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1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2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3.xml" ContentType="application/vnd.openxmlformats-officedocument.presentationml.notesSlide+xml"/>
  <Override PartName="/ppt/tags/tag32.xml" ContentType="application/vnd.openxmlformats-officedocument.presentationml.tags+xml"/>
  <Override PartName="/ppt/notesSlides/notesSlide14.xml" ContentType="application/vnd.openxmlformats-officedocument.presentationml.notesSlide+xml"/>
  <Override PartName="/ppt/tags/tag33.xml" ContentType="application/vnd.openxmlformats-officedocument.presentationml.tags+xml"/>
  <Override PartName="/ppt/notesSlides/notesSlide15.xml" ContentType="application/vnd.openxmlformats-officedocument.presentationml.notesSlide+xml"/>
  <Override PartName="/ppt/tags/tag34.xml" ContentType="application/vnd.openxmlformats-officedocument.presentationml.tags+xml"/>
  <Override PartName="/ppt/notesSlides/notesSlide16.xml" ContentType="application/vnd.openxmlformats-officedocument.presentationml.notesSlide+xml"/>
  <Override PartName="/ppt/tags/tag35.xml" ContentType="application/vnd.openxmlformats-officedocument.presentationml.tags+xml"/>
  <Override PartName="/ppt/notesSlides/notesSlide17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29"/>
  </p:notesMasterIdLst>
  <p:sldIdLst>
    <p:sldId id="271" r:id="rId5"/>
    <p:sldId id="386" r:id="rId6"/>
    <p:sldId id="377" r:id="rId7"/>
    <p:sldId id="359" r:id="rId8"/>
    <p:sldId id="360" r:id="rId9"/>
    <p:sldId id="361" r:id="rId10"/>
    <p:sldId id="300" r:id="rId11"/>
    <p:sldId id="322" r:id="rId12"/>
    <p:sldId id="329" r:id="rId13"/>
    <p:sldId id="381" r:id="rId14"/>
    <p:sldId id="392" r:id="rId15"/>
    <p:sldId id="382" r:id="rId16"/>
    <p:sldId id="364" r:id="rId17"/>
    <p:sldId id="2147482140" r:id="rId18"/>
    <p:sldId id="279" r:id="rId19"/>
    <p:sldId id="280" r:id="rId20"/>
    <p:sldId id="285" r:id="rId21"/>
    <p:sldId id="371" r:id="rId22"/>
    <p:sldId id="366" r:id="rId23"/>
    <p:sldId id="2147482141" r:id="rId24"/>
    <p:sldId id="367" r:id="rId25"/>
    <p:sldId id="370" r:id="rId26"/>
    <p:sldId id="368" r:id="rId27"/>
    <p:sldId id="369" r:id="rId28"/>
  </p:sldIdLst>
  <p:sldSz cx="12192000" cy="6858000"/>
  <p:notesSz cx="6858000" cy="9144000"/>
  <p:embeddedFontLst>
    <p:embeddedFont>
      <p:font typeface="DM Sans 14pt ExtraBold" panose="020B0604020202020204" charset="0"/>
      <p:bold r:id="rId30"/>
      <p:italic r:id="rId31"/>
      <p:boldItalic r:id="rId32"/>
    </p:embeddedFont>
    <p:embeddedFont>
      <p:font typeface="Verdana" panose="020B0604030504040204" pitchFamily="34" charset="0"/>
      <p:regular r:id="rId33"/>
      <p:bold r:id="rId34"/>
      <p:italic r:id="rId35"/>
      <p:boldItalic r:id="rId36"/>
    </p:embeddedFont>
  </p:embeddedFontLst>
  <p:defaultTextStyle>
    <a:defPPr>
      <a:defRPr lang="en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3C06209-B2CD-BB13-C59F-4E5274A4437B}" name="Kasper Brøndum Andersen" initials="KA" userId="S::kba@domea.dk::23d34907-f6e1-4907-afd7-52417792db56" providerId="AD"/>
  <p188:author id="{9ABA6723-4ADF-A384-2EF1-EA73D94E0DA0}" name="Ulla Jensen" initials="UJ" userId="S::uje@domea.dk::9f08d654-f16e-4e37-932e-b650d83c4d02" providerId="AD"/>
  <p188:author id="{F043BF62-02E5-E499-5D88-1E0D09E8EAB8}" name="Helene" initials="He" userId="S::helene_wearedouc.com#ext#@domeadk.onmicrosoft.com::352e86e0-ed43-41b6-8071-b1515fd57e55" providerId="AD"/>
  <p188:author id="{31E96DCF-9162-5D5A-40E8-05DB525962EA}" name="Helene Arnfred" initials="" userId="S::ext_hea@domea.dk::05a8b423-6e7f-4e71-b601-f56a99db3ed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1597F"/>
    <a:srgbClr val="F79FA7"/>
    <a:srgbClr val="339C91"/>
    <a:srgbClr val="88BCAD"/>
    <a:srgbClr val="97A2BB"/>
    <a:srgbClr val="FBCCD0"/>
    <a:srgbClr val="B5CEBD"/>
    <a:srgbClr val="F5F5F5"/>
    <a:srgbClr val="F2F6F6"/>
    <a:srgbClr val="004C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08FC5D-0DEF-4D4C-A4FB-2D9C7484B548}" v="24" dt="2024-11-27T12:50:03.522"/>
    <p1510:client id="{54838432-4867-4750-91F5-A1D383E4FFE8}" v="8" dt="2024-11-28T09:20:01.070"/>
    <p1510:client id="{623CE855-6A23-404B-97D3-FA43AEB11FE7}" v="3" dt="2024-11-28T11:19:33.97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821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font" Target="fonts/font5.fntdata"/><Relationship Id="rId42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4.fntdata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font" Target="fonts/font3.fntdata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7.fntdata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2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font" Target="fonts/font1.fntdata"/><Relationship Id="rId35" Type="http://schemas.openxmlformats.org/officeDocument/2006/relationships/font" Target="fonts/font6.fntdata"/><Relationship Id="rId43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elene Arnfred" userId="05a8b423-6e7f-4e71-b601-f56a99db3ed5" providerId="ADAL" clId="{57B47A7E-7EA5-B34E-AECA-1D70D3F36393}"/>
    <pc:docChg chg="custSel addSld delSld modSld">
      <pc:chgData name="Helene Arnfred" userId="05a8b423-6e7f-4e71-b601-f56a99db3ed5" providerId="ADAL" clId="{57B47A7E-7EA5-B34E-AECA-1D70D3F36393}" dt="2024-11-20T10:28:05.146" v="38" actId="20577"/>
      <pc:docMkLst>
        <pc:docMk/>
      </pc:docMkLst>
      <pc:sldChg chg="mod modShow">
        <pc:chgData name="Helene Arnfred" userId="05a8b423-6e7f-4e71-b601-f56a99db3ed5" providerId="ADAL" clId="{57B47A7E-7EA5-B34E-AECA-1D70D3F36393}" dt="2024-11-20T10:24:09.573" v="1" actId="729"/>
        <pc:sldMkLst>
          <pc:docMk/>
          <pc:sldMk cId="801246152" sldId="279"/>
        </pc:sldMkLst>
      </pc:sldChg>
      <pc:sldChg chg="mod modShow">
        <pc:chgData name="Helene Arnfred" userId="05a8b423-6e7f-4e71-b601-f56a99db3ed5" providerId="ADAL" clId="{57B47A7E-7EA5-B34E-AECA-1D70D3F36393}" dt="2024-11-20T10:24:09.573" v="1" actId="729"/>
        <pc:sldMkLst>
          <pc:docMk/>
          <pc:sldMk cId="1702258681" sldId="280"/>
        </pc:sldMkLst>
      </pc:sldChg>
      <pc:sldChg chg="mod modShow">
        <pc:chgData name="Helene Arnfred" userId="05a8b423-6e7f-4e71-b601-f56a99db3ed5" providerId="ADAL" clId="{57B47A7E-7EA5-B34E-AECA-1D70D3F36393}" dt="2024-11-20T10:24:09.573" v="1" actId="729"/>
        <pc:sldMkLst>
          <pc:docMk/>
          <pc:sldMk cId="3240193961" sldId="285"/>
        </pc:sldMkLst>
      </pc:sldChg>
      <pc:sldChg chg="add mod modShow">
        <pc:chgData name="Helene Arnfred" userId="05a8b423-6e7f-4e71-b601-f56a99db3ed5" providerId="ADAL" clId="{57B47A7E-7EA5-B34E-AECA-1D70D3F36393}" dt="2024-11-20T10:24:09.573" v="1" actId="729"/>
        <pc:sldMkLst>
          <pc:docMk/>
          <pc:sldMk cId="3797840189" sldId="366"/>
        </pc:sldMkLst>
      </pc:sldChg>
      <pc:sldChg chg="add mod modShow">
        <pc:chgData name="Helene Arnfred" userId="05a8b423-6e7f-4e71-b601-f56a99db3ed5" providerId="ADAL" clId="{57B47A7E-7EA5-B34E-AECA-1D70D3F36393}" dt="2024-11-20T10:24:09.573" v="1" actId="729"/>
        <pc:sldMkLst>
          <pc:docMk/>
          <pc:sldMk cId="1788934846" sldId="367"/>
        </pc:sldMkLst>
      </pc:sldChg>
      <pc:sldChg chg="add mod modShow">
        <pc:chgData name="Helene Arnfred" userId="05a8b423-6e7f-4e71-b601-f56a99db3ed5" providerId="ADAL" clId="{57B47A7E-7EA5-B34E-AECA-1D70D3F36393}" dt="2024-11-20T10:24:09.573" v="1" actId="729"/>
        <pc:sldMkLst>
          <pc:docMk/>
          <pc:sldMk cId="2727716631" sldId="368"/>
        </pc:sldMkLst>
      </pc:sldChg>
      <pc:sldChg chg="add mod modShow">
        <pc:chgData name="Helene Arnfred" userId="05a8b423-6e7f-4e71-b601-f56a99db3ed5" providerId="ADAL" clId="{57B47A7E-7EA5-B34E-AECA-1D70D3F36393}" dt="2024-11-20T10:24:09.573" v="1" actId="729"/>
        <pc:sldMkLst>
          <pc:docMk/>
          <pc:sldMk cId="1241497437" sldId="369"/>
        </pc:sldMkLst>
      </pc:sldChg>
      <pc:sldChg chg="add mod modShow">
        <pc:chgData name="Helene Arnfred" userId="05a8b423-6e7f-4e71-b601-f56a99db3ed5" providerId="ADAL" clId="{57B47A7E-7EA5-B34E-AECA-1D70D3F36393}" dt="2024-11-20T10:24:09.573" v="1" actId="729"/>
        <pc:sldMkLst>
          <pc:docMk/>
          <pc:sldMk cId="335741955" sldId="370"/>
        </pc:sldMkLst>
      </pc:sldChg>
      <pc:sldChg chg="add mod modShow">
        <pc:chgData name="Helene Arnfred" userId="05a8b423-6e7f-4e71-b601-f56a99db3ed5" providerId="ADAL" clId="{57B47A7E-7EA5-B34E-AECA-1D70D3F36393}" dt="2024-11-20T10:24:09.573" v="1" actId="729"/>
        <pc:sldMkLst>
          <pc:docMk/>
          <pc:sldMk cId="1254828767" sldId="371"/>
        </pc:sldMkLst>
      </pc:sldChg>
      <pc:sldChg chg="addSp delSp modSp mod">
        <pc:chgData name="Helene Arnfred" userId="05a8b423-6e7f-4e71-b601-f56a99db3ed5" providerId="ADAL" clId="{57B47A7E-7EA5-B34E-AECA-1D70D3F36393}" dt="2024-11-20T10:24:58.979" v="7"/>
        <pc:sldMkLst>
          <pc:docMk/>
          <pc:sldMk cId="1993990949" sldId="382"/>
        </pc:sldMkLst>
        <pc:spChg chg="add del mod">
          <ac:chgData name="Helene Arnfred" userId="05a8b423-6e7f-4e71-b601-f56a99db3ed5" providerId="ADAL" clId="{57B47A7E-7EA5-B34E-AECA-1D70D3F36393}" dt="2024-11-20T10:24:58.979" v="7"/>
          <ac:spMkLst>
            <pc:docMk/>
            <pc:sldMk cId="1993990949" sldId="382"/>
            <ac:spMk id="2" creationId="{89A6FA69-4679-51E6-A9B5-D960D56367EE}"/>
          </ac:spMkLst>
        </pc:spChg>
      </pc:sldChg>
      <pc:sldChg chg="addSp modSp add del mod">
        <pc:chgData name="Helene Arnfred" userId="05a8b423-6e7f-4e71-b601-f56a99db3ed5" providerId="ADAL" clId="{57B47A7E-7EA5-B34E-AECA-1D70D3F36393}" dt="2024-11-20T10:25:28.398" v="13" actId="2696"/>
        <pc:sldMkLst>
          <pc:docMk/>
          <pc:sldMk cId="1418019830" sldId="2147482138"/>
        </pc:sldMkLst>
        <pc:grpChg chg="add mod">
          <ac:chgData name="Helene Arnfred" userId="05a8b423-6e7f-4e71-b601-f56a99db3ed5" providerId="ADAL" clId="{57B47A7E-7EA5-B34E-AECA-1D70D3F36393}" dt="2024-11-20T10:24:44.188" v="4" actId="1076"/>
          <ac:grpSpMkLst>
            <pc:docMk/>
            <pc:sldMk cId="1418019830" sldId="2147482138"/>
            <ac:grpSpMk id="4" creationId="{A7F73703-2A4C-0984-D449-3217510ADF72}"/>
          </ac:grpSpMkLst>
        </pc:grpChg>
        <pc:picChg chg="mod">
          <ac:chgData name="Helene Arnfred" userId="05a8b423-6e7f-4e71-b601-f56a99db3ed5" providerId="ADAL" clId="{57B47A7E-7EA5-B34E-AECA-1D70D3F36393}" dt="2024-11-20T10:24:38.016" v="3"/>
          <ac:picMkLst>
            <pc:docMk/>
            <pc:sldMk cId="1418019830" sldId="2147482138"/>
            <ac:picMk id="5" creationId="{42D354AA-2C65-4080-F263-F43A93FBC050}"/>
          </ac:picMkLst>
        </pc:picChg>
        <pc:picChg chg="mod">
          <ac:chgData name="Helene Arnfred" userId="05a8b423-6e7f-4e71-b601-f56a99db3ed5" providerId="ADAL" clId="{57B47A7E-7EA5-B34E-AECA-1D70D3F36393}" dt="2024-11-20T10:24:38.016" v="3"/>
          <ac:picMkLst>
            <pc:docMk/>
            <pc:sldMk cId="1418019830" sldId="2147482138"/>
            <ac:picMk id="8" creationId="{5D819CBB-75AA-FDB0-B119-B79051D6DB06}"/>
          </ac:picMkLst>
        </pc:picChg>
        <pc:picChg chg="mod">
          <ac:chgData name="Helene Arnfred" userId="05a8b423-6e7f-4e71-b601-f56a99db3ed5" providerId="ADAL" clId="{57B47A7E-7EA5-B34E-AECA-1D70D3F36393}" dt="2024-11-20T10:24:38.016" v="3"/>
          <ac:picMkLst>
            <pc:docMk/>
            <pc:sldMk cId="1418019830" sldId="2147482138"/>
            <ac:picMk id="9" creationId="{4622ED15-E929-9D4C-562C-6AD8AA7D8F2F}"/>
          </ac:picMkLst>
        </pc:picChg>
        <pc:picChg chg="mod">
          <ac:chgData name="Helene Arnfred" userId="05a8b423-6e7f-4e71-b601-f56a99db3ed5" providerId="ADAL" clId="{57B47A7E-7EA5-B34E-AECA-1D70D3F36393}" dt="2024-11-20T10:24:38.016" v="3"/>
          <ac:picMkLst>
            <pc:docMk/>
            <pc:sldMk cId="1418019830" sldId="2147482138"/>
            <ac:picMk id="10" creationId="{8D908D13-7F86-ED3C-9EA9-8D766168D199}"/>
          </ac:picMkLst>
        </pc:picChg>
        <pc:picChg chg="mod">
          <ac:chgData name="Helene Arnfred" userId="05a8b423-6e7f-4e71-b601-f56a99db3ed5" providerId="ADAL" clId="{57B47A7E-7EA5-B34E-AECA-1D70D3F36393}" dt="2024-11-20T10:24:38.016" v="3"/>
          <ac:picMkLst>
            <pc:docMk/>
            <pc:sldMk cId="1418019830" sldId="2147482138"/>
            <ac:picMk id="11" creationId="{569E8505-3B6C-BD42-4565-9F1FD7C6D064}"/>
          </ac:picMkLst>
        </pc:picChg>
      </pc:sldChg>
      <pc:sldChg chg="addSp delSp modSp add mod">
        <pc:chgData name="Helene Arnfred" userId="05a8b423-6e7f-4e71-b601-f56a99db3ed5" providerId="ADAL" clId="{57B47A7E-7EA5-B34E-AECA-1D70D3F36393}" dt="2024-11-20T10:25:59.752" v="21" actId="1076"/>
        <pc:sldMkLst>
          <pc:docMk/>
          <pc:sldMk cId="537074012" sldId="2147482139"/>
        </pc:sldMkLst>
        <pc:spChg chg="add del mod">
          <ac:chgData name="Helene Arnfred" userId="05a8b423-6e7f-4e71-b601-f56a99db3ed5" providerId="ADAL" clId="{57B47A7E-7EA5-B34E-AECA-1D70D3F36393}" dt="2024-11-20T10:25:09.987" v="10" actId="478"/>
          <ac:spMkLst>
            <pc:docMk/>
            <pc:sldMk cId="537074012" sldId="2147482139"/>
            <ac:spMk id="3" creationId="{5CC861E3-77D1-3FB7-3266-ACB0019E5B73}"/>
          </ac:spMkLst>
        </pc:spChg>
        <pc:spChg chg="del">
          <ac:chgData name="Helene Arnfred" userId="05a8b423-6e7f-4e71-b601-f56a99db3ed5" providerId="ADAL" clId="{57B47A7E-7EA5-B34E-AECA-1D70D3F36393}" dt="2024-11-20T10:25:06.408" v="9" actId="478"/>
          <ac:spMkLst>
            <pc:docMk/>
            <pc:sldMk cId="537074012" sldId="2147482139"/>
            <ac:spMk id="4" creationId="{6004E05A-1F91-BB23-A00C-C8E547B6775A}"/>
          </ac:spMkLst>
        </pc:spChg>
        <pc:spChg chg="add del mod">
          <ac:chgData name="Helene Arnfred" userId="05a8b423-6e7f-4e71-b601-f56a99db3ed5" providerId="ADAL" clId="{57B47A7E-7EA5-B34E-AECA-1D70D3F36393}" dt="2024-11-20T10:25:09.987" v="10" actId="478"/>
          <ac:spMkLst>
            <pc:docMk/>
            <pc:sldMk cId="537074012" sldId="2147482139"/>
            <ac:spMk id="7" creationId="{359AD6BA-1A74-58BA-E228-D96C7489D67D}"/>
          </ac:spMkLst>
        </pc:spChg>
        <pc:spChg chg="add mod">
          <ac:chgData name="Helene Arnfred" userId="05a8b423-6e7f-4e71-b601-f56a99db3ed5" providerId="ADAL" clId="{57B47A7E-7EA5-B34E-AECA-1D70D3F36393}" dt="2024-11-20T10:25:21.458" v="11"/>
          <ac:spMkLst>
            <pc:docMk/>
            <pc:sldMk cId="537074012" sldId="2147482139"/>
            <ac:spMk id="9" creationId="{2B74167B-AAC7-5244-EEBB-4A74AD941205}"/>
          </ac:spMkLst>
        </pc:spChg>
        <pc:spChg chg="del">
          <ac:chgData name="Helene Arnfred" userId="05a8b423-6e7f-4e71-b601-f56a99db3ed5" providerId="ADAL" clId="{57B47A7E-7EA5-B34E-AECA-1D70D3F36393}" dt="2024-11-20T10:25:06.408" v="9" actId="478"/>
          <ac:spMkLst>
            <pc:docMk/>
            <pc:sldMk cId="537074012" sldId="2147482139"/>
            <ac:spMk id="11" creationId="{4CA4A215-F5A4-DB2D-4755-4158D1EACCE9}"/>
          </ac:spMkLst>
        </pc:spChg>
        <pc:spChg chg="del">
          <ac:chgData name="Helene Arnfred" userId="05a8b423-6e7f-4e71-b601-f56a99db3ed5" providerId="ADAL" clId="{57B47A7E-7EA5-B34E-AECA-1D70D3F36393}" dt="2024-11-20T10:25:06.408" v="9" actId="478"/>
          <ac:spMkLst>
            <pc:docMk/>
            <pc:sldMk cId="537074012" sldId="2147482139"/>
            <ac:spMk id="43" creationId="{1AD24308-1355-A831-910F-CF1C446633F5}"/>
          </ac:spMkLst>
        </pc:spChg>
        <pc:spChg chg="del">
          <ac:chgData name="Helene Arnfred" userId="05a8b423-6e7f-4e71-b601-f56a99db3ed5" providerId="ADAL" clId="{57B47A7E-7EA5-B34E-AECA-1D70D3F36393}" dt="2024-11-20T10:25:06.408" v="9" actId="478"/>
          <ac:spMkLst>
            <pc:docMk/>
            <pc:sldMk cId="537074012" sldId="2147482139"/>
            <ac:spMk id="44" creationId="{BFDD12AA-9FFB-FAAA-2441-38C75F7DB9FF}"/>
          </ac:spMkLst>
        </pc:spChg>
        <pc:spChg chg="del">
          <ac:chgData name="Helene Arnfred" userId="05a8b423-6e7f-4e71-b601-f56a99db3ed5" providerId="ADAL" clId="{57B47A7E-7EA5-B34E-AECA-1D70D3F36393}" dt="2024-11-20T10:25:06.408" v="9" actId="478"/>
          <ac:spMkLst>
            <pc:docMk/>
            <pc:sldMk cId="537074012" sldId="2147482139"/>
            <ac:spMk id="45" creationId="{C8BE11A4-E734-0489-0246-DE1345D24FBB}"/>
          </ac:spMkLst>
        </pc:spChg>
        <pc:spChg chg="del">
          <ac:chgData name="Helene Arnfred" userId="05a8b423-6e7f-4e71-b601-f56a99db3ed5" providerId="ADAL" clId="{57B47A7E-7EA5-B34E-AECA-1D70D3F36393}" dt="2024-11-20T10:25:06.408" v="9" actId="478"/>
          <ac:spMkLst>
            <pc:docMk/>
            <pc:sldMk cId="537074012" sldId="2147482139"/>
            <ac:spMk id="49" creationId="{323476DC-2A44-CEA5-2E8E-54D40D9F7480}"/>
          </ac:spMkLst>
        </pc:spChg>
        <pc:spChg chg="del">
          <ac:chgData name="Helene Arnfred" userId="05a8b423-6e7f-4e71-b601-f56a99db3ed5" providerId="ADAL" clId="{57B47A7E-7EA5-B34E-AECA-1D70D3F36393}" dt="2024-11-20T10:25:06.408" v="9" actId="478"/>
          <ac:spMkLst>
            <pc:docMk/>
            <pc:sldMk cId="537074012" sldId="2147482139"/>
            <ac:spMk id="57" creationId="{259FE54A-41D5-3326-EB01-1D323430006C}"/>
          </ac:spMkLst>
        </pc:spChg>
        <pc:spChg chg="del">
          <ac:chgData name="Helene Arnfred" userId="05a8b423-6e7f-4e71-b601-f56a99db3ed5" providerId="ADAL" clId="{57B47A7E-7EA5-B34E-AECA-1D70D3F36393}" dt="2024-11-20T10:25:06.408" v="9" actId="478"/>
          <ac:spMkLst>
            <pc:docMk/>
            <pc:sldMk cId="537074012" sldId="2147482139"/>
            <ac:spMk id="58" creationId="{3951C5EF-5D2A-C900-7230-D888E623C859}"/>
          </ac:spMkLst>
        </pc:spChg>
        <pc:spChg chg="del">
          <ac:chgData name="Helene Arnfred" userId="05a8b423-6e7f-4e71-b601-f56a99db3ed5" providerId="ADAL" clId="{57B47A7E-7EA5-B34E-AECA-1D70D3F36393}" dt="2024-11-20T10:25:06.408" v="9" actId="478"/>
          <ac:spMkLst>
            <pc:docMk/>
            <pc:sldMk cId="537074012" sldId="2147482139"/>
            <ac:spMk id="59" creationId="{754AEF2D-C9F9-121F-46AA-1C0A61102EB2}"/>
          </ac:spMkLst>
        </pc:spChg>
        <pc:spChg chg="del">
          <ac:chgData name="Helene Arnfred" userId="05a8b423-6e7f-4e71-b601-f56a99db3ed5" providerId="ADAL" clId="{57B47A7E-7EA5-B34E-AECA-1D70D3F36393}" dt="2024-11-20T10:25:06.408" v="9" actId="478"/>
          <ac:spMkLst>
            <pc:docMk/>
            <pc:sldMk cId="537074012" sldId="2147482139"/>
            <ac:spMk id="60" creationId="{6F4B6C1B-FD28-CC77-C5B4-4E904F495A8F}"/>
          </ac:spMkLst>
        </pc:spChg>
        <pc:spChg chg="del">
          <ac:chgData name="Helene Arnfred" userId="05a8b423-6e7f-4e71-b601-f56a99db3ed5" providerId="ADAL" clId="{57B47A7E-7EA5-B34E-AECA-1D70D3F36393}" dt="2024-11-20T10:25:06.408" v="9" actId="478"/>
          <ac:spMkLst>
            <pc:docMk/>
            <pc:sldMk cId="537074012" sldId="2147482139"/>
            <ac:spMk id="61" creationId="{8C121BBE-71F8-CC7B-C727-A2B523DB8284}"/>
          </ac:spMkLst>
        </pc:spChg>
        <pc:spChg chg="del">
          <ac:chgData name="Helene Arnfred" userId="05a8b423-6e7f-4e71-b601-f56a99db3ed5" providerId="ADAL" clId="{57B47A7E-7EA5-B34E-AECA-1D70D3F36393}" dt="2024-11-20T10:25:09.987" v="10" actId="478"/>
          <ac:spMkLst>
            <pc:docMk/>
            <pc:sldMk cId="537074012" sldId="2147482139"/>
            <ac:spMk id="62" creationId="{CB68BE11-F11B-D788-15D5-E2108A00A905}"/>
          </ac:spMkLst>
        </pc:spChg>
        <pc:spChg chg="del">
          <ac:chgData name="Helene Arnfred" userId="05a8b423-6e7f-4e71-b601-f56a99db3ed5" providerId="ADAL" clId="{57B47A7E-7EA5-B34E-AECA-1D70D3F36393}" dt="2024-11-20T10:25:06.408" v="9" actId="478"/>
          <ac:spMkLst>
            <pc:docMk/>
            <pc:sldMk cId="537074012" sldId="2147482139"/>
            <ac:spMk id="78" creationId="{D78C6D39-D9F1-D349-C132-72CCD4FB245F}"/>
          </ac:spMkLst>
        </pc:spChg>
        <pc:spChg chg="del">
          <ac:chgData name="Helene Arnfred" userId="05a8b423-6e7f-4e71-b601-f56a99db3ed5" providerId="ADAL" clId="{57B47A7E-7EA5-B34E-AECA-1D70D3F36393}" dt="2024-11-20T10:25:06.408" v="9" actId="478"/>
          <ac:spMkLst>
            <pc:docMk/>
            <pc:sldMk cId="537074012" sldId="2147482139"/>
            <ac:spMk id="79" creationId="{A361681D-4D08-3834-0F9B-DF213375C629}"/>
          </ac:spMkLst>
        </pc:spChg>
        <pc:spChg chg="del">
          <ac:chgData name="Helene Arnfred" userId="05a8b423-6e7f-4e71-b601-f56a99db3ed5" providerId="ADAL" clId="{57B47A7E-7EA5-B34E-AECA-1D70D3F36393}" dt="2024-11-20T10:25:06.408" v="9" actId="478"/>
          <ac:spMkLst>
            <pc:docMk/>
            <pc:sldMk cId="537074012" sldId="2147482139"/>
            <ac:spMk id="80" creationId="{64E6D616-AEA6-1612-2912-31500C64FB57}"/>
          </ac:spMkLst>
        </pc:spChg>
        <pc:spChg chg="del">
          <ac:chgData name="Helene Arnfred" userId="05a8b423-6e7f-4e71-b601-f56a99db3ed5" providerId="ADAL" clId="{57B47A7E-7EA5-B34E-AECA-1D70D3F36393}" dt="2024-11-20T10:25:06.408" v="9" actId="478"/>
          <ac:spMkLst>
            <pc:docMk/>
            <pc:sldMk cId="537074012" sldId="2147482139"/>
            <ac:spMk id="81" creationId="{A07789B7-2404-2F03-F6D5-D6A2B841374E}"/>
          </ac:spMkLst>
        </pc:spChg>
        <pc:spChg chg="del">
          <ac:chgData name="Helene Arnfred" userId="05a8b423-6e7f-4e71-b601-f56a99db3ed5" providerId="ADAL" clId="{57B47A7E-7EA5-B34E-AECA-1D70D3F36393}" dt="2024-11-20T10:25:06.408" v="9" actId="478"/>
          <ac:spMkLst>
            <pc:docMk/>
            <pc:sldMk cId="537074012" sldId="2147482139"/>
            <ac:spMk id="82" creationId="{146A9D0D-8BE1-F08E-3154-AE036C91C169}"/>
          </ac:spMkLst>
        </pc:spChg>
        <pc:spChg chg="del">
          <ac:chgData name="Helene Arnfred" userId="05a8b423-6e7f-4e71-b601-f56a99db3ed5" providerId="ADAL" clId="{57B47A7E-7EA5-B34E-AECA-1D70D3F36393}" dt="2024-11-20T10:25:09.987" v="10" actId="478"/>
          <ac:spMkLst>
            <pc:docMk/>
            <pc:sldMk cId="537074012" sldId="2147482139"/>
            <ac:spMk id="88" creationId="{4B9F37A7-C835-C37E-88AE-0304D5D0B054}"/>
          </ac:spMkLst>
        </pc:spChg>
        <pc:grpChg chg="del">
          <ac:chgData name="Helene Arnfred" userId="05a8b423-6e7f-4e71-b601-f56a99db3ed5" providerId="ADAL" clId="{57B47A7E-7EA5-B34E-AECA-1D70D3F36393}" dt="2024-11-20T10:25:06.408" v="9" actId="478"/>
          <ac:grpSpMkLst>
            <pc:docMk/>
            <pc:sldMk cId="537074012" sldId="2147482139"/>
            <ac:grpSpMk id="5" creationId="{BB08102E-E88B-91BE-BBDE-132557AFE97F}"/>
          </ac:grpSpMkLst>
        </pc:grpChg>
        <pc:grpChg chg="add mod">
          <ac:chgData name="Helene Arnfred" userId="05a8b423-6e7f-4e71-b601-f56a99db3ed5" providerId="ADAL" clId="{57B47A7E-7EA5-B34E-AECA-1D70D3F36393}" dt="2024-11-20T10:25:45.782" v="18" actId="1076"/>
          <ac:grpSpMkLst>
            <pc:docMk/>
            <pc:sldMk cId="537074012" sldId="2147482139"/>
            <ac:grpSpMk id="13" creationId="{0BC681E8-2DA2-F67F-AEA2-FCBC6A93BBE1}"/>
          </ac:grpSpMkLst>
        </pc:grpChg>
        <pc:picChg chg="add mod">
          <ac:chgData name="Helene Arnfred" userId="05a8b423-6e7f-4e71-b601-f56a99db3ed5" providerId="ADAL" clId="{57B47A7E-7EA5-B34E-AECA-1D70D3F36393}" dt="2024-11-20T10:25:49.182" v="19" actId="1076"/>
          <ac:picMkLst>
            <pc:docMk/>
            <pc:sldMk cId="537074012" sldId="2147482139"/>
            <ac:picMk id="10" creationId="{BF719C09-485F-196B-3CD2-66FD9ACC821A}"/>
          </ac:picMkLst>
        </pc:picChg>
        <pc:picChg chg="add mod">
          <ac:chgData name="Helene Arnfred" userId="05a8b423-6e7f-4e71-b601-f56a99db3ed5" providerId="ADAL" clId="{57B47A7E-7EA5-B34E-AECA-1D70D3F36393}" dt="2024-11-20T10:25:59.752" v="21" actId="1076"/>
          <ac:picMkLst>
            <pc:docMk/>
            <pc:sldMk cId="537074012" sldId="2147482139"/>
            <ac:picMk id="12" creationId="{6DDE107C-40EE-1C4B-DC6A-27C99574203B}"/>
          </ac:picMkLst>
        </pc:picChg>
        <pc:picChg chg="mod">
          <ac:chgData name="Helene Arnfred" userId="05a8b423-6e7f-4e71-b601-f56a99db3ed5" providerId="ADAL" clId="{57B47A7E-7EA5-B34E-AECA-1D70D3F36393}" dt="2024-11-20T10:25:25.742" v="12"/>
          <ac:picMkLst>
            <pc:docMk/>
            <pc:sldMk cId="537074012" sldId="2147482139"/>
            <ac:picMk id="14" creationId="{5382B63A-C924-53F6-69E3-303C9DD725B0}"/>
          </ac:picMkLst>
        </pc:picChg>
        <pc:picChg chg="mod">
          <ac:chgData name="Helene Arnfred" userId="05a8b423-6e7f-4e71-b601-f56a99db3ed5" providerId="ADAL" clId="{57B47A7E-7EA5-B34E-AECA-1D70D3F36393}" dt="2024-11-20T10:25:25.742" v="12"/>
          <ac:picMkLst>
            <pc:docMk/>
            <pc:sldMk cId="537074012" sldId="2147482139"/>
            <ac:picMk id="16" creationId="{0B2ED886-95DB-CBDB-12C6-C1964A62E8EC}"/>
          </ac:picMkLst>
        </pc:picChg>
        <pc:picChg chg="mod">
          <ac:chgData name="Helene Arnfred" userId="05a8b423-6e7f-4e71-b601-f56a99db3ed5" providerId="ADAL" clId="{57B47A7E-7EA5-B34E-AECA-1D70D3F36393}" dt="2024-11-20T10:25:25.742" v="12"/>
          <ac:picMkLst>
            <pc:docMk/>
            <pc:sldMk cId="537074012" sldId="2147482139"/>
            <ac:picMk id="17" creationId="{D79AF675-F3C0-7C3A-5573-7919C149978F}"/>
          </ac:picMkLst>
        </pc:picChg>
        <pc:picChg chg="mod">
          <ac:chgData name="Helene Arnfred" userId="05a8b423-6e7f-4e71-b601-f56a99db3ed5" providerId="ADAL" clId="{57B47A7E-7EA5-B34E-AECA-1D70D3F36393}" dt="2024-11-20T10:25:25.742" v="12"/>
          <ac:picMkLst>
            <pc:docMk/>
            <pc:sldMk cId="537074012" sldId="2147482139"/>
            <ac:picMk id="18" creationId="{4B8E13AE-33A7-6AFC-A154-D9361C00F9D4}"/>
          </ac:picMkLst>
        </pc:picChg>
        <pc:picChg chg="mod">
          <ac:chgData name="Helene Arnfred" userId="05a8b423-6e7f-4e71-b601-f56a99db3ed5" providerId="ADAL" clId="{57B47A7E-7EA5-B34E-AECA-1D70D3F36393}" dt="2024-11-20T10:25:25.742" v="12"/>
          <ac:picMkLst>
            <pc:docMk/>
            <pc:sldMk cId="537074012" sldId="2147482139"/>
            <ac:picMk id="19" creationId="{27BCF6F7-4566-CEB3-197F-8EBB52C945C4}"/>
          </ac:picMkLst>
        </pc:picChg>
        <pc:picChg chg="del">
          <ac:chgData name="Helene Arnfred" userId="05a8b423-6e7f-4e71-b601-f56a99db3ed5" providerId="ADAL" clId="{57B47A7E-7EA5-B34E-AECA-1D70D3F36393}" dt="2024-11-20T10:25:06.408" v="9" actId="478"/>
          <ac:picMkLst>
            <pc:docMk/>
            <pc:sldMk cId="537074012" sldId="2147482139"/>
            <ac:picMk id="28" creationId="{BDA7BE85-3176-465D-2D84-3E514FC2E9DD}"/>
          </ac:picMkLst>
        </pc:picChg>
        <pc:picChg chg="del">
          <ac:chgData name="Helene Arnfred" userId="05a8b423-6e7f-4e71-b601-f56a99db3ed5" providerId="ADAL" clId="{57B47A7E-7EA5-B34E-AECA-1D70D3F36393}" dt="2024-11-20T10:25:09.987" v="10" actId="478"/>
          <ac:picMkLst>
            <pc:docMk/>
            <pc:sldMk cId="537074012" sldId="2147482139"/>
            <ac:picMk id="56" creationId="{8C429D5B-27A2-FD4F-D062-3579350905FE}"/>
          </ac:picMkLst>
        </pc:picChg>
        <pc:picChg chg="del">
          <ac:chgData name="Helene Arnfred" userId="05a8b423-6e7f-4e71-b601-f56a99db3ed5" providerId="ADAL" clId="{57B47A7E-7EA5-B34E-AECA-1D70D3F36393}" dt="2024-11-20T10:25:06.408" v="9" actId="478"/>
          <ac:picMkLst>
            <pc:docMk/>
            <pc:sldMk cId="537074012" sldId="2147482139"/>
            <ac:picMk id="71" creationId="{A50BA4E8-798A-2970-C674-0776F5C44F11}"/>
          </ac:picMkLst>
        </pc:picChg>
        <pc:picChg chg="del">
          <ac:chgData name="Helene Arnfred" userId="05a8b423-6e7f-4e71-b601-f56a99db3ed5" providerId="ADAL" clId="{57B47A7E-7EA5-B34E-AECA-1D70D3F36393}" dt="2024-11-20T10:25:06.408" v="9" actId="478"/>
          <ac:picMkLst>
            <pc:docMk/>
            <pc:sldMk cId="537074012" sldId="2147482139"/>
            <ac:picMk id="72" creationId="{856B1F36-0561-B588-7799-E37804DEEBB4}"/>
          </ac:picMkLst>
        </pc:picChg>
        <pc:picChg chg="del">
          <ac:chgData name="Helene Arnfred" userId="05a8b423-6e7f-4e71-b601-f56a99db3ed5" providerId="ADAL" clId="{57B47A7E-7EA5-B34E-AECA-1D70D3F36393}" dt="2024-11-20T10:25:06.408" v="9" actId="478"/>
          <ac:picMkLst>
            <pc:docMk/>
            <pc:sldMk cId="537074012" sldId="2147482139"/>
            <ac:picMk id="73" creationId="{D3F208E2-1C9D-25AD-B788-030CEC873B46}"/>
          </ac:picMkLst>
        </pc:picChg>
        <pc:picChg chg="del">
          <ac:chgData name="Helene Arnfred" userId="05a8b423-6e7f-4e71-b601-f56a99db3ed5" providerId="ADAL" clId="{57B47A7E-7EA5-B34E-AECA-1D70D3F36393}" dt="2024-11-20T10:25:06.408" v="9" actId="478"/>
          <ac:picMkLst>
            <pc:docMk/>
            <pc:sldMk cId="537074012" sldId="2147482139"/>
            <ac:picMk id="74" creationId="{F34B504F-1EE8-98CC-9BF3-146812C4F701}"/>
          </ac:picMkLst>
        </pc:picChg>
        <pc:picChg chg="del">
          <ac:chgData name="Helene Arnfred" userId="05a8b423-6e7f-4e71-b601-f56a99db3ed5" providerId="ADAL" clId="{57B47A7E-7EA5-B34E-AECA-1D70D3F36393}" dt="2024-11-20T10:25:06.408" v="9" actId="478"/>
          <ac:picMkLst>
            <pc:docMk/>
            <pc:sldMk cId="537074012" sldId="2147482139"/>
            <ac:picMk id="75" creationId="{B5CAC836-4C01-8302-3EA1-BCD6871016B5}"/>
          </ac:picMkLst>
        </pc:picChg>
        <pc:picChg chg="del">
          <ac:chgData name="Helene Arnfred" userId="05a8b423-6e7f-4e71-b601-f56a99db3ed5" providerId="ADAL" clId="{57B47A7E-7EA5-B34E-AECA-1D70D3F36393}" dt="2024-11-20T10:25:06.408" v="9" actId="478"/>
          <ac:picMkLst>
            <pc:docMk/>
            <pc:sldMk cId="537074012" sldId="2147482139"/>
            <ac:picMk id="90" creationId="{3E2B70E2-BADD-290A-3A43-B59F4277C70F}"/>
          </ac:picMkLst>
        </pc:picChg>
        <pc:picChg chg="del">
          <ac:chgData name="Helene Arnfred" userId="05a8b423-6e7f-4e71-b601-f56a99db3ed5" providerId="ADAL" clId="{57B47A7E-7EA5-B34E-AECA-1D70D3F36393}" dt="2024-11-20T10:25:06.408" v="9" actId="478"/>
          <ac:picMkLst>
            <pc:docMk/>
            <pc:sldMk cId="537074012" sldId="2147482139"/>
            <ac:picMk id="91" creationId="{F2F6A20E-0DCA-5297-AB3C-6E24EC9340A5}"/>
          </ac:picMkLst>
        </pc:picChg>
        <pc:picChg chg="del">
          <ac:chgData name="Helene Arnfred" userId="05a8b423-6e7f-4e71-b601-f56a99db3ed5" providerId="ADAL" clId="{57B47A7E-7EA5-B34E-AECA-1D70D3F36393}" dt="2024-11-20T10:25:06.408" v="9" actId="478"/>
          <ac:picMkLst>
            <pc:docMk/>
            <pc:sldMk cId="537074012" sldId="2147482139"/>
            <ac:picMk id="92" creationId="{7B6D8F3C-5A43-F5D3-09FE-15A23E856771}"/>
          </ac:picMkLst>
        </pc:picChg>
        <pc:picChg chg="del">
          <ac:chgData name="Helene Arnfred" userId="05a8b423-6e7f-4e71-b601-f56a99db3ed5" providerId="ADAL" clId="{57B47A7E-7EA5-B34E-AECA-1D70D3F36393}" dt="2024-11-20T10:25:06.408" v="9" actId="478"/>
          <ac:picMkLst>
            <pc:docMk/>
            <pc:sldMk cId="537074012" sldId="2147482139"/>
            <ac:picMk id="93" creationId="{E87D1F0D-DAB6-C49B-A1D5-C33D4837CBDD}"/>
          </ac:picMkLst>
        </pc:picChg>
      </pc:sldChg>
      <pc:sldChg chg="modSp add mod modShow">
        <pc:chgData name="Helene Arnfred" userId="05a8b423-6e7f-4e71-b601-f56a99db3ed5" providerId="ADAL" clId="{57B47A7E-7EA5-B34E-AECA-1D70D3F36393}" dt="2024-11-20T10:28:05.146" v="38" actId="20577"/>
        <pc:sldMkLst>
          <pc:docMk/>
          <pc:sldMk cId="2119704308" sldId="2147482140"/>
        </pc:sldMkLst>
        <pc:spChg chg="mod">
          <ac:chgData name="Helene Arnfred" userId="05a8b423-6e7f-4e71-b601-f56a99db3ed5" providerId="ADAL" clId="{57B47A7E-7EA5-B34E-AECA-1D70D3F36393}" dt="2024-11-20T10:28:05.146" v="38" actId="20577"/>
          <ac:spMkLst>
            <pc:docMk/>
            <pc:sldMk cId="2119704308" sldId="2147482140"/>
            <ac:spMk id="3" creationId="{A25601A6-F987-94BD-E8B0-EEB8A9BF49D0}"/>
          </ac:spMkLst>
        </pc:spChg>
      </pc:sldChg>
    </pc:docChg>
  </pc:docChgLst>
  <pc:docChgLst>
    <pc:chgData name="Kasper Brøndum Andersen" userId="23d34907-f6e1-4907-afd7-52417792db56" providerId="ADAL" clId="{0308FC5D-0DEF-4D4C-A4FB-2D9C7484B548}"/>
    <pc:docChg chg="undo custSel modSld">
      <pc:chgData name="Kasper Brøndum Andersen" userId="23d34907-f6e1-4907-afd7-52417792db56" providerId="ADAL" clId="{0308FC5D-0DEF-4D4C-A4FB-2D9C7484B548}" dt="2024-11-27T12:50:03.522" v="23" actId="1076"/>
      <pc:docMkLst>
        <pc:docMk/>
      </pc:docMkLst>
      <pc:sldChg chg="modSp mod">
        <pc:chgData name="Kasper Brøndum Andersen" userId="23d34907-f6e1-4907-afd7-52417792db56" providerId="ADAL" clId="{0308FC5D-0DEF-4D4C-A4FB-2D9C7484B548}" dt="2024-11-27T12:50:03.522" v="23" actId="1076"/>
        <pc:sldMkLst>
          <pc:docMk/>
          <pc:sldMk cId="3844358417" sldId="322"/>
        </pc:sldMkLst>
        <pc:spChg chg="mod">
          <ac:chgData name="Kasper Brøndum Andersen" userId="23d34907-f6e1-4907-afd7-52417792db56" providerId="ADAL" clId="{0308FC5D-0DEF-4D4C-A4FB-2D9C7484B548}" dt="2024-11-27T12:50:02.033" v="15" actId="1076"/>
          <ac:spMkLst>
            <pc:docMk/>
            <pc:sldMk cId="3844358417" sldId="322"/>
            <ac:spMk id="51" creationId="{74466832-6F44-AC9C-8241-FC68EEEA9DED}"/>
          </ac:spMkLst>
        </pc:spChg>
        <pc:spChg chg="mod">
          <ac:chgData name="Kasper Brøndum Andersen" userId="23d34907-f6e1-4907-afd7-52417792db56" providerId="ADAL" clId="{0308FC5D-0DEF-4D4C-A4FB-2D9C7484B548}" dt="2024-11-27T12:50:02.985" v="20" actId="1076"/>
          <ac:spMkLst>
            <pc:docMk/>
            <pc:sldMk cId="3844358417" sldId="322"/>
            <ac:spMk id="54" creationId="{077AE812-77A8-1171-ADF6-1F1B32BC1DFB}"/>
          </ac:spMkLst>
        </pc:spChg>
        <pc:spChg chg="mod">
          <ac:chgData name="Kasper Brøndum Andersen" userId="23d34907-f6e1-4907-afd7-52417792db56" providerId="ADAL" clId="{0308FC5D-0DEF-4D4C-A4FB-2D9C7484B548}" dt="2024-11-27T12:50:02.586" v="18" actId="1076"/>
          <ac:spMkLst>
            <pc:docMk/>
            <pc:sldMk cId="3844358417" sldId="322"/>
            <ac:spMk id="55" creationId="{D695E50B-F7F2-12BD-DA0C-4184536C7FFE}"/>
          </ac:spMkLst>
        </pc:spChg>
        <pc:spChg chg="mod">
          <ac:chgData name="Kasper Brøndum Andersen" userId="23d34907-f6e1-4907-afd7-52417792db56" providerId="ADAL" clId="{0308FC5D-0DEF-4D4C-A4FB-2D9C7484B548}" dt="2024-11-27T12:50:03.522" v="23" actId="1076"/>
          <ac:spMkLst>
            <pc:docMk/>
            <pc:sldMk cId="3844358417" sldId="322"/>
            <ac:spMk id="58" creationId="{7C4000E0-C0E4-5658-8204-7BC7EEA7E985}"/>
          </ac:spMkLst>
        </pc:spChg>
        <pc:spChg chg="mod">
          <ac:chgData name="Kasper Brøndum Andersen" userId="23d34907-f6e1-4907-afd7-52417792db56" providerId="ADAL" clId="{0308FC5D-0DEF-4D4C-A4FB-2D9C7484B548}" dt="2024-11-27T12:50:03.370" v="22" actId="1076"/>
          <ac:spMkLst>
            <pc:docMk/>
            <pc:sldMk cId="3844358417" sldId="322"/>
            <ac:spMk id="59" creationId="{4A81E8CE-EF10-A19E-2652-A1C5CC011BA0}"/>
          </ac:spMkLst>
        </pc:spChg>
        <pc:spChg chg="mod">
          <ac:chgData name="Kasper Brøndum Andersen" userId="23d34907-f6e1-4907-afd7-52417792db56" providerId="ADAL" clId="{0308FC5D-0DEF-4D4C-A4FB-2D9C7484B548}" dt="2024-11-27T12:50:01.825" v="14" actId="1076"/>
          <ac:spMkLst>
            <pc:docMk/>
            <pc:sldMk cId="3844358417" sldId="322"/>
            <ac:spMk id="61" creationId="{10F382F1-C78C-0797-A7BF-5864F8E3B905}"/>
          </ac:spMkLst>
        </pc:spChg>
        <pc:spChg chg="mod">
          <ac:chgData name="Kasper Brøndum Andersen" userId="23d34907-f6e1-4907-afd7-52417792db56" providerId="ADAL" clId="{0308FC5D-0DEF-4D4C-A4FB-2D9C7484B548}" dt="2024-11-27T12:50:01.381" v="12" actId="1076"/>
          <ac:spMkLst>
            <pc:docMk/>
            <pc:sldMk cId="3844358417" sldId="322"/>
            <ac:spMk id="64" creationId="{8FABCE13-9861-27AA-FF8B-95D63B3F5F5B}"/>
          </ac:spMkLst>
        </pc:spChg>
        <pc:picChg chg="mod">
          <ac:chgData name="Kasper Brøndum Andersen" userId="23d34907-f6e1-4907-afd7-52417792db56" providerId="ADAL" clId="{0308FC5D-0DEF-4D4C-A4FB-2D9C7484B548}" dt="2024-11-27T12:50:01.381" v="12" actId="1076"/>
          <ac:picMkLst>
            <pc:docMk/>
            <pc:sldMk cId="3844358417" sldId="322"/>
            <ac:picMk id="68" creationId="{D43204AD-FFAF-9AE8-70AA-D15197441A4F}"/>
          </ac:picMkLst>
        </pc:picChg>
        <pc:picChg chg="mod">
          <ac:chgData name="Kasper Brøndum Andersen" userId="23d34907-f6e1-4907-afd7-52417792db56" providerId="ADAL" clId="{0308FC5D-0DEF-4D4C-A4FB-2D9C7484B548}" dt="2024-11-27T12:50:02.033" v="15" actId="1076"/>
          <ac:picMkLst>
            <pc:docMk/>
            <pc:sldMk cId="3844358417" sldId="322"/>
            <ac:picMk id="72" creationId="{F3694544-2FC0-D3C3-6D76-87F3C072173E}"/>
          </ac:picMkLst>
        </pc:picChg>
        <pc:picChg chg="mod">
          <ac:chgData name="Kasper Brøndum Andersen" userId="23d34907-f6e1-4907-afd7-52417792db56" providerId="ADAL" clId="{0308FC5D-0DEF-4D4C-A4FB-2D9C7484B548}" dt="2024-11-27T12:50:01.825" v="14" actId="1076"/>
          <ac:picMkLst>
            <pc:docMk/>
            <pc:sldMk cId="3844358417" sldId="322"/>
            <ac:picMk id="73" creationId="{FECD8D02-53A0-F93F-C364-D0388EEDDEFE}"/>
          </ac:picMkLst>
        </pc:picChg>
        <pc:picChg chg="mod">
          <ac:chgData name="Kasper Brøndum Andersen" userId="23d34907-f6e1-4907-afd7-52417792db56" providerId="ADAL" clId="{0308FC5D-0DEF-4D4C-A4FB-2D9C7484B548}" dt="2024-11-27T12:50:02.586" v="18" actId="1076"/>
          <ac:picMkLst>
            <pc:docMk/>
            <pc:sldMk cId="3844358417" sldId="322"/>
            <ac:picMk id="76" creationId="{A87E5428-A889-9DC5-3F2F-84A08B71FB8B}"/>
          </ac:picMkLst>
        </pc:picChg>
        <pc:picChg chg="mod">
          <ac:chgData name="Kasper Brøndum Andersen" userId="23d34907-f6e1-4907-afd7-52417792db56" providerId="ADAL" clId="{0308FC5D-0DEF-4D4C-A4FB-2D9C7484B548}" dt="2024-11-27T12:50:03.522" v="23" actId="1076"/>
          <ac:picMkLst>
            <pc:docMk/>
            <pc:sldMk cId="3844358417" sldId="322"/>
            <ac:picMk id="77" creationId="{FEB30652-2D02-B298-7933-DD2D0642F30E}"/>
          </ac:picMkLst>
        </pc:picChg>
        <pc:picChg chg="mod">
          <ac:chgData name="Kasper Brøndum Andersen" userId="23d34907-f6e1-4907-afd7-52417792db56" providerId="ADAL" clId="{0308FC5D-0DEF-4D4C-A4FB-2D9C7484B548}" dt="2024-11-27T12:50:03.370" v="22" actId="1076"/>
          <ac:picMkLst>
            <pc:docMk/>
            <pc:sldMk cId="3844358417" sldId="322"/>
            <ac:picMk id="78" creationId="{E577F142-BAB4-E85A-6C1D-93C33E95B60A}"/>
          </ac:picMkLst>
        </pc:picChg>
        <pc:picChg chg="mod">
          <ac:chgData name="Kasper Brøndum Andersen" userId="23d34907-f6e1-4907-afd7-52417792db56" providerId="ADAL" clId="{0308FC5D-0DEF-4D4C-A4FB-2D9C7484B548}" dt="2024-11-27T12:50:02.985" v="20" actId="1076"/>
          <ac:picMkLst>
            <pc:docMk/>
            <pc:sldMk cId="3844358417" sldId="322"/>
            <ac:picMk id="79" creationId="{75B49A71-6152-640C-44C6-AE2235736F3A}"/>
          </ac:picMkLst>
        </pc:picChg>
      </pc:sldChg>
    </pc:docChg>
  </pc:docChgLst>
  <pc:docChgLst>
    <pc:chgData name="Ulla Jensen" userId="S::uje@domea.dk::9f08d654-f16e-4e37-932e-b650d83c4d02" providerId="AD" clId="Web-{66537D20-E6DB-365E-A16C-5372414711CB}"/>
    <pc:docChg chg="delSld">
      <pc:chgData name="Ulla Jensen" userId="S::uje@domea.dk::9f08d654-f16e-4e37-932e-b650d83c4d02" providerId="AD" clId="Web-{66537D20-E6DB-365E-A16C-5372414711CB}" dt="2024-11-21T10:52:29.836" v="0"/>
      <pc:docMkLst>
        <pc:docMk/>
      </pc:docMkLst>
      <pc:sldChg chg="del">
        <pc:chgData name="Ulla Jensen" userId="S::uje@domea.dk::9f08d654-f16e-4e37-932e-b650d83c4d02" providerId="AD" clId="Web-{66537D20-E6DB-365E-A16C-5372414711CB}" dt="2024-11-21T10:52:29.836" v="0"/>
        <pc:sldMkLst>
          <pc:docMk/>
          <pc:sldMk cId="537074012" sldId="2147482139"/>
        </pc:sldMkLst>
      </pc:sldChg>
    </pc:docChg>
  </pc:docChgLst>
  <pc:docChgLst>
    <pc:chgData name="Helene" userId="S::helene_wearedouc.com#ext#@domeadk.onmicrosoft.com::352e86e0-ed43-41b6-8071-b1515fd57e55" providerId="AD" clId="Web-{F2BDBD5F-165E-7E71-B542-B5BC5530C957}"/>
    <pc:docChg chg="addSld modSld">
      <pc:chgData name="Helene" userId="S::helene_wearedouc.com#ext#@domeadk.onmicrosoft.com::352e86e0-ed43-41b6-8071-b1515fd57e55" providerId="AD" clId="Web-{F2BDBD5F-165E-7E71-B542-B5BC5530C957}" dt="2024-11-20T10:18:44.698" v="6"/>
      <pc:docMkLst>
        <pc:docMk/>
      </pc:docMkLst>
      <pc:sldChg chg="add">
        <pc:chgData name="Helene" userId="S::helene_wearedouc.com#ext#@domeadk.onmicrosoft.com::352e86e0-ed43-41b6-8071-b1515fd57e55" providerId="AD" clId="Web-{F2BDBD5F-165E-7E71-B542-B5BC5530C957}" dt="2024-11-20T10:17:51.696" v="0"/>
        <pc:sldMkLst>
          <pc:docMk/>
          <pc:sldMk cId="801246152" sldId="279"/>
        </pc:sldMkLst>
      </pc:sldChg>
      <pc:sldChg chg="add">
        <pc:chgData name="Helene" userId="S::helene_wearedouc.com#ext#@domeadk.onmicrosoft.com::352e86e0-ed43-41b6-8071-b1515fd57e55" providerId="AD" clId="Web-{F2BDBD5F-165E-7E71-B542-B5BC5530C957}" dt="2024-11-20T10:17:51.727" v="1"/>
        <pc:sldMkLst>
          <pc:docMk/>
          <pc:sldMk cId="1702258681" sldId="280"/>
        </pc:sldMkLst>
      </pc:sldChg>
      <pc:sldChg chg="add">
        <pc:chgData name="Helene" userId="S::helene_wearedouc.com#ext#@domeadk.onmicrosoft.com::352e86e0-ed43-41b6-8071-b1515fd57e55" providerId="AD" clId="Web-{F2BDBD5F-165E-7E71-B542-B5BC5530C957}" dt="2024-11-20T10:17:51.759" v="2"/>
        <pc:sldMkLst>
          <pc:docMk/>
          <pc:sldMk cId="3240193961" sldId="285"/>
        </pc:sldMkLst>
      </pc:sldChg>
      <pc:sldChg chg="addSp delSp modSp">
        <pc:chgData name="Helene" userId="S::helene_wearedouc.com#ext#@domeadk.onmicrosoft.com::352e86e0-ed43-41b6-8071-b1515fd57e55" providerId="AD" clId="Web-{F2BDBD5F-165E-7E71-B542-B5BC5530C957}" dt="2024-11-20T10:18:44.698" v="6"/>
        <pc:sldMkLst>
          <pc:docMk/>
          <pc:sldMk cId="1192291879" sldId="364"/>
        </pc:sldMkLst>
        <pc:spChg chg="add del mod">
          <ac:chgData name="Helene" userId="S::helene_wearedouc.com#ext#@domeadk.onmicrosoft.com::352e86e0-ed43-41b6-8071-b1515fd57e55" providerId="AD" clId="Web-{F2BDBD5F-165E-7E71-B542-B5BC5530C957}" dt="2024-11-20T10:18:44.698" v="6"/>
          <ac:spMkLst>
            <pc:docMk/>
            <pc:sldMk cId="1192291879" sldId="364"/>
            <ac:spMk id="2" creationId="{E5857866-529A-6CDA-E7B9-56CBF0AF6A87}"/>
          </ac:spMkLst>
        </pc:spChg>
      </pc:sldChg>
    </pc:docChg>
  </pc:docChgLst>
  <pc:docChgLst>
    <pc:chgData name="Ulla Jensen" userId="S::uje@domea.dk::9f08d654-f16e-4e37-932e-b650d83c4d02" providerId="AD" clId="Web-{A43B19BD-953A-1DDB-59B8-CE129486F6B4}"/>
    <pc:docChg chg="modSld">
      <pc:chgData name="Ulla Jensen" userId="S::uje@domea.dk::9f08d654-f16e-4e37-932e-b650d83c4d02" providerId="AD" clId="Web-{A43B19BD-953A-1DDB-59B8-CE129486F6B4}" dt="2024-11-21T10:50:54.143" v="10" actId="1076"/>
      <pc:docMkLst>
        <pc:docMk/>
      </pc:docMkLst>
      <pc:sldChg chg="modSp">
        <pc:chgData name="Ulla Jensen" userId="S::uje@domea.dk::9f08d654-f16e-4e37-932e-b650d83c4d02" providerId="AD" clId="Web-{A43B19BD-953A-1DDB-59B8-CE129486F6B4}" dt="2024-11-21T10:50:54.143" v="10" actId="1076"/>
        <pc:sldMkLst>
          <pc:docMk/>
          <pc:sldMk cId="2727716631" sldId="368"/>
        </pc:sldMkLst>
        <pc:spChg chg="mod">
          <ac:chgData name="Ulla Jensen" userId="S::uje@domea.dk::9f08d654-f16e-4e37-932e-b650d83c4d02" providerId="AD" clId="Web-{A43B19BD-953A-1DDB-59B8-CE129486F6B4}" dt="2024-11-21T10:50:14.032" v="1" actId="1076"/>
          <ac:spMkLst>
            <pc:docMk/>
            <pc:sldMk cId="2727716631" sldId="368"/>
            <ac:spMk id="15" creationId="{C777DC0D-2706-3914-BFC9-5104C9322D81}"/>
          </ac:spMkLst>
        </pc:spChg>
        <pc:spChg chg="mod">
          <ac:chgData name="Ulla Jensen" userId="S::uje@domea.dk::9f08d654-f16e-4e37-932e-b650d83c4d02" providerId="AD" clId="Web-{A43B19BD-953A-1DDB-59B8-CE129486F6B4}" dt="2024-11-21T10:50:14.204" v="2" actId="1076"/>
          <ac:spMkLst>
            <pc:docMk/>
            <pc:sldMk cId="2727716631" sldId="368"/>
            <ac:spMk id="16" creationId="{8D13BC0A-15EB-3BF6-897D-3780DB9C3E26}"/>
          </ac:spMkLst>
        </pc:spChg>
        <pc:spChg chg="mod">
          <ac:chgData name="Ulla Jensen" userId="S::uje@domea.dk::9f08d654-f16e-4e37-932e-b650d83c4d02" providerId="AD" clId="Web-{A43B19BD-953A-1DDB-59B8-CE129486F6B4}" dt="2024-11-21T10:50:34.720" v="5" actId="1076"/>
          <ac:spMkLst>
            <pc:docMk/>
            <pc:sldMk cId="2727716631" sldId="368"/>
            <ac:spMk id="23" creationId="{0F8B3829-3D42-FFD2-0A65-D85B8DB52C1D}"/>
          </ac:spMkLst>
        </pc:spChg>
        <pc:spChg chg="mod">
          <ac:chgData name="Ulla Jensen" userId="S::uje@domea.dk::9f08d654-f16e-4e37-932e-b650d83c4d02" providerId="AD" clId="Web-{A43B19BD-953A-1DDB-59B8-CE129486F6B4}" dt="2024-11-21T10:50:42.080" v="6" actId="1076"/>
          <ac:spMkLst>
            <pc:docMk/>
            <pc:sldMk cId="2727716631" sldId="368"/>
            <ac:spMk id="25" creationId="{31EBC4FB-C334-B137-C829-1CB26DEEDAF6}"/>
          </ac:spMkLst>
        </pc:spChg>
        <pc:spChg chg="mod">
          <ac:chgData name="Ulla Jensen" userId="S::uje@domea.dk::9f08d654-f16e-4e37-932e-b650d83c4d02" providerId="AD" clId="Web-{A43B19BD-953A-1DDB-59B8-CE129486F6B4}" dt="2024-11-21T10:50:28.001" v="4" actId="1076"/>
          <ac:spMkLst>
            <pc:docMk/>
            <pc:sldMk cId="2727716631" sldId="368"/>
            <ac:spMk id="26" creationId="{E6CE3292-9C1E-5B14-7191-EDB7C98F6641}"/>
          </ac:spMkLst>
        </pc:spChg>
        <pc:spChg chg="mod">
          <ac:chgData name="Ulla Jensen" userId="S::uje@domea.dk::9f08d654-f16e-4e37-932e-b650d83c4d02" providerId="AD" clId="Web-{A43B19BD-953A-1DDB-59B8-CE129486F6B4}" dt="2024-11-21T10:50:54.143" v="10" actId="1076"/>
          <ac:spMkLst>
            <pc:docMk/>
            <pc:sldMk cId="2727716631" sldId="368"/>
            <ac:spMk id="34" creationId="{F8A8155D-72FB-491F-330E-01C1499053BA}"/>
          </ac:spMkLst>
        </pc:spChg>
        <pc:spChg chg="mod">
          <ac:chgData name="Ulla Jensen" userId="S::uje@domea.dk::9f08d654-f16e-4e37-932e-b650d83c4d02" providerId="AD" clId="Web-{A43B19BD-953A-1DDB-59B8-CE129486F6B4}" dt="2024-11-21T10:50:53.846" v="9" actId="14100"/>
          <ac:spMkLst>
            <pc:docMk/>
            <pc:sldMk cId="2727716631" sldId="368"/>
            <ac:spMk id="35" creationId="{407AC014-B77C-E9C8-526D-DA87FCDECAC5}"/>
          </ac:spMkLst>
        </pc:spChg>
      </pc:sldChg>
    </pc:docChg>
  </pc:docChgLst>
  <pc:docChgLst>
    <pc:chgData name="Kasper Brøndum Andersen" userId="23d34907-f6e1-4907-afd7-52417792db56" providerId="ADAL" clId="{54838432-4867-4750-91F5-A1D383E4FFE8}"/>
    <pc:docChg chg="undo custSel modSld">
      <pc:chgData name="Kasper Brøndum Andersen" userId="23d34907-f6e1-4907-afd7-52417792db56" providerId="ADAL" clId="{54838432-4867-4750-91F5-A1D383E4FFE8}" dt="2024-11-28T10:00:03.948" v="490" actId="313"/>
      <pc:docMkLst>
        <pc:docMk/>
      </pc:docMkLst>
      <pc:sldChg chg="modSp mod">
        <pc:chgData name="Kasper Brøndum Andersen" userId="23d34907-f6e1-4907-afd7-52417792db56" providerId="ADAL" clId="{54838432-4867-4750-91F5-A1D383E4FFE8}" dt="2024-11-28T10:00:03.948" v="490" actId="313"/>
        <pc:sldMkLst>
          <pc:docMk/>
          <pc:sldMk cId="3240193961" sldId="285"/>
        </pc:sldMkLst>
        <pc:spChg chg="mod">
          <ac:chgData name="Kasper Brøndum Andersen" userId="23d34907-f6e1-4907-afd7-52417792db56" providerId="ADAL" clId="{54838432-4867-4750-91F5-A1D383E4FFE8}" dt="2024-11-28T10:00:03.948" v="490" actId="313"/>
          <ac:spMkLst>
            <pc:docMk/>
            <pc:sldMk cId="3240193961" sldId="285"/>
            <ac:spMk id="3" creationId="{09DF3FF7-ADC3-1C69-4A86-8F4D9FA27B0A}"/>
          </ac:spMkLst>
        </pc:spChg>
      </pc:sldChg>
      <pc:sldChg chg="modSp mod">
        <pc:chgData name="Kasper Brøndum Andersen" userId="23d34907-f6e1-4907-afd7-52417792db56" providerId="ADAL" clId="{54838432-4867-4750-91F5-A1D383E4FFE8}" dt="2024-11-28T09:39:11.125" v="357" actId="1038"/>
        <pc:sldMkLst>
          <pc:docMk/>
          <pc:sldMk cId="1833241818" sldId="300"/>
        </pc:sldMkLst>
        <pc:spChg chg="mod">
          <ac:chgData name="Kasper Brøndum Andersen" userId="23d34907-f6e1-4907-afd7-52417792db56" providerId="ADAL" clId="{54838432-4867-4750-91F5-A1D383E4FFE8}" dt="2024-11-28T09:20:16.221" v="131" actId="20577"/>
          <ac:spMkLst>
            <pc:docMk/>
            <pc:sldMk cId="1833241818" sldId="300"/>
            <ac:spMk id="11" creationId="{92805E7F-B89D-9A6A-7BB1-8CD9F698BEDF}"/>
          </ac:spMkLst>
        </pc:spChg>
        <pc:spChg chg="mod">
          <ac:chgData name="Kasper Brøndum Andersen" userId="23d34907-f6e1-4907-afd7-52417792db56" providerId="ADAL" clId="{54838432-4867-4750-91F5-A1D383E4FFE8}" dt="2024-11-28T09:21:19.836" v="163" actId="20577"/>
          <ac:spMkLst>
            <pc:docMk/>
            <pc:sldMk cId="1833241818" sldId="300"/>
            <ac:spMk id="28" creationId="{F31E488A-E6BC-DDA9-5D88-58CFD57B929A}"/>
          </ac:spMkLst>
        </pc:spChg>
        <pc:spChg chg="mod">
          <ac:chgData name="Kasper Brøndum Andersen" userId="23d34907-f6e1-4907-afd7-52417792db56" providerId="ADAL" clId="{54838432-4867-4750-91F5-A1D383E4FFE8}" dt="2024-11-28T09:22:06.547" v="174" actId="20577"/>
          <ac:spMkLst>
            <pc:docMk/>
            <pc:sldMk cId="1833241818" sldId="300"/>
            <ac:spMk id="29" creationId="{5973DD7D-DF72-78D6-2380-8D44202FC4BA}"/>
          </ac:spMkLst>
        </pc:spChg>
        <pc:spChg chg="mod">
          <ac:chgData name="Kasper Brøndum Andersen" userId="23d34907-f6e1-4907-afd7-52417792db56" providerId="ADAL" clId="{54838432-4867-4750-91F5-A1D383E4FFE8}" dt="2024-11-28T09:22:18.203" v="175" actId="20577"/>
          <ac:spMkLst>
            <pc:docMk/>
            <pc:sldMk cId="1833241818" sldId="300"/>
            <ac:spMk id="30" creationId="{FA3FAE63-CAB9-BD89-5F6F-353CC577B897}"/>
          </ac:spMkLst>
        </pc:spChg>
        <pc:spChg chg="mod">
          <ac:chgData name="Kasper Brøndum Andersen" userId="23d34907-f6e1-4907-afd7-52417792db56" providerId="ADAL" clId="{54838432-4867-4750-91F5-A1D383E4FFE8}" dt="2024-11-28T09:23:04.461" v="178" actId="14100"/>
          <ac:spMkLst>
            <pc:docMk/>
            <pc:sldMk cId="1833241818" sldId="300"/>
            <ac:spMk id="31" creationId="{5672EEA0-FEFF-B195-1205-9CA10258B685}"/>
          </ac:spMkLst>
        </pc:spChg>
        <pc:spChg chg="mod">
          <ac:chgData name="Kasper Brøndum Andersen" userId="23d34907-f6e1-4907-afd7-52417792db56" providerId="ADAL" clId="{54838432-4867-4750-91F5-A1D383E4FFE8}" dt="2024-11-28T09:23:04.461" v="178" actId="14100"/>
          <ac:spMkLst>
            <pc:docMk/>
            <pc:sldMk cId="1833241818" sldId="300"/>
            <ac:spMk id="32" creationId="{7DABC94B-D11E-6A9F-6059-DF53B5AA6ABA}"/>
          </ac:spMkLst>
        </pc:spChg>
        <pc:spChg chg="mod">
          <ac:chgData name="Kasper Brøndum Andersen" userId="23d34907-f6e1-4907-afd7-52417792db56" providerId="ADAL" clId="{54838432-4867-4750-91F5-A1D383E4FFE8}" dt="2024-11-28T09:38:49.346" v="343" actId="20577"/>
          <ac:spMkLst>
            <pc:docMk/>
            <pc:sldMk cId="1833241818" sldId="300"/>
            <ac:spMk id="42" creationId="{8E0F96E6-6620-F321-8105-4B51ECBD8547}"/>
          </ac:spMkLst>
        </pc:spChg>
        <pc:grpChg chg="mod">
          <ac:chgData name="Kasper Brøndum Andersen" userId="23d34907-f6e1-4907-afd7-52417792db56" providerId="ADAL" clId="{54838432-4867-4750-91F5-A1D383E4FFE8}" dt="2024-11-28T09:39:11.125" v="357" actId="1038"/>
          <ac:grpSpMkLst>
            <pc:docMk/>
            <pc:sldMk cId="1833241818" sldId="300"/>
            <ac:grpSpMk id="1316" creationId="{83D63469-74A1-2781-E4DF-37F007222383}"/>
          </ac:grpSpMkLst>
        </pc:grpChg>
      </pc:sldChg>
      <pc:sldChg chg="modSp mod">
        <pc:chgData name="Kasper Brøndum Andersen" userId="23d34907-f6e1-4907-afd7-52417792db56" providerId="ADAL" clId="{54838432-4867-4750-91F5-A1D383E4FFE8}" dt="2024-11-28T09:40:00.631" v="360" actId="1076"/>
        <pc:sldMkLst>
          <pc:docMk/>
          <pc:sldMk cId="3844358417" sldId="322"/>
        </pc:sldMkLst>
        <pc:spChg chg="mod">
          <ac:chgData name="Kasper Brøndum Andersen" userId="23d34907-f6e1-4907-afd7-52417792db56" providerId="ADAL" clId="{54838432-4867-4750-91F5-A1D383E4FFE8}" dt="2024-11-28T09:23:52.667" v="183" actId="20577"/>
          <ac:spMkLst>
            <pc:docMk/>
            <pc:sldMk cId="3844358417" sldId="322"/>
            <ac:spMk id="11" creationId="{04CBDCAD-517F-68F9-F15E-D74673BF0B16}"/>
          </ac:spMkLst>
        </pc:spChg>
        <pc:spChg chg="mod">
          <ac:chgData name="Kasper Brøndum Andersen" userId="23d34907-f6e1-4907-afd7-52417792db56" providerId="ADAL" clId="{54838432-4867-4750-91F5-A1D383E4FFE8}" dt="2024-11-28T09:23:24.849" v="180" actId="1076"/>
          <ac:spMkLst>
            <pc:docMk/>
            <pc:sldMk cId="3844358417" sldId="322"/>
            <ac:spMk id="26" creationId="{DEADEC06-E7B4-FD0F-B9FD-B9341B8A1A86}"/>
          </ac:spMkLst>
        </pc:spChg>
        <pc:spChg chg="mod">
          <ac:chgData name="Kasper Brøndum Andersen" userId="23d34907-f6e1-4907-afd7-52417792db56" providerId="ADAL" clId="{54838432-4867-4750-91F5-A1D383E4FFE8}" dt="2024-11-28T09:40:00.631" v="360" actId="1076"/>
          <ac:spMkLst>
            <pc:docMk/>
            <pc:sldMk cId="3844358417" sldId="322"/>
            <ac:spMk id="28" creationId="{47D545F1-B9B9-BAD7-2E83-A7FD69D7E9CE}"/>
          </ac:spMkLst>
        </pc:spChg>
        <pc:spChg chg="mod">
          <ac:chgData name="Kasper Brøndum Andersen" userId="23d34907-f6e1-4907-afd7-52417792db56" providerId="ADAL" clId="{54838432-4867-4750-91F5-A1D383E4FFE8}" dt="2024-11-28T09:23:44.763" v="181" actId="6549"/>
          <ac:spMkLst>
            <pc:docMk/>
            <pc:sldMk cId="3844358417" sldId="322"/>
            <ac:spMk id="39" creationId="{568F6C89-5015-7B4D-E023-9F9A7ED3F94E}"/>
          </ac:spMkLst>
        </pc:spChg>
      </pc:sldChg>
      <pc:sldChg chg="delSp modSp mod">
        <pc:chgData name="Kasper Brøndum Andersen" userId="23d34907-f6e1-4907-afd7-52417792db56" providerId="ADAL" clId="{54838432-4867-4750-91F5-A1D383E4FFE8}" dt="2024-11-28T09:43:08.418" v="363" actId="20577"/>
        <pc:sldMkLst>
          <pc:docMk/>
          <pc:sldMk cId="643063494" sldId="329"/>
        </pc:sldMkLst>
        <pc:spChg chg="mod">
          <ac:chgData name="Kasper Brøndum Andersen" userId="23d34907-f6e1-4907-afd7-52417792db56" providerId="ADAL" clId="{54838432-4867-4750-91F5-A1D383E4FFE8}" dt="2024-11-28T09:28:00.703" v="224" actId="1035"/>
          <ac:spMkLst>
            <pc:docMk/>
            <pc:sldMk cId="643063494" sldId="329"/>
            <ac:spMk id="6" creationId="{6B291C51-38D9-DEF3-BB2D-5C87AE16796C}"/>
          </ac:spMkLst>
        </pc:spChg>
        <pc:spChg chg="mod">
          <ac:chgData name="Kasper Brøndum Andersen" userId="23d34907-f6e1-4907-afd7-52417792db56" providerId="ADAL" clId="{54838432-4867-4750-91F5-A1D383E4FFE8}" dt="2024-11-28T09:28:00.703" v="224" actId="1035"/>
          <ac:spMkLst>
            <pc:docMk/>
            <pc:sldMk cId="643063494" sldId="329"/>
            <ac:spMk id="9" creationId="{5EEC095D-E31C-08EE-DF2A-2C63EE8A01BC}"/>
          </ac:spMkLst>
        </pc:spChg>
        <pc:spChg chg="mod">
          <ac:chgData name="Kasper Brøndum Andersen" userId="23d34907-f6e1-4907-afd7-52417792db56" providerId="ADAL" clId="{54838432-4867-4750-91F5-A1D383E4FFE8}" dt="2024-11-28T09:24:27.554" v="188" actId="14100"/>
          <ac:spMkLst>
            <pc:docMk/>
            <pc:sldMk cId="643063494" sldId="329"/>
            <ac:spMk id="18" creationId="{B46A3131-4934-1F12-E790-84A47863905D}"/>
          </ac:spMkLst>
        </pc:spChg>
        <pc:spChg chg="mod">
          <ac:chgData name="Kasper Brøndum Andersen" userId="23d34907-f6e1-4907-afd7-52417792db56" providerId="ADAL" clId="{54838432-4867-4750-91F5-A1D383E4FFE8}" dt="2024-11-28T09:43:08.418" v="363" actId="20577"/>
          <ac:spMkLst>
            <pc:docMk/>
            <pc:sldMk cId="643063494" sldId="329"/>
            <ac:spMk id="28" creationId="{74FB56B9-FE58-0266-DE4C-82E680CD2B00}"/>
          </ac:spMkLst>
        </pc:spChg>
        <pc:spChg chg="mod">
          <ac:chgData name="Kasper Brøndum Andersen" userId="23d34907-f6e1-4907-afd7-52417792db56" providerId="ADAL" clId="{54838432-4867-4750-91F5-A1D383E4FFE8}" dt="2024-11-28T09:26:23.781" v="195" actId="1076"/>
          <ac:spMkLst>
            <pc:docMk/>
            <pc:sldMk cId="643063494" sldId="329"/>
            <ac:spMk id="29" creationId="{2F1DAB10-DAA2-820C-8811-CBEAA915AD49}"/>
          </ac:spMkLst>
        </pc:spChg>
        <pc:spChg chg="mod">
          <ac:chgData name="Kasper Brøndum Andersen" userId="23d34907-f6e1-4907-afd7-52417792db56" providerId="ADAL" clId="{54838432-4867-4750-91F5-A1D383E4FFE8}" dt="2024-11-28T09:26:23.781" v="195" actId="1076"/>
          <ac:spMkLst>
            <pc:docMk/>
            <pc:sldMk cId="643063494" sldId="329"/>
            <ac:spMk id="33" creationId="{4F69B4A7-03C6-89D5-109B-01A69C89D546}"/>
          </ac:spMkLst>
        </pc:spChg>
        <pc:spChg chg="mod">
          <ac:chgData name="Kasper Brøndum Andersen" userId="23d34907-f6e1-4907-afd7-52417792db56" providerId="ADAL" clId="{54838432-4867-4750-91F5-A1D383E4FFE8}" dt="2024-11-28T09:26:23.781" v="195" actId="1076"/>
          <ac:spMkLst>
            <pc:docMk/>
            <pc:sldMk cId="643063494" sldId="329"/>
            <ac:spMk id="34" creationId="{1A288ED8-1D41-5877-5A60-D78D8CBCFEC0}"/>
          </ac:spMkLst>
        </pc:spChg>
        <pc:spChg chg="mod">
          <ac:chgData name="Kasper Brøndum Andersen" userId="23d34907-f6e1-4907-afd7-52417792db56" providerId="ADAL" clId="{54838432-4867-4750-91F5-A1D383E4FFE8}" dt="2024-11-28T09:27:51.112" v="215" actId="14100"/>
          <ac:spMkLst>
            <pc:docMk/>
            <pc:sldMk cId="643063494" sldId="329"/>
            <ac:spMk id="59" creationId="{B63BE15B-D0E1-218D-1430-1B1A9C1A537C}"/>
          </ac:spMkLst>
        </pc:spChg>
        <pc:spChg chg="mod">
          <ac:chgData name="Kasper Brøndum Andersen" userId="23d34907-f6e1-4907-afd7-52417792db56" providerId="ADAL" clId="{54838432-4867-4750-91F5-A1D383E4FFE8}" dt="2024-11-28T09:27:46.181" v="213" actId="14100"/>
          <ac:spMkLst>
            <pc:docMk/>
            <pc:sldMk cId="643063494" sldId="329"/>
            <ac:spMk id="63" creationId="{FBB97D7A-8740-9B34-C6BD-7F99F05CFCE0}"/>
          </ac:spMkLst>
        </pc:spChg>
        <pc:grpChg chg="mod">
          <ac:chgData name="Kasper Brøndum Andersen" userId="23d34907-f6e1-4907-afd7-52417792db56" providerId="ADAL" clId="{54838432-4867-4750-91F5-A1D383E4FFE8}" dt="2024-11-28T09:26:32.613" v="198" actId="1076"/>
          <ac:grpSpMkLst>
            <pc:docMk/>
            <pc:sldMk cId="643063494" sldId="329"/>
            <ac:grpSpMk id="73" creationId="{FB6E5545-CA77-A582-32AF-82CE1490DB74}"/>
          </ac:grpSpMkLst>
        </pc:grpChg>
        <pc:grpChg chg="mod">
          <ac:chgData name="Kasper Brøndum Andersen" userId="23d34907-f6e1-4907-afd7-52417792db56" providerId="ADAL" clId="{54838432-4867-4750-91F5-A1D383E4FFE8}" dt="2024-11-28T09:26:32.613" v="198" actId="1076"/>
          <ac:grpSpMkLst>
            <pc:docMk/>
            <pc:sldMk cId="643063494" sldId="329"/>
            <ac:grpSpMk id="76" creationId="{EA058351-D47A-17A3-441F-4491B2636A93}"/>
          </ac:grpSpMkLst>
        </pc:grpChg>
        <pc:picChg chg="mod">
          <ac:chgData name="Kasper Brøndum Andersen" userId="23d34907-f6e1-4907-afd7-52417792db56" providerId="ADAL" clId="{54838432-4867-4750-91F5-A1D383E4FFE8}" dt="2024-11-28T09:28:09.532" v="225" actId="1076"/>
          <ac:picMkLst>
            <pc:docMk/>
            <pc:sldMk cId="643063494" sldId="329"/>
            <ac:picMk id="12" creationId="{1F462A54-934D-3369-8D73-153B787B87FE}"/>
          </ac:picMkLst>
        </pc:picChg>
        <pc:cxnChg chg="del mod">
          <ac:chgData name="Kasper Brøndum Andersen" userId="23d34907-f6e1-4907-afd7-52417792db56" providerId="ADAL" clId="{54838432-4867-4750-91F5-A1D383E4FFE8}" dt="2024-11-28T09:27:17.223" v="206" actId="478"/>
          <ac:cxnSpMkLst>
            <pc:docMk/>
            <pc:sldMk cId="643063494" sldId="329"/>
            <ac:cxnSpMk id="38" creationId="{4E9D0B22-B906-5507-8D06-542B6F25D25C}"/>
          </ac:cxnSpMkLst>
        </pc:cxnChg>
        <pc:cxnChg chg="mod">
          <ac:chgData name="Kasper Brøndum Andersen" userId="23d34907-f6e1-4907-afd7-52417792db56" providerId="ADAL" clId="{54838432-4867-4750-91F5-A1D383E4FFE8}" dt="2024-11-28T09:27:38.166" v="212" actId="1036"/>
          <ac:cxnSpMkLst>
            <pc:docMk/>
            <pc:sldMk cId="643063494" sldId="329"/>
            <ac:cxnSpMk id="61" creationId="{0165F419-344A-7A36-A1B5-074744F992AC}"/>
          </ac:cxnSpMkLst>
        </pc:cxnChg>
        <pc:cxnChg chg="mod">
          <ac:chgData name="Kasper Brøndum Andersen" userId="23d34907-f6e1-4907-afd7-52417792db56" providerId="ADAL" clId="{54838432-4867-4750-91F5-A1D383E4FFE8}" dt="2024-11-28T09:26:37.186" v="199" actId="14100"/>
          <ac:cxnSpMkLst>
            <pc:docMk/>
            <pc:sldMk cId="643063494" sldId="329"/>
            <ac:cxnSpMk id="62" creationId="{1EA62165-37AA-1C58-8DBA-4F6AC17B8E43}"/>
          </ac:cxnSpMkLst>
        </pc:cxnChg>
        <pc:cxnChg chg="mod">
          <ac:chgData name="Kasper Brøndum Andersen" userId="23d34907-f6e1-4907-afd7-52417792db56" providerId="ADAL" clId="{54838432-4867-4750-91F5-A1D383E4FFE8}" dt="2024-11-28T09:27:12.301" v="205" actId="1076"/>
          <ac:cxnSpMkLst>
            <pc:docMk/>
            <pc:sldMk cId="643063494" sldId="329"/>
            <ac:cxnSpMk id="84" creationId="{8E6C59E3-44F4-6B21-ECA4-A777B1C2B2DC}"/>
          </ac:cxnSpMkLst>
        </pc:cxnChg>
      </pc:sldChg>
      <pc:sldChg chg="addSp modSp mod">
        <pc:chgData name="Kasper Brøndum Andersen" userId="23d34907-f6e1-4907-afd7-52417792db56" providerId="ADAL" clId="{54838432-4867-4750-91F5-A1D383E4FFE8}" dt="2024-11-28T09:35:40.973" v="254" actId="108"/>
        <pc:sldMkLst>
          <pc:docMk/>
          <pc:sldMk cId="1558907064" sldId="359"/>
        </pc:sldMkLst>
        <pc:spChg chg="add mod">
          <ac:chgData name="Kasper Brøndum Andersen" userId="23d34907-f6e1-4907-afd7-52417792db56" providerId="ADAL" clId="{54838432-4867-4750-91F5-A1D383E4FFE8}" dt="2024-11-28T09:16:55.846" v="90" actId="113"/>
          <ac:spMkLst>
            <pc:docMk/>
            <pc:sldMk cId="1558907064" sldId="359"/>
            <ac:spMk id="2" creationId="{A4C3902F-7EA7-9253-727B-EE9A57272EB2}"/>
          </ac:spMkLst>
        </pc:spChg>
        <pc:spChg chg="add mod">
          <ac:chgData name="Kasper Brøndum Andersen" userId="23d34907-f6e1-4907-afd7-52417792db56" providerId="ADAL" clId="{54838432-4867-4750-91F5-A1D383E4FFE8}" dt="2024-11-28T09:16:59.066" v="91" actId="113"/>
          <ac:spMkLst>
            <pc:docMk/>
            <pc:sldMk cId="1558907064" sldId="359"/>
            <ac:spMk id="3" creationId="{875E5C84-9BB1-0CB4-0BB1-AD2591A149BA}"/>
          </ac:spMkLst>
        </pc:spChg>
        <pc:spChg chg="add mod">
          <ac:chgData name="Kasper Brøndum Andersen" userId="23d34907-f6e1-4907-afd7-52417792db56" providerId="ADAL" clId="{54838432-4867-4750-91F5-A1D383E4FFE8}" dt="2024-11-28T09:16:52.493" v="89" actId="113"/>
          <ac:spMkLst>
            <pc:docMk/>
            <pc:sldMk cId="1558907064" sldId="359"/>
            <ac:spMk id="9" creationId="{A9980EB6-599D-096D-9451-D9D570FED850}"/>
          </ac:spMkLst>
        </pc:spChg>
        <pc:spChg chg="mod">
          <ac:chgData name="Kasper Brøndum Andersen" userId="23d34907-f6e1-4907-afd7-52417792db56" providerId="ADAL" clId="{54838432-4867-4750-91F5-A1D383E4FFE8}" dt="2024-11-28T09:13:22.537" v="32" actId="1076"/>
          <ac:spMkLst>
            <pc:docMk/>
            <pc:sldMk cId="1558907064" sldId="359"/>
            <ac:spMk id="13" creationId="{5E84E717-8044-CC72-DD97-2AED09215C12}"/>
          </ac:spMkLst>
        </pc:spChg>
        <pc:spChg chg="mod">
          <ac:chgData name="Kasper Brøndum Andersen" userId="23d34907-f6e1-4907-afd7-52417792db56" providerId="ADAL" clId="{54838432-4867-4750-91F5-A1D383E4FFE8}" dt="2024-11-28T09:35:40.973" v="254" actId="108"/>
          <ac:spMkLst>
            <pc:docMk/>
            <pc:sldMk cId="1558907064" sldId="359"/>
            <ac:spMk id="16" creationId="{E9DDE379-14BA-AC67-78BB-C67D2B6D14A5}"/>
          </ac:spMkLst>
        </pc:spChg>
        <pc:spChg chg="mod">
          <ac:chgData name="Kasper Brøndum Andersen" userId="23d34907-f6e1-4907-afd7-52417792db56" providerId="ADAL" clId="{54838432-4867-4750-91F5-A1D383E4FFE8}" dt="2024-11-28T09:16:46.812" v="88" actId="1076"/>
          <ac:spMkLst>
            <pc:docMk/>
            <pc:sldMk cId="1558907064" sldId="359"/>
            <ac:spMk id="21" creationId="{C97C88F6-1017-762D-CA92-46957FB05DF7}"/>
          </ac:spMkLst>
        </pc:spChg>
        <pc:spChg chg="mod">
          <ac:chgData name="Kasper Brøndum Andersen" userId="23d34907-f6e1-4907-afd7-52417792db56" providerId="ADAL" clId="{54838432-4867-4750-91F5-A1D383E4FFE8}" dt="2024-11-28T09:14:34.581" v="36" actId="1076"/>
          <ac:spMkLst>
            <pc:docMk/>
            <pc:sldMk cId="1558907064" sldId="359"/>
            <ac:spMk id="22" creationId="{824A9C54-C466-445C-AEA6-31DB214D4E1B}"/>
          </ac:spMkLst>
        </pc:spChg>
        <pc:spChg chg="mod">
          <ac:chgData name="Kasper Brøndum Andersen" userId="23d34907-f6e1-4907-afd7-52417792db56" providerId="ADAL" clId="{54838432-4867-4750-91F5-A1D383E4FFE8}" dt="2024-11-28T09:14:28.926" v="35" actId="1076"/>
          <ac:spMkLst>
            <pc:docMk/>
            <pc:sldMk cId="1558907064" sldId="359"/>
            <ac:spMk id="23" creationId="{085A5744-1508-EDD0-FFF8-F84D5C9AC72B}"/>
          </ac:spMkLst>
        </pc:spChg>
      </pc:sldChg>
      <pc:sldChg chg="modSp mod">
        <pc:chgData name="Kasper Brøndum Andersen" userId="23d34907-f6e1-4907-afd7-52417792db56" providerId="ADAL" clId="{54838432-4867-4750-91F5-A1D383E4FFE8}" dt="2024-11-28T09:37:48.922" v="299" actId="20577"/>
        <pc:sldMkLst>
          <pc:docMk/>
          <pc:sldMk cId="3912000593" sldId="360"/>
        </pc:sldMkLst>
        <pc:spChg chg="mod">
          <ac:chgData name="Kasper Brøndum Andersen" userId="23d34907-f6e1-4907-afd7-52417792db56" providerId="ADAL" clId="{54838432-4867-4750-91F5-A1D383E4FFE8}" dt="2024-11-28T09:37:48.922" v="299" actId="20577"/>
          <ac:spMkLst>
            <pc:docMk/>
            <pc:sldMk cId="3912000593" sldId="360"/>
            <ac:spMk id="14" creationId="{6DA53F35-06EB-CA75-133D-9B19E96CF83E}"/>
          </ac:spMkLst>
        </pc:spChg>
      </pc:sldChg>
      <pc:sldChg chg="modSp mod">
        <pc:chgData name="Kasper Brøndum Andersen" userId="23d34907-f6e1-4907-afd7-52417792db56" providerId="ADAL" clId="{54838432-4867-4750-91F5-A1D383E4FFE8}" dt="2024-11-28T09:38:03.081" v="309" actId="20577"/>
        <pc:sldMkLst>
          <pc:docMk/>
          <pc:sldMk cId="1295666641" sldId="361"/>
        </pc:sldMkLst>
        <pc:spChg chg="mod">
          <ac:chgData name="Kasper Brøndum Andersen" userId="23d34907-f6e1-4907-afd7-52417792db56" providerId="ADAL" clId="{54838432-4867-4750-91F5-A1D383E4FFE8}" dt="2024-11-28T09:38:03.081" v="309" actId="20577"/>
          <ac:spMkLst>
            <pc:docMk/>
            <pc:sldMk cId="1295666641" sldId="361"/>
            <ac:spMk id="9" creationId="{1966FCA6-791A-7472-8B24-C1660DF8EDAE}"/>
          </ac:spMkLst>
        </pc:spChg>
        <pc:spChg chg="mod">
          <ac:chgData name="Kasper Brøndum Andersen" userId="23d34907-f6e1-4907-afd7-52417792db56" providerId="ADAL" clId="{54838432-4867-4750-91F5-A1D383E4FFE8}" dt="2024-11-28T09:19:32.476" v="120" actId="1038"/>
          <ac:spMkLst>
            <pc:docMk/>
            <pc:sldMk cId="1295666641" sldId="361"/>
            <ac:spMk id="111" creationId="{36E2C380-2D9D-7ACF-FF93-3DF4E12E6F70}"/>
          </ac:spMkLst>
        </pc:spChg>
        <pc:spChg chg="mod">
          <ac:chgData name="Kasper Brøndum Andersen" userId="23d34907-f6e1-4907-afd7-52417792db56" providerId="ADAL" clId="{54838432-4867-4750-91F5-A1D383E4FFE8}" dt="2024-11-28T09:19:22.380" v="112" actId="1035"/>
          <ac:spMkLst>
            <pc:docMk/>
            <pc:sldMk cId="1295666641" sldId="361"/>
            <ac:spMk id="112" creationId="{9135472B-2225-D918-819F-2884074A6A59}"/>
          </ac:spMkLst>
        </pc:spChg>
        <pc:spChg chg="mod">
          <ac:chgData name="Kasper Brøndum Andersen" userId="23d34907-f6e1-4907-afd7-52417792db56" providerId="ADAL" clId="{54838432-4867-4750-91F5-A1D383E4FFE8}" dt="2024-11-28T09:19:53.636" v="127" actId="1076"/>
          <ac:spMkLst>
            <pc:docMk/>
            <pc:sldMk cId="1295666641" sldId="361"/>
            <ac:spMk id="113" creationId="{FC5848EA-EA31-494D-933A-8779AD3A4A20}"/>
          </ac:spMkLst>
        </pc:spChg>
        <pc:graphicFrameChg chg="mod">
          <ac:chgData name="Kasper Brøndum Andersen" userId="23d34907-f6e1-4907-afd7-52417792db56" providerId="ADAL" clId="{54838432-4867-4750-91F5-A1D383E4FFE8}" dt="2024-11-28T09:20:01.070" v="129" actId="20577"/>
          <ac:graphicFrameMkLst>
            <pc:docMk/>
            <pc:sldMk cId="1295666641" sldId="361"/>
            <ac:graphicFrameMk id="7" creationId="{5350C2ED-6D03-E814-38F8-C7919FB712A1}"/>
          </ac:graphicFrameMkLst>
        </pc:graphicFrameChg>
      </pc:sldChg>
      <pc:sldChg chg="modSp mod">
        <pc:chgData name="Kasper Brøndum Andersen" userId="23d34907-f6e1-4907-afd7-52417792db56" providerId="ADAL" clId="{54838432-4867-4750-91F5-A1D383E4FFE8}" dt="2024-11-28T09:57:41.313" v="422"/>
        <pc:sldMkLst>
          <pc:docMk/>
          <pc:sldMk cId="3797840189" sldId="366"/>
        </pc:sldMkLst>
        <pc:spChg chg="mod">
          <ac:chgData name="Kasper Brøndum Andersen" userId="23d34907-f6e1-4907-afd7-52417792db56" providerId="ADAL" clId="{54838432-4867-4750-91F5-A1D383E4FFE8}" dt="2024-11-28T09:57:41.313" v="422"/>
          <ac:spMkLst>
            <pc:docMk/>
            <pc:sldMk cId="3797840189" sldId="366"/>
            <ac:spMk id="10" creationId="{4C6C9F63-516E-D1C3-6196-E049CD78D73B}"/>
          </ac:spMkLst>
        </pc:spChg>
        <pc:picChg chg="mod">
          <ac:chgData name="Kasper Brøndum Andersen" userId="23d34907-f6e1-4907-afd7-52417792db56" providerId="ADAL" clId="{54838432-4867-4750-91F5-A1D383E4FFE8}" dt="2024-11-28T09:52:23.244" v="365" actId="14100"/>
          <ac:picMkLst>
            <pc:docMk/>
            <pc:sldMk cId="3797840189" sldId="366"/>
            <ac:picMk id="2" creationId="{05BFC33B-5AA7-DBDA-3629-F383E01C6248}"/>
          </ac:picMkLst>
        </pc:picChg>
      </pc:sldChg>
      <pc:sldChg chg="modSp mod">
        <pc:chgData name="Kasper Brøndum Andersen" userId="23d34907-f6e1-4907-afd7-52417792db56" providerId="ADAL" clId="{54838432-4867-4750-91F5-A1D383E4FFE8}" dt="2024-11-28T09:57:35.244" v="421"/>
        <pc:sldMkLst>
          <pc:docMk/>
          <pc:sldMk cId="1788934846" sldId="367"/>
        </pc:sldMkLst>
        <pc:spChg chg="mod">
          <ac:chgData name="Kasper Brøndum Andersen" userId="23d34907-f6e1-4907-afd7-52417792db56" providerId="ADAL" clId="{54838432-4867-4750-91F5-A1D383E4FFE8}" dt="2024-11-28T09:57:35.244" v="421"/>
          <ac:spMkLst>
            <pc:docMk/>
            <pc:sldMk cId="1788934846" sldId="367"/>
            <ac:spMk id="10" creationId="{E2FDA60A-03A2-0E6C-8641-FE741E64A987}"/>
          </ac:spMkLst>
        </pc:spChg>
      </pc:sldChg>
      <pc:sldChg chg="modSp mod">
        <pc:chgData name="Kasper Brøndum Andersen" userId="23d34907-f6e1-4907-afd7-52417792db56" providerId="ADAL" clId="{54838432-4867-4750-91F5-A1D383E4FFE8}" dt="2024-11-28T09:57:01.556" v="389"/>
        <pc:sldMkLst>
          <pc:docMk/>
          <pc:sldMk cId="2727716631" sldId="368"/>
        </pc:sldMkLst>
        <pc:spChg chg="mod">
          <ac:chgData name="Kasper Brøndum Andersen" userId="23d34907-f6e1-4907-afd7-52417792db56" providerId="ADAL" clId="{54838432-4867-4750-91F5-A1D383E4FFE8}" dt="2024-11-28T09:57:01.556" v="389"/>
          <ac:spMkLst>
            <pc:docMk/>
            <pc:sldMk cId="2727716631" sldId="368"/>
            <ac:spMk id="2" creationId="{7D3B510E-5426-978B-45A5-728EC3BB797F}"/>
          </ac:spMkLst>
        </pc:spChg>
      </pc:sldChg>
      <pc:sldChg chg="modSp mod">
        <pc:chgData name="Kasper Brøndum Andersen" userId="23d34907-f6e1-4907-afd7-52417792db56" providerId="ADAL" clId="{54838432-4867-4750-91F5-A1D383E4FFE8}" dt="2024-11-28T09:56:49.443" v="388" actId="20577"/>
        <pc:sldMkLst>
          <pc:docMk/>
          <pc:sldMk cId="1241497437" sldId="369"/>
        </pc:sldMkLst>
        <pc:spChg chg="mod">
          <ac:chgData name="Kasper Brøndum Andersen" userId="23d34907-f6e1-4907-afd7-52417792db56" providerId="ADAL" clId="{54838432-4867-4750-91F5-A1D383E4FFE8}" dt="2024-11-28T09:56:49.443" v="388" actId="20577"/>
          <ac:spMkLst>
            <pc:docMk/>
            <pc:sldMk cId="1241497437" sldId="369"/>
            <ac:spMk id="2" creationId="{007CFF29-C2F2-4907-601B-6A805368BA98}"/>
          </ac:spMkLst>
        </pc:spChg>
      </pc:sldChg>
      <pc:sldChg chg="modSp mod">
        <pc:chgData name="Kasper Brøndum Andersen" userId="23d34907-f6e1-4907-afd7-52417792db56" providerId="ADAL" clId="{54838432-4867-4750-91F5-A1D383E4FFE8}" dt="2024-11-28T09:57:28.777" v="420" actId="20577"/>
        <pc:sldMkLst>
          <pc:docMk/>
          <pc:sldMk cId="335741955" sldId="370"/>
        </pc:sldMkLst>
        <pc:spChg chg="mod">
          <ac:chgData name="Kasper Brøndum Andersen" userId="23d34907-f6e1-4907-afd7-52417792db56" providerId="ADAL" clId="{54838432-4867-4750-91F5-A1D383E4FFE8}" dt="2024-11-28T09:57:28.777" v="420" actId="20577"/>
          <ac:spMkLst>
            <pc:docMk/>
            <pc:sldMk cId="335741955" sldId="370"/>
            <ac:spMk id="10" creationId="{432FBDBC-E6B8-1A3E-A39D-D16C267C1B70}"/>
          </ac:spMkLst>
        </pc:spChg>
      </pc:sldChg>
      <pc:sldChg chg="modSp mod">
        <pc:chgData name="Kasper Brøndum Andersen" userId="23d34907-f6e1-4907-afd7-52417792db56" providerId="ADAL" clId="{54838432-4867-4750-91F5-A1D383E4FFE8}" dt="2024-11-28T09:59:04.888" v="467" actId="20577"/>
        <pc:sldMkLst>
          <pc:docMk/>
          <pc:sldMk cId="1254828767" sldId="371"/>
        </pc:sldMkLst>
        <pc:spChg chg="mod">
          <ac:chgData name="Kasper Brøndum Andersen" userId="23d34907-f6e1-4907-afd7-52417792db56" providerId="ADAL" clId="{54838432-4867-4750-91F5-A1D383E4FFE8}" dt="2024-11-28T09:59:04.888" v="467" actId="20577"/>
          <ac:spMkLst>
            <pc:docMk/>
            <pc:sldMk cId="1254828767" sldId="371"/>
            <ac:spMk id="2" creationId="{F849AD20-5822-7A9F-7187-FB88619F01CD}"/>
          </ac:spMkLst>
        </pc:spChg>
        <pc:spChg chg="mod">
          <ac:chgData name="Kasper Brøndum Andersen" userId="23d34907-f6e1-4907-afd7-52417792db56" providerId="ADAL" clId="{54838432-4867-4750-91F5-A1D383E4FFE8}" dt="2024-11-28T09:58:30.660" v="426" actId="14100"/>
          <ac:spMkLst>
            <pc:docMk/>
            <pc:sldMk cId="1254828767" sldId="371"/>
            <ac:spMk id="7" creationId="{DE41273A-9EEC-925A-F68D-2CBAF57DC06A}"/>
          </ac:spMkLst>
        </pc:spChg>
        <pc:picChg chg="mod">
          <ac:chgData name="Kasper Brøndum Andersen" userId="23d34907-f6e1-4907-afd7-52417792db56" providerId="ADAL" clId="{54838432-4867-4750-91F5-A1D383E4FFE8}" dt="2024-11-28T09:58:30.147" v="425" actId="14100"/>
          <ac:picMkLst>
            <pc:docMk/>
            <pc:sldMk cId="1254828767" sldId="371"/>
            <ac:picMk id="8" creationId="{3842B810-2845-B36A-129B-2F1AB93F6345}"/>
          </ac:picMkLst>
        </pc:picChg>
      </pc:sldChg>
      <pc:sldChg chg="modSp mod">
        <pc:chgData name="Kasper Brøndum Andersen" userId="23d34907-f6e1-4907-afd7-52417792db56" providerId="ADAL" clId="{54838432-4867-4750-91F5-A1D383E4FFE8}" dt="2024-11-28T09:34:02.274" v="248" actId="6549"/>
        <pc:sldMkLst>
          <pc:docMk/>
          <pc:sldMk cId="3347689723" sldId="376"/>
        </pc:sldMkLst>
        <pc:spChg chg="mod">
          <ac:chgData name="Kasper Brøndum Andersen" userId="23d34907-f6e1-4907-afd7-52417792db56" providerId="ADAL" clId="{54838432-4867-4750-91F5-A1D383E4FFE8}" dt="2024-11-28T09:34:02.274" v="248" actId="6549"/>
          <ac:spMkLst>
            <pc:docMk/>
            <pc:sldMk cId="3347689723" sldId="376"/>
            <ac:spMk id="49" creationId="{CC6D6285-BF15-9B68-9E8C-381938AE44E1}"/>
          </ac:spMkLst>
        </pc:spChg>
        <pc:spChg chg="mod">
          <ac:chgData name="Kasper Brøndum Andersen" userId="23d34907-f6e1-4907-afd7-52417792db56" providerId="ADAL" clId="{54838432-4867-4750-91F5-A1D383E4FFE8}" dt="2024-11-28T09:33:50.823" v="239" actId="20577"/>
          <ac:spMkLst>
            <pc:docMk/>
            <pc:sldMk cId="3347689723" sldId="376"/>
            <ac:spMk id="50" creationId="{BD0ADAE2-4AEF-DE4D-A119-A968DF44CFEC}"/>
          </ac:spMkLst>
        </pc:spChg>
      </pc:sldChg>
      <pc:sldChg chg="modSp mod">
        <pc:chgData name="Kasper Brøndum Andersen" userId="23d34907-f6e1-4907-afd7-52417792db56" providerId="ADAL" clId="{54838432-4867-4750-91F5-A1D383E4FFE8}" dt="2024-11-28T09:36:39.625" v="294" actId="20577"/>
        <pc:sldMkLst>
          <pc:docMk/>
          <pc:sldMk cId="3659532657" sldId="377"/>
        </pc:sldMkLst>
        <pc:spChg chg="mod">
          <ac:chgData name="Kasper Brøndum Andersen" userId="23d34907-f6e1-4907-afd7-52417792db56" providerId="ADAL" clId="{54838432-4867-4750-91F5-A1D383E4FFE8}" dt="2024-11-28T09:36:39.625" v="294" actId="20577"/>
          <ac:spMkLst>
            <pc:docMk/>
            <pc:sldMk cId="3659532657" sldId="377"/>
            <ac:spMk id="19" creationId="{7F87B6DB-C5DB-F34D-9590-E486C884F77F}"/>
          </ac:spMkLst>
        </pc:spChg>
      </pc:sldChg>
      <pc:sldChg chg="modSp mod">
        <pc:chgData name="Kasper Brøndum Andersen" userId="23d34907-f6e1-4907-afd7-52417792db56" providerId="ADAL" clId="{54838432-4867-4750-91F5-A1D383E4FFE8}" dt="2024-11-28T09:32:38.579" v="231" actId="20577"/>
        <pc:sldMkLst>
          <pc:docMk/>
          <pc:sldMk cId="575506074" sldId="381"/>
        </pc:sldMkLst>
        <pc:spChg chg="mod">
          <ac:chgData name="Kasper Brøndum Andersen" userId="23d34907-f6e1-4907-afd7-52417792db56" providerId="ADAL" clId="{54838432-4867-4750-91F5-A1D383E4FFE8}" dt="2024-11-28T09:32:38.579" v="231" actId="20577"/>
          <ac:spMkLst>
            <pc:docMk/>
            <pc:sldMk cId="575506074" sldId="381"/>
            <ac:spMk id="11" creationId="{B21B18DA-A85D-1FAE-96C5-59608C964ECF}"/>
          </ac:spMkLst>
        </pc:spChg>
        <pc:spChg chg="mod">
          <ac:chgData name="Kasper Brøndum Andersen" userId="23d34907-f6e1-4907-afd7-52417792db56" providerId="ADAL" clId="{54838432-4867-4750-91F5-A1D383E4FFE8}" dt="2024-11-28T09:28:28.489" v="227" actId="20577"/>
          <ac:spMkLst>
            <pc:docMk/>
            <pc:sldMk cId="575506074" sldId="381"/>
            <ac:spMk id="154" creationId="{9F7424B8-C4EB-25D5-4965-9FA3106A97FA}"/>
          </ac:spMkLst>
        </pc:spChg>
      </pc:sldChg>
      <pc:sldChg chg="modSp mod">
        <pc:chgData name="Kasper Brøndum Andersen" userId="23d34907-f6e1-4907-afd7-52417792db56" providerId="ADAL" clId="{54838432-4867-4750-91F5-A1D383E4FFE8}" dt="2024-11-28T09:09:58.317" v="28" actId="2711"/>
        <pc:sldMkLst>
          <pc:docMk/>
          <pc:sldMk cId="3885295689" sldId="386"/>
        </pc:sldMkLst>
        <pc:spChg chg="mod">
          <ac:chgData name="Kasper Brøndum Andersen" userId="23d34907-f6e1-4907-afd7-52417792db56" providerId="ADAL" clId="{54838432-4867-4750-91F5-A1D383E4FFE8}" dt="2024-11-28T09:09:58.317" v="28" actId="2711"/>
          <ac:spMkLst>
            <pc:docMk/>
            <pc:sldMk cId="3885295689" sldId="386"/>
            <ac:spMk id="10" creationId="{5B5A3A4C-7D5A-1A18-5148-436A06EFB53D}"/>
          </ac:spMkLst>
        </pc:spChg>
        <pc:spChg chg="mod">
          <ac:chgData name="Kasper Brøndum Andersen" userId="23d34907-f6e1-4907-afd7-52417792db56" providerId="ADAL" clId="{54838432-4867-4750-91F5-A1D383E4FFE8}" dt="2024-11-28T09:09:45.892" v="27" actId="2711"/>
          <ac:spMkLst>
            <pc:docMk/>
            <pc:sldMk cId="3885295689" sldId="386"/>
            <ac:spMk id="11" creationId="{A729D2F6-AF41-B0BC-A776-216388CB1242}"/>
          </ac:spMkLst>
        </pc:spChg>
        <pc:spChg chg="mod">
          <ac:chgData name="Kasper Brøndum Andersen" userId="23d34907-f6e1-4907-afd7-52417792db56" providerId="ADAL" clId="{54838432-4867-4750-91F5-A1D383E4FFE8}" dt="2024-11-28T09:08:02.660" v="24" actId="20577"/>
          <ac:spMkLst>
            <pc:docMk/>
            <pc:sldMk cId="3885295689" sldId="386"/>
            <ac:spMk id="49" creationId="{242593BF-CAEE-4963-8393-3A0FA81D5E5E}"/>
          </ac:spMkLst>
        </pc:spChg>
      </pc:sldChg>
      <pc:sldChg chg="modSp mod">
        <pc:chgData name="Kasper Brøndum Andersen" userId="23d34907-f6e1-4907-afd7-52417792db56" providerId="ADAL" clId="{54838432-4867-4750-91F5-A1D383E4FFE8}" dt="2024-11-28T09:33:27.474" v="238" actId="20577"/>
        <pc:sldMkLst>
          <pc:docMk/>
          <pc:sldMk cId="2858658068" sldId="392"/>
        </pc:sldMkLst>
        <pc:spChg chg="mod">
          <ac:chgData name="Kasper Brøndum Andersen" userId="23d34907-f6e1-4907-afd7-52417792db56" providerId="ADAL" clId="{54838432-4867-4750-91F5-A1D383E4FFE8}" dt="2024-11-28T09:33:17.307" v="235" actId="20577"/>
          <ac:spMkLst>
            <pc:docMk/>
            <pc:sldMk cId="2858658068" sldId="392"/>
            <ac:spMk id="49" creationId="{093BE753-2612-40D7-9C46-00E56FAA0A66}"/>
          </ac:spMkLst>
        </pc:spChg>
        <pc:spChg chg="mod">
          <ac:chgData name="Kasper Brøndum Andersen" userId="23d34907-f6e1-4907-afd7-52417792db56" providerId="ADAL" clId="{54838432-4867-4750-91F5-A1D383E4FFE8}" dt="2024-11-28T09:33:27.474" v="238" actId="20577"/>
          <ac:spMkLst>
            <pc:docMk/>
            <pc:sldMk cId="2858658068" sldId="392"/>
            <ac:spMk id="51" creationId="{80EECF15-8BAC-41CD-BE03-A5A359F35F0B}"/>
          </ac:spMkLst>
        </pc:spChg>
      </pc:sldChg>
    </pc:docChg>
  </pc:docChgLst>
  <pc:docChgLst>
    <pc:chgData name="Anne Sofie Madsen" userId="4d5dc578-a8dc-4a42-b4ff-116a7609753a" providerId="ADAL" clId="{8208BB58-7E1F-43D2-A785-F2E527523A08}"/>
    <pc:docChg chg="custSel modSld">
      <pc:chgData name="Anne Sofie Madsen" userId="4d5dc578-a8dc-4a42-b4ff-116a7609753a" providerId="ADAL" clId="{8208BB58-7E1F-43D2-A785-F2E527523A08}" dt="2024-11-27T09:54:54.222" v="2" actId="478"/>
      <pc:docMkLst>
        <pc:docMk/>
      </pc:docMkLst>
      <pc:sldChg chg="addSp delSp modSp mod">
        <pc:chgData name="Anne Sofie Madsen" userId="4d5dc578-a8dc-4a42-b4ff-116a7609753a" providerId="ADAL" clId="{8208BB58-7E1F-43D2-A785-F2E527523A08}" dt="2024-11-27T09:54:54.222" v="2" actId="478"/>
        <pc:sldMkLst>
          <pc:docMk/>
          <pc:sldMk cId="2727716631" sldId="368"/>
        </pc:sldMkLst>
        <pc:picChg chg="add del mod">
          <ac:chgData name="Anne Sofie Madsen" userId="4d5dc578-a8dc-4a42-b4ff-116a7609753a" providerId="ADAL" clId="{8208BB58-7E1F-43D2-A785-F2E527523A08}" dt="2024-11-27T09:54:54.222" v="2" actId="478"/>
          <ac:picMkLst>
            <pc:docMk/>
            <pc:sldMk cId="2727716631" sldId="368"/>
            <ac:picMk id="3" creationId="{2FCF73E4-991C-1FCC-B5E4-6F86EBB60376}"/>
          </ac:picMkLst>
        </pc:picChg>
      </pc:sldChg>
    </pc:docChg>
  </pc:docChgLst>
  <pc:docChgLst>
    <pc:chgData name="Ulla Jensen" userId="S::uje@domea.dk::9f08d654-f16e-4e37-932e-b650d83c4d02" providerId="AD" clId="Web-{B9A2155F-1953-398F-00D9-882D60410680}"/>
    <pc:docChg chg="modSld">
      <pc:chgData name="Ulla Jensen" userId="S::uje@domea.dk::9f08d654-f16e-4e37-932e-b650d83c4d02" providerId="AD" clId="Web-{B9A2155F-1953-398F-00D9-882D60410680}" dt="2024-11-22T12:50:31.062" v="25" actId="20577"/>
      <pc:docMkLst>
        <pc:docMk/>
      </pc:docMkLst>
      <pc:sldChg chg="modSp">
        <pc:chgData name="Ulla Jensen" userId="S::uje@domea.dk::9f08d654-f16e-4e37-932e-b650d83c4d02" providerId="AD" clId="Web-{B9A2155F-1953-398F-00D9-882D60410680}" dt="2024-11-22T12:50:31.062" v="25" actId="20577"/>
        <pc:sldMkLst>
          <pc:docMk/>
          <pc:sldMk cId="1558907064" sldId="359"/>
        </pc:sldMkLst>
        <pc:spChg chg="mod">
          <ac:chgData name="Ulla Jensen" userId="S::uje@domea.dk::9f08d654-f16e-4e37-932e-b650d83c4d02" providerId="AD" clId="Web-{B9A2155F-1953-398F-00D9-882D60410680}" dt="2024-11-22T12:48:33.872" v="2" actId="20577"/>
          <ac:spMkLst>
            <pc:docMk/>
            <pc:sldMk cId="1558907064" sldId="359"/>
            <ac:spMk id="21" creationId="{C97C88F6-1017-762D-CA92-46957FB05DF7}"/>
          </ac:spMkLst>
        </pc:spChg>
        <pc:spChg chg="mod">
          <ac:chgData name="Ulla Jensen" userId="S::uje@domea.dk::9f08d654-f16e-4e37-932e-b650d83c4d02" providerId="AD" clId="Web-{B9A2155F-1953-398F-00D9-882D60410680}" dt="2024-11-22T12:50:31.062" v="25" actId="20577"/>
          <ac:spMkLst>
            <pc:docMk/>
            <pc:sldMk cId="1558907064" sldId="359"/>
            <ac:spMk id="22" creationId="{824A9C54-C466-445C-AEA6-31DB214D4E1B}"/>
          </ac:spMkLst>
        </pc:spChg>
        <pc:spChg chg="mod">
          <ac:chgData name="Ulla Jensen" userId="S::uje@domea.dk::9f08d654-f16e-4e37-932e-b650d83c4d02" providerId="AD" clId="Web-{B9A2155F-1953-398F-00D9-882D60410680}" dt="2024-11-22T12:49:17.607" v="9" actId="20577"/>
          <ac:spMkLst>
            <pc:docMk/>
            <pc:sldMk cId="1558907064" sldId="359"/>
            <ac:spMk id="23" creationId="{085A5744-1508-EDD0-FFF8-F84D5C9AC72B}"/>
          </ac:spMkLst>
        </pc:spChg>
      </pc:sldChg>
    </pc:docChg>
  </pc:docChgLst>
  <pc:docChgLst>
    <pc:chgData name="Ulla Jensen" userId="9f08d654-f16e-4e37-932e-b650d83c4d02" providerId="ADAL" clId="{623CE855-6A23-404B-97D3-FA43AEB11FE7}"/>
    <pc:docChg chg="custSel addSld delSld modSld modMainMaster">
      <pc:chgData name="Ulla Jensen" userId="9f08d654-f16e-4e37-932e-b650d83c4d02" providerId="ADAL" clId="{623CE855-6A23-404B-97D3-FA43AEB11FE7}" dt="2024-11-28T11:19:37.579" v="18" actId="1076"/>
      <pc:docMkLst>
        <pc:docMk/>
      </pc:docMkLst>
      <pc:sldChg chg="modSp mod">
        <pc:chgData name="Ulla Jensen" userId="9f08d654-f16e-4e37-932e-b650d83c4d02" providerId="ADAL" clId="{623CE855-6A23-404B-97D3-FA43AEB11FE7}" dt="2024-11-28T11:18:00.882" v="11" actId="207"/>
        <pc:sldMkLst>
          <pc:docMk/>
          <pc:sldMk cId="3844358417" sldId="322"/>
        </pc:sldMkLst>
        <pc:spChg chg="mod">
          <ac:chgData name="Ulla Jensen" userId="9f08d654-f16e-4e37-932e-b650d83c4d02" providerId="ADAL" clId="{623CE855-6A23-404B-97D3-FA43AEB11FE7}" dt="2024-11-28T11:17:46.570" v="10" actId="207"/>
          <ac:spMkLst>
            <pc:docMk/>
            <pc:sldMk cId="3844358417" sldId="322"/>
            <ac:spMk id="328" creationId="{D203D021-B45A-9933-2713-DD054550465A}"/>
          </ac:spMkLst>
        </pc:spChg>
        <pc:spChg chg="mod">
          <ac:chgData name="Ulla Jensen" userId="9f08d654-f16e-4e37-932e-b650d83c4d02" providerId="ADAL" clId="{623CE855-6A23-404B-97D3-FA43AEB11FE7}" dt="2024-11-28T11:17:41.448" v="9" actId="207"/>
          <ac:spMkLst>
            <pc:docMk/>
            <pc:sldMk cId="3844358417" sldId="322"/>
            <ac:spMk id="329" creationId="{077DA86A-3E19-1868-3A55-95B062C9DE97}"/>
          </ac:spMkLst>
        </pc:spChg>
        <pc:spChg chg="mod">
          <ac:chgData name="Ulla Jensen" userId="9f08d654-f16e-4e37-932e-b650d83c4d02" providerId="ADAL" clId="{623CE855-6A23-404B-97D3-FA43AEB11FE7}" dt="2024-11-28T11:18:00.882" v="11" actId="207"/>
          <ac:spMkLst>
            <pc:docMk/>
            <pc:sldMk cId="3844358417" sldId="322"/>
            <ac:spMk id="334" creationId="{C0476440-62CB-184C-8CB9-B97C1201FB03}"/>
          </ac:spMkLst>
        </pc:spChg>
      </pc:sldChg>
      <pc:sldChg chg="modSp mod">
        <pc:chgData name="Ulla Jensen" userId="9f08d654-f16e-4e37-932e-b650d83c4d02" providerId="ADAL" clId="{623CE855-6A23-404B-97D3-FA43AEB11FE7}" dt="2024-11-28T11:18:32.296" v="14" actId="207"/>
        <pc:sldMkLst>
          <pc:docMk/>
          <pc:sldMk cId="3797840189" sldId="366"/>
        </pc:sldMkLst>
        <pc:spChg chg="mod">
          <ac:chgData name="Ulla Jensen" userId="9f08d654-f16e-4e37-932e-b650d83c4d02" providerId="ADAL" clId="{623CE855-6A23-404B-97D3-FA43AEB11FE7}" dt="2024-11-28T11:18:32.296" v="14" actId="207"/>
          <ac:spMkLst>
            <pc:docMk/>
            <pc:sldMk cId="3797840189" sldId="366"/>
            <ac:spMk id="3" creationId="{72142AF5-7A07-84CD-926E-42DBE78FFE03}"/>
          </ac:spMkLst>
        </pc:spChg>
        <pc:spChg chg="mod">
          <ac:chgData name="Ulla Jensen" userId="9f08d654-f16e-4e37-932e-b650d83c4d02" providerId="ADAL" clId="{623CE855-6A23-404B-97D3-FA43AEB11FE7}" dt="2024-11-28T11:18:11.731" v="12" actId="207"/>
          <ac:spMkLst>
            <pc:docMk/>
            <pc:sldMk cId="3797840189" sldId="366"/>
            <ac:spMk id="4" creationId="{3A1928EB-47B9-5310-B337-C50102E58194}"/>
          </ac:spMkLst>
        </pc:spChg>
        <pc:spChg chg="mod">
          <ac:chgData name="Ulla Jensen" userId="9f08d654-f16e-4e37-932e-b650d83c4d02" providerId="ADAL" clId="{623CE855-6A23-404B-97D3-FA43AEB11FE7}" dt="2024-11-28T11:18:18.754" v="13" actId="207"/>
          <ac:spMkLst>
            <pc:docMk/>
            <pc:sldMk cId="3797840189" sldId="366"/>
            <ac:spMk id="5" creationId="{ADFD0609-D0F3-19E5-CB46-102BBE8D3BE5}"/>
          </ac:spMkLst>
        </pc:spChg>
      </pc:sldChg>
      <pc:sldChg chg="del">
        <pc:chgData name="Ulla Jensen" userId="9f08d654-f16e-4e37-932e-b650d83c4d02" providerId="ADAL" clId="{623CE855-6A23-404B-97D3-FA43AEB11FE7}" dt="2024-11-28T11:16:12.199" v="2" actId="47"/>
        <pc:sldMkLst>
          <pc:docMk/>
          <pc:sldMk cId="3347689723" sldId="376"/>
        </pc:sldMkLst>
      </pc:sldChg>
      <pc:sldChg chg="modSp mod">
        <pc:chgData name="Ulla Jensen" userId="9f08d654-f16e-4e37-932e-b650d83c4d02" providerId="ADAL" clId="{623CE855-6A23-404B-97D3-FA43AEB11FE7}" dt="2024-11-28T11:16:43.465" v="5" actId="207"/>
        <pc:sldMkLst>
          <pc:docMk/>
          <pc:sldMk cId="1993990949" sldId="382"/>
        </pc:sldMkLst>
        <pc:spChg chg="mod">
          <ac:chgData name="Ulla Jensen" userId="9f08d654-f16e-4e37-932e-b650d83c4d02" providerId="ADAL" clId="{623CE855-6A23-404B-97D3-FA43AEB11FE7}" dt="2024-11-28T11:16:27.963" v="3" actId="207"/>
          <ac:spMkLst>
            <pc:docMk/>
            <pc:sldMk cId="1993990949" sldId="382"/>
            <ac:spMk id="23" creationId="{ED626433-6FC8-4B9A-D293-520738CB6808}"/>
          </ac:spMkLst>
        </pc:spChg>
        <pc:spChg chg="mod">
          <ac:chgData name="Ulla Jensen" userId="9f08d654-f16e-4e37-932e-b650d83c4d02" providerId="ADAL" clId="{623CE855-6A23-404B-97D3-FA43AEB11FE7}" dt="2024-11-28T11:16:43.465" v="5" actId="207"/>
          <ac:spMkLst>
            <pc:docMk/>
            <pc:sldMk cId="1993990949" sldId="382"/>
            <ac:spMk id="26" creationId="{3FA5C62D-53E9-AB9E-6332-57E0DD824BC1}"/>
          </ac:spMkLst>
        </pc:spChg>
        <pc:spChg chg="mod">
          <ac:chgData name="Ulla Jensen" userId="9f08d654-f16e-4e37-932e-b650d83c4d02" providerId="ADAL" clId="{623CE855-6A23-404B-97D3-FA43AEB11FE7}" dt="2024-11-28T11:16:36.974" v="4" actId="207"/>
          <ac:spMkLst>
            <pc:docMk/>
            <pc:sldMk cId="1993990949" sldId="382"/>
            <ac:spMk id="30" creationId="{B7361E10-6855-7433-3EF4-A438FBDD2D8A}"/>
          </ac:spMkLst>
        </pc:spChg>
      </pc:sldChg>
      <pc:sldChg chg="addSp delSp modSp add mod">
        <pc:chgData name="Ulla Jensen" userId="9f08d654-f16e-4e37-932e-b650d83c4d02" providerId="ADAL" clId="{623CE855-6A23-404B-97D3-FA43AEB11FE7}" dt="2024-11-28T11:19:37.579" v="18" actId="1076"/>
        <pc:sldMkLst>
          <pc:docMk/>
          <pc:sldMk cId="3563067932" sldId="2147482141"/>
        </pc:sldMkLst>
        <pc:grpChg chg="del">
          <ac:chgData name="Ulla Jensen" userId="9f08d654-f16e-4e37-932e-b650d83c4d02" providerId="ADAL" clId="{623CE855-6A23-404B-97D3-FA43AEB11FE7}" dt="2024-11-28T11:19:17.212" v="16" actId="478"/>
          <ac:grpSpMkLst>
            <pc:docMk/>
            <pc:sldMk cId="3563067932" sldId="2147482141"/>
            <ac:grpSpMk id="11" creationId="{8497ABE5-7609-C148-734C-63423C5A79CE}"/>
          </ac:grpSpMkLst>
        </pc:grpChg>
        <pc:grpChg chg="del">
          <ac:chgData name="Ulla Jensen" userId="9f08d654-f16e-4e37-932e-b650d83c4d02" providerId="ADAL" clId="{623CE855-6A23-404B-97D3-FA43AEB11FE7}" dt="2024-11-28T11:19:17.212" v="16" actId="478"/>
          <ac:grpSpMkLst>
            <pc:docMk/>
            <pc:sldMk cId="3563067932" sldId="2147482141"/>
            <ac:grpSpMk id="28" creationId="{BE2E9054-12D0-E945-9611-326223F878EF}"/>
          </ac:grpSpMkLst>
        </pc:grpChg>
        <pc:grpChg chg="del">
          <ac:chgData name="Ulla Jensen" userId="9f08d654-f16e-4e37-932e-b650d83c4d02" providerId="ADAL" clId="{623CE855-6A23-404B-97D3-FA43AEB11FE7}" dt="2024-11-28T11:19:17.212" v="16" actId="478"/>
          <ac:grpSpMkLst>
            <pc:docMk/>
            <pc:sldMk cId="3563067932" sldId="2147482141"/>
            <ac:grpSpMk id="48" creationId="{4298A4AE-D471-0765-9FA2-D215581F7607}"/>
          </ac:grpSpMkLst>
        </pc:grpChg>
        <pc:grpChg chg="del">
          <ac:chgData name="Ulla Jensen" userId="9f08d654-f16e-4e37-932e-b650d83c4d02" providerId="ADAL" clId="{623CE855-6A23-404B-97D3-FA43AEB11FE7}" dt="2024-11-28T11:19:17.212" v="16" actId="478"/>
          <ac:grpSpMkLst>
            <pc:docMk/>
            <pc:sldMk cId="3563067932" sldId="2147482141"/>
            <ac:grpSpMk id="77" creationId="{3C73BF65-F488-ECE3-A83E-DE6DC3AAD7CA}"/>
          </ac:grpSpMkLst>
        </pc:grpChg>
        <pc:picChg chg="add mod">
          <ac:chgData name="Ulla Jensen" userId="9f08d654-f16e-4e37-932e-b650d83c4d02" providerId="ADAL" clId="{623CE855-6A23-404B-97D3-FA43AEB11FE7}" dt="2024-11-28T11:19:37.579" v="18" actId="1076"/>
          <ac:picMkLst>
            <pc:docMk/>
            <pc:sldMk cId="3563067932" sldId="2147482141"/>
            <ac:picMk id="2" creationId="{AC83071F-A67F-3F5C-CB68-B26CB8FFCE3F}"/>
          </ac:picMkLst>
        </pc:picChg>
        <pc:picChg chg="del">
          <ac:chgData name="Ulla Jensen" userId="9f08d654-f16e-4e37-932e-b650d83c4d02" providerId="ADAL" clId="{623CE855-6A23-404B-97D3-FA43AEB11FE7}" dt="2024-11-28T11:19:17.212" v="16" actId="478"/>
          <ac:picMkLst>
            <pc:docMk/>
            <pc:sldMk cId="3563067932" sldId="2147482141"/>
            <ac:picMk id="8" creationId="{2383A0B1-ED75-63D3-D608-BA3EC00BFB53}"/>
          </ac:picMkLst>
        </pc:picChg>
        <pc:picChg chg="del">
          <ac:chgData name="Ulla Jensen" userId="9f08d654-f16e-4e37-932e-b650d83c4d02" providerId="ADAL" clId="{623CE855-6A23-404B-97D3-FA43AEB11FE7}" dt="2024-11-28T11:19:17.212" v="16" actId="478"/>
          <ac:picMkLst>
            <pc:docMk/>
            <pc:sldMk cId="3563067932" sldId="2147482141"/>
            <ac:picMk id="9" creationId="{10328755-67D7-BD26-9B5D-F2D6FE36734A}"/>
          </ac:picMkLst>
        </pc:picChg>
        <pc:picChg chg="del">
          <ac:chgData name="Ulla Jensen" userId="9f08d654-f16e-4e37-932e-b650d83c4d02" providerId="ADAL" clId="{623CE855-6A23-404B-97D3-FA43AEB11FE7}" dt="2024-11-28T11:19:17.212" v="16" actId="478"/>
          <ac:picMkLst>
            <pc:docMk/>
            <pc:sldMk cId="3563067932" sldId="2147482141"/>
            <ac:picMk id="45" creationId="{69AC152A-7D78-A5E1-450A-001F190061A3}"/>
          </ac:picMkLst>
        </pc:picChg>
        <pc:picChg chg="del">
          <ac:chgData name="Ulla Jensen" userId="9f08d654-f16e-4e37-932e-b650d83c4d02" providerId="ADAL" clId="{623CE855-6A23-404B-97D3-FA43AEB11FE7}" dt="2024-11-28T11:19:17.212" v="16" actId="478"/>
          <ac:picMkLst>
            <pc:docMk/>
            <pc:sldMk cId="3563067932" sldId="2147482141"/>
            <ac:picMk id="46" creationId="{878D31DB-0D20-894F-2DB5-2CE7C2D9F89A}"/>
          </ac:picMkLst>
        </pc:picChg>
        <pc:picChg chg="del">
          <ac:chgData name="Ulla Jensen" userId="9f08d654-f16e-4e37-932e-b650d83c4d02" providerId="ADAL" clId="{623CE855-6A23-404B-97D3-FA43AEB11FE7}" dt="2024-11-28T11:19:17.212" v="16" actId="478"/>
          <ac:picMkLst>
            <pc:docMk/>
            <pc:sldMk cId="3563067932" sldId="2147482141"/>
            <ac:picMk id="47" creationId="{0D2BE4E1-3DA2-0BB9-441A-C915A494D8EA}"/>
          </ac:picMkLst>
        </pc:picChg>
        <pc:picChg chg="del">
          <ac:chgData name="Ulla Jensen" userId="9f08d654-f16e-4e37-932e-b650d83c4d02" providerId="ADAL" clId="{623CE855-6A23-404B-97D3-FA43AEB11FE7}" dt="2024-11-28T11:19:17.212" v="16" actId="478"/>
          <ac:picMkLst>
            <pc:docMk/>
            <pc:sldMk cId="3563067932" sldId="2147482141"/>
            <ac:picMk id="99" creationId="{25788F28-D243-92D6-5FA7-15CF3E33F670}"/>
          </ac:picMkLst>
        </pc:picChg>
      </pc:sldChg>
      <pc:sldMasterChg chg="modSldLayout">
        <pc:chgData name="Ulla Jensen" userId="9f08d654-f16e-4e37-932e-b650d83c4d02" providerId="ADAL" clId="{623CE855-6A23-404B-97D3-FA43AEB11FE7}" dt="2024-11-28T11:13:57.336" v="1"/>
        <pc:sldMasterMkLst>
          <pc:docMk/>
          <pc:sldMasterMk cId="3274531507" sldId="2147483648"/>
        </pc:sldMasterMkLst>
        <pc:sldLayoutChg chg="addSp delSp modSp mod">
          <pc:chgData name="Ulla Jensen" userId="9f08d654-f16e-4e37-932e-b650d83c4d02" providerId="ADAL" clId="{623CE855-6A23-404B-97D3-FA43AEB11FE7}" dt="2024-11-28T11:13:57.336" v="1"/>
          <pc:sldLayoutMkLst>
            <pc:docMk/>
            <pc:sldMasterMk cId="3274531507" sldId="2147483648"/>
            <pc:sldLayoutMk cId="3540376706" sldId="2147483673"/>
          </pc:sldLayoutMkLst>
          <pc:grpChg chg="del">
            <ac:chgData name="Ulla Jensen" userId="9f08d654-f16e-4e37-932e-b650d83c4d02" providerId="ADAL" clId="{623CE855-6A23-404B-97D3-FA43AEB11FE7}" dt="2024-11-28T11:13:56.057" v="0" actId="478"/>
            <ac:grpSpMkLst>
              <pc:docMk/>
              <pc:sldMasterMk cId="3274531507" sldId="2147483648"/>
              <pc:sldLayoutMk cId="3540376706" sldId="2147483673"/>
              <ac:grpSpMk id="2" creationId="{341B3374-721C-DA35-EAB5-51F36F8F4B4F}"/>
            </ac:grpSpMkLst>
          </pc:grpChg>
          <pc:picChg chg="add mod">
            <ac:chgData name="Ulla Jensen" userId="9f08d654-f16e-4e37-932e-b650d83c4d02" providerId="ADAL" clId="{623CE855-6A23-404B-97D3-FA43AEB11FE7}" dt="2024-11-28T11:13:57.336" v="1"/>
            <ac:picMkLst>
              <pc:docMk/>
              <pc:sldMasterMk cId="3274531507" sldId="2147483648"/>
              <pc:sldLayoutMk cId="3540376706" sldId="2147483673"/>
              <ac:picMk id="1023" creationId="{850BDA13-7592-AE59-4A89-E0E7A1AC8196}"/>
            </ac:picMkLst>
          </pc:picChg>
        </pc:sldLayoutChg>
      </pc:sldMasterChg>
    </pc:docChg>
  </pc:docChgLst>
  <pc:docChgLst>
    <pc:chgData name="Kasper Brøndum Andersen" userId="23d34907-f6e1-4907-afd7-52417792db56" providerId="ADAL" clId="{C1ADCE00-B4AE-4AAC-8119-B7E03DF6A627}"/>
    <pc:docChg chg="custSel modSld">
      <pc:chgData name="Kasper Brøndum Andersen" userId="23d34907-f6e1-4907-afd7-52417792db56" providerId="ADAL" clId="{C1ADCE00-B4AE-4AAC-8119-B7E03DF6A627}" dt="2024-11-28T10:16:50.632" v="113" actId="20577"/>
      <pc:docMkLst>
        <pc:docMk/>
      </pc:docMkLst>
      <pc:sldChg chg="modSp mod">
        <pc:chgData name="Kasper Brøndum Andersen" userId="23d34907-f6e1-4907-afd7-52417792db56" providerId="ADAL" clId="{C1ADCE00-B4AE-4AAC-8119-B7E03DF6A627}" dt="2024-11-28T10:15:09.369" v="57" actId="20577"/>
        <pc:sldMkLst>
          <pc:docMk/>
          <pc:sldMk cId="801246152" sldId="279"/>
        </pc:sldMkLst>
        <pc:spChg chg="mod">
          <ac:chgData name="Kasper Brøndum Andersen" userId="23d34907-f6e1-4907-afd7-52417792db56" providerId="ADAL" clId="{C1ADCE00-B4AE-4AAC-8119-B7E03DF6A627}" dt="2024-11-28T10:10:11.212" v="7" actId="6549"/>
          <ac:spMkLst>
            <pc:docMk/>
            <pc:sldMk cId="801246152" sldId="279"/>
            <ac:spMk id="11" creationId="{63476E3E-28B3-F1FD-CE33-1F2AFCD35A77}"/>
          </ac:spMkLst>
        </pc:spChg>
        <pc:spChg chg="mod">
          <ac:chgData name="Kasper Brøndum Andersen" userId="23d34907-f6e1-4907-afd7-52417792db56" providerId="ADAL" clId="{C1ADCE00-B4AE-4AAC-8119-B7E03DF6A627}" dt="2024-11-28T10:10:15.777" v="11" actId="6549"/>
          <ac:spMkLst>
            <pc:docMk/>
            <pc:sldMk cId="801246152" sldId="279"/>
            <ac:spMk id="17" creationId="{9131F726-D8C8-FE1A-1DA6-D2902746B8C2}"/>
          </ac:spMkLst>
        </pc:spChg>
        <pc:spChg chg="mod">
          <ac:chgData name="Kasper Brøndum Andersen" userId="23d34907-f6e1-4907-afd7-52417792db56" providerId="ADAL" clId="{C1ADCE00-B4AE-4AAC-8119-B7E03DF6A627}" dt="2024-11-28T10:15:09.369" v="57" actId="20577"/>
          <ac:spMkLst>
            <pc:docMk/>
            <pc:sldMk cId="801246152" sldId="279"/>
            <ac:spMk id="19" creationId="{76A0D93D-EA89-753A-AB21-B4942475121F}"/>
          </ac:spMkLst>
        </pc:spChg>
        <pc:spChg chg="mod">
          <ac:chgData name="Kasper Brøndum Andersen" userId="23d34907-f6e1-4907-afd7-52417792db56" providerId="ADAL" clId="{C1ADCE00-B4AE-4AAC-8119-B7E03DF6A627}" dt="2024-11-28T10:10:27.812" v="14" actId="20577"/>
          <ac:spMkLst>
            <pc:docMk/>
            <pc:sldMk cId="801246152" sldId="279"/>
            <ac:spMk id="24" creationId="{3F398A42-ED66-0EDB-1D0B-BF12A47406F4}"/>
          </ac:spMkLst>
        </pc:spChg>
      </pc:sldChg>
      <pc:sldChg chg="modSp mod">
        <pc:chgData name="Kasper Brøndum Andersen" userId="23d34907-f6e1-4907-afd7-52417792db56" providerId="ADAL" clId="{C1ADCE00-B4AE-4AAC-8119-B7E03DF6A627}" dt="2024-11-28T10:15:16.537" v="61" actId="20577"/>
        <pc:sldMkLst>
          <pc:docMk/>
          <pc:sldMk cId="1702258681" sldId="280"/>
        </pc:sldMkLst>
        <pc:spChg chg="mod">
          <ac:chgData name="Kasper Brøndum Andersen" userId="23d34907-f6e1-4907-afd7-52417792db56" providerId="ADAL" clId="{C1ADCE00-B4AE-4AAC-8119-B7E03DF6A627}" dt="2024-11-28T10:11:02.704" v="26" actId="20577"/>
          <ac:spMkLst>
            <pc:docMk/>
            <pc:sldMk cId="1702258681" sldId="280"/>
            <ac:spMk id="3" creationId="{3C9AD4AF-531B-6CEB-D613-8198F4E3B622}"/>
          </ac:spMkLst>
        </pc:spChg>
        <pc:spChg chg="mod">
          <ac:chgData name="Kasper Brøndum Andersen" userId="23d34907-f6e1-4907-afd7-52417792db56" providerId="ADAL" clId="{C1ADCE00-B4AE-4AAC-8119-B7E03DF6A627}" dt="2024-11-28T10:10:55.224" v="22" actId="6549"/>
          <ac:spMkLst>
            <pc:docMk/>
            <pc:sldMk cId="1702258681" sldId="280"/>
            <ac:spMk id="6" creationId="{116D07EB-BA41-BF4E-EC42-855D27881C5E}"/>
          </ac:spMkLst>
        </pc:spChg>
        <pc:spChg chg="mod">
          <ac:chgData name="Kasper Brøndum Andersen" userId="23d34907-f6e1-4907-afd7-52417792db56" providerId="ADAL" clId="{C1ADCE00-B4AE-4AAC-8119-B7E03DF6A627}" dt="2024-11-28T10:12:34.304" v="46" actId="6549"/>
          <ac:spMkLst>
            <pc:docMk/>
            <pc:sldMk cId="1702258681" sldId="280"/>
            <ac:spMk id="7" creationId="{FA7E94BC-4DB5-EB8D-FA25-14BA6B0C3326}"/>
          </ac:spMkLst>
        </pc:spChg>
        <pc:spChg chg="mod">
          <ac:chgData name="Kasper Brøndum Andersen" userId="23d34907-f6e1-4907-afd7-52417792db56" providerId="ADAL" clId="{C1ADCE00-B4AE-4AAC-8119-B7E03DF6A627}" dt="2024-11-28T10:15:16.537" v="61" actId="20577"/>
          <ac:spMkLst>
            <pc:docMk/>
            <pc:sldMk cId="1702258681" sldId="280"/>
            <ac:spMk id="8" creationId="{395B9140-1438-3222-143E-3AE4C25C3D1A}"/>
          </ac:spMkLst>
        </pc:spChg>
      </pc:sldChg>
      <pc:sldChg chg="modSp mod">
        <pc:chgData name="Kasper Brøndum Andersen" userId="23d34907-f6e1-4907-afd7-52417792db56" providerId="ADAL" clId="{C1ADCE00-B4AE-4AAC-8119-B7E03DF6A627}" dt="2024-11-28T10:15:27.712" v="73" actId="20577"/>
        <pc:sldMkLst>
          <pc:docMk/>
          <pc:sldMk cId="3240193961" sldId="285"/>
        </pc:sldMkLst>
        <pc:spChg chg="mod">
          <ac:chgData name="Kasper Brøndum Andersen" userId="23d34907-f6e1-4907-afd7-52417792db56" providerId="ADAL" clId="{C1ADCE00-B4AE-4AAC-8119-B7E03DF6A627}" dt="2024-11-28T10:15:27.712" v="73" actId="20577"/>
          <ac:spMkLst>
            <pc:docMk/>
            <pc:sldMk cId="3240193961" sldId="285"/>
            <ac:spMk id="3" creationId="{09DF3FF7-ADC3-1C69-4A86-8F4D9FA27B0A}"/>
          </ac:spMkLst>
        </pc:spChg>
      </pc:sldChg>
      <pc:sldChg chg="modSp mod">
        <pc:chgData name="Kasper Brøndum Andersen" userId="23d34907-f6e1-4907-afd7-52417792db56" providerId="ADAL" clId="{C1ADCE00-B4AE-4AAC-8119-B7E03DF6A627}" dt="2024-11-28T10:16:39.575" v="86" actId="20577"/>
        <pc:sldMkLst>
          <pc:docMk/>
          <pc:sldMk cId="2727716631" sldId="368"/>
        </pc:sldMkLst>
        <pc:spChg chg="mod">
          <ac:chgData name="Kasper Brøndum Andersen" userId="23d34907-f6e1-4907-afd7-52417792db56" providerId="ADAL" clId="{C1ADCE00-B4AE-4AAC-8119-B7E03DF6A627}" dt="2024-11-28T10:16:39.575" v="86" actId="20577"/>
          <ac:spMkLst>
            <pc:docMk/>
            <pc:sldMk cId="2727716631" sldId="368"/>
            <ac:spMk id="2" creationId="{7D3B510E-5426-978B-45A5-728EC3BB797F}"/>
          </ac:spMkLst>
        </pc:spChg>
      </pc:sldChg>
      <pc:sldChg chg="modSp mod">
        <pc:chgData name="Kasper Brøndum Andersen" userId="23d34907-f6e1-4907-afd7-52417792db56" providerId="ADAL" clId="{C1ADCE00-B4AE-4AAC-8119-B7E03DF6A627}" dt="2024-11-28T10:16:50.632" v="113" actId="20577"/>
        <pc:sldMkLst>
          <pc:docMk/>
          <pc:sldMk cId="1241497437" sldId="369"/>
        </pc:sldMkLst>
        <pc:spChg chg="mod">
          <ac:chgData name="Kasper Brøndum Andersen" userId="23d34907-f6e1-4907-afd7-52417792db56" providerId="ADAL" clId="{C1ADCE00-B4AE-4AAC-8119-B7E03DF6A627}" dt="2024-11-28T10:16:50.632" v="113" actId="20577"/>
          <ac:spMkLst>
            <pc:docMk/>
            <pc:sldMk cId="1241497437" sldId="369"/>
            <ac:spMk id="2" creationId="{007CFF29-C2F2-4907-601B-6A805368BA98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369E1F1-BDB7-4F26-8BB3-72A5B8EB465E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4B35C904-BB6F-4977-B7EB-CD8DFC1A40C5}">
      <dgm:prSet phldrT="[Tekst]" custT="1"/>
      <dgm:spPr>
        <a:solidFill>
          <a:srgbClr val="339C91"/>
        </a:solidFill>
      </dgm:spPr>
      <dgm:t>
        <a:bodyPr/>
        <a:lstStyle/>
        <a:p>
          <a:r>
            <a:rPr lang="da-DK" sz="1600" dirty="0">
              <a:latin typeface="Verdana" panose="020B0604030504040204" pitchFamily="34" charset="0"/>
              <a:ea typeface="Verdana" panose="020B0604030504040204" pitchFamily="34" charset="0"/>
            </a:rPr>
            <a:t>ESG-målepunkter</a:t>
          </a:r>
        </a:p>
      </dgm:t>
    </dgm:pt>
    <dgm:pt modelId="{E7C1FD22-D627-4031-B69A-92D29243DA0C}" type="parTrans" cxnId="{A1B220A2-55DA-44B2-B8F1-2034EA887991}">
      <dgm:prSet/>
      <dgm:spPr/>
      <dgm:t>
        <a:bodyPr/>
        <a:lstStyle/>
        <a:p>
          <a:endParaRPr lang="da-DK" sz="16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7162C4D6-0F29-48F4-BCCB-E79EE9AF7AE2}" type="sibTrans" cxnId="{A1B220A2-55DA-44B2-B8F1-2034EA887991}">
      <dgm:prSet/>
      <dgm:spPr/>
      <dgm:t>
        <a:bodyPr/>
        <a:lstStyle/>
        <a:p>
          <a:endParaRPr lang="da-DK" sz="16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18AF788F-C01A-41FA-BD6E-7182BD91BE98}">
      <dgm:prSet phldrT="[Tekst]" custT="1"/>
      <dgm:spPr>
        <a:solidFill>
          <a:srgbClr val="339C91"/>
        </a:solidFill>
      </dgm:spPr>
      <dgm:t>
        <a:bodyPr/>
        <a:lstStyle/>
        <a:p>
          <a:r>
            <a:rPr lang="da-DK" sz="1600">
              <a:latin typeface="Verdana" panose="020B0604030504040204" pitchFamily="34" charset="0"/>
              <a:ea typeface="Verdana" panose="020B0604030504040204" pitchFamily="34" charset="0"/>
            </a:rPr>
            <a:t>Indikatorer og datagrundlag</a:t>
          </a:r>
        </a:p>
      </dgm:t>
    </dgm:pt>
    <dgm:pt modelId="{07C7EFED-4818-449D-8AA8-2C5396A99062}" type="parTrans" cxnId="{6A74F5AF-D061-46FE-A8F2-8CFCC05A42D5}">
      <dgm:prSet/>
      <dgm:spPr/>
      <dgm:t>
        <a:bodyPr/>
        <a:lstStyle/>
        <a:p>
          <a:endParaRPr lang="da-DK" sz="16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C588AA05-800F-447A-A0AB-22B7B736232E}" type="sibTrans" cxnId="{6A74F5AF-D061-46FE-A8F2-8CFCC05A42D5}">
      <dgm:prSet/>
      <dgm:spPr/>
      <dgm:t>
        <a:bodyPr/>
        <a:lstStyle/>
        <a:p>
          <a:endParaRPr lang="da-DK" sz="16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B77C283E-3037-4F03-AFE6-9D7141480F0B}">
      <dgm:prSet phldrT="[Tekst]" custT="1"/>
      <dgm:spPr>
        <a:solidFill>
          <a:srgbClr val="339C91"/>
        </a:solidFill>
      </dgm:spPr>
      <dgm:t>
        <a:bodyPr/>
        <a:lstStyle/>
        <a:p>
          <a:r>
            <a:rPr lang="da-DK" sz="1600">
              <a:latin typeface="Verdana" panose="020B0604030504040204" pitchFamily="34" charset="0"/>
              <a:ea typeface="Verdana" panose="020B0604030504040204" pitchFamily="34" charset="0"/>
            </a:rPr>
            <a:t>Hjælpeværktøjer til bedre beslutninger</a:t>
          </a:r>
        </a:p>
      </dgm:t>
    </dgm:pt>
    <dgm:pt modelId="{2EA0F087-D9A1-428E-ACB3-BE01EE7C56B1}" type="parTrans" cxnId="{B5BECFC7-0352-4C39-94DD-A5FE5EF204B7}">
      <dgm:prSet/>
      <dgm:spPr/>
      <dgm:t>
        <a:bodyPr/>
        <a:lstStyle/>
        <a:p>
          <a:endParaRPr lang="da-DK" sz="16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0307B469-8EEB-46C0-8727-6C650E4C2C04}" type="sibTrans" cxnId="{B5BECFC7-0352-4C39-94DD-A5FE5EF204B7}">
      <dgm:prSet/>
      <dgm:spPr/>
      <dgm:t>
        <a:bodyPr/>
        <a:lstStyle/>
        <a:p>
          <a:endParaRPr lang="da-DK" sz="1600">
            <a:latin typeface="Verdana" panose="020B0604030504040204" pitchFamily="34" charset="0"/>
            <a:ea typeface="Verdana" panose="020B0604030504040204" pitchFamily="34" charset="0"/>
          </a:endParaRPr>
        </a:p>
      </dgm:t>
    </dgm:pt>
    <dgm:pt modelId="{8D6C16DE-0995-4295-B3A7-B0D77F944EDE}" type="pres">
      <dgm:prSet presAssocID="{2369E1F1-BDB7-4F26-8BB3-72A5B8EB465E}" presName="Name0" presStyleCnt="0">
        <dgm:presLayoutVars>
          <dgm:dir/>
          <dgm:resizeHandles val="exact"/>
        </dgm:presLayoutVars>
      </dgm:prSet>
      <dgm:spPr/>
    </dgm:pt>
    <dgm:pt modelId="{110AB4AD-F70D-4AB9-ACCB-87E61938D6BC}" type="pres">
      <dgm:prSet presAssocID="{4B35C904-BB6F-4977-B7EB-CD8DFC1A40C5}" presName="parTxOnly" presStyleLbl="node1" presStyleIdx="0" presStyleCnt="3">
        <dgm:presLayoutVars>
          <dgm:bulletEnabled val="1"/>
        </dgm:presLayoutVars>
      </dgm:prSet>
      <dgm:spPr/>
    </dgm:pt>
    <dgm:pt modelId="{7CC81E1C-D77D-4DB5-9378-C221DFD19F31}" type="pres">
      <dgm:prSet presAssocID="{7162C4D6-0F29-48F4-BCCB-E79EE9AF7AE2}" presName="parSpace" presStyleCnt="0"/>
      <dgm:spPr/>
    </dgm:pt>
    <dgm:pt modelId="{C65B9BE5-D7E3-4BC6-82A3-2AB4000A4804}" type="pres">
      <dgm:prSet presAssocID="{18AF788F-C01A-41FA-BD6E-7182BD91BE98}" presName="parTxOnly" presStyleLbl="node1" presStyleIdx="1" presStyleCnt="3">
        <dgm:presLayoutVars>
          <dgm:bulletEnabled val="1"/>
        </dgm:presLayoutVars>
      </dgm:prSet>
      <dgm:spPr/>
    </dgm:pt>
    <dgm:pt modelId="{F6D109A4-B34F-406E-9B0D-789CAE3DD66C}" type="pres">
      <dgm:prSet presAssocID="{C588AA05-800F-447A-A0AB-22B7B736232E}" presName="parSpace" presStyleCnt="0"/>
      <dgm:spPr/>
    </dgm:pt>
    <dgm:pt modelId="{F63B5FF9-A13F-4612-A7E3-3F5E117541E3}" type="pres">
      <dgm:prSet presAssocID="{B77C283E-3037-4F03-AFE6-9D7141480F0B}" presName="parTxOnly" presStyleLbl="node1" presStyleIdx="2" presStyleCnt="3">
        <dgm:presLayoutVars>
          <dgm:bulletEnabled val="1"/>
        </dgm:presLayoutVars>
      </dgm:prSet>
      <dgm:spPr/>
    </dgm:pt>
  </dgm:ptLst>
  <dgm:cxnLst>
    <dgm:cxn modelId="{AE984F09-BB4C-44C9-9E12-EDC55B49CF5F}" type="presOf" srcId="{B77C283E-3037-4F03-AFE6-9D7141480F0B}" destId="{F63B5FF9-A13F-4612-A7E3-3F5E117541E3}" srcOrd="0" destOrd="0" presId="urn:microsoft.com/office/officeart/2005/8/layout/hChevron3"/>
    <dgm:cxn modelId="{F3BF5724-6FD4-413F-870C-6162C12D4765}" type="presOf" srcId="{4B35C904-BB6F-4977-B7EB-CD8DFC1A40C5}" destId="{110AB4AD-F70D-4AB9-ACCB-87E61938D6BC}" srcOrd="0" destOrd="0" presId="urn:microsoft.com/office/officeart/2005/8/layout/hChevron3"/>
    <dgm:cxn modelId="{9EC7B25D-1D48-46FA-936E-C7083318A286}" type="presOf" srcId="{18AF788F-C01A-41FA-BD6E-7182BD91BE98}" destId="{C65B9BE5-D7E3-4BC6-82A3-2AB4000A4804}" srcOrd="0" destOrd="0" presId="urn:microsoft.com/office/officeart/2005/8/layout/hChevron3"/>
    <dgm:cxn modelId="{77CC964D-4807-4487-92D8-1E4024EE2480}" type="presOf" srcId="{2369E1F1-BDB7-4F26-8BB3-72A5B8EB465E}" destId="{8D6C16DE-0995-4295-B3A7-B0D77F944EDE}" srcOrd="0" destOrd="0" presId="urn:microsoft.com/office/officeart/2005/8/layout/hChevron3"/>
    <dgm:cxn modelId="{A1B220A2-55DA-44B2-B8F1-2034EA887991}" srcId="{2369E1F1-BDB7-4F26-8BB3-72A5B8EB465E}" destId="{4B35C904-BB6F-4977-B7EB-CD8DFC1A40C5}" srcOrd="0" destOrd="0" parTransId="{E7C1FD22-D627-4031-B69A-92D29243DA0C}" sibTransId="{7162C4D6-0F29-48F4-BCCB-E79EE9AF7AE2}"/>
    <dgm:cxn modelId="{6A74F5AF-D061-46FE-A8F2-8CFCC05A42D5}" srcId="{2369E1F1-BDB7-4F26-8BB3-72A5B8EB465E}" destId="{18AF788F-C01A-41FA-BD6E-7182BD91BE98}" srcOrd="1" destOrd="0" parTransId="{07C7EFED-4818-449D-8AA8-2C5396A99062}" sibTransId="{C588AA05-800F-447A-A0AB-22B7B736232E}"/>
    <dgm:cxn modelId="{B5BECFC7-0352-4C39-94DD-A5FE5EF204B7}" srcId="{2369E1F1-BDB7-4F26-8BB3-72A5B8EB465E}" destId="{B77C283E-3037-4F03-AFE6-9D7141480F0B}" srcOrd="2" destOrd="0" parTransId="{2EA0F087-D9A1-428E-ACB3-BE01EE7C56B1}" sibTransId="{0307B469-8EEB-46C0-8727-6C650E4C2C04}"/>
    <dgm:cxn modelId="{62C5F369-346A-4C8D-99FF-D209CD6D8BE0}" type="presParOf" srcId="{8D6C16DE-0995-4295-B3A7-B0D77F944EDE}" destId="{110AB4AD-F70D-4AB9-ACCB-87E61938D6BC}" srcOrd="0" destOrd="0" presId="urn:microsoft.com/office/officeart/2005/8/layout/hChevron3"/>
    <dgm:cxn modelId="{D1D4E725-45AF-4E66-ABC2-4937CD043EBE}" type="presParOf" srcId="{8D6C16DE-0995-4295-B3A7-B0D77F944EDE}" destId="{7CC81E1C-D77D-4DB5-9378-C221DFD19F31}" srcOrd="1" destOrd="0" presId="urn:microsoft.com/office/officeart/2005/8/layout/hChevron3"/>
    <dgm:cxn modelId="{D2587674-6881-454D-A2F6-F9D5D5140420}" type="presParOf" srcId="{8D6C16DE-0995-4295-B3A7-B0D77F944EDE}" destId="{C65B9BE5-D7E3-4BC6-82A3-2AB4000A4804}" srcOrd="2" destOrd="0" presId="urn:microsoft.com/office/officeart/2005/8/layout/hChevron3"/>
    <dgm:cxn modelId="{4834D56F-8A68-4AA5-8818-2A01EC501ABA}" type="presParOf" srcId="{8D6C16DE-0995-4295-B3A7-B0D77F944EDE}" destId="{F6D109A4-B34F-406E-9B0D-789CAE3DD66C}" srcOrd="3" destOrd="0" presId="urn:microsoft.com/office/officeart/2005/8/layout/hChevron3"/>
    <dgm:cxn modelId="{B2BD044E-C849-4C01-A12C-42CA60A288F6}" type="presParOf" srcId="{8D6C16DE-0995-4295-B3A7-B0D77F944EDE}" destId="{F63B5FF9-A13F-4612-A7E3-3F5E117541E3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10AB4AD-F70D-4AB9-ACCB-87E61938D6BC}">
      <dsp:nvSpPr>
        <dsp:cNvPr id="0" name=""/>
        <dsp:cNvSpPr/>
      </dsp:nvSpPr>
      <dsp:spPr>
        <a:xfrm>
          <a:off x="3571" y="0"/>
          <a:ext cx="3123406" cy="703550"/>
        </a:xfrm>
        <a:prstGeom prst="homePlate">
          <a:avLst/>
        </a:prstGeom>
        <a:solidFill>
          <a:srgbClr val="339C9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 dirty="0">
              <a:latin typeface="Verdana" panose="020B0604030504040204" pitchFamily="34" charset="0"/>
              <a:ea typeface="Verdana" panose="020B0604030504040204" pitchFamily="34" charset="0"/>
            </a:rPr>
            <a:t>ESG-målepunkter</a:t>
          </a:r>
        </a:p>
      </dsp:txBody>
      <dsp:txXfrm>
        <a:off x="3571" y="0"/>
        <a:ext cx="2947519" cy="703550"/>
      </dsp:txXfrm>
    </dsp:sp>
    <dsp:sp modelId="{C65B9BE5-D7E3-4BC6-82A3-2AB4000A4804}">
      <dsp:nvSpPr>
        <dsp:cNvPr id="0" name=""/>
        <dsp:cNvSpPr/>
      </dsp:nvSpPr>
      <dsp:spPr>
        <a:xfrm>
          <a:off x="2502296" y="0"/>
          <a:ext cx="3123406" cy="703550"/>
        </a:xfrm>
        <a:prstGeom prst="chevron">
          <a:avLst/>
        </a:prstGeom>
        <a:solidFill>
          <a:srgbClr val="339C9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>
              <a:latin typeface="Verdana" panose="020B0604030504040204" pitchFamily="34" charset="0"/>
              <a:ea typeface="Verdana" panose="020B0604030504040204" pitchFamily="34" charset="0"/>
            </a:rPr>
            <a:t>Indikatorer og datagrundlag</a:t>
          </a:r>
        </a:p>
      </dsp:txBody>
      <dsp:txXfrm>
        <a:off x="2854071" y="0"/>
        <a:ext cx="2419856" cy="703550"/>
      </dsp:txXfrm>
    </dsp:sp>
    <dsp:sp modelId="{F63B5FF9-A13F-4612-A7E3-3F5E117541E3}">
      <dsp:nvSpPr>
        <dsp:cNvPr id="0" name=""/>
        <dsp:cNvSpPr/>
      </dsp:nvSpPr>
      <dsp:spPr>
        <a:xfrm>
          <a:off x="5001021" y="0"/>
          <a:ext cx="3123406" cy="703550"/>
        </a:xfrm>
        <a:prstGeom prst="chevron">
          <a:avLst/>
        </a:prstGeom>
        <a:solidFill>
          <a:srgbClr val="339C91"/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kern="1200">
              <a:latin typeface="Verdana" panose="020B0604030504040204" pitchFamily="34" charset="0"/>
              <a:ea typeface="Verdana" panose="020B0604030504040204" pitchFamily="34" charset="0"/>
            </a:rPr>
            <a:t>Hjælpeværktøjer til bedre beslutninger</a:t>
          </a:r>
        </a:p>
      </dsp:txBody>
      <dsp:txXfrm>
        <a:off x="5352796" y="0"/>
        <a:ext cx="2419856" cy="7035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EF1B28F6-D266-4B97-A6B8-708EE75C5B1F}" type="datetimeFigureOut">
              <a:rPr lang="da-DK" smtClean="0"/>
              <a:pPr/>
              <a:t>28-11-2024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Click to edit Master text styles</a:t>
            </a:r>
          </a:p>
          <a:p>
            <a:pPr lvl="1"/>
            <a:r>
              <a:rPr lang="da-DK"/>
              <a:t>Second level</a:t>
            </a:r>
          </a:p>
          <a:p>
            <a:pPr lvl="2"/>
            <a:r>
              <a:rPr lang="da-DK"/>
              <a:t>Third level</a:t>
            </a:r>
          </a:p>
          <a:p>
            <a:pPr lvl="3"/>
            <a:r>
              <a:rPr lang="da-DK"/>
              <a:t>Fourth level</a:t>
            </a:r>
          </a:p>
          <a:p>
            <a:pPr lvl="4"/>
            <a:r>
              <a:rPr lang="da-DK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D5621165-7226-4F44-9E74-04CD2816FFCE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420082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910506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0A3D6D3-34F2-445F-824A-63C2677F10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E7E999-7E65-ED6C-4906-67B2AE4EC5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BD9ED3F-3036-3A2B-D1ED-4B19B63374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98876E7-9780-2F7E-8A34-439D203A77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837908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D00032-B6CA-A08C-1896-3CD1589B5A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2D0803C-F0AC-3748-D7E7-BC05AB5763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5BFB1E-B37B-4418-A440-B1FD7C324AF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6D436B8-50FA-C226-2502-AE77414C247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0689405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E81BBB-D241-EB6D-0D5B-5DC8CC6F11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CEBC3A9-8269-D308-1B6C-701F104CBAF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4F22649-40EC-B7D2-9FB8-DA8FB00AB4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8B67A5-F710-3098-BDD7-F02D19BD0FD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745305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F96249-725B-A074-5EB6-4D8F9E538B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615059A-4BC0-A5AC-45D8-2168FBE962C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CC65CF1-DF66-3D40-56C0-8AE6DE261FC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0EB600-8A85-FE56-B8F8-297FF9C79BF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876510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BC638E-6413-DA88-A5C4-61310D2009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1270C62-E9EA-7B08-4E62-248FD7ADA6E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3E2ADE0-E7F8-92BE-D6BB-ADC1B749B59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592022-B296-323D-F902-D9DD5D14589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239335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4A2CA3-042F-AAA3-CB28-4E92EB87A2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EDC509-9091-B4AB-1F0C-118CA276950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7F5C596-11FF-3538-E47A-4EF8D8BB39A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F417623-2877-B1D1-E614-D99D246D14D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767800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0589830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1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399707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838B28-78E2-EF8E-5BBB-44B47BAD68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FC8703A-2373-5374-270C-6348C62EDF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4C88D5B-5660-D4F4-41F1-2B30C6DB07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EF04F5-E6C3-FA20-70FB-CA9C23B1D4F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368074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277FCA-65E4-9CDB-8C5D-DB0FC5584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361A93C-A4D1-4416-8449-0749B4CED09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4C1B611-19D6-A321-1FDD-8AC6FDAA14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670BEC-4922-5883-D193-BA877E2B86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160344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74848F-3F16-076B-74BB-270673254B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1BA7404-1F5A-A301-E568-73B94FE709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D26AE3E-06A7-2709-D9BC-7EDFCDD440D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/>
              <a:t>Der skal følge en god forklaring med i tek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6B28AA-B5BE-570A-DD91-DEEF5B37F4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601611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1965C8F-8140-86A0-877B-F4DF22BC55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02DB035-023B-A200-8147-C39B694D051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A81DBF-CE17-1852-CCC9-D69B8B85644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AC4512-A55E-95E0-5940-EC92648D640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893114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4CFA062-979A-796E-2D51-059735955A5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54EE7D4-F62F-1D14-F08F-075CC823E3E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7791444-26DC-D497-5BE7-E39AEAD551E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BCABBCB-41EE-DC2C-55A9-4755DA75D70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829492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98E55E-AE64-7D11-F62F-C9BCCC63A1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6D476D2-ECD7-5FB1-F6F1-3B07D231C60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E39ED7E-CE9C-BC3B-4D36-3850CE9ABB5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A42F92-2DA2-32AD-5E3F-C5AA370804D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328173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39F8D21-46A6-666A-5216-26B74D478D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FCE528E-41D8-B8AD-6D1F-855B6EA9AF4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B56420-6D97-28C5-060A-036CC01F0B7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494E6EB-B0CA-31FC-40EB-8A8034A5251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185336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C76812-623B-B69A-5AC5-64AA63CD5C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A59CCF-A2DB-3DDA-56CE-DCDCF003F6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CE730B-9E64-8AA6-DE23-AB32FE8B41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60FDAD-97AA-B52A-8CE6-48DAA4F20AF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621165-7226-4F44-9E74-04CD2816FFCE}" type="slidenum">
              <a:rPr lang="da-DK" smtClean="0"/>
              <a:pPr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70185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9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10" Type="http://schemas.openxmlformats.org/officeDocument/2006/relationships/image" Target="../media/image11.svg"/><Relationship Id="rId4" Type="http://schemas.openxmlformats.org/officeDocument/2006/relationships/image" Target="../media/image5.emf"/><Relationship Id="rId9" Type="http://schemas.openxmlformats.org/officeDocument/2006/relationships/image" Target="../media/image10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Graphic 31">
            <a:extLst>
              <a:ext uri="{FF2B5EF4-FFF2-40B4-BE49-F238E27FC236}">
                <a16:creationId xmlns:a16="http://schemas.microsoft.com/office/drawing/2014/main" id="{3CDA8C07-984B-2BDD-D78E-8F8FA1D0ED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r="47987" b="49377"/>
          <a:stretch/>
        </p:blipFill>
        <p:spPr>
          <a:xfrm>
            <a:off x="7480610" y="2209800"/>
            <a:ext cx="4711390" cy="46482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0A5D9BB6-6821-DCE1-7E6C-D8741AF3EC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t="29484" r="5119" b="13704"/>
          <a:stretch/>
        </p:blipFill>
        <p:spPr>
          <a:xfrm>
            <a:off x="893220" y="-1"/>
            <a:ext cx="11298780" cy="6858001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5A1FEA36-E5B1-502E-E9A4-C4A3A4349F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7389" t="64610"/>
          <a:stretch/>
        </p:blipFill>
        <p:spPr>
          <a:xfrm>
            <a:off x="0" y="0"/>
            <a:ext cx="7010400" cy="4780246"/>
          </a:xfrm>
          <a:prstGeom prst="rect">
            <a:avLst/>
          </a:prstGeom>
        </p:spPr>
      </p:pic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EF6B3C91-84CE-39B0-B714-1BCEA7C34D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1030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04" imgH="405" progId="TCLayout.ActiveDocument.1">
                  <p:embed/>
                </p:oleObj>
              </mc:Choice>
              <mc:Fallback>
                <p:oleObj name="think-cell Slide" r:id="rId5" imgW="404" imgH="405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6B3C91-84CE-39B0-B714-1BCEA7C34D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AK_FINALLOGO_For AlmenCompass_Logo For Presentation.png" descr="AK_FINALLOGO_For AlmenCompass_Logo For Presentation.png">
            <a:extLst>
              <a:ext uri="{FF2B5EF4-FFF2-40B4-BE49-F238E27FC236}">
                <a16:creationId xmlns:a16="http://schemas.microsoft.com/office/drawing/2014/main" id="{A93D7C42-0DF7-BADB-16ED-AACA0A358C00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03430" y="2547554"/>
            <a:ext cx="10985142" cy="1762895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E1D78C-3C48-3AA3-01E5-B1821F2A50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529" y="5009728"/>
            <a:ext cx="10060772" cy="330318"/>
          </a:xfrm>
        </p:spPr>
        <p:txBody>
          <a:bodyPr lIns="0" tIns="0" rIns="0" bIns="0" anchor="ctr">
            <a:noAutofit/>
          </a:bodyPr>
          <a:lstStyle>
            <a:lvl1pPr marL="0" indent="0" rtl="0">
              <a:spcBef>
                <a:spcPts val="200"/>
              </a:spcBef>
              <a:buNone/>
              <a:defRPr>
                <a:latin typeface="DM Sans 18pt Medium" pitchFamily="2" charset="0"/>
              </a:defRPr>
            </a:lvl1pPr>
          </a:lstStyle>
          <a:p>
            <a:pPr lvl="0"/>
            <a:r>
              <a:rPr lang="da-DK" dirty="0"/>
              <a:t>Underoverskrift, DM Sans 18pt Medium, 20 </a:t>
            </a:r>
            <a:r>
              <a:rPr lang="da-DK" dirty="0" err="1"/>
              <a:t>pts</a:t>
            </a:r>
            <a:endParaRPr lang="da-DK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48408EA-FE05-438C-D1FA-3B81BA479C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529" y="4374776"/>
            <a:ext cx="10060772" cy="413139"/>
          </a:xfrm>
        </p:spPr>
        <p:txBody>
          <a:bodyPr lIns="0" tIns="0" rIns="0" bIns="0" anchor="t">
            <a:noAutofit/>
          </a:bodyPr>
          <a:lstStyle>
            <a:lvl1pPr marL="0" indent="0" rtl="0">
              <a:spcBef>
                <a:spcPts val="200"/>
              </a:spcBef>
              <a:buNone/>
              <a:defRPr sz="2400" cap="all" baseline="0">
                <a:latin typeface="DM Sans 18pt ExtraBold" pitchFamily="2" charset="0"/>
              </a:defRPr>
            </a:lvl1pPr>
          </a:lstStyle>
          <a:p>
            <a:pPr lvl="0"/>
            <a:r>
              <a:rPr lang="da-DK" dirty="0"/>
              <a:t>TITEL, DM Sans 18pt </a:t>
            </a:r>
            <a:r>
              <a:rPr lang="da-DK" dirty="0" err="1"/>
              <a:t>ExtraBold</a:t>
            </a:r>
            <a:r>
              <a:rPr lang="da-DK" dirty="0"/>
              <a:t>, 24PT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3CDE5A1-E478-9BF6-747A-0CAFA923FCA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9528" y="5611237"/>
            <a:ext cx="2082917" cy="300512"/>
          </a:xfrm>
        </p:spPr>
        <p:txBody>
          <a:bodyPr lIns="0" tIns="0" rIns="0" bIns="0" anchor="ctr">
            <a:noAutofit/>
          </a:bodyPr>
          <a:lstStyle>
            <a:lvl1pPr marL="0" indent="0" rtl="0">
              <a:buNone/>
              <a:defRPr sz="1600">
                <a:latin typeface="DM Sans 18pt" pitchFamily="2" charset="0"/>
              </a:defRPr>
            </a:lvl1pPr>
          </a:lstStyle>
          <a:p>
            <a:pPr lvl="0"/>
            <a:r>
              <a:rPr lang="da-DK" dirty="0"/>
              <a:t>Dato, DM Sans 18pt</a:t>
            </a:r>
          </a:p>
        </p:txBody>
      </p:sp>
    </p:spTree>
    <p:extLst>
      <p:ext uri="{BB962C8B-B14F-4D97-AF65-F5344CB8AC3E}">
        <p14:creationId xmlns:p14="http://schemas.microsoft.com/office/powerpoint/2010/main" val="1854124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08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590993"/>
            <a:ext cx="11472000" cy="4685982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1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3E9A943-F72D-D5B9-DA54-5909FEC0FC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 dirty="0"/>
              <a:t>Underoverskrift, DM Sans 18pt, 26 </a:t>
            </a:r>
            <a:r>
              <a:rPr lang="da-DK" dirty="0" err="1"/>
              <a:t>pts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68206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2" userDrawn="1">
          <p15:clr>
            <a:srgbClr val="F26B43"/>
          </p15:clr>
        </p15:guide>
        <p15:guide id="2" pos="7458" userDrawn="1">
          <p15:clr>
            <a:srgbClr val="F26B43"/>
          </p15:clr>
        </p15:guide>
        <p15:guide id="3" orient="horz" pos="1003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s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8672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FDE52D8-795D-FA9C-76A6-9F794ED181AF}"/>
              </a:ext>
            </a:extLst>
          </p:cNvPr>
          <p:cNvSpPr/>
          <p:nvPr userDrawn="1"/>
        </p:nvSpPr>
        <p:spPr>
          <a:xfrm>
            <a:off x="0" y="1590993"/>
            <a:ext cx="12192000" cy="468598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87CE2-B859-4AD8-5CF6-2FEA27EF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Titel, DM Sans 18pt ExtraBold, 36 pt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B7B0B340-86AA-7347-6C42-F9B6484E95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744259"/>
            <a:ext cx="11472000" cy="4379450"/>
          </a:xfrm>
        </p:spPr>
        <p:txBody>
          <a:bodyPr lIns="0"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  <a:p>
            <a:pPr lvl="4"/>
            <a:endParaRPr lang="da-DK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071E9BBC-7D73-7162-E5E7-E93AC78B0F4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33" name="Picture 4">
            <a:extLst>
              <a:ext uri="{FF2B5EF4-FFF2-40B4-BE49-F238E27FC236}">
                <a16:creationId xmlns:a16="http://schemas.microsoft.com/office/drawing/2014/main" id="{9CE9BA89-5857-2CDD-84E2-BB7077840ED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25B46451-2015-F809-1C67-3DE19561A6C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99129" y="6406294"/>
            <a:ext cx="9269506" cy="325752"/>
          </a:xfrm>
        </p:spPr>
        <p:txBody>
          <a:bodyPr lIns="0" tIns="0" rIns="0" bIns="0" anchor="ctr" anchorCtr="0">
            <a:normAutofit/>
          </a:bodyPr>
          <a:lstStyle>
            <a:lvl1pPr marL="0" indent="0" rtl="0">
              <a:buNone/>
              <a:defRPr sz="1000"/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5A63B0-0644-E095-74D7-A3A56C750D98}"/>
              </a:ext>
            </a:extLst>
          </p:cNvPr>
          <p:cNvSpPr/>
          <p:nvPr userDrawn="1"/>
        </p:nvSpPr>
        <p:spPr>
          <a:xfrm>
            <a:off x="0" y="0"/>
            <a:ext cx="12192000" cy="857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1590D32-799A-751E-E24D-618395DA4C1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956253"/>
            <a:ext cx="11472000" cy="445510"/>
          </a:xfrm>
        </p:spPr>
        <p:txBody>
          <a:bodyPr vert="horz" lIns="0" tIns="0" rIns="0" bIns="0" rtlCol="0" anchor="ctr">
            <a:noAutofit/>
          </a:bodyPr>
          <a:lstStyle>
            <a:lvl1pPr marL="0" indent="0" rtl="0">
              <a:buNone/>
              <a:defRPr lang="da-DK" sz="2600" b="0" dirty="0">
                <a:solidFill>
                  <a:schemeClr val="accent1"/>
                </a:solidFill>
                <a:latin typeface="DM Sans 18pt" pitchFamily="2" charset="0"/>
                <a:ea typeface="+mj-ea"/>
                <a:cs typeface="+mj-cs"/>
              </a:defRPr>
            </a:lvl1pPr>
          </a:lstStyle>
          <a:p>
            <a:pPr marL="228600" lvl="0" indent="-228600">
              <a:spcBef>
                <a:spcPct val="0"/>
              </a:spcBef>
            </a:pPr>
            <a:r>
              <a:rPr lang="da-DK" dirty="0"/>
              <a:t>Underoverskrift, DM Sans 18pt, 26 </a:t>
            </a:r>
            <a:r>
              <a:rPr lang="da-DK" dirty="0" err="1"/>
              <a:t>pts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04934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98" userDrawn="1">
          <p15:clr>
            <a:srgbClr val="F26B43"/>
          </p15:clr>
        </p15:guide>
        <p15:guide id="2" orient="horz" pos="3857" userDrawn="1">
          <p15:clr>
            <a:srgbClr val="F26B43"/>
          </p15:clr>
        </p15:guide>
        <p15:guide id="3" pos="222" userDrawn="1">
          <p15:clr>
            <a:srgbClr val="F26B43"/>
          </p15:clr>
        </p15:guide>
        <p15:guide id="4" pos="7458" userDrawn="1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gangs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9218D9D-773B-BE97-C5BE-4C36E1D2A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894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218D9D-773B-BE97-C5BE-4C36E1D2A6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Graphic 27">
            <a:extLst>
              <a:ext uri="{FF2B5EF4-FFF2-40B4-BE49-F238E27FC236}">
                <a16:creationId xmlns:a16="http://schemas.microsoft.com/office/drawing/2014/main" id="{8663345F-C921-BF92-72F8-947D6E54009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t="35953" r="37869"/>
          <a:stretch/>
        </p:blipFill>
        <p:spPr>
          <a:xfrm>
            <a:off x="7659055" y="-1"/>
            <a:ext cx="4532945" cy="4731657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EC1E4289-A5A8-E9E0-404D-A6FC14327F7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16154" t="65184" r="16154" b="10151"/>
          <a:stretch/>
        </p:blipFill>
        <p:spPr>
          <a:xfrm>
            <a:off x="1452018" y="1"/>
            <a:ext cx="2891382" cy="10668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C3732935-C802-AB17-A3D3-836E54EDF2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50000" b="50000"/>
          <a:stretch/>
        </p:blipFill>
        <p:spPr>
          <a:xfrm>
            <a:off x="-1" y="4695371"/>
            <a:ext cx="2135709" cy="216263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47D0A59-0A79-277D-3FD3-B0128C61DF4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b="56512"/>
          <a:stretch/>
        </p:blipFill>
        <p:spPr>
          <a:xfrm>
            <a:off x="5333999" y="4107544"/>
            <a:ext cx="6245873" cy="2750456"/>
          </a:xfrm>
          <a:prstGeom prst="rect">
            <a:avLst/>
          </a:prstGeom>
        </p:spPr>
      </p:pic>
      <p:sp>
        <p:nvSpPr>
          <p:cNvPr id="1291" name="Rectangle 1290">
            <a:extLst>
              <a:ext uri="{FF2B5EF4-FFF2-40B4-BE49-F238E27FC236}">
                <a16:creationId xmlns:a16="http://schemas.microsoft.com/office/drawing/2014/main" id="{ED9C2056-4C92-C903-C550-B0877A63A9E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886983A-A929-6880-DB27-77BD83949A9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71474" y="1813714"/>
            <a:ext cx="5491810" cy="2272511"/>
          </a:xfrm>
        </p:spPr>
        <p:txBody>
          <a:bodyPr lIns="0" tIns="0" rIns="0" bIns="0" anchor="b">
            <a:normAutofit/>
          </a:bodyPr>
          <a:lstStyle>
            <a:lvl1pPr marL="0" indent="0" rtl="0">
              <a:buNone/>
              <a:defRPr sz="4400">
                <a:solidFill>
                  <a:schemeClr val="accent1"/>
                </a:solidFill>
                <a:latin typeface="DM Sans 18pt ExtraBold" pitchFamily="2" charset="0"/>
              </a:defRPr>
            </a:lvl1pPr>
          </a:lstStyle>
          <a:p>
            <a:pPr lvl="0"/>
            <a:r>
              <a:rPr lang="da-DK" dirty="0"/>
              <a:t>Titel, DM Sans 18pt </a:t>
            </a:r>
            <a:r>
              <a:rPr lang="da-DK" dirty="0" err="1"/>
              <a:t>ExtraBold</a:t>
            </a:r>
            <a:r>
              <a:rPr lang="da-DK" dirty="0"/>
              <a:t>, 44 </a:t>
            </a:r>
            <a:r>
              <a:rPr lang="da-DK" dirty="0" err="1"/>
              <a:t>pts</a:t>
            </a:r>
            <a:endParaRPr lang="da-DK" dirty="0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902CDFEB-9E8C-CE14-41D4-D430F1B5CC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1FA6CC43-DED0-A948-1D7C-C64FFBB023AE}"/>
              </a:ext>
            </a:extLst>
          </p:cNvPr>
          <p:cNvSpPr/>
          <p:nvPr userDrawn="1"/>
        </p:nvSpPr>
        <p:spPr>
          <a:xfrm>
            <a:off x="371474" y="4242821"/>
            <a:ext cx="640080" cy="69713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 sz="1400"/>
          </a:p>
        </p:txBody>
      </p:sp>
      <p:pic>
        <p:nvPicPr>
          <p:cNvPr id="1023" name="Graphic 1">
            <a:extLst>
              <a:ext uri="{FF2B5EF4-FFF2-40B4-BE49-F238E27FC236}">
                <a16:creationId xmlns:a16="http://schemas.microsoft.com/office/drawing/2014/main" id="{850BDA13-7592-AE59-4A89-E0E7A1AC8196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63869" y="1307961"/>
            <a:ext cx="7124050" cy="4825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3767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07833B5-BBFA-65C2-526E-CC58965CAD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33038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04" imgH="405" progId="TCLayout.ActiveDocument.1">
                  <p:embed/>
                </p:oleObj>
              </mc:Choice>
              <mc:Fallback>
                <p:oleObj name="think-cell Slide" r:id="rId7" imgW="404" imgH="405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7833B5-BBFA-65C2-526E-CC58965CA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EF1C149-8651-8DBE-2BAC-F38FA794FA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a-DK" dirty="0"/>
              <a:t>Titel, DM Sans 18pt </a:t>
            </a:r>
            <a:r>
              <a:rPr lang="da-DK" dirty="0" err="1"/>
              <a:t>ExtraBold</a:t>
            </a:r>
            <a:r>
              <a:rPr lang="da-DK" dirty="0"/>
              <a:t>, 36 </a:t>
            </a:r>
            <a:r>
              <a:rPr lang="da-DK" dirty="0" err="1"/>
              <a:t>pts</a:t>
            </a:r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23BA90-48CE-6E30-E878-61DB1970AB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6A814B08-8399-43E7-AAE4-68AF4906CF08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34" name="Footer Placeholder 33">
            <a:extLst>
              <a:ext uri="{FF2B5EF4-FFF2-40B4-BE49-F238E27FC236}">
                <a16:creationId xmlns:a16="http://schemas.microsoft.com/office/drawing/2014/main" id="{C995FF5B-CAB6-AB35-B935-C956874CFB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99129" y="6406294"/>
            <a:ext cx="9269506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rtl="0">
              <a:defRPr sz="10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r>
              <a:rPr lang="da-DK"/>
              <a:t>Sidefod, Verdana, 10 pts</a:t>
            </a:r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909EC810-6A82-8257-29CB-EAD8E06053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0000" y="1590993"/>
            <a:ext cx="11472000" cy="46859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Master tekststile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3274531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67" r:id="rId2"/>
    <p:sldLayoutId id="2147483668" r:id="rId3"/>
    <p:sldLayoutId id="2147483673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1"/>
          </a:solidFill>
          <a:latin typeface="DM Sans 18pt ExtraBold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13" Type="http://schemas.openxmlformats.org/officeDocument/2006/relationships/image" Target="../media/image53.png"/><Relationship Id="rId18" Type="http://schemas.openxmlformats.org/officeDocument/2006/relationships/image" Target="../media/image39.svg"/><Relationship Id="rId26" Type="http://schemas.openxmlformats.org/officeDocument/2006/relationships/image" Target="../media/image56.sv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28.png"/><Relationship Id="rId34" Type="http://schemas.openxmlformats.org/officeDocument/2006/relationships/image" Target="../media/image37.svg"/><Relationship Id="rId7" Type="http://schemas.openxmlformats.org/officeDocument/2006/relationships/oleObject" Target="../embeddings/oleObject13.bin"/><Relationship Id="rId12" Type="http://schemas.openxmlformats.org/officeDocument/2006/relationships/image" Target="../media/image35.svg"/><Relationship Id="rId17" Type="http://schemas.openxmlformats.org/officeDocument/2006/relationships/image" Target="../media/image38.png"/><Relationship Id="rId25" Type="http://schemas.openxmlformats.org/officeDocument/2006/relationships/image" Target="../media/image55.png"/><Relationship Id="rId33" Type="http://schemas.openxmlformats.org/officeDocument/2006/relationships/image" Target="../media/image36.png"/><Relationship Id="rId2" Type="http://schemas.openxmlformats.org/officeDocument/2006/relationships/tags" Target="../tags/tag25.xml"/><Relationship Id="rId16" Type="http://schemas.openxmlformats.org/officeDocument/2006/relationships/image" Target="../media/image31.svg"/><Relationship Id="rId20" Type="http://schemas.openxmlformats.org/officeDocument/2006/relationships/image" Target="../media/image21.svg"/><Relationship Id="rId29" Type="http://schemas.openxmlformats.org/officeDocument/2006/relationships/image" Target="../media/image42.png"/><Relationship Id="rId1" Type="http://schemas.openxmlformats.org/officeDocument/2006/relationships/tags" Target="../tags/tag24.xml"/><Relationship Id="rId6" Type="http://schemas.openxmlformats.org/officeDocument/2006/relationships/image" Target="../media/image50.svg"/><Relationship Id="rId11" Type="http://schemas.openxmlformats.org/officeDocument/2006/relationships/image" Target="../media/image34.png"/><Relationship Id="rId24" Type="http://schemas.openxmlformats.org/officeDocument/2006/relationships/image" Target="../media/image41.svg"/><Relationship Id="rId32" Type="http://schemas.openxmlformats.org/officeDocument/2006/relationships/image" Target="../media/image27.svg"/><Relationship Id="rId5" Type="http://schemas.openxmlformats.org/officeDocument/2006/relationships/image" Target="../media/image49.png"/><Relationship Id="rId15" Type="http://schemas.openxmlformats.org/officeDocument/2006/relationships/image" Target="../media/image30.png"/><Relationship Id="rId23" Type="http://schemas.openxmlformats.org/officeDocument/2006/relationships/image" Target="../media/image40.png"/><Relationship Id="rId28" Type="http://schemas.openxmlformats.org/officeDocument/2006/relationships/image" Target="../media/image33.svg"/><Relationship Id="rId36" Type="http://schemas.openxmlformats.org/officeDocument/2006/relationships/image" Target="../media/image45.svg"/><Relationship Id="rId10" Type="http://schemas.openxmlformats.org/officeDocument/2006/relationships/image" Target="../media/image52.svg"/><Relationship Id="rId19" Type="http://schemas.openxmlformats.org/officeDocument/2006/relationships/image" Target="../media/image20.png"/><Relationship Id="rId31" Type="http://schemas.openxmlformats.org/officeDocument/2006/relationships/image" Target="../media/image26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51.png"/><Relationship Id="rId14" Type="http://schemas.openxmlformats.org/officeDocument/2006/relationships/image" Target="../media/image54.svg"/><Relationship Id="rId22" Type="http://schemas.openxmlformats.org/officeDocument/2006/relationships/image" Target="../media/image29.svg"/><Relationship Id="rId27" Type="http://schemas.openxmlformats.org/officeDocument/2006/relationships/image" Target="../media/image32.png"/><Relationship Id="rId30" Type="http://schemas.openxmlformats.org/officeDocument/2006/relationships/image" Target="../media/image43.svg"/><Relationship Id="rId35" Type="http://schemas.openxmlformats.org/officeDocument/2006/relationships/image" Target="../media/image44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7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hyperlink" Target="https://almenkompas.dk/teamet" TargetMode="Externa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svg"/><Relationship Id="rId13" Type="http://schemas.openxmlformats.org/officeDocument/2006/relationships/image" Target="../media/image65.png"/><Relationship Id="rId18" Type="http://schemas.openxmlformats.org/officeDocument/2006/relationships/hyperlink" Target="https://almenkompas.dk/" TargetMode="External"/><Relationship Id="rId26" Type="http://schemas.openxmlformats.org/officeDocument/2006/relationships/image" Target="../media/image73.png"/><Relationship Id="rId3" Type="http://schemas.openxmlformats.org/officeDocument/2006/relationships/slideLayout" Target="../slideLayouts/slideLayout2.xml"/><Relationship Id="rId21" Type="http://schemas.openxmlformats.org/officeDocument/2006/relationships/hyperlink" Target="https://player.vimeo.com/video/932854255" TargetMode="External"/><Relationship Id="rId7" Type="http://schemas.openxmlformats.org/officeDocument/2006/relationships/image" Target="../media/image59.png"/><Relationship Id="rId12" Type="http://schemas.openxmlformats.org/officeDocument/2006/relationships/image" Target="../media/image64.svg"/><Relationship Id="rId17" Type="http://schemas.openxmlformats.org/officeDocument/2006/relationships/hyperlink" Target="mailto:almenkompas@domea.dk" TargetMode="External"/><Relationship Id="rId25" Type="http://schemas.openxmlformats.org/officeDocument/2006/relationships/image" Target="../media/image72.png"/><Relationship Id="rId2" Type="http://schemas.openxmlformats.org/officeDocument/2006/relationships/tags" Target="../tags/tag31.xml"/><Relationship Id="rId16" Type="http://schemas.openxmlformats.org/officeDocument/2006/relationships/image" Target="../media/image68.svg"/><Relationship Id="rId20" Type="http://schemas.openxmlformats.org/officeDocument/2006/relationships/hyperlink" Target="https://player.vimeo.com/video/932852184" TargetMode="External"/><Relationship Id="rId1" Type="http://schemas.openxmlformats.org/officeDocument/2006/relationships/tags" Target="../tags/tag30.xml"/><Relationship Id="rId6" Type="http://schemas.openxmlformats.org/officeDocument/2006/relationships/image" Target="../media/image5.emf"/><Relationship Id="rId11" Type="http://schemas.openxmlformats.org/officeDocument/2006/relationships/image" Target="../media/image63.png"/><Relationship Id="rId24" Type="http://schemas.openxmlformats.org/officeDocument/2006/relationships/image" Target="../media/image71.png"/><Relationship Id="rId5" Type="http://schemas.openxmlformats.org/officeDocument/2006/relationships/oleObject" Target="../embeddings/oleObject16.bin"/><Relationship Id="rId15" Type="http://schemas.openxmlformats.org/officeDocument/2006/relationships/image" Target="../media/image67.png"/><Relationship Id="rId23" Type="http://schemas.openxmlformats.org/officeDocument/2006/relationships/image" Target="../media/image70.svg"/><Relationship Id="rId28" Type="http://schemas.openxmlformats.org/officeDocument/2006/relationships/image" Target="../media/image75.svg"/><Relationship Id="rId10" Type="http://schemas.openxmlformats.org/officeDocument/2006/relationships/image" Target="../media/image62.svg"/><Relationship Id="rId19" Type="http://schemas.openxmlformats.org/officeDocument/2006/relationships/hyperlink" Target="https://www.linkedin.com/company/almenkompas/" TargetMode="External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61.png"/><Relationship Id="rId14" Type="http://schemas.openxmlformats.org/officeDocument/2006/relationships/image" Target="../media/image66.svg"/><Relationship Id="rId22" Type="http://schemas.openxmlformats.org/officeDocument/2006/relationships/image" Target="../media/image69.png"/><Relationship Id="rId27" Type="http://schemas.openxmlformats.org/officeDocument/2006/relationships/image" Target="../media/image7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8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7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6" Type="http://schemas.openxmlformats.org/officeDocument/2006/relationships/image" Target="../media/image6.png"/><Relationship Id="rId5" Type="http://schemas.openxmlformats.org/officeDocument/2006/relationships/image" Target="../media/image76.png"/><Relationship Id="rId4" Type="http://schemas.openxmlformats.org/officeDocument/2006/relationships/image" Target="../media/image5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7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6" Type="http://schemas.openxmlformats.org/officeDocument/2006/relationships/image" Target="../media/image78.jpeg"/><Relationship Id="rId5" Type="http://schemas.openxmlformats.org/officeDocument/2006/relationships/image" Target="../media/image77.png"/><Relationship Id="rId4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12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5.emf"/><Relationship Id="rId11" Type="http://schemas.openxmlformats.org/officeDocument/2006/relationships/image" Target="../media/image16.pn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5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4.png"/><Relationship Id="rId14" Type="http://schemas.openxmlformats.org/officeDocument/2006/relationships/image" Target="../media/image1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svg"/><Relationship Id="rId13" Type="http://schemas.openxmlformats.org/officeDocument/2006/relationships/image" Target="../media/image88.pn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82.png"/><Relationship Id="rId12" Type="http://schemas.openxmlformats.org/officeDocument/2006/relationships/image" Target="../media/image87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91.svg"/><Relationship Id="rId1" Type="http://schemas.openxmlformats.org/officeDocument/2006/relationships/tags" Target="../tags/tag39.xml"/><Relationship Id="rId6" Type="http://schemas.openxmlformats.org/officeDocument/2006/relationships/image" Target="../media/image81.svg"/><Relationship Id="rId11" Type="http://schemas.openxmlformats.org/officeDocument/2006/relationships/image" Target="../media/image86.png"/><Relationship Id="rId5" Type="http://schemas.openxmlformats.org/officeDocument/2006/relationships/image" Target="../media/image80.png"/><Relationship Id="rId15" Type="http://schemas.openxmlformats.org/officeDocument/2006/relationships/image" Target="../media/image90.png"/><Relationship Id="rId10" Type="http://schemas.openxmlformats.org/officeDocument/2006/relationships/image" Target="../media/image85.svg"/><Relationship Id="rId4" Type="http://schemas.openxmlformats.org/officeDocument/2006/relationships/image" Target="../media/image5.emf"/><Relationship Id="rId9" Type="http://schemas.openxmlformats.org/officeDocument/2006/relationships/image" Target="../media/image84.png"/><Relationship Id="rId14" Type="http://schemas.openxmlformats.org/officeDocument/2006/relationships/image" Target="../media/image89.svg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00.png"/><Relationship Id="rId18" Type="http://schemas.openxmlformats.org/officeDocument/2006/relationships/image" Target="../media/image105.svg"/><Relationship Id="rId26" Type="http://schemas.openxmlformats.org/officeDocument/2006/relationships/image" Target="../media/image89.svg"/><Relationship Id="rId39" Type="http://schemas.openxmlformats.org/officeDocument/2006/relationships/image" Target="../media/image118.png"/><Relationship Id="rId21" Type="http://schemas.openxmlformats.org/officeDocument/2006/relationships/image" Target="../media/image84.png"/><Relationship Id="rId34" Type="http://schemas.openxmlformats.org/officeDocument/2006/relationships/image" Target="../media/image113.svg"/><Relationship Id="rId42" Type="http://schemas.openxmlformats.org/officeDocument/2006/relationships/image" Target="../media/image83.svg"/><Relationship Id="rId47" Type="http://schemas.openxmlformats.org/officeDocument/2006/relationships/image" Target="../media/image124.png"/><Relationship Id="rId50" Type="http://schemas.openxmlformats.org/officeDocument/2006/relationships/image" Target="../media/image127.svg"/><Relationship Id="rId55" Type="http://schemas.openxmlformats.org/officeDocument/2006/relationships/image" Target="../media/image86.png"/><Relationship Id="rId63" Type="http://schemas.openxmlformats.org/officeDocument/2006/relationships/image" Target="../media/image138.png"/><Relationship Id="rId68" Type="http://schemas.openxmlformats.org/officeDocument/2006/relationships/image" Target="../media/image143.svg"/><Relationship Id="rId76" Type="http://schemas.openxmlformats.org/officeDocument/2006/relationships/image" Target="../media/image151.svg"/><Relationship Id="rId7" Type="http://schemas.openxmlformats.org/officeDocument/2006/relationships/image" Target="../media/image94.png"/><Relationship Id="rId71" Type="http://schemas.openxmlformats.org/officeDocument/2006/relationships/image" Target="../media/image146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03.svg"/><Relationship Id="rId29" Type="http://schemas.openxmlformats.org/officeDocument/2006/relationships/image" Target="../media/image110.png"/><Relationship Id="rId11" Type="http://schemas.openxmlformats.org/officeDocument/2006/relationships/image" Target="../media/image98.png"/><Relationship Id="rId24" Type="http://schemas.openxmlformats.org/officeDocument/2006/relationships/image" Target="../media/image107.svg"/><Relationship Id="rId32" Type="http://schemas.openxmlformats.org/officeDocument/2006/relationships/image" Target="../media/image91.svg"/><Relationship Id="rId37" Type="http://schemas.openxmlformats.org/officeDocument/2006/relationships/image" Target="../media/image116.png"/><Relationship Id="rId40" Type="http://schemas.openxmlformats.org/officeDocument/2006/relationships/image" Target="../media/image119.svg"/><Relationship Id="rId45" Type="http://schemas.openxmlformats.org/officeDocument/2006/relationships/image" Target="../media/image122.png"/><Relationship Id="rId53" Type="http://schemas.openxmlformats.org/officeDocument/2006/relationships/image" Target="../media/image130.png"/><Relationship Id="rId58" Type="http://schemas.openxmlformats.org/officeDocument/2006/relationships/image" Target="../media/image133.svg"/><Relationship Id="rId66" Type="http://schemas.openxmlformats.org/officeDocument/2006/relationships/image" Target="../media/image141.svg"/><Relationship Id="rId74" Type="http://schemas.openxmlformats.org/officeDocument/2006/relationships/image" Target="../media/image149.svg"/><Relationship Id="rId79" Type="http://schemas.openxmlformats.org/officeDocument/2006/relationships/image" Target="../media/image154.png"/><Relationship Id="rId5" Type="http://schemas.openxmlformats.org/officeDocument/2006/relationships/image" Target="../media/image92.png"/><Relationship Id="rId61" Type="http://schemas.openxmlformats.org/officeDocument/2006/relationships/image" Target="../media/image136.png"/><Relationship Id="rId82" Type="http://schemas.openxmlformats.org/officeDocument/2006/relationships/image" Target="../media/image157.svg"/><Relationship Id="rId10" Type="http://schemas.openxmlformats.org/officeDocument/2006/relationships/image" Target="../media/image97.svg"/><Relationship Id="rId19" Type="http://schemas.openxmlformats.org/officeDocument/2006/relationships/image" Target="../media/image80.png"/><Relationship Id="rId31" Type="http://schemas.openxmlformats.org/officeDocument/2006/relationships/image" Target="../media/image90.png"/><Relationship Id="rId44" Type="http://schemas.openxmlformats.org/officeDocument/2006/relationships/image" Target="../media/image121.svg"/><Relationship Id="rId52" Type="http://schemas.openxmlformats.org/officeDocument/2006/relationships/image" Target="../media/image129.svg"/><Relationship Id="rId60" Type="http://schemas.openxmlformats.org/officeDocument/2006/relationships/image" Target="../media/image135.svg"/><Relationship Id="rId65" Type="http://schemas.openxmlformats.org/officeDocument/2006/relationships/image" Target="../media/image140.png"/><Relationship Id="rId73" Type="http://schemas.openxmlformats.org/officeDocument/2006/relationships/image" Target="../media/image148.png"/><Relationship Id="rId78" Type="http://schemas.openxmlformats.org/officeDocument/2006/relationships/image" Target="../media/image153.svg"/><Relationship Id="rId81" Type="http://schemas.openxmlformats.org/officeDocument/2006/relationships/image" Target="../media/image156.png"/><Relationship Id="rId4" Type="http://schemas.openxmlformats.org/officeDocument/2006/relationships/image" Target="../media/image5.emf"/><Relationship Id="rId9" Type="http://schemas.openxmlformats.org/officeDocument/2006/relationships/image" Target="../media/image96.png"/><Relationship Id="rId14" Type="http://schemas.openxmlformats.org/officeDocument/2006/relationships/image" Target="../media/image101.svg"/><Relationship Id="rId22" Type="http://schemas.openxmlformats.org/officeDocument/2006/relationships/image" Target="../media/image85.svg"/><Relationship Id="rId27" Type="http://schemas.openxmlformats.org/officeDocument/2006/relationships/image" Target="../media/image108.png"/><Relationship Id="rId30" Type="http://schemas.openxmlformats.org/officeDocument/2006/relationships/image" Target="../media/image111.svg"/><Relationship Id="rId35" Type="http://schemas.openxmlformats.org/officeDocument/2006/relationships/image" Target="../media/image114.png"/><Relationship Id="rId43" Type="http://schemas.openxmlformats.org/officeDocument/2006/relationships/image" Target="../media/image120.png"/><Relationship Id="rId48" Type="http://schemas.openxmlformats.org/officeDocument/2006/relationships/image" Target="../media/image125.svg"/><Relationship Id="rId56" Type="http://schemas.openxmlformats.org/officeDocument/2006/relationships/image" Target="../media/image87.svg"/><Relationship Id="rId64" Type="http://schemas.openxmlformats.org/officeDocument/2006/relationships/image" Target="../media/image139.svg"/><Relationship Id="rId69" Type="http://schemas.openxmlformats.org/officeDocument/2006/relationships/image" Target="../media/image144.png"/><Relationship Id="rId77" Type="http://schemas.openxmlformats.org/officeDocument/2006/relationships/image" Target="../media/image152.png"/><Relationship Id="rId8" Type="http://schemas.openxmlformats.org/officeDocument/2006/relationships/image" Target="../media/image95.svg"/><Relationship Id="rId51" Type="http://schemas.openxmlformats.org/officeDocument/2006/relationships/image" Target="../media/image128.png"/><Relationship Id="rId72" Type="http://schemas.openxmlformats.org/officeDocument/2006/relationships/image" Target="../media/image147.svg"/><Relationship Id="rId80" Type="http://schemas.openxmlformats.org/officeDocument/2006/relationships/image" Target="../media/image155.svg"/><Relationship Id="rId3" Type="http://schemas.openxmlformats.org/officeDocument/2006/relationships/oleObject" Target="../embeddings/oleObject20.bin"/><Relationship Id="rId12" Type="http://schemas.openxmlformats.org/officeDocument/2006/relationships/image" Target="../media/image99.svg"/><Relationship Id="rId17" Type="http://schemas.openxmlformats.org/officeDocument/2006/relationships/image" Target="../media/image104.png"/><Relationship Id="rId25" Type="http://schemas.openxmlformats.org/officeDocument/2006/relationships/image" Target="../media/image88.png"/><Relationship Id="rId33" Type="http://schemas.openxmlformats.org/officeDocument/2006/relationships/image" Target="../media/image112.png"/><Relationship Id="rId38" Type="http://schemas.openxmlformats.org/officeDocument/2006/relationships/image" Target="../media/image117.svg"/><Relationship Id="rId46" Type="http://schemas.openxmlformats.org/officeDocument/2006/relationships/image" Target="../media/image123.svg"/><Relationship Id="rId59" Type="http://schemas.openxmlformats.org/officeDocument/2006/relationships/image" Target="../media/image134.png"/><Relationship Id="rId67" Type="http://schemas.openxmlformats.org/officeDocument/2006/relationships/image" Target="../media/image142.png"/><Relationship Id="rId20" Type="http://schemas.openxmlformats.org/officeDocument/2006/relationships/image" Target="../media/image81.svg"/><Relationship Id="rId41" Type="http://schemas.openxmlformats.org/officeDocument/2006/relationships/image" Target="../media/image82.png"/><Relationship Id="rId54" Type="http://schemas.openxmlformats.org/officeDocument/2006/relationships/image" Target="../media/image131.svg"/><Relationship Id="rId62" Type="http://schemas.openxmlformats.org/officeDocument/2006/relationships/image" Target="../media/image137.svg"/><Relationship Id="rId70" Type="http://schemas.openxmlformats.org/officeDocument/2006/relationships/image" Target="../media/image145.svg"/><Relationship Id="rId75" Type="http://schemas.openxmlformats.org/officeDocument/2006/relationships/image" Target="../media/image150.png"/><Relationship Id="rId1" Type="http://schemas.openxmlformats.org/officeDocument/2006/relationships/tags" Target="../tags/tag40.xml"/><Relationship Id="rId6" Type="http://schemas.openxmlformats.org/officeDocument/2006/relationships/image" Target="../media/image93.svg"/><Relationship Id="rId15" Type="http://schemas.openxmlformats.org/officeDocument/2006/relationships/image" Target="../media/image102.png"/><Relationship Id="rId23" Type="http://schemas.openxmlformats.org/officeDocument/2006/relationships/image" Target="../media/image106.png"/><Relationship Id="rId28" Type="http://schemas.openxmlformats.org/officeDocument/2006/relationships/image" Target="../media/image109.svg"/><Relationship Id="rId36" Type="http://schemas.openxmlformats.org/officeDocument/2006/relationships/image" Target="../media/image115.svg"/><Relationship Id="rId49" Type="http://schemas.openxmlformats.org/officeDocument/2006/relationships/image" Target="../media/image126.png"/><Relationship Id="rId57" Type="http://schemas.openxmlformats.org/officeDocument/2006/relationships/image" Target="../media/image132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0.svg"/><Relationship Id="rId13" Type="http://schemas.openxmlformats.org/officeDocument/2006/relationships/image" Target="../media/image24.png"/><Relationship Id="rId18" Type="http://schemas.openxmlformats.org/officeDocument/2006/relationships/image" Target="../media/image168.svg"/><Relationship Id="rId26" Type="http://schemas.openxmlformats.org/officeDocument/2006/relationships/image" Target="../media/image176.svg"/><Relationship Id="rId3" Type="http://schemas.openxmlformats.org/officeDocument/2006/relationships/oleObject" Target="../embeddings/oleObject21.bin"/><Relationship Id="rId21" Type="http://schemas.openxmlformats.org/officeDocument/2006/relationships/image" Target="../media/image171.png"/><Relationship Id="rId7" Type="http://schemas.openxmlformats.org/officeDocument/2006/relationships/image" Target="../media/image18.png"/><Relationship Id="rId12" Type="http://schemas.openxmlformats.org/officeDocument/2006/relationships/image" Target="../media/image163.svg"/><Relationship Id="rId17" Type="http://schemas.openxmlformats.org/officeDocument/2006/relationships/image" Target="../media/image167.png"/><Relationship Id="rId25" Type="http://schemas.openxmlformats.org/officeDocument/2006/relationships/image" Target="../media/image17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66.svg"/><Relationship Id="rId20" Type="http://schemas.openxmlformats.org/officeDocument/2006/relationships/image" Target="../media/image170.svg"/><Relationship Id="rId29" Type="http://schemas.openxmlformats.org/officeDocument/2006/relationships/image" Target="../media/image179.png"/><Relationship Id="rId1" Type="http://schemas.openxmlformats.org/officeDocument/2006/relationships/tags" Target="../tags/tag41.xml"/><Relationship Id="rId6" Type="http://schemas.openxmlformats.org/officeDocument/2006/relationships/image" Target="../media/image159.svg"/><Relationship Id="rId11" Type="http://schemas.openxmlformats.org/officeDocument/2006/relationships/image" Target="../media/image22.png"/><Relationship Id="rId24" Type="http://schemas.openxmlformats.org/officeDocument/2006/relationships/image" Target="../media/image174.svg"/><Relationship Id="rId32" Type="http://schemas.openxmlformats.org/officeDocument/2006/relationships/image" Target="../media/image182.svg"/><Relationship Id="rId5" Type="http://schemas.openxmlformats.org/officeDocument/2006/relationships/image" Target="../media/image158.png"/><Relationship Id="rId15" Type="http://schemas.openxmlformats.org/officeDocument/2006/relationships/image" Target="../media/image165.png"/><Relationship Id="rId23" Type="http://schemas.openxmlformats.org/officeDocument/2006/relationships/image" Target="../media/image173.png"/><Relationship Id="rId28" Type="http://schemas.openxmlformats.org/officeDocument/2006/relationships/image" Target="../media/image178.svg"/><Relationship Id="rId10" Type="http://schemas.openxmlformats.org/officeDocument/2006/relationships/image" Target="../media/image162.svg"/><Relationship Id="rId19" Type="http://schemas.openxmlformats.org/officeDocument/2006/relationships/image" Target="../media/image169.png"/><Relationship Id="rId31" Type="http://schemas.openxmlformats.org/officeDocument/2006/relationships/image" Target="../media/image181.png"/><Relationship Id="rId4" Type="http://schemas.openxmlformats.org/officeDocument/2006/relationships/image" Target="../media/image5.emf"/><Relationship Id="rId9" Type="http://schemas.openxmlformats.org/officeDocument/2006/relationships/image" Target="../media/image161.png"/><Relationship Id="rId14" Type="http://schemas.openxmlformats.org/officeDocument/2006/relationships/image" Target="../media/image164.svg"/><Relationship Id="rId22" Type="http://schemas.openxmlformats.org/officeDocument/2006/relationships/image" Target="../media/image172.svg"/><Relationship Id="rId27" Type="http://schemas.openxmlformats.org/officeDocument/2006/relationships/image" Target="../media/image177.png"/><Relationship Id="rId30" Type="http://schemas.openxmlformats.org/officeDocument/2006/relationships/image" Target="../media/image180.svg"/></Relationships>
</file>

<file path=ppt/slides/_rels/slide2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91.png"/><Relationship Id="rId18" Type="http://schemas.openxmlformats.org/officeDocument/2006/relationships/image" Target="../media/image196.svg"/><Relationship Id="rId26" Type="http://schemas.openxmlformats.org/officeDocument/2006/relationships/image" Target="../media/image204.svg"/><Relationship Id="rId39" Type="http://schemas.openxmlformats.org/officeDocument/2006/relationships/image" Target="../media/image217.png"/><Relationship Id="rId21" Type="http://schemas.openxmlformats.org/officeDocument/2006/relationships/image" Target="../media/image199.png"/><Relationship Id="rId34" Type="http://schemas.openxmlformats.org/officeDocument/2006/relationships/image" Target="../media/image212.svg"/><Relationship Id="rId42" Type="http://schemas.openxmlformats.org/officeDocument/2006/relationships/image" Target="../media/image220.svg"/><Relationship Id="rId47" Type="http://schemas.openxmlformats.org/officeDocument/2006/relationships/image" Target="../media/image225.png"/><Relationship Id="rId50" Type="http://schemas.openxmlformats.org/officeDocument/2006/relationships/image" Target="../media/image228.svg"/><Relationship Id="rId55" Type="http://schemas.openxmlformats.org/officeDocument/2006/relationships/image" Target="../media/image233.png"/><Relationship Id="rId7" Type="http://schemas.openxmlformats.org/officeDocument/2006/relationships/image" Target="../media/image185.png"/><Relationship Id="rId12" Type="http://schemas.openxmlformats.org/officeDocument/2006/relationships/image" Target="../media/image190.svg"/><Relationship Id="rId17" Type="http://schemas.openxmlformats.org/officeDocument/2006/relationships/image" Target="../media/image195.png"/><Relationship Id="rId25" Type="http://schemas.openxmlformats.org/officeDocument/2006/relationships/image" Target="../media/image203.png"/><Relationship Id="rId33" Type="http://schemas.openxmlformats.org/officeDocument/2006/relationships/image" Target="../media/image211.png"/><Relationship Id="rId38" Type="http://schemas.openxmlformats.org/officeDocument/2006/relationships/image" Target="../media/image216.svg"/><Relationship Id="rId46" Type="http://schemas.openxmlformats.org/officeDocument/2006/relationships/image" Target="../media/image224.svg"/><Relationship Id="rId59" Type="http://schemas.openxmlformats.org/officeDocument/2006/relationships/image" Target="../media/image237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94.svg"/><Relationship Id="rId20" Type="http://schemas.openxmlformats.org/officeDocument/2006/relationships/image" Target="../media/image198.svg"/><Relationship Id="rId29" Type="http://schemas.openxmlformats.org/officeDocument/2006/relationships/image" Target="../media/image207.png"/><Relationship Id="rId41" Type="http://schemas.openxmlformats.org/officeDocument/2006/relationships/image" Target="../media/image219.png"/><Relationship Id="rId54" Type="http://schemas.openxmlformats.org/officeDocument/2006/relationships/image" Target="../media/image232.svg"/><Relationship Id="rId1" Type="http://schemas.openxmlformats.org/officeDocument/2006/relationships/tags" Target="../tags/tag42.xml"/><Relationship Id="rId6" Type="http://schemas.openxmlformats.org/officeDocument/2006/relationships/image" Target="../media/image184.svg"/><Relationship Id="rId11" Type="http://schemas.openxmlformats.org/officeDocument/2006/relationships/image" Target="../media/image189.png"/><Relationship Id="rId24" Type="http://schemas.openxmlformats.org/officeDocument/2006/relationships/image" Target="../media/image202.svg"/><Relationship Id="rId32" Type="http://schemas.openxmlformats.org/officeDocument/2006/relationships/image" Target="../media/image210.svg"/><Relationship Id="rId37" Type="http://schemas.openxmlformats.org/officeDocument/2006/relationships/image" Target="../media/image215.png"/><Relationship Id="rId40" Type="http://schemas.openxmlformats.org/officeDocument/2006/relationships/image" Target="../media/image218.svg"/><Relationship Id="rId45" Type="http://schemas.openxmlformats.org/officeDocument/2006/relationships/image" Target="../media/image223.png"/><Relationship Id="rId53" Type="http://schemas.openxmlformats.org/officeDocument/2006/relationships/image" Target="../media/image231.png"/><Relationship Id="rId58" Type="http://schemas.openxmlformats.org/officeDocument/2006/relationships/image" Target="../media/image236.svg"/><Relationship Id="rId5" Type="http://schemas.openxmlformats.org/officeDocument/2006/relationships/image" Target="../media/image183.png"/><Relationship Id="rId15" Type="http://schemas.openxmlformats.org/officeDocument/2006/relationships/image" Target="../media/image193.png"/><Relationship Id="rId23" Type="http://schemas.openxmlformats.org/officeDocument/2006/relationships/image" Target="../media/image201.png"/><Relationship Id="rId28" Type="http://schemas.openxmlformats.org/officeDocument/2006/relationships/image" Target="../media/image206.svg"/><Relationship Id="rId36" Type="http://schemas.openxmlformats.org/officeDocument/2006/relationships/image" Target="../media/image214.svg"/><Relationship Id="rId49" Type="http://schemas.openxmlformats.org/officeDocument/2006/relationships/image" Target="../media/image227.png"/><Relationship Id="rId57" Type="http://schemas.openxmlformats.org/officeDocument/2006/relationships/image" Target="../media/image235.png"/><Relationship Id="rId10" Type="http://schemas.openxmlformats.org/officeDocument/2006/relationships/image" Target="../media/image188.svg"/><Relationship Id="rId19" Type="http://schemas.openxmlformats.org/officeDocument/2006/relationships/image" Target="../media/image197.png"/><Relationship Id="rId31" Type="http://schemas.openxmlformats.org/officeDocument/2006/relationships/image" Target="../media/image209.png"/><Relationship Id="rId44" Type="http://schemas.openxmlformats.org/officeDocument/2006/relationships/image" Target="../media/image222.svg"/><Relationship Id="rId52" Type="http://schemas.openxmlformats.org/officeDocument/2006/relationships/image" Target="../media/image230.svg"/><Relationship Id="rId60" Type="http://schemas.openxmlformats.org/officeDocument/2006/relationships/image" Target="../media/image238.svg"/><Relationship Id="rId4" Type="http://schemas.openxmlformats.org/officeDocument/2006/relationships/image" Target="../media/image5.emf"/><Relationship Id="rId9" Type="http://schemas.openxmlformats.org/officeDocument/2006/relationships/image" Target="../media/image187.png"/><Relationship Id="rId14" Type="http://schemas.openxmlformats.org/officeDocument/2006/relationships/image" Target="../media/image192.svg"/><Relationship Id="rId22" Type="http://schemas.openxmlformats.org/officeDocument/2006/relationships/image" Target="../media/image200.svg"/><Relationship Id="rId27" Type="http://schemas.openxmlformats.org/officeDocument/2006/relationships/image" Target="../media/image205.png"/><Relationship Id="rId30" Type="http://schemas.openxmlformats.org/officeDocument/2006/relationships/image" Target="../media/image208.svg"/><Relationship Id="rId35" Type="http://schemas.openxmlformats.org/officeDocument/2006/relationships/image" Target="../media/image213.png"/><Relationship Id="rId43" Type="http://schemas.openxmlformats.org/officeDocument/2006/relationships/image" Target="../media/image221.png"/><Relationship Id="rId48" Type="http://schemas.openxmlformats.org/officeDocument/2006/relationships/image" Target="../media/image226.svg"/><Relationship Id="rId56" Type="http://schemas.openxmlformats.org/officeDocument/2006/relationships/image" Target="../media/image234.svg"/><Relationship Id="rId8" Type="http://schemas.openxmlformats.org/officeDocument/2006/relationships/image" Target="../media/image186.svg"/><Relationship Id="rId51" Type="http://schemas.openxmlformats.org/officeDocument/2006/relationships/image" Target="../media/image229.png"/><Relationship Id="rId3" Type="http://schemas.openxmlformats.org/officeDocument/2006/relationships/oleObject" Target="../embeddings/oleObject22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2.xml"/><Relationship Id="rId7" Type="http://schemas.openxmlformats.org/officeDocument/2006/relationships/diagramData" Target="../diagrams/data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5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0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6.xml"/><Relationship Id="rId9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13" Type="http://schemas.openxmlformats.org/officeDocument/2006/relationships/image" Target="../media/image24.png"/><Relationship Id="rId18" Type="http://schemas.openxmlformats.org/officeDocument/2006/relationships/image" Target="../media/image29.svg"/><Relationship Id="rId26" Type="http://schemas.openxmlformats.org/officeDocument/2006/relationships/image" Target="../media/image37.svg"/><Relationship Id="rId3" Type="http://schemas.openxmlformats.org/officeDocument/2006/relationships/slideLayout" Target="../slideLayouts/slideLayout2.xml"/><Relationship Id="rId21" Type="http://schemas.openxmlformats.org/officeDocument/2006/relationships/image" Target="../media/image32.png"/><Relationship Id="rId34" Type="http://schemas.openxmlformats.org/officeDocument/2006/relationships/image" Target="../media/image45.svg"/><Relationship Id="rId7" Type="http://schemas.openxmlformats.org/officeDocument/2006/relationships/image" Target="../media/image18.png"/><Relationship Id="rId12" Type="http://schemas.openxmlformats.org/officeDocument/2006/relationships/image" Target="../media/image23.svg"/><Relationship Id="rId17" Type="http://schemas.openxmlformats.org/officeDocument/2006/relationships/image" Target="../media/image28.png"/><Relationship Id="rId25" Type="http://schemas.openxmlformats.org/officeDocument/2006/relationships/image" Target="../media/image36.png"/><Relationship Id="rId33" Type="http://schemas.openxmlformats.org/officeDocument/2006/relationships/image" Target="../media/image44.png"/><Relationship Id="rId2" Type="http://schemas.openxmlformats.org/officeDocument/2006/relationships/tags" Target="../tags/tag21.xml"/><Relationship Id="rId16" Type="http://schemas.openxmlformats.org/officeDocument/2006/relationships/image" Target="../media/image27.svg"/><Relationship Id="rId20" Type="http://schemas.openxmlformats.org/officeDocument/2006/relationships/image" Target="../media/image31.svg"/><Relationship Id="rId29" Type="http://schemas.openxmlformats.org/officeDocument/2006/relationships/image" Target="../media/image40.png"/><Relationship Id="rId1" Type="http://schemas.openxmlformats.org/officeDocument/2006/relationships/tags" Target="../tags/tag20.xml"/><Relationship Id="rId6" Type="http://schemas.openxmlformats.org/officeDocument/2006/relationships/image" Target="../media/image5.emf"/><Relationship Id="rId11" Type="http://schemas.openxmlformats.org/officeDocument/2006/relationships/image" Target="../media/image22.png"/><Relationship Id="rId24" Type="http://schemas.openxmlformats.org/officeDocument/2006/relationships/image" Target="../media/image35.svg"/><Relationship Id="rId32" Type="http://schemas.openxmlformats.org/officeDocument/2006/relationships/image" Target="../media/image43.svg"/><Relationship Id="rId5" Type="http://schemas.openxmlformats.org/officeDocument/2006/relationships/oleObject" Target="../embeddings/oleObject12.bin"/><Relationship Id="rId15" Type="http://schemas.openxmlformats.org/officeDocument/2006/relationships/image" Target="../media/image26.png"/><Relationship Id="rId23" Type="http://schemas.openxmlformats.org/officeDocument/2006/relationships/image" Target="../media/image34.png"/><Relationship Id="rId28" Type="http://schemas.openxmlformats.org/officeDocument/2006/relationships/image" Target="../media/image39.svg"/><Relationship Id="rId10" Type="http://schemas.openxmlformats.org/officeDocument/2006/relationships/image" Target="../media/image21.svg"/><Relationship Id="rId19" Type="http://schemas.openxmlformats.org/officeDocument/2006/relationships/image" Target="../media/image30.png"/><Relationship Id="rId31" Type="http://schemas.openxmlformats.org/officeDocument/2006/relationships/image" Target="../media/image42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0.png"/><Relationship Id="rId14" Type="http://schemas.openxmlformats.org/officeDocument/2006/relationships/image" Target="../media/image25.svg"/><Relationship Id="rId22" Type="http://schemas.openxmlformats.org/officeDocument/2006/relationships/image" Target="../media/image33.svg"/><Relationship Id="rId27" Type="http://schemas.openxmlformats.org/officeDocument/2006/relationships/image" Target="../media/image38.png"/><Relationship Id="rId30" Type="http://schemas.openxmlformats.org/officeDocument/2006/relationships/image" Target="../media/image41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6.png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4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E4E1B1F7-9379-4708-CDFC-A4633ABEB3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2628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4E1B1F7-9379-4708-CDFC-A4633ABEB3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D8D7A77-B8EA-6F48-6AF7-693F416044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FDCC9A-89DB-CE78-A003-7CA8B45CD0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9529" y="4374776"/>
            <a:ext cx="10060772" cy="413139"/>
          </a:xfrm>
        </p:spPr>
        <p:txBody>
          <a:bodyPr/>
          <a:lstStyle/>
          <a:p>
            <a:endParaRPr lang="da-DK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5B706B5-EA27-B17C-5869-C48761AA3A9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A39B19-B184-AD7E-7873-3ADA33C11BB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785600" y="6405563"/>
            <a:ext cx="406400" cy="327025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</a:t>
            </a:fld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72559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58E6C26-5C7A-2F88-8A52-88BDE14458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1" name="Group 150">
            <a:extLst>
              <a:ext uri="{FF2B5EF4-FFF2-40B4-BE49-F238E27FC236}">
                <a16:creationId xmlns:a16="http://schemas.microsoft.com/office/drawing/2014/main" id="{43831B7E-B00B-9AA3-9AF1-C3E3BD2704FE}"/>
              </a:ext>
            </a:extLst>
          </p:cNvPr>
          <p:cNvGrpSpPr/>
          <p:nvPr/>
        </p:nvGrpSpPr>
        <p:grpSpPr>
          <a:xfrm>
            <a:off x="7788946" y="3538202"/>
            <a:ext cx="3051639" cy="2197246"/>
            <a:chOff x="6685959" y="2219434"/>
            <a:chExt cx="5147267" cy="3706143"/>
          </a:xfrm>
        </p:grpSpPr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DF8C802C-6E7C-A1CC-884F-09E0B8C3F1CA}"/>
                </a:ext>
              </a:extLst>
            </p:cNvPr>
            <p:cNvGrpSpPr/>
            <p:nvPr/>
          </p:nvGrpSpPr>
          <p:grpSpPr>
            <a:xfrm>
              <a:off x="6685959" y="2219434"/>
              <a:ext cx="5147267" cy="3706143"/>
              <a:chOff x="568143" y="2449513"/>
              <a:chExt cx="4839770" cy="3484739"/>
            </a:xfrm>
          </p:grpSpPr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D5777B72-25A5-5FC6-3A3D-8391C1AEF379}"/>
                  </a:ext>
                </a:extLst>
              </p:cNvPr>
              <p:cNvGrpSpPr/>
              <p:nvPr/>
            </p:nvGrpSpPr>
            <p:grpSpPr>
              <a:xfrm>
                <a:off x="568143" y="2449513"/>
                <a:ext cx="4839770" cy="3484739"/>
                <a:chOff x="5825943" y="2209357"/>
                <a:chExt cx="4839770" cy="3484739"/>
              </a:xfrm>
            </p:grpSpPr>
            <p:sp>
              <p:nvSpPr>
                <p:cNvPr id="128" name="Freeform: Shape 127">
                  <a:extLst>
                    <a:ext uri="{FF2B5EF4-FFF2-40B4-BE49-F238E27FC236}">
                      <a16:creationId xmlns:a16="http://schemas.microsoft.com/office/drawing/2014/main" id="{A29701F2-C48F-562E-6286-0A8059B8912E}"/>
                    </a:ext>
                  </a:extLst>
                </p:cNvPr>
                <p:cNvSpPr/>
                <p:nvPr/>
              </p:nvSpPr>
              <p:spPr>
                <a:xfrm>
                  <a:off x="7087743" y="4994509"/>
                  <a:ext cx="2316170" cy="699587"/>
                </a:xfrm>
                <a:custGeom>
                  <a:avLst/>
                  <a:gdLst>
                    <a:gd name="connsiteX0" fmla="*/ 1006283 w 2315970"/>
                    <a:gd name="connsiteY0" fmla="*/ 5467 h 715079"/>
                    <a:gd name="connsiteX1" fmla="*/ 1263458 w 2315970"/>
                    <a:gd name="connsiteY1" fmla="*/ 704 h 715079"/>
                    <a:gd name="connsiteX2" fmla="*/ 1287270 w 2315970"/>
                    <a:gd name="connsiteY2" fmla="*/ 5467 h 715079"/>
                    <a:gd name="connsiteX3" fmla="*/ 1282508 w 2315970"/>
                    <a:gd name="connsiteY3" fmla="*/ 72142 h 715079"/>
                    <a:gd name="connsiteX4" fmla="*/ 1272983 w 2315970"/>
                    <a:gd name="connsiteY4" fmla="*/ 119767 h 715079"/>
                    <a:gd name="connsiteX5" fmla="*/ 1272983 w 2315970"/>
                    <a:gd name="connsiteY5" fmla="*/ 419804 h 715079"/>
                    <a:gd name="connsiteX6" fmla="*/ 1287270 w 2315970"/>
                    <a:gd name="connsiteY6" fmla="*/ 524579 h 715079"/>
                    <a:gd name="connsiteX7" fmla="*/ 1353945 w 2315970"/>
                    <a:gd name="connsiteY7" fmla="*/ 529342 h 715079"/>
                    <a:gd name="connsiteX8" fmla="*/ 1401570 w 2315970"/>
                    <a:gd name="connsiteY8" fmla="*/ 538867 h 715079"/>
                    <a:gd name="connsiteX9" fmla="*/ 1430145 w 2315970"/>
                    <a:gd name="connsiteY9" fmla="*/ 543629 h 715079"/>
                    <a:gd name="connsiteX10" fmla="*/ 1463483 w 2315970"/>
                    <a:gd name="connsiteY10" fmla="*/ 553154 h 715079"/>
                    <a:gd name="connsiteX11" fmla="*/ 1658745 w 2315970"/>
                    <a:gd name="connsiteY11" fmla="*/ 548392 h 715079"/>
                    <a:gd name="connsiteX12" fmla="*/ 1720658 w 2315970"/>
                    <a:gd name="connsiteY12" fmla="*/ 538867 h 715079"/>
                    <a:gd name="connsiteX13" fmla="*/ 1963545 w 2315970"/>
                    <a:gd name="connsiteY13" fmla="*/ 534104 h 715079"/>
                    <a:gd name="connsiteX14" fmla="*/ 2282633 w 2315970"/>
                    <a:gd name="connsiteY14" fmla="*/ 543629 h 715079"/>
                    <a:gd name="connsiteX15" fmla="*/ 2287395 w 2315970"/>
                    <a:gd name="connsiteY15" fmla="*/ 562679 h 715079"/>
                    <a:gd name="connsiteX16" fmla="*/ 2301683 w 2315970"/>
                    <a:gd name="connsiteY16" fmla="*/ 581729 h 715079"/>
                    <a:gd name="connsiteX17" fmla="*/ 2306445 w 2315970"/>
                    <a:gd name="connsiteY17" fmla="*/ 615067 h 715079"/>
                    <a:gd name="connsiteX18" fmla="*/ 2315970 w 2315970"/>
                    <a:gd name="connsiteY18" fmla="*/ 643642 h 715079"/>
                    <a:gd name="connsiteX19" fmla="*/ 2306445 w 2315970"/>
                    <a:gd name="connsiteY19" fmla="*/ 676979 h 715079"/>
                    <a:gd name="connsiteX20" fmla="*/ 2273108 w 2315970"/>
                    <a:gd name="connsiteY20" fmla="*/ 691267 h 715079"/>
                    <a:gd name="connsiteX21" fmla="*/ 1963545 w 2315970"/>
                    <a:gd name="connsiteY21" fmla="*/ 681742 h 715079"/>
                    <a:gd name="connsiteX22" fmla="*/ 1734945 w 2315970"/>
                    <a:gd name="connsiteY22" fmla="*/ 681742 h 715079"/>
                    <a:gd name="connsiteX23" fmla="*/ 1634933 w 2315970"/>
                    <a:gd name="connsiteY23" fmla="*/ 696029 h 715079"/>
                    <a:gd name="connsiteX24" fmla="*/ 1601595 w 2315970"/>
                    <a:gd name="connsiteY24" fmla="*/ 705554 h 715079"/>
                    <a:gd name="connsiteX25" fmla="*/ 1287270 w 2315970"/>
                    <a:gd name="connsiteY25" fmla="*/ 696029 h 715079"/>
                    <a:gd name="connsiteX26" fmla="*/ 1263458 w 2315970"/>
                    <a:gd name="connsiteY26" fmla="*/ 691267 h 715079"/>
                    <a:gd name="connsiteX27" fmla="*/ 430020 w 2315970"/>
                    <a:gd name="connsiteY27" fmla="*/ 700792 h 715079"/>
                    <a:gd name="connsiteX28" fmla="*/ 339533 w 2315970"/>
                    <a:gd name="connsiteY28" fmla="*/ 715079 h 715079"/>
                    <a:gd name="connsiteX29" fmla="*/ 125220 w 2315970"/>
                    <a:gd name="connsiteY29" fmla="*/ 705554 h 715079"/>
                    <a:gd name="connsiteX30" fmla="*/ 77595 w 2315970"/>
                    <a:gd name="connsiteY30" fmla="*/ 696029 h 715079"/>
                    <a:gd name="connsiteX31" fmla="*/ 49020 w 2315970"/>
                    <a:gd name="connsiteY31" fmla="*/ 691267 h 715079"/>
                    <a:gd name="connsiteX32" fmla="*/ 39495 w 2315970"/>
                    <a:gd name="connsiteY32" fmla="*/ 676979 h 715079"/>
                    <a:gd name="connsiteX33" fmla="*/ 15683 w 2315970"/>
                    <a:gd name="connsiteY33" fmla="*/ 648404 h 715079"/>
                    <a:gd name="connsiteX34" fmla="*/ 6158 w 2315970"/>
                    <a:gd name="connsiteY34" fmla="*/ 548392 h 715079"/>
                    <a:gd name="connsiteX35" fmla="*/ 1395 w 2315970"/>
                    <a:gd name="connsiteY35" fmla="*/ 534104 h 715079"/>
                    <a:gd name="connsiteX36" fmla="*/ 63308 w 2315970"/>
                    <a:gd name="connsiteY36" fmla="*/ 529342 h 715079"/>
                    <a:gd name="connsiteX37" fmla="*/ 806258 w 2315970"/>
                    <a:gd name="connsiteY37" fmla="*/ 529342 h 715079"/>
                    <a:gd name="connsiteX38" fmla="*/ 1034858 w 2315970"/>
                    <a:gd name="connsiteY38" fmla="*/ 519817 h 715079"/>
                    <a:gd name="connsiteX39" fmla="*/ 1039620 w 2315970"/>
                    <a:gd name="connsiteY39" fmla="*/ 472192 h 715079"/>
                    <a:gd name="connsiteX40" fmla="*/ 1030095 w 2315970"/>
                    <a:gd name="connsiteY40" fmla="*/ 424567 h 715079"/>
                    <a:gd name="connsiteX41" fmla="*/ 1025333 w 2315970"/>
                    <a:gd name="connsiteY41" fmla="*/ 405517 h 715079"/>
                    <a:gd name="connsiteX42" fmla="*/ 1011045 w 2315970"/>
                    <a:gd name="connsiteY42" fmla="*/ 334079 h 715079"/>
                    <a:gd name="connsiteX43" fmla="*/ 1020570 w 2315970"/>
                    <a:gd name="connsiteY43" fmla="*/ 210254 h 715079"/>
                    <a:gd name="connsiteX44" fmla="*/ 1034858 w 2315970"/>
                    <a:gd name="connsiteY44" fmla="*/ 157867 h 715079"/>
                    <a:gd name="connsiteX45" fmla="*/ 1049145 w 2315970"/>
                    <a:gd name="connsiteY45" fmla="*/ 115004 h 715079"/>
                    <a:gd name="connsiteX46" fmla="*/ 1030095 w 2315970"/>
                    <a:gd name="connsiteY46" fmla="*/ 14992 h 715079"/>
                    <a:gd name="connsiteX47" fmla="*/ 1020570 w 2315970"/>
                    <a:gd name="connsiteY47" fmla="*/ 704 h 715079"/>
                    <a:gd name="connsiteX48" fmla="*/ 1006283 w 2315970"/>
                    <a:gd name="connsiteY48" fmla="*/ 5467 h 715079"/>
                    <a:gd name="connsiteX0" fmla="*/ 1020570 w 2315970"/>
                    <a:gd name="connsiteY0" fmla="*/ 1257 h 715632"/>
                    <a:gd name="connsiteX1" fmla="*/ 1263458 w 2315970"/>
                    <a:gd name="connsiteY1" fmla="*/ 1257 h 715632"/>
                    <a:gd name="connsiteX2" fmla="*/ 1287270 w 2315970"/>
                    <a:gd name="connsiteY2" fmla="*/ 6020 h 715632"/>
                    <a:gd name="connsiteX3" fmla="*/ 1282508 w 2315970"/>
                    <a:gd name="connsiteY3" fmla="*/ 72695 h 715632"/>
                    <a:gd name="connsiteX4" fmla="*/ 1272983 w 2315970"/>
                    <a:gd name="connsiteY4" fmla="*/ 120320 h 715632"/>
                    <a:gd name="connsiteX5" fmla="*/ 1272983 w 2315970"/>
                    <a:gd name="connsiteY5" fmla="*/ 420357 h 715632"/>
                    <a:gd name="connsiteX6" fmla="*/ 1287270 w 2315970"/>
                    <a:gd name="connsiteY6" fmla="*/ 525132 h 715632"/>
                    <a:gd name="connsiteX7" fmla="*/ 1353945 w 2315970"/>
                    <a:gd name="connsiteY7" fmla="*/ 529895 h 715632"/>
                    <a:gd name="connsiteX8" fmla="*/ 1401570 w 2315970"/>
                    <a:gd name="connsiteY8" fmla="*/ 539420 h 715632"/>
                    <a:gd name="connsiteX9" fmla="*/ 1430145 w 2315970"/>
                    <a:gd name="connsiteY9" fmla="*/ 544182 h 715632"/>
                    <a:gd name="connsiteX10" fmla="*/ 1463483 w 2315970"/>
                    <a:gd name="connsiteY10" fmla="*/ 553707 h 715632"/>
                    <a:gd name="connsiteX11" fmla="*/ 1658745 w 2315970"/>
                    <a:gd name="connsiteY11" fmla="*/ 548945 h 715632"/>
                    <a:gd name="connsiteX12" fmla="*/ 1720658 w 2315970"/>
                    <a:gd name="connsiteY12" fmla="*/ 539420 h 715632"/>
                    <a:gd name="connsiteX13" fmla="*/ 1963545 w 2315970"/>
                    <a:gd name="connsiteY13" fmla="*/ 534657 h 715632"/>
                    <a:gd name="connsiteX14" fmla="*/ 2282633 w 2315970"/>
                    <a:gd name="connsiteY14" fmla="*/ 544182 h 715632"/>
                    <a:gd name="connsiteX15" fmla="*/ 2287395 w 2315970"/>
                    <a:gd name="connsiteY15" fmla="*/ 563232 h 715632"/>
                    <a:gd name="connsiteX16" fmla="*/ 2301683 w 2315970"/>
                    <a:gd name="connsiteY16" fmla="*/ 582282 h 715632"/>
                    <a:gd name="connsiteX17" fmla="*/ 2306445 w 2315970"/>
                    <a:gd name="connsiteY17" fmla="*/ 615620 h 715632"/>
                    <a:gd name="connsiteX18" fmla="*/ 2315970 w 2315970"/>
                    <a:gd name="connsiteY18" fmla="*/ 644195 h 715632"/>
                    <a:gd name="connsiteX19" fmla="*/ 2306445 w 2315970"/>
                    <a:gd name="connsiteY19" fmla="*/ 677532 h 715632"/>
                    <a:gd name="connsiteX20" fmla="*/ 2273108 w 2315970"/>
                    <a:gd name="connsiteY20" fmla="*/ 691820 h 715632"/>
                    <a:gd name="connsiteX21" fmla="*/ 1963545 w 2315970"/>
                    <a:gd name="connsiteY21" fmla="*/ 682295 h 715632"/>
                    <a:gd name="connsiteX22" fmla="*/ 1734945 w 2315970"/>
                    <a:gd name="connsiteY22" fmla="*/ 682295 h 715632"/>
                    <a:gd name="connsiteX23" fmla="*/ 1634933 w 2315970"/>
                    <a:gd name="connsiteY23" fmla="*/ 696582 h 715632"/>
                    <a:gd name="connsiteX24" fmla="*/ 1601595 w 2315970"/>
                    <a:gd name="connsiteY24" fmla="*/ 706107 h 715632"/>
                    <a:gd name="connsiteX25" fmla="*/ 1287270 w 2315970"/>
                    <a:gd name="connsiteY25" fmla="*/ 696582 h 715632"/>
                    <a:gd name="connsiteX26" fmla="*/ 1263458 w 2315970"/>
                    <a:gd name="connsiteY26" fmla="*/ 691820 h 715632"/>
                    <a:gd name="connsiteX27" fmla="*/ 430020 w 2315970"/>
                    <a:gd name="connsiteY27" fmla="*/ 701345 h 715632"/>
                    <a:gd name="connsiteX28" fmla="*/ 339533 w 2315970"/>
                    <a:gd name="connsiteY28" fmla="*/ 715632 h 715632"/>
                    <a:gd name="connsiteX29" fmla="*/ 125220 w 2315970"/>
                    <a:gd name="connsiteY29" fmla="*/ 706107 h 715632"/>
                    <a:gd name="connsiteX30" fmla="*/ 77595 w 2315970"/>
                    <a:gd name="connsiteY30" fmla="*/ 696582 h 715632"/>
                    <a:gd name="connsiteX31" fmla="*/ 49020 w 2315970"/>
                    <a:gd name="connsiteY31" fmla="*/ 691820 h 715632"/>
                    <a:gd name="connsiteX32" fmla="*/ 39495 w 2315970"/>
                    <a:gd name="connsiteY32" fmla="*/ 677532 h 715632"/>
                    <a:gd name="connsiteX33" fmla="*/ 15683 w 2315970"/>
                    <a:gd name="connsiteY33" fmla="*/ 648957 h 715632"/>
                    <a:gd name="connsiteX34" fmla="*/ 6158 w 2315970"/>
                    <a:gd name="connsiteY34" fmla="*/ 548945 h 715632"/>
                    <a:gd name="connsiteX35" fmla="*/ 1395 w 2315970"/>
                    <a:gd name="connsiteY35" fmla="*/ 534657 h 715632"/>
                    <a:gd name="connsiteX36" fmla="*/ 63308 w 2315970"/>
                    <a:gd name="connsiteY36" fmla="*/ 529895 h 715632"/>
                    <a:gd name="connsiteX37" fmla="*/ 806258 w 2315970"/>
                    <a:gd name="connsiteY37" fmla="*/ 529895 h 715632"/>
                    <a:gd name="connsiteX38" fmla="*/ 1034858 w 2315970"/>
                    <a:gd name="connsiteY38" fmla="*/ 520370 h 715632"/>
                    <a:gd name="connsiteX39" fmla="*/ 1039620 w 2315970"/>
                    <a:gd name="connsiteY39" fmla="*/ 472745 h 715632"/>
                    <a:gd name="connsiteX40" fmla="*/ 1030095 w 2315970"/>
                    <a:gd name="connsiteY40" fmla="*/ 425120 h 715632"/>
                    <a:gd name="connsiteX41" fmla="*/ 1025333 w 2315970"/>
                    <a:gd name="connsiteY41" fmla="*/ 406070 h 715632"/>
                    <a:gd name="connsiteX42" fmla="*/ 1011045 w 2315970"/>
                    <a:gd name="connsiteY42" fmla="*/ 334632 h 715632"/>
                    <a:gd name="connsiteX43" fmla="*/ 1020570 w 2315970"/>
                    <a:gd name="connsiteY43" fmla="*/ 210807 h 715632"/>
                    <a:gd name="connsiteX44" fmla="*/ 1034858 w 2315970"/>
                    <a:gd name="connsiteY44" fmla="*/ 158420 h 715632"/>
                    <a:gd name="connsiteX45" fmla="*/ 1049145 w 2315970"/>
                    <a:gd name="connsiteY45" fmla="*/ 115557 h 715632"/>
                    <a:gd name="connsiteX46" fmla="*/ 1030095 w 2315970"/>
                    <a:gd name="connsiteY46" fmla="*/ 15545 h 715632"/>
                    <a:gd name="connsiteX47" fmla="*/ 1020570 w 2315970"/>
                    <a:gd name="connsiteY47" fmla="*/ 1257 h 715632"/>
                    <a:gd name="connsiteX0" fmla="*/ 1030095 w 2315970"/>
                    <a:gd name="connsiteY0" fmla="*/ 15549 h 715636"/>
                    <a:gd name="connsiteX1" fmla="*/ 1263458 w 2315970"/>
                    <a:gd name="connsiteY1" fmla="*/ 1261 h 715636"/>
                    <a:gd name="connsiteX2" fmla="*/ 1287270 w 2315970"/>
                    <a:gd name="connsiteY2" fmla="*/ 6024 h 715636"/>
                    <a:gd name="connsiteX3" fmla="*/ 1282508 w 2315970"/>
                    <a:gd name="connsiteY3" fmla="*/ 72699 h 715636"/>
                    <a:gd name="connsiteX4" fmla="*/ 1272983 w 2315970"/>
                    <a:gd name="connsiteY4" fmla="*/ 120324 h 715636"/>
                    <a:gd name="connsiteX5" fmla="*/ 1272983 w 2315970"/>
                    <a:gd name="connsiteY5" fmla="*/ 420361 h 715636"/>
                    <a:gd name="connsiteX6" fmla="*/ 1287270 w 2315970"/>
                    <a:gd name="connsiteY6" fmla="*/ 525136 h 715636"/>
                    <a:gd name="connsiteX7" fmla="*/ 1353945 w 2315970"/>
                    <a:gd name="connsiteY7" fmla="*/ 529899 h 715636"/>
                    <a:gd name="connsiteX8" fmla="*/ 1401570 w 2315970"/>
                    <a:gd name="connsiteY8" fmla="*/ 539424 h 715636"/>
                    <a:gd name="connsiteX9" fmla="*/ 1430145 w 2315970"/>
                    <a:gd name="connsiteY9" fmla="*/ 544186 h 715636"/>
                    <a:gd name="connsiteX10" fmla="*/ 1463483 w 2315970"/>
                    <a:gd name="connsiteY10" fmla="*/ 553711 h 715636"/>
                    <a:gd name="connsiteX11" fmla="*/ 1658745 w 2315970"/>
                    <a:gd name="connsiteY11" fmla="*/ 548949 h 715636"/>
                    <a:gd name="connsiteX12" fmla="*/ 1720658 w 2315970"/>
                    <a:gd name="connsiteY12" fmla="*/ 539424 h 715636"/>
                    <a:gd name="connsiteX13" fmla="*/ 1963545 w 2315970"/>
                    <a:gd name="connsiteY13" fmla="*/ 534661 h 715636"/>
                    <a:gd name="connsiteX14" fmla="*/ 2282633 w 2315970"/>
                    <a:gd name="connsiteY14" fmla="*/ 544186 h 715636"/>
                    <a:gd name="connsiteX15" fmla="*/ 2287395 w 2315970"/>
                    <a:gd name="connsiteY15" fmla="*/ 563236 h 715636"/>
                    <a:gd name="connsiteX16" fmla="*/ 2301683 w 2315970"/>
                    <a:gd name="connsiteY16" fmla="*/ 582286 h 715636"/>
                    <a:gd name="connsiteX17" fmla="*/ 2306445 w 2315970"/>
                    <a:gd name="connsiteY17" fmla="*/ 615624 h 715636"/>
                    <a:gd name="connsiteX18" fmla="*/ 2315970 w 2315970"/>
                    <a:gd name="connsiteY18" fmla="*/ 644199 h 715636"/>
                    <a:gd name="connsiteX19" fmla="*/ 2306445 w 2315970"/>
                    <a:gd name="connsiteY19" fmla="*/ 677536 h 715636"/>
                    <a:gd name="connsiteX20" fmla="*/ 2273108 w 2315970"/>
                    <a:gd name="connsiteY20" fmla="*/ 691824 h 715636"/>
                    <a:gd name="connsiteX21" fmla="*/ 1963545 w 2315970"/>
                    <a:gd name="connsiteY21" fmla="*/ 682299 h 715636"/>
                    <a:gd name="connsiteX22" fmla="*/ 1734945 w 2315970"/>
                    <a:gd name="connsiteY22" fmla="*/ 682299 h 715636"/>
                    <a:gd name="connsiteX23" fmla="*/ 1634933 w 2315970"/>
                    <a:gd name="connsiteY23" fmla="*/ 696586 h 715636"/>
                    <a:gd name="connsiteX24" fmla="*/ 1601595 w 2315970"/>
                    <a:gd name="connsiteY24" fmla="*/ 706111 h 715636"/>
                    <a:gd name="connsiteX25" fmla="*/ 1287270 w 2315970"/>
                    <a:gd name="connsiteY25" fmla="*/ 696586 h 715636"/>
                    <a:gd name="connsiteX26" fmla="*/ 1263458 w 2315970"/>
                    <a:gd name="connsiteY26" fmla="*/ 691824 h 715636"/>
                    <a:gd name="connsiteX27" fmla="*/ 430020 w 2315970"/>
                    <a:gd name="connsiteY27" fmla="*/ 701349 h 715636"/>
                    <a:gd name="connsiteX28" fmla="*/ 339533 w 2315970"/>
                    <a:gd name="connsiteY28" fmla="*/ 715636 h 715636"/>
                    <a:gd name="connsiteX29" fmla="*/ 125220 w 2315970"/>
                    <a:gd name="connsiteY29" fmla="*/ 706111 h 715636"/>
                    <a:gd name="connsiteX30" fmla="*/ 77595 w 2315970"/>
                    <a:gd name="connsiteY30" fmla="*/ 696586 h 715636"/>
                    <a:gd name="connsiteX31" fmla="*/ 49020 w 2315970"/>
                    <a:gd name="connsiteY31" fmla="*/ 691824 h 715636"/>
                    <a:gd name="connsiteX32" fmla="*/ 39495 w 2315970"/>
                    <a:gd name="connsiteY32" fmla="*/ 677536 h 715636"/>
                    <a:gd name="connsiteX33" fmla="*/ 15683 w 2315970"/>
                    <a:gd name="connsiteY33" fmla="*/ 648961 h 715636"/>
                    <a:gd name="connsiteX34" fmla="*/ 6158 w 2315970"/>
                    <a:gd name="connsiteY34" fmla="*/ 548949 h 715636"/>
                    <a:gd name="connsiteX35" fmla="*/ 1395 w 2315970"/>
                    <a:gd name="connsiteY35" fmla="*/ 534661 h 715636"/>
                    <a:gd name="connsiteX36" fmla="*/ 63308 w 2315970"/>
                    <a:gd name="connsiteY36" fmla="*/ 529899 h 715636"/>
                    <a:gd name="connsiteX37" fmla="*/ 806258 w 2315970"/>
                    <a:gd name="connsiteY37" fmla="*/ 529899 h 715636"/>
                    <a:gd name="connsiteX38" fmla="*/ 1034858 w 2315970"/>
                    <a:gd name="connsiteY38" fmla="*/ 520374 h 715636"/>
                    <a:gd name="connsiteX39" fmla="*/ 1039620 w 2315970"/>
                    <a:gd name="connsiteY39" fmla="*/ 472749 h 715636"/>
                    <a:gd name="connsiteX40" fmla="*/ 1030095 w 2315970"/>
                    <a:gd name="connsiteY40" fmla="*/ 425124 h 715636"/>
                    <a:gd name="connsiteX41" fmla="*/ 1025333 w 2315970"/>
                    <a:gd name="connsiteY41" fmla="*/ 406074 h 715636"/>
                    <a:gd name="connsiteX42" fmla="*/ 1011045 w 2315970"/>
                    <a:gd name="connsiteY42" fmla="*/ 334636 h 715636"/>
                    <a:gd name="connsiteX43" fmla="*/ 1020570 w 2315970"/>
                    <a:gd name="connsiteY43" fmla="*/ 210811 h 715636"/>
                    <a:gd name="connsiteX44" fmla="*/ 1034858 w 2315970"/>
                    <a:gd name="connsiteY44" fmla="*/ 158424 h 715636"/>
                    <a:gd name="connsiteX45" fmla="*/ 1049145 w 2315970"/>
                    <a:gd name="connsiteY45" fmla="*/ 115561 h 715636"/>
                    <a:gd name="connsiteX46" fmla="*/ 1030095 w 2315970"/>
                    <a:gd name="connsiteY46" fmla="*/ 15549 h 715636"/>
                    <a:gd name="connsiteX0" fmla="*/ 1030095 w 2315970"/>
                    <a:gd name="connsiteY0" fmla="*/ 15546 h 715633"/>
                    <a:gd name="connsiteX1" fmla="*/ 1287270 w 2315970"/>
                    <a:gd name="connsiteY1" fmla="*/ 6021 h 715633"/>
                    <a:gd name="connsiteX2" fmla="*/ 1282508 w 2315970"/>
                    <a:gd name="connsiteY2" fmla="*/ 72696 h 715633"/>
                    <a:gd name="connsiteX3" fmla="*/ 1272983 w 2315970"/>
                    <a:gd name="connsiteY3" fmla="*/ 120321 h 715633"/>
                    <a:gd name="connsiteX4" fmla="*/ 1272983 w 2315970"/>
                    <a:gd name="connsiteY4" fmla="*/ 420358 h 715633"/>
                    <a:gd name="connsiteX5" fmla="*/ 1287270 w 2315970"/>
                    <a:gd name="connsiteY5" fmla="*/ 525133 h 715633"/>
                    <a:gd name="connsiteX6" fmla="*/ 1353945 w 2315970"/>
                    <a:gd name="connsiteY6" fmla="*/ 529896 h 715633"/>
                    <a:gd name="connsiteX7" fmla="*/ 1401570 w 2315970"/>
                    <a:gd name="connsiteY7" fmla="*/ 539421 h 715633"/>
                    <a:gd name="connsiteX8" fmla="*/ 1430145 w 2315970"/>
                    <a:gd name="connsiteY8" fmla="*/ 544183 h 715633"/>
                    <a:gd name="connsiteX9" fmla="*/ 1463483 w 2315970"/>
                    <a:gd name="connsiteY9" fmla="*/ 553708 h 715633"/>
                    <a:gd name="connsiteX10" fmla="*/ 1658745 w 2315970"/>
                    <a:gd name="connsiteY10" fmla="*/ 548946 h 715633"/>
                    <a:gd name="connsiteX11" fmla="*/ 1720658 w 2315970"/>
                    <a:gd name="connsiteY11" fmla="*/ 539421 h 715633"/>
                    <a:gd name="connsiteX12" fmla="*/ 1963545 w 2315970"/>
                    <a:gd name="connsiteY12" fmla="*/ 534658 h 715633"/>
                    <a:gd name="connsiteX13" fmla="*/ 2282633 w 2315970"/>
                    <a:gd name="connsiteY13" fmla="*/ 544183 h 715633"/>
                    <a:gd name="connsiteX14" fmla="*/ 2287395 w 2315970"/>
                    <a:gd name="connsiteY14" fmla="*/ 563233 h 715633"/>
                    <a:gd name="connsiteX15" fmla="*/ 2301683 w 2315970"/>
                    <a:gd name="connsiteY15" fmla="*/ 582283 h 715633"/>
                    <a:gd name="connsiteX16" fmla="*/ 2306445 w 2315970"/>
                    <a:gd name="connsiteY16" fmla="*/ 615621 h 715633"/>
                    <a:gd name="connsiteX17" fmla="*/ 2315970 w 2315970"/>
                    <a:gd name="connsiteY17" fmla="*/ 644196 h 715633"/>
                    <a:gd name="connsiteX18" fmla="*/ 2306445 w 2315970"/>
                    <a:gd name="connsiteY18" fmla="*/ 677533 h 715633"/>
                    <a:gd name="connsiteX19" fmla="*/ 2273108 w 2315970"/>
                    <a:gd name="connsiteY19" fmla="*/ 691821 h 715633"/>
                    <a:gd name="connsiteX20" fmla="*/ 1963545 w 2315970"/>
                    <a:gd name="connsiteY20" fmla="*/ 682296 h 715633"/>
                    <a:gd name="connsiteX21" fmla="*/ 1734945 w 2315970"/>
                    <a:gd name="connsiteY21" fmla="*/ 682296 h 715633"/>
                    <a:gd name="connsiteX22" fmla="*/ 1634933 w 2315970"/>
                    <a:gd name="connsiteY22" fmla="*/ 696583 h 715633"/>
                    <a:gd name="connsiteX23" fmla="*/ 1601595 w 2315970"/>
                    <a:gd name="connsiteY23" fmla="*/ 706108 h 715633"/>
                    <a:gd name="connsiteX24" fmla="*/ 1287270 w 2315970"/>
                    <a:gd name="connsiteY24" fmla="*/ 696583 h 715633"/>
                    <a:gd name="connsiteX25" fmla="*/ 1263458 w 2315970"/>
                    <a:gd name="connsiteY25" fmla="*/ 691821 h 715633"/>
                    <a:gd name="connsiteX26" fmla="*/ 430020 w 2315970"/>
                    <a:gd name="connsiteY26" fmla="*/ 701346 h 715633"/>
                    <a:gd name="connsiteX27" fmla="*/ 339533 w 2315970"/>
                    <a:gd name="connsiteY27" fmla="*/ 715633 h 715633"/>
                    <a:gd name="connsiteX28" fmla="*/ 125220 w 2315970"/>
                    <a:gd name="connsiteY28" fmla="*/ 706108 h 715633"/>
                    <a:gd name="connsiteX29" fmla="*/ 77595 w 2315970"/>
                    <a:gd name="connsiteY29" fmla="*/ 696583 h 715633"/>
                    <a:gd name="connsiteX30" fmla="*/ 49020 w 2315970"/>
                    <a:gd name="connsiteY30" fmla="*/ 691821 h 715633"/>
                    <a:gd name="connsiteX31" fmla="*/ 39495 w 2315970"/>
                    <a:gd name="connsiteY31" fmla="*/ 677533 h 715633"/>
                    <a:gd name="connsiteX32" fmla="*/ 15683 w 2315970"/>
                    <a:gd name="connsiteY32" fmla="*/ 648958 h 715633"/>
                    <a:gd name="connsiteX33" fmla="*/ 6158 w 2315970"/>
                    <a:gd name="connsiteY33" fmla="*/ 548946 h 715633"/>
                    <a:gd name="connsiteX34" fmla="*/ 1395 w 2315970"/>
                    <a:gd name="connsiteY34" fmla="*/ 534658 h 715633"/>
                    <a:gd name="connsiteX35" fmla="*/ 63308 w 2315970"/>
                    <a:gd name="connsiteY35" fmla="*/ 529896 h 715633"/>
                    <a:gd name="connsiteX36" fmla="*/ 806258 w 2315970"/>
                    <a:gd name="connsiteY36" fmla="*/ 529896 h 715633"/>
                    <a:gd name="connsiteX37" fmla="*/ 1034858 w 2315970"/>
                    <a:gd name="connsiteY37" fmla="*/ 520371 h 715633"/>
                    <a:gd name="connsiteX38" fmla="*/ 1039620 w 2315970"/>
                    <a:gd name="connsiteY38" fmla="*/ 472746 h 715633"/>
                    <a:gd name="connsiteX39" fmla="*/ 1030095 w 2315970"/>
                    <a:gd name="connsiteY39" fmla="*/ 425121 h 715633"/>
                    <a:gd name="connsiteX40" fmla="*/ 1025333 w 2315970"/>
                    <a:gd name="connsiteY40" fmla="*/ 406071 h 715633"/>
                    <a:gd name="connsiteX41" fmla="*/ 1011045 w 2315970"/>
                    <a:gd name="connsiteY41" fmla="*/ 334633 h 715633"/>
                    <a:gd name="connsiteX42" fmla="*/ 1020570 w 2315970"/>
                    <a:gd name="connsiteY42" fmla="*/ 210808 h 715633"/>
                    <a:gd name="connsiteX43" fmla="*/ 1034858 w 2315970"/>
                    <a:gd name="connsiteY43" fmla="*/ 158421 h 715633"/>
                    <a:gd name="connsiteX44" fmla="*/ 1049145 w 2315970"/>
                    <a:gd name="connsiteY44" fmla="*/ 115558 h 715633"/>
                    <a:gd name="connsiteX45" fmla="*/ 1030095 w 2315970"/>
                    <a:gd name="connsiteY45" fmla="*/ 15546 h 715633"/>
                    <a:gd name="connsiteX0" fmla="*/ 1030095 w 2315970"/>
                    <a:gd name="connsiteY0" fmla="*/ 15546 h 715633"/>
                    <a:gd name="connsiteX1" fmla="*/ 1287270 w 2315970"/>
                    <a:gd name="connsiteY1" fmla="*/ 6021 h 715633"/>
                    <a:gd name="connsiteX2" fmla="*/ 1282508 w 2315970"/>
                    <a:gd name="connsiteY2" fmla="*/ 72696 h 715633"/>
                    <a:gd name="connsiteX3" fmla="*/ 1272983 w 2315970"/>
                    <a:gd name="connsiteY3" fmla="*/ 420358 h 715633"/>
                    <a:gd name="connsiteX4" fmla="*/ 1287270 w 2315970"/>
                    <a:gd name="connsiteY4" fmla="*/ 525133 h 715633"/>
                    <a:gd name="connsiteX5" fmla="*/ 1353945 w 2315970"/>
                    <a:gd name="connsiteY5" fmla="*/ 529896 h 715633"/>
                    <a:gd name="connsiteX6" fmla="*/ 1401570 w 2315970"/>
                    <a:gd name="connsiteY6" fmla="*/ 539421 h 715633"/>
                    <a:gd name="connsiteX7" fmla="*/ 1430145 w 2315970"/>
                    <a:gd name="connsiteY7" fmla="*/ 544183 h 715633"/>
                    <a:gd name="connsiteX8" fmla="*/ 1463483 w 2315970"/>
                    <a:gd name="connsiteY8" fmla="*/ 553708 h 715633"/>
                    <a:gd name="connsiteX9" fmla="*/ 1658745 w 2315970"/>
                    <a:gd name="connsiteY9" fmla="*/ 548946 h 715633"/>
                    <a:gd name="connsiteX10" fmla="*/ 1720658 w 2315970"/>
                    <a:gd name="connsiteY10" fmla="*/ 539421 h 715633"/>
                    <a:gd name="connsiteX11" fmla="*/ 1963545 w 2315970"/>
                    <a:gd name="connsiteY11" fmla="*/ 534658 h 715633"/>
                    <a:gd name="connsiteX12" fmla="*/ 2282633 w 2315970"/>
                    <a:gd name="connsiteY12" fmla="*/ 544183 h 715633"/>
                    <a:gd name="connsiteX13" fmla="*/ 2287395 w 2315970"/>
                    <a:gd name="connsiteY13" fmla="*/ 563233 h 715633"/>
                    <a:gd name="connsiteX14" fmla="*/ 2301683 w 2315970"/>
                    <a:gd name="connsiteY14" fmla="*/ 582283 h 715633"/>
                    <a:gd name="connsiteX15" fmla="*/ 2306445 w 2315970"/>
                    <a:gd name="connsiteY15" fmla="*/ 615621 h 715633"/>
                    <a:gd name="connsiteX16" fmla="*/ 2315970 w 2315970"/>
                    <a:gd name="connsiteY16" fmla="*/ 644196 h 715633"/>
                    <a:gd name="connsiteX17" fmla="*/ 2306445 w 2315970"/>
                    <a:gd name="connsiteY17" fmla="*/ 677533 h 715633"/>
                    <a:gd name="connsiteX18" fmla="*/ 2273108 w 2315970"/>
                    <a:gd name="connsiteY18" fmla="*/ 691821 h 715633"/>
                    <a:gd name="connsiteX19" fmla="*/ 1963545 w 2315970"/>
                    <a:gd name="connsiteY19" fmla="*/ 682296 h 715633"/>
                    <a:gd name="connsiteX20" fmla="*/ 1734945 w 2315970"/>
                    <a:gd name="connsiteY20" fmla="*/ 682296 h 715633"/>
                    <a:gd name="connsiteX21" fmla="*/ 1634933 w 2315970"/>
                    <a:gd name="connsiteY21" fmla="*/ 696583 h 715633"/>
                    <a:gd name="connsiteX22" fmla="*/ 1601595 w 2315970"/>
                    <a:gd name="connsiteY22" fmla="*/ 706108 h 715633"/>
                    <a:gd name="connsiteX23" fmla="*/ 1287270 w 2315970"/>
                    <a:gd name="connsiteY23" fmla="*/ 696583 h 715633"/>
                    <a:gd name="connsiteX24" fmla="*/ 1263458 w 2315970"/>
                    <a:gd name="connsiteY24" fmla="*/ 691821 h 715633"/>
                    <a:gd name="connsiteX25" fmla="*/ 430020 w 2315970"/>
                    <a:gd name="connsiteY25" fmla="*/ 701346 h 715633"/>
                    <a:gd name="connsiteX26" fmla="*/ 339533 w 2315970"/>
                    <a:gd name="connsiteY26" fmla="*/ 715633 h 715633"/>
                    <a:gd name="connsiteX27" fmla="*/ 125220 w 2315970"/>
                    <a:gd name="connsiteY27" fmla="*/ 706108 h 715633"/>
                    <a:gd name="connsiteX28" fmla="*/ 77595 w 2315970"/>
                    <a:gd name="connsiteY28" fmla="*/ 696583 h 715633"/>
                    <a:gd name="connsiteX29" fmla="*/ 49020 w 2315970"/>
                    <a:gd name="connsiteY29" fmla="*/ 691821 h 715633"/>
                    <a:gd name="connsiteX30" fmla="*/ 39495 w 2315970"/>
                    <a:gd name="connsiteY30" fmla="*/ 677533 h 715633"/>
                    <a:gd name="connsiteX31" fmla="*/ 15683 w 2315970"/>
                    <a:gd name="connsiteY31" fmla="*/ 648958 h 715633"/>
                    <a:gd name="connsiteX32" fmla="*/ 6158 w 2315970"/>
                    <a:gd name="connsiteY32" fmla="*/ 548946 h 715633"/>
                    <a:gd name="connsiteX33" fmla="*/ 1395 w 2315970"/>
                    <a:gd name="connsiteY33" fmla="*/ 534658 h 715633"/>
                    <a:gd name="connsiteX34" fmla="*/ 63308 w 2315970"/>
                    <a:gd name="connsiteY34" fmla="*/ 529896 h 715633"/>
                    <a:gd name="connsiteX35" fmla="*/ 806258 w 2315970"/>
                    <a:gd name="connsiteY35" fmla="*/ 529896 h 715633"/>
                    <a:gd name="connsiteX36" fmla="*/ 1034858 w 2315970"/>
                    <a:gd name="connsiteY36" fmla="*/ 520371 h 715633"/>
                    <a:gd name="connsiteX37" fmla="*/ 1039620 w 2315970"/>
                    <a:gd name="connsiteY37" fmla="*/ 472746 h 715633"/>
                    <a:gd name="connsiteX38" fmla="*/ 1030095 w 2315970"/>
                    <a:gd name="connsiteY38" fmla="*/ 425121 h 715633"/>
                    <a:gd name="connsiteX39" fmla="*/ 1025333 w 2315970"/>
                    <a:gd name="connsiteY39" fmla="*/ 406071 h 715633"/>
                    <a:gd name="connsiteX40" fmla="*/ 1011045 w 2315970"/>
                    <a:gd name="connsiteY40" fmla="*/ 334633 h 715633"/>
                    <a:gd name="connsiteX41" fmla="*/ 1020570 w 2315970"/>
                    <a:gd name="connsiteY41" fmla="*/ 210808 h 715633"/>
                    <a:gd name="connsiteX42" fmla="*/ 1034858 w 2315970"/>
                    <a:gd name="connsiteY42" fmla="*/ 158421 h 715633"/>
                    <a:gd name="connsiteX43" fmla="*/ 1049145 w 2315970"/>
                    <a:gd name="connsiteY43" fmla="*/ 115558 h 715633"/>
                    <a:gd name="connsiteX44" fmla="*/ 1030095 w 2315970"/>
                    <a:gd name="connsiteY44" fmla="*/ 15546 h 715633"/>
                    <a:gd name="connsiteX0" fmla="*/ 1030095 w 2315970"/>
                    <a:gd name="connsiteY0" fmla="*/ 15546 h 715633"/>
                    <a:gd name="connsiteX1" fmla="*/ 1287270 w 2315970"/>
                    <a:gd name="connsiteY1" fmla="*/ 6021 h 715633"/>
                    <a:gd name="connsiteX2" fmla="*/ 1282508 w 2315970"/>
                    <a:gd name="connsiteY2" fmla="*/ 72696 h 715633"/>
                    <a:gd name="connsiteX3" fmla="*/ 1272983 w 2315970"/>
                    <a:gd name="connsiteY3" fmla="*/ 420358 h 715633"/>
                    <a:gd name="connsiteX4" fmla="*/ 1287270 w 2315970"/>
                    <a:gd name="connsiteY4" fmla="*/ 525133 h 715633"/>
                    <a:gd name="connsiteX5" fmla="*/ 1353945 w 2315970"/>
                    <a:gd name="connsiteY5" fmla="*/ 529896 h 715633"/>
                    <a:gd name="connsiteX6" fmla="*/ 1401570 w 2315970"/>
                    <a:gd name="connsiteY6" fmla="*/ 539421 h 715633"/>
                    <a:gd name="connsiteX7" fmla="*/ 1430145 w 2315970"/>
                    <a:gd name="connsiteY7" fmla="*/ 544183 h 715633"/>
                    <a:gd name="connsiteX8" fmla="*/ 1463483 w 2315970"/>
                    <a:gd name="connsiteY8" fmla="*/ 553708 h 715633"/>
                    <a:gd name="connsiteX9" fmla="*/ 1658745 w 2315970"/>
                    <a:gd name="connsiteY9" fmla="*/ 548946 h 715633"/>
                    <a:gd name="connsiteX10" fmla="*/ 1720658 w 2315970"/>
                    <a:gd name="connsiteY10" fmla="*/ 539421 h 715633"/>
                    <a:gd name="connsiteX11" fmla="*/ 1963545 w 2315970"/>
                    <a:gd name="connsiteY11" fmla="*/ 534658 h 715633"/>
                    <a:gd name="connsiteX12" fmla="*/ 2282633 w 2315970"/>
                    <a:gd name="connsiteY12" fmla="*/ 544183 h 715633"/>
                    <a:gd name="connsiteX13" fmla="*/ 2287395 w 2315970"/>
                    <a:gd name="connsiteY13" fmla="*/ 563233 h 715633"/>
                    <a:gd name="connsiteX14" fmla="*/ 2301683 w 2315970"/>
                    <a:gd name="connsiteY14" fmla="*/ 582283 h 715633"/>
                    <a:gd name="connsiteX15" fmla="*/ 2306445 w 2315970"/>
                    <a:gd name="connsiteY15" fmla="*/ 615621 h 715633"/>
                    <a:gd name="connsiteX16" fmla="*/ 2315970 w 2315970"/>
                    <a:gd name="connsiteY16" fmla="*/ 644196 h 715633"/>
                    <a:gd name="connsiteX17" fmla="*/ 2306445 w 2315970"/>
                    <a:gd name="connsiteY17" fmla="*/ 677533 h 715633"/>
                    <a:gd name="connsiteX18" fmla="*/ 2273108 w 2315970"/>
                    <a:gd name="connsiteY18" fmla="*/ 691821 h 715633"/>
                    <a:gd name="connsiteX19" fmla="*/ 1963545 w 2315970"/>
                    <a:gd name="connsiteY19" fmla="*/ 682296 h 715633"/>
                    <a:gd name="connsiteX20" fmla="*/ 1734945 w 2315970"/>
                    <a:gd name="connsiteY20" fmla="*/ 682296 h 715633"/>
                    <a:gd name="connsiteX21" fmla="*/ 1634933 w 2315970"/>
                    <a:gd name="connsiteY21" fmla="*/ 696583 h 715633"/>
                    <a:gd name="connsiteX22" fmla="*/ 1601595 w 2315970"/>
                    <a:gd name="connsiteY22" fmla="*/ 706108 h 715633"/>
                    <a:gd name="connsiteX23" fmla="*/ 1287270 w 2315970"/>
                    <a:gd name="connsiteY23" fmla="*/ 696583 h 715633"/>
                    <a:gd name="connsiteX24" fmla="*/ 1263458 w 2315970"/>
                    <a:gd name="connsiteY24" fmla="*/ 691821 h 715633"/>
                    <a:gd name="connsiteX25" fmla="*/ 430020 w 2315970"/>
                    <a:gd name="connsiteY25" fmla="*/ 701346 h 715633"/>
                    <a:gd name="connsiteX26" fmla="*/ 339533 w 2315970"/>
                    <a:gd name="connsiteY26" fmla="*/ 715633 h 715633"/>
                    <a:gd name="connsiteX27" fmla="*/ 125220 w 2315970"/>
                    <a:gd name="connsiteY27" fmla="*/ 706108 h 715633"/>
                    <a:gd name="connsiteX28" fmla="*/ 77595 w 2315970"/>
                    <a:gd name="connsiteY28" fmla="*/ 696583 h 715633"/>
                    <a:gd name="connsiteX29" fmla="*/ 49020 w 2315970"/>
                    <a:gd name="connsiteY29" fmla="*/ 691821 h 715633"/>
                    <a:gd name="connsiteX30" fmla="*/ 39495 w 2315970"/>
                    <a:gd name="connsiteY30" fmla="*/ 677533 h 715633"/>
                    <a:gd name="connsiteX31" fmla="*/ 15683 w 2315970"/>
                    <a:gd name="connsiteY31" fmla="*/ 648958 h 715633"/>
                    <a:gd name="connsiteX32" fmla="*/ 6158 w 2315970"/>
                    <a:gd name="connsiteY32" fmla="*/ 548946 h 715633"/>
                    <a:gd name="connsiteX33" fmla="*/ 1395 w 2315970"/>
                    <a:gd name="connsiteY33" fmla="*/ 534658 h 715633"/>
                    <a:gd name="connsiteX34" fmla="*/ 63308 w 2315970"/>
                    <a:gd name="connsiteY34" fmla="*/ 529896 h 715633"/>
                    <a:gd name="connsiteX35" fmla="*/ 806258 w 2315970"/>
                    <a:gd name="connsiteY35" fmla="*/ 529896 h 715633"/>
                    <a:gd name="connsiteX36" fmla="*/ 1034858 w 2315970"/>
                    <a:gd name="connsiteY36" fmla="*/ 520371 h 715633"/>
                    <a:gd name="connsiteX37" fmla="*/ 1039620 w 2315970"/>
                    <a:gd name="connsiteY37" fmla="*/ 472746 h 715633"/>
                    <a:gd name="connsiteX38" fmla="*/ 1030095 w 2315970"/>
                    <a:gd name="connsiteY38" fmla="*/ 425121 h 715633"/>
                    <a:gd name="connsiteX39" fmla="*/ 1025333 w 2315970"/>
                    <a:gd name="connsiteY39" fmla="*/ 406071 h 715633"/>
                    <a:gd name="connsiteX40" fmla="*/ 1011045 w 2315970"/>
                    <a:gd name="connsiteY40" fmla="*/ 334633 h 715633"/>
                    <a:gd name="connsiteX41" fmla="*/ 1020570 w 2315970"/>
                    <a:gd name="connsiteY41" fmla="*/ 210808 h 715633"/>
                    <a:gd name="connsiteX42" fmla="*/ 1049145 w 2315970"/>
                    <a:gd name="connsiteY42" fmla="*/ 115558 h 715633"/>
                    <a:gd name="connsiteX43" fmla="*/ 1030095 w 2315970"/>
                    <a:gd name="connsiteY43" fmla="*/ 15546 h 715633"/>
                    <a:gd name="connsiteX0" fmla="*/ 1030095 w 2315970"/>
                    <a:gd name="connsiteY0" fmla="*/ 21198 h 721285"/>
                    <a:gd name="connsiteX1" fmla="*/ 1287270 w 2315970"/>
                    <a:gd name="connsiteY1" fmla="*/ 11673 h 721285"/>
                    <a:gd name="connsiteX2" fmla="*/ 1282508 w 2315970"/>
                    <a:gd name="connsiteY2" fmla="*/ 78348 h 721285"/>
                    <a:gd name="connsiteX3" fmla="*/ 1272983 w 2315970"/>
                    <a:gd name="connsiteY3" fmla="*/ 426010 h 721285"/>
                    <a:gd name="connsiteX4" fmla="*/ 1287270 w 2315970"/>
                    <a:gd name="connsiteY4" fmla="*/ 530785 h 721285"/>
                    <a:gd name="connsiteX5" fmla="*/ 1353945 w 2315970"/>
                    <a:gd name="connsiteY5" fmla="*/ 535548 h 721285"/>
                    <a:gd name="connsiteX6" fmla="*/ 1401570 w 2315970"/>
                    <a:gd name="connsiteY6" fmla="*/ 545073 h 721285"/>
                    <a:gd name="connsiteX7" fmla="*/ 1430145 w 2315970"/>
                    <a:gd name="connsiteY7" fmla="*/ 549835 h 721285"/>
                    <a:gd name="connsiteX8" fmla="*/ 1463483 w 2315970"/>
                    <a:gd name="connsiteY8" fmla="*/ 559360 h 721285"/>
                    <a:gd name="connsiteX9" fmla="*/ 1658745 w 2315970"/>
                    <a:gd name="connsiteY9" fmla="*/ 554598 h 721285"/>
                    <a:gd name="connsiteX10" fmla="*/ 1720658 w 2315970"/>
                    <a:gd name="connsiteY10" fmla="*/ 545073 h 721285"/>
                    <a:gd name="connsiteX11" fmla="*/ 1963545 w 2315970"/>
                    <a:gd name="connsiteY11" fmla="*/ 540310 h 721285"/>
                    <a:gd name="connsiteX12" fmla="*/ 2282633 w 2315970"/>
                    <a:gd name="connsiteY12" fmla="*/ 549835 h 721285"/>
                    <a:gd name="connsiteX13" fmla="*/ 2287395 w 2315970"/>
                    <a:gd name="connsiteY13" fmla="*/ 568885 h 721285"/>
                    <a:gd name="connsiteX14" fmla="*/ 2301683 w 2315970"/>
                    <a:gd name="connsiteY14" fmla="*/ 587935 h 721285"/>
                    <a:gd name="connsiteX15" fmla="*/ 2306445 w 2315970"/>
                    <a:gd name="connsiteY15" fmla="*/ 621273 h 721285"/>
                    <a:gd name="connsiteX16" fmla="*/ 2315970 w 2315970"/>
                    <a:gd name="connsiteY16" fmla="*/ 649848 h 721285"/>
                    <a:gd name="connsiteX17" fmla="*/ 2306445 w 2315970"/>
                    <a:gd name="connsiteY17" fmla="*/ 683185 h 721285"/>
                    <a:gd name="connsiteX18" fmla="*/ 2273108 w 2315970"/>
                    <a:gd name="connsiteY18" fmla="*/ 697473 h 721285"/>
                    <a:gd name="connsiteX19" fmla="*/ 1963545 w 2315970"/>
                    <a:gd name="connsiteY19" fmla="*/ 687948 h 721285"/>
                    <a:gd name="connsiteX20" fmla="*/ 1734945 w 2315970"/>
                    <a:gd name="connsiteY20" fmla="*/ 687948 h 721285"/>
                    <a:gd name="connsiteX21" fmla="*/ 1634933 w 2315970"/>
                    <a:gd name="connsiteY21" fmla="*/ 702235 h 721285"/>
                    <a:gd name="connsiteX22" fmla="*/ 1601595 w 2315970"/>
                    <a:gd name="connsiteY22" fmla="*/ 711760 h 721285"/>
                    <a:gd name="connsiteX23" fmla="*/ 1287270 w 2315970"/>
                    <a:gd name="connsiteY23" fmla="*/ 702235 h 721285"/>
                    <a:gd name="connsiteX24" fmla="*/ 1263458 w 2315970"/>
                    <a:gd name="connsiteY24" fmla="*/ 697473 h 721285"/>
                    <a:gd name="connsiteX25" fmla="*/ 430020 w 2315970"/>
                    <a:gd name="connsiteY25" fmla="*/ 706998 h 721285"/>
                    <a:gd name="connsiteX26" fmla="*/ 339533 w 2315970"/>
                    <a:gd name="connsiteY26" fmla="*/ 721285 h 721285"/>
                    <a:gd name="connsiteX27" fmla="*/ 125220 w 2315970"/>
                    <a:gd name="connsiteY27" fmla="*/ 711760 h 721285"/>
                    <a:gd name="connsiteX28" fmla="*/ 77595 w 2315970"/>
                    <a:gd name="connsiteY28" fmla="*/ 702235 h 721285"/>
                    <a:gd name="connsiteX29" fmla="*/ 49020 w 2315970"/>
                    <a:gd name="connsiteY29" fmla="*/ 697473 h 721285"/>
                    <a:gd name="connsiteX30" fmla="*/ 39495 w 2315970"/>
                    <a:gd name="connsiteY30" fmla="*/ 683185 h 721285"/>
                    <a:gd name="connsiteX31" fmla="*/ 15683 w 2315970"/>
                    <a:gd name="connsiteY31" fmla="*/ 654610 h 721285"/>
                    <a:gd name="connsiteX32" fmla="*/ 6158 w 2315970"/>
                    <a:gd name="connsiteY32" fmla="*/ 554598 h 721285"/>
                    <a:gd name="connsiteX33" fmla="*/ 1395 w 2315970"/>
                    <a:gd name="connsiteY33" fmla="*/ 540310 h 721285"/>
                    <a:gd name="connsiteX34" fmla="*/ 63308 w 2315970"/>
                    <a:gd name="connsiteY34" fmla="*/ 535548 h 721285"/>
                    <a:gd name="connsiteX35" fmla="*/ 806258 w 2315970"/>
                    <a:gd name="connsiteY35" fmla="*/ 535548 h 721285"/>
                    <a:gd name="connsiteX36" fmla="*/ 1034858 w 2315970"/>
                    <a:gd name="connsiteY36" fmla="*/ 526023 h 721285"/>
                    <a:gd name="connsiteX37" fmla="*/ 1039620 w 2315970"/>
                    <a:gd name="connsiteY37" fmla="*/ 478398 h 721285"/>
                    <a:gd name="connsiteX38" fmla="*/ 1030095 w 2315970"/>
                    <a:gd name="connsiteY38" fmla="*/ 430773 h 721285"/>
                    <a:gd name="connsiteX39" fmla="*/ 1025333 w 2315970"/>
                    <a:gd name="connsiteY39" fmla="*/ 411723 h 721285"/>
                    <a:gd name="connsiteX40" fmla="*/ 1011045 w 2315970"/>
                    <a:gd name="connsiteY40" fmla="*/ 340285 h 721285"/>
                    <a:gd name="connsiteX41" fmla="*/ 1020570 w 2315970"/>
                    <a:gd name="connsiteY41" fmla="*/ 216460 h 721285"/>
                    <a:gd name="connsiteX42" fmla="*/ 1030095 w 2315970"/>
                    <a:gd name="connsiteY42" fmla="*/ 21198 h 721285"/>
                    <a:gd name="connsiteX0" fmla="*/ 1030095 w 2315970"/>
                    <a:gd name="connsiteY0" fmla="*/ 21198 h 721285"/>
                    <a:gd name="connsiteX1" fmla="*/ 1287270 w 2315970"/>
                    <a:gd name="connsiteY1" fmla="*/ 11673 h 721285"/>
                    <a:gd name="connsiteX2" fmla="*/ 1282508 w 2315970"/>
                    <a:gd name="connsiteY2" fmla="*/ 78348 h 721285"/>
                    <a:gd name="connsiteX3" fmla="*/ 1272983 w 2315970"/>
                    <a:gd name="connsiteY3" fmla="*/ 426010 h 721285"/>
                    <a:gd name="connsiteX4" fmla="*/ 1287270 w 2315970"/>
                    <a:gd name="connsiteY4" fmla="*/ 530785 h 721285"/>
                    <a:gd name="connsiteX5" fmla="*/ 1353945 w 2315970"/>
                    <a:gd name="connsiteY5" fmla="*/ 535548 h 721285"/>
                    <a:gd name="connsiteX6" fmla="*/ 1401570 w 2315970"/>
                    <a:gd name="connsiteY6" fmla="*/ 545073 h 721285"/>
                    <a:gd name="connsiteX7" fmla="*/ 1430145 w 2315970"/>
                    <a:gd name="connsiteY7" fmla="*/ 549835 h 721285"/>
                    <a:gd name="connsiteX8" fmla="*/ 1463483 w 2315970"/>
                    <a:gd name="connsiteY8" fmla="*/ 559360 h 721285"/>
                    <a:gd name="connsiteX9" fmla="*/ 1658745 w 2315970"/>
                    <a:gd name="connsiteY9" fmla="*/ 554598 h 721285"/>
                    <a:gd name="connsiteX10" fmla="*/ 1720658 w 2315970"/>
                    <a:gd name="connsiteY10" fmla="*/ 545073 h 721285"/>
                    <a:gd name="connsiteX11" fmla="*/ 1963545 w 2315970"/>
                    <a:gd name="connsiteY11" fmla="*/ 540310 h 721285"/>
                    <a:gd name="connsiteX12" fmla="*/ 2282633 w 2315970"/>
                    <a:gd name="connsiteY12" fmla="*/ 549835 h 721285"/>
                    <a:gd name="connsiteX13" fmla="*/ 2287395 w 2315970"/>
                    <a:gd name="connsiteY13" fmla="*/ 568885 h 721285"/>
                    <a:gd name="connsiteX14" fmla="*/ 2301683 w 2315970"/>
                    <a:gd name="connsiteY14" fmla="*/ 587935 h 721285"/>
                    <a:gd name="connsiteX15" fmla="*/ 2306445 w 2315970"/>
                    <a:gd name="connsiteY15" fmla="*/ 621273 h 721285"/>
                    <a:gd name="connsiteX16" fmla="*/ 2315970 w 2315970"/>
                    <a:gd name="connsiteY16" fmla="*/ 649848 h 721285"/>
                    <a:gd name="connsiteX17" fmla="*/ 2306445 w 2315970"/>
                    <a:gd name="connsiteY17" fmla="*/ 683185 h 721285"/>
                    <a:gd name="connsiteX18" fmla="*/ 2273108 w 2315970"/>
                    <a:gd name="connsiteY18" fmla="*/ 697473 h 721285"/>
                    <a:gd name="connsiteX19" fmla="*/ 1963545 w 2315970"/>
                    <a:gd name="connsiteY19" fmla="*/ 687948 h 721285"/>
                    <a:gd name="connsiteX20" fmla="*/ 1734945 w 2315970"/>
                    <a:gd name="connsiteY20" fmla="*/ 687948 h 721285"/>
                    <a:gd name="connsiteX21" fmla="*/ 1634933 w 2315970"/>
                    <a:gd name="connsiteY21" fmla="*/ 702235 h 721285"/>
                    <a:gd name="connsiteX22" fmla="*/ 1601595 w 2315970"/>
                    <a:gd name="connsiteY22" fmla="*/ 711760 h 721285"/>
                    <a:gd name="connsiteX23" fmla="*/ 1287270 w 2315970"/>
                    <a:gd name="connsiteY23" fmla="*/ 702235 h 721285"/>
                    <a:gd name="connsiteX24" fmla="*/ 1263458 w 2315970"/>
                    <a:gd name="connsiteY24" fmla="*/ 697473 h 721285"/>
                    <a:gd name="connsiteX25" fmla="*/ 430020 w 2315970"/>
                    <a:gd name="connsiteY25" fmla="*/ 706998 h 721285"/>
                    <a:gd name="connsiteX26" fmla="*/ 339533 w 2315970"/>
                    <a:gd name="connsiteY26" fmla="*/ 721285 h 721285"/>
                    <a:gd name="connsiteX27" fmla="*/ 125220 w 2315970"/>
                    <a:gd name="connsiteY27" fmla="*/ 711760 h 721285"/>
                    <a:gd name="connsiteX28" fmla="*/ 77595 w 2315970"/>
                    <a:gd name="connsiteY28" fmla="*/ 702235 h 721285"/>
                    <a:gd name="connsiteX29" fmla="*/ 49020 w 2315970"/>
                    <a:gd name="connsiteY29" fmla="*/ 697473 h 721285"/>
                    <a:gd name="connsiteX30" fmla="*/ 39495 w 2315970"/>
                    <a:gd name="connsiteY30" fmla="*/ 683185 h 721285"/>
                    <a:gd name="connsiteX31" fmla="*/ 15683 w 2315970"/>
                    <a:gd name="connsiteY31" fmla="*/ 654610 h 721285"/>
                    <a:gd name="connsiteX32" fmla="*/ 6158 w 2315970"/>
                    <a:gd name="connsiteY32" fmla="*/ 554598 h 721285"/>
                    <a:gd name="connsiteX33" fmla="*/ 1395 w 2315970"/>
                    <a:gd name="connsiteY33" fmla="*/ 540310 h 721285"/>
                    <a:gd name="connsiteX34" fmla="*/ 63308 w 2315970"/>
                    <a:gd name="connsiteY34" fmla="*/ 535548 h 721285"/>
                    <a:gd name="connsiteX35" fmla="*/ 806258 w 2315970"/>
                    <a:gd name="connsiteY35" fmla="*/ 535548 h 721285"/>
                    <a:gd name="connsiteX36" fmla="*/ 1034858 w 2315970"/>
                    <a:gd name="connsiteY36" fmla="*/ 526023 h 721285"/>
                    <a:gd name="connsiteX37" fmla="*/ 1039620 w 2315970"/>
                    <a:gd name="connsiteY37" fmla="*/ 478398 h 721285"/>
                    <a:gd name="connsiteX38" fmla="*/ 1030095 w 2315970"/>
                    <a:gd name="connsiteY38" fmla="*/ 430773 h 721285"/>
                    <a:gd name="connsiteX39" fmla="*/ 1011045 w 2315970"/>
                    <a:gd name="connsiteY39" fmla="*/ 340285 h 721285"/>
                    <a:gd name="connsiteX40" fmla="*/ 1020570 w 2315970"/>
                    <a:gd name="connsiteY40" fmla="*/ 216460 h 721285"/>
                    <a:gd name="connsiteX41" fmla="*/ 1030095 w 2315970"/>
                    <a:gd name="connsiteY41" fmla="*/ 21198 h 721285"/>
                    <a:gd name="connsiteX0" fmla="*/ 1030095 w 2315970"/>
                    <a:gd name="connsiteY0" fmla="*/ 21198 h 721285"/>
                    <a:gd name="connsiteX1" fmla="*/ 1287270 w 2315970"/>
                    <a:gd name="connsiteY1" fmla="*/ 11673 h 721285"/>
                    <a:gd name="connsiteX2" fmla="*/ 1282508 w 2315970"/>
                    <a:gd name="connsiteY2" fmla="*/ 78348 h 721285"/>
                    <a:gd name="connsiteX3" fmla="*/ 1272983 w 2315970"/>
                    <a:gd name="connsiteY3" fmla="*/ 426010 h 721285"/>
                    <a:gd name="connsiteX4" fmla="*/ 1287270 w 2315970"/>
                    <a:gd name="connsiteY4" fmla="*/ 530785 h 721285"/>
                    <a:gd name="connsiteX5" fmla="*/ 1353945 w 2315970"/>
                    <a:gd name="connsiteY5" fmla="*/ 535548 h 721285"/>
                    <a:gd name="connsiteX6" fmla="*/ 1401570 w 2315970"/>
                    <a:gd name="connsiteY6" fmla="*/ 545073 h 721285"/>
                    <a:gd name="connsiteX7" fmla="*/ 1430145 w 2315970"/>
                    <a:gd name="connsiteY7" fmla="*/ 549835 h 721285"/>
                    <a:gd name="connsiteX8" fmla="*/ 1463483 w 2315970"/>
                    <a:gd name="connsiteY8" fmla="*/ 559360 h 721285"/>
                    <a:gd name="connsiteX9" fmla="*/ 1658745 w 2315970"/>
                    <a:gd name="connsiteY9" fmla="*/ 554598 h 721285"/>
                    <a:gd name="connsiteX10" fmla="*/ 1720658 w 2315970"/>
                    <a:gd name="connsiteY10" fmla="*/ 545073 h 721285"/>
                    <a:gd name="connsiteX11" fmla="*/ 1963545 w 2315970"/>
                    <a:gd name="connsiteY11" fmla="*/ 540310 h 721285"/>
                    <a:gd name="connsiteX12" fmla="*/ 2282633 w 2315970"/>
                    <a:gd name="connsiteY12" fmla="*/ 549835 h 721285"/>
                    <a:gd name="connsiteX13" fmla="*/ 2287395 w 2315970"/>
                    <a:gd name="connsiteY13" fmla="*/ 568885 h 721285"/>
                    <a:gd name="connsiteX14" fmla="*/ 2301683 w 2315970"/>
                    <a:gd name="connsiteY14" fmla="*/ 587935 h 721285"/>
                    <a:gd name="connsiteX15" fmla="*/ 2306445 w 2315970"/>
                    <a:gd name="connsiteY15" fmla="*/ 621273 h 721285"/>
                    <a:gd name="connsiteX16" fmla="*/ 2315970 w 2315970"/>
                    <a:gd name="connsiteY16" fmla="*/ 649848 h 721285"/>
                    <a:gd name="connsiteX17" fmla="*/ 2306445 w 2315970"/>
                    <a:gd name="connsiteY17" fmla="*/ 683185 h 721285"/>
                    <a:gd name="connsiteX18" fmla="*/ 2273108 w 2315970"/>
                    <a:gd name="connsiteY18" fmla="*/ 697473 h 721285"/>
                    <a:gd name="connsiteX19" fmla="*/ 1963545 w 2315970"/>
                    <a:gd name="connsiteY19" fmla="*/ 687948 h 721285"/>
                    <a:gd name="connsiteX20" fmla="*/ 1734945 w 2315970"/>
                    <a:gd name="connsiteY20" fmla="*/ 687948 h 721285"/>
                    <a:gd name="connsiteX21" fmla="*/ 1634933 w 2315970"/>
                    <a:gd name="connsiteY21" fmla="*/ 702235 h 721285"/>
                    <a:gd name="connsiteX22" fmla="*/ 1601595 w 2315970"/>
                    <a:gd name="connsiteY22" fmla="*/ 711760 h 721285"/>
                    <a:gd name="connsiteX23" fmla="*/ 1287270 w 2315970"/>
                    <a:gd name="connsiteY23" fmla="*/ 702235 h 721285"/>
                    <a:gd name="connsiteX24" fmla="*/ 1263458 w 2315970"/>
                    <a:gd name="connsiteY24" fmla="*/ 697473 h 721285"/>
                    <a:gd name="connsiteX25" fmla="*/ 430020 w 2315970"/>
                    <a:gd name="connsiteY25" fmla="*/ 706998 h 721285"/>
                    <a:gd name="connsiteX26" fmla="*/ 339533 w 2315970"/>
                    <a:gd name="connsiteY26" fmla="*/ 721285 h 721285"/>
                    <a:gd name="connsiteX27" fmla="*/ 125220 w 2315970"/>
                    <a:gd name="connsiteY27" fmla="*/ 711760 h 721285"/>
                    <a:gd name="connsiteX28" fmla="*/ 77595 w 2315970"/>
                    <a:gd name="connsiteY28" fmla="*/ 702235 h 721285"/>
                    <a:gd name="connsiteX29" fmla="*/ 49020 w 2315970"/>
                    <a:gd name="connsiteY29" fmla="*/ 697473 h 721285"/>
                    <a:gd name="connsiteX30" fmla="*/ 39495 w 2315970"/>
                    <a:gd name="connsiteY30" fmla="*/ 683185 h 721285"/>
                    <a:gd name="connsiteX31" fmla="*/ 15683 w 2315970"/>
                    <a:gd name="connsiteY31" fmla="*/ 654610 h 721285"/>
                    <a:gd name="connsiteX32" fmla="*/ 6158 w 2315970"/>
                    <a:gd name="connsiteY32" fmla="*/ 554598 h 721285"/>
                    <a:gd name="connsiteX33" fmla="*/ 1395 w 2315970"/>
                    <a:gd name="connsiteY33" fmla="*/ 540310 h 721285"/>
                    <a:gd name="connsiteX34" fmla="*/ 63308 w 2315970"/>
                    <a:gd name="connsiteY34" fmla="*/ 535548 h 721285"/>
                    <a:gd name="connsiteX35" fmla="*/ 806258 w 2315970"/>
                    <a:gd name="connsiteY35" fmla="*/ 535548 h 721285"/>
                    <a:gd name="connsiteX36" fmla="*/ 1034858 w 2315970"/>
                    <a:gd name="connsiteY36" fmla="*/ 526023 h 721285"/>
                    <a:gd name="connsiteX37" fmla="*/ 1039620 w 2315970"/>
                    <a:gd name="connsiteY37" fmla="*/ 478398 h 721285"/>
                    <a:gd name="connsiteX38" fmla="*/ 1030095 w 2315970"/>
                    <a:gd name="connsiteY38" fmla="*/ 430773 h 721285"/>
                    <a:gd name="connsiteX39" fmla="*/ 1020570 w 2315970"/>
                    <a:gd name="connsiteY39" fmla="*/ 216460 h 721285"/>
                    <a:gd name="connsiteX40" fmla="*/ 1030095 w 2315970"/>
                    <a:gd name="connsiteY40" fmla="*/ 21198 h 721285"/>
                    <a:gd name="connsiteX0" fmla="*/ 1030095 w 2315970"/>
                    <a:gd name="connsiteY0" fmla="*/ 21198 h 721285"/>
                    <a:gd name="connsiteX1" fmla="*/ 1287270 w 2315970"/>
                    <a:gd name="connsiteY1" fmla="*/ 11673 h 721285"/>
                    <a:gd name="connsiteX2" fmla="*/ 1282508 w 2315970"/>
                    <a:gd name="connsiteY2" fmla="*/ 78348 h 721285"/>
                    <a:gd name="connsiteX3" fmla="*/ 1272983 w 2315970"/>
                    <a:gd name="connsiteY3" fmla="*/ 426010 h 721285"/>
                    <a:gd name="connsiteX4" fmla="*/ 1287270 w 2315970"/>
                    <a:gd name="connsiteY4" fmla="*/ 530785 h 721285"/>
                    <a:gd name="connsiteX5" fmla="*/ 1353945 w 2315970"/>
                    <a:gd name="connsiteY5" fmla="*/ 535548 h 721285"/>
                    <a:gd name="connsiteX6" fmla="*/ 1401570 w 2315970"/>
                    <a:gd name="connsiteY6" fmla="*/ 545073 h 721285"/>
                    <a:gd name="connsiteX7" fmla="*/ 1430145 w 2315970"/>
                    <a:gd name="connsiteY7" fmla="*/ 549835 h 721285"/>
                    <a:gd name="connsiteX8" fmla="*/ 1463483 w 2315970"/>
                    <a:gd name="connsiteY8" fmla="*/ 559360 h 721285"/>
                    <a:gd name="connsiteX9" fmla="*/ 1658745 w 2315970"/>
                    <a:gd name="connsiteY9" fmla="*/ 554598 h 721285"/>
                    <a:gd name="connsiteX10" fmla="*/ 1720658 w 2315970"/>
                    <a:gd name="connsiteY10" fmla="*/ 545073 h 721285"/>
                    <a:gd name="connsiteX11" fmla="*/ 1963545 w 2315970"/>
                    <a:gd name="connsiteY11" fmla="*/ 540310 h 721285"/>
                    <a:gd name="connsiteX12" fmla="*/ 2282633 w 2315970"/>
                    <a:gd name="connsiteY12" fmla="*/ 549835 h 721285"/>
                    <a:gd name="connsiteX13" fmla="*/ 2287395 w 2315970"/>
                    <a:gd name="connsiteY13" fmla="*/ 568885 h 721285"/>
                    <a:gd name="connsiteX14" fmla="*/ 2301683 w 2315970"/>
                    <a:gd name="connsiteY14" fmla="*/ 587935 h 721285"/>
                    <a:gd name="connsiteX15" fmla="*/ 2306445 w 2315970"/>
                    <a:gd name="connsiteY15" fmla="*/ 621273 h 721285"/>
                    <a:gd name="connsiteX16" fmla="*/ 2315970 w 2315970"/>
                    <a:gd name="connsiteY16" fmla="*/ 649848 h 721285"/>
                    <a:gd name="connsiteX17" fmla="*/ 2306445 w 2315970"/>
                    <a:gd name="connsiteY17" fmla="*/ 683185 h 721285"/>
                    <a:gd name="connsiteX18" fmla="*/ 2273108 w 2315970"/>
                    <a:gd name="connsiteY18" fmla="*/ 697473 h 721285"/>
                    <a:gd name="connsiteX19" fmla="*/ 1963545 w 2315970"/>
                    <a:gd name="connsiteY19" fmla="*/ 687948 h 721285"/>
                    <a:gd name="connsiteX20" fmla="*/ 1734945 w 2315970"/>
                    <a:gd name="connsiteY20" fmla="*/ 687948 h 721285"/>
                    <a:gd name="connsiteX21" fmla="*/ 1634933 w 2315970"/>
                    <a:gd name="connsiteY21" fmla="*/ 702235 h 721285"/>
                    <a:gd name="connsiteX22" fmla="*/ 1601595 w 2315970"/>
                    <a:gd name="connsiteY22" fmla="*/ 711760 h 721285"/>
                    <a:gd name="connsiteX23" fmla="*/ 1287270 w 2315970"/>
                    <a:gd name="connsiteY23" fmla="*/ 702235 h 721285"/>
                    <a:gd name="connsiteX24" fmla="*/ 1263458 w 2315970"/>
                    <a:gd name="connsiteY24" fmla="*/ 697473 h 721285"/>
                    <a:gd name="connsiteX25" fmla="*/ 430020 w 2315970"/>
                    <a:gd name="connsiteY25" fmla="*/ 706998 h 721285"/>
                    <a:gd name="connsiteX26" fmla="*/ 339533 w 2315970"/>
                    <a:gd name="connsiteY26" fmla="*/ 721285 h 721285"/>
                    <a:gd name="connsiteX27" fmla="*/ 125220 w 2315970"/>
                    <a:gd name="connsiteY27" fmla="*/ 711760 h 721285"/>
                    <a:gd name="connsiteX28" fmla="*/ 77595 w 2315970"/>
                    <a:gd name="connsiteY28" fmla="*/ 702235 h 721285"/>
                    <a:gd name="connsiteX29" fmla="*/ 49020 w 2315970"/>
                    <a:gd name="connsiteY29" fmla="*/ 697473 h 721285"/>
                    <a:gd name="connsiteX30" fmla="*/ 39495 w 2315970"/>
                    <a:gd name="connsiteY30" fmla="*/ 683185 h 721285"/>
                    <a:gd name="connsiteX31" fmla="*/ 15683 w 2315970"/>
                    <a:gd name="connsiteY31" fmla="*/ 654610 h 721285"/>
                    <a:gd name="connsiteX32" fmla="*/ 6158 w 2315970"/>
                    <a:gd name="connsiteY32" fmla="*/ 554598 h 721285"/>
                    <a:gd name="connsiteX33" fmla="*/ 1395 w 2315970"/>
                    <a:gd name="connsiteY33" fmla="*/ 540310 h 721285"/>
                    <a:gd name="connsiteX34" fmla="*/ 63308 w 2315970"/>
                    <a:gd name="connsiteY34" fmla="*/ 535548 h 721285"/>
                    <a:gd name="connsiteX35" fmla="*/ 806258 w 2315970"/>
                    <a:gd name="connsiteY35" fmla="*/ 535548 h 721285"/>
                    <a:gd name="connsiteX36" fmla="*/ 1034858 w 2315970"/>
                    <a:gd name="connsiteY36" fmla="*/ 526023 h 721285"/>
                    <a:gd name="connsiteX37" fmla="*/ 1030095 w 2315970"/>
                    <a:gd name="connsiteY37" fmla="*/ 430773 h 721285"/>
                    <a:gd name="connsiteX38" fmla="*/ 1020570 w 2315970"/>
                    <a:gd name="connsiteY38" fmla="*/ 216460 h 721285"/>
                    <a:gd name="connsiteX39" fmla="*/ 1030095 w 2315970"/>
                    <a:gd name="connsiteY39" fmla="*/ 21198 h 721285"/>
                    <a:gd name="connsiteX0" fmla="*/ 1030095 w 2315970"/>
                    <a:gd name="connsiteY0" fmla="*/ 21198 h 721285"/>
                    <a:gd name="connsiteX1" fmla="*/ 1287270 w 2315970"/>
                    <a:gd name="connsiteY1" fmla="*/ 11673 h 721285"/>
                    <a:gd name="connsiteX2" fmla="*/ 1282508 w 2315970"/>
                    <a:gd name="connsiteY2" fmla="*/ 78348 h 721285"/>
                    <a:gd name="connsiteX3" fmla="*/ 1272983 w 2315970"/>
                    <a:gd name="connsiteY3" fmla="*/ 426010 h 721285"/>
                    <a:gd name="connsiteX4" fmla="*/ 1287270 w 2315970"/>
                    <a:gd name="connsiteY4" fmla="*/ 530785 h 721285"/>
                    <a:gd name="connsiteX5" fmla="*/ 1353945 w 2315970"/>
                    <a:gd name="connsiteY5" fmla="*/ 535548 h 721285"/>
                    <a:gd name="connsiteX6" fmla="*/ 1430145 w 2315970"/>
                    <a:gd name="connsiteY6" fmla="*/ 549835 h 721285"/>
                    <a:gd name="connsiteX7" fmla="*/ 1463483 w 2315970"/>
                    <a:gd name="connsiteY7" fmla="*/ 559360 h 721285"/>
                    <a:gd name="connsiteX8" fmla="*/ 1658745 w 2315970"/>
                    <a:gd name="connsiteY8" fmla="*/ 554598 h 721285"/>
                    <a:gd name="connsiteX9" fmla="*/ 1720658 w 2315970"/>
                    <a:gd name="connsiteY9" fmla="*/ 545073 h 721285"/>
                    <a:gd name="connsiteX10" fmla="*/ 1963545 w 2315970"/>
                    <a:gd name="connsiteY10" fmla="*/ 540310 h 721285"/>
                    <a:gd name="connsiteX11" fmla="*/ 2282633 w 2315970"/>
                    <a:gd name="connsiteY11" fmla="*/ 549835 h 721285"/>
                    <a:gd name="connsiteX12" fmla="*/ 2287395 w 2315970"/>
                    <a:gd name="connsiteY12" fmla="*/ 568885 h 721285"/>
                    <a:gd name="connsiteX13" fmla="*/ 2301683 w 2315970"/>
                    <a:gd name="connsiteY13" fmla="*/ 587935 h 721285"/>
                    <a:gd name="connsiteX14" fmla="*/ 2306445 w 2315970"/>
                    <a:gd name="connsiteY14" fmla="*/ 621273 h 721285"/>
                    <a:gd name="connsiteX15" fmla="*/ 2315970 w 2315970"/>
                    <a:gd name="connsiteY15" fmla="*/ 649848 h 721285"/>
                    <a:gd name="connsiteX16" fmla="*/ 2306445 w 2315970"/>
                    <a:gd name="connsiteY16" fmla="*/ 683185 h 721285"/>
                    <a:gd name="connsiteX17" fmla="*/ 2273108 w 2315970"/>
                    <a:gd name="connsiteY17" fmla="*/ 697473 h 721285"/>
                    <a:gd name="connsiteX18" fmla="*/ 1963545 w 2315970"/>
                    <a:gd name="connsiteY18" fmla="*/ 687948 h 721285"/>
                    <a:gd name="connsiteX19" fmla="*/ 1734945 w 2315970"/>
                    <a:gd name="connsiteY19" fmla="*/ 687948 h 721285"/>
                    <a:gd name="connsiteX20" fmla="*/ 1634933 w 2315970"/>
                    <a:gd name="connsiteY20" fmla="*/ 702235 h 721285"/>
                    <a:gd name="connsiteX21" fmla="*/ 1601595 w 2315970"/>
                    <a:gd name="connsiteY21" fmla="*/ 711760 h 721285"/>
                    <a:gd name="connsiteX22" fmla="*/ 1287270 w 2315970"/>
                    <a:gd name="connsiteY22" fmla="*/ 702235 h 721285"/>
                    <a:gd name="connsiteX23" fmla="*/ 1263458 w 2315970"/>
                    <a:gd name="connsiteY23" fmla="*/ 697473 h 721285"/>
                    <a:gd name="connsiteX24" fmla="*/ 430020 w 2315970"/>
                    <a:gd name="connsiteY24" fmla="*/ 706998 h 721285"/>
                    <a:gd name="connsiteX25" fmla="*/ 339533 w 2315970"/>
                    <a:gd name="connsiteY25" fmla="*/ 721285 h 721285"/>
                    <a:gd name="connsiteX26" fmla="*/ 125220 w 2315970"/>
                    <a:gd name="connsiteY26" fmla="*/ 711760 h 721285"/>
                    <a:gd name="connsiteX27" fmla="*/ 77595 w 2315970"/>
                    <a:gd name="connsiteY27" fmla="*/ 702235 h 721285"/>
                    <a:gd name="connsiteX28" fmla="*/ 49020 w 2315970"/>
                    <a:gd name="connsiteY28" fmla="*/ 697473 h 721285"/>
                    <a:gd name="connsiteX29" fmla="*/ 39495 w 2315970"/>
                    <a:gd name="connsiteY29" fmla="*/ 683185 h 721285"/>
                    <a:gd name="connsiteX30" fmla="*/ 15683 w 2315970"/>
                    <a:gd name="connsiteY30" fmla="*/ 654610 h 721285"/>
                    <a:gd name="connsiteX31" fmla="*/ 6158 w 2315970"/>
                    <a:gd name="connsiteY31" fmla="*/ 554598 h 721285"/>
                    <a:gd name="connsiteX32" fmla="*/ 1395 w 2315970"/>
                    <a:gd name="connsiteY32" fmla="*/ 540310 h 721285"/>
                    <a:gd name="connsiteX33" fmla="*/ 63308 w 2315970"/>
                    <a:gd name="connsiteY33" fmla="*/ 535548 h 721285"/>
                    <a:gd name="connsiteX34" fmla="*/ 806258 w 2315970"/>
                    <a:gd name="connsiteY34" fmla="*/ 535548 h 721285"/>
                    <a:gd name="connsiteX35" fmla="*/ 1034858 w 2315970"/>
                    <a:gd name="connsiteY35" fmla="*/ 526023 h 721285"/>
                    <a:gd name="connsiteX36" fmla="*/ 1030095 w 2315970"/>
                    <a:gd name="connsiteY36" fmla="*/ 430773 h 721285"/>
                    <a:gd name="connsiteX37" fmla="*/ 1020570 w 2315970"/>
                    <a:gd name="connsiteY37" fmla="*/ 216460 h 721285"/>
                    <a:gd name="connsiteX38" fmla="*/ 1030095 w 2315970"/>
                    <a:gd name="connsiteY38" fmla="*/ 21198 h 721285"/>
                    <a:gd name="connsiteX0" fmla="*/ 1030095 w 2315970"/>
                    <a:gd name="connsiteY0" fmla="*/ 21198 h 721285"/>
                    <a:gd name="connsiteX1" fmla="*/ 1287270 w 2315970"/>
                    <a:gd name="connsiteY1" fmla="*/ 11673 h 721285"/>
                    <a:gd name="connsiteX2" fmla="*/ 1282508 w 2315970"/>
                    <a:gd name="connsiteY2" fmla="*/ 78348 h 721285"/>
                    <a:gd name="connsiteX3" fmla="*/ 1272983 w 2315970"/>
                    <a:gd name="connsiteY3" fmla="*/ 426010 h 721285"/>
                    <a:gd name="connsiteX4" fmla="*/ 1287270 w 2315970"/>
                    <a:gd name="connsiteY4" fmla="*/ 530785 h 721285"/>
                    <a:gd name="connsiteX5" fmla="*/ 1353945 w 2315970"/>
                    <a:gd name="connsiteY5" fmla="*/ 535548 h 721285"/>
                    <a:gd name="connsiteX6" fmla="*/ 1463483 w 2315970"/>
                    <a:gd name="connsiteY6" fmla="*/ 559360 h 721285"/>
                    <a:gd name="connsiteX7" fmla="*/ 1658745 w 2315970"/>
                    <a:gd name="connsiteY7" fmla="*/ 554598 h 721285"/>
                    <a:gd name="connsiteX8" fmla="*/ 1720658 w 2315970"/>
                    <a:gd name="connsiteY8" fmla="*/ 545073 h 721285"/>
                    <a:gd name="connsiteX9" fmla="*/ 1963545 w 2315970"/>
                    <a:gd name="connsiteY9" fmla="*/ 540310 h 721285"/>
                    <a:gd name="connsiteX10" fmla="*/ 2282633 w 2315970"/>
                    <a:gd name="connsiteY10" fmla="*/ 549835 h 721285"/>
                    <a:gd name="connsiteX11" fmla="*/ 2287395 w 2315970"/>
                    <a:gd name="connsiteY11" fmla="*/ 568885 h 721285"/>
                    <a:gd name="connsiteX12" fmla="*/ 2301683 w 2315970"/>
                    <a:gd name="connsiteY12" fmla="*/ 587935 h 721285"/>
                    <a:gd name="connsiteX13" fmla="*/ 2306445 w 2315970"/>
                    <a:gd name="connsiteY13" fmla="*/ 621273 h 721285"/>
                    <a:gd name="connsiteX14" fmla="*/ 2315970 w 2315970"/>
                    <a:gd name="connsiteY14" fmla="*/ 649848 h 721285"/>
                    <a:gd name="connsiteX15" fmla="*/ 2306445 w 2315970"/>
                    <a:gd name="connsiteY15" fmla="*/ 683185 h 721285"/>
                    <a:gd name="connsiteX16" fmla="*/ 2273108 w 2315970"/>
                    <a:gd name="connsiteY16" fmla="*/ 697473 h 721285"/>
                    <a:gd name="connsiteX17" fmla="*/ 1963545 w 2315970"/>
                    <a:gd name="connsiteY17" fmla="*/ 687948 h 721285"/>
                    <a:gd name="connsiteX18" fmla="*/ 1734945 w 2315970"/>
                    <a:gd name="connsiteY18" fmla="*/ 687948 h 721285"/>
                    <a:gd name="connsiteX19" fmla="*/ 1634933 w 2315970"/>
                    <a:gd name="connsiteY19" fmla="*/ 702235 h 721285"/>
                    <a:gd name="connsiteX20" fmla="*/ 1601595 w 2315970"/>
                    <a:gd name="connsiteY20" fmla="*/ 711760 h 721285"/>
                    <a:gd name="connsiteX21" fmla="*/ 1287270 w 2315970"/>
                    <a:gd name="connsiteY21" fmla="*/ 702235 h 721285"/>
                    <a:gd name="connsiteX22" fmla="*/ 1263458 w 2315970"/>
                    <a:gd name="connsiteY22" fmla="*/ 697473 h 721285"/>
                    <a:gd name="connsiteX23" fmla="*/ 430020 w 2315970"/>
                    <a:gd name="connsiteY23" fmla="*/ 706998 h 721285"/>
                    <a:gd name="connsiteX24" fmla="*/ 339533 w 2315970"/>
                    <a:gd name="connsiteY24" fmla="*/ 721285 h 721285"/>
                    <a:gd name="connsiteX25" fmla="*/ 125220 w 2315970"/>
                    <a:gd name="connsiteY25" fmla="*/ 711760 h 721285"/>
                    <a:gd name="connsiteX26" fmla="*/ 77595 w 2315970"/>
                    <a:gd name="connsiteY26" fmla="*/ 702235 h 721285"/>
                    <a:gd name="connsiteX27" fmla="*/ 49020 w 2315970"/>
                    <a:gd name="connsiteY27" fmla="*/ 697473 h 721285"/>
                    <a:gd name="connsiteX28" fmla="*/ 39495 w 2315970"/>
                    <a:gd name="connsiteY28" fmla="*/ 683185 h 721285"/>
                    <a:gd name="connsiteX29" fmla="*/ 15683 w 2315970"/>
                    <a:gd name="connsiteY29" fmla="*/ 654610 h 721285"/>
                    <a:gd name="connsiteX30" fmla="*/ 6158 w 2315970"/>
                    <a:gd name="connsiteY30" fmla="*/ 554598 h 721285"/>
                    <a:gd name="connsiteX31" fmla="*/ 1395 w 2315970"/>
                    <a:gd name="connsiteY31" fmla="*/ 540310 h 721285"/>
                    <a:gd name="connsiteX32" fmla="*/ 63308 w 2315970"/>
                    <a:gd name="connsiteY32" fmla="*/ 535548 h 721285"/>
                    <a:gd name="connsiteX33" fmla="*/ 806258 w 2315970"/>
                    <a:gd name="connsiteY33" fmla="*/ 535548 h 721285"/>
                    <a:gd name="connsiteX34" fmla="*/ 1034858 w 2315970"/>
                    <a:gd name="connsiteY34" fmla="*/ 526023 h 721285"/>
                    <a:gd name="connsiteX35" fmla="*/ 1030095 w 2315970"/>
                    <a:gd name="connsiteY35" fmla="*/ 430773 h 721285"/>
                    <a:gd name="connsiteX36" fmla="*/ 1020570 w 2315970"/>
                    <a:gd name="connsiteY36" fmla="*/ 216460 h 721285"/>
                    <a:gd name="connsiteX37" fmla="*/ 1030095 w 2315970"/>
                    <a:gd name="connsiteY37" fmla="*/ 21198 h 721285"/>
                    <a:gd name="connsiteX0" fmla="*/ 1030095 w 2315970"/>
                    <a:gd name="connsiteY0" fmla="*/ 21198 h 721285"/>
                    <a:gd name="connsiteX1" fmla="*/ 1287270 w 2315970"/>
                    <a:gd name="connsiteY1" fmla="*/ 11673 h 721285"/>
                    <a:gd name="connsiteX2" fmla="*/ 1282508 w 2315970"/>
                    <a:gd name="connsiteY2" fmla="*/ 78348 h 721285"/>
                    <a:gd name="connsiteX3" fmla="*/ 1272983 w 2315970"/>
                    <a:gd name="connsiteY3" fmla="*/ 426010 h 721285"/>
                    <a:gd name="connsiteX4" fmla="*/ 1287270 w 2315970"/>
                    <a:gd name="connsiteY4" fmla="*/ 530785 h 721285"/>
                    <a:gd name="connsiteX5" fmla="*/ 1353945 w 2315970"/>
                    <a:gd name="connsiteY5" fmla="*/ 535548 h 721285"/>
                    <a:gd name="connsiteX6" fmla="*/ 1658745 w 2315970"/>
                    <a:gd name="connsiteY6" fmla="*/ 554598 h 721285"/>
                    <a:gd name="connsiteX7" fmla="*/ 1720658 w 2315970"/>
                    <a:gd name="connsiteY7" fmla="*/ 545073 h 721285"/>
                    <a:gd name="connsiteX8" fmla="*/ 1963545 w 2315970"/>
                    <a:gd name="connsiteY8" fmla="*/ 540310 h 721285"/>
                    <a:gd name="connsiteX9" fmla="*/ 2282633 w 2315970"/>
                    <a:gd name="connsiteY9" fmla="*/ 549835 h 721285"/>
                    <a:gd name="connsiteX10" fmla="*/ 2287395 w 2315970"/>
                    <a:gd name="connsiteY10" fmla="*/ 568885 h 721285"/>
                    <a:gd name="connsiteX11" fmla="*/ 2301683 w 2315970"/>
                    <a:gd name="connsiteY11" fmla="*/ 587935 h 721285"/>
                    <a:gd name="connsiteX12" fmla="*/ 2306445 w 2315970"/>
                    <a:gd name="connsiteY12" fmla="*/ 621273 h 721285"/>
                    <a:gd name="connsiteX13" fmla="*/ 2315970 w 2315970"/>
                    <a:gd name="connsiteY13" fmla="*/ 649848 h 721285"/>
                    <a:gd name="connsiteX14" fmla="*/ 2306445 w 2315970"/>
                    <a:gd name="connsiteY14" fmla="*/ 683185 h 721285"/>
                    <a:gd name="connsiteX15" fmla="*/ 2273108 w 2315970"/>
                    <a:gd name="connsiteY15" fmla="*/ 697473 h 721285"/>
                    <a:gd name="connsiteX16" fmla="*/ 1963545 w 2315970"/>
                    <a:gd name="connsiteY16" fmla="*/ 687948 h 721285"/>
                    <a:gd name="connsiteX17" fmla="*/ 1734945 w 2315970"/>
                    <a:gd name="connsiteY17" fmla="*/ 687948 h 721285"/>
                    <a:gd name="connsiteX18" fmla="*/ 1634933 w 2315970"/>
                    <a:gd name="connsiteY18" fmla="*/ 702235 h 721285"/>
                    <a:gd name="connsiteX19" fmla="*/ 1601595 w 2315970"/>
                    <a:gd name="connsiteY19" fmla="*/ 711760 h 721285"/>
                    <a:gd name="connsiteX20" fmla="*/ 1287270 w 2315970"/>
                    <a:gd name="connsiteY20" fmla="*/ 702235 h 721285"/>
                    <a:gd name="connsiteX21" fmla="*/ 1263458 w 2315970"/>
                    <a:gd name="connsiteY21" fmla="*/ 697473 h 721285"/>
                    <a:gd name="connsiteX22" fmla="*/ 430020 w 2315970"/>
                    <a:gd name="connsiteY22" fmla="*/ 706998 h 721285"/>
                    <a:gd name="connsiteX23" fmla="*/ 339533 w 2315970"/>
                    <a:gd name="connsiteY23" fmla="*/ 721285 h 721285"/>
                    <a:gd name="connsiteX24" fmla="*/ 125220 w 2315970"/>
                    <a:gd name="connsiteY24" fmla="*/ 711760 h 721285"/>
                    <a:gd name="connsiteX25" fmla="*/ 77595 w 2315970"/>
                    <a:gd name="connsiteY25" fmla="*/ 702235 h 721285"/>
                    <a:gd name="connsiteX26" fmla="*/ 49020 w 2315970"/>
                    <a:gd name="connsiteY26" fmla="*/ 697473 h 721285"/>
                    <a:gd name="connsiteX27" fmla="*/ 39495 w 2315970"/>
                    <a:gd name="connsiteY27" fmla="*/ 683185 h 721285"/>
                    <a:gd name="connsiteX28" fmla="*/ 15683 w 2315970"/>
                    <a:gd name="connsiteY28" fmla="*/ 654610 h 721285"/>
                    <a:gd name="connsiteX29" fmla="*/ 6158 w 2315970"/>
                    <a:gd name="connsiteY29" fmla="*/ 554598 h 721285"/>
                    <a:gd name="connsiteX30" fmla="*/ 1395 w 2315970"/>
                    <a:gd name="connsiteY30" fmla="*/ 540310 h 721285"/>
                    <a:gd name="connsiteX31" fmla="*/ 63308 w 2315970"/>
                    <a:gd name="connsiteY31" fmla="*/ 535548 h 721285"/>
                    <a:gd name="connsiteX32" fmla="*/ 806258 w 2315970"/>
                    <a:gd name="connsiteY32" fmla="*/ 535548 h 721285"/>
                    <a:gd name="connsiteX33" fmla="*/ 1034858 w 2315970"/>
                    <a:gd name="connsiteY33" fmla="*/ 526023 h 721285"/>
                    <a:gd name="connsiteX34" fmla="*/ 1030095 w 2315970"/>
                    <a:gd name="connsiteY34" fmla="*/ 430773 h 721285"/>
                    <a:gd name="connsiteX35" fmla="*/ 1020570 w 2315970"/>
                    <a:gd name="connsiteY35" fmla="*/ 216460 h 721285"/>
                    <a:gd name="connsiteX36" fmla="*/ 1030095 w 2315970"/>
                    <a:gd name="connsiteY36" fmla="*/ 21198 h 721285"/>
                    <a:gd name="connsiteX0" fmla="*/ 1030095 w 2315970"/>
                    <a:gd name="connsiteY0" fmla="*/ 21198 h 721285"/>
                    <a:gd name="connsiteX1" fmla="*/ 1287270 w 2315970"/>
                    <a:gd name="connsiteY1" fmla="*/ 11673 h 721285"/>
                    <a:gd name="connsiteX2" fmla="*/ 1282508 w 2315970"/>
                    <a:gd name="connsiteY2" fmla="*/ 78348 h 721285"/>
                    <a:gd name="connsiteX3" fmla="*/ 1272983 w 2315970"/>
                    <a:gd name="connsiteY3" fmla="*/ 426010 h 721285"/>
                    <a:gd name="connsiteX4" fmla="*/ 1287270 w 2315970"/>
                    <a:gd name="connsiteY4" fmla="*/ 530785 h 721285"/>
                    <a:gd name="connsiteX5" fmla="*/ 1353945 w 2315970"/>
                    <a:gd name="connsiteY5" fmla="*/ 535548 h 721285"/>
                    <a:gd name="connsiteX6" fmla="*/ 1720658 w 2315970"/>
                    <a:gd name="connsiteY6" fmla="*/ 545073 h 721285"/>
                    <a:gd name="connsiteX7" fmla="*/ 1963545 w 2315970"/>
                    <a:gd name="connsiteY7" fmla="*/ 540310 h 721285"/>
                    <a:gd name="connsiteX8" fmla="*/ 2282633 w 2315970"/>
                    <a:gd name="connsiteY8" fmla="*/ 549835 h 721285"/>
                    <a:gd name="connsiteX9" fmla="*/ 2287395 w 2315970"/>
                    <a:gd name="connsiteY9" fmla="*/ 568885 h 721285"/>
                    <a:gd name="connsiteX10" fmla="*/ 2301683 w 2315970"/>
                    <a:gd name="connsiteY10" fmla="*/ 587935 h 721285"/>
                    <a:gd name="connsiteX11" fmla="*/ 2306445 w 2315970"/>
                    <a:gd name="connsiteY11" fmla="*/ 621273 h 721285"/>
                    <a:gd name="connsiteX12" fmla="*/ 2315970 w 2315970"/>
                    <a:gd name="connsiteY12" fmla="*/ 649848 h 721285"/>
                    <a:gd name="connsiteX13" fmla="*/ 2306445 w 2315970"/>
                    <a:gd name="connsiteY13" fmla="*/ 683185 h 721285"/>
                    <a:gd name="connsiteX14" fmla="*/ 2273108 w 2315970"/>
                    <a:gd name="connsiteY14" fmla="*/ 697473 h 721285"/>
                    <a:gd name="connsiteX15" fmla="*/ 1963545 w 2315970"/>
                    <a:gd name="connsiteY15" fmla="*/ 687948 h 721285"/>
                    <a:gd name="connsiteX16" fmla="*/ 1734945 w 2315970"/>
                    <a:gd name="connsiteY16" fmla="*/ 687948 h 721285"/>
                    <a:gd name="connsiteX17" fmla="*/ 1634933 w 2315970"/>
                    <a:gd name="connsiteY17" fmla="*/ 702235 h 721285"/>
                    <a:gd name="connsiteX18" fmla="*/ 1601595 w 2315970"/>
                    <a:gd name="connsiteY18" fmla="*/ 711760 h 721285"/>
                    <a:gd name="connsiteX19" fmla="*/ 1287270 w 2315970"/>
                    <a:gd name="connsiteY19" fmla="*/ 702235 h 721285"/>
                    <a:gd name="connsiteX20" fmla="*/ 1263458 w 2315970"/>
                    <a:gd name="connsiteY20" fmla="*/ 697473 h 721285"/>
                    <a:gd name="connsiteX21" fmla="*/ 430020 w 2315970"/>
                    <a:gd name="connsiteY21" fmla="*/ 706998 h 721285"/>
                    <a:gd name="connsiteX22" fmla="*/ 339533 w 2315970"/>
                    <a:gd name="connsiteY22" fmla="*/ 721285 h 721285"/>
                    <a:gd name="connsiteX23" fmla="*/ 125220 w 2315970"/>
                    <a:gd name="connsiteY23" fmla="*/ 711760 h 721285"/>
                    <a:gd name="connsiteX24" fmla="*/ 77595 w 2315970"/>
                    <a:gd name="connsiteY24" fmla="*/ 702235 h 721285"/>
                    <a:gd name="connsiteX25" fmla="*/ 49020 w 2315970"/>
                    <a:gd name="connsiteY25" fmla="*/ 697473 h 721285"/>
                    <a:gd name="connsiteX26" fmla="*/ 39495 w 2315970"/>
                    <a:gd name="connsiteY26" fmla="*/ 683185 h 721285"/>
                    <a:gd name="connsiteX27" fmla="*/ 15683 w 2315970"/>
                    <a:gd name="connsiteY27" fmla="*/ 654610 h 721285"/>
                    <a:gd name="connsiteX28" fmla="*/ 6158 w 2315970"/>
                    <a:gd name="connsiteY28" fmla="*/ 554598 h 721285"/>
                    <a:gd name="connsiteX29" fmla="*/ 1395 w 2315970"/>
                    <a:gd name="connsiteY29" fmla="*/ 540310 h 721285"/>
                    <a:gd name="connsiteX30" fmla="*/ 63308 w 2315970"/>
                    <a:gd name="connsiteY30" fmla="*/ 535548 h 721285"/>
                    <a:gd name="connsiteX31" fmla="*/ 806258 w 2315970"/>
                    <a:gd name="connsiteY31" fmla="*/ 535548 h 721285"/>
                    <a:gd name="connsiteX32" fmla="*/ 1034858 w 2315970"/>
                    <a:gd name="connsiteY32" fmla="*/ 526023 h 721285"/>
                    <a:gd name="connsiteX33" fmla="*/ 1030095 w 2315970"/>
                    <a:gd name="connsiteY33" fmla="*/ 430773 h 721285"/>
                    <a:gd name="connsiteX34" fmla="*/ 1020570 w 2315970"/>
                    <a:gd name="connsiteY34" fmla="*/ 216460 h 721285"/>
                    <a:gd name="connsiteX35" fmla="*/ 1030095 w 2315970"/>
                    <a:gd name="connsiteY35" fmla="*/ 21198 h 721285"/>
                    <a:gd name="connsiteX0" fmla="*/ 1030095 w 2316107"/>
                    <a:gd name="connsiteY0" fmla="*/ 21198 h 721285"/>
                    <a:gd name="connsiteX1" fmla="*/ 1287270 w 2316107"/>
                    <a:gd name="connsiteY1" fmla="*/ 11673 h 721285"/>
                    <a:gd name="connsiteX2" fmla="*/ 1282508 w 2316107"/>
                    <a:gd name="connsiteY2" fmla="*/ 78348 h 721285"/>
                    <a:gd name="connsiteX3" fmla="*/ 1272983 w 2316107"/>
                    <a:gd name="connsiteY3" fmla="*/ 426010 h 721285"/>
                    <a:gd name="connsiteX4" fmla="*/ 1287270 w 2316107"/>
                    <a:gd name="connsiteY4" fmla="*/ 530785 h 721285"/>
                    <a:gd name="connsiteX5" fmla="*/ 1353945 w 2316107"/>
                    <a:gd name="connsiteY5" fmla="*/ 535548 h 721285"/>
                    <a:gd name="connsiteX6" fmla="*/ 1720658 w 2316107"/>
                    <a:gd name="connsiteY6" fmla="*/ 545073 h 721285"/>
                    <a:gd name="connsiteX7" fmla="*/ 1963545 w 2316107"/>
                    <a:gd name="connsiteY7" fmla="*/ 540310 h 721285"/>
                    <a:gd name="connsiteX8" fmla="*/ 2282633 w 2316107"/>
                    <a:gd name="connsiteY8" fmla="*/ 549835 h 721285"/>
                    <a:gd name="connsiteX9" fmla="*/ 2287395 w 2316107"/>
                    <a:gd name="connsiteY9" fmla="*/ 568885 h 721285"/>
                    <a:gd name="connsiteX10" fmla="*/ 2301683 w 2316107"/>
                    <a:gd name="connsiteY10" fmla="*/ 587935 h 721285"/>
                    <a:gd name="connsiteX11" fmla="*/ 2315970 w 2316107"/>
                    <a:gd name="connsiteY11" fmla="*/ 649848 h 721285"/>
                    <a:gd name="connsiteX12" fmla="*/ 2306445 w 2316107"/>
                    <a:gd name="connsiteY12" fmla="*/ 683185 h 721285"/>
                    <a:gd name="connsiteX13" fmla="*/ 2273108 w 2316107"/>
                    <a:gd name="connsiteY13" fmla="*/ 697473 h 721285"/>
                    <a:gd name="connsiteX14" fmla="*/ 1963545 w 2316107"/>
                    <a:gd name="connsiteY14" fmla="*/ 687948 h 721285"/>
                    <a:gd name="connsiteX15" fmla="*/ 1734945 w 2316107"/>
                    <a:gd name="connsiteY15" fmla="*/ 687948 h 721285"/>
                    <a:gd name="connsiteX16" fmla="*/ 1634933 w 2316107"/>
                    <a:gd name="connsiteY16" fmla="*/ 702235 h 721285"/>
                    <a:gd name="connsiteX17" fmla="*/ 1601595 w 2316107"/>
                    <a:gd name="connsiteY17" fmla="*/ 711760 h 721285"/>
                    <a:gd name="connsiteX18" fmla="*/ 1287270 w 2316107"/>
                    <a:gd name="connsiteY18" fmla="*/ 702235 h 721285"/>
                    <a:gd name="connsiteX19" fmla="*/ 1263458 w 2316107"/>
                    <a:gd name="connsiteY19" fmla="*/ 697473 h 721285"/>
                    <a:gd name="connsiteX20" fmla="*/ 430020 w 2316107"/>
                    <a:gd name="connsiteY20" fmla="*/ 706998 h 721285"/>
                    <a:gd name="connsiteX21" fmla="*/ 339533 w 2316107"/>
                    <a:gd name="connsiteY21" fmla="*/ 721285 h 721285"/>
                    <a:gd name="connsiteX22" fmla="*/ 125220 w 2316107"/>
                    <a:gd name="connsiteY22" fmla="*/ 711760 h 721285"/>
                    <a:gd name="connsiteX23" fmla="*/ 77595 w 2316107"/>
                    <a:gd name="connsiteY23" fmla="*/ 702235 h 721285"/>
                    <a:gd name="connsiteX24" fmla="*/ 49020 w 2316107"/>
                    <a:gd name="connsiteY24" fmla="*/ 697473 h 721285"/>
                    <a:gd name="connsiteX25" fmla="*/ 39495 w 2316107"/>
                    <a:gd name="connsiteY25" fmla="*/ 683185 h 721285"/>
                    <a:gd name="connsiteX26" fmla="*/ 15683 w 2316107"/>
                    <a:gd name="connsiteY26" fmla="*/ 654610 h 721285"/>
                    <a:gd name="connsiteX27" fmla="*/ 6158 w 2316107"/>
                    <a:gd name="connsiteY27" fmla="*/ 554598 h 721285"/>
                    <a:gd name="connsiteX28" fmla="*/ 1395 w 2316107"/>
                    <a:gd name="connsiteY28" fmla="*/ 540310 h 721285"/>
                    <a:gd name="connsiteX29" fmla="*/ 63308 w 2316107"/>
                    <a:gd name="connsiteY29" fmla="*/ 535548 h 721285"/>
                    <a:gd name="connsiteX30" fmla="*/ 806258 w 2316107"/>
                    <a:gd name="connsiteY30" fmla="*/ 535548 h 721285"/>
                    <a:gd name="connsiteX31" fmla="*/ 1034858 w 2316107"/>
                    <a:gd name="connsiteY31" fmla="*/ 526023 h 721285"/>
                    <a:gd name="connsiteX32" fmla="*/ 1030095 w 2316107"/>
                    <a:gd name="connsiteY32" fmla="*/ 430773 h 721285"/>
                    <a:gd name="connsiteX33" fmla="*/ 1020570 w 2316107"/>
                    <a:gd name="connsiteY33" fmla="*/ 216460 h 721285"/>
                    <a:gd name="connsiteX34" fmla="*/ 1030095 w 2316107"/>
                    <a:gd name="connsiteY34" fmla="*/ 21198 h 721285"/>
                    <a:gd name="connsiteX0" fmla="*/ 1030095 w 2308157"/>
                    <a:gd name="connsiteY0" fmla="*/ 21198 h 721285"/>
                    <a:gd name="connsiteX1" fmla="*/ 1287270 w 2308157"/>
                    <a:gd name="connsiteY1" fmla="*/ 11673 h 721285"/>
                    <a:gd name="connsiteX2" fmla="*/ 1282508 w 2308157"/>
                    <a:gd name="connsiteY2" fmla="*/ 78348 h 721285"/>
                    <a:gd name="connsiteX3" fmla="*/ 1272983 w 2308157"/>
                    <a:gd name="connsiteY3" fmla="*/ 426010 h 721285"/>
                    <a:gd name="connsiteX4" fmla="*/ 1287270 w 2308157"/>
                    <a:gd name="connsiteY4" fmla="*/ 530785 h 721285"/>
                    <a:gd name="connsiteX5" fmla="*/ 1353945 w 2308157"/>
                    <a:gd name="connsiteY5" fmla="*/ 535548 h 721285"/>
                    <a:gd name="connsiteX6" fmla="*/ 1720658 w 2308157"/>
                    <a:gd name="connsiteY6" fmla="*/ 545073 h 721285"/>
                    <a:gd name="connsiteX7" fmla="*/ 1963545 w 2308157"/>
                    <a:gd name="connsiteY7" fmla="*/ 540310 h 721285"/>
                    <a:gd name="connsiteX8" fmla="*/ 2282633 w 2308157"/>
                    <a:gd name="connsiteY8" fmla="*/ 549835 h 721285"/>
                    <a:gd name="connsiteX9" fmla="*/ 2287395 w 2308157"/>
                    <a:gd name="connsiteY9" fmla="*/ 568885 h 721285"/>
                    <a:gd name="connsiteX10" fmla="*/ 2301683 w 2308157"/>
                    <a:gd name="connsiteY10" fmla="*/ 587935 h 721285"/>
                    <a:gd name="connsiteX11" fmla="*/ 2306445 w 2308157"/>
                    <a:gd name="connsiteY11" fmla="*/ 683185 h 721285"/>
                    <a:gd name="connsiteX12" fmla="*/ 2273108 w 2308157"/>
                    <a:gd name="connsiteY12" fmla="*/ 697473 h 721285"/>
                    <a:gd name="connsiteX13" fmla="*/ 1963545 w 2308157"/>
                    <a:gd name="connsiteY13" fmla="*/ 687948 h 721285"/>
                    <a:gd name="connsiteX14" fmla="*/ 1734945 w 2308157"/>
                    <a:gd name="connsiteY14" fmla="*/ 687948 h 721285"/>
                    <a:gd name="connsiteX15" fmla="*/ 1634933 w 2308157"/>
                    <a:gd name="connsiteY15" fmla="*/ 702235 h 721285"/>
                    <a:gd name="connsiteX16" fmla="*/ 1601595 w 2308157"/>
                    <a:gd name="connsiteY16" fmla="*/ 711760 h 721285"/>
                    <a:gd name="connsiteX17" fmla="*/ 1287270 w 2308157"/>
                    <a:gd name="connsiteY17" fmla="*/ 702235 h 721285"/>
                    <a:gd name="connsiteX18" fmla="*/ 1263458 w 2308157"/>
                    <a:gd name="connsiteY18" fmla="*/ 697473 h 721285"/>
                    <a:gd name="connsiteX19" fmla="*/ 430020 w 2308157"/>
                    <a:gd name="connsiteY19" fmla="*/ 706998 h 721285"/>
                    <a:gd name="connsiteX20" fmla="*/ 339533 w 2308157"/>
                    <a:gd name="connsiteY20" fmla="*/ 721285 h 721285"/>
                    <a:gd name="connsiteX21" fmla="*/ 125220 w 2308157"/>
                    <a:gd name="connsiteY21" fmla="*/ 711760 h 721285"/>
                    <a:gd name="connsiteX22" fmla="*/ 77595 w 2308157"/>
                    <a:gd name="connsiteY22" fmla="*/ 702235 h 721285"/>
                    <a:gd name="connsiteX23" fmla="*/ 49020 w 2308157"/>
                    <a:gd name="connsiteY23" fmla="*/ 697473 h 721285"/>
                    <a:gd name="connsiteX24" fmla="*/ 39495 w 2308157"/>
                    <a:gd name="connsiteY24" fmla="*/ 683185 h 721285"/>
                    <a:gd name="connsiteX25" fmla="*/ 15683 w 2308157"/>
                    <a:gd name="connsiteY25" fmla="*/ 654610 h 721285"/>
                    <a:gd name="connsiteX26" fmla="*/ 6158 w 2308157"/>
                    <a:gd name="connsiteY26" fmla="*/ 554598 h 721285"/>
                    <a:gd name="connsiteX27" fmla="*/ 1395 w 2308157"/>
                    <a:gd name="connsiteY27" fmla="*/ 540310 h 721285"/>
                    <a:gd name="connsiteX28" fmla="*/ 63308 w 2308157"/>
                    <a:gd name="connsiteY28" fmla="*/ 535548 h 721285"/>
                    <a:gd name="connsiteX29" fmla="*/ 806258 w 2308157"/>
                    <a:gd name="connsiteY29" fmla="*/ 535548 h 721285"/>
                    <a:gd name="connsiteX30" fmla="*/ 1034858 w 2308157"/>
                    <a:gd name="connsiteY30" fmla="*/ 526023 h 721285"/>
                    <a:gd name="connsiteX31" fmla="*/ 1030095 w 2308157"/>
                    <a:gd name="connsiteY31" fmla="*/ 430773 h 721285"/>
                    <a:gd name="connsiteX32" fmla="*/ 1020570 w 2308157"/>
                    <a:gd name="connsiteY32" fmla="*/ 216460 h 721285"/>
                    <a:gd name="connsiteX33" fmla="*/ 1030095 w 2308157"/>
                    <a:gd name="connsiteY33" fmla="*/ 21198 h 721285"/>
                    <a:gd name="connsiteX0" fmla="*/ 1030095 w 2306667"/>
                    <a:gd name="connsiteY0" fmla="*/ 21198 h 721285"/>
                    <a:gd name="connsiteX1" fmla="*/ 1287270 w 2306667"/>
                    <a:gd name="connsiteY1" fmla="*/ 11673 h 721285"/>
                    <a:gd name="connsiteX2" fmla="*/ 1282508 w 2306667"/>
                    <a:gd name="connsiteY2" fmla="*/ 78348 h 721285"/>
                    <a:gd name="connsiteX3" fmla="*/ 1272983 w 2306667"/>
                    <a:gd name="connsiteY3" fmla="*/ 426010 h 721285"/>
                    <a:gd name="connsiteX4" fmla="*/ 1287270 w 2306667"/>
                    <a:gd name="connsiteY4" fmla="*/ 530785 h 721285"/>
                    <a:gd name="connsiteX5" fmla="*/ 1353945 w 2306667"/>
                    <a:gd name="connsiteY5" fmla="*/ 535548 h 721285"/>
                    <a:gd name="connsiteX6" fmla="*/ 1720658 w 2306667"/>
                    <a:gd name="connsiteY6" fmla="*/ 545073 h 721285"/>
                    <a:gd name="connsiteX7" fmla="*/ 1963545 w 2306667"/>
                    <a:gd name="connsiteY7" fmla="*/ 540310 h 721285"/>
                    <a:gd name="connsiteX8" fmla="*/ 2282633 w 2306667"/>
                    <a:gd name="connsiteY8" fmla="*/ 549835 h 721285"/>
                    <a:gd name="connsiteX9" fmla="*/ 2287395 w 2306667"/>
                    <a:gd name="connsiteY9" fmla="*/ 568885 h 721285"/>
                    <a:gd name="connsiteX10" fmla="*/ 2306445 w 2306667"/>
                    <a:gd name="connsiteY10" fmla="*/ 683185 h 721285"/>
                    <a:gd name="connsiteX11" fmla="*/ 2273108 w 2306667"/>
                    <a:gd name="connsiteY11" fmla="*/ 697473 h 721285"/>
                    <a:gd name="connsiteX12" fmla="*/ 1963545 w 2306667"/>
                    <a:gd name="connsiteY12" fmla="*/ 687948 h 721285"/>
                    <a:gd name="connsiteX13" fmla="*/ 1734945 w 2306667"/>
                    <a:gd name="connsiteY13" fmla="*/ 687948 h 721285"/>
                    <a:gd name="connsiteX14" fmla="*/ 1634933 w 2306667"/>
                    <a:gd name="connsiteY14" fmla="*/ 702235 h 721285"/>
                    <a:gd name="connsiteX15" fmla="*/ 1601595 w 2306667"/>
                    <a:gd name="connsiteY15" fmla="*/ 711760 h 721285"/>
                    <a:gd name="connsiteX16" fmla="*/ 1287270 w 2306667"/>
                    <a:gd name="connsiteY16" fmla="*/ 702235 h 721285"/>
                    <a:gd name="connsiteX17" fmla="*/ 1263458 w 2306667"/>
                    <a:gd name="connsiteY17" fmla="*/ 697473 h 721285"/>
                    <a:gd name="connsiteX18" fmla="*/ 430020 w 2306667"/>
                    <a:gd name="connsiteY18" fmla="*/ 706998 h 721285"/>
                    <a:gd name="connsiteX19" fmla="*/ 339533 w 2306667"/>
                    <a:gd name="connsiteY19" fmla="*/ 721285 h 721285"/>
                    <a:gd name="connsiteX20" fmla="*/ 125220 w 2306667"/>
                    <a:gd name="connsiteY20" fmla="*/ 711760 h 721285"/>
                    <a:gd name="connsiteX21" fmla="*/ 77595 w 2306667"/>
                    <a:gd name="connsiteY21" fmla="*/ 702235 h 721285"/>
                    <a:gd name="connsiteX22" fmla="*/ 49020 w 2306667"/>
                    <a:gd name="connsiteY22" fmla="*/ 697473 h 721285"/>
                    <a:gd name="connsiteX23" fmla="*/ 39495 w 2306667"/>
                    <a:gd name="connsiteY23" fmla="*/ 683185 h 721285"/>
                    <a:gd name="connsiteX24" fmla="*/ 15683 w 2306667"/>
                    <a:gd name="connsiteY24" fmla="*/ 654610 h 721285"/>
                    <a:gd name="connsiteX25" fmla="*/ 6158 w 2306667"/>
                    <a:gd name="connsiteY25" fmla="*/ 554598 h 721285"/>
                    <a:gd name="connsiteX26" fmla="*/ 1395 w 2306667"/>
                    <a:gd name="connsiteY26" fmla="*/ 540310 h 721285"/>
                    <a:gd name="connsiteX27" fmla="*/ 63308 w 2306667"/>
                    <a:gd name="connsiteY27" fmla="*/ 535548 h 721285"/>
                    <a:gd name="connsiteX28" fmla="*/ 806258 w 2306667"/>
                    <a:gd name="connsiteY28" fmla="*/ 535548 h 721285"/>
                    <a:gd name="connsiteX29" fmla="*/ 1034858 w 2306667"/>
                    <a:gd name="connsiteY29" fmla="*/ 526023 h 721285"/>
                    <a:gd name="connsiteX30" fmla="*/ 1030095 w 2306667"/>
                    <a:gd name="connsiteY30" fmla="*/ 430773 h 721285"/>
                    <a:gd name="connsiteX31" fmla="*/ 1020570 w 2306667"/>
                    <a:gd name="connsiteY31" fmla="*/ 216460 h 721285"/>
                    <a:gd name="connsiteX32" fmla="*/ 1030095 w 2306667"/>
                    <a:gd name="connsiteY32" fmla="*/ 21198 h 721285"/>
                    <a:gd name="connsiteX0" fmla="*/ 1030095 w 2316661"/>
                    <a:gd name="connsiteY0" fmla="*/ 21198 h 721285"/>
                    <a:gd name="connsiteX1" fmla="*/ 1287270 w 2316661"/>
                    <a:gd name="connsiteY1" fmla="*/ 11673 h 721285"/>
                    <a:gd name="connsiteX2" fmla="*/ 1282508 w 2316661"/>
                    <a:gd name="connsiteY2" fmla="*/ 78348 h 721285"/>
                    <a:gd name="connsiteX3" fmla="*/ 1272983 w 2316661"/>
                    <a:gd name="connsiteY3" fmla="*/ 426010 h 721285"/>
                    <a:gd name="connsiteX4" fmla="*/ 1287270 w 2316661"/>
                    <a:gd name="connsiteY4" fmla="*/ 530785 h 721285"/>
                    <a:gd name="connsiteX5" fmla="*/ 1353945 w 2316661"/>
                    <a:gd name="connsiteY5" fmla="*/ 535548 h 721285"/>
                    <a:gd name="connsiteX6" fmla="*/ 1720658 w 2316661"/>
                    <a:gd name="connsiteY6" fmla="*/ 545073 h 721285"/>
                    <a:gd name="connsiteX7" fmla="*/ 1963545 w 2316661"/>
                    <a:gd name="connsiteY7" fmla="*/ 540310 h 721285"/>
                    <a:gd name="connsiteX8" fmla="*/ 2282633 w 2316661"/>
                    <a:gd name="connsiteY8" fmla="*/ 549835 h 721285"/>
                    <a:gd name="connsiteX9" fmla="*/ 2306445 w 2316661"/>
                    <a:gd name="connsiteY9" fmla="*/ 683185 h 721285"/>
                    <a:gd name="connsiteX10" fmla="*/ 2273108 w 2316661"/>
                    <a:gd name="connsiteY10" fmla="*/ 697473 h 721285"/>
                    <a:gd name="connsiteX11" fmla="*/ 1963545 w 2316661"/>
                    <a:gd name="connsiteY11" fmla="*/ 687948 h 721285"/>
                    <a:gd name="connsiteX12" fmla="*/ 1734945 w 2316661"/>
                    <a:gd name="connsiteY12" fmla="*/ 687948 h 721285"/>
                    <a:gd name="connsiteX13" fmla="*/ 1634933 w 2316661"/>
                    <a:gd name="connsiteY13" fmla="*/ 702235 h 721285"/>
                    <a:gd name="connsiteX14" fmla="*/ 1601595 w 2316661"/>
                    <a:gd name="connsiteY14" fmla="*/ 711760 h 721285"/>
                    <a:gd name="connsiteX15" fmla="*/ 1287270 w 2316661"/>
                    <a:gd name="connsiteY15" fmla="*/ 702235 h 721285"/>
                    <a:gd name="connsiteX16" fmla="*/ 1263458 w 2316661"/>
                    <a:gd name="connsiteY16" fmla="*/ 697473 h 721285"/>
                    <a:gd name="connsiteX17" fmla="*/ 430020 w 2316661"/>
                    <a:gd name="connsiteY17" fmla="*/ 706998 h 721285"/>
                    <a:gd name="connsiteX18" fmla="*/ 339533 w 2316661"/>
                    <a:gd name="connsiteY18" fmla="*/ 721285 h 721285"/>
                    <a:gd name="connsiteX19" fmla="*/ 125220 w 2316661"/>
                    <a:gd name="connsiteY19" fmla="*/ 711760 h 721285"/>
                    <a:gd name="connsiteX20" fmla="*/ 77595 w 2316661"/>
                    <a:gd name="connsiteY20" fmla="*/ 702235 h 721285"/>
                    <a:gd name="connsiteX21" fmla="*/ 49020 w 2316661"/>
                    <a:gd name="connsiteY21" fmla="*/ 697473 h 721285"/>
                    <a:gd name="connsiteX22" fmla="*/ 39495 w 2316661"/>
                    <a:gd name="connsiteY22" fmla="*/ 683185 h 721285"/>
                    <a:gd name="connsiteX23" fmla="*/ 15683 w 2316661"/>
                    <a:gd name="connsiteY23" fmla="*/ 654610 h 721285"/>
                    <a:gd name="connsiteX24" fmla="*/ 6158 w 2316661"/>
                    <a:gd name="connsiteY24" fmla="*/ 554598 h 721285"/>
                    <a:gd name="connsiteX25" fmla="*/ 1395 w 2316661"/>
                    <a:gd name="connsiteY25" fmla="*/ 540310 h 721285"/>
                    <a:gd name="connsiteX26" fmla="*/ 63308 w 2316661"/>
                    <a:gd name="connsiteY26" fmla="*/ 535548 h 721285"/>
                    <a:gd name="connsiteX27" fmla="*/ 806258 w 2316661"/>
                    <a:gd name="connsiteY27" fmla="*/ 535548 h 721285"/>
                    <a:gd name="connsiteX28" fmla="*/ 1034858 w 2316661"/>
                    <a:gd name="connsiteY28" fmla="*/ 526023 h 721285"/>
                    <a:gd name="connsiteX29" fmla="*/ 1030095 w 2316661"/>
                    <a:gd name="connsiteY29" fmla="*/ 430773 h 721285"/>
                    <a:gd name="connsiteX30" fmla="*/ 1020570 w 2316661"/>
                    <a:gd name="connsiteY30" fmla="*/ 216460 h 721285"/>
                    <a:gd name="connsiteX31" fmla="*/ 1030095 w 2316661"/>
                    <a:gd name="connsiteY31" fmla="*/ 21198 h 721285"/>
                    <a:gd name="connsiteX0" fmla="*/ 1030095 w 2325718"/>
                    <a:gd name="connsiteY0" fmla="*/ 21198 h 721285"/>
                    <a:gd name="connsiteX1" fmla="*/ 1287270 w 2325718"/>
                    <a:gd name="connsiteY1" fmla="*/ 11673 h 721285"/>
                    <a:gd name="connsiteX2" fmla="*/ 1282508 w 2325718"/>
                    <a:gd name="connsiteY2" fmla="*/ 78348 h 721285"/>
                    <a:gd name="connsiteX3" fmla="*/ 1272983 w 2325718"/>
                    <a:gd name="connsiteY3" fmla="*/ 426010 h 721285"/>
                    <a:gd name="connsiteX4" fmla="*/ 1287270 w 2325718"/>
                    <a:gd name="connsiteY4" fmla="*/ 530785 h 721285"/>
                    <a:gd name="connsiteX5" fmla="*/ 1353945 w 2325718"/>
                    <a:gd name="connsiteY5" fmla="*/ 535548 h 721285"/>
                    <a:gd name="connsiteX6" fmla="*/ 1720658 w 2325718"/>
                    <a:gd name="connsiteY6" fmla="*/ 545073 h 721285"/>
                    <a:gd name="connsiteX7" fmla="*/ 1963545 w 2325718"/>
                    <a:gd name="connsiteY7" fmla="*/ 540310 h 721285"/>
                    <a:gd name="connsiteX8" fmla="*/ 2282633 w 2325718"/>
                    <a:gd name="connsiteY8" fmla="*/ 549835 h 721285"/>
                    <a:gd name="connsiteX9" fmla="*/ 2306445 w 2325718"/>
                    <a:gd name="connsiteY9" fmla="*/ 683185 h 721285"/>
                    <a:gd name="connsiteX10" fmla="*/ 2273108 w 2325718"/>
                    <a:gd name="connsiteY10" fmla="*/ 697473 h 721285"/>
                    <a:gd name="connsiteX11" fmla="*/ 1734945 w 2325718"/>
                    <a:gd name="connsiteY11" fmla="*/ 687948 h 721285"/>
                    <a:gd name="connsiteX12" fmla="*/ 1634933 w 2325718"/>
                    <a:gd name="connsiteY12" fmla="*/ 702235 h 721285"/>
                    <a:gd name="connsiteX13" fmla="*/ 1601595 w 2325718"/>
                    <a:gd name="connsiteY13" fmla="*/ 711760 h 721285"/>
                    <a:gd name="connsiteX14" fmla="*/ 1287270 w 2325718"/>
                    <a:gd name="connsiteY14" fmla="*/ 702235 h 721285"/>
                    <a:gd name="connsiteX15" fmla="*/ 1263458 w 2325718"/>
                    <a:gd name="connsiteY15" fmla="*/ 697473 h 721285"/>
                    <a:gd name="connsiteX16" fmla="*/ 430020 w 2325718"/>
                    <a:gd name="connsiteY16" fmla="*/ 706998 h 721285"/>
                    <a:gd name="connsiteX17" fmla="*/ 339533 w 2325718"/>
                    <a:gd name="connsiteY17" fmla="*/ 721285 h 721285"/>
                    <a:gd name="connsiteX18" fmla="*/ 125220 w 2325718"/>
                    <a:gd name="connsiteY18" fmla="*/ 711760 h 721285"/>
                    <a:gd name="connsiteX19" fmla="*/ 77595 w 2325718"/>
                    <a:gd name="connsiteY19" fmla="*/ 702235 h 721285"/>
                    <a:gd name="connsiteX20" fmla="*/ 49020 w 2325718"/>
                    <a:gd name="connsiteY20" fmla="*/ 697473 h 721285"/>
                    <a:gd name="connsiteX21" fmla="*/ 39495 w 2325718"/>
                    <a:gd name="connsiteY21" fmla="*/ 683185 h 721285"/>
                    <a:gd name="connsiteX22" fmla="*/ 15683 w 2325718"/>
                    <a:gd name="connsiteY22" fmla="*/ 654610 h 721285"/>
                    <a:gd name="connsiteX23" fmla="*/ 6158 w 2325718"/>
                    <a:gd name="connsiteY23" fmla="*/ 554598 h 721285"/>
                    <a:gd name="connsiteX24" fmla="*/ 1395 w 2325718"/>
                    <a:gd name="connsiteY24" fmla="*/ 540310 h 721285"/>
                    <a:gd name="connsiteX25" fmla="*/ 63308 w 2325718"/>
                    <a:gd name="connsiteY25" fmla="*/ 535548 h 721285"/>
                    <a:gd name="connsiteX26" fmla="*/ 806258 w 2325718"/>
                    <a:gd name="connsiteY26" fmla="*/ 535548 h 721285"/>
                    <a:gd name="connsiteX27" fmla="*/ 1034858 w 2325718"/>
                    <a:gd name="connsiteY27" fmla="*/ 526023 h 721285"/>
                    <a:gd name="connsiteX28" fmla="*/ 1030095 w 2325718"/>
                    <a:gd name="connsiteY28" fmla="*/ 430773 h 721285"/>
                    <a:gd name="connsiteX29" fmla="*/ 1020570 w 2325718"/>
                    <a:gd name="connsiteY29" fmla="*/ 216460 h 721285"/>
                    <a:gd name="connsiteX30" fmla="*/ 1030095 w 2325718"/>
                    <a:gd name="connsiteY30" fmla="*/ 21198 h 721285"/>
                    <a:gd name="connsiteX0" fmla="*/ 1030095 w 2325718"/>
                    <a:gd name="connsiteY0" fmla="*/ 21198 h 721285"/>
                    <a:gd name="connsiteX1" fmla="*/ 1287270 w 2325718"/>
                    <a:gd name="connsiteY1" fmla="*/ 11673 h 721285"/>
                    <a:gd name="connsiteX2" fmla="*/ 1282508 w 2325718"/>
                    <a:gd name="connsiteY2" fmla="*/ 78348 h 721285"/>
                    <a:gd name="connsiteX3" fmla="*/ 1272983 w 2325718"/>
                    <a:gd name="connsiteY3" fmla="*/ 426010 h 721285"/>
                    <a:gd name="connsiteX4" fmla="*/ 1287270 w 2325718"/>
                    <a:gd name="connsiteY4" fmla="*/ 530785 h 721285"/>
                    <a:gd name="connsiteX5" fmla="*/ 1353945 w 2325718"/>
                    <a:gd name="connsiteY5" fmla="*/ 535548 h 721285"/>
                    <a:gd name="connsiteX6" fmla="*/ 1720658 w 2325718"/>
                    <a:gd name="connsiteY6" fmla="*/ 545073 h 721285"/>
                    <a:gd name="connsiteX7" fmla="*/ 1963545 w 2325718"/>
                    <a:gd name="connsiteY7" fmla="*/ 540310 h 721285"/>
                    <a:gd name="connsiteX8" fmla="*/ 2282633 w 2325718"/>
                    <a:gd name="connsiteY8" fmla="*/ 549835 h 721285"/>
                    <a:gd name="connsiteX9" fmla="*/ 2306445 w 2325718"/>
                    <a:gd name="connsiteY9" fmla="*/ 683185 h 721285"/>
                    <a:gd name="connsiteX10" fmla="*/ 2273108 w 2325718"/>
                    <a:gd name="connsiteY10" fmla="*/ 697473 h 721285"/>
                    <a:gd name="connsiteX11" fmla="*/ 1734945 w 2325718"/>
                    <a:gd name="connsiteY11" fmla="*/ 687948 h 721285"/>
                    <a:gd name="connsiteX12" fmla="*/ 1634933 w 2325718"/>
                    <a:gd name="connsiteY12" fmla="*/ 702235 h 721285"/>
                    <a:gd name="connsiteX13" fmla="*/ 1287270 w 2325718"/>
                    <a:gd name="connsiteY13" fmla="*/ 702235 h 721285"/>
                    <a:gd name="connsiteX14" fmla="*/ 1263458 w 2325718"/>
                    <a:gd name="connsiteY14" fmla="*/ 697473 h 721285"/>
                    <a:gd name="connsiteX15" fmla="*/ 430020 w 2325718"/>
                    <a:gd name="connsiteY15" fmla="*/ 706998 h 721285"/>
                    <a:gd name="connsiteX16" fmla="*/ 339533 w 2325718"/>
                    <a:gd name="connsiteY16" fmla="*/ 721285 h 721285"/>
                    <a:gd name="connsiteX17" fmla="*/ 125220 w 2325718"/>
                    <a:gd name="connsiteY17" fmla="*/ 711760 h 721285"/>
                    <a:gd name="connsiteX18" fmla="*/ 77595 w 2325718"/>
                    <a:gd name="connsiteY18" fmla="*/ 702235 h 721285"/>
                    <a:gd name="connsiteX19" fmla="*/ 49020 w 2325718"/>
                    <a:gd name="connsiteY19" fmla="*/ 697473 h 721285"/>
                    <a:gd name="connsiteX20" fmla="*/ 39495 w 2325718"/>
                    <a:gd name="connsiteY20" fmla="*/ 683185 h 721285"/>
                    <a:gd name="connsiteX21" fmla="*/ 15683 w 2325718"/>
                    <a:gd name="connsiteY21" fmla="*/ 654610 h 721285"/>
                    <a:gd name="connsiteX22" fmla="*/ 6158 w 2325718"/>
                    <a:gd name="connsiteY22" fmla="*/ 554598 h 721285"/>
                    <a:gd name="connsiteX23" fmla="*/ 1395 w 2325718"/>
                    <a:gd name="connsiteY23" fmla="*/ 540310 h 721285"/>
                    <a:gd name="connsiteX24" fmla="*/ 63308 w 2325718"/>
                    <a:gd name="connsiteY24" fmla="*/ 535548 h 721285"/>
                    <a:gd name="connsiteX25" fmla="*/ 806258 w 2325718"/>
                    <a:gd name="connsiteY25" fmla="*/ 535548 h 721285"/>
                    <a:gd name="connsiteX26" fmla="*/ 1034858 w 2325718"/>
                    <a:gd name="connsiteY26" fmla="*/ 526023 h 721285"/>
                    <a:gd name="connsiteX27" fmla="*/ 1030095 w 2325718"/>
                    <a:gd name="connsiteY27" fmla="*/ 430773 h 721285"/>
                    <a:gd name="connsiteX28" fmla="*/ 1020570 w 2325718"/>
                    <a:gd name="connsiteY28" fmla="*/ 216460 h 721285"/>
                    <a:gd name="connsiteX29" fmla="*/ 1030095 w 2325718"/>
                    <a:gd name="connsiteY29" fmla="*/ 21198 h 721285"/>
                    <a:gd name="connsiteX0" fmla="*/ 1030095 w 2325718"/>
                    <a:gd name="connsiteY0" fmla="*/ 21198 h 721285"/>
                    <a:gd name="connsiteX1" fmla="*/ 1287270 w 2325718"/>
                    <a:gd name="connsiteY1" fmla="*/ 11673 h 721285"/>
                    <a:gd name="connsiteX2" fmla="*/ 1282508 w 2325718"/>
                    <a:gd name="connsiteY2" fmla="*/ 78348 h 721285"/>
                    <a:gd name="connsiteX3" fmla="*/ 1272983 w 2325718"/>
                    <a:gd name="connsiteY3" fmla="*/ 426010 h 721285"/>
                    <a:gd name="connsiteX4" fmla="*/ 1287270 w 2325718"/>
                    <a:gd name="connsiteY4" fmla="*/ 530785 h 721285"/>
                    <a:gd name="connsiteX5" fmla="*/ 1353945 w 2325718"/>
                    <a:gd name="connsiteY5" fmla="*/ 535548 h 721285"/>
                    <a:gd name="connsiteX6" fmla="*/ 1720658 w 2325718"/>
                    <a:gd name="connsiteY6" fmla="*/ 545073 h 721285"/>
                    <a:gd name="connsiteX7" fmla="*/ 1963545 w 2325718"/>
                    <a:gd name="connsiteY7" fmla="*/ 540310 h 721285"/>
                    <a:gd name="connsiteX8" fmla="*/ 2282633 w 2325718"/>
                    <a:gd name="connsiteY8" fmla="*/ 549835 h 721285"/>
                    <a:gd name="connsiteX9" fmla="*/ 2306445 w 2325718"/>
                    <a:gd name="connsiteY9" fmla="*/ 683185 h 721285"/>
                    <a:gd name="connsiteX10" fmla="*/ 2273108 w 2325718"/>
                    <a:gd name="connsiteY10" fmla="*/ 697473 h 721285"/>
                    <a:gd name="connsiteX11" fmla="*/ 1734945 w 2325718"/>
                    <a:gd name="connsiteY11" fmla="*/ 687948 h 721285"/>
                    <a:gd name="connsiteX12" fmla="*/ 1287270 w 2325718"/>
                    <a:gd name="connsiteY12" fmla="*/ 702235 h 721285"/>
                    <a:gd name="connsiteX13" fmla="*/ 1263458 w 2325718"/>
                    <a:gd name="connsiteY13" fmla="*/ 697473 h 721285"/>
                    <a:gd name="connsiteX14" fmla="*/ 430020 w 2325718"/>
                    <a:gd name="connsiteY14" fmla="*/ 706998 h 721285"/>
                    <a:gd name="connsiteX15" fmla="*/ 339533 w 2325718"/>
                    <a:gd name="connsiteY15" fmla="*/ 721285 h 721285"/>
                    <a:gd name="connsiteX16" fmla="*/ 125220 w 2325718"/>
                    <a:gd name="connsiteY16" fmla="*/ 711760 h 721285"/>
                    <a:gd name="connsiteX17" fmla="*/ 77595 w 2325718"/>
                    <a:gd name="connsiteY17" fmla="*/ 702235 h 721285"/>
                    <a:gd name="connsiteX18" fmla="*/ 49020 w 2325718"/>
                    <a:gd name="connsiteY18" fmla="*/ 697473 h 721285"/>
                    <a:gd name="connsiteX19" fmla="*/ 39495 w 2325718"/>
                    <a:gd name="connsiteY19" fmla="*/ 683185 h 721285"/>
                    <a:gd name="connsiteX20" fmla="*/ 15683 w 2325718"/>
                    <a:gd name="connsiteY20" fmla="*/ 654610 h 721285"/>
                    <a:gd name="connsiteX21" fmla="*/ 6158 w 2325718"/>
                    <a:gd name="connsiteY21" fmla="*/ 554598 h 721285"/>
                    <a:gd name="connsiteX22" fmla="*/ 1395 w 2325718"/>
                    <a:gd name="connsiteY22" fmla="*/ 540310 h 721285"/>
                    <a:gd name="connsiteX23" fmla="*/ 63308 w 2325718"/>
                    <a:gd name="connsiteY23" fmla="*/ 535548 h 721285"/>
                    <a:gd name="connsiteX24" fmla="*/ 806258 w 2325718"/>
                    <a:gd name="connsiteY24" fmla="*/ 535548 h 721285"/>
                    <a:gd name="connsiteX25" fmla="*/ 1034858 w 2325718"/>
                    <a:gd name="connsiteY25" fmla="*/ 526023 h 721285"/>
                    <a:gd name="connsiteX26" fmla="*/ 1030095 w 2325718"/>
                    <a:gd name="connsiteY26" fmla="*/ 430773 h 721285"/>
                    <a:gd name="connsiteX27" fmla="*/ 1020570 w 2325718"/>
                    <a:gd name="connsiteY27" fmla="*/ 216460 h 721285"/>
                    <a:gd name="connsiteX28" fmla="*/ 1030095 w 2325718"/>
                    <a:gd name="connsiteY28" fmla="*/ 21198 h 721285"/>
                    <a:gd name="connsiteX0" fmla="*/ 1030095 w 2331723"/>
                    <a:gd name="connsiteY0" fmla="*/ 21198 h 721285"/>
                    <a:gd name="connsiteX1" fmla="*/ 1287270 w 2331723"/>
                    <a:gd name="connsiteY1" fmla="*/ 11673 h 721285"/>
                    <a:gd name="connsiteX2" fmla="*/ 1282508 w 2331723"/>
                    <a:gd name="connsiteY2" fmla="*/ 78348 h 721285"/>
                    <a:gd name="connsiteX3" fmla="*/ 1272983 w 2331723"/>
                    <a:gd name="connsiteY3" fmla="*/ 426010 h 721285"/>
                    <a:gd name="connsiteX4" fmla="*/ 1287270 w 2331723"/>
                    <a:gd name="connsiteY4" fmla="*/ 530785 h 721285"/>
                    <a:gd name="connsiteX5" fmla="*/ 1353945 w 2331723"/>
                    <a:gd name="connsiteY5" fmla="*/ 535548 h 721285"/>
                    <a:gd name="connsiteX6" fmla="*/ 1720658 w 2331723"/>
                    <a:gd name="connsiteY6" fmla="*/ 545073 h 721285"/>
                    <a:gd name="connsiteX7" fmla="*/ 1963545 w 2331723"/>
                    <a:gd name="connsiteY7" fmla="*/ 540310 h 721285"/>
                    <a:gd name="connsiteX8" fmla="*/ 2282633 w 2331723"/>
                    <a:gd name="connsiteY8" fmla="*/ 549835 h 721285"/>
                    <a:gd name="connsiteX9" fmla="*/ 2273108 w 2331723"/>
                    <a:gd name="connsiteY9" fmla="*/ 697473 h 721285"/>
                    <a:gd name="connsiteX10" fmla="*/ 1734945 w 2331723"/>
                    <a:gd name="connsiteY10" fmla="*/ 687948 h 721285"/>
                    <a:gd name="connsiteX11" fmla="*/ 1287270 w 2331723"/>
                    <a:gd name="connsiteY11" fmla="*/ 702235 h 721285"/>
                    <a:gd name="connsiteX12" fmla="*/ 1263458 w 2331723"/>
                    <a:gd name="connsiteY12" fmla="*/ 697473 h 721285"/>
                    <a:gd name="connsiteX13" fmla="*/ 430020 w 2331723"/>
                    <a:gd name="connsiteY13" fmla="*/ 706998 h 721285"/>
                    <a:gd name="connsiteX14" fmla="*/ 339533 w 2331723"/>
                    <a:gd name="connsiteY14" fmla="*/ 721285 h 721285"/>
                    <a:gd name="connsiteX15" fmla="*/ 125220 w 2331723"/>
                    <a:gd name="connsiteY15" fmla="*/ 711760 h 721285"/>
                    <a:gd name="connsiteX16" fmla="*/ 77595 w 2331723"/>
                    <a:gd name="connsiteY16" fmla="*/ 702235 h 721285"/>
                    <a:gd name="connsiteX17" fmla="*/ 49020 w 2331723"/>
                    <a:gd name="connsiteY17" fmla="*/ 697473 h 721285"/>
                    <a:gd name="connsiteX18" fmla="*/ 39495 w 2331723"/>
                    <a:gd name="connsiteY18" fmla="*/ 683185 h 721285"/>
                    <a:gd name="connsiteX19" fmla="*/ 15683 w 2331723"/>
                    <a:gd name="connsiteY19" fmla="*/ 654610 h 721285"/>
                    <a:gd name="connsiteX20" fmla="*/ 6158 w 2331723"/>
                    <a:gd name="connsiteY20" fmla="*/ 554598 h 721285"/>
                    <a:gd name="connsiteX21" fmla="*/ 1395 w 2331723"/>
                    <a:gd name="connsiteY21" fmla="*/ 540310 h 721285"/>
                    <a:gd name="connsiteX22" fmla="*/ 63308 w 2331723"/>
                    <a:gd name="connsiteY22" fmla="*/ 535548 h 721285"/>
                    <a:gd name="connsiteX23" fmla="*/ 806258 w 2331723"/>
                    <a:gd name="connsiteY23" fmla="*/ 535548 h 721285"/>
                    <a:gd name="connsiteX24" fmla="*/ 1034858 w 2331723"/>
                    <a:gd name="connsiteY24" fmla="*/ 526023 h 721285"/>
                    <a:gd name="connsiteX25" fmla="*/ 1030095 w 2331723"/>
                    <a:gd name="connsiteY25" fmla="*/ 430773 h 721285"/>
                    <a:gd name="connsiteX26" fmla="*/ 1020570 w 2331723"/>
                    <a:gd name="connsiteY26" fmla="*/ 216460 h 721285"/>
                    <a:gd name="connsiteX27" fmla="*/ 1030095 w 2331723"/>
                    <a:gd name="connsiteY27" fmla="*/ 21198 h 721285"/>
                    <a:gd name="connsiteX0" fmla="*/ 1030095 w 2331723"/>
                    <a:gd name="connsiteY0" fmla="*/ 21198 h 721285"/>
                    <a:gd name="connsiteX1" fmla="*/ 1287270 w 2331723"/>
                    <a:gd name="connsiteY1" fmla="*/ 11673 h 721285"/>
                    <a:gd name="connsiteX2" fmla="*/ 1282508 w 2331723"/>
                    <a:gd name="connsiteY2" fmla="*/ 78348 h 721285"/>
                    <a:gd name="connsiteX3" fmla="*/ 1272983 w 2331723"/>
                    <a:gd name="connsiteY3" fmla="*/ 426010 h 721285"/>
                    <a:gd name="connsiteX4" fmla="*/ 1287270 w 2331723"/>
                    <a:gd name="connsiteY4" fmla="*/ 530785 h 721285"/>
                    <a:gd name="connsiteX5" fmla="*/ 1353945 w 2331723"/>
                    <a:gd name="connsiteY5" fmla="*/ 535548 h 721285"/>
                    <a:gd name="connsiteX6" fmla="*/ 1720658 w 2331723"/>
                    <a:gd name="connsiteY6" fmla="*/ 545073 h 721285"/>
                    <a:gd name="connsiteX7" fmla="*/ 1963545 w 2331723"/>
                    <a:gd name="connsiteY7" fmla="*/ 540310 h 721285"/>
                    <a:gd name="connsiteX8" fmla="*/ 2282633 w 2331723"/>
                    <a:gd name="connsiteY8" fmla="*/ 549835 h 721285"/>
                    <a:gd name="connsiteX9" fmla="*/ 2273108 w 2331723"/>
                    <a:gd name="connsiteY9" fmla="*/ 697473 h 721285"/>
                    <a:gd name="connsiteX10" fmla="*/ 1734945 w 2331723"/>
                    <a:gd name="connsiteY10" fmla="*/ 687948 h 721285"/>
                    <a:gd name="connsiteX11" fmla="*/ 1287270 w 2331723"/>
                    <a:gd name="connsiteY11" fmla="*/ 702235 h 721285"/>
                    <a:gd name="connsiteX12" fmla="*/ 1263458 w 2331723"/>
                    <a:gd name="connsiteY12" fmla="*/ 697473 h 721285"/>
                    <a:gd name="connsiteX13" fmla="*/ 430020 w 2331723"/>
                    <a:gd name="connsiteY13" fmla="*/ 706998 h 721285"/>
                    <a:gd name="connsiteX14" fmla="*/ 339533 w 2331723"/>
                    <a:gd name="connsiteY14" fmla="*/ 721285 h 721285"/>
                    <a:gd name="connsiteX15" fmla="*/ 125220 w 2331723"/>
                    <a:gd name="connsiteY15" fmla="*/ 711760 h 721285"/>
                    <a:gd name="connsiteX16" fmla="*/ 77595 w 2331723"/>
                    <a:gd name="connsiteY16" fmla="*/ 702235 h 721285"/>
                    <a:gd name="connsiteX17" fmla="*/ 49020 w 2331723"/>
                    <a:gd name="connsiteY17" fmla="*/ 697473 h 721285"/>
                    <a:gd name="connsiteX18" fmla="*/ 15683 w 2331723"/>
                    <a:gd name="connsiteY18" fmla="*/ 654610 h 721285"/>
                    <a:gd name="connsiteX19" fmla="*/ 6158 w 2331723"/>
                    <a:gd name="connsiteY19" fmla="*/ 554598 h 721285"/>
                    <a:gd name="connsiteX20" fmla="*/ 1395 w 2331723"/>
                    <a:gd name="connsiteY20" fmla="*/ 540310 h 721285"/>
                    <a:gd name="connsiteX21" fmla="*/ 63308 w 2331723"/>
                    <a:gd name="connsiteY21" fmla="*/ 535548 h 721285"/>
                    <a:gd name="connsiteX22" fmla="*/ 806258 w 2331723"/>
                    <a:gd name="connsiteY22" fmla="*/ 535548 h 721285"/>
                    <a:gd name="connsiteX23" fmla="*/ 1034858 w 2331723"/>
                    <a:gd name="connsiteY23" fmla="*/ 526023 h 721285"/>
                    <a:gd name="connsiteX24" fmla="*/ 1030095 w 2331723"/>
                    <a:gd name="connsiteY24" fmla="*/ 430773 h 721285"/>
                    <a:gd name="connsiteX25" fmla="*/ 1020570 w 2331723"/>
                    <a:gd name="connsiteY25" fmla="*/ 216460 h 721285"/>
                    <a:gd name="connsiteX26" fmla="*/ 1030095 w 2331723"/>
                    <a:gd name="connsiteY26" fmla="*/ 21198 h 721285"/>
                    <a:gd name="connsiteX0" fmla="*/ 1030095 w 2331723"/>
                    <a:gd name="connsiteY0" fmla="*/ 21198 h 721285"/>
                    <a:gd name="connsiteX1" fmla="*/ 1287270 w 2331723"/>
                    <a:gd name="connsiteY1" fmla="*/ 11673 h 721285"/>
                    <a:gd name="connsiteX2" fmla="*/ 1282508 w 2331723"/>
                    <a:gd name="connsiteY2" fmla="*/ 78348 h 721285"/>
                    <a:gd name="connsiteX3" fmla="*/ 1272983 w 2331723"/>
                    <a:gd name="connsiteY3" fmla="*/ 426010 h 721285"/>
                    <a:gd name="connsiteX4" fmla="*/ 1287270 w 2331723"/>
                    <a:gd name="connsiteY4" fmla="*/ 530785 h 721285"/>
                    <a:gd name="connsiteX5" fmla="*/ 1353945 w 2331723"/>
                    <a:gd name="connsiteY5" fmla="*/ 535548 h 721285"/>
                    <a:gd name="connsiteX6" fmla="*/ 1720658 w 2331723"/>
                    <a:gd name="connsiteY6" fmla="*/ 545073 h 721285"/>
                    <a:gd name="connsiteX7" fmla="*/ 1963545 w 2331723"/>
                    <a:gd name="connsiteY7" fmla="*/ 540310 h 721285"/>
                    <a:gd name="connsiteX8" fmla="*/ 2282633 w 2331723"/>
                    <a:gd name="connsiteY8" fmla="*/ 549835 h 721285"/>
                    <a:gd name="connsiteX9" fmla="*/ 2273108 w 2331723"/>
                    <a:gd name="connsiteY9" fmla="*/ 697473 h 721285"/>
                    <a:gd name="connsiteX10" fmla="*/ 1734945 w 2331723"/>
                    <a:gd name="connsiteY10" fmla="*/ 687948 h 721285"/>
                    <a:gd name="connsiteX11" fmla="*/ 1287270 w 2331723"/>
                    <a:gd name="connsiteY11" fmla="*/ 702235 h 721285"/>
                    <a:gd name="connsiteX12" fmla="*/ 1263458 w 2331723"/>
                    <a:gd name="connsiteY12" fmla="*/ 697473 h 721285"/>
                    <a:gd name="connsiteX13" fmla="*/ 430020 w 2331723"/>
                    <a:gd name="connsiteY13" fmla="*/ 706998 h 721285"/>
                    <a:gd name="connsiteX14" fmla="*/ 339533 w 2331723"/>
                    <a:gd name="connsiteY14" fmla="*/ 721285 h 721285"/>
                    <a:gd name="connsiteX15" fmla="*/ 125220 w 2331723"/>
                    <a:gd name="connsiteY15" fmla="*/ 711760 h 721285"/>
                    <a:gd name="connsiteX16" fmla="*/ 49020 w 2331723"/>
                    <a:gd name="connsiteY16" fmla="*/ 697473 h 721285"/>
                    <a:gd name="connsiteX17" fmla="*/ 15683 w 2331723"/>
                    <a:gd name="connsiteY17" fmla="*/ 654610 h 721285"/>
                    <a:gd name="connsiteX18" fmla="*/ 6158 w 2331723"/>
                    <a:gd name="connsiteY18" fmla="*/ 554598 h 721285"/>
                    <a:gd name="connsiteX19" fmla="*/ 1395 w 2331723"/>
                    <a:gd name="connsiteY19" fmla="*/ 540310 h 721285"/>
                    <a:gd name="connsiteX20" fmla="*/ 63308 w 2331723"/>
                    <a:gd name="connsiteY20" fmla="*/ 535548 h 721285"/>
                    <a:gd name="connsiteX21" fmla="*/ 806258 w 2331723"/>
                    <a:gd name="connsiteY21" fmla="*/ 535548 h 721285"/>
                    <a:gd name="connsiteX22" fmla="*/ 1034858 w 2331723"/>
                    <a:gd name="connsiteY22" fmla="*/ 526023 h 721285"/>
                    <a:gd name="connsiteX23" fmla="*/ 1030095 w 2331723"/>
                    <a:gd name="connsiteY23" fmla="*/ 430773 h 721285"/>
                    <a:gd name="connsiteX24" fmla="*/ 1020570 w 2331723"/>
                    <a:gd name="connsiteY24" fmla="*/ 216460 h 721285"/>
                    <a:gd name="connsiteX25" fmla="*/ 1030095 w 2331723"/>
                    <a:gd name="connsiteY25" fmla="*/ 21198 h 721285"/>
                    <a:gd name="connsiteX0" fmla="*/ 1030095 w 2331723"/>
                    <a:gd name="connsiteY0" fmla="*/ 21198 h 721285"/>
                    <a:gd name="connsiteX1" fmla="*/ 1287270 w 2331723"/>
                    <a:gd name="connsiteY1" fmla="*/ 11673 h 721285"/>
                    <a:gd name="connsiteX2" fmla="*/ 1282508 w 2331723"/>
                    <a:gd name="connsiteY2" fmla="*/ 78348 h 721285"/>
                    <a:gd name="connsiteX3" fmla="*/ 1272983 w 2331723"/>
                    <a:gd name="connsiteY3" fmla="*/ 426010 h 721285"/>
                    <a:gd name="connsiteX4" fmla="*/ 1287270 w 2331723"/>
                    <a:gd name="connsiteY4" fmla="*/ 530785 h 721285"/>
                    <a:gd name="connsiteX5" fmla="*/ 1353945 w 2331723"/>
                    <a:gd name="connsiteY5" fmla="*/ 535548 h 721285"/>
                    <a:gd name="connsiteX6" fmla="*/ 1720658 w 2331723"/>
                    <a:gd name="connsiteY6" fmla="*/ 545073 h 721285"/>
                    <a:gd name="connsiteX7" fmla="*/ 1963545 w 2331723"/>
                    <a:gd name="connsiteY7" fmla="*/ 540310 h 721285"/>
                    <a:gd name="connsiteX8" fmla="*/ 2282633 w 2331723"/>
                    <a:gd name="connsiteY8" fmla="*/ 549835 h 721285"/>
                    <a:gd name="connsiteX9" fmla="*/ 2273108 w 2331723"/>
                    <a:gd name="connsiteY9" fmla="*/ 697473 h 721285"/>
                    <a:gd name="connsiteX10" fmla="*/ 1734945 w 2331723"/>
                    <a:gd name="connsiteY10" fmla="*/ 687948 h 721285"/>
                    <a:gd name="connsiteX11" fmla="*/ 1287270 w 2331723"/>
                    <a:gd name="connsiteY11" fmla="*/ 702235 h 721285"/>
                    <a:gd name="connsiteX12" fmla="*/ 1263458 w 2331723"/>
                    <a:gd name="connsiteY12" fmla="*/ 697473 h 721285"/>
                    <a:gd name="connsiteX13" fmla="*/ 430020 w 2331723"/>
                    <a:gd name="connsiteY13" fmla="*/ 706998 h 721285"/>
                    <a:gd name="connsiteX14" fmla="*/ 339533 w 2331723"/>
                    <a:gd name="connsiteY14" fmla="*/ 721285 h 721285"/>
                    <a:gd name="connsiteX15" fmla="*/ 125220 w 2331723"/>
                    <a:gd name="connsiteY15" fmla="*/ 711760 h 721285"/>
                    <a:gd name="connsiteX16" fmla="*/ 15683 w 2331723"/>
                    <a:gd name="connsiteY16" fmla="*/ 654610 h 721285"/>
                    <a:gd name="connsiteX17" fmla="*/ 6158 w 2331723"/>
                    <a:gd name="connsiteY17" fmla="*/ 554598 h 721285"/>
                    <a:gd name="connsiteX18" fmla="*/ 1395 w 2331723"/>
                    <a:gd name="connsiteY18" fmla="*/ 540310 h 721285"/>
                    <a:gd name="connsiteX19" fmla="*/ 63308 w 2331723"/>
                    <a:gd name="connsiteY19" fmla="*/ 535548 h 721285"/>
                    <a:gd name="connsiteX20" fmla="*/ 806258 w 2331723"/>
                    <a:gd name="connsiteY20" fmla="*/ 535548 h 721285"/>
                    <a:gd name="connsiteX21" fmla="*/ 1034858 w 2331723"/>
                    <a:gd name="connsiteY21" fmla="*/ 526023 h 721285"/>
                    <a:gd name="connsiteX22" fmla="*/ 1030095 w 2331723"/>
                    <a:gd name="connsiteY22" fmla="*/ 430773 h 721285"/>
                    <a:gd name="connsiteX23" fmla="*/ 1020570 w 2331723"/>
                    <a:gd name="connsiteY23" fmla="*/ 216460 h 721285"/>
                    <a:gd name="connsiteX24" fmla="*/ 1030095 w 2331723"/>
                    <a:gd name="connsiteY24" fmla="*/ 21198 h 721285"/>
                    <a:gd name="connsiteX0" fmla="*/ 1030095 w 2331723"/>
                    <a:gd name="connsiteY0" fmla="*/ 21198 h 715055"/>
                    <a:gd name="connsiteX1" fmla="*/ 1287270 w 2331723"/>
                    <a:gd name="connsiteY1" fmla="*/ 11673 h 715055"/>
                    <a:gd name="connsiteX2" fmla="*/ 1282508 w 2331723"/>
                    <a:gd name="connsiteY2" fmla="*/ 78348 h 715055"/>
                    <a:gd name="connsiteX3" fmla="*/ 1272983 w 2331723"/>
                    <a:gd name="connsiteY3" fmla="*/ 426010 h 715055"/>
                    <a:gd name="connsiteX4" fmla="*/ 1287270 w 2331723"/>
                    <a:gd name="connsiteY4" fmla="*/ 530785 h 715055"/>
                    <a:gd name="connsiteX5" fmla="*/ 1353945 w 2331723"/>
                    <a:gd name="connsiteY5" fmla="*/ 535548 h 715055"/>
                    <a:gd name="connsiteX6" fmla="*/ 1720658 w 2331723"/>
                    <a:gd name="connsiteY6" fmla="*/ 545073 h 715055"/>
                    <a:gd name="connsiteX7" fmla="*/ 1963545 w 2331723"/>
                    <a:gd name="connsiteY7" fmla="*/ 540310 h 715055"/>
                    <a:gd name="connsiteX8" fmla="*/ 2282633 w 2331723"/>
                    <a:gd name="connsiteY8" fmla="*/ 549835 h 715055"/>
                    <a:gd name="connsiteX9" fmla="*/ 2273108 w 2331723"/>
                    <a:gd name="connsiteY9" fmla="*/ 697473 h 715055"/>
                    <a:gd name="connsiteX10" fmla="*/ 1734945 w 2331723"/>
                    <a:gd name="connsiteY10" fmla="*/ 687948 h 715055"/>
                    <a:gd name="connsiteX11" fmla="*/ 1287270 w 2331723"/>
                    <a:gd name="connsiteY11" fmla="*/ 702235 h 715055"/>
                    <a:gd name="connsiteX12" fmla="*/ 1263458 w 2331723"/>
                    <a:gd name="connsiteY12" fmla="*/ 697473 h 715055"/>
                    <a:gd name="connsiteX13" fmla="*/ 430020 w 2331723"/>
                    <a:gd name="connsiteY13" fmla="*/ 706998 h 715055"/>
                    <a:gd name="connsiteX14" fmla="*/ 125220 w 2331723"/>
                    <a:gd name="connsiteY14" fmla="*/ 711760 h 715055"/>
                    <a:gd name="connsiteX15" fmla="*/ 15683 w 2331723"/>
                    <a:gd name="connsiteY15" fmla="*/ 654610 h 715055"/>
                    <a:gd name="connsiteX16" fmla="*/ 6158 w 2331723"/>
                    <a:gd name="connsiteY16" fmla="*/ 554598 h 715055"/>
                    <a:gd name="connsiteX17" fmla="*/ 1395 w 2331723"/>
                    <a:gd name="connsiteY17" fmla="*/ 540310 h 715055"/>
                    <a:gd name="connsiteX18" fmla="*/ 63308 w 2331723"/>
                    <a:gd name="connsiteY18" fmla="*/ 535548 h 715055"/>
                    <a:gd name="connsiteX19" fmla="*/ 806258 w 2331723"/>
                    <a:gd name="connsiteY19" fmla="*/ 535548 h 715055"/>
                    <a:gd name="connsiteX20" fmla="*/ 1034858 w 2331723"/>
                    <a:gd name="connsiteY20" fmla="*/ 526023 h 715055"/>
                    <a:gd name="connsiteX21" fmla="*/ 1030095 w 2331723"/>
                    <a:gd name="connsiteY21" fmla="*/ 430773 h 715055"/>
                    <a:gd name="connsiteX22" fmla="*/ 1020570 w 2331723"/>
                    <a:gd name="connsiteY22" fmla="*/ 216460 h 715055"/>
                    <a:gd name="connsiteX23" fmla="*/ 1030095 w 2331723"/>
                    <a:gd name="connsiteY23" fmla="*/ 21198 h 715055"/>
                    <a:gd name="connsiteX0" fmla="*/ 1030095 w 2331723"/>
                    <a:gd name="connsiteY0" fmla="*/ 21198 h 706998"/>
                    <a:gd name="connsiteX1" fmla="*/ 1287270 w 2331723"/>
                    <a:gd name="connsiteY1" fmla="*/ 11673 h 706998"/>
                    <a:gd name="connsiteX2" fmla="*/ 1282508 w 2331723"/>
                    <a:gd name="connsiteY2" fmla="*/ 78348 h 706998"/>
                    <a:gd name="connsiteX3" fmla="*/ 1272983 w 2331723"/>
                    <a:gd name="connsiteY3" fmla="*/ 426010 h 706998"/>
                    <a:gd name="connsiteX4" fmla="*/ 1287270 w 2331723"/>
                    <a:gd name="connsiteY4" fmla="*/ 530785 h 706998"/>
                    <a:gd name="connsiteX5" fmla="*/ 1353945 w 2331723"/>
                    <a:gd name="connsiteY5" fmla="*/ 535548 h 706998"/>
                    <a:gd name="connsiteX6" fmla="*/ 1720658 w 2331723"/>
                    <a:gd name="connsiteY6" fmla="*/ 545073 h 706998"/>
                    <a:gd name="connsiteX7" fmla="*/ 1963545 w 2331723"/>
                    <a:gd name="connsiteY7" fmla="*/ 540310 h 706998"/>
                    <a:gd name="connsiteX8" fmla="*/ 2282633 w 2331723"/>
                    <a:gd name="connsiteY8" fmla="*/ 549835 h 706998"/>
                    <a:gd name="connsiteX9" fmla="*/ 2273108 w 2331723"/>
                    <a:gd name="connsiteY9" fmla="*/ 697473 h 706998"/>
                    <a:gd name="connsiteX10" fmla="*/ 1734945 w 2331723"/>
                    <a:gd name="connsiteY10" fmla="*/ 687948 h 706998"/>
                    <a:gd name="connsiteX11" fmla="*/ 1287270 w 2331723"/>
                    <a:gd name="connsiteY11" fmla="*/ 702235 h 706998"/>
                    <a:gd name="connsiteX12" fmla="*/ 1263458 w 2331723"/>
                    <a:gd name="connsiteY12" fmla="*/ 697473 h 706998"/>
                    <a:gd name="connsiteX13" fmla="*/ 430020 w 2331723"/>
                    <a:gd name="connsiteY13" fmla="*/ 706998 h 706998"/>
                    <a:gd name="connsiteX14" fmla="*/ 15683 w 2331723"/>
                    <a:gd name="connsiteY14" fmla="*/ 654610 h 706998"/>
                    <a:gd name="connsiteX15" fmla="*/ 6158 w 2331723"/>
                    <a:gd name="connsiteY15" fmla="*/ 554598 h 706998"/>
                    <a:gd name="connsiteX16" fmla="*/ 1395 w 2331723"/>
                    <a:gd name="connsiteY16" fmla="*/ 540310 h 706998"/>
                    <a:gd name="connsiteX17" fmla="*/ 63308 w 2331723"/>
                    <a:gd name="connsiteY17" fmla="*/ 535548 h 706998"/>
                    <a:gd name="connsiteX18" fmla="*/ 806258 w 2331723"/>
                    <a:gd name="connsiteY18" fmla="*/ 535548 h 706998"/>
                    <a:gd name="connsiteX19" fmla="*/ 1034858 w 2331723"/>
                    <a:gd name="connsiteY19" fmla="*/ 526023 h 706998"/>
                    <a:gd name="connsiteX20" fmla="*/ 1030095 w 2331723"/>
                    <a:gd name="connsiteY20" fmla="*/ 430773 h 706998"/>
                    <a:gd name="connsiteX21" fmla="*/ 1020570 w 2331723"/>
                    <a:gd name="connsiteY21" fmla="*/ 216460 h 706998"/>
                    <a:gd name="connsiteX22" fmla="*/ 1030095 w 2331723"/>
                    <a:gd name="connsiteY22" fmla="*/ 21198 h 706998"/>
                    <a:gd name="connsiteX0" fmla="*/ 1042895 w 2344523"/>
                    <a:gd name="connsiteY0" fmla="*/ 21198 h 706998"/>
                    <a:gd name="connsiteX1" fmla="*/ 1300070 w 2344523"/>
                    <a:gd name="connsiteY1" fmla="*/ 11673 h 706998"/>
                    <a:gd name="connsiteX2" fmla="*/ 1295308 w 2344523"/>
                    <a:gd name="connsiteY2" fmla="*/ 78348 h 706998"/>
                    <a:gd name="connsiteX3" fmla="*/ 1285783 w 2344523"/>
                    <a:gd name="connsiteY3" fmla="*/ 426010 h 706998"/>
                    <a:gd name="connsiteX4" fmla="*/ 1300070 w 2344523"/>
                    <a:gd name="connsiteY4" fmla="*/ 530785 h 706998"/>
                    <a:gd name="connsiteX5" fmla="*/ 1366745 w 2344523"/>
                    <a:gd name="connsiteY5" fmla="*/ 535548 h 706998"/>
                    <a:gd name="connsiteX6" fmla="*/ 1733458 w 2344523"/>
                    <a:gd name="connsiteY6" fmla="*/ 545073 h 706998"/>
                    <a:gd name="connsiteX7" fmla="*/ 1976345 w 2344523"/>
                    <a:gd name="connsiteY7" fmla="*/ 540310 h 706998"/>
                    <a:gd name="connsiteX8" fmla="*/ 2295433 w 2344523"/>
                    <a:gd name="connsiteY8" fmla="*/ 549835 h 706998"/>
                    <a:gd name="connsiteX9" fmla="*/ 2285908 w 2344523"/>
                    <a:gd name="connsiteY9" fmla="*/ 697473 h 706998"/>
                    <a:gd name="connsiteX10" fmla="*/ 1747745 w 2344523"/>
                    <a:gd name="connsiteY10" fmla="*/ 687948 h 706998"/>
                    <a:gd name="connsiteX11" fmla="*/ 1300070 w 2344523"/>
                    <a:gd name="connsiteY11" fmla="*/ 702235 h 706998"/>
                    <a:gd name="connsiteX12" fmla="*/ 1276258 w 2344523"/>
                    <a:gd name="connsiteY12" fmla="*/ 697473 h 706998"/>
                    <a:gd name="connsiteX13" fmla="*/ 442820 w 2344523"/>
                    <a:gd name="connsiteY13" fmla="*/ 706998 h 706998"/>
                    <a:gd name="connsiteX14" fmla="*/ 28483 w 2344523"/>
                    <a:gd name="connsiteY14" fmla="*/ 654610 h 706998"/>
                    <a:gd name="connsiteX15" fmla="*/ 18958 w 2344523"/>
                    <a:gd name="connsiteY15" fmla="*/ 554598 h 706998"/>
                    <a:gd name="connsiteX16" fmla="*/ 76108 w 2344523"/>
                    <a:gd name="connsiteY16" fmla="*/ 535548 h 706998"/>
                    <a:gd name="connsiteX17" fmla="*/ 819058 w 2344523"/>
                    <a:gd name="connsiteY17" fmla="*/ 535548 h 706998"/>
                    <a:gd name="connsiteX18" fmla="*/ 1047658 w 2344523"/>
                    <a:gd name="connsiteY18" fmla="*/ 526023 h 706998"/>
                    <a:gd name="connsiteX19" fmla="*/ 1042895 w 2344523"/>
                    <a:gd name="connsiteY19" fmla="*/ 430773 h 706998"/>
                    <a:gd name="connsiteX20" fmla="*/ 1033370 w 2344523"/>
                    <a:gd name="connsiteY20" fmla="*/ 216460 h 706998"/>
                    <a:gd name="connsiteX21" fmla="*/ 1042895 w 2344523"/>
                    <a:gd name="connsiteY21" fmla="*/ 21198 h 706998"/>
                    <a:gd name="connsiteX0" fmla="*/ 1042895 w 2344523"/>
                    <a:gd name="connsiteY0" fmla="*/ 21198 h 706212"/>
                    <a:gd name="connsiteX1" fmla="*/ 1300070 w 2344523"/>
                    <a:gd name="connsiteY1" fmla="*/ 11673 h 706212"/>
                    <a:gd name="connsiteX2" fmla="*/ 1295308 w 2344523"/>
                    <a:gd name="connsiteY2" fmla="*/ 78348 h 706212"/>
                    <a:gd name="connsiteX3" fmla="*/ 1285783 w 2344523"/>
                    <a:gd name="connsiteY3" fmla="*/ 426010 h 706212"/>
                    <a:gd name="connsiteX4" fmla="*/ 1300070 w 2344523"/>
                    <a:gd name="connsiteY4" fmla="*/ 530785 h 706212"/>
                    <a:gd name="connsiteX5" fmla="*/ 1366745 w 2344523"/>
                    <a:gd name="connsiteY5" fmla="*/ 535548 h 706212"/>
                    <a:gd name="connsiteX6" fmla="*/ 1733458 w 2344523"/>
                    <a:gd name="connsiteY6" fmla="*/ 545073 h 706212"/>
                    <a:gd name="connsiteX7" fmla="*/ 1976345 w 2344523"/>
                    <a:gd name="connsiteY7" fmla="*/ 540310 h 706212"/>
                    <a:gd name="connsiteX8" fmla="*/ 2295433 w 2344523"/>
                    <a:gd name="connsiteY8" fmla="*/ 549835 h 706212"/>
                    <a:gd name="connsiteX9" fmla="*/ 2285908 w 2344523"/>
                    <a:gd name="connsiteY9" fmla="*/ 697473 h 706212"/>
                    <a:gd name="connsiteX10" fmla="*/ 1747745 w 2344523"/>
                    <a:gd name="connsiteY10" fmla="*/ 687948 h 706212"/>
                    <a:gd name="connsiteX11" fmla="*/ 1300070 w 2344523"/>
                    <a:gd name="connsiteY11" fmla="*/ 702235 h 706212"/>
                    <a:gd name="connsiteX12" fmla="*/ 1276258 w 2344523"/>
                    <a:gd name="connsiteY12" fmla="*/ 697473 h 706212"/>
                    <a:gd name="connsiteX13" fmla="*/ 28483 w 2344523"/>
                    <a:gd name="connsiteY13" fmla="*/ 654610 h 706212"/>
                    <a:gd name="connsiteX14" fmla="*/ 18958 w 2344523"/>
                    <a:gd name="connsiteY14" fmla="*/ 554598 h 706212"/>
                    <a:gd name="connsiteX15" fmla="*/ 76108 w 2344523"/>
                    <a:gd name="connsiteY15" fmla="*/ 535548 h 706212"/>
                    <a:gd name="connsiteX16" fmla="*/ 819058 w 2344523"/>
                    <a:gd name="connsiteY16" fmla="*/ 535548 h 706212"/>
                    <a:gd name="connsiteX17" fmla="*/ 1047658 w 2344523"/>
                    <a:gd name="connsiteY17" fmla="*/ 526023 h 706212"/>
                    <a:gd name="connsiteX18" fmla="*/ 1042895 w 2344523"/>
                    <a:gd name="connsiteY18" fmla="*/ 430773 h 706212"/>
                    <a:gd name="connsiteX19" fmla="*/ 1033370 w 2344523"/>
                    <a:gd name="connsiteY19" fmla="*/ 216460 h 706212"/>
                    <a:gd name="connsiteX20" fmla="*/ 1042895 w 2344523"/>
                    <a:gd name="connsiteY20" fmla="*/ 21198 h 706212"/>
                    <a:gd name="connsiteX0" fmla="*/ 1113713 w 2415341"/>
                    <a:gd name="connsiteY0" fmla="*/ 21198 h 706212"/>
                    <a:gd name="connsiteX1" fmla="*/ 1370888 w 2415341"/>
                    <a:gd name="connsiteY1" fmla="*/ 11673 h 706212"/>
                    <a:gd name="connsiteX2" fmla="*/ 1366126 w 2415341"/>
                    <a:gd name="connsiteY2" fmla="*/ 78348 h 706212"/>
                    <a:gd name="connsiteX3" fmla="*/ 1356601 w 2415341"/>
                    <a:gd name="connsiteY3" fmla="*/ 426010 h 706212"/>
                    <a:gd name="connsiteX4" fmla="*/ 1370888 w 2415341"/>
                    <a:gd name="connsiteY4" fmla="*/ 530785 h 706212"/>
                    <a:gd name="connsiteX5" fmla="*/ 1437563 w 2415341"/>
                    <a:gd name="connsiteY5" fmla="*/ 535548 h 706212"/>
                    <a:gd name="connsiteX6" fmla="*/ 1804276 w 2415341"/>
                    <a:gd name="connsiteY6" fmla="*/ 545073 h 706212"/>
                    <a:gd name="connsiteX7" fmla="*/ 2047163 w 2415341"/>
                    <a:gd name="connsiteY7" fmla="*/ 540310 h 706212"/>
                    <a:gd name="connsiteX8" fmla="*/ 2366251 w 2415341"/>
                    <a:gd name="connsiteY8" fmla="*/ 549835 h 706212"/>
                    <a:gd name="connsiteX9" fmla="*/ 2356726 w 2415341"/>
                    <a:gd name="connsiteY9" fmla="*/ 697473 h 706212"/>
                    <a:gd name="connsiteX10" fmla="*/ 1818563 w 2415341"/>
                    <a:gd name="connsiteY10" fmla="*/ 687948 h 706212"/>
                    <a:gd name="connsiteX11" fmla="*/ 1370888 w 2415341"/>
                    <a:gd name="connsiteY11" fmla="*/ 702235 h 706212"/>
                    <a:gd name="connsiteX12" fmla="*/ 99301 w 2415341"/>
                    <a:gd name="connsiteY12" fmla="*/ 654610 h 706212"/>
                    <a:gd name="connsiteX13" fmla="*/ 89776 w 2415341"/>
                    <a:gd name="connsiteY13" fmla="*/ 554598 h 706212"/>
                    <a:gd name="connsiteX14" fmla="*/ 146926 w 2415341"/>
                    <a:gd name="connsiteY14" fmla="*/ 535548 h 706212"/>
                    <a:gd name="connsiteX15" fmla="*/ 889876 w 2415341"/>
                    <a:gd name="connsiteY15" fmla="*/ 535548 h 706212"/>
                    <a:gd name="connsiteX16" fmla="*/ 1118476 w 2415341"/>
                    <a:gd name="connsiteY16" fmla="*/ 526023 h 706212"/>
                    <a:gd name="connsiteX17" fmla="*/ 1113713 w 2415341"/>
                    <a:gd name="connsiteY17" fmla="*/ 430773 h 706212"/>
                    <a:gd name="connsiteX18" fmla="*/ 1104188 w 2415341"/>
                    <a:gd name="connsiteY18" fmla="*/ 216460 h 706212"/>
                    <a:gd name="connsiteX19" fmla="*/ 1113713 w 2415341"/>
                    <a:gd name="connsiteY19" fmla="*/ 21198 h 706212"/>
                    <a:gd name="connsiteX0" fmla="*/ 1042896 w 2344524"/>
                    <a:gd name="connsiteY0" fmla="*/ 21198 h 706212"/>
                    <a:gd name="connsiteX1" fmla="*/ 1300071 w 2344524"/>
                    <a:gd name="connsiteY1" fmla="*/ 11673 h 706212"/>
                    <a:gd name="connsiteX2" fmla="*/ 1295309 w 2344524"/>
                    <a:gd name="connsiteY2" fmla="*/ 78348 h 706212"/>
                    <a:gd name="connsiteX3" fmla="*/ 1285784 w 2344524"/>
                    <a:gd name="connsiteY3" fmla="*/ 426010 h 706212"/>
                    <a:gd name="connsiteX4" fmla="*/ 1300071 w 2344524"/>
                    <a:gd name="connsiteY4" fmla="*/ 530785 h 706212"/>
                    <a:gd name="connsiteX5" fmla="*/ 1366746 w 2344524"/>
                    <a:gd name="connsiteY5" fmla="*/ 535548 h 706212"/>
                    <a:gd name="connsiteX6" fmla="*/ 1733459 w 2344524"/>
                    <a:gd name="connsiteY6" fmla="*/ 545073 h 706212"/>
                    <a:gd name="connsiteX7" fmla="*/ 1976346 w 2344524"/>
                    <a:gd name="connsiteY7" fmla="*/ 540310 h 706212"/>
                    <a:gd name="connsiteX8" fmla="*/ 2295434 w 2344524"/>
                    <a:gd name="connsiteY8" fmla="*/ 549835 h 706212"/>
                    <a:gd name="connsiteX9" fmla="*/ 2285909 w 2344524"/>
                    <a:gd name="connsiteY9" fmla="*/ 697473 h 706212"/>
                    <a:gd name="connsiteX10" fmla="*/ 1747746 w 2344524"/>
                    <a:gd name="connsiteY10" fmla="*/ 687948 h 706212"/>
                    <a:gd name="connsiteX11" fmla="*/ 1300071 w 2344524"/>
                    <a:gd name="connsiteY11" fmla="*/ 702235 h 706212"/>
                    <a:gd name="connsiteX12" fmla="*/ 28484 w 2344524"/>
                    <a:gd name="connsiteY12" fmla="*/ 654610 h 706212"/>
                    <a:gd name="connsiteX13" fmla="*/ 18959 w 2344524"/>
                    <a:gd name="connsiteY13" fmla="*/ 554598 h 706212"/>
                    <a:gd name="connsiteX14" fmla="*/ 76109 w 2344524"/>
                    <a:gd name="connsiteY14" fmla="*/ 535548 h 706212"/>
                    <a:gd name="connsiteX15" fmla="*/ 819059 w 2344524"/>
                    <a:gd name="connsiteY15" fmla="*/ 535548 h 706212"/>
                    <a:gd name="connsiteX16" fmla="*/ 1047659 w 2344524"/>
                    <a:gd name="connsiteY16" fmla="*/ 526023 h 706212"/>
                    <a:gd name="connsiteX17" fmla="*/ 1042896 w 2344524"/>
                    <a:gd name="connsiteY17" fmla="*/ 430773 h 706212"/>
                    <a:gd name="connsiteX18" fmla="*/ 1033371 w 2344524"/>
                    <a:gd name="connsiteY18" fmla="*/ 216460 h 706212"/>
                    <a:gd name="connsiteX19" fmla="*/ 1042896 w 2344524"/>
                    <a:gd name="connsiteY19" fmla="*/ 21198 h 706212"/>
                    <a:gd name="connsiteX0" fmla="*/ 1042896 w 2344524"/>
                    <a:gd name="connsiteY0" fmla="*/ 21198 h 706347"/>
                    <a:gd name="connsiteX1" fmla="*/ 1300071 w 2344524"/>
                    <a:gd name="connsiteY1" fmla="*/ 11673 h 706347"/>
                    <a:gd name="connsiteX2" fmla="*/ 1295309 w 2344524"/>
                    <a:gd name="connsiteY2" fmla="*/ 78348 h 706347"/>
                    <a:gd name="connsiteX3" fmla="*/ 1285784 w 2344524"/>
                    <a:gd name="connsiteY3" fmla="*/ 426010 h 706347"/>
                    <a:gd name="connsiteX4" fmla="*/ 1300071 w 2344524"/>
                    <a:gd name="connsiteY4" fmla="*/ 530785 h 706347"/>
                    <a:gd name="connsiteX5" fmla="*/ 1366746 w 2344524"/>
                    <a:gd name="connsiteY5" fmla="*/ 535548 h 706347"/>
                    <a:gd name="connsiteX6" fmla="*/ 1733459 w 2344524"/>
                    <a:gd name="connsiteY6" fmla="*/ 545073 h 706347"/>
                    <a:gd name="connsiteX7" fmla="*/ 1976346 w 2344524"/>
                    <a:gd name="connsiteY7" fmla="*/ 540310 h 706347"/>
                    <a:gd name="connsiteX8" fmla="*/ 2295434 w 2344524"/>
                    <a:gd name="connsiteY8" fmla="*/ 549835 h 706347"/>
                    <a:gd name="connsiteX9" fmla="*/ 2285909 w 2344524"/>
                    <a:gd name="connsiteY9" fmla="*/ 697473 h 706347"/>
                    <a:gd name="connsiteX10" fmla="*/ 1747746 w 2344524"/>
                    <a:gd name="connsiteY10" fmla="*/ 687948 h 706347"/>
                    <a:gd name="connsiteX11" fmla="*/ 1290546 w 2344524"/>
                    <a:gd name="connsiteY11" fmla="*/ 673660 h 706347"/>
                    <a:gd name="connsiteX12" fmla="*/ 28484 w 2344524"/>
                    <a:gd name="connsiteY12" fmla="*/ 654610 h 706347"/>
                    <a:gd name="connsiteX13" fmla="*/ 18959 w 2344524"/>
                    <a:gd name="connsiteY13" fmla="*/ 554598 h 706347"/>
                    <a:gd name="connsiteX14" fmla="*/ 76109 w 2344524"/>
                    <a:gd name="connsiteY14" fmla="*/ 535548 h 706347"/>
                    <a:gd name="connsiteX15" fmla="*/ 819059 w 2344524"/>
                    <a:gd name="connsiteY15" fmla="*/ 535548 h 706347"/>
                    <a:gd name="connsiteX16" fmla="*/ 1047659 w 2344524"/>
                    <a:gd name="connsiteY16" fmla="*/ 526023 h 706347"/>
                    <a:gd name="connsiteX17" fmla="*/ 1042896 w 2344524"/>
                    <a:gd name="connsiteY17" fmla="*/ 430773 h 706347"/>
                    <a:gd name="connsiteX18" fmla="*/ 1033371 w 2344524"/>
                    <a:gd name="connsiteY18" fmla="*/ 216460 h 706347"/>
                    <a:gd name="connsiteX19" fmla="*/ 1042896 w 2344524"/>
                    <a:gd name="connsiteY19" fmla="*/ 21198 h 706347"/>
                    <a:gd name="connsiteX0" fmla="*/ 1037649 w 2339277"/>
                    <a:gd name="connsiteY0" fmla="*/ 21198 h 706347"/>
                    <a:gd name="connsiteX1" fmla="*/ 1294824 w 2339277"/>
                    <a:gd name="connsiteY1" fmla="*/ 11673 h 706347"/>
                    <a:gd name="connsiteX2" fmla="*/ 1290062 w 2339277"/>
                    <a:gd name="connsiteY2" fmla="*/ 78348 h 706347"/>
                    <a:gd name="connsiteX3" fmla="*/ 1280537 w 2339277"/>
                    <a:gd name="connsiteY3" fmla="*/ 426010 h 706347"/>
                    <a:gd name="connsiteX4" fmla="*/ 1294824 w 2339277"/>
                    <a:gd name="connsiteY4" fmla="*/ 530785 h 706347"/>
                    <a:gd name="connsiteX5" fmla="*/ 1361499 w 2339277"/>
                    <a:gd name="connsiteY5" fmla="*/ 535548 h 706347"/>
                    <a:gd name="connsiteX6" fmla="*/ 1728212 w 2339277"/>
                    <a:gd name="connsiteY6" fmla="*/ 545073 h 706347"/>
                    <a:gd name="connsiteX7" fmla="*/ 1971099 w 2339277"/>
                    <a:gd name="connsiteY7" fmla="*/ 540310 h 706347"/>
                    <a:gd name="connsiteX8" fmla="*/ 2290187 w 2339277"/>
                    <a:gd name="connsiteY8" fmla="*/ 549835 h 706347"/>
                    <a:gd name="connsiteX9" fmla="*/ 2280662 w 2339277"/>
                    <a:gd name="connsiteY9" fmla="*/ 697473 h 706347"/>
                    <a:gd name="connsiteX10" fmla="*/ 1742499 w 2339277"/>
                    <a:gd name="connsiteY10" fmla="*/ 687948 h 706347"/>
                    <a:gd name="connsiteX11" fmla="*/ 1285299 w 2339277"/>
                    <a:gd name="connsiteY11" fmla="*/ 673660 h 706347"/>
                    <a:gd name="connsiteX12" fmla="*/ 23237 w 2339277"/>
                    <a:gd name="connsiteY12" fmla="*/ 654610 h 706347"/>
                    <a:gd name="connsiteX13" fmla="*/ 13712 w 2339277"/>
                    <a:gd name="connsiteY13" fmla="*/ 554598 h 706347"/>
                    <a:gd name="connsiteX14" fmla="*/ 123250 w 2339277"/>
                    <a:gd name="connsiteY14" fmla="*/ 516498 h 706347"/>
                    <a:gd name="connsiteX15" fmla="*/ 813812 w 2339277"/>
                    <a:gd name="connsiteY15" fmla="*/ 535548 h 706347"/>
                    <a:gd name="connsiteX16" fmla="*/ 1042412 w 2339277"/>
                    <a:gd name="connsiteY16" fmla="*/ 526023 h 706347"/>
                    <a:gd name="connsiteX17" fmla="*/ 1037649 w 2339277"/>
                    <a:gd name="connsiteY17" fmla="*/ 430773 h 706347"/>
                    <a:gd name="connsiteX18" fmla="*/ 1028124 w 2339277"/>
                    <a:gd name="connsiteY18" fmla="*/ 216460 h 706347"/>
                    <a:gd name="connsiteX19" fmla="*/ 1037649 w 2339277"/>
                    <a:gd name="connsiteY19" fmla="*/ 21198 h 706347"/>
                    <a:gd name="connsiteX0" fmla="*/ 1037649 w 2317609"/>
                    <a:gd name="connsiteY0" fmla="*/ 21198 h 724730"/>
                    <a:gd name="connsiteX1" fmla="*/ 1294824 w 2317609"/>
                    <a:gd name="connsiteY1" fmla="*/ 11673 h 724730"/>
                    <a:gd name="connsiteX2" fmla="*/ 1290062 w 2317609"/>
                    <a:gd name="connsiteY2" fmla="*/ 78348 h 724730"/>
                    <a:gd name="connsiteX3" fmla="*/ 1280537 w 2317609"/>
                    <a:gd name="connsiteY3" fmla="*/ 426010 h 724730"/>
                    <a:gd name="connsiteX4" fmla="*/ 1294824 w 2317609"/>
                    <a:gd name="connsiteY4" fmla="*/ 530785 h 724730"/>
                    <a:gd name="connsiteX5" fmla="*/ 1361499 w 2317609"/>
                    <a:gd name="connsiteY5" fmla="*/ 535548 h 724730"/>
                    <a:gd name="connsiteX6" fmla="*/ 1728212 w 2317609"/>
                    <a:gd name="connsiteY6" fmla="*/ 545073 h 724730"/>
                    <a:gd name="connsiteX7" fmla="*/ 1971099 w 2317609"/>
                    <a:gd name="connsiteY7" fmla="*/ 540310 h 724730"/>
                    <a:gd name="connsiteX8" fmla="*/ 2290187 w 2317609"/>
                    <a:gd name="connsiteY8" fmla="*/ 549835 h 724730"/>
                    <a:gd name="connsiteX9" fmla="*/ 2280662 w 2317609"/>
                    <a:gd name="connsiteY9" fmla="*/ 697473 h 724730"/>
                    <a:gd name="connsiteX10" fmla="*/ 1742499 w 2317609"/>
                    <a:gd name="connsiteY10" fmla="*/ 687948 h 724730"/>
                    <a:gd name="connsiteX11" fmla="*/ 1285299 w 2317609"/>
                    <a:gd name="connsiteY11" fmla="*/ 673660 h 724730"/>
                    <a:gd name="connsiteX12" fmla="*/ 23237 w 2317609"/>
                    <a:gd name="connsiteY12" fmla="*/ 654610 h 724730"/>
                    <a:gd name="connsiteX13" fmla="*/ 13712 w 2317609"/>
                    <a:gd name="connsiteY13" fmla="*/ 554598 h 724730"/>
                    <a:gd name="connsiteX14" fmla="*/ 123250 w 2317609"/>
                    <a:gd name="connsiteY14" fmla="*/ 516498 h 724730"/>
                    <a:gd name="connsiteX15" fmla="*/ 813812 w 2317609"/>
                    <a:gd name="connsiteY15" fmla="*/ 535548 h 724730"/>
                    <a:gd name="connsiteX16" fmla="*/ 1042412 w 2317609"/>
                    <a:gd name="connsiteY16" fmla="*/ 526023 h 724730"/>
                    <a:gd name="connsiteX17" fmla="*/ 1037649 w 2317609"/>
                    <a:gd name="connsiteY17" fmla="*/ 430773 h 724730"/>
                    <a:gd name="connsiteX18" fmla="*/ 1028124 w 2317609"/>
                    <a:gd name="connsiteY18" fmla="*/ 216460 h 724730"/>
                    <a:gd name="connsiteX19" fmla="*/ 1037649 w 2317609"/>
                    <a:gd name="connsiteY19" fmla="*/ 21198 h 724730"/>
                    <a:gd name="connsiteX0" fmla="*/ 1037649 w 2314022"/>
                    <a:gd name="connsiteY0" fmla="*/ 21198 h 717237"/>
                    <a:gd name="connsiteX1" fmla="*/ 1294824 w 2314022"/>
                    <a:gd name="connsiteY1" fmla="*/ 11673 h 717237"/>
                    <a:gd name="connsiteX2" fmla="*/ 1290062 w 2314022"/>
                    <a:gd name="connsiteY2" fmla="*/ 78348 h 717237"/>
                    <a:gd name="connsiteX3" fmla="*/ 1280537 w 2314022"/>
                    <a:gd name="connsiteY3" fmla="*/ 426010 h 717237"/>
                    <a:gd name="connsiteX4" fmla="*/ 1294824 w 2314022"/>
                    <a:gd name="connsiteY4" fmla="*/ 530785 h 717237"/>
                    <a:gd name="connsiteX5" fmla="*/ 1361499 w 2314022"/>
                    <a:gd name="connsiteY5" fmla="*/ 535548 h 717237"/>
                    <a:gd name="connsiteX6" fmla="*/ 1728212 w 2314022"/>
                    <a:gd name="connsiteY6" fmla="*/ 545073 h 717237"/>
                    <a:gd name="connsiteX7" fmla="*/ 1971099 w 2314022"/>
                    <a:gd name="connsiteY7" fmla="*/ 540310 h 717237"/>
                    <a:gd name="connsiteX8" fmla="*/ 2290187 w 2314022"/>
                    <a:gd name="connsiteY8" fmla="*/ 549835 h 717237"/>
                    <a:gd name="connsiteX9" fmla="*/ 2271137 w 2314022"/>
                    <a:gd name="connsiteY9" fmla="*/ 687948 h 717237"/>
                    <a:gd name="connsiteX10" fmla="*/ 1742499 w 2314022"/>
                    <a:gd name="connsiteY10" fmla="*/ 687948 h 717237"/>
                    <a:gd name="connsiteX11" fmla="*/ 1285299 w 2314022"/>
                    <a:gd name="connsiteY11" fmla="*/ 673660 h 717237"/>
                    <a:gd name="connsiteX12" fmla="*/ 23237 w 2314022"/>
                    <a:gd name="connsiteY12" fmla="*/ 654610 h 717237"/>
                    <a:gd name="connsiteX13" fmla="*/ 13712 w 2314022"/>
                    <a:gd name="connsiteY13" fmla="*/ 554598 h 717237"/>
                    <a:gd name="connsiteX14" fmla="*/ 123250 w 2314022"/>
                    <a:gd name="connsiteY14" fmla="*/ 516498 h 717237"/>
                    <a:gd name="connsiteX15" fmla="*/ 813812 w 2314022"/>
                    <a:gd name="connsiteY15" fmla="*/ 535548 h 717237"/>
                    <a:gd name="connsiteX16" fmla="*/ 1042412 w 2314022"/>
                    <a:gd name="connsiteY16" fmla="*/ 526023 h 717237"/>
                    <a:gd name="connsiteX17" fmla="*/ 1037649 w 2314022"/>
                    <a:gd name="connsiteY17" fmla="*/ 430773 h 717237"/>
                    <a:gd name="connsiteX18" fmla="*/ 1028124 w 2314022"/>
                    <a:gd name="connsiteY18" fmla="*/ 216460 h 717237"/>
                    <a:gd name="connsiteX19" fmla="*/ 1037649 w 2314022"/>
                    <a:gd name="connsiteY19" fmla="*/ 21198 h 717237"/>
                    <a:gd name="connsiteX0" fmla="*/ 1037649 w 2314022"/>
                    <a:gd name="connsiteY0" fmla="*/ 21198 h 714231"/>
                    <a:gd name="connsiteX1" fmla="*/ 1294824 w 2314022"/>
                    <a:gd name="connsiteY1" fmla="*/ 11673 h 714231"/>
                    <a:gd name="connsiteX2" fmla="*/ 1290062 w 2314022"/>
                    <a:gd name="connsiteY2" fmla="*/ 78348 h 714231"/>
                    <a:gd name="connsiteX3" fmla="*/ 1280537 w 2314022"/>
                    <a:gd name="connsiteY3" fmla="*/ 426010 h 714231"/>
                    <a:gd name="connsiteX4" fmla="*/ 1294824 w 2314022"/>
                    <a:gd name="connsiteY4" fmla="*/ 530785 h 714231"/>
                    <a:gd name="connsiteX5" fmla="*/ 1361499 w 2314022"/>
                    <a:gd name="connsiteY5" fmla="*/ 535548 h 714231"/>
                    <a:gd name="connsiteX6" fmla="*/ 1728212 w 2314022"/>
                    <a:gd name="connsiteY6" fmla="*/ 545073 h 714231"/>
                    <a:gd name="connsiteX7" fmla="*/ 1971099 w 2314022"/>
                    <a:gd name="connsiteY7" fmla="*/ 540310 h 714231"/>
                    <a:gd name="connsiteX8" fmla="*/ 2290187 w 2314022"/>
                    <a:gd name="connsiteY8" fmla="*/ 549835 h 714231"/>
                    <a:gd name="connsiteX9" fmla="*/ 2271137 w 2314022"/>
                    <a:gd name="connsiteY9" fmla="*/ 687948 h 714231"/>
                    <a:gd name="connsiteX10" fmla="*/ 1742499 w 2314022"/>
                    <a:gd name="connsiteY10" fmla="*/ 687948 h 714231"/>
                    <a:gd name="connsiteX11" fmla="*/ 1285299 w 2314022"/>
                    <a:gd name="connsiteY11" fmla="*/ 673660 h 714231"/>
                    <a:gd name="connsiteX12" fmla="*/ 23237 w 2314022"/>
                    <a:gd name="connsiteY12" fmla="*/ 654610 h 714231"/>
                    <a:gd name="connsiteX13" fmla="*/ 13712 w 2314022"/>
                    <a:gd name="connsiteY13" fmla="*/ 554598 h 714231"/>
                    <a:gd name="connsiteX14" fmla="*/ 123250 w 2314022"/>
                    <a:gd name="connsiteY14" fmla="*/ 516498 h 714231"/>
                    <a:gd name="connsiteX15" fmla="*/ 813812 w 2314022"/>
                    <a:gd name="connsiteY15" fmla="*/ 535548 h 714231"/>
                    <a:gd name="connsiteX16" fmla="*/ 1042412 w 2314022"/>
                    <a:gd name="connsiteY16" fmla="*/ 526023 h 714231"/>
                    <a:gd name="connsiteX17" fmla="*/ 1037649 w 2314022"/>
                    <a:gd name="connsiteY17" fmla="*/ 430773 h 714231"/>
                    <a:gd name="connsiteX18" fmla="*/ 1028124 w 2314022"/>
                    <a:gd name="connsiteY18" fmla="*/ 216460 h 714231"/>
                    <a:gd name="connsiteX19" fmla="*/ 1037649 w 2314022"/>
                    <a:gd name="connsiteY19" fmla="*/ 21198 h 714231"/>
                    <a:gd name="connsiteX0" fmla="*/ 1037649 w 2316170"/>
                    <a:gd name="connsiteY0" fmla="*/ 21198 h 699587"/>
                    <a:gd name="connsiteX1" fmla="*/ 1294824 w 2316170"/>
                    <a:gd name="connsiteY1" fmla="*/ 11673 h 699587"/>
                    <a:gd name="connsiteX2" fmla="*/ 1290062 w 2316170"/>
                    <a:gd name="connsiteY2" fmla="*/ 78348 h 699587"/>
                    <a:gd name="connsiteX3" fmla="*/ 1280537 w 2316170"/>
                    <a:gd name="connsiteY3" fmla="*/ 426010 h 699587"/>
                    <a:gd name="connsiteX4" fmla="*/ 1294824 w 2316170"/>
                    <a:gd name="connsiteY4" fmla="*/ 530785 h 699587"/>
                    <a:gd name="connsiteX5" fmla="*/ 1361499 w 2316170"/>
                    <a:gd name="connsiteY5" fmla="*/ 535548 h 699587"/>
                    <a:gd name="connsiteX6" fmla="*/ 1728212 w 2316170"/>
                    <a:gd name="connsiteY6" fmla="*/ 545073 h 699587"/>
                    <a:gd name="connsiteX7" fmla="*/ 1971099 w 2316170"/>
                    <a:gd name="connsiteY7" fmla="*/ 540310 h 699587"/>
                    <a:gd name="connsiteX8" fmla="*/ 2290187 w 2316170"/>
                    <a:gd name="connsiteY8" fmla="*/ 549835 h 699587"/>
                    <a:gd name="connsiteX9" fmla="*/ 2271137 w 2316170"/>
                    <a:gd name="connsiteY9" fmla="*/ 687948 h 699587"/>
                    <a:gd name="connsiteX10" fmla="*/ 1742499 w 2316170"/>
                    <a:gd name="connsiteY10" fmla="*/ 687948 h 699587"/>
                    <a:gd name="connsiteX11" fmla="*/ 1285299 w 2316170"/>
                    <a:gd name="connsiteY11" fmla="*/ 673660 h 699587"/>
                    <a:gd name="connsiteX12" fmla="*/ 23237 w 2316170"/>
                    <a:gd name="connsiteY12" fmla="*/ 654610 h 699587"/>
                    <a:gd name="connsiteX13" fmla="*/ 13712 w 2316170"/>
                    <a:gd name="connsiteY13" fmla="*/ 554598 h 699587"/>
                    <a:gd name="connsiteX14" fmla="*/ 123250 w 2316170"/>
                    <a:gd name="connsiteY14" fmla="*/ 516498 h 699587"/>
                    <a:gd name="connsiteX15" fmla="*/ 813812 w 2316170"/>
                    <a:gd name="connsiteY15" fmla="*/ 535548 h 699587"/>
                    <a:gd name="connsiteX16" fmla="*/ 1042412 w 2316170"/>
                    <a:gd name="connsiteY16" fmla="*/ 526023 h 699587"/>
                    <a:gd name="connsiteX17" fmla="*/ 1037649 w 2316170"/>
                    <a:gd name="connsiteY17" fmla="*/ 430773 h 699587"/>
                    <a:gd name="connsiteX18" fmla="*/ 1028124 w 2316170"/>
                    <a:gd name="connsiteY18" fmla="*/ 216460 h 699587"/>
                    <a:gd name="connsiteX19" fmla="*/ 1037649 w 2316170"/>
                    <a:gd name="connsiteY19" fmla="*/ 21198 h 699587"/>
                    <a:gd name="connsiteX0" fmla="*/ 1037649 w 2316170"/>
                    <a:gd name="connsiteY0" fmla="*/ 21198 h 699587"/>
                    <a:gd name="connsiteX1" fmla="*/ 1294824 w 2316170"/>
                    <a:gd name="connsiteY1" fmla="*/ 11673 h 699587"/>
                    <a:gd name="connsiteX2" fmla="*/ 1290062 w 2316170"/>
                    <a:gd name="connsiteY2" fmla="*/ 78348 h 699587"/>
                    <a:gd name="connsiteX3" fmla="*/ 1280537 w 2316170"/>
                    <a:gd name="connsiteY3" fmla="*/ 426010 h 699587"/>
                    <a:gd name="connsiteX4" fmla="*/ 1294824 w 2316170"/>
                    <a:gd name="connsiteY4" fmla="*/ 530785 h 699587"/>
                    <a:gd name="connsiteX5" fmla="*/ 1361499 w 2316170"/>
                    <a:gd name="connsiteY5" fmla="*/ 535548 h 699587"/>
                    <a:gd name="connsiteX6" fmla="*/ 1728212 w 2316170"/>
                    <a:gd name="connsiteY6" fmla="*/ 545073 h 699587"/>
                    <a:gd name="connsiteX7" fmla="*/ 1971099 w 2316170"/>
                    <a:gd name="connsiteY7" fmla="*/ 540310 h 699587"/>
                    <a:gd name="connsiteX8" fmla="*/ 2290187 w 2316170"/>
                    <a:gd name="connsiteY8" fmla="*/ 549835 h 699587"/>
                    <a:gd name="connsiteX9" fmla="*/ 2271137 w 2316170"/>
                    <a:gd name="connsiteY9" fmla="*/ 687948 h 699587"/>
                    <a:gd name="connsiteX10" fmla="*/ 1742499 w 2316170"/>
                    <a:gd name="connsiteY10" fmla="*/ 687948 h 699587"/>
                    <a:gd name="connsiteX11" fmla="*/ 1285299 w 2316170"/>
                    <a:gd name="connsiteY11" fmla="*/ 673660 h 699587"/>
                    <a:gd name="connsiteX12" fmla="*/ 23237 w 2316170"/>
                    <a:gd name="connsiteY12" fmla="*/ 654610 h 699587"/>
                    <a:gd name="connsiteX13" fmla="*/ 13712 w 2316170"/>
                    <a:gd name="connsiteY13" fmla="*/ 554598 h 699587"/>
                    <a:gd name="connsiteX14" fmla="*/ 123250 w 2316170"/>
                    <a:gd name="connsiteY14" fmla="*/ 516498 h 699587"/>
                    <a:gd name="connsiteX15" fmla="*/ 813812 w 2316170"/>
                    <a:gd name="connsiteY15" fmla="*/ 535548 h 699587"/>
                    <a:gd name="connsiteX16" fmla="*/ 999549 w 2316170"/>
                    <a:gd name="connsiteY16" fmla="*/ 530786 h 699587"/>
                    <a:gd name="connsiteX17" fmla="*/ 1037649 w 2316170"/>
                    <a:gd name="connsiteY17" fmla="*/ 430773 h 699587"/>
                    <a:gd name="connsiteX18" fmla="*/ 1028124 w 2316170"/>
                    <a:gd name="connsiteY18" fmla="*/ 216460 h 699587"/>
                    <a:gd name="connsiteX19" fmla="*/ 1037649 w 2316170"/>
                    <a:gd name="connsiteY19" fmla="*/ 21198 h 699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316170" h="699587">
                      <a:moveTo>
                        <a:pt x="1037649" y="21198"/>
                      </a:moveTo>
                      <a:cubicBezTo>
                        <a:pt x="1082099" y="-12933"/>
                        <a:pt x="1252755" y="2148"/>
                        <a:pt x="1294824" y="11673"/>
                      </a:cubicBezTo>
                      <a:cubicBezTo>
                        <a:pt x="1336893" y="21198"/>
                        <a:pt x="1292443" y="9292"/>
                        <a:pt x="1290062" y="78348"/>
                      </a:cubicBezTo>
                      <a:cubicBezTo>
                        <a:pt x="1287681" y="147404"/>
                        <a:pt x="1279743" y="350604"/>
                        <a:pt x="1280537" y="426010"/>
                      </a:cubicBezTo>
                      <a:cubicBezTo>
                        <a:pt x="1280774" y="432897"/>
                        <a:pt x="1290479" y="530475"/>
                        <a:pt x="1294824" y="530785"/>
                      </a:cubicBezTo>
                      <a:lnTo>
                        <a:pt x="1361499" y="535548"/>
                      </a:lnTo>
                      <a:lnTo>
                        <a:pt x="1728212" y="545073"/>
                      </a:lnTo>
                      <a:cubicBezTo>
                        <a:pt x="1809101" y="541281"/>
                        <a:pt x="1890137" y="541898"/>
                        <a:pt x="1971099" y="540310"/>
                      </a:cubicBezTo>
                      <a:cubicBezTo>
                        <a:pt x="2077462" y="543485"/>
                        <a:pt x="2240181" y="525229"/>
                        <a:pt x="2290187" y="549835"/>
                      </a:cubicBezTo>
                      <a:cubicBezTo>
                        <a:pt x="2340193" y="574441"/>
                        <a:pt x="2309191" y="674301"/>
                        <a:pt x="2271137" y="687948"/>
                      </a:cubicBezTo>
                      <a:cubicBezTo>
                        <a:pt x="2183700" y="719305"/>
                        <a:pt x="1906805" y="676042"/>
                        <a:pt x="1742499" y="687948"/>
                      </a:cubicBezTo>
                      <a:cubicBezTo>
                        <a:pt x="1578605" y="699824"/>
                        <a:pt x="1571843" y="679216"/>
                        <a:pt x="1285299" y="673660"/>
                      </a:cubicBezTo>
                      <a:lnTo>
                        <a:pt x="23237" y="654610"/>
                      </a:lnTo>
                      <a:cubicBezTo>
                        <a:pt x="-9307" y="663341"/>
                        <a:pt x="-2957" y="577617"/>
                        <a:pt x="13712" y="554598"/>
                      </a:cubicBezTo>
                      <a:cubicBezTo>
                        <a:pt x="30381" y="531579"/>
                        <a:pt x="-10100" y="519673"/>
                        <a:pt x="123250" y="516498"/>
                      </a:cubicBezTo>
                      <a:cubicBezTo>
                        <a:pt x="395067" y="546697"/>
                        <a:pt x="667762" y="533167"/>
                        <a:pt x="813812" y="535548"/>
                      </a:cubicBezTo>
                      <a:cubicBezTo>
                        <a:pt x="959862" y="537929"/>
                        <a:pt x="923349" y="533961"/>
                        <a:pt x="999549" y="530786"/>
                      </a:cubicBezTo>
                      <a:cubicBezTo>
                        <a:pt x="1036855" y="513323"/>
                        <a:pt x="1032887" y="483161"/>
                        <a:pt x="1037649" y="430773"/>
                      </a:cubicBezTo>
                      <a:cubicBezTo>
                        <a:pt x="1042411" y="378385"/>
                        <a:pt x="1028124" y="284722"/>
                        <a:pt x="1028124" y="216460"/>
                      </a:cubicBezTo>
                      <a:cubicBezTo>
                        <a:pt x="1028124" y="148198"/>
                        <a:pt x="993199" y="55329"/>
                        <a:pt x="1037649" y="21198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29" name="Freeform: Shape 128">
                  <a:extLst>
                    <a:ext uri="{FF2B5EF4-FFF2-40B4-BE49-F238E27FC236}">
                      <a16:creationId xmlns:a16="http://schemas.microsoft.com/office/drawing/2014/main" id="{1E5E188E-7AE3-E955-2945-3E8C2622E034}"/>
                    </a:ext>
                  </a:extLst>
                </p:cNvPr>
                <p:cNvSpPr/>
                <p:nvPr/>
              </p:nvSpPr>
              <p:spPr>
                <a:xfrm>
                  <a:off x="7087743" y="4994509"/>
                  <a:ext cx="2316170" cy="699587"/>
                </a:xfrm>
                <a:custGeom>
                  <a:avLst/>
                  <a:gdLst>
                    <a:gd name="connsiteX0" fmla="*/ 1006283 w 2315970"/>
                    <a:gd name="connsiteY0" fmla="*/ 5467 h 715079"/>
                    <a:gd name="connsiteX1" fmla="*/ 1263458 w 2315970"/>
                    <a:gd name="connsiteY1" fmla="*/ 704 h 715079"/>
                    <a:gd name="connsiteX2" fmla="*/ 1287270 w 2315970"/>
                    <a:gd name="connsiteY2" fmla="*/ 5467 h 715079"/>
                    <a:gd name="connsiteX3" fmla="*/ 1282508 w 2315970"/>
                    <a:gd name="connsiteY3" fmla="*/ 72142 h 715079"/>
                    <a:gd name="connsiteX4" fmla="*/ 1272983 w 2315970"/>
                    <a:gd name="connsiteY4" fmla="*/ 119767 h 715079"/>
                    <a:gd name="connsiteX5" fmla="*/ 1272983 w 2315970"/>
                    <a:gd name="connsiteY5" fmla="*/ 419804 h 715079"/>
                    <a:gd name="connsiteX6" fmla="*/ 1287270 w 2315970"/>
                    <a:gd name="connsiteY6" fmla="*/ 524579 h 715079"/>
                    <a:gd name="connsiteX7" fmla="*/ 1353945 w 2315970"/>
                    <a:gd name="connsiteY7" fmla="*/ 529342 h 715079"/>
                    <a:gd name="connsiteX8" fmla="*/ 1401570 w 2315970"/>
                    <a:gd name="connsiteY8" fmla="*/ 538867 h 715079"/>
                    <a:gd name="connsiteX9" fmla="*/ 1430145 w 2315970"/>
                    <a:gd name="connsiteY9" fmla="*/ 543629 h 715079"/>
                    <a:gd name="connsiteX10" fmla="*/ 1463483 w 2315970"/>
                    <a:gd name="connsiteY10" fmla="*/ 553154 h 715079"/>
                    <a:gd name="connsiteX11" fmla="*/ 1658745 w 2315970"/>
                    <a:gd name="connsiteY11" fmla="*/ 548392 h 715079"/>
                    <a:gd name="connsiteX12" fmla="*/ 1720658 w 2315970"/>
                    <a:gd name="connsiteY12" fmla="*/ 538867 h 715079"/>
                    <a:gd name="connsiteX13" fmla="*/ 1963545 w 2315970"/>
                    <a:gd name="connsiteY13" fmla="*/ 534104 h 715079"/>
                    <a:gd name="connsiteX14" fmla="*/ 2282633 w 2315970"/>
                    <a:gd name="connsiteY14" fmla="*/ 543629 h 715079"/>
                    <a:gd name="connsiteX15" fmla="*/ 2287395 w 2315970"/>
                    <a:gd name="connsiteY15" fmla="*/ 562679 h 715079"/>
                    <a:gd name="connsiteX16" fmla="*/ 2301683 w 2315970"/>
                    <a:gd name="connsiteY16" fmla="*/ 581729 h 715079"/>
                    <a:gd name="connsiteX17" fmla="*/ 2306445 w 2315970"/>
                    <a:gd name="connsiteY17" fmla="*/ 615067 h 715079"/>
                    <a:gd name="connsiteX18" fmla="*/ 2315970 w 2315970"/>
                    <a:gd name="connsiteY18" fmla="*/ 643642 h 715079"/>
                    <a:gd name="connsiteX19" fmla="*/ 2306445 w 2315970"/>
                    <a:gd name="connsiteY19" fmla="*/ 676979 h 715079"/>
                    <a:gd name="connsiteX20" fmla="*/ 2273108 w 2315970"/>
                    <a:gd name="connsiteY20" fmla="*/ 691267 h 715079"/>
                    <a:gd name="connsiteX21" fmla="*/ 1963545 w 2315970"/>
                    <a:gd name="connsiteY21" fmla="*/ 681742 h 715079"/>
                    <a:gd name="connsiteX22" fmla="*/ 1734945 w 2315970"/>
                    <a:gd name="connsiteY22" fmla="*/ 681742 h 715079"/>
                    <a:gd name="connsiteX23" fmla="*/ 1634933 w 2315970"/>
                    <a:gd name="connsiteY23" fmla="*/ 696029 h 715079"/>
                    <a:gd name="connsiteX24" fmla="*/ 1601595 w 2315970"/>
                    <a:gd name="connsiteY24" fmla="*/ 705554 h 715079"/>
                    <a:gd name="connsiteX25" fmla="*/ 1287270 w 2315970"/>
                    <a:gd name="connsiteY25" fmla="*/ 696029 h 715079"/>
                    <a:gd name="connsiteX26" fmla="*/ 1263458 w 2315970"/>
                    <a:gd name="connsiteY26" fmla="*/ 691267 h 715079"/>
                    <a:gd name="connsiteX27" fmla="*/ 430020 w 2315970"/>
                    <a:gd name="connsiteY27" fmla="*/ 700792 h 715079"/>
                    <a:gd name="connsiteX28" fmla="*/ 339533 w 2315970"/>
                    <a:gd name="connsiteY28" fmla="*/ 715079 h 715079"/>
                    <a:gd name="connsiteX29" fmla="*/ 125220 w 2315970"/>
                    <a:gd name="connsiteY29" fmla="*/ 705554 h 715079"/>
                    <a:gd name="connsiteX30" fmla="*/ 77595 w 2315970"/>
                    <a:gd name="connsiteY30" fmla="*/ 696029 h 715079"/>
                    <a:gd name="connsiteX31" fmla="*/ 49020 w 2315970"/>
                    <a:gd name="connsiteY31" fmla="*/ 691267 h 715079"/>
                    <a:gd name="connsiteX32" fmla="*/ 39495 w 2315970"/>
                    <a:gd name="connsiteY32" fmla="*/ 676979 h 715079"/>
                    <a:gd name="connsiteX33" fmla="*/ 15683 w 2315970"/>
                    <a:gd name="connsiteY33" fmla="*/ 648404 h 715079"/>
                    <a:gd name="connsiteX34" fmla="*/ 6158 w 2315970"/>
                    <a:gd name="connsiteY34" fmla="*/ 548392 h 715079"/>
                    <a:gd name="connsiteX35" fmla="*/ 1395 w 2315970"/>
                    <a:gd name="connsiteY35" fmla="*/ 534104 h 715079"/>
                    <a:gd name="connsiteX36" fmla="*/ 63308 w 2315970"/>
                    <a:gd name="connsiteY36" fmla="*/ 529342 h 715079"/>
                    <a:gd name="connsiteX37" fmla="*/ 806258 w 2315970"/>
                    <a:gd name="connsiteY37" fmla="*/ 529342 h 715079"/>
                    <a:gd name="connsiteX38" fmla="*/ 1034858 w 2315970"/>
                    <a:gd name="connsiteY38" fmla="*/ 519817 h 715079"/>
                    <a:gd name="connsiteX39" fmla="*/ 1039620 w 2315970"/>
                    <a:gd name="connsiteY39" fmla="*/ 472192 h 715079"/>
                    <a:gd name="connsiteX40" fmla="*/ 1030095 w 2315970"/>
                    <a:gd name="connsiteY40" fmla="*/ 424567 h 715079"/>
                    <a:gd name="connsiteX41" fmla="*/ 1025333 w 2315970"/>
                    <a:gd name="connsiteY41" fmla="*/ 405517 h 715079"/>
                    <a:gd name="connsiteX42" fmla="*/ 1011045 w 2315970"/>
                    <a:gd name="connsiteY42" fmla="*/ 334079 h 715079"/>
                    <a:gd name="connsiteX43" fmla="*/ 1020570 w 2315970"/>
                    <a:gd name="connsiteY43" fmla="*/ 210254 h 715079"/>
                    <a:gd name="connsiteX44" fmla="*/ 1034858 w 2315970"/>
                    <a:gd name="connsiteY44" fmla="*/ 157867 h 715079"/>
                    <a:gd name="connsiteX45" fmla="*/ 1049145 w 2315970"/>
                    <a:gd name="connsiteY45" fmla="*/ 115004 h 715079"/>
                    <a:gd name="connsiteX46" fmla="*/ 1030095 w 2315970"/>
                    <a:gd name="connsiteY46" fmla="*/ 14992 h 715079"/>
                    <a:gd name="connsiteX47" fmla="*/ 1020570 w 2315970"/>
                    <a:gd name="connsiteY47" fmla="*/ 704 h 715079"/>
                    <a:gd name="connsiteX48" fmla="*/ 1006283 w 2315970"/>
                    <a:gd name="connsiteY48" fmla="*/ 5467 h 715079"/>
                    <a:gd name="connsiteX0" fmla="*/ 1020570 w 2315970"/>
                    <a:gd name="connsiteY0" fmla="*/ 1257 h 715632"/>
                    <a:gd name="connsiteX1" fmla="*/ 1263458 w 2315970"/>
                    <a:gd name="connsiteY1" fmla="*/ 1257 h 715632"/>
                    <a:gd name="connsiteX2" fmla="*/ 1287270 w 2315970"/>
                    <a:gd name="connsiteY2" fmla="*/ 6020 h 715632"/>
                    <a:gd name="connsiteX3" fmla="*/ 1282508 w 2315970"/>
                    <a:gd name="connsiteY3" fmla="*/ 72695 h 715632"/>
                    <a:gd name="connsiteX4" fmla="*/ 1272983 w 2315970"/>
                    <a:gd name="connsiteY4" fmla="*/ 120320 h 715632"/>
                    <a:gd name="connsiteX5" fmla="*/ 1272983 w 2315970"/>
                    <a:gd name="connsiteY5" fmla="*/ 420357 h 715632"/>
                    <a:gd name="connsiteX6" fmla="*/ 1287270 w 2315970"/>
                    <a:gd name="connsiteY6" fmla="*/ 525132 h 715632"/>
                    <a:gd name="connsiteX7" fmla="*/ 1353945 w 2315970"/>
                    <a:gd name="connsiteY7" fmla="*/ 529895 h 715632"/>
                    <a:gd name="connsiteX8" fmla="*/ 1401570 w 2315970"/>
                    <a:gd name="connsiteY8" fmla="*/ 539420 h 715632"/>
                    <a:gd name="connsiteX9" fmla="*/ 1430145 w 2315970"/>
                    <a:gd name="connsiteY9" fmla="*/ 544182 h 715632"/>
                    <a:gd name="connsiteX10" fmla="*/ 1463483 w 2315970"/>
                    <a:gd name="connsiteY10" fmla="*/ 553707 h 715632"/>
                    <a:gd name="connsiteX11" fmla="*/ 1658745 w 2315970"/>
                    <a:gd name="connsiteY11" fmla="*/ 548945 h 715632"/>
                    <a:gd name="connsiteX12" fmla="*/ 1720658 w 2315970"/>
                    <a:gd name="connsiteY12" fmla="*/ 539420 h 715632"/>
                    <a:gd name="connsiteX13" fmla="*/ 1963545 w 2315970"/>
                    <a:gd name="connsiteY13" fmla="*/ 534657 h 715632"/>
                    <a:gd name="connsiteX14" fmla="*/ 2282633 w 2315970"/>
                    <a:gd name="connsiteY14" fmla="*/ 544182 h 715632"/>
                    <a:gd name="connsiteX15" fmla="*/ 2287395 w 2315970"/>
                    <a:gd name="connsiteY15" fmla="*/ 563232 h 715632"/>
                    <a:gd name="connsiteX16" fmla="*/ 2301683 w 2315970"/>
                    <a:gd name="connsiteY16" fmla="*/ 582282 h 715632"/>
                    <a:gd name="connsiteX17" fmla="*/ 2306445 w 2315970"/>
                    <a:gd name="connsiteY17" fmla="*/ 615620 h 715632"/>
                    <a:gd name="connsiteX18" fmla="*/ 2315970 w 2315970"/>
                    <a:gd name="connsiteY18" fmla="*/ 644195 h 715632"/>
                    <a:gd name="connsiteX19" fmla="*/ 2306445 w 2315970"/>
                    <a:gd name="connsiteY19" fmla="*/ 677532 h 715632"/>
                    <a:gd name="connsiteX20" fmla="*/ 2273108 w 2315970"/>
                    <a:gd name="connsiteY20" fmla="*/ 691820 h 715632"/>
                    <a:gd name="connsiteX21" fmla="*/ 1963545 w 2315970"/>
                    <a:gd name="connsiteY21" fmla="*/ 682295 h 715632"/>
                    <a:gd name="connsiteX22" fmla="*/ 1734945 w 2315970"/>
                    <a:gd name="connsiteY22" fmla="*/ 682295 h 715632"/>
                    <a:gd name="connsiteX23" fmla="*/ 1634933 w 2315970"/>
                    <a:gd name="connsiteY23" fmla="*/ 696582 h 715632"/>
                    <a:gd name="connsiteX24" fmla="*/ 1601595 w 2315970"/>
                    <a:gd name="connsiteY24" fmla="*/ 706107 h 715632"/>
                    <a:gd name="connsiteX25" fmla="*/ 1287270 w 2315970"/>
                    <a:gd name="connsiteY25" fmla="*/ 696582 h 715632"/>
                    <a:gd name="connsiteX26" fmla="*/ 1263458 w 2315970"/>
                    <a:gd name="connsiteY26" fmla="*/ 691820 h 715632"/>
                    <a:gd name="connsiteX27" fmla="*/ 430020 w 2315970"/>
                    <a:gd name="connsiteY27" fmla="*/ 701345 h 715632"/>
                    <a:gd name="connsiteX28" fmla="*/ 339533 w 2315970"/>
                    <a:gd name="connsiteY28" fmla="*/ 715632 h 715632"/>
                    <a:gd name="connsiteX29" fmla="*/ 125220 w 2315970"/>
                    <a:gd name="connsiteY29" fmla="*/ 706107 h 715632"/>
                    <a:gd name="connsiteX30" fmla="*/ 77595 w 2315970"/>
                    <a:gd name="connsiteY30" fmla="*/ 696582 h 715632"/>
                    <a:gd name="connsiteX31" fmla="*/ 49020 w 2315970"/>
                    <a:gd name="connsiteY31" fmla="*/ 691820 h 715632"/>
                    <a:gd name="connsiteX32" fmla="*/ 39495 w 2315970"/>
                    <a:gd name="connsiteY32" fmla="*/ 677532 h 715632"/>
                    <a:gd name="connsiteX33" fmla="*/ 15683 w 2315970"/>
                    <a:gd name="connsiteY33" fmla="*/ 648957 h 715632"/>
                    <a:gd name="connsiteX34" fmla="*/ 6158 w 2315970"/>
                    <a:gd name="connsiteY34" fmla="*/ 548945 h 715632"/>
                    <a:gd name="connsiteX35" fmla="*/ 1395 w 2315970"/>
                    <a:gd name="connsiteY35" fmla="*/ 534657 h 715632"/>
                    <a:gd name="connsiteX36" fmla="*/ 63308 w 2315970"/>
                    <a:gd name="connsiteY36" fmla="*/ 529895 h 715632"/>
                    <a:gd name="connsiteX37" fmla="*/ 806258 w 2315970"/>
                    <a:gd name="connsiteY37" fmla="*/ 529895 h 715632"/>
                    <a:gd name="connsiteX38" fmla="*/ 1034858 w 2315970"/>
                    <a:gd name="connsiteY38" fmla="*/ 520370 h 715632"/>
                    <a:gd name="connsiteX39" fmla="*/ 1039620 w 2315970"/>
                    <a:gd name="connsiteY39" fmla="*/ 472745 h 715632"/>
                    <a:gd name="connsiteX40" fmla="*/ 1030095 w 2315970"/>
                    <a:gd name="connsiteY40" fmla="*/ 425120 h 715632"/>
                    <a:gd name="connsiteX41" fmla="*/ 1025333 w 2315970"/>
                    <a:gd name="connsiteY41" fmla="*/ 406070 h 715632"/>
                    <a:gd name="connsiteX42" fmla="*/ 1011045 w 2315970"/>
                    <a:gd name="connsiteY42" fmla="*/ 334632 h 715632"/>
                    <a:gd name="connsiteX43" fmla="*/ 1020570 w 2315970"/>
                    <a:gd name="connsiteY43" fmla="*/ 210807 h 715632"/>
                    <a:gd name="connsiteX44" fmla="*/ 1034858 w 2315970"/>
                    <a:gd name="connsiteY44" fmla="*/ 158420 h 715632"/>
                    <a:gd name="connsiteX45" fmla="*/ 1049145 w 2315970"/>
                    <a:gd name="connsiteY45" fmla="*/ 115557 h 715632"/>
                    <a:gd name="connsiteX46" fmla="*/ 1030095 w 2315970"/>
                    <a:gd name="connsiteY46" fmla="*/ 15545 h 715632"/>
                    <a:gd name="connsiteX47" fmla="*/ 1020570 w 2315970"/>
                    <a:gd name="connsiteY47" fmla="*/ 1257 h 715632"/>
                    <a:gd name="connsiteX0" fmla="*/ 1030095 w 2315970"/>
                    <a:gd name="connsiteY0" fmla="*/ 15549 h 715636"/>
                    <a:gd name="connsiteX1" fmla="*/ 1263458 w 2315970"/>
                    <a:gd name="connsiteY1" fmla="*/ 1261 h 715636"/>
                    <a:gd name="connsiteX2" fmla="*/ 1287270 w 2315970"/>
                    <a:gd name="connsiteY2" fmla="*/ 6024 h 715636"/>
                    <a:gd name="connsiteX3" fmla="*/ 1282508 w 2315970"/>
                    <a:gd name="connsiteY3" fmla="*/ 72699 h 715636"/>
                    <a:gd name="connsiteX4" fmla="*/ 1272983 w 2315970"/>
                    <a:gd name="connsiteY4" fmla="*/ 120324 h 715636"/>
                    <a:gd name="connsiteX5" fmla="*/ 1272983 w 2315970"/>
                    <a:gd name="connsiteY5" fmla="*/ 420361 h 715636"/>
                    <a:gd name="connsiteX6" fmla="*/ 1287270 w 2315970"/>
                    <a:gd name="connsiteY6" fmla="*/ 525136 h 715636"/>
                    <a:gd name="connsiteX7" fmla="*/ 1353945 w 2315970"/>
                    <a:gd name="connsiteY7" fmla="*/ 529899 h 715636"/>
                    <a:gd name="connsiteX8" fmla="*/ 1401570 w 2315970"/>
                    <a:gd name="connsiteY8" fmla="*/ 539424 h 715636"/>
                    <a:gd name="connsiteX9" fmla="*/ 1430145 w 2315970"/>
                    <a:gd name="connsiteY9" fmla="*/ 544186 h 715636"/>
                    <a:gd name="connsiteX10" fmla="*/ 1463483 w 2315970"/>
                    <a:gd name="connsiteY10" fmla="*/ 553711 h 715636"/>
                    <a:gd name="connsiteX11" fmla="*/ 1658745 w 2315970"/>
                    <a:gd name="connsiteY11" fmla="*/ 548949 h 715636"/>
                    <a:gd name="connsiteX12" fmla="*/ 1720658 w 2315970"/>
                    <a:gd name="connsiteY12" fmla="*/ 539424 h 715636"/>
                    <a:gd name="connsiteX13" fmla="*/ 1963545 w 2315970"/>
                    <a:gd name="connsiteY13" fmla="*/ 534661 h 715636"/>
                    <a:gd name="connsiteX14" fmla="*/ 2282633 w 2315970"/>
                    <a:gd name="connsiteY14" fmla="*/ 544186 h 715636"/>
                    <a:gd name="connsiteX15" fmla="*/ 2287395 w 2315970"/>
                    <a:gd name="connsiteY15" fmla="*/ 563236 h 715636"/>
                    <a:gd name="connsiteX16" fmla="*/ 2301683 w 2315970"/>
                    <a:gd name="connsiteY16" fmla="*/ 582286 h 715636"/>
                    <a:gd name="connsiteX17" fmla="*/ 2306445 w 2315970"/>
                    <a:gd name="connsiteY17" fmla="*/ 615624 h 715636"/>
                    <a:gd name="connsiteX18" fmla="*/ 2315970 w 2315970"/>
                    <a:gd name="connsiteY18" fmla="*/ 644199 h 715636"/>
                    <a:gd name="connsiteX19" fmla="*/ 2306445 w 2315970"/>
                    <a:gd name="connsiteY19" fmla="*/ 677536 h 715636"/>
                    <a:gd name="connsiteX20" fmla="*/ 2273108 w 2315970"/>
                    <a:gd name="connsiteY20" fmla="*/ 691824 h 715636"/>
                    <a:gd name="connsiteX21" fmla="*/ 1963545 w 2315970"/>
                    <a:gd name="connsiteY21" fmla="*/ 682299 h 715636"/>
                    <a:gd name="connsiteX22" fmla="*/ 1734945 w 2315970"/>
                    <a:gd name="connsiteY22" fmla="*/ 682299 h 715636"/>
                    <a:gd name="connsiteX23" fmla="*/ 1634933 w 2315970"/>
                    <a:gd name="connsiteY23" fmla="*/ 696586 h 715636"/>
                    <a:gd name="connsiteX24" fmla="*/ 1601595 w 2315970"/>
                    <a:gd name="connsiteY24" fmla="*/ 706111 h 715636"/>
                    <a:gd name="connsiteX25" fmla="*/ 1287270 w 2315970"/>
                    <a:gd name="connsiteY25" fmla="*/ 696586 h 715636"/>
                    <a:gd name="connsiteX26" fmla="*/ 1263458 w 2315970"/>
                    <a:gd name="connsiteY26" fmla="*/ 691824 h 715636"/>
                    <a:gd name="connsiteX27" fmla="*/ 430020 w 2315970"/>
                    <a:gd name="connsiteY27" fmla="*/ 701349 h 715636"/>
                    <a:gd name="connsiteX28" fmla="*/ 339533 w 2315970"/>
                    <a:gd name="connsiteY28" fmla="*/ 715636 h 715636"/>
                    <a:gd name="connsiteX29" fmla="*/ 125220 w 2315970"/>
                    <a:gd name="connsiteY29" fmla="*/ 706111 h 715636"/>
                    <a:gd name="connsiteX30" fmla="*/ 77595 w 2315970"/>
                    <a:gd name="connsiteY30" fmla="*/ 696586 h 715636"/>
                    <a:gd name="connsiteX31" fmla="*/ 49020 w 2315970"/>
                    <a:gd name="connsiteY31" fmla="*/ 691824 h 715636"/>
                    <a:gd name="connsiteX32" fmla="*/ 39495 w 2315970"/>
                    <a:gd name="connsiteY32" fmla="*/ 677536 h 715636"/>
                    <a:gd name="connsiteX33" fmla="*/ 15683 w 2315970"/>
                    <a:gd name="connsiteY33" fmla="*/ 648961 h 715636"/>
                    <a:gd name="connsiteX34" fmla="*/ 6158 w 2315970"/>
                    <a:gd name="connsiteY34" fmla="*/ 548949 h 715636"/>
                    <a:gd name="connsiteX35" fmla="*/ 1395 w 2315970"/>
                    <a:gd name="connsiteY35" fmla="*/ 534661 h 715636"/>
                    <a:gd name="connsiteX36" fmla="*/ 63308 w 2315970"/>
                    <a:gd name="connsiteY36" fmla="*/ 529899 h 715636"/>
                    <a:gd name="connsiteX37" fmla="*/ 806258 w 2315970"/>
                    <a:gd name="connsiteY37" fmla="*/ 529899 h 715636"/>
                    <a:gd name="connsiteX38" fmla="*/ 1034858 w 2315970"/>
                    <a:gd name="connsiteY38" fmla="*/ 520374 h 715636"/>
                    <a:gd name="connsiteX39" fmla="*/ 1039620 w 2315970"/>
                    <a:gd name="connsiteY39" fmla="*/ 472749 h 715636"/>
                    <a:gd name="connsiteX40" fmla="*/ 1030095 w 2315970"/>
                    <a:gd name="connsiteY40" fmla="*/ 425124 h 715636"/>
                    <a:gd name="connsiteX41" fmla="*/ 1025333 w 2315970"/>
                    <a:gd name="connsiteY41" fmla="*/ 406074 h 715636"/>
                    <a:gd name="connsiteX42" fmla="*/ 1011045 w 2315970"/>
                    <a:gd name="connsiteY42" fmla="*/ 334636 h 715636"/>
                    <a:gd name="connsiteX43" fmla="*/ 1020570 w 2315970"/>
                    <a:gd name="connsiteY43" fmla="*/ 210811 h 715636"/>
                    <a:gd name="connsiteX44" fmla="*/ 1034858 w 2315970"/>
                    <a:gd name="connsiteY44" fmla="*/ 158424 h 715636"/>
                    <a:gd name="connsiteX45" fmla="*/ 1049145 w 2315970"/>
                    <a:gd name="connsiteY45" fmla="*/ 115561 h 715636"/>
                    <a:gd name="connsiteX46" fmla="*/ 1030095 w 2315970"/>
                    <a:gd name="connsiteY46" fmla="*/ 15549 h 715636"/>
                    <a:gd name="connsiteX0" fmla="*/ 1030095 w 2315970"/>
                    <a:gd name="connsiteY0" fmla="*/ 15546 h 715633"/>
                    <a:gd name="connsiteX1" fmla="*/ 1287270 w 2315970"/>
                    <a:gd name="connsiteY1" fmla="*/ 6021 h 715633"/>
                    <a:gd name="connsiteX2" fmla="*/ 1282508 w 2315970"/>
                    <a:gd name="connsiteY2" fmla="*/ 72696 h 715633"/>
                    <a:gd name="connsiteX3" fmla="*/ 1272983 w 2315970"/>
                    <a:gd name="connsiteY3" fmla="*/ 120321 h 715633"/>
                    <a:gd name="connsiteX4" fmla="*/ 1272983 w 2315970"/>
                    <a:gd name="connsiteY4" fmla="*/ 420358 h 715633"/>
                    <a:gd name="connsiteX5" fmla="*/ 1287270 w 2315970"/>
                    <a:gd name="connsiteY5" fmla="*/ 525133 h 715633"/>
                    <a:gd name="connsiteX6" fmla="*/ 1353945 w 2315970"/>
                    <a:gd name="connsiteY6" fmla="*/ 529896 h 715633"/>
                    <a:gd name="connsiteX7" fmla="*/ 1401570 w 2315970"/>
                    <a:gd name="connsiteY7" fmla="*/ 539421 h 715633"/>
                    <a:gd name="connsiteX8" fmla="*/ 1430145 w 2315970"/>
                    <a:gd name="connsiteY8" fmla="*/ 544183 h 715633"/>
                    <a:gd name="connsiteX9" fmla="*/ 1463483 w 2315970"/>
                    <a:gd name="connsiteY9" fmla="*/ 553708 h 715633"/>
                    <a:gd name="connsiteX10" fmla="*/ 1658745 w 2315970"/>
                    <a:gd name="connsiteY10" fmla="*/ 548946 h 715633"/>
                    <a:gd name="connsiteX11" fmla="*/ 1720658 w 2315970"/>
                    <a:gd name="connsiteY11" fmla="*/ 539421 h 715633"/>
                    <a:gd name="connsiteX12" fmla="*/ 1963545 w 2315970"/>
                    <a:gd name="connsiteY12" fmla="*/ 534658 h 715633"/>
                    <a:gd name="connsiteX13" fmla="*/ 2282633 w 2315970"/>
                    <a:gd name="connsiteY13" fmla="*/ 544183 h 715633"/>
                    <a:gd name="connsiteX14" fmla="*/ 2287395 w 2315970"/>
                    <a:gd name="connsiteY14" fmla="*/ 563233 h 715633"/>
                    <a:gd name="connsiteX15" fmla="*/ 2301683 w 2315970"/>
                    <a:gd name="connsiteY15" fmla="*/ 582283 h 715633"/>
                    <a:gd name="connsiteX16" fmla="*/ 2306445 w 2315970"/>
                    <a:gd name="connsiteY16" fmla="*/ 615621 h 715633"/>
                    <a:gd name="connsiteX17" fmla="*/ 2315970 w 2315970"/>
                    <a:gd name="connsiteY17" fmla="*/ 644196 h 715633"/>
                    <a:gd name="connsiteX18" fmla="*/ 2306445 w 2315970"/>
                    <a:gd name="connsiteY18" fmla="*/ 677533 h 715633"/>
                    <a:gd name="connsiteX19" fmla="*/ 2273108 w 2315970"/>
                    <a:gd name="connsiteY19" fmla="*/ 691821 h 715633"/>
                    <a:gd name="connsiteX20" fmla="*/ 1963545 w 2315970"/>
                    <a:gd name="connsiteY20" fmla="*/ 682296 h 715633"/>
                    <a:gd name="connsiteX21" fmla="*/ 1734945 w 2315970"/>
                    <a:gd name="connsiteY21" fmla="*/ 682296 h 715633"/>
                    <a:gd name="connsiteX22" fmla="*/ 1634933 w 2315970"/>
                    <a:gd name="connsiteY22" fmla="*/ 696583 h 715633"/>
                    <a:gd name="connsiteX23" fmla="*/ 1601595 w 2315970"/>
                    <a:gd name="connsiteY23" fmla="*/ 706108 h 715633"/>
                    <a:gd name="connsiteX24" fmla="*/ 1287270 w 2315970"/>
                    <a:gd name="connsiteY24" fmla="*/ 696583 h 715633"/>
                    <a:gd name="connsiteX25" fmla="*/ 1263458 w 2315970"/>
                    <a:gd name="connsiteY25" fmla="*/ 691821 h 715633"/>
                    <a:gd name="connsiteX26" fmla="*/ 430020 w 2315970"/>
                    <a:gd name="connsiteY26" fmla="*/ 701346 h 715633"/>
                    <a:gd name="connsiteX27" fmla="*/ 339533 w 2315970"/>
                    <a:gd name="connsiteY27" fmla="*/ 715633 h 715633"/>
                    <a:gd name="connsiteX28" fmla="*/ 125220 w 2315970"/>
                    <a:gd name="connsiteY28" fmla="*/ 706108 h 715633"/>
                    <a:gd name="connsiteX29" fmla="*/ 77595 w 2315970"/>
                    <a:gd name="connsiteY29" fmla="*/ 696583 h 715633"/>
                    <a:gd name="connsiteX30" fmla="*/ 49020 w 2315970"/>
                    <a:gd name="connsiteY30" fmla="*/ 691821 h 715633"/>
                    <a:gd name="connsiteX31" fmla="*/ 39495 w 2315970"/>
                    <a:gd name="connsiteY31" fmla="*/ 677533 h 715633"/>
                    <a:gd name="connsiteX32" fmla="*/ 15683 w 2315970"/>
                    <a:gd name="connsiteY32" fmla="*/ 648958 h 715633"/>
                    <a:gd name="connsiteX33" fmla="*/ 6158 w 2315970"/>
                    <a:gd name="connsiteY33" fmla="*/ 548946 h 715633"/>
                    <a:gd name="connsiteX34" fmla="*/ 1395 w 2315970"/>
                    <a:gd name="connsiteY34" fmla="*/ 534658 h 715633"/>
                    <a:gd name="connsiteX35" fmla="*/ 63308 w 2315970"/>
                    <a:gd name="connsiteY35" fmla="*/ 529896 h 715633"/>
                    <a:gd name="connsiteX36" fmla="*/ 806258 w 2315970"/>
                    <a:gd name="connsiteY36" fmla="*/ 529896 h 715633"/>
                    <a:gd name="connsiteX37" fmla="*/ 1034858 w 2315970"/>
                    <a:gd name="connsiteY37" fmla="*/ 520371 h 715633"/>
                    <a:gd name="connsiteX38" fmla="*/ 1039620 w 2315970"/>
                    <a:gd name="connsiteY38" fmla="*/ 472746 h 715633"/>
                    <a:gd name="connsiteX39" fmla="*/ 1030095 w 2315970"/>
                    <a:gd name="connsiteY39" fmla="*/ 425121 h 715633"/>
                    <a:gd name="connsiteX40" fmla="*/ 1025333 w 2315970"/>
                    <a:gd name="connsiteY40" fmla="*/ 406071 h 715633"/>
                    <a:gd name="connsiteX41" fmla="*/ 1011045 w 2315970"/>
                    <a:gd name="connsiteY41" fmla="*/ 334633 h 715633"/>
                    <a:gd name="connsiteX42" fmla="*/ 1020570 w 2315970"/>
                    <a:gd name="connsiteY42" fmla="*/ 210808 h 715633"/>
                    <a:gd name="connsiteX43" fmla="*/ 1034858 w 2315970"/>
                    <a:gd name="connsiteY43" fmla="*/ 158421 h 715633"/>
                    <a:gd name="connsiteX44" fmla="*/ 1049145 w 2315970"/>
                    <a:gd name="connsiteY44" fmla="*/ 115558 h 715633"/>
                    <a:gd name="connsiteX45" fmla="*/ 1030095 w 2315970"/>
                    <a:gd name="connsiteY45" fmla="*/ 15546 h 715633"/>
                    <a:gd name="connsiteX0" fmla="*/ 1030095 w 2315970"/>
                    <a:gd name="connsiteY0" fmla="*/ 15546 h 715633"/>
                    <a:gd name="connsiteX1" fmla="*/ 1287270 w 2315970"/>
                    <a:gd name="connsiteY1" fmla="*/ 6021 h 715633"/>
                    <a:gd name="connsiteX2" fmla="*/ 1282508 w 2315970"/>
                    <a:gd name="connsiteY2" fmla="*/ 72696 h 715633"/>
                    <a:gd name="connsiteX3" fmla="*/ 1272983 w 2315970"/>
                    <a:gd name="connsiteY3" fmla="*/ 420358 h 715633"/>
                    <a:gd name="connsiteX4" fmla="*/ 1287270 w 2315970"/>
                    <a:gd name="connsiteY4" fmla="*/ 525133 h 715633"/>
                    <a:gd name="connsiteX5" fmla="*/ 1353945 w 2315970"/>
                    <a:gd name="connsiteY5" fmla="*/ 529896 h 715633"/>
                    <a:gd name="connsiteX6" fmla="*/ 1401570 w 2315970"/>
                    <a:gd name="connsiteY6" fmla="*/ 539421 h 715633"/>
                    <a:gd name="connsiteX7" fmla="*/ 1430145 w 2315970"/>
                    <a:gd name="connsiteY7" fmla="*/ 544183 h 715633"/>
                    <a:gd name="connsiteX8" fmla="*/ 1463483 w 2315970"/>
                    <a:gd name="connsiteY8" fmla="*/ 553708 h 715633"/>
                    <a:gd name="connsiteX9" fmla="*/ 1658745 w 2315970"/>
                    <a:gd name="connsiteY9" fmla="*/ 548946 h 715633"/>
                    <a:gd name="connsiteX10" fmla="*/ 1720658 w 2315970"/>
                    <a:gd name="connsiteY10" fmla="*/ 539421 h 715633"/>
                    <a:gd name="connsiteX11" fmla="*/ 1963545 w 2315970"/>
                    <a:gd name="connsiteY11" fmla="*/ 534658 h 715633"/>
                    <a:gd name="connsiteX12" fmla="*/ 2282633 w 2315970"/>
                    <a:gd name="connsiteY12" fmla="*/ 544183 h 715633"/>
                    <a:gd name="connsiteX13" fmla="*/ 2287395 w 2315970"/>
                    <a:gd name="connsiteY13" fmla="*/ 563233 h 715633"/>
                    <a:gd name="connsiteX14" fmla="*/ 2301683 w 2315970"/>
                    <a:gd name="connsiteY14" fmla="*/ 582283 h 715633"/>
                    <a:gd name="connsiteX15" fmla="*/ 2306445 w 2315970"/>
                    <a:gd name="connsiteY15" fmla="*/ 615621 h 715633"/>
                    <a:gd name="connsiteX16" fmla="*/ 2315970 w 2315970"/>
                    <a:gd name="connsiteY16" fmla="*/ 644196 h 715633"/>
                    <a:gd name="connsiteX17" fmla="*/ 2306445 w 2315970"/>
                    <a:gd name="connsiteY17" fmla="*/ 677533 h 715633"/>
                    <a:gd name="connsiteX18" fmla="*/ 2273108 w 2315970"/>
                    <a:gd name="connsiteY18" fmla="*/ 691821 h 715633"/>
                    <a:gd name="connsiteX19" fmla="*/ 1963545 w 2315970"/>
                    <a:gd name="connsiteY19" fmla="*/ 682296 h 715633"/>
                    <a:gd name="connsiteX20" fmla="*/ 1734945 w 2315970"/>
                    <a:gd name="connsiteY20" fmla="*/ 682296 h 715633"/>
                    <a:gd name="connsiteX21" fmla="*/ 1634933 w 2315970"/>
                    <a:gd name="connsiteY21" fmla="*/ 696583 h 715633"/>
                    <a:gd name="connsiteX22" fmla="*/ 1601595 w 2315970"/>
                    <a:gd name="connsiteY22" fmla="*/ 706108 h 715633"/>
                    <a:gd name="connsiteX23" fmla="*/ 1287270 w 2315970"/>
                    <a:gd name="connsiteY23" fmla="*/ 696583 h 715633"/>
                    <a:gd name="connsiteX24" fmla="*/ 1263458 w 2315970"/>
                    <a:gd name="connsiteY24" fmla="*/ 691821 h 715633"/>
                    <a:gd name="connsiteX25" fmla="*/ 430020 w 2315970"/>
                    <a:gd name="connsiteY25" fmla="*/ 701346 h 715633"/>
                    <a:gd name="connsiteX26" fmla="*/ 339533 w 2315970"/>
                    <a:gd name="connsiteY26" fmla="*/ 715633 h 715633"/>
                    <a:gd name="connsiteX27" fmla="*/ 125220 w 2315970"/>
                    <a:gd name="connsiteY27" fmla="*/ 706108 h 715633"/>
                    <a:gd name="connsiteX28" fmla="*/ 77595 w 2315970"/>
                    <a:gd name="connsiteY28" fmla="*/ 696583 h 715633"/>
                    <a:gd name="connsiteX29" fmla="*/ 49020 w 2315970"/>
                    <a:gd name="connsiteY29" fmla="*/ 691821 h 715633"/>
                    <a:gd name="connsiteX30" fmla="*/ 39495 w 2315970"/>
                    <a:gd name="connsiteY30" fmla="*/ 677533 h 715633"/>
                    <a:gd name="connsiteX31" fmla="*/ 15683 w 2315970"/>
                    <a:gd name="connsiteY31" fmla="*/ 648958 h 715633"/>
                    <a:gd name="connsiteX32" fmla="*/ 6158 w 2315970"/>
                    <a:gd name="connsiteY32" fmla="*/ 548946 h 715633"/>
                    <a:gd name="connsiteX33" fmla="*/ 1395 w 2315970"/>
                    <a:gd name="connsiteY33" fmla="*/ 534658 h 715633"/>
                    <a:gd name="connsiteX34" fmla="*/ 63308 w 2315970"/>
                    <a:gd name="connsiteY34" fmla="*/ 529896 h 715633"/>
                    <a:gd name="connsiteX35" fmla="*/ 806258 w 2315970"/>
                    <a:gd name="connsiteY35" fmla="*/ 529896 h 715633"/>
                    <a:gd name="connsiteX36" fmla="*/ 1034858 w 2315970"/>
                    <a:gd name="connsiteY36" fmla="*/ 520371 h 715633"/>
                    <a:gd name="connsiteX37" fmla="*/ 1039620 w 2315970"/>
                    <a:gd name="connsiteY37" fmla="*/ 472746 h 715633"/>
                    <a:gd name="connsiteX38" fmla="*/ 1030095 w 2315970"/>
                    <a:gd name="connsiteY38" fmla="*/ 425121 h 715633"/>
                    <a:gd name="connsiteX39" fmla="*/ 1025333 w 2315970"/>
                    <a:gd name="connsiteY39" fmla="*/ 406071 h 715633"/>
                    <a:gd name="connsiteX40" fmla="*/ 1011045 w 2315970"/>
                    <a:gd name="connsiteY40" fmla="*/ 334633 h 715633"/>
                    <a:gd name="connsiteX41" fmla="*/ 1020570 w 2315970"/>
                    <a:gd name="connsiteY41" fmla="*/ 210808 h 715633"/>
                    <a:gd name="connsiteX42" fmla="*/ 1034858 w 2315970"/>
                    <a:gd name="connsiteY42" fmla="*/ 158421 h 715633"/>
                    <a:gd name="connsiteX43" fmla="*/ 1049145 w 2315970"/>
                    <a:gd name="connsiteY43" fmla="*/ 115558 h 715633"/>
                    <a:gd name="connsiteX44" fmla="*/ 1030095 w 2315970"/>
                    <a:gd name="connsiteY44" fmla="*/ 15546 h 715633"/>
                    <a:gd name="connsiteX0" fmla="*/ 1030095 w 2315970"/>
                    <a:gd name="connsiteY0" fmla="*/ 15546 h 715633"/>
                    <a:gd name="connsiteX1" fmla="*/ 1287270 w 2315970"/>
                    <a:gd name="connsiteY1" fmla="*/ 6021 h 715633"/>
                    <a:gd name="connsiteX2" fmla="*/ 1282508 w 2315970"/>
                    <a:gd name="connsiteY2" fmla="*/ 72696 h 715633"/>
                    <a:gd name="connsiteX3" fmla="*/ 1272983 w 2315970"/>
                    <a:gd name="connsiteY3" fmla="*/ 420358 h 715633"/>
                    <a:gd name="connsiteX4" fmla="*/ 1287270 w 2315970"/>
                    <a:gd name="connsiteY4" fmla="*/ 525133 h 715633"/>
                    <a:gd name="connsiteX5" fmla="*/ 1353945 w 2315970"/>
                    <a:gd name="connsiteY5" fmla="*/ 529896 h 715633"/>
                    <a:gd name="connsiteX6" fmla="*/ 1401570 w 2315970"/>
                    <a:gd name="connsiteY6" fmla="*/ 539421 h 715633"/>
                    <a:gd name="connsiteX7" fmla="*/ 1430145 w 2315970"/>
                    <a:gd name="connsiteY7" fmla="*/ 544183 h 715633"/>
                    <a:gd name="connsiteX8" fmla="*/ 1463483 w 2315970"/>
                    <a:gd name="connsiteY8" fmla="*/ 553708 h 715633"/>
                    <a:gd name="connsiteX9" fmla="*/ 1658745 w 2315970"/>
                    <a:gd name="connsiteY9" fmla="*/ 548946 h 715633"/>
                    <a:gd name="connsiteX10" fmla="*/ 1720658 w 2315970"/>
                    <a:gd name="connsiteY10" fmla="*/ 539421 h 715633"/>
                    <a:gd name="connsiteX11" fmla="*/ 1963545 w 2315970"/>
                    <a:gd name="connsiteY11" fmla="*/ 534658 h 715633"/>
                    <a:gd name="connsiteX12" fmla="*/ 2282633 w 2315970"/>
                    <a:gd name="connsiteY12" fmla="*/ 544183 h 715633"/>
                    <a:gd name="connsiteX13" fmla="*/ 2287395 w 2315970"/>
                    <a:gd name="connsiteY13" fmla="*/ 563233 h 715633"/>
                    <a:gd name="connsiteX14" fmla="*/ 2301683 w 2315970"/>
                    <a:gd name="connsiteY14" fmla="*/ 582283 h 715633"/>
                    <a:gd name="connsiteX15" fmla="*/ 2306445 w 2315970"/>
                    <a:gd name="connsiteY15" fmla="*/ 615621 h 715633"/>
                    <a:gd name="connsiteX16" fmla="*/ 2315970 w 2315970"/>
                    <a:gd name="connsiteY16" fmla="*/ 644196 h 715633"/>
                    <a:gd name="connsiteX17" fmla="*/ 2306445 w 2315970"/>
                    <a:gd name="connsiteY17" fmla="*/ 677533 h 715633"/>
                    <a:gd name="connsiteX18" fmla="*/ 2273108 w 2315970"/>
                    <a:gd name="connsiteY18" fmla="*/ 691821 h 715633"/>
                    <a:gd name="connsiteX19" fmla="*/ 1963545 w 2315970"/>
                    <a:gd name="connsiteY19" fmla="*/ 682296 h 715633"/>
                    <a:gd name="connsiteX20" fmla="*/ 1734945 w 2315970"/>
                    <a:gd name="connsiteY20" fmla="*/ 682296 h 715633"/>
                    <a:gd name="connsiteX21" fmla="*/ 1634933 w 2315970"/>
                    <a:gd name="connsiteY21" fmla="*/ 696583 h 715633"/>
                    <a:gd name="connsiteX22" fmla="*/ 1601595 w 2315970"/>
                    <a:gd name="connsiteY22" fmla="*/ 706108 h 715633"/>
                    <a:gd name="connsiteX23" fmla="*/ 1287270 w 2315970"/>
                    <a:gd name="connsiteY23" fmla="*/ 696583 h 715633"/>
                    <a:gd name="connsiteX24" fmla="*/ 1263458 w 2315970"/>
                    <a:gd name="connsiteY24" fmla="*/ 691821 h 715633"/>
                    <a:gd name="connsiteX25" fmla="*/ 430020 w 2315970"/>
                    <a:gd name="connsiteY25" fmla="*/ 701346 h 715633"/>
                    <a:gd name="connsiteX26" fmla="*/ 339533 w 2315970"/>
                    <a:gd name="connsiteY26" fmla="*/ 715633 h 715633"/>
                    <a:gd name="connsiteX27" fmla="*/ 125220 w 2315970"/>
                    <a:gd name="connsiteY27" fmla="*/ 706108 h 715633"/>
                    <a:gd name="connsiteX28" fmla="*/ 77595 w 2315970"/>
                    <a:gd name="connsiteY28" fmla="*/ 696583 h 715633"/>
                    <a:gd name="connsiteX29" fmla="*/ 49020 w 2315970"/>
                    <a:gd name="connsiteY29" fmla="*/ 691821 h 715633"/>
                    <a:gd name="connsiteX30" fmla="*/ 39495 w 2315970"/>
                    <a:gd name="connsiteY30" fmla="*/ 677533 h 715633"/>
                    <a:gd name="connsiteX31" fmla="*/ 15683 w 2315970"/>
                    <a:gd name="connsiteY31" fmla="*/ 648958 h 715633"/>
                    <a:gd name="connsiteX32" fmla="*/ 6158 w 2315970"/>
                    <a:gd name="connsiteY32" fmla="*/ 548946 h 715633"/>
                    <a:gd name="connsiteX33" fmla="*/ 1395 w 2315970"/>
                    <a:gd name="connsiteY33" fmla="*/ 534658 h 715633"/>
                    <a:gd name="connsiteX34" fmla="*/ 63308 w 2315970"/>
                    <a:gd name="connsiteY34" fmla="*/ 529896 h 715633"/>
                    <a:gd name="connsiteX35" fmla="*/ 806258 w 2315970"/>
                    <a:gd name="connsiteY35" fmla="*/ 529896 h 715633"/>
                    <a:gd name="connsiteX36" fmla="*/ 1034858 w 2315970"/>
                    <a:gd name="connsiteY36" fmla="*/ 520371 h 715633"/>
                    <a:gd name="connsiteX37" fmla="*/ 1039620 w 2315970"/>
                    <a:gd name="connsiteY37" fmla="*/ 472746 h 715633"/>
                    <a:gd name="connsiteX38" fmla="*/ 1030095 w 2315970"/>
                    <a:gd name="connsiteY38" fmla="*/ 425121 h 715633"/>
                    <a:gd name="connsiteX39" fmla="*/ 1025333 w 2315970"/>
                    <a:gd name="connsiteY39" fmla="*/ 406071 h 715633"/>
                    <a:gd name="connsiteX40" fmla="*/ 1011045 w 2315970"/>
                    <a:gd name="connsiteY40" fmla="*/ 334633 h 715633"/>
                    <a:gd name="connsiteX41" fmla="*/ 1020570 w 2315970"/>
                    <a:gd name="connsiteY41" fmla="*/ 210808 h 715633"/>
                    <a:gd name="connsiteX42" fmla="*/ 1049145 w 2315970"/>
                    <a:gd name="connsiteY42" fmla="*/ 115558 h 715633"/>
                    <a:gd name="connsiteX43" fmla="*/ 1030095 w 2315970"/>
                    <a:gd name="connsiteY43" fmla="*/ 15546 h 715633"/>
                    <a:gd name="connsiteX0" fmla="*/ 1030095 w 2315970"/>
                    <a:gd name="connsiteY0" fmla="*/ 21198 h 721285"/>
                    <a:gd name="connsiteX1" fmla="*/ 1287270 w 2315970"/>
                    <a:gd name="connsiteY1" fmla="*/ 11673 h 721285"/>
                    <a:gd name="connsiteX2" fmla="*/ 1282508 w 2315970"/>
                    <a:gd name="connsiteY2" fmla="*/ 78348 h 721285"/>
                    <a:gd name="connsiteX3" fmla="*/ 1272983 w 2315970"/>
                    <a:gd name="connsiteY3" fmla="*/ 426010 h 721285"/>
                    <a:gd name="connsiteX4" fmla="*/ 1287270 w 2315970"/>
                    <a:gd name="connsiteY4" fmla="*/ 530785 h 721285"/>
                    <a:gd name="connsiteX5" fmla="*/ 1353945 w 2315970"/>
                    <a:gd name="connsiteY5" fmla="*/ 535548 h 721285"/>
                    <a:gd name="connsiteX6" fmla="*/ 1401570 w 2315970"/>
                    <a:gd name="connsiteY6" fmla="*/ 545073 h 721285"/>
                    <a:gd name="connsiteX7" fmla="*/ 1430145 w 2315970"/>
                    <a:gd name="connsiteY7" fmla="*/ 549835 h 721285"/>
                    <a:gd name="connsiteX8" fmla="*/ 1463483 w 2315970"/>
                    <a:gd name="connsiteY8" fmla="*/ 559360 h 721285"/>
                    <a:gd name="connsiteX9" fmla="*/ 1658745 w 2315970"/>
                    <a:gd name="connsiteY9" fmla="*/ 554598 h 721285"/>
                    <a:gd name="connsiteX10" fmla="*/ 1720658 w 2315970"/>
                    <a:gd name="connsiteY10" fmla="*/ 545073 h 721285"/>
                    <a:gd name="connsiteX11" fmla="*/ 1963545 w 2315970"/>
                    <a:gd name="connsiteY11" fmla="*/ 540310 h 721285"/>
                    <a:gd name="connsiteX12" fmla="*/ 2282633 w 2315970"/>
                    <a:gd name="connsiteY12" fmla="*/ 549835 h 721285"/>
                    <a:gd name="connsiteX13" fmla="*/ 2287395 w 2315970"/>
                    <a:gd name="connsiteY13" fmla="*/ 568885 h 721285"/>
                    <a:gd name="connsiteX14" fmla="*/ 2301683 w 2315970"/>
                    <a:gd name="connsiteY14" fmla="*/ 587935 h 721285"/>
                    <a:gd name="connsiteX15" fmla="*/ 2306445 w 2315970"/>
                    <a:gd name="connsiteY15" fmla="*/ 621273 h 721285"/>
                    <a:gd name="connsiteX16" fmla="*/ 2315970 w 2315970"/>
                    <a:gd name="connsiteY16" fmla="*/ 649848 h 721285"/>
                    <a:gd name="connsiteX17" fmla="*/ 2306445 w 2315970"/>
                    <a:gd name="connsiteY17" fmla="*/ 683185 h 721285"/>
                    <a:gd name="connsiteX18" fmla="*/ 2273108 w 2315970"/>
                    <a:gd name="connsiteY18" fmla="*/ 697473 h 721285"/>
                    <a:gd name="connsiteX19" fmla="*/ 1963545 w 2315970"/>
                    <a:gd name="connsiteY19" fmla="*/ 687948 h 721285"/>
                    <a:gd name="connsiteX20" fmla="*/ 1734945 w 2315970"/>
                    <a:gd name="connsiteY20" fmla="*/ 687948 h 721285"/>
                    <a:gd name="connsiteX21" fmla="*/ 1634933 w 2315970"/>
                    <a:gd name="connsiteY21" fmla="*/ 702235 h 721285"/>
                    <a:gd name="connsiteX22" fmla="*/ 1601595 w 2315970"/>
                    <a:gd name="connsiteY22" fmla="*/ 711760 h 721285"/>
                    <a:gd name="connsiteX23" fmla="*/ 1287270 w 2315970"/>
                    <a:gd name="connsiteY23" fmla="*/ 702235 h 721285"/>
                    <a:gd name="connsiteX24" fmla="*/ 1263458 w 2315970"/>
                    <a:gd name="connsiteY24" fmla="*/ 697473 h 721285"/>
                    <a:gd name="connsiteX25" fmla="*/ 430020 w 2315970"/>
                    <a:gd name="connsiteY25" fmla="*/ 706998 h 721285"/>
                    <a:gd name="connsiteX26" fmla="*/ 339533 w 2315970"/>
                    <a:gd name="connsiteY26" fmla="*/ 721285 h 721285"/>
                    <a:gd name="connsiteX27" fmla="*/ 125220 w 2315970"/>
                    <a:gd name="connsiteY27" fmla="*/ 711760 h 721285"/>
                    <a:gd name="connsiteX28" fmla="*/ 77595 w 2315970"/>
                    <a:gd name="connsiteY28" fmla="*/ 702235 h 721285"/>
                    <a:gd name="connsiteX29" fmla="*/ 49020 w 2315970"/>
                    <a:gd name="connsiteY29" fmla="*/ 697473 h 721285"/>
                    <a:gd name="connsiteX30" fmla="*/ 39495 w 2315970"/>
                    <a:gd name="connsiteY30" fmla="*/ 683185 h 721285"/>
                    <a:gd name="connsiteX31" fmla="*/ 15683 w 2315970"/>
                    <a:gd name="connsiteY31" fmla="*/ 654610 h 721285"/>
                    <a:gd name="connsiteX32" fmla="*/ 6158 w 2315970"/>
                    <a:gd name="connsiteY32" fmla="*/ 554598 h 721285"/>
                    <a:gd name="connsiteX33" fmla="*/ 1395 w 2315970"/>
                    <a:gd name="connsiteY33" fmla="*/ 540310 h 721285"/>
                    <a:gd name="connsiteX34" fmla="*/ 63308 w 2315970"/>
                    <a:gd name="connsiteY34" fmla="*/ 535548 h 721285"/>
                    <a:gd name="connsiteX35" fmla="*/ 806258 w 2315970"/>
                    <a:gd name="connsiteY35" fmla="*/ 535548 h 721285"/>
                    <a:gd name="connsiteX36" fmla="*/ 1034858 w 2315970"/>
                    <a:gd name="connsiteY36" fmla="*/ 526023 h 721285"/>
                    <a:gd name="connsiteX37" fmla="*/ 1039620 w 2315970"/>
                    <a:gd name="connsiteY37" fmla="*/ 478398 h 721285"/>
                    <a:gd name="connsiteX38" fmla="*/ 1030095 w 2315970"/>
                    <a:gd name="connsiteY38" fmla="*/ 430773 h 721285"/>
                    <a:gd name="connsiteX39" fmla="*/ 1025333 w 2315970"/>
                    <a:gd name="connsiteY39" fmla="*/ 411723 h 721285"/>
                    <a:gd name="connsiteX40" fmla="*/ 1011045 w 2315970"/>
                    <a:gd name="connsiteY40" fmla="*/ 340285 h 721285"/>
                    <a:gd name="connsiteX41" fmla="*/ 1020570 w 2315970"/>
                    <a:gd name="connsiteY41" fmla="*/ 216460 h 721285"/>
                    <a:gd name="connsiteX42" fmla="*/ 1030095 w 2315970"/>
                    <a:gd name="connsiteY42" fmla="*/ 21198 h 721285"/>
                    <a:gd name="connsiteX0" fmla="*/ 1030095 w 2315970"/>
                    <a:gd name="connsiteY0" fmla="*/ 21198 h 721285"/>
                    <a:gd name="connsiteX1" fmla="*/ 1287270 w 2315970"/>
                    <a:gd name="connsiteY1" fmla="*/ 11673 h 721285"/>
                    <a:gd name="connsiteX2" fmla="*/ 1282508 w 2315970"/>
                    <a:gd name="connsiteY2" fmla="*/ 78348 h 721285"/>
                    <a:gd name="connsiteX3" fmla="*/ 1272983 w 2315970"/>
                    <a:gd name="connsiteY3" fmla="*/ 426010 h 721285"/>
                    <a:gd name="connsiteX4" fmla="*/ 1287270 w 2315970"/>
                    <a:gd name="connsiteY4" fmla="*/ 530785 h 721285"/>
                    <a:gd name="connsiteX5" fmla="*/ 1353945 w 2315970"/>
                    <a:gd name="connsiteY5" fmla="*/ 535548 h 721285"/>
                    <a:gd name="connsiteX6" fmla="*/ 1401570 w 2315970"/>
                    <a:gd name="connsiteY6" fmla="*/ 545073 h 721285"/>
                    <a:gd name="connsiteX7" fmla="*/ 1430145 w 2315970"/>
                    <a:gd name="connsiteY7" fmla="*/ 549835 h 721285"/>
                    <a:gd name="connsiteX8" fmla="*/ 1463483 w 2315970"/>
                    <a:gd name="connsiteY8" fmla="*/ 559360 h 721285"/>
                    <a:gd name="connsiteX9" fmla="*/ 1658745 w 2315970"/>
                    <a:gd name="connsiteY9" fmla="*/ 554598 h 721285"/>
                    <a:gd name="connsiteX10" fmla="*/ 1720658 w 2315970"/>
                    <a:gd name="connsiteY10" fmla="*/ 545073 h 721285"/>
                    <a:gd name="connsiteX11" fmla="*/ 1963545 w 2315970"/>
                    <a:gd name="connsiteY11" fmla="*/ 540310 h 721285"/>
                    <a:gd name="connsiteX12" fmla="*/ 2282633 w 2315970"/>
                    <a:gd name="connsiteY12" fmla="*/ 549835 h 721285"/>
                    <a:gd name="connsiteX13" fmla="*/ 2287395 w 2315970"/>
                    <a:gd name="connsiteY13" fmla="*/ 568885 h 721285"/>
                    <a:gd name="connsiteX14" fmla="*/ 2301683 w 2315970"/>
                    <a:gd name="connsiteY14" fmla="*/ 587935 h 721285"/>
                    <a:gd name="connsiteX15" fmla="*/ 2306445 w 2315970"/>
                    <a:gd name="connsiteY15" fmla="*/ 621273 h 721285"/>
                    <a:gd name="connsiteX16" fmla="*/ 2315970 w 2315970"/>
                    <a:gd name="connsiteY16" fmla="*/ 649848 h 721285"/>
                    <a:gd name="connsiteX17" fmla="*/ 2306445 w 2315970"/>
                    <a:gd name="connsiteY17" fmla="*/ 683185 h 721285"/>
                    <a:gd name="connsiteX18" fmla="*/ 2273108 w 2315970"/>
                    <a:gd name="connsiteY18" fmla="*/ 697473 h 721285"/>
                    <a:gd name="connsiteX19" fmla="*/ 1963545 w 2315970"/>
                    <a:gd name="connsiteY19" fmla="*/ 687948 h 721285"/>
                    <a:gd name="connsiteX20" fmla="*/ 1734945 w 2315970"/>
                    <a:gd name="connsiteY20" fmla="*/ 687948 h 721285"/>
                    <a:gd name="connsiteX21" fmla="*/ 1634933 w 2315970"/>
                    <a:gd name="connsiteY21" fmla="*/ 702235 h 721285"/>
                    <a:gd name="connsiteX22" fmla="*/ 1601595 w 2315970"/>
                    <a:gd name="connsiteY22" fmla="*/ 711760 h 721285"/>
                    <a:gd name="connsiteX23" fmla="*/ 1287270 w 2315970"/>
                    <a:gd name="connsiteY23" fmla="*/ 702235 h 721285"/>
                    <a:gd name="connsiteX24" fmla="*/ 1263458 w 2315970"/>
                    <a:gd name="connsiteY24" fmla="*/ 697473 h 721285"/>
                    <a:gd name="connsiteX25" fmla="*/ 430020 w 2315970"/>
                    <a:gd name="connsiteY25" fmla="*/ 706998 h 721285"/>
                    <a:gd name="connsiteX26" fmla="*/ 339533 w 2315970"/>
                    <a:gd name="connsiteY26" fmla="*/ 721285 h 721285"/>
                    <a:gd name="connsiteX27" fmla="*/ 125220 w 2315970"/>
                    <a:gd name="connsiteY27" fmla="*/ 711760 h 721285"/>
                    <a:gd name="connsiteX28" fmla="*/ 77595 w 2315970"/>
                    <a:gd name="connsiteY28" fmla="*/ 702235 h 721285"/>
                    <a:gd name="connsiteX29" fmla="*/ 49020 w 2315970"/>
                    <a:gd name="connsiteY29" fmla="*/ 697473 h 721285"/>
                    <a:gd name="connsiteX30" fmla="*/ 39495 w 2315970"/>
                    <a:gd name="connsiteY30" fmla="*/ 683185 h 721285"/>
                    <a:gd name="connsiteX31" fmla="*/ 15683 w 2315970"/>
                    <a:gd name="connsiteY31" fmla="*/ 654610 h 721285"/>
                    <a:gd name="connsiteX32" fmla="*/ 6158 w 2315970"/>
                    <a:gd name="connsiteY32" fmla="*/ 554598 h 721285"/>
                    <a:gd name="connsiteX33" fmla="*/ 1395 w 2315970"/>
                    <a:gd name="connsiteY33" fmla="*/ 540310 h 721285"/>
                    <a:gd name="connsiteX34" fmla="*/ 63308 w 2315970"/>
                    <a:gd name="connsiteY34" fmla="*/ 535548 h 721285"/>
                    <a:gd name="connsiteX35" fmla="*/ 806258 w 2315970"/>
                    <a:gd name="connsiteY35" fmla="*/ 535548 h 721285"/>
                    <a:gd name="connsiteX36" fmla="*/ 1034858 w 2315970"/>
                    <a:gd name="connsiteY36" fmla="*/ 526023 h 721285"/>
                    <a:gd name="connsiteX37" fmla="*/ 1039620 w 2315970"/>
                    <a:gd name="connsiteY37" fmla="*/ 478398 h 721285"/>
                    <a:gd name="connsiteX38" fmla="*/ 1030095 w 2315970"/>
                    <a:gd name="connsiteY38" fmla="*/ 430773 h 721285"/>
                    <a:gd name="connsiteX39" fmla="*/ 1011045 w 2315970"/>
                    <a:gd name="connsiteY39" fmla="*/ 340285 h 721285"/>
                    <a:gd name="connsiteX40" fmla="*/ 1020570 w 2315970"/>
                    <a:gd name="connsiteY40" fmla="*/ 216460 h 721285"/>
                    <a:gd name="connsiteX41" fmla="*/ 1030095 w 2315970"/>
                    <a:gd name="connsiteY41" fmla="*/ 21198 h 721285"/>
                    <a:gd name="connsiteX0" fmla="*/ 1030095 w 2315970"/>
                    <a:gd name="connsiteY0" fmla="*/ 21198 h 721285"/>
                    <a:gd name="connsiteX1" fmla="*/ 1287270 w 2315970"/>
                    <a:gd name="connsiteY1" fmla="*/ 11673 h 721285"/>
                    <a:gd name="connsiteX2" fmla="*/ 1282508 w 2315970"/>
                    <a:gd name="connsiteY2" fmla="*/ 78348 h 721285"/>
                    <a:gd name="connsiteX3" fmla="*/ 1272983 w 2315970"/>
                    <a:gd name="connsiteY3" fmla="*/ 426010 h 721285"/>
                    <a:gd name="connsiteX4" fmla="*/ 1287270 w 2315970"/>
                    <a:gd name="connsiteY4" fmla="*/ 530785 h 721285"/>
                    <a:gd name="connsiteX5" fmla="*/ 1353945 w 2315970"/>
                    <a:gd name="connsiteY5" fmla="*/ 535548 h 721285"/>
                    <a:gd name="connsiteX6" fmla="*/ 1401570 w 2315970"/>
                    <a:gd name="connsiteY6" fmla="*/ 545073 h 721285"/>
                    <a:gd name="connsiteX7" fmla="*/ 1430145 w 2315970"/>
                    <a:gd name="connsiteY7" fmla="*/ 549835 h 721285"/>
                    <a:gd name="connsiteX8" fmla="*/ 1463483 w 2315970"/>
                    <a:gd name="connsiteY8" fmla="*/ 559360 h 721285"/>
                    <a:gd name="connsiteX9" fmla="*/ 1658745 w 2315970"/>
                    <a:gd name="connsiteY9" fmla="*/ 554598 h 721285"/>
                    <a:gd name="connsiteX10" fmla="*/ 1720658 w 2315970"/>
                    <a:gd name="connsiteY10" fmla="*/ 545073 h 721285"/>
                    <a:gd name="connsiteX11" fmla="*/ 1963545 w 2315970"/>
                    <a:gd name="connsiteY11" fmla="*/ 540310 h 721285"/>
                    <a:gd name="connsiteX12" fmla="*/ 2282633 w 2315970"/>
                    <a:gd name="connsiteY12" fmla="*/ 549835 h 721285"/>
                    <a:gd name="connsiteX13" fmla="*/ 2287395 w 2315970"/>
                    <a:gd name="connsiteY13" fmla="*/ 568885 h 721285"/>
                    <a:gd name="connsiteX14" fmla="*/ 2301683 w 2315970"/>
                    <a:gd name="connsiteY14" fmla="*/ 587935 h 721285"/>
                    <a:gd name="connsiteX15" fmla="*/ 2306445 w 2315970"/>
                    <a:gd name="connsiteY15" fmla="*/ 621273 h 721285"/>
                    <a:gd name="connsiteX16" fmla="*/ 2315970 w 2315970"/>
                    <a:gd name="connsiteY16" fmla="*/ 649848 h 721285"/>
                    <a:gd name="connsiteX17" fmla="*/ 2306445 w 2315970"/>
                    <a:gd name="connsiteY17" fmla="*/ 683185 h 721285"/>
                    <a:gd name="connsiteX18" fmla="*/ 2273108 w 2315970"/>
                    <a:gd name="connsiteY18" fmla="*/ 697473 h 721285"/>
                    <a:gd name="connsiteX19" fmla="*/ 1963545 w 2315970"/>
                    <a:gd name="connsiteY19" fmla="*/ 687948 h 721285"/>
                    <a:gd name="connsiteX20" fmla="*/ 1734945 w 2315970"/>
                    <a:gd name="connsiteY20" fmla="*/ 687948 h 721285"/>
                    <a:gd name="connsiteX21" fmla="*/ 1634933 w 2315970"/>
                    <a:gd name="connsiteY21" fmla="*/ 702235 h 721285"/>
                    <a:gd name="connsiteX22" fmla="*/ 1601595 w 2315970"/>
                    <a:gd name="connsiteY22" fmla="*/ 711760 h 721285"/>
                    <a:gd name="connsiteX23" fmla="*/ 1287270 w 2315970"/>
                    <a:gd name="connsiteY23" fmla="*/ 702235 h 721285"/>
                    <a:gd name="connsiteX24" fmla="*/ 1263458 w 2315970"/>
                    <a:gd name="connsiteY24" fmla="*/ 697473 h 721285"/>
                    <a:gd name="connsiteX25" fmla="*/ 430020 w 2315970"/>
                    <a:gd name="connsiteY25" fmla="*/ 706998 h 721285"/>
                    <a:gd name="connsiteX26" fmla="*/ 339533 w 2315970"/>
                    <a:gd name="connsiteY26" fmla="*/ 721285 h 721285"/>
                    <a:gd name="connsiteX27" fmla="*/ 125220 w 2315970"/>
                    <a:gd name="connsiteY27" fmla="*/ 711760 h 721285"/>
                    <a:gd name="connsiteX28" fmla="*/ 77595 w 2315970"/>
                    <a:gd name="connsiteY28" fmla="*/ 702235 h 721285"/>
                    <a:gd name="connsiteX29" fmla="*/ 49020 w 2315970"/>
                    <a:gd name="connsiteY29" fmla="*/ 697473 h 721285"/>
                    <a:gd name="connsiteX30" fmla="*/ 39495 w 2315970"/>
                    <a:gd name="connsiteY30" fmla="*/ 683185 h 721285"/>
                    <a:gd name="connsiteX31" fmla="*/ 15683 w 2315970"/>
                    <a:gd name="connsiteY31" fmla="*/ 654610 h 721285"/>
                    <a:gd name="connsiteX32" fmla="*/ 6158 w 2315970"/>
                    <a:gd name="connsiteY32" fmla="*/ 554598 h 721285"/>
                    <a:gd name="connsiteX33" fmla="*/ 1395 w 2315970"/>
                    <a:gd name="connsiteY33" fmla="*/ 540310 h 721285"/>
                    <a:gd name="connsiteX34" fmla="*/ 63308 w 2315970"/>
                    <a:gd name="connsiteY34" fmla="*/ 535548 h 721285"/>
                    <a:gd name="connsiteX35" fmla="*/ 806258 w 2315970"/>
                    <a:gd name="connsiteY35" fmla="*/ 535548 h 721285"/>
                    <a:gd name="connsiteX36" fmla="*/ 1034858 w 2315970"/>
                    <a:gd name="connsiteY36" fmla="*/ 526023 h 721285"/>
                    <a:gd name="connsiteX37" fmla="*/ 1039620 w 2315970"/>
                    <a:gd name="connsiteY37" fmla="*/ 478398 h 721285"/>
                    <a:gd name="connsiteX38" fmla="*/ 1030095 w 2315970"/>
                    <a:gd name="connsiteY38" fmla="*/ 430773 h 721285"/>
                    <a:gd name="connsiteX39" fmla="*/ 1020570 w 2315970"/>
                    <a:gd name="connsiteY39" fmla="*/ 216460 h 721285"/>
                    <a:gd name="connsiteX40" fmla="*/ 1030095 w 2315970"/>
                    <a:gd name="connsiteY40" fmla="*/ 21198 h 721285"/>
                    <a:gd name="connsiteX0" fmla="*/ 1030095 w 2315970"/>
                    <a:gd name="connsiteY0" fmla="*/ 21198 h 721285"/>
                    <a:gd name="connsiteX1" fmla="*/ 1287270 w 2315970"/>
                    <a:gd name="connsiteY1" fmla="*/ 11673 h 721285"/>
                    <a:gd name="connsiteX2" fmla="*/ 1282508 w 2315970"/>
                    <a:gd name="connsiteY2" fmla="*/ 78348 h 721285"/>
                    <a:gd name="connsiteX3" fmla="*/ 1272983 w 2315970"/>
                    <a:gd name="connsiteY3" fmla="*/ 426010 h 721285"/>
                    <a:gd name="connsiteX4" fmla="*/ 1287270 w 2315970"/>
                    <a:gd name="connsiteY4" fmla="*/ 530785 h 721285"/>
                    <a:gd name="connsiteX5" fmla="*/ 1353945 w 2315970"/>
                    <a:gd name="connsiteY5" fmla="*/ 535548 h 721285"/>
                    <a:gd name="connsiteX6" fmla="*/ 1401570 w 2315970"/>
                    <a:gd name="connsiteY6" fmla="*/ 545073 h 721285"/>
                    <a:gd name="connsiteX7" fmla="*/ 1430145 w 2315970"/>
                    <a:gd name="connsiteY7" fmla="*/ 549835 h 721285"/>
                    <a:gd name="connsiteX8" fmla="*/ 1463483 w 2315970"/>
                    <a:gd name="connsiteY8" fmla="*/ 559360 h 721285"/>
                    <a:gd name="connsiteX9" fmla="*/ 1658745 w 2315970"/>
                    <a:gd name="connsiteY9" fmla="*/ 554598 h 721285"/>
                    <a:gd name="connsiteX10" fmla="*/ 1720658 w 2315970"/>
                    <a:gd name="connsiteY10" fmla="*/ 545073 h 721285"/>
                    <a:gd name="connsiteX11" fmla="*/ 1963545 w 2315970"/>
                    <a:gd name="connsiteY11" fmla="*/ 540310 h 721285"/>
                    <a:gd name="connsiteX12" fmla="*/ 2282633 w 2315970"/>
                    <a:gd name="connsiteY12" fmla="*/ 549835 h 721285"/>
                    <a:gd name="connsiteX13" fmla="*/ 2287395 w 2315970"/>
                    <a:gd name="connsiteY13" fmla="*/ 568885 h 721285"/>
                    <a:gd name="connsiteX14" fmla="*/ 2301683 w 2315970"/>
                    <a:gd name="connsiteY14" fmla="*/ 587935 h 721285"/>
                    <a:gd name="connsiteX15" fmla="*/ 2306445 w 2315970"/>
                    <a:gd name="connsiteY15" fmla="*/ 621273 h 721285"/>
                    <a:gd name="connsiteX16" fmla="*/ 2315970 w 2315970"/>
                    <a:gd name="connsiteY16" fmla="*/ 649848 h 721285"/>
                    <a:gd name="connsiteX17" fmla="*/ 2306445 w 2315970"/>
                    <a:gd name="connsiteY17" fmla="*/ 683185 h 721285"/>
                    <a:gd name="connsiteX18" fmla="*/ 2273108 w 2315970"/>
                    <a:gd name="connsiteY18" fmla="*/ 697473 h 721285"/>
                    <a:gd name="connsiteX19" fmla="*/ 1963545 w 2315970"/>
                    <a:gd name="connsiteY19" fmla="*/ 687948 h 721285"/>
                    <a:gd name="connsiteX20" fmla="*/ 1734945 w 2315970"/>
                    <a:gd name="connsiteY20" fmla="*/ 687948 h 721285"/>
                    <a:gd name="connsiteX21" fmla="*/ 1634933 w 2315970"/>
                    <a:gd name="connsiteY21" fmla="*/ 702235 h 721285"/>
                    <a:gd name="connsiteX22" fmla="*/ 1601595 w 2315970"/>
                    <a:gd name="connsiteY22" fmla="*/ 711760 h 721285"/>
                    <a:gd name="connsiteX23" fmla="*/ 1287270 w 2315970"/>
                    <a:gd name="connsiteY23" fmla="*/ 702235 h 721285"/>
                    <a:gd name="connsiteX24" fmla="*/ 1263458 w 2315970"/>
                    <a:gd name="connsiteY24" fmla="*/ 697473 h 721285"/>
                    <a:gd name="connsiteX25" fmla="*/ 430020 w 2315970"/>
                    <a:gd name="connsiteY25" fmla="*/ 706998 h 721285"/>
                    <a:gd name="connsiteX26" fmla="*/ 339533 w 2315970"/>
                    <a:gd name="connsiteY26" fmla="*/ 721285 h 721285"/>
                    <a:gd name="connsiteX27" fmla="*/ 125220 w 2315970"/>
                    <a:gd name="connsiteY27" fmla="*/ 711760 h 721285"/>
                    <a:gd name="connsiteX28" fmla="*/ 77595 w 2315970"/>
                    <a:gd name="connsiteY28" fmla="*/ 702235 h 721285"/>
                    <a:gd name="connsiteX29" fmla="*/ 49020 w 2315970"/>
                    <a:gd name="connsiteY29" fmla="*/ 697473 h 721285"/>
                    <a:gd name="connsiteX30" fmla="*/ 39495 w 2315970"/>
                    <a:gd name="connsiteY30" fmla="*/ 683185 h 721285"/>
                    <a:gd name="connsiteX31" fmla="*/ 15683 w 2315970"/>
                    <a:gd name="connsiteY31" fmla="*/ 654610 h 721285"/>
                    <a:gd name="connsiteX32" fmla="*/ 6158 w 2315970"/>
                    <a:gd name="connsiteY32" fmla="*/ 554598 h 721285"/>
                    <a:gd name="connsiteX33" fmla="*/ 1395 w 2315970"/>
                    <a:gd name="connsiteY33" fmla="*/ 540310 h 721285"/>
                    <a:gd name="connsiteX34" fmla="*/ 63308 w 2315970"/>
                    <a:gd name="connsiteY34" fmla="*/ 535548 h 721285"/>
                    <a:gd name="connsiteX35" fmla="*/ 806258 w 2315970"/>
                    <a:gd name="connsiteY35" fmla="*/ 535548 h 721285"/>
                    <a:gd name="connsiteX36" fmla="*/ 1034858 w 2315970"/>
                    <a:gd name="connsiteY36" fmla="*/ 526023 h 721285"/>
                    <a:gd name="connsiteX37" fmla="*/ 1030095 w 2315970"/>
                    <a:gd name="connsiteY37" fmla="*/ 430773 h 721285"/>
                    <a:gd name="connsiteX38" fmla="*/ 1020570 w 2315970"/>
                    <a:gd name="connsiteY38" fmla="*/ 216460 h 721285"/>
                    <a:gd name="connsiteX39" fmla="*/ 1030095 w 2315970"/>
                    <a:gd name="connsiteY39" fmla="*/ 21198 h 721285"/>
                    <a:gd name="connsiteX0" fmla="*/ 1030095 w 2315970"/>
                    <a:gd name="connsiteY0" fmla="*/ 21198 h 721285"/>
                    <a:gd name="connsiteX1" fmla="*/ 1287270 w 2315970"/>
                    <a:gd name="connsiteY1" fmla="*/ 11673 h 721285"/>
                    <a:gd name="connsiteX2" fmla="*/ 1282508 w 2315970"/>
                    <a:gd name="connsiteY2" fmla="*/ 78348 h 721285"/>
                    <a:gd name="connsiteX3" fmla="*/ 1272983 w 2315970"/>
                    <a:gd name="connsiteY3" fmla="*/ 426010 h 721285"/>
                    <a:gd name="connsiteX4" fmla="*/ 1287270 w 2315970"/>
                    <a:gd name="connsiteY4" fmla="*/ 530785 h 721285"/>
                    <a:gd name="connsiteX5" fmla="*/ 1353945 w 2315970"/>
                    <a:gd name="connsiteY5" fmla="*/ 535548 h 721285"/>
                    <a:gd name="connsiteX6" fmla="*/ 1430145 w 2315970"/>
                    <a:gd name="connsiteY6" fmla="*/ 549835 h 721285"/>
                    <a:gd name="connsiteX7" fmla="*/ 1463483 w 2315970"/>
                    <a:gd name="connsiteY7" fmla="*/ 559360 h 721285"/>
                    <a:gd name="connsiteX8" fmla="*/ 1658745 w 2315970"/>
                    <a:gd name="connsiteY8" fmla="*/ 554598 h 721285"/>
                    <a:gd name="connsiteX9" fmla="*/ 1720658 w 2315970"/>
                    <a:gd name="connsiteY9" fmla="*/ 545073 h 721285"/>
                    <a:gd name="connsiteX10" fmla="*/ 1963545 w 2315970"/>
                    <a:gd name="connsiteY10" fmla="*/ 540310 h 721285"/>
                    <a:gd name="connsiteX11" fmla="*/ 2282633 w 2315970"/>
                    <a:gd name="connsiteY11" fmla="*/ 549835 h 721285"/>
                    <a:gd name="connsiteX12" fmla="*/ 2287395 w 2315970"/>
                    <a:gd name="connsiteY12" fmla="*/ 568885 h 721285"/>
                    <a:gd name="connsiteX13" fmla="*/ 2301683 w 2315970"/>
                    <a:gd name="connsiteY13" fmla="*/ 587935 h 721285"/>
                    <a:gd name="connsiteX14" fmla="*/ 2306445 w 2315970"/>
                    <a:gd name="connsiteY14" fmla="*/ 621273 h 721285"/>
                    <a:gd name="connsiteX15" fmla="*/ 2315970 w 2315970"/>
                    <a:gd name="connsiteY15" fmla="*/ 649848 h 721285"/>
                    <a:gd name="connsiteX16" fmla="*/ 2306445 w 2315970"/>
                    <a:gd name="connsiteY16" fmla="*/ 683185 h 721285"/>
                    <a:gd name="connsiteX17" fmla="*/ 2273108 w 2315970"/>
                    <a:gd name="connsiteY17" fmla="*/ 697473 h 721285"/>
                    <a:gd name="connsiteX18" fmla="*/ 1963545 w 2315970"/>
                    <a:gd name="connsiteY18" fmla="*/ 687948 h 721285"/>
                    <a:gd name="connsiteX19" fmla="*/ 1734945 w 2315970"/>
                    <a:gd name="connsiteY19" fmla="*/ 687948 h 721285"/>
                    <a:gd name="connsiteX20" fmla="*/ 1634933 w 2315970"/>
                    <a:gd name="connsiteY20" fmla="*/ 702235 h 721285"/>
                    <a:gd name="connsiteX21" fmla="*/ 1601595 w 2315970"/>
                    <a:gd name="connsiteY21" fmla="*/ 711760 h 721285"/>
                    <a:gd name="connsiteX22" fmla="*/ 1287270 w 2315970"/>
                    <a:gd name="connsiteY22" fmla="*/ 702235 h 721285"/>
                    <a:gd name="connsiteX23" fmla="*/ 1263458 w 2315970"/>
                    <a:gd name="connsiteY23" fmla="*/ 697473 h 721285"/>
                    <a:gd name="connsiteX24" fmla="*/ 430020 w 2315970"/>
                    <a:gd name="connsiteY24" fmla="*/ 706998 h 721285"/>
                    <a:gd name="connsiteX25" fmla="*/ 339533 w 2315970"/>
                    <a:gd name="connsiteY25" fmla="*/ 721285 h 721285"/>
                    <a:gd name="connsiteX26" fmla="*/ 125220 w 2315970"/>
                    <a:gd name="connsiteY26" fmla="*/ 711760 h 721285"/>
                    <a:gd name="connsiteX27" fmla="*/ 77595 w 2315970"/>
                    <a:gd name="connsiteY27" fmla="*/ 702235 h 721285"/>
                    <a:gd name="connsiteX28" fmla="*/ 49020 w 2315970"/>
                    <a:gd name="connsiteY28" fmla="*/ 697473 h 721285"/>
                    <a:gd name="connsiteX29" fmla="*/ 39495 w 2315970"/>
                    <a:gd name="connsiteY29" fmla="*/ 683185 h 721285"/>
                    <a:gd name="connsiteX30" fmla="*/ 15683 w 2315970"/>
                    <a:gd name="connsiteY30" fmla="*/ 654610 h 721285"/>
                    <a:gd name="connsiteX31" fmla="*/ 6158 w 2315970"/>
                    <a:gd name="connsiteY31" fmla="*/ 554598 h 721285"/>
                    <a:gd name="connsiteX32" fmla="*/ 1395 w 2315970"/>
                    <a:gd name="connsiteY32" fmla="*/ 540310 h 721285"/>
                    <a:gd name="connsiteX33" fmla="*/ 63308 w 2315970"/>
                    <a:gd name="connsiteY33" fmla="*/ 535548 h 721285"/>
                    <a:gd name="connsiteX34" fmla="*/ 806258 w 2315970"/>
                    <a:gd name="connsiteY34" fmla="*/ 535548 h 721285"/>
                    <a:gd name="connsiteX35" fmla="*/ 1034858 w 2315970"/>
                    <a:gd name="connsiteY35" fmla="*/ 526023 h 721285"/>
                    <a:gd name="connsiteX36" fmla="*/ 1030095 w 2315970"/>
                    <a:gd name="connsiteY36" fmla="*/ 430773 h 721285"/>
                    <a:gd name="connsiteX37" fmla="*/ 1020570 w 2315970"/>
                    <a:gd name="connsiteY37" fmla="*/ 216460 h 721285"/>
                    <a:gd name="connsiteX38" fmla="*/ 1030095 w 2315970"/>
                    <a:gd name="connsiteY38" fmla="*/ 21198 h 721285"/>
                    <a:gd name="connsiteX0" fmla="*/ 1030095 w 2315970"/>
                    <a:gd name="connsiteY0" fmla="*/ 21198 h 721285"/>
                    <a:gd name="connsiteX1" fmla="*/ 1287270 w 2315970"/>
                    <a:gd name="connsiteY1" fmla="*/ 11673 h 721285"/>
                    <a:gd name="connsiteX2" fmla="*/ 1282508 w 2315970"/>
                    <a:gd name="connsiteY2" fmla="*/ 78348 h 721285"/>
                    <a:gd name="connsiteX3" fmla="*/ 1272983 w 2315970"/>
                    <a:gd name="connsiteY3" fmla="*/ 426010 h 721285"/>
                    <a:gd name="connsiteX4" fmla="*/ 1287270 w 2315970"/>
                    <a:gd name="connsiteY4" fmla="*/ 530785 h 721285"/>
                    <a:gd name="connsiteX5" fmla="*/ 1353945 w 2315970"/>
                    <a:gd name="connsiteY5" fmla="*/ 535548 h 721285"/>
                    <a:gd name="connsiteX6" fmla="*/ 1463483 w 2315970"/>
                    <a:gd name="connsiteY6" fmla="*/ 559360 h 721285"/>
                    <a:gd name="connsiteX7" fmla="*/ 1658745 w 2315970"/>
                    <a:gd name="connsiteY7" fmla="*/ 554598 h 721285"/>
                    <a:gd name="connsiteX8" fmla="*/ 1720658 w 2315970"/>
                    <a:gd name="connsiteY8" fmla="*/ 545073 h 721285"/>
                    <a:gd name="connsiteX9" fmla="*/ 1963545 w 2315970"/>
                    <a:gd name="connsiteY9" fmla="*/ 540310 h 721285"/>
                    <a:gd name="connsiteX10" fmla="*/ 2282633 w 2315970"/>
                    <a:gd name="connsiteY10" fmla="*/ 549835 h 721285"/>
                    <a:gd name="connsiteX11" fmla="*/ 2287395 w 2315970"/>
                    <a:gd name="connsiteY11" fmla="*/ 568885 h 721285"/>
                    <a:gd name="connsiteX12" fmla="*/ 2301683 w 2315970"/>
                    <a:gd name="connsiteY12" fmla="*/ 587935 h 721285"/>
                    <a:gd name="connsiteX13" fmla="*/ 2306445 w 2315970"/>
                    <a:gd name="connsiteY13" fmla="*/ 621273 h 721285"/>
                    <a:gd name="connsiteX14" fmla="*/ 2315970 w 2315970"/>
                    <a:gd name="connsiteY14" fmla="*/ 649848 h 721285"/>
                    <a:gd name="connsiteX15" fmla="*/ 2306445 w 2315970"/>
                    <a:gd name="connsiteY15" fmla="*/ 683185 h 721285"/>
                    <a:gd name="connsiteX16" fmla="*/ 2273108 w 2315970"/>
                    <a:gd name="connsiteY16" fmla="*/ 697473 h 721285"/>
                    <a:gd name="connsiteX17" fmla="*/ 1963545 w 2315970"/>
                    <a:gd name="connsiteY17" fmla="*/ 687948 h 721285"/>
                    <a:gd name="connsiteX18" fmla="*/ 1734945 w 2315970"/>
                    <a:gd name="connsiteY18" fmla="*/ 687948 h 721285"/>
                    <a:gd name="connsiteX19" fmla="*/ 1634933 w 2315970"/>
                    <a:gd name="connsiteY19" fmla="*/ 702235 h 721285"/>
                    <a:gd name="connsiteX20" fmla="*/ 1601595 w 2315970"/>
                    <a:gd name="connsiteY20" fmla="*/ 711760 h 721285"/>
                    <a:gd name="connsiteX21" fmla="*/ 1287270 w 2315970"/>
                    <a:gd name="connsiteY21" fmla="*/ 702235 h 721285"/>
                    <a:gd name="connsiteX22" fmla="*/ 1263458 w 2315970"/>
                    <a:gd name="connsiteY22" fmla="*/ 697473 h 721285"/>
                    <a:gd name="connsiteX23" fmla="*/ 430020 w 2315970"/>
                    <a:gd name="connsiteY23" fmla="*/ 706998 h 721285"/>
                    <a:gd name="connsiteX24" fmla="*/ 339533 w 2315970"/>
                    <a:gd name="connsiteY24" fmla="*/ 721285 h 721285"/>
                    <a:gd name="connsiteX25" fmla="*/ 125220 w 2315970"/>
                    <a:gd name="connsiteY25" fmla="*/ 711760 h 721285"/>
                    <a:gd name="connsiteX26" fmla="*/ 77595 w 2315970"/>
                    <a:gd name="connsiteY26" fmla="*/ 702235 h 721285"/>
                    <a:gd name="connsiteX27" fmla="*/ 49020 w 2315970"/>
                    <a:gd name="connsiteY27" fmla="*/ 697473 h 721285"/>
                    <a:gd name="connsiteX28" fmla="*/ 39495 w 2315970"/>
                    <a:gd name="connsiteY28" fmla="*/ 683185 h 721285"/>
                    <a:gd name="connsiteX29" fmla="*/ 15683 w 2315970"/>
                    <a:gd name="connsiteY29" fmla="*/ 654610 h 721285"/>
                    <a:gd name="connsiteX30" fmla="*/ 6158 w 2315970"/>
                    <a:gd name="connsiteY30" fmla="*/ 554598 h 721285"/>
                    <a:gd name="connsiteX31" fmla="*/ 1395 w 2315970"/>
                    <a:gd name="connsiteY31" fmla="*/ 540310 h 721285"/>
                    <a:gd name="connsiteX32" fmla="*/ 63308 w 2315970"/>
                    <a:gd name="connsiteY32" fmla="*/ 535548 h 721285"/>
                    <a:gd name="connsiteX33" fmla="*/ 806258 w 2315970"/>
                    <a:gd name="connsiteY33" fmla="*/ 535548 h 721285"/>
                    <a:gd name="connsiteX34" fmla="*/ 1034858 w 2315970"/>
                    <a:gd name="connsiteY34" fmla="*/ 526023 h 721285"/>
                    <a:gd name="connsiteX35" fmla="*/ 1030095 w 2315970"/>
                    <a:gd name="connsiteY35" fmla="*/ 430773 h 721285"/>
                    <a:gd name="connsiteX36" fmla="*/ 1020570 w 2315970"/>
                    <a:gd name="connsiteY36" fmla="*/ 216460 h 721285"/>
                    <a:gd name="connsiteX37" fmla="*/ 1030095 w 2315970"/>
                    <a:gd name="connsiteY37" fmla="*/ 21198 h 721285"/>
                    <a:gd name="connsiteX0" fmla="*/ 1030095 w 2315970"/>
                    <a:gd name="connsiteY0" fmla="*/ 21198 h 721285"/>
                    <a:gd name="connsiteX1" fmla="*/ 1287270 w 2315970"/>
                    <a:gd name="connsiteY1" fmla="*/ 11673 h 721285"/>
                    <a:gd name="connsiteX2" fmla="*/ 1282508 w 2315970"/>
                    <a:gd name="connsiteY2" fmla="*/ 78348 h 721285"/>
                    <a:gd name="connsiteX3" fmla="*/ 1272983 w 2315970"/>
                    <a:gd name="connsiteY3" fmla="*/ 426010 h 721285"/>
                    <a:gd name="connsiteX4" fmla="*/ 1287270 w 2315970"/>
                    <a:gd name="connsiteY4" fmla="*/ 530785 h 721285"/>
                    <a:gd name="connsiteX5" fmla="*/ 1353945 w 2315970"/>
                    <a:gd name="connsiteY5" fmla="*/ 535548 h 721285"/>
                    <a:gd name="connsiteX6" fmla="*/ 1658745 w 2315970"/>
                    <a:gd name="connsiteY6" fmla="*/ 554598 h 721285"/>
                    <a:gd name="connsiteX7" fmla="*/ 1720658 w 2315970"/>
                    <a:gd name="connsiteY7" fmla="*/ 545073 h 721285"/>
                    <a:gd name="connsiteX8" fmla="*/ 1963545 w 2315970"/>
                    <a:gd name="connsiteY8" fmla="*/ 540310 h 721285"/>
                    <a:gd name="connsiteX9" fmla="*/ 2282633 w 2315970"/>
                    <a:gd name="connsiteY9" fmla="*/ 549835 h 721285"/>
                    <a:gd name="connsiteX10" fmla="*/ 2287395 w 2315970"/>
                    <a:gd name="connsiteY10" fmla="*/ 568885 h 721285"/>
                    <a:gd name="connsiteX11" fmla="*/ 2301683 w 2315970"/>
                    <a:gd name="connsiteY11" fmla="*/ 587935 h 721285"/>
                    <a:gd name="connsiteX12" fmla="*/ 2306445 w 2315970"/>
                    <a:gd name="connsiteY12" fmla="*/ 621273 h 721285"/>
                    <a:gd name="connsiteX13" fmla="*/ 2315970 w 2315970"/>
                    <a:gd name="connsiteY13" fmla="*/ 649848 h 721285"/>
                    <a:gd name="connsiteX14" fmla="*/ 2306445 w 2315970"/>
                    <a:gd name="connsiteY14" fmla="*/ 683185 h 721285"/>
                    <a:gd name="connsiteX15" fmla="*/ 2273108 w 2315970"/>
                    <a:gd name="connsiteY15" fmla="*/ 697473 h 721285"/>
                    <a:gd name="connsiteX16" fmla="*/ 1963545 w 2315970"/>
                    <a:gd name="connsiteY16" fmla="*/ 687948 h 721285"/>
                    <a:gd name="connsiteX17" fmla="*/ 1734945 w 2315970"/>
                    <a:gd name="connsiteY17" fmla="*/ 687948 h 721285"/>
                    <a:gd name="connsiteX18" fmla="*/ 1634933 w 2315970"/>
                    <a:gd name="connsiteY18" fmla="*/ 702235 h 721285"/>
                    <a:gd name="connsiteX19" fmla="*/ 1601595 w 2315970"/>
                    <a:gd name="connsiteY19" fmla="*/ 711760 h 721285"/>
                    <a:gd name="connsiteX20" fmla="*/ 1287270 w 2315970"/>
                    <a:gd name="connsiteY20" fmla="*/ 702235 h 721285"/>
                    <a:gd name="connsiteX21" fmla="*/ 1263458 w 2315970"/>
                    <a:gd name="connsiteY21" fmla="*/ 697473 h 721285"/>
                    <a:gd name="connsiteX22" fmla="*/ 430020 w 2315970"/>
                    <a:gd name="connsiteY22" fmla="*/ 706998 h 721285"/>
                    <a:gd name="connsiteX23" fmla="*/ 339533 w 2315970"/>
                    <a:gd name="connsiteY23" fmla="*/ 721285 h 721285"/>
                    <a:gd name="connsiteX24" fmla="*/ 125220 w 2315970"/>
                    <a:gd name="connsiteY24" fmla="*/ 711760 h 721285"/>
                    <a:gd name="connsiteX25" fmla="*/ 77595 w 2315970"/>
                    <a:gd name="connsiteY25" fmla="*/ 702235 h 721285"/>
                    <a:gd name="connsiteX26" fmla="*/ 49020 w 2315970"/>
                    <a:gd name="connsiteY26" fmla="*/ 697473 h 721285"/>
                    <a:gd name="connsiteX27" fmla="*/ 39495 w 2315970"/>
                    <a:gd name="connsiteY27" fmla="*/ 683185 h 721285"/>
                    <a:gd name="connsiteX28" fmla="*/ 15683 w 2315970"/>
                    <a:gd name="connsiteY28" fmla="*/ 654610 h 721285"/>
                    <a:gd name="connsiteX29" fmla="*/ 6158 w 2315970"/>
                    <a:gd name="connsiteY29" fmla="*/ 554598 h 721285"/>
                    <a:gd name="connsiteX30" fmla="*/ 1395 w 2315970"/>
                    <a:gd name="connsiteY30" fmla="*/ 540310 h 721285"/>
                    <a:gd name="connsiteX31" fmla="*/ 63308 w 2315970"/>
                    <a:gd name="connsiteY31" fmla="*/ 535548 h 721285"/>
                    <a:gd name="connsiteX32" fmla="*/ 806258 w 2315970"/>
                    <a:gd name="connsiteY32" fmla="*/ 535548 h 721285"/>
                    <a:gd name="connsiteX33" fmla="*/ 1034858 w 2315970"/>
                    <a:gd name="connsiteY33" fmla="*/ 526023 h 721285"/>
                    <a:gd name="connsiteX34" fmla="*/ 1030095 w 2315970"/>
                    <a:gd name="connsiteY34" fmla="*/ 430773 h 721285"/>
                    <a:gd name="connsiteX35" fmla="*/ 1020570 w 2315970"/>
                    <a:gd name="connsiteY35" fmla="*/ 216460 h 721285"/>
                    <a:gd name="connsiteX36" fmla="*/ 1030095 w 2315970"/>
                    <a:gd name="connsiteY36" fmla="*/ 21198 h 721285"/>
                    <a:gd name="connsiteX0" fmla="*/ 1030095 w 2315970"/>
                    <a:gd name="connsiteY0" fmla="*/ 21198 h 721285"/>
                    <a:gd name="connsiteX1" fmla="*/ 1287270 w 2315970"/>
                    <a:gd name="connsiteY1" fmla="*/ 11673 h 721285"/>
                    <a:gd name="connsiteX2" fmla="*/ 1282508 w 2315970"/>
                    <a:gd name="connsiteY2" fmla="*/ 78348 h 721285"/>
                    <a:gd name="connsiteX3" fmla="*/ 1272983 w 2315970"/>
                    <a:gd name="connsiteY3" fmla="*/ 426010 h 721285"/>
                    <a:gd name="connsiteX4" fmla="*/ 1287270 w 2315970"/>
                    <a:gd name="connsiteY4" fmla="*/ 530785 h 721285"/>
                    <a:gd name="connsiteX5" fmla="*/ 1353945 w 2315970"/>
                    <a:gd name="connsiteY5" fmla="*/ 535548 h 721285"/>
                    <a:gd name="connsiteX6" fmla="*/ 1720658 w 2315970"/>
                    <a:gd name="connsiteY6" fmla="*/ 545073 h 721285"/>
                    <a:gd name="connsiteX7" fmla="*/ 1963545 w 2315970"/>
                    <a:gd name="connsiteY7" fmla="*/ 540310 h 721285"/>
                    <a:gd name="connsiteX8" fmla="*/ 2282633 w 2315970"/>
                    <a:gd name="connsiteY8" fmla="*/ 549835 h 721285"/>
                    <a:gd name="connsiteX9" fmla="*/ 2287395 w 2315970"/>
                    <a:gd name="connsiteY9" fmla="*/ 568885 h 721285"/>
                    <a:gd name="connsiteX10" fmla="*/ 2301683 w 2315970"/>
                    <a:gd name="connsiteY10" fmla="*/ 587935 h 721285"/>
                    <a:gd name="connsiteX11" fmla="*/ 2306445 w 2315970"/>
                    <a:gd name="connsiteY11" fmla="*/ 621273 h 721285"/>
                    <a:gd name="connsiteX12" fmla="*/ 2315970 w 2315970"/>
                    <a:gd name="connsiteY12" fmla="*/ 649848 h 721285"/>
                    <a:gd name="connsiteX13" fmla="*/ 2306445 w 2315970"/>
                    <a:gd name="connsiteY13" fmla="*/ 683185 h 721285"/>
                    <a:gd name="connsiteX14" fmla="*/ 2273108 w 2315970"/>
                    <a:gd name="connsiteY14" fmla="*/ 697473 h 721285"/>
                    <a:gd name="connsiteX15" fmla="*/ 1963545 w 2315970"/>
                    <a:gd name="connsiteY15" fmla="*/ 687948 h 721285"/>
                    <a:gd name="connsiteX16" fmla="*/ 1734945 w 2315970"/>
                    <a:gd name="connsiteY16" fmla="*/ 687948 h 721285"/>
                    <a:gd name="connsiteX17" fmla="*/ 1634933 w 2315970"/>
                    <a:gd name="connsiteY17" fmla="*/ 702235 h 721285"/>
                    <a:gd name="connsiteX18" fmla="*/ 1601595 w 2315970"/>
                    <a:gd name="connsiteY18" fmla="*/ 711760 h 721285"/>
                    <a:gd name="connsiteX19" fmla="*/ 1287270 w 2315970"/>
                    <a:gd name="connsiteY19" fmla="*/ 702235 h 721285"/>
                    <a:gd name="connsiteX20" fmla="*/ 1263458 w 2315970"/>
                    <a:gd name="connsiteY20" fmla="*/ 697473 h 721285"/>
                    <a:gd name="connsiteX21" fmla="*/ 430020 w 2315970"/>
                    <a:gd name="connsiteY21" fmla="*/ 706998 h 721285"/>
                    <a:gd name="connsiteX22" fmla="*/ 339533 w 2315970"/>
                    <a:gd name="connsiteY22" fmla="*/ 721285 h 721285"/>
                    <a:gd name="connsiteX23" fmla="*/ 125220 w 2315970"/>
                    <a:gd name="connsiteY23" fmla="*/ 711760 h 721285"/>
                    <a:gd name="connsiteX24" fmla="*/ 77595 w 2315970"/>
                    <a:gd name="connsiteY24" fmla="*/ 702235 h 721285"/>
                    <a:gd name="connsiteX25" fmla="*/ 49020 w 2315970"/>
                    <a:gd name="connsiteY25" fmla="*/ 697473 h 721285"/>
                    <a:gd name="connsiteX26" fmla="*/ 39495 w 2315970"/>
                    <a:gd name="connsiteY26" fmla="*/ 683185 h 721285"/>
                    <a:gd name="connsiteX27" fmla="*/ 15683 w 2315970"/>
                    <a:gd name="connsiteY27" fmla="*/ 654610 h 721285"/>
                    <a:gd name="connsiteX28" fmla="*/ 6158 w 2315970"/>
                    <a:gd name="connsiteY28" fmla="*/ 554598 h 721285"/>
                    <a:gd name="connsiteX29" fmla="*/ 1395 w 2315970"/>
                    <a:gd name="connsiteY29" fmla="*/ 540310 h 721285"/>
                    <a:gd name="connsiteX30" fmla="*/ 63308 w 2315970"/>
                    <a:gd name="connsiteY30" fmla="*/ 535548 h 721285"/>
                    <a:gd name="connsiteX31" fmla="*/ 806258 w 2315970"/>
                    <a:gd name="connsiteY31" fmla="*/ 535548 h 721285"/>
                    <a:gd name="connsiteX32" fmla="*/ 1034858 w 2315970"/>
                    <a:gd name="connsiteY32" fmla="*/ 526023 h 721285"/>
                    <a:gd name="connsiteX33" fmla="*/ 1030095 w 2315970"/>
                    <a:gd name="connsiteY33" fmla="*/ 430773 h 721285"/>
                    <a:gd name="connsiteX34" fmla="*/ 1020570 w 2315970"/>
                    <a:gd name="connsiteY34" fmla="*/ 216460 h 721285"/>
                    <a:gd name="connsiteX35" fmla="*/ 1030095 w 2315970"/>
                    <a:gd name="connsiteY35" fmla="*/ 21198 h 721285"/>
                    <a:gd name="connsiteX0" fmla="*/ 1030095 w 2316107"/>
                    <a:gd name="connsiteY0" fmla="*/ 21198 h 721285"/>
                    <a:gd name="connsiteX1" fmla="*/ 1287270 w 2316107"/>
                    <a:gd name="connsiteY1" fmla="*/ 11673 h 721285"/>
                    <a:gd name="connsiteX2" fmla="*/ 1282508 w 2316107"/>
                    <a:gd name="connsiteY2" fmla="*/ 78348 h 721285"/>
                    <a:gd name="connsiteX3" fmla="*/ 1272983 w 2316107"/>
                    <a:gd name="connsiteY3" fmla="*/ 426010 h 721285"/>
                    <a:gd name="connsiteX4" fmla="*/ 1287270 w 2316107"/>
                    <a:gd name="connsiteY4" fmla="*/ 530785 h 721285"/>
                    <a:gd name="connsiteX5" fmla="*/ 1353945 w 2316107"/>
                    <a:gd name="connsiteY5" fmla="*/ 535548 h 721285"/>
                    <a:gd name="connsiteX6" fmla="*/ 1720658 w 2316107"/>
                    <a:gd name="connsiteY6" fmla="*/ 545073 h 721285"/>
                    <a:gd name="connsiteX7" fmla="*/ 1963545 w 2316107"/>
                    <a:gd name="connsiteY7" fmla="*/ 540310 h 721285"/>
                    <a:gd name="connsiteX8" fmla="*/ 2282633 w 2316107"/>
                    <a:gd name="connsiteY8" fmla="*/ 549835 h 721285"/>
                    <a:gd name="connsiteX9" fmla="*/ 2287395 w 2316107"/>
                    <a:gd name="connsiteY9" fmla="*/ 568885 h 721285"/>
                    <a:gd name="connsiteX10" fmla="*/ 2301683 w 2316107"/>
                    <a:gd name="connsiteY10" fmla="*/ 587935 h 721285"/>
                    <a:gd name="connsiteX11" fmla="*/ 2315970 w 2316107"/>
                    <a:gd name="connsiteY11" fmla="*/ 649848 h 721285"/>
                    <a:gd name="connsiteX12" fmla="*/ 2306445 w 2316107"/>
                    <a:gd name="connsiteY12" fmla="*/ 683185 h 721285"/>
                    <a:gd name="connsiteX13" fmla="*/ 2273108 w 2316107"/>
                    <a:gd name="connsiteY13" fmla="*/ 697473 h 721285"/>
                    <a:gd name="connsiteX14" fmla="*/ 1963545 w 2316107"/>
                    <a:gd name="connsiteY14" fmla="*/ 687948 h 721285"/>
                    <a:gd name="connsiteX15" fmla="*/ 1734945 w 2316107"/>
                    <a:gd name="connsiteY15" fmla="*/ 687948 h 721285"/>
                    <a:gd name="connsiteX16" fmla="*/ 1634933 w 2316107"/>
                    <a:gd name="connsiteY16" fmla="*/ 702235 h 721285"/>
                    <a:gd name="connsiteX17" fmla="*/ 1601595 w 2316107"/>
                    <a:gd name="connsiteY17" fmla="*/ 711760 h 721285"/>
                    <a:gd name="connsiteX18" fmla="*/ 1287270 w 2316107"/>
                    <a:gd name="connsiteY18" fmla="*/ 702235 h 721285"/>
                    <a:gd name="connsiteX19" fmla="*/ 1263458 w 2316107"/>
                    <a:gd name="connsiteY19" fmla="*/ 697473 h 721285"/>
                    <a:gd name="connsiteX20" fmla="*/ 430020 w 2316107"/>
                    <a:gd name="connsiteY20" fmla="*/ 706998 h 721285"/>
                    <a:gd name="connsiteX21" fmla="*/ 339533 w 2316107"/>
                    <a:gd name="connsiteY21" fmla="*/ 721285 h 721285"/>
                    <a:gd name="connsiteX22" fmla="*/ 125220 w 2316107"/>
                    <a:gd name="connsiteY22" fmla="*/ 711760 h 721285"/>
                    <a:gd name="connsiteX23" fmla="*/ 77595 w 2316107"/>
                    <a:gd name="connsiteY23" fmla="*/ 702235 h 721285"/>
                    <a:gd name="connsiteX24" fmla="*/ 49020 w 2316107"/>
                    <a:gd name="connsiteY24" fmla="*/ 697473 h 721285"/>
                    <a:gd name="connsiteX25" fmla="*/ 39495 w 2316107"/>
                    <a:gd name="connsiteY25" fmla="*/ 683185 h 721285"/>
                    <a:gd name="connsiteX26" fmla="*/ 15683 w 2316107"/>
                    <a:gd name="connsiteY26" fmla="*/ 654610 h 721285"/>
                    <a:gd name="connsiteX27" fmla="*/ 6158 w 2316107"/>
                    <a:gd name="connsiteY27" fmla="*/ 554598 h 721285"/>
                    <a:gd name="connsiteX28" fmla="*/ 1395 w 2316107"/>
                    <a:gd name="connsiteY28" fmla="*/ 540310 h 721285"/>
                    <a:gd name="connsiteX29" fmla="*/ 63308 w 2316107"/>
                    <a:gd name="connsiteY29" fmla="*/ 535548 h 721285"/>
                    <a:gd name="connsiteX30" fmla="*/ 806258 w 2316107"/>
                    <a:gd name="connsiteY30" fmla="*/ 535548 h 721285"/>
                    <a:gd name="connsiteX31" fmla="*/ 1034858 w 2316107"/>
                    <a:gd name="connsiteY31" fmla="*/ 526023 h 721285"/>
                    <a:gd name="connsiteX32" fmla="*/ 1030095 w 2316107"/>
                    <a:gd name="connsiteY32" fmla="*/ 430773 h 721285"/>
                    <a:gd name="connsiteX33" fmla="*/ 1020570 w 2316107"/>
                    <a:gd name="connsiteY33" fmla="*/ 216460 h 721285"/>
                    <a:gd name="connsiteX34" fmla="*/ 1030095 w 2316107"/>
                    <a:gd name="connsiteY34" fmla="*/ 21198 h 721285"/>
                    <a:gd name="connsiteX0" fmla="*/ 1030095 w 2308157"/>
                    <a:gd name="connsiteY0" fmla="*/ 21198 h 721285"/>
                    <a:gd name="connsiteX1" fmla="*/ 1287270 w 2308157"/>
                    <a:gd name="connsiteY1" fmla="*/ 11673 h 721285"/>
                    <a:gd name="connsiteX2" fmla="*/ 1282508 w 2308157"/>
                    <a:gd name="connsiteY2" fmla="*/ 78348 h 721285"/>
                    <a:gd name="connsiteX3" fmla="*/ 1272983 w 2308157"/>
                    <a:gd name="connsiteY3" fmla="*/ 426010 h 721285"/>
                    <a:gd name="connsiteX4" fmla="*/ 1287270 w 2308157"/>
                    <a:gd name="connsiteY4" fmla="*/ 530785 h 721285"/>
                    <a:gd name="connsiteX5" fmla="*/ 1353945 w 2308157"/>
                    <a:gd name="connsiteY5" fmla="*/ 535548 h 721285"/>
                    <a:gd name="connsiteX6" fmla="*/ 1720658 w 2308157"/>
                    <a:gd name="connsiteY6" fmla="*/ 545073 h 721285"/>
                    <a:gd name="connsiteX7" fmla="*/ 1963545 w 2308157"/>
                    <a:gd name="connsiteY7" fmla="*/ 540310 h 721285"/>
                    <a:gd name="connsiteX8" fmla="*/ 2282633 w 2308157"/>
                    <a:gd name="connsiteY8" fmla="*/ 549835 h 721285"/>
                    <a:gd name="connsiteX9" fmla="*/ 2287395 w 2308157"/>
                    <a:gd name="connsiteY9" fmla="*/ 568885 h 721285"/>
                    <a:gd name="connsiteX10" fmla="*/ 2301683 w 2308157"/>
                    <a:gd name="connsiteY10" fmla="*/ 587935 h 721285"/>
                    <a:gd name="connsiteX11" fmla="*/ 2306445 w 2308157"/>
                    <a:gd name="connsiteY11" fmla="*/ 683185 h 721285"/>
                    <a:gd name="connsiteX12" fmla="*/ 2273108 w 2308157"/>
                    <a:gd name="connsiteY12" fmla="*/ 697473 h 721285"/>
                    <a:gd name="connsiteX13" fmla="*/ 1963545 w 2308157"/>
                    <a:gd name="connsiteY13" fmla="*/ 687948 h 721285"/>
                    <a:gd name="connsiteX14" fmla="*/ 1734945 w 2308157"/>
                    <a:gd name="connsiteY14" fmla="*/ 687948 h 721285"/>
                    <a:gd name="connsiteX15" fmla="*/ 1634933 w 2308157"/>
                    <a:gd name="connsiteY15" fmla="*/ 702235 h 721285"/>
                    <a:gd name="connsiteX16" fmla="*/ 1601595 w 2308157"/>
                    <a:gd name="connsiteY16" fmla="*/ 711760 h 721285"/>
                    <a:gd name="connsiteX17" fmla="*/ 1287270 w 2308157"/>
                    <a:gd name="connsiteY17" fmla="*/ 702235 h 721285"/>
                    <a:gd name="connsiteX18" fmla="*/ 1263458 w 2308157"/>
                    <a:gd name="connsiteY18" fmla="*/ 697473 h 721285"/>
                    <a:gd name="connsiteX19" fmla="*/ 430020 w 2308157"/>
                    <a:gd name="connsiteY19" fmla="*/ 706998 h 721285"/>
                    <a:gd name="connsiteX20" fmla="*/ 339533 w 2308157"/>
                    <a:gd name="connsiteY20" fmla="*/ 721285 h 721285"/>
                    <a:gd name="connsiteX21" fmla="*/ 125220 w 2308157"/>
                    <a:gd name="connsiteY21" fmla="*/ 711760 h 721285"/>
                    <a:gd name="connsiteX22" fmla="*/ 77595 w 2308157"/>
                    <a:gd name="connsiteY22" fmla="*/ 702235 h 721285"/>
                    <a:gd name="connsiteX23" fmla="*/ 49020 w 2308157"/>
                    <a:gd name="connsiteY23" fmla="*/ 697473 h 721285"/>
                    <a:gd name="connsiteX24" fmla="*/ 39495 w 2308157"/>
                    <a:gd name="connsiteY24" fmla="*/ 683185 h 721285"/>
                    <a:gd name="connsiteX25" fmla="*/ 15683 w 2308157"/>
                    <a:gd name="connsiteY25" fmla="*/ 654610 h 721285"/>
                    <a:gd name="connsiteX26" fmla="*/ 6158 w 2308157"/>
                    <a:gd name="connsiteY26" fmla="*/ 554598 h 721285"/>
                    <a:gd name="connsiteX27" fmla="*/ 1395 w 2308157"/>
                    <a:gd name="connsiteY27" fmla="*/ 540310 h 721285"/>
                    <a:gd name="connsiteX28" fmla="*/ 63308 w 2308157"/>
                    <a:gd name="connsiteY28" fmla="*/ 535548 h 721285"/>
                    <a:gd name="connsiteX29" fmla="*/ 806258 w 2308157"/>
                    <a:gd name="connsiteY29" fmla="*/ 535548 h 721285"/>
                    <a:gd name="connsiteX30" fmla="*/ 1034858 w 2308157"/>
                    <a:gd name="connsiteY30" fmla="*/ 526023 h 721285"/>
                    <a:gd name="connsiteX31" fmla="*/ 1030095 w 2308157"/>
                    <a:gd name="connsiteY31" fmla="*/ 430773 h 721285"/>
                    <a:gd name="connsiteX32" fmla="*/ 1020570 w 2308157"/>
                    <a:gd name="connsiteY32" fmla="*/ 216460 h 721285"/>
                    <a:gd name="connsiteX33" fmla="*/ 1030095 w 2308157"/>
                    <a:gd name="connsiteY33" fmla="*/ 21198 h 721285"/>
                    <a:gd name="connsiteX0" fmla="*/ 1030095 w 2306667"/>
                    <a:gd name="connsiteY0" fmla="*/ 21198 h 721285"/>
                    <a:gd name="connsiteX1" fmla="*/ 1287270 w 2306667"/>
                    <a:gd name="connsiteY1" fmla="*/ 11673 h 721285"/>
                    <a:gd name="connsiteX2" fmla="*/ 1282508 w 2306667"/>
                    <a:gd name="connsiteY2" fmla="*/ 78348 h 721285"/>
                    <a:gd name="connsiteX3" fmla="*/ 1272983 w 2306667"/>
                    <a:gd name="connsiteY3" fmla="*/ 426010 h 721285"/>
                    <a:gd name="connsiteX4" fmla="*/ 1287270 w 2306667"/>
                    <a:gd name="connsiteY4" fmla="*/ 530785 h 721285"/>
                    <a:gd name="connsiteX5" fmla="*/ 1353945 w 2306667"/>
                    <a:gd name="connsiteY5" fmla="*/ 535548 h 721285"/>
                    <a:gd name="connsiteX6" fmla="*/ 1720658 w 2306667"/>
                    <a:gd name="connsiteY6" fmla="*/ 545073 h 721285"/>
                    <a:gd name="connsiteX7" fmla="*/ 1963545 w 2306667"/>
                    <a:gd name="connsiteY7" fmla="*/ 540310 h 721285"/>
                    <a:gd name="connsiteX8" fmla="*/ 2282633 w 2306667"/>
                    <a:gd name="connsiteY8" fmla="*/ 549835 h 721285"/>
                    <a:gd name="connsiteX9" fmla="*/ 2287395 w 2306667"/>
                    <a:gd name="connsiteY9" fmla="*/ 568885 h 721285"/>
                    <a:gd name="connsiteX10" fmla="*/ 2306445 w 2306667"/>
                    <a:gd name="connsiteY10" fmla="*/ 683185 h 721285"/>
                    <a:gd name="connsiteX11" fmla="*/ 2273108 w 2306667"/>
                    <a:gd name="connsiteY11" fmla="*/ 697473 h 721285"/>
                    <a:gd name="connsiteX12" fmla="*/ 1963545 w 2306667"/>
                    <a:gd name="connsiteY12" fmla="*/ 687948 h 721285"/>
                    <a:gd name="connsiteX13" fmla="*/ 1734945 w 2306667"/>
                    <a:gd name="connsiteY13" fmla="*/ 687948 h 721285"/>
                    <a:gd name="connsiteX14" fmla="*/ 1634933 w 2306667"/>
                    <a:gd name="connsiteY14" fmla="*/ 702235 h 721285"/>
                    <a:gd name="connsiteX15" fmla="*/ 1601595 w 2306667"/>
                    <a:gd name="connsiteY15" fmla="*/ 711760 h 721285"/>
                    <a:gd name="connsiteX16" fmla="*/ 1287270 w 2306667"/>
                    <a:gd name="connsiteY16" fmla="*/ 702235 h 721285"/>
                    <a:gd name="connsiteX17" fmla="*/ 1263458 w 2306667"/>
                    <a:gd name="connsiteY17" fmla="*/ 697473 h 721285"/>
                    <a:gd name="connsiteX18" fmla="*/ 430020 w 2306667"/>
                    <a:gd name="connsiteY18" fmla="*/ 706998 h 721285"/>
                    <a:gd name="connsiteX19" fmla="*/ 339533 w 2306667"/>
                    <a:gd name="connsiteY19" fmla="*/ 721285 h 721285"/>
                    <a:gd name="connsiteX20" fmla="*/ 125220 w 2306667"/>
                    <a:gd name="connsiteY20" fmla="*/ 711760 h 721285"/>
                    <a:gd name="connsiteX21" fmla="*/ 77595 w 2306667"/>
                    <a:gd name="connsiteY21" fmla="*/ 702235 h 721285"/>
                    <a:gd name="connsiteX22" fmla="*/ 49020 w 2306667"/>
                    <a:gd name="connsiteY22" fmla="*/ 697473 h 721285"/>
                    <a:gd name="connsiteX23" fmla="*/ 39495 w 2306667"/>
                    <a:gd name="connsiteY23" fmla="*/ 683185 h 721285"/>
                    <a:gd name="connsiteX24" fmla="*/ 15683 w 2306667"/>
                    <a:gd name="connsiteY24" fmla="*/ 654610 h 721285"/>
                    <a:gd name="connsiteX25" fmla="*/ 6158 w 2306667"/>
                    <a:gd name="connsiteY25" fmla="*/ 554598 h 721285"/>
                    <a:gd name="connsiteX26" fmla="*/ 1395 w 2306667"/>
                    <a:gd name="connsiteY26" fmla="*/ 540310 h 721285"/>
                    <a:gd name="connsiteX27" fmla="*/ 63308 w 2306667"/>
                    <a:gd name="connsiteY27" fmla="*/ 535548 h 721285"/>
                    <a:gd name="connsiteX28" fmla="*/ 806258 w 2306667"/>
                    <a:gd name="connsiteY28" fmla="*/ 535548 h 721285"/>
                    <a:gd name="connsiteX29" fmla="*/ 1034858 w 2306667"/>
                    <a:gd name="connsiteY29" fmla="*/ 526023 h 721285"/>
                    <a:gd name="connsiteX30" fmla="*/ 1030095 w 2306667"/>
                    <a:gd name="connsiteY30" fmla="*/ 430773 h 721285"/>
                    <a:gd name="connsiteX31" fmla="*/ 1020570 w 2306667"/>
                    <a:gd name="connsiteY31" fmla="*/ 216460 h 721285"/>
                    <a:gd name="connsiteX32" fmla="*/ 1030095 w 2306667"/>
                    <a:gd name="connsiteY32" fmla="*/ 21198 h 721285"/>
                    <a:gd name="connsiteX0" fmla="*/ 1030095 w 2316661"/>
                    <a:gd name="connsiteY0" fmla="*/ 21198 h 721285"/>
                    <a:gd name="connsiteX1" fmla="*/ 1287270 w 2316661"/>
                    <a:gd name="connsiteY1" fmla="*/ 11673 h 721285"/>
                    <a:gd name="connsiteX2" fmla="*/ 1282508 w 2316661"/>
                    <a:gd name="connsiteY2" fmla="*/ 78348 h 721285"/>
                    <a:gd name="connsiteX3" fmla="*/ 1272983 w 2316661"/>
                    <a:gd name="connsiteY3" fmla="*/ 426010 h 721285"/>
                    <a:gd name="connsiteX4" fmla="*/ 1287270 w 2316661"/>
                    <a:gd name="connsiteY4" fmla="*/ 530785 h 721285"/>
                    <a:gd name="connsiteX5" fmla="*/ 1353945 w 2316661"/>
                    <a:gd name="connsiteY5" fmla="*/ 535548 h 721285"/>
                    <a:gd name="connsiteX6" fmla="*/ 1720658 w 2316661"/>
                    <a:gd name="connsiteY6" fmla="*/ 545073 h 721285"/>
                    <a:gd name="connsiteX7" fmla="*/ 1963545 w 2316661"/>
                    <a:gd name="connsiteY7" fmla="*/ 540310 h 721285"/>
                    <a:gd name="connsiteX8" fmla="*/ 2282633 w 2316661"/>
                    <a:gd name="connsiteY8" fmla="*/ 549835 h 721285"/>
                    <a:gd name="connsiteX9" fmla="*/ 2306445 w 2316661"/>
                    <a:gd name="connsiteY9" fmla="*/ 683185 h 721285"/>
                    <a:gd name="connsiteX10" fmla="*/ 2273108 w 2316661"/>
                    <a:gd name="connsiteY10" fmla="*/ 697473 h 721285"/>
                    <a:gd name="connsiteX11" fmla="*/ 1963545 w 2316661"/>
                    <a:gd name="connsiteY11" fmla="*/ 687948 h 721285"/>
                    <a:gd name="connsiteX12" fmla="*/ 1734945 w 2316661"/>
                    <a:gd name="connsiteY12" fmla="*/ 687948 h 721285"/>
                    <a:gd name="connsiteX13" fmla="*/ 1634933 w 2316661"/>
                    <a:gd name="connsiteY13" fmla="*/ 702235 h 721285"/>
                    <a:gd name="connsiteX14" fmla="*/ 1601595 w 2316661"/>
                    <a:gd name="connsiteY14" fmla="*/ 711760 h 721285"/>
                    <a:gd name="connsiteX15" fmla="*/ 1287270 w 2316661"/>
                    <a:gd name="connsiteY15" fmla="*/ 702235 h 721285"/>
                    <a:gd name="connsiteX16" fmla="*/ 1263458 w 2316661"/>
                    <a:gd name="connsiteY16" fmla="*/ 697473 h 721285"/>
                    <a:gd name="connsiteX17" fmla="*/ 430020 w 2316661"/>
                    <a:gd name="connsiteY17" fmla="*/ 706998 h 721285"/>
                    <a:gd name="connsiteX18" fmla="*/ 339533 w 2316661"/>
                    <a:gd name="connsiteY18" fmla="*/ 721285 h 721285"/>
                    <a:gd name="connsiteX19" fmla="*/ 125220 w 2316661"/>
                    <a:gd name="connsiteY19" fmla="*/ 711760 h 721285"/>
                    <a:gd name="connsiteX20" fmla="*/ 77595 w 2316661"/>
                    <a:gd name="connsiteY20" fmla="*/ 702235 h 721285"/>
                    <a:gd name="connsiteX21" fmla="*/ 49020 w 2316661"/>
                    <a:gd name="connsiteY21" fmla="*/ 697473 h 721285"/>
                    <a:gd name="connsiteX22" fmla="*/ 39495 w 2316661"/>
                    <a:gd name="connsiteY22" fmla="*/ 683185 h 721285"/>
                    <a:gd name="connsiteX23" fmla="*/ 15683 w 2316661"/>
                    <a:gd name="connsiteY23" fmla="*/ 654610 h 721285"/>
                    <a:gd name="connsiteX24" fmla="*/ 6158 w 2316661"/>
                    <a:gd name="connsiteY24" fmla="*/ 554598 h 721285"/>
                    <a:gd name="connsiteX25" fmla="*/ 1395 w 2316661"/>
                    <a:gd name="connsiteY25" fmla="*/ 540310 h 721285"/>
                    <a:gd name="connsiteX26" fmla="*/ 63308 w 2316661"/>
                    <a:gd name="connsiteY26" fmla="*/ 535548 h 721285"/>
                    <a:gd name="connsiteX27" fmla="*/ 806258 w 2316661"/>
                    <a:gd name="connsiteY27" fmla="*/ 535548 h 721285"/>
                    <a:gd name="connsiteX28" fmla="*/ 1034858 w 2316661"/>
                    <a:gd name="connsiteY28" fmla="*/ 526023 h 721285"/>
                    <a:gd name="connsiteX29" fmla="*/ 1030095 w 2316661"/>
                    <a:gd name="connsiteY29" fmla="*/ 430773 h 721285"/>
                    <a:gd name="connsiteX30" fmla="*/ 1020570 w 2316661"/>
                    <a:gd name="connsiteY30" fmla="*/ 216460 h 721285"/>
                    <a:gd name="connsiteX31" fmla="*/ 1030095 w 2316661"/>
                    <a:gd name="connsiteY31" fmla="*/ 21198 h 721285"/>
                    <a:gd name="connsiteX0" fmla="*/ 1030095 w 2325718"/>
                    <a:gd name="connsiteY0" fmla="*/ 21198 h 721285"/>
                    <a:gd name="connsiteX1" fmla="*/ 1287270 w 2325718"/>
                    <a:gd name="connsiteY1" fmla="*/ 11673 h 721285"/>
                    <a:gd name="connsiteX2" fmla="*/ 1282508 w 2325718"/>
                    <a:gd name="connsiteY2" fmla="*/ 78348 h 721285"/>
                    <a:gd name="connsiteX3" fmla="*/ 1272983 w 2325718"/>
                    <a:gd name="connsiteY3" fmla="*/ 426010 h 721285"/>
                    <a:gd name="connsiteX4" fmla="*/ 1287270 w 2325718"/>
                    <a:gd name="connsiteY4" fmla="*/ 530785 h 721285"/>
                    <a:gd name="connsiteX5" fmla="*/ 1353945 w 2325718"/>
                    <a:gd name="connsiteY5" fmla="*/ 535548 h 721285"/>
                    <a:gd name="connsiteX6" fmla="*/ 1720658 w 2325718"/>
                    <a:gd name="connsiteY6" fmla="*/ 545073 h 721285"/>
                    <a:gd name="connsiteX7" fmla="*/ 1963545 w 2325718"/>
                    <a:gd name="connsiteY7" fmla="*/ 540310 h 721285"/>
                    <a:gd name="connsiteX8" fmla="*/ 2282633 w 2325718"/>
                    <a:gd name="connsiteY8" fmla="*/ 549835 h 721285"/>
                    <a:gd name="connsiteX9" fmla="*/ 2306445 w 2325718"/>
                    <a:gd name="connsiteY9" fmla="*/ 683185 h 721285"/>
                    <a:gd name="connsiteX10" fmla="*/ 2273108 w 2325718"/>
                    <a:gd name="connsiteY10" fmla="*/ 697473 h 721285"/>
                    <a:gd name="connsiteX11" fmla="*/ 1734945 w 2325718"/>
                    <a:gd name="connsiteY11" fmla="*/ 687948 h 721285"/>
                    <a:gd name="connsiteX12" fmla="*/ 1634933 w 2325718"/>
                    <a:gd name="connsiteY12" fmla="*/ 702235 h 721285"/>
                    <a:gd name="connsiteX13" fmla="*/ 1601595 w 2325718"/>
                    <a:gd name="connsiteY13" fmla="*/ 711760 h 721285"/>
                    <a:gd name="connsiteX14" fmla="*/ 1287270 w 2325718"/>
                    <a:gd name="connsiteY14" fmla="*/ 702235 h 721285"/>
                    <a:gd name="connsiteX15" fmla="*/ 1263458 w 2325718"/>
                    <a:gd name="connsiteY15" fmla="*/ 697473 h 721285"/>
                    <a:gd name="connsiteX16" fmla="*/ 430020 w 2325718"/>
                    <a:gd name="connsiteY16" fmla="*/ 706998 h 721285"/>
                    <a:gd name="connsiteX17" fmla="*/ 339533 w 2325718"/>
                    <a:gd name="connsiteY17" fmla="*/ 721285 h 721285"/>
                    <a:gd name="connsiteX18" fmla="*/ 125220 w 2325718"/>
                    <a:gd name="connsiteY18" fmla="*/ 711760 h 721285"/>
                    <a:gd name="connsiteX19" fmla="*/ 77595 w 2325718"/>
                    <a:gd name="connsiteY19" fmla="*/ 702235 h 721285"/>
                    <a:gd name="connsiteX20" fmla="*/ 49020 w 2325718"/>
                    <a:gd name="connsiteY20" fmla="*/ 697473 h 721285"/>
                    <a:gd name="connsiteX21" fmla="*/ 39495 w 2325718"/>
                    <a:gd name="connsiteY21" fmla="*/ 683185 h 721285"/>
                    <a:gd name="connsiteX22" fmla="*/ 15683 w 2325718"/>
                    <a:gd name="connsiteY22" fmla="*/ 654610 h 721285"/>
                    <a:gd name="connsiteX23" fmla="*/ 6158 w 2325718"/>
                    <a:gd name="connsiteY23" fmla="*/ 554598 h 721285"/>
                    <a:gd name="connsiteX24" fmla="*/ 1395 w 2325718"/>
                    <a:gd name="connsiteY24" fmla="*/ 540310 h 721285"/>
                    <a:gd name="connsiteX25" fmla="*/ 63308 w 2325718"/>
                    <a:gd name="connsiteY25" fmla="*/ 535548 h 721285"/>
                    <a:gd name="connsiteX26" fmla="*/ 806258 w 2325718"/>
                    <a:gd name="connsiteY26" fmla="*/ 535548 h 721285"/>
                    <a:gd name="connsiteX27" fmla="*/ 1034858 w 2325718"/>
                    <a:gd name="connsiteY27" fmla="*/ 526023 h 721285"/>
                    <a:gd name="connsiteX28" fmla="*/ 1030095 w 2325718"/>
                    <a:gd name="connsiteY28" fmla="*/ 430773 h 721285"/>
                    <a:gd name="connsiteX29" fmla="*/ 1020570 w 2325718"/>
                    <a:gd name="connsiteY29" fmla="*/ 216460 h 721285"/>
                    <a:gd name="connsiteX30" fmla="*/ 1030095 w 2325718"/>
                    <a:gd name="connsiteY30" fmla="*/ 21198 h 721285"/>
                    <a:gd name="connsiteX0" fmla="*/ 1030095 w 2325718"/>
                    <a:gd name="connsiteY0" fmla="*/ 21198 h 721285"/>
                    <a:gd name="connsiteX1" fmla="*/ 1287270 w 2325718"/>
                    <a:gd name="connsiteY1" fmla="*/ 11673 h 721285"/>
                    <a:gd name="connsiteX2" fmla="*/ 1282508 w 2325718"/>
                    <a:gd name="connsiteY2" fmla="*/ 78348 h 721285"/>
                    <a:gd name="connsiteX3" fmla="*/ 1272983 w 2325718"/>
                    <a:gd name="connsiteY3" fmla="*/ 426010 h 721285"/>
                    <a:gd name="connsiteX4" fmla="*/ 1287270 w 2325718"/>
                    <a:gd name="connsiteY4" fmla="*/ 530785 h 721285"/>
                    <a:gd name="connsiteX5" fmla="*/ 1353945 w 2325718"/>
                    <a:gd name="connsiteY5" fmla="*/ 535548 h 721285"/>
                    <a:gd name="connsiteX6" fmla="*/ 1720658 w 2325718"/>
                    <a:gd name="connsiteY6" fmla="*/ 545073 h 721285"/>
                    <a:gd name="connsiteX7" fmla="*/ 1963545 w 2325718"/>
                    <a:gd name="connsiteY7" fmla="*/ 540310 h 721285"/>
                    <a:gd name="connsiteX8" fmla="*/ 2282633 w 2325718"/>
                    <a:gd name="connsiteY8" fmla="*/ 549835 h 721285"/>
                    <a:gd name="connsiteX9" fmla="*/ 2306445 w 2325718"/>
                    <a:gd name="connsiteY9" fmla="*/ 683185 h 721285"/>
                    <a:gd name="connsiteX10" fmla="*/ 2273108 w 2325718"/>
                    <a:gd name="connsiteY10" fmla="*/ 697473 h 721285"/>
                    <a:gd name="connsiteX11" fmla="*/ 1734945 w 2325718"/>
                    <a:gd name="connsiteY11" fmla="*/ 687948 h 721285"/>
                    <a:gd name="connsiteX12" fmla="*/ 1634933 w 2325718"/>
                    <a:gd name="connsiteY12" fmla="*/ 702235 h 721285"/>
                    <a:gd name="connsiteX13" fmla="*/ 1287270 w 2325718"/>
                    <a:gd name="connsiteY13" fmla="*/ 702235 h 721285"/>
                    <a:gd name="connsiteX14" fmla="*/ 1263458 w 2325718"/>
                    <a:gd name="connsiteY14" fmla="*/ 697473 h 721285"/>
                    <a:gd name="connsiteX15" fmla="*/ 430020 w 2325718"/>
                    <a:gd name="connsiteY15" fmla="*/ 706998 h 721285"/>
                    <a:gd name="connsiteX16" fmla="*/ 339533 w 2325718"/>
                    <a:gd name="connsiteY16" fmla="*/ 721285 h 721285"/>
                    <a:gd name="connsiteX17" fmla="*/ 125220 w 2325718"/>
                    <a:gd name="connsiteY17" fmla="*/ 711760 h 721285"/>
                    <a:gd name="connsiteX18" fmla="*/ 77595 w 2325718"/>
                    <a:gd name="connsiteY18" fmla="*/ 702235 h 721285"/>
                    <a:gd name="connsiteX19" fmla="*/ 49020 w 2325718"/>
                    <a:gd name="connsiteY19" fmla="*/ 697473 h 721285"/>
                    <a:gd name="connsiteX20" fmla="*/ 39495 w 2325718"/>
                    <a:gd name="connsiteY20" fmla="*/ 683185 h 721285"/>
                    <a:gd name="connsiteX21" fmla="*/ 15683 w 2325718"/>
                    <a:gd name="connsiteY21" fmla="*/ 654610 h 721285"/>
                    <a:gd name="connsiteX22" fmla="*/ 6158 w 2325718"/>
                    <a:gd name="connsiteY22" fmla="*/ 554598 h 721285"/>
                    <a:gd name="connsiteX23" fmla="*/ 1395 w 2325718"/>
                    <a:gd name="connsiteY23" fmla="*/ 540310 h 721285"/>
                    <a:gd name="connsiteX24" fmla="*/ 63308 w 2325718"/>
                    <a:gd name="connsiteY24" fmla="*/ 535548 h 721285"/>
                    <a:gd name="connsiteX25" fmla="*/ 806258 w 2325718"/>
                    <a:gd name="connsiteY25" fmla="*/ 535548 h 721285"/>
                    <a:gd name="connsiteX26" fmla="*/ 1034858 w 2325718"/>
                    <a:gd name="connsiteY26" fmla="*/ 526023 h 721285"/>
                    <a:gd name="connsiteX27" fmla="*/ 1030095 w 2325718"/>
                    <a:gd name="connsiteY27" fmla="*/ 430773 h 721285"/>
                    <a:gd name="connsiteX28" fmla="*/ 1020570 w 2325718"/>
                    <a:gd name="connsiteY28" fmla="*/ 216460 h 721285"/>
                    <a:gd name="connsiteX29" fmla="*/ 1030095 w 2325718"/>
                    <a:gd name="connsiteY29" fmla="*/ 21198 h 721285"/>
                    <a:gd name="connsiteX0" fmla="*/ 1030095 w 2325718"/>
                    <a:gd name="connsiteY0" fmla="*/ 21198 h 721285"/>
                    <a:gd name="connsiteX1" fmla="*/ 1287270 w 2325718"/>
                    <a:gd name="connsiteY1" fmla="*/ 11673 h 721285"/>
                    <a:gd name="connsiteX2" fmla="*/ 1282508 w 2325718"/>
                    <a:gd name="connsiteY2" fmla="*/ 78348 h 721285"/>
                    <a:gd name="connsiteX3" fmla="*/ 1272983 w 2325718"/>
                    <a:gd name="connsiteY3" fmla="*/ 426010 h 721285"/>
                    <a:gd name="connsiteX4" fmla="*/ 1287270 w 2325718"/>
                    <a:gd name="connsiteY4" fmla="*/ 530785 h 721285"/>
                    <a:gd name="connsiteX5" fmla="*/ 1353945 w 2325718"/>
                    <a:gd name="connsiteY5" fmla="*/ 535548 h 721285"/>
                    <a:gd name="connsiteX6" fmla="*/ 1720658 w 2325718"/>
                    <a:gd name="connsiteY6" fmla="*/ 545073 h 721285"/>
                    <a:gd name="connsiteX7" fmla="*/ 1963545 w 2325718"/>
                    <a:gd name="connsiteY7" fmla="*/ 540310 h 721285"/>
                    <a:gd name="connsiteX8" fmla="*/ 2282633 w 2325718"/>
                    <a:gd name="connsiteY8" fmla="*/ 549835 h 721285"/>
                    <a:gd name="connsiteX9" fmla="*/ 2306445 w 2325718"/>
                    <a:gd name="connsiteY9" fmla="*/ 683185 h 721285"/>
                    <a:gd name="connsiteX10" fmla="*/ 2273108 w 2325718"/>
                    <a:gd name="connsiteY10" fmla="*/ 697473 h 721285"/>
                    <a:gd name="connsiteX11" fmla="*/ 1734945 w 2325718"/>
                    <a:gd name="connsiteY11" fmla="*/ 687948 h 721285"/>
                    <a:gd name="connsiteX12" fmla="*/ 1287270 w 2325718"/>
                    <a:gd name="connsiteY12" fmla="*/ 702235 h 721285"/>
                    <a:gd name="connsiteX13" fmla="*/ 1263458 w 2325718"/>
                    <a:gd name="connsiteY13" fmla="*/ 697473 h 721285"/>
                    <a:gd name="connsiteX14" fmla="*/ 430020 w 2325718"/>
                    <a:gd name="connsiteY14" fmla="*/ 706998 h 721285"/>
                    <a:gd name="connsiteX15" fmla="*/ 339533 w 2325718"/>
                    <a:gd name="connsiteY15" fmla="*/ 721285 h 721285"/>
                    <a:gd name="connsiteX16" fmla="*/ 125220 w 2325718"/>
                    <a:gd name="connsiteY16" fmla="*/ 711760 h 721285"/>
                    <a:gd name="connsiteX17" fmla="*/ 77595 w 2325718"/>
                    <a:gd name="connsiteY17" fmla="*/ 702235 h 721285"/>
                    <a:gd name="connsiteX18" fmla="*/ 49020 w 2325718"/>
                    <a:gd name="connsiteY18" fmla="*/ 697473 h 721285"/>
                    <a:gd name="connsiteX19" fmla="*/ 39495 w 2325718"/>
                    <a:gd name="connsiteY19" fmla="*/ 683185 h 721285"/>
                    <a:gd name="connsiteX20" fmla="*/ 15683 w 2325718"/>
                    <a:gd name="connsiteY20" fmla="*/ 654610 h 721285"/>
                    <a:gd name="connsiteX21" fmla="*/ 6158 w 2325718"/>
                    <a:gd name="connsiteY21" fmla="*/ 554598 h 721285"/>
                    <a:gd name="connsiteX22" fmla="*/ 1395 w 2325718"/>
                    <a:gd name="connsiteY22" fmla="*/ 540310 h 721285"/>
                    <a:gd name="connsiteX23" fmla="*/ 63308 w 2325718"/>
                    <a:gd name="connsiteY23" fmla="*/ 535548 h 721285"/>
                    <a:gd name="connsiteX24" fmla="*/ 806258 w 2325718"/>
                    <a:gd name="connsiteY24" fmla="*/ 535548 h 721285"/>
                    <a:gd name="connsiteX25" fmla="*/ 1034858 w 2325718"/>
                    <a:gd name="connsiteY25" fmla="*/ 526023 h 721285"/>
                    <a:gd name="connsiteX26" fmla="*/ 1030095 w 2325718"/>
                    <a:gd name="connsiteY26" fmla="*/ 430773 h 721285"/>
                    <a:gd name="connsiteX27" fmla="*/ 1020570 w 2325718"/>
                    <a:gd name="connsiteY27" fmla="*/ 216460 h 721285"/>
                    <a:gd name="connsiteX28" fmla="*/ 1030095 w 2325718"/>
                    <a:gd name="connsiteY28" fmla="*/ 21198 h 721285"/>
                    <a:gd name="connsiteX0" fmla="*/ 1030095 w 2331723"/>
                    <a:gd name="connsiteY0" fmla="*/ 21198 h 721285"/>
                    <a:gd name="connsiteX1" fmla="*/ 1287270 w 2331723"/>
                    <a:gd name="connsiteY1" fmla="*/ 11673 h 721285"/>
                    <a:gd name="connsiteX2" fmla="*/ 1282508 w 2331723"/>
                    <a:gd name="connsiteY2" fmla="*/ 78348 h 721285"/>
                    <a:gd name="connsiteX3" fmla="*/ 1272983 w 2331723"/>
                    <a:gd name="connsiteY3" fmla="*/ 426010 h 721285"/>
                    <a:gd name="connsiteX4" fmla="*/ 1287270 w 2331723"/>
                    <a:gd name="connsiteY4" fmla="*/ 530785 h 721285"/>
                    <a:gd name="connsiteX5" fmla="*/ 1353945 w 2331723"/>
                    <a:gd name="connsiteY5" fmla="*/ 535548 h 721285"/>
                    <a:gd name="connsiteX6" fmla="*/ 1720658 w 2331723"/>
                    <a:gd name="connsiteY6" fmla="*/ 545073 h 721285"/>
                    <a:gd name="connsiteX7" fmla="*/ 1963545 w 2331723"/>
                    <a:gd name="connsiteY7" fmla="*/ 540310 h 721285"/>
                    <a:gd name="connsiteX8" fmla="*/ 2282633 w 2331723"/>
                    <a:gd name="connsiteY8" fmla="*/ 549835 h 721285"/>
                    <a:gd name="connsiteX9" fmla="*/ 2273108 w 2331723"/>
                    <a:gd name="connsiteY9" fmla="*/ 697473 h 721285"/>
                    <a:gd name="connsiteX10" fmla="*/ 1734945 w 2331723"/>
                    <a:gd name="connsiteY10" fmla="*/ 687948 h 721285"/>
                    <a:gd name="connsiteX11" fmla="*/ 1287270 w 2331723"/>
                    <a:gd name="connsiteY11" fmla="*/ 702235 h 721285"/>
                    <a:gd name="connsiteX12" fmla="*/ 1263458 w 2331723"/>
                    <a:gd name="connsiteY12" fmla="*/ 697473 h 721285"/>
                    <a:gd name="connsiteX13" fmla="*/ 430020 w 2331723"/>
                    <a:gd name="connsiteY13" fmla="*/ 706998 h 721285"/>
                    <a:gd name="connsiteX14" fmla="*/ 339533 w 2331723"/>
                    <a:gd name="connsiteY14" fmla="*/ 721285 h 721285"/>
                    <a:gd name="connsiteX15" fmla="*/ 125220 w 2331723"/>
                    <a:gd name="connsiteY15" fmla="*/ 711760 h 721285"/>
                    <a:gd name="connsiteX16" fmla="*/ 77595 w 2331723"/>
                    <a:gd name="connsiteY16" fmla="*/ 702235 h 721285"/>
                    <a:gd name="connsiteX17" fmla="*/ 49020 w 2331723"/>
                    <a:gd name="connsiteY17" fmla="*/ 697473 h 721285"/>
                    <a:gd name="connsiteX18" fmla="*/ 39495 w 2331723"/>
                    <a:gd name="connsiteY18" fmla="*/ 683185 h 721285"/>
                    <a:gd name="connsiteX19" fmla="*/ 15683 w 2331723"/>
                    <a:gd name="connsiteY19" fmla="*/ 654610 h 721285"/>
                    <a:gd name="connsiteX20" fmla="*/ 6158 w 2331723"/>
                    <a:gd name="connsiteY20" fmla="*/ 554598 h 721285"/>
                    <a:gd name="connsiteX21" fmla="*/ 1395 w 2331723"/>
                    <a:gd name="connsiteY21" fmla="*/ 540310 h 721285"/>
                    <a:gd name="connsiteX22" fmla="*/ 63308 w 2331723"/>
                    <a:gd name="connsiteY22" fmla="*/ 535548 h 721285"/>
                    <a:gd name="connsiteX23" fmla="*/ 806258 w 2331723"/>
                    <a:gd name="connsiteY23" fmla="*/ 535548 h 721285"/>
                    <a:gd name="connsiteX24" fmla="*/ 1034858 w 2331723"/>
                    <a:gd name="connsiteY24" fmla="*/ 526023 h 721285"/>
                    <a:gd name="connsiteX25" fmla="*/ 1030095 w 2331723"/>
                    <a:gd name="connsiteY25" fmla="*/ 430773 h 721285"/>
                    <a:gd name="connsiteX26" fmla="*/ 1020570 w 2331723"/>
                    <a:gd name="connsiteY26" fmla="*/ 216460 h 721285"/>
                    <a:gd name="connsiteX27" fmla="*/ 1030095 w 2331723"/>
                    <a:gd name="connsiteY27" fmla="*/ 21198 h 721285"/>
                    <a:gd name="connsiteX0" fmla="*/ 1030095 w 2331723"/>
                    <a:gd name="connsiteY0" fmla="*/ 21198 h 721285"/>
                    <a:gd name="connsiteX1" fmla="*/ 1287270 w 2331723"/>
                    <a:gd name="connsiteY1" fmla="*/ 11673 h 721285"/>
                    <a:gd name="connsiteX2" fmla="*/ 1282508 w 2331723"/>
                    <a:gd name="connsiteY2" fmla="*/ 78348 h 721285"/>
                    <a:gd name="connsiteX3" fmla="*/ 1272983 w 2331723"/>
                    <a:gd name="connsiteY3" fmla="*/ 426010 h 721285"/>
                    <a:gd name="connsiteX4" fmla="*/ 1287270 w 2331723"/>
                    <a:gd name="connsiteY4" fmla="*/ 530785 h 721285"/>
                    <a:gd name="connsiteX5" fmla="*/ 1353945 w 2331723"/>
                    <a:gd name="connsiteY5" fmla="*/ 535548 h 721285"/>
                    <a:gd name="connsiteX6" fmla="*/ 1720658 w 2331723"/>
                    <a:gd name="connsiteY6" fmla="*/ 545073 h 721285"/>
                    <a:gd name="connsiteX7" fmla="*/ 1963545 w 2331723"/>
                    <a:gd name="connsiteY7" fmla="*/ 540310 h 721285"/>
                    <a:gd name="connsiteX8" fmla="*/ 2282633 w 2331723"/>
                    <a:gd name="connsiteY8" fmla="*/ 549835 h 721285"/>
                    <a:gd name="connsiteX9" fmla="*/ 2273108 w 2331723"/>
                    <a:gd name="connsiteY9" fmla="*/ 697473 h 721285"/>
                    <a:gd name="connsiteX10" fmla="*/ 1734945 w 2331723"/>
                    <a:gd name="connsiteY10" fmla="*/ 687948 h 721285"/>
                    <a:gd name="connsiteX11" fmla="*/ 1287270 w 2331723"/>
                    <a:gd name="connsiteY11" fmla="*/ 702235 h 721285"/>
                    <a:gd name="connsiteX12" fmla="*/ 1263458 w 2331723"/>
                    <a:gd name="connsiteY12" fmla="*/ 697473 h 721285"/>
                    <a:gd name="connsiteX13" fmla="*/ 430020 w 2331723"/>
                    <a:gd name="connsiteY13" fmla="*/ 706998 h 721285"/>
                    <a:gd name="connsiteX14" fmla="*/ 339533 w 2331723"/>
                    <a:gd name="connsiteY14" fmla="*/ 721285 h 721285"/>
                    <a:gd name="connsiteX15" fmla="*/ 125220 w 2331723"/>
                    <a:gd name="connsiteY15" fmla="*/ 711760 h 721285"/>
                    <a:gd name="connsiteX16" fmla="*/ 77595 w 2331723"/>
                    <a:gd name="connsiteY16" fmla="*/ 702235 h 721285"/>
                    <a:gd name="connsiteX17" fmla="*/ 49020 w 2331723"/>
                    <a:gd name="connsiteY17" fmla="*/ 697473 h 721285"/>
                    <a:gd name="connsiteX18" fmla="*/ 15683 w 2331723"/>
                    <a:gd name="connsiteY18" fmla="*/ 654610 h 721285"/>
                    <a:gd name="connsiteX19" fmla="*/ 6158 w 2331723"/>
                    <a:gd name="connsiteY19" fmla="*/ 554598 h 721285"/>
                    <a:gd name="connsiteX20" fmla="*/ 1395 w 2331723"/>
                    <a:gd name="connsiteY20" fmla="*/ 540310 h 721285"/>
                    <a:gd name="connsiteX21" fmla="*/ 63308 w 2331723"/>
                    <a:gd name="connsiteY21" fmla="*/ 535548 h 721285"/>
                    <a:gd name="connsiteX22" fmla="*/ 806258 w 2331723"/>
                    <a:gd name="connsiteY22" fmla="*/ 535548 h 721285"/>
                    <a:gd name="connsiteX23" fmla="*/ 1034858 w 2331723"/>
                    <a:gd name="connsiteY23" fmla="*/ 526023 h 721285"/>
                    <a:gd name="connsiteX24" fmla="*/ 1030095 w 2331723"/>
                    <a:gd name="connsiteY24" fmla="*/ 430773 h 721285"/>
                    <a:gd name="connsiteX25" fmla="*/ 1020570 w 2331723"/>
                    <a:gd name="connsiteY25" fmla="*/ 216460 h 721285"/>
                    <a:gd name="connsiteX26" fmla="*/ 1030095 w 2331723"/>
                    <a:gd name="connsiteY26" fmla="*/ 21198 h 721285"/>
                    <a:gd name="connsiteX0" fmla="*/ 1030095 w 2331723"/>
                    <a:gd name="connsiteY0" fmla="*/ 21198 h 721285"/>
                    <a:gd name="connsiteX1" fmla="*/ 1287270 w 2331723"/>
                    <a:gd name="connsiteY1" fmla="*/ 11673 h 721285"/>
                    <a:gd name="connsiteX2" fmla="*/ 1282508 w 2331723"/>
                    <a:gd name="connsiteY2" fmla="*/ 78348 h 721285"/>
                    <a:gd name="connsiteX3" fmla="*/ 1272983 w 2331723"/>
                    <a:gd name="connsiteY3" fmla="*/ 426010 h 721285"/>
                    <a:gd name="connsiteX4" fmla="*/ 1287270 w 2331723"/>
                    <a:gd name="connsiteY4" fmla="*/ 530785 h 721285"/>
                    <a:gd name="connsiteX5" fmla="*/ 1353945 w 2331723"/>
                    <a:gd name="connsiteY5" fmla="*/ 535548 h 721285"/>
                    <a:gd name="connsiteX6" fmla="*/ 1720658 w 2331723"/>
                    <a:gd name="connsiteY6" fmla="*/ 545073 h 721285"/>
                    <a:gd name="connsiteX7" fmla="*/ 1963545 w 2331723"/>
                    <a:gd name="connsiteY7" fmla="*/ 540310 h 721285"/>
                    <a:gd name="connsiteX8" fmla="*/ 2282633 w 2331723"/>
                    <a:gd name="connsiteY8" fmla="*/ 549835 h 721285"/>
                    <a:gd name="connsiteX9" fmla="*/ 2273108 w 2331723"/>
                    <a:gd name="connsiteY9" fmla="*/ 697473 h 721285"/>
                    <a:gd name="connsiteX10" fmla="*/ 1734945 w 2331723"/>
                    <a:gd name="connsiteY10" fmla="*/ 687948 h 721285"/>
                    <a:gd name="connsiteX11" fmla="*/ 1287270 w 2331723"/>
                    <a:gd name="connsiteY11" fmla="*/ 702235 h 721285"/>
                    <a:gd name="connsiteX12" fmla="*/ 1263458 w 2331723"/>
                    <a:gd name="connsiteY12" fmla="*/ 697473 h 721285"/>
                    <a:gd name="connsiteX13" fmla="*/ 430020 w 2331723"/>
                    <a:gd name="connsiteY13" fmla="*/ 706998 h 721285"/>
                    <a:gd name="connsiteX14" fmla="*/ 339533 w 2331723"/>
                    <a:gd name="connsiteY14" fmla="*/ 721285 h 721285"/>
                    <a:gd name="connsiteX15" fmla="*/ 125220 w 2331723"/>
                    <a:gd name="connsiteY15" fmla="*/ 711760 h 721285"/>
                    <a:gd name="connsiteX16" fmla="*/ 49020 w 2331723"/>
                    <a:gd name="connsiteY16" fmla="*/ 697473 h 721285"/>
                    <a:gd name="connsiteX17" fmla="*/ 15683 w 2331723"/>
                    <a:gd name="connsiteY17" fmla="*/ 654610 h 721285"/>
                    <a:gd name="connsiteX18" fmla="*/ 6158 w 2331723"/>
                    <a:gd name="connsiteY18" fmla="*/ 554598 h 721285"/>
                    <a:gd name="connsiteX19" fmla="*/ 1395 w 2331723"/>
                    <a:gd name="connsiteY19" fmla="*/ 540310 h 721285"/>
                    <a:gd name="connsiteX20" fmla="*/ 63308 w 2331723"/>
                    <a:gd name="connsiteY20" fmla="*/ 535548 h 721285"/>
                    <a:gd name="connsiteX21" fmla="*/ 806258 w 2331723"/>
                    <a:gd name="connsiteY21" fmla="*/ 535548 h 721285"/>
                    <a:gd name="connsiteX22" fmla="*/ 1034858 w 2331723"/>
                    <a:gd name="connsiteY22" fmla="*/ 526023 h 721285"/>
                    <a:gd name="connsiteX23" fmla="*/ 1030095 w 2331723"/>
                    <a:gd name="connsiteY23" fmla="*/ 430773 h 721285"/>
                    <a:gd name="connsiteX24" fmla="*/ 1020570 w 2331723"/>
                    <a:gd name="connsiteY24" fmla="*/ 216460 h 721285"/>
                    <a:gd name="connsiteX25" fmla="*/ 1030095 w 2331723"/>
                    <a:gd name="connsiteY25" fmla="*/ 21198 h 721285"/>
                    <a:gd name="connsiteX0" fmla="*/ 1030095 w 2331723"/>
                    <a:gd name="connsiteY0" fmla="*/ 21198 h 721285"/>
                    <a:gd name="connsiteX1" fmla="*/ 1287270 w 2331723"/>
                    <a:gd name="connsiteY1" fmla="*/ 11673 h 721285"/>
                    <a:gd name="connsiteX2" fmla="*/ 1282508 w 2331723"/>
                    <a:gd name="connsiteY2" fmla="*/ 78348 h 721285"/>
                    <a:gd name="connsiteX3" fmla="*/ 1272983 w 2331723"/>
                    <a:gd name="connsiteY3" fmla="*/ 426010 h 721285"/>
                    <a:gd name="connsiteX4" fmla="*/ 1287270 w 2331723"/>
                    <a:gd name="connsiteY4" fmla="*/ 530785 h 721285"/>
                    <a:gd name="connsiteX5" fmla="*/ 1353945 w 2331723"/>
                    <a:gd name="connsiteY5" fmla="*/ 535548 h 721285"/>
                    <a:gd name="connsiteX6" fmla="*/ 1720658 w 2331723"/>
                    <a:gd name="connsiteY6" fmla="*/ 545073 h 721285"/>
                    <a:gd name="connsiteX7" fmla="*/ 1963545 w 2331723"/>
                    <a:gd name="connsiteY7" fmla="*/ 540310 h 721285"/>
                    <a:gd name="connsiteX8" fmla="*/ 2282633 w 2331723"/>
                    <a:gd name="connsiteY8" fmla="*/ 549835 h 721285"/>
                    <a:gd name="connsiteX9" fmla="*/ 2273108 w 2331723"/>
                    <a:gd name="connsiteY9" fmla="*/ 697473 h 721285"/>
                    <a:gd name="connsiteX10" fmla="*/ 1734945 w 2331723"/>
                    <a:gd name="connsiteY10" fmla="*/ 687948 h 721285"/>
                    <a:gd name="connsiteX11" fmla="*/ 1287270 w 2331723"/>
                    <a:gd name="connsiteY11" fmla="*/ 702235 h 721285"/>
                    <a:gd name="connsiteX12" fmla="*/ 1263458 w 2331723"/>
                    <a:gd name="connsiteY12" fmla="*/ 697473 h 721285"/>
                    <a:gd name="connsiteX13" fmla="*/ 430020 w 2331723"/>
                    <a:gd name="connsiteY13" fmla="*/ 706998 h 721285"/>
                    <a:gd name="connsiteX14" fmla="*/ 339533 w 2331723"/>
                    <a:gd name="connsiteY14" fmla="*/ 721285 h 721285"/>
                    <a:gd name="connsiteX15" fmla="*/ 125220 w 2331723"/>
                    <a:gd name="connsiteY15" fmla="*/ 711760 h 721285"/>
                    <a:gd name="connsiteX16" fmla="*/ 15683 w 2331723"/>
                    <a:gd name="connsiteY16" fmla="*/ 654610 h 721285"/>
                    <a:gd name="connsiteX17" fmla="*/ 6158 w 2331723"/>
                    <a:gd name="connsiteY17" fmla="*/ 554598 h 721285"/>
                    <a:gd name="connsiteX18" fmla="*/ 1395 w 2331723"/>
                    <a:gd name="connsiteY18" fmla="*/ 540310 h 721285"/>
                    <a:gd name="connsiteX19" fmla="*/ 63308 w 2331723"/>
                    <a:gd name="connsiteY19" fmla="*/ 535548 h 721285"/>
                    <a:gd name="connsiteX20" fmla="*/ 806258 w 2331723"/>
                    <a:gd name="connsiteY20" fmla="*/ 535548 h 721285"/>
                    <a:gd name="connsiteX21" fmla="*/ 1034858 w 2331723"/>
                    <a:gd name="connsiteY21" fmla="*/ 526023 h 721285"/>
                    <a:gd name="connsiteX22" fmla="*/ 1030095 w 2331723"/>
                    <a:gd name="connsiteY22" fmla="*/ 430773 h 721285"/>
                    <a:gd name="connsiteX23" fmla="*/ 1020570 w 2331723"/>
                    <a:gd name="connsiteY23" fmla="*/ 216460 h 721285"/>
                    <a:gd name="connsiteX24" fmla="*/ 1030095 w 2331723"/>
                    <a:gd name="connsiteY24" fmla="*/ 21198 h 721285"/>
                    <a:gd name="connsiteX0" fmla="*/ 1030095 w 2331723"/>
                    <a:gd name="connsiteY0" fmla="*/ 21198 h 715055"/>
                    <a:gd name="connsiteX1" fmla="*/ 1287270 w 2331723"/>
                    <a:gd name="connsiteY1" fmla="*/ 11673 h 715055"/>
                    <a:gd name="connsiteX2" fmla="*/ 1282508 w 2331723"/>
                    <a:gd name="connsiteY2" fmla="*/ 78348 h 715055"/>
                    <a:gd name="connsiteX3" fmla="*/ 1272983 w 2331723"/>
                    <a:gd name="connsiteY3" fmla="*/ 426010 h 715055"/>
                    <a:gd name="connsiteX4" fmla="*/ 1287270 w 2331723"/>
                    <a:gd name="connsiteY4" fmla="*/ 530785 h 715055"/>
                    <a:gd name="connsiteX5" fmla="*/ 1353945 w 2331723"/>
                    <a:gd name="connsiteY5" fmla="*/ 535548 h 715055"/>
                    <a:gd name="connsiteX6" fmla="*/ 1720658 w 2331723"/>
                    <a:gd name="connsiteY6" fmla="*/ 545073 h 715055"/>
                    <a:gd name="connsiteX7" fmla="*/ 1963545 w 2331723"/>
                    <a:gd name="connsiteY7" fmla="*/ 540310 h 715055"/>
                    <a:gd name="connsiteX8" fmla="*/ 2282633 w 2331723"/>
                    <a:gd name="connsiteY8" fmla="*/ 549835 h 715055"/>
                    <a:gd name="connsiteX9" fmla="*/ 2273108 w 2331723"/>
                    <a:gd name="connsiteY9" fmla="*/ 697473 h 715055"/>
                    <a:gd name="connsiteX10" fmla="*/ 1734945 w 2331723"/>
                    <a:gd name="connsiteY10" fmla="*/ 687948 h 715055"/>
                    <a:gd name="connsiteX11" fmla="*/ 1287270 w 2331723"/>
                    <a:gd name="connsiteY11" fmla="*/ 702235 h 715055"/>
                    <a:gd name="connsiteX12" fmla="*/ 1263458 w 2331723"/>
                    <a:gd name="connsiteY12" fmla="*/ 697473 h 715055"/>
                    <a:gd name="connsiteX13" fmla="*/ 430020 w 2331723"/>
                    <a:gd name="connsiteY13" fmla="*/ 706998 h 715055"/>
                    <a:gd name="connsiteX14" fmla="*/ 125220 w 2331723"/>
                    <a:gd name="connsiteY14" fmla="*/ 711760 h 715055"/>
                    <a:gd name="connsiteX15" fmla="*/ 15683 w 2331723"/>
                    <a:gd name="connsiteY15" fmla="*/ 654610 h 715055"/>
                    <a:gd name="connsiteX16" fmla="*/ 6158 w 2331723"/>
                    <a:gd name="connsiteY16" fmla="*/ 554598 h 715055"/>
                    <a:gd name="connsiteX17" fmla="*/ 1395 w 2331723"/>
                    <a:gd name="connsiteY17" fmla="*/ 540310 h 715055"/>
                    <a:gd name="connsiteX18" fmla="*/ 63308 w 2331723"/>
                    <a:gd name="connsiteY18" fmla="*/ 535548 h 715055"/>
                    <a:gd name="connsiteX19" fmla="*/ 806258 w 2331723"/>
                    <a:gd name="connsiteY19" fmla="*/ 535548 h 715055"/>
                    <a:gd name="connsiteX20" fmla="*/ 1034858 w 2331723"/>
                    <a:gd name="connsiteY20" fmla="*/ 526023 h 715055"/>
                    <a:gd name="connsiteX21" fmla="*/ 1030095 w 2331723"/>
                    <a:gd name="connsiteY21" fmla="*/ 430773 h 715055"/>
                    <a:gd name="connsiteX22" fmla="*/ 1020570 w 2331723"/>
                    <a:gd name="connsiteY22" fmla="*/ 216460 h 715055"/>
                    <a:gd name="connsiteX23" fmla="*/ 1030095 w 2331723"/>
                    <a:gd name="connsiteY23" fmla="*/ 21198 h 715055"/>
                    <a:gd name="connsiteX0" fmla="*/ 1030095 w 2331723"/>
                    <a:gd name="connsiteY0" fmla="*/ 21198 h 706998"/>
                    <a:gd name="connsiteX1" fmla="*/ 1287270 w 2331723"/>
                    <a:gd name="connsiteY1" fmla="*/ 11673 h 706998"/>
                    <a:gd name="connsiteX2" fmla="*/ 1282508 w 2331723"/>
                    <a:gd name="connsiteY2" fmla="*/ 78348 h 706998"/>
                    <a:gd name="connsiteX3" fmla="*/ 1272983 w 2331723"/>
                    <a:gd name="connsiteY3" fmla="*/ 426010 h 706998"/>
                    <a:gd name="connsiteX4" fmla="*/ 1287270 w 2331723"/>
                    <a:gd name="connsiteY4" fmla="*/ 530785 h 706998"/>
                    <a:gd name="connsiteX5" fmla="*/ 1353945 w 2331723"/>
                    <a:gd name="connsiteY5" fmla="*/ 535548 h 706998"/>
                    <a:gd name="connsiteX6" fmla="*/ 1720658 w 2331723"/>
                    <a:gd name="connsiteY6" fmla="*/ 545073 h 706998"/>
                    <a:gd name="connsiteX7" fmla="*/ 1963545 w 2331723"/>
                    <a:gd name="connsiteY7" fmla="*/ 540310 h 706998"/>
                    <a:gd name="connsiteX8" fmla="*/ 2282633 w 2331723"/>
                    <a:gd name="connsiteY8" fmla="*/ 549835 h 706998"/>
                    <a:gd name="connsiteX9" fmla="*/ 2273108 w 2331723"/>
                    <a:gd name="connsiteY9" fmla="*/ 697473 h 706998"/>
                    <a:gd name="connsiteX10" fmla="*/ 1734945 w 2331723"/>
                    <a:gd name="connsiteY10" fmla="*/ 687948 h 706998"/>
                    <a:gd name="connsiteX11" fmla="*/ 1287270 w 2331723"/>
                    <a:gd name="connsiteY11" fmla="*/ 702235 h 706998"/>
                    <a:gd name="connsiteX12" fmla="*/ 1263458 w 2331723"/>
                    <a:gd name="connsiteY12" fmla="*/ 697473 h 706998"/>
                    <a:gd name="connsiteX13" fmla="*/ 430020 w 2331723"/>
                    <a:gd name="connsiteY13" fmla="*/ 706998 h 706998"/>
                    <a:gd name="connsiteX14" fmla="*/ 15683 w 2331723"/>
                    <a:gd name="connsiteY14" fmla="*/ 654610 h 706998"/>
                    <a:gd name="connsiteX15" fmla="*/ 6158 w 2331723"/>
                    <a:gd name="connsiteY15" fmla="*/ 554598 h 706998"/>
                    <a:gd name="connsiteX16" fmla="*/ 1395 w 2331723"/>
                    <a:gd name="connsiteY16" fmla="*/ 540310 h 706998"/>
                    <a:gd name="connsiteX17" fmla="*/ 63308 w 2331723"/>
                    <a:gd name="connsiteY17" fmla="*/ 535548 h 706998"/>
                    <a:gd name="connsiteX18" fmla="*/ 806258 w 2331723"/>
                    <a:gd name="connsiteY18" fmla="*/ 535548 h 706998"/>
                    <a:gd name="connsiteX19" fmla="*/ 1034858 w 2331723"/>
                    <a:gd name="connsiteY19" fmla="*/ 526023 h 706998"/>
                    <a:gd name="connsiteX20" fmla="*/ 1030095 w 2331723"/>
                    <a:gd name="connsiteY20" fmla="*/ 430773 h 706998"/>
                    <a:gd name="connsiteX21" fmla="*/ 1020570 w 2331723"/>
                    <a:gd name="connsiteY21" fmla="*/ 216460 h 706998"/>
                    <a:gd name="connsiteX22" fmla="*/ 1030095 w 2331723"/>
                    <a:gd name="connsiteY22" fmla="*/ 21198 h 706998"/>
                    <a:gd name="connsiteX0" fmla="*/ 1042895 w 2344523"/>
                    <a:gd name="connsiteY0" fmla="*/ 21198 h 706998"/>
                    <a:gd name="connsiteX1" fmla="*/ 1300070 w 2344523"/>
                    <a:gd name="connsiteY1" fmla="*/ 11673 h 706998"/>
                    <a:gd name="connsiteX2" fmla="*/ 1295308 w 2344523"/>
                    <a:gd name="connsiteY2" fmla="*/ 78348 h 706998"/>
                    <a:gd name="connsiteX3" fmla="*/ 1285783 w 2344523"/>
                    <a:gd name="connsiteY3" fmla="*/ 426010 h 706998"/>
                    <a:gd name="connsiteX4" fmla="*/ 1300070 w 2344523"/>
                    <a:gd name="connsiteY4" fmla="*/ 530785 h 706998"/>
                    <a:gd name="connsiteX5" fmla="*/ 1366745 w 2344523"/>
                    <a:gd name="connsiteY5" fmla="*/ 535548 h 706998"/>
                    <a:gd name="connsiteX6" fmla="*/ 1733458 w 2344523"/>
                    <a:gd name="connsiteY6" fmla="*/ 545073 h 706998"/>
                    <a:gd name="connsiteX7" fmla="*/ 1976345 w 2344523"/>
                    <a:gd name="connsiteY7" fmla="*/ 540310 h 706998"/>
                    <a:gd name="connsiteX8" fmla="*/ 2295433 w 2344523"/>
                    <a:gd name="connsiteY8" fmla="*/ 549835 h 706998"/>
                    <a:gd name="connsiteX9" fmla="*/ 2285908 w 2344523"/>
                    <a:gd name="connsiteY9" fmla="*/ 697473 h 706998"/>
                    <a:gd name="connsiteX10" fmla="*/ 1747745 w 2344523"/>
                    <a:gd name="connsiteY10" fmla="*/ 687948 h 706998"/>
                    <a:gd name="connsiteX11" fmla="*/ 1300070 w 2344523"/>
                    <a:gd name="connsiteY11" fmla="*/ 702235 h 706998"/>
                    <a:gd name="connsiteX12" fmla="*/ 1276258 w 2344523"/>
                    <a:gd name="connsiteY12" fmla="*/ 697473 h 706998"/>
                    <a:gd name="connsiteX13" fmla="*/ 442820 w 2344523"/>
                    <a:gd name="connsiteY13" fmla="*/ 706998 h 706998"/>
                    <a:gd name="connsiteX14" fmla="*/ 28483 w 2344523"/>
                    <a:gd name="connsiteY14" fmla="*/ 654610 h 706998"/>
                    <a:gd name="connsiteX15" fmla="*/ 18958 w 2344523"/>
                    <a:gd name="connsiteY15" fmla="*/ 554598 h 706998"/>
                    <a:gd name="connsiteX16" fmla="*/ 76108 w 2344523"/>
                    <a:gd name="connsiteY16" fmla="*/ 535548 h 706998"/>
                    <a:gd name="connsiteX17" fmla="*/ 819058 w 2344523"/>
                    <a:gd name="connsiteY17" fmla="*/ 535548 h 706998"/>
                    <a:gd name="connsiteX18" fmla="*/ 1047658 w 2344523"/>
                    <a:gd name="connsiteY18" fmla="*/ 526023 h 706998"/>
                    <a:gd name="connsiteX19" fmla="*/ 1042895 w 2344523"/>
                    <a:gd name="connsiteY19" fmla="*/ 430773 h 706998"/>
                    <a:gd name="connsiteX20" fmla="*/ 1033370 w 2344523"/>
                    <a:gd name="connsiteY20" fmla="*/ 216460 h 706998"/>
                    <a:gd name="connsiteX21" fmla="*/ 1042895 w 2344523"/>
                    <a:gd name="connsiteY21" fmla="*/ 21198 h 706998"/>
                    <a:gd name="connsiteX0" fmla="*/ 1042895 w 2344523"/>
                    <a:gd name="connsiteY0" fmla="*/ 21198 h 706212"/>
                    <a:gd name="connsiteX1" fmla="*/ 1300070 w 2344523"/>
                    <a:gd name="connsiteY1" fmla="*/ 11673 h 706212"/>
                    <a:gd name="connsiteX2" fmla="*/ 1295308 w 2344523"/>
                    <a:gd name="connsiteY2" fmla="*/ 78348 h 706212"/>
                    <a:gd name="connsiteX3" fmla="*/ 1285783 w 2344523"/>
                    <a:gd name="connsiteY3" fmla="*/ 426010 h 706212"/>
                    <a:gd name="connsiteX4" fmla="*/ 1300070 w 2344523"/>
                    <a:gd name="connsiteY4" fmla="*/ 530785 h 706212"/>
                    <a:gd name="connsiteX5" fmla="*/ 1366745 w 2344523"/>
                    <a:gd name="connsiteY5" fmla="*/ 535548 h 706212"/>
                    <a:gd name="connsiteX6" fmla="*/ 1733458 w 2344523"/>
                    <a:gd name="connsiteY6" fmla="*/ 545073 h 706212"/>
                    <a:gd name="connsiteX7" fmla="*/ 1976345 w 2344523"/>
                    <a:gd name="connsiteY7" fmla="*/ 540310 h 706212"/>
                    <a:gd name="connsiteX8" fmla="*/ 2295433 w 2344523"/>
                    <a:gd name="connsiteY8" fmla="*/ 549835 h 706212"/>
                    <a:gd name="connsiteX9" fmla="*/ 2285908 w 2344523"/>
                    <a:gd name="connsiteY9" fmla="*/ 697473 h 706212"/>
                    <a:gd name="connsiteX10" fmla="*/ 1747745 w 2344523"/>
                    <a:gd name="connsiteY10" fmla="*/ 687948 h 706212"/>
                    <a:gd name="connsiteX11" fmla="*/ 1300070 w 2344523"/>
                    <a:gd name="connsiteY11" fmla="*/ 702235 h 706212"/>
                    <a:gd name="connsiteX12" fmla="*/ 1276258 w 2344523"/>
                    <a:gd name="connsiteY12" fmla="*/ 697473 h 706212"/>
                    <a:gd name="connsiteX13" fmla="*/ 28483 w 2344523"/>
                    <a:gd name="connsiteY13" fmla="*/ 654610 h 706212"/>
                    <a:gd name="connsiteX14" fmla="*/ 18958 w 2344523"/>
                    <a:gd name="connsiteY14" fmla="*/ 554598 h 706212"/>
                    <a:gd name="connsiteX15" fmla="*/ 76108 w 2344523"/>
                    <a:gd name="connsiteY15" fmla="*/ 535548 h 706212"/>
                    <a:gd name="connsiteX16" fmla="*/ 819058 w 2344523"/>
                    <a:gd name="connsiteY16" fmla="*/ 535548 h 706212"/>
                    <a:gd name="connsiteX17" fmla="*/ 1047658 w 2344523"/>
                    <a:gd name="connsiteY17" fmla="*/ 526023 h 706212"/>
                    <a:gd name="connsiteX18" fmla="*/ 1042895 w 2344523"/>
                    <a:gd name="connsiteY18" fmla="*/ 430773 h 706212"/>
                    <a:gd name="connsiteX19" fmla="*/ 1033370 w 2344523"/>
                    <a:gd name="connsiteY19" fmla="*/ 216460 h 706212"/>
                    <a:gd name="connsiteX20" fmla="*/ 1042895 w 2344523"/>
                    <a:gd name="connsiteY20" fmla="*/ 21198 h 706212"/>
                    <a:gd name="connsiteX0" fmla="*/ 1113713 w 2415341"/>
                    <a:gd name="connsiteY0" fmla="*/ 21198 h 706212"/>
                    <a:gd name="connsiteX1" fmla="*/ 1370888 w 2415341"/>
                    <a:gd name="connsiteY1" fmla="*/ 11673 h 706212"/>
                    <a:gd name="connsiteX2" fmla="*/ 1366126 w 2415341"/>
                    <a:gd name="connsiteY2" fmla="*/ 78348 h 706212"/>
                    <a:gd name="connsiteX3" fmla="*/ 1356601 w 2415341"/>
                    <a:gd name="connsiteY3" fmla="*/ 426010 h 706212"/>
                    <a:gd name="connsiteX4" fmla="*/ 1370888 w 2415341"/>
                    <a:gd name="connsiteY4" fmla="*/ 530785 h 706212"/>
                    <a:gd name="connsiteX5" fmla="*/ 1437563 w 2415341"/>
                    <a:gd name="connsiteY5" fmla="*/ 535548 h 706212"/>
                    <a:gd name="connsiteX6" fmla="*/ 1804276 w 2415341"/>
                    <a:gd name="connsiteY6" fmla="*/ 545073 h 706212"/>
                    <a:gd name="connsiteX7" fmla="*/ 2047163 w 2415341"/>
                    <a:gd name="connsiteY7" fmla="*/ 540310 h 706212"/>
                    <a:gd name="connsiteX8" fmla="*/ 2366251 w 2415341"/>
                    <a:gd name="connsiteY8" fmla="*/ 549835 h 706212"/>
                    <a:gd name="connsiteX9" fmla="*/ 2356726 w 2415341"/>
                    <a:gd name="connsiteY9" fmla="*/ 697473 h 706212"/>
                    <a:gd name="connsiteX10" fmla="*/ 1818563 w 2415341"/>
                    <a:gd name="connsiteY10" fmla="*/ 687948 h 706212"/>
                    <a:gd name="connsiteX11" fmla="*/ 1370888 w 2415341"/>
                    <a:gd name="connsiteY11" fmla="*/ 702235 h 706212"/>
                    <a:gd name="connsiteX12" fmla="*/ 99301 w 2415341"/>
                    <a:gd name="connsiteY12" fmla="*/ 654610 h 706212"/>
                    <a:gd name="connsiteX13" fmla="*/ 89776 w 2415341"/>
                    <a:gd name="connsiteY13" fmla="*/ 554598 h 706212"/>
                    <a:gd name="connsiteX14" fmla="*/ 146926 w 2415341"/>
                    <a:gd name="connsiteY14" fmla="*/ 535548 h 706212"/>
                    <a:gd name="connsiteX15" fmla="*/ 889876 w 2415341"/>
                    <a:gd name="connsiteY15" fmla="*/ 535548 h 706212"/>
                    <a:gd name="connsiteX16" fmla="*/ 1118476 w 2415341"/>
                    <a:gd name="connsiteY16" fmla="*/ 526023 h 706212"/>
                    <a:gd name="connsiteX17" fmla="*/ 1113713 w 2415341"/>
                    <a:gd name="connsiteY17" fmla="*/ 430773 h 706212"/>
                    <a:gd name="connsiteX18" fmla="*/ 1104188 w 2415341"/>
                    <a:gd name="connsiteY18" fmla="*/ 216460 h 706212"/>
                    <a:gd name="connsiteX19" fmla="*/ 1113713 w 2415341"/>
                    <a:gd name="connsiteY19" fmla="*/ 21198 h 706212"/>
                    <a:gd name="connsiteX0" fmla="*/ 1042896 w 2344524"/>
                    <a:gd name="connsiteY0" fmla="*/ 21198 h 706212"/>
                    <a:gd name="connsiteX1" fmla="*/ 1300071 w 2344524"/>
                    <a:gd name="connsiteY1" fmla="*/ 11673 h 706212"/>
                    <a:gd name="connsiteX2" fmla="*/ 1295309 w 2344524"/>
                    <a:gd name="connsiteY2" fmla="*/ 78348 h 706212"/>
                    <a:gd name="connsiteX3" fmla="*/ 1285784 w 2344524"/>
                    <a:gd name="connsiteY3" fmla="*/ 426010 h 706212"/>
                    <a:gd name="connsiteX4" fmla="*/ 1300071 w 2344524"/>
                    <a:gd name="connsiteY4" fmla="*/ 530785 h 706212"/>
                    <a:gd name="connsiteX5" fmla="*/ 1366746 w 2344524"/>
                    <a:gd name="connsiteY5" fmla="*/ 535548 h 706212"/>
                    <a:gd name="connsiteX6" fmla="*/ 1733459 w 2344524"/>
                    <a:gd name="connsiteY6" fmla="*/ 545073 h 706212"/>
                    <a:gd name="connsiteX7" fmla="*/ 1976346 w 2344524"/>
                    <a:gd name="connsiteY7" fmla="*/ 540310 h 706212"/>
                    <a:gd name="connsiteX8" fmla="*/ 2295434 w 2344524"/>
                    <a:gd name="connsiteY8" fmla="*/ 549835 h 706212"/>
                    <a:gd name="connsiteX9" fmla="*/ 2285909 w 2344524"/>
                    <a:gd name="connsiteY9" fmla="*/ 697473 h 706212"/>
                    <a:gd name="connsiteX10" fmla="*/ 1747746 w 2344524"/>
                    <a:gd name="connsiteY10" fmla="*/ 687948 h 706212"/>
                    <a:gd name="connsiteX11" fmla="*/ 1300071 w 2344524"/>
                    <a:gd name="connsiteY11" fmla="*/ 702235 h 706212"/>
                    <a:gd name="connsiteX12" fmla="*/ 28484 w 2344524"/>
                    <a:gd name="connsiteY12" fmla="*/ 654610 h 706212"/>
                    <a:gd name="connsiteX13" fmla="*/ 18959 w 2344524"/>
                    <a:gd name="connsiteY13" fmla="*/ 554598 h 706212"/>
                    <a:gd name="connsiteX14" fmla="*/ 76109 w 2344524"/>
                    <a:gd name="connsiteY14" fmla="*/ 535548 h 706212"/>
                    <a:gd name="connsiteX15" fmla="*/ 819059 w 2344524"/>
                    <a:gd name="connsiteY15" fmla="*/ 535548 h 706212"/>
                    <a:gd name="connsiteX16" fmla="*/ 1047659 w 2344524"/>
                    <a:gd name="connsiteY16" fmla="*/ 526023 h 706212"/>
                    <a:gd name="connsiteX17" fmla="*/ 1042896 w 2344524"/>
                    <a:gd name="connsiteY17" fmla="*/ 430773 h 706212"/>
                    <a:gd name="connsiteX18" fmla="*/ 1033371 w 2344524"/>
                    <a:gd name="connsiteY18" fmla="*/ 216460 h 706212"/>
                    <a:gd name="connsiteX19" fmla="*/ 1042896 w 2344524"/>
                    <a:gd name="connsiteY19" fmla="*/ 21198 h 706212"/>
                    <a:gd name="connsiteX0" fmla="*/ 1042896 w 2344524"/>
                    <a:gd name="connsiteY0" fmla="*/ 21198 h 706347"/>
                    <a:gd name="connsiteX1" fmla="*/ 1300071 w 2344524"/>
                    <a:gd name="connsiteY1" fmla="*/ 11673 h 706347"/>
                    <a:gd name="connsiteX2" fmla="*/ 1295309 w 2344524"/>
                    <a:gd name="connsiteY2" fmla="*/ 78348 h 706347"/>
                    <a:gd name="connsiteX3" fmla="*/ 1285784 w 2344524"/>
                    <a:gd name="connsiteY3" fmla="*/ 426010 h 706347"/>
                    <a:gd name="connsiteX4" fmla="*/ 1300071 w 2344524"/>
                    <a:gd name="connsiteY4" fmla="*/ 530785 h 706347"/>
                    <a:gd name="connsiteX5" fmla="*/ 1366746 w 2344524"/>
                    <a:gd name="connsiteY5" fmla="*/ 535548 h 706347"/>
                    <a:gd name="connsiteX6" fmla="*/ 1733459 w 2344524"/>
                    <a:gd name="connsiteY6" fmla="*/ 545073 h 706347"/>
                    <a:gd name="connsiteX7" fmla="*/ 1976346 w 2344524"/>
                    <a:gd name="connsiteY7" fmla="*/ 540310 h 706347"/>
                    <a:gd name="connsiteX8" fmla="*/ 2295434 w 2344524"/>
                    <a:gd name="connsiteY8" fmla="*/ 549835 h 706347"/>
                    <a:gd name="connsiteX9" fmla="*/ 2285909 w 2344524"/>
                    <a:gd name="connsiteY9" fmla="*/ 697473 h 706347"/>
                    <a:gd name="connsiteX10" fmla="*/ 1747746 w 2344524"/>
                    <a:gd name="connsiteY10" fmla="*/ 687948 h 706347"/>
                    <a:gd name="connsiteX11" fmla="*/ 1290546 w 2344524"/>
                    <a:gd name="connsiteY11" fmla="*/ 673660 h 706347"/>
                    <a:gd name="connsiteX12" fmla="*/ 28484 w 2344524"/>
                    <a:gd name="connsiteY12" fmla="*/ 654610 h 706347"/>
                    <a:gd name="connsiteX13" fmla="*/ 18959 w 2344524"/>
                    <a:gd name="connsiteY13" fmla="*/ 554598 h 706347"/>
                    <a:gd name="connsiteX14" fmla="*/ 76109 w 2344524"/>
                    <a:gd name="connsiteY14" fmla="*/ 535548 h 706347"/>
                    <a:gd name="connsiteX15" fmla="*/ 819059 w 2344524"/>
                    <a:gd name="connsiteY15" fmla="*/ 535548 h 706347"/>
                    <a:gd name="connsiteX16" fmla="*/ 1047659 w 2344524"/>
                    <a:gd name="connsiteY16" fmla="*/ 526023 h 706347"/>
                    <a:gd name="connsiteX17" fmla="*/ 1042896 w 2344524"/>
                    <a:gd name="connsiteY17" fmla="*/ 430773 h 706347"/>
                    <a:gd name="connsiteX18" fmla="*/ 1033371 w 2344524"/>
                    <a:gd name="connsiteY18" fmla="*/ 216460 h 706347"/>
                    <a:gd name="connsiteX19" fmla="*/ 1042896 w 2344524"/>
                    <a:gd name="connsiteY19" fmla="*/ 21198 h 706347"/>
                    <a:gd name="connsiteX0" fmla="*/ 1037649 w 2339277"/>
                    <a:gd name="connsiteY0" fmla="*/ 21198 h 706347"/>
                    <a:gd name="connsiteX1" fmla="*/ 1294824 w 2339277"/>
                    <a:gd name="connsiteY1" fmla="*/ 11673 h 706347"/>
                    <a:gd name="connsiteX2" fmla="*/ 1290062 w 2339277"/>
                    <a:gd name="connsiteY2" fmla="*/ 78348 h 706347"/>
                    <a:gd name="connsiteX3" fmla="*/ 1280537 w 2339277"/>
                    <a:gd name="connsiteY3" fmla="*/ 426010 h 706347"/>
                    <a:gd name="connsiteX4" fmla="*/ 1294824 w 2339277"/>
                    <a:gd name="connsiteY4" fmla="*/ 530785 h 706347"/>
                    <a:gd name="connsiteX5" fmla="*/ 1361499 w 2339277"/>
                    <a:gd name="connsiteY5" fmla="*/ 535548 h 706347"/>
                    <a:gd name="connsiteX6" fmla="*/ 1728212 w 2339277"/>
                    <a:gd name="connsiteY6" fmla="*/ 545073 h 706347"/>
                    <a:gd name="connsiteX7" fmla="*/ 1971099 w 2339277"/>
                    <a:gd name="connsiteY7" fmla="*/ 540310 h 706347"/>
                    <a:gd name="connsiteX8" fmla="*/ 2290187 w 2339277"/>
                    <a:gd name="connsiteY8" fmla="*/ 549835 h 706347"/>
                    <a:gd name="connsiteX9" fmla="*/ 2280662 w 2339277"/>
                    <a:gd name="connsiteY9" fmla="*/ 697473 h 706347"/>
                    <a:gd name="connsiteX10" fmla="*/ 1742499 w 2339277"/>
                    <a:gd name="connsiteY10" fmla="*/ 687948 h 706347"/>
                    <a:gd name="connsiteX11" fmla="*/ 1285299 w 2339277"/>
                    <a:gd name="connsiteY11" fmla="*/ 673660 h 706347"/>
                    <a:gd name="connsiteX12" fmla="*/ 23237 w 2339277"/>
                    <a:gd name="connsiteY12" fmla="*/ 654610 h 706347"/>
                    <a:gd name="connsiteX13" fmla="*/ 13712 w 2339277"/>
                    <a:gd name="connsiteY13" fmla="*/ 554598 h 706347"/>
                    <a:gd name="connsiteX14" fmla="*/ 123250 w 2339277"/>
                    <a:gd name="connsiteY14" fmla="*/ 516498 h 706347"/>
                    <a:gd name="connsiteX15" fmla="*/ 813812 w 2339277"/>
                    <a:gd name="connsiteY15" fmla="*/ 535548 h 706347"/>
                    <a:gd name="connsiteX16" fmla="*/ 1042412 w 2339277"/>
                    <a:gd name="connsiteY16" fmla="*/ 526023 h 706347"/>
                    <a:gd name="connsiteX17" fmla="*/ 1037649 w 2339277"/>
                    <a:gd name="connsiteY17" fmla="*/ 430773 h 706347"/>
                    <a:gd name="connsiteX18" fmla="*/ 1028124 w 2339277"/>
                    <a:gd name="connsiteY18" fmla="*/ 216460 h 706347"/>
                    <a:gd name="connsiteX19" fmla="*/ 1037649 w 2339277"/>
                    <a:gd name="connsiteY19" fmla="*/ 21198 h 706347"/>
                    <a:gd name="connsiteX0" fmla="*/ 1037649 w 2317609"/>
                    <a:gd name="connsiteY0" fmla="*/ 21198 h 724730"/>
                    <a:gd name="connsiteX1" fmla="*/ 1294824 w 2317609"/>
                    <a:gd name="connsiteY1" fmla="*/ 11673 h 724730"/>
                    <a:gd name="connsiteX2" fmla="*/ 1290062 w 2317609"/>
                    <a:gd name="connsiteY2" fmla="*/ 78348 h 724730"/>
                    <a:gd name="connsiteX3" fmla="*/ 1280537 w 2317609"/>
                    <a:gd name="connsiteY3" fmla="*/ 426010 h 724730"/>
                    <a:gd name="connsiteX4" fmla="*/ 1294824 w 2317609"/>
                    <a:gd name="connsiteY4" fmla="*/ 530785 h 724730"/>
                    <a:gd name="connsiteX5" fmla="*/ 1361499 w 2317609"/>
                    <a:gd name="connsiteY5" fmla="*/ 535548 h 724730"/>
                    <a:gd name="connsiteX6" fmla="*/ 1728212 w 2317609"/>
                    <a:gd name="connsiteY6" fmla="*/ 545073 h 724730"/>
                    <a:gd name="connsiteX7" fmla="*/ 1971099 w 2317609"/>
                    <a:gd name="connsiteY7" fmla="*/ 540310 h 724730"/>
                    <a:gd name="connsiteX8" fmla="*/ 2290187 w 2317609"/>
                    <a:gd name="connsiteY8" fmla="*/ 549835 h 724730"/>
                    <a:gd name="connsiteX9" fmla="*/ 2280662 w 2317609"/>
                    <a:gd name="connsiteY9" fmla="*/ 697473 h 724730"/>
                    <a:gd name="connsiteX10" fmla="*/ 1742499 w 2317609"/>
                    <a:gd name="connsiteY10" fmla="*/ 687948 h 724730"/>
                    <a:gd name="connsiteX11" fmla="*/ 1285299 w 2317609"/>
                    <a:gd name="connsiteY11" fmla="*/ 673660 h 724730"/>
                    <a:gd name="connsiteX12" fmla="*/ 23237 w 2317609"/>
                    <a:gd name="connsiteY12" fmla="*/ 654610 h 724730"/>
                    <a:gd name="connsiteX13" fmla="*/ 13712 w 2317609"/>
                    <a:gd name="connsiteY13" fmla="*/ 554598 h 724730"/>
                    <a:gd name="connsiteX14" fmla="*/ 123250 w 2317609"/>
                    <a:gd name="connsiteY14" fmla="*/ 516498 h 724730"/>
                    <a:gd name="connsiteX15" fmla="*/ 813812 w 2317609"/>
                    <a:gd name="connsiteY15" fmla="*/ 535548 h 724730"/>
                    <a:gd name="connsiteX16" fmla="*/ 1042412 w 2317609"/>
                    <a:gd name="connsiteY16" fmla="*/ 526023 h 724730"/>
                    <a:gd name="connsiteX17" fmla="*/ 1037649 w 2317609"/>
                    <a:gd name="connsiteY17" fmla="*/ 430773 h 724730"/>
                    <a:gd name="connsiteX18" fmla="*/ 1028124 w 2317609"/>
                    <a:gd name="connsiteY18" fmla="*/ 216460 h 724730"/>
                    <a:gd name="connsiteX19" fmla="*/ 1037649 w 2317609"/>
                    <a:gd name="connsiteY19" fmla="*/ 21198 h 724730"/>
                    <a:gd name="connsiteX0" fmla="*/ 1037649 w 2314022"/>
                    <a:gd name="connsiteY0" fmla="*/ 21198 h 717237"/>
                    <a:gd name="connsiteX1" fmla="*/ 1294824 w 2314022"/>
                    <a:gd name="connsiteY1" fmla="*/ 11673 h 717237"/>
                    <a:gd name="connsiteX2" fmla="*/ 1290062 w 2314022"/>
                    <a:gd name="connsiteY2" fmla="*/ 78348 h 717237"/>
                    <a:gd name="connsiteX3" fmla="*/ 1280537 w 2314022"/>
                    <a:gd name="connsiteY3" fmla="*/ 426010 h 717237"/>
                    <a:gd name="connsiteX4" fmla="*/ 1294824 w 2314022"/>
                    <a:gd name="connsiteY4" fmla="*/ 530785 h 717237"/>
                    <a:gd name="connsiteX5" fmla="*/ 1361499 w 2314022"/>
                    <a:gd name="connsiteY5" fmla="*/ 535548 h 717237"/>
                    <a:gd name="connsiteX6" fmla="*/ 1728212 w 2314022"/>
                    <a:gd name="connsiteY6" fmla="*/ 545073 h 717237"/>
                    <a:gd name="connsiteX7" fmla="*/ 1971099 w 2314022"/>
                    <a:gd name="connsiteY7" fmla="*/ 540310 h 717237"/>
                    <a:gd name="connsiteX8" fmla="*/ 2290187 w 2314022"/>
                    <a:gd name="connsiteY8" fmla="*/ 549835 h 717237"/>
                    <a:gd name="connsiteX9" fmla="*/ 2271137 w 2314022"/>
                    <a:gd name="connsiteY9" fmla="*/ 687948 h 717237"/>
                    <a:gd name="connsiteX10" fmla="*/ 1742499 w 2314022"/>
                    <a:gd name="connsiteY10" fmla="*/ 687948 h 717237"/>
                    <a:gd name="connsiteX11" fmla="*/ 1285299 w 2314022"/>
                    <a:gd name="connsiteY11" fmla="*/ 673660 h 717237"/>
                    <a:gd name="connsiteX12" fmla="*/ 23237 w 2314022"/>
                    <a:gd name="connsiteY12" fmla="*/ 654610 h 717237"/>
                    <a:gd name="connsiteX13" fmla="*/ 13712 w 2314022"/>
                    <a:gd name="connsiteY13" fmla="*/ 554598 h 717237"/>
                    <a:gd name="connsiteX14" fmla="*/ 123250 w 2314022"/>
                    <a:gd name="connsiteY14" fmla="*/ 516498 h 717237"/>
                    <a:gd name="connsiteX15" fmla="*/ 813812 w 2314022"/>
                    <a:gd name="connsiteY15" fmla="*/ 535548 h 717237"/>
                    <a:gd name="connsiteX16" fmla="*/ 1042412 w 2314022"/>
                    <a:gd name="connsiteY16" fmla="*/ 526023 h 717237"/>
                    <a:gd name="connsiteX17" fmla="*/ 1037649 w 2314022"/>
                    <a:gd name="connsiteY17" fmla="*/ 430773 h 717237"/>
                    <a:gd name="connsiteX18" fmla="*/ 1028124 w 2314022"/>
                    <a:gd name="connsiteY18" fmla="*/ 216460 h 717237"/>
                    <a:gd name="connsiteX19" fmla="*/ 1037649 w 2314022"/>
                    <a:gd name="connsiteY19" fmla="*/ 21198 h 717237"/>
                    <a:gd name="connsiteX0" fmla="*/ 1037649 w 2314022"/>
                    <a:gd name="connsiteY0" fmla="*/ 21198 h 714231"/>
                    <a:gd name="connsiteX1" fmla="*/ 1294824 w 2314022"/>
                    <a:gd name="connsiteY1" fmla="*/ 11673 h 714231"/>
                    <a:gd name="connsiteX2" fmla="*/ 1290062 w 2314022"/>
                    <a:gd name="connsiteY2" fmla="*/ 78348 h 714231"/>
                    <a:gd name="connsiteX3" fmla="*/ 1280537 w 2314022"/>
                    <a:gd name="connsiteY3" fmla="*/ 426010 h 714231"/>
                    <a:gd name="connsiteX4" fmla="*/ 1294824 w 2314022"/>
                    <a:gd name="connsiteY4" fmla="*/ 530785 h 714231"/>
                    <a:gd name="connsiteX5" fmla="*/ 1361499 w 2314022"/>
                    <a:gd name="connsiteY5" fmla="*/ 535548 h 714231"/>
                    <a:gd name="connsiteX6" fmla="*/ 1728212 w 2314022"/>
                    <a:gd name="connsiteY6" fmla="*/ 545073 h 714231"/>
                    <a:gd name="connsiteX7" fmla="*/ 1971099 w 2314022"/>
                    <a:gd name="connsiteY7" fmla="*/ 540310 h 714231"/>
                    <a:gd name="connsiteX8" fmla="*/ 2290187 w 2314022"/>
                    <a:gd name="connsiteY8" fmla="*/ 549835 h 714231"/>
                    <a:gd name="connsiteX9" fmla="*/ 2271137 w 2314022"/>
                    <a:gd name="connsiteY9" fmla="*/ 687948 h 714231"/>
                    <a:gd name="connsiteX10" fmla="*/ 1742499 w 2314022"/>
                    <a:gd name="connsiteY10" fmla="*/ 687948 h 714231"/>
                    <a:gd name="connsiteX11" fmla="*/ 1285299 w 2314022"/>
                    <a:gd name="connsiteY11" fmla="*/ 673660 h 714231"/>
                    <a:gd name="connsiteX12" fmla="*/ 23237 w 2314022"/>
                    <a:gd name="connsiteY12" fmla="*/ 654610 h 714231"/>
                    <a:gd name="connsiteX13" fmla="*/ 13712 w 2314022"/>
                    <a:gd name="connsiteY13" fmla="*/ 554598 h 714231"/>
                    <a:gd name="connsiteX14" fmla="*/ 123250 w 2314022"/>
                    <a:gd name="connsiteY14" fmla="*/ 516498 h 714231"/>
                    <a:gd name="connsiteX15" fmla="*/ 813812 w 2314022"/>
                    <a:gd name="connsiteY15" fmla="*/ 535548 h 714231"/>
                    <a:gd name="connsiteX16" fmla="*/ 1042412 w 2314022"/>
                    <a:gd name="connsiteY16" fmla="*/ 526023 h 714231"/>
                    <a:gd name="connsiteX17" fmla="*/ 1037649 w 2314022"/>
                    <a:gd name="connsiteY17" fmla="*/ 430773 h 714231"/>
                    <a:gd name="connsiteX18" fmla="*/ 1028124 w 2314022"/>
                    <a:gd name="connsiteY18" fmla="*/ 216460 h 714231"/>
                    <a:gd name="connsiteX19" fmla="*/ 1037649 w 2314022"/>
                    <a:gd name="connsiteY19" fmla="*/ 21198 h 714231"/>
                    <a:gd name="connsiteX0" fmla="*/ 1037649 w 2316170"/>
                    <a:gd name="connsiteY0" fmla="*/ 21198 h 699587"/>
                    <a:gd name="connsiteX1" fmla="*/ 1294824 w 2316170"/>
                    <a:gd name="connsiteY1" fmla="*/ 11673 h 699587"/>
                    <a:gd name="connsiteX2" fmla="*/ 1290062 w 2316170"/>
                    <a:gd name="connsiteY2" fmla="*/ 78348 h 699587"/>
                    <a:gd name="connsiteX3" fmla="*/ 1280537 w 2316170"/>
                    <a:gd name="connsiteY3" fmla="*/ 426010 h 699587"/>
                    <a:gd name="connsiteX4" fmla="*/ 1294824 w 2316170"/>
                    <a:gd name="connsiteY4" fmla="*/ 530785 h 699587"/>
                    <a:gd name="connsiteX5" fmla="*/ 1361499 w 2316170"/>
                    <a:gd name="connsiteY5" fmla="*/ 535548 h 699587"/>
                    <a:gd name="connsiteX6" fmla="*/ 1728212 w 2316170"/>
                    <a:gd name="connsiteY6" fmla="*/ 545073 h 699587"/>
                    <a:gd name="connsiteX7" fmla="*/ 1971099 w 2316170"/>
                    <a:gd name="connsiteY7" fmla="*/ 540310 h 699587"/>
                    <a:gd name="connsiteX8" fmla="*/ 2290187 w 2316170"/>
                    <a:gd name="connsiteY8" fmla="*/ 549835 h 699587"/>
                    <a:gd name="connsiteX9" fmla="*/ 2271137 w 2316170"/>
                    <a:gd name="connsiteY9" fmla="*/ 687948 h 699587"/>
                    <a:gd name="connsiteX10" fmla="*/ 1742499 w 2316170"/>
                    <a:gd name="connsiteY10" fmla="*/ 687948 h 699587"/>
                    <a:gd name="connsiteX11" fmla="*/ 1285299 w 2316170"/>
                    <a:gd name="connsiteY11" fmla="*/ 673660 h 699587"/>
                    <a:gd name="connsiteX12" fmla="*/ 23237 w 2316170"/>
                    <a:gd name="connsiteY12" fmla="*/ 654610 h 699587"/>
                    <a:gd name="connsiteX13" fmla="*/ 13712 w 2316170"/>
                    <a:gd name="connsiteY13" fmla="*/ 554598 h 699587"/>
                    <a:gd name="connsiteX14" fmla="*/ 123250 w 2316170"/>
                    <a:gd name="connsiteY14" fmla="*/ 516498 h 699587"/>
                    <a:gd name="connsiteX15" fmla="*/ 813812 w 2316170"/>
                    <a:gd name="connsiteY15" fmla="*/ 535548 h 699587"/>
                    <a:gd name="connsiteX16" fmla="*/ 1042412 w 2316170"/>
                    <a:gd name="connsiteY16" fmla="*/ 526023 h 699587"/>
                    <a:gd name="connsiteX17" fmla="*/ 1037649 w 2316170"/>
                    <a:gd name="connsiteY17" fmla="*/ 430773 h 699587"/>
                    <a:gd name="connsiteX18" fmla="*/ 1028124 w 2316170"/>
                    <a:gd name="connsiteY18" fmla="*/ 216460 h 699587"/>
                    <a:gd name="connsiteX19" fmla="*/ 1037649 w 2316170"/>
                    <a:gd name="connsiteY19" fmla="*/ 21198 h 699587"/>
                    <a:gd name="connsiteX0" fmla="*/ 1037649 w 2316170"/>
                    <a:gd name="connsiteY0" fmla="*/ 21198 h 699587"/>
                    <a:gd name="connsiteX1" fmla="*/ 1294824 w 2316170"/>
                    <a:gd name="connsiteY1" fmla="*/ 11673 h 699587"/>
                    <a:gd name="connsiteX2" fmla="*/ 1290062 w 2316170"/>
                    <a:gd name="connsiteY2" fmla="*/ 78348 h 699587"/>
                    <a:gd name="connsiteX3" fmla="*/ 1280537 w 2316170"/>
                    <a:gd name="connsiteY3" fmla="*/ 426010 h 699587"/>
                    <a:gd name="connsiteX4" fmla="*/ 1294824 w 2316170"/>
                    <a:gd name="connsiteY4" fmla="*/ 530785 h 699587"/>
                    <a:gd name="connsiteX5" fmla="*/ 1361499 w 2316170"/>
                    <a:gd name="connsiteY5" fmla="*/ 535548 h 699587"/>
                    <a:gd name="connsiteX6" fmla="*/ 1728212 w 2316170"/>
                    <a:gd name="connsiteY6" fmla="*/ 545073 h 699587"/>
                    <a:gd name="connsiteX7" fmla="*/ 1971099 w 2316170"/>
                    <a:gd name="connsiteY7" fmla="*/ 540310 h 699587"/>
                    <a:gd name="connsiteX8" fmla="*/ 2290187 w 2316170"/>
                    <a:gd name="connsiteY8" fmla="*/ 549835 h 699587"/>
                    <a:gd name="connsiteX9" fmla="*/ 2271137 w 2316170"/>
                    <a:gd name="connsiteY9" fmla="*/ 687948 h 699587"/>
                    <a:gd name="connsiteX10" fmla="*/ 1742499 w 2316170"/>
                    <a:gd name="connsiteY10" fmla="*/ 687948 h 699587"/>
                    <a:gd name="connsiteX11" fmla="*/ 1285299 w 2316170"/>
                    <a:gd name="connsiteY11" fmla="*/ 673660 h 699587"/>
                    <a:gd name="connsiteX12" fmla="*/ 23237 w 2316170"/>
                    <a:gd name="connsiteY12" fmla="*/ 654610 h 699587"/>
                    <a:gd name="connsiteX13" fmla="*/ 13712 w 2316170"/>
                    <a:gd name="connsiteY13" fmla="*/ 554598 h 699587"/>
                    <a:gd name="connsiteX14" fmla="*/ 123250 w 2316170"/>
                    <a:gd name="connsiteY14" fmla="*/ 516498 h 699587"/>
                    <a:gd name="connsiteX15" fmla="*/ 813812 w 2316170"/>
                    <a:gd name="connsiteY15" fmla="*/ 535548 h 699587"/>
                    <a:gd name="connsiteX16" fmla="*/ 999549 w 2316170"/>
                    <a:gd name="connsiteY16" fmla="*/ 530786 h 699587"/>
                    <a:gd name="connsiteX17" fmla="*/ 1037649 w 2316170"/>
                    <a:gd name="connsiteY17" fmla="*/ 430773 h 699587"/>
                    <a:gd name="connsiteX18" fmla="*/ 1028124 w 2316170"/>
                    <a:gd name="connsiteY18" fmla="*/ 216460 h 699587"/>
                    <a:gd name="connsiteX19" fmla="*/ 1037649 w 2316170"/>
                    <a:gd name="connsiteY19" fmla="*/ 21198 h 69958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</a:cxnLst>
                  <a:rect l="l" t="t" r="r" b="b"/>
                  <a:pathLst>
                    <a:path w="2316170" h="699587">
                      <a:moveTo>
                        <a:pt x="1037649" y="21198"/>
                      </a:moveTo>
                      <a:cubicBezTo>
                        <a:pt x="1082099" y="-12933"/>
                        <a:pt x="1252755" y="2148"/>
                        <a:pt x="1294824" y="11673"/>
                      </a:cubicBezTo>
                      <a:cubicBezTo>
                        <a:pt x="1336893" y="21198"/>
                        <a:pt x="1292443" y="9292"/>
                        <a:pt x="1290062" y="78348"/>
                      </a:cubicBezTo>
                      <a:cubicBezTo>
                        <a:pt x="1287681" y="147404"/>
                        <a:pt x="1279743" y="350604"/>
                        <a:pt x="1280537" y="426010"/>
                      </a:cubicBezTo>
                      <a:cubicBezTo>
                        <a:pt x="1280774" y="432897"/>
                        <a:pt x="1290479" y="530475"/>
                        <a:pt x="1294824" y="530785"/>
                      </a:cubicBezTo>
                      <a:lnTo>
                        <a:pt x="1361499" y="535548"/>
                      </a:lnTo>
                      <a:lnTo>
                        <a:pt x="1728212" y="545073"/>
                      </a:lnTo>
                      <a:cubicBezTo>
                        <a:pt x="1809101" y="541281"/>
                        <a:pt x="1890137" y="541898"/>
                        <a:pt x="1971099" y="540310"/>
                      </a:cubicBezTo>
                      <a:cubicBezTo>
                        <a:pt x="2077462" y="543485"/>
                        <a:pt x="2240181" y="525229"/>
                        <a:pt x="2290187" y="549835"/>
                      </a:cubicBezTo>
                      <a:cubicBezTo>
                        <a:pt x="2340193" y="574441"/>
                        <a:pt x="2309191" y="674301"/>
                        <a:pt x="2271137" y="687948"/>
                      </a:cubicBezTo>
                      <a:cubicBezTo>
                        <a:pt x="2183700" y="719305"/>
                        <a:pt x="1906805" y="676042"/>
                        <a:pt x="1742499" y="687948"/>
                      </a:cubicBezTo>
                      <a:cubicBezTo>
                        <a:pt x="1578605" y="699824"/>
                        <a:pt x="1571843" y="679216"/>
                        <a:pt x="1285299" y="673660"/>
                      </a:cubicBezTo>
                      <a:lnTo>
                        <a:pt x="23237" y="654610"/>
                      </a:lnTo>
                      <a:cubicBezTo>
                        <a:pt x="-9307" y="663341"/>
                        <a:pt x="-2957" y="577617"/>
                        <a:pt x="13712" y="554598"/>
                      </a:cubicBezTo>
                      <a:cubicBezTo>
                        <a:pt x="30381" y="531579"/>
                        <a:pt x="-10100" y="519673"/>
                        <a:pt x="123250" y="516498"/>
                      </a:cubicBezTo>
                      <a:cubicBezTo>
                        <a:pt x="395067" y="546697"/>
                        <a:pt x="667762" y="533167"/>
                        <a:pt x="813812" y="535548"/>
                      </a:cubicBezTo>
                      <a:cubicBezTo>
                        <a:pt x="959862" y="537929"/>
                        <a:pt x="923349" y="533961"/>
                        <a:pt x="999549" y="530786"/>
                      </a:cubicBezTo>
                      <a:cubicBezTo>
                        <a:pt x="1036855" y="513323"/>
                        <a:pt x="1032887" y="483161"/>
                        <a:pt x="1037649" y="430773"/>
                      </a:cubicBezTo>
                      <a:cubicBezTo>
                        <a:pt x="1042411" y="378385"/>
                        <a:pt x="1028124" y="284722"/>
                        <a:pt x="1028124" y="216460"/>
                      </a:cubicBezTo>
                      <a:cubicBezTo>
                        <a:pt x="1028124" y="148198"/>
                        <a:pt x="993199" y="55329"/>
                        <a:pt x="1037649" y="21198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30" name="Freeform: Shape 129">
                  <a:extLst>
                    <a:ext uri="{FF2B5EF4-FFF2-40B4-BE49-F238E27FC236}">
                      <a16:creationId xmlns:a16="http://schemas.microsoft.com/office/drawing/2014/main" id="{46B28861-69E6-5F9A-9A84-5E18339BE7F1}"/>
                    </a:ext>
                  </a:extLst>
                </p:cNvPr>
                <p:cNvSpPr/>
                <p:nvPr/>
              </p:nvSpPr>
              <p:spPr>
                <a:xfrm>
                  <a:off x="5825943" y="2209357"/>
                  <a:ext cx="4839770" cy="2829294"/>
                </a:xfrm>
                <a:custGeom>
                  <a:avLst/>
                  <a:gdLst>
                    <a:gd name="connsiteX0" fmla="*/ 30011 w 4843311"/>
                    <a:gd name="connsiteY0" fmla="*/ 12700 h 2878067"/>
                    <a:gd name="connsiteX1" fmla="*/ 436411 w 4843311"/>
                    <a:gd name="connsiteY1" fmla="*/ 6350 h 2878067"/>
                    <a:gd name="connsiteX2" fmla="*/ 468161 w 4843311"/>
                    <a:gd name="connsiteY2" fmla="*/ 0 h 2878067"/>
                    <a:gd name="connsiteX3" fmla="*/ 811061 w 4843311"/>
                    <a:gd name="connsiteY3" fmla="*/ 6350 h 2878067"/>
                    <a:gd name="connsiteX4" fmla="*/ 1706411 w 4843311"/>
                    <a:gd name="connsiteY4" fmla="*/ 19050 h 2878067"/>
                    <a:gd name="connsiteX5" fmla="*/ 2258861 w 4843311"/>
                    <a:gd name="connsiteY5" fmla="*/ 31750 h 2878067"/>
                    <a:gd name="connsiteX6" fmla="*/ 4709961 w 4843311"/>
                    <a:gd name="connsiteY6" fmla="*/ 38100 h 2878067"/>
                    <a:gd name="connsiteX7" fmla="*/ 4735361 w 4843311"/>
                    <a:gd name="connsiteY7" fmla="*/ 57150 h 2878067"/>
                    <a:gd name="connsiteX8" fmla="*/ 4792511 w 4843311"/>
                    <a:gd name="connsiteY8" fmla="*/ 82550 h 2878067"/>
                    <a:gd name="connsiteX9" fmla="*/ 4817911 w 4843311"/>
                    <a:gd name="connsiteY9" fmla="*/ 177800 h 2878067"/>
                    <a:gd name="connsiteX10" fmla="*/ 4830611 w 4843311"/>
                    <a:gd name="connsiteY10" fmla="*/ 1371600 h 2878067"/>
                    <a:gd name="connsiteX11" fmla="*/ 4824261 w 4843311"/>
                    <a:gd name="connsiteY11" fmla="*/ 1663700 h 2878067"/>
                    <a:gd name="connsiteX12" fmla="*/ 4817911 w 4843311"/>
                    <a:gd name="connsiteY12" fmla="*/ 1752600 h 2878067"/>
                    <a:gd name="connsiteX13" fmla="*/ 4824261 w 4843311"/>
                    <a:gd name="connsiteY13" fmla="*/ 2470150 h 2878067"/>
                    <a:gd name="connsiteX14" fmla="*/ 4843311 w 4843311"/>
                    <a:gd name="connsiteY14" fmla="*/ 2590800 h 2878067"/>
                    <a:gd name="connsiteX15" fmla="*/ 4836961 w 4843311"/>
                    <a:gd name="connsiteY15" fmla="*/ 2692400 h 2878067"/>
                    <a:gd name="connsiteX16" fmla="*/ 4824261 w 4843311"/>
                    <a:gd name="connsiteY16" fmla="*/ 2749550 h 2878067"/>
                    <a:gd name="connsiteX17" fmla="*/ 4811561 w 4843311"/>
                    <a:gd name="connsiteY17" fmla="*/ 2781300 h 2878067"/>
                    <a:gd name="connsiteX18" fmla="*/ 4786161 w 4843311"/>
                    <a:gd name="connsiteY18" fmla="*/ 2806700 h 2878067"/>
                    <a:gd name="connsiteX19" fmla="*/ 4767111 w 4843311"/>
                    <a:gd name="connsiteY19" fmla="*/ 2813050 h 2878067"/>
                    <a:gd name="connsiteX20" fmla="*/ 4697261 w 4843311"/>
                    <a:gd name="connsiteY20" fmla="*/ 2819400 h 2878067"/>
                    <a:gd name="connsiteX21" fmla="*/ 4633761 w 4843311"/>
                    <a:gd name="connsiteY21" fmla="*/ 2825750 h 2878067"/>
                    <a:gd name="connsiteX22" fmla="*/ 4614711 w 4843311"/>
                    <a:gd name="connsiteY22" fmla="*/ 2832100 h 2878067"/>
                    <a:gd name="connsiteX23" fmla="*/ 3312961 w 4843311"/>
                    <a:gd name="connsiteY23" fmla="*/ 2838450 h 2878067"/>
                    <a:gd name="connsiteX24" fmla="*/ 2900211 w 4843311"/>
                    <a:gd name="connsiteY24" fmla="*/ 2819400 h 2878067"/>
                    <a:gd name="connsiteX25" fmla="*/ 2836711 w 4843311"/>
                    <a:gd name="connsiteY25" fmla="*/ 2813050 h 2878067"/>
                    <a:gd name="connsiteX26" fmla="*/ 2779561 w 4843311"/>
                    <a:gd name="connsiteY26" fmla="*/ 2806700 h 2878067"/>
                    <a:gd name="connsiteX27" fmla="*/ 2601761 w 4843311"/>
                    <a:gd name="connsiteY27" fmla="*/ 2800350 h 2878067"/>
                    <a:gd name="connsiteX28" fmla="*/ 1674661 w 4843311"/>
                    <a:gd name="connsiteY28" fmla="*/ 2806700 h 2878067"/>
                    <a:gd name="connsiteX29" fmla="*/ 1623861 w 4843311"/>
                    <a:gd name="connsiteY29" fmla="*/ 2813050 h 2878067"/>
                    <a:gd name="connsiteX30" fmla="*/ 1547661 w 4843311"/>
                    <a:gd name="connsiteY30" fmla="*/ 2819400 h 2878067"/>
                    <a:gd name="connsiteX31" fmla="*/ 61761 w 4843311"/>
                    <a:gd name="connsiteY31" fmla="*/ 2819400 h 2878067"/>
                    <a:gd name="connsiteX32" fmla="*/ 55411 w 4843311"/>
                    <a:gd name="connsiteY32" fmla="*/ 2800350 h 2878067"/>
                    <a:gd name="connsiteX33" fmla="*/ 49061 w 4843311"/>
                    <a:gd name="connsiteY33" fmla="*/ 2768600 h 2878067"/>
                    <a:gd name="connsiteX34" fmla="*/ 36361 w 4843311"/>
                    <a:gd name="connsiteY34" fmla="*/ 2628900 h 2878067"/>
                    <a:gd name="connsiteX35" fmla="*/ 23661 w 4843311"/>
                    <a:gd name="connsiteY35" fmla="*/ 2559050 h 2878067"/>
                    <a:gd name="connsiteX36" fmla="*/ 17311 w 4843311"/>
                    <a:gd name="connsiteY36" fmla="*/ 1263650 h 2878067"/>
                    <a:gd name="connsiteX37" fmla="*/ 23661 w 4843311"/>
                    <a:gd name="connsiteY37" fmla="*/ 1073150 h 2878067"/>
                    <a:gd name="connsiteX38" fmla="*/ 30011 w 4843311"/>
                    <a:gd name="connsiteY38" fmla="*/ 44450 h 2878067"/>
                    <a:gd name="connsiteX39" fmla="*/ 30011 w 4843311"/>
                    <a:gd name="connsiteY39" fmla="*/ 12700 h 2878067"/>
                    <a:gd name="connsiteX0" fmla="*/ 30011 w 4843311"/>
                    <a:gd name="connsiteY0" fmla="*/ 7573 h 2872940"/>
                    <a:gd name="connsiteX1" fmla="*/ 436411 w 4843311"/>
                    <a:gd name="connsiteY1" fmla="*/ 1223 h 2872940"/>
                    <a:gd name="connsiteX2" fmla="*/ 811061 w 4843311"/>
                    <a:gd name="connsiteY2" fmla="*/ 1223 h 2872940"/>
                    <a:gd name="connsiteX3" fmla="*/ 1706411 w 4843311"/>
                    <a:gd name="connsiteY3" fmla="*/ 13923 h 2872940"/>
                    <a:gd name="connsiteX4" fmla="*/ 2258861 w 4843311"/>
                    <a:gd name="connsiteY4" fmla="*/ 26623 h 2872940"/>
                    <a:gd name="connsiteX5" fmla="*/ 4709961 w 4843311"/>
                    <a:gd name="connsiteY5" fmla="*/ 32973 h 2872940"/>
                    <a:gd name="connsiteX6" fmla="*/ 4735361 w 4843311"/>
                    <a:gd name="connsiteY6" fmla="*/ 52023 h 2872940"/>
                    <a:gd name="connsiteX7" fmla="*/ 4792511 w 4843311"/>
                    <a:gd name="connsiteY7" fmla="*/ 77423 h 2872940"/>
                    <a:gd name="connsiteX8" fmla="*/ 4817911 w 4843311"/>
                    <a:gd name="connsiteY8" fmla="*/ 172673 h 2872940"/>
                    <a:gd name="connsiteX9" fmla="*/ 4830611 w 4843311"/>
                    <a:gd name="connsiteY9" fmla="*/ 1366473 h 2872940"/>
                    <a:gd name="connsiteX10" fmla="*/ 4824261 w 4843311"/>
                    <a:gd name="connsiteY10" fmla="*/ 1658573 h 2872940"/>
                    <a:gd name="connsiteX11" fmla="*/ 4817911 w 4843311"/>
                    <a:gd name="connsiteY11" fmla="*/ 1747473 h 2872940"/>
                    <a:gd name="connsiteX12" fmla="*/ 4824261 w 4843311"/>
                    <a:gd name="connsiteY12" fmla="*/ 2465023 h 2872940"/>
                    <a:gd name="connsiteX13" fmla="*/ 4843311 w 4843311"/>
                    <a:gd name="connsiteY13" fmla="*/ 2585673 h 2872940"/>
                    <a:gd name="connsiteX14" fmla="*/ 4836961 w 4843311"/>
                    <a:gd name="connsiteY14" fmla="*/ 2687273 h 2872940"/>
                    <a:gd name="connsiteX15" fmla="*/ 4824261 w 4843311"/>
                    <a:gd name="connsiteY15" fmla="*/ 2744423 h 2872940"/>
                    <a:gd name="connsiteX16" fmla="*/ 4811561 w 4843311"/>
                    <a:gd name="connsiteY16" fmla="*/ 2776173 h 2872940"/>
                    <a:gd name="connsiteX17" fmla="*/ 4786161 w 4843311"/>
                    <a:gd name="connsiteY17" fmla="*/ 2801573 h 2872940"/>
                    <a:gd name="connsiteX18" fmla="*/ 4767111 w 4843311"/>
                    <a:gd name="connsiteY18" fmla="*/ 2807923 h 2872940"/>
                    <a:gd name="connsiteX19" fmla="*/ 4697261 w 4843311"/>
                    <a:gd name="connsiteY19" fmla="*/ 2814273 h 2872940"/>
                    <a:gd name="connsiteX20" fmla="*/ 4633761 w 4843311"/>
                    <a:gd name="connsiteY20" fmla="*/ 2820623 h 2872940"/>
                    <a:gd name="connsiteX21" fmla="*/ 4614711 w 4843311"/>
                    <a:gd name="connsiteY21" fmla="*/ 2826973 h 2872940"/>
                    <a:gd name="connsiteX22" fmla="*/ 3312961 w 4843311"/>
                    <a:gd name="connsiteY22" fmla="*/ 2833323 h 2872940"/>
                    <a:gd name="connsiteX23" fmla="*/ 2900211 w 4843311"/>
                    <a:gd name="connsiteY23" fmla="*/ 2814273 h 2872940"/>
                    <a:gd name="connsiteX24" fmla="*/ 2836711 w 4843311"/>
                    <a:gd name="connsiteY24" fmla="*/ 2807923 h 2872940"/>
                    <a:gd name="connsiteX25" fmla="*/ 2779561 w 4843311"/>
                    <a:gd name="connsiteY25" fmla="*/ 2801573 h 2872940"/>
                    <a:gd name="connsiteX26" fmla="*/ 2601761 w 4843311"/>
                    <a:gd name="connsiteY26" fmla="*/ 2795223 h 2872940"/>
                    <a:gd name="connsiteX27" fmla="*/ 1674661 w 4843311"/>
                    <a:gd name="connsiteY27" fmla="*/ 2801573 h 2872940"/>
                    <a:gd name="connsiteX28" fmla="*/ 1623861 w 4843311"/>
                    <a:gd name="connsiteY28" fmla="*/ 2807923 h 2872940"/>
                    <a:gd name="connsiteX29" fmla="*/ 1547661 w 4843311"/>
                    <a:gd name="connsiteY29" fmla="*/ 2814273 h 2872940"/>
                    <a:gd name="connsiteX30" fmla="*/ 61761 w 4843311"/>
                    <a:gd name="connsiteY30" fmla="*/ 2814273 h 2872940"/>
                    <a:gd name="connsiteX31" fmla="*/ 55411 w 4843311"/>
                    <a:gd name="connsiteY31" fmla="*/ 2795223 h 2872940"/>
                    <a:gd name="connsiteX32" fmla="*/ 49061 w 4843311"/>
                    <a:gd name="connsiteY32" fmla="*/ 2763473 h 2872940"/>
                    <a:gd name="connsiteX33" fmla="*/ 36361 w 4843311"/>
                    <a:gd name="connsiteY33" fmla="*/ 2623773 h 2872940"/>
                    <a:gd name="connsiteX34" fmla="*/ 23661 w 4843311"/>
                    <a:gd name="connsiteY34" fmla="*/ 2553923 h 2872940"/>
                    <a:gd name="connsiteX35" fmla="*/ 17311 w 4843311"/>
                    <a:gd name="connsiteY35" fmla="*/ 1258523 h 2872940"/>
                    <a:gd name="connsiteX36" fmla="*/ 23661 w 4843311"/>
                    <a:gd name="connsiteY36" fmla="*/ 1068023 h 2872940"/>
                    <a:gd name="connsiteX37" fmla="*/ 30011 w 4843311"/>
                    <a:gd name="connsiteY37" fmla="*/ 39323 h 2872940"/>
                    <a:gd name="connsiteX38" fmla="*/ 30011 w 4843311"/>
                    <a:gd name="connsiteY38" fmla="*/ 7573 h 2872940"/>
                    <a:gd name="connsiteX0" fmla="*/ 30011 w 4916906"/>
                    <a:gd name="connsiteY0" fmla="*/ 7573 h 2872940"/>
                    <a:gd name="connsiteX1" fmla="*/ 436411 w 4916906"/>
                    <a:gd name="connsiteY1" fmla="*/ 1223 h 2872940"/>
                    <a:gd name="connsiteX2" fmla="*/ 811061 w 4916906"/>
                    <a:gd name="connsiteY2" fmla="*/ 1223 h 2872940"/>
                    <a:gd name="connsiteX3" fmla="*/ 1706411 w 4916906"/>
                    <a:gd name="connsiteY3" fmla="*/ 13923 h 2872940"/>
                    <a:gd name="connsiteX4" fmla="*/ 2258861 w 4916906"/>
                    <a:gd name="connsiteY4" fmla="*/ 26623 h 2872940"/>
                    <a:gd name="connsiteX5" fmla="*/ 4709961 w 4916906"/>
                    <a:gd name="connsiteY5" fmla="*/ 32973 h 2872940"/>
                    <a:gd name="connsiteX6" fmla="*/ 4792511 w 4916906"/>
                    <a:gd name="connsiteY6" fmla="*/ 77423 h 2872940"/>
                    <a:gd name="connsiteX7" fmla="*/ 4817911 w 4916906"/>
                    <a:gd name="connsiteY7" fmla="*/ 172673 h 2872940"/>
                    <a:gd name="connsiteX8" fmla="*/ 4830611 w 4916906"/>
                    <a:gd name="connsiteY8" fmla="*/ 1366473 h 2872940"/>
                    <a:gd name="connsiteX9" fmla="*/ 4824261 w 4916906"/>
                    <a:gd name="connsiteY9" fmla="*/ 1658573 h 2872940"/>
                    <a:gd name="connsiteX10" fmla="*/ 4817911 w 4916906"/>
                    <a:gd name="connsiteY10" fmla="*/ 1747473 h 2872940"/>
                    <a:gd name="connsiteX11" fmla="*/ 4824261 w 4916906"/>
                    <a:gd name="connsiteY11" fmla="*/ 2465023 h 2872940"/>
                    <a:gd name="connsiteX12" fmla="*/ 4843311 w 4916906"/>
                    <a:gd name="connsiteY12" fmla="*/ 2585673 h 2872940"/>
                    <a:gd name="connsiteX13" fmla="*/ 4836961 w 4916906"/>
                    <a:gd name="connsiteY13" fmla="*/ 2687273 h 2872940"/>
                    <a:gd name="connsiteX14" fmla="*/ 4824261 w 4916906"/>
                    <a:gd name="connsiteY14" fmla="*/ 2744423 h 2872940"/>
                    <a:gd name="connsiteX15" fmla="*/ 4811561 w 4916906"/>
                    <a:gd name="connsiteY15" fmla="*/ 2776173 h 2872940"/>
                    <a:gd name="connsiteX16" fmla="*/ 4786161 w 4916906"/>
                    <a:gd name="connsiteY16" fmla="*/ 2801573 h 2872940"/>
                    <a:gd name="connsiteX17" fmla="*/ 4767111 w 4916906"/>
                    <a:gd name="connsiteY17" fmla="*/ 2807923 h 2872940"/>
                    <a:gd name="connsiteX18" fmla="*/ 4697261 w 4916906"/>
                    <a:gd name="connsiteY18" fmla="*/ 2814273 h 2872940"/>
                    <a:gd name="connsiteX19" fmla="*/ 4633761 w 4916906"/>
                    <a:gd name="connsiteY19" fmla="*/ 2820623 h 2872940"/>
                    <a:gd name="connsiteX20" fmla="*/ 4614711 w 4916906"/>
                    <a:gd name="connsiteY20" fmla="*/ 2826973 h 2872940"/>
                    <a:gd name="connsiteX21" fmla="*/ 3312961 w 4916906"/>
                    <a:gd name="connsiteY21" fmla="*/ 2833323 h 2872940"/>
                    <a:gd name="connsiteX22" fmla="*/ 2900211 w 4916906"/>
                    <a:gd name="connsiteY22" fmla="*/ 2814273 h 2872940"/>
                    <a:gd name="connsiteX23" fmla="*/ 2836711 w 4916906"/>
                    <a:gd name="connsiteY23" fmla="*/ 2807923 h 2872940"/>
                    <a:gd name="connsiteX24" fmla="*/ 2779561 w 4916906"/>
                    <a:gd name="connsiteY24" fmla="*/ 2801573 h 2872940"/>
                    <a:gd name="connsiteX25" fmla="*/ 2601761 w 4916906"/>
                    <a:gd name="connsiteY25" fmla="*/ 2795223 h 2872940"/>
                    <a:gd name="connsiteX26" fmla="*/ 1674661 w 4916906"/>
                    <a:gd name="connsiteY26" fmla="*/ 2801573 h 2872940"/>
                    <a:gd name="connsiteX27" fmla="*/ 1623861 w 4916906"/>
                    <a:gd name="connsiteY27" fmla="*/ 2807923 h 2872940"/>
                    <a:gd name="connsiteX28" fmla="*/ 1547661 w 4916906"/>
                    <a:gd name="connsiteY28" fmla="*/ 2814273 h 2872940"/>
                    <a:gd name="connsiteX29" fmla="*/ 61761 w 4916906"/>
                    <a:gd name="connsiteY29" fmla="*/ 2814273 h 2872940"/>
                    <a:gd name="connsiteX30" fmla="*/ 55411 w 4916906"/>
                    <a:gd name="connsiteY30" fmla="*/ 2795223 h 2872940"/>
                    <a:gd name="connsiteX31" fmla="*/ 49061 w 4916906"/>
                    <a:gd name="connsiteY31" fmla="*/ 2763473 h 2872940"/>
                    <a:gd name="connsiteX32" fmla="*/ 36361 w 4916906"/>
                    <a:gd name="connsiteY32" fmla="*/ 2623773 h 2872940"/>
                    <a:gd name="connsiteX33" fmla="*/ 23661 w 4916906"/>
                    <a:gd name="connsiteY33" fmla="*/ 2553923 h 2872940"/>
                    <a:gd name="connsiteX34" fmla="*/ 17311 w 4916906"/>
                    <a:gd name="connsiteY34" fmla="*/ 1258523 h 2872940"/>
                    <a:gd name="connsiteX35" fmla="*/ 23661 w 4916906"/>
                    <a:gd name="connsiteY35" fmla="*/ 1068023 h 2872940"/>
                    <a:gd name="connsiteX36" fmla="*/ 30011 w 4916906"/>
                    <a:gd name="connsiteY36" fmla="*/ 39323 h 2872940"/>
                    <a:gd name="connsiteX37" fmla="*/ 30011 w 4916906"/>
                    <a:gd name="connsiteY37" fmla="*/ 7573 h 2872940"/>
                    <a:gd name="connsiteX0" fmla="*/ 30011 w 4926498"/>
                    <a:gd name="connsiteY0" fmla="*/ 7573 h 2872940"/>
                    <a:gd name="connsiteX1" fmla="*/ 436411 w 4926498"/>
                    <a:gd name="connsiteY1" fmla="*/ 1223 h 2872940"/>
                    <a:gd name="connsiteX2" fmla="*/ 811061 w 4926498"/>
                    <a:gd name="connsiteY2" fmla="*/ 1223 h 2872940"/>
                    <a:gd name="connsiteX3" fmla="*/ 1706411 w 4926498"/>
                    <a:gd name="connsiteY3" fmla="*/ 13923 h 2872940"/>
                    <a:gd name="connsiteX4" fmla="*/ 2258861 w 4926498"/>
                    <a:gd name="connsiteY4" fmla="*/ 26623 h 2872940"/>
                    <a:gd name="connsiteX5" fmla="*/ 4709961 w 4926498"/>
                    <a:gd name="connsiteY5" fmla="*/ 32973 h 2872940"/>
                    <a:gd name="connsiteX6" fmla="*/ 4817911 w 4926498"/>
                    <a:gd name="connsiteY6" fmla="*/ 172673 h 2872940"/>
                    <a:gd name="connsiteX7" fmla="*/ 4830611 w 4926498"/>
                    <a:gd name="connsiteY7" fmla="*/ 1366473 h 2872940"/>
                    <a:gd name="connsiteX8" fmla="*/ 4824261 w 4926498"/>
                    <a:gd name="connsiteY8" fmla="*/ 1658573 h 2872940"/>
                    <a:gd name="connsiteX9" fmla="*/ 4817911 w 4926498"/>
                    <a:gd name="connsiteY9" fmla="*/ 1747473 h 2872940"/>
                    <a:gd name="connsiteX10" fmla="*/ 4824261 w 4926498"/>
                    <a:gd name="connsiteY10" fmla="*/ 2465023 h 2872940"/>
                    <a:gd name="connsiteX11" fmla="*/ 4843311 w 4926498"/>
                    <a:gd name="connsiteY11" fmla="*/ 2585673 h 2872940"/>
                    <a:gd name="connsiteX12" fmla="*/ 4836961 w 4926498"/>
                    <a:gd name="connsiteY12" fmla="*/ 2687273 h 2872940"/>
                    <a:gd name="connsiteX13" fmla="*/ 4824261 w 4926498"/>
                    <a:gd name="connsiteY13" fmla="*/ 2744423 h 2872940"/>
                    <a:gd name="connsiteX14" fmla="*/ 4811561 w 4926498"/>
                    <a:gd name="connsiteY14" fmla="*/ 2776173 h 2872940"/>
                    <a:gd name="connsiteX15" fmla="*/ 4786161 w 4926498"/>
                    <a:gd name="connsiteY15" fmla="*/ 2801573 h 2872940"/>
                    <a:gd name="connsiteX16" fmla="*/ 4767111 w 4926498"/>
                    <a:gd name="connsiteY16" fmla="*/ 2807923 h 2872940"/>
                    <a:gd name="connsiteX17" fmla="*/ 4697261 w 4926498"/>
                    <a:gd name="connsiteY17" fmla="*/ 2814273 h 2872940"/>
                    <a:gd name="connsiteX18" fmla="*/ 4633761 w 4926498"/>
                    <a:gd name="connsiteY18" fmla="*/ 2820623 h 2872940"/>
                    <a:gd name="connsiteX19" fmla="*/ 4614711 w 4926498"/>
                    <a:gd name="connsiteY19" fmla="*/ 2826973 h 2872940"/>
                    <a:gd name="connsiteX20" fmla="*/ 3312961 w 4926498"/>
                    <a:gd name="connsiteY20" fmla="*/ 2833323 h 2872940"/>
                    <a:gd name="connsiteX21" fmla="*/ 2900211 w 4926498"/>
                    <a:gd name="connsiteY21" fmla="*/ 2814273 h 2872940"/>
                    <a:gd name="connsiteX22" fmla="*/ 2836711 w 4926498"/>
                    <a:gd name="connsiteY22" fmla="*/ 2807923 h 2872940"/>
                    <a:gd name="connsiteX23" fmla="*/ 2779561 w 4926498"/>
                    <a:gd name="connsiteY23" fmla="*/ 2801573 h 2872940"/>
                    <a:gd name="connsiteX24" fmla="*/ 2601761 w 4926498"/>
                    <a:gd name="connsiteY24" fmla="*/ 2795223 h 2872940"/>
                    <a:gd name="connsiteX25" fmla="*/ 1674661 w 4926498"/>
                    <a:gd name="connsiteY25" fmla="*/ 2801573 h 2872940"/>
                    <a:gd name="connsiteX26" fmla="*/ 1623861 w 4926498"/>
                    <a:gd name="connsiteY26" fmla="*/ 2807923 h 2872940"/>
                    <a:gd name="connsiteX27" fmla="*/ 1547661 w 4926498"/>
                    <a:gd name="connsiteY27" fmla="*/ 2814273 h 2872940"/>
                    <a:gd name="connsiteX28" fmla="*/ 61761 w 4926498"/>
                    <a:gd name="connsiteY28" fmla="*/ 2814273 h 2872940"/>
                    <a:gd name="connsiteX29" fmla="*/ 55411 w 4926498"/>
                    <a:gd name="connsiteY29" fmla="*/ 2795223 h 2872940"/>
                    <a:gd name="connsiteX30" fmla="*/ 49061 w 4926498"/>
                    <a:gd name="connsiteY30" fmla="*/ 2763473 h 2872940"/>
                    <a:gd name="connsiteX31" fmla="*/ 36361 w 4926498"/>
                    <a:gd name="connsiteY31" fmla="*/ 2623773 h 2872940"/>
                    <a:gd name="connsiteX32" fmla="*/ 23661 w 4926498"/>
                    <a:gd name="connsiteY32" fmla="*/ 2553923 h 2872940"/>
                    <a:gd name="connsiteX33" fmla="*/ 17311 w 4926498"/>
                    <a:gd name="connsiteY33" fmla="*/ 1258523 h 2872940"/>
                    <a:gd name="connsiteX34" fmla="*/ 23661 w 4926498"/>
                    <a:gd name="connsiteY34" fmla="*/ 1068023 h 2872940"/>
                    <a:gd name="connsiteX35" fmla="*/ 30011 w 4926498"/>
                    <a:gd name="connsiteY35" fmla="*/ 39323 h 2872940"/>
                    <a:gd name="connsiteX36" fmla="*/ 30011 w 4926498"/>
                    <a:gd name="connsiteY36" fmla="*/ 7573 h 2872940"/>
                    <a:gd name="connsiteX0" fmla="*/ 30011 w 4976706"/>
                    <a:gd name="connsiteY0" fmla="*/ 7573 h 2872940"/>
                    <a:gd name="connsiteX1" fmla="*/ 436411 w 4976706"/>
                    <a:gd name="connsiteY1" fmla="*/ 1223 h 2872940"/>
                    <a:gd name="connsiteX2" fmla="*/ 811061 w 4976706"/>
                    <a:gd name="connsiteY2" fmla="*/ 1223 h 2872940"/>
                    <a:gd name="connsiteX3" fmla="*/ 1706411 w 4976706"/>
                    <a:gd name="connsiteY3" fmla="*/ 13923 h 2872940"/>
                    <a:gd name="connsiteX4" fmla="*/ 2258861 w 4976706"/>
                    <a:gd name="connsiteY4" fmla="*/ 26623 h 2872940"/>
                    <a:gd name="connsiteX5" fmla="*/ 4709961 w 4976706"/>
                    <a:gd name="connsiteY5" fmla="*/ 32973 h 2872940"/>
                    <a:gd name="connsiteX6" fmla="*/ 4817911 w 4976706"/>
                    <a:gd name="connsiteY6" fmla="*/ 172673 h 2872940"/>
                    <a:gd name="connsiteX7" fmla="*/ 4830611 w 4976706"/>
                    <a:gd name="connsiteY7" fmla="*/ 1366473 h 2872940"/>
                    <a:gd name="connsiteX8" fmla="*/ 4824261 w 4976706"/>
                    <a:gd name="connsiteY8" fmla="*/ 1658573 h 2872940"/>
                    <a:gd name="connsiteX9" fmla="*/ 4817911 w 4976706"/>
                    <a:gd name="connsiteY9" fmla="*/ 1747473 h 2872940"/>
                    <a:gd name="connsiteX10" fmla="*/ 4824261 w 4976706"/>
                    <a:gd name="connsiteY10" fmla="*/ 2465023 h 2872940"/>
                    <a:gd name="connsiteX11" fmla="*/ 4843311 w 4976706"/>
                    <a:gd name="connsiteY11" fmla="*/ 2585673 h 2872940"/>
                    <a:gd name="connsiteX12" fmla="*/ 4836961 w 4976706"/>
                    <a:gd name="connsiteY12" fmla="*/ 2687273 h 2872940"/>
                    <a:gd name="connsiteX13" fmla="*/ 4824261 w 4976706"/>
                    <a:gd name="connsiteY13" fmla="*/ 2744423 h 2872940"/>
                    <a:gd name="connsiteX14" fmla="*/ 4811561 w 4976706"/>
                    <a:gd name="connsiteY14" fmla="*/ 2776173 h 2872940"/>
                    <a:gd name="connsiteX15" fmla="*/ 4786161 w 4976706"/>
                    <a:gd name="connsiteY15" fmla="*/ 2801573 h 2872940"/>
                    <a:gd name="connsiteX16" fmla="*/ 4767111 w 4976706"/>
                    <a:gd name="connsiteY16" fmla="*/ 2807923 h 2872940"/>
                    <a:gd name="connsiteX17" fmla="*/ 4697261 w 4976706"/>
                    <a:gd name="connsiteY17" fmla="*/ 2814273 h 2872940"/>
                    <a:gd name="connsiteX18" fmla="*/ 4633761 w 4976706"/>
                    <a:gd name="connsiteY18" fmla="*/ 2820623 h 2872940"/>
                    <a:gd name="connsiteX19" fmla="*/ 4614711 w 4976706"/>
                    <a:gd name="connsiteY19" fmla="*/ 2826973 h 2872940"/>
                    <a:gd name="connsiteX20" fmla="*/ 3312961 w 4976706"/>
                    <a:gd name="connsiteY20" fmla="*/ 2833323 h 2872940"/>
                    <a:gd name="connsiteX21" fmla="*/ 2900211 w 4976706"/>
                    <a:gd name="connsiteY21" fmla="*/ 2814273 h 2872940"/>
                    <a:gd name="connsiteX22" fmla="*/ 2836711 w 4976706"/>
                    <a:gd name="connsiteY22" fmla="*/ 2807923 h 2872940"/>
                    <a:gd name="connsiteX23" fmla="*/ 2779561 w 4976706"/>
                    <a:gd name="connsiteY23" fmla="*/ 2801573 h 2872940"/>
                    <a:gd name="connsiteX24" fmla="*/ 2601761 w 4976706"/>
                    <a:gd name="connsiteY24" fmla="*/ 2795223 h 2872940"/>
                    <a:gd name="connsiteX25" fmla="*/ 1674661 w 4976706"/>
                    <a:gd name="connsiteY25" fmla="*/ 2801573 h 2872940"/>
                    <a:gd name="connsiteX26" fmla="*/ 1623861 w 4976706"/>
                    <a:gd name="connsiteY26" fmla="*/ 2807923 h 2872940"/>
                    <a:gd name="connsiteX27" fmla="*/ 1547661 w 4976706"/>
                    <a:gd name="connsiteY27" fmla="*/ 2814273 h 2872940"/>
                    <a:gd name="connsiteX28" fmla="*/ 61761 w 4976706"/>
                    <a:gd name="connsiteY28" fmla="*/ 2814273 h 2872940"/>
                    <a:gd name="connsiteX29" fmla="*/ 55411 w 4976706"/>
                    <a:gd name="connsiteY29" fmla="*/ 2795223 h 2872940"/>
                    <a:gd name="connsiteX30" fmla="*/ 49061 w 4976706"/>
                    <a:gd name="connsiteY30" fmla="*/ 2763473 h 2872940"/>
                    <a:gd name="connsiteX31" fmla="*/ 36361 w 4976706"/>
                    <a:gd name="connsiteY31" fmla="*/ 2623773 h 2872940"/>
                    <a:gd name="connsiteX32" fmla="*/ 23661 w 4976706"/>
                    <a:gd name="connsiteY32" fmla="*/ 2553923 h 2872940"/>
                    <a:gd name="connsiteX33" fmla="*/ 17311 w 4976706"/>
                    <a:gd name="connsiteY33" fmla="*/ 1258523 h 2872940"/>
                    <a:gd name="connsiteX34" fmla="*/ 23661 w 4976706"/>
                    <a:gd name="connsiteY34" fmla="*/ 1068023 h 2872940"/>
                    <a:gd name="connsiteX35" fmla="*/ 30011 w 4976706"/>
                    <a:gd name="connsiteY35" fmla="*/ 39323 h 2872940"/>
                    <a:gd name="connsiteX36" fmla="*/ 30011 w 4976706"/>
                    <a:gd name="connsiteY36" fmla="*/ 7573 h 2872940"/>
                    <a:gd name="connsiteX0" fmla="*/ 30011 w 4982571"/>
                    <a:gd name="connsiteY0" fmla="*/ 7573 h 2872940"/>
                    <a:gd name="connsiteX1" fmla="*/ 436411 w 4982571"/>
                    <a:gd name="connsiteY1" fmla="*/ 1223 h 2872940"/>
                    <a:gd name="connsiteX2" fmla="*/ 811061 w 4982571"/>
                    <a:gd name="connsiteY2" fmla="*/ 1223 h 2872940"/>
                    <a:gd name="connsiteX3" fmla="*/ 1706411 w 4982571"/>
                    <a:gd name="connsiteY3" fmla="*/ 13923 h 2872940"/>
                    <a:gd name="connsiteX4" fmla="*/ 2258861 w 4982571"/>
                    <a:gd name="connsiteY4" fmla="*/ 26623 h 2872940"/>
                    <a:gd name="connsiteX5" fmla="*/ 4709961 w 4982571"/>
                    <a:gd name="connsiteY5" fmla="*/ 32973 h 2872940"/>
                    <a:gd name="connsiteX6" fmla="*/ 4830611 w 4982571"/>
                    <a:gd name="connsiteY6" fmla="*/ 534623 h 2872940"/>
                    <a:gd name="connsiteX7" fmla="*/ 4830611 w 4982571"/>
                    <a:gd name="connsiteY7" fmla="*/ 1366473 h 2872940"/>
                    <a:gd name="connsiteX8" fmla="*/ 4824261 w 4982571"/>
                    <a:gd name="connsiteY8" fmla="*/ 1658573 h 2872940"/>
                    <a:gd name="connsiteX9" fmla="*/ 4817911 w 4982571"/>
                    <a:gd name="connsiteY9" fmla="*/ 1747473 h 2872940"/>
                    <a:gd name="connsiteX10" fmla="*/ 4824261 w 4982571"/>
                    <a:gd name="connsiteY10" fmla="*/ 2465023 h 2872940"/>
                    <a:gd name="connsiteX11" fmla="*/ 4843311 w 4982571"/>
                    <a:gd name="connsiteY11" fmla="*/ 2585673 h 2872940"/>
                    <a:gd name="connsiteX12" fmla="*/ 4836961 w 4982571"/>
                    <a:gd name="connsiteY12" fmla="*/ 2687273 h 2872940"/>
                    <a:gd name="connsiteX13" fmla="*/ 4824261 w 4982571"/>
                    <a:gd name="connsiteY13" fmla="*/ 2744423 h 2872940"/>
                    <a:gd name="connsiteX14" fmla="*/ 4811561 w 4982571"/>
                    <a:gd name="connsiteY14" fmla="*/ 2776173 h 2872940"/>
                    <a:gd name="connsiteX15" fmla="*/ 4786161 w 4982571"/>
                    <a:gd name="connsiteY15" fmla="*/ 2801573 h 2872940"/>
                    <a:gd name="connsiteX16" fmla="*/ 4767111 w 4982571"/>
                    <a:gd name="connsiteY16" fmla="*/ 2807923 h 2872940"/>
                    <a:gd name="connsiteX17" fmla="*/ 4697261 w 4982571"/>
                    <a:gd name="connsiteY17" fmla="*/ 2814273 h 2872940"/>
                    <a:gd name="connsiteX18" fmla="*/ 4633761 w 4982571"/>
                    <a:gd name="connsiteY18" fmla="*/ 2820623 h 2872940"/>
                    <a:gd name="connsiteX19" fmla="*/ 4614711 w 4982571"/>
                    <a:gd name="connsiteY19" fmla="*/ 2826973 h 2872940"/>
                    <a:gd name="connsiteX20" fmla="*/ 3312961 w 4982571"/>
                    <a:gd name="connsiteY20" fmla="*/ 2833323 h 2872940"/>
                    <a:gd name="connsiteX21" fmla="*/ 2900211 w 4982571"/>
                    <a:gd name="connsiteY21" fmla="*/ 2814273 h 2872940"/>
                    <a:gd name="connsiteX22" fmla="*/ 2836711 w 4982571"/>
                    <a:gd name="connsiteY22" fmla="*/ 2807923 h 2872940"/>
                    <a:gd name="connsiteX23" fmla="*/ 2779561 w 4982571"/>
                    <a:gd name="connsiteY23" fmla="*/ 2801573 h 2872940"/>
                    <a:gd name="connsiteX24" fmla="*/ 2601761 w 4982571"/>
                    <a:gd name="connsiteY24" fmla="*/ 2795223 h 2872940"/>
                    <a:gd name="connsiteX25" fmla="*/ 1674661 w 4982571"/>
                    <a:gd name="connsiteY25" fmla="*/ 2801573 h 2872940"/>
                    <a:gd name="connsiteX26" fmla="*/ 1623861 w 4982571"/>
                    <a:gd name="connsiteY26" fmla="*/ 2807923 h 2872940"/>
                    <a:gd name="connsiteX27" fmla="*/ 1547661 w 4982571"/>
                    <a:gd name="connsiteY27" fmla="*/ 2814273 h 2872940"/>
                    <a:gd name="connsiteX28" fmla="*/ 61761 w 4982571"/>
                    <a:gd name="connsiteY28" fmla="*/ 2814273 h 2872940"/>
                    <a:gd name="connsiteX29" fmla="*/ 55411 w 4982571"/>
                    <a:gd name="connsiteY29" fmla="*/ 2795223 h 2872940"/>
                    <a:gd name="connsiteX30" fmla="*/ 49061 w 4982571"/>
                    <a:gd name="connsiteY30" fmla="*/ 2763473 h 2872940"/>
                    <a:gd name="connsiteX31" fmla="*/ 36361 w 4982571"/>
                    <a:gd name="connsiteY31" fmla="*/ 2623773 h 2872940"/>
                    <a:gd name="connsiteX32" fmla="*/ 23661 w 4982571"/>
                    <a:gd name="connsiteY32" fmla="*/ 2553923 h 2872940"/>
                    <a:gd name="connsiteX33" fmla="*/ 17311 w 4982571"/>
                    <a:gd name="connsiteY33" fmla="*/ 1258523 h 2872940"/>
                    <a:gd name="connsiteX34" fmla="*/ 23661 w 4982571"/>
                    <a:gd name="connsiteY34" fmla="*/ 1068023 h 2872940"/>
                    <a:gd name="connsiteX35" fmla="*/ 30011 w 4982571"/>
                    <a:gd name="connsiteY35" fmla="*/ 39323 h 2872940"/>
                    <a:gd name="connsiteX36" fmla="*/ 30011 w 4982571"/>
                    <a:gd name="connsiteY36" fmla="*/ 7573 h 2872940"/>
                    <a:gd name="connsiteX0" fmla="*/ 30011 w 4934593"/>
                    <a:gd name="connsiteY0" fmla="*/ 7573 h 2872940"/>
                    <a:gd name="connsiteX1" fmla="*/ 436411 w 4934593"/>
                    <a:gd name="connsiteY1" fmla="*/ 1223 h 2872940"/>
                    <a:gd name="connsiteX2" fmla="*/ 811061 w 4934593"/>
                    <a:gd name="connsiteY2" fmla="*/ 1223 h 2872940"/>
                    <a:gd name="connsiteX3" fmla="*/ 1706411 w 4934593"/>
                    <a:gd name="connsiteY3" fmla="*/ 13923 h 2872940"/>
                    <a:gd name="connsiteX4" fmla="*/ 2258861 w 4934593"/>
                    <a:gd name="connsiteY4" fmla="*/ 26623 h 2872940"/>
                    <a:gd name="connsiteX5" fmla="*/ 4709961 w 4934593"/>
                    <a:gd name="connsiteY5" fmla="*/ 32973 h 2872940"/>
                    <a:gd name="connsiteX6" fmla="*/ 4830611 w 4934593"/>
                    <a:gd name="connsiteY6" fmla="*/ 534623 h 2872940"/>
                    <a:gd name="connsiteX7" fmla="*/ 4830611 w 4934593"/>
                    <a:gd name="connsiteY7" fmla="*/ 1366473 h 2872940"/>
                    <a:gd name="connsiteX8" fmla="*/ 4824261 w 4934593"/>
                    <a:gd name="connsiteY8" fmla="*/ 1658573 h 2872940"/>
                    <a:gd name="connsiteX9" fmla="*/ 4817911 w 4934593"/>
                    <a:gd name="connsiteY9" fmla="*/ 1747473 h 2872940"/>
                    <a:gd name="connsiteX10" fmla="*/ 4824261 w 4934593"/>
                    <a:gd name="connsiteY10" fmla="*/ 2465023 h 2872940"/>
                    <a:gd name="connsiteX11" fmla="*/ 4843311 w 4934593"/>
                    <a:gd name="connsiteY11" fmla="*/ 2585673 h 2872940"/>
                    <a:gd name="connsiteX12" fmla="*/ 4836961 w 4934593"/>
                    <a:gd name="connsiteY12" fmla="*/ 2687273 h 2872940"/>
                    <a:gd name="connsiteX13" fmla="*/ 4824261 w 4934593"/>
                    <a:gd name="connsiteY13" fmla="*/ 2744423 h 2872940"/>
                    <a:gd name="connsiteX14" fmla="*/ 4811561 w 4934593"/>
                    <a:gd name="connsiteY14" fmla="*/ 2776173 h 2872940"/>
                    <a:gd name="connsiteX15" fmla="*/ 4786161 w 4934593"/>
                    <a:gd name="connsiteY15" fmla="*/ 2801573 h 2872940"/>
                    <a:gd name="connsiteX16" fmla="*/ 4767111 w 4934593"/>
                    <a:gd name="connsiteY16" fmla="*/ 2807923 h 2872940"/>
                    <a:gd name="connsiteX17" fmla="*/ 4697261 w 4934593"/>
                    <a:gd name="connsiteY17" fmla="*/ 2814273 h 2872940"/>
                    <a:gd name="connsiteX18" fmla="*/ 4633761 w 4934593"/>
                    <a:gd name="connsiteY18" fmla="*/ 2820623 h 2872940"/>
                    <a:gd name="connsiteX19" fmla="*/ 4614711 w 4934593"/>
                    <a:gd name="connsiteY19" fmla="*/ 2826973 h 2872940"/>
                    <a:gd name="connsiteX20" fmla="*/ 3312961 w 4934593"/>
                    <a:gd name="connsiteY20" fmla="*/ 2833323 h 2872940"/>
                    <a:gd name="connsiteX21" fmla="*/ 2900211 w 4934593"/>
                    <a:gd name="connsiteY21" fmla="*/ 2814273 h 2872940"/>
                    <a:gd name="connsiteX22" fmla="*/ 2836711 w 4934593"/>
                    <a:gd name="connsiteY22" fmla="*/ 2807923 h 2872940"/>
                    <a:gd name="connsiteX23" fmla="*/ 2779561 w 4934593"/>
                    <a:gd name="connsiteY23" fmla="*/ 2801573 h 2872940"/>
                    <a:gd name="connsiteX24" fmla="*/ 2601761 w 4934593"/>
                    <a:gd name="connsiteY24" fmla="*/ 2795223 h 2872940"/>
                    <a:gd name="connsiteX25" fmla="*/ 1674661 w 4934593"/>
                    <a:gd name="connsiteY25" fmla="*/ 2801573 h 2872940"/>
                    <a:gd name="connsiteX26" fmla="*/ 1623861 w 4934593"/>
                    <a:gd name="connsiteY26" fmla="*/ 2807923 h 2872940"/>
                    <a:gd name="connsiteX27" fmla="*/ 1547661 w 4934593"/>
                    <a:gd name="connsiteY27" fmla="*/ 2814273 h 2872940"/>
                    <a:gd name="connsiteX28" fmla="*/ 61761 w 4934593"/>
                    <a:gd name="connsiteY28" fmla="*/ 2814273 h 2872940"/>
                    <a:gd name="connsiteX29" fmla="*/ 55411 w 4934593"/>
                    <a:gd name="connsiteY29" fmla="*/ 2795223 h 2872940"/>
                    <a:gd name="connsiteX30" fmla="*/ 49061 w 4934593"/>
                    <a:gd name="connsiteY30" fmla="*/ 2763473 h 2872940"/>
                    <a:gd name="connsiteX31" fmla="*/ 36361 w 4934593"/>
                    <a:gd name="connsiteY31" fmla="*/ 2623773 h 2872940"/>
                    <a:gd name="connsiteX32" fmla="*/ 23661 w 4934593"/>
                    <a:gd name="connsiteY32" fmla="*/ 2553923 h 2872940"/>
                    <a:gd name="connsiteX33" fmla="*/ 17311 w 4934593"/>
                    <a:gd name="connsiteY33" fmla="*/ 1258523 h 2872940"/>
                    <a:gd name="connsiteX34" fmla="*/ 23661 w 4934593"/>
                    <a:gd name="connsiteY34" fmla="*/ 1068023 h 2872940"/>
                    <a:gd name="connsiteX35" fmla="*/ 30011 w 4934593"/>
                    <a:gd name="connsiteY35" fmla="*/ 39323 h 2872940"/>
                    <a:gd name="connsiteX36" fmla="*/ 30011 w 4934593"/>
                    <a:gd name="connsiteY36" fmla="*/ 7573 h 2872940"/>
                    <a:gd name="connsiteX0" fmla="*/ 30011 w 4849458"/>
                    <a:gd name="connsiteY0" fmla="*/ 7573 h 2872940"/>
                    <a:gd name="connsiteX1" fmla="*/ 436411 w 4849458"/>
                    <a:gd name="connsiteY1" fmla="*/ 1223 h 2872940"/>
                    <a:gd name="connsiteX2" fmla="*/ 811061 w 4849458"/>
                    <a:gd name="connsiteY2" fmla="*/ 1223 h 2872940"/>
                    <a:gd name="connsiteX3" fmla="*/ 1706411 w 4849458"/>
                    <a:gd name="connsiteY3" fmla="*/ 13923 h 2872940"/>
                    <a:gd name="connsiteX4" fmla="*/ 2258861 w 4849458"/>
                    <a:gd name="connsiteY4" fmla="*/ 26623 h 2872940"/>
                    <a:gd name="connsiteX5" fmla="*/ 4563911 w 4849458"/>
                    <a:gd name="connsiteY5" fmla="*/ 13923 h 2872940"/>
                    <a:gd name="connsiteX6" fmla="*/ 4830611 w 4849458"/>
                    <a:gd name="connsiteY6" fmla="*/ 534623 h 2872940"/>
                    <a:gd name="connsiteX7" fmla="*/ 4830611 w 4849458"/>
                    <a:gd name="connsiteY7" fmla="*/ 1366473 h 2872940"/>
                    <a:gd name="connsiteX8" fmla="*/ 4824261 w 4849458"/>
                    <a:gd name="connsiteY8" fmla="*/ 1658573 h 2872940"/>
                    <a:gd name="connsiteX9" fmla="*/ 4817911 w 4849458"/>
                    <a:gd name="connsiteY9" fmla="*/ 1747473 h 2872940"/>
                    <a:gd name="connsiteX10" fmla="*/ 4824261 w 4849458"/>
                    <a:gd name="connsiteY10" fmla="*/ 2465023 h 2872940"/>
                    <a:gd name="connsiteX11" fmla="*/ 4843311 w 4849458"/>
                    <a:gd name="connsiteY11" fmla="*/ 2585673 h 2872940"/>
                    <a:gd name="connsiteX12" fmla="*/ 4836961 w 4849458"/>
                    <a:gd name="connsiteY12" fmla="*/ 2687273 h 2872940"/>
                    <a:gd name="connsiteX13" fmla="*/ 4824261 w 4849458"/>
                    <a:gd name="connsiteY13" fmla="*/ 2744423 h 2872940"/>
                    <a:gd name="connsiteX14" fmla="*/ 4811561 w 4849458"/>
                    <a:gd name="connsiteY14" fmla="*/ 2776173 h 2872940"/>
                    <a:gd name="connsiteX15" fmla="*/ 4786161 w 4849458"/>
                    <a:gd name="connsiteY15" fmla="*/ 2801573 h 2872940"/>
                    <a:gd name="connsiteX16" fmla="*/ 4767111 w 4849458"/>
                    <a:gd name="connsiteY16" fmla="*/ 2807923 h 2872940"/>
                    <a:gd name="connsiteX17" fmla="*/ 4697261 w 4849458"/>
                    <a:gd name="connsiteY17" fmla="*/ 2814273 h 2872940"/>
                    <a:gd name="connsiteX18" fmla="*/ 4633761 w 4849458"/>
                    <a:gd name="connsiteY18" fmla="*/ 2820623 h 2872940"/>
                    <a:gd name="connsiteX19" fmla="*/ 4614711 w 4849458"/>
                    <a:gd name="connsiteY19" fmla="*/ 2826973 h 2872940"/>
                    <a:gd name="connsiteX20" fmla="*/ 3312961 w 4849458"/>
                    <a:gd name="connsiteY20" fmla="*/ 2833323 h 2872940"/>
                    <a:gd name="connsiteX21" fmla="*/ 2900211 w 4849458"/>
                    <a:gd name="connsiteY21" fmla="*/ 2814273 h 2872940"/>
                    <a:gd name="connsiteX22" fmla="*/ 2836711 w 4849458"/>
                    <a:gd name="connsiteY22" fmla="*/ 2807923 h 2872940"/>
                    <a:gd name="connsiteX23" fmla="*/ 2779561 w 4849458"/>
                    <a:gd name="connsiteY23" fmla="*/ 2801573 h 2872940"/>
                    <a:gd name="connsiteX24" fmla="*/ 2601761 w 4849458"/>
                    <a:gd name="connsiteY24" fmla="*/ 2795223 h 2872940"/>
                    <a:gd name="connsiteX25" fmla="*/ 1674661 w 4849458"/>
                    <a:gd name="connsiteY25" fmla="*/ 2801573 h 2872940"/>
                    <a:gd name="connsiteX26" fmla="*/ 1623861 w 4849458"/>
                    <a:gd name="connsiteY26" fmla="*/ 2807923 h 2872940"/>
                    <a:gd name="connsiteX27" fmla="*/ 1547661 w 4849458"/>
                    <a:gd name="connsiteY27" fmla="*/ 2814273 h 2872940"/>
                    <a:gd name="connsiteX28" fmla="*/ 61761 w 4849458"/>
                    <a:gd name="connsiteY28" fmla="*/ 2814273 h 2872940"/>
                    <a:gd name="connsiteX29" fmla="*/ 55411 w 4849458"/>
                    <a:gd name="connsiteY29" fmla="*/ 2795223 h 2872940"/>
                    <a:gd name="connsiteX30" fmla="*/ 49061 w 4849458"/>
                    <a:gd name="connsiteY30" fmla="*/ 2763473 h 2872940"/>
                    <a:gd name="connsiteX31" fmla="*/ 36361 w 4849458"/>
                    <a:gd name="connsiteY31" fmla="*/ 2623773 h 2872940"/>
                    <a:gd name="connsiteX32" fmla="*/ 23661 w 4849458"/>
                    <a:gd name="connsiteY32" fmla="*/ 2553923 h 2872940"/>
                    <a:gd name="connsiteX33" fmla="*/ 17311 w 4849458"/>
                    <a:gd name="connsiteY33" fmla="*/ 1258523 h 2872940"/>
                    <a:gd name="connsiteX34" fmla="*/ 23661 w 4849458"/>
                    <a:gd name="connsiteY34" fmla="*/ 1068023 h 2872940"/>
                    <a:gd name="connsiteX35" fmla="*/ 30011 w 4849458"/>
                    <a:gd name="connsiteY35" fmla="*/ 39323 h 2872940"/>
                    <a:gd name="connsiteX36" fmla="*/ 30011 w 4849458"/>
                    <a:gd name="connsiteY36" fmla="*/ 7573 h 2872940"/>
                    <a:gd name="connsiteX0" fmla="*/ 30011 w 4849458"/>
                    <a:gd name="connsiteY0" fmla="*/ 7573 h 2872940"/>
                    <a:gd name="connsiteX1" fmla="*/ 436411 w 4849458"/>
                    <a:gd name="connsiteY1" fmla="*/ 1223 h 2872940"/>
                    <a:gd name="connsiteX2" fmla="*/ 811061 w 4849458"/>
                    <a:gd name="connsiteY2" fmla="*/ 1223 h 2872940"/>
                    <a:gd name="connsiteX3" fmla="*/ 1706411 w 4849458"/>
                    <a:gd name="connsiteY3" fmla="*/ 13923 h 2872940"/>
                    <a:gd name="connsiteX4" fmla="*/ 2258861 w 4849458"/>
                    <a:gd name="connsiteY4" fmla="*/ 26623 h 2872940"/>
                    <a:gd name="connsiteX5" fmla="*/ 4563911 w 4849458"/>
                    <a:gd name="connsiteY5" fmla="*/ 13923 h 2872940"/>
                    <a:gd name="connsiteX6" fmla="*/ 4830611 w 4849458"/>
                    <a:gd name="connsiteY6" fmla="*/ 534623 h 2872940"/>
                    <a:gd name="connsiteX7" fmla="*/ 4830611 w 4849458"/>
                    <a:gd name="connsiteY7" fmla="*/ 1366473 h 2872940"/>
                    <a:gd name="connsiteX8" fmla="*/ 4824261 w 4849458"/>
                    <a:gd name="connsiteY8" fmla="*/ 1658573 h 2872940"/>
                    <a:gd name="connsiteX9" fmla="*/ 4817911 w 4849458"/>
                    <a:gd name="connsiteY9" fmla="*/ 1747473 h 2872940"/>
                    <a:gd name="connsiteX10" fmla="*/ 4824261 w 4849458"/>
                    <a:gd name="connsiteY10" fmla="*/ 2465023 h 2872940"/>
                    <a:gd name="connsiteX11" fmla="*/ 4843311 w 4849458"/>
                    <a:gd name="connsiteY11" fmla="*/ 2585673 h 2872940"/>
                    <a:gd name="connsiteX12" fmla="*/ 4836961 w 4849458"/>
                    <a:gd name="connsiteY12" fmla="*/ 2687273 h 2872940"/>
                    <a:gd name="connsiteX13" fmla="*/ 4824261 w 4849458"/>
                    <a:gd name="connsiteY13" fmla="*/ 2744423 h 2872940"/>
                    <a:gd name="connsiteX14" fmla="*/ 4811561 w 4849458"/>
                    <a:gd name="connsiteY14" fmla="*/ 2776173 h 2872940"/>
                    <a:gd name="connsiteX15" fmla="*/ 4786161 w 4849458"/>
                    <a:gd name="connsiteY15" fmla="*/ 2801573 h 2872940"/>
                    <a:gd name="connsiteX16" fmla="*/ 4767111 w 4849458"/>
                    <a:gd name="connsiteY16" fmla="*/ 2807923 h 2872940"/>
                    <a:gd name="connsiteX17" fmla="*/ 4697261 w 4849458"/>
                    <a:gd name="connsiteY17" fmla="*/ 2814273 h 2872940"/>
                    <a:gd name="connsiteX18" fmla="*/ 4633761 w 4849458"/>
                    <a:gd name="connsiteY18" fmla="*/ 2820623 h 2872940"/>
                    <a:gd name="connsiteX19" fmla="*/ 4614711 w 4849458"/>
                    <a:gd name="connsiteY19" fmla="*/ 2826973 h 2872940"/>
                    <a:gd name="connsiteX20" fmla="*/ 3312961 w 4849458"/>
                    <a:gd name="connsiteY20" fmla="*/ 2833323 h 2872940"/>
                    <a:gd name="connsiteX21" fmla="*/ 2900211 w 4849458"/>
                    <a:gd name="connsiteY21" fmla="*/ 2814273 h 2872940"/>
                    <a:gd name="connsiteX22" fmla="*/ 2836711 w 4849458"/>
                    <a:gd name="connsiteY22" fmla="*/ 2807923 h 2872940"/>
                    <a:gd name="connsiteX23" fmla="*/ 2779561 w 4849458"/>
                    <a:gd name="connsiteY23" fmla="*/ 2801573 h 2872940"/>
                    <a:gd name="connsiteX24" fmla="*/ 2601761 w 4849458"/>
                    <a:gd name="connsiteY24" fmla="*/ 2795223 h 2872940"/>
                    <a:gd name="connsiteX25" fmla="*/ 1674661 w 4849458"/>
                    <a:gd name="connsiteY25" fmla="*/ 2801573 h 2872940"/>
                    <a:gd name="connsiteX26" fmla="*/ 1623861 w 4849458"/>
                    <a:gd name="connsiteY26" fmla="*/ 2807923 h 2872940"/>
                    <a:gd name="connsiteX27" fmla="*/ 1547661 w 4849458"/>
                    <a:gd name="connsiteY27" fmla="*/ 2814273 h 2872940"/>
                    <a:gd name="connsiteX28" fmla="*/ 61761 w 4849458"/>
                    <a:gd name="connsiteY28" fmla="*/ 2814273 h 2872940"/>
                    <a:gd name="connsiteX29" fmla="*/ 55411 w 4849458"/>
                    <a:gd name="connsiteY29" fmla="*/ 2795223 h 2872940"/>
                    <a:gd name="connsiteX30" fmla="*/ 49061 w 4849458"/>
                    <a:gd name="connsiteY30" fmla="*/ 2763473 h 2872940"/>
                    <a:gd name="connsiteX31" fmla="*/ 36361 w 4849458"/>
                    <a:gd name="connsiteY31" fmla="*/ 2623773 h 2872940"/>
                    <a:gd name="connsiteX32" fmla="*/ 23661 w 4849458"/>
                    <a:gd name="connsiteY32" fmla="*/ 2553923 h 2872940"/>
                    <a:gd name="connsiteX33" fmla="*/ 17311 w 4849458"/>
                    <a:gd name="connsiteY33" fmla="*/ 1258523 h 2872940"/>
                    <a:gd name="connsiteX34" fmla="*/ 23661 w 4849458"/>
                    <a:gd name="connsiteY34" fmla="*/ 1068023 h 2872940"/>
                    <a:gd name="connsiteX35" fmla="*/ 30011 w 4849458"/>
                    <a:gd name="connsiteY35" fmla="*/ 39323 h 2872940"/>
                    <a:gd name="connsiteX36" fmla="*/ 30011 w 4849458"/>
                    <a:gd name="connsiteY36" fmla="*/ 7573 h 2872940"/>
                    <a:gd name="connsiteX0" fmla="*/ 30011 w 4843311"/>
                    <a:gd name="connsiteY0" fmla="*/ 7573 h 2872940"/>
                    <a:gd name="connsiteX1" fmla="*/ 436411 w 4843311"/>
                    <a:gd name="connsiteY1" fmla="*/ 1223 h 2872940"/>
                    <a:gd name="connsiteX2" fmla="*/ 811061 w 4843311"/>
                    <a:gd name="connsiteY2" fmla="*/ 1223 h 2872940"/>
                    <a:gd name="connsiteX3" fmla="*/ 1706411 w 4843311"/>
                    <a:gd name="connsiteY3" fmla="*/ 13923 h 2872940"/>
                    <a:gd name="connsiteX4" fmla="*/ 2258861 w 4843311"/>
                    <a:gd name="connsiteY4" fmla="*/ 26623 h 2872940"/>
                    <a:gd name="connsiteX5" fmla="*/ 4563911 w 4843311"/>
                    <a:gd name="connsiteY5" fmla="*/ 13923 h 2872940"/>
                    <a:gd name="connsiteX6" fmla="*/ 4811561 w 4843311"/>
                    <a:gd name="connsiteY6" fmla="*/ 528273 h 2872940"/>
                    <a:gd name="connsiteX7" fmla="*/ 4830611 w 4843311"/>
                    <a:gd name="connsiteY7" fmla="*/ 1366473 h 2872940"/>
                    <a:gd name="connsiteX8" fmla="*/ 4824261 w 4843311"/>
                    <a:gd name="connsiteY8" fmla="*/ 1658573 h 2872940"/>
                    <a:gd name="connsiteX9" fmla="*/ 4817911 w 4843311"/>
                    <a:gd name="connsiteY9" fmla="*/ 1747473 h 2872940"/>
                    <a:gd name="connsiteX10" fmla="*/ 4824261 w 4843311"/>
                    <a:gd name="connsiteY10" fmla="*/ 2465023 h 2872940"/>
                    <a:gd name="connsiteX11" fmla="*/ 4843311 w 4843311"/>
                    <a:gd name="connsiteY11" fmla="*/ 2585673 h 2872940"/>
                    <a:gd name="connsiteX12" fmla="*/ 4836961 w 4843311"/>
                    <a:gd name="connsiteY12" fmla="*/ 2687273 h 2872940"/>
                    <a:gd name="connsiteX13" fmla="*/ 4824261 w 4843311"/>
                    <a:gd name="connsiteY13" fmla="*/ 2744423 h 2872940"/>
                    <a:gd name="connsiteX14" fmla="*/ 4811561 w 4843311"/>
                    <a:gd name="connsiteY14" fmla="*/ 2776173 h 2872940"/>
                    <a:gd name="connsiteX15" fmla="*/ 4786161 w 4843311"/>
                    <a:gd name="connsiteY15" fmla="*/ 2801573 h 2872940"/>
                    <a:gd name="connsiteX16" fmla="*/ 4767111 w 4843311"/>
                    <a:gd name="connsiteY16" fmla="*/ 2807923 h 2872940"/>
                    <a:gd name="connsiteX17" fmla="*/ 4697261 w 4843311"/>
                    <a:gd name="connsiteY17" fmla="*/ 2814273 h 2872940"/>
                    <a:gd name="connsiteX18" fmla="*/ 4633761 w 4843311"/>
                    <a:gd name="connsiteY18" fmla="*/ 2820623 h 2872940"/>
                    <a:gd name="connsiteX19" fmla="*/ 4614711 w 4843311"/>
                    <a:gd name="connsiteY19" fmla="*/ 2826973 h 2872940"/>
                    <a:gd name="connsiteX20" fmla="*/ 3312961 w 4843311"/>
                    <a:gd name="connsiteY20" fmla="*/ 2833323 h 2872940"/>
                    <a:gd name="connsiteX21" fmla="*/ 2900211 w 4843311"/>
                    <a:gd name="connsiteY21" fmla="*/ 2814273 h 2872940"/>
                    <a:gd name="connsiteX22" fmla="*/ 2836711 w 4843311"/>
                    <a:gd name="connsiteY22" fmla="*/ 2807923 h 2872940"/>
                    <a:gd name="connsiteX23" fmla="*/ 2779561 w 4843311"/>
                    <a:gd name="connsiteY23" fmla="*/ 2801573 h 2872940"/>
                    <a:gd name="connsiteX24" fmla="*/ 2601761 w 4843311"/>
                    <a:gd name="connsiteY24" fmla="*/ 2795223 h 2872940"/>
                    <a:gd name="connsiteX25" fmla="*/ 1674661 w 4843311"/>
                    <a:gd name="connsiteY25" fmla="*/ 2801573 h 2872940"/>
                    <a:gd name="connsiteX26" fmla="*/ 1623861 w 4843311"/>
                    <a:gd name="connsiteY26" fmla="*/ 2807923 h 2872940"/>
                    <a:gd name="connsiteX27" fmla="*/ 1547661 w 4843311"/>
                    <a:gd name="connsiteY27" fmla="*/ 2814273 h 2872940"/>
                    <a:gd name="connsiteX28" fmla="*/ 61761 w 4843311"/>
                    <a:gd name="connsiteY28" fmla="*/ 2814273 h 2872940"/>
                    <a:gd name="connsiteX29" fmla="*/ 55411 w 4843311"/>
                    <a:gd name="connsiteY29" fmla="*/ 2795223 h 2872940"/>
                    <a:gd name="connsiteX30" fmla="*/ 49061 w 4843311"/>
                    <a:gd name="connsiteY30" fmla="*/ 2763473 h 2872940"/>
                    <a:gd name="connsiteX31" fmla="*/ 36361 w 4843311"/>
                    <a:gd name="connsiteY31" fmla="*/ 2623773 h 2872940"/>
                    <a:gd name="connsiteX32" fmla="*/ 23661 w 4843311"/>
                    <a:gd name="connsiteY32" fmla="*/ 2553923 h 2872940"/>
                    <a:gd name="connsiteX33" fmla="*/ 17311 w 4843311"/>
                    <a:gd name="connsiteY33" fmla="*/ 1258523 h 2872940"/>
                    <a:gd name="connsiteX34" fmla="*/ 23661 w 4843311"/>
                    <a:gd name="connsiteY34" fmla="*/ 1068023 h 2872940"/>
                    <a:gd name="connsiteX35" fmla="*/ 30011 w 4843311"/>
                    <a:gd name="connsiteY35" fmla="*/ 39323 h 2872940"/>
                    <a:gd name="connsiteX36" fmla="*/ 30011 w 4843311"/>
                    <a:gd name="connsiteY36" fmla="*/ 7573 h 2872940"/>
                    <a:gd name="connsiteX0" fmla="*/ 30011 w 4843311"/>
                    <a:gd name="connsiteY0" fmla="*/ 7573 h 2872940"/>
                    <a:gd name="connsiteX1" fmla="*/ 436411 w 4843311"/>
                    <a:gd name="connsiteY1" fmla="*/ 1223 h 2872940"/>
                    <a:gd name="connsiteX2" fmla="*/ 811061 w 4843311"/>
                    <a:gd name="connsiteY2" fmla="*/ 1223 h 2872940"/>
                    <a:gd name="connsiteX3" fmla="*/ 1706411 w 4843311"/>
                    <a:gd name="connsiteY3" fmla="*/ 13923 h 2872940"/>
                    <a:gd name="connsiteX4" fmla="*/ 2258861 w 4843311"/>
                    <a:gd name="connsiteY4" fmla="*/ 26623 h 2872940"/>
                    <a:gd name="connsiteX5" fmla="*/ 4563911 w 4843311"/>
                    <a:gd name="connsiteY5" fmla="*/ 13923 h 2872940"/>
                    <a:gd name="connsiteX6" fmla="*/ 4811561 w 4843311"/>
                    <a:gd name="connsiteY6" fmla="*/ 528273 h 2872940"/>
                    <a:gd name="connsiteX7" fmla="*/ 4824261 w 4843311"/>
                    <a:gd name="connsiteY7" fmla="*/ 1658573 h 2872940"/>
                    <a:gd name="connsiteX8" fmla="*/ 4817911 w 4843311"/>
                    <a:gd name="connsiteY8" fmla="*/ 1747473 h 2872940"/>
                    <a:gd name="connsiteX9" fmla="*/ 4824261 w 4843311"/>
                    <a:gd name="connsiteY9" fmla="*/ 2465023 h 2872940"/>
                    <a:gd name="connsiteX10" fmla="*/ 4843311 w 4843311"/>
                    <a:gd name="connsiteY10" fmla="*/ 2585673 h 2872940"/>
                    <a:gd name="connsiteX11" fmla="*/ 4836961 w 4843311"/>
                    <a:gd name="connsiteY11" fmla="*/ 2687273 h 2872940"/>
                    <a:gd name="connsiteX12" fmla="*/ 4824261 w 4843311"/>
                    <a:gd name="connsiteY12" fmla="*/ 2744423 h 2872940"/>
                    <a:gd name="connsiteX13" fmla="*/ 4811561 w 4843311"/>
                    <a:gd name="connsiteY13" fmla="*/ 2776173 h 2872940"/>
                    <a:gd name="connsiteX14" fmla="*/ 4786161 w 4843311"/>
                    <a:gd name="connsiteY14" fmla="*/ 2801573 h 2872940"/>
                    <a:gd name="connsiteX15" fmla="*/ 4767111 w 4843311"/>
                    <a:gd name="connsiteY15" fmla="*/ 2807923 h 2872940"/>
                    <a:gd name="connsiteX16" fmla="*/ 4697261 w 4843311"/>
                    <a:gd name="connsiteY16" fmla="*/ 2814273 h 2872940"/>
                    <a:gd name="connsiteX17" fmla="*/ 4633761 w 4843311"/>
                    <a:gd name="connsiteY17" fmla="*/ 2820623 h 2872940"/>
                    <a:gd name="connsiteX18" fmla="*/ 4614711 w 4843311"/>
                    <a:gd name="connsiteY18" fmla="*/ 2826973 h 2872940"/>
                    <a:gd name="connsiteX19" fmla="*/ 3312961 w 4843311"/>
                    <a:gd name="connsiteY19" fmla="*/ 2833323 h 2872940"/>
                    <a:gd name="connsiteX20" fmla="*/ 2900211 w 4843311"/>
                    <a:gd name="connsiteY20" fmla="*/ 2814273 h 2872940"/>
                    <a:gd name="connsiteX21" fmla="*/ 2836711 w 4843311"/>
                    <a:gd name="connsiteY21" fmla="*/ 2807923 h 2872940"/>
                    <a:gd name="connsiteX22" fmla="*/ 2779561 w 4843311"/>
                    <a:gd name="connsiteY22" fmla="*/ 2801573 h 2872940"/>
                    <a:gd name="connsiteX23" fmla="*/ 2601761 w 4843311"/>
                    <a:gd name="connsiteY23" fmla="*/ 2795223 h 2872940"/>
                    <a:gd name="connsiteX24" fmla="*/ 1674661 w 4843311"/>
                    <a:gd name="connsiteY24" fmla="*/ 2801573 h 2872940"/>
                    <a:gd name="connsiteX25" fmla="*/ 1623861 w 4843311"/>
                    <a:gd name="connsiteY25" fmla="*/ 2807923 h 2872940"/>
                    <a:gd name="connsiteX26" fmla="*/ 1547661 w 4843311"/>
                    <a:gd name="connsiteY26" fmla="*/ 2814273 h 2872940"/>
                    <a:gd name="connsiteX27" fmla="*/ 61761 w 4843311"/>
                    <a:gd name="connsiteY27" fmla="*/ 2814273 h 2872940"/>
                    <a:gd name="connsiteX28" fmla="*/ 55411 w 4843311"/>
                    <a:gd name="connsiteY28" fmla="*/ 2795223 h 2872940"/>
                    <a:gd name="connsiteX29" fmla="*/ 49061 w 4843311"/>
                    <a:gd name="connsiteY29" fmla="*/ 2763473 h 2872940"/>
                    <a:gd name="connsiteX30" fmla="*/ 36361 w 4843311"/>
                    <a:gd name="connsiteY30" fmla="*/ 2623773 h 2872940"/>
                    <a:gd name="connsiteX31" fmla="*/ 23661 w 4843311"/>
                    <a:gd name="connsiteY31" fmla="*/ 2553923 h 2872940"/>
                    <a:gd name="connsiteX32" fmla="*/ 17311 w 4843311"/>
                    <a:gd name="connsiteY32" fmla="*/ 1258523 h 2872940"/>
                    <a:gd name="connsiteX33" fmla="*/ 23661 w 4843311"/>
                    <a:gd name="connsiteY33" fmla="*/ 1068023 h 2872940"/>
                    <a:gd name="connsiteX34" fmla="*/ 30011 w 4843311"/>
                    <a:gd name="connsiteY34" fmla="*/ 39323 h 2872940"/>
                    <a:gd name="connsiteX35" fmla="*/ 30011 w 4843311"/>
                    <a:gd name="connsiteY35" fmla="*/ 7573 h 2872940"/>
                    <a:gd name="connsiteX0" fmla="*/ 30011 w 4843311"/>
                    <a:gd name="connsiteY0" fmla="*/ 7573 h 2872940"/>
                    <a:gd name="connsiteX1" fmla="*/ 436411 w 4843311"/>
                    <a:gd name="connsiteY1" fmla="*/ 1223 h 2872940"/>
                    <a:gd name="connsiteX2" fmla="*/ 811061 w 4843311"/>
                    <a:gd name="connsiteY2" fmla="*/ 1223 h 2872940"/>
                    <a:gd name="connsiteX3" fmla="*/ 1706411 w 4843311"/>
                    <a:gd name="connsiteY3" fmla="*/ 13923 h 2872940"/>
                    <a:gd name="connsiteX4" fmla="*/ 2258861 w 4843311"/>
                    <a:gd name="connsiteY4" fmla="*/ 26623 h 2872940"/>
                    <a:gd name="connsiteX5" fmla="*/ 4563911 w 4843311"/>
                    <a:gd name="connsiteY5" fmla="*/ 13923 h 2872940"/>
                    <a:gd name="connsiteX6" fmla="*/ 4811561 w 4843311"/>
                    <a:gd name="connsiteY6" fmla="*/ 528273 h 2872940"/>
                    <a:gd name="connsiteX7" fmla="*/ 4824261 w 4843311"/>
                    <a:gd name="connsiteY7" fmla="*/ 1658573 h 2872940"/>
                    <a:gd name="connsiteX8" fmla="*/ 4824261 w 4843311"/>
                    <a:gd name="connsiteY8" fmla="*/ 2465023 h 2872940"/>
                    <a:gd name="connsiteX9" fmla="*/ 4843311 w 4843311"/>
                    <a:gd name="connsiteY9" fmla="*/ 2585673 h 2872940"/>
                    <a:gd name="connsiteX10" fmla="*/ 4836961 w 4843311"/>
                    <a:gd name="connsiteY10" fmla="*/ 2687273 h 2872940"/>
                    <a:gd name="connsiteX11" fmla="*/ 4824261 w 4843311"/>
                    <a:gd name="connsiteY11" fmla="*/ 2744423 h 2872940"/>
                    <a:gd name="connsiteX12" fmla="*/ 4811561 w 4843311"/>
                    <a:gd name="connsiteY12" fmla="*/ 2776173 h 2872940"/>
                    <a:gd name="connsiteX13" fmla="*/ 4786161 w 4843311"/>
                    <a:gd name="connsiteY13" fmla="*/ 2801573 h 2872940"/>
                    <a:gd name="connsiteX14" fmla="*/ 4767111 w 4843311"/>
                    <a:gd name="connsiteY14" fmla="*/ 2807923 h 2872940"/>
                    <a:gd name="connsiteX15" fmla="*/ 4697261 w 4843311"/>
                    <a:gd name="connsiteY15" fmla="*/ 2814273 h 2872940"/>
                    <a:gd name="connsiteX16" fmla="*/ 4633761 w 4843311"/>
                    <a:gd name="connsiteY16" fmla="*/ 2820623 h 2872940"/>
                    <a:gd name="connsiteX17" fmla="*/ 4614711 w 4843311"/>
                    <a:gd name="connsiteY17" fmla="*/ 2826973 h 2872940"/>
                    <a:gd name="connsiteX18" fmla="*/ 3312961 w 4843311"/>
                    <a:gd name="connsiteY18" fmla="*/ 2833323 h 2872940"/>
                    <a:gd name="connsiteX19" fmla="*/ 2900211 w 4843311"/>
                    <a:gd name="connsiteY19" fmla="*/ 2814273 h 2872940"/>
                    <a:gd name="connsiteX20" fmla="*/ 2836711 w 4843311"/>
                    <a:gd name="connsiteY20" fmla="*/ 2807923 h 2872940"/>
                    <a:gd name="connsiteX21" fmla="*/ 2779561 w 4843311"/>
                    <a:gd name="connsiteY21" fmla="*/ 2801573 h 2872940"/>
                    <a:gd name="connsiteX22" fmla="*/ 2601761 w 4843311"/>
                    <a:gd name="connsiteY22" fmla="*/ 2795223 h 2872940"/>
                    <a:gd name="connsiteX23" fmla="*/ 1674661 w 4843311"/>
                    <a:gd name="connsiteY23" fmla="*/ 2801573 h 2872940"/>
                    <a:gd name="connsiteX24" fmla="*/ 1623861 w 4843311"/>
                    <a:gd name="connsiteY24" fmla="*/ 2807923 h 2872940"/>
                    <a:gd name="connsiteX25" fmla="*/ 1547661 w 4843311"/>
                    <a:gd name="connsiteY25" fmla="*/ 2814273 h 2872940"/>
                    <a:gd name="connsiteX26" fmla="*/ 61761 w 4843311"/>
                    <a:gd name="connsiteY26" fmla="*/ 2814273 h 2872940"/>
                    <a:gd name="connsiteX27" fmla="*/ 55411 w 4843311"/>
                    <a:gd name="connsiteY27" fmla="*/ 2795223 h 2872940"/>
                    <a:gd name="connsiteX28" fmla="*/ 49061 w 4843311"/>
                    <a:gd name="connsiteY28" fmla="*/ 2763473 h 2872940"/>
                    <a:gd name="connsiteX29" fmla="*/ 36361 w 4843311"/>
                    <a:gd name="connsiteY29" fmla="*/ 2623773 h 2872940"/>
                    <a:gd name="connsiteX30" fmla="*/ 23661 w 4843311"/>
                    <a:gd name="connsiteY30" fmla="*/ 2553923 h 2872940"/>
                    <a:gd name="connsiteX31" fmla="*/ 17311 w 4843311"/>
                    <a:gd name="connsiteY31" fmla="*/ 1258523 h 2872940"/>
                    <a:gd name="connsiteX32" fmla="*/ 23661 w 4843311"/>
                    <a:gd name="connsiteY32" fmla="*/ 1068023 h 2872940"/>
                    <a:gd name="connsiteX33" fmla="*/ 30011 w 4843311"/>
                    <a:gd name="connsiteY33" fmla="*/ 39323 h 2872940"/>
                    <a:gd name="connsiteX34" fmla="*/ 30011 w 4843311"/>
                    <a:gd name="connsiteY34" fmla="*/ 7573 h 2872940"/>
                    <a:gd name="connsiteX0" fmla="*/ 30011 w 4843311"/>
                    <a:gd name="connsiteY0" fmla="*/ 7573 h 2872940"/>
                    <a:gd name="connsiteX1" fmla="*/ 436411 w 4843311"/>
                    <a:gd name="connsiteY1" fmla="*/ 1223 h 2872940"/>
                    <a:gd name="connsiteX2" fmla="*/ 811061 w 4843311"/>
                    <a:gd name="connsiteY2" fmla="*/ 1223 h 2872940"/>
                    <a:gd name="connsiteX3" fmla="*/ 1706411 w 4843311"/>
                    <a:gd name="connsiteY3" fmla="*/ 13923 h 2872940"/>
                    <a:gd name="connsiteX4" fmla="*/ 2258861 w 4843311"/>
                    <a:gd name="connsiteY4" fmla="*/ 26623 h 2872940"/>
                    <a:gd name="connsiteX5" fmla="*/ 4563911 w 4843311"/>
                    <a:gd name="connsiteY5" fmla="*/ 13923 h 2872940"/>
                    <a:gd name="connsiteX6" fmla="*/ 4811561 w 4843311"/>
                    <a:gd name="connsiteY6" fmla="*/ 528273 h 2872940"/>
                    <a:gd name="connsiteX7" fmla="*/ 4786161 w 4843311"/>
                    <a:gd name="connsiteY7" fmla="*/ 1683973 h 2872940"/>
                    <a:gd name="connsiteX8" fmla="*/ 4824261 w 4843311"/>
                    <a:gd name="connsiteY8" fmla="*/ 2465023 h 2872940"/>
                    <a:gd name="connsiteX9" fmla="*/ 4843311 w 4843311"/>
                    <a:gd name="connsiteY9" fmla="*/ 2585673 h 2872940"/>
                    <a:gd name="connsiteX10" fmla="*/ 4836961 w 4843311"/>
                    <a:gd name="connsiteY10" fmla="*/ 2687273 h 2872940"/>
                    <a:gd name="connsiteX11" fmla="*/ 4824261 w 4843311"/>
                    <a:gd name="connsiteY11" fmla="*/ 2744423 h 2872940"/>
                    <a:gd name="connsiteX12" fmla="*/ 4811561 w 4843311"/>
                    <a:gd name="connsiteY12" fmla="*/ 2776173 h 2872940"/>
                    <a:gd name="connsiteX13" fmla="*/ 4786161 w 4843311"/>
                    <a:gd name="connsiteY13" fmla="*/ 2801573 h 2872940"/>
                    <a:gd name="connsiteX14" fmla="*/ 4767111 w 4843311"/>
                    <a:gd name="connsiteY14" fmla="*/ 2807923 h 2872940"/>
                    <a:gd name="connsiteX15" fmla="*/ 4697261 w 4843311"/>
                    <a:gd name="connsiteY15" fmla="*/ 2814273 h 2872940"/>
                    <a:gd name="connsiteX16" fmla="*/ 4633761 w 4843311"/>
                    <a:gd name="connsiteY16" fmla="*/ 2820623 h 2872940"/>
                    <a:gd name="connsiteX17" fmla="*/ 4614711 w 4843311"/>
                    <a:gd name="connsiteY17" fmla="*/ 2826973 h 2872940"/>
                    <a:gd name="connsiteX18" fmla="*/ 3312961 w 4843311"/>
                    <a:gd name="connsiteY18" fmla="*/ 2833323 h 2872940"/>
                    <a:gd name="connsiteX19" fmla="*/ 2900211 w 4843311"/>
                    <a:gd name="connsiteY19" fmla="*/ 2814273 h 2872940"/>
                    <a:gd name="connsiteX20" fmla="*/ 2836711 w 4843311"/>
                    <a:gd name="connsiteY20" fmla="*/ 2807923 h 2872940"/>
                    <a:gd name="connsiteX21" fmla="*/ 2779561 w 4843311"/>
                    <a:gd name="connsiteY21" fmla="*/ 2801573 h 2872940"/>
                    <a:gd name="connsiteX22" fmla="*/ 2601761 w 4843311"/>
                    <a:gd name="connsiteY22" fmla="*/ 2795223 h 2872940"/>
                    <a:gd name="connsiteX23" fmla="*/ 1674661 w 4843311"/>
                    <a:gd name="connsiteY23" fmla="*/ 2801573 h 2872940"/>
                    <a:gd name="connsiteX24" fmla="*/ 1623861 w 4843311"/>
                    <a:gd name="connsiteY24" fmla="*/ 2807923 h 2872940"/>
                    <a:gd name="connsiteX25" fmla="*/ 1547661 w 4843311"/>
                    <a:gd name="connsiteY25" fmla="*/ 2814273 h 2872940"/>
                    <a:gd name="connsiteX26" fmla="*/ 61761 w 4843311"/>
                    <a:gd name="connsiteY26" fmla="*/ 2814273 h 2872940"/>
                    <a:gd name="connsiteX27" fmla="*/ 55411 w 4843311"/>
                    <a:gd name="connsiteY27" fmla="*/ 2795223 h 2872940"/>
                    <a:gd name="connsiteX28" fmla="*/ 49061 w 4843311"/>
                    <a:gd name="connsiteY28" fmla="*/ 2763473 h 2872940"/>
                    <a:gd name="connsiteX29" fmla="*/ 36361 w 4843311"/>
                    <a:gd name="connsiteY29" fmla="*/ 2623773 h 2872940"/>
                    <a:gd name="connsiteX30" fmla="*/ 23661 w 4843311"/>
                    <a:gd name="connsiteY30" fmla="*/ 2553923 h 2872940"/>
                    <a:gd name="connsiteX31" fmla="*/ 17311 w 4843311"/>
                    <a:gd name="connsiteY31" fmla="*/ 1258523 h 2872940"/>
                    <a:gd name="connsiteX32" fmla="*/ 23661 w 4843311"/>
                    <a:gd name="connsiteY32" fmla="*/ 1068023 h 2872940"/>
                    <a:gd name="connsiteX33" fmla="*/ 30011 w 4843311"/>
                    <a:gd name="connsiteY33" fmla="*/ 39323 h 2872940"/>
                    <a:gd name="connsiteX34" fmla="*/ 30011 w 4843311"/>
                    <a:gd name="connsiteY34" fmla="*/ 7573 h 2872940"/>
                    <a:gd name="connsiteX0" fmla="*/ 30011 w 4836961"/>
                    <a:gd name="connsiteY0" fmla="*/ 7573 h 2872940"/>
                    <a:gd name="connsiteX1" fmla="*/ 436411 w 4836961"/>
                    <a:gd name="connsiteY1" fmla="*/ 1223 h 2872940"/>
                    <a:gd name="connsiteX2" fmla="*/ 811061 w 4836961"/>
                    <a:gd name="connsiteY2" fmla="*/ 1223 h 2872940"/>
                    <a:gd name="connsiteX3" fmla="*/ 1706411 w 4836961"/>
                    <a:gd name="connsiteY3" fmla="*/ 13923 h 2872940"/>
                    <a:gd name="connsiteX4" fmla="*/ 2258861 w 4836961"/>
                    <a:gd name="connsiteY4" fmla="*/ 26623 h 2872940"/>
                    <a:gd name="connsiteX5" fmla="*/ 4563911 w 4836961"/>
                    <a:gd name="connsiteY5" fmla="*/ 13923 h 2872940"/>
                    <a:gd name="connsiteX6" fmla="*/ 4811561 w 4836961"/>
                    <a:gd name="connsiteY6" fmla="*/ 528273 h 2872940"/>
                    <a:gd name="connsiteX7" fmla="*/ 4786161 w 4836961"/>
                    <a:gd name="connsiteY7" fmla="*/ 1683973 h 2872940"/>
                    <a:gd name="connsiteX8" fmla="*/ 4824261 w 4836961"/>
                    <a:gd name="connsiteY8" fmla="*/ 2465023 h 2872940"/>
                    <a:gd name="connsiteX9" fmla="*/ 4836961 w 4836961"/>
                    <a:gd name="connsiteY9" fmla="*/ 2687273 h 2872940"/>
                    <a:gd name="connsiteX10" fmla="*/ 4824261 w 4836961"/>
                    <a:gd name="connsiteY10" fmla="*/ 2744423 h 2872940"/>
                    <a:gd name="connsiteX11" fmla="*/ 4811561 w 4836961"/>
                    <a:gd name="connsiteY11" fmla="*/ 2776173 h 2872940"/>
                    <a:gd name="connsiteX12" fmla="*/ 4786161 w 4836961"/>
                    <a:gd name="connsiteY12" fmla="*/ 2801573 h 2872940"/>
                    <a:gd name="connsiteX13" fmla="*/ 4767111 w 4836961"/>
                    <a:gd name="connsiteY13" fmla="*/ 2807923 h 2872940"/>
                    <a:gd name="connsiteX14" fmla="*/ 4697261 w 4836961"/>
                    <a:gd name="connsiteY14" fmla="*/ 2814273 h 2872940"/>
                    <a:gd name="connsiteX15" fmla="*/ 4633761 w 4836961"/>
                    <a:gd name="connsiteY15" fmla="*/ 2820623 h 2872940"/>
                    <a:gd name="connsiteX16" fmla="*/ 4614711 w 4836961"/>
                    <a:gd name="connsiteY16" fmla="*/ 2826973 h 2872940"/>
                    <a:gd name="connsiteX17" fmla="*/ 3312961 w 4836961"/>
                    <a:gd name="connsiteY17" fmla="*/ 2833323 h 2872940"/>
                    <a:gd name="connsiteX18" fmla="*/ 2900211 w 4836961"/>
                    <a:gd name="connsiteY18" fmla="*/ 2814273 h 2872940"/>
                    <a:gd name="connsiteX19" fmla="*/ 2836711 w 4836961"/>
                    <a:gd name="connsiteY19" fmla="*/ 2807923 h 2872940"/>
                    <a:gd name="connsiteX20" fmla="*/ 2779561 w 4836961"/>
                    <a:gd name="connsiteY20" fmla="*/ 2801573 h 2872940"/>
                    <a:gd name="connsiteX21" fmla="*/ 2601761 w 4836961"/>
                    <a:gd name="connsiteY21" fmla="*/ 2795223 h 2872940"/>
                    <a:gd name="connsiteX22" fmla="*/ 1674661 w 4836961"/>
                    <a:gd name="connsiteY22" fmla="*/ 2801573 h 2872940"/>
                    <a:gd name="connsiteX23" fmla="*/ 1623861 w 4836961"/>
                    <a:gd name="connsiteY23" fmla="*/ 2807923 h 2872940"/>
                    <a:gd name="connsiteX24" fmla="*/ 1547661 w 4836961"/>
                    <a:gd name="connsiteY24" fmla="*/ 2814273 h 2872940"/>
                    <a:gd name="connsiteX25" fmla="*/ 61761 w 4836961"/>
                    <a:gd name="connsiteY25" fmla="*/ 2814273 h 2872940"/>
                    <a:gd name="connsiteX26" fmla="*/ 55411 w 4836961"/>
                    <a:gd name="connsiteY26" fmla="*/ 2795223 h 2872940"/>
                    <a:gd name="connsiteX27" fmla="*/ 49061 w 4836961"/>
                    <a:gd name="connsiteY27" fmla="*/ 2763473 h 2872940"/>
                    <a:gd name="connsiteX28" fmla="*/ 36361 w 4836961"/>
                    <a:gd name="connsiteY28" fmla="*/ 2623773 h 2872940"/>
                    <a:gd name="connsiteX29" fmla="*/ 23661 w 4836961"/>
                    <a:gd name="connsiteY29" fmla="*/ 2553923 h 2872940"/>
                    <a:gd name="connsiteX30" fmla="*/ 17311 w 4836961"/>
                    <a:gd name="connsiteY30" fmla="*/ 1258523 h 2872940"/>
                    <a:gd name="connsiteX31" fmla="*/ 23661 w 4836961"/>
                    <a:gd name="connsiteY31" fmla="*/ 1068023 h 2872940"/>
                    <a:gd name="connsiteX32" fmla="*/ 30011 w 4836961"/>
                    <a:gd name="connsiteY32" fmla="*/ 39323 h 2872940"/>
                    <a:gd name="connsiteX33" fmla="*/ 30011 w 4836961"/>
                    <a:gd name="connsiteY33" fmla="*/ 7573 h 2872940"/>
                    <a:gd name="connsiteX0" fmla="*/ 30011 w 4836961"/>
                    <a:gd name="connsiteY0" fmla="*/ 7573 h 2872940"/>
                    <a:gd name="connsiteX1" fmla="*/ 436411 w 4836961"/>
                    <a:gd name="connsiteY1" fmla="*/ 1223 h 2872940"/>
                    <a:gd name="connsiteX2" fmla="*/ 811061 w 4836961"/>
                    <a:gd name="connsiteY2" fmla="*/ 1223 h 2872940"/>
                    <a:gd name="connsiteX3" fmla="*/ 1706411 w 4836961"/>
                    <a:gd name="connsiteY3" fmla="*/ 13923 h 2872940"/>
                    <a:gd name="connsiteX4" fmla="*/ 2258861 w 4836961"/>
                    <a:gd name="connsiteY4" fmla="*/ 26623 h 2872940"/>
                    <a:gd name="connsiteX5" fmla="*/ 4563911 w 4836961"/>
                    <a:gd name="connsiteY5" fmla="*/ 13923 h 2872940"/>
                    <a:gd name="connsiteX6" fmla="*/ 4811561 w 4836961"/>
                    <a:gd name="connsiteY6" fmla="*/ 528273 h 2872940"/>
                    <a:gd name="connsiteX7" fmla="*/ 4786161 w 4836961"/>
                    <a:gd name="connsiteY7" fmla="*/ 1683973 h 2872940"/>
                    <a:gd name="connsiteX8" fmla="*/ 4824261 w 4836961"/>
                    <a:gd name="connsiteY8" fmla="*/ 2465023 h 2872940"/>
                    <a:gd name="connsiteX9" fmla="*/ 4836961 w 4836961"/>
                    <a:gd name="connsiteY9" fmla="*/ 2687273 h 2872940"/>
                    <a:gd name="connsiteX10" fmla="*/ 4824261 w 4836961"/>
                    <a:gd name="connsiteY10" fmla="*/ 2744423 h 2872940"/>
                    <a:gd name="connsiteX11" fmla="*/ 4786161 w 4836961"/>
                    <a:gd name="connsiteY11" fmla="*/ 2801573 h 2872940"/>
                    <a:gd name="connsiteX12" fmla="*/ 4767111 w 4836961"/>
                    <a:gd name="connsiteY12" fmla="*/ 2807923 h 2872940"/>
                    <a:gd name="connsiteX13" fmla="*/ 4697261 w 4836961"/>
                    <a:gd name="connsiteY13" fmla="*/ 2814273 h 2872940"/>
                    <a:gd name="connsiteX14" fmla="*/ 4633761 w 4836961"/>
                    <a:gd name="connsiteY14" fmla="*/ 2820623 h 2872940"/>
                    <a:gd name="connsiteX15" fmla="*/ 4614711 w 4836961"/>
                    <a:gd name="connsiteY15" fmla="*/ 2826973 h 2872940"/>
                    <a:gd name="connsiteX16" fmla="*/ 3312961 w 4836961"/>
                    <a:gd name="connsiteY16" fmla="*/ 2833323 h 2872940"/>
                    <a:gd name="connsiteX17" fmla="*/ 2900211 w 4836961"/>
                    <a:gd name="connsiteY17" fmla="*/ 2814273 h 2872940"/>
                    <a:gd name="connsiteX18" fmla="*/ 2836711 w 4836961"/>
                    <a:gd name="connsiteY18" fmla="*/ 2807923 h 2872940"/>
                    <a:gd name="connsiteX19" fmla="*/ 2779561 w 4836961"/>
                    <a:gd name="connsiteY19" fmla="*/ 2801573 h 2872940"/>
                    <a:gd name="connsiteX20" fmla="*/ 2601761 w 4836961"/>
                    <a:gd name="connsiteY20" fmla="*/ 2795223 h 2872940"/>
                    <a:gd name="connsiteX21" fmla="*/ 1674661 w 4836961"/>
                    <a:gd name="connsiteY21" fmla="*/ 2801573 h 2872940"/>
                    <a:gd name="connsiteX22" fmla="*/ 1623861 w 4836961"/>
                    <a:gd name="connsiteY22" fmla="*/ 2807923 h 2872940"/>
                    <a:gd name="connsiteX23" fmla="*/ 1547661 w 4836961"/>
                    <a:gd name="connsiteY23" fmla="*/ 2814273 h 2872940"/>
                    <a:gd name="connsiteX24" fmla="*/ 61761 w 4836961"/>
                    <a:gd name="connsiteY24" fmla="*/ 2814273 h 2872940"/>
                    <a:gd name="connsiteX25" fmla="*/ 55411 w 4836961"/>
                    <a:gd name="connsiteY25" fmla="*/ 2795223 h 2872940"/>
                    <a:gd name="connsiteX26" fmla="*/ 49061 w 4836961"/>
                    <a:gd name="connsiteY26" fmla="*/ 2763473 h 2872940"/>
                    <a:gd name="connsiteX27" fmla="*/ 36361 w 4836961"/>
                    <a:gd name="connsiteY27" fmla="*/ 2623773 h 2872940"/>
                    <a:gd name="connsiteX28" fmla="*/ 23661 w 4836961"/>
                    <a:gd name="connsiteY28" fmla="*/ 2553923 h 2872940"/>
                    <a:gd name="connsiteX29" fmla="*/ 17311 w 4836961"/>
                    <a:gd name="connsiteY29" fmla="*/ 1258523 h 2872940"/>
                    <a:gd name="connsiteX30" fmla="*/ 23661 w 4836961"/>
                    <a:gd name="connsiteY30" fmla="*/ 1068023 h 2872940"/>
                    <a:gd name="connsiteX31" fmla="*/ 30011 w 4836961"/>
                    <a:gd name="connsiteY31" fmla="*/ 39323 h 2872940"/>
                    <a:gd name="connsiteX32" fmla="*/ 30011 w 4836961"/>
                    <a:gd name="connsiteY32" fmla="*/ 7573 h 2872940"/>
                    <a:gd name="connsiteX0" fmla="*/ 30011 w 4836961"/>
                    <a:gd name="connsiteY0" fmla="*/ 7573 h 2872940"/>
                    <a:gd name="connsiteX1" fmla="*/ 436411 w 4836961"/>
                    <a:gd name="connsiteY1" fmla="*/ 1223 h 2872940"/>
                    <a:gd name="connsiteX2" fmla="*/ 811061 w 4836961"/>
                    <a:gd name="connsiteY2" fmla="*/ 1223 h 2872940"/>
                    <a:gd name="connsiteX3" fmla="*/ 1706411 w 4836961"/>
                    <a:gd name="connsiteY3" fmla="*/ 13923 h 2872940"/>
                    <a:gd name="connsiteX4" fmla="*/ 2258861 w 4836961"/>
                    <a:gd name="connsiteY4" fmla="*/ 26623 h 2872940"/>
                    <a:gd name="connsiteX5" fmla="*/ 4563911 w 4836961"/>
                    <a:gd name="connsiteY5" fmla="*/ 13923 h 2872940"/>
                    <a:gd name="connsiteX6" fmla="*/ 4811561 w 4836961"/>
                    <a:gd name="connsiteY6" fmla="*/ 528273 h 2872940"/>
                    <a:gd name="connsiteX7" fmla="*/ 4786161 w 4836961"/>
                    <a:gd name="connsiteY7" fmla="*/ 1683973 h 2872940"/>
                    <a:gd name="connsiteX8" fmla="*/ 4824261 w 4836961"/>
                    <a:gd name="connsiteY8" fmla="*/ 2465023 h 2872940"/>
                    <a:gd name="connsiteX9" fmla="*/ 4836961 w 4836961"/>
                    <a:gd name="connsiteY9" fmla="*/ 2687273 h 2872940"/>
                    <a:gd name="connsiteX10" fmla="*/ 4824261 w 4836961"/>
                    <a:gd name="connsiteY10" fmla="*/ 2744423 h 2872940"/>
                    <a:gd name="connsiteX11" fmla="*/ 4786161 w 4836961"/>
                    <a:gd name="connsiteY11" fmla="*/ 2801573 h 2872940"/>
                    <a:gd name="connsiteX12" fmla="*/ 4767111 w 4836961"/>
                    <a:gd name="connsiteY12" fmla="*/ 2807923 h 2872940"/>
                    <a:gd name="connsiteX13" fmla="*/ 4633761 w 4836961"/>
                    <a:gd name="connsiteY13" fmla="*/ 2820623 h 2872940"/>
                    <a:gd name="connsiteX14" fmla="*/ 4614711 w 4836961"/>
                    <a:gd name="connsiteY14" fmla="*/ 2826973 h 2872940"/>
                    <a:gd name="connsiteX15" fmla="*/ 3312961 w 4836961"/>
                    <a:gd name="connsiteY15" fmla="*/ 2833323 h 2872940"/>
                    <a:gd name="connsiteX16" fmla="*/ 2900211 w 4836961"/>
                    <a:gd name="connsiteY16" fmla="*/ 2814273 h 2872940"/>
                    <a:gd name="connsiteX17" fmla="*/ 2836711 w 4836961"/>
                    <a:gd name="connsiteY17" fmla="*/ 2807923 h 2872940"/>
                    <a:gd name="connsiteX18" fmla="*/ 2779561 w 4836961"/>
                    <a:gd name="connsiteY18" fmla="*/ 2801573 h 2872940"/>
                    <a:gd name="connsiteX19" fmla="*/ 2601761 w 4836961"/>
                    <a:gd name="connsiteY19" fmla="*/ 2795223 h 2872940"/>
                    <a:gd name="connsiteX20" fmla="*/ 1674661 w 4836961"/>
                    <a:gd name="connsiteY20" fmla="*/ 2801573 h 2872940"/>
                    <a:gd name="connsiteX21" fmla="*/ 1623861 w 4836961"/>
                    <a:gd name="connsiteY21" fmla="*/ 2807923 h 2872940"/>
                    <a:gd name="connsiteX22" fmla="*/ 1547661 w 4836961"/>
                    <a:gd name="connsiteY22" fmla="*/ 2814273 h 2872940"/>
                    <a:gd name="connsiteX23" fmla="*/ 61761 w 4836961"/>
                    <a:gd name="connsiteY23" fmla="*/ 2814273 h 2872940"/>
                    <a:gd name="connsiteX24" fmla="*/ 55411 w 4836961"/>
                    <a:gd name="connsiteY24" fmla="*/ 2795223 h 2872940"/>
                    <a:gd name="connsiteX25" fmla="*/ 49061 w 4836961"/>
                    <a:gd name="connsiteY25" fmla="*/ 2763473 h 2872940"/>
                    <a:gd name="connsiteX26" fmla="*/ 36361 w 4836961"/>
                    <a:gd name="connsiteY26" fmla="*/ 2623773 h 2872940"/>
                    <a:gd name="connsiteX27" fmla="*/ 23661 w 4836961"/>
                    <a:gd name="connsiteY27" fmla="*/ 2553923 h 2872940"/>
                    <a:gd name="connsiteX28" fmla="*/ 17311 w 4836961"/>
                    <a:gd name="connsiteY28" fmla="*/ 1258523 h 2872940"/>
                    <a:gd name="connsiteX29" fmla="*/ 23661 w 4836961"/>
                    <a:gd name="connsiteY29" fmla="*/ 1068023 h 2872940"/>
                    <a:gd name="connsiteX30" fmla="*/ 30011 w 4836961"/>
                    <a:gd name="connsiteY30" fmla="*/ 39323 h 2872940"/>
                    <a:gd name="connsiteX31" fmla="*/ 30011 w 4836961"/>
                    <a:gd name="connsiteY31" fmla="*/ 7573 h 2872940"/>
                    <a:gd name="connsiteX0" fmla="*/ 30011 w 4836961"/>
                    <a:gd name="connsiteY0" fmla="*/ 7573 h 2872940"/>
                    <a:gd name="connsiteX1" fmla="*/ 436411 w 4836961"/>
                    <a:gd name="connsiteY1" fmla="*/ 1223 h 2872940"/>
                    <a:gd name="connsiteX2" fmla="*/ 811061 w 4836961"/>
                    <a:gd name="connsiteY2" fmla="*/ 1223 h 2872940"/>
                    <a:gd name="connsiteX3" fmla="*/ 1706411 w 4836961"/>
                    <a:gd name="connsiteY3" fmla="*/ 13923 h 2872940"/>
                    <a:gd name="connsiteX4" fmla="*/ 2258861 w 4836961"/>
                    <a:gd name="connsiteY4" fmla="*/ 26623 h 2872940"/>
                    <a:gd name="connsiteX5" fmla="*/ 4563911 w 4836961"/>
                    <a:gd name="connsiteY5" fmla="*/ 13923 h 2872940"/>
                    <a:gd name="connsiteX6" fmla="*/ 4811561 w 4836961"/>
                    <a:gd name="connsiteY6" fmla="*/ 528273 h 2872940"/>
                    <a:gd name="connsiteX7" fmla="*/ 4786161 w 4836961"/>
                    <a:gd name="connsiteY7" fmla="*/ 1683973 h 2872940"/>
                    <a:gd name="connsiteX8" fmla="*/ 4824261 w 4836961"/>
                    <a:gd name="connsiteY8" fmla="*/ 2465023 h 2872940"/>
                    <a:gd name="connsiteX9" fmla="*/ 4836961 w 4836961"/>
                    <a:gd name="connsiteY9" fmla="*/ 2687273 h 2872940"/>
                    <a:gd name="connsiteX10" fmla="*/ 4824261 w 4836961"/>
                    <a:gd name="connsiteY10" fmla="*/ 2744423 h 2872940"/>
                    <a:gd name="connsiteX11" fmla="*/ 4786161 w 4836961"/>
                    <a:gd name="connsiteY11" fmla="*/ 2801573 h 2872940"/>
                    <a:gd name="connsiteX12" fmla="*/ 4633761 w 4836961"/>
                    <a:gd name="connsiteY12" fmla="*/ 2820623 h 2872940"/>
                    <a:gd name="connsiteX13" fmla="*/ 4614711 w 4836961"/>
                    <a:gd name="connsiteY13" fmla="*/ 2826973 h 2872940"/>
                    <a:gd name="connsiteX14" fmla="*/ 3312961 w 4836961"/>
                    <a:gd name="connsiteY14" fmla="*/ 2833323 h 2872940"/>
                    <a:gd name="connsiteX15" fmla="*/ 2900211 w 4836961"/>
                    <a:gd name="connsiteY15" fmla="*/ 2814273 h 2872940"/>
                    <a:gd name="connsiteX16" fmla="*/ 2836711 w 4836961"/>
                    <a:gd name="connsiteY16" fmla="*/ 2807923 h 2872940"/>
                    <a:gd name="connsiteX17" fmla="*/ 2779561 w 4836961"/>
                    <a:gd name="connsiteY17" fmla="*/ 2801573 h 2872940"/>
                    <a:gd name="connsiteX18" fmla="*/ 2601761 w 4836961"/>
                    <a:gd name="connsiteY18" fmla="*/ 2795223 h 2872940"/>
                    <a:gd name="connsiteX19" fmla="*/ 1674661 w 4836961"/>
                    <a:gd name="connsiteY19" fmla="*/ 2801573 h 2872940"/>
                    <a:gd name="connsiteX20" fmla="*/ 1623861 w 4836961"/>
                    <a:gd name="connsiteY20" fmla="*/ 2807923 h 2872940"/>
                    <a:gd name="connsiteX21" fmla="*/ 1547661 w 4836961"/>
                    <a:gd name="connsiteY21" fmla="*/ 2814273 h 2872940"/>
                    <a:gd name="connsiteX22" fmla="*/ 61761 w 4836961"/>
                    <a:gd name="connsiteY22" fmla="*/ 2814273 h 2872940"/>
                    <a:gd name="connsiteX23" fmla="*/ 55411 w 4836961"/>
                    <a:gd name="connsiteY23" fmla="*/ 2795223 h 2872940"/>
                    <a:gd name="connsiteX24" fmla="*/ 49061 w 4836961"/>
                    <a:gd name="connsiteY24" fmla="*/ 2763473 h 2872940"/>
                    <a:gd name="connsiteX25" fmla="*/ 36361 w 4836961"/>
                    <a:gd name="connsiteY25" fmla="*/ 2623773 h 2872940"/>
                    <a:gd name="connsiteX26" fmla="*/ 23661 w 4836961"/>
                    <a:gd name="connsiteY26" fmla="*/ 2553923 h 2872940"/>
                    <a:gd name="connsiteX27" fmla="*/ 17311 w 4836961"/>
                    <a:gd name="connsiteY27" fmla="*/ 1258523 h 2872940"/>
                    <a:gd name="connsiteX28" fmla="*/ 23661 w 4836961"/>
                    <a:gd name="connsiteY28" fmla="*/ 1068023 h 2872940"/>
                    <a:gd name="connsiteX29" fmla="*/ 30011 w 4836961"/>
                    <a:gd name="connsiteY29" fmla="*/ 39323 h 2872940"/>
                    <a:gd name="connsiteX30" fmla="*/ 30011 w 4836961"/>
                    <a:gd name="connsiteY30" fmla="*/ 7573 h 2872940"/>
                    <a:gd name="connsiteX0" fmla="*/ 30011 w 4843494"/>
                    <a:gd name="connsiteY0" fmla="*/ 7573 h 2872940"/>
                    <a:gd name="connsiteX1" fmla="*/ 436411 w 4843494"/>
                    <a:gd name="connsiteY1" fmla="*/ 1223 h 2872940"/>
                    <a:gd name="connsiteX2" fmla="*/ 811061 w 4843494"/>
                    <a:gd name="connsiteY2" fmla="*/ 1223 h 2872940"/>
                    <a:gd name="connsiteX3" fmla="*/ 1706411 w 4843494"/>
                    <a:gd name="connsiteY3" fmla="*/ 13923 h 2872940"/>
                    <a:gd name="connsiteX4" fmla="*/ 2258861 w 4843494"/>
                    <a:gd name="connsiteY4" fmla="*/ 26623 h 2872940"/>
                    <a:gd name="connsiteX5" fmla="*/ 4563911 w 4843494"/>
                    <a:gd name="connsiteY5" fmla="*/ 13923 h 2872940"/>
                    <a:gd name="connsiteX6" fmla="*/ 4811561 w 4843494"/>
                    <a:gd name="connsiteY6" fmla="*/ 528273 h 2872940"/>
                    <a:gd name="connsiteX7" fmla="*/ 4786161 w 4843494"/>
                    <a:gd name="connsiteY7" fmla="*/ 1683973 h 2872940"/>
                    <a:gd name="connsiteX8" fmla="*/ 4824261 w 4843494"/>
                    <a:gd name="connsiteY8" fmla="*/ 2465023 h 2872940"/>
                    <a:gd name="connsiteX9" fmla="*/ 4836961 w 4843494"/>
                    <a:gd name="connsiteY9" fmla="*/ 2687273 h 2872940"/>
                    <a:gd name="connsiteX10" fmla="*/ 4824261 w 4843494"/>
                    <a:gd name="connsiteY10" fmla="*/ 2744423 h 2872940"/>
                    <a:gd name="connsiteX11" fmla="*/ 4633761 w 4843494"/>
                    <a:gd name="connsiteY11" fmla="*/ 2820623 h 2872940"/>
                    <a:gd name="connsiteX12" fmla="*/ 4614711 w 4843494"/>
                    <a:gd name="connsiteY12" fmla="*/ 2826973 h 2872940"/>
                    <a:gd name="connsiteX13" fmla="*/ 3312961 w 4843494"/>
                    <a:gd name="connsiteY13" fmla="*/ 2833323 h 2872940"/>
                    <a:gd name="connsiteX14" fmla="*/ 2900211 w 4843494"/>
                    <a:gd name="connsiteY14" fmla="*/ 2814273 h 2872940"/>
                    <a:gd name="connsiteX15" fmla="*/ 2836711 w 4843494"/>
                    <a:gd name="connsiteY15" fmla="*/ 2807923 h 2872940"/>
                    <a:gd name="connsiteX16" fmla="*/ 2779561 w 4843494"/>
                    <a:gd name="connsiteY16" fmla="*/ 2801573 h 2872940"/>
                    <a:gd name="connsiteX17" fmla="*/ 2601761 w 4843494"/>
                    <a:gd name="connsiteY17" fmla="*/ 2795223 h 2872940"/>
                    <a:gd name="connsiteX18" fmla="*/ 1674661 w 4843494"/>
                    <a:gd name="connsiteY18" fmla="*/ 2801573 h 2872940"/>
                    <a:gd name="connsiteX19" fmla="*/ 1623861 w 4843494"/>
                    <a:gd name="connsiteY19" fmla="*/ 2807923 h 2872940"/>
                    <a:gd name="connsiteX20" fmla="*/ 1547661 w 4843494"/>
                    <a:gd name="connsiteY20" fmla="*/ 2814273 h 2872940"/>
                    <a:gd name="connsiteX21" fmla="*/ 61761 w 4843494"/>
                    <a:gd name="connsiteY21" fmla="*/ 2814273 h 2872940"/>
                    <a:gd name="connsiteX22" fmla="*/ 55411 w 4843494"/>
                    <a:gd name="connsiteY22" fmla="*/ 2795223 h 2872940"/>
                    <a:gd name="connsiteX23" fmla="*/ 49061 w 4843494"/>
                    <a:gd name="connsiteY23" fmla="*/ 2763473 h 2872940"/>
                    <a:gd name="connsiteX24" fmla="*/ 36361 w 4843494"/>
                    <a:gd name="connsiteY24" fmla="*/ 2623773 h 2872940"/>
                    <a:gd name="connsiteX25" fmla="*/ 23661 w 4843494"/>
                    <a:gd name="connsiteY25" fmla="*/ 2553923 h 2872940"/>
                    <a:gd name="connsiteX26" fmla="*/ 17311 w 4843494"/>
                    <a:gd name="connsiteY26" fmla="*/ 1258523 h 2872940"/>
                    <a:gd name="connsiteX27" fmla="*/ 23661 w 4843494"/>
                    <a:gd name="connsiteY27" fmla="*/ 1068023 h 2872940"/>
                    <a:gd name="connsiteX28" fmla="*/ 30011 w 4843494"/>
                    <a:gd name="connsiteY28" fmla="*/ 39323 h 2872940"/>
                    <a:gd name="connsiteX29" fmla="*/ 30011 w 4843494"/>
                    <a:gd name="connsiteY29" fmla="*/ 7573 h 2872940"/>
                    <a:gd name="connsiteX0" fmla="*/ 30011 w 4839769"/>
                    <a:gd name="connsiteY0" fmla="*/ 7573 h 2872940"/>
                    <a:gd name="connsiteX1" fmla="*/ 436411 w 4839769"/>
                    <a:gd name="connsiteY1" fmla="*/ 1223 h 2872940"/>
                    <a:gd name="connsiteX2" fmla="*/ 811061 w 4839769"/>
                    <a:gd name="connsiteY2" fmla="*/ 1223 h 2872940"/>
                    <a:gd name="connsiteX3" fmla="*/ 1706411 w 4839769"/>
                    <a:gd name="connsiteY3" fmla="*/ 13923 h 2872940"/>
                    <a:gd name="connsiteX4" fmla="*/ 2258861 w 4839769"/>
                    <a:gd name="connsiteY4" fmla="*/ 26623 h 2872940"/>
                    <a:gd name="connsiteX5" fmla="*/ 4563911 w 4839769"/>
                    <a:gd name="connsiteY5" fmla="*/ 13923 h 2872940"/>
                    <a:gd name="connsiteX6" fmla="*/ 4811561 w 4839769"/>
                    <a:gd name="connsiteY6" fmla="*/ 528273 h 2872940"/>
                    <a:gd name="connsiteX7" fmla="*/ 4786161 w 4839769"/>
                    <a:gd name="connsiteY7" fmla="*/ 1683973 h 2872940"/>
                    <a:gd name="connsiteX8" fmla="*/ 4824261 w 4839769"/>
                    <a:gd name="connsiteY8" fmla="*/ 2465023 h 2872940"/>
                    <a:gd name="connsiteX9" fmla="*/ 4836961 w 4839769"/>
                    <a:gd name="connsiteY9" fmla="*/ 2687273 h 2872940"/>
                    <a:gd name="connsiteX10" fmla="*/ 4817911 w 4839769"/>
                    <a:gd name="connsiteY10" fmla="*/ 2814273 h 2872940"/>
                    <a:gd name="connsiteX11" fmla="*/ 4633761 w 4839769"/>
                    <a:gd name="connsiteY11" fmla="*/ 2820623 h 2872940"/>
                    <a:gd name="connsiteX12" fmla="*/ 4614711 w 4839769"/>
                    <a:gd name="connsiteY12" fmla="*/ 2826973 h 2872940"/>
                    <a:gd name="connsiteX13" fmla="*/ 3312961 w 4839769"/>
                    <a:gd name="connsiteY13" fmla="*/ 2833323 h 2872940"/>
                    <a:gd name="connsiteX14" fmla="*/ 2900211 w 4839769"/>
                    <a:gd name="connsiteY14" fmla="*/ 2814273 h 2872940"/>
                    <a:gd name="connsiteX15" fmla="*/ 2836711 w 4839769"/>
                    <a:gd name="connsiteY15" fmla="*/ 2807923 h 2872940"/>
                    <a:gd name="connsiteX16" fmla="*/ 2779561 w 4839769"/>
                    <a:gd name="connsiteY16" fmla="*/ 2801573 h 2872940"/>
                    <a:gd name="connsiteX17" fmla="*/ 2601761 w 4839769"/>
                    <a:gd name="connsiteY17" fmla="*/ 2795223 h 2872940"/>
                    <a:gd name="connsiteX18" fmla="*/ 1674661 w 4839769"/>
                    <a:gd name="connsiteY18" fmla="*/ 2801573 h 2872940"/>
                    <a:gd name="connsiteX19" fmla="*/ 1623861 w 4839769"/>
                    <a:gd name="connsiteY19" fmla="*/ 2807923 h 2872940"/>
                    <a:gd name="connsiteX20" fmla="*/ 1547661 w 4839769"/>
                    <a:gd name="connsiteY20" fmla="*/ 2814273 h 2872940"/>
                    <a:gd name="connsiteX21" fmla="*/ 61761 w 4839769"/>
                    <a:gd name="connsiteY21" fmla="*/ 2814273 h 2872940"/>
                    <a:gd name="connsiteX22" fmla="*/ 55411 w 4839769"/>
                    <a:gd name="connsiteY22" fmla="*/ 2795223 h 2872940"/>
                    <a:gd name="connsiteX23" fmla="*/ 49061 w 4839769"/>
                    <a:gd name="connsiteY23" fmla="*/ 2763473 h 2872940"/>
                    <a:gd name="connsiteX24" fmla="*/ 36361 w 4839769"/>
                    <a:gd name="connsiteY24" fmla="*/ 2623773 h 2872940"/>
                    <a:gd name="connsiteX25" fmla="*/ 23661 w 4839769"/>
                    <a:gd name="connsiteY25" fmla="*/ 2553923 h 2872940"/>
                    <a:gd name="connsiteX26" fmla="*/ 17311 w 4839769"/>
                    <a:gd name="connsiteY26" fmla="*/ 1258523 h 2872940"/>
                    <a:gd name="connsiteX27" fmla="*/ 23661 w 4839769"/>
                    <a:gd name="connsiteY27" fmla="*/ 1068023 h 2872940"/>
                    <a:gd name="connsiteX28" fmla="*/ 30011 w 4839769"/>
                    <a:gd name="connsiteY28" fmla="*/ 39323 h 2872940"/>
                    <a:gd name="connsiteX29" fmla="*/ 30011 w 4839769"/>
                    <a:gd name="connsiteY29" fmla="*/ 7573 h 2872940"/>
                    <a:gd name="connsiteX0" fmla="*/ 30011 w 4839769"/>
                    <a:gd name="connsiteY0" fmla="*/ 7573 h 2872940"/>
                    <a:gd name="connsiteX1" fmla="*/ 436411 w 4839769"/>
                    <a:gd name="connsiteY1" fmla="*/ 1223 h 2872940"/>
                    <a:gd name="connsiteX2" fmla="*/ 811061 w 4839769"/>
                    <a:gd name="connsiteY2" fmla="*/ 1223 h 2872940"/>
                    <a:gd name="connsiteX3" fmla="*/ 1706411 w 4839769"/>
                    <a:gd name="connsiteY3" fmla="*/ 13923 h 2872940"/>
                    <a:gd name="connsiteX4" fmla="*/ 2258861 w 4839769"/>
                    <a:gd name="connsiteY4" fmla="*/ 26623 h 2872940"/>
                    <a:gd name="connsiteX5" fmla="*/ 4563911 w 4839769"/>
                    <a:gd name="connsiteY5" fmla="*/ 13923 h 2872940"/>
                    <a:gd name="connsiteX6" fmla="*/ 4811561 w 4839769"/>
                    <a:gd name="connsiteY6" fmla="*/ 528273 h 2872940"/>
                    <a:gd name="connsiteX7" fmla="*/ 4786161 w 4839769"/>
                    <a:gd name="connsiteY7" fmla="*/ 1683973 h 2872940"/>
                    <a:gd name="connsiteX8" fmla="*/ 4824261 w 4839769"/>
                    <a:gd name="connsiteY8" fmla="*/ 2465023 h 2872940"/>
                    <a:gd name="connsiteX9" fmla="*/ 4836961 w 4839769"/>
                    <a:gd name="connsiteY9" fmla="*/ 2687273 h 2872940"/>
                    <a:gd name="connsiteX10" fmla="*/ 4817911 w 4839769"/>
                    <a:gd name="connsiteY10" fmla="*/ 2814273 h 2872940"/>
                    <a:gd name="connsiteX11" fmla="*/ 4633761 w 4839769"/>
                    <a:gd name="connsiteY11" fmla="*/ 2820623 h 2872940"/>
                    <a:gd name="connsiteX12" fmla="*/ 3312961 w 4839769"/>
                    <a:gd name="connsiteY12" fmla="*/ 2833323 h 2872940"/>
                    <a:gd name="connsiteX13" fmla="*/ 2900211 w 4839769"/>
                    <a:gd name="connsiteY13" fmla="*/ 2814273 h 2872940"/>
                    <a:gd name="connsiteX14" fmla="*/ 2836711 w 4839769"/>
                    <a:gd name="connsiteY14" fmla="*/ 2807923 h 2872940"/>
                    <a:gd name="connsiteX15" fmla="*/ 2779561 w 4839769"/>
                    <a:gd name="connsiteY15" fmla="*/ 2801573 h 2872940"/>
                    <a:gd name="connsiteX16" fmla="*/ 2601761 w 4839769"/>
                    <a:gd name="connsiteY16" fmla="*/ 2795223 h 2872940"/>
                    <a:gd name="connsiteX17" fmla="*/ 1674661 w 4839769"/>
                    <a:gd name="connsiteY17" fmla="*/ 2801573 h 2872940"/>
                    <a:gd name="connsiteX18" fmla="*/ 1623861 w 4839769"/>
                    <a:gd name="connsiteY18" fmla="*/ 2807923 h 2872940"/>
                    <a:gd name="connsiteX19" fmla="*/ 1547661 w 4839769"/>
                    <a:gd name="connsiteY19" fmla="*/ 2814273 h 2872940"/>
                    <a:gd name="connsiteX20" fmla="*/ 61761 w 4839769"/>
                    <a:gd name="connsiteY20" fmla="*/ 2814273 h 2872940"/>
                    <a:gd name="connsiteX21" fmla="*/ 55411 w 4839769"/>
                    <a:gd name="connsiteY21" fmla="*/ 2795223 h 2872940"/>
                    <a:gd name="connsiteX22" fmla="*/ 49061 w 4839769"/>
                    <a:gd name="connsiteY22" fmla="*/ 2763473 h 2872940"/>
                    <a:gd name="connsiteX23" fmla="*/ 36361 w 4839769"/>
                    <a:gd name="connsiteY23" fmla="*/ 2623773 h 2872940"/>
                    <a:gd name="connsiteX24" fmla="*/ 23661 w 4839769"/>
                    <a:gd name="connsiteY24" fmla="*/ 2553923 h 2872940"/>
                    <a:gd name="connsiteX25" fmla="*/ 17311 w 4839769"/>
                    <a:gd name="connsiteY25" fmla="*/ 1258523 h 2872940"/>
                    <a:gd name="connsiteX26" fmla="*/ 23661 w 4839769"/>
                    <a:gd name="connsiteY26" fmla="*/ 1068023 h 2872940"/>
                    <a:gd name="connsiteX27" fmla="*/ 30011 w 4839769"/>
                    <a:gd name="connsiteY27" fmla="*/ 39323 h 2872940"/>
                    <a:gd name="connsiteX28" fmla="*/ 30011 w 4839769"/>
                    <a:gd name="connsiteY28" fmla="*/ 7573 h 2872940"/>
                    <a:gd name="connsiteX0" fmla="*/ 30011 w 4839769"/>
                    <a:gd name="connsiteY0" fmla="*/ 7573 h 2872940"/>
                    <a:gd name="connsiteX1" fmla="*/ 436411 w 4839769"/>
                    <a:gd name="connsiteY1" fmla="*/ 1223 h 2872940"/>
                    <a:gd name="connsiteX2" fmla="*/ 811061 w 4839769"/>
                    <a:gd name="connsiteY2" fmla="*/ 1223 h 2872940"/>
                    <a:gd name="connsiteX3" fmla="*/ 1706411 w 4839769"/>
                    <a:gd name="connsiteY3" fmla="*/ 13923 h 2872940"/>
                    <a:gd name="connsiteX4" fmla="*/ 2258861 w 4839769"/>
                    <a:gd name="connsiteY4" fmla="*/ 26623 h 2872940"/>
                    <a:gd name="connsiteX5" fmla="*/ 4563911 w 4839769"/>
                    <a:gd name="connsiteY5" fmla="*/ 13923 h 2872940"/>
                    <a:gd name="connsiteX6" fmla="*/ 4811561 w 4839769"/>
                    <a:gd name="connsiteY6" fmla="*/ 528273 h 2872940"/>
                    <a:gd name="connsiteX7" fmla="*/ 4786161 w 4839769"/>
                    <a:gd name="connsiteY7" fmla="*/ 1683973 h 2872940"/>
                    <a:gd name="connsiteX8" fmla="*/ 4824261 w 4839769"/>
                    <a:gd name="connsiteY8" fmla="*/ 2465023 h 2872940"/>
                    <a:gd name="connsiteX9" fmla="*/ 4836961 w 4839769"/>
                    <a:gd name="connsiteY9" fmla="*/ 2687273 h 2872940"/>
                    <a:gd name="connsiteX10" fmla="*/ 4817911 w 4839769"/>
                    <a:gd name="connsiteY10" fmla="*/ 2814273 h 2872940"/>
                    <a:gd name="connsiteX11" fmla="*/ 4633761 w 4839769"/>
                    <a:gd name="connsiteY11" fmla="*/ 2820623 h 2872940"/>
                    <a:gd name="connsiteX12" fmla="*/ 2900211 w 4839769"/>
                    <a:gd name="connsiteY12" fmla="*/ 2814273 h 2872940"/>
                    <a:gd name="connsiteX13" fmla="*/ 2836711 w 4839769"/>
                    <a:gd name="connsiteY13" fmla="*/ 2807923 h 2872940"/>
                    <a:gd name="connsiteX14" fmla="*/ 2779561 w 4839769"/>
                    <a:gd name="connsiteY14" fmla="*/ 2801573 h 2872940"/>
                    <a:gd name="connsiteX15" fmla="*/ 2601761 w 4839769"/>
                    <a:gd name="connsiteY15" fmla="*/ 2795223 h 2872940"/>
                    <a:gd name="connsiteX16" fmla="*/ 1674661 w 4839769"/>
                    <a:gd name="connsiteY16" fmla="*/ 2801573 h 2872940"/>
                    <a:gd name="connsiteX17" fmla="*/ 1623861 w 4839769"/>
                    <a:gd name="connsiteY17" fmla="*/ 2807923 h 2872940"/>
                    <a:gd name="connsiteX18" fmla="*/ 1547661 w 4839769"/>
                    <a:gd name="connsiteY18" fmla="*/ 2814273 h 2872940"/>
                    <a:gd name="connsiteX19" fmla="*/ 61761 w 4839769"/>
                    <a:gd name="connsiteY19" fmla="*/ 2814273 h 2872940"/>
                    <a:gd name="connsiteX20" fmla="*/ 55411 w 4839769"/>
                    <a:gd name="connsiteY20" fmla="*/ 2795223 h 2872940"/>
                    <a:gd name="connsiteX21" fmla="*/ 49061 w 4839769"/>
                    <a:gd name="connsiteY21" fmla="*/ 2763473 h 2872940"/>
                    <a:gd name="connsiteX22" fmla="*/ 36361 w 4839769"/>
                    <a:gd name="connsiteY22" fmla="*/ 2623773 h 2872940"/>
                    <a:gd name="connsiteX23" fmla="*/ 23661 w 4839769"/>
                    <a:gd name="connsiteY23" fmla="*/ 2553923 h 2872940"/>
                    <a:gd name="connsiteX24" fmla="*/ 17311 w 4839769"/>
                    <a:gd name="connsiteY24" fmla="*/ 1258523 h 2872940"/>
                    <a:gd name="connsiteX25" fmla="*/ 23661 w 4839769"/>
                    <a:gd name="connsiteY25" fmla="*/ 1068023 h 2872940"/>
                    <a:gd name="connsiteX26" fmla="*/ 30011 w 4839769"/>
                    <a:gd name="connsiteY26" fmla="*/ 39323 h 2872940"/>
                    <a:gd name="connsiteX27" fmla="*/ 30011 w 4839769"/>
                    <a:gd name="connsiteY27" fmla="*/ 7573 h 2872940"/>
                    <a:gd name="connsiteX0" fmla="*/ 30011 w 4839769"/>
                    <a:gd name="connsiteY0" fmla="*/ 7573 h 2872940"/>
                    <a:gd name="connsiteX1" fmla="*/ 436411 w 4839769"/>
                    <a:gd name="connsiteY1" fmla="*/ 1223 h 2872940"/>
                    <a:gd name="connsiteX2" fmla="*/ 811061 w 4839769"/>
                    <a:gd name="connsiteY2" fmla="*/ 1223 h 2872940"/>
                    <a:gd name="connsiteX3" fmla="*/ 1706411 w 4839769"/>
                    <a:gd name="connsiteY3" fmla="*/ 13923 h 2872940"/>
                    <a:gd name="connsiteX4" fmla="*/ 2258861 w 4839769"/>
                    <a:gd name="connsiteY4" fmla="*/ 26623 h 2872940"/>
                    <a:gd name="connsiteX5" fmla="*/ 4563911 w 4839769"/>
                    <a:gd name="connsiteY5" fmla="*/ 13923 h 2872940"/>
                    <a:gd name="connsiteX6" fmla="*/ 4811561 w 4839769"/>
                    <a:gd name="connsiteY6" fmla="*/ 528273 h 2872940"/>
                    <a:gd name="connsiteX7" fmla="*/ 4786161 w 4839769"/>
                    <a:gd name="connsiteY7" fmla="*/ 1683973 h 2872940"/>
                    <a:gd name="connsiteX8" fmla="*/ 4824261 w 4839769"/>
                    <a:gd name="connsiteY8" fmla="*/ 2465023 h 2872940"/>
                    <a:gd name="connsiteX9" fmla="*/ 4836961 w 4839769"/>
                    <a:gd name="connsiteY9" fmla="*/ 2687273 h 2872940"/>
                    <a:gd name="connsiteX10" fmla="*/ 4817911 w 4839769"/>
                    <a:gd name="connsiteY10" fmla="*/ 2814273 h 2872940"/>
                    <a:gd name="connsiteX11" fmla="*/ 4633761 w 4839769"/>
                    <a:gd name="connsiteY11" fmla="*/ 2820623 h 2872940"/>
                    <a:gd name="connsiteX12" fmla="*/ 2900211 w 4839769"/>
                    <a:gd name="connsiteY12" fmla="*/ 2814273 h 2872940"/>
                    <a:gd name="connsiteX13" fmla="*/ 2836711 w 4839769"/>
                    <a:gd name="connsiteY13" fmla="*/ 2807923 h 2872940"/>
                    <a:gd name="connsiteX14" fmla="*/ 2601761 w 4839769"/>
                    <a:gd name="connsiteY14" fmla="*/ 2795223 h 2872940"/>
                    <a:gd name="connsiteX15" fmla="*/ 1674661 w 4839769"/>
                    <a:gd name="connsiteY15" fmla="*/ 2801573 h 2872940"/>
                    <a:gd name="connsiteX16" fmla="*/ 1623861 w 4839769"/>
                    <a:gd name="connsiteY16" fmla="*/ 2807923 h 2872940"/>
                    <a:gd name="connsiteX17" fmla="*/ 1547661 w 4839769"/>
                    <a:gd name="connsiteY17" fmla="*/ 2814273 h 2872940"/>
                    <a:gd name="connsiteX18" fmla="*/ 61761 w 4839769"/>
                    <a:gd name="connsiteY18" fmla="*/ 2814273 h 2872940"/>
                    <a:gd name="connsiteX19" fmla="*/ 55411 w 4839769"/>
                    <a:gd name="connsiteY19" fmla="*/ 2795223 h 2872940"/>
                    <a:gd name="connsiteX20" fmla="*/ 49061 w 4839769"/>
                    <a:gd name="connsiteY20" fmla="*/ 2763473 h 2872940"/>
                    <a:gd name="connsiteX21" fmla="*/ 36361 w 4839769"/>
                    <a:gd name="connsiteY21" fmla="*/ 2623773 h 2872940"/>
                    <a:gd name="connsiteX22" fmla="*/ 23661 w 4839769"/>
                    <a:gd name="connsiteY22" fmla="*/ 2553923 h 2872940"/>
                    <a:gd name="connsiteX23" fmla="*/ 17311 w 4839769"/>
                    <a:gd name="connsiteY23" fmla="*/ 1258523 h 2872940"/>
                    <a:gd name="connsiteX24" fmla="*/ 23661 w 4839769"/>
                    <a:gd name="connsiteY24" fmla="*/ 1068023 h 2872940"/>
                    <a:gd name="connsiteX25" fmla="*/ 30011 w 4839769"/>
                    <a:gd name="connsiteY25" fmla="*/ 39323 h 2872940"/>
                    <a:gd name="connsiteX26" fmla="*/ 30011 w 4839769"/>
                    <a:gd name="connsiteY26" fmla="*/ 7573 h 2872940"/>
                    <a:gd name="connsiteX0" fmla="*/ 30011 w 4839769"/>
                    <a:gd name="connsiteY0" fmla="*/ 7573 h 2872940"/>
                    <a:gd name="connsiteX1" fmla="*/ 436411 w 4839769"/>
                    <a:gd name="connsiteY1" fmla="*/ 1223 h 2872940"/>
                    <a:gd name="connsiteX2" fmla="*/ 811061 w 4839769"/>
                    <a:gd name="connsiteY2" fmla="*/ 1223 h 2872940"/>
                    <a:gd name="connsiteX3" fmla="*/ 1706411 w 4839769"/>
                    <a:gd name="connsiteY3" fmla="*/ 13923 h 2872940"/>
                    <a:gd name="connsiteX4" fmla="*/ 2258861 w 4839769"/>
                    <a:gd name="connsiteY4" fmla="*/ 26623 h 2872940"/>
                    <a:gd name="connsiteX5" fmla="*/ 4563911 w 4839769"/>
                    <a:gd name="connsiteY5" fmla="*/ 13923 h 2872940"/>
                    <a:gd name="connsiteX6" fmla="*/ 4811561 w 4839769"/>
                    <a:gd name="connsiteY6" fmla="*/ 528273 h 2872940"/>
                    <a:gd name="connsiteX7" fmla="*/ 4786161 w 4839769"/>
                    <a:gd name="connsiteY7" fmla="*/ 1683973 h 2872940"/>
                    <a:gd name="connsiteX8" fmla="*/ 4824261 w 4839769"/>
                    <a:gd name="connsiteY8" fmla="*/ 2465023 h 2872940"/>
                    <a:gd name="connsiteX9" fmla="*/ 4836961 w 4839769"/>
                    <a:gd name="connsiteY9" fmla="*/ 2687273 h 2872940"/>
                    <a:gd name="connsiteX10" fmla="*/ 4817911 w 4839769"/>
                    <a:gd name="connsiteY10" fmla="*/ 2814273 h 2872940"/>
                    <a:gd name="connsiteX11" fmla="*/ 4633761 w 4839769"/>
                    <a:gd name="connsiteY11" fmla="*/ 2820623 h 2872940"/>
                    <a:gd name="connsiteX12" fmla="*/ 2900211 w 4839769"/>
                    <a:gd name="connsiteY12" fmla="*/ 2814273 h 2872940"/>
                    <a:gd name="connsiteX13" fmla="*/ 2836711 w 4839769"/>
                    <a:gd name="connsiteY13" fmla="*/ 2807923 h 2872940"/>
                    <a:gd name="connsiteX14" fmla="*/ 1674661 w 4839769"/>
                    <a:gd name="connsiteY14" fmla="*/ 2801573 h 2872940"/>
                    <a:gd name="connsiteX15" fmla="*/ 1623861 w 4839769"/>
                    <a:gd name="connsiteY15" fmla="*/ 2807923 h 2872940"/>
                    <a:gd name="connsiteX16" fmla="*/ 1547661 w 4839769"/>
                    <a:gd name="connsiteY16" fmla="*/ 2814273 h 2872940"/>
                    <a:gd name="connsiteX17" fmla="*/ 61761 w 4839769"/>
                    <a:gd name="connsiteY17" fmla="*/ 2814273 h 2872940"/>
                    <a:gd name="connsiteX18" fmla="*/ 55411 w 4839769"/>
                    <a:gd name="connsiteY18" fmla="*/ 2795223 h 2872940"/>
                    <a:gd name="connsiteX19" fmla="*/ 49061 w 4839769"/>
                    <a:gd name="connsiteY19" fmla="*/ 2763473 h 2872940"/>
                    <a:gd name="connsiteX20" fmla="*/ 36361 w 4839769"/>
                    <a:gd name="connsiteY20" fmla="*/ 2623773 h 2872940"/>
                    <a:gd name="connsiteX21" fmla="*/ 23661 w 4839769"/>
                    <a:gd name="connsiteY21" fmla="*/ 2553923 h 2872940"/>
                    <a:gd name="connsiteX22" fmla="*/ 17311 w 4839769"/>
                    <a:gd name="connsiteY22" fmla="*/ 1258523 h 2872940"/>
                    <a:gd name="connsiteX23" fmla="*/ 23661 w 4839769"/>
                    <a:gd name="connsiteY23" fmla="*/ 1068023 h 2872940"/>
                    <a:gd name="connsiteX24" fmla="*/ 30011 w 4839769"/>
                    <a:gd name="connsiteY24" fmla="*/ 39323 h 2872940"/>
                    <a:gd name="connsiteX25" fmla="*/ 30011 w 4839769"/>
                    <a:gd name="connsiteY25" fmla="*/ 7573 h 2872940"/>
                    <a:gd name="connsiteX0" fmla="*/ 85732 w 4895490"/>
                    <a:gd name="connsiteY0" fmla="*/ 7573 h 2822848"/>
                    <a:gd name="connsiteX1" fmla="*/ 492132 w 4895490"/>
                    <a:gd name="connsiteY1" fmla="*/ 1223 h 2822848"/>
                    <a:gd name="connsiteX2" fmla="*/ 866782 w 4895490"/>
                    <a:gd name="connsiteY2" fmla="*/ 1223 h 2822848"/>
                    <a:gd name="connsiteX3" fmla="*/ 1762132 w 4895490"/>
                    <a:gd name="connsiteY3" fmla="*/ 13923 h 2822848"/>
                    <a:gd name="connsiteX4" fmla="*/ 2314582 w 4895490"/>
                    <a:gd name="connsiteY4" fmla="*/ 26623 h 2822848"/>
                    <a:gd name="connsiteX5" fmla="*/ 4619632 w 4895490"/>
                    <a:gd name="connsiteY5" fmla="*/ 13923 h 2822848"/>
                    <a:gd name="connsiteX6" fmla="*/ 4867282 w 4895490"/>
                    <a:gd name="connsiteY6" fmla="*/ 528273 h 2822848"/>
                    <a:gd name="connsiteX7" fmla="*/ 4841882 w 4895490"/>
                    <a:gd name="connsiteY7" fmla="*/ 1683973 h 2822848"/>
                    <a:gd name="connsiteX8" fmla="*/ 4879982 w 4895490"/>
                    <a:gd name="connsiteY8" fmla="*/ 2465023 h 2822848"/>
                    <a:gd name="connsiteX9" fmla="*/ 4892682 w 4895490"/>
                    <a:gd name="connsiteY9" fmla="*/ 2687273 h 2822848"/>
                    <a:gd name="connsiteX10" fmla="*/ 4873632 w 4895490"/>
                    <a:gd name="connsiteY10" fmla="*/ 2814273 h 2822848"/>
                    <a:gd name="connsiteX11" fmla="*/ 4689482 w 4895490"/>
                    <a:gd name="connsiteY11" fmla="*/ 2820623 h 2822848"/>
                    <a:gd name="connsiteX12" fmla="*/ 2955932 w 4895490"/>
                    <a:gd name="connsiteY12" fmla="*/ 2814273 h 2822848"/>
                    <a:gd name="connsiteX13" fmla="*/ 2892432 w 4895490"/>
                    <a:gd name="connsiteY13" fmla="*/ 2807923 h 2822848"/>
                    <a:gd name="connsiteX14" fmla="*/ 1730382 w 4895490"/>
                    <a:gd name="connsiteY14" fmla="*/ 2801573 h 2822848"/>
                    <a:gd name="connsiteX15" fmla="*/ 1679582 w 4895490"/>
                    <a:gd name="connsiteY15" fmla="*/ 2807923 h 2822848"/>
                    <a:gd name="connsiteX16" fmla="*/ 117482 w 4895490"/>
                    <a:gd name="connsiteY16" fmla="*/ 2814273 h 2822848"/>
                    <a:gd name="connsiteX17" fmla="*/ 111132 w 4895490"/>
                    <a:gd name="connsiteY17" fmla="*/ 2795223 h 2822848"/>
                    <a:gd name="connsiteX18" fmla="*/ 104782 w 4895490"/>
                    <a:gd name="connsiteY18" fmla="*/ 2763473 h 2822848"/>
                    <a:gd name="connsiteX19" fmla="*/ 92082 w 4895490"/>
                    <a:gd name="connsiteY19" fmla="*/ 2623773 h 2822848"/>
                    <a:gd name="connsiteX20" fmla="*/ 79382 w 4895490"/>
                    <a:gd name="connsiteY20" fmla="*/ 2553923 h 2822848"/>
                    <a:gd name="connsiteX21" fmla="*/ 73032 w 4895490"/>
                    <a:gd name="connsiteY21" fmla="*/ 1258523 h 2822848"/>
                    <a:gd name="connsiteX22" fmla="*/ 79382 w 4895490"/>
                    <a:gd name="connsiteY22" fmla="*/ 1068023 h 2822848"/>
                    <a:gd name="connsiteX23" fmla="*/ 85732 w 4895490"/>
                    <a:gd name="connsiteY23" fmla="*/ 39323 h 2822848"/>
                    <a:gd name="connsiteX24" fmla="*/ 85732 w 4895490"/>
                    <a:gd name="connsiteY24" fmla="*/ 7573 h 2822848"/>
                    <a:gd name="connsiteX0" fmla="*/ 89494 w 4899252"/>
                    <a:gd name="connsiteY0" fmla="*/ 7573 h 2822848"/>
                    <a:gd name="connsiteX1" fmla="*/ 495894 w 4899252"/>
                    <a:gd name="connsiteY1" fmla="*/ 1223 h 2822848"/>
                    <a:gd name="connsiteX2" fmla="*/ 870544 w 4899252"/>
                    <a:gd name="connsiteY2" fmla="*/ 1223 h 2822848"/>
                    <a:gd name="connsiteX3" fmla="*/ 1765894 w 4899252"/>
                    <a:gd name="connsiteY3" fmla="*/ 13923 h 2822848"/>
                    <a:gd name="connsiteX4" fmla="*/ 2318344 w 4899252"/>
                    <a:gd name="connsiteY4" fmla="*/ 26623 h 2822848"/>
                    <a:gd name="connsiteX5" fmla="*/ 4623394 w 4899252"/>
                    <a:gd name="connsiteY5" fmla="*/ 13923 h 2822848"/>
                    <a:gd name="connsiteX6" fmla="*/ 4871044 w 4899252"/>
                    <a:gd name="connsiteY6" fmla="*/ 528273 h 2822848"/>
                    <a:gd name="connsiteX7" fmla="*/ 4845644 w 4899252"/>
                    <a:gd name="connsiteY7" fmla="*/ 1683973 h 2822848"/>
                    <a:gd name="connsiteX8" fmla="*/ 4883744 w 4899252"/>
                    <a:gd name="connsiteY8" fmla="*/ 2465023 h 2822848"/>
                    <a:gd name="connsiteX9" fmla="*/ 4896444 w 4899252"/>
                    <a:gd name="connsiteY9" fmla="*/ 2687273 h 2822848"/>
                    <a:gd name="connsiteX10" fmla="*/ 4877394 w 4899252"/>
                    <a:gd name="connsiteY10" fmla="*/ 2814273 h 2822848"/>
                    <a:gd name="connsiteX11" fmla="*/ 4693244 w 4899252"/>
                    <a:gd name="connsiteY11" fmla="*/ 2820623 h 2822848"/>
                    <a:gd name="connsiteX12" fmla="*/ 2959694 w 4899252"/>
                    <a:gd name="connsiteY12" fmla="*/ 2814273 h 2822848"/>
                    <a:gd name="connsiteX13" fmla="*/ 2896194 w 4899252"/>
                    <a:gd name="connsiteY13" fmla="*/ 2807923 h 2822848"/>
                    <a:gd name="connsiteX14" fmla="*/ 1734144 w 4899252"/>
                    <a:gd name="connsiteY14" fmla="*/ 2801573 h 2822848"/>
                    <a:gd name="connsiteX15" fmla="*/ 121244 w 4899252"/>
                    <a:gd name="connsiteY15" fmla="*/ 2814273 h 2822848"/>
                    <a:gd name="connsiteX16" fmla="*/ 114894 w 4899252"/>
                    <a:gd name="connsiteY16" fmla="*/ 2795223 h 2822848"/>
                    <a:gd name="connsiteX17" fmla="*/ 108544 w 4899252"/>
                    <a:gd name="connsiteY17" fmla="*/ 2763473 h 2822848"/>
                    <a:gd name="connsiteX18" fmla="*/ 95844 w 4899252"/>
                    <a:gd name="connsiteY18" fmla="*/ 2623773 h 2822848"/>
                    <a:gd name="connsiteX19" fmla="*/ 83144 w 4899252"/>
                    <a:gd name="connsiteY19" fmla="*/ 2553923 h 2822848"/>
                    <a:gd name="connsiteX20" fmla="*/ 76794 w 4899252"/>
                    <a:gd name="connsiteY20" fmla="*/ 1258523 h 2822848"/>
                    <a:gd name="connsiteX21" fmla="*/ 83144 w 4899252"/>
                    <a:gd name="connsiteY21" fmla="*/ 1068023 h 2822848"/>
                    <a:gd name="connsiteX22" fmla="*/ 89494 w 4899252"/>
                    <a:gd name="connsiteY22" fmla="*/ 39323 h 2822848"/>
                    <a:gd name="connsiteX23" fmla="*/ 89494 w 4899252"/>
                    <a:gd name="connsiteY23" fmla="*/ 7573 h 2822848"/>
                    <a:gd name="connsiteX0" fmla="*/ 91067 w 4900825"/>
                    <a:gd name="connsiteY0" fmla="*/ 7573 h 2822848"/>
                    <a:gd name="connsiteX1" fmla="*/ 497467 w 4900825"/>
                    <a:gd name="connsiteY1" fmla="*/ 1223 h 2822848"/>
                    <a:gd name="connsiteX2" fmla="*/ 872117 w 4900825"/>
                    <a:gd name="connsiteY2" fmla="*/ 1223 h 2822848"/>
                    <a:gd name="connsiteX3" fmla="*/ 1767467 w 4900825"/>
                    <a:gd name="connsiteY3" fmla="*/ 13923 h 2822848"/>
                    <a:gd name="connsiteX4" fmla="*/ 2319917 w 4900825"/>
                    <a:gd name="connsiteY4" fmla="*/ 26623 h 2822848"/>
                    <a:gd name="connsiteX5" fmla="*/ 4624967 w 4900825"/>
                    <a:gd name="connsiteY5" fmla="*/ 13923 h 2822848"/>
                    <a:gd name="connsiteX6" fmla="*/ 4872617 w 4900825"/>
                    <a:gd name="connsiteY6" fmla="*/ 528273 h 2822848"/>
                    <a:gd name="connsiteX7" fmla="*/ 4847217 w 4900825"/>
                    <a:gd name="connsiteY7" fmla="*/ 1683973 h 2822848"/>
                    <a:gd name="connsiteX8" fmla="*/ 4885317 w 4900825"/>
                    <a:gd name="connsiteY8" fmla="*/ 2465023 h 2822848"/>
                    <a:gd name="connsiteX9" fmla="*/ 4898017 w 4900825"/>
                    <a:gd name="connsiteY9" fmla="*/ 2687273 h 2822848"/>
                    <a:gd name="connsiteX10" fmla="*/ 4878967 w 4900825"/>
                    <a:gd name="connsiteY10" fmla="*/ 2814273 h 2822848"/>
                    <a:gd name="connsiteX11" fmla="*/ 4694817 w 4900825"/>
                    <a:gd name="connsiteY11" fmla="*/ 2820623 h 2822848"/>
                    <a:gd name="connsiteX12" fmla="*/ 2961267 w 4900825"/>
                    <a:gd name="connsiteY12" fmla="*/ 2814273 h 2822848"/>
                    <a:gd name="connsiteX13" fmla="*/ 2897767 w 4900825"/>
                    <a:gd name="connsiteY13" fmla="*/ 2807923 h 2822848"/>
                    <a:gd name="connsiteX14" fmla="*/ 1735717 w 4900825"/>
                    <a:gd name="connsiteY14" fmla="*/ 2801573 h 2822848"/>
                    <a:gd name="connsiteX15" fmla="*/ 122817 w 4900825"/>
                    <a:gd name="connsiteY15" fmla="*/ 2814273 h 2822848"/>
                    <a:gd name="connsiteX16" fmla="*/ 110117 w 4900825"/>
                    <a:gd name="connsiteY16" fmla="*/ 2763473 h 2822848"/>
                    <a:gd name="connsiteX17" fmla="*/ 97417 w 4900825"/>
                    <a:gd name="connsiteY17" fmla="*/ 2623773 h 2822848"/>
                    <a:gd name="connsiteX18" fmla="*/ 84717 w 4900825"/>
                    <a:gd name="connsiteY18" fmla="*/ 2553923 h 2822848"/>
                    <a:gd name="connsiteX19" fmla="*/ 78367 w 4900825"/>
                    <a:gd name="connsiteY19" fmla="*/ 1258523 h 2822848"/>
                    <a:gd name="connsiteX20" fmla="*/ 84717 w 4900825"/>
                    <a:gd name="connsiteY20" fmla="*/ 1068023 h 2822848"/>
                    <a:gd name="connsiteX21" fmla="*/ 91067 w 4900825"/>
                    <a:gd name="connsiteY21" fmla="*/ 39323 h 2822848"/>
                    <a:gd name="connsiteX22" fmla="*/ 91067 w 4900825"/>
                    <a:gd name="connsiteY22" fmla="*/ 7573 h 2822848"/>
                    <a:gd name="connsiteX0" fmla="*/ 30012 w 4839770"/>
                    <a:gd name="connsiteY0" fmla="*/ 7573 h 2826973"/>
                    <a:gd name="connsiteX1" fmla="*/ 436412 w 4839770"/>
                    <a:gd name="connsiteY1" fmla="*/ 1223 h 2826973"/>
                    <a:gd name="connsiteX2" fmla="*/ 811062 w 4839770"/>
                    <a:gd name="connsiteY2" fmla="*/ 1223 h 2826973"/>
                    <a:gd name="connsiteX3" fmla="*/ 1706412 w 4839770"/>
                    <a:gd name="connsiteY3" fmla="*/ 13923 h 2826973"/>
                    <a:gd name="connsiteX4" fmla="*/ 2258862 w 4839770"/>
                    <a:gd name="connsiteY4" fmla="*/ 26623 h 2826973"/>
                    <a:gd name="connsiteX5" fmla="*/ 4563912 w 4839770"/>
                    <a:gd name="connsiteY5" fmla="*/ 13923 h 2826973"/>
                    <a:gd name="connsiteX6" fmla="*/ 4811562 w 4839770"/>
                    <a:gd name="connsiteY6" fmla="*/ 528273 h 2826973"/>
                    <a:gd name="connsiteX7" fmla="*/ 4786162 w 4839770"/>
                    <a:gd name="connsiteY7" fmla="*/ 1683973 h 2826973"/>
                    <a:gd name="connsiteX8" fmla="*/ 4824262 w 4839770"/>
                    <a:gd name="connsiteY8" fmla="*/ 2465023 h 2826973"/>
                    <a:gd name="connsiteX9" fmla="*/ 4836962 w 4839770"/>
                    <a:gd name="connsiteY9" fmla="*/ 2687273 h 2826973"/>
                    <a:gd name="connsiteX10" fmla="*/ 4817912 w 4839770"/>
                    <a:gd name="connsiteY10" fmla="*/ 2814273 h 2826973"/>
                    <a:gd name="connsiteX11" fmla="*/ 4633762 w 4839770"/>
                    <a:gd name="connsiteY11" fmla="*/ 2820623 h 2826973"/>
                    <a:gd name="connsiteX12" fmla="*/ 2900212 w 4839770"/>
                    <a:gd name="connsiteY12" fmla="*/ 2814273 h 2826973"/>
                    <a:gd name="connsiteX13" fmla="*/ 2836712 w 4839770"/>
                    <a:gd name="connsiteY13" fmla="*/ 2807923 h 2826973"/>
                    <a:gd name="connsiteX14" fmla="*/ 1674662 w 4839770"/>
                    <a:gd name="connsiteY14" fmla="*/ 2801573 h 2826973"/>
                    <a:gd name="connsiteX15" fmla="*/ 576112 w 4839770"/>
                    <a:gd name="connsiteY15" fmla="*/ 2826973 h 2826973"/>
                    <a:gd name="connsiteX16" fmla="*/ 49062 w 4839770"/>
                    <a:gd name="connsiteY16" fmla="*/ 2763473 h 2826973"/>
                    <a:gd name="connsiteX17" fmla="*/ 36362 w 4839770"/>
                    <a:gd name="connsiteY17" fmla="*/ 2623773 h 2826973"/>
                    <a:gd name="connsiteX18" fmla="*/ 23662 w 4839770"/>
                    <a:gd name="connsiteY18" fmla="*/ 2553923 h 2826973"/>
                    <a:gd name="connsiteX19" fmla="*/ 17312 w 4839770"/>
                    <a:gd name="connsiteY19" fmla="*/ 1258523 h 2826973"/>
                    <a:gd name="connsiteX20" fmla="*/ 23662 w 4839770"/>
                    <a:gd name="connsiteY20" fmla="*/ 1068023 h 2826973"/>
                    <a:gd name="connsiteX21" fmla="*/ 30012 w 4839770"/>
                    <a:gd name="connsiteY21" fmla="*/ 39323 h 2826973"/>
                    <a:gd name="connsiteX22" fmla="*/ 30012 w 4839770"/>
                    <a:gd name="connsiteY22" fmla="*/ 7573 h 2826973"/>
                    <a:gd name="connsiteX0" fmla="*/ 30012 w 4839770"/>
                    <a:gd name="connsiteY0" fmla="*/ 7573 h 2828438"/>
                    <a:gd name="connsiteX1" fmla="*/ 436412 w 4839770"/>
                    <a:gd name="connsiteY1" fmla="*/ 1223 h 2828438"/>
                    <a:gd name="connsiteX2" fmla="*/ 811062 w 4839770"/>
                    <a:gd name="connsiteY2" fmla="*/ 1223 h 2828438"/>
                    <a:gd name="connsiteX3" fmla="*/ 1706412 w 4839770"/>
                    <a:gd name="connsiteY3" fmla="*/ 13923 h 2828438"/>
                    <a:gd name="connsiteX4" fmla="*/ 2258862 w 4839770"/>
                    <a:gd name="connsiteY4" fmla="*/ 26623 h 2828438"/>
                    <a:gd name="connsiteX5" fmla="*/ 4563912 w 4839770"/>
                    <a:gd name="connsiteY5" fmla="*/ 13923 h 2828438"/>
                    <a:gd name="connsiteX6" fmla="*/ 4811562 w 4839770"/>
                    <a:gd name="connsiteY6" fmla="*/ 528273 h 2828438"/>
                    <a:gd name="connsiteX7" fmla="*/ 4786162 w 4839770"/>
                    <a:gd name="connsiteY7" fmla="*/ 1683973 h 2828438"/>
                    <a:gd name="connsiteX8" fmla="*/ 4824262 w 4839770"/>
                    <a:gd name="connsiteY8" fmla="*/ 2465023 h 2828438"/>
                    <a:gd name="connsiteX9" fmla="*/ 4836962 w 4839770"/>
                    <a:gd name="connsiteY9" fmla="*/ 2687273 h 2828438"/>
                    <a:gd name="connsiteX10" fmla="*/ 4817912 w 4839770"/>
                    <a:gd name="connsiteY10" fmla="*/ 2814273 h 2828438"/>
                    <a:gd name="connsiteX11" fmla="*/ 4633762 w 4839770"/>
                    <a:gd name="connsiteY11" fmla="*/ 2820623 h 2828438"/>
                    <a:gd name="connsiteX12" fmla="*/ 2900212 w 4839770"/>
                    <a:gd name="connsiteY12" fmla="*/ 2814273 h 2828438"/>
                    <a:gd name="connsiteX13" fmla="*/ 2836712 w 4839770"/>
                    <a:gd name="connsiteY13" fmla="*/ 2807923 h 2828438"/>
                    <a:gd name="connsiteX14" fmla="*/ 1674662 w 4839770"/>
                    <a:gd name="connsiteY14" fmla="*/ 2801573 h 2828438"/>
                    <a:gd name="connsiteX15" fmla="*/ 576112 w 4839770"/>
                    <a:gd name="connsiteY15" fmla="*/ 2826973 h 2828438"/>
                    <a:gd name="connsiteX16" fmla="*/ 49062 w 4839770"/>
                    <a:gd name="connsiteY16" fmla="*/ 2763473 h 2828438"/>
                    <a:gd name="connsiteX17" fmla="*/ 36362 w 4839770"/>
                    <a:gd name="connsiteY17" fmla="*/ 2623773 h 2828438"/>
                    <a:gd name="connsiteX18" fmla="*/ 23662 w 4839770"/>
                    <a:gd name="connsiteY18" fmla="*/ 2553923 h 2828438"/>
                    <a:gd name="connsiteX19" fmla="*/ 17312 w 4839770"/>
                    <a:gd name="connsiteY19" fmla="*/ 1258523 h 2828438"/>
                    <a:gd name="connsiteX20" fmla="*/ 23662 w 4839770"/>
                    <a:gd name="connsiteY20" fmla="*/ 1068023 h 2828438"/>
                    <a:gd name="connsiteX21" fmla="*/ 30012 w 4839770"/>
                    <a:gd name="connsiteY21" fmla="*/ 39323 h 2828438"/>
                    <a:gd name="connsiteX22" fmla="*/ 30012 w 4839770"/>
                    <a:gd name="connsiteY22" fmla="*/ 7573 h 2828438"/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36362 w 4839770"/>
                    <a:gd name="connsiteY17" fmla="*/ 2623773 h 2829294"/>
                    <a:gd name="connsiteX18" fmla="*/ 23662 w 4839770"/>
                    <a:gd name="connsiteY18" fmla="*/ 2553923 h 2829294"/>
                    <a:gd name="connsiteX19" fmla="*/ 17312 w 4839770"/>
                    <a:gd name="connsiteY19" fmla="*/ 1258523 h 2829294"/>
                    <a:gd name="connsiteX20" fmla="*/ 23662 w 4839770"/>
                    <a:gd name="connsiteY20" fmla="*/ 1068023 h 2829294"/>
                    <a:gd name="connsiteX21" fmla="*/ 30012 w 4839770"/>
                    <a:gd name="connsiteY21" fmla="*/ 39323 h 2829294"/>
                    <a:gd name="connsiteX22" fmla="*/ 30012 w 4839770"/>
                    <a:gd name="connsiteY22" fmla="*/ 7573 h 2829294"/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17312 w 4839770"/>
                    <a:gd name="connsiteY18" fmla="*/ 1258523 h 2829294"/>
                    <a:gd name="connsiteX19" fmla="*/ 23662 w 4839770"/>
                    <a:gd name="connsiteY19" fmla="*/ 1068023 h 2829294"/>
                    <a:gd name="connsiteX20" fmla="*/ 30012 w 4839770"/>
                    <a:gd name="connsiteY20" fmla="*/ 39323 h 2829294"/>
                    <a:gd name="connsiteX21" fmla="*/ 30012 w 4839770"/>
                    <a:gd name="connsiteY21" fmla="*/ 7573 h 2829294"/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17312 w 4839770"/>
                    <a:gd name="connsiteY18" fmla="*/ 1258523 h 2829294"/>
                    <a:gd name="connsiteX19" fmla="*/ 23662 w 4839770"/>
                    <a:gd name="connsiteY19" fmla="*/ 1068023 h 2829294"/>
                    <a:gd name="connsiteX20" fmla="*/ 30012 w 4839770"/>
                    <a:gd name="connsiteY20" fmla="*/ 39323 h 2829294"/>
                    <a:gd name="connsiteX21" fmla="*/ 30012 w 4839770"/>
                    <a:gd name="connsiteY21" fmla="*/ 7573 h 2829294"/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23662 w 4839770"/>
                    <a:gd name="connsiteY18" fmla="*/ 1068023 h 2829294"/>
                    <a:gd name="connsiteX19" fmla="*/ 30012 w 4839770"/>
                    <a:gd name="connsiteY19" fmla="*/ 39323 h 2829294"/>
                    <a:gd name="connsiteX20" fmla="*/ 30012 w 4839770"/>
                    <a:gd name="connsiteY20" fmla="*/ 7573 h 28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839770" h="2829294">
                      <a:moveTo>
                        <a:pt x="30012" y="7573"/>
                      </a:moveTo>
                      <a:cubicBezTo>
                        <a:pt x="97745" y="1223"/>
                        <a:pt x="306237" y="2281"/>
                        <a:pt x="436412" y="1223"/>
                      </a:cubicBezTo>
                      <a:cubicBezTo>
                        <a:pt x="566587" y="165"/>
                        <a:pt x="599395" y="-894"/>
                        <a:pt x="811062" y="1223"/>
                      </a:cubicBezTo>
                      <a:lnTo>
                        <a:pt x="1706412" y="13923"/>
                      </a:lnTo>
                      <a:lnTo>
                        <a:pt x="2258862" y="26623"/>
                      </a:lnTo>
                      <a:lnTo>
                        <a:pt x="4563912" y="13923"/>
                      </a:lnTo>
                      <a:cubicBezTo>
                        <a:pt x="4977720" y="-44285"/>
                        <a:pt x="4774520" y="249931"/>
                        <a:pt x="4811562" y="528273"/>
                      </a:cubicBezTo>
                      <a:cubicBezTo>
                        <a:pt x="4848604" y="806615"/>
                        <a:pt x="4784045" y="1361181"/>
                        <a:pt x="4786162" y="1683973"/>
                      </a:cubicBezTo>
                      <a:cubicBezTo>
                        <a:pt x="4788279" y="2006765"/>
                        <a:pt x="4815795" y="2297806"/>
                        <a:pt x="4824262" y="2465023"/>
                      </a:cubicBezTo>
                      <a:cubicBezTo>
                        <a:pt x="4832729" y="2632240"/>
                        <a:pt x="4838020" y="2629065"/>
                        <a:pt x="4836962" y="2687273"/>
                      </a:cubicBezTo>
                      <a:cubicBezTo>
                        <a:pt x="4835904" y="2745481"/>
                        <a:pt x="4851779" y="2792048"/>
                        <a:pt x="4817912" y="2814273"/>
                      </a:cubicBezTo>
                      <a:cubicBezTo>
                        <a:pt x="4784045" y="2836498"/>
                        <a:pt x="4668687" y="2806865"/>
                        <a:pt x="4633762" y="2820623"/>
                      </a:cubicBezTo>
                      <a:lnTo>
                        <a:pt x="2900212" y="2814273"/>
                      </a:lnTo>
                      <a:lnTo>
                        <a:pt x="2836712" y="2807923"/>
                      </a:lnTo>
                      <a:lnTo>
                        <a:pt x="1674662" y="2801573"/>
                      </a:lnTo>
                      <a:cubicBezTo>
                        <a:pt x="1308479" y="2810040"/>
                        <a:pt x="986762" y="2809256"/>
                        <a:pt x="576112" y="2826973"/>
                      </a:cubicBezTo>
                      <a:cubicBezTo>
                        <a:pt x="273644" y="2840023"/>
                        <a:pt x="53295" y="2795223"/>
                        <a:pt x="49062" y="2763473"/>
                      </a:cubicBezTo>
                      <a:cubicBezTo>
                        <a:pt x="7787" y="2654465"/>
                        <a:pt x="28954" y="2804748"/>
                        <a:pt x="23662" y="2553923"/>
                      </a:cubicBezTo>
                      <a:cubicBezTo>
                        <a:pt x="19429" y="2271348"/>
                        <a:pt x="22604" y="1487123"/>
                        <a:pt x="23662" y="1068023"/>
                      </a:cubicBezTo>
                      <a:cubicBezTo>
                        <a:pt x="27234" y="725135"/>
                        <a:pt x="17475" y="382000"/>
                        <a:pt x="30012" y="39323"/>
                      </a:cubicBezTo>
                      <a:cubicBezTo>
                        <a:pt x="30429" y="27932"/>
                        <a:pt x="-37721" y="13923"/>
                        <a:pt x="30012" y="7573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  <p:sp>
              <p:nvSpPr>
                <p:cNvPr id="131" name="Freeform: Shape 130">
                  <a:extLst>
                    <a:ext uri="{FF2B5EF4-FFF2-40B4-BE49-F238E27FC236}">
                      <a16:creationId xmlns:a16="http://schemas.microsoft.com/office/drawing/2014/main" id="{42C17CA5-F3C0-2663-6A39-99F4EB664126}"/>
                    </a:ext>
                  </a:extLst>
                </p:cNvPr>
                <p:cNvSpPr/>
                <p:nvPr/>
              </p:nvSpPr>
              <p:spPr>
                <a:xfrm>
                  <a:off x="5825943" y="2209357"/>
                  <a:ext cx="4839770" cy="2829294"/>
                </a:xfrm>
                <a:custGeom>
                  <a:avLst/>
                  <a:gdLst>
                    <a:gd name="connsiteX0" fmla="*/ 30011 w 4843311"/>
                    <a:gd name="connsiteY0" fmla="*/ 12700 h 2878067"/>
                    <a:gd name="connsiteX1" fmla="*/ 436411 w 4843311"/>
                    <a:gd name="connsiteY1" fmla="*/ 6350 h 2878067"/>
                    <a:gd name="connsiteX2" fmla="*/ 468161 w 4843311"/>
                    <a:gd name="connsiteY2" fmla="*/ 0 h 2878067"/>
                    <a:gd name="connsiteX3" fmla="*/ 811061 w 4843311"/>
                    <a:gd name="connsiteY3" fmla="*/ 6350 h 2878067"/>
                    <a:gd name="connsiteX4" fmla="*/ 1706411 w 4843311"/>
                    <a:gd name="connsiteY4" fmla="*/ 19050 h 2878067"/>
                    <a:gd name="connsiteX5" fmla="*/ 2258861 w 4843311"/>
                    <a:gd name="connsiteY5" fmla="*/ 31750 h 2878067"/>
                    <a:gd name="connsiteX6" fmla="*/ 4709961 w 4843311"/>
                    <a:gd name="connsiteY6" fmla="*/ 38100 h 2878067"/>
                    <a:gd name="connsiteX7" fmla="*/ 4735361 w 4843311"/>
                    <a:gd name="connsiteY7" fmla="*/ 57150 h 2878067"/>
                    <a:gd name="connsiteX8" fmla="*/ 4792511 w 4843311"/>
                    <a:gd name="connsiteY8" fmla="*/ 82550 h 2878067"/>
                    <a:gd name="connsiteX9" fmla="*/ 4817911 w 4843311"/>
                    <a:gd name="connsiteY9" fmla="*/ 177800 h 2878067"/>
                    <a:gd name="connsiteX10" fmla="*/ 4830611 w 4843311"/>
                    <a:gd name="connsiteY10" fmla="*/ 1371600 h 2878067"/>
                    <a:gd name="connsiteX11" fmla="*/ 4824261 w 4843311"/>
                    <a:gd name="connsiteY11" fmla="*/ 1663700 h 2878067"/>
                    <a:gd name="connsiteX12" fmla="*/ 4817911 w 4843311"/>
                    <a:gd name="connsiteY12" fmla="*/ 1752600 h 2878067"/>
                    <a:gd name="connsiteX13" fmla="*/ 4824261 w 4843311"/>
                    <a:gd name="connsiteY13" fmla="*/ 2470150 h 2878067"/>
                    <a:gd name="connsiteX14" fmla="*/ 4843311 w 4843311"/>
                    <a:gd name="connsiteY14" fmla="*/ 2590800 h 2878067"/>
                    <a:gd name="connsiteX15" fmla="*/ 4836961 w 4843311"/>
                    <a:gd name="connsiteY15" fmla="*/ 2692400 h 2878067"/>
                    <a:gd name="connsiteX16" fmla="*/ 4824261 w 4843311"/>
                    <a:gd name="connsiteY16" fmla="*/ 2749550 h 2878067"/>
                    <a:gd name="connsiteX17" fmla="*/ 4811561 w 4843311"/>
                    <a:gd name="connsiteY17" fmla="*/ 2781300 h 2878067"/>
                    <a:gd name="connsiteX18" fmla="*/ 4786161 w 4843311"/>
                    <a:gd name="connsiteY18" fmla="*/ 2806700 h 2878067"/>
                    <a:gd name="connsiteX19" fmla="*/ 4767111 w 4843311"/>
                    <a:gd name="connsiteY19" fmla="*/ 2813050 h 2878067"/>
                    <a:gd name="connsiteX20" fmla="*/ 4697261 w 4843311"/>
                    <a:gd name="connsiteY20" fmla="*/ 2819400 h 2878067"/>
                    <a:gd name="connsiteX21" fmla="*/ 4633761 w 4843311"/>
                    <a:gd name="connsiteY21" fmla="*/ 2825750 h 2878067"/>
                    <a:gd name="connsiteX22" fmla="*/ 4614711 w 4843311"/>
                    <a:gd name="connsiteY22" fmla="*/ 2832100 h 2878067"/>
                    <a:gd name="connsiteX23" fmla="*/ 3312961 w 4843311"/>
                    <a:gd name="connsiteY23" fmla="*/ 2838450 h 2878067"/>
                    <a:gd name="connsiteX24" fmla="*/ 2900211 w 4843311"/>
                    <a:gd name="connsiteY24" fmla="*/ 2819400 h 2878067"/>
                    <a:gd name="connsiteX25" fmla="*/ 2836711 w 4843311"/>
                    <a:gd name="connsiteY25" fmla="*/ 2813050 h 2878067"/>
                    <a:gd name="connsiteX26" fmla="*/ 2779561 w 4843311"/>
                    <a:gd name="connsiteY26" fmla="*/ 2806700 h 2878067"/>
                    <a:gd name="connsiteX27" fmla="*/ 2601761 w 4843311"/>
                    <a:gd name="connsiteY27" fmla="*/ 2800350 h 2878067"/>
                    <a:gd name="connsiteX28" fmla="*/ 1674661 w 4843311"/>
                    <a:gd name="connsiteY28" fmla="*/ 2806700 h 2878067"/>
                    <a:gd name="connsiteX29" fmla="*/ 1623861 w 4843311"/>
                    <a:gd name="connsiteY29" fmla="*/ 2813050 h 2878067"/>
                    <a:gd name="connsiteX30" fmla="*/ 1547661 w 4843311"/>
                    <a:gd name="connsiteY30" fmla="*/ 2819400 h 2878067"/>
                    <a:gd name="connsiteX31" fmla="*/ 61761 w 4843311"/>
                    <a:gd name="connsiteY31" fmla="*/ 2819400 h 2878067"/>
                    <a:gd name="connsiteX32" fmla="*/ 55411 w 4843311"/>
                    <a:gd name="connsiteY32" fmla="*/ 2800350 h 2878067"/>
                    <a:gd name="connsiteX33" fmla="*/ 49061 w 4843311"/>
                    <a:gd name="connsiteY33" fmla="*/ 2768600 h 2878067"/>
                    <a:gd name="connsiteX34" fmla="*/ 36361 w 4843311"/>
                    <a:gd name="connsiteY34" fmla="*/ 2628900 h 2878067"/>
                    <a:gd name="connsiteX35" fmla="*/ 23661 w 4843311"/>
                    <a:gd name="connsiteY35" fmla="*/ 2559050 h 2878067"/>
                    <a:gd name="connsiteX36" fmla="*/ 17311 w 4843311"/>
                    <a:gd name="connsiteY36" fmla="*/ 1263650 h 2878067"/>
                    <a:gd name="connsiteX37" fmla="*/ 23661 w 4843311"/>
                    <a:gd name="connsiteY37" fmla="*/ 1073150 h 2878067"/>
                    <a:gd name="connsiteX38" fmla="*/ 30011 w 4843311"/>
                    <a:gd name="connsiteY38" fmla="*/ 44450 h 2878067"/>
                    <a:gd name="connsiteX39" fmla="*/ 30011 w 4843311"/>
                    <a:gd name="connsiteY39" fmla="*/ 12700 h 2878067"/>
                    <a:gd name="connsiteX0" fmla="*/ 30011 w 4843311"/>
                    <a:gd name="connsiteY0" fmla="*/ 7573 h 2872940"/>
                    <a:gd name="connsiteX1" fmla="*/ 436411 w 4843311"/>
                    <a:gd name="connsiteY1" fmla="*/ 1223 h 2872940"/>
                    <a:gd name="connsiteX2" fmla="*/ 811061 w 4843311"/>
                    <a:gd name="connsiteY2" fmla="*/ 1223 h 2872940"/>
                    <a:gd name="connsiteX3" fmla="*/ 1706411 w 4843311"/>
                    <a:gd name="connsiteY3" fmla="*/ 13923 h 2872940"/>
                    <a:gd name="connsiteX4" fmla="*/ 2258861 w 4843311"/>
                    <a:gd name="connsiteY4" fmla="*/ 26623 h 2872940"/>
                    <a:gd name="connsiteX5" fmla="*/ 4709961 w 4843311"/>
                    <a:gd name="connsiteY5" fmla="*/ 32973 h 2872940"/>
                    <a:gd name="connsiteX6" fmla="*/ 4735361 w 4843311"/>
                    <a:gd name="connsiteY6" fmla="*/ 52023 h 2872940"/>
                    <a:gd name="connsiteX7" fmla="*/ 4792511 w 4843311"/>
                    <a:gd name="connsiteY7" fmla="*/ 77423 h 2872940"/>
                    <a:gd name="connsiteX8" fmla="*/ 4817911 w 4843311"/>
                    <a:gd name="connsiteY8" fmla="*/ 172673 h 2872940"/>
                    <a:gd name="connsiteX9" fmla="*/ 4830611 w 4843311"/>
                    <a:gd name="connsiteY9" fmla="*/ 1366473 h 2872940"/>
                    <a:gd name="connsiteX10" fmla="*/ 4824261 w 4843311"/>
                    <a:gd name="connsiteY10" fmla="*/ 1658573 h 2872940"/>
                    <a:gd name="connsiteX11" fmla="*/ 4817911 w 4843311"/>
                    <a:gd name="connsiteY11" fmla="*/ 1747473 h 2872940"/>
                    <a:gd name="connsiteX12" fmla="*/ 4824261 w 4843311"/>
                    <a:gd name="connsiteY12" fmla="*/ 2465023 h 2872940"/>
                    <a:gd name="connsiteX13" fmla="*/ 4843311 w 4843311"/>
                    <a:gd name="connsiteY13" fmla="*/ 2585673 h 2872940"/>
                    <a:gd name="connsiteX14" fmla="*/ 4836961 w 4843311"/>
                    <a:gd name="connsiteY14" fmla="*/ 2687273 h 2872940"/>
                    <a:gd name="connsiteX15" fmla="*/ 4824261 w 4843311"/>
                    <a:gd name="connsiteY15" fmla="*/ 2744423 h 2872940"/>
                    <a:gd name="connsiteX16" fmla="*/ 4811561 w 4843311"/>
                    <a:gd name="connsiteY16" fmla="*/ 2776173 h 2872940"/>
                    <a:gd name="connsiteX17" fmla="*/ 4786161 w 4843311"/>
                    <a:gd name="connsiteY17" fmla="*/ 2801573 h 2872940"/>
                    <a:gd name="connsiteX18" fmla="*/ 4767111 w 4843311"/>
                    <a:gd name="connsiteY18" fmla="*/ 2807923 h 2872940"/>
                    <a:gd name="connsiteX19" fmla="*/ 4697261 w 4843311"/>
                    <a:gd name="connsiteY19" fmla="*/ 2814273 h 2872940"/>
                    <a:gd name="connsiteX20" fmla="*/ 4633761 w 4843311"/>
                    <a:gd name="connsiteY20" fmla="*/ 2820623 h 2872940"/>
                    <a:gd name="connsiteX21" fmla="*/ 4614711 w 4843311"/>
                    <a:gd name="connsiteY21" fmla="*/ 2826973 h 2872940"/>
                    <a:gd name="connsiteX22" fmla="*/ 3312961 w 4843311"/>
                    <a:gd name="connsiteY22" fmla="*/ 2833323 h 2872940"/>
                    <a:gd name="connsiteX23" fmla="*/ 2900211 w 4843311"/>
                    <a:gd name="connsiteY23" fmla="*/ 2814273 h 2872940"/>
                    <a:gd name="connsiteX24" fmla="*/ 2836711 w 4843311"/>
                    <a:gd name="connsiteY24" fmla="*/ 2807923 h 2872940"/>
                    <a:gd name="connsiteX25" fmla="*/ 2779561 w 4843311"/>
                    <a:gd name="connsiteY25" fmla="*/ 2801573 h 2872940"/>
                    <a:gd name="connsiteX26" fmla="*/ 2601761 w 4843311"/>
                    <a:gd name="connsiteY26" fmla="*/ 2795223 h 2872940"/>
                    <a:gd name="connsiteX27" fmla="*/ 1674661 w 4843311"/>
                    <a:gd name="connsiteY27" fmla="*/ 2801573 h 2872940"/>
                    <a:gd name="connsiteX28" fmla="*/ 1623861 w 4843311"/>
                    <a:gd name="connsiteY28" fmla="*/ 2807923 h 2872940"/>
                    <a:gd name="connsiteX29" fmla="*/ 1547661 w 4843311"/>
                    <a:gd name="connsiteY29" fmla="*/ 2814273 h 2872940"/>
                    <a:gd name="connsiteX30" fmla="*/ 61761 w 4843311"/>
                    <a:gd name="connsiteY30" fmla="*/ 2814273 h 2872940"/>
                    <a:gd name="connsiteX31" fmla="*/ 55411 w 4843311"/>
                    <a:gd name="connsiteY31" fmla="*/ 2795223 h 2872940"/>
                    <a:gd name="connsiteX32" fmla="*/ 49061 w 4843311"/>
                    <a:gd name="connsiteY32" fmla="*/ 2763473 h 2872940"/>
                    <a:gd name="connsiteX33" fmla="*/ 36361 w 4843311"/>
                    <a:gd name="connsiteY33" fmla="*/ 2623773 h 2872940"/>
                    <a:gd name="connsiteX34" fmla="*/ 23661 w 4843311"/>
                    <a:gd name="connsiteY34" fmla="*/ 2553923 h 2872940"/>
                    <a:gd name="connsiteX35" fmla="*/ 17311 w 4843311"/>
                    <a:gd name="connsiteY35" fmla="*/ 1258523 h 2872940"/>
                    <a:gd name="connsiteX36" fmla="*/ 23661 w 4843311"/>
                    <a:gd name="connsiteY36" fmla="*/ 1068023 h 2872940"/>
                    <a:gd name="connsiteX37" fmla="*/ 30011 w 4843311"/>
                    <a:gd name="connsiteY37" fmla="*/ 39323 h 2872940"/>
                    <a:gd name="connsiteX38" fmla="*/ 30011 w 4843311"/>
                    <a:gd name="connsiteY38" fmla="*/ 7573 h 2872940"/>
                    <a:gd name="connsiteX0" fmla="*/ 30011 w 4916906"/>
                    <a:gd name="connsiteY0" fmla="*/ 7573 h 2872940"/>
                    <a:gd name="connsiteX1" fmla="*/ 436411 w 4916906"/>
                    <a:gd name="connsiteY1" fmla="*/ 1223 h 2872940"/>
                    <a:gd name="connsiteX2" fmla="*/ 811061 w 4916906"/>
                    <a:gd name="connsiteY2" fmla="*/ 1223 h 2872940"/>
                    <a:gd name="connsiteX3" fmla="*/ 1706411 w 4916906"/>
                    <a:gd name="connsiteY3" fmla="*/ 13923 h 2872940"/>
                    <a:gd name="connsiteX4" fmla="*/ 2258861 w 4916906"/>
                    <a:gd name="connsiteY4" fmla="*/ 26623 h 2872940"/>
                    <a:gd name="connsiteX5" fmla="*/ 4709961 w 4916906"/>
                    <a:gd name="connsiteY5" fmla="*/ 32973 h 2872940"/>
                    <a:gd name="connsiteX6" fmla="*/ 4792511 w 4916906"/>
                    <a:gd name="connsiteY6" fmla="*/ 77423 h 2872940"/>
                    <a:gd name="connsiteX7" fmla="*/ 4817911 w 4916906"/>
                    <a:gd name="connsiteY7" fmla="*/ 172673 h 2872940"/>
                    <a:gd name="connsiteX8" fmla="*/ 4830611 w 4916906"/>
                    <a:gd name="connsiteY8" fmla="*/ 1366473 h 2872940"/>
                    <a:gd name="connsiteX9" fmla="*/ 4824261 w 4916906"/>
                    <a:gd name="connsiteY9" fmla="*/ 1658573 h 2872940"/>
                    <a:gd name="connsiteX10" fmla="*/ 4817911 w 4916906"/>
                    <a:gd name="connsiteY10" fmla="*/ 1747473 h 2872940"/>
                    <a:gd name="connsiteX11" fmla="*/ 4824261 w 4916906"/>
                    <a:gd name="connsiteY11" fmla="*/ 2465023 h 2872940"/>
                    <a:gd name="connsiteX12" fmla="*/ 4843311 w 4916906"/>
                    <a:gd name="connsiteY12" fmla="*/ 2585673 h 2872940"/>
                    <a:gd name="connsiteX13" fmla="*/ 4836961 w 4916906"/>
                    <a:gd name="connsiteY13" fmla="*/ 2687273 h 2872940"/>
                    <a:gd name="connsiteX14" fmla="*/ 4824261 w 4916906"/>
                    <a:gd name="connsiteY14" fmla="*/ 2744423 h 2872940"/>
                    <a:gd name="connsiteX15" fmla="*/ 4811561 w 4916906"/>
                    <a:gd name="connsiteY15" fmla="*/ 2776173 h 2872940"/>
                    <a:gd name="connsiteX16" fmla="*/ 4786161 w 4916906"/>
                    <a:gd name="connsiteY16" fmla="*/ 2801573 h 2872940"/>
                    <a:gd name="connsiteX17" fmla="*/ 4767111 w 4916906"/>
                    <a:gd name="connsiteY17" fmla="*/ 2807923 h 2872940"/>
                    <a:gd name="connsiteX18" fmla="*/ 4697261 w 4916906"/>
                    <a:gd name="connsiteY18" fmla="*/ 2814273 h 2872940"/>
                    <a:gd name="connsiteX19" fmla="*/ 4633761 w 4916906"/>
                    <a:gd name="connsiteY19" fmla="*/ 2820623 h 2872940"/>
                    <a:gd name="connsiteX20" fmla="*/ 4614711 w 4916906"/>
                    <a:gd name="connsiteY20" fmla="*/ 2826973 h 2872940"/>
                    <a:gd name="connsiteX21" fmla="*/ 3312961 w 4916906"/>
                    <a:gd name="connsiteY21" fmla="*/ 2833323 h 2872940"/>
                    <a:gd name="connsiteX22" fmla="*/ 2900211 w 4916906"/>
                    <a:gd name="connsiteY22" fmla="*/ 2814273 h 2872940"/>
                    <a:gd name="connsiteX23" fmla="*/ 2836711 w 4916906"/>
                    <a:gd name="connsiteY23" fmla="*/ 2807923 h 2872940"/>
                    <a:gd name="connsiteX24" fmla="*/ 2779561 w 4916906"/>
                    <a:gd name="connsiteY24" fmla="*/ 2801573 h 2872940"/>
                    <a:gd name="connsiteX25" fmla="*/ 2601761 w 4916906"/>
                    <a:gd name="connsiteY25" fmla="*/ 2795223 h 2872940"/>
                    <a:gd name="connsiteX26" fmla="*/ 1674661 w 4916906"/>
                    <a:gd name="connsiteY26" fmla="*/ 2801573 h 2872940"/>
                    <a:gd name="connsiteX27" fmla="*/ 1623861 w 4916906"/>
                    <a:gd name="connsiteY27" fmla="*/ 2807923 h 2872940"/>
                    <a:gd name="connsiteX28" fmla="*/ 1547661 w 4916906"/>
                    <a:gd name="connsiteY28" fmla="*/ 2814273 h 2872940"/>
                    <a:gd name="connsiteX29" fmla="*/ 61761 w 4916906"/>
                    <a:gd name="connsiteY29" fmla="*/ 2814273 h 2872940"/>
                    <a:gd name="connsiteX30" fmla="*/ 55411 w 4916906"/>
                    <a:gd name="connsiteY30" fmla="*/ 2795223 h 2872940"/>
                    <a:gd name="connsiteX31" fmla="*/ 49061 w 4916906"/>
                    <a:gd name="connsiteY31" fmla="*/ 2763473 h 2872940"/>
                    <a:gd name="connsiteX32" fmla="*/ 36361 w 4916906"/>
                    <a:gd name="connsiteY32" fmla="*/ 2623773 h 2872940"/>
                    <a:gd name="connsiteX33" fmla="*/ 23661 w 4916906"/>
                    <a:gd name="connsiteY33" fmla="*/ 2553923 h 2872940"/>
                    <a:gd name="connsiteX34" fmla="*/ 17311 w 4916906"/>
                    <a:gd name="connsiteY34" fmla="*/ 1258523 h 2872940"/>
                    <a:gd name="connsiteX35" fmla="*/ 23661 w 4916906"/>
                    <a:gd name="connsiteY35" fmla="*/ 1068023 h 2872940"/>
                    <a:gd name="connsiteX36" fmla="*/ 30011 w 4916906"/>
                    <a:gd name="connsiteY36" fmla="*/ 39323 h 2872940"/>
                    <a:gd name="connsiteX37" fmla="*/ 30011 w 4916906"/>
                    <a:gd name="connsiteY37" fmla="*/ 7573 h 2872940"/>
                    <a:gd name="connsiteX0" fmla="*/ 30011 w 4926498"/>
                    <a:gd name="connsiteY0" fmla="*/ 7573 h 2872940"/>
                    <a:gd name="connsiteX1" fmla="*/ 436411 w 4926498"/>
                    <a:gd name="connsiteY1" fmla="*/ 1223 h 2872940"/>
                    <a:gd name="connsiteX2" fmla="*/ 811061 w 4926498"/>
                    <a:gd name="connsiteY2" fmla="*/ 1223 h 2872940"/>
                    <a:gd name="connsiteX3" fmla="*/ 1706411 w 4926498"/>
                    <a:gd name="connsiteY3" fmla="*/ 13923 h 2872940"/>
                    <a:gd name="connsiteX4" fmla="*/ 2258861 w 4926498"/>
                    <a:gd name="connsiteY4" fmla="*/ 26623 h 2872940"/>
                    <a:gd name="connsiteX5" fmla="*/ 4709961 w 4926498"/>
                    <a:gd name="connsiteY5" fmla="*/ 32973 h 2872940"/>
                    <a:gd name="connsiteX6" fmla="*/ 4817911 w 4926498"/>
                    <a:gd name="connsiteY6" fmla="*/ 172673 h 2872940"/>
                    <a:gd name="connsiteX7" fmla="*/ 4830611 w 4926498"/>
                    <a:gd name="connsiteY7" fmla="*/ 1366473 h 2872940"/>
                    <a:gd name="connsiteX8" fmla="*/ 4824261 w 4926498"/>
                    <a:gd name="connsiteY8" fmla="*/ 1658573 h 2872940"/>
                    <a:gd name="connsiteX9" fmla="*/ 4817911 w 4926498"/>
                    <a:gd name="connsiteY9" fmla="*/ 1747473 h 2872940"/>
                    <a:gd name="connsiteX10" fmla="*/ 4824261 w 4926498"/>
                    <a:gd name="connsiteY10" fmla="*/ 2465023 h 2872940"/>
                    <a:gd name="connsiteX11" fmla="*/ 4843311 w 4926498"/>
                    <a:gd name="connsiteY11" fmla="*/ 2585673 h 2872940"/>
                    <a:gd name="connsiteX12" fmla="*/ 4836961 w 4926498"/>
                    <a:gd name="connsiteY12" fmla="*/ 2687273 h 2872940"/>
                    <a:gd name="connsiteX13" fmla="*/ 4824261 w 4926498"/>
                    <a:gd name="connsiteY13" fmla="*/ 2744423 h 2872940"/>
                    <a:gd name="connsiteX14" fmla="*/ 4811561 w 4926498"/>
                    <a:gd name="connsiteY14" fmla="*/ 2776173 h 2872940"/>
                    <a:gd name="connsiteX15" fmla="*/ 4786161 w 4926498"/>
                    <a:gd name="connsiteY15" fmla="*/ 2801573 h 2872940"/>
                    <a:gd name="connsiteX16" fmla="*/ 4767111 w 4926498"/>
                    <a:gd name="connsiteY16" fmla="*/ 2807923 h 2872940"/>
                    <a:gd name="connsiteX17" fmla="*/ 4697261 w 4926498"/>
                    <a:gd name="connsiteY17" fmla="*/ 2814273 h 2872940"/>
                    <a:gd name="connsiteX18" fmla="*/ 4633761 w 4926498"/>
                    <a:gd name="connsiteY18" fmla="*/ 2820623 h 2872940"/>
                    <a:gd name="connsiteX19" fmla="*/ 4614711 w 4926498"/>
                    <a:gd name="connsiteY19" fmla="*/ 2826973 h 2872940"/>
                    <a:gd name="connsiteX20" fmla="*/ 3312961 w 4926498"/>
                    <a:gd name="connsiteY20" fmla="*/ 2833323 h 2872940"/>
                    <a:gd name="connsiteX21" fmla="*/ 2900211 w 4926498"/>
                    <a:gd name="connsiteY21" fmla="*/ 2814273 h 2872940"/>
                    <a:gd name="connsiteX22" fmla="*/ 2836711 w 4926498"/>
                    <a:gd name="connsiteY22" fmla="*/ 2807923 h 2872940"/>
                    <a:gd name="connsiteX23" fmla="*/ 2779561 w 4926498"/>
                    <a:gd name="connsiteY23" fmla="*/ 2801573 h 2872940"/>
                    <a:gd name="connsiteX24" fmla="*/ 2601761 w 4926498"/>
                    <a:gd name="connsiteY24" fmla="*/ 2795223 h 2872940"/>
                    <a:gd name="connsiteX25" fmla="*/ 1674661 w 4926498"/>
                    <a:gd name="connsiteY25" fmla="*/ 2801573 h 2872940"/>
                    <a:gd name="connsiteX26" fmla="*/ 1623861 w 4926498"/>
                    <a:gd name="connsiteY26" fmla="*/ 2807923 h 2872940"/>
                    <a:gd name="connsiteX27" fmla="*/ 1547661 w 4926498"/>
                    <a:gd name="connsiteY27" fmla="*/ 2814273 h 2872940"/>
                    <a:gd name="connsiteX28" fmla="*/ 61761 w 4926498"/>
                    <a:gd name="connsiteY28" fmla="*/ 2814273 h 2872940"/>
                    <a:gd name="connsiteX29" fmla="*/ 55411 w 4926498"/>
                    <a:gd name="connsiteY29" fmla="*/ 2795223 h 2872940"/>
                    <a:gd name="connsiteX30" fmla="*/ 49061 w 4926498"/>
                    <a:gd name="connsiteY30" fmla="*/ 2763473 h 2872940"/>
                    <a:gd name="connsiteX31" fmla="*/ 36361 w 4926498"/>
                    <a:gd name="connsiteY31" fmla="*/ 2623773 h 2872940"/>
                    <a:gd name="connsiteX32" fmla="*/ 23661 w 4926498"/>
                    <a:gd name="connsiteY32" fmla="*/ 2553923 h 2872940"/>
                    <a:gd name="connsiteX33" fmla="*/ 17311 w 4926498"/>
                    <a:gd name="connsiteY33" fmla="*/ 1258523 h 2872940"/>
                    <a:gd name="connsiteX34" fmla="*/ 23661 w 4926498"/>
                    <a:gd name="connsiteY34" fmla="*/ 1068023 h 2872940"/>
                    <a:gd name="connsiteX35" fmla="*/ 30011 w 4926498"/>
                    <a:gd name="connsiteY35" fmla="*/ 39323 h 2872940"/>
                    <a:gd name="connsiteX36" fmla="*/ 30011 w 4926498"/>
                    <a:gd name="connsiteY36" fmla="*/ 7573 h 2872940"/>
                    <a:gd name="connsiteX0" fmla="*/ 30011 w 4976706"/>
                    <a:gd name="connsiteY0" fmla="*/ 7573 h 2872940"/>
                    <a:gd name="connsiteX1" fmla="*/ 436411 w 4976706"/>
                    <a:gd name="connsiteY1" fmla="*/ 1223 h 2872940"/>
                    <a:gd name="connsiteX2" fmla="*/ 811061 w 4976706"/>
                    <a:gd name="connsiteY2" fmla="*/ 1223 h 2872940"/>
                    <a:gd name="connsiteX3" fmla="*/ 1706411 w 4976706"/>
                    <a:gd name="connsiteY3" fmla="*/ 13923 h 2872940"/>
                    <a:gd name="connsiteX4" fmla="*/ 2258861 w 4976706"/>
                    <a:gd name="connsiteY4" fmla="*/ 26623 h 2872940"/>
                    <a:gd name="connsiteX5" fmla="*/ 4709961 w 4976706"/>
                    <a:gd name="connsiteY5" fmla="*/ 32973 h 2872940"/>
                    <a:gd name="connsiteX6" fmla="*/ 4817911 w 4976706"/>
                    <a:gd name="connsiteY6" fmla="*/ 172673 h 2872940"/>
                    <a:gd name="connsiteX7" fmla="*/ 4830611 w 4976706"/>
                    <a:gd name="connsiteY7" fmla="*/ 1366473 h 2872940"/>
                    <a:gd name="connsiteX8" fmla="*/ 4824261 w 4976706"/>
                    <a:gd name="connsiteY8" fmla="*/ 1658573 h 2872940"/>
                    <a:gd name="connsiteX9" fmla="*/ 4817911 w 4976706"/>
                    <a:gd name="connsiteY9" fmla="*/ 1747473 h 2872940"/>
                    <a:gd name="connsiteX10" fmla="*/ 4824261 w 4976706"/>
                    <a:gd name="connsiteY10" fmla="*/ 2465023 h 2872940"/>
                    <a:gd name="connsiteX11" fmla="*/ 4843311 w 4976706"/>
                    <a:gd name="connsiteY11" fmla="*/ 2585673 h 2872940"/>
                    <a:gd name="connsiteX12" fmla="*/ 4836961 w 4976706"/>
                    <a:gd name="connsiteY12" fmla="*/ 2687273 h 2872940"/>
                    <a:gd name="connsiteX13" fmla="*/ 4824261 w 4976706"/>
                    <a:gd name="connsiteY13" fmla="*/ 2744423 h 2872940"/>
                    <a:gd name="connsiteX14" fmla="*/ 4811561 w 4976706"/>
                    <a:gd name="connsiteY14" fmla="*/ 2776173 h 2872940"/>
                    <a:gd name="connsiteX15" fmla="*/ 4786161 w 4976706"/>
                    <a:gd name="connsiteY15" fmla="*/ 2801573 h 2872940"/>
                    <a:gd name="connsiteX16" fmla="*/ 4767111 w 4976706"/>
                    <a:gd name="connsiteY16" fmla="*/ 2807923 h 2872940"/>
                    <a:gd name="connsiteX17" fmla="*/ 4697261 w 4976706"/>
                    <a:gd name="connsiteY17" fmla="*/ 2814273 h 2872940"/>
                    <a:gd name="connsiteX18" fmla="*/ 4633761 w 4976706"/>
                    <a:gd name="connsiteY18" fmla="*/ 2820623 h 2872940"/>
                    <a:gd name="connsiteX19" fmla="*/ 4614711 w 4976706"/>
                    <a:gd name="connsiteY19" fmla="*/ 2826973 h 2872940"/>
                    <a:gd name="connsiteX20" fmla="*/ 3312961 w 4976706"/>
                    <a:gd name="connsiteY20" fmla="*/ 2833323 h 2872940"/>
                    <a:gd name="connsiteX21" fmla="*/ 2900211 w 4976706"/>
                    <a:gd name="connsiteY21" fmla="*/ 2814273 h 2872940"/>
                    <a:gd name="connsiteX22" fmla="*/ 2836711 w 4976706"/>
                    <a:gd name="connsiteY22" fmla="*/ 2807923 h 2872940"/>
                    <a:gd name="connsiteX23" fmla="*/ 2779561 w 4976706"/>
                    <a:gd name="connsiteY23" fmla="*/ 2801573 h 2872940"/>
                    <a:gd name="connsiteX24" fmla="*/ 2601761 w 4976706"/>
                    <a:gd name="connsiteY24" fmla="*/ 2795223 h 2872940"/>
                    <a:gd name="connsiteX25" fmla="*/ 1674661 w 4976706"/>
                    <a:gd name="connsiteY25" fmla="*/ 2801573 h 2872940"/>
                    <a:gd name="connsiteX26" fmla="*/ 1623861 w 4976706"/>
                    <a:gd name="connsiteY26" fmla="*/ 2807923 h 2872940"/>
                    <a:gd name="connsiteX27" fmla="*/ 1547661 w 4976706"/>
                    <a:gd name="connsiteY27" fmla="*/ 2814273 h 2872940"/>
                    <a:gd name="connsiteX28" fmla="*/ 61761 w 4976706"/>
                    <a:gd name="connsiteY28" fmla="*/ 2814273 h 2872940"/>
                    <a:gd name="connsiteX29" fmla="*/ 55411 w 4976706"/>
                    <a:gd name="connsiteY29" fmla="*/ 2795223 h 2872940"/>
                    <a:gd name="connsiteX30" fmla="*/ 49061 w 4976706"/>
                    <a:gd name="connsiteY30" fmla="*/ 2763473 h 2872940"/>
                    <a:gd name="connsiteX31" fmla="*/ 36361 w 4976706"/>
                    <a:gd name="connsiteY31" fmla="*/ 2623773 h 2872940"/>
                    <a:gd name="connsiteX32" fmla="*/ 23661 w 4976706"/>
                    <a:gd name="connsiteY32" fmla="*/ 2553923 h 2872940"/>
                    <a:gd name="connsiteX33" fmla="*/ 17311 w 4976706"/>
                    <a:gd name="connsiteY33" fmla="*/ 1258523 h 2872940"/>
                    <a:gd name="connsiteX34" fmla="*/ 23661 w 4976706"/>
                    <a:gd name="connsiteY34" fmla="*/ 1068023 h 2872940"/>
                    <a:gd name="connsiteX35" fmla="*/ 30011 w 4976706"/>
                    <a:gd name="connsiteY35" fmla="*/ 39323 h 2872940"/>
                    <a:gd name="connsiteX36" fmla="*/ 30011 w 4976706"/>
                    <a:gd name="connsiteY36" fmla="*/ 7573 h 2872940"/>
                    <a:gd name="connsiteX0" fmla="*/ 30011 w 4982571"/>
                    <a:gd name="connsiteY0" fmla="*/ 7573 h 2872940"/>
                    <a:gd name="connsiteX1" fmla="*/ 436411 w 4982571"/>
                    <a:gd name="connsiteY1" fmla="*/ 1223 h 2872940"/>
                    <a:gd name="connsiteX2" fmla="*/ 811061 w 4982571"/>
                    <a:gd name="connsiteY2" fmla="*/ 1223 h 2872940"/>
                    <a:gd name="connsiteX3" fmla="*/ 1706411 w 4982571"/>
                    <a:gd name="connsiteY3" fmla="*/ 13923 h 2872940"/>
                    <a:gd name="connsiteX4" fmla="*/ 2258861 w 4982571"/>
                    <a:gd name="connsiteY4" fmla="*/ 26623 h 2872940"/>
                    <a:gd name="connsiteX5" fmla="*/ 4709961 w 4982571"/>
                    <a:gd name="connsiteY5" fmla="*/ 32973 h 2872940"/>
                    <a:gd name="connsiteX6" fmla="*/ 4830611 w 4982571"/>
                    <a:gd name="connsiteY6" fmla="*/ 534623 h 2872940"/>
                    <a:gd name="connsiteX7" fmla="*/ 4830611 w 4982571"/>
                    <a:gd name="connsiteY7" fmla="*/ 1366473 h 2872940"/>
                    <a:gd name="connsiteX8" fmla="*/ 4824261 w 4982571"/>
                    <a:gd name="connsiteY8" fmla="*/ 1658573 h 2872940"/>
                    <a:gd name="connsiteX9" fmla="*/ 4817911 w 4982571"/>
                    <a:gd name="connsiteY9" fmla="*/ 1747473 h 2872940"/>
                    <a:gd name="connsiteX10" fmla="*/ 4824261 w 4982571"/>
                    <a:gd name="connsiteY10" fmla="*/ 2465023 h 2872940"/>
                    <a:gd name="connsiteX11" fmla="*/ 4843311 w 4982571"/>
                    <a:gd name="connsiteY11" fmla="*/ 2585673 h 2872940"/>
                    <a:gd name="connsiteX12" fmla="*/ 4836961 w 4982571"/>
                    <a:gd name="connsiteY12" fmla="*/ 2687273 h 2872940"/>
                    <a:gd name="connsiteX13" fmla="*/ 4824261 w 4982571"/>
                    <a:gd name="connsiteY13" fmla="*/ 2744423 h 2872940"/>
                    <a:gd name="connsiteX14" fmla="*/ 4811561 w 4982571"/>
                    <a:gd name="connsiteY14" fmla="*/ 2776173 h 2872940"/>
                    <a:gd name="connsiteX15" fmla="*/ 4786161 w 4982571"/>
                    <a:gd name="connsiteY15" fmla="*/ 2801573 h 2872940"/>
                    <a:gd name="connsiteX16" fmla="*/ 4767111 w 4982571"/>
                    <a:gd name="connsiteY16" fmla="*/ 2807923 h 2872940"/>
                    <a:gd name="connsiteX17" fmla="*/ 4697261 w 4982571"/>
                    <a:gd name="connsiteY17" fmla="*/ 2814273 h 2872940"/>
                    <a:gd name="connsiteX18" fmla="*/ 4633761 w 4982571"/>
                    <a:gd name="connsiteY18" fmla="*/ 2820623 h 2872940"/>
                    <a:gd name="connsiteX19" fmla="*/ 4614711 w 4982571"/>
                    <a:gd name="connsiteY19" fmla="*/ 2826973 h 2872940"/>
                    <a:gd name="connsiteX20" fmla="*/ 3312961 w 4982571"/>
                    <a:gd name="connsiteY20" fmla="*/ 2833323 h 2872940"/>
                    <a:gd name="connsiteX21" fmla="*/ 2900211 w 4982571"/>
                    <a:gd name="connsiteY21" fmla="*/ 2814273 h 2872940"/>
                    <a:gd name="connsiteX22" fmla="*/ 2836711 w 4982571"/>
                    <a:gd name="connsiteY22" fmla="*/ 2807923 h 2872940"/>
                    <a:gd name="connsiteX23" fmla="*/ 2779561 w 4982571"/>
                    <a:gd name="connsiteY23" fmla="*/ 2801573 h 2872940"/>
                    <a:gd name="connsiteX24" fmla="*/ 2601761 w 4982571"/>
                    <a:gd name="connsiteY24" fmla="*/ 2795223 h 2872940"/>
                    <a:gd name="connsiteX25" fmla="*/ 1674661 w 4982571"/>
                    <a:gd name="connsiteY25" fmla="*/ 2801573 h 2872940"/>
                    <a:gd name="connsiteX26" fmla="*/ 1623861 w 4982571"/>
                    <a:gd name="connsiteY26" fmla="*/ 2807923 h 2872940"/>
                    <a:gd name="connsiteX27" fmla="*/ 1547661 w 4982571"/>
                    <a:gd name="connsiteY27" fmla="*/ 2814273 h 2872940"/>
                    <a:gd name="connsiteX28" fmla="*/ 61761 w 4982571"/>
                    <a:gd name="connsiteY28" fmla="*/ 2814273 h 2872940"/>
                    <a:gd name="connsiteX29" fmla="*/ 55411 w 4982571"/>
                    <a:gd name="connsiteY29" fmla="*/ 2795223 h 2872940"/>
                    <a:gd name="connsiteX30" fmla="*/ 49061 w 4982571"/>
                    <a:gd name="connsiteY30" fmla="*/ 2763473 h 2872940"/>
                    <a:gd name="connsiteX31" fmla="*/ 36361 w 4982571"/>
                    <a:gd name="connsiteY31" fmla="*/ 2623773 h 2872940"/>
                    <a:gd name="connsiteX32" fmla="*/ 23661 w 4982571"/>
                    <a:gd name="connsiteY32" fmla="*/ 2553923 h 2872940"/>
                    <a:gd name="connsiteX33" fmla="*/ 17311 w 4982571"/>
                    <a:gd name="connsiteY33" fmla="*/ 1258523 h 2872940"/>
                    <a:gd name="connsiteX34" fmla="*/ 23661 w 4982571"/>
                    <a:gd name="connsiteY34" fmla="*/ 1068023 h 2872940"/>
                    <a:gd name="connsiteX35" fmla="*/ 30011 w 4982571"/>
                    <a:gd name="connsiteY35" fmla="*/ 39323 h 2872940"/>
                    <a:gd name="connsiteX36" fmla="*/ 30011 w 4982571"/>
                    <a:gd name="connsiteY36" fmla="*/ 7573 h 2872940"/>
                    <a:gd name="connsiteX0" fmla="*/ 30011 w 4934593"/>
                    <a:gd name="connsiteY0" fmla="*/ 7573 h 2872940"/>
                    <a:gd name="connsiteX1" fmla="*/ 436411 w 4934593"/>
                    <a:gd name="connsiteY1" fmla="*/ 1223 h 2872940"/>
                    <a:gd name="connsiteX2" fmla="*/ 811061 w 4934593"/>
                    <a:gd name="connsiteY2" fmla="*/ 1223 h 2872940"/>
                    <a:gd name="connsiteX3" fmla="*/ 1706411 w 4934593"/>
                    <a:gd name="connsiteY3" fmla="*/ 13923 h 2872940"/>
                    <a:gd name="connsiteX4" fmla="*/ 2258861 w 4934593"/>
                    <a:gd name="connsiteY4" fmla="*/ 26623 h 2872940"/>
                    <a:gd name="connsiteX5" fmla="*/ 4709961 w 4934593"/>
                    <a:gd name="connsiteY5" fmla="*/ 32973 h 2872940"/>
                    <a:gd name="connsiteX6" fmla="*/ 4830611 w 4934593"/>
                    <a:gd name="connsiteY6" fmla="*/ 534623 h 2872940"/>
                    <a:gd name="connsiteX7" fmla="*/ 4830611 w 4934593"/>
                    <a:gd name="connsiteY7" fmla="*/ 1366473 h 2872940"/>
                    <a:gd name="connsiteX8" fmla="*/ 4824261 w 4934593"/>
                    <a:gd name="connsiteY8" fmla="*/ 1658573 h 2872940"/>
                    <a:gd name="connsiteX9" fmla="*/ 4817911 w 4934593"/>
                    <a:gd name="connsiteY9" fmla="*/ 1747473 h 2872940"/>
                    <a:gd name="connsiteX10" fmla="*/ 4824261 w 4934593"/>
                    <a:gd name="connsiteY10" fmla="*/ 2465023 h 2872940"/>
                    <a:gd name="connsiteX11" fmla="*/ 4843311 w 4934593"/>
                    <a:gd name="connsiteY11" fmla="*/ 2585673 h 2872940"/>
                    <a:gd name="connsiteX12" fmla="*/ 4836961 w 4934593"/>
                    <a:gd name="connsiteY12" fmla="*/ 2687273 h 2872940"/>
                    <a:gd name="connsiteX13" fmla="*/ 4824261 w 4934593"/>
                    <a:gd name="connsiteY13" fmla="*/ 2744423 h 2872940"/>
                    <a:gd name="connsiteX14" fmla="*/ 4811561 w 4934593"/>
                    <a:gd name="connsiteY14" fmla="*/ 2776173 h 2872940"/>
                    <a:gd name="connsiteX15" fmla="*/ 4786161 w 4934593"/>
                    <a:gd name="connsiteY15" fmla="*/ 2801573 h 2872940"/>
                    <a:gd name="connsiteX16" fmla="*/ 4767111 w 4934593"/>
                    <a:gd name="connsiteY16" fmla="*/ 2807923 h 2872940"/>
                    <a:gd name="connsiteX17" fmla="*/ 4697261 w 4934593"/>
                    <a:gd name="connsiteY17" fmla="*/ 2814273 h 2872940"/>
                    <a:gd name="connsiteX18" fmla="*/ 4633761 w 4934593"/>
                    <a:gd name="connsiteY18" fmla="*/ 2820623 h 2872940"/>
                    <a:gd name="connsiteX19" fmla="*/ 4614711 w 4934593"/>
                    <a:gd name="connsiteY19" fmla="*/ 2826973 h 2872940"/>
                    <a:gd name="connsiteX20" fmla="*/ 3312961 w 4934593"/>
                    <a:gd name="connsiteY20" fmla="*/ 2833323 h 2872940"/>
                    <a:gd name="connsiteX21" fmla="*/ 2900211 w 4934593"/>
                    <a:gd name="connsiteY21" fmla="*/ 2814273 h 2872940"/>
                    <a:gd name="connsiteX22" fmla="*/ 2836711 w 4934593"/>
                    <a:gd name="connsiteY22" fmla="*/ 2807923 h 2872940"/>
                    <a:gd name="connsiteX23" fmla="*/ 2779561 w 4934593"/>
                    <a:gd name="connsiteY23" fmla="*/ 2801573 h 2872940"/>
                    <a:gd name="connsiteX24" fmla="*/ 2601761 w 4934593"/>
                    <a:gd name="connsiteY24" fmla="*/ 2795223 h 2872940"/>
                    <a:gd name="connsiteX25" fmla="*/ 1674661 w 4934593"/>
                    <a:gd name="connsiteY25" fmla="*/ 2801573 h 2872940"/>
                    <a:gd name="connsiteX26" fmla="*/ 1623861 w 4934593"/>
                    <a:gd name="connsiteY26" fmla="*/ 2807923 h 2872940"/>
                    <a:gd name="connsiteX27" fmla="*/ 1547661 w 4934593"/>
                    <a:gd name="connsiteY27" fmla="*/ 2814273 h 2872940"/>
                    <a:gd name="connsiteX28" fmla="*/ 61761 w 4934593"/>
                    <a:gd name="connsiteY28" fmla="*/ 2814273 h 2872940"/>
                    <a:gd name="connsiteX29" fmla="*/ 55411 w 4934593"/>
                    <a:gd name="connsiteY29" fmla="*/ 2795223 h 2872940"/>
                    <a:gd name="connsiteX30" fmla="*/ 49061 w 4934593"/>
                    <a:gd name="connsiteY30" fmla="*/ 2763473 h 2872940"/>
                    <a:gd name="connsiteX31" fmla="*/ 36361 w 4934593"/>
                    <a:gd name="connsiteY31" fmla="*/ 2623773 h 2872940"/>
                    <a:gd name="connsiteX32" fmla="*/ 23661 w 4934593"/>
                    <a:gd name="connsiteY32" fmla="*/ 2553923 h 2872940"/>
                    <a:gd name="connsiteX33" fmla="*/ 17311 w 4934593"/>
                    <a:gd name="connsiteY33" fmla="*/ 1258523 h 2872940"/>
                    <a:gd name="connsiteX34" fmla="*/ 23661 w 4934593"/>
                    <a:gd name="connsiteY34" fmla="*/ 1068023 h 2872940"/>
                    <a:gd name="connsiteX35" fmla="*/ 30011 w 4934593"/>
                    <a:gd name="connsiteY35" fmla="*/ 39323 h 2872940"/>
                    <a:gd name="connsiteX36" fmla="*/ 30011 w 4934593"/>
                    <a:gd name="connsiteY36" fmla="*/ 7573 h 2872940"/>
                    <a:gd name="connsiteX0" fmla="*/ 30011 w 4849458"/>
                    <a:gd name="connsiteY0" fmla="*/ 7573 h 2872940"/>
                    <a:gd name="connsiteX1" fmla="*/ 436411 w 4849458"/>
                    <a:gd name="connsiteY1" fmla="*/ 1223 h 2872940"/>
                    <a:gd name="connsiteX2" fmla="*/ 811061 w 4849458"/>
                    <a:gd name="connsiteY2" fmla="*/ 1223 h 2872940"/>
                    <a:gd name="connsiteX3" fmla="*/ 1706411 w 4849458"/>
                    <a:gd name="connsiteY3" fmla="*/ 13923 h 2872940"/>
                    <a:gd name="connsiteX4" fmla="*/ 2258861 w 4849458"/>
                    <a:gd name="connsiteY4" fmla="*/ 26623 h 2872940"/>
                    <a:gd name="connsiteX5" fmla="*/ 4563911 w 4849458"/>
                    <a:gd name="connsiteY5" fmla="*/ 13923 h 2872940"/>
                    <a:gd name="connsiteX6" fmla="*/ 4830611 w 4849458"/>
                    <a:gd name="connsiteY6" fmla="*/ 534623 h 2872940"/>
                    <a:gd name="connsiteX7" fmla="*/ 4830611 w 4849458"/>
                    <a:gd name="connsiteY7" fmla="*/ 1366473 h 2872940"/>
                    <a:gd name="connsiteX8" fmla="*/ 4824261 w 4849458"/>
                    <a:gd name="connsiteY8" fmla="*/ 1658573 h 2872940"/>
                    <a:gd name="connsiteX9" fmla="*/ 4817911 w 4849458"/>
                    <a:gd name="connsiteY9" fmla="*/ 1747473 h 2872940"/>
                    <a:gd name="connsiteX10" fmla="*/ 4824261 w 4849458"/>
                    <a:gd name="connsiteY10" fmla="*/ 2465023 h 2872940"/>
                    <a:gd name="connsiteX11" fmla="*/ 4843311 w 4849458"/>
                    <a:gd name="connsiteY11" fmla="*/ 2585673 h 2872940"/>
                    <a:gd name="connsiteX12" fmla="*/ 4836961 w 4849458"/>
                    <a:gd name="connsiteY12" fmla="*/ 2687273 h 2872940"/>
                    <a:gd name="connsiteX13" fmla="*/ 4824261 w 4849458"/>
                    <a:gd name="connsiteY13" fmla="*/ 2744423 h 2872940"/>
                    <a:gd name="connsiteX14" fmla="*/ 4811561 w 4849458"/>
                    <a:gd name="connsiteY14" fmla="*/ 2776173 h 2872940"/>
                    <a:gd name="connsiteX15" fmla="*/ 4786161 w 4849458"/>
                    <a:gd name="connsiteY15" fmla="*/ 2801573 h 2872940"/>
                    <a:gd name="connsiteX16" fmla="*/ 4767111 w 4849458"/>
                    <a:gd name="connsiteY16" fmla="*/ 2807923 h 2872940"/>
                    <a:gd name="connsiteX17" fmla="*/ 4697261 w 4849458"/>
                    <a:gd name="connsiteY17" fmla="*/ 2814273 h 2872940"/>
                    <a:gd name="connsiteX18" fmla="*/ 4633761 w 4849458"/>
                    <a:gd name="connsiteY18" fmla="*/ 2820623 h 2872940"/>
                    <a:gd name="connsiteX19" fmla="*/ 4614711 w 4849458"/>
                    <a:gd name="connsiteY19" fmla="*/ 2826973 h 2872940"/>
                    <a:gd name="connsiteX20" fmla="*/ 3312961 w 4849458"/>
                    <a:gd name="connsiteY20" fmla="*/ 2833323 h 2872940"/>
                    <a:gd name="connsiteX21" fmla="*/ 2900211 w 4849458"/>
                    <a:gd name="connsiteY21" fmla="*/ 2814273 h 2872940"/>
                    <a:gd name="connsiteX22" fmla="*/ 2836711 w 4849458"/>
                    <a:gd name="connsiteY22" fmla="*/ 2807923 h 2872940"/>
                    <a:gd name="connsiteX23" fmla="*/ 2779561 w 4849458"/>
                    <a:gd name="connsiteY23" fmla="*/ 2801573 h 2872940"/>
                    <a:gd name="connsiteX24" fmla="*/ 2601761 w 4849458"/>
                    <a:gd name="connsiteY24" fmla="*/ 2795223 h 2872940"/>
                    <a:gd name="connsiteX25" fmla="*/ 1674661 w 4849458"/>
                    <a:gd name="connsiteY25" fmla="*/ 2801573 h 2872940"/>
                    <a:gd name="connsiteX26" fmla="*/ 1623861 w 4849458"/>
                    <a:gd name="connsiteY26" fmla="*/ 2807923 h 2872940"/>
                    <a:gd name="connsiteX27" fmla="*/ 1547661 w 4849458"/>
                    <a:gd name="connsiteY27" fmla="*/ 2814273 h 2872940"/>
                    <a:gd name="connsiteX28" fmla="*/ 61761 w 4849458"/>
                    <a:gd name="connsiteY28" fmla="*/ 2814273 h 2872940"/>
                    <a:gd name="connsiteX29" fmla="*/ 55411 w 4849458"/>
                    <a:gd name="connsiteY29" fmla="*/ 2795223 h 2872940"/>
                    <a:gd name="connsiteX30" fmla="*/ 49061 w 4849458"/>
                    <a:gd name="connsiteY30" fmla="*/ 2763473 h 2872940"/>
                    <a:gd name="connsiteX31" fmla="*/ 36361 w 4849458"/>
                    <a:gd name="connsiteY31" fmla="*/ 2623773 h 2872940"/>
                    <a:gd name="connsiteX32" fmla="*/ 23661 w 4849458"/>
                    <a:gd name="connsiteY32" fmla="*/ 2553923 h 2872940"/>
                    <a:gd name="connsiteX33" fmla="*/ 17311 w 4849458"/>
                    <a:gd name="connsiteY33" fmla="*/ 1258523 h 2872940"/>
                    <a:gd name="connsiteX34" fmla="*/ 23661 w 4849458"/>
                    <a:gd name="connsiteY34" fmla="*/ 1068023 h 2872940"/>
                    <a:gd name="connsiteX35" fmla="*/ 30011 w 4849458"/>
                    <a:gd name="connsiteY35" fmla="*/ 39323 h 2872940"/>
                    <a:gd name="connsiteX36" fmla="*/ 30011 w 4849458"/>
                    <a:gd name="connsiteY36" fmla="*/ 7573 h 2872940"/>
                    <a:gd name="connsiteX0" fmla="*/ 30011 w 4849458"/>
                    <a:gd name="connsiteY0" fmla="*/ 7573 h 2872940"/>
                    <a:gd name="connsiteX1" fmla="*/ 436411 w 4849458"/>
                    <a:gd name="connsiteY1" fmla="*/ 1223 h 2872940"/>
                    <a:gd name="connsiteX2" fmla="*/ 811061 w 4849458"/>
                    <a:gd name="connsiteY2" fmla="*/ 1223 h 2872940"/>
                    <a:gd name="connsiteX3" fmla="*/ 1706411 w 4849458"/>
                    <a:gd name="connsiteY3" fmla="*/ 13923 h 2872940"/>
                    <a:gd name="connsiteX4" fmla="*/ 2258861 w 4849458"/>
                    <a:gd name="connsiteY4" fmla="*/ 26623 h 2872940"/>
                    <a:gd name="connsiteX5" fmla="*/ 4563911 w 4849458"/>
                    <a:gd name="connsiteY5" fmla="*/ 13923 h 2872940"/>
                    <a:gd name="connsiteX6" fmla="*/ 4830611 w 4849458"/>
                    <a:gd name="connsiteY6" fmla="*/ 534623 h 2872940"/>
                    <a:gd name="connsiteX7" fmla="*/ 4830611 w 4849458"/>
                    <a:gd name="connsiteY7" fmla="*/ 1366473 h 2872940"/>
                    <a:gd name="connsiteX8" fmla="*/ 4824261 w 4849458"/>
                    <a:gd name="connsiteY8" fmla="*/ 1658573 h 2872940"/>
                    <a:gd name="connsiteX9" fmla="*/ 4817911 w 4849458"/>
                    <a:gd name="connsiteY9" fmla="*/ 1747473 h 2872940"/>
                    <a:gd name="connsiteX10" fmla="*/ 4824261 w 4849458"/>
                    <a:gd name="connsiteY10" fmla="*/ 2465023 h 2872940"/>
                    <a:gd name="connsiteX11" fmla="*/ 4843311 w 4849458"/>
                    <a:gd name="connsiteY11" fmla="*/ 2585673 h 2872940"/>
                    <a:gd name="connsiteX12" fmla="*/ 4836961 w 4849458"/>
                    <a:gd name="connsiteY12" fmla="*/ 2687273 h 2872940"/>
                    <a:gd name="connsiteX13" fmla="*/ 4824261 w 4849458"/>
                    <a:gd name="connsiteY13" fmla="*/ 2744423 h 2872940"/>
                    <a:gd name="connsiteX14" fmla="*/ 4811561 w 4849458"/>
                    <a:gd name="connsiteY14" fmla="*/ 2776173 h 2872940"/>
                    <a:gd name="connsiteX15" fmla="*/ 4786161 w 4849458"/>
                    <a:gd name="connsiteY15" fmla="*/ 2801573 h 2872940"/>
                    <a:gd name="connsiteX16" fmla="*/ 4767111 w 4849458"/>
                    <a:gd name="connsiteY16" fmla="*/ 2807923 h 2872940"/>
                    <a:gd name="connsiteX17" fmla="*/ 4697261 w 4849458"/>
                    <a:gd name="connsiteY17" fmla="*/ 2814273 h 2872940"/>
                    <a:gd name="connsiteX18" fmla="*/ 4633761 w 4849458"/>
                    <a:gd name="connsiteY18" fmla="*/ 2820623 h 2872940"/>
                    <a:gd name="connsiteX19" fmla="*/ 4614711 w 4849458"/>
                    <a:gd name="connsiteY19" fmla="*/ 2826973 h 2872940"/>
                    <a:gd name="connsiteX20" fmla="*/ 3312961 w 4849458"/>
                    <a:gd name="connsiteY20" fmla="*/ 2833323 h 2872940"/>
                    <a:gd name="connsiteX21" fmla="*/ 2900211 w 4849458"/>
                    <a:gd name="connsiteY21" fmla="*/ 2814273 h 2872940"/>
                    <a:gd name="connsiteX22" fmla="*/ 2836711 w 4849458"/>
                    <a:gd name="connsiteY22" fmla="*/ 2807923 h 2872940"/>
                    <a:gd name="connsiteX23" fmla="*/ 2779561 w 4849458"/>
                    <a:gd name="connsiteY23" fmla="*/ 2801573 h 2872940"/>
                    <a:gd name="connsiteX24" fmla="*/ 2601761 w 4849458"/>
                    <a:gd name="connsiteY24" fmla="*/ 2795223 h 2872940"/>
                    <a:gd name="connsiteX25" fmla="*/ 1674661 w 4849458"/>
                    <a:gd name="connsiteY25" fmla="*/ 2801573 h 2872940"/>
                    <a:gd name="connsiteX26" fmla="*/ 1623861 w 4849458"/>
                    <a:gd name="connsiteY26" fmla="*/ 2807923 h 2872940"/>
                    <a:gd name="connsiteX27" fmla="*/ 1547661 w 4849458"/>
                    <a:gd name="connsiteY27" fmla="*/ 2814273 h 2872940"/>
                    <a:gd name="connsiteX28" fmla="*/ 61761 w 4849458"/>
                    <a:gd name="connsiteY28" fmla="*/ 2814273 h 2872940"/>
                    <a:gd name="connsiteX29" fmla="*/ 55411 w 4849458"/>
                    <a:gd name="connsiteY29" fmla="*/ 2795223 h 2872940"/>
                    <a:gd name="connsiteX30" fmla="*/ 49061 w 4849458"/>
                    <a:gd name="connsiteY30" fmla="*/ 2763473 h 2872940"/>
                    <a:gd name="connsiteX31" fmla="*/ 36361 w 4849458"/>
                    <a:gd name="connsiteY31" fmla="*/ 2623773 h 2872940"/>
                    <a:gd name="connsiteX32" fmla="*/ 23661 w 4849458"/>
                    <a:gd name="connsiteY32" fmla="*/ 2553923 h 2872940"/>
                    <a:gd name="connsiteX33" fmla="*/ 17311 w 4849458"/>
                    <a:gd name="connsiteY33" fmla="*/ 1258523 h 2872940"/>
                    <a:gd name="connsiteX34" fmla="*/ 23661 w 4849458"/>
                    <a:gd name="connsiteY34" fmla="*/ 1068023 h 2872940"/>
                    <a:gd name="connsiteX35" fmla="*/ 30011 w 4849458"/>
                    <a:gd name="connsiteY35" fmla="*/ 39323 h 2872940"/>
                    <a:gd name="connsiteX36" fmla="*/ 30011 w 4849458"/>
                    <a:gd name="connsiteY36" fmla="*/ 7573 h 2872940"/>
                    <a:gd name="connsiteX0" fmla="*/ 30011 w 4843311"/>
                    <a:gd name="connsiteY0" fmla="*/ 7573 h 2872940"/>
                    <a:gd name="connsiteX1" fmla="*/ 436411 w 4843311"/>
                    <a:gd name="connsiteY1" fmla="*/ 1223 h 2872940"/>
                    <a:gd name="connsiteX2" fmla="*/ 811061 w 4843311"/>
                    <a:gd name="connsiteY2" fmla="*/ 1223 h 2872940"/>
                    <a:gd name="connsiteX3" fmla="*/ 1706411 w 4843311"/>
                    <a:gd name="connsiteY3" fmla="*/ 13923 h 2872940"/>
                    <a:gd name="connsiteX4" fmla="*/ 2258861 w 4843311"/>
                    <a:gd name="connsiteY4" fmla="*/ 26623 h 2872940"/>
                    <a:gd name="connsiteX5" fmla="*/ 4563911 w 4843311"/>
                    <a:gd name="connsiteY5" fmla="*/ 13923 h 2872940"/>
                    <a:gd name="connsiteX6" fmla="*/ 4811561 w 4843311"/>
                    <a:gd name="connsiteY6" fmla="*/ 528273 h 2872940"/>
                    <a:gd name="connsiteX7" fmla="*/ 4830611 w 4843311"/>
                    <a:gd name="connsiteY7" fmla="*/ 1366473 h 2872940"/>
                    <a:gd name="connsiteX8" fmla="*/ 4824261 w 4843311"/>
                    <a:gd name="connsiteY8" fmla="*/ 1658573 h 2872940"/>
                    <a:gd name="connsiteX9" fmla="*/ 4817911 w 4843311"/>
                    <a:gd name="connsiteY9" fmla="*/ 1747473 h 2872940"/>
                    <a:gd name="connsiteX10" fmla="*/ 4824261 w 4843311"/>
                    <a:gd name="connsiteY10" fmla="*/ 2465023 h 2872940"/>
                    <a:gd name="connsiteX11" fmla="*/ 4843311 w 4843311"/>
                    <a:gd name="connsiteY11" fmla="*/ 2585673 h 2872940"/>
                    <a:gd name="connsiteX12" fmla="*/ 4836961 w 4843311"/>
                    <a:gd name="connsiteY12" fmla="*/ 2687273 h 2872940"/>
                    <a:gd name="connsiteX13" fmla="*/ 4824261 w 4843311"/>
                    <a:gd name="connsiteY13" fmla="*/ 2744423 h 2872940"/>
                    <a:gd name="connsiteX14" fmla="*/ 4811561 w 4843311"/>
                    <a:gd name="connsiteY14" fmla="*/ 2776173 h 2872940"/>
                    <a:gd name="connsiteX15" fmla="*/ 4786161 w 4843311"/>
                    <a:gd name="connsiteY15" fmla="*/ 2801573 h 2872940"/>
                    <a:gd name="connsiteX16" fmla="*/ 4767111 w 4843311"/>
                    <a:gd name="connsiteY16" fmla="*/ 2807923 h 2872940"/>
                    <a:gd name="connsiteX17" fmla="*/ 4697261 w 4843311"/>
                    <a:gd name="connsiteY17" fmla="*/ 2814273 h 2872940"/>
                    <a:gd name="connsiteX18" fmla="*/ 4633761 w 4843311"/>
                    <a:gd name="connsiteY18" fmla="*/ 2820623 h 2872940"/>
                    <a:gd name="connsiteX19" fmla="*/ 4614711 w 4843311"/>
                    <a:gd name="connsiteY19" fmla="*/ 2826973 h 2872940"/>
                    <a:gd name="connsiteX20" fmla="*/ 3312961 w 4843311"/>
                    <a:gd name="connsiteY20" fmla="*/ 2833323 h 2872940"/>
                    <a:gd name="connsiteX21" fmla="*/ 2900211 w 4843311"/>
                    <a:gd name="connsiteY21" fmla="*/ 2814273 h 2872940"/>
                    <a:gd name="connsiteX22" fmla="*/ 2836711 w 4843311"/>
                    <a:gd name="connsiteY22" fmla="*/ 2807923 h 2872940"/>
                    <a:gd name="connsiteX23" fmla="*/ 2779561 w 4843311"/>
                    <a:gd name="connsiteY23" fmla="*/ 2801573 h 2872940"/>
                    <a:gd name="connsiteX24" fmla="*/ 2601761 w 4843311"/>
                    <a:gd name="connsiteY24" fmla="*/ 2795223 h 2872940"/>
                    <a:gd name="connsiteX25" fmla="*/ 1674661 w 4843311"/>
                    <a:gd name="connsiteY25" fmla="*/ 2801573 h 2872940"/>
                    <a:gd name="connsiteX26" fmla="*/ 1623861 w 4843311"/>
                    <a:gd name="connsiteY26" fmla="*/ 2807923 h 2872940"/>
                    <a:gd name="connsiteX27" fmla="*/ 1547661 w 4843311"/>
                    <a:gd name="connsiteY27" fmla="*/ 2814273 h 2872940"/>
                    <a:gd name="connsiteX28" fmla="*/ 61761 w 4843311"/>
                    <a:gd name="connsiteY28" fmla="*/ 2814273 h 2872940"/>
                    <a:gd name="connsiteX29" fmla="*/ 55411 w 4843311"/>
                    <a:gd name="connsiteY29" fmla="*/ 2795223 h 2872940"/>
                    <a:gd name="connsiteX30" fmla="*/ 49061 w 4843311"/>
                    <a:gd name="connsiteY30" fmla="*/ 2763473 h 2872940"/>
                    <a:gd name="connsiteX31" fmla="*/ 36361 w 4843311"/>
                    <a:gd name="connsiteY31" fmla="*/ 2623773 h 2872940"/>
                    <a:gd name="connsiteX32" fmla="*/ 23661 w 4843311"/>
                    <a:gd name="connsiteY32" fmla="*/ 2553923 h 2872940"/>
                    <a:gd name="connsiteX33" fmla="*/ 17311 w 4843311"/>
                    <a:gd name="connsiteY33" fmla="*/ 1258523 h 2872940"/>
                    <a:gd name="connsiteX34" fmla="*/ 23661 w 4843311"/>
                    <a:gd name="connsiteY34" fmla="*/ 1068023 h 2872940"/>
                    <a:gd name="connsiteX35" fmla="*/ 30011 w 4843311"/>
                    <a:gd name="connsiteY35" fmla="*/ 39323 h 2872940"/>
                    <a:gd name="connsiteX36" fmla="*/ 30011 w 4843311"/>
                    <a:gd name="connsiteY36" fmla="*/ 7573 h 2872940"/>
                    <a:gd name="connsiteX0" fmla="*/ 30011 w 4843311"/>
                    <a:gd name="connsiteY0" fmla="*/ 7573 h 2872940"/>
                    <a:gd name="connsiteX1" fmla="*/ 436411 w 4843311"/>
                    <a:gd name="connsiteY1" fmla="*/ 1223 h 2872940"/>
                    <a:gd name="connsiteX2" fmla="*/ 811061 w 4843311"/>
                    <a:gd name="connsiteY2" fmla="*/ 1223 h 2872940"/>
                    <a:gd name="connsiteX3" fmla="*/ 1706411 w 4843311"/>
                    <a:gd name="connsiteY3" fmla="*/ 13923 h 2872940"/>
                    <a:gd name="connsiteX4" fmla="*/ 2258861 w 4843311"/>
                    <a:gd name="connsiteY4" fmla="*/ 26623 h 2872940"/>
                    <a:gd name="connsiteX5" fmla="*/ 4563911 w 4843311"/>
                    <a:gd name="connsiteY5" fmla="*/ 13923 h 2872940"/>
                    <a:gd name="connsiteX6" fmla="*/ 4811561 w 4843311"/>
                    <a:gd name="connsiteY6" fmla="*/ 528273 h 2872940"/>
                    <a:gd name="connsiteX7" fmla="*/ 4824261 w 4843311"/>
                    <a:gd name="connsiteY7" fmla="*/ 1658573 h 2872940"/>
                    <a:gd name="connsiteX8" fmla="*/ 4817911 w 4843311"/>
                    <a:gd name="connsiteY8" fmla="*/ 1747473 h 2872940"/>
                    <a:gd name="connsiteX9" fmla="*/ 4824261 w 4843311"/>
                    <a:gd name="connsiteY9" fmla="*/ 2465023 h 2872940"/>
                    <a:gd name="connsiteX10" fmla="*/ 4843311 w 4843311"/>
                    <a:gd name="connsiteY10" fmla="*/ 2585673 h 2872940"/>
                    <a:gd name="connsiteX11" fmla="*/ 4836961 w 4843311"/>
                    <a:gd name="connsiteY11" fmla="*/ 2687273 h 2872940"/>
                    <a:gd name="connsiteX12" fmla="*/ 4824261 w 4843311"/>
                    <a:gd name="connsiteY12" fmla="*/ 2744423 h 2872940"/>
                    <a:gd name="connsiteX13" fmla="*/ 4811561 w 4843311"/>
                    <a:gd name="connsiteY13" fmla="*/ 2776173 h 2872940"/>
                    <a:gd name="connsiteX14" fmla="*/ 4786161 w 4843311"/>
                    <a:gd name="connsiteY14" fmla="*/ 2801573 h 2872940"/>
                    <a:gd name="connsiteX15" fmla="*/ 4767111 w 4843311"/>
                    <a:gd name="connsiteY15" fmla="*/ 2807923 h 2872940"/>
                    <a:gd name="connsiteX16" fmla="*/ 4697261 w 4843311"/>
                    <a:gd name="connsiteY16" fmla="*/ 2814273 h 2872940"/>
                    <a:gd name="connsiteX17" fmla="*/ 4633761 w 4843311"/>
                    <a:gd name="connsiteY17" fmla="*/ 2820623 h 2872940"/>
                    <a:gd name="connsiteX18" fmla="*/ 4614711 w 4843311"/>
                    <a:gd name="connsiteY18" fmla="*/ 2826973 h 2872940"/>
                    <a:gd name="connsiteX19" fmla="*/ 3312961 w 4843311"/>
                    <a:gd name="connsiteY19" fmla="*/ 2833323 h 2872940"/>
                    <a:gd name="connsiteX20" fmla="*/ 2900211 w 4843311"/>
                    <a:gd name="connsiteY20" fmla="*/ 2814273 h 2872940"/>
                    <a:gd name="connsiteX21" fmla="*/ 2836711 w 4843311"/>
                    <a:gd name="connsiteY21" fmla="*/ 2807923 h 2872940"/>
                    <a:gd name="connsiteX22" fmla="*/ 2779561 w 4843311"/>
                    <a:gd name="connsiteY22" fmla="*/ 2801573 h 2872940"/>
                    <a:gd name="connsiteX23" fmla="*/ 2601761 w 4843311"/>
                    <a:gd name="connsiteY23" fmla="*/ 2795223 h 2872940"/>
                    <a:gd name="connsiteX24" fmla="*/ 1674661 w 4843311"/>
                    <a:gd name="connsiteY24" fmla="*/ 2801573 h 2872940"/>
                    <a:gd name="connsiteX25" fmla="*/ 1623861 w 4843311"/>
                    <a:gd name="connsiteY25" fmla="*/ 2807923 h 2872940"/>
                    <a:gd name="connsiteX26" fmla="*/ 1547661 w 4843311"/>
                    <a:gd name="connsiteY26" fmla="*/ 2814273 h 2872940"/>
                    <a:gd name="connsiteX27" fmla="*/ 61761 w 4843311"/>
                    <a:gd name="connsiteY27" fmla="*/ 2814273 h 2872940"/>
                    <a:gd name="connsiteX28" fmla="*/ 55411 w 4843311"/>
                    <a:gd name="connsiteY28" fmla="*/ 2795223 h 2872940"/>
                    <a:gd name="connsiteX29" fmla="*/ 49061 w 4843311"/>
                    <a:gd name="connsiteY29" fmla="*/ 2763473 h 2872940"/>
                    <a:gd name="connsiteX30" fmla="*/ 36361 w 4843311"/>
                    <a:gd name="connsiteY30" fmla="*/ 2623773 h 2872940"/>
                    <a:gd name="connsiteX31" fmla="*/ 23661 w 4843311"/>
                    <a:gd name="connsiteY31" fmla="*/ 2553923 h 2872940"/>
                    <a:gd name="connsiteX32" fmla="*/ 17311 w 4843311"/>
                    <a:gd name="connsiteY32" fmla="*/ 1258523 h 2872940"/>
                    <a:gd name="connsiteX33" fmla="*/ 23661 w 4843311"/>
                    <a:gd name="connsiteY33" fmla="*/ 1068023 h 2872940"/>
                    <a:gd name="connsiteX34" fmla="*/ 30011 w 4843311"/>
                    <a:gd name="connsiteY34" fmla="*/ 39323 h 2872940"/>
                    <a:gd name="connsiteX35" fmla="*/ 30011 w 4843311"/>
                    <a:gd name="connsiteY35" fmla="*/ 7573 h 2872940"/>
                    <a:gd name="connsiteX0" fmla="*/ 30011 w 4843311"/>
                    <a:gd name="connsiteY0" fmla="*/ 7573 h 2872940"/>
                    <a:gd name="connsiteX1" fmla="*/ 436411 w 4843311"/>
                    <a:gd name="connsiteY1" fmla="*/ 1223 h 2872940"/>
                    <a:gd name="connsiteX2" fmla="*/ 811061 w 4843311"/>
                    <a:gd name="connsiteY2" fmla="*/ 1223 h 2872940"/>
                    <a:gd name="connsiteX3" fmla="*/ 1706411 w 4843311"/>
                    <a:gd name="connsiteY3" fmla="*/ 13923 h 2872940"/>
                    <a:gd name="connsiteX4" fmla="*/ 2258861 w 4843311"/>
                    <a:gd name="connsiteY4" fmla="*/ 26623 h 2872940"/>
                    <a:gd name="connsiteX5" fmla="*/ 4563911 w 4843311"/>
                    <a:gd name="connsiteY5" fmla="*/ 13923 h 2872940"/>
                    <a:gd name="connsiteX6" fmla="*/ 4811561 w 4843311"/>
                    <a:gd name="connsiteY6" fmla="*/ 528273 h 2872940"/>
                    <a:gd name="connsiteX7" fmla="*/ 4824261 w 4843311"/>
                    <a:gd name="connsiteY7" fmla="*/ 1658573 h 2872940"/>
                    <a:gd name="connsiteX8" fmla="*/ 4824261 w 4843311"/>
                    <a:gd name="connsiteY8" fmla="*/ 2465023 h 2872940"/>
                    <a:gd name="connsiteX9" fmla="*/ 4843311 w 4843311"/>
                    <a:gd name="connsiteY9" fmla="*/ 2585673 h 2872940"/>
                    <a:gd name="connsiteX10" fmla="*/ 4836961 w 4843311"/>
                    <a:gd name="connsiteY10" fmla="*/ 2687273 h 2872940"/>
                    <a:gd name="connsiteX11" fmla="*/ 4824261 w 4843311"/>
                    <a:gd name="connsiteY11" fmla="*/ 2744423 h 2872940"/>
                    <a:gd name="connsiteX12" fmla="*/ 4811561 w 4843311"/>
                    <a:gd name="connsiteY12" fmla="*/ 2776173 h 2872940"/>
                    <a:gd name="connsiteX13" fmla="*/ 4786161 w 4843311"/>
                    <a:gd name="connsiteY13" fmla="*/ 2801573 h 2872940"/>
                    <a:gd name="connsiteX14" fmla="*/ 4767111 w 4843311"/>
                    <a:gd name="connsiteY14" fmla="*/ 2807923 h 2872940"/>
                    <a:gd name="connsiteX15" fmla="*/ 4697261 w 4843311"/>
                    <a:gd name="connsiteY15" fmla="*/ 2814273 h 2872940"/>
                    <a:gd name="connsiteX16" fmla="*/ 4633761 w 4843311"/>
                    <a:gd name="connsiteY16" fmla="*/ 2820623 h 2872940"/>
                    <a:gd name="connsiteX17" fmla="*/ 4614711 w 4843311"/>
                    <a:gd name="connsiteY17" fmla="*/ 2826973 h 2872940"/>
                    <a:gd name="connsiteX18" fmla="*/ 3312961 w 4843311"/>
                    <a:gd name="connsiteY18" fmla="*/ 2833323 h 2872940"/>
                    <a:gd name="connsiteX19" fmla="*/ 2900211 w 4843311"/>
                    <a:gd name="connsiteY19" fmla="*/ 2814273 h 2872940"/>
                    <a:gd name="connsiteX20" fmla="*/ 2836711 w 4843311"/>
                    <a:gd name="connsiteY20" fmla="*/ 2807923 h 2872940"/>
                    <a:gd name="connsiteX21" fmla="*/ 2779561 w 4843311"/>
                    <a:gd name="connsiteY21" fmla="*/ 2801573 h 2872940"/>
                    <a:gd name="connsiteX22" fmla="*/ 2601761 w 4843311"/>
                    <a:gd name="connsiteY22" fmla="*/ 2795223 h 2872940"/>
                    <a:gd name="connsiteX23" fmla="*/ 1674661 w 4843311"/>
                    <a:gd name="connsiteY23" fmla="*/ 2801573 h 2872940"/>
                    <a:gd name="connsiteX24" fmla="*/ 1623861 w 4843311"/>
                    <a:gd name="connsiteY24" fmla="*/ 2807923 h 2872940"/>
                    <a:gd name="connsiteX25" fmla="*/ 1547661 w 4843311"/>
                    <a:gd name="connsiteY25" fmla="*/ 2814273 h 2872940"/>
                    <a:gd name="connsiteX26" fmla="*/ 61761 w 4843311"/>
                    <a:gd name="connsiteY26" fmla="*/ 2814273 h 2872940"/>
                    <a:gd name="connsiteX27" fmla="*/ 55411 w 4843311"/>
                    <a:gd name="connsiteY27" fmla="*/ 2795223 h 2872940"/>
                    <a:gd name="connsiteX28" fmla="*/ 49061 w 4843311"/>
                    <a:gd name="connsiteY28" fmla="*/ 2763473 h 2872940"/>
                    <a:gd name="connsiteX29" fmla="*/ 36361 w 4843311"/>
                    <a:gd name="connsiteY29" fmla="*/ 2623773 h 2872940"/>
                    <a:gd name="connsiteX30" fmla="*/ 23661 w 4843311"/>
                    <a:gd name="connsiteY30" fmla="*/ 2553923 h 2872940"/>
                    <a:gd name="connsiteX31" fmla="*/ 17311 w 4843311"/>
                    <a:gd name="connsiteY31" fmla="*/ 1258523 h 2872940"/>
                    <a:gd name="connsiteX32" fmla="*/ 23661 w 4843311"/>
                    <a:gd name="connsiteY32" fmla="*/ 1068023 h 2872940"/>
                    <a:gd name="connsiteX33" fmla="*/ 30011 w 4843311"/>
                    <a:gd name="connsiteY33" fmla="*/ 39323 h 2872940"/>
                    <a:gd name="connsiteX34" fmla="*/ 30011 w 4843311"/>
                    <a:gd name="connsiteY34" fmla="*/ 7573 h 2872940"/>
                    <a:gd name="connsiteX0" fmla="*/ 30011 w 4843311"/>
                    <a:gd name="connsiteY0" fmla="*/ 7573 h 2872940"/>
                    <a:gd name="connsiteX1" fmla="*/ 436411 w 4843311"/>
                    <a:gd name="connsiteY1" fmla="*/ 1223 h 2872940"/>
                    <a:gd name="connsiteX2" fmla="*/ 811061 w 4843311"/>
                    <a:gd name="connsiteY2" fmla="*/ 1223 h 2872940"/>
                    <a:gd name="connsiteX3" fmla="*/ 1706411 w 4843311"/>
                    <a:gd name="connsiteY3" fmla="*/ 13923 h 2872940"/>
                    <a:gd name="connsiteX4" fmla="*/ 2258861 w 4843311"/>
                    <a:gd name="connsiteY4" fmla="*/ 26623 h 2872940"/>
                    <a:gd name="connsiteX5" fmla="*/ 4563911 w 4843311"/>
                    <a:gd name="connsiteY5" fmla="*/ 13923 h 2872940"/>
                    <a:gd name="connsiteX6" fmla="*/ 4811561 w 4843311"/>
                    <a:gd name="connsiteY6" fmla="*/ 528273 h 2872940"/>
                    <a:gd name="connsiteX7" fmla="*/ 4786161 w 4843311"/>
                    <a:gd name="connsiteY7" fmla="*/ 1683973 h 2872940"/>
                    <a:gd name="connsiteX8" fmla="*/ 4824261 w 4843311"/>
                    <a:gd name="connsiteY8" fmla="*/ 2465023 h 2872940"/>
                    <a:gd name="connsiteX9" fmla="*/ 4843311 w 4843311"/>
                    <a:gd name="connsiteY9" fmla="*/ 2585673 h 2872940"/>
                    <a:gd name="connsiteX10" fmla="*/ 4836961 w 4843311"/>
                    <a:gd name="connsiteY10" fmla="*/ 2687273 h 2872940"/>
                    <a:gd name="connsiteX11" fmla="*/ 4824261 w 4843311"/>
                    <a:gd name="connsiteY11" fmla="*/ 2744423 h 2872940"/>
                    <a:gd name="connsiteX12" fmla="*/ 4811561 w 4843311"/>
                    <a:gd name="connsiteY12" fmla="*/ 2776173 h 2872940"/>
                    <a:gd name="connsiteX13" fmla="*/ 4786161 w 4843311"/>
                    <a:gd name="connsiteY13" fmla="*/ 2801573 h 2872940"/>
                    <a:gd name="connsiteX14" fmla="*/ 4767111 w 4843311"/>
                    <a:gd name="connsiteY14" fmla="*/ 2807923 h 2872940"/>
                    <a:gd name="connsiteX15" fmla="*/ 4697261 w 4843311"/>
                    <a:gd name="connsiteY15" fmla="*/ 2814273 h 2872940"/>
                    <a:gd name="connsiteX16" fmla="*/ 4633761 w 4843311"/>
                    <a:gd name="connsiteY16" fmla="*/ 2820623 h 2872940"/>
                    <a:gd name="connsiteX17" fmla="*/ 4614711 w 4843311"/>
                    <a:gd name="connsiteY17" fmla="*/ 2826973 h 2872940"/>
                    <a:gd name="connsiteX18" fmla="*/ 3312961 w 4843311"/>
                    <a:gd name="connsiteY18" fmla="*/ 2833323 h 2872940"/>
                    <a:gd name="connsiteX19" fmla="*/ 2900211 w 4843311"/>
                    <a:gd name="connsiteY19" fmla="*/ 2814273 h 2872940"/>
                    <a:gd name="connsiteX20" fmla="*/ 2836711 w 4843311"/>
                    <a:gd name="connsiteY20" fmla="*/ 2807923 h 2872940"/>
                    <a:gd name="connsiteX21" fmla="*/ 2779561 w 4843311"/>
                    <a:gd name="connsiteY21" fmla="*/ 2801573 h 2872940"/>
                    <a:gd name="connsiteX22" fmla="*/ 2601761 w 4843311"/>
                    <a:gd name="connsiteY22" fmla="*/ 2795223 h 2872940"/>
                    <a:gd name="connsiteX23" fmla="*/ 1674661 w 4843311"/>
                    <a:gd name="connsiteY23" fmla="*/ 2801573 h 2872940"/>
                    <a:gd name="connsiteX24" fmla="*/ 1623861 w 4843311"/>
                    <a:gd name="connsiteY24" fmla="*/ 2807923 h 2872940"/>
                    <a:gd name="connsiteX25" fmla="*/ 1547661 w 4843311"/>
                    <a:gd name="connsiteY25" fmla="*/ 2814273 h 2872940"/>
                    <a:gd name="connsiteX26" fmla="*/ 61761 w 4843311"/>
                    <a:gd name="connsiteY26" fmla="*/ 2814273 h 2872940"/>
                    <a:gd name="connsiteX27" fmla="*/ 55411 w 4843311"/>
                    <a:gd name="connsiteY27" fmla="*/ 2795223 h 2872940"/>
                    <a:gd name="connsiteX28" fmla="*/ 49061 w 4843311"/>
                    <a:gd name="connsiteY28" fmla="*/ 2763473 h 2872940"/>
                    <a:gd name="connsiteX29" fmla="*/ 36361 w 4843311"/>
                    <a:gd name="connsiteY29" fmla="*/ 2623773 h 2872940"/>
                    <a:gd name="connsiteX30" fmla="*/ 23661 w 4843311"/>
                    <a:gd name="connsiteY30" fmla="*/ 2553923 h 2872940"/>
                    <a:gd name="connsiteX31" fmla="*/ 17311 w 4843311"/>
                    <a:gd name="connsiteY31" fmla="*/ 1258523 h 2872940"/>
                    <a:gd name="connsiteX32" fmla="*/ 23661 w 4843311"/>
                    <a:gd name="connsiteY32" fmla="*/ 1068023 h 2872940"/>
                    <a:gd name="connsiteX33" fmla="*/ 30011 w 4843311"/>
                    <a:gd name="connsiteY33" fmla="*/ 39323 h 2872940"/>
                    <a:gd name="connsiteX34" fmla="*/ 30011 w 4843311"/>
                    <a:gd name="connsiteY34" fmla="*/ 7573 h 2872940"/>
                    <a:gd name="connsiteX0" fmla="*/ 30011 w 4836961"/>
                    <a:gd name="connsiteY0" fmla="*/ 7573 h 2872940"/>
                    <a:gd name="connsiteX1" fmla="*/ 436411 w 4836961"/>
                    <a:gd name="connsiteY1" fmla="*/ 1223 h 2872940"/>
                    <a:gd name="connsiteX2" fmla="*/ 811061 w 4836961"/>
                    <a:gd name="connsiteY2" fmla="*/ 1223 h 2872940"/>
                    <a:gd name="connsiteX3" fmla="*/ 1706411 w 4836961"/>
                    <a:gd name="connsiteY3" fmla="*/ 13923 h 2872940"/>
                    <a:gd name="connsiteX4" fmla="*/ 2258861 w 4836961"/>
                    <a:gd name="connsiteY4" fmla="*/ 26623 h 2872940"/>
                    <a:gd name="connsiteX5" fmla="*/ 4563911 w 4836961"/>
                    <a:gd name="connsiteY5" fmla="*/ 13923 h 2872940"/>
                    <a:gd name="connsiteX6" fmla="*/ 4811561 w 4836961"/>
                    <a:gd name="connsiteY6" fmla="*/ 528273 h 2872940"/>
                    <a:gd name="connsiteX7" fmla="*/ 4786161 w 4836961"/>
                    <a:gd name="connsiteY7" fmla="*/ 1683973 h 2872940"/>
                    <a:gd name="connsiteX8" fmla="*/ 4824261 w 4836961"/>
                    <a:gd name="connsiteY8" fmla="*/ 2465023 h 2872940"/>
                    <a:gd name="connsiteX9" fmla="*/ 4836961 w 4836961"/>
                    <a:gd name="connsiteY9" fmla="*/ 2687273 h 2872940"/>
                    <a:gd name="connsiteX10" fmla="*/ 4824261 w 4836961"/>
                    <a:gd name="connsiteY10" fmla="*/ 2744423 h 2872940"/>
                    <a:gd name="connsiteX11" fmla="*/ 4811561 w 4836961"/>
                    <a:gd name="connsiteY11" fmla="*/ 2776173 h 2872940"/>
                    <a:gd name="connsiteX12" fmla="*/ 4786161 w 4836961"/>
                    <a:gd name="connsiteY12" fmla="*/ 2801573 h 2872940"/>
                    <a:gd name="connsiteX13" fmla="*/ 4767111 w 4836961"/>
                    <a:gd name="connsiteY13" fmla="*/ 2807923 h 2872940"/>
                    <a:gd name="connsiteX14" fmla="*/ 4697261 w 4836961"/>
                    <a:gd name="connsiteY14" fmla="*/ 2814273 h 2872940"/>
                    <a:gd name="connsiteX15" fmla="*/ 4633761 w 4836961"/>
                    <a:gd name="connsiteY15" fmla="*/ 2820623 h 2872940"/>
                    <a:gd name="connsiteX16" fmla="*/ 4614711 w 4836961"/>
                    <a:gd name="connsiteY16" fmla="*/ 2826973 h 2872940"/>
                    <a:gd name="connsiteX17" fmla="*/ 3312961 w 4836961"/>
                    <a:gd name="connsiteY17" fmla="*/ 2833323 h 2872940"/>
                    <a:gd name="connsiteX18" fmla="*/ 2900211 w 4836961"/>
                    <a:gd name="connsiteY18" fmla="*/ 2814273 h 2872940"/>
                    <a:gd name="connsiteX19" fmla="*/ 2836711 w 4836961"/>
                    <a:gd name="connsiteY19" fmla="*/ 2807923 h 2872940"/>
                    <a:gd name="connsiteX20" fmla="*/ 2779561 w 4836961"/>
                    <a:gd name="connsiteY20" fmla="*/ 2801573 h 2872940"/>
                    <a:gd name="connsiteX21" fmla="*/ 2601761 w 4836961"/>
                    <a:gd name="connsiteY21" fmla="*/ 2795223 h 2872940"/>
                    <a:gd name="connsiteX22" fmla="*/ 1674661 w 4836961"/>
                    <a:gd name="connsiteY22" fmla="*/ 2801573 h 2872940"/>
                    <a:gd name="connsiteX23" fmla="*/ 1623861 w 4836961"/>
                    <a:gd name="connsiteY23" fmla="*/ 2807923 h 2872940"/>
                    <a:gd name="connsiteX24" fmla="*/ 1547661 w 4836961"/>
                    <a:gd name="connsiteY24" fmla="*/ 2814273 h 2872940"/>
                    <a:gd name="connsiteX25" fmla="*/ 61761 w 4836961"/>
                    <a:gd name="connsiteY25" fmla="*/ 2814273 h 2872940"/>
                    <a:gd name="connsiteX26" fmla="*/ 55411 w 4836961"/>
                    <a:gd name="connsiteY26" fmla="*/ 2795223 h 2872940"/>
                    <a:gd name="connsiteX27" fmla="*/ 49061 w 4836961"/>
                    <a:gd name="connsiteY27" fmla="*/ 2763473 h 2872940"/>
                    <a:gd name="connsiteX28" fmla="*/ 36361 w 4836961"/>
                    <a:gd name="connsiteY28" fmla="*/ 2623773 h 2872940"/>
                    <a:gd name="connsiteX29" fmla="*/ 23661 w 4836961"/>
                    <a:gd name="connsiteY29" fmla="*/ 2553923 h 2872940"/>
                    <a:gd name="connsiteX30" fmla="*/ 17311 w 4836961"/>
                    <a:gd name="connsiteY30" fmla="*/ 1258523 h 2872940"/>
                    <a:gd name="connsiteX31" fmla="*/ 23661 w 4836961"/>
                    <a:gd name="connsiteY31" fmla="*/ 1068023 h 2872940"/>
                    <a:gd name="connsiteX32" fmla="*/ 30011 w 4836961"/>
                    <a:gd name="connsiteY32" fmla="*/ 39323 h 2872940"/>
                    <a:gd name="connsiteX33" fmla="*/ 30011 w 4836961"/>
                    <a:gd name="connsiteY33" fmla="*/ 7573 h 2872940"/>
                    <a:gd name="connsiteX0" fmla="*/ 30011 w 4836961"/>
                    <a:gd name="connsiteY0" fmla="*/ 7573 h 2872940"/>
                    <a:gd name="connsiteX1" fmla="*/ 436411 w 4836961"/>
                    <a:gd name="connsiteY1" fmla="*/ 1223 h 2872940"/>
                    <a:gd name="connsiteX2" fmla="*/ 811061 w 4836961"/>
                    <a:gd name="connsiteY2" fmla="*/ 1223 h 2872940"/>
                    <a:gd name="connsiteX3" fmla="*/ 1706411 w 4836961"/>
                    <a:gd name="connsiteY3" fmla="*/ 13923 h 2872940"/>
                    <a:gd name="connsiteX4" fmla="*/ 2258861 w 4836961"/>
                    <a:gd name="connsiteY4" fmla="*/ 26623 h 2872940"/>
                    <a:gd name="connsiteX5" fmla="*/ 4563911 w 4836961"/>
                    <a:gd name="connsiteY5" fmla="*/ 13923 h 2872940"/>
                    <a:gd name="connsiteX6" fmla="*/ 4811561 w 4836961"/>
                    <a:gd name="connsiteY6" fmla="*/ 528273 h 2872940"/>
                    <a:gd name="connsiteX7" fmla="*/ 4786161 w 4836961"/>
                    <a:gd name="connsiteY7" fmla="*/ 1683973 h 2872940"/>
                    <a:gd name="connsiteX8" fmla="*/ 4824261 w 4836961"/>
                    <a:gd name="connsiteY8" fmla="*/ 2465023 h 2872940"/>
                    <a:gd name="connsiteX9" fmla="*/ 4836961 w 4836961"/>
                    <a:gd name="connsiteY9" fmla="*/ 2687273 h 2872940"/>
                    <a:gd name="connsiteX10" fmla="*/ 4824261 w 4836961"/>
                    <a:gd name="connsiteY10" fmla="*/ 2744423 h 2872940"/>
                    <a:gd name="connsiteX11" fmla="*/ 4786161 w 4836961"/>
                    <a:gd name="connsiteY11" fmla="*/ 2801573 h 2872940"/>
                    <a:gd name="connsiteX12" fmla="*/ 4767111 w 4836961"/>
                    <a:gd name="connsiteY12" fmla="*/ 2807923 h 2872940"/>
                    <a:gd name="connsiteX13" fmla="*/ 4697261 w 4836961"/>
                    <a:gd name="connsiteY13" fmla="*/ 2814273 h 2872940"/>
                    <a:gd name="connsiteX14" fmla="*/ 4633761 w 4836961"/>
                    <a:gd name="connsiteY14" fmla="*/ 2820623 h 2872940"/>
                    <a:gd name="connsiteX15" fmla="*/ 4614711 w 4836961"/>
                    <a:gd name="connsiteY15" fmla="*/ 2826973 h 2872940"/>
                    <a:gd name="connsiteX16" fmla="*/ 3312961 w 4836961"/>
                    <a:gd name="connsiteY16" fmla="*/ 2833323 h 2872940"/>
                    <a:gd name="connsiteX17" fmla="*/ 2900211 w 4836961"/>
                    <a:gd name="connsiteY17" fmla="*/ 2814273 h 2872940"/>
                    <a:gd name="connsiteX18" fmla="*/ 2836711 w 4836961"/>
                    <a:gd name="connsiteY18" fmla="*/ 2807923 h 2872940"/>
                    <a:gd name="connsiteX19" fmla="*/ 2779561 w 4836961"/>
                    <a:gd name="connsiteY19" fmla="*/ 2801573 h 2872940"/>
                    <a:gd name="connsiteX20" fmla="*/ 2601761 w 4836961"/>
                    <a:gd name="connsiteY20" fmla="*/ 2795223 h 2872940"/>
                    <a:gd name="connsiteX21" fmla="*/ 1674661 w 4836961"/>
                    <a:gd name="connsiteY21" fmla="*/ 2801573 h 2872940"/>
                    <a:gd name="connsiteX22" fmla="*/ 1623861 w 4836961"/>
                    <a:gd name="connsiteY22" fmla="*/ 2807923 h 2872940"/>
                    <a:gd name="connsiteX23" fmla="*/ 1547661 w 4836961"/>
                    <a:gd name="connsiteY23" fmla="*/ 2814273 h 2872940"/>
                    <a:gd name="connsiteX24" fmla="*/ 61761 w 4836961"/>
                    <a:gd name="connsiteY24" fmla="*/ 2814273 h 2872940"/>
                    <a:gd name="connsiteX25" fmla="*/ 55411 w 4836961"/>
                    <a:gd name="connsiteY25" fmla="*/ 2795223 h 2872940"/>
                    <a:gd name="connsiteX26" fmla="*/ 49061 w 4836961"/>
                    <a:gd name="connsiteY26" fmla="*/ 2763473 h 2872940"/>
                    <a:gd name="connsiteX27" fmla="*/ 36361 w 4836961"/>
                    <a:gd name="connsiteY27" fmla="*/ 2623773 h 2872940"/>
                    <a:gd name="connsiteX28" fmla="*/ 23661 w 4836961"/>
                    <a:gd name="connsiteY28" fmla="*/ 2553923 h 2872940"/>
                    <a:gd name="connsiteX29" fmla="*/ 17311 w 4836961"/>
                    <a:gd name="connsiteY29" fmla="*/ 1258523 h 2872940"/>
                    <a:gd name="connsiteX30" fmla="*/ 23661 w 4836961"/>
                    <a:gd name="connsiteY30" fmla="*/ 1068023 h 2872940"/>
                    <a:gd name="connsiteX31" fmla="*/ 30011 w 4836961"/>
                    <a:gd name="connsiteY31" fmla="*/ 39323 h 2872940"/>
                    <a:gd name="connsiteX32" fmla="*/ 30011 w 4836961"/>
                    <a:gd name="connsiteY32" fmla="*/ 7573 h 2872940"/>
                    <a:gd name="connsiteX0" fmla="*/ 30011 w 4836961"/>
                    <a:gd name="connsiteY0" fmla="*/ 7573 h 2872940"/>
                    <a:gd name="connsiteX1" fmla="*/ 436411 w 4836961"/>
                    <a:gd name="connsiteY1" fmla="*/ 1223 h 2872940"/>
                    <a:gd name="connsiteX2" fmla="*/ 811061 w 4836961"/>
                    <a:gd name="connsiteY2" fmla="*/ 1223 h 2872940"/>
                    <a:gd name="connsiteX3" fmla="*/ 1706411 w 4836961"/>
                    <a:gd name="connsiteY3" fmla="*/ 13923 h 2872940"/>
                    <a:gd name="connsiteX4" fmla="*/ 2258861 w 4836961"/>
                    <a:gd name="connsiteY4" fmla="*/ 26623 h 2872940"/>
                    <a:gd name="connsiteX5" fmla="*/ 4563911 w 4836961"/>
                    <a:gd name="connsiteY5" fmla="*/ 13923 h 2872940"/>
                    <a:gd name="connsiteX6" fmla="*/ 4811561 w 4836961"/>
                    <a:gd name="connsiteY6" fmla="*/ 528273 h 2872940"/>
                    <a:gd name="connsiteX7" fmla="*/ 4786161 w 4836961"/>
                    <a:gd name="connsiteY7" fmla="*/ 1683973 h 2872940"/>
                    <a:gd name="connsiteX8" fmla="*/ 4824261 w 4836961"/>
                    <a:gd name="connsiteY8" fmla="*/ 2465023 h 2872940"/>
                    <a:gd name="connsiteX9" fmla="*/ 4836961 w 4836961"/>
                    <a:gd name="connsiteY9" fmla="*/ 2687273 h 2872940"/>
                    <a:gd name="connsiteX10" fmla="*/ 4824261 w 4836961"/>
                    <a:gd name="connsiteY10" fmla="*/ 2744423 h 2872940"/>
                    <a:gd name="connsiteX11" fmla="*/ 4786161 w 4836961"/>
                    <a:gd name="connsiteY11" fmla="*/ 2801573 h 2872940"/>
                    <a:gd name="connsiteX12" fmla="*/ 4767111 w 4836961"/>
                    <a:gd name="connsiteY12" fmla="*/ 2807923 h 2872940"/>
                    <a:gd name="connsiteX13" fmla="*/ 4633761 w 4836961"/>
                    <a:gd name="connsiteY13" fmla="*/ 2820623 h 2872940"/>
                    <a:gd name="connsiteX14" fmla="*/ 4614711 w 4836961"/>
                    <a:gd name="connsiteY14" fmla="*/ 2826973 h 2872940"/>
                    <a:gd name="connsiteX15" fmla="*/ 3312961 w 4836961"/>
                    <a:gd name="connsiteY15" fmla="*/ 2833323 h 2872940"/>
                    <a:gd name="connsiteX16" fmla="*/ 2900211 w 4836961"/>
                    <a:gd name="connsiteY16" fmla="*/ 2814273 h 2872940"/>
                    <a:gd name="connsiteX17" fmla="*/ 2836711 w 4836961"/>
                    <a:gd name="connsiteY17" fmla="*/ 2807923 h 2872940"/>
                    <a:gd name="connsiteX18" fmla="*/ 2779561 w 4836961"/>
                    <a:gd name="connsiteY18" fmla="*/ 2801573 h 2872940"/>
                    <a:gd name="connsiteX19" fmla="*/ 2601761 w 4836961"/>
                    <a:gd name="connsiteY19" fmla="*/ 2795223 h 2872940"/>
                    <a:gd name="connsiteX20" fmla="*/ 1674661 w 4836961"/>
                    <a:gd name="connsiteY20" fmla="*/ 2801573 h 2872940"/>
                    <a:gd name="connsiteX21" fmla="*/ 1623861 w 4836961"/>
                    <a:gd name="connsiteY21" fmla="*/ 2807923 h 2872940"/>
                    <a:gd name="connsiteX22" fmla="*/ 1547661 w 4836961"/>
                    <a:gd name="connsiteY22" fmla="*/ 2814273 h 2872940"/>
                    <a:gd name="connsiteX23" fmla="*/ 61761 w 4836961"/>
                    <a:gd name="connsiteY23" fmla="*/ 2814273 h 2872940"/>
                    <a:gd name="connsiteX24" fmla="*/ 55411 w 4836961"/>
                    <a:gd name="connsiteY24" fmla="*/ 2795223 h 2872940"/>
                    <a:gd name="connsiteX25" fmla="*/ 49061 w 4836961"/>
                    <a:gd name="connsiteY25" fmla="*/ 2763473 h 2872940"/>
                    <a:gd name="connsiteX26" fmla="*/ 36361 w 4836961"/>
                    <a:gd name="connsiteY26" fmla="*/ 2623773 h 2872940"/>
                    <a:gd name="connsiteX27" fmla="*/ 23661 w 4836961"/>
                    <a:gd name="connsiteY27" fmla="*/ 2553923 h 2872940"/>
                    <a:gd name="connsiteX28" fmla="*/ 17311 w 4836961"/>
                    <a:gd name="connsiteY28" fmla="*/ 1258523 h 2872940"/>
                    <a:gd name="connsiteX29" fmla="*/ 23661 w 4836961"/>
                    <a:gd name="connsiteY29" fmla="*/ 1068023 h 2872940"/>
                    <a:gd name="connsiteX30" fmla="*/ 30011 w 4836961"/>
                    <a:gd name="connsiteY30" fmla="*/ 39323 h 2872940"/>
                    <a:gd name="connsiteX31" fmla="*/ 30011 w 4836961"/>
                    <a:gd name="connsiteY31" fmla="*/ 7573 h 2872940"/>
                    <a:gd name="connsiteX0" fmla="*/ 30011 w 4836961"/>
                    <a:gd name="connsiteY0" fmla="*/ 7573 h 2872940"/>
                    <a:gd name="connsiteX1" fmla="*/ 436411 w 4836961"/>
                    <a:gd name="connsiteY1" fmla="*/ 1223 h 2872940"/>
                    <a:gd name="connsiteX2" fmla="*/ 811061 w 4836961"/>
                    <a:gd name="connsiteY2" fmla="*/ 1223 h 2872940"/>
                    <a:gd name="connsiteX3" fmla="*/ 1706411 w 4836961"/>
                    <a:gd name="connsiteY3" fmla="*/ 13923 h 2872940"/>
                    <a:gd name="connsiteX4" fmla="*/ 2258861 w 4836961"/>
                    <a:gd name="connsiteY4" fmla="*/ 26623 h 2872940"/>
                    <a:gd name="connsiteX5" fmla="*/ 4563911 w 4836961"/>
                    <a:gd name="connsiteY5" fmla="*/ 13923 h 2872940"/>
                    <a:gd name="connsiteX6" fmla="*/ 4811561 w 4836961"/>
                    <a:gd name="connsiteY6" fmla="*/ 528273 h 2872940"/>
                    <a:gd name="connsiteX7" fmla="*/ 4786161 w 4836961"/>
                    <a:gd name="connsiteY7" fmla="*/ 1683973 h 2872940"/>
                    <a:gd name="connsiteX8" fmla="*/ 4824261 w 4836961"/>
                    <a:gd name="connsiteY8" fmla="*/ 2465023 h 2872940"/>
                    <a:gd name="connsiteX9" fmla="*/ 4836961 w 4836961"/>
                    <a:gd name="connsiteY9" fmla="*/ 2687273 h 2872940"/>
                    <a:gd name="connsiteX10" fmla="*/ 4824261 w 4836961"/>
                    <a:gd name="connsiteY10" fmla="*/ 2744423 h 2872940"/>
                    <a:gd name="connsiteX11" fmla="*/ 4786161 w 4836961"/>
                    <a:gd name="connsiteY11" fmla="*/ 2801573 h 2872940"/>
                    <a:gd name="connsiteX12" fmla="*/ 4633761 w 4836961"/>
                    <a:gd name="connsiteY12" fmla="*/ 2820623 h 2872940"/>
                    <a:gd name="connsiteX13" fmla="*/ 4614711 w 4836961"/>
                    <a:gd name="connsiteY13" fmla="*/ 2826973 h 2872940"/>
                    <a:gd name="connsiteX14" fmla="*/ 3312961 w 4836961"/>
                    <a:gd name="connsiteY14" fmla="*/ 2833323 h 2872940"/>
                    <a:gd name="connsiteX15" fmla="*/ 2900211 w 4836961"/>
                    <a:gd name="connsiteY15" fmla="*/ 2814273 h 2872940"/>
                    <a:gd name="connsiteX16" fmla="*/ 2836711 w 4836961"/>
                    <a:gd name="connsiteY16" fmla="*/ 2807923 h 2872940"/>
                    <a:gd name="connsiteX17" fmla="*/ 2779561 w 4836961"/>
                    <a:gd name="connsiteY17" fmla="*/ 2801573 h 2872940"/>
                    <a:gd name="connsiteX18" fmla="*/ 2601761 w 4836961"/>
                    <a:gd name="connsiteY18" fmla="*/ 2795223 h 2872940"/>
                    <a:gd name="connsiteX19" fmla="*/ 1674661 w 4836961"/>
                    <a:gd name="connsiteY19" fmla="*/ 2801573 h 2872940"/>
                    <a:gd name="connsiteX20" fmla="*/ 1623861 w 4836961"/>
                    <a:gd name="connsiteY20" fmla="*/ 2807923 h 2872940"/>
                    <a:gd name="connsiteX21" fmla="*/ 1547661 w 4836961"/>
                    <a:gd name="connsiteY21" fmla="*/ 2814273 h 2872940"/>
                    <a:gd name="connsiteX22" fmla="*/ 61761 w 4836961"/>
                    <a:gd name="connsiteY22" fmla="*/ 2814273 h 2872940"/>
                    <a:gd name="connsiteX23" fmla="*/ 55411 w 4836961"/>
                    <a:gd name="connsiteY23" fmla="*/ 2795223 h 2872940"/>
                    <a:gd name="connsiteX24" fmla="*/ 49061 w 4836961"/>
                    <a:gd name="connsiteY24" fmla="*/ 2763473 h 2872940"/>
                    <a:gd name="connsiteX25" fmla="*/ 36361 w 4836961"/>
                    <a:gd name="connsiteY25" fmla="*/ 2623773 h 2872940"/>
                    <a:gd name="connsiteX26" fmla="*/ 23661 w 4836961"/>
                    <a:gd name="connsiteY26" fmla="*/ 2553923 h 2872940"/>
                    <a:gd name="connsiteX27" fmla="*/ 17311 w 4836961"/>
                    <a:gd name="connsiteY27" fmla="*/ 1258523 h 2872940"/>
                    <a:gd name="connsiteX28" fmla="*/ 23661 w 4836961"/>
                    <a:gd name="connsiteY28" fmla="*/ 1068023 h 2872940"/>
                    <a:gd name="connsiteX29" fmla="*/ 30011 w 4836961"/>
                    <a:gd name="connsiteY29" fmla="*/ 39323 h 2872940"/>
                    <a:gd name="connsiteX30" fmla="*/ 30011 w 4836961"/>
                    <a:gd name="connsiteY30" fmla="*/ 7573 h 2872940"/>
                    <a:gd name="connsiteX0" fmla="*/ 30011 w 4843494"/>
                    <a:gd name="connsiteY0" fmla="*/ 7573 h 2872940"/>
                    <a:gd name="connsiteX1" fmla="*/ 436411 w 4843494"/>
                    <a:gd name="connsiteY1" fmla="*/ 1223 h 2872940"/>
                    <a:gd name="connsiteX2" fmla="*/ 811061 w 4843494"/>
                    <a:gd name="connsiteY2" fmla="*/ 1223 h 2872940"/>
                    <a:gd name="connsiteX3" fmla="*/ 1706411 w 4843494"/>
                    <a:gd name="connsiteY3" fmla="*/ 13923 h 2872940"/>
                    <a:gd name="connsiteX4" fmla="*/ 2258861 w 4843494"/>
                    <a:gd name="connsiteY4" fmla="*/ 26623 h 2872940"/>
                    <a:gd name="connsiteX5" fmla="*/ 4563911 w 4843494"/>
                    <a:gd name="connsiteY5" fmla="*/ 13923 h 2872940"/>
                    <a:gd name="connsiteX6" fmla="*/ 4811561 w 4843494"/>
                    <a:gd name="connsiteY6" fmla="*/ 528273 h 2872940"/>
                    <a:gd name="connsiteX7" fmla="*/ 4786161 w 4843494"/>
                    <a:gd name="connsiteY7" fmla="*/ 1683973 h 2872940"/>
                    <a:gd name="connsiteX8" fmla="*/ 4824261 w 4843494"/>
                    <a:gd name="connsiteY8" fmla="*/ 2465023 h 2872940"/>
                    <a:gd name="connsiteX9" fmla="*/ 4836961 w 4843494"/>
                    <a:gd name="connsiteY9" fmla="*/ 2687273 h 2872940"/>
                    <a:gd name="connsiteX10" fmla="*/ 4824261 w 4843494"/>
                    <a:gd name="connsiteY10" fmla="*/ 2744423 h 2872940"/>
                    <a:gd name="connsiteX11" fmla="*/ 4633761 w 4843494"/>
                    <a:gd name="connsiteY11" fmla="*/ 2820623 h 2872940"/>
                    <a:gd name="connsiteX12" fmla="*/ 4614711 w 4843494"/>
                    <a:gd name="connsiteY12" fmla="*/ 2826973 h 2872940"/>
                    <a:gd name="connsiteX13" fmla="*/ 3312961 w 4843494"/>
                    <a:gd name="connsiteY13" fmla="*/ 2833323 h 2872940"/>
                    <a:gd name="connsiteX14" fmla="*/ 2900211 w 4843494"/>
                    <a:gd name="connsiteY14" fmla="*/ 2814273 h 2872940"/>
                    <a:gd name="connsiteX15" fmla="*/ 2836711 w 4843494"/>
                    <a:gd name="connsiteY15" fmla="*/ 2807923 h 2872940"/>
                    <a:gd name="connsiteX16" fmla="*/ 2779561 w 4843494"/>
                    <a:gd name="connsiteY16" fmla="*/ 2801573 h 2872940"/>
                    <a:gd name="connsiteX17" fmla="*/ 2601761 w 4843494"/>
                    <a:gd name="connsiteY17" fmla="*/ 2795223 h 2872940"/>
                    <a:gd name="connsiteX18" fmla="*/ 1674661 w 4843494"/>
                    <a:gd name="connsiteY18" fmla="*/ 2801573 h 2872940"/>
                    <a:gd name="connsiteX19" fmla="*/ 1623861 w 4843494"/>
                    <a:gd name="connsiteY19" fmla="*/ 2807923 h 2872940"/>
                    <a:gd name="connsiteX20" fmla="*/ 1547661 w 4843494"/>
                    <a:gd name="connsiteY20" fmla="*/ 2814273 h 2872940"/>
                    <a:gd name="connsiteX21" fmla="*/ 61761 w 4843494"/>
                    <a:gd name="connsiteY21" fmla="*/ 2814273 h 2872940"/>
                    <a:gd name="connsiteX22" fmla="*/ 55411 w 4843494"/>
                    <a:gd name="connsiteY22" fmla="*/ 2795223 h 2872940"/>
                    <a:gd name="connsiteX23" fmla="*/ 49061 w 4843494"/>
                    <a:gd name="connsiteY23" fmla="*/ 2763473 h 2872940"/>
                    <a:gd name="connsiteX24" fmla="*/ 36361 w 4843494"/>
                    <a:gd name="connsiteY24" fmla="*/ 2623773 h 2872940"/>
                    <a:gd name="connsiteX25" fmla="*/ 23661 w 4843494"/>
                    <a:gd name="connsiteY25" fmla="*/ 2553923 h 2872940"/>
                    <a:gd name="connsiteX26" fmla="*/ 17311 w 4843494"/>
                    <a:gd name="connsiteY26" fmla="*/ 1258523 h 2872940"/>
                    <a:gd name="connsiteX27" fmla="*/ 23661 w 4843494"/>
                    <a:gd name="connsiteY27" fmla="*/ 1068023 h 2872940"/>
                    <a:gd name="connsiteX28" fmla="*/ 30011 w 4843494"/>
                    <a:gd name="connsiteY28" fmla="*/ 39323 h 2872940"/>
                    <a:gd name="connsiteX29" fmla="*/ 30011 w 4843494"/>
                    <a:gd name="connsiteY29" fmla="*/ 7573 h 2872940"/>
                    <a:gd name="connsiteX0" fmla="*/ 30011 w 4839769"/>
                    <a:gd name="connsiteY0" fmla="*/ 7573 h 2872940"/>
                    <a:gd name="connsiteX1" fmla="*/ 436411 w 4839769"/>
                    <a:gd name="connsiteY1" fmla="*/ 1223 h 2872940"/>
                    <a:gd name="connsiteX2" fmla="*/ 811061 w 4839769"/>
                    <a:gd name="connsiteY2" fmla="*/ 1223 h 2872940"/>
                    <a:gd name="connsiteX3" fmla="*/ 1706411 w 4839769"/>
                    <a:gd name="connsiteY3" fmla="*/ 13923 h 2872940"/>
                    <a:gd name="connsiteX4" fmla="*/ 2258861 w 4839769"/>
                    <a:gd name="connsiteY4" fmla="*/ 26623 h 2872940"/>
                    <a:gd name="connsiteX5" fmla="*/ 4563911 w 4839769"/>
                    <a:gd name="connsiteY5" fmla="*/ 13923 h 2872940"/>
                    <a:gd name="connsiteX6" fmla="*/ 4811561 w 4839769"/>
                    <a:gd name="connsiteY6" fmla="*/ 528273 h 2872940"/>
                    <a:gd name="connsiteX7" fmla="*/ 4786161 w 4839769"/>
                    <a:gd name="connsiteY7" fmla="*/ 1683973 h 2872940"/>
                    <a:gd name="connsiteX8" fmla="*/ 4824261 w 4839769"/>
                    <a:gd name="connsiteY8" fmla="*/ 2465023 h 2872940"/>
                    <a:gd name="connsiteX9" fmla="*/ 4836961 w 4839769"/>
                    <a:gd name="connsiteY9" fmla="*/ 2687273 h 2872940"/>
                    <a:gd name="connsiteX10" fmla="*/ 4817911 w 4839769"/>
                    <a:gd name="connsiteY10" fmla="*/ 2814273 h 2872940"/>
                    <a:gd name="connsiteX11" fmla="*/ 4633761 w 4839769"/>
                    <a:gd name="connsiteY11" fmla="*/ 2820623 h 2872940"/>
                    <a:gd name="connsiteX12" fmla="*/ 4614711 w 4839769"/>
                    <a:gd name="connsiteY12" fmla="*/ 2826973 h 2872940"/>
                    <a:gd name="connsiteX13" fmla="*/ 3312961 w 4839769"/>
                    <a:gd name="connsiteY13" fmla="*/ 2833323 h 2872940"/>
                    <a:gd name="connsiteX14" fmla="*/ 2900211 w 4839769"/>
                    <a:gd name="connsiteY14" fmla="*/ 2814273 h 2872940"/>
                    <a:gd name="connsiteX15" fmla="*/ 2836711 w 4839769"/>
                    <a:gd name="connsiteY15" fmla="*/ 2807923 h 2872940"/>
                    <a:gd name="connsiteX16" fmla="*/ 2779561 w 4839769"/>
                    <a:gd name="connsiteY16" fmla="*/ 2801573 h 2872940"/>
                    <a:gd name="connsiteX17" fmla="*/ 2601761 w 4839769"/>
                    <a:gd name="connsiteY17" fmla="*/ 2795223 h 2872940"/>
                    <a:gd name="connsiteX18" fmla="*/ 1674661 w 4839769"/>
                    <a:gd name="connsiteY18" fmla="*/ 2801573 h 2872940"/>
                    <a:gd name="connsiteX19" fmla="*/ 1623861 w 4839769"/>
                    <a:gd name="connsiteY19" fmla="*/ 2807923 h 2872940"/>
                    <a:gd name="connsiteX20" fmla="*/ 1547661 w 4839769"/>
                    <a:gd name="connsiteY20" fmla="*/ 2814273 h 2872940"/>
                    <a:gd name="connsiteX21" fmla="*/ 61761 w 4839769"/>
                    <a:gd name="connsiteY21" fmla="*/ 2814273 h 2872940"/>
                    <a:gd name="connsiteX22" fmla="*/ 55411 w 4839769"/>
                    <a:gd name="connsiteY22" fmla="*/ 2795223 h 2872940"/>
                    <a:gd name="connsiteX23" fmla="*/ 49061 w 4839769"/>
                    <a:gd name="connsiteY23" fmla="*/ 2763473 h 2872940"/>
                    <a:gd name="connsiteX24" fmla="*/ 36361 w 4839769"/>
                    <a:gd name="connsiteY24" fmla="*/ 2623773 h 2872940"/>
                    <a:gd name="connsiteX25" fmla="*/ 23661 w 4839769"/>
                    <a:gd name="connsiteY25" fmla="*/ 2553923 h 2872940"/>
                    <a:gd name="connsiteX26" fmla="*/ 17311 w 4839769"/>
                    <a:gd name="connsiteY26" fmla="*/ 1258523 h 2872940"/>
                    <a:gd name="connsiteX27" fmla="*/ 23661 w 4839769"/>
                    <a:gd name="connsiteY27" fmla="*/ 1068023 h 2872940"/>
                    <a:gd name="connsiteX28" fmla="*/ 30011 w 4839769"/>
                    <a:gd name="connsiteY28" fmla="*/ 39323 h 2872940"/>
                    <a:gd name="connsiteX29" fmla="*/ 30011 w 4839769"/>
                    <a:gd name="connsiteY29" fmla="*/ 7573 h 2872940"/>
                    <a:gd name="connsiteX0" fmla="*/ 30011 w 4839769"/>
                    <a:gd name="connsiteY0" fmla="*/ 7573 h 2872940"/>
                    <a:gd name="connsiteX1" fmla="*/ 436411 w 4839769"/>
                    <a:gd name="connsiteY1" fmla="*/ 1223 h 2872940"/>
                    <a:gd name="connsiteX2" fmla="*/ 811061 w 4839769"/>
                    <a:gd name="connsiteY2" fmla="*/ 1223 h 2872940"/>
                    <a:gd name="connsiteX3" fmla="*/ 1706411 w 4839769"/>
                    <a:gd name="connsiteY3" fmla="*/ 13923 h 2872940"/>
                    <a:gd name="connsiteX4" fmla="*/ 2258861 w 4839769"/>
                    <a:gd name="connsiteY4" fmla="*/ 26623 h 2872940"/>
                    <a:gd name="connsiteX5" fmla="*/ 4563911 w 4839769"/>
                    <a:gd name="connsiteY5" fmla="*/ 13923 h 2872940"/>
                    <a:gd name="connsiteX6" fmla="*/ 4811561 w 4839769"/>
                    <a:gd name="connsiteY6" fmla="*/ 528273 h 2872940"/>
                    <a:gd name="connsiteX7" fmla="*/ 4786161 w 4839769"/>
                    <a:gd name="connsiteY7" fmla="*/ 1683973 h 2872940"/>
                    <a:gd name="connsiteX8" fmla="*/ 4824261 w 4839769"/>
                    <a:gd name="connsiteY8" fmla="*/ 2465023 h 2872940"/>
                    <a:gd name="connsiteX9" fmla="*/ 4836961 w 4839769"/>
                    <a:gd name="connsiteY9" fmla="*/ 2687273 h 2872940"/>
                    <a:gd name="connsiteX10" fmla="*/ 4817911 w 4839769"/>
                    <a:gd name="connsiteY10" fmla="*/ 2814273 h 2872940"/>
                    <a:gd name="connsiteX11" fmla="*/ 4633761 w 4839769"/>
                    <a:gd name="connsiteY11" fmla="*/ 2820623 h 2872940"/>
                    <a:gd name="connsiteX12" fmla="*/ 3312961 w 4839769"/>
                    <a:gd name="connsiteY12" fmla="*/ 2833323 h 2872940"/>
                    <a:gd name="connsiteX13" fmla="*/ 2900211 w 4839769"/>
                    <a:gd name="connsiteY13" fmla="*/ 2814273 h 2872940"/>
                    <a:gd name="connsiteX14" fmla="*/ 2836711 w 4839769"/>
                    <a:gd name="connsiteY14" fmla="*/ 2807923 h 2872940"/>
                    <a:gd name="connsiteX15" fmla="*/ 2779561 w 4839769"/>
                    <a:gd name="connsiteY15" fmla="*/ 2801573 h 2872940"/>
                    <a:gd name="connsiteX16" fmla="*/ 2601761 w 4839769"/>
                    <a:gd name="connsiteY16" fmla="*/ 2795223 h 2872940"/>
                    <a:gd name="connsiteX17" fmla="*/ 1674661 w 4839769"/>
                    <a:gd name="connsiteY17" fmla="*/ 2801573 h 2872940"/>
                    <a:gd name="connsiteX18" fmla="*/ 1623861 w 4839769"/>
                    <a:gd name="connsiteY18" fmla="*/ 2807923 h 2872940"/>
                    <a:gd name="connsiteX19" fmla="*/ 1547661 w 4839769"/>
                    <a:gd name="connsiteY19" fmla="*/ 2814273 h 2872940"/>
                    <a:gd name="connsiteX20" fmla="*/ 61761 w 4839769"/>
                    <a:gd name="connsiteY20" fmla="*/ 2814273 h 2872940"/>
                    <a:gd name="connsiteX21" fmla="*/ 55411 w 4839769"/>
                    <a:gd name="connsiteY21" fmla="*/ 2795223 h 2872940"/>
                    <a:gd name="connsiteX22" fmla="*/ 49061 w 4839769"/>
                    <a:gd name="connsiteY22" fmla="*/ 2763473 h 2872940"/>
                    <a:gd name="connsiteX23" fmla="*/ 36361 w 4839769"/>
                    <a:gd name="connsiteY23" fmla="*/ 2623773 h 2872940"/>
                    <a:gd name="connsiteX24" fmla="*/ 23661 w 4839769"/>
                    <a:gd name="connsiteY24" fmla="*/ 2553923 h 2872940"/>
                    <a:gd name="connsiteX25" fmla="*/ 17311 w 4839769"/>
                    <a:gd name="connsiteY25" fmla="*/ 1258523 h 2872940"/>
                    <a:gd name="connsiteX26" fmla="*/ 23661 w 4839769"/>
                    <a:gd name="connsiteY26" fmla="*/ 1068023 h 2872940"/>
                    <a:gd name="connsiteX27" fmla="*/ 30011 w 4839769"/>
                    <a:gd name="connsiteY27" fmla="*/ 39323 h 2872940"/>
                    <a:gd name="connsiteX28" fmla="*/ 30011 w 4839769"/>
                    <a:gd name="connsiteY28" fmla="*/ 7573 h 2872940"/>
                    <a:gd name="connsiteX0" fmla="*/ 30011 w 4839769"/>
                    <a:gd name="connsiteY0" fmla="*/ 7573 h 2872940"/>
                    <a:gd name="connsiteX1" fmla="*/ 436411 w 4839769"/>
                    <a:gd name="connsiteY1" fmla="*/ 1223 h 2872940"/>
                    <a:gd name="connsiteX2" fmla="*/ 811061 w 4839769"/>
                    <a:gd name="connsiteY2" fmla="*/ 1223 h 2872940"/>
                    <a:gd name="connsiteX3" fmla="*/ 1706411 w 4839769"/>
                    <a:gd name="connsiteY3" fmla="*/ 13923 h 2872940"/>
                    <a:gd name="connsiteX4" fmla="*/ 2258861 w 4839769"/>
                    <a:gd name="connsiteY4" fmla="*/ 26623 h 2872940"/>
                    <a:gd name="connsiteX5" fmla="*/ 4563911 w 4839769"/>
                    <a:gd name="connsiteY5" fmla="*/ 13923 h 2872940"/>
                    <a:gd name="connsiteX6" fmla="*/ 4811561 w 4839769"/>
                    <a:gd name="connsiteY6" fmla="*/ 528273 h 2872940"/>
                    <a:gd name="connsiteX7" fmla="*/ 4786161 w 4839769"/>
                    <a:gd name="connsiteY7" fmla="*/ 1683973 h 2872940"/>
                    <a:gd name="connsiteX8" fmla="*/ 4824261 w 4839769"/>
                    <a:gd name="connsiteY8" fmla="*/ 2465023 h 2872940"/>
                    <a:gd name="connsiteX9" fmla="*/ 4836961 w 4839769"/>
                    <a:gd name="connsiteY9" fmla="*/ 2687273 h 2872940"/>
                    <a:gd name="connsiteX10" fmla="*/ 4817911 w 4839769"/>
                    <a:gd name="connsiteY10" fmla="*/ 2814273 h 2872940"/>
                    <a:gd name="connsiteX11" fmla="*/ 4633761 w 4839769"/>
                    <a:gd name="connsiteY11" fmla="*/ 2820623 h 2872940"/>
                    <a:gd name="connsiteX12" fmla="*/ 2900211 w 4839769"/>
                    <a:gd name="connsiteY12" fmla="*/ 2814273 h 2872940"/>
                    <a:gd name="connsiteX13" fmla="*/ 2836711 w 4839769"/>
                    <a:gd name="connsiteY13" fmla="*/ 2807923 h 2872940"/>
                    <a:gd name="connsiteX14" fmla="*/ 2779561 w 4839769"/>
                    <a:gd name="connsiteY14" fmla="*/ 2801573 h 2872940"/>
                    <a:gd name="connsiteX15" fmla="*/ 2601761 w 4839769"/>
                    <a:gd name="connsiteY15" fmla="*/ 2795223 h 2872940"/>
                    <a:gd name="connsiteX16" fmla="*/ 1674661 w 4839769"/>
                    <a:gd name="connsiteY16" fmla="*/ 2801573 h 2872940"/>
                    <a:gd name="connsiteX17" fmla="*/ 1623861 w 4839769"/>
                    <a:gd name="connsiteY17" fmla="*/ 2807923 h 2872940"/>
                    <a:gd name="connsiteX18" fmla="*/ 1547661 w 4839769"/>
                    <a:gd name="connsiteY18" fmla="*/ 2814273 h 2872940"/>
                    <a:gd name="connsiteX19" fmla="*/ 61761 w 4839769"/>
                    <a:gd name="connsiteY19" fmla="*/ 2814273 h 2872940"/>
                    <a:gd name="connsiteX20" fmla="*/ 55411 w 4839769"/>
                    <a:gd name="connsiteY20" fmla="*/ 2795223 h 2872940"/>
                    <a:gd name="connsiteX21" fmla="*/ 49061 w 4839769"/>
                    <a:gd name="connsiteY21" fmla="*/ 2763473 h 2872940"/>
                    <a:gd name="connsiteX22" fmla="*/ 36361 w 4839769"/>
                    <a:gd name="connsiteY22" fmla="*/ 2623773 h 2872940"/>
                    <a:gd name="connsiteX23" fmla="*/ 23661 w 4839769"/>
                    <a:gd name="connsiteY23" fmla="*/ 2553923 h 2872940"/>
                    <a:gd name="connsiteX24" fmla="*/ 17311 w 4839769"/>
                    <a:gd name="connsiteY24" fmla="*/ 1258523 h 2872940"/>
                    <a:gd name="connsiteX25" fmla="*/ 23661 w 4839769"/>
                    <a:gd name="connsiteY25" fmla="*/ 1068023 h 2872940"/>
                    <a:gd name="connsiteX26" fmla="*/ 30011 w 4839769"/>
                    <a:gd name="connsiteY26" fmla="*/ 39323 h 2872940"/>
                    <a:gd name="connsiteX27" fmla="*/ 30011 w 4839769"/>
                    <a:gd name="connsiteY27" fmla="*/ 7573 h 2872940"/>
                    <a:gd name="connsiteX0" fmla="*/ 30011 w 4839769"/>
                    <a:gd name="connsiteY0" fmla="*/ 7573 h 2872940"/>
                    <a:gd name="connsiteX1" fmla="*/ 436411 w 4839769"/>
                    <a:gd name="connsiteY1" fmla="*/ 1223 h 2872940"/>
                    <a:gd name="connsiteX2" fmla="*/ 811061 w 4839769"/>
                    <a:gd name="connsiteY2" fmla="*/ 1223 h 2872940"/>
                    <a:gd name="connsiteX3" fmla="*/ 1706411 w 4839769"/>
                    <a:gd name="connsiteY3" fmla="*/ 13923 h 2872940"/>
                    <a:gd name="connsiteX4" fmla="*/ 2258861 w 4839769"/>
                    <a:gd name="connsiteY4" fmla="*/ 26623 h 2872940"/>
                    <a:gd name="connsiteX5" fmla="*/ 4563911 w 4839769"/>
                    <a:gd name="connsiteY5" fmla="*/ 13923 h 2872940"/>
                    <a:gd name="connsiteX6" fmla="*/ 4811561 w 4839769"/>
                    <a:gd name="connsiteY6" fmla="*/ 528273 h 2872940"/>
                    <a:gd name="connsiteX7" fmla="*/ 4786161 w 4839769"/>
                    <a:gd name="connsiteY7" fmla="*/ 1683973 h 2872940"/>
                    <a:gd name="connsiteX8" fmla="*/ 4824261 w 4839769"/>
                    <a:gd name="connsiteY8" fmla="*/ 2465023 h 2872940"/>
                    <a:gd name="connsiteX9" fmla="*/ 4836961 w 4839769"/>
                    <a:gd name="connsiteY9" fmla="*/ 2687273 h 2872940"/>
                    <a:gd name="connsiteX10" fmla="*/ 4817911 w 4839769"/>
                    <a:gd name="connsiteY10" fmla="*/ 2814273 h 2872940"/>
                    <a:gd name="connsiteX11" fmla="*/ 4633761 w 4839769"/>
                    <a:gd name="connsiteY11" fmla="*/ 2820623 h 2872940"/>
                    <a:gd name="connsiteX12" fmla="*/ 2900211 w 4839769"/>
                    <a:gd name="connsiteY12" fmla="*/ 2814273 h 2872940"/>
                    <a:gd name="connsiteX13" fmla="*/ 2836711 w 4839769"/>
                    <a:gd name="connsiteY13" fmla="*/ 2807923 h 2872940"/>
                    <a:gd name="connsiteX14" fmla="*/ 2601761 w 4839769"/>
                    <a:gd name="connsiteY14" fmla="*/ 2795223 h 2872940"/>
                    <a:gd name="connsiteX15" fmla="*/ 1674661 w 4839769"/>
                    <a:gd name="connsiteY15" fmla="*/ 2801573 h 2872940"/>
                    <a:gd name="connsiteX16" fmla="*/ 1623861 w 4839769"/>
                    <a:gd name="connsiteY16" fmla="*/ 2807923 h 2872940"/>
                    <a:gd name="connsiteX17" fmla="*/ 1547661 w 4839769"/>
                    <a:gd name="connsiteY17" fmla="*/ 2814273 h 2872940"/>
                    <a:gd name="connsiteX18" fmla="*/ 61761 w 4839769"/>
                    <a:gd name="connsiteY18" fmla="*/ 2814273 h 2872940"/>
                    <a:gd name="connsiteX19" fmla="*/ 55411 w 4839769"/>
                    <a:gd name="connsiteY19" fmla="*/ 2795223 h 2872940"/>
                    <a:gd name="connsiteX20" fmla="*/ 49061 w 4839769"/>
                    <a:gd name="connsiteY20" fmla="*/ 2763473 h 2872940"/>
                    <a:gd name="connsiteX21" fmla="*/ 36361 w 4839769"/>
                    <a:gd name="connsiteY21" fmla="*/ 2623773 h 2872940"/>
                    <a:gd name="connsiteX22" fmla="*/ 23661 w 4839769"/>
                    <a:gd name="connsiteY22" fmla="*/ 2553923 h 2872940"/>
                    <a:gd name="connsiteX23" fmla="*/ 17311 w 4839769"/>
                    <a:gd name="connsiteY23" fmla="*/ 1258523 h 2872940"/>
                    <a:gd name="connsiteX24" fmla="*/ 23661 w 4839769"/>
                    <a:gd name="connsiteY24" fmla="*/ 1068023 h 2872940"/>
                    <a:gd name="connsiteX25" fmla="*/ 30011 w 4839769"/>
                    <a:gd name="connsiteY25" fmla="*/ 39323 h 2872940"/>
                    <a:gd name="connsiteX26" fmla="*/ 30011 w 4839769"/>
                    <a:gd name="connsiteY26" fmla="*/ 7573 h 2872940"/>
                    <a:gd name="connsiteX0" fmla="*/ 30011 w 4839769"/>
                    <a:gd name="connsiteY0" fmla="*/ 7573 h 2872940"/>
                    <a:gd name="connsiteX1" fmla="*/ 436411 w 4839769"/>
                    <a:gd name="connsiteY1" fmla="*/ 1223 h 2872940"/>
                    <a:gd name="connsiteX2" fmla="*/ 811061 w 4839769"/>
                    <a:gd name="connsiteY2" fmla="*/ 1223 h 2872940"/>
                    <a:gd name="connsiteX3" fmla="*/ 1706411 w 4839769"/>
                    <a:gd name="connsiteY3" fmla="*/ 13923 h 2872940"/>
                    <a:gd name="connsiteX4" fmla="*/ 2258861 w 4839769"/>
                    <a:gd name="connsiteY4" fmla="*/ 26623 h 2872940"/>
                    <a:gd name="connsiteX5" fmla="*/ 4563911 w 4839769"/>
                    <a:gd name="connsiteY5" fmla="*/ 13923 h 2872940"/>
                    <a:gd name="connsiteX6" fmla="*/ 4811561 w 4839769"/>
                    <a:gd name="connsiteY6" fmla="*/ 528273 h 2872940"/>
                    <a:gd name="connsiteX7" fmla="*/ 4786161 w 4839769"/>
                    <a:gd name="connsiteY7" fmla="*/ 1683973 h 2872940"/>
                    <a:gd name="connsiteX8" fmla="*/ 4824261 w 4839769"/>
                    <a:gd name="connsiteY8" fmla="*/ 2465023 h 2872940"/>
                    <a:gd name="connsiteX9" fmla="*/ 4836961 w 4839769"/>
                    <a:gd name="connsiteY9" fmla="*/ 2687273 h 2872940"/>
                    <a:gd name="connsiteX10" fmla="*/ 4817911 w 4839769"/>
                    <a:gd name="connsiteY10" fmla="*/ 2814273 h 2872940"/>
                    <a:gd name="connsiteX11" fmla="*/ 4633761 w 4839769"/>
                    <a:gd name="connsiteY11" fmla="*/ 2820623 h 2872940"/>
                    <a:gd name="connsiteX12" fmla="*/ 2900211 w 4839769"/>
                    <a:gd name="connsiteY12" fmla="*/ 2814273 h 2872940"/>
                    <a:gd name="connsiteX13" fmla="*/ 2836711 w 4839769"/>
                    <a:gd name="connsiteY13" fmla="*/ 2807923 h 2872940"/>
                    <a:gd name="connsiteX14" fmla="*/ 1674661 w 4839769"/>
                    <a:gd name="connsiteY14" fmla="*/ 2801573 h 2872940"/>
                    <a:gd name="connsiteX15" fmla="*/ 1623861 w 4839769"/>
                    <a:gd name="connsiteY15" fmla="*/ 2807923 h 2872940"/>
                    <a:gd name="connsiteX16" fmla="*/ 1547661 w 4839769"/>
                    <a:gd name="connsiteY16" fmla="*/ 2814273 h 2872940"/>
                    <a:gd name="connsiteX17" fmla="*/ 61761 w 4839769"/>
                    <a:gd name="connsiteY17" fmla="*/ 2814273 h 2872940"/>
                    <a:gd name="connsiteX18" fmla="*/ 55411 w 4839769"/>
                    <a:gd name="connsiteY18" fmla="*/ 2795223 h 2872940"/>
                    <a:gd name="connsiteX19" fmla="*/ 49061 w 4839769"/>
                    <a:gd name="connsiteY19" fmla="*/ 2763473 h 2872940"/>
                    <a:gd name="connsiteX20" fmla="*/ 36361 w 4839769"/>
                    <a:gd name="connsiteY20" fmla="*/ 2623773 h 2872940"/>
                    <a:gd name="connsiteX21" fmla="*/ 23661 w 4839769"/>
                    <a:gd name="connsiteY21" fmla="*/ 2553923 h 2872940"/>
                    <a:gd name="connsiteX22" fmla="*/ 17311 w 4839769"/>
                    <a:gd name="connsiteY22" fmla="*/ 1258523 h 2872940"/>
                    <a:gd name="connsiteX23" fmla="*/ 23661 w 4839769"/>
                    <a:gd name="connsiteY23" fmla="*/ 1068023 h 2872940"/>
                    <a:gd name="connsiteX24" fmla="*/ 30011 w 4839769"/>
                    <a:gd name="connsiteY24" fmla="*/ 39323 h 2872940"/>
                    <a:gd name="connsiteX25" fmla="*/ 30011 w 4839769"/>
                    <a:gd name="connsiteY25" fmla="*/ 7573 h 2872940"/>
                    <a:gd name="connsiteX0" fmla="*/ 85732 w 4895490"/>
                    <a:gd name="connsiteY0" fmla="*/ 7573 h 2822848"/>
                    <a:gd name="connsiteX1" fmla="*/ 492132 w 4895490"/>
                    <a:gd name="connsiteY1" fmla="*/ 1223 h 2822848"/>
                    <a:gd name="connsiteX2" fmla="*/ 866782 w 4895490"/>
                    <a:gd name="connsiteY2" fmla="*/ 1223 h 2822848"/>
                    <a:gd name="connsiteX3" fmla="*/ 1762132 w 4895490"/>
                    <a:gd name="connsiteY3" fmla="*/ 13923 h 2822848"/>
                    <a:gd name="connsiteX4" fmla="*/ 2314582 w 4895490"/>
                    <a:gd name="connsiteY4" fmla="*/ 26623 h 2822848"/>
                    <a:gd name="connsiteX5" fmla="*/ 4619632 w 4895490"/>
                    <a:gd name="connsiteY5" fmla="*/ 13923 h 2822848"/>
                    <a:gd name="connsiteX6" fmla="*/ 4867282 w 4895490"/>
                    <a:gd name="connsiteY6" fmla="*/ 528273 h 2822848"/>
                    <a:gd name="connsiteX7" fmla="*/ 4841882 w 4895490"/>
                    <a:gd name="connsiteY7" fmla="*/ 1683973 h 2822848"/>
                    <a:gd name="connsiteX8" fmla="*/ 4879982 w 4895490"/>
                    <a:gd name="connsiteY8" fmla="*/ 2465023 h 2822848"/>
                    <a:gd name="connsiteX9" fmla="*/ 4892682 w 4895490"/>
                    <a:gd name="connsiteY9" fmla="*/ 2687273 h 2822848"/>
                    <a:gd name="connsiteX10" fmla="*/ 4873632 w 4895490"/>
                    <a:gd name="connsiteY10" fmla="*/ 2814273 h 2822848"/>
                    <a:gd name="connsiteX11" fmla="*/ 4689482 w 4895490"/>
                    <a:gd name="connsiteY11" fmla="*/ 2820623 h 2822848"/>
                    <a:gd name="connsiteX12" fmla="*/ 2955932 w 4895490"/>
                    <a:gd name="connsiteY12" fmla="*/ 2814273 h 2822848"/>
                    <a:gd name="connsiteX13" fmla="*/ 2892432 w 4895490"/>
                    <a:gd name="connsiteY13" fmla="*/ 2807923 h 2822848"/>
                    <a:gd name="connsiteX14" fmla="*/ 1730382 w 4895490"/>
                    <a:gd name="connsiteY14" fmla="*/ 2801573 h 2822848"/>
                    <a:gd name="connsiteX15" fmla="*/ 1679582 w 4895490"/>
                    <a:gd name="connsiteY15" fmla="*/ 2807923 h 2822848"/>
                    <a:gd name="connsiteX16" fmla="*/ 117482 w 4895490"/>
                    <a:gd name="connsiteY16" fmla="*/ 2814273 h 2822848"/>
                    <a:gd name="connsiteX17" fmla="*/ 111132 w 4895490"/>
                    <a:gd name="connsiteY17" fmla="*/ 2795223 h 2822848"/>
                    <a:gd name="connsiteX18" fmla="*/ 104782 w 4895490"/>
                    <a:gd name="connsiteY18" fmla="*/ 2763473 h 2822848"/>
                    <a:gd name="connsiteX19" fmla="*/ 92082 w 4895490"/>
                    <a:gd name="connsiteY19" fmla="*/ 2623773 h 2822848"/>
                    <a:gd name="connsiteX20" fmla="*/ 79382 w 4895490"/>
                    <a:gd name="connsiteY20" fmla="*/ 2553923 h 2822848"/>
                    <a:gd name="connsiteX21" fmla="*/ 73032 w 4895490"/>
                    <a:gd name="connsiteY21" fmla="*/ 1258523 h 2822848"/>
                    <a:gd name="connsiteX22" fmla="*/ 79382 w 4895490"/>
                    <a:gd name="connsiteY22" fmla="*/ 1068023 h 2822848"/>
                    <a:gd name="connsiteX23" fmla="*/ 85732 w 4895490"/>
                    <a:gd name="connsiteY23" fmla="*/ 39323 h 2822848"/>
                    <a:gd name="connsiteX24" fmla="*/ 85732 w 4895490"/>
                    <a:gd name="connsiteY24" fmla="*/ 7573 h 2822848"/>
                    <a:gd name="connsiteX0" fmla="*/ 89494 w 4899252"/>
                    <a:gd name="connsiteY0" fmla="*/ 7573 h 2822848"/>
                    <a:gd name="connsiteX1" fmla="*/ 495894 w 4899252"/>
                    <a:gd name="connsiteY1" fmla="*/ 1223 h 2822848"/>
                    <a:gd name="connsiteX2" fmla="*/ 870544 w 4899252"/>
                    <a:gd name="connsiteY2" fmla="*/ 1223 h 2822848"/>
                    <a:gd name="connsiteX3" fmla="*/ 1765894 w 4899252"/>
                    <a:gd name="connsiteY3" fmla="*/ 13923 h 2822848"/>
                    <a:gd name="connsiteX4" fmla="*/ 2318344 w 4899252"/>
                    <a:gd name="connsiteY4" fmla="*/ 26623 h 2822848"/>
                    <a:gd name="connsiteX5" fmla="*/ 4623394 w 4899252"/>
                    <a:gd name="connsiteY5" fmla="*/ 13923 h 2822848"/>
                    <a:gd name="connsiteX6" fmla="*/ 4871044 w 4899252"/>
                    <a:gd name="connsiteY6" fmla="*/ 528273 h 2822848"/>
                    <a:gd name="connsiteX7" fmla="*/ 4845644 w 4899252"/>
                    <a:gd name="connsiteY7" fmla="*/ 1683973 h 2822848"/>
                    <a:gd name="connsiteX8" fmla="*/ 4883744 w 4899252"/>
                    <a:gd name="connsiteY8" fmla="*/ 2465023 h 2822848"/>
                    <a:gd name="connsiteX9" fmla="*/ 4896444 w 4899252"/>
                    <a:gd name="connsiteY9" fmla="*/ 2687273 h 2822848"/>
                    <a:gd name="connsiteX10" fmla="*/ 4877394 w 4899252"/>
                    <a:gd name="connsiteY10" fmla="*/ 2814273 h 2822848"/>
                    <a:gd name="connsiteX11" fmla="*/ 4693244 w 4899252"/>
                    <a:gd name="connsiteY11" fmla="*/ 2820623 h 2822848"/>
                    <a:gd name="connsiteX12" fmla="*/ 2959694 w 4899252"/>
                    <a:gd name="connsiteY12" fmla="*/ 2814273 h 2822848"/>
                    <a:gd name="connsiteX13" fmla="*/ 2896194 w 4899252"/>
                    <a:gd name="connsiteY13" fmla="*/ 2807923 h 2822848"/>
                    <a:gd name="connsiteX14" fmla="*/ 1734144 w 4899252"/>
                    <a:gd name="connsiteY14" fmla="*/ 2801573 h 2822848"/>
                    <a:gd name="connsiteX15" fmla="*/ 121244 w 4899252"/>
                    <a:gd name="connsiteY15" fmla="*/ 2814273 h 2822848"/>
                    <a:gd name="connsiteX16" fmla="*/ 114894 w 4899252"/>
                    <a:gd name="connsiteY16" fmla="*/ 2795223 h 2822848"/>
                    <a:gd name="connsiteX17" fmla="*/ 108544 w 4899252"/>
                    <a:gd name="connsiteY17" fmla="*/ 2763473 h 2822848"/>
                    <a:gd name="connsiteX18" fmla="*/ 95844 w 4899252"/>
                    <a:gd name="connsiteY18" fmla="*/ 2623773 h 2822848"/>
                    <a:gd name="connsiteX19" fmla="*/ 83144 w 4899252"/>
                    <a:gd name="connsiteY19" fmla="*/ 2553923 h 2822848"/>
                    <a:gd name="connsiteX20" fmla="*/ 76794 w 4899252"/>
                    <a:gd name="connsiteY20" fmla="*/ 1258523 h 2822848"/>
                    <a:gd name="connsiteX21" fmla="*/ 83144 w 4899252"/>
                    <a:gd name="connsiteY21" fmla="*/ 1068023 h 2822848"/>
                    <a:gd name="connsiteX22" fmla="*/ 89494 w 4899252"/>
                    <a:gd name="connsiteY22" fmla="*/ 39323 h 2822848"/>
                    <a:gd name="connsiteX23" fmla="*/ 89494 w 4899252"/>
                    <a:gd name="connsiteY23" fmla="*/ 7573 h 2822848"/>
                    <a:gd name="connsiteX0" fmla="*/ 91067 w 4900825"/>
                    <a:gd name="connsiteY0" fmla="*/ 7573 h 2822848"/>
                    <a:gd name="connsiteX1" fmla="*/ 497467 w 4900825"/>
                    <a:gd name="connsiteY1" fmla="*/ 1223 h 2822848"/>
                    <a:gd name="connsiteX2" fmla="*/ 872117 w 4900825"/>
                    <a:gd name="connsiteY2" fmla="*/ 1223 h 2822848"/>
                    <a:gd name="connsiteX3" fmla="*/ 1767467 w 4900825"/>
                    <a:gd name="connsiteY3" fmla="*/ 13923 h 2822848"/>
                    <a:gd name="connsiteX4" fmla="*/ 2319917 w 4900825"/>
                    <a:gd name="connsiteY4" fmla="*/ 26623 h 2822848"/>
                    <a:gd name="connsiteX5" fmla="*/ 4624967 w 4900825"/>
                    <a:gd name="connsiteY5" fmla="*/ 13923 h 2822848"/>
                    <a:gd name="connsiteX6" fmla="*/ 4872617 w 4900825"/>
                    <a:gd name="connsiteY6" fmla="*/ 528273 h 2822848"/>
                    <a:gd name="connsiteX7" fmla="*/ 4847217 w 4900825"/>
                    <a:gd name="connsiteY7" fmla="*/ 1683973 h 2822848"/>
                    <a:gd name="connsiteX8" fmla="*/ 4885317 w 4900825"/>
                    <a:gd name="connsiteY8" fmla="*/ 2465023 h 2822848"/>
                    <a:gd name="connsiteX9" fmla="*/ 4898017 w 4900825"/>
                    <a:gd name="connsiteY9" fmla="*/ 2687273 h 2822848"/>
                    <a:gd name="connsiteX10" fmla="*/ 4878967 w 4900825"/>
                    <a:gd name="connsiteY10" fmla="*/ 2814273 h 2822848"/>
                    <a:gd name="connsiteX11" fmla="*/ 4694817 w 4900825"/>
                    <a:gd name="connsiteY11" fmla="*/ 2820623 h 2822848"/>
                    <a:gd name="connsiteX12" fmla="*/ 2961267 w 4900825"/>
                    <a:gd name="connsiteY12" fmla="*/ 2814273 h 2822848"/>
                    <a:gd name="connsiteX13" fmla="*/ 2897767 w 4900825"/>
                    <a:gd name="connsiteY13" fmla="*/ 2807923 h 2822848"/>
                    <a:gd name="connsiteX14" fmla="*/ 1735717 w 4900825"/>
                    <a:gd name="connsiteY14" fmla="*/ 2801573 h 2822848"/>
                    <a:gd name="connsiteX15" fmla="*/ 122817 w 4900825"/>
                    <a:gd name="connsiteY15" fmla="*/ 2814273 h 2822848"/>
                    <a:gd name="connsiteX16" fmla="*/ 110117 w 4900825"/>
                    <a:gd name="connsiteY16" fmla="*/ 2763473 h 2822848"/>
                    <a:gd name="connsiteX17" fmla="*/ 97417 w 4900825"/>
                    <a:gd name="connsiteY17" fmla="*/ 2623773 h 2822848"/>
                    <a:gd name="connsiteX18" fmla="*/ 84717 w 4900825"/>
                    <a:gd name="connsiteY18" fmla="*/ 2553923 h 2822848"/>
                    <a:gd name="connsiteX19" fmla="*/ 78367 w 4900825"/>
                    <a:gd name="connsiteY19" fmla="*/ 1258523 h 2822848"/>
                    <a:gd name="connsiteX20" fmla="*/ 84717 w 4900825"/>
                    <a:gd name="connsiteY20" fmla="*/ 1068023 h 2822848"/>
                    <a:gd name="connsiteX21" fmla="*/ 91067 w 4900825"/>
                    <a:gd name="connsiteY21" fmla="*/ 39323 h 2822848"/>
                    <a:gd name="connsiteX22" fmla="*/ 91067 w 4900825"/>
                    <a:gd name="connsiteY22" fmla="*/ 7573 h 2822848"/>
                    <a:gd name="connsiteX0" fmla="*/ 30012 w 4839770"/>
                    <a:gd name="connsiteY0" fmla="*/ 7573 h 2826973"/>
                    <a:gd name="connsiteX1" fmla="*/ 436412 w 4839770"/>
                    <a:gd name="connsiteY1" fmla="*/ 1223 h 2826973"/>
                    <a:gd name="connsiteX2" fmla="*/ 811062 w 4839770"/>
                    <a:gd name="connsiteY2" fmla="*/ 1223 h 2826973"/>
                    <a:gd name="connsiteX3" fmla="*/ 1706412 w 4839770"/>
                    <a:gd name="connsiteY3" fmla="*/ 13923 h 2826973"/>
                    <a:gd name="connsiteX4" fmla="*/ 2258862 w 4839770"/>
                    <a:gd name="connsiteY4" fmla="*/ 26623 h 2826973"/>
                    <a:gd name="connsiteX5" fmla="*/ 4563912 w 4839770"/>
                    <a:gd name="connsiteY5" fmla="*/ 13923 h 2826973"/>
                    <a:gd name="connsiteX6" fmla="*/ 4811562 w 4839770"/>
                    <a:gd name="connsiteY6" fmla="*/ 528273 h 2826973"/>
                    <a:gd name="connsiteX7" fmla="*/ 4786162 w 4839770"/>
                    <a:gd name="connsiteY7" fmla="*/ 1683973 h 2826973"/>
                    <a:gd name="connsiteX8" fmla="*/ 4824262 w 4839770"/>
                    <a:gd name="connsiteY8" fmla="*/ 2465023 h 2826973"/>
                    <a:gd name="connsiteX9" fmla="*/ 4836962 w 4839770"/>
                    <a:gd name="connsiteY9" fmla="*/ 2687273 h 2826973"/>
                    <a:gd name="connsiteX10" fmla="*/ 4817912 w 4839770"/>
                    <a:gd name="connsiteY10" fmla="*/ 2814273 h 2826973"/>
                    <a:gd name="connsiteX11" fmla="*/ 4633762 w 4839770"/>
                    <a:gd name="connsiteY11" fmla="*/ 2820623 h 2826973"/>
                    <a:gd name="connsiteX12" fmla="*/ 2900212 w 4839770"/>
                    <a:gd name="connsiteY12" fmla="*/ 2814273 h 2826973"/>
                    <a:gd name="connsiteX13" fmla="*/ 2836712 w 4839770"/>
                    <a:gd name="connsiteY13" fmla="*/ 2807923 h 2826973"/>
                    <a:gd name="connsiteX14" fmla="*/ 1674662 w 4839770"/>
                    <a:gd name="connsiteY14" fmla="*/ 2801573 h 2826973"/>
                    <a:gd name="connsiteX15" fmla="*/ 576112 w 4839770"/>
                    <a:gd name="connsiteY15" fmla="*/ 2826973 h 2826973"/>
                    <a:gd name="connsiteX16" fmla="*/ 49062 w 4839770"/>
                    <a:gd name="connsiteY16" fmla="*/ 2763473 h 2826973"/>
                    <a:gd name="connsiteX17" fmla="*/ 36362 w 4839770"/>
                    <a:gd name="connsiteY17" fmla="*/ 2623773 h 2826973"/>
                    <a:gd name="connsiteX18" fmla="*/ 23662 w 4839770"/>
                    <a:gd name="connsiteY18" fmla="*/ 2553923 h 2826973"/>
                    <a:gd name="connsiteX19" fmla="*/ 17312 w 4839770"/>
                    <a:gd name="connsiteY19" fmla="*/ 1258523 h 2826973"/>
                    <a:gd name="connsiteX20" fmla="*/ 23662 w 4839770"/>
                    <a:gd name="connsiteY20" fmla="*/ 1068023 h 2826973"/>
                    <a:gd name="connsiteX21" fmla="*/ 30012 w 4839770"/>
                    <a:gd name="connsiteY21" fmla="*/ 39323 h 2826973"/>
                    <a:gd name="connsiteX22" fmla="*/ 30012 w 4839770"/>
                    <a:gd name="connsiteY22" fmla="*/ 7573 h 2826973"/>
                    <a:gd name="connsiteX0" fmla="*/ 30012 w 4839770"/>
                    <a:gd name="connsiteY0" fmla="*/ 7573 h 2828438"/>
                    <a:gd name="connsiteX1" fmla="*/ 436412 w 4839770"/>
                    <a:gd name="connsiteY1" fmla="*/ 1223 h 2828438"/>
                    <a:gd name="connsiteX2" fmla="*/ 811062 w 4839770"/>
                    <a:gd name="connsiteY2" fmla="*/ 1223 h 2828438"/>
                    <a:gd name="connsiteX3" fmla="*/ 1706412 w 4839770"/>
                    <a:gd name="connsiteY3" fmla="*/ 13923 h 2828438"/>
                    <a:gd name="connsiteX4" fmla="*/ 2258862 w 4839770"/>
                    <a:gd name="connsiteY4" fmla="*/ 26623 h 2828438"/>
                    <a:gd name="connsiteX5" fmla="*/ 4563912 w 4839770"/>
                    <a:gd name="connsiteY5" fmla="*/ 13923 h 2828438"/>
                    <a:gd name="connsiteX6" fmla="*/ 4811562 w 4839770"/>
                    <a:gd name="connsiteY6" fmla="*/ 528273 h 2828438"/>
                    <a:gd name="connsiteX7" fmla="*/ 4786162 w 4839770"/>
                    <a:gd name="connsiteY7" fmla="*/ 1683973 h 2828438"/>
                    <a:gd name="connsiteX8" fmla="*/ 4824262 w 4839770"/>
                    <a:gd name="connsiteY8" fmla="*/ 2465023 h 2828438"/>
                    <a:gd name="connsiteX9" fmla="*/ 4836962 w 4839770"/>
                    <a:gd name="connsiteY9" fmla="*/ 2687273 h 2828438"/>
                    <a:gd name="connsiteX10" fmla="*/ 4817912 w 4839770"/>
                    <a:gd name="connsiteY10" fmla="*/ 2814273 h 2828438"/>
                    <a:gd name="connsiteX11" fmla="*/ 4633762 w 4839770"/>
                    <a:gd name="connsiteY11" fmla="*/ 2820623 h 2828438"/>
                    <a:gd name="connsiteX12" fmla="*/ 2900212 w 4839770"/>
                    <a:gd name="connsiteY12" fmla="*/ 2814273 h 2828438"/>
                    <a:gd name="connsiteX13" fmla="*/ 2836712 w 4839770"/>
                    <a:gd name="connsiteY13" fmla="*/ 2807923 h 2828438"/>
                    <a:gd name="connsiteX14" fmla="*/ 1674662 w 4839770"/>
                    <a:gd name="connsiteY14" fmla="*/ 2801573 h 2828438"/>
                    <a:gd name="connsiteX15" fmla="*/ 576112 w 4839770"/>
                    <a:gd name="connsiteY15" fmla="*/ 2826973 h 2828438"/>
                    <a:gd name="connsiteX16" fmla="*/ 49062 w 4839770"/>
                    <a:gd name="connsiteY16" fmla="*/ 2763473 h 2828438"/>
                    <a:gd name="connsiteX17" fmla="*/ 36362 w 4839770"/>
                    <a:gd name="connsiteY17" fmla="*/ 2623773 h 2828438"/>
                    <a:gd name="connsiteX18" fmla="*/ 23662 w 4839770"/>
                    <a:gd name="connsiteY18" fmla="*/ 2553923 h 2828438"/>
                    <a:gd name="connsiteX19" fmla="*/ 17312 w 4839770"/>
                    <a:gd name="connsiteY19" fmla="*/ 1258523 h 2828438"/>
                    <a:gd name="connsiteX20" fmla="*/ 23662 w 4839770"/>
                    <a:gd name="connsiteY20" fmla="*/ 1068023 h 2828438"/>
                    <a:gd name="connsiteX21" fmla="*/ 30012 w 4839770"/>
                    <a:gd name="connsiteY21" fmla="*/ 39323 h 2828438"/>
                    <a:gd name="connsiteX22" fmla="*/ 30012 w 4839770"/>
                    <a:gd name="connsiteY22" fmla="*/ 7573 h 2828438"/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36362 w 4839770"/>
                    <a:gd name="connsiteY17" fmla="*/ 2623773 h 2829294"/>
                    <a:gd name="connsiteX18" fmla="*/ 23662 w 4839770"/>
                    <a:gd name="connsiteY18" fmla="*/ 2553923 h 2829294"/>
                    <a:gd name="connsiteX19" fmla="*/ 17312 w 4839770"/>
                    <a:gd name="connsiteY19" fmla="*/ 1258523 h 2829294"/>
                    <a:gd name="connsiteX20" fmla="*/ 23662 w 4839770"/>
                    <a:gd name="connsiteY20" fmla="*/ 1068023 h 2829294"/>
                    <a:gd name="connsiteX21" fmla="*/ 30012 w 4839770"/>
                    <a:gd name="connsiteY21" fmla="*/ 39323 h 2829294"/>
                    <a:gd name="connsiteX22" fmla="*/ 30012 w 4839770"/>
                    <a:gd name="connsiteY22" fmla="*/ 7573 h 2829294"/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17312 w 4839770"/>
                    <a:gd name="connsiteY18" fmla="*/ 1258523 h 2829294"/>
                    <a:gd name="connsiteX19" fmla="*/ 23662 w 4839770"/>
                    <a:gd name="connsiteY19" fmla="*/ 1068023 h 2829294"/>
                    <a:gd name="connsiteX20" fmla="*/ 30012 w 4839770"/>
                    <a:gd name="connsiteY20" fmla="*/ 39323 h 2829294"/>
                    <a:gd name="connsiteX21" fmla="*/ 30012 w 4839770"/>
                    <a:gd name="connsiteY21" fmla="*/ 7573 h 2829294"/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17312 w 4839770"/>
                    <a:gd name="connsiteY18" fmla="*/ 1258523 h 2829294"/>
                    <a:gd name="connsiteX19" fmla="*/ 23662 w 4839770"/>
                    <a:gd name="connsiteY19" fmla="*/ 1068023 h 2829294"/>
                    <a:gd name="connsiteX20" fmla="*/ 30012 w 4839770"/>
                    <a:gd name="connsiteY20" fmla="*/ 39323 h 2829294"/>
                    <a:gd name="connsiteX21" fmla="*/ 30012 w 4839770"/>
                    <a:gd name="connsiteY21" fmla="*/ 7573 h 2829294"/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23662 w 4839770"/>
                    <a:gd name="connsiteY18" fmla="*/ 1068023 h 2829294"/>
                    <a:gd name="connsiteX19" fmla="*/ 30012 w 4839770"/>
                    <a:gd name="connsiteY19" fmla="*/ 39323 h 2829294"/>
                    <a:gd name="connsiteX20" fmla="*/ 30012 w 4839770"/>
                    <a:gd name="connsiteY20" fmla="*/ 7573 h 28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839770" h="2829294">
                      <a:moveTo>
                        <a:pt x="30012" y="7573"/>
                      </a:moveTo>
                      <a:cubicBezTo>
                        <a:pt x="97745" y="1223"/>
                        <a:pt x="306237" y="2281"/>
                        <a:pt x="436412" y="1223"/>
                      </a:cubicBezTo>
                      <a:cubicBezTo>
                        <a:pt x="566587" y="165"/>
                        <a:pt x="599395" y="-894"/>
                        <a:pt x="811062" y="1223"/>
                      </a:cubicBezTo>
                      <a:lnTo>
                        <a:pt x="1706412" y="13923"/>
                      </a:lnTo>
                      <a:lnTo>
                        <a:pt x="2258862" y="26623"/>
                      </a:lnTo>
                      <a:lnTo>
                        <a:pt x="4563912" y="13923"/>
                      </a:lnTo>
                      <a:cubicBezTo>
                        <a:pt x="4977720" y="-44285"/>
                        <a:pt x="4774520" y="249931"/>
                        <a:pt x="4811562" y="528273"/>
                      </a:cubicBezTo>
                      <a:cubicBezTo>
                        <a:pt x="4848604" y="806615"/>
                        <a:pt x="4784045" y="1361181"/>
                        <a:pt x="4786162" y="1683973"/>
                      </a:cubicBezTo>
                      <a:cubicBezTo>
                        <a:pt x="4788279" y="2006765"/>
                        <a:pt x="4815795" y="2297806"/>
                        <a:pt x="4824262" y="2465023"/>
                      </a:cubicBezTo>
                      <a:cubicBezTo>
                        <a:pt x="4832729" y="2632240"/>
                        <a:pt x="4838020" y="2629065"/>
                        <a:pt x="4836962" y="2687273"/>
                      </a:cubicBezTo>
                      <a:cubicBezTo>
                        <a:pt x="4835904" y="2745481"/>
                        <a:pt x="4851779" y="2792048"/>
                        <a:pt x="4817912" y="2814273"/>
                      </a:cubicBezTo>
                      <a:cubicBezTo>
                        <a:pt x="4784045" y="2836498"/>
                        <a:pt x="4668687" y="2806865"/>
                        <a:pt x="4633762" y="2820623"/>
                      </a:cubicBezTo>
                      <a:lnTo>
                        <a:pt x="2900212" y="2814273"/>
                      </a:lnTo>
                      <a:lnTo>
                        <a:pt x="2836712" y="2807923"/>
                      </a:lnTo>
                      <a:lnTo>
                        <a:pt x="1674662" y="2801573"/>
                      </a:lnTo>
                      <a:cubicBezTo>
                        <a:pt x="1308479" y="2810040"/>
                        <a:pt x="986762" y="2809256"/>
                        <a:pt x="576112" y="2826973"/>
                      </a:cubicBezTo>
                      <a:cubicBezTo>
                        <a:pt x="273644" y="2840023"/>
                        <a:pt x="53295" y="2795223"/>
                        <a:pt x="49062" y="2763473"/>
                      </a:cubicBezTo>
                      <a:cubicBezTo>
                        <a:pt x="7787" y="2654465"/>
                        <a:pt x="28954" y="2804748"/>
                        <a:pt x="23662" y="2553923"/>
                      </a:cubicBezTo>
                      <a:cubicBezTo>
                        <a:pt x="19429" y="2271348"/>
                        <a:pt x="22604" y="1487123"/>
                        <a:pt x="23662" y="1068023"/>
                      </a:cubicBezTo>
                      <a:cubicBezTo>
                        <a:pt x="27234" y="725135"/>
                        <a:pt x="17475" y="382000"/>
                        <a:pt x="30012" y="39323"/>
                      </a:cubicBezTo>
                      <a:cubicBezTo>
                        <a:pt x="30429" y="27932"/>
                        <a:pt x="-37721" y="13923"/>
                        <a:pt x="30012" y="7573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2" name="Freeform: Shape 131">
                  <a:extLst>
                    <a:ext uri="{FF2B5EF4-FFF2-40B4-BE49-F238E27FC236}">
                      <a16:creationId xmlns:a16="http://schemas.microsoft.com/office/drawing/2014/main" id="{2020CA99-C329-4C2B-8118-442BC5D9D382}"/>
                    </a:ext>
                  </a:extLst>
                </p:cNvPr>
                <p:cNvSpPr/>
                <p:nvPr/>
              </p:nvSpPr>
              <p:spPr>
                <a:xfrm>
                  <a:off x="5976394" y="2297310"/>
                  <a:ext cx="4538868" cy="2653389"/>
                </a:xfrm>
                <a:custGeom>
                  <a:avLst/>
                  <a:gdLst>
                    <a:gd name="connsiteX0" fmla="*/ 30011 w 4843311"/>
                    <a:gd name="connsiteY0" fmla="*/ 12700 h 2878067"/>
                    <a:gd name="connsiteX1" fmla="*/ 436411 w 4843311"/>
                    <a:gd name="connsiteY1" fmla="*/ 6350 h 2878067"/>
                    <a:gd name="connsiteX2" fmla="*/ 468161 w 4843311"/>
                    <a:gd name="connsiteY2" fmla="*/ 0 h 2878067"/>
                    <a:gd name="connsiteX3" fmla="*/ 811061 w 4843311"/>
                    <a:gd name="connsiteY3" fmla="*/ 6350 h 2878067"/>
                    <a:gd name="connsiteX4" fmla="*/ 1706411 w 4843311"/>
                    <a:gd name="connsiteY4" fmla="*/ 19050 h 2878067"/>
                    <a:gd name="connsiteX5" fmla="*/ 2258861 w 4843311"/>
                    <a:gd name="connsiteY5" fmla="*/ 31750 h 2878067"/>
                    <a:gd name="connsiteX6" fmla="*/ 4709961 w 4843311"/>
                    <a:gd name="connsiteY6" fmla="*/ 38100 h 2878067"/>
                    <a:gd name="connsiteX7" fmla="*/ 4735361 w 4843311"/>
                    <a:gd name="connsiteY7" fmla="*/ 57150 h 2878067"/>
                    <a:gd name="connsiteX8" fmla="*/ 4792511 w 4843311"/>
                    <a:gd name="connsiteY8" fmla="*/ 82550 h 2878067"/>
                    <a:gd name="connsiteX9" fmla="*/ 4817911 w 4843311"/>
                    <a:gd name="connsiteY9" fmla="*/ 177800 h 2878067"/>
                    <a:gd name="connsiteX10" fmla="*/ 4830611 w 4843311"/>
                    <a:gd name="connsiteY10" fmla="*/ 1371600 h 2878067"/>
                    <a:gd name="connsiteX11" fmla="*/ 4824261 w 4843311"/>
                    <a:gd name="connsiteY11" fmla="*/ 1663700 h 2878067"/>
                    <a:gd name="connsiteX12" fmla="*/ 4817911 w 4843311"/>
                    <a:gd name="connsiteY12" fmla="*/ 1752600 h 2878067"/>
                    <a:gd name="connsiteX13" fmla="*/ 4824261 w 4843311"/>
                    <a:gd name="connsiteY13" fmla="*/ 2470150 h 2878067"/>
                    <a:gd name="connsiteX14" fmla="*/ 4843311 w 4843311"/>
                    <a:gd name="connsiteY14" fmla="*/ 2590800 h 2878067"/>
                    <a:gd name="connsiteX15" fmla="*/ 4836961 w 4843311"/>
                    <a:gd name="connsiteY15" fmla="*/ 2692400 h 2878067"/>
                    <a:gd name="connsiteX16" fmla="*/ 4824261 w 4843311"/>
                    <a:gd name="connsiteY16" fmla="*/ 2749550 h 2878067"/>
                    <a:gd name="connsiteX17" fmla="*/ 4811561 w 4843311"/>
                    <a:gd name="connsiteY17" fmla="*/ 2781300 h 2878067"/>
                    <a:gd name="connsiteX18" fmla="*/ 4786161 w 4843311"/>
                    <a:gd name="connsiteY18" fmla="*/ 2806700 h 2878067"/>
                    <a:gd name="connsiteX19" fmla="*/ 4767111 w 4843311"/>
                    <a:gd name="connsiteY19" fmla="*/ 2813050 h 2878067"/>
                    <a:gd name="connsiteX20" fmla="*/ 4697261 w 4843311"/>
                    <a:gd name="connsiteY20" fmla="*/ 2819400 h 2878067"/>
                    <a:gd name="connsiteX21" fmla="*/ 4633761 w 4843311"/>
                    <a:gd name="connsiteY21" fmla="*/ 2825750 h 2878067"/>
                    <a:gd name="connsiteX22" fmla="*/ 4614711 w 4843311"/>
                    <a:gd name="connsiteY22" fmla="*/ 2832100 h 2878067"/>
                    <a:gd name="connsiteX23" fmla="*/ 3312961 w 4843311"/>
                    <a:gd name="connsiteY23" fmla="*/ 2838450 h 2878067"/>
                    <a:gd name="connsiteX24" fmla="*/ 2900211 w 4843311"/>
                    <a:gd name="connsiteY24" fmla="*/ 2819400 h 2878067"/>
                    <a:gd name="connsiteX25" fmla="*/ 2836711 w 4843311"/>
                    <a:gd name="connsiteY25" fmla="*/ 2813050 h 2878067"/>
                    <a:gd name="connsiteX26" fmla="*/ 2779561 w 4843311"/>
                    <a:gd name="connsiteY26" fmla="*/ 2806700 h 2878067"/>
                    <a:gd name="connsiteX27" fmla="*/ 2601761 w 4843311"/>
                    <a:gd name="connsiteY27" fmla="*/ 2800350 h 2878067"/>
                    <a:gd name="connsiteX28" fmla="*/ 1674661 w 4843311"/>
                    <a:gd name="connsiteY28" fmla="*/ 2806700 h 2878067"/>
                    <a:gd name="connsiteX29" fmla="*/ 1623861 w 4843311"/>
                    <a:gd name="connsiteY29" fmla="*/ 2813050 h 2878067"/>
                    <a:gd name="connsiteX30" fmla="*/ 1547661 w 4843311"/>
                    <a:gd name="connsiteY30" fmla="*/ 2819400 h 2878067"/>
                    <a:gd name="connsiteX31" fmla="*/ 61761 w 4843311"/>
                    <a:gd name="connsiteY31" fmla="*/ 2819400 h 2878067"/>
                    <a:gd name="connsiteX32" fmla="*/ 55411 w 4843311"/>
                    <a:gd name="connsiteY32" fmla="*/ 2800350 h 2878067"/>
                    <a:gd name="connsiteX33" fmla="*/ 49061 w 4843311"/>
                    <a:gd name="connsiteY33" fmla="*/ 2768600 h 2878067"/>
                    <a:gd name="connsiteX34" fmla="*/ 36361 w 4843311"/>
                    <a:gd name="connsiteY34" fmla="*/ 2628900 h 2878067"/>
                    <a:gd name="connsiteX35" fmla="*/ 23661 w 4843311"/>
                    <a:gd name="connsiteY35" fmla="*/ 2559050 h 2878067"/>
                    <a:gd name="connsiteX36" fmla="*/ 17311 w 4843311"/>
                    <a:gd name="connsiteY36" fmla="*/ 1263650 h 2878067"/>
                    <a:gd name="connsiteX37" fmla="*/ 23661 w 4843311"/>
                    <a:gd name="connsiteY37" fmla="*/ 1073150 h 2878067"/>
                    <a:gd name="connsiteX38" fmla="*/ 30011 w 4843311"/>
                    <a:gd name="connsiteY38" fmla="*/ 44450 h 2878067"/>
                    <a:gd name="connsiteX39" fmla="*/ 30011 w 4843311"/>
                    <a:gd name="connsiteY39" fmla="*/ 12700 h 2878067"/>
                    <a:gd name="connsiteX0" fmla="*/ 30011 w 4843311"/>
                    <a:gd name="connsiteY0" fmla="*/ 7573 h 2872940"/>
                    <a:gd name="connsiteX1" fmla="*/ 436411 w 4843311"/>
                    <a:gd name="connsiteY1" fmla="*/ 1223 h 2872940"/>
                    <a:gd name="connsiteX2" fmla="*/ 811061 w 4843311"/>
                    <a:gd name="connsiteY2" fmla="*/ 1223 h 2872940"/>
                    <a:gd name="connsiteX3" fmla="*/ 1706411 w 4843311"/>
                    <a:gd name="connsiteY3" fmla="*/ 13923 h 2872940"/>
                    <a:gd name="connsiteX4" fmla="*/ 2258861 w 4843311"/>
                    <a:gd name="connsiteY4" fmla="*/ 26623 h 2872940"/>
                    <a:gd name="connsiteX5" fmla="*/ 4709961 w 4843311"/>
                    <a:gd name="connsiteY5" fmla="*/ 32973 h 2872940"/>
                    <a:gd name="connsiteX6" fmla="*/ 4735361 w 4843311"/>
                    <a:gd name="connsiteY6" fmla="*/ 52023 h 2872940"/>
                    <a:gd name="connsiteX7" fmla="*/ 4792511 w 4843311"/>
                    <a:gd name="connsiteY7" fmla="*/ 77423 h 2872940"/>
                    <a:gd name="connsiteX8" fmla="*/ 4817911 w 4843311"/>
                    <a:gd name="connsiteY8" fmla="*/ 172673 h 2872940"/>
                    <a:gd name="connsiteX9" fmla="*/ 4830611 w 4843311"/>
                    <a:gd name="connsiteY9" fmla="*/ 1366473 h 2872940"/>
                    <a:gd name="connsiteX10" fmla="*/ 4824261 w 4843311"/>
                    <a:gd name="connsiteY10" fmla="*/ 1658573 h 2872940"/>
                    <a:gd name="connsiteX11" fmla="*/ 4817911 w 4843311"/>
                    <a:gd name="connsiteY11" fmla="*/ 1747473 h 2872940"/>
                    <a:gd name="connsiteX12" fmla="*/ 4824261 w 4843311"/>
                    <a:gd name="connsiteY12" fmla="*/ 2465023 h 2872940"/>
                    <a:gd name="connsiteX13" fmla="*/ 4843311 w 4843311"/>
                    <a:gd name="connsiteY13" fmla="*/ 2585673 h 2872940"/>
                    <a:gd name="connsiteX14" fmla="*/ 4836961 w 4843311"/>
                    <a:gd name="connsiteY14" fmla="*/ 2687273 h 2872940"/>
                    <a:gd name="connsiteX15" fmla="*/ 4824261 w 4843311"/>
                    <a:gd name="connsiteY15" fmla="*/ 2744423 h 2872940"/>
                    <a:gd name="connsiteX16" fmla="*/ 4811561 w 4843311"/>
                    <a:gd name="connsiteY16" fmla="*/ 2776173 h 2872940"/>
                    <a:gd name="connsiteX17" fmla="*/ 4786161 w 4843311"/>
                    <a:gd name="connsiteY17" fmla="*/ 2801573 h 2872940"/>
                    <a:gd name="connsiteX18" fmla="*/ 4767111 w 4843311"/>
                    <a:gd name="connsiteY18" fmla="*/ 2807923 h 2872940"/>
                    <a:gd name="connsiteX19" fmla="*/ 4697261 w 4843311"/>
                    <a:gd name="connsiteY19" fmla="*/ 2814273 h 2872940"/>
                    <a:gd name="connsiteX20" fmla="*/ 4633761 w 4843311"/>
                    <a:gd name="connsiteY20" fmla="*/ 2820623 h 2872940"/>
                    <a:gd name="connsiteX21" fmla="*/ 4614711 w 4843311"/>
                    <a:gd name="connsiteY21" fmla="*/ 2826973 h 2872940"/>
                    <a:gd name="connsiteX22" fmla="*/ 3312961 w 4843311"/>
                    <a:gd name="connsiteY22" fmla="*/ 2833323 h 2872940"/>
                    <a:gd name="connsiteX23" fmla="*/ 2900211 w 4843311"/>
                    <a:gd name="connsiteY23" fmla="*/ 2814273 h 2872940"/>
                    <a:gd name="connsiteX24" fmla="*/ 2836711 w 4843311"/>
                    <a:gd name="connsiteY24" fmla="*/ 2807923 h 2872940"/>
                    <a:gd name="connsiteX25" fmla="*/ 2779561 w 4843311"/>
                    <a:gd name="connsiteY25" fmla="*/ 2801573 h 2872940"/>
                    <a:gd name="connsiteX26" fmla="*/ 2601761 w 4843311"/>
                    <a:gd name="connsiteY26" fmla="*/ 2795223 h 2872940"/>
                    <a:gd name="connsiteX27" fmla="*/ 1674661 w 4843311"/>
                    <a:gd name="connsiteY27" fmla="*/ 2801573 h 2872940"/>
                    <a:gd name="connsiteX28" fmla="*/ 1623861 w 4843311"/>
                    <a:gd name="connsiteY28" fmla="*/ 2807923 h 2872940"/>
                    <a:gd name="connsiteX29" fmla="*/ 1547661 w 4843311"/>
                    <a:gd name="connsiteY29" fmla="*/ 2814273 h 2872940"/>
                    <a:gd name="connsiteX30" fmla="*/ 61761 w 4843311"/>
                    <a:gd name="connsiteY30" fmla="*/ 2814273 h 2872940"/>
                    <a:gd name="connsiteX31" fmla="*/ 55411 w 4843311"/>
                    <a:gd name="connsiteY31" fmla="*/ 2795223 h 2872940"/>
                    <a:gd name="connsiteX32" fmla="*/ 49061 w 4843311"/>
                    <a:gd name="connsiteY32" fmla="*/ 2763473 h 2872940"/>
                    <a:gd name="connsiteX33" fmla="*/ 36361 w 4843311"/>
                    <a:gd name="connsiteY33" fmla="*/ 2623773 h 2872940"/>
                    <a:gd name="connsiteX34" fmla="*/ 23661 w 4843311"/>
                    <a:gd name="connsiteY34" fmla="*/ 2553923 h 2872940"/>
                    <a:gd name="connsiteX35" fmla="*/ 17311 w 4843311"/>
                    <a:gd name="connsiteY35" fmla="*/ 1258523 h 2872940"/>
                    <a:gd name="connsiteX36" fmla="*/ 23661 w 4843311"/>
                    <a:gd name="connsiteY36" fmla="*/ 1068023 h 2872940"/>
                    <a:gd name="connsiteX37" fmla="*/ 30011 w 4843311"/>
                    <a:gd name="connsiteY37" fmla="*/ 39323 h 2872940"/>
                    <a:gd name="connsiteX38" fmla="*/ 30011 w 4843311"/>
                    <a:gd name="connsiteY38" fmla="*/ 7573 h 2872940"/>
                    <a:gd name="connsiteX0" fmla="*/ 30011 w 4916906"/>
                    <a:gd name="connsiteY0" fmla="*/ 7573 h 2872940"/>
                    <a:gd name="connsiteX1" fmla="*/ 436411 w 4916906"/>
                    <a:gd name="connsiteY1" fmla="*/ 1223 h 2872940"/>
                    <a:gd name="connsiteX2" fmla="*/ 811061 w 4916906"/>
                    <a:gd name="connsiteY2" fmla="*/ 1223 h 2872940"/>
                    <a:gd name="connsiteX3" fmla="*/ 1706411 w 4916906"/>
                    <a:gd name="connsiteY3" fmla="*/ 13923 h 2872940"/>
                    <a:gd name="connsiteX4" fmla="*/ 2258861 w 4916906"/>
                    <a:gd name="connsiteY4" fmla="*/ 26623 h 2872940"/>
                    <a:gd name="connsiteX5" fmla="*/ 4709961 w 4916906"/>
                    <a:gd name="connsiteY5" fmla="*/ 32973 h 2872940"/>
                    <a:gd name="connsiteX6" fmla="*/ 4792511 w 4916906"/>
                    <a:gd name="connsiteY6" fmla="*/ 77423 h 2872940"/>
                    <a:gd name="connsiteX7" fmla="*/ 4817911 w 4916906"/>
                    <a:gd name="connsiteY7" fmla="*/ 172673 h 2872940"/>
                    <a:gd name="connsiteX8" fmla="*/ 4830611 w 4916906"/>
                    <a:gd name="connsiteY8" fmla="*/ 1366473 h 2872940"/>
                    <a:gd name="connsiteX9" fmla="*/ 4824261 w 4916906"/>
                    <a:gd name="connsiteY9" fmla="*/ 1658573 h 2872940"/>
                    <a:gd name="connsiteX10" fmla="*/ 4817911 w 4916906"/>
                    <a:gd name="connsiteY10" fmla="*/ 1747473 h 2872940"/>
                    <a:gd name="connsiteX11" fmla="*/ 4824261 w 4916906"/>
                    <a:gd name="connsiteY11" fmla="*/ 2465023 h 2872940"/>
                    <a:gd name="connsiteX12" fmla="*/ 4843311 w 4916906"/>
                    <a:gd name="connsiteY12" fmla="*/ 2585673 h 2872940"/>
                    <a:gd name="connsiteX13" fmla="*/ 4836961 w 4916906"/>
                    <a:gd name="connsiteY13" fmla="*/ 2687273 h 2872940"/>
                    <a:gd name="connsiteX14" fmla="*/ 4824261 w 4916906"/>
                    <a:gd name="connsiteY14" fmla="*/ 2744423 h 2872940"/>
                    <a:gd name="connsiteX15" fmla="*/ 4811561 w 4916906"/>
                    <a:gd name="connsiteY15" fmla="*/ 2776173 h 2872940"/>
                    <a:gd name="connsiteX16" fmla="*/ 4786161 w 4916906"/>
                    <a:gd name="connsiteY16" fmla="*/ 2801573 h 2872940"/>
                    <a:gd name="connsiteX17" fmla="*/ 4767111 w 4916906"/>
                    <a:gd name="connsiteY17" fmla="*/ 2807923 h 2872940"/>
                    <a:gd name="connsiteX18" fmla="*/ 4697261 w 4916906"/>
                    <a:gd name="connsiteY18" fmla="*/ 2814273 h 2872940"/>
                    <a:gd name="connsiteX19" fmla="*/ 4633761 w 4916906"/>
                    <a:gd name="connsiteY19" fmla="*/ 2820623 h 2872940"/>
                    <a:gd name="connsiteX20" fmla="*/ 4614711 w 4916906"/>
                    <a:gd name="connsiteY20" fmla="*/ 2826973 h 2872940"/>
                    <a:gd name="connsiteX21" fmla="*/ 3312961 w 4916906"/>
                    <a:gd name="connsiteY21" fmla="*/ 2833323 h 2872940"/>
                    <a:gd name="connsiteX22" fmla="*/ 2900211 w 4916906"/>
                    <a:gd name="connsiteY22" fmla="*/ 2814273 h 2872940"/>
                    <a:gd name="connsiteX23" fmla="*/ 2836711 w 4916906"/>
                    <a:gd name="connsiteY23" fmla="*/ 2807923 h 2872940"/>
                    <a:gd name="connsiteX24" fmla="*/ 2779561 w 4916906"/>
                    <a:gd name="connsiteY24" fmla="*/ 2801573 h 2872940"/>
                    <a:gd name="connsiteX25" fmla="*/ 2601761 w 4916906"/>
                    <a:gd name="connsiteY25" fmla="*/ 2795223 h 2872940"/>
                    <a:gd name="connsiteX26" fmla="*/ 1674661 w 4916906"/>
                    <a:gd name="connsiteY26" fmla="*/ 2801573 h 2872940"/>
                    <a:gd name="connsiteX27" fmla="*/ 1623861 w 4916906"/>
                    <a:gd name="connsiteY27" fmla="*/ 2807923 h 2872940"/>
                    <a:gd name="connsiteX28" fmla="*/ 1547661 w 4916906"/>
                    <a:gd name="connsiteY28" fmla="*/ 2814273 h 2872940"/>
                    <a:gd name="connsiteX29" fmla="*/ 61761 w 4916906"/>
                    <a:gd name="connsiteY29" fmla="*/ 2814273 h 2872940"/>
                    <a:gd name="connsiteX30" fmla="*/ 55411 w 4916906"/>
                    <a:gd name="connsiteY30" fmla="*/ 2795223 h 2872940"/>
                    <a:gd name="connsiteX31" fmla="*/ 49061 w 4916906"/>
                    <a:gd name="connsiteY31" fmla="*/ 2763473 h 2872940"/>
                    <a:gd name="connsiteX32" fmla="*/ 36361 w 4916906"/>
                    <a:gd name="connsiteY32" fmla="*/ 2623773 h 2872940"/>
                    <a:gd name="connsiteX33" fmla="*/ 23661 w 4916906"/>
                    <a:gd name="connsiteY33" fmla="*/ 2553923 h 2872940"/>
                    <a:gd name="connsiteX34" fmla="*/ 17311 w 4916906"/>
                    <a:gd name="connsiteY34" fmla="*/ 1258523 h 2872940"/>
                    <a:gd name="connsiteX35" fmla="*/ 23661 w 4916906"/>
                    <a:gd name="connsiteY35" fmla="*/ 1068023 h 2872940"/>
                    <a:gd name="connsiteX36" fmla="*/ 30011 w 4916906"/>
                    <a:gd name="connsiteY36" fmla="*/ 39323 h 2872940"/>
                    <a:gd name="connsiteX37" fmla="*/ 30011 w 4916906"/>
                    <a:gd name="connsiteY37" fmla="*/ 7573 h 2872940"/>
                    <a:gd name="connsiteX0" fmla="*/ 30011 w 4926498"/>
                    <a:gd name="connsiteY0" fmla="*/ 7573 h 2872940"/>
                    <a:gd name="connsiteX1" fmla="*/ 436411 w 4926498"/>
                    <a:gd name="connsiteY1" fmla="*/ 1223 h 2872940"/>
                    <a:gd name="connsiteX2" fmla="*/ 811061 w 4926498"/>
                    <a:gd name="connsiteY2" fmla="*/ 1223 h 2872940"/>
                    <a:gd name="connsiteX3" fmla="*/ 1706411 w 4926498"/>
                    <a:gd name="connsiteY3" fmla="*/ 13923 h 2872940"/>
                    <a:gd name="connsiteX4" fmla="*/ 2258861 w 4926498"/>
                    <a:gd name="connsiteY4" fmla="*/ 26623 h 2872940"/>
                    <a:gd name="connsiteX5" fmla="*/ 4709961 w 4926498"/>
                    <a:gd name="connsiteY5" fmla="*/ 32973 h 2872940"/>
                    <a:gd name="connsiteX6" fmla="*/ 4817911 w 4926498"/>
                    <a:gd name="connsiteY6" fmla="*/ 172673 h 2872940"/>
                    <a:gd name="connsiteX7" fmla="*/ 4830611 w 4926498"/>
                    <a:gd name="connsiteY7" fmla="*/ 1366473 h 2872940"/>
                    <a:gd name="connsiteX8" fmla="*/ 4824261 w 4926498"/>
                    <a:gd name="connsiteY8" fmla="*/ 1658573 h 2872940"/>
                    <a:gd name="connsiteX9" fmla="*/ 4817911 w 4926498"/>
                    <a:gd name="connsiteY9" fmla="*/ 1747473 h 2872940"/>
                    <a:gd name="connsiteX10" fmla="*/ 4824261 w 4926498"/>
                    <a:gd name="connsiteY10" fmla="*/ 2465023 h 2872940"/>
                    <a:gd name="connsiteX11" fmla="*/ 4843311 w 4926498"/>
                    <a:gd name="connsiteY11" fmla="*/ 2585673 h 2872940"/>
                    <a:gd name="connsiteX12" fmla="*/ 4836961 w 4926498"/>
                    <a:gd name="connsiteY12" fmla="*/ 2687273 h 2872940"/>
                    <a:gd name="connsiteX13" fmla="*/ 4824261 w 4926498"/>
                    <a:gd name="connsiteY13" fmla="*/ 2744423 h 2872940"/>
                    <a:gd name="connsiteX14" fmla="*/ 4811561 w 4926498"/>
                    <a:gd name="connsiteY14" fmla="*/ 2776173 h 2872940"/>
                    <a:gd name="connsiteX15" fmla="*/ 4786161 w 4926498"/>
                    <a:gd name="connsiteY15" fmla="*/ 2801573 h 2872940"/>
                    <a:gd name="connsiteX16" fmla="*/ 4767111 w 4926498"/>
                    <a:gd name="connsiteY16" fmla="*/ 2807923 h 2872940"/>
                    <a:gd name="connsiteX17" fmla="*/ 4697261 w 4926498"/>
                    <a:gd name="connsiteY17" fmla="*/ 2814273 h 2872940"/>
                    <a:gd name="connsiteX18" fmla="*/ 4633761 w 4926498"/>
                    <a:gd name="connsiteY18" fmla="*/ 2820623 h 2872940"/>
                    <a:gd name="connsiteX19" fmla="*/ 4614711 w 4926498"/>
                    <a:gd name="connsiteY19" fmla="*/ 2826973 h 2872940"/>
                    <a:gd name="connsiteX20" fmla="*/ 3312961 w 4926498"/>
                    <a:gd name="connsiteY20" fmla="*/ 2833323 h 2872940"/>
                    <a:gd name="connsiteX21" fmla="*/ 2900211 w 4926498"/>
                    <a:gd name="connsiteY21" fmla="*/ 2814273 h 2872940"/>
                    <a:gd name="connsiteX22" fmla="*/ 2836711 w 4926498"/>
                    <a:gd name="connsiteY22" fmla="*/ 2807923 h 2872940"/>
                    <a:gd name="connsiteX23" fmla="*/ 2779561 w 4926498"/>
                    <a:gd name="connsiteY23" fmla="*/ 2801573 h 2872940"/>
                    <a:gd name="connsiteX24" fmla="*/ 2601761 w 4926498"/>
                    <a:gd name="connsiteY24" fmla="*/ 2795223 h 2872940"/>
                    <a:gd name="connsiteX25" fmla="*/ 1674661 w 4926498"/>
                    <a:gd name="connsiteY25" fmla="*/ 2801573 h 2872940"/>
                    <a:gd name="connsiteX26" fmla="*/ 1623861 w 4926498"/>
                    <a:gd name="connsiteY26" fmla="*/ 2807923 h 2872940"/>
                    <a:gd name="connsiteX27" fmla="*/ 1547661 w 4926498"/>
                    <a:gd name="connsiteY27" fmla="*/ 2814273 h 2872940"/>
                    <a:gd name="connsiteX28" fmla="*/ 61761 w 4926498"/>
                    <a:gd name="connsiteY28" fmla="*/ 2814273 h 2872940"/>
                    <a:gd name="connsiteX29" fmla="*/ 55411 w 4926498"/>
                    <a:gd name="connsiteY29" fmla="*/ 2795223 h 2872940"/>
                    <a:gd name="connsiteX30" fmla="*/ 49061 w 4926498"/>
                    <a:gd name="connsiteY30" fmla="*/ 2763473 h 2872940"/>
                    <a:gd name="connsiteX31" fmla="*/ 36361 w 4926498"/>
                    <a:gd name="connsiteY31" fmla="*/ 2623773 h 2872940"/>
                    <a:gd name="connsiteX32" fmla="*/ 23661 w 4926498"/>
                    <a:gd name="connsiteY32" fmla="*/ 2553923 h 2872940"/>
                    <a:gd name="connsiteX33" fmla="*/ 17311 w 4926498"/>
                    <a:gd name="connsiteY33" fmla="*/ 1258523 h 2872940"/>
                    <a:gd name="connsiteX34" fmla="*/ 23661 w 4926498"/>
                    <a:gd name="connsiteY34" fmla="*/ 1068023 h 2872940"/>
                    <a:gd name="connsiteX35" fmla="*/ 30011 w 4926498"/>
                    <a:gd name="connsiteY35" fmla="*/ 39323 h 2872940"/>
                    <a:gd name="connsiteX36" fmla="*/ 30011 w 4926498"/>
                    <a:gd name="connsiteY36" fmla="*/ 7573 h 2872940"/>
                    <a:gd name="connsiteX0" fmla="*/ 30011 w 4976706"/>
                    <a:gd name="connsiteY0" fmla="*/ 7573 h 2872940"/>
                    <a:gd name="connsiteX1" fmla="*/ 436411 w 4976706"/>
                    <a:gd name="connsiteY1" fmla="*/ 1223 h 2872940"/>
                    <a:gd name="connsiteX2" fmla="*/ 811061 w 4976706"/>
                    <a:gd name="connsiteY2" fmla="*/ 1223 h 2872940"/>
                    <a:gd name="connsiteX3" fmla="*/ 1706411 w 4976706"/>
                    <a:gd name="connsiteY3" fmla="*/ 13923 h 2872940"/>
                    <a:gd name="connsiteX4" fmla="*/ 2258861 w 4976706"/>
                    <a:gd name="connsiteY4" fmla="*/ 26623 h 2872940"/>
                    <a:gd name="connsiteX5" fmla="*/ 4709961 w 4976706"/>
                    <a:gd name="connsiteY5" fmla="*/ 32973 h 2872940"/>
                    <a:gd name="connsiteX6" fmla="*/ 4817911 w 4976706"/>
                    <a:gd name="connsiteY6" fmla="*/ 172673 h 2872940"/>
                    <a:gd name="connsiteX7" fmla="*/ 4830611 w 4976706"/>
                    <a:gd name="connsiteY7" fmla="*/ 1366473 h 2872940"/>
                    <a:gd name="connsiteX8" fmla="*/ 4824261 w 4976706"/>
                    <a:gd name="connsiteY8" fmla="*/ 1658573 h 2872940"/>
                    <a:gd name="connsiteX9" fmla="*/ 4817911 w 4976706"/>
                    <a:gd name="connsiteY9" fmla="*/ 1747473 h 2872940"/>
                    <a:gd name="connsiteX10" fmla="*/ 4824261 w 4976706"/>
                    <a:gd name="connsiteY10" fmla="*/ 2465023 h 2872940"/>
                    <a:gd name="connsiteX11" fmla="*/ 4843311 w 4976706"/>
                    <a:gd name="connsiteY11" fmla="*/ 2585673 h 2872940"/>
                    <a:gd name="connsiteX12" fmla="*/ 4836961 w 4976706"/>
                    <a:gd name="connsiteY12" fmla="*/ 2687273 h 2872940"/>
                    <a:gd name="connsiteX13" fmla="*/ 4824261 w 4976706"/>
                    <a:gd name="connsiteY13" fmla="*/ 2744423 h 2872940"/>
                    <a:gd name="connsiteX14" fmla="*/ 4811561 w 4976706"/>
                    <a:gd name="connsiteY14" fmla="*/ 2776173 h 2872940"/>
                    <a:gd name="connsiteX15" fmla="*/ 4786161 w 4976706"/>
                    <a:gd name="connsiteY15" fmla="*/ 2801573 h 2872940"/>
                    <a:gd name="connsiteX16" fmla="*/ 4767111 w 4976706"/>
                    <a:gd name="connsiteY16" fmla="*/ 2807923 h 2872940"/>
                    <a:gd name="connsiteX17" fmla="*/ 4697261 w 4976706"/>
                    <a:gd name="connsiteY17" fmla="*/ 2814273 h 2872940"/>
                    <a:gd name="connsiteX18" fmla="*/ 4633761 w 4976706"/>
                    <a:gd name="connsiteY18" fmla="*/ 2820623 h 2872940"/>
                    <a:gd name="connsiteX19" fmla="*/ 4614711 w 4976706"/>
                    <a:gd name="connsiteY19" fmla="*/ 2826973 h 2872940"/>
                    <a:gd name="connsiteX20" fmla="*/ 3312961 w 4976706"/>
                    <a:gd name="connsiteY20" fmla="*/ 2833323 h 2872940"/>
                    <a:gd name="connsiteX21" fmla="*/ 2900211 w 4976706"/>
                    <a:gd name="connsiteY21" fmla="*/ 2814273 h 2872940"/>
                    <a:gd name="connsiteX22" fmla="*/ 2836711 w 4976706"/>
                    <a:gd name="connsiteY22" fmla="*/ 2807923 h 2872940"/>
                    <a:gd name="connsiteX23" fmla="*/ 2779561 w 4976706"/>
                    <a:gd name="connsiteY23" fmla="*/ 2801573 h 2872940"/>
                    <a:gd name="connsiteX24" fmla="*/ 2601761 w 4976706"/>
                    <a:gd name="connsiteY24" fmla="*/ 2795223 h 2872940"/>
                    <a:gd name="connsiteX25" fmla="*/ 1674661 w 4976706"/>
                    <a:gd name="connsiteY25" fmla="*/ 2801573 h 2872940"/>
                    <a:gd name="connsiteX26" fmla="*/ 1623861 w 4976706"/>
                    <a:gd name="connsiteY26" fmla="*/ 2807923 h 2872940"/>
                    <a:gd name="connsiteX27" fmla="*/ 1547661 w 4976706"/>
                    <a:gd name="connsiteY27" fmla="*/ 2814273 h 2872940"/>
                    <a:gd name="connsiteX28" fmla="*/ 61761 w 4976706"/>
                    <a:gd name="connsiteY28" fmla="*/ 2814273 h 2872940"/>
                    <a:gd name="connsiteX29" fmla="*/ 55411 w 4976706"/>
                    <a:gd name="connsiteY29" fmla="*/ 2795223 h 2872940"/>
                    <a:gd name="connsiteX30" fmla="*/ 49061 w 4976706"/>
                    <a:gd name="connsiteY30" fmla="*/ 2763473 h 2872940"/>
                    <a:gd name="connsiteX31" fmla="*/ 36361 w 4976706"/>
                    <a:gd name="connsiteY31" fmla="*/ 2623773 h 2872940"/>
                    <a:gd name="connsiteX32" fmla="*/ 23661 w 4976706"/>
                    <a:gd name="connsiteY32" fmla="*/ 2553923 h 2872940"/>
                    <a:gd name="connsiteX33" fmla="*/ 17311 w 4976706"/>
                    <a:gd name="connsiteY33" fmla="*/ 1258523 h 2872940"/>
                    <a:gd name="connsiteX34" fmla="*/ 23661 w 4976706"/>
                    <a:gd name="connsiteY34" fmla="*/ 1068023 h 2872940"/>
                    <a:gd name="connsiteX35" fmla="*/ 30011 w 4976706"/>
                    <a:gd name="connsiteY35" fmla="*/ 39323 h 2872940"/>
                    <a:gd name="connsiteX36" fmla="*/ 30011 w 4976706"/>
                    <a:gd name="connsiteY36" fmla="*/ 7573 h 2872940"/>
                    <a:gd name="connsiteX0" fmla="*/ 30011 w 4982571"/>
                    <a:gd name="connsiteY0" fmla="*/ 7573 h 2872940"/>
                    <a:gd name="connsiteX1" fmla="*/ 436411 w 4982571"/>
                    <a:gd name="connsiteY1" fmla="*/ 1223 h 2872940"/>
                    <a:gd name="connsiteX2" fmla="*/ 811061 w 4982571"/>
                    <a:gd name="connsiteY2" fmla="*/ 1223 h 2872940"/>
                    <a:gd name="connsiteX3" fmla="*/ 1706411 w 4982571"/>
                    <a:gd name="connsiteY3" fmla="*/ 13923 h 2872940"/>
                    <a:gd name="connsiteX4" fmla="*/ 2258861 w 4982571"/>
                    <a:gd name="connsiteY4" fmla="*/ 26623 h 2872940"/>
                    <a:gd name="connsiteX5" fmla="*/ 4709961 w 4982571"/>
                    <a:gd name="connsiteY5" fmla="*/ 32973 h 2872940"/>
                    <a:gd name="connsiteX6" fmla="*/ 4830611 w 4982571"/>
                    <a:gd name="connsiteY6" fmla="*/ 534623 h 2872940"/>
                    <a:gd name="connsiteX7" fmla="*/ 4830611 w 4982571"/>
                    <a:gd name="connsiteY7" fmla="*/ 1366473 h 2872940"/>
                    <a:gd name="connsiteX8" fmla="*/ 4824261 w 4982571"/>
                    <a:gd name="connsiteY8" fmla="*/ 1658573 h 2872940"/>
                    <a:gd name="connsiteX9" fmla="*/ 4817911 w 4982571"/>
                    <a:gd name="connsiteY9" fmla="*/ 1747473 h 2872940"/>
                    <a:gd name="connsiteX10" fmla="*/ 4824261 w 4982571"/>
                    <a:gd name="connsiteY10" fmla="*/ 2465023 h 2872940"/>
                    <a:gd name="connsiteX11" fmla="*/ 4843311 w 4982571"/>
                    <a:gd name="connsiteY11" fmla="*/ 2585673 h 2872940"/>
                    <a:gd name="connsiteX12" fmla="*/ 4836961 w 4982571"/>
                    <a:gd name="connsiteY12" fmla="*/ 2687273 h 2872940"/>
                    <a:gd name="connsiteX13" fmla="*/ 4824261 w 4982571"/>
                    <a:gd name="connsiteY13" fmla="*/ 2744423 h 2872940"/>
                    <a:gd name="connsiteX14" fmla="*/ 4811561 w 4982571"/>
                    <a:gd name="connsiteY14" fmla="*/ 2776173 h 2872940"/>
                    <a:gd name="connsiteX15" fmla="*/ 4786161 w 4982571"/>
                    <a:gd name="connsiteY15" fmla="*/ 2801573 h 2872940"/>
                    <a:gd name="connsiteX16" fmla="*/ 4767111 w 4982571"/>
                    <a:gd name="connsiteY16" fmla="*/ 2807923 h 2872940"/>
                    <a:gd name="connsiteX17" fmla="*/ 4697261 w 4982571"/>
                    <a:gd name="connsiteY17" fmla="*/ 2814273 h 2872940"/>
                    <a:gd name="connsiteX18" fmla="*/ 4633761 w 4982571"/>
                    <a:gd name="connsiteY18" fmla="*/ 2820623 h 2872940"/>
                    <a:gd name="connsiteX19" fmla="*/ 4614711 w 4982571"/>
                    <a:gd name="connsiteY19" fmla="*/ 2826973 h 2872940"/>
                    <a:gd name="connsiteX20" fmla="*/ 3312961 w 4982571"/>
                    <a:gd name="connsiteY20" fmla="*/ 2833323 h 2872940"/>
                    <a:gd name="connsiteX21" fmla="*/ 2900211 w 4982571"/>
                    <a:gd name="connsiteY21" fmla="*/ 2814273 h 2872940"/>
                    <a:gd name="connsiteX22" fmla="*/ 2836711 w 4982571"/>
                    <a:gd name="connsiteY22" fmla="*/ 2807923 h 2872940"/>
                    <a:gd name="connsiteX23" fmla="*/ 2779561 w 4982571"/>
                    <a:gd name="connsiteY23" fmla="*/ 2801573 h 2872940"/>
                    <a:gd name="connsiteX24" fmla="*/ 2601761 w 4982571"/>
                    <a:gd name="connsiteY24" fmla="*/ 2795223 h 2872940"/>
                    <a:gd name="connsiteX25" fmla="*/ 1674661 w 4982571"/>
                    <a:gd name="connsiteY25" fmla="*/ 2801573 h 2872940"/>
                    <a:gd name="connsiteX26" fmla="*/ 1623861 w 4982571"/>
                    <a:gd name="connsiteY26" fmla="*/ 2807923 h 2872940"/>
                    <a:gd name="connsiteX27" fmla="*/ 1547661 w 4982571"/>
                    <a:gd name="connsiteY27" fmla="*/ 2814273 h 2872940"/>
                    <a:gd name="connsiteX28" fmla="*/ 61761 w 4982571"/>
                    <a:gd name="connsiteY28" fmla="*/ 2814273 h 2872940"/>
                    <a:gd name="connsiteX29" fmla="*/ 55411 w 4982571"/>
                    <a:gd name="connsiteY29" fmla="*/ 2795223 h 2872940"/>
                    <a:gd name="connsiteX30" fmla="*/ 49061 w 4982571"/>
                    <a:gd name="connsiteY30" fmla="*/ 2763473 h 2872940"/>
                    <a:gd name="connsiteX31" fmla="*/ 36361 w 4982571"/>
                    <a:gd name="connsiteY31" fmla="*/ 2623773 h 2872940"/>
                    <a:gd name="connsiteX32" fmla="*/ 23661 w 4982571"/>
                    <a:gd name="connsiteY32" fmla="*/ 2553923 h 2872940"/>
                    <a:gd name="connsiteX33" fmla="*/ 17311 w 4982571"/>
                    <a:gd name="connsiteY33" fmla="*/ 1258523 h 2872940"/>
                    <a:gd name="connsiteX34" fmla="*/ 23661 w 4982571"/>
                    <a:gd name="connsiteY34" fmla="*/ 1068023 h 2872940"/>
                    <a:gd name="connsiteX35" fmla="*/ 30011 w 4982571"/>
                    <a:gd name="connsiteY35" fmla="*/ 39323 h 2872940"/>
                    <a:gd name="connsiteX36" fmla="*/ 30011 w 4982571"/>
                    <a:gd name="connsiteY36" fmla="*/ 7573 h 2872940"/>
                    <a:gd name="connsiteX0" fmla="*/ 30011 w 4934593"/>
                    <a:gd name="connsiteY0" fmla="*/ 7573 h 2872940"/>
                    <a:gd name="connsiteX1" fmla="*/ 436411 w 4934593"/>
                    <a:gd name="connsiteY1" fmla="*/ 1223 h 2872940"/>
                    <a:gd name="connsiteX2" fmla="*/ 811061 w 4934593"/>
                    <a:gd name="connsiteY2" fmla="*/ 1223 h 2872940"/>
                    <a:gd name="connsiteX3" fmla="*/ 1706411 w 4934593"/>
                    <a:gd name="connsiteY3" fmla="*/ 13923 h 2872940"/>
                    <a:gd name="connsiteX4" fmla="*/ 2258861 w 4934593"/>
                    <a:gd name="connsiteY4" fmla="*/ 26623 h 2872940"/>
                    <a:gd name="connsiteX5" fmla="*/ 4709961 w 4934593"/>
                    <a:gd name="connsiteY5" fmla="*/ 32973 h 2872940"/>
                    <a:gd name="connsiteX6" fmla="*/ 4830611 w 4934593"/>
                    <a:gd name="connsiteY6" fmla="*/ 534623 h 2872940"/>
                    <a:gd name="connsiteX7" fmla="*/ 4830611 w 4934593"/>
                    <a:gd name="connsiteY7" fmla="*/ 1366473 h 2872940"/>
                    <a:gd name="connsiteX8" fmla="*/ 4824261 w 4934593"/>
                    <a:gd name="connsiteY8" fmla="*/ 1658573 h 2872940"/>
                    <a:gd name="connsiteX9" fmla="*/ 4817911 w 4934593"/>
                    <a:gd name="connsiteY9" fmla="*/ 1747473 h 2872940"/>
                    <a:gd name="connsiteX10" fmla="*/ 4824261 w 4934593"/>
                    <a:gd name="connsiteY10" fmla="*/ 2465023 h 2872940"/>
                    <a:gd name="connsiteX11" fmla="*/ 4843311 w 4934593"/>
                    <a:gd name="connsiteY11" fmla="*/ 2585673 h 2872940"/>
                    <a:gd name="connsiteX12" fmla="*/ 4836961 w 4934593"/>
                    <a:gd name="connsiteY12" fmla="*/ 2687273 h 2872940"/>
                    <a:gd name="connsiteX13" fmla="*/ 4824261 w 4934593"/>
                    <a:gd name="connsiteY13" fmla="*/ 2744423 h 2872940"/>
                    <a:gd name="connsiteX14" fmla="*/ 4811561 w 4934593"/>
                    <a:gd name="connsiteY14" fmla="*/ 2776173 h 2872940"/>
                    <a:gd name="connsiteX15" fmla="*/ 4786161 w 4934593"/>
                    <a:gd name="connsiteY15" fmla="*/ 2801573 h 2872940"/>
                    <a:gd name="connsiteX16" fmla="*/ 4767111 w 4934593"/>
                    <a:gd name="connsiteY16" fmla="*/ 2807923 h 2872940"/>
                    <a:gd name="connsiteX17" fmla="*/ 4697261 w 4934593"/>
                    <a:gd name="connsiteY17" fmla="*/ 2814273 h 2872940"/>
                    <a:gd name="connsiteX18" fmla="*/ 4633761 w 4934593"/>
                    <a:gd name="connsiteY18" fmla="*/ 2820623 h 2872940"/>
                    <a:gd name="connsiteX19" fmla="*/ 4614711 w 4934593"/>
                    <a:gd name="connsiteY19" fmla="*/ 2826973 h 2872940"/>
                    <a:gd name="connsiteX20" fmla="*/ 3312961 w 4934593"/>
                    <a:gd name="connsiteY20" fmla="*/ 2833323 h 2872940"/>
                    <a:gd name="connsiteX21" fmla="*/ 2900211 w 4934593"/>
                    <a:gd name="connsiteY21" fmla="*/ 2814273 h 2872940"/>
                    <a:gd name="connsiteX22" fmla="*/ 2836711 w 4934593"/>
                    <a:gd name="connsiteY22" fmla="*/ 2807923 h 2872940"/>
                    <a:gd name="connsiteX23" fmla="*/ 2779561 w 4934593"/>
                    <a:gd name="connsiteY23" fmla="*/ 2801573 h 2872940"/>
                    <a:gd name="connsiteX24" fmla="*/ 2601761 w 4934593"/>
                    <a:gd name="connsiteY24" fmla="*/ 2795223 h 2872940"/>
                    <a:gd name="connsiteX25" fmla="*/ 1674661 w 4934593"/>
                    <a:gd name="connsiteY25" fmla="*/ 2801573 h 2872940"/>
                    <a:gd name="connsiteX26" fmla="*/ 1623861 w 4934593"/>
                    <a:gd name="connsiteY26" fmla="*/ 2807923 h 2872940"/>
                    <a:gd name="connsiteX27" fmla="*/ 1547661 w 4934593"/>
                    <a:gd name="connsiteY27" fmla="*/ 2814273 h 2872940"/>
                    <a:gd name="connsiteX28" fmla="*/ 61761 w 4934593"/>
                    <a:gd name="connsiteY28" fmla="*/ 2814273 h 2872940"/>
                    <a:gd name="connsiteX29" fmla="*/ 55411 w 4934593"/>
                    <a:gd name="connsiteY29" fmla="*/ 2795223 h 2872940"/>
                    <a:gd name="connsiteX30" fmla="*/ 49061 w 4934593"/>
                    <a:gd name="connsiteY30" fmla="*/ 2763473 h 2872940"/>
                    <a:gd name="connsiteX31" fmla="*/ 36361 w 4934593"/>
                    <a:gd name="connsiteY31" fmla="*/ 2623773 h 2872940"/>
                    <a:gd name="connsiteX32" fmla="*/ 23661 w 4934593"/>
                    <a:gd name="connsiteY32" fmla="*/ 2553923 h 2872940"/>
                    <a:gd name="connsiteX33" fmla="*/ 17311 w 4934593"/>
                    <a:gd name="connsiteY33" fmla="*/ 1258523 h 2872940"/>
                    <a:gd name="connsiteX34" fmla="*/ 23661 w 4934593"/>
                    <a:gd name="connsiteY34" fmla="*/ 1068023 h 2872940"/>
                    <a:gd name="connsiteX35" fmla="*/ 30011 w 4934593"/>
                    <a:gd name="connsiteY35" fmla="*/ 39323 h 2872940"/>
                    <a:gd name="connsiteX36" fmla="*/ 30011 w 4934593"/>
                    <a:gd name="connsiteY36" fmla="*/ 7573 h 2872940"/>
                    <a:gd name="connsiteX0" fmla="*/ 30011 w 4849458"/>
                    <a:gd name="connsiteY0" fmla="*/ 7573 h 2872940"/>
                    <a:gd name="connsiteX1" fmla="*/ 436411 w 4849458"/>
                    <a:gd name="connsiteY1" fmla="*/ 1223 h 2872940"/>
                    <a:gd name="connsiteX2" fmla="*/ 811061 w 4849458"/>
                    <a:gd name="connsiteY2" fmla="*/ 1223 h 2872940"/>
                    <a:gd name="connsiteX3" fmla="*/ 1706411 w 4849458"/>
                    <a:gd name="connsiteY3" fmla="*/ 13923 h 2872940"/>
                    <a:gd name="connsiteX4" fmla="*/ 2258861 w 4849458"/>
                    <a:gd name="connsiteY4" fmla="*/ 26623 h 2872940"/>
                    <a:gd name="connsiteX5" fmla="*/ 4563911 w 4849458"/>
                    <a:gd name="connsiteY5" fmla="*/ 13923 h 2872940"/>
                    <a:gd name="connsiteX6" fmla="*/ 4830611 w 4849458"/>
                    <a:gd name="connsiteY6" fmla="*/ 534623 h 2872940"/>
                    <a:gd name="connsiteX7" fmla="*/ 4830611 w 4849458"/>
                    <a:gd name="connsiteY7" fmla="*/ 1366473 h 2872940"/>
                    <a:gd name="connsiteX8" fmla="*/ 4824261 w 4849458"/>
                    <a:gd name="connsiteY8" fmla="*/ 1658573 h 2872940"/>
                    <a:gd name="connsiteX9" fmla="*/ 4817911 w 4849458"/>
                    <a:gd name="connsiteY9" fmla="*/ 1747473 h 2872940"/>
                    <a:gd name="connsiteX10" fmla="*/ 4824261 w 4849458"/>
                    <a:gd name="connsiteY10" fmla="*/ 2465023 h 2872940"/>
                    <a:gd name="connsiteX11" fmla="*/ 4843311 w 4849458"/>
                    <a:gd name="connsiteY11" fmla="*/ 2585673 h 2872940"/>
                    <a:gd name="connsiteX12" fmla="*/ 4836961 w 4849458"/>
                    <a:gd name="connsiteY12" fmla="*/ 2687273 h 2872940"/>
                    <a:gd name="connsiteX13" fmla="*/ 4824261 w 4849458"/>
                    <a:gd name="connsiteY13" fmla="*/ 2744423 h 2872940"/>
                    <a:gd name="connsiteX14" fmla="*/ 4811561 w 4849458"/>
                    <a:gd name="connsiteY14" fmla="*/ 2776173 h 2872940"/>
                    <a:gd name="connsiteX15" fmla="*/ 4786161 w 4849458"/>
                    <a:gd name="connsiteY15" fmla="*/ 2801573 h 2872940"/>
                    <a:gd name="connsiteX16" fmla="*/ 4767111 w 4849458"/>
                    <a:gd name="connsiteY16" fmla="*/ 2807923 h 2872940"/>
                    <a:gd name="connsiteX17" fmla="*/ 4697261 w 4849458"/>
                    <a:gd name="connsiteY17" fmla="*/ 2814273 h 2872940"/>
                    <a:gd name="connsiteX18" fmla="*/ 4633761 w 4849458"/>
                    <a:gd name="connsiteY18" fmla="*/ 2820623 h 2872940"/>
                    <a:gd name="connsiteX19" fmla="*/ 4614711 w 4849458"/>
                    <a:gd name="connsiteY19" fmla="*/ 2826973 h 2872940"/>
                    <a:gd name="connsiteX20" fmla="*/ 3312961 w 4849458"/>
                    <a:gd name="connsiteY20" fmla="*/ 2833323 h 2872940"/>
                    <a:gd name="connsiteX21" fmla="*/ 2900211 w 4849458"/>
                    <a:gd name="connsiteY21" fmla="*/ 2814273 h 2872940"/>
                    <a:gd name="connsiteX22" fmla="*/ 2836711 w 4849458"/>
                    <a:gd name="connsiteY22" fmla="*/ 2807923 h 2872940"/>
                    <a:gd name="connsiteX23" fmla="*/ 2779561 w 4849458"/>
                    <a:gd name="connsiteY23" fmla="*/ 2801573 h 2872940"/>
                    <a:gd name="connsiteX24" fmla="*/ 2601761 w 4849458"/>
                    <a:gd name="connsiteY24" fmla="*/ 2795223 h 2872940"/>
                    <a:gd name="connsiteX25" fmla="*/ 1674661 w 4849458"/>
                    <a:gd name="connsiteY25" fmla="*/ 2801573 h 2872940"/>
                    <a:gd name="connsiteX26" fmla="*/ 1623861 w 4849458"/>
                    <a:gd name="connsiteY26" fmla="*/ 2807923 h 2872940"/>
                    <a:gd name="connsiteX27" fmla="*/ 1547661 w 4849458"/>
                    <a:gd name="connsiteY27" fmla="*/ 2814273 h 2872940"/>
                    <a:gd name="connsiteX28" fmla="*/ 61761 w 4849458"/>
                    <a:gd name="connsiteY28" fmla="*/ 2814273 h 2872940"/>
                    <a:gd name="connsiteX29" fmla="*/ 55411 w 4849458"/>
                    <a:gd name="connsiteY29" fmla="*/ 2795223 h 2872940"/>
                    <a:gd name="connsiteX30" fmla="*/ 49061 w 4849458"/>
                    <a:gd name="connsiteY30" fmla="*/ 2763473 h 2872940"/>
                    <a:gd name="connsiteX31" fmla="*/ 36361 w 4849458"/>
                    <a:gd name="connsiteY31" fmla="*/ 2623773 h 2872940"/>
                    <a:gd name="connsiteX32" fmla="*/ 23661 w 4849458"/>
                    <a:gd name="connsiteY32" fmla="*/ 2553923 h 2872940"/>
                    <a:gd name="connsiteX33" fmla="*/ 17311 w 4849458"/>
                    <a:gd name="connsiteY33" fmla="*/ 1258523 h 2872940"/>
                    <a:gd name="connsiteX34" fmla="*/ 23661 w 4849458"/>
                    <a:gd name="connsiteY34" fmla="*/ 1068023 h 2872940"/>
                    <a:gd name="connsiteX35" fmla="*/ 30011 w 4849458"/>
                    <a:gd name="connsiteY35" fmla="*/ 39323 h 2872940"/>
                    <a:gd name="connsiteX36" fmla="*/ 30011 w 4849458"/>
                    <a:gd name="connsiteY36" fmla="*/ 7573 h 2872940"/>
                    <a:gd name="connsiteX0" fmla="*/ 30011 w 4849458"/>
                    <a:gd name="connsiteY0" fmla="*/ 7573 h 2872940"/>
                    <a:gd name="connsiteX1" fmla="*/ 436411 w 4849458"/>
                    <a:gd name="connsiteY1" fmla="*/ 1223 h 2872940"/>
                    <a:gd name="connsiteX2" fmla="*/ 811061 w 4849458"/>
                    <a:gd name="connsiteY2" fmla="*/ 1223 h 2872940"/>
                    <a:gd name="connsiteX3" fmla="*/ 1706411 w 4849458"/>
                    <a:gd name="connsiteY3" fmla="*/ 13923 h 2872940"/>
                    <a:gd name="connsiteX4" fmla="*/ 2258861 w 4849458"/>
                    <a:gd name="connsiteY4" fmla="*/ 26623 h 2872940"/>
                    <a:gd name="connsiteX5" fmla="*/ 4563911 w 4849458"/>
                    <a:gd name="connsiteY5" fmla="*/ 13923 h 2872940"/>
                    <a:gd name="connsiteX6" fmla="*/ 4830611 w 4849458"/>
                    <a:gd name="connsiteY6" fmla="*/ 534623 h 2872940"/>
                    <a:gd name="connsiteX7" fmla="*/ 4830611 w 4849458"/>
                    <a:gd name="connsiteY7" fmla="*/ 1366473 h 2872940"/>
                    <a:gd name="connsiteX8" fmla="*/ 4824261 w 4849458"/>
                    <a:gd name="connsiteY8" fmla="*/ 1658573 h 2872940"/>
                    <a:gd name="connsiteX9" fmla="*/ 4817911 w 4849458"/>
                    <a:gd name="connsiteY9" fmla="*/ 1747473 h 2872940"/>
                    <a:gd name="connsiteX10" fmla="*/ 4824261 w 4849458"/>
                    <a:gd name="connsiteY10" fmla="*/ 2465023 h 2872940"/>
                    <a:gd name="connsiteX11" fmla="*/ 4843311 w 4849458"/>
                    <a:gd name="connsiteY11" fmla="*/ 2585673 h 2872940"/>
                    <a:gd name="connsiteX12" fmla="*/ 4836961 w 4849458"/>
                    <a:gd name="connsiteY12" fmla="*/ 2687273 h 2872940"/>
                    <a:gd name="connsiteX13" fmla="*/ 4824261 w 4849458"/>
                    <a:gd name="connsiteY13" fmla="*/ 2744423 h 2872940"/>
                    <a:gd name="connsiteX14" fmla="*/ 4811561 w 4849458"/>
                    <a:gd name="connsiteY14" fmla="*/ 2776173 h 2872940"/>
                    <a:gd name="connsiteX15" fmla="*/ 4786161 w 4849458"/>
                    <a:gd name="connsiteY15" fmla="*/ 2801573 h 2872940"/>
                    <a:gd name="connsiteX16" fmla="*/ 4767111 w 4849458"/>
                    <a:gd name="connsiteY16" fmla="*/ 2807923 h 2872940"/>
                    <a:gd name="connsiteX17" fmla="*/ 4697261 w 4849458"/>
                    <a:gd name="connsiteY17" fmla="*/ 2814273 h 2872940"/>
                    <a:gd name="connsiteX18" fmla="*/ 4633761 w 4849458"/>
                    <a:gd name="connsiteY18" fmla="*/ 2820623 h 2872940"/>
                    <a:gd name="connsiteX19" fmla="*/ 4614711 w 4849458"/>
                    <a:gd name="connsiteY19" fmla="*/ 2826973 h 2872940"/>
                    <a:gd name="connsiteX20" fmla="*/ 3312961 w 4849458"/>
                    <a:gd name="connsiteY20" fmla="*/ 2833323 h 2872940"/>
                    <a:gd name="connsiteX21" fmla="*/ 2900211 w 4849458"/>
                    <a:gd name="connsiteY21" fmla="*/ 2814273 h 2872940"/>
                    <a:gd name="connsiteX22" fmla="*/ 2836711 w 4849458"/>
                    <a:gd name="connsiteY22" fmla="*/ 2807923 h 2872940"/>
                    <a:gd name="connsiteX23" fmla="*/ 2779561 w 4849458"/>
                    <a:gd name="connsiteY23" fmla="*/ 2801573 h 2872940"/>
                    <a:gd name="connsiteX24" fmla="*/ 2601761 w 4849458"/>
                    <a:gd name="connsiteY24" fmla="*/ 2795223 h 2872940"/>
                    <a:gd name="connsiteX25" fmla="*/ 1674661 w 4849458"/>
                    <a:gd name="connsiteY25" fmla="*/ 2801573 h 2872940"/>
                    <a:gd name="connsiteX26" fmla="*/ 1623861 w 4849458"/>
                    <a:gd name="connsiteY26" fmla="*/ 2807923 h 2872940"/>
                    <a:gd name="connsiteX27" fmla="*/ 1547661 w 4849458"/>
                    <a:gd name="connsiteY27" fmla="*/ 2814273 h 2872940"/>
                    <a:gd name="connsiteX28" fmla="*/ 61761 w 4849458"/>
                    <a:gd name="connsiteY28" fmla="*/ 2814273 h 2872940"/>
                    <a:gd name="connsiteX29" fmla="*/ 55411 w 4849458"/>
                    <a:gd name="connsiteY29" fmla="*/ 2795223 h 2872940"/>
                    <a:gd name="connsiteX30" fmla="*/ 49061 w 4849458"/>
                    <a:gd name="connsiteY30" fmla="*/ 2763473 h 2872940"/>
                    <a:gd name="connsiteX31" fmla="*/ 36361 w 4849458"/>
                    <a:gd name="connsiteY31" fmla="*/ 2623773 h 2872940"/>
                    <a:gd name="connsiteX32" fmla="*/ 23661 w 4849458"/>
                    <a:gd name="connsiteY32" fmla="*/ 2553923 h 2872940"/>
                    <a:gd name="connsiteX33" fmla="*/ 17311 w 4849458"/>
                    <a:gd name="connsiteY33" fmla="*/ 1258523 h 2872940"/>
                    <a:gd name="connsiteX34" fmla="*/ 23661 w 4849458"/>
                    <a:gd name="connsiteY34" fmla="*/ 1068023 h 2872940"/>
                    <a:gd name="connsiteX35" fmla="*/ 30011 w 4849458"/>
                    <a:gd name="connsiteY35" fmla="*/ 39323 h 2872940"/>
                    <a:gd name="connsiteX36" fmla="*/ 30011 w 4849458"/>
                    <a:gd name="connsiteY36" fmla="*/ 7573 h 2872940"/>
                    <a:gd name="connsiteX0" fmla="*/ 30011 w 4843311"/>
                    <a:gd name="connsiteY0" fmla="*/ 7573 h 2872940"/>
                    <a:gd name="connsiteX1" fmla="*/ 436411 w 4843311"/>
                    <a:gd name="connsiteY1" fmla="*/ 1223 h 2872940"/>
                    <a:gd name="connsiteX2" fmla="*/ 811061 w 4843311"/>
                    <a:gd name="connsiteY2" fmla="*/ 1223 h 2872940"/>
                    <a:gd name="connsiteX3" fmla="*/ 1706411 w 4843311"/>
                    <a:gd name="connsiteY3" fmla="*/ 13923 h 2872940"/>
                    <a:gd name="connsiteX4" fmla="*/ 2258861 w 4843311"/>
                    <a:gd name="connsiteY4" fmla="*/ 26623 h 2872940"/>
                    <a:gd name="connsiteX5" fmla="*/ 4563911 w 4843311"/>
                    <a:gd name="connsiteY5" fmla="*/ 13923 h 2872940"/>
                    <a:gd name="connsiteX6" fmla="*/ 4811561 w 4843311"/>
                    <a:gd name="connsiteY6" fmla="*/ 528273 h 2872940"/>
                    <a:gd name="connsiteX7" fmla="*/ 4830611 w 4843311"/>
                    <a:gd name="connsiteY7" fmla="*/ 1366473 h 2872940"/>
                    <a:gd name="connsiteX8" fmla="*/ 4824261 w 4843311"/>
                    <a:gd name="connsiteY8" fmla="*/ 1658573 h 2872940"/>
                    <a:gd name="connsiteX9" fmla="*/ 4817911 w 4843311"/>
                    <a:gd name="connsiteY9" fmla="*/ 1747473 h 2872940"/>
                    <a:gd name="connsiteX10" fmla="*/ 4824261 w 4843311"/>
                    <a:gd name="connsiteY10" fmla="*/ 2465023 h 2872940"/>
                    <a:gd name="connsiteX11" fmla="*/ 4843311 w 4843311"/>
                    <a:gd name="connsiteY11" fmla="*/ 2585673 h 2872940"/>
                    <a:gd name="connsiteX12" fmla="*/ 4836961 w 4843311"/>
                    <a:gd name="connsiteY12" fmla="*/ 2687273 h 2872940"/>
                    <a:gd name="connsiteX13" fmla="*/ 4824261 w 4843311"/>
                    <a:gd name="connsiteY13" fmla="*/ 2744423 h 2872940"/>
                    <a:gd name="connsiteX14" fmla="*/ 4811561 w 4843311"/>
                    <a:gd name="connsiteY14" fmla="*/ 2776173 h 2872940"/>
                    <a:gd name="connsiteX15" fmla="*/ 4786161 w 4843311"/>
                    <a:gd name="connsiteY15" fmla="*/ 2801573 h 2872940"/>
                    <a:gd name="connsiteX16" fmla="*/ 4767111 w 4843311"/>
                    <a:gd name="connsiteY16" fmla="*/ 2807923 h 2872940"/>
                    <a:gd name="connsiteX17" fmla="*/ 4697261 w 4843311"/>
                    <a:gd name="connsiteY17" fmla="*/ 2814273 h 2872940"/>
                    <a:gd name="connsiteX18" fmla="*/ 4633761 w 4843311"/>
                    <a:gd name="connsiteY18" fmla="*/ 2820623 h 2872940"/>
                    <a:gd name="connsiteX19" fmla="*/ 4614711 w 4843311"/>
                    <a:gd name="connsiteY19" fmla="*/ 2826973 h 2872940"/>
                    <a:gd name="connsiteX20" fmla="*/ 3312961 w 4843311"/>
                    <a:gd name="connsiteY20" fmla="*/ 2833323 h 2872940"/>
                    <a:gd name="connsiteX21" fmla="*/ 2900211 w 4843311"/>
                    <a:gd name="connsiteY21" fmla="*/ 2814273 h 2872940"/>
                    <a:gd name="connsiteX22" fmla="*/ 2836711 w 4843311"/>
                    <a:gd name="connsiteY22" fmla="*/ 2807923 h 2872940"/>
                    <a:gd name="connsiteX23" fmla="*/ 2779561 w 4843311"/>
                    <a:gd name="connsiteY23" fmla="*/ 2801573 h 2872940"/>
                    <a:gd name="connsiteX24" fmla="*/ 2601761 w 4843311"/>
                    <a:gd name="connsiteY24" fmla="*/ 2795223 h 2872940"/>
                    <a:gd name="connsiteX25" fmla="*/ 1674661 w 4843311"/>
                    <a:gd name="connsiteY25" fmla="*/ 2801573 h 2872940"/>
                    <a:gd name="connsiteX26" fmla="*/ 1623861 w 4843311"/>
                    <a:gd name="connsiteY26" fmla="*/ 2807923 h 2872940"/>
                    <a:gd name="connsiteX27" fmla="*/ 1547661 w 4843311"/>
                    <a:gd name="connsiteY27" fmla="*/ 2814273 h 2872940"/>
                    <a:gd name="connsiteX28" fmla="*/ 61761 w 4843311"/>
                    <a:gd name="connsiteY28" fmla="*/ 2814273 h 2872940"/>
                    <a:gd name="connsiteX29" fmla="*/ 55411 w 4843311"/>
                    <a:gd name="connsiteY29" fmla="*/ 2795223 h 2872940"/>
                    <a:gd name="connsiteX30" fmla="*/ 49061 w 4843311"/>
                    <a:gd name="connsiteY30" fmla="*/ 2763473 h 2872940"/>
                    <a:gd name="connsiteX31" fmla="*/ 36361 w 4843311"/>
                    <a:gd name="connsiteY31" fmla="*/ 2623773 h 2872940"/>
                    <a:gd name="connsiteX32" fmla="*/ 23661 w 4843311"/>
                    <a:gd name="connsiteY32" fmla="*/ 2553923 h 2872940"/>
                    <a:gd name="connsiteX33" fmla="*/ 17311 w 4843311"/>
                    <a:gd name="connsiteY33" fmla="*/ 1258523 h 2872940"/>
                    <a:gd name="connsiteX34" fmla="*/ 23661 w 4843311"/>
                    <a:gd name="connsiteY34" fmla="*/ 1068023 h 2872940"/>
                    <a:gd name="connsiteX35" fmla="*/ 30011 w 4843311"/>
                    <a:gd name="connsiteY35" fmla="*/ 39323 h 2872940"/>
                    <a:gd name="connsiteX36" fmla="*/ 30011 w 4843311"/>
                    <a:gd name="connsiteY36" fmla="*/ 7573 h 2872940"/>
                    <a:gd name="connsiteX0" fmla="*/ 30011 w 4843311"/>
                    <a:gd name="connsiteY0" fmla="*/ 7573 h 2872940"/>
                    <a:gd name="connsiteX1" fmla="*/ 436411 w 4843311"/>
                    <a:gd name="connsiteY1" fmla="*/ 1223 h 2872940"/>
                    <a:gd name="connsiteX2" fmla="*/ 811061 w 4843311"/>
                    <a:gd name="connsiteY2" fmla="*/ 1223 h 2872940"/>
                    <a:gd name="connsiteX3" fmla="*/ 1706411 w 4843311"/>
                    <a:gd name="connsiteY3" fmla="*/ 13923 h 2872940"/>
                    <a:gd name="connsiteX4" fmla="*/ 2258861 w 4843311"/>
                    <a:gd name="connsiteY4" fmla="*/ 26623 h 2872940"/>
                    <a:gd name="connsiteX5" fmla="*/ 4563911 w 4843311"/>
                    <a:gd name="connsiteY5" fmla="*/ 13923 h 2872940"/>
                    <a:gd name="connsiteX6" fmla="*/ 4811561 w 4843311"/>
                    <a:gd name="connsiteY6" fmla="*/ 528273 h 2872940"/>
                    <a:gd name="connsiteX7" fmla="*/ 4824261 w 4843311"/>
                    <a:gd name="connsiteY7" fmla="*/ 1658573 h 2872940"/>
                    <a:gd name="connsiteX8" fmla="*/ 4817911 w 4843311"/>
                    <a:gd name="connsiteY8" fmla="*/ 1747473 h 2872940"/>
                    <a:gd name="connsiteX9" fmla="*/ 4824261 w 4843311"/>
                    <a:gd name="connsiteY9" fmla="*/ 2465023 h 2872940"/>
                    <a:gd name="connsiteX10" fmla="*/ 4843311 w 4843311"/>
                    <a:gd name="connsiteY10" fmla="*/ 2585673 h 2872940"/>
                    <a:gd name="connsiteX11" fmla="*/ 4836961 w 4843311"/>
                    <a:gd name="connsiteY11" fmla="*/ 2687273 h 2872940"/>
                    <a:gd name="connsiteX12" fmla="*/ 4824261 w 4843311"/>
                    <a:gd name="connsiteY12" fmla="*/ 2744423 h 2872940"/>
                    <a:gd name="connsiteX13" fmla="*/ 4811561 w 4843311"/>
                    <a:gd name="connsiteY13" fmla="*/ 2776173 h 2872940"/>
                    <a:gd name="connsiteX14" fmla="*/ 4786161 w 4843311"/>
                    <a:gd name="connsiteY14" fmla="*/ 2801573 h 2872940"/>
                    <a:gd name="connsiteX15" fmla="*/ 4767111 w 4843311"/>
                    <a:gd name="connsiteY15" fmla="*/ 2807923 h 2872940"/>
                    <a:gd name="connsiteX16" fmla="*/ 4697261 w 4843311"/>
                    <a:gd name="connsiteY16" fmla="*/ 2814273 h 2872940"/>
                    <a:gd name="connsiteX17" fmla="*/ 4633761 w 4843311"/>
                    <a:gd name="connsiteY17" fmla="*/ 2820623 h 2872940"/>
                    <a:gd name="connsiteX18" fmla="*/ 4614711 w 4843311"/>
                    <a:gd name="connsiteY18" fmla="*/ 2826973 h 2872940"/>
                    <a:gd name="connsiteX19" fmla="*/ 3312961 w 4843311"/>
                    <a:gd name="connsiteY19" fmla="*/ 2833323 h 2872940"/>
                    <a:gd name="connsiteX20" fmla="*/ 2900211 w 4843311"/>
                    <a:gd name="connsiteY20" fmla="*/ 2814273 h 2872940"/>
                    <a:gd name="connsiteX21" fmla="*/ 2836711 w 4843311"/>
                    <a:gd name="connsiteY21" fmla="*/ 2807923 h 2872940"/>
                    <a:gd name="connsiteX22" fmla="*/ 2779561 w 4843311"/>
                    <a:gd name="connsiteY22" fmla="*/ 2801573 h 2872940"/>
                    <a:gd name="connsiteX23" fmla="*/ 2601761 w 4843311"/>
                    <a:gd name="connsiteY23" fmla="*/ 2795223 h 2872940"/>
                    <a:gd name="connsiteX24" fmla="*/ 1674661 w 4843311"/>
                    <a:gd name="connsiteY24" fmla="*/ 2801573 h 2872940"/>
                    <a:gd name="connsiteX25" fmla="*/ 1623861 w 4843311"/>
                    <a:gd name="connsiteY25" fmla="*/ 2807923 h 2872940"/>
                    <a:gd name="connsiteX26" fmla="*/ 1547661 w 4843311"/>
                    <a:gd name="connsiteY26" fmla="*/ 2814273 h 2872940"/>
                    <a:gd name="connsiteX27" fmla="*/ 61761 w 4843311"/>
                    <a:gd name="connsiteY27" fmla="*/ 2814273 h 2872940"/>
                    <a:gd name="connsiteX28" fmla="*/ 55411 w 4843311"/>
                    <a:gd name="connsiteY28" fmla="*/ 2795223 h 2872940"/>
                    <a:gd name="connsiteX29" fmla="*/ 49061 w 4843311"/>
                    <a:gd name="connsiteY29" fmla="*/ 2763473 h 2872940"/>
                    <a:gd name="connsiteX30" fmla="*/ 36361 w 4843311"/>
                    <a:gd name="connsiteY30" fmla="*/ 2623773 h 2872940"/>
                    <a:gd name="connsiteX31" fmla="*/ 23661 w 4843311"/>
                    <a:gd name="connsiteY31" fmla="*/ 2553923 h 2872940"/>
                    <a:gd name="connsiteX32" fmla="*/ 17311 w 4843311"/>
                    <a:gd name="connsiteY32" fmla="*/ 1258523 h 2872940"/>
                    <a:gd name="connsiteX33" fmla="*/ 23661 w 4843311"/>
                    <a:gd name="connsiteY33" fmla="*/ 1068023 h 2872940"/>
                    <a:gd name="connsiteX34" fmla="*/ 30011 w 4843311"/>
                    <a:gd name="connsiteY34" fmla="*/ 39323 h 2872940"/>
                    <a:gd name="connsiteX35" fmla="*/ 30011 w 4843311"/>
                    <a:gd name="connsiteY35" fmla="*/ 7573 h 2872940"/>
                    <a:gd name="connsiteX0" fmla="*/ 30011 w 4843311"/>
                    <a:gd name="connsiteY0" fmla="*/ 7573 h 2872940"/>
                    <a:gd name="connsiteX1" fmla="*/ 436411 w 4843311"/>
                    <a:gd name="connsiteY1" fmla="*/ 1223 h 2872940"/>
                    <a:gd name="connsiteX2" fmla="*/ 811061 w 4843311"/>
                    <a:gd name="connsiteY2" fmla="*/ 1223 h 2872940"/>
                    <a:gd name="connsiteX3" fmla="*/ 1706411 w 4843311"/>
                    <a:gd name="connsiteY3" fmla="*/ 13923 h 2872940"/>
                    <a:gd name="connsiteX4" fmla="*/ 2258861 w 4843311"/>
                    <a:gd name="connsiteY4" fmla="*/ 26623 h 2872940"/>
                    <a:gd name="connsiteX5" fmla="*/ 4563911 w 4843311"/>
                    <a:gd name="connsiteY5" fmla="*/ 13923 h 2872940"/>
                    <a:gd name="connsiteX6" fmla="*/ 4811561 w 4843311"/>
                    <a:gd name="connsiteY6" fmla="*/ 528273 h 2872940"/>
                    <a:gd name="connsiteX7" fmla="*/ 4824261 w 4843311"/>
                    <a:gd name="connsiteY7" fmla="*/ 1658573 h 2872940"/>
                    <a:gd name="connsiteX8" fmla="*/ 4824261 w 4843311"/>
                    <a:gd name="connsiteY8" fmla="*/ 2465023 h 2872940"/>
                    <a:gd name="connsiteX9" fmla="*/ 4843311 w 4843311"/>
                    <a:gd name="connsiteY9" fmla="*/ 2585673 h 2872940"/>
                    <a:gd name="connsiteX10" fmla="*/ 4836961 w 4843311"/>
                    <a:gd name="connsiteY10" fmla="*/ 2687273 h 2872940"/>
                    <a:gd name="connsiteX11" fmla="*/ 4824261 w 4843311"/>
                    <a:gd name="connsiteY11" fmla="*/ 2744423 h 2872940"/>
                    <a:gd name="connsiteX12" fmla="*/ 4811561 w 4843311"/>
                    <a:gd name="connsiteY12" fmla="*/ 2776173 h 2872940"/>
                    <a:gd name="connsiteX13" fmla="*/ 4786161 w 4843311"/>
                    <a:gd name="connsiteY13" fmla="*/ 2801573 h 2872940"/>
                    <a:gd name="connsiteX14" fmla="*/ 4767111 w 4843311"/>
                    <a:gd name="connsiteY14" fmla="*/ 2807923 h 2872940"/>
                    <a:gd name="connsiteX15" fmla="*/ 4697261 w 4843311"/>
                    <a:gd name="connsiteY15" fmla="*/ 2814273 h 2872940"/>
                    <a:gd name="connsiteX16" fmla="*/ 4633761 w 4843311"/>
                    <a:gd name="connsiteY16" fmla="*/ 2820623 h 2872940"/>
                    <a:gd name="connsiteX17" fmla="*/ 4614711 w 4843311"/>
                    <a:gd name="connsiteY17" fmla="*/ 2826973 h 2872940"/>
                    <a:gd name="connsiteX18" fmla="*/ 3312961 w 4843311"/>
                    <a:gd name="connsiteY18" fmla="*/ 2833323 h 2872940"/>
                    <a:gd name="connsiteX19" fmla="*/ 2900211 w 4843311"/>
                    <a:gd name="connsiteY19" fmla="*/ 2814273 h 2872940"/>
                    <a:gd name="connsiteX20" fmla="*/ 2836711 w 4843311"/>
                    <a:gd name="connsiteY20" fmla="*/ 2807923 h 2872940"/>
                    <a:gd name="connsiteX21" fmla="*/ 2779561 w 4843311"/>
                    <a:gd name="connsiteY21" fmla="*/ 2801573 h 2872940"/>
                    <a:gd name="connsiteX22" fmla="*/ 2601761 w 4843311"/>
                    <a:gd name="connsiteY22" fmla="*/ 2795223 h 2872940"/>
                    <a:gd name="connsiteX23" fmla="*/ 1674661 w 4843311"/>
                    <a:gd name="connsiteY23" fmla="*/ 2801573 h 2872940"/>
                    <a:gd name="connsiteX24" fmla="*/ 1623861 w 4843311"/>
                    <a:gd name="connsiteY24" fmla="*/ 2807923 h 2872940"/>
                    <a:gd name="connsiteX25" fmla="*/ 1547661 w 4843311"/>
                    <a:gd name="connsiteY25" fmla="*/ 2814273 h 2872940"/>
                    <a:gd name="connsiteX26" fmla="*/ 61761 w 4843311"/>
                    <a:gd name="connsiteY26" fmla="*/ 2814273 h 2872940"/>
                    <a:gd name="connsiteX27" fmla="*/ 55411 w 4843311"/>
                    <a:gd name="connsiteY27" fmla="*/ 2795223 h 2872940"/>
                    <a:gd name="connsiteX28" fmla="*/ 49061 w 4843311"/>
                    <a:gd name="connsiteY28" fmla="*/ 2763473 h 2872940"/>
                    <a:gd name="connsiteX29" fmla="*/ 36361 w 4843311"/>
                    <a:gd name="connsiteY29" fmla="*/ 2623773 h 2872940"/>
                    <a:gd name="connsiteX30" fmla="*/ 23661 w 4843311"/>
                    <a:gd name="connsiteY30" fmla="*/ 2553923 h 2872940"/>
                    <a:gd name="connsiteX31" fmla="*/ 17311 w 4843311"/>
                    <a:gd name="connsiteY31" fmla="*/ 1258523 h 2872940"/>
                    <a:gd name="connsiteX32" fmla="*/ 23661 w 4843311"/>
                    <a:gd name="connsiteY32" fmla="*/ 1068023 h 2872940"/>
                    <a:gd name="connsiteX33" fmla="*/ 30011 w 4843311"/>
                    <a:gd name="connsiteY33" fmla="*/ 39323 h 2872940"/>
                    <a:gd name="connsiteX34" fmla="*/ 30011 w 4843311"/>
                    <a:gd name="connsiteY34" fmla="*/ 7573 h 2872940"/>
                    <a:gd name="connsiteX0" fmla="*/ 30011 w 4843311"/>
                    <a:gd name="connsiteY0" fmla="*/ 7573 h 2872940"/>
                    <a:gd name="connsiteX1" fmla="*/ 436411 w 4843311"/>
                    <a:gd name="connsiteY1" fmla="*/ 1223 h 2872940"/>
                    <a:gd name="connsiteX2" fmla="*/ 811061 w 4843311"/>
                    <a:gd name="connsiteY2" fmla="*/ 1223 h 2872940"/>
                    <a:gd name="connsiteX3" fmla="*/ 1706411 w 4843311"/>
                    <a:gd name="connsiteY3" fmla="*/ 13923 h 2872940"/>
                    <a:gd name="connsiteX4" fmla="*/ 2258861 w 4843311"/>
                    <a:gd name="connsiteY4" fmla="*/ 26623 h 2872940"/>
                    <a:gd name="connsiteX5" fmla="*/ 4563911 w 4843311"/>
                    <a:gd name="connsiteY5" fmla="*/ 13923 h 2872940"/>
                    <a:gd name="connsiteX6" fmla="*/ 4811561 w 4843311"/>
                    <a:gd name="connsiteY6" fmla="*/ 528273 h 2872940"/>
                    <a:gd name="connsiteX7" fmla="*/ 4786161 w 4843311"/>
                    <a:gd name="connsiteY7" fmla="*/ 1683973 h 2872940"/>
                    <a:gd name="connsiteX8" fmla="*/ 4824261 w 4843311"/>
                    <a:gd name="connsiteY8" fmla="*/ 2465023 h 2872940"/>
                    <a:gd name="connsiteX9" fmla="*/ 4843311 w 4843311"/>
                    <a:gd name="connsiteY9" fmla="*/ 2585673 h 2872940"/>
                    <a:gd name="connsiteX10" fmla="*/ 4836961 w 4843311"/>
                    <a:gd name="connsiteY10" fmla="*/ 2687273 h 2872940"/>
                    <a:gd name="connsiteX11" fmla="*/ 4824261 w 4843311"/>
                    <a:gd name="connsiteY11" fmla="*/ 2744423 h 2872940"/>
                    <a:gd name="connsiteX12" fmla="*/ 4811561 w 4843311"/>
                    <a:gd name="connsiteY12" fmla="*/ 2776173 h 2872940"/>
                    <a:gd name="connsiteX13" fmla="*/ 4786161 w 4843311"/>
                    <a:gd name="connsiteY13" fmla="*/ 2801573 h 2872940"/>
                    <a:gd name="connsiteX14" fmla="*/ 4767111 w 4843311"/>
                    <a:gd name="connsiteY14" fmla="*/ 2807923 h 2872940"/>
                    <a:gd name="connsiteX15" fmla="*/ 4697261 w 4843311"/>
                    <a:gd name="connsiteY15" fmla="*/ 2814273 h 2872940"/>
                    <a:gd name="connsiteX16" fmla="*/ 4633761 w 4843311"/>
                    <a:gd name="connsiteY16" fmla="*/ 2820623 h 2872940"/>
                    <a:gd name="connsiteX17" fmla="*/ 4614711 w 4843311"/>
                    <a:gd name="connsiteY17" fmla="*/ 2826973 h 2872940"/>
                    <a:gd name="connsiteX18" fmla="*/ 3312961 w 4843311"/>
                    <a:gd name="connsiteY18" fmla="*/ 2833323 h 2872940"/>
                    <a:gd name="connsiteX19" fmla="*/ 2900211 w 4843311"/>
                    <a:gd name="connsiteY19" fmla="*/ 2814273 h 2872940"/>
                    <a:gd name="connsiteX20" fmla="*/ 2836711 w 4843311"/>
                    <a:gd name="connsiteY20" fmla="*/ 2807923 h 2872940"/>
                    <a:gd name="connsiteX21" fmla="*/ 2779561 w 4843311"/>
                    <a:gd name="connsiteY21" fmla="*/ 2801573 h 2872940"/>
                    <a:gd name="connsiteX22" fmla="*/ 2601761 w 4843311"/>
                    <a:gd name="connsiteY22" fmla="*/ 2795223 h 2872940"/>
                    <a:gd name="connsiteX23" fmla="*/ 1674661 w 4843311"/>
                    <a:gd name="connsiteY23" fmla="*/ 2801573 h 2872940"/>
                    <a:gd name="connsiteX24" fmla="*/ 1623861 w 4843311"/>
                    <a:gd name="connsiteY24" fmla="*/ 2807923 h 2872940"/>
                    <a:gd name="connsiteX25" fmla="*/ 1547661 w 4843311"/>
                    <a:gd name="connsiteY25" fmla="*/ 2814273 h 2872940"/>
                    <a:gd name="connsiteX26" fmla="*/ 61761 w 4843311"/>
                    <a:gd name="connsiteY26" fmla="*/ 2814273 h 2872940"/>
                    <a:gd name="connsiteX27" fmla="*/ 55411 w 4843311"/>
                    <a:gd name="connsiteY27" fmla="*/ 2795223 h 2872940"/>
                    <a:gd name="connsiteX28" fmla="*/ 49061 w 4843311"/>
                    <a:gd name="connsiteY28" fmla="*/ 2763473 h 2872940"/>
                    <a:gd name="connsiteX29" fmla="*/ 36361 w 4843311"/>
                    <a:gd name="connsiteY29" fmla="*/ 2623773 h 2872940"/>
                    <a:gd name="connsiteX30" fmla="*/ 23661 w 4843311"/>
                    <a:gd name="connsiteY30" fmla="*/ 2553923 h 2872940"/>
                    <a:gd name="connsiteX31" fmla="*/ 17311 w 4843311"/>
                    <a:gd name="connsiteY31" fmla="*/ 1258523 h 2872940"/>
                    <a:gd name="connsiteX32" fmla="*/ 23661 w 4843311"/>
                    <a:gd name="connsiteY32" fmla="*/ 1068023 h 2872940"/>
                    <a:gd name="connsiteX33" fmla="*/ 30011 w 4843311"/>
                    <a:gd name="connsiteY33" fmla="*/ 39323 h 2872940"/>
                    <a:gd name="connsiteX34" fmla="*/ 30011 w 4843311"/>
                    <a:gd name="connsiteY34" fmla="*/ 7573 h 2872940"/>
                    <a:gd name="connsiteX0" fmla="*/ 30011 w 4836961"/>
                    <a:gd name="connsiteY0" fmla="*/ 7573 h 2872940"/>
                    <a:gd name="connsiteX1" fmla="*/ 436411 w 4836961"/>
                    <a:gd name="connsiteY1" fmla="*/ 1223 h 2872940"/>
                    <a:gd name="connsiteX2" fmla="*/ 811061 w 4836961"/>
                    <a:gd name="connsiteY2" fmla="*/ 1223 h 2872940"/>
                    <a:gd name="connsiteX3" fmla="*/ 1706411 w 4836961"/>
                    <a:gd name="connsiteY3" fmla="*/ 13923 h 2872940"/>
                    <a:gd name="connsiteX4" fmla="*/ 2258861 w 4836961"/>
                    <a:gd name="connsiteY4" fmla="*/ 26623 h 2872940"/>
                    <a:gd name="connsiteX5" fmla="*/ 4563911 w 4836961"/>
                    <a:gd name="connsiteY5" fmla="*/ 13923 h 2872940"/>
                    <a:gd name="connsiteX6" fmla="*/ 4811561 w 4836961"/>
                    <a:gd name="connsiteY6" fmla="*/ 528273 h 2872940"/>
                    <a:gd name="connsiteX7" fmla="*/ 4786161 w 4836961"/>
                    <a:gd name="connsiteY7" fmla="*/ 1683973 h 2872940"/>
                    <a:gd name="connsiteX8" fmla="*/ 4824261 w 4836961"/>
                    <a:gd name="connsiteY8" fmla="*/ 2465023 h 2872940"/>
                    <a:gd name="connsiteX9" fmla="*/ 4836961 w 4836961"/>
                    <a:gd name="connsiteY9" fmla="*/ 2687273 h 2872940"/>
                    <a:gd name="connsiteX10" fmla="*/ 4824261 w 4836961"/>
                    <a:gd name="connsiteY10" fmla="*/ 2744423 h 2872940"/>
                    <a:gd name="connsiteX11" fmla="*/ 4811561 w 4836961"/>
                    <a:gd name="connsiteY11" fmla="*/ 2776173 h 2872940"/>
                    <a:gd name="connsiteX12" fmla="*/ 4786161 w 4836961"/>
                    <a:gd name="connsiteY12" fmla="*/ 2801573 h 2872940"/>
                    <a:gd name="connsiteX13" fmla="*/ 4767111 w 4836961"/>
                    <a:gd name="connsiteY13" fmla="*/ 2807923 h 2872940"/>
                    <a:gd name="connsiteX14" fmla="*/ 4697261 w 4836961"/>
                    <a:gd name="connsiteY14" fmla="*/ 2814273 h 2872940"/>
                    <a:gd name="connsiteX15" fmla="*/ 4633761 w 4836961"/>
                    <a:gd name="connsiteY15" fmla="*/ 2820623 h 2872940"/>
                    <a:gd name="connsiteX16" fmla="*/ 4614711 w 4836961"/>
                    <a:gd name="connsiteY16" fmla="*/ 2826973 h 2872940"/>
                    <a:gd name="connsiteX17" fmla="*/ 3312961 w 4836961"/>
                    <a:gd name="connsiteY17" fmla="*/ 2833323 h 2872940"/>
                    <a:gd name="connsiteX18" fmla="*/ 2900211 w 4836961"/>
                    <a:gd name="connsiteY18" fmla="*/ 2814273 h 2872940"/>
                    <a:gd name="connsiteX19" fmla="*/ 2836711 w 4836961"/>
                    <a:gd name="connsiteY19" fmla="*/ 2807923 h 2872940"/>
                    <a:gd name="connsiteX20" fmla="*/ 2779561 w 4836961"/>
                    <a:gd name="connsiteY20" fmla="*/ 2801573 h 2872940"/>
                    <a:gd name="connsiteX21" fmla="*/ 2601761 w 4836961"/>
                    <a:gd name="connsiteY21" fmla="*/ 2795223 h 2872940"/>
                    <a:gd name="connsiteX22" fmla="*/ 1674661 w 4836961"/>
                    <a:gd name="connsiteY22" fmla="*/ 2801573 h 2872940"/>
                    <a:gd name="connsiteX23" fmla="*/ 1623861 w 4836961"/>
                    <a:gd name="connsiteY23" fmla="*/ 2807923 h 2872940"/>
                    <a:gd name="connsiteX24" fmla="*/ 1547661 w 4836961"/>
                    <a:gd name="connsiteY24" fmla="*/ 2814273 h 2872940"/>
                    <a:gd name="connsiteX25" fmla="*/ 61761 w 4836961"/>
                    <a:gd name="connsiteY25" fmla="*/ 2814273 h 2872940"/>
                    <a:gd name="connsiteX26" fmla="*/ 55411 w 4836961"/>
                    <a:gd name="connsiteY26" fmla="*/ 2795223 h 2872940"/>
                    <a:gd name="connsiteX27" fmla="*/ 49061 w 4836961"/>
                    <a:gd name="connsiteY27" fmla="*/ 2763473 h 2872940"/>
                    <a:gd name="connsiteX28" fmla="*/ 36361 w 4836961"/>
                    <a:gd name="connsiteY28" fmla="*/ 2623773 h 2872940"/>
                    <a:gd name="connsiteX29" fmla="*/ 23661 w 4836961"/>
                    <a:gd name="connsiteY29" fmla="*/ 2553923 h 2872940"/>
                    <a:gd name="connsiteX30" fmla="*/ 17311 w 4836961"/>
                    <a:gd name="connsiteY30" fmla="*/ 1258523 h 2872940"/>
                    <a:gd name="connsiteX31" fmla="*/ 23661 w 4836961"/>
                    <a:gd name="connsiteY31" fmla="*/ 1068023 h 2872940"/>
                    <a:gd name="connsiteX32" fmla="*/ 30011 w 4836961"/>
                    <a:gd name="connsiteY32" fmla="*/ 39323 h 2872940"/>
                    <a:gd name="connsiteX33" fmla="*/ 30011 w 4836961"/>
                    <a:gd name="connsiteY33" fmla="*/ 7573 h 2872940"/>
                    <a:gd name="connsiteX0" fmla="*/ 30011 w 4836961"/>
                    <a:gd name="connsiteY0" fmla="*/ 7573 h 2872940"/>
                    <a:gd name="connsiteX1" fmla="*/ 436411 w 4836961"/>
                    <a:gd name="connsiteY1" fmla="*/ 1223 h 2872940"/>
                    <a:gd name="connsiteX2" fmla="*/ 811061 w 4836961"/>
                    <a:gd name="connsiteY2" fmla="*/ 1223 h 2872940"/>
                    <a:gd name="connsiteX3" fmla="*/ 1706411 w 4836961"/>
                    <a:gd name="connsiteY3" fmla="*/ 13923 h 2872940"/>
                    <a:gd name="connsiteX4" fmla="*/ 2258861 w 4836961"/>
                    <a:gd name="connsiteY4" fmla="*/ 26623 h 2872940"/>
                    <a:gd name="connsiteX5" fmla="*/ 4563911 w 4836961"/>
                    <a:gd name="connsiteY5" fmla="*/ 13923 h 2872940"/>
                    <a:gd name="connsiteX6" fmla="*/ 4811561 w 4836961"/>
                    <a:gd name="connsiteY6" fmla="*/ 528273 h 2872940"/>
                    <a:gd name="connsiteX7" fmla="*/ 4786161 w 4836961"/>
                    <a:gd name="connsiteY7" fmla="*/ 1683973 h 2872940"/>
                    <a:gd name="connsiteX8" fmla="*/ 4824261 w 4836961"/>
                    <a:gd name="connsiteY8" fmla="*/ 2465023 h 2872940"/>
                    <a:gd name="connsiteX9" fmla="*/ 4836961 w 4836961"/>
                    <a:gd name="connsiteY9" fmla="*/ 2687273 h 2872940"/>
                    <a:gd name="connsiteX10" fmla="*/ 4824261 w 4836961"/>
                    <a:gd name="connsiteY10" fmla="*/ 2744423 h 2872940"/>
                    <a:gd name="connsiteX11" fmla="*/ 4786161 w 4836961"/>
                    <a:gd name="connsiteY11" fmla="*/ 2801573 h 2872940"/>
                    <a:gd name="connsiteX12" fmla="*/ 4767111 w 4836961"/>
                    <a:gd name="connsiteY12" fmla="*/ 2807923 h 2872940"/>
                    <a:gd name="connsiteX13" fmla="*/ 4697261 w 4836961"/>
                    <a:gd name="connsiteY13" fmla="*/ 2814273 h 2872940"/>
                    <a:gd name="connsiteX14" fmla="*/ 4633761 w 4836961"/>
                    <a:gd name="connsiteY14" fmla="*/ 2820623 h 2872940"/>
                    <a:gd name="connsiteX15" fmla="*/ 4614711 w 4836961"/>
                    <a:gd name="connsiteY15" fmla="*/ 2826973 h 2872940"/>
                    <a:gd name="connsiteX16" fmla="*/ 3312961 w 4836961"/>
                    <a:gd name="connsiteY16" fmla="*/ 2833323 h 2872940"/>
                    <a:gd name="connsiteX17" fmla="*/ 2900211 w 4836961"/>
                    <a:gd name="connsiteY17" fmla="*/ 2814273 h 2872940"/>
                    <a:gd name="connsiteX18" fmla="*/ 2836711 w 4836961"/>
                    <a:gd name="connsiteY18" fmla="*/ 2807923 h 2872940"/>
                    <a:gd name="connsiteX19" fmla="*/ 2779561 w 4836961"/>
                    <a:gd name="connsiteY19" fmla="*/ 2801573 h 2872940"/>
                    <a:gd name="connsiteX20" fmla="*/ 2601761 w 4836961"/>
                    <a:gd name="connsiteY20" fmla="*/ 2795223 h 2872940"/>
                    <a:gd name="connsiteX21" fmla="*/ 1674661 w 4836961"/>
                    <a:gd name="connsiteY21" fmla="*/ 2801573 h 2872940"/>
                    <a:gd name="connsiteX22" fmla="*/ 1623861 w 4836961"/>
                    <a:gd name="connsiteY22" fmla="*/ 2807923 h 2872940"/>
                    <a:gd name="connsiteX23" fmla="*/ 1547661 w 4836961"/>
                    <a:gd name="connsiteY23" fmla="*/ 2814273 h 2872940"/>
                    <a:gd name="connsiteX24" fmla="*/ 61761 w 4836961"/>
                    <a:gd name="connsiteY24" fmla="*/ 2814273 h 2872940"/>
                    <a:gd name="connsiteX25" fmla="*/ 55411 w 4836961"/>
                    <a:gd name="connsiteY25" fmla="*/ 2795223 h 2872940"/>
                    <a:gd name="connsiteX26" fmla="*/ 49061 w 4836961"/>
                    <a:gd name="connsiteY26" fmla="*/ 2763473 h 2872940"/>
                    <a:gd name="connsiteX27" fmla="*/ 36361 w 4836961"/>
                    <a:gd name="connsiteY27" fmla="*/ 2623773 h 2872940"/>
                    <a:gd name="connsiteX28" fmla="*/ 23661 w 4836961"/>
                    <a:gd name="connsiteY28" fmla="*/ 2553923 h 2872940"/>
                    <a:gd name="connsiteX29" fmla="*/ 17311 w 4836961"/>
                    <a:gd name="connsiteY29" fmla="*/ 1258523 h 2872940"/>
                    <a:gd name="connsiteX30" fmla="*/ 23661 w 4836961"/>
                    <a:gd name="connsiteY30" fmla="*/ 1068023 h 2872940"/>
                    <a:gd name="connsiteX31" fmla="*/ 30011 w 4836961"/>
                    <a:gd name="connsiteY31" fmla="*/ 39323 h 2872940"/>
                    <a:gd name="connsiteX32" fmla="*/ 30011 w 4836961"/>
                    <a:gd name="connsiteY32" fmla="*/ 7573 h 2872940"/>
                    <a:gd name="connsiteX0" fmla="*/ 30011 w 4836961"/>
                    <a:gd name="connsiteY0" fmla="*/ 7573 h 2872940"/>
                    <a:gd name="connsiteX1" fmla="*/ 436411 w 4836961"/>
                    <a:gd name="connsiteY1" fmla="*/ 1223 h 2872940"/>
                    <a:gd name="connsiteX2" fmla="*/ 811061 w 4836961"/>
                    <a:gd name="connsiteY2" fmla="*/ 1223 h 2872940"/>
                    <a:gd name="connsiteX3" fmla="*/ 1706411 w 4836961"/>
                    <a:gd name="connsiteY3" fmla="*/ 13923 h 2872940"/>
                    <a:gd name="connsiteX4" fmla="*/ 2258861 w 4836961"/>
                    <a:gd name="connsiteY4" fmla="*/ 26623 h 2872940"/>
                    <a:gd name="connsiteX5" fmla="*/ 4563911 w 4836961"/>
                    <a:gd name="connsiteY5" fmla="*/ 13923 h 2872940"/>
                    <a:gd name="connsiteX6" fmla="*/ 4811561 w 4836961"/>
                    <a:gd name="connsiteY6" fmla="*/ 528273 h 2872940"/>
                    <a:gd name="connsiteX7" fmla="*/ 4786161 w 4836961"/>
                    <a:gd name="connsiteY7" fmla="*/ 1683973 h 2872940"/>
                    <a:gd name="connsiteX8" fmla="*/ 4824261 w 4836961"/>
                    <a:gd name="connsiteY8" fmla="*/ 2465023 h 2872940"/>
                    <a:gd name="connsiteX9" fmla="*/ 4836961 w 4836961"/>
                    <a:gd name="connsiteY9" fmla="*/ 2687273 h 2872940"/>
                    <a:gd name="connsiteX10" fmla="*/ 4824261 w 4836961"/>
                    <a:gd name="connsiteY10" fmla="*/ 2744423 h 2872940"/>
                    <a:gd name="connsiteX11" fmla="*/ 4786161 w 4836961"/>
                    <a:gd name="connsiteY11" fmla="*/ 2801573 h 2872940"/>
                    <a:gd name="connsiteX12" fmla="*/ 4767111 w 4836961"/>
                    <a:gd name="connsiteY12" fmla="*/ 2807923 h 2872940"/>
                    <a:gd name="connsiteX13" fmla="*/ 4633761 w 4836961"/>
                    <a:gd name="connsiteY13" fmla="*/ 2820623 h 2872940"/>
                    <a:gd name="connsiteX14" fmla="*/ 4614711 w 4836961"/>
                    <a:gd name="connsiteY14" fmla="*/ 2826973 h 2872940"/>
                    <a:gd name="connsiteX15" fmla="*/ 3312961 w 4836961"/>
                    <a:gd name="connsiteY15" fmla="*/ 2833323 h 2872940"/>
                    <a:gd name="connsiteX16" fmla="*/ 2900211 w 4836961"/>
                    <a:gd name="connsiteY16" fmla="*/ 2814273 h 2872940"/>
                    <a:gd name="connsiteX17" fmla="*/ 2836711 w 4836961"/>
                    <a:gd name="connsiteY17" fmla="*/ 2807923 h 2872940"/>
                    <a:gd name="connsiteX18" fmla="*/ 2779561 w 4836961"/>
                    <a:gd name="connsiteY18" fmla="*/ 2801573 h 2872940"/>
                    <a:gd name="connsiteX19" fmla="*/ 2601761 w 4836961"/>
                    <a:gd name="connsiteY19" fmla="*/ 2795223 h 2872940"/>
                    <a:gd name="connsiteX20" fmla="*/ 1674661 w 4836961"/>
                    <a:gd name="connsiteY20" fmla="*/ 2801573 h 2872940"/>
                    <a:gd name="connsiteX21" fmla="*/ 1623861 w 4836961"/>
                    <a:gd name="connsiteY21" fmla="*/ 2807923 h 2872940"/>
                    <a:gd name="connsiteX22" fmla="*/ 1547661 w 4836961"/>
                    <a:gd name="connsiteY22" fmla="*/ 2814273 h 2872940"/>
                    <a:gd name="connsiteX23" fmla="*/ 61761 w 4836961"/>
                    <a:gd name="connsiteY23" fmla="*/ 2814273 h 2872940"/>
                    <a:gd name="connsiteX24" fmla="*/ 55411 w 4836961"/>
                    <a:gd name="connsiteY24" fmla="*/ 2795223 h 2872940"/>
                    <a:gd name="connsiteX25" fmla="*/ 49061 w 4836961"/>
                    <a:gd name="connsiteY25" fmla="*/ 2763473 h 2872940"/>
                    <a:gd name="connsiteX26" fmla="*/ 36361 w 4836961"/>
                    <a:gd name="connsiteY26" fmla="*/ 2623773 h 2872940"/>
                    <a:gd name="connsiteX27" fmla="*/ 23661 w 4836961"/>
                    <a:gd name="connsiteY27" fmla="*/ 2553923 h 2872940"/>
                    <a:gd name="connsiteX28" fmla="*/ 17311 w 4836961"/>
                    <a:gd name="connsiteY28" fmla="*/ 1258523 h 2872940"/>
                    <a:gd name="connsiteX29" fmla="*/ 23661 w 4836961"/>
                    <a:gd name="connsiteY29" fmla="*/ 1068023 h 2872940"/>
                    <a:gd name="connsiteX30" fmla="*/ 30011 w 4836961"/>
                    <a:gd name="connsiteY30" fmla="*/ 39323 h 2872940"/>
                    <a:gd name="connsiteX31" fmla="*/ 30011 w 4836961"/>
                    <a:gd name="connsiteY31" fmla="*/ 7573 h 2872940"/>
                    <a:gd name="connsiteX0" fmla="*/ 30011 w 4836961"/>
                    <a:gd name="connsiteY0" fmla="*/ 7573 h 2872940"/>
                    <a:gd name="connsiteX1" fmla="*/ 436411 w 4836961"/>
                    <a:gd name="connsiteY1" fmla="*/ 1223 h 2872940"/>
                    <a:gd name="connsiteX2" fmla="*/ 811061 w 4836961"/>
                    <a:gd name="connsiteY2" fmla="*/ 1223 h 2872940"/>
                    <a:gd name="connsiteX3" fmla="*/ 1706411 w 4836961"/>
                    <a:gd name="connsiteY3" fmla="*/ 13923 h 2872940"/>
                    <a:gd name="connsiteX4" fmla="*/ 2258861 w 4836961"/>
                    <a:gd name="connsiteY4" fmla="*/ 26623 h 2872940"/>
                    <a:gd name="connsiteX5" fmla="*/ 4563911 w 4836961"/>
                    <a:gd name="connsiteY5" fmla="*/ 13923 h 2872940"/>
                    <a:gd name="connsiteX6" fmla="*/ 4811561 w 4836961"/>
                    <a:gd name="connsiteY6" fmla="*/ 528273 h 2872940"/>
                    <a:gd name="connsiteX7" fmla="*/ 4786161 w 4836961"/>
                    <a:gd name="connsiteY7" fmla="*/ 1683973 h 2872940"/>
                    <a:gd name="connsiteX8" fmla="*/ 4824261 w 4836961"/>
                    <a:gd name="connsiteY8" fmla="*/ 2465023 h 2872940"/>
                    <a:gd name="connsiteX9" fmla="*/ 4836961 w 4836961"/>
                    <a:gd name="connsiteY9" fmla="*/ 2687273 h 2872940"/>
                    <a:gd name="connsiteX10" fmla="*/ 4824261 w 4836961"/>
                    <a:gd name="connsiteY10" fmla="*/ 2744423 h 2872940"/>
                    <a:gd name="connsiteX11" fmla="*/ 4786161 w 4836961"/>
                    <a:gd name="connsiteY11" fmla="*/ 2801573 h 2872940"/>
                    <a:gd name="connsiteX12" fmla="*/ 4633761 w 4836961"/>
                    <a:gd name="connsiteY12" fmla="*/ 2820623 h 2872940"/>
                    <a:gd name="connsiteX13" fmla="*/ 4614711 w 4836961"/>
                    <a:gd name="connsiteY13" fmla="*/ 2826973 h 2872940"/>
                    <a:gd name="connsiteX14" fmla="*/ 3312961 w 4836961"/>
                    <a:gd name="connsiteY14" fmla="*/ 2833323 h 2872940"/>
                    <a:gd name="connsiteX15" fmla="*/ 2900211 w 4836961"/>
                    <a:gd name="connsiteY15" fmla="*/ 2814273 h 2872940"/>
                    <a:gd name="connsiteX16" fmla="*/ 2836711 w 4836961"/>
                    <a:gd name="connsiteY16" fmla="*/ 2807923 h 2872940"/>
                    <a:gd name="connsiteX17" fmla="*/ 2779561 w 4836961"/>
                    <a:gd name="connsiteY17" fmla="*/ 2801573 h 2872940"/>
                    <a:gd name="connsiteX18" fmla="*/ 2601761 w 4836961"/>
                    <a:gd name="connsiteY18" fmla="*/ 2795223 h 2872940"/>
                    <a:gd name="connsiteX19" fmla="*/ 1674661 w 4836961"/>
                    <a:gd name="connsiteY19" fmla="*/ 2801573 h 2872940"/>
                    <a:gd name="connsiteX20" fmla="*/ 1623861 w 4836961"/>
                    <a:gd name="connsiteY20" fmla="*/ 2807923 h 2872940"/>
                    <a:gd name="connsiteX21" fmla="*/ 1547661 w 4836961"/>
                    <a:gd name="connsiteY21" fmla="*/ 2814273 h 2872940"/>
                    <a:gd name="connsiteX22" fmla="*/ 61761 w 4836961"/>
                    <a:gd name="connsiteY22" fmla="*/ 2814273 h 2872940"/>
                    <a:gd name="connsiteX23" fmla="*/ 55411 w 4836961"/>
                    <a:gd name="connsiteY23" fmla="*/ 2795223 h 2872940"/>
                    <a:gd name="connsiteX24" fmla="*/ 49061 w 4836961"/>
                    <a:gd name="connsiteY24" fmla="*/ 2763473 h 2872940"/>
                    <a:gd name="connsiteX25" fmla="*/ 36361 w 4836961"/>
                    <a:gd name="connsiteY25" fmla="*/ 2623773 h 2872940"/>
                    <a:gd name="connsiteX26" fmla="*/ 23661 w 4836961"/>
                    <a:gd name="connsiteY26" fmla="*/ 2553923 h 2872940"/>
                    <a:gd name="connsiteX27" fmla="*/ 17311 w 4836961"/>
                    <a:gd name="connsiteY27" fmla="*/ 1258523 h 2872940"/>
                    <a:gd name="connsiteX28" fmla="*/ 23661 w 4836961"/>
                    <a:gd name="connsiteY28" fmla="*/ 1068023 h 2872940"/>
                    <a:gd name="connsiteX29" fmla="*/ 30011 w 4836961"/>
                    <a:gd name="connsiteY29" fmla="*/ 39323 h 2872940"/>
                    <a:gd name="connsiteX30" fmla="*/ 30011 w 4836961"/>
                    <a:gd name="connsiteY30" fmla="*/ 7573 h 2872940"/>
                    <a:gd name="connsiteX0" fmla="*/ 30011 w 4843494"/>
                    <a:gd name="connsiteY0" fmla="*/ 7573 h 2872940"/>
                    <a:gd name="connsiteX1" fmla="*/ 436411 w 4843494"/>
                    <a:gd name="connsiteY1" fmla="*/ 1223 h 2872940"/>
                    <a:gd name="connsiteX2" fmla="*/ 811061 w 4843494"/>
                    <a:gd name="connsiteY2" fmla="*/ 1223 h 2872940"/>
                    <a:gd name="connsiteX3" fmla="*/ 1706411 w 4843494"/>
                    <a:gd name="connsiteY3" fmla="*/ 13923 h 2872940"/>
                    <a:gd name="connsiteX4" fmla="*/ 2258861 w 4843494"/>
                    <a:gd name="connsiteY4" fmla="*/ 26623 h 2872940"/>
                    <a:gd name="connsiteX5" fmla="*/ 4563911 w 4843494"/>
                    <a:gd name="connsiteY5" fmla="*/ 13923 h 2872940"/>
                    <a:gd name="connsiteX6" fmla="*/ 4811561 w 4843494"/>
                    <a:gd name="connsiteY6" fmla="*/ 528273 h 2872940"/>
                    <a:gd name="connsiteX7" fmla="*/ 4786161 w 4843494"/>
                    <a:gd name="connsiteY7" fmla="*/ 1683973 h 2872940"/>
                    <a:gd name="connsiteX8" fmla="*/ 4824261 w 4843494"/>
                    <a:gd name="connsiteY8" fmla="*/ 2465023 h 2872940"/>
                    <a:gd name="connsiteX9" fmla="*/ 4836961 w 4843494"/>
                    <a:gd name="connsiteY9" fmla="*/ 2687273 h 2872940"/>
                    <a:gd name="connsiteX10" fmla="*/ 4824261 w 4843494"/>
                    <a:gd name="connsiteY10" fmla="*/ 2744423 h 2872940"/>
                    <a:gd name="connsiteX11" fmla="*/ 4633761 w 4843494"/>
                    <a:gd name="connsiteY11" fmla="*/ 2820623 h 2872940"/>
                    <a:gd name="connsiteX12" fmla="*/ 4614711 w 4843494"/>
                    <a:gd name="connsiteY12" fmla="*/ 2826973 h 2872940"/>
                    <a:gd name="connsiteX13" fmla="*/ 3312961 w 4843494"/>
                    <a:gd name="connsiteY13" fmla="*/ 2833323 h 2872940"/>
                    <a:gd name="connsiteX14" fmla="*/ 2900211 w 4843494"/>
                    <a:gd name="connsiteY14" fmla="*/ 2814273 h 2872940"/>
                    <a:gd name="connsiteX15" fmla="*/ 2836711 w 4843494"/>
                    <a:gd name="connsiteY15" fmla="*/ 2807923 h 2872940"/>
                    <a:gd name="connsiteX16" fmla="*/ 2779561 w 4843494"/>
                    <a:gd name="connsiteY16" fmla="*/ 2801573 h 2872940"/>
                    <a:gd name="connsiteX17" fmla="*/ 2601761 w 4843494"/>
                    <a:gd name="connsiteY17" fmla="*/ 2795223 h 2872940"/>
                    <a:gd name="connsiteX18" fmla="*/ 1674661 w 4843494"/>
                    <a:gd name="connsiteY18" fmla="*/ 2801573 h 2872940"/>
                    <a:gd name="connsiteX19" fmla="*/ 1623861 w 4843494"/>
                    <a:gd name="connsiteY19" fmla="*/ 2807923 h 2872940"/>
                    <a:gd name="connsiteX20" fmla="*/ 1547661 w 4843494"/>
                    <a:gd name="connsiteY20" fmla="*/ 2814273 h 2872940"/>
                    <a:gd name="connsiteX21" fmla="*/ 61761 w 4843494"/>
                    <a:gd name="connsiteY21" fmla="*/ 2814273 h 2872940"/>
                    <a:gd name="connsiteX22" fmla="*/ 55411 w 4843494"/>
                    <a:gd name="connsiteY22" fmla="*/ 2795223 h 2872940"/>
                    <a:gd name="connsiteX23" fmla="*/ 49061 w 4843494"/>
                    <a:gd name="connsiteY23" fmla="*/ 2763473 h 2872940"/>
                    <a:gd name="connsiteX24" fmla="*/ 36361 w 4843494"/>
                    <a:gd name="connsiteY24" fmla="*/ 2623773 h 2872940"/>
                    <a:gd name="connsiteX25" fmla="*/ 23661 w 4843494"/>
                    <a:gd name="connsiteY25" fmla="*/ 2553923 h 2872940"/>
                    <a:gd name="connsiteX26" fmla="*/ 17311 w 4843494"/>
                    <a:gd name="connsiteY26" fmla="*/ 1258523 h 2872940"/>
                    <a:gd name="connsiteX27" fmla="*/ 23661 w 4843494"/>
                    <a:gd name="connsiteY27" fmla="*/ 1068023 h 2872940"/>
                    <a:gd name="connsiteX28" fmla="*/ 30011 w 4843494"/>
                    <a:gd name="connsiteY28" fmla="*/ 39323 h 2872940"/>
                    <a:gd name="connsiteX29" fmla="*/ 30011 w 4843494"/>
                    <a:gd name="connsiteY29" fmla="*/ 7573 h 2872940"/>
                    <a:gd name="connsiteX0" fmla="*/ 30011 w 4839769"/>
                    <a:gd name="connsiteY0" fmla="*/ 7573 h 2872940"/>
                    <a:gd name="connsiteX1" fmla="*/ 436411 w 4839769"/>
                    <a:gd name="connsiteY1" fmla="*/ 1223 h 2872940"/>
                    <a:gd name="connsiteX2" fmla="*/ 811061 w 4839769"/>
                    <a:gd name="connsiteY2" fmla="*/ 1223 h 2872940"/>
                    <a:gd name="connsiteX3" fmla="*/ 1706411 w 4839769"/>
                    <a:gd name="connsiteY3" fmla="*/ 13923 h 2872940"/>
                    <a:gd name="connsiteX4" fmla="*/ 2258861 w 4839769"/>
                    <a:gd name="connsiteY4" fmla="*/ 26623 h 2872940"/>
                    <a:gd name="connsiteX5" fmla="*/ 4563911 w 4839769"/>
                    <a:gd name="connsiteY5" fmla="*/ 13923 h 2872940"/>
                    <a:gd name="connsiteX6" fmla="*/ 4811561 w 4839769"/>
                    <a:gd name="connsiteY6" fmla="*/ 528273 h 2872940"/>
                    <a:gd name="connsiteX7" fmla="*/ 4786161 w 4839769"/>
                    <a:gd name="connsiteY7" fmla="*/ 1683973 h 2872940"/>
                    <a:gd name="connsiteX8" fmla="*/ 4824261 w 4839769"/>
                    <a:gd name="connsiteY8" fmla="*/ 2465023 h 2872940"/>
                    <a:gd name="connsiteX9" fmla="*/ 4836961 w 4839769"/>
                    <a:gd name="connsiteY9" fmla="*/ 2687273 h 2872940"/>
                    <a:gd name="connsiteX10" fmla="*/ 4817911 w 4839769"/>
                    <a:gd name="connsiteY10" fmla="*/ 2814273 h 2872940"/>
                    <a:gd name="connsiteX11" fmla="*/ 4633761 w 4839769"/>
                    <a:gd name="connsiteY11" fmla="*/ 2820623 h 2872940"/>
                    <a:gd name="connsiteX12" fmla="*/ 4614711 w 4839769"/>
                    <a:gd name="connsiteY12" fmla="*/ 2826973 h 2872940"/>
                    <a:gd name="connsiteX13" fmla="*/ 3312961 w 4839769"/>
                    <a:gd name="connsiteY13" fmla="*/ 2833323 h 2872940"/>
                    <a:gd name="connsiteX14" fmla="*/ 2900211 w 4839769"/>
                    <a:gd name="connsiteY14" fmla="*/ 2814273 h 2872940"/>
                    <a:gd name="connsiteX15" fmla="*/ 2836711 w 4839769"/>
                    <a:gd name="connsiteY15" fmla="*/ 2807923 h 2872940"/>
                    <a:gd name="connsiteX16" fmla="*/ 2779561 w 4839769"/>
                    <a:gd name="connsiteY16" fmla="*/ 2801573 h 2872940"/>
                    <a:gd name="connsiteX17" fmla="*/ 2601761 w 4839769"/>
                    <a:gd name="connsiteY17" fmla="*/ 2795223 h 2872940"/>
                    <a:gd name="connsiteX18" fmla="*/ 1674661 w 4839769"/>
                    <a:gd name="connsiteY18" fmla="*/ 2801573 h 2872940"/>
                    <a:gd name="connsiteX19" fmla="*/ 1623861 w 4839769"/>
                    <a:gd name="connsiteY19" fmla="*/ 2807923 h 2872940"/>
                    <a:gd name="connsiteX20" fmla="*/ 1547661 w 4839769"/>
                    <a:gd name="connsiteY20" fmla="*/ 2814273 h 2872940"/>
                    <a:gd name="connsiteX21" fmla="*/ 61761 w 4839769"/>
                    <a:gd name="connsiteY21" fmla="*/ 2814273 h 2872940"/>
                    <a:gd name="connsiteX22" fmla="*/ 55411 w 4839769"/>
                    <a:gd name="connsiteY22" fmla="*/ 2795223 h 2872940"/>
                    <a:gd name="connsiteX23" fmla="*/ 49061 w 4839769"/>
                    <a:gd name="connsiteY23" fmla="*/ 2763473 h 2872940"/>
                    <a:gd name="connsiteX24" fmla="*/ 36361 w 4839769"/>
                    <a:gd name="connsiteY24" fmla="*/ 2623773 h 2872940"/>
                    <a:gd name="connsiteX25" fmla="*/ 23661 w 4839769"/>
                    <a:gd name="connsiteY25" fmla="*/ 2553923 h 2872940"/>
                    <a:gd name="connsiteX26" fmla="*/ 17311 w 4839769"/>
                    <a:gd name="connsiteY26" fmla="*/ 1258523 h 2872940"/>
                    <a:gd name="connsiteX27" fmla="*/ 23661 w 4839769"/>
                    <a:gd name="connsiteY27" fmla="*/ 1068023 h 2872940"/>
                    <a:gd name="connsiteX28" fmla="*/ 30011 w 4839769"/>
                    <a:gd name="connsiteY28" fmla="*/ 39323 h 2872940"/>
                    <a:gd name="connsiteX29" fmla="*/ 30011 w 4839769"/>
                    <a:gd name="connsiteY29" fmla="*/ 7573 h 2872940"/>
                    <a:gd name="connsiteX0" fmla="*/ 30011 w 4839769"/>
                    <a:gd name="connsiteY0" fmla="*/ 7573 h 2872940"/>
                    <a:gd name="connsiteX1" fmla="*/ 436411 w 4839769"/>
                    <a:gd name="connsiteY1" fmla="*/ 1223 h 2872940"/>
                    <a:gd name="connsiteX2" fmla="*/ 811061 w 4839769"/>
                    <a:gd name="connsiteY2" fmla="*/ 1223 h 2872940"/>
                    <a:gd name="connsiteX3" fmla="*/ 1706411 w 4839769"/>
                    <a:gd name="connsiteY3" fmla="*/ 13923 h 2872940"/>
                    <a:gd name="connsiteX4" fmla="*/ 2258861 w 4839769"/>
                    <a:gd name="connsiteY4" fmla="*/ 26623 h 2872940"/>
                    <a:gd name="connsiteX5" fmla="*/ 4563911 w 4839769"/>
                    <a:gd name="connsiteY5" fmla="*/ 13923 h 2872940"/>
                    <a:gd name="connsiteX6" fmla="*/ 4811561 w 4839769"/>
                    <a:gd name="connsiteY6" fmla="*/ 528273 h 2872940"/>
                    <a:gd name="connsiteX7" fmla="*/ 4786161 w 4839769"/>
                    <a:gd name="connsiteY7" fmla="*/ 1683973 h 2872940"/>
                    <a:gd name="connsiteX8" fmla="*/ 4824261 w 4839769"/>
                    <a:gd name="connsiteY8" fmla="*/ 2465023 h 2872940"/>
                    <a:gd name="connsiteX9" fmla="*/ 4836961 w 4839769"/>
                    <a:gd name="connsiteY9" fmla="*/ 2687273 h 2872940"/>
                    <a:gd name="connsiteX10" fmla="*/ 4817911 w 4839769"/>
                    <a:gd name="connsiteY10" fmla="*/ 2814273 h 2872940"/>
                    <a:gd name="connsiteX11" fmla="*/ 4633761 w 4839769"/>
                    <a:gd name="connsiteY11" fmla="*/ 2820623 h 2872940"/>
                    <a:gd name="connsiteX12" fmla="*/ 3312961 w 4839769"/>
                    <a:gd name="connsiteY12" fmla="*/ 2833323 h 2872940"/>
                    <a:gd name="connsiteX13" fmla="*/ 2900211 w 4839769"/>
                    <a:gd name="connsiteY13" fmla="*/ 2814273 h 2872940"/>
                    <a:gd name="connsiteX14" fmla="*/ 2836711 w 4839769"/>
                    <a:gd name="connsiteY14" fmla="*/ 2807923 h 2872940"/>
                    <a:gd name="connsiteX15" fmla="*/ 2779561 w 4839769"/>
                    <a:gd name="connsiteY15" fmla="*/ 2801573 h 2872940"/>
                    <a:gd name="connsiteX16" fmla="*/ 2601761 w 4839769"/>
                    <a:gd name="connsiteY16" fmla="*/ 2795223 h 2872940"/>
                    <a:gd name="connsiteX17" fmla="*/ 1674661 w 4839769"/>
                    <a:gd name="connsiteY17" fmla="*/ 2801573 h 2872940"/>
                    <a:gd name="connsiteX18" fmla="*/ 1623861 w 4839769"/>
                    <a:gd name="connsiteY18" fmla="*/ 2807923 h 2872940"/>
                    <a:gd name="connsiteX19" fmla="*/ 1547661 w 4839769"/>
                    <a:gd name="connsiteY19" fmla="*/ 2814273 h 2872940"/>
                    <a:gd name="connsiteX20" fmla="*/ 61761 w 4839769"/>
                    <a:gd name="connsiteY20" fmla="*/ 2814273 h 2872940"/>
                    <a:gd name="connsiteX21" fmla="*/ 55411 w 4839769"/>
                    <a:gd name="connsiteY21" fmla="*/ 2795223 h 2872940"/>
                    <a:gd name="connsiteX22" fmla="*/ 49061 w 4839769"/>
                    <a:gd name="connsiteY22" fmla="*/ 2763473 h 2872940"/>
                    <a:gd name="connsiteX23" fmla="*/ 36361 w 4839769"/>
                    <a:gd name="connsiteY23" fmla="*/ 2623773 h 2872940"/>
                    <a:gd name="connsiteX24" fmla="*/ 23661 w 4839769"/>
                    <a:gd name="connsiteY24" fmla="*/ 2553923 h 2872940"/>
                    <a:gd name="connsiteX25" fmla="*/ 17311 w 4839769"/>
                    <a:gd name="connsiteY25" fmla="*/ 1258523 h 2872940"/>
                    <a:gd name="connsiteX26" fmla="*/ 23661 w 4839769"/>
                    <a:gd name="connsiteY26" fmla="*/ 1068023 h 2872940"/>
                    <a:gd name="connsiteX27" fmla="*/ 30011 w 4839769"/>
                    <a:gd name="connsiteY27" fmla="*/ 39323 h 2872940"/>
                    <a:gd name="connsiteX28" fmla="*/ 30011 w 4839769"/>
                    <a:gd name="connsiteY28" fmla="*/ 7573 h 2872940"/>
                    <a:gd name="connsiteX0" fmla="*/ 30011 w 4839769"/>
                    <a:gd name="connsiteY0" fmla="*/ 7573 h 2872940"/>
                    <a:gd name="connsiteX1" fmla="*/ 436411 w 4839769"/>
                    <a:gd name="connsiteY1" fmla="*/ 1223 h 2872940"/>
                    <a:gd name="connsiteX2" fmla="*/ 811061 w 4839769"/>
                    <a:gd name="connsiteY2" fmla="*/ 1223 h 2872940"/>
                    <a:gd name="connsiteX3" fmla="*/ 1706411 w 4839769"/>
                    <a:gd name="connsiteY3" fmla="*/ 13923 h 2872940"/>
                    <a:gd name="connsiteX4" fmla="*/ 2258861 w 4839769"/>
                    <a:gd name="connsiteY4" fmla="*/ 26623 h 2872940"/>
                    <a:gd name="connsiteX5" fmla="*/ 4563911 w 4839769"/>
                    <a:gd name="connsiteY5" fmla="*/ 13923 h 2872940"/>
                    <a:gd name="connsiteX6" fmla="*/ 4811561 w 4839769"/>
                    <a:gd name="connsiteY6" fmla="*/ 528273 h 2872940"/>
                    <a:gd name="connsiteX7" fmla="*/ 4786161 w 4839769"/>
                    <a:gd name="connsiteY7" fmla="*/ 1683973 h 2872940"/>
                    <a:gd name="connsiteX8" fmla="*/ 4824261 w 4839769"/>
                    <a:gd name="connsiteY8" fmla="*/ 2465023 h 2872940"/>
                    <a:gd name="connsiteX9" fmla="*/ 4836961 w 4839769"/>
                    <a:gd name="connsiteY9" fmla="*/ 2687273 h 2872940"/>
                    <a:gd name="connsiteX10" fmla="*/ 4817911 w 4839769"/>
                    <a:gd name="connsiteY10" fmla="*/ 2814273 h 2872940"/>
                    <a:gd name="connsiteX11" fmla="*/ 4633761 w 4839769"/>
                    <a:gd name="connsiteY11" fmla="*/ 2820623 h 2872940"/>
                    <a:gd name="connsiteX12" fmla="*/ 2900211 w 4839769"/>
                    <a:gd name="connsiteY12" fmla="*/ 2814273 h 2872940"/>
                    <a:gd name="connsiteX13" fmla="*/ 2836711 w 4839769"/>
                    <a:gd name="connsiteY13" fmla="*/ 2807923 h 2872940"/>
                    <a:gd name="connsiteX14" fmla="*/ 2779561 w 4839769"/>
                    <a:gd name="connsiteY14" fmla="*/ 2801573 h 2872940"/>
                    <a:gd name="connsiteX15" fmla="*/ 2601761 w 4839769"/>
                    <a:gd name="connsiteY15" fmla="*/ 2795223 h 2872940"/>
                    <a:gd name="connsiteX16" fmla="*/ 1674661 w 4839769"/>
                    <a:gd name="connsiteY16" fmla="*/ 2801573 h 2872940"/>
                    <a:gd name="connsiteX17" fmla="*/ 1623861 w 4839769"/>
                    <a:gd name="connsiteY17" fmla="*/ 2807923 h 2872940"/>
                    <a:gd name="connsiteX18" fmla="*/ 1547661 w 4839769"/>
                    <a:gd name="connsiteY18" fmla="*/ 2814273 h 2872940"/>
                    <a:gd name="connsiteX19" fmla="*/ 61761 w 4839769"/>
                    <a:gd name="connsiteY19" fmla="*/ 2814273 h 2872940"/>
                    <a:gd name="connsiteX20" fmla="*/ 55411 w 4839769"/>
                    <a:gd name="connsiteY20" fmla="*/ 2795223 h 2872940"/>
                    <a:gd name="connsiteX21" fmla="*/ 49061 w 4839769"/>
                    <a:gd name="connsiteY21" fmla="*/ 2763473 h 2872940"/>
                    <a:gd name="connsiteX22" fmla="*/ 36361 w 4839769"/>
                    <a:gd name="connsiteY22" fmla="*/ 2623773 h 2872940"/>
                    <a:gd name="connsiteX23" fmla="*/ 23661 w 4839769"/>
                    <a:gd name="connsiteY23" fmla="*/ 2553923 h 2872940"/>
                    <a:gd name="connsiteX24" fmla="*/ 17311 w 4839769"/>
                    <a:gd name="connsiteY24" fmla="*/ 1258523 h 2872940"/>
                    <a:gd name="connsiteX25" fmla="*/ 23661 w 4839769"/>
                    <a:gd name="connsiteY25" fmla="*/ 1068023 h 2872940"/>
                    <a:gd name="connsiteX26" fmla="*/ 30011 w 4839769"/>
                    <a:gd name="connsiteY26" fmla="*/ 39323 h 2872940"/>
                    <a:gd name="connsiteX27" fmla="*/ 30011 w 4839769"/>
                    <a:gd name="connsiteY27" fmla="*/ 7573 h 2872940"/>
                    <a:gd name="connsiteX0" fmla="*/ 30011 w 4839769"/>
                    <a:gd name="connsiteY0" fmla="*/ 7573 h 2872940"/>
                    <a:gd name="connsiteX1" fmla="*/ 436411 w 4839769"/>
                    <a:gd name="connsiteY1" fmla="*/ 1223 h 2872940"/>
                    <a:gd name="connsiteX2" fmla="*/ 811061 w 4839769"/>
                    <a:gd name="connsiteY2" fmla="*/ 1223 h 2872940"/>
                    <a:gd name="connsiteX3" fmla="*/ 1706411 w 4839769"/>
                    <a:gd name="connsiteY3" fmla="*/ 13923 h 2872940"/>
                    <a:gd name="connsiteX4" fmla="*/ 2258861 w 4839769"/>
                    <a:gd name="connsiteY4" fmla="*/ 26623 h 2872940"/>
                    <a:gd name="connsiteX5" fmla="*/ 4563911 w 4839769"/>
                    <a:gd name="connsiteY5" fmla="*/ 13923 h 2872940"/>
                    <a:gd name="connsiteX6" fmla="*/ 4811561 w 4839769"/>
                    <a:gd name="connsiteY6" fmla="*/ 528273 h 2872940"/>
                    <a:gd name="connsiteX7" fmla="*/ 4786161 w 4839769"/>
                    <a:gd name="connsiteY7" fmla="*/ 1683973 h 2872940"/>
                    <a:gd name="connsiteX8" fmla="*/ 4824261 w 4839769"/>
                    <a:gd name="connsiteY8" fmla="*/ 2465023 h 2872940"/>
                    <a:gd name="connsiteX9" fmla="*/ 4836961 w 4839769"/>
                    <a:gd name="connsiteY9" fmla="*/ 2687273 h 2872940"/>
                    <a:gd name="connsiteX10" fmla="*/ 4817911 w 4839769"/>
                    <a:gd name="connsiteY10" fmla="*/ 2814273 h 2872940"/>
                    <a:gd name="connsiteX11" fmla="*/ 4633761 w 4839769"/>
                    <a:gd name="connsiteY11" fmla="*/ 2820623 h 2872940"/>
                    <a:gd name="connsiteX12" fmla="*/ 2900211 w 4839769"/>
                    <a:gd name="connsiteY12" fmla="*/ 2814273 h 2872940"/>
                    <a:gd name="connsiteX13" fmla="*/ 2836711 w 4839769"/>
                    <a:gd name="connsiteY13" fmla="*/ 2807923 h 2872940"/>
                    <a:gd name="connsiteX14" fmla="*/ 2601761 w 4839769"/>
                    <a:gd name="connsiteY14" fmla="*/ 2795223 h 2872940"/>
                    <a:gd name="connsiteX15" fmla="*/ 1674661 w 4839769"/>
                    <a:gd name="connsiteY15" fmla="*/ 2801573 h 2872940"/>
                    <a:gd name="connsiteX16" fmla="*/ 1623861 w 4839769"/>
                    <a:gd name="connsiteY16" fmla="*/ 2807923 h 2872940"/>
                    <a:gd name="connsiteX17" fmla="*/ 1547661 w 4839769"/>
                    <a:gd name="connsiteY17" fmla="*/ 2814273 h 2872940"/>
                    <a:gd name="connsiteX18" fmla="*/ 61761 w 4839769"/>
                    <a:gd name="connsiteY18" fmla="*/ 2814273 h 2872940"/>
                    <a:gd name="connsiteX19" fmla="*/ 55411 w 4839769"/>
                    <a:gd name="connsiteY19" fmla="*/ 2795223 h 2872940"/>
                    <a:gd name="connsiteX20" fmla="*/ 49061 w 4839769"/>
                    <a:gd name="connsiteY20" fmla="*/ 2763473 h 2872940"/>
                    <a:gd name="connsiteX21" fmla="*/ 36361 w 4839769"/>
                    <a:gd name="connsiteY21" fmla="*/ 2623773 h 2872940"/>
                    <a:gd name="connsiteX22" fmla="*/ 23661 w 4839769"/>
                    <a:gd name="connsiteY22" fmla="*/ 2553923 h 2872940"/>
                    <a:gd name="connsiteX23" fmla="*/ 17311 w 4839769"/>
                    <a:gd name="connsiteY23" fmla="*/ 1258523 h 2872940"/>
                    <a:gd name="connsiteX24" fmla="*/ 23661 w 4839769"/>
                    <a:gd name="connsiteY24" fmla="*/ 1068023 h 2872940"/>
                    <a:gd name="connsiteX25" fmla="*/ 30011 w 4839769"/>
                    <a:gd name="connsiteY25" fmla="*/ 39323 h 2872940"/>
                    <a:gd name="connsiteX26" fmla="*/ 30011 w 4839769"/>
                    <a:gd name="connsiteY26" fmla="*/ 7573 h 2872940"/>
                    <a:gd name="connsiteX0" fmla="*/ 30011 w 4839769"/>
                    <a:gd name="connsiteY0" fmla="*/ 7573 h 2872940"/>
                    <a:gd name="connsiteX1" fmla="*/ 436411 w 4839769"/>
                    <a:gd name="connsiteY1" fmla="*/ 1223 h 2872940"/>
                    <a:gd name="connsiteX2" fmla="*/ 811061 w 4839769"/>
                    <a:gd name="connsiteY2" fmla="*/ 1223 h 2872940"/>
                    <a:gd name="connsiteX3" fmla="*/ 1706411 w 4839769"/>
                    <a:gd name="connsiteY3" fmla="*/ 13923 h 2872940"/>
                    <a:gd name="connsiteX4" fmla="*/ 2258861 w 4839769"/>
                    <a:gd name="connsiteY4" fmla="*/ 26623 h 2872940"/>
                    <a:gd name="connsiteX5" fmla="*/ 4563911 w 4839769"/>
                    <a:gd name="connsiteY5" fmla="*/ 13923 h 2872940"/>
                    <a:gd name="connsiteX6" fmla="*/ 4811561 w 4839769"/>
                    <a:gd name="connsiteY6" fmla="*/ 528273 h 2872940"/>
                    <a:gd name="connsiteX7" fmla="*/ 4786161 w 4839769"/>
                    <a:gd name="connsiteY7" fmla="*/ 1683973 h 2872940"/>
                    <a:gd name="connsiteX8" fmla="*/ 4824261 w 4839769"/>
                    <a:gd name="connsiteY8" fmla="*/ 2465023 h 2872940"/>
                    <a:gd name="connsiteX9" fmla="*/ 4836961 w 4839769"/>
                    <a:gd name="connsiteY9" fmla="*/ 2687273 h 2872940"/>
                    <a:gd name="connsiteX10" fmla="*/ 4817911 w 4839769"/>
                    <a:gd name="connsiteY10" fmla="*/ 2814273 h 2872940"/>
                    <a:gd name="connsiteX11" fmla="*/ 4633761 w 4839769"/>
                    <a:gd name="connsiteY11" fmla="*/ 2820623 h 2872940"/>
                    <a:gd name="connsiteX12" fmla="*/ 2900211 w 4839769"/>
                    <a:gd name="connsiteY12" fmla="*/ 2814273 h 2872940"/>
                    <a:gd name="connsiteX13" fmla="*/ 2836711 w 4839769"/>
                    <a:gd name="connsiteY13" fmla="*/ 2807923 h 2872940"/>
                    <a:gd name="connsiteX14" fmla="*/ 1674661 w 4839769"/>
                    <a:gd name="connsiteY14" fmla="*/ 2801573 h 2872940"/>
                    <a:gd name="connsiteX15" fmla="*/ 1623861 w 4839769"/>
                    <a:gd name="connsiteY15" fmla="*/ 2807923 h 2872940"/>
                    <a:gd name="connsiteX16" fmla="*/ 1547661 w 4839769"/>
                    <a:gd name="connsiteY16" fmla="*/ 2814273 h 2872940"/>
                    <a:gd name="connsiteX17" fmla="*/ 61761 w 4839769"/>
                    <a:gd name="connsiteY17" fmla="*/ 2814273 h 2872940"/>
                    <a:gd name="connsiteX18" fmla="*/ 55411 w 4839769"/>
                    <a:gd name="connsiteY18" fmla="*/ 2795223 h 2872940"/>
                    <a:gd name="connsiteX19" fmla="*/ 49061 w 4839769"/>
                    <a:gd name="connsiteY19" fmla="*/ 2763473 h 2872940"/>
                    <a:gd name="connsiteX20" fmla="*/ 36361 w 4839769"/>
                    <a:gd name="connsiteY20" fmla="*/ 2623773 h 2872940"/>
                    <a:gd name="connsiteX21" fmla="*/ 23661 w 4839769"/>
                    <a:gd name="connsiteY21" fmla="*/ 2553923 h 2872940"/>
                    <a:gd name="connsiteX22" fmla="*/ 17311 w 4839769"/>
                    <a:gd name="connsiteY22" fmla="*/ 1258523 h 2872940"/>
                    <a:gd name="connsiteX23" fmla="*/ 23661 w 4839769"/>
                    <a:gd name="connsiteY23" fmla="*/ 1068023 h 2872940"/>
                    <a:gd name="connsiteX24" fmla="*/ 30011 w 4839769"/>
                    <a:gd name="connsiteY24" fmla="*/ 39323 h 2872940"/>
                    <a:gd name="connsiteX25" fmla="*/ 30011 w 4839769"/>
                    <a:gd name="connsiteY25" fmla="*/ 7573 h 2872940"/>
                    <a:gd name="connsiteX0" fmla="*/ 85732 w 4895490"/>
                    <a:gd name="connsiteY0" fmla="*/ 7573 h 2822848"/>
                    <a:gd name="connsiteX1" fmla="*/ 492132 w 4895490"/>
                    <a:gd name="connsiteY1" fmla="*/ 1223 h 2822848"/>
                    <a:gd name="connsiteX2" fmla="*/ 866782 w 4895490"/>
                    <a:gd name="connsiteY2" fmla="*/ 1223 h 2822848"/>
                    <a:gd name="connsiteX3" fmla="*/ 1762132 w 4895490"/>
                    <a:gd name="connsiteY3" fmla="*/ 13923 h 2822848"/>
                    <a:gd name="connsiteX4" fmla="*/ 2314582 w 4895490"/>
                    <a:gd name="connsiteY4" fmla="*/ 26623 h 2822848"/>
                    <a:gd name="connsiteX5" fmla="*/ 4619632 w 4895490"/>
                    <a:gd name="connsiteY5" fmla="*/ 13923 h 2822848"/>
                    <a:gd name="connsiteX6" fmla="*/ 4867282 w 4895490"/>
                    <a:gd name="connsiteY6" fmla="*/ 528273 h 2822848"/>
                    <a:gd name="connsiteX7" fmla="*/ 4841882 w 4895490"/>
                    <a:gd name="connsiteY7" fmla="*/ 1683973 h 2822848"/>
                    <a:gd name="connsiteX8" fmla="*/ 4879982 w 4895490"/>
                    <a:gd name="connsiteY8" fmla="*/ 2465023 h 2822848"/>
                    <a:gd name="connsiteX9" fmla="*/ 4892682 w 4895490"/>
                    <a:gd name="connsiteY9" fmla="*/ 2687273 h 2822848"/>
                    <a:gd name="connsiteX10" fmla="*/ 4873632 w 4895490"/>
                    <a:gd name="connsiteY10" fmla="*/ 2814273 h 2822848"/>
                    <a:gd name="connsiteX11" fmla="*/ 4689482 w 4895490"/>
                    <a:gd name="connsiteY11" fmla="*/ 2820623 h 2822848"/>
                    <a:gd name="connsiteX12" fmla="*/ 2955932 w 4895490"/>
                    <a:gd name="connsiteY12" fmla="*/ 2814273 h 2822848"/>
                    <a:gd name="connsiteX13" fmla="*/ 2892432 w 4895490"/>
                    <a:gd name="connsiteY13" fmla="*/ 2807923 h 2822848"/>
                    <a:gd name="connsiteX14" fmla="*/ 1730382 w 4895490"/>
                    <a:gd name="connsiteY14" fmla="*/ 2801573 h 2822848"/>
                    <a:gd name="connsiteX15" fmla="*/ 1679582 w 4895490"/>
                    <a:gd name="connsiteY15" fmla="*/ 2807923 h 2822848"/>
                    <a:gd name="connsiteX16" fmla="*/ 117482 w 4895490"/>
                    <a:gd name="connsiteY16" fmla="*/ 2814273 h 2822848"/>
                    <a:gd name="connsiteX17" fmla="*/ 111132 w 4895490"/>
                    <a:gd name="connsiteY17" fmla="*/ 2795223 h 2822848"/>
                    <a:gd name="connsiteX18" fmla="*/ 104782 w 4895490"/>
                    <a:gd name="connsiteY18" fmla="*/ 2763473 h 2822848"/>
                    <a:gd name="connsiteX19" fmla="*/ 92082 w 4895490"/>
                    <a:gd name="connsiteY19" fmla="*/ 2623773 h 2822848"/>
                    <a:gd name="connsiteX20" fmla="*/ 79382 w 4895490"/>
                    <a:gd name="connsiteY20" fmla="*/ 2553923 h 2822848"/>
                    <a:gd name="connsiteX21" fmla="*/ 73032 w 4895490"/>
                    <a:gd name="connsiteY21" fmla="*/ 1258523 h 2822848"/>
                    <a:gd name="connsiteX22" fmla="*/ 79382 w 4895490"/>
                    <a:gd name="connsiteY22" fmla="*/ 1068023 h 2822848"/>
                    <a:gd name="connsiteX23" fmla="*/ 85732 w 4895490"/>
                    <a:gd name="connsiteY23" fmla="*/ 39323 h 2822848"/>
                    <a:gd name="connsiteX24" fmla="*/ 85732 w 4895490"/>
                    <a:gd name="connsiteY24" fmla="*/ 7573 h 2822848"/>
                    <a:gd name="connsiteX0" fmla="*/ 89494 w 4899252"/>
                    <a:gd name="connsiteY0" fmla="*/ 7573 h 2822848"/>
                    <a:gd name="connsiteX1" fmla="*/ 495894 w 4899252"/>
                    <a:gd name="connsiteY1" fmla="*/ 1223 h 2822848"/>
                    <a:gd name="connsiteX2" fmla="*/ 870544 w 4899252"/>
                    <a:gd name="connsiteY2" fmla="*/ 1223 h 2822848"/>
                    <a:gd name="connsiteX3" fmla="*/ 1765894 w 4899252"/>
                    <a:gd name="connsiteY3" fmla="*/ 13923 h 2822848"/>
                    <a:gd name="connsiteX4" fmla="*/ 2318344 w 4899252"/>
                    <a:gd name="connsiteY4" fmla="*/ 26623 h 2822848"/>
                    <a:gd name="connsiteX5" fmla="*/ 4623394 w 4899252"/>
                    <a:gd name="connsiteY5" fmla="*/ 13923 h 2822848"/>
                    <a:gd name="connsiteX6" fmla="*/ 4871044 w 4899252"/>
                    <a:gd name="connsiteY6" fmla="*/ 528273 h 2822848"/>
                    <a:gd name="connsiteX7" fmla="*/ 4845644 w 4899252"/>
                    <a:gd name="connsiteY7" fmla="*/ 1683973 h 2822848"/>
                    <a:gd name="connsiteX8" fmla="*/ 4883744 w 4899252"/>
                    <a:gd name="connsiteY8" fmla="*/ 2465023 h 2822848"/>
                    <a:gd name="connsiteX9" fmla="*/ 4896444 w 4899252"/>
                    <a:gd name="connsiteY9" fmla="*/ 2687273 h 2822848"/>
                    <a:gd name="connsiteX10" fmla="*/ 4877394 w 4899252"/>
                    <a:gd name="connsiteY10" fmla="*/ 2814273 h 2822848"/>
                    <a:gd name="connsiteX11" fmla="*/ 4693244 w 4899252"/>
                    <a:gd name="connsiteY11" fmla="*/ 2820623 h 2822848"/>
                    <a:gd name="connsiteX12" fmla="*/ 2959694 w 4899252"/>
                    <a:gd name="connsiteY12" fmla="*/ 2814273 h 2822848"/>
                    <a:gd name="connsiteX13" fmla="*/ 2896194 w 4899252"/>
                    <a:gd name="connsiteY13" fmla="*/ 2807923 h 2822848"/>
                    <a:gd name="connsiteX14" fmla="*/ 1734144 w 4899252"/>
                    <a:gd name="connsiteY14" fmla="*/ 2801573 h 2822848"/>
                    <a:gd name="connsiteX15" fmla="*/ 121244 w 4899252"/>
                    <a:gd name="connsiteY15" fmla="*/ 2814273 h 2822848"/>
                    <a:gd name="connsiteX16" fmla="*/ 114894 w 4899252"/>
                    <a:gd name="connsiteY16" fmla="*/ 2795223 h 2822848"/>
                    <a:gd name="connsiteX17" fmla="*/ 108544 w 4899252"/>
                    <a:gd name="connsiteY17" fmla="*/ 2763473 h 2822848"/>
                    <a:gd name="connsiteX18" fmla="*/ 95844 w 4899252"/>
                    <a:gd name="connsiteY18" fmla="*/ 2623773 h 2822848"/>
                    <a:gd name="connsiteX19" fmla="*/ 83144 w 4899252"/>
                    <a:gd name="connsiteY19" fmla="*/ 2553923 h 2822848"/>
                    <a:gd name="connsiteX20" fmla="*/ 76794 w 4899252"/>
                    <a:gd name="connsiteY20" fmla="*/ 1258523 h 2822848"/>
                    <a:gd name="connsiteX21" fmla="*/ 83144 w 4899252"/>
                    <a:gd name="connsiteY21" fmla="*/ 1068023 h 2822848"/>
                    <a:gd name="connsiteX22" fmla="*/ 89494 w 4899252"/>
                    <a:gd name="connsiteY22" fmla="*/ 39323 h 2822848"/>
                    <a:gd name="connsiteX23" fmla="*/ 89494 w 4899252"/>
                    <a:gd name="connsiteY23" fmla="*/ 7573 h 2822848"/>
                    <a:gd name="connsiteX0" fmla="*/ 91067 w 4900825"/>
                    <a:gd name="connsiteY0" fmla="*/ 7573 h 2822848"/>
                    <a:gd name="connsiteX1" fmla="*/ 497467 w 4900825"/>
                    <a:gd name="connsiteY1" fmla="*/ 1223 h 2822848"/>
                    <a:gd name="connsiteX2" fmla="*/ 872117 w 4900825"/>
                    <a:gd name="connsiteY2" fmla="*/ 1223 h 2822848"/>
                    <a:gd name="connsiteX3" fmla="*/ 1767467 w 4900825"/>
                    <a:gd name="connsiteY3" fmla="*/ 13923 h 2822848"/>
                    <a:gd name="connsiteX4" fmla="*/ 2319917 w 4900825"/>
                    <a:gd name="connsiteY4" fmla="*/ 26623 h 2822848"/>
                    <a:gd name="connsiteX5" fmla="*/ 4624967 w 4900825"/>
                    <a:gd name="connsiteY5" fmla="*/ 13923 h 2822848"/>
                    <a:gd name="connsiteX6" fmla="*/ 4872617 w 4900825"/>
                    <a:gd name="connsiteY6" fmla="*/ 528273 h 2822848"/>
                    <a:gd name="connsiteX7" fmla="*/ 4847217 w 4900825"/>
                    <a:gd name="connsiteY7" fmla="*/ 1683973 h 2822848"/>
                    <a:gd name="connsiteX8" fmla="*/ 4885317 w 4900825"/>
                    <a:gd name="connsiteY8" fmla="*/ 2465023 h 2822848"/>
                    <a:gd name="connsiteX9" fmla="*/ 4898017 w 4900825"/>
                    <a:gd name="connsiteY9" fmla="*/ 2687273 h 2822848"/>
                    <a:gd name="connsiteX10" fmla="*/ 4878967 w 4900825"/>
                    <a:gd name="connsiteY10" fmla="*/ 2814273 h 2822848"/>
                    <a:gd name="connsiteX11" fmla="*/ 4694817 w 4900825"/>
                    <a:gd name="connsiteY11" fmla="*/ 2820623 h 2822848"/>
                    <a:gd name="connsiteX12" fmla="*/ 2961267 w 4900825"/>
                    <a:gd name="connsiteY12" fmla="*/ 2814273 h 2822848"/>
                    <a:gd name="connsiteX13" fmla="*/ 2897767 w 4900825"/>
                    <a:gd name="connsiteY13" fmla="*/ 2807923 h 2822848"/>
                    <a:gd name="connsiteX14" fmla="*/ 1735717 w 4900825"/>
                    <a:gd name="connsiteY14" fmla="*/ 2801573 h 2822848"/>
                    <a:gd name="connsiteX15" fmla="*/ 122817 w 4900825"/>
                    <a:gd name="connsiteY15" fmla="*/ 2814273 h 2822848"/>
                    <a:gd name="connsiteX16" fmla="*/ 110117 w 4900825"/>
                    <a:gd name="connsiteY16" fmla="*/ 2763473 h 2822848"/>
                    <a:gd name="connsiteX17" fmla="*/ 97417 w 4900825"/>
                    <a:gd name="connsiteY17" fmla="*/ 2623773 h 2822848"/>
                    <a:gd name="connsiteX18" fmla="*/ 84717 w 4900825"/>
                    <a:gd name="connsiteY18" fmla="*/ 2553923 h 2822848"/>
                    <a:gd name="connsiteX19" fmla="*/ 78367 w 4900825"/>
                    <a:gd name="connsiteY19" fmla="*/ 1258523 h 2822848"/>
                    <a:gd name="connsiteX20" fmla="*/ 84717 w 4900825"/>
                    <a:gd name="connsiteY20" fmla="*/ 1068023 h 2822848"/>
                    <a:gd name="connsiteX21" fmla="*/ 91067 w 4900825"/>
                    <a:gd name="connsiteY21" fmla="*/ 39323 h 2822848"/>
                    <a:gd name="connsiteX22" fmla="*/ 91067 w 4900825"/>
                    <a:gd name="connsiteY22" fmla="*/ 7573 h 2822848"/>
                    <a:gd name="connsiteX0" fmla="*/ 30012 w 4839770"/>
                    <a:gd name="connsiteY0" fmla="*/ 7573 h 2826973"/>
                    <a:gd name="connsiteX1" fmla="*/ 436412 w 4839770"/>
                    <a:gd name="connsiteY1" fmla="*/ 1223 h 2826973"/>
                    <a:gd name="connsiteX2" fmla="*/ 811062 w 4839770"/>
                    <a:gd name="connsiteY2" fmla="*/ 1223 h 2826973"/>
                    <a:gd name="connsiteX3" fmla="*/ 1706412 w 4839770"/>
                    <a:gd name="connsiteY3" fmla="*/ 13923 h 2826973"/>
                    <a:gd name="connsiteX4" fmla="*/ 2258862 w 4839770"/>
                    <a:gd name="connsiteY4" fmla="*/ 26623 h 2826973"/>
                    <a:gd name="connsiteX5" fmla="*/ 4563912 w 4839770"/>
                    <a:gd name="connsiteY5" fmla="*/ 13923 h 2826973"/>
                    <a:gd name="connsiteX6" fmla="*/ 4811562 w 4839770"/>
                    <a:gd name="connsiteY6" fmla="*/ 528273 h 2826973"/>
                    <a:gd name="connsiteX7" fmla="*/ 4786162 w 4839770"/>
                    <a:gd name="connsiteY7" fmla="*/ 1683973 h 2826973"/>
                    <a:gd name="connsiteX8" fmla="*/ 4824262 w 4839770"/>
                    <a:gd name="connsiteY8" fmla="*/ 2465023 h 2826973"/>
                    <a:gd name="connsiteX9" fmla="*/ 4836962 w 4839770"/>
                    <a:gd name="connsiteY9" fmla="*/ 2687273 h 2826973"/>
                    <a:gd name="connsiteX10" fmla="*/ 4817912 w 4839770"/>
                    <a:gd name="connsiteY10" fmla="*/ 2814273 h 2826973"/>
                    <a:gd name="connsiteX11" fmla="*/ 4633762 w 4839770"/>
                    <a:gd name="connsiteY11" fmla="*/ 2820623 h 2826973"/>
                    <a:gd name="connsiteX12" fmla="*/ 2900212 w 4839770"/>
                    <a:gd name="connsiteY12" fmla="*/ 2814273 h 2826973"/>
                    <a:gd name="connsiteX13" fmla="*/ 2836712 w 4839770"/>
                    <a:gd name="connsiteY13" fmla="*/ 2807923 h 2826973"/>
                    <a:gd name="connsiteX14" fmla="*/ 1674662 w 4839770"/>
                    <a:gd name="connsiteY14" fmla="*/ 2801573 h 2826973"/>
                    <a:gd name="connsiteX15" fmla="*/ 576112 w 4839770"/>
                    <a:gd name="connsiteY15" fmla="*/ 2826973 h 2826973"/>
                    <a:gd name="connsiteX16" fmla="*/ 49062 w 4839770"/>
                    <a:gd name="connsiteY16" fmla="*/ 2763473 h 2826973"/>
                    <a:gd name="connsiteX17" fmla="*/ 36362 w 4839770"/>
                    <a:gd name="connsiteY17" fmla="*/ 2623773 h 2826973"/>
                    <a:gd name="connsiteX18" fmla="*/ 23662 w 4839770"/>
                    <a:gd name="connsiteY18" fmla="*/ 2553923 h 2826973"/>
                    <a:gd name="connsiteX19" fmla="*/ 17312 w 4839770"/>
                    <a:gd name="connsiteY19" fmla="*/ 1258523 h 2826973"/>
                    <a:gd name="connsiteX20" fmla="*/ 23662 w 4839770"/>
                    <a:gd name="connsiteY20" fmla="*/ 1068023 h 2826973"/>
                    <a:gd name="connsiteX21" fmla="*/ 30012 w 4839770"/>
                    <a:gd name="connsiteY21" fmla="*/ 39323 h 2826973"/>
                    <a:gd name="connsiteX22" fmla="*/ 30012 w 4839770"/>
                    <a:gd name="connsiteY22" fmla="*/ 7573 h 2826973"/>
                    <a:gd name="connsiteX0" fmla="*/ 30012 w 4839770"/>
                    <a:gd name="connsiteY0" fmla="*/ 7573 h 2828438"/>
                    <a:gd name="connsiteX1" fmla="*/ 436412 w 4839770"/>
                    <a:gd name="connsiteY1" fmla="*/ 1223 h 2828438"/>
                    <a:gd name="connsiteX2" fmla="*/ 811062 w 4839770"/>
                    <a:gd name="connsiteY2" fmla="*/ 1223 h 2828438"/>
                    <a:gd name="connsiteX3" fmla="*/ 1706412 w 4839770"/>
                    <a:gd name="connsiteY3" fmla="*/ 13923 h 2828438"/>
                    <a:gd name="connsiteX4" fmla="*/ 2258862 w 4839770"/>
                    <a:gd name="connsiteY4" fmla="*/ 26623 h 2828438"/>
                    <a:gd name="connsiteX5" fmla="*/ 4563912 w 4839770"/>
                    <a:gd name="connsiteY5" fmla="*/ 13923 h 2828438"/>
                    <a:gd name="connsiteX6" fmla="*/ 4811562 w 4839770"/>
                    <a:gd name="connsiteY6" fmla="*/ 528273 h 2828438"/>
                    <a:gd name="connsiteX7" fmla="*/ 4786162 w 4839770"/>
                    <a:gd name="connsiteY7" fmla="*/ 1683973 h 2828438"/>
                    <a:gd name="connsiteX8" fmla="*/ 4824262 w 4839770"/>
                    <a:gd name="connsiteY8" fmla="*/ 2465023 h 2828438"/>
                    <a:gd name="connsiteX9" fmla="*/ 4836962 w 4839770"/>
                    <a:gd name="connsiteY9" fmla="*/ 2687273 h 2828438"/>
                    <a:gd name="connsiteX10" fmla="*/ 4817912 w 4839770"/>
                    <a:gd name="connsiteY10" fmla="*/ 2814273 h 2828438"/>
                    <a:gd name="connsiteX11" fmla="*/ 4633762 w 4839770"/>
                    <a:gd name="connsiteY11" fmla="*/ 2820623 h 2828438"/>
                    <a:gd name="connsiteX12" fmla="*/ 2900212 w 4839770"/>
                    <a:gd name="connsiteY12" fmla="*/ 2814273 h 2828438"/>
                    <a:gd name="connsiteX13" fmla="*/ 2836712 w 4839770"/>
                    <a:gd name="connsiteY13" fmla="*/ 2807923 h 2828438"/>
                    <a:gd name="connsiteX14" fmla="*/ 1674662 w 4839770"/>
                    <a:gd name="connsiteY14" fmla="*/ 2801573 h 2828438"/>
                    <a:gd name="connsiteX15" fmla="*/ 576112 w 4839770"/>
                    <a:gd name="connsiteY15" fmla="*/ 2826973 h 2828438"/>
                    <a:gd name="connsiteX16" fmla="*/ 49062 w 4839770"/>
                    <a:gd name="connsiteY16" fmla="*/ 2763473 h 2828438"/>
                    <a:gd name="connsiteX17" fmla="*/ 36362 w 4839770"/>
                    <a:gd name="connsiteY17" fmla="*/ 2623773 h 2828438"/>
                    <a:gd name="connsiteX18" fmla="*/ 23662 w 4839770"/>
                    <a:gd name="connsiteY18" fmla="*/ 2553923 h 2828438"/>
                    <a:gd name="connsiteX19" fmla="*/ 17312 w 4839770"/>
                    <a:gd name="connsiteY19" fmla="*/ 1258523 h 2828438"/>
                    <a:gd name="connsiteX20" fmla="*/ 23662 w 4839770"/>
                    <a:gd name="connsiteY20" fmla="*/ 1068023 h 2828438"/>
                    <a:gd name="connsiteX21" fmla="*/ 30012 w 4839770"/>
                    <a:gd name="connsiteY21" fmla="*/ 39323 h 2828438"/>
                    <a:gd name="connsiteX22" fmla="*/ 30012 w 4839770"/>
                    <a:gd name="connsiteY22" fmla="*/ 7573 h 2828438"/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36362 w 4839770"/>
                    <a:gd name="connsiteY17" fmla="*/ 2623773 h 2829294"/>
                    <a:gd name="connsiteX18" fmla="*/ 23662 w 4839770"/>
                    <a:gd name="connsiteY18" fmla="*/ 2553923 h 2829294"/>
                    <a:gd name="connsiteX19" fmla="*/ 17312 w 4839770"/>
                    <a:gd name="connsiteY19" fmla="*/ 1258523 h 2829294"/>
                    <a:gd name="connsiteX20" fmla="*/ 23662 w 4839770"/>
                    <a:gd name="connsiteY20" fmla="*/ 1068023 h 2829294"/>
                    <a:gd name="connsiteX21" fmla="*/ 30012 w 4839770"/>
                    <a:gd name="connsiteY21" fmla="*/ 39323 h 2829294"/>
                    <a:gd name="connsiteX22" fmla="*/ 30012 w 4839770"/>
                    <a:gd name="connsiteY22" fmla="*/ 7573 h 2829294"/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17312 w 4839770"/>
                    <a:gd name="connsiteY18" fmla="*/ 1258523 h 2829294"/>
                    <a:gd name="connsiteX19" fmla="*/ 23662 w 4839770"/>
                    <a:gd name="connsiteY19" fmla="*/ 1068023 h 2829294"/>
                    <a:gd name="connsiteX20" fmla="*/ 30012 w 4839770"/>
                    <a:gd name="connsiteY20" fmla="*/ 39323 h 2829294"/>
                    <a:gd name="connsiteX21" fmla="*/ 30012 w 4839770"/>
                    <a:gd name="connsiteY21" fmla="*/ 7573 h 2829294"/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17312 w 4839770"/>
                    <a:gd name="connsiteY18" fmla="*/ 1258523 h 2829294"/>
                    <a:gd name="connsiteX19" fmla="*/ 23662 w 4839770"/>
                    <a:gd name="connsiteY19" fmla="*/ 1068023 h 2829294"/>
                    <a:gd name="connsiteX20" fmla="*/ 30012 w 4839770"/>
                    <a:gd name="connsiteY20" fmla="*/ 39323 h 2829294"/>
                    <a:gd name="connsiteX21" fmla="*/ 30012 w 4839770"/>
                    <a:gd name="connsiteY21" fmla="*/ 7573 h 2829294"/>
                    <a:gd name="connsiteX0" fmla="*/ 30012 w 4839770"/>
                    <a:gd name="connsiteY0" fmla="*/ 7573 h 2829294"/>
                    <a:gd name="connsiteX1" fmla="*/ 436412 w 4839770"/>
                    <a:gd name="connsiteY1" fmla="*/ 1223 h 2829294"/>
                    <a:gd name="connsiteX2" fmla="*/ 811062 w 4839770"/>
                    <a:gd name="connsiteY2" fmla="*/ 1223 h 2829294"/>
                    <a:gd name="connsiteX3" fmla="*/ 1706412 w 4839770"/>
                    <a:gd name="connsiteY3" fmla="*/ 13923 h 2829294"/>
                    <a:gd name="connsiteX4" fmla="*/ 2258862 w 4839770"/>
                    <a:gd name="connsiteY4" fmla="*/ 26623 h 2829294"/>
                    <a:gd name="connsiteX5" fmla="*/ 4563912 w 4839770"/>
                    <a:gd name="connsiteY5" fmla="*/ 13923 h 2829294"/>
                    <a:gd name="connsiteX6" fmla="*/ 4811562 w 4839770"/>
                    <a:gd name="connsiteY6" fmla="*/ 528273 h 2829294"/>
                    <a:gd name="connsiteX7" fmla="*/ 4786162 w 4839770"/>
                    <a:gd name="connsiteY7" fmla="*/ 1683973 h 2829294"/>
                    <a:gd name="connsiteX8" fmla="*/ 4824262 w 4839770"/>
                    <a:gd name="connsiteY8" fmla="*/ 2465023 h 2829294"/>
                    <a:gd name="connsiteX9" fmla="*/ 4836962 w 4839770"/>
                    <a:gd name="connsiteY9" fmla="*/ 2687273 h 2829294"/>
                    <a:gd name="connsiteX10" fmla="*/ 4817912 w 4839770"/>
                    <a:gd name="connsiteY10" fmla="*/ 2814273 h 2829294"/>
                    <a:gd name="connsiteX11" fmla="*/ 4633762 w 4839770"/>
                    <a:gd name="connsiteY11" fmla="*/ 2820623 h 2829294"/>
                    <a:gd name="connsiteX12" fmla="*/ 2900212 w 4839770"/>
                    <a:gd name="connsiteY12" fmla="*/ 2814273 h 2829294"/>
                    <a:gd name="connsiteX13" fmla="*/ 2836712 w 4839770"/>
                    <a:gd name="connsiteY13" fmla="*/ 2807923 h 2829294"/>
                    <a:gd name="connsiteX14" fmla="*/ 1674662 w 4839770"/>
                    <a:gd name="connsiteY14" fmla="*/ 2801573 h 2829294"/>
                    <a:gd name="connsiteX15" fmla="*/ 576112 w 4839770"/>
                    <a:gd name="connsiteY15" fmla="*/ 2826973 h 2829294"/>
                    <a:gd name="connsiteX16" fmla="*/ 49062 w 4839770"/>
                    <a:gd name="connsiteY16" fmla="*/ 2763473 h 2829294"/>
                    <a:gd name="connsiteX17" fmla="*/ 23662 w 4839770"/>
                    <a:gd name="connsiteY17" fmla="*/ 2553923 h 2829294"/>
                    <a:gd name="connsiteX18" fmla="*/ 23662 w 4839770"/>
                    <a:gd name="connsiteY18" fmla="*/ 1068023 h 2829294"/>
                    <a:gd name="connsiteX19" fmla="*/ 30012 w 4839770"/>
                    <a:gd name="connsiteY19" fmla="*/ 39323 h 2829294"/>
                    <a:gd name="connsiteX20" fmla="*/ 30012 w 4839770"/>
                    <a:gd name="connsiteY20" fmla="*/ 7573 h 28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</a:cxnLst>
                  <a:rect l="l" t="t" r="r" b="b"/>
                  <a:pathLst>
                    <a:path w="4839770" h="2829294">
                      <a:moveTo>
                        <a:pt x="30012" y="7573"/>
                      </a:moveTo>
                      <a:cubicBezTo>
                        <a:pt x="97745" y="1223"/>
                        <a:pt x="306237" y="2281"/>
                        <a:pt x="436412" y="1223"/>
                      </a:cubicBezTo>
                      <a:cubicBezTo>
                        <a:pt x="566587" y="165"/>
                        <a:pt x="599395" y="-894"/>
                        <a:pt x="811062" y="1223"/>
                      </a:cubicBezTo>
                      <a:lnTo>
                        <a:pt x="1706412" y="13923"/>
                      </a:lnTo>
                      <a:lnTo>
                        <a:pt x="2258862" y="26623"/>
                      </a:lnTo>
                      <a:lnTo>
                        <a:pt x="4563912" y="13923"/>
                      </a:lnTo>
                      <a:cubicBezTo>
                        <a:pt x="4977720" y="-44285"/>
                        <a:pt x="4774520" y="249931"/>
                        <a:pt x="4811562" y="528273"/>
                      </a:cubicBezTo>
                      <a:cubicBezTo>
                        <a:pt x="4848604" y="806615"/>
                        <a:pt x="4784045" y="1361181"/>
                        <a:pt x="4786162" y="1683973"/>
                      </a:cubicBezTo>
                      <a:cubicBezTo>
                        <a:pt x="4788279" y="2006765"/>
                        <a:pt x="4815795" y="2297806"/>
                        <a:pt x="4824262" y="2465023"/>
                      </a:cubicBezTo>
                      <a:cubicBezTo>
                        <a:pt x="4832729" y="2632240"/>
                        <a:pt x="4838020" y="2629065"/>
                        <a:pt x="4836962" y="2687273"/>
                      </a:cubicBezTo>
                      <a:cubicBezTo>
                        <a:pt x="4835904" y="2745481"/>
                        <a:pt x="4851779" y="2792048"/>
                        <a:pt x="4817912" y="2814273"/>
                      </a:cubicBezTo>
                      <a:cubicBezTo>
                        <a:pt x="4784045" y="2836498"/>
                        <a:pt x="4668687" y="2806865"/>
                        <a:pt x="4633762" y="2820623"/>
                      </a:cubicBezTo>
                      <a:lnTo>
                        <a:pt x="2900212" y="2814273"/>
                      </a:lnTo>
                      <a:lnTo>
                        <a:pt x="2836712" y="2807923"/>
                      </a:lnTo>
                      <a:lnTo>
                        <a:pt x="1674662" y="2801573"/>
                      </a:lnTo>
                      <a:cubicBezTo>
                        <a:pt x="1308479" y="2810040"/>
                        <a:pt x="986762" y="2809256"/>
                        <a:pt x="576112" y="2826973"/>
                      </a:cubicBezTo>
                      <a:cubicBezTo>
                        <a:pt x="273644" y="2840023"/>
                        <a:pt x="53295" y="2795223"/>
                        <a:pt x="49062" y="2763473"/>
                      </a:cubicBezTo>
                      <a:cubicBezTo>
                        <a:pt x="7787" y="2654465"/>
                        <a:pt x="28954" y="2804748"/>
                        <a:pt x="23662" y="2553923"/>
                      </a:cubicBezTo>
                      <a:cubicBezTo>
                        <a:pt x="19429" y="2271348"/>
                        <a:pt x="22604" y="1487123"/>
                        <a:pt x="23662" y="1068023"/>
                      </a:cubicBezTo>
                      <a:cubicBezTo>
                        <a:pt x="27234" y="725135"/>
                        <a:pt x="17475" y="382000"/>
                        <a:pt x="30012" y="39323"/>
                      </a:cubicBezTo>
                      <a:cubicBezTo>
                        <a:pt x="30429" y="27932"/>
                        <a:pt x="-37721" y="13923"/>
                        <a:pt x="30012" y="757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</p:grpSp>
          <p:grpSp>
            <p:nvGrpSpPr>
              <p:cNvPr id="83" name="Group 82">
                <a:extLst>
                  <a:ext uri="{FF2B5EF4-FFF2-40B4-BE49-F238E27FC236}">
                    <a16:creationId xmlns:a16="http://schemas.microsoft.com/office/drawing/2014/main" id="{DDD3DD3F-4F4A-C5CB-6F9C-F56C5EA9DB9F}"/>
                  </a:ext>
                </a:extLst>
              </p:cNvPr>
              <p:cNvGrpSpPr/>
              <p:nvPr/>
            </p:nvGrpSpPr>
            <p:grpSpPr>
              <a:xfrm>
                <a:off x="881067" y="2870203"/>
                <a:ext cx="1613973" cy="2143013"/>
                <a:chOff x="7815263" y="2204990"/>
                <a:chExt cx="1643062" cy="2181634"/>
              </a:xfrm>
            </p:grpSpPr>
            <p:sp>
              <p:nvSpPr>
                <p:cNvPr id="87" name="Freeform: Shape 86">
                  <a:extLst>
                    <a:ext uri="{FF2B5EF4-FFF2-40B4-BE49-F238E27FC236}">
                      <a16:creationId xmlns:a16="http://schemas.microsoft.com/office/drawing/2014/main" id="{9349037A-0851-9DDA-8DBB-00D9F33BA019}"/>
                    </a:ext>
                  </a:extLst>
                </p:cNvPr>
                <p:cNvSpPr/>
                <p:nvPr/>
              </p:nvSpPr>
              <p:spPr>
                <a:xfrm>
                  <a:off x="8162926" y="2204990"/>
                  <a:ext cx="857248" cy="177599"/>
                </a:xfrm>
                <a:custGeom>
                  <a:avLst/>
                  <a:gdLst>
                    <a:gd name="connsiteX0" fmla="*/ 0 w 862013"/>
                    <a:gd name="connsiteY0" fmla="*/ 196076 h 235187"/>
                    <a:gd name="connsiteX1" fmla="*/ 304800 w 862013"/>
                    <a:gd name="connsiteY1" fmla="*/ 205601 h 235187"/>
                    <a:gd name="connsiteX2" fmla="*/ 323850 w 862013"/>
                    <a:gd name="connsiteY2" fmla="*/ 210364 h 235187"/>
                    <a:gd name="connsiteX3" fmla="*/ 385763 w 862013"/>
                    <a:gd name="connsiteY3" fmla="*/ 215126 h 235187"/>
                    <a:gd name="connsiteX4" fmla="*/ 852488 w 862013"/>
                    <a:gd name="connsiteY4" fmla="*/ 215126 h 235187"/>
                    <a:gd name="connsiteX5" fmla="*/ 862013 w 862013"/>
                    <a:gd name="connsiteY5" fmla="*/ 196076 h 235187"/>
                    <a:gd name="connsiteX6" fmla="*/ 842963 w 862013"/>
                    <a:gd name="connsiteY6" fmla="*/ 143689 h 235187"/>
                    <a:gd name="connsiteX7" fmla="*/ 838200 w 862013"/>
                    <a:gd name="connsiteY7" fmla="*/ 67489 h 235187"/>
                    <a:gd name="connsiteX8" fmla="*/ 833438 w 862013"/>
                    <a:gd name="connsiteY8" fmla="*/ 38914 h 235187"/>
                    <a:gd name="connsiteX9" fmla="*/ 800100 w 862013"/>
                    <a:gd name="connsiteY9" fmla="*/ 34151 h 235187"/>
                    <a:gd name="connsiteX10" fmla="*/ 747713 w 862013"/>
                    <a:gd name="connsiteY10" fmla="*/ 24626 h 235187"/>
                    <a:gd name="connsiteX11" fmla="*/ 547688 w 862013"/>
                    <a:gd name="connsiteY11" fmla="*/ 19864 h 235187"/>
                    <a:gd name="connsiteX12" fmla="*/ 33338 w 862013"/>
                    <a:gd name="connsiteY12" fmla="*/ 19864 h 235187"/>
                    <a:gd name="connsiteX13" fmla="*/ 9525 w 862013"/>
                    <a:gd name="connsiteY13" fmla="*/ 67489 h 235187"/>
                    <a:gd name="connsiteX14" fmla="*/ 14288 w 862013"/>
                    <a:gd name="connsiteY14" fmla="*/ 105589 h 235187"/>
                    <a:gd name="connsiteX15" fmla="*/ 23813 w 862013"/>
                    <a:gd name="connsiteY15" fmla="*/ 162739 h 235187"/>
                    <a:gd name="connsiteX16" fmla="*/ 0 w 862013"/>
                    <a:gd name="connsiteY16" fmla="*/ 196076 h 235187"/>
                    <a:gd name="connsiteX0" fmla="*/ 0 w 862013"/>
                    <a:gd name="connsiteY0" fmla="*/ 196076 h 235187"/>
                    <a:gd name="connsiteX1" fmla="*/ 304800 w 862013"/>
                    <a:gd name="connsiteY1" fmla="*/ 205601 h 235187"/>
                    <a:gd name="connsiteX2" fmla="*/ 323850 w 862013"/>
                    <a:gd name="connsiteY2" fmla="*/ 210364 h 235187"/>
                    <a:gd name="connsiteX3" fmla="*/ 385763 w 862013"/>
                    <a:gd name="connsiteY3" fmla="*/ 215126 h 235187"/>
                    <a:gd name="connsiteX4" fmla="*/ 852488 w 862013"/>
                    <a:gd name="connsiteY4" fmla="*/ 215126 h 235187"/>
                    <a:gd name="connsiteX5" fmla="*/ 862013 w 862013"/>
                    <a:gd name="connsiteY5" fmla="*/ 196076 h 235187"/>
                    <a:gd name="connsiteX6" fmla="*/ 842963 w 862013"/>
                    <a:gd name="connsiteY6" fmla="*/ 143689 h 235187"/>
                    <a:gd name="connsiteX7" fmla="*/ 838200 w 862013"/>
                    <a:gd name="connsiteY7" fmla="*/ 67489 h 235187"/>
                    <a:gd name="connsiteX8" fmla="*/ 833438 w 862013"/>
                    <a:gd name="connsiteY8" fmla="*/ 38914 h 235187"/>
                    <a:gd name="connsiteX9" fmla="*/ 747713 w 862013"/>
                    <a:gd name="connsiteY9" fmla="*/ 24626 h 235187"/>
                    <a:gd name="connsiteX10" fmla="*/ 547688 w 862013"/>
                    <a:gd name="connsiteY10" fmla="*/ 19864 h 235187"/>
                    <a:gd name="connsiteX11" fmla="*/ 33338 w 862013"/>
                    <a:gd name="connsiteY11" fmla="*/ 19864 h 235187"/>
                    <a:gd name="connsiteX12" fmla="*/ 9525 w 862013"/>
                    <a:gd name="connsiteY12" fmla="*/ 67489 h 235187"/>
                    <a:gd name="connsiteX13" fmla="*/ 14288 w 862013"/>
                    <a:gd name="connsiteY13" fmla="*/ 105589 h 235187"/>
                    <a:gd name="connsiteX14" fmla="*/ 23813 w 862013"/>
                    <a:gd name="connsiteY14" fmla="*/ 162739 h 235187"/>
                    <a:gd name="connsiteX15" fmla="*/ 0 w 862013"/>
                    <a:gd name="connsiteY15" fmla="*/ 196076 h 235187"/>
                    <a:gd name="connsiteX0" fmla="*/ 27850 w 889863"/>
                    <a:gd name="connsiteY0" fmla="*/ 178950 h 218061"/>
                    <a:gd name="connsiteX1" fmla="*/ 332650 w 889863"/>
                    <a:gd name="connsiteY1" fmla="*/ 188475 h 218061"/>
                    <a:gd name="connsiteX2" fmla="*/ 351700 w 889863"/>
                    <a:gd name="connsiteY2" fmla="*/ 193238 h 218061"/>
                    <a:gd name="connsiteX3" fmla="*/ 413613 w 889863"/>
                    <a:gd name="connsiteY3" fmla="*/ 198000 h 218061"/>
                    <a:gd name="connsiteX4" fmla="*/ 880338 w 889863"/>
                    <a:gd name="connsiteY4" fmla="*/ 198000 h 218061"/>
                    <a:gd name="connsiteX5" fmla="*/ 889863 w 889863"/>
                    <a:gd name="connsiteY5" fmla="*/ 178950 h 218061"/>
                    <a:gd name="connsiteX6" fmla="*/ 870813 w 889863"/>
                    <a:gd name="connsiteY6" fmla="*/ 126563 h 218061"/>
                    <a:gd name="connsiteX7" fmla="*/ 866050 w 889863"/>
                    <a:gd name="connsiteY7" fmla="*/ 50363 h 218061"/>
                    <a:gd name="connsiteX8" fmla="*/ 861288 w 889863"/>
                    <a:gd name="connsiteY8" fmla="*/ 21788 h 218061"/>
                    <a:gd name="connsiteX9" fmla="*/ 775563 w 889863"/>
                    <a:gd name="connsiteY9" fmla="*/ 7500 h 218061"/>
                    <a:gd name="connsiteX10" fmla="*/ 61188 w 889863"/>
                    <a:gd name="connsiteY10" fmla="*/ 2738 h 218061"/>
                    <a:gd name="connsiteX11" fmla="*/ 37375 w 889863"/>
                    <a:gd name="connsiteY11" fmla="*/ 50363 h 218061"/>
                    <a:gd name="connsiteX12" fmla="*/ 42138 w 889863"/>
                    <a:gd name="connsiteY12" fmla="*/ 88463 h 218061"/>
                    <a:gd name="connsiteX13" fmla="*/ 51663 w 889863"/>
                    <a:gd name="connsiteY13" fmla="*/ 145613 h 218061"/>
                    <a:gd name="connsiteX14" fmla="*/ 27850 w 889863"/>
                    <a:gd name="connsiteY14" fmla="*/ 178950 h 218061"/>
                    <a:gd name="connsiteX0" fmla="*/ 27850 w 889863"/>
                    <a:gd name="connsiteY0" fmla="*/ 178950 h 218061"/>
                    <a:gd name="connsiteX1" fmla="*/ 332650 w 889863"/>
                    <a:gd name="connsiteY1" fmla="*/ 188475 h 218061"/>
                    <a:gd name="connsiteX2" fmla="*/ 351700 w 889863"/>
                    <a:gd name="connsiteY2" fmla="*/ 193238 h 218061"/>
                    <a:gd name="connsiteX3" fmla="*/ 413613 w 889863"/>
                    <a:gd name="connsiteY3" fmla="*/ 198000 h 218061"/>
                    <a:gd name="connsiteX4" fmla="*/ 880338 w 889863"/>
                    <a:gd name="connsiteY4" fmla="*/ 198000 h 218061"/>
                    <a:gd name="connsiteX5" fmla="*/ 889863 w 889863"/>
                    <a:gd name="connsiteY5" fmla="*/ 178950 h 218061"/>
                    <a:gd name="connsiteX6" fmla="*/ 870813 w 889863"/>
                    <a:gd name="connsiteY6" fmla="*/ 126563 h 218061"/>
                    <a:gd name="connsiteX7" fmla="*/ 866050 w 889863"/>
                    <a:gd name="connsiteY7" fmla="*/ 50363 h 218061"/>
                    <a:gd name="connsiteX8" fmla="*/ 861288 w 889863"/>
                    <a:gd name="connsiteY8" fmla="*/ 21788 h 218061"/>
                    <a:gd name="connsiteX9" fmla="*/ 775563 w 889863"/>
                    <a:gd name="connsiteY9" fmla="*/ 7500 h 218061"/>
                    <a:gd name="connsiteX10" fmla="*/ 61188 w 889863"/>
                    <a:gd name="connsiteY10" fmla="*/ 2738 h 218061"/>
                    <a:gd name="connsiteX11" fmla="*/ 37375 w 889863"/>
                    <a:gd name="connsiteY11" fmla="*/ 50363 h 218061"/>
                    <a:gd name="connsiteX12" fmla="*/ 51663 w 889863"/>
                    <a:gd name="connsiteY12" fmla="*/ 145613 h 218061"/>
                    <a:gd name="connsiteX13" fmla="*/ 27850 w 889863"/>
                    <a:gd name="connsiteY13" fmla="*/ 178950 h 218061"/>
                    <a:gd name="connsiteX0" fmla="*/ 27850 w 889863"/>
                    <a:gd name="connsiteY0" fmla="*/ 178950 h 218061"/>
                    <a:gd name="connsiteX1" fmla="*/ 351700 w 889863"/>
                    <a:gd name="connsiteY1" fmla="*/ 193238 h 218061"/>
                    <a:gd name="connsiteX2" fmla="*/ 413613 w 889863"/>
                    <a:gd name="connsiteY2" fmla="*/ 198000 h 218061"/>
                    <a:gd name="connsiteX3" fmla="*/ 880338 w 889863"/>
                    <a:gd name="connsiteY3" fmla="*/ 198000 h 218061"/>
                    <a:gd name="connsiteX4" fmla="*/ 889863 w 889863"/>
                    <a:gd name="connsiteY4" fmla="*/ 178950 h 218061"/>
                    <a:gd name="connsiteX5" fmla="*/ 870813 w 889863"/>
                    <a:gd name="connsiteY5" fmla="*/ 126563 h 218061"/>
                    <a:gd name="connsiteX6" fmla="*/ 866050 w 889863"/>
                    <a:gd name="connsiteY6" fmla="*/ 50363 h 218061"/>
                    <a:gd name="connsiteX7" fmla="*/ 861288 w 889863"/>
                    <a:gd name="connsiteY7" fmla="*/ 21788 h 218061"/>
                    <a:gd name="connsiteX8" fmla="*/ 775563 w 889863"/>
                    <a:gd name="connsiteY8" fmla="*/ 7500 h 218061"/>
                    <a:gd name="connsiteX9" fmla="*/ 61188 w 889863"/>
                    <a:gd name="connsiteY9" fmla="*/ 2738 h 218061"/>
                    <a:gd name="connsiteX10" fmla="*/ 37375 w 889863"/>
                    <a:gd name="connsiteY10" fmla="*/ 50363 h 218061"/>
                    <a:gd name="connsiteX11" fmla="*/ 51663 w 889863"/>
                    <a:gd name="connsiteY11" fmla="*/ 145613 h 218061"/>
                    <a:gd name="connsiteX12" fmla="*/ 27850 w 889863"/>
                    <a:gd name="connsiteY12" fmla="*/ 178950 h 218061"/>
                    <a:gd name="connsiteX0" fmla="*/ 27850 w 889863"/>
                    <a:gd name="connsiteY0" fmla="*/ 178950 h 218061"/>
                    <a:gd name="connsiteX1" fmla="*/ 413613 w 889863"/>
                    <a:gd name="connsiteY1" fmla="*/ 198000 h 218061"/>
                    <a:gd name="connsiteX2" fmla="*/ 880338 w 889863"/>
                    <a:gd name="connsiteY2" fmla="*/ 198000 h 218061"/>
                    <a:gd name="connsiteX3" fmla="*/ 889863 w 889863"/>
                    <a:gd name="connsiteY3" fmla="*/ 178950 h 218061"/>
                    <a:gd name="connsiteX4" fmla="*/ 870813 w 889863"/>
                    <a:gd name="connsiteY4" fmla="*/ 126563 h 218061"/>
                    <a:gd name="connsiteX5" fmla="*/ 866050 w 889863"/>
                    <a:gd name="connsiteY5" fmla="*/ 50363 h 218061"/>
                    <a:gd name="connsiteX6" fmla="*/ 861288 w 889863"/>
                    <a:gd name="connsiteY6" fmla="*/ 21788 h 218061"/>
                    <a:gd name="connsiteX7" fmla="*/ 775563 w 889863"/>
                    <a:gd name="connsiteY7" fmla="*/ 7500 h 218061"/>
                    <a:gd name="connsiteX8" fmla="*/ 61188 w 889863"/>
                    <a:gd name="connsiteY8" fmla="*/ 2738 h 218061"/>
                    <a:gd name="connsiteX9" fmla="*/ 37375 w 889863"/>
                    <a:gd name="connsiteY9" fmla="*/ 50363 h 218061"/>
                    <a:gd name="connsiteX10" fmla="*/ 51663 w 889863"/>
                    <a:gd name="connsiteY10" fmla="*/ 145613 h 218061"/>
                    <a:gd name="connsiteX11" fmla="*/ 27850 w 889863"/>
                    <a:gd name="connsiteY11" fmla="*/ 178950 h 218061"/>
                    <a:gd name="connsiteX0" fmla="*/ 27850 w 889863"/>
                    <a:gd name="connsiteY0" fmla="*/ 178950 h 218061"/>
                    <a:gd name="connsiteX1" fmla="*/ 413613 w 889863"/>
                    <a:gd name="connsiteY1" fmla="*/ 198000 h 218061"/>
                    <a:gd name="connsiteX2" fmla="*/ 880338 w 889863"/>
                    <a:gd name="connsiteY2" fmla="*/ 198000 h 218061"/>
                    <a:gd name="connsiteX3" fmla="*/ 889863 w 889863"/>
                    <a:gd name="connsiteY3" fmla="*/ 178950 h 218061"/>
                    <a:gd name="connsiteX4" fmla="*/ 866050 w 889863"/>
                    <a:gd name="connsiteY4" fmla="*/ 50363 h 218061"/>
                    <a:gd name="connsiteX5" fmla="*/ 861288 w 889863"/>
                    <a:gd name="connsiteY5" fmla="*/ 21788 h 218061"/>
                    <a:gd name="connsiteX6" fmla="*/ 775563 w 889863"/>
                    <a:gd name="connsiteY6" fmla="*/ 7500 h 218061"/>
                    <a:gd name="connsiteX7" fmla="*/ 61188 w 889863"/>
                    <a:gd name="connsiteY7" fmla="*/ 2738 h 218061"/>
                    <a:gd name="connsiteX8" fmla="*/ 37375 w 889863"/>
                    <a:gd name="connsiteY8" fmla="*/ 50363 h 218061"/>
                    <a:gd name="connsiteX9" fmla="*/ 51663 w 889863"/>
                    <a:gd name="connsiteY9" fmla="*/ 145613 h 218061"/>
                    <a:gd name="connsiteX10" fmla="*/ 27850 w 889863"/>
                    <a:gd name="connsiteY10" fmla="*/ 178950 h 218061"/>
                    <a:gd name="connsiteX0" fmla="*/ 27850 w 922758"/>
                    <a:gd name="connsiteY0" fmla="*/ 178950 h 198800"/>
                    <a:gd name="connsiteX1" fmla="*/ 342175 w 922758"/>
                    <a:gd name="connsiteY1" fmla="*/ 174188 h 198800"/>
                    <a:gd name="connsiteX2" fmla="*/ 880338 w 922758"/>
                    <a:gd name="connsiteY2" fmla="*/ 198000 h 198800"/>
                    <a:gd name="connsiteX3" fmla="*/ 889863 w 922758"/>
                    <a:gd name="connsiteY3" fmla="*/ 178950 h 198800"/>
                    <a:gd name="connsiteX4" fmla="*/ 866050 w 922758"/>
                    <a:gd name="connsiteY4" fmla="*/ 50363 h 198800"/>
                    <a:gd name="connsiteX5" fmla="*/ 861288 w 922758"/>
                    <a:gd name="connsiteY5" fmla="*/ 21788 h 198800"/>
                    <a:gd name="connsiteX6" fmla="*/ 775563 w 922758"/>
                    <a:gd name="connsiteY6" fmla="*/ 7500 h 198800"/>
                    <a:gd name="connsiteX7" fmla="*/ 61188 w 922758"/>
                    <a:gd name="connsiteY7" fmla="*/ 2738 h 198800"/>
                    <a:gd name="connsiteX8" fmla="*/ 37375 w 922758"/>
                    <a:gd name="connsiteY8" fmla="*/ 50363 h 198800"/>
                    <a:gd name="connsiteX9" fmla="*/ 51663 w 922758"/>
                    <a:gd name="connsiteY9" fmla="*/ 145613 h 198800"/>
                    <a:gd name="connsiteX10" fmla="*/ 27850 w 922758"/>
                    <a:gd name="connsiteY10" fmla="*/ 178950 h 198800"/>
                    <a:gd name="connsiteX0" fmla="*/ 27850 w 889863"/>
                    <a:gd name="connsiteY0" fmla="*/ 178950 h 187022"/>
                    <a:gd name="connsiteX1" fmla="*/ 342175 w 889863"/>
                    <a:gd name="connsiteY1" fmla="*/ 174188 h 187022"/>
                    <a:gd name="connsiteX2" fmla="*/ 620781 w 889863"/>
                    <a:gd name="connsiteY2" fmla="*/ 167044 h 187022"/>
                    <a:gd name="connsiteX3" fmla="*/ 889863 w 889863"/>
                    <a:gd name="connsiteY3" fmla="*/ 178950 h 187022"/>
                    <a:gd name="connsiteX4" fmla="*/ 866050 w 889863"/>
                    <a:gd name="connsiteY4" fmla="*/ 50363 h 187022"/>
                    <a:gd name="connsiteX5" fmla="*/ 861288 w 889863"/>
                    <a:gd name="connsiteY5" fmla="*/ 21788 h 187022"/>
                    <a:gd name="connsiteX6" fmla="*/ 775563 w 889863"/>
                    <a:gd name="connsiteY6" fmla="*/ 7500 h 187022"/>
                    <a:gd name="connsiteX7" fmla="*/ 61188 w 889863"/>
                    <a:gd name="connsiteY7" fmla="*/ 2738 h 187022"/>
                    <a:gd name="connsiteX8" fmla="*/ 37375 w 889863"/>
                    <a:gd name="connsiteY8" fmla="*/ 50363 h 187022"/>
                    <a:gd name="connsiteX9" fmla="*/ 51663 w 889863"/>
                    <a:gd name="connsiteY9" fmla="*/ 145613 h 187022"/>
                    <a:gd name="connsiteX10" fmla="*/ 27850 w 889863"/>
                    <a:gd name="connsiteY10" fmla="*/ 178950 h 187022"/>
                    <a:gd name="connsiteX0" fmla="*/ 27850 w 873194"/>
                    <a:gd name="connsiteY0" fmla="*/ 178950 h 187022"/>
                    <a:gd name="connsiteX1" fmla="*/ 342175 w 873194"/>
                    <a:gd name="connsiteY1" fmla="*/ 174188 h 187022"/>
                    <a:gd name="connsiteX2" fmla="*/ 620781 w 873194"/>
                    <a:gd name="connsiteY2" fmla="*/ 167044 h 187022"/>
                    <a:gd name="connsiteX3" fmla="*/ 873194 w 873194"/>
                    <a:gd name="connsiteY3" fmla="*/ 178950 h 187022"/>
                    <a:gd name="connsiteX4" fmla="*/ 866050 w 873194"/>
                    <a:gd name="connsiteY4" fmla="*/ 50363 h 187022"/>
                    <a:gd name="connsiteX5" fmla="*/ 861288 w 873194"/>
                    <a:gd name="connsiteY5" fmla="*/ 21788 h 187022"/>
                    <a:gd name="connsiteX6" fmla="*/ 775563 w 873194"/>
                    <a:gd name="connsiteY6" fmla="*/ 7500 h 187022"/>
                    <a:gd name="connsiteX7" fmla="*/ 61188 w 873194"/>
                    <a:gd name="connsiteY7" fmla="*/ 2738 h 187022"/>
                    <a:gd name="connsiteX8" fmla="*/ 37375 w 873194"/>
                    <a:gd name="connsiteY8" fmla="*/ 50363 h 187022"/>
                    <a:gd name="connsiteX9" fmla="*/ 51663 w 873194"/>
                    <a:gd name="connsiteY9" fmla="*/ 145613 h 187022"/>
                    <a:gd name="connsiteX10" fmla="*/ 27850 w 873194"/>
                    <a:gd name="connsiteY10" fmla="*/ 178950 h 187022"/>
                    <a:gd name="connsiteX0" fmla="*/ 27850 w 873194"/>
                    <a:gd name="connsiteY0" fmla="*/ 178950 h 180291"/>
                    <a:gd name="connsiteX1" fmla="*/ 620781 w 873194"/>
                    <a:gd name="connsiteY1" fmla="*/ 167044 h 180291"/>
                    <a:gd name="connsiteX2" fmla="*/ 873194 w 873194"/>
                    <a:gd name="connsiteY2" fmla="*/ 178950 h 180291"/>
                    <a:gd name="connsiteX3" fmla="*/ 866050 w 873194"/>
                    <a:gd name="connsiteY3" fmla="*/ 50363 h 180291"/>
                    <a:gd name="connsiteX4" fmla="*/ 861288 w 873194"/>
                    <a:gd name="connsiteY4" fmla="*/ 21788 h 180291"/>
                    <a:gd name="connsiteX5" fmla="*/ 775563 w 873194"/>
                    <a:gd name="connsiteY5" fmla="*/ 7500 h 180291"/>
                    <a:gd name="connsiteX6" fmla="*/ 61188 w 873194"/>
                    <a:gd name="connsiteY6" fmla="*/ 2738 h 180291"/>
                    <a:gd name="connsiteX7" fmla="*/ 37375 w 873194"/>
                    <a:gd name="connsiteY7" fmla="*/ 50363 h 180291"/>
                    <a:gd name="connsiteX8" fmla="*/ 51663 w 873194"/>
                    <a:gd name="connsiteY8" fmla="*/ 145613 h 180291"/>
                    <a:gd name="connsiteX9" fmla="*/ 27850 w 873194"/>
                    <a:gd name="connsiteY9" fmla="*/ 178950 h 180291"/>
                    <a:gd name="connsiteX0" fmla="*/ 27850 w 880517"/>
                    <a:gd name="connsiteY0" fmla="*/ 178706 h 180047"/>
                    <a:gd name="connsiteX1" fmla="*/ 620781 w 880517"/>
                    <a:gd name="connsiteY1" fmla="*/ 166800 h 180047"/>
                    <a:gd name="connsiteX2" fmla="*/ 873194 w 880517"/>
                    <a:gd name="connsiteY2" fmla="*/ 178706 h 180047"/>
                    <a:gd name="connsiteX3" fmla="*/ 866050 w 880517"/>
                    <a:gd name="connsiteY3" fmla="*/ 50119 h 180047"/>
                    <a:gd name="connsiteX4" fmla="*/ 875576 w 880517"/>
                    <a:gd name="connsiteY4" fmla="*/ 12019 h 180047"/>
                    <a:gd name="connsiteX5" fmla="*/ 775563 w 880517"/>
                    <a:gd name="connsiteY5" fmla="*/ 7256 h 180047"/>
                    <a:gd name="connsiteX6" fmla="*/ 61188 w 880517"/>
                    <a:gd name="connsiteY6" fmla="*/ 2494 h 180047"/>
                    <a:gd name="connsiteX7" fmla="*/ 37375 w 880517"/>
                    <a:gd name="connsiteY7" fmla="*/ 50119 h 180047"/>
                    <a:gd name="connsiteX8" fmla="*/ 51663 w 880517"/>
                    <a:gd name="connsiteY8" fmla="*/ 145369 h 180047"/>
                    <a:gd name="connsiteX9" fmla="*/ 27850 w 880517"/>
                    <a:gd name="connsiteY9" fmla="*/ 178706 h 180047"/>
                    <a:gd name="connsiteX0" fmla="*/ 27850 w 897096"/>
                    <a:gd name="connsiteY0" fmla="*/ 180341 h 181682"/>
                    <a:gd name="connsiteX1" fmla="*/ 620781 w 897096"/>
                    <a:gd name="connsiteY1" fmla="*/ 168435 h 181682"/>
                    <a:gd name="connsiteX2" fmla="*/ 873194 w 897096"/>
                    <a:gd name="connsiteY2" fmla="*/ 180341 h 181682"/>
                    <a:gd name="connsiteX3" fmla="*/ 875576 w 897096"/>
                    <a:gd name="connsiteY3" fmla="*/ 13654 h 181682"/>
                    <a:gd name="connsiteX4" fmla="*/ 775563 w 897096"/>
                    <a:gd name="connsiteY4" fmla="*/ 8891 h 181682"/>
                    <a:gd name="connsiteX5" fmla="*/ 61188 w 897096"/>
                    <a:gd name="connsiteY5" fmla="*/ 4129 h 181682"/>
                    <a:gd name="connsiteX6" fmla="*/ 37375 w 897096"/>
                    <a:gd name="connsiteY6" fmla="*/ 51754 h 181682"/>
                    <a:gd name="connsiteX7" fmla="*/ 51663 w 897096"/>
                    <a:gd name="connsiteY7" fmla="*/ 147004 h 181682"/>
                    <a:gd name="connsiteX8" fmla="*/ 27850 w 897096"/>
                    <a:gd name="connsiteY8" fmla="*/ 180341 h 181682"/>
                    <a:gd name="connsiteX0" fmla="*/ 27850 w 897096"/>
                    <a:gd name="connsiteY0" fmla="*/ 179235 h 180576"/>
                    <a:gd name="connsiteX1" fmla="*/ 620781 w 897096"/>
                    <a:gd name="connsiteY1" fmla="*/ 167329 h 180576"/>
                    <a:gd name="connsiteX2" fmla="*/ 873194 w 897096"/>
                    <a:gd name="connsiteY2" fmla="*/ 179235 h 180576"/>
                    <a:gd name="connsiteX3" fmla="*/ 875576 w 897096"/>
                    <a:gd name="connsiteY3" fmla="*/ 31598 h 180576"/>
                    <a:gd name="connsiteX4" fmla="*/ 775563 w 897096"/>
                    <a:gd name="connsiteY4" fmla="*/ 7785 h 180576"/>
                    <a:gd name="connsiteX5" fmla="*/ 61188 w 897096"/>
                    <a:gd name="connsiteY5" fmla="*/ 3023 h 180576"/>
                    <a:gd name="connsiteX6" fmla="*/ 37375 w 897096"/>
                    <a:gd name="connsiteY6" fmla="*/ 50648 h 180576"/>
                    <a:gd name="connsiteX7" fmla="*/ 51663 w 897096"/>
                    <a:gd name="connsiteY7" fmla="*/ 145898 h 180576"/>
                    <a:gd name="connsiteX8" fmla="*/ 27850 w 897096"/>
                    <a:gd name="connsiteY8" fmla="*/ 179235 h 180576"/>
                    <a:gd name="connsiteX0" fmla="*/ 27850 w 885098"/>
                    <a:gd name="connsiteY0" fmla="*/ 179235 h 180576"/>
                    <a:gd name="connsiteX1" fmla="*/ 620781 w 885098"/>
                    <a:gd name="connsiteY1" fmla="*/ 167329 h 180576"/>
                    <a:gd name="connsiteX2" fmla="*/ 873194 w 885098"/>
                    <a:gd name="connsiteY2" fmla="*/ 179235 h 180576"/>
                    <a:gd name="connsiteX3" fmla="*/ 875576 w 885098"/>
                    <a:gd name="connsiteY3" fmla="*/ 31598 h 180576"/>
                    <a:gd name="connsiteX4" fmla="*/ 775563 w 885098"/>
                    <a:gd name="connsiteY4" fmla="*/ 7785 h 180576"/>
                    <a:gd name="connsiteX5" fmla="*/ 61188 w 885098"/>
                    <a:gd name="connsiteY5" fmla="*/ 3023 h 180576"/>
                    <a:gd name="connsiteX6" fmla="*/ 37375 w 885098"/>
                    <a:gd name="connsiteY6" fmla="*/ 50648 h 180576"/>
                    <a:gd name="connsiteX7" fmla="*/ 51663 w 885098"/>
                    <a:gd name="connsiteY7" fmla="*/ 145898 h 180576"/>
                    <a:gd name="connsiteX8" fmla="*/ 27850 w 885098"/>
                    <a:gd name="connsiteY8" fmla="*/ 179235 h 180576"/>
                    <a:gd name="connsiteX0" fmla="*/ 0 w 857248"/>
                    <a:gd name="connsiteY0" fmla="*/ 188826 h 190167"/>
                    <a:gd name="connsiteX1" fmla="*/ 592931 w 857248"/>
                    <a:gd name="connsiteY1" fmla="*/ 176920 h 190167"/>
                    <a:gd name="connsiteX2" fmla="*/ 845344 w 857248"/>
                    <a:gd name="connsiteY2" fmla="*/ 188826 h 190167"/>
                    <a:gd name="connsiteX3" fmla="*/ 847726 w 857248"/>
                    <a:gd name="connsiteY3" fmla="*/ 41189 h 190167"/>
                    <a:gd name="connsiteX4" fmla="*/ 747713 w 857248"/>
                    <a:gd name="connsiteY4" fmla="*/ 17376 h 190167"/>
                    <a:gd name="connsiteX5" fmla="*/ 33338 w 857248"/>
                    <a:gd name="connsiteY5" fmla="*/ 12614 h 190167"/>
                    <a:gd name="connsiteX6" fmla="*/ 9525 w 857248"/>
                    <a:gd name="connsiteY6" fmla="*/ 60239 h 190167"/>
                    <a:gd name="connsiteX7" fmla="*/ 23813 w 857248"/>
                    <a:gd name="connsiteY7" fmla="*/ 155489 h 190167"/>
                    <a:gd name="connsiteX8" fmla="*/ 0 w 857248"/>
                    <a:gd name="connsiteY8" fmla="*/ 188826 h 190167"/>
                    <a:gd name="connsiteX0" fmla="*/ 0 w 857248"/>
                    <a:gd name="connsiteY0" fmla="*/ 176258 h 177599"/>
                    <a:gd name="connsiteX1" fmla="*/ 592931 w 857248"/>
                    <a:gd name="connsiteY1" fmla="*/ 164352 h 177599"/>
                    <a:gd name="connsiteX2" fmla="*/ 845344 w 857248"/>
                    <a:gd name="connsiteY2" fmla="*/ 176258 h 177599"/>
                    <a:gd name="connsiteX3" fmla="*/ 847726 w 857248"/>
                    <a:gd name="connsiteY3" fmla="*/ 28621 h 177599"/>
                    <a:gd name="connsiteX4" fmla="*/ 747713 w 857248"/>
                    <a:gd name="connsiteY4" fmla="*/ 4808 h 177599"/>
                    <a:gd name="connsiteX5" fmla="*/ 33338 w 857248"/>
                    <a:gd name="connsiteY5" fmla="*/ 46 h 177599"/>
                    <a:gd name="connsiteX6" fmla="*/ 9525 w 857248"/>
                    <a:gd name="connsiteY6" fmla="*/ 47671 h 177599"/>
                    <a:gd name="connsiteX7" fmla="*/ 23813 w 857248"/>
                    <a:gd name="connsiteY7" fmla="*/ 142921 h 177599"/>
                    <a:gd name="connsiteX8" fmla="*/ 0 w 857248"/>
                    <a:gd name="connsiteY8" fmla="*/ 176258 h 177599"/>
                    <a:gd name="connsiteX0" fmla="*/ 0 w 857248"/>
                    <a:gd name="connsiteY0" fmla="*/ 176258 h 177599"/>
                    <a:gd name="connsiteX1" fmla="*/ 592931 w 857248"/>
                    <a:gd name="connsiteY1" fmla="*/ 164352 h 177599"/>
                    <a:gd name="connsiteX2" fmla="*/ 845344 w 857248"/>
                    <a:gd name="connsiteY2" fmla="*/ 176258 h 177599"/>
                    <a:gd name="connsiteX3" fmla="*/ 847726 w 857248"/>
                    <a:gd name="connsiteY3" fmla="*/ 28621 h 177599"/>
                    <a:gd name="connsiteX4" fmla="*/ 747713 w 857248"/>
                    <a:gd name="connsiteY4" fmla="*/ 4808 h 177599"/>
                    <a:gd name="connsiteX5" fmla="*/ 33338 w 857248"/>
                    <a:gd name="connsiteY5" fmla="*/ 46 h 177599"/>
                    <a:gd name="connsiteX6" fmla="*/ 9525 w 857248"/>
                    <a:gd name="connsiteY6" fmla="*/ 47671 h 177599"/>
                    <a:gd name="connsiteX7" fmla="*/ 14288 w 857248"/>
                    <a:gd name="connsiteY7" fmla="*/ 128634 h 177599"/>
                    <a:gd name="connsiteX8" fmla="*/ 0 w 857248"/>
                    <a:gd name="connsiteY8" fmla="*/ 176258 h 17759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857248" h="177599">
                      <a:moveTo>
                        <a:pt x="0" y="176258"/>
                      </a:moveTo>
                      <a:cubicBezTo>
                        <a:pt x="94853" y="179830"/>
                        <a:pt x="452040" y="164352"/>
                        <a:pt x="592931" y="164352"/>
                      </a:cubicBezTo>
                      <a:cubicBezTo>
                        <a:pt x="733822" y="164352"/>
                        <a:pt x="842169" y="182608"/>
                        <a:pt x="845344" y="176258"/>
                      </a:cubicBezTo>
                      <a:cubicBezTo>
                        <a:pt x="856854" y="133792"/>
                        <a:pt x="863998" y="57196"/>
                        <a:pt x="847726" y="28621"/>
                      </a:cubicBezTo>
                      <a:cubicBezTo>
                        <a:pt x="831454" y="46"/>
                        <a:pt x="883444" y="9570"/>
                        <a:pt x="747713" y="4808"/>
                      </a:cubicBezTo>
                      <a:cubicBezTo>
                        <a:pt x="611982" y="46"/>
                        <a:pt x="155554" y="-142"/>
                        <a:pt x="33338" y="46"/>
                      </a:cubicBezTo>
                      <a:cubicBezTo>
                        <a:pt x="-7477" y="109"/>
                        <a:pt x="11118" y="43689"/>
                        <a:pt x="9525" y="47671"/>
                      </a:cubicBezTo>
                      <a:cubicBezTo>
                        <a:pt x="7937" y="71484"/>
                        <a:pt x="15876" y="107203"/>
                        <a:pt x="14288" y="128634"/>
                      </a:cubicBezTo>
                      <a:lnTo>
                        <a:pt x="0" y="176258"/>
                      </a:lnTo>
                      <a:close/>
                    </a:path>
                  </a:pathLst>
                </a:custGeom>
                <a:solidFill>
                  <a:srgbClr val="FBCCD0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8" name="Freeform: Shape 87">
                  <a:extLst>
                    <a:ext uri="{FF2B5EF4-FFF2-40B4-BE49-F238E27FC236}">
                      <a16:creationId xmlns:a16="http://schemas.microsoft.com/office/drawing/2014/main" id="{86406784-2059-B10B-2021-636BADC4EB12}"/>
                    </a:ext>
                  </a:extLst>
                </p:cNvPr>
                <p:cNvSpPr/>
                <p:nvPr/>
              </p:nvSpPr>
              <p:spPr>
                <a:xfrm>
                  <a:off x="8003464" y="2364919"/>
                  <a:ext cx="1185264" cy="2021530"/>
                </a:xfrm>
                <a:custGeom>
                  <a:avLst/>
                  <a:gdLst>
                    <a:gd name="connsiteX0" fmla="*/ 57150 w 1233488"/>
                    <a:gd name="connsiteY0" fmla="*/ 2033587 h 2068319"/>
                    <a:gd name="connsiteX1" fmla="*/ 252413 w 1233488"/>
                    <a:gd name="connsiteY1" fmla="*/ 2028825 h 2068319"/>
                    <a:gd name="connsiteX2" fmla="*/ 338138 w 1233488"/>
                    <a:gd name="connsiteY2" fmla="*/ 2019300 h 2068319"/>
                    <a:gd name="connsiteX3" fmla="*/ 400050 w 1233488"/>
                    <a:gd name="connsiteY3" fmla="*/ 2014537 h 2068319"/>
                    <a:gd name="connsiteX4" fmla="*/ 604838 w 1233488"/>
                    <a:gd name="connsiteY4" fmla="*/ 2019300 h 2068319"/>
                    <a:gd name="connsiteX5" fmla="*/ 681038 w 1233488"/>
                    <a:gd name="connsiteY5" fmla="*/ 2028825 h 2068319"/>
                    <a:gd name="connsiteX6" fmla="*/ 800100 w 1233488"/>
                    <a:gd name="connsiteY6" fmla="*/ 2033587 h 2068319"/>
                    <a:gd name="connsiteX7" fmla="*/ 1181100 w 1233488"/>
                    <a:gd name="connsiteY7" fmla="*/ 2028825 h 2068319"/>
                    <a:gd name="connsiteX8" fmla="*/ 1176338 w 1233488"/>
                    <a:gd name="connsiteY8" fmla="*/ 1681162 h 2068319"/>
                    <a:gd name="connsiteX9" fmla="*/ 1181100 w 1233488"/>
                    <a:gd name="connsiteY9" fmla="*/ 1609725 h 2068319"/>
                    <a:gd name="connsiteX10" fmla="*/ 1190625 w 1233488"/>
                    <a:gd name="connsiteY10" fmla="*/ 1562100 h 2068319"/>
                    <a:gd name="connsiteX11" fmla="*/ 1195388 w 1233488"/>
                    <a:gd name="connsiteY11" fmla="*/ 1524000 h 2068319"/>
                    <a:gd name="connsiteX12" fmla="*/ 1204913 w 1233488"/>
                    <a:gd name="connsiteY12" fmla="*/ 1457325 h 2068319"/>
                    <a:gd name="connsiteX13" fmla="*/ 1214438 w 1233488"/>
                    <a:gd name="connsiteY13" fmla="*/ 1390650 h 2068319"/>
                    <a:gd name="connsiteX14" fmla="*/ 1223963 w 1233488"/>
                    <a:gd name="connsiteY14" fmla="*/ 1352550 h 2068319"/>
                    <a:gd name="connsiteX15" fmla="*/ 1228725 w 1233488"/>
                    <a:gd name="connsiteY15" fmla="*/ 1281112 h 2068319"/>
                    <a:gd name="connsiteX16" fmla="*/ 1233488 w 1233488"/>
                    <a:gd name="connsiteY16" fmla="*/ 1243012 h 2068319"/>
                    <a:gd name="connsiteX17" fmla="*/ 1228725 w 1233488"/>
                    <a:gd name="connsiteY17" fmla="*/ 1052512 h 2068319"/>
                    <a:gd name="connsiteX18" fmla="*/ 1209675 w 1233488"/>
                    <a:gd name="connsiteY18" fmla="*/ 995362 h 2068319"/>
                    <a:gd name="connsiteX19" fmla="*/ 1195388 w 1233488"/>
                    <a:gd name="connsiteY19" fmla="*/ 938212 h 2068319"/>
                    <a:gd name="connsiteX20" fmla="*/ 1181100 w 1233488"/>
                    <a:gd name="connsiteY20" fmla="*/ 857250 h 2068319"/>
                    <a:gd name="connsiteX21" fmla="*/ 1171575 w 1233488"/>
                    <a:gd name="connsiteY21" fmla="*/ 790575 h 2068319"/>
                    <a:gd name="connsiteX22" fmla="*/ 1171575 w 1233488"/>
                    <a:gd name="connsiteY22" fmla="*/ 304800 h 2068319"/>
                    <a:gd name="connsiteX23" fmla="*/ 1176338 w 1233488"/>
                    <a:gd name="connsiteY23" fmla="*/ 276225 h 2068319"/>
                    <a:gd name="connsiteX24" fmla="*/ 1181100 w 1233488"/>
                    <a:gd name="connsiteY24" fmla="*/ 233362 h 2068319"/>
                    <a:gd name="connsiteX25" fmla="*/ 1181100 w 1233488"/>
                    <a:gd name="connsiteY25" fmla="*/ 47625 h 2068319"/>
                    <a:gd name="connsiteX26" fmla="*/ 1152525 w 1233488"/>
                    <a:gd name="connsiteY26" fmla="*/ 42862 h 2068319"/>
                    <a:gd name="connsiteX27" fmla="*/ 1028700 w 1233488"/>
                    <a:gd name="connsiteY27" fmla="*/ 28575 h 2068319"/>
                    <a:gd name="connsiteX28" fmla="*/ 942975 w 1233488"/>
                    <a:gd name="connsiteY28" fmla="*/ 19050 h 2068319"/>
                    <a:gd name="connsiteX29" fmla="*/ 304800 w 1233488"/>
                    <a:gd name="connsiteY29" fmla="*/ 14287 h 2068319"/>
                    <a:gd name="connsiteX30" fmla="*/ 247650 w 1233488"/>
                    <a:gd name="connsiteY30" fmla="*/ 9525 h 2068319"/>
                    <a:gd name="connsiteX31" fmla="*/ 223838 w 1233488"/>
                    <a:gd name="connsiteY31" fmla="*/ 4762 h 2068319"/>
                    <a:gd name="connsiteX32" fmla="*/ 180975 w 1233488"/>
                    <a:gd name="connsiteY32" fmla="*/ 0 h 2068319"/>
                    <a:gd name="connsiteX33" fmla="*/ 80963 w 1233488"/>
                    <a:gd name="connsiteY33" fmla="*/ 19050 h 2068319"/>
                    <a:gd name="connsiteX34" fmla="*/ 61913 w 1233488"/>
                    <a:gd name="connsiteY34" fmla="*/ 23812 h 2068319"/>
                    <a:gd name="connsiteX35" fmla="*/ 23813 w 1233488"/>
                    <a:gd name="connsiteY35" fmla="*/ 38100 h 2068319"/>
                    <a:gd name="connsiteX36" fmla="*/ 9525 w 1233488"/>
                    <a:gd name="connsiteY36" fmla="*/ 47625 h 2068319"/>
                    <a:gd name="connsiteX37" fmla="*/ 23813 w 1233488"/>
                    <a:gd name="connsiteY37" fmla="*/ 190500 h 2068319"/>
                    <a:gd name="connsiteX38" fmla="*/ 33338 w 1233488"/>
                    <a:gd name="connsiteY38" fmla="*/ 238125 h 2068319"/>
                    <a:gd name="connsiteX39" fmla="*/ 42863 w 1233488"/>
                    <a:gd name="connsiteY39" fmla="*/ 285750 h 2068319"/>
                    <a:gd name="connsiteX40" fmla="*/ 47625 w 1233488"/>
                    <a:gd name="connsiteY40" fmla="*/ 919162 h 2068319"/>
                    <a:gd name="connsiteX41" fmla="*/ 57150 w 1233488"/>
                    <a:gd name="connsiteY41" fmla="*/ 962025 h 2068319"/>
                    <a:gd name="connsiteX42" fmla="*/ 52388 w 1233488"/>
                    <a:gd name="connsiteY42" fmla="*/ 1085850 h 2068319"/>
                    <a:gd name="connsiteX43" fmla="*/ 38100 w 1233488"/>
                    <a:gd name="connsiteY43" fmla="*/ 1176337 h 2068319"/>
                    <a:gd name="connsiteX44" fmla="*/ 33338 w 1233488"/>
                    <a:gd name="connsiteY44" fmla="*/ 1238250 h 2068319"/>
                    <a:gd name="connsiteX45" fmla="*/ 28575 w 1233488"/>
                    <a:gd name="connsiteY45" fmla="*/ 1262062 h 2068319"/>
                    <a:gd name="connsiteX46" fmla="*/ 23813 w 1233488"/>
                    <a:gd name="connsiteY46" fmla="*/ 1290637 h 2068319"/>
                    <a:gd name="connsiteX47" fmla="*/ 9525 w 1233488"/>
                    <a:gd name="connsiteY47" fmla="*/ 1381125 h 2068319"/>
                    <a:gd name="connsiteX48" fmla="*/ 0 w 1233488"/>
                    <a:gd name="connsiteY48" fmla="*/ 1552575 h 2068319"/>
                    <a:gd name="connsiteX49" fmla="*/ 4763 w 1233488"/>
                    <a:gd name="connsiteY49" fmla="*/ 1852612 h 2068319"/>
                    <a:gd name="connsiteX50" fmla="*/ 23813 w 1233488"/>
                    <a:gd name="connsiteY50" fmla="*/ 1914525 h 2068319"/>
                    <a:gd name="connsiteX51" fmla="*/ 38100 w 1233488"/>
                    <a:gd name="connsiteY51" fmla="*/ 1976437 h 2068319"/>
                    <a:gd name="connsiteX52" fmla="*/ 42863 w 1233488"/>
                    <a:gd name="connsiteY52" fmla="*/ 1990725 h 2068319"/>
                    <a:gd name="connsiteX53" fmla="*/ 57150 w 1233488"/>
                    <a:gd name="connsiteY53" fmla="*/ 2033587 h 2068319"/>
                    <a:gd name="connsiteX0" fmla="*/ 57150 w 1233488"/>
                    <a:gd name="connsiteY0" fmla="*/ 2033587 h 2035862"/>
                    <a:gd name="connsiteX1" fmla="*/ 252413 w 1233488"/>
                    <a:gd name="connsiteY1" fmla="*/ 2028825 h 2035862"/>
                    <a:gd name="connsiteX2" fmla="*/ 338138 w 1233488"/>
                    <a:gd name="connsiteY2" fmla="*/ 2019300 h 2035862"/>
                    <a:gd name="connsiteX3" fmla="*/ 400050 w 1233488"/>
                    <a:gd name="connsiteY3" fmla="*/ 2014537 h 2035862"/>
                    <a:gd name="connsiteX4" fmla="*/ 604838 w 1233488"/>
                    <a:gd name="connsiteY4" fmla="*/ 2019300 h 2035862"/>
                    <a:gd name="connsiteX5" fmla="*/ 681038 w 1233488"/>
                    <a:gd name="connsiteY5" fmla="*/ 2028825 h 2035862"/>
                    <a:gd name="connsiteX6" fmla="*/ 1181100 w 1233488"/>
                    <a:gd name="connsiteY6" fmla="*/ 2028825 h 2035862"/>
                    <a:gd name="connsiteX7" fmla="*/ 1176338 w 1233488"/>
                    <a:gd name="connsiteY7" fmla="*/ 1681162 h 2035862"/>
                    <a:gd name="connsiteX8" fmla="*/ 1181100 w 1233488"/>
                    <a:gd name="connsiteY8" fmla="*/ 1609725 h 2035862"/>
                    <a:gd name="connsiteX9" fmla="*/ 1190625 w 1233488"/>
                    <a:gd name="connsiteY9" fmla="*/ 1562100 h 2035862"/>
                    <a:gd name="connsiteX10" fmla="*/ 1195388 w 1233488"/>
                    <a:gd name="connsiteY10" fmla="*/ 1524000 h 2035862"/>
                    <a:gd name="connsiteX11" fmla="*/ 1204913 w 1233488"/>
                    <a:gd name="connsiteY11" fmla="*/ 1457325 h 2035862"/>
                    <a:gd name="connsiteX12" fmla="*/ 1214438 w 1233488"/>
                    <a:gd name="connsiteY12" fmla="*/ 1390650 h 2035862"/>
                    <a:gd name="connsiteX13" fmla="*/ 1223963 w 1233488"/>
                    <a:gd name="connsiteY13" fmla="*/ 1352550 h 2035862"/>
                    <a:gd name="connsiteX14" fmla="*/ 1228725 w 1233488"/>
                    <a:gd name="connsiteY14" fmla="*/ 1281112 h 2035862"/>
                    <a:gd name="connsiteX15" fmla="*/ 1233488 w 1233488"/>
                    <a:gd name="connsiteY15" fmla="*/ 1243012 h 2035862"/>
                    <a:gd name="connsiteX16" fmla="*/ 1228725 w 1233488"/>
                    <a:gd name="connsiteY16" fmla="*/ 1052512 h 2035862"/>
                    <a:gd name="connsiteX17" fmla="*/ 1209675 w 1233488"/>
                    <a:gd name="connsiteY17" fmla="*/ 995362 h 2035862"/>
                    <a:gd name="connsiteX18" fmla="*/ 1195388 w 1233488"/>
                    <a:gd name="connsiteY18" fmla="*/ 938212 h 2035862"/>
                    <a:gd name="connsiteX19" fmla="*/ 1181100 w 1233488"/>
                    <a:gd name="connsiteY19" fmla="*/ 857250 h 2035862"/>
                    <a:gd name="connsiteX20" fmla="*/ 1171575 w 1233488"/>
                    <a:gd name="connsiteY20" fmla="*/ 790575 h 2035862"/>
                    <a:gd name="connsiteX21" fmla="*/ 1171575 w 1233488"/>
                    <a:gd name="connsiteY21" fmla="*/ 304800 h 2035862"/>
                    <a:gd name="connsiteX22" fmla="*/ 1176338 w 1233488"/>
                    <a:gd name="connsiteY22" fmla="*/ 276225 h 2035862"/>
                    <a:gd name="connsiteX23" fmla="*/ 1181100 w 1233488"/>
                    <a:gd name="connsiteY23" fmla="*/ 233362 h 2035862"/>
                    <a:gd name="connsiteX24" fmla="*/ 1181100 w 1233488"/>
                    <a:gd name="connsiteY24" fmla="*/ 47625 h 2035862"/>
                    <a:gd name="connsiteX25" fmla="*/ 1152525 w 1233488"/>
                    <a:gd name="connsiteY25" fmla="*/ 42862 h 2035862"/>
                    <a:gd name="connsiteX26" fmla="*/ 1028700 w 1233488"/>
                    <a:gd name="connsiteY26" fmla="*/ 28575 h 2035862"/>
                    <a:gd name="connsiteX27" fmla="*/ 942975 w 1233488"/>
                    <a:gd name="connsiteY27" fmla="*/ 19050 h 2035862"/>
                    <a:gd name="connsiteX28" fmla="*/ 304800 w 1233488"/>
                    <a:gd name="connsiteY28" fmla="*/ 14287 h 2035862"/>
                    <a:gd name="connsiteX29" fmla="*/ 247650 w 1233488"/>
                    <a:gd name="connsiteY29" fmla="*/ 9525 h 2035862"/>
                    <a:gd name="connsiteX30" fmla="*/ 223838 w 1233488"/>
                    <a:gd name="connsiteY30" fmla="*/ 4762 h 2035862"/>
                    <a:gd name="connsiteX31" fmla="*/ 180975 w 1233488"/>
                    <a:gd name="connsiteY31" fmla="*/ 0 h 2035862"/>
                    <a:gd name="connsiteX32" fmla="*/ 80963 w 1233488"/>
                    <a:gd name="connsiteY32" fmla="*/ 19050 h 2035862"/>
                    <a:gd name="connsiteX33" fmla="*/ 61913 w 1233488"/>
                    <a:gd name="connsiteY33" fmla="*/ 23812 h 2035862"/>
                    <a:gd name="connsiteX34" fmla="*/ 23813 w 1233488"/>
                    <a:gd name="connsiteY34" fmla="*/ 38100 h 2035862"/>
                    <a:gd name="connsiteX35" fmla="*/ 9525 w 1233488"/>
                    <a:gd name="connsiteY35" fmla="*/ 47625 h 2035862"/>
                    <a:gd name="connsiteX36" fmla="*/ 23813 w 1233488"/>
                    <a:gd name="connsiteY36" fmla="*/ 190500 h 2035862"/>
                    <a:gd name="connsiteX37" fmla="*/ 33338 w 1233488"/>
                    <a:gd name="connsiteY37" fmla="*/ 238125 h 2035862"/>
                    <a:gd name="connsiteX38" fmla="*/ 42863 w 1233488"/>
                    <a:gd name="connsiteY38" fmla="*/ 285750 h 2035862"/>
                    <a:gd name="connsiteX39" fmla="*/ 47625 w 1233488"/>
                    <a:gd name="connsiteY39" fmla="*/ 919162 h 2035862"/>
                    <a:gd name="connsiteX40" fmla="*/ 57150 w 1233488"/>
                    <a:gd name="connsiteY40" fmla="*/ 962025 h 2035862"/>
                    <a:gd name="connsiteX41" fmla="*/ 52388 w 1233488"/>
                    <a:gd name="connsiteY41" fmla="*/ 1085850 h 2035862"/>
                    <a:gd name="connsiteX42" fmla="*/ 38100 w 1233488"/>
                    <a:gd name="connsiteY42" fmla="*/ 1176337 h 2035862"/>
                    <a:gd name="connsiteX43" fmla="*/ 33338 w 1233488"/>
                    <a:gd name="connsiteY43" fmla="*/ 1238250 h 2035862"/>
                    <a:gd name="connsiteX44" fmla="*/ 28575 w 1233488"/>
                    <a:gd name="connsiteY44" fmla="*/ 1262062 h 2035862"/>
                    <a:gd name="connsiteX45" fmla="*/ 23813 w 1233488"/>
                    <a:gd name="connsiteY45" fmla="*/ 1290637 h 2035862"/>
                    <a:gd name="connsiteX46" fmla="*/ 9525 w 1233488"/>
                    <a:gd name="connsiteY46" fmla="*/ 1381125 h 2035862"/>
                    <a:gd name="connsiteX47" fmla="*/ 0 w 1233488"/>
                    <a:gd name="connsiteY47" fmla="*/ 1552575 h 2035862"/>
                    <a:gd name="connsiteX48" fmla="*/ 4763 w 1233488"/>
                    <a:gd name="connsiteY48" fmla="*/ 1852612 h 2035862"/>
                    <a:gd name="connsiteX49" fmla="*/ 23813 w 1233488"/>
                    <a:gd name="connsiteY49" fmla="*/ 1914525 h 2035862"/>
                    <a:gd name="connsiteX50" fmla="*/ 38100 w 1233488"/>
                    <a:gd name="connsiteY50" fmla="*/ 1976437 h 2035862"/>
                    <a:gd name="connsiteX51" fmla="*/ 42863 w 1233488"/>
                    <a:gd name="connsiteY51" fmla="*/ 1990725 h 2035862"/>
                    <a:gd name="connsiteX52" fmla="*/ 57150 w 1233488"/>
                    <a:gd name="connsiteY52" fmla="*/ 2033587 h 2035862"/>
                    <a:gd name="connsiteX0" fmla="*/ 57150 w 1233488"/>
                    <a:gd name="connsiteY0" fmla="*/ 2033587 h 2035980"/>
                    <a:gd name="connsiteX1" fmla="*/ 252413 w 1233488"/>
                    <a:gd name="connsiteY1" fmla="*/ 2028825 h 2035980"/>
                    <a:gd name="connsiteX2" fmla="*/ 400050 w 1233488"/>
                    <a:gd name="connsiteY2" fmla="*/ 2014537 h 2035980"/>
                    <a:gd name="connsiteX3" fmla="*/ 604838 w 1233488"/>
                    <a:gd name="connsiteY3" fmla="*/ 2019300 h 2035980"/>
                    <a:gd name="connsiteX4" fmla="*/ 681038 w 1233488"/>
                    <a:gd name="connsiteY4" fmla="*/ 2028825 h 2035980"/>
                    <a:gd name="connsiteX5" fmla="*/ 1181100 w 1233488"/>
                    <a:gd name="connsiteY5" fmla="*/ 2028825 h 2035980"/>
                    <a:gd name="connsiteX6" fmla="*/ 1176338 w 1233488"/>
                    <a:gd name="connsiteY6" fmla="*/ 1681162 h 2035980"/>
                    <a:gd name="connsiteX7" fmla="*/ 1181100 w 1233488"/>
                    <a:gd name="connsiteY7" fmla="*/ 1609725 h 2035980"/>
                    <a:gd name="connsiteX8" fmla="*/ 1190625 w 1233488"/>
                    <a:gd name="connsiteY8" fmla="*/ 1562100 h 2035980"/>
                    <a:gd name="connsiteX9" fmla="*/ 1195388 w 1233488"/>
                    <a:gd name="connsiteY9" fmla="*/ 1524000 h 2035980"/>
                    <a:gd name="connsiteX10" fmla="*/ 1204913 w 1233488"/>
                    <a:gd name="connsiteY10" fmla="*/ 1457325 h 2035980"/>
                    <a:gd name="connsiteX11" fmla="*/ 1214438 w 1233488"/>
                    <a:gd name="connsiteY11" fmla="*/ 1390650 h 2035980"/>
                    <a:gd name="connsiteX12" fmla="*/ 1223963 w 1233488"/>
                    <a:gd name="connsiteY12" fmla="*/ 1352550 h 2035980"/>
                    <a:gd name="connsiteX13" fmla="*/ 1228725 w 1233488"/>
                    <a:gd name="connsiteY13" fmla="*/ 1281112 h 2035980"/>
                    <a:gd name="connsiteX14" fmla="*/ 1233488 w 1233488"/>
                    <a:gd name="connsiteY14" fmla="*/ 1243012 h 2035980"/>
                    <a:gd name="connsiteX15" fmla="*/ 1228725 w 1233488"/>
                    <a:gd name="connsiteY15" fmla="*/ 1052512 h 2035980"/>
                    <a:gd name="connsiteX16" fmla="*/ 1209675 w 1233488"/>
                    <a:gd name="connsiteY16" fmla="*/ 995362 h 2035980"/>
                    <a:gd name="connsiteX17" fmla="*/ 1195388 w 1233488"/>
                    <a:gd name="connsiteY17" fmla="*/ 938212 h 2035980"/>
                    <a:gd name="connsiteX18" fmla="*/ 1181100 w 1233488"/>
                    <a:gd name="connsiteY18" fmla="*/ 857250 h 2035980"/>
                    <a:gd name="connsiteX19" fmla="*/ 1171575 w 1233488"/>
                    <a:gd name="connsiteY19" fmla="*/ 790575 h 2035980"/>
                    <a:gd name="connsiteX20" fmla="*/ 1171575 w 1233488"/>
                    <a:gd name="connsiteY20" fmla="*/ 304800 h 2035980"/>
                    <a:gd name="connsiteX21" fmla="*/ 1176338 w 1233488"/>
                    <a:gd name="connsiteY21" fmla="*/ 276225 h 2035980"/>
                    <a:gd name="connsiteX22" fmla="*/ 1181100 w 1233488"/>
                    <a:gd name="connsiteY22" fmla="*/ 233362 h 2035980"/>
                    <a:gd name="connsiteX23" fmla="*/ 1181100 w 1233488"/>
                    <a:gd name="connsiteY23" fmla="*/ 47625 h 2035980"/>
                    <a:gd name="connsiteX24" fmla="*/ 1152525 w 1233488"/>
                    <a:gd name="connsiteY24" fmla="*/ 42862 h 2035980"/>
                    <a:gd name="connsiteX25" fmla="*/ 1028700 w 1233488"/>
                    <a:gd name="connsiteY25" fmla="*/ 28575 h 2035980"/>
                    <a:gd name="connsiteX26" fmla="*/ 942975 w 1233488"/>
                    <a:gd name="connsiteY26" fmla="*/ 19050 h 2035980"/>
                    <a:gd name="connsiteX27" fmla="*/ 304800 w 1233488"/>
                    <a:gd name="connsiteY27" fmla="*/ 14287 h 2035980"/>
                    <a:gd name="connsiteX28" fmla="*/ 247650 w 1233488"/>
                    <a:gd name="connsiteY28" fmla="*/ 9525 h 2035980"/>
                    <a:gd name="connsiteX29" fmla="*/ 223838 w 1233488"/>
                    <a:gd name="connsiteY29" fmla="*/ 4762 h 2035980"/>
                    <a:gd name="connsiteX30" fmla="*/ 180975 w 1233488"/>
                    <a:gd name="connsiteY30" fmla="*/ 0 h 2035980"/>
                    <a:gd name="connsiteX31" fmla="*/ 80963 w 1233488"/>
                    <a:gd name="connsiteY31" fmla="*/ 19050 h 2035980"/>
                    <a:gd name="connsiteX32" fmla="*/ 61913 w 1233488"/>
                    <a:gd name="connsiteY32" fmla="*/ 23812 h 2035980"/>
                    <a:gd name="connsiteX33" fmla="*/ 23813 w 1233488"/>
                    <a:gd name="connsiteY33" fmla="*/ 38100 h 2035980"/>
                    <a:gd name="connsiteX34" fmla="*/ 9525 w 1233488"/>
                    <a:gd name="connsiteY34" fmla="*/ 47625 h 2035980"/>
                    <a:gd name="connsiteX35" fmla="*/ 23813 w 1233488"/>
                    <a:gd name="connsiteY35" fmla="*/ 190500 h 2035980"/>
                    <a:gd name="connsiteX36" fmla="*/ 33338 w 1233488"/>
                    <a:gd name="connsiteY36" fmla="*/ 238125 h 2035980"/>
                    <a:gd name="connsiteX37" fmla="*/ 42863 w 1233488"/>
                    <a:gd name="connsiteY37" fmla="*/ 285750 h 2035980"/>
                    <a:gd name="connsiteX38" fmla="*/ 47625 w 1233488"/>
                    <a:gd name="connsiteY38" fmla="*/ 919162 h 2035980"/>
                    <a:gd name="connsiteX39" fmla="*/ 57150 w 1233488"/>
                    <a:gd name="connsiteY39" fmla="*/ 962025 h 2035980"/>
                    <a:gd name="connsiteX40" fmla="*/ 52388 w 1233488"/>
                    <a:gd name="connsiteY40" fmla="*/ 1085850 h 2035980"/>
                    <a:gd name="connsiteX41" fmla="*/ 38100 w 1233488"/>
                    <a:gd name="connsiteY41" fmla="*/ 1176337 h 2035980"/>
                    <a:gd name="connsiteX42" fmla="*/ 33338 w 1233488"/>
                    <a:gd name="connsiteY42" fmla="*/ 1238250 h 2035980"/>
                    <a:gd name="connsiteX43" fmla="*/ 28575 w 1233488"/>
                    <a:gd name="connsiteY43" fmla="*/ 1262062 h 2035980"/>
                    <a:gd name="connsiteX44" fmla="*/ 23813 w 1233488"/>
                    <a:gd name="connsiteY44" fmla="*/ 1290637 h 2035980"/>
                    <a:gd name="connsiteX45" fmla="*/ 9525 w 1233488"/>
                    <a:gd name="connsiteY45" fmla="*/ 1381125 h 2035980"/>
                    <a:gd name="connsiteX46" fmla="*/ 0 w 1233488"/>
                    <a:gd name="connsiteY46" fmla="*/ 1552575 h 2035980"/>
                    <a:gd name="connsiteX47" fmla="*/ 4763 w 1233488"/>
                    <a:gd name="connsiteY47" fmla="*/ 1852612 h 2035980"/>
                    <a:gd name="connsiteX48" fmla="*/ 23813 w 1233488"/>
                    <a:gd name="connsiteY48" fmla="*/ 1914525 h 2035980"/>
                    <a:gd name="connsiteX49" fmla="*/ 38100 w 1233488"/>
                    <a:gd name="connsiteY49" fmla="*/ 1976437 h 2035980"/>
                    <a:gd name="connsiteX50" fmla="*/ 42863 w 1233488"/>
                    <a:gd name="connsiteY50" fmla="*/ 1990725 h 2035980"/>
                    <a:gd name="connsiteX51" fmla="*/ 57150 w 1233488"/>
                    <a:gd name="connsiteY51" fmla="*/ 2033587 h 2035980"/>
                    <a:gd name="connsiteX0" fmla="*/ 57150 w 1233488"/>
                    <a:gd name="connsiteY0" fmla="*/ 2033587 h 2037016"/>
                    <a:gd name="connsiteX1" fmla="*/ 252413 w 1233488"/>
                    <a:gd name="connsiteY1" fmla="*/ 2028825 h 2037016"/>
                    <a:gd name="connsiteX2" fmla="*/ 400050 w 1233488"/>
                    <a:gd name="connsiteY2" fmla="*/ 2014537 h 2037016"/>
                    <a:gd name="connsiteX3" fmla="*/ 604838 w 1233488"/>
                    <a:gd name="connsiteY3" fmla="*/ 2019300 h 2037016"/>
                    <a:gd name="connsiteX4" fmla="*/ 681038 w 1233488"/>
                    <a:gd name="connsiteY4" fmla="*/ 2028825 h 2037016"/>
                    <a:gd name="connsiteX5" fmla="*/ 1181100 w 1233488"/>
                    <a:gd name="connsiteY5" fmla="*/ 2028825 h 2037016"/>
                    <a:gd name="connsiteX6" fmla="*/ 1176338 w 1233488"/>
                    <a:gd name="connsiteY6" fmla="*/ 1681162 h 2037016"/>
                    <a:gd name="connsiteX7" fmla="*/ 1181100 w 1233488"/>
                    <a:gd name="connsiteY7" fmla="*/ 1609725 h 2037016"/>
                    <a:gd name="connsiteX8" fmla="*/ 1190625 w 1233488"/>
                    <a:gd name="connsiteY8" fmla="*/ 1562100 h 2037016"/>
                    <a:gd name="connsiteX9" fmla="*/ 1195388 w 1233488"/>
                    <a:gd name="connsiteY9" fmla="*/ 1524000 h 2037016"/>
                    <a:gd name="connsiteX10" fmla="*/ 1204913 w 1233488"/>
                    <a:gd name="connsiteY10" fmla="*/ 1457325 h 2037016"/>
                    <a:gd name="connsiteX11" fmla="*/ 1214438 w 1233488"/>
                    <a:gd name="connsiteY11" fmla="*/ 1390650 h 2037016"/>
                    <a:gd name="connsiteX12" fmla="*/ 1223963 w 1233488"/>
                    <a:gd name="connsiteY12" fmla="*/ 1352550 h 2037016"/>
                    <a:gd name="connsiteX13" fmla="*/ 1228725 w 1233488"/>
                    <a:gd name="connsiteY13" fmla="*/ 1281112 h 2037016"/>
                    <a:gd name="connsiteX14" fmla="*/ 1233488 w 1233488"/>
                    <a:gd name="connsiteY14" fmla="*/ 1243012 h 2037016"/>
                    <a:gd name="connsiteX15" fmla="*/ 1228725 w 1233488"/>
                    <a:gd name="connsiteY15" fmla="*/ 1052512 h 2037016"/>
                    <a:gd name="connsiteX16" fmla="*/ 1209675 w 1233488"/>
                    <a:gd name="connsiteY16" fmla="*/ 995362 h 2037016"/>
                    <a:gd name="connsiteX17" fmla="*/ 1195388 w 1233488"/>
                    <a:gd name="connsiteY17" fmla="*/ 938212 h 2037016"/>
                    <a:gd name="connsiteX18" fmla="*/ 1181100 w 1233488"/>
                    <a:gd name="connsiteY18" fmla="*/ 857250 h 2037016"/>
                    <a:gd name="connsiteX19" fmla="*/ 1171575 w 1233488"/>
                    <a:gd name="connsiteY19" fmla="*/ 790575 h 2037016"/>
                    <a:gd name="connsiteX20" fmla="*/ 1171575 w 1233488"/>
                    <a:gd name="connsiteY20" fmla="*/ 304800 h 2037016"/>
                    <a:gd name="connsiteX21" fmla="*/ 1176338 w 1233488"/>
                    <a:gd name="connsiteY21" fmla="*/ 276225 h 2037016"/>
                    <a:gd name="connsiteX22" fmla="*/ 1181100 w 1233488"/>
                    <a:gd name="connsiteY22" fmla="*/ 233362 h 2037016"/>
                    <a:gd name="connsiteX23" fmla="*/ 1181100 w 1233488"/>
                    <a:gd name="connsiteY23" fmla="*/ 47625 h 2037016"/>
                    <a:gd name="connsiteX24" fmla="*/ 1152525 w 1233488"/>
                    <a:gd name="connsiteY24" fmla="*/ 42862 h 2037016"/>
                    <a:gd name="connsiteX25" fmla="*/ 1028700 w 1233488"/>
                    <a:gd name="connsiteY25" fmla="*/ 28575 h 2037016"/>
                    <a:gd name="connsiteX26" fmla="*/ 942975 w 1233488"/>
                    <a:gd name="connsiteY26" fmla="*/ 19050 h 2037016"/>
                    <a:gd name="connsiteX27" fmla="*/ 304800 w 1233488"/>
                    <a:gd name="connsiteY27" fmla="*/ 14287 h 2037016"/>
                    <a:gd name="connsiteX28" fmla="*/ 247650 w 1233488"/>
                    <a:gd name="connsiteY28" fmla="*/ 9525 h 2037016"/>
                    <a:gd name="connsiteX29" fmla="*/ 223838 w 1233488"/>
                    <a:gd name="connsiteY29" fmla="*/ 4762 h 2037016"/>
                    <a:gd name="connsiteX30" fmla="*/ 180975 w 1233488"/>
                    <a:gd name="connsiteY30" fmla="*/ 0 h 2037016"/>
                    <a:gd name="connsiteX31" fmla="*/ 80963 w 1233488"/>
                    <a:gd name="connsiteY31" fmla="*/ 19050 h 2037016"/>
                    <a:gd name="connsiteX32" fmla="*/ 61913 w 1233488"/>
                    <a:gd name="connsiteY32" fmla="*/ 23812 h 2037016"/>
                    <a:gd name="connsiteX33" fmla="*/ 23813 w 1233488"/>
                    <a:gd name="connsiteY33" fmla="*/ 38100 h 2037016"/>
                    <a:gd name="connsiteX34" fmla="*/ 9525 w 1233488"/>
                    <a:gd name="connsiteY34" fmla="*/ 47625 h 2037016"/>
                    <a:gd name="connsiteX35" fmla="*/ 23813 w 1233488"/>
                    <a:gd name="connsiteY35" fmla="*/ 190500 h 2037016"/>
                    <a:gd name="connsiteX36" fmla="*/ 33338 w 1233488"/>
                    <a:gd name="connsiteY36" fmla="*/ 238125 h 2037016"/>
                    <a:gd name="connsiteX37" fmla="*/ 42863 w 1233488"/>
                    <a:gd name="connsiteY37" fmla="*/ 285750 h 2037016"/>
                    <a:gd name="connsiteX38" fmla="*/ 47625 w 1233488"/>
                    <a:gd name="connsiteY38" fmla="*/ 919162 h 2037016"/>
                    <a:gd name="connsiteX39" fmla="*/ 57150 w 1233488"/>
                    <a:gd name="connsiteY39" fmla="*/ 962025 h 2037016"/>
                    <a:gd name="connsiteX40" fmla="*/ 52388 w 1233488"/>
                    <a:gd name="connsiteY40" fmla="*/ 1085850 h 2037016"/>
                    <a:gd name="connsiteX41" fmla="*/ 38100 w 1233488"/>
                    <a:gd name="connsiteY41" fmla="*/ 1176337 h 2037016"/>
                    <a:gd name="connsiteX42" fmla="*/ 33338 w 1233488"/>
                    <a:gd name="connsiteY42" fmla="*/ 1238250 h 2037016"/>
                    <a:gd name="connsiteX43" fmla="*/ 28575 w 1233488"/>
                    <a:gd name="connsiteY43" fmla="*/ 1262062 h 2037016"/>
                    <a:gd name="connsiteX44" fmla="*/ 23813 w 1233488"/>
                    <a:gd name="connsiteY44" fmla="*/ 1290637 h 2037016"/>
                    <a:gd name="connsiteX45" fmla="*/ 9525 w 1233488"/>
                    <a:gd name="connsiteY45" fmla="*/ 1381125 h 2037016"/>
                    <a:gd name="connsiteX46" fmla="*/ 0 w 1233488"/>
                    <a:gd name="connsiteY46" fmla="*/ 1552575 h 2037016"/>
                    <a:gd name="connsiteX47" fmla="*/ 4763 w 1233488"/>
                    <a:gd name="connsiteY47" fmla="*/ 1852612 h 2037016"/>
                    <a:gd name="connsiteX48" fmla="*/ 23813 w 1233488"/>
                    <a:gd name="connsiteY48" fmla="*/ 1914525 h 2037016"/>
                    <a:gd name="connsiteX49" fmla="*/ 38100 w 1233488"/>
                    <a:gd name="connsiteY49" fmla="*/ 1976437 h 2037016"/>
                    <a:gd name="connsiteX50" fmla="*/ 57150 w 1233488"/>
                    <a:gd name="connsiteY50" fmla="*/ 2033587 h 2037016"/>
                    <a:gd name="connsiteX0" fmla="*/ 57326 w 1233664"/>
                    <a:gd name="connsiteY0" fmla="*/ 2033587 h 2037016"/>
                    <a:gd name="connsiteX1" fmla="*/ 252589 w 1233664"/>
                    <a:gd name="connsiteY1" fmla="*/ 2028825 h 2037016"/>
                    <a:gd name="connsiteX2" fmla="*/ 400226 w 1233664"/>
                    <a:gd name="connsiteY2" fmla="*/ 2014537 h 2037016"/>
                    <a:gd name="connsiteX3" fmla="*/ 605014 w 1233664"/>
                    <a:gd name="connsiteY3" fmla="*/ 2019300 h 2037016"/>
                    <a:gd name="connsiteX4" fmla="*/ 681214 w 1233664"/>
                    <a:gd name="connsiteY4" fmla="*/ 2028825 h 2037016"/>
                    <a:gd name="connsiteX5" fmla="*/ 1181276 w 1233664"/>
                    <a:gd name="connsiteY5" fmla="*/ 2028825 h 2037016"/>
                    <a:gd name="connsiteX6" fmla="*/ 1176514 w 1233664"/>
                    <a:gd name="connsiteY6" fmla="*/ 1681162 h 2037016"/>
                    <a:gd name="connsiteX7" fmla="*/ 1181276 w 1233664"/>
                    <a:gd name="connsiteY7" fmla="*/ 1609725 h 2037016"/>
                    <a:gd name="connsiteX8" fmla="*/ 1190801 w 1233664"/>
                    <a:gd name="connsiteY8" fmla="*/ 1562100 h 2037016"/>
                    <a:gd name="connsiteX9" fmla="*/ 1195564 w 1233664"/>
                    <a:gd name="connsiteY9" fmla="*/ 1524000 h 2037016"/>
                    <a:gd name="connsiteX10" fmla="*/ 1205089 w 1233664"/>
                    <a:gd name="connsiteY10" fmla="*/ 1457325 h 2037016"/>
                    <a:gd name="connsiteX11" fmla="*/ 1214614 w 1233664"/>
                    <a:gd name="connsiteY11" fmla="*/ 1390650 h 2037016"/>
                    <a:gd name="connsiteX12" fmla="*/ 1224139 w 1233664"/>
                    <a:gd name="connsiteY12" fmla="*/ 1352550 h 2037016"/>
                    <a:gd name="connsiteX13" fmla="*/ 1228901 w 1233664"/>
                    <a:gd name="connsiteY13" fmla="*/ 1281112 h 2037016"/>
                    <a:gd name="connsiteX14" fmla="*/ 1233664 w 1233664"/>
                    <a:gd name="connsiteY14" fmla="*/ 1243012 h 2037016"/>
                    <a:gd name="connsiteX15" fmla="*/ 1228901 w 1233664"/>
                    <a:gd name="connsiteY15" fmla="*/ 1052512 h 2037016"/>
                    <a:gd name="connsiteX16" fmla="*/ 1209851 w 1233664"/>
                    <a:gd name="connsiteY16" fmla="*/ 995362 h 2037016"/>
                    <a:gd name="connsiteX17" fmla="*/ 1195564 w 1233664"/>
                    <a:gd name="connsiteY17" fmla="*/ 938212 h 2037016"/>
                    <a:gd name="connsiteX18" fmla="*/ 1181276 w 1233664"/>
                    <a:gd name="connsiteY18" fmla="*/ 857250 h 2037016"/>
                    <a:gd name="connsiteX19" fmla="*/ 1171751 w 1233664"/>
                    <a:gd name="connsiteY19" fmla="*/ 790575 h 2037016"/>
                    <a:gd name="connsiteX20" fmla="*/ 1171751 w 1233664"/>
                    <a:gd name="connsiteY20" fmla="*/ 304800 h 2037016"/>
                    <a:gd name="connsiteX21" fmla="*/ 1176514 w 1233664"/>
                    <a:gd name="connsiteY21" fmla="*/ 276225 h 2037016"/>
                    <a:gd name="connsiteX22" fmla="*/ 1181276 w 1233664"/>
                    <a:gd name="connsiteY22" fmla="*/ 233362 h 2037016"/>
                    <a:gd name="connsiteX23" fmla="*/ 1181276 w 1233664"/>
                    <a:gd name="connsiteY23" fmla="*/ 47625 h 2037016"/>
                    <a:gd name="connsiteX24" fmla="*/ 1152701 w 1233664"/>
                    <a:gd name="connsiteY24" fmla="*/ 42862 h 2037016"/>
                    <a:gd name="connsiteX25" fmla="*/ 1028876 w 1233664"/>
                    <a:gd name="connsiteY25" fmla="*/ 28575 h 2037016"/>
                    <a:gd name="connsiteX26" fmla="*/ 943151 w 1233664"/>
                    <a:gd name="connsiteY26" fmla="*/ 19050 h 2037016"/>
                    <a:gd name="connsiteX27" fmla="*/ 304976 w 1233664"/>
                    <a:gd name="connsiteY27" fmla="*/ 14287 h 2037016"/>
                    <a:gd name="connsiteX28" fmla="*/ 247826 w 1233664"/>
                    <a:gd name="connsiteY28" fmla="*/ 9525 h 2037016"/>
                    <a:gd name="connsiteX29" fmla="*/ 224014 w 1233664"/>
                    <a:gd name="connsiteY29" fmla="*/ 4762 h 2037016"/>
                    <a:gd name="connsiteX30" fmla="*/ 181151 w 1233664"/>
                    <a:gd name="connsiteY30" fmla="*/ 0 h 2037016"/>
                    <a:gd name="connsiteX31" fmla="*/ 81139 w 1233664"/>
                    <a:gd name="connsiteY31" fmla="*/ 19050 h 2037016"/>
                    <a:gd name="connsiteX32" fmla="*/ 62089 w 1233664"/>
                    <a:gd name="connsiteY32" fmla="*/ 23812 h 2037016"/>
                    <a:gd name="connsiteX33" fmla="*/ 23989 w 1233664"/>
                    <a:gd name="connsiteY33" fmla="*/ 38100 h 2037016"/>
                    <a:gd name="connsiteX34" fmla="*/ 9701 w 1233664"/>
                    <a:gd name="connsiteY34" fmla="*/ 47625 h 2037016"/>
                    <a:gd name="connsiteX35" fmla="*/ 23989 w 1233664"/>
                    <a:gd name="connsiteY35" fmla="*/ 190500 h 2037016"/>
                    <a:gd name="connsiteX36" fmla="*/ 33514 w 1233664"/>
                    <a:gd name="connsiteY36" fmla="*/ 238125 h 2037016"/>
                    <a:gd name="connsiteX37" fmla="*/ 43039 w 1233664"/>
                    <a:gd name="connsiteY37" fmla="*/ 285750 h 2037016"/>
                    <a:gd name="connsiteX38" fmla="*/ 47801 w 1233664"/>
                    <a:gd name="connsiteY38" fmla="*/ 919162 h 2037016"/>
                    <a:gd name="connsiteX39" fmla="*/ 57326 w 1233664"/>
                    <a:gd name="connsiteY39" fmla="*/ 962025 h 2037016"/>
                    <a:gd name="connsiteX40" fmla="*/ 52564 w 1233664"/>
                    <a:gd name="connsiteY40" fmla="*/ 1085850 h 2037016"/>
                    <a:gd name="connsiteX41" fmla="*/ 38276 w 1233664"/>
                    <a:gd name="connsiteY41" fmla="*/ 1176337 h 2037016"/>
                    <a:gd name="connsiteX42" fmla="*/ 33514 w 1233664"/>
                    <a:gd name="connsiteY42" fmla="*/ 1238250 h 2037016"/>
                    <a:gd name="connsiteX43" fmla="*/ 28751 w 1233664"/>
                    <a:gd name="connsiteY43" fmla="*/ 1262062 h 2037016"/>
                    <a:gd name="connsiteX44" fmla="*/ 23989 w 1233664"/>
                    <a:gd name="connsiteY44" fmla="*/ 1290637 h 2037016"/>
                    <a:gd name="connsiteX45" fmla="*/ 9701 w 1233664"/>
                    <a:gd name="connsiteY45" fmla="*/ 1381125 h 2037016"/>
                    <a:gd name="connsiteX46" fmla="*/ 176 w 1233664"/>
                    <a:gd name="connsiteY46" fmla="*/ 1552575 h 2037016"/>
                    <a:gd name="connsiteX47" fmla="*/ 4939 w 1233664"/>
                    <a:gd name="connsiteY47" fmla="*/ 1852612 h 2037016"/>
                    <a:gd name="connsiteX48" fmla="*/ 38276 w 1233664"/>
                    <a:gd name="connsiteY48" fmla="*/ 1976437 h 2037016"/>
                    <a:gd name="connsiteX49" fmla="*/ 57326 w 1233664"/>
                    <a:gd name="connsiteY49" fmla="*/ 2033587 h 2037016"/>
                    <a:gd name="connsiteX0" fmla="*/ 58349 w 1234687"/>
                    <a:gd name="connsiteY0" fmla="*/ 2033587 h 2037016"/>
                    <a:gd name="connsiteX1" fmla="*/ 253612 w 1234687"/>
                    <a:gd name="connsiteY1" fmla="*/ 2028825 h 2037016"/>
                    <a:gd name="connsiteX2" fmla="*/ 401249 w 1234687"/>
                    <a:gd name="connsiteY2" fmla="*/ 2014537 h 2037016"/>
                    <a:gd name="connsiteX3" fmla="*/ 606037 w 1234687"/>
                    <a:gd name="connsiteY3" fmla="*/ 2019300 h 2037016"/>
                    <a:gd name="connsiteX4" fmla="*/ 682237 w 1234687"/>
                    <a:gd name="connsiteY4" fmla="*/ 2028825 h 2037016"/>
                    <a:gd name="connsiteX5" fmla="*/ 1182299 w 1234687"/>
                    <a:gd name="connsiteY5" fmla="*/ 2028825 h 2037016"/>
                    <a:gd name="connsiteX6" fmla="*/ 1177537 w 1234687"/>
                    <a:gd name="connsiteY6" fmla="*/ 1681162 h 2037016"/>
                    <a:gd name="connsiteX7" fmla="*/ 1182299 w 1234687"/>
                    <a:gd name="connsiteY7" fmla="*/ 1609725 h 2037016"/>
                    <a:gd name="connsiteX8" fmla="*/ 1191824 w 1234687"/>
                    <a:gd name="connsiteY8" fmla="*/ 1562100 h 2037016"/>
                    <a:gd name="connsiteX9" fmla="*/ 1196587 w 1234687"/>
                    <a:gd name="connsiteY9" fmla="*/ 1524000 h 2037016"/>
                    <a:gd name="connsiteX10" fmla="*/ 1206112 w 1234687"/>
                    <a:gd name="connsiteY10" fmla="*/ 1457325 h 2037016"/>
                    <a:gd name="connsiteX11" fmla="*/ 1215637 w 1234687"/>
                    <a:gd name="connsiteY11" fmla="*/ 1390650 h 2037016"/>
                    <a:gd name="connsiteX12" fmla="*/ 1225162 w 1234687"/>
                    <a:gd name="connsiteY12" fmla="*/ 1352550 h 2037016"/>
                    <a:gd name="connsiteX13" fmla="*/ 1229924 w 1234687"/>
                    <a:gd name="connsiteY13" fmla="*/ 1281112 h 2037016"/>
                    <a:gd name="connsiteX14" fmla="*/ 1234687 w 1234687"/>
                    <a:gd name="connsiteY14" fmla="*/ 1243012 h 2037016"/>
                    <a:gd name="connsiteX15" fmla="*/ 1229924 w 1234687"/>
                    <a:gd name="connsiteY15" fmla="*/ 1052512 h 2037016"/>
                    <a:gd name="connsiteX16" fmla="*/ 1210874 w 1234687"/>
                    <a:gd name="connsiteY16" fmla="*/ 995362 h 2037016"/>
                    <a:gd name="connsiteX17" fmla="*/ 1196587 w 1234687"/>
                    <a:gd name="connsiteY17" fmla="*/ 938212 h 2037016"/>
                    <a:gd name="connsiteX18" fmla="*/ 1182299 w 1234687"/>
                    <a:gd name="connsiteY18" fmla="*/ 857250 h 2037016"/>
                    <a:gd name="connsiteX19" fmla="*/ 1172774 w 1234687"/>
                    <a:gd name="connsiteY19" fmla="*/ 790575 h 2037016"/>
                    <a:gd name="connsiteX20" fmla="*/ 1172774 w 1234687"/>
                    <a:gd name="connsiteY20" fmla="*/ 304800 h 2037016"/>
                    <a:gd name="connsiteX21" fmla="*/ 1177537 w 1234687"/>
                    <a:gd name="connsiteY21" fmla="*/ 276225 h 2037016"/>
                    <a:gd name="connsiteX22" fmla="*/ 1182299 w 1234687"/>
                    <a:gd name="connsiteY22" fmla="*/ 233362 h 2037016"/>
                    <a:gd name="connsiteX23" fmla="*/ 1182299 w 1234687"/>
                    <a:gd name="connsiteY23" fmla="*/ 47625 h 2037016"/>
                    <a:gd name="connsiteX24" fmla="*/ 1153724 w 1234687"/>
                    <a:gd name="connsiteY24" fmla="*/ 42862 h 2037016"/>
                    <a:gd name="connsiteX25" fmla="*/ 1029899 w 1234687"/>
                    <a:gd name="connsiteY25" fmla="*/ 28575 h 2037016"/>
                    <a:gd name="connsiteX26" fmla="*/ 944174 w 1234687"/>
                    <a:gd name="connsiteY26" fmla="*/ 19050 h 2037016"/>
                    <a:gd name="connsiteX27" fmla="*/ 305999 w 1234687"/>
                    <a:gd name="connsiteY27" fmla="*/ 14287 h 2037016"/>
                    <a:gd name="connsiteX28" fmla="*/ 248849 w 1234687"/>
                    <a:gd name="connsiteY28" fmla="*/ 9525 h 2037016"/>
                    <a:gd name="connsiteX29" fmla="*/ 225037 w 1234687"/>
                    <a:gd name="connsiteY29" fmla="*/ 4762 h 2037016"/>
                    <a:gd name="connsiteX30" fmla="*/ 182174 w 1234687"/>
                    <a:gd name="connsiteY30" fmla="*/ 0 h 2037016"/>
                    <a:gd name="connsiteX31" fmla="*/ 82162 w 1234687"/>
                    <a:gd name="connsiteY31" fmla="*/ 19050 h 2037016"/>
                    <a:gd name="connsiteX32" fmla="*/ 63112 w 1234687"/>
                    <a:gd name="connsiteY32" fmla="*/ 23812 h 2037016"/>
                    <a:gd name="connsiteX33" fmla="*/ 25012 w 1234687"/>
                    <a:gd name="connsiteY33" fmla="*/ 38100 h 2037016"/>
                    <a:gd name="connsiteX34" fmla="*/ 10724 w 1234687"/>
                    <a:gd name="connsiteY34" fmla="*/ 47625 h 2037016"/>
                    <a:gd name="connsiteX35" fmla="*/ 25012 w 1234687"/>
                    <a:gd name="connsiteY35" fmla="*/ 190500 h 2037016"/>
                    <a:gd name="connsiteX36" fmla="*/ 34537 w 1234687"/>
                    <a:gd name="connsiteY36" fmla="*/ 238125 h 2037016"/>
                    <a:gd name="connsiteX37" fmla="*/ 44062 w 1234687"/>
                    <a:gd name="connsiteY37" fmla="*/ 285750 h 2037016"/>
                    <a:gd name="connsiteX38" fmla="*/ 48824 w 1234687"/>
                    <a:gd name="connsiteY38" fmla="*/ 919162 h 2037016"/>
                    <a:gd name="connsiteX39" fmla="*/ 58349 w 1234687"/>
                    <a:gd name="connsiteY39" fmla="*/ 962025 h 2037016"/>
                    <a:gd name="connsiteX40" fmla="*/ 53587 w 1234687"/>
                    <a:gd name="connsiteY40" fmla="*/ 1085850 h 2037016"/>
                    <a:gd name="connsiteX41" fmla="*/ 39299 w 1234687"/>
                    <a:gd name="connsiteY41" fmla="*/ 1176337 h 2037016"/>
                    <a:gd name="connsiteX42" fmla="*/ 34537 w 1234687"/>
                    <a:gd name="connsiteY42" fmla="*/ 1238250 h 2037016"/>
                    <a:gd name="connsiteX43" fmla="*/ 29774 w 1234687"/>
                    <a:gd name="connsiteY43" fmla="*/ 1262062 h 2037016"/>
                    <a:gd name="connsiteX44" fmla="*/ 25012 w 1234687"/>
                    <a:gd name="connsiteY44" fmla="*/ 1290637 h 2037016"/>
                    <a:gd name="connsiteX45" fmla="*/ 10724 w 1234687"/>
                    <a:gd name="connsiteY45" fmla="*/ 1381125 h 2037016"/>
                    <a:gd name="connsiteX46" fmla="*/ 1199 w 1234687"/>
                    <a:gd name="connsiteY46" fmla="*/ 1552575 h 2037016"/>
                    <a:gd name="connsiteX47" fmla="*/ 39299 w 1234687"/>
                    <a:gd name="connsiteY47" fmla="*/ 1976437 h 2037016"/>
                    <a:gd name="connsiteX48" fmla="*/ 58349 w 1234687"/>
                    <a:gd name="connsiteY48" fmla="*/ 2033587 h 2037016"/>
                    <a:gd name="connsiteX0" fmla="*/ 55029 w 1231367"/>
                    <a:gd name="connsiteY0" fmla="*/ 2033587 h 2042526"/>
                    <a:gd name="connsiteX1" fmla="*/ 250292 w 1231367"/>
                    <a:gd name="connsiteY1" fmla="*/ 2028825 h 2042526"/>
                    <a:gd name="connsiteX2" fmla="*/ 397929 w 1231367"/>
                    <a:gd name="connsiteY2" fmla="*/ 2014537 h 2042526"/>
                    <a:gd name="connsiteX3" fmla="*/ 602717 w 1231367"/>
                    <a:gd name="connsiteY3" fmla="*/ 2019300 h 2042526"/>
                    <a:gd name="connsiteX4" fmla="*/ 678917 w 1231367"/>
                    <a:gd name="connsiteY4" fmla="*/ 2028825 h 2042526"/>
                    <a:gd name="connsiteX5" fmla="*/ 1178979 w 1231367"/>
                    <a:gd name="connsiteY5" fmla="*/ 2028825 h 2042526"/>
                    <a:gd name="connsiteX6" fmla="*/ 1174217 w 1231367"/>
                    <a:gd name="connsiteY6" fmla="*/ 1681162 h 2042526"/>
                    <a:gd name="connsiteX7" fmla="*/ 1178979 w 1231367"/>
                    <a:gd name="connsiteY7" fmla="*/ 1609725 h 2042526"/>
                    <a:gd name="connsiteX8" fmla="*/ 1188504 w 1231367"/>
                    <a:gd name="connsiteY8" fmla="*/ 1562100 h 2042526"/>
                    <a:gd name="connsiteX9" fmla="*/ 1193267 w 1231367"/>
                    <a:gd name="connsiteY9" fmla="*/ 1524000 h 2042526"/>
                    <a:gd name="connsiteX10" fmla="*/ 1202792 w 1231367"/>
                    <a:gd name="connsiteY10" fmla="*/ 1457325 h 2042526"/>
                    <a:gd name="connsiteX11" fmla="*/ 1212317 w 1231367"/>
                    <a:gd name="connsiteY11" fmla="*/ 1390650 h 2042526"/>
                    <a:gd name="connsiteX12" fmla="*/ 1221842 w 1231367"/>
                    <a:gd name="connsiteY12" fmla="*/ 1352550 h 2042526"/>
                    <a:gd name="connsiteX13" fmla="*/ 1226604 w 1231367"/>
                    <a:gd name="connsiteY13" fmla="*/ 1281112 h 2042526"/>
                    <a:gd name="connsiteX14" fmla="*/ 1231367 w 1231367"/>
                    <a:gd name="connsiteY14" fmla="*/ 1243012 h 2042526"/>
                    <a:gd name="connsiteX15" fmla="*/ 1226604 w 1231367"/>
                    <a:gd name="connsiteY15" fmla="*/ 1052512 h 2042526"/>
                    <a:gd name="connsiteX16" fmla="*/ 1207554 w 1231367"/>
                    <a:gd name="connsiteY16" fmla="*/ 995362 h 2042526"/>
                    <a:gd name="connsiteX17" fmla="*/ 1193267 w 1231367"/>
                    <a:gd name="connsiteY17" fmla="*/ 938212 h 2042526"/>
                    <a:gd name="connsiteX18" fmla="*/ 1178979 w 1231367"/>
                    <a:gd name="connsiteY18" fmla="*/ 857250 h 2042526"/>
                    <a:gd name="connsiteX19" fmla="*/ 1169454 w 1231367"/>
                    <a:gd name="connsiteY19" fmla="*/ 790575 h 2042526"/>
                    <a:gd name="connsiteX20" fmla="*/ 1169454 w 1231367"/>
                    <a:gd name="connsiteY20" fmla="*/ 304800 h 2042526"/>
                    <a:gd name="connsiteX21" fmla="*/ 1174217 w 1231367"/>
                    <a:gd name="connsiteY21" fmla="*/ 276225 h 2042526"/>
                    <a:gd name="connsiteX22" fmla="*/ 1178979 w 1231367"/>
                    <a:gd name="connsiteY22" fmla="*/ 233362 h 2042526"/>
                    <a:gd name="connsiteX23" fmla="*/ 1178979 w 1231367"/>
                    <a:gd name="connsiteY23" fmla="*/ 47625 h 2042526"/>
                    <a:gd name="connsiteX24" fmla="*/ 1150404 w 1231367"/>
                    <a:gd name="connsiteY24" fmla="*/ 42862 h 2042526"/>
                    <a:gd name="connsiteX25" fmla="*/ 1026579 w 1231367"/>
                    <a:gd name="connsiteY25" fmla="*/ 28575 h 2042526"/>
                    <a:gd name="connsiteX26" fmla="*/ 940854 w 1231367"/>
                    <a:gd name="connsiteY26" fmla="*/ 19050 h 2042526"/>
                    <a:gd name="connsiteX27" fmla="*/ 302679 w 1231367"/>
                    <a:gd name="connsiteY27" fmla="*/ 14287 h 2042526"/>
                    <a:gd name="connsiteX28" fmla="*/ 245529 w 1231367"/>
                    <a:gd name="connsiteY28" fmla="*/ 9525 h 2042526"/>
                    <a:gd name="connsiteX29" fmla="*/ 221717 w 1231367"/>
                    <a:gd name="connsiteY29" fmla="*/ 4762 h 2042526"/>
                    <a:gd name="connsiteX30" fmla="*/ 178854 w 1231367"/>
                    <a:gd name="connsiteY30" fmla="*/ 0 h 2042526"/>
                    <a:gd name="connsiteX31" fmla="*/ 78842 w 1231367"/>
                    <a:gd name="connsiteY31" fmla="*/ 19050 h 2042526"/>
                    <a:gd name="connsiteX32" fmla="*/ 59792 w 1231367"/>
                    <a:gd name="connsiteY32" fmla="*/ 23812 h 2042526"/>
                    <a:gd name="connsiteX33" fmla="*/ 21692 w 1231367"/>
                    <a:gd name="connsiteY33" fmla="*/ 38100 h 2042526"/>
                    <a:gd name="connsiteX34" fmla="*/ 7404 w 1231367"/>
                    <a:gd name="connsiteY34" fmla="*/ 47625 h 2042526"/>
                    <a:gd name="connsiteX35" fmla="*/ 21692 w 1231367"/>
                    <a:gd name="connsiteY35" fmla="*/ 190500 h 2042526"/>
                    <a:gd name="connsiteX36" fmla="*/ 31217 w 1231367"/>
                    <a:gd name="connsiteY36" fmla="*/ 238125 h 2042526"/>
                    <a:gd name="connsiteX37" fmla="*/ 40742 w 1231367"/>
                    <a:gd name="connsiteY37" fmla="*/ 285750 h 2042526"/>
                    <a:gd name="connsiteX38" fmla="*/ 45504 w 1231367"/>
                    <a:gd name="connsiteY38" fmla="*/ 919162 h 2042526"/>
                    <a:gd name="connsiteX39" fmla="*/ 55029 w 1231367"/>
                    <a:gd name="connsiteY39" fmla="*/ 962025 h 2042526"/>
                    <a:gd name="connsiteX40" fmla="*/ 50267 w 1231367"/>
                    <a:gd name="connsiteY40" fmla="*/ 1085850 h 2042526"/>
                    <a:gd name="connsiteX41" fmla="*/ 35979 w 1231367"/>
                    <a:gd name="connsiteY41" fmla="*/ 1176337 h 2042526"/>
                    <a:gd name="connsiteX42" fmla="*/ 31217 w 1231367"/>
                    <a:gd name="connsiteY42" fmla="*/ 1238250 h 2042526"/>
                    <a:gd name="connsiteX43" fmla="*/ 26454 w 1231367"/>
                    <a:gd name="connsiteY43" fmla="*/ 1262062 h 2042526"/>
                    <a:gd name="connsiteX44" fmla="*/ 21692 w 1231367"/>
                    <a:gd name="connsiteY44" fmla="*/ 1290637 h 2042526"/>
                    <a:gd name="connsiteX45" fmla="*/ 7404 w 1231367"/>
                    <a:gd name="connsiteY45" fmla="*/ 1381125 h 2042526"/>
                    <a:gd name="connsiteX46" fmla="*/ 35979 w 1231367"/>
                    <a:gd name="connsiteY46" fmla="*/ 1976437 h 2042526"/>
                    <a:gd name="connsiteX47" fmla="*/ 55029 w 1231367"/>
                    <a:gd name="connsiteY47" fmla="*/ 2033587 h 2042526"/>
                    <a:gd name="connsiteX0" fmla="*/ 55029 w 1231367"/>
                    <a:gd name="connsiteY0" fmla="*/ 2033587 h 2042526"/>
                    <a:gd name="connsiteX1" fmla="*/ 250292 w 1231367"/>
                    <a:gd name="connsiteY1" fmla="*/ 2028825 h 2042526"/>
                    <a:gd name="connsiteX2" fmla="*/ 397929 w 1231367"/>
                    <a:gd name="connsiteY2" fmla="*/ 2014537 h 2042526"/>
                    <a:gd name="connsiteX3" fmla="*/ 602717 w 1231367"/>
                    <a:gd name="connsiteY3" fmla="*/ 2019300 h 2042526"/>
                    <a:gd name="connsiteX4" fmla="*/ 678917 w 1231367"/>
                    <a:gd name="connsiteY4" fmla="*/ 2028825 h 2042526"/>
                    <a:gd name="connsiteX5" fmla="*/ 1178979 w 1231367"/>
                    <a:gd name="connsiteY5" fmla="*/ 2028825 h 2042526"/>
                    <a:gd name="connsiteX6" fmla="*/ 1174217 w 1231367"/>
                    <a:gd name="connsiteY6" fmla="*/ 1681162 h 2042526"/>
                    <a:gd name="connsiteX7" fmla="*/ 1178979 w 1231367"/>
                    <a:gd name="connsiteY7" fmla="*/ 1609725 h 2042526"/>
                    <a:gd name="connsiteX8" fmla="*/ 1188504 w 1231367"/>
                    <a:gd name="connsiteY8" fmla="*/ 1562100 h 2042526"/>
                    <a:gd name="connsiteX9" fmla="*/ 1193267 w 1231367"/>
                    <a:gd name="connsiteY9" fmla="*/ 1524000 h 2042526"/>
                    <a:gd name="connsiteX10" fmla="*/ 1202792 w 1231367"/>
                    <a:gd name="connsiteY10" fmla="*/ 1457325 h 2042526"/>
                    <a:gd name="connsiteX11" fmla="*/ 1212317 w 1231367"/>
                    <a:gd name="connsiteY11" fmla="*/ 1390650 h 2042526"/>
                    <a:gd name="connsiteX12" fmla="*/ 1221842 w 1231367"/>
                    <a:gd name="connsiteY12" fmla="*/ 1352550 h 2042526"/>
                    <a:gd name="connsiteX13" fmla="*/ 1226604 w 1231367"/>
                    <a:gd name="connsiteY13" fmla="*/ 1281112 h 2042526"/>
                    <a:gd name="connsiteX14" fmla="*/ 1231367 w 1231367"/>
                    <a:gd name="connsiteY14" fmla="*/ 1243012 h 2042526"/>
                    <a:gd name="connsiteX15" fmla="*/ 1226604 w 1231367"/>
                    <a:gd name="connsiteY15" fmla="*/ 1052512 h 2042526"/>
                    <a:gd name="connsiteX16" fmla="*/ 1207554 w 1231367"/>
                    <a:gd name="connsiteY16" fmla="*/ 995362 h 2042526"/>
                    <a:gd name="connsiteX17" fmla="*/ 1193267 w 1231367"/>
                    <a:gd name="connsiteY17" fmla="*/ 938212 h 2042526"/>
                    <a:gd name="connsiteX18" fmla="*/ 1178979 w 1231367"/>
                    <a:gd name="connsiteY18" fmla="*/ 857250 h 2042526"/>
                    <a:gd name="connsiteX19" fmla="*/ 1169454 w 1231367"/>
                    <a:gd name="connsiteY19" fmla="*/ 790575 h 2042526"/>
                    <a:gd name="connsiteX20" fmla="*/ 1169454 w 1231367"/>
                    <a:gd name="connsiteY20" fmla="*/ 304800 h 2042526"/>
                    <a:gd name="connsiteX21" fmla="*/ 1174217 w 1231367"/>
                    <a:gd name="connsiteY21" fmla="*/ 276225 h 2042526"/>
                    <a:gd name="connsiteX22" fmla="*/ 1178979 w 1231367"/>
                    <a:gd name="connsiteY22" fmla="*/ 233362 h 2042526"/>
                    <a:gd name="connsiteX23" fmla="*/ 1178979 w 1231367"/>
                    <a:gd name="connsiteY23" fmla="*/ 47625 h 2042526"/>
                    <a:gd name="connsiteX24" fmla="*/ 1150404 w 1231367"/>
                    <a:gd name="connsiteY24" fmla="*/ 42862 h 2042526"/>
                    <a:gd name="connsiteX25" fmla="*/ 1026579 w 1231367"/>
                    <a:gd name="connsiteY25" fmla="*/ 28575 h 2042526"/>
                    <a:gd name="connsiteX26" fmla="*/ 940854 w 1231367"/>
                    <a:gd name="connsiteY26" fmla="*/ 19050 h 2042526"/>
                    <a:gd name="connsiteX27" fmla="*/ 302679 w 1231367"/>
                    <a:gd name="connsiteY27" fmla="*/ 14287 h 2042526"/>
                    <a:gd name="connsiteX28" fmla="*/ 245529 w 1231367"/>
                    <a:gd name="connsiteY28" fmla="*/ 9525 h 2042526"/>
                    <a:gd name="connsiteX29" fmla="*/ 221717 w 1231367"/>
                    <a:gd name="connsiteY29" fmla="*/ 4762 h 2042526"/>
                    <a:gd name="connsiteX30" fmla="*/ 178854 w 1231367"/>
                    <a:gd name="connsiteY30" fmla="*/ 0 h 2042526"/>
                    <a:gd name="connsiteX31" fmla="*/ 78842 w 1231367"/>
                    <a:gd name="connsiteY31" fmla="*/ 19050 h 2042526"/>
                    <a:gd name="connsiteX32" fmla="*/ 59792 w 1231367"/>
                    <a:gd name="connsiteY32" fmla="*/ 23812 h 2042526"/>
                    <a:gd name="connsiteX33" fmla="*/ 21692 w 1231367"/>
                    <a:gd name="connsiteY33" fmla="*/ 38100 h 2042526"/>
                    <a:gd name="connsiteX34" fmla="*/ 7404 w 1231367"/>
                    <a:gd name="connsiteY34" fmla="*/ 47625 h 2042526"/>
                    <a:gd name="connsiteX35" fmla="*/ 21692 w 1231367"/>
                    <a:gd name="connsiteY35" fmla="*/ 190500 h 2042526"/>
                    <a:gd name="connsiteX36" fmla="*/ 31217 w 1231367"/>
                    <a:gd name="connsiteY36" fmla="*/ 238125 h 2042526"/>
                    <a:gd name="connsiteX37" fmla="*/ 40742 w 1231367"/>
                    <a:gd name="connsiteY37" fmla="*/ 285750 h 2042526"/>
                    <a:gd name="connsiteX38" fmla="*/ 45504 w 1231367"/>
                    <a:gd name="connsiteY38" fmla="*/ 919162 h 2042526"/>
                    <a:gd name="connsiteX39" fmla="*/ 55029 w 1231367"/>
                    <a:gd name="connsiteY39" fmla="*/ 962025 h 2042526"/>
                    <a:gd name="connsiteX40" fmla="*/ 50267 w 1231367"/>
                    <a:gd name="connsiteY40" fmla="*/ 1085850 h 2042526"/>
                    <a:gd name="connsiteX41" fmla="*/ 35979 w 1231367"/>
                    <a:gd name="connsiteY41" fmla="*/ 1176337 h 2042526"/>
                    <a:gd name="connsiteX42" fmla="*/ 31217 w 1231367"/>
                    <a:gd name="connsiteY42" fmla="*/ 1238250 h 2042526"/>
                    <a:gd name="connsiteX43" fmla="*/ 26454 w 1231367"/>
                    <a:gd name="connsiteY43" fmla="*/ 1262062 h 2042526"/>
                    <a:gd name="connsiteX44" fmla="*/ 7404 w 1231367"/>
                    <a:gd name="connsiteY44" fmla="*/ 1381125 h 2042526"/>
                    <a:gd name="connsiteX45" fmla="*/ 35979 w 1231367"/>
                    <a:gd name="connsiteY45" fmla="*/ 1976437 h 2042526"/>
                    <a:gd name="connsiteX46" fmla="*/ 55029 w 1231367"/>
                    <a:gd name="connsiteY46" fmla="*/ 2033587 h 2042526"/>
                    <a:gd name="connsiteX0" fmla="*/ 55029 w 1231367"/>
                    <a:gd name="connsiteY0" fmla="*/ 2033587 h 2042526"/>
                    <a:gd name="connsiteX1" fmla="*/ 250292 w 1231367"/>
                    <a:gd name="connsiteY1" fmla="*/ 2028825 h 2042526"/>
                    <a:gd name="connsiteX2" fmla="*/ 397929 w 1231367"/>
                    <a:gd name="connsiteY2" fmla="*/ 2014537 h 2042526"/>
                    <a:gd name="connsiteX3" fmla="*/ 602717 w 1231367"/>
                    <a:gd name="connsiteY3" fmla="*/ 2019300 h 2042526"/>
                    <a:gd name="connsiteX4" fmla="*/ 678917 w 1231367"/>
                    <a:gd name="connsiteY4" fmla="*/ 2028825 h 2042526"/>
                    <a:gd name="connsiteX5" fmla="*/ 1178979 w 1231367"/>
                    <a:gd name="connsiteY5" fmla="*/ 2028825 h 2042526"/>
                    <a:gd name="connsiteX6" fmla="*/ 1174217 w 1231367"/>
                    <a:gd name="connsiteY6" fmla="*/ 1681162 h 2042526"/>
                    <a:gd name="connsiteX7" fmla="*/ 1178979 w 1231367"/>
                    <a:gd name="connsiteY7" fmla="*/ 1609725 h 2042526"/>
                    <a:gd name="connsiteX8" fmla="*/ 1188504 w 1231367"/>
                    <a:gd name="connsiteY8" fmla="*/ 1562100 h 2042526"/>
                    <a:gd name="connsiteX9" fmla="*/ 1193267 w 1231367"/>
                    <a:gd name="connsiteY9" fmla="*/ 1524000 h 2042526"/>
                    <a:gd name="connsiteX10" fmla="*/ 1202792 w 1231367"/>
                    <a:gd name="connsiteY10" fmla="*/ 1457325 h 2042526"/>
                    <a:gd name="connsiteX11" fmla="*/ 1212317 w 1231367"/>
                    <a:gd name="connsiteY11" fmla="*/ 1390650 h 2042526"/>
                    <a:gd name="connsiteX12" fmla="*/ 1221842 w 1231367"/>
                    <a:gd name="connsiteY12" fmla="*/ 1352550 h 2042526"/>
                    <a:gd name="connsiteX13" fmla="*/ 1226604 w 1231367"/>
                    <a:gd name="connsiteY13" fmla="*/ 1281112 h 2042526"/>
                    <a:gd name="connsiteX14" fmla="*/ 1231367 w 1231367"/>
                    <a:gd name="connsiteY14" fmla="*/ 1243012 h 2042526"/>
                    <a:gd name="connsiteX15" fmla="*/ 1226604 w 1231367"/>
                    <a:gd name="connsiteY15" fmla="*/ 1052512 h 2042526"/>
                    <a:gd name="connsiteX16" fmla="*/ 1207554 w 1231367"/>
                    <a:gd name="connsiteY16" fmla="*/ 995362 h 2042526"/>
                    <a:gd name="connsiteX17" fmla="*/ 1193267 w 1231367"/>
                    <a:gd name="connsiteY17" fmla="*/ 938212 h 2042526"/>
                    <a:gd name="connsiteX18" fmla="*/ 1178979 w 1231367"/>
                    <a:gd name="connsiteY18" fmla="*/ 857250 h 2042526"/>
                    <a:gd name="connsiteX19" fmla="*/ 1169454 w 1231367"/>
                    <a:gd name="connsiteY19" fmla="*/ 790575 h 2042526"/>
                    <a:gd name="connsiteX20" fmla="*/ 1169454 w 1231367"/>
                    <a:gd name="connsiteY20" fmla="*/ 304800 h 2042526"/>
                    <a:gd name="connsiteX21" fmla="*/ 1174217 w 1231367"/>
                    <a:gd name="connsiteY21" fmla="*/ 276225 h 2042526"/>
                    <a:gd name="connsiteX22" fmla="*/ 1178979 w 1231367"/>
                    <a:gd name="connsiteY22" fmla="*/ 233362 h 2042526"/>
                    <a:gd name="connsiteX23" fmla="*/ 1178979 w 1231367"/>
                    <a:gd name="connsiteY23" fmla="*/ 47625 h 2042526"/>
                    <a:gd name="connsiteX24" fmla="*/ 1150404 w 1231367"/>
                    <a:gd name="connsiteY24" fmla="*/ 42862 h 2042526"/>
                    <a:gd name="connsiteX25" fmla="*/ 1026579 w 1231367"/>
                    <a:gd name="connsiteY25" fmla="*/ 28575 h 2042526"/>
                    <a:gd name="connsiteX26" fmla="*/ 940854 w 1231367"/>
                    <a:gd name="connsiteY26" fmla="*/ 19050 h 2042526"/>
                    <a:gd name="connsiteX27" fmla="*/ 302679 w 1231367"/>
                    <a:gd name="connsiteY27" fmla="*/ 14287 h 2042526"/>
                    <a:gd name="connsiteX28" fmla="*/ 245529 w 1231367"/>
                    <a:gd name="connsiteY28" fmla="*/ 9525 h 2042526"/>
                    <a:gd name="connsiteX29" fmla="*/ 221717 w 1231367"/>
                    <a:gd name="connsiteY29" fmla="*/ 4762 h 2042526"/>
                    <a:gd name="connsiteX30" fmla="*/ 178854 w 1231367"/>
                    <a:gd name="connsiteY30" fmla="*/ 0 h 2042526"/>
                    <a:gd name="connsiteX31" fmla="*/ 78842 w 1231367"/>
                    <a:gd name="connsiteY31" fmla="*/ 19050 h 2042526"/>
                    <a:gd name="connsiteX32" fmla="*/ 59792 w 1231367"/>
                    <a:gd name="connsiteY32" fmla="*/ 23812 h 2042526"/>
                    <a:gd name="connsiteX33" fmla="*/ 21692 w 1231367"/>
                    <a:gd name="connsiteY33" fmla="*/ 38100 h 2042526"/>
                    <a:gd name="connsiteX34" fmla="*/ 7404 w 1231367"/>
                    <a:gd name="connsiteY34" fmla="*/ 47625 h 2042526"/>
                    <a:gd name="connsiteX35" fmla="*/ 21692 w 1231367"/>
                    <a:gd name="connsiteY35" fmla="*/ 190500 h 2042526"/>
                    <a:gd name="connsiteX36" fmla="*/ 31217 w 1231367"/>
                    <a:gd name="connsiteY36" fmla="*/ 238125 h 2042526"/>
                    <a:gd name="connsiteX37" fmla="*/ 40742 w 1231367"/>
                    <a:gd name="connsiteY37" fmla="*/ 285750 h 2042526"/>
                    <a:gd name="connsiteX38" fmla="*/ 45504 w 1231367"/>
                    <a:gd name="connsiteY38" fmla="*/ 919162 h 2042526"/>
                    <a:gd name="connsiteX39" fmla="*/ 55029 w 1231367"/>
                    <a:gd name="connsiteY39" fmla="*/ 962025 h 2042526"/>
                    <a:gd name="connsiteX40" fmla="*/ 50267 w 1231367"/>
                    <a:gd name="connsiteY40" fmla="*/ 1085850 h 2042526"/>
                    <a:gd name="connsiteX41" fmla="*/ 35979 w 1231367"/>
                    <a:gd name="connsiteY41" fmla="*/ 1176337 h 2042526"/>
                    <a:gd name="connsiteX42" fmla="*/ 31217 w 1231367"/>
                    <a:gd name="connsiteY42" fmla="*/ 1238250 h 2042526"/>
                    <a:gd name="connsiteX43" fmla="*/ 7404 w 1231367"/>
                    <a:gd name="connsiteY43" fmla="*/ 1381125 h 2042526"/>
                    <a:gd name="connsiteX44" fmla="*/ 35979 w 1231367"/>
                    <a:gd name="connsiteY44" fmla="*/ 1976437 h 2042526"/>
                    <a:gd name="connsiteX45" fmla="*/ 55029 w 1231367"/>
                    <a:gd name="connsiteY45" fmla="*/ 2033587 h 2042526"/>
                    <a:gd name="connsiteX0" fmla="*/ 55029 w 1231367"/>
                    <a:gd name="connsiteY0" fmla="*/ 2033587 h 2042526"/>
                    <a:gd name="connsiteX1" fmla="*/ 250292 w 1231367"/>
                    <a:gd name="connsiteY1" fmla="*/ 2028825 h 2042526"/>
                    <a:gd name="connsiteX2" fmla="*/ 397929 w 1231367"/>
                    <a:gd name="connsiteY2" fmla="*/ 2014537 h 2042526"/>
                    <a:gd name="connsiteX3" fmla="*/ 602717 w 1231367"/>
                    <a:gd name="connsiteY3" fmla="*/ 2019300 h 2042526"/>
                    <a:gd name="connsiteX4" fmla="*/ 678917 w 1231367"/>
                    <a:gd name="connsiteY4" fmla="*/ 2028825 h 2042526"/>
                    <a:gd name="connsiteX5" fmla="*/ 1178979 w 1231367"/>
                    <a:gd name="connsiteY5" fmla="*/ 2028825 h 2042526"/>
                    <a:gd name="connsiteX6" fmla="*/ 1174217 w 1231367"/>
                    <a:gd name="connsiteY6" fmla="*/ 1681162 h 2042526"/>
                    <a:gd name="connsiteX7" fmla="*/ 1178979 w 1231367"/>
                    <a:gd name="connsiteY7" fmla="*/ 1609725 h 2042526"/>
                    <a:gd name="connsiteX8" fmla="*/ 1188504 w 1231367"/>
                    <a:gd name="connsiteY8" fmla="*/ 1562100 h 2042526"/>
                    <a:gd name="connsiteX9" fmla="*/ 1193267 w 1231367"/>
                    <a:gd name="connsiteY9" fmla="*/ 1524000 h 2042526"/>
                    <a:gd name="connsiteX10" fmla="*/ 1202792 w 1231367"/>
                    <a:gd name="connsiteY10" fmla="*/ 1457325 h 2042526"/>
                    <a:gd name="connsiteX11" fmla="*/ 1212317 w 1231367"/>
                    <a:gd name="connsiteY11" fmla="*/ 1390650 h 2042526"/>
                    <a:gd name="connsiteX12" fmla="*/ 1221842 w 1231367"/>
                    <a:gd name="connsiteY12" fmla="*/ 1352550 h 2042526"/>
                    <a:gd name="connsiteX13" fmla="*/ 1226604 w 1231367"/>
                    <a:gd name="connsiteY13" fmla="*/ 1281112 h 2042526"/>
                    <a:gd name="connsiteX14" fmla="*/ 1231367 w 1231367"/>
                    <a:gd name="connsiteY14" fmla="*/ 1243012 h 2042526"/>
                    <a:gd name="connsiteX15" fmla="*/ 1226604 w 1231367"/>
                    <a:gd name="connsiteY15" fmla="*/ 1052512 h 2042526"/>
                    <a:gd name="connsiteX16" fmla="*/ 1207554 w 1231367"/>
                    <a:gd name="connsiteY16" fmla="*/ 995362 h 2042526"/>
                    <a:gd name="connsiteX17" fmla="*/ 1193267 w 1231367"/>
                    <a:gd name="connsiteY17" fmla="*/ 938212 h 2042526"/>
                    <a:gd name="connsiteX18" fmla="*/ 1178979 w 1231367"/>
                    <a:gd name="connsiteY18" fmla="*/ 857250 h 2042526"/>
                    <a:gd name="connsiteX19" fmla="*/ 1169454 w 1231367"/>
                    <a:gd name="connsiteY19" fmla="*/ 790575 h 2042526"/>
                    <a:gd name="connsiteX20" fmla="*/ 1169454 w 1231367"/>
                    <a:gd name="connsiteY20" fmla="*/ 304800 h 2042526"/>
                    <a:gd name="connsiteX21" fmla="*/ 1174217 w 1231367"/>
                    <a:gd name="connsiteY21" fmla="*/ 276225 h 2042526"/>
                    <a:gd name="connsiteX22" fmla="*/ 1178979 w 1231367"/>
                    <a:gd name="connsiteY22" fmla="*/ 233362 h 2042526"/>
                    <a:gd name="connsiteX23" fmla="*/ 1178979 w 1231367"/>
                    <a:gd name="connsiteY23" fmla="*/ 47625 h 2042526"/>
                    <a:gd name="connsiteX24" fmla="*/ 1150404 w 1231367"/>
                    <a:gd name="connsiteY24" fmla="*/ 42862 h 2042526"/>
                    <a:gd name="connsiteX25" fmla="*/ 1026579 w 1231367"/>
                    <a:gd name="connsiteY25" fmla="*/ 28575 h 2042526"/>
                    <a:gd name="connsiteX26" fmla="*/ 940854 w 1231367"/>
                    <a:gd name="connsiteY26" fmla="*/ 19050 h 2042526"/>
                    <a:gd name="connsiteX27" fmla="*/ 302679 w 1231367"/>
                    <a:gd name="connsiteY27" fmla="*/ 14287 h 2042526"/>
                    <a:gd name="connsiteX28" fmla="*/ 245529 w 1231367"/>
                    <a:gd name="connsiteY28" fmla="*/ 9525 h 2042526"/>
                    <a:gd name="connsiteX29" fmla="*/ 221717 w 1231367"/>
                    <a:gd name="connsiteY29" fmla="*/ 4762 h 2042526"/>
                    <a:gd name="connsiteX30" fmla="*/ 178854 w 1231367"/>
                    <a:gd name="connsiteY30" fmla="*/ 0 h 2042526"/>
                    <a:gd name="connsiteX31" fmla="*/ 78842 w 1231367"/>
                    <a:gd name="connsiteY31" fmla="*/ 19050 h 2042526"/>
                    <a:gd name="connsiteX32" fmla="*/ 59792 w 1231367"/>
                    <a:gd name="connsiteY32" fmla="*/ 23812 h 2042526"/>
                    <a:gd name="connsiteX33" fmla="*/ 21692 w 1231367"/>
                    <a:gd name="connsiteY33" fmla="*/ 38100 h 2042526"/>
                    <a:gd name="connsiteX34" fmla="*/ 7404 w 1231367"/>
                    <a:gd name="connsiteY34" fmla="*/ 47625 h 2042526"/>
                    <a:gd name="connsiteX35" fmla="*/ 21692 w 1231367"/>
                    <a:gd name="connsiteY35" fmla="*/ 190500 h 2042526"/>
                    <a:gd name="connsiteX36" fmla="*/ 31217 w 1231367"/>
                    <a:gd name="connsiteY36" fmla="*/ 238125 h 2042526"/>
                    <a:gd name="connsiteX37" fmla="*/ 40742 w 1231367"/>
                    <a:gd name="connsiteY37" fmla="*/ 285750 h 2042526"/>
                    <a:gd name="connsiteX38" fmla="*/ 45504 w 1231367"/>
                    <a:gd name="connsiteY38" fmla="*/ 919162 h 2042526"/>
                    <a:gd name="connsiteX39" fmla="*/ 55029 w 1231367"/>
                    <a:gd name="connsiteY39" fmla="*/ 962025 h 2042526"/>
                    <a:gd name="connsiteX40" fmla="*/ 50267 w 1231367"/>
                    <a:gd name="connsiteY40" fmla="*/ 1085850 h 2042526"/>
                    <a:gd name="connsiteX41" fmla="*/ 35979 w 1231367"/>
                    <a:gd name="connsiteY41" fmla="*/ 1176337 h 2042526"/>
                    <a:gd name="connsiteX42" fmla="*/ 7404 w 1231367"/>
                    <a:gd name="connsiteY42" fmla="*/ 1381125 h 2042526"/>
                    <a:gd name="connsiteX43" fmla="*/ 35979 w 1231367"/>
                    <a:gd name="connsiteY43" fmla="*/ 1976437 h 2042526"/>
                    <a:gd name="connsiteX44" fmla="*/ 55029 w 1231367"/>
                    <a:gd name="connsiteY44" fmla="*/ 2033587 h 2042526"/>
                    <a:gd name="connsiteX0" fmla="*/ 55029 w 1231367"/>
                    <a:gd name="connsiteY0" fmla="*/ 2033587 h 2042526"/>
                    <a:gd name="connsiteX1" fmla="*/ 250292 w 1231367"/>
                    <a:gd name="connsiteY1" fmla="*/ 2028825 h 2042526"/>
                    <a:gd name="connsiteX2" fmla="*/ 397929 w 1231367"/>
                    <a:gd name="connsiteY2" fmla="*/ 2014537 h 2042526"/>
                    <a:gd name="connsiteX3" fmla="*/ 602717 w 1231367"/>
                    <a:gd name="connsiteY3" fmla="*/ 2019300 h 2042526"/>
                    <a:gd name="connsiteX4" fmla="*/ 678917 w 1231367"/>
                    <a:gd name="connsiteY4" fmla="*/ 2028825 h 2042526"/>
                    <a:gd name="connsiteX5" fmla="*/ 1178979 w 1231367"/>
                    <a:gd name="connsiteY5" fmla="*/ 2028825 h 2042526"/>
                    <a:gd name="connsiteX6" fmla="*/ 1174217 w 1231367"/>
                    <a:gd name="connsiteY6" fmla="*/ 1681162 h 2042526"/>
                    <a:gd name="connsiteX7" fmla="*/ 1178979 w 1231367"/>
                    <a:gd name="connsiteY7" fmla="*/ 1609725 h 2042526"/>
                    <a:gd name="connsiteX8" fmla="*/ 1188504 w 1231367"/>
                    <a:gd name="connsiteY8" fmla="*/ 1562100 h 2042526"/>
                    <a:gd name="connsiteX9" fmla="*/ 1193267 w 1231367"/>
                    <a:gd name="connsiteY9" fmla="*/ 1524000 h 2042526"/>
                    <a:gd name="connsiteX10" fmla="*/ 1202792 w 1231367"/>
                    <a:gd name="connsiteY10" fmla="*/ 1457325 h 2042526"/>
                    <a:gd name="connsiteX11" fmla="*/ 1212317 w 1231367"/>
                    <a:gd name="connsiteY11" fmla="*/ 1390650 h 2042526"/>
                    <a:gd name="connsiteX12" fmla="*/ 1221842 w 1231367"/>
                    <a:gd name="connsiteY12" fmla="*/ 1352550 h 2042526"/>
                    <a:gd name="connsiteX13" fmla="*/ 1226604 w 1231367"/>
                    <a:gd name="connsiteY13" fmla="*/ 1281112 h 2042526"/>
                    <a:gd name="connsiteX14" fmla="*/ 1231367 w 1231367"/>
                    <a:gd name="connsiteY14" fmla="*/ 1243012 h 2042526"/>
                    <a:gd name="connsiteX15" fmla="*/ 1226604 w 1231367"/>
                    <a:gd name="connsiteY15" fmla="*/ 1052512 h 2042526"/>
                    <a:gd name="connsiteX16" fmla="*/ 1207554 w 1231367"/>
                    <a:gd name="connsiteY16" fmla="*/ 995362 h 2042526"/>
                    <a:gd name="connsiteX17" fmla="*/ 1193267 w 1231367"/>
                    <a:gd name="connsiteY17" fmla="*/ 938212 h 2042526"/>
                    <a:gd name="connsiteX18" fmla="*/ 1178979 w 1231367"/>
                    <a:gd name="connsiteY18" fmla="*/ 857250 h 2042526"/>
                    <a:gd name="connsiteX19" fmla="*/ 1169454 w 1231367"/>
                    <a:gd name="connsiteY19" fmla="*/ 790575 h 2042526"/>
                    <a:gd name="connsiteX20" fmla="*/ 1169454 w 1231367"/>
                    <a:gd name="connsiteY20" fmla="*/ 304800 h 2042526"/>
                    <a:gd name="connsiteX21" fmla="*/ 1174217 w 1231367"/>
                    <a:gd name="connsiteY21" fmla="*/ 276225 h 2042526"/>
                    <a:gd name="connsiteX22" fmla="*/ 1178979 w 1231367"/>
                    <a:gd name="connsiteY22" fmla="*/ 233362 h 2042526"/>
                    <a:gd name="connsiteX23" fmla="*/ 1178979 w 1231367"/>
                    <a:gd name="connsiteY23" fmla="*/ 47625 h 2042526"/>
                    <a:gd name="connsiteX24" fmla="*/ 1150404 w 1231367"/>
                    <a:gd name="connsiteY24" fmla="*/ 42862 h 2042526"/>
                    <a:gd name="connsiteX25" fmla="*/ 1026579 w 1231367"/>
                    <a:gd name="connsiteY25" fmla="*/ 28575 h 2042526"/>
                    <a:gd name="connsiteX26" fmla="*/ 940854 w 1231367"/>
                    <a:gd name="connsiteY26" fmla="*/ 19050 h 2042526"/>
                    <a:gd name="connsiteX27" fmla="*/ 302679 w 1231367"/>
                    <a:gd name="connsiteY27" fmla="*/ 14287 h 2042526"/>
                    <a:gd name="connsiteX28" fmla="*/ 245529 w 1231367"/>
                    <a:gd name="connsiteY28" fmla="*/ 9525 h 2042526"/>
                    <a:gd name="connsiteX29" fmla="*/ 221717 w 1231367"/>
                    <a:gd name="connsiteY29" fmla="*/ 4762 h 2042526"/>
                    <a:gd name="connsiteX30" fmla="*/ 178854 w 1231367"/>
                    <a:gd name="connsiteY30" fmla="*/ 0 h 2042526"/>
                    <a:gd name="connsiteX31" fmla="*/ 78842 w 1231367"/>
                    <a:gd name="connsiteY31" fmla="*/ 19050 h 2042526"/>
                    <a:gd name="connsiteX32" fmla="*/ 59792 w 1231367"/>
                    <a:gd name="connsiteY32" fmla="*/ 23812 h 2042526"/>
                    <a:gd name="connsiteX33" fmla="*/ 21692 w 1231367"/>
                    <a:gd name="connsiteY33" fmla="*/ 38100 h 2042526"/>
                    <a:gd name="connsiteX34" fmla="*/ 7404 w 1231367"/>
                    <a:gd name="connsiteY34" fmla="*/ 47625 h 2042526"/>
                    <a:gd name="connsiteX35" fmla="*/ 21692 w 1231367"/>
                    <a:gd name="connsiteY35" fmla="*/ 190500 h 2042526"/>
                    <a:gd name="connsiteX36" fmla="*/ 31217 w 1231367"/>
                    <a:gd name="connsiteY36" fmla="*/ 238125 h 2042526"/>
                    <a:gd name="connsiteX37" fmla="*/ 40742 w 1231367"/>
                    <a:gd name="connsiteY37" fmla="*/ 285750 h 2042526"/>
                    <a:gd name="connsiteX38" fmla="*/ 45504 w 1231367"/>
                    <a:gd name="connsiteY38" fmla="*/ 919162 h 2042526"/>
                    <a:gd name="connsiteX39" fmla="*/ 55029 w 1231367"/>
                    <a:gd name="connsiteY39" fmla="*/ 962025 h 2042526"/>
                    <a:gd name="connsiteX40" fmla="*/ 35979 w 1231367"/>
                    <a:gd name="connsiteY40" fmla="*/ 1176337 h 2042526"/>
                    <a:gd name="connsiteX41" fmla="*/ 7404 w 1231367"/>
                    <a:gd name="connsiteY41" fmla="*/ 1381125 h 2042526"/>
                    <a:gd name="connsiteX42" fmla="*/ 35979 w 1231367"/>
                    <a:gd name="connsiteY42" fmla="*/ 1976437 h 2042526"/>
                    <a:gd name="connsiteX43" fmla="*/ 55029 w 1231367"/>
                    <a:gd name="connsiteY43" fmla="*/ 2033587 h 2042526"/>
                    <a:gd name="connsiteX0" fmla="*/ 55029 w 1231367"/>
                    <a:gd name="connsiteY0" fmla="*/ 2033587 h 2042526"/>
                    <a:gd name="connsiteX1" fmla="*/ 250292 w 1231367"/>
                    <a:gd name="connsiteY1" fmla="*/ 2028825 h 2042526"/>
                    <a:gd name="connsiteX2" fmla="*/ 397929 w 1231367"/>
                    <a:gd name="connsiteY2" fmla="*/ 2014537 h 2042526"/>
                    <a:gd name="connsiteX3" fmla="*/ 602717 w 1231367"/>
                    <a:gd name="connsiteY3" fmla="*/ 2019300 h 2042526"/>
                    <a:gd name="connsiteX4" fmla="*/ 678917 w 1231367"/>
                    <a:gd name="connsiteY4" fmla="*/ 2028825 h 2042526"/>
                    <a:gd name="connsiteX5" fmla="*/ 1178979 w 1231367"/>
                    <a:gd name="connsiteY5" fmla="*/ 2028825 h 2042526"/>
                    <a:gd name="connsiteX6" fmla="*/ 1174217 w 1231367"/>
                    <a:gd name="connsiteY6" fmla="*/ 1681162 h 2042526"/>
                    <a:gd name="connsiteX7" fmla="*/ 1178979 w 1231367"/>
                    <a:gd name="connsiteY7" fmla="*/ 1609725 h 2042526"/>
                    <a:gd name="connsiteX8" fmla="*/ 1188504 w 1231367"/>
                    <a:gd name="connsiteY8" fmla="*/ 1562100 h 2042526"/>
                    <a:gd name="connsiteX9" fmla="*/ 1193267 w 1231367"/>
                    <a:gd name="connsiteY9" fmla="*/ 1524000 h 2042526"/>
                    <a:gd name="connsiteX10" fmla="*/ 1202792 w 1231367"/>
                    <a:gd name="connsiteY10" fmla="*/ 1457325 h 2042526"/>
                    <a:gd name="connsiteX11" fmla="*/ 1212317 w 1231367"/>
                    <a:gd name="connsiteY11" fmla="*/ 1390650 h 2042526"/>
                    <a:gd name="connsiteX12" fmla="*/ 1221842 w 1231367"/>
                    <a:gd name="connsiteY12" fmla="*/ 1352550 h 2042526"/>
                    <a:gd name="connsiteX13" fmla="*/ 1226604 w 1231367"/>
                    <a:gd name="connsiteY13" fmla="*/ 1281112 h 2042526"/>
                    <a:gd name="connsiteX14" fmla="*/ 1231367 w 1231367"/>
                    <a:gd name="connsiteY14" fmla="*/ 1243012 h 2042526"/>
                    <a:gd name="connsiteX15" fmla="*/ 1226604 w 1231367"/>
                    <a:gd name="connsiteY15" fmla="*/ 1052512 h 2042526"/>
                    <a:gd name="connsiteX16" fmla="*/ 1207554 w 1231367"/>
                    <a:gd name="connsiteY16" fmla="*/ 995362 h 2042526"/>
                    <a:gd name="connsiteX17" fmla="*/ 1193267 w 1231367"/>
                    <a:gd name="connsiteY17" fmla="*/ 938212 h 2042526"/>
                    <a:gd name="connsiteX18" fmla="*/ 1178979 w 1231367"/>
                    <a:gd name="connsiteY18" fmla="*/ 857250 h 2042526"/>
                    <a:gd name="connsiteX19" fmla="*/ 1169454 w 1231367"/>
                    <a:gd name="connsiteY19" fmla="*/ 790575 h 2042526"/>
                    <a:gd name="connsiteX20" fmla="*/ 1169454 w 1231367"/>
                    <a:gd name="connsiteY20" fmla="*/ 304800 h 2042526"/>
                    <a:gd name="connsiteX21" fmla="*/ 1174217 w 1231367"/>
                    <a:gd name="connsiteY21" fmla="*/ 276225 h 2042526"/>
                    <a:gd name="connsiteX22" fmla="*/ 1178979 w 1231367"/>
                    <a:gd name="connsiteY22" fmla="*/ 233362 h 2042526"/>
                    <a:gd name="connsiteX23" fmla="*/ 1178979 w 1231367"/>
                    <a:gd name="connsiteY23" fmla="*/ 47625 h 2042526"/>
                    <a:gd name="connsiteX24" fmla="*/ 1150404 w 1231367"/>
                    <a:gd name="connsiteY24" fmla="*/ 42862 h 2042526"/>
                    <a:gd name="connsiteX25" fmla="*/ 1026579 w 1231367"/>
                    <a:gd name="connsiteY25" fmla="*/ 28575 h 2042526"/>
                    <a:gd name="connsiteX26" fmla="*/ 940854 w 1231367"/>
                    <a:gd name="connsiteY26" fmla="*/ 19050 h 2042526"/>
                    <a:gd name="connsiteX27" fmla="*/ 302679 w 1231367"/>
                    <a:gd name="connsiteY27" fmla="*/ 14287 h 2042526"/>
                    <a:gd name="connsiteX28" fmla="*/ 245529 w 1231367"/>
                    <a:gd name="connsiteY28" fmla="*/ 9525 h 2042526"/>
                    <a:gd name="connsiteX29" fmla="*/ 221717 w 1231367"/>
                    <a:gd name="connsiteY29" fmla="*/ 4762 h 2042526"/>
                    <a:gd name="connsiteX30" fmla="*/ 178854 w 1231367"/>
                    <a:gd name="connsiteY30" fmla="*/ 0 h 2042526"/>
                    <a:gd name="connsiteX31" fmla="*/ 78842 w 1231367"/>
                    <a:gd name="connsiteY31" fmla="*/ 19050 h 2042526"/>
                    <a:gd name="connsiteX32" fmla="*/ 59792 w 1231367"/>
                    <a:gd name="connsiteY32" fmla="*/ 23812 h 2042526"/>
                    <a:gd name="connsiteX33" fmla="*/ 21692 w 1231367"/>
                    <a:gd name="connsiteY33" fmla="*/ 38100 h 2042526"/>
                    <a:gd name="connsiteX34" fmla="*/ 7404 w 1231367"/>
                    <a:gd name="connsiteY34" fmla="*/ 47625 h 2042526"/>
                    <a:gd name="connsiteX35" fmla="*/ 21692 w 1231367"/>
                    <a:gd name="connsiteY35" fmla="*/ 190500 h 2042526"/>
                    <a:gd name="connsiteX36" fmla="*/ 31217 w 1231367"/>
                    <a:gd name="connsiteY36" fmla="*/ 238125 h 2042526"/>
                    <a:gd name="connsiteX37" fmla="*/ 40742 w 1231367"/>
                    <a:gd name="connsiteY37" fmla="*/ 285750 h 2042526"/>
                    <a:gd name="connsiteX38" fmla="*/ 45504 w 1231367"/>
                    <a:gd name="connsiteY38" fmla="*/ 919162 h 2042526"/>
                    <a:gd name="connsiteX39" fmla="*/ 35979 w 1231367"/>
                    <a:gd name="connsiteY39" fmla="*/ 1176337 h 2042526"/>
                    <a:gd name="connsiteX40" fmla="*/ 7404 w 1231367"/>
                    <a:gd name="connsiteY40" fmla="*/ 1381125 h 2042526"/>
                    <a:gd name="connsiteX41" fmla="*/ 35979 w 1231367"/>
                    <a:gd name="connsiteY41" fmla="*/ 1976437 h 2042526"/>
                    <a:gd name="connsiteX42" fmla="*/ 55029 w 1231367"/>
                    <a:gd name="connsiteY42" fmla="*/ 2033587 h 2042526"/>
                    <a:gd name="connsiteX0" fmla="*/ 55029 w 1231367"/>
                    <a:gd name="connsiteY0" fmla="*/ 2033587 h 2056196"/>
                    <a:gd name="connsiteX1" fmla="*/ 250292 w 1231367"/>
                    <a:gd name="connsiteY1" fmla="*/ 2028825 h 2056196"/>
                    <a:gd name="connsiteX2" fmla="*/ 397929 w 1231367"/>
                    <a:gd name="connsiteY2" fmla="*/ 2014537 h 2056196"/>
                    <a:gd name="connsiteX3" fmla="*/ 602717 w 1231367"/>
                    <a:gd name="connsiteY3" fmla="*/ 2019300 h 2056196"/>
                    <a:gd name="connsiteX4" fmla="*/ 678917 w 1231367"/>
                    <a:gd name="connsiteY4" fmla="*/ 2028825 h 2056196"/>
                    <a:gd name="connsiteX5" fmla="*/ 1178979 w 1231367"/>
                    <a:gd name="connsiteY5" fmla="*/ 2028825 h 2056196"/>
                    <a:gd name="connsiteX6" fmla="*/ 1174217 w 1231367"/>
                    <a:gd name="connsiteY6" fmla="*/ 1681162 h 2056196"/>
                    <a:gd name="connsiteX7" fmla="*/ 1178979 w 1231367"/>
                    <a:gd name="connsiteY7" fmla="*/ 1609725 h 2056196"/>
                    <a:gd name="connsiteX8" fmla="*/ 1188504 w 1231367"/>
                    <a:gd name="connsiteY8" fmla="*/ 1562100 h 2056196"/>
                    <a:gd name="connsiteX9" fmla="*/ 1193267 w 1231367"/>
                    <a:gd name="connsiteY9" fmla="*/ 1524000 h 2056196"/>
                    <a:gd name="connsiteX10" fmla="*/ 1202792 w 1231367"/>
                    <a:gd name="connsiteY10" fmla="*/ 1457325 h 2056196"/>
                    <a:gd name="connsiteX11" fmla="*/ 1212317 w 1231367"/>
                    <a:gd name="connsiteY11" fmla="*/ 1390650 h 2056196"/>
                    <a:gd name="connsiteX12" fmla="*/ 1221842 w 1231367"/>
                    <a:gd name="connsiteY12" fmla="*/ 1352550 h 2056196"/>
                    <a:gd name="connsiteX13" fmla="*/ 1226604 w 1231367"/>
                    <a:gd name="connsiteY13" fmla="*/ 1281112 h 2056196"/>
                    <a:gd name="connsiteX14" fmla="*/ 1231367 w 1231367"/>
                    <a:gd name="connsiteY14" fmla="*/ 1243012 h 2056196"/>
                    <a:gd name="connsiteX15" fmla="*/ 1226604 w 1231367"/>
                    <a:gd name="connsiteY15" fmla="*/ 1052512 h 2056196"/>
                    <a:gd name="connsiteX16" fmla="*/ 1207554 w 1231367"/>
                    <a:gd name="connsiteY16" fmla="*/ 995362 h 2056196"/>
                    <a:gd name="connsiteX17" fmla="*/ 1193267 w 1231367"/>
                    <a:gd name="connsiteY17" fmla="*/ 938212 h 2056196"/>
                    <a:gd name="connsiteX18" fmla="*/ 1178979 w 1231367"/>
                    <a:gd name="connsiteY18" fmla="*/ 857250 h 2056196"/>
                    <a:gd name="connsiteX19" fmla="*/ 1169454 w 1231367"/>
                    <a:gd name="connsiteY19" fmla="*/ 790575 h 2056196"/>
                    <a:gd name="connsiteX20" fmla="*/ 1169454 w 1231367"/>
                    <a:gd name="connsiteY20" fmla="*/ 304800 h 2056196"/>
                    <a:gd name="connsiteX21" fmla="*/ 1174217 w 1231367"/>
                    <a:gd name="connsiteY21" fmla="*/ 276225 h 2056196"/>
                    <a:gd name="connsiteX22" fmla="*/ 1178979 w 1231367"/>
                    <a:gd name="connsiteY22" fmla="*/ 233362 h 2056196"/>
                    <a:gd name="connsiteX23" fmla="*/ 1178979 w 1231367"/>
                    <a:gd name="connsiteY23" fmla="*/ 47625 h 2056196"/>
                    <a:gd name="connsiteX24" fmla="*/ 1150404 w 1231367"/>
                    <a:gd name="connsiteY24" fmla="*/ 42862 h 2056196"/>
                    <a:gd name="connsiteX25" fmla="*/ 1026579 w 1231367"/>
                    <a:gd name="connsiteY25" fmla="*/ 28575 h 2056196"/>
                    <a:gd name="connsiteX26" fmla="*/ 940854 w 1231367"/>
                    <a:gd name="connsiteY26" fmla="*/ 19050 h 2056196"/>
                    <a:gd name="connsiteX27" fmla="*/ 302679 w 1231367"/>
                    <a:gd name="connsiteY27" fmla="*/ 14287 h 2056196"/>
                    <a:gd name="connsiteX28" fmla="*/ 245529 w 1231367"/>
                    <a:gd name="connsiteY28" fmla="*/ 9525 h 2056196"/>
                    <a:gd name="connsiteX29" fmla="*/ 221717 w 1231367"/>
                    <a:gd name="connsiteY29" fmla="*/ 4762 h 2056196"/>
                    <a:gd name="connsiteX30" fmla="*/ 178854 w 1231367"/>
                    <a:gd name="connsiteY30" fmla="*/ 0 h 2056196"/>
                    <a:gd name="connsiteX31" fmla="*/ 78842 w 1231367"/>
                    <a:gd name="connsiteY31" fmla="*/ 19050 h 2056196"/>
                    <a:gd name="connsiteX32" fmla="*/ 59792 w 1231367"/>
                    <a:gd name="connsiteY32" fmla="*/ 23812 h 2056196"/>
                    <a:gd name="connsiteX33" fmla="*/ 21692 w 1231367"/>
                    <a:gd name="connsiteY33" fmla="*/ 38100 h 2056196"/>
                    <a:gd name="connsiteX34" fmla="*/ 7404 w 1231367"/>
                    <a:gd name="connsiteY34" fmla="*/ 47625 h 2056196"/>
                    <a:gd name="connsiteX35" fmla="*/ 21692 w 1231367"/>
                    <a:gd name="connsiteY35" fmla="*/ 190500 h 2056196"/>
                    <a:gd name="connsiteX36" fmla="*/ 31217 w 1231367"/>
                    <a:gd name="connsiteY36" fmla="*/ 238125 h 2056196"/>
                    <a:gd name="connsiteX37" fmla="*/ 40742 w 1231367"/>
                    <a:gd name="connsiteY37" fmla="*/ 285750 h 2056196"/>
                    <a:gd name="connsiteX38" fmla="*/ 45504 w 1231367"/>
                    <a:gd name="connsiteY38" fmla="*/ 919162 h 2056196"/>
                    <a:gd name="connsiteX39" fmla="*/ 35979 w 1231367"/>
                    <a:gd name="connsiteY39" fmla="*/ 1176337 h 2056196"/>
                    <a:gd name="connsiteX40" fmla="*/ 35979 w 1231367"/>
                    <a:gd name="connsiteY40" fmla="*/ 1976437 h 2056196"/>
                    <a:gd name="connsiteX41" fmla="*/ 55029 w 1231367"/>
                    <a:gd name="connsiteY41" fmla="*/ 2033587 h 2056196"/>
                    <a:gd name="connsiteX0" fmla="*/ 52464 w 1228802"/>
                    <a:gd name="connsiteY0" fmla="*/ 2033587 h 2056196"/>
                    <a:gd name="connsiteX1" fmla="*/ 247727 w 1228802"/>
                    <a:gd name="connsiteY1" fmla="*/ 2028825 h 2056196"/>
                    <a:gd name="connsiteX2" fmla="*/ 395364 w 1228802"/>
                    <a:gd name="connsiteY2" fmla="*/ 2014537 h 2056196"/>
                    <a:gd name="connsiteX3" fmla="*/ 600152 w 1228802"/>
                    <a:gd name="connsiteY3" fmla="*/ 2019300 h 2056196"/>
                    <a:gd name="connsiteX4" fmla="*/ 676352 w 1228802"/>
                    <a:gd name="connsiteY4" fmla="*/ 2028825 h 2056196"/>
                    <a:gd name="connsiteX5" fmla="*/ 1176414 w 1228802"/>
                    <a:gd name="connsiteY5" fmla="*/ 2028825 h 2056196"/>
                    <a:gd name="connsiteX6" fmla="*/ 1171652 w 1228802"/>
                    <a:gd name="connsiteY6" fmla="*/ 1681162 h 2056196"/>
                    <a:gd name="connsiteX7" fmla="*/ 1176414 w 1228802"/>
                    <a:gd name="connsiteY7" fmla="*/ 1609725 h 2056196"/>
                    <a:gd name="connsiteX8" fmla="*/ 1185939 w 1228802"/>
                    <a:gd name="connsiteY8" fmla="*/ 1562100 h 2056196"/>
                    <a:gd name="connsiteX9" fmla="*/ 1190702 w 1228802"/>
                    <a:gd name="connsiteY9" fmla="*/ 1524000 h 2056196"/>
                    <a:gd name="connsiteX10" fmla="*/ 1200227 w 1228802"/>
                    <a:gd name="connsiteY10" fmla="*/ 1457325 h 2056196"/>
                    <a:gd name="connsiteX11" fmla="*/ 1209752 w 1228802"/>
                    <a:gd name="connsiteY11" fmla="*/ 1390650 h 2056196"/>
                    <a:gd name="connsiteX12" fmla="*/ 1219277 w 1228802"/>
                    <a:gd name="connsiteY12" fmla="*/ 1352550 h 2056196"/>
                    <a:gd name="connsiteX13" fmla="*/ 1224039 w 1228802"/>
                    <a:gd name="connsiteY13" fmla="*/ 1281112 h 2056196"/>
                    <a:gd name="connsiteX14" fmla="*/ 1228802 w 1228802"/>
                    <a:gd name="connsiteY14" fmla="*/ 1243012 h 2056196"/>
                    <a:gd name="connsiteX15" fmla="*/ 1224039 w 1228802"/>
                    <a:gd name="connsiteY15" fmla="*/ 1052512 h 2056196"/>
                    <a:gd name="connsiteX16" fmla="*/ 1204989 w 1228802"/>
                    <a:gd name="connsiteY16" fmla="*/ 995362 h 2056196"/>
                    <a:gd name="connsiteX17" fmla="*/ 1190702 w 1228802"/>
                    <a:gd name="connsiteY17" fmla="*/ 938212 h 2056196"/>
                    <a:gd name="connsiteX18" fmla="*/ 1176414 w 1228802"/>
                    <a:gd name="connsiteY18" fmla="*/ 857250 h 2056196"/>
                    <a:gd name="connsiteX19" fmla="*/ 1166889 w 1228802"/>
                    <a:gd name="connsiteY19" fmla="*/ 790575 h 2056196"/>
                    <a:gd name="connsiteX20" fmla="*/ 1166889 w 1228802"/>
                    <a:gd name="connsiteY20" fmla="*/ 304800 h 2056196"/>
                    <a:gd name="connsiteX21" fmla="*/ 1171652 w 1228802"/>
                    <a:gd name="connsiteY21" fmla="*/ 276225 h 2056196"/>
                    <a:gd name="connsiteX22" fmla="*/ 1176414 w 1228802"/>
                    <a:gd name="connsiteY22" fmla="*/ 233362 h 2056196"/>
                    <a:gd name="connsiteX23" fmla="*/ 1176414 w 1228802"/>
                    <a:gd name="connsiteY23" fmla="*/ 47625 h 2056196"/>
                    <a:gd name="connsiteX24" fmla="*/ 1147839 w 1228802"/>
                    <a:gd name="connsiteY24" fmla="*/ 42862 h 2056196"/>
                    <a:gd name="connsiteX25" fmla="*/ 1024014 w 1228802"/>
                    <a:gd name="connsiteY25" fmla="*/ 28575 h 2056196"/>
                    <a:gd name="connsiteX26" fmla="*/ 938289 w 1228802"/>
                    <a:gd name="connsiteY26" fmla="*/ 19050 h 2056196"/>
                    <a:gd name="connsiteX27" fmla="*/ 300114 w 1228802"/>
                    <a:gd name="connsiteY27" fmla="*/ 14287 h 2056196"/>
                    <a:gd name="connsiteX28" fmla="*/ 242964 w 1228802"/>
                    <a:gd name="connsiteY28" fmla="*/ 9525 h 2056196"/>
                    <a:gd name="connsiteX29" fmla="*/ 219152 w 1228802"/>
                    <a:gd name="connsiteY29" fmla="*/ 4762 h 2056196"/>
                    <a:gd name="connsiteX30" fmla="*/ 176289 w 1228802"/>
                    <a:gd name="connsiteY30" fmla="*/ 0 h 2056196"/>
                    <a:gd name="connsiteX31" fmla="*/ 76277 w 1228802"/>
                    <a:gd name="connsiteY31" fmla="*/ 19050 h 2056196"/>
                    <a:gd name="connsiteX32" fmla="*/ 57227 w 1228802"/>
                    <a:gd name="connsiteY32" fmla="*/ 23812 h 2056196"/>
                    <a:gd name="connsiteX33" fmla="*/ 19127 w 1228802"/>
                    <a:gd name="connsiteY33" fmla="*/ 38100 h 2056196"/>
                    <a:gd name="connsiteX34" fmla="*/ 4839 w 1228802"/>
                    <a:gd name="connsiteY34" fmla="*/ 47625 h 2056196"/>
                    <a:gd name="connsiteX35" fmla="*/ 19127 w 1228802"/>
                    <a:gd name="connsiteY35" fmla="*/ 190500 h 2056196"/>
                    <a:gd name="connsiteX36" fmla="*/ 38177 w 1228802"/>
                    <a:gd name="connsiteY36" fmla="*/ 285750 h 2056196"/>
                    <a:gd name="connsiteX37" fmla="*/ 42939 w 1228802"/>
                    <a:gd name="connsiteY37" fmla="*/ 919162 h 2056196"/>
                    <a:gd name="connsiteX38" fmla="*/ 33414 w 1228802"/>
                    <a:gd name="connsiteY38" fmla="*/ 1176337 h 2056196"/>
                    <a:gd name="connsiteX39" fmla="*/ 33414 w 1228802"/>
                    <a:gd name="connsiteY39" fmla="*/ 1976437 h 2056196"/>
                    <a:gd name="connsiteX40" fmla="*/ 52464 w 1228802"/>
                    <a:gd name="connsiteY40" fmla="*/ 2033587 h 2056196"/>
                    <a:gd name="connsiteX0" fmla="*/ 37004 w 1213342"/>
                    <a:gd name="connsiteY0" fmla="*/ 2033587 h 2056196"/>
                    <a:gd name="connsiteX1" fmla="*/ 232267 w 1213342"/>
                    <a:gd name="connsiteY1" fmla="*/ 2028825 h 2056196"/>
                    <a:gd name="connsiteX2" fmla="*/ 379904 w 1213342"/>
                    <a:gd name="connsiteY2" fmla="*/ 2014537 h 2056196"/>
                    <a:gd name="connsiteX3" fmla="*/ 584692 w 1213342"/>
                    <a:gd name="connsiteY3" fmla="*/ 2019300 h 2056196"/>
                    <a:gd name="connsiteX4" fmla="*/ 660892 w 1213342"/>
                    <a:gd name="connsiteY4" fmla="*/ 2028825 h 2056196"/>
                    <a:gd name="connsiteX5" fmla="*/ 1160954 w 1213342"/>
                    <a:gd name="connsiteY5" fmla="*/ 2028825 h 2056196"/>
                    <a:gd name="connsiteX6" fmla="*/ 1156192 w 1213342"/>
                    <a:gd name="connsiteY6" fmla="*/ 1681162 h 2056196"/>
                    <a:gd name="connsiteX7" fmla="*/ 1160954 w 1213342"/>
                    <a:gd name="connsiteY7" fmla="*/ 1609725 h 2056196"/>
                    <a:gd name="connsiteX8" fmla="*/ 1170479 w 1213342"/>
                    <a:gd name="connsiteY8" fmla="*/ 1562100 h 2056196"/>
                    <a:gd name="connsiteX9" fmla="*/ 1175242 w 1213342"/>
                    <a:gd name="connsiteY9" fmla="*/ 1524000 h 2056196"/>
                    <a:gd name="connsiteX10" fmla="*/ 1184767 w 1213342"/>
                    <a:gd name="connsiteY10" fmla="*/ 1457325 h 2056196"/>
                    <a:gd name="connsiteX11" fmla="*/ 1194292 w 1213342"/>
                    <a:gd name="connsiteY11" fmla="*/ 1390650 h 2056196"/>
                    <a:gd name="connsiteX12" fmla="*/ 1203817 w 1213342"/>
                    <a:gd name="connsiteY12" fmla="*/ 1352550 h 2056196"/>
                    <a:gd name="connsiteX13" fmla="*/ 1208579 w 1213342"/>
                    <a:gd name="connsiteY13" fmla="*/ 1281112 h 2056196"/>
                    <a:gd name="connsiteX14" fmla="*/ 1213342 w 1213342"/>
                    <a:gd name="connsiteY14" fmla="*/ 1243012 h 2056196"/>
                    <a:gd name="connsiteX15" fmla="*/ 1208579 w 1213342"/>
                    <a:gd name="connsiteY15" fmla="*/ 1052512 h 2056196"/>
                    <a:gd name="connsiteX16" fmla="*/ 1189529 w 1213342"/>
                    <a:gd name="connsiteY16" fmla="*/ 995362 h 2056196"/>
                    <a:gd name="connsiteX17" fmla="*/ 1175242 w 1213342"/>
                    <a:gd name="connsiteY17" fmla="*/ 938212 h 2056196"/>
                    <a:gd name="connsiteX18" fmla="*/ 1160954 w 1213342"/>
                    <a:gd name="connsiteY18" fmla="*/ 857250 h 2056196"/>
                    <a:gd name="connsiteX19" fmla="*/ 1151429 w 1213342"/>
                    <a:gd name="connsiteY19" fmla="*/ 790575 h 2056196"/>
                    <a:gd name="connsiteX20" fmla="*/ 1151429 w 1213342"/>
                    <a:gd name="connsiteY20" fmla="*/ 304800 h 2056196"/>
                    <a:gd name="connsiteX21" fmla="*/ 1156192 w 1213342"/>
                    <a:gd name="connsiteY21" fmla="*/ 276225 h 2056196"/>
                    <a:gd name="connsiteX22" fmla="*/ 1160954 w 1213342"/>
                    <a:gd name="connsiteY22" fmla="*/ 233362 h 2056196"/>
                    <a:gd name="connsiteX23" fmla="*/ 1160954 w 1213342"/>
                    <a:gd name="connsiteY23" fmla="*/ 47625 h 2056196"/>
                    <a:gd name="connsiteX24" fmla="*/ 1132379 w 1213342"/>
                    <a:gd name="connsiteY24" fmla="*/ 42862 h 2056196"/>
                    <a:gd name="connsiteX25" fmla="*/ 1008554 w 1213342"/>
                    <a:gd name="connsiteY25" fmla="*/ 28575 h 2056196"/>
                    <a:gd name="connsiteX26" fmla="*/ 922829 w 1213342"/>
                    <a:gd name="connsiteY26" fmla="*/ 19050 h 2056196"/>
                    <a:gd name="connsiteX27" fmla="*/ 284654 w 1213342"/>
                    <a:gd name="connsiteY27" fmla="*/ 14287 h 2056196"/>
                    <a:gd name="connsiteX28" fmla="*/ 227504 w 1213342"/>
                    <a:gd name="connsiteY28" fmla="*/ 9525 h 2056196"/>
                    <a:gd name="connsiteX29" fmla="*/ 203692 w 1213342"/>
                    <a:gd name="connsiteY29" fmla="*/ 4762 h 2056196"/>
                    <a:gd name="connsiteX30" fmla="*/ 160829 w 1213342"/>
                    <a:gd name="connsiteY30" fmla="*/ 0 h 2056196"/>
                    <a:gd name="connsiteX31" fmla="*/ 60817 w 1213342"/>
                    <a:gd name="connsiteY31" fmla="*/ 19050 h 2056196"/>
                    <a:gd name="connsiteX32" fmla="*/ 41767 w 1213342"/>
                    <a:gd name="connsiteY32" fmla="*/ 23812 h 2056196"/>
                    <a:gd name="connsiteX33" fmla="*/ 3667 w 1213342"/>
                    <a:gd name="connsiteY33" fmla="*/ 38100 h 2056196"/>
                    <a:gd name="connsiteX34" fmla="*/ 3667 w 1213342"/>
                    <a:gd name="connsiteY34" fmla="*/ 190500 h 2056196"/>
                    <a:gd name="connsiteX35" fmla="*/ 22717 w 1213342"/>
                    <a:gd name="connsiteY35" fmla="*/ 285750 h 2056196"/>
                    <a:gd name="connsiteX36" fmla="*/ 27479 w 1213342"/>
                    <a:gd name="connsiteY36" fmla="*/ 919162 h 2056196"/>
                    <a:gd name="connsiteX37" fmla="*/ 17954 w 1213342"/>
                    <a:gd name="connsiteY37" fmla="*/ 1176337 h 2056196"/>
                    <a:gd name="connsiteX38" fmla="*/ 17954 w 1213342"/>
                    <a:gd name="connsiteY38" fmla="*/ 1976437 h 2056196"/>
                    <a:gd name="connsiteX39" fmla="*/ 37004 w 1213342"/>
                    <a:gd name="connsiteY39" fmla="*/ 2033587 h 2056196"/>
                    <a:gd name="connsiteX0" fmla="*/ 33706 w 1210044"/>
                    <a:gd name="connsiteY0" fmla="*/ 2033587 h 2056196"/>
                    <a:gd name="connsiteX1" fmla="*/ 228969 w 1210044"/>
                    <a:gd name="connsiteY1" fmla="*/ 2028825 h 2056196"/>
                    <a:gd name="connsiteX2" fmla="*/ 376606 w 1210044"/>
                    <a:gd name="connsiteY2" fmla="*/ 2014537 h 2056196"/>
                    <a:gd name="connsiteX3" fmla="*/ 581394 w 1210044"/>
                    <a:gd name="connsiteY3" fmla="*/ 2019300 h 2056196"/>
                    <a:gd name="connsiteX4" fmla="*/ 657594 w 1210044"/>
                    <a:gd name="connsiteY4" fmla="*/ 2028825 h 2056196"/>
                    <a:gd name="connsiteX5" fmla="*/ 1157656 w 1210044"/>
                    <a:gd name="connsiteY5" fmla="*/ 2028825 h 2056196"/>
                    <a:gd name="connsiteX6" fmla="*/ 1152894 w 1210044"/>
                    <a:gd name="connsiteY6" fmla="*/ 1681162 h 2056196"/>
                    <a:gd name="connsiteX7" fmla="*/ 1157656 w 1210044"/>
                    <a:gd name="connsiteY7" fmla="*/ 1609725 h 2056196"/>
                    <a:gd name="connsiteX8" fmla="*/ 1167181 w 1210044"/>
                    <a:gd name="connsiteY8" fmla="*/ 1562100 h 2056196"/>
                    <a:gd name="connsiteX9" fmla="*/ 1171944 w 1210044"/>
                    <a:gd name="connsiteY9" fmla="*/ 1524000 h 2056196"/>
                    <a:gd name="connsiteX10" fmla="*/ 1181469 w 1210044"/>
                    <a:gd name="connsiteY10" fmla="*/ 1457325 h 2056196"/>
                    <a:gd name="connsiteX11" fmla="*/ 1190994 w 1210044"/>
                    <a:gd name="connsiteY11" fmla="*/ 1390650 h 2056196"/>
                    <a:gd name="connsiteX12" fmla="*/ 1200519 w 1210044"/>
                    <a:gd name="connsiteY12" fmla="*/ 1352550 h 2056196"/>
                    <a:gd name="connsiteX13" fmla="*/ 1205281 w 1210044"/>
                    <a:gd name="connsiteY13" fmla="*/ 1281112 h 2056196"/>
                    <a:gd name="connsiteX14" fmla="*/ 1210044 w 1210044"/>
                    <a:gd name="connsiteY14" fmla="*/ 1243012 h 2056196"/>
                    <a:gd name="connsiteX15" fmla="*/ 1205281 w 1210044"/>
                    <a:gd name="connsiteY15" fmla="*/ 1052512 h 2056196"/>
                    <a:gd name="connsiteX16" fmla="*/ 1186231 w 1210044"/>
                    <a:gd name="connsiteY16" fmla="*/ 995362 h 2056196"/>
                    <a:gd name="connsiteX17" fmla="*/ 1171944 w 1210044"/>
                    <a:gd name="connsiteY17" fmla="*/ 938212 h 2056196"/>
                    <a:gd name="connsiteX18" fmla="*/ 1157656 w 1210044"/>
                    <a:gd name="connsiteY18" fmla="*/ 857250 h 2056196"/>
                    <a:gd name="connsiteX19" fmla="*/ 1148131 w 1210044"/>
                    <a:gd name="connsiteY19" fmla="*/ 790575 h 2056196"/>
                    <a:gd name="connsiteX20" fmla="*/ 1148131 w 1210044"/>
                    <a:gd name="connsiteY20" fmla="*/ 304800 h 2056196"/>
                    <a:gd name="connsiteX21" fmla="*/ 1152894 w 1210044"/>
                    <a:gd name="connsiteY21" fmla="*/ 276225 h 2056196"/>
                    <a:gd name="connsiteX22" fmla="*/ 1157656 w 1210044"/>
                    <a:gd name="connsiteY22" fmla="*/ 233362 h 2056196"/>
                    <a:gd name="connsiteX23" fmla="*/ 1157656 w 1210044"/>
                    <a:gd name="connsiteY23" fmla="*/ 47625 h 2056196"/>
                    <a:gd name="connsiteX24" fmla="*/ 1129081 w 1210044"/>
                    <a:gd name="connsiteY24" fmla="*/ 42862 h 2056196"/>
                    <a:gd name="connsiteX25" fmla="*/ 1005256 w 1210044"/>
                    <a:gd name="connsiteY25" fmla="*/ 28575 h 2056196"/>
                    <a:gd name="connsiteX26" fmla="*/ 919531 w 1210044"/>
                    <a:gd name="connsiteY26" fmla="*/ 19050 h 2056196"/>
                    <a:gd name="connsiteX27" fmla="*/ 281356 w 1210044"/>
                    <a:gd name="connsiteY27" fmla="*/ 14287 h 2056196"/>
                    <a:gd name="connsiteX28" fmla="*/ 224206 w 1210044"/>
                    <a:gd name="connsiteY28" fmla="*/ 9525 h 2056196"/>
                    <a:gd name="connsiteX29" fmla="*/ 200394 w 1210044"/>
                    <a:gd name="connsiteY29" fmla="*/ 4762 h 2056196"/>
                    <a:gd name="connsiteX30" fmla="*/ 157531 w 1210044"/>
                    <a:gd name="connsiteY30" fmla="*/ 0 h 2056196"/>
                    <a:gd name="connsiteX31" fmla="*/ 57519 w 1210044"/>
                    <a:gd name="connsiteY31" fmla="*/ 19050 h 2056196"/>
                    <a:gd name="connsiteX32" fmla="*/ 38469 w 1210044"/>
                    <a:gd name="connsiteY32" fmla="*/ 23812 h 2056196"/>
                    <a:gd name="connsiteX33" fmla="*/ 369 w 1210044"/>
                    <a:gd name="connsiteY33" fmla="*/ 190500 h 2056196"/>
                    <a:gd name="connsiteX34" fmla="*/ 19419 w 1210044"/>
                    <a:gd name="connsiteY34" fmla="*/ 285750 h 2056196"/>
                    <a:gd name="connsiteX35" fmla="*/ 24181 w 1210044"/>
                    <a:gd name="connsiteY35" fmla="*/ 919162 h 2056196"/>
                    <a:gd name="connsiteX36" fmla="*/ 14656 w 1210044"/>
                    <a:gd name="connsiteY36" fmla="*/ 1176337 h 2056196"/>
                    <a:gd name="connsiteX37" fmla="*/ 14656 w 1210044"/>
                    <a:gd name="connsiteY37" fmla="*/ 1976437 h 2056196"/>
                    <a:gd name="connsiteX38" fmla="*/ 33706 w 1210044"/>
                    <a:gd name="connsiteY38" fmla="*/ 2033587 h 2056196"/>
                    <a:gd name="connsiteX0" fmla="*/ 33706 w 1210044"/>
                    <a:gd name="connsiteY0" fmla="*/ 2033778 h 2056387"/>
                    <a:gd name="connsiteX1" fmla="*/ 228969 w 1210044"/>
                    <a:gd name="connsiteY1" fmla="*/ 2029016 h 2056387"/>
                    <a:gd name="connsiteX2" fmla="*/ 376606 w 1210044"/>
                    <a:gd name="connsiteY2" fmla="*/ 2014728 h 2056387"/>
                    <a:gd name="connsiteX3" fmla="*/ 581394 w 1210044"/>
                    <a:gd name="connsiteY3" fmla="*/ 2019491 h 2056387"/>
                    <a:gd name="connsiteX4" fmla="*/ 657594 w 1210044"/>
                    <a:gd name="connsiteY4" fmla="*/ 2029016 h 2056387"/>
                    <a:gd name="connsiteX5" fmla="*/ 1157656 w 1210044"/>
                    <a:gd name="connsiteY5" fmla="*/ 2029016 h 2056387"/>
                    <a:gd name="connsiteX6" fmla="*/ 1152894 w 1210044"/>
                    <a:gd name="connsiteY6" fmla="*/ 1681353 h 2056387"/>
                    <a:gd name="connsiteX7" fmla="*/ 1157656 w 1210044"/>
                    <a:gd name="connsiteY7" fmla="*/ 1609916 h 2056387"/>
                    <a:gd name="connsiteX8" fmla="*/ 1167181 w 1210044"/>
                    <a:gd name="connsiteY8" fmla="*/ 1562291 h 2056387"/>
                    <a:gd name="connsiteX9" fmla="*/ 1171944 w 1210044"/>
                    <a:gd name="connsiteY9" fmla="*/ 1524191 h 2056387"/>
                    <a:gd name="connsiteX10" fmla="*/ 1181469 w 1210044"/>
                    <a:gd name="connsiteY10" fmla="*/ 1457516 h 2056387"/>
                    <a:gd name="connsiteX11" fmla="*/ 1190994 w 1210044"/>
                    <a:gd name="connsiteY11" fmla="*/ 1390841 h 2056387"/>
                    <a:gd name="connsiteX12" fmla="*/ 1200519 w 1210044"/>
                    <a:gd name="connsiteY12" fmla="*/ 1352741 h 2056387"/>
                    <a:gd name="connsiteX13" fmla="*/ 1205281 w 1210044"/>
                    <a:gd name="connsiteY13" fmla="*/ 1281303 h 2056387"/>
                    <a:gd name="connsiteX14" fmla="*/ 1210044 w 1210044"/>
                    <a:gd name="connsiteY14" fmla="*/ 1243203 h 2056387"/>
                    <a:gd name="connsiteX15" fmla="*/ 1205281 w 1210044"/>
                    <a:gd name="connsiteY15" fmla="*/ 1052703 h 2056387"/>
                    <a:gd name="connsiteX16" fmla="*/ 1186231 w 1210044"/>
                    <a:gd name="connsiteY16" fmla="*/ 995553 h 2056387"/>
                    <a:gd name="connsiteX17" fmla="*/ 1171944 w 1210044"/>
                    <a:gd name="connsiteY17" fmla="*/ 938403 h 2056387"/>
                    <a:gd name="connsiteX18" fmla="*/ 1157656 w 1210044"/>
                    <a:gd name="connsiteY18" fmla="*/ 857441 h 2056387"/>
                    <a:gd name="connsiteX19" fmla="*/ 1148131 w 1210044"/>
                    <a:gd name="connsiteY19" fmla="*/ 790766 h 2056387"/>
                    <a:gd name="connsiteX20" fmla="*/ 1148131 w 1210044"/>
                    <a:gd name="connsiteY20" fmla="*/ 304991 h 2056387"/>
                    <a:gd name="connsiteX21" fmla="*/ 1152894 w 1210044"/>
                    <a:gd name="connsiteY21" fmla="*/ 276416 h 2056387"/>
                    <a:gd name="connsiteX22" fmla="*/ 1157656 w 1210044"/>
                    <a:gd name="connsiteY22" fmla="*/ 233553 h 2056387"/>
                    <a:gd name="connsiteX23" fmla="*/ 1157656 w 1210044"/>
                    <a:gd name="connsiteY23" fmla="*/ 47816 h 2056387"/>
                    <a:gd name="connsiteX24" fmla="*/ 1129081 w 1210044"/>
                    <a:gd name="connsiteY24" fmla="*/ 43053 h 2056387"/>
                    <a:gd name="connsiteX25" fmla="*/ 1005256 w 1210044"/>
                    <a:gd name="connsiteY25" fmla="*/ 28766 h 2056387"/>
                    <a:gd name="connsiteX26" fmla="*/ 919531 w 1210044"/>
                    <a:gd name="connsiteY26" fmla="*/ 19241 h 2056387"/>
                    <a:gd name="connsiteX27" fmla="*/ 281356 w 1210044"/>
                    <a:gd name="connsiteY27" fmla="*/ 14478 h 2056387"/>
                    <a:gd name="connsiteX28" fmla="*/ 224206 w 1210044"/>
                    <a:gd name="connsiteY28" fmla="*/ 9716 h 2056387"/>
                    <a:gd name="connsiteX29" fmla="*/ 157531 w 1210044"/>
                    <a:gd name="connsiteY29" fmla="*/ 191 h 2056387"/>
                    <a:gd name="connsiteX30" fmla="*/ 57519 w 1210044"/>
                    <a:gd name="connsiteY30" fmla="*/ 19241 h 2056387"/>
                    <a:gd name="connsiteX31" fmla="*/ 38469 w 1210044"/>
                    <a:gd name="connsiteY31" fmla="*/ 24003 h 2056387"/>
                    <a:gd name="connsiteX32" fmla="*/ 369 w 1210044"/>
                    <a:gd name="connsiteY32" fmla="*/ 190691 h 2056387"/>
                    <a:gd name="connsiteX33" fmla="*/ 19419 w 1210044"/>
                    <a:gd name="connsiteY33" fmla="*/ 285941 h 2056387"/>
                    <a:gd name="connsiteX34" fmla="*/ 24181 w 1210044"/>
                    <a:gd name="connsiteY34" fmla="*/ 919353 h 2056387"/>
                    <a:gd name="connsiteX35" fmla="*/ 14656 w 1210044"/>
                    <a:gd name="connsiteY35" fmla="*/ 1176528 h 2056387"/>
                    <a:gd name="connsiteX36" fmla="*/ 14656 w 1210044"/>
                    <a:gd name="connsiteY36" fmla="*/ 1976628 h 2056387"/>
                    <a:gd name="connsiteX37" fmla="*/ 33706 w 1210044"/>
                    <a:gd name="connsiteY37" fmla="*/ 2033778 h 2056387"/>
                    <a:gd name="connsiteX0" fmla="*/ 33706 w 1210044"/>
                    <a:gd name="connsiteY0" fmla="*/ 2024166 h 2046775"/>
                    <a:gd name="connsiteX1" fmla="*/ 228969 w 1210044"/>
                    <a:gd name="connsiteY1" fmla="*/ 2019404 h 2046775"/>
                    <a:gd name="connsiteX2" fmla="*/ 376606 w 1210044"/>
                    <a:gd name="connsiteY2" fmla="*/ 2005116 h 2046775"/>
                    <a:gd name="connsiteX3" fmla="*/ 581394 w 1210044"/>
                    <a:gd name="connsiteY3" fmla="*/ 2009879 h 2046775"/>
                    <a:gd name="connsiteX4" fmla="*/ 657594 w 1210044"/>
                    <a:gd name="connsiteY4" fmla="*/ 2019404 h 2046775"/>
                    <a:gd name="connsiteX5" fmla="*/ 1157656 w 1210044"/>
                    <a:gd name="connsiteY5" fmla="*/ 2019404 h 2046775"/>
                    <a:gd name="connsiteX6" fmla="*/ 1152894 w 1210044"/>
                    <a:gd name="connsiteY6" fmla="*/ 1671741 h 2046775"/>
                    <a:gd name="connsiteX7" fmla="*/ 1157656 w 1210044"/>
                    <a:gd name="connsiteY7" fmla="*/ 1600304 h 2046775"/>
                    <a:gd name="connsiteX8" fmla="*/ 1167181 w 1210044"/>
                    <a:gd name="connsiteY8" fmla="*/ 1552679 h 2046775"/>
                    <a:gd name="connsiteX9" fmla="*/ 1171944 w 1210044"/>
                    <a:gd name="connsiteY9" fmla="*/ 1514579 h 2046775"/>
                    <a:gd name="connsiteX10" fmla="*/ 1181469 w 1210044"/>
                    <a:gd name="connsiteY10" fmla="*/ 1447904 h 2046775"/>
                    <a:gd name="connsiteX11" fmla="*/ 1190994 w 1210044"/>
                    <a:gd name="connsiteY11" fmla="*/ 1381229 h 2046775"/>
                    <a:gd name="connsiteX12" fmla="*/ 1200519 w 1210044"/>
                    <a:gd name="connsiteY12" fmla="*/ 1343129 h 2046775"/>
                    <a:gd name="connsiteX13" fmla="*/ 1205281 w 1210044"/>
                    <a:gd name="connsiteY13" fmla="*/ 1271691 h 2046775"/>
                    <a:gd name="connsiteX14" fmla="*/ 1210044 w 1210044"/>
                    <a:gd name="connsiteY14" fmla="*/ 1233591 h 2046775"/>
                    <a:gd name="connsiteX15" fmla="*/ 1205281 w 1210044"/>
                    <a:gd name="connsiteY15" fmla="*/ 1043091 h 2046775"/>
                    <a:gd name="connsiteX16" fmla="*/ 1186231 w 1210044"/>
                    <a:gd name="connsiteY16" fmla="*/ 985941 h 2046775"/>
                    <a:gd name="connsiteX17" fmla="*/ 1171944 w 1210044"/>
                    <a:gd name="connsiteY17" fmla="*/ 928791 h 2046775"/>
                    <a:gd name="connsiteX18" fmla="*/ 1157656 w 1210044"/>
                    <a:gd name="connsiteY18" fmla="*/ 847829 h 2046775"/>
                    <a:gd name="connsiteX19" fmla="*/ 1148131 w 1210044"/>
                    <a:gd name="connsiteY19" fmla="*/ 781154 h 2046775"/>
                    <a:gd name="connsiteX20" fmla="*/ 1148131 w 1210044"/>
                    <a:gd name="connsiteY20" fmla="*/ 295379 h 2046775"/>
                    <a:gd name="connsiteX21" fmla="*/ 1152894 w 1210044"/>
                    <a:gd name="connsiteY21" fmla="*/ 266804 h 2046775"/>
                    <a:gd name="connsiteX22" fmla="*/ 1157656 w 1210044"/>
                    <a:gd name="connsiteY22" fmla="*/ 223941 h 2046775"/>
                    <a:gd name="connsiteX23" fmla="*/ 1157656 w 1210044"/>
                    <a:gd name="connsiteY23" fmla="*/ 38204 h 2046775"/>
                    <a:gd name="connsiteX24" fmla="*/ 1129081 w 1210044"/>
                    <a:gd name="connsiteY24" fmla="*/ 33441 h 2046775"/>
                    <a:gd name="connsiteX25" fmla="*/ 1005256 w 1210044"/>
                    <a:gd name="connsiteY25" fmla="*/ 19154 h 2046775"/>
                    <a:gd name="connsiteX26" fmla="*/ 919531 w 1210044"/>
                    <a:gd name="connsiteY26" fmla="*/ 9629 h 2046775"/>
                    <a:gd name="connsiteX27" fmla="*/ 281356 w 1210044"/>
                    <a:gd name="connsiteY27" fmla="*/ 4866 h 2046775"/>
                    <a:gd name="connsiteX28" fmla="*/ 224206 w 1210044"/>
                    <a:gd name="connsiteY28" fmla="*/ 104 h 2046775"/>
                    <a:gd name="connsiteX29" fmla="*/ 57519 w 1210044"/>
                    <a:gd name="connsiteY29" fmla="*/ 9629 h 2046775"/>
                    <a:gd name="connsiteX30" fmla="*/ 38469 w 1210044"/>
                    <a:gd name="connsiteY30" fmla="*/ 14391 h 2046775"/>
                    <a:gd name="connsiteX31" fmla="*/ 369 w 1210044"/>
                    <a:gd name="connsiteY31" fmla="*/ 181079 h 2046775"/>
                    <a:gd name="connsiteX32" fmla="*/ 19419 w 1210044"/>
                    <a:gd name="connsiteY32" fmla="*/ 276329 h 2046775"/>
                    <a:gd name="connsiteX33" fmla="*/ 24181 w 1210044"/>
                    <a:gd name="connsiteY33" fmla="*/ 909741 h 2046775"/>
                    <a:gd name="connsiteX34" fmla="*/ 14656 w 1210044"/>
                    <a:gd name="connsiteY34" fmla="*/ 1166916 h 2046775"/>
                    <a:gd name="connsiteX35" fmla="*/ 14656 w 1210044"/>
                    <a:gd name="connsiteY35" fmla="*/ 1967016 h 2046775"/>
                    <a:gd name="connsiteX36" fmla="*/ 33706 w 1210044"/>
                    <a:gd name="connsiteY36" fmla="*/ 2024166 h 2046775"/>
                    <a:gd name="connsiteX0" fmla="*/ 33706 w 1210044"/>
                    <a:gd name="connsiteY0" fmla="*/ 2023430 h 2046039"/>
                    <a:gd name="connsiteX1" fmla="*/ 228969 w 1210044"/>
                    <a:gd name="connsiteY1" fmla="*/ 2018668 h 2046039"/>
                    <a:gd name="connsiteX2" fmla="*/ 376606 w 1210044"/>
                    <a:gd name="connsiteY2" fmla="*/ 2004380 h 2046039"/>
                    <a:gd name="connsiteX3" fmla="*/ 581394 w 1210044"/>
                    <a:gd name="connsiteY3" fmla="*/ 2009143 h 2046039"/>
                    <a:gd name="connsiteX4" fmla="*/ 657594 w 1210044"/>
                    <a:gd name="connsiteY4" fmla="*/ 2018668 h 2046039"/>
                    <a:gd name="connsiteX5" fmla="*/ 1157656 w 1210044"/>
                    <a:gd name="connsiteY5" fmla="*/ 2018668 h 2046039"/>
                    <a:gd name="connsiteX6" fmla="*/ 1152894 w 1210044"/>
                    <a:gd name="connsiteY6" fmla="*/ 1671005 h 2046039"/>
                    <a:gd name="connsiteX7" fmla="*/ 1157656 w 1210044"/>
                    <a:gd name="connsiteY7" fmla="*/ 1599568 h 2046039"/>
                    <a:gd name="connsiteX8" fmla="*/ 1167181 w 1210044"/>
                    <a:gd name="connsiteY8" fmla="*/ 1551943 h 2046039"/>
                    <a:gd name="connsiteX9" fmla="*/ 1171944 w 1210044"/>
                    <a:gd name="connsiteY9" fmla="*/ 1513843 h 2046039"/>
                    <a:gd name="connsiteX10" fmla="*/ 1181469 w 1210044"/>
                    <a:gd name="connsiteY10" fmla="*/ 1447168 h 2046039"/>
                    <a:gd name="connsiteX11" fmla="*/ 1190994 w 1210044"/>
                    <a:gd name="connsiteY11" fmla="*/ 1380493 h 2046039"/>
                    <a:gd name="connsiteX12" fmla="*/ 1200519 w 1210044"/>
                    <a:gd name="connsiteY12" fmla="*/ 1342393 h 2046039"/>
                    <a:gd name="connsiteX13" fmla="*/ 1205281 w 1210044"/>
                    <a:gd name="connsiteY13" fmla="*/ 1270955 h 2046039"/>
                    <a:gd name="connsiteX14" fmla="*/ 1210044 w 1210044"/>
                    <a:gd name="connsiteY14" fmla="*/ 1232855 h 2046039"/>
                    <a:gd name="connsiteX15" fmla="*/ 1205281 w 1210044"/>
                    <a:gd name="connsiteY15" fmla="*/ 1042355 h 2046039"/>
                    <a:gd name="connsiteX16" fmla="*/ 1186231 w 1210044"/>
                    <a:gd name="connsiteY16" fmla="*/ 985205 h 2046039"/>
                    <a:gd name="connsiteX17" fmla="*/ 1171944 w 1210044"/>
                    <a:gd name="connsiteY17" fmla="*/ 928055 h 2046039"/>
                    <a:gd name="connsiteX18" fmla="*/ 1157656 w 1210044"/>
                    <a:gd name="connsiteY18" fmla="*/ 847093 h 2046039"/>
                    <a:gd name="connsiteX19" fmla="*/ 1148131 w 1210044"/>
                    <a:gd name="connsiteY19" fmla="*/ 780418 h 2046039"/>
                    <a:gd name="connsiteX20" fmla="*/ 1148131 w 1210044"/>
                    <a:gd name="connsiteY20" fmla="*/ 294643 h 2046039"/>
                    <a:gd name="connsiteX21" fmla="*/ 1152894 w 1210044"/>
                    <a:gd name="connsiteY21" fmla="*/ 266068 h 2046039"/>
                    <a:gd name="connsiteX22" fmla="*/ 1157656 w 1210044"/>
                    <a:gd name="connsiteY22" fmla="*/ 223205 h 2046039"/>
                    <a:gd name="connsiteX23" fmla="*/ 1157656 w 1210044"/>
                    <a:gd name="connsiteY23" fmla="*/ 37468 h 2046039"/>
                    <a:gd name="connsiteX24" fmla="*/ 1129081 w 1210044"/>
                    <a:gd name="connsiteY24" fmla="*/ 32705 h 2046039"/>
                    <a:gd name="connsiteX25" fmla="*/ 1005256 w 1210044"/>
                    <a:gd name="connsiteY25" fmla="*/ 18418 h 2046039"/>
                    <a:gd name="connsiteX26" fmla="*/ 919531 w 1210044"/>
                    <a:gd name="connsiteY26" fmla="*/ 8893 h 2046039"/>
                    <a:gd name="connsiteX27" fmla="*/ 281356 w 1210044"/>
                    <a:gd name="connsiteY27" fmla="*/ 4130 h 2046039"/>
                    <a:gd name="connsiteX28" fmla="*/ 57519 w 1210044"/>
                    <a:gd name="connsiteY28" fmla="*/ 8893 h 2046039"/>
                    <a:gd name="connsiteX29" fmla="*/ 38469 w 1210044"/>
                    <a:gd name="connsiteY29" fmla="*/ 13655 h 2046039"/>
                    <a:gd name="connsiteX30" fmla="*/ 369 w 1210044"/>
                    <a:gd name="connsiteY30" fmla="*/ 180343 h 2046039"/>
                    <a:gd name="connsiteX31" fmla="*/ 19419 w 1210044"/>
                    <a:gd name="connsiteY31" fmla="*/ 275593 h 2046039"/>
                    <a:gd name="connsiteX32" fmla="*/ 24181 w 1210044"/>
                    <a:gd name="connsiteY32" fmla="*/ 909005 h 2046039"/>
                    <a:gd name="connsiteX33" fmla="*/ 14656 w 1210044"/>
                    <a:gd name="connsiteY33" fmla="*/ 1166180 h 2046039"/>
                    <a:gd name="connsiteX34" fmla="*/ 14656 w 1210044"/>
                    <a:gd name="connsiteY34" fmla="*/ 1966280 h 2046039"/>
                    <a:gd name="connsiteX35" fmla="*/ 33706 w 1210044"/>
                    <a:gd name="connsiteY35" fmla="*/ 2023430 h 2046039"/>
                    <a:gd name="connsiteX0" fmla="*/ 33706 w 1210044"/>
                    <a:gd name="connsiteY0" fmla="*/ 2023430 h 2046039"/>
                    <a:gd name="connsiteX1" fmla="*/ 228969 w 1210044"/>
                    <a:gd name="connsiteY1" fmla="*/ 2018668 h 2046039"/>
                    <a:gd name="connsiteX2" fmla="*/ 376606 w 1210044"/>
                    <a:gd name="connsiteY2" fmla="*/ 2004380 h 2046039"/>
                    <a:gd name="connsiteX3" fmla="*/ 581394 w 1210044"/>
                    <a:gd name="connsiteY3" fmla="*/ 2009143 h 2046039"/>
                    <a:gd name="connsiteX4" fmla="*/ 657594 w 1210044"/>
                    <a:gd name="connsiteY4" fmla="*/ 2018668 h 2046039"/>
                    <a:gd name="connsiteX5" fmla="*/ 1157656 w 1210044"/>
                    <a:gd name="connsiteY5" fmla="*/ 2018668 h 2046039"/>
                    <a:gd name="connsiteX6" fmla="*/ 1152894 w 1210044"/>
                    <a:gd name="connsiteY6" fmla="*/ 1671005 h 2046039"/>
                    <a:gd name="connsiteX7" fmla="*/ 1157656 w 1210044"/>
                    <a:gd name="connsiteY7" fmla="*/ 1599568 h 2046039"/>
                    <a:gd name="connsiteX8" fmla="*/ 1167181 w 1210044"/>
                    <a:gd name="connsiteY8" fmla="*/ 1551943 h 2046039"/>
                    <a:gd name="connsiteX9" fmla="*/ 1171944 w 1210044"/>
                    <a:gd name="connsiteY9" fmla="*/ 1513843 h 2046039"/>
                    <a:gd name="connsiteX10" fmla="*/ 1181469 w 1210044"/>
                    <a:gd name="connsiteY10" fmla="*/ 1447168 h 2046039"/>
                    <a:gd name="connsiteX11" fmla="*/ 1190994 w 1210044"/>
                    <a:gd name="connsiteY11" fmla="*/ 1380493 h 2046039"/>
                    <a:gd name="connsiteX12" fmla="*/ 1200519 w 1210044"/>
                    <a:gd name="connsiteY12" fmla="*/ 1342393 h 2046039"/>
                    <a:gd name="connsiteX13" fmla="*/ 1205281 w 1210044"/>
                    <a:gd name="connsiteY13" fmla="*/ 1270955 h 2046039"/>
                    <a:gd name="connsiteX14" fmla="*/ 1210044 w 1210044"/>
                    <a:gd name="connsiteY14" fmla="*/ 1232855 h 2046039"/>
                    <a:gd name="connsiteX15" fmla="*/ 1205281 w 1210044"/>
                    <a:gd name="connsiteY15" fmla="*/ 1042355 h 2046039"/>
                    <a:gd name="connsiteX16" fmla="*/ 1186231 w 1210044"/>
                    <a:gd name="connsiteY16" fmla="*/ 985205 h 2046039"/>
                    <a:gd name="connsiteX17" fmla="*/ 1171944 w 1210044"/>
                    <a:gd name="connsiteY17" fmla="*/ 928055 h 2046039"/>
                    <a:gd name="connsiteX18" fmla="*/ 1157656 w 1210044"/>
                    <a:gd name="connsiteY18" fmla="*/ 847093 h 2046039"/>
                    <a:gd name="connsiteX19" fmla="*/ 1148131 w 1210044"/>
                    <a:gd name="connsiteY19" fmla="*/ 780418 h 2046039"/>
                    <a:gd name="connsiteX20" fmla="*/ 1148131 w 1210044"/>
                    <a:gd name="connsiteY20" fmla="*/ 294643 h 2046039"/>
                    <a:gd name="connsiteX21" fmla="*/ 1152894 w 1210044"/>
                    <a:gd name="connsiteY21" fmla="*/ 266068 h 2046039"/>
                    <a:gd name="connsiteX22" fmla="*/ 1157656 w 1210044"/>
                    <a:gd name="connsiteY22" fmla="*/ 223205 h 2046039"/>
                    <a:gd name="connsiteX23" fmla="*/ 1157656 w 1210044"/>
                    <a:gd name="connsiteY23" fmla="*/ 37468 h 2046039"/>
                    <a:gd name="connsiteX24" fmla="*/ 1129081 w 1210044"/>
                    <a:gd name="connsiteY24" fmla="*/ 32705 h 2046039"/>
                    <a:gd name="connsiteX25" fmla="*/ 1005256 w 1210044"/>
                    <a:gd name="connsiteY25" fmla="*/ 18418 h 2046039"/>
                    <a:gd name="connsiteX26" fmla="*/ 281356 w 1210044"/>
                    <a:gd name="connsiteY26" fmla="*/ 4130 h 2046039"/>
                    <a:gd name="connsiteX27" fmla="*/ 57519 w 1210044"/>
                    <a:gd name="connsiteY27" fmla="*/ 8893 h 2046039"/>
                    <a:gd name="connsiteX28" fmla="*/ 38469 w 1210044"/>
                    <a:gd name="connsiteY28" fmla="*/ 13655 h 2046039"/>
                    <a:gd name="connsiteX29" fmla="*/ 369 w 1210044"/>
                    <a:gd name="connsiteY29" fmla="*/ 180343 h 2046039"/>
                    <a:gd name="connsiteX30" fmla="*/ 19419 w 1210044"/>
                    <a:gd name="connsiteY30" fmla="*/ 275593 h 2046039"/>
                    <a:gd name="connsiteX31" fmla="*/ 24181 w 1210044"/>
                    <a:gd name="connsiteY31" fmla="*/ 909005 h 2046039"/>
                    <a:gd name="connsiteX32" fmla="*/ 14656 w 1210044"/>
                    <a:gd name="connsiteY32" fmla="*/ 1166180 h 2046039"/>
                    <a:gd name="connsiteX33" fmla="*/ 14656 w 1210044"/>
                    <a:gd name="connsiteY33" fmla="*/ 1966280 h 2046039"/>
                    <a:gd name="connsiteX34" fmla="*/ 33706 w 1210044"/>
                    <a:gd name="connsiteY34" fmla="*/ 2023430 h 2046039"/>
                    <a:gd name="connsiteX0" fmla="*/ 33706 w 1210044"/>
                    <a:gd name="connsiteY0" fmla="*/ 2023430 h 2046039"/>
                    <a:gd name="connsiteX1" fmla="*/ 228969 w 1210044"/>
                    <a:gd name="connsiteY1" fmla="*/ 2018668 h 2046039"/>
                    <a:gd name="connsiteX2" fmla="*/ 376606 w 1210044"/>
                    <a:gd name="connsiteY2" fmla="*/ 2004380 h 2046039"/>
                    <a:gd name="connsiteX3" fmla="*/ 581394 w 1210044"/>
                    <a:gd name="connsiteY3" fmla="*/ 2009143 h 2046039"/>
                    <a:gd name="connsiteX4" fmla="*/ 657594 w 1210044"/>
                    <a:gd name="connsiteY4" fmla="*/ 2018668 h 2046039"/>
                    <a:gd name="connsiteX5" fmla="*/ 1157656 w 1210044"/>
                    <a:gd name="connsiteY5" fmla="*/ 2018668 h 2046039"/>
                    <a:gd name="connsiteX6" fmla="*/ 1152894 w 1210044"/>
                    <a:gd name="connsiteY6" fmla="*/ 1671005 h 2046039"/>
                    <a:gd name="connsiteX7" fmla="*/ 1157656 w 1210044"/>
                    <a:gd name="connsiteY7" fmla="*/ 1599568 h 2046039"/>
                    <a:gd name="connsiteX8" fmla="*/ 1167181 w 1210044"/>
                    <a:gd name="connsiteY8" fmla="*/ 1551943 h 2046039"/>
                    <a:gd name="connsiteX9" fmla="*/ 1171944 w 1210044"/>
                    <a:gd name="connsiteY9" fmla="*/ 1513843 h 2046039"/>
                    <a:gd name="connsiteX10" fmla="*/ 1181469 w 1210044"/>
                    <a:gd name="connsiteY10" fmla="*/ 1447168 h 2046039"/>
                    <a:gd name="connsiteX11" fmla="*/ 1190994 w 1210044"/>
                    <a:gd name="connsiteY11" fmla="*/ 1380493 h 2046039"/>
                    <a:gd name="connsiteX12" fmla="*/ 1200519 w 1210044"/>
                    <a:gd name="connsiteY12" fmla="*/ 1342393 h 2046039"/>
                    <a:gd name="connsiteX13" fmla="*/ 1205281 w 1210044"/>
                    <a:gd name="connsiteY13" fmla="*/ 1270955 h 2046039"/>
                    <a:gd name="connsiteX14" fmla="*/ 1210044 w 1210044"/>
                    <a:gd name="connsiteY14" fmla="*/ 1232855 h 2046039"/>
                    <a:gd name="connsiteX15" fmla="*/ 1205281 w 1210044"/>
                    <a:gd name="connsiteY15" fmla="*/ 1042355 h 2046039"/>
                    <a:gd name="connsiteX16" fmla="*/ 1186231 w 1210044"/>
                    <a:gd name="connsiteY16" fmla="*/ 985205 h 2046039"/>
                    <a:gd name="connsiteX17" fmla="*/ 1171944 w 1210044"/>
                    <a:gd name="connsiteY17" fmla="*/ 928055 h 2046039"/>
                    <a:gd name="connsiteX18" fmla="*/ 1157656 w 1210044"/>
                    <a:gd name="connsiteY18" fmla="*/ 847093 h 2046039"/>
                    <a:gd name="connsiteX19" fmla="*/ 1148131 w 1210044"/>
                    <a:gd name="connsiteY19" fmla="*/ 780418 h 2046039"/>
                    <a:gd name="connsiteX20" fmla="*/ 1148131 w 1210044"/>
                    <a:gd name="connsiteY20" fmla="*/ 294643 h 2046039"/>
                    <a:gd name="connsiteX21" fmla="*/ 1152894 w 1210044"/>
                    <a:gd name="connsiteY21" fmla="*/ 266068 h 2046039"/>
                    <a:gd name="connsiteX22" fmla="*/ 1157656 w 1210044"/>
                    <a:gd name="connsiteY22" fmla="*/ 223205 h 2046039"/>
                    <a:gd name="connsiteX23" fmla="*/ 1157656 w 1210044"/>
                    <a:gd name="connsiteY23" fmla="*/ 37468 h 2046039"/>
                    <a:gd name="connsiteX24" fmla="*/ 1005256 w 1210044"/>
                    <a:gd name="connsiteY24" fmla="*/ 18418 h 2046039"/>
                    <a:gd name="connsiteX25" fmla="*/ 281356 w 1210044"/>
                    <a:gd name="connsiteY25" fmla="*/ 4130 h 2046039"/>
                    <a:gd name="connsiteX26" fmla="*/ 57519 w 1210044"/>
                    <a:gd name="connsiteY26" fmla="*/ 8893 h 2046039"/>
                    <a:gd name="connsiteX27" fmla="*/ 38469 w 1210044"/>
                    <a:gd name="connsiteY27" fmla="*/ 13655 h 2046039"/>
                    <a:gd name="connsiteX28" fmla="*/ 369 w 1210044"/>
                    <a:gd name="connsiteY28" fmla="*/ 180343 h 2046039"/>
                    <a:gd name="connsiteX29" fmla="*/ 19419 w 1210044"/>
                    <a:gd name="connsiteY29" fmla="*/ 275593 h 2046039"/>
                    <a:gd name="connsiteX30" fmla="*/ 24181 w 1210044"/>
                    <a:gd name="connsiteY30" fmla="*/ 909005 h 2046039"/>
                    <a:gd name="connsiteX31" fmla="*/ 14656 w 1210044"/>
                    <a:gd name="connsiteY31" fmla="*/ 1166180 h 2046039"/>
                    <a:gd name="connsiteX32" fmla="*/ 14656 w 1210044"/>
                    <a:gd name="connsiteY32" fmla="*/ 1966280 h 2046039"/>
                    <a:gd name="connsiteX33" fmla="*/ 33706 w 1210044"/>
                    <a:gd name="connsiteY33" fmla="*/ 2023430 h 2046039"/>
                    <a:gd name="connsiteX0" fmla="*/ 33706 w 1210044"/>
                    <a:gd name="connsiteY0" fmla="*/ 2023430 h 2046039"/>
                    <a:gd name="connsiteX1" fmla="*/ 228969 w 1210044"/>
                    <a:gd name="connsiteY1" fmla="*/ 2018668 h 2046039"/>
                    <a:gd name="connsiteX2" fmla="*/ 376606 w 1210044"/>
                    <a:gd name="connsiteY2" fmla="*/ 2004380 h 2046039"/>
                    <a:gd name="connsiteX3" fmla="*/ 581394 w 1210044"/>
                    <a:gd name="connsiteY3" fmla="*/ 2009143 h 2046039"/>
                    <a:gd name="connsiteX4" fmla="*/ 657594 w 1210044"/>
                    <a:gd name="connsiteY4" fmla="*/ 2018668 h 2046039"/>
                    <a:gd name="connsiteX5" fmla="*/ 1157656 w 1210044"/>
                    <a:gd name="connsiteY5" fmla="*/ 2018668 h 2046039"/>
                    <a:gd name="connsiteX6" fmla="*/ 1152894 w 1210044"/>
                    <a:gd name="connsiteY6" fmla="*/ 1671005 h 2046039"/>
                    <a:gd name="connsiteX7" fmla="*/ 1157656 w 1210044"/>
                    <a:gd name="connsiteY7" fmla="*/ 1599568 h 2046039"/>
                    <a:gd name="connsiteX8" fmla="*/ 1167181 w 1210044"/>
                    <a:gd name="connsiteY8" fmla="*/ 1551943 h 2046039"/>
                    <a:gd name="connsiteX9" fmla="*/ 1171944 w 1210044"/>
                    <a:gd name="connsiteY9" fmla="*/ 1513843 h 2046039"/>
                    <a:gd name="connsiteX10" fmla="*/ 1181469 w 1210044"/>
                    <a:gd name="connsiteY10" fmla="*/ 1447168 h 2046039"/>
                    <a:gd name="connsiteX11" fmla="*/ 1190994 w 1210044"/>
                    <a:gd name="connsiteY11" fmla="*/ 1380493 h 2046039"/>
                    <a:gd name="connsiteX12" fmla="*/ 1200519 w 1210044"/>
                    <a:gd name="connsiteY12" fmla="*/ 1342393 h 2046039"/>
                    <a:gd name="connsiteX13" fmla="*/ 1205281 w 1210044"/>
                    <a:gd name="connsiteY13" fmla="*/ 1270955 h 2046039"/>
                    <a:gd name="connsiteX14" fmla="*/ 1210044 w 1210044"/>
                    <a:gd name="connsiteY14" fmla="*/ 1232855 h 2046039"/>
                    <a:gd name="connsiteX15" fmla="*/ 1205281 w 1210044"/>
                    <a:gd name="connsiteY15" fmla="*/ 1042355 h 2046039"/>
                    <a:gd name="connsiteX16" fmla="*/ 1186231 w 1210044"/>
                    <a:gd name="connsiteY16" fmla="*/ 985205 h 2046039"/>
                    <a:gd name="connsiteX17" fmla="*/ 1171944 w 1210044"/>
                    <a:gd name="connsiteY17" fmla="*/ 928055 h 2046039"/>
                    <a:gd name="connsiteX18" fmla="*/ 1157656 w 1210044"/>
                    <a:gd name="connsiteY18" fmla="*/ 847093 h 2046039"/>
                    <a:gd name="connsiteX19" fmla="*/ 1148131 w 1210044"/>
                    <a:gd name="connsiteY19" fmla="*/ 780418 h 2046039"/>
                    <a:gd name="connsiteX20" fmla="*/ 1148131 w 1210044"/>
                    <a:gd name="connsiteY20" fmla="*/ 294643 h 2046039"/>
                    <a:gd name="connsiteX21" fmla="*/ 1152894 w 1210044"/>
                    <a:gd name="connsiteY21" fmla="*/ 266068 h 2046039"/>
                    <a:gd name="connsiteX22" fmla="*/ 1157656 w 1210044"/>
                    <a:gd name="connsiteY22" fmla="*/ 37468 h 2046039"/>
                    <a:gd name="connsiteX23" fmla="*/ 1005256 w 1210044"/>
                    <a:gd name="connsiteY23" fmla="*/ 18418 h 2046039"/>
                    <a:gd name="connsiteX24" fmla="*/ 281356 w 1210044"/>
                    <a:gd name="connsiteY24" fmla="*/ 4130 h 2046039"/>
                    <a:gd name="connsiteX25" fmla="*/ 57519 w 1210044"/>
                    <a:gd name="connsiteY25" fmla="*/ 8893 h 2046039"/>
                    <a:gd name="connsiteX26" fmla="*/ 38469 w 1210044"/>
                    <a:gd name="connsiteY26" fmla="*/ 13655 h 2046039"/>
                    <a:gd name="connsiteX27" fmla="*/ 369 w 1210044"/>
                    <a:gd name="connsiteY27" fmla="*/ 180343 h 2046039"/>
                    <a:gd name="connsiteX28" fmla="*/ 19419 w 1210044"/>
                    <a:gd name="connsiteY28" fmla="*/ 275593 h 2046039"/>
                    <a:gd name="connsiteX29" fmla="*/ 24181 w 1210044"/>
                    <a:gd name="connsiteY29" fmla="*/ 909005 h 2046039"/>
                    <a:gd name="connsiteX30" fmla="*/ 14656 w 1210044"/>
                    <a:gd name="connsiteY30" fmla="*/ 1166180 h 2046039"/>
                    <a:gd name="connsiteX31" fmla="*/ 14656 w 1210044"/>
                    <a:gd name="connsiteY31" fmla="*/ 1966280 h 2046039"/>
                    <a:gd name="connsiteX32" fmla="*/ 33706 w 1210044"/>
                    <a:gd name="connsiteY32" fmla="*/ 2023430 h 2046039"/>
                    <a:gd name="connsiteX0" fmla="*/ 33706 w 1210044"/>
                    <a:gd name="connsiteY0" fmla="*/ 2023430 h 2046039"/>
                    <a:gd name="connsiteX1" fmla="*/ 228969 w 1210044"/>
                    <a:gd name="connsiteY1" fmla="*/ 2018668 h 2046039"/>
                    <a:gd name="connsiteX2" fmla="*/ 376606 w 1210044"/>
                    <a:gd name="connsiteY2" fmla="*/ 2004380 h 2046039"/>
                    <a:gd name="connsiteX3" fmla="*/ 581394 w 1210044"/>
                    <a:gd name="connsiteY3" fmla="*/ 2009143 h 2046039"/>
                    <a:gd name="connsiteX4" fmla="*/ 657594 w 1210044"/>
                    <a:gd name="connsiteY4" fmla="*/ 2018668 h 2046039"/>
                    <a:gd name="connsiteX5" fmla="*/ 1157656 w 1210044"/>
                    <a:gd name="connsiteY5" fmla="*/ 2018668 h 2046039"/>
                    <a:gd name="connsiteX6" fmla="*/ 1152894 w 1210044"/>
                    <a:gd name="connsiteY6" fmla="*/ 1671005 h 2046039"/>
                    <a:gd name="connsiteX7" fmla="*/ 1157656 w 1210044"/>
                    <a:gd name="connsiteY7" fmla="*/ 1599568 h 2046039"/>
                    <a:gd name="connsiteX8" fmla="*/ 1167181 w 1210044"/>
                    <a:gd name="connsiteY8" fmla="*/ 1551943 h 2046039"/>
                    <a:gd name="connsiteX9" fmla="*/ 1171944 w 1210044"/>
                    <a:gd name="connsiteY9" fmla="*/ 1513843 h 2046039"/>
                    <a:gd name="connsiteX10" fmla="*/ 1181469 w 1210044"/>
                    <a:gd name="connsiteY10" fmla="*/ 1447168 h 2046039"/>
                    <a:gd name="connsiteX11" fmla="*/ 1190994 w 1210044"/>
                    <a:gd name="connsiteY11" fmla="*/ 1380493 h 2046039"/>
                    <a:gd name="connsiteX12" fmla="*/ 1200519 w 1210044"/>
                    <a:gd name="connsiteY12" fmla="*/ 1342393 h 2046039"/>
                    <a:gd name="connsiteX13" fmla="*/ 1205281 w 1210044"/>
                    <a:gd name="connsiteY13" fmla="*/ 1270955 h 2046039"/>
                    <a:gd name="connsiteX14" fmla="*/ 1210044 w 1210044"/>
                    <a:gd name="connsiteY14" fmla="*/ 1232855 h 2046039"/>
                    <a:gd name="connsiteX15" fmla="*/ 1205281 w 1210044"/>
                    <a:gd name="connsiteY15" fmla="*/ 1042355 h 2046039"/>
                    <a:gd name="connsiteX16" fmla="*/ 1186231 w 1210044"/>
                    <a:gd name="connsiteY16" fmla="*/ 985205 h 2046039"/>
                    <a:gd name="connsiteX17" fmla="*/ 1171944 w 1210044"/>
                    <a:gd name="connsiteY17" fmla="*/ 928055 h 2046039"/>
                    <a:gd name="connsiteX18" fmla="*/ 1157656 w 1210044"/>
                    <a:gd name="connsiteY18" fmla="*/ 847093 h 2046039"/>
                    <a:gd name="connsiteX19" fmla="*/ 1148131 w 1210044"/>
                    <a:gd name="connsiteY19" fmla="*/ 780418 h 2046039"/>
                    <a:gd name="connsiteX20" fmla="*/ 1148131 w 1210044"/>
                    <a:gd name="connsiteY20" fmla="*/ 294643 h 2046039"/>
                    <a:gd name="connsiteX21" fmla="*/ 1157656 w 1210044"/>
                    <a:gd name="connsiteY21" fmla="*/ 37468 h 2046039"/>
                    <a:gd name="connsiteX22" fmla="*/ 1005256 w 1210044"/>
                    <a:gd name="connsiteY22" fmla="*/ 18418 h 2046039"/>
                    <a:gd name="connsiteX23" fmla="*/ 281356 w 1210044"/>
                    <a:gd name="connsiteY23" fmla="*/ 4130 h 2046039"/>
                    <a:gd name="connsiteX24" fmla="*/ 57519 w 1210044"/>
                    <a:gd name="connsiteY24" fmla="*/ 8893 h 2046039"/>
                    <a:gd name="connsiteX25" fmla="*/ 38469 w 1210044"/>
                    <a:gd name="connsiteY25" fmla="*/ 13655 h 2046039"/>
                    <a:gd name="connsiteX26" fmla="*/ 369 w 1210044"/>
                    <a:gd name="connsiteY26" fmla="*/ 180343 h 2046039"/>
                    <a:gd name="connsiteX27" fmla="*/ 19419 w 1210044"/>
                    <a:gd name="connsiteY27" fmla="*/ 275593 h 2046039"/>
                    <a:gd name="connsiteX28" fmla="*/ 24181 w 1210044"/>
                    <a:gd name="connsiteY28" fmla="*/ 909005 h 2046039"/>
                    <a:gd name="connsiteX29" fmla="*/ 14656 w 1210044"/>
                    <a:gd name="connsiteY29" fmla="*/ 1166180 h 2046039"/>
                    <a:gd name="connsiteX30" fmla="*/ 14656 w 1210044"/>
                    <a:gd name="connsiteY30" fmla="*/ 1966280 h 2046039"/>
                    <a:gd name="connsiteX31" fmla="*/ 33706 w 1210044"/>
                    <a:gd name="connsiteY31" fmla="*/ 2023430 h 2046039"/>
                    <a:gd name="connsiteX0" fmla="*/ 33706 w 1210044"/>
                    <a:gd name="connsiteY0" fmla="*/ 2023430 h 2046039"/>
                    <a:gd name="connsiteX1" fmla="*/ 228969 w 1210044"/>
                    <a:gd name="connsiteY1" fmla="*/ 2018668 h 2046039"/>
                    <a:gd name="connsiteX2" fmla="*/ 376606 w 1210044"/>
                    <a:gd name="connsiteY2" fmla="*/ 2004380 h 2046039"/>
                    <a:gd name="connsiteX3" fmla="*/ 581394 w 1210044"/>
                    <a:gd name="connsiteY3" fmla="*/ 2009143 h 2046039"/>
                    <a:gd name="connsiteX4" fmla="*/ 657594 w 1210044"/>
                    <a:gd name="connsiteY4" fmla="*/ 2018668 h 2046039"/>
                    <a:gd name="connsiteX5" fmla="*/ 1157656 w 1210044"/>
                    <a:gd name="connsiteY5" fmla="*/ 2018668 h 2046039"/>
                    <a:gd name="connsiteX6" fmla="*/ 1152894 w 1210044"/>
                    <a:gd name="connsiteY6" fmla="*/ 1671005 h 2046039"/>
                    <a:gd name="connsiteX7" fmla="*/ 1157656 w 1210044"/>
                    <a:gd name="connsiteY7" fmla="*/ 1599568 h 2046039"/>
                    <a:gd name="connsiteX8" fmla="*/ 1167181 w 1210044"/>
                    <a:gd name="connsiteY8" fmla="*/ 1551943 h 2046039"/>
                    <a:gd name="connsiteX9" fmla="*/ 1171944 w 1210044"/>
                    <a:gd name="connsiteY9" fmla="*/ 1513843 h 2046039"/>
                    <a:gd name="connsiteX10" fmla="*/ 1181469 w 1210044"/>
                    <a:gd name="connsiteY10" fmla="*/ 1447168 h 2046039"/>
                    <a:gd name="connsiteX11" fmla="*/ 1190994 w 1210044"/>
                    <a:gd name="connsiteY11" fmla="*/ 1380493 h 2046039"/>
                    <a:gd name="connsiteX12" fmla="*/ 1200519 w 1210044"/>
                    <a:gd name="connsiteY12" fmla="*/ 1342393 h 2046039"/>
                    <a:gd name="connsiteX13" fmla="*/ 1205281 w 1210044"/>
                    <a:gd name="connsiteY13" fmla="*/ 1270955 h 2046039"/>
                    <a:gd name="connsiteX14" fmla="*/ 1210044 w 1210044"/>
                    <a:gd name="connsiteY14" fmla="*/ 1232855 h 2046039"/>
                    <a:gd name="connsiteX15" fmla="*/ 1205281 w 1210044"/>
                    <a:gd name="connsiteY15" fmla="*/ 1042355 h 2046039"/>
                    <a:gd name="connsiteX16" fmla="*/ 1186231 w 1210044"/>
                    <a:gd name="connsiteY16" fmla="*/ 985205 h 2046039"/>
                    <a:gd name="connsiteX17" fmla="*/ 1171944 w 1210044"/>
                    <a:gd name="connsiteY17" fmla="*/ 928055 h 2046039"/>
                    <a:gd name="connsiteX18" fmla="*/ 1157656 w 1210044"/>
                    <a:gd name="connsiteY18" fmla="*/ 847093 h 2046039"/>
                    <a:gd name="connsiteX19" fmla="*/ 1148131 w 1210044"/>
                    <a:gd name="connsiteY19" fmla="*/ 294643 h 2046039"/>
                    <a:gd name="connsiteX20" fmla="*/ 1157656 w 1210044"/>
                    <a:gd name="connsiteY20" fmla="*/ 37468 h 2046039"/>
                    <a:gd name="connsiteX21" fmla="*/ 1005256 w 1210044"/>
                    <a:gd name="connsiteY21" fmla="*/ 18418 h 2046039"/>
                    <a:gd name="connsiteX22" fmla="*/ 281356 w 1210044"/>
                    <a:gd name="connsiteY22" fmla="*/ 4130 h 2046039"/>
                    <a:gd name="connsiteX23" fmla="*/ 57519 w 1210044"/>
                    <a:gd name="connsiteY23" fmla="*/ 8893 h 2046039"/>
                    <a:gd name="connsiteX24" fmla="*/ 38469 w 1210044"/>
                    <a:gd name="connsiteY24" fmla="*/ 13655 h 2046039"/>
                    <a:gd name="connsiteX25" fmla="*/ 369 w 1210044"/>
                    <a:gd name="connsiteY25" fmla="*/ 180343 h 2046039"/>
                    <a:gd name="connsiteX26" fmla="*/ 19419 w 1210044"/>
                    <a:gd name="connsiteY26" fmla="*/ 275593 h 2046039"/>
                    <a:gd name="connsiteX27" fmla="*/ 24181 w 1210044"/>
                    <a:gd name="connsiteY27" fmla="*/ 909005 h 2046039"/>
                    <a:gd name="connsiteX28" fmla="*/ 14656 w 1210044"/>
                    <a:gd name="connsiteY28" fmla="*/ 1166180 h 2046039"/>
                    <a:gd name="connsiteX29" fmla="*/ 14656 w 1210044"/>
                    <a:gd name="connsiteY29" fmla="*/ 1966280 h 2046039"/>
                    <a:gd name="connsiteX30" fmla="*/ 33706 w 1210044"/>
                    <a:gd name="connsiteY30" fmla="*/ 2023430 h 2046039"/>
                    <a:gd name="connsiteX0" fmla="*/ 33706 w 1210220"/>
                    <a:gd name="connsiteY0" fmla="*/ 2023430 h 2046039"/>
                    <a:gd name="connsiteX1" fmla="*/ 228969 w 1210220"/>
                    <a:gd name="connsiteY1" fmla="*/ 2018668 h 2046039"/>
                    <a:gd name="connsiteX2" fmla="*/ 376606 w 1210220"/>
                    <a:gd name="connsiteY2" fmla="*/ 2004380 h 2046039"/>
                    <a:gd name="connsiteX3" fmla="*/ 581394 w 1210220"/>
                    <a:gd name="connsiteY3" fmla="*/ 2009143 h 2046039"/>
                    <a:gd name="connsiteX4" fmla="*/ 657594 w 1210220"/>
                    <a:gd name="connsiteY4" fmla="*/ 2018668 h 2046039"/>
                    <a:gd name="connsiteX5" fmla="*/ 1157656 w 1210220"/>
                    <a:gd name="connsiteY5" fmla="*/ 2018668 h 2046039"/>
                    <a:gd name="connsiteX6" fmla="*/ 1152894 w 1210220"/>
                    <a:gd name="connsiteY6" fmla="*/ 1671005 h 2046039"/>
                    <a:gd name="connsiteX7" fmla="*/ 1157656 w 1210220"/>
                    <a:gd name="connsiteY7" fmla="*/ 1599568 h 2046039"/>
                    <a:gd name="connsiteX8" fmla="*/ 1167181 w 1210220"/>
                    <a:gd name="connsiteY8" fmla="*/ 1551943 h 2046039"/>
                    <a:gd name="connsiteX9" fmla="*/ 1171944 w 1210220"/>
                    <a:gd name="connsiteY9" fmla="*/ 1513843 h 2046039"/>
                    <a:gd name="connsiteX10" fmla="*/ 1181469 w 1210220"/>
                    <a:gd name="connsiteY10" fmla="*/ 1447168 h 2046039"/>
                    <a:gd name="connsiteX11" fmla="*/ 1190994 w 1210220"/>
                    <a:gd name="connsiteY11" fmla="*/ 1380493 h 2046039"/>
                    <a:gd name="connsiteX12" fmla="*/ 1200519 w 1210220"/>
                    <a:gd name="connsiteY12" fmla="*/ 1342393 h 2046039"/>
                    <a:gd name="connsiteX13" fmla="*/ 1205281 w 1210220"/>
                    <a:gd name="connsiteY13" fmla="*/ 1270955 h 2046039"/>
                    <a:gd name="connsiteX14" fmla="*/ 1210044 w 1210220"/>
                    <a:gd name="connsiteY14" fmla="*/ 1232855 h 2046039"/>
                    <a:gd name="connsiteX15" fmla="*/ 1205281 w 1210220"/>
                    <a:gd name="connsiteY15" fmla="*/ 1042355 h 2046039"/>
                    <a:gd name="connsiteX16" fmla="*/ 1171944 w 1210220"/>
                    <a:gd name="connsiteY16" fmla="*/ 928055 h 2046039"/>
                    <a:gd name="connsiteX17" fmla="*/ 1157656 w 1210220"/>
                    <a:gd name="connsiteY17" fmla="*/ 847093 h 2046039"/>
                    <a:gd name="connsiteX18" fmla="*/ 1148131 w 1210220"/>
                    <a:gd name="connsiteY18" fmla="*/ 294643 h 2046039"/>
                    <a:gd name="connsiteX19" fmla="*/ 1157656 w 1210220"/>
                    <a:gd name="connsiteY19" fmla="*/ 37468 h 2046039"/>
                    <a:gd name="connsiteX20" fmla="*/ 1005256 w 1210220"/>
                    <a:gd name="connsiteY20" fmla="*/ 18418 h 2046039"/>
                    <a:gd name="connsiteX21" fmla="*/ 281356 w 1210220"/>
                    <a:gd name="connsiteY21" fmla="*/ 4130 h 2046039"/>
                    <a:gd name="connsiteX22" fmla="*/ 57519 w 1210220"/>
                    <a:gd name="connsiteY22" fmla="*/ 8893 h 2046039"/>
                    <a:gd name="connsiteX23" fmla="*/ 38469 w 1210220"/>
                    <a:gd name="connsiteY23" fmla="*/ 13655 h 2046039"/>
                    <a:gd name="connsiteX24" fmla="*/ 369 w 1210220"/>
                    <a:gd name="connsiteY24" fmla="*/ 180343 h 2046039"/>
                    <a:gd name="connsiteX25" fmla="*/ 19419 w 1210220"/>
                    <a:gd name="connsiteY25" fmla="*/ 275593 h 2046039"/>
                    <a:gd name="connsiteX26" fmla="*/ 24181 w 1210220"/>
                    <a:gd name="connsiteY26" fmla="*/ 909005 h 2046039"/>
                    <a:gd name="connsiteX27" fmla="*/ 14656 w 1210220"/>
                    <a:gd name="connsiteY27" fmla="*/ 1166180 h 2046039"/>
                    <a:gd name="connsiteX28" fmla="*/ 14656 w 1210220"/>
                    <a:gd name="connsiteY28" fmla="*/ 1966280 h 2046039"/>
                    <a:gd name="connsiteX29" fmla="*/ 33706 w 1210220"/>
                    <a:gd name="connsiteY29" fmla="*/ 2023430 h 2046039"/>
                    <a:gd name="connsiteX0" fmla="*/ 33706 w 1211812"/>
                    <a:gd name="connsiteY0" fmla="*/ 2023430 h 2046039"/>
                    <a:gd name="connsiteX1" fmla="*/ 228969 w 1211812"/>
                    <a:gd name="connsiteY1" fmla="*/ 2018668 h 2046039"/>
                    <a:gd name="connsiteX2" fmla="*/ 376606 w 1211812"/>
                    <a:gd name="connsiteY2" fmla="*/ 2004380 h 2046039"/>
                    <a:gd name="connsiteX3" fmla="*/ 581394 w 1211812"/>
                    <a:gd name="connsiteY3" fmla="*/ 2009143 h 2046039"/>
                    <a:gd name="connsiteX4" fmla="*/ 657594 w 1211812"/>
                    <a:gd name="connsiteY4" fmla="*/ 2018668 h 2046039"/>
                    <a:gd name="connsiteX5" fmla="*/ 1157656 w 1211812"/>
                    <a:gd name="connsiteY5" fmla="*/ 2018668 h 2046039"/>
                    <a:gd name="connsiteX6" fmla="*/ 1152894 w 1211812"/>
                    <a:gd name="connsiteY6" fmla="*/ 1671005 h 2046039"/>
                    <a:gd name="connsiteX7" fmla="*/ 1157656 w 1211812"/>
                    <a:gd name="connsiteY7" fmla="*/ 1599568 h 2046039"/>
                    <a:gd name="connsiteX8" fmla="*/ 1167181 w 1211812"/>
                    <a:gd name="connsiteY8" fmla="*/ 1551943 h 2046039"/>
                    <a:gd name="connsiteX9" fmla="*/ 1171944 w 1211812"/>
                    <a:gd name="connsiteY9" fmla="*/ 1513843 h 2046039"/>
                    <a:gd name="connsiteX10" fmla="*/ 1181469 w 1211812"/>
                    <a:gd name="connsiteY10" fmla="*/ 1447168 h 2046039"/>
                    <a:gd name="connsiteX11" fmla="*/ 1190994 w 1211812"/>
                    <a:gd name="connsiteY11" fmla="*/ 1380493 h 2046039"/>
                    <a:gd name="connsiteX12" fmla="*/ 1200519 w 1211812"/>
                    <a:gd name="connsiteY12" fmla="*/ 1342393 h 2046039"/>
                    <a:gd name="connsiteX13" fmla="*/ 1205281 w 1211812"/>
                    <a:gd name="connsiteY13" fmla="*/ 1270955 h 2046039"/>
                    <a:gd name="connsiteX14" fmla="*/ 1210044 w 1211812"/>
                    <a:gd name="connsiteY14" fmla="*/ 1232855 h 2046039"/>
                    <a:gd name="connsiteX15" fmla="*/ 1171944 w 1211812"/>
                    <a:gd name="connsiteY15" fmla="*/ 928055 h 2046039"/>
                    <a:gd name="connsiteX16" fmla="*/ 1157656 w 1211812"/>
                    <a:gd name="connsiteY16" fmla="*/ 847093 h 2046039"/>
                    <a:gd name="connsiteX17" fmla="*/ 1148131 w 1211812"/>
                    <a:gd name="connsiteY17" fmla="*/ 294643 h 2046039"/>
                    <a:gd name="connsiteX18" fmla="*/ 1157656 w 1211812"/>
                    <a:gd name="connsiteY18" fmla="*/ 37468 h 2046039"/>
                    <a:gd name="connsiteX19" fmla="*/ 1005256 w 1211812"/>
                    <a:gd name="connsiteY19" fmla="*/ 18418 h 2046039"/>
                    <a:gd name="connsiteX20" fmla="*/ 281356 w 1211812"/>
                    <a:gd name="connsiteY20" fmla="*/ 4130 h 2046039"/>
                    <a:gd name="connsiteX21" fmla="*/ 57519 w 1211812"/>
                    <a:gd name="connsiteY21" fmla="*/ 8893 h 2046039"/>
                    <a:gd name="connsiteX22" fmla="*/ 38469 w 1211812"/>
                    <a:gd name="connsiteY22" fmla="*/ 13655 h 2046039"/>
                    <a:gd name="connsiteX23" fmla="*/ 369 w 1211812"/>
                    <a:gd name="connsiteY23" fmla="*/ 180343 h 2046039"/>
                    <a:gd name="connsiteX24" fmla="*/ 19419 w 1211812"/>
                    <a:gd name="connsiteY24" fmla="*/ 275593 h 2046039"/>
                    <a:gd name="connsiteX25" fmla="*/ 24181 w 1211812"/>
                    <a:gd name="connsiteY25" fmla="*/ 909005 h 2046039"/>
                    <a:gd name="connsiteX26" fmla="*/ 14656 w 1211812"/>
                    <a:gd name="connsiteY26" fmla="*/ 1166180 h 2046039"/>
                    <a:gd name="connsiteX27" fmla="*/ 14656 w 1211812"/>
                    <a:gd name="connsiteY27" fmla="*/ 1966280 h 2046039"/>
                    <a:gd name="connsiteX28" fmla="*/ 33706 w 1211812"/>
                    <a:gd name="connsiteY28" fmla="*/ 2023430 h 2046039"/>
                    <a:gd name="connsiteX0" fmla="*/ 33706 w 1212804"/>
                    <a:gd name="connsiteY0" fmla="*/ 2023430 h 2046039"/>
                    <a:gd name="connsiteX1" fmla="*/ 228969 w 1212804"/>
                    <a:gd name="connsiteY1" fmla="*/ 2018668 h 2046039"/>
                    <a:gd name="connsiteX2" fmla="*/ 376606 w 1212804"/>
                    <a:gd name="connsiteY2" fmla="*/ 2004380 h 2046039"/>
                    <a:gd name="connsiteX3" fmla="*/ 581394 w 1212804"/>
                    <a:gd name="connsiteY3" fmla="*/ 2009143 h 2046039"/>
                    <a:gd name="connsiteX4" fmla="*/ 657594 w 1212804"/>
                    <a:gd name="connsiteY4" fmla="*/ 2018668 h 2046039"/>
                    <a:gd name="connsiteX5" fmla="*/ 1157656 w 1212804"/>
                    <a:gd name="connsiteY5" fmla="*/ 2018668 h 2046039"/>
                    <a:gd name="connsiteX6" fmla="*/ 1152894 w 1212804"/>
                    <a:gd name="connsiteY6" fmla="*/ 1671005 h 2046039"/>
                    <a:gd name="connsiteX7" fmla="*/ 1157656 w 1212804"/>
                    <a:gd name="connsiteY7" fmla="*/ 1599568 h 2046039"/>
                    <a:gd name="connsiteX8" fmla="*/ 1167181 w 1212804"/>
                    <a:gd name="connsiteY8" fmla="*/ 1551943 h 2046039"/>
                    <a:gd name="connsiteX9" fmla="*/ 1171944 w 1212804"/>
                    <a:gd name="connsiteY9" fmla="*/ 1513843 h 2046039"/>
                    <a:gd name="connsiteX10" fmla="*/ 1181469 w 1212804"/>
                    <a:gd name="connsiteY10" fmla="*/ 1447168 h 2046039"/>
                    <a:gd name="connsiteX11" fmla="*/ 1190994 w 1212804"/>
                    <a:gd name="connsiteY11" fmla="*/ 1380493 h 2046039"/>
                    <a:gd name="connsiteX12" fmla="*/ 1200519 w 1212804"/>
                    <a:gd name="connsiteY12" fmla="*/ 1342393 h 2046039"/>
                    <a:gd name="connsiteX13" fmla="*/ 1205281 w 1212804"/>
                    <a:gd name="connsiteY13" fmla="*/ 1270955 h 2046039"/>
                    <a:gd name="connsiteX14" fmla="*/ 1210044 w 1212804"/>
                    <a:gd name="connsiteY14" fmla="*/ 1232855 h 2046039"/>
                    <a:gd name="connsiteX15" fmla="*/ 1157656 w 1212804"/>
                    <a:gd name="connsiteY15" fmla="*/ 847093 h 2046039"/>
                    <a:gd name="connsiteX16" fmla="*/ 1148131 w 1212804"/>
                    <a:gd name="connsiteY16" fmla="*/ 294643 h 2046039"/>
                    <a:gd name="connsiteX17" fmla="*/ 1157656 w 1212804"/>
                    <a:gd name="connsiteY17" fmla="*/ 37468 h 2046039"/>
                    <a:gd name="connsiteX18" fmla="*/ 1005256 w 1212804"/>
                    <a:gd name="connsiteY18" fmla="*/ 18418 h 2046039"/>
                    <a:gd name="connsiteX19" fmla="*/ 281356 w 1212804"/>
                    <a:gd name="connsiteY19" fmla="*/ 4130 h 2046039"/>
                    <a:gd name="connsiteX20" fmla="*/ 57519 w 1212804"/>
                    <a:gd name="connsiteY20" fmla="*/ 8893 h 2046039"/>
                    <a:gd name="connsiteX21" fmla="*/ 38469 w 1212804"/>
                    <a:gd name="connsiteY21" fmla="*/ 13655 h 2046039"/>
                    <a:gd name="connsiteX22" fmla="*/ 369 w 1212804"/>
                    <a:gd name="connsiteY22" fmla="*/ 180343 h 2046039"/>
                    <a:gd name="connsiteX23" fmla="*/ 19419 w 1212804"/>
                    <a:gd name="connsiteY23" fmla="*/ 275593 h 2046039"/>
                    <a:gd name="connsiteX24" fmla="*/ 24181 w 1212804"/>
                    <a:gd name="connsiteY24" fmla="*/ 909005 h 2046039"/>
                    <a:gd name="connsiteX25" fmla="*/ 14656 w 1212804"/>
                    <a:gd name="connsiteY25" fmla="*/ 1166180 h 2046039"/>
                    <a:gd name="connsiteX26" fmla="*/ 14656 w 1212804"/>
                    <a:gd name="connsiteY26" fmla="*/ 1966280 h 2046039"/>
                    <a:gd name="connsiteX27" fmla="*/ 33706 w 1212804"/>
                    <a:gd name="connsiteY27" fmla="*/ 2023430 h 2046039"/>
                    <a:gd name="connsiteX0" fmla="*/ 33706 w 1207774"/>
                    <a:gd name="connsiteY0" fmla="*/ 2023430 h 2046039"/>
                    <a:gd name="connsiteX1" fmla="*/ 228969 w 1207774"/>
                    <a:gd name="connsiteY1" fmla="*/ 2018668 h 2046039"/>
                    <a:gd name="connsiteX2" fmla="*/ 376606 w 1207774"/>
                    <a:gd name="connsiteY2" fmla="*/ 2004380 h 2046039"/>
                    <a:gd name="connsiteX3" fmla="*/ 581394 w 1207774"/>
                    <a:gd name="connsiteY3" fmla="*/ 2009143 h 2046039"/>
                    <a:gd name="connsiteX4" fmla="*/ 657594 w 1207774"/>
                    <a:gd name="connsiteY4" fmla="*/ 2018668 h 2046039"/>
                    <a:gd name="connsiteX5" fmla="*/ 1157656 w 1207774"/>
                    <a:gd name="connsiteY5" fmla="*/ 2018668 h 2046039"/>
                    <a:gd name="connsiteX6" fmla="*/ 1152894 w 1207774"/>
                    <a:gd name="connsiteY6" fmla="*/ 1671005 h 2046039"/>
                    <a:gd name="connsiteX7" fmla="*/ 1157656 w 1207774"/>
                    <a:gd name="connsiteY7" fmla="*/ 1599568 h 2046039"/>
                    <a:gd name="connsiteX8" fmla="*/ 1167181 w 1207774"/>
                    <a:gd name="connsiteY8" fmla="*/ 1551943 h 2046039"/>
                    <a:gd name="connsiteX9" fmla="*/ 1171944 w 1207774"/>
                    <a:gd name="connsiteY9" fmla="*/ 1513843 h 2046039"/>
                    <a:gd name="connsiteX10" fmla="*/ 1181469 w 1207774"/>
                    <a:gd name="connsiteY10" fmla="*/ 1447168 h 2046039"/>
                    <a:gd name="connsiteX11" fmla="*/ 1190994 w 1207774"/>
                    <a:gd name="connsiteY11" fmla="*/ 1380493 h 2046039"/>
                    <a:gd name="connsiteX12" fmla="*/ 1200519 w 1207774"/>
                    <a:gd name="connsiteY12" fmla="*/ 1342393 h 2046039"/>
                    <a:gd name="connsiteX13" fmla="*/ 1205281 w 1207774"/>
                    <a:gd name="connsiteY13" fmla="*/ 1270955 h 2046039"/>
                    <a:gd name="connsiteX14" fmla="*/ 1157656 w 1207774"/>
                    <a:gd name="connsiteY14" fmla="*/ 847093 h 2046039"/>
                    <a:gd name="connsiteX15" fmla="*/ 1148131 w 1207774"/>
                    <a:gd name="connsiteY15" fmla="*/ 294643 h 2046039"/>
                    <a:gd name="connsiteX16" fmla="*/ 1157656 w 1207774"/>
                    <a:gd name="connsiteY16" fmla="*/ 37468 h 2046039"/>
                    <a:gd name="connsiteX17" fmla="*/ 1005256 w 1207774"/>
                    <a:gd name="connsiteY17" fmla="*/ 18418 h 2046039"/>
                    <a:gd name="connsiteX18" fmla="*/ 281356 w 1207774"/>
                    <a:gd name="connsiteY18" fmla="*/ 4130 h 2046039"/>
                    <a:gd name="connsiteX19" fmla="*/ 57519 w 1207774"/>
                    <a:gd name="connsiteY19" fmla="*/ 8893 h 2046039"/>
                    <a:gd name="connsiteX20" fmla="*/ 38469 w 1207774"/>
                    <a:gd name="connsiteY20" fmla="*/ 13655 h 2046039"/>
                    <a:gd name="connsiteX21" fmla="*/ 369 w 1207774"/>
                    <a:gd name="connsiteY21" fmla="*/ 180343 h 2046039"/>
                    <a:gd name="connsiteX22" fmla="*/ 19419 w 1207774"/>
                    <a:gd name="connsiteY22" fmla="*/ 275593 h 2046039"/>
                    <a:gd name="connsiteX23" fmla="*/ 24181 w 1207774"/>
                    <a:gd name="connsiteY23" fmla="*/ 909005 h 2046039"/>
                    <a:gd name="connsiteX24" fmla="*/ 14656 w 1207774"/>
                    <a:gd name="connsiteY24" fmla="*/ 1166180 h 2046039"/>
                    <a:gd name="connsiteX25" fmla="*/ 14656 w 1207774"/>
                    <a:gd name="connsiteY25" fmla="*/ 1966280 h 2046039"/>
                    <a:gd name="connsiteX26" fmla="*/ 33706 w 1207774"/>
                    <a:gd name="connsiteY26" fmla="*/ 2023430 h 2046039"/>
                    <a:gd name="connsiteX0" fmla="*/ 33706 w 1200519"/>
                    <a:gd name="connsiteY0" fmla="*/ 2023430 h 2046039"/>
                    <a:gd name="connsiteX1" fmla="*/ 228969 w 1200519"/>
                    <a:gd name="connsiteY1" fmla="*/ 2018668 h 2046039"/>
                    <a:gd name="connsiteX2" fmla="*/ 376606 w 1200519"/>
                    <a:gd name="connsiteY2" fmla="*/ 2004380 h 2046039"/>
                    <a:gd name="connsiteX3" fmla="*/ 581394 w 1200519"/>
                    <a:gd name="connsiteY3" fmla="*/ 2009143 h 2046039"/>
                    <a:gd name="connsiteX4" fmla="*/ 657594 w 1200519"/>
                    <a:gd name="connsiteY4" fmla="*/ 2018668 h 2046039"/>
                    <a:gd name="connsiteX5" fmla="*/ 1157656 w 1200519"/>
                    <a:gd name="connsiteY5" fmla="*/ 2018668 h 2046039"/>
                    <a:gd name="connsiteX6" fmla="*/ 1152894 w 1200519"/>
                    <a:gd name="connsiteY6" fmla="*/ 1671005 h 2046039"/>
                    <a:gd name="connsiteX7" fmla="*/ 1157656 w 1200519"/>
                    <a:gd name="connsiteY7" fmla="*/ 1599568 h 2046039"/>
                    <a:gd name="connsiteX8" fmla="*/ 1167181 w 1200519"/>
                    <a:gd name="connsiteY8" fmla="*/ 1551943 h 2046039"/>
                    <a:gd name="connsiteX9" fmla="*/ 1171944 w 1200519"/>
                    <a:gd name="connsiteY9" fmla="*/ 1513843 h 2046039"/>
                    <a:gd name="connsiteX10" fmla="*/ 1181469 w 1200519"/>
                    <a:gd name="connsiteY10" fmla="*/ 1447168 h 2046039"/>
                    <a:gd name="connsiteX11" fmla="*/ 1190994 w 1200519"/>
                    <a:gd name="connsiteY11" fmla="*/ 1380493 h 2046039"/>
                    <a:gd name="connsiteX12" fmla="*/ 1200519 w 1200519"/>
                    <a:gd name="connsiteY12" fmla="*/ 1342393 h 2046039"/>
                    <a:gd name="connsiteX13" fmla="*/ 1157656 w 1200519"/>
                    <a:gd name="connsiteY13" fmla="*/ 847093 h 2046039"/>
                    <a:gd name="connsiteX14" fmla="*/ 1148131 w 1200519"/>
                    <a:gd name="connsiteY14" fmla="*/ 294643 h 2046039"/>
                    <a:gd name="connsiteX15" fmla="*/ 1157656 w 1200519"/>
                    <a:gd name="connsiteY15" fmla="*/ 37468 h 2046039"/>
                    <a:gd name="connsiteX16" fmla="*/ 1005256 w 1200519"/>
                    <a:gd name="connsiteY16" fmla="*/ 18418 h 2046039"/>
                    <a:gd name="connsiteX17" fmla="*/ 281356 w 1200519"/>
                    <a:gd name="connsiteY17" fmla="*/ 4130 h 2046039"/>
                    <a:gd name="connsiteX18" fmla="*/ 57519 w 1200519"/>
                    <a:gd name="connsiteY18" fmla="*/ 8893 h 2046039"/>
                    <a:gd name="connsiteX19" fmla="*/ 38469 w 1200519"/>
                    <a:gd name="connsiteY19" fmla="*/ 13655 h 2046039"/>
                    <a:gd name="connsiteX20" fmla="*/ 369 w 1200519"/>
                    <a:gd name="connsiteY20" fmla="*/ 180343 h 2046039"/>
                    <a:gd name="connsiteX21" fmla="*/ 19419 w 1200519"/>
                    <a:gd name="connsiteY21" fmla="*/ 275593 h 2046039"/>
                    <a:gd name="connsiteX22" fmla="*/ 24181 w 1200519"/>
                    <a:gd name="connsiteY22" fmla="*/ 909005 h 2046039"/>
                    <a:gd name="connsiteX23" fmla="*/ 14656 w 1200519"/>
                    <a:gd name="connsiteY23" fmla="*/ 1166180 h 2046039"/>
                    <a:gd name="connsiteX24" fmla="*/ 14656 w 1200519"/>
                    <a:gd name="connsiteY24" fmla="*/ 1966280 h 2046039"/>
                    <a:gd name="connsiteX25" fmla="*/ 33706 w 1200519"/>
                    <a:gd name="connsiteY25" fmla="*/ 2023430 h 2046039"/>
                    <a:gd name="connsiteX0" fmla="*/ 33706 w 1201079"/>
                    <a:gd name="connsiteY0" fmla="*/ 2023430 h 2046039"/>
                    <a:gd name="connsiteX1" fmla="*/ 228969 w 1201079"/>
                    <a:gd name="connsiteY1" fmla="*/ 2018668 h 2046039"/>
                    <a:gd name="connsiteX2" fmla="*/ 376606 w 1201079"/>
                    <a:gd name="connsiteY2" fmla="*/ 2004380 h 2046039"/>
                    <a:gd name="connsiteX3" fmla="*/ 581394 w 1201079"/>
                    <a:gd name="connsiteY3" fmla="*/ 2009143 h 2046039"/>
                    <a:gd name="connsiteX4" fmla="*/ 657594 w 1201079"/>
                    <a:gd name="connsiteY4" fmla="*/ 2018668 h 2046039"/>
                    <a:gd name="connsiteX5" fmla="*/ 1157656 w 1201079"/>
                    <a:gd name="connsiteY5" fmla="*/ 2018668 h 2046039"/>
                    <a:gd name="connsiteX6" fmla="*/ 1152894 w 1201079"/>
                    <a:gd name="connsiteY6" fmla="*/ 1671005 h 2046039"/>
                    <a:gd name="connsiteX7" fmla="*/ 1157656 w 1201079"/>
                    <a:gd name="connsiteY7" fmla="*/ 1599568 h 2046039"/>
                    <a:gd name="connsiteX8" fmla="*/ 1167181 w 1201079"/>
                    <a:gd name="connsiteY8" fmla="*/ 1551943 h 2046039"/>
                    <a:gd name="connsiteX9" fmla="*/ 1171944 w 1201079"/>
                    <a:gd name="connsiteY9" fmla="*/ 1513843 h 2046039"/>
                    <a:gd name="connsiteX10" fmla="*/ 1181469 w 1201079"/>
                    <a:gd name="connsiteY10" fmla="*/ 1447168 h 2046039"/>
                    <a:gd name="connsiteX11" fmla="*/ 1200519 w 1201079"/>
                    <a:gd name="connsiteY11" fmla="*/ 1342393 h 2046039"/>
                    <a:gd name="connsiteX12" fmla="*/ 1157656 w 1201079"/>
                    <a:gd name="connsiteY12" fmla="*/ 847093 h 2046039"/>
                    <a:gd name="connsiteX13" fmla="*/ 1148131 w 1201079"/>
                    <a:gd name="connsiteY13" fmla="*/ 294643 h 2046039"/>
                    <a:gd name="connsiteX14" fmla="*/ 1157656 w 1201079"/>
                    <a:gd name="connsiteY14" fmla="*/ 37468 h 2046039"/>
                    <a:gd name="connsiteX15" fmla="*/ 1005256 w 1201079"/>
                    <a:gd name="connsiteY15" fmla="*/ 18418 h 2046039"/>
                    <a:gd name="connsiteX16" fmla="*/ 281356 w 1201079"/>
                    <a:gd name="connsiteY16" fmla="*/ 4130 h 2046039"/>
                    <a:gd name="connsiteX17" fmla="*/ 57519 w 1201079"/>
                    <a:gd name="connsiteY17" fmla="*/ 8893 h 2046039"/>
                    <a:gd name="connsiteX18" fmla="*/ 38469 w 1201079"/>
                    <a:gd name="connsiteY18" fmla="*/ 13655 h 2046039"/>
                    <a:gd name="connsiteX19" fmla="*/ 369 w 1201079"/>
                    <a:gd name="connsiteY19" fmla="*/ 180343 h 2046039"/>
                    <a:gd name="connsiteX20" fmla="*/ 19419 w 1201079"/>
                    <a:gd name="connsiteY20" fmla="*/ 275593 h 2046039"/>
                    <a:gd name="connsiteX21" fmla="*/ 24181 w 1201079"/>
                    <a:gd name="connsiteY21" fmla="*/ 909005 h 2046039"/>
                    <a:gd name="connsiteX22" fmla="*/ 14656 w 1201079"/>
                    <a:gd name="connsiteY22" fmla="*/ 1166180 h 2046039"/>
                    <a:gd name="connsiteX23" fmla="*/ 14656 w 1201079"/>
                    <a:gd name="connsiteY23" fmla="*/ 1966280 h 2046039"/>
                    <a:gd name="connsiteX24" fmla="*/ 33706 w 1201079"/>
                    <a:gd name="connsiteY24" fmla="*/ 2023430 h 2046039"/>
                    <a:gd name="connsiteX0" fmla="*/ 33706 w 1194053"/>
                    <a:gd name="connsiteY0" fmla="*/ 2023430 h 2046039"/>
                    <a:gd name="connsiteX1" fmla="*/ 228969 w 1194053"/>
                    <a:gd name="connsiteY1" fmla="*/ 2018668 h 2046039"/>
                    <a:gd name="connsiteX2" fmla="*/ 376606 w 1194053"/>
                    <a:gd name="connsiteY2" fmla="*/ 2004380 h 2046039"/>
                    <a:gd name="connsiteX3" fmla="*/ 581394 w 1194053"/>
                    <a:gd name="connsiteY3" fmla="*/ 2009143 h 2046039"/>
                    <a:gd name="connsiteX4" fmla="*/ 657594 w 1194053"/>
                    <a:gd name="connsiteY4" fmla="*/ 2018668 h 2046039"/>
                    <a:gd name="connsiteX5" fmla="*/ 1157656 w 1194053"/>
                    <a:gd name="connsiteY5" fmla="*/ 2018668 h 2046039"/>
                    <a:gd name="connsiteX6" fmla="*/ 1152894 w 1194053"/>
                    <a:gd name="connsiteY6" fmla="*/ 1671005 h 2046039"/>
                    <a:gd name="connsiteX7" fmla="*/ 1157656 w 1194053"/>
                    <a:gd name="connsiteY7" fmla="*/ 1599568 h 2046039"/>
                    <a:gd name="connsiteX8" fmla="*/ 1167181 w 1194053"/>
                    <a:gd name="connsiteY8" fmla="*/ 1551943 h 2046039"/>
                    <a:gd name="connsiteX9" fmla="*/ 1171944 w 1194053"/>
                    <a:gd name="connsiteY9" fmla="*/ 1513843 h 2046039"/>
                    <a:gd name="connsiteX10" fmla="*/ 1181469 w 1194053"/>
                    <a:gd name="connsiteY10" fmla="*/ 1447168 h 2046039"/>
                    <a:gd name="connsiteX11" fmla="*/ 1157656 w 1194053"/>
                    <a:gd name="connsiteY11" fmla="*/ 847093 h 2046039"/>
                    <a:gd name="connsiteX12" fmla="*/ 1148131 w 1194053"/>
                    <a:gd name="connsiteY12" fmla="*/ 294643 h 2046039"/>
                    <a:gd name="connsiteX13" fmla="*/ 1157656 w 1194053"/>
                    <a:gd name="connsiteY13" fmla="*/ 37468 h 2046039"/>
                    <a:gd name="connsiteX14" fmla="*/ 1005256 w 1194053"/>
                    <a:gd name="connsiteY14" fmla="*/ 18418 h 2046039"/>
                    <a:gd name="connsiteX15" fmla="*/ 281356 w 1194053"/>
                    <a:gd name="connsiteY15" fmla="*/ 4130 h 2046039"/>
                    <a:gd name="connsiteX16" fmla="*/ 57519 w 1194053"/>
                    <a:gd name="connsiteY16" fmla="*/ 8893 h 2046039"/>
                    <a:gd name="connsiteX17" fmla="*/ 38469 w 1194053"/>
                    <a:gd name="connsiteY17" fmla="*/ 13655 h 2046039"/>
                    <a:gd name="connsiteX18" fmla="*/ 369 w 1194053"/>
                    <a:gd name="connsiteY18" fmla="*/ 180343 h 2046039"/>
                    <a:gd name="connsiteX19" fmla="*/ 19419 w 1194053"/>
                    <a:gd name="connsiteY19" fmla="*/ 275593 h 2046039"/>
                    <a:gd name="connsiteX20" fmla="*/ 24181 w 1194053"/>
                    <a:gd name="connsiteY20" fmla="*/ 909005 h 2046039"/>
                    <a:gd name="connsiteX21" fmla="*/ 14656 w 1194053"/>
                    <a:gd name="connsiteY21" fmla="*/ 1166180 h 2046039"/>
                    <a:gd name="connsiteX22" fmla="*/ 14656 w 1194053"/>
                    <a:gd name="connsiteY22" fmla="*/ 1966280 h 2046039"/>
                    <a:gd name="connsiteX23" fmla="*/ 33706 w 1194053"/>
                    <a:gd name="connsiteY23" fmla="*/ 2023430 h 2046039"/>
                    <a:gd name="connsiteX0" fmla="*/ 33706 w 1194053"/>
                    <a:gd name="connsiteY0" fmla="*/ 2023430 h 2046039"/>
                    <a:gd name="connsiteX1" fmla="*/ 228969 w 1194053"/>
                    <a:gd name="connsiteY1" fmla="*/ 2018668 h 2046039"/>
                    <a:gd name="connsiteX2" fmla="*/ 376606 w 1194053"/>
                    <a:gd name="connsiteY2" fmla="*/ 2004380 h 2046039"/>
                    <a:gd name="connsiteX3" fmla="*/ 581394 w 1194053"/>
                    <a:gd name="connsiteY3" fmla="*/ 2009143 h 2046039"/>
                    <a:gd name="connsiteX4" fmla="*/ 657594 w 1194053"/>
                    <a:gd name="connsiteY4" fmla="*/ 2018668 h 2046039"/>
                    <a:gd name="connsiteX5" fmla="*/ 1157656 w 1194053"/>
                    <a:gd name="connsiteY5" fmla="*/ 2018668 h 2046039"/>
                    <a:gd name="connsiteX6" fmla="*/ 1152894 w 1194053"/>
                    <a:gd name="connsiteY6" fmla="*/ 1671005 h 2046039"/>
                    <a:gd name="connsiteX7" fmla="*/ 1157656 w 1194053"/>
                    <a:gd name="connsiteY7" fmla="*/ 1599568 h 2046039"/>
                    <a:gd name="connsiteX8" fmla="*/ 1167181 w 1194053"/>
                    <a:gd name="connsiteY8" fmla="*/ 1551943 h 2046039"/>
                    <a:gd name="connsiteX9" fmla="*/ 1171944 w 1194053"/>
                    <a:gd name="connsiteY9" fmla="*/ 1513843 h 2046039"/>
                    <a:gd name="connsiteX10" fmla="*/ 1157656 w 1194053"/>
                    <a:gd name="connsiteY10" fmla="*/ 847093 h 2046039"/>
                    <a:gd name="connsiteX11" fmla="*/ 1148131 w 1194053"/>
                    <a:gd name="connsiteY11" fmla="*/ 294643 h 2046039"/>
                    <a:gd name="connsiteX12" fmla="*/ 1157656 w 1194053"/>
                    <a:gd name="connsiteY12" fmla="*/ 37468 h 2046039"/>
                    <a:gd name="connsiteX13" fmla="*/ 1005256 w 1194053"/>
                    <a:gd name="connsiteY13" fmla="*/ 18418 h 2046039"/>
                    <a:gd name="connsiteX14" fmla="*/ 281356 w 1194053"/>
                    <a:gd name="connsiteY14" fmla="*/ 4130 h 2046039"/>
                    <a:gd name="connsiteX15" fmla="*/ 57519 w 1194053"/>
                    <a:gd name="connsiteY15" fmla="*/ 8893 h 2046039"/>
                    <a:gd name="connsiteX16" fmla="*/ 38469 w 1194053"/>
                    <a:gd name="connsiteY16" fmla="*/ 13655 h 2046039"/>
                    <a:gd name="connsiteX17" fmla="*/ 369 w 1194053"/>
                    <a:gd name="connsiteY17" fmla="*/ 180343 h 2046039"/>
                    <a:gd name="connsiteX18" fmla="*/ 19419 w 1194053"/>
                    <a:gd name="connsiteY18" fmla="*/ 275593 h 2046039"/>
                    <a:gd name="connsiteX19" fmla="*/ 24181 w 1194053"/>
                    <a:gd name="connsiteY19" fmla="*/ 909005 h 2046039"/>
                    <a:gd name="connsiteX20" fmla="*/ 14656 w 1194053"/>
                    <a:gd name="connsiteY20" fmla="*/ 1166180 h 2046039"/>
                    <a:gd name="connsiteX21" fmla="*/ 14656 w 1194053"/>
                    <a:gd name="connsiteY21" fmla="*/ 1966280 h 2046039"/>
                    <a:gd name="connsiteX22" fmla="*/ 33706 w 1194053"/>
                    <a:gd name="connsiteY22" fmla="*/ 2023430 h 2046039"/>
                    <a:gd name="connsiteX0" fmla="*/ 33706 w 1194053"/>
                    <a:gd name="connsiteY0" fmla="*/ 2023430 h 2046039"/>
                    <a:gd name="connsiteX1" fmla="*/ 228969 w 1194053"/>
                    <a:gd name="connsiteY1" fmla="*/ 2018668 h 2046039"/>
                    <a:gd name="connsiteX2" fmla="*/ 376606 w 1194053"/>
                    <a:gd name="connsiteY2" fmla="*/ 2004380 h 2046039"/>
                    <a:gd name="connsiteX3" fmla="*/ 581394 w 1194053"/>
                    <a:gd name="connsiteY3" fmla="*/ 2009143 h 2046039"/>
                    <a:gd name="connsiteX4" fmla="*/ 657594 w 1194053"/>
                    <a:gd name="connsiteY4" fmla="*/ 2018668 h 2046039"/>
                    <a:gd name="connsiteX5" fmla="*/ 1157656 w 1194053"/>
                    <a:gd name="connsiteY5" fmla="*/ 2018668 h 2046039"/>
                    <a:gd name="connsiteX6" fmla="*/ 1152894 w 1194053"/>
                    <a:gd name="connsiteY6" fmla="*/ 1671005 h 2046039"/>
                    <a:gd name="connsiteX7" fmla="*/ 1157656 w 1194053"/>
                    <a:gd name="connsiteY7" fmla="*/ 1599568 h 2046039"/>
                    <a:gd name="connsiteX8" fmla="*/ 1171944 w 1194053"/>
                    <a:gd name="connsiteY8" fmla="*/ 1513843 h 2046039"/>
                    <a:gd name="connsiteX9" fmla="*/ 1157656 w 1194053"/>
                    <a:gd name="connsiteY9" fmla="*/ 847093 h 2046039"/>
                    <a:gd name="connsiteX10" fmla="*/ 1148131 w 1194053"/>
                    <a:gd name="connsiteY10" fmla="*/ 294643 h 2046039"/>
                    <a:gd name="connsiteX11" fmla="*/ 1157656 w 1194053"/>
                    <a:gd name="connsiteY11" fmla="*/ 37468 h 2046039"/>
                    <a:gd name="connsiteX12" fmla="*/ 1005256 w 1194053"/>
                    <a:gd name="connsiteY12" fmla="*/ 18418 h 2046039"/>
                    <a:gd name="connsiteX13" fmla="*/ 281356 w 1194053"/>
                    <a:gd name="connsiteY13" fmla="*/ 4130 h 2046039"/>
                    <a:gd name="connsiteX14" fmla="*/ 57519 w 1194053"/>
                    <a:gd name="connsiteY14" fmla="*/ 8893 h 2046039"/>
                    <a:gd name="connsiteX15" fmla="*/ 38469 w 1194053"/>
                    <a:gd name="connsiteY15" fmla="*/ 13655 h 2046039"/>
                    <a:gd name="connsiteX16" fmla="*/ 369 w 1194053"/>
                    <a:gd name="connsiteY16" fmla="*/ 180343 h 2046039"/>
                    <a:gd name="connsiteX17" fmla="*/ 19419 w 1194053"/>
                    <a:gd name="connsiteY17" fmla="*/ 275593 h 2046039"/>
                    <a:gd name="connsiteX18" fmla="*/ 24181 w 1194053"/>
                    <a:gd name="connsiteY18" fmla="*/ 909005 h 2046039"/>
                    <a:gd name="connsiteX19" fmla="*/ 14656 w 1194053"/>
                    <a:gd name="connsiteY19" fmla="*/ 1166180 h 2046039"/>
                    <a:gd name="connsiteX20" fmla="*/ 14656 w 1194053"/>
                    <a:gd name="connsiteY20" fmla="*/ 1966280 h 2046039"/>
                    <a:gd name="connsiteX21" fmla="*/ 33706 w 1194053"/>
                    <a:gd name="connsiteY21" fmla="*/ 2023430 h 2046039"/>
                    <a:gd name="connsiteX0" fmla="*/ 33706 w 1194053"/>
                    <a:gd name="connsiteY0" fmla="*/ 2023430 h 2046039"/>
                    <a:gd name="connsiteX1" fmla="*/ 228969 w 1194053"/>
                    <a:gd name="connsiteY1" fmla="*/ 2018668 h 2046039"/>
                    <a:gd name="connsiteX2" fmla="*/ 376606 w 1194053"/>
                    <a:gd name="connsiteY2" fmla="*/ 2004380 h 2046039"/>
                    <a:gd name="connsiteX3" fmla="*/ 581394 w 1194053"/>
                    <a:gd name="connsiteY3" fmla="*/ 2009143 h 2046039"/>
                    <a:gd name="connsiteX4" fmla="*/ 657594 w 1194053"/>
                    <a:gd name="connsiteY4" fmla="*/ 2018668 h 2046039"/>
                    <a:gd name="connsiteX5" fmla="*/ 1157656 w 1194053"/>
                    <a:gd name="connsiteY5" fmla="*/ 2018668 h 2046039"/>
                    <a:gd name="connsiteX6" fmla="*/ 1152894 w 1194053"/>
                    <a:gd name="connsiteY6" fmla="*/ 1671005 h 2046039"/>
                    <a:gd name="connsiteX7" fmla="*/ 1157656 w 1194053"/>
                    <a:gd name="connsiteY7" fmla="*/ 1599568 h 2046039"/>
                    <a:gd name="connsiteX8" fmla="*/ 1157656 w 1194053"/>
                    <a:gd name="connsiteY8" fmla="*/ 847093 h 2046039"/>
                    <a:gd name="connsiteX9" fmla="*/ 1148131 w 1194053"/>
                    <a:gd name="connsiteY9" fmla="*/ 294643 h 2046039"/>
                    <a:gd name="connsiteX10" fmla="*/ 1157656 w 1194053"/>
                    <a:gd name="connsiteY10" fmla="*/ 37468 h 2046039"/>
                    <a:gd name="connsiteX11" fmla="*/ 1005256 w 1194053"/>
                    <a:gd name="connsiteY11" fmla="*/ 18418 h 2046039"/>
                    <a:gd name="connsiteX12" fmla="*/ 281356 w 1194053"/>
                    <a:gd name="connsiteY12" fmla="*/ 4130 h 2046039"/>
                    <a:gd name="connsiteX13" fmla="*/ 57519 w 1194053"/>
                    <a:gd name="connsiteY13" fmla="*/ 8893 h 2046039"/>
                    <a:gd name="connsiteX14" fmla="*/ 38469 w 1194053"/>
                    <a:gd name="connsiteY14" fmla="*/ 13655 h 2046039"/>
                    <a:gd name="connsiteX15" fmla="*/ 369 w 1194053"/>
                    <a:gd name="connsiteY15" fmla="*/ 180343 h 2046039"/>
                    <a:gd name="connsiteX16" fmla="*/ 19419 w 1194053"/>
                    <a:gd name="connsiteY16" fmla="*/ 275593 h 2046039"/>
                    <a:gd name="connsiteX17" fmla="*/ 24181 w 1194053"/>
                    <a:gd name="connsiteY17" fmla="*/ 909005 h 2046039"/>
                    <a:gd name="connsiteX18" fmla="*/ 14656 w 1194053"/>
                    <a:gd name="connsiteY18" fmla="*/ 1166180 h 2046039"/>
                    <a:gd name="connsiteX19" fmla="*/ 14656 w 1194053"/>
                    <a:gd name="connsiteY19" fmla="*/ 1966280 h 2046039"/>
                    <a:gd name="connsiteX20" fmla="*/ 33706 w 1194053"/>
                    <a:gd name="connsiteY20" fmla="*/ 2023430 h 2046039"/>
                    <a:gd name="connsiteX0" fmla="*/ 33706 w 1194053"/>
                    <a:gd name="connsiteY0" fmla="*/ 2023430 h 2046039"/>
                    <a:gd name="connsiteX1" fmla="*/ 228969 w 1194053"/>
                    <a:gd name="connsiteY1" fmla="*/ 2018668 h 2046039"/>
                    <a:gd name="connsiteX2" fmla="*/ 376606 w 1194053"/>
                    <a:gd name="connsiteY2" fmla="*/ 2004380 h 2046039"/>
                    <a:gd name="connsiteX3" fmla="*/ 581394 w 1194053"/>
                    <a:gd name="connsiteY3" fmla="*/ 2009143 h 2046039"/>
                    <a:gd name="connsiteX4" fmla="*/ 657594 w 1194053"/>
                    <a:gd name="connsiteY4" fmla="*/ 2018668 h 2046039"/>
                    <a:gd name="connsiteX5" fmla="*/ 1157656 w 1194053"/>
                    <a:gd name="connsiteY5" fmla="*/ 2018668 h 2046039"/>
                    <a:gd name="connsiteX6" fmla="*/ 1152894 w 1194053"/>
                    <a:gd name="connsiteY6" fmla="*/ 1671005 h 2046039"/>
                    <a:gd name="connsiteX7" fmla="*/ 1157656 w 1194053"/>
                    <a:gd name="connsiteY7" fmla="*/ 847093 h 2046039"/>
                    <a:gd name="connsiteX8" fmla="*/ 1148131 w 1194053"/>
                    <a:gd name="connsiteY8" fmla="*/ 294643 h 2046039"/>
                    <a:gd name="connsiteX9" fmla="*/ 1157656 w 1194053"/>
                    <a:gd name="connsiteY9" fmla="*/ 37468 h 2046039"/>
                    <a:gd name="connsiteX10" fmla="*/ 1005256 w 1194053"/>
                    <a:gd name="connsiteY10" fmla="*/ 18418 h 2046039"/>
                    <a:gd name="connsiteX11" fmla="*/ 281356 w 1194053"/>
                    <a:gd name="connsiteY11" fmla="*/ 4130 h 2046039"/>
                    <a:gd name="connsiteX12" fmla="*/ 57519 w 1194053"/>
                    <a:gd name="connsiteY12" fmla="*/ 8893 h 2046039"/>
                    <a:gd name="connsiteX13" fmla="*/ 38469 w 1194053"/>
                    <a:gd name="connsiteY13" fmla="*/ 13655 h 2046039"/>
                    <a:gd name="connsiteX14" fmla="*/ 369 w 1194053"/>
                    <a:gd name="connsiteY14" fmla="*/ 180343 h 2046039"/>
                    <a:gd name="connsiteX15" fmla="*/ 19419 w 1194053"/>
                    <a:gd name="connsiteY15" fmla="*/ 275593 h 2046039"/>
                    <a:gd name="connsiteX16" fmla="*/ 24181 w 1194053"/>
                    <a:gd name="connsiteY16" fmla="*/ 909005 h 2046039"/>
                    <a:gd name="connsiteX17" fmla="*/ 14656 w 1194053"/>
                    <a:gd name="connsiteY17" fmla="*/ 1166180 h 2046039"/>
                    <a:gd name="connsiteX18" fmla="*/ 14656 w 1194053"/>
                    <a:gd name="connsiteY18" fmla="*/ 1966280 h 2046039"/>
                    <a:gd name="connsiteX19" fmla="*/ 33706 w 1194053"/>
                    <a:gd name="connsiteY19" fmla="*/ 2023430 h 2046039"/>
                    <a:gd name="connsiteX0" fmla="*/ 33706 w 1166631"/>
                    <a:gd name="connsiteY0" fmla="*/ 2023430 h 2090445"/>
                    <a:gd name="connsiteX1" fmla="*/ 228969 w 1166631"/>
                    <a:gd name="connsiteY1" fmla="*/ 2018668 h 2090445"/>
                    <a:gd name="connsiteX2" fmla="*/ 376606 w 1166631"/>
                    <a:gd name="connsiteY2" fmla="*/ 2004380 h 2090445"/>
                    <a:gd name="connsiteX3" fmla="*/ 581394 w 1166631"/>
                    <a:gd name="connsiteY3" fmla="*/ 2009143 h 2090445"/>
                    <a:gd name="connsiteX4" fmla="*/ 657594 w 1166631"/>
                    <a:gd name="connsiteY4" fmla="*/ 2018668 h 2090445"/>
                    <a:gd name="connsiteX5" fmla="*/ 1157656 w 1166631"/>
                    <a:gd name="connsiteY5" fmla="*/ 2018668 h 2090445"/>
                    <a:gd name="connsiteX6" fmla="*/ 1152894 w 1166631"/>
                    <a:gd name="connsiteY6" fmla="*/ 1671005 h 2090445"/>
                    <a:gd name="connsiteX7" fmla="*/ 1157656 w 1166631"/>
                    <a:gd name="connsiteY7" fmla="*/ 847093 h 2090445"/>
                    <a:gd name="connsiteX8" fmla="*/ 1148131 w 1166631"/>
                    <a:gd name="connsiteY8" fmla="*/ 294643 h 2090445"/>
                    <a:gd name="connsiteX9" fmla="*/ 1157656 w 1166631"/>
                    <a:gd name="connsiteY9" fmla="*/ 37468 h 2090445"/>
                    <a:gd name="connsiteX10" fmla="*/ 1005256 w 1166631"/>
                    <a:gd name="connsiteY10" fmla="*/ 18418 h 2090445"/>
                    <a:gd name="connsiteX11" fmla="*/ 281356 w 1166631"/>
                    <a:gd name="connsiteY11" fmla="*/ 4130 h 2090445"/>
                    <a:gd name="connsiteX12" fmla="*/ 57519 w 1166631"/>
                    <a:gd name="connsiteY12" fmla="*/ 8893 h 2090445"/>
                    <a:gd name="connsiteX13" fmla="*/ 38469 w 1166631"/>
                    <a:gd name="connsiteY13" fmla="*/ 13655 h 2090445"/>
                    <a:gd name="connsiteX14" fmla="*/ 369 w 1166631"/>
                    <a:gd name="connsiteY14" fmla="*/ 180343 h 2090445"/>
                    <a:gd name="connsiteX15" fmla="*/ 19419 w 1166631"/>
                    <a:gd name="connsiteY15" fmla="*/ 275593 h 2090445"/>
                    <a:gd name="connsiteX16" fmla="*/ 24181 w 1166631"/>
                    <a:gd name="connsiteY16" fmla="*/ 909005 h 2090445"/>
                    <a:gd name="connsiteX17" fmla="*/ 14656 w 1166631"/>
                    <a:gd name="connsiteY17" fmla="*/ 1166180 h 2090445"/>
                    <a:gd name="connsiteX18" fmla="*/ 14656 w 1166631"/>
                    <a:gd name="connsiteY18" fmla="*/ 1966280 h 2090445"/>
                    <a:gd name="connsiteX19" fmla="*/ 33706 w 1166631"/>
                    <a:gd name="connsiteY19" fmla="*/ 2023430 h 2090445"/>
                    <a:gd name="connsiteX0" fmla="*/ 33706 w 1194375"/>
                    <a:gd name="connsiteY0" fmla="*/ 2023430 h 2046039"/>
                    <a:gd name="connsiteX1" fmla="*/ 228969 w 1194375"/>
                    <a:gd name="connsiteY1" fmla="*/ 2018668 h 2046039"/>
                    <a:gd name="connsiteX2" fmla="*/ 376606 w 1194375"/>
                    <a:gd name="connsiteY2" fmla="*/ 2004380 h 2046039"/>
                    <a:gd name="connsiteX3" fmla="*/ 581394 w 1194375"/>
                    <a:gd name="connsiteY3" fmla="*/ 2009143 h 2046039"/>
                    <a:gd name="connsiteX4" fmla="*/ 657594 w 1194375"/>
                    <a:gd name="connsiteY4" fmla="*/ 2018668 h 2046039"/>
                    <a:gd name="connsiteX5" fmla="*/ 1157656 w 1194375"/>
                    <a:gd name="connsiteY5" fmla="*/ 2018668 h 2046039"/>
                    <a:gd name="connsiteX6" fmla="*/ 1152894 w 1194375"/>
                    <a:gd name="connsiteY6" fmla="*/ 1671005 h 2046039"/>
                    <a:gd name="connsiteX7" fmla="*/ 1157656 w 1194375"/>
                    <a:gd name="connsiteY7" fmla="*/ 847093 h 2046039"/>
                    <a:gd name="connsiteX8" fmla="*/ 1148131 w 1194375"/>
                    <a:gd name="connsiteY8" fmla="*/ 294643 h 2046039"/>
                    <a:gd name="connsiteX9" fmla="*/ 1157656 w 1194375"/>
                    <a:gd name="connsiteY9" fmla="*/ 37468 h 2046039"/>
                    <a:gd name="connsiteX10" fmla="*/ 1005256 w 1194375"/>
                    <a:gd name="connsiteY10" fmla="*/ 18418 h 2046039"/>
                    <a:gd name="connsiteX11" fmla="*/ 281356 w 1194375"/>
                    <a:gd name="connsiteY11" fmla="*/ 4130 h 2046039"/>
                    <a:gd name="connsiteX12" fmla="*/ 57519 w 1194375"/>
                    <a:gd name="connsiteY12" fmla="*/ 8893 h 2046039"/>
                    <a:gd name="connsiteX13" fmla="*/ 38469 w 1194375"/>
                    <a:gd name="connsiteY13" fmla="*/ 13655 h 2046039"/>
                    <a:gd name="connsiteX14" fmla="*/ 369 w 1194375"/>
                    <a:gd name="connsiteY14" fmla="*/ 180343 h 2046039"/>
                    <a:gd name="connsiteX15" fmla="*/ 19419 w 1194375"/>
                    <a:gd name="connsiteY15" fmla="*/ 275593 h 2046039"/>
                    <a:gd name="connsiteX16" fmla="*/ 24181 w 1194375"/>
                    <a:gd name="connsiteY16" fmla="*/ 909005 h 2046039"/>
                    <a:gd name="connsiteX17" fmla="*/ 14656 w 1194375"/>
                    <a:gd name="connsiteY17" fmla="*/ 1166180 h 2046039"/>
                    <a:gd name="connsiteX18" fmla="*/ 14656 w 1194375"/>
                    <a:gd name="connsiteY18" fmla="*/ 1966280 h 2046039"/>
                    <a:gd name="connsiteX19" fmla="*/ 33706 w 1194375"/>
                    <a:gd name="connsiteY19" fmla="*/ 2023430 h 2046039"/>
                    <a:gd name="connsiteX0" fmla="*/ 33706 w 1183335"/>
                    <a:gd name="connsiteY0" fmla="*/ 2023430 h 2046039"/>
                    <a:gd name="connsiteX1" fmla="*/ 228969 w 1183335"/>
                    <a:gd name="connsiteY1" fmla="*/ 2018668 h 2046039"/>
                    <a:gd name="connsiteX2" fmla="*/ 376606 w 1183335"/>
                    <a:gd name="connsiteY2" fmla="*/ 2004380 h 2046039"/>
                    <a:gd name="connsiteX3" fmla="*/ 581394 w 1183335"/>
                    <a:gd name="connsiteY3" fmla="*/ 2009143 h 2046039"/>
                    <a:gd name="connsiteX4" fmla="*/ 657594 w 1183335"/>
                    <a:gd name="connsiteY4" fmla="*/ 2018668 h 2046039"/>
                    <a:gd name="connsiteX5" fmla="*/ 1143369 w 1183335"/>
                    <a:gd name="connsiteY5" fmla="*/ 1990093 h 2046039"/>
                    <a:gd name="connsiteX6" fmla="*/ 1152894 w 1183335"/>
                    <a:gd name="connsiteY6" fmla="*/ 1671005 h 2046039"/>
                    <a:gd name="connsiteX7" fmla="*/ 1157656 w 1183335"/>
                    <a:gd name="connsiteY7" fmla="*/ 847093 h 2046039"/>
                    <a:gd name="connsiteX8" fmla="*/ 1148131 w 1183335"/>
                    <a:gd name="connsiteY8" fmla="*/ 294643 h 2046039"/>
                    <a:gd name="connsiteX9" fmla="*/ 1157656 w 1183335"/>
                    <a:gd name="connsiteY9" fmla="*/ 37468 h 2046039"/>
                    <a:gd name="connsiteX10" fmla="*/ 1005256 w 1183335"/>
                    <a:gd name="connsiteY10" fmla="*/ 18418 h 2046039"/>
                    <a:gd name="connsiteX11" fmla="*/ 281356 w 1183335"/>
                    <a:gd name="connsiteY11" fmla="*/ 4130 h 2046039"/>
                    <a:gd name="connsiteX12" fmla="*/ 57519 w 1183335"/>
                    <a:gd name="connsiteY12" fmla="*/ 8893 h 2046039"/>
                    <a:gd name="connsiteX13" fmla="*/ 38469 w 1183335"/>
                    <a:gd name="connsiteY13" fmla="*/ 13655 h 2046039"/>
                    <a:gd name="connsiteX14" fmla="*/ 369 w 1183335"/>
                    <a:gd name="connsiteY14" fmla="*/ 180343 h 2046039"/>
                    <a:gd name="connsiteX15" fmla="*/ 19419 w 1183335"/>
                    <a:gd name="connsiteY15" fmla="*/ 275593 h 2046039"/>
                    <a:gd name="connsiteX16" fmla="*/ 24181 w 1183335"/>
                    <a:gd name="connsiteY16" fmla="*/ 909005 h 2046039"/>
                    <a:gd name="connsiteX17" fmla="*/ 14656 w 1183335"/>
                    <a:gd name="connsiteY17" fmla="*/ 1166180 h 2046039"/>
                    <a:gd name="connsiteX18" fmla="*/ 14656 w 1183335"/>
                    <a:gd name="connsiteY18" fmla="*/ 1966280 h 2046039"/>
                    <a:gd name="connsiteX19" fmla="*/ 33706 w 1183335"/>
                    <a:gd name="connsiteY19" fmla="*/ 2023430 h 2046039"/>
                    <a:gd name="connsiteX0" fmla="*/ 33706 w 1183335"/>
                    <a:gd name="connsiteY0" fmla="*/ 2023430 h 2046039"/>
                    <a:gd name="connsiteX1" fmla="*/ 228969 w 1183335"/>
                    <a:gd name="connsiteY1" fmla="*/ 2018668 h 2046039"/>
                    <a:gd name="connsiteX2" fmla="*/ 581394 w 1183335"/>
                    <a:gd name="connsiteY2" fmla="*/ 2009143 h 2046039"/>
                    <a:gd name="connsiteX3" fmla="*/ 657594 w 1183335"/>
                    <a:gd name="connsiteY3" fmla="*/ 2018668 h 2046039"/>
                    <a:gd name="connsiteX4" fmla="*/ 1143369 w 1183335"/>
                    <a:gd name="connsiteY4" fmla="*/ 1990093 h 2046039"/>
                    <a:gd name="connsiteX5" fmla="*/ 1152894 w 1183335"/>
                    <a:gd name="connsiteY5" fmla="*/ 1671005 h 2046039"/>
                    <a:gd name="connsiteX6" fmla="*/ 1157656 w 1183335"/>
                    <a:gd name="connsiteY6" fmla="*/ 847093 h 2046039"/>
                    <a:gd name="connsiteX7" fmla="*/ 1148131 w 1183335"/>
                    <a:gd name="connsiteY7" fmla="*/ 294643 h 2046039"/>
                    <a:gd name="connsiteX8" fmla="*/ 1157656 w 1183335"/>
                    <a:gd name="connsiteY8" fmla="*/ 37468 h 2046039"/>
                    <a:gd name="connsiteX9" fmla="*/ 1005256 w 1183335"/>
                    <a:gd name="connsiteY9" fmla="*/ 18418 h 2046039"/>
                    <a:gd name="connsiteX10" fmla="*/ 281356 w 1183335"/>
                    <a:gd name="connsiteY10" fmla="*/ 4130 h 2046039"/>
                    <a:gd name="connsiteX11" fmla="*/ 57519 w 1183335"/>
                    <a:gd name="connsiteY11" fmla="*/ 8893 h 2046039"/>
                    <a:gd name="connsiteX12" fmla="*/ 38469 w 1183335"/>
                    <a:gd name="connsiteY12" fmla="*/ 13655 h 2046039"/>
                    <a:gd name="connsiteX13" fmla="*/ 369 w 1183335"/>
                    <a:gd name="connsiteY13" fmla="*/ 180343 h 2046039"/>
                    <a:gd name="connsiteX14" fmla="*/ 19419 w 1183335"/>
                    <a:gd name="connsiteY14" fmla="*/ 275593 h 2046039"/>
                    <a:gd name="connsiteX15" fmla="*/ 24181 w 1183335"/>
                    <a:gd name="connsiteY15" fmla="*/ 909005 h 2046039"/>
                    <a:gd name="connsiteX16" fmla="*/ 14656 w 1183335"/>
                    <a:gd name="connsiteY16" fmla="*/ 1166180 h 2046039"/>
                    <a:gd name="connsiteX17" fmla="*/ 14656 w 1183335"/>
                    <a:gd name="connsiteY17" fmla="*/ 1966280 h 2046039"/>
                    <a:gd name="connsiteX18" fmla="*/ 33706 w 1183335"/>
                    <a:gd name="connsiteY18" fmla="*/ 2023430 h 2046039"/>
                    <a:gd name="connsiteX0" fmla="*/ 16233 w 1184912"/>
                    <a:gd name="connsiteY0" fmla="*/ 1966280 h 2044299"/>
                    <a:gd name="connsiteX1" fmla="*/ 230546 w 1184912"/>
                    <a:gd name="connsiteY1" fmla="*/ 2018668 h 2044299"/>
                    <a:gd name="connsiteX2" fmla="*/ 582971 w 1184912"/>
                    <a:gd name="connsiteY2" fmla="*/ 2009143 h 2044299"/>
                    <a:gd name="connsiteX3" fmla="*/ 659171 w 1184912"/>
                    <a:gd name="connsiteY3" fmla="*/ 2018668 h 2044299"/>
                    <a:gd name="connsiteX4" fmla="*/ 1144946 w 1184912"/>
                    <a:gd name="connsiteY4" fmla="*/ 1990093 h 2044299"/>
                    <a:gd name="connsiteX5" fmla="*/ 1154471 w 1184912"/>
                    <a:gd name="connsiteY5" fmla="*/ 1671005 h 2044299"/>
                    <a:gd name="connsiteX6" fmla="*/ 1159233 w 1184912"/>
                    <a:gd name="connsiteY6" fmla="*/ 847093 h 2044299"/>
                    <a:gd name="connsiteX7" fmla="*/ 1149708 w 1184912"/>
                    <a:gd name="connsiteY7" fmla="*/ 294643 h 2044299"/>
                    <a:gd name="connsiteX8" fmla="*/ 1159233 w 1184912"/>
                    <a:gd name="connsiteY8" fmla="*/ 37468 h 2044299"/>
                    <a:gd name="connsiteX9" fmla="*/ 1006833 w 1184912"/>
                    <a:gd name="connsiteY9" fmla="*/ 18418 h 2044299"/>
                    <a:gd name="connsiteX10" fmla="*/ 282933 w 1184912"/>
                    <a:gd name="connsiteY10" fmla="*/ 4130 h 2044299"/>
                    <a:gd name="connsiteX11" fmla="*/ 59096 w 1184912"/>
                    <a:gd name="connsiteY11" fmla="*/ 8893 h 2044299"/>
                    <a:gd name="connsiteX12" fmla="*/ 40046 w 1184912"/>
                    <a:gd name="connsiteY12" fmla="*/ 13655 h 2044299"/>
                    <a:gd name="connsiteX13" fmla="*/ 1946 w 1184912"/>
                    <a:gd name="connsiteY13" fmla="*/ 180343 h 2044299"/>
                    <a:gd name="connsiteX14" fmla="*/ 20996 w 1184912"/>
                    <a:gd name="connsiteY14" fmla="*/ 275593 h 2044299"/>
                    <a:gd name="connsiteX15" fmla="*/ 25758 w 1184912"/>
                    <a:gd name="connsiteY15" fmla="*/ 909005 h 2044299"/>
                    <a:gd name="connsiteX16" fmla="*/ 16233 w 1184912"/>
                    <a:gd name="connsiteY16" fmla="*/ 1166180 h 2044299"/>
                    <a:gd name="connsiteX17" fmla="*/ 16233 w 1184912"/>
                    <a:gd name="connsiteY17" fmla="*/ 1966280 h 2044299"/>
                    <a:gd name="connsiteX0" fmla="*/ 39513 w 1208192"/>
                    <a:gd name="connsiteY0" fmla="*/ 1966280 h 2020726"/>
                    <a:gd name="connsiteX1" fmla="*/ 253826 w 1208192"/>
                    <a:gd name="connsiteY1" fmla="*/ 2018668 h 2020726"/>
                    <a:gd name="connsiteX2" fmla="*/ 606251 w 1208192"/>
                    <a:gd name="connsiteY2" fmla="*/ 2009143 h 2020726"/>
                    <a:gd name="connsiteX3" fmla="*/ 682451 w 1208192"/>
                    <a:gd name="connsiteY3" fmla="*/ 2018668 h 2020726"/>
                    <a:gd name="connsiteX4" fmla="*/ 1168226 w 1208192"/>
                    <a:gd name="connsiteY4" fmla="*/ 1990093 h 2020726"/>
                    <a:gd name="connsiteX5" fmla="*/ 1177751 w 1208192"/>
                    <a:gd name="connsiteY5" fmla="*/ 1671005 h 2020726"/>
                    <a:gd name="connsiteX6" fmla="*/ 1182513 w 1208192"/>
                    <a:gd name="connsiteY6" fmla="*/ 847093 h 2020726"/>
                    <a:gd name="connsiteX7" fmla="*/ 1172988 w 1208192"/>
                    <a:gd name="connsiteY7" fmla="*/ 294643 h 2020726"/>
                    <a:gd name="connsiteX8" fmla="*/ 1182513 w 1208192"/>
                    <a:gd name="connsiteY8" fmla="*/ 37468 h 2020726"/>
                    <a:gd name="connsiteX9" fmla="*/ 1030113 w 1208192"/>
                    <a:gd name="connsiteY9" fmla="*/ 18418 h 2020726"/>
                    <a:gd name="connsiteX10" fmla="*/ 306213 w 1208192"/>
                    <a:gd name="connsiteY10" fmla="*/ 4130 h 2020726"/>
                    <a:gd name="connsiteX11" fmla="*/ 82376 w 1208192"/>
                    <a:gd name="connsiteY11" fmla="*/ 8893 h 2020726"/>
                    <a:gd name="connsiteX12" fmla="*/ 63326 w 1208192"/>
                    <a:gd name="connsiteY12" fmla="*/ 13655 h 2020726"/>
                    <a:gd name="connsiteX13" fmla="*/ 25226 w 1208192"/>
                    <a:gd name="connsiteY13" fmla="*/ 180343 h 2020726"/>
                    <a:gd name="connsiteX14" fmla="*/ 44276 w 1208192"/>
                    <a:gd name="connsiteY14" fmla="*/ 275593 h 2020726"/>
                    <a:gd name="connsiteX15" fmla="*/ 49038 w 1208192"/>
                    <a:gd name="connsiteY15" fmla="*/ 909005 h 2020726"/>
                    <a:gd name="connsiteX16" fmla="*/ 39513 w 1208192"/>
                    <a:gd name="connsiteY16" fmla="*/ 1166180 h 2020726"/>
                    <a:gd name="connsiteX17" fmla="*/ 39513 w 1208192"/>
                    <a:gd name="connsiteY17" fmla="*/ 1966280 h 2020726"/>
                    <a:gd name="connsiteX0" fmla="*/ 52793 w 1183372"/>
                    <a:gd name="connsiteY0" fmla="*/ 1980568 h 2022586"/>
                    <a:gd name="connsiteX1" fmla="*/ 229006 w 1183372"/>
                    <a:gd name="connsiteY1" fmla="*/ 2018668 h 2022586"/>
                    <a:gd name="connsiteX2" fmla="*/ 581431 w 1183372"/>
                    <a:gd name="connsiteY2" fmla="*/ 2009143 h 2022586"/>
                    <a:gd name="connsiteX3" fmla="*/ 657631 w 1183372"/>
                    <a:gd name="connsiteY3" fmla="*/ 2018668 h 2022586"/>
                    <a:gd name="connsiteX4" fmla="*/ 1143406 w 1183372"/>
                    <a:gd name="connsiteY4" fmla="*/ 1990093 h 2022586"/>
                    <a:gd name="connsiteX5" fmla="*/ 1152931 w 1183372"/>
                    <a:gd name="connsiteY5" fmla="*/ 1671005 h 2022586"/>
                    <a:gd name="connsiteX6" fmla="*/ 1157693 w 1183372"/>
                    <a:gd name="connsiteY6" fmla="*/ 847093 h 2022586"/>
                    <a:gd name="connsiteX7" fmla="*/ 1148168 w 1183372"/>
                    <a:gd name="connsiteY7" fmla="*/ 294643 h 2022586"/>
                    <a:gd name="connsiteX8" fmla="*/ 1157693 w 1183372"/>
                    <a:gd name="connsiteY8" fmla="*/ 37468 h 2022586"/>
                    <a:gd name="connsiteX9" fmla="*/ 1005293 w 1183372"/>
                    <a:gd name="connsiteY9" fmla="*/ 18418 h 2022586"/>
                    <a:gd name="connsiteX10" fmla="*/ 281393 w 1183372"/>
                    <a:gd name="connsiteY10" fmla="*/ 4130 h 2022586"/>
                    <a:gd name="connsiteX11" fmla="*/ 57556 w 1183372"/>
                    <a:gd name="connsiteY11" fmla="*/ 8893 h 2022586"/>
                    <a:gd name="connsiteX12" fmla="*/ 38506 w 1183372"/>
                    <a:gd name="connsiteY12" fmla="*/ 13655 h 2022586"/>
                    <a:gd name="connsiteX13" fmla="*/ 406 w 1183372"/>
                    <a:gd name="connsiteY13" fmla="*/ 180343 h 2022586"/>
                    <a:gd name="connsiteX14" fmla="*/ 19456 w 1183372"/>
                    <a:gd name="connsiteY14" fmla="*/ 275593 h 2022586"/>
                    <a:gd name="connsiteX15" fmla="*/ 24218 w 1183372"/>
                    <a:gd name="connsiteY15" fmla="*/ 909005 h 2022586"/>
                    <a:gd name="connsiteX16" fmla="*/ 14693 w 1183372"/>
                    <a:gd name="connsiteY16" fmla="*/ 1166180 h 2022586"/>
                    <a:gd name="connsiteX17" fmla="*/ 52793 w 1183372"/>
                    <a:gd name="connsiteY17" fmla="*/ 1980568 h 2022586"/>
                    <a:gd name="connsiteX0" fmla="*/ 54685 w 1185264"/>
                    <a:gd name="connsiteY0" fmla="*/ 1980568 h 2019837"/>
                    <a:gd name="connsiteX1" fmla="*/ 230898 w 1185264"/>
                    <a:gd name="connsiteY1" fmla="*/ 2018668 h 2019837"/>
                    <a:gd name="connsiteX2" fmla="*/ 583323 w 1185264"/>
                    <a:gd name="connsiteY2" fmla="*/ 2009143 h 2019837"/>
                    <a:gd name="connsiteX3" fmla="*/ 659523 w 1185264"/>
                    <a:gd name="connsiteY3" fmla="*/ 2018668 h 2019837"/>
                    <a:gd name="connsiteX4" fmla="*/ 1145298 w 1185264"/>
                    <a:gd name="connsiteY4" fmla="*/ 1990093 h 2019837"/>
                    <a:gd name="connsiteX5" fmla="*/ 1154823 w 1185264"/>
                    <a:gd name="connsiteY5" fmla="*/ 1671005 h 2019837"/>
                    <a:gd name="connsiteX6" fmla="*/ 1159585 w 1185264"/>
                    <a:gd name="connsiteY6" fmla="*/ 847093 h 2019837"/>
                    <a:gd name="connsiteX7" fmla="*/ 1150060 w 1185264"/>
                    <a:gd name="connsiteY7" fmla="*/ 294643 h 2019837"/>
                    <a:gd name="connsiteX8" fmla="*/ 1159585 w 1185264"/>
                    <a:gd name="connsiteY8" fmla="*/ 37468 h 2019837"/>
                    <a:gd name="connsiteX9" fmla="*/ 1007185 w 1185264"/>
                    <a:gd name="connsiteY9" fmla="*/ 18418 h 2019837"/>
                    <a:gd name="connsiteX10" fmla="*/ 283285 w 1185264"/>
                    <a:gd name="connsiteY10" fmla="*/ 4130 h 2019837"/>
                    <a:gd name="connsiteX11" fmla="*/ 59448 w 1185264"/>
                    <a:gd name="connsiteY11" fmla="*/ 8893 h 2019837"/>
                    <a:gd name="connsiteX12" fmla="*/ 40398 w 1185264"/>
                    <a:gd name="connsiteY12" fmla="*/ 13655 h 2019837"/>
                    <a:gd name="connsiteX13" fmla="*/ 2298 w 1185264"/>
                    <a:gd name="connsiteY13" fmla="*/ 180343 h 2019837"/>
                    <a:gd name="connsiteX14" fmla="*/ 21348 w 1185264"/>
                    <a:gd name="connsiteY14" fmla="*/ 275593 h 2019837"/>
                    <a:gd name="connsiteX15" fmla="*/ 26110 w 1185264"/>
                    <a:gd name="connsiteY15" fmla="*/ 909005 h 2019837"/>
                    <a:gd name="connsiteX16" fmla="*/ 16585 w 1185264"/>
                    <a:gd name="connsiteY16" fmla="*/ 1166180 h 2019837"/>
                    <a:gd name="connsiteX17" fmla="*/ 54685 w 1185264"/>
                    <a:gd name="connsiteY17" fmla="*/ 1980568 h 2019837"/>
                    <a:gd name="connsiteX0" fmla="*/ 54685 w 1185264"/>
                    <a:gd name="connsiteY0" fmla="*/ 1980568 h 2018856"/>
                    <a:gd name="connsiteX1" fmla="*/ 259473 w 1185264"/>
                    <a:gd name="connsiteY1" fmla="*/ 2004380 h 2018856"/>
                    <a:gd name="connsiteX2" fmla="*/ 583323 w 1185264"/>
                    <a:gd name="connsiteY2" fmla="*/ 2009143 h 2018856"/>
                    <a:gd name="connsiteX3" fmla="*/ 659523 w 1185264"/>
                    <a:gd name="connsiteY3" fmla="*/ 2018668 h 2018856"/>
                    <a:gd name="connsiteX4" fmla="*/ 1145298 w 1185264"/>
                    <a:gd name="connsiteY4" fmla="*/ 1990093 h 2018856"/>
                    <a:gd name="connsiteX5" fmla="*/ 1154823 w 1185264"/>
                    <a:gd name="connsiteY5" fmla="*/ 1671005 h 2018856"/>
                    <a:gd name="connsiteX6" fmla="*/ 1159585 w 1185264"/>
                    <a:gd name="connsiteY6" fmla="*/ 847093 h 2018856"/>
                    <a:gd name="connsiteX7" fmla="*/ 1150060 w 1185264"/>
                    <a:gd name="connsiteY7" fmla="*/ 294643 h 2018856"/>
                    <a:gd name="connsiteX8" fmla="*/ 1159585 w 1185264"/>
                    <a:gd name="connsiteY8" fmla="*/ 37468 h 2018856"/>
                    <a:gd name="connsiteX9" fmla="*/ 1007185 w 1185264"/>
                    <a:gd name="connsiteY9" fmla="*/ 18418 h 2018856"/>
                    <a:gd name="connsiteX10" fmla="*/ 283285 w 1185264"/>
                    <a:gd name="connsiteY10" fmla="*/ 4130 h 2018856"/>
                    <a:gd name="connsiteX11" fmla="*/ 59448 w 1185264"/>
                    <a:gd name="connsiteY11" fmla="*/ 8893 h 2018856"/>
                    <a:gd name="connsiteX12" fmla="*/ 40398 w 1185264"/>
                    <a:gd name="connsiteY12" fmla="*/ 13655 h 2018856"/>
                    <a:gd name="connsiteX13" fmla="*/ 2298 w 1185264"/>
                    <a:gd name="connsiteY13" fmla="*/ 180343 h 2018856"/>
                    <a:gd name="connsiteX14" fmla="*/ 21348 w 1185264"/>
                    <a:gd name="connsiteY14" fmla="*/ 275593 h 2018856"/>
                    <a:gd name="connsiteX15" fmla="*/ 26110 w 1185264"/>
                    <a:gd name="connsiteY15" fmla="*/ 909005 h 2018856"/>
                    <a:gd name="connsiteX16" fmla="*/ 16585 w 1185264"/>
                    <a:gd name="connsiteY16" fmla="*/ 1166180 h 2018856"/>
                    <a:gd name="connsiteX17" fmla="*/ 54685 w 1185264"/>
                    <a:gd name="connsiteY17" fmla="*/ 1980568 h 2018856"/>
                    <a:gd name="connsiteX0" fmla="*/ 54685 w 1185264"/>
                    <a:gd name="connsiteY0" fmla="*/ 1983242 h 2021530"/>
                    <a:gd name="connsiteX1" fmla="*/ 259473 w 1185264"/>
                    <a:gd name="connsiteY1" fmla="*/ 2007054 h 2021530"/>
                    <a:gd name="connsiteX2" fmla="*/ 583323 w 1185264"/>
                    <a:gd name="connsiteY2" fmla="*/ 2011817 h 2021530"/>
                    <a:gd name="connsiteX3" fmla="*/ 659523 w 1185264"/>
                    <a:gd name="connsiteY3" fmla="*/ 2021342 h 2021530"/>
                    <a:gd name="connsiteX4" fmla="*/ 1145298 w 1185264"/>
                    <a:gd name="connsiteY4" fmla="*/ 1992767 h 2021530"/>
                    <a:gd name="connsiteX5" fmla="*/ 1154823 w 1185264"/>
                    <a:gd name="connsiteY5" fmla="*/ 1673679 h 2021530"/>
                    <a:gd name="connsiteX6" fmla="*/ 1159585 w 1185264"/>
                    <a:gd name="connsiteY6" fmla="*/ 849767 h 2021530"/>
                    <a:gd name="connsiteX7" fmla="*/ 1150060 w 1185264"/>
                    <a:gd name="connsiteY7" fmla="*/ 297317 h 2021530"/>
                    <a:gd name="connsiteX8" fmla="*/ 1159585 w 1185264"/>
                    <a:gd name="connsiteY8" fmla="*/ 40142 h 2021530"/>
                    <a:gd name="connsiteX9" fmla="*/ 1007185 w 1185264"/>
                    <a:gd name="connsiteY9" fmla="*/ 21092 h 2021530"/>
                    <a:gd name="connsiteX10" fmla="*/ 283285 w 1185264"/>
                    <a:gd name="connsiteY10" fmla="*/ 6804 h 2021530"/>
                    <a:gd name="connsiteX11" fmla="*/ 40398 w 1185264"/>
                    <a:gd name="connsiteY11" fmla="*/ 16329 h 2021530"/>
                    <a:gd name="connsiteX12" fmla="*/ 2298 w 1185264"/>
                    <a:gd name="connsiteY12" fmla="*/ 183017 h 2021530"/>
                    <a:gd name="connsiteX13" fmla="*/ 21348 w 1185264"/>
                    <a:gd name="connsiteY13" fmla="*/ 278267 h 2021530"/>
                    <a:gd name="connsiteX14" fmla="*/ 26110 w 1185264"/>
                    <a:gd name="connsiteY14" fmla="*/ 911679 h 2021530"/>
                    <a:gd name="connsiteX15" fmla="*/ 16585 w 1185264"/>
                    <a:gd name="connsiteY15" fmla="*/ 1168854 h 2021530"/>
                    <a:gd name="connsiteX16" fmla="*/ 54685 w 1185264"/>
                    <a:gd name="connsiteY16" fmla="*/ 1983242 h 2021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185264" h="2021530">
                      <a:moveTo>
                        <a:pt x="54685" y="1983242"/>
                      </a:moveTo>
                      <a:cubicBezTo>
                        <a:pt x="147555" y="2011023"/>
                        <a:pt x="171367" y="2002292"/>
                        <a:pt x="259473" y="2007054"/>
                      </a:cubicBezTo>
                      <a:cubicBezTo>
                        <a:pt x="347579" y="2011816"/>
                        <a:pt x="516648" y="2009436"/>
                        <a:pt x="583323" y="2011817"/>
                      </a:cubicBezTo>
                      <a:cubicBezTo>
                        <a:pt x="649998" y="2014198"/>
                        <a:pt x="633946" y="2020319"/>
                        <a:pt x="659523" y="2021342"/>
                      </a:cubicBezTo>
                      <a:cubicBezTo>
                        <a:pt x="826210" y="2021342"/>
                        <a:pt x="1061178" y="2025679"/>
                        <a:pt x="1145298" y="1992767"/>
                      </a:cubicBezTo>
                      <a:cubicBezTo>
                        <a:pt x="1230608" y="1959389"/>
                        <a:pt x="1152442" y="1864179"/>
                        <a:pt x="1154823" y="1673679"/>
                      </a:cubicBezTo>
                      <a:cubicBezTo>
                        <a:pt x="1157204" y="1483179"/>
                        <a:pt x="1160379" y="1079161"/>
                        <a:pt x="1159585" y="849767"/>
                      </a:cubicBezTo>
                      <a:cubicBezTo>
                        <a:pt x="1158791" y="620373"/>
                        <a:pt x="1150060" y="432254"/>
                        <a:pt x="1150060" y="297317"/>
                      </a:cubicBezTo>
                      <a:cubicBezTo>
                        <a:pt x="1150060" y="162380"/>
                        <a:pt x="1183398" y="86180"/>
                        <a:pt x="1159585" y="40142"/>
                      </a:cubicBezTo>
                      <a:cubicBezTo>
                        <a:pt x="1135773" y="-5896"/>
                        <a:pt x="1153235" y="26648"/>
                        <a:pt x="1007185" y="21092"/>
                      </a:cubicBezTo>
                      <a:cubicBezTo>
                        <a:pt x="861135" y="15536"/>
                        <a:pt x="444416" y="7598"/>
                        <a:pt x="283285" y="6804"/>
                      </a:cubicBezTo>
                      <a:cubicBezTo>
                        <a:pt x="122154" y="6010"/>
                        <a:pt x="87229" y="-13040"/>
                        <a:pt x="40398" y="16329"/>
                      </a:cubicBezTo>
                      <a:cubicBezTo>
                        <a:pt x="-6433" y="45698"/>
                        <a:pt x="5473" y="139361"/>
                        <a:pt x="2298" y="183017"/>
                      </a:cubicBezTo>
                      <a:cubicBezTo>
                        <a:pt x="-877" y="226673"/>
                        <a:pt x="17379" y="156823"/>
                        <a:pt x="21348" y="278267"/>
                      </a:cubicBezTo>
                      <a:cubicBezTo>
                        <a:pt x="22935" y="489404"/>
                        <a:pt x="21650" y="700583"/>
                        <a:pt x="26110" y="911679"/>
                      </a:cubicBezTo>
                      <a:cubicBezTo>
                        <a:pt x="25316" y="1060110"/>
                        <a:pt x="22935" y="1091860"/>
                        <a:pt x="16585" y="1168854"/>
                      </a:cubicBezTo>
                      <a:cubicBezTo>
                        <a:pt x="14998" y="1345066"/>
                        <a:pt x="-38185" y="1955461"/>
                        <a:pt x="54685" y="1983242"/>
                      </a:cubicBezTo>
                      <a:close/>
                    </a:path>
                  </a:pathLst>
                </a:custGeom>
                <a:solidFill>
                  <a:srgbClr val="FBCCD0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89" name="Freeform: Shape 88">
                  <a:extLst>
                    <a:ext uri="{FF2B5EF4-FFF2-40B4-BE49-F238E27FC236}">
                      <a16:creationId xmlns:a16="http://schemas.microsoft.com/office/drawing/2014/main" id="{567552B6-2308-A8E4-9CB6-49A21A236A39}"/>
                    </a:ext>
                  </a:extLst>
                </p:cNvPr>
                <p:cNvSpPr/>
                <p:nvPr/>
              </p:nvSpPr>
              <p:spPr>
                <a:xfrm>
                  <a:off x="7815263" y="4376738"/>
                  <a:ext cx="1643062" cy="9886"/>
                </a:xfrm>
                <a:custGeom>
                  <a:avLst/>
                  <a:gdLst>
                    <a:gd name="connsiteX0" fmla="*/ 0 w 1643062"/>
                    <a:gd name="connsiteY0" fmla="*/ 0 h 9886"/>
                    <a:gd name="connsiteX1" fmla="*/ 28575 w 1643062"/>
                    <a:gd name="connsiteY1" fmla="*/ 4762 h 9886"/>
                    <a:gd name="connsiteX2" fmla="*/ 1643062 w 1643062"/>
                    <a:gd name="connsiteY2" fmla="*/ 9525 h 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1643062" h="9886">
                      <a:moveTo>
                        <a:pt x="0" y="0"/>
                      </a:moveTo>
                      <a:cubicBezTo>
                        <a:pt x="9525" y="1587"/>
                        <a:pt x="18920" y="4628"/>
                        <a:pt x="28575" y="4762"/>
                      </a:cubicBezTo>
                      <a:cubicBezTo>
                        <a:pt x="538004" y="11837"/>
                        <a:pt x="1146714" y="9525"/>
                        <a:pt x="1643062" y="9525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A9F70388-0E48-F52B-B7B1-C2FE5B72735B}"/>
                    </a:ext>
                  </a:extLst>
                </p:cNvPr>
                <p:cNvSpPr/>
                <p:nvPr/>
              </p:nvSpPr>
              <p:spPr>
                <a:xfrm>
                  <a:off x="8003464" y="2364919"/>
                  <a:ext cx="1185264" cy="2021530"/>
                </a:xfrm>
                <a:custGeom>
                  <a:avLst/>
                  <a:gdLst>
                    <a:gd name="connsiteX0" fmla="*/ 57150 w 1233488"/>
                    <a:gd name="connsiteY0" fmla="*/ 2033587 h 2068319"/>
                    <a:gd name="connsiteX1" fmla="*/ 252413 w 1233488"/>
                    <a:gd name="connsiteY1" fmla="*/ 2028825 h 2068319"/>
                    <a:gd name="connsiteX2" fmla="*/ 338138 w 1233488"/>
                    <a:gd name="connsiteY2" fmla="*/ 2019300 h 2068319"/>
                    <a:gd name="connsiteX3" fmla="*/ 400050 w 1233488"/>
                    <a:gd name="connsiteY3" fmla="*/ 2014537 h 2068319"/>
                    <a:gd name="connsiteX4" fmla="*/ 604838 w 1233488"/>
                    <a:gd name="connsiteY4" fmla="*/ 2019300 h 2068319"/>
                    <a:gd name="connsiteX5" fmla="*/ 681038 w 1233488"/>
                    <a:gd name="connsiteY5" fmla="*/ 2028825 h 2068319"/>
                    <a:gd name="connsiteX6" fmla="*/ 800100 w 1233488"/>
                    <a:gd name="connsiteY6" fmla="*/ 2033587 h 2068319"/>
                    <a:gd name="connsiteX7" fmla="*/ 1181100 w 1233488"/>
                    <a:gd name="connsiteY7" fmla="*/ 2028825 h 2068319"/>
                    <a:gd name="connsiteX8" fmla="*/ 1176338 w 1233488"/>
                    <a:gd name="connsiteY8" fmla="*/ 1681162 h 2068319"/>
                    <a:gd name="connsiteX9" fmla="*/ 1181100 w 1233488"/>
                    <a:gd name="connsiteY9" fmla="*/ 1609725 h 2068319"/>
                    <a:gd name="connsiteX10" fmla="*/ 1190625 w 1233488"/>
                    <a:gd name="connsiteY10" fmla="*/ 1562100 h 2068319"/>
                    <a:gd name="connsiteX11" fmla="*/ 1195388 w 1233488"/>
                    <a:gd name="connsiteY11" fmla="*/ 1524000 h 2068319"/>
                    <a:gd name="connsiteX12" fmla="*/ 1204913 w 1233488"/>
                    <a:gd name="connsiteY12" fmla="*/ 1457325 h 2068319"/>
                    <a:gd name="connsiteX13" fmla="*/ 1214438 w 1233488"/>
                    <a:gd name="connsiteY13" fmla="*/ 1390650 h 2068319"/>
                    <a:gd name="connsiteX14" fmla="*/ 1223963 w 1233488"/>
                    <a:gd name="connsiteY14" fmla="*/ 1352550 h 2068319"/>
                    <a:gd name="connsiteX15" fmla="*/ 1228725 w 1233488"/>
                    <a:gd name="connsiteY15" fmla="*/ 1281112 h 2068319"/>
                    <a:gd name="connsiteX16" fmla="*/ 1233488 w 1233488"/>
                    <a:gd name="connsiteY16" fmla="*/ 1243012 h 2068319"/>
                    <a:gd name="connsiteX17" fmla="*/ 1228725 w 1233488"/>
                    <a:gd name="connsiteY17" fmla="*/ 1052512 h 2068319"/>
                    <a:gd name="connsiteX18" fmla="*/ 1209675 w 1233488"/>
                    <a:gd name="connsiteY18" fmla="*/ 995362 h 2068319"/>
                    <a:gd name="connsiteX19" fmla="*/ 1195388 w 1233488"/>
                    <a:gd name="connsiteY19" fmla="*/ 938212 h 2068319"/>
                    <a:gd name="connsiteX20" fmla="*/ 1181100 w 1233488"/>
                    <a:gd name="connsiteY20" fmla="*/ 857250 h 2068319"/>
                    <a:gd name="connsiteX21" fmla="*/ 1171575 w 1233488"/>
                    <a:gd name="connsiteY21" fmla="*/ 790575 h 2068319"/>
                    <a:gd name="connsiteX22" fmla="*/ 1171575 w 1233488"/>
                    <a:gd name="connsiteY22" fmla="*/ 304800 h 2068319"/>
                    <a:gd name="connsiteX23" fmla="*/ 1176338 w 1233488"/>
                    <a:gd name="connsiteY23" fmla="*/ 276225 h 2068319"/>
                    <a:gd name="connsiteX24" fmla="*/ 1181100 w 1233488"/>
                    <a:gd name="connsiteY24" fmla="*/ 233362 h 2068319"/>
                    <a:gd name="connsiteX25" fmla="*/ 1181100 w 1233488"/>
                    <a:gd name="connsiteY25" fmla="*/ 47625 h 2068319"/>
                    <a:gd name="connsiteX26" fmla="*/ 1152525 w 1233488"/>
                    <a:gd name="connsiteY26" fmla="*/ 42862 h 2068319"/>
                    <a:gd name="connsiteX27" fmla="*/ 1028700 w 1233488"/>
                    <a:gd name="connsiteY27" fmla="*/ 28575 h 2068319"/>
                    <a:gd name="connsiteX28" fmla="*/ 942975 w 1233488"/>
                    <a:gd name="connsiteY28" fmla="*/ 19050 h 2068319"/>
                    <a:gd name="connsiteX29" fmla="*/ 304800 w 1233488"/>
                    <a:gd name="connsiteY29" fmla="*/ 14287 h 2068319"/>
                    <a:gd name="connsiteX30" fmla="*/ 247650 w 1233488"/>
                    <a:gd name="connsiteY30" fmla="*/ 9525 h 2068319"/>
                    <a:gd name="connsiteX31" fmla="*/ 223838 w 1233488"/>
                    <a:gd name="connsiteY31" fmla="*/ 4762 h 2068319"/>
                    <a:gd name="connsiteX32" fmla="*/ 180975 w 1233488"/>
                    <a:gd name="connsiteY32" fmla="*/ 0 h 2068319"/>
                    <a:gd name="connsiteX33" fmla="*/ 80963 w 1233488"/>
                    <a:gd name="connsiteY33" fmla="*/ 19050 h 2068319"/>
                    <a:gd name="connsiteX34" fmla="*/ 61913 w 1233488"/>
                    <a:gd name="connsiteY34" fmla="*/ 23812 h 2068319"/>
                    <a:gd name="connsiteX35" fmla="*/ 23813 w 1233488"/>
                    <a:gd name="connsiteY35" fmla="*/ 38100 h 2068319"/>
                    <a:gd name="connsiteX36" fmla="*/ 9525 w 1233488"/>
                    <a:gd name="connsiteY36" fmla="*/ 47625 h 2068319"/>
                    <a:gd name="connsiteX37" fmla="*/ 23813 w 1233488"/>
                    <a:gd name="connsiteY37" fmla="*/ 190500 h 2068319"/>
                    <a:gd name="connsiteX38" fmla="*/ 33338 w 1233488"/>
                    <a:gd name="connsiteY38" fmla="*/ 238125 h 2068319"/>
                    <a:gd name="connsiteX39" fmla="*/ 42863 w 1233488"/>
                    <a:gd name="connsiteY39" fmla="*/ 285750 h 2068319"/>
                    <a:gd name="connsiteX40" fmla="*/ 47625 w 1233488"/>
                    <a:gd name="connsiteY40" fmla="*/ 919162 h 2068319"/>
                    <a:gd name="connsiteX41" fmla="*/ 57150 w 1233488"/>
                    <a:gd name="connsiteY41" fmla="*/ 962025 h 2068319"/>
                    <a:gd name="connsiteX42" fmla="*/ 52388 w 1233488"/>
                    <a:gd name="connsiteY42" fmla="*/ 1085850 h 2068319"/>
                    <a:gd name="connsiteX43" fmla="*/ 38100 w 1233488"/>
                    <a:gd name="connsiteY43" fmla="*/ 1176337 h 2068319"/>
                    <a:gd name="connsiteX44" fmla="*/ 33338 w 1233488"/>
                    <a:gd name="connsiteY44" fmla="*/ 1238250 h 2068319"/>
                    <a:gd name="connsiteX45" fmla="*/ 28575 w 1233488"/>
                    <a:gd name="connsiteY45" fmla="*/ 1262062 h 2068319"/>
                    <a:gd name="connsiteX46" fmla="*/ 23813 w 1233488"/>
                    <a:gd name="connsiteY46" fmla="*/ 1290637 h 2068319"/>
                    <a:gd name="connsiteX47" fmla="*/ 9525 w 1233488"/>
                    <a:gd name="connsiteY47" fmla="*/ 1381125 h 2068319"/>
                    <a:gd name="connsiteX48" fmla="*/ 0 w 1233488"/>
                    <a:gd name="connsiteY48" fmla="*/ 1552575 h 2068319"/>
                    <a:gd name="connsiteX49" fmla="*/ 4763 w 1233488"/>
                    <a:gd name="connsiteY49" fmla="*/ 1852612 h 2068319"/>
                    <a:gd name="connsiteX50" fmla="*/ 23813 w 1233488"/>
                    <a:gd name="connsiteY50" fmla="*/ 1914525 h 2068319"/>
                    <a:gd name="connsiteX51" fmla="*/ 38100 w 1233488"/>
                    <a:gd name="connsiteY51" fmla="*/ 1976437 h 2068319"/>
                    <a:gd name="connsiteX52" fmla="*/ 42863 w 1233488"/>
                    <a:gd name="connsiteY52" fmla="*/ 1990725 h 2068319"/>
                    <a:gd name="connsiteX53" fmla="*/ 57150 w 1233488"/>
                    <a:gd name="connsiteY53" fmla="*/ 2033587 h 2068319"/>
                    <a:gd name="connsiteX0" fmla="*/ 57150 w 1233488"/>
                    <a:gd name="connsiteY0" fmla="*/ 2033587 h 2035862"/>
                    <a:gd name="connsiteX1" fmla="*/ 252413 w 1233488"/>
                    <a:gd name="connsiteY1" fmla="*/ 2028825 h 2035862"/>
                    <a:gd name="connsiteX2" fmla="*/ 338138 w 1233488"/>
                    <a:gd name="connsiteY2" fmla="*/ 2019300 h 2035862"/>
                    <a:gd name="connsiteX3" fmla="*/ 400050 w 1233488"/>
                    <a:gd name="connsiteY3" fmla="*/ 2014537 h 2035862"/>
                    <a:gd name="connsiteX4" fmla="*/ 604838 w 1233488"/>
                    <a:gd name="connsiteY4" fmla="*/ 2019300 h 2035862"/>
                    <a:gd name="connsiteX5" fmla="*/ 681038 w 1233488"/>
                    <a:gd name="connsiteY5" fmla="*/ 2028825 h 2035862"/>
                    <a:gd name="connsiteX6" fmla="*/ 1181100 w 1233488"/>
                    <a:gd name="connsiteY6" fmla="*/ 2028825 h 2035862"/>
                    <a:gd name="connsiteX7" fmla="*/ 1176338 w 1233488"/>
                    <a:gd name="connsiteY7" fmla="*/ 1681162 h 2035862"/>
                    <a:gd name="connsiteX8" fmla="*/ 1181100 w 1233488"/>
                    <a:gd name="connsiteY8" fmla="*/ 1609725 h 2035862"/>
                    <a:gd name="connsiteX9" fmla="*/ 1190625 w 1233488"/>
                    <a:gd name="connsiteY9" fmla="*/ 1562100 h 2035862"/>
                    <a:gd name="connsiteX10" fmla="*/ 1195388 w 1233488"/>
                    <a:gd name="connsiteY10" fmla="*/ 1524000 h 2035862"/>
                    <a:gd name="connsiteX11" fmla="*/ 1204913 w 1233488"/>
                    <a:gd name="connsiteY11" fmla="*/ 1457325 h 2035862"/>
                    <a:gd name="connsiteX12" fmla="*/ 1214438 w 1233488"/>
                    <a:gd name="connsiteY12" fmla="*/ 1390650 h 2035862"/>
                    <a:gd name="connsiteX13" fmla="*/ 1223963 w 1233488"/>
                    <a:gd name="connsiteY13" fmla="*/ 1352550 h 2035862"/>
                    <a:gd name="connsiteX14" fmla="*/ 1228725 w 1233488"/>
                    <a:gd name="connsiteY14" fmla="*/ 1281112 h 2035862"/>
                    <a:gd name="connsiteX15" fmla="*/ 1233488 w 1233488"/>
                    <a:gd name="connsiteY15" fmla="*/ 1243012 h 2035862"/>
                    <a:gd name="connsiteX16" fmla="*/ 1228725 w 1233488"/>
                    <a:gd name="connsiteY16" fmla="*/ 1052512 h 2035862"/>
                    <a:gd name="connsiteX17" fmla="*/ 1209675 w 1233488"/>
                    <a:gd name="connsiteY17" fmla="*/ 995362 h 2035862"/>
                    <a:gd name="connsiteX18" fmla="*/ 1195388 w 1233488"/>
                    <a:gd name="connsiteY18" fmla="*/ 938212 h 2035862"/>
                    <a:gd name="connsiteX19" fmla="*/ 1181100 w 1233488"/>
                    <a:gd name="connsiteY19" fmla="*/ 857250 h 2035862"/>
                    <a:gd name="connsiteX20" fmla="*/ 1171575 w 1233488"/>
                    <a:gd name="connsiteY20" fmla="*/ 790575 h 2035862"/>
                    <a:gd name="connsiteX21" fmla="*/ 1171575 w 1233488"/>
                    <a:gd name="connsiteY21" fmla="*/ 304800 h 2035862"/>
                    <a:gd name="connsiteX22" fmla="*/ 1176338 w 1233488"/>
                    <a:gd name="connsiteY22" fmla="*/ 276225 h 2035862"/>
                    <a:gd name="connsiteX23" fmla="*/ 1181100 w 1233488"/>
                    <a:gd name="connsiteY23" fmla="*/ 233362 h 2035862"/>
                    <a:gd name="connsiteX24" fmla="*/ 1181100 w 1233488"/>
                    <a:gd name="connsiteY24" fmla="*/ 47625 h 2035862"/>
                    <a:gd name="connsiteX25" fmla="*/ 1152525 w 1233488"/>
                    <a:gd name="connsiteY25" fmla="*/ 42862 h 2035862"/>
                    <a:gd name="connsiteX26" fmla="*/ 1028700 w 1233488"/>
                    <a:gd name="connsiteY26" fmla="*/ 28575 h 2035862"/>
                    <a:gd name="connsiteX27" fmla="*/ 942975 w 1233488"/>
                    <a:gd name="connsiteY27" fmla="*/ 19050 h 2035862"/>
                    <a:gd name="connsiteX28" fmla="*/ 304800 w 1233488"/>
                    <a:gd name="connsiteY28" fmla="*/ 14287 h 2035862"/>
                    <a:gd name="connsiteX29" fmla="*/ 247650 w 1233488"/>
                    <a:gd name="connsiteY29" fmla="*/ 9525 h 2035862"/>
                    <a:gd name="connsiteX30" fmla="*/ 223838 w 1233488"/>
                    <a:gd name="connsiteY30" fmla="*/ 4762 h 2035862"/>
                    <a:gd name="connsiteX31" fmla="*/ 180975 w 1233488"/>
                    <a:gd name="connsiteY31" fmla="*/ 0 h 2035862"/>
                    <a:gd name="connsiteX32" fmla="*/ 80963 w 1233488"/>
                    <a:gd name="connsiteY32" fmla="*/ 19050 h 2035862"/>
                    <a:gd name="connsiteX33" fmla="*/ 61913 w 1233488"/>
                    <a:gd name="connsiteY33" fmla="*/ 23812 h 2035862"/>
                    <a:gd name="connsiteX34" fmla="*/ 23813 w 1233488"/>
                    <a:gd name="connsiteY34" fmla="*/ 38100 h 2035862"/>
                    <a:gd name="connsiteX35" fmla="*/ 9525 w 1233488"/>
                    <a:gd name="connsiteY35" fmla="*/ 47625 h 2035862"/>
                    <a:gd name="connsiteX36" fmla="*/ 23813 w 1233488"/>
                    <a:gd name="connsiteY36" fmla="*/ 190500 h 2035862"/>
                    <a:gd name="connsiteX37" fmla="*/ 33338 w 1233488"/>
                    <a:gd name="connsiteY37" fmla="*/ 238125 h 2035862"/>
                    <a:gd name="connsiteX38" fmla="*/ 42863 w 1233488"/>
                    <a:gd name="connsiteY38" fmla="*/ 285750 h 2035862"/>
                    <a:gd name="connsiteX39" fmla="*/ 47625 w 1233488"/>
                    <a:gd name="connsiteY39" fmla="*/ 919162 h 2035862"/>
                    <a:gd name="connsiteX40" fmla="*/ 57150 w 1233488"/>
                    <a:gd name="connsiteY40" fmla="*/ 962025 h 2035862"/>
                    <a:gd name="connsiteX41" fmla="*/ 52388 w 1233488"/>
                    <a:gd name="connsiteY41" fmla="*/ 1085850 h 2035862"/>
                    <a:gd name="connsiteX42" fmla="*/ 38100 w 1233488"/>
                    <a:gd name="connsiteY42" fmla="*/ 1176337 h 2035862"/>
                    <a:gd name="connsiteX43" fmla="*/ 33338 w 1233488"/>
                    <a:gd name="connsiteY43" fmla="*/ 1238250 h 2035862"/>
                    <a:gd name="connsiteX44" fmla="*/ 28575 w 1233488"/>
                    <a:gd name="connsiteY44" fmla="*/ 1262062 h 2035862"/>
                    <a:gd name="connsiteX45" fmla="*/ 23813 w 1233488"/>
                    <a:gd name="connsiteY45" fmla="*/ 1290637 h 2035862"/>
                    <a:gd name="connsiteX46" fmla="*/ 9525 w 1233488"/>
                    <a:gd name="connsiteY46" fmla="*/ 1381125 h 2035862"/>
                    <a:gd name="connsiteX47" fmla="*/ 0 w 1233488"/>
                    <a:gd name="connsiteY47" fmla="*/ 1552575 h 2035862"/>
                    <a:gd name="connsiteX48" fmla="*/ 4763 w 1233488"/>
                    <a:gd name="connsiteY48" fmla="*/ 1852612 h 2035862"/>
                    <a:gd name="connsiteX49" fmla="*/ 23813 w 1233488"/>
                    <a:gd name="connsiteY49" fmla="*/ 1914525 h 2035862"/>
                    <a:gd name="connsiteX50" fmla="*/ 38100 w 1233488"/>
                    <a:gd name="connsiteY50" fmla="*/ 1976437 h 2035862"/>
                    <a:gd name="connsiteX51" fmla="*/ 42863 w 1233488"/>
                    <a:gd name="connsiteY51" fmla="*/ 1990725 h 2035862"/>
                    <a:gd name="connsiteX52" fmla="*/ 57150 w 1233488"/>
                    <a:gd name="connsiteY52" fmla="*/ 2033587 h 2035862"/>
                    <a:gd name="connsiteX0" fmla="*/ 57150 w 1233488"/>
                    <a:gd name="connsiteY0" fmla="*/ 2033587 h 2035980"/>
                    <a:gd name="connsiteX1" fmla="*/ 252413 w 1233488"/>
                    <a:gd name="connsiteY1" fmla="*/ 2028825 h 2035980"/>
                    <a:gd name="connsiteX2" fmla="*/ 400050 w 1233488"/>
                    <a:gd name="connsiteY2" fmla="*/ 2014537 h 2035980"/>
                    <a:gd name="connsiteX3" fmla="*/ 604838 w 1233488"/>
                    <a:gd name="connsiteY3" fmla="*/ 2019300 h 2035980"/>
                    <a:gd name="connsiteX4" fmla="*/ 681038 w 1233488"/>
                    <a:gd name="connsiteY4" fmla="*/ 2028825 h 2035980"/>
                    <a:gd name="connsiteX5" fmla="*/ 1181100 w 1233488"/>
                    <a:gd name="connsiteY5" fmla="*/ 2028825 h 2035980"/>
                    <a:gd name="connsiteX6" fmla="*/ 1176338 w 1233488"/>
                    <a:gd name="connsiteY6" fmla="*/ 1681162 h 2035980"/>
                    <a:gd name="connsiteX7" fmla="*/ 1181100 w 1233488"/>
                    <a:gd name="connsiteY7" fmla="*/ 1609725 h 2035980"/>
                    <a:gd name="connsiteX8" fmla="*/ 1190625 w 1233488"/>
                    <a:gd name="connsiteY8" fmla="*/ 1562100 h 2035980"/>
                    <a:gd name="connsiteX9" fmla="*/ 1195388 w 1233488"/>
                    <a:gd name="connsiteY9" fmla="*/ 1524000 h 2035980"/>
                    <a:gd name="connsiteX10" fmla="*/ 1204913 w 1233488"/>
                    <a:gd name="connsiteY10" fmla="*/ 1457325 h 2035980"/>
                    <a:gd name="connsiteX11" fmla="*/ 1214438 w 1233488"/>
                    <a:gd name="connsiteY11" fmla="*/ 1390650 h 2035980"/>
                    <a:gd name="connsiteX12" fmla="*/ 1223963 w 1233488"/>
                    <a:gd name="connsiteY12" fmla="*/ 1352550 h 2035980"/>
                    <a:gd name="connsiteX13" fmla="*/ 1228725 w 1233488"/>
                    <a:gd name="connsiteY13" fmla="*/ 1281112 h 2035980"/>
                    <a:gd name="connsiteX14" fmla="*/ 1233488 w 1233488"/>
                    <a:gd name="connsiteY14" fmla="*/ 1243012 h 2035980"/>
                    <a:gd name="connsiteX15" fmla="*/ 1228725 w 1233488"/>
                    <a:gd name="connsiteY15" fmla="*/ 1052512 h 2035980"/>
                    <a:gd name="connsiteX16" fmla="*/ 1209675 w 1233488"/>
                    <a:gd name="connsiteY16" fmla="*/ 995362 h 2035980"/>
                    <a:gd name="connsiteX17" fmla="*/ 1195388 w 1233488"/>
                    <a:gd name="connsiteY17" fmla="*/ 938212 h 2035980"/>
                    <a:gd name="connsiteX18" fmla="*/ 1181100 w 1233488"/>
                    <a:gd name="connsiteY18" fmla="*/ 857250 h 2035980"/>
                    <a:gd name="connsiteX19" fmla="*/ 1171575 w 1233488"/>
                    <a:gd name="connsiteY19" fmla="*/ 790575 h 2035980"/>
                    <a:gd name="connsiteX20" fmla="*/ 1171575 w 1233488"/>
                    <a:gd name="connsiteY20" fmla="*/ 304800 h 2035980"/>
                    <a:gd name="connsiteX21" fmla="*/ 1176338 w 1233488"/>
                    <a:gd name="connsiteY21" fmla="*/ 276225 h 2035980"/>
                    <a:gd name="connsiteX22" fmla="*/ 1181100 w 1233488"/>
                    <a:gd name="connsiteY22" fmla="*/ 233362 h 2035980"/>
                    <a:gd name="connsiteX23" fmla="*/ 1181100 w 1233488"/>
                    <a:gd name="connsiteY23" fmla="*/ 47625 h 2035980"/>
                    <a:gd name="connsiteX24" fmla="*/ 1152525 w 1233488"/>
                    <a:gd name="connsiteY24" fmla="*/ 42862 h 2035980"/>
                    <a:gd name="connsiteX25" fmla="*/ 1028700 w 1233488"/>
                    <a:gd name="connsiteY25" fmla="*/ 28575 h 2035980"/>
                    <a:gd name="connsiteX26" fmla="*/ 942975 w 1233488"/>
                    <a:gd name="connsiteY26" fmla="*/ 19050 h 2035980"/>
                    <a:gd name="connsiteX27" fmla="*/ 304800 w 1233488"/>
                    <a:gd name="connsiteY27" fmla="*/ 14287 h 2035980"/>
                    <a:gd name="connsiteX28" fmla="*/ 247650 w 1233488"/>
                    <a:gd name="connsiteY28" fmla="*/ 9525 h 2035980"/>
                    <a:gd name="connsiteX29" fmla="*/ 223838 w 1233488"/>
                    <a:gd name="connsiteY29" fmla="*/ 4762 h 2035980"/>
                    <a:gd name="connsiteX30" fmla="*/ 180975 w 1233488"/>
                    <a:gd name="connsiteY30" fmla="*/ 0 h 2035980"/>
                    <a:gd name="connsiteX31" fmla="*/ 80963 w 1233488"/>
                    <a:gd name="connsiteY31" fmla="*/ 19050 h 2035980"/>
                    <a:gd name="connsiteX32" fmla="*/ 61913 w 1233488"/>
                    <a:gd name="connsiteY32" fmla="*/ 23812 h 2035980"/>
                    <a:gd name="connsiteX33" fmla="*/ 23813 w 1233488"/>
                    <a:gd name="connsiteY33" fmla="*/ 38100 h 2035980"/>
                    <a:gd name="connsiteX34" fmla="*/ 9525 w 1233488"/>
                    <a:gd name="connsiteY34" fmla="*/ 47625 h 2035980"/>
                    <a:gd name="connsiteX35" fmla="*/ 23813 w 1233488"/>
                    <a:gd name="connsiteY35" fmla="*/ 190500 h 2035980"/>
                    <a:gd name="connsiteX36" fmla="*/ 33338 w 1233488"/>
                    <a:gd name="connsiteY36" fmla="*/ 238125 h 2035980"/>
                    <a:gd name="connsiteX37" fmla="*/ 42863 w 1233488"/>
                    <a:gd name="connsiteY37" fmla="*/ 285750 h 2035980"/>
                    <a:gd name="connsiteX38" fmla="*/ 47625 w 1233488"/>
                    <a:gd name="connsiteY38" fmla="*/ 919162 h 2035980"/>
                    <a:gd name="connsiteX39" fmla="*/ 57150 w 1233488"/>
                    <a:gd name="connsiteY39" fmla="*/ 962025 h 2035980"/>
                    <a:gd name="connsiteX40" fmla="*/ 52388 w 1233488"/>
                    <a:gd name="connsiteY40" fmla="*/ 1085850 h 2035980"/>
                    <a:gd name="connsiteX41" fmla="*/ 38100 w 1233488"/>
                    <a:gd name="connsiteY41" fmla="*/ 1176337 h 2035980"/>
                    <a:gd name="connsiteX42" fmla="*/ 33338 w 1233488"/>
                    <a:gd name="connsiteY42" fmla="*/ 1238250 h 2035980"/>
                    <a:gd name="connsiteX43" fmla="*/ 28575 w 1233488"/>
                    <a:gd name="connsiteY43" fmla="*/ 1262062 h 2035980"/>
                    <a:gd name="connsiteX44" fmla="*/ 23813 w 1233488"/>
                    <a:gd name="connsiteY44" fmla="*/ 1290637 h 2035980"/>
                    <a:gd name="connsiteX45" fmla="*/ 9525 w 1233488"/>
                    <a:gd name="connsiteY45" fmla="*/ 1381125 h 2035980"/>
                    <a:gd name="connsiteX46" fmla="*/ 0 w 1233488"/>
                    <a:gd name="connsiteY46" fmla="*/ 1552575 h 2035980"/>
                    <a:gd name="connsiteX47" fmla="*/ 4763 w 1233488"/>
                    <a:gd name="connsiteY47" fmla="*/ 1852612 h 2035980"/>
                    <a:gd name="connsiteX48" fmla="*/ 23813 w 1233488"/>
                    <a:gd name="connsiteY48" fmla="*/ 1914525 h 2035980"/>
                    <a:gd name="connsiteX49" fmla="*/ 38100 w 1233488"/>
                    <a:gd name="connsiteY49" fmla="*/ 1976437 h 2035980"/>
                    <a:gd name="connsiteX50" fmla="*/ 42863 w 1233488"/>
                    <a:gd name="connsiteY50" fmla="*/ 1990725 h 2035980"/>
                    <a:gd name="connsiteX51" fmla="*/ 57150 w 1233488"/>
                    <a:gd name="connsiteY51" fmla="*/ 2033587 h 2035980"/>
                    <a:gd name="connsiteX0" fmla="*/ 57150 w 1233488"/>
                    <a:gd name="connsiteY0" fmla="*/ 2033587 h 2037016"/>
                    <a:gd name="connsiteX1" fmla="*/ 252413 w 1233488"/>
                    <a:gd name="connsiteY1" fmla="*/ 2028825 h 2037016"/>
                    <a:gd name="connsiteX2" fmla="*/ 400050 w 1233488"/>
                    <a:gd name="connsiteY2" fmla="*/ 2014537 h 2037016"/>
                    <a:gd name="connsiteX3" fmla="*/ 604838 w 1233488"/>
                    <a:gd name="connsiteY3" fmla="*/ 2019300 h 2037016"/>
                    <a:gd name="connsiteX4" fmla="*/ 681038 w 1233488"/>
                    <a:gd name="connsiteY4" fmla="*/ 2028825 h 2037016"/>
                    <a:gd name="connsiteX5" fmla="*/ 1181100 w 1233488"/>
                    <a:gd name="connsiteY5" fmla="*/ 2028825 h 2037016"/>
                    <a:gd name="connsiteX6" fmla="*/ 1176338 w 1233488"/>
                    <a:gd name="connsiteY6" fmla="*/ 1681162 h 2037016"/>
                    <a:gd name="connsiteX7" fmla="*/ 1181100 w 1233488"/>
                    <a:gd name="connsiteY7" fmla="*/ 1609725 h 2037016"/>
                    <a:gd name="connsiteX8" fmla="*/ 1190625 w 1233488"/>
                    <a:gd name="connsiteY8" fmla="*/ 1562100 h 2037016"/>
                    <a:gd name="connsiteX9" fmla="*/ 1195388 w 1233488"/>
                    <a:gd name="connsiteY9" fmla="*/ 1524000 h 2037016"/>
                    <a:gd name="connsiteX10" fmla="*/ 1204913 w 1233488"/>
                    <a:gd name="connsiteY10" fmla="*/ 1457325 h 2037016"/>
                    <a:gd name="connsiteX11" fmla="*/ 1214438 w 1233488"/>
                    <a:gd name="connsiteY11" fmla="*/ 1390650 h 2037016"/>
                    <a:gd name="connsiteX12" fmla="*/ 1223963 w 1233488"/>
                    <a:gd name="connsiteY12" fmla="*/ 1352550 h 2037016"/>
                    <a:gd name="connsiteX13" fmla="*/ 1228725 w 1233488"/>
                    <a:gd name="connsiteY13" fmla="*/ 1281112 h 2037016"/>
                    <a:gd name="connsiteX14" fmla="*/ 1233488 w 1233488"/>
                    <a:gd name="connsiteY14" fmla="*/ 1243012 h 2037016"/>
                    <a:gd name="connsiteX15" fmla="*/ 1228725 w 1233488"/>
                    <a:gd name="connsiteY15" fmla="*/ 1052512 h 2037016"/>
                    <a:gd name="connsiteX16" fmla="*/ 1209675 w 1233488"/>
                    <a:gd name="connsiteY16" fmla="*/ 995362 h 2037016"/>
                    <a:gd name="connsiteX17" fmla="*/ 1195388 w 1233488"/>
                    <a:gd name="connsiteY17" fmla="*/ 938212 h 2037016"/>
                    <a:gd name="connsiteX18" fmla="*/ 1181100 w 1233488"/>
                    <a:gd name="connsiteY18" fmla="*/ 857250 h 2037016"/>
                    <a:gd name="connsiteX19" fmla="*/ 1171575 w 1233488"/>
                    <a:gd name="connsiteY19" fmla="*/ 790575 h 2037016"/>
                    <a:gd name="connsiteX20" fmla="*/ 1171575 w 1233488"/>
                    <a:gd name="connsiteY20" fmla="*/ 304800 h 2037016"/>
                    <a:gd name="connsiteX21" fmla="*/ 1176338 w 1233488"/>
                    <a:gd name="connsiteY21" fmla="*/ 276225 h 2037016"/>
                    <a:gd name="connsiteX22" fmla="*/ 1181100 w 1233488"/>
                    <a:gd name="connsiteY22" fmla="*/ 233362 h 2037016"/>
                    <a:gd name="connsiteX23" fmla="*/ 1181100 w 1233488"/>
                    <a:gd name="connsiteY23" fmla="*/ 47625 h 2037016"/>
                    <a:gd name="connsiteX24" fmla="*/ 1152525 w 1233488"/>
                    <a:gd name="connsiteY24" fmla="*/ 42862 h 2037016"/>
                    <a:gd name="connsiteX25" fmla="*/ 1028700 w 1233488"/>
                    <a:gd name="connsiteY25" fmla="*/ 28575 h 2037016"/>
                    <a:gd name="connsiteX26" fmla="*/ 942975 w 1233488"/>
                    <a:gd name="connsiteY26" fmla="*/ 19050 h 2037016"/>
                    <a:gd name="connsiteX27" fmla="*/ 304800 w 1233488"/>
                    <a:gd name="connsiteY27" fmla="*/ 14287 h 2037016"/>
                    <a:gd name="connsiteX28" fmla="*/ 247650 w 1233488"/>
                    <a:gd name="connsiteY28" fmla="*/ 9525 h 2037016"/>
                    <a:gd name="connsiteX29" fmla="*/ 223838 w 1233488"/>
                    <a:gd name="connsiteY29" fmla="*/ 4762 h 2037016"/>
                    <a:gd name="connsiteX30" fmla="*/ 180975 w 1233488"/>
                    <a:gd name="connsiteY30" fmla="*/ 0 h 2037016"/>
                    <a:gd name="connsiteX31" fmla="*/ 80963 w 1233488"/>
                    <a:gd name="connsiteY31" fmla="*/ 19050 h 2037016"/>
                    <a:gd name="connsiteX32" fmla="*/ 61913 w 1233488"/>
                    <a:gd name="connsiteY32" fmla="*/ 23812 h 2037016"/>
                    <a:gd name="connsiteX33" fmla="*/ 23813 w 1233488"/>
                    <a:gd name="connsiteY33" fmla="*/ 38100 h 2037016"/>
                    <a:gd name="connsiteX34" fmla="*/ 9525 w 1233488"/>
                    <a:gd name="connsiteY34" fmla="*/ 47625 h 2037016"/>
                    <a:gd name="connsiteX35" fmla="*/ 23813 w 1233488"/>
                    <a:gd name="connsiteY35" fmla="*/ 190500 h 2037016"/>
                    <a:gd name="connsiteX36" fmla="*/ 33338 w 1233488"/>
                    <a:gd name="connsiteY36" fmla="*/ 238125 h 2037016"/>
                    <a:gd name="connsiteX37" fmla="*/ 42863 w 1233488"/>
                    <a:gd name="connsiteY37" fmla="*/ 285750 h 2037016"/>
                    <a:gd name="connsiteX38" fmla="*/ 47625 w 1233488"/>
                    <a:gd name="connsiteY38" fmla="*/ 919162 h 2037016"/>
                    <a:gd name="connsiteX39" fmla="*/ 57150 w 1233488"/>
                    <a:gd name="connsiteY39" fmla="*/ 962025 h 2037016"/>
                    <a:gd name="connsiteX40" fmla="*/ 52388 w 1233488"/>
                    <a:gd name="connsiteY40" fmla="*/ 1085850 h 2037016"/>
                    <a:gd name="connsiteX41" fmla="*/ 38100 w 1233488"/>
                    <a:gd name="connsiteY41" fmla="*/ 1176337 h 2037016"/>
                    <a:gd name="connsiteX42" fmla="*/ 33338 w 1233488"/>
                    <a:gd name="connsiteY42" fmla="*/ 1238250 h 2037016"/>
                    <a:gd name="connsiteX43" fmla="*/ 28575 w 1233488"/>
                    <a:gd name="connsiteY43" fmla="*/ 1262062 h 2037016"/>
                    <a:gd name="connsiteX44" fmla="*/ 23813 w 1233488"/>
                    <a:gd name="connsiteY44" fmla="*/ 1290637 h 2037016"/>
                    <a:gd name="connsiteX45" fmla="*/ 9525 w 1233488"/>
                    <a:gd name="connsiteY45" fmla="*/ 1381125 h 2037016"/>
                    <a:gd name="connsiteX46" fmla="*/ 0 w 1233488"/>
                    <a:gd name="connsiteY46" fmla="*/ 1552575 h 2037016"/>
                    <a:gd name="connsiteX47" fmla="*/ 4763 w 1233488"/>
                    <a:gd name="connsiteY47" fmla="*/ 1852612 h 2037016"/>
                    <a:gd name="connsiteX48" fmla="*/ 23813 w 1233488"/>
                    <a:gd name="connsiteY48" fmla="*/ 1914525 h 2037016"/>
                    <a:gd name="connsiteX49" fmla="*/ 38100 w 1233488"/>
                    <a:gd name="connsiteY49" fmla="*/ 1976437 h 2037016"/>
                    <a:gd name="connsiteX50" fmla="*/ 57150 w 1233488"/>
                    <a:gd name="connsiteY50" fmla="*/ 2033587 h 2037016"/>
                    <a:gd name="connsiteX0" fmla="*/ 57326 w 1233664"/>
                    <a:gd name="connsiteY0" fmla="*/ 2033587 h 2037016"/>
                    <a:gd name="connsiteX1" fmla="*/ 252589 w 1233664"/>
                    <a:gd name="connsiteY1" fmla="*/ 2028825 h 2037016"/>
                    <a:gd name="connsiteX2" fmla="*/ 400226 w 1233664"/>
                    <a:gd name="connsiteY2" fmla="*/ 2014537 h 2037016"/>
                    <a:gd name="connsiteX3" fmla="*/ 605014 w 1233664"/>
                    <a:gd name="connsiteY3" fmla="*/ 2019300 h 2037016"/>
                    <a:gd name="connsiteX4" fmla="*/ 681214 w 1233664"/>
                    <a:gd name="connsiteY4" fmla="*/ 2028825 h 2037016"/>
                    <a:gd name="connsiteX5" fmla="*/ 1181276 w 1233664"/>
                    <a:gd name="connsiteY5" fmla="*/ 2028825 h 2037016"/>
                    <a:gd name="connsiteX6" fmla="*/ 1176514 w 1233664"/>
                    <a:gd name="connsiteY6" fmla="*/ 1681162 h 2037016"/>
                    <a:gd name="connsiteX7" fmla="*/ 1181276 w 1233664"/>
                    <a:gd name="connsiteY7" fmla="*/ 1609725 h 2037016"/>
                    <a:gd name="connsiteX8" fmla="*/ 1190801 w 1233664"/>
                    <a:gd name="connsiteY8" fmla="*/ 1562100 h 2037016"/>
                    <a:gd name="connsiteX9" fmla="*/ 1195564 w 1233664"/>
                    <a:gd name="connsiteY9" fmla="*/ 1524000 h 2037016"/>
                    <a:gd name="connsiteX10" fmla="*/ 1205089 w 1233664"/>
                    <a:gd name="connsiteY10" fmla="*/ 1457325 h 2037016"/>
                    <a:gd name="connsiteX11" fmla="*/ 1214614 w 1233664"/>
                    <a:gd name="connsiteY11" fmla="*/ 1390650 h 2037016"/>
                    <a:gd name="connsiteX12" fmla="*/ 1224139 w 1233664"/>
                    <a:gd name="connsiteY12" fmla="*/ 1352550 h 2037016"/>
                    <a:gd name="connsiteX13" fmla="*/ 1228901 w 1233664"/>
                    <a:gd name="connsiteY13" fmla="*/ 1281112 h 2037016"/>
                    <a:gd name="connsiteX14" fmla="*/ 1233664 w 1233664"/>
                    <a:gd name="connsiteY14" fmla="*/ 1243012 h 2037016"/>
                    <a:gd name="connsiteX15" fmla="*/ 1228901 w 1233664"/>
                    <a:gd name="connsiteY15" fmla="*/ 1052512 h 2037016"/>
                    <a:gd name="connsiteX16" fmla="*/ 1209851 w 1233664"/>
                    <a:gd name="connsiteY16" fmla="*/ 995362 h 2037016"/>
                    <a:gd name="connsiteX17" fmla="*/ 1195564 w 1233664"/>
                    <a:gd name="connsiteY17" fmla="*/ 938212 h 2037016"/>
                    <a:gd name="connsiteX18" fmla="*/ 1181276 w 1233664"/>
                    <a:gd name="connsiteY18" fmla="*/ 857250 h 2037016"/>
                    <a:gd name="connsiteX19" fmla="*/ 1171751 w 1233664"/>
                    <a:gd name="connsiteY19" fmla="*/ 790575 h 2037016"/>
                    <a:gd name="connsiteX20" fmla="*/ 1171751 w 1233664"/>
                    <a:gd name="connsiteY20" fmla="*/ 304800 h 2037016"/>
                    <a:gd name="connsiteX21" fmla="*/ 1176514 w 1233664"/>
                    <a:gd name="connsiteY21" fmla="*/ 276225 h 2037016"/>
                    <a:gd name="connsiteX22" fmla="*/ 1181276 w 1233664"/>
                    <a:gd name="connsiteY22" fmla="*/ 233362 h 2037016"/>
                    <a:gd name="connsiteX23" fmla="*/ 1181276 w 1233664"/>
                    <a:gd name="connsiteY23" fmla="*/ 47625 h 2037016"/>
                    <a:gd name="connsiteX24" fmla="*/ 1152701 w 1233664"/>
                    <a:gd name="connsiteY24" fmla="*/ 42862 h 2037016"/>
                    <a:gd name="connsiteX25" fmla="*/ 1028876 w 1233664"/>
                    <a:gd name="connsiteY25" fmla="*/ 28575 h 2037016"/>
                    <a:gd name="connsiteX26" fmla="*/ 943151 w 1233664"/>
                    <a:gd name="connsiteY26" fmla="*/ 19050 h 2037016"/>
                    <a:gd name="connsiteX27" fmla="*/ 304976 w 1233664"/>
                    <a:gd name="connsiteY27" fmla="*/ 14287 h 2037016"/>
                    <a:gd name="connsiteX28" fmla="*/ 247826 w 1233664"/>
                    <a:gd name="connsiteY28" fmla="*/ 9525 h 2037016"/>
                    <a:gd name="connsiteX29" fmla="*/ 224014 w 1233664"/>
                    <a:gd name="connsiteY29" fmla="*/ 4762 h 2037016"/>
                    <a:gd name="connsiteX30" fmla="*/ 181151 w 1233664"/>
                    <a:gd name="connsiteY30" fmla="*/ 0 h 2037016"/>
                    <a:gd name="connsiteX31" fmla="*/ 81139 w 1233664"/>
                    <a:gd name="connsiteY31" fmla="*/ 19050 h 2037016"/>
                    <a:gd name="connsiteX32" fmla="*/ 62089 w 1233664"/>
                    <a:gd name="connsiteY32" fmla="*/ 23812 h 2037016"/>
                    <a:gd name="connsiteX33" fmla="*/ 23989 w 1233664"/>
                    <a:gd name="connsiteY33" fmla="*/ 38100 h 2037016"/>
                    <a:gd name="connsiteX34" fmla="*/ 9701 w 1233664"/>
                    <a:gd name="connsiteY34" fmla="*/ 47625 h 2037016"/>
                    <a:gd name="connsiteX35" fmla="*/ 23989 w 1233664"/>
                    <a:gd name="connsiteY35" fmla="*/ 190500 h 2037016"/>
                    <a:gd name="connsiteX36" fmla="*/ 33514 w 1233664"/>
                    <a:gd name="connsiteY36" fmla="*/ 238125 h 2037016"/>
                    <a:gd name="connsiteX37" fmla="*/ 43039 w 1233664"/>
                    <a:gd name="connsiteY37" fmla="*/ 285750 h 2037016"/>
                    <a:gd name="connsiteX38" fmla="*/ 47801 w 1233664"/>
                    <a:gd name="connsiteY38" fmla="*/ 919162 h 2037016"/>
                    <a:gd name="connsiteX39" fmla="*/ 57326 w 1233664"/>
                    <a:gd name="connsiteY39" fmla="*/ 962025 h 2037016"/>
                    <a:gd name="connsiteX40" fmla="*/ 52564 w 1233664"/>
                    <a:gd name="connsiteY40" fmla="*/ 1085850 h 2037016"/>
                    <a:gd name="connsiteX41" fmla="*/ 38276 w 1233664"/>
                    <a:gd name="connsiteY41" fmla="*/ 1176337 h 2037016"/>
                    <a:gd name="connsiteX42" fmla="*/ 33514 w 1233664"/>
                    <a:gd name="connsiteY42" fmla="*/ 1238250 h 2037016"/>
                    <a:gd name="connsiteX43" fmla="*/ 28751 w 1233664"/>
                    <a:gd name="connsiteY43" fmla="*/ 1262062 h 2037016"/>
                    <a:gd name="connsiteX44" fmla="*/ 23989 w 1233664"/>
                    <a:gd name="connsiteY44" fmla="*/ 1290637 h 2037016"/>
                    <a:gd name="connsiteX45" fmla="*/ 9701 w 1233664"/>
                    <a:gd name="connsiteY45" fmla="*/ 1381125 h 2037016"/>
                    <a:gd name="connsiteX46" fmla="*/ 176 w 1233664"/>
                    <a:gd name="connsiteY46" fmla="*/ 1552575 h 2037016"/>
                    <a:gd name="connsiteX47" fmla="*/ 4939 w 1233664"/>
                    <a:gd name="connsiteY47" fmla="*/ 1852612 h 2037016"/>
                    <a:gd name="connsiteX48" fmla="*/ 38276 w 1233664"/>
                    <a:gd name="connsiteY48" fmla="*/ 1976437 h 2037016"/>
                    <a:gd name="connsiteX49" fmla="*/ 57326 w 1233664"/>
                    <a:gd name="connsiteY49" fmla="*/ 2033587 h 2037016"/>
                    <a:gd name="connsiteX0" fmla="*/ 58349 w 1234687"/>
                    <a:gd name="connsiteY0" fmla="*/ 2033587 h 2037016"/>
                    <a:gd name="connsiteX1" fmla="*/ 253612 w 1234687"/>
                    <a:gd name="connsiteY1" fmla="*/ 2028825 h 2037016"/>
                    <a:gd name="connsiteX2" fmla="*/ 401249 w 1234687"/>
                    <a:gd name="connsiteY2" fmla="*/ 2014537 h 2037016"/>
                    <a:gd name="connsiteX3" fmla="*/ 606037 w 1234687"/>
                    <a:gd name="connsiteY3" fmla="*/ 2019300 h 2037016"/>
                    <a:gd name="connsiteX4" fmla="*/ 682237 w 1234687"/>
                    <a:gd name="connsiteY4" fmla="*/ 2028825 h 2037016"/>
                    <a:gd name="connsiteX5" fmla="*/ 1182299 w 1234687"/>
                    <a:gd name="connsiteY5" fmla="*/ 2028825 h 2037016"/>
                    <a:gd name="connsiteX6" fmla="*/ 1177537 w 1234687"/>
                    <a:gd name="connsiteY6" fmla="*/ 1681162 h 2037016"/>
                    <a:gd name="connsiteX7" fmla="*/ 1182299 w 1234687"/>
                    <a:gd name="connsiteY7" fmla="*/ 1609725 h 2037016"/>
                    <a:gd name="connsiteX8" fmla="*/ 1191824 w 1234687"/>
                    <a:gd name="connsiteY8" fmla="*/ 1562100 h 2037016"/>
                    <a:gd name="connsiteX9" fmla="*/ 1196587 w 1234687"/>
                    <a:gd name="connsiteY9" fmla="*/ 1524000 h 2037016"/>
                    <a:gd name="connsiteX10" fmla="*/ 1206112 w 1234687"/>
                    <a:gd name="connsiteY10" fmla="*/ 1457325 h 2037016"/>
                    <a:gd name="connsiteX11" fmla="*/ 1215637 w 1234687"/>
                    <a:gd name="connsiteY11" fmla="*/ 1390650 h 2037016"/>
                    <a:gd name="connsiteX12" fmla="*/ 1225162 w 1234687"/>
                    <a:gd name="connsiteY12" fmla="*/ 1352550 h 2037016"/>
                    <a:gd name="connsiteX13" fmla="*/ 1229924 w 1234687"/>
                    <a:gd name="connsiteY13" fmla="*/ 1281112 h 2037016"/>
                    <a:gd name="connsiteX14" fmla="*/ 1234687 w 1234687"/>
                    <a:gd name="connsiteY14" fmla="*/ 1243012 h 2037016"/>
                    <a:gd name="connsiteX15" fmla="*/ 1229924 w 1234687"/>
                    <a:gd name="connsiteY15" fmla="*/ 1052512 h 2037016"/>
                    <a:gd name="connsiteX16" fmla="*/ 1210874 w 1234687"/>
                    <a:gd name="connsiteY16" fmla="*/ 995362 h 2037016"/>
                    <a:gd name="connsiteX17" fmla="*/ 1196587 w 1234687"/>
                    <a:gd name="connsiteY17" fmla="*/ 938212 h 2037016"/>
                    <a:gd name="connsiteX18" fmla="*/ 1182299 w 1234687"/>
                    <a:gd name="connsiteY18" fmla="*/ 857250 h 2037016"/>
                    <a:gd name="connsiteX19" fmla="*/ 1172774 w 1234687"/>
                    <a:gd name="connsiteY19" fmla="*/ 790575 h 2037016"/>
                    <a:gd name="connsiteX20" fmla="*/ 1172774 w 1234687"/>
                    <a:gd name="connsiteY20" fmla="*/ 304800 h 2037016"/>
                    <a:gd name="connsiteX21" fmla="*/ 1177537 w 1234687"/>
                    <a:gd name="connsiteY21" fmla="*/ 276225 h 2037016"/>
                    <a:gd name="connsiteX22" fmla="*/ 1182299 w 1234687"/>
                    <a:gd name="connsiteY22" fmla="*/ 233362 h 2037016"/>
                    <a:gd name="connsiteX23" fmla="*/ 1182299 w 1234687"/>
                    <a:gd name="connsiteY23" fmla="*/ 47625 h 2037016"/>
                    <a:gd name="connsiteX24" fmla="*/ 1153724 w 1234687"/>
                    <a:gd name="connsiteY24" fmla="*/ 42862 h 2037016"/>
                    <a:gd name="connsiteX25" fmla="*/ 1029899 w 1234687"/>
                    <a:gd name="connsiteY25" fmla="*/ 28575 h 2037016"/>
                    <a:gd name="connsiteX26" fmla="*/ 944174 w 1234687"/>
                    <a:gd name="connsiteY26" fmla="*/ 19050 h 2037016"/>
                    <a:gd name="connsiteX27" fmla="*/ 305999 w 1234687"/>
                    <a:gd name="connsiteY27" fmla="*/ 14287 h 2037016"/>
                    <a:gd name="connsiteX28" fmla="*/ 248849 w 1234687"/>
                    <a:gd name="connsiteY28" fmla="*/ 9525 h 2037016"/>
                    <a:gd name="connsiteX29" fmla="*/ 225037 w 1234687"/>
                    <a:gd name="connsiteY29" fmla="*/ 4762 h 2037016"/>
                    <a:gd name="connsiteX30" fmla="*/ 182174 w 1234687"/>
                    <a:gd name="connsiteY30" fmla="*/ 0 h 2037016"/>
                    <a:gd name="connsiteX31" fmla="*/ 82162 w 1234687"/>
                    <a:gd name="connsiteY31" fmla="*/ 19050 h 2037016"/>
                    <a:gd name="connsiteX32" fmla="*/ 63112 w 1234687"/>
                    <a:gd name="connsiteY32" fmla="*/ 23812 h 2037016"/>
                    <a:gd name="connsiteX33" fmla="*/ 25012 w 1234687"/>
                    <a:gd name="connsiteY33" fmla="*/ 38100 h 2037016"/>
                    <a:gd name="connsiteX34" fmla="*/ 10724 w 1234687"/>
                    <a:gd name="connsiteY34" fmla="*/ 47625 h 2037016"/>
                    <a:gd name="connsiteX35" fmla="*/ 25012 w 1234687"/>
                    <a:gd name="connsiteY35" fmla="*/ 190500 h 2037016"/>
                    <a:gd name="connsiteX36" fmla="*/ 34537 w 1234687"/>
                    <a:gd name="connsiteY36" fmla="*/ 238125 h 2037016"/>
                    <a:gd name="connsiteX37" fmla="*/ 44062 w 1234687"/>
                    <a:gd name="connsiteY37" fmla="*/ 285750 h 2037016"/>
                    <a:gd name="connsiteX38" fmla="*/ 48824 w 1234687"/>
                    <a:gd name="connsiteY38" fmla="*/ 919162 h 2037016"/>
                    <a:gd name="connsiteX39" fmla="*/ 58349 w 1234687"/>
                    <a:gd name="connsiteY39" fmla="*/ 962025 h 2037016"/>
                    <a:gd name="connsiteX40" fmla="*/ 53587 w 1234687"/>
                    <a:gd name="connsiteY40" fmla="*/ 1085850 h 2037016"/>
                    <a:gd name="connsiteX41" fmla="*/ 39299 w 1234687"/>
                    <a:gd name="connsiteY41" fmla="*/ 1176337 h 2037016"/>
                    <a:gd name="connsiteX42" fmla="*/ 34537 w 1234687"/>
                    <a:gd name="connsiteY42" fmla="*/ 1238250 h 2037016"/>
                    <a:gd name="connsiteX43" fmla="*/ 29774 w 1234687"/>
                    <a:gd name="connsiteY43" fmla="*/ 1262062 h 2037016"/>
                    <a:gd name="connsiteX44" fmla="*/ 25012 w 1234687"/>
                    <a:gd name="connsiteY44" fmla="*/ 1290637 h 2037016"/>
                    <a:gd name="connsiteX45" fmla="*/ 10724 w 1234687"/>
                    <a:gd name="connsiteY45" fmla="*/ 1381125 h 2037016"/>
                    <a:gd name="connsiteX46" fmla="*/ 1199 w 1234687"/>
                    <a:gd name="connsiteY46" fmla="*/ 1552575 h 2037016"/>
                    <a:gd name="connsiteX47" fmla="*/ 39299 w 1234687"/>
                    <a:gd name="connsiteY47" fmla="*/ 1976437 h 2037016"/>
                    <a:gd name="connsiteX48" fmla="*/ 58349 w 1234687"/>
                    <a:gd name="connsiteY48" fmla="*/ 2033587 h 2037016"/>
                    <a:gd name="connsiteX0" fmla="*/ 55029 w 1231367"/>
                    <a:gd name="connsiteY0" fmla="*/ 2033587 h 2042526"/>
                    <a:gd name="connsiteX1" fmla="*/ 250292 w 1231367"/>
                    <a:gd name="connsiteY1" fmla="*/ 2028825 h 2042526"/>
                    <a:gd name="connsiteX2" fmla="*/ 397929 w 1231367"/>
                    <a:gd name="connsiteY2" fmla="*/ 2014537 h 2042526"/>
                    <a:gd name="connsiteX3" fmla="*/ 602717 w 1231367"/>
                    <a:gd name="connsiteY3" fmla="*/ 2019300 h 2042526"/>
                    <a:gd name="connsiteX4" fmla="*/ 678917 w 1231367"/>
                    <a:gd name="connsiteY4" fmla="*/ 2028825 h 2042526"/>
                    <a:gd name="connsiteX5" fmla="*/ 1178979 w 1231367"/>
                    <a:gd name="connsiteY5" fmla="*/ 2028825 h 2042526"/>
                    <a:gd name="connsiteX6" fmla="*/ 1174217 w 1231367"/>
                    <a:gd name="connsiteY6" fmla="*/ 1681162 h 2042526"/>
                    <a:gd name="connsiteX7" fmla="*/ 1178979 w 1231367"/>
                    <a:gd name="connsiteY7" fmla="*/ 1609725 h 2042526"/>
                    <a:gd name="connsiteX8" fmla="*/ 1188504 w 1231367"/>
                    <a:gd name="connsiteY8" fmla="*/ 1562100 h 2042526"/>
                    <a:gd name="connsiteX9" fmla="*/ 1193267 w 1231367"/>
                    <a:gd name="connsiteY9" fmla="*/ 1524000 h 2042526"/>
                    <a:gd name="connsiteX10" fmla="*/ 1202792 w 1231367"/>
                    <a:gd name="connsiteY10" fmla="*/ 1457325 h 2042526"/>
                    <a:gd name="connsiteX11" fmla="*/ 1212317 w 1231367"/>
                    <a:gd name="connsiteY11" fmla="*/ 1390650 h 2042526"/>
                    <a:gd name="connsiteX12" fmla="*/ 1221842 w 1231367"/>
                    <a:gd name="connsiteY12" fmla="*/ 1352550 h 2042526"/>
                    <a:gd name="connsiteX13" fmla="*/ 1226604 w 1231367"/>
                    <a:gd name="connsiteY13" fmla="*/ 1281112 h 2042526"/>
                    <a:gd name="connsiteX14" fmla="*/ 1231367 w 1231367"/>
                    <a:gd name="connsiteY14" fmla="*/ 1243012 h 2042526"/>
                    <a:gd name="connsiteX15" fmla="*/ 1226604 w 1231367"/>
                    <a:gd name="connsiteY15" fmla="*/ 1052512 h 2042526"/>
                    <a:gd name="connsiteX16" fmla="*/ 1207554 w 1231367"/>
                    <a:gd name="connsiteY16" fmla="*/ 995362 h 2042526"/>
                    <a:gd name="connsiteX17" fmla="*/ 1193267 w 1231367"/>
                    <a:gd name="connsiteY17" fmla="*/ 938212 h 2042526"/>
                    <a:gd name="connsiteX18" fmla="*/ 1178979 w 1231367"/>
                    <a:gd name="connsiteY18" fmla="*/ 857250 h 2042526"/>
                    <a:gd name="connsiteX19" fmla="*/ 1169454 w 1231367"/>
                    <a:gd name="connsiteY19" fmla="*/ 790575 h 2042526"/>
                    <a:gd name="connsiteX20" fmla="*/ 1169454 w 1231367"/>
                    <a:gd name="connsiteY20" fmla="*/ 304800 h 2042526"/>
                    <a:gd name="connsiteX21" fmla="*/ 1174217 w 1231367"/>
                    <a:gd name="connsiteY21" fmla="*/ 276225 h 2042526"/>
                    <a:gd name="connsiteX22" fmla="*/ 1178979 w 1231367"/>
                    <a:gd name="connsiteY22" fmla="*/ 233362 h 2042526"/>
                    <a:gd name="connsiteX23" fmla="*/ 1178979 w 1231367"/>
                    <a:gd name="connsiteY23" fmla="*/ 47625 h 2042526"/>
                    <a:gd name="connsiteX24" fmla="*/ 1150404 w 1231367"/>
                    <a:gd name="connsiteY24" fmla="*/ 42862 h 2042526"/>
                    <a:gd name="connsiteX25" fmla="*/ 1026579 w 1231367"/>
                    <a:gd name="connsiteY25" fmla="*/ 28575 h 2042526"/>
                    <a:gd name="connsiteX26" fmla="*/ 940854 w 1231367"/>
                    <a:gd name="connsiteY26" fmla="*/ 19050 h 2042526"/>
                    <a:gd name="connsiteX27" fmla="*/ 302679 w 1231367"/>
                    <a:gd name="connsiteY27" fmla="*/ 14287 h 2042526"/>
                    <a:gd name="connsiteX28" fmla="*/ 245529 w 1231367"/>
                    <a:gd name="connsiteY28" fmla="*/ 9525 h 2042526"/>
                    <a:gd name="connsiteX29" fmla="*/ 221717 w 1231367"/>
                    <a:gd name="connsiteY29" fmla="*/ 4762 h 2042526"/>
                    <a:gd name="connsiteX30" fmla="*/ 178854 w 1231367"/>
                    <a:gd name="connsiteY30" fmla="*/ 0 h 2042526"/>
                    <a:gd name="connsiteX31" fmla="*/ 78842 w 1231367"/>
                    <a:gd name="connsiteY31" fmla="*/ 19050 h 2042526"/>
                    <a:gd name="connsiteX32" fmla="*/ 59792 w 1231367"/>
                    <a:gd name="connsiteY32" fmla="*/ 23812 h 2042526"/>
                    <a:gd name="connsiteX33" fmla="*/ 21692 w 1231367"/>
                    <a:gd name="connsiteY33" fmla="*/ 38100 h 2042526"/>
                    <a:gd name="connsiteX34" fmla="*/ 7404 w 1231367"/>
                    <a:gd name="connsiteY34" fmla="*/ 47625 h 2042526"/>
                    <a:gd name="connsiteX35" fmla="*/ 21692 w 1231367"/>
                    <a:gd name="connsiteY35" fmla="*/ 190500 h 2042526"/>
                    <a:gd name="connsiteX36" fmla="*/ 31217 w 1231367"/>
                    <a:gd name="connsiteY36" fmla="*/ 238125 h 2042526"/>
                    <a:gd name="connsiteX37" fmla="*/ 40742 w 1231367"/>
                    <a:gd name="connsiteY37" fmla="*/ 285750 h 2042526"/>
                    <a:gd name="connsiteX38" fmla="*/ 45504 w 1231367"/>
                    <a:gd name="connsiteY38" fmla="*/ 919162 h 2042526"/>
                    <a:gd name="connsiteX39" fmla="*/ 55029 w 1231367"/>
                    <a:gd name="connsiteY39" fmla="*/ 962025 h 2042526"/>
                    <a:gd name="connsiteX40" fmla="*/ 50267 w 1231367"/>
                    <a:gd name="connsiteY40" fmla="*/ 1085850 h 2042526"/>
                    <a:gd name="connsiteX41" fmla="*/ 35979 w 1231367"/>
                    <a:gd name="connsiteY41" fmla="*/ 1176337 h 2042526"/>
                    <a:gd name="connsiteX42" fmla="*/ 31217 w 1231367"/>
                    <a:gd name="connsiteY42" fmla="*/ 1238250 h 2042526"/>
                    <a:gd name="connsiteX43" fmla="*/ 26454 w 1231367"/>
                    <a:gd name="connsiteY43" fmla="*/ 1262062 h 2042526"/>
                    <a:gd name="connsiteX44" fmla="*/ 21692 w 1231367"/>
                    <a:gd name="connsiteY44" fmla="*/ 1290637 h 2042526"/>
                    <a:gd name="connsiteX45" fmla="*/ 7404 w 1231367"/>
                    <a:gd name="connsiteY45" fmla="*/ 1381125 h 2042526"/>
                    <a:gd name="connsiteX46" fmla="*/ 35979 w 1231367"/>
                    <a:gd name="connsiteY46" fmla="*/ 1976437 h 2042526"/>
                    <a:gd name="connsiteX47" fmla="*/ 55029 w 1231367"/>
                    <a:gd name="connsiteY47" fmla="*/ 2033587 h 2042526"/>
                    <a:gd name="connsiteX0" fmla="*/ 55029 w 1231367"/>
                    <a:gd name="connsiteY0" fmla="*/ 2033587 h 2042526"/>
                    <a:gd name="connsiteX1" fmla="*/ 250292 w 1231367"/>
                    <a:gd name="connsiteY1" fmla="*/ 2028825 h 2042526"/>
                    <a:gd name="connsiteX2" fmla="*/ 397929 w 1231367"/>
                    <a:gd name="connsiteY2" fmla="*/ 2014537 h 2042526"/>
                    <a:gd name="connsiteX3" fmla="*/ 602717 w 1231367"/>
                    <a:gd name="connsiteY3" fmla="*/ 2019300 h 2042526"/>
                    <a:gd name="connsiteX4" fmla="*/ 678917 w 1231367"/>
                    <a:gd name="connsiteY4" fmla="*/ 2028825 h 2042526"/>
                    <a:gd name="connsiteX5" fmla="*/ 1178979 w 1231367"/>
                    <a:gd name="connsiteY5" fmla="*/ 2028825 h 2042526"/>
                    <a:gd name="connsiteX6" fmla="*/ 1174217 w 1231367"/>
                    <a:gd name="connsiteY6" fmla="*/ 1681162 h 2042526"/>
                    <a:gd name="connsiteX7" fmla="*/ 1178979 w 1231367"/>
                    <a:gd name="connsiteY7" fmla="*/ 1609725 h 2042526"/>
                    <a:gd name="connsiteX8" fmla="*/ 1188504 w 1231367"/>
                    <a:gd name="connsiteY8" fmla="*/ 1562100 h 2042526"/>
                    <a:gd name="connsiteX9" fmla="*/ 1193267 w 1231367"/>
                    <a:gd name="connsiteY9" fmla="*/ 1524000 h 2042526"/>
                    <a:gd name="connsiteX10" fmla="*/ 1202792 w 1231367"/>
                    <a:gd name="connsiteY10" fmla="*/ 1457325 h 2042526"/>
                    <a:gd name="connsiteX11" fmla="*/ 1212317 w 1231367"/>
                    <a:gd name="connsiteY11" fmla="*/ 1390650 h 2042526"/>
                    <a:gd name="connsiteX12" fmla="*/ 1221842 w 1231367"/>
                    <a:gd name="connsiteY12" fmla="*/ 1352550 h 2042526"/>
                    <a:gd name="connsiteX13" fmla="*/ 1226604 w 1231367"/>
                    <a:gd name="connsiteY13" fmla="*/ 1281112 h 2042526"/>
                    <a:gd name="connsiteX14" fmla="*/ 1231367 w 1231367"/>
                    <a:gd name="connsiteY14" fmla="*/ 1243012 h 2042526"/>
                    <a:gd name="connsiteX15" fmla="*/ 1226604 w 1231367"/>
                    <a:gd name="connsiteY15" fmla="*/ 1052512 h 2042526"/>
                    <a:gd name="connsiteX16" fmla="*/ 1207554 w 1231367"/>
                    <a:gd name="connsiteY16" fmla="*/ 995362 h 2042526"/>
                    <a:gd name="connsiteX17" fmla="*/ 1193267 w 1231367"/>
                    <a:gd name="connsiteY17" fmla="*/ 938212 h 2042526"/>
                    <a:gd name="connsiteX18" fmla="*/ 1178979 w 1231367"/>
                    <a:gd name="connsiteY18" fmla="*/ 857250 h 2042526"/>
                    <a:gd name="connsiteX19" fmla="*/ 1169454 w 1231367"/>
                    <a:gd name="connsiteY19" fmla="*/ 790575 h 2042526"/>
                    <a:gd name="connsiteX20" fmla="*/ 1169454 w 1231367"/>
                    <a:gd name="connsiteY20" fmla="*/ 304800 h 2042526"/>
                    <a:gd name="connsiteX21" fmla="*/ 1174217 w 1231367"/>
                    <a:gd name="connsiteY21" fmla="*/ 276225 h 2042526"/>
                    <a:gd name="connsiteX22" fmla="*/ 1178979 w 1231367"/>
                    <a:gd name="connsiteY22" fmla="*/ 233362 h 2042526"/>
                    <a:gd name="connsiteX23" fmla="*/ 1178979 w 1231367"/>
                    <a:gd name="connsiteY23" fmla="*/ 47625 h 2042526"/>
                    <a:gd name="connsiteX24" fmla="*/ 1150404 w 1231367"/>
                    <a:gd name="connsiteY24" fmla="*/ 42862 h 2042526"/>
                    <a:gd name="connsiteX25" fmla="*/ 1026579 w 1231367"/>
                    <a:gd name="connsiteY25" fmla="*/ 28575 h 2042526"/>
                    <a:gd name="connsiteX26" fmla="*/ 940854 w 1231367"/>
                    <a:gd name="connsiteY26" fmla="*/ 19050 h 2042526"/>
                    <a:gd name="connsiteX27" fmla="*/ 302679 w 1231367"/>
                    <a:gd name="connsiteY27" fmla="*/ 14287 h 2042526"/>
                    <a:gd name="connsiteX28" fmla="*/ 245529 w 1231367"/>
                    <a:gd name="connsiteY28" fmla="*/ 9525 h 2042526"/>
                    <a:gd name="connsiteX29" fmla="*/ 221717 w 1231367"/>
                    <a:gd name="connsiteY29" fmla="*/ 4762 h 2042526"/>
                    <a:gd name="connsiteX30" fmla="*/ 178854 w 1231367"/>
                    <a:gd name="connsiteY30" fmla="*/ 0 h 2042526"/>
                    <a:gd name="connsiteX31" fmla="*/ 78842 w 1231367"/>
                    <a:gd name="connsiteY31" fmla="*/ 19050 h 2042526"/>
                    <a:gd name="connsiteX32" fmla="*/ 59792 w 1231367"/>
                    <a:gd name="connsiteY32" fmla="*/ 23812 h 2042526"/>
                    <a:gd name="connsiteX33" fmla="*/ 21692 w 1231367"/>
                    <a:gd name="connsiteY33" fmla="*/ 38100 h 2042526"/>
                    <a:gd name="connsiteX34" fmla="*/ 7404 w 1231367"/>
                    <a:gd name="connsiteY34" fmla="*/ 47625 h 2042526"/>
                    <a:gd name="connsiteX35" fmla="*/ 21692 w 1231367"/>
                    <a:gd name="connsiteY35" fmla="*/ 190500 h 2042526"/>
                    <a:gd name="connsiteX36" fmla="*/ 31217 w 1231367"/>
                    <a:gd name="connsiteY36" fmla="*/ 238125 h 2042526"/>
                    <a:gd name="connsiteX37" fmla="*/ 40742 w 1231367"/>
                    <a:gd name="connsiteY37" fmla="*/ 285750 h 2042526"/>
                    <a:gd name="connsiteX38" fmla="*/ 45504 w 1231367"/>
                    <a:gd name="connsiteY38" fmla="*/ 919162 h 2042526"/>
                    <a:gd name="connsiteX39" fmla="*/ 55029 w 1231367"/>
                    <a:gd name="connsiteY39" fmla="*/ 962025 h 2042526"/>
                    <a:gd name="connsiteX40" fmla="*/ 50267 w 1231367"/>
                    <a:gd name="connsiteY40" fmla="*/ 1085850 h 2042526"/>
                    <a:gd name="connsiteX41" fmla="*/ 35979 w 1231367"/>
                    <a:gd name="connsiteY41" fmla="*/ 1176337 h 2042526"/>
                    <a:gd name="connsiteX42" fmla="*/ 31217 w 1231367"/>
                    <a:gd name="connsiteY42" fmla="*/ 1238250 h 2042526"/>
                    <a:gd name="connsiteX43" fmla="*/ 26454 w 1231367"/>
                    <a:gd name="connsiteY43" fmla="*/ 1262062 h 2042526"/>
                    <a:gd name="connsiteX44" fmla="*/ 7404 w 1231367"/>
                    <a:gd name="connsiteY44" fmla="*/ 1381125 h 2042526"/>
                    <a:gd name="connsiteX45" fmla="*/ 35979 w 1231367"/>
                    <a:gd name="connsiteY45" fmla="*/ 1976437 h 2042526"/>
                    <a:gd name="connsiteX46" fmla="*/ 55029 w 1231367"/>
                    <a:gd name="connsiteY46" fmla="*/ 2033587 h 2042526"/>
                    <a:gd name="connsiteX0" fmla="*/ 55029 w 1231367"/>
                    <a:gd name="connsiteY0" fmla="*/ 2033587 h 2042526"/>
                    <a:gd name="connsiteX1" fmla="*/ 250292 w 1231367"/>
                    <a:gd name="connsiteY1" fmla="*/ 2028825 h 2042526"/>
                    <a:gd name="connsiteX2" fmla="*/ 397929 w 1231367"/>
                    <a:gd name="connsiteY2" fmla="*/ 2014537 h 2042526"/>
                    <a:gd name="connsiteX3" fmla="*/ 602717 w 1231367"/>
                    <a:gd name="connsiteY3" fmla="*/ 2019300 h 2042526"/>
                    <a:gd name="connsiteX4" fmla="*/ 678917 w 1231367"/>
                    <a:gd name="connsiteY4" fmla="*/ 2028825 h 2042526"/>
                    <a:gd name="connsiteX5" fmla="*/ 1178979 w 1231367"/>
                    <a:gd name="connsiteY5" fmla="*/ 2028825 h 2042526"/>
                    <a:gd name="connsiteX6" fmla="*/ 1174217 w 1231367"/>
                    <a:gd name="connsiteY6" fmla="*/ 1681162 h 2042526"/>
                    <a:gd name="connsiteX7" fmla="*/ 1178979 w 1231367"/>
                    <a:gd name="connsiteY7" fmla="*/ 1609725 h 2042526"/>
                    <a:gd name="connsiteX8" fmla="*/ 1188504 w 1231367"/>
                    <a:gd name="connsiteY8" fmla="*/ 1562100 h 2042526"/>
                    <a:gd name="connsiteX9" fmla="*/ 1193267 w 1231367"/>
                    <a:gd name="connsiteY9" fmla="*/ 1524000 h 2042526"/>
                    <a:gd name="connsiteX10" fmla="*/ 1202792 w 1231367"/>
                    <a:gd name="connsiteY10" fmla="*/ 1457325 h 2042526"/>
                    <a:gd name="connsiteX11" fmla="*/ 1212317 w 1231367"/>
                    <a:gd name="connsiteY11" fmla="*/ 1390650 h 2042526"/>
                    <a:gd name="connsiteX12" fmla="*/ 1221842 w 1231367"/>
                    <a:gd name="connsiteY12" fmla="*/ 1352550 h 2042526"/>
                    <a:gd name="connsiteX13" fmla="*/ 1226604 w 1231367"/>
                    <a:gd name="connsiteY13" fmla="*/ 1281112 h 2042526"/>
                    <a:gd name="connsiteX14" fmla="*/ 1231367 w 1231367"/>
                    <a:gd name="connsiteY14" fmla="*/ 1243012 h 2042526"/>
                    <a:gd name="connsiteX15" fmla="*/ 1226604 w 1231367"/>
                    <a:gd name="connsiteY15" fmla="*/ 1052512 h 2042526"/>
                    <a:gd name="connsiteX16" fmla="*/ 1207554 w 1231367"/>
                    <a:gd name="connsiteY16" fmla="*/ 995362 h 2042526"/>
                    <a:gd name="connsiteX17" fmla="*/ 1193267 w 1231367"/>
                    <a:gd name="connsiteY17" fmla="*/ 938212 h 2042526"/>
                    <a:gd name="connsiteX18" fmla="*/ 1178979 w 1231367"/>
                    <a:gd name="connsiteY18" fmla="*/ 857250 h 2042526"/>
                    <a:gd name="connsiteX19" fmla="*/ 1169454 w 1231367"/>
                    <a:gd name="connsiteY19" fmla="*/ 790575 h 2042526"/>
                    <a:gd name="connsiteX20" fmla="*/ 1169454 w 1231367"/>
                    <a:gd name="connsiteY20" fmla="*/ 304800 h 2042526"/>
                    <a:gd name="connsiteX21" fmla="*/ 1174217 w 1231367"/>
                    <a:gd name="connsiteY21" fmla="*/ 276225 h 2042526"/>
                    <a:gd name="connsiteX22" fmla="*/ 1178979 w 1231367"/>
                    <a:gd name="connsiteY22" fmla="*/ 233362 h 2042526"/>
                    <a:gd name="connsiteX23" fmla="*/ 1178979 w 1231367"/>
                    <a:gd name="connsiteY23" fmla="*/ 47625 h 2042526"/>
                    <a:gd name="connsiteX24" fmla="*/ 1150404 w 1231367"/>
                    <a:gd name="connsiteY24" fmla="*/ 42862 h 2042526"/>
                    <a:gd name="connsiteX25" fmla="*/ 1026579 w 1231367"/>
                    <a:gd name="connsiteY25" fmla="*/ 28575 h 2042526"/>
                    <a:gd name="connsiteX26" fmla="*/ 940854 w 1231367"/>
                    <a:gd name="connsiteY26" fmla="*/ 19050 h 2042526"/>
                    <a:gd name="connsiteX27" fmla="*/ 302679 w 1231367"/>
                    <a:gd name="connsiteY27" fmla="*/ 14287 h 2042526"/>
                    <a:gd name="connsiteX28" fmla="*/ 245529 w 1231367"/>
                    <a:gd name="connsiteY28" fmla="*/ 9525 h 2042526"/>
                    <a:gd name="connsiteX29" fmla="*/ 221717 w 1231367"/>
                    <a:gd name="connsiteY29" fmla="*/ 4762 h 2042526"/>
                    <a:gd name="connsiteX30" fmla="*/ 178854 w 1231367"/>
                    <a:gd name="connsiteY30" fmla="*/ 0 h 2042526"/>
                    <a:gd name="connsiteX31" fmla="*/ 78842 w 1231367"/>
                    <a:gd name="connsiteY31" fmla="*/ 19050 h 2042526"/>
                    <a:gd name="connsiteX32" fmla="*/ 59792 w 1231367"/>
                    <a:gd name="connsiteY32" fmla="*/ 23812 h 2042526"/>
                    <a:gd name="connsiteX33" fmla="*/ 21692 w 1231367"/>
                    <a:gd name="connsiteY33" fmla="*/ 38100 h 2042526"/>
                    <a:gd name="connsiteX34" fmla="*/ 7404 w 1231367"/>
                    <a:gd name="connsiteY34" fmla="*/ 47625 h 2042526"/>
                    <a:gd name="connsiteX35" fmla="*/ 21692 w 1231367"/>
                    <a:gd name="connsiteY35" fmla="*/ 190500 h 2042526"/>
                    <a:gd name="connsiteX36" fmla="*/ 31217 w 1231367"/>
                    <a:gd name="connsiteY36" fmla="*/ 238125 h 2042526"/>
                    <a:gd name="connsiteX37" fmla="*/ 40742 w 1231367"/>
                    <a:gd name="connsiteY37" fmla="*/ 285750 h 2042526"/>
                    <a:gd name="connsiteX38" fmla="*/ 45504 w 1231367"/>
                    <a:gd name="connsiteY38" fmla="*/ 919162 h 2042526"/>
                    <a:gd name="connsiteX39" fmla="*/ 55029 w 1231367"/>
                    <a:gd name="connsiteY39" fmla="*/ 962025 h 2042526"/>
                    <a:gd name="connsiteX40" fmla="*/ 50267 w 1231367"/>
                    <a:gd name="connsiteY40" fmla="*/ 1085850 h 2042526"/>
                    <a:gd name="connsiteX41" fmla="*/ 35979 w 1231367"/>
                    <a:gd name="connsiteY41" fmla="*/ 1176337 h 2042526"/>
                    <a:gd name="connsiteX42" fmla="*/ 31217 w 1231367"/>
                    <a:gd name="connsiteY42" fmla="*/ 1238250 h 2042526"/>
                    <a:gd name="connsiteX43" fmla="*/ 7404 w 1231367"/>
                    <a:gd name="connsiteY43" fmla="*/ 1381125 h 2042526"/>
                    <a:gd name="connsiteX44" fmla="*/ 35979 w 1231367"/>
                    <a:gd name="connsiteY44" fmla="*/ 1976437 h 2042526"/>
                    <a:gd name="connsiteX45" fmla="*/ 55029 w 1231367"/>
                    <a:gd name="connsiteY45" fmla="*/ 2033587 h 2042526"/>
                    <a:gd name="connsiteX0" fmla="*/ 55029 w 1231367"/>
                    <a:gd name="connsiteY0" fmla="*/ 2033587 h 2042526"/>
                    <a:gd name="connsiteX1" fmla="*/ 250292 w 1231367"/>
                    <a:gd name="connsiteY1" fmla="*/ 2028825 h 2042526"/>
                    <a:gd name="connsiteX2" fmla="*/ 397929 w 1231367"/>
                    <a:gd name="connsiteY2" fmla="*/ 2014537 h 2042526"/>
                    <a:gd name="connsiteX3" fmla="*/ 602717 w 1231367"/>
                    <a:gd name="connsiteY3" fmla="*/ 2019300 h 2042526"/>
                    <a:gd name="connsiteX4" fmla="*/ 678917 w 1231367"/>
                    <a:gd name="connsiteY4" fmla="*/ 2028825 h 2042526"/>
                    <a:gd name="connsiteX5" fmla="*/ 1178979 w 1231367"/>
                    <a:gd name="connsiteY5" fmla="*/ 2028825 h 2042526"/>
                    <a:gd name="connsiteX6" fmla="*/ 1174217 w 1231367"/>
                    <a:gd name="connsiteY6" fmla="*/ 1681162 h 2042526"/>
                    <a:gd name="connsiteX7" fmla="*/ 1178979 w 1231367"/>
                    <a:gd name="connsiteY7" fmla="*/ 1609725 h 2042526"/>
                    <a:gd name="connsiteX8" fmla="*/ 1188504 w 1231367"/>
                    <a:gd name="connsiteY8" fmla="*/ 1562100 h 2042526"/>
                    <a:gd name="connsiteX9" fmla="*/ 1193267 w 1231367"/>
                    <a:gd name="connsiteY9" fmla="*/ 1524000 h 2042526"/>
                    <a:gd name="connsiteX10" fmla="*/ 1202792 w 1231367"/>
                    <a:gd name="connsiteY10" fmla="*/ 1457325 h 2042526"/>
                    <a:gd name="connsiteX11" fmla="*/ 1212317 w 1231367"/>
                    <a:gd name="connsiteY11" fmla="*/ 1390650 h 2042526"/>
                    <a:gd name="connsiteX12" fmla="*/ 1221842 w 1231367"/>
                    <a:gd name="connsiteY12" fmla="*/ 1352550 h 2042526"/>
                    <a:gd name="connsiteX13" fmla="*/ 1226604 w 1231367"/>
                    <a:gd name="connsiteY13" fmla="*/ 1281112 h 2042526"/>
                    <a:gd name="connsiteX14" fmla="*/ 1231367 w 1231367"/>
                    <a:gd name="connsiteY14" fmla="*/ 1243012 h 2042526"/>
                    <a:gd name="connsiteX15" fmla="*/ 1226604 w 1231367"/>
                    <a:gd name="connsiteY15" fmla="*/ 1052512 h 2042526"/>
                    <a:gd name="connsiteX16" fmla="*/ 1207554 w 1231367"/>
                    <a:gd name="connsiteY16" fmla="*/ 995362 h 2042526"/>
                    <a:gd name="connsiteX17" fmla="*/ 1193267 w 1231367"/>
                    <a:gd name="connsiteY17" fmla="*/ 938212 h 2042526"/>
                    <a:gd name="connsiteX18" fmla="*/ 1178979 w 1231367"/>
                    <a:gd name="connsiteY18" fmla="*/ 857250 h 2042526"/>
                    <a:gd name="connsiteX19" fmla="*/ 1169454 w 1231367"/>
                    <a:gd name="connsiteY19" fmla="*/ 790575 h 2042526"/>
                    <a:gd name="connsiteX20" fmla="*/ 1169454 w 1231367"/>
                    <a:gd name="connsiteY20" fmla="*/ 304800 h 2042526"/>
                    <a:gd name="connsiteX21" fmla="*/ 1174217 w 1231367"/>
                    <a:gd name="connsiteY21" fmla="*/ 276225 h 2042526"/>
                    <a:gd name="connsiteX22" fmla="*/ 1178979 w 1231367"/>
                    <a:gd name="connsiteY22" fmla="*/ 233362 h 2042526"/>
                    <a:gd name="connsiteX23" fmla="*/ 1178979 w 1231367"/>
                    <a:gd name="connsiteY23" fmla="*/ 47625 h 2042526"/>
                    <a:gd name="connsiteX24" fmla="*/ 1150404 w 1231367"/>
                    <a:gd name="connsiteY24" fmla="*/ 42862 h 2042526"/>
                    <a:gd name="connsiteX25" fmla="*/ 1026579 w 1231367"/>
                    <a:gd name="connsiteY25" fmla="*/ 28575 h 2042526"/>
                    <a:gd name="connsiteX26" fmla="*/ 940854 w 1231367"/>
                    <a:gd name="connsiteY26" fmla="*/ 19050 h 2042526"/>
                    <a:gd name="connsiteX27" fmla="*/ 302679 w 1231367"/>
                    <a:gd name="connsiteY27" fmla="*/ 14287 h 2042526"/>
                    <a:gd name="connsiteX28" fmla="*/ 245529 w 1231367"/>
                    <a:gd name="connsiteY28" fmla="*/ 9525 h 2042526"/>
                    <a:gd name="connsiteX29" fmla="*/ 221717 w 1231367"/>
                    <a:gd name="connsiteY29" fmla="*/ 4762 h 2042526"/>
                    <a:gd name="connsiteX30" fmla="*/ 178854 w 1231367"/>
                    <a:gd name="connsiteY30" fmla="*/ 0 h 2042526"/>
                    <a:gd name="connsiteX31" fmla="*/ 78842 w 1231367"/>
                    <a:gd name="connsiteY31" fmla="*/ 19050 h 2042526"/>
                    <a:gd name="connsiteX32" fmla="*/ 59792 w 1231367"/>
                    <a:gd name="connsiteY32" fmla="*/ 23812 h 2042526"/>
                    <a:gd name="connsiteX33" fmla="*/ 21692 w 1231367"/>
                    <a:gd name="connsiteY33" fmla="*/ 38100 h 2042526"/>
                    <a:gd name="connsiteX34" fmla="*/ 7404 w 1231367"/>
                    <a:gd name="connsiteY34" fmla="*/ 47625 h 2042526"/>
                    <a:gd name="connsiteX35" fmla="*/ 21692 w 1231367"/>
                    <a:gd name="connsiteY35" fmla="*/ 190500 h 2042526"/>
                    <a:gd name="connsiteX36" fmla="*/ 31217 w 1231367"/>
                    <a:gd name="connsiteY36" fmla="*/ 238125 h 2042526"/>
                    <a:gd name="connsiteX37" fmla="*/ 40742 w 1231367"/>
                    <a:gd name="connsiteY37" fmla="*/ 285750 h 2042526"/>
                    <a:gd name="connsiteX38" fmla="*/ 45504 w 1231367"/>
                    <a:gd name="connsiteY38" fmla="*/ 919162 h 2042526"/>
                    <a:gd name="connsiteX39" fmla="*/ 55029 w 1231367"/>
                    <a:gd name="connsiteY39" fmla="*/ 962025 h 2042526"/>
                    <a:gd name="connsiteX40" fmla="*/ 50267 w 1231367"/>
                    <a:gd name="connsiteY40" fmla="*/ 1085850 h 2042526"/>
                    <a:gd name="connsiteX41" fmla="*/ 35979 w 1231367"/>
                    <a:gd name="connsiteY41" fmla="*/ 1176337 h 2042526"/>
                    <a:gd name="connsiteX42" fmla="*/ 7404 w 1231367"/>
                    <a:gd name="connsiteY42" fmla="*/ 1381125 h 2042526"/>
                    <a:gd name="connsiteX43" fmla="*/ 35979 w 1231367"/>
                    <a:gd name="connsiteY43" fmla="*/ 1976437 h 2042526"/>
                    <a:gd name="connsiteX44" fmla="*/ 55029 w 1231367"/>
                    <a:gd name="connsiteY44" fmla="*/ 2033587 h 2042526"/>
                    <a:gd name="connsiteX0" fmla="*/ 55029 w 1231367"/>
                    <a:gd name="connsiteY0" fmla="*/ 2033587 h 2042526"/>
                    <a:gd name="connsiteX1" fmla="*/ 250292 w 1231367"/>
                    <a:gd name="connsiteY1" fmla="*/ 2028825 h 2042526"/>
                    <a:gd name="connsiteX2" fmla="*/ 397929 w 1231367"/>
                    <a:gd name="connsiteY2" fmla="*/ 2014537 h 2042526"/>
                    <a:gd name="connsiteX3" fmla="*/ 602717 w 1231367"/>
                    <a:gd name="connsiteY3" fmla="*/ 2019300 h 2042526"/>
                    <a:gd name="connsiteX4" fmla="*/ 678917 w 1231367"/>
                    <a:gd name="connsiteY4" fmla="*/ 2028825 h 2042526"/>
                    <a:gd name="connsiteX5" fmla="*/ 1178979 w 1231367"/>
                    <a:gd name="connsiteY5" fmla="*/ 2028825 h 2042526"/>
                    <a:gd name="connsiteX6" fmla="*/ 1174217 w 1231367"/>
                    <a:gd name="connsiteY6" fmla="*/ 1681162 h 2042526"/>
                    <a:gd name="connsiteX7" fmla="*/ 1178979 w 1231367"/>
                    <a:gd name="connsiteY7" fmla="*/ 1609725 h 2042526"/>
                    <a:gd name="connsiteX8" fmla="*/ 1188504 w 1231367"/>
                    <a:gd name="connsiteY8" fmla="*/ 1562100 h 2042526"/>
                    <a:gd name="connsiteX9" fmla="*/ 1193267 w 1231367"/>
                    <a:gd name="connsiteY9" fmla="*/ 1524000 h 2042526"/>
                    <a:gd name="connsiteX10" fmla="*/ 1202792 w 1231367"/>
                    <a:gd name="connsiteY10" fmla="*/ 1457325 h 2042526"/>
                    <a:gd name="connsiteX11" fmla="*/ 1212317 w 1231367"/>
                    <a:gd name="connsiteY11" fmla="*/ 1390650 h 2042526"/>
                    <a:gd name="connsiteX12" fmla="*/ 1221842 w 1231367"/>
                    <a:gd name="connsiteY12" fmla="*/ 1352550 h 2042526"/>
                    <a:gd name="connsiteX13" fmla="*/ 1226604 w 1231367"/>
                    <a:gd name="connsiteY13" fmla="*/ 1281112 h 2042526"/>
                    <a:gd name="connsiteX14" fmla="*/ 1231367 w 1231367"/>
                    <a:gd name="connsiteY14" fmla="*/ 1243012 h 2042526"/>
                    <a:gd name="connsiteX15" fmla="*/ 1226604 w 1231367"/>
                    <a:gd name="connsiteY15" fmla="*/ 1052512 h 2042526"/>
                    <a:gd name="connsiteX16" fmla="*/ 1207554 w 1231367"/>
                    <a:gd name="connsiteY16" fmla="*/ 995362 h 2042526"/>
                    <a:gd name="connsiteX17" fmla="*/ 1193267 w 1231367"/>
                    <a:gd name="connsiteY17" fmla="*/ 938212 h 2042526"/>
                    <a:gd name="connsiteX18" fmla="*/ 1178979 w 1231367"/>
                    <a:gd name="connsiteY18" fmla="*/ 857250 h 2042526"/>
                    <a:gd name="connsiteX19" fmla="*/ 1169454 w 1231367"/>
                    <a:gd name="connsiteY19" fmla="*/ 790575 h 2042526"/>
                    <a:gd name="connsiteX20" fmla="*/ 1169454 w 1231367"/>
                    <a:gd name="connsiteY20" fmla="*/ 304800 h 2042526"/>
                    <a:gd name="connsiteX21" fmla="*/ 1174217 w 1231367"/>
                    <a:gd name="connsiteY21" fmla="*/ 276225 h 2042526"/>
                    <a:gd name="connsiteX22" fmla="*/ 1178979 w 1231367"/>
                    <a:gd name="connsiteY22" fmla="*/ 233362 h 2042526"/>
                    <a:gd name="connsiteX23" fmla="*/ 1178979 w 1231367"/>
                    <a:gd name="connsiteY23" fmla="*/ 47625 h 2042526"/>
                    <a:gd name="connsiteX24" fmla="*/ 1150404 w 1231367"/>
                    <a:gd name="connsiteY24" fmla="*/ 42862 h 2042526"/>
                    <a:gd name="connsiteX25" fmla="*/ 1026579 w 1231367"/>
                    <a:gd name="connsiteY25" fmla="*/ 28575 h 2042526"/>
                    <a:gd name="connsiteX26" fmla="*/ 940854 w 1231367"/>
                    <a:gd name="connsiteY26" fmla="*/ 19050 h 2042526"/>
                    <a:gd name="connsiteX27" fmla="*/ 302679 w 1231367"/>
                    <a:gd name="connsiteY27" fmla="*/ 14287 h 2042526"/>
                    <a:gd name="connsiteX28" fmla="*/ 245529 w 1231367"/>
                    <a:gd name="connsiteY28" fmla="*/ 9525 h 2042526"/>
                    <a:gd name="connsiteX29" fmla="*/ 221717 w 1231367"/>
                    <a:gd name="connsiteY29" fmla="*/ 4762 h 2042526"/>
                    <a:gd name="connsiteX30" fmla="*/ 178854 w 1231367"/>
                    <a:gd name="connsiteY30" fmla="*/ 0 h 2042526"/>
                    <a:gd name="connsiteX31" fmla="*/ 78842 w 1231367"/>
                    <a:gd name="connsiteY31" fmla="*/ 19050 h 2042526"/>
                    <a:gd name="connsiteX32" fmla="*/ 59792 w 1231367"/>
                    <a:gd name="connsiteY32" fmla="*/ 23812 h 2042526"/>
                    <a:gd name="connsiteX33" fmla="*/ 21692 w 1231367"/>
                    <a:gd name="connsiteY33" fmla="*/ 38100 h 2042526"/>
                    <a:gd name="connsiteX34" fmla="*/ 7404 w 1231367"/>
                    <a:gd name="connsiteY34" fmla="*/ 47625 h 2042526"/>
                    <a:gd name="connsiteX35" fmla="*/ 21692 w 1231367"/>
                    <a:gd name="connsiteY35" fmla="*/ 190500 h 2042526"/>
                    <a:gd name="connsiteX36" fmla="*/ 31217 w 1231367"/>
                    <a:gd name="connsiteY36" fmla="*/ 238125 h 2042526"/>
                    <a:gd name="connsiteX37" fmla="*/ 40742 w 1231367"/>
                    <a:gd name="connsiteY37" fmla="*/ 285750 h 2042526"/>
                    <a:gd name="connsiteX38" fmla="*/ 45504 w 1231367"/>
                    <a:gd name="connsiteY38" fmla="*/ 919162 h 2042526"/>
                    <a:gd name="connsiteX39" fmla="*/ 55029 w 1231367"/>
                    <a:gd name="connsiteY39" fmla="*/ 962025 h 2042526"/>
                    <a:gd name="connsiteX40" fmla="*/ 35979 w 1231367"/>
                    <a:gd name="connsiteY40" fmla="*/ 1176337 h 2042526"/>
                    <a:gd name="connsiteX41" fmla="*/ 7404 w 1231367"/>
                    <a:gd name="connsiteY41" fmla="*/ 1381125 h 2042526"/>
                    <a:gd name="connsiteX42" fmla="*/ 35979 w 1231367"/>
                    <a:gd name="connsiteY42" fmla="*/ 1976437 h 2042526"/>
                    <a:gd name="connsiteX43" fmla="*/ 55029 w 1231367"/>
                    <a:gd name="connsiteY43" fmla="*/ 2033587 h 2042526"/>
                    <a:gd name="connsiteX0" fmla="*/ 55029 w 1231367"/>
                    <a:gd name="connsiteY0" fmla="*/ 2033587 h 2042526"/>
                    <a:gd name="connsiteX1" fmla="*/ 250292 w 1231367"/>
                    <a:gd name="connsiteY1" fmla="*/ 2028825 h 2042526"/>
                    <a:gd name="connsiteX2" fmla="*/ 397929 w 1231367"/>
                    <a:gd name="connsiteY2" fmla="*/ 2014537 h 2042526"/>
                    <a:gd name="connsiteX3" fmla="*/ 602717 w 1231367"/>
                    <a:gd name="connsiteY3" fmla="*/ 2019300 h 2042526"/>
                    <a:gd name="connsiteX4" fmla="*/ 678917 w 1231367"/>
                    <a:gd name="connsiteY4" fmla="*/ 2028825 h 2042526"/>
                    <a:gd name="connsiteX5" fmla="*/ 1178979 w 1231367"/>
                    <a:gd name="connsiteY5" fmla="*/ 2028825 h 2042526"/>
                    <a:gd name="connsiteX6" fmla="*/ 1174217 w 1231367"/>
                    <a:gd name="connsiteY6" fmla="*/ 1681162 h 2042526"/>
                    <a:gd name="connsiteX7" fmla="*/ 1178979 w 1231367"/>
                    <a:gd name="connsiteY7" fmla="*/ 1609725 h 2042526"/>
                    <a:gd name="connsiteX8" fmla="*/ 1188504 w 1231367"/>
                    <a:gd name="connsiteY8" fmla="*/ 1562100 h 2042526"/>
                    <a:gd name="connsiteX9" fmla="*/ 1193267 w 1231367"/>
                    <a:gd name="connsiteY9" fmla="*/ 1524000 h 2042526"/>
                    <a:gd name="connsiteX10" fmla="*/ 1202792 w 1231367"/>
                    <a:gd name="connsiteY10" fmla="*/ 1457325 h 2042526"/>
                    <a:gd name="connsiteX11" fmla="*/ 1212317 w 1231367"/>
                    <a:gd name="connsiteY11" fmla="*/ 1390650 h 2042526"/>
                    <a:gd name="connsiteX12" fmla="*/ 1221842 w 1231367"/>
                    <a:gd name="connsiteY12" fmla="*/ 1352550 h 2042526"/>
                    <a:gd name="connsiteX13" fmla="*/ 1226604 w 1231367"/>
                    <a:gd name="connsiteY13" fmla="*/ 1281112 h 2042526"/>
                    <a:gd name="connsiteX14" fmla="*/ 1231367 w 1231367"/>
                    <a:gd name="connsiteY14" fmla="*/ 1243012 h 2042526"/>
                    <a:gd name="connsiteX15" fmla="*/ 1226604 w 1231367"/>
                    <a:gd name="connsiteY15" fmla="*/ 1052512 h 2042526"/>
                    <a:gd name="connsiteX16" fmla="*/ 1207554 w 1231367"/>
                    <a:gd name="connsiteY16" fmla="*/ 995362 h 2042526"/>
                    <a:gd name="connsiteX17" fmla="*/ 1193267 w 1231367"/>
                    <a:gd name="connsiteY17" fmla="*/ 938212 h 2042526"/>
                    <a:gd name="connsiteX18" fmla="*/ 1178979 w 1231367"/>
                    <a:gd name="connsiteY18" fmla="*/ 857250 h 2042526"/>
                    <a:gd name="connsiteX19" fmla="*/ 1169454 w 1231367"/>
                    <a:gd name="connsiteY19" fmla="*/ 790575 h 2042526"/>
                    <a:gd name="connsiteX20" fmla="*/ 1169454 w 1231367"/>
                    <a:gd name="connsiteY20" fmla="*/ 304800 h 2042526"/>
                    <a:gd name="connsiteX21" fmla="*/ 1174217 w 1231367"/>
                    <a:gd name="connsiteY21" fmla="*/ 276225 h 2042526"/>
                    <a:gd name="connsiteX22" fmla="*/ 1178979 w 1231367"/>
                    <a:gd name="connsiteY22" fmla="*/ 233362 h 2042526"/>
                    <a:gd name="connsiteX23" fmla="*/ 1178979 w 1231367"/>
                    <a:gd name="connsiteY23" fmla="*/ 47625 h 2042526"/>
                    <a:gd name="connsiteX24" fmla="*/ 1150404 w 1231367"/>
                    <a:gd name="connsiteY24" fmla="*/ 42862 h 2042526"/>
                    <a:gd name="connsiteX25" fmla="*/ 1026579 w 1231367"/>
                    <a:gd name="connsiteY25" fmla="*/ 28575 h 2042526"/>
                    <a:gd name="connsiteX26" fmla="*/ 940854 w 1231367"/>
                    <a:gd name="connsiteY26" fmla="*/ 19050 h 2042526"/>
                    <a:gd name="connsiteX27" fmla="*/ 302679 w 1231367"/>
                    <a:gd name="connsiteY27" fmla="*/ 14287 h 2042526"/>
                    <a:gd name="connsiteX28" fmla="*/ 245529 w 1231367"/>
                    <a:gd name="connsiteY28" fmla="*/ 9525 h 2042526"/>
                    <a:gd name="connsiteX29" fmla="*/ 221717 w 1231367"/>
                    <a:gd name="connsiteY29" fmla="*/ 4762 h 2042526"/>
                    <a:gd name="connsiteX30" fmla="*/ 178854 w 1231367"/>
                    <a:gd name="connsiteY30" fmla="*/ 0 h 2042526"/>
                    <a:gd name="connsiteX31" fmla="*/ 78842 w 1231367"/>
                    <a:gd name="connsiteY31" fmla="*/ 19050 h 2042526"/>
                    <a:gd name="connsiteX32" fmla="*/ 59792 w 1231367"/>
                    <a:gd name="connsiteY32" fmla="*/ 23812 h 2042526"/>
                    <a:gd name="connsiteX33" fmla="*/ 21692 w 1231367"/>
                    <a:gd name="connsiteY33" fmla="*/ 38100 h 2042526"/>
                    <a:gd name="connsiteX34" fmla="*/ 7404 w 1231367"/>
                    <a:gd name="connsiteY34" fmla="*/ 47625 h 2042526"/>
                    <a:gd name="connsiteX35" fmla="*/ 21692 w 1231367"/>
                    <a:gd name="connsiteY35" fmla="*/ 190500 h 2042526"/>
                    <a:gd name="connsiteX36" fmla="*/ 31217 w 1231367"/>
                    <a:gd name="connsiteY36" fmla="*/ 238125 h 2042526"/>
                    <a:gd name="connsiteX37" fmla="*/ 40742 w 1231367"/>
                    <a:gd name="connsiteY37" fmla="*/ 285750 h 2042526"/>
                    <a:gd name="connsiteX38" fmla="*/ 45504 w 1231367"/>
                    <a:gd name="connsiteY38" fmla="*/ 919162 h 2042526"/>
                    <a:gd name="connsiteX39" fmla="*/ 35979 w 1231367"/>
                    <a:gd name="connsiteY39" fmla="*/ 1176337 h 2042526"/>
                    <a:gd name="connsiteX40" fmla="*/ 7404 w 1231367"/>
                    <a:gd name="connsiteY40" fmla="*/ 1381125 h 2042526"/>
                    <a:gd name="connsiteX41" fmla="*/ 35979 w 1231367"/>
                    <a:gd name="connsiteY41" fmla="*/ 1976437 h 2042526"/>
                    <a:gd name="connsiteX42" fmla="*/ 55029 w 1231367"/>
                    <a:gd name="connsiteY42" fmla="*/ 2033587 h 2042526"/>
                    <a:gd name="connsiteX0" fmla="*/ 55029 w 1231367"/>
                    <a:gd name="connsiteY0" fmla="*/ 2033587 h 2056196"/>
                    <a:gd name="connsiteX1" fmla="*/ 250292 w 1231367"/>
                    <a:gd name="connsiteY1" fmla="*/ 2028825 h 2056196"/>
                    <a:gd name="connsiteX2" fmla="*/ 397929 w 1231367"/>
                    <a:gd name="connsiteY2" fmla="*/ 2014537 h 2056196"/>
                    <a:gd name="connsiteX3" fmla="*/ 602717 w 1231367"/>
                    <a:gd name="connsiteY3" fmla="*/ 2019300 h 2056196"/>
                    <a:gd name="connsiteX4" fmla="*/ 678917 w 1231367"/>
                    <a:gd name="connsiteY4" fmla="*/ 2028825 h 2056196"/>
                    <a:gd name="connsiteX5" fmla="*/ 1178979 w 1231367"/>
                    <a:gd name="connsiteY5" fmla="*/ 2028825 h 2056196"/>
                    <a:gd name="connsiteX6" fmla="*/ 1174217 w 1231367"/>
                    <a:gd name="connsiteY6" fmla="*/ 1681162 h 2056196"/>
                    <a:gd name="connsiteX7" fmla="*/ 1178979 w 1231367"/>
                    <a:gd name="connsiteY7" fmla="*/ 1609725 h 2056196"/>
                    <a:gd name="connsiteX8" fmla="*/ 1188504 w 1231367"/>
                    <a:gd name="connsiteY8" fmla="*/ 1562100 h 2056196"/>
                    <a:gd name="connsiteX9" fmla="*/ 1193267 w 1231367"/>
                    <a:gd name="connsiteY9" fmla="*/ 1524000 h 2056196"/>
                    <a:gd name="connsiteX10" fmla="*/ 1202792 w 1231367"/>
                    <a:gd name="connsiteY10" fmla="*/ 1457325 h 2056196"/>
                    <a:gd name="connsiteX11" fmla="*/ 1212317 w 1231367"/>
                    <a:gd name="connsiteY11" fmla="*/ 1390650 h 2056196"/>
                    <a:gd name="connsiteX12" fmla="*/ 1221842 w 1231367"/>
                    <a:gd name="connsiteY12" fmla="*/ 1352550 h 2056196"/>
                    <a:gd name="connsiteX13" fmla="*/ 1226604 w 1231367"/>
                    <a:gd name="connsiteY13" fmla="*/ 1281112 h 2056196"/>
                    <a:gd name="connsiteX14" fmla="*/ 1231367 w 1231367"/>
                    <a:gd name="connsiteY14" fmla="*/ 1243012 h 2056196"/>
                    <a:gd name="connsiteX15" fmla="*/ 1226604 w 1231367"/>
                    <a:gd name="connsiteY15" fmla="*/ 1052512 h 2056196"/>
                    <a:gd name="connsiteX16" fmla="*/ 1207554 w 1231367"/>
                    <a:gd name="connsiteY16" fmla="*/ 995362 h 2056196"/>
                    <a:gd name="connsiteX17" fmla="*/ 1193267 w 1231367"/>
                    <a:gd name="connsiteY17" fmla="*/ 938212 h 2056196"/>
                    <a:gd name="connsiteX18" fmla="*/ 1178979 w 1231367"/>
                    <a:gd name="connsiteY18" fmla="*/ 857250 h 2056196"/>
                    <a:gd name="connsiteX19" fmla="*/ 1169454 w 1231367"/>
                    <a:gd name="connsiteY19" fmla="*/ 790575 h 2056196"/>
                    <a:gd name="connsiteX20" fmla="*/ 1169454 w 1231367"/>
                    <a:gd name="connsiteY20" fmla="*/ 304800 h 2056196"/>
                    <a:gd name="connsiteX21" fmla="*/ 1174217 w 1231367"/>
                    <a:gd name="connsiteY21" fmla="*/ 276225 h 2056196"/>
                    <a:gd name="connsiteX22" fmla="*/ 1178979 w 1231367"/>
                    <a:gd name="connsiteY22" fmla="*/ 233362 h 2056196"/>
                    <a:gd name="connsiteX23" fmla="*/ 1178979 w 1231367"/>
                    <a:gd name="connsiteY23" fmla="*/ 47625 h 2056196"/>
                    <a:gd name="connsiteX24" fmla="*/ 1150404 w 1231367"/>
                    <a:gd name="connsiteY24" fmla="*/ 42862 h 2056196"/>
                    <a:gd name="connsiteX25" fmla="*/ 1026579 w 1231367"/>
                    <a:gd name="connsiteY25" fmla="*/ 28575 h 2056196"/>
                    <a:gd name="connsiteX26" fmla="*/ 940854 w 1231367"/>
                    <a:gd name="connsiteY26" fmla="*/ 19050 h 2056196"/>
                    <a:gd name="connsiteX27" fmla="*/ 302679 w 1231367"/>
                    <a:gd name="connsiteY27" fmla="*/ 14287 h 2056196"/>
                    <a:gd name="connsiteX28" fmla="*/ 245529 w 1231367"/>
                    <a:gd name="connsiteY28" fmla="*/ 9525 h 2056196"/>
                    <a:gd name="connsiteX29" fmla="*/ 221717 w 1231367"/>
                    <a:gd name="connsiteY29" fmla="*/ 4762 h 2056196"/>
                    <a:gd name="connsiteX30" fmla="*/ 178854 w 1231367"/>
                    <a:gd name="connsiteY30" fmla="*/ 0 h 2056196"/>
                    <a:gd name="connsiteX31" fmla="*/ 78842 w 1231367"/>
                    <a:gd name="connsiteY31" fmla="*/ 19050 h 2056196"/>
                    <a:gd name="connsiteX32" fmla="*/ 59792 w 1231367"/>
                    <a:gd name="connsiteY32" fmla="*/ 23812 h 2056196"/>
                    <a:gd name="connsiteX33" fmla="*/ 21692 w 1231367"/>
                    <a:gd name="connsiteY33" fmla="*/ 38100 h 2056196"/>
                    <a:gd name="connsiteX34" fmla="*/ 7404 w 1231367"/>
                    <a:gd name="connsiteY34" fmla="*/ 47625 h 2056196"/>
                    <a:gd name="connsiteX35" fmla="*/ 21692 w 1231367"/>
                    <a:gd name="connsiteY35" fmla="*/ 190500 h 2056196"/>
                    <a:gd name="connsiteX36" fmla="*/ 31217 w 1231367"/>
                    <a:gd name="connsiteY36" fmla="*/ 238125 h 2056196"/>
                    <a:gd name="connsiteX37" fmla="*/ 40742 w 1231367"/>
                    <a:gd name="connsiteY37" fmla="*/ 285750 h 2056196"/>
                    <a:gd name="connsiteX38" fmla="*/ 45504 w 1231367"/>
                    <a:gd name="connsiteY38" fmla="*/ 919162 h 2056196"/>
                    <a:gd name="connsiteX39" fmla="*/ 35979 w 1231367"/>
                    <a:gd name="connsiteY39" fmla="*/ 1176337 h 2056196"/>
                    <a:gd name="connsiteX40" fmla="*/ 35979 w 1231367"/>
                    <a:gd name="connsiteY40" fmla="*/ 1976437 h 2056196"/>
                    <a:gd name="connsiteX41" fmla="*/ 55029 w 1231367"/>
                    <a:gd name="connsiteY41" fmla="*/ 2033587 h 2056196"/>
                    <a:gd name="connsiteX0" fmla="*/ 52464 w 1228802"/>
                    <a:gd name="connsiteY0" fmla="*/ 2033587 h 2056196"/>
                    <a:gd name="connsiteX1" fmla="*/ 247727 w 1228802"/>
                    <a:gd name="connsiteY1" fmla="*/ 2028825 h 2056196"/>
                    <a:gd name="connsiteX2" fmla="*/ 395364 w 1228802"/>
                    <a:gd name="connsiteY2" fmla="*/ 2014537 h 2056196"/>
                    <a:gd name="connsiteX3" fmla="*/ 600152 w 1228802"/>
                    <a:gd name="connsiteY3" fmla="*/ 2019300 h 2056196"/>
                    <a:gd name="connsiteX4" fmla="*/ 676352 w 1228802"/>
                    <a:gd name="connsiteY4" fmla="*/ 2028825 h 2056196"/>
                    <a:gd name="connsiteX5" fmla="*/ 1176414 w 1228802"/>
                    <a:gd name="connsiteY5" fmla="*/ 2028825 h 2056196"/>
                    <a:gd name="connsiteX6" fmla="*/ 1171652 w 1228802"/>
                    <a:gd name="connsiteY6" fmla="*/ 1681162 h 2056196"/>
                    <a:gd name="connsiteX7" fmla="*/ 1176414 w 1228802"/>
                    <a:gd name="connsiteY7" fmla="*/ 1609725 h 2056196"/>
                    <a:gd name="connsiteX8" fmla="*/ 1185939 w 1228802"/>
                    <a:gd name="connsiteY8" fmla="*/ 1562100 h 2056196"/>
                    <a:gd name="connsiteX9" fmla="*/ 1190702 w 1228802"/>
                    <a:gd name="connsiteY9" fmla="*/ 1524000 h 2056196"/>
                    <a:gd name="connsiteX10" fmla="*/ 1200227 w 1228802"/>
                    <a:gd name="connsiteY10" fmla="*/ 1457325 h 2056196"/>
                    <a:gd name="connsiteX11" fmla="*/ 1209752 w 1228802"/>
                    <a:gd name="connsiteY11" fmla="*/ 1390650 h 2056196"/>
                    <a:gd name="connsiteX12" fmla="*/ 1219277 w 1228802"/>
                    <a:gd name="connsiteY12" fmla="*/ 1352550 h 2056196"/>
                    <a:gd name="connsiteX13" fmla="*/ 1224039 w 1228802"/>
                    <a:gd name="connsiteY13" fmla="*/ 1281112 h 2056196"/>
                    <a:gd name="connsiteX14" fmla="*/ 1228802 w 1228802"/>
                    <a:gd name="connsiteY14" fmla="*/ 1243012 h 2056196"/>
                    <a:gd name="connsiteX15" fmla="*/ 1224039 w 1228802"/>
                    <a:gd name="connsiteY15" fmla="*/ 1052512 h 2056196"/>
                    <a:gd name="connsiteX16" fmla="*/ 1204989 w 1228802"/>
                    <a:gd name="connsiteY16" fmla="*/ 995362 h 2056196"/>
                    <a:gd name="connsiteX17" fmla="*/ 1190702 w 1228802"/>
                    <a:gd name="connsiteY17" fmla="*/ 938212 h 2056196"/>
                    <a:gd name="connsiteX18" fmla="*/ 1176414 w 1228802"/>
                    <a:gd name="connsiteY18" fmla="*/ 857250 h 2056196"/>
                    <a:gd name="connsiteX19" fmla="*/ 1166889 w 1228802"/>
                    <a:gd name="connsiteY19" fmla="*/ 790575 h 2056196"/>
                    <a:gd name="connsiteX20" fmla="*/ 1166889 w 1228802"/>
                    <a:gd name="connsiteY20" fmla="*/ 304800 h 2056196"/>
                    <a:gd name="connsiteX21" fmla="*/ 1171652 w 1228802"/>
                    <a:gd name="connsiteY21" fmla="*/ 276225 h 2056196"/>
                    <a:gd name="connsiteX22" fmla="*/ 1176414 w 1228802"/>
                    <a:gd name="connsiteY22" fmla="*/ 233362 h 2056196"/>
                    <a:gd name="connsiteX23" fmla="*/ 1176414 w 1228802"/>
                    <a:gd name="connsiteY23" fmla="*/ 47625 h 2056196"/>
                    <a:gd name="connsiteX24" fmla="*/ 1147839 w 1228802"/>
                    <a:gd name="connsiteY24" fmla="*/ 42862 h 2056196"/>
                    <a:gd name="connsiteX25" fmla="*/ 1024014 w 1228802"/>
                    <a:gd name="connsiteY25" fmla="*/ 28575 h 2056196"/>
                    <a:gd name="connsiteX26" fmla="*/ 938289 w 1228802"/>
                    <a:gd name="connsiteY26" fmla="*/ 19050 h 2056196"/>
                    <a:gd name="connsiteX27" fmla="*/ 300114 w 1228802"/>
                    <a:gd name="connsiteY27" fmla="*/ 14287 h 2056196"/>
                    <a:gd name="connsiteX28" fmla="*/ 242964 w 1228802"/>
                    <a:gd name="connsiteY28" fmla="*/ 9525 h 2056196"/>
                    <a:gd name="connsiteX29" fmla="*/ 219152 w 1228802"/>
                    <a:gd name="connsiteY29" fmla="*/ 4762 h 2056196"/>
                    <a:gd name="connsiteX30" fmla="*/ 176289 w 1228802"/>
                    <a:gd name="connsiteY30" fmla="*/ 0 h 2056196"/>
                    <a:gd name="connsiteX31" fmla="*/ 76277 w 1228802"/>
                    <a:gd name="connsiteY31" fmla="*/ 19050 h 2056196"/>
                    <a:gd name="connsiteX32" fmla="*/ 57227 w 1228802"/>
                    <a:gd name="connsiteY32" fmla="*/ 23812 h 2056196"/>
                    <a:gd name="connsiteX33" fmla="*/ 19127 w 1228802"/>
                    <a:gd name="connsiteY33" fmla="*/ 38100 h 2056196"/>
                    <a:gd name="connsiteX34" fmla="*/ 4839 w 1228802"/>
                    <a:gd name="connsiteY34" fmla="*/ 47625 h 2056196"/>
                    <a:gd name="connsiteX35" fmla="*/ 19127 w 1228802"/>
                    <a:gd name="connsiteY35" fmla="*/ 190500 h 2056196"/>
                    <a:gd name="connsiteX36" fmla="*/ 38177 w 1228802"/>
                    <a:gd name="connsiteY36" fmla="*/ 285750 h 2056196"/>
                    <a:gd name="connsiteX37" fmla="*/ 42939 w 1228802"/>
                    <a:gd name="connsiteY37" fmla="*/ 919162 h 2056196"/>
                    <a:gd name="connsiteX38" fmla="*/ 33414 w 1228802"/>
                    <a:gd name="connsiteY38" fmla="*/ 1176337 h 2056196"/>
                    <a:gd name="connsiteX39" fmla="*/ 33414 w 1228802"/>
                    <a:gd name="connsiteY39" fmla="*/ 1976437 h 2056196"/>
                    <a:gd name="connsiteX40" fmla="*/ 52464 w 1228802"/>
                    <a:gd name="connsiteY40" fmla="*/ 2033587 h 2056196"/>
                    <a:gd name="connsiteX0" fmla="*/ 37004 w 1213342"/>
                    <a:gd name="connsiteY0" fmla="*/ 2033587 h 2056196"/>
                    <a:gd name="connsiteX1" fmla="*/ 232267 w 1213342"/>
                    <a:gd name="connsiteY1" fmla="*/ 2028825 h 2056196"/>
                    <a:gd name="connsiteX2" fmla="*/ 379904 w 1213342"/>
                    <a:gd name="connsiteY2" fmla="*/ 2014537 h 2056196"/>
                    <a:gd name="connsiteX3" fmla="*/ 584692 w 1213342"/>
                    <a:gd name="connsiteY3" fmla="*/ 2019300 h 2056196"/>
                    <a:gd name="connsiteX4" fmla="*/ 660892 w 1213342"/>
                    <a:gd name="connsiteY4" fmla="*/ 2028825 h 2056196"/>
                    <a:gd name="connsiteX5" fmla="*/ 1160954 w 1213342"/>
                    <a:gd name="connsiteY5" fmla="*/ 2028825 h 2056196"/>
                    <a:gd name="connsiteX6" fmla="*/ 1156192 w 1213342"/>
                    <a:gd name="connsiteY6" fmla="*/ 1681162 h 2056196"/>
                    <a:gd name="connsiteX7" fmla="*/ 1160954 w 1213342"/>
                    <a:gd name="connsiteY7" fmla="*/ 1609725 h 2056196"/>
                    <a:gd name="connsiteX8" fmla="*/ 1170479 w 1213342"/>
                    <a:gd name="connsiteY8" fmla="*/ 1562100 h 2056196"/>
                    <a:gd name="connsiteX9" fmla="*/ 1175242 w 1213342"/>
                    <a:gd name="connsiteY9" fmla="*/ 1524000 h 2056196"/>
                    <a:gd name="connsiteX10" fmla="*/ 1184767 w 1213342"/>
                    <a:gd name="connsiteY10" fmla="*/ 1457325 h 2056196"/>
                    <a:gd name="connsiteX11" fmla="*/ 1194292 w 1213342"/>
                    <a:gd name="connsiteY11" fmla="*/ 1390650 h 2056196"/>
                    <a:gd name="connsiteX12" fmla="*/ 1203817 w 1213342"/>
                    <a:gd name="connsiteY12" fmla="*/ 1352550 h 2056196"/>
                    <a:gd name="connsiteX13" fmla="*/ 1208579 w 1213342"/>
                    <a:gd name="connsiteY13" fmla="*/ 1281112 h 2056196"/>
                    <a:gd name="connsiteX14" fmla="*/ 1213342 w 1213342"/>
                    <a:gd name="connsiteY14" fmla="*/ 1243012 h 2056196"/>
                    <a:gd name="connsiteX15" fmla="*/ 1208579 w 1213342"/>
                    <a:gd name="connsiteY15" fmla="*/ 1052512 h 2056196"/>
                    <a:gd name="connsiteX16" fmla="*/ 1189529 w 1213342"/>
                    <a:gd name="connsiteY16" fmla="*/ 995362 h 2056196"/>
                    <a:gd name="connsiteX17" fmla="*/ 1175242 w 1213342"/>
                    <a:gd name="connsiteY17" fmla="*/ 938212 h 2056196"/>
                    <a:gd name="connsiteX18" fmla="*/ 1160954 w 1213342"/>
                    <a:gd name="connsiteY18" fmla="*/ 857250 h 2056196"/>
                    <a:gd name="connsiteX19" fmla="*/ 1151429 w 1213342"/>
                    <a:gd name="connsiteY19" fmla="*/ 790575 h 2056196"/>
                    <a:gd name="connsiteX20" fmla="*/ 1151429 w 1213342"/>
                    <a:gd name="connsiteY20" fmla="*/ 304800 h 2056196"/>
                    <a:gd name="connsiteX21" fmla="*/ 1156192 w 1213342"/>
                    <a:gd name="connsiteY21" fmla="*/ 276225 h 2056196"/>
                    <a:gd name="connsiteX22" fmla="*/ 1160954 w 1213342"/>
                    <a:gd name="connsiteY22" fmla="*/ 233362 h 2056196"/>
                    <a:gd name="connsiteX23" fmla="*/ 1160954 w 1213342"/>
                    <a:gd name="connsiteY23" fmla="*/ 47625 h 2056196"/>
                    <a:gd name="connsiteX24" fmla="*/ 1132379 w 1213342"/>
                    <a:gd name="connsiteY24" fmla="*/ 42862 h 2056196"/>
                    <a:gd name="connsiteX25" fmla="*/ 1008554 w 1213342"/>
                    <a:gd name="connsiteY25" fmla="*/ 28575 h 2056196"/>
                    <a:gd name="connsiteX26" fmla="*/ 922829 w 1213342"/>
                    <a:gd name="connsiteY26" fmla="*/ 19050 h 2056196"/>
                    <a:gd name="connsiteX27" fmla="*/ 284654 w 1213342"/>
                    <a:gd name="connsiteY27" fmla="*/ 14287 h 2056196"/>
                    <a:gd name="connsiteX28" fmla="*/ 227504 w 1213342"/>
                    <a:gd name="connsiteY28" fmla="*/ 9525 h 2056196"/>
                    <a:gd name="connsiteX29" fmla="*/ 203692 w 1213342"/>
                    <a:gd name="connsiteY29" fmla="*/ 4762 h 2056196"/>
                    <a:gd name="connsiteX30" fmla="*/ 160829 w 1213342"/>
                    <a:gd name="connsiteY30" fmla="*/ 0 h 2056196"/>
                    <a:gd name="connsiteX31" fmla="*/ 60817 w 1213342"/>
                    <a:gd name="connsiteY31" fmla="*/ 19050 h 2056196"/>
                    <a:gd name="connsiteX32" fmla="*/ 41767 w 1213342"/>
                    <a:gd name="connsiteY32" fmla="*/ 23812 h 2056196"/>
                    <a:gd name="connsiteX33" fmla="*/ 3667 w 1213342"/>
                    <a:gd name="connsiteY33" fmla="*/ 38100 h 2056196"/>
                    <a:gd name="connsiteX34" fmla="*/ 3667 w 1213342"/>
                    <a:gd name="connsiteY34" fmla="*/ 190500 h 2056196"/>
                    <a:gd name="connsiteX35" fmla="*/ 22717 w 1213342"/>
                    <a:gd name="connsiteY35" fmla="*/ 285750 h 2056196"/>
                    <a:gd name="connsiteX36" fmla="*/ 27479 w 1213342"/>
                    <a:gd name="connsiteY36" fmla="*/ 919162 h 2056196"/>
                    <a:gd name="connsiteX37" fmla="*/ 17954 w 1213342"/>
                    <a:gd name="connsiteY37" fmla="*/ 1176337 h 2056196"/>
                    <a:gd name="connsiteX38" fmla="*/ 17954 w 1213342"/>
                    <a:gd name="connsiteY38" fmla="*/ 1976437 h 2056196"/>
                    <a:gd name="connsiteX39" fmla="*/ 37004 w 1213342"/>
                    <a:gd name="connsiteY39" fmla="*/ 2033587 h 2056196"/>
                    <a:gd name="connsiteX0" fmla="*/ 33706 w 1210044"/>
                    <a:gd name="connsiteY0" fmla="*/ 2033587 h 2056196"/>
                    <a:gd name="connsiteX1" fmla="*/ 228969 w 1210044"/>
                    <a:gd name="connsiteY1" fmla="*/ 2028825 h 2056196"/>
                    <a:gd name="connsiteX2" fmla="*/ 376606 w 1210044"/>
                    <a:gd name="connsiteY2" fmla="*/ 2014537 h 2056196"/>
                    <a:gd name="connsiteX3" fmla="*/ 581394 w 1210044"/>
                    <a:gd name="connsiteY3" fmla="*/ 2019300 h 2056196"/>
                    <a:gd name="connsiteX4" fmla="*/ 657594 w 1210044"/>
                    <a:gd name="connsiteY4" fmla="*/ 2028825 h 2056196"/>
                    <a:gd name="connsiteX5" fmla="*/ 1157656 w 1210044"/>
                    <a:gd name="connsiteY5" fmla="*/ 2028825 h 2056196"/>
                    <a:gd name="connsiteX6" fmla="*/ 1152894 w 1210044"/>
                    <a:gd name="connsiteY6" fmla="*/ 1681162 h 2056196"/>
                    <a:gd name="connsiteX7" fmla="*/ 1157656 w 1210044"/>
                    <a:gd name="connsiteY7" fmla="*/ 1609725 h 2056196"/>
                    <a:gd name="connsiteX8" fmla="*/ 1167181 w 1210044"/>
                    <a:gd name="connsiteY8" fmla="*/ 1562100 h 2056196"/>
                    <a:gd name="connsiteX9" fmla="*/ 1171944 w 1210044"/>
                    <a:gd name="connsiteY9" fmla="*/ 1524000 h 2056196"/>
                    <a:gd name="connsiteX10" fmla="*/ 1181469 w 1210044"/>
                    <a:gd name="connsiteY10" fmla="*/ 1457325 h 2056196"/>
                    <a:gd name="connsiteX11" fmla="*/ 1190994 w 1210044"/>
                    <a:gd name="connsiteY11" fmla="*/ 1390650 h 2056196"/>
                    <a:gd name="connsiteX12" fmla="*/ 1200519 w 1210044"/>
                    <a:gd name="connsiteY12" fmla="*/ 1352550 h 2056196"/>
                    <a:gd name="connsiteX13" fmla="*/ 1205281 w 1210044"/>
                    <a:gd name="connsiteY13" fmla="*/ 1281112 h 2056196"/>
                    <a:gd name="connsiteX14" fmla="*/ 1210044 w 1210044"/>
                    <a:gd name="connsiteY14" fmla="*/ 1243012 h 2056196"/>
                    <a:gd name="connsiteX15" fmla="*/ 1205281 w 1210044"/>
                    <a:gd name="connsiteY15" fmla="*/ 1052512 h 2056196"/>
                    <a:gd name="connsiteX16" fmla="*/ 1186231 w 1210044"/>
                    <a:gd name="connsiteY16" fmla="*/ 995362 h 2056196"/>
                    <a:gd name="connsiteX17" fmla="*/ 1171944 w 1210044"/>
                    <a:gd name="connsiteY17" fmla="*/ 938212 h 2056196"/>
                    <a:gd name="connsiteX18" fmla="*/ 1157656 w 1210044"/>
                    <a:gd name="connsiteY18" fmla="*/ 857250 h 2056196"/>
                    <a:gd name="connsiteX19" fmla="*/ 1148131 w 1210044"/>
                    <a:gd name="connsiteY19" fmla="*/ 790575 h 2056196"/>
                    <a:gd name="connsiteX20" fmla="*/ 1148131 w 1210044"/>
                    <a:gd name="connsiteY20" fmla="*/ 304800 h 2056196"/>
                    <a:gd name="connsiteX21" fmla="*/ 1152894 w 1210044"/>
                    <a:gd name="connsiteY21" fmla="*/ 276225 h 2056196"/>
                    <a:gd name="connsiteX22" fmla="*/ 1157656 w 1210044"/>
                    <a:gd name="connsiteY22" fmla="*/ 233362 h 2056196"/>
                    <a:gd name="connsiteX23" fmla="*/ 1157656 w 1210044"/>
                    <a:gd name="connsiteY23" fmla="*/ 47625 h 2056196"/>
                    <a:gd name="connsiteX24" fmla="*/ 1129081 w 1210044"/>
                    <a:gd name="connsiteY24" fmla="*/ 42862 h 2056196"/>
                    <a:gd name="connsiteX25" fmla="*/ 1005256 w 1210044"/>
                    <a:gd name="connsiteY25" fmla="*/ 28575 h 2056196"/>
                    <a:gd name="connsiteX26" fmla="*/ 919531 w 1210044"/>
                    <a:gd name="connsiteY26" fmla="*/ 19050 h 2056196"/>
                    <a:gd name="connsiteX27" fmla="*/ 281356 w 1210044"/>
                    <a:gd name="connsiteY27" fmla="*/ 14287 h 2056196"/>
                    <a:gd name="connsiteX28" fmla="*/ 224206 w 1210044"/>
                    <a:gd name="connsiteY28" fmla="*/ 9525 h 2056196"/>
                    <a:gd name="connsiteX29" fmla="*/ 200394 w 1210044"/>
                    <a:gd name="connsiteY29" fmla="*/ 4762 h 2056196"/>
                    <a:gd name="connsiteX30" fmla="*/ 157531 w 1210044"/>
                    <a:gd name="connsiteY30" fmla="*/ 0 h 2056196"/>
                    <a:gd name="connsiteX31" fmla="*/ 57519 w 1210044"/>
                    <a:gd name="connsiteY31" fmla="*/ 19050 h 2056196"/>
                    <a:gd name="connsiteX32" fmla="*/ 38469 w 1210044"/>
                    <a:gd name="connsiteY32" fmla="*/ 23812 h 2056196"/>
                    <a:gd name="connsiteX33" fmla="*/ 369 w 1210044"/>
                    <a:gd name="connsiteY33" fmla="*/ 190500 h 2056196"/>
                    <a:gd name="connsiteX34" fmla="*/ 19419 w 1210044"/>
                    <a:gd name="connsiteY34" fmla="*/ 285750 h 2056196"/>
                    <a:gd name="connsiteX35" fmla="*/ 24181 w 1210044"/>
                    <a:gd name="connsiteY35" fmla="*/ 919162 h 2056196"/>
                    <a:gd name="connsiteX36" fmla="*/ 14656 w 1210044"/>
                    <a:gd name="connsiteY36" fmla="*/ 1176337 h 2056196"/>
                    <a:gd name="connsiteX37" fmla="*/ 14656 w 1210044"/>
                    <a:gd name="connsiteY37" fmla="*/ 1976437 h 2056196"/>
                    <a:gd name="connsiteX38" fmla="*/ 33706 w 1210044"/>
                    <a:gd name="connsiteY38" fmla="*/ 2033587 h 2056196"/>
                    <a:gd name="connsiteX0" fmla="*/ 33706 w 1210044"/>
                    <a:gd name="connsiteY0" fmla="*/ 2033778 h 2056387"/>
                    <a:gd name="connsiteX1" fmla="*/ 228969 w 1210044"/>
                    <a:gd name="connsiteY1" fmla="*/ 2029016 h 2056387"/>
                    <a:gd name="connsiteX2" fmla="*/ 376606 w 1210044"/>
                    <a:gd name="connsiteY2" fmla="*/ 2014728 h 2056387"/>
                    <a:gd name="connsiteX3" fmla="*/ 581394 w 1210044"/>
                    <a:gd name="connsiteY3" fmla="*/ 2019491 h 2056387"/>
                    <a:gd name="connsiteX4" fmla="*/ 657594 w 1210044"/>
                    <a:gd name="connsiteY4" fmla="*/ 2029016 h 2056387"/>
                    <a:gd name="connsiteX5" fmla="*/ 1157656 w 1210044"/>
                    <a:gd name="connsiteY5" fmla="*/ 2029016 h 2056387"/>
                    <a:gd name="connsiteX6" fmla="*/ 1152894 w 1210044"/>
                    <a:gd name="connsiteY6" fmla="*/ 1681353 h 2056387"/>
                    <a:gd name="connsiteX7" fmla="*/ 1157656 w 1210044"/>
                    <a:gd name="connsiteY7" fmla="*/ 1609916 h 2056387"/>
                    <a:gd name="connsiteX8" fmla="*/ 1167181 w 1210044"/>
                    <a:gd name="connsiteY8" fmla="*/ 1562291 h 2056387"/>
                    <a:gd name="connsiteX9" fmla="*/ 1171944 w 1210044"/>
                    <a:gd name="connsiteY9" fmla="*/ 1524191 h 2056387"/>
                    <a:gd name="connsiteX10" fmla="*/ 1181469 w 1210044"/>
                    <a:gd name="connsiteY10" fmla="*/ 1457516 h 2056387"/>
                    <a:gd name="connsiteX11" fmla="*/ 1190994 w 1210044"/>
                    <a:gd name="connsiteY11" fmla="*/ 1390841 h 2056387"/>
                    <a:gd name="connsiteX12" fmla="*/ 1200519 w 1210044"/>
                    <a:gd name="connsiteY12" fmla="*/ 1352741 h 2056387"/>
                    <a:gd name="connsiteX13" fmla="*/ 1205281 w 1210044"/>
                    <a:gd name="connsiteY13" fmla="*/ 1281303 h 2056387"/>
                    <a:gd name="connsiteX14" fmla="*/ 1210044 w 1210044"/>
                    <a:gd name="connsiteY14" fmla="*/ 1243203 h 2056387"/>
                    <a:gd name="connsiteX15" fmla="*/ 1205281 w 1210044"/>
                    <a:gd name="connsiteY15" fmla="*/ 1052703 h 2056387"/>
                    <a:gd name="connsiteX16" fmla="*/ 1186231 w 1210044"/>
                    <a:gd name="connsiteY16" fmla="*/ 995553 h 2056387"/>
                    <a:gd name="connsiteX17" fmla="*/ 1171944 w 1210044"/>
                    <a:gd name="connsiteY17" fmla="*/ 938403 h 2056387"/>
                    <a:gd name="connsiteX18" fmla="*/ 1157656 w 1210044"/>
                    <a:gd name="connsiteY18" fmla="*/ 857441 h 2056387"/>
                    <a:gd name="connsiteX19" fmla="*/ 1148131 w 1210044"/>
                    <a:gd name="connsiteY19" fmla="*/ 790766 h 2056387"/>
                    <a:gd name="connsiteX20" fmla="*/ 1148131 w 1210044"/>
                    <a:gd name="connsiteY20" fmla="*/ 304991 h 2056387"/>
                    <a:gd name="connsiteX21" fmla="*/ 1152894 w 1210044"/>
                    <a:gd name="connsiteY21" fmla="*/ 276416 h 2056387"/>
                    <a:gd name="connsiteX22" fmla="*/ 1157656 w 1210044"/>
                    <a:gd name="connsiteY22" fmla="*/ 233553 h 2056387"/>
                    <a:gd name="connsiteX23" fmla="*/ 1157656 w 1210044"/>
                    <a:gd name="connsiteY23" fmla="*/ 47816 h 2056387"/>
                    <a:gd name="connsiteX24" fmla="*/ 1129081 w 1210044"/>
                    <a:gd name="connsiteY24" fmla="*/ 43053 h 2056387"/>
                    <a:gd name="connsiteX25" fmla="*/ 1005256 w 1210044"/>
                    <a:gd name="connsiteY25" fmla="*/ 28766 h 2056387"/>
                    <a:gd name="connsiteX26" fmla="*/ 919531 w 1210044"/>
                    <a:gd name="connsiteY26" fmla="*/ 19241 h 2056387"/>
                    <a:gd name="connsiteX27" fmla="*/ 281356 w 1210044"/>
                    <a:gd name="connsiteY27" fmla="*/ 14478 h 2056387"/>
                    <a:gd name="connsiteX28" fmla="*/ 224206 w 1210044"/>
                    <a:gd name="connsiteY28" fmla="*/ 9716 h 2056387"/>
                    <a:gd name="connsiteX29" fmla="*/ 157531 w 1210044"/>
                    <a:gd name="connsiteY29" fmla="*/ 191 h 2056387"/>
                    <a:gd name="connsiteX30" fmla="*/ 57519 w 1210044"/>
                    <a:gd name="connsiteY30" fmla="*/ 19241 h 2056387"/>
                    <a:gd name="connsiteX31" fmla="*/ 38469 w 1210044"/>
                    <a:gd name="connsiteY31" fmla="*/ 24003 h 2056387"/>
                    <a:gd name="connsiteX32" fmla="*/ 369 w 1210044"/>
                    <a:gd name="connsiteY32" fmla="*/ 190691 h 2056387"/>
                    <a:gd name="connsiteX33" fmla="*/ 19419 w 1210044"/>
                    <a:gd name="connsiteY33" fmla="*/ 285941 h 2056387"/>
                    <a:gd name="connsiteX34" fmla="*/ 24181 w 1210044"/>
                    <a:gd name="connsiteY34" fmla="*/ 919353 h 2056387"/>
                    <a:gd name="connsiteX35" fmla="*/ 14656 w 1210044"/>
                    <a:gd name="connsiteY35" fmla="*/ 1176528 h 2056387"/>
                    <a:gd name="connsiteX36" fmla="*/ 14656 w 1210044"/>
                    <a:gd name="connsiteY36" fmla="*/ 1976628 h 2056387"/>
                    <a:gd name="connsiteX37" fmla="*/ 33706 w 1210044"/>
                    <a:gd name="connsiteY37" fmla="*/ 2033778 h 2056387"/>
                    <a:gd name="connsiteX0" fmla="*/ 33706 w 1210044"/>
                    <a:gd name="connsiteY0" fmla="*/ 2024166 h 2046775"/>
                    <a:gd name="connsiteX1" fmla="*/ 228969 w 1210044"/>
                    <a:gd name="connsiteY1" fmla="*/ 2019404 h 2046775"/>
                    <a:gd name="connsiteX2" fmla="*/ 376606 w 1210044"/>
                    <a:gd name="connsiteY2" fmla="*/ 2005116 h 2046775"/>
                    <a:gd name="connsiteX3" fmla="*/ 581394 w 1210044"/>
                    <a:gd name="connsiteY3" fmla="*/ 2009879 h 2046775"/>
                    <a:gd name="connsiteX4" fmla="*/ 657594 w 1210044"/>
                    <a:gd name="connsiteY4" fmla="*/ 2019404 h 2046775"/>
                    <a:gd name="connsiteX5" fmla="*/ 1157656 w 1210044"/>
                    <a:gd name="connsiteY5" fmla="*/ 2019404 h 2046775"/>
                    <a:gd name="connsiteX6" fmla="*/ 1152894 w 1210044"/>
                    <a:gd name="connsiteY6" fmla="*/ 1671741 h 2046775"/>
                    <a:gd name="connsiteX7" fmla="*/ 1157656 w 1210044"/>
                    <a:gd name="connsiteY7" fmla="*/ 1600304 h 2046775"/>
                    <a:gd name="connsiteX8" fmla="*/ 1167181 w 1210044"/>
                    <a:gd name="connsiteY8" fmla="*/ 1552679 h 2046775"/>
                    <a:gd name="connsiteX9" fmla="*/ 1171944 w 1210044"/>
                    <a:gd name="connsiteY9" fmla="*/ 1514579 h 2046775"/>
                    <a:gd name="connsiteX10" fmla="*/ 1181469 w 1210044"/>
                    <a:gd name="connsiteY10" fmla="*/ 1447904 h 2046775"/>
                    <a:gd name="connsiteX11" fmla="*/ 1190994 w 1210044"/>
                    <a:gd name="connsiteY11" fmla="*/ 1381229 h 2046775"/>
                    <a:gd name="connsiteX12" fmla="*/ 1200519 w 1210044"/>
                    <a:gd name="connsiteY12" fmla="*/ 1343129 h 2046775"/>
                    <a:gd name="connsiteX13" fmla="*/ 1205281 w 1210044"/>
                    <a:gd name="connsiteY13" fmla="*/ 1271691 h 2046775"/>
                    <a:gd name="connsiteX14" fmla="*/ 1210044 w 1210044"/>
                    <a:gd name="connsiteY14" fmla="*/ 1233591 h 2046775"/>
                    <a:gd name="connsiteX15" fmla="*/ 1205281 w 1210044"/>
                    <a:gd name="connsiteY15" fmla="*/ 1043091 h 2046775"/>
                    <a:gd name="connsiteX16" fmla="*/ 1186231 w 1210044"/>
                    <a:gd name="connsiteY16" fmla="*/ 985941 h 2046775"/>
                    <a:gd name="connsiteX17" fmla="*/ 1171944 w 1210044"/>
                    <a:gd name="connsiteY17" fmla="*/ 928791 h 2046775"/>
                    <a:gd name="connsiteX18" fmla="*/ 1157656 w 1210044"/>
                    <a:gd name="connsiteY18" fmla="*/ 847829 h 2046775"/>
                    <a:gd name="connsiteX19" fmla="*/ 1148131 w 1210044"/>
                    <a:gd name="connsiteY19" fmla="*/ 781154 h 2046775"/>
                    <a:gd name="connsiteX20" fmla="*/ 1148131 w 1210044"/>
                    <a:gd name="connsiteY20" fmla="*/ 295379 h 2046775"/>
                    <a:gd name="connsiteX21" fmla="*/ 1152894 w 1210044"/>
                    <a:gd name="connsiteY21" fmla="*/ 266804 h 2046775"/>
                    <a:gd name="connsiteX22" fmla="*/ 1157656 w 1210044"/>
                    <a:gd name="connsiteY22" fmla="*/ 223941 h 2046775"/>
                    <a:gd name="connsiteX23" fmla="*/ 1157656 w 1210044"/>
                    <a:gd name="connsiteY23" fmla="*/ 38204 h 2046775"/>
                    <a:gd name="connsiteX24" fmla="*/ 1129081 w 1210044"/>
                    <a:gd name="connsiteY24" fmla="*/ 33441 h 2046775"/>
                    <a:gd name="connsiteX25" fmla="*/ 1005256 w 1210044"/>
                    <a:gd name="connsiteY25" fmla="*/ 19154 h 2046775"/>
                    <a:gd name="connsiteX26" fmla="*/ 919531 w 1210044"/>
                    <a:gd name="connsiteY26" fmla="*/ 9629 h 2046775"/>
                    <a:gd name="connsiteX27" fmla="*/ 281356 w 1210044"/>
                    <a:gd name="connsiteY27" fmla="*/ 4866 h 2046775"/>
                    <a:gd name="connsiteX28" fmla="*/ 224206 w 1210044"/>
                    <a:gd name="connsiteY28" fmla="*/ 104 h 2046775"/>
                    <a:gd name="connsiteX29" fmla="*/ 57519 w 1210044"/>
                    <a:gd name="connsiteY29" fmla="*/ 9629 h 2046775"/>
                    <a:gd name="connsiteX30" fmla="*/ 38469 w 1210044"/>
                    <a:gd name="connsiteY30" fmla="*/ 14391 h 2046775"/>
                    <a:gd name="connsiteX31" fmla="*/ 369 w 1210044"/>
                    <a:gd name="connsiteY31" fmla="*/ 181079 h 2046775"/>
                    <a:gd name="connsiteX32" fmla="*/ 19419 w 1210044"/>
                    <a:gd name="connsiteY32" fmla="*/ 276329 h 2046775"/>
                    <a:gd name="connsiteX33" fmla="*/ 24181 w 1210044"/>
                    <a:gd name="connsiteY33" fmla="*/ 909741 h 2046775"/>
                    <a:gd name="connsiteX34" fmla="*/ 14656 w 1210044"/>
                    <a:gd name="connsiteY34" fmla="*/ 1166916 h 2046775"/>
                    <a:gd name="connsiteX35" fmla="*/ 14656 w 1210044"/>
                    <a:gd name="connsiteY35" fmla="*/ 1967016 h 2046775"/>
                    <a:gd name="connsiteX36" fmla="*/ 33706 w 1210044"/>
                    <a:gd name="connsiteY36" fmla="*/ 2024166 h 2046775"/>
                    <a:gd name="connsiteX0" fmla="*/ 33706 w 1210044"/>
                    <a:gd name="connsiteY0" fmla="*/ 2023430 h 2046039"/>
                    <a:gd name="connsiteX1" fmla="*/ 228969 w 1210044"/>
                    <a:gd name="connsiteY1" fmla="*/ 2018668 h 2046039"/>
                    <a:gd name="connsiteX2" fmla="*/ 376606 w 1210044"/>
                    <a:gd name="connsiteY2" fmla="*/ 2004380 h 2046039"/>
                    <a:gd name="connsiteX3" fmla="*/ 581394 w 1210044"/>
                    <a:gd name="connsiteY3" fmla="*/ 2009143 h 2046039"/>
                    <a:gd name="connsiteX4" fmla="*/ 657594 w 1210044"/>
                    <a:gd name="connsiteY4" fmla="*/ 2018668 h 2046039"/>
                    <a:gd name="connsiteX5" fmla="*/ 1157656 w 1210044"/>
                    <a:gd name="connsiteY5" fmla="*/ 2018668 h 2046039"/>
                    <a:gd name="connsiteX6" fmla="*/ 1152894 w 1210044"/>
                    <a:gd name="connsiteY6" fmla="*/ 1671005 h 2046039"/>
                    <a:gd name="connsiteX7" fmla="*/ 1157656 w 1210044"/>
                    <a:gd name="connsiteY7" fmla="*/ 1599568 h 2046039"/>
                    <a:gd name="connsiteX8" fmla="*/ 1167181 w 1210044"/>
                    <a:gd name="connsiteY8" fmla="*/ 1551943 h 2046039"/>
                    <a:gd name="connsiteX9" fmla="*/ 1171944 w 1210044"/>
                    <a:gd name="connsiteY9" fmla="*/ 1513843 h 2046039"/>
                    <a:gd name="connsiteX10" fmla="*/ 1181469 w 1210044"/>
                    <a:gd name="connsiteY10" fmla="*/ 1447168 h 2046039"/>
                    <a:gd name="connsiteX11" fmla="*/ 1190994 w 1210044"/>
                    <a:gd name="connsiteY11" fmla="*/ 1380493 h 2046039"/>
                    <a:gd name="connsiteX12" fmla="*/ 1200519 w 1210044"/>
                    <a:gd name="connsiteY12" fmla="*/ 1342393 h 2046039"/>
                    <a:gd name="connsiteX13" fmla="*/ 1205281 w 1210044"/>
                    <a:gd name="connsiteY13" fmla="*/ 1270955 h 2046039"/>
                    <a:gd name="connsiteX14" fmla="*/ 1210044 w 1210044"/>
                    <a:gd name="connsiteY14" fmla="*/ 1232855 h 2046039"/>
                    <a:gd name="connsiteX15" fmla="*/ 1205281 w 1210044"/>
                    <a:gd name="connsiteY15" fmla="*/ 1042355 h 2046039"/>
                    <a:gd name="connsiteX16" fmla="*/ 1186231 w 1210044"/>
                    <a:gd name="connsiteY16" fmla="*/ 985205 h 2046039"/>
                    <a:gd name="connsiteX17" fmla="*/ 1171944 w 1210044"/>
                    <a:gd name="connsiteY17" fmla="*/ 928055 h 2046039"/>
                    <a:gd name="connsiteX18" fmla="*/ 1157656 w 1210044"/>
                    <a:gd name="connsiteY18" fmla="*/ 847093 h 2046039"/>
                    <a:gd name="connsiteX19" fmla="*/ 1148131 w 1210044"/>
                    <a:gd name="connsiteY19" fmla="*/ 780418 h 2046039"/>
                    <a:gd name="connsiteX20" fmla="*/ 1148131 w 1210044"/>
                    <a:gd name="connsiteY20" fmla="*/ 294643 h 2046039"/>
                    <a:gd name="connsiteX21" fmla="*/ 1152894 w 1210044"/>
                    <a:gd name="connsiteY21" fmla="*/ 266068 h 2046039"/>
                    <a:gd name="connsiteX22" fmla="*/ 1157656 w 1210044"/>
                    <a:gd name="connsiteY22" fmla="*/ 223205 h 2046039"/>
                    <a:gd name="connsiteX23" fmla="*/ 1157656 w 1210044"/>
                    <a:gd name="connsiteY23" fmla="*/ 37468 h 2046039"/>
                    <a:gd name="connsiteX24" fmla="*/ 1129081 w 1210044"/>
                    <a:gd name="connsiteY24" fmla="*/ 32705 h 2046039"/>
                    <a:gd name="connsiteX25" fmla="*/ 1005256 w 1210044"/>
                    <a:gd name="connsiteY25" fmla="*/ 18418 h 2046039"/>
                    <a:gd name="connsiteX26" fmla="*/ 919531 w 1210044"/>
                    <a:gd name="connsiteY26" fmla="*/ 8893 h 2046039"/>
                    <a:gd name="connsiteX27" fmla="*/ 281356 w 1210044"/>
                    <a:gd name="connsiteY27" fmla="*/ 4130 h 2046039"/>
                    <a:gd name="connsiteX28" fmla="*/ 57519 w 1210044"/>
                    <a:gd name="connsiteY28" fmla="*/ 8893 h 2046039"/>
                    <a:gd name="connsiteX29" fmla="*/ 38469 w 1210044"/>
                    <a:gd name="connsiteY29" fmla="*/ 13655 h 2046039"/>
                    <a:gd name="connsiteX30" fmla="*/ 369 w 1210044"/>
                    <a:gd name="connsiteY30" fmla="*/ 180343 h 2046039"/>
                    <a:gd name="connsiteX31" fmla="*/ 19419 w 1210044"/>
                    <a:gd name="connsiteY31" fmla="*/ 275593 h 2046039"/>
                    <a:gd name="connsiteX32" fmla="*/ 24181 w 1210044"/>
                    <a:gd name="connsiteY32" fmla="*/ 909005 h 2046039"/>
                    <a:gd name="connsiteX33" fmla="*/ 14656 w 1210044"/>
                    <a:gd name="connsiteY33" fmla="*/ 1166180 h 2046039"/>
                    <a:gd name="connsiteX34" fmla="*/ 14656 w 1210044"/>
                    <a:gd name="connsiteY34" fmla="*/ 1966280 h 2046039"/>
                    <a:gd name="connsiteX35" fmla="*/ 33706 w 1210044"/>
                    <a:gd name="connsiteY35" fmla="*/ 2023430 h 2046039"/>
                    <a:gd name="connsiteX0" fmla="*/ 33706 w 1210044"/>
                    <a:gd name="connsiteY0" fmla="*/ 2023430 h 2046039"/>
                    <a:gd name="connsiteX1" fmla="*/ 228969 w 1210044"/>
                    <a:gd name="connsiteY1" fmla="*/ 2018668 h 2046039"/>
                    <a:gd name="connsiteX2" fmla="*/ 376606 w 1210044"/>
                    <a:gd name="connsiteY2" fmla="*/ 2004380 h 2046039"/>
                    <a:gd name="connsiteX3" fmla="*/ 581394 w 1210044"/>
                    <a:gd name="connsiteY3" fmla="*/ 2009143 h 2046039"/>
                    <a:gd name="connsiteX4" fmla="*/ 657594 w 1210044"/>
                    <a:gd name="connsiteY4" fmla="*/ 2018668 h 2046039"/>
                    <a:gd name="connsiteX5" fmla="*/ 1157656 w 1210044"/>
                    <a:gd name="connsiteY5" fmla="*/ 2018668 h 2046039"/>
                    <a:gd name="connsiteX6" fmla="*/ 1152894 w 1210044"/>
                    <a:gd name="connsiteY6" fmla="*/ 1671005 h 2046039"/>
                    <a:gd name="connsiteX7" fmla="*/ 1157656 w 1210044"/>
                    <a:gd name="connsiteY7" fmla="*/ 1599568 h 2046039"/>
                    <a:gd name="connsiteX8" fmla="*/ 1167181 w 1210044"/>
                    <a:gd name="connsiteY8" fmla="*/ 1551943 h 2046039"/>
                    <a:gd name="connsiteX9" fmla="*/ 1171944 w 1210044"/>
                    <a:gd name="connsiteY9" fmla="*/ 1513843 h 2046039"/>
                    <a:gd name="connsiteX10" fmla="*/ 1181469 w 1210044"/>
                    <a:gd name="connsiteY10" fmla="*/ 1447168 h 2046039"/>
                    <a:gd name="connsiteX11" fmla="*/ 1190994 w 1210044"/>
                    <a:gd name="connsiteY11" fmla="*/ 1380493 h 2046039"/>
                    <a:gd name="connsiteX12" fmla="*/ 1200519 w 1210044"/>
                    <a:gd name="connsiteY12" fmla="*/ 1342393 h 2046039"/>
                    <a:gd name="connsiteX13" fmla="*/ 1205281 w 1210044"/>
                    <a:gd name="connsiteY13" fmla="*/ 1270955 h 2046039"/>
                    <a:gd name="connsiteX14" fmla="*/ 1210044 w 1210044"/>
                    <a:gd name="connsiteY14" fmla="*/ 1232855 h 2046039"/>
                    <a:gd name="connsiteX15" fmla="*/ 1205281 w 1210044"/>
                    <a:gd name="connsiteY15" fmla="*/ 1042355 h 2046039"/>
                    <a:gd name="connsiteX16" fmla="*/ 1186231 w 1210044"/>
                    <a:gd name="connsiteY16" fmla="*/ 985205 h 2046039"/>
                    <a:gd name="connsiteX17" fmla="*/ 1171944 w 1210044"/>
                    <a:gd name="connsiteY17" fmla="*/ 928055 h 2046039"/>
                    <a:gd name="connsiteX18" fmla="*/ 1157656 w 1210044"/>
                    <a:gd name="connsiteY18" fmla="*/ 847093 h 2046039"/>
                    <a:gd name="connsiteX19" fmla="*/ 1148131 w 1210044"/>
                    <a:gd name="connsiteY19" fmla="*/ 780418 h 2046039"/>
                    <a:gd name="connsiteX20" fmla="*/ 1148131 w 1210044"/>
                    <a:gd name="connsiteY20" fmla="*/ 294643 h 2046039"/>
                    <a:gd name="connsiteX21" fmla="*/ 1152894 w 1210044"/>
                    <a:gd name="connsiteY21" fmla="*/ 266068 h 2046039"/>
                    <a:gd name="connsiteX22" fmla="*/ 1157656 w 1210044"/>
                    <a:gd name="connsiteY22" fmla="*/ 223205 h 2046039"/>
                    <a:gd name="connsiteX23" fmla="*/ 1157656 w 1210044"/>
                    <a:gd name="connsiteY23" fmla="*/ 37468 h 2046039"/>
                    <a:gd name="connsiteX24" fmla="*/ 1129081 w 1210044"/>
                    <a:gd name="connsiteY24" fmla="*/ 32705 h 2046039"/>
                    <a:gd name="connsiteX25" fmla="*/ 1005256 w 1210044"/>
                    <a:gd name="connsiteY25" fmla="*/ 18418 h 2046039"/>
                    <a:gd name="connsiteX26" fmla="*/ 281356 w 1210044"/>
                    <a:gd name="connsiteY26" fmla="*/ 4130 h 2046039"/>
                    <a:gd name="connsiteX27" fmla="*/ 57519 w 1210044"/>
                    <a:gd name="connsiteY27" fmla="*/ 8893 h 2046039"/>
                    <a:gd name="connsiteX28" fmla="*/ 38469 w 1210044"/>
                    <a:gd name="connsiteY28" fmla="*/ 13655 h 2046039"/>
                    <a:gd name="connsiteX29" fmla="*/ 369 w 1210044"/>
                    <a:gd name="connsiteY29" fmla="*/ 180343 h 2046039"/>
                    <a:gd name="connsiteX30" fmla="*/ 19419 w 1210044"/>
                    <a:gd name="connsiteY30" fmla="*/ 275593 h 2046039"/>
                    <a:gd name="connsiteX31" fmla="*/ 24181 w 1210044"/>
                    <a:gd name="connsiteY31" fmla="*/ 909005 h 2046039"/>
                    <a:gd name="connsiteX32" fmla="*/ 14656 w 1210044"/>
                    <a:gd name="connsiteY32" fmla="*/ 1166180 h 2046039"/>
                    <a:gd name="connsiteX33" fmla="*/ 14656 w 1210044"/>
                    <a:gd name="connsiteY33" fmla="*/ 1966280 h 2046039"/>
                    <a:gd name="connsiteX34" fmla="*/ 33706 w 1210044"/>
                    <a:gd name="connsiteY34" fmla="*/ 2023430 h 2046039"/>
                    <a:gd name="connsiteX0" fmla="*/ 33706 w 1210044"/>
                    <a:gd name="connsiteY0" fmla="*/ 2023430 h 2046039"/>
                    <a:gd name="connsiteX1" fmla="*/ 228969 w 1210044"/>
                    <a:gd name="connsiteY1" fmla="*/ 2018668 h 2046039"/>
                    <a:gd name="connsiteX2" fmla="*/ 376606 w 1210044"/>
                    <a:gd name="connsiteY2" fmla="*/ 2004380 h 2046039"/>
                    <a:gd name="connsiteX3" fmla="*/ 581394 w 1210044"/>
                    <a:gd name="connsiteY3" fmla="*/ 2009143 h 2046039"/>
                    <a:gd name="connsiteX4" fmla="*/ 657594 w 1210044"/>
                    <a:gd name="connsiteY4" fmla="*/ 2018668 h 2046039"/>
                    <a:gd name="connsiteX5" fmla="*/ 1157656 w 1210044"/>
                    <a:gd name="connsiteY5" fmla="*/ 2018668 h 2046039"/>
                    <a:gd name="connsiteX6" fmla="*/ 1152894 w 1210044"/>
                    <a:gd name="connsiteY6" fmla="*/ 1671005 h 2046039"/>
                    <a:gd name="connsiteX7" fmla="*/ 1157656 w 1210044"/>
                    <a:gd name="connsiteY7" fmla="*/ 1599568 h 2046039"/>
                    <a:gd name="connsiteX8" fmla="*/ 1167181 w 1210044"/>
                    <a:gd name="connsiteY8" fmla="*/ 1551943 h 2046039"/>
                    <a:gd name="connsiteX9" fmla="*/ 1171944 w 1210044"/>
                    <a:gd name="connsiteY9" fmla="*/ 1513843 h 2046039"/>
                    <a:gd name="connsiteX10" fmla="*/ 1181469 w 1210044"/>
                    <a:gd name="connsiteY10" fmla="*/ 1447168 h 2046039"/>
                    <a:gd name="connsiteX11" fmla="*/ 1190994 w 1210044"/>
                    <a:gd name="connsiteY11" fmla="*/ 1380493 h 2046039"/>
                    <a:gd name="connsiteX12" fmla="*/ 1200519 w 1210044"/>
                    <a:gd name="connsiteY12" fmla="*/ 1342393 h 2046039"/>
                    <a:gd name="connsiteX13" fmla="*/ 1205281 w 1210044"/>
                    <a:gd name="connsiteY13" fmla="*/ 1270955 h 2046039"/>
                    <a:gd name="connsiteX14" fmla="*/ 1210044 w 1210044"/>
                    <a:gd name="connsiteY14" fmla="*/ 1232855 h 2046039"/>
                    <a:gd name="connsiteX15" fmla="*/ 1205281 w 1210044"/>
                    <a:gd name="connsiteY15" fmla="*/ 1042355 h 2046039"/>
                    <a:gd name="connsiteX16" fmla="*/ 1186231 w 1210044"/>
                    <a:gd name="connsiteY16" fmla="*/ 985205 h 2046039"/>
                    <a:gd name="connsiteX17" fmla="*/ 1171944 w 1210044"/>
                    <a:gd name="connsiteY17" fmla="*/ 928055 h 2046039"/>
                    <a:gd name="connsiteX18" fmla="*/ 1157656 w 1210044"/>
                    <a:gd name="connsiteY18" fmla="*/ 847093 h 2046039"/>
                    <a:gd name="connsiteX19" fmla="*/ 1148131 w 1210044"/>
                    <a:gd name="connsiteY19" fmla="*/ 780418 h 2046039"/>
                    <a:gd name="connsiteX20" fmla="*/ 1148131 w 1210044"/>
                    <a:gd name="connsiteY20" fmla="*/ 294643 h 2046039"/>
                    <a:gd name="connsiteX21" fmla="*/ 1152894 w 1210044"/>
                    <a:gd name="connsiteY21" fmla="*/ 266068 h 2046039"/>
                    <a:gd name="connsiteX22" fmla="*/ 1157656 w 1210044"/>
                    <a:gd name="connsiteY22" fmla="*/ 223205 h 2046039"/>
                    <a:gd name="connsiteX23" fmla="*/ 1157656 w 1210044"/>
                    <a:gd name="connsiteY23" fmla="*/ 37468 h 2046039"/>
                    <a:gd name="connsiteX24" fmla="*/ 1005256 w 1210044"/>
                    <a:gd name="connsiteY24" fmla="*/ 18418 h 2046039"/>
                    <a:gd name="connsiteX25" fmla="*/ 281356 w 1210044"/>
                    <a:gd name="connsiteY25" fmla="*/ 4130 h 2046039"/>
                    <a:gd name="connsiteX26" fmla="*/ 57519 w 1210044"/>
                    <a:gd name="connsiteY26" fmla="*/ 8893 h 2046039"/>
                    <a:gd name="connsiteX27" fmla="*/ 38469 w 1210044"/>
                    <a:gd name="connsiteY27" fmla="*/ 13655 h 2046039"/>
                    <a:gd name="connsiteX28" fmla="*/ 369 w 1210044"/>
                    <a:gd name="connsiteY28" fmla="*/ 180343 h 2046039"/>
                    <a:gd name="connsiteX29" fmla="*/ 19419 w 1210044"/>
                    <a:gd name="connsiteY29" fmla="*/ 275593 h 2046039"/>
                    <a:gd name="connsiteX30" fmla="*/ 24181 w 1210044"/>
                    <a:gd name="connsiteY30" fmla="*/ 909005 h 2046039"/>
                    <a:gd name="connsiteX31" fmla="*/ 14656 w 1210044"/>
                    <a:gd name="connsiteY31" fmla="*/ 1166180 h 2046039"/>
                    <a:gd name="connsiteX32" fmla="*/ 14656 w 1210044"/>
                    <a:gd name="connsiteY32" fmla="*/ 1966280 h 2046039"/>
                    <a:gd name="connsiteX33" fmla="*/ 33706 w 1210044"/>
                    <a:gd name="connsiteY33" fmla="*/ 2023430 h 2046039"/>
                    <a:gd name="connsiteX0" fmla="*/ 33706 w 1210044"/>
                    <a:gd name="connsiteY0" fmla="*/ 2023430 h 2046039"/>
                    <a:gd name="connsiteX1" fmla="*/ 228969 w 1210044"/>
                    <a:gd name="connsiteY1" fmla="*/ 2018668 h 2046039"/>
                    <a:gd name="connsiteX2" fmla="*/ 376606 w 1210044"/>
                    <a:gd name="connsiteY2" fmla="*/ 2004380 h 2046039"/>
                    <a:gd name="connsiteX3" fmla="*/ 581394 w 1210044"/>
                    <a:gd name="connsiteY3" fmla="*/ 2009143 h 2046039"/>
                    <a:gd name="connsiteX4" fmla="*/ 657594 w 1210044"/>
                    <a:gd name="connsiteY4" fmla="*/ 2018668 h 2046039"/>
                    <a:gd name="connsiteX5" fmla="*/ 1157656 w 1210044"/>
                    <a:gd name="connsiteY5" fmla="*/ 2018668 h 2046039"/>
                    <a:gd name="connsiteX6" fmla="*/ 1152894 w 1210044"/>
                    <a:gd name="connsiteY6" fmla="*/ 1671005 h 2046039"/>
                    <a:gd name="connsiteX7" fmla="*/ 1157656 w 1210044"/>
                    <a:gd name="connsiteY7" fmla="*/ 1599568 h 2046039"/>
                    <a:gd name="connsiteX8" fmla="*/ 1167181 w 1210044"/>
                    <a:gd name="connsiteY8" fmla="*/ 1551943 h 2046039"/>
                    <a:gd name="connsiteX9" fmla="*/ 1171944 w 1210044"/>
                    <a:gd name="connsiteY9" fmla="*/ 1513843 h 2046039"/>
                    <a:gd name="connsiteX10" fmla="*/ 1181469 w 1210044"/>
                    <a:gd name="connsiteY10" fmla="*/ 1447168 h 2046039"/>
                    <a:gd name="connsiteX11" fmla="*/ 1190994 w 1210044"/>
                    <a:gd name="connsiteY11" fmla="*/ 1380493 h 2046039"/>
                    <a:gd name="connsiteX12" fmla="*/ 1200519 w 1210044"/>
                    <a:gd name="connsiteY12" fmla="*/ 1342393 h 2046039"/>
                    <a:gd name="connsiteX13" fmla="*/ 1205281 w 1210044"/>
                    <a:gd name="connsiteY13" fmla="*/ 1270955 h 2046039"/>
                    <a:gd name="connsiteX14" fmla="*/ 1210044 w 1210044"/>
                    <a:gd name="connsiteY14" fmla="*/ 1232855 h 2046039"/>
                    <a:gd name="connsiteX15" fmla="*/ 1205281 w 1210044"/>
                    <a:gd name="connsiteY15" fmla="*/ 1042355 h 2046039"/>
                    <a:gd name="connsiteX16" fmla="*/ 1186231 w 1210044"/>
                    <a:gd name="connsiteY16" fmla="*/ 985205 h 2046039"/>
                    <a:gd name="connsiteX17" fmla="*/ 1171944 w 1210044"/>
                    <a:gd name="connsiteY17" fmla="*/ 928055 h 2046039"/>
                    <a:gd name="connsiteX18" fmla="*/ 1157656 w 1210044"/>
                    <a:gd name="connsiteY18" fmla="*/ 847093 h 2046039"/>
                    <a:gd name="connsiteX19" fmla="*/ 1148131 w 1210044"/>
                    <a:gd name="connsiteY19" fmla="*/ 780418 h 2046039"/>
                    <a:gd name="connsiteX20" fmla="*/ 1148131 w 1210044"/>
                    <a:gd name="connsiteY20" fmla="*/ 294643 h 2046039"/>
                    <a:gd name="connsiteX21" fmla="*/ 1152894 w 1210044"/>
                    <a:gd name="connsiteY21" fmla="*/ 266068 h 2046039"/>
                    <a:gd name="connsiteX22" fmla="*/ 1157656 w 1210044"/>
                    <a:gd name="connsiteY22" fmla="*/ 37468 h 2046039"/>
                    <a:gd name="connsiteX23" fmla="*/ 1005256 w 1210044"/>
                    <a:gd name="connsiteY23" fmla="*/ 18418 h 2046039"/>
                    <a:gd name="connsiteX24" fmla="*/ 281356 w 1210044"/>
                    <a:gd name="connsiteY24" fmla="*/ 4130 h 2046039"/>
                    <a:gd name="connsiteX25" fmla="*/ 57519 w 1210044"/>
                    <a:gd name="connsiteY25" fmla="*/ 8893 h 2046039"/>
                    <a:gd name="connsiteX26" fmla="*/ 38469 w 1210044"/>
                    <a:gd name="connsiteY26" fmla="*/ 13655 h 2046039"/>
                    <a:gd name="connsiteX27" fmla="*/ 369 w 1210044"/>
                    <a:gd name="connsiteY27" fmla="*/ 180343 h 2046039"/>
                    <a:gd name="connsiteX28" fmla="*/ 19419 w 1210044"/>
                    <a:gd name="connsiteY28" fmla="*/ 275593 h 2046039"/>
                    <a:gd name="connsiteX29" fmla="*/ 24181 w 1210044"/>
                    <a:gd name="connsiteY29" fmla="*/ 909005 h 2046039"/>
                    <a:gd name="connsiteX30" fmla="*/ 14656 w 1210044"/>
                    <a:gd name="connsiteY30" fmla="*/ 1166180 h 2046039"/>
                    <a:gd name="connsiteX31" fmla="*/ 14656 w 1210044"/>
                    <a:gd name="connsiteY31" fmla="*/ 1966280 h 2046039"/>
                    <a:gd name="connsiteX32" fmla="*/ 33706 w 1210044"/>
                    <a:gd name="connsiteY32" fmla="*/ 2023430 h 2046039"/>
                    <a:gd name="connsiteX0" fmla="*/ 33706 w 1210044"/>
                    <a:gd name="connsiteY0" fmla="*/ 2023430 h 2046039"/>
                    <a:gd name="connsiteX1" fmla="*/ 228969 w 1210044"/>
                    <a:gd name="connsiteY1" fmla="*/ 2018668 h 2046039"/>
                    <a:gd name="connsiteX2" fmla="*/ 376606 w 1210044"/>
                    <a:gd name="connsiteY2" fmla="*/ 2004380 h 2046039"/>
                    <a:gd name="connsiteX3" fmla="*/ 581394 w 1210044"/>
                    <a:gd name="connsiteY3" fmla="*/ 2009143 h 2046039"/>
                    <a:gd name="connsiteX4" fmla="*/ 657594 w 1210044"/>
                    <a:gd name="connsiteY4" fmla="*/ 2018668 h 2046039"/>
                    <a:gd name="connsiteX5" fmla="*/ 1157656 w 1210044"/>
                    <a:gd name="connsiteY5" fmla="*/ 2018668 h 2046039"/>
                    <a:gd name="connsiteX6" fmla="*/ 1152894 w 1210044"/>
                    <a:gd name="connsiteY6" fmla="*/ 1671005 h 2046039"/>
                    <a:gd name="connsiteX7" fmla="*/ 1157656 w 1210044"/>
                    <a:gd name="connsiteY7" fmla="*/ 1599568 h 2046039"/>
                    <a:gd name="connsiteX8" fmla="*/ 1167181 w 1210044"/>
                    <a:gd name="connsiteY8" fmla="*/ 1551943 h 2046039"/>
                    <a:gd name="connsiteX9" fmla="*/ 1171944 w 1210044"/>
                    <a:gd name="connsiteY9" fmla="*/ 1513843 h 2046039"/>
                    <a:gd name="connsiteX10" fmla="*/ 1181469 w 1210044"/>
                    <a:gd name="connsiteY10" fmla="*/ 1447168 h 2046039"/>
                    <a:gd name="connsiteX11" fmla="*/ 1190994 w 1210044"/>
                    <a:gd name="connsiteY11" fmla="*/ 1380493 h 2046039"/>
                    <a:gd name="connsiteX12" fmla="*/ 1200519 w 1210044"/>
                    <a:gd name="connsiteY12" fmla="*/ 1342393 h 2046039"/>
                    <a:gd name="connsiteX13" fmla="*/ 1205281 w 1210044"/>
                    <a:gd name="connsiteY13" fmla="*/ 1270955 h 2046039"/>
                    <a:gd name="connsiteX14" fmla="*/ 1210044 w 1210044"/>
                    <a:gd name="connsiteY14" fmla="*/ 1232855 h 2046039"/>
                    <a:gd name="connsiteX15" fmla="*/ 1205281 w 1210044"/>
                    <a:gd name="connsiteY15" fmla="*/ 1042355 h 2046039"/>
                    <a:gd name="connsiteX16" fmla="*/ 1186231 w 1210044"/>
                    <a:gd name="connsiteY16" fmla="*/ 985205 h 2046039"/>
                    <a:gd name="connsiteX17" fmla="*/ 1171944 w 1210044"/>
                    <a:gd name="connsiteY17" fmla="*/ 928055 h 2046039"/>
                    <a:gd name="connsiteX18" fmla="*/ 1157656 w 1210044"/>
                    <a:gd name="connsiteY18" fmla="*/ 847093 h 2046039"/>
                    <a:gd name="connsiteX19" fmla="*/ 1148131 w 1210044"/>
                    <a:gd name="connsiteY19" fmla="*/ 780418 h 2046039"/>
                    <a:gd name="connsiteX20" fmla="*/ 1148131 w 1210044"/>
                    <a:gd name="connsiteY20" fmla="*/ 294643 h 2046039"/>
                    <a:gd name="connsiteX21" fmla="*/ 1157656 w 1210044"/>
                    <a:gd name="connsiteY21" fmla="*/ 37468 h 2046039"/>
                    <a:gd name="connsiteX22" fmla="*/ 1005256 w 1210044"/>
                    <a:gd name="connsiteY22" fmla="*/ 18418 h 2046039"/>
                    <a:gd name="connsiteX23" fmla="*/ 281356 w 1210044"/>
                    <a:gd name="connsiteY23" fmla="*/ 4130 h 2046039"/>
                    <a:gd name="connsiteX24" fmla="*/ 57519 w 1210044"/>
                    <a:gd name="connsiteY24" fmla="*/ 8893 h 2046039"/>
                    <a:gd name="connsiteX25" fmla="*/ 38469 w 1210044"/>
                    <a:gd name="connsiteY25" fmla="*/ 13655 h 2046039"/>
                    <a:gd name="connsiteX26" fmla="*/ 369 w 1210044"/>
                    <a:gd name="connsiteY26" fmla="*/ 180343 h 2046039"/>
                    <a:gd name="connsiteX27" fmla="*/ 19419 w 1210044"/>
                    <a:gd name="connsiteY27" fmla="*/ 275593 h 2046039"/>
                    <a:gd name="connsiteX28" fmla="*/ 24181 w 1210044"/>
                    <a:gd name="connsiteY28" fmla="*/ 909005 h 2046039"/>
                    <a:gd name="connsiteX29" fmla="*/ 14656 w 1210044"/>
                    <a:gd name="connsiteY29" fmla="*/ 1166180 h 2046039"/>
                    <a:gd name="connsiteX30" fmla="*/ 14656 w 1210044"/>
                    <a:gd name="connsiteY30" fmla="*/ 1966280 h 2046039"/>
                    <a:gd name="connsiteX31" fmla="*/ 33706 w 1210044"/>
                    <a:gd name="connsiteY31" fmla="*/ 2023430 h 2046039"/>
                    <a:gd name="connsiteX0" fmla="*/ 33706 w 1210044"/>
                    <a:gd name="connsiteY0" fmla="*/ 2023430 h 2046039"/>
                    <a:gd name="connsiteX1" fmla="*/ 228969 w 1210044"/>
                    <a:gd name="connsiteY1" fmla="*/ 2018668 h 2046039"/>
                    <a:gd name="connsiteX2" fmla="*/ 376606 w 1210044"/>
                    <a:gd name="connsiteY2" fmla="*/ 2004380 h 2046039"/>
                    <a:gd name="connsiteX3" fmla="*/ 581394 w 1210044"/>
                    <a:gd name="connsiteY3" fmla="*/ 2009143 h 2046039"/>
                    <a:gd name="connsiteX4" fmla="*/ 657594 w 1210044"/>
                    <a:gd name="connsiteY4" fmla="*/ 2018668 h 2046039"/>
                    <a:gd name="connsiteX5" fmla="*/ 1157656 w 1210044"/>
                    <a:gd name="connsiteY5" fmla="*/ 2018668 h 2046039"/>
                    <a:gd name="connsiteX6" fmla="*/ 1152894 w 1210044"/>
                    <a:gd name="connsiteY6" fmla="*/ 1671005 h 2046039"/>
                    <a:gd name="connsiteX7" fmla="*/ 1157656 w 1210044"/>
                    <a:gd name="connsiteY7" fmla="*/ 1599568 h 2046039"/>
                    <a:gd name="connsiteX8" fmla="*/ 1167181 w 1210044"/>
                    <a:gd name="connsiteY8" fmla="*/ 1551943 h 2046039"/>
                    <a:gd name="connsiteX9" fmla="*/ 1171944 w 1210044"/>
                    <a:gd name="connsiteY9" fmla="*/ 1513843 h 2046039"/>
                    <a:gd name="connsiteX10" fmla="*/ 1181469 w 1210044"/>
                    <a:gd name="connsiteY10" fmla="*/ 1447168 h 2046039"/>
                    <a:gd name="connsiteX11" fmla="*/ 1190994 w 1210044"/>
                    <a:gd name="connsiteY11" fmla="*/ 1380493 h 2046039"/>
                    <a:gd name="connsiteX12" fmla="*/ 1200519 w 1210044"/>
                    <a:gd name="connsiteY12" fmla="*/ 1342393 h 2046039"/>
                    <a:gd name="connsiteX13" fmla="*/ 1205281 w 1210044"/>
                    <a:gd name="connsiteY13" fmla="*/ 1270955 h 2046039"/>
                    <a:gd name="connsiteX14" fmla="*/ 1210044 w 1210044"/>
                    <a:gd name="connsiteY14" fmla="*/ 1232855 h 2046039"/>
                    <a:gd name="connsiteX15" fmla="*/ 1205281 w 1210044"/>
                    <a:gd name="connsiteY15" fmla="*/ 1042355 h 2046039"/>
                    <a:gd name="connsiteX16" fmla="*/ 1186231 w 1210044"/>
                    <a:gd name="connsiteY16" fmla="*/ 985205 h 2046039"/>
                    <a:gd name="connsiteX17" fmla="*/ 1171944 w 1210044"/>
                    <a:gd name="connsiteY17" fmla="*/ 928055 h 2046039"/>
                    <a:gd name="connsiteX18" fmla="*/ 1157656 w 1210044"/>
                    <a:gd name="connsiteY18" fmla="*/ 847093 h 2046039"/>
                    <a:gd name="connsiteX19" fmla="*/ 1148131 w 1210044"/>
                    <a:gd name="connsiteY19" fmla="*/ 294643 h 2046039"/>
                    <a:gd name="connsiteX20" fmla="*/ 1157656 w 1210044"/>
                    <a:gd name="connsiteY20" fmla="*/ 37468 h 2046039"/>
                    <a:gd name="connsiteX21" fmla="*/ 1005256 w 1210044"/>
                    <a:gd name="connsiteY21" fmla="*/ 18418 h 2046039"/>
                    <a:gd name="connsiteX22" fmla="*/ 281356 w 1210044"/>
                    <a:gd name="connsiteY22" fmla="*/ 4130 h 2046039"/>
                    <a:gd name="connsiteX23" fmla="*/ 57519 w 1210044"/>
                    <a:gd name="connsiteY23" fmla="*/ 8893 h 2046039"/>
                    <a:gd name="connsiteX24" fmla="*/ 38469 w 1210044"/>
                    <a:gd name="connsiteY24" fmla="*/ 13655 h 2046039"/>
                    <a:gd name="connsiteX25" fmla="*/ 369 w 1210044"/>
                    <a:gd name="connsiteY25" fmla="*/ 180343 h 2046039"/>
                    <a:gd name="connsiteX26" fmla="*/ 19419 w 1210044"/>
                    <a:gd name="connsiteY26" fmla="*/ 275593 h 2046039"/>
                    <a:gd name="connsiteX27" fmla="*/ 24181 w 1210044"/>
                    <a:gd name="connsiteY27" fmla="*/ 909005 h 2046039"/>
                    <a:gd name="connsiteX28" fmla="*/ 14656 w 1210044"/>
                    <a:gd name="connsiteY28" fmla="*/ 1166180 h 2046039"/>
                    <a:gd name="connsiteX29" fmla="*/ 14656 w 1210044"/>
                    <a:gd name="connsiteY29" fmla="*/ 1966280 h 2046039"/>
                    <a:gd name="connsiteX30" fmla="*/ 33706 w 1210044"/>
                    <a:gd name="connsiteY30" fmla="*/ 2023430 h 2046039"/>
                    <a:gd name="connsiteX0" fmla="*/ 33706 w 1210220"/>
                    <a:gd name="connsiteY0" fmla="*/ 2023430 h 2046039"/>
                    <a:gd name="connsiteX1" fmla="*/ 228969 w 1210220"/>
                    <a:gd name="connsiteY1" fmla="*/ 2018668 h 2046039"/>
                    <a:gd name="connsiteX2" fmla="*/ 376606 w 1210220"/>
                    <a:gd name="connsiteY2" fmla="*/ 2004380 h 2046039"/>
                    <a:gd name="connsiteX3" fmla="*/ 581394 w 1210220"/>
                    <a:gd name="connsiteY3" fmla="*/ 2009143 h 2046039"/>
                    <a:gd name="connsiteX4" fmla="*/ 657594 w 1210220"/>
                    <a:gd name="connsiteY4" fmla="*/ 2018668 h 2046039"/>
                    <a:gd name="connsiteX5" fmla="*/ 1157656 w 1210220"/>
                    <a:gd name="connsiteY5" fmla="*/ 2018668 h 2046039"/>
                    <a:gd name="connsiteX6" fmla="*/ 1152894 w 1210220"/>
                    <a:gd name="connsiteY6" fmla="*/ 1671005 h 2046039"/>
                    <a:gd name="connsiteX7" fmla="*/ 1157656 w 1210220"/>
                    <a:gd name="connsiteY7" fmla="*/ 1599568 h 2046039"/>
                    <a:gd name="connsiteX8" fmla="*/ 1167181 w 1210220"/>
                    <a:gd name="connsiteY8" fmla="*/ 1551943 h 2046039"/>
                    <a:gd name="connsiteX9" fmla="*/ 1171944 w 1210220"/>
                    <a:gd name="connsiteY9" fmla="*/ 1513843 h 2046039"/>
                    <a:gd name="connsiteX10" fmla="*/ 1181469 w 1210220"/>
                    <a:gd name="connsiteY10" fmla="*/ 1447168 h 2046039"/>
                    <a:gd name="connsiteX11" fmla="*/ 1190994 w 1210220"/>
                    <a:gd name="connsiteY11" fmla="*/ 1380493 h 2046039"/>
                    <a:gd name="connsiteX12" fmla="*/ 1200519 w 1210220"/>
                    <a:gd name="connsiteY12" fmla="*/ 1342393 h 2046039"/>
                    <a:gd name="connsiteX13" fmla="*/ 1205281 w 1210220"/>
                    <a:gd name="connsiteY13" fmla="*/ 1270955 h 2046039"/>
                    <a:gd name="connsiteX14" fmla="*/ 1210044 w 1210220"/>
                    <a:gd name="connsiteY14" fmla="*/ 1232855 h 2046039"/>
                    <a:gd name="connsiteX15" fmla="*/ 1205281 w 1210220"/>
                    <a:gd name="connsiteY15" fmla="*/ 1042355 h 2046039"/>
                    <a:gd name="connsiteX16" fmla="*/ 1171944 w 1210220"/>
                    <a:gd name="connsiteY16" fmla="*/ 928055 h 2046039"/>
                    <a:gd name="connsiteX17" fmla="*/ 1157656 w 1210220"/>
                    <a:gd name="connsiteY17" fmla="*/ 847093 h 2046039"/>
                    <a:gd name="connsiteX18" fmla="*/ 1148131 w 1210220"/>
                    <a:gd name="connsiteY18" fmla="*/ 294643 h 2046039"/>
                    <a:gd name="connsiteX19" fmla="*/ 1157656 w 1210220"/>
                    <a:gd name="connsiteY19" fmla="*/ 37468 h 2046039"/>
                    <a:gd name="connsiteX20" fmla="*/ 1005256 w 1210220"/>
                    <a:gd name="connsiteY20" fmla="*/ 18418 h 2046039"/>
                    <a:gd name="connsiteX21" fmla="*/ 281356 w 1210220"/>
                    <a:gd name="connsiteY21" fmla="*/ 4130 h 2046039"/>
                    <a:gd name="connsiteX22" fmla="*/ 57519 w 1210220"/>
                    <a:gd name="connsiteY22" fmla="*/ 8893 h 2046039"/>
                    <a:gd name="connsiteX23" fmla="*/ 38469 w 1210220"/>
                    <a:gd name="connsiteY23" fmla="*/ 13655 h 2046039"/>
                    <a:gd name="connsiteX24" fmla="*/ 369 w 1210220"/>
                    <a:gd name="connsiteY24" fmla="*/ 180343 h 2046039"/>
                    <a:gd name="connsiteX25" fmla="*/ 19419 w 1210220"/>
                    <a:gd name="connsiteY25" fmla="*/ 275593 h 2046039"/>
                    <a:gd name="connsiteX26" fmla="*/ 24181 w 1210220"/>
                    <a:gd name="connsiteY26" fmla="*/ 909005 h 2046039"/>
                    <a:gd name="connsiteX27" fmla="*/ 14656 w 1210220"/>
                    <a:gd name="connsiteY27" fmla="*/ 1166180 h 2046039"/>
                    <a:gd name="connsiteX28" fmla="*/ 14656 w 1210220"/>
                    <a:gd name="connsiteY28" fmla="*/ 1966280 h 2046039"/>
                    <a:gd name="connsiteX29" fmla="*/ 33706 w 1210220"/>
                    <a:gd name="connsiteY29" fmla="*/ 2023430 h 2046039"/>
                    <a:gd name="connsiteX0" fmla="*/ 33706 w 1211812"/>
                    <a:gd name="connsiteY0" fmla="*/ 2023430 h 2046039"/>
                    <a:gd name="connsiteX1" fmla="*/ 228969 w 1211812"/>
                    <a:gd name="connsiteY1" fmla="*/ 2018668 h 2046039"/>
                    <a:gd name="connsiteX2" fmla="*/ 376606 w 1211812"/>
                    <a:gd name="connsiteY2" fmla="*/ 2004380 h 2046039"/>
                    <a:gd name="connsiteX3" fmla="*/ 581394 w 1211812"/>
                    <a:gd name="connsiteY3" fmla="*/ 2009143 h 2046039"/>
                    <a:gd name="connsiteX4" fmla="*/ 657594 w 1211812"/>
                    <a:gd name="connsiteY4" fmla="*/ 2018668 h 2046039"/>
                    <a:gd name="connsiteX5" fmla="*/ 1157656 w 1211812"/>
                    <a:gd name="connsiteY5" fmla="*/ 2018668 h 2046039"/>
                    <a:gd name="connsiteX6" fmla="*/ 1152894 w 1211812"/>
                    <a:gd name="connsiteY6" fmla="*/ 1671005 h 2046039"/>
                    <a:gd name="connsiteX7" fmla="*/ 1157656 w 1211812"/>
                    <a:gd name="connsiteY7" fmla="*/ 1599568 h 2046039"/>
                    <a:gd name="connsiteX8" fmla="*/ 1167181 w 1211812"/>
                    <a:gd name="connsiteY8" fmla="*/ 1551943 h 2046039"/>
                    <a:gd name="connsiteX9" fmla="*/ 1171944 w 1211812"/>
                    <a:gd name="connsiteY9" fmla="*/ 1513843 h 2046039"/>
                    <a:gd name="connsiteX10" fmla="*/ 1181469 w 1211812"/>
                    <a:gd name="connsiteY10" fmla="*/ 1447168 h 2046039"/>
                    <a:gd name="connsiteX11" fmla="*/ 1190994 w 1211812"/>
                    <a:gd name="connsiteY11" fmla="*/ 1380493 h 2046039"/>
                    <a:gd name="connsiteX12" fmla="*/ 1200519 w 1211812"/>
                    <a:gd name="connsiteY12" fmla="*/ 1342393 h 2046039"/>
                    <a:gd name="connsiteX13" fmla="*/ 1205281 w 1211812"/>
                    <a:gd name="connsiteY13" fmla="*/ 1270955 h 2046039"/>
                    <a:gd name="connsiteX14" fmla="*/ 1210044 w 1211812"/>
                    <a:gd name="connsiteY14" fmla="*/ 1232855 h 2046039"/>
                    <a:gd name="connsiteX15" fmla="*/ 1171944 w 1211812"/>
                    <a:gd name="connsiteY15" fmla="*/ 928055 h 2046039"/>
                    <a:gd name="connsiteX16" fmla="*/ 1157656 w 1211812"/>
                    <a:gd name="connsiteY16" fmla="*/ 847093 h 2046039"/>
                    <a:gd name="connsiteX17" fmla="*/ 1148131 w 1211812"/>
                    <a:gd name="connsiteY17" fmla="*/ 294643 h 2046039"/>
                    <a:gd name="connsiteX18" fmla="*/ 1157656 w 1211812"/>
                    <a:gd name="connsiteY18" fmla="*/ 37468 h 2046039"/>
                    <a:gd name="connsiteX19" fmla="*/ 1005256 w 1211812"/>
                    <a:gd name="connsiteY19" fmla="*/ 18418 h 2046039"/>
                    <a:gd name="connsiteX20" fmla="*/ 281356 w 1211812"/>
                    <a:gd name="connsiteY20" fmla="*/ 4130 h 2046039"/>
                    <a:gd name="connsiteX21" fmla="*/ 57519 w 1211812"/>
                    <a:gd name="connsiteY21" fmla="*/ 8893 h 2046039"/>
                    <a:gd name="connsiteX22" fmla="*/ 38469 w 1211812"/>
                    <a:gd name="connsiteY22" fmla="*/ 13655 h 2046039"/>
                    <a:gd name="connsiteX23" fmla="*/ 369 w 1211812"/>
                    <a:gd name="connsiteY23" fmla="*/ 180343 h 2046039"/>
                    <a:gd name="connsiteX24" fmla="*/ 19419 w 1211812"/>
                    <a:gd name="connsiteY24" fmla="*/ 275593 h 2046039"/>
                    <a:gd name="connsiteX25" fmla="*/ 24181 w 1211812"/>
                    <a:gd name="connsiteY25" fmla="*/ 909005 h 2046039"/>
                    <a:gd name="connsiteX26" fmla="*/ 14656 w 1211812"/>
                    <a:gd name="connsiteY26" fmla="*/ 1166180 h 2046039"/>
                    <a:gd name="connsiteX27" fmla="*/ 14656 w 1211812"/>
                    <a:gd name="connsiteY27" fmla="*/ 1966280 h 2046039"/>
                    <a:gd name="connsiteX28" fmla="*/ 33706 w 1211812"/>
                    <a:gd name="connsiteY28" fmla="*/ 2023430 h 2046039"/>
                    <a:gd name="connsiteX0" fmla="*/ 33706 w 1212804"/>
                    <a:gd name="connsiteY0" fmla="*/ 2023430 h 2046039"/>
                    <a:gd name="connsiteX1" fmla="*/ 228969 w 1212804"/>
                    <a:gd name="connsiteY1" fmla="*/ 2018668 h 2046039"/>
                    <a:gd name="connsiteX2" fmla="*/ 376606 w 1212804"/>
                    <a:gd name="connsiteY2" fmla="*/ 2004380 h 2046039"/>
                    <a:gd name="connsiteX3" fmla="*/ 581394 w 1212804"/>
                    <a:gd name="connsiteY3" fmla="*/ 2009143 h 2046039"/>
                    <a:gd name="connsiteX4" fmla="*/ 657594 w 1212804"/>
                    <a:gd name="connsiteY4" fmla="*/ 2018668 h 2046039"/>
                    <a:gd name="connsiteX5" fmla="*/ 1157656 w 1212804"/>
                    <a:gd name="connsiteY5" fmla="*/ 2018668 h 2046039"/>
                    <a:gd name="connsiteX6" fmla="*/ 1152894 w 1212804"/>
                    <a:gd name="connsiteY6" fmla="*/ 1671005 h 2046039"/>
                    <a:gd name="connsiteX7" fmla="*/ 1157656 w 1212804"/>
                    <a:gd name="connsiteY7" fmla="*/ 1599568 h 2046039"/>
                    <a:gd name="connsiteX8" fmla="*/ 1167181 w 1212804"/>
                    <a:gd name="connsiteY8" fmla="*/ 1551943 h 2046039"/>
                    <a:gd name="connsiteX9" fmla="*/ 1171944 w 1212804"/>
                    <a:gd name="connsiteY9" fmla="*/ 1513843 h 2046039"/>
                    <a:gd name="connsiteX10" fmla="*/ 1181469 w 1212804"/>
                    <a:gd name="connsiteY10" fmla="*/ 1447168 h 2046039"/>
                    <a:gd name="connsiteX11" fmla="*/ 1190994 w 1212804"/>
                    <a:gd name="connsiteY11" fmla="*/ 1380493 h 2046039"/>
                    <a:gd name="connsiteX12" fmla="*/ 1200519 w 1212804"/>
                    <a:gd name="connsiteY12" fmla="*/ 1342393 h 2046039"/>
                    <a:gd name="connsiteX13" fmla="*/ 1205281 w 1212804"/>
                    <a:gd name="connsiteY13" fmla="*/ 1270955 h 2046039"/>
                    <a:gd name="connsiteX14" fmla="*/ 1210044 w 1212804"/>
                    <a:gd name="connsiteY14" fmla="*/ 1232855 h 2046039"/>
                    <a:gd name="connsiteX15" fmla="*/ 1157656 w 1212804"/>
                    <a:gd name="connsiteY15" fmla="*/ 847093 h 2046039"/>
                    <a:gd name="connsiteX16" fmla="*/ 1148131 w 1212804"/>
                    <a:gd name="connsiteY16" fmla="*/ 294643 h 2046039"/>
                    <a:gd name="connsiteX17" fmla="*/ 1157656 w 1212804"/>
                    <a:gd name="connsiteY17" fmla="*/ 37468 h 2046039"/>
                    <a:gd name="connsiteX18" fmla="*/ 1005256 w 1212804"/>
                    <a:gd name="connsiteY18" fmla="*/ 18418 h 2046039"/>
                    <a:gd name="connsiteX19" fmla="*/ 281356 w 1212804"/>
                    <a:gd name="connsiteY19" fmla="*/ 4130 h 2046039"/>
                    <a:gd name="connsiteX20" fmla="*/ 57519 w 1212804"/>
                    <a:gd name="connsiteY20" fmla="*/ 8893 h 2046039"/>
                    <a:gd name="connsiteX21" fmla="*/ 38469 w 1212804"/>
                    <a:gd name="connsiteY21" fmla="*/ 13655 h 2046039"/>
                    <a:gd name="connsiteX22" fmla="*/ 369 w 1212804"/>
                    <a:gd name="connsiteY22" fmla="*/ 180343 h 2046039"/>
                    <a:gd name="connsiteX23" fmla="*/ 19419 w 1212804"/>
                    <a:gd name="connsiteY23" fmla="*/ 275593 h 2046039"/>
                    <a:gd name="connsiteX24" fmla="*/ 24181 w 1212804"/>
                    <a:gd name="connsiteY24" fmla="*/ 909005 h 2046039"/>
                    <a:gd name="connsiteX25" fmla="*/ 14656 w 1212804"/>
                    <a:gd name="connsiteY25" fmla="*/ 1166180 h 2046039"/>
                    <a:gd name="connsiteX26" fmla="*/ 14656 w 1212804"/>
                    <a:gd name="connsiteY26" fmla="*/ 1966280 h 2046039"/>
                    <a:gd name="connsiteX27" fmla="*/ 33706 w 1212804"/>
                    <a:gd name="connsiteY27" fmla="*/ 2023430 h 2046039"/>
                    <a:gd name="connsiteX0" fmla="*/ 33706 w 1207774"/>
                    <a:gd name="connsiteY0" fmla="*/ 2023430 h 2046039"/>
                    <a:gd name="connsiteX1" fmla="*/ 228969 w 1207774"/>
                    <a:gd name="connsiteY1" fmla="*/ 2018668 h 2046039"/>
                    <a:gd name="connsiteX2" fmla="*/ 376606 w 1207774"/>
                    <a:gd name="connsiteY2" fmla="*/ 2004380 h 2046039"/>
                    <a:gd name="connsiteX3" fmla="*/ 581394 w 1207774"/>
                    <a:gd name="connsiteY3" fmla="*/ 2009143 h 2046039"/>
                    <a:gd name="connsiteX4" fmla="*/ 657594 w 1207774"/>
                    <a:gd name="connsiteY4" fmla="*/ 2018668 h 2046039"/>
                    <a:gd name="connsiteX5" fmla="*/ 1157656 w 1207774"/>
                    <a:gd name="connsiteY5" fmla="*/ 2018668 h 2046039"/>
                    <a:gd name="connsiteX6" fmla="*/ 1152894 w 1207774"/>
                    <a:gd name="connsiteY6" fmla="*/ 1671005 h 2046039"/>
                    <a:gd name="connsiteX7" fmla="*/ 1157656 w 1207774"/>
                    <a:gd name="connsiteY7" fmla="*/ 1599568 h 2046039"/>
                    <a:gd name="connsiteX8" fmla="*/ 1167181 w 1207774"/>
                    <a:gd name="connsiteY8" fmla="*/ 1551943 h 2046039"/>
                    <a:gd name="connsiteX9" fmla="*/ 1171944 w 1207774"/>
                    <a:gd name="connsiteY9" fmla="*/ 1513843 h 2046039"/>
                    <a:gd name="connsiteX10" fmla="*/ 1181469 w 1207774"/>
                    <a:gd name="connsiteY10" fmla="*/ 1447168 h 2046039"/>
                    <a:gd name="connsiteX11" fmla="*/ 1190994 w 1207774"/>
                    <a:gd name="connsiteY11" fmla="*/ 1380493 h 2046039"/>
                    <a:gd name="connsiteX12" fmla="*/ 1200519 w 1207774"/>
                    <a:gd name="connsiteY12" fmla="*/ 1342393 h 2046039"/>
                    <a:gd name="connsiteX13" fmla="*/ 1205281 w 1207774"/>
                    <a:gd name="connsiteY13" fmla="*/ 1270955 h 2046039"/>
                    <a:gd name="connsiteX14" fmla="*/ 1157656 w 1207774"/>
                    <a:gd name="connsiteY14" fmla="*/ 847093 h 2046039"/>
                    <a:gd name="connsiteX15" fmla="*/ 1148131 w 1207774"/>
                    <a:gd name="connsiteY15" fmla="*/ 294643 h 2046039"/>
                    <a:gd name="connsiteX16" fmla="*/ 1157656 w 1207774"/>
                    <a:gd name="connsiteY16" fmla="*/ 37468 h 2046039"/>
                    <a:gd name="connsiteX17" fmla="*/ 1005256 w 1207774"/>
                    <a:gd name="connsiteY17" fmla="*/ 18418 h 2046039"/>
                    <a:gd name="connsiteX18" fmla="*/ 281356 w 1207774"/>
                    <a:gd name="connsiteY18" fmla="*/ 4130 h 2046039"/>
                    <a:gd name="connsiteX19" fmla="*/ 57519 w 1207774"/>
                    <a:gd name="connsiteY19" fmla="*/ 8893 h 2046039"/>
                    <a:gd name="connsiteX20" fmla="*/ 38469 w 1207774"/>
                    <a:gd name="connsiteY20" fmla="*/ 13655 h 2046039"/>
                    <a:gd name="connsiteX21" fmla="*/ 369 w 1207774"/>
                    <a:gd name="connsiteY21" fmla="*/ 180343 h 2046039"/>
                    <a:gd name="connsiteX22" fmla="*/ 19419 w 1207774"/>
                    <a:gd name="connsiteY22" fmla="*/ 275593 h 2046039"/>
                    <a:gd name="connsiteX23" fmla="*/ 24181 w 1207774"/>
                    <a:gd name="connsiteY23" fmla="*/ 909005 h 2046039"/>
                    <a:gd name="connsiteX24" fmla="*/ 14656 w 1207774"/>
                    <a:gd name="connsiteY24" fmla="*/ 1166180 h 2046039"/>
                    <a:gd name="connsiteX25" fmla="*/ 14656 w 1207774"/>
                    <a:gd name="connsiteY25" fmla="*/ 1966280 h 2046039"/>
                    <a:gd name="connsiteX26" fmla="*/ 33706 w 1207774"/>
                    <a:gd name="connsiteY26" fmla="*/ 2023430 h 2046039"/>
                    <a:gd name="connsiteX0" fmla="*/ 33706 w 1200519"/>
                    <a:gd name="connsiteY0" fmla="*/ 2023430 h 2046039"/>
                    <a:gd name="connsiteX1" fmla="*/ 228969 w 1200519"/>
                    <a:gd name="connsiteY1" fmla="*/ 2018668 h 2046039"/>
                    <a:gd name="connsiteX2" fmla="*/ 376606 w 1200519"/>
                    <a:gd name="connsiteY2" fmla="*/ 2004380 h 2046039"/>
                    <a:gd name="connsiteX3" fmla="*/ 581394 w 1200519"/>
                    <a:gd name="connsiteY3" fmla="*/ 2009143 h 2046039"/>
                    <a:gd name="connsiteX4" fmla="*/ 657594 w 1200519"/>
                    <a:gd name="connsiteY4" fmla="*/ 2018668 h 2046039"/>
                    <a:gd name="connsiteX5" fmla="*/ 1157656 w 1200519"/>
                    <a:gd name="connsiteY5" fmla="*/ 2018668 h 2046039"/>
                    <a:gd name="connsiteX6" fmla="*/ 1152894 w 1200519"/>
                    <a:gd name="connsiteY6" fmla="*/ 1671005 h 2046039"/>
                    <a:gd name="connsiteX7" fmla="*/ 1157656 w 1200519"/>
                    <a:gd name="connsiteY7" fmla="*/ 1599568 h 2046039"/>
                    <a:gd name="connsiteX8" fmla="*/ 1167181 w 1200519"/>
                    <a:gd name="connsiteY8" fmla="*/ 1551943 h 2046039"/>
                    <a:gd name="connsiteX9" fmla="*/ 1171944 w 1200519"/>
                    <a:gd name="connsiteY9" fmla="*/ 1513843 h 2046039"/>
                    <a:gd name="connsiteX10" fmla="*/ 1181469 w 1200519"/>
                    <a:gd name="connsiteY10" fmla="*/ 1447168 h 2046039"/>
                    <a:gd name="connsiteX11" fmla="*/ 1190994 w 1200519"/>
                    <a:gd name="connsiteY11" fmla="*/ 1380493 h 2046039"/>
                    <a:gd name="connsiteX12" fmla="*/ 1200519 w 1200519"/>
                    <a:gd name="connsiteY12" fmla="*/ 1342393 h 2046039"/>
                    <a:gd name="connsiteX13" fmla="*/ 1157656 w 1200519"/>
                    <a:gd name="connsiteY13" fmla="*/ 847093 h 2046039"/>
                    <a:gd name="connsiteX14" fmla="*/ 1148131 w 1200519"/>
                    <a:gd name="connsiteY14" fmla="*/ 294643 h 2046039"/>
                    <a:gd name="connsiteX15" fmla="*/ 1157656 w 1200519"/>
                    <a:gd name="connsiteY15" fmla="*/ 37468 h 2046039"/>
                    <a:gd name="connsiteX16" fmla="*/ 1005256 w 1200519"/>
                    <a:gd name="connsiteY16" fmla="*/ 18418 h 2046039"/>
                    <a:gd name="connsiteX17" fmla="*/ 281356 w 1200519"/>
                    <a:gd name="connsiteY17" fmla="*/ 4130 h 2046039"/>
                    <a:gd name="connsiteX18" fmla="*/ 57519 w 1200519"/>
                    <a:gd name="connsiteY18" fmla="*/ 8893 h 2046039"/>
                    <a:gd name="connsiteX19" fmla="*/ 38469 w 1200519"/>
                    <a:gd name="connsiteY19" fmla="*/ 13655 h 2046039"/>
                    <a:gd name="connsiteX20" fmla="*/ 369 w 1200519"/>
                    <a:gd name="connsiteY20" fmla="*/ 180343 h 2046039"/>
                    <a:gd name="connsiteX21" fmla="*/ 19419 w 1200519"/>
                    <a:gd name="connsiteY21" fmla="*/ 275593 h 2046039"/>
                    <a:gd name="connsiteX22" fmla="*/ 24181 w 1200519"/>
                    <a:gd name="connsiteY22" fmla="*/ 909005 h 2046039"/>
                    <a:gd name="connsiteX23" fmla="*/ 14656 w 1200519"/>
                    <a:gd name="connsiteY23" fmla="*/ 1166180 h 2046039"/>
                    <a:gd name="connsiteX24" fmla="*/ 14656 w 1200519"/>
                    <a:gd name="connsiteY24" fmla="*/ 1966280 h 2046039"/>
                    <a:gd name="connsiteX25" fmla="*/ 33706 w 1200519"/>
                    <a:gd name="connsiteY25" fmla="*/ 2023430 h 2046039"/>
                    <a:gd name="connsiteX0" fmla="*/ 33706 w 1201079"/>
                    <a:gd name="connsiteY0" fmla="*/ 2023430 h 2046039"/>
                    <a:gd name="connsiteX1" fmla="*/ 228969 w 1201079"/>
                    <a:gd name="connsiteY1" fmla="*/ 2018668 h 2046039"/>
                    <a:gd name="connsiteX2" fmla="*/ 376606 w 1201079"/>
                    <a:gd name="connsiteY2" fmla="*/ 2004380 h 2046039"/>
                    <a:gd name="connsiteX3" fmla="*/ 581394 w 1201079"/>
                    <a:gd name="connsiteY3" fmla="*/ 2009143 h 2046039"/>
                    <a:gd name="connsiteX4" fmla="*/ 657594 w 1201079"/>
                    <a:gd name="connsiteY4" fmla="*/ 2018668 h 2046039"/>
                    <a:gd name="connsiteX5" fmla="*/ 1157656 w 1201079"/>
                    <a:gd name="connsiteY5" fmla="*/ 2018668 h 2046039"/>
                    <a:gd name="connsiteX6" fmla="*/ 1152894 w 1201079"/>
                    <a:gd name="connsiteY6" fmla="*/ 1671005 h 2046039"/>
                    <a:gd name="connsiteX7" fmla="*/ 1157656 w 1201079"/>
                    <a:gd name="connsiteY7" fmla="*/ 1599568 h 2046039"/>
                    <a:gd name="connsiteX8" fmla="*/ 1167181 w 1201079"/>
                    <a:gd name="connsiteY8" fmla="*/ 1551943 h 2046039"/>
                    <a:gd name="connsiteX9" fmla="*/ 1171944 w 1201079"/>
                    <a:gd name="connsiteY9" fmla="*/ 1513843 h 2046039"/>
                    <a:gd name="connsiteX10" fmla="*/ 1181469 w 1201079"/>
                    <a:gd name="connsiteY10" fmla="*/ 1447168 h 2046039"/>
                    <a:gd name="connsiteX11" fmla="*/ 1200519 w 1201079"/>
                    <a:gd name="connsiteY11" fmla="*/ 1342393 h 2046039"/>
                    <a:gd name="connsiteX12" fmla="*/ 1157656 w 1201079"/>
                    <a:gd name="connsiteY12" fmla="*/ 847093 h 2046039"/>
                    <a:gd name="connsiteX13" fmla="*/ 1148131 w 1201079"/>
                    <a:gd name="connsiteY13" fmla="*/ 294643 h 2046039"/>
                    <a:gd name="connsiteX14" fmla="*/ 1157656 w 1201079"/>
                    <a:gd name="connsiteY14" fmla="*/ 37468 h 2046039"/>
                    <a:gd name="connsiteX15" fmla="*/ 1005256 w 1201079"/>
                    <a:gd name="connsiteY15" fmla="*/ 18418 h 2046039"/>
                    <a:gd name="connsiteX16" fmla="*/ 281356 w 1201079"/>
                    <a:gd name="connsiteY16" fmla="*/ 4130 h 2046039"/>
                    <a:gd name="connsiteX17" fmla="*/ 57519 w 1201079"/>
                    <a:gd name="connsiteY17" fmla="*/ 8893 h 2046039"/>
                    <a:gd name="connsiteX18" fmla="*/ 38469 w 1201079"/>
                    <a:gd name="connsiteY18" fmla="*/ 13655 h 2046039"/>
                    <a:gd name="connsiteX19" fmla="*/ 369 w 1201079"/>
                    <a:gd name="connsiteY19" fmla="*/ 180343 h 2046039"/>
                    <a:gd name="connsiteX20" fmla="*/ 19419 w 1201079"/>
                    <a:gd name="connsiteY20" fmla="*/ 275593 h 2046039"/>
                    <a:gd name="connsiteX21" fmla="*/ 24181 w 1201079"/>
                    <a:gd name="connsiteY21" fmla="*/ 909005 h 2046039"/>
                    <a:gd name="connsiteX22" fmla="*/ 14656 w 1201079"/>
                    <a:gd name="connsiteY22" fmla="*/ 1166180 h 2046039"/>
                    <a:gd name="connsiteX23" fmla="*/ 14656 w 1201079"/>
                    <a:gd name="connsiteY23" fmla="*/ 1966280 h 2046039"/>
                    <a:gd name="connsiteX24" fmla="*/ 33706 w 1201079"/>
                    <a:gd name="connsiteY24" fmla="*/ 2023430 h 2046039"/>
                    <a:gd name="connsiteX0" fmla="*/ 33706 w 1194053"/>
                    <a:gd name="connsiteY0" fmla="*/ 2023430 h 2046039"/>
                    <a:gd name="connsiteX1" fmla="*/ 228969 w 1194053"/>
                    <a:gd name="connsiteY1" fmla="*/ 2018668 h 2046039"/>
                    <a:gd name="connsiteX2" fmla="*/ 376606 w 1194053"/>
                    <a:gd name="connsiteY2" fmla="*/ 2004380 h 2046039"/>
                    <a:gd name="connsiteX3" fmla="*/ 581394 w 1194053"/>
                    <a:gd name="connsiteY3" fmla="*/ 2009143 h 2046039"/>
                    <a:gd name="connsiteX4" fmla="*/ 657594 w 1194053"/>
                    <a:gd name="connsiteY4" fmla="*/ 2018668 h 2046039"/>
                    <a:gd name="connsiteX5" fmla="*/ 1157656 w 1194053"/>
                    <a:gd name="connsiteY5" fmla="*/ 2018668 h 2046039"/>
                    <a:gd name="connsiteX6" fmla="*/ 1152894 w 1194053"/>
                    <a:gd name="connsiteY6" fmla="*/ 1671005 h 2046039"/>
                    <a:gd name="connsiteX7" fmla="*/ 1157656 w 1194053"/>
                    <a:gd name="connsiteY7" fmla="*/ 1599568 h 2046039"/>
                    <a:gd name="connsiteX8" fmla="*/ 1167181 w 1194053"/>
                    <a:gd name="connsiteY8" fmla="*/ 1551943 h 2046039"/>
                    <a:gd name="connsiteX9" fmla="*/ 1171944 w 1194053"/>
                    <a:gd name="connsiteY9" fmla="*/ 1513843 h 2046039"/>
                    <a:gd name="connsiteX10" fmla="*/ 1181469 w 1194053"/>
                    <a:gd name="connsiteY10" fmla="*/ 1447168 h 2046039"/>
                    <a:gd name="connsiteX11" fmla="*/ 1157656 w 1194053"/>
                    <a:gd name="connsiteY11" fmla="*/ 847093 h 2046039"/>
                    <a:gd name="connsiteX12" fmla="*/ 1148131 w 1194053"/>
                    <a:gd name="connsiteY12" fmla="*/ 294643 h 2046039"/>
                    <a:gd name="connsiteX13" fmla="*/ 1157656 w 1194053"/>
                    <a:gd name="connsiteY13" fmla="*/ 37468 h 2046039"/>
                    <a:gd name="connsiteX14" fmla="*/ 1005256 w 1194053"/>
                    <a:gd name="connsiteY14" fmla="*/ 18418 h 2046039"/>
                    <a:gd name="connsiteX15" fmla="*/ 281356 w 1194053"/>
                    <a:gd name="connsiteY15" fmla="*/ 4130 h 2046039"/>
                    <a:gd name="connsiteX16" fmla="*/ 57519 w 1194053"/>
                    <a:gd name="connsiteY16" fmla="*/ 8893 h 2046039"/>
                    <a:gd name="connsiteX17" fmla="*/ 38469 w 1194053"/>
                    <a:gd name="connsiteY17" fmla="*/ 13655 h 2046039"/>
                    <a:gd name="connsiteX18" fmla="*/ 369 w 1194053"/>
                    <a:gd name="connsiteY18" fmla="*/ 180343 h 2046039"/>
                    <a:gd name="connsiteX19" fmla="*/ 19419 w 1194053"/>
                    <a:gd name="connsiteY19" fmla="*/ 275593 h 2046039"/>
                    <a:gd name="connsiteX20" fmla="*/ 24181 w 1194053"/>
                    <a:gd name="connsiteY20" fmla="*/ 909005 h 2046039"/>
                    <a:gd name="connsiteX21" fmla="*/ 14656 w 1194053"/>
                    <a:gd name="connsiteY21" fmla="*/ 1166180 h 2046039"/>
                    <a:gd name="connsiteX22" fmla="*/ 14656 w 1194053"/>
                    <a:gd name="connsiteY22" fmla="*/ 1966280 h 2046039"/>
                    <a:gd name="connsiteX23" fmla="*/ 33706 w 1194053"/>
                    <a:gd name="connsiteY23" fmla="*/ 2023430 h 2046039"/>
                    <a:gd name="connsiteX0" fmla="*/ 33706 w 1194053"/>
                    <a:gd name="connsiteY0" fmla="*/ 2023430 h 2046039"/>
                    <a:gd name="connsiteX1" fmla="*/ 228969 w 1194053"/>
                    <a:gd name="connsiteY1" fmla="*/ 2018668 h 2046039"/>
                    <a:gd name="connsiteX2" fmla="*/ 376606 w 1194053"/>
                    <a:gd name="connsiteY2" fmla="*/ 2004380 h 2046039"/>
                    <a:gd name="connsiteX3" fmla="*/ 581394 w 1194053"/>
                    <a:gd name="connsiteY3" fmla="*/ 2009143 h 2046039"/>
                    <a:gd name="connsiteX4" fmla="*/ 657594 w 1194053"/>
                    <a:gd name="connsiteY4" fmla="*/ 2018668 h 2046039"/>
                    <a:gd name="connsiteX5" fmla="*/ 1157656 w 1194053"/>
                    <a:gd name="connsiteY5" fmla="*/ 2018668 h 2046039"/>
                    <a:gd name="connsiteX6" fmla="*/ 1152894 w 1194053"/>
                    <a:gd name="connsiteY6" fmla="*/ 1671005 h 2046039"/>
                    <a:gd name="connsiteX7" fmla="*/ 1157656 w 1194053"/>
                    <a:gd name="connsiteY7" fmla="*/ 1599568 h 2046039"/>
                    <a:gd name="connsiteX8" fmla="*/ 1167181 w 1194053"/>
                    <a:gd name="connsiteY8" fmla="*/ 1551943 h 2046039"/>
                    <a:gd name="connsiteX9" fmla="*/ 1171944 w 1194053"/>
                    <a:gd name="connsiteY9" fmla="*/ 1513843 h 2046039"/>
                    <a:gd name="connsiteX10" fmla="*/ 1157656 w 1194053"/>
                    <a:gd name="connsiteY10" fmla="*/ 847093 h 2046039"/>
                    <a:gd name="connsiteX11" fmla="*/ 1148131 w 1194053"/>
                    <a:gd name="connsiteY11" fmla="*/ 294643 h 2046039"/>
                    <a:gd name="connsiteX12" fmla="*/ 1157656 w 1194053"/>
                    <a:gd name="connsiteY12" fmla="*/ 37468 h 2046039"/>
                    <a:gd name="connsiteX13" fmla="*/ 1005256 w 1194053"/>
                    <a:gd name="connsiteY13" fmla="*/ 18418 h 2046039"/>
                    <a:gd name="connsiteX14" fmla="*/ 281356 w 1194053"/>
                    <a:gd name="connsiteY14" fmla="*/ 4130 h 2046039"/>
                    <a:gd name="connsiteX15" fmla="*/ 57519 w 1194053"/>
                    <a:gd name="connsiteY15" fmla="*/ 8893 h 2046039"/>
                    <a:gd name="connsiteX16" fmla="*/ 38469 w 1194053"/>
                    <a:gd name="connsiteY16" fmla="*/ 13655 h 2046039"/>
                    <a:gd name="connsiteX17" fmla="*/ 369 w 1194053"/>
                    <a:gd name="connsiteY17" fmla="*/ 180343 h 2046039"/>
                    <a:gd name="connsiteX18" fmla="*/ 19419 w 1194053"/>
                    <a:gd name="connsiteY18" fmla="*/ 275593 h 2046039"/>
                    <a:gd name="connsiteX19" fmla="*/ 24181 w 1194053"/>
                    <a:gd name="connsiteY19" fmla="*/ 909005 h 2046039"/>
                    <a:gd name="connsiteX20" fmla="*/ 14656 w 1194053"/>
                    <a:gd name="connsiteY20" fmla="*/ 1166180 h 2046039"/>
                    <a:gd name="connsiteX21" fmla="*/ 14656 w 1194053"/>
                    <a:gd name="connsiteY21" fmla="*/ 1966280 h 2046039"/>
                    <a:gd name="connsiteX22" fmla="*/ 33706 w 1194053"/>
                    <a:gd name="connsiteY22" fmla="*/ 2023430 h 2046039"/>
                    <a:gd name="connsiteX0" fmla="*/ 33706 w 1194053"/>
                    <a:gd name="connsiteY0" fmla="*/ 2023430 h 2046039"/>
                    <a:gd name="connsiteX1" fmla="*/ 228969 w 1194053"/>
                    <a:gd name="connsiteY1" fmla="*/ 2018668 h 2046039"/>
                    <a:gd name="connsiteX2" fmla="*/ 376606 w 1194053"/>
                    <a:gd name="connsiteY2" fmla="*/ 2004380 h 2046039"/>
                    <a:gd name="connsiteX3" fmla="*/ 581394 w 1194053"/>
                    <a:gd name="connsiteY3" fmla="*/ 2009143 h 2046039"/>
                    <a:gd name="connsiteX4" fmla="*/ 657594 w 1194053"/>
                    <a:gd name="connsiteY4" fmla="*/ 2018668 h 2046039"/>
                    <a:gd name="connsiteX5" fmla="*/ 1157656 w 1194053"/>
                    <a:gd name="connsiteY5" fmla="*/ 2018668 h 2046039"/>
                    <a:gd name="connsiteX6" fmla="*/ 1152894 w 1194053"/>
                    <a:gd name="connsiteY6" fmla="*/ 1671005 h 2046039"/>
                    <a:gd name="connsiteX7" fmla="*/ 1157656 w 1194053"/>
                    <a:gd name="connsiteY7" fmla="*/ 1599568 h 2046039"/>
                    <a:gd name="connsiteX8" fmla="*/ 1171944 w 1194053"/>
                    <a:gd name="connsiteY8" fmla="*/ 1513843 h 2046039"/>
                    <a:gd name="connsiteX9" fmla="*/ 1157656 w 1194053"/>
                    <a:gd name="connsiteY9" fmla="*/ 847093 h 2046039"/>
                    <a:gd name="connsiteX10" fmla="*/ 1148131 w 1194053"/>
                    <a:gd name="connsiteY10" fmla="*/ 294643 h 2046039"/>
                    <a:gd name="connsiteX11" fmla="*/ 1157656 w 1194053"/>
                    <a:gd name="connsiteY11" fmla="*/ 37468 h 2046039"/>
                    <a:gd name="connsiteX12" fmla="*/ 1005256 w 1194053"/>
                    <a:gd name="connsiteY12" fmla="*/ 18418 h 2046039"/>
                    <a:gd name="connsiteX13" fmla="*/ 281356 w 1194053"/>
                    <a:gd name="connsiteY13" fmla="*/ 4130 h 2046039"/>
                    <a:gd name="connsiteX14" fmla="*/ 57519 w 1194053"/>
                    <a:gd name="connsiteY14" fmla="*/ 8893 h 2046039"/>
                    <a:gd name="connsiteX15" fmla="*/ 38469 w 1194053"/>
                    <a:gd name="connsiteY15" fmla="*/ 13655 h 2046039"/>
                    <a:gd name="connsiteX16" fmla="*/ 369 w 1194053"/>
                    <a:gd name="connsiteY16" fmla="*/ 180343 h 2046039"/>
                    <a:gd name="connsiteX17" fmla="*/ 19419 w 1194053"/>
                    <a:gd name="connsiteY17" fmla="*/ 275593 h 2046039"/>
                    <a:gd name="connsiteX18" fmla="*/ 24181 w 1194053"/>
                    <a:gd name="connsiteY18" fmla="*/ 909005 h 2046039"/>
                    <a:gd name="connsiteX19" fmla="*/ 14656 w 1194053"/>
                    <a:gd name="connsiteY19" fmla="*/ 1166180 h 2046039"/>
                    <a:gd name="connsiteX20" fmla="*/ 14656 w 1194053"/>
                    <a:gd name="connsiteY20" fmla="*/ 1966280 h 2046039"/>
                    <a:gd name="connsiteX21" fmla="*/ 33706 w 1194053"/>
                    <a:gd name="connsiteY21" fmla="*/ 2023430 h 2046039"/>
                    <a:gd name="connsiteX0" fmla="*/ 33706 w 1194053"/>
                    <a:gd name="connsiteY0" fmla="*/ 2023430 h 2046039"/>
                    <a:gd name="connsiteX1" fmla="*/ 228969 w 1194053"/>
                    <a:gd name="connsiteY1" fmla="*/ 2018668 h 2046039"/>
                    <a:gd name="connsiteX2" fmla="*/ 376606 w 1194053"/>
                    <a:gd name="connsiteY2" fmla="*/ 2004380 h 2046039"/>
                    <a:gd name="connsiteX3" fmla="*/ 581394 w 1194053"/>
                    <a:gd name="connsiteY3" fmla="*/ 2009143 h 2046039"/>
                    <a:gd name="connsiteX4" fmla="*/ 657594 w 1194053"/>
                    <a:gd name="connsiteY4" fmla="*/ 2018668 h 2046039"/>
                    <a:gd name="connsiteX5" fmla="*/ 1157656 w 1194053"/>
                    <a:gd name="connsiteY5" fmla="*/ 2018668 h 2046039"/>
                    <a:gd name="connsiteX6" fmla="*/ 1152894 w 1194053"/>
                    <a:gd name="connsiteY6" fmla="*/ 1671005 h 2046039"/>
                    <a:gd name="connsiteX7" fmla="*/ 1157656 w 1194053"/>
                    <a:gd name="connsiteY7" fmla="*/ 1599568 h 2046039"/>
                    <a:gd name="connsiteX8" fmla="*/ 1157656 w 1194053"/>
                    <a:gd name="connsiteY8" fmla="*/ 847093 h 2046039"/>
                    <a:gd name="connsiteX9" fmla="*/ 1148131 w 1194053"/>
                    <a:gd name="connsiteY9" fmla="*/ 294643 h 2046039"/>
                    <a:gd name="connsiteX10" fmla="*/ 1157656 w 1194053"/>
                    <a:gd name="connsiteY10" fmla="*/ 37468 h 2046039"/>
                    <a:gd name="connsiteX11" fmla="*/ 1005256 w 1194053"/>
                    <a:gd name="connsiteY11" fmla="*/ 18418 h 2046039"/>
                    <a:gd name="connsiteX12" fmla="*/ 281356 w 1194053"/>
                    <a:gd name="connsiteY12" fmla="*/ 4130 h 2046039"/>
                    <a:gd name="connsiteX13" fmla="*/ 57519 w 1194053"/>
                    <a:gd name="connsiteY13" fmla="*/ 8893 h 2046039"/>
                    <a:gd name="connsiteX14" fmla="*/ 38469 w 1194053"/>
                    <a:gd name="connsiteY14" fmla="*/ 13655 h 2046039"/>
                    <a:gd name="connsiteX15" fmla="*/ 369 w 1194053"/>
                    <a:gd name="connsiteY15" fmla="*/ 180343 h 2046039"/>
                    <a:gd name="connsiteX16" fmla="*/ 19419 w 1194053"/>
                    <a:gd name="connsiteY16" fmla="*/ 275593 h 2046039"/>
                    <a:gd name="connsiteX17" fmla="*/ 24181 w 1194053"/>
                    <a:gd name="connsiteY17" fmla="*/ 909005 h 2046039"/>
                    <a:gd name="connsiteX18" fmla="*/ 14656 w 1194053"/>
                    <a:gd name="connsiteY18" fmla="*/ 1166180 h 2046039"/>
                    <a:gd name="connsiteX19" fmla="*/ 14656 w 1194053"/>
                    <a:gd name="connsiteY19" fmla="*/ 1966280 h 2046039"/>
                    <a:gd name="connsiteX20" fmla="*/ 33706 w 1194053"/>
                    <a:gd name="connsiteY20" fmla="*/ 2023430 h 2046039"/>
                    <a:gd name="connsiteX0" fmla="*/ 33706 w 1194053"/>
                    <a:gd name="connsiteY0" fmla="*/ 2023430 h 2046039"/>
                    <a:gd name="connsiteX1" fmla="*/ 228969 w 1194053"/>
                    <a:gd name="connsiteY1" fmla="*/ 2018668 h 2046039"/>
                    <a:gd name="connsiteX2" fmla="*/ 376606 w 1194053"/>
                    <a:gd name="connsiteY2" fmla="*/ 2004380 h 2046039"/>
                    <a:gd name="connsiteX3" fmla="*/ 581394 w 1194053"/>
                    <a:gd name="connsiteY3" fmla="*/ 2009143 h 2046039"/>
                    <a:gd name="connsiteX4" fmla="*/ 657594 w 1194053"/>
                    <a:gd name="connsiteY4" fmla="*/ 2018668 h 2046039"/>
                    <a:gd name="connsiteX5" fmla="*/ 1157656 w 1194053"/>
                    <a:gd name="connsiteY5" fmla="*/ 2018668 h 2046039"/>
                    <a:gd name="connsiteX6" fmla="*/ 1152894 w 1194053"/>
                    <a:gd name="connsiteY6" fmla="*/ 1671005 h 2046039"/>
                    <a:gd name="connsiteX7" fmla="*/ 1157656 w 1194053"/>
                    <a:gd name="connsiteY7" fmla="*/ 847093 h 2046039"/>
                    <a:gd name="connsiteX8" fmla="*/ 1148131 w 1194053"/>
                    <a:gd name="connsiteY8" fmla="*/ 294643 h 2046039"/>
                    <a:gd name="connsiteX9" fmla="*/ 1157656 w 1194053"/>
                    <a:gd name="connsiteY9" fmla="*/ 37468 h 2046039"/>
                    <a:gd name="connsiteX10" fmla="*/ 1005256 w 1194053"/>
                    <a:gd name="connsiteY10" fmla="*/ 18418 h 2046039"/>
                    <a:gd name="connsiteX11" fmla="*/ 281356 w 1194053"/>
                    <a:gd name="connsiteY11" fmla="*/ 4130 h 2046039"/>
                    <a:gd name="connsiteX12" fmla="*/ 57519 w 1194053"/>
                    <a:gd name="connsiteY12" fmla="*/ 8893 h 2046039"/>
                    <a:gd name="connsiteX13" fmla="*/ 38469 w 1194053"/>
                    <a:gd name="connsiteY13" fmla="*/ 13655 h 2046039"/>
                    <a:gd name="connsiteX14" fmla="*/ 369 w 1194053"/>
                    <a:gd name="connsiteY14" fmla="*/ 180343 h 2046039"/>
                    <a:gd name="connsiteX15" fmla="*/ 19419 w 1194053"/>
                    <a:gd name="connsiteY15" fmla="*/ 275593 h 2046039"/>
                    <a:gd name="connsiteX16" fmla="*/ 24181 w 1194053"/>
                    <a:gd name="connsiteY16" fmla="*/ 909005 h 2046039"/>
                    <a:gd name="connsiteX17" fmla="*/ 14656 w 1194053"/>
                    <a:gd name="connsiteY17" fmla="*/ 1166180 h 2046039"/>
                    <a:gd name="connsiteX18" fmla="*/ 14656 w 1194053"/>
                    <a:gd name="connsiteY18" fmla="*/ 1966280 h 2046039"/>
                    <a:gd name="connsiteX19" fmla="*/ 33706 w 1194053"/>
                    <a:gd name="connsiteY19" fmla="*/ 2023430 h 2046039"/>
                    <a:gd name="connsiteX0" fmla="*/ 33706 w 1166631"/>
                    <a:gd name="connsiteY0" fmla="*/ 2023430 h 2090445"/>
                    <a:gd name="connsiteX1" fmla="*/ 228969 w 1166631"/>
                    <a:gd name="connsiteY1" fmla="*/ 2018668 h 2090445"/>
                    <a:gd name="connsiteX2" fmla="*/ 376606 w 1166631"/>
                    <a:gd name="connsiteY2" fmla="*/ 2004380 h 2090445"/>
                    <a:gd name="connsiteX3" fmla="*/ 581394 w 1166631"/>
                    <a:gd name="connsiteY3" fmla="*/ 2009143 h 2090445"/>
                    <a:gd name="connsiteX4" fmla="*/ 657594 w 1166631"/>
                    <a:gd name="connsiteY4" fmla="*/ 2018668 h 2090445"/>
                    <a:gd name="connsiteX5" fmla="*/ 1157656 w 1166631"/>
                    <a:gd name="connsiteY5" fmla="*/ 2018668 h 2090445"/>
                    <a:gd name="connsiteX6" fmla="*/ 1152894 w 1166631"/>
                    <a:gd name="connsiteY6" fmla="*/ 1671005 h 2090445"/>
                    <a:gd name="connsiteX7" fmla="*/ 1157656 w 1166631"/>
                    <a:gd name="connsiteY7" fmla="*/ 847093 h 2090445"/>
                    <a:gd name="connsiteX8" fmla="*/ 1148131 w 1166631"/>
                    <a:gd name="connsiteY8" fmla="*/ 294643 h 2090445"/>
                    <a:gd name="connsiteX9" fmla="*/ 1157656 w 1166631"/>
                    <a:gd name="connsiteY9" fmla="*/ 37468 h 2090445"/>
                    <a:gd name="connsiteX10" fmla="*/ 1005256 w 1166631"/>
                    <a:gd name="connsiteY10" fmla="*/ 18418 h 2090445"/>
                    <a:gd name="connsiteX11" fmla="*/ 281356 w 1166631"/>
                    <a:gd name="connsiteY11" fmla="*/ 4130 h 2090445"/>
                    <a:gd name="connsiteX12" fmla="*/ 57519 w 1166631"/>
                    <a:gd name="connsiteY12" fmla="*/ 8893 h 2090445"/>
                    <a:gd name="connsiteX13" fmla="*/ 38469 w 1166631"/>
                    <a:gd name="connsiteY13" fmla="*/ 13655 h 2090445"/>
                    <a:gd name="connsiteX14" fmla="*/ 369 w 1166631"/>
                    <a:gd name="connsiteY14" fmla="*/ 180343 h 2090445"/>
                    <a:gd name="connsiteX15" fmla="*/ 19419 w 1166631"/>
                    <a:gd name="connsiteY15" fmla="*/ 275593 h 2090445"/>
                    <a:gd name="connsiteX16" fmla="*/ 24181 w 1166631"/>
                    <a:gd name="connsiteY16" fmla="*/ 909005 h 2090445"/>
                    <a:gd name="connsiteX17" fmla="*/ 14656 w 1166631"/>
                    <a:gd name="connsiteY17" fmla="*/ 1166180 h 2090445"/>
                    <a:gd name="connsiteX18" fmla="*/ 14656 w 1166631"/>
                    <a:gd name="connsiteY18" fmla="*/ 1966280 h 2090445"/>
                    <a:gd name="connsiteX19" fmla="*/ 33706 w 1166631"/>
                    <a:gd name="connsiteY19" fmla="*/ 2023430 h 2090445"/>
                    <a:gd name="connsiteX0" fmla="*/ 33706 w 1194375"/>
                    <a:gd name="connsiteY0" fmla="*/ 2023430 h 2046039"/>
                    <a:gd name="connsiteX1" fmla="*/ 228969 w 1194375"/>
                    <a:gd name="connsiteY1" fmla="*/ 2018668 h 2046039"/>
                    <a:gd name="connsiteX2" fmla="*/ 376606 w 1194375"/>
                    <a:gd name="connsiteY2" fmla="*/ 2004380 h 2046039"/>
                    <a:gd name="connsiteX3" fmla="*/ 581394 w 1194375"/>
                    <a:gd name="connsiteY3" fmla="*/ 2009143 h 2046039"/>
                    <a:gd name="connsiteX4" fmla="*/ 657594 w 1194375"/>
                    <a:gd name="connsiteY4" fmla="*/ 2018668 h 2046039"/>
                    <a:gd name="connsiteX5" fmla="*/ 1157656 w 1194375"/>
                    <a:gd name="connsiteY5" fmla="*/ 2018668 h 2046039"/>
                    <a:gd name="connsiteX6" fmla="*/ 1152894 w 1194375"/>
                    <a:gd name="connsiteY6" fmla="*/ 1671005 h 2046039"/>
                    <a:gd name="connsiteX7" fmla="*/ 1157656 w 1194375"/>
                    <a:gd name="connsiteY7" fmla="*/ 847093 h 2046039"/>
                    <a:gd name="connsiteX8" fmla="*/ 1148131 w 1194375"/>
                    <a:gd name="connsiteY8" fmla="*/ 294643 h 2046039"/>
                    <a:gd name="connsiteX9" fmla="*/ 1157656 w 1194375"/>
                    <a:gd name="connsiteY9" fmla="*/ 37468 h 2046039"/>
                    <a:gd name="connsiteX10" fmla="*/ 1005256 w 1194375"/>
                    <a:gd name="connsiteY10" fmla="*/ 18418 h 2046039"/>
                    <a:gd name="connsiteX11" fmla="*/ 281356 w 1194375"/>
                    <a:gd name="connsiteY11" fmla="*/ 4130 h 2046039"/>
                    <a:gd name="connsiteX12" fmla="*/ 57519 w 1194375"/>
                    <a:gd name="connsiteY12" fmla="*/ 8893 h 2046039"/>
                    <a:gd name="connsiteX13" fmla="*/ 38469 w 1194375"/>
                    <a:gd name="connsiteY13" fmla="*/ 13655 h 2046039"/>
                    <a:gd name="connsiteX14" fmla="*/ 369 w 1194375"/>
                    <a:gd name="connsiteY14" fmla="*/ 180343 h 2046039"/>
                    <a:gd name="connsiteX15" fmla="*/ 19419 w 1194375"/>
                    <a:gd name="connsiteY15" fmla="*/ 275593 h 2046039"/>
                    <a:gd name="connsiteX16" fmla="*/ 24181 w 1194375"/>
                    <a:gd name="connsiteY16" fmla="*/ 909005 h 2046039"/>
                    <a:gd name="connsiteX17" fmla="*/ 14656 w 1194375"/>
                    <a:gd name="connsiteY17" fmla="*/ 1166180 h 2046039"/>
                    <a:gd name="connsiteX18" fmla="*/ 14656 w 1194375"/>
                    <a:gd name="connsiteY18" fmla="*/ 1966280 h 2046039"/>
                    <a:gd name="connsiteX19" fmla="*/ 33706 w 1194375"/>
                    <a:gd name="connsiteY19" fmla="*/ 2023430 h 2046039"/>
                    <a:gd name="connsiteX0" fmla="*/ 33706 w 1183335"/>
                    <a:gd name="connsiteY0" fmla="*/ 2023430 h 2046039"/>
                    <a:gd name="connsiteX1" fmla="*/ 228969 w 1183335"/>
                    <a:gd name="connsiteY1" fmla="*/ 2018668 h 2046039"/>
                    <a:gd name="connsiteX2" fmla="*/ 376606 w 1183335"/>
                    <a:gd name="connsiteY2" fmla="*/ 2004380 h 2046039"/>
                    <a:gd name="connsiteX3" fmla="*/ 581394 w 1183335"/>
                    <a:gd name="connsiteY3" fmla="*/ 2009143 h 2046039"/>
                    <a:gd name="connsiteX4" fmla="*/ 657594 w 1183335"/>
                    <a:gd name="connsiteY4" fmla="*/ 2018668 h 2046039"/>
                    <a:gd name="connsiteX5" fmla="*/ 1143369 w 1183335"/>
                    <a:gd name="connsiteY5" fmla="*/ 1990093 h 2046039"/>
                    <a:gd name="connsiteX6" fmla="*/ 1152894 w 1183335"/>
                    <a:gd name="connsiteY6" fmla="*/ 1671005 h 2046039"/>
                    <a:gd name="connsiteX7" fmla="*/ 1157656 w 1183335"/>
                    <a:gd name="connsiteY7" fmla="*/ 847093 h 2046039"/>
                    <a:gd name="connsiteX8" fmla="*/ 1148131 w 1183335"/>
                    <a:gd name="connsiteY8" fmla="*/ 294643 h 2046039"/>
                    <a:gd name="connsiteX9" fmla="*/ 1157656 w 1183335"/>
                    <a:gd name="connsiteY9" fmla="*/ 37468 h 2046039"/>
                    <a:gd name="connsiteX10" fmla="*/ 1005256 w 1183335"/>
                    <a:gd name="connsiteY10" fmla="*/ 18418 h 2046039"/>
                    <a:gd name="connsiteX11" fmla="*/ 281356 w 1183335"/>
                    <a:gd name="connsiteY11" fmla="*/ 4130 h 2046039"/>
                    <a:gd name="connsiteX12" fmla="*/ 57519 w 1183335"/>
                    <a:gd name="connsiteY12" fmla="*/ 8893 h 2046039"/>
                    <a:gd name="connsiteX13" fmla="*/ 38469 w 1183335"/>
                    <a:gd name="connsiteY13" fmla="*/ 13655 h 2046039"/>
                    <a:gd name="connsiteX14" fmla="*/ 369 w 1183335"/>
                    <a:gd name="connsiteY14" fmla="*/ 180343 h 2046039"/>
                    <a:gd name="connsiteX15" fmla="*/ 19419 w 1183335"/>
                    <a:gd name="connsiteY15" fmla="*/ 275593 h 2046039"/>
                    <a:gd name="connsiteX16" fmla="*/ 24181 w 1183335"/>
                    <a:gd name="connsiteY16" fmla="*/ 909005 h 2046039"/>
                    <a:gd name="connsiteX17" fmla="*/ 14656 w 1183335"/>
                    <a:gd name="connsiteY17" fmla="*/ 1166180 h 2046039"/>
                    <a:gd name="connsiteX18" fmla="*/ 14656 w 1183335"/>
                    <a:gd name="connsiteY18" fmla="*/ 1966280 h 2046039"/>
                    <a:gd name="connsiteX19" fmla="*/ 33706 w 1183335"/>
                    <a:gd name="connsiteY19" fmla="*/ 2023430 h 2046039"/>
                    <a:gd name="connsiteX0" fmla="*/ 33706 w 1183335"/>
                    <a:gd name="connsiteY0" fmla="*/ 2023430 h 2046039"/>
                    <a:gd name="connsiteX1" fmla="*/ 228969 w 1183335"/>
                    <a:gd name="connsiteY1" fmla="*/ 2018668 h 2046039"/>
                    <a:gd name="connsiteX2" fmla="*/ 581394 w 1183335"/>
                    <a:gd name="connsiteY2" fmla="*/ 2009143 h 2046039"/>
                    <a:gd name="connsiteX3" fmla="*/ 657594 w 1183335"/>
                    <a:gd name="connsiteY3" fmla="*/ 2018668 h 2046039"/>
                    <a:gd name="connsiteX4" fmla="*/ 1143369 w 1183335"/>
                    <a:gd name="connsiteY4" fmla="*/ 1990093 h 2046039"/>
                    <a:gd name="connsiteX5" fmla="*/ 1152894 w 1183335"/>
                    <a:gd name="connsiteY5" fmla="*/ 1671005 h 2046039"/>
                    <a:gd name="connsiteX6" fmla="*/ 1157656 w 1183335"/>
                    <a:gd name="connsiteY6" fmla="*/ 847093 h 2046039"/>
                    <a:gd name="connsiteX7" fmla="*/ 1148131 w 1183335"/>
                    <a:gd name="connsiteY7" fmla="*/ 294643 h 2046039"/>
                    <a:gd name="connsiteX8" fmla="*/ 1157656 w 1183335"/>
                    <a:gd name="connsiteY8" fmla="*/ 37468 h 2046039"/>
                    <a:gd name="connsiteX9" fmla="*/ 1005256 w 1183335"/>
                    <a:gd name="connsiteY9" fmla="*/ 18418 h 2046039"/>
                    <a:gd name="connsiteX10" fmla="*/ 281356 w 1183335"/>
                    <a:gd name="connsiteY10" fmla="*/ 4130 h 2046039"/>
                    <a:gd name="connsiteX11" fmla="*/ 57519 w 1183335"/>
                    <a:gd name="connsiteY11" fmla="*/ 8893 h 2046039"/>
                    <a:gd name="connsiteX12" fmla="*/ 38469 w 1183335"/>
                    <a:gd name="connsiteY12" fmla="*/ 13655 h 2046039"/>
                    <a:gd name="connsiteX13" fmla="*/ 369 w 1183335"/>
                    <a:gd name="connsiteY13" fmla="*/ 180343 h 2046039"/>
                    <a:gd name="connsiteX14" fmla="*/ 19419 w 1183335"/>
                    <a:gd name="connsiteY14" fmla="*/ 275593 h 2046039"/>
                    <a:gd name="connsiteX15" fmla="*/ 24181 w 1183335"/>
                    <a:gd name="connsiteY15" fmla="*/ 909005 h 2046039"/>
                    <a:gd name="connsiteX16" fmla="*/ 14656 w 1183335"/>
                    <a:gd name="connsiteY16" fmla="*/ 1166180 h 2046039"/>
                    <a:gd name="connsiteX17" fmla="*/ 14656 w 1183335"/>
                    <a:gd name="connsiteY17" fmla="*/ 1966280 h 2046039"/>
                    <a:gd name="connsiteX18" fmla="*/ 33706 w 1183335"/>
                    <a:gd name="connsiteY18" fmla="*/ 2023430 h 2046039"/>
                    <a:gd name="connsiteX0" fmla="*/ 16233 w 1184912"/>
                    <a:gd name="connsiteY0" fmla="*/ 1966280 h 2044299"/>
                    <a:gd name="connsiteX1" fmla="*/ 230546 w 1184912"/>
                    <a:gd name="connsiteY1" fmla="*/ 2018668 h 2044299"/>
                    <a:gd name="connsiteX2" fmla="*/ 582971 w 1184912"/>
                    <a:gd name="connsiteY2" fmla="*/ 2009143 h 2044299"/>
                    <a:gd name="connsiteX3" fmla="*/ 659171 w 1184912"/>
                    <a:gd name="connsiteY3" fmla="*/ 2018668 h 2044299"/>
                    <a:gd name="connsiteX4" fmla="*/ 1144946 w 1184912"/>
                    <a:gd name="connsiteY4" fmla="*/ 1990093 h 2044299"/>
                    <a:gd name="connsiteX5" fmla="*/ 1154471 w 1184912"/>
                    <a:gd name="connsiteY5" fmla="*/ 1671005 h 2044299"/>
                    <a:gd name="connsiteX6" fmla="*/ 1159233 w 1184912"/>
                    <a:gd name="connsiteY6" fmla="*/ 847093 h 2044299"/>
                    <a:gd name="connsiteX7" fmla="*/ 1149708 w 1184912"/>
                    <a:gd name="connsiteY7" fmla="*/ 294643 h 2044299"/>
                    <a:gd name="connsiteX8" fmla="*/ 1159233 w 1184912"/>
                    <a:gd name="connsiteY8" fmla="*/ 37468 h 2044299"/>
                    <a:gd name="connsiteX9" fmla="*/ 1006833 w 1184912"/>
                    <a:gd name="connsiteY9" fmla="*/ 18418 h 2044299"/>
                    <a:gd name="connsiteX10" fmla="*/ 282933 w 1184912"/>
                    <a:gd name="connsiteY10" fmla="*/ 4130 h 2044299"/>
                    <a:gd name="connsiteX11" fmla="*/ 59096 w 1184912"/>
                    <a:gd name="connsiteY11" fmla="*/ 8893 h 2044299"/>
                    <a:gd name="connsiteX12" fmla="*/ 40046 w 1184912"/>
                    <a:gd name="connsiteY12" fmla="*/ 13655 h 2044299"/>
                    <a:gd name="connsiteX13" fmla="*/ 1946 w 1184912"/>
                    <a:gd name="connsiteY13" fmla="*/ 180343 h 2044299"/>
                    <a:gd name="connsiteX14" fmla="*/ 20996 w 1184912"/>
                    <a:gd name="connsiteY14" fmla="*/ 275593 h 2044299"/>
                    <a:gd name="connsiteX15" fmla="*/ 25758 w 1184912"/>
                    <a:gd name="connsiteY15" fmla="*/ 909005 h 2044299"/>
                    <a:gd name="connsiteX16" fmla="*/ 16233 w 1184912"/>
                    <a:gd name="connsiteY16" fmla="*/ 1166180 h 2044299"/>
                    <a:gd name="connsiteX17" fmla="*/ 16233 w 1184912"/>
                    <a:gd name="connsiteY17" fmla="*/ 1966280 h 2044299"/>
                    <a:gd name="connsiteX0" fmla="*/ 39513 w 1208192"/>
                    <a:gd name="connsiteY0" fmla="*/ 1966280 h 2020726"/>
                    <a:gd name="connsiteX1" fmla="*/ 253826 w 1208192"/>
                    <a:gd name="connsiteY1" fmla="*/ 2018668 h 2020726"/>
                    <a:gd name="connsiteX2" fmla="*/ 606251 w 1208192"/>
                    <a:gd name="connsiteY2" fmla="*/ 2009143 h 2020726"/>
                    <a:gd name="connsiteX3" fmla="*/ 682451 w 1208192"/>
                    <a:gd name="connsiteY3" fmla="*/ 2018668 h 2020726"/>
                    <a:gd name="connsiteX4" fmla="*/ 1168226 w 1208192"/>
                    <a:gd name="connsiteY4" fmla="*/ 1990093 h 2020726"/>
                    <a:gd name="connsiteX5" fmla="*/ 1177751 w 1208192"/>
                    <a:gd name="connsiteY5" fmla="*/ 1671005 h 2020726"/>
                    <a:gd name="connsiteX6" fmla="*/ 1182513 w 1208192"/>
                    <a:gd name="connsiteY6" fmla="*/ 847093 h 2020726"/>
                    <a:gd name="connsiteX7" fmla="*/ 1172988 w 1208192"/>
                    <a:gd name="connsiteY7" fmla="*/ 294643 h 2020726"/>
                    <a:gd name="connsiteX8" fmla="*/ 1182513 w 1208192"/>
                    <a:gd name="connsiteY8" fmla="*/ 37468 h 2020726"/>
                    <a:gd name="connsiteX9" fmla="*/ 1030113 w 1208192"/>
                    <a:gd name="connsiteY9" fmla="*/ 18418 h 2020726"/>
                    <a:gd name="connsiteX10" fmla="*/ 306213 w 1208192"/>
                    <a:gd name="connsiteY10" fmla="*/ 4130 h 2020726"/>
                    <a:gd name="connsiteX11" fmla="*/ 82376 w 1208192"/>
                    <a:gd name="connsiteY11" fmla="*/ 8893 h 2020726"/>
                    <a:gd name="connsiteX12" fmla="*/ 63326 w 1208192"/>
                    <a:gd name="connsiteY12" fmla="*/ 13655 h 2020726"/>
                    <a:gd name="connsiteX13" fmla="*/ 25226 w 1208192"/>
                    <a:gd name="connsiteY13" fmla="*/ 180343 h 2020726"/>
                    <a:gd name="connsiteX14" fmla="*/ 44276 w 1208192"/>
                    <a:gd name="connsiteY14" fmla="*/ 275593 h 2020726"/>
                    <a:gd name="connsiteX15" fmla="*/ 49038 w 1208192"/>
                    <a:gd name="connsiteY15" fmla="*/ 909005 h 2020726"/>
                    <a:gd name="connsiteX16" fmla="*/ 39513 w 1208192"/>
                    <a:gd name="connsiteY16" fmla="*/ 1166180 h 2020726"/>
                    <a:gd name="connsiteX17" fmla="*/ 39513 w 1208192"/>
                    <a:gd name="connsiteY17" fmla="*/ 1966280 h 2020726"/>
                    <a:gd name="connsiteX0" fmla="*/ 52793 w 1183372"/>
                    <a:gd name="connsiteY0" fmla="*/ 1980568 h 2022586"/>
                    <a:gd name="connsiteX1" fmla="*/ 229006 w 1183372"/>
                    <a:gd name="connsiteY1" fmla="*/ 2018668 h 2022586"/>
                    <a:gd name="connsiteX2" fmla="*/ 581431 w 1183372"/>
                    <a:gd name="connsiteY2" fmla="*/ 2009143 h 2022586"/>
                    <a:gd name="connsiteX3" fmla="*/ 657631 w 1183372"/>
                    <a:gd name="connsiteY3" fmla="*/ 2018668 h 2022586"/>
                    <a:gd name="connsiteX4" fmla="*/ 1143406 w 1183372"/>
                    <a:gd name="connsiteY4" fmla="*/ 1990093 h 2022586"/>
                    <a:gd name="connsiteX5" fmla="*/ 1152931 w 1183372"/>
                    <a:gd name="connsiteY5" fmla="*/ 1671005 h 2022586"/>
                    <a:gd name="connsiteX6" fmla="*/ 1157693 w 1183372"/>
                    <a:gd name="connsiteY6" fmla="*/ 847093 h 2022586"/>
                    <a:gd name="connsiteX7" fmla="*/ 1148168 w 1183372"/>
                    <a:gd name="connsiteY7" fmla="*/ 294643 h 2022586"/>
                    <a:gd name="connsiteX8" fmla="*/ 1157693 w 1183372"/>
                    <a:gd name="connsiteY8" fmla="*/ 37468 h 2022586"/>
                    <a:gd name="connsiteX9" fmla="*/ 1005293 w 1183372"/>
                    <a:gd name="connsiteY9" fmla="*/ 18418 h 2022586"/>
                    <a:gd name="connsiteX10" fmla="*/ 281393 w 1183372"/>
                    <a:gd name="connsiteY10" fmla="*/ 4130 h 2022586"/>
                    <a:gd name="connsiteX11" fmla="*/ 57556 w 1183372"/>
                    <a:gd name="connsiteY11" fmla="*/ 8893 h 2022586"/>
                    <a:gd name="connsiteX12" fmla="*/ 38506 w 1183372"/>
                    <a:gd name="connsiteY12" fmla="*/ 13655 h 2022586"/>
                    <a:gd name="connsiteX13" fmla="*/ 406 w 1183372"/>
                    <a:gd name="connsiteY13" fmla="*/ 180343 h 2022586"/>
                    <a:gd name="connsiteX14" fmla="*/ 19456 w 1183372"/>
                    <a:gd name="connsiteY14" fmla="*/ 275593 h 2022586"/>
                    <a:gd name="connsiteX15" fmla="*/ 24218 w 1183372"/>
                    <a:gd name="connsiteY15" fmla="*/ 909005 h 2022586"/>
                    <a:gd name="connsiteX16" fmla="*/ 14693 w 1183372"/>
                    <a:gd name="connsiteY16" fmla="*/ 1166180 h 2022586"/>
                    <a:gd name="connsiteX17" fmla="*/ 52793 w 1183372"/>
                    <a:gd name="connsiteY17" fmla="*/ 1980568 h 2022586"/>
                    <a:gd name="connsiteX0" fmla="*/ 54685 w 1185264"/>
                    <a:gd name="connsiteY0" fmla="*/ 1980568 h 2019837"/>
                    <a:gd name="connsiteX1" fmla="*/ 230898 w 1185264"/>
                    <a:gd name="connsiteY1" fmla="*/ 2018668 h 2019837"/>
                    <a:gd name="connsiteX2" fmla="*/ 583323 w 1185264"/>
                    <a:gd name="connsiteY2" fmla="*/ 2009143 h 2019837"/>
                    <a:gd name="connsiteX3" fmla="*/ 659523 w 1185264"/>
                    <a:gd name="connsiteY3" fmla="*/ 2018668 h 2019837"/>
                    <a:gd name="connsiteX4" fmla="*/ 1145298 w 1185264"/>
                    <a:gd name="connsiteY4" fmla="*/ 1990093 h 2019837"/>
                    <a:gd name="connsiteX5" fmla="*/ 1154823 w 1185264"/>
                    <a:gd name="connsiteY5" fmla="*/ 1671005 h 2019837"/>
                    <a:gd name="connsiteX6" fmla="*/ 1159585 w 1185264"/>
                    <a:gd name="connsiteY6" fmla="*/ 847093 h 2019837"/>
                    <a:gd name="connsiteX7" fmla="*/ 1150060 w 1185264"/>
                    <a:gd name="connsiteY7" fmla="*/ 294643 h 2019837"/>
                    <a:gd name="connsiteX8" fmla="*/ 1159585 w 1185264"/>
                    <a:gd name="connsiteY8" fmla="*/ 37468 h 2019837"/>
                    <a:gd name="connsiteX9" fmla="*/ 1007185 w 1185264"/>
                    <a:gd name="connsiteY9" fmla="*/ 18418 h 2019837"/>
                    <a:gd name="connsiteX10" fmla="*/ 283285 w 1185264"/>
                    <a:gd name="connsiteY10" fmla="*/ 4130 h 2019837"/>
                    <a:gd name="connsiteX11" fmla="*/ 59448 w 1185264"/>
                    <a:gd name="connsiteY11" fmla="*/ 8893 h 2019837"/>
                    <a:gd name="connsiteX12" fmla="*/ 40398 w 1185264"/>
                    <a:gd name="connsiteY12" fmla="*/ 13655 h 2019837"/>
                    <a:gd name="connsiteX13" fmla="*/ 2298 w 1185264"/>
                    <a:gd name="connsiteY13" fmla="*/ 180343 h 2019837"/>
                    <a:gd name="connsiteX14" fmla="*/ 21348 w 1185264"/>
                    <a:gd name="connsiteY14" fmla="*/ 275593 h 2019837"/>
                    <a:gd name="connsiteX15" fmla="*/ 26110 w 1185264"/>
                    <a:gd name="connsiteY15" fmla="*/ 909005 h 2019837"/>
                    <a:gd name="connsiteX16" fmla="*/ 16585 w 1185264"/>
                    <a:gd name="connsiteY16" fmla="*/ 1166180 h 2019837"/>
                    <a:gd name="connsiteX17" fmla="*/ 54685 w 1185264"/>
                    <a:gd name="connsiteY17" fmla="*/ 1980568 h 2019837"/>
                    <a:gd name="connsiteX0" fmla="*/ 54685 w 1185264"/>
                    <a:gd name="connsiteY0" fmla="*/ 1980568 h 2018856"/>
                    <a:gd name="connsiteX1" fmla="*/ 259473 w 1185264"/>
                    <a:gd name="connsiteY1" fmla="*/ 2004380 h 2018856"/>
                    <a:gd name="connsiteX2" fmla="*/ 583323 w 1185264"/>
                    <a:gd name="connsiteY2" fmla="*/ 2009143 h 2018856"/>
                    <a:gd name="connsiteX3" fmla="*/ 659523 w 1185264"/>
                    <a:gd name="connsiteY3" fmla="*/ 2018668 h 2018856"/>
                    <a:gd name="connsiteX4" fmla="*/ 1145298 w 1185264"/>
                    <a:gd name="connsiteY4" fmla="*/ 1990093 h 2018856"/>
                    <a:gd name="connsiteX5" fmla="*/ 1154823 w 1185264"/>
                    <a:gd name="connsiteY5" fmla="*/ 1671005 h 2018856"/>
                    <a:gd name="connsiteX6" fmla="*/ 1159585 w 1185264"/>
                    <a:gd name="connsiteY6" fmla="*/ 847093 h 2018856"/>
                    <a:gd name="connsiteX7" fmla="*/ 1150060 w 1185264"/>
                    <a:gd name="connsiteY7" fmla="*/ 294643 h 2018856"/>
                    <a:gd name="connsiteX8" fmla="*/ 1159585 w 1185264"/>
                    <a:gd name="connsiteY8" fmla="*/ 37468 h 2018856"/>
                    <a:gd name="connsiteX9" fmla="*/ 1007185 w 1185264"/>
                    <a:gd name="connsiteY9" fmla="*/ 18418 h 2018856"/>
                    <a:gd name="connsiteX10" fmla="*/ 283285 w 1185264"/>
                    <a:gd name="connsiteY10" fmla="*/ 4130 h 2018856"/>
                    <a:gd name="connsiteX11" fmla="*/ 59448 w 1185264"/>
                    <a:gd name="connsiteY11" fmla="*/ 8893 h 2018856"/>
                    <a:gd name="connsiteX12" fmla="*/ 40398 w 1185264"/>
                    <a:gd name="connsiteY12" fmla="*/ 13655 h 2018856"/>
                    <a:gd name="connsiteX13" fmla="*/ 2298 w 1185264"/>
                    <a:gd name="connsiteY13" fmla="*/ 180343 h 2018856"/>
                    <a:gd name="connsiteX14" fmla="*/ 21348 w 1185264"/>
                    <a:gd name="connsiteY14" fmla="*/ 275593 h 2018856"/>
                    <a:gd name="connsiteX15" fmla="*/ 26110 w 1185264"/>
                    <a:gd name="connsiteY15" fmla="*/ 909005 h 2018856"/>
                    <a:gd name="connsiteX16" fmla="*/ 16585 w 1185264"/>
                    <a:gd name="connsiteY16" fmla="*/ 1166180 h 2018856"/>
                    <a:gd name="connsiteX17" fmla="*/ 54685 w 1185264"/>
                    <a:gd name="connsiteY17" fmla="*/ 1980568 h 2018856"/>
                    <a:gd name="connsiteX0" fmla="*/ 54685 w 1185264"/>
                    <a:gd name="connsiteY0" fmla="*/ 1983242 h 2021530"/>
                    <a:gd name="connsiteX1" fmla="*/ 259473 w 1185264"/>
                    <a:gd name="connsiteY1" fmla="*/ 2007054 h 2021530"/>
                    <a:gd name="connsiteX2" fmla="*/ 583323 w 1185264"/>
                    <a:gd name="connsiteY2" fmla="*/ 2011817 h 2021530"/>
                    <a:gd name="connsiteX3" fmla="*/ 659523 w 1185264"/>
                    <a:gd name="connsiteY3" fmla="*/ 2021342 h 2021530"/>
                    <a:gd name="connsiteX4" fmla="*/ 1145298 w 1185264"/>
                    <a:gd name="connsiteY4" fmla="*/ 1992767 h 2021530"/>
                    <a:gd name="connsiteX5" fmla="*/ 1154823 w 1185264"/>
                    <a:gd name="connsiteY5" fmla="*/ 1673679 h 2021530"/>
                    <a:gd name="connsiteX6" fmla="*/ 1159585 w 1185264"/>
                    <a:gd name="connsiteY6" fmla="*/ 849767 h 2021530"/>
                    <a:gd name="connsiteX7" fmla="*/ 1150060 w 1185264"/>
                    <a:gd name="connsiteY7" fmla="*/ 297317 h 2021530"/>
                    <a:gd name="connsiteX8" fmla="*/ 1159585 w 1185264"/>
                    <a:gd name="connsiteY8" fmla="*/ 40142 h 2021530"/>
                    <a:gd name="connsiteX9" fmla="*/ 1007185 w 1185264"/>
                    <a:gd name="connsiteY9" fmla="*/ 21092 h 2021530"/>
                    <a:gd name="connsiteX10" fmla="*/ 283285 w 1185264"/>
                    <a:gd name="connsiteY10" fmla="*/ 6804 h 2021530"/>
                    <a:gd name="connsiteX11" fmla="*/ 40398 w 1185264"/>
                    <a:gd name="connsiteY11" fmla="*/ 16329 h 2021530"/>
                    <a:gd name="connsiteX12" fmla="*/ 2298 w 1185264"/>
                    <a:gd name="connsiteY12" fmla="*/ 183017 h 2021530"/>
                    <a:gd name="connsiteX13" fmla="*/ 21348 w 1185264"/>
                    <a:gd name="connsiteY13" fmla="*/ 278267 h 2021530"/>
                    <a:gd name="connsiteX14" fmla="*/ 26110 w 1185264"/>
                    <a:gd name="connsiteY14" fmla="*/ 911679 h 2021530"/>
                    <a:gd name="connsiteX15" fmla="*/ 16585 w 1185264"/>
                    <a:gd name="connsiteY15" fmla="*/ 1168854 h 2021530"/>
                    <a:gd name="connsiteX16" fmla="*/ 54685 w 1185264"/>
                    <a:gd name="connsiteY16" fmla="*/ 1983242 h 202153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1185264" h="2021530">
                      <a:moveTo>
                        <a:pt x="54685" y="1983242"/>
                      </a:moveTo>
                      <a:cubicBezTo>
                        <a:pt x="147555" y="2011023"/>
                        <a:pt x="171367" y="2002292"/>
                        <a:pt x="259473" y="2007054"/>
                      </a:cubicBezTo>
                      <a:cubicBezTo>
                        <a:pt x="347579" y="2011816"/>
                        <a:pt x="516648" y="2009436"/>
                        <a:pt x="583323" y="2011817"/>
                      </a:cubicBezTo>
                      <a:cubicBezTo>
                        <a:pt x="649998" y="2014198"/>
                        <a:pt x="633946" y="2020319"/>
                        <a:pt x="659523" y="2021342"/>
                      </a:cubicBezTo>
                      <a:cubicBezTo>
                        <a:pt x="826210" y="2021342"/>
                        <a:pt x="1061178" y="2025679"/>
                        <a:pt x="1145298" y="1992767"/>
                      </a:cubicBezTo>
                      <a:cubicBezTo>
                        <a:pt x="1230608" y="1959389"/>
                        <a:pt x="1152442" y="1864179"/>
                        <a:pt x="1154823" y="1673679"/>
                      </a:cubicBezTo>
                      <a:cubicBezTo>
                        <a:pt x="1157204" y="1483179"/>
                        <a:pt x="1160379" y="1079161"/>
                        <a:pt x="1159585" y="849767"/>
                      </a:cubicBezTo>
                      <a:cubicBezTo>
                        <a:pt x="1158791" y="620373"/>
                        <a:pt x="1150060" y="432254"/>
                        <a:pt x="1150060" y="297317"/>
                      </a:cubicBezTo>
                      <a:cubicBezTo>
                        <a:pt x="1150060" y="162380"/>
                        <a:pt x="1183398" y="86180"/>
                        <a:pt x="1159585" y="40142"/>
                      </a:cubicBezTo>
                      <a:cubicBezTo>
                        <a:pt x="1135773" y="-5896"/>
                        <a:pt x="1153235" y="26648"/>
                        <a:pt x="1007185" y="21092"/>
                      </a:cubicBezTo>
                      <a:cubicBezTo>
                        <a:pt x="861135" y="15536"/>
                        <a:pt x="444416" y="7598"/>
                        <a:pt x="283285" y="6804"/>
                      </a:cubicBezTo>
                      <a:cubicBezTo>
                        <a:pt x="122154" y="6010"/>
                        <a:pt x="87229" y="-13040"/>
                        <a:pt x="40398" y="16329"/>
                      </a:cubicBezTo>
                      <a:cubicBezTo>
                        <a:pt x="-6433" y="45698"/>
                        <a:pt x="5473" y="139361"/>
                        <a:pt x="2298" y="183017"/>
                      </a:cubicBezTo>
                      <a:cubicBezTo>
                        <a:pt x="-877" y="226673"/>
                        <a:pt x="17379" y="156823"/>
                        <a:pt x="21348" y="278267"/>
                      </a:cubicBezTo>
                      <a:cubicBezTo>
                        <a:pt x="22935" y="489404"/>
                        <a:pt x="21650" y="700583"/>
                        <a:pt x="26110" y="911679"/>
                      </a:cubicBezTo>
                      <a:cubicBezTo>
                        <a:pt x="25316" y="1060110"/>
                        <a:pt x="22935" y="1091860"/>
                        <a:pt x="16585" y="1168854"/>
                      </a:cubicBezTo>
                      <a:cubicBezTo>
                        <a:pt x="14998" y="1345066"/>
                        <a:pt x="-38185" y="1955461"/>
                        <a:pt x="54685" y="1983242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1" name="Freeform: Shape 90">
                  <a:extLst>
                    <a:ext uri="{FF2B5EF4-FFF2-40B4-BE49-F238E27FC236}">
                      <a16:creationId xmlns:a16="http://schemas.microsoft.com/office/drawing/2014/main" id="{CEA4479A-FA7E-4A65-5964-03F5E015A4DE}"/>
                    </a:ext>
                  </a:extLst>
                </p:cNvPr>
                <p:cNvSpPr/>
                <p:nvPr/>
              </p:nvSpPr>
              <p:spPr>
                <a:xfrm>
                  <a:off x="8162926" y="2204990"/>
                  <a:ext cx="857248" cy="176258"/>
                </a:xfrm>
                <a:custGeom>
                  <a:avLst/>
                  <a:gdLst>
                    <a:gd name="connsiteX0" fmla="*/ 0 w 862013"/>
                    <a:gd name="connsiteY0" fmla="*/ 196076 h 235187"/>
                    <a:gd name="connsiteX1" fmla="*/ 304800 w 862013"/>
                    <a:gd name="connsiteY1" fmla="*/ 205601 h 235187"/>
                    <a:gd name="connsiteX2" fmla="*/ 323850 w 862013"/>
                    <a:gd name="connsiteY2" fmla="*/ 210364 h 235187"/>
                    <a:gd name="connsiteX3" fmla="*/ 385763 w 862013"/>
                    <a:gd name="connsiteY3" fmla="*/ 215126 h 235187"/>
                    <a:gd name="connsiteX4" fmla="*/ 852488 w 862013"/>
                    <a:gd name="connsiteY4" fmla="*/ 215126 h 235187"/>
                    <a:gd name="connsiteX5" fmla="*/ 862013 w 862013"/>
                    <a:gd name="connsiteY5" fmla="*/ 196076 h 235187"/>
                    <a:gd name="connsiteX6" fmla="*/ 842963 w 862013"/>
                    <a:gd name="connsiteY6" fmla="*/ 143689 h 235187"/>
                    <a:gd name="connsiteX7" fmla="*/ 838200 w 862013"/>
                    <a:gd name="connsiteY7" fmla="*/ 67489 h 235187"/>
                    <a:gd name="connsiteX8" fmla="*/ 833438 w 862013"/>
                    <a:gd name="connsiteY8" fmla="*/ 38914 h 235187"/>
                    <a:gd name="connsiteX9" fmla="*/ 800100 w 862013"/>
                    <a:gd name="connsiteY9" fmla="*/ 34151 h 235187"/>
                    <a:gd name="connsiteX10" fmla="*/ 747713 w 862013"/>
                    <a:gd name="connsiteY10" fmla="*/ 24626 h 235187"/>
                    <a:gd name="connsiteX11" fmla="*/ 547688 w 862013"/>
                    <a:gd name="connsiteY11" fmla="*/ 19864 h 235187"/>
                    <a:gd name="connsiteX12" fmla="*/ 33338 w 862013"/>
                    <a:gd name="connsiteY12" fmla="*/ 19864 h 235187"/>
                    <a:gd name="connsiteX13" fmla="*/ 9525 w 862013"/>
                    <a:gd name="connsiteY13" fmla="*/ 67489 h 235187"/>
                    <a:gd name="connsiteX14" fmla="*/ 14288 w 862013"/>
                    <a:gd name="connsiteY14" fmla="*/ 105589 h 235187"/>
                    <a:gd name="connsiteX15" fmla="*/ 23813 w 862013"/>
                    <a:gd name="connsiteY15" fmla="*/ 162739 h 235187"/>
                    <a:gd name="connsiteX16" fmla="*/ 0 w 862013"/>
                    <a:gd name="connsiteY16" fmla="*/ 196076 h 235187"/>
                    <a:gd name="connsiteX0" fmla="*/ 0 w 862013"/>
                    <a:gd name="connsiteY0" fmla="*/ 196076 h 235187"/>
                    <a:gd name="connsiteX1" fmla="*/ 304800 w 862013"/>
                    <a:gd name="connsiteY1" fmla="*/ 205601 h 235187"/>
                    <a:gd name="connsiteX2" fmla="*/ 323850 w 862013"/>
                    <a:gd name="connsiteY2" fmla="*/ 210364 h 235187"/>
                    <a:gd name="connsiteX3" fmla="*/ 385763 w 862013"/>
                    <a:gd name="connsiteY3" fmla="*/ 215126 h 235187"/>
                    <a:gd name="connsiteX4" fmla="*/ 852488 w 862013"/>
                    <a:gd name="connsiteY4" fmla="*/ 215126 h 235187"/>
                    <a:gd name="connsiteX5" fmla="*/ 862013 w 862013"/>
                    <a:gd name="connsiteY5" fmla="*/ 196076 h 235187"/>
                    <a:gd name="connsiteX6" fmla="*/ 842963 w 862013"/>
                    <a:gd name="connsiteY6" fmla="*/ 143689 h 235187"/>
                    <a:gd name="connsiteX7" fmla="*/ 838200 w 862013"/>
                    <a:gd name="connsiteY7" fmla="*/ 67489 h 235187"/>
                    <a:gd name="connsiteX8" fmla="*/ 833438 w 862013"/>
                    <a:gd name="connsiteY8" fmla="*/ 38914 h 235187"/>
                    <a:gd name="connsiteX9" fmla="*/ 747713 w 862013"/>
                    <a:gd name="connsiteY9" fmla="*/ 24626 h 235187"/>
                    <a:gd name="connsiteX10" fmla="*/ 547688 w 862013"/>
                    <a:gd name="connsiteY10" fmla="*/ 19864 h 235187"/>
                    <a:gd name="connsiteX11" fmla="*/ 33338 w 862013"/>
                    <a:gd name="connsiteY11" fmla="*/ 19864 h 235187"/>
                    <a:gd name="connsiteX12" fmla="*/ 9525 w 862013"/>
                    <a:gd name="connsiteY12" fmla="*/ 67489 h 235187"/>
                    <a:gd name="connsiteX13" fmla="*/ 14288 w 862013"/>
                    <a:gd name="connsiteY13" fmla="*/ 105589 h 235187"/>
                    <a:gd name="connsiteX14" fmla="*/ 23813 w 862013"/>
                    <a:gd name="connsiteY14" fmla="*/ 162739 h 235187"/>
                    <a:gd name="connsiteX15" fmla="*/ 0 w 862013"/>
                    <a:gd name="connsiteY15" fmla="*/ 196076 h 235187"/>
                    <a:gd name="connsiteX0" fmla="*/ 27850 w 889863"/>
                    <a:gd name="connsiteY0" fmla="*/ 178950 h 218061"/>
                    <a:gd name="connsiteX1" fmla="*/ 332650 w 889863"/>
                    <a:gd name="connsiteY1" fmla="*/ 188475 h 218061"/>
                    <a:gd name="connsiteX2" fmla="*/ 351700 w 889863"/>
                    <a:gd name="connsiteY2" fmla="*/ 193238 h 218061"/>
                    <a:gd name="connsiteX3" fmla="*/ 413613 w 889863"/>
                    <a:gd name="connsiteY3" fmla="*/ 198000 h 218061"/>
                    <a:gd name="connsiteX4" fmla="*/ 880338 w 889863"/>
                    <a:gd name="connsiteY4" fmla="*/ 198000 h 218061"/>
                    <a:gd name="connsiteX5" fmla="*/ 889863 w 889863"/>
                    <a:gd name="connsiteY5" fmla="*/ 178950 h 218061"/>
                    <a:gd name="connsiteX6" fmla="*/ 870813 w 889863"/>
                    <a:gd name="connsiteY6" fmla="*/ 126563 h 218061"/>
                    <a:gd name="connsiteX7" fmla="*/ 866050 w 889863"/>
                    <a:gd name="connsiteY7" fmla="*/ 50363 h 218061"/>
                    <a:gd name="connsiteX8" fmla="*/ 861288 w 889863"/>
                    <a:gd name="connsiteY8" fmla="*/ 21788 h 218061"/>
                    <a:gd name="connsiteX9" fmla="*/ 775563 w 889863"/>
                    <a:gd name="connsiteY9" fmla="*/ 7500 h 218061"/>
                    <a:gd name="connsiteX10" fmla="*/ 61188 w 889863"/>
                    <a:gd name="connsiteY10" fmla="*/ 2738 h 218061"/>
                    <a:gd name="connsiteX11" fmla="*/ 37375 w 889863"/>
                    <a:gd name="connsiteY11" fmla="*/ 50363 h 218061"/>
                    <a:gd name="connsiteX12" fmla="*/ 42138 w 889863"/>
                    <a:gd name="connsiteY12" fmla="*/ 88463 h 218061"/>
                    <a:gd name="connsiteX13" fmla="*/ 51663 w 889863"/>
                    <a:gd name="connsiteY13" fmla="*/ 145613 h 218061"/>
                    <a:gd name="connsiteX14" fmla="*/ 27850 w 889863"/>
                    <a:gd name="connsiteY14" fmla="*/ 178950 h 218061"/>
                    <a:gd name="connsiteX0" fmla="*/ 27850 w 889863"/>
                    <a:gd name="connsiteY0" fmla="*/ 178950 h 218061"/>
                    <a:gd name="connsiteX1" fmla="*/ 332650 w 889863"/>
                    <a:gd name="connsiteY1" fmla="*/ 188475 h 218061"/>
                    <a:gd name="connsiteX2" fmla="*/ 351700 w 889863"/>
                    <a:gd name="connsiteY2" fmla="*/ 193238 h 218061"/>
                    <a:gd name="connsiteX3" fmla="*/ 413613 w 889863"/>
                    <a:gd name="connsiteY3" fmla="*/ 198000 h 218061"/>
                    <a:gd name="connsiteX4" fmla="*/ 880338 w 889863"/>
                    <a:gd name="connsiteY4" fmla="*/ 198000 h 218061"/>
                    <a:gd name="connsiteX5" fmla="*/ 889863 w 889863"/>
                    <a:gd name="connsiteY5" fmla="*/ 178950 h 218061"/>
                    <a:gd name="connsiteX6" fmla="*/ 870813 w 889863"/>
                    <a:gd name="connsiteY6" fmla="*/ 126563 h 218061"/>
                    <a:gd name="connsiteX7" fmla="*/ 866050 w 889863"/>
                    <a:gd name="connsiteY7" fmla="*/ 50363 h 218061"/>
                    <a:gd name="connsiteX8" fmla="*/ 861288 w 889863"/>
                    <a:gd name="connsiteY8" fmla="*/ 21788 h 218061"/>
                    <a:gd name="connsiteX9" fmla="*/ 775563 w 889863"/>
                    <a:gd name="connsiteY9" fmla="*/ 7500 h 218061"/>
                    <a:gd name="connsiteX10" fmla="*/ 61188 w 889863"/>
                    <a:gd name="connsiteY10" fmla="*/ 2738 h 218061"/>
                    <a:gd name="connsiteX11" fmla="*/ 37375 w 889863"/>
                    <a:gd name="connsiteY11" fmla="*/ 50363 h 218061"/>
                    <a:gd name="connsiteX12" fmla="*/ 51663 w 889863"/>
                    <a:gd name="connsiteY12" fmla="*/ 145613 h 218061"/>
                    <a:gd name="connsiteX13" fmla="*/ 27850 w 889863"/>
                    <a:gd name="connsiteY13" fmla="*/ 178950 h 218061"/>
                    <a:gd name="connsiteX0" fmla="*/ 27850 w 889863"/>
                    <a:gd name="connsiteY0" fmla="*/ 178950 h 218061"/>
                    <a:gd name="connsiteX1" fmla="*/ 351700 w 889863"/>
                    <a:gd name="connsiteY1" fmla="*/ 193238 h 218061"/>
                    <a:gd name="connsiteX2" fmla="*/ 413613 w 889863"/>
                    <a:gd name="connsiteY2" fmla="*/ 198000 h 218061"/>
                    <a:gd name="connsiteX3" fmla="*/ 880338 w 889863"/>
                    <a:gd name="connsiteY3" fmla="*/ 198000 h 218061"/>
                    <a:gd name="connsiteX4" fmla="*/ 889863 w 889863"/>
                    <a:gd name="connsiteY4" fmla="*/ 178950 h 218061"/>
                    <a:gd name="connsiteX5" fmla="*/ 870813 w 889863"/>
                    <a:gd name="connsiteY5" fmla="*/ 126563 h 218061"/>
                    <a:gd name="connsiteX6" fmla="*/ 866050 w 889863"/>
                    <a:gd name="connsiteY6" fmla="*/ 50363 h 218061"/>
                    <a:gd name="connsiteX7" fmla="*/ 861288 w 889863"/>
                    <a:gd name="connsiteY7" fmla="*/ 21788 h 218061"/>
                    <a:gd name="connsiteX8" fmla="*/ 775563 w 889863"/>
                    <a:gd name="connsiteY8" fmla="*/ 7500 h 218061"/>
                    <a:gd name="connsiteX9" fmla="*/ 61188 w 889863"/>
                    <a:gd name="connsiteY9" fmla="*/ 2738 h 218061"/>
                    <a:gd name="connsiteX10" fmla="*/ 37375 w 889863"/>
                    <a:gd name="connsiteY10" fmla="*/ 50363 h 218061"/>
                    <a:gd name="connsiteX11" fmla="*/ 51663 w 889863"/>
                    <a:gd name="connsiteY11" fmla="*/ 145613 h 218061"/>
                    <a:gd name="connsiteX12" fmla="*/ 27850 w 889863"/>
                    <a:gd name="connsiteY12" fmla="*/ 178950 h 218061"/>
                    <a:gd name="connsiteX0" fmla="*/ 27850 w 889863"/>
                    <a:gd name="connsiteY0" fmla="*/ 178950 h 218061"/>
                    <a:gd name="connsiteX1" fmla="*/ 413613 w 889863"/>
                    <a:gd name="connsiteY1" fmla="*/ 198000 h 218061"/>
                    <a:gd name="connsiteX2" fmla="*/ 880338 w 889863"/>
                    <a:gd name="connsiteY2" fmla="*/ 198000 h 218061"/>
                    <a:gd name="connsiteX3" fmla="*/ 889863 w 889863"/>
                    <a:gd name="connsiteY3" fmla="*/ 178950 h 218061"/>
                    <a:gd name="connsiteX4" fmla="*/ 870813 w 889863"/>
                    <a:gd name="connsiteY4" fmla="*/ 126563 h 218061"/>
                    <a:gd name="connsiteX5" fmla="*/ 866050 w 889863"/>
                    <a:gd name="connsiteY5" fmla="*/ 50363 h 218061"/>
                    <a:gd name="connsiteX6" fmla="*/ 861288 w 889863"/>
                    <a:gd name="connsiteY6" fmla="*/ 21788 h 218061"/>
                    <a:gd name="connsiteX7" fmla="*/ 775563 w 889863"/>
                    <a:gd name="connsiteY7" fmla="*/ 7500 h 218061"/>
                    <a:gd name="connsiteX8" fmla="*/ 61188 w 889863"/>
                    <a:gd name="connsiteY8" fmla="*/ 2738 h 218061"/>
                    <a:gd name="connsiteX9" fmla="*/ 37375 w 889863"/>
                    <a:gd name="connsiteY9" fmla="*/ 50363 h 218061"/>
                    <a:gd name="connsiteX10" fmla="*/ 51663 w 889863"/>
                    <a:gd name="connsiteY10" fmla="*/ 145613 h 218061"/>
                    <a:gd name="connsiteX11" fmla="*/ 27850 w 889863"/>
                    <a:gd name="connsiteY11" fmla="*/ 178950 h 218061"/>
                    <a:gd name="connsiteX0" fmla="*/ 27850 w 889863"/>
                    <a:gd name="connsiteY0" fmla="*/ 178950 h 218061"/>
                    <a:gd name="connsiteX1" fmla="*/ 413613 w 889863"/>
                    <a:gd name="connsiteY1" fmla="*/ 198000 h 218061"/>
                    <a:gd name="connsiteX2" fmla="*/ 880338 w 889863"/>
                    <a:gd name="connsiteY2" fmla="*/ 198000 h 218061"/>
                    <a:gd name="connsiteX3" fmla="*/ 889863 w 889863"/>
                    <a:gd name="connsiteY3" fmla="*/ 178950 h 218061"/>
                    <a:gd name="connsiteX4" fmla="*/ 866050 w 889863"/>
                    <a:gd name="connsiteY4" fmla="*/ 50363 h 218061"/>
                    <a:gd name="connsiteX5" fmla="*/ 861288 w 889863"/>
                    <a:gd name="connsiteY5" fmla="*/ 21788 h 218061"/>
                    <a:gd name="connsiteX6" fmla="*/ 775563 w 889863"/>
                    <a:gd name="connsiteY6" fmla="*/ 7500 h 218061"/>
                    <a:gd name="connsiteX7" fmla="*/ 61188 w 889863"/>
                    <a:gd name="connsiteY7" fmla="*/ 2738 h 218061"/>
                    <a:gd name="connsiteX8" fmla="*/ 37375 w 889863"/>
                    <a:gd name="connsiteY8" fmla="*/ 50363 h 218061"/>
                    <a:gd name="connsiteX9" fmla="*/ 51663 w 889863"/>
                    <a:gd name="connsiteY9" fmla="*/ 145613 h 218061"/>
                    <a:gd name="connsiteX10" fmla="*/ 27850 w 889863"/>
                    <a:gd name="connsiteY10" fmla="*/ 178950 h 218061"/>
                    <a:gd name="connsiteX0" fmla="*/ 27850 w 922758"/>
                    <a:gd name="connsiteY0" fmla="*/ 178950 h 198800"/>
                    <a:gd name="connsiteX1" fmla="*/ 342175 w 922758"/>
                    <a:gd name="connsiteY1" fmla="*/ 174188 h 198800"/>
                    <a:gd name="connsiteX2" fmla="*/ 880338 w 922758"/>
                    <a:gd name="connsiteY2" fmla="*/ 198000 h 198800"/>
                    <a:gd name="connsiteX3" fmla="*/ 889863 w 922758"/>
                    <a:gd name="connsiteY3" fmla="*/ 178950 h 198800"/>
                    <a:gd name="connsiteX4" fmla="*/ 866050 w 922758"/>
                    <a:gd name="connsiteY4" fmla="*/ 50363 h 198800"/>
                    <a:gd name="connsiteX5" fmla="*/ 861288 w 922758"/>
                    <a:gd name="connsiteY5" fmla="*/ 21788 h 198800"/>
                    <a:gd name="connsiteX6" fmla="*/ 775563 w 922758"/>
                    <a:gd name="connsiteY6" fmla="*/ 7500 h 198800"/>
                    <a:gd name="connsiteX7" fmla="*/ 61188 w 922758"/>
                    <a:gd name="connsiteY7" fmla="*/ 2738 h 198800"/>
                    <a:gd name="connsiteX8" fmla="*/ 37375 w 922758"/>
                    <a:gd name="connsiteY8" fmla="*/ 50363 h 198800"/>
                    <a:gd name="connsiteX9" fmla="*/ 51663 w 922758"/>
                    <a:gd name="connsiteY9" fmla="*/ 145613 h 198800"/>
                    <a:gd name="connsiteX10" fmla="*/ 27850 w 922758"/>
                    <a:gd name="connsiteY10" fmla="*/ 178950 h 198800"/>
                    <a:gd name="connsiteX0" fmla="*/ 27850 w 889863"/>
                    <a:gd name="connsiteY0" fmla="*/ 178950 h 187022"/>
                    <a:gd name="connsiteX1" fmla="*/ 342175 w 889863"/>
                    <a:gd name="connsiteY1" fmla="*/ 174188 h 187022"/>
                    <a:gd name="connsiteX2" fmla="*/ 620781 w 889863"/>
                    <a:gd name="connsiteY2" fmla="*/ 167044 h 187022"/>
                    <a:gd name="connsiteX3" fmla="*/ 889863 w 889863"/>
                    <a:gd name="connsiteY3" fmla="*/ 178950 h 187022"/>
                    <a:gd name="connsiteX4" fmla="*/ 866050 w 889863"/>
                    <a:gd name="connsiteY4" fmla="*/ 50363 h 187022"/>
                    <a:gd name="connsiteX5" fmla="*/ 861288 w 889863"/>
                    <a:gd name="connsiteY5" fmla="*/ 21788 h 187022"/>
                    <a:gd name="connsiteX6" fmla="*/ 775563 w 889863"/>
                    <a:gd name="connsiteY6" fmla="*/ 7500 h 187022"/>
                    <a:gd name="connsiteX7" fmla="*/ 61188 w 889863"/>
                    <a:gd name="connsiteY7" fmla="*/ 2738 h 187022"/>
                    <a:gd name="connsiteX8" fmla="*/ 37375 w 889863"/>
                    <a:gd name="connsiteY8" fmla="*/ 50363 h 187022"/>
                    <a:gd name="connsiteX9" fmla="*/ 51663 w 889863"/>
                    <a:gd name="connsiteY9" fmla="*/ 145613 h 187022"/>
                    <a:gd name="connsiteX10" fmla="*/ 27850 w 889863"/>
                    <a:gd name="connsiteY10" fmla="*/ 178950 h 187022"/>
                    <a:gd name="connsiteX0" fmla="*/ 27850 w 873194"/>
                    <a:gd name="connsiteY0" fmla="*/ 178950 h 187022"/>
                    <a:gd name="connsiteX1" fmla="*/ 342175 w 873194"/>
                    <a:gd name="connsiteY1" fmla="*/ 174188 h 187022"/>
                    <a:gd name="connsiteX2" fmla="*/ 620781 w 873194"/>
                    <a:gd name="connsiteY2" fmla="*/ 167044 h 187022"/>
                    <a:gd name="connsiteX3" fmla="*/ 873194 w 873194"/>
                    <a:gd name="connsiteY3" fmla="*/ 178950 h 187022"/>
                    <a:gd name="connsiteX4" fmla="*/ 866050 w 873194"/>
                    <a:gd name="connsiteY4" fmla="*/ 50363 h 187022"/>
                    <a:gd name="connsiteX5" fmla="*/ 861288 w 873194"/>
                    <a:gd name="connsiteY5" fmla="*/ 21788 h 187022"/>
                    <a:gd name="connsiteX6" fmla="*/ 775563 w 873194"/>
                    <a:gd name="connsiteY6" fmla="*/ 7500 h 187022"/>
                    <a:gd name="connsiteX7" fmla="*/ 61188 w 873194"/>
                    <a:gd name="connsiteY7" fmla="*/ 2738 h 187022"/>
                    <a:gd name="connsiteX8" fmla="*/ 37375 w 873194"/>
                    <a:gd name="connsiteY8" fmla="*/ 50363 h 187022"/>
                    <a:gd name="connsiteX9" fmla="*/ 51663 w 873194"/>
                    <a:gd name="connsiteY9" fmla="*/ 145613 h 187022"/>
                    <a:gd name="connsiteX10" fmla="*/ 27850 w 873194"/>
                    <a:gd name="connsiteY10" fmla="*/ 178950 h 187022"/>
                    <a:gd name="connsiteX0" fmla="*/ 27850 w 873194"/>
                    <a:gd name="connsiteY0" fmla="*/ 178950 h 180291"/>
                    <a:gd name="connsiteX1" fmla="*/ 620781 w 873194"/>
                    <a:gd name="connsiteY1" fmla="*/ 167044 h 180291"/>
                    <a:gd name="connsiteX2" fmla="*/ 873194 w 873194"/>
                    <a:gd name="connsiteY2" fmla="*/ 178950 h 180291"/>
                    <a:gd name="connsiteX3" fmla="*/ 866050 w 873194"/>
                    <a:gd name="connsiteY3" fmla="*/ 50363 h 180291"/>
                    <a:gd name="connsiteX4" fmla="*/ 861288 w 873194"/>
                    <a:gd name="connsiteY4" fmla="*/ 21788 h 180291"/>
                    <a:gd name="connsiteX5" fmla="*/ 775563 w 873194"/>
                    <a:gd name="connsiteY5" fmla="*/ 7500 h 180291"/>
                    <a:gd name="connsiteX6" fmla="*/ 61188 w 873194"/>
                    <a:gd name="connsiteY6" fmla="*/ 2738 h 180291"/>
                    <a:gd name="connsiteX7" fmla="*/ 37375 w 873194"/>
                    <a:gd name="connsiteY7" fmla="*/ 50363 h 180291"/>
                    <a:gd name="connsiteX8" fmla="*/ 51663 w 873194"/>
                    <a:gd name="connsiteY8" fmla="*/ 145613 h 180291"/>
                    <a:gd name="connsiteX9" fmla="*/ 27850 w 873194"/>
                    <a:gd name="connsiteY9" fmla="*/ 178950 h 180291"/>
                    <a:gd name="connsiteX0" fmla="*/ 27850 w 880517"/>
                    <a:gd name="connsiteY0" fmla="*/ 178706 h 180047"/>
                    <a:gd name="connsiteX1" fmla="*/ 620781 w 880517"/>
                    <a:gd name="connsiteY1" fmla="*/ 166800 h 180047"/>
                    <a:gd name="connsiteX2" fmla="*/ 873194 w 880517"/>
                    <a:gd name="connsiteY2" fmla="*/ 178706 h 180047"/>
                    <a:gd name="connsiteX3" fmla="*/ 866050 w 880517"/>
                    <a:gd name="connsiteY3" fmla="*/ 50119 h 180047"/>
                    <a:gd name="connsiteX4" fmla="*/ 875576 w 880517"/>
                    <a:gd name="connsiteY4" fmla="*/ 12019 h 180047"/>
                    <a:gd name="connsiteX5" fmla="*/ 775563 w 880517"/>
                    <a:gd name="connsiteY5" fmla="*/ 7256 h 180047"/>
                    <a:gd name="connsiteX6" fmla="*/ 61188 w 880517"/>
                    <a:gd name="connsiteY6" fmla="*/ 2494 h 180047"/>
                    <a:gd name="connsiteX7" fmla="*/ 37375 w 880517"/>
                    <a:gd name="connsiteY7" fmla="*/ 50119 h 180047"/>
                    <a:gd name="connsiteX8" fmla="*/ 51663 w 880517"/>
                    <a:gd name="connsiteY8" fmla="*/ 145369 h 180047"/>
                    <a:gd name="connsiteX9" fmla="*/ 27850 w 880517"/>
                    <a:gd name="connsiteY9" fmla="*/ 178706 h 180047"/>
                    <a:gd name="connsiteX0" fmla="*/ 27850 w 897096"/>
                    <a:gd name="connsiteY0" fmla="*/ 180341 h 181682"/>
                    <a:gd name="connsiteX1" fmla="*/ 620781 w 897096"/>
                    <a:gd name="connsiteY1" fmla="*/ 168435 h 181682"/>
                    <a:gd name="connsiteX2" fmla="*/ 873194 w 897096"/>
                    <a:gd name="connsiteY2" fmla="*/ 180341 h 181682"/>
                    <a:gd name="connsiteX3" fmla="*/ 875576 w 897096"/>
                    <a:gd name="connsiteY3" fmla="*/ 13654 h 181682"/>
                    <a:gd name="connsiteX4" fmla="*/ 775563 w 897096"/>
                    <a:gd name="connsiteY4" fmla="*/ 8891 h 181682"/>
                    <a:gd name="connsiteX5" fmla="*/ 61188 w 897096"/>
                    <a:gd name="connsiteY5" fmla="*/ 4129 h 181682"/>
                    <a:gd name="connsiteX6" fmla="*/ 37375 w 897096"/>
                    <a:gd name="connsiteY6" fmla="*/ 51754 h 181682"/>
                    <a:gd name="connsiteX7" fmla="*/ 51663 w 897096"/>
                    <a:gd name="connsiteY7" fmla="*/ 147004 h 181682"/>
                    <a:gd name="connsiteX8" fmla="*/ 27850 w 897096"/>
                    <a:gd name="connsiteY8" fmla="*/ 180341 h 181682"/>
                    <a:gd name="connsiteX0" fmla="*/ 27850 w 897096"/>
                    <a:gd name="connsiteY0" fmla="*/ 179235 h 180576"/>
                    <a:gd name="connsiteX1" fmla="*/ 620781 w 897096"/>
                    <a:gd name="connsiteY1" fmla="*/ 167329 h 180576"/>
                    <a:gd name="connsiteX2" fmla="*/ 873194 w 897096"/>
                    <a:gd name="connsiteY2" fmla="*/ 179235 h 180576"/>
                    <a:gd name="connsiteX3" fmla="*/ 875576 w 897096"/>
                    <a:gd name="connsiteY3" fmla="*/ 31598 h 180576"/>
                    <a:gd name="connsiteX4" fmla="*/ 775563 w 897096"/>
                    <a:gd name="connsiteY4" fmla="*/ 7785 h 180576"/>
                    <a:gd name="connsiteX5" fmla="*/ 61188 w 897096"/>
                    <a:gd name="connsiteY5" fmla="*/ 3023 h 180576"/>
                    <a:gd name="connsiteX6" fmla="*/ 37375 w 897096"/>
                    <a:gd name="connsiteY6" fmla="*/ 50648 h 180576"/>
                    <a:gd name="connsiteX7" fmla="*/ 51663 w 897096"/>
                    <a:gd name="connsiteY7" fmla="*/ 145898 h 180576"/>
                    <a:gd name="connsiteX8" fmla="*/ 27850 w 897096"/>
                    <a:gd name="connsiteY8" fmla="*/ 179235 h 180576"/>
                    <a:gd name="connsiteX0" fmla="*/ 27850 w 885098"/>
                    <a:gd name="connsiteY0" fmla="*/ 179235 h 180576"/>
                    <a:gd name="connsiteX1" fmla="*/ 620781 w 885098"/>
                    <a:gd name="connsiteY1" fmla="*/ 167329 h 180576"/>
                    <a:gd name="connsiteX2" fmla="*/ 873194 w 885098"/>
                    <a:gd name="connsiteY2" fmla="*/ 179235 h 180576"/>
                    <a:gd name="connsiteX3" fmla="*/ 875576 w 885098"/>
                    <a:gd name="connsiteY3" fmla="*/ 31598 h 180576"/>
                    <a:gd name="connsiteX4" fmla="*/ 775563 w 885098"/>
                    <a:gd name="connsiteY4" fmla="*/ 7785 h 180576"/>
                    <a:gd name="connsiteX5" fmla="*/ 61188 w 885098"/>
                    <a:gd name="connsiteY5" fmla="*/ 3023 h 180576"/>
                    <a:gd name="connsiteX6" fmla="*/ 37375 w 885098"/>
                    <a:gd name="connsiteY6" fmla="*/ 50648 h 180576"/>
                    <a:gd name="connsiteX7" fmla="*/ 51663 w 885098"/>
                    <a:gd name="connsiteY7" fmla="*/ 145898 h 180576"/>
                    <a:gd name="connsiteX8" fmla="*/ 27850 w 885098"/>
                    <a:gd name="connsiteY8" fmla="*/ 179235 h 180576"/>
                    <a:gd name="connsiteX0" fmla="*/ 0 w 857248"/>
                    <a:gd name="connsiteY0" fmla="*/ 188826 h 190167"/>
                    <a:gd name="connsiteX1" fmla="*/ 592931 w 857248"/>
                    <a:gd name="connsiteY1" fmla="*/ 176920 h 190167"/>
                    <a:gd name="connsiteX2" fmla="*/ 845344 w 857248"/>
                    <a:gd name="connsiteY2" fmla="*/ 188826 h 190167"/>
                    <a:gd name="connsiteX3" fmla="*/ 847726 w 857248"/>
                    <a:gd name="connsiteY3" fmla="*/ 41189 h 190167"/>
                    <a:gd name="connsiteX4" fmla="*/ 747713 w 857248"/>
                    <a:gd name="connsiteY4" fmla="*/ 17376 h 190167"/>
                    <a:gd name="connsiteX5" fmla="*/ 33338 w 857248"/>
                    <a:gd name="connsiteY5" fmla="*/ 12614 h 190167"/>
                    <a:gd name="connsiteX6" fmla="*/ 9525 w 857248"/>
                    <a:gd name="connsiteY6" fmla="*/ 60239 h 190167"/>
                    <a:gd name="connsiteX7" fmla="*/ 23813 w 857248"/>
                    <a:gd name="connsiteY7" fmla="*/ 155489 h 190167"/>
                    <a:gd name="connsiteX8" fmla="*/ 0 w 857248"/>
                    <a:gd name="connsiteY8" fmla="*/ 188826 h 190167"/>
                    <a:gd name="connsiteX0" fmla="*/ 0 w 857248"/>
                    <a:gd name="connsiteY0" fmla="*/ 176258 h 177599"/>
                    <a:gd name="connsiteX1" fmla="*/ 592931 w 857248"/>
                    <a:gd name="connsiteY1" fmla="*/ 164352 h 177599"/>
                    <a:gd name="connsiteX2" fmla="*/ 845344 w 857248"/>
                    <a:gd name="connsiteY2" fmla="*/ 176258 h 177599"/>
                    <a:gd name="connsiteX3" fmla="*/ 847726 w 857248"/>
                    <a:gd name="connsiteY3" fmla="*/ 28621 h 177599"/>
                    <a:gd name="connsiteX4" fmla="*/ 747713 w 857248"/>
                    <a:gd name="connsiteY4" fmla="*/ 4808 h 177599"/>
                    <a:gd name="connsiteX5" fmla="*/ 33338 w 857248"/>
                    <a:gd name="connsiteY5" fmla="*/ 46 h 177599"/>
                    <a:gd name="connsiteX6" fmla="*/ 9525 w 857248"/>
                    <a:gd name="connsiteY6" fmla="*/ 47671 h 177599"/>
                    <a:gd name="connsiteX7" fmla="*/ 23813 w 857248"/>
                    <a:gd name="connsiteY7" fmla="*/ 142921 h 177599"/>
                    <a:gd name="connsiteX8" fmla="*/ 0 w 857248"/>
                    <a:gd name="connsiteY8" fmla="*/ 176258 h 177599"/>
                    <a:gd name="connsiteX0" fmla="*/ 0 w 857248"/>
                    <a:gd name="connsiteY0" fmla="*/ 176258 h 177599"/>
                    <a:gd name="connsiteX1" fmla="*/ 592931 w 857248"/>
                    <a:gd name="connsiteY1" fmla="*/ 164352 h 177599"/>
                    <a:gd name="connsiteX2" fmla="*/ 845344 w 857248"/>
                    <a:gd name="connsiteY2" fmla="*/ 176258 h 177599"/>
                    <a:gd name="connsiteX3" fmla="*/ 847726 w 857248"/>
                    <a:gd name="connsiteY3" fmla="*/ 28621 h 177599"/>
                    <a:gd name="connsiteX4" fmla="*/ 747713 w 857248"/>
                    <a:gd name="connsiteY4" fmla="*/ 4808 h 177599"/>
                    <a:gd name="connsiteX5" fmla="*/ 33338 w 857248"/>
                    <a:gd name="connsiteY5" fmla="*/ 46 h 177599"/>
                    <a:gd name="connsiteX6" fmla="*/ 9525 w 857248"/>
                    <a:gd name="connsiteY6" fmla="*/ 47671 h 177599"/>
                    <a:gd name="connsiteX7" fmla="*/ 14288 w 857248"/>
                    <a:gd name="connsiteY7" fmla="*/ 128634 h 177599"/>
                    <a:gd name="connsiteX8" fmla="*/ 0 w 857248"/>
                    <a:gd name="connsiteY8" fmla="*/ 176258 h 177599"/>
                    <a:gd name="connsiteX0" fmla="*/ 592931 w 857248"/>
                    <a:gd name="connsiteY0" fmla="*/ 164352 h 255792"/>
                    <a:gd name="connsiteX1" fmla="*/ 845344 w 857248"/>
                    <a:gd name="connsiteY1" fmla="*/ 176258 h 255792"/>
                    <a:gd name="connsiteX2" fmla="*/ 847726 w 857248"/>
                    <a:gd name="connsiteY2" fmla="*/ 28621 h 255792"/>
                    <a:gd name="connsiteX3" fmla="*/ 747713 w 857248"/>
                    <a:gd name="connsiteY3" fmla="*/ 4808 h 255792"/>
                    <a:gd name="connsiteX4" fmla="*/ 33338 w 857248"/>
                    <a:gd name="connsiteY4" fmla="*/ 46 h 255792"/>
                    <a:gd name="connsiteX5" fmla="*/ 9525 w 857248"/>
                    <a:gd name="connsiteY5" fmla="*/ 47671 h 255792"/>
                    <a:gd name="connsiteX6" fmla="*/ 14288 w 857248"/>
                    <a:gd name="connsiteY6" fmla="*/ 128634 h 255792"/>
                    <a:gd name="connsiteX7" fmla="*/ 0 w 857248"/>
                    <a:gd name="connsiteY7" fmla="*/ 176258 h 255792"/>
                    <a:gd name="connsiteX8" fmla="*/ 684371 w 857248"/>
                    <a:gd name="connsiteY8" fmla="*/ 255792 h 255792"/>
                    <a:gd name="connsiteX0" fmla="*/ 592931 w 857248"/>
                    <a:gd name="connsiteY0" fmla="*/ 164352 h 177599"/>
                    <a:gd name="connsiteX1" fmla="*/ 845344 w 857248"/>
                    <a:gd name="connsiteY1" fmla="*/ 176258 h 177599"/>
                    <a:gd name="connsiteX2" fmla="*/ 847726 w 857248"/>
                    <a:gd name="connsiteY2" fmla="*/ 28621 h 177599"/>
                    <a:gd name="connsiteX3" fmla="*/ 747713 w 857248"/>
                    <a:gd name="connsiteY3" fmla="*/ 4808 h 177599"/>
                    <a:gd name="connsiteX4" fmla="*/ 33338 w 857248"/>
                    <a:gd name="connsiteY4" fmla="*/ 46 h 177599"/>
                    <a:gd name="connsiteX5" fmla="*/ 9525 w 857248"/>
                    <a:gd name="connsiteY5" fmla="*/ 47671 h 177599"/>
                    <a:gd name="connsiteX6" fmla="*/ 14288 w 857248"/>
                    <a:gd name="connsiteY6" fmla="*/ 128634 h 177599"/>
                    <a:gd name="connsiteX7" fmla="*/ 0 w 857248"/>
                    <a:gd name="connsiteY7" fmla="*/ 176258 h 177599"/>
                    <a:gd name="connsiteX0" fmla="*/ 845344 w 857248"/>
                    <a:gd name="connsiteY0" fmla="*/ 176258 h 176258"/>
                    <a:gd name="connsiteX1" fmla="*/ 847726 w 857248"/>
                    <a:gd name="connsiteY1" fmla="*/ 28621 h 176258"/>
                    <a:gd name="connsiteX2" fmla="*/ 747713 w 857248"/>
                    <a:gd name="connsiteY2" fmla="*/ 4808 h 176258"/>
                    <a:gd name="connsiteX3" fmla="*/ 33338 w 857248"/>
                    <a:gd name="connsiteY3" fmla="*/ 46 h 176258"/>
                    <a:gd name="connsiteX4" fmla="*/ 9525 w 857248"/>
                    <a:gd name="connsiteY4" fmla="*/ 47671 h 176258"/>
                    <a:gd name="connsiteX5" fmla="*/ 14288 w 857248"/>
                    <a:gd name="connsiteY5" fmla="*/ 128634 h 176258"/>
                    <a:gd name="connsiteX6" fmla="*/ 0 w 857248"/>
                    <a:gd name="connsiteY6" fmla="*/ 176258 h 17625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857248" h="176258">
                      <a:moveTo>
                        <a:pt x="845344" y="176258"/>
                      </a:moveTo>
                      <a:cubicBezTo>
                        <a:pt x="856854" y="133792"/>
                        <a:pt x="863998" y="57196"/>
                        <a:pt x="847726" y="28621"/>
                      </a:cubicBezTo>
                      <a:cubicBezTo>
                        <a:pt x="831454" y="46"/>
                        <a:pt x="883444" y="9570"/>
                        <a:pt x="747713" y="4808"/>
                      </a:cubicBezTo>
                      <a:cubicBezTo>
                        <a:pt x="611982" y="46"/>
                        <a:pt x="155554" y="-142"/>
                        <a:pt x="33338" y="46"/>
                      </a:cubicBezTo>
                      <a:cubicBezTo>
                        <a:pt x="-7477" y="109"/>
                        <a:pt x="11118" y="43689"/>
                        <a:pt x="9525" y="47671"/>
                      </a:cubicBezTo>
                      <a:cubicBezTo>
                        <a:pt x="7937" y="71484"/>
                        <a:pt x="15876" y="107203"/>
                        <a:pt x="14288" y="128634"/>
                      </a:cubicBezTo>
                      <a:lnTo>
                        <a:pt x="0" y="176258"/>
                      </a:ln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2" name="Freeform: Shape 91">
                  <a:extLst>
                    <a:ext uri="{FF2B5EF4-FFF2-40B4-BE49-F238E27FC236}">
                      <a16:creationId xmlns:a16="http://schemas.microsoft.com/office/drawing/2014/main" id="{604B3C30-5734-693D-43DE-F46AD89FE5EC}"/>
                    </a:ext>
                  </a:extLst>
                </p:cNvPr>
                <p:cNvSpPr/>
                <p:nvPr/>
              </p:nvSpPr>
              <p:spPr>
                <a:xfrm>
                  <a:off x="8192367" y="2600039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3" name="Freeform: Shape 92">
                  <a:extLst>
                    <a:ext uri="{FF2B5EF4-FFF2-40B4-BE49-F238E27FC236}">
                      <a16:creationId xmlns:a16="http://schemas.microsoft.com/office/drawing/2014/main" id="{7DB7146E-FD64-3B78-488B-B0D2F1894152}"/>
                    </a:ext>
                  </a:extLst>
                </p:cNvPr>
                <p:cNvSpPr/>
                <p:nvPr/>
              </p:nvSpPr>
              <p:spPr>
                <a:xfrm>
                  <a:off x="8475736" y="2600039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4" name="Freeform: Shape 93">
                  <a:extLst>
                    <a:ext uri="{FF2B5EF4-FFF2-40B4-BE49-F238E27FC236}">
                      <a16:creationId xmlns:a16="http://schemas.microsoft.com/office/drawing/2014/main" id="{2229A7C8-1EB3-961B-F5C0-4DE73E4CAFC9}"/>
                    </a:ext>
                  </a:extLst>
                </p:cNvPr>
                <p:cNvSpPr/>
                <p:nvPr/>
              </p:nvSpPr>
              <p:spPr>
                <a:xfrm>
                  <a:off x="8761486" y="2600039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5" name="Freeform: Shape 94">
                  <a:extLst>
                    <a:ext uri="{FF2B5EF4-FFF2-40B4-BE49-F238E27FC236}">
                      <a16:creationId xmlns:a16="http://schemas.microsoft.com/office/drawing/2014/main" id="{98D7C165-34D6-7753-5CC8-260354C5E62F}"/>
                    </a:ext>
                  </a:extLst>
                </p:cNvPr>
                <p:cNvSpPr/>
                <p:nvPr/>
              </p:nvSpPr>
              <p:spPr>
                <a:xfrm>
                  <a:off x="8192367" y="2888170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6" name="Freeform: Shape 95">
                  <a:extLst>
                    <a:ext uri="{FF2B5EF4-FFF2-40B4-BE49-F238E27FC236}">
                      <a16:creationId xmlns:a16="http://schemas.microsoft.com/office/drawing/2014/main" id="{7723419C-49A6-5B2F-551C-60549BAC4239}"/>
                    </a:ext>
                  </a:extLst>
                </p:cNvPr>
                <p:cNvSpPr/>
                <p:nvPr/>
              </p:nvSpPr>
              <p:spPr>
                <a:xfrm>
                  <a:off x="8475736" y="2888170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7" name="Freeform: Shape 96">
                  <a:extLst>
                    <a:ext uri="{FF2B5EF4-FFF2-40B4-BE49-F238E27FC236}">
                      <a16:creationId xmlns:a16="http://schemas.microsoft.com/office/drawing/2014/main" id="{6A63964A-F473-FCFD-4ECB-A2AAEAA0C05D}"/>
                    </a:ext>
                  </a:extLst>
                </p:cNvPr>
                <p:cNvSpPr/>
                <p:nvPr/>
              </p:nvSpPr>
              <p:spPr>
                <a:xfrm>
                  <a:off x="8761486" y="2888170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8" name="Freeform: Shape 97">
                  <a:extLst>
                    <a:ext uri="{FF2B5EF4-FFF2-40B4-BE49-F238E27FC236}">
                      <a16:creationId xmlns:a16="http://schemas.microsoft.com/office/drawing/2014/main" id="{15CBECE3-A16A-69C5-06FD-DCF4FEA4F6E6}"/>
                    </a:ext>
                  </a:extLst>
                </p:cNvPr>
                <p:cNvSpPr/>
                <p:nvPr/>
              </p:nvSpPr>
              <p:spPr>
                <a:xfrm>
                  <a:off x="8192367" y="3173920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99" name="Freeform: Shape 98">
                  <a:extLst>
                    <a:ext uri="{FF2B5EF4-FFF2-40B4-BE49-F238E27FC236}">
                      <a16:creationId xmlns:a16="http://schemas.microsoft.com/office/drawing/2014/main" id="{34CF34A6-C08A-B97E-AAFC-FFD1FAB5C0E9}"/>
                    </a:ext>
                  </a:extLst>
                </p:cNvPr>
                <p:cNvSpPr/>
                <p:nvPr/>
              </p:nvSpPr>
              <p:spPr>
                <a:xfrm>
                  <a:off x="8475736" y="3173920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0" name="Freeform: Shape 99">
                  <a:extLst>
                    <a:ext uri="{FF2B5EF4-FFF2-40B4-BE49-F238E27FC236}">
                      <a16:creationId xmlns:a16="http://schemas.microsoft.com/office/drawing/2014/main" id="{F27EF69B-1076-4CA1-940C-AC206A034BA4}"/>
                    </a:ext>
                  </a:extLst>
                </p:cNvPr>
                <p:cNvSpPr/>
                <p:nvPr/>
              </p:nvSpPr>
              <p:spPr>
                <a:xfrm>
                  <a:off x="8761486" y="3173920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1" name="Freeform: Shape 100">
                  <a:extLst>
                    <a:ext uri="{FF2B5EF4-FFF2-40B4-BE49-F238E27FC236}">
                      <a16:creationId xmlns:a16="http://schemas.microsoft.com/office/drawing/2014/main" id="{4BD9E463-B18E-5A53-96D1-48A3678312F1}"/>
                    </a:ext>
                  </a:extLst>
                </p:cNvPr>
                <p:cNvSpPr/>
                <p:nvPr/>
              </p:nvSpPr>
              <p:spPr>
                <a:xfrm>
                  <a:off x="8192367" y="3457289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2" name="Freeform: Shape 101">
                  <a:extLst>
                    <a:ext uri="{FF2B5EF4-FFF2-40B4-BE49-F238E27FC236}">
                      <a16:creationId xmlns:a16="http://schemas.microsoft.com/office/drawing/2014/main" id="{FB89A3B2-C1AA-B005-FEFE-17E19BDBD1B5}"/>
                    </a:ext>
                  </a:extLst>
                </p:cNvPr>
                <p:cNvSpPr/>
                <p:nvPr/>
              </p:nvSpPr>
              <p:spPr>
                <a:xfrm>
                  <a:off x="8475736" y="3457289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3" name="Freeform: Shape 102">
                  <a:extLst>
                    <a:ext uri="{FF2B5EF4-FFF2-40B4-BE49-F238E27FC236}">
                      <a16:creationId xmlns:a16="http://schemas.microsoft.com/office/drawing/2014/main" id="{5C554D7D-8F2A-61B9-C525-C4D516610F0A}"/>
                    </a:ext>
                  </a:extLst>
                </p:cNvPr>
                <p:cNvSpPr/>
                <p:nvPr/>
              </p:nvSpPr>
              <p:spPr>
                <a:xfrm>
                  <a:off x="8761486" y="3457289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4" name="Freeform: Shape 103">
                  <a:extLst>
                    <a:ext uri="{FF2B5EF4-FFF2-40B4-BE49-F238E27FC236}">
                      <a16:creationId xmlns:a16="http://schemas.microsoft.com/office/drawing/2014/main" id="{89D9F32F-E56E-CB69-F9B6-14D2560D7B56}"/>
                    </a:ext>
                  </a:extLst>
                </p:cNvPr>
                <p:cNvSpPr/>
                <p:nvPr/>
              </p:nvSpPr>
              <p:spPr>
                <a:xfrm>
                  <a:off x="8192367" y="3743039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5" name="Freeform: Shape 104">
                  <a:extLst>
                    <a:ext uri="{FF2B5EF4-FFF2-40B4-BE49-F238E27FC236}">
                      <a16:creationId xmlns:a16="http://schemas.microsoft.com/office/drawing/2014/main" id="{EDFD6619-BA31-A1D5-D4C2-770419F813CD}"/>
                    </a:ext>
                  </a:extLst>
                </p:cNvPr>
                <p:cNvSpPr/>
                <p:nvPr/>
              </p:nvSpPr>
              <p:spPr>
                <a:xfrm>
                  <a:off x="8475736" y="3743039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6" name="Freeform: Shape 105">
                  <a:extLst>
                    <a:ext uri="{FF2B5EF4-FFF2-40B4-BE49-F238E27FC236}">
                      <a16:creationId xmlns:a16="http://schemas.microsoft.com/office/drawing/2014/main" id="{D10987D5-D665-B5DF-C02B-239F6A158D13}"/>
                    </a:ext>
                  </a:extLst>
                </p:cNvPr>
                <p:cNvSpPr/>
                <p:nvPr/>
              </p:nvSpPr>
              <p:spPr>
                <a:xfrm>
                  <a:off x="8761486" y="3743039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7" name="Freeform: Shape 106">
                  <a:extLst>
                    <a:ext uri="{FF2B5EF4-FFF2-40B4-BE49-F238E27FC236}">
                      <a16:creationId xmlns:a16="http://schemas.microsoft.com/office/drawing/2014/main" id="{E43C2C59-4556-53E8-C094-3AF4C58182B1}"/>
                    </a:ext>
                  </a:extLst>
                </p:cNvPr>
                <p:cNvSpPr/>
                <p:nvPr/>
              </p:nvSpPr>
              <p:spPr>
                <a:xfrm>
                  <a:off x="8192367" y="4024027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8" name="Freeform: Shape 107">
                  <a:extLst>
                    <a:ext uri="{FF2B5EF4-FFF2-40B4-BE49-F238E27FC236}">
                      <a16:creationId xmlns:a16="http://schemas.microsoft.com/office/drawing/2014/main" id="{8B24C0C9-7C46-DEF5-C678-76750F47F099}"/>
                    </a:ext>
                  </a:extLst>
                </p:cNvPr>
                <p:cNvSpPr/>
                <p:nvPr/>
              </p:nvSpPr>
              <p:spPr>
                <a:xfrm>
                  <a:off x="8761486" y="4024027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09" name="Freeform: Shape 108">
                  <a:extLst>
                    <a:ext uri="{FF2B5EF4-FFF2-40B4-BE49-F238E27FC236}">
                      <a16:creationId xmlns:a16="http://schemas.microsoft.com/office/drawing/2014/main" id="{442436D8-75FB-27D1-0E1D-FF16B179C80D}"/>
                    </a:ext>
                  </a:extLst>
                </p:cNvPr>
                <p:cNvSpPr/>
                <p:nvPr/>
              </p:nvSpPr>
              <p:spPr>
                <a:xfrm>
                  <a:off x="8473232" y="4033947"/>
                  <a:ext cx="130302" cy="349935"/>
                </a:xfrm>
                <a:custGeom>
                  <a:avLst/>
                  <a:gdLst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23825 w 133350"/>
                    <a:gd name="connsiteY13" fmla="*/ 91888 h 368113"/>
                    <a:gd name="connsiteX14" fmla="*/ 128588 w 133350"/>
                    <a:gd name="connsiteY14" fmla="*/ 115700 h 368113"/>
                    <a:gd name="connsiteX15" fmla="*/ 126207 w 133350"/>
                    <a:gd name="connsiteY15" fmla="*/ 158563 h 368113"/>
                    <a:gd name="connsiteX16" fmla="*/ 121444 w 133350"/>
                    <a:gd name="connsiteY16" fmla="*/ 187138 h 368113"/>
                    <a:gd name="connsiteX17" fmla="*/ 119063 w 133350"/>
                    <a:gd name="connsiteY17" fmla="*/ 234763 h 368113"/>
                    <a:gd name="connsiteX18" fmla="*/ 116682 w 133350"/>
                    <a:gd name="connsiteY18" fmla="*/ 241906 h 368113"/>
                    <a:gd name="connsiteX19" fmla="*/ 119063 w 133350"/>
                    <a:gd name="connsiteY19" fmla="*/ 294294 h 368113"/>
                    <a:gd name="connsiteX20" fmla="*/ 121444 w 133350"/>
                    <a:gd name="connsiteY20" fmla="*/ 306200 h 368113"/>
                    <a:gd name="connsiteX21" fmla="*/ 123825 w 133350"/>
                    <a:gd name="connsiteY21" fmla="*/ 320488 h 368113"/>
                    <a:gd name="connsiteX22" fmla="*/ 126207 w 133350"/>
                    <a:gd name="connsiteY22" fmla="*/ 337156 h 368113"/>
                    <a:gd name="connsiteX23" fmla="*/ 128588 w 133350"/>
                    <a:gd name="connsiteY23" fmla="*/ 346681 h 368113"/>
                    <a:gd name="connsiteX24" fmla="*/ 133350 w 133350"/>
                    <a:gd name="connsiteY24" fmla="*/ 368113 h 368113"/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23825 w 133350"/>
                    <a:gd name="connsiteY13" fmla="*/ 91888 h 368113"/>
                    <a:gd name="connsiteX14" fmla="*/ 128588 w 133350"/>
                    <a:gd name="connsiteY14" fmla="*/ 115700 h 368113"/>
                    <a:gd name="connsiteX15" fmla="*/ 121444 w 133350"/>
                    <a:gd name="connsiteY15" fmla="*/ 187138 h 368113"/>
                    <a:gd name="connsiteX16" fmla="*/ 119063 w 133350"/>
                    <a:gd name="connsiteY16" fmla="*/ 234763 h 368113"/>
                    <a:gd name="connsiteX17" fmla="*/ 116682 w 133350"/>
                    <a:gd name="connsiteY17" fmla="*/ 241906 h 368113"/>
                    <a:gd name="connsiteX18" fmla="*/ 119063 w 133350"/>
                    <a:gd name="connsiteY18" fmla="*/ 294294 h 368113"/>
                    <a:gd name="connsiteX19" fmla="*/ 121444 w 133350"/>
                    <a:gd name="connsiteY19" fmla="*/ 306200 h 368113"/>
                    <a:gd name="connsiteX20" fmla="*/ 123825 w 133350"/>
                    <a:gd name="connsiteY20" fmla="*/ 320488 h 368113"/>
                    <a:gd name="connsiteX21" fmla="*/ 126207 w 133350"/>
                    <a:gd name="connsiteY21" fmla="*/ 337156 h 368113"/>
                    <a:gd name="connsiteX22" fmla="*/ 128588 w 133350"/>
                    <a:gd name="connsiteY22" fmla="*/ 346681 h 368113"/>
                    <a:gd name="connsiteX23" fmla="*/ 133350 w 133350"/>
                    <a:gd name="connsiteY23" fmla="*/ 368113 h 368113"/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23825 w 133350"/>
                    <a:gd name="connsiteY13" fmla="*/ 91888 h 368113"/>
                    <a:gd name="connsiteX14" fmla="*/ 121444 w 133350"/>
                    <a:gd name="connsiteY14" fmla="*/ 187138 h 368113"/>
                    <a:gd name="connsiteX15" fmla="*/ 119063 w 133350"/>
                    <a:gd name="connsiteY15" fmla="*/ 234763 h 368113"/>
                    <a:gd name="connsiteX16" fmla="*/ 116682 w 133350"/>
                    <a:gd name="connsiteY16" fmla="*/ 241906 h 368113"/>
                    <a:gd name="connsiteX17" fmla="*/ 119063 w 133350"/>
                    <a:gd name="connsiteY17" fmla="*/ 294294 h 368113"/>
                    <a:gd name="connsiteX18" fmla="*/ 121444 w 133350"/>
                    <a:gd name="connsiteY18" fmla="*/ 306200 h 368113"/>
                    <a:gd name="connsiteX19" fmla="*/ 123825 w 133350"/>
                    <a:gd name="connsiteY19" fmla="*/ 320488 h 368113"/>
                    <a:gd name="connsiteX20" fmla="*/ 126207 w 133350"/>
                    <a:gd name="connsiteY20" fmla="*/ 337156 h 368113"/>
                    <a:gd name="connsiteX21" fmla="*/ 128588 w 133350"/>
                    <a:gd name="connsiteY21" fmla="*/ 346681 h 368113"/>
                    <a:gd name="connsiteX22" fmla="*/ 133350 w 133350"/>
                    <a:gd name="connsiteY22" fmla="*/ 368113 h 368113"/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21444 w 133350"/>
                    <a:gd name="connsiteY13" fmla="*/ 187138 h 368113"/>
                    <a:gd name="connsiteX14" fmla="*/ 119063 w 133350"/>
                    <a:gd name="connsiteY14" fmla="*/ 234763 h 368113"/>
                    <a:gd name="connsiteX15" fmla="*/ 116682 w 133350"/>
                    <a:gd name="connsiteY15" fmla="*/ 241906 h 368113"/>
                    <a:gd name="connsiteX16" fmla="*/ 119063 w 133350"/>
                    <a:gd name="connsiteY16" fmla="*/ 294294 h 368113"/>
                    <a:gd name="connsiteX17" fmla="*/ 121444 w 133350"/>
                    <a:gd name="connsiteY17" fmla="*/ 306200 h 368113"/>
                    <a:gd name="connsiteX18" fmla="*/ 123825 w 133350"/>
                    <a:gd name="connsiteY18" fmla="*/ 320488 h 368113"/>
                    <a:gd name="connsiteX19" fmla="*/ 126207 w 133350"/>
                    <a:gd name="connsiteY19" fmla="*/ 337156 h 368113"/>
                    <a:gd name="connsiteX20" fmla="*/ 128588 w 133350"/>
                    <a:gd name="connsiteY20" fmla="*/ 346681 h 368113"/>
                    <a:gd name="connsiteX21" fmla="*/ 133350 w 133350"/>
                    <a:gd name="connsiteY21" fmla="*/ 368113 h 368113"/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19063 w 133350"/>
                    <a:gd name="connsiteY13" fmla="*/ 234763 h 368113"/>
                    <a:gd name="connsiteX14" fmla="*/ 116682 w 133350"/>
                    <a:gd name="connsiteY14" fmla="*/ 241906 h 368113"/>
                    <a:gd name="connsiteX15" fmla="*/ 119063 w 133350"/>
                    <a:gd name="connsiteY15" fmla="*/ 294294 h 368113"/>
                    <a:gd name="connsiteX16" fmla="*/ 121444 w 133350"/>
                    <a:gd name="connsiteY16" fmla="*/ 306200 h 368113"/>
                    <a:gd name="connsiteX17" fmla="*/ 123825 w 133350"/>
                    <a:gd name="connsiteY17" fmla="*/ 320488 h 368113"/>
                    <a:gd name="connsiteX18" fmla="*/ 126207 w 133350"/>
                    <a:gd name="connsiteY18" fmla="*/ 337156 h 368113"/>
                    <a:gd name="connsiteX19" fmla="*/ 128588 w 133350"/>
                    <a:gd name="connsiteY19" fmla="*/ 346681 h 368113"/>
                    <a:gd name="connsiteX20" fmla="*/ 133350 w 133350"/>
                    <a:gd name="connsiteY20" fmla="*/ 368113 h 368113"/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19063 w 133350"/>
                    <a:gd name="connsiteY13" fmla="*/ 234763 h 368113"/>
                    <a:gd name="connsiteX14" fmla="*/ 116682 w 133350"/>
                    <a:gd name="connsiteY14" fmla="*/ 241906 h 368113"/>
                    <a:gd name="connsiteX15" fmla="*/ 121444 w 133350"/>
                    <a:gd name="connsiteY15" fmla="*/ 306200 h 368113"/>
                    <a:gd name="connsiteX16" fmla="*/ 123825 w 133350"/>
                    <a:gd name="connsiteY16" fmla="*/ 320488 h 368113"/>
                    <a:gd name="connsiteX17" fmla="*/ 126207 w 133350"/>
                    <a:gd name="connsiteY17" fmla="*/ 337156 h 368113"/>
                    <a:gd name="connsiteX18" fmla="*/ 128588 w 133350"/>
                    <a:gd name="connsiteY18" fmla="*/ 346681 h 368113"/>
                    <a:gd name="connsiteX19" fmla="*/ 133350 w 133350"/>
                    <a:gd name="connsiteY19" fmla="*/ 368113 h 368113"/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19063 w 133350"/>
                    <a:gd name="connsiteY13" fmla="*/ 234763 h 368113"/>
                    <a:gd name="connsiteX14" fmla="*/ 116682 w 133350"/>
                    <a:gd name="connsiteY14" fmla="*/ 241906 h 368113"/>
                    <a:gd name="connsiteX15" fmla="*/ 121444 w 133350"/>
                    <a:gd name="connsiteY15" fmla="*/ 306200 h 368113"/>
                    <a:gd name="connsiteX16" fmla="*/ 126207 w 133350"/>
                    <a:gd name="connsiteY16" fmla="*/ 337156 h 368113"/>
                    <a:gd name="connsiteX17" fmla="*/ 128588 w 133350"/>
                    <a:gd name="connsiteY17" fmla="*/ 346681 h 368113"/>
                    <a:gd name="connsiteX18" fmla="*/ 133350 w 133350"/>
                    <a:gd name="connsiteY18" fmla="*/ 368113 h 368113"/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19063 w 133350"/>
                    <a:gd name="connsiteY13" fmla="*/ 234763 h 368113"/>
                    <a:gd name="connsiteX14" fmla="*/ 121444 w 133350"/>
                    <a:gd name="connsiteY14" fmla="*/ 306200 h 368113"/>
                    <a:gd name="connsiteX15" fmla="*/ 126207 w 133350"/>
                    <a:gd name="connsiteY15" fmla="*/ 337156 h 368113"/>
                    <a:gd name="connsiteX16" fmla="*/ 128588 w 133350"/>
                    <a:gd name="connsiteY16" fmla="*/ 346681 h 368113"/>
                    <a:gd name="connsiteX17" fmla="*/ 133350 w 133350"/>
                    <a:gd name="connsiteY17" fmla="*/ 368113 h 368113"/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19063 w 133350"/>
                    <a:gd name="connsiteY13" fmla="*/ 234763 h 368113"/>
                    <a:gd name="connsiteX14" fmla="*/ 121444 w 133350"/>
                    <a:gd name="connsiteY14" fmla="*/ 306200 h 368113"/>
                    <a:gd name="connsiteX15" fmla="*/ 126207 w 133350"/>
                    <a:gd name="connsiteY15" fmla="*/ 337156 h 368113"/>
                    <a:gd name="connsiteX16" fmla="*/ 133350 w 133350"/>
                    <a:gd name="connsiteY16" fmla="*/ 368113 h 368113"/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19063 w 133350"/>
                    <a:gd name="connsiteY13" fmla="*/ 234763 h 368113"/>
                    <a:gd name="connsiteX14" fmla="*/ 126207 w 133350"/>
                    <a:gd name="connsiteY14" fmla="*/ 337156 h 368113"/>
                    <a:gd name="connsiteX15" fmla="*/ 133350 w 133350"/>
                    <a:gd name="connsiteY15" fmla="*/ 368113 h 368113"/>
                    <a:gd name="connsiteX0" fmla="*/ 0 w 133350"/>
                    <a:gd name="connsiteY0" fmla="*/ 365731 h 368263"/>
                    <a:gd name="connsiteX1" fmla="*/ 4763 w 133350"/>
                    <a:gd name="connsiteY1" fmla="*/ 353825 h 368263"/>
                    <a:gd name="connsiteX2" fmla="*/ 16669 w 133350"/>
                    <a:gd name="connsiteY2" fmla="*/ 208569 h 368263"/>
                    <a:gd name="connsiteX3" fmla="*/ 14288 w 133350"/>
                    <a:gd name="connsiteY3" fmla="*/ 160944 h 368263"/>
                    <a:gd name="connsiteX4" fmla="*/ 16669 w 133350"/>
                    <a:gd name="connsiteY4" fmla="*/ 132369 h 368263"/>
                    <a:gd name="connsiteX5" fmla="*/ 19050 w 133350"/>
                    <a:gd name="connsiteY5" fmla="*/ 75219 h 368263"/>
                    <a:gd name="connsiteX6" fmla="*/ 16669 w 133350"/>
                    <a:gd name="connsiteY6" fmla="*/ 37119 h 368263"/>
                    <a:gd name="connsiteX7" fmla="*/ 19050 w 133350"/>
                    <a:gd name="connsiteY7" fmla="*/ 3781 h 368263"/>
                    <a:gd name="connsiteX8" fmla="*/ 100013 w 133350"/>
                    <a:gd name="connsiteY8" fmla="*/ 6163 h 368263"/>
                    <a:gd name="connsiteX9" fmla="*/ 107157 w 133350"/>
                    <a:gd name="connsiteY9" fmla="*/ 8544 h 368263"/>
                    <a:gd name="connsiteX10" fmla="*/ 114300 w 133350"/>
                    <a:gd name="connsiteY10" fmla="*/ 29975 h 368263"/>
                    <a:gd name="connsiteX11" fmla="*/ 119063 w 133350"/>
                    <a:gd name="connsiteY11" fmla="*/ 39500 h 368263"/>
                    <a:gd name="connsiteX12" fmla="*/ 119063 w 133350"/>
                    <a:gd name="connsiteY12" fmla="*/ 234763 h 368263"/>
                    <a:gd name="connsiteX13" fmla="*/ 126207 w 133350"/>
                    <a:gd name="connsiteY13" fmla="*/ 337156 h 368263"/>
                    <a:gd name="connsiteX14" fmla="*/ 133350 w 133350"/>
                    <a:gd name="connsiteY14" fmla="*/ 368113 h 368263"/>
                    <a:gd name="connsiteX0" fmla="*/ 0 w 133350"/>
                    <a:gd name="connsiteY0" fmla="*/ 365731 h 371621"/>
                    <a:gd name="connsiteX1" fmla="*/ 4763 w 133350"/>
                    <a:gd name="connsiteY1" fmla="*/ 353825 h 371621"/>
                    <a:gd name="connsiteX2" fmla="*/ 14288 w 133350"/>
                    <a:gd name="connsiteY2" fmla="*/ 160944 h 371621"/>
                    <a:gd name="connsiteX3" fmla="*/ 16669 w 133350"/>
                    <a:gd name="connsiteY3" fmla="*/ 132369 h 371621"/>
                    <a:gd name="connsiteX4" fmla="*/ 19050 w 133350"/>
                    <a:gd name="connsiteY4" fmla="*/ 75219 h 371621"/>
                    <a:gd name="connsiteX5" fmla="*/ 16669 w 133350"/>
                    <a:gd name="connsiteY5" fmla="*/ 37119 h 371621"/>
                    <a:gd name="connsiteX6" fmla="*/ 19050 w 133350"/>
                    <a:gd name="connsiteY6" fmla="*/ 3781 h 371621"/>
                    <a:gd name="connsiteX7" fmla="*/ 100013 w 133350"/>
                    <a:gd name="connsiteY7" fmla="*/ 6163 h 371621"/>
                    <a:gd name="connsiteX8" fmla="*/ 107157 w 133350"/>
                    <a:gd name="connsiteY8" fmla="*/ 8544 h 371621"/>
                    <a:gd name="connsiteX9" fmla="*/ 114300 w 133350"/>
                    <a:gd name="connsiteY9" fmla="*/ 29975 h 371621"/>
                    <a:gd name="connsiteX10" fmla="*/ 119063 w 133350"/>
                    <a:gd name="connsiteY10" fmla="*/ 39500 h 371621"/>
                    <a:gd name="connsiteX11" fmla="*/ 119063 w 133350"/>
                    <a:gd name="connsiteY11" fmla="*/ 234763 h 371621"/>
                    <a:gd name="connsiteX12" fmla="*/ 126207 w 133350"/>
                    <a:gd name="connsiteY12" fmla="*/ 337156 h 371621"/>
                    <a:gd name="connsiteX13" fmla="*/ 133350 w 133350"/>
                    <a:gd name="connsiteY13" fmla="*/ 368113 h 371621"/>
                    <a:gd name="connsiteX0" fmla="*/ 0 w 133350"/>
                    <a:gd name="connsiteY0" fmla="*/ 365731 h 373676"/>
                    <a:gd name="connsiteX1" fmla="*/ 4763 w 133350"/>
                    <a:gd name="connsiteY1" fmla="*/ 353825 h 373676"/>
                    <a:gd name="connsiteX2" fmla="*/ 16669 w 133350"/>
                    <a:gd name="connsiteY2" fmla="*/ 132369 h 373676"/>
                    <a:gd name="connsiteX3" fmla="*/ 19050 w 133350"/>
                    <a:gd name="connsiteY3" fmla="*/ 75219 h 373676"/>
                    <a:gd name="connsiteX4" fmla="*/ 16669 w 133350"/>
                    <a:gd name="connsiteY4" fmla="*/ 37119 h 373676"/>
                    <a:gd name="connsiteX5" fmla="*/ 19050 w 133350"/>
                    <a:gd name="connsiteY5" fmla="*/ 3781 h 373676"/>
                    <a:gd name="connsiteX6" fmla="*/ 100013 w 133350"/>
                    <a:gd name="connsiteY6" fmla="*/ 6163 h 373676"/>
                    <a:gd name="connsiteX7" fmla="*/ 107157 w 133350"/>
                    <a:gd name="connsiteY7" fmla="*/ 8544 h 373676"/>
                    <a:gd name="connsiteX8" fmla="*/ 114300 w 133350"/>
                    <a:gd name="connsiteY8" fmla="*/ 29975 h 373676"/>
                    <a:gd name="connsiteX9" fmla="*/ 119063 w 133350"/>
                    <a:gd name="connsiteY9" fmla="*/ 39500 h 373676"/>
                    <a:gd name="connsiteX10" fmla="*/ 119063 w 133350"/>
                    <a:gd name="connsiteY10" fmla="*/ 234763 h 373676"/>
                    <a:gd name="connsiteX11" fmla="*/ 126207 w 133350"/>
                    <a:gd name="connsiteY11" fmla="*/ 337156 h 373676"/>
                    <a:gd name="connsiteX12" fmla="*/ 133350 w 133350"/>
                    <a:gd name="connsiteY12" fmla="*/ 368113 h 373676"/>
                    <a:gd name="connsiteX0" fmla="*/ 0 w 133350"/>
                    <a:gd name="connsiteY0" fmla="*/ 365731 h 373676"/>
                    <a:gd name="connsiteX1" fmla="*/ 4763 w 133350"/>
                    <a:gd name="connsiteY1" fmla="*/ 353825 h 373676"/>
                    <a:gd name="connsiteX2" fmla="*/ 16669 w 133350"/>
                    <a:gd name="connsiteY2" fmla="*/ 132369 h 373676"/>
                    <a:gd name="connsiteX3" fmla="*/ 16669 w 133350"/>
                    <a:gd name="connsiteY3" fmla="*/ 37119 h 373676"/>
                    <a:gd name="connsiteX4" fmla="*/ 19050 w 133350"/>
                    <a:gd name="connsiteY4" fmla="*/ 3781 h 373676"/>
                    <a:gd name="connsiteX5" fmla="*/ 100013 w 133350"/>
                    <a:gd name="connsiteY5" fmla="*/ 6163 h 373676"/>
                    <a:gd name="connsiteX6" fmla="*/ 107157 w 133350"/>
                    <a:gd name="connsiteY6" fmla="*/ 8544 h 373676"/>
                    <a:gd name="connsiteX7" fmla="*/ 114300 w 133350"/>
                    <a:gd name="connsiteY7" fmla="*/ 29975 h 373676"/>
                    <a:gd name="connsiteX8" fmla="*/ 119063 w 133350"/>
                    <a:gd name="connsiteY8" fmla="*/ 39500 h 373676"/>
                    <a:gd name="connsiteX9" fmla="*/ 119063 w 133350"/>
                    <a:gd name="connsiteY9" fmla="*/ 234763 h 373676"/>
                    <a:gd name="connsiteX10" fmla="*/ 126207 w 133350"/>
                    <a:gd name="connsiteY10" fmla="*/ 337156 h 373676"/>
                    <a:gd name="connsiteX11" fmla="*/ 133350 w 133350"/>
                    <a:gd name="connsiteY11" fmla="*/ 368113 h 373676"/>
                    <a:gd name="connsiteX0" fmla="*/ 0 w 133350"/>
                    <a:gd name="connsiteY0" fmla="*/ 370878 h 378823"/>
                    <a:gd name="connsiteX1" fmla="*/ 4763 w 133350"/>
                    <a:gd name="connsiteY1" fmla="*/ 358972 h 378823"/>
                    <a:gd name="connsiteX2" fmla="*/ 16669 w 133350"/>
                    <a:gd name="connsiteY2" fmla="*/ 137516 h 378823"/>
                    <a:gd name="connsiteX3" fmla="*/ 19050 w 133350"/>
                    <a:gd name="connsiteY3" fmla="*/ 8928 h 378823"/>
                    <a:gd name="connsiteX4" fmla="*/ 100013 w 133350"/>
                    <a:gd name="connsiteY4" fmla="*/ 11310 h 378823"/>
                    <a:gd name="connsiteX5" fmla="*/ 107157 w 133350"/>
                    <a:gd name="connsiteY5" fmla="*/ 13691 h 378823"/>
                    <a:gd name="connsiteX6" fmla="*/ 114300 w 133350"/>
                    <a:gd name="connsiteY6" fmla="*/ 35122 h 378823"/>
                    <a:gd name="connsiteX7" fmla="*/ 119063 w 133350"/>
                    <a:gd name="connsiteY7" fmla="*/ 44647 h 378823"/>
                    <a:gd name="connsiteX8" fmla="*/ 119063 w 133350"/>
                    <a:gd name="connsiteY8" fmla="*/ 239910 h 378823"/>
                    <a:gd name="connsiteX9" fmla="*/ 126207 w 133350"/>
                    <a:gd name="connsiteY9" fmla="*/ 342303 h 378823"/>
                    <a:gd name="connsiteX10" fmla="*/ 133350 w 133350"/>
                    <a:gd name="connsiteY10" fmla="*/ 373260 h 378823"/>
                    <a:gd name="connsiteX0" fmla="*/ 0 w 133350"/>
                    <a:gd name="connsiteY0" fmla="*/ 361859 h 369804"/>
                    <a:gd name="connsiteX1" fmla="*/ 4763 w 133350"/>
                    <a:gd name="connsiteY1" fmla="*/ 349953 h 369804"/>
                    <a:gd name="connsiteX2" fmla="*/ 16669 w 133350"/>
                    <a:gd name="connsiteY2" fmla="*/ 128497 h 369804"/>
                    <a:gd name="connsiteX3" fmla="*/ 16668 w 133350"/>
                    <a:gd name="connsiteY3" fmla="*/ 14197 h 369804"/>
                    <a:gd name="connsiteX4" fmla="*/ 100013 w 133350"/>
                    <a:gd name="connsiteY4" fmla="*/ 2291 h 369804"/>
                    <a:gd name="connsiteX5" fmla="*/ 107157 w 133350"/>
                    <a:gd name="connsiteY5" fmla="*/ 4672 h 369804"/>
                    <a:gd name="connsiteX6" fmla="*/ 114300 w 133350"/>
                    <a:gd name="connsiteY6" fmla="*/ 26103 h 369804"/>
                    <a:gd name="connsiteX7" fmla="*/ 119063 w 133350"/>
                    <a:gd name="connsiteY7" fmla="*/ 35628 h 369804"/>
                    <a:gd name="connsiteX8" fmla="*/ 119063 w 133350"/>
                    <a:gd name="connsiteY8" fmla="*/ 230891 h 369804"/>
                    <a:gd name="connsiteX9" fmla="*/ 126207 w 133350"/>
                    <a:gd name="connsiteY9" fmla="*/ 333284 h 369804"/>
                    <a:gd name="connsiteX10" fmla="*/ 133350 w 133350"/>
                    <a:gd name="connsiteY10" fmla="*/ 364241 h 369804"/>
                    <a:gd name="connsiteX0" fmla="*/ 0 w 133350"/>
                    <a:gd name="connsiteY0" fmla="*/ 363289 h 369520"/>
                    <a:gd name="connsiteX1" fmla="*/ 4763 w 133350"/>
                    <a:gd name="connsiteY1" fmla="*/ 351383 h 369520"/>
                    <a:gd name="connsiteX2" fmla="*/ 2381 w 133350"/>
                    <a:gd name="connsiteY2" fmla="*/ 153739 h 369520"/>
                    <a:gd name="connsiteX3" fmla="*/ 16668 w 133350"/>
                    <a:gd name="connsiteY3" fmla="*/ 15627 h 369520"/>
                    <a:gd name="connsiteX4" fmla="*/ 100013 w 133350"/>
                    <a:gd name="connsiteY4" fmla="*/ 3721 h 369520"/>
                    <a:gd name="connsiteX5" fmla="*/ 107157 w 133350"/>
                    <a:gd name="connsiteY5" fmla="*/ 6102 h 369520"/>
                    <a:gd name="connsiteX6" fmla="*/ 114300 w 133350"/>
                    <a:gd name="connsiteY6" fmla="*/ 27533 h 369520"/>
                    <a:gd name="connsiteX7" fmla="*/ 119063 w 133350"/>
                    <a:gd name="connsiteY7" fmla="*/ 37058 h 369520"/>
                    <a:gd name="connsiteX8" fmla="*/ 119063 w 133350"/>
                    <a:gd name="connsiteY8" fmla="*/ 232321 h 369520"/>
                    <a:gd name="connsiteX9" fmla="*/ 126207 w 133350"/>
                    <a:gd name="connsiteY9" fmla="*/ 334714 h 369520"/>
                    <a:gd name="connsiteX10" fmla="*/ 133350 w 133350"/>
                    <a:gd name="connsiteY10" fmla="*/ 365671 h 369520"/>
                    <a:gd name="connsiteX0" fmla="*/ 0 w 133350"/>
                    <a:gd name="connsiteY0" fmla="*/ 363289 h 369520"/>
                    <a:gd name="connsiteX1" fmla="*/ 4763 w 133350"/>
                    <a:gd name="connsiteY1" fmla="*/ 351383 h 369520"/>
                    <a:gd name="connsiteX2" fmla="*/ 2381 w 133350"/>
                    <a:gd name="connsiteY2" fmla="*/ 153739 h 369520"/>
                    <a:gd name="connsiteX3" fmla="*/ 16668 w 133350"/>
                    <a:gd name="connsiteY3" fmla="*/ 15627 h 369520"/>
                    <a:gd name="connsiteX4" fmla="*/ 100013 w 133350"/>
                    <a:gd name="connsiteY4" fmla="*/ 3721 h 369520"/>
                    <a:gd name="connsiteX5" fmla="*/ 114300 w 133350"/>
                    <a:gd name="connsiteY5" fmla="*/ 27533 h 369520"/>
                    <a:gd name="connsiteX6" fmla="*/ 119063 w 133350"/>
                    <a:gd name="connsiteY6" fmla="*/ 37058 h 369520"/>
                    <a:gd name="connsiteX7" fmla="*/ 119063 w 133350"/>
                    <a:gd name="connsiteY7" fmla="*/ 232321 h 369520"/>
                    <a:gd name="connsiteX8" fmla="*/ 126207 w 133350"/>
                    <a:gd name="connsiteY8" fmla="*/ 334714 h 369520"/>
                    <a:gd name="connsiteX9" fmla="*/ 133350 w 133350"/>
                    <a:gd name="connsiteY9" fmla="*/ 365671 h 369520"/>
                    <a:gd name="connsiteX0" fmla="*/ 0 w 133350"/>
                    <a:gd name="connsiteY0" fmla="*/ 363289 h 369520"/>
                    <a:gd name="connsiteX1" fmla="*/ 4763 w 133350"/>
                    <a:gd name="connsiteY1" fmla="*/ 351383 h 369520"/>
                    <a:gd name="connsiteX2" fmla="*/ 2381 w 133350"/>
                    <a:gd name="connsiteY2" fmla="*/ 153739 h 369520"/>
                    <a:gd name="connsiteX3" fmla="*/ 16668 w 133350"/>
                    <a:gd name="connsiteY3" fmla="*/ 15627 h 369520"/>
                    <a:gd name="connsiteX4" fmla="*/ 100013 w 133350"/>
                    <a:gd name="connsiteY4" fmla="*/ 3721 h 369520"/>
                    <a:gd name="connsiteX5" fmla="*/ 114300 w 133350"/>
                    <a:gd name="connsiteY5" fmla="*/ 27533 h 369520"/>
                    <a:gd name="connsiteX6" fmla="*/ 119063 w 133350"/>
                    <a:gd name="connsiteY6" fmla="*/ 232321 h 369520"/>
                    <a:gd name="connsiteX7" fmla="*/ 126207 w 133350"/>
                    <a:gd name="connsiteY7" fmla="*/ 334714 h 369520"/>
                    <a:gd name="connsiteX8" fmla="*/ 133350 w 133350"/>
                    <a:gd name="connsiteY8" fmla="*/ 365671 h 369520"/>
                    <a:gd name="connsiteX0" fmla="*/ 0 w 133350"/>
                    <a:gd name="connsiteY0" fmla="*/ 363289 h 369520"/>
                    <a:gd name="connsiteX1" fmla="*/ 4763 w 133350"/>
                    <a:gd name="connsiteY1" fmla="*/ 351383 h 369520"/>
                    <a:gd name="connsiteX2" fmla="*/ 2381 w 133350"/>
                    <a:gd name="connsiteY2" fmla="*/ 153739 h 369520"/>
                    <a:gd name="connsiteX3" fmla="*/ 16668 w 133350"/>
                    <a:gd name="connsiteY3" fmla="*/ 15627 h 369520"/>
                    <a:gd name="connsiteX4" fmla="*/ 100013 w 133350"/>
                    <a:gd name="connsiteY4" fmla="*/ 3721 h 369520"/>
                    <a:gd name="connsiteX5" fmla="*/ 121443 w 133350"/>
                    <a:gd name="connsiteY5" fmla="*/ 68014 h 369520"/>
                    <a:gd name="connsiteX6" fmla="*/ 119063 w 133350"/>
                    <a:gd name="connsiteY6" fmla="*/ 232321 h 369520"/>
                    <a:gd name="connsiteX7" fmla="*/ 126207 w 133350"/>
                    <a:gd name="connsiteY7" fmla="*/ 334714 h 369520"/>
                    <a:gd name="connsiteX8" fmla="*/ 133350 w 133350"/>
                    <a:gd name="connsiteY8" fmla="*/ 365671 h 369520"/>
                    <a:gd name="connsiteX0" fmla="*/ 0 w 133350"/>
                    <a:gd name="connsiteY0" fmla="*/ 357295 h 363526"/>
                    <a:gd name="connsiteX1" fmla="*/ 4763 w 133350"/>
                    <a:gd name="connsiteY1" fmla="*/ 345389 h 363526"/>
                    <a:gd name="connsiteX2" fmla="*/ 2381 w 133350"/>
                    <a:gd name="connsiteY2" fmla="*/ 147745 h 363526"/>
                    <a:gd name="connsiteX3" fmla="*/ 16668 w 133350"/>
                    <a:gd name="connsiteY3" fmla="*/ 9633 h 363526"/>
                    <a:gd name="connsiteX4" fmla="*/ 104776 w 133350"/>
                    <a:gd name="connsiteY4" fmla="*/ 12015 h 363526"/>
                    <a:gd name="connsiteX5" fmla="*/ 121443 w 133350"/>
                    <a:gd name="connsiteY5" fmla="*/ 62020 h 363526"/>
                    <a:gd name="connsiteX6" fmla="*/ 119063 w 133350"/>
                    <a:gd name="connsiteY6" fmla="*/ 226327 h 363526"/>
                    <a:gd name="connsiteX7" fmla="*/ 126207 w 133350"/>
                    <a:gd name="connsiteY7" fmla="*/ 328720 h 363526"/>
                    <a:gd name="connsiteX8" fmla="*/ 133350 w 133350"/>
                    <a:gd name="connsiteY8" fmla="*/ 359677 h 363526"/>
                    <a:gd name="connsiteX0" fmla="*/ 217 w 133567"/>
                    <a:gd name="connsiteY0" fmla="*/ 357295 h 363526"/>
                    <a:gd name="connsiteX1" fmla="*/ 4980 w 133567"/>
                    <a:gd name="connsiteY1" fmla="*/ 345389 h 363526"/>
                    <a:gd name="connsiteX2" fmla="*/ 2598 w 133567"/>
                    <a:gd name="connsiteY2" fmla="*/ 147745 h 363526"/>
                    <a:gd name="connsiteX3" fmla="*/ 9741 w 133567"/>
                    <a:gd name="connsiteY3" fmla="*/ 9633 h 363526"/>
                    <a:gd name="connsiteX4" fmla="*/ 104993 w 133567"/>
                    <a:gd name="connsiteY4" fmla="*/ 12015 h 363526"/>
                    <a:gd name="connsiteX5" fmla="*/ 121660 w 133567"/>
                    <a:gd name="connsiteY5" fmla="*/ 62020 h 363526"/>
                    <a:gd name="connsiteX6" fmla="*/ 119280 w 133567"/>
                    <a:gd name="connsiteY6" fmla="*/ 226327 h 363526"/>
                    <a:gd name="connsiteX7" fmla="*/ 126424 w 133567"/>
                    <a:gd name="connsiteY7" fmla="*/ 328720 h 363526"/>
                    <a:gd name="connsiteX8" fmla="*/ 133567 w 133567"/>
                    <a:gd name="connsiteY8" fmla="*/ 359677 h 363526"/>
                    <a:gd name="connsiteX0" fmla="*/ 4320 w 137670"/>
                    <a:gd name="connsiteY0" fmla="*/ 349934 h 356165"/>
                    <a:gd name="connsiteX1" fmla="*/ 9083 w 137670"/>
                    <a:gd name="connsiteY1" fmla="*/ 338028 h 356165"/>
                    <a:gd name="connsiteX2" fmla="*/ 6701 w 137670"/>
                    <a:gd name="connsiteY2" fmla="*/ 140384 h 356165"/>
                    <a:gd name="connsiteX3" fmla="*/ 13844 w 137670"/>
                    <a:gd name="connsiteY3" fmla="*/ 2272 h 356165"/>
                    <a:gd name="connsiteX4" fmla="*/ 109096 w 137670"/>
                    <a:gd name="connsiteY4" fmla="*/ 4654 h 356165"/>
                    <a:gd name="connsiteX5" fmla="*/ 125763 w 137670"/>
                    <a:gd name="connsiteY5" fmla="*/ 54659 h 356165"/>
                    <a:gd name="connsiteX6" fmla="*/ 123383 w 137670"/>
                    <a:gd name="connsiteY6" fmla="*/ 218966 h 356165"/>
                    <a:gd name="connsiteX7" fmla="*/ 130527 w 137670"/>
                    <a:gd name="connsiteY7" fmla="*/ 321359 h 356165"/>
                    <a:gd name="connsiteX8" fmla="*/ 137670 w 137670"/>
                    <a:gd name="connsiteY8" fmla="*/ 352316 h 356165"/>
                    <a:gd name="connsiteX0" fmla="*/ 4096 w 137446"/>
                    <a:gd name="connsiteY0" fmla="*/ 349934 h 352316"/>
                    <a:gd name="connsiteX1" fmla="*/ 6477 w 137446"/>
                    <a:gd name="connsiteY1" fmla="*/ 140384 h 352316"/>
                    <a:gd name="connsiteX2" fmla="*/ 13620 w 137446"/>
                    <a:gd name="connsiteY2" fmla="*/ 2272 h 352316"/>
                    <a:gd name="connsiteX3" fmla="*/ 108872 w 137446"/>
                    <a:gd name="connsiteY3" fmla="*/ 4654 h 352316"/>
                    <a:gd name="connsiteX4" fmla="*/ 125539 w 137446"/>
                    <a:gd name="connsiteY4" fmla="*/ 54659 h 352316"/>
                    <a:gd name="connsiteX5" fmla="*/ 123159 w 137446"/>
                    <a:gd name="connsiteY5" fmla="*/ 218966 h 352316"/>
                    <a:gd name="connsiteX6" fmla="*/ 130303 w 137446"/>
                    <a:gd name="connsiteY6" fmla="*/ 321359 h 352316"/>
                    <a:gd name="connsiteX7" fmla="*/ 137446 w 137446"/>
                    <a:gd name="connsiteY7" fmla="*/ 352316 h 352316"/>
                    <a:gd name="connsiteX0" fmla="*/ 4096 w 137446"/>
                    <a:gd name="connsiteY0" fmla="*/ 349934 h 352316"/>
                    <a:gd name="connsiteX1" fmla="*/ 6477 w 137446"/>
                    <a:gd name="connsiteY1" fmla="*/ 140384 h 352316"/>
                    <a:gd name="connsiteX2" fmla="*/ 13620 w 137446"/>
                    <a:gd name="connsiteY2" fmla="*/ 2272 h 352316"/>
                    <a:gd name="connsiteX3" fmla="*/ 108872 w 137446"/>
                    <a:gd name="connsiteY3" fmla="*/ 4654 h 352316"/>
                    <a:gd name="connsiteX4" fmla="*/ 125539 w 137446"/>
                    <a:gd name="connsiteY4" fmla="*/ 54659 h 352316"/>
                    <a:gd name="connsiteX5" fmla="*/ 123159 w 137446"/>
                    <a:gd name="connsiteY5" fmla="*/ 218966 h 352316"/>
                    <a:gd name="connsiteX6" fmla="*/ 137446 w 137446"/>
                    <a:gd name="connsiteY6" fmla="*/ 352316 h 352316"/>
                    <a:gd name="connsiteX0" fmla="*/ 4096 w 130302"/>
                    <a:gd name="connsiteY0" fmla="*/ 349934 h 349935"/>
                    <a:gd name="connsiteX1" fmla="*/ 6477 w 130302"/>
                    <a:gd name="connsiteY1" fmla="*/ 140384 h 349935"/>
                    <a:gd name="connsiteX2" fmla="*/ 13620 w 130302"/>
                    <a:gd name="connsiteY2" fmla="*/ 2272 h 349935"/>
                    <a:gd name="connsiteX3" fmla="*/ 108872 w 130302"/>
                    <a:gd name="connsiteY3" fmla="*/ 4654 h 349935"/>
                    <a:gd name="connsiteX4" fmla="*/ 125539 w 130302"/>
                    <a:gd name="connsiteY4" fmla="*/ 54659 h 349935"/>
                    <a:gd name="connsiteX5" fmla="*/ 123159 w 130302"/>
                    <a:gd name="connsiteY5" fmla="*/ 218966 h 349935"/>
                    <a:gd name="connsiteX6" fmla="*/ 130302 w 130302"/>
                    <a:gd name="connsiteY6" fmla="*/ 349935 h 349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0302" h="349935">
                      <a:moveTo>
                        <a:pt x="4096" y="349934"/>
                      </a:moveTo>
                      <a:cubicBezTo>
                        <a:pt x="4592" y="306278"/>
                        <a:pt x="4890" y="198328"/>
                        <a:pt x="6477" y="140384"/>
                      </a:cubicBezTo>
                      <a:cubicBezTo>
                        <a:pt x="8064" y="82440"/>
                        <a:pt x="-13136" y="11605"/>
                        <a:pt x="13620" y="2272"/>
                      </a:cubicBezTo>
                      <a:cubicBezTo>
                        <a:pt x="30686" y="-3681"/>
                        <a:pt x="81884" y="3860"/>
                        <a:pt x="108872" y="4654"/>
                      </a:cubicBezTo>
                      <a:cubicBezTo>
                        <a:pt x="125144" y="6638"/>
                        <a:pt x="122364" y="49103"/>
                        <a:pt x="125539" y="54659"/>
                      </a:cubicBezTo>
                      <a:cubicBezTo>
                        <a:pt x="124746" y="109428"/>
                        <a:pt x="123952" y="164197"/>
                        <a:pt x="123159" y="218966"/>
                      </a:cubicBezTo>
                      <a:cubicBezTo>
                        <a:pt x="125143" y="268575"/>
                        <a:pt x="127326" y="322154"/>
                        <a:pt x="130302" y="349935"/>
                      </a:cubicBezTo>
                    </a:path>
                  </a:pathLst>
                </a:custGeom>
                <a:solidFill>
                  <a:srgbClr val="E1EBE5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10" name="Freeform: Shape 109">
                  <a:extLst>
                    <a:ext uri="{FF2B5EF4-FFF2-40B4-BE49-F238E27FC236}">
                      <a16:creationId xmlns:a16="http://schemas.microsoft.com/office/drawing/2014/main" id="{A6C973D8-2D5B-31C0-A294-1B0F19543F8C}"/>
                    </a:ext>
                  </a:extLst>
                </p:cNvPr>
                <p:cNvSpPr/>
                <p:nvPr/>
              </p:nvSpPr>
              <p:spPr>
                <a:xfrm>
                  <a:off x="8251819" y="2600039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11" name="Freeform: Shape 110">
                  <a:extLst>
                    <a:ext uri="{FF2B5EF4-FFF2-40B4-BE49-F238E27FC236}">
                      <a16:creationId xmlns:a16="http://schemas.microsoft.com/office/drawing/2014/main" id="{C018A1AD-C47E-D3C8-FD41-CC29B5C12188}"/>
                    </a:ext>
                  </a:extLst>
                </p:cNvPr>
                <p:cNvSpPr/>
                <p:nvPr/>
              </p:nvSpPr>
              <p:spPr>
                <a:xfrm>
                  <a:off x="8535188" y="2600039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12" name="Freeform: Shape 111">
                  <a:extLst>
                    <a:ext uri="{FF2B5EF4-FFF2-40B4-BE49-F238E27FC236}">
                      <a16:creationId xmlns:a16="http://schemas.microsoft.com/office/drawing/2014/main" id="{4D84478F-7C83-638A-11C7-B7C0A3E55B6C}"/>
                    </a:ext>
                  </a:extLst>
                </p:cNvPr>
                <p:cNvSpPr/>
                <p:nvPr/>
              </p:nvSpPr>
              <p:spPr>
                <a:xfrm>
                  <a:off x="8820938" y="2600039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13" name="Freeform: Shape 112">
                  <a:extLst>
                    <a:ext uri="{FF2B5EF4-FFF2-40B4-BE49-F238E27FC236}">
                      <a16:creationId xmlns:a16="http://schemas.microsoft.com/office/drawing/2014/main" id="{8EDBE37C-A40E-9944-FE47-6EE6968B701B}"/>
                    </a:ext>
                  </a:extLst>
                </p:cNvPr>
                <p:cNvSpPr/>
                <p:nvPr/>
              </p:nvSpPr>
              <p:spPr>
                <a:xfrm>
                  <a:off x="8251819" y="2888170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DC15C606-F74A-9A56-3556-9B42ECFDD5DB}"/>
                    </a:ext>
                  </a:extLst>
                </p:cNvPr>
                <p:cNvSpPr/>
                <p:nvPr/>
              </p:nvSpPr>
              <p:spPr>
                <a:xfrm>
                  <a:off x="8535188" y="2888170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6F002525-2B16-E1AD-F302-2565D7F4C633}"/>
                    </a:ext>
                  </a:extLst>
                </p:cNvPr>
                <p:cNvSpPr/>
                <p:nvPr/>
              </p:nvSpPr>
              <p:spPr>
                <a:xfrm>
                  <a:off x="8820938" y="2888170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0F16649E-F3DB-09BB-BBA3-214B15ED3997}"/>
                    </a:ext>
                  </a:extLst>
                </p:cNvPr>
                <p:cNvSpPr/>
                <p:nvPr/>
              </p:nvSpPr>
              <p:spPr>
                <a:xfrm>
                  <a:off x="8251819" y="3173920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BA2DB9BF-2ADD-D09D-7532-E5CEE3E32CF5}"/>
                    </a:ext>
                  </a:extLst>
                </p:cNvPr>
                <p:cNvSpPr/>
                <p:nvPr/>
              </p:nvSpPr>
              <p:spPr>
                <a:xfrm>
                  <a:off x="8535188" y="3173920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556D98B4-AE6C-95C2-44B9-5B7100428770}"/>
                    </a:ext>
                  </a:extLst>
                </p:cNvPr>
                <p:cNvSpPr/>
                <p:nvPr/>
              </p:nvSpPr>
              <p:spPr>
                <a:xfrm>
                  <a:off x="8820938" y="3173920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19" name="Freeform: Shape 118">
                  <a:extLst>
                    <a:ext uri="{FF2B5EF4-FFF2-40B4-BE49-F238E27FC236}">
                      <a16:creationId xmlns:a16="http://schemas.microsoft.com/office/drawing/2014/main" id="{686804CB-A98E-1F38-55A6-FB5E7C74312A}"/>
                    </a:ext>
                  </a:extLst>
                </p:cNvPr>
                <p:cNvSpPr/>
                <p:nvPr/>
              </p:nvSpPr>
              <p:spPr>
                <a:xfrm>
                  <a:off x="8251819" y="3457289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20" name="Freeform: Shape 119">
                  <a:extLst>
                    <a:ext uri="{FF2B5EF4-FFF2-40B4-BE49-F238E27FC236}">
                      <a16:creationId xmlns:a16="http://schemas.microsoft.com/office/drawing/2014/main" id="{F15CC8C4-9726-4700-C265-824D9882581F}"/>
                    </a:ext>
                  </a:extLst>
                </p:cNvPr>
                <p:cNvSpPr/>
                <p:nvPr/>
              </p:nvSpPr>
              <p:spPr>
                <a:xfrm>
                  <a:off x="8535188" y="3457289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21" name="Freeform: Shape 120">
                  <a:extLst>
                    <a:ext uri="{FF2B5EF4-FFF2-40B4-BE49-F238E27FC236}">
                      <a16:creationId xmlns:a16="http://schemas.microsoft.com/office/drawing/2014/main" id="{DB0647B4-A74A-8C91-75E2-FF492652E01C}"/>
                    </a:ext>
                  </a:extLst>
                </p:cNvPr>
                <p:cNvSpPr/>
                <p:nvPr/>
              </p:nvSpPr>
              <p:spPr>
                <a:xfrm>
                  <a:off x="8820938" y="3457289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22" name="Freeform: Shape 121">
                  <a:extLst>
                    <a:ext uri="{FF2B5EF4-FFF2-40B4-BE49-F238E27FC236}">
                      <a16:creationId xmlns:a16="http://schemas.microsoft.com/office/drawing/2014/main" id="{ECB6A1B7-A520-F164-E609-EAD28B2133CA}"/>
                    </a:ext>
                  </a:extLst>
                </p:cNvPr>
                <p:cNvSpPr/>
                <p:nvPr/>
              </p:nvSpPr>
              <p:spPr>
                <a:xfrm>
                  <a:off x="8251819" y="3743039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23" name="Freeform: Shape 122">
                  <a:extLst>
                    <a:ext uri="{FF2B5EF4-FFF2-40B4-BE49-F238E27FC236}">
                      <a16:creationId xmlns:a16="http://schemas.microsoft.com/office/drawing/2014/main" id="{429A30EA-A744-1F43-0354-58BAE4C55A60}"/>
                    </a:ext>
                  </a:extLst>
                </p:cNvPr>
                <p:cNvSpPr/>
                <p:nvPr/>
              </p:nvSpPr>
              <p:spPr>
                <a:xfrm>
                  <a:off x="8535188" y="3743039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24" name="Freeform: Shape 123">
                  <a:extLst>
                    <a:ext uri="{FF2B5EF4-FFF2-40B4-BE49-F238E27FC236}">
                      <a16:creationId xmlns:a16="http://schemas.microsoft.com/office/drawing/2014/main" id="{62A16EEB-362E-BDE4-AF7C-5D2D4EC843A3}"/>
                    </a:ext>
                  </a:extLst>
                </p:cNvPr>
                <p:cNvSpPr/>
                <p:nvPr/>
              </p:nvSpPr>
              <p:spPr>
                <a:xfrm>
                  <a:off x="8820938" y="3743039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25" name="Freeform: Shape 124">
                  <a:extLst>
                    <a:ext uri="{FF2B5EF4-FFF2-40B4-BE49-F238E27FC236}">
                      <a16:creationId xmlns:a16="http://schemas.microsoft.com/office/drawing/2014/main" id="{095A6522-7D55-B958-D336-7D2AE24B888E}"/>
                    </a:ext>
                  </a:extLst>
                </p:cNvPr>
                <p:cNvSpPr/>
                <p:nvPr/>
              </p:nvSpPr>
              <p:spPr>
                <a:xfrm>
                  <a:off x="8251819" y="4024027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26" name="Freeform: Shape 125">
                  <a:extLst>
                    <a:ext uri="{FF2B5EF4-FFF2-40B4-BE49-F238E27FC236}">
                      <a16:creationId xmlns:a16="http://schemas.microsoft.com/office/drawing/2014/main" id="{C77BF7C1-507C-AD15-580D-BB12A9446D42}"/>
                    </a:ext>
                  </a:extLst>
                </p:cNvPr>
                <p:cNvSpPr/>
                <p:nvPr/>
              </p:nvSpPr>
              <p:spPr>
                <a:xfrm>
                  <a:off x="8820938" y="4024027"/>
                  <a:ext cx="118904" cy="183526"/>
                </a:xfrm>
                <a:custGeom>
                  <a:avLst/>
                  <a:gdLst>
                    <a:gd name="connsiteX0" fmla="*/ 19050 w 145256"/>
                    <a:gd name="connsiteY0" fmla="*/ 12192 h 185392"/>
                    <a:gd name="connsiteX1" fmla="*/ 30956 w 145256"/>
                    <a:gd name="connsiteY1" fmla="*/ 9811 h 185392"/>
                    <a:gd name="connsiteX2" fmla="*/ 47625 w 145256"/>
                    <a:gd name="connsiteY2" fmla="*/ 5049 h 185392"/>
                    <a:gd name="connsiteX3" fmla="*/ 61912 w 145256"/>
                    <a:gd name="connsiteY3" fmla="*/ 2667 h 185392"/>
                    <a:gd name="connsiteX4" fmla="*/ 133350 w 145256"/>
                    <a:gd name="connsiteY4" fmla="*/ 43149 h 185392"/>
                    <a:gd name="connsiteX5" fmla="*/ 130968 w 145256"/>
                    <a:gd name="connsiteY5" fmla="*/ 52674 h 185392"/>
                    <a:gd name="connsiteX6" fmla="*/ 133350 w 145256"/>
                    <a:gd name="connsiteY6" fmla="*/ 97917 h 185392"/>
                    <a:gd name="connsiteX7" fmla="*/ 138112 w 145256"/>
                    <a:gd name="connsiteY7" fmla="*/ 105061 h 185392"/>
                    <a:gd name="connsiteX8" fmla="*/ 145256 w 145256"/>
                    <a:gd name="connsiteY8" fmla="*/ 147924 h 185392"/>
                    <a:gd name="connsiteX9" fmla="*/ 140493 w 145256"/>
                    <a:gd name="connsiteY9" fmla="*/ 181261 h 185392"/>
                    <a:gd name="connsiteX10" fmla="*/ 109537 w 145256"/>
                    <a:gd name="connsiteY10" fmla="*/ 183642 h 185392"/>
                    <a:gd name="connsiteX11" fmla="*/ 11906 w 145256"/>
                    <a:gd name="connsiteY11" fmla="*/ 176499 h 185392"/>
                    <a:gd name="connsiteX12" fmla="*/ 7143 w 145256"/>
                    <a:gd name="connsiteY12" fmla="*/ 112205 h 185392"/>
                    <a:gd name="connsiteX13" fmla="*/ 4762 w 145256"/>
                    <a:gd name="connsiteY13" fmla="*/ 100299 h 185392"/>
                    <a:gd name="connsiteX14" fmla="*/ 0 w 145256"/>
                    <a:gd name="connsiteY14" fmla="*/ 78867 h 185392"/>
                    <a:gd name="connsiteX15" fmla="*/ 2381 w 145256"/>
                    <a:gd name="connsiteY15" fmla="*/ 43149 h 185392"/>
                    <a:gd name="connsiteX16" fmla="*/ 19050 w 145256"/>
                    <a:gd name="connsiteY16" fmla="*/ 12192 h 185392"/>
                    <a:gd name="connsiteX0" fmla="*/ 19050 w 146382"/>
                    <a:gd name="connsiteY0" fmla="*/ 12192 h 185392"/>
                    <a:gd name="connsiteX1" fmla="*/ 30956 w 146382"/>
                    <a:gd name="connsiteY1" fmla="*/ 9811 h 185392"/>
                    <a:gd name="connsiteX2" fmla="*/ 47625 w 146382"/>
                    <a:gd name="connsiteY2" fmla="*/ 5049 h 185392"/>
                    <a:gd name="connsiteX3" fmla="*/ 61912 w 146382"/>
                    <a:gd name="connsiteY3" fmla="*/ 2667 h 185392"/>
                    <a:gd name="connsiteX4" fmla="*/ 133350 w 146382"/>
                    <a:gd name="connsiteY4" fmla="*/ 43149 h 185392"/>
                    <a:gd name="connsiteX5" fmla="*/ 130968 w 146382"/>
                    <a:gd name="connsiteY5" fmla="*/ 52674 h 185392"/>
                    <a:gd name="connsiteX6" fmla="*/ 133350 w 146382"/>
                    <a:gd name="connsiteY6" fmla="*/ 97917 h 185392"/>
                    <a:gd name="connsiteX7" fmla="*/ 145256 w 146382"/>
                    <a:gd name="connsiteY7" fmla="*/ 147924 h 185392"/>
                    <a:gd name="connsiteX8" fmla="*/ 140493 w 146382"/>
                    <a:gd name="connsiteY8" fmla="*/ 181261 h 185392"/>
                    <a:gd name="connsiteX9" fmla="*/ 109537 w 146382"/>
                    <a:gd name="connsiteY9" fmla="*/ 183642 h 185392"/>
                    <a:gd name="connsiteX10" fmla="*/ 11906 w 146382"/>
                    <a:gd name="connsiteY10" fmla="*/ 176499 h 185392"/>
                    <a:gd name="connsiteX11" fmla="*/ 7143 w 146382"/>
                    <a:gd name="connsiteY11" fmla="*/ 112205 h 185392"/>
                    <a:gd name="connsiteX12" fmla="*/ 4762 w 146382"/>
                    <a:gd name="connsiteY12" fmla="*/ 100299 h 185392"/>
                    <a:gd name="connsiteX13" fmla="*/ 0 w 146382"/>
                    <a:gd name="connsiteY13" fmla="*/ 78867 h 185392"/>
                    <a:gd name="connsiteX14" fmla="*/ 2381 w 146382"/>
                    <a:gd name="connsiteY14" fmla="*/ 43149 h 185392"/>
                    <a:gd name="connsiteX15" fmla="*/ 19050 w 146382"/>
                    <a:gd name="connsiteY15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47625 w 146552"/>
                    <a:gd name="connsiteY2" fmla="*/ 5049 h 185392"/>
                    <a:gd name="connsiteX3" fmla="*/ 61912 w 146552"/>
                    <a:gd name="connsiteY3" fmla="*/ 2667 h 185392"/>
                    <a:gd name="connsiteX4" fmla="*/ 133350 w 146552"/>
                    <a:gd name="connsiteY4" fmla="*/ 43149 h 185392"/>
                    <a:gd name="connsiteX5" fmla="*/ 130968 w 146552"/>
                    <a:gd name="connsiteY5" fmla="*/ 52674 h 185392"/>
                    <a:gd name="connsiteX6" fmla="*/ 145256 w 146552"/>
                    <a:gd name="connsiteY6" fmla="*/ 147924 h 185392"/>
                    <a:gd name="connsiteX7" fmla="*/ 140493 w 146552"/>
                    <a:gd name="connsiteY7" fmla="*/ 181261 h 185392"/>
                    <a:gd name="connsiteX8" fmla="*/ 109537 w 146552"/>
                    <a:gd name="connsiteY8" fmla="*/ 183642 h 185392"/>
                    <a:gd name="connsiteX9" fmla="*/ 11906 w 146552"/>
                    <a:gd name="connsiteY9" fmla="*/ 176499 h 185392"/>
                    <a:gd name="connsiteX10" fmla="*/ 7143 w 146552"/>
                    <a:gd name="connsiteY10" fmla="*/ 112205 h 185392"/>
                    <a:gd name="connsiteX11" fmla="*/ 4762 w 146552"/>
                    <a:gd name="connsiteY11" fmla="*/ 100299 h 185392"/>
                    <a:gd name="connsiteX12" fmla="*/ 0 w 146552"/>
                    <a:gd name="connsiteY12" fmla="*/ 78867 h 185392"/>
                    <a:gd name="connsiteX13" fmla="*/ 2381 w 146552"/>
                    <a:gd name="connsiteY13" fmla="*/ 43149 h 185392"/>
                    <a:gd name="connsiteX14" fmla="*/ 19050 w 146552"/>
                    <a:gd name="connsiteY14" fmla="*/ 12192 h 185392"/>
                    <a:gd name="connsiteX0" fmla="*/ 19050 w 146552"/>
                    <a:gd name="connsiteY0" fmla="*/ 12192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13" fmla="*/ 19050 w 146552"/>
                    <a:gd name="connsiteY13" fmla="*/ 12192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4762 w 146552"/>
                    <a:gd name="connsiteY10" fmla="*/ 100299 h 185392"/>
                    <a:gd name="connsiteX11" fmla="*/ 0 w 146552"/>
                    <a:gd name="connsiteY11" fmla="*/ 78867 h 185392"/>
                    <a:gd name="connsiteX12" fmla="*/ 2381 w 146552"/>
                    <a:gd name="connsiteY12" fmla="*/ 43149 h 185392"/>
                    <a:gd name="connsiteX0" fmla="*/ 2381 w 146552"/>
                    <a:gd name="connsiteY0" fmla="*/ 43149 h 185392"/>
                    <a:gd name="connsiteX1" fmla="*/ 30956 w 146552"/>
                    <a:gd name="connsiteY1" fmla="*/ 9811 h 185392"/>
                    <a:gd name="connsiteX2" fmla="*/ 61912 w 146552"/>
                    <a:gd name="connsiteY2" fmla="*/ 2667 h 185392"/>
                    <a:gd name="connsiteX3" fmla="*/ 133350 w 146552"/>
                    <a:gd name="connsiteY3" fmla="*/ 43149 h 185392"/>
                    <a:gd name="connsiteX4" fmla="*/ 130968 w 146552"/>
                    <a:gd name="connsiteY4" fmla="*/ 52674 h 185392"/>
                    <a:gd name="connsiteX5" fmla="*/ 145256 w 146552"/>
                    <a:gd name="connsiteY5" fmla="*/ 147924 h 185392"/>
                    <a:gd name="connsiteX6" fmla="*/ 140493 w 146552"/>
                    <a:gd name="connsiteY6" fmla="*/ 181261 h 185392"/>
                    <a:gd name="connsiteX7" fmla="*/ 109537 w 146552"/>
                    <a:gd name="connsiteY7" fmla="*/ 183642 h 185392"/>
                    <a:gd name="connsiteX8" fmla="*/ 11906 w 146552"/>
                    <a:gd name="connsiteY8" fmla="*/ 176499 h 185392"/>
                    <a:gd name="connsiteX9" fmla="*/ 7143 w 146552"/>
                    <a:gd name="connsiteY9" fmla="*/ 112205 h 185392"/>
                    <a:gd name="connsiteX10" fmla="*/ 0 w 146552"/>
                    <a:gd name="connsiteY10" fmla="*/ 78867 h 185392"/>
                    <a:gd name="connsiteX11" fmla="*/ 2381 w 146552"/>
                    <a:gd name="connsiteY11" fmla="*/ 43149 h 185392"/>
                    <a:gd name="connsiteX0" fmla="*/ 2776 w 146947"/>
                    <a:gd name="connsiteY0" fmla="*/ 43149 h 185392"/>
                    <a:gd name="connsiteX1" fmla="*/ 31351 w 146947"/>
                    <a:gd name="connsiteY1" fmla="*/ 9811 h 185392"/>
                    <a:gd name="connsiteX2" fmla="*/ 62307 w 146947"/>
                    <a:gd name="connsiteY2" fmla="*/ 2667 h 185392"/>
                    <a:gd name="connsiteX3" fmla="*/ 133745 w 146947"/>
                    <a:gd name="connsiteY3" fmla="*/ 43149 h 185392"/>
                    <a:gd name="connsiteX4" fmla="*/ 131363 w 146947"/>
                    <a:gd name="connsiteY4" fmla="*/ 52674 h 185392"/>
                    <a:gd name="connsiteX5" fmla="*/ 145651 w 146947"/>
                    <a:gd name="connsiteY5" fmla="*/ 147924 h 185392"/>
                    <a:gd name="connsiteX6" fmla="*/ 140888 w 146947"/>
                    <a:gd name="connsiteY6" fmla="*/ 181261 h 185392"/>
                    <a:gd name="connsiteX7" fmla="*/ 109932 w 146947"/>
                    <a:gd name="connsiteY7" fmla="*/ 183642 h 185392"/>
                    <a:gd name="connsiteX8" fmla="*/ 12301 w 146947"/>
                    <a:gd name="connsiteY8" fmla="*/ 176499 h 185392"/>
                    <a:gd name="connsiteX9" fmla="*/ 395 w 146947"/>
                    <a:gd name="connsiteY9" fmla="*/ 78867 h 185392"/>
                    <a:gd name="connsiteX10" fmla="*/ 2776 w 146947"/>
                    <a:gd name="connsiteY10" fmla="*/ 43149 h 185392"/>
                    <a:gd name="connsiteX0" fmla="*/ 3214 w 147385"/>
                    <a:gd name="connsiteY0" fmla="*/ 43149 h 185392"/>
                    <a:gd name="connsiteX1" fmla="*/ 31789 w 147385"/>
                    <a:gd name="connsiteY1" fmla="*/ 9811 h 185392"/>
                    <a:gd name="connsiteX2" fmla="*/ 62745 w 147385"/>
                    <a:gd name="connsiteY2" fmla="*/ 2667 h 185392"/>
                    <a:gd name="connsiteX3" fmla="*/ 134183 w 147385"/>
                    <a:gd name="connsiteY3" fmla="*/ 43149 h 185392"/>
                    <a:gd name="connsiteX4" fmla="*/ 131801 w 147385"/>
                    <a:gd name="connsiteY4" fmla="*/ 52674 h 185392"/>
                    <a:gd name="connsiteX5" fmla="*/ 146089 w 147385"/>
                    <a:gd name="connsiteY5" fmla="*/ 147924 h 185392"/>
                    <a:gd name="connsiteX6" fmla="*/ 141326 w 147385"/>
                    <a:gd name="connsiteY6" fmla="*/ 181261 h 185392"/>
                    <a:gd name="connsiteX7" fmla="*/ 110370 w 147385"/>
                    <a:gd name="connsiteY7" fmla="*/ 183642 h 185392"/>
                    <a:gd name="connsiteX8" fmla="*/ 12739 w 147385"/>
                    <a:gd name="connsiteY8" fmla="*/ 176499 h 185392"/>
                    <a:gd name="connsiteX9" fmla="*/ 3214 w 147385"/>
                    <a:gd name="connsiteY9" fmla="*/ 43149 h 185392"/>
                    <a:gd name="connsiteX0" fmla="*/ 3214 w 141991"/>
                    <a:gd name="connsiteY0" fmla="*/ 43149 h 191716"/>
                    <a:gd name="connsiteX1" fmla="*/ 31789 w 141991"/>
                    <a:gd name="connsiteY1" fmla="*/ 9811 h 191716"/>
                    <a:gd name="connsiteX2" fmla="*/ 62745 w 141991"/>
                    <a:gd name="connsiteY2" fmla="*/ 2667 h 191716"/>
                    <a:gd name="connsiteX3" fmla="*/ 134183 w 141991"/>
                    <a:gd name="connsiteY3" fmla="*/ 43149 h 191716"/>
                    <a:gd name="connsiteX4" fmla="*/ 131801 w 141991"/>
                    <a:gd name="connsiteY4" fmla="*/ 52674 h 191716"/>
                    <a:gd name="connsiteX5" fmla="*/ 141326 w 141991"/>
                    <a:gd name="connsiteY5" fmla="*/ 181261 h 191716"/>
                    <a:gd name="connsiteX6" fmla="*/ 110370 w 141991"/>
                    <a:gd name="connsiteY6" fmla="*/ 183642 h 191716"/>
                    <a:gd name="connsiteX7" fmla="*/ 12739 w 141991"/>
                    <a:gd name="connsiteY7" fmla="*/ 176499 h 191716"/>
                    <a:gd name="connsiteX8" fmla="*/ 3214 w 141991"/>
                    <a:gd name="connsiteY8" fmla="*/ 43149 h 191716"/>
                    <a:gd name="connsiteX0" fmla="*/ 5062 w 150231"/>
                    <a:gd name="connsiteY0" fmla="*/ 43149 h 195360"/>
                    <a:gd name="connsiteX1" fmla="*/ 33637 w 150231"/>
                    <a:gd name="connsiteY1" fmla="*/ 9811 h 195360"/>
                    <a:gd name="connsiteX2" fmla="*/ 64593 w 150231"/>
                    <a:gd name="connsiteY2" fmla="*/ 2667 h 195360"/>
                    <a:gd name="connsiteX3" fmla="*/ 136031 w 150231"/>
                    <a:gd name="connsiteY3" fmla="*/ 43149 h 195360"/>
                    <a:gd name="connsiteX4" fmla="*/ 133649 w 150231"/>
                    <a:gd name="connsiteY4" fmla="*/ 52674 h 195360"/>
                    <a:gd name="connsiteX5" fmla="*/ 143174 w 150231"/>
                    <a:gd name="connsiteY5" fmla="*/ 181261 h 195360"/>
                    <a:gd name="connsiteX6" fmla="*/ 14587 w 150231"/>
                    <a:gd name="connsiteY6" fmla="*/ 176499 h 195360"/>
                    <a:gd name="connsiteX7" fmla="*/ 5062 w 150231"/>
                    <a:gd name="connsiteY7" fmla="*/ 43149 h 195360"/>
                    <a:gd name="connsiteX0" fmla="*/ 5062 w 139482"/>
                    <a:gd name="connsiteY0" fmla="*/ 43149 h 194072"/>
                    <a:gd name="connsiteX1" fmla="*/ 33637 w 139482"/>
                    <a:gd name="connsiteY1" fmla="*/ 9811 h 194072"/>
                    <a:gd name="connsiteX2" fmla="*/ 64593 w 139482"/>
                    <a:gd name="connsiteY2" fmla="*/ 2667 h 194072"/>
                    <a:gd name="connsiteX3" fmla="*/ 136031 w 139482"/>
                    <a:gd name="connsiteY3" fmla="*/ 43149 h 194072"/>
                    <a:gd name="connsiteX4" fmla="*/ 133649 w 139482"/>
                    <a:gd name="connsiteY4" fmla="*/ 52674 h 194072"/>
                    <a:gd name="connsiteX5" fmla="*/ 128886 w 139482"/>
                    <a:gd name="connsiteY5" fmla="*/ 178879 h 194072"/>
                    <a:gd name="connsiteX6" fmla="*/ 14587 w 139482"/>
                    <a:gd name="connsiteY6" fmla="*/ 176499 h 194072"/>
                    <a:gd name="connsiteX7" fmla="*/ 5062 w 139482"/>
                    <a:gd name="connsiteY7" fmla="*/ 43149 h 194072"/>
                    <a:gd name="connsiteX0" fmla="*/ 5062 w 143256"/>
                    <a:gd name="connsiteY0" fmla="*/ 43149 h 187191"/>
                    <a:gd name="connsiteX1" fmla="*/ 33637 w 143256"/>
                    <a:gd name="connsiteY1" fmla="*/ 9811 h 187191"/>
                    <a:gd name="connsiteX2" fmla="*/ 64593 w 143256"/>
                    <a:gd name="connsiteY2" fmla="*/ 2667 h 187191"/>
                    <a:gd name="connsiteX3" fmla="*/ 136031 w 143256"/>
                    <a:gd name="connsiteY3" fmla="*/ 43149 h 187191"/>
                    <a:gd name="connsiteX4" fmla="*/ 133649 w 143256"/>
                    <a:gd name="connsiteY4" fmla="*/ 52674 h 187191"/>
                    <a:gd name="connsiteX5" fmla="*/ 128886 w 143256"/>
                    <a:gd name="connsiteY5" fmla="*/ 178879 h 187191"/>
                    <a:gd name="connsiteX6" fmla="*/ 14587 w 143256"/>
                    <a:gd name="connsiteY6" fmla="*/ 176499 h 187191"/>
                    <a:gd name="connsiteX7" fmla="*/ 5062 w 143256"/>
                    <a:gd name="connsiteY7" fmla="*/ 43149 h 187191"/>
                    <a:gd name="connsiteX0" fmla="*/ 9331 w 140381"/>
                    <a:gd name="connsiteY0" fmla="*/ 38386 h 187191"/>
                    <a:gd name="connsiteX1" fmla="*/ 30762 w 140381"/>
                    <a:gd name="connsiteY1" fmla="*/ 9811 h 187191"/>
                    <a:gd name="connsiteX2" fmla="*/ 61718 w 140381"/>
                    <a:gd name="connsiteY2" fmla="*/ 2667 h 187191"/>
                    <a:gd name="connsiteX3" fmla="*/ 133156 w 140381"/>
                    <a:gd name="connsiteY3" fmla="*/ 43149 h 187191"/>
                    <a:gd name="connsiteX4" fmla="*/ 130774 w 140381"/>
                    <a:gd name="connsiteY4" fmla="*/ 52674 h 187191"/>
                    <a:gd name="connsiteX5" fmla="*/ 126011 w 140381"/>
                    <a:gd name="connsiteY5" fmla="*/ 178879 h 187191"/>
                    <a:gd name="connsiteX6" fmla="*/ 11712 w 140381"/>
                    <a:gd name="connsiteY6" fmla="*/ 176499 h 187191"/>
                    <a:gd name="connsiteX7" fmla="*/ 9331 w 140381"/>
                    <a:gd name="connsiteY7" fmla="*/ 38386 h 187191"/>
                    <a:gd name="connsiteX0" fmla="*/ 1234 w 128069"/>
                    <a:gd name="connsiteY0" fmla="*/ 38386 h 194072"/>
                    <a:gd name="connsiteX1" fmla="*/ 22665 w 128069"/>
                    <a:gd name="connsiteY1" fmla="*/ 9811 h 194072"/>
                    <a:gd name="connsiteX2" fmla="*/ 53621 w 128069"/>
                    <a:gd name="connsiteY2" fmla="*/ 2667 h 194072"/>
                    <a:gd name="connsiteX3" fmla="*/ 125059 w 128069"/>
                    <a:gd name="connsiteY3" fmla="*/ 43149 h 194072"/>
                    <a:gd name="connsiteX4" fmla="*/ 122677 w 128069"/>
                    <a:gd name="connsiteY4" fmla="*/ 52674 h 194072"/>
                    <a:gd name="connsiteX5" fmla="*/ 117914 w 128069"/>
                    <a:gd name="connsiteY5" fmla="*/ 178879 h 194072"/>
                    <a:gd name="connsiteX6" fmla="*/ 22665 w 128069"/>
                    <a:gd name="connsiteY6" fmla="*/ 176499 h 194072"/>
                    <a:gd name="connsiteX7" fmla="*/ 1234 w 128069"/>
                    <a:gd name="connsiteY7" fmla="*/ 38386 h 194072"/>
                    <a:gd name="connsiteX0" fmla="*/ 1234 w 128069"/>
                    <a:gd name="connsiteY0" fmla="*/ 38386 h 186103"/>
                    <a:gd name="connsiteX1" fmla="*/ 22665 w 128069"/>
                    <a:gd name="connsiteY1" fmla="*/ 9811 h 186103"/>
                    <a:gd name="connsiteX2" fmla="*/ 53621 w 128069"/>
                    <a:gd name="connsiteY2" fmla="*/ 2667 h 186103"/>
                    <a:gd name="connsiteX3" fmla="*/ 125059 w 128069"/>
                    <a:gd name="connsiteY3" fmla="*/ 43149 h 186103"/>
                    <a:gd name="connsiteX4" fmla="*/ 122677 w 128069"/>
                    <a:gd name="connsiteY4" fmla="*/ 52674 h 186103"/>
                    <a:gd name="connsiteX5" fmla="*/ 117914 w 128069"/>
                    <a:gd name="connsiteY5" fmla="*/ 178879 h 186103"/>
                    <a:gd name="connsiteX6" fmla="*/ 22665 w 128069"/>
                    <a:gd name="connsiteY6" fmla="*/ 176499 h 186103"/>
                    <a:gd name="connsiteX7" fmla="*/ 1234 w 128069"/>
                    <a:gd name="connsiteY7" fmla="*/ 38386 h 186103"/>
                    <a:gd name="connsiteX0" fmla="*/ 1234 w 128069"/>
                    <a:gd name="connsiteY0" fmla="*/ 38386 h 188318"/>
                    <a:gd name="connsiteX1" fmla="*/ 22665 w 128069"/>
                    <a:gd name="connsiteY1" fmla="*/ 9811 h 188318"/>
                    <a:gd name="connsiteX2" fmla="*/ 53621 w 128069"/>
                    <a:gd name="connsiteY2" fmla="*/ 2667 h 188318"/>
                    <a:gd name="connsiteX3" fmla="*/ 125059 w 128069"/>
                    <a:gd name="connsiteY3" fmla="*/ 43149 h 188318"/>
                    <a:gd name="connsiteX4" fmla="*/ 122677 w 128069"/>
                    <a:gd name="connsiteY4" fmla="*/ 52674 h 188318"/>
                    <a:gd name="connsiteX5" fmla="*/ 117914 w 128069"/>
                    <a:gd name="connsiteY5" fmla="*/ 178879 h 188318"/>
                    <a:gd name="connsiteX6" fmla="*/ 22665 w 128069"/>
                    <a:gd name="connsiteY6" fmla="*/ 176499 h 188318"/>
                    <a:gd name="connsiteX7" fmla="*/ 1234 w 128069"/>
                    <a:gd name="connsiteY7" fmla="*/ 38386 h 188318"/>
                    <a:gd name="connsiteX0" fmla="*/ 1234 w 128069"/>
                    <a:gd name="connsiteY0" fmla="*/ 38386 h 183526"/>
                    <a:gd name="connsiteX1" fmla="*/ 22665 w 128069"/>
                    <a:gd name="connsiteY1" fmla="*/ 9811 h 183526"/>
                    <a:gd name="connsiteX2" fmla="*/ 53621 w 128069"/>
                    <a:gd name="connsiteY2" fmla="*/ 2667 h 183526"/>
                    <a:gd name="connsiteX3" fmla="*/ 125059 w 128069"/>
                    <a:gd name="connsiteY3" fmla="*/ 43149 h 183526"/>
                    <a:gd name="connsiteX4" fmla="*/ 122677 w 128069"/>
                    <a:gd name="connsiteY4" fmla="*/ 52674 h 183526"/>
                    <a:gd name="connsiteX5" fmla="*/ 117914 w 128069"/>
                    <a:gd name="connsiteY5" fmla="*/ 171736 h 183526"/>
                    <a:gd name="connsiteX6" fmla="*/ 22665 w 128069"/>
                    <a:gd name="connsiteY6" fmla="*/ 176499 h 183526"/>
                    <a:gd name="connsiteX7" fmla="*/ 1234 w 128069"/>
                    <a:gd name="connsiteY7" fmla="*/ 38386 h 183526"/>
                    <a:gd name="connsiteX0" fmla="*/ 6356 w 118904"/>
                    <a:gd name="connsiteY0" fmla="*/ 45530 h 183526"/>
                    <a:gd name="connsiteX1" fmla="*/ 13500 w 118904"/>
                    <a:gd name="connsiteY1" fmla="*/ 9811 h 183526"/>
                    <a:gd name="connsiteX2" fmla="*/ 44456 w 118904"/>
                    <a:gd name="connsiteY2" fmla="*/ 2667 h 183526"/>
                    <a:gd name="connsiteX3" fmla="*/ 115894 w 118904"/>
                    <a:gd name="connsiteY3" fmla="*/ 43149 h 183526"/>
                    <a:gd name="connsiteX4" fmla="*/ 113512 w 118904"/>
                    <a:gd name="connsiteY4" fmla="*/ 52674 h 183526"/>
                    <a:gd name="connsiteX5" fmla="*/ 108749 w 118904"/>
                    <a:gd name="connsiteY5" fmla="*/ 171736 h 183526"/>
                    <a:gd name="connsiteX6" fmla="*/ 13500 w 118904"/>
                    <a:gd name="connsiteY6" fmla="*/ 176499 h 183526"/>
                    <a:gd name="connsiteX7" fmla="*/ 6356 w 118904"/>
                    <a:gd name="connsiteY7" fmla="*/ 45530 h 1835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18904" h="183526">
                      <a:moveTo>
                        <a:pt x="6356" y="45530"/>
                      </a:moveTo>
                      <a:cubicBezTo>
                        <a:pt x="9531" y="17749"/>
                        <a:pt x="7150" y="16955"/>
                        <a:pt x="13500" y="9811"/>
                      </a:cubicBezTo>
                      <a:cubicBezTo>
                        <a:pt x="19850" y="2667"/>
                        <a:pt x="27390" y="-2889"/>
                        <a:pt x="44456" y="2667"/>
                      </a:cubicBezTo>
                      <a:cubicBezTo>
                        <a:pt x="126459" y="5313"/>
                        <a:pt x="122154" y="-19447"/>
                        <a:pt x="115894" y="43149"/>
                      </a:cubicBezTo>
                      <a:cubicBezTo>
                        <a:pt x="115568" y="46406"/>
                        <a:pt x="114306" y="49499"/>
                        <a:pt x="113512" y="52674"/>
                      </a:cubicBezTo>
                      <a:cubicBezTo>
                        <a:pt x="114703" y="75693"/>
                        <a:pt x="125418" y="151099"/>
                        <a:pt x="108749" y="171736"/>
                      </a:cubicBezTo>
                      <a:cubicBezTo>
                        <a:pt x="92080" y="192373"/>
                        <a:pt x="36519" y="180469"/>
                        <a:pt x="13500" y="176499"/>
                      </a:cubicBezTo>
                      <a:cubicBezTo>
                        <a:pt x="-9519" y="153480"/>
                        <a:pt x="3181" y="73311"/>
                        <a:pt x="6356" y="4553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27" name="Freeform: Shape 126">
                  <a:extLst>
                    <a:ext uri="{FF2B5EF4-FFF2-40B4-BE49-F238E27FC236}">
                      <a16:creationId xmlns:a16="http://schemas.microsoft.com/office/drawing/2014/main" id="{F3396504-91E7-F382-863D-61E9261C1CB8}"/>
                    </a:ext>
                  </a:extLst>
                </p:cNvPr>
                <p:cNvSpPr/>
                <p:nvPr/>
              </p:nvSpPr>
              <p:spPr>
                <a:xfrm>
                  <a:off x="8532684" y="4033947"/>
                  <a:ext cx="130302" cy="349935"/>
                </a:xfrm>
                <a:custGeom>
                  <a:avLst/>
                  <a:gdLst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23825 w 133350"/>
                    <a:gd name="connsiteY13" fmla="*/ 91888 h 368113"/>
                    <a:gd name="connsiteX14" fmla="*/ 128588 w 133350"/>
                    <a:gd name="connsiteY14" fmla="*/ 115700 h 368113"/>
                    <a:gd name="connsiteX15" fmla="*/ 126207 w 133350"/>
                    <a:gd name="connsiteY15" fmla="*/ 158563 h 368113"/>
                    <a:gd name="connsiteX16" fmla="*/ 121444 w 133350"/>
                    <a:gd name="connsiteY16" fmla="*/ 187138 h 368113"/>
                    <a:gd name="connsiteX17" fmla="*/ 119063 w 133350"/>
                    <a:gd name="connsiteY17" fmla="*/ 234763 h 368113"/>
                    <a:gd name="connsiteX18" fmla="*/ 116682 w 133350"/>
                    <a:gd name="connsiteY18" fmla="*/ 241906 h 368113"/>
                    <a:gd name="connsiteX19" fmla="*/ 119063 w 133350"/>
                    <a:gd name="connsiteY19" fmla="*/ 294294 h 368113"/>
                    <a:gd name="connsiteX20" fmla="*/ 121444 w 133350"/>
                    <a:gd name="connsiteY20" fmla="*/ 306200 h 368113"/>
                    <a:gd name="connsiteX21" fmla="*/ 123825 w 133350"/>
                    <a:gd name="connsiteY21" fmla="*/ 320488 h 368113"/>
                    <a:gd name="connsiteX22" fmla="*/ 126207 w 133350"/>
                    <a:gd name="connsiteY22" fmla="*/ 337156 h 368113"/>
                    <a:gd name="connsiteX23" fmla="*/ 128588 w 133350"/>
                    <a:gd name="connsiteY23" fmla="*/ 346681 h 368113"/>
                    <a:gd name="connsiteX24" fmla="*/ 133350 w 133350"/>
                    <a:gd name="connsiteY24" fmla="*/ 368113 h 368113"/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23825 w 133350"/>
                    <a:gd name="connsiteY13" fmla="*/ 91888 h 368113"/>
                    <a:gd name="connsiteX14" fmla="*/ 128588 w 133350"/>
                    <a:gd name="connsiteY14" fmla="*/ 115700 h 368113"/>
                    <a:gd name="connsiteX15" fmla="*/ 121444 w 133350"/>
                    <a:gd name="connsiteY15" fmla="*/ 187138 h 368113"/>
                    <a:gd name="connsiteX16" fmla="*/ 119063 w 133350"/>
                    <a:gd name="connsiteY16" fmla="*/ 234763 h 368113"/>
                    <a:gd name="connsiteX17" fmla="*/ 116682 w 133350"/>
                    <a:gd name="connsiteY17" fmla="*/ 241906 h 368113"/>
                    <a:gd name="connsiteX18" fmla="*/ 119063 w 133350"/>
                    <a:gd name="connsiteY18" fmla="*/ 294294 h 368113"/>
                    <a:gd name="connsiteX19" fmla="*/ 121444 w 133350"/>
                    <a:gd name="connsiteY19" fmla="*/ 306200 h 368113"/>
                    <a:gd name="connsiteX20" fmla="*/ 123825 w 133350"/>
                    <a:gd name="connsiteY20" fmla="*/ 320488 h 368113"/>
                    <a:gd name="connsiteX21" fmla="*/ 126207 w 133350"/>
                    <a:gd name="connsiteY21" fmla="*/ 337156 h 368113"/>
                    <a:gd name="connsiteX22" fmla="*/ 128588 w 133350"/>
                    <a:gd name="connsiteY22" fmla="*/ 346681 h 368113"/>
                    <a:gd name="connsiteX23" fmla="*/ 133350 w 133350"/>
                    <a:gd name="connsiteY23" fmla="*/ 368113 h 368113"/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23825 w 133350"/>
                    <a:gd name="connsiteY13" fmla="*/ 91888 h 368113"/>
                    <a:gd name="connsiteX14" fmla="*/ 121444 w 133350"/>
                    <a:gd name="connsiteY14" fmla="*/ 187138 h 368113"/>
                    <a:gd name="connsiteX15" fmla="*/ 119063 w 133350"/>
                    <a:gd name="connsiteY15" fmla="*/ 234763 h 368113"/>
                    <a:gd name="connsiteX16" fmla="*/ 116682 w 133350"/>
                    <a:gd name="connsiteY16" fmla="*/ 241906 h 368113"/>
                    <a:gd name="connsiteX17" fmla="*/ 119063 w 133350"/>
                    <a:gd name="connsiteY17" fmla="*/ 294294 h 368113"/>
                    <a:gd name="connsiteX18" fmla="*/ 121444 w 133350"/>
                    <a:gd name="connsiteY18" fmla="*/ 306200 h 368113"/>
                    <a:gd name="connsiteX19" fmla="*/ 123825 w 133350"/>
                    <a:gd name="connsiteY19" fmla="*/ 320488 h 368113"/>
                    <a:gd name="connsiteX20" fmla="*/ 126207 w 133350"/>
                    <a:gd name="connsiteY20" fmla="*/ 337156 h 368113"/>
                    <a:gd name="connsiteX21" fmla="*/ 128588 w 133350"/>
                    <a:gd name="connsiteY21" fmla="*/ 346681 h 368113"/>
                    <a:gd name="connsiteX22" fmla="*/ 133350 w 133350"/>
                    <a:gd name="connsiteY22" fmla="*/ 368113 h 368113"/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21444 w 133350"/>
                    <a:gd name="connsiteY13" fmla="*/ 187138 h 368113"/>
                    <a:gd name="connsiteX14" fmla="*/ 119063 w 133350"/>
                    <a:gd name="connsiteY14" fmla="*/ 234763 h 368113"/>
                    <a:gd name="connsiteX15" fmla="*/ 116682 w 133350"/>
                    <a:gd name="connsiteY15" fmla="*/ 241906 h 368113"/>
                    <a:gd name="connsiteX16" fmla="*/ 119063 w 133350"/>
                    <a:gd name="connsiteY16" fmla="*/ 294294 h 368113"/>
                    <a:gd name="connsiteX17" fmla="*/ 121444 w 133350"/>
                    <a:gd name="connsiteY17" fmla="*/ 306200 h 368113"/>
                    <a:gd name="connsiteX18" fmla="*/ 123825 w 133350"/>
                    <a:gd name="connsiteY18" fmla="*/ 320488 h 368113"/>
                    <a:gd name="connsiteX19" fmla="*/ 126207 w 133350"/>
                    <a:gd name="connsiteY19" fmla="*/ 337156 h 368113"/>
                    <a:gd name="connsiteX20" fmla="*/ 128588 w 133350"/>
                    <a:gd name="connsiteY20" fmla="*/ 346681 h 368113"/>
                    <a:gd name="connsiteX21" fmla="*/ 133350 w 133350"/>
                    <a:gd name="connsiteY21" fmla="*/ 368113 h 368113"/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19063 w 133350"/>
                    <a:gd name="connsiteY13" fmla="*/ 234763 h 368113"/>
                    <a:gd name="connsiteX14" fmla="*/ 116682 w 133350"/>
                    <a:gd name="connsiteY14" fmla="*/ 241906 h 368113"/>
                    <a:gd name="connsiteX15" fmla="*/ 119063 w 133350"/>
                    <a:gd name="connsiteY15" fmla="*/ 294294 h 368113"/>
                    <a:gd name="connsiteX16" fmla="*/ 121444 w 133350"/>
                    <a:gd name="connsiteY16" fmla="*/ 306200 h 368113"/>
                    <a:gd name="connsiteX17" fmla="*/ 123825 w 133350"/>
                    <a:gd name="connsiteY17" fmla="*/ 320488 h 368113"/>
                    <a:gd name="connsiteX18" fmla="*/ 126207 w 133350"/>
                    <a:gd name="connsiteY18" fmla="*/ 337156 h 368113"/>
                    <a:gd name="connsiteX19" fmla="*/ 128588 w 133350"/>
                    <a:gd name="connsiteY19" fmla="*/ 346681 h 368113"/>
                    <a:gd name="connsiteX20" fmla="*/ 133350 w 133350"/>
                    <a:gd name="connsiteY20" fmla="*/ 368113 h 368113"/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19063 w 133350"/>
                    <a:gd name="connsiteY13" fmla="*/ 234763 h 368113"/>
                    <a:gd name="connsiteX14" fmla="*/ 116682 w 133350"/>
                    <a:gd name="connsiteY14" fmla="*/ 241906 h 368113"/>
                    <a:gd name="connsiteX15" fmla="*/ 121444 w 133350"/>
                    <a:gd name="connsiteY15" fmla="*/ 306200 h 368113"/>
                    <a:gd name="connsiteX16" fmla="*/ 123825 w 133350"/>
                    <a:gd name="connsiteY16" fmla="*/ 320488 h 368113"/>
                    <a:gd name="connsiteX17" fmla="*/ 126207 w 133350"/>
                    <a:gd name="connsiteY17" fmla="*/ 337156 h 368113"/>
                    <a:gd name="connsiteX18" fmla="*/ 128588 w 133350"/>
                    <a:gd name="connsiteY18" fmla="*/ 346681 h 368113"/>
                    <a:gd name="connsiteX19" fmla="*/ 133350 w 133350"/>
                    <a:gd name="connsiteY19" fmla="*/ 368113 h 368113"/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19063 w 133350"/>
                    <a:gd name="connsiteY13" fmla="*/ 234763 h 368113"/>
                    <a:gd name="connsiteX14" fmla="*/ 116682 w 133350"/>
                    <a:gd name="connsiteY14" fmla="*/ 241906 h 368113"/>
                    <a:gd name="connsiteX15" fmla="*/ 121444 w 133350"/>
                    <a:gd name="connsiteY15" fmla="*/ 306200 h 368113"/>
                    <a:gd name="connsiteX16" fmla="*/ 126207 w 133350"/>
                    <a:gd name="connsiteY16" fmla="*/ 337156 h 368113"/>
                    <a:gd name="connsiteX17" fmla="*/ 128588 w 133350"/>
                    <a:gd name="connsiteY17" fmla="*/ 346681 h 368113"/>
                    <a:gd name="connsiteX18" fmla="*/ 133350 w 133350"/>
                    <a:gd name="connsiteY18" fmla="*/ 368113 h 368113"/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19063 w 133350"/>
                    <a:gd name="connsiteY13" fmla="*/ 234763 h 368113"/>
                    <a:gd name="connsiteX14" fmla="*/ 121444 w 133350"/>
                    <a:gd name="connsiteY14" fmla="*/ 306200 h 368113"/>
                    <a:gd name="connsiteX15" fmla="*/ 126207 w 133350"/>
                    <a:gd name="connsiteY15" fmla="*/ 337156 h 368113"/>
                    <a:gd name="connsiteX16" fmla="*/ 128588 w 133350"/>
                    <a:gd name="connsiteY16" fmla="*/ 346681 h 368113"/>
                    <a:gd name="connsiteX17" fmla="*/ 133350 w 133350"/>
                    <a:gd name="connsiteY17" fmla="*/ 368113 h 368113"/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19063 w 133350"/>
                    <a:gd name="connsiteY13" fmla="*/ 234763 h 368113"/>
                    <a:gd name="connsiteX14" fmla="*/ 121444 w 133350"/>
                    <a:gd name="connsiteY14" fmla="*/ 306200 h 368113"/>
                    <a:gd name="connsiteX15" fmla="*/ 126207 w 133350"/>
                    <a:gd name="connsiteY15" fmla="*/ 337156 h 368113"/>
                    <a:gd name="connsiteX16" fmla="*/ 133350 w 133350"/>
                    <a:gd name="connsiteY16" fmla="*/ 368113 h 368113"/>
                    <a:gd name="connsiteX0" fmla="*/ 0 w 133350"/>
                    <a:gd name="connsiteY0" fmla="*/ 365731 h 368113"/>
                    <a:gd name="connsiteX1" fmla="*/ 4763 w 133350"/>
                    <a:gd name="connsiteY1" fmla="*/ 353825 h 368113"/>
                    <a:gd name="connsiteX2" fmla="*/ 11907 w 133350"/>
                    <a:gd name="connsiteY2" fmla="*/ 341919 h 368113"/>
                    <a:gd name="connsiteX3" fmla="*/ 16669 w 133350"/>
                    <a:gd name="connsiteY3" fmla="*/ 208569 h 368113"/>
                    <a:gd name="connsiteX4" fmla="*/ 14288 w 133350"/>
                    <a:gd name="connsiteY4" fmla="*/ 160944 h 368113"/>
                    <a:gd name="connsiteX5" fmla="*/ 16669 w 133350"/>
                    <a:gd name="connsiteY5" fmla="*/ 132369 h 368113"/>
                    <a:gd name="connsiteX6" fmla="*/ 19050 w 133350"/>
                    <a:gd name="connsiteY6" fmla="*/ 75219 h 368113"/>
                    <a:gd name="connsiteX7" fmla="*/ 16669 w 133350"/>
                    <a:gd name="connsiteY7" fmla="*/ 37119 h 368113"/>
                    <a:gd name="connsiteX8" fmla="*/ 19050 w 133350"/>
                    <a:gd name="connsiteY8" fmla="*/ 3781 h 368113"/>
                    <a:gd name="connsiteX9" fmla="*/ 100013 w 133350"/>
                    <a:gd name="connsiteY9" fmla="*/ 6163 h 368113"/>
                    <a:gd name="connsiteX10" fmla="*/ 107157 w 133350"/>
                    <a:gd name="connsiteY10" fmla="*/ 8544 h 368113"/>
                    <a:gd name="connsiteX11" fmla="*/ 114300 w 133350"/>
                    <a:gd name="connsiteY11" fmla="*/ 29975 h 368113"/>
                    <a:gd name="connsiteX12" fmla="*/ 119063 w 133350"/>
                    <a:gd name="connsiteY12" fmla="*/ 39500 h 368113"/>
                    <a:gd name="connsiteX13" fmla="*/ 119063 w 133350"/>
                    <a:gd name="connsiteY13" fmla="*/ 234763 h 368113"/>
                    <a:gd name="connsiteX14" fmla="*/ 126207 w 133350"/>
                    <a:gd name="connsiteY14" fmla="*/ 337156 h 368113"/>
                    <a:gd name="connsiteX15" fmla="*/ 133350 w 133350"/>
                    <a:gd name="connsiteY15" fmla="*/ 368113 h 368113"/>
                    <a:gd name="connsiteX0" fmla="*/ 0 w 133350"/>
                    <a:gd name="connsiteY0" fmla="*/ 365731 h 368263"/>
                    <a:gd name="connsiteX1" fmla="*/ 4763 w 133350"/>
                    <a:gd name="connsiteY1" fmla="*/ 353825 h 368263"/>
                    <a:gd name="connsiteX2" fmla="*/ 16669 w 133350"/>
                    <a:gd name="connsiteY2" fmla="*/ 208569 h 368263"/>
                    <a:gd name="connsiteX3" fmla="*/ 14288 w 133350"/>
                    <a:gd name="connsiteY3" fmla="*/ 160944 h 368263"/>
                    <a:gd name="connsiteX4" fmla="*/ 16669 w 133350"/>
                    <a:gd name="connsiteY4" fmla="*/ 132369 h 368263"/>
                    <a:gd name="connsiteX5" fmla="*/ 19050 w 133350"/>
                    <a:gd name="connsiteY5" fmla="*/ 75219 h 368263"/>
                    <a:gd name="connsiteX6" fmla="*/ 16669 w 133350"/>
                    <a:gd name="connsiteY6" fmla="*/ 37119 h 368263"/>
                    <a:gd name="connsiteX7" fmla="*/ 19050 w 133350"/>
                    <a:gd name="connsiteY7" fmla="*/ 3781 h 368263"/>
                    <a:gd name="connsiteX8" fmla="*/ 100013 w 133350"/>
                    <a:gd name="connsiteY8" fmla="*/ 6163 h 368263"/>
                    <a:gd name="connsiteX9" fmla="*/ 107157 w 133350"/>
                    <a:gd name="connsiteY9" fmla="*/ 8544 h 368263"/>
                    <a:gd name="connsiteX10" fmla="*/ 114300 w 133350"/>
                    <a:gd name="connsiteY10" fmla="*/ 29975 h 368263"/>
                    <a:gd name="connsiteX11" fmla="*/ 119063 w 133350"/>
                    <a:gd name="connsiteY11" fmla="*/ 39500 h 368263"/>
                    <a:gd name="connsiteX12" fmla="*/ 119063 w 133350"/>
                    <a:gd name="connsiteY12" fmla="*/ 234763 h 368263"/>
                    <a:gd name="connsiteX13" fmla="*/ 126207 w 133350"/>
                    <a:gd name="connsiteY13" fmla="*/ 337156 h 368263"/>
                    <a:gd name="connsiteX14" fmla="*/ 133350 w 133350"/>
                    <a:gd name="connsiteY14" fmla="*/ 368113 h 368263"/>
                    <a:gd name="connsiteX0" fmla="*/ 0 w 133350"/>
                    <a:gd name="connsiteY0" fmla="*/ 365731 h 371621"/>
                    <a:gd name="connsiteX1" fmla="*/ 4763 w 133350"/>
                    <a:gd name="connsiteY1" fmla="*/ 353825 h 371621"/>
                    <a:gd name="connsiteX2" fmla="*/ 14288 w 133350"/>
                    <a:gd name="connsiteY2" fmla="*/ 160944 h 371621"/>
                    <a:gd name="connsiteX3" fmla="*/ 16669 w 133350"/>
                    <a:gd name="connsiteY3" fmla="*/ 132369 h 371621"/>
                    <a:gd name="connsiteX4" fmla="*/ 19050 w 133350"/>
                    <a:gd name="connsiteY4" fmla="*/ 75219 h 371621"/>
                    <a:gd name="connsiteX5" fmla="*/ 16669 w 133350"/>
                    <a:gd name="connsiteY5" fmla="*/ 37119 h 371621"/>
                    <a:gd name="connsiteX6" fmla="*/ 19050 w 133350"/>
                    <a:gd name="connsiteY6" fmla="*/ 3781 h 371621"/>
                    <a:gd name="connsiteX7" fmla="*/ 100013 w 133350"/>
                    <a:gd name="connsiteY7" fmla="*/ 6163 h 371621"/>
                    <a:gd name="connsiteX8" fmla="*/ 107157 w 133350"/>
                    <a:gd name="connsiteY8" fmla="*/ 8544 h 371621"/>
                    <a:gd name="connsiteX9" fmla="*/ 114300 w 133350"/>
                    <a:gd name="connsiteY9" fmla="*/ 29975 h 371621"/>
                    <a:gd name="connsiteX10" fmla="*/ 119063 w 133350"/>
                    <a:gd name="connsiteY10" fmla="*/ 39500 h 371621"/>
                    <a:gd name="connsiteX11" fmla="*/ 119063 w 133350"/>
                    <a:gd name="connsiteY11" fmla="*/ 234763 h 371621"/>
                    <a:gd name="connsiteX12" fmla="*/ 126207 w 133350"/>
                    <a:gd name="connsiteY12" fmla="*/ 337156 h 371621"/>
                    <a:gd name="connsiteX13" fmla="*/ 133350 w 133350"/>
                    <a:gd name="connsiteY13" fmla="*/ 368113 h 371621"/>
                    <a:gd name="connsiteX0" fmla="*/ 0 w 133350"/>
                    <a:gd name="connsiteY0" fmla="*/ 365731 h 373676"/>
                    <a:gd name="connsiteX1" fmla="*/ 4763 w 133350"/>
                    <a:gd name="connsiteY1" fmla="*/ 353825 h 373676"/>
                    <a:gd name="connsiteX2" fmla="*/ 16669 w 133350"/>
                    <a:gd name="connsiteY2" fmla="*/ 132369 h 373676"/>
                    <a:gd name="connsiteX3" fmla="*/ 19050 w 133350"/>
                    <a:gd name="connsiteY3" fmla="*/ 75219 h 373676"/>
                    <a:gd name="connsiteX4" fmla="*/ 16669 w 133350"/>
                    <a:gd name="connsiteY4" fmla="*/ 37119 h 373676"/>
                    <a:gd name="connsiteX5" fmla="*/ 19050 w 133350"/>
                    <a:gd name="connsiteY5" fmla="*/ 3781 h 373676"/>
                    <a:gd name="connsiteX6" fmla="*/ 100013 w 133350"/>
                    <a:gd name="connsiteY6" fmla="*/ 6163 h 373676"/>
                    <a:gd name="connsiteX7" fmla="*/ 107157 w 133350"/>
                    <a:gd name="connsiteY7" fmla="*/ 8544 h 373676"/>
                    <a:gd name="connsiteX8" fmla="*/ 114300 w 133350"/>
                    <a:gd name="connsiteY8" fmla="*/ 29975 h 373676"/>
                    <a:gd name="connsiteX9" fmla="*/ 119063 w 133350"/>
                    <a:gd name="connsiteY9" fmla="*/ 39500 h 373676"/>
                    <a:gd name="connsiteX10" fmla="*/ 119063 w 133350"/>
                    <a:gd name="connsiteY10" fmla="*/ 234763 h 373676"/>
                    <a:gd name="connsiteX11" fmla="*/ 126207 w 133350"/>
                    <a:gd name="connsiteY11" fmla="*/ 337156 h 373676"/>
                    <a:gd name="connsiteX12" fmla="*/ 133350 w 133350"/>
                    <a:gd name="connsiteY12" fmla="*/ 368113 h 373676"/>
                    <a:gd name="connsiteX0" fmla="*/ 0 w 133350"/>
                    <a:gd name="connsiteY0" fmla="*/ 365731 h 373676"/>
                    <a:gd name="connsiteX1" fmla="*/ 4763 w 133350"/>
                    <a:gd name="connsiteY1" fmla="*/ 353825 h 373676"/>
                    <a:gd name="connsiteX2" fmla="*/ 16669 w 133350"/>
                    <a:gd name="connsiteY2" fmla="*/ 132369 h 373676"/>
                    <a:gd name="connsiteX3" fmla="*/ 16669 w 133350"/>
                    <a:gd name="connsiteY3" fmla="*/ 37119 h 373676"/>
                    <a:gd name="connsiteX4" fmla="*/ 19050 w 133350"/>
                    <a:gd name="connsiteY4" fmla="*/ 3781 h 373676"/>
                    <a:gd name="connsiteX5" fmla="*/ 100013 w 133350"/>
                    <a:gd name="connsiteY5" fmla="*/ 6163 h 373676"/>
                    <a:gd name="connsiteX6" fmla="*/ 107157 w 133350"/>
                    <a:gd name="connsiteY6" fmla="*/ 8544 h 373676"/>
                    <a:gd name="connsiteX7" fmla="*/ 114300 w 133350"/>
                    <a:gd name="connsiteY7" fmla="*/ 29975 h 373676"/>
                    <a:gd name="connsiteX8" fmla="*/ 119063 w 133350"/>
                    <a:gd name="connsiteY8" fmla="*/ 39500 h 373676"/>
                    <a:gd name="connsiteX9" fmla="*/ 119063 w 133350"/>
                    <a:gd name="connsiteY9" fmla="*/ 234763 h 373676"/>
                    <a:gd name="connsiteX10" fmla="*/ 126207 w 133350"/>
                    <a:gd name="connsiteY10" fmla="*/ 337156 h 373676"/>
                    <a:gd name="connsiteX11" fmla="*/ 133350 w 133350"/>
                    <a:gd name="connsiteY11" fmla="*/ 368113 h 373676"/>
                    <a:gd name="connsiteX0" fmla="*/ 0 w 133350"/>
                    <a:gd name="connsiteY0" fmla="*/ 370878 h 378823"/>
                    <a:gd name="connsiteX1" fmla="*/ 4763 w 133350"/>
                    <a:gd name="connsiteY1" fmla="*/ 358972 h 378823"/>
                    <a:gd name="connsiteX2" fmla="*/ 16669 w 133350"/>
                    <a:gd name="connsiteY2" fmla="*/ 137516 h 378823"/>
                    <a:gd name="connsiteX3" fmla="*/ 19050 w 133350"/>
                    <a:gd name="connsiteY3" fmla="*/ 8928 h 378823"/>
                    <a:gd name="connsiteX4" fmla="*/ 100013 w 133350"/>
                    <a:gd name="connsiteY4" fmla="*/ 11310 h 378823"/>
                    <a:gd name="connsiteX5" fmla="*/ 107157 w 133350"/>
                    <a:gd name="connsiteY5" fmla="*/ 13691 h 378823"/>
                    <a:gd name="connsiteX6" fmla="*/ 114300 w 133350"/>
                    <a:gd name="connsiteY6" fmla="*/ 35122 h 378823"/>
                    <a:gd name="connsiteX7" fmla="*/ 119063 w 133350"/>
                    <a:gd name="connsiteY7" fmla="*/ 44647 h 378823"/>
                    <a:gd name="connsiteX8" fmla="*/ 119063 w 133350"/>
                    <a:gd name="connsiteY8" fmla="*/ 239910 h 378823"/>
                    <a:gd name="connsiteX9" fmla="*/ 126207 w 133350"/>
                    <a:gd name="connsiteY9" fmla="*/ 342303 h 378823"/>
                    <a:gd name="connsiteX10" fmla="*/ 133350 w 133350"/>
                    <a:gd name="connsiteY10" fmla="*/ 373260 h 378823"/>
                    <a:gd name="connsiteX0" fmla="*/ 0 w 133350"/>
                    <a:gd name="connsiteY0" fmla="*/ 361859 h 369804"/>
                    <a:gd name="connsiteX1" fmla="*/ 4763 w 133350"/>
                    <a:gd name="connsiteY1" fmla="*/ 349953 h 369804"/>
                    <a:gd name="connsiteX2" fmla="*/ 16669 w 133350"/>
                    <a:gd name="connsiteY2" fmla="*/ 128497 h 369804"/>
                    <a:gd name="connsiteX3" fmla="*/ 16668 w 133350"/>
                    <a:gd name="connsiteY3" fmla="*/ 14197 h 369804"/>
                    <a:gd name="connsiteX4" fmla="*/ 100013 w 133350"/>
                    <a:gd name="connsiteY4" fmla="*/ 2291 h 369804"/>
                    <a:gd name="connsiteX5" fmla="*/ 107157 w 133350"/>
                    <a:gd name="connsiteY5" fmla="*/ 4672 h 369804"/>
                    <a:gd name="connsiteX6" fmla="*/ 114300 w 133350"/>
                    <a:gd name="connsiteY6" fmla="*/ 26103 h 369804"/>
                    <a:gd name="connsiteX7" fmla="*/ 119063 w 133350"/>
                    <a:gd name="connsiteY7" fmla="*/ 35628 h 369804"/>
                    <a:gd name="connsiteX8" fmla="*/ 119063 w 133350"/>
                    <a:gd name="connsiteY8" fmla="*/ 230891 h 369804"/>
                    <a:gd name="connsiteX9" fmla="*/ 126207 w 133350"/>
                    <a:gd name="connsiteY9" fmla="*/ 333284 h 369804"/>
                    <a:gd name="connsiteX10" fmla="*/ 133350 w 133350"/>
                    <a:gd name="connsiteY10" fmla="*/ 364241 h 369804"/>
                    <a:gd name="connsiteX0" fmla="*/ 0 w 133350"/>
                    <a:gd name="connsiteY0" fmla="*/ 363289 h 369520"/>
                    <a:gd name="connsiteX1" fmla="*/ 4763 w 133350"/>
                    <a:gd name="connsiteY1" fmla="*/ 351383 h 369520"/>
                    <a:gd name="connsiteX2" fmla="*/ 2381 w 133350"/>
                    <a:gd name="connsiteY2" fmla="*/ 153739 h 369520"/>
                    <a:gd name="connsiteX3" fmla="*/ 16668 w 133350"/>
                    <a:gd name="connsiteY3" fmla="*/ 15627 h 369520"/>
                    <a:gd name="connsiteX4" fmla="*/ 100013 w 133350"/>
                    <a:gd name="connsiteY4" fmla="*/ 3721 h 369520"/>
                    <a:gd name="connsiteX5" fmla="*/ 107157 w 133350"/>
                    <a:gd name="connsiteY5" fmla="*/ 6102 h 369520"/>
                    <a:gd name="connsiteX6" fmla="*/ 114300 w 133350"/>
                    <a:gd name="connsiteY6" fmla="*/ 27533 h 369520"/>
                    <a:gd name="connsiteX7" fmla="*/ 119063 w 133350"/>
                    <a:gd name="connsiteY7" fmla="*/ 37058 h 369520"/>
                    <a:gd name="connsiteX8" fmla="*/ 119063 w 133350"/>
                    <a:gd name="connsiteY8" fmla="*/ 232321 h 369520"/>
                    <a:gd name="connsiteX9" fmla="*/ 126207 w 133350"/>
                    <a:gd name="connsiteY9" fmla="*/ 334714 h 369520"/>
                    <a:gd name="connsiteX10" fmla="*/ 133350 w 133350"/>
                    <a:gd name="connsiteY10" fmla="*/ 365671 h 369520"/>
                    <a:gd name="connsiteX0" fmla="*/ 0 w 133350"/>
                    <a:gd name="connsiteY0" fmla="*/ 363289 h 369520"/>
                    <a:gd name="connsiteX1" fmla="*/ 4763 w 133350"/>
                    <a:gd name="connsiteY1" fmla="*/ 351383 h 369520"/>
                    <a:gd name="connsiteX2" fmla="*/ 2381 w 133350"/>
                    <a:gd name="connsiteY2" fmla="*/ 153739 h 369520"/>
                    <a:gd name="connsiteX3" fmla="*/ 16668 w 133350"/>
                    <a:gd name="connsiteY3" fmla="*/ 15627 h 369520"/>
                    <a:gd name="connsiteX4" fmla="*/ 100013 w 133350"/>
                    <a:gd name="connsiteY4" fmla="*/ 3721 h 369520"/>
                    <a:gd name="connsiteX5" fmla="*/ 114300 w 133350"/>
                    <a:gd name="connsiteY5" fmla="*/ 27533 h 369520"/>
                    <a:gd name="connsiteX6" fmla="*/ 119063 w 133350"/>
                    <a:gd name="connsiteY6" fmla="*/ 37058 h 369520"/>
                    <a:gd name="connsiteX7" fmla="*/ 119063 w 133350"/>
                    <a:gd name="connsiteY7" fmla="*/ 232321 h 369520"/>
                    <a:gd name="connsiteX8" fmla="*/ 126207 w 133350"/>
                    <a:gd name="connsiteY8" fmla="*/ 334714 h 369520"/>
                    <a:gd name="connsiteX9" fmla="*/ 133350 w 133350"/>
                    <a:gd name="connsiteY9" fmla="*/ 365671 h 369520"/>
                    <a:gd name="connsiteX0" fmla="*/ 0 w 133350"/>
                    <a:gd name="connsiteY0" fmla="*/ 363289 h 369520"/>
                    <a:gd name="connsiteX1" fmla="*/ 4763 w 133350"/>
                    <a:gd name="connsiteY1" fmla="*/ 351383 h 369520"/>
                    <a:gd name="connsiteX2" fmla="*/ 2381 w 133350"/>
                    <a:gd name="connsiteY2" fmla="*/ 153739 h 369520"/>
                    <a:gd name="connsiteX3" fmla="*/ 16668 w 133350"/>
                    <a:gd name="connsiteY3" fmla="*/ 15627 h 369520"/>
                    <a:gd name="connsiteX4" fmla="*/ 100013 w 133350"/>
                    <a:gd name="connsiteY4" fmla="*/ 3721 h 369520"/>
                    <a:gd name="connsiteX5" fmla="*/ 114300 w 133350"/>
                    <a:gd name="connsiteY5" fmla="*/ 27533 h 369520"/>
                    <a:gd name="connsiteX6" fmla="*/ 119063 w 133350"/>
                    <a:gd name="connsiteY6" fmla="*/ 232321 h 369520"/>
                    <a:gd name="connsiteX7" fmla="*/ 126207 w 133350"/>
                    <a:gd name="connsiteY7" fmla="*/ 334714 h 369520"/>
                    <a:gd name="connsiteX8" fmla="*/ 133350 w 133350"/>
                    <a:gd name="connsiteY8" fmla="*/ 365671 h 369520"/>
                    <a:gd name="connsiteX0" fmla="*/ 0 w 133350"/>
                    <a:gd name="connsiteY0" fmla="*/ 363289 h 369520"/>
                    <a:gd name="connsiteX1" fmla="*/ 4763 w 133350"/>
                    <a:gd name="connsiteY1" fmla="*/ 351383 h 369520"/>
                    <a:gd name="connsiteX2" fmla="*/ 2381 w 133350"/>
                    <a:gd name="connsiteY2" fmla="*/ 153739 h 369520"/>
                    <a:gd name="connsiteX3" fmla="*/ 16668 w 133350"/>
                    <a:gd name="connsiteY3" fmla="*/ 15627 h 369520"/>
                    <a:gd name="connsiteX4" fmla="*/ 100013 w 133350"/>
                    <a:gd name="connsiteY4" fmla="*/ 3721 h 369520"/>
                    <a:gd name="connsiteX5" fmla="*/ 121443 w 133350"/>
                    <a:gd name="connsiteY5" fmla="*/ 68014 h 369520"/>
                    <a:gd name="connsiteX6" fmla="*/ 119063 w 133350"/>
                    <a:gd name="connsiteY6" fmla="*/ 232321 h 369520"/>
                    <a:gd name="connsiteX7" fmla="*/ 126207 w 133350"/>
                    <a:gd name="connsiteY7" fmla="*/ 334714 h 369520"/>
                    <a:gd name="connsiteX8" fmla="*/ 133350 w 133350"/>
                    <a:gd name="connsiteY8" fmla="*/ 365671 h 369520"/>
                    <a:gd name="connsiteX0" fmla="*/ 0 w 133350"/>
                    <a:gd name="connsiteY0" fmla="*/ 357295 h 363526"/>
                    <a:gd name="connsiteX1" fmla="*/ 4763 w 133350"/>
                    <a:gd name="connsiteY1" fmla="*/ 345389 h 363526"/>
                    <a:gd name="connsiteX2" fmla="*/ 2381 w 133350"/>
                    <a:gd name="connsiteY2" fmla="*/ 147745 h 363526"/>
                    <a:gd name="connsiteX3" fmla="*/ 16668 w 133350"/>
                    <a:gd name="connsiteY3" fmla="*/ 9633 h 363526"/>
                    <a:gd name="connsiteX4" fmla="*/ 104776 w 133350"/>
                    <a:gd name="connsiteY4" fmla="*/ 12015 h 363526"/>
                    <a:gd name="connsiteX5" fmla="*/ 121443 w 133350"/>
                    <a:gd name="connsiteY5" fmla="*/ 62020 h 363526"/>
                    <a:gd name="connsiteX6" fmla="*/ 119063 w 133350"/>
                    <a:gd name="connsiteY6" fmla="*/ 226327 h 363526"/>
                    <a:gd name="connsiteX7" fmla="*/ 126207 w 133350"/>
                    <a:gd name="connsiteY7" fmla="*/ 328720 h 363526"/>
                    <a:gd name="connsiteX8" fmla="*/ 133350 w 133350"/>
                    <a:gd name="connsiteY8" fmla="*/ 359677 h 363526"/>
                    <a:gd name="connsiteX0" fmla="*/ 217 w 133567"/>
                    <a:gd name="connsiteY0" fmla="*/ 357295 h 363526"/>
                    <a:gd name="connsiteX1" fmla="*/ 4980 w 133567"/>
                    <a:gd name="connsiteY1" fmla="*/ 345389 h 363526"/>
                    <a:gd name="connsiteX2" fmla="*/ 2598 w 133567"/>
                    <a:gd name="connsiteY2" fmla="*/ 147745 h 363526"/>
                    <a:gd name="connsiteX3" fmla="*/ 9741 w 133567"/>
                    <a:gd name="connsiteY3" fmla="*/ 9633 h 363526"/>
                    <a:gd name="connsiteX4" fmla="*/ 104993 w 133567"/>
                    <a:gd name="connsiteY4" fmla="*/ 12015 h 363526"/>
                    <a:gd name="connsiteX5" fmla="*/ 121660 w 133567"/>
                    <a:gd name="connsiteY5" fmla="*/ 62020 h 363526"/>
                    <a:gd name="connsiteX6" fmla="*/ 119280 w 133567"/>
                    <a:gd name="connsiteY6" fmla="*/ 226327 h 363526"/>
                    <a:gd name="connsiteX7" fmla="*/ 126424 w 133567"/>
                    <a:gd name="connsiteY7" fmla="*/ 328720 h 363526"/>
                    <a:gd name="connsiteX8" fmla="*/ 133567 w 133567"/>
                    <a:gd name="connsiteY8" fmla="*/ 359677 h 363526"/>
                    <a:gd name="connsiteX0" fmla="*/ 4320 w 137670"/>
                    <a:gd name="connsiteY0" fmla="*/ 349934 h 356165"/>
                    <a:gd name="connsiteX1" fmla="*/ 9083 w 137670"/>
                    <a:gd name="connsiteY1" fmla="*/ 338028 h 356165"/>
                    <a:gd name="connsiteX2" fmla="*/ 6701 w 137670"/>
                    <a:gd name="connsiteY2" fmla="*/ 140384 h 356165"/>
                    <a:gd name="connsiteX3" fmla="*/ 13844 w 137670"/>
                    <a:gd name="connsiteY3" fmla="*/ 2272 h 356165"/>
                    <a:gd name="connsiteX4" fmla="*/ 109096 w 137670"/>
                    <a:gd name="connsiteY4" fmla="*/ 4654 h 356165"/>
                    <a:gd name="connsiteX5" fmla="*/ 125763 w 137670"/>
                    <a:gd name="connsiteY5" fmla="*/ 54659 h 356165"/>
                    <a:gd name="connsiteX6" fmla="*/ 123383 w 137670"/>
                    <a:gd name="connsiteY6" fmla="*/ 218966 h 356165"/>
                    <a:gd name="connsiteX7" fmla="*/ 130527 w 137670"/>
                    <a:gd name="connsiteY7" fmla="*/ 321359 h 356165"/>
                    <a:gd name="connsiteX8" fmla="*/ 137670 w 137670"/>
                    <a:gd name="connsiteY8" fmla="*/ 352316 h 356165"/>
                    <a:gd name="connsiteX0" fmla="*/ 4096 w 137446"/>
                    <a:gd name="connsiteY0" fmla="*/ 349934 h 352316"/>
                    <a:gd name="connsiteX1" fmla="*/ 6477 w 137446"/>
                    <a:gd name="connsiteY1" fmla="*/ 140384 h 352316"/>
                    <a:gd name="connsiteX2" fmla="*/ 13620 w 137446"/>
                    <a:gd name="connsiteY2" fmla="*/ 2272 h 352316"/>
                    <a:gd name="connsiteX3" fmla="*/ 108872 w 137446"/>
                    <a:gd name="connsiteY3" fmla="*/ 4654 h 352316"/>
                    <a:gd name="connsiteX4" fmla="*/ 125539 w 137446"/>
                    <a:gd name="connsiteY4" fmla="*/ 54659 h 352316"/>
                    <a:gd name="connsiteX5" fmla="*/ 123159 w 137446"/>
                    <a:gd name="connsiteY5" fmla="*/ 218966 h 352316"/>
                    <a:gd name="connsiteX6" fmla="*/ 130303 w 137446"/>
                    <a:gd name="connsiteY6" fmla="*/ 321359 h 352316"/>
                    <a:gd name="connsiteX7" fmla="*/ 137446 w 137446"/>
                    <a:gd name="connsiteY7" fmla="*/ 352316 h 352316"/>
                    <a:gd name="connsiteX0" fmla="*/ 4096 w 137446"/>
                    <a:gd name="connsiteY0" fmla="*/ 349934 h 352316"/>
                    <a:gd name="connsiteX1" fmla="*/ 6477 w 137446"/>
                    <a:gd name="connsiteY1" fmla="*/ 140384 h 352316"/>
                    <a:gd name="connsiteX2" fmla="*/ 13620 w 137446"/>
                    <a:gd name="connsiteY2" fmla="*/ 2272 h 352316"/>
                    <a:gd name="connsiteX3" fmla="*/ 108872 w 137446"/>
                    <a:gd name="connsiteY3" fmla="*/ 4654 h 352316"/>
                    <a:gd name="connsiteX4" fmla="*/ 125539 w 137446"/>
                    <a:gd name="connsiteY4" fmla="*/ 54659 h 352316"/>
                    <a:gd name="connsiteX5" fmla="*/ 123159 w 137446"/>
                    <a:gd name="connsiteY5" fmla="*/ 218966 h 352316"/>
                    <a:gd name="connsiteX6" fmla="*/ 137446 w 137446"/>
                    <a:gd name="connsiteY6" fmla="*/ 352316 h 352316"/>
                    <a:gd name="connsiteX0" fmla="*/ 4096 w 130302"/>
                    <a:gd name="connsiteY0" fmla="*/ 349934 h 349935"/>
                    <a:gd name="connsiteX1" fmla="*/ 6477 w 130302"/>
                    <a:gd name="connsiteY1" fmla="*/ 140384 h 349935"/>
                    <a:gd name="connsiteX2" fmla="*/ 13620 w 130302"/>
                    <a:gd name="connsiteY2" fmla="*/ 2272 h 349935"/>
                    <a:gd name="connsiteX3" fmla="*/ 108872 w 130302"/>
                    <a:gd name="connsiteY3" fmla="*/ 4654 h 349935"/>
                    <a:gd name="connsiteX4" fmla="*/ 125539 w 130302"/>
                    <a:gd name="connsiteY4" fmla="*/ 54659 h 349935"/>
                    <a:gd name="connsiteX5" fmla="*/ 123159 w 130302"/>
                    <a:gd name="connsiteY5" fmla="*/ 218966 h 349935"/>
                    <a:gd name="connsiteX6" fmla="*/ 130302 w 130302"/>
                    <a:gd name="connsiteY6" fmla="*/ 349935 h 349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30302" h="349935">
                      <a:moveTo>
                        <a:pt x="4096" y="349934"/>
                      </a:moveTo>
                      <a:cubicBezTo>
                        <a:pt x="4592" y="306278"/>
                        <a:pt x="4890" y="198328"/>
                        <a:pt x="6477" y="140384"/>
                      </a:cubicBezTo>
                      <a:cubicBezTo>
                        <a:pt x="8064" y="82440"/>
                        <a:pt x="-13136" y="11605"/>
                        <a:pt x="13620" y="2272"/>
                      </a:cubicBezTo>
                      <a:cubicBezTo>
                        <a:pt x="30686" y="-3681"/>
                        <a:pt x="81884" y="3860"/>
                        <a:pt x="108872" y="4654"/>
                      </a:cubicBezTo>
                      <a:cubicBezTo>
                        <a:pt x="125144" y="6638"/>
                        <a:pt x="122364" y="49103"/>
                        <a:pt x="125539" y="54659"/>
                      </a:cubicBezTo>
                      <a:cubicBezTo>
                        <a:pt x="124746" y="109428"/>
                        <a:pt x="123952" y="164197"/>
                        <a:pt x="123159" y="218966"/>
                      </a:cubicBezTo>
                      <a:cubicBezTo>
                        <a:pt x="125143" y="268575"/>
                        <a:pt x="127326" y="322154"/>
                        <a:pt x="130302" y="349935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sp>
            <p:nvSpPr>
              <p:cNvPr id="84" name="Graphic 9">
                <a:extLst>
                  <a:ext uri="{FF2B5EF4-FFF2-40B4-BE49-F238E27FC236}">
                    <a16:creationId xmlns:a16="http://schemas.microsoft.com/office/drawing/2014/main" id="{1C4A7032-DDC9-E65A-B534-D4BAE4400E3E}"/>
                  </a:ext>
                </a:extLst>
              </p:cNvPr>
              <p:cNvSpPr/>
              <p:nvPr/>
            </p:nvSpPr>
            <p:spPr>
              <a:xfrm>
                <a:off x="2650822" y="3565081"/>
                <a:ext cx="611595" cy="609442"/>
              </a:xfrm>
              <a:custGeom>
                <a:avLst/>
                <a:gdLst>
                  <a:gd name="connsiteX0" fmla="*/ 1045115 w 2090225"/>
                  <a:gd name="connsiteY0" fmla="*/ 2082868 h 2082867"/>
                  <a:gd name="connsiteX1" fmla="*/ 2090226 w 2090225"/>
                  <a:gd name="connsiteY1" fmla="*/ 1041435 h 2082867"/>
                  <a:gd name="connsiteX2" fmla="*/ 1045115 w 2090225"/>
                  <a:gd name="connsiteY2" fmla="*/ 0 h 2082867"/>
                  <a:gd name="connsiteX3" fmla="*/ 0 w 2090225"/>
                  <a:gd name="connsiteY3" fmla="*/ 1041435 h 2082867"/>
                  <a:gd name="connsiteX4" fmla="*/ 1045115 w 2090225"/>
                  <a:gd name="connsiteY4" fmla="*/ 2082868 h 20828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090225" h="2082867">
                    <a:moveTo>
                      <a:pt x="1045115" y="2082868"/>
                    </a:moveTo>
                    <a:cubicBezTo>
                      <a:pt x="1622314" y="2082868"/>
                      <a:pt x="2090226" y="1616600"/>
                      <a:pt x="2090226" y="1041435"/>
                    </a:cubicBezTo>
                    <a:cubicBezTo>
                      <a:pt x="2090226" y="466266"/>
                      <a:pt x="1622314" y="0"/>
                      <a:pt x="1045115" y="0"/>
                    </a:cubicBezTo>
                    <a:cubicBezTo>
                      <a:pt x="467913" y="0"/>
                      <a:pt x="0" y="466266"/>
                      <a:pt x="0" y="1041435"/>
                    </a:cubicBezTo>
                    <a:cubicBezTo>
                      <a:pt x="0" y="1616600"/>
                      <a:pt x="467913" y="2082868"/>
                      <a:pt x="1045115" y="2082868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5213" cap="flat">
                <a:noFill/>
                <a:prstDash val="solid"/>
                <a:miter/>
              </a:ln>
            </p:spPr>
            <p:txBody>
              <a:bodyPr tIns="0" rtlCol="0" anchor="ctr"/>
              <a:lstStyle/>
              <a:p>
                <a:pPr algn="ctr"/>
                <a:r>
                  <a:rPr lang="da-DK" sz="2000" b="1">
                    <a:latin typeface="Verdana" panose="020B0604030504040204" pitchFamily="34" charset="0"/>
                    <a:ea typeface="Verdana" panose="020B0604030504040204" pitchFamily="34" charset="0"/>
                  </a:rPr>
                  <a:t>S</a:t>
                </a:r>
              </a:p>
            </p:txBody>
          </p:sp>
          <p:sp>
            <p:nvSpPr>
              <p:cNvPr id="85" name="Graphic 7">
                <a:extLst>
                  <a:ext uri="{FF2B5EF4-FFF2-40B4-BE49-F238E27FC236}">
                    <a16:creationId xmlns:a16="http://schemas.microsoft.com/office/drawing/2014/main" id="{3BE0503A-F2FB-1468-9D42-3534D45AC513}"/>
                  </a:ext>
                </a:extLst>
              </p:cNvPr>
              <p:cNvSpPr/>
              <p:nvPr/>
            </p:nvSpPr>
            <p:spPr>
              <a:xfrm>
                <a:off x="2631470" y="2724249"/>
                <a:ext cx="650299" cy="650299"/>
              </a:xfrm>
              <a:custGeom>
                <a:avLst/>
                <a:gdLst>
                  <a:gd name="connsiteX0" fmla="*/ 1999914 w 2149254"/>
                  <a:gd name="connsiteY0" fmla="*/ 714081 h 2149255"/>
                  <a:gd name="connsiteX1" fmla="*/ 1435173 w 2149254"/>
                  <a:gd name="connsiteY1" fmla="*/ 149343 h 2149255"/>
                  <a:gd name="connsiteX2" fmla="*/ 714080 w 2149254"/>
                  <a:gd name="connsiteY2" fmla="*/ 149343 h 2149255"/>
                  <a:gd name="connsiteX3" fmla="*/ 149344 w 2149254"/>
                  <a:gd name="connsiteY3" fmla="*/ 714081 h 2149255"/>
                  <a:gd name="connsiteX4" fmla="*/ 149344 w 2149254"/>
                  <a:gd name="connsiteY4" fmla="*/ 1435174 h 2149255"/>
                  <a:gd name="connsiteX5" fmla="*/ 714080 w 2149254"/>
                  <a:gd name="connsiteY5" fmla="*/ 1999915 h 2149255"/>
                  <a:gd name="connsiteX6" fmla="*/ 1435173 w 2149254"/>
                  <a:gd name="connsiteY6" fmla="*/ 1999915 h 2149255"/>
                  <a:gd name="connsiteX7" fmla="*/ 1999914 w 2149254"/>
                  <a:gd name="connsiteY7" fmla="*/ 1435174 h 2149255"/>
                  <a:gd name="connsiteX8" fmla="*/ 1999914 w 2149254"/>
                  <a:gd name="connsiteY8" fmla="*/ 714081 h 21492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149254" h="2149255">
                    <a:moveTo>
                      <a:pt x="1999914" y="714081"/>
                    </a:moveTo>
                    <a:lnTo>
                      <a:pt x="1435173" y="149343"/>
                    </a:lnTo>
                    <a:cubicBezTo>
                      <a:pt x="1236052" y="-49781"/>
                      <a:pt x="913207" y="-49781"/>
                      <a:pt x="714080" y="149343"/>
                    </a:cubicBezTo>
                    <a:lnTo>
                      <a:pt x="149344" y="714081"/>
                    </a:lnTo>
                    <a:cubicBezTo>
                      <a:pt x="-49781" y="913208"/>
                      <a:pt x="-49781" y="1236053"/>
                      <a:pt x="149344" y="1435174"/>
                    </a:cubicBezTo>
                    <a:lnTo>
                      <a:pt x="714080" y="1999915"/>
                    </a:lnTo>
                    <a:cubicBezTo>
                      <a:pt x="913207" y="2199036"/>
                      <a:pt x="1236052" y="2199036"/>
                      <a:pt x="1435173" y="1999915"/>
                    </a:cubicBezTo>
                    <a:lnTo>
                      <a:pt x="1999914" y="1435174"/>
                    </a:lnTo>
                    <a:cubicBezTo>
                      <a:pt x="2199035" y="1236053"/>
                      <a:pt x="2199035" y="913208"/>
                      <a:pt x="1999914" y="714081"/>
                    </a:cubicBezTo>
                    <a:close/>
                  </a:path>
                </a:pathLst>
              </a:custGeom>
              <a:solidFill>
                <a:schemeClr val="accent2">
                  <a:lumMod val="20000"/>
                  <a:lumOff val="80000"/>
                </a:schemeClr>
              </a:solidFill>
              <a:ln w="5212" cap="flat">
                <a:noFill/>
                <a:prstDash val="solid"/>
                <a:miter/>
              </a:ln>
            </p:spPr>
            <p:txBody>
              <a:bodyPr tIns="0" rtlCol="0" anchor="ctr"/>
              <a:lstStyle/>
              <a:p>
                <a:pPr algn="ctr"/>
                <a:r>
                  <a:rPr lang="da-DK" sz="2000" b="1">
                    <a:latin typeface="Verdana" panose="020B0604030504040204" pitchFamily="34" charset="0"/>
                    <a:ea typeface="Verdana" panose="020B0604030504040204" pitchFamily="34" charset="0"/>
                  </a:rPr>
                  <a:t>E</a:t>
                </a:r>
              </a:p>
            </p:txBody>
          </p:sp>
          <p:sp>
            <p:nvSpPr>
              <p:cNvPr id="86" name="Graphic 5">
                <a:extLst>
                  <a:ext uri="{FF2B5EF4-FFF2-40B4-BE49-F238E27FC236}">
                    <a16:creationId xmlns:a16="http://schemas.microsoft.com/office/drawing/2014/main" id="{0400C37B-880F-7214-75AC-692415C7539F}"/>
                  </a:ext>
                </a:extLst>
              </p:cNvPr>
              <p:cNvSpPr/>
              <p:nvPr/>
            </p:nvSpPr>
            <p:spPr>
              <a:xfrm>
                <a:off x="2670545" y="4365055"/>
                <a:ext cx="572149" cy="568076"/>
              </a:xfrm>
              <a:custGeom>
                <a:avLst/>
                <a:gdLst>
                  <a:gd name="connsiteX0" fmla="*/ 1540115 w 2068146"/>
                  <a:gd name="connsiteY0" fmla="*/ 109518 h 2053427"/>
                  <a:gd name="connsiteX1" fmla="*/ 882859 w 2068146"/>
                  <a:gd name="connsiteY1" fmla="*/ 6187 h 2053427"/>
                  <a:gd name="connsiteX2" fmla="*/ 356860 w 2068146"/>
                  <a:gd name="connsiteY2" fmla="*/ 272246 h 2053427"/>
                  <a:gd name="connsiteX3" fmla="*/ 54805 w 2068146"/>
                  <a:gd name="connsiteY3" fmla="*/ 861064 h 2053427"/>
                  <a:gd name="connsiteX4" fmla="*/ 147251 w 2068146"/>
                  <a:gd name="connsiteY4" fmla="*/ 1440064 h 2053427"/>
                  <a:gd name="connsiteX5" fmla="*/ 617883 w 2068146"/>
                  <a:gd name="connsiteY5" fmla="*/ 1907386 h 2053427"/>
                  <a:gd name="connsiteX6" fmla="*/ 1200983 w 2068146"/>
                  <a:gd name="connsiteY6" fmla="*/ 1999181 h 2053427"/>
                  <a:gd name="connsiteX7" fmla="*/ 1793969 w 2068146"/>
                  <a:gd name="connsiteY7" fmla="*/ 1699250 h 2053427"/>
                  <a:gd name="connsiteX8" fmla="*/ 2061914 w 2068146"/>
                  <a:gd name="connsiteY8" fmla="*/ 1176950 h 2053427"/>
                  <a:gd name="connsiteX9" fmla="*/ 1957854 w 2068146"/>
                  <a:gd name="connsiteY9" fmla="*/ 524316 h 2053427"/>
                  <a:gd name="connsiteX10" fmla="*/ 1540366 w 2068146"/>
                  <a:gd name="connsiteY10" fmla="*/ 109763 h 2053427"/>
                  <a:gd name="connsiteX11" fmla="*/ 1540115 w 2068146"/>
                  <a:gd name="connsiteY11" fmla="*/ 109518 h 205342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068146" h="2053427">
                    <a:moveTo>
                      <a:pt x="1540115" y="109518"/>
                    </a:moveTo>
                    <a:lnTo>
                      <a:pt x="882859" y="6187"/>
                    </a:lnTo>
                    <a:cubicBezTo>
                      <a:pt x="668061" y="-27684"/>
                      <a:pt x="455732" y="79820"/>
                      <a:pt x="356860" y="272246"/>
                    </a:cubicBezTo>
                    <a:lnTo>
                      <a:pt x="54805" y="861064"/>
                    </a:lnTo>
                    <a:cubicBezTo>
                      <a:pt x="-44068" y="1053492"/>
                      <a:pt x="-6743" y="1287396"/>
                      <a:pt x="147251" y="1440064"/>
                    </a:cubicBezTo>
                    <a:lnTo>
                      <a:pt x="617883" y="1907386"/>
                    </a:lnTo>
                    <a:cubicBezTo>
                      <a:pt x="771631" y="2060049"/>
                      <a:pt x="1007193" y="2097111"/>
                      <a:pt x="1200983" y="1999181"/>
                    </a:cubicBezTo>
                    <a:lnTo>
                      <a:pt x="1793969" y="1699250"/>
                    </a:lnTo>
                    <a:cubicBezTo>
                      <a:pt x="1987764" y="1601069"/>
                      <a:pt x="2096029" y="1390235"/>
                      <a:pt x="2061914" y="1176950"/>
                    </a:cubicBezTo>
                    <a:lnTo>
                      <a:pt x="1957854" y="524316"/>
                    </a:lnTo>
                    <a:cubicBezTo>
                      <a:pt x="1923739" y="311026"/>
                      <a:pt x="1755409" y="143634"/>
                      <a:pt x="1540366" y="109763"/>
                    </a:cubicBezTo>
                    <a:lnTo>
                      <a:pt x="1540115" y="109518"/>
                    </a:ln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 w="5206" cap="flat">
                <a:noFill/>
                <a:prstDash val="solid"/>
                <a:miter/>
              </a:ln>
            </p:spPr>
            <p:txBody>
              <a:bodyPr tIns="0" rtlCol="0" anchor="ctr"/>
              <a:lstStyle/>
              <a:p>
                <a:pPr algn="ctr"/>
                <a:r>
                  <a:rPr lang="da-DK" sz="2000" b="1">
                    <a:latin typeface="Verdana" panose="020B0604030504040204" pitchFamily="34" charset="0"/>
                    <a:ea typeface="Verdana" panose="020B0604030504040204" pitchFamily="34" charset="0"/>
                  </a:rPr>
                  <a:t>G</a:t>
                </a:r>
              </a:p>
            </p:txBody>
          </p:sp>
        </p:grp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67AF04C7-EA84-71F9-EDCF-75607E34C284}"/>
                </a:ext>
              </a:extLst>
            </p:cNvPr>
            <p:cNvSpPr/>
            <p:nvPr/>
          </p:nvSpPr>
          <p:spPr>
            <a:xfrm>
              <a:off x="8420519" y="2859214"/>
              <a:ext cx="462224" cy="863709"/>
            </a:xfrm>
            <a:custGeom>
              <a:avLst/>
              <a:gdLst>
                <a:gd name="connsiteX0" fmla="*/ 0 w 462224"/>
                <a:gd name="connsiteY0" fmla="*/ 1075174 h 1075174"/>
                <a:gd name="connsiteX1" fmla="*/ 90435 w 462224"/>
                <a:gd name="connsiteY1" fmla="*/ 1065125 h 1075174"/>
                <a:gd name="connsiteX2" fmla="*/ 130628 w 462224"/>
                <a:gd name="connsiteY2" fmla="*/ 1034980 h 1075174"/>
                <a:gd name="connsiteX3" fmla="*/ 150725 w 462224"/>
                <a:gd name="connsiteY3" fmla="*/ 954594 h 1075174"/>
                <a:gd name="connsiteX4" fmla="*/ 140677 w 462224"/>
                <a:gd name="connsiteY4" fmla="*/ 592853 h 1075174"/>
                <a:gd name="connsiteX5" fmla="*/ 120580 w 462224"/>
                <a:gd name="connsiteY5" fmla="*/ 371789 h 1075174"/>
                <a:gd name="connsiteX6" fmla="*/ 110532 w 462224"/>
                <a:gd name="connsiteY6" fmla="*/ 341644 h 1075174"/>
                <a:gd name="connsiteX7" fmla="*/ 170822 w 462224"/>
                <a:gd name="connsiteY7" fmla="*/ 180870 h 1075174"/>
                <a:gd name="connsiteX8" fmla="*/ 190918 w 462224"/>
                <a:gd name="connsiteY8" fmla="*/ 120580 h 1075174"/>
                <a:gd name="connsiteX9" fmla="*/ 211015 w 462224"/>
                <a:gd name="connsiteY9" fmla="*/ 70339 h 1075174"/>
                <a:gd name="connsiteX10" fmla="*/ 251208 w 462224"/>
                <a:gd name="connsiteY10" fmla="*/ 10049 h 1075174"/>
                <a:gd name="connsiteX11" fmla="*/ 281354 w 462224"/>
                <a:gd name="connsiteY11" fmla="*/ 0 h 1075174"/>
                <a:gd name="connsiteX12" fmla="*/ 331595 w 462224"/>
                <a:gd name="connsiteY12" fmla="*/ 10049 h 1075174"/>
                <a:gd name="connsiteX13" fmla="*/ 381837 w 462224"/>
                <a:gd name="connsiteY13" fmla="*/ 30145 h 1075174"/>
                <a:gd name="connsiteX14" fmla="*/ 462224 w 462224"/>
                <a:gd name="connsiteY14" fmla="*/ 30145 h 1075174"/>
                <a:gd name="connsiteX0" fmla="*/ 0 w 462224"/>
                <a:gd name="connsiteY0" fmla="*/ 1075174 h 1075174"/>
                <a:gd name="connsiteX1" fmla="*/ 90435 w 462224"/>
                <a:gd name="connsiteY1" fmla="*/ 1065125 h 1075174"/>
                <a:gd name="connsiteX2" fmla="*/ 130628 w 462224"/>
                <a:gd name="connsiteY2" fmla="*/ 1034980 h 1075174"/>
                <a:gd name="connsiteX3" fmla="*/ 150725 w 462224"/>
                <a:gd name="connsiteY3" fmla="*/ 954594 h 1075174"/>
                <a:gd name="connsiteX4" fmla="*/ 140677 w 462224"/>
                <a:gd name="connsiteY4" fmla="*/ 592853 h 1075174"/>
                <a:gd name="connsiteX5" fmla="*/ 120580 w 462224"/>
                <a:gd name="connsiteY5" fmla="*/ 371789 h 1075174"/>
                <a:gd name="connsiteX6" fmla="*/ 170822 w 462224"/>
                <a:gd name="connsiteY6" fmla="*/ 180870 h 1075174"/>
                <a:gd name="connsiteX7" fmla="*/ 190918 w 462224"/>
                <a:gd name="connsiteY7" fmla="*/ 120580 h 1075174"/>
                <a:gd name="connsiteX8" fmla="*/ 211015 w 462224"/>
                <a:gd name="connsiteY8" fmla="*/ 70339 h 1075174"/>
                <a:gd name="connsiteX9" fmla="*/ 251208 w 462224"/>
                <a:gd name="connsiteY9" fmla="*/ 10049 h 1075174"/>
                <a:gd name="connsiteX10" fmla="*/ 281354 w 462224"/>
                <a:gd name="connsiteY10" fmla="*/ 0 h 1075174"/>
                <a:gd name="connsiteX11" fmla="*/ 331595 w 462224"/>
                <a:gd name="connsiteY11" fmla="*/ 10049 h 1075174"/>
                <a:gd name="connsiteX12" fmla="*/ 381837 w 462224"/>
                <a:gd name="connsiteY12" fmla="*/ 30145 h 1075174"/>
                <a:gd name="connsiteX13" fmla="*/ 462224 w 462224"/>
                <a:gd name="connsiteY13" fmla="*/ 30145 h 1075174"/>
                <a:gd name="connsiteX0" fmla="*/ 0 w 462224"/>
                <a:gd name="connsiteY0" fmla="*/ 1075174 h 1075174"/>
                <a:gd name="connsiteX1" fmla="*/ 90435 w 462224"/>
                <a:gd name="connsiteY1" fmla="*/ 1065125 h 1075174"/>
                <a:gd name="connsiteX2" fmla="*/ 130628 w 462224"/>
                <a:gd name="connsiteY2" fmla="*/ 1034980 h 1075174"/>
                <a:gd name="connsiteX3" fmla="*/ 150725 w 462224"/>
                <a:gd name="connsiteY3" fmla="*/ 954594 h 1075174"/>
                <a:gd name="connsiteX4" fmla="*/ 140677 w 462224"/>
                <a:gd name="connsiteY4" fmla="*/ 592853 h 1075174"/>
                <a:gd name="connsiteX5" fmla="*/ 170822 w 462224"/>
                <a:gd name="connsiteY5" fmla="*/ 180870 h 1075174"/>
                <a:gd name="connsiteX6" fmla="*/ 190918 w 462224"/>
                <a:gd name="connsiteY6" fmla="*/ 120580 h 1075174"/>
                <a:gd name="connsiteX7" fmla="*/ 211015 w 462224"/>
                <a:gd name="connsiteY7" fmla="*/ 70339 h 1075174"/>
                <a:gd name="connsiteX8" fmla="*/ 251208 w 462224"/>
                <a:gd name="connsiteY8" fmla="*/ 10049 h 1075174"/>
                <a:gd name="connsiteX9" fmla="*/ 281354 w 462224"/>
                <a:gd name="connsiteY9" fmla="*/ 0 h 1075174"/>
                <a:gd name="connsiteX10" fmla="*/ 331595 w 462224"/>
                <a:gd name="connsiteY10" fmla="*/ 10049 h 1075174"/>
                <a:gd name="connsiteX11" fmla="*/ 381837 w 462224"/>
                <a:gd name="connsiteY11" fmla="*/ 30145 h 1075174"/>
                <a:gd name="connsiteX12" fmla="*/ 462224 w 462224"/>
                <a:gd name="connsiteY12" fmla="*/ 30145 h 1075174"/>
                <a:gd name="connsiteX0" fmla="*/ 0 w 462224"/>
                <a:gd name="connsiteY0" fmla="*/ 1075174 h 1075174"/>
                <a:gd name="connsiteX1" fmla="*/ 90435 w 462224"/>
                <a:gd name="connsiteY1" fmla="*/ 1065125 h 1075174"/>
                <a:gd name="connsiteX2" fmla="*/ 130628 w 462224"/>
                <a:gd name="connsiteY2" fmla="*/ 1034980 h 1075174"/>
                <a:gd name="connsiteX3" fmla="*/ 150725 w 462224"/>
                <a:gd name="connsiteY3" fmla="*/ 954594 h 1075174"/>
                <a:gd name="connsiteX4" fmla="*/ 140677 w 462224"/>
                <a:gd name="connsiteY4" fmla="*/ 592853 h 1075174"/>
                <a:gd name="connsiteX5" fmla="*/ 190918 w 462224"/>
                <a:gd name="connsiteY5" fmla="*/ 120580 h 1075174"/>
                <a:gd name="connsiteX6" fmla="*/ 211015 w 462224"/>
                <a:gd name="connsiteY6" fmla="*/ 70339 h 1075174"/>
                <a:gd name="connsiteX7" fmla="*/ 251208 w 462224"/>
                <a:gd name="connsiteY7" fmla="*/ 10049 h 1075174"/>
                <a:gd name="connsiteX8" fmla="*/ 281354 w 462224"/>
                <a:gd name="connsiteY8" fmla="*/ 0 h 1075174"/>
                <a:gd name="connsiteX9" fmla="*/ 331595 w 462224"/>
                <a:gd name="connsiteY9" fmla="*/ 10049 h 1075174"/>
                <a:gd name="connsiteX10" fmla="*/ 381837 w 462224"/>
                <a:gd name="connsiteY10" fmla="*/ 30145 h 1075174"/>
                <a:gd name="connsiteX11" fmla="*/ 462224 w 462224"/>
                <a:gd name="connsiteY11" fmla="*/ 30145 h 1075174"/>
                <a:gd name="connsiteX0" fmla="*/ 0 w 462224"/>
                <a:gd name="connsiteY0" fmla="*/ 1075174 h 1075174"/>
                <a:gd name="connsiteX1" fmla="*/ 90435 w 462224"/>
                <a:gd name="connsiteY1" fmla="*/ 1065125 h 1075174"/>
                <a:gd name="connsiteX2" fmla="*/ 130628 w 462224"/>
                <a:gd name="connsiteY2" fmla="*/ 1034980 h 1075174"/>
                <a:gd name="connsiteX3" fmla="*/ 150725 w 462224"/>
                <a:gd name="connsiteY3" fmla="*/ 954594 h 1075174"/>
                <a:gd name="connsiteX4" fmla="*/ 140677 w 462224"/>
                <a:gd name="connsiteY4" fmla="*/ 592853 h 1075174"/>
                <a:gd name="connsiteX5" fmla="*/ 211015 w 462224"/>
                <a:gd name="connsiteY5" fmla="*/ 70339 h 1075174"/>
                <a:gd name="connsiteX6" fmla="*/ 251208 w 462224"/>
                <a:gd name="connsiteY6" fmla="*/ 10049 h 1075174"/>
                <a:gd name="connsiteX7" fmla="*/ 281354 w 462224"/>
                <a:gd name="connsiteY7" fmla="*/ 0 h 1075174"/>
                <a:gd name="connsiteX8" fmla="*/ 331595 w 462224"/>
                <a:gd name="connsiteY8" fmla="*/ 10049 h 1075174"/>
                <a:gd name="connsiteX9" fmla="*/ 381837 w 462224"/>
                <a:gd name="connsiteY9" fmla="*/ 30145 h 1075174"/>
                <a:gd name="connsiteX10" fmla="*/ 462224 w 462224"/>
                <a:gd name="connsiteY10" fmla="*/ 30145 h 1075174"/>
                <a:gd name="connsiteX0" fmla="*/ 0 w 462224"/>
                <a:gd name="connsiteY0" fmla="*/ 1075174 h 1075174"/>
                <a:gd name="connsiteX1" fmla="*/ 90435 w 462224"/>
                <a:gd name="connsiteY1" fmla="*/ 1065125 h 1075174"/>
                <a:gd name="connsiteX2" fmla="*/ 130628 w 462224"/>
                <a:gd name="connsiteY2" fmla="*/ 1034980 h 1075174"/>
                <a:gd name="connsiteX3" fmla="*/ 150725 w 462224"/>
                <a:gd name="connsiteY3" fmla="*/ 954594 h 1075174"/>
                <a:gd name="connsiteX4" fmla="*/ 140677 w 462224"/>
                <a:gd name="connsiteY4" fmla="*/ 592853 h 1075174"/>
                <a:gd name="connsiteX5" fmla="*/ 125290 w 462224"/>
                <a:gd name="connsiteY5" fmla="*/ 84627 h 1075174"/>
                <a:gd name="connsiteX6" fmla="*/ 251208 w 462224"/>
                <a:gd name="connsiteY6" fmla="*/ 10049 h 1075174"/>
                <a:gd name="connsiteX7" fmla="*/ 281354 w 462224"/>
                <a:gd name="connsiteY7" fmla="*/ 0 h 1075174"/>
                <a:gd name="connsiteX8" fmla="*/ 331595 w 462224"/>
                <a:gd name="connsiteY8" fmla="*/ 10049 h 1075174"/>
                <a:gd name="connsiteX9" fmla="*/ 381837 w 462224"/>
                <a:gd name="connsiteY9" fmla="*/ 30145 h 1075174"/>
                <a:gd name="connsiteX10" fmla="*/ 462224 w 462224"/>
                <a:gd name="connsiteY10" fmla="*/ 30145 h 1075174"/>
                <a:gd name="connsiteX0" fmla="*/ 0 w 462224"/>
                <a:gd name="connsiteY0" fmla="*/ 1071472 h 1071472"/>
                <a:gd name="connsiteX1" fmla="*/ 90435 w 462224"/>
                <a:gd name="connsiteY1" fmla="*/ 1061423 h 1071472"/>
                <a:gd name="connsiteX2" fmla="*/ 130628 w 462224"/>
                <a:gd name="connsiteY2" fmla="*/ 1031278 h 1071472"/>
                <a:gd name="connsiteX3" fmla="*/ 150725 w 462224"/>
                <a:gd name="connsiteY3" fmla="*/ 950892 h 1071472"/>
                <a:gd name="connsiteX4" fmla="*/ 140677 w 462224"/>
                <a:gd name="connsiteY4" fmla="*/ 589151 h 1071472"/>
                <a:gd name="connsiteX5" fmla="*/ 125290 w 462224"/>
                <a:gd name="connsiteY5" fmla="*/ 80925 h 1071472"/>
                <a:gd name="connsiteX6" fmla="*/ 251208 w 462224"/>
                <a:gd name="connsiteY6" fmla="*/ 6347 h 1071472"/>
                <a:gd name="connsiteX7" fmla="*/ 331595 w 462224"/>
                <a:gd name="connsiteY7" fmla="*/ 6347 h 1071472"/>
                <a:gd name="connsiteX8" fmla="*/ 381837 w 462224"/>
                <a:gd name="connsiteY8" fmla="*/ 26443 h 1071472"/>
                <a:gd name="connsiteX9" fmla="*/ 462224 w 462224"/>
                <a:gd name="connsiteY9" fmla="*/ 26443 h 1071472"/>
                <a:gd name="connsiteX0" fmla="*/ 0 w 462224"/>
                <a:gd name="connsiteY0" fmla="*/ 1067049 h 1067049"/>
                <a:gd name="connsiteX1" fmla="*/ 90435 w 462224"/>
                <a:gd name="connsiteY1" fmla="*/ 1057000 h 1067049"/>
                <a:gd name="connsiteX2" fmla="*/ 130628 w 462224"/>
                <a:gd name="connsiteY2" fmla="*/ 1026855 h 1067049"/>
                <a:gd name="connsiteX3" fmla="*/ 150725 w 462224"/>
                <a:gd name="connsiteY3" fmla="*/ 946469 h 1067049"/>
                <a:gd name="connsiteX4" fmla="*/ 140677 w 462224"/>
                <a:gd name="connsiteY4" fmla="*/ 584728 h 1067049"/>
                <a:gd name="connsiteX5" fmla="*/ 125290 w 462224"/>
                <a:gd name="connsiteY5" fmla="*/ 76502 h 1067049"/>
                <a:gd name="connsiteX6" fmla="*/ 251208 w 462224"/>
                <a:gd name="connsiteY6" fmla="*/ 1924 h 1067049"/>
                <a:gd name="connsiteX7" fmla="*/ 381837 w 462224"/>
                <a:gd name="connsiteY7" fmla="*/ 22020 h 1067049"/>
                <a:gd name="connsiteX8" fmla="*/ 462224 w 462224"/>
                <a:gd name="connsiteY8" fmla="*/ 22020 h 1067049"/>
                <a:gd name="connsiteX0" fmla="*/ 0 w 462224"/>
                <a:gd name="connsiteY0" fmla="*/ 1049595 h 1049595"/>
                <a:gd name="connsiteX1" fmla="*/ 90435 w 462224"/>
                <a:gd name="connsiteY1" fmla="*/ 1039546 h 1049595"/>
                <a:gd name="connsiteX2" fmla="*/ 130628 w 462224"/>
                <a:gd name="connsiteY2" fmla="*/ 1009401 h 1049595"/>
                <a:gd name="connsiteX3" fmla="*/ 150725 w 462224"/>
                <a:gd name="connsiteY3" fmla="*/ 929015 h 1049595"/>
                <a:gd name="connsiteX4" fmla="*/ 140677 w 462224"/>
                <a:gd name="connsiteY4" fmla="*/ 567274 h 1049595"/>
                <a:gd name="connsiteX5" fmla="*/ 125290 w 462224"/>
                <a:gd name="connsiteY5" fmla="*/ 59048 h 1049595"/>
                <a:gd name="connsiteX6" fmla="*/ 381837 w 462224"/>
                <a:gd name="connsiteY6" fmla="*/ 4566 h 1049595"/>
                <a:gd name="connsiteX7" fmla="*/ 462224 w 462224"/>
                <a:gd name="connsiteY7" fmla="*/ 4566 h 1049595"/>
                <a:gd name="connsiteX0" fmla="*/ 0 w 462224"/>
                <a:gd name="connsiteY0" fmla="*/ 1049595 h 1049595"/>
                <a:gd name="connsiteX1" fmla="*/ 130628 w 462224"/>
                <a:gd name="connsiteY1" fmla="*/ 1009401 h 1049595"/>
                <a:gd name="connsiteX2" fmla="*/ 150725 w 462224"/>
                <a:gd name="connsiteY2" fmla="*/ 929015 h 1049595"/>
                <a:gd name="connsiteX3" fmla="*/ 140677 w 462224"/>
                <a:gd name="connsiteY3" fmla="*/ 567274 h 1049595"/>
                <a:gd name="connsiteX4" fmla="*/ 125290 w 462224"/>
                <a:gd name="connsiteY4" fmla="*/ 59048 h 1049595"/>
                <a:gd name="connsiteX5" fmla="*/ 381837 w 462224"/>
                <a:gd name="connsiteY5" fmla="*/ 4566 h 1049595"/>
                <a:gd name="connsiteX6" fmla="*/ 462224 w 462224"/>
                <a:gd name="connsiteY6" fmla="*/ 4566 h 1049595"/>
                <a:gd name="connsiteX0" fmla="*/ 0 w 462224"/>
                <a:gd name="connsiteY0" fmla="*/ 1049595 h 1055241"/>
                <a:gd name="connsiteX1" fmla="*/ 149678 w 462224"/>
                <a:gd name="connsiteY1" fmla="*/ 1047501 h 1055241"/>
                <a:gd name="connsiteX2" fmla="*/ 150725 w 462224"/>
                <a:gd name="connsiteY2" fmla="*/ 929015 h 1055241"/>
                <a:gd name="connsiteX3" fmla="*/ 140677 w 462224"/>
                <a:gd name="connsiteY3" fmla="*/ 567274 h 1055241"/>
                <a:gd name="connsiteX4" fmla="*/ 125290 w 462224"/>
                <a:gd name="connsiteY4" fmla="*/ 59048 h 1055241"/>
                <a:gd name="connsiteX5" fmla="*/ 381837 w 462224"/>
                <a:gd name="connsiteY5" fmla="*/ 4566 h 1055241"/>
                <a:gd name="connsiteX6" fmla="*/ 462224 w 462224"/>
                <a:gd name="connsiteY6" fmla="*/ 4566 h 1055241"/>
                <a:gd name="connsiteX0" fmla="*/ 0 w 462224"/>
                <a:gd name="connsiteY0" fmla="*/ 1049595 h 1049595"/>
                <a:gd name="connsiteX1" fmla="*/ 149678 w 462224"/>
                <a:gd name="connsiteY1" fmla="*/ 1028451 h 1049595"/>
                <a:gd name="connsiteX2" fmla="*/ 150725 w 462224"/>
                <a:gd name="connsiteY2" fmla="*/ 929015 h 1049595"/>
                <a:gd name="connsiteX3" fmla="*/ 140677 w 462224"/>
                <a:gd name="connsiteY3" fmla="*/ 567274 h 1049595"/>
                <a:gd name="connsiteX4" fmla="*/ 125290 w 462224"/>
                <a:gd name="connsiteY4" fmla="*/ 59048 h 1049595"/>
                <a:gd name="connsiteX5" fmla="*/ 381837 w 462224"/>
                <a:gd name="connsiteY5" fmla="*/ 4566 h 1049595"/>
                <a:gd name="connsiteX6" fmla="*/ 462224 w 462224"/>
                <a:gd name="connsiteY6" fmla="*/ 4566 h 1049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2224" h="1049595">
                  <a:moveTo>
                    <a:pt x="0" y="1049595"/>
                  </a:moveTo>
                  <a:cubicBezTo>
                    <a:pt x="27214" y="1041221"/>
                    <a:pt x="124557" y="1048548"/>
                    <a:pt x="149678" y="1028451"/>
                  </a:cubicBezTo>
                  <a:cubicBezTo>
                    <a:pt x="174799" y="1008354"/>
                    <a:pt x="150399" y="930647"/>
                    <a:pt x="150725" y="929015"/>
                  </a:cubicBezTo>
                  <a:cubicBezTo>
                    <a:pt x="147376" y="808435"/>
                    <a:pt x="144916" y="712269"/>
                    <a:pt x="140677" y="567274"/>
                  </a:cubicBezTo>
                  <a:cubicBezTo>
                    <a:pt x="136438" y="422280"/>
                    <a:pt x="85097" y="152833"/>
                    <a:pt x="125290" y="59048"/>
                  </a:cubicBezTo>
                  <a:cubicBezTo>
                    <a:pt x="165483" y="-34737"/>
                    <a:pt x="325681" y="13646"/>
                    <a:pt x="381837" y="4566"/>
                  </a:cubicBezTo>
                  <a:cubicBezTo>
                    <a:pt x="408321" y="8640"/>
                    <a:pt x="435428" y="4566"/>
                    <a:pt x="462224" y="4566"/>
                  </a:cubicBezTo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1E8BB4-7915-E217-ADB9-797950A0CCA0}"/>
                </a:ext>
              </a:extLst>
            </p:cNvPr>
            <p:cNvSpPr/>
            <p:nvPr/>
          </p:nvSpPr>
          <p:spPr>
            <a:xfrm flipV="1">
              <a:off x="8420518" y="3899671"/>
              <a:ext cx="494881" cy="698448"/>
            </a:xfrm>
            <a:custGeom>
              <a:avLst/>
              <a:gdLst>
                <a:gd name="connsiteX0" fmla="*/ 0 w 462224"/>
                <a:gd name="connsiteY0" fmla="*/ 1075174 h 1075174"/>
                <a:gd name="connsiteX1" fmla="*/ 90435 w 462224"/>
                <a:gd name="connsiteY1" fmla="*/ 1065125 h 1075174"/>
                <a:gd name="connsiteX2" fmla="*/ 130628 w 462224"/>
                <a:gd name="connsiteY2" fmla="*/ 1034980 h 1075174"/>
                <a:gd name="connsiteX3" fmla="*/ 150725 w 462224"/>
                <a:gd name="connsiteY3" fmla="*/ 954594 h 1075174"/>
                <a:gd name="connsiteX4" fmla="*/ 140677 w 462224"/>
                <a:gd name="connsiteY4" fmla="*/ 592853 h 1075174"/>
                <a:gd name="connsiteX5" fmla="*/ 120580 w 462224"/>
                <a:gd name="connsiteY5" fmla="*/ 371789 h 1075174"/>
                <a:gd name="connsiteX6" fmla="*/ 110532 w 462224"/>
                <a:gd name="connsiteY6" fmla="*/ 341644 h 1075174"/>
                <a:gd name="connsiteX7" fmla="*/ 170822 w 462224"/>
                <a:gd name="connsiteY7" fmla="*/ 180870 h 1075174"/>
                <a:gd name="connsiteX8" fmla="*/ 190918 w 462224"/>
                <a:gd name="connsiteY8" fmla="*/ 120580 h 1075174"/>
                <a:gd name="connsiteX9" fmla="*/ 211015 w 462224"/>
                <a:gd name="connsiteY9" fmla="*/ 70339 h 1075174"/>
                <a:gd name="connsiteX10" fmla="*/ 251208 w 462224"/>
                <a:gd name="connsiteY10" fmla="*/ 10049 h 1075174"/>
                <a:gd name="connsiteX11" fmla="*/ 281354 w 462224"/>
                <a:gd name="connsiteY11" fmla="*/ 0 h 1075174"/>
                <a:gd name="connsiteX12" fmla="*/ 331595 w 462224"/>
                <a:gd name="connsiteY12" fmla="*/ 10049 h 1075174"/>
                <a:gd name="connsiteX13" fmla="*/ 381837 w 462224"/>
                <a:gd name="connsiteY13" fmla="*/ 30145 h 1075174"/>
                <a:gd name="connsiteX14" fmla="*/ 462224 w 462224"/>
                <a:gd name="connsiteY14" fmla="*/ 30145 h 1075174"/>
                <a:gd name="connsiteX0" fmla="*/ 0 w 462224"/>
                <a:gd name="connsiteY0" fmla="*/ 1075174 h 1075174"/>
                <a:gd name="connsiteX1" fmla="*/ 90435 w 462224"/>
                <a:gd name="connsiteY1" fmla="*/ 1065125 h 1075174"/>
                <a:gd name="connsiteX2" fmla="*/ 130628 w 462224"/>
                <a:gd name="connsiteY2" fmla="*/ 1034980 h 1075174"/>
                <a:gd name="connsiteX3" fmla="*/ 150725 w 462224"/>
                <a:gd name="connsiteY3" fmla="*/ 954594 h 1075174"/>
                <a:gd name="connsiteX4" fmla="*/ 140677 w 462224"/>
                <a:gd name="connsiteY4" fmla="*/ 592853 h 1075174"/>
                <a:gd name="connsiteX5" fmla="*/ 120580 w 462224"/>
                <a:gd name="connsiteY5" fmla="*/ 371789 h 1075174"/>
                <a:gd name="connsiteX6" fmla="*/ 170822 w 462224"/>
                <a:gd name="connsiteY6" fmla="*/ 180870 h 1075174"/>
                <a:gd name="connsiteX7" fmla="*/ 190918 w 462224"/>
                <a:gd name="connsiteY7" fmla="*/ 120580 h 1075174"/>
                <a:gd name="connsiteX8" fmla="*/ 211015 w 462224"/>
                <a:gd name="connsiteY8" fmla="*/ 70339 h 1075174"/>
                <a:gd name="connsiteX9" fmla="*/ 251208 w 462224"/>
                <a:gd name="connsiteY9" fmla="*/ 10049 h 1075174"/>
                <a:gd name="connsiteX10" fmla="*/ 281354 w 462224"/>
                <a:gd name="connsiteY10" fmla="*/ 0 h 1075174"/>
                <a:gd name="connsiteX11" fmla="*/ 331595 w 462224"/>
                <a:gd name="connsiteY11" fmla="*/ 10049 h 1075174"/>
                <a:gd name="connsiteX12" fmla="*/ 381837 w 462224"/>
                <a:gd name="connsiteY12" fmla="*/ 30145 h 1075174"/>
                <a:gd name="connsiteX13" fmla="*/ 462224 w 462224"/>
                <a:gd name="connsiteY13" fmla="*/ 30145 h 1075174"/>
                <a:gd name="connsiteX0" fmla="*/ 0 w 462224"/>
                <a:gd name="connsiteY0" fmla="*/ 1075174 h 1075174"/>
                <a:gd name="connsiteX1" fmla="*/ 90435 w 462224"/>
                <a:gd name="connsiteY1" fmla="*/ 1065125 h 1075174"/>
                <a:gd name="connsiteX2" fmla="*/ 130628 w 462224"/>
                <a:gd name="connsiteY2" fmla="*/ 1034980 h 1075174"/>
                <a:gd name="connsiteX3" fmla="*/ 150725 w 462224"/>
                <a:gd name="connsiteY3" fmla="*/ 954594 h 1075174"/>
                <a:gd name="connsiteX4" fmla="*/ 140677 w 462224"/>
                <a:gd name="connsiteY4" fmla="*/ 592853 h 1075174"/>
                <a:gd name="connsiteX5" fmla="*/ 170822 w 462224"/>
                <a:gd name="connsiteY5" fmla="*/ 180870 h 1075174"/>
                <a:gd name="connsiteX6" fmla="*/ 190918 w 462224"/>
                <a:gd name="connsiteY6" fmla="*/ 120580 h 1075174"/>
                <a:gd name="connsiteX7" fmla="*/ 211015 w 462224"/>
                <a:gd name="connsiteY7" fmla="*/ 70339 h 1075174"/>
                <a:gd name="connsiteX8" fmla="*/ 251208 w 462224"/>
                <a:gd name="connsiteY8" fmla="*/ 10049 h 1075174"/>
                <a:gd name="connsiteX9" fmla="*/ 281354 w 462224"/>
                <a:gd name="connsiteY9" fmla="*/ 0 h 1075174"/>
                <a:gd name="connsiteX10" fmla="*/ 331595 w 462224"/>
                <a:gd name="connsiteY10" fmla="*/ 10049 h 1075174"/>
                <a:gd name="connsiteX11" fmla="*/ 381837 w 462224"/>
                <a:gd name="connsiteY11" fmla="*/ 30145 h 1075174"/>
                <a:gd name="connsiteX12" fmla="*/ 462224 w 462224"/>
                <a:gd name="connsiteY12" fmla="*/ 30145 h 1075174"/>
                <a:gd name="connsiteX0" fmla="*/ 0 w 462224"/>
                <a:gd name="connsiteY0" fmla="*/ 1075174 h 1075174"/>
                <a:gd name="connsiteX1" fmla="*/ 90435 w 462224"/>
                <a:gd name="connsiteY1" fmla="*/ 1065125 h 1075174"/>
                <a:gd name="connsiteX2" fmla="*/ 130628 w 462224"/>
                <a:gd name="connsiteY2" fmla="*/ 1034980 h 1075174"/>
                <a:gd name="connsiteX3" fmla="*/ 150725 w 462224"/>
                <a:gd name="connsiteY3" fmla="*/ 954594 h 1075174"/>
                <a:gd name="connsiteX4" fmla="*/ 140677 w 462224"/>
                <a:gd name="connsiteY4" fmla="*/ 592853 h 1075174"/>
                <a:gd name="connsiteX5" fmla="*/ 190918 w 462224"/>
                <a:gd name="connsiteY5" fmla="*/ 120580 h 1075174"/>
                <a:gd name="connsiteX6" fmla="*/ 211015 w 462224"/>
                <a:gd name="connsiteY6" fmla="*/ 70339 h 1075174"/>
                <a:gd name="connsiteX7" fmla="*/ 251208 w 462224"/>
                <a:gd name="connsiteY7" fmla="*/ 10049 h 1075174"/>
                <a:gd name="connsiteX8" fmla="*/ 281354 w 462224"/>
                <a:gd name="connsiteY8" fmla="*/ 0 h 1075174"/>
                <a:gd name="connsiteX9" fmla="*/ 331595 w 462224"/>
                <a:gd name="connsiteY9" fmla="*/ 10049 h 1075174"/>
                <a:gd name="connsiteX10" fmla="*/ 381837 w 462224"/>
                <a:gd name="connsiteY10" fmla="*/ 30145 h 1075174"/>
                <a:gd name="connsiteX11" fmla="*/ 462224 w 462224"/>
                <a:gd name="connsiteY11" fmla="*/ 30145 h 1075174"/>
                <a:gd name="connsiteX0" fmla="*/ 0 w 462224"/>
                <a:gd name="connsiteY0" fmla="*/ 1075174 h 1075174"/>
                <a:gd name="connsiteX1" fmla="*/ 90435 w 462224"/>
                <a:gd name="connsiteY1" fmla="*/ 1065125 h 1075174"/>
                <a:gd name="connsiteX2" fmla="*/ 130628 w 462224"/>
                <a:gd name="connsiteY2" fmla="*/ 1034980 h 1075174"/>
                <a:gd name="connsiteX3" fmla="*/ 150725 w 462224"/>
                <a:gd name="connsiteY3" fmla="*/ 954594 h 1075174"/>
                <a:gd name="connsiteX4" fmla="*/ 140677 w 462224"/>
                <a:gd name="connsiteY4" fmla="*/ 592853 h 1075174"/>
                <a:gd name="connsiteX5" fmla="*/ 211015 w 462224"/>
                <a:gd name="connsiteY5" fmla="*/ 70339 h 1075174"/>
                <a:gd name="connsiteX6" fmla="*/ 251208 w 462224"/>
                <a:gd name="connsiteY6" fmla="*/ 10049 h 1075174"/>
                <a:gd name="connsiteX7" fmla="*/ 281354 w 462224"/>
                <a:gd name="connsiteY7" fmla="*/ 0 h 1075174"/>
                <a:gd name="connsiteX8" fmla="*/ 331595 w 462224"/>
                <a:gd name="connsiteY8" fmla="*/ 10049 h 1075174"/>
                <a:gd name="connsiteX9" fmla="*/ 381837 w 462224"/>
                <a:gd name="connsiteY9" fmla="*/ 30145 h 1075174"/>
                <a:gd name="connsiteX10" fmla="*/ 462224 w 462224"/>
                <a:gd name="connsiteY10" fmla="*/ 30145 h 1075174"/>
                <a:gd name="connsiteX0" fmla="*/ 0 w 462224"/>
                <a:gd name="connsiteY0" fmla="*/ 1075174 h 1075174"/>
                <a:gd name="connsiteX1" fmla="*/ 90435 w 462224"/>
                <a:gd name="connsiteY1" fmla="*/ 1065125 h 1075174"/>
                <a:gd name="connsiteX2" fmla="*/ 130628 w 462224"/>
                <a:gd name="connsiteY2" fmla="*/ 1034980 h 1075174"/>
                <a:gd name="connsiteX3" fmla="*/ 150725 w 462224"/>
                <a:gd name="connsiteY3" fmla="*/ 954594 h 1075174"/>
                <a:gd name="connsiteX4" fmla="*/ 140677 w 462224"/>
                <a:gd name="connsiteY4" fmla="*/ 592853 h 1075174"/>
                <a:gd name="connsiteX5" fmla="*/ 125290 w 462224"/>
                <a:gd name="connsiteY5" fmla="*/ 84627 h 1075174"/>
                <a:gd name="connsiteX6" fmla="*/ 251208 w 462224"/>
                <a:gd name="connsiteY6" fmla="*/ 10049 h 1075174"/>
                <a:gd name="connsiteX7" fmla="*/ 281354 w 462224"/>
                <a:gd name="connsiteY7" fmla="*/ 0 h 1075174"/>
                <a:gd name="connsiteX8" fmla="*/ 331595 w 462224"/>
                <a:gd name="connsiteY8" fmla="*/ 10049 h 1075174"/>
                <a:gd name="connsiteX9" fmla="*/ 381837 w 462224"/>
                <a:gd name="connsiteY9" fmla="*/ 30145 h 1075174"/>
                <a:gd name="connsiteX10" fmla="*/ 462224 w 462224"/>
                <a:gd name="connsiteY10" fmla="*/ 30145 h 1075174"/>
                <a:gd name="connsiteX0" fmla="*/ 0 w 462224"/>
                <a:gd name="connsiteY0" fmla="*/ 1071472 h 1071472"/>
                <a:gd name="connsiteX1" fmla="*/ 90435 w 462224"/>
                <a:gd name="connsiteY1" fmla="*/ 1061423 h 1071472"/>
                <a:gd name="connsiteX2" fmla="*/ 130628 w 462224"/>
                <a:gd name="connsiteY2" fmla="*/ 1031278 h 1071472"/>
                <a:gd name="connsiteX3" fmla="*/ 150725 w 462224"/>
                <a:gd name="connsiteY3" fmla="*/ 950892 h 1071472"/>
                <a:gd name="connsiteX4" fmla="*/ 140677 w 462224"/>
                <a:gd name="connsiteY4" fmla="*/ 589151 h 1071472"/>
                <a:gd name="connsiteX5" fmla="*/ 125290 w 462224"/>
                <a:gd name="connsiteY5" fmla="*/ 80925 h 1071472"/>
                <a:gd name="connsiteX6" fmla="*/ 251208 w 462224"/>
                <a:gd name="connsiteY6" fmla="*/ 6347 h 1071472"/>
                <a:gd name="connsiteX7" fmla="*/ 331595 w 462224"/>
                <a:gd name="connsiteY7" fmla="*/ 6347 h 1071472"/>
                <a:gd name="connsiteX8" fmla="*/ 381837 w 462224"/>
                <a:gd name="connsiteY8" fmla="*/ 26443 h 1071472"/>
                <a:gd name="connsiteX9" fmla="*/ 462224 w 462224"/>
                <a:gd name="connsiteY9" fmla="*/ 26443 h 1071472"/>
                <a:gd name="connsiteX0" fmla="*/ 0 w 462224"/>
                <a:gd name="connsiteY0" fmla="*/ 1067049 h 1067049"/>
                <a:gd name="connsiteX1" fmla="*/ 90435 w 462224"/>
                <a:gd name="connsiteY1" fmla="*/ 1057000 h 1067049"/>
                <a:gd name="connsiteX2" fmla="*/ 130628 w 462224"/>
                <a:gd name="connsiteY2" fmla="*/ 1026855 h 1067049"/>
                <a:gd name="connsiteX3" fmla="*/ 150725 w 462224"/>
                <a:gd name="connsiteY3" fmla="*/ 946469 h 1067049"/>
                <a:gd name="connsiteX4" fmla="*/ 140677 w 462224"/>
                <a:gd name="connsiteY4" fmla="*/ 584728 h 1067049"/>
                <a:gd name="connsiteX5" fmla="*/ 125290 w 462224"/>
                <a:gd name="connsiteY5" fmla="*/ 76502 h 1067049"/>
                <a:gd name="connsiteX6" fmla="*/ 251208 w 462224"/>
                <a:gd name="connsiteY6" fmla="*/ 1924 h 1067049"/>
                <a:gd name="connsiteX7" fmla="*/ 381837 w 462224"/>
                <a:gd name="connsiteY7" fmla="*/ 22020 h 1067049"/>
                <a:gd name="connsiteX8" fmla="*/ 462224 w 462224"/>
                <a:gd name="connsiteY8" fmla="*/ 22020 h 1067049"/>
                <a:gd name="connsiteX0" fmla="*/ 0 w 462224"/>
                <a:gd name="connsiteY0" fmla="*/ 1049595 h 1049595"/>
                <a:gd name="connsiteX1" fmla="*/ 90435 w 462224"/>
                <a:gd name="connsiteY1" fmla="*/ 1039546 h 1049595"/>
                <a:gd name="connsiteX2" fmla="*/ 130628 w 462224"/>
                <a:gd name="connsiteY2" fmla="*/ 1009401 h 1049595"/>
                <a:gd name="connsiteX3" fmla="*/ 150725 w 462224"/>
                <a:gd name="connsiteY3" fmla="*/ 929015 h 1049595"/>
                <a:gd name="connsiteX4" fmla="*/ 140677 w 462224"/>
                <a:gd name="connsiteY4" fmla="*/ 567274 h 1049595"/>
                <a:gd name="connsiteX5" fmla="*/ 125290 w 462224"/>
                <a:gd name="connsiteY5" fmla="*/ 59048 h 1049595"/>
                <a:gd name="connsiteX6" fmla="*/ 381837 w 462224"/>
                <a:gd name="connsiteY6" fmla="*/ 4566 h 1049595"/>
                <a:gd name="connsiteX7" fmla="*/ 462224 w 462224"/>
                <a:gd name="connsiteY7" fmla="*/ 4566 h 1049595"/>
                <a:gd name="connsiteX0" fmla="*/ 0 w 462224"/>
                <a:gd name="connsiteY0" fmla="*/ 1049595 h 1049595"/>
                <a:gd name="connsiteX1" fmla="*/ 130628 w 462224"/>
                <a:gd name="connsiteY1" fmla="*/ 1009401 h 1049595"/>
                <a:gd name="connsiteX2" fmla="*/ 150725 w 462224"/>
                <a:gd name="connsiteY2" fmla="*/ 929015 h 1049595"/>
                <a:gd name="connsiteX3" fmla="*/ 140677 w 462224"/>
                <a:gd name="connsiteY3" fmla="*/ 567274 h 1049595"/>
                <a:gd name="connsiteX4" fmla="*/ 125290 w 462224"/>
                <a:gd name="connsiteY4" fmla="*/ 59048 h 1049595"/>
                <a:gd name="connsiteX5" fmla="*/ 381837 w 462224"/>
                <a:gd name="connsiteY5" fmla="*/ 4566 h 1049595"/>
                <a:gd name="connsiteX6" fmla="*/ 462224 w 462224"/>
                <a:gd name="connsiteY6" fmla="*/ 4566 h 1049595"/>
                <a:gd name="connsiteX0" fmla="*/ 0 w 462224"/>
                <a:gd name="connsiteY0" fmla="*/ 1049595 h 1055241"/>
                <a:gd name="connsiteX1" fmla="*/ 149678 w 462224"/>
                <a:gd name="connsiteY1" fmla="*/ 1047501 h 1055241"/>
                <a:gd name="connsiteX2" fmla="*/ 150725 w 462224"/>
                <a:gd name="connsiteY2" fmla="*/ 929015 h 1055241"/>
                <a:gd name="connsiteX3" fmla="*/ 140677 w 462224"/>
                <a:gd name="connsiteY3" fmla="*/ 567274 h 1055241"/>
                <a:gd name="connsiteX4" fmla="*/ 125290 w 462224"/>
                <a:gd name="connsiteY4" fmla="*/ 59048 h 1055241"/>
                <a:gd name="connsiteX5" fmla="*/ 381837 w 462224"/>
                <a:gd name="connsiteY5" fmla="*/ 4566 h 1055241"/>
                <a:gd name="connsiteX6" fmla="*/ 462224 w 462224"/>
                <a:gd name="connsiteY6" fmla="*/ 4566 h 1055241"/>
                <a:gd name="connsiteX0" fmla="*/ 0 w 462224"/>
                <a:gd name="connsiteY0" fmla="*/ 1049595 h 1049595"/>
                <a:gd name="connsiteX1" fmla="*/ 149678 w 462224"/>
                <a:gd name="connsiteY1" fmla="*/ 1028451 h 1049595"/>
                <a:gd name="connsiteX2" fmla="*/ 150725 w 462224"/>
                <a:gd name="connsiteY2" fmla="*/ 929015 h 1049595"/>
                <a:gd name="connsiteX3" fmla="*/ 140677 w 462224"/>
                <a:gd name="connsiteY3" fmla="*/ 567274 h 1049595"/>
                <a:gd name="connsiteX4" fmla="*/ 125290 w 462224"/>
                <a:gd name="connsiteY4" fmla="*/ 59048 h 1049595"/>
                <a:gd name="connsiteX5" fmla="*/ 381837 w 462224"/>
                <a:gd name="connsiteY5" fmla="*/ 4566 h 1049595"/>
                <a:gd name="connsiteX6" fmla="*/ 462224 w 462224"/>
                <a:gd name="connsiteY6" fmla="*/ 4566 h 1049595"/>
                <a:gd name="connsiteX0" fmla="*/ 0 w 462224"/>
                <a:gd name="connsiteY0" fmla="*/ 1073827 h 1073827"/>
                <a:gd name="connsiteX1" fmla="*/ 149678 w 462224"/>
                <a:gd name="connsiteY1" fmla="*/ 1052683 h 1073827"/>
                <a:gd name="connsiteX2" fmla="*/ 150725 w 462224"/>
                <a:gd name="connsiteY2" fmla="*/ 953247 h 1073827"/>
                <a:gd name="connsiteX3" fmla="*/ 125290 w 462224"/>
                <a:gd name="connsiteY3" fmla="*/ 83280 h 1073827"/>
                <a:gd name="connsiteX4" fmla="*/ 381837 w 462224"/>
                <a:gd name="connsiteY4" fmla="*/ 28798 h 1073827"/>
                <a:gd name="connsiteX5" fmla="*/ 462224 w 462224"/>
                <a:gd name="connsiteY5" fmla="*/ 28798 h 1073827"/>
                <a:gd name="connsiteX0" fmla="*/ 0 w 462224"/>
                <a:gd name="connsiteY0" fmla="*/ 1078977 h 1078977"/>
                <a:gd name="connsiteX1" fmla="*/ 149678 w 462224"/>
                <a:gd name="connsiteY1" fmla="*/ 1057833 h 1078977"/>
                <a:gd name="connsiteX2" fmla="*/ 150725 w 462224"/>
                <a:gd name="connsiteY2" fmla="*/ 958397 h 1078977"/>
                <a:gd name="connsiteX3" fmla="*/ 156428 w 462224"/>
                <a:gd name="connsiteY3" fmla="*/ 80245 h 1078977"/>
                <a:gd name="connsiteX4" fmla="*/ 381837 w 462224"/>
                <a:gd name="connsiteY4" fmla="*/ 33948 h 1078977"/>
                <a:gd name="connsiteX5" fmla="*/ 462224 w 462224"/>
                <a:gd name="connsiteY5" fmla="*/ 33948 h 1078977"/>
                <a:gd name="connsiteX0" fmla="*/ 0 w 462224"/>
                <a:gd name="connsiteY0" fmla="*/ 1067908 h 1071768"/>
                <a:gd name="connsiteX1" fmla="*/ 149678 w 462224"/>
                <a:gd name="connsiteY1" fmla="*/ 1046764 h 1071768"/>
                <a:gd name="connsiteX2" fmla="*/ 168518 w 462224"/>
                <a:gd name="connsiteY2" fmla="*/ 791828 h 1071768"/>
                <a:gd name="connsiteX3" fmla="*/ 156428 w 462224"/>
                <a:gd name="connsiteY3" fmla="*/ 69176 h 1071768"/>
                <a:gd name="connsiteX4" fmla="*/ 381837 w 462224"/>
                <a:gd name="connsiteY4" fmla="*/ 22879 h 1071768"/>
                <a:gd name="connsiteX5" fmla="*/ 462224 w 462224"/>
                <a:gd name="connsiteY5" fmla="*/ 22879 h 10717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62224" h="1071768">
                  <a:moveTo>
                    <a:pt x="0" y="1067908"/>
                  </a:moveTo>
                  <a:cubicBezTo>
                    <a:pt x="27214" y="1059534"/>
                    <a:pt x="121592" y="1092777"/>
                    <a:pt x="149678" y="1046764"/>
                  </a:cubicBezTo>
                  <a:cubicBezTo>
                    <a:pt x="177764" y="1000751"/>
                    <a:pt x="168192" y="793460"/>
                    <a:pt x="168518" y="791828"/>
                  </a:cubicBezTo>
                  <a:cubicBezTo>
                    <a:pt x="164453" y="630261"/>
                    <a:pt x="120875" y="197334"/>
                    <a:pt x="156428" y="69176"/>
                  </a:cubicBezTo>
                  <a:cubicBezTo>
                    <a:pt x="191981" y="-58982"/>
                    <a:pt x="325681" y="31959"/>
                    <a:pt x="381837" y="22879"/>
                  </a:cubicBezTo>
                  <a:cubicBezTo>
                    <a:pt x="408321" y="26953"/>
                    <a:pt x="435428" y="22879"/>
                    <a:pt x="462224" y="22879"/>
                  </a:cubicBezTo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2EFD38A7-1722-0950-C174-FA01780367A7}"/>
                </a:ext>
              </a:extLst>
            </p:cNvPr>
            <p:cNvSpPr/>
            <p:nvPr/>
          </p:nvSpPr>
          <p:spPr>
            <a:xfrm>
              <a:off x="8420100" y="3809998"/>
              <a:ext cx="509588" cy="16161"/>
            </a:xfrm>
            <a:custGeom>
              <a:avLst/>
              <a:gdLst>
                <a:gd name="connsiteX0" fmla="*/ 0 w 509588"/>
                <a:gd name="connsiteY0" fmla="*/ 0 h 52580"/>
                <a:gd name="connsiteX1" fmla="*/ 85725 w 509588"/>
                <a:gd name="connsiteY1" fmla="*/ 14288 h 52580"/>
                <a:gd name="connsiteX2" fmla="*/ 509588 w 509588"/>
                <a:gd name="connsiteY2" fmla="*/ 0 h 52580"/>
                <a:gd name="connsiteX0" fmla="*/ 0 w 509588"/>
                <a:gd name="connsiteY0" fmla="*/ 0 h 21998"/>
                <a:gd name="connsiteX1" fmla="*/ 85725 w 509588"/>
                <a:gd name="connsiteY1" fmla="*/ 14288 h 21998"/>
                <a:gd name="connsiteX2" fmla="*/ 509588 w 509588"/>
                <a:gd name="connsiteY2" fmla="*/ 0 h 21998"/>
                <a:gd name="connsiteX0" fmla="*/ 0 w 509588"/>
                <a:gd name="connsiteY0" fmla="*/ 9526 h 23883"/>
                <a:gd name="connsiteX1" fmla="*/ 161925 w 509588"/>
                <a:gd name="connsiteY1" fmla="*/ 1 h 23883"/>
                <a:gd name="connsiteX2" fmla="*/ 509588 w 509588"/>
                <a:gd name="connsiteY2" fmla="*/ 9526 h 23883"/>
                <a:gd name="connsiteX0" fmla="*/ 0 w 509588"/>
                <a:gd name="connsiteY0" fmla="*/ 9526 h 10486"/>
                <a:gd name="connsiteX1" fmla="*/ 161925 w 509588"/>
                <a:gd name="connsiteY1" fmla="*/ 1 h 10486"/>
                <a:gd name="connsiteX2" fmla="*/ 509588 w 509588"/>
                <a:gd name="connsiteY2" fmla="*/ 9526 h 10486"/>
                <a:gd name="connsiteX0" fmla="*/ 0 w 509588"/>
                <a:gd name="connsiteY0" fmla="*/ 9526 h 16161"/>
                <a:gd name="connsiteX1" fmla="*/ 161925 w 509588"/>
                <a:gd name="connsiteY1" fmla="*/ 1 h 16161"/>
                <a:gd name="connsiteX2" fmla="*/ 509588 w 509588"/>
                <a:gd name="connsiteY2" fmla="*/ 9526 h 161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09588" h="16161">
                  <a:moveTo>
                    <a:pt x="0" y="9526"/>
                  </a:moveTo>
                  <a:cubicBezTo>
                    <a:pt x="23769" y="14280"/>
                    <a:pt x="144938" y="-169"/>
                    <a:pt x="161925" y="1"/>
                  </a:cubicBezTo>
                  <a:cubicBezTo>
                    <a:pt x="381340" y="27913"/>
                    <a:pt x="321723" y="11654"/>
                    <a:pt x="509588" y="9526"/>
                  </a:cubicBezTo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pic>
          <p:nvPicPr>
            <p:cNvPr id="136" name="Graphic 135">
              <a:extLst>
                <a:ext uri="{FF2B5EF4-FFF2-40B4-BE49-F238E27FC236}">
                  <a16:creationId xmlns:a16="http://schemas.microsoft.com/office/drawing/2014/main" id="{C7B64AA7-973E-2FF4-C692-BF24CAB35C9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301679" y="3202315"/>
              <a:ext cx="743511" cy="973125"/>
            </a:xfrm>
            <a:prstGeom prst="rect">
              <a:avLst/>
            </a:prstGeom>
          </p:spPr>
        </p:pic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9534CDBA-3119-E679-D7E9-7033E65E65C5}"/>
                </a:ext>
              </a:extLst>
            </p:cNvPr>
            <p:cNvGrpSpPr/>
            <p:nvPr/>
          </p:nvGrpSpPr>
          <p:grpSpPr>
            <a:xfrm>
              <a:off x="9785725" y="2850986"/>
              <a:ext cx="1778422" cy="1765862"/>
              <a:chOff x="4657836" y="1695450"/>
              <a:chExt cx="4460800" cy="4429294"/>
            </a:xfrm>
          </p:grpSpPr>
          <p:grpSp>
            <p:nvGrpSpPr>
              <p:cNvPr id="138" name="Group 137">
                <a:extLst>
                  <a:ext uri="{FF2B5EF4-FFF2-40B4-BE49-F238E27FC236}">
                    <a16:creationId xmlns:a16="http://schemas.microsoft.com/office/drawing/2014/main" id="{CE7604A0-3513-9BC4-0D41-F977812A6AC7}"/>
                  </a:ext>
                </a:extLst>
              </p:cNvPr>
              <p:cNvGrpSpPr/>
              <p:nvPr/>
            </p:nvGrpSpPr>
            <p:grpSpPr>
              <a:xfrm>
                <a:off x="4657836" y="1695450"/>
                <a:ext cx="4460800" cy="4429294"/>
                <a:chOff x="7665981" y="1827213"/>
                <a:chExt cx="4460800" cy="4429294"/>
              </a:xfrm>
            </p:grpSpPr>
            <p:sp>
              <p:nvSpPr>
                <p:cNvPr id="145" name="Freeform: Shape 144">
                  <a:extLst>
                    <a:ext uri="{FF2B5EF4-FFF2-40B4-BE49-F238E27FC236}">
                      <a16:creationId xmlns:a16="http://schemas.microsoft.com/office/drawing/2014/main" id="{420D82D3-E813-DE62-4FB0-97D3FF6A619E}"/>
                    </a:ext>
                  </a:extLst>
                </p:cNvPr>
                <p:cNvSpPr/>
                <p:nvPr/>
              </p:nvSpPr>
              <p:spPr>
                <a:xfrm>
                  <a:off x="7665981" y="1827213"/>
                  <a:ext cx="4460800" cy="4429294"/>
                </a:xfrm>
                <a:custGeom>
                  <a:avLst/>
                  <a:gdLst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  <a:gd name="connsiteX49" fmla="*/ 2236472 w 4460800"/>
                    <a:gd name="connsiteY49" fmla="*/ 504825 h 4429294"/>
                    <a:gd name="connsiteX50" fmla="*/ 2216862 w 4460800"/>
                    <a:gd name="connsiteY50" fmla="*/ 514630 h 4429294"/>
                    <a:gd name="connsiteX51" fmla="*/ 1729061 w 4460800"/>
                    <a:gd name="connsiteY51" fmla="*/ 590619 h 4429294"/>
                    <a:gd name="connsiteX52" fmla="*/ 1640815 w 4460800"/>
                    <a:gd name="connsiteY52" fmla="*/ 622486 h 4429294"/>
                    <a:gd name="connsiteX53" fmla="*/ 1363822 w 4460800"/>
                    <a:gd name="connsiteY53" fmla="*/ 745049 h 4429294"/>
                    <a:gd name="connsiteX54" fmla="*/ 1148111 w 4460800"/>
                    <a:gd name="connsiteY54" fmla="*/ 894576 h 4429294"/>
                    <a:gd name="connsiteX55" fmla="*/ 978974 w 4460800"/>
                    <a:gd name="connsiteY55" fmla="*/ 1026944 h 4429294"/>
                    <a:gd name="connsiteX56" fmla="*/ 731396 w 4460800"/>
                    <a:gd name="connsiteY56" fmla="*/ 1365219 h 4429294"/>
                    <a:gd name="connsiteX57" fmla="*/ 650504 w 4460800"/>
                    <a:gd name="connsiteY57" fmla="*/ 1524551 h 4429294"/>
                    <a:gd name="connsiteX58" fmla="*/ 525490 w 4460800"/>
                    <a:gd name="connsiteY58" fmla="*/ 1948620 h 4429294"/>
                    <a:gd name="connsiteX59" fmla="*/ 520587 w 4460800"/>
                    <a:gd name="connsiteY59" fmla="*/ 2333468 h 4429294"/>
                    <a:gd name="connsiteX60" fmla="*/ 603930 w 4460800"/>
                    <a:gd name="connsiteY60" fmla="*/ 2737927 h 4429294"/>
                    <a:gd name="connsiteX61" fmla="*/ 721591 w 4460800"/>
                    <a:gd name="connsiteY61" fmla="*/ 3010017 h 4429294"/>
                    <a:gd name="connsiteX62" fmla="*/ 822093 w 4460800"/>
                    <a:gd name="connsiteY62" fmla="*/ 3184057 h 4429294"/>
                    <a:gd name="connsiteX63" fmla="*/ 934851 w 4460800"/>
                    <a:gd name="connsiteY63" fmla="*/ 3328681 h 4429294"/>
                    <a:gd name="connsiteX64" fmla="*/ 1192234 w 4460800"/>
                    <a:gd name="connsiteY64" fmla="*/ 3568905 h 4429294"/>
                    <a:gd name="connsiteX65" fmla="*/ 1361371 w 4460800"/>
                    <a:gd name="connsiteY65" fmla="*/ 3679212 h 4429294"/>
                    <a:gd name="connsiteX66" fmla="*/ 1491288 w 4460800"/>
                    <a:gd name="connsiteY66" fmla="*/ 3760104 h 4429294"/>
                    <a:gd name="connsiteX67" fmla="*/ 1677584 w 4460800"/>
                    <a:gd name="connsiteY67" fmla="*/ 3828739 h 4429294"/>
                    <a:gd name="connsiteX68" fmla="*/ 1957028 w 4460800"/>
                    <a:gd name="connsiteY68" fmla="*/ 3902277 h 4429294"/>
                    <a:gd name="connsiteX69" fmla="*/ 2104104 w 4460800"/>
                    <a:gd name="connsiteY69" fmla="*/ 3924339 h 4429294"/>
                    <a:gd name="connsiteX70" fmla="*/ 2454635 w 4460800"/>
                    <a:gd name="connsiteY70" fmla="*/ 3894923 h 4429294"/>
                    <a:gd name="connsiteX71" fmla="*/ 2633577 w 4460800"/>
                    <a:gd name="connsiteY71" fmla="*/ 3880216 h 4429294"/>
                    <a:gd name="connsiteX72" fmla="*/ 2729176 w 4460800"/>
                    <a:gd name="connsiteY72" fmla="*/ 3850801 h 4429294"/>
                    <a:gd name="connsiteX73" fmla="*/ 2832129 w 4460800"/>
                    <a:gd name="connsiteY73" fmla="*/ 3814032 h 4429294"/>
                    <a:gd name="connsiteX74" fmla="*/ 2949790 w 4460800"/>
                    <a:gd name="connsiteY74" fmla="*/ 3765006 h 4429294"/>
                    <a:gd name="connsiteX75" fmla="*/ 3177758 w 4460800"/>
                    <a:gd name="connsiteY75" fmla="*/ 3657151 h 4429294"/>
                    <a:gd name="connsiteX76" fmla="*/ 3288065 w 4460800"/>
                    <a:gd name="connsiteY76" fmla="*/ 3571357 h 4429294"/>
                    <a:gd name="connsiteX77" fmla="*/ 3516032 w 4460800"/>
                    <a:gd name="connsiteY77" fmla="*/ 3321328 h 4429294"/>
                    <a:gd name="connsiteX78" fmla="*/ 3596924 w 4460800"/>
                    <a:gd name="connsiteY78" fmla="*/ 3233082 h 4429294"/>
                    <a:gd name="connsiteX79" fmla="*/ 3692523 w 4460800"/>
                    <a:gd name="connsiteY79" fmla="*/ 3130129 h 4429294"/>
                    <a:gd name="connsiteX80" fmla="*/ 3766061 w 4460800"/>
                    <a:gd name="connsiteY80" fmla="*/ 3012468 h 4429294"/>
                    <a:gd name="connsiteX81" fmla="*/ 3846953 w 4460800"/>
                    <a:gd name="connsiteY81" fmla="*/ 2813916 h 4429294"/>
                    <a:gd name="connsiteX82" fmla="*/ 3895978 w 4460800"/>
                    <a:gd name="connsiteY82" fmla="*/ 2642327 h 4429294"/>
                    <a:gd name="connsiteX83" fmla="*/ 3952357 w 4460800"/>
                    <a:gd name="connsiteY83" fmla="*/ 2188844 h 4429294"/>
                    <a:gd name="connsiteX84" fmla="*/ 3883722 w 4460800"/>
                    <a:gd name="connsiteY84" fmla="*/ 1806446 h 4429294"/>
                    <a:gd name="connsiteX85" fmla="*/ 3854307 w 4460800"/>
                    <a:gd name="connsiteY85" fmla="*/ 1703493 h 4429294"/>
                    <a:gd name="connsiteX86" fmla="*/ 3817538 w 4460800"/>
                    <a:gd name="connsiteY86" fmla="*/ 1556418 h 4429294"/>
                    <a:gd name="connsiteX87" fmla="*/ 3788122 w 4460800"/>
                    <a:gd name="connsiteY87" fmla="*/ 1482880 h 4429294"/>
                    <a:gd name="connsiteX88" fmla="*/ 3744000 w 4460800"/>
                    <a:gd name="connsiteY88" fmla="*/ 1387280 h 4429294"/>
                    <a:gd name="connsiteX89" fmla="*/ 3677816 w 4460800"/>
                    <a:gd name="connsiteY89" fmla="*/ 1269620 h 4429294"/>
                    <a:gd name="connsiteX90" fmla="*/ 3572411 w 4460800"/>
                    <a:gd name="connsiteY90" fmla="*/ 1137251 h 4429294"/>
                    <a:gd name="connsiteX91" fmla="*/ 3405725 w 4460800"/>
                    <a:gd name="connsiteY91" fmla="*/ 953406 h 4429294"/>
                    <a:gd name="connsiteX92" fmla="*/ 3104220 w 4460800"/>
                    <a:gd name="connsiteY92" fmla="*/ 754854 h 4429294"/>
                    <a:gd name="connsiteX93" fmla="*/ 2964498 w 4460800"/>
                    <a:gd name="connsiteY93" fmla="*/ 681316 h 4429294"/>
                    <a:gd name="connsiteX94" fmla="*/ 2883606 w 4460800"/>
                    <a:gd name="connsiteY94" fmla="*/ 637193 h 4429294"/>
                    <a:gd name="connsiteX95" fmla="*/ 2714469 w 4460800"/>
                    <a:gd name="connsiteY95" fmla="*/ 571009 h 4429294"/>
                    <a:gd name="connsiteX96" fmla="*/ 2486501 w 4460800"/>
                    <a:gd name="connsiteY96" fmla="*/ 517081 h 4429294"/>
                    <a:gd name="connsiteX97" fmla="*/ 2236472 w 4460800"/>
                    <a:gd name="connsiteY97" fmla="*/ 504825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  <a:moveTo>
                        <a:pt x="2236472" y="504825"/>
                      </a:moveTo>
                      <a:lnTo>
                        <a:pt x="2216862" y="514630"/>
                      </a:lnTo>
                      <a:cubicBezTo>
                        <a:pt x="2010139" y="499106"/>
                        <a:pt x="1906368" y="557119"/>
                        <a:pt x="1729061" y="590619"/>
                      </a:cubicBezTo>
                      <a:cubicBezTo>
                        <a:pt x="1633053" y="608595"/>
                        <a:pt x="1701688" y="596748"/>
                        <a:pt x="1640815" y="622486"/>
                      </a:cubicBezTo>
                      <a:cubicBezTo>
                        <a:pt x="1579942" y="648224"/>
                        <a:pt x="1445940" y="699701"/>
                        <a:pt x="1363822" y="745049"/>
                      </a:cubicBezTo>
                      <a:cubicBezTo>
                        <a:pt x="1278845" y="798160"/>
                        <a:pt x="1212252" y="847594"/>
                        <a:pt x="1148111" y="894576"/>
                      </a:cubicBezTo>
                      <a:cubicBezTo>
                        <a:pt x="1083970" y="941559"/>
                        <a:pt x="1048426" y="948504"/>
                        <a:pt x="978974" y="1026944"/>
                      </a:cubicBezTo>
                      <a:cubicBezTo>
                        <a:pt x="909522" y="1105385"/>
                        <a:pt x="786141" y="1282284"/>
                        <a:pt x="731396" y="1365219"/>
                      </a:cubicBezTo>
                      <a:cubicBezTo>
                        <a:pt x="676651" y="1448153"/>
                        <a:pt x="684822" y="1427317"/>
                        <a:pt x="650504" y="1524551"/>
                      </a:cubicBezTo>
                      <a:cubicBezTo>
                        <a:pt x="616187" y="1621785"/>
                        <a:pt x="547143" y="1813800"/>
                        <a:pt x="525490" y="1948620"/>
                      </a:cubicBezTo>
                      <a:cubicBezTo>
                        <a:pt x="503837" y="2083439"/>
                        <a:pt x="503429" y="2190478"/>
                        <a:pt x="520587" y="2333468"/>
                      </a:cubicBezTo>
                      <a:cubicBezTo>
                        <a:pt x="537746" y="2476458"/>
                        <a:pt x="570430" y="2625169"/>
                        <a:pt x="603930" y="2737927"/>
                      </a:cubicBezTo>
                      <a:cubicBezTo>
                        <a:pt x="637431" y="2850685"/>
                        <a:pt x="685231" y="2935662"/>
                        <a:pt x="721591" y="3010017"/>
                      </a:cubicBezTo>
                      <a:cubicBezTo>
                        <a:pt x="757952" y="3084372"/>
                        <a:pt x="786550" y="3130946"/>
                        <a:pt x="822093" y="3184057"/>
                      </a:cubicBezTo>
                      <a:cubicBezTo>
                        <a:pt x="857636" y="3237168"/>
                        <a:pt x="873161" y="3264540"/>
                        <a:pt x="934851" y="3328681"/>
                      </a:cubicBezTo>
                      <a:cubicBezTo>
                        <a:pt x="996541" y="3392823"/>
                        <a:pt x="1121147" y="3510483"/>
                        <a:pt x="1192234" y="3568905"/>
                      </a:cubicBezTo>
                      <a:cubicBezTo>
                        <a:pt x="1263320" y="3627327"/>
                        <a:pt x="1311529" y="3647346"/>
                        <a:pt x="1361371" y="3679212"/>
                      </a:cubicBezTo>
                      <a:cubicBezTo>
                        <a:pt x="1411213" y="3711079"/>
                        <a:pt x="1439811" y="3738043"/>
                        <a:pt x="1491288" y="3760104"/>
                      </a:cubicBezTo>
                      <a:cubicBezTo>
                        <a:pt x="1553386" y="3782982"/>
                        <a:pt x="1599960" y="3805044"/>
                        <a:pt x="1677584" y="3828739"/>
                      </a:cubicBezTo>
                      <a:cubicBezTo>
                        <a:pt x="1755208" y="3852435"/>
                        <a:pt x="1885941" y="3886344"/>
                        <a:pt x="1957028" y="3902277"/>
                      </a:cubicBezTo>
                      <a:cubicBezTo>
                        <a:pt x="2028115" y="3918210"/>
                        <a:pt x="2021169" y="3925564"/>
                        <a:pt x="2104104" y="3924339"/>
                      </a:cubicBezTo>
                      <a:cubicBezTo>
                        <a:pt x="2187039" y="3923113"/>
                        <a:pt x="2366389" y="3902277"/>
                        <a:pt x="2454635" y="3894923"/>
                      </a:cubicBezTo>
                      <a:cubicBezTo>
                        <a:pt x="2542880" y="3887570"/>
                        <a:pt x="2587820" y="3887570"/>
                        <a:pt x="2633577" y="3880216"/>
                      </a:cubicBezTo>
                      <a:cubicBezTo>
                        <a:pt x="2679334" y="3872862"/>
                        <a:pt x="2711316" y="3856382"/>
                        <a:pt x="2729176" y="3850801"/>
                      </a:cubicBezTo>
                      <a:cubicBezTo>
                        <a:pt x="2789144" y="3832061"/>
                        <a:pt x="2784407" y="3833121"/>
                        <a:pt x="2832129" y="3814032"/>
                      </a:cubicBezTo>
                      <a:cubicBezTo>
                        <a:pt x="2854043" y="3812206"/>
                        <a:pt x="2892186" y="3791154"/>
                        <a:pt x="2949790" y="3765006"/>
                      </a:cubicBezTo>
                      <a:cubicBezTo>
                        <a:pt x="3007394" y="3738859"/>
                        <a:pt x="3121379" y="3689426"/>
                        <a:pt x="3177758" y="3657151"/>
                      </a:cubicBezTo>
                      <a:cubicBezTo>
                        <a:pt x="3234137" y="3624876"/>
                        <a:pt x="3231685" y="3627327"/>
                        <a:pt x="3288065" y="3571357"/>
                      </a:cubicBezTo>
                      <a:cubicBezTo>
                        <a:pt x="3344444" y="3515386"/>
                        <a:pt x="3440043" y="3404671"/>
                        <a:pt x="3516032" y="3321328"/>
                      </a:cubicBezTo>
                      <a:lnTo>
                        <a:pt x="3596924" y="3233082"/>
                      </a:lnTo>
                      <a:cubicBezTo>
                        <a:pt x="3626339" y="3201216"/>
                        <a:pt x="3664334" y="3166898"/>
                        <a:pt x="3692523" y="3130129"/>
                      </a:cubicBezTo>
                      <a:cubicBezTo>
                        <a:pt x="3720713" y="3093360"/>
                        <a:pt x="3740323" y="3065170"/>
                        <a:pt x="3766061" y="3012468"/>
                      </a:cubicBezTo>
                      <a:cubicBezTo>
                        <a:pt x="3791799" y="2959767"/>
                        <a:pt x="3825300" y="2875606"/>
                        <a:pt x="3846953" y="2813916"/>
                      </a:cubicBezTo>
                      <a:cubicBezTo>
                        <a:pt x="3868606" y="2752226"/>
                        <a:pt x="3878411" y="2746506"/>
                        <a:pt x="3895978" y="2642327"/>
                      </a:cubicBezTo>
                      <a:cubicBezTo>
                        <a:pt x="3913545" y="2538149"/>
                        <a:pt x="3953582" y="2342047"/>
                        <a:pt x="3952357" y="2188844"/>
                      </a:cubicBezTo>
                      <a:cubicBezTo>
                        <a:pt x="3951132" y="2035640"/>
                        <a:pt x="3900064" y="1887338"/>
                        <a:pt x="3883722" y="1806446"/>
                      </a:cubicBezTo>
                      <a:cubicBezTo>
                        <a:pt x="3867380" y="1725555"/>
                        <a:pt x="3865338" y="1745165"/>
                        <a:pt x="3854307" y="1703493"/>
                      </a:cubicBezTo>
                      <a:cubicBezTo>
                        <a:pt x="3843276" y="1661822"/>
                        <a:pt x="3828568" y="1593186"/>
                        <a:pt x="3817538" y="1556418"/>
                      </a:cubicBezTo>
                      <a:cubicBezTo>
                        <a:pt x="3806507" y="1519649"/>
                        <a:pt x="3800379" y="1511069"/>
                        <a:pt x="3788122" y="1482880"/>
                      </a:cubicBezTo>
                      <a:cubicBezTo>
                        <a:pt x="3775866" y="1454690"/>
                        <a:pt x="3762385" y="1422824"/>
                        <a:pt x="3744000" y="1387280"/>
                      </a:cubicBezTo>
                      <a:cubicBezTo>
                        <a:pt x="3731743" y="1361542"/>
                        <a:pt x="3706414" y="1311291"/>
                        <a:pt x="3677816" y="1269620"/>
                      </a:cubicBezTo>
                      <a:cubicBezTo>
                        <a:pt x="3649217" y="1227948"/>
                        <a:pt x="3617760" y="1189954"/>
                        <a:pt x="3572411" y="1137251"/>
                      </a:cubicBezTo>
                      <a:cubicBezTo>
                        <a:pt x="3527063" y="1084550"/>
                        <a:pt x="3483757" y="1017139"/>
                        <a:pt x="3405725" y="953406"/>
                      </a:cubicBezTo>
                      <a:cubicBezTo>
                        <a:pt x="3327693" y="889674"/>
                        <a:pt x="3177758" y="800203"/>
                        <a:pt x="3104220" y="754854"/>
                      </a:cubicBezTo>
                      <a:cubicBezTo>
                        <a:pt x="3030682" y="709506"/>
                        <a:pt x="3001267" y="700926"/>
                        <a:pt x="2964498" y="681316"/>
                      </a:cubicBezTo>
                      <a:cubicBezTo>
                        <a:pt x="2927729" y="661706"/>
                        <a:pt x="2925277" y="655577"/>
                        <a:pt x="2883606" y="637193"/>
                      </a:cubicBezTo>
                      <a:cubicBezTo>
                        <a:pt x="2850514" y="623712"/>
                        <a:pt x="2780653" y="591028"/>
                        <a:pt x="2714469" y="571009"/>
                      </a:cubicBezTo>
                      <a:cubicBezTo>
                        <a:pt x="2669121" y="558345"/>
                        <a:pt x="2566167" y="528112"/>
                        <a:pt x="2486501" y="517081"/>
                      </a:cubicBezTo>
                      <a:cubicBezTo>
                        <a:pt x="2406836" y="506051"/>
                        <a:pt x="2319815" y="508911"/>
                        <a:pt x="2236472" y="504825"/>
                      </a:cubicBezTo>
                      <a:close/>
                    </a:path>
                  </a:pathLst>
                </a:custGeom>
                <a:solidFill>
                  <a:srgbClr val="FBCCD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a-DK"/>
                </a:p>
              </p:txBody>
            </p:sp>
            <p:grpSp>
              <p:nvGrpSpPr>
                <p:cNvPr id="146" name="Group 145">
                  <a:extLst>
                    <a:ext uri="{FF2B5EF4-FFF2-40B4-BE49-F238E27FC236}">
                      <a16:creationId xmlns:a16="http://schemas.microsoft.com/office/drawing/2014/main" id="{5E240899-A2FD-3B75-8A4F-099189CCFFDB}"/>
                    </a:ext>
                  </a:extLst>
                </p:cNvPr>
                <p:cNvGrpSpPr/>
                <p:nvPr/>
              </p:nvGrpSpPr>
              <p:grpSpPr>
                <a:xfrm>
                  <a:off x="7665981" y="1836050"/>
                  <a:ext cx="2140776" cy="4110172"/>
                  <a:chOff x="65219" y="1726967"/>
                  <a:chExt cx="2140776" cy="4110172"/>
                </a:xfrm>
              </p:grpSpPr>
              <p:sp>
                <p:nvSpPr>
                  <p:cNvPr id="147" name="Freeform: Shape 146">
                    <a:extLst>
                      <a:ext uri="{FF2B5EF4-FFF2-40B4-BE49-F238E27FC236}">
                        <a16:creationId xmlns:a16="http://schemas.microsoft.com/office/drawing/2014/main" id="{7EF6D8FA-B4B6-C6B0-3EA1-674106C7FE79}"/>
                      </a:ext>
                    </a:extLst>
                  </p:cNvPr>
                  <p:cNvSpPr/>
                  <p:nvPr/>
                </p:nvSpPr>
                <p:spPr>
                  <a:xfrm>
                    <a:off x="851585" y="1726967"/>
                    <a:ext cx="1354410" cy="873083"/>
                  </a:xfrm>
                  <a:custGeom>
                    <a:avLst/>
                    <a:gdLst>
                      <a:gd name="connsiteX0" fmla="*/ 1331894 w 1354410"/>
                      <a:gd name="connsiteY0" fmla="*/ 0 h 873083"/>
                      <a:gd name="connsiteX1" fmla="*/ 1354410 w 1354410"/>
                      <a:gd name="connsiteY1" fmla="*/ 791 h 873083"/>
                      <a:gd name="connsiteX2" fmla="*/ 1343830 w 1354410"/>
                      <a:gd name="connsiteY2" fmla="*/ 503350 h 873083"/>
                      <a:gd name="connsiteX3" fmla="*/ 1292000 w 1354410"/>
                      <a:gd name="connsiteY3" fmla="*/ 505867 h 873083"/>
                      <a:gd name="connsiteX4" fmla="*/ 942695 w 1354410"/>
                      <a:gd name="connsiteY4" fmla="*/ 581243 h 873083"/>
                      <a:gd name="connsiteX5" fmla="*/ 854449 w 1354410"/>
                      <a:gd name="connsiteY5" fmla="*/ 613110 h 873083"/>
                      <a:gd name="connsiteX6" fmla="*/ 577456 w 1354410"/>
                      <a:gd name="connsiteY6" fmla="*/ 735673 h 873083"/>
                      <a:gd name="connsiteX7" fmla="*/ 461787 w 1354410"/>
                      <a:gd name="connsiteY7" fmla="*/ 812735 h 873083"/>
                      <a:gd name="connsiteX8" fmla="*/ 426371 w 1354410"/>
                      <a:gd name="connsiteY8" fmla="*/ 838389 h 873083"/>
                      <a:gd name="connsiteX9" fmla="*/ 426371 w 1354410"/>
                      <a:gd name="connsiteY9" fmla="*/ 838388 h 873083"/>
                      <a:gd name="connsiteX10" fmla="*/ 378472 w 1354410"/>
                      <a:gd name="connsiteY10" fmla="*/ 873083 h 873083"/>
                      <a:gd name="connsiteX11" fmla="*/ 352490 w 1354410"/>
                      <a:gd name="connsiteY11" fmla="*/ 848865 h 873083"/>
                      <a:gd name="connsiteX12" fmla="*/ 32670 w 1354410"/>
                      <a:gd name="connsiteY12" fmla="*/ 554009 h 873083"/>
                      <a:gd name="connsiteX13" fmla="*/ 5731 w 1354410"/>
                      <a:gd name="connsiteY13" fmla="*/ 529188 h 873083"/>
                      <a:gd name="connsiteX14" fmla="*/ 0 w 1354410"/>
                      <a:gd name="connsiteY14" fmla="*/ 523895 h 873083"/>
                      <a:gd name="connsiteX15" fmla="*/ 42199 w 1354410"/>
                      <a:gd name="connsiteY15" fmla="*/ 495448 h 873083"/>
                      <a:gd name="connsiteX16" fmla="*/ 60433 w 1354410"/>
                      <a:gd name="connsiteY16" fmla="*/ 482241 h 873083"/>
                      <a:gd name="connsiteX17" fmla="*/ 60434 w 1354410"/>
                      <a:gd name="connsiteY17" fmla="*/ 482242 h 873083"/>
                      <a:gd name="connsiteX18" fmla="*/ 171779 w 1354410"/>
                      <a:gd name="connsiteY18" fmla="*/ 401588 h 873083"/>
                      <a:gd name="connsiteX19" fmla="*/ 321599 w 1354410"/>
                      <a:gd name="connsiteY19" fmla="*/ 301774 h 873083"/>
                      <a:gd name="connsiteX20" fmla="*/ 680374 w 1354410"/>
                      <a:gd name="connsiteY20" fmla="*/ 143024 h 873083"/>
                      <a:gd name="connsiteX21" fmla="*/ 794674 w 1354410"/>
                      <a:gd name="connsiteY21" fmla="*/ 101749 h 873083"/>
                      <a:gd name="connsiteX22" fmla="*/ 1331894 w 1354410"/>
                      <a:gd name="connsiteY22" fmla="*/ 0 h 873083"/>
                      <a:gd name="connsiteX0" fmla="*/ 1331894 w 1354410"/>
                      <a:gd name="connsiteY0" fmla="*/ 0 h 873083"/>
                      <a:gd name="connsiteX1" fmla="*/ 1354410 w 1354410"/>
                      <a:gd name="connsiteY1" fmla="*/ 791 h 873083"/>
                      <a:gd name="connsiteX2" fmla="*/ 1343830 w 1354410"/>
                      <a:gd name="connsiteY2" fmla="*/ 503350 h 873083"/>
                      <a:gd name="connsiteX3" fmla="*/ 1292000 w 1354410"/>
                      <a:gd name="connsiteY3" fmla="*/ 505867 h 873083"/>
                      <a:gd name="connsiteX4" fmla="*/ 942695 w 1354410"/>
                      <a:gd name="connsiteY4" fmla="*/ 581243 h 873083"/>
                      <a:gd name="connsiteX5" fmla="*/ 854449 w 1354410"/>
                      <a:gd name="connsiteY5" fmla="*/ 613110 h 873083"/>
                      <a:gd name="connsiteX6" fmla="*/ 577456 w 1354410"/>
                      <a:gd name="connsiteY6" fmla="*/ 735673 h 873083"/>
                      <a:gd name="connsiteX7" fmla="*/ 461787 w 1354410"/>
                      <a:gd name="connsiteY7" fmla="*/ 812735 h 873083"/>
                      <a:gd name="connsiteX8" fmla="*/ 426371 w 1354410"/>
                      <a:gd name="connsiteY8" fmla="*/ 838389 h 873083"/>
                      <a:gd name="connsiteX9" fmla="*/ 378472 w 1354410"/>
                      <a:gd name="connsiteY9" fmla="*/ 873083 h 873083"/>
                      <a:gd name="connsiteX10" fmla="*/ 352490 w 1354410"/>
                      <a:gd name="connsiteY10" fmla="*/ 848865 h 873083"/>
                      <a:gd name="connsiteX11" fmla="*/ 32670 w 1354410"/>
                      <a:gd name="connsiteY11" fmla="*/ 554009 h 873083"/>
                      <a:gd name="connsiteX12" fmla="*/ 5731 w 1354410"/>
                      <a:gd name="connsiteY12" fmla="*/ 529188 h 873083"/>
                      <a:gd name="connsiteX13" fmla="*/ 0 w 1354410"/>
                      <a:gd name="connsiteY13" fmla="*/ 523895 h 873083"/>
                      <a:gd name="connsiteX14" fmla="*/ 42199 w 1354410"/>
                      <a:gd name="connsiteY14" fmla="*/ 495448 h 873083"/>
                      <a:gd name="connsiteX15" fmla="*/ 60433 w 1354410"/>
                      <a:gd name="connsiteY15" fmla="*/ 482241 h 873083"/>
                      <a:gd name="connsiteX16" fmla="*/ 60434 w 1354410"/>
                      <a:gd name="connsiteY16" fmla="*/ 482242 h 873083"/>
                      <a:gd name="connsiteX17" fmla="*/ 171779 w 1354410"/>
                      <a:gd name="connsiteY17" fmla="*/ 401588 h 873083"/>
                      <a:gd name="connsiteX18" fmla="*/ 321599 w 1354410"/>
                      <a:gd name="connsiteY18" fmla="*/ 301774 h 873083"/>
                      <a:gd name="connsiteX19" fmla="*/ 680374 w 1354410"/>
                      <a:gd name="connsiteY19" fmla="*/ 143024 h 873083"/>
                      <a:gd name="connsiteX20" fmla="*/ 794674 w 1354410"/>
                      <a:gd name="connsiteY20" fmla="*/ 101749 h 873083"/>
                      <a:gd name="connsiteX21" fmla="*/ 1331894 w 1354410"/>
                      <a:gd name="connsiteY21" fmla="*/ 0 h 873083"/>
                      <a:gd name="connsiteX0" fmla="*/ 1331894 w 1354410"/>
                      <a:gd name="connsiteY0" fmla="*/ 0 h 873083"/>
                      <a:gd name="connsiteX1" fmla="*/ 1354410 w 1354410"/>
                      <a:gd name="connsiteY1" fmla="*/ 791 h 873083"/>
                      <a:gd name="connsiteX2" fmla="*/ 1343830 w 1354410"/>
                      <a:gd name="connsiteY2" fmla="*/ 503350 h 873083"/>
                      <a:gd name="connsiteX3" fmla="*/ 1292000 w 1354410"/>
                      <a:gd name="connsiteY3" fmla="*/ 505867 h 873083"/>
                      <a:gd name="connsiteX4" fmla="*/ 942695 w 1354410"/>
                      <a:gd name="connsiteY4" fmla="*/ 581243 h 873083"/>
                      <a:gd name="connsiteX5" fmla="*/ 854449 w 1354410"/>
                      <a:gd name="connsiteY5" fmla="*/ 613110 h 873083"/>
                      <a:gd name="connsiteX6" fmla="*/ 577456 w 1354410"/>
                      <a:gd name="connsiteY6" fmla="*/ 735673 h 873083"/>
                      <a:gd name="connsiteX7" fmla="*/ 461787 w 1354410"/>
                      <a:gd name="connsiteY7" fmla="*/ 812735 h 873083"/>
                      <a:gd name="connsiteX8" fmla="*/ 378472 w 1354410"/>
                      <a:gd name="connsiteY8" fmla="*/ 873083 h 873083"/>
                      <a:gd name="connsiteX9" fmla="*/ 352490 w 1354410"/>
                      <a:gd name="connsiteY9" fmla="*/ 848865 h 873083"/>
                      <a:gd name="connsiteX10" fmla="*/ 32670 w 1354410"/>
                      <a:gd name="connsiteY10" fmla="*/ 554009 h 873083"/>
                      <a:gd name="connsiteX11" fmla="*/ 5731 w 1354410"/>
                      <a:gd name="connsiteY11" fmla="*/ 529188 h 873083"/>
                      <a:gd name="connsiteX12" fmla="*/ 0 w 1354410"/>
                      <a:gd name="connsiteY12" fmla="*/ 523895 h 873083"/>
                      <a:gd name="connsiteX13" fmla="*/ 42199 w 1354410"/>
                      <a:gd name="connsiteY13" fmla="*/ 495448 h 873083"/>
                      <a:gd name="connsiteX14" fmla="*/ 60433 w 1354410"/>
                      <a:gd name="connsiteY14" fmla="*/ 482241 h 873083"/>
                      <a:gd name="connsiteX15" fmla="*/ 60434 w 1354410"/>
                      <a:gd name="connsiteY15" fmla="*/ 482242 h 873083"/>
                      <a:gd name="connsiteX16" fmla="*/ 171779 w 1354410"/>
                      <a:gd name="connsiteY16" fmla="*/ 401588 h 873083"/>
                      <a:gd name="connsiteX17" fmla="*/ 321599 w 1354410"/>
                      <a:gd name="connsiteY17" fmla="*/ 301774 h 873083"/>
                      <a:gd name="connsiteX18" fmla="*/ 680374 w 1354410"/>
                      <a:gd name="connsiteY18" fmla="*/ 143024 h 873083"/>
                      <a:gd name="connsiteX19" fmla="*/ 794674 w 1354410"/>
                      <a:gd name="connsiteY19" fmla="*/ 101749 h 873083"/>
                      <a:gd name="connsiteX20" fmla="*/ 1331894 w 1354410"/>
                      <a:gd name="connsiteY20" fmla="*/ 0 h 873083"/>
                      <a:gd name="connsiteX0" fmla="*/ 1331894 w 1354410"/>
                      <a:gd name="connsiteY0" fmla="*/ 0 h 873083"/>
                      <a:gd name="connsiteX1" fmla="*/ 1354410 w 1354410"/>
                      <a:gd name="connsiteY1" fmla="*/ 791 h 873083"/>
                      <a:gd name="connsiteX2" fmla="*/ 1343830 w 1354410"/>
                      <a:gd name="connsiteY2" fmla="*/ 503350 h 873083"/>
                      <a:gd name="connsiteX3" fmla="*/ 1292000 w 1354410"/>
                      <a:gd name="connsiteY3" fmla="*/ 505867 h 873083"/>
                      <a:gd name="connsiteX4" fmla="*/ 942695 w 1354410"/>
                      <a:gd name="connsiteY4" fmla="*/ 581243 h 873083"/>
                      <a:gd name="connsiteX5" fmla="*/ 854449 w 1354410"/>
                      <a:gd name="connsiteY5" fmla="*/ 613110 h 873083"/>
                      <a:gd name="connsiteX6" fmla="*/ 577456 w 1354410"/>
                      <a:gd name="connsiteY6" fmla="*/ 735673 h 873083"/>
                      <a:gd name="connsiteX7" fmla="*/ 461787 w 1354410"/>
                      <a:gd name="connsiteY7" fmla="*/ 812735 h 873083"/>
                      <a:gd name="connsiteX8" fmla="*/ 378472 w 1354410"/>
                      <a:gd name="connsiteY8" fmla="*/ 873083 h 873083"/>
                      <a:gd name="connsiteX9" fmla="*/ 352490 w 1354410"/>
                      <a:gd name="connsiteY9" fmla="*/ 848865 h 873083"/>
                      <a:gd name="connsiteX10" fmla="*/ 32670 w 1354410"/>
                      <a:gd name="connsiteY10" fmla="*/ 554009 h 873083"/>
                      <a:gd name="connsiteX11" fmla="*/ 5731 w 1354410"/>
                      <a:gd name="connsiteY11" fmla="*/ 529188 h 873083"/>
                      <a:gd name="connsiteX12" fmla="*/ 0 w 1354410"/>
                      <a:gd name="connsiteY12" fmla="*/ 523895 h 873083"/>
                      <a:gd name="connsiteX13" fmla="*/ 42199 w 1354410"/>
                      <a:gd name="connsiteY13" fmla="*/ 495448 h 873083"/>
                      <a:gd name="connsiteX14" fmla="*/ 60433 w 1354410"/>
                      <a:gd name="connsiteY14" fmla="*/ 482241 h 873083"/>
                      <a:gd name="connsiteX15" fmla="*/ 171779 w 1354410"/>
                      <a:gd name="connsiteY15" fmla="*/ 401588 h 873083"/>
                      <a:gd name="connsiteX16" fmla="*/ 321599 w 1354410"/>
                      <a:gd name="connsiteY16" fmla="*/ 301774 h 873083"/>
                      <a:gd name="connsiteX17" fmla="*/ 680374 w 1354410"/>
                      <a:gd name="connsiteY17" fmla="*/ 143024 h 873083"/>
                      <a:gd name="connsiteX18" fmla="*/ 794674 w 1354410"/>
                      <a:gd name="connsiteY18" fmla="*/ 101749 h 873083"/>
                      <a:gd name="connsiteX19" fmla="*/ 1331894 w 1354410"/>
                      <a:gd name="connsiteY19" fmla="*/ 0 h 873083"/>
                      <a:gd name="connsiteX0" fmla="*/ 1331894 w 1354410"/>
                      <a:gd name="connsiteY0" fmla="*/ 0 h 873083"/>
                      <a:gd name="connsiteX1" fmla="*/ 1354410 w 1354410"/>
                      <a:gd name="connsiteY1" fmla="*/ 791 h 873083"/>
                      <a:gd name="connsiteX2" fmla="*/ 1343830 w 1354410"/>
                      <a:gd name="connsiteY2" fmla="*/ 503350 h 873083"/>
                      <a:gd name="connsiteX3" fmla="*/ 1292000 w 1354410"/>
                      <a:gd name="connsiteY3" fmla="*/ 505867 h 873083"/>
                      <a:gd name="connsiteX4" fmla="*/ 942695 w 1354410"/>
                      <a:gd name="connsiteY4" fmla="*/ 581243 h 873083"/>
                      <a:gd name="connsiteX5" fmla="*/ 854449 w 1354410"/>
                      <a:gd name="connsiteY5" fmla="*/ 613110 h 873083"/>
                      <a:gd name="connsiteX6" fmla="*/ 577456 w 1354410"/>
                      <a:gd name="connsiteY6" fmla="*/ 735673 h 873083"/>
                      <a:gd name="connsiteX7" fmla="*/ 461787 w 1354410"/>
                      <a:gd name="connsiteY7" fmla="*/ 812735 h 873083"/>
                      <a:gd name="connsiteX8" fmla="*/ 378472 w 1354410"/>
                      <a:gd name="connsiteY8" fmla="*/ 873083 h 873083"/>
                      <a:gd name="connsiteX9" fmla="*/ 352490 w 1354410"/>
                      <a:gd name="connsiteY9" fmla="*/ 848865 h 873083"/>
                      <a:gd name="connsiteX10" fmla="*/ 32670 w 1354410"/>
                      <a:gd name="connsiteY10" fmla="*/ 554009 h 873083"/>
                      <a:gd name="connsiteX11" fmla="*/ 5731 w 1354410"/>
                      <a:gd name="connsiteY11" fmla="*/ 529188 h 873083"/>
                      <a:gd name="connsiteX12" fmla="*/ 0 w 1354410"/>
                      <a:gd name="connsiteY12" fmla="*/ 523895 h 873083"/>
                      <a:gd name="connsiteX13" fmla="*/ 42199 w 1354410"/>
                      <a:gd name="connsiteY13" fmla="*/ 495448 h 873083"/>
                      <a:gd name="connsiteX14" fmla="*/ 171779 w 1354410"/>
                      <a:gd name="connsiteY14" fmla="*/ 401588 h 873083"/>
                      <a:gd name="connsiteX15" fmla="*/ 321599 w 1354410"/>
                      <a:gd name="connsiteY15" fmla="*/ 301774 h 873083"/>
                      <a:gd name="connsiteX16" fmla="*/ 680374 w 1354410"/>
                      <a:gd name="connsiteY16" fmla="*/ 143024 h 873083"/>
                      <a:gd name="connsiteX17" fmla="*/ 794674 w 1354410"/>
                      <a:gd name="connsiteY17" fmla="*/ 101749 h 873083"/>
                      <a:gd name="connsiteX18" fmla="*/ 1331894 w 1354410"/>
                      <a:gd name="connsiteY18" fmla="*/ 0 h 8730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</a:cxnLst>
                    <a:rect l="l" t="t" r="r" b="b"/>
                    <a:pathLst>
                      <a:path w="1354410" h="873083">
                        <a:moveTo>
                          <a:pt x="1331894" y="0"/>
                        </a:moveTo>
                        <a:lnTo>
                          <a:pt x="1354410" y="791"/>
                        </a:lnTo>
                        <a:lnTo>
                          <a:pt x="1343830" y="503350"/>
                        </a:lnTo>
                        <a:lnTo>
                          <a:pt x="1292000" y="505867"/>
                        </a:lnTo>
                        <a:cubicBezTo>
                          <a:pt x="1167292" y="517205"/>
                          <a:pt x="1075675" y="556118"/>
                          <a:pt x="942695" y="581243"/>
                        </a:cubicBezTo>
                        <a:cubicBezTo>
                          <a:pt x="846687" y="599219"/>
                          <a:pt x="915322" y="587372"/>
                          <a:pt x="854449" y="613110"/>
                        </a:cubicBezTo>
                        <a:cubicBezTo>
                          <a:pt x="793576" y="638848"/>
                          <a:pt x="659574" y="690325"/>
                          <a:pt x="577456" y="735673"/>
                        </a:cubicBezTo>
                        <a:cubicBezTo>
                          <a:pt x="534968" y="762229"/>
                          <a:pt x="497075" y="787865"/>
                          <a:pt x="461787" y="812735"/>
                        </a:cubicBezTo>
                        <a:lnTo>
                          <a:pt x="378472" y="873083"/>
                        </a:lnTo>
                        <a:lnTo>
                          <a:pt x="352490" y="848865"/>
                        </a:lnTo>
                        <a:lnTo>
                          <a:pt x="32670" y="554009"/>
                        </a:lnTo>
                        <a:lnTo>
                          <a:pt x="5731" y="529188"/>
                        </a:lnTo>
                        <a:lnTo>
                          <a:pt x="0" y="523895"/>
                        </a:lnTo>
                        <a:lnTo>
                          <a:pt x="42199" y="495448"/>
                        </a:lnTo>
                        <a:lnTo>
                          <a:pt x="171779" y="401588"/>
                        </a:lnTo>
                        <a:cubicBezTo>
                          <a:pt x="217485" y="369375"/>
                          <a:pt x="266566" y="336170"/>
                          <a:pt x="321599" y="301774"/>
                        </a:cubicBezTo>
                        <a:cubicBezTo>
                          <a:pt x="427962" y="243037"/>
                          <a:pt x="601528" y="176361"/>
                          <a:pt x="680374" y="143024"/>
                        </a:cubicBezTo>
                        <a:cubicBezTo>
                          <a:pt x="759220" y="109687"/>
                          <a:pt x="670320" y="125032"/>
                          <a:pt x="794674" y="101749"/>
                        </a:cubicBezTo>
                        <a:cubicBezTo>
                          <a:pt x="995625" y="63781"/>
                          <a:pt x="1123651" y="1505"/>
                          <a:pt x="1331894" y="0"/>
                        </a:cubicBezTo>
                        <a:close/>
                      </a:path>
                    </a:pathLst>
                  </a:custGeom>
                  <a:solidFill>
                    <a:srgbClr val="97A2BB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8" name="Freeform: Shape 147">
                    <a:extLst>
                      <a:ext uri="{FF2B5EF4-FFF2-40B4-BE49-F238E27FC236}">
                        <a16:creationId xmlns:a16="http://schemas.microsoft.com/office/drawing/2014/main" id="{147C750B-F0C6-A910-0AD5-E26D95358D21}"/>
                      </a:ext>
                    </a:extLst>
                  </p:cNvPr>
                  <p:cNvSpPr/>
                  <p:nvPr/>
                </p:nvSpPr>
                <p:spPr>
                  <a:xfrm>
                    <a:off x="163893" y="2250862"/>
                    <a:ext cx="1066165" cy="1169735"/>
                  </a:xfrm>
                  <a:custGeom>
                    <a:avLst/>
                    <a:gdLst>
                      <a:gd name="connsiteX0" fmla="*/ 17217 w 1066165"/>
                      <a:gd name="connsiteY0" fmla="*/ 986623 h 1169735"/>
                      <a:gd name="connsiteX1" fmla="*/ 66683 w 1066165"/>
                      <a:gd name="connsiteY1" fmla="*/ 996400 h 1169735"/>
                      <a:gd name="connsiteX2" fmla="*/ 398815 w 1066165"/>
                      <a:gd name="connsiteY2" fmla="*/ 1044997 h 1169735"/>
                      <a:gd name="connsiteX3" fmla="*/ 428960 w 1066165"/>
                      <a:gd name="connsiteY3" fmla="*/ 1055046 h 1169735"/>
                      <a:gd name="connsiteX4" fmla="*/ 504732 w 1066165"/>
                      <a:gd name="connsiteY4" fmla="*/ 1084072 h 1169735"/>
                      <a:gd name="connsiteX5" fmla="*/ 517606 w 1066165"/>
                      <a:gd name="connsiteY5" fmla="*/ 1089442 h 1169735"/>
                      <a:gd name="connsiteX6" fmla="*/ 491799 w 1066165"/>
                      <a:gd name="connsiteY6" fmla="*/ 1167396 h 1169735"/>
                      <a:gd name="connsiteX7" fmla="*/ 483136 w 1066165"/>
                      <a:gd name="connsiteY7" fmla="*/ 1164813 h 1169735"/>
                      <a:gd name="connsiteX8" fmla="*/ 451515 w 1066165"/>
                      <a:gd name="connsiteY8" fmla="*/ 1166825 h 1169735"/>
                      <a:gd name="connsiteX9" fmla="*/ 457654 w 1066165"/>
                      <a:gd name="connsiteY9" fmla="*/ 1169735 h 1169735"/>
                      <a:gd name="connsiteX10" fmla="*/ 442247 w 1066165"/>
                      <a:gd name="connsiteY10" fmla="*/ 1162916 h 1169735"/>
                      <a:gd name="connsiteX11" fmla="*/ 378718 w 1066165"/>
                      <a:gd name="connsiteY11" fmla="*/ 1135433 h 1169735"/>
                      <a:gd name="connsiteX12" fmla="*/ 117461 w 1066165"/>
                      <a:gd name="connsiteY12" fmla="*/ 1065094 h 1169735"/>
                      <a:gd name="connsiteX13" fmla="*/ 16977 w 1066165"/>
                      <a:gd name="connsiteY13" fmla="*/ 1044997 h 1169735"/>
                      <a:gd name="connsiteX14" fmla="*/ 0 w 1066165"/>
                      <a:gd name="connsiteY14" fmla="*/ 1038631 h 1169735"/>
                      <a:gd name="connsiteX15" fmla="*/ 687693 w 1066165"/>
                      <a:gd name="connsiteY15" fmla="*/ 0 h 1169735"/>
                      <a:gd name="connsiteX16" fmla="*/ 693424 w 1066165"/>
                      <a:gd name="connsiteY16" fmla="*/ 5293 h 1169735"/>
                      <a:gd name="connsiteX17" fmla="*/ 720363 w 1066165"/>
                      <a:gd name="connsiteY17" fmla="*/ 30114 h 1169735"/>
                      <a:gd name="connsiteX18" fmla="*/ 1040183 w 1066165"/>
                      <a:gd name="connsiteY18" fmla="*/ 324970 h 1169735"/>
                      <a:gd name="connsiteX19" fmla="*/ 1066165 w 1066165"/>
                      <a:gd name="connsiteY19" fmla="*/ 349188 h 1169735"/>
                      <a:gd name="connsiteX20" fmla="*/ 1049438 w 1066165"/>
                      <a:gd name="connsiteY20" fmla="*/ 361304 h 1169735"/>
                      <a:gd name="connsiteX21" fmla="*/ 880301 w 1066165"/>
                      <a:gd name="connsiteY21" fmla="*/ 493672 h 1169735"/>
                      <a:gd name="connsiteX22" fmla="*/ 632723 w 1066165"/>
                      <a:gd name="connsiteY22" fmla="*/ 831947 h 1169735"/>
                      <a:gd name="connsiteX23" fmla="*/ 551831 w 1066165"/>
                      <a:gd name="connsiteY23" fmla="*/ 991279 h 1169735"/>
                      <a:gd name="connsiteX24" fmla="*/ 520865 w 1066165"/>
                      <a:gd name="connsiteY24" fmla="*/ 1079601 h 1169735"/>
                      <a:gd name="connsiteX25" fmla="*/ 517607 w 1066165"/>
                      <a:gd name="connsiteY25" fmla="*/ 1089442 h 1169735"/>
                      <a:gd name="connsiteX26" fmla="*/ 504733 w 1066165"/>
                      <a:gd name="connsiteY26" fmla="*/ 1084072 h 1169735"/>
                      <a:gd name="connsiteX27" fmla="*/ 428961 w 1066165"/>
                      <a:gd name="connsiteY27" fmla="*/ 1055046 h 1169735"/>
                      <a:gd name="connsiteX28" fmla="*/ 398816 w 1066165"/>
                      <a:gd name="connsiteY28" fmla="*/ 1044997 h 1169735"/>
                      <a:gd name="connsiteX29" fmla="*/ 66684 w 1066165"/>
                      <a:gd name="connsiteY29" fmla="*/ 996400 h 1169735"/>
                      <a:gd name="connsiteX30" fmla="*/ 17218 w 1066165"/>
                      <a:gd name="connsiteY30" fmla="*/ 986623 h 1169735"/>
                      <a:gd name="connsiteX31" fmla="*/ 45258 w 1066165"/>
                      <a:gd name="connsiteY31" fmla="*/ 901927 h 1169735"/>
                      <a:gd name="connsiteX32" fmla="*/ 85367 w 1066165"/>
                      <a:gd name="connsiteY32" fmla="*/ 787528 h 1169735"/>
                      <a:gd name="connsiteX33" fmla="*/ 190142 w 1066165"/>
                      <a:gd name="connsiteY33" fmla="*/ 581153 h 1169735"/>
                      <a:gd name="connsiteX34" fmla="*/ 510817 w 1066165"/>
                      <a:gd name="connsiteY34" fmla="*/ 143003 h 1169735"/>
                      <a:gd name="connsiteX35" fmla="*/ 673263 w 1066165"/>
                      <a:gd name="connsiteY35" fmla="*/ 9727 h 116973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</a:cxnLst>
                    <a:rect l="l" t="t" r="r" b="b"/>
                    <a:pathLst>
                      <a:path w="1066165" h="1169735">
                        <a:moveTo>
                          <a:pt x="17217" y="986623"/>
                        </a:moveTo>
                        <a:lnTo>
                          <a:pt x="66683" y="996400"/>
                        </a:lnTo>
                        <a:cubicBezTo>
                          <a:pt x="179228" y="1015640"/>
                          <a:pt x="297052" y="1028495"/>
                          <a:pt x="398815" y="1044997"/>
                        </a:cubicBezTo>
                        <a:cubicBezTo>
                          <a:pt x="409270" y="1046692"/>
                          <a:pt x="418912" y="1051696"/>
                          <a:pt x="428960" y="1055046"/>
                        </a:cubicBezTo>
                        <a:cubicBezTo>
                          <a:pt x="454628" y="1063603"/>
                          <a:pt x="479748" y="1073651"/>
                          <a:pt x="504732" y="1084072"/>
                        </a:cubicBezTo>
                        <a:lnTo>
                          <a:pt x="517606" y="1089442"/>
                        </a:lnTo>
                        <a:lnTo>
                          <a:pt x="491799" y="1167396"/>
                        </a:lnTo>
                        <a:lnTo>
                          <a:pt x="483136" y="1164813"/>
                        </a:lnTo>
                        <a:cubicBezTo>
                          <a:pt x="412152" y="1144524"/>
                          <a:pt x="432147" y="1157116"/>
                          <a:pt x="451515" y="1166825"/>
                        </a:cubicBezTo>
                        <a:lnTo>
                          <a:pt x="457654" y="1169735"/>
                        </a:lnTo>
                        <a:lnTo>
                          <a:pt x="442247" y="1162916"/>
                        </a:lnTo>
                        <a:cubicBezTo>
                          <a:pt x="428244" y="1156771"/>
                          <a:pt x="407780" y="1147888"/>
                          <a:pt x="378718" y="1135433"/>
                        </a:cubicBezTo>
                        <a:cubicBezTo>
                          <a:pt x="144539" y="1092854"/>
                          <a:pt x="404887" y="1145574"/>
                          <a:pt x="117461" y="1065094"/>
                        </a:cubicBezTo>
                        <a:cubicBezTo>
                          <a:pt x="84568" y="1055884"/>
                          <a:pt x="49889" y="1054139"/>
                          <a:pt x="16977" y="1044997"/>
                        </a:cubicBezTo>
                        <a:lnTo>
                          <a:pt x="0" y="1038631"/>
                        </a:lnTo>
                        <a:close/>
                        <a:moveTo>
                          <a:pt x="687693" y="0"/>
                        </a:moveTo>
                        <a:lnTo>
                          <a:pt x="693424" y="5293"/>
                        </a:lnTo>
                        <a:cubicBezTo>
                          <a:pt x="701017" y="12300"/>
                          <a:pt x="709896" y="20485"/>
                          <a:pt x="720363" y="30114"/>
                        </a:cubicBezTo>
                        <a:cubicBezTo>
                          <a:pt x="783165" y="87892"/>
                          <a:pt x="936402" y="228569"/>
                          <a:pt x="1040183" y="324970"/>
                        </a:cubicBezTo>
                        <a:lnTo>
                          <a:pt x="1066165" y="349188"/>
                        </a:lnTo>
                        <a:lnTo>
                          <a:pt x="1049438" y="361304"/>
                        </a:lnTo>
                        <a:cubicBezTo>
                          <a:pt x="985297" y="408287"/>
                          <a:pt x="949753" y="415232"/>
                          <a:pt x="880301" y="493672"/>
                        </a:cubicBezTo>
                        <a:cubicBezTo>
                          <a:pt x="810849" y="572113"/>
                          <a:pt x="687468" y="749012"/>
                          <a:pt x="632723" y="831947"/>
                        </a:cubicBezTo>
                        <a:cubicBezTo>
                          <a:pt x="577978" y="914881"/>
                          <a:pt x="586149" y="894045"/>
                          <a:pt x="551831" y="991279"/>
                        </a:cubicBezTo>
                        <a:cubicBezTo>
                          <a:pt x="543252" y="1015588"/>
                          <a:pt x="532502" y="1045820"/>
                          <a:pt x="520865" y="1079601"/>
                        </a:cubicBezTo>
                        <a:lnTo>
                          <a:pt x="517607" y="1089442"/>
                        </a:lnTo>
                        <a:lnTo>
                          <a:pt x="504733" y="1084072"/>
                        </a:lnTo>
                        <a:cubicBezTo>
                          <a:pt x="479749" y="1073651"/>
                          <a:pt x="454629" y="1063603"/>
                          <a:pt x="428961" y="1055046"/>
                        </a:cubicBezTo>
                        <a:cubicBezTo>
                          <a:pt x="418913" y="1051696"/>
                          <a:pt x="409271" y="1046692"/>
                          <a:pt x="398816" y="1044997"/>
                        </a:cubicBezTo>
                        <a:cubicBezTo>
                          <a:pt x="297053" y="1028495"/>
                          <a:pt x="179229" y="1015640"/>
                          <a:pt x="66684" y="996400"/>
                        </a:cubicBezTo>
                        <a:lnTo>
                          <a:pt x="17218" y="986623"/>
                        </a:lnTo>
                        <a:lnTo>
                          <a:pt x="45258" y="901927"/>
                        </a:lnTo>
                        <a:cubicBezTo>
                          <a:pt x="60331" y="858172"/>
                          <a:pt x="74255" y="819014"/>
                          <a:pt x="85367" y="787528"/>
                        </a:cubicBezTo>
                        <a:cubicBezTo>
                          <a:pt x="129817" y="661586"/>
                          <a:pt x="119234" y="688574"/>
                          <a:pt x="190142" y="581153"/>
                        </a:cubicBezTo>
                        <a:cubicBezTo>
                          <a:pt x="261050" y="473732"/>
                          <a:pt x="420859" y="244603"/>
                          <a:pt x="510817" y="143003"/>
                        </a:cubicBezTo>
                        <a:cubicBezTo>
                          <a:pt x="578286" y="66803"/>
                          <a:pt x="621049" y="42693"/>
                          <a:pt x="673263" y="9727"/>
                        </a:cubicBezTo>
                        <a:close/>
                      </a:path>
                    </a:pathLst>
                  </a:custGeom>
                  <a:solidFill>
                    <a:schemeClr val="accent2">
                      <a:lumMod val="20000"/>
                      <a:lumOff val="8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49" name="Freeform: Shape 148">
                    <a:extLst>
                      <a:ext uri="{FF2B5EF4-FFF2-40B4-BE49-F238E27FC236}">
                        <a16:creationId xmlns:a16="http://schemas.microsoft.com/office/drawing/2014/main" id="{8F58A8BA-00F7-269C-A64E-8C72A3FE3C0A}"/>
                      </a:ext>
                    </a:extLst>
                  </p:cNvPr>
                  <p:cNvSpPr/>
                  <p:nvPr/>
                </p:nvSpPr>
                <p:spPr>
                  <a:xfrm>
                    <a:off x="65219" y="3289493"/>
                    <a:ext cx="1437472" cy="2547646"/>
                  </a:xfrm>
                  <a:custGeom>
                    <a:avLst/>
                    <a:gdLst>
                      <a:gd name="connsiteX0" fmla="*/ 98674 w 1437472"/>
                      <a:gd name="connsiteY0" fmla="*/ 0 h 2547646"/>
                      <a:gd name="connsiteX1" fmla="*/ 115651 w 1437472"/>
                      <a:gd name="connsiteY1" fmla="*/ 6366 h 2547646"/>
                      <a:gd name="connsiteX2" fmla="*/ 216135 w 1437472"/>
                      <a:gd name="connsiteY2" fmla="*/ 26463 h 2547646"/>
                      <a:gd name="connsiteX3" fmla="*/ 477392 w 1437472"/>
                      <a:gd name="connsiteY3" fmla="*/ 96802 h 2547646"/>
                      <a:gd name="connsiteX4" fmla="*/ 540921 w 1437472"/>
                      <a:gd name="connsiteY4" fmla="*/ 124285 h 2547646"/>
                      <a:gd name="connsiteX5" fmla="*/ 556328 w 1437472"/>
                      <a:gd name="connsiteY5" fmla="*/ 131104 h 2547646"/>
                      <a:gd name="connsiteX6" fmla="*/ 564499 w 1437472"/>
                      <a:gd name="connsiteY6" fmla="*/ 134976 h 2547646"/>
                      <a:gd name="connsiteX7" fmla="*/ 557346 w 1437472"/>
                      <a:gd name="connsiteY7" fmla="*/ 131554 h 2547646"/>
                      <a:gd name="connsiteX8" fmla="*/ 556328 w 1437472"/>
                      <a:gd name="connsiteY8" fmla="*/ 131104 h 2547646"/>
                      <a:gd name="connsiteX9" fmla="*/ 550189 w 1437472"/>
                      <a:gd name="connsiteY9" fmla="*/ 128194 h 2547646"/>
                      <a:gd name="connsiteX10" fmla="*/ 581810 w 1437472"/>
                      <a:gd name="connsiteY10" fmla="*/ 126182 h 2547646"/>
                      <a:gd name="connsiteX11" fmla="*/ 590473 w 1437472"/>
                      <a:gd name="connsiteY11" fmla="*/ 128765 h 2547646"/>
                      <a:gd name="connsiteX12" fmla="*/ 583248 w 1437472"/>
                      <a:gd name="connsiteY12" fmla="*/ 150588 h 2547646"/>
                      <a:gd name="connsiteX13" fmla="*/ 525490 w 1437472"/>
                      <a:gd name="connsiteY13" fmla="*/ 376717 h 2547646"/>
                      <a:gd name="connsiteX14" fmla="*/ 520587 w 1437472"/>
                      <a:gd name="connsiteY14" fmla="*/ 761565 h 2547646"/>
                      <a:gd name="connsiteX15" fmla="*/ 603930 w 1437472"/>
                      <a:gd name="connsiteY15" fmla="*/ 1166024 h 2547646"/>
                      <a:gd name="connsiteX16" fmla="*/ 721591 w 1437472"/>
                      <a:gd name="connsiteY16" fmla="*/ 1438114 h 2547646"/>
                      <a:gd name="connsiteX17" fmla="*/ 822093 w 1437472"/>
                      <a:gd name="connsiteY17" fmla="*/ 1612154 h 2547646"/>
                      <a:gd name="connsiteX18" fmla="*/ 934851 w 1437472"/>
                      <a:gd name="connsiteY18" fmla="*/ 1756778 h 2547646"/>
                      <a:gd name="connsiteX19" fmla="*/ 1192234 w 1437472"/>
                      <a:gd name="connsiteY19" fmla="*/ 1997002 h 2547646"/>
                      <a:gd name="connsiteX20" fmla="*/ 1361371 w 1437472"/>
                      <a:gd name="connsiteY20" fmla="*/ 2107309 h 2547646"/>
                      <a:gd name="connsiteX21" fmla="*/ 1425716 w 1437472"/>
                      <a:gd name="connsiteY21" fmla="*/ 2151432 h 2547646"/>
                      <a:gd name="connsiteX22" fmla="*/ 1437472 w 1437472"/>
                      <a:gd name="connsiteY22" fmla="*/ 2158857 h 2547646"/>
                      <a:gd name="connsiteX23" fmla="*/ 1331502 w 1437472"/>
                      <a:gd name="connsiteY23" fmla="*/ 2277294 h 2547646"/>
                      <a:gd name="connsiteX24" fmla="*/ 1281260 w 1437472"/>
                      <a:gd name="connsiteY24" fmla="*/ 2327536 h 2547646"/>
                      <a:gd name="connsiteX25" fmla="*/ 1200873 w 1437472"/>
                      <a:gd name="connsiteY25" fmla="*/ 2438067 h 2547646"/>
                      <a:gd name="connsiteX26" fmla="*/ 1118601 w 1437472"/>
                      <a:gd name="connsiteY26" fmla="*/ 2545233 h 2547646"/>
                      <a:gd name="connsiteX27" fmla="*/ 1116543 w 1437472"/>
                      <a:gd name="connsiteY27" fmla="*/ 2547646 h 2547646"/>
                      <a:gd name="connsiteX28" fmla="*/ 1104790 w 1437472"/>
                      <a:gd name="connsiteY28" fmla="*/ 2539722 h 2547646"/>
                      <a:gd name="connsiteX29" fmla="*/ 885715 w 1437472"/>
                      <a:gd name="connsiteY29" fmla="*/ 2396847 h 2547646"/>
                      <a:gd name="connsiteX30" fmla="*/ 552340 w 1437472"/>
                      <a:gd name="connsiteY30" fmla="*/ 2085697 h 2547646"/>
                      <a:gd name="connsiteX31" fmla="*/ 406290 w 1437472"/>
                      <a:gd name="connsiteY31" fmla="*/ 1898372 h 2547646"/>
                      <a:gd name="connsiteX32" fmla="*/ 276115 w 1437472"/>
                      <a:gd name="connsiteY32" fmla="*/ 1672947 h 2547646"/>
                      <a:gd name="connsiteX33" fmla="*/ 123715 w 1437472"/>
                      <a:gd name="connsiteY33" fmla="*/ 1320522 h 2547646"/>
                      <a:gd name="connsiteX34" fmla="*/ 15765 w 1437472"/>
                      <a:gd name="connsiteY34" fmla="*/ 796647 h 2547646"/>
                      <a:gd name="connsiteX35" fmla="*/ 22115 w 1437472"/>
                      <a:gd name="connsiteY35" fmla="*/ 298172 h 2547646"/>
                      <a:gd name="connsiteX36" fmla="*/ 96926 w 1437472"/>
                      <a:gd name="connsiteY36" fmla="*/ 5278 h 2547646"/>
                      <a:gd name="connsiteX37" fmla="*/ 98674 w 1437472"/>
                      <a:gd name="connsiteY37" fmla="*/ 0 h 254764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</a:cxnLst>
                    <a:rect l="l" t="t" r="r" b="b"/>
                    <a:pathLst>
                      <a:path w="1437472" h="2547646">
                        <a:moveTo>
                          <a:pt x="98674" y="0"/>
                        </a:moveTo>
                        <a:lnTo>
                          <a:pt x="115651" y="6366"/>
                        </a:lnTo>
                        <a:cubicBezTo>
                          <a:pt x="148563" y="15508"/>
                          <a:pt x="183242" y="17253"/>
                          <a:pt x="216135" y="26463"/>
                        </a:cubicBezTo>
                        <a:cubicBezTo>
                          <a:pt x="503561" y="106943"/>
                          <a:pt x="243213" y="54223"/>
                          <a:pt x="477392" y="96802"/>
                        </a:cubicBezTo>
                        <a:cubicBezTo>
                          <a:pt x="506454" y="109257"/>
                          <a:pt x="526918" y="118140"/>
                          <a:pt x="540921" y="124285"/>
                        </a:cubicBezTo>
                        <a:lnTo>
                          <a:pt x="556328" y="131104"/>
                        </a:lnTo>
                        <a:lnTo>
                          <a:pt x="564499" y="134976"/>
                        </a:lnTo>
                        <a:cubicBezTo>
                          <a:pt x="569441" y="137181"/>
                          <a:pt x="569461" y="136978"/>
                          <a:pt x="557346" y="131554"/>
                        </a:cubicBezTo>
                        <a:lnTo>
                          <a:pt x="556328" y="131104"/>
                        </a:lnTo>
                        <a:lnTo>
                          <a:pt x="550189" y="128194"/>
                        </a:lnTo>
                        <a:cubicBezTo>
                          <a:pt x="530821" y="118485"/>
                          <a:pt x="510826" y="105893"/>
                          <a:pt x="581810" y="126182"/>
                        </a:cubicBezTo>
                        <a:lnTo>
                          <a:pt x="590473" y="128765"/>
                        </a:lnTo>
                        <a:lnTo>
                          <a:pt x="583248" y="150588"/>
                        </a:lnTo>
                        <a:cubicBezTo>
                          <a:pt x="558991" y="227598"/>
                          <a:pt x="536317" y="309307"/>
                          <a:pt x="525490" y="376717"/>
                        </a:cubicBezTo>
                        <a:cubicBezTo>
                          <a:pt x="503837" y="511536"/>
                          <a:pt x="503429" y="618575"/>
                          <a:pt x="520587" y="761565"/>
                        </a:cubicBezTo>
                        <a:cubicBezTo>
                          <a:pt x="537746" y="904555"/>
                          <a:pt x="570430" y="1053266"/>
                          <a:pt x="603930" y="1166024"/>
                        </a:cubicBezTo>
                        <a:cubicBezTo>
                          <a:pt x="637431" y="1278782"/>
                          <a:pt x="685231" y="1363759"/>
                          <a:pt x="721591" y="1438114"/>
                        </a:cubicBezTo>
                        <a:cubicBezTo>
                          <a:pt x="757952" y="1512469"/>
                          <a:pt x="786550" y="1559043"/>
                          <a:pt x="822093" y="1612154"/>
                        </a:cubicBezTo>
                        <a:cubicBezTo>
                          <a:pt x="857636" y="1665265"/>
                          <a:pt x="873161" y="1692637"/>
                          <a:pt x="934851" y="1756778"/>
                        </a:cubicBezTo>
                        <a:cubicBezTo>
                          <a:pt x="996541" y="1820920"/>
                          <a:pt x="1121147" y="1938580"/>
                          <a:pt x="1192234" y="1997002"/>
                        </a:cubicBezTo>
                        <a:cubicBezTo>
                          <a:pt x="1263320" y="2055424"/>
                          <a:pt x="1311529" y="2075443"/>
                          <a:pt x="1361371" y="2107309"/>
                        </a:cubicBezTo>
                        <a:cubicBezTo>
                          <a:pt x="1386292" y="2123243"/>
                          <a:pt x="1405902" y="2137950"/>
                          <a:pt x="1425716" y="2151432"/>
                        </a:cubicBezTo>
                        <a:lnTo>
                          <a:pt x="1437472" y="2158857"/>
                        </a:lnTo>
                        <a:lnTo>
                          <a:pt x="1331502" y="2277294"/>
                        </a:lnTo>
                        <a:cubicBezTo>
                          <a:pt x="1315498" y="2294753"/>
                          <a:pt x="1296195" y="2309154"/>
                          <a:pt x="1281260" y="2327536"/>
                        </a:cubicBezTo>
                        <a:cubicBezTo>
                          <a:pt x="1252532" y="2362894"/>
                          <a:pt x="1227669" y="2401223"/>
                          <a:pt x="1200873" y="2438067"/>
                        </a:cubicBezTo>
                        <a:cubicBezTo>
                          <a:pt x="1169005" y="2481885"/>
                          <a:pt x="1141826" y="2516987"/>
                          <a:pt x="1118601" y="2545233"/>
                        </a:cubicBezTo>
                        <a:lnTo>
                          <a:pt x="1116543" y="2547646"/>
                        </a:lnTo>
                        <a:lnTo>
                          <a:pt x="1104790" y="2539722"/>
                        </a:lnTo>
                        <a:cubicBezTo>
                          <a:pt x="1040232" y="2498447"/>
                          <a:pt x="977790" y="2472518"/>
                          <a:pt x="885715" y="2396847"/>
                        </a:cubicBezTo>
                        <a:cubicBezTo>
                          <a:pt x="793640" y="2321176"/>
                          <a:pt x="632244" y="2168776"/>
                          <a:pt x="552340" y="2085697"/>
                        </a:cubicBezTo>
                        <a:cubicBezTo>
                          <a:pt x="472436" y="2002618"/>
                          <a:pt x="452327" y="1967164"/>
                          <a:pt x="406290" y="1898372"/>
                        </a:cubicBezTo>
                        <a:cubicBezTo>
                          <a:pt x="360253" y="1829580"/>
                          <a:pt x="323211" y="1769255"/>
                          <a:pt x="276115" y="1672947"/>
                        </a:cubicBezTo>
                        <a:cubicBezTo>
                          <a:pt x="229019" y="1576639"/>
                          <a:pt x="167107" y="1466572"/>
                          <a:pt x="123715" y="1320522"/>
                        </a:cubicBezTo>
                        <a:cubicBezTo>
                          <a:pt x="80323" y="1174472"/>
                          <a:pt x="37990" y="981855"/>
                          <a:pt x="15765" y="796647"/>
                        </a:cubicBezTo>
                        <a:cubicBezTo>
                          <a:pt x="-6460" y="611439"/>
                          <a:pt x="-5931" y="472797"/>
                          <a:pt x="22115" y="298172"/>
                        </a:cubicBezTo>
                        <a:cubicBezTo>
                          <a:pt x="36138" y="210860"/>
                          <a:pt x="65507" y="105026"/>
                          <a:pt x="96926" y="5278"/>
                        </a:cubicBezTo>
                        <a:lnTo>
                          <a:pt x="98674" y="0"/>
                        </a:lnTo>
                        <a:close/>
                      </a:path>
                    </a:pathLst>
                  </a:custGeom>
                  <a:solidFill>
                    <a:srgbClr val="88BCAD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da-DK"/>
                  </a:p>
                </p:txBody>
              </p:sp>
              <p:sp>
                <p:nvSpPr>
                  <p:cNvPr id="150" name="Freeform: Shape 149">
                    <a:extLst>
                      <a:ext uri="{FF2B5EF4-FFF2-40B4-BE49-F238E27FC236}">
                        <a16:creationId xmlns:a16="http://schemas.microsoft.com/office/drawing/2014/main" id="{6D34C95D-6829-1159-3751-B022263013C5}"/>
                      </a:ext>
                    </a:extLst>
                  </p:cNvPr>
                  <p:cNvSpPr/>
                  <p:nvPr/>
                </p:nvSpPr>
                <p:spPr>
                  <a:xfrm>
                    <a:off x="1626653" y="5045626"/>
                    <a:ext cx="8032" cy="6973"/>
                  </a:xfrm>
                  <a:custGeom>
                    <a:avLst/>
                    <a:gdLst>
                      <a:gd name="connsiteX0" fmla="*/ 706 w 8032"/>
                      <a:gd name="connsiteY0" fmla="*/ 634 h 6973"/>
                      <a:gd name="connsiteX1" fmla="*/ 818 w 8032"/>
                      <a:gd name="connsiteY1" fmla="*/ 680 h 6973"/>
                      <a:gd name="connsiteX2" fmla="*/ 8032 w 8032"/>
                      <a:gd name="connsiteY2" fmla="*/ 6973 h 6973"/>
                      <a:gd name="connsiteX3" fmla="*/ 7768 w 8032"/>
                      <a:gd name="connsiteY3" fmla="*/ 6747 h 6973"/>
                      <a:gd name="connsiteX4" fmla="*/ 706 w 8032"/>
                      <a:gd name="connsiteY4" fmla="*/ 634 h 697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032" h="6973">
                        <a:moveTo>
                          <a:pt x="706" y="634"/>
                        </a:moveTo>
                        <a:cubicBezTo>
                          <a:pt x="-329" y="-275"/>
                          <a:pt x="-169" y="-159"/>
                          <a:pt x="818" y="680"/>
                        </a:cubicBezTo>
                        <a:lnTo>
                          <a:pt x="8032" y="6973"/>
                        </a:lnTo>
                        <a:lnTo>
                          <a:pt x="7768" y="6747"/>
                        </a:lnTo>
                        <a:cubicBezTo>
                          <a:pt x="3973" y="3481"/>
                          <a:pt x="1742" y="1545"/>
                          <a:pt x="706" y="634"/>
                        </a:cubicBezTo>
                        <a:close/>
                      </a:path>
                    </a:pathLst>
                  </a:custGeom>
                  <a:solidFill>
                    <a:srgbClr val="FBCCD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da-DK"/>
                  </a:p>
                </p:txBody>
              </p:sp>
            </p:grpSp>
          </p:grp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0634084A-EEB1-BEDA-C7D2-1A74B7DF39A3}"/>
                  </a:ext>
                </a:extLst>
              </p:cNvPr>
              <p:cNvSpPr/>
              <p:nvPr/>
            </p:nvSpPr>
            <p:spPr>
              <a:xfrm>
                <a:off x="4657836" y="1695450"/>
                <a:ext cx="4460800" cy="4429294"/>
              </a:xfrm>
              <a:custGeom>
                <a:avLst/>
                <a:gdLst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944902 w 4469152"/>
                  <a:gd name="connsiteY150" fmla="*/ 476250 h 4496940"/>
                  <a:gd name="connsiteX151" fmla="*/ 1087777 w 4469152"/>
                  <a:gd name="connsiteY151" fmla="*/ 409575 h 4496940"/>
                  <a:gd name="connsiteX152" fmla="*/ 1202077 w 4469152"/>
                  <a:gd name="connsiteY152" fmla="*/ 314325 h 4496940"/>
                  <a:gd name="connsiteX153" fmla="*/ 1268752 w 4469152"/>
                  <a:gd name="connsiteY153" fmla="*/ 285750 h 4496940"/>
                  <a:gd name="connsiteX154" fmla="*/ 1411627 w 4469152"/>
                  <a:gd name="connsiteY154" fmla="*/ 190500 h 4496940"/>
                  <a:gd name="connsiteX155" fmla="*/ 1449727 w 4469152"/>
                  <a:gd name="connsiteY155" fmla="*/ 161925 h 4496940"/>
                  <a:gd name="connsiteX156" fmla="*/ 1525927 w 4469152"/>
                  <a:gd name="connsiteY156" fmla="*/ 152400 h 4496940"/>
                  <a:gd name="connsiteX157" fmla="*/ 1583077 w 4469152"/>
                  <a:gd name="connsiteY157" fmla="*/ 142875 h 4496940"/>
                  <a:gd name="connsiteX158" fmla="*/ 1716427 w 4469152"/>
                  <a:gd name="connsiteY158" fmla="*/ 123825 h 4496940"/>
                  <a:gd name="connsiteX159" fmla="*/ 1811677 w 4469152"/>
                  <a:gd name="connsiteY159" fmla="*/ 114300 h 4496940"/>
                  <a:gd name="connsiteX160" fmla="*/ 1859302 w 4469152"/>
                  <a:gd name="connsiteY160" fmla="*/ 104775 h 4496940"/>
                  <a:gd name="connsiteX161" fmla="*/ 1916452 w 4469152"/>
                  <a:gd name="connsiteY161" fmla="*/ 95250 h 4496940"/>
                  <a:gd name="connsiteX162" fmla="*/ 2030752 w 4469152"/>
                  <a:gd name="connsiteY162" fmla="*/ 66675 h 4496940"/>
                  <a:gd name="connsiteX163" fmla="*/ 2097427 w 4469152"/>
                  <a:gd name="connsiteY163" fmla="*/ 47625 h 4496940"/>
                  <a:gd name="connsiteX164" fmla="*/ 2164102 w 4469152"/>
                  <a:gd name="connsiteY164" fmla="*/ 38100 h 4496940"/>
                  <a:gd name="connsiteX165" fmla="*/ 2392702 w 4469152"/>
                  <a:gd name="connsiteY165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087777 w 4469152"/>
                  <a:gd name="connsiteY150" fmla="*/ 409575 h 4496940"/>
                  <a:gd name="connsiteX151" fmla="*/ 1202077 w 4469152"/>
                  <a:gd name="connsiteY151" fmla="*/ 314325 h 4496940"/>
                  <a:gd name="connsiteX152" fmla="*/ 1268752 w 4469152"/>
                  <a:gd name="connsiteY152" fmla="*/ 285750 h 4496940"/>
                  <a:gd name="connsiteX153" fmla="*/ 1411627 w 4469152"/>
                  <a:gd name="connsiteY153" fmla="*/ 190500 h 4496940"/>
                  <a:gd name="connsiteX154" fmla="*/ 1449727 w 4469152"/>
                  <a:gd name="connsiteY154" fmla="*/ 161925 h 4496940"/>
                  <a:gd name="connsiteX155" fmla="*/ 1525927 w 4469152"/>
                  <a:gd name="connsiteY155" fmla="*/ 152400 h 4496940"/>
                  <a:gd name="connsiteX156" fmla="*/ 1583077 w 4469152"/>
                  <a:gd name="connsiteY156" fmla="*/ 142875 h 4496940"/>
                  <a:gd name="connsiteX157" fmla="*/ 1716427 w 4469152"/>
                  <a:gd name="connsiteY157" fmla="*/ 123825 h 4496940"/>
                  <a:gd name="connsiteX158" fmla="*/ 1811677 w 4469152"/>
                  <a:gd name="connsiteY158" fmla="*/ 114300 h 4496940"/>
                  <a:gd name="connsiteX159" fmla="*/ 1859302 w 4469152"/>
                  <a:gd name="connsiteY159" fmla="*/ 104775 h 4496940"/>
                  <a:gd name="connsiteX160" fmla="*/ 1916452 w 4469152"/>
                  <a:gd name="connsiteY160" fmla="*/ 95250 h 4496940"/>
                  <a:gd name="connsiteX161" fmla="*/ 2030752 w 4469152"/>
                  <a:gd name="connsiteY161" fmla="*/ 66675 h 4496940"/>
                  <a:gd name="connsiteX162" fmla="*/ 2097427 w 4469152"/>
                  <a:gd name="connsiteY162" fmla="*/ 47625 h 4496940"/>
                  <a:gd name="connsiteX163" fmla="*/ 2164102 w 4469152"/>
                  <a:gd name="connsiteY163" fmla="*/ 38100 h 4496940"/>
                  <a:gd name="connsiteX164" fmla="*/ 2392702 w 4469152"/>
                  <a:gd name="connsiteY164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202077 w 4469152"/>
                  <a:gd name="connsiteY150" fmla="*/ 314325 h 4496940"/>
                  <a:gd name="connsiteX151" fmla="*/ 1268752 w 4469152"/>
                  <a:gd name="connsiteY151" fmla="*/ 285750 h 4496940"/>
                  <a:gd name="connsiteX152" fmla="*/ 1411627 w 4469152"/>
                  <a:gd name="connsiteY152" fmla="*/ 190500 h 4496940"/>
                  <a:gd name="connsiteX153" fmla="*/ 1449727 w 4469152"/>
                  <a:gd name="connsiteY153" fmla="*/ 161925 h 4496940"/>
                  <a:gd name="connsiteX154" fmla="*/ 1525927 w 4469152"/>
                  <a:gd name="connsiteY154" fmla="*/ 152400 h 4496940"/>
                  <a:gd name="connsiteX155" fmla="*/ 1583077 w 4469152"/>
                  <a:gd name="connsiteY155" fmla="*/ 142875 h 4496940"/>
                  <a:gd name="connsiteX156" fmla="*/ 1716427 w 4469152"/>
                  <a:gd name="connsiteY156" fmla="*/ 123825 h 4496940"/>
                  <a:gd name="connsiteX157" fmla="*/ 1811677 w 4469152"/>
                  <a:gd name="connsiteY157" fmla="*/ 114300 h 4496940"/>
                  <a:gd name="connsiteX158" fmla="*/ 1859302 w 4469152"/>
                  <a:gd name="connsiteY158" fmla="*/ 104775 h 4496940"/>
                  <a:gd name="connsiteX159" fmla="*/ 1916452 w 4469152"/>
                  <a:gd name="connsiteY159" fmla="*/ 95250 h 4496940"/>
                  <a:gd name="connsiteX160" fmla="*/ 2030752 w 4469152"/>
                  <a:gd name="connsiteY160" fmla="*/ 66675 h 4496940"/>
                  <a:gd name="connsiteX161" fmla="*/ 2097427 w 4469152"/>
                  <a:gd name="connsiteY161" fmla="*/ 47625 h 4496940"/>
                  <a:gd name="connsiteX162" fmla="*/ 2164102 w 4469152"/>
                  <a:gd name="connsiteY162" fmla="*/ 38100 h 4496940"/>
                  <a:gd name="connsiteX163" fmla="*/ 2392702 w 4469152"/>
                  <a:gd name="connsiteY163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268752 w 4469152"/>
                  <a:gd name="connsiteY150" fmla="*/ 285750 h 4496940"/>
                  <a:gd name="connsiteX151" fmla="*/ 1411627 w 4469152"/>
                  <a:gd name="connsiteY151" fmla="*/ 190500 h 4496940"/>
                  <a:gd name="connsiteX152" fmla="*/ 1449727 w 4469152"/>
                  <a:gd name="connsiteY152" fmla="*/ 161925 h 4496940"/>
                  <a:gd name="connsiteX153" fmla="*/ 1525927 w 4469152"/>
                  <a:gd name="connsiteY153" fmla="*/ 152400 h 4496940"/>
                  <a:gd name="connsiteX154" fmla="*/ 1583077 w 4469152"/>
                  <a:gd name="connsiteY154" fmla="*/ 142875 h 4496940"/>
                  <a:gd name="connsiteX155" fmla="*/ 1716427 w 4469152"/>
                  <a:gd name="connsiteY155" fmla="*/ 123825 h 4496940"/>
                  <a:gd name="connsiteX156" fmla="*/ 1811677 w 4469152"/>
                  <a:gd name="connsiteY156" fmla="*/ 114300 h 4496940"/>
                  <a:gd name="connsiteX157" fmla="*/ 1859302 w 4469152"/>
                  <a:gd name="connsiteY157" fmla="*/ 104775 h 4496940"/>
                  <a:gd name="connsiteX158" fmla="*/ 1916452 w 4469152"/>
                  <a:gd name="connsiteY158" fmla="*/ 95250 h 4496940"/>
                  <a:gd name="connsiteX159" fmla="*/ 2030752 w 4469152"/>
                  <a:gd name="connsiteY159" fmla="*/ 66675 h 4496940"/>
                  <a:gd name="connsiteX160" fmla="*/ 2097427 w 4469152"/>
                  <a:gd name="connsiteY160" fmla="*/ 47625 h 4496940"/>
                  <a:gd name="connsiteX161" fmla="*/ 2164102 w 4469152"/>
                  <a:gd name="connsiteY161" fmla="*/ 38100 h 4496940"/>
                  <a:gd name="connsiteX162" fmla="*/ 2392702 w 4469152"/>
                  <a:gd name="connsiteY162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167152 w 4469152"/>
                  <a:gd name="connsiteY150" fmla="*/ 311150 h 4496940"/>
                  <a:gd name="connsiteX151" fmla="*/ 1268752 w 4469152"/>
                  <a:gd name="connsiteY151" fmla="*/ 285750 h 4496940"/>
                  <a:gd name="connsiteX152" fmla="*/ 1411627 w 4469152"/>
                  <a:gd name="connsiteY152" fmla="*/ 190500 h 4496940"/>
                  <a:gd name="connsiteX153" fmla="*/ 1449727 w 4469152"/>
                  <a:gd name="connsiteY153" fmla="*/ 161925 h 4496940"/>
                  <a:gd name="connsiteX154" fmla="*/ 1525927 w 4469152"/>
                  <a:gd name="connsiteY154" fmla="*/ 152400 h 4496940"/>
                  <a:gd name="connsiteX155" fmla="*/ 1583077 w 4469152"/>
                  <a:gd name="connsiteY155" fmla="*/ 142875 h 4496940"/>
                  <a:gd name="connsiteX156" fmla="*/ 1716427 w 4469152"/>
                  <a:gd name="connsiteY156" fmla="*/ 123825 h 4496940"/>
                  <a:gd name="connsiteX157" fmla="*/ 1811677 w 4469152"/>
                  <a:gd name="connsiteY157" fmla="*/ 114300 h 4496940"/>
                  <a:gd name="connsiteX158" fmla="*/ 1859302 w 4469152"/>
                  <a:gd name="connsiteY158" fmla="*/ 104775 h 4496940"/>
                  <a:gd name="connsiteX159" fmla="*/ 1916452 w 4469152"/>
                  <a:gd name="connsiteY159" fmla="*/ 95250 h 4496940"/>
                  <a:gd name="connsiteX160" fmla="*/ 2030752 w 4469152"/>
                  <a:gd name="connsiteY160" fmla="*/ 66675 h 4496940"/>
                  <a:gd name="connsiteX161" fmla="*/ 2097427 w 4469152"/>
                  <a:gd name="connsiteY161" fmla="*/ 47625 h 4496940"/>
                  <a:gd name="connsiteX162" fmla="*/ 2164102 w 4469152"/>
                  <a:gd name="connsiteY162" fmla="*/ 38100 h 4496940"/>
                  <a:gd name="connsiteX163" fmla="*/ 2392702 w 4469152"/>
                  <a:gd name="connsiteY163" fmla="*/ 28575 h 4496940"/>
                  <a:gd name="connsiteX0" fmla="*/ 2297452 w 4519952"/>
                  <a:gd name="connsiteY0" fmla="*/ 0 h 4496940"/>
                  <a:gd name="connsiteX1" fmla="*/ 2421277 w 4519952"/>
                  <a:gd name="connsiteY1" fmla="*/ 28575 h 4496940"/>
                  <a:gd name="connsiteX2" fmla="*/ 2497477 w 4519952"/>
                  <a:gd name="connsiteY2" fmla="*/ 47625 h 4496940"/>
                  <a:gd name="connsiteX3" fmla="*/ 2754652 w 4519952"/>
                  <a:gd name="connsiteY3" fmla="*/ 66675 h 4496940"/>
                  <a:gd name="connsiteX4" fmla="*/ 2830852 w 4519952"/>
                  <a:gd name="connsiteY4" fmla="*/ 76200 h 4496940"/>
                  <a:gd name="connsiteX5" fmla="*/ 2916577 w 4519952"/>
                  <a:gd name="connsiteY5" fmla="*/ 85725 h 4496940"/>
                  <a:gd name="connsiteX6" fmla="*/ 2973727 w 4519952"/>
                  <a:gd name="connsiteY6" fmla="*/ 114300 h 4496940"/>
                  <a:gd name="connsiteX7" fmla="*/ 3011827 w 4519952"/>
                  <a:gd name="connsiteY7" fmla="*/ 123825 h 4496940"/>
                  <a:gd name="connsiteX8" fmla="*/ 3135652 w 4519952"/>
                  <a:gd name="connsiteY8" fmla="*/ 171450 h 4496940"/>
                  <a:gd name="connsiteX9" fmla="*/ 3173752 w 4519952"/>
                  <a:gd name="connsiteY9" fmla="*/ 190500 h 4496940"/>
                  <a:gd name="connsiteX10" fmla="*/ 3240427 w 4519952"/>
                  <a:gd name="connsiteY10" fmla="*/ 228600 h 4496940"/>
                  <a:gd name="connsiteX11" fmla="*/ 3269002 w 4519952"/>
                  <a:gd name="connsiteY11" fmla="*/ 238125 h 4496940"/>
                  <a:gd name="connsiteX12" fmla="*/ 3297577 w 4519952"/>
                  <a:gd name="connsiteY12" fmla="*/ 257175 h 4496940"/>
                  <a:gd name="connsiteX13" fmla="*/ 3326152 w 4519952"/>
                  <a:gd name="connsiteY13" fmla="*/ 266700 h 4496940"/>
                  <a:gd name="connsiteX14" fmla="*/ 3354727 w 4519952"/>
                  <a:gd name="connsiteY14" fmla="*/ 285750 h 4496940"/>
                  <a:gd name="connsiteX15" fmla="*/ 3421402 w 4519952"/>
                  <a:gd name="connsiteY15" fmla="*/ 323850 h 4496940"/>
                  <a:gd name="connsiteX16" fmla="*/ 3469027 w 4519952"/>
                  <a:gd name="connsiteY16" fmla="*/ 361950 h 4496940"/>
                  <a:gd name="connsiteX17" fmla="*/ 3516652 w 4519952"/>
                  <a:gd name="connsiteY17" fmla="*/ 390525 h 4496940"/>
                  <a:gd name="connsiteX18" fmla="*/ 3545227 w 4519952"/>
                  <a:gd name="connsiteY18" fmla="*/ 419100 h 4496940"/>
                  <a:gd name="connsiteX19" fmla="*/ 3602377 w 4519952"/>
                  <a:gd name="connsiteY19" fmla="*/ 457200 h 4496940"/>
                  <a:gd name="connsiteX20" fmla="*/ 3630952 w 4519952"/>
                  <a:gd name="connsiteY20" fmla="*/ 485775 h 4496940"/>
                  <a:gd name="connsiteX21" fmla="*/ 3678577 w 4519952"/>
                  <a:gd name="connsiteY21" fmla="*/ 504825 h 4496940"/>
                  <a:gd name="connsiteX22" fmla="*/ 3745252 w 4519952"/>
                  <a:gd name="connsiteY22" fmla="*/ 542925 h 4496940"/>
                  <a:gd name="connsiteX23" fmla="*/ 3811927 w 4519952"/>
                  <a:gd name="connsiteY23" fmla="*/ 581025 h 4496940"/>
                  <a:gd name="connsiteX24" fmla="*/ 3840502 w 4519952"/>
                  <a:gd name="connsiteY24" fmla="*/ 600075 h 4496940"/>
                  <a:gd name="connsiteX25" fmla="*/ 3869077 w 4519952"/>
                  <a:gd name="connsiteY25" fmla="*/ 628650 h 4496940"/>
                  <a:gd name="connsiteX26" fmla="*/ 3907177 w 4519952"/>
                  <a:gd name="connsiteY26" fmla="*/ 647700 h 4496940"/>
                  <a:gd name="connsiteX27" fmla="*/ 3935752 w 4519952"/>
                  <a:gd name="connsiteY27" fmla="*/ 676275 h 4496940"/>
                  <a:gd name="connsiteX28" fmla="*/ 3992902 w 4519952"/>
                  <a:gd name="connsiteY28" fmla="*/ 714375 h 4496940"/>
                  <a:gd name="connsiteX29" fmla="*/ 4050052 w 4519952"/>
                  <a:gd name="connsiteY29" fmla="*/ 790575 h 4496940"/>
                  <a:gd name="connsiteX30" fmla="*/ 4078627 w 4519952"/>
                  <a:gd name="connsiteY30" fmla="*/ 838200 h 4496940"/>
                  <a:gd name="connsiteX31" fmla="*/ 4107202 w 4519952"/>
                  <a:gd name="connsiteY31" fmla="*/ 876300 h 4496940"/>
                  <a:gd name="connsiteX32" fmla="*/ 4116727 w 4519952"/>
                  <a:gd name="connsiteY32" fmla="*/ 904875 h 4496940"/>
                  <a:gd name="connsiteX33" fmla="*/ 4135777 w 4519952"/>
                  <a:gd name="connsiteY33" fmla="*/ 933450 h 4496940"/>
                  <a:gd name="connsiteX34" fmla="*/ 4164352 w 4519952"/>
                  <a:gd name="connsiteY34" fmla="*/ 990600 h 4496940"/>
                  <a:gd name="connsiteX35" fmla="*/ 4173877 w 4519952"/>
                  <a:gd name="connsiteY35" fmla="*/ 1019175 h 4496940"/>
                  <a:gd name="connsiteX36" fmla="*/ 4192927 w 4519952"/>
                  <a:gd name="connsiteY36" fmla="*/ 1057275 h 4496940"/>
                  <a:gd name="connsiteX37" fmla="*/ 4202452 w 4519952"/>
                  <a:gd name="connsiteY37" fmla="*/ 1085850 h 4496940"/>
                  <a:gd name="connsiteX38" fmla="*/ 4250077 w 4519952"/>
                  <a:gd name="connsiteY38" fmla="*/ 1143000 h 4496940"/>
                  <a:gd name="connsiteX39" fmla="*/ 4259602 w 4519952"/>
                  <a:gd name="connsiteY39" fmla="*/ 1190625 h 4496940"/>
                  <a:gd name="connsiteX40" fmla="*/ 4307227 w 4519952"/>
                  <a:gd name="connsiteY40" fmla="*/ 1266825 h 4496940"/>
                  <a:gd name="connsiteX41" fmla="*/ 4345327 w 4519952"/>
                  <a:gd name="connsiteY41" fmla="*/ 1362075 h 4496940"/>
                  <a:gd name="connsiteX42" fmla="*/ 4373902 w 4519952"/>
                  <a:gd name="connsiteY42" fmla="*/ 1428750 h 4496940"/>
                  <a:gd name="connsiteX43" fmla="*/ 4392952 w 4519952"/>
                  <a:gd name="connsiteY43" fmla="*/ 1552575 h 4496940"/>
                  <a:gd name="connsiteX44" fmla="*/ 4402477 w 4519952"/>
                  <a:gd name="connsiteY44" fmla="*/ 1590675 h 4496940"/>
                  <a:gd name="connsiteX45" fmla="*/ 4431052 w 4519952"/>
                  <a:gd name="connsiteY45" fmla="*/ 1685925 h 4496940"/>
                  <a:gd name="connsiteX46" fmla="*/ 4440577 w 4519952"/>
                  <a:gd name="connsiteY46" fmla="*/ 1762125 h 4496940"/>
                  <a:gd name="connsiteX47" fmla="*/ 4459627 w 4519952"/>
                  <a:gd name="connsiteY47" fmla="*/ 1828800 h 4496940"/>
                  <a:gd name="connsiteX48" fmla="*/ 4519952 w 4519952"/>
                  <a:gd name="connsiteY48" fmla="*/ 2181225 h 4496940"/>
                  <a:gd name="connsiteX49" fmla="*/ 4440577 w 4519952"/>
                  <a:gd name="connsiteY49" fmla="*/ 2876550 h 4496940"/>
                  <a:gd name="connsiteX50" fmla="*/ 4383427 w 4519952"/>
                  <a:gd name="connsiteY50" fmla="*/ 2990850 h 4496940"/>
                  <a:gd name="connsiteX51" fmla="*/ 4354852 w 4519952"/>
                  <a:gd name="connsiteY51" fmla="*/ 3057525 h 4496940"/>
                  <a:gd name="connsiteX52" fmla="*/ 4335802 w 4519952"/>
                  <a:gd name="connsiteY52" fmla="*/ 3095625 h 4496940"/>
                  <a:gd name="connsiteX53" fmla="*/ 4278652 w 4519952"/>
                  <a:gd name="connsiteY53" fmla="*/ 3248025 h 4496940"/>
                  <a:gd name="connsiteX54" fmla="*/ 4259602 w 4519952"/>
                  <a:gd name="connsiteY54" fmla="*/ 3276600 h 4496940"/>
                  <a:gd name="connsiteX55" fmla="*/ 4221502 w 4519952"/>
                  <a:gd name="connsiteY55" fmla="*/ 3333750 h 4496940"/>
                  <a:gd name="connsiteX56" fmla="*/ 4211977 w 4519952"/>
                  <a:gd name="connsiteY56" fmla="*/ 3362325 h 4496940"/>
                  <a:gd name="connsiteX57" fmla="*/ 4183402 w 4519952"/>
                  <a:gd name="connsiteY57" fmla="*/ 3400425 h 4496940"/>
                  <a:gd name="connsiteX58" fmla="*/ 4164352 w 4519952"/>
                  <a:gd name="connsiteY58" fmla="*/ 3429000 h 4496940"/>
                  <a:gd name="connsiteX59" fmla="*/ 4088152 w 4519952"/>
                  <a:gd name="connsiteY59" fmla="*/ 3495675 h 4496940"/>
                  <a:gd name="connsiteX60" fmla="*/ 4059577 w 4519952"/>
                  <a:gd name="connsiteY60" fmla="*/ 3533775 h 4496940"/>
                  <a:gd name="connsiteX61" fmla="*/ 4002427 w 4519952"/>
                  <a:gd name="connsiteY61" fmla="*/ 3600450 h 4496940"/>
                  <a:gd name="connsiteX62" fmla="*/ 3983377 w 4519952"/>
                  <a:gd name="connsiteY62" fmla="*/ 3629025 h 4496940"/>
                  <a:gd name="connsiteX63" fmla="*/ 3954802 w 4519952"/>
                  <a:gd name="connsiteY63" fmla="*/ 3648075 h 4496940"/>
                  <a:gd name="connsiteX64" fmla="*/ 3907177 w 4519952"/>
                  <a:gd name="connsiteY64" fmla="*/ 3686175 h 4496940"/>
                  <a:gd name="connsiteX65" fmla="*/ 3869077 w 4519952"/>
                  <a:gd name="connsiteY65" fmla="*/ 3724275 h 4496940"/>
                  <a:gd name="connsiteX66" fmla="*/ 3792877 w 4519952"/>
                  <a:gd name="connsiteY66" fmla="*/ 3781425 h 4496940"/>
                  <a:gd name="connsiteX67" fmla="*/ 3783352 w 4519952"/>
                  <a:gd name="connsiteY67" fmla="*/ 3810000 h 4496940"/>
                  <a:gd name="connsiteX68" fmla="*/ 3745252 w 4519952"/>
                  <a:gd name="connsiteY68" fmla="*/ 3819525 h 4496940"/>
                  <a:gd name="connsiteX69" fmla="*/ 3678577 w 4519952"/>
                  <a:gd name="connsiteY69" fmla="*/ 3848100 h 4496940"/>
                  <a:gd name="connsiteX70" fmla="*/ 3659527 w 4519952"/>
                  <a:gd name="connsiteY70" fmla="*/ 3971925 h 4496940"/>
                  <a:gd name="connsiteX71" fmla="*/ 3630952 w 4519952"/>
                  <a:gd name="connsiteY71" fmla="*/ 4010025 h 4496940"/>
                  <a:gd name="connsiteX72" fmla="*/ 3621427 w 4519952"/>
                  <a:gd name="connsiteY72" fmla="*/ 4038600 h 4496940"/>
                  <a:gd name="connsiteX73" fmla="*/ 3554752 w 4519952"/>
                  <a:gd name="connsiteY73" fmla="*/ 4095750 h 4496940"/>
                  <a:gd name="connsiteX74" fmla="*/ 3516652 w 4519952"/>
                  <a:gd name="connsiteY74" fmla="*/ 4114800 h 4496940"/>
                  <a:gd name="connsiteX75" fmla="*/ 3497602 w 4519952"/>
                  <a:gd name="connsiteY75" fmla="*/ 4143375 h 4496940"/>
                  <a:gd name="connsiteX76" fmla="*/ 3383302 w 4519952"/>
                  <a:gd name="connsiteY76" fmla="*/ 4210050 h 4496940"/>
                  <a:gd name="connsiteX77" fmla="*/ 3335677 w 4519952"/>
                  <a:gd name="connsiteY77" fmla="*/ 4238625 h 4496940"/>
                  <a:gd name="connsiteX78" fmla="*/ 3288052 w 4519952"/>
                  <a:gd name="connsiteY78" fmla="*/ 4248150 h 4496940"/>
                  <a:gd name="connsiteX79" fmla="*/ 3240427 w 4519952"/>
                  <a:gd name="connsiteY79" fmla="*/ 4267200 h 4496940"/>
                  <a:gd name="connsiteX80" fmla="*/ 3068977 w 4519952"/>
                  <a:gd name="connsiteY80" fmla="*/ 4286250 h 4496940"/>
                  <a:gd name="connsiteX81" fmla="*/ 2935627 w 4519952"/>
                  <a:gd name="connsiteY81" fmla="*/ 4333875 h 4496940"/>
                  <a:gd name="connsiteX82" fmla="*/ 2811802 w 4519952"/>
                  <a:gd name="connsiteY82" fmla="*/ 4371975 h 4496940"/>
                  <a:gd name="connsiteX83" fmla="*/ 2745127 w 4519952"/>
                  <a:gd name="connsiteY83" fmla="*/ 4410075 h 4496940"/>
                  <a:gd name="connsiteX84" fmla="*/ 2697502 w 4519952"/>
                  <a:gd name="connsiteY84" fmla="*/ 4429125 h 4496940"/>
                  <a:gd name="connsiteX85" fmla="*/ 2640352 w 4519952"/>
                  <a:gd name="connsiteY85" fmla="*/ 4457700 h 4496940"/>
                  <a:gd name="connsiteX86" fmla="*/ 2583202 w 4519952"/>
                  <a:gd name="connsiteY86" fmla="*/ 4467225 h 4496940"/>
                  <a:gd name="connsiteX87" fmla="*/ 2545102 w 4519952"/>
                  <a:gd name="connsiteY87" fmla="*/ 4486275 h 4496940"/>
                  <a:gd name="connsiteX88" fmla="*/ 2306977 w 4519952"/>
                  <a:gd name="connsiteY88" fmla="*/ 4476750 h 4496940"/>
                  <a:gd name="connsiteX89" fmla="*/ 2202202 w 4519952"/>
                  <a:gd name="connsiteY89" fmla="*/ 4457700 h 4496940"/>
                  <a:gd name="connsiteX90" fmla="*/ 2126002 w 4519952"/>
                  <a:gd name="connsiteY90" fmla="*/ 4429125 h 4496940"/>
                  <a:gd name="connsiteX91" fmla="*/ 1935502 w 4519952"/>
                  <a:gd name="connsiteY91" fmla="*/ 4400550 h 4496940"/>
                  <a:gd name="connsiteX92" fmla="*/ 1821202 w 4519952"/>
                  <a:gd name="connsiteY92" fmla="*/ 4371975 h 4496940"/>
                  <a:gd name="connsiteX93" fmla="*/ 1754527 w 4519952"/>
                  <a:gd name="connsiteY93" fmla="*/ 4352925 h 4496940"/>
                  <a:gd name="connsiteX94" fmla="*/ 1687852 w 4519952"/>
                  <a:gd name="connsiteY94" fmla="*/ 4343400 h 4496940"/>
                  <a:gd name="connsiteX95" fmla="*/ 1573552 w 4519952"/>
                  <a:gd name="connsiteY95" fmla="*/ 4305300 h 4496940"/>
                  <a:gd name="connsiteX96" fmla="*/ 1402102 w 4519952"/>
                  <a:gd name="connsiteY96" fmla="*/ 4276725 h 4496940"/>
                  <a:gd name="connsiteX97" fmla="*/ 1287802 w 4519952"/>
                  <a:gd name="connsiteY97" fmla="*/ 4229100 h 4496940"/>
                  <a:gd name="connsiteX98" fmla="*/ 1221127 w 4519952"/>
                  <a:gd name="connsiteY98" fmla="*/ 4200525 h 4496940"/>
                  <a:gd name="connsiteX99" fmla="*/ 1144927 w 4519952"/>
                  <a:gd name="connsiteY99" fmla="*/ 4171950 h 4496940"/>
                  <a:gd name="connsiteX100" fmla="*/ 1087777 w 4519952"/>
                  <a:gd name="connsiteY100" fmla="*/ 4143375 h 4496940"/>
                  <a:gd name="connsiteX101" fmla="*/ 1030627 w 4519952"/>
                  <a:gd name="connsiteY101" fmla="*/ 4124325 h 4496940"/>
                  <a:gd name="connsiteX102" fmla="*/ 925852 w 4519952"/>
                  <a:gd name="connsiteY102" fmla="*/ 4067175 h 4496940"/>
                  <a:gd name="connsiteX103" fmla="*/ 830602 w 4519952"/>
                  <a:gd name="connsiteY103" fmla="*/ 3981450 h 4496940"/>
                  <a:gd name="connsiteX104" fmla="*/ 763927 w 4519952"/>
                  <a:gd name="connsiteY104" fmla="*/ 3914775 h 4496940"/>
                  <a:gd name="connsiteX105" fmla="*/ 725827 w 4519952"/>
                  <a:gd name="connsiteY105" fmla="*/ 3876675 h 4496940"/>
                  <a:gd name="connsiteX106" fmla="*/ 697252 w 4519952"/>
                  <a:gd name="connsiteY106" fmla="*/ 3838575 h 4496940"/>
                  <a:gd name="connsiteX107" fmla="*/ 640102 w 4519952"/>
                  <a:gd name="connsiteY107" fmla="*/ 3781425 h 4496940"/>
                  <a:gd name="connsiteX108" fmla="*/ 611527 w 4519952"/>
                  <a:gd name="connsiteY108" fmla="*/ 3733800 h 4496940"/>
                  <a:gd name="connsiteX109" fmla="*/ 554377 w 4519952"/>
                  <a:gd name="connsiteY109" fmla="*/ 3657600 h 4496940"/>
                  <a:gd name="connsiteX110" fmla="*/ 525802 w 4519952"/>
                  <a:gd name="connsiteY110" fmla="*/ 3609975 h 4496940"/>
                  <a:gd name="connsiteX111" fmla="*/ 497227 w 4519952"/>
                  <a:gd name="connsiteY111" fmla="*/ 3552825 h 4496940"/>
                  <a:gd name="connsiteX112" fmla="*/ 440077 w 4519952"/>
                  <a:gd name="connsiteY112" fmla="*/ 3495675 h 4496940"/>
                  <a:gd name="connsiteX113" fmla="*/ 411502 w 4519952"/>
                  <a:gd name="connsiteY113" fmla="*/ 3448050 h 4496940"/>
                  <a:gd name="connsiteX114" fmla="*/ 278152 w 4519952"/>
                  <a:gd name="connsiteY114" fmla="*/ 3257550 h 4496940"/>
                  <a:gd name="connsiteX115" fmla="*/ 249577 w 4519952"/>
                  <a:gd name="connsiteY115" fmla="*/ 3200400 h 4496940"/>
                  <a:gd name="connsiteX116" fmla="*/ 240052 w 4519952"/>
                  <a:gd name="connsiteY116" fmla="*/ 3162300 h 4496940"/>
                  <a:gd name="connsiteX117" fmla="*/ 221002 w 4519952"/>
                  <a:gd name="connsiteY117" fmla="*/ 3105150 h 4496940"/>
                  <a:gd name="connsiteX118" fmla="*/ 173377 w 4519952"/>
                  <a:gd name="connsiteY118" fmla="*/ 3019425 h 4496940"/>
                  <a:gd name="connsiteX119" fmla="*/ 144802 w 4519952"/>
                  <a:gd name="connsiteY119" fmla="*/ 2924175 h 4496940"/>
                  <a:gd name="connsiteX120" fmla="*/ 68602 w 4519952"/>
                  <a:gd name="connsiteY120" fmla="*/ 2724150 h 4496940"/>
                  <a:gd name="connsiteX121" fmla="*/ 49552 w 4519952"/>
                  <a:gd name="connsiteY121" fmla="*/ 2638425 h 4496940"/>
                  <a:gd name="connsiteX122" fmla="*/ 40027 w 4519952"/>
                  <a:gd name="connsiteY122" fmla="*/ 2562225 h 4496940"/>
                  <a:gd name="connsiteX123" fmla="*/ 30502 w 4519952"/>
                  <a:gd name="connsiteY123" fmla="*/ 2514600 h 4496940"/>
                  <a:gd name="connsiteX124" fmla="*/ 11452 w 4519952"/>
                  <a:gd name="connsiteY124" fmla="*/ 2400300 h 4496940"/>
                  <a:gd name="connsiteX125" fmla="*/ 20977 w 4519952"/>
                  <a:gd name="connsiteY125" fmla="*/ 1905000 h 4496940"/>
                  <a:gd name="connsiteX126" fmla="*/ 30502 w 4519952"/>
                  <a:gd name="connsiteY126" fmla="*/ 1838325 h 4496940"/>
                  <a:gd name="connsiteX127" fmla="*/ 49552 w 4519952"/>
                  <a:gd name="connsiteY127" fmla="*/ 1781175 h 4496940"/>
                  <a:gd name="connsiteX128" fmla="*/ 59077 w 4519952"/>
                  <a:gd name="connsiteY128" fmla="*/ 1743075 h 4496940"/>
                  <a:gd name="connsiteX129" fmla="*/ 78127 w 4519952"/>
                  <a:gd name="connsiteY129" fmla="*/ 1685925 h 4496940"/>
                  <a:gd name="connsiteX130" fmla="*/ 87652 w 4519952"/>
                  <a:gd name="connsiteY130" fmla="*/ 1638300 h 4496940"/>
                  <a:gd name="connsiteX131" fmla="*/ 106702 w 4519952"/>
                  <a:gd name="connsiteY131" fmla="*/ 1590675 h 4496940"/>
                  <a:gd name="connsiteX132" fmla="*/ 135277 w 4519952"/>
                  <a:gd name="connsiteY132" fmla="*/ 1504950 h 4496940"/>
                  <a:gd name="connsiteX133" fmla="*/ 154327 w 4519952"/>
                  <a:gd name="connsiteY133" fmla="*/ 1419225 h 4496940"/>
                  <a:gd name="connsiteX134" fmla="*/ 230527 w 4519952"/>
                  <a:gd name="connsiteY134" fmla="*/ 1276350 h 4496940"/>
                  <a:gd name="connsiteX135" fmla="*/ 240052 w 4519952"/>
                  <a:gd name="connsiteY135" fmla="*/ 1247775 h 4496940"/>
                  <a:gd name="connsiteX136" fmla="*/ 268627 w 4519952"/>
                  <a:gd name="connsiteY136" fmla="*/ 1200150 h 4496940"/>
                  <a:gd name="connsiteX137" fmla="*/ 287677 w 4519952"/>
                  <a:gd name="connsiteY137" fmla="*/ 1152525 h 4496940"/>
                  <a:gd name="connsiteX138" fmla="*/ 316252 w 4519952"/>
                  <a:gd name="connsiteY138" fmla="*/ 1114425 h 4496940"/>
                  <a:gd name="connsiteX139" fmla="*/ 363877 w 4519952"/>
                  <a:gd name="connsiteY139" fmla="*/ 1038225 h 4496940"/>
                  <a:gd name="connsiteX140" fmla="*/ 382927 w 4519952"/>
                  <a:gd name="connsiteY140" fmla="*/ 1009650 h 4496940"/>
                  <a:gd name="connsiteX141" fmla="*/ 440077 w 4519952"/>
                  <a:gd name="connsiteY141" fmla="*/ 904875 h 4496940"/>
                  <a:gd name="connsiteX142" fmla="*/ 478177 w 4519952"/>
                  <a:gd name="connsiteY142" fmla="*/ 857250 h 4496940"/>
                  <a:gd name="connsiteX143" fmla="*/ 497227 w 4519952"/>
                  <a:gd name="connsiteY143" fmla="*/ 828675 h 4496940"/>
                  <a:gd name="connsiteX144" fmla="*/ 535327 w 4519952"/>
                  <a:gd name="connsiteY144" fmla="*/ 800100 h 4496940"/>
                  <a:gd name="connsiteX145" fmla="*/ 602002 w 4519952"/>
                  <a:gd name="connsiteY145" fmla="*/ 733425 h 4496940"/>
                  <a:gd name="connsiteX146" fmla="*/ 668677 w 4519952"/>
                  <a:gd name="connsiteY146" fmla="*/ 676275 h 4496940"/>
                  <a:gd name="connsiteX147" fmla="*/ 697252 w 4519952"/>
                  <a:gd name="connsiteY147" fmla="*/ 657225 h 4496940"/>
                  <a:gd name="connsiteX148" fmla="*/ 840127 w 4519952"/>
                  <a:gd name="connsiteY148" fmla="*/ 533400 h 4496940"/>
                  <a:gd name="connsiteX149" fmla="*/ 887752 w 4519952"/>
                  <a:gd name="connsiteY149" fmla="*/ 504825 h 4496940"/>
                  <a:gd name="connsiteX150" fmla="*/ 1167152 w 4519952"/>
                  <a:gd name="connsiteY150" fmla="*/ 311150 h 4496940"/>
                  <a:gd name="connsiteX151" fmla="*/ 1268752 w 4519952"/>
                  <a:gd name="connsiteY151" fmla="*/ 285750 h 4496940"/>
                  <a:gd name="connsiteX152" fmla="*/ 1411627 w 4519952"/>
                  <a:gd name="connsiteY152" fmla="*/ 190500 h 4496940"/>
                  <a:gd name="connsiteX153" fmla="*/ 1449727 w 4519952"/>
                  <a:gd name="connsiteY153" fmla="*/ 161925 h 4496940"/>
                  <a:gd name="connsiteX154" fmla="*/ 1525927 w 4519952"/>
                  <a:gd name="connsiteY154" fmla="*/ 152400 h 4496940"/>
                  <a:gd name="connsiteX155" fmla="*/ 1583077 w 4519952"/>
                  <a:gd name="connsiteY155" fmla="*/ 142875 h 4496940"/>
                  <a:gd name="connsiteX156" fmla="*/ 1716427 w 4519952"/>
                  <a:gd name="connsiteY156" fmla="*/ 123825 h 4496940"/>
                  <a:gd name="connsiteX157" fmla="*/ 1811677 w 4519952"/>
                  <a:gd name="connsiteY157" fmla="*/ 114300 h 4496940"/>
                  <a:gd name="connsiteX158" fmla="*/ 1859302 w 4519952"/>
                  <a:gd name="connsiteY158" fmla="*/ 104775 h 4496940"/>
                  <a:gd name="connsiteX159" fmla="*/ 1916452 w 4519952"/>
                  <a:gd name="connsiteY159" fmla="*/ 95250 h 4496940"/>
                  <a:gd name="connsiteX160" fmla="*/ 2030752 w 4519952"/>
                  <a:gd name="connsiteY160" fmla="*/ 66675 h 4496940"/>
                  <a:gd name="connsiteX161" fmla="*/ 2097427 w 4519952"/>
                  <a:gd name="connsiteY161" fmla="*/ 47625 h 4496940"/>
                  <a:gd name="connsiteX162" fmla="*/ 2164102 w 4519952"/>
                  <a:gd name="connsiteY162" fmla="*/ 38100 h 4496940"/>
                  <a:gd name="connsiteX163" fmla="*/ 2392702 w 4519952"/>
                  <a:gd name="connsiteY163" fmla="*/ 28575 h 4496940"/>
                  <a:gd name="connsiteX0" fmla="*/ 2297452 w 4519952"/>
                  <a:gd name="connsiteY0" fmla="*/ 0 h 4496940"/>
                  <a:gd name="connsiteX1" fmla="*/ 2421277 w 4519952"/>
                  <a:gd name="connsiteY1" fmla="*/ 28575 h 4496940"/>
                  <a:gd name="connsiteX2" fmla="*/ 2497477 w 4519952"/>
                  <a:gd name="connsiteY2" fmla="*/ 47625 h 4496940"/>
                  <a:gd name="connsiteX3" fmla="*/ 2754652 w 4519952"/>
                  <a:gd name="connsiteY3" fmla="*/ 66675 h 4496940"/>
                  <a:gd name="connsiteX4" fmla="*/ 2830852 w 4519952"/>
                  <a:gd name="connsiteY4" fmla="*/ 76200 h 4496940"/>
                  <a:gd name="connsiteX5" fmla="*/ 2916577 w 4519952"/>
                  <a:gd name="connsiteY5" fmla="*/ 85725 h 4496940"/>
                  <a:gd name="connsiteX6" fmla="*/ 2973727 w 4519952"/>
                  <a:gd name="connsiteY6" fmla="*/ 114300 h 4496940"/>
                  <a:gd name="connsiteX7" fmla="*/ 3011827 w 4519952"/>
                  <a:gd name="connsiteY7" fmla="*/ 123825 h 4496940"/>
                  <a:gd name="connsiteX8" fmla="*/ 3135652 w 4519952"/>
                  <a:gd name="connsiteY8" fmla="*/ 171450 h 4496940"/>
                  <a:gd name="connsiteX9" fmla="*/ 3173752 w 4519952"/>
                  <a:gd name="connsiteY9" fmla="*/ 190500 h 4496940"/>
                  <a:gd name="connsiteX10" fmla="*/ 3240427 w 4519952"/>
                  <a:gd name="connsiteY10" fmla="*/ 228600 h 4496940"/>
                  <a:gd name="connsiteX11" fmla="*/ 3269002 w 4519952"/>
                  <a:gd name="connsiteY11" fmla="*/ 238125 h 4496940"/>
                  <a:gd name="connsiteX12" fmla="*/ 3297577 w 4519952"/>
                  <a:gd name="connsiteY12" fmla="*/ 257175 h 4496940"/>
                  <a:gd name="connsiteX13" fmla="*/ 3326152 w 4519952"/>
                  <a:gd name="connsiteY13" fmla="*/ 266700 h 4496940"/>
                  <a:gd name="connsiteX14" fmla="*/ 3354727 w 4519952"/>
                  <a:gd name="connsiteY14" fmla="*/ 285750 h 4496940"/>
                  <a:gd name="connsiteX15" fmla="*/ 3421402 w 4519952"/>
                  <a:gd name="connsiteY15" fmla="*/ 323850 h 4496940"/>
                  <a:gd name="connsiteX16" fmla="*/ 3469027 w 4519952"/>
                  <a:gd name="connsiteY16" fmla="*/ 361950 h 4496940"/>
                  <a:gd name="connsiteX17" fmla="*/ 3516652 w 4519952"/>
                  <a:gd name="connsiteY17" fmla="*/ 390525 h 4496940"/>
                  <a:gd name="connsiteX18" fmla="*/ 3545227 w 4519952"/>
                  <a:gd name="connsiteY18" fmla="*/ 419100 h 4496940"/>
                  <a:gd name="connsiteX19" fmla="*/ 3602377 w 4519952"/>
                  <a:gd name="connsiteY19" fmla="*/ 457200 h 4496940"/>
                  <a:gd name="connsiteX20" fmla="*/ 3630952 w 4519952"/>
                  <a:gd name="connsiteY20" fmla="*/ 485775 h 4496940"/>
                  <a:gd name="connsiteX21" fmla="*/ 3678577 w 4519952"/>
                  <a:gd name="connsiteY21" fmla="*/ 504825 h 4496940"/>
                  <a:gd name="connsiteX22" fmla="*/ 3745252 w 4519952"/>
                  <a:gd name="connsiteY22" fmla="*/ 542925 h 4496940"/>
                  <a:gd name="connsiteX23" fmla="*/ 3811927 w 4519952"/>
                  <a:gd name="connsiteY23" fmla="*/ 581025 h 4496940"/>
                  <a:gd name="connsiteX24" fmla="*/ 3840502 w 4519952"/>
                  <a:gd name="connsiteY24" fmla="*/ 600075 h 4496940"/>
                  <a:gd name="connsiteX25" fmla="*/ 3869077 w 4519952"/>
                  <a:gd name="connsiteY25" fmla="*/ 628650 h 4496940"/>
                  <a:gd name="connsiteX26" fmla="*/ 3907177 w 4519952"/>
                  <a:gd name="connsiteY26" fmla="*/ 647700 h 4496940"/>
                  <a:gd name="connsiteX27" fmla="*/ 3935752 w 4519952"/>
                  <a:gd name="connsiteY27" fmla="*/ 676275 h 4496940"/>
                  <a:gd name="connsiteX28" fmla="*/ 3992902 w 4519952"/>
                  <a:gd name="connsiteY28" fmla="*/ 714375 h 4496940"/>
                  <a:gd name="connsiteX29" fmla="*/ 4050052 w 4519952"/>
                  <a:gd name="connsiteY29" fmla="*/ 790575 h 4496940"/>
                  <a:gd name="connsiteX30" fmla="*/ 4078627 w 4519952"/>
                  <a:gd name="connsiteY30" fmla="*/ 838200 h 4496940"/>
                  <a:gd name="connsiteX31" fmla="*/ 4107202 w 4519952"/>
                  <a:gd name="connsiteY31" fmla="*/ 876300 h 4496940"/>
                  <a:gd name="connsiteX32" fmla="*/ 4116727 w 4519952"/>
                  <a:gd name="connsiteY32" fmla="*/ 904875 h 4496940"/>
                  <a:gd name="connsiteX33" fmla="*/ 4135777 w 4519952"/>
                  <a:gd name="connsiteY33" fmla="*/ 933450 h 4496940"/>
                  <a:gd name="connsiteX34" fmla="*/ 4164352 w 4519952"/>
                  <a:gd name="connsiteY34" fmla="*/ 990600 h 4496940"/>
                  <a:gd name="connsiteX35" fmla="*/ 4173877 w 4519952"/>
                  <a:gd name="connsiteY35" fmla="*/ 1019175 h 4496940"/>
                  <a:gd name="connsiteX36" fmla="*/ 4192927 w 4519952"/>
                  <a:gd name="connsiteY36" fmla="*/ 1057275 h 4496940"/>
                  <a:gd name="connsiteX37" fmla="*/ 4202452 w 4519952"/>
                  <a:gd name="connsiteY37" fmla="*/ 1085850 h 4496940"/>
                  <a:gd name="connsiteX38" fmla="*/ 4250077 w 4519952"/>
                  <a:gd name="connsiteY38" fmla="*/ 1143000 h 4496940"/>
                  <a:gd name="connsiteX39" fmla="*/ 4259602 w 4519952"/>
                  <a:gd name="connsiteY39" fmla="*/ 1190625 h 4496940"/>
                  <a:gd name="connsiteX40" fmla="*/ 4307227 w 4519952"/>
                  <a:gd name="connsiteY40" fmla="*/ 1266825 h 4496940"/>
                  <a:gd name="connsiteX41" fmla="*/ 4345327 w 4519952"/>
                  <a:gd name="connsiteY41" fmla="*/ 1362075 h 4496940"/>
                  <a:gd name="connsiteX42" fmla="*/ 4373902 w 4519952"/>
                  <a:gd name="connsiteY42" fmla="*/ 1428750 h 4496940"/>
                  <a:gd name="connsiteX43" fmla="*/ 4392952 w 4519952"/>
                  <a:gd name="connsiteY43" fmla="*/ 1552575 h 4496940"/>
                  <a:gd name="connsiteX44" fmla="*/ 4402477 w 4519952"/>
                  <a:gd name="connsiteY44" fmla="*/ 1590675 h 4496940"/>
                  <a:gd name="connsiteX45" fmla="*/ 4431052 w 4519952"/>
                  <a:gd name="connsiteY45" fmla="*/ 1685925 h 4496940"/>
                  <a:gd name="connsiteX46" fmla="*/ 4459627 w 4519952"/>
                  <a:gd name="connsiteY46" fmla="*/ 1828800 h 4496940"/>
                  <a:gd name="connsiteX47" fmla="*/ 4519952 w 4519952"/>
                  <a:gd name="connsiteY47" fmla="*/ 2181225 h 4496940"/>
                  <a:gd name="connsiteX48" fmla="*/ 4440577 w 4519952"/>
                  <a:gd name="connsiteY48" fmla="*/ 2876550 h 4496940"/>
                  <a:gd name="connsiteX49" fmla="*/ 4383427 w 4519952"/>
                  <a:gd name="connsiteY49" fmla="*/ 2990850 h 4496940"/>
                  <a:gd name="connsiteX50" fmla="*/ 4354852 w 4519952"/>
                  <a:gd name="connsiteY50" fmla="*/ 3057525 h 4496940"/>
                  <a:gd name="connsiteX51" fmla="*/ 4335802 w 4519952"/>
                  <a:gd name="connsiteY51" fmla="*/ 3095625 h 4496940"/>
                  <a:gd name="connsiteX52" fmla="*/ 4278652 w 4519952"/>
                  <a:gd name="connsiteY52" fmla="*/ 3248025 h 4496940"/>
                  <a:gd name="connsiteX53" fmla="*/ 4259602 w 4519952"/>
                  <a:gd name="connsiteY53" fmla="*/ 3276600 h 4496940"/>
                  <a:gd name="connsiteX54" fmla="*/ 4221502 w 4519952"/>
                  <a:gd name="connsiteY54" fmla="*/ 3333750 h 4496940"/>
                  <a:gd name="connsiteX55" fmla="*/ 4211977 w 4519952"/>
                  <a:gd name="connsiteY55" fmla="*/ 3362325 h 4496940"/>
                  <a:gd name="connsiteX56" fmla="*/ 4183402 w 4519952"/>
                  <a:gd name="connsiteY56" fmla="*/ 3400425 h 4496940"/>
                  <a:gd name="connsiteX57" fmla="*/ 4164352 w 4519952"/>
                  <a:gd name="connsiteY57" fmla="*/ 3429000 h 4496940"/>
                  <a:gd name="connsiteX58" fmla="*/ 4088152 w 4519952"/>
                  <a:gd name="connsiteY58" fmla="*/ 3495675 h 4496940"/>
                  <a:gd name="connsiteX59" fmla="*/ 4059577 w 4519952"/>
                  <a:gd name="connsiteY59" fmla="*/ 3533775 h 4496940"/>
                  <a:gd name="connsiteX60" fmla="*/ 4002427 w 4519952"/>
                  <a:gd name="connsiteY60" fmla="*/ 3600450 h 4496940"/>
                  <a:gd name="connsiteX61" fmla="*/ 3983377 w 4519952"/>
                  <a:gd name="connsiteY61" fmla="*/ 3629025 h 4496940"/>
                  <a:gd name="connsiteX62" fmla="*/ 3954802 w 4519952"/>
                  <a:gd name="connsiteY62" fmla="*/ 3648075 h 4496940"/>
                  <a:gd name="connsiteX63" fmla="*/ 3907177 w 4519952"/>
                  <a:gd name="connsiteY63" fmla="*/ 3686175 h 4496940"/>
                  <a:gd name="connsiteX64" fmla="*/ 3869077 w 4519952"/>
                  <a:gd name="connsiteY64" fmla="*/ 3724275 h 4496940"/>
                  <a:gd name="connsiteX65" fmla="*/ 3792877 w 4519952"/>
                  <a:gd name="connsiteY65" fmla="*/ 3781425 h 4496940"/>
                  <a:gd name="connsiteX66" fmla="*/ 3783352 w 4519952"/>
                  <a:gd name="connsiteY66" fmla="*/ 3810000 h 4496940"/>
                  <a:gd name="connsiteX67" fmla="*/ 3745252 w 4519952"/>
                  <a:gd name="connsiteY67" fmla="*/ 3819525 h 4496940"/>
                  <a:gd name="connsiteX68" fmla="*/ 3678577 w 4519952"/>
                  <a:gd name="connsiteY68" fmla="*/ 3848100 h 4496940"/>
                  <a:gd name="connsiteX69" fmla="*/ 3659527 w 4519952"/>
                  <a:gd name="connsiteY69" fmla="*/ 3971925 h 4496940"/>
                  <a:gd name="connsiteX70" fmla="*/ 3630952 w 4519952"/>
                  <a:gd name="connsiteY70" fmla="*/ 4010025 h 4496940"/>
                  <a:gd name="connsiteX71" fmla="*/ 3621427 w 4519952"/>
                  <a:gd name="connsiteY71" fmla="*/ 4038600 h 4496940"/>
                  <a:gd name="connsiteX72" fmla="*/ 3554752 w 4519952"/>
                  <a:gd name="connsiteY72" fmla="*/ 4095750 h 4496940"/>
                  <a:gd name="connsiteX73" fmla="*/ 3516652 w 4519952"/>
                  <a:gd name="connsiteY73" fmla="*/ 4114800 h 4496940"/>
                  <a:gd name="connsiteX74" fmla="*/ 3497602 w 4519952"/>
                  <a:gd name="connsiteY74" fmla="*/ 4143375 h 4496940"/>
                  <a:gd name="connsiteX75" fmla="*/ 3383302 w 4519952"/>
                  <a:gd name="connsiteY75" fmla="*/ 4210050 h 4496940"/>
                  <a:gd name="connsiteX76" fmla="*/ 3335677 w 4519952"/>
                  <a:gd name="connsiteY76" fmla="*/ 4238625 h 4496940"/>
                  <a:gd name="connsiteX77" fmla="*/ 3288052 w 4519952"/>
                  <a:gd name="connsiteY77" fmla="*/ 4248150 h 4496940"/>
                  <a:gd name="connsiteX78" fmla="*/ 3240427 w 4519952"/>
                  <a:gd name="connsiteY78" fmla="*/ 4267200 h 4496940"/>
                  <a:gd name="connsiteX79" fmla="*/ 3068977 w 4519952"/>
                  <a:gd name="connsiteY79" fmla="*/ 4286250 h 4496940"/>
                  <a:gd name="connsiteX80" fmla="*/ 2935627 w 4519952"/>
                  <a:gd name="connsiteY80" fmla="*/ 4333875 h 4496940"/>
                  <a:gd name="connsiteX81" fmla="*/ 2811802 w 4519952"/>
                  <a:gd name="connsiteY81" fmla="*/ 4371975 h 4496940"/>
                  <a:gd name="connsiteX82" fmla="*/ 2745127 w 4519952"/>
                  <a:gd name="connsiteY82" fmla="*/ 4410075 h 4496940"/>
                  <a:gd name="connsiteX83" fmla="*/ 2697502 w 4519952"/>
                  <a:gd name="connsiteY83" fmla="*/ 4429125 h 4496940"/>
                  <a:gd name="connsiteX84" fmla="*/ 2640352 w 4519952"/>
                  <a:gd name="connsiteY84" fmla="*/ 4457700 h 4496940"/>
                  <a:gd name="connsiteX85" fmla="*/ 2583202 w 4519952"/>
                  <a:gd name="connsiteY85" fmla="*/ 4467225 h 4496940"/>
                  <a:gd name="connsiteX86" fmla="*/ 2545102 w 4519952"/>
                  <a:gd name="connsiteY86" fmla="*/ 4486275 h 4496940"/>
                  <a:gd name="connsiteX87" fmla="*/ 2306977 w 4519952"/>
                  <a:gd name="connsiteY87" fmla="*/ 4476750 h 4496940"/>
                  <a:gd name="connsiteX88" fmla="*/ 2202202 w 4519952"/>
                  <a:gd name="connsiteY88" fmla="*/ 4457700 h 4496940"/>
                  <a:gd name="connsiteX89" fmla="*/ 2126002 w 4519952"/>
                  <a:gd name="connsiteY89" fmla="*/ 4429125 h 4496940"/>
                  <a:gd name="connsiteX90" fmla="*/ 1935502 w 4519952"/>
                  <a:gd name="connsiteY90" fmla="*/ 4400550 h 4496940"/>
                  <a:gd name="connsiteX91" fmla="*/ 1821202 w 4519952"/>
                  <a:gd name="connsiteY91" fmla="*/ 4371975 h 4496940"/>
                  <a:gd name="connsiteX92" fmla="*/ 1754527 w 4519952"/>
                  <a:gd name="connsiteY92" fmla="*/ 4352925 h 4496940"/>
                  <a:gd name="connsiteX93" fmla="*/ 1687852 w 4519952"/>
                  <a:gd name="connsiteY93" fmla="*/ 4343400 h 4496940"/>
                  <a:gd name="connsiteX94" fmla="*/ 1573552 w 4519952"/>
                  <a:gd name="connsiteY94" fmla="*/ 4305300 h 4496940"/>
                  <a:gd name="connsiteX95" fmla="*/ 1402102 w 4519952"/>
                  <a:gd name="connsiteY95" fmla="*/ 4276725 h 4496940"/>
                  <a:gd name="connsiteX96" fmla="*/ 1287802 w 4519952"/>
                  <a:gd name="connsiteY96" fmla="*/ 4229100 h 4496940"/>
                  <a:gd name="connsiteX97" fmla="*/ 1221127 w 4519952"/>
                  <a:gd name="connsiteY97" fmla="*/ 4200525 h 4496940"/>
                  <a:gd name="connsiteX98" fmla="*/ 1144927 w 4519952"/>
                  <a:gd name="connsiteY98" fmla="*/ 4171950 h 4496940"/>
                  <a:gd name="connsiteX99" fmla="*/ 1087777 w 4519952"/>
                  <a:gd name="connsiteY99" fmla="*/ 4143375 h 4496940"/>
                  <a:gd name="connsiteX100" fmla="*/ 1030627 w 4519952"/>
                  <a:gd name="connsiteY100" fmla="*/ 4124325 h 4496940"/>
                  <a:gd name="connsiteX101" fmla="*/ 925852 w 4519952"/>
                  <a:gd name="connsiteY101" fmla="*/ 4067175 h 4496940"/>
                  <a:gd name="connsiteX102" fmla="*/ 830602 w 4519952"/>
                  <a:gd name="connsiteY102" fmla="*/ 3981450 h 4496940"/>
                  <a:gd name="connsiteX103" fmla="*/ 763927 w 4519952"/>
                  <a:gd name="connsiteY103" fmla="*/ 3914775 h 4496940"/>
                  <a:gd name="connsiteX104" fmla="*/ 725827 w 4519952"/>
                  <a:gd name="connsiteY104" fmla="*/ 3876675 h 4496940"/>
                  <a:gd name="connsiteX105" fmla="*/ 697252 w 4519952"/>
                  <a:gd name="connsiteY105" fmla="*/ 3838575 h 4496940"/>
                  <a:gd name="connsiteX106" fmla="*/ 640102 w 4519952"/>
                  <a:gd name="connsiteY106" fmla="*/ 3781425 h 4496940"/>
                  <a:gd name="connsiteX107" fmla="*/ 611527 w 4519952"/>
                  <a:gd name="connsiteY107" fmla="*/ 3733800 h 4496940"/>
                  <a:gd name="connsiteX108" fmla="*/ 554377 w 4519952"/>
                  <a:gd name="connsiteY108" fmla="*/ 3657600 h 4496940"/>
                  <a:gd name="connsiteX109" fmla="*/ 525802 w 4519952"/>
                  <a:gd name="connsiteY109" fmla="*/ 3609975 h 4496940"/>
                  <a:gd name="connsiteX110" fmla="*/ 497227 w 4519952"/>
                  <a:gd name="connsiteY110" fmla="*/ 3552825 h 4496940"/>
                  <a:gd name="connsiteX111" fmla="*/ 440077 w 4519952"/>
                  <a:gd name="connsiteY111" fmla="*/ 3495675 h 4496940"/>
                  <a:gd name="connsiteX112" fmla="*/ 411502 w 4519952"/>
                  <a:gd name="connsiteY112" fmla="*/ 3448050 h 4496940"/>
                  <a:gd name="connsiteX113" fmla="*/ 278152 w 4519952"/>
                  <a:gd name="connsiteY113" fmla="*/ 3257550 h 4496940"/>
                  <a:gd name="connsiteX114" fmla="*/ 249577 w 4519952"/>
                  <a:gd name="connsiteY114" fmla="*/ 3200400 h 4496940"/>
                  <a:gd name="connsiteX115" fmla="*/ 240052 w 4519952"/>
                  <a:gd name="connsiteY115" fmla="*/ 3162300 h 4496940"/>
                  <a:gd name="connsiteX116" fmla="*/ 221002 w 4519952"/>
                  <a:gd name="connsiteY116" fmla="*/ 3105150 h 4496940"/>
                  <a:gd name="connsiteX117" fmla="*/ 173377 w 4519952"/>
                  <a:gd name="connsiteY117" fmla="*/ 3019425 h 4496940"/>
                  <a:gd name="connsiteX118" fmla="*/ 144802 w 4519952"/>
                  <a:gd name="connsiteY118" fmla="*/ 2924175 h 4496940"/>
                  <a:gd name="connsiteX119" fmla="*/ 68602 w 4519952"/>
                  <a:gd name="connsiteY119" fmla="*/ 2724150 h 4496940"/>
                  <a:gd name="connsiteX120" fmla="*/ 49552 w 4519952"/>
                  <a:gd name="connsiteY120" fmla="*/ 2638425 h 4496940"/>
                  <a:gd name="connsiteX121" fmla="*/ 40027 w 4519952"/>
                  <a:gd name="connsiteY121" fmla="*/ 2562225 h 4496940"/>
                  <a:gd name="connsiteX122" fmla="*/ 30502 w 4519952"/>
                  <a:gd name="connsiteY122" fmla="*/ 2514600 h 4496940"/>
                  <a:gd name="connsiteX123" fmla="*/ 11452 w 4519952"/>
                  <a:gd name="connsiteY123" fmla="*/ 2400300 h 4496940"/>
                  <a:gd name="connsiteX124" fmla="*/ 20977 w 4519952"/>
                  <a:gd name="connsiteY124" fmla="*/ 1905000 h 4496940"/>
                  <a:gd name="connsiteX125" fmla="*/ 30502 w 4519952"/>
                  <a:gd name="connsiteY125" fmla="*/ 1838325 h 4496940"/>
                  <a:gd name="connsiteX126" fmla="*/ 49552 w 4519952"/>
                  <a:gd name="connsiteY126" fmla="*/ 1781175 h 4496940"/>
                  <a:gd name="connsiteX127" fmla="*/ 59077 w 4519952"/>
                  <a:gd name="connsiteY127" fmla="*/ 1743075 h 4496940"/>
                  <a:gd name="connsiteX128" fmla="*/ 78127 w 4519952"/>
                  <a:gd name="connsiteY128" fmla="*/ 1685925 h 4496940"/>
                  <a:gd name="connsiteX129" fmla="*/ 87652 w 4519952"/>
                  <a:gd name="connsiteY129" fmla="*/ 1638300 h 4496940"/>
                  <a:gd name="connsiteX130" fmla="*/ 106702 w 4519952"/>
                  <a:gd name="connsiteY130" fmla="*/ 1590675 h 4496940"/>
                  <a:gd name="connsiteX131" fmla="*/ 135277 w 4519952"/>
                  <a:gd name="connsiteY131" fmla="*/ 1504950 h 4496940"/>
                  <a:gd name="connsiteX132" fmla="*/ 154327 w 4519952"/>
                  <a:gd name="connsiteY132" fmla="*/ 1419225 h 4496940"/>
                  <a:gd name="connsiteX133" fmla="*/ 230527 w 4519952"/>
                  <a:gd name="connsiteY133" fmla="*/ 1276350 h 4496940"/>
                  <a:gd name="connsiteX134" fmla="*/ 240052 w 4519952"/>
                  <a:gd name="connsiteY134" fmla="*/ 1247775 h 4496940"/>
                  <a:gd name="connsiteX135" fmla="*/ 268627 w 4519952"/>
                  <a:gd name="connsiteY135" fmla="*/ 1200150 h 4496940"/>
                  <a:gd name="connsiteX136" fmla="*/ 287677 w 4519952"/>
                  <a:gd name="connsiteY136" fmla="*/ 1152525 h 4496940"/>
                  <a:gd name="connsiteX137" fmla="*/ 316252 w 4519952"/>
                  <a:gd name="connsiteY137" fmla="*/ 1114425 h 4496940"/>
                  <a:gd name="connsiteX138" fmla="*/ 363877 w 4519952"/>
                  <a:gd name="connsiteY138" fmla="*/ 1038225 h 4496940"/>
                  <a:gd name="connsiteX139" fmla="*/ 382927 w 4519952"/>
                  <a:gd name="connsiteY139" fmla="*/ 1009650 h 4496940"/>
                  <a:gd name="connsiteX140" fmla="*/ 440077 w 4519952"/>
                  <a:gd name="connsiteY140" fmla="*/ 904875 h 4496940"/>
                  <a:gd name="connsiteX141" fmla="*/ 478177 w 4519952"/>
                  <a:gd name="connsiteY141" fmla="*/ 857250 h 4496940"/>
                  <a:gd name="connsiteX142" fmla="*/ 497227 w 4519952"/>
                  <a:gd name="connsiteY142" fmla="*/ 828675 h 4496940"/>
                  <a:gd name="connsiteX143" fmla="*/ 535327 w 4519952"/>
                  <a:gd name="connsiteY143" fmla="*/ 800100 h 4496940"/>
                  <a:gd name="connsiteX144" fmla="*/ 602002 w 4519952"/>
                  <a:gd name="connsiteY144" fmla="*/ 733425 h 4496940"/>
                  <a:gd name="connsiteX145" fmla="*/ 668677 w 4519952"/>
                  <a:gd name="connsiteY145" fmla="*/ 676275 h 4496940"/>
                  <a:gd name="connsiteX146" fmla="*/ 697252 w 4519952"/>
                  <a:gd name="connsiteY146" fmla="*/ 657225 h 4496940"/>
                  <a:gd name="connsiteX147" fmla="*/ 840127 w 4519952"/>
                  <a:gd name="connsiteY147" fmla="*/ 533400 h 4496940"/>
                  <a:gd name="connsiteX148" fmla="*/ 887752 w 4519952"/>
                  <a:gd name="connsiteY148" fmla="*/ 504825 h 4496940"/>
                  <a:gd name="connsiteX149" fmla="*/ 1167152 w 4519952"/>
                  <a:gd name="connsiteY149" fmla="*/ 311150 h 4496940"/>
                  <a:gd name="connsiteX150" fmla="*/ 1268752 w 4519952"/>
                  <a:gd name="connsiteY150" fmla="*/ 285750 h 4496940"/>
                  <a:gd name="connsiteX151" fmla="*/ 1411627 w 4519952"/>
                  <a:gd name="connsiteY151" fmla="*/ 190500 h 4496940"/>
                  <a:gd name="connsiteX152" fmla="*/ 1449727 w 4519952"/>
                  <a:gd name="connsiteY152" fmla="*/ 161925 h 4496940"/>
                  <a:gd name="connsiteX153" fmla="*/ 1525927 w 4519952"/>
                  <a:gd name="connsiteY153" fmla="*/ 152400 h 4496940"/>
                  <a:gd name="connsiteX154" fmla="*/ 1583077 w 4519952"/>
                  <a:gd name="connsiteY154" fmla="*/ 142875 h 4496940"/>
                  <a:gd name="connsiteX155" fmla="*/ 1716427 w 4519952"/>
                  <a:gd name="connsiteY155" fmla="*/ 123825 h 4496940"/>
                  <a:gd name="connsiteX156" fmla="*/ 1811677 w 4519952"/>
                  <a:gd name="connsiteY156" fmla="*/ 114300 h 4496940"/>
                  <a:gd name="connsiteX157" fmla="*/ 1859302 w 4519952"/>
                  <a:gd name="connsiteY157" fmla="*/ 104775 h 4496940"/>
                  <a:gd name="connsiteX158" fmla="*/ 1916452 w 4519952"/>
                  <a:gd name="connsiteY158" fmla="*/ 95250 h 4496940"/>
                  <a:gd name="connsiteX159" fmla="*/ 2030752 w 4519952"/>
                  <a:gd name="connsiteY159" fmla="*/ 66675 h 4496940"/>
                  <a:gd name="connsiteX160" fmla="*/ 2097427 w 4519952"/>
                  <a:gd name="connsiteY160" fmla="*/ 47625 h 4496940"/>
                  <a:gd name="connsiteX161" fmla="*/ 2164102 w 4519952"/>
                  <a:gd name="connsiteY161" fmla="*/ 38100 h 4496940"/>
                  <a:gd name="connsiteX162" fmla="*/ 2392702 w 4519952"/>
                  <a:gd name="connsiteY162" fmla="*/ 28575 h 4496940"/>
                  <a:gd name="connsiteX0" fmla="*/ 2297452 w 4519983"/>
                  <a:gd name="connsiteY0" fmla="*/ 0 h 4496940"/>
                  <a:gd name="connsiteX1" fmla="*/ 2421277 w 4519983"/>
                  <a:gd name="connsiteY1" fmla="*/ 28575 h 4496940"/>
                  <a:gd name="connsiteX2" fmla="*/ 2497477 w 4519983"/>
                  <a:gd name="connsiteY2" fmla="*/ 47625 h 4496940"/>
                  <a:gd name="connsiteX3" fmla="*/ 2754652 w 4519983"/>
                  <a:gd name="connsiteY3" fmla="*/ 66675 h 4496940"/>
                  <a:gd name="connsiteX4" fmla="*/ 2830852 w 4519983"/>
                  <a:gd name="connsiteY4" fmla="*/ 76200 h 4496940"/>
                  <a:gd name="connsiteX5" fmla="*/ 2916577 w 4519983"/>
                  <a:gd name="connsiteY5" fmla="*/ 85725 h 4496940"/>
                  <a:gd name="connsiteX6" fmla="*/ 2973727 w 4519983"/>
                  <a:gd name="connsiteY6" fmla="*/ 114300 h 4496940"/>
                  <a:gd name="connsiteX7" fmla="*/ 3011827 w 4519983"/>
                  <a:gd name="connsiteY7" fmla="*/ 123825 h 4496940"/>
                  <a:gd name="connsiteX8" fmla="*/ 3135652 w 4519983"/>
                  <a:gd name="connsiteY8" fmla="*/ 171450 h 4496940"/>
                  <a:gd name="connsiteX9" fmla="*/ 3173752 w 4519983"/>
                  <a:gd name="connsiteY9" fmla="*/ 190500 h 4496940"/>
                  <a:gd name="connsiteX10" fmla="*/ 3240427 w 4519983"/>
                  <a:gd name="connsiteY10" fmla="*/ 228600 h 4496940"/>
                  <a:gd name="connsiteX11" fmla="*/ 3269002 w 4519983"/>
                  <a:gd name="connsiteY11" fmla="*/ 238125 h 4496940"/>
                  <a:gd name="connsiteX12" fmla="*/ 3297577 w 4519983"/>
                  <a:gd name="connsiteY12" fmla="*/ 257175 h 4496940"/>
                  <a:gd name="connsiteX13" fmla="*/ 3326152 w 4519983"/>
                  <a:gd name="connsiteY13" fmla="*/ 266700 h 4496940"/>
                  <a:gd name="connsiteX14" fmla="*/ 3354727 w 4519983"/>
                  <a:gd name="connsiteY14" fmla="*/ 285750 h 4496940"/>
                  <a:gd name="connsiteX15" fmla="*/ 3421402 w 4519983"/>
                  <a:gd name="connsiteY15" fmla="*/ 323850 h 4496940"/>
                  <a:gd name="connsiteX16" fmla="*/ 3469027 w 4519983"/>
                  <a:gd name="connsiteY16" fmla="*/ 361950 h 4496940"/>
                  <a:gd name="connsiteX17" fmla="*/ 3516652 w 4519983"/>
                  <a:gd name="connsiteY17" fmla="*/ 390525 h 4496940"/>
                  <a:gd name="connsiteX18" fmla="*/ 3545227 w 4519983"/>
                  <a:gd name="connsiteY18" fmla="*/ 419100 h 4496940"/>
                  <a:gd name="connsiteX19" fmla="*/ 3602377 w 4519983"/>
                  <a:gd name="connsiteY19" fmla="*/ 457200 h 4496940"/>
                  <a:gd name="connsiteX20" fmla="*/ 3630952 w 4519983"/>
                  <a:gd name="connsiteY20" fmla="*/ 485775 h 4496940"/>
                  <a:gd name="connsiteX21" fmla="*/ 3678577 w 4519983"/>
                  <a:gd name="connsiteY21" fmla="*/ 504825 h 4496940"/>
                  <a:gd name="connsiteX22" fmla="*/ 3745252 w 4519983"/>
                  <a:gd name="connsiteY22" fmla="*/ 542925 h 4496940"/>
                  <a:gd name="connsiteX23" fmla="*/ 3811927 w 4519983"/>
                  <a:gd name="connsiteY23" fmla="*/ 581025 h 4496940"/>
                  <a:gd name="connsiteX24" fmla="*/ 3840502 w 4519983"/>
                  <a:gd name="connsiteY24" fmla="*/ 600075 h 4496940"/>
                  <a:gd name="connsiteX25" fmla="*/ 3869077 w 4519983"/>
                  <a:gd name="connsiteY25" fmla="*/ 628650 h 4496940"/>
                  <a:gd name="connsiteX26" fmla="*/ 3907177 w 4519983"/>
                  <a:gd name="connsiteY26" fmla="*/ 647700 h 4496940"/>
                  <a:gd name="connsiteX27" fmla="*/ 3935752 w 4519983"/>
                  <a:gd name="connsiteY27" fmla="*/ 676275 h 4496940"/>
                  <a:gd name="connsiteX28" fmla="*/ 3992902 w 4519983"/>
                  <a:gd name="connsiteY28" fmla="*/ 714375 h 4496940"/>
                  <a:gd name="connsiteX29" fmla="*/ 4050052 w 4519983"/>
                  <a:gd name="connsiteY29" fmla="*/ 790575 h 4496940"/>
                  <a:gd name="connsiteX30" fmla="*/ 4078627 w 4519983"/>
                  <a:gd name="connsiteY30" fmla="*/ 838200 h 4496940"/>
                  <a:gd name="connsiteX31" fmla="*/ 4107202 w 4519983"/>
                  <a:gd name="connsiteY31" fmla="*/ 876300 h 4496940"/>
                  <a:gd name="connsiteX32" fmla="*/ 4116727 w 4519983"/>
                  <a:gd name="connsiteY32" fmla="*/ 904875 h 4496940"/>
                  <a:gd name="connsiteX33" fmla="*/ 4135777 w 4519983"/>
                  <a:gd name="connsiteY33" fmla="*/ 933450 h 4496940"/>
                  <a:gd name="connsiteX34" fmla="*/ 4164352 w 4519983"/>
                  <a:gd name="connsiteY34" fmla="*/ 990600 h 4496940"/>
                  <a:gd name="connsiteX35" fmla="*/ 4173877 w 4519983"/>
                  <a:gd name="connsiteY35" fmla="*/ 1019175 h 4496940"/>
                  <a:gd name="connsiteX36" fmla="*/ 4192927 w 4519983"/>
                  <a:gd name="connsiteY36" fmla="*/ 1057275 h 4496940"/>
                  <a:gd name="connsiteX37" fmla="*/ 4202452 w 4519983"/>
                  <a:gd name="connsiteY37" fmla="*/ 1085850 h 4496940"/>
                  <a:gd name="connsiteX38" fmla="*/ 4250077 w 4519983"/>
                  <a:gd name="connsiteY38" fmla="*/ 1143000 h 4496940"/>
                  <a:gd name="connsiteX39" fmla="*/ 4259602 w 4519983"/>
                  <a:gd name="connsiteY39" fmla="*/ 1190625 h 4496940"/>
                  <a:gd name="connsiteX40" fmla="*/ 4307227 w 4519983"/>
                  <a:gd name="connsiteY40" fmla="*/ 1266825 h 4496940"/>
                  <a:gd name="connsiteX41" fmla="*/ 4345327 w 4519983"/>
                  <a:gd name="connsiteY41" fmla="*/ 1362075 h 4496940"/>
                  <a:gd name="connsiteX42" fmla="*/ 4373902 w 4519983"/>
                  <a:gd name="connsiteY42" fmla="*/ 1428750 h 4496940"/>
                  <a:gd name="connsiteX43" fmla="*/ 4392952 w 4519983"/>
                  <a:gd name="connsiteY43" fmla="*/ 1552575 h 4496940"/>
                  <a:gd name="connsiteX44" fmla="*/ 4402477 w 4519983"/>
                  <a:gd name="connsiteY44" fmla="*/ 1590675 h 4496940"/>
                  <a:gd name="connsiteX45" fmla="*/ 4431052 w 4519983"/>
                  <a:gd name="connsiteY45" fmla="*/ 1685925 h 4496940"/>
                  <a:gd name="connsiteX46" fmla="*/ 4519952 w 4519983"/>
                  <a:gd name="connsiteY46" fmla="*/ 2181225 h 4496940"/>
                  <a:gd name="connsiteX47" fmla="*/ 4440577 w 4519983"/>
                  <a:gd name="connsiteY47" fmla="*/ 2876550 h 4496940"/>
                  <a:gd name="connsiteX48" fmla="*/ 4383427 w 4519983"/>
                  <a:gd name="connsiteY48" fmla="*/ 2990850 h 4496940"/>
                  <a:gd name="connsiteX49" fmla="*/ 4354852 w 4519983"/>
                  <a:gd name="connsiteY49" fmla="*/ 3057525 h 4496940"/>
                  <a:gd name="connsiteX50" fmla="*/ 4335802 w 4519983"/>
                  <a:gd name="connsiteY50" fmla="*/ 3095625 h 4496940"/>
                  <a:gd name="connsiteX51" fmla="*/ 4278652 w 4519983"/>
                  <a:gd name="connsiteY51" fmla="*/ 3248025 h 4496940"/>
                  <a:gd name="connsiteX52" fmla="*/ 4259602 w 4519983"/>
                  <a:gd name="connsiteY52" fmla="*/ 3276600 h 4496940"/>
                  <a:gd name="connsiteX53" fmla="*/ 4221502 w 4519983"/>
                  <a:gd name="connsiteY53" fmla="*/ 3333750 h 4496940"/>
                  <a:gd name="connsiteX54" fmla="*/ 4211977 w 4519983"/>
                  <a:gd name="connsiteY54" fmla="*/ 3362325 h 4496940"/>
                  <a:gd name="connsiteX55" fmla="*/ 4183402 w 4519983"/>
                  <a:gd name="connsiteY55" fmla="*/ 3400425 h 4496940"/>
                  <a:gd name="connsiteX56" fmla="*/ 4164352 w 4519983"/>
                  <a:gd name="connsiteY56" fmla="*/ 3429000 h 4496940"/>
                  <a:gd name="connsiteX57" fmla="*/ 4088152 w 4519983"/>
                  <a:gd name="connsiteY57" fmla="*/ 3495675 h 4496940"/>
                  <a:gd name="connsiteX58" fmla="*/ 4059577 w 4519983"/>
                  <a:gd name="connsiteY58" fmla="*/ 3533775 h 4496940"/>
                  <a:gd name="connsiteX59" fmla="*/ 4002427 w 4519983"/>
                  <a:gd name="connsiteY59" fmla="*/ 3600450 h 4496940"/>
                  <a:gd name="connsiteX60" fmla="*/ 3983377 w 4519983"/>
                  <a:gd name="connsiteY60" fmla="*/ 3629025 h 4496940"/>
                  <a:gd name="connsiteX61" fmla="*/ 3954802 w 4519983"/>
                  <a:gd name="connsiteY61" fmla="*/ 3648075 h 4496940"/>
                  <a:gd name="connsiteX62" fmla="*/ 3907177 w 4519983"/>
                  <a:gd name="connsiteY62" fmla="*/ 3686175 h 4496940"/>
                  <a:gd name="connsiteX63" fmla="*/ 3869077 w 4519983"/>
                  <a:gd name="connsiteY63" fmla="*/ 3724275 h 4496940"/>
                  <a:gd name="connsiteX64" fmla="*/ 3792877 w 4519983"/>
                  <a:gd name="connsiteY64" fmla="*/ 3781425 h 4496940"/>
                  <a:gd name="connsiteX65" fmla="*/ 3783352 w 4519983"/>
                  <a:gd name="connsiteY65" fmla="*/ 3810000 h 4496940"/>
                  <a:gd name="connsiteX66" fmla="*/ 3745252 w 4519983"/>
                  <a:gd name="connsiteY66" fmla="*/ 3819525 h 4496940"/>
                  <a:gd name="connsiteX67" fmla="*/ 3678577 w 4519983"/>
                  <a:gd name="connsiteY67" fmla="*/ 3848100 h 4496940"/>
                  <a:gd name="connsiteX68" fmla="*/ 3659527 w 4519983"/>
                  <a:gd name="connsiteY68" fmla="*/ 3971925 h 4496940"/>
                  <a:gd name="connsiteX69" fmla="*/ 3630952 w 4519983"/>
                  <a:gd name="connsiteY69" fmla="*/ 4010025 h 4496940"/>
                  <a:gd name="connsiteX70" fmla="*/ 3621427 w 4519983"/>
                  <a:gd name="connsiteY70" fmla="*/ 4038600 h 4496940"/>
                  <a:gd name="connsiteX71" fmla="*/ 3554752 w 4519983"/>
                  <a:gd name="connsiteY71" fmla="*/ 4095750 h 4496940"/>
                  <a:gd name="connsiteX72" fmla="*/ 3516652 w 4519983"/>
                  <a:gd name="connsiteY72" fmla="*/ 4114800 h 4496940"/>
                  <a:gd name="connsiteX73" fmla="*/ 3497602 w 4519983"/>
                  <a:gd name="connsiteY73" fmla="*/ 4143375 h 4496940"/>
                  <a:gd name="connsiteX74" fmla="*/ 3383302 w 4519983"/>
                  <a:gd name="connsiteY74" fmla="*/ 4210050 h 4496940"/>
                  <a:gd name="connsiteX75" fmla="*/ 3335677 w 4519983"/>
                  <a:gd name="connsiteY75" fmla="*/ 4238625 h 4496940"/>
                  <a:gd name="connsiteX76" fmla="*/ 3288052 w 4519983"/>
                  <a:gd name="connsiteY76" fmla="*/ 4248150 h 4496940"/>
                  <a:gd name="connsiteX77" fmla="*/ 3240427 w 4519983"/>
                  <a:gd name="connsiteY77" fmla="*/ 4267200 h 4496940"/>
                  <a:gd name="connsiteX78" fmla="*/ 3068977 w 4519983"/>
                  <a:gd name="connsiteY78" fmla="*/ 4286250 h 4496940"/>
                  <a:gd name="connsiteX79" fmla="*/ 2935627 w 4519983"/>
                  <a:gd name="connsiteY79" fmla="*/ 4333875 h 4496940"/>
                  <a:gd name="connsiteX80" fmla="*/ 2811802 w 4519983"/>
                  <a:gd name="connsiteY80" fmla="*/ 4371975 h 4496940"/>
                  <a:gd name="connsiteX81" fmla="*/ 2745127 w 4519983"/>
                  <a:gd name="connsiteY81" fmla="*/ 4410075 h 4496940"/>
                  <a:gd name="connsiteX82" fmla="*/ 2697502 w 4519983"/>
                  <a:gd name="connsiteY82" fmla="*/ 4429125 h 4496940"/>
                  <a:gd name="connsiteX83" fmla="*/ 2640352 w 4519983"/>
                  <a:gd name="connsiteY83" fmla="*/ 4457700 h 4496940"/>
                  <a:gd name="connsiteX84" fmla="*/ 2583202 w 4519983"/>
                  <a:gd name="connsiteY84" fmla="*/ 4467225 h 4496940"/>
                  <a:gd name="connsiteX85" fmla="*/ 2545102 w 4519983"/>
                  <a:gd name="connsiteY85" fmla="*/ 4486275 h 4496940"/>
                  <a:gd name="connsiteX86" fmla="*/ 2306977 w 4519983"/>
                  <a:gd name="connsiteY86" fmla="*/ 4476750 h 4496940"/>
                  <a:gd name="connsiteX87" fmla="*/ 2202202 w 4519983"/>
                  <a:gd name="connsiteY87" fmla="*/ 4457700 h 4496940"/>
                  <a:gd name="connsiteX88" fmla="*/ 2126002 w 4519983"/>
                  <a:gd name="connsiteY88" fmla="*/ 4429125 h 4496940"/>
                  <a:gd name="connsiteX89" fmla="*/ 1935502 w 4519983"/>
                  <a:gd name="connsiteY89" fmla="*/ 4400550 h 4496940"/>
                  <a:gd name="connsiteX90" fmla="*/ 1821202 w 4519983"/>
                  <a:gd name="connsiteY90" fmla="*/ 4371975 h 4496940"/>
                  <a:gd name="connsiteX91" fmla="*/ 1754527 w 4519983"/>
                  <a:gd name="connsiteY91" fmla="*/ 4352925 h 4496940"/>
                  <a:gd name="connsiteX92" fmla="*/ 1687852 w 4519983"/>
                  <a:gd name="connsiteY92" fmla="*/ 4343400 h 4496940"/>
                  <a:gd name="connsiteX93" fmla="*/ 1573552 w 4519983"/>
                  <a:gd name="connsiteY93" fmla="*/ 4305300 h 4496940"/>
                  <a:gd name="connsiteX94" fmla="*/ 1402102 w 4519983"/>
                  <a:gd name="connsiteY94" fmla="*/ 4276725 h 4496940"/>
                  <a:gd name="connsiteX95" fmla="*/ 1287802 w 4519983"/>
                  <a:gd name="connsiteY95" fmla="*/ 4229100 h 4496940"/>
                  <a:gd name="connsiteX96" fmla="*/ 1221127 w 4519983"/>
                  <a:gd name="connsiteY96" fmla="*/ 4200525 h 4496940"/>
                  <a:gd name="connsiteX97" fmla="*/ 1144927 w 4519983"/>
                  <a:gd name="connsiteY97" fmla="*/ 4171950 h 4496940"/>
                  <a:gd name="connsiteX98" fmla="*/ 1087777 w 4519983"/>
                  <a:gd name="connsiteY98" fmla="*/ 4143375 h 4496940"/>
                  <a:gd name="connsiteX99" fmla="*/ 1030627 w 4519983"/>
                  <a:gd name="connsiteY99" fmla="*/ 4124325 h 4496940"/>
                  <a:gd name="connsiteX100" fmla="*/ 925852 w 4519983"/>
                  <a:gd name="connsiteY100" fmla="*/ 4067175 h 4496940"/>
                  <a:gd name="connsiteX101" fmla="*/ 830602 w 4519983"/>
                  <a:gd name="connsiteY101" fmla="*/ 3981450 h 4496940"/>
                  <a:gd name="connsiteX102" fmla="*/ 763927 w 4519983"/>
                  <a:gd name="connsiteY102" fmla="*/ 3914775 h 4496940"/>
                  <a:gd name="connsiteX103" fmla="*/ 725827 w 4519983"/>
                  <a:gd name="connsiteY103" fmla="*/ 3876675 h 4496940"/>
                  <a:gd name="connsiteX104" fmla="*/ 697252 w 4519983"/>
                  <a:gd name="connsiteY104" fmla="*/ 3838575 h 4496940"/>
                  <a:gd name="connsiteX105" fmla="*/ 640102 w 4519983"/>
                  <a:gd name="connsiteY105" fmla="*/ 3781425 h 4496940"/>
                  <a:gd name="connsiteX106" fmla="*/ 611527 w 4519983"/>
                  <a:gd name="connsiteY106" fmla="*/ 3733800 h 4496940"/>
                  <a:gd name="connsiteX107" fmla="*/ 554377 w 4519983"/>
                  <a:gd name="connsiteY107" fmla="*/ 3657600 h 4496940"/>
                  <a:gd name="connsiteX108" fmla="*/ 525802 w 4519983"/>
                  <a:gd name="connsiteY108" fmla="*/ 3609975 h 4496940"/>
                  <a:gd name="connsiteX109" fmla="*/ 497227 w 4519983"/>
                  <a:gd name="connsiteY109" fmla="*/ 3552825 h 4496940"/>
                  <a:gd name="connsiteX110" fmla="*/ 440077 w 4519983"/>
                  <a:gd name="connsiteY110" fmla="*/ 3495675 h 4496940"/>
                  <a:gd name="connsiteX111" fmla="*/ 411502 w 4519983"/>
                  <a:gd name="connsiteY111" fmla="*/ 3448050 h 4496940"/>
                  <a:gd name="connsiteX112" fmla="*/ 278152 w 4519983"/>
                  <a:gd name="connsiteY112" fmla="*/ 3257550 h 4496940"/>
                  <a:gd name="connsiteX113" fmla="*/ 249577 w 4519983"/>
                  <a:gd name="connsiteY113" fmla="*/ 3200400 h 4496940"/>
                  <a:gd name="connsiteX114" fmla="*/ 240052 w 4519983"/>
                  <a:gd name="connsiteY114" fmla="*/ 3162300 h 4496940"/>
                  <a:gd name="connsiteX115" fmla="*/ 221002 w 4519983"/>
                  <a:gd name="connsiteY115" fmla="*/ 3105150 h 4496940"/>
                  <a:gd name="connsiteX116" fmla="*/ 173377 w 4519983"/>
                  <a:gd name="connsiteY116" fmla="*/ 3019425 h 4496940"/>
                  <a:gd name="connsiteX117" fmla="*/ 144802 w 4519983"/>
                  <a:gd name="connsiteY117" fmla="*/ 2924175 h 4496940"/>
                  <a:gd name="connsiteX118" fmla="*/ 68602 w 4519983"/>
                  <a:gd name="connsiteY118" fmla="*/ 2724150 h 4496940"/>
                  <a:gd name="connsiteX119" fmla="*/ 49552 w 4519983"/>
                  <a:gd name="connsiteY119" fmla="*/ 2638425 h 4496940"/>
                  <a:gd name="connsiteX120" fmla="*/ 40027 w 4519983"/>
                  <a:gd name="connsiteY120" fmla="*/ 2562225 h 4496940"/>
                  <a:gd name="connsiteX121" fmla="*/ 30502 w 4519983"/>
                  <a:gd name="connsiteY121" fmla="*/ 2514600 h 4496940"/>
                  <a:gd name="connsiteX122" fmla="*/ 11452 w 4519983"/>
                  <a:gd name="connsiteY122" fmla="*/ 2400300 h 4496940"/>
                  <a:gd name="connsiteX123" fmla="*/ 20977 w 4519983"/>
                  <a:gd name="connsiteY123" fmla="*/ 1905000 h 4496940"/>
                  <a:gd name="connsiteX124" fmla="*/ 30502 w 4519983"/>
                  <a:gd name="connsiteY124" fmla="*/ 1838325 h 4496940"/>
                  <a:gd name="connsiteX125" fmla="*/ 49552 w 4519983"/>
                  <a:gd name="connsiteY125" fmla="*/ 1781175 h 4496940"/>
                  <a:gd name="connsiteX126" fmla="*/ 59077 w 4519983"/>
                  <a:gd name="connsiteY126" fmla="*/ 1743075 h 4496940"/>
                  <a:gd name="connsiteX127" fmla="*/ 78127 w 4519983"/>
                  <a:gd name="connsiteY127" fmla="*/ 1685925 h 4496940"/>
                  <a:gd name="connsiteX128" fmla="*/ 87652 w 4519983"/>
                  <a:gd name="connsiteY128" fmla="*/ 1638300 h 4496940"/>
                  <a:gd name="connsiteX129" fmla="*/ 106702 w 4519983"/>
                  <a:gd name="connsiteY129" fmla="*/ 1590675 h 4496940"/>
                  <a:gd name="connsiteX130" fmla="*/ 135277 w 4519983"/>
                  <a:gd name="connsiteY130" fmla="*/ 1504950 h 4496940"/>
                  <a:gd name="connsiteX131" fmla="*/ 154327 w 4519983"/>
                  <a:gd name="connsiteY131" fmla="*/ 1419225 h 4496940"/>
                  <a:gd name="connsiteX132" fmla="*/ 230527 w 4519983"/>
                  <a:gd name="connsiteY132" fmla="*/ 1276350 h 4496940"/>
                  <a:gd name="connsiteX133" fmla="*/ 240052 w 4519983"/>
                  <a:gd name="connsiteY133" fmla="*/ 1247775 h 4496940"/>
                  <a:gd name="connsiteX134" fmla="*/ 268627 w 4519983"/>
                  <a:gd name="connsiteY134" fmla="*/ 1200150 h 4496940"/>
                  <a:gd name="connsiteX135" fmla="*/ 287677 w 4519983"/>
                  <a:gd name="connsiteY135" fmla="*/ 1152525 h 4496940"/>
                  <a:gd name="connsiteX136" fmla="*/ 316252 w 4519983"/>
                  <a:gd name="connsiteY136" fmla="*/ 1114425 h 4496940"/>
                  <a:gd name="connsiteX137" fmla="*/ 363877 w 4519983"/>
                  <a:gd name="connsiteY137" fmla="*/ 1038225 h 4496940"/>
                  <a:gd name="connsiteX138" fmla="*/ 382927 w 4519983"/>
                  <a:gd name="connsiteY138" fmla="*/ 1009650 h 4496940"/>
                  <a:gd name="connsiteX139" fmla="*/ 440077 w 4519983"/>
                  <a:gd name="connsiteY139" fmla="*/ 904875 h 4496940"/>
                  <a:gd name="connsiteX140" fmla="*/ 478177 w 4519983"/>
                  <a:gd name="connsiteY140" fmla="*/ 857250 h 4496940"/>
                  <a:gd name="connsiteX141" fmla="*/ 497227 w 4519983"/>
                  <a:gd name="connsiteY141" fmla="*/ 828675 h 4496940"/>
                  <a:gd name="connsiteX142" fmla="*/ 535327 w 4519983"/>
                  <a:gd name="connsiteY142" fmla="*/ 800100 h 4496940"/>
                  <a:gd name="connsiteX143" fmla="*/ 602002 w 4519983"/>
                  <a:gd name="connsiteY143" fmla="*/ 733425 h 4496940"/>
                  <a:gd name="connsiteX144" fmla="*/ 668677 w 4519983"/>
                  <a:gd name="connsiteY144" fmla="*/ 676275 h 4496940"/>
                  <a:gd name="connsiteX145" fmla="*/ 697252 w 4519983"/>
                  <a:gd name="connsiteY145" fmla="*/ 657225 h 4496940"/>
                  <a:gd name="connsiteX146" fmla="*/ 840127 w 4519983"/>
                  <a:gd name="connsiteY146" fmla="*/ 533400 h 4496940"/>
                  <a:gd name="connsiteX147" fmla="*/ 887752 w 4519983"/>
                  <a:gd name="connsiteY147" fmla="*/ 504825 h 4496940"/>
                  <a:gd name="connsiteX148" fmla="*/ 1167152 w 4519983"/>
                  <a:gd name="connsiteY148" fmla="*/ 311150 h 4496940"/>
                  <a:gd name="connsiteX149" fmla="*/ 1268752 w 4519983"/>
                  <a:gd name="connsiteY149" fmla="*/ 285750 h 4496940"/>
                  <a:gd name="connsiteX150" fmla="*/ 1411627 w 4519983"/>
                  <a:gd name="connsiteY150" fmla="*/ 190500 h 4496940"/>
                  <a:gd name="connsiteX151" fmla="*/ 1449727 w 4519983"/>
                  <a:gd name="connsiteY151" fmla="*/ 161925 h 4496940"/>
                  <a:gd name="connsiteX152" fmla="*/ 1525927 w 4519983"/>
                  <a:gd name="connsiteY152" fmla="*/ 152400 h 4496940"/>
                  <a:gd name="connsiteX153" fmla="*/ 1583077 w 4519983"/>
                  <a:gd name="connsiteY153" fmla="*/ 142875 h 4496940"/>
                  <a:gd name="connsiteX154" fmla="*/ 1716427 w 4519983"/>
                  <a:gd name="connsiteY154" fmla="*/ 123825 h 4496940"/>
                  <a:gd name="connsiteX155" fmla="*/ 1811677 w 4519983"/>
                  <a:gd name="connsiteY155" fmla="*/ 114300 h 4496940"/>
                  <a:gd name="connsiteX156" fmla="*/ 1859302 w 4519983"/>
                  <a:gd name="connsiteY156" fmla="*/ 104775 h 4496940"/>
                  <a:gd name="connsiteX157" fmla="*/ 1916452 w 4519983"/>
                  <a:gd name="connsiteY157" fmla="*/ 95250 h 4496940"/>
                  <a:gd name="connsiteX158" fmla="*/ 2030752 w 4519983"/>
                  <a:gd name="connsiteY158" fmla="*/ 66675 h 4496940"/>
                  <a:gd name="connsiteX159" fmla="*/ 2097427 w 4519983"/>
                  <a:gd name="connsiteY159" fmla="*/ 47625 h 4496940"/>
                  <a:gd name="connsiteX160" fmla="*/ 2164102 w 4519983"/>
                  <a:gd name="connsiteY160" fmla="*/ 38100 h 4496940"/>
                  <a:gd name="connsiteX161" fmla="*/ 2392702 w 4519983"/>
                  <a:gd name="connsiteY16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3992902 w 4519987"/>
                  <a:gd name="connsiteY28" fmla="*/ 714375 h 4496940"/>
                  <a:gd name="connsiteX29" fmla="*/ 4050052 w 4519987"/>
                  <a:gd name="connsiteY29" fmla="*/ 790575 h 4496940"/>
                  <a:gd name="connsiteX30" fmla="*/ 4078627 w 4519987"/>
                  <a:gd name="connsiteY30" fmla="*/ 838200 h 4496940"/>
                  <a:gd name="connsiteX31" fmla="*/ 4107202 w 4519987"/>
                  <a:gd name="connsiteY31" fmla="*/ 876300 h 4496940"/>
                  <a:gd name="connsiteX32" fmla="*/ 4116727 w 4519987"/>
                  <a:gd name="connsiteY32" fmla="*/ 904875 h 4496940"/>
                  <a:gd name="connsiteX33" fmla="*/ 4135777 w 4519987"/>
                  <a:gd name="connsiteY33" fmla="*/ 933450 h 4496940"/>
                  <a:gd name="connsiteX34" fmla="*/ 4164352 w 4519987"/>
                  <a:gd name="connsiteY34" fmla="*/ 990600 h 4496940"/>
                  <a:gd name="connsiteX35" fmla="*/ 4173877 w 4519987"/>
                  <a:gd name="connsiteY35" fmla="*/ 1019175 h 4496940"/>
                  <a:gd name="connsiteX36" fmla="*/ 4192927 w 4519987"/>
                  <a:gd name="connsiteY36" fmla="*/ 1057275 h 4496940"/>
                  <a:gd name="connsiteX37" fmla="*/ 4202452 w 4519987"/>
                  <a:gd name="connsiteY37" fmla="*/ 1085850 h 4496940"/>
                  <a:gd name="connsiteX38" fmla="*/ 4250077 w 4519987"/>
                  <a:gd name="connsiteY38" fmla="*/ 1143000 h 4496940"/>
                  <a:gd name="connsiteX39" fmla="*/ 4259602 w 4519987"/>
                  <a:gd name="connsiteY39" fmla="*/ 1190625 h 4496940"/>
                  <a:gd name="connsiteX40" fmla="*/ 4307227 w 4519987"/>
                  <a:gd name="connsiteY40" fmla="*/ 1266825 h 4496940"/>
                  <a:gd name="connsiteX41" fmla="*/ 4345327 w 4519987"/>
                  <a:gd name="connsiteY41" fmla="*/ 1362075 h 4496940"/>
                  <a:gd name="connsiteX42" fmla="*/ 4373902 w 4519987"/>
                  <a:gd name="connsiteY42" fmla="*/ 1428750 h 4496940"/>
                  <a:gd name="connsiteX43" fmla="*/ 4392952 w 4519987"/>
                  <a:gd name="connsiteY43" fmla="*/ 1552575 h 4496940"/>
                  <a:gd name="connsiteX44" fmla="*/ 4402477 w 4519987"/>
                  <a:gd name="connsiteY44" fmla="*/ 1590675 h 4496940"/>
                  <a:gd name="connsiteX45" fmla="*/ 4431052 w 4519987"/>
                  <a:gd name="connsiteY45" fmla="*/ 1685925 h 4496940"/>
                  <a:gd name="connsiteX46" fmla="*/ 4519952 w 4519987"/>
                  <a:gd name="connsiteY46" fmla="*/ 2181225 h 4496940"/>
                  <a:gd name="connsiteX47" fmla="*/ 4446927 w 4519987"/>
                  <a:gd name="connsiteY47" fmla="*/ 2768600 h 4496940"/>
                  <a:gd name="connsiteX48" fmla="*/ 4383427 w 4519987"/>
                  <a:gd name="connsiteY48" fmla="*/ 2990850 h 4496940"/>
                  <a:gd name="connsiteX49" fmla="*/ 4354852 w 4519987"/>
                  <a:gd name="connsiteY49" fmla="*/ 3057525 h 4496940"/>
                  <a:gd name="connsiteX50" fmla="*/ 4335802 w 4519987"/>
                  <a:gd name="connsiteY50" fmla="*/ 3095625 h 4496940"/>
                  <a:gd name="connsiteX51" fmla="*/ 4278652 w 4519987"/>
                  <a:gd name="connsiteY51" fmla="*/ 3248025 h 4496940"/>
                  <a:gd name="connsiteX52" fmla="*/ 4259602 w 4519987"/>
                  <a:gd name="connsiteY52" fmla="*/ 3276600 h 4496940"/>
                  <a:gd name="connsiteX53" fmla="*/ 4221502 w 4519987"/>
                  <a:gd name="connsiteY53" fmla="*/ 3333750 h 4496940"/>
                  <a:gd name="connsiteX54" fmla="*/ 4211977 w 4519987"/>
                  <a:gd name="connsiteY54" fmla="*/ 3362325 h 4496940"/>
                  <a:gd name="connsiteX55" fmla="*/ 4183402 w 4519987"/>
                  <a:gd name="connsiteY55" fmla="*/ 3400425 h 4496940"/>
                  <a:gd name="connsiteX56" fmla="*/ 4164352 w 4519987"/>
                  <a:gd name="connsiteY56" fmla="*/ 3429000 h 4496940"/>
                  <a:gd name="connsiteX57" fmla="*/ 4088152 w 4519987"/>
                  <a:gd name="connsiteY57" fmla="*/ 3495675 h 4496940"/>
                  <a:gd name="connsiteX58" fmla="*/ 4059577 w 4519987"/>
                  <a:gd name="connsiteY58" fmla="*/ 3533775 h 4496940"/>
                  <a:gd name="connsiteX59" fmla="*/ 4002427 w 4519987"/>
                  <a:gd name="connsiteY59" fmla="*/ 3600450 h 4496940"/>
                  <a:gd name="connsiteX60" fmla="*/ 3983377 w 4519987"/>
                  <a:gd name="connsiteY60" fmla="*/ 3629025 h 4496940"/>
                  <a:gd name="connsiteX61" fmla="*/ 3954802 w 4519987"/>
                  <a:gd name="connsiteY61" fmla="*/ 3648075 h 4496940"/>
                  <a:gd name="connsiteX62" fmla="*/ 3907177 w 4519987"/>
                  <a:gd name="connsiteY62" fmla="*/ 3686175 h 4496940"/>
                  <a:gd name="connsiteX63" fmla="*/ 3869077 w 4519987"/>
                  <a:gd name="connsiteY63" fmla="*/ 3724275 h 4496940"/>
                  <a:gd name="connsiteX64" fmla="*/ 3792877 w 4519987"/>
                  <a:gd name="connsiteY64" fmla="*/ 3781425 h 4496940"/>
                  <a:gd name="connsiteX65" fmla="*/ 3783352 w 4519987"/>
                  <a:gd name="connsiteY65" fmla="*/ 3810000 h 4496940"/>
                  <a:gd name="connsiteX66" fmla="*/ 3745252 w 4519987"/>
                  <a:gd name="connsiteY66" fmla="*/ 3819525 h 4496940"/>
                  <a:gd name="connsiteX67" fmla="*/ 3678577 w 4519987"/>
                  <a:gd name="connsiteY67" fmla="*/ 3848100 h 4496940"/>
                  <a:gd name="connsiteX68" fmla="*/ 3659527 w 4519987"/>
                  <a:gd name="connsiteY68" fmla="*/ 3971925 h 4496940"/>
                  <a:gd name="connsiteX69" fmla="*/ 3630952 w 4519987"/>
                  <a:gd name="connsiteY69" fmla="*/ 4010025 h 4496940"/>
                  <a:gd name="connsiteX70" fmla="*/ 3621427 w 4519987"/>
                  <a:gd name="connsiteY70" fmla="*/ 4038600 h 4496940"/>
                  <a:gd name="connsiteX71" fmla="*/ 3554752 w 4519987"/>
                  <a:gd name="connsiteY71" fmla="*/ 4095750 h 4496940"/>
                  <a:gd name="connsiteX72" fmla="*/ 3516652 w 4519987"/>
                  <a:gd name="connsiteY72" fmla="*/ 4114800 h 4496940"/>
                  <a:gd name="connsiteX73" fmla="*/ 3497602 w 4519987"/>
                  <a:gd name="connsiteY73" fmla="*/ 4143375 h 4496940"/>
                  <a:gd name="connsiteX74" fmla="*/ 3383302 w 4519987"/>
                  <a:gd name="connsiteY74" fmla="*/ 4210050 h 4496940"/>
                  <a:gd name="connsiteX75" fmla="*/ 3335677 w 4519987"/>
                  <a:gd name="connsiteY75" fmla="*/ 4238625 h 4496940"/>
                  <a:gd name="connsiteX76" fmla="*/ 3288052 w 4519987"/>
                  <a:gd name="connsiteY76" fmla="*/ 4248150 h 4496940"/>
                  <a:gd name="connsiteX77" fmla="*/ 3240427 w 4519987"/>
                  <a:gd name="connsiteY77" fmla="*/ 4267200 h 4496940"/>
                  <a:gd name="connsiteX78" fmla="*/ 3068977 w 4519987"/>
                  <a:gd name="connsiteY78" fmla="*/ 4286250 h 4496940"/>
                  <a:gd name="connsiteX79" fmla="*/ 2935627 w 4519987"/>
                  <a:gd name="connsiteY79" fmla="*/ 4333875 h 4496940"/>
                  <a:gd name="connsiteX80" fmla="*/ 2811802 w 4519987"/>
                  <a:gd name="connsiteY80" fmla="*/ 4371975 h 4496940"/>
                  <a:gd name="connsiteX81" fmla="*/ 2745127 w 4519987"/>
                  <a:gd name="connsiteY81" fmla="*/ 4410075 h 4496940"/>
                  <a:gd name="connsiteX82" fmla="*/ 2697502 w 4519987"/>
                  <a:gd name="connsiteY82" fmla="*/ 4429125 h 4496940"/>
                  <a:gd name="connsiteX83" fmla="*/ 2640352 w 4519987"/>
                  <a:gd name="connsiteY83" fmla="*/ 4457700 h 4496940"/>
                  <a:gd name="connsiteX84" fmla="*/ 2583202 w 4519987"/>
                  <a:gd name="connsiteY84" fmla="*/ 4467225 h 4496940"/>
                  <a:gd name="connsiteX85" fmla="*/ 2545102 w 4519987"/>
                  <a:gd name="connsiteY85" fmla="*/ 4486275 h 4496940"/>
                  <a:gd name="connsiteX86" fmla="*/ 2306977 w 4519987"/>
                  <a:gd name="connsiteY86" fmla="*/ 4476750 h 4496940"/>
                  <a:gd name="connsiteX87" fmla="*/ 2202202 w 4519987"/>
                  <a:gd name="connsiteY87" fmla="*/ 4457700 h 4496940"/>
                  <a:gd name="connsiteX88" fmla="*/ 2126002 w 4519987"/>
                  <a:gd name="connsiteY88" fmla="*/ 4429125 h 4496940"/>
                  <a:gd name="connsiteX89" fmla="*/ 1935502 w 4519987"/>
                  <a:gd name="connsiteY89" fmla="*/ 4400550 h 4496940"/>
                  <a:gd name="connsiteX90" fmla="*/ 1821202 w 4519987"/>
                  <a:gd name="connsiteY90" fmla="*/ 4371975 h 4496940"/>
                  <a:gd name="connsiteX91" fmla="*/ 1754527 w 4519987"/>
                  <a:gd name="connsiteY91" fmla="*/ 4352925 h 4496940"/>
                  <a:gd name="connsiteX92" fmla="*/ 1687852 w 4519987"/>
                  <a:gd name="connsiteY92" fmla="*/ 4343400 h 4496940"/>
                  <a:gd name="connsiteX93" fmla="*/ 1573552 w 4519987"/>
                  <a:gd name="connsiteY93" fmla="*/ 4305300 h 4496940"/>
                  <a:gd name="connsiteX94" fmla="*/ 1402102 w 4519987"/>
                  <a:gd name="connsiteY94" fmla="*/ 4276725 h 4496940"/>
                  <a:gd name="connsiteX95" fmla="*/ 1287802 w 4519987"/>
                  <a:gd name="connsiteY95" fmla="*/ 4229100 h 4496940"/>
                  <a:gd name="connsiteX96" fmla="*/ 1221127 w 4519987"/>
                  <a:gd name="connsiteY96" fmla="*/ 4200525 h 4496940"/>
                  <a:gd name="connsiteX97" fmla="*/ 1144927 w 4519987"/>
                  <a:gd name="connsiteY97" fmla="*/ 4171950 h 4496940"/>
                  <a:gd name="connsiteX98" fmla="*/ 1087777 w 4519987"/>
                  <a:gd name="connsiteY98" fmla="*/ 4143375 h 4496940"/>
                  <a:gd name="connsiteX99" fmla="*/ 1030627 w 4519987"/>
                  <a:gd name="connsiteY99" fmla="*/ 4124325 h 4496940"/>
                  <a:gd name="connsiteX100" fmla="*/ 925852 w 4519987"/>
                  <a:gd name="connsiteY100" fmla="*/ 4067175 h 4496940"/>
                  <a:gd name="connsiteX101" fmla="*/ 830602 w 4519987"/>
                  <a:gd name="connsiteY101" fmla="*/ 3981450 h 4496940"/>
                  <a:gd name="connsiteX102" fmla="*/ 763927 w 4519987"/>
                  <a:gd name="connsiteY102" fmla="*/ 3914775 h 4496940"/>
                  <a:gd name="connsiteX103" fmla="*/ 725827 w 4519987"/>
                  <a:gd name="connsiteY103" fmla="*/ 3876675 h 4496940"/>
                  <a:gd name="connsiteX104" fmla="*/ 697252 w 4519987"/>
                  <a:gd name="connsiteY104" fmla="*/ 3838575 h 4496940"/>
                  <a:gd name="connsiteX105" fmla="*/ 640102 w 4519987"/>
                  <a:gd name="connsiteY105" fmla="*/ 3781425 h 4496940"/>
                  <a:gd name="connsiteX106" fmla="*/ 611527 w 4519987"/>
                  <a:gd name="connsiteY106" fmla="*/ 3733800 h 4496940"/>
                  <a:gd name="connsiteX107" fmla="*/ 554377 w 4519987"/>
                  <a:gd name="connsiteY107" fmla="*/ 3657600 h 4496940"/>
                  <a:gd name="connsiteX108" fmla="*/ 525802 w 4519987"/>
                  <a:gd name="connsiteY108" fmla="*/ 3609975 h 4496940"/>
                  <a:gd name="connsiteX109" fmla="*/ 497227 w 4519987"/>
                  <a:gd name="connsiteY109" fmla="*/ 3552825 h 4496940"/>
                  <a:gd name="connsiteX110" fmla="*/ 440077 w 4519987"/>
                  <a:gd name="connsiteY110" fmla="*/ 3495675 h 4496940"/>
                  <a:gd name="connsiteX111" fmla="*/ 411502 w 4519987"/>
                  <a:gd name="connsiteY111" fmla="*/ 3448050 h 4496940"/>
                  <a:gd name="connsiteX112" fmla="*/ 278152 w 4519987"/>
                  <a:gd name="connsiteY112" fmla="*/ 3257550 h 4496940"/>
                  <a:gd name="connsiteX113" fmla="*/ 249577 w 4519987"/>
                  <a:gd name="connsiteY113" fmla="*/ 3200400 h 4496940"/>
                  <a:gd name="connsiteX114" fmla="*/ 240052 w 4519987"/>
                  <a:gd name="connsiteY114" fmla="*/ 3162300 h 4496940"/>
                  <a:gd name="connsiteX115" fmla="*/ 221002 w 4519987"/>
                  <a:gd name="connsiteY115" fmla="*/ 3105150 h 4496940"/>
                  <a:gd name="connsiteX116" fmla="*/ 173377 w 4519987"/>
                  <a:gd name="connsiteY116" fmla="*/ 3019425 h 4496940"/>
                  <a:gd name="connsiteX117" fmla="*/ 144802 w 4519987"/>
                  <a:gd name="connsiteY117" fmla="*/ 2924175 h 4496940"/>
                  <a:gd name="connsiteX118" fmla="*/ 68602 w 4519987"/>
                  <a:gd name="connsiteY118" fmla="*/ 2724150 h 4496940"/>
                  <a:gd name="connsiteX119" fmla="*/ 49552 w 4519987"/>
                  <a:gd name="connsiteY119" fmla="*/ 2638425 h 4496940"/>
                  <a:gd name="connsiteX120" fmla="*/ 40027 w 4519987"/>
                  <a:gd name="connsiteY120" fmla="*/ 2562225 h 4496940"/>
                  <a:gd name="connsiteX121" fmla="*/ 30502 w 4519987"/>
                  <a:gd name="connsiteY121" fmla="*/ 2514600 h 4496940"/>
                  <a:gd name="connsiteX122" fmla="*/ 11452 w 4519987"/>
                  <a:gd name="connsiteY122" fmla="*/ 2400300 h 4496940"/>
                  <a:gd name="connsiteX123" fmla="*/ 20977 w 4519987"/>
                  <a:gd name="connsiteY123" fmla="*/ 1905000 h 4496940"/>
                  <a:gd name="connsiteX124" fmla="*/ 30502 w 4519987"/>
                  <a:gd name="connsiteY124" fmla="*/ 1838325 h 4496940"/>
                  <a:gd name="connsiteX125" fmla="*/ 49552 w 4519987"/>
                  <a:gd name="connsiteY125" fmla="*/ 1781175 h 4496940"/>
                  <a:gd name="connsiteX126" fmla="*/ 59077 w 4519987"/>
                  <a:gd name="connsiteY126" fmla="*/ 1743075 h 4496940"/>
                  <a:gd name="connsiteX127" fmla="*/ 78127 w 4519987"/>
                  <a:gd name="connsiteY127" fmla="*/ 1685925 h 4496940"/>
                  <a:gd name="connsiteX128" fmla="*/ 87652 w 4519987"/>
                  <a:gd name="connsiteY128" fmla="*/ 1638300 h 4496940"/>
                  <a:gd name="connsiteX129" fmla="*/ 106702 w 4519987"/>
                  <a:gd name="connsiteY129" fmla="*/ 1590675 h 4496940"/>
                  <a:gd name="connsiteX130" fmla="*/ 135277 w 4519987"/>
                  <a:gd name="connsiteY130" fmla="*/ 1504950 h 4496940"/>
                  <a:gd name="connsiteX131" fmla="*/ 154327 w 4519987"/>
                  <a:gd name="connsiteY131" fmla="*/ 1419225 h 4496940"/>
                  <a:gd name="connsiteX132" fmla="*/ 230527 w 4519987"/>
                  <a:gd name="connsiteY132" fmla="*/ 1276350 h 4496940"/>
                  <a:gd name="connsiteX133" fmla="*/ 240052 w 4519987"/>
                  <a:gd name="connsiteY133" fmla="*/ 1247775 h 4496940"/>
                  <a:gd name="connsiteX134" fmla="*/ 268627 w 4519987"/>
                  <a:gd name="connsiteY134" fmla="*/ 1200150 h 4496940"/>
                  <a:gd name="connsiteX135" fmla="*/ 287677 w 4519987"/>
                  <a:gd name="connsiteY135" fmla="*/ 1152525 h 4496940"/>
                  <a:gd name="connsiteX136" fmla="*/ 316252 w 4519987"/>
                  <a:gd name="connsiteY136" fmla="*/ 1114425 h 4496940"/>
                  <a:gd name="connsiteX137" fmla="*/ 363877 w 4519987"/>
                  <a:gd name="connsiteY137" fmla="*/ 1038225 h 4496940"/>
                  <a:gd name="connsiteX138" fmla="*/ 382927 w 4519987"/>
                  <a:gd name="connsiteY138" fmla="*/ 1009650 h 4496940"/>
                  <a:gd name="connsiteX139" fmla="*/ 440077 w 4519987"/>
                  <a:gd name="connsiteY139" fmla="*/ 904875 h 4496940"/>
                  <a:gd name="connsiteX140" fmla="*/ 478177 w 4519987"/>
                  <a:gd name="connsiteY140" fmla="*/ 857250 h 4496940"/>
                  <a:gd name="connsiteX141" fmla="*/ 497227 w 4519987"/>
                  <a:gd name="connsiteY141" fmla="*/ 828675 h 4496940"/>
                  <a:gd name="connsiteX142" fmla="*/ 535327 w 4519987"/>
                  <a:gd name="connsiteY142" fmla="*/ 800100 h 4496940"/>
                  <a:gd name="connsiteX143" fmla="*/ 602002 w 4519987"/>
                  <a:gd name="connsiteY143" fmla="*/ 733425 h 4496940"/>
                  <a:gd name="connsiteX144" fmla="*/ 668677 w 4519987"/>
                  <a:gd name="connsiteY144" fmla="*/ 676275 h 4496940"/>
                  <a:gd name="connsiteX145" fmla="*/ 697252 w 4519987"/>
                  <a:gd name="connsiteY145" fmla="*/ 657225 h 4496940"/>
                  <a:gd name="connsiteX146" fmla="*/ 840127 w 4519987"/>
                  <a:gd name="connsiteY146" fmla="*/ 533400 h 4496940"/>
                  <a:gd name="connsiteX147" fmla="*/ 887752 w 4519987"/>
                  <a:gd name="connsiteY147" fmla="*/ 504825 h 4496940"/>
                  <a:gd name="connsiteX148" fmla="*/ 1167152 w 4519987"/>
                  <a:gd name="connsiteY148" fmla="*/ 311150 h 4496940"/>
                  <a:gd name="connsiteX149" fmla="*/ 1268752 w 4519987"/>
                  <a:gd name="connsiteY149" fmla="*/ 285750 h 4496940"/>
                  <a:gd name="connsiteX150" fmla="*/ 1411627 w 4519987"/>
                  <a:gd name="connsiteY150" fmla="*/ 190500 h 4496940"/>
                  <a:gd name="connsiteX151" fmla="*/ 1449727 w 4519987"/>
                  <a:gd name="connsiteY151" fmla="*/ 161925 h 4496940"/>
                  <a:gd name="connsiteX152" fmla="*/ 1525927 w 4519987"/>
                  <a:gd name="connsiteY152" fmla="*/ 152400 h 4496940"/>
                  <a:gd name="connsiteX153" fmla="*/ 1583077 w 4519987"/>
                  <a:gd name="connsiteY153" fmla="*/ 142875 h 4496940"/>
                  <a:gd name="connsiteX154" fmla="*/ 1716427 w 4519987"/>
                  <a:gd name="connsiteY154" fmla="*/ 123825 h 4496940"/>
                  <a:gd name="connsiteX155" fmla="*/ 1811677 w 4519987"/>
                  <a:gd name="connsiteY155" fmla="*/ 114300 h 4496940"/>
                  <a:gd name="connsiteX156" fmla="*/ 1859302 w 4519987"/>
                  <a:gd name="connsiteY156" fmla="*/ 104775 h 4496940"/>
                  <a:gd name="connsiteX157" fmla="*/ 1916452 w 4519987"/>
                  <a:gd name="connsiteY157" fmla="*/ 95250 h 4496940"/>
                  <a:gd name="connsiteX158" fmla="*/ 2030752 w 4519987"/>
                  <a:gd name="connsiteY158" fmla="*/ 66675 h 4496940"/>
                  <a:gd name="connsiteX159" fmla="*/ 2097427 w 4519987"/>
                  <a:gd name="connsiteY159" fmla="*/ 47625 h 4496940"/>
                  <a:gd name="connsiteX160" fmla="*/ 2164102 w 4519987"/>
                  <a:gd name="connsiteY160" fmla="*/ 38100 h 4496940"/>
                  <a:gd name="connsiteX161" fmla="*/ 2392702 w 4519987"/>
                  <a:gd name="connsiteY16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3992902 w 4519987"/>
                  <a:gd name="connsiteY28" fmla="*/ 714375 h 4496940"/>
                  <a:gd name="connsiteX29" fmla="*/ 4050052 w 4519987"/>
                  <a:gd name="connsiteY29" fmla="*/ 790575 h 4496940"/>
                  <a:gd name="connsiteX30" fmla="*/ 4078627 w 4519987"/>
                  <a:gd name="connsiteY30" fmla="*/ 838200 h 4496940"/>
                  <a:gd name="connsiteX31" fmla="*/ 4107202 w 4519987"/>
                  <a:gd name="connsiteY31" fmla="*/ 876300 h 4496940"/>
                  <a:gd name="connsiteX32" fmla="*/ 4116727 w 4519987"/>
                  <a:gd name="connsiteY32" fmla="*/ 904875 h 4496940"/>
                  <a:gd name="connsiteX33" fmla="*/ 4135777 w 4519987"/>
                  <a:gd name="connsiteY33" fmla="*/ 933450 h 4496940"/>
                  <a:gd name="connsiteX34" fmla="*/ 4164352 w 4519987"/>
                  <a:gd name="connsiteY34" fmla="*/ 990600 h 4496940"/>
                  <a:gd name="connsiteX35" fmla="*/ 4173877 w 4519987"/>
                  <a:gd name="connsiteY35" fmla="*/ 1019175 h 4496940"/>
                  <a:gd name="connsiteX36" fmla="*/ 4192927 w 4519987"/>
                  <a:gd name="connsiteY36" fmla="*/ 1057275 h 4496940"/>
                  <a:gd name="connsiteX37" fmla="*/ 4202452 w 4519987"/>
                  <a:gd name="connsiteY37" fmla="*/ 1085850 h 4496940"/>
                  <a:gd name="connsiteX38" fmla="*/ 4250077 w 4519987"/>
                  <a:gd name="connsiteY38" fmla="*/ 1143000 h 4496940"/>
                  <a:gd name="connsiteX39" fmla="*/ 4259602 w 4519987"/>
                  <a:gd name="connsiteY39" fmla="*/ 1190625 h 4496940"/>
                  <a:gd name="connsiteX40" fmla="*/ 4307227 w 4519987"/>
                  <a:gd name="connsiteY40" fmla="*/ 1266825 h 4496940"/>
                  <a:gd name="connsiteX41" fmla="*/ 4345327 w 4519987"/>
                  <a:gd name="connsiteY41" fmla="*/ 1362075 h 4496940"/>
                  <a:gd name="connsiteX42" fmla="*/ 4373902 w 4519987"/>
                  <a:gd name="connsiteY42" fmla="*/ 1428750 h 4496940"/>
                  <a:gd name="connsiteX43" fmla="*/ 4392952 w 4519987"/>
                  <a:gd name="connsiteY43" fmla="*/ 1552575 h 4496940"/>
                  <a:gd name="connsiteX44" fmla="*/ 4402477 w 4519987"/>
                  <a:gd name="connsiteY44" fmla="*/ 1590675 h 4496940"/>
                  <a:gd name="connsiteX45" fmla="*/ 4431052 w 4519987"/>
                  <a:gd name="connsiteY45" fmla="*/ 1685925 h 4496940"/>
                  <a:gd name="connsiteX46" fmla="*/ 4519952 w 4519987"/>
                  <a:gd name="connsiteY46" fmla="*/ 2181225 h 4496940"/>
                  <a:gd name="connsiteX47" fmla="*/ 4446927 w 4519987"/>
                  <a:gd name="connsiteY47" fmla="*/ 2768600 h 4496940"/>
                  <a:gd name="connsiteX48" fmla="*/ 4383427 w 4519987"/>
                  <a:gd name="connsiteY48" fmla="*/ 2990850 h 4496940"/>
                  <a:gd name="connsiteX49" fmla="*/ 4354852 w 4519987"/>
                  <a:gd name="connsiteY49" fmla="*/ 3057525 h 4496940"/>
                  <a:gd name="connsiteX50" fmla="*/ 4278652 w 4519987"/>
                  <a:gd name="connsiteY50" fmla="*/ 3248025 h 4496940"/>
                  <a:gd name="connsiteX51" fmla="*/ 4259602 w 4519987"/>
                  <a:gd name="connsiteY51" fmla="*/ 3276600 h 4496940"/>
                  <a:gd name="connsiteX52" fmla="*/ 4221502 w 4519987"/>
                  <a:gd name="connsiteY52" fmla="*/ 3333750 h 4496940"/>
                  <a:gd name="connsiteX53" fmla="*/ 4211977 w 4519987"/>
                  <a:gd name="connsiteY53" fmla="*/ 3362325 h 4496940"/>
                  <a:gd name="connsiteX54" fmla="*/ 4183402 w 4519987"/>
                  <a:gd name="connsiteY54" fmla="*/ 3400425 h 4496940"/>
                  <a:gd name="connsiteX55" fmla="*/ 4164352 w 4519987"/>
                  <a:gd name="connsiteY55" fmla="*/ 3429000 h 4496940"/>
                  <a:gd name="connsiteX56" fmla="*/ 4088152 w 4519987"/>
                  <a:gd name="connsiteY56" fmla="*/ 3495675 h 4496940"/>
                  <a:gd name="connsiteX57" fmla="*/ 4059577 w 4519987"/>
                  <a:gd name="connsiteY57" fmla="*/ 3533775 h 4496940"/>
                  <a:gd name="connsiteX58" fmla="*/ 4002427 w 4519987"/>
                  <a:gd name="connsiteY58" fmla="*/ 3600450 h 4496940"/>
                  <a:gd name="connsiteX59" fmla="*/ 3983377 w 4519987"/>
                  <a:gd name="connsiteY59" fmla="*/ 3629025 h 4496940"/>
                  <a:gd name="connsiteX60" fmla="*/ 3954802 w 4519987"/>
                  <a:gd name="connsiteY60" fmla="*/ 3648075 h 4496940"/>
                  <a:gd name="connsiteX61" fmla="*/ 3907177 w 4519987"/>
                  <a:gd name="connsiteY61" fmla="*/ 3686175 h 4496940"/>
                  <a:gd name="connsiteX62" fmla="*/ 3869077 w 4519987"/>
                  <a:gd name="connsiteY62" fmla="*/ 3724275 h 4496940"/>
                  <a:gd name="connsiteX63" fmla="*/ 3792877 w 4519987"/>
                  <a:gd name="connsiteY63" fmla="*/ 3781425 h 4496940"/>
                  <a:gd name="connsiteX64" fmla="*/ 3783352 w 4519987"/>
                  <a:gd name="connsiteY64" fmla="*/ 3810000 h 4496940"/>
                  <a:gd name="connsiteX65" fmla="*/ 3745252 w 4519987"/>
                  <a:gd name="connsiteY65" fmla="*/ 3819525 h 4496940"/>
                  <a:gd name="connsiteX66" fmla="*/ 3678577 w 4519987"/>
                  <a:gd name="connsiteY66" fmla="*/ 3848100 h 4496940"/>
                  <a:gd name="connsiteX67" fmla="*/ 3659527 w 4519987"/>
                  <a:gd name="connsiteY67" fmla="*/ 3971925 h 4496940"/>
                  <a:gd name="connsiteX68" fmla="*/ 3630952 w 4519987"/>
                  <a:gd name="connsiteY68" fmla="*/ 4010025 h 4496940"/>
                  <a:gd name="connsiteX69" fmla="*/ 3621427 w 4519987"/>
                  <a:gd name="connsiteY69" fmla="*/ 4038600 h 4496940"/>
                  <a:gd name="connsiteX70" fmla="*/ 3554752 w 4519987"/>
                  <a:gd name="connsiteY70" fmla="*/ 4095750 h 4496940"/>
                  <a:gd name="connsiteX71" fmla="*/ 3516652 w 4519987"/>
                  <a:gd name="connsiteY71" fmla="*/ 4114800 h 4496940"/>
                  <a:gd name="connsiteX72" fmla="*/ 3497602 w 4519987"/>
                  <a:gd name="connsiteY72" fmla="*/ 4143375 h 4496940"/>
                  <a:gd name="connsiteX73" fmla="*/ 3383302 w 4519987"/>
                  <a:gd name="connsiteY73" fmla="*/ 4210050 h 4496940"/>
                  <a:gd name="connsiteX74" fmla="*/ 3335677 w 4519987"/>
                  <a:gd name="connsiteY74" fmla="*/ 4238625 h 4496940"/>
                  <a:gd name="connsiteX75" fmla="*/ 3288052 w 4519987"/>
                  <a:gd name="connsiteY75" fmla="*/ 4248150 h 4496940"/>
                  <a:gd name="connsiteX76" fmla="*/ 3240427 w 4519987"/>
                  <a:gd name="connsiteY76" fmla="*/ 4267200 h 4496940"/>
                  <a:gd name="connsiteX77" fmla="*/ 3068977 w 4519987"/>
                  <a:gd name="connsiteY77" fmla="*/ 4286250 h 4496940"/>
                  <a:gd name="connsiteX78" fmla="*/ 2935627 w 4519987"/>
                  <a:gd name="connsiteY78" fmla="*/ 4333875 h 4496940"/>
                  <a:gd name="connsiteX79" fmla="*/ 2811802 w 4519987"/>
                  <a:gd name="connsiteY79" fmla="*/ 4371975 h 4496940"/>
                  <a:gd name="connsiteX80" fmla="*/ 2745127 w 4519987"/>
                  <a:gd name="connsiteY80" fmla="*/ 4410075 h 4496940"/>
                  <a:gd name="connsiteX81" fmla="*/ 2697502 w 4519987"/>
                  <a:gd name="connsiteY81" fmla="*/ 4429125 h 4496940"/>
                  <a:gd name="connsiteX82" fmla="*/ 2640352 w 4519987"/>
                  <a:gd name="connsiteY82" fmla="*/ 4457700 h 4496940"/>
                  <a:gd name="connsiteX83" fmla="*/ 2583202 w 4519987"/>
                  <a:gd name="connsiteY83" fmla="*/ 4467225 h 4496940"/>
                  <a:gd name="connsiteX84" fmla="*/ 2545102 w 4519987"/>
                  <a:gd name="connsiteY84" fmla="*/ 4486275 h 4496940"/>
                  <a:gd name="connsiteX85" fmla="*/ 2306977 w 4519987"/>
                  <a:gd name="connsiteY85" fmla="*/ 4476750 h 4496940"/>
                  <a:gd name="connsiteX86" fmla="*/ 2202202 w 4519987"/>
                  <a:gd name="connsiteY86" fmla="*/ 4457700 h 4496940"/>
                  <a:gd name="connsiteX87" fmla="*/ 2126002 w 4519987"/>
                  <a:gd name="connsiteY87" fmla="*/ 4429125 h 4496940"/>
                  <a:gd name="connsiteX88" fmla="*/ 1935502 w 4519987"/>
                  <a:gd name="connsiteY88" fmla="*/ 4400550 h 4496940"/>
                  <a:gd name="connsiteX89" fmla="*/ 1821202 w 4519987"/>
                  <a:gd name="connsiteY89" fmla="*/ 4371975 h 4496940"/>
                  <a:gd name="connsiteX90" fmla="*/ 1754527 w 4519987"/>
                  <a:gd name="connsiteY90" fmla="*/ 4352925 h 4496940"/>
                  <a:gd name="connsiteX91" fmla="*/ 1687852 w 4519987"/>
                  <a:gd name="connsiteY91" fmla="*/ 4343400 h 4496940"/>
                  <a:gd name="connsiteX92" fmla="*/ 1573552 w 4519987"/>
                  <a:gd name="connsiteY92" fmla="*/ 4305300 h 4496940"/>
                  <a:gd name="connsiteX93" fmla="*/ 1402102 w 4519987"/>
                  <a:gd name="connsiteY93" fmla="*/ 4276725 h 4496940"/>
                  <a:gd name="connsiteX94" fmla="*/ 1287802 w 4519987"/>
                  <a:gd name="connsiteY94" fmla="*/ 4229100 h 4496940"/>
                  <a:gd name="connsiteX95" fmla="*/ 1221127 w 4519987"/>
                  <a:gd name="connsiteY95" fmla="*/ 4200525 h 4496940"/>
                  <a:gd name="connsiteX96" fmla="*/ 1144927 w 4519987"/>
                  <a:gd name="connsiteY96" fmla="*/ 4171950 h 4496940"/>
                  <a:gd name="connsiteX97" fmla="*/ 1087777 w 4519987"/>
                  <a:gd name="connsiteY97" fmla="*/ 4143375 h 4496940"/>
                  <a:gd name="connsiteX98" fmla="*/ 1030627 w 4519987"/>
                  <a:gd name="connsiteY98" fmla="*/ 4124325 h 4496940"/>
                  <a:gd name="connsiteX99" fmla="*/ 925852 w 4519987"/>
                  <a:gd name="connsiteY99" fmla="*/ 4067175 h 4496940"/>
                  <a:gd name="connsiteX100" fmla="*/ 830602 w 4519987"/>
                  <a:gd name="connsiteY100" fmla="*/ 3981450 h 4496940"/>
                  <a:gd name="connsiteX101" fmla="*/ 763927 w 4519987"/>
                  <a:gd name="connsiteY101" fmla="*/ 3914775 h 4496940"/>
                  <a:gd name="connsiteX102" fmla="*/ 725827 w 4519987"/>
                  <a:gd name="connsiteY102" fmla="*/ 3876675 h 4496940"/>
                  <a:gd name="connsiteX103" fmla="*/ 697252 w 4519987"/>
                  <a:gd name="connsiteY103" fmla="*/ 3838575 h 4496940"/>
                  <a:gd name="connsiteX104" fmla="*/ 640102 w 4519987"/>
                  <a:gd name="connsiteY104" fmla="*/ 3781425 h 4496940"/>
                  <a:gd name="connsiteX105" fmla="*/ 611527 w 4519987"/>
                  <a:gd name="connsiteY105" fmla="*/ 3733800 h 4496940"/>
                  <a:gd name="connsiteX106" fmla="*/ 554377 w 4519987"/>
                  <a:gd name="connsiteY106" fmla="*/ 3657600 h 4496940"/>
                  <a:gd name="connsiteX107" fmla="*/ 525802 w 4519987"/>
                  <a:gd name="connsiteY107" fmla="*/ 3609975 h 4496940"/>
                  <a:gd name="connsiteX108" fmla="*/ 497227 w 4519987"/>
                  <a:gd name="connsiteY108" fmla="*/ 3552825 h 4496940"/>
                  <a:gd name="connsiteX109" fmla="*/ 440077 w 4519987"/>
                  <a:gd name="connsiteY109" fmla="*/ 3495675 h 4496940"/>
                  <a:gd name="connsiteX110" fmla="*/ 411502 w 4519987"/>
                  <a:gd name="connsiteY110" fmla="*/ 3448050 h 4496940"/>
                  <a:gd name="connsiteX111" fmla="*/ 278152 w 4519987"/>
                  <a:gd name="connsiteY111" fmla="*/ 3257550 h 4496940"/>
                  <a:gd name="connsiteX112" fmla="*/ 249577 w 4519987"/>
                  <a:gd name="connsiteY112" fmla="*/ 3200400 h 4496940"/>
                  <a:gd name="connsiteX113" fmla="*/ 240052 w 4519987"/>
                  <a:gd name="connsiteY113" fmla="*/ 3162300 h 4496940"/>
                  <a:gd name="connsiteX114" fmla="*/ 221002 w 4519987"/>
                  <a:gd name="connsiteY114" fmla="*/ 3105150 h 4496940"/>
                  <a:gd name="connsiteX115" fmla="*/ 173377 w 4519987"/>
                  <a:gd name="connsiteY115" fmla="*/ 3019425 h 4496940"/>
                  <a:gd name="connsiteX116" fmla="*/ 144802 w 4519987"/>
                  <a:gd name="connsiteY116" fmla="*/ 2924175 h 4496940"/>
                  <a:gd name="connsiteX117" fmla="*/ 68602 w 4519987"/>
                  <a:gd name="connsiteY117" fmla="*/ 2724150 h 4496940"/>
                  <a:gd name="connsiteX118" fmla="*/ 49552 w 4519987"/>
                  <a:gd name="connsiteY118" fmla="*/ 2638425 h 4496940"/>
                  <a:gd name="connsiteX119" fmla="*/ 40027 w 4519987"/>
                  <a:gd name="connsiteY119" fmla="*/ 2562225 h 4496940"/>
                  <a:gd name="connsiteX120" fmla="*/ 30502 w 4519987"/>
                  <a:gd name="connsiteY120" fmla="*/ 2514600 h 4496940"/>
                  <a:gd name="connsiteX121" fmla="*/ 11452 w 4519987"/>
                  <a:gd name="connsiteY121" fmla="*/ 2400300 h 4496940"/>
                  <a:gd name="connsiteX122" fmla="*/ 20977 w 4519987"/>
                  <a:gd name="connsiteY122" fmla="*/ 1905000 h 4496940"/>
                  <a:gd name="connsiteX123" fmla="*/ 30502 w 4519987"/>
                  <a:gd name="connsiteY123" fmla="*/ 1838325 h 4496940"/>
                  <a:gd name="connsiteX124" fmla="*/ 49552 w 4519987"/>
                  <a:gd name="connsiteY124" fmla="*/ 1781175 h 4496940"/>
                  <a:gd name="connsiteX125" fmla="*/ 59077 w 4519987"/>
                  <a:gd name="connsiteY125" fmla="*/ 1743075 h 4496940"/>
                  <a:gd name="connsiteX126" fmla="*/ 78127 w 4519987"/>
                  <a:gd name="connsiteY126" fmla="*/ 1685925 h 4496940"/>
                  <a:gd name="connsiteX127" fmla="*/ 87652 w 4519987"/>
                  <a:gd name="connsiteY127" fmla="*/ 1638300 h 4496940"/>
                  <a:gd name="connsiteX128" fmla="*/ 106702 w 4519987"/>
                  <a:gd name="connsiteY128" fmla="*/ 1590675 h 4496940"/>
                  <a:gd name="connsiteX129" fmla="*/ 135277 w 4519987"/>
                  <a:gd name="connsiteY129" fmla="*/ 1504950 h 4496940"/>
                  <a:gd name="connsiteX130" fmla="*/ 154327 w 4519987"/>
                  <a:gd name="connsiteY130" fmla="*/ 1419225 h 4496940"/>
                  <a:gd name="connsiteX131" fmla="*/ 230527 w 4519987"/>
                  <a:gd name="connsiteY131" fmla="*/ 1276350 h 4496940"/>
                  <a:gd name="connsiteX132" fmla="*/ 240052 w 4519987"/>
                  <a:gd name="connsiteY132" fmla="*/ 1247775 h 4496940"/>
                  <a:gd name="connsiteX133" fmla="*/ 268627 w 4519987"/>
                  <a:gd name="connsiteY133" fmla="*/ 1200150 h 4496940"/>
                  <a:gd name="connsiteX134" fmla="*/ 287677 w 4519987"/>
                  <a:gd name="connsiteY134" fmla="*/ 1152525 h 4496940"/>
                  <a:gd name="connsiteX135" fmla="*/ 316252 w 4519987"/>
                  <a:gd name="connsiteY135" fmla="*/ 1114425 h 4496940"/>
                  <a:gd name="connsiteX136" fmla="*/ 363877 w 4519987"/>
                  <a:gd name="connsiteY136" fmla="*/ 1038225 h 4496940"/>
                  <a:gd name="connsiteX137" fmla="*/ 382927 w 4519987"/>
                  <a:gd name="connsiteY137" fmla="*/ 1009650 h 4496940"/>
                  <a:gd name="connsiteX138" fmla="*/ 440077 w 4519987"/>
                  <a:gd name="connsiteY138" fmla="*/ 904875 h 4496940"/>
                  <a:gd name="connsiteX139" fmla="*/ 478177 w 4519987"/>
                  <a:gd name="connsiteY139" fmla="*/ 857250 h 4496940"/>
                  <a:gd name="connsiteX140" fmla="*/ 497227 w 4519987"/>
                  <a:gd name="connsiteY140" fmla="*/ 828675 h 4496940"/>
                  <a:gd name="connsiteX141" fmla="*/ 535327 w 4519987"/>
                  <a:gd name="connsiteY141" fmla="*/ 800100 h 4496940"/>
                  <a:gd name="connsiteX142" fmla="*/ 602002 w 4519987"/>
                  <a:gd name="connsiteY142" fmla="*/ 733425 h 4496940"/>
                  <a:gd name="connsiteX143" fmla="*/ 668677 w 4519987"/>
                  <a:gd name="connsiteY143" fmla="*/ 676275 h 4496940"/>
                  <a:gd name="connsiteX144" fmla="*/ 697252 w 4519987"/>
                  <a:gd name="connsiteY144" fmla="*/ 657225 h 4496940"/>
                  <a:gd name="connsiteX145" fmla="*/ 840127 w 4519987"/>
                  <a:gd name="connsiteY145" fmla="*/ 533400 h 4496940"/>
                  <a:gd name="connsiteX146" fmla="*/ 887752 w 4519987"/>
                  <a:gd name="connsiteY146" fmla="*/ 504825 h 4496940"/>
                  <a:gd name="connsiteX147" fmla="*/ 1167152 w 4519987"/>
                  <a:gd name="connsiteY147" fmla="*/ 311150 h 4496940"/>
                  <a:gd name="connsiteX148" fmla="*/ 1268752 w 4519987"/>
                  <a:gd name="connsiteY148" fmla="*/ 285750 h 4496940"/>
                  <a:gd name="connsiteX149" fmla="*/ 1411627 w 4519987"/>
                  <a:gd name="connsiteY149" fmla="*/ 190500 h 4496940"/>
                  <a:gd name="connsiteX150" fmla="*/ 1449727 w 4519987"/>
                  <a:gd name="connsiteY150" fmla="*/ 161925 h 4496940"/>
                  <a:gd name="connsiteX151" fmla="*/ 1525927 w 4519987"/>
                  <a:gd name="connsiteY151" fmla="*/ 152400 h 4496940"/>
                  <a:gd name="connsiteX152" fmla="*/ 1583077 w 4519987"/>
                  <a:gd name="connsiteY152" fmla="*/ 142875 h 4496940"/>
                  <a:gd name="connsiteX153" fmla="*/ 1716427 w 4519987"/>
                  <a:gd name="connsiteY153" fmla="*/ 123825 h 4496940"/>
                  <a:gd name="connsiteX154" fmla="*/ 1811677 w 4519987"/>
                  <a:gd name="connsiteY154" fmla="*/ 114300 h 4496940"/>
                  <a:gd name="connsiteX155" fmla="*/ 1859302 w 4519987"/>
                  <a:gd name="connsiteY155" fmla="*/ 104775 h 4496940"/>
                  <a:gd name="connsiteX156" fmla="*/ 1916452 w 4519987"/>
                  <a:gd name="connsiteY156" fmla="*/ 95250 h 4496940"/>
                  <a:gd name="connsiteX157" fmla="*/ 2030752 w 4519987"/>
                  <a:gd name="connsiteY157" fmla="*/ 66675 h 4496940"/>
                  <a:gd name="connsiteX158" fmla="*/ 2097427 w 4519987"/>
                  <a:gd name="connsiteY158" fmla="*/ 47625 h 4496940"/>
                  <a:gd name="connsiteX159" fmla="*/ 2164102 w 4519987"/>
                  <a:gd name="connsiteY159" fmla="*/ 38100 h 4496940"/>
                  <a:gd name="connsiteX160" fmla="*/ 2392702 w 4519987"/>
                  <a:gd name="connsiteY16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3992902 w 4519987"/>
                  <a:gd name="connsiteY28" fmla="*/ 714375 h 4496940"/>
                  <a:gd name="connsiteX29" fmla="*/ 4050052 w 4519987"/>
                  <a:gd name="connsiteY29" fmla="*/ 790575 h 4496940"/>
                  <a:gd name="connsiteX30" fmla="*/ 4078627 w 4519987"/>
                  <a:gd name="connsiteY30" fmla="*/ 838200 h 4496940"/>
                  <a:gd name="connsiteX31" fmla="*/ 4107202 w 4519987"/>
                  <a:gd name="connsiteY31" fmla="*/ 876300 h 4496940"/>
                  <a:gd name="connsiteX32" fmla="*/ 4116727 w 4519987"/>
                  <a:gd name="connsiteY32" fmla="*/ 904875 h 4496940"/>
                  <a:gd name="connsiteX33" fmla="*/ 4135777 w 4519987"/>
                  <a:gd name="connsiteY33" fmla="*/ 933450 h 4496940"/>
                  <a:gd name="connsiteX34" fmla="*/ 4164352 w 4519987"/>
                  <a:gd name="connsiteY34" fmla="*/ 990600 h 4496940"/>
                  <a:gd name="connsiteX35" fmla="*/ 4173877 w 4519987"/>
                  <a:gd name="connsiteY35" fmla="*/ 1019175 h 4496940"/>
                  <a:gd name="connsiteX36" fmla="*/ 4192927 w 4519987"/>
                  <a:gd name="connsiteY36" fmla="*/ 1057275 h 4496940"/>
                  <a:gd name="connsiteX37" fmla="*/ 4202452 w 4519987"/>
                  <a:gd name="connsiteY37" fmla="*/ 1085850 h 4496940"/>
                  <a:gd name="connsiteX38" fmla="*/ 4250077 w 4519987"/>
                  <a:gd name="connsiteY38" fmla="*/ 1143000 h 4496940"/>
                  <a:gd name="connsiteX39" fmla="*/ 4259602 w 4519987"/>
                  <a:gd name="connsiteY39" fmla="*/ 1190625 h 4496940"/>
                  <a:gd name="connsiteX40" fmla="*/ 4307227 w 4519987"/>
                  <a:gd name="connsiteY40" fmla="*/ 1266825 h 4496940"/>
                  <a:gd name="connsiteX41" fmla="*/ 4345327 w 4519987"/>
                  <a:gd name="connsiteY41" fmla="*/ 1362075 h 4496940"/>
                  <a:gd name="connsiteX42" fmla="*/ 4373902 w 4519987"/>
                  <a:gd name="connsiteY42" fmla="*/ 1428750 h 4496940"/>
                  <a:gd name="connsiteX43" fmla="*/ 4392952 w 4519987"/>
                  <a:gd name="connsiteY43" fmla="*/ 1552575 h 4496940"/>
                  <a:gd name="connsiteX44" fmla="*/ 4402477 w 4519987"/>
                  <a:gd name="connsiteY44" fmla="*/ 1590675 h 4496940"/>
                  <a:gd name="connsiteX45" fmla="*/ 4431052 w 4519987"/>
                  <a:gd name="connsiteY45" fmla="*/ 1685925 h 4496940"/>
                  <a:gd name="connsiteX46" fmla="*/ 4519952 w 4519987"/>
                  <a:gd name="connsiteY46" fmla="*/ 2181225 h 4496940"/>
                  <a:gd name="connsiteX47" fmla="*/ 4446927 w 4519987"/>
                  <a:gd name="connsiteY47" fmla="*/ 2768600 h 4496940"/>
                  <a:gd name="connsiteX48" fmla="*/ 4383427 w 4519987"/>
                  <a:gd name="connsiteY48" fmla="*/ 2990850 h 4496940"/>
                  <a:gd name="connsiteX49" fmla="*/ 4278652 w 4519987"/>
                  <a:gd name="connsiteY49" fmla="*/ 3248025 h 4496940"/>
                  <a:gd name="connsiteX50" fmla="*/ 4259602 w 4519987"/>
                  <a:gd name="connsiteY50" fmla="*/ 3276600 h 4496940"/>
                  <a:gd name="connsiteX51" fmla="*/ 4221502 w 4519987"/>
                  <a:gd name="connsiteY51" fmla="*/ 3333750 h 4496940"/>
                  <a:gd name="connsiteX52" fmla="*/ 4211977 w 4519987"/>
                  <a:gd name="connsiteY52" fmla="*/ 3362325 h 4496940"/>
                  <a:gd name="connsiteX53" fmla="*/ 4183402 w 4519987"/>
                  <a:gd name="connsiteY53" fmla="*/ 3400425 h 4496940"/>
                  <a:gd name="connsiteX54" fmla="*/ 4164352 w 4519987"/>
                  <a:gd name="connsiteY54" fmla="*/ 3429000 h 4496940"/>
                  <a:gd name="connsiteX55" fmla="*/ 4088152 w 4519987"/>
                  <a:gd name="connsiteY55" fmla="*/ 3495675 h 4496940"/>
                  <a:gd name="connsiteX56" fmla="*/ 4059577 w 4519987"/>
                  <a:gd name="connsiteY56" fmla="*/ 3533775 h 4496940"/>
                  <a:gd name="connsiteX57" fmla="*/ 4002427 w 4519987"/>
                  <a:gd name="connsiteY57" fmla="*/ 3600450 h 4496940"/>
                  <a:gd name="connsiteX58" fmla="*/ 3983377 w 4519987"/>
                  <a:gd name="connsiteY58" fmla="*/ 3629025 h 4496940"/>
                  <a:gd name="connsiteX59" fmla="*/ 3954802 w 4519987"/>
                  <a:gd name="connsiteY59" fmla="*/ 3648075 h 4496940"/>
                  <a:gd name="connsiteX60" fmla="*/ 3907177 w 4519987"/>
                  <a:gd name="connsiteY60" fmla="*/ 3686175 h 4496940"/>
                  <a:gd name="connsiteX61" fmla="*/ 3869077 w 4519987"/>
                  <a:gd name="connsiteY61" fmla="*/ 3724275 h 4496940"/>
                  <a:gd name="connsiteX62" fmla="*/ 3792877 w 4519987"/>
                  <a:gd name="connsiteY62" fmla="*/ 3781425 h 4496940"/>
                  <a:gd name="connsiteX63" fmla="*/ 3783352 w 4519987"/>
                  <a:gd name="connsiteY63" fmla="*/ 3810000 h 4496940"/>
                  <a:gd name="connsiteX64" fmla="*/ 3745252 w 4519987"/>
                  <a:gd name="connsiteY64" fmla="*/ 3819525 h 4496940"/>
                  <a:gd name="connsiteX65" fmla="*/ 3678577 w 4519987"/>
                  <a:gd name="connsiteY65" fmla="*/ 3848100 h 4496940"/>
                  <a:gd name="connsiteX66" fmla="*/ 3659527 w 4519987"/>
                  <a:gd name="connsiteY66" fmla="*/ 3971925 h 4496940"/>
                  <a:gd name="connsiteX67" fmla="*/ 3630952 w 4519987"/>
                  <a:gd name="connsiteY67" fmla="*/ 4010025 h 4496940"/>
                  <a:gd name="connsiteX68" fmla="*/ 3621427 w 4519987"/>
                  <a:gd name="connsiteY68" fmla="*/ 4038600 h 4496940"/>
                  <a:gd name="connsiteX69" fmla="*/ 3554752 w 4519987"/>
                  <a:gd name="connsiteY69" fmla="*/ 4095750 h 4496940"/>
                  <a:gd name="connsiteX70" fmla="*/ 3516652 w 4519987"/>
                  <a:gd name="connsiteY70" fmla="*/ 4114800 h 4496940"/>
                  <a:gd name="connsiteX71" fmla="*/ 3497602 w 4519987"/>
                  <a:gd name="connsiteY71" fmla="*/ 4143375 h 4496940"/>
                  <a:gd name="connsiteX72" fmla="*/ 3383302 w 4519987"/>
                  <a:gd name="connsiteY72" fmla="*/ 4210050 h 4496940"/>
                  <a:gd name="connsiteX73" fmla="*/ 3335677 w 4519987"/>
                  <a:gd name="connsiteY73" fmla="*/ 4238625 h 4496940"/>
                  <a:gd name="connsiteX74" fmla="*/ 3288052 w 4519987"/>
                  <a:gd name="connsiteY74" fmla="*/ 4248150 h 4496940"/>
                  <a:gd name="connsiteX75" fmla="*/ 3240427 w 4519987"/>
                  <a:gd name="connsiteY75" fmla="*/ 4267200 h 4496940"/>
                  <a:gd name="connsiteX76" fmla="*/ 3068977 w 4519987"/>
                  <a:gd name="connsiteY76" fmla="*/ 4286250 h 4496940"/>
                  <a:gd name="connsiteX77" fmla="*/ 2935627 w 4519987"/>
                  <a:gd name="connsiteY77" fmla="*/ 4333875 h 4496940"/>
                  <a:gd name="connsiteX78" fmla="*/ 2811802 w 4519987"/>
                  <a:gd name="connsiteY78" fmla="*/ 4371975 h 4496940"/>
                  <a:gd name="connsiteX79" fmla="*/ 2745127 w 4519987"/>
                  <a:gd name="connsiteY79" fmla="*/ 4410075 h 4496940"/>
                  <a:gd name="connsiteX80" fmla="*/ 2697502 w 4519987"/>
                  <a:gd name="connsiteY80" fmla="*/ 4429125 h 4496940"/>
                  <a:gd name="connsiteX81" fmla="*/ 2640352 w 4519987"/>
                  <a:gd name="connsiteY81" fmla="*/ 4457700 h 4496940"/>
                  <a:gd name="connsiteX82" fmla="*/ 2583202 w 4519987"/>
                  <a:gd name="connsiteY82" fmla="*/ 4467225 h 4496940"/>
                  <a:gd name="connsiteX83" fmla="*/ 2545102 w 4519987"/>
                  <a:gd name="connsiteY83" fmla="*/ 4486275 h 4496940"/>
                  <a:gd name="connsiteX84" fmla="*/ 2306977 w 4519987"/>
                  <a:gd name="connsiteY84" fmla="*/ 4476750 h 4496940"/>
                  <a:gd name="connsiteX85" fmla="*/ 2202202 w 4519987"/>
                  <a:gd name="connsiteY85" fmla="*/ 4457700 h 4496940"/>
                  <a:gd name="connsiteX86" fmla="*/ 2126002 w 4519987"/>
                  <a:gd name="connsiteY86" fmla="*/ 4429125 h 4496940"/>
                  <a:gd name="connsiteX87" fmla="*/ 1935502 w 4519987"/>
                  <a:gd name="connsiteY87" fmla="*/ 4400550 h 4496940"/>
                  <a:gd name="connsiteX88" fmla="*/ 1821202 w 4519987"/>
                  <a:gd name="connsiteY88" fmla="*/ 4371975 h 4496940"/>
                  <a:gd name="connsiteX89" fmla="*/ 1754527 w 4519987"/>
                  <a:gd name="connsiteY89" fmla="*/ 4352925 h 4496940"/>
                  <a:gd name="connsiteX90" fmla="*/ 1687852 w 4519987"/>
                  <a:gd name="connsiteY90" fmla="*/ 4343400 h 4496940"/>
                  <a:gd name="connsiteX91" fmla="*/ 1573552 w 4519987"/>
                  <a:gd name="connsiteY91" fmla="*/ 4305300 h 4496940"/>
                  <a:gd name="connsiteX92" fmla="*/ 1402102 w 4519987"/>
                  <a:gd name="connsiteY92" fmla="*/ 4276725 h 4496940"/>
                  <a:gd name="connsiteX93" fmla="*/ 1287802 w 4519987"/>
                  <a:gd name="connsiteY93" fmla="*/ 4229100 h 4496940"/>
                  <a:gd name="connsiteX94" fmla="*/ 1221127 w 4519987"/>
                  <a:gd name="connsiteY94" fmla="*/ 4200525 h 4496940"/>
                  <a:gd name="connsiteX95" fmla="*/ 1144927 w 4519987"/>
                  <a:gd name="connsiteY95" fmla="*/ 4171950 h 4496940"/>
                  <a:gd name="connsiteX96" fmla="*/ 1087777 w 4519987"/>
                  <a:gd name="connsiteY96" fmla="*/ 4143375 h 4496940"/>
                  <a:gd name="connsiteX97" fmla="*/ 1030627 w 4519987"/>
                  <a:gd name="connsiteY97" fmla="*/ 4124325 h 4496940"/>
                  <a:gd name="connsiteX98" fmla="*/ 925852 w 4519987"/>
                  <a:gd name="connsiteY98" fmla="*/ 4067175 h 4496940"/>
                  <a:gd name="connsiteX99" fmla="*/ 830602 w 4519987"/>
                  <a:gd name="connsiteY99" fmla="*/ 3981450 h 4496940"/>
                  <a:gd name="connsiteX100" fmla="*/ 763927 w 4519987"/>
                  <a:gd name="connsiteY100" fmla="*/ 3914775 h 4496940"/>
                  <a:gd name="connsiteX101" fmla="*/ 725827 w 4519987"/>
                  <a:gd name="connsiteY101" fmla="*/ 3876675 h 4496940"/>
                  <a:gd name="connsiteX102" fmla="*/ 697252 w 4519987"/>
                  <a:gd name="connsiteY102" fmla="*/ 3838575 h 4496940"/>
                  <a:gd name="connsiteX103" fmla="*/ 640102 w 4519987"/>
                  <a:gd name="connsiteY103" fmla="*/ 3781425 h 4496940"/>
                  <a:gd name="connsiteX104" fmla="*/ 611527 w 4519987"/>
                  <a:gd name="connsiteY104" fmla="*/ 3733800 h 4496940"/>
                  <a:gd name="connsiteX105" fmla="*/ 554377 w 4519987"/>
                  <a:gd name="connsiteY105" fmla="*/ 3657600 h 4496940"/>
                  <a:gd name="connsiteX106" fmla="*/ 525802 w 4519987"/>
                  <a:gd name="connsiteY106" fmla="*/ 3609975 h 4496940"/>
                  <a:gd name="connsiteX107" fmla="*/ 497227 w 4519987"/>
                  <a:gd name="connsiteY107" fmla="*/ 3552825 h 4496940"/>
                  <a:gd name="connsiteX108" fmla="*/ 440077 w 4519987"/>
                  <a:gd name="connsiteY108" fmla="*/ 3495675 h 4496940"/>
                  <a:gd name="connsiteX109" fmla="*/ 411502 w 4519987"/>
                  <a:gd name="connsiteY109" fmla="*/ 3448050 h 4496940"/>
                  <a:gd name="connsiteX110" fmla="*/ 278152 w 4519987"/>
                  <a:gd name="connsiteY110" fmla="*/ 3257550 h 4496940"/>
                  <a:gd name="connsiteX111" fmla="*/ 249577 w 4519987"/>
                  <a:gd name="connsiteY111" fmla="*/ 3200400 h 4496940"/>
                  <a:gd name="connsiteX112" fmla="*/ 240052 w 4519987"/>
                  <a:gd name="connsiteY112" fmla="*/ 3162300 h 4496940"/>
                  <a:gd name="connsiteX113" fmla="*/ 221002 w 4519987"/>
                  <a:gd name="connsiteY113" fmla="*/ 3105150 h 4496940"/>
                  <a:gd name="connsiteX114" fmla="*/ 173377 w 4519987"/>
                  <a:gd name="connsiteY114" fmla="*/ 3019425 h 4496940"/>
                  <a:gd name="connsiteX115" fmla="*/ 144802 w 4519987"/>
                  <a:gd name="connsiteY115" fmla="*/ 2924175 h 4496940"/>
                  <a:gd name="connsiteX116" fmla="*/ 68602 w 4519987"/>
                  <a:gd name="connsiteY116" fmla="*/ 2724150 h 4496940"/>
                  <a:gd name="connsiteX117" fmla="*/ 49552 w 4519987"/>
                  <a:gd name="connsiteY117" fmla="*/ 2638425 h 4496940"/>
                  <a:gd name="connsiteX118" fmla="*/ 40027 w 4519987"/>
                  <a:gd name="connsiteY118" fmla="*/ 2562225 h 4496940"/>
                  <a:gd name="connsiteX119" fmla="*/ 30502 w 4519987"/>
                  <a:gd name="connsiteY119" fmla="*/ 2514600 h 4496940"/>
                  <a:gd name="connsiteX120" fmla="*/ 11452 w 4519987"/>
                  <a:gd name="connsiteY120" fmla="*/ 2400300 h 4496940"/>
                  <a:gd name="connsiteX121" fmla="*/ 20977 w 4519987"/>
                  <a:gd name="connsiteY121" fmla="*/ 1905000 h 4496940"/>
                  <a:gd name="connsiteX122" fmla="*/ 30502 w 4519987"/>
                  <a:gd name="connsiteY122" fmla="*/ 1838325 h 4496940"/>
                  <a:gd name="connsiteX123" fmla="*/ 49552 w 4519987"/>
                  <a:gd name="connsiteY123" fmla="*/ 1781175 h 4496940"/>
                  <a:gd name="connsiteX124" fmla="*/ 59077 w 4519987"/>
                  <a:gd name="connsiteY124" fmla="*/ 1743075 h 4496940"/>
                  <a:gd name="connsiteX125" fmla="*/ 78127 w 4519987"/>
                  <a:gd name="connsiteY125" fmla="*/ 1685925 h 4496940"/>
                  <a:gd name="connsiteX126" fmla="*/ 87652 w 4519987"/>
                  <a:gd name="connsiteY126" fmla="*/ 1638300 h 4496940"/>
                  <a:gd name="connsiteX127" fmla="*/ 106702 w 4519987"/>
                  <a:gd name="connsiteY127" fmla="*/ 1590675 h 4496940"/>
                  <a:gd name="connsiteX128" fmla="*/ 135277 w 4519987"/>
                  <a:gd name="connsiteY128" fmla="*/ 1504950 h 4496940"/>
                  <a:gd name="connsiteX129" fmla="*/ 154327 w 4519987"/>
                  <a:gd name="connsiteY129" fmla="*/ 1419225 h 4496940"/>
                  <a:gd name="connsiteX130" fmla="*/ 230527 w 4519987"/>
                  <a:gd name="connsiteY130" fmla="*/ 1276350 h 4496940"/>
                  <a:gd name="connsiteX131" fmla="*/ 240052 w 4519987"/>
                  <a:gd name="connsiteY131" fmla="*/ 1247775 h 4496940"/>
                  <a:gd name="connsiteX132" fmla="*/ 268627 w 4519987"/>
                  <a:gd name="connsiteY132" fmla="*/ 1200150 h 4496940"/>
                  <a:gd name="connsiteX133" fmla="*/ 287677 w 4519987"/>
                  <a:gd name="connsiteY133" fmla="*/ 1152525 h 4496940"/>
                  <a:gd name="connsiteX134" fmla="*/ 316252 w 4519987"/>
                  <a:gd name="connsiteY134" fmla="*/ 1114425 h 4496940"/>
                  <a:gd name="connsiteX135" fmla="*/ 363877 w 4519987"/>
                  <a:gd name="connsiteY135" fmla="*/ 1038225 h 4496940"/>
                  <a:gd name="connsiteX136" fmla="*/ 382927 w 4519987"/>
                  <a:gd name="connsiteY136" fmla="*/ 1009650 h 4496940"/>
                  <a:gd name="connsiteX137" fmla="*/ 440077 w 4519987"/>
                  <a:gd name="connsiteY137" fmla="*/ 904875 h 4496940"/>
                  <a:gd name="connsiteX138" fmla="*/ 478177 w 4519987"/>
                  <a:gd name="connsiteY138" fmla="*/ 857250 h 4496940"/>
                  <a:gd name="connsiteX139" fmla="*/ 497227 w 4519987"/>
                  <a:gd name="connsiteY139" fmla="*/ 828675 h 4496940"/>
                  <a:gd name="connsiteX140" fmla="*/ 535327 w 4519987"/>
                  <a:gd name="connsiteY140" fmla="*/ 800100 h 4496940"/>
                  <a:gd name="connsiteX141" fmla="*/ 602002 w 4519987"/>
                  <a:gd name="connsiteY141" fmla="*/ 733425 h 4496940"/>
                  <a:gd name="connsiteX142" fmla="*/ 668677 w 4519987"/>
                  <a:gd name="connsiteY142" fmla="*/ 676275 h 4496940"/>
                  <a:gd name="connsiteX143" fmla="*/ 697252 w 4519987"/>
                  <a:gd name="connsiteY143" fmla="*/ 657225 h 4496940"/>
                  <a:gd name="connsiteX144" fmla="*/ 840127 w 4519987"/>
                  <a:gd name="connsiteY144" fmla="*/ 533400 h 4496940"/>
                  <a:gd name="connsiteX145" fmla="*/ 887752 w 4519987"/>
                  <a:gd name="connsiteY145" fmla="*/ 504825 h 4496940"/>
                  <a:gd name="connsiteX146" fmla="*/ 1167152 w 4519987"/>
                  <a:gd name="connsiteY146" fmla="*/ 311150 h 4496940"/>
                  <a:gd name="connsiteX147" fmla="*/ 1268752 w 4519987"/>
                  <a:gd name="connsiteY147" fmla="*/ 285750 h 4496940"/>
                  <a:gd name="connsiteX148" fmla="*/ 1411627 w 4519987"/>
                  <a:gd name="connsiteY148" fmla="*/ 190500 h 4496940"/>
                  <a:gd name="connsiteX149" fmla="*/ 1449727 w 4519987"/>
                  <a:gd name="connsiteY149" fmla="*/ 161925 h 4496940"/>
                  <a:gd name="connsiteX150" fmla="*/ 1525927 w 4519987"/>
                  <a:gd name="connsiteY150" fmla="*/ 152400 h 4496940"/>
                  <a:gd name="connsiteX151" fmla="*/ 1583077 w 4519987"/>
                  <a:gd name="connsiteY151" fmla="*/ 142875 h 4496940"/>
                  <a:gd name="connsiteX152" fmla="*/ 1716427 w 4519987"/>
                  <a:gd name="connsiteY152" fmla="*/ 123825 h 4496940"/>
                  <a:gd name="connsiteX153" fmla="*/ 1811677 w 4519987"/>
                  <a:gd name="connsiteY153" fmla="*/ 114300 h 4496940"/>
                  <a:gd name="connsiteX154" fmla="*/ 1859302 w 4519987"/>
                  <a:gd name="connsiteY154" fmla="*/ 104775 h 4496940"/>
                  <a:gd name="connsiteX155" fmla="*/ 1916452 w 4519987"/>
                  <a:gd name="connsiteY155" fmla="*/ 95250 h 4496940"/>
                  <a:gd name="connsiteX156" fmla="*/ 2030752 w 4519987"/>
                  <a:gd name="connsiteY156" fmla="*/ 66675 h 4496940"/>
                  <a:gd name="connsiteX157" fmla="*/ 2097427 w 4519987"/>
                  <a:gd name="connsiteY157" fmla="*/ 47625 h 4496940"/>
                  <a:gd name="connsiteX158" fmla="*/ 2164102 w 4519987"/>
                  <a:gd name="connsiteY158" fmla="*/ 38100 h 4496940"/>
                  <a:gd name="connsiteX159" fmla="*/ 2392702 w 4519987"/>
                  <a:gd name="connsiteY15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50052 w 4519987"/>
                  <a:gd name="connsiteY28" fmla="*/ 790575 h 4496940"/>
                  <a:gd name="connsiteX29" fmla="*/ 4078627 w 4519987"/>
                  <a:gd name="connsiteY29" fmla="*/ 838200 h 4496940"/>
                  <a:gd name="connsiteX30" fmla="*/ 4107202 w 4519987"/>
                  <a:gd name="connsiteY30" fmla="*/ 876300 h 4496940"/>
                  <a:gd name="connsiteX31" fmla="*/ 4116727 w 4519987"/>
                  <a:gd name="connsiteY31" fmla="*/ 904875 h 4496940"/>
                  <a:gd name="connsiteX32" fmla="*/ 4135777 w 4519987"/>
                  <a:gd name="connsiteY32" fmla="*/ 933450 h 4496940"/>
                  <a:gd name="connsiteX33" fmla="*/ 4164352 w 4519987"/>
                  <a:gd name="connsiteY33" fmla="*/ 990600 h 4496940"/>
                  <a:gd name="connsiteX34" fmla="*/ 4173877 w 4519987"/>
                  <a:gd name="connsiteY34" fmla="*/ 1019175 h 4496940"/>
                  <a:gd name="connsiteX35" fmla="*/ 4192927 w 4519987"/>
                  <a:gd name="connsiteY35" fmla="*/ 1057275 h 4496940"/>
                  <a:gd name="connsiteX36" fmla="*/ 4202452 w 4519987"/>
                  <a:gd name="connsiteY36" fmla="*/ 1085850 h 4496940"/>
                  <a:gd name="connsiteX37" fmla="*/ 4250077 w 4519987"/>
                  <a:gd name="connsiteY37" fmla="*/ 1143000 h 4496940"/>
                  <a:gd name="connsiteX38" fmla="*/ 4259602 w 4519987"/>
                  <a:gd name="connsiteY38" fmla="*/ 1190625 h 4496940"/>
                  <a:gd name="connsiteX39" fmla="*/ 4307227 w 4519987"/>
                  <a:gd name="connsiteY39" fmla="*/ 1266825 h 4496940"/>
                  <a:gd name="connsiteX40" fmla="*/ 4345327 w 4519987"/>
                  <a:gd name="connsiteY40" fmla="*/ 1362075 h 4496940"/>
                  <a:gd name="connsiteX41" fmla="*/ 4373902 w 4519987"/>
                  <a:gd name="connsiteY41" fmla="*/ 1428750 h 4496940"/>
                  <a:gd name="connsiteX42" fmla="*/ 4392952 w 4519987"/>
                  <a:gd name="connsiteY42" fmla="*/ 1552575 h 4496940"/>
                  <a:gd name="connsiteX43" fmla="*/ 4402477 w 4519987"/>
                  <a:gd name="connsiteY43" fmla="*/ 1590675 h 4496940"/>
                  <a:gd name="connsiteX44" fmla="*/ 4431052 w 4519987"/>
                  <a:gd name="connsiteY44" fmla="*/ 1685925 h 4496940"/>
                  <a:gd name="connsiteX45" fmla="*/ 4519952 w 4519987"/>
                  <a:gd name="connsiteY45" fmla="*/ 2181225 h 4496940"/>
                  <a:gd name="connsiteX46" fmla="*/ 4446927 w 4519987"/>
                  <a:gd name="connsiteY46" fmla="*/ 2768600 h 4496940"/>
                  <a:gd name="connsiteX47" fmla="*/ 4383427 w 4519987"/>
                  <a:gd name="connsiteY47" fmla="*/ 2990850 h 4496940"/>
                  <a:gd name="connsiteX48" fmla="*/ 4278652 w 4519987"/>
                  <a:gd name="connsiteY48" fmla="*/ 3248025 h 4496940"/>
                  <a:gd name="connsiteX49" fmla="*/ 4259602 w 4519987"/>
                  <a:gd name="connsiteY49" fmla="*/ 3276600 h 4496940"/>
                  <a:gd name="connsiteX50" fmla="*/ 4221502 w 4519987"/>
                  <a:gd name="connsiteY50" fmla="*/ 3333750 h 4496940"/>
                  <a:gd name="connsiteX51" fmla="*/ 4211977 w 4519987"/>
                  <a:gd name="connsiteY51" fmla="*/ 3362325 h 4496940"/>
                  <a:gd name="connsiteX52" fmla="*/ 4183402 w 4519987"/>
                  <a:gd name="connsiteY52" fmla="*/ 3400425 h 4496940"/>
                  <a:gd name="connsiteX53" fmla="*/ 4164352 w 4519987"/>
                  <a:gd name="connsiteY53" fmla="*/ 3429000 h 4496940"/>
                  <a:gd name="connsiteX54" fmla="*/ 4088152 w 4519987"/>
                  <a:gd name="connsiteY54" fmla="*/ 3495675 h 4496940"/>
                  <a:gd name="connsiteX55" fmla="*/ 4059577 w 4519987"/>
                  <a:gd name="connsiteY55" fmla="*/ 3533775 h 4496940"/>
                  <a:gd name="connsiteX56" fmla="*/ 4002427 w 4519987"/>
                  <a:gd name="connsiteY56" fmla="*/ 3600450 h 4496940"/>
                  <a:gd name="connsiteX57" fmla="*/ 3983377 w 4519987"/>
                  <a:gd name="connsiteY57" fmla="*/ 3629025 h 4496940"/>
                  <a:gd name="connsiteX58" fmla="*/ 3954802 w 4519987"/>
                  <a:gd name="connsiteY58" fmla="*/ 3648075 h 4496940"/>
                  <a:gd name="connsiteX59" fmla="*/ 3907177 w 4519987"/>
                  <a:gd name="connsiteY59" fmla="*/ 3686175 h 4496940"/>
                  <a:gd name="connsiteX60" fmla="*/ 3869077 w 4519987"/>
                  <a:gd name="connsiteY60" fmla="*/ 3724275 h 4496940"/>
                  <a:gd name="connsiteX61" fmla="*/ 3792877 w 4519987"/>
                  <a:gd name="connsiteY61" fmla="*/ 3781425 h 4496940"/>
                  <a:gd name="connsiteX62" fmla="*/ 3783352 w 4519987"/>
                  <a:gd name="connsiteY62" fmla="*/ 3810000 h 4496940"/>
                  <a:gd name="connsiteX63" fmla="*/ 3745252 w 4519987"/>
                  <a:gd name="connsiteY63" fmla="*/ 3819525 h 4496940"/>
                  <a:gd name="connsiteX64" fmla="*/ 3678577 w 4519987"/>
                  <a:gd name="connsiteY64" fmla="*/ 3848100 h 4496940"/>
                  <a:gd name="connsiteX65" fmla="*/ 3659527 w 4519987"/>
                  <a:gd name="connsiteY65" fmla="*/ 3971925 h 4496940"/>
                  <a:gd name="connsiteX66" fmla="*/ 3630952 w 4519987"/>
                  <a:gd name="connsiteY66" fmla="*/ 4010025 h 4496940"/>
                  <a:gd name="connsiteX67" fmla="*/ 3621427 w 4519987"/>
                  <a:gd name="connsiteY67" fmla="*/ 4038600 h 4496940"/>
                  <a:gd name="connsiteX68" fmla="*/ 3554752 w 4519987"/>
                  <a:gd name="connsiteY68" fmla="*/ 4095750 h 4496940"/>
                  <a:gd name="connsiteX69" fmla="*/ 3516652 w 4519987"/>
                  <a:gd name="connsiteY69" fmla="*/ 4114800 h 4496940"/>
                  <a:gd name="connsiteX70" fmla="*/ 3497602 w 4519987"/>
                  <a:gd name="connsiteY70" fmla="*/ 4143375 h 4496940"/>
                  <a:gd name="connsiteX71" fmla="*/ 3383302 w 4519987"/>
                  <a:gd name="connsiteY71" fmla="*/ 4210050 h 4496940"/>
                  <a:gd name="connsiteX72" fmla="*/ 3335677 w 4519987"/>
                  <a:gd name="connsiteY72" fmla="*/ 4238625 h 4496940"/>
                  <a:gd name="connsiteX73" fmla="*/ 3288052 w 4519987"/>
                  <a:gd name="connsiteY73" fmla="*/ 4248150 h 4496940"/>
                  <a:gd name="connsiteX74" fmla="*/ 3240427 w 4519987"/>
                  <a:gd name="connsiteY74" fmla="*/ 4267200 h 4496940"/>
                  <a:gd name="connsiteX75" fmla="*/ 3068977 w 4519987"/>
                  <a:gd name="connsiteY75" fmla="*/ 4286250 h 4496940"/>
                  <a:gd name="connsiteX76" fmla="*/ 2935627 w 4519987"/>
                  <a:gd name="connsiteY76" fmla="*/ 4333875 h 4496940"/>
                  <a:gd name="connsiteX77" fmla="*/ 2811802 w 4519987"/>
                  <a:gd name="connsiteY77" fmla="*/ 4371975 h 4496940"/>
                  <a:gd name="connsiteX78" fmla="*/ 2745127 w 4519987"/>
                  <a:gd name="connsiteY78" fmla="*/ 4410075 h 4496940"/>
                  <a:gd name="connsiteX79" fmla="*/ 2697502 w 4519987"/>
                  <a:gd name="connsiteY79" fmla="*/ 4429125 h 4496940"/>
                  <a:gd name="connsiteX80" fmla="*/ 2640352 w 4519987"/>
                  <a:gd name="connsiteY80" fmla="*/ 4457700 h 4496940"/>
                  <a:gd name="connsiteX81" fmla="*/ 2583202 w 4519987"/>
                  <a:gd name="connsiteY81" fmla="*/ 4467225 h 4496940"/>
                  <a:gd name="connsiteX82" fmla="*/ 2545102 w 4519987"/>
                  <a:gd name="connsiteY82" fmla="*/ 4486275 h 4496940"/>
                  <a:gd name="connsiteX83" fmla="*/ 2306977 w 4519987"/>
                  <a:gd name="connsiteY83" fmla="*/ 4476750 h 4496940"/>
                  <a:gd name="connsiteX84" fmla="*/ 2202202 w 4519987"/>
                  <a:gd name="connsiteY84" fmla="*/ 4457700 h 4496940"/>
                  <a:gd name="connsiteX85" fmla="*/ 2126002 w 4519987"/>
                  <a:gd name="connsiteY85" fmla="*/ 4429125 h 4496940"/>
                  <a:gd name="connsiteX86" fmla="*/ 1935502 w 4519987"/>
                  <a:gd name="connsiteY86" fmla="*/ 4400550 h 4496940"/>
                  <a:gd name="connsiteX87" fmla="*/ 1821202 w 4519987"/>
                  <a:gd name="connsiteY87" fmla="*/ 4371975 h 4496940"/>
                  <a:gd name="connsiteX88" fmla="*/ 1754527 w 4519987"/>
                  <a:gd name="connsiteY88" fmla="*/ 4352925 h 4496940"/>
                  <a:gd name="connsiteX89" fmla="*/ 1687852 w 4519987"/>
                  <a:gd name="connsiteY89" fmla="*/ 4343400 h 4496940"/>
                  <a:gd name="connsiteX90" fmla="*/ 1573552 w 4519987"/>
                  <a:gd name="connsiteY90" fmla="*/ 4305300 h 4496940"/>
                  <a:gd name="connsiteX91" fmla="*/ 1402102 w 4519987"/>
                  <a:gd name="connsiteY91" fmla="*/ 4276725 h 4496940"/>
                  <a:gd name="connsiteX92" fmla="*/ 1287802 w 4519987"/>
                  <a:gd name="connsiteY92" fmla="*/ 4229100 h 4496940"/>
                  <a:gd name="connsiteX93" fmla="*/ 1221127 w 4519987"/>
                  <a:gd name="connsiteY93" fmla="*/ 4200525 h 4496940"/>
                  <a:gd name="connsiteX94" fmla="*/ 1144927 w 4519987"/>
                  <a:gd name="connsiteY94" fmla="*/ 4171950 h 4496940"/>
                  <a:gd name="connsiteX95" fmla="*/ 1087777 w 4519987"/>
                  <a:gd name="connsiteY95" fmla="*/ 4143375 h 4496940"/>
                  <a:gd name="connsiteX96" fmla="*/ 1030627 w 4519987"/>
                  <a:gd name="connsiteY96" fmla="*/ 4124325 h 4496940"/>
                  <a:gd name="connsiteX97" fmla="*/ 925852 w 4519987"/>
                  <a:gd name="connsiteY97" fmla="*/ 4067175 h 4496940"/>
                  <a:gd name="connsiteX98" fmla="*/ 830602 w 4519987"/>
                  <a:gd name="connsiteY98" fmla="*/ 3981450 h 4496940"/>
                  <a:gd name="connsiteX99" fmla="*/ 763927 w 4519987"/>
                  <a:gd name="connsiteY99" fmla="*/ 3914775 h 4496940"/>
                  <a:gd name="connsiteX100" fmla="*/ 725827 w 4519987"/>
                  <a:gd name="connsiteY100" fmla="*/ 3876675 h 4496940"/>
                  <a:gd name="connsiteX101" fmla="*/ 697252 w 4519987"/>
                  <a:gd name="connsiteY101" fmla="*/ 3838575 h 4496940"/>
                  <a:gd name="connsiteX102" fmla="*/ 640102 w 4519987"/>
                  <a:gd name="connsiteY102" fmla="*/ 3781425 h 4496940"/>
                  <a:gd name="connsiteX103" fmla="*/ 611527 w 4519987"/>
                  <a:gd name="connsiteY103" fmla="*/ 3733800 h 4496940"/>
                  <a:gd name="connsiteX104" fmla="*/ 554377 w 4519987"/>
                  <a:gd name="connsiteY104" fmla="*/ 3657600 h 4496940"/>
                  <a:gd name="connsiteX105" fmla="*/ 525802 w 4519987"/>
                  <a:gd name="connsiteY105" fmla="*/ 3609975 h 4496940"/>
                  <a:gd name="connsiteX106" fmla="*/ 497227 w 4519987"/>
                  <a:gd name="connsiteY106" fmla="*/ 3552825 h 4496940"/>
                  <a:gd name="connsiteX107" fmla="*/ 440077 w 4519987"/>
                  <a:gd name="connsiteY107" fmla="*/ 3495675 h 4496940"/>
                  <a:gd name="connsiteX108" fmla="*/ 411502 w 4519987"/>
                  <a:gd name="connsiteY108" fmla="*/ 3448050 h 4496940"/>
                  <a:gd name="connsiteX109" fmla="*/ 278152 w 4519987"/>
                  <a:gd name="connsiteY109" fmla="*/ 3257550 h 4496940"/>
                  <a:gd name="connsiteX110" fmla="*/ 249577 w 4519987"/>
                  <a:gd name="connsiteY110" fmla="*/ 3200400 h 4496940"/>
                  <a:gd name="connsiteX111" fmla="*/ 240052 w 4519987"/>
                  <a:gd name="connsiteY111" fmla="*/ 3162300 h 4496940"/>
                  <a:gd name="connsiteX112" fmla="*/ 221002 w 4519987"/>
                  <a:gd name="connsiteY112" fmla="*/ 3105150 h 4496940"/>
                  <a:gd name="connsiteX113" fmla="*/ 173377 w 4519987"/>
                  <a:gd name="connsiteY113" fmla="*/ 3019425 h 4496940"/>
                  <a:gd name="connsiteX114" fmla="*/ 144802 w 4519987"/>
                  <a:gd name="connsiteY114" fmla="*/ 2924175 h 4496940"/>
                  <a:gd name="connsiteX115" fmla="*/ 68602 w 4519987"/>
                  <a:gd name="connsiteY115" fmla="*/ 2724150 h 4496940"/>
                  <a:gd name="connsiteX116" fmla="*/ 49552 w 4519987"/>
                  <a:gd name="connsiteY116" fmla="*/ 2638425 h 4496940"/>
                  <a:gd name="connsiteX117" fmla="*/ 40027 w 4519987"/>
                  <a:gd name="connsiteY117" fmla="*/ 2562225 h 4496940"/>
                  <a:gd name="connsiteX118" fmla="*/ 30502 w 4519987"/>
                  <a:gd name="connsiteY118" fmla="*/ 2514600 h 4496940"/>
                  <a:gd name="connsiteX119" fmla="*/ 11452 w 4519987"/>
                  <a:gd name="connsiteY119" fmla="*/ 2400300 h 4496940"/>
                  <a:gd name="connsiteX120" fmla="*/ 20977 w 4519987"/>
                  <a:gd name="connsiteY120" fmla="*/ 1905000 h 4496940"/>
                  <a:gd name="connsiteX121" fmla="*/ 30502 w 4519987"/>
                  <a:gd name="connsiteY121" fmla="*/ 1838325 h 4496940"/>
                  <a:gd name="connsiteX122" fmla="*/ 49552 w 4519987"/>
                  <a:gd name="connsiteY122" fmla="*/ 1781175 h 4496940"/>
                  <a:gd name="connsiteX123" fmla="*/ 59077 w 4519987"/>
                  <a:gd name="connsiteY123" fmla="*/ 1743075 h 4496940"/>
                  <a:gd name="connsiteX124" fmla="*/ 78127 w 4519987"/>
                  <a:gd name="connsiteY124" fmla="*/ 1685925 h 4496940"/>
                  <a:gd name="connsiteX125" fmla="*/ 87652 w 4519987"/>
                  <a:gd name="connsiteY125" fmla="*/ 1638300 h 4496940"/>
                  <a:gd name="connsiteX126" fmla="*/ 106702 w 4519987"/>
                  <a:gd name="connsiteY126" fmla="*/ 1590675 h 4496940"/>
                  <a:gd name="connsiteX127" fmla="*/ 135277 w 4519987"/>
                  <a:gd name="connsiteY127" fmla="*/ 1504950 h 4496940"/>
                  <a:gd name="connsiteX128" fmla="*/ 154327 w 4519987"/>
                  <a:gd name="connsiteY128" fmla="*/ 1419225 h 4496940"/>
                  <a:gd name="connsiteX129" fmla="*/ 230527 w 4519987"/>
                  <a:gd name="connsiteY129" fmla="*/ 1276350 h 4496940"/>
                  <a:gd name="connsiteX130" fmla="*/ 240052 w 4519987"/>
                  <a:gd name="connsiteY130" fmla="*/ 1247775 h 4496940"/>
                  <a:gd name="connsiteX131" fmla="*/ 268627 w 4519987"/>
                  <a:gd name="connsiteY131" fmla="*/ 1200150 h 4496940"/>
                  <a:gd name="connsiteX132" fmla="*/ 287677 w 4519987"/>
                  <a:gd name="connsiteY132" fmla="*/ 1152525 h 4496940"/>
                  <a:gd name="connsiteX133" fmla="*/ 316252 w 4519987"/>
                  <a:gd name="connsiteY133" fmla="*/ 1114425 h 4496940"/>
                  <a:gd name="connsiteX134" fmla="*/ 363877 w 4519987"/>
                  <a:gd name="connsiteY134" fmla="*/ 1038225 h 4496940"/>
                  <a:gd name="connsiteX135" fmla="*/ 382927 w 4519987"/>
                  <a:gd name="connsiteY135" fmla="*/ 1009650 h 4496940"/>
                  <a:gd name="connsiteX136" fmla="*/ 440077 w 4519987"/>
                  <a:gd name="connsiteY136" fmla="*/ 904875 h 4496940"/>
                  <a:gd name="connsiteX137" fmla="*/ 478177 w 4519987"/>
                  <a:gd name="connsiteY137" fmla="*/ 857250 h 4496940"/>
                  <a:gd name="connsiteX138" fmla="*/ 497227 w 4519987"/>
                  <a:gd name="connsiteY138" fmla="*/ 828675 h 4496940"/>
                  <a:gd name="connsiteX139" fmla="*/ 535327 w 4519987"/>
                  <a:gd name="connsiteY139" fmla="*/ 800100 h 4496940"/>
                  <a:gd name="connsiteX140" fmla="*/ 602002 w 4519987"/>
                  <a:gd name="connsiteY140" fmla="*/ 733425 h 4496940"/>
                  <a:gd name="connsiteX141" fmla="*/ 668677 w 4519987"/>
                  <a:gd name="connsiteY141" fmla="*/ 676275 h 4496940"/>
                  <a:gd name="connsiteX142" fmla="*/ 697252 w 4519987"/>
                  <a:gd name="connsiteY142" fmla="*/ 657225 h 4496940"/>
                  <a:gd name="connsiteX143" fmla="*/ 840127 w 4519987"/>
                  <a:gd name="connsiteY143" fmla="*/ 533400 h 4496940"/>
                  <a:gd name="connsiteX144" fmla="*/ 887752 w 4519987"/>
                  <a:gd name="connsiteY144" fmla="*/ 504825 h 4496940"/>
                  <a:gd name="connsiteX145" fmla="*/ 1167152 w 4519987"/>
                  <a:gd name="connsiteY145" fmla="*/ 311150 h 4496940"/>
                  <a:gd name="connsiteX146" fmla="*/ 1268752 w 4519987"/>
                  <a:gd name="connsiteY146" fmla="*/ 285750 h 4496940"/>
                  <a:gd name="connsiteX147" fmla="*/ 1411627 w 4519987"/>
                  <a:gd name="connsiteY147" fmla="*/ 190500 h 4496940"/>
                  <a:gd name="connsiteX148" fmla="*/ 1449727 w 4519987"/>
                  <a:gd name="connsiteY148" fmla="*/ 161925 h 4496940"/>
                  <a:gd name="connsiteX149" fmla="*/ 1525927 w 4519987"/>
                  <a:gd name="connsiteY149" fmla="*/ 152400 h 4496940"/>
                  <a:gd name="connsiteX150" fmla="*/ 1583077 w 4519987"/>
                  <a:gd name="connsiteY150" fmla="*/ 142875 h 4496940"/>
                  <a:gd name="connsiteX151" fmla="*/ 1716427 w 4519987"/>
                  <a:gd name="connsiteY151" fmla="*/ 123825 h 4496940"/>
                  <a:gd name="connsiteX152" fmla="*/ 1811677 w 4519987"/>
                  <a:gd name="connsiteY152" fmla="*/ 114300 h 4496940"/>
                  <a:gd name="connsiteX153" fmla="*/ 1859302 w 4519987"/>
                  <a:gd name="connsiteY153" fmla="*/ 104775 h 4496940"/>
                  <a:gd name="connsiteX154" fmla="*/ 1916452 w 4519987"/>
                  <a:gd name="connsiteY154" fmla="*/ 95250 h 4496940"/>
                  <a:gd name="connsiteX155" fmla="*/ 2030752 w 4519987"/>
                  <a:gd name="connsiteY155" fmla="*/ 66675 h 4496940"/>
                  <a:gd name="connsiteX156" fmla="*/ 2097427 w 4519987"/>
                  <a:gd name="connsiteY156" fmla="*/ 47625 h 4496940"/>
                  <a:gd name="connsiteX157" fmla="*/ 2164102 w 4519987"/>
                  <a:gd name="connsiteY157" fmla="*/ 38100 h 4496940"/>
                  <a:gd name="connsiteX158" fmla="*/ 2392702 w 4519987"/>
                  <a:gd name="connsiteY15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78627 w 4519987"/>
                  <a:gd name="connsiteY28" fmla="*/ 838200 h 4496940"/>
                  <a:gd name="connsiteX29" fmla="*/ 4107202 w 4519987"/>
                  <a:gd name="connsiteY29" fmla="*/ 876300 h 4496940"/>
                  <a:gd name="connsiteX30" fmla="*/ 4116727 w 4519987"/>
                  <a:gd name="connsiteY30" fmla="*/ 904875 h 4496940"/>
                  <a:gd name="connsiteX31" fmla="*/ 4135777 w 4519987"/>
                  <a:gd name="connsiteY31" fmla="*/ 933450 h 4496940"/>
                  <a:gd name="connsiteX32" fmla="*/ 4164352 w 4519987"/>
                  <a:gd name="connsiteY32" fmla="*/ 990600 h 4496940"/>
                  <a:gd name="connsiteX33" fmla="*/ 4173877 w 4519987"/>
                  <a:gd name="connsiteY33" fmla="*/ 1019175 h 4496940"/>
                  <a:gd name="connsiteX34" fmla="*/ 4192927 w 4519987"/>
                  <a:gd name="connsiteY34" fmla="*/ 1057275 h 4496940"/>
                  <a:gd name="connsiteX35" fmla="*/ 4202452 w 4519987"/>
                  <a:gd name="connsiteY35" fmla="*/ 1085850 h 4496940"/>
                  <a:gd name="connsiteX36" fmla="*/ 4250077 w 4519987"/>
                  <a:gd name="connsiteY36" fmla="*/ 1143000 h 4496940"/>
                  <a:gd name="connsiteX37" fmla="*/ 4259602 w 4519987"/>
                  <a:gd name="connsiteY37" fmla="*/ 1190625 h 4496940"/>
                  <a:gd name="connsiteX38" fmla="*/ 4307227 w 4519987"/>
                  <a:gd name="connsiteY38" fmla="*/ 1266825 h 4496940"/>
                  <a:gd name="connsiteX39" fmla="*/ 4345327 w 4519987"/>
                  <a:gd name="connsiteY39" fmla="*/ 1362075 h 4496940"/>
                  <a:gd name="connsiteX40" fmla="*/ 4373902 w 4519987"/>
                  <a:gd name="connsiteY40" fmla="*/ 1428750 h 4496940"/>
                  <a:gd name="connsiteX41" fmla="*/ 4392952 w 4519987"/>
                  <a:gd name="connsiteY41" fmla="*/ 1552575 h 4496940"/>
                  <a:gd name="connsiteX42" fmla="*/ 4402477 w 4519987"/>
                  <a:gd name="connsiteY42" fmla="*/ 1590675 h 4496940"/>
                  <a:gd name="connsiteX43" fmla="*/ 4431052 w 4519987"/>
                  <a:gd name="connsiteY43" fmla="*/ 1685925 h 4496940"/>
                  <a:gd name="connsiteX44" fmla="*/ 4519952 w 4519987"/>
                  <a:gd name="connsiteY44" fmla="*/ 2181225 h 4496940"/>
                  <a:gd name="connsiteX45" fmla="*/ 4446927 w 4519987"/>
                  <a:gd name="connsiteY45" fmla="*/ 2768600 h 4496940"/>
                  <a:gd name="connsiteX46" fmla="*/ 4383427 w 4519987"/>
                  <a:gd name="connsiteY46" fmla="*/ 2990850 h 4496940"/>
                  <a:gd name="connsiteX47" fmla="*/ 4278652 w 4519987"/>
                  <a:gd name="connsiteY47" fmla="*/ 3248025 h 4496940"/>
                  <a:gd name="connsiteX48" fmla="*/ 4259602 w 4519987"/>
                  <a:gd name="connsiteY48" fmla="*/ 3276600 h 4496940"/>
                  <a:gd name="connsiteX49" fmla="*/ 4221502 w 4519987"/>
                  <a:gd name="connsiteY49" fmla="*/ 3333750 h 4496940"/>
                  <a:gd name="connsiteX50" fmla="*/ 4211977 w 4519987"/>
                  <a:gd name="connsiteY50" fmla="*/ 3362325 h 4496940"/>
                  <a:gd name="connsiteX51" fmla="*/ 4183402 w 4519987"/>
                  <a:gd name="connsiteY51" fmla="*/ 3400425 h 4496940"/>
                  <a:gd name="connsiteX52" fmla="*/ 4164352 w 4519987"/>
                  <a:gd name="connsiteY52" fmla="*/ 3429000 h 4496940"/>
                  <a:gd name="connsiteX53" fmla="*/ 4088152 w 4519987"/>
                  <a:gd name="connsiteY53" fmla="*/ 3495675 h 4496940"/>
                  <a:gd name="connsiteX54" fmla="*/ 4059577 w 4519987"/>
                  <a:gd name="connsiteY54" fmla="*/ 3533775 h 4496940"/>
                  <a:gd name="connsiteX55" fmla="*/ 4002427 w 4519987"/>
                  <a:gd name="connsiteY55" fmla="*/ 3600450 h 4496940"/>
                  <a:gd name="connsiteX56" fmla="*/ 3983377 w 4519987"/>
                  <a:gd name="connsiteY56" fmla="*/ 3629025 h 4496940"/>
                  <a:gd name="connsiteX57" fmla="*/ 3954802 w 4519987"/>
                  <a:gd name="connsiteY57" fmla="*/ 3648075 h 4496940"/>
                  <a:gd name="connsiteX58" fmla="*/ 3907177 w 4519987"/>
                  <a:gd name="connsiteY58" fmla="*/ 3686175 h 4496940"/>
                  <a:gd name="connsiteX59" fmla="*/ 3869077 w 4519987"/>
                  <a:gd name="connsiteY59" fmla="*/ 3724275 h 4496940"/>
                  <a:gd name="connsiteX60" fmla="*/ 3792877 w 4519987"/>
                  <a:gd name="connsiteY60" fmla="*/ 3781425 h 4496940"/>
                  <a:gd name="connsiteX61" fmla="*/ 3783352 w 4519987"/>
                  <a:gd name="connsiteY61" fmla="*/ 3810000 h 4496940"/>
                  <a:gd name="connsiteX62" fmla="*/ 3745252 w 4519987"/>
                  <a:gd name="connsiteY62" fmla="*/ 3819525 h 4496940"/>
                  <a:gd name="connsiteX63" fmla="*/ 3678577 w 4519987"/>
                  <a:gd name="connsiteY63" fmla="*/ 3848100 h 4496940"/>
                  <a:gd name="connsiteX64" fmla="*/ 3659527 w 4519987"/>
                  <a:gd name="connsiteY64" fmla="*/ 3971925 h 4496940"/>
                  <a:gd name="connsiteX65" fmla="*/ 3630952 w 4519987"/>
                  <a:gd name="connsiteY65" fmla="*/ 4010025 h 4496940"/>
                  <a:gd name="connsiteX66" fmla="*/ 3621427 w 4519987"/>
                  <a:gd name="connsiteY66" fmla="*/ 4038600 h 4496940"/>
                  <a:gd name="connsiteX67" fmla="*/ 3554752 w 4519987"/>
                  <a:gd name="connsiteY67" fmla="*/ 4095750 h 4496940"/>
                  <a:gd name="connsiteX68" fmla="*/ 3516652 w 4519987"/>
                  <a:gd name="connsiteY68" fmla="*/ 4114800 h 4496940"/>
                  <a:gd name="connsiteX69" fmla="*/ 3497602 w 4519987"/>
                  <a:gd name="connsiteY69" fmla="*/ 4143375 h 4496940"/>
                  <a:gd name="connsiteX70" fmla="*/ 3383302 w 4519987"/>
                  <a:gd name="connsiteY70" fmla="*/ 4210050 h 4496940"/>
                  <a:gd name="connsiteX71" fmla="*/ 3335677 w 4519987"/>
                  <a:gd name="connsiteY71" fmla="*/ 4238625 h 4496940"/>
                  <a:gd name="connsiteX72" fmla="*/ 3288052 w 4519987"/>
                  <a:gd name="connsiteY72" fmla="*/ 4248150 h 4496940"/>
                  <a:gd name="connsiteX73" fmla="*/ 3240427 w 4519987"/>
                  <a:gd name="connsiteY73" fmla="*/ 4267200 h 4496940"/>
                  <a:gd name="connsiteX74" fmla="*/ 3068977 w 4519987"/>
                  <a:gd name="connsiteY74" fmla="*/ 4286250 h 4496940"/>
                  <a:gd name="connsiteX75" fmla="*/ 2935627 w 4519987"/>
                  <a:gd name="connsiteY75" fmla="*/ 4333875 h 4496940"/>
                  <a:gd name="connsiteX76" fmla="*/ 2811802 w 4519987"/>
                  <a:gd name="connsiteY76" fmla="*/ 4371975 h 4496940"/>
                  <a:gd name="connsiteX77" fmla="*/ 2745127 w 4519987"/>
                  <a:gd name="connsiteY77" fmla="*/ 4410075 h 4496940"/>
                  <a:gd name="connsiteX78" fmla="*/ 2697502 w 4519987"/>
                  <a:gd name="connsiteY78" fmla="*/ 4429125 h 4496940"/>
                  <a:gd name="connsiteX79" fmla="*/ 2640352 w 4519987"/>
                  <a:gd name="connsiteY79" fmla="*/ 4457700 h 4496940"/>
                  <a:gd name="connsiteX80" fmla="*/ 2583202 w 4519987"/>
                  <a:gd name="connsiteY80" fmla="*/ 4467225 h 4496940"/>
                  <a:gd name="connsiteX81" fmla="*/ 2545102 w 4519987"/>
                  <a:gd name="connsiteY81" fmla="*/ 4486275 h 4496940"/>
                  <a:gd name="connsiteX82" fmla="*/ 2306977 w 4519987"/>
                  <a:gd name="connsiteY82" fmla="*/ 4476750 h 4496940"/>
                  <a:gd name="connsiteX83" fmla="*/ 2202202 w 4519987"/>
                  <a:gd name="connsiteY83" fmla="*/ 4457700 h 4496940"/>
                  <a:gd name="connsiteX84" fmla="*/ 2126002 w 4519987"/>
                  <a:gd name="connsiteY84" fmla="*/ 4429125 h 4496940"/>
                  <a:gd name="connsiteX85" fmla="*/ 1935502 w 4519987"/>
                  <a:gd name="connsiteY85" fmla="*/ 4400550 h 4496940"/>
                  <a:gd name="connsiteX86" fmla="*/ 1821202 w 4519987"/>
                  <a:gd name="connsiteY86" fmla="*/ 4371975 h 4496940"/>
                  <a:gd name="connsiteX87" fmla="*/ 1754527 w 4519987"/>
                  <a:gd name="connsiteY87" fmla="*/ 4352925 h 4496940"/>
                  <a:gd name="connsiteX88" fmla="*/ 1687852 w 4519987"/>
                  <a:gd name="connsiteY88" fmla="*/ 4343400 h 4496940"/>
                  <a:gd name="connsiteX89" fmla="*/ 1573552 w 4519987"/>
                  <a:gd name="connsiteY89" fmla="*/ 4305300 h 4496940"/>
                  <a:gd name="connsiteX90" fmla="*/ 1402102 w 4519987"/>
                  <a:gd name="connsiteY90" fmla="*/ 4276725 h 4496940"/>
                  <a:gd name="connsiteX91" fmla="*/ 1287802 w 4519987"/>
                  <a:gd name="connsiteY91" fmla="*/ 4229100 h 4496940"/>
                  <a:gd name="connsiteX92" fmla="*/ 1221127 w 4519987"/>
                  <a:gd name="connsiteY92" fmla="*/ 4200525 h 4496940"/>
                  <a:gd name="connsiteX93" fmla="*/ 1144927 w 4519987"/>
                  <a:gd name="connsiteY93" fmla="*/ 4171950 h 4496940"/>
                  <a:gd name="connsiteX94" fmla="*/ 1087777 w 4519987"/>
                  <a:gd name="connsiteY94" fmla="*/ 4143375 h 4496940"/>
                  <a:gd name="connsiteX95" fmla="*/ 1030627 w 4519987"/>
                  <a:gd name="connsiteY95" fmla="*/ 4124325 h 4496940"/>
                  <a:gd name="connsiteX96" fmla="*/ 925852 w 4519987"/>
                  <a:gd name="connsiteY96" fmla="*/ 4067175 h 4496940"/>
                  <a:gd name="connsiteX97" fmla="*/ 830602 w 4519987"/>
                  <a:gd name="connsiteY97" fmla="*/ 3981450 h 4496940"/>
                  <a:gd name="connsiteX98" fmla="*/ 763927 w 4519987"/>
                  <a:gd name="connsiteY98" fmla="*/ 3914775 h 4496940"/>
                  <a:gd name="connsiteX99" fmla="*/ 725827 w 4519987"/>
                  <a:gd name="connsiteY99" fmla="*/ 3876675 h 4496940"/>
                  <a:gd name="connsiteX100" fmla="*/ 697252 w 4519987"/>
                  <a:gd name="connsiteY100" fmla="*/ 3838575 h 4496940"/>
                  <a:gd name="connsiteX101" fmla="*/ 640102 w 4519987"/>
                  <a:gd name="connsiteY101" fmla="*/ 3781425 h 4496940"/>
                  <a:gd name="connsiteX102" fmla="*/ 611527 w 4519987"/>
                  <a:gd name="connsiteY102" fmla="*/ 3733800 h 4496940"/>
                  <a:gd name="connsiteX103" fmla="*/ 554377 w 4519987"/>
                  <a:gd name="connsiteY103" fmla="*/ 3657600 h 4496940"/>
                  <a:gd name="connsiteX104" fmla="*/ 525802 w 4519987"/>
                  <a:gd name="connsiteY104" fmla="*/ 3609975 h 4496940"/>
                  <a:gd name="connsiteX105" fmla="*/ 497227 w 4519987"/>
                  <a:gd name="connsiteY105" fmla="*/ 3552825 h 4496940"/>
                  <a:gd name="connsiteX106" fmla="*/ 440077 w 4519987"/>
                  <a:gd name="connsiteY106" fmla="*/ 3495675 h 4496940"/>
                  <a:gd name="connsiteX107" fmla="*/ 411502 w 4519987"/>
                  <a:gd name="connsiteY107" fmla="*/ 3448050 h 4496940"/>
                  <a:gd name="connsiteX108" fmla="*/ 278152 w 4519987"/>
                  <a:gd name="connsiteY108" fmla="*/ 3257550 h 4496940"/>
                  <a:gd name="connsiteX109" fmla="*/ 249577 w 4519987"/>
                  <a:gd name="connsiteY109" fmla="*/ 3200400 h 4496940"/>
                  <a:gd name="connsiteX110" fmla="*/ 240052 w 4519987"/>
                  <a:gd name="connsiteY110" fmla="*/ 3162300 h 4496940"/>
                  <a:gd name="connsiteX111" fmla="*/ 221002 w 4519987"/>
                  <a:gd name="connsiteY111" fmla="*/ 3105150 h 4496940"/>
                  <a:gd name="connsiteX112" fmla="*/ 173377 w 4519987"/>
                  <a:gd name="connsiteY112" fmla="*/ 3019425 h 4496940"/>
                  <a:gd name="connsiteX113" fmla="*/ 144802 w 4519987"/>
                  <a:gd name="connsiteY113" fmla="*/ 2924175 h 4496940"/>
                  <a:gd name="connsiteX114" fmla="*/ 68602 w 4519987"/>
                  <a:gd name="connsiteY114" fmla="*/ 2724150 h 4496940"/>
                  <a:gd name="connsiteX115" fmla="*/ 49552 w 4519987"/>
                  <a:gd name="connsiteY115" fmla="*/ 2638425 h 4496940"/>
                  <a:gd name="connsiteX116" fmla="*/ 40027 w 4519987"/>
                  <a:gd name="connsiteY116" fmla="*/ 2562225 h 4496940"/>
                  <a:gd name="connsiteX117" fmla="*/ 30502 w 4519987"/>
                  <a:gd name="connsiteY117" fmla="*/ 2514600 h 4496940"/>
                  <a:gd name="connsiteX118" fmla="*/ 11452 w 4519987"/>
                  <a:gd name="connsiteY118" fmla="*/ 2400300 h 4496940"/>
                  <a:gd name="connsiteX119" fmla="*/ 20977 w 4519987"/>
                  <a:gd name="connsiteY119" fmla="*/ 1905000 h 4496940"/>
                  <a:gd name="connsiteX120" fmla="*/ 30502 w 4519987"/>
                  <a:gd name="connsiteY120" fmla="*/ 1838325 h 4496940"/>
                  <a:gd name="connsiteX121" fmla="*/ 49552 w 4519987"/>
                  <a:gd name="connsiteY121" fmla="*/ 1781175 h 4496940"/>
                  <a:gd name="connsiteX122" fmla="*/ 59077 w 4519987"/>
                  <a:gd name="connsiteY122" fmla="*/ 1743075 h 4496940"/>
                  <a:gd name="connsiteX123" fmla="*/ 78127 w 4519987"/>
                  <a:gd name="connsiteY123" fmla="*/ 1685925 h 4496940"/>
                  <a:gd name="connsiteX124" fmla="*/ 87652 w 4519987"/>
                  <a:gd name="connsiteY124" fmla="*/ 1638300 h 4496940"/>
                  <a:gd name="connsiteX125" fmla="*/ 106702 w 4519987"/>
                  <a:gd name="connsiteY125" fmla="*/ 1590675 h 4496940"/>
                  <a:gd name="connsiteX126" fmla="*/ 135277 w 4519987"/>
                  <a:gd name="connsiteY126" fmla="*/ 1504950 h 4496940"/>
                  <a:gd name="connsiteX127" fmla="*/ 154327 w 4519987"/>
                  <a:gd name="connsiteY127" fmla="*/ 1419225 h 4496940"/>
                  <a:gd name="connsiteX128" fmla="*/ 230527 w 4519987"/>
                  <a:gd name="connsiteY128" fmla="*/ 1276350 h 4496940"/>
                  <a:gd name="connsiteX129" fmla="*/ 240052 w 4519987"/>
                  <a:gd name="connsiteY129" fmla="*/ 1247775 h 4496940"/>
                  <a:gd name="connsiteX130" fmla="*/ 268627 w 4519987"/>
                  <a:gd name="connsiteY130" fmla="*/ 1200150 h 4496940"/>
                  <a:gd name="connsiteX131" fmla="*/ 287677 w 4519987"/>
                  <a:gd name="connsiteY131" fmla="*/ 1152525 h 4496940"/>
                  <a:gd name="connsiteX132" fmla="*/ 316252 w 4519987"/>
                  <a:gd name="connsiteY132" fmla="*/ 1114425 h 4496940"/>
                  <a:gd name="connsiteX133" fmla="*/ 363877 w 4519987"/>
                  <a:gd name="connsiteY133" fmla="*/ 1038225 h 4496940"/>
                  <a:gd name="connsiteX134" fmla="*/ 382927 w 4519987"/>
                  <a:gd name="connsiteY134" fmla="*/ 1009650 h 4496940"/>
                  <a:gd name="connsiteX135" fmla="*/ 440077 w 4519987"/>
                  <a:gd name="connsiteY135" fmla="*/ 904875 h 4496940"/>
                  <a:gd name="connsiteX136" fmla="*/ 478177 w 4519987"/>
                  <a:gd name="connsiteY136" fmla="*/ 857250 h 4496940"/>
                  <a:gd name="connsiteX137" fmla="*/ 497227 w 4519987"/>
                  <a:gd name="connsiteY137" fmla="*/ 828675 h 4496940"/>
                  <a:gd name="connsiteX138" fmla="*/ 535327 w 4519987"/>
                  <a:gd name="connsiteY138" fmla="*/ 800100 h 4496940"/>
                  <a:gd name="connsiteX139" fmla="*/ 602002 w 4519987"/>
                  <a:gd name="connsiteY139" fmla="*/ 733425 h 4496940"/>
                  <a:gd name="connsiteX140" fmla="*/ 668677 w 4519987"/>
                  <a:gd name="connsiteY140" fmla="*/ 676275 h 4496940"/>
                  <a:gd name="connsiteX141" fmla="*/ 697252 w 4519987"/>
                  <a:gd name="connsiteY141" fmla="*/ 657225 h 4496940"/>
                  <a:gd name="connsiteX142" fmla="*/ 840127 w 4519987"/>
                  <a:gd name="connsiteY142" fmla="*/ 533400 h 4496940"/>
                  <a:gd name="connsiteX143" fmla="*/ 887752 w 4519987"/>
                  <a:gd name="connsiteY143" fmla="*/ 504825 h 4496940"/>
                  <a:gd name="connsiteX144" fmla="*/ 1167152 w 4519987"/>
                  <a:gd name="connsiteY144" fmla="*/ 311150 h 4496940"/>
                  <a:gd name="connsiteX145" fmla="*/ 1268752 w 4519987"/>
                  <a:gd name="connsiteY145" fmla="*/ 285750 h 4496940"/>
                  <a:gd name="connsiteX146" fmla="*/ 1411627 w 4519987"/>
                  <a:gd name="connsiteY146" fmla="*/ 190500 h 4496940"/>
                  <a:gd name="connsiteX147" fmla="*/ 1449727 w 4519987"/>
                  <a:gd name="connsiteY147" fmla="*/ 161925 h 4496940"/>
                  <a:gd name="connsiteX148" fmla="*/ 1525927 w 4519987"/>
                  <a:gd name="connsiteY148" fmla="*/ 152400 h 4496940"/>
                  <a:gd name="connsiteX149" fmla="*/ 1583077 w 4519987"/>
                  <a:gd name="connsiteY149" fmla="*/ 142875 h 4496940"/>
                  <a:gd name="connsiteX150" fmla="*/ 1716427 w 4519987"/>
                  <a:gd name="connsiteY150" fmla="*/ 123825 h 4496940"/>
                  <a:gd name="connsiteX151" fmla="*/ 1811677 w 4519987"/>
                  <a:gd name="connsiteY151" fmla="*/ 114300 h 4496940"/>
                  <a:gd name="connsiteX152" fmla="*/ 1859302 w 4519987"/>
                  <a:gd name="connsiteY152" fmla="*/ 104775 h 4496940"/>
                  <a:gd name="connsiteX153" fmla="*/ 1916452 w 4519987"/>
                  <a:gd name="connsiteY153" fmla="*/ 95250 h 4496940"/>
                  <a:gd name="connsiteX154" fmla="*/ 2030752 w 4519987"/>
                  <a:gd name="connsiteY154" fmla="*/ 66675 h 4496940"/>
                  <a:gd name="connsiteX155" fmla="*/ 2097427 w 4519987"/>
                  <a:gd name="connsiteY155" fmla="*/ 47625 h 4496940"/>
                  <a:gd name="connsiteX156" fmla="*/ 2164102 w 4519987"/>
                  <a:gd name="connsiteY156" fmla="*/ 38100 h 4496940"/>
                  <a:gd name="connsiteX157" fmla="*/ 2392702 w 4519987"/>
                  <a:gd name="connsiteY15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78627 w 4519987"/>
                  <a:gd name="connsiteY28" fmla="*/ 838200 h 4496940"/>
                  <a:gd name="connsiteX29" fmla="*/ 4107202 w 4519987"/>
                  <a:gd name="connsiteY29" fmla="*/ 876300 h 4496940"/>
                  <a:gd name="connsiteX30" fmla="*/ 4135777 w 4519987"/>
                  <a:gd name="connsiteY30" fmla="*/ 933450 h 4496940"/>
                  <a:gd name="connsiteX31" fmla="*/ 4164352 w 4519987"/>
                  <a:gd name="connsiteY31" fmla="*/ 990600 h 4496940"/>
                  <a:gd name="connsiteX32" fmla="*/ 4173877 w 4519987"/>
                  <a:gd name="connsiteY32" fmla="*/ 1019175 h 4496940"/>
                  <a:gd name="connsiteX33" fmla="*/ 4192927 w 4519987"/>
                  <a:gd name="connsiteY33" fmla="*/ 1057275 h 4496940"/>
                  <a:gd name="connsiteX34" fmla="*/ 4202452 w 4519987"/>
                  <a:gd name="connsiteY34" fmla="*/ 1085850 h 4496940"/>
                  <a:gd name="connsiteX35" fmla="*/ 4250077 w 4519987"/>
                  <a:gd name="connsiteY35" fmla="*/ 1143000 h 4496940"/>
                  <a:gd name="connsiteX36" fmla="*/ 4259602 w 4519987"/>
                  <a:gd name="connsiteY36" fmla="*/ 1190625 h 4496940"/>
                  <a:gd name="connsiteX37" fmla="*/ 4307227 w 4519987"/>
                  <a:gd name="connsiteY37" fmla="*/ 1266825 h 4496940"/>
                  <a:gd name="connsiteX38" fmla="*/ 4345327 w 4519987"/>
                  <a:gd name="connsiteY38" fmla="*/ 1362075 h 4496940"/>
                  <a:gd name="connsiteX39" fmla="*/ 4373902 w 4519987"/>
                  <a:gd name="connsiteY39" fmla="*/ 1428750 h 4496940"/>
                  <a:gd name="connsiteX40" fmla="*/ 4392952 w 4519987"/>
                  <a:gd name="connsiteY40" fmla="*/ 1552575 h 4496940"/>
                  <a:gd name="connsiteX41" fmla="*/ 4402477 w 4519987"/>
                  <a:gd name="connsiteY41" fmla="*/ 1590675 h 4496940"/>
                  <a:gd name="connsiteX42" fmla="*/ 4431052 w 4519987"/>
                  <a:gd name="connsiteY42" fmla="*/ 1685925 h 4496940"/>
                  <a:gd name="connsiteX43" fmla="*/ 4519952 w 4519987"/>
                  <a:gd name="connsiteY43" fmla="*/ 2181225 h 4496940"/>
                  <a:gd name="connsiteX44" fmla="*/ 4446927 w 4519987"/>
                  <a:gd name="connsiteY44" fmla="*/ 2768600 h 4496940"/>
                  <a:gd name="connsiteX45" fmla="*/ 4383427 w 4519987"/>
                  <a:gd name="connsiteY45" fmla="*/ 2990850 h 4496940"/>
                  <a:gd name="connsiteX46" fmla="*/ 4278652 w 4519987"/>
                  <a:gd name="connsiteY46" fmla="*/ 3248025 h 4496940"/>
                  <a:gd name="connsiteX47" fmla="*/ 4259602 w 4519987"/>
                  <a:gd name="connsiteY47" fmla="*/ 3276600 h 4496940"/>
                  <a:gd name="connsiteX48" fmla="*/ 4221502 w 4519987"/>
                  <a:gd name="connsiteY48" fmla="*/ 3333750 h 4496940"/>
                  <a:gd name="connsiteX49" fmla="*/ 4211977 w 4519987"/>
                  <a:gd name="connsiteY49" fmla="*/ 3362325 h 4496940"/>
                  <a:gd name="connsiteX50" fmla="*/ 4183402 w 4519987"/>
                  <a:gd name="connsiteY50" fmla="*/ 3400425 h 4496940"/>
                  <a:gd name="connsiteX51" fmla="*/ 4164352 w 4519987"/>
                  <a:gd name="connsiteY51" fmla="*/ 3429000 h 4496940"/>
                  <a:gd name="connsiteX52" fmla="*/ 4088152 w 4519987"/>
                  <a:gd name="connsiteY52" fmla="*/ 3495675 h 4496940"/>
                  <a:gd name="connsiteX53" fmla="*/ 4059577 w 4519987"/>
                  <a:gd name="connsiteY53" fmla="*/ 3533775 h 4496940"/>
                  <a:gd name="connsiteX54" fmla="*/ 4002427 w 4519987"/>
                  <a:gd name="connsiteY54" fmla="*/ 3600450 h 4496940"/>
                  <a:gd name="connsiteX55" fmla="*/ 3983377 w 4519987"/>
                  <a:gd name="connsiteY55" fmla="*/ 3629025 h 4496940"/>
                  <a:gd name="connsiteX56" fmla="*/ 3954802 w 4519987"/>
                  <a:gd name="connsiteY56" fmla="*/ 3648075 h 4496940"/>
                  <a:gd name="connsiteX57" fmla="*/ 3907177 w 4519987"/>
                  <a:gd name="connsiteY57" fmla="*/ 3686175 h 4496940"/>
                  <a:gd name="connsiteX58" fmla="*/ 3869077 w 4519987"/>
                  <a:gd name="connsiteY58" fmla="*/ 3724275 h 4496940"/>
                  <a:gd name="connsiteX59" fmla="*/ 3792877 w 4519987"/>
                  <a:gd name="connsiteY59" fmla="*/ 3781425 h 4496940"/>
                  <a:gd name="connsiteX60" fmla="*/ 3783352 w 4519987"/>
                  <a:gd name="connsiteY60" fmla="*/ 3810000 h 4496940"/>
                  <a:gd name="connsiteX61" fmla="*/ 3745252 w 4519987"/>
                  <a:gd name="connsiteY61" fmla="*/ 3819525 h 4496940"/>
                  <a:gd name="connsiteX62" fmla="*/ 3678577 w 4519987"/>
                  <a:gd name="connsiteY62" fmla="*/ 3848100 h 4496940"/>
                  <a:gd name="connsiteX63" fmla="*/ 3659527 w 4519987"/>
                  <a:gd name="connsiteY63" fmla="*/ 3971925 h 4496940"/>
                  <a:gd name="connsiteX64" fmla="*/ 3630952 w 4519987"/>
                  <a:gd name="connsiteY64" fmla="*/ 4010025 h 4496940"/>
                  <a:gd name="connsiteX65" fmla="*/ 3621427 w 4519987"/>
                  <a:gd name="connsiteY65" fmla="*/ 4038600 h 4496940"/>
                  <a:gd name="connsiteX66" fmla="*/ 3554752 w 4519987"/>
                  <a:gd name="connsiteY66" fmla="*/ 4095750 h 4496940"/>
                  <a:gd name="connsiteX67" fmla="*/ 3516652 w 4519987"/>
                  <a:gd name="connsiteY67" fmla="*/ 4114800 h 4496940"/>
                  <a:gd name="connsiteX68" fmla="*/ 3497602 w 4519987"/>
                  <a:gd name="connsiteY68" fmla="*/ 4143375 h 4496940"/>
                  <a:gd name="connsiteX69" fmla="*/ 3383302 w 4519987"/>
                  <a:gd name="connsiteY69" fmla="*/ 4210050 h 4496940"/>
                  <a:gd name="connsiteX70" fmla="*/ 3335677 w 4519987"/>
                  <a:gd name="connsiteY70" fmla="*/ 4238625 h 4496940"/>
                  <a:gd name="connsiteX71" fmla="*/ 3288052 w 4519987"/>
                  <a:gd name="connsiteY71" fmla="*/ 4248150 h 4496940"/>
                  <a:gd name="connsiteX72" fmla="*/ 3240427 w 4519987"/>
                  <a:gd name="connsiteY72" fmla="*/ 4267200 h 4496940"/>
                  <a:gd name="connsiteX73" fmla="*/ 3068977 w 4519987"/>
                  <a:gd name="connsiteY73" fmla="*/ 4286250 h 4496940"/>
                  <a:gd name="connsiteX74" fmla="*/ 2935627 w 4519987"/>
                  <a:gd name="connsiteY74" fmla="*/ 4333875 h 4496940"/>
                  <a:gd name="connsiteX75" fmla="*/ 2811802 w 4519987"/>
                  <a:gd name="connsiteY75" fmla="*/ 4371975 h 4496940"/>
                  <a:gd name="connsiteX76" fmla="*/ 2745127 w 4519987"/>
                  <a:gd name="connsiteY76" fmla="*/ 4410075 h 4496940"/>
                  <a:gd name="connsiteX77" fmla="*/ 2697502 w 4519987"/>
                  <a:gd name="connsiteY77" fmla="*/ 4429125 h 4496940"/>
                  <a:gd name="connsiteX78" fmla="*/ 2640352 w 4519987"/>
                  <a:gd name="connsiteY78" fmla="*/ 4457700 h 4496940"/>
                  <a:gd name="connsiteX79" fmla="*/ 2583202 w 4519987"/>
                  <a:gd name="connsiteY79" fmla="*/ 4467225 h 4496940"/>
                  <a:gd name="connsiteX80" fmla="*/ 2545102 w 4519987"/>
                  <a:gd name="connsiteY80" fmla="*/ 4486275 h 4496940"/>
                  <a:gd name="connsiteX81" fmla="*/ 2306977 w 4519987"/>
                  <a:gd name="connsiteY81" fmla="*/ 4476750 h 4496940"/>
                  <a:gd name="connsiteX82" fmla="*/ 2202202 w 4519987"/>
                  <a:gd name="connsiteY82" fmla="*/ 4457700 h 4496940"/>
                  <a:gd name="connsiteX83" fmla="*/ 2126002 w 4519987"/>
                  <a:gd name="connsiteY83" fmla="*/ 4429125 h 4496940"/>
                  <a:gd name="connsiteX84" fmla="*/ 1935502 w 4519987"/>
                  <a:gd name="connsiteY84" fmla="*/ 4400550 h 4496940"/>
                  <a:gd name="connsiteX85" fmla="*/ 1821202 w 4519987"/>
                  <a:gd name="connsiteY85" fmla="*/ 4371975 h 4496940"/>
                  <a:gd name="connsiteX86" fmla="*/ 1754527 w 4519987"/>
                  <a:gd name="connsiteY86" fmla="*/ 4352925 h 4496940"/>
                  <a:gd name="connsiteX87" fmla="*/ 1687852 w 4519987"/>
                  <a:gd name="connsiteY87" fmla="*/ 4343400 h 4496940"/>
                  <a:gd name="connsiteX88" fmla="*/ 1573552 w 4519987"/>
                  <a:gd name="connsiteY88" fmla="*/ 4305300 h 4496940"/>
                  <a:gd name="connsiteX89" fmla="*/ 1402102 w 4519987"/>
                  <a:gd name="connsiteY89" fmla="*/ 4276725 h 4496940"/>
                  <a:gd name="connsiteX90" fmla="*/ 1287802 w 4519987"/>
                  <a:gd name="connsiteY90" fmla="*/ 4229100 h 4496940"/>
                  <a:gd name="connsiteX91" fmla="*/ 1221127 w 4519987"/>
                  <a:gd name="connsiteY91" fmla="*/ 4200525 h 4496940"/>
                  <a:gd name="connsiteX92" fmla="*/ 1144927 w 4519987"/>
                  <a:gd name="connsiteY92" fmla="*/ 4171950 h 4496940"/>
                  <a:gd name="connsiteX93" fmla="*/ 1087777 w 4519987"/>
                  <a:gd name="connsiteY93" fmla="*/ 4143375 h 4496940"/>
                  <a:gd name="connsiteX94" fmla="*/ 1030627 w 4519987"/>
                  <a:gd name="connsiteY94" fmla="*/ 4124325 h 4496940"/>
                  <a:gd name="connsiteX95" fmla="*/ 925852 w 4519987"/>
                  <a:gd name="connsiteY95" fmla="*/ 4067175 h 4496940"/>
                  <a:gd name="connsiteX96" fmla="*/ 830602 w 4519987"/>
                  <a:gd name="connsiteY96" fmla="*/ 3981450 h 4496940"/>
                  <a:gd name="connsiteX97" fmla="*/ 763927 w 4519987"/>
                  <a:gd name="connsiteY97" fmla="*/ 3914775 h 4496940"/>
                  <a:gd name="connsiteX98" fmla="*/ 725827 w 4519987"/>
                  <a:gd name="connsiteY98" fmla="*/ 3876675 h 4496940"/>
                  <a:gd name="connsiteX99" fmla="*/ 697252 w 4519987"/>
                  <a:gd name="connsiteY99" fmla="*/ 3838575 h 4496940"/>
                  <a:gd name="connsiteX100" fmla="*/ 640102 w 4519987"/>
                  <a:gd name="connsiteY100" fmla="*/ 3781425 h 4496940"/>
                  <a:gd name="connsiteX101" fmla="*/ 611527 w 4519987"/>
                  <a:gd name="connsiteY101" fmla="*/ 3733800 h 4496940"/>
                  <a:gd name="connsiteX102" fmla="*/ 554377 w 4519987"/>
                  <a:gd name="connsiteY102" fmla="*/ 3657600 h 4496940"/>
                  <a:gd name="connsiteX103" fmla="*/ 525802 w 4519987"/>
                  <a:gd name="connsiteY103" fmla="*/ 3609975 h 4496940"/>
                  <a:gd name="connsiteX104" fmla="*/ 497227 w 4519987"/>
                  <a:gd name="connsiteY104" fmla="*/ 3552825 h 4496940"/>
                  <a:gd name="connsiteX105" fmla="*/ 440077 w 4519987"/>
                  <a:gd name="connsiteY105" fmla="*/ 3495675 h 4496940"/>
                  <a:gd name="connsiteX106" fmla="*/ 411502 w 4519987"/>
                  <a:gd name="connsiteY106" fmla="*/ 3448050 h 4496940"/>
                  <a:gd name="connsiteX107" fmla="*/ 278152 w 4519987"/>
                  <a:gd name="connsiteY107" fmla="*/ 3257550 h 4496940"/>
                  <a:gd name="connsiteX108" fmla="*/ 249577 w 4519987"/>
                  <a:gd name="connsiteY108" fmla="*/ 3200400 h 4496940"/>
                  <a:gd name="connsiteX109" fmla="*/ 240052 w 4519987"/>
                  <a:gd name="connsiteY109" fmla="*/ 3162300 h 4496940"/>
                  <a:gd name="connsiteX110" fmla="*/ 221002 w 4519987"/>
                  <a:gd name="connsiteY110" fmla="*/ 3105150 h 4496940"/>
                  <a:gd name="connsiteX111" fmla="*/ 173377 w 4519987"/>
                  <a:gd name="connsiteY111" fmla="*/ 3019425 h 4496940"/>
                  <a:gd name="connsiteX112" fmla="*/ 144802 w 4519987"/>
                  <a:gd name="connsiteY112" fmla="*/ 2924175 h 4496940"/>
                  <a:gd name="connsiteX113" fmla="*/ 68602 w 4519987"/>
                  <a:gd name="connsiteY113" fmla="*/ 2724150 h 4496940"/>
                  <a:gd name="connsiteX114" fmla="*/ 49552 w 4519987"/>
                  <a:gd name="connsiteY114" fmla="*/ 2638425 h 4496940"/>
                  <a:gd name="connsiteX115" fmla="*/ 40027 w 4519987"/>
                  <a:gd name="connsiteY115" fmla="*/ 2562225 h 4496940"/>
                  <a:gd name="connsiteX116" fmla="*/ 30502 w 4519987"/>
                  <a:gd name="connsiteY116" fmla="*/ 2514600 h 4496940"/>
                  <a:gd name="connsiteX117" fmla="*/ 11452 w 4519987"/>
                  <a:gd name="connsiteY117" fmla="*/ 2400300 h 4496940"/>
                  <a:gd name="connsiteX118" fmla="*/ 20977 w 4519987"/>
                  <a:gd name="connsiteY118" fmla="*/ 1905000 h 4496940"/>
                  <a:gd name="connsiteX119" fmla="*/ 30502 w 4519987"/>
                  <a:gd name="connsiteY119" fmla="*/ 1838325 h 4496940"/>
                  <a:gd name="connsiteX120" fmla="*/ 49552 w 4519987"/>
                  <a:gd name="connsiteY120" fmla="*/ 1781175 h 4496940"/>
                  <a:gd name="connsiteX121" fmla="*/ 59077 w 4519987"/>
                  <a:gd name="connsiteY121" fmla="*/ 1743075 h 4496940"/>
                  <a:gd name="connsiteX122" fmla="*/ 78127 w 4519987"/>
                  <a:gd name="connsiteY122" fmla="*/ 1685925 h 4496940"/>
                  <a:gd name="connsiteX123" fmla="*/ 87652 w 4519987"/>
                  <a:gd name="connsiteY123" fmla="*/ 1638300 h 4496940"/>
                  <a:gd name="connsiteX124" fmla="*/ 106702 w 4519987"/>
                  <a:gd name="connsiteY124" fmla="*/ 1590675 h 4496940"/>
                  <a:gd name="connsiteX125" fmla="*/ 135277 w 4519987"/>
                  <a:gd name="connsiteY125" fmla="*/ 1504950 h 4496940"/>
                  <a:gd name="connsiteX126" fmla="*/ 154327 w 4519987"/>
                  <a:gd name="connsiteY126" fmla="*/ 1419225 h 4496940"/>
                  <a:gd name="connsiteX127" fmla="*/ 230527 w 4519987"/>
                  <a:gd name="connsiteY127" fmla="*/ 1276350 h 4496940"/>
                  <a:gd name="connsiteX128" fmla="*/ 240052 w 4519987"/>
                  <a:gd name="connsiteY128" fmla="*/ 1247775 h 4496940"/>
                  <a:gd name="connsiteX129" fmla="*/ 268627 w 4519987"/>
                  <a:gd name="connsiteY129" fmla="*/ 1200150 h 4496940"/>
                  <a:gd name="connsiteX130" fmla="*/ 287677 w 4519987"/>
                  <a:gd name="connsiteY130" fmla="*/ 1152525 h 4496940"/>
                  <a:gd name="connsiteX131" fmla="*/ 316252 w 4519987"/>
                  <a:gd name="connsiteY131" fmla="*/ 1114425 h 4496940"/>
                  <a:gd name="connsiteX132" fmla="*/ 363877 w 4519987"/>
                  <a:gd name="connsiteY132" fmla="*/ 1038225 h 4496940"/>
                  <a:gd name="connsiteX133" fmla="*/ 382927 w 4519987"/>
                  <a:gd name="connsiteY133" fmla="*/ 1009650 h 4496940"/>
                  <a:gd name="connsiteX134" fmla="*/ 440077 w 4519987"/>
                  <a:gd name="connsiteY134" fmla="*/ 904875 h 4496940"/>
                  <a:gd name="connsiteX135" fmla="*/ 478177 w 4519987"/>
                  <a:gd name="connsiteY135" fmla="*/ 857250 h 4496940"/>
                  <a:gd name="connsiteX136" fmla="*/ 497227 w 4519987"/>
                  <a:gd name="connsiteY136" fmla="*/ 828675 h 4496940"/>
                  <a:gd name="connsiteX137" fmla="*/ 535327 w 4519987"/>
                  <a:gd name="connsiteY137" fmla="*/ 800100 h 4496940"/>
                  <a:gd name="connsiteX138" fmla="*/ 602002 w 4519987"/>
                  <a:gd name="connsiteY138" fmla="*/ 733425 h 4496940"/>
                  <a:gd name="connsiteX139" fmla="*/ 668677 w 4519987"/>
                  <a:gd name="connsiteY139" fmla="*/ 676275 h 4496940"/>
                  <a:gd name="connsiteX140" fmla="*/ 697252 w 4519987"/>
                  <a:gd name="connsiteY140" fmla="*/ 657225 h 4496940"/>
                  <a:gd name="connsiteX141" fmla="*/ 840127 w 4519987"/>
                  <a:gd name="connsiteY141" fmla="*/ 533400 h 4496940"/>
                  <a:gd name="connsiteX142" fmla="*/ 887752 w 4519987"/>
                  <a:gd name="connsiteY142" fmla="*/ 504825 h 4496940"/>
                  <a:gd name="connsiteX143" fmla="*/ 1167152 w 4519987"/>
                  <a:gd name="connsiteY143" fmla="*/ 311150 h 4496940"/>
                  <a:gd name="connsiteX144" fmla="*/ 1268752 w 4519987"/>
                  <a:gd name="connsiteY144" fmla="*/ 285750 h 4496940"/>
                  <a:gd name="connsiteX145" fmla="*/ 1411627 w 4519987"/>
                  <a:gd name="connsiteY145" fmla="*/ 190500 h 4496940"/>
                  <a:gd name="connsiteX146" fmla="*/ 1449727 w 4519987"/>
                  <a:gd name="connsiteY146" fmla="*/ 161925 h 4496940"/>
                  <a:gd name="connsiteX147" fmla="*/ 1525927 w 4519987"/>
                  <a:gd name="connsiteY147" fmla="*/ 152400 h 4496940"/>
                  <a:gd name="connsiteX148" fmla="*/ 1583077 w 4519987"/>
                  <a:gd name="connsiteY148" fmla="*/ 142875 h 4496940"/>
                  <a:gd name="connsiteX149" fmla="*/ 1716427 w 4519987"/>
                  <a:gd name="connsiteY149" fmla="*/ 123825 h 4496940"/>
                  <a:gd name="connsiteX150" fmla="*/ 1811677 w 4519987"/>
                  <a:gd name="connsiteY150" fmla="*/ 114300 h 4496940"/>
                  <a:gd name="connsiteX151" fmla="*/ 1859302 w 4519987"/>
                  <a:gd name="connsiteY151" fmla="*/ 104775 h 4496940"/>
                  <a:gd name="connsiteX152" fmla="*/ 1916452 w 4519987"/>
                  <a:gd name="connsiteY152" fmla="*/ 95250 h 4496940"/>
                  <a:gd name="connsiteX153" fmla="*/ 2030752 w 4519987"/>
                  <a:gd name="connsiteY153" fmla="*/ 66675 h 4496940"/>
                  <a:gd name="connsiteX154" fmla="*/ 2097427 w 4519987"/>
                  <a:gd name="connsiteY154" fmla="*/ 47625 h 4496940"/>
                  <a:gd name="connsiteX155" fmla="*/ 2164102 w 4519987"/>
                  <a:gd name="connsiteY155" fmla="*/ 38100 h 4496940"/>
                  <a:gd name="connsiteX156" fmla="*/ 2392702 w 4519987"/>
                  <a:gd name="connsiteY15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78627 w 4519987"/>
                  <a:gd name="connsiteY28" fmla="*/ 838200 h 4496940"/>
                  <a:gd name="connsiteX29" fmla="*/ 4135777 w 4519987"/>
                  <a:gd name="connsiteY29" fmla="*/ 933450 h 4496940"/>
                  <a:gd name="connsiteX30" fmla="*/ 4164352 w 4519987"/>
                  <a:gd name="connsiteY30" fmla="*/ 990600 h 4496940"/>
                  <a:gd name="connsiteX31" fmla="*/ 4173877 w 4519987"/>
                  <a:gd name="connsiteY31" fmla="*/ 1019175 h 4496940"/>
                  <a:gd name="connsiteX32" fmla="*/ 4192927 w 4519987"/>
                  <a:gd name="connsiteY32" fmla="*/ 1057275 h 4496940"/>
                  <a:gd name="connsiteX33" fmla="*/ 4202452 w 4519987"/>
                  <a:gd name="connsiteY33" fmla="*/ 1085850 h 4496940"/>
                  <a:gd name="connsiteX34" fmla="*/ 4250077 w 4519987"/>
                  <a:gd name="connsiteY34" fmla="*/ 1143000 h 4496940"/>
                  <a:gd name="connsiteX35" fmla="*/ 4259602 w 4519987"/>
                  <a:gd name="connsiteY35" fmla="*/ 1190625 h 4496940"/>
                  <a:gd name="connsiteX36" fmla="*/ 4307227 w 4519987"/>
                  <a:gd name="connsiteY36" fmla="*/ 1266825 h 4496940"/>
                  <a:gd name="connsiteX37" fmla="*/ 4345327 w 4519987"/>
                  <a:gd name="connsiteY37" fmla="*/ 1362075 h 4496940"/>
                  <a:gd name="connsiteX38" fmla="*/ 4373902 w 4519987"/>
                  <a:gd name="connsiteY38" fmla="*/ 1428750 h 4496940"/>
                  <a:gd name="connsiteX39" fmla="*/ 4392952 w 4519987"/>
                  <a:gd name="connsiteY39" fmla="*/ 1552575 h 4496940"/>
                  <a:gd name="connsiteX40" fmla="*/ 4402477 w 4519987"/>
                  <a:gd name="connsiteY40" fmla="*/ 1590675 h 4496940"/>
                  <a:gd name="connsiteX41" fmla="*/ 4431052 w 4519987"/>
                  <a:gd name="connsiteY41" fmla="*/ 1685925 h 4496940"/>
                  <a:gd name="connsiteX42" fmla="*/ 4519952 w 4519987"/>
                  <a:gd name="connsiteY42" fmla="*/ 2181225 h 4496940"/>
                  <a:gd name="connsiteX43" fmla="*/ 4446927 w 4519987"/>
                  <a:gd name="connsiteY43" fmla="*/ 2768600 h 4496940"/>
                  <a:gd name="connsiteX44" fmla="*/ 4383427 w 4519987"/>
                  <a:gd name="connsiteY44" fmla="*/ 2990850 h 4496940"/>
                  <a:gd name="connsiteX45" fmla="*/ 4278652 w 4519987"/>
                  <a:gd name="connsiteY45" fmla="*/ 3248025 h 4496940"/>
                  <a:gd name="connsiteX46" fmla="*/ 4259602 w 4519987"/>
                  <a:gd name="connsiteY46" fmla="*/ 3276600 h 4496940"/>
                  <a:gd name="connsiteX47" fmla="*/ 4221502 w 4519987"/>
                  <a:gd name="connsiteY47" fmla="*/ 3333750 h 4496940"/>
                  <a:gd name="connsiteX48" fmla="*/ 4211977 w 4519987"/>
                  <a:gd name="connsiteY48" fmla="*/ 3362325 h 4496940"/>
                  <a:gd name="connsiteX49" fmla="*/ 4183402 w 4519987"/>
                  <a:gd name="connsiteY49" fmla="*/ 3400425 h 4496940"/>
                  <a:gd name="connsiteX50" fmla="*/ 4164352 w 4519987"/>
                  <a:gd name="connsiteY50" fmla="*/ 3429000 h 4496940"/>
                  <a:gd name="connsiteX51" fmla="*/ 4088152 w 4519987"/>
                  <a:gd name="connsiteY51" fmla="*/ 3495675 h 4496940"/>
                  <a:gd name="connsiteX52" fmla="*/ 4059577 w 4519987"/>
                  <a:gd name="connsiteY52" fmla="*/ 3533775 h 4496940"/>
                  <a:gd name="connsiteX53" fmla="*/ 4002427 w 4519987"/>
                  <a:gd name="connsiteY53" fmla="*/ 3600450 h 4496940"/>
                  <a:gd name="connsiteX54" fmla="*/ 3983377 w 4519987"/>
                  <a:gd name="connsiteY54" fmla="*/ 3629025 h 4496940"/>
                  <a:gd name="connsiteX55" fmla="*/ 3954802 w 4519987"/>
                  <a:gd name="connsiteY55" fmla="*/ 3648075 h 4496940"/>
                  <a:gd name="connsiteX56" fmla="*/ 3907177 w 4519987"/>
                  <a:gd name="connsiteY56" fmla="*/ 3686175 h 4496940"/>
                  <a:gd name="connsiteX57" fmla="*/ 3869077 w 4519987"/>
                  <a:gd name="connsiteY57" fmla="*/ 3724275 h 4496940"/>
                  <a:gd name="connsiteX58" fmla="*/ 3792877 w 4519987"/>
                  <a:gd name="connsiteY58" fmla="*/ 3781425 h 4496940"/>
                  <a:gd name="connsiteX59" fmla="*/ 3783352 w 4519987"/>
                  <a:gd name="connsiteY59" fmla="*/ 3810000 h 4496940"/>
                  <a:gd name="connsiteX60" fmla="*/ 3745252 w 4519987"/>
                  <a:gd name="connsiteY60" fmla="*/ 3819525 h 4496940"/>
                  <a:gd name="connsiteX61" fmla="*/ 3678577 w 4519987"/>
                  <a:gd name="connsiteY61" fmla="*/ 3848100 h 4496940"/>
                  <a:gd name="connsiteX62" fmla="*/ 3659527 w 4519987"/>
                  <a:gd name="connsiteY62" fmla="*/ 3971925 h 4496940"/>
                  <a:gd name="connsiteX63" fmla="*/ 3630952 w 4519987"/>
                  <a:gd name="connsiteY63" fmla="*/ 4010025 h 4496940"/>
                  <a:gd name="connsiteX64" fmla="*/ 3621427 w 4519987"/>
                  <a:gd name="connsiteY64" fmla="*/ 4038600 h 4496940"/>
                  <a:gd name="connsiteX65" fmla="*/ 3554752 w 4519987"/>
                  <a:gd name="connsiteY65" fmla="*/ 4095750 h 4496940"/>
                  <a:gd name="connsiteX66" fmla="*/ 3516652 w 4519987"/>
                  <a:gd name="connsiteY66" fmla="*/ 4114800 h 4496940"/>
                  <a:gd name="connsiteX67" fmla="*/ 3497602 w 4519987"/>
                  <a:gd name="connsiteY67" fmla="*/ 4143375 h 4496940"/>
                  <a:gd name="connsiteX68" fmla="*/ 3383302 w 4519987"/>
                  <a:gd name="connsiteY68" fmla="*/ 4210050 h 4496940"/>
                  <a:gd name="connsiteX69" fmla="*/ 3335677 w 4519987"/>
                  <a:gd name="connsiteY69" fmla="*/ 4238625 h 4496940"/>
                  <a:gd name="connsiteX70" fmla="*/ 3288052 w 4519987"/>
                  <a:gd name="connsiteY70" fmla="*/ 4248150 h 4496940"/>
                  <a:gd name="connsiteX71" fmla="*/ 3240427 w 4519987"/>
                  <a:gd name="connsiteY71" fmla="*/ 4267200 h 4496940"/>
                  <a:gd name="connsiteX72" fmla="*/ 3068977 w 4519987"/>
                  <a:gd name="connsiteY72" fmla="*/ 4286250 h 4496940"/>
                  <a:gd name="connsiteX73" fmla="*/ 2935627 w 4519987"/>
                  <a:gd name="connsiteY73" fmla="*/ 4333875 h 4496940"/>
                  <a:gd name="connsiteX74" fmla="*/ 2811802 w 4519987"/>
                  <a:gd name="connsiteY74" fmla="*/ 4371975 h 4496940"/>
                  <a:gd name="connsiteX75" fmla="*/ 2745127 w 4519987"/>
                  <a:gd name="connsiteY75" fmla="*/ 4410075 h 4496940"/>
                  <a:gd name="connsiteX76" fmla="*/ 2697502 w 4519987"/>
                  <a:gd name="connsiteY76" fmla="*/ 4429125 h 4496940"/>
                  <a:gd name="connsiteX77" fmla="*/ 2640352 w 4519987"/>
                  <a:gd name="connsiteY77" fmla="*/ 4457700 h 4496940"/>
                  <a:gd name="connsiteX78" fmla="*/ 2583202 w 4519987"/>
                  <a:gd name="connsiteY78" fmla="*/ 4467225 h 4496940"/>
                  <a:gd name="connsiteX79" fmla="*/ 2545102 w 4519987"/>
                  <a:gd name="connsiteY79" fmla="*/ 4486275 h 4496940"/>
                  <a:gd name="connsiteX80" fmla="*/ 2306977 w 4519987"/>
                  <a:gd name="connsiteY80" fmla="*/ 4476750 h 4496940"/>
                  <a:gd name="connsiteX81" fmla="*/ 2202202 w 4519987"/>
                  <a:gd name="connsiteY81" fmla="*/ 4457700 h 4496940"/>
                  <a:gd name="connsiteX82" fmla="*/ 2126002 w 4519987"/>
                  <a:gd name="connsiteY82" fmla="*/ 4429125 h 4496940"/>
                  <a:gd name="connsiteX83" fmla="*/ 1935502 w 4519987"/>
                  <a:gd name="connsiteY83" fmla="*/ 4400550 h 4496940"/>
                  <a:gd name="connsiteX84" fmla="*/ 1821202 w 4519987"/>
                  <a:gd name="connsiteY84" fmla="*/ 4371975 h 4496940"/>
                  <a:gd name="connsiteX85" fmla="*/ 1754527 w 4519987"/>
                  <a:gd name="connsiteY85" fmla="*/ 4352925 h 4496940"/>
                  <a:gd name="connsiteX86" fmla="*/ 1687852 w 4519987"/>
                  <a:gd name="connsiteY86" fmla="*/ 4343400 h 4496940"/>
                  <a:gd name="connsiteX87" fmla="*/ 1573552 w 4519987"/>
                  <a:gd name="connsiteY87" fmla="*/ 4305300 h 4496940"/>
                  <a:gd name="connsiteX88" fmla="*/ 1402102 w 4519987"/>
                  <a:gd name="connsiteY88" fmla="*/ 4276725 h 4496940"/>
                  <a:gd name="connsiteX89" fmla="*/ 1287802 w 4519987"/>
                  <a:gd name="connsiteY89" fmla="*/ 4229100 h 4496940"/>
                  <a:gd name="connsiteX90" fmla="*/ 1221127 w 4519987"/>
                  <a:gd name="connsiteY90" fmla="*/ 4200525 h 4496940"/>
                  <a:gd name="connsiteX91" fmla="*/ 1144927 w 4519987"/>
                  <a:gd name="connsiteY91" fmla="*/ 4171950 h 4496940"/>
                  <a:gd name="connsiteX92" fmla="*/ 1087777 w 4519987"/>
                  <a:gd name="connsiteY92" fmla="*/ 4143375 h 4496940"/>
                  <a:gd name="connsiteX93" fmla="*/ 1030627 w 4519987"/>
                  <a:gd name="connsiteY93" fmla="*/ 4124325 h 4496940"/>
                  <a:gd name="connsiteX94" fmla="*/ 925852 w 4519987"/>
                  <a:gd name="connsiteY94" fmla="*/ 4067175 h 4496940"/>
                  <a:gd name="connsiteX95" fmla="*/ 830602 w 4519987"/>
                  <a:gd name="connsiteY95" fmla="*/ 3981450 h 4496940"/>
                  <a:gd name="connsiteX96" fmla="*/ 763927 w 4519987"/>
                  <a:gd name="connsiteY96" fmla="*/ 3914775 h 4496940"/>
                  <a:gd name="connsiteX97" fmla="*/ 725827 w 4519987"/>
                  <a:gd name="connsiteY97" fmla="*/ 3876675 h 4496940"/>
                  <a:gd name="connsiteX98" fmla="*/ 697252 w 4519987"/>
                  <a:gd name="connsiteY98" fmla="*/ 3838575 h 4496940"/>
                  <a:gd name="connsiteX99" fmla="*/ 640102 w 4519987"/>
                  <a:gd name="connsiteY99" fmla="*/ 3781425 h 4496940"/>
                  <a:gd name="connsiteX100" fmla="*/ 611527 w 4519987"/>
                  <a:gd name="connsiteY100" fmla="*/ 3733800 h 4496940"/>
                  <a:gd name="connsiteX101" fmla="*/ 554377 w 4519987"/>
                  <a:gd name="connsiteY101" fmla="*/ 3657600 h 4496940"/>
                  <a:gd name="connsiteX102" fmla="*/ 525802 w 4519987"/>
                  <a:gd name="connsiteY102" fmla="*/ 3609975 h 4496940"/>
                  <a:gd name="connsiteX103" fmla="*/ 497227 w 4519987"/>
                  <a:gd name="connsiteY103" fmla="*/ 3552825 h 4496940"/>
                  <a:gd name="connsiteX104" fmla="*/ 440077 w 4519987"/>
                  <a:gd name="connsiteY104" fmla="*/ 3495675 h 4496940"/>
                  <a:gd name="connsiteX105" fmla="*/ 411502 w 4519987"/>
                  <a:gd name="connsiteY105" fmla="*/ 3448050 h 4496940"/>
                  <a:gd name="connsiteX106" fmla="*/ 278152 w 4519987"/>
                  <a:gd name="connsiteY106" fmla="*/ 3257550 h 4496940"/>
                  <a:gd name="connsiteX107" fmla="*/ 249577 w 4519987"/>
                  <a:gd name="connsiteY107" fmla="*/ 3200400 h 4496940"/>
                  <a:gd name="connsiteX108" fmla="*/ 240052 w 4519987"/>
                  <a:gd name="connsiteY108" fmla="*/ 3162300 h 4496940"/>
                  <a:gd name="connsiteX109" fmla="*/ 221002 w 4519987"/>
                  <a:gd name="connsiteY109" fmla="*/ 3105150 h 4496940"/>
                  <a:gd name="connsiteX110" fmla="*/ 173377 w 4519987"/>
                  <a:gd name="connsiteY110" fmla="*/ 3019425 h 4496940"/>
                  <a:gd name="connsiteX111" fmla="*/ 144802 w 4519987"/>
                  <a:gd name="connsiteY111" fmla="*/ 2924175 h 4496940"/>
                  <a:gd name="connsiteX112" fmla="*/ 68602 w 4519987"/>
                  <a:gd name="connsiteY112" fmla="*/ 2724150 h 4496940"/>
                  <a:gd name="connsiteX113" fmla="*/ 49552 w 4519987"/>
                  <a:gd name="connsiteY113" fmla="*/ 2638425 h 4496940"/>
                  <a:gd name="connsiteX114" fmla="*/ 40027 w 4519987"/>
                  <a:gd name="connsiteY114" fmla="*/ 2562225 h 4496940"/>
                  <a:gd name="connsiteX115" fmla="*/ 30502 w 4519987"/>
                  <a:gd name="connsiteY115" fmla="*/ 2514600 h 4496940"/>
                  <a:gd name="connsiteX116" fmla="*/ 11452 w 4519987"/>
                  <a:gd name="connsiteY116" fmla="*/ 2400300 h 4496940"/>
                  <a:gd name="connsiteX117" fmla="*/ 20977 w 4519987"/>
                  <a:gd name="connsiteY117" fmla="*/ 1905000 h 4496940"/>
                  <a:gd name="connsiteX118" fmla="*/ 30502 w 4519987"/>
                  <a:gd name="connsiteY118" fmla="*/ 1838325 h 4496940"/>
                  <a:gd name="connsiteX119" fmla="*/ 49552 w 4519987"/>
                  <a:gd name="connsiteY119" fmla="*/ 1781175 h 4496940"/>
                  <a:gd name="connsiteX120" fmla="*/ 59077 w 4519987"/>
                  <a:gd name="connsiteY120" fmla="*/ 1743075 h 4496940"/>
                  <a:gd name="connsiteX121" fmla="*/ 78127 w 4519987"/>
                  <a:gd name="connsiteY121" fmla="*/ 1685925 h 4496940"/>
                  <a:gd name="connsiteX122" fmla="*/ 87652 w 4519987"/>
                  <a:gd name="connsiteY122" fmla="*/ 1638300 h 4496940"/>
                  <a:gd name="connsiteX123" fmla="*/ 106702 w 4519987"/>
                  <a:gd name="connsiteY123" fmla="*/ 1590675 h 4496940"/>
                  <a:gd name="connsiteX124" fmla="*/ 135277 w 4519987"/>
                  <a:gd name="connsiteY124" fmla="*/ 1504950 h 4496940"/>
                  <a:gd name="connsiteX125" fmla="*/ 154327 w 4519987"/>
                  <a:gd name="connsiteY125" fmla="*/ 1419225 h 4496940"/>
                  <a:gd name="connsiteX126" fmla="*/ 230527 w 4519987"/>
                  <a:gd name="connsiteY126" fmla="*/ 1276350 h 4496940"/>
                  <a:gd name="connsiteX127" fmla="*/ 240052 w 4519987"/>
                  <a:gd name="connsiteY127" fmla="*/ 1247775 h 4496940"/>
                  <a:gd name="connsiteX128" fmla="*/ 268627 w 4519987"/>
                  <a:gd name="connsiteY128" fmla="*/ 1200150 h 4496940"/>
                  <a:gd name="connsiteX129" fmla="*/ 287677 w 4519987"/>
                  <a:gd name="connsiteY129" fmla="*/ 1152525 h 4496940"/>
                  <a:gd name="connsiteX130" fmla="*/ 316252 w 4519987"/>
                  <a:gd name="connsiteY130" fmla="*/ 1114425 h 4496940"/>
                  <a:gd name="connsiteX131" fmla="*/ 363877 w 4519987"/>
                  <a:gd name="connsiteY131" fmla="*/ 1038225 h 4496940"/>
                  <a:gd name="connsiteX132" fmla="*/ 382927 w 4519987"/>
                  <a:gd name="connsiteY132" fmla="*/ 1009650 h 4496940"/>
                  <a:gd name="connsiteX133" fmla="*/ 440077 w 4519987"/>
                  <a:gd name="connsiteY133" fmla="*/ 904875 h 4496940"/>
                  <a:gd name="connsiteX134" fmla="*/ 478177 w 4519987"/>
                  <a:gd name="connsiteY134" fmla="*/ 857250 h 4496940"/>
                  <a:gd name="connsiteX135" fmla="*/ 497227 w 4519987"/>
                  <a:gd name="connsiteY135" fmla="*/ 828675 h 4496940"/>
                  <a:gd name="connsiteX136" fmla="*/ 535327 w 4519987"/>
                  <a:gd name="connsiteY136" fmla="*/ 800100 h 4496940"/>
                  <a:gd name="connsiteX137" fmla="*/ 602002 w 4519987"/>
                  <a:gd name="connsiteY137" fmla="*/ 733425 h 4496940"/>
                  <a:gd name="connsiteX138" fmla="*/ 668677 w 4519987"/>
                  <a:gd name="connsiteY138" fmla="*/ 676275 h 4496940"/>
                  <a:gd name="connsiteX139" fmla="*/ 697252 w 4519987"/>
                  <a:gd name="connsiteY139" fmla="*/ 657225 h 4496940"/>
                  <a:gd name="connsiteX140" fmla="*/ 840127 w 4519987"/>
                  <a:gd name="connsiteY140" fmla="*/ 533400 h 4496940"/>
                  <a:gd name="connsiteX141" fmla="*/ 887752 w 4519987"/>
                  <a:gd name="connsiteY141" fmla="*/ 504825 h 4496940"/>
                  <a:gd name="connsiteX142" fmla="*/ 1167152 w 4519987"/>
                  <a:gd name="connsiteY142" fmla="*/ 311150 h 4496940"/>
                  <a:gd name="connsiteX143" fmla="*/ 1268752 w 4519987"/>
                  <a:gd name="connsiteY143" fmla="*/ 285750 h 4496940"/>
                  <a:gd name="connsiteX144" fmla="*/ 1411627 w 4519987"/>
                  <a:gd name="connsiteY144" fmla="*/ 190500 h 4496940"/>
                  <a:gd name="connsiteX145" fmla="*/ 1449727 w 4519987"/>
                  <a:gd name="connsiteY145" fmla="*/ 161925 h 4496940"/>
                  <a:gd name="connsiteX146" fmla="*/ 1525927 w 4519987"/>
                  <a:gd name="connsiteY146" fmla="*/ 152400 h 4496940"/>
                  <a:gd name="connsiteX147" fmla="*/ 1583077 w 4519987"/>
                  <a:gd name="connsiteY147" fmla="*/ 142875 h 4496940"/>
                  <a:gd name="connsiteX148" fmla="*/ 1716427 w 4519987"/>
                  <a:gd name="connsiteY148" fmla="*/ 123825 h 4496940"/>
                  <a:gd name="connsiteX149" fmla="*/ 1811677 w 4519987"/>
                  <a:gd name="connsiteY149" fmla="*/ 114300 h 4496940"/>
                  <a:gd name="connsiteX150" fmla="*/ 1859302 w 4519987"/>
                  <a:gd name="connsiteY150" fmla="*/ 104775 h 4496940"/>
                  <a:gd name="connsiteX151" fmla="*/ 1916452 w 4519987"/>
                  <a:gd name="connsiteY151" fmla="*/ 95250 h 4496940"/>
                  <a:gd name="connsiteX152" fmla="*/ 2030752 w 4519987"/>
                  <a:gd name="connsiteY152" fmla="*/ 66675 h 4496940"/>
                  <a:gd name="connsiteX153" fmla="*/ 2097427 w 4519987"/>
                  <a:gd name="connsiteY153" fmla="*/ 47625 h 4496940"/>
                  <a:gd name="connsiteX154" fmla="*/ 2164102 w 4519987"/>
                  <a:gd name="connsiteY154" fmla="*/ 38100 h 4496940"/>
                  <a:gd name="connsiteX155" fmla="*/ 2392702 w 4519987"/>
                  <a:gd name="connsiteY15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907177 w 4519987"/>
                  <a:gd name="connsiteY25" fmla="*/ 647700 h 4496940"/>
                  <a:gd name="connsiteX26" fmla="*/ 3935752 w 4519987"/>
                  <a:gd name="connsiteY26" fmla="*/ 676275 h 4496940"/>
                  <a:gd name="connsiteX27" fmla="*/ 4078627 w 4519987"/>
                  <a:gd name="connsiteY27" fmla="*/ 838200 h 4496940"/>
                  <a:gd name="connsiteX28" fmla="*/ 4135777 w 4519987"/>
                  <a:gd name="connsiteY28" fmla="*/ 933450 h 4496940"/>
                  <a:gd name="connsiteX29" fmla="*/ 4164352 w 4519987"/>
                  <a:gd name="connsiteY29" fmla="*/ 990600 h 4496940"/>
                  <a:gd name="connsiteX30" fmla="*/ 4173877 w 4519987"/>
                  <a:gd name="connsiteY30" fmla="*/ 1019175 h 4496940"/>
                  <a:gd name="connsiteX31" fmla="*/ 4192927 w 4519987"/>
                  <a:gd name="connsiteY31" fmla="*/ 1057275 h 4496940"/>
                  <a:gd name="connsiteX32" fmla="*/ 4202452 w 4519987"/>
                  <a:gd name="connsiteY32" fmla="*/ 1085850 h 4496940"/>
                  <a:gd name="connsiteX33" fmla="*/ 4250077 w 4519987"/>
                  <a:gd name="connsiteY33" fmla="*/ 1143000 h 4496940"/>
                  <a:gd name="connsiteX34" fmla="*/ 4259602 w 4519987"/>
                  <a:gd name="connsiteY34" fmla="*/ 1190625 h 4496940"/>
                  <a:gd name="connsiteX35" fmla="*/ 4307227 w 4519987"/>
                  <a:gd name="connsiteY35" fmla="*/ 1266825 h 4496940"/>
                  <a:gd name="connsiteX36" fmla="*/ 4345327 w 4519987"/>
                  <a:gd name="connsiteY36" fmla="*/ 1362075 h 4496940"/>
                  <a:gd name="connsiteX37" fmla="*/ 4373902 w 4519987"/>
                  <a:gd name="connsiteY37" fmla="*/ 1428750 h 4496940"/>
                  <a:gd name="connsiteX38" fmla="*/ 4392952 w 4519987"/>
                  <a:gd name="connsiteY38" fmla="*/ 1552575 h 4496940"/>
                  <a:gd name="connsiteX39" fmla="*/ 4402477 w 4519987"/>
                  <a:gd name="connsiteY39" fmla="*/ 1590675 h 4496940"/>
                  <a:gd name="connsiteX40" fmla="*/ 4431052 w 4519987"/>
                  <a:gd name="connsiteY40" fmla="*/ 1685925 h 4496940"/>
                  <a:gd name="connsiteX41" fmla="*/ 4519952 w 4519987"/>
                  <a:gd name="connsiteY41" fmla="*/ 2181225 h 4496940"/>
                  <a:gd name="connsiteX42" fmla="*/ 4446927 w 4519987"/>
                  <a:gd name="connsiteY42" fmla="*/ 2768600 h 4496940"/>
                  <a:gd name="connsiteX43" fmla="*/ 4383427 w 4519987"/>
                  <a:gd name="connsiteY43" fmla="*/ 2990850 h 4496940"/>
                  <a:gd name="connsiteX44" fmla="*/ 4278652 w 4519987"/>
                  <a:gd name="connsiteY44" fmla="*/ 3248025 h 4496940"/>
                  <a:gd name="connsiteX45" fmla="*/ 4259602 w 4519987"/>
                  <a:gd name="connsiteY45" fmla="*/ 3276600 h 4496940"/>
                  <a:gd name="connsiteX46" fmla="*/ 4221502 w 4519987"/>
                  <a:gd name="connsiteY46" fmla="*/ 3333750 h 4496940"/>
                  <a:gd name="connsiteX47" fmla="*/ 4211977 w 4519987"/>
                  <a:gd name="connsiteY47" fmla="*/ 3362325 h 4496940"/>
                  <a:gd name="connsiteX48" fmla="*/ 4183402 w 4519987"/>
                  <a:gd name="connsiteY48" fmla="*/ 3400425 h 4496940"/>
                  <a:gd name="connsiteX49" fmla="*/ 4164352 w 4519987"/>
                  <a:gd name="connsiteY49" fmla="*/ 3429000 h 4496940"/>
                  <a:gd name="connsiteX50" fmla="*/ 4088152 w 4519987"/>
                  <a:gd name="connsiteY50" fmla="*/ 3495675 h 4496940"/>
                  <a:gd name="connsiteX51" fmla="*/ 4059577 w 4519987"/>
                  <a:gd name="connsiteY51" fmla="*/ 3533775 h 4496940"/>
                  <a:gd name="connsiteX52" fmla="*/ 4002427 w 4519987"/>
                  <a:gd name="connsiteY52" fmla="*/ 3600450 h 4496940"/>
                  <a:gd name="connsiteX53" fmla="*/ 3983377 w 4519987"/>
                  <a:gd name="connsiteY53" fmla="*/ 3629025 h 4496940"/>
                  <a:gd name="connsiteX54" fmla="*/ 3954802 w 4519987"/>
                  <a:gd name="connsiteY54" fmla="*/ 3648075 h 4496940"/>
                  <a:gd name="connsiteX55" fmla="*/ 3907177 w 4519987"/>
                  <a:gd name="connsiteY55" fmla="*/ 3686175 h 4496940"/>
                  <a:gd name="connsiteX56" fmla="*/ 3869077 w 4519987"/>
                  <a:gd name="connsiteY56" fmla="*/ 3724275 h 4496940"/>
                  <a:gd name="connsiteX57" fmla="*/ 3792877 w 4519987"/>
                  <a:gd name="connsiteY57" fmla="*/ 3781425 h 4496940"/>
                  <a:gd name="connsiteX58" fmla="*/ 3783352 w 4519987"/>
                  <a:gd name="connsiteY58" fmla="*/ 3810000 h 4496940"/>
                  <a:gd name="connsiteX59" fmla="*/ 3745252 w 4519987"/>
                  <a:gd name="connsiteY59" fmla="*/ 3819525 h 4496940"/>
                  <a:gd name="connsiteX60" fmla="*/ 3678577 w 4519987"/>
                  <a:gd name="connsiteY60" fmla="*/ 3848100 h 4496940"/>
                  <a:gd name="connsiteX61" fmla="*/ 3659527 w 4519987"/>
                  <a:gd name="connsiteY61" fmla="*/ 3971925 h 4496940"/>
                  <a:gd name="connsiteX62" fmla="*/ 3630952 w 4519987"/>
                  <a:gd name="connsiteY62" fmla="*/ 4010025 h 4496940"/>
                  <a:gd name="connsiteX63" fmla="*/ 3621427 w 4519987"/>
                  <a:gd name="connsiteY63" fmla="*/ 4038600 h 4496940"/>
                  <a:gd name="connsiteX64" fmla="*/ 3554752 w 4519987"/>
                  <a:gd name="connsiteY64" fmla="*/ 4095750 h 4496940"/>
                  <a:gd name="connsiteX65" fmla="*/ 3516652 w 4519987"/>
                  <a:gd name="connsiteY65" fmla="*/ 4114800 h 4496940"/>
                  <a:gd name="connsiteX66" fmla="*/ 3497602 w 4519987"/>
                  <a:gd name="connsiteY66" fmla="*/ 4143375 h 4496940"/>
                  <a:gd name="connsiteX67" fmla="*/ 3383302 w 4519987"/>
                  <a:gd name="connsiteY67" fmla="*/ 4210050 h 4496940"/>
                  <a:gd name="connsiteX68" fmla="*/ 3335677 w 4519987"/>
                  <a:gd name="connsiteY68" fmla="*/ 4238625 h 4496940"/>
                  <a:gd name="connsiteX69" fmla="*/ 3288052 w 4519987"/>
                  <a:gd name="connsiteY69" fmla="*/ 4248150 h 4496940"/>
                  <a:gd name="connsiteX70" fmla="*/ 3240427 w 4519987"/>
                  <a:gd name="connsiteY70" fmla="*/ 4267200 h 4496940"/>
                  <a:gd name="connsiteX71" fmla="*/ 3068977 w 4519987"/>
                  <a:gd name="connsiteY71" fmla="*/ 4286250 h 4496940"/>
                  <a:gd name="connsiteX72" fmla="*/ 2935627 w 4519987"/>
                  <a:gd name="connsiteY72" fmla="*/ 4333875 h 4496940"/>
                  <a:gd name="connsiteX73" fmla="*/ 2811802 w 4519987"/>
                  <a:gd name="connsiteY73" fmla="*/ 4371975 h 4496940"/>
                  <a:gd name="connsiteX74" fmla="*/ 2745127 w 4519987"/>
                  <a:gd name="connsiteY74" fmla="*/ 4410075 h 4496940"/>
                  <a:gd name="connsiteX75" fmla="*/ 2697502 w 4519987"/>
                  <a:gd name="connsiteY75" fmla="*/ 4429125 h 4496940"/>
                  <a:gd name="connsiteX76" fmla="*/ 2640352 w 4519987"/>
                  <a:gd name="connsiteY76" fmla="*/ 4457700 h 4496940"/>
                  <a:gd name="connsiteX77" fmla="*/ 2583202 w 4519987"/>
                  <a:gd name="connsiteY77" fmla="*/ 4467225 h 4496940"/>
                  <a:gd name="connsiteX78" fmla="*/ 2545102 w 4519987"/>
                  <a:gd name="connsiteY78" fmla="*/ 4486275 h 4496940"/>
                  <a:gd name="connsiteX79" fmla="*/ 2306977 w 4519987"/>
                  <a:gd name="connsiteY79" fmla="*/ 4476750 h 4496940"/>
                  <a:gd name="connsiteX80" fmla="*/ 2202202 w 4519987"/>
                  <a:gd name="connsiteY80" fmla="*/ 4457700 h 4496940"/>
                  <a:gd name="connsiteX81" fmla="*/ 2126002 w 4519987"/>
                  <a:gd name="connsiteY81" fmla="*/ 4429125 h 4496940"/>
                  <a:gd name="connsiteX82" fmla="*/ 1935502 w 4519987"/>
                  <a:gd name="connsiteY82" fmla="*/ 4400550 h 4496940"/>
                  <a:gd name="connsiteX83" fmla="*/ 1821202 w 4519987"/>
                  <a:gd name="connsiteY83" fmla="*/ 4371975 h 4496940"/>
                  <a:gd name="connsiteX84" fmla="*/ 1754527 w 4519987"/>
                  <a:gd name="connsiteY84" fmla="*/ 4352925 h 4496940"/>
                  <a:gd name="connsiteX85" fmla="*/ 1687852 w 4519987"/>
                  <a:gd name="connsiteY85" fmla="*/ 4343400 h 4496940"/>
                  <a:gd name="connsiteX86" fmla="*/ 1573552 w 4519987"/>
                  <a:gd name="connsiteY86" fmla="*/ 4305300 h 4496940"/>
                  <a:gd name="connsiteX87" fmla="*/ 1402102 w 4519987"/>
                  <a:gd name="connsiteY87" fmla="*/ 4276725 h 4496940"/>
                  <a:gd name="connsiteX88" fmla="*/ 1287802 w 4519987"/>
                  <a:gd name="connsiteY88" fmla="*/ 4229100 h 4496940"/>
                  <a:gd name="connsiteX89" fmla="*/ 1221127 w 4519987"/>
                  <a:gd name="connsiteY89" fmla="*/ 4200525 h 4496940"/>
                  <a:gd name="connsiteX90" fmla="*/ 1144927 w 4519987"/>
                  <a:gd name="connsiteY90" fmla="*/ 4171950 h 4496940"/>
                  <a:gd name="connsiteX91" fmla="*/ 1087777 w 4519987"/>
                  <a:gd name="connsiteY91" fmla="*/ 4143375 h 4496940"/>
                  <a:gd name="connsiteX92" fmla="*/ 1030627 w 4519987"/>
                  <a:gd name="connsiteY92" fmla="*/ 4124325 h 4496940"/>
                  <a:gd name="connsiteX93" fmla="*/ 925852 w 4519987"/>
                  <a:gd name="connsiteY93" fmla="*/ 4067175 h 4496940"/>
                  <a:gd name="connsiteX94" fmla="*/ 830602 w 4519987"/>
                  <a:gd name="connsiteY94" fmla="*/ 3981450 h 4496940"/>
                  <a:gd name="connsiteX95" fmla="*/ 763927 w 4519987"/>
                  <a:gd name="connsiteY95" fmla="*/ 3914775 h 4496940"/>
                  <a:gd name="connsiteX96" fmla="*/ 725827 w 4519987"/>
                  <a:gd name="connsiteY96" fmla="*/ 3876675 h 4496940"/>
                  <a:gd name="connsiteX97" fmla="*/ 697252 w 4519987"/>
                  <a:gd name="connsiteY97" fmla="*/ 3838575 h 4496940"/>
                  <a:gd name="connsiteX98" fmla="*/ 640102 w 4519987"/>
                  <a:gd name="connsiteY98" fmla="*/ 3781425 h 4496940"/>
                  <a:gd name="connsiteX99" fmla="*/ 611527 w 4519987"/>
                  <a:gd name="connsiteY99" fmla="*/ 3733800 h 4496940"/>
                  <a:gd name="connsiteX100" fmla="*/ 554377 w 4519987"/>
                  <a:gd name="connsiteY100" fmla="*/ 3657600 h 4496940"/>
                  <a:gd name="connsiteX101" fmla="*/ 525802 w 4519987"/>
                  <a:gd name="connsiteY101" fmla="*/ 3609975 h 4496940"/>
                  <a:gd name="connsiteX102" fmla="*/ 497227 w 4519987"/>
                  <a:gd name="connsiteY102" fmla="*/ 3552825 h 4496940"/>
                  <a:gd name="connsiteX103" fmla="*/ 440077 w 4519987"/>
                  <a:gd name="connsiteY103" fmla="*/ 3495675 h 4496940"/>
                  <a:gd name="connsiteX104" fmla="*/ 411502 w 4519987"/>
                  <a:gd name="connsiteY104" fmla="*/ 3448050 h 4496940"/>
                  <a:gd name="connsiteX105" fmla="*/ 278152 w 4519987"/>
                  <a:gd name="connsiteY105" fmla="*/ 3257550 h 4496940"/>
                  <a:gd name="connsiteX106" fmla="*/ 249577 w 4519987"/>
                  <a:gd name="connsiteY106" fmla="*/ 3200400 h 4496940"/>
                  <a:gd name="connsiteX107" fmla="*/ 240052 w 4519987"/>
                  <a:gd name="connsiteY107" fmla="*/ 3162300 h 4496940"/>
                  <a:gd name="connsiteX108" fmla="*/ 221002 w 4519987"/>
                  <a:gd name="connsiteY108" fmla="*/ 3105150 h 4496940"/>
                  <a:gd name="connsiteX109" fmla="*/ 173377 w 4519987"/>
                  <a:gd name="connsiteY109" fmla="*/ 3019425 h 4496940"/>
                  <a:gd name="connsiteX110" fmla="*/ 144802 w 4519987"/>
                  <a:gd name="connsiteY110" fmla="*/ 2924175 h 4496940"/>
                  <a:gd name="connsiteX111" fmla="*/ 68602 w 4519987"/>
                  <a:gd name="connsiteY111" fmla="*/ 2724150 h 4496940"/>
                  <a:gd name="connsiteX112" fmla="*/ 49552 w 4519987"/>
                  <a:gd name="connsiteY112" fmla="*/ 2638425 h 4496940"/>
                  <a:gd name="connsiteX113" fmla="*/ 40027 w 4519987"/>
                  <a:gd name="connsiteY113" fmla="*/ 2562225 h 4496940"/>
                  <a:gd name="connsiteX114" fmla="*/ 30502 w 4519987"/>
                  <a:gd name="connsiteY114" fmla="*/ 2514600 h 4496940"/>
                  <a:gd name="connsiteX115" fmla="*/ 11452 w 4519987"/>
                  <a:gd name="connsiteY115" fmla="*/ 2400300 h 4496940"/>
                  <a:gd name="connsiteX116" fmla="*/ 20977 w 4519987"/>
                  <a:gd name="connsiteY116" fmla="*/ 1905000 h 4496940"/>
                  <a:gd name="connsiteX117" fmla="*/ 30502 w 4519987"/>
                  <a:gd name="connsiteY117" fmla="*/ 1838325 h 4496940"/>
                  <a:gd name="connsiteX118" fmla="*/ 49552 w 4519987"/>
                  <a:gd name="connsiteY118" fmla="*/ 1781175 h 4496940"/>
                  <a:gd name="connsiteX119" fmla="*/ 59077 w 4519987"/>
                  <a:gd name="connsiteY119" fmla="*/ 1743075 h 4496940"/>
                  <a:gd name="connsiteX120" fmla="*/ 78127 w 4519987"/>
                  <a:gd name="connsiteY120" fmla="*/ 1685925 h 4496940"/>
                  <a:gd name="connsiteX121" fmla="*/ 87652 w 4519987"/>
                  <a:gd name="connsiteY121" fmla="*/ 1638300 h 4496940"/>
                  <a:gd name="connsiteX122" fmla="*/ 106702 w 4519987"/>
                  <a:gd name="connsiteY122" fmla="*/ 1590675 h 4496940"/>
                  <a:gd name="connsiteX123" fmla="*/ 135277 w 4519987"/>
                  <a:gd name="connsiteY123" fmla="*/ 1504950 h 4496940"/>
                  <a:gd name="connsiteX124" fmla="*/ 154327 w 4519987"/>
                  <a:gd name="connsiteY124" fmla="*/ 1419225 h 4496940"/>
                  <a:gd name="connsiteX125" fmla="*/ 230527 w 4519987"/>
                  <a:gd name="connsiteY125" fmla="*/ 1276350 h 4496940"/>
                  <a:gd name="connsiteX126" fmla="*/ 240052 w 4519987"/>
                  <a:gd name="connsiteY126" fmla="*/ 1247775 h 4496940"/>
                  <a:gd name="connsiteX127" fmla="*/ 268627 w 4519987"/>
                  <a:gd name="connsiteY127" fmla="*/ 1200150 h 4496940"/>
                  <a:gd name="connsiteX128" fmla="*/ 287677 w 4519987"/>
                  <a:gd name="connsiteY128" fmla="*/ 1152525 h 4496940"/>
                  <a:gd name="connsiteX129" fmla="*/ 316252 w 4519987"/>
                  <a:gd name="connsiteY129" fmla="*/ 1114425 h 4496940"/>
                  <a:gd name="connsiteX130" fmla="*/ 363877 w 4519987"/>
                  <a:gd name="connsiteY130" fmla="*/ 1038225 h 4496940"/>
                  <a:gd name="connsiteX131" fmla="*/ 382927 w 4519987"/>
                  <a:gd name="connsiteY131" fmla="*/ 1009650 h 4496940"/>
                  <a:gd name="connsiteX132" fmla="*/ 440077 w 4519987"/>
                  <a:gd name="connsiteY132" fmla="*/ 904875 h 4496940"/>
                  <a:gd name="connsiteX133" fmla="*/ 478177 w 4519987"/>
                  <a:gd name="connsiteY133" fmla="*/ 857250 h 4496940"/>
                  <a:gd name="connsiteX134" fmla="*/ 497227 w 4519987"/>
                  <a:gd name="connsiteY134" fmla="*/ 828675 h 4496940"/>
                  <a:gd name="connsiteX135" fmla="*/ 535327 w 4519987"/>
                  <a:gd name="connsiteY135" fmla="*/ 800100 h 4496940"/>
                  <a:gd name="connsiteX136" fmla="*/ 602002 w 4519987"/>
                  <a:gd name="connsiteY136" fmla="*/ 733425 h 4496940"/>
                  <a:gd name="connsiteX137" fmla="*/ 668677 w 4519987"/>
                  <a:gd name="connsiteY137" fmla="*/ 676275 h 4496940"/>
                  <a:gd name="connsiteX138" fmla="*/ 697252 w 4519987"/>
                  <a:gd name="connsiteY138" fmla="*/ 657225 h 4496940"/>
                  <a:gd name="connsiteX139" fmla="*/ 840127 w 4519987"/>
                  <a:gd name="connsiteY139" fmla="*/ 533400 h 4496940"/>
                  <a:gd name="connsiteX140" fmla="*/ 887752 w 4519987"/>
                  <a:gd name="connsiteY140" fmla="*/ 504825 h 4496940"/>
                  <a:gd name="connsiteX141" fmla="*/ 1167152 w 4519987"/>
                  <a:gd name="connsiteY141" fmla="*/ 311150 h 4496940"/>
                  <a:gd name="connsiteX142" fmla="*/ 1268752 w 4519987"/>
                  <a:gd name="connsiteY142" fmla="*/ 285750 h 4496940"/>
                  <a:gd name="connsiteX143" fmla="*/ 1411627 w 4519987"/>
                  <a:gd name="connsiteY143" fmla="*/ 190500 h 4496940"/>
                  <a:gd name="connsiteX144" fmla="*/ 1449727 w 4519987"/>
                  <a:gd name="connsiteY144" fmla="*/ 161925 h 4496940"/>
                  <a:gd name="connsiteX145" fmla="*/ 1525927 w 4519987"/>
                  <a:gd name="connsiteY145" fmla="*/ 152400 h 4496940"/>
                  <a:gd name="connsiteX146" fmla="*/ 1583077 w 4519987"/>
                  <a:gd name="connsiteY146" fmla="*/ 142875 h 4496940"/>
                  <a:gd name="connsiteX147" fmla="*/ 1716427 w 4519987"/>
                  <a:gd name="connsiteY147" fmla="*/ 123825 h 4496940"/>
                  <a:gd name="connsiteX148" fmla="*/ 1811677 w 4519987"/>
                  <a:gd name="connsiteY148" fmla="*/ 114300 h 4496940"/>
                  <a:gd name="connsiteX149" fmla="*/ 1859302 w 4519987"/>
                  <a:gd name="connsiteY149" fmla="*/ 104775 h 4496940"/>
                  <a:gd name="connsiteX150" fmla="*/ 1916452 w 4519987"/>
                  <a:gd name="connsiteY150" fmla="*/ 95250 h 4496940"/>
                  <a:gd name="connsiteX151" fmla="*/ 2030752 w 4519987"/>
                  <a:gd name="connsiteY151" fmla="*/ 66675 h 4496940"/>
                  <a:gd name="connsiteX152" fmla="*/ 2097427 w 4519987"/>
                  <a:gd name="connsiteY152" fmla="*/ 47625 h 4496940"/>
                  <a:gd name="connsiteX153" fmla="*/ 2164102 w 4519987"/>
                  <a:gd name="connsiteY153" fmla="*/ 38100 h 4496940"/>
                  <a:gd name="connsiteX154" fmla="*/ 2392702 w 4519987"/>
                  <a:gd name="connsiteY15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907177 w 4519987"/>
                  <a:gd name="connsiteY24" fmla="*/ 647700 h 4496940"/>
                  <a:gd name="connsiteX25" fmla="*/ 3935752 w 4519987"/>
                  <a:gd name="connsiteY25" fmla="*/ 676275 h 4496940"/>
                  <a:gd name="connsiteX26" fmla="*/ 4078627 w 4519987"/>
                  <a:gd name="connsiteY26" fmla="*/ 838200 h 4496940"/>
                  <a:gd name="connsiteX27" fmla="*/ 4135777 w 4519987"/>
                  <a:gd name="connsiteY27" fmla="*/ 933450 h 4496940"/>
                  <a:gd name="connsiteX28" fmla="*/ 4164352 w 4519987"/>
                  <a:gd name="connsiteY28" fmla="*/ 990600 h 4496940"/>
                  <a:gd name="connsiteX29" fmla="*/ 4173877 w 4519987"/>
                  <a:gd name="connsiteY29" fmla="*/ 1019175 h 4496940"/>
                  <a:gd name="connsiteX30" fmla="*/ 4192927 w 4519987"/>
                  <a:gd name="connsiteY30" fmla="*/ 1057275 h 4496940"/>
                  <a:gd name="connsiteX31" fmla="*/ 4202452 w 4519987"/>
                  <a:gd name="connsiteY31" fmla="*/ 1085850 h 4496940"/>
                  <a:gd name="connsiteX32" fmla="*/ 4250077 w 4519987"/>
                  <a:gd name="connsiteY32" fmla="*/ 1143000 h 4496940"/>
                  <a:gd name="connsiteX33" fmla="*/ 4259602 w 4519987"/>
                  <a:gd name="connsiteY33" fmla="*/ 1190625 h 4496940"/>
                  <a:gd name="connsiteX34" fmla="*/ 4307227 w 4519987"/>
                  <a:gd name="connsiteY34" fmla="*/ 1266825 h 4496940"/>
                  <a:gd name="connsiteX35" fmla="*/ 4345327 w 4519987"/>
                  <a:gd name="connsiteY35" fmla="*/ 1362075 h 4496940"/>
                  <a:gd name="connsiteX36" fmla="*/ 4373902 w 4519987"/>
                  <a:gd name="connsiteY36" fmla="*/ 1428750 h 4496940"/>
                  <a:gd name="connsiteX37" fmla="*/ 4392952 w 4519987"/>
                  <a:gd name="connsiteY37" fmla="*/ 1552575 h 4496940"/>
                  <a:gd name="connsiteX38" fmla="*/ 4402477 w 4519987"/>
                  <a:gd name="connsiteY38" fmla="*/ 1590675 h 4496940"/>
                  <a:gd name="connsiteX39" fmla="*/ 4431052 w 4519987"/>
                  <a:gd name="connsiteY39" fmla="*/ 1685925 h 4496940"/>
                  <a:gd name="connsiteX40" fmla="*/ 4519952 w 4519987"/>
                  <a:gd name="connsiteY40" fmla="*/ 2181225 h 4496940"/>
                  <a:gd name="connsiteX41" fmla="*/ 4446927 w 4519987"/>
                  <a:gd name="connsiteY41" fmla="*/ 2768600 h 4496940"/>
                  <a:gd name="connsiteX42" fmla="*/ 4383427 w 4519987"/>
                  <a:gd name="connsiteY42" fmla="*/ 2990850 h 4496940"/>
                  <a:gd name="connsiteX43" fmla="*/ 4278652 w 4519987"/>
                  <a:gd name="connsiteY43" fmla="*/ 3248025 h 4496940"/>
                  <a:gd name="connsiteX44" fmla="*/ 4259602 w 4519987"/>
                  <a:gd name="connsiteY44" fmla="*/ 3276600 h 4496940"/>
                  <a:gd name="connsiteX45" fmla="*/ 4221502 w 4519987"/>
                  <a:gd name="connsiteY45" fmla="*/ 3333750 h 4496940"/>
                  <a:gd name="connsiteX46" fmla="*/ 4211977 w 4519987"/>
                  <a:gd name="connsiteY46" fmla="*/ 3362325 h 4496940"/>
                  <a:gd name="connsiteX47" fmla="*/ 4183402 w 4519987"/>
                  <a:gd name="connsiteY47" fmla="*/ 3400425 h 4496940"/>
                  <a:gd name="connsiteX48" fmla="*/ 4164352 w 4519987"/>
                  <a:gd name="connsiteY48" fmla="*/ 3429000 h 4496940"/>
                  <a:gd name="connsiteX49" fmla="*/ 4088152 w 4519987"/>
                  <a:gd name="connsiteY49" fmla="*/ 3495675 h 4496940"/>
                  <a:gd name="connsiteX50" fmla="*/ 4059577 w 4519987"/>
                  <a:gd name="connsiteY50" fmla="*/ 3533775 h 4496940"/>
                  <a:gd name="connsiteX51" fmla="*/ 4002427 w 4519987"/>
                  <a:gd name="connsiteY51" fmla="*/ 3600450 h 4496940"/>
                  <a:gd name="connsiteX52" fmla="*/ 3983377 w 4519987"/>
                  <a:gd name="connsiteY52" fmla="*/ 3629025 h 4496940"/>
                  <a:gd name="connsiteX53" fmla="*/ 3954802 w 4519987"/>
                  <a:gd name="connsiteY53" fmla="*/ 3648075 h 4496940"/>
                  <a:gd name="connsiteX54" fmla="*/ 3907177 w 4519987"/>
                  <a:gd name="connsiteY54" fmla="*/ 3686175 h 4496940"/>
                  <a:gd name="connsiteX55" fmla="*/ 3869077 w 4519987"/>
                  <a:gd name="connsiteY55" fmla="*/ 3724275 h 4496940"/>
                  <a:gd name="connsiteX56" fmla="*/ 3792877 w 4519987"/>
                  <a:gd name="connsiteY56" fmla="*/ 3781425 h 4496940"/>
                  <a:gd name="connsiteX57" fmla="*/ 3783352 w 4519987"/>
                  <a:gd name="connsiteY57" fmla="*/ 3810000 h 4496940"/>
                  <a:gd name="connsiteX58" fmla="*/ 3745252 w 4519987"/>
                  <a:gd name="connsiteY58" fmla="*/ 3819525 h 4496940"/>
                  <a:gd name="connsiteX59" fmla="*/ 3678577 w 4519987"/>
                  <a:gd name="connsiteY59" fmla="*/ 3848100 h 4496940"/>
                  <a:gd name="connsiteX60" fmla="*/ 3659527 w 4519987"/>
                  <a:gd name="connsiteY60" fmla="*/ 3971925 h 4496940"/>
                  <a:gd name="connsiteX61" fmla="*/ 3630952 w 4519987"/>
                  <a:gd name="connsiteY61" fmla="*/ 4010025 h 4496940"/>
                  <a:gd name="connsiteX62" fmla="*/ 3621427 w 4519987"/>
                  <a:gd name="connsiteY62" fmla="*/ 4038600 h 4496940"/>
                  <a:gd name="connsiteX63" fmla="*/ 3554752 w 4519987"/>
                  <a:gd name="connsiteY63" fmla="*/ 4095750 h 4496940"/>
                  <a:gd name="connsiteX64" fmla="*/ 3516652 w 4519987"/>
                  <a:gd name="connsiteY64" fmla="*/ 4114800 h 4496940"/>
                  <a:gd name="connsiteX65" fmla="*/ 3497602 w 4519987"/>
                  <a:gd name="connsiteY65" fmla="*/ 4143375 h 4496940"/>
                  <a:gd name="connsiteX66" fmla="*/ 3383302 w 4519987"/>
                  <a:gd name="connsiteY66" fmla="*/ 4210050 h 4496940"/>
                  <a:gd name="connsiteX67" fmla="*/ 3335677 w 4519987"/>
                  <a:gd name="connsiteY67" fmla="*/ 4238625 h 4496940"/>
                  <a:gd name="connsiteX68" fmla="*/ 3288052 w 4519987"/>
                  <a:gd name="connsiteY68" fmla="*/ 4248150 h 4496940"/>
                  <a:gd name="connsiteX69" fmla="*/ 3240427 w 4519987"/>
                  <a:gd name="connsiteY69" fmla="*/ 4267200 h 4496940"/>
                  <a:gd name="connsiteX70" fmla="*/ 3068977 w 4519987"/>
                  <a:gd name="connsiteY70" fmla="*/ 4286250 h 4496940"/>
                  <a:gd name="connsiteX71" fmla="*/ 2935627 w 4519987"/>
                  <a:gd name="connsiteY71" fmla="*/ 4333875 h 4496940"/>
                  <a:gd name="connsiteX72" fmla="*/ 2811802 w 4519987"/>
                  <a:gd name="connsiteY72" fmla="*/ 4371975 h 4496940"/>
                  <a:gd name="connsiteX73" fmla="*/ 2745127 w 4519987"/>
                  <a:gd name="connsiteY73" fmla="*/ 4410075 h 4496940"/>
                  <a:gd name="connsiteX74" fmla="*/ 2697502 w 4519987"/>
                  <a:gd name="connsiteY74" fmla="*/ 4429125 h 4496940"/>
                  <a:gd name="connsiteX75" fmla="*/ 2640352 w 4519987"/>
                  <a:gd name="connsiteY75" fmla="*/ 4457700 h 4496940"/>
                  <a:gd name="connsiteX76" fmla="*/ 2583202 w 4519987"/>
                  <a:gd name="connsiteY76" fmla="*/ 4467225 h 4496940"/>
                  <a:gd name="connsiteX77" fmla="*/ 2545102 w 4519987"/>
                  <a:gd name="connsiteY77" fmla="*/ 4486275 h 4496940"/>
                  <a:gd name="connsiteX78" fmla="*/ 2306977 w 4519987"/>
                  <a:gd name="connsiteY78" fmla="*/ 4476750 h 4496940"/>
                  <a:gd name="connsiteX79" fmla="*/ 2202202 w 4519987"/>
                  <a:gd name="connsiteY79" fmla="*/ 4457700 h 4496940"/>
                  <a:gd name="connsiteX80" fmla="*/ 2126002 w 4519987"/>
                  <a:gd name="connsiteY80" fmla="*/ 4429125 h 4496940"/>
                  <a:gd name="connsiteX81" fmla="*/ 1935502 w 4519987"/>
                  <a:gd name="connsiteY81" fmla="*/ 4400550 h 4496940"/>
                  <a:gd name="connsiteX82" fmla="*/ 1821202 w 4519987"/>
                  <a:gd name="connsiteY82" fmla="*/ 4371975 h 4496940"/>
                  <a:gd name="connsiteX83" fmla="*/ 1754527 w 4519987"/>
                  <a:gd name="connsiteY83" fmla="*/ 4352925 h 4496940"/>
                  <a:gd name="connsiteX84" fmla="*/ 1687852 w 4519987"/>
                  <a:gd name="connsiteY84" fmla="*/ 4343400 h 4496940"/>
                  <a:gd name="connsiteX85" fmla="*/ 1573552 w 4519987"/>
                  <a:gd name="connsiteY85" fmla="*/ 4305300 h 4496940"/>
                  <a:gd name="connsiteX86" fmla="*/ 1402102 w 4519987"/>
                  <a:gd name="connsiteY86" fmla="*/ 4276725 h 4496940"/>
                  <a:gd name="connsiteX87" fmla="*/ 1287802 w 4519987"/>
                  <a:gd name="connsiteY87" fmla="*/ 4229100 h 4496940"/>
                  <a:gd name="connsiteX88" fmla="*/ 1221127 w 4519987"/>
                  <a:gd name="connsiteY88" fmla="*/ 4200525 h 4496940"/>
                  <a:gd name="connsiteX89" fmla="*/ 1144927 w 4519987"/>
                  <a:gd name="connsiteY89" fmla="*/ 4171950 h 4496940"/>
                  <a:gd name="connsiteX90" fmla="*/ 1087777 w 4519987"/>
                  <a:gd name="connsiteY90" fmla="*/ 4143375 h 4496940"/>
                  <a:gd name="connsiteX91" fmla="*/ 1030627 w 4519987"/>
                  <a:gd name="connsiteY91" fmla="*/ 4124325 h 4496940"/>
                  <a:gd name="connsiteX92" fmla="*/ 925852 w 4519987"/>
                  <a:gd name="connsiteY92" fmla="*/ 4067175 h 4496940"/>
                  <a:gd name="connsiteX93" fmla="*/ 830602 w 4519987"/>
                  <a:gd name="connsiteY93" fmla="*/ 3981450 h 4496940"/>
                  <a:gd name="connsiteX94" fmla="*/ 763927 w 4519987"/>
                  <a:gd name="connsiteY94" fmla="*/ 3914775 h 4496940"/>
                  <a:gd name="connsiteX95" fmla="*/ 725827 w 4519987"/>
                  <a:gd name="connsiteY95" fmla="*/ 3876675 h 4496940"/>
                  <a:gd name="connsiteX96" fmla="*/ 697252 w 4519987"/>
                  <a:gd name="connsiteY96" fmla="*/ 3838575 h 4496940"/>
                  <a:gd name="connsiteX97" fmla="*/ 640102 w 4519987"/>
                  <a:gd name="connsiteY97" fmla="*/ 3781425 h 4496940"/>
                  <a:gd name="connsiteX98" fmla="*/ 611527 w 4519987"/>
                  <a:gd name="connsiteY98" fmla="*/ 3733800 h 4496940"/>
                  <a:gd name="connsiteX99" fmla="*/ 554377 w 4519987"/>
                  <a:gd name="connsiteY99" fmla="*/ 3657600 h 4496940"/>
                  <a:gd name="connsiteX100" fmla="*/ 525802 w 4519987"/>
                  <a:gd name="connsiteY100" fmla="*/ 3609975 h 4496940"/>
                  <a:gd name="connsiteX101" fmla="*/ 497227 w 4519987"/>
                  <a:gd name="connsiteY101" fmla="*/ 3552825 h 4496940"/>
                  <a:gd name="connsiteX102" fmla="*/ 440077 w 4519987"/>
                  <a:gd name="connsiteY102" fmla="*/ 3495675 h 4496940"/>
                  <a:gd name="connsiteX103" fmla="*/ 411502 w 4519987"/>
                  <a:gd name="connsiteY103" fmla="*/ 3448050 h 4496940"/>
                  <a:gd name="connsiteX104" fmla="*/ 278152 w 4519987"/>
                  <a:gd name="connsiteY104" fmla="*/ 3257550 h 4496940"/>
                  <a:gd name="connsiteX105" fmla="*/ 249577 w 4519987"/>
                  <a:gd name="connsiteY105" fmla="*/ 3200400 h 4496940"/>
                  <a:gd name="connsiteX106" fmla="*/ 240052 w 4519987"/>
                  <a:gd name="connsiteY106" fmla="*/ 3162300 h 4496940"/>
                  <a:gd name="connsiteX107" fmla="*/ 221002 w 4519987"/>
                  <a:gd name="connsiteY107" fmla="*/ 3105150 h 4496940"/>
                  <a:gd name="connsiteX108" fmla="*/ 173377 w 4519987"/>
                  <a:gd name="connsiteY108" fmla="*/ 3019425 h 4496940"/>
                  <a:gd name="connsiteX109" fmla="*/ 144802 w 4519987"/>
                  <a:gd name="connsiteY109" fmla="*/ 2924175 h 4496940"/>
                  <a:gd name="connsiteX110" fmla="*/ 68602 w 4519987"/>
                  <a:gd name="connsiteY110" fmla="*/ 2724150 h 4496940"/>
                  <a:gd name="connsiteX111" fmla="*/ 49552 w 4519987"/>
                  <a:gd name="connsiteY111" fmla="*/ 2638425 h 4496940"/>
                  <a:gd name="connsiteX112" fmla="*/ 40027 w 4519987"/>
                  <a:gd name="connsiteY112" fmla="*/ 2562225 h 4496940"/>
                  <a:gd name="connsiteX113" fmla="*/ 30502 w 4519987"/>
                  <a:gd name="connsiteY113" fmla="*/ 2514600 h 4496940"/>
                  <a:gd name="connsiteX114" fmla="*/ 11452 w 4519987"/>
                  <a:gd name="connsiteY114" fmla="*/ 2400300 h 4496940"/>
                  <a:gd name="connsiteX115" fmla="*/ 20977 w 4519987"/>
                  <a:gd name="connsiteY115" fmla="*/ 1905000 h 4496940"/>
                  <a:gd name="connsiteX116" fmla="*/ 30502 w 4519987"/>
                  <a:gd name="connsiteY116" fmla="*/ 1838325 h 4496940"/>
                  <a:gd name="connsiteX117" fmla="*/ 49552 w 4519987"/>
                  <a:gd name="connsiteY117" fmla="*/ 1781175 h 4496940"/>
                  <a:gd name="connsiteX118" fmla="*/ 59077 w 4519987"/>
                  <a:gd name="connsiteY118" fmla="*/ 1743075 h 4496940"/>
                  <a:gd name="connsiteX119" fmla="*/ 78127 w 4519987"/>
                  <a:gd name="connsiteY119" fmla="*/ 1685925 h 4496940"/>
                  <a:gd name="connsiteX120" fmla="*/ 87652 w 4519987"/>
                  <a:gd name="connsiteY120" fmla="*/ 1638300 h 4496940"/>
                  <a:gd name="connsiteX121" fmla="*/ 106702 w 4519987"/>
                  <a:gd name="connsiteY121" fmla="*/ 1590675 h 4496940"/>
                  <a:gd name="connsiteX122" fmla="*/ 135277 w 4519987"/>
                  <a:gd name="connsiteY122" fmla="*/ 1504950 h 4496940"/>
                  <a:gd name="connsiteX123" fmla="*/ 154327 w 4519987"/>
                  <a:gd name="connsiteY123" fmla="*/ 1419225 h 4496940"/>
                  <a:gd name="connsiteX124" fmla="*/ 230527 w 4519987"/>
                  <a:gd name="connsiteY124" fmla="*/ 1276350 h 4496940"/>
                  <a:gd name="connsiteX125" fmla="*/ 240052 w 4519987"/>
                  <a:gd name="connsiteY125" fmla="*/ 1247775 h 4496940"/>
                  <a:gd name="connsiteX126" fmla="*/ 268627 w 4519987"/>
                  <a:gd name="connsiteY126" fmla="*/ 1200150 h 4496940"/>
                  <a:gd name="connsiteX127" fmla="*/ 287677 w 4519987"/>
                  <a:gd name="connsiteY127" fmla="*/ 1152525 h 4496940"/>
                  <a:gd name="connsiteX128" fmla="*/ 316252 w 4519987"/>
                  <a:gd name="connsiteY128" fmla="*/ 1114425 h 4496940"/>
                  <a:gd name="connsiteX129" fmla="*/ 363877 w 4519987"/>
                  <a:gd name="connsiteY129" fmla="*/ 1038225 h 4496940"/>
                  <a:gd name="connsiteX130" fmla="*/ 382927 w 4519987"/>
                  <a:gd name="connsiteY130" fmla="*/ 1009650 h 4496940"/>
                  <a:gd name="connsiteX131" fmla="*/ 440077 w 4519987"/>
                  <a:gd name="connsiteY131" fmla="*/ 904875 h 4496940"/>
                  <a:gd name="connsiteX132" fmla="*/ 478177 w 4519987"/>
                  <a:gd name="connsiteY132" fmla="*/ 857250 h 4496940"/>
                  <a:gd name="connsiteX133" fmla="*/ 497227 w 4519987"/>
                  <a:gd name="connsiteY133" fmla="*/ 828675 h 4496940"/>
                  <a:gd name="connsiteX134" fmla="*/ 535327 w 4519987"/>
                  <a:gd name="connsiteY134" fmla="*/ 800100 h 4496940"/>
                  <a:gd name="connsiteX135" fmla="*/ 602002 w 4519987"/>
                  <a:gd name="connsiteY135" fmla="*/ 733425 h 4496940"/>
                  <a:gd name="connsiteX136" fmla="*/ 668677 w 4519987"/>
                  <a:gd name="connsiteY136" fmla="*/ 676275 h 4496940"/>
                  <a:gd name="connsiteX137" fmla="*/ 697252 w 4519987"/>
                  <a:gd name="connsiteY137" fmla="*/ 657225 h 4496940"/>
                  <a:gd name="connsiteX138" fmla="*/ 840127 w 4519987"/>
                  <a:gd name="connsiteY138" fmla="*/ 533400 h 4496940"/>
                  <a:gd name="connsiteX139" fmla="*/ 887752 w 4519987"/>
                  <a:gd name="connsiteY139" fmla="*/ 504825 h 4496940"/>
                  <a:gd name="connsiteX140" fmla="*/ 1167152 w 4519987"/>
                  <a:gd name="connsiteY140" fmla="*/ 311150 h 4496940"/>
                  <a:gd name="connsiteX141" fmla="*/ 1268752 w 4519987"/>
                  <a:gd name="connsiteY141" fmla="*/ 285750 h 4496940"/>
                  <a:gd name="connsiteX142" fmla="*/ 1411627 w 4519987"/>
                  <a:gd name="connsiteY142" fmla="*/ 190500 h 4496940"/>
                  <a:gd name="connsiteX143" fmla="*/ 1449727 w 4519987"/>
                  <a:gd name="connsiteY143" fmla="*/ 161925 h 4496940"/>
                  <a:gd name="connsiteX144" fmla="*/ 1525927 w 4519987"/>
                  <a:gd name="connsiteY144" fmla="*/ 152400 h 4496940"/>
                  <a:gd name="connsiteX145" fmla="*/ 1583077 w 4519987"/>
                  <a:gd name="connsiteY145" fmla="*/ 142875 h 4496940"/>
                  <a:gd name="connsiteX146" fmla="*/ 1716427 w 4519987"/>
                  <a:gd name="connsiteY146" fmla="*/ 123825 h 4496940"/>
                  <a:gd name="connsiteX147" fmla="*/ 1811677 w 4519987"/>
                  <a:gd name="connsiteY147" fmla="*/ 114300 h 4496940"/>
                  <a:gd name="connsiteX148" fmla="*/ 1859302 w 4519987"/>
                  <a:gd name="connsiteY148" fmla="*/ 104775 h 4496940"/>
                  <a:gd name="connsiteX149" fmla="*/ 1916452 w 4519987"/>
                  <a:gd name="connsiteY149" fmla="*/ 95250 h 4496940"/>
                  <a:gd name="connsiteX150" fmla="*/ 2030752 w 4519987"/>
                  <a:gd name="connsiteY150" fmla="*/ 66675 h 4496940"/>
                  <a:gd name="connsiteX151" fmla="*/ 2097427 w 4519987"/>
                  <a:gd name="connsiteY151" fmla="*/ 47625 h 4496940"/>
                  <a:gd name="connsiteX152" fmla="*/ 2164102 w 4519987"/>
                  <a:gd name="connsiteY152" fmla="*/ 38100 h 4496940"/>
                  <a:gd name="connsiteX153" fmla="*/ 2392702 w 4519987"/>
                  <a:gd name="connsiteY15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02377 w 4519987"/>
                  <a:gd name="connsiteY18" fmla="*/ 457200 h 4496940"/>
                  <a:gd name="connsiteX19" fmla="*/ 3630952 w 4519987"/>
                  <a:gd name="connsiteY19" fmla="*/ 485775 h 4496940"/>
                  <a:gd name="connsiteX20" fmla="*/ 3678577 w 4519987"/>
                  <a:gd name="connsiteY20" fmla="*/ 504825 h 4496940"/>
                  <a:gd name="connsiteX21" fmla="*/ 3745252 w 4519987"/>
                  <a:gd name="connsiteY21" fmla="*/ 542925 h 4496940"/>
                  <a:gd name="connsiteX22" fmla="*/ 3811927 w 4519987"/>
                  <a:gd name="connsiteY22" fmla="*/ 581025 h 4496940"/>
                  <a:gd name="connsiteX23" fmla="*/ 3907177 w 4519987"/>
                  <a:gd name="connsiteY23" fmla="*/ 647700 h 4496940"/>
                  <a:gd name="connsiteX24" fmla="*/ 3935752 w 4519987"/>
                  <a:gd name="connsiteY24" fmla="*/ 676275 h 4496940"/>
                  <a:gd name="connsiteX25" fmla="*/ 4078627 w 4519987"/>
                  <a:gd name="connsiteY25" fmla="*/ 838200 h 4496940"/>
                  <a:gd name="connsiteX26" fmla="*/ 4135777 w 4519987"/>
                  <a:gd name="connsiteY26" fmla="*/ 933450 h 4496940"/>
                  <a:gd name="connsiteX27" fmla="*/ 4164352 w 4519987"/>
                  <a:gd name="connsiteY27" fmla="*/ 990600 h 4496940"/>
                  <a:gd name="connsiteX28" fmla="*/ 4173877 w 4519987"/>
                  <a:gd name="connsiteY28" fmla="*/ 1019175 h 4496940"/>
                  <a:gd name="connsiteX29" fmla="*/ 4192927 w 4519987"/>
                  <a:gd name="connsiteY29" fmla="*/ 1057275 h 4496940"/>
                  <a:gd name="connsiteX30" fmla="*/ 4202452 w 4519987"/>
                  <a:gd name="connsiteY30" fmla="*/ 1085850 h 4496940"/>
                  <a:gd name="connsiteX31" fmla="*/ 4250077 w 4519987"/>
                  <a:gd name="connsiteY31" fmla="*/ 1143000 h 4496940"/>
                  <a:gd name="connsiteX32" fmla="*/ 4259602 w 4519987"/>
                  <a:gd name="connsiteY32" fmla="*/ 1190625 h 4496940"/>
                  <a:gd name="connsiteX33" fmla="*/ 4307227 w 4519987"/>
                  <a:gd name="connsiteY33" fmla="*/ 1266825 h 4496940"/>
                  <a:gd name="connsiteX34" fmla="*/ 4345327 w 4519987"/>
                  <a:gd name="connsiteY34" fmla="*/ 1362075 h 4496940"/>
                  <a:gd name="connsiteX35" fmla="*/ 4373902 w 4519987"/>
                  <a:gd name="connsiteY35" fmla="*/ 1428750 h 4496940"/>
                  <a:gd name="connsiteX36" fmla="*/ 4392952 w 4519987"/>
                  <a:gd name="connsiteY36" fmla="*/ 1552575 h 4496940"/>
                  <a:gd name="connsiteX37" fmla="*/ 4402477 w 4519987"/>
                  <a:gd name="connsiteY37" fmla="*/ 1590675 h 4496940"/>
                  <a:gd name="connsiteX38" fmla="*/ 4431052 w 4519987"/>
                  <a:gd name="connsiteY38" fmla="*/ 1685925 h 4496940"/>
                  <a:gd name="connsiteX39" fmla="*/ 4519952 w 4519987"/>
                  <a:gd name="connsiteY39" fmla="*/ 2181225 h 4496940"/>
                  <a:gd name="connsiteX40" fmla="*/ 4446927 w 4519987"/>
                  <a:gd name="connsiteY40" fmla="*/ 2768600 h 4496940"/>
                  <a:gd name="connsiteX41" fmla="*/ 4383427 w 4519987"/>
                  <a:gd name="connsiteY41" fmla="*/ 2990850 h 4496940"/>
                  <a:gd name="connsiteX42" fmla="*/ 4278652 w 4519987"/>
                  <a:gd name="connsiteY42" fmla="*/ 3248025 h 4496940"/>
                  <a:gd name="connsiteX43" fmla="*/ 4259602 w 4519987"/>
                  <a:gd name="connsiteY43" fmla="*/ 3276600 h 4496940"/>
                  <a:gd name="connsiteX44" fmla="*/ 4221502 w 4519987"/>
                  <a:gd name="connsiteY44" fmla="*/ 3333750 h 4496940"/>
                  <a:gd name="connsiteX45" fmla="*/ 4211977 w 4519987"/>
                  <a:gd name="connsiteY45" fmla="*/ 3362325 h 4496940"/>
                  <a:gd name="connsiteX46" fmla="*/ 4183402 w 4519987"/>
                  <a:gd name="connsiteY46" fmla="*/ 3400425 h 4496940"/>
                  <a:gd name="connsiteX47" fmla="*/ 4164352 w 4519987"/>
                  <a:gd name="connsiteY47" fmla="*/ 3429000 h 4496940"/>
                  <a:gd name="connsiteX48" fmla="*/ 4088152 w 4519987"/>
                  <a:gd name="connsiteY48" fmla="*/ 3495675 h 4496940"/>
                  <a:gd name="connsiteX49" fmla="*/ 4059577 w 4519987"/>
                  <a:gd name="connsiteY49" fmla="*/ 3533775 h 4496940"/>
                  <a:gd name="connsiteX50" fmla="*/ 4002427 w 4519987"/>
                  <a:gd name="connsiteY50" fmla="*/ 3600450 h 4496940"/>
                  <a:gd name="connsiteX51" fmla="*/ 3983377 w 4519987"/>
                  <a:gd name="connsiteY51" fmla="*/ 3629025 h 4496940"/>
                  <a:gd name="connsiteX52" fmla="*/ 3954802 w 4519987"/>
                  <a:gd name="connsiteY52" fmla="*/ 3648075 h 4496940"/>
                  <a:gd name="connsiteX53" fmla="*/ 3907177 w 4519987"/>
                  <a:gd name="connsiteY53" fmla="*/ 3686175 h 4496940"/>
                  <a:gd name="connsiteX54" fmla="*/ 3869077 w 4519987"/>
                  <a:gd name="connsiteY54" fmla="*/ 3724275 h 4496940"/>
                  <a:gd name="connsiteX55" fmla="*/ 3792877 w 4519987"/>
                  <a:gd name="connsiteY55" fmla="*/ 3781425 h 4496940"/>
                  <a:gd name="connsiteX56" fmla="*/ 3783352 w 4519987"/>
                  <a:gd name="connsiteY56" fmla="*/ 3810000 h 4496940"/>
                  <a:gd name="connsiteX57" fmla="*/ 3745252 w 4519987"/>
                  <a:gd name="connsiteY57" fmla="*/ 3819525 h 4496940"/>
                  <a:gd name="connsiteX58" fmla="*/ 3678577 w 4519987"/>
                  <a:gd name="connsiteY58" fmla="*/ 3848100 h 4496940"/>
                  <a:gd name="connsiteX59" fmla="*/ 3659527 w 4519987"/>
                  <a:gd name="connsiteY59" fmla="*/ 3971925 h 4496940"/>
                  <a:gd name="connsiteX60" fmla="*/ 3630952 w 4519987"/>
                  <a:gd name="connsiteY60" fmla="*/ 4010025 h 4496940"/>
                  <a:gd name="connsiteX61" fmla="*/ 3621427 w 4519987"/>
                  <a:gd name="connsiteY61" fmla="*/ 4038600 h 4496940"/>
                  <a:gd name="connsiteX62" fmla="*/ 3554752 w 4519987"/>
                  <a:gd name="connsiteY62" fmla="*/ 4095750 h 4496940"/>
                  <a:gd name="connsiteX63" fmla="*/ 3516652 w 4519987"/>
                  <a:gd name="connsiteY63" fmla="*/ 4114800 h 4496940"/>
                  <a:gd name="connsiteX64" fmla="*/ 3497602 w 4519987"/>
                  <a:gd name="connsiteY64" fmla="*/ 4143375 h 4496940"/>
                  <a:gd name="connsiteX65" fmla="*/ 3383302 w 4519987"/>
                  <a:gd name="connsiteY65" fmla="*/ 4210050 h 4496940"/>
                  <a:gd name="connsiteX66" fmla="*/ 3335677 w 4519987"/>
                  <a:gd name="connsiteY66" fmla="*/ 4238625 h 4496940"/>
                  <a:gd name="connsiteX67" fmla="*/ 3288052 w 4519987"/>
                  <a:gd name="connsiteY67" fmla="*/ 4248150 h 4496940"/>
                  <a:gd name="connsiteX68" fmla="*/ 3240427 w 4519987"/>
                  <a:gd name="connsiteY68" fmla="*/ 4267200 h 4496940"/>
                  <a:gd name="connsiteX69" fmla="*/ 3068977 w 4519987"/>
                  <a:gd name="connsiteY69" fmla="*/ 4286250 h 4496940"/>
                  <a:gd name="connsiteX70" fmla="*/ 2935627 w 4519987"/>
                  <a:gd name="connsiteY70" fmla="*/ 4333875 h 4496940"/>
                  <a:gd name="connsiteX71" fmla="*/ 2811802 w 4519987"/>
                  <a:gd name="connsiteY71" fmla="*/ 4371975 h 4496940"/>
                  <a:gd name="connsiteX72" fmla="*/ 2745127 w 4519987"/>
                  <a:gd name="connsiteY72" fmla="*/ 4410075 h 4496940"/>
                  <a:gd name="connsiteX73" fmla="*/ 2697502 w 4519987"/>
                  <a:gd name="connsiteY73" fmla="*/ 4429125 h 4496940"/>
                  <a:gd name="connsiteX74" fmla="*/ 2640352 w 4519987"/>
                  <a:gd name="connsiteY74" fmla="*/ 4457700 h 4496940"/>
                  <a:gd name="connsiteX75" fmla="*/ 2583202 w 4519987"/>
                  <a:gd name="connsiteY75" fmla="*/ 4467225 h 4496940"/>
                  <a:gd name="connsiteX76" fmla="*/ 2545102 w 4519987"/>
                  <a:gd name="connsiteY76" fmla="*/ 4486275 h 4496940"/>
                  <a:gd name="connsiteX77" fmla="*/ 2306977 w 4519987"/>
                  <a:gd name="connsiteY77" fmla="*/ 4476750 h 4496940"/>
                  <a:gd name="connsiteX78" fmla="*/ 2202202 w 4519987"/>
                  <a:gd name="connsiteY78" fmla="*/ 4457700 h 4496940"/>
                  <a:gd name="connsiteX79" fmla="*/ 2126002 w 4519987"/>
                  <a:gd name="connsiteY79" fmla="*/ 4429125 h 4496940"/>
                  <a:gd name="connsiteX80" fmla="*/ 1935502 w 4519987"/>
                  <a:gd name="connsiteY80" fmla="*/ 4400550 h 4496940"/>
                  <a:gd name="connsiteX81" fmla="*/ 1821202 w 4519987"/>
                  <a:gd name="connsiteY81" fmla="*/ 4371975 h 4496940"/>
                  <a:gd name="connsiteX82" fmla="*/ 1754527 w 4519987"/>
                  <a:gd name="connsiteY82" fmla="*/ 4352925 h 4496940"/>
                  <a:gd name="connsiteX83" fmla="*/ 1687852 w 4519987"/>
                  <a:gd name="connsiteY83" fmla="*/ 4343400 h 4496940"/>
                  <a:gd name="connsiteX84" fmla="*/ 1573552 w 4519987"/>
                  <a:gd name="connsiteY84" fmla="*/ 4305300 h 4496940"/>
                  <a:gd name="connsiteX85" fmla="*/ 1402102 w 4519987"/>
                  <a:gd name="connsiteY85" fmla="*/ 4276725 h 4496940"/>
                  <a:gd name="connsiteX86" fmla="*/ 1287802 w 4519987"/>
                  <a:gd name="connsiteY86" fmla="*/ 4229100 h 4496940"/>
                  <a:gd name="connsiteX87" fmla="*/ 1221127 w 4519987"/>
                  <a:gd name="connsiteY87" fmla="*/ 4200525 h 4496940"/>
                  <a:gd name="connsiteX88" fmla="*/ 1144927 w 4519987"/>
                  <a:gd name="connsiteY88" fmla="*/ 4171950 h 4496940"/>
                  <a:gd name="connsiteX89" fmla="*/ 1087777 w 4519987"/>
                  <a:gd name="connsiteY89" fmla="*/ 4143375 h 4496940"/>
                  <a:gd name="connsiteX90" fmla="*/ 1030627 w 4519987"/>
                  <a:gd name="connsiteY90" fmla="*/ 4124325 h 4496940"/>
                  <a:gd name="connsiteX91" fmla="*/ 925852 w 4519987"/>
                  <a:gd name="connsiteY91" fmla="*/ 4067175 h 4496940"/>
                  <a:gd name="connsiteX92" fmla="*/ 830602 w 4519987"/>
                  <a:gd name="connsiteY92" fmla="*/ 3981450 h 4496940"/>
                  <a:gd name="connsiteX93" fmla="*/ 763927 w 4519987"/>
                  <a:gd name="connsiteY93" fmla="*/ 3914775 h 4496940"/>
                  <a:gd name="connsiteX94" fmla="*/ 725827 w 4519987"/>
                  <a:gd name="connsiteY94" fmla="*/ 3876675 h 4496940"/>
                  <a:gd name="connsiteX95" fmla="*/ 697252 w 4519987"/>
                  <a:gd name="connsiteY95" fmla="*/ 3838575 h 4496940"/>
                  <a:gd name="connsiteX96" fmla="*/ 640102 w 4519987"/>
                  <a:gd name="connsiteY96" fmla="*/ 3781425 h 4496940"/>
                  <a:gd name="connsiteX97" fmla="*/ 611527 w 4519987"/>
                  <a:gd name="connsiteY97" fmla="*/ 3733800 h 4496940"/>
                  <a:gd name="connsiteX98" fmla="*/ 554377 w 4519987"/>
                  <a:gd name="connsiteY98" fmla="*/ 3657600 h 4496940"/>
                  <a:gd name="connsiteX99" fmla="*/ 525802 w 4519987"/>
                  <a:gd name="connsiteY99" fmla="*/ 3609975 h 4496940"/>
                  <a:gd name="connsiteX100" fmla="*/ 497227 w 4519987"/>
                  <a:gd name="connsiteY100" fmla="*/ 3552825 h 4496940"/>
                  <a:gd name="connsiteX101" fmla="*/ 440077 w 4519987"/>
                  <a:gd name="connsiteY101" fmla="*/ 3495675 h 4496940"/>
                  <a:gd name="connsiteX102" fmla="*/ 411502 w 4519987"/>
                  <a:gd name="connsiteY102" fmla="*/ 3448050 h 4496940"/>
                  <a:gd name="connsiteX103" fmla="*/ 278152 w 4519987"/>
                  <a:gd name="connsiteY103" fmla="*/ 3257550 h 4496940"/>
                  <a:gd name="connsiteX104" fmla="*/ 249577 w 4519987"/>
                  <a:gd name="connsiteY104" fmla="*/ 3200400 h 4496940"/>
                  <a:gd name="connsiteX105" fmla="*/ 240052 w 4519987"/>
                  <a:gd name="connsiteY105" fmla="*/ 3162300 h 4496940"/>
                  <a:gd name="connsiteX106" fmla="*/ 221002 w 4519987"/>
                  <a:gd name="connsiteY106" fmla="*/ 3105150 h 4496940"/>
                  <a:gd name="connsiteX107" fmla="*/ 173377 w 4519987"/>
                  <a:gd name="connsiteY107" fmla="*/ 3019425 h 4496940"/>
                  <a:gd name="connsiteX108" fmla="*/ 144802 w 4519987"/>
                  <a:gd name="connsiteY108" fmla="*/ 2924175 h 4496940"/>
                  <a:gd name="connsiteX109" fmla="*/ 68602 w 4519987"/>
                  <a:gd name="connsiteY109" fmla="*/ 2724150 h 4496940"/>
                  <a:gd name="connsiteX110" fmla="*/ 49552 w 4519987"/>
                  <a:gd name="connsiteY110" fmla="*/ 2638425 h 4496940"/>
                  <a:gd name="connsiteX111" fmla="*/ 40027 w 4519987"/>
                  <a:gd name="connsiteY111" fmla="*/ 2562225 h 4496940"/>
                  <a:gd name="connsiteX112" fmla="*/ 30502 w 4519987"/>
                  <a:gd name="connsiteY112" fmla="*/ 2514600 h 4496940"/>
                  <a:gd name="connsiteX113" fmla="*/ 11452 w 4519987"/>
                  <a:gd name="connsiteY113" fmla="*/ 2400300 h 4496940"/>
                  <a:gd name="connsiteX114" fmla="*/ 20977 w 4519987"/>
                  <a:gd name="connsiteY114" fmla="*/ 1905000 h 4496940"/>
                  <a:gd name="connsiteX115" fmla="*/ 30502 w 4519987"/>
                  <a:gd name="connsiteY115" fmla="*/ 1838325 h 4496940"/>
                  <a:gd name="connsiteX116" fmla="*/ 49552 w 4519987"/>
                  <a:gd name="connsiteY116" fmla="*/ 1781175 h 4496940"/>
                  <a:gd name="connsiteX117" fmla="*/ 59077 w 4519987"/>
                  <a:gd name="connsiteY117" fmla="*/ 1743075 h 4496940"/>
                  <a:gd name="connsiteX118" fmla="*/ 78127 w 4519987"/>
                  <a:gd name="connsiteY118" fmla="*/ 1685925 h 4496940"/>
                  <a:gd name="connsiteX119" fmla="*/ 87652 w 4519987"/>
                  <a:gd name="connsiteY119" fmla="*/ 1638300 h 4496940"/>
                  <a:gd name="connsiteX120" fmla="*/ 106702 w 4519987"/>
                  <a:gd name="connsiteY120" fmla="*/ 1590675 h 4496940"/>
                  <a:gd name="connsiteX121" fmla="*/ 135277 w 4519987"/>
                  <a:gd name="connsiteY121" fmla="*/ 1504950 h 4496940"/>
                  <a:gd name="connsiteX122" fmla="*/ 154327 w 4519987"/>
                  <a:gd name="connsiteY122" fmla="*/ 1419225 h 4496940"/>
                  <a:gd name="connsiteX123" fmla="*/ 230527 w 4519987"/>
                  <a:gd name="connsiteY123" fmla="*/ 1276350 h 4496940"/>
                  <a:gd name="connsiteX124" fmla="*/ 240052 w 4519987"/>
                  <a:gd name="connsiteY124" fmla="*/ 1247775 h 4496940"/>
                  <a:gd name="connsiteX125" fmla="*/ 268627 w 4519987"/>
                  <a:gd name="connsiteY125" fmla="*/ 1200150 h 4496940"/>
                  <a:gd name="connsiteX126" fmla="*/ 287677 w 4519987"/>
                  <a:gd name="connsiteY126" fmla="*/ 1152525 h 4496940"/>
                  <a:gd name="connsiteX127" fmla="*/ 316252 w 4519987"/>
                  <a:gd name="connsiteY127" fmla="*/ 1114425 h 4496940"/>
                  <a:gd name="connsiteX128" fmla="*/ 363877 w 4519987"/>
                  <a:gd name="connsiteY128" fmla="*/ 1038225 h 4496940"/>
                  <a:gd name="connsiteX129" fmla="*/ 382927 w 4519987"/>
                  <a:gd name="connsiteY129" fmla="*/ 1009650 h 4496940"/>
                  <a:gd name="connsiteX130" fmla="*/ 440077 w 4519987"/>
                  <a:gd name="connsiteY130" fmla="*/ 904875 h 4496940"/>
                  <a:gd name="connsiteX131" fmla="*/ 478177 w 4519987"/>
                  <a:gd name="connsiteY131" fmla="*/ 857250 h 4496940"/>
                  <a:gd name="connsiteX132" fmla="*/ 497227 w 4519987"/>
                  <a:gd name="connsiteY132" fmla="*/ 828675 h 4496940"/>
                  <a:gd name="connsiteX133" fmla="*/ 535327 w 4519987"/>
                  <a:gd name="connsiteY133" fmla="*/ 800100 h 4496940"/>
                  <a:gd name="connsiteX134" fmla="*/ 602002 w 4519987"/>
                  <a:gd name="connsiteY134" fmla="*/ 733425 h 4496940"/>
                  <a:gd name="connsiteX135" fmla="*/ 668677 w 4519987"/>
                  <a:gd name="connsiteY135" fmla="*/ 676275 h 4496940"/>
                  <a:gd name="connsiteX136" fmla="*/ 697252 w 4519987"/>
                  <a:gd name="connsiteY136" fmla="*/ 657225 h 4496940"/>
                  <a:gd name="connsiteX137" fmla="*/ 840127 w 4519987"/>
                  <a:gd name="connsiteY137" fmla="*/ 533400 h 4496940"/>
                  <a:gd name="connsiteX138" fmla="*/ 887752 w 4519987"/>
                  <a:gd name="connsiteY138" fmla="*/ 504825 h 4496940"/>
                  <a:gd name="connsiteX139" fmla="*/ 1167152 w 4519987"/>
                  <a:gd name="connsiteY139" fmla="*/ 311150 h 4496940"/>
                  <a:gd name="connsiteX140" fmla="*/ 1268752 w 4519987"/>
                  <a:gd name="connsiteY140" fmla="*/ 285750 h 4496940"/>
                  <a:gd name="connsiteX141" fmla="*/ 1411627 w 4519987"/>
                  <a:gd name="connsiteY141" fmla="*/ 190500 h 4496940"/>
                  <a:gd name="connsiteX142" fmla="*/ 1449727 w 4519987"/>
                  <a:gd name="connsiteY142" fmla="*/ 161925 h 4496940"/>
                  <a:gd name="connsiteX143" fmla="*/ 1525927 w 4519987"/>
                  <a:gd name="connsiteY143" fmla="*/ 152400 h 4496940"/>
                  <a:gd name="connsiteX144" fmla="*/ 1583077 w 4519987"/>
                  <a:gd name="connsiteY144" fmla="*/ 142875 h 4496940"/>
                  <a:gd name="connsiteX145" fmla="*/ 1716427 w 4519987"/>
                  <a:gd name="connsiteY145" fmla="*/ 123825 h 4496940"/>
                  <a:gd name="connsiteX146" fmla="*/ 1811677 w 4519987"/>
                  <a:gd name="connsiteY146" fmla="*/ 114300 h 4496940"/>
                  <a:gd name="connsiteX147" fmla="*/ 1859302 w 4519987"/>
                  <a:gd name="connsiteY147" fmla="*/ 104775 h 4496940"/>
                  <a:gd name="connsiteX148" fmla="*/ 1916452 w 4519987"/>
                  <a:gd name="connsiteY148" fmla="*/ 95250 h 4496940"/>
                  <a:gd name="connsiteX149" fmla="*/ 2030752 w 4519987"/>
                  <a:gd name="connsiteY149" fmla="*/ 66675 h 4496940"/>
                  <a:gd name="connsiteX150" fmla="*/ 2097427 w 4519987"/>
                  <a:gd name="connsiteY150" fmla="*/ 47625 h 4496940"/>
                  <a:gd name="connsiteX151" fmla="*/ 2164102 w 4519987"/>
                  <a:gd name="connsiteY151" fmla="*/ 38100 h 4496940"/>
                  <a:gd name="connsiteX152" fmla="*/ 2392702 w 4519987"/>
                  <a:gd name="connsiteY15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02377 w 4519987"/>
                  <a:gd name="connsiteY18" fmla="*/ 457200 h 4496940"/>
                  <a:gd name="connsiteX19" fmla="*/ 3630952 w 4519987"/>
                  <a:gd name="connsiteY19" fmla="*/ 485775 h 4496940"/>
                  <a:gd name="connsiteX20" fmla="*/ 3745252 w 4519987"/>
                  <a:gd name="connsiteY20" fmla="*/ 542925 h 4496940"/>
                  <a:gd name="connsiteX21" fmla="*/ 3811927 w 4519987"/>
                  <a:gd name="connsiteY21" fmla="*/ 581025 h 4496940"/>
                  <a:gd name="connsiteX22" fmla="*/ 3907177 w 4519987"/>
                  <a:gd name="connsiteY22" fmla="*/ 647700 h 4496940"/>
                  <a:gd name="connsiteX23" fmla="*/ 3935752 w 4519987"/>
                  <a:gd name="connsiteY23" fmla="*/ 676275 h 4496940"/>
                  <a:gd name="connsiteX24" fmla="*/ 4078627 w 4519987"/>
                  <a:gd name="connsiteY24" fmla="*/ 838200 h 4496940"/>
                  <a:gd name="connsiteX25" fmla="*/ 4135777 w 4519987"/>
                  <a:gd name="connsiteY25" fmla="*/ 933450 h 4496940"/>
                  <a:gd name="connsiteX26" fmla="*/ 4164352 w 4519987"/>
                  <a:gd name="connsiteY26" fmla="*/ 990600 h 4496940"/>
                  <a:gd name="connsiteX27" fmla="*/ 4173877 w 4519987"/>
                  <a:gd name="connsiteY27" fmla="*/ 1019175 h 4496940"/>
                  <a:gd name="connsiteX28" fmla="*/ 4192927 w 4519987"/>
                  <a:gd name="connsiteY28" fmla="*/ 1057275 h 4496940"/>
                  <a:gd name="connsiteX29" fmla="*/ 4202452 w 4519987"/>
                  <a:gd name="connsiteY29" fmla="*/ 1085850 h 4496940"/>
                  <a:gd name="connsiteX30" fmla="*/ 4250077 w 4519987"/>
                  <a:gd name="connsiteY30" fmla="*/ 1143000 h 4496940"/>
                  <a:gd name="connsiteX31" fmla="*/ 4259602 w 4519987"/>
                  <a:gd name="connsiteY31" fmla="*/ 1190625 h 4496940"/>
                  <a:gd name="connsiteX32" fmla="*/ 4307227 w 4519987"/>
                  <a:gd name="connsiteY32" fmla="*/ 1266825 h 4496940"/>
                  <a:gd name="connsiteX33" fmla="*/ 4345327 w 4519987"/>
                  <a:gd name="connsiteY33" fmla="*/ 1362075 h 4496940"/>
                  <a:gd name="connsiteX34" fmla="*/ 4373902 w 4519987"/>
                  <a:gd name="connsiteY34" fmla="*/ 1428750 h 4496940"/>
                  <a:gd name="connsiteX35" fmla="*/ 4392952 w 4519987"/>
                  <a:gd name="connsiteY35" fmla="*/ 1552575 h 4496940"/>
                  <a:gd name="connsiteX36" fmla="*/ 4402477 w 4519987"/>
                  <a:gd name="connsiteY36" fmla="*/ 1590675 h 4496940"/>
                  <a:gd name="connsiteX37" fmla="*/ 4431052 w 4519987"/>
                  <a:gd name="connsiteY37" fmla="*/ 1685925 h 4496940"/>
                  <a:gd name="connsiteX38" fmla="*/ 4519952 w 4519987"/>
                  <a:gd name="connsiteY38" fmla="*/ 2181225 h 4496940"/>
                  <a:gd name="connsiteX39" fmla="*/ 4446927 w 4519987"/>
                  <a:gd name="connsiteY39" fmla="*/ 2768600 h 4496940"/>
                  <a:gd name="connsiteX40" fmla="*/ 4383427 w 4519987"/>
                  <a:gd name="connsiteY40" fmla="*/ 2990850 h 4496940"/>
                  <a:gd name="connsiteX41" fmla="*/ 4278652 w 4519987"/>
                  <a:gd name="connsiteY41" fmla="*/ 3248025 h 4496940"/>
                  <a:gd name="connsiteX42" fmla="*/ 4259602 w 4519987"/>
                  <a:gd name="connsiteY42" fmla="*/ 3276600 h 4496940"/>
                  <a:gd name="connsiteX43" fmla="*/ 4221502 w 4519987"/>
                  <a:gd name="connsiteY43" fmla="*/ 3333750 h 4496940"/>
                  <a:gd name="connsiteX44" fmla="*/ 4211977 w 4519987"/>
                  <a:gd name="connsiteY44" fmla="*/ 3362325 h 4496940"/>
                  <a:gd name="connsiteX45" fmla="*/ 4183402 w 4519987"/>
                  <a:gd name="connsiteY45" fmla="*/ 3400425 h 4496940"/>
                  <a:gd name="connsiteX46" fmla="*/ 4164352 w 4519987"/>
                  <a:gd name="connsiteY46" fmla="*/ 3429000 h 4496940"/>
                  <a:gd name="connsiteX47" fmla="*/ 4088152 w 4519987"/>
                  <a:gd name="connsiteY47" fmla="*/ 3495675 h 4496940"/>
                  <a:gd name="connsiteX48" fmla="*/ 4059577 w 4519987"/>
                  <a:gd name="connsiteY48" fmla="*/ 3533775 h 4496940"/>
                  <a:gd name="connsiteX49" fmla="*/ 4002427 w 4519987"/>
                  <a:gd name="connsiteY49" fmla="*/ 3600450 h 4496940"/>
                  <a:gd name="connsiteX50" fmla="*/ 3983377 w 4519987"/>
                  <a:gd name="connsiteY50" fmla="*/ 3629025 h 4496940"/>
                  <a:gd name="connsiteX51" fmla="*/ 3954802 w 4519987"/>
                  <a:gd name="connsiteY51" fmla="*/ 3648075 h 4496940"/>
                  <a:gd name="connsiteX52" fmla="*/ 3907177 w 4519987"/>
                  <a:gd name="connsiteY52" fmla="*/ 3686175 h 4496940"/>
                  <a:gd name="connsiteX53" fmla="*/ 3869077 w 4519987"/>
                  <a:gd name="connsiteY53" fmla="*/ 3724275 h 4496940"/>
                  <a:gd name="connsiteX54" fmla="*/ 3792877 w 4519987"/>
                  <a:gd name="connsiteY54" fmla="*/ 3781425 h 4496940"/>
                  <a:gd name="connsiteX55" fmla="*/ 3783352 w 4519987"/>
                  <a:gd name="connsiteY55" fmla="*/ 3810000 h 4496940"/>
                  <a:gd name="connsiteX56" fmla="*/ 3745252 w 4519987"/>
                  <a:gd name="connsiteY56" fmla="*/ 3819525 h 4496940"/>
                  <a:gd name="connsiteX57" fmla="*/ 3678577 w 4519987"/>
                  <a:gd name="connsiteY57" fmla="*/ 3848100 h 4496940"/>
                  <a:gd name="connsiteX58" fmla="*/ 3659527 w 4519987"/>
                  <a:gd name="connsiteY58" fmla="*/ 3971925 h 4496940"/>
                  <a:gd name="connsiteX59" fmla="*/ 3630952 w 4519987"/>
                  <a:gd name="connsiteY59" fmla="*/ 4010025 h 4496940"/>
                  <a:gd name="connsiteX60" fmla="*/ 3621427 w 4519987"/>
                  <a:gd name="connsiteY60" fmla="*/ 4038600 h 4496940"/>
                  <a:gd name="connsiteX61" fmla="*/ 3554752 w 4519987"/>
                  <a:gd name="connsiteY61" fmla="*/ 4095750 h 4496940"/>
                  <a:gd name="connsiteX62" fmla="*/ 3516652 w 4519987"/>
                  <a:gd name="connsiteY62" fmla="*/ 4114800 h 4496940"/>
                  <a:gd name="connsiteX63" fmla="*/ 3497602 w 4519987"/>
                  <a:gd name="connsiteY63" fmla="*/ 4143375 h 4496940"/>
                  <a:gd name="connsiteX64" fmla="*/ 3383302 w 4519987"/>
                  <a:gd name="connsiteY64" fmla="*/ 4210050 h 4496940"/>
                  <a:gd name="connsiteX65" fmla="*/ 3335677 w 4519987"/>
                  <a:gd name="connsiteY65" fmla="*/ 4238625 h 4496940"/>
                  <a:gd name="connsiteX66" fmla="*/ 3288052 w 4519987"/>
                  <a:gd name="connsiteY66" fmla="*/ 4248150 h 4496940"/>
                  <a:gd name="connsiteX67" fmla="*/ 3240427 w 4519987"/>
                  <a:gd name="connsiteY67" fmla="*/ 4267200 h 4496940"/>
                  <a:gd name="connsiteX68" fmla="*/ 3068977 w 4519987"/>
                  <a:gd name="connsiteY68" fmla="*/ 4286250 h 4496940"/>
                  <a:gd name="connsiteX69" fmla="*/ 2935627 w 4519987"/>
                  <a:gd name="connsiteY69" fmla="*/ 4333875 h 4496940"/>
                  <a:gd name="connsiteX70" fmla="*/ 2811802 w 4519987"/>
                  <a:gd name="connsiteY70" fmla="*/ 4371975 h 4496940"/>
                  <a:gd name="connsiteX71" fmla="*/ 2745127 w 4519987"/>
                  <a:gd name="connsiteY71" fmla="*/ 4410075 h 4496940"/>
                  <a:gd name="connsiteX72" fmla="*/ 2697502 w 4519987"/>
                  <a:gd name="connsiteY72" fmla="*/ 4429125 h 4496940"/>
                  <a:gd name="connsiteX73" fmla="*/ 2640352 w 4519987"/>
                  <a:gd name="connsiteY73" fmla="*/ 4457700 h 4496940"/>
                  <a:gd name="connsiteX74" fmla="*/ 2583202 w 4519987"/>
                  <a:gd name="connsiteY74" fmla="*/ 4467225 h 4496940"/>
                  <a:gd name="connsiteX75" fmla="*/ 2545102 w 4519987"/>
                  <a:gd name="connsiteY75" fmla="*/ 4486275 h 4496940"/>
                  <a:gd name="connsiteX76" fmla="*/ 2306977 w 4519987"/>
                  <a:gd name="connsiteY76" fmla="*/ 4476750 h 4496940"/>
                  <a:gd name="connsiteX77" fmla="*/ 2202202 w 4519987"/>
                  <a:gd name="connsiteY77" fmla="*/ 4457700 h 4496940"/>
                  <a:gd name="connsiteX78" fmla="*/ 2126002 w 4519987"/>
                  <a:gd name="connsiteY78" fmla="*/ 4429125 h 4496940"/>
                  <a:gd name="connsiteX79" fmla="*/ 1935502 w 4519987"/>
                  <a:gd name="connsiteY79" fmla="*/ 4400550 h 4496940"/>
                  <a:gd name="connsiteX80" fmla="*/ 1821202 w 4519987"/>
                  <a:gd name="connsiteY80" fmla="*/ 4371975 h 4496940"/>
                  <a:gd name="connsiteX81" fmla="*/ 1754527 w 4519987"/>
                  <a:gd name="connsiteY81" fmla="*/ 4352925 h 4496940"/>
                  <a:gd name="connsiteX82" fmla="*/ 1687852 w 4519987"/>
                  <a:gd name="connsiteY82" fmla="*/ 4343400 h 4496940"/>
                  <a:gd name="connsiteX83" fmla="*/ 1573552 w 4519987"/>
                  <a:gd name="connsiteY83" fmla="*/ 4305300 h 4496940"/>
                  <a:gd name="connsiteX84" fmla="*/ 1402102 w 4519987"/>
                  <a:gd name="connsiteY84" fmla="*/ 4276725 h 4496940"/>
                  <a:gd name="connsiteX85" fmla="*/ 1287802 w 4519987"/>
                  <a:gd name="connsiteY85" fmla="*/ 4229100 h 4496940"/>
                  <a:gd name="connsiteX86" fmla="*/ 1221127 w 4519987"/>
                  <a:gd name="connsiteY86" fmla="*/ 4200525 h 4496940"/>
                  <a:gd name="connsiteX87" fmla="*/ 1144927 w 4519987"/>
                  <a:gd name="connsiteY87" fmla="*/ 4171950 h 4496940"/>
                  <a:gd name="connsiteX88" fmla="*/ 1087777 w 4519987"/>
                  <a:gd name="connsiteY88" fmla="*/ 4143375 h 4496940"/>
                  <a:gd name="connsiteX89" fmla="*/ 1030627 w 4519987"/>
                  <a:gd name="connsiteY89" fmla="*/ 4124325 h 4496940"/>
                  <a:gd name="connsiteX90" fmla="*/ 925852 w 4519987"/>
                  <a:gd name="connsiteY90" fmla="*/ 4067175 h 4496940"/>
                  <a:gd name="connsiteX91" fmla="*/ 830602 w 4519987"/>
                  <a:gd name="connsiteY91" fmla="*/ 3981450 h 4496940"/>
                  <a:gd name="connsiteX92" fmla="*/ 763927 w 4519987"/>
                  <a:gd name="connsiteY92" fmla="*/ 3914775 h 4496940"/>
                  <a:gd name="connsiteX93" fmla="*/ 725827 w 4519987"/>
                  <a:gd name="connsiteY93" fmla="*/ 3876675 h 4496940"/>
                  <a:gd name="connsiteX94" fmla="*/ 697252 w 4519987"/>
                  <a:gd name="connsiteY94" fmla="*/ 3838575 h 4496940"/>
                  <a:gd name="connsiteX95" fmla="*/ 640102 w 4519987"/>
                  <a:gd name="connsiteY95" fmla="*/ 3781425 h 4496940"/>
                  <a:gd name="connsiteX96" fmla="*/ 611527 w 4519987"/>
                  <a:gd name="connsiteY96" fmla="*/ 3733800 h 4496940"/>
                  <a:gd name="connsiteX97" fmla="*/ 554377 w 4519987"/>
                  <a:gd name="connsiteY97" fmla="*/ 3657600 h 4496940"/>
                  <a:gd name="connsiteX98" fmla="*/ 525802 w 4519987"/>
                  <a:gd name="connsiteY98" fmla="*/ 3609975 h 4496940"/>
                  <a:gd name="connsiteX99" fmla="*/ 497227 w 4519987"/>
                  <a:gd name="connsiteY99" fmla="*/ 3552825 h 4496940"/>
                  <a:gd name="connsiteX100" fmla="*/ 440077 w 4519987"/>
                  <a:gd name="connsiteY100" fmla="*/ 3495675 h 4496940"/>
                  <a:gd name="connsiteX101" fmla="*/ 411502 w 4519987"/>
                  <a:gd name="connsiteY101" fmla="*/ 3448050 h 4496940"/>
                  <a:gd name="connsiteX102" fmla="*/ 278152 w 4519987"/>
                  <a:gd name="connsiteY102" fmla="*/ 3257550 h 4496940"/>
                  <a:gd name="connsiteX103" fmla="*/ 249577 w 4519987"/>
                  <a:gd name="connsiteY103" fmla="*/ 3200400 h 4496940"/>
                  <a:gd name="connsiteX104" fmla="*/ 240052 w 4519987"/>
                  <a:gd name="connsiteY104" fmla="*/ 3162300 h 4496940"/>
                  <a:gd name="connsiteX105" fmla="*/ 221002 w 4519987"/>
                  <a:gd name="connsiteY105" fmla="*/ 3105150 h 4496940"/>
                  <a:gd name="connsiteX106" fmla="*/ 173377 w 4519987"/>
                  <a:gd name="connsiteY106" fmla="*/ 3019425 h 4496940"/>
                  <a:gd name="connsiteX107" fmla="*/ 144802 w 4519987"/>
                  <a:gd name="connsiteY107" fmla="*/ 2924175 h 4496940"/>
                  <a:gd name="connsiteX108" fmla="*/ 68602 w 4519987"/>
                  <a:gd name="connsiteY108" fmla="*/ 2724150 h 4496940"/>
                  <a:gd name="connsiteX109" fmla="*/ 49552 w 4519987"/>
                  <a:gd name="connsiteY109" fmla="*/ 2638425 h 4496940"/>
                  <a:gd name="connsiteX110" fmla="*/ 40027 w 4519987"/>
                  <a:gd name="connsiteY110" fmla="*/ 2562225 h 4496940"/>
                  <a:gd name="connsiteX111" fmla="*/ 30502 w 4519987"/>
                  <a:gd name="connsiteY111" fmla="*/ 2514600 h 4496940"/>
                  <a:gd name="connsiteX112" fmla="*/ 11452 w 4519987"/>
                  <a:gd name="connsiteY112" fmla="*/ 2400300 h 4496940"/>
                  <a:gd name="connsiteX113" fmla="*/ 20977 w 4519987"/>
                  <a:gd name="connsiteY113" fmla="*/ 1905000 h 4496940"/>
                  <a:gd name="connsiteX114" fmla="*/ 30502 w 4519987"/>
                  <a:gd name="connsiteY114" fmla="*/ 1838325 h 4496940"/>
                  <a:gd name="connsiteX115" fmla="*/ 49552 w 4519987"/>
                  <a:gd name="connsiteY115" fmla="*/ 1781175 h 4496940"/>
                  <a:gd name="connsiteX116" fmla="*/ 59077 w 4519987"/>
                  <a:gd name="connsiteY116" fmla="*/ 1743075 h 4496940"/>
                  <a:gd name="connsiteX117" fmla="*/ 78127 w 4519987"/>
                  <a:gd name="connsiteY117" fmla="*/ 1685925 h 4496940"/>
                  <a:gd name="connsiteX118" fmla="*/ 87652 w 4519987"/>
                  <a:gd name="connsiteY118" fmla="*/ 1638300 h 4496940"/>
                  <a:gd name="connsiteX119" fmla="*/ 106702 w 4519987"/>
                  <a:gd name="connsiteY119" fmla="*/ 1590675 h 4496940"/>
                  <a:gd name="connsiteX120" fmla="*/ 135277 w 4519987"/>
                  <a:gd name="connsiteY120" fmla="*/ 1504950 h 4496940"/>
                  <a:gd name="connsiteX121" fmla="*/ 154327 w 4519987"/>
                  <a:gd name="connsiteY121" fmla="*/ 1419225 h 4496940"/>
                  <a:gd name="connsiteX122" fmla="*/ 230527 w 4519987"/>
                  <a:gd name="connsiteY122" fmla="*/ 1276350 h 4496940"/>
                  <a:gd name="connsiteX123" fmla="*/ 240052 w 4519987"/>
                  <a:gd name="connsiteY123" fmla="*/ 1247775 h 4496940"/>
                  <a:gd name="connsiteX124" fmla="*/ 268627 w 4519987"/>
                  <a:gd name="connsiteY124" fmla="*/ 1200150 h 4496940"/>
                  <a:gd name="connsiteX125" fmla="*/ 287677 w 4519987"/>
                  <a:gd name="connsiteY125" fmla="*/ 1152525 h 4496940"/>
                  <a:gd name="connsiteX126" fmla="*/ 316252 w 4519987"/>
                  <a:gd name="connsiteY126" fmla="*/ 1114425 h 4496940"/>
                  <a:gd name="connsiteX127" fmla="*/ 363877 w 4519987"/>
                  <a:gd name="connsiteY127" fmla="*/ 1038225 h 4496940"/>
                  <a:gd name="connsiteX128" fmla="*/ 382927 w 4519987"/>
                  <a:gd name="connsiteY128" fmla="*/ 1009650 h 4496940"/>
                  <a:gd name="connsiteX129" fmla="*/ 440077 w 4519987"/>
                  <a:gd name="connsiteY129" fmla="*/ 904875 h 4496940"/>
                  <a:gd name="connsiteX130" fmla="*/ 478177 w 4519987"/>
                  <a:gd name="connsiteY130" fmla="*/ 857250 h 4496940"/>
                  <a:gd name="connsiteX131" fmla="*/ 497227 w 4519987"/>
                  <a:gd name="connsiteY131" fmla="*/ 828675 h 4496940"/>
                  <a:gd name="connsiteX132" fmla="*/ 535327 w 4519987"/>
                  <a:gd name="connsiteY132" fmla="*/ 800100 h 4496940"/>
                  <a:gd name="connsiteX133" fmla="*/ 602002 w 4519987"/>
                  <a:gd name="connsiteY133" fmla="*/ 733425 h 4496940"/>
                  <a:gd name="connsiteX134" fmla="*/ 668677 w 4519987"/>
                  <a:gd name="connsiteY134" fmla="*/ 676275 h 4496940"/>
                  <a:gd name="connsiteX135" fmla="*/ 697252 w 4519987"/>
                  <a:gd name="connsiteY135" fmla="*/ 657225 h 4496940"/>
                  <a:gd name="connsiteX136" fmla="*/ 840127 w 4519987"/>
                  <a:gd name="connsiteY136" fmla="*/ 533400 h 4496940"/>
                  <a:gd name="connsiteX137" fmla="*/ 887752 w 4519987"/>
                  <a:gd name="connsiteY137" fmla="*/ 504825 h 4496940"/>
                  <a:gd name="connsiteX138" fmla="*/ 1167152 w 4519987"/>
                  <a:gd name="connsiteY138" fmla="*/ 311150 h 4496940"/>
                  <a:gd name="connsiteX139" fmla="*/ 1268752 w 4519987"/>
                  <a:gd name="connsiteY139" fmla="*/ 285750 h 4496940"/>
                  <a:gd name="connsiteX140" fmla="*/ 1411627 w 4519987"/>
                  <a:gd name="connsiteY140" fmla="*/ 190500 h 4496940"/>
                  <a:gd name="connsiteX141" fmla="*/ 1449727 w 4519987"/>
                  <a:gd name="connsiteY141" fmla="*/ 161925 h 4496940"/>
                  <a:gd name="connsiteX142" fmla="*/ 1525927 w 4519987"/>
                  <a:gd name="connsiteY142" fmla="*/ 152400 h 4496940"/>
                  <a:gd name="connsiteX143" fmla="*/ 1583077 w 4519987"/>
                  <a:gd name="connsiteY143" fmla="*/ 142875 h 4496940"/>
                  <a:gd name="connsiteX144" fmla="*/ 1716427 w 4519987"/>
                  <a:gd name="connsiteY144" fmla="*/ 123825 h 4496940"/>
                  <a:gd name="connsiteX145" fmla="*/ 1811677 w 4519987"/>
                  <a:gd name="connsiteY145" fmla="*/ 114300 h 4496940"/>
                  <a:gd name="connsiteX146" fmla="*/ 1859302 w 4519987"/>
                  <a:gd name="connsiteY146" fmla="*/ 104775 h 4496940"/>
                  <a:gd name="connsiteX147" fmla="*/ 1916452 w 4519987"/>
                  <a:gd name="connsiteY147" fmla="*/ 95250 h 4496940"/>
                  <a:gd name="connsiteX148" fmla="*/ 2030752 w 4519987"/>
                  <a:gd name="connsiteY148" fmla="*/ 66675 h 4496940"/>
                  <a:gd name="connsiteX149" fmla="*/ 2097427 w 4519987"/>
                  <a:gd name="connsiteY149" fmla="*/ 47625 h 4496940"/>
                  <a:gd name="connsiteX150" fmla="*/ 2164102 w 4519987"/>
                  <a:gd name="connsiteY150" fmla="*/ 38100 h 4496940"/>
                  <a:gd name="connsiteX151" fmla="*/ 2392702 w 4519987"/>
                  <a:gd name="connsiteY15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3907177 w 4519987"/>
                  <a:gd name="connsiteY21" fmla="*/ 647700 h 4496940"/>
                  <a:gd name="connsiteX22" fmla="*/ 3935752 w 4519987"/>
                  <a:gd name="connsiteY22" fmla="*/ 676275 h 4496940"/>
                  <a:gd name="connsiteX23" fmla="*/ 4078627 w 4519987"/>
                  <a:gd name="connsiteY23" fmla="*/ 838200 h 4496940"/>
                  <a:gd name="connsiteX24" fmla="*/ 4135777 w 4519987"/>
                  <a:gd name="connsiteY24" fmla="*/ 933450 h 4496940"/>
                  <a:gd name="connsiteX25" fmla="*/ 4164352 w 4519987"/>
                  <a:gd name="connsiteY25" fmla="*/ 990600 h 4496940"/>
                  <a:gd name="connsiteX26" fmla="*/ 4173877 w 4519987"/>
                  <a:gd name="connsiteY26" fmla="*/ 1019175 h 4496940"/>
                  <a:gd name="connsiteX27" fmla="*/ 4192927 w 4519987"/>
                  <a:gd name="connsiteY27" fmla="*/ 1057275 h 4496940"/>
                  <a:gd name="connsiteX28" fmla="*/ 4202452 w 4519987"/>
                  <a:gd name="connsiteY28" fmla="*/ 1085850 h 4496940"/>
                  <a:gd name="connsiteX29" fmla="*/ 4250077 w 4519987"/>
                  <a:gd name="connsiteY29" fmla="*/ 1143000 h 4496940"/>
                  <a:gd name="connsiteX30" fmla="*/ 4259602 w 4519987"/>
                  <a:gd name="connsiteY30" fmla="*/ 1190625 h 4496940"/>
                  <a:gd name="connsiteX31" fmla="*/ 4307227 w 4519987"/>
                  <a:gd name="connsiteY31" fmla="*/ 1266825 h 4496940"/>
                  <a:gd name="connsiteX32" fmla="*/ 4345327 w 4519987"/>
                  <a:gd name="connsiteY32" fmla="*/ 1362075 h 4496940"/>
                  <a:gd name="connsiteX33" fmla="*/ 4373902 w 4519987"/>
                  <a:gd name="connsiteY33" fmla="*/ 1428750 h 4496940"/>
                  <a:gd name="connsiteX34" fmla="*/ 4392952 w 4519987"/>
                  <a:gd name="connsiteY34" fmla="*/ 1552575 h 4496940"/>
                  <a:gd name="connsiteX35" fmla="*/ 4402477 w 4519987"/>
                  <a:gd name="connsiteY35" fmla="*/ 1590675 h 4496940"/>
                  <a:gd name="connsiteX36" fmla="*/ 4431052 w 4519987"/>
                  <a:gd name="connsiteY36" fmla="*/ 1685925 h 4496940"/>
                  <a:gd name="connsiteX37" fmla="*/ 4519952 w 4519987"/>
                  <a:gd name="connsiteY37" fmla="*/ 2181225 h 4496940"/>
                  <a:gd name="connsiteX38" fmla="*/ 4446927 w 4519987"/>
                  <a:gd name="connsiteY38" fmla="*/ 2768600 h 4496940"/>
                  <a:gd name="connsiteX39" fmla="*/ 4383427 w 4519987"/>
                  <a:gd name="connsiteY39" fmla="*/ 2990850 h 4496940"/>
                  <a:gd name="connsiteX40" fmla="*/ 4278652 w 4519987"/>
                  <a:gd name="connsiteY40" fmla="*/ 3248025 h 4496940"/>
                  <a:gd name="connsiteX41" fmla="*/ 4259602 w 4519987"/>
                  <a:gd name="connsiteY41" fmla="*/ 3276600 h 4496940"/>
                  <a:gd name="connsiteX42" fmla="*/ 4221502 w 4519987"/>
                  <a:gd name="connsiteY42" fmla="*/ 3333750 h 4496940"/>
                  <a:gd name="connsiteX43" fmla="*/ 4211977 w 4519987"/>
                  <a:gd name="connsiteY43" fmla="*/ 3362325 h 4496940"/>
                  <a:gd name="connsiteX44" fmla="*/ 4183402 w 4519987"/>
                  <a:gd name="connsiteY44" fmla="*/ 3400425 h 4496940"/>
                  <a:gd name="connsiteX45" fmla="*/ 4164352 w 4519987"/>
                  <a:gd name="connsiteY45" fmla="*/ 3429000 h 4496940"/>
                  <a:gd name="connsiteX46" fmla="*/ 4088152 w 4519987"/>
                  <a:gd name="connsiteY46" fmla="*/ 3495675 h 4496940"/>
                  <a:gd name="connsiteX47" fmla="*/ 4059577 w 4519987"/>
                  <a:gd name="connsiteY47" fmla="*/ 3533775 h 4496940"/>
                  <a:gd name="connsiteX48" fmla="*/ 4002427 w 4519987"/>
                  <a:gd name="connsiteY48" fmla="*/ 3600450 h 4496940"/>
                  <a:gd name="connsiteX49" fmla="*/ 3983377 w 4519987"/>
                  <a:gd name="connsiteY49" fmla="*/ 3629025 h 4496940"/>
                  <a:gd name="connsiteX50" fmla="*/ 3954802 w 4519987"/>
                  <a:gd name="connsiteY50" fmla="*/ 3648075 h 4496940"/>
                  <a:gd name="connsiteX51" fmla="*/ 3907177 w 4519987"/>
                  <a:gd name="connsiteY51" fmla="*/ 3686175 h 4496940"/>
                  <a:gd name="connsiteX52" fmla="*/ 3869077 w 4519987"/>
                  <a:gd name="connsiteY52" fmla="*/ 3724275 h 4496940"/>
                  <a:gd name="connsiteX53" fmla="*/ 3792877 w 4519987"/>
                  <a:gd name="connsiteY53" fmla="*/ 3781425 h 4496940"/>
                  <a:gd name="connsiteX54" fmla="*/ 3783352 w 4519987"/>
                  <a:gd name="connsiteY54" fmla="*/ 3810000 h 4496940"/>
                  <a:gd name="connsiteX55" fmla="*/ 3745252 w 4519987"/>
                  <a:gd name="connsiteY55" fmla="*/ 3819525 h 4496940"/>
                  <a:gd name="connsiteX56" fmla="*/ 3678577 w 4519987"/>
                  <a:gd name="connsiteY56" fmla="*/ 3848100 h 4496940"/>
                  <a:gd name="connsiteX57" fmla="*/ 3659527 w 4519987"/>
                  <a:gd name="connsiteY57" fmla="*/ 3971925 h 4496940"/>
                  <a:gd name="connsiteX58" fmla="*/ 3630952 w 4519987"/>
                  <a:gd name="connsiteY58" fmla="*/ 4010025 h 4496940"/>
                  <a:gd name="connsiteX59" fmla="*/ 3621427 w 4519987"/>
                  <a:gd name="connsiteY59" fmla="*/ 4038600 h 4496940"/>
                  <a:gd name="connsiteX60" fmla="*/ 3554752 w 4519987"/>
                  <a:gd name="connsiteY60" fmla="*/ 4095750 h 4496940"/>
                  <a:gd name="connsiteX61" fmla="*/ 3516652 w 4519987"/>
                  <a:gd name="connsiteY61" fmla="*/ 4114800 h 4496940"/>
                  <a:gd name="connsiteX62" fmla="*/ 3497602 w 4519987"/>
                  <a:gd name="connsiteY62" fmla="*/ 4143375 h 4496940"/>
                  <a:gd name="connsiteX63" fmla="*/ 3383302 w 4519987"/>
                  <a:gd name="connsiteY63" fmla="*/ 4210050 h 4496940"/>
                  <a:gd name="connsiteX64" fmla="*/ 3335677 w 4519987"/>
                  <a:gd name="connsiteY64" fmla="*/ 4238625 h 4496940"/>
                  <a:gd name="connsiteX65" fmla="*/ 3288052 w 4519987"/>
                  <a:gd name="connsiteY65" fmla="*/ 4248150 h 4496940"/>
                  <a:gd name="connsiteX66" fmla="*/ 3240427 w 4519987"/>
                  <a:gd name="connsiteY66" fmla="*/ 4267200 h 4496940"/>
                  <a:gd name="connsiteX67" fmla="*/ 3068977 w 4519987"/>
                  <a:gd name="connsiteY67" fmla="*/ 4286250 h 4496940"/>
                  <a:gd name="connsiteX68" fmla="*/ 2935627 w 4519987"/>
                  <a:gd name="connsiteY68" fmla="*/ 4333875 h 4496940"/>
                  <a:gd name="connsiteX69" fmla="*/ 2811802 w 4519987"/>
                  <a:gd name="connsiteY69" fmla="*/ 4371975 h 4496940"/>
                  <a:gd name="connsiteX70" fmla="*/ 2745127 w 4519987"/>
                  <a:gd name="connsiteY70" fmla="*/ 4410075 h 4496940"/>
                  <a:gd name="connsiteX71" fmla="*/ 2697502 w 4519987"/>
                  <a:gd name="connsiteY71" fmla="*/ 4429125 h 4496940"/>
                  <a:gd name="connsiteX72" fmla="*/ 2640352 w 4519987"/>
                  <a:gd name="connsiteY72" fmla="*/ 4457700 h 4496940"/>
                  <a:gd name="connsiteX73" fmla="*/ 2583202 w 4519987"/>
                  <a:gd name="connsiteY73" fmla="*/ 4467225 h 4496940"/>
                  <a:gd name="connsiteX74" fmla="*/ 2545102 w 4519987"/>
                  <a:gd name="connsiteY74" fmla="*/ 4486275 h 4496940"/>
                  <a:gd name="connsiteX75" fmla="*/ 2306977 w 4519987"/>
                  <a:gd name="connsiteY75" fmla="*/ 4476750 h 4496940"/>
                  <a:gd name="connsiteX76" fmla="*/ 2202202 w 4519987"/>
                  <a:gd name="connsiteY76" fmla="*/ 4457700 h 4496940"/>
                  <a:gd name="connsiteX77" fmla="*/ 2126002 w 4519987"/>
                  <a:gd name="connsiteY77" fmla="*/ 4429125 h 4496940"/>
                  <a:gd name="connsiteX78" fmla="*/ 1935502 w 4519987"/>
                  <a:gd name="connsiteY78" fmla="*/ 4400550 h 4496940"/>
                  <a:gd name="connsiteX79" fmla="*/ 1821202 w 4519987"/>
                  <a:gd name="connsiteY79" fmla="*/ 4371975 h 4496940"/>
                  <a:gd name="connsiteX80" fmla="*/ 1754527 w 4519987"/>
                  <a:gd name="connsiteY80" fmla="*/ 4352925 h 4496940"/>
                  <a:gd name="connsiteX81" fmla="*/ 1687852 w 4519987"/>
                  <a:gd name="connsiteY81" fmla="*/ 4343400 h 4496940"/>
                  <a:gd name="connsiteX82" fmla="*/ 1573552 w 4519987"/>
                  <a:gd name="connsiteY82" fmla="*/ 4305300 h 4496940"/>
                  <a:gd name="connsiteX83" fmla="*/ 1402102 w 4519987"/>
                  <a:gd name="connsiteY83" fmla="*/ 4276725 h 4496940"/>
                  <a:gd name="connsiteX84" fmla="*/ 1287802 w 4519987"/>
                  <a:gd name="connsiteY84" fmla="*/ 4229100 h 4496940"/>
                  <a:gd name="connsiteX85" fmla="*/ 1221127 w 4519987"/>
                  <a:gd name="connsiteY85" fmla="*/ 4200525 h 4496940"/>
                  <a:gd name="connsiteX86" fmla="*/ 1144927 w 4519987"/>
                  <a:gd name="connsiteY86" fmla="*/ 4171950 h 4496940"/>
                  <a:gd name="connsiteX87" fmla="*/ 1087777 w 4519987"/>
                  <a:gd name="connsiteY87" fmla="*/ 4143375 h 4496940"/>
                  <a:gd name="connsiteX88" fmla="*/ 1030627 w 4519987"/>
                  <a:gd name="connsiteY88" fmla="*/ 4124325 h 4496940"/>
                  <a:gd name="connsiteX89" fmla="*/ 925852 w 4519987"/>
                  <a:gd name="connsiteY89" fmla="*/ 4067175 h 4496940"/>
                  <a:gd name="connsiteX90" fmla="*/ 830602 w 4519987"/>
                  <a:gd name="connsiteY90" fmla="*/ 3981450 h 4496940"/>
                  <a:gd name="connsiteX91" fmla="*/ 763927 w 4519987"/>
                  <a:gd name="connsiteY91" fmla="*/ 3914775 h 4496940"/>
                  <a:gd name="connsiteX92" fmla="*/ 725827 w 4519987"/>
                  <a:gd name="connsiteY92" fmla="*/ 3876675 h 4496940"/>
                  <a:gd name="connsiteX93" fmla="*/ 697252 w 4519987"/>
                  <a:gd name="connsiteY93" fmla="*/ 3838575 h 4496940"/>
                  <a:gd name="connsiteX94" fmla="*/ 640102 w 4519987"/>
                  <a:gd name="connsiteY94" fmla="*/ 3781425 h 4496940"/>
                  <a:gd name="connsiteX95" fmla="*/ 611527 w 4519987"/>
                  <a:gd name="connsiteY95" fmla="*/ 3733800 h 4496940"/>
                  <a:gd name="connsiteX96" fmla="*/ 554377 w 4519987"/>
                  <a:gd name="connsiteY96" fmla="*/ 3657600 h 4496940"/>
                  <a:gd name="connsiteX97" fmla="*/ 525802 w 4519987"/>
                  <a:gd name="connsiteY97" fmla="*/ 3609975 h 4496940"/>
                  <a:gd name="connsiteX98" fmla="*/ 497227 w 4519987"/>
                  <a:gd name="connsiteY98" fmla="*/ 3552825 h 4496940"/>
                  <a:gd name="connsiteX99" fmla="*/ 440077 w 4519987"/>
                  <a:gd name="connsiteY99" fmla="*/ 3495675 h 4496940"/>
                  <a:gd name="connsiteX100" fmla="*/ 411502 w 4519987"/>
                  <a:gd name="connsiteY100" fmla="*/ 3448050 h 4496940"/>
                  <a:gd name="connsiteX101" fmla="*/ 278152 w 4519987"/>
                  <a:gd name="connsiteY101" fmla="*/ 3257550 h 4496940"/>
                  <a:gd name="connsiteX102" fmla="*/ 249577 w 4519987"/>
                  <a:gd name="connsiteY102" fmla="*/ 3200400 h 4496940"/>
                  <a:gd name="connsiteX103" fmla="*/ 240052 w 4519987"/>
                  <a:gd name="connsiteY103" fmla="*/ 3162300 h 4496940"/>
                  <a:gd name="connsiteX104" fmla="*/ 221002 w 4519987"/>
                  <a:gd name="connsiteY104" fmla="*/ 3105150 h 4496940"/>
                  <a:gd name="connsiteX105" fmla="*/ 173377 w 4519987"/>
                  <a:gd name="connsiteY105" fmla="*/ 3019425 h 4496940"/>
                  <a:gd name="connsiteX106" fmla="*/ 144802 w 4519987"/>
                  <a:gd name="connsiteY106" fmla="*/ 2924175 h 4496940"/>
                  <a:gd name="connsiteX107" fmla="*/ 68602 w 4519987"/>
                  <a:gd name="connsiteY107" fmla="*/ 2724150 h 4496940"/>
                  <a:gd name="connsiteX108" fmla="*/ 49552 w 4519987"/>
                  <a:gd name="connsiteY108" fmla="*/ 2638425 h 4496940"/>
                  <a:gd name="connsiteX109" fmla="*/ 40027 w 4519987"/>
                  <a:gd name="connsiteY109" fmla="*/ 2562225 h 4496940"/>
                  <a:gd name="connsiteX110" fmla="*/ 30502 w 4519987"/>
                  <a:gd name="connsiteY110" fmla="*/ 2514600 h 4496940"/>
                  <a:gd name="connsiteX111" fmla="*/ 11452 w 4519987"/>
                  <a:gd name="connsiteY111" fmla="*/ 2400300 h 4496940"/>
                  <a:gd name="connsiteX112" fmla="*/ 20977 w 4519987"/>
                  <a:gd name="connsiteY112" fmla="*/ 1905000 h 4496940"/>
                  <a:gd name="connsiteX113" fmla="*/ 30502 w 4519987"/>
                  <a:gd name="connsiteY113" fmla="*/ 1838325 h 4496940"/>
                  <a:gd name="connsiteX114" fmla="*/ 49552 w 4519987"/>
                  <a:gd name="connsiteY114" fmla="*/ 1781175 h 4496940"/>
                  <a:gd name="connsiteX115" fmla="*/ 59077 w 4519987"/>
                  <a:gd name="connsiteY115" fmla="*/ 1743075 h 4496940"/>
                  <a:gd name="connsiteX116" fmla="*/ 78127 w 4519987"/>
                  <a:gd name="connsiteY116" fmla="*/ 1685925 h 4496940"/>
                  <a:gd name="connsiteX117" fmla="*/ 87652 w 4519987"/>
                  <a:gd name="connsiteY117" fmla="*/ 1638300 h 4496940"/>
                  <a:gd name="connsiteX118" fmla="*/ 106702 w 4519987"/>
                  <a:gd name="connsiteY118" fmla="*/ 1590675 h 4496940"/>
                  <a:gd name="connsiteX119" fmla="*/ 135277 w 4519987"/>
                  <a:gd name="connsiteY119" fmla="*/ 1504950 h 4496940"/>
                  <a:gd name="connsiteX120" fmla="*/ 154327 w 4519987"/>
                  <a:gd name="connsiteY120" fmla="*/ 1419225 h 4496940"/>
                  <a:gd name="connsiteX121" fmla="*/ 230527 w 4519987"/>
                  <a:gd name="connsiteY121" fmla="*/ 1276350 h 4496940"/>
                  <a:gd name="connsiteX122" fmla="*/ 240052 w 4519987"/>
                  <a:gd name="connsiteY122" fmla="*/ 1247775 h 4496940"/>
                  <a:gd name="connsiteX123" fmla="*/ 268627 w 4519987"/>
                  <a:gd name="connsiteY123" fmla="*/ 1200150 h 4496940"/>
                  <a:gd name="connsiteX124" fmla="*/ 287677 w 4519987"/>
                  <a:gd name="connsiteY124" fmla="*/ 1152525 h 4496940"/>
                  <a:gd name="connsiteX125" fmla="*/ 316252 w 4519987"/>
                  <a:gd name="connsiteY125" fmla="*/ 1114425 h 4496940"/>
                  <a:gd name="connsiteX126" fmla="*/ 363877 w 4519987"/>
                  <a:gd name="connsiteY126" fmla="*/ 1038225 h 4496940"/>
                  <a:gd name="connsiteX127" fmla="*/ 382927 w 4519987"/>
                  <a:gd name="connsiteY127" fmla="*/ 1009650 h 4496940"/>
                  <a:gd name="connsiteX128" fmla="*/ 440077 w 4519987"/>
                  <a:gd name="connsiteY128" fmla="*/ 904875 h 4496940"/>
                  <a:gd name="connsiteX129" fmla="*/ 478177 w 4519987"/>
                  <a:gd name="connsiteY129" fmla="*/ 857250 h 4496940"/>
                  <a:gd name="connsiteX130" fmla="*/ 497227 w 4519987"/>
                  <a:gd name="connsiteY130" fmla="*/ 828675 h 4496940"/>
                  <a:gd name="connsiteX131" fmla="*/ 535327 w 4519987"/>
                  <a:gd name="connsiteY131" fmla="*/ 800100 h 4496940"/>
                  <a:gd name="connsiteX132" fmla="*/ 602002 w 4519987"/>
                  <a:gd name="connsiteY132" fmla="*/ 733425 h 4496940"/>
                  <a:gd name="connsiteX133" fmla="*/ 668677 w 4519987"/>
                  <a:gd name="connsiteY133" fmla="*/ 676275 h 4496940"/>
                  <a:gd name="connsiteX134" fmla="*/ 697252 w 4519987"/>
                  <a:gd name="connsiteY134" fmla="*/ 657225 h 4496940"/>
                  <a:gd name="connsiteX135" fmla="*/ 840127 w 4519987"/>
                  <a:gd name="connsiteY135" fmla="*/ 533400 h 4496940"/>
                  <a:gd name="connsiteX136" fmla="*/ 887752 w 4519987"/>
                  <a:gd name="connsiteY136" fmla="*/ 504825 h 4496940"/>
                  <a:gd name="connsiteX137" fmla="*/ 1167152 w 4519987"/>
                  <a:gd name="connsiteY137" fmla="*/ 311150 h 4496940"/>
                  <a:gd name="connsiteX138" fmla="*/ 1268752 w 4519987"/>
                  <a:gd name="connsiteY138" fmla="*/ 285750 h 4496940"/>
                  <a:gd name="connsiteX139" fmla="*/ 1411627 w 4519987"/>
                  <a:gd name="connsiteY139" fmla="*/ 190500 h 4496940"/>
                  <a:gd name="connsiteX140" fmla="*/ 1449727 w 4519987"/>
                  <a:gd name="connsiteY140" fmla="*/ 161925 h 4496940"/>
                  <a:gd name="connsiteX141" fmla="*/ 1525927 w 4519987"/>
                  <a:gd name="connsiteY141" fmla="*/ 152400 h 4496940"/>
                  <a:gd name="connsiteX142" fmla="*/ 1583077 w 4519987"/>
                  <a:gd name="connsiteY142" fmla="*/ 142875 h 4496940"/>
                  <a:gd name="connsiteX143" fmla="*/ 1716427 w 4519987"/>
                  <a:gd name="connsiteY143" fmla="*/ 123825 h 4496940"/>
                  <a:gd name="connsiteX144" fmla="*/ 1811677 w 4519987"/>
                  <a:gd name="connsiteY144" fmla="*/ 114300 h 4496940"/>
                  <a:gd name="connsiteX145" fmla="*/ 1859302 w 4519987"/>
                  <a:gd name="connsiteY145" fmla="*/ 104775 h 4496940"/>
                  <a:gd name="connsiteX146" fmla="*/ 1916452 w 4519987"/>
                  <a:gd name="connsiteY146" fmla="*/ 95250 h 4496940"/>
                  <a:gd name="connsiteX147" fmla="*/ 2030752 w 4519987"/>
                  <a:gd name="connsiteY147" fmla="*/ 66675 h 4496940"/>
                  <a:gd name="connsiteX148" fmla="*/ 2097427 w 4519987"/>
                  <a:gd name="connsiteY148" fmla="*/ 47625 h 4496940"/>
                  <a:gd name="connsiteX149" fmla="*/ 2164102 w 4519987"/>
                  <a:gd name="connsiteY149" fmla="*/ 38100 h 4496940"/>
                  <a:gd name="connsiteX150" fmla="*/ 2392702 w 4519987"/>
                  <a:gd name="connsiteY15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3907177 w 4519987"/>
                  <a:gd name="connsiteY21" fmla="*/ 647700 h 4496940"/>
                  <a:gd name="connsiteX22" fmla="*/ 4078627 w 4519987"/>
                  <a:gd name="connsiteY22" fmla="*/ 838200 h 4496940"/>
                  <a:gd name="connsiteX23" fmla="*/ 4135777 w 4519987"/>
                  <a:gd name="connsiteY23" fmla="*/ 933450 h 4496940"/>
                  <a:gd name="connsiteX24" fmla="*/ 4164352 w 4519987"/>
                  <a:gd name="connsiteY24" fmla="*/ 990600 h 4496940"/>
                  <a:gd name="connsiteX25" fmla="*/ 4173877 w 4519987"/>
                  <a:gd name="connsiteY25" fmla="*/ 1019175 h 4496940"/>
                  <a:gd name="connsiteX26" fmla="*/ 4192927 w 4519987"/>
                  <a:gd name="connsiteY26" fmla="*/ 1057275 h 4496940"/>
                  <a:gd name="connsiteX27" fmla="*/ 4202452 w 4519987"/>
                  <a:gd name="connsiteY27" fmla="*/ 1085850 h 4496940"/>
                  <a:gd name="connsiteX28" fmla="*/ 4250077 w 4519987"/>
                  <a:gd name="connsiteY28" fmla="*/ 1143000 h 4496940"/>
                  <a:gd name="connsiteX29" fmla="*/ 4259602 w 4519987"/>
                  <a:gd name="connsiteY29" fmla="*/ 1190625 h 4496940"/>
                  <a:gd name="connsiteX30" fmla="*/ 4307227 w 4519987"/>
                  <a:gd name="connsiteY30" fmla="*/ 1266825 h 4496940"/>
                  <a:gd name="connsiteX31" fmla="*/ 4345327 w 4519987"/>
                  <a:gd name="connsiteY31" fmla="*/ 1362075 h 4496940"/>
                  <a:gd name="connsiteX32" fmla="*/ 4373902 w 4519987"/>
                  <a:gd name="connsiteY32" fmla="*/ 1428750 h 4496940"/>
                  <a:gd name="connsiteX33" fmla="*/ 4392952 w 4519987"/>
                  <a:gd name="connsiteY33" fmla="*/ 1552575 h 4496940"/>
                  <a:gd name="connsiteX34" fmla="*/ 4402477 w 4519987"/>
                  <a:gd name="connsiteY34" fmla="*/ 1590675 h 4496940"/>
                  <a:gd name="connsiteX35" fmla="*/ 4431052 w 4519987"/>
                  <a:gd name="connsiteY35" fmla="*/ 1685925 h 4496940"/>
                  <a:gd name="connsiteX36" fmla="*/ 4519952 w 4519987"/>
                  <a:gd name="connsiteY36" fmla="*/ 2181225 h 4496940"/>
                  <a:gd name="connsiteX37" fmla="*/ 4446927 w 4519987"/>
                  <a:gd name="connsiteY37" fmla="*/ 2768600 h 4496940"/>
                  <a:gd name="connsiteX38" fmla="*/ 4383427 w 4519987"/>
                  <a:gd name="connsiteY38" fmla="*/ 2990850 h 4496940"/>
                  <a:gd name="connsiteX39" fmla="*/ 4278652 w 4519987"/>
                  <a:gd name="connsiteY39" fmla="*/ 3248025 h 4496940"/>
                  <a:gd name="connsiteX40" fmla="*/ 4259602 w 4519987"/>
                  <a:gd name="connsiteY40" fmla="*/ 3276600 h 4496940"/>
                  <a:gd name="connsiteX41" fmla="*/ 4221502 w 4519987"/>
                  <a:gd name="connsiteY41" fmla="*/ 3333750 h 4496940"/>
                  <a:gd name="connsiteX42" fmla="*/ 4211977 w 4519987"/>
                  <a:gd name="connsiteY42" fmla="*/ 3362325 h 4496940"/>
                  <a:gd name="connsiteX43" fmla="*/ 4183402 w 4519987"/>
                  <a:gd name="connsiteY43" fmla="*/ 3400425 h 4496940"/>
                  <a:gd name="connsiteX44" fmla="*/ 4164352 w 4519987"/>
                  <a:gd name="connsiteY44" fmla="*/ 3429000 h 4496940"/>
                  <a:gd name="connsiteX45" fmla="*/ 4088152 w 4519987"/>
                  <a:gd name="connsiteY45" fmla="*/ 3495675 h 4496940"/>
                  <a:gd name="connsiteX46" fmla="*/ 4059577 w 4519987"/>
                  <a:gd name="connsiteY46" fmla="*/ 3533775 h 4496940"/>
                  <a:gd name="connsiteX47" fmla="*/ 4002427 w 4519987"/>
                  <a:gd name="connsiteY47" fmla="*/ 3600450 h 4496940"/>
                  <a:gd name="connsiteX48" fmla="*/ 3983377 w 4519987"/>
                  <a:gd name="connsiteY48" fmla="*/ 3629025 h 4496940"/>
                  <a:gd name="connsiteX49" fmla="*/ 3954802 w 4519987"/>
                  <a:gd name="connsiteY49" fmla="*/ 3648075 h 4496940"/>
                  <a:gd name="connsiteX50" fmla="*/ 3907177 w 4519987"/>
                  <a:gd name="connsiteY50" fmla="*/ 3686175 h 4496940"/>
                  <a:gd name="connsiteX51" fmla="*/ 3869077 w 4519987"/>
                  <a:gd name="connsiteY51" fmla="*/ 3724275 h 4496940"/>
                  <a:gd name="connsiteX52" fmla="*/ 3792877 w 4519987"/>
                  <a:gd name="connsiteY52" fmla="*/ 3781425 h 4496940"/>
                  <a:gd name="connsiteX53" fmla="*/ 3783352 w 4519987"/>
                  <a:gd name="connsiteY53" fmla="*/ 3810000 h 4496940"/>
                  <a:gd name="connsiteX54" fmla="*/ 3745252 w 4519987"/>
                  <a:gd name="connsiteY54" fmla="*/ 3819525 h 4496940"/>
                  <a:gd name="connsiteX55" fmla="*/ 3678577 w 4519987"/>
                  <a:gd name="connsiteY55" fmla="*/ 3848100 h 4496940"/>
                  <a:gd name="connsiteX56" fmla="*/ 3659527 w 4519987"/>
                  <a:gd name="connsiteY56" fmla="*/ 3971925 h 4496940"/>
                  <a:gd name="connsiteX57" fmla="*/ 3630952 w 4519987"/>
                  <a:gd name="connsiteY57" fmla="*/ 4010025 h 4496940"/>
                  <a:gd name="connsiteX58" fmla="*/ 3621427 w 4519987"/>
                  <a:gd name="connsiteY58" fmla="*/ 4038600 h 4496940"/>
                  <a:gd name="connsiteX59" fmla="*/ 3554752 w 4519987"/>
                  <a:gd name="connsiteY59" fmla="*/ 4095750 h 4496940"/>
                  <a:gd name="connsiteX60" fmla="*/ 3516652 w 4519987"/>
                  <a:gd name="connsiteY60" fmla="*/ 4114800 h 4496940"/>
                  <a:gd name="connsiteX61" fmla="*/ 3497602 w 4519987"/>
                  <a:gd name="connsiteY61" fmla="*/ 4143375 h 4496940"/>
                  <a:gd name="connsiteX62" fmla="*/ 3383302 w 4519987"/>
                  <a:gd name="connsiteY62" fmla="*/ 4210050 h 4496940"/>
                  <a:gd name="connsiteX63" fmla="*/ 3335677 w 4519987"/>
                  <a:gd name="connsiteY63" fmla="*/ 4238625 h 4496940"/>
                  <a:gd name="connsiteX64" fmla="*/ 3288052 w 4519987"/>
                  <a:gd name="connsiteY64" fmla="*/ 4248150 h 4496940"/>
                  <a:gd name="connsiteX65" fmla="*/ 3240427 w 4519987"/>
                  <a:gd name="connsiteY65" fmla="*/ 4267200 h 4496940"/>
                  <a:gd name="connsiteX66" fmla="*/ 3068977 w 4519987"/>
                  <a:gd name="connsiteY66" fmla="*/ 4286250 h 4496940"/>
                  <a:gd name="connsiteX67" fmla="*/ 2935627 w 4519987"/>
                  <a:gd name="connsiteY67" fmla="*/ 4333875 h 4496940"/>
                  <a:gd name="connsiteX68" fmla="*/ 2811802 w 4519987"/>
                  <a:gd name="connsiteY68" fmla="*/ 4371975 h 4496940"/>
                  <a:gd name="connsiteX69" fmla="*/ 2745127 w 4519987"/>
                  <a:gd name="connsiteY69" fmla="*/ 4410075 h 4496940"/>
                  <a:gd name="connsiteX70" fmla="*/ 2697502 w 4519987"/>
                  <a:gd name="connsiteY70" fmla="*/ 4429125 h 4496940"/>
                  <a:gd name="connsiteX71" fmla="*/ 2640352 w 4519987"/>
                  <a:gd name="connsiteY71" fmla="*/ 4457700 h 4496940"/>
                  <a:gd name="connsiteX72" fmla="*/ 2583202 w 4519987"/>
                  <a:gd name="connsiteY72" fmla="*/ 4467225 h 4496940"/>
                  <a:gd name="connsiteX73" fmla="*/ 2545102 w 4519987"/>
                  <a:gd name="connsiteY73" fmla="*/ 4486275 h 4496940"/>
                  <a:gd name="connsiteX74" fmla="*/ 2306977 w 4519987"/>
                  <a:gd name="connsiteY74" fmla="*/ 4476750 h 4496940"/>
                  <a:gd name="connsiteX75" fmla="*/ 2202202 w 4519987"/>
                  <a:gd name="connsiteY75" fmla="*/ 4457700 h 4496940"/>
                  <a:gd name="connsiteX76" fmla="*/ 2126002 w 4519987"/>
                  <a:gd name="connsiteY76" fmla="*/ 4429125 h 4496940"/>
                  <a:gd name="connsiteX77" fmla="*/ 1935502 w 4519987"/>
                  <a:gd name="connsiteY77" fmla="*/ 4400550 h 4496940"/>
                  <a:gd name="connsiteX78" fmla="*/ 1821202 w 4519987"/>
                  <a:gd name="connsiteY78" fmla="*/ 4371975 h 4496940"/>
                  <a:gd name="connsiteX79" fmla="*/ 1754527 w 4519987"/>
                  <a:gd name="connsiteY79" fmla="*/ 4352925 h 4496940"/>
                  <a:gd name="connsiteX80" fmla="*/ 1687852 w 4519987"/>
                  <a:gd name="connsiteY80" fmla="*/ 4343400 h 4496940"/>
                  <a:gd name="connsiteX81" fmla="*/ 1573552 w 4519987"/>
                  <a:gd name="connsiteY81" fmla="*/ 4305300 h 4496940"/>
                  <a:gd name="connsiteX82" fmla="*/ 1402102 w 4519987"/>
                  <a:gd name="connsiteY82" fmla="*/ 4276725 h 4496940"/>
                  <a:gd name="connsiteX83" fmla="*/ 1287802 w 4519987"/>
                  <a:gd name="connsiteY83" fmla="*/ 4229100 h 4496940"/>
                  <a:gd name="connsiteX84" fmla="*/ 1221127 w 4519987"/>
                  <a:gd name="connsiteY84" fmla="*/ 4200525 h 4496940"/>
                  <a:gd name="connsiteX85" fmla="*/ 1144927 w 4519987"/>
                  <a:gd name="connsiteY85" fmla="*/ 4171950 h 4496940"/>
                  <a:gd name="connsiteX86" fmla="*/ 1087777 w 4519987"/>
                  <a:gd name="connsiteY86" fmla="*/ 4143375 h 4496940"/>
                  <a:gd name="connsiteX87" fmla="*/ 1030627 w 4519987"/>
                  <a:gd name="connsiteY87" fmla="*/ 4124325 h 4496940"/>
                  <a:gd name="connsiteX88" fmla="*/ 925852 w 4519987"/>
                  <a:gd name="connsiteY88" fmla="*/ 4067175 h 4496940"/>
                  <a:gd name="connsiteX89" fmla="*/ 830602 w 4519987"/>
                  <a:gd name="connsiteY89" fmla="*/ 3981450 h 4496940"/>
                  <a:gd name="connsiteX90" fmla="*/ 763927 w 4519987"/>
                  <a:gd name="connsiteY90" fmla="*/ 3914775 h 4496940"/>
                  <a:gd name="connsiteX91" fmla="*/ 725827 w 4519987"/>
                  <a:gd name="connsiteY91" fmla="*/ 3876675 h 4496940"/>
                  <a:gd name="connsiteX92" fmla="*/ 697252 w 4519987"/>
                  <a:gd name="connsiteY92" fmla="*/ 3838575 h 4496940"/>
                  <a:gd name="connsiteX93" fmla="*/ 640102 w 4519987"/>
                  <a:gd name="connsiteY93" fmla="*/ 3781425 h 4496940"/>
                  <a:gd name="connsiteX94" fmla="*/ 611527 w 4519987"/>
                  <a:gd name="connsiteY94" fmla="*/ 3733800 h 4496940"/>
                  <a:gd name="connsiteX95" fmla="*/ 554377 w 4519987"/>
                  <a:gd name="connsiteY95" fmla="*/ 3657600 h 4496940"/>
                  <a:gd name="connsiteX96" fmla="*/ 525802 w 4519987"/>
                  <a:gd name="connsiteY96" fmla="*/ 3609975 h 4496940"/>
                  <a:gd name="connsiteX97" fmla="*/ 497227 w 4519987"/>
                  <a:gd name="connsiteY97" fmla="*/ 3552825 h 4496940"/>
                  <a:gd name="connsiteX98" fmla="*/ 440077 w 4519987"/>
                  <a:gd name="connsiteY98" fmla="*/ 3495675 h 4496940"/>
                  <a:gd name="connsiteX99" fmla="*/ 411502 w 4519987"/>
                  <a:gd name="connsiteY99" fmla="*/ 3448050 h 4496940"/>
                  <a:gd name="connsiteX100" fmla="*/ 278152 w 4519987"/>
                  <a:gd name="connsiteY100" fmla="*/ 3257550 h 4496940"/>
                  <a:gd name="connsiteX101" fmla="*/ 249577 w 4519987"/>
                  <a:gd name="connsiteY101" fmla="*/ 3200400 h 4496940"/>
                  <a:gd name="connsiteX102" fmla="*/ 240052 w 4519987"/>
                  <a:gd name="connsiteY102" fmla="*/ 3162300 h 4496940"/>
                  <a:gd name="connsiteX103" fmla="*/ 221002 w 4519987"/>
                  <a:gd name="connsiteY103" fmla="*/ 3105150 h 4496940"/>
                  <a:gd name="connsiteX104" fmla="*/ 173377 w 4519987"/>
                  <a:gd name="connsiteY104" fmla="*/ 3019425 h 4496940"/>
                  <a:gd name="connsiteX105" fmla="*/ 144802 w 4519987"/>
                  <a:gd name="connsiteY105" fmla="*/ 2924175 h 4496940"/>
                  <a:gd name="connsiteX106" fmla="*/ 68602 w 4519987"/>
                  <a:gd name="connsiteY106" fmla="*/ 2724150 h 4496940"/>
                  <a:gd name="connsiteX107" fmla="*/ 49552 w 4519987"/>
                  <a:gd name="connsiteY107" fmla="*/ 2638425 h 4496940"/>
                  <a:gd name="connsiteX108" fmla="*/ 40027 w 4519987"/>
                  <a:gd name="connsiteY108" fmla="*/ 2562225 h 4496940"/>
                  <a:gd name="connsiteX109" fmla="*/ 30502 w 4519987"/>
                  <a:gd name="connsiteY109" fmla="*/ 2514600 h 4496940"/>
                  <a:gd name="connsiteX110" fmla="*/ 11452 w 4519987"/>
                  <a:gd name="connsiteY110" fmla="*/ 2400300 h 4496940"/>
                  <a:gd name="connsiteX111" fmla="*/ 20977 w 4519987"/>
                  <a:gd name="connsiteY111" fmla="*/ 1905000 h 4496940"/>
                  <a:gd name="connsiteX112" fmla="*/ 30502 w 4519987"/>
                  <a:gd name="connsiteY112" fmla="*/ 1838325 h 4496940"/>
                  <a:gd name="connsiteX113" fmla="*/ 49552 w 4519987"/>
                  <a:gd name="connsiteY113" fmla="*/ 1781175 h 4496940"/>
                  <a:gd name="connsiteX114" fmla="*/ 59077 w 4519987"/>
                  <a:gd name="connsiteY114" fmla="*/ 1743075 h 4496940"/>
                  <a:gd name="connsiteX115" fmla="*/ 78127 w 4519987"/>
                  <a:gd name="connsiteY115" fmla="*/ 1685925 h 4496940"/>
                  <a:gd name="connsiteX116" fmla="*/ 87652 w 4519987"/>
                  <a:gd name="connsiteY116" fmla="*/ 1638300 h 4496940"/>
                  <a:gd name="connsiteX117" fmla="*/ 106702 w 4519987"/>
                  <a:gd name="connsiteY117" fmla="*/ 1590675 h 4496940"/>
                  <a:gd name="connsiteX118" fmla="*/ 135277 w 4519987"/>
                  <a:gd name="connsiteY118" fmla="*/ 1504950 h 4496940"/>
                  <a:gd name="connsiteX119" fmla="*/ 154327 w 4519987"/>
                  <a:gd name="connsiteY119" fmla="*/ 1419225 h 4496940"/>
                  <a:gd name="connsiteX120" fmla="*/ 230527 w 4519987"/>
                  <a:gd name="connsiteY120" fmla="*/ 1276350 h 4496940"/>
                  <a:gd name="connsiteX121" fmla="*/ 240052 w 4519987"/>
                  <a:gd name="connsiteY121" fmla="*/ 1247775 h 4496940"/>
                  <a:gd name="connsiteX122" fmla="*/ 268627 w 4519987"/>
                  <a:gd name="connsiteY122" fmla="*/ 1200150 h 4496940"/>
                  <a:gd name="connsiteX123" fmla="*/ 287677 w 4519987"/>
                  <a:gd name="connsiteY123" fmla="*/ 1152525 h 4496940"/>
                  <a:gd name="connsiteX124" fmla="*/ 316252 w 4519987"/>
                  <a:gd name="connsiteY124" fmla="*/ 1114425 h 4496940"/>
                  <a:gd name="connsiteX125" fmla="*/ 363877 w 4519987"/>
                  <a:gd name="connsiteY125" fmla="*/ 1038225 h 4496940"/>
                  <a:gd name="connsiteX126" fmla="*/ 382927 w 4519987"/>
                  <a:gd name="connsiteY126" fmla="*/ 1009650 h 4496940"/>
                  <a:gd name="connsiteX127" fmla="*/ 440077 w 4519987"/>
                  <a:gd name="connsiteY127" fmla="*/ 904875 h 4496940"/>
                  <a:gd name="connsiteX128" fmla="*/ 478177 w 4519987"/>
                  <a:gd name="connsiteY128" fmla="*/ 857250 h 4496940"/>
                  <a:gd name="connsiteX129" fmla="*/ 497227 w 4519987"/>
                  <a:gd name="connsiteY129" fmla="*/ 828675 h 4496940"/>
                  <a:gd name="connsiteX130" fmla="*/ 535327 w 4519987"/>
                  <a:gd name="connsiteY130" fmla="*/ 800100 h 4496940"/>
                  <a:gd name="connsiteX131" fmla="*/ 602002 w 4519987"/>
                  <a:gd name="connsiteY131" fmla="*/ 733425 h 4496940"/>
                  <a:gd name="connsiteX132" fmla="*/ 668677 w 4519987"/>
                  <a:gd name="connsiteY132" fmla="*/ 676275 h 4496940"/>
                  <a:gd name="connsiteX133" fmla="*/ 697252 w 4519987"/>
                  <a:gd name="connsiteY133" fmla="*/ 657225 h 4496940"/>
                  <a:gd name="connsiteX134" fmla="*/ 840127 w 4519987"/>
                  <a:gd name="connsiteY134" fmla="*/ 533400 h 4496940"/>
                  <a:gd name="connsiteX135" fmla="*/ 887752 w 4519987"/>
                  <a:gd name="connsiteY135" fmla="*/ 504825 h 4496940"/>
                  <a:gd name="connsiteX136" fmla="*/ 1167152 w 4519987"/>
                  <a:gd name="connsiteY136" fmla="*/ 311150 h 4496940"/>
                  <a:gd name="connsiteX137" fmla="*/ 1268752 w 4519987"/>
                  <a:gd name="connsiteY137" fmla="*/ 285750 h 4496940"/>
                  <a:gd name="connsiteX138" fmla="*/ 1411627 w 4519987"/>
                  <a:gd name="connsiteY138" fmla="*/ 190500 h 4496940"/>
                  <a:gd name="connsiteX139" fmla="*/ 1449727 w 4519987"/>
                  <a:gd name="connsiteY139" fmla="*/ 161925 h 4496940"/>
                  <a:gd name="connsiteX140" fmla="*/ 1525927 w 4519987"/>
                  <a:gd name="connsiteY140" fmla="*/ 152400 h 4496940"/>
                  <a:gd name="connsiteX141" fmla="*/ 1583077 w 4519987"/>
                  <a:gd name="connsiteY141" fmla="*/ 142875 h 4496940"/>
                  <a:gd name="connsiteX142" fmla="*/ 1716427 w 4519987"/>
                  <a:gd name="connsiteY142" fmla="*/ 123825 h 4496940"/>
                  <a:gd name="connsiteX143" fmla="*/ 1811677 w 4519987"/>
                  <a:gd name="connsiteY143" fmla="*/ 114300 h 4496940"/>
                  <a:gd name="connsiteX144" fmla="*/ 1859302 w 4519987"/>
                  <a:gd name="connsiteY144" fmla="*/ 104775 h 4496940"/>
                  <a:gd name="connsiteX145" fmla="*/ 1916452 w 4519987"/>
                  <a:gd name="connsiteY145" fmla="*/ 95250 h 4496940"/>
                  <a:gd name="connsiteX146" fmla="*/ 2030752 w 4519987"/>
                  <a:gd name="connsiteY146" fmla="*/ 66675 h 4496940"/>
                  <a:gd name="connsiteX147" fmla="*/ 2097427 w 4519987"/>
                  <a:gd name="connsiteY147" fmla="*/ 47625 h 4496940"/>
                  <a:gd name="connsiteX148" fmla="*/ 2164102 w 4519987"/>
                  <a:gd name="connsiteY148" fmla="*/ 38100 h 4496940"/>
                  <a:gd name="connsiteX149" fmla="*/ 2392702 w 4519987"/>
                  <a:gd name="connsiteY14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78627 w 4519987"/>
                  <a:gd name="connsiteY21" fmla="*/ 838200 h 4496940"/>
                  <a:gd name="connsiteX22" fmla="*/ 4135777 w 4519987"/>
                  <a:gd name="connsiteY22" fmla="*/ 933450 h 4496940"/>
                  <a:gd name="connsiteX23" fmla="*/ 4164352 w 4519987"/>
                  <a:gd name="connsiteY23" fmla="*/ 990600 h 4496940"/>
                  <a:gd name="connsiteX24" fmla="*/ 4173877 w 4519987"/>
                  <a:gd name="connsiteY24" fmla="*/ 1019175 h 4496940"/>
                  <a:gd name="connsiteX25" fmla="*/ 4192927 w 4519987"/>
                  <a:gd name="connsiteY25" fmla="*/ 1057275 h 4496940"/>
                  <a:gd name="connsiteX26" fmla="*/ 4202452 w 4519987"/>
                  <a:gd name="connsiteY26" fmla="*/ 1085850 h 4496940"/>
                  <a:gd name="connsiteX27" fmla="*/ 4250077 w 4519987"/>
                  <a:gd name="connsiteY27" fmla="*/ 1143000 h 4496940"/>
                  <a:gd name="connsiteX28" fmla="*/ 4259602 w 4519987"/>
                  <a:gd name="connsiteY28" fmla="*/ 1190625 h 4496940"/>
                  <a:gd name="connsiteX29" fmla="*/ 4307227 w 4519987"/>
                  <a:gd name="connsiteY29" fmla="*/ 1266825 h 4496940"/>
                  <a:gd name="connsiteX30" fmla="*/ 4345327 w 4519987"/>
                  <a:gd name="connsiteY30" fmla="*/ 1362075 h 4496940"/>
                  <a:gd name="connsiteX31" fmla="*/ 4373902 w 4519987"/>
                  <a:gd name="connsiteY31" fmla="*/ 1428750 h 4496940"/>
                  <a:gd name="connsiteX32" fmla="*/ 4392952 w 4519987"/>
                  <a:gd name="connsiteY32" fmla="*/ 1552575 h 4496940"/>
                  <a:gd name="connsiteX33" fmla="*/ 4402477 w 4519987"/>
                  <a:gd name="connsiteY33" fmla="*/ 1590675 h 4496940"/>
                  <a:gd name="connsiteX34" fmla="*/ 4431052 w 4519987"/>
                  <a:gd name="connsiteY34" fmla="*/ 1685925 h 4496940"/>
                  <a:gd name="connsiteX35" fmla="*/ 4519952 w 4519987"/>
                  <a:gd name="connsiteY35" fmla="*/ 2181225 h 4496940"/>
                  <a:gd name="connsiteX36" fmla="*/ 4446927 w 4519987"/>
                  <a:gd name="connsiteY36" fmla="*/ 2768600 h 4496940"/>
                  <a:gd name="connsiteX37" fmla="*/ 4383427 w 4519987"/>
                  <a:gd name="connsiteY37" fmla="*/ 2990850 h 4496940"/>
                  <a:gd name="connsiteX38" fmla="*/ 4278652 w 4519987"/>
                  <a:gd name="connsiteY38" fmla="*/ 3248025 h 4496940"/>
                  <a:gd name="connsiteX39" fmla="*/ 4259602 w 4519987"/>
                  <a:gd name="connsiteY39" fmla="*/ 3276600 h 4496940"/>
                  <a:gd name="connsiteX40" fmla="*/ 4221502 w 4519987"/>
                  <a:gd name="connsiteY40" fmla="*/ 3333750 h 4496940"/>
                  <a:gd name="connsiteX41" fmla="*/ 4211977 w 4519987"/>
                  <a:gd name="connsiteY41" fmla="*/ 3362325 h 4496940"/>
                  <a:gd name="connsiteX42" fmla="*/ 4183402 w 4519987"/>
                  <a:gd name="connsiteY42" fmla="*/ 3400425 h 4496940"/>
                  <a:gd name="connsiteX43" fmla="*/ 4164352 w 4519987"/>
                  <a:gd name="connsiteY43" fmla="*/ 3429000 h 4496940"/>
                  <a:gd name="connsiteX44" fmla="*/ 4088152 w 4519987"/>
                  <a:gd name="connsiteY44" fmla="*/ 3495675 h 4496940"/>
                  <a:gd name="connsiteX45" fmla="*/ 4059577 w 4519987"/>
                  <a:gd name="connsiteY45" fmla="*/ 3533775 h 4496940"/>
                  <a:gd name="connsiteX46" fmla="*/ 4002427 w 4519987"/>
                  <a:gd name="connsiteY46" fmla="*/ 3600450 h 4496940"/>
                  <a:gd name="connsiteX47" fmla="*/ 3983377 w 4519987"/>
                  <a:gd name="connsiteY47" fmla="*/ 3629025 h 4496940"/>
                  <a:gd name="connsiteX48" fmla="*/ 3954802 w 4519987"/>
                  <a:gd name="connsiteY48" fmla="*/ 3648075 h 4496940"/>
                  <a:gd name="connsiteX49" fmla="*/ 3907177 w 4519987"/>
                  <a:gd name="connsiteY49" fmla="*/ 3686175 h 4496940"/>
                  <a:gd name="connsiteX50" fmla="*/ 3869077 w 4519987"/>
                  <a:gd name="connsiteY50" fmla="*/ 3724275 h 4496940"/>
                  <a:gd name="connsiteX51" fmla="*/ 3792877 w 4519987"/>
                  <a:gd name="connsiteY51" fmla="*/ 3781425 h 4496940"/>
                  <a:gd name="connsiteX52" fmla="*/ 3783352 w 4519987"/>
                  <a:gd name="connsiteY52" fmla="*/ 3810000 h 4496940"/>
                  <a:gd name="connsiteX53" fmla="*/ 3745252 w 4519987"/>
                  <a:gd name="connsiteY53" fmla="*/ 3819525 h 4496940"/>
                  <a:gd name="connsiteX54" fmla="*/ 3678577 w 4519987"/>
                  <a:gd name="connsiteY54" fmla="*/ 3848100 h 4496940"/>
                  <a:gd name="connsiteX55" fmla="*/ 3659527 w 4519987"/>
                  <a:gd name="connsiteY55" fmla="*/ 3971925 h 4496940"/>
                  <a:gd name="connsiteX56" fmla="*/ 3630952 w 4519987"/>
                  <a:gd name="connsiteY56" fmla="*/ 4010025 h 4496940"/>
                  <a:gd name="connsiteX57" fmla="*/ 3621427 w 4519987"/>
                  <a:gd name="connsiteY57" fmla="*/ 4038600 h 4496940"/>
                  <a:gd name="connsiteX58" fmla="*/ 3554752 w 4519987"/>
                  <a:gd name="connsiteY58" fmla="*/ 4095750 h 4496940"/>
                  <a:gd name="connsiteX59" fmla="*/ 3516652 w 4519987"/>
                  <a:gd name="connsiteY59" fmla="*/ 4114800 h 4496940"/>
                  <a:gd name="connsiteX60" fmla="*/ 3497602 w 4519987"/>
                  <a:gd name="connsiteY60" fmla="*/ 4143375 h 4496940"/>
                  <a:gd name="connsiteX61" fmla="*/ 3383302 w 4519987"/>
                  <a:gd name="connsiteY61" fmla="*/ 4210050 h 4496940"/>
                  <a:gd name="connsiteX62" fmla="*/ 3335677 w 4519987"/>
                  <a:gd name="connsiteY62" fmla="*/ 4238625 h 4496940"/>
                  <a:gd name="connsiteX63" fmla="*/ 3288052 w 4519987"/>
                  <a:gd name="connsiteY63" fmla="*/ 4248150 h 4496940"/>
                  <a:gd name="connsiteX64" fmla="*/ 3240427 w 4519987"/>
                  <a:gd name="connsiteY64" fmla="*/ 4267200 h 4496940"/>
                  <a:gd name="connsiteX65" fmla="*/ 3068977 w 4519987"/>
                  <a:gd name="connsiteY65" fmla="*/ 4286250 h 4496940"/>
                  <a:gd name="connsiteX66" fmla="*/ 2935627 w 4519987"/>
                  <a:gd name="connsiteY66" fmla="*/ 4333875 h 4496940"/>
                  <a:gd name="connsiteX67" fmla="*/ 2811802 w 4519987"/>
                  <a:gd name="connsiteY67" fmla="*/ 4371975 h 4496940"/>
                  <a:gd name="connsiteX68" fmla="*/ 2745127 w 4519987"/>
                  <a:gd name="connsiteY68" fmla="*/ 4410075 h 4496940"/>
                  <a:gd name="connsiteX69" fmla="*/ 2697502 w 4519987"/>
                  <a:gd name="connsiteY69" fmla="*/ 4429125 h 4496940"/>
                  <a:gd name="connsiteX70" fmla="*/ 2640352 w 4519987"/>
                  <a:gd name="connsiteY70" fmla="*/ 4457700 h 4496940"/>
                  <a:gd name="connsiteX71" fmla="*/ 2583202 w 4519987"/>
                  <a:gd name="connsiteY71" fmla="*/ 4467225 h 4496940"/>
                  <a:gd name="connsiteX72" fmla="*/ 2545102 w 4519987"/>
                  <a:gd name="connsiteY72" fmla="*/ 4486275 h 4496940"/>
                  <a:gd name="connsiteX73" fmla="*/ 2306977 w 4519987"/>
                  <a:gd name="connsiteY73" fmla="*/ 4476750 h 4496940"/>
                  <a:gd name="connsiteX74" fmla="*/ 2202202 w 4519987"/>
                  <a:gd name="connsiteY74" fmla="*/ 4457700 h 4496940"/>
                  <a:gd name="connsiteX75" fmla="*/ 2126002 w 4519987"/>
                  <a:gd name="connsiteY75" fmla="*/ 4429125 h 4496940"/>
                  <a:gd name="connsiteX76" fmla="*/ 1935502 w 4519987"/>
                  <a:gd name="connsiteY76" fmla="*/ 4400550 h 4496940"/>
                  <a:gd name="connsiteX77" fmla="*/ 1821202 w 4519987"/>
                  <a:gd name="connsiteY77" fmla="*/ 4371975 h 4496940"/>
                  <a:gd name="connsiteX78" fmla="*/ 1754527 w 4519987"/>
                  <a:gd name="connsiteY78" fmla="*/ 4352925 h 4496940"/>
                  <a:gd name="connsiteX79" fmla="*/ 1687852 w 4519987"/>
                  <a:gd name="connsiteY79" fmla="*/ 4343400 h 4496940"/>
                  <a:gd name="connsiteX80" fmla="*/ 1573552 w 4519987"/>
                  <a:gd name="connsiteY80" fmla="*/ 4305300 h 4496940"/>
                  <a:gd name="connsiteX81" fmla="*/ 1402102 w 4519987"/>
                  <a:gd name="connsiteY81" fmla="*/ 4276725 h 4496940"/>
                  <a:gd name="connsiteX82" fmla="*/ 1287802 w 4519987"/>
                  <a:gd name="connsiteY82" fmla="*/ 4229100 h 4496940"/>
                  <a:gd name="connsiteX83" fmla="*/ 1221127 w 4519987"/>
                  <a:gd name="connsiteY83" fmla="*/ 4200525 h 4496940"/>
                  <a:gd name="connsiteX84" fmla="*/ 1144927 w 4519987"/>
                  <a:gd name="connsiteY84" fmla="*/ 4171950 h 4496940"/>
                  <a:gd name="connsiteX85" fmla="*/ 1087777 w 4519987"/>
                  <a:gd name="connsiteY85" fmla="*/ 4143375 h 4496940"/>
                  <a:gd name="connsiteX86" fmla="*/ 1030627 w 4519987"/>
                  <a:gd name="connsiteY86" fmla="*/ 4124325 h 4496940"/>
                  <a:gd name="connsiteX87" fmla="*/ 925852 w 4519987"/>
                  <a:gd name="connsiteY87" fmla="*/ 4067175 h 4496940"/>
                  <a:gd name="connsiteX88" fmla="*/ 830602 w 4519987"/>
                  <a:gd name="connsiteY88" fmla="*/ 3981450 h 4496940"/>
                  <a:gd name="connsiteX89" fmla="*/ 763927 w 4519987"/>
                  <a:gd name="connsiteY89" fmla="*/ 3914775 h 4496940"/>
                  <a:gd name="connsiteX90" fmla="*/ 725827 w 4519987"/>
                  <a:gd name="connsiteY90" fmla="*/ 3876675 h 4496940"/>
                  <a:gd name="connsiteX91" fmla="*/ 697252 w 4519987"/>
                  <a:gd name="connsiteY91" fmla="*/ 3838575 h 4496940"/>
                  <a:gd name="connsiteX92" fmla="*/ 640102 w 4519987"/>
                  <a:gd name="connsiteY92" fmla="*/ 3781425 h 4496940"/>
                  <a:gd name="connsiteX93" fmla="*/ 611527 w 4519987"/>
                  <a:gd name="connsiteY93" fmla="*/ 3733800 h 4496940"/>
                  <a:gd name="connsiteX94" fmla="*/ 554377 w 4519987"/>
                  <a:gd name="connsiteY94" fmla="*/ 3657600 h 4496940"/>
                  <a:gd name="connsiteX95" fmla="*/ 525802 w 4519987"/>
                  <a:gd name="connsiteY95" fmla="*/ 3609975 h 4496940"/>
                  <a:gd name="connsiteX96" fmla="*/ 497227 w 4519987"/>
                  <a:gd name="connsiteY96" fmla="*/ 3552825 h 4496940"/>
                  <a:gd name="connsiteX97" fmla="*/ 440077 w 4519987"/>
                  <a:gd name="connsiteY97" fmla="*/ 3495675 h 4496940"/>
                  <a:gd name="connsiteX98" fmla="*/ 411502 w 4519987"/>
                  <a:gd name="connsiteY98" fmla="*/ 3448050 h 4496940"/>
                  <a:gd name="connsiteX99" fmla="*/ 278152 w 4519987"/>
                  <a:gd name="connsiteY99" fmla="*/ 3257550 h 4496940"/>
                  <a:gd name="connsiteX100" fmla="*/ 249577 w 4519987"/>
                  <a:gd name="connsiteY100" fmla="*/ 3200400 h 4496940"/>
                  <a:gd name="connsiteX101" fmla="*/ 240052 w 4519987"/>
                  <a:gd name="connsiteY101" fmla="*/ 3162300 h 4496940"/>
                  <a:gd name="connsiteX102" fmla="*/ 221002 w 4519987"/>
                  <a:gd name="connsiteY102" fmla="*/ 3105150 h 4496940"/>
                  <a:gd name="connsiteX103" fmla="*/ 173377 w 4519987"/>
                  <a:gd name="connsiteY103" fmla="*/ 3019425 h 4496940"/>
                  <a:gd name="connsiteX104" fmla="*/ 144802 w 4519987"/>
                  <a:gd name="connsiteY104" fmla="*/ 2924175 h 4496940"/>
                  <a:gd name="connsiteX105" fmla="*/ 68602 w 4519987"/>
                  <a:gd name="connsiteY105" fmla="*/ 2724150 h 4496940"/>
                  <a:gd name="connsiteX106" fmla="*/ 49552 w 4519987"/>
                  <a:gd name="connsiteY106" fmla="*/ 2638425 h 4496940"/>
                  <a:gd name="connsiteX107" fmla="*/ 40027 w 4519987"/>
                  <a:gd name="connsiteY107" fmla="*/ 2562225 h 4496940"/>
                  <a:gd name="connsiteX108" fmla="*/ 30502 w 4519987"/>
                  <a:gd name="connsiteY108" fmla="*/ 2514600 h 4496940"/>
                  <a:gd name="connsiteX109" fmla="*/ 11452 w 4519987"/>
                  <a:gd name="connsiteY109" fmla="*/ 2400300 h 4496940"/>
                  <a:gd name="connsiteX110" fmla="*/ 20977 w 4519987"/>
                  <a:gd name="connsiteY110" fmla="*/ 1905000 h 4496940"/>
                  <a:gd name="connsiteX111" fmla="*/ 30502 w 4519987"/>
                  <a:gd name="connsiteY111" fmla="*/ 1838325 h 4496940"/>
                  <a:gd name="connsiteX112" fmla="*/ 49552 w 4519987"/>
                  <a:gd name="connsiteY112" fmla="*/ 1781175 h 4496940"/>
                  <a:gd name="connsiteX113" fmla="*/ 59077 w 4519987"/>
                  <a:gd name="connsiteY113" fmla="*/ 1743075 h 4496940"/>
                  <a:gd name="connsiteX114" fmla="*/ 78127 w 4519987"/>
                  <a:gd name="connsiteY114" fmla="*/ 1685925 h 4496940"/>
                  <a:gd name="connsiteX115" fmla="*/ 87652 w 4519987"/>
                  <a:gd name="connsiteY115" fmla="*/ 1638300 h 4496940"/>
                  <a:gd name="connsiteX116" fmla="*/ 106702 w 4519987"/>
                  <a:gd name="connsiteY116" fmla="*/ 1590675 h 4496940"/>
                  <a:gd name="connsiteX117" fmla="*/ 135277 w 4519987"/>
                  <a:gd name="connsiteY117" fmla="*/ 1504950 h 4496940"/>
                  <a:gd name="connsiteX118" fmla="*/ 154327 w 4519987"/>
                  <a:gd name="connsiteY118" fmla="*/ 1419225 h 4496940"/>
                  <a:gd name="connsiteX119" fmla="*/ 230527 w 4519987"/>
                  <a:gd name="connsiteY119" fmla="*/ 1276350 h 4496940"/>
                  <a:gd name="connsiteX120" fmla="*/ 240052 w 4519987"/>
                  <a:gd name="connsiteY120" fmla="*/ 1247775 h 4496940"/>
                  <a:gd name="connsiteX121" fmla="*/ 268627 w 4519987"/>
                  <a:gd name="connsiteY121" fmla="*/ 1200150 h 4496940"/>
                  <a:gd name="connsiteX122" fmla="*/ 287677 w 4519987"/>
                  <a:gd name="connsiteY122" fmla="*/ 1152525 h 4496940"/>
                  <a:gd name="connsiteX123" fmla="*/ 316252 w 4519987"/>
                  <a:gd name="connsiteY123" fmla="*/ 1114425 h 4496940"/>
                  <a:gd name="connsiteX124" fmla="*/ 363877 w 4519987"/>
                  <a:gd name="connsiteY124" fmla="*/ 1038225 h 4496940"/>
                  <a:gd name="connsiteX125" fmla="*/ 382927 w 4519987"/>
                  <a:gd name="connsiteY125" fmla="*/ 1009650 h 4496940"/>
                  <a:gd name="connsiteX126" fmla="*/ 440077 w 4519987"/>
                  <a:gd name="connsiteY126" fmla="*/ 904875 h 4496940"/>
                  <a:gd name="connsiteX127" fmla="*/ 478177 w 4519987"/>
                  <a:gd name="connsiteY127" fmla="*/ 857250 h 4496940"/>
                  <a:gd name="connsiteX128" fmla="*/ 497227 w 4519987"/>
                  <a:gd name="connsiteY128" fmla="*/ 828675 h 4496940"/>
                  <a:gd name="connsiteX129" fmla="*/ 535327 w 4519987"/>
                  <a:gd name="connsiteY129" fmla="*/ 800100 h 4496940"/>
                  <a:gd name="connsiteX130" fmla="*/ 602002 w 4519987"/>
                  <a:gd name="connsiteY130" fmla="*/ 733425 h 4496940"/>
                  <a:gd name="connsiteX131" fmla="*/ 668677 w 4519987"/>
                  <a:gd name="connsiteY131" fmla="*/ 676275 h 4496940"/>
                  <a:gd name="connsiteX132" fmla="*/ 697252 w 4519987"/>
                  <a:gd name="connsiteY132" fmla="*/ 657225 h 4496940"/>
                  <a:gd name="connsiteX133" fmla="*/ 840127 w 4519987"/>
                  <a:gd name="connsiteY133" fmla="*/ 533400 h 4496940"/>
                  <a:gd name="connsiteX134" fmla="*/ 887752 w 4519987"/>
                  <a:gd name="connsiteY134" fmla="*/ 504825 h 4496940"/>
                  <a:gd name="connsiteX135" fmla="*/ 1167152 w 4519987"/>
                  <a:gd name="connsiteY135" fmla="*/ 311150 h 4496940"/>
                  <a:gd name="connsiteX136" fmla="*/ 1268752 w 4519987"/>
                  <a:gd name="connsiteY136" fmla="*/ 285750 h 4496940"/>
                  <a:gd name="connsiteX137" fmla="*/ 1411627 w 4519987"/>
                  <a:gd name="connsiteY137" fmla="*/ 190500 h 4496940"/>
                  <a:gd name="connsiteX138" fmla="*/ 1449727 w 4519987"/>
                  <a:gd name="connsiteY138" fmla="*/ 161925 h 4496940"/>
                  <a:gd name="connsiteX139" fmla="*/ 1525927 w 4519987"/>
                  <a:gd name="connsiteY139" fmla="*/ 152400 h 4496940"/>
                  <a:gd name="connsiteX140" fmla="*/ 1583077 w 4519987"/>
                  <a:gd name="connsiteY140" fmla="*/ 142875 h 4496940"/>
                  <a:gd name="connsiteX141" fmla="*/ 1716427 w 4519987"/>
                  <a:gd name="connsiteY141" fmla="*/ 123825 h 4496940"/>
                  <a:gd name="connsiteX142" fmla="*/ 1811677 w 4519987"/>
                  <a:gd name="connsiteY142" fmla="*/ 114300 h 4496940"/>
                  <a:gd name="connsiteX143" fmla="*/ 1859302 w 4519987"/>
                  <a:gd name="connsiteY143" fmla="*/ 104775 h 4496940"/>
                  <a:gd name="connsiteX144" fmla="*/ 1916452 w 4519987"/>
                  <a:gd name="connsiteY144" fmla="*/ 95250 h 4496940"/>
                  <a:gd name="connsiteX145" fmla="*/ 2030752 w 4519987"/>
                  <a:gd name="connsiteY145" fmla="*/ 66675 h 4496940"/>
                  <a:gd name="connsiteX146" fmla="*/ 2097427 w 4519987"/>
                  <a:gd name="connsiteY146" fmla="*/ 47625 h 4496940"/>
                  <a:gd name="connsiteX147" fmla="*/ 2164102 w 4519987"/>
                  <a:gd name="connsiteY147" fmla="*/ 38100 h 4496940"/>
                  <a:gd name="connsiteX148" fmla="*/ 2392702 w 4519987"/>
                  <a:gd name="connsiteY14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135777 w 4519987"/>
                  <a:gd name="connsiteY21" fmla="*/ 9334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192927 w 4519987"/>
                  <a:gd name="connsiteY24" fmla="*/ 1057275 h 4496940"/>
                  <a:gd name="connsiteX25" fmla="*/ 4202452 w 4519987"/>
                  <a:gd name="connsiteY25" fmla="*/ 1085850 h 4496940"/>
                  <a:gd name="connsiteX26" fmla="*/ 4250077 w 4519987"/>
                  <a:gd name="connsiteY26" fmla="*/ 1143000 h 4496940"/>
                  <a:gd name="connsiteX27" fmla="*/ 4259602 w 4519987"/>
                  <a:gd name="connsiteY27" fmla="*/ 1190625 h 4496940"/>
                  <a:gd name="connsiteX28" fmla="*/ 4307227 w 4519987"/>
                  <a:gd name="connsiteY28" fmla="*/ 1266825 h 4496940"/>
                  <a:gd name="connsiteX29" fmla="*/ 4345327 w 4519987"/>
                  <a:gd name="connsiteY29" fmla="*/ 1362075 h 4496940"/>
                  <a:gd name="connsiteX30" fmla="*/ 4373902 w 4519987"/>
                  <a:gd name="connsiteY30" fmla="*/ 1428750 h 4496940"/>
                  <a:gd name="connsiteX31" fmla="*/ 4392952 w 4519987"/>
                  <a:gd name="connsiteY31" fmla="*/ 1552575 h 4496940"/>
                  <a:gd name="connsiteX32" fmla="*/ 4402477 w 4519987"/>
                  <a:gd name="connsiteY32" fmla="*/ 1590675 h 4496940"/>
                  <a:gd name="connsiteX33" fmla="*/ 4431052 w 4519987"/>
                  <a:gd name="connsiteY33" fmla="*/ 1685925 h 4496940"/>
                  <a:gd name="connsiteX34" fmla="*/ 4519952 w 4519987"/>
                  <a:gd name="connsiteY34" fmla="*/ 2181225 h 4496940"/>
                  <a:gd name="connsiteX35" fmla="*/ 4446927 w 4519987"/>
                  <a:gd name="connsiteY35" fmla="*/ 2768600 h 4496940"/>
                  <a:gd name="connsiteX36" fmla="*/ 4383427 w 4519987"/>
                  <a:gd name="connsiteY36" fmla="*/ 2990850 h 4496940"/>
                  <a:gd name="connsiteX37" fmla="*/ 4278652 w 4519987"/>
                  <a:gd name="connsiteY37" fmla="*/ 3248025 h 4496940"/>
                  <a:gd name="connsiteX38" fmla="*/ 4259602 w 4519987"/>
                  <a:gd name="connsiteY38" fmla="*/ 3276600 h 4496940"/>
                  <a:gd name="connsiteX39" fmla="*/ 4221502 w 4519987"/>
                  <a:gd name="connsiteY39" fmla="*/ 3333750 h 4496940"/>
                  <a:gd name="connsiteX40" fmla="*/ 4211977 w 4519987"/>
                  <a:gd name="connsiteY40" fmla="*/ 3362325 h 4496940"/>
                  <a:gd name="connsiteX41" fmla="*/ 4183402 w 4519987"/>
                  <a:gd name="connsiteY41" fmla="*/ 3400425 h 4496940"/>
                  <a:gd name="connsiteX42" fmla="*/ 4164352 w 4519987"/>
                  <a:gd name="connsiteY42" fmla="*/ 3429000 h 4496940"/>
                  <a:gd name="connsiteX43" fmla="*/ 4088152 w 4519987"/>
                  <a:gd name="connsiteY43" fmla="*/ 3495675 h 4496940"/>
                  <a:gd name="connsiteX44" fmla="*/ 4059577 w 4519987"/>
                  <a:gd name="connsiteY44" fmla="*/ 3533775 h 4496940"/>
                  <a:gd name="connsiteX45" fmla="*/ 4002427 w 4519987"/>
                  <a:gd name="connsiteY45" fmla="*/ 3600450 h 4496940"/>
                  <a:gd name="connsiteX46" fmla="*/ 3983377 w 4519987"/>
                  <a:gd name="connsiteY46" fmla="*/ 3629025 h 4496940"/>
                  <a:gd name="connsiteX47" fmla="*/ 3954802 w 4519987"/>
                  <a:gd name="connsiteY47" fmla="*/ 3648075 h 4496940"/>
                  <a:gd name="connsiteX48" fmla="*/ 3907177 w 4519987"/>
                  <a:gd name="connsiteY48" fmla="*/ 3686175 h 4496940"/>
                  <a:gd name="connsiteX49" fmla="*/ 3869077 w 4519987"/>
                  <a:gd name="connsiteY49" fmla="*/ 3724275 h 4496940"/>
                  <a:gd name="connsiteX50" fmla="*/ 3792877 w 4519987"/>
                  <a:gd name="connsiteY50" fmla="*/ 3781425 h 4496940"/>
                  <a:gd name="connsiteX51" fmla="*/ 3783352 w 4519987"/>
                  <a:gd name="connsiteY51" fmla="*/ 3810000 h 4496940"/>
                  <a:gd name="connsiteX52" fmla="*/ 3745252 w 4519987"/>
                  <a:gd name="connsiteY52" fmla="*/ 3819525 h 4496940"/>
                  <a:gd name="connsiteX53" fmla="*/ 3678577 w 4519987"/>
                  <a:gd name="connsiteY53" fmla="*/ 3848100 h 4496940"/>
                  <a:gd name="connsiteX54" fmla="*/ 3659527 w 4519987"/>
                  <a:gd name="connsiteY54" fmla="*/ 3971925 h 4496940"/>
                  <a:gd name="connsiteX55" fmla="*/ 3630952 w 4519987"/>
                  <a:gd name="connsiteY55" fmla="*/ 4010025 h 4496940"/>
                  <a:gd name="connsiteX56" fmla="*/ 3621427 w 4519987"/>
                  <a:gd name="connsiteY56" fmla="*/ 4038600 h 4496940"/>
                  <a:gd name="connsiteX57" fmla="*/ 3554752 w 4519987"/>
                  <a:gd name="connsiteY57" fmla="*/ 4095750 h 4496940"/>
                  <a:gd name="connsiteX58" fmla="*/ 3516652 w 4519987"/>
                  <a:gd name="connsiteY58" fmla="*/ 4114800 h 4496940"/>
                  <a:gd name="connsiteX59" fmla="*/ 3497602 w 4519987"/>
                  <a:gd name="connsiteY59" fmla="*/ 4143375 h 4496940"/>
                  <a:gd name="connsiteX60" fmla="*/ 3383302 w 4519987"/>
                  <a:gd name="connsiteY60" fmla="*/ 4210050 h 4496940"/>
                  <a:gd name="connsiteX61" fmla="*/ 3335677 w 4519987"/>
                  <a:gd name="connsiteY61" fmla="*/ 4238625 h 4496940"/>
                  <a:gd name="connsiteX62" fmla="*/ 3288052 w 4519987"/>
                  <a:gd name="connsiteY62" fmla="*/ 4248150 h 4496940"/>
                  <a:gd name="connsiteX63" fmla="*/ 3240427 w 4519987"/>
                  <a:gd name="connsiteY63" fmla="*/ 4267200 h 4496940"/>
                  <a:gd name="connsiteX64" fmla="*/ 3068977 w 4519987"/>
                  <a:gd name="connsiteY64" fmla="*/ 4286250 h 4496940"/>
                  <a:gd name="connsiteX65" fmla="*/ 2935627 w 4519987"/>
                  <a:gd name="connsiteY65" fmla="*/ 4333875 h 4496940"/>
                  <a:gd name="connsiteX66" fmla="*/ 2811802 w 4519987"/>
                  <a:gd name="connsiteY66" fmla="*/ 4371975 h 4496940"/>
                  <a:gd name="connsiteX67" fmla="*/ 2745127 w 4519987"/>
                  <a:gd name="connsiteY67" fmla="*/ 4410075 h 4496940"/>
                  <a:gd name="connsiteX68" fmla="*/ 2697502 w 4519987"/>
                  <a:gd name="connsiteY68" fmla="*/ 4429125 h 4496940"/>
                  <a:gd name="connsiteX69" fmla="*/ 2640352 w 4519987"/>
                  <a:gd name="connsiteY69" fmla="*/ 4457700 h 4496940"/>
                  <a:gd name="connsiteX70" fmla="*/ 2583202 w 4519987"/>
                  <a:gd name="connsiteY70" fmla="*/ 4467225 h 4496940"/>
                  <a:gd name="connsiteX71" fmla="*/ 2545102 w 4519987"/>
                  <a:gd name="connsiteY71" fmla="*/ 4486275 h 4496940"/>
                  <a:gd name="connsiteX72" fmla="*/ 2306977 w 4519987"/>
                  <a:gd name="connsiteY72" fmla="*/ 4476750 h 4496940"/>
                  <a:gd name="connsiteX73" fmla="*/ 2202202 w 4519987"/>
                  <a:gd name="connsiteY73" fmla="*/ 4457700 h 4496940"/>
                  <a:gd name="connsiteX74" fmla="*/ 2126002 w 4519987"/>
                  <a:gd name="connsiteY74" fmla="*/ 4429125 h 4496940"/>
                  <a:gd name="connsiteX75" fmla="*/ 1935502 w 4519987"/>
                  <a:gd name="connsiteY75" fmla="*/ 4400550 h 4496940"/>
                  <a:gd name="connsiteX76" fmla="*/ 1821202 w 4519987"/>
                  <a:gd name="connsiteY76" fmla="*/ 4371975 h 4496940"/>
                  <a:gd name="connsiteX77" fmla="*/ 1754527 w 4519987"/>
                  <a:gd name="connsiteY77" fmla="*/ 4352925 h 4496940"/>
                  <a:gd name="connsiteX78" fmla="*/ 1687852 w 4519987"/>
                  <a:gd name="connsiteY78" fmla="*/ 4343400 h 4496940"/>
                  <a:gd name="connsiteX79" fmla="*/ 1573552 w 4519987"/>
                  <a:gd name="connsiteY79" fmla="*/ 4305300 h 4496940"/>
                  <a:gd name="connsiteX80" fmla="*/ 1402102 w 4519987"/>
                  <a:gd name="connsiteY80" fmla="*/ 4276725 h 4496940"/>
                  <a:gd name="connsiteX81" fmla="*/ 1287802 w 4519987"/>
                  <a:gd name="connsiteY81" fmla="*/ 4229100 h 4496940"/>
                  <a:gd name="connsiteX82" fmla="*/ 1221127 w 4519987"/>
                  <a:gd name="connsiteY82" fmla="*/ 4200525 h 4496940"/>
                  <a:gd name="connsiteX83" fmla="*/ 1144927 w 4519987"/>
                  <a:gd name="connsiteY83" fmla="*/ 4171950 h 4496940"/>
                  <a:gd name="connsiteX84" fmla="*/ 1087777 w 4519987"/>
                  <a:gd name="connsiteY84" fmla="*/ 4143375 h 4496940"/>
                  <a:gd name="connsiteX85" fmla="*/ 1030627 w 4519987"/>
                  <a:gd name="connsiteY85" fmla="*/ 4124325 h 4496940"/>
                  <a:gd name="connsiteX86" fmla="*/ 925852 w 4519987"/>
                  <a:gd name="connsiteY86" fmla="*/ 4067175 h 4496940"/>
                  <a:gd name="connsiteX87" fmla="*/ 830602 w 4519987"/>
                  <a:gd name="connsiteY87" fmla="*/ 3981450 h 4496940"/>
                  <a:gd name="connsiteX88" fmla="*/ 763927 w 4519987"/>
                  <a:gd name="connsiteY88" fmla="*/ 3914775 h 4496940"/>
                  <a:gd name="connsiteX89" fmla="*/ 725827 w 4519987"/>
                  <a:gd name="connsiteY89" fmla="*/ 3876675 h 4496940"/>
                  <a:gd name="connsiteX90" fmla="*/ 697252 w 4519987"/>
                  <a:gd name="connsiteY90" fmla="*/ 3838575 h 4496940"/>
                  <a:gd name="connsiteX91" fmla="*/ 640102 w 4519987"/>
                  <a:gd name="connsiteY91" fmla="*/ 3781425 h 4496940"/>
                  <a:gd name="connsiteX92" fmla="*/ 611527 w 4519987"/>
                  <a:gd name="connsiteY92" fmla="*/ 3733800 h 4496940"/>
                  <a:gd name="connsiteX93" fmla="*/ 554377 w 4519987"/>
                  <a:gd name="connsiteY93" fmla="*/ 3657600 h 4496940"/>
                  <a:gd name="connsiteX94" fmla="*/ 525802 w 4519987"/>
                  <a:gd name="connsiteY94" fmla="*/ 3609975 h 4496940"/>
                  <a:gd name="connsiteX95" fmla="*/ 497227 w 4519987"/>
                  <a:gd name="connsiteY95" fmla="*/ 3552825 h 4496940"/>
                  <a:gd name="connsiteX96" fmla="*/ 440077 w 4519987"/>
                  <a:gd name="connsiteY96" fmla="*/ 3495675 h 4496940"/>
                  <a:gd name="connsiteX97" fmla="*/ 411502 w 4519987"/>
                  <a:gd name="connsiteY97" fmla="*/ 3448050 h 4496940"/>
                  <a:gd name="connsiteX98" fmla="*/ 278152 w 4519987"/>
                  <a:gd name="connsiteY98" fmla="*/ 3257550 h 4496940"/>
                  <a:gd name="connsiteX99" fmla="*/ 249577 w 4519987"/>
                  <a:gd name="connsiteY99" fmla="*/ 3200400 h 4496940"/>
                  <a:gd name="connsiteX100" fmla="*/ 240052 w 4519987"/>
                  <a:gd name="connsiteY100" fmla="*/ 3162300 h 4496940"/>
                  <a:gd name="connsiteX101" fmla="*/ 221002 w 4519987"/>
                  <a:gd name="connsiteY101" fmla="*/ 3105150 h 4496940"/>
                  <a:gd name="connsiteX102" fmla="*/ 173377 w 4519987"/>
                  <a:gd name="connsiteY102" fmla="*/ 3019425 h 4496940"/>
                  <a:gd name="connsiteX103" fmla="*/ 144802 w 4519987"/>
                  <a:gd name="connsiteY103" fmla="*/ 2924175 h 4496940"/>
                  <a:gd name="connsiteX104" fmla="*/ 68602 w 4519987"/>
                  <a:gd name="connsiteY104" fmla="*/ 2724150 h 4496940"/>
                  <a:gd name="connsiteX105" fmla="*/ 49552 w 4519987"/>
                  <a:gd name="connsiteY105" fmla="*/ 2638425 h 4496940"/>
                  <a:gd name="connsiteX106" fmla="*/ 40027 w 4519987"/>
                  <a:gd name="connsiteY106" fmla="*/ 2562225 h 4496940"/>
                  <a:gd name="connsiteX107" fmla="*/ 30502 w 4519987"/>
                  <a:gd name="connsiteY107" fmla="*/ 2514600 h 4496940"/>
                  <a:gd name="connsiteX108" fmla="*/ 11452 w 4519987"/>
                  <a:gd name="connsiteY108" fmla="*/ 2400300 h 4496940"/>
                  <a:gd name="connsiteX109" fmla="*/ 20977 w 4519987"/>
                  <a:gd name="connsiteY109" fmla="*/ 1905000 h 4496940"/>
                  <a:gd name="connsiteX110" fmla="*/ 30502 w 4519987"/>
                  <a:gd name="connsiteY110" fmla="*/ 1838325 h 4496940"/>
                  <a:gd name="connsiteX111" fmla="*/ 49552 w 4519987"/>
                  <a:gd name="connsiteY111" fmla="*/ 1781175 h 4496940"/>
                  <a:gd name="connsiteX112" fmla="*/ 59077 w 4519987"/>
                  <a:gd name="connsiteY112" fmla="*/ 1743075 h 4496940"/>
                  <a:gd name="connsiteX113" fmla="*/ 78127 w 4519987"/>
                  <a:gd name="connsiteY113" fmla="*/ 1685925 h 4496940"/>
                  <a:gd name="connsiteX114" fmla="*/ 87652 w 4519987"/>
                  <a:gd name="connsiteY114" fmla="*/ 1638300 h 4496940"/>
                  <a:gd name="connsiteX115" fmla="*/ 106702 w 4519987"/>
                  <a:gd name="connsiteY115" fmla="*/ 1590675 h 4496940"/>
                  <a:gd name="connsiteX116" fmla="*/ 135277 w 4519987"/>
                  <a:gd name="connsiteY116" fmla="*/ 1504950 h 4496940"/>
                  <a:gd name="connsiteX117" fmla="*/ 154327 w 4519987"/>
                  <a:gd name="connsiteY117" fmla="*/ 1419225 h 4496940"/>
                  <a:gd name="connsiteX118" fmla="*/ 230527 w 4519987"/>
                  <a:gd name="connsiteY118" fmla="*/ 1276350 h 4496940"/>
                  <a:gd name="connsiteX119" fmla="*/ 240052 w 4519987"/>
                  <a:gd name="connsiteY119" fmla="*/ 1247775 h 4496940"/>
                  <a:gd name="connsiteX120" fmla="*/ 268627 w 4519987"/>
                  <a:gd name="connsiteY120" fmla="*/ 1200150 h 4496940"/>
                  <a:gd name="connsiteX121" fmla="*/ 287677 w 4519987"/>
                  <a:gd name="connsiteY121" fmla="*/ 1152525 h 4496940"/>
                  <a:gd name="connsiteX122" fmla="*/ 316252 w 4519987"/>
                  <a:gd name="connsiteY122" fmla="*/ 1114425 h 4496940"/>
                  <a:gd name="connsiteX123" fmla="*/ 363877 w 4519987"/>
                  <a:gd name="connsiteY123" fmla="*/ 1038225 h 4496940"/>
                  <a:gd name="connsiteX124" fmla="*/ 382927 w 4519987"/>
                  <a:gd name="connsiteY124" fmla="*/ 1009650 h 4496940"/>
                  <a:gd name="connsiteX125" fmla="*/ 440077 w 4519987"/>
                  <a:gd name="connsiteY125" fmla="*/ 904875 h 4496940"/>
                  <a:gd name="connsiteX126" fmla="*/ 478177 w 4519987"/>
                  <a:gd name="connsiteY126" fmla="*/ 857250 h 4496940"/>
                  <a:gd name="connsiteX127" fmla="*/ 497227 w 4519987"/>
                  <a:gd name="connsiteY127" fmla="*/ 828675 h 4496940"/>
                  <a:gd name="connsiteX128" fmla="*/ 535327 w 4519987"/>
                  <a:gd name="connsiteY128" fmla="*/ 800100 h 4496940"/>
                  <a:gd name="connsiteX129" fmla="*/ 602002 w 4519987"/>
                  <a:gd name="connsiteY129" fmla="*/ 733425 h 4496940"/>
                  <a:gd name="connsiteX130" fmla="*/ 668677 w 4519987"/>
                  <a:gd name="connsiteY130" fmla="*/ 676275 h 4496940"/>
                  <a:gd name="connsiteX131" fmla="*/ 697252 w 4519987"/>
                  <a:gd name="connsiteY131" fmla="*/ 657225 h 4496940"/>
                  <a:gd name="connsiteX132" fmla="*/ 840127 w 4519987"/>
                  <a:gd name="connsiteY132" fmla="*/ 533400 h 4496940"/>
                  <a:gd name="connsiteX133" fmla="*/ 887752 w 4519987"/>
                  <a:gd name="connsiteY133" fmla="*/ 504825 h 4496940"/>
                  <a:gd name="connsiteX134" fmla="*/ 1167152 w 4519987"/>
                  <a:gd name="connsiteY134" fmla="*/ 311150 h 4496940"/>
                  <a:gd name="connsiteX135" fmla="*/ 1268752 w 4519987"/>
                  <a:gd name="connsiteY135" fmla="*/ 285750 h 4496940"/>
                  <a:gd name="connsiteX136" fmla="*/ 1411627 w 4519987"/>
                  <a:gd name="connsiteY136" fmla="*/ 190500 h 4496940"/>
                  <a:gd name="connsiteX137" fmla="*/ 1449727 w 4519987"/>
                  <a:gd name="connsiteY137" fmla="*/ 161925 h 4496940"/>
                  <a:gd name="connsiteX138" fmla="*/ 1525927 w 4519987"/>
                  <a:gd name="connsiteY138" fmla="*/ 152400 h 4496940"/>
                  <a:gd name="connsiteX139" fmla="*/ 1583077 w 4519987"/>
                  <a:gd name="connsiteY139" fmla="*/ 142875 h 4496940"/>
                  <a:gd name="connsiteX140" fmla="*/ 1716427 w 4519987"/>
                  <a:gd name="connsiteY140" fmla="*/ 123825 h 4496940"/>
                  <a:gd name="connsiteX141" fmla="*/ 1811677 w 4519987"/>
                  <a:gd name="connsiteY141" fmla="*/ 114300 h 4496940"/>
                  <a:gd name="connsiteX142" fmla="*/ 1859302 w 4519987"/>
                  <a:gd name="connsiteY142" fmla="*/ 104775 h 4496940"/>
                  <a:gd name="connsiteX143" fmla="*/ 1916452 w 4519987"/>
                  <a:gd name="connsiteY143" fmla="*/ 95250 h 4496940"/>
                  <a:gd name="connsiteX144" fmla="*/ 2030752 w 4519987"/>
                  <a:gd name="connsiteY144" fmla="*/ 66675 h 4496940"/>
                  <a:gd name="connsiteX145" fmla="*/ 2097427 w 4519987"/>
                  <a:gd name="connsiteY145" fmla="*/ 47625 h 4496940"/>
                  <a:gd name="connsiteX146" fmla="*/ 2164102 w 4519987"/>
                  <a:gd name="connsiteY146" fmla="*/ 38100 h 4496940"/>
                  <a:gd name="connsiteX147" fmla="*/ 2392702 w 4519987"/>
                  <a:gd name="connsiteY14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192927 w 4519987"/>
                  <a:gd name="connsiteY24" fmla="*/ 1057275 h 4496940"/>
                  <a:gd name="connsiteX25" fmla="*/ 4202452 w 4519987"/>
                  <a:gd name="connsiteY25" fmla="*/ 1085850 h 4496940"/>
                  <a:gd name="connsiteX26" fmla="*/ 4250077 w 4519987"/>
                  <a:gd name="connsiteY26" fmla="*/ 1143000 h 4496940"/>
                  <a:gd name="connsiteX27" fmla="*/ 4259602 w 4519987"/>
                  <a:gd name="connsiteY27" fmla="*/ 1190625 h 4496940"/>
                  <a:gd name="connsiteX28" fmla="*/ 4307227 w 4519987"/>
                  <a:gd name="connsiteY28" fmla="*/ 1266825 h 4496940"/>
                  <a:gd name="connsiteX29" fmla="*/ 4345327 w 4519987"/>
                  <a:gd name="connsiteY29" fmla="*/ 1362075 h 4496940"/>
                  <a:gd name="connsiteX30" fmla="*/ 4373902 w 4519987"/>
                  <a:gd name="connsiteY30" fmla="*/ 1428750 h 4496940"/>
                  <a:gd name="connsiteX31" fmla="*/ 4392952 w 4519987"/>
                  <a:gd name="connsiteY31" fmla="*/ 1552575 h 4496940"/>
                  <a:gd name="connsiteX32" fmla="*/ 4402477 w 4519987"/>
                  <a:gd name="connsiteY32" fmla="*/ 1590675 h 4496940"/>
                  <a:gd name="connsiteX33" fmla="*/ 4431052 w 4519987"/>
                  <a:gd name="connsiteY33" fmla="*/ 1685925 h 4496940"/>
                  <a:gd name="connsiteX34" fmla="*/ 4519952 w 4519987"/>
                  <a:gd name="connsiteY34" fmla="*/ 2181225 h 4496940"/>
                  <a:gd name="connsiteX35" fmla="*/ 4446927 w 4519987"/>
                  <a:gd name="connsiteY35" fmla="*/ 2768600 h 4496940"/>
                  <a:gd name="connsiteX36" fmla="*/ 4383427 w 4519987"/>
                  <a:gd name="connsiteY36" fmla="*/ 2990850 h 4496940"/>
                  <a:gd name="connsiteX37" fmla="*/ 4278652 w 4519987"/>
                  <a:gd name="connsiteY37" fmla="*/ 3248025 h 4496940"/>
                  <a:gd name="connsiteX38" fmla="*/ 4259602 w 4519987"/>
                  <a:gd name="connsiteY38" fmla="*/ 3276600 h 4496940"/>
                  <a:gd name="connsiteX39" fmla="*/ 4221502 w 4519987"/>
                  <a:gd name="connsiteY39" fmla="*/ 3333750 h 4496940"/>
                  <a:gd name="connsiteX40" fmla="*/ 4211977 w 4519987"/>
                  <a:gd name="connsiteY40" fmla="*/ 3362325 h 4496940"/>
                  <a:gd name="connsiteX41" fmla="*/ 4183402 w 4519987"/>
                  <a:gd name="connsiteY41" fmla="*/ 3400425 h 4496940"/>
                  <a:gd name="connsiteX42" fmla="*/ 4164352 w 4519987"/>
                  <a:gd name="connsiteY42" fmla="*/ 3429000 h 4496940"/>
                  <a:gd name="connsiteX43" fmla="*/ 4088152 w 4519987"/>
                  <a:gd name="connsiteY43" fmla="*/ 3495675 h 4496940"/>
                  <a:gd name="connsiteX44" fmla="*/ 4059577 w 4519987"/>
                  <a:gd name="connsiteY44" fmla="*/ 3533775 h 4496940"/>
                  <a:gd name="connsiteX45" fmla="*/ 4002427 w 4519987"/>
                  <a:gd name="connsiteY45" fmla="*/ 3600450 h 4496940"/>
                  <a:gd name="connsiteX46" fmla="*/ 3983377 w 4519987"/>
                  <a:gd name="connsiteY46" fmla="*/ 3629025 h 4496940"/>
                  <a:gd name="connsiteX47" fmla="*/ 3954802 w 4519987"/>
                  <a:gd name="connsiteY47" fmla="*/ 3648075 h 4496940"/>
                  <a:gd name="connsiteX48" fmla="*/ 3907177 w 4519987"/>
                  <a:gd name="connsiteY48" fmla="*/ 3686175 h 4496940"/>
                  <a:gd name="connsiteX49" fmla="*/ 3869077 w 4519987"/>
                  <a:gd name="connsiteY49" fmla="*/ 3724275 h 4496940"/>
                  <a:gd name="connsiteX50" fmla="*/ 3792877 w 4519987"/>
                  <a:gd name="connsiteY50" fmla="*/ 3781425 h 4496940"/>
                  <a:gd name="connsiteX51" fmla="*/ 3783352 w 4519987"/>
                  <a:gd name="connsiteY51" fmla="*/ 3810000 h 4496940"/>
                  <a:gd name="connsiteX52" fmla="*/ 3745252 w 4519987"/>
                  <a:gd name="connsiteY52" fmla="*/ 3819525 h 4496940"/>
                  <a:gd name="connsiteX53" fmla="*/ 3678577 w 4519987"/>
                  <a:gd name="connsiteY53" fmla="*/ 3848100 h 4496940"/>
                  <a:gd name="connsiteX54" fmla="*/ 3659527 w 4519987"/>
                  <a:gd name="connsiteY54" fmla="*/ 3971925 h 4496940"/>
                  <a:gd name="connsiteX55" fmla="*/ 3630952 w 4519987"/>
                  <a:gd name="connsiteY55" fmla="*/ 4010025 h 4496940"/>
                  <a:gd name="connsiteX56" fmla="*/ 3621427 w 4519987"/>
                  <a:gd name="connsiteY56" fmla="*/ 4038600 h 4496940"/>
                  <a:gd name="connsiteX57" fmla="*/ 3554752 w 4519987"/>
                  <a:gd name="connsiteY57" fmla="*/ 4095750 h 4496940"/>
                  <a:gd name="connsiteX58" fmla="*/ 3516652 w 4519987"/>
                  <a:gd name="connsiteY58" fmla="*/ 4114800 h 4496940"/>
                  <a:gd name="connsiteX59" fmla="*/ 3497602 w 4519987"/>
                  <a:gd name="connsiteY59" fmla="*/ 4143375 h 4496940"/>
                  <a:gd name="connsiteX60" fmla="*/ 3383302 w 4519987"/>
                  <a:gd name="connsiteY60" fmla="*/ 4210050 h 4496940"/>
                  <a:gd name="connsiteX61" fmla="*/ 3335677 w 4519987"/>
                  <a:gd name="connsiteY61" fmla="*/ 4238625 h 4496940"/>
                  <a:gd name="connsiteX62" fmla="*/ 3288052 w 4519987"/>
                  <a:gd name="connsiteY62" fmla="*/ 4248150 h 4496940"/>
                  <a:gd name="connsiteX63" fmla="*/ 3240427 w 4519987"/>
                  <a:gd name="connsiteY63" fmla="*/ 4267200 h 4496940"/>
                  <a:gd name="connsiteX64" fmla="*/ 3068977 w 4519987"/>
                  <a:gd name="connsiteY64" fmla="*/ 4286250 h 4496940"/>
                  <a:gd name="connsiteX65" fmla="*/ 2935627 w 4519987"/>
                  <a:gd name="connsiteY65" fmla="*/ 4333875 h 4496940"/>
                  <a:gd name="connsiteX66" fmla="*/ 2811802 w 4519987"/>
                  <a:gd name="connsiteY66" fmla="*/ 4371975 h 4496940"/>
                  <a:gd name="connsiteX67" fmla="*/ 2745127 w 4519987"/>
                  <a:gd name="connsiteY67" fmla="*/ 4410075 h 4496940"/>
                  <a:gd name="connsiteX68" fmla="*/ 2697502 w 4519987"/>
                  <a:gd name="connsiteY68" fmla="*/ 4429125 h 4496940"/>
                  <a:gd name="connsiteX69" fmla="*/ 2640352 w 4519987"/>
                  <a:gd name="connsiteY69" fmla="*/ 4457700 h 4496940"/>
                  <a:gd name="connsiteX70" fmla="*/ 2583202 w 4519987"/>
                  <a:gd name="connsiteY70" fmla="*/ 4467225 h 4496940"/>
                  <a:gd name="connsiteX71" fmla="*/ 2545102 w 4519987"/>
                  <a:gd name="connsiteY71" fmla="*/ 4486275 h 4496940"/>
                  <a:gd name="connsiteX72" fmla="*/ 2306977 w 4519987"/>
                  <a:gd name="connsiteY72" fmla="*/ 4476750 h 4496940"/>
                  <a:gd name="connsiteX73" fmla="*/ 2202202 w 4519987"/>
                  <a:gd name="connsiteY73" fmla="*/ 4457700 h 4496940"/>
                  <a:gd name="connsiteX74" fmla="*/ 2126002 w 4519987"/>
                  <a:gd name="connsiteY74" fmla="*/ 4429125 h 4496940"/>
                  <a:gd name="connsiteX75" fmla="*/ 1935502 w 4519987"/>
                  <a:gd name="connsiteY75" fmla="*/ 4400550 h 4496940"/>
                  <a:gd name="connsiteX76" fmla="*/ 1821202 w 4519987"/>
                  <a:gd name="connsiteY76" fmla="*/ 4371975 h 4496940"/>
                  <a:gd name="connsiteX77" fmla="*/ 1754527 w 4519987"/>
                  <a:gd name="connsiteY77" fmla="*/ 4352925 h 4496940"/>
                  <a:gd name="connsiteX78" fmla="*/ 1687852 w 4519987"/>
                  <a:gd name="connsiteY78" fmla="*/ 4343400 h 4496940"/>
                  <a:gd name="connsiteX79" fmla="*/ 1573552 w 4519987"/>
                  <a:gd name="connsiteY79" fmla="*/ 4305300 h 4496940"/>
                  <a:gd name="connsiteX80" fmla="*/ 1402102 w 4519987"/>
                  <a:gd name="connsiteY80" fmla="*/ 4276725 h 4496940"/>
                  <a:gd name="connsiteX81" fmla="*/ 1287802 w 4519987"/>
                  <a:gd name="connsiteY81" fmla="*/ 4229100 h 4496940"/>
                  <a:gd name="connsiteX82" fmla="*/ 1221127 w 4519987"/>
                  <a:gd name="connsiteY82" fmla="*/ 4200525 h 4496940"/>
                  <a:gd name="connsiteX83" fmla="*/ 1144927 w 4519987"/>
                  <a:gd name="connsiteY83" fmla="*/ 4171950 h 4496940"/>
                  <a:gd name="connsiteX84" fmla="*/ 1087777 w 4519987"/>
                  <a:gd name="connsiteY84" fmla="*/ 4143375 h 4496940"/>
                  <a:gd name="connsiteX85" fmla="*/ 1030627 w 4519987"/>
                  <a:gd name="connsiteY85" fmla="*/ 4124325 h 4496940"/>
                  <a:gd name="connsiteX86" fmla="*/ 925852 w 4519987"/>
                  <a:gd name="connsiteY86" fmla="*/ 4067175 h 4496940"/>
                  <a:gd name="connsiteX87" fmla="*/ 830602 w 4519987"/>
                  <a:gd name="connsiteY87" fmla="*/ 3981450 h 4496940"/>
                  <a:gd name="connsiteX88" fmla="*/ 763927 w 4519987"/>
                  <a:gd name="connsiteY88" fmla="*/ 3914775 h 4496940"/>
                  <a:gd name="connsiteX89" fmla="*/ 725827 w 4519987"/>
                  <a:gd name="connsiteY89" fmla="*/ 3876675 h 4496940"/>
                  <a:gd name="connsiteX90" fmla="*/ 697252 w 4519987"/>
                  <a:gd name="connsiteY90" fmla="*/ 3838575 h 4496940"/>
                  <a:gd name="connsiteX91" fmla="*/ 640102 w 4519987"/>
                  <a:gd name="connsiteY91" fmla="*/ 3781425 h 4496940"/>
                  <a:gd name="connsiteX92" fmla="*/ 611527 w 4519987"/>
                  <a:gd name="connsiteY92" fmla="*/ 3733800 h 4496940"/>
                  <a:gd name="connsiteX93" fmla="*/ 554377 w 4519987"/>
                  <a:gd name="connsiteY93" fmla="*/ 3657600 h 4496940"/>
                  <a:gd name="connsiteX94" fmla="*/ 525802 w 4519987"/>
                  <a:gd name="connsiteY94" fmla="*/ 3609975 h 4496940"/>
                  <a:gd name="connsiteX95" fmla="*/ 497227 w 4519987"/>
                  <a:gd name="connsiteY95" fmla="*/ 3552825 h 4496940"/>
                  <a:gd name="connsiteX96" fmla="*/ 440077 w 4519987"/>
                  <a:gd name="connsiteY96" fmla="*/ 3495675 h 4496940"/>
                  <a:gd name="connsiteX97" fmla="*/ 411502 w 4519987"/>
                  <a:gd name="connsiteY97" fmla="*/ 3448050 h 4496940"/>
                  <a:gd name="connsiteX98" fmla="*/ 278152 w 4519987"/>
                  <a:gd name="connsiteY98" fmla="*/ 3257550 h 4496940"/>
                  <a:gd name="connsiteX99" fmla="*/ 249577 w 4519987"/>
                  <a:gd name="connsiteY99" fmla="*/ 3200400 h 4496940"/>
                  <a:gd name="connsiteX100" fmla="*/ 240052 w 4519987"/>
                  <a:gd name="connsiteY100" fmla="*/ 3162300 h 4496940"/>
                  <a:gd name="connsiteX101" fmla="*/ 221002 w 4519987"/>
                  <a:gd name="connsiteY101" fmla="*/ 3105150 h 4496940"/>
                  <a:gd name="connsiteX102" fmla="*/ 173377 w 4519987"/>
                  <a:gd name="connsiteY102" fmla="*/ 3019425 h 4496940"/>
                  <a:gd name="connsiteX103" fmla="*/ 144802 w 4519987"/>
                  <a:gd name="connsiteY103" fmla="*/ 2924175 h 4496940"/>
                  <a:gd name="connsiteX104" fmla="*/ 68602 w 4519987"/>
                  <a:gd name="connsiteY104" fmla="*/ 2724150 h 4496940"/>
                  <a:gd name="connsiteX105" fmla="*/ 49552 w 4519987"/>
                  <a:gd name="connsiteY105" fmla="*/ 2638425 h 4496940"/>
                  <a:gd name="connsiteX106" fmla="*/ 40027 w 4519987"/>
                  <a:gd name="connsiteY106" fmla="*/ 2562225 h 4496940"/>
                  <a:gd name="connsiteX107" fmla="*/ 30502 w 4519987"/>
                  <a:gd name="connsiteY107" fmla="*/ 2514600 h 4496940"/>
                  <a:gd name="connsiteX108" fmla="*/ 11452 w 4519987"/>
                  <a:gd name="connsiteY108" fmla="*/ 2400300 h 4496940"/>
                  <a:gd name="connsiteX109" fmla="*/ 20977 w 4519987"/>
                  <a:gd name="connsiteY109" fmla="*/ 1905000 h 4496940"/>
                  <a:gd name="connsiteX110" fmla="*/ 30502 w 4519987"/>
                  <a:gd name="connsiteY110" fmla="*/ 1838325 h 4496940"/>
                  <a:gd name="connsiteX111" fmla="*/ 49552 w 4519987"/>
                  <a:gd name="connsiteY111" fmla="*/ 1781175 h 4496940"/>
                  <a:gd name="connsiteX112" fmla="*/ 59077 w 4519987"/>
                  <a:gd name="connsiteY112" fmla="*/ 1743075 h 4496940"/>
                  <a:gd name="connsiteX113" fmla="*/ 78127 w 4519987"/>
                  <a:gd name="connsiteY113" fmla="*/ 1685925 h 4496940"/>
                  <a:gd name="connsiteX114" fmla="*/ 87652 w 4519987"/>
                  <a:gd name="connsiteY114" fmla="*/ 1638300 h 4496940"/>
                  <a:gd name="connsiteX115" fmla="*/ 106702 w 4519987"/>
                  <a:gd name="connsiteY115" fmla="*/ 1590675 h 4496940"/>
                  <a:gd name="connsiteX116" fmla="*/ 135277 w 4519987"/>
                  <a:gd name="connsiteY116" fmla="*/ 1504950 h 4496940"/>
                  <a:gd name="connsiteX117" fmla="*/ 154327 w 4519987"/>
                  <a:gd name="connsiteY117" fmla="*/ 1419225 h 4496940"/>
                  <a:gd name="connsiteX118" fmla="*/ 230527 w 4519987"/>
                  <a:gd name="connsiteY118" fmla="*/ 1276350 h 4496940"/>
                  <a:gd name="connsiteX119" fmla="*/ 240052 w 4519987"/>
                  <a:gd name="connsiteY119" fmla="*/ 1247775 h 4496940"/>
                  <a:gd name="connsiteX120" fmla="*/ 268627 w 4519987"/>
                  <a:gd name="connsiteY120" fmla="*/ 1200150 h 4496940"/>
                  <a:gd name="connsiteX121" fmla="*/ 287677 w 4519987"/>
                  <a:gd name="connsiteY121" fmla="*/ 1152525 h 4496940"/>
                  <a:gd name="connsiteX122" fmla="*/ 316252 w 4519987"/>
                  <a:gd name="connsiteY122" fmla="*/ 1114425 h 4496940"/>
                  <a:gd name="connsiteX123" fmla="*/ 363877 w 4519987"/>
                  <a:gd name="connsiteY123" fmla="*/ 1038225 h 4496940"/>
                  <a:gd name="connsiteX124" fmla="*/ 382927 w 4519987"/>
                  <a:gd name="connsiteY124" fmla="*/ 1009650 h 4496940"/>
                  <a:gd name="connsiteX125" fmla="*/ 440077 w 4519987"/>
                  <a:gd name="connsiteY125" fmla="*/ 904875 h 4496940"/>
                  <a:gd name="connsiteX126" fmla="*/ 478177 w 4519987"/>
                  <a:gd name="connsiteY126" fmla="*/ 857250 h 4496940"/>
                  <a:gd name="connsiteX127" fmla="*/ 497227 w 4519987"/>
                  <a:gd name="connsiteY127" fmla="*/ 828675 h 4496940"/>
                  <a:gd name="connsiteX128" fmla="*/ 535327 w 4519987"/>
                  <a:gd name="connsiteY128" fmla="*/ 800100 h 4496940"/>
                  <a:gd name="connsiteX129" fmla="*/ 602002 w 4519987"/>
                  <a:gd name="connsiteY129" fmla="*/ 733425 h 4496940"/>
                  <a:gd name="connsiteX130" fmla="*/ 668677 w 4519987"/>
                  <a:gd name="connsiteY130" fmla="*/ 676275 h 4496940"/>
                  <a:gd name="connsiteX131" fmla="*/ 697252 w 4519987"/>
                  <a:gd name="connsiteY131" fmla="*/ 657225 h 4496940"/>
                  <a:gd name="connsiteX132" fmla="*/ 840127 w 4519987"/>
                  <a:gd name="connsiteY132" fmla="*/ 533400 h 4496940"/>
                  <a:gd name="connsiteX133" fmla="*/ 887752 w 4519987"/>
                  <a:gd name="connsiteY133" fmla="*/ 504825 h 4496940"/>
                  <a:gd name="connsiteX134" fmla="*/ 1167152 w 4519987"/>
                  <a:gd name="connsiteY134" fmla="*/ 311150 h 4496940"/>
                  <a:gd name="connsiteX135" fmla="*/ 1268752 w 4519987"/>
                  <a:gd name="connsiteY135" fmla="*/ 285750 h 4496940"/>
                  <a:gd name="connsiteX136" fmla="*/ 1411627 w 4519987"/>
                  <a:gd name="connsiteY136" fmla="*/ 190500 h 4496940"/>
                  <a:gd name="connsiteX137" fmla="*/ 1449727 w 4519987"/>
                  <a:gd name="connsiteY137" fmla="*/ 161925 h 4496940"/>
                  <a:gd name="connsiteX138" fmla="*/ 1525927 w 4519987"/>
                  <a:gd name="connsiteY138" fmla="*/ 152400 h 4496940"/>
                  <a:gd name="connsiteX139" fmla="*/ 1583077 w 4519987"/>
                  <a:gd name="connsiteY139" fmla="*/ 142875 h 4496940"/>
                  <a:gd name="connsiteX140" fmla="*/ 1716427 w 4519987"/>
                  <a:gd name="connsiteY140" fmla="*/ 123825 h 4496940"/>
                  <a:gd name="connsiteX141" fmla="*/ 1811677 w 4519987"/>
                  <a:gd name="connsiteY141" fmla="*/ 114300 h 4496940"/>
                  <a:gd name="connsiteX142" fmla="*/ 1859302 w 4519987"/>
                  <a:gd name="connsiteY142" fmla="*/ 104775 h 4496940"/>
                  <a:gd name="connsiteX143" fmla="*/ 1916452 w 4519987"/>
                  <a:gd name="connsiteY143" fmla="*/ 95250 h 4496940"/>
                  <a:gd name="connsiteX144" fmla="*/ 2030752 w 4519987"/>
                  <a:gd name="connsiteY144" fmla="*/ 66675 h 4496940"/>
                  <a:gd name="connsiteX145" fmla="*/ 2097427 w 4519987"/>
                  <a:gd name="connsiteY145" fmla="*/ 47625 h 4496940"/>
                  <a:gd name="connsiteX146" fmla="*/ 2164102 w 4519987"/>
                  <a:gd name="connsiteY146" fmla="*/ 38100 h 4496940"/>
                  <a:gd name="connsiteX147" fmla="*/ 2392702 w 4519987"/>
                  <a:gd name="connsiteY14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202452 w 4519987"/>
                  <a:gd name="connsiteY24" fmla="*/ 1085850 h 4496940"/>
                  <a:gd name="connsiteX25" fmla="*/ 4250077 w 4519987"/>
                  <a:gd name="connsiteY25" fmla="*/ 1143000 h 4496940"/>
                  <a:gd name="connsiteX26" fmla="*/ 4259602 w 4519987"/>
                  <a:gd name="connsiteY26" fmla="*/ 1190625 h 4496940"/>
                  <a:gd name="connsiteX27" fmla="*/ 4307227 w 4519987"/>
                  <a:gd name="connsiteY27" fmla="*/ 1266825 h 4496940"/>
                  <a:gd name="connsiteX28" fmla="*/ 4345327 w 4519987"/>
                  <a:gd name="connsiteY28" fmla="*/ 1362075 h 4496940"/>
                  <a:gd name="connsiteX29" fmla="*/ 4373902 w 4519987"/>
                  <a:gd name="connsiteY29" fmla="*/ 1428750 h 4496940"/>
                  <a:gd name="connsiteX30" fmla="*/ 4392952 w 4519987"/>
                  <a:gd name="connsiteY30" fmla="*/ 1552575 h 4496940"/>
                  <a:gd name="connsiteX31" fmla="*/ 4402477 w 4519987"/>
                  <a:gd name="connsiteY31" fmla="*/ 1590675 h 4496940"/>
                  <a:gd name="connsiteX32" fmla="*/ 4431052 w 4519987"/>
                  <a:gd name="connsiteY32" fmla="*/ 1685925 h 4496940"/>
                  <a:gd name="connsiteX33" fmla="*/ 4519952 w 4519987"/>
                  <a:gd name="connsiteY33" fmla="*/ 2181225 h 4496940"/>
                  <a:gd name="connsiteX34" fmla="*/ 4446927 w 4519987"/>
                  <a:gd name="connsiteY34" fmla="*/ 2768600 h 4496940"/>
                  <a:gd name="connsiteX35" fmla="*/ 4383427 w 4519987"/>
                  <a:gd name="connsiteY35" fmla="*/ 2990850 h 4496940"/>
                  <a:gd name="connsiteX36" fmla="*/ 4278652 w 4519987"/>
                  <a:gd name="connsiteY36" fmla="*/ 3248025 h 4496940"/>
                  <a:gd name="connsiteX37" fmla="*/ 4259602 w 4519987"/>
                  <a:gd name="connsiteY37" fmla="*/ 3276600 h 4496940"/>
                  <a:gd name="connsiteX38" fmla="*/ 4221502 w 4519987"/>
                  <a:gd name="connsiteY38" fmla="*/ 3333750 h 4496940"/>
                  <a:gd name="connsiteX39" fmla="*/ 4211977 w 4519987"/>
                  <a:gd name="connsiteY39" fmla="*/ 3362325 h 4496940"/>
                  <a:gd name="connsiteX40" fmla="*/ 4183402 w 4519987"/>
                  <a:gd name="connsiteY40" fmla="*/ 3400425 h 4496940"/>
                  <a:gd name="connsiteX41" fmla="*/ 4164352 w 4519987"/>
                  <a:gd name="connsiteY41" fmla="*/ 3429000 h 4496940"/>
                  <a:gd name="connsiteX42" fmla="*/ 4088152 w 4519987"/>
                  <a:gd name="connsiteY42" fmla="*/ 3495675 h 4496940"/>
                  <a:gd name="connsiteX43" fmla="*/ 4059577 w 4519987"/>
                  <a:gd name="connsiteY43" fmla="*/ 3533775 h 4496940"/>
                  <a:gd name="connsiteX44" fmla="*/ 4002427 w 4519987"/>
                  <a:gd name="connsiteY44" fmla="*/ 3600450 h 4496940"/>
                  <a:gd name="connsiteX45" fmla="*/ 3983377 w 4519987"/>
                  <a:gd name="connsiteY45" fmla="*/ 3629025 h 4496940"/>
                  <a:gd name="connsiteX46" fmla="*/ 3954802 w 4519987"/>
                  <a:gd name="connsiteY46" fmla="*/ 3648075 h 4496940"/>
                  <a:gd name="connsiteX47" fmla="*/ 3907177 w 4519987"/>
                  <a:gd name="connsiteY47" fmla="*/ 3686175 h 4496940"/>
                  <a:gd name="connsiteX48" fmla="*/ 3869077 w 4519987"/>
                  <a:gd name="connsiteY48" fmla="*/ 3724275 h 4496940"/>
                  <a:gd name="connsiteX49" fmla="*/ 3792877 w 4519987"/>
                  <a:gd name="connsiteY49" fmla="*/ 3781425 h 4496940"/>
                  <a:gd name="connsiteX50" fmla="*/ 3783352 w 4519987"/>
                  <a:gd name="connsiteY50" fmla="*/ 3810000 h 4496940"/>
                  <a:gd name="connsiteX51" fmla="*/ 3745252 w 4519987"/>
                  <a:gd name="connsiteY51" fmla="*/ 3819525 h 4496940"/>
                  <a:gd name="connsiteX52" fmla="*/ 3678577 w 4519987"/>
                  <a:gd name="connsiteY52" fmla="*/ 3848100 h 4496940"/>
                  <a:gd name="connsiteX53" fmla="*/ 3659527 w 4519987"/>
                  <a:gd name="connsiteY53" fmla="*/ 3971925 h 4496940"/>
                  <a:gd name="connsiteX54" fmla="*/ 3630952 w 4519987"/>
                  <a:gd name="connsiteY54" fmla="*/ 4010025 h 4496940"/>
                  <a:gd name="connsiteX55" fmla="*/ 3621427 w 4519987"/>
                  <a:gd name="connsiteY55" fmla="*/ 4038600 h 4496940"/>
                  <a:gd name="connsiteX56" fmla="*/ 3554752 w 4519987"/>
                  <a:gd name="connsiteY56" fmla="*/ 4095750 h 4496940"/>
                  <a:gd name="connsiteX57" fmla="*/ 3516652 w 4519987"/>
                  <a:gd name="connsiteY57" fmla="*/ 4114800 h 4496940"/>
                  <a:gd name="connsiteX58" fmla="*/ 3497602 w 4519987"/>
                  <a:gd name="connsiteY58" fmla="*/ 4143375 h 4496940"/>
                  <a:gd name="connsiteX59" fmla="*/ 3383302 w 4519987"/>
                  <a:gd name="connsiteY59" fmla="*/ 4210050 h 4496940"/>
                  <a:gd name="connsiteX60" fmla="*/ 3335677 w 4519987"/>
                  <a:gd name="connsiteY60" fmla="*/ 4238625 h 4496940"/>
                  <a:gd name="connsiteX61" fmla="*/ 3288052 w 4519987"/>
                  <a:gd name="connsiteY61" fmla="*/ 4248150 h 4496940"/>
                  <a:gd name="connsiteX62" fmla="*/ 3240427 w 4519987"/>
                  <a:gd name="connsiteY62" fmla="*/ 4267200 h 4496940"/>
                  <a:gd name="connsiteX63" fmla="*/ 3068977 w 4519987"/>
                  <a:gd name="connsiteY63" fmla="*/ 4286250 h 4496940"/>
                  <a:gd name="connsiteX64" fmla="*/ 2935627 w 4519987"/>
                  <a:gd name="connsiteY64" fmla="*/ 4333875 h 4496940"/>
                  <a:gd name="connsiteX65" fmla="*/ 2811802 w 4519987"/>
                  <a:gd name="connsiteY65" fmla="*/ 4371975 h 4496940"/>
                  <a:gd name="connsiteX66" fmla="*/ 2745127 w 4519987"/>
                  <a:gd name="connsiteY66" fmla="*/ 4410075 h 4496940"/>
                  <a:gd name="connsiteX67" fmla="*/ 2697502 w 4519987"/>
                  <a:gd name="connsiteY67" fmla="*/ 4429125 h 4496940"/>
                  <a:gd name="connsiteX68" fmla="*/ 2640352 w 4519987"/>
                  <a:gd name="connsiteY68" fmla="*/ 4457700 h 4496940"/>
                  <a:gd name="connsiteX69" fmla="*/ 2583202 w 4519987"/>
                  <a:gd name="connsiteY69" fmla="*/ 4467225 h 4496940"/>
                  <a:gd name="connsiteX70" fmla="*/ 2545102 w 4519987"/>
                  <a:gd name="connsiteY70" fmla="*/ 4486275 h 4496940"/>
                  <a:gd name="connsiteX71" fmla="*/ 2306977 w 4519987"/>
                  <a:gd name="connsiteY71" fmla="*/ 4476750 h 4496940"/>
                  <a:gd name="connsiteX72" fmla="*/ 2202202 w 4519987"/>
                  <a:gd name="connsiteY72" fmla="*/ 4457700 h 4496940"/>
                  <a:gd name="connsiteX73" fmla="*/ 2126002 w 4519987"/>
                  <a:gd name="connsiteY73" fmla="*/ 4429125 h 4496940"/>
                  <a:gd name="connsiteX74" fmla="*/ 1935502 w 4519987"/>
                  <a:gd name="connsiteY74" fmla="*/ 4400550 h 4496940"/>
                  <a:gd name="connsiteX75" fmla="*/ 1821202 w 4519987"/>
                  <a:gd name="connsiteY75" fmla="*/ 4371975 h 4496940"/>
                  <a:gd name="connsiteX76" fmla="*/ 1754527 w 4519987"/>
                  <a:gd name="connsiteY76" fmla="*/ 4352925 h 4496940"/>
                  <a:gd name="connsiteX77" fmla="*/ 1687852 w 4519987"/>
                  <a:gd name="connsiteY77" fmla="*/ 4343400 h 4496940"/>
                  <a:gd name="connsiteX78" fmla="*/ 1573552 w 4519987"/>
                  <a:gd name="connsiteY78" fmla="*/ 4305300 h 4496940"/>
                  <a:gd name="connsiteX79" fmla="*/ 1402102 w 4519987"/>
                  <a:gd name="connsiteY79" fmla="*/ 4276725 h 4496940"/>
                  <a:gd name="connsiteX80" fmla="*/ 1287802 w 4519987"/>
                  <a:gd name="connsiteY80" fmla="*/ 4229100 h 4496940"/>
                  <a:gd name="connsiteX81" fmla="*/ 1221127 w 4519987"/>
                  <a:gd name="connsiteY81" fmla="*/ 4200525 h 4496940"/>
                  <a:gd name="connsiteX82" fmla="*/ 1144927 w 4519987"/>
                  <a:gd name="connsiteY82" fmla="*/ 4171950 h 4496940"/>
                  <a:gd name="connsiteX83" fmla="*/ 1087777 w 4519987"/>
                  <a:gd name="connsiteY83" fmla="*/ 4143375 h 4496940"/>
                  <a:gd name="connsiteX84" fmla="*/ 1030627 w 4519987"/>
                  <a:gd name="connsiteY84" fmla="*/ 4124325 h 4496940"/>
                  <a:gd name="connsiteX85" fmla="*/ 925852 w 4519987"/>
                  <a:gd name="connsiteY85" fmla="*/ 4067175 h 4496940"/>
                  <a:gd name="connsiteX86" fmla="*/ 830602 w 4519987"/>
                  <a:gd name="connsiteY86" fmla="*/ 3981450 h 4496940"/>
                  <a:gd name="connsiteX87" fmla="*/ 763927 w 4519987"/>
                  <a:gd name="connsiteY87" fmla="*/ 3914775 h 4496940"/>
                  <a:gd name="connsiteX88" fmla="*/ 725827 w 4519987"/>
                  <a:gd name="connsiteY88" fmla="*/ 3876675 h 4496940"/>
                  <a:gd name="connsiteX89" fmla="*/ 697252 w 4519987"/>
                  <a:gd name="connsiteY89" fmla="*/ 3838575 h 4496940"/>
                  <a:gd name="connsiteX90" fmla="*/ 640102 w 4519987"/>
                  <a:gd name="connsiteY90" fmla="*/ 3781425 h 4496940"/>
                  <a:gd name="connsiteX91" fmla="*/ 611527 w 4519987"/>
                  <a:gd name="connsiteY91" fmla="*/ 3733800 h 4496940"/>
                  <a:gd name="connsiteX92" fmla="*/ 554377 w 4519987"/>
                  <a:gd name="connsiteY92" fmla="*/ 3657600 h 4496940"/>
                  <a:gd name="connsiteX93" fmla="*/ 525802 w 4519987"/>
                  <a:gd name="connsiteY93" fmla="*/ 3609975 h 4496940"/>
                  <a:gd name="connsiteX94" fmla="*/ 497227 w 4519987"/>
                  <a:gd name="connsiteY94" fmla="*/ 3552825 h 4496940"/>
                  <a:gd name="connsiteX95" fmla="*/ 440077 w 4519987"/>
                  <a:gd name="connsiteY95" fmla="*/ 3495675 h 4496940"/>
                  <a:gd name="connsiteX96" fmla="*/ 411502 w 4519987"/>
                  <a:gd name="connsiteY96" fmla="*/ 3448050 h 4496940"/>
                  <a:gd name="connsiteX97" fmla="*/ 278152 w 4519987"/>
                  <a:gd name="connsiteY97" fmla="*/ 3257550 h 4496940"/>
                  <a:gd name="connsiteX98" fmla="*/ 249577 w 4519987"/>
                  <a:gd name="connsiteY98" fmla="*/ 3200400 h 4496940"/>
                  <a:gd name="connsiteX99" fmla="*/ 240052 w 4519987"/>
                  <a:gd name="connsiteY99" fmla="*/ 3162300 h 4496940"/>
                  <a:gd name="connsiteX100" fmla="*/ 221002 w 4519987"/>
                  <a:gd name="connsiteY100" fmla="*/ 3105150 h 4496940"/>
                  <a:gd name="connsiteX101" fmla="*/ 173377 w 4519987"/>
                  <a:gd name="connsiteY101" fmla="*/ 3019425 h 4496940"/>
                  <a:gd name="connsiteX102" fmla="*/ 144802 w 4519987"/>
                  <a:gd name="connsiteY102" fmla="*/ 2924175 h 4496940"/>
                  <a:gd name="connsiteX103" fmla="*/ 68602 w 4519987"/>
                  <a:gd name="connsiteY103" fmla="*/ 2724150 h 4496940"/>
                  <a:gd name="connsiteX104" fmla="*/ 49552 w 4519987"/>
                  <a:gd name="connsiteY104" fmla="*/ 2638425 h 4496940"/>
                  <a:gd name="connsiteX105" fmla="*/ 40027 w 4519987"/>
                  <a:gd name="connsiteY105" fmla="*/ 2562225 h 4496940"/>
                  <a:gd name="connsiteX106" fmla="*/ 30502 w 4519987"/>
                  <a:gd name="connsiteY106" fmla="*/ 2514600 h 4496940"/>
                  <a:gd name="connsiteX107" fmla="*/ 11452 w 4519987"/>
                  <a:gd name="connsiteY107" fmla="*/ 2400300 h 4496940"/>
                  <a:gd name="connsiteX108" fmla="*/ 20977 w 4519987"/>
                  <a:gd name="connsiteY108" fmla="*/ 1905000 h 4496940"/>
                  <a:gd name="connsiteX109" fmla="*/ 30502 w 4519987"/>
                  <a:gd name="connsiteY109" fmla="*/ 1838325 h 4496940"/>
                  <a:gd name="connsiteX110" fmla="*/ 49552 w 4519987"/>
                  <a:gd name="connsiteY110" fmla="*/ 1781175 h 4496940"/>
                  <a:gd name="connsiteX111" fmla="*/ 59077 w 4519987"/>
                  <a:gd name="connsiteY111" fmla="*/ 1743075 h 4496940"/>
                  <a:gd name="connsiteX112" fmla="*/ 78127 w 4519987"/>
                  <a:gd name="connsiteY112" fmla="*/ 1685925 h 4496940"/>
                  <a:gd name="connsiteX113" fmla="*/ 87652 w 4519987"/>
                  <a:gd name="connsiteY113" fmla="*/ 1638300 h 4496940"/>
                  <a:gd name="connsiteX114" fmla="*/ 106702 w 4519987"/>
                  <a:gd name="connsiteY114" fmla="*/ 1590675 h 4496940"/>
                  <a:gd name="connsiteX115" fmla="*/ 135277 w 4519987"/>
                  <a:gd name="connsiteY115" fmla="*/ 1504950 h 4496940"/>
                  <a:gd name="connsiteX116" fmla="*/ 154327 w 4519987"/>
                  <a:gd name="connsiteY116" fmla="*/ 1419225 h 4496940"/>
                  <a:gd name="connsiteX117" fmla="*/ 230527 w 4519987"/>
                  <a:gd name="connsiteY117" fmla="*/ 1276350 h 4496940"/>
                  <a:gd name="connsiteX118" fmla="*/ 240052 w 4519987"/>
                  <a:gd name="connsiteY118" fmla="*/ 1247775 h 4496940"/>
                  <a:gd name="connsiteX119" fmla="*/ 268627 w 4519987"/>
                  <a:gd name="connsiteY119" fmla="*/ 1200150 h 4496940"/>
                  <a:gd name="connsiteX120" fmla="*/ 287677 w 4519987"/>
                  <a:gd name="connsiteY120" fmla="*/ 1152525 h 4496940"/>
                  <a:gd name="connsiteX121" fmla="*/ 316252 w 4519987"/>
                  <a:gd name="connsiteY121" fmla="*/ 1114425 h 4496940"/>
                  <a:gd name="connsiteX122" fmla="*/ 363877 w 4519987"/>
                  <a:gd name="connsiteY122" fmla="*/ 1038225 h 4496940"/>
                  <a:gd name="connsiteX123" fmla="*/ 382927 w 4519987"/>
                  <a:gd name="connsiteY123" fmla="*/ 1009650 h 4496940"/>
                  <a:gd name="connsiteX124" fmla="*/ 440077 w 4519987"/>
                  <a:gd name="connsiteY124" fmla="*/ 904875 h 4496940"/>
                  <a:gd name="connsiteX125" fmla="*/ 478177 w 4519987"/>
                  <a:gd name="connsiteY125" fmla="*/ 857250 h 4496940"/>
                  <a:gd name="connsiteX126" fmla="*/ 497227 w 4519987"/>
                  <a:gd name="connsiteY126" fmla="*/ 828675 h 4496940"/>
                  <a:gd name="connsiteX127" fmla="*/ 535327 w 4519987"/>
                  <a:gd name="connsiteY127" fmla="*/ 800100 h 4496940"/>
                  <a:gd name="connsiteX128" fmla="*/ 602002 w 4519987"/>
                  <a:gd name="connsiteY128" fmla="*/ 733425 h 4496940"/>
                  <a:gd name="connsiteX129" fmla="*/ 668677 w 4519987"/>
                  <a:gd name="connsiteY129" fmla="*/ 676275 h 4496940"/>
                  <a:gd name="connsiteX130" fmla="*/ 697252 w 4519987"/>
                  <a:gd name="connsiteY130" fmla="*/ 657225 h 4496940"/>
                  <a:gd name="connsiteX131" fmla="*/ 840127 w 4519987"/>
                  <a:gd name="connsiteY131" fmla="*/ 533400 h 4496940"/>
                  <a:gd name="connsiteX132" fmla="*/ 887752 w 4519987"/>
                  <a:gd name="connsiteY132" fmla="*/ 504825 h 4496940"/>
                  <a:gd name="connsiteX133" fmla="*/ 1167152 w 4519987"/>
                  <a:gd name="connsiteY133" fmla="*/ 311150 h 4496940"/>
                  <a:gd name="connsiteX134" fmla="*/ 1268752 w 4519987"/>
                  <a:gd name="connsiteY134" fmla="*/ 285750 h 4496940"/>
                  <a:gd name="connsiteX135" fmla="*/ 1411627 w 4519987"/>
                  <a:gd name="connsiteY135" fmla="*/ 190500 h 4496940"/>
                  <a:gd name="connsiteX136" fmla="*/ 1449727 w 4519987"/>
                  <a:gd name="connsiteY136" fmla="*/ 161925 h 4496940"/>
                  <a:gd name="connsiteX137" fmla="*/ 1525927 w 4519987"/>
                  <a:gd name="connsiteY137" fmla="*/ 152400 h 4496940"/>
                  <a:gd name="connsiteX138" fmla="*/ 1583077 w 4519987"/>
                  <a:gd name="connsiteY138" fmla="*/ 142875 h 4496940"/>
                  <a:gd name="connsiteX139" fmla="*/ 1716427 w 4519987"/>
                  <a:gd name="connsiteY139" fmla="*/ 123825 h 4496940"/>
                  <a:gd name="connsiteX140" fmla="*/ 1811677 w 4519987"/>
                  <a:gd name="connsiteY140" fmla="*/ 114300 h 4496940"/>
                  <a:gd name="connsiteX141" fmla="*/ 1859302 w 4519987"/>
                  <a:gd name="connsiteY141" fmla="*/ 104775 h 4496940"/>
                  <a:gd name="connsiteX142" fmla="*/ 1916452 w 4519987"/>
                  <a:gd name="connsiteY142" fmla="*/ 95250 h 4496940"/>
                  <a:gd name="connsiteX143" fmla="*/ 2030752 w 4519987"/>
                  <a:gd name="connsiteY143" fmla="*/ 66675 h 4496940"/>
                  <a:gd name="connsiteX144" fmla="*/ 2097427 w 4519987"/>
                  <a:gd name="connsiteY144" fmla="*/ 47625 h 4496940"/>
                  <a:gd name="connsiteX145" fmla="*/ 2164102 w 4519987"/>
                  <a:gd name="connsiteY145" fmla="*/ 38100 h 4496940"/>
                  <a:gd name="connsiteX146" fmla="*/ 2392702 w 4519987"/>
                  <a:gd name="connsiteY14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250077 w 4519987"/>
                  <a:gd name="connsiteY24" fmla="*/ 1143000 h 4496940"/>
                  <a:gd name="connsiteX25" fmla="*/ 4259602 w 4519987"/>
                  <a:gd name="connsiteY25" fmla="*/ 1190625 h 4496940"/>
                  <a:gd name="connsiteX26" fmla="*/ 4307227 w 4519987"/>
                  <a:gd name="connsiteY26" fmla="*/ 1266825 h 4496940"/>
                  <a:gd name="connsiteX27" fmla="*/ 4345327 w 4519987"/>
                  <a:gd name="connsiteY27" fmla="*/ 1362075 h 4496940"/>
                  <a:gd name="connsiteX28" fmla="*/ 4373902 w 4519987"/>
                  <a:gd name="connsiteY28" fmla="*/ 1428750 h 4496940"/>
                  <a:gd name="connsiteX29" fmla="*/ 4392952 w 4519987"/>
                  <a:gd name="connsiteY29" fmla="*/ 1552575 h 4496940"/>
                  <a:gd name="connsiteX30" fmla="*/ 4402477 w 4519987"/>
                  <a:gd name="connsiteY30" fmla="*/ 1590675 h 4496940"/>
                  <a:gd name="connsiteX31" fmla="*/ 4431052 w 4519987"/>
                  <a:gd name="connsiteY31" fmla="*/ 1685925 h 4496940"/>
                  <a:gd name="connsiteX32" fmla="*/ 4519952 w 4519987"/>
                  <a:gd name="connsiteY32" fmla="*/ 2181225 h 4496940"/>
                  <a:gd name="connsiteX33" fmla="*/ 4446927 w 4519987"/>
                  <a:gd name="connsiteY33" fmla="*/ 2768600 h 4496940"/>
                  <a:gd name="connsiteX34" fmla="*/ 4383427 w 4519987"/>
                  <a:gd name="connsiteY34" fmla="*/ 2990850 h 4496940"/>
                  <a:gd name="connsiteX35" fmla="*/ 4278652 w 4519987"/>
                  <a:gd name="connsiteY35" fmla="*/ 3248025 h 4496940"/>
                  <a:gd name="connsiteX36" fmla="*/ 4259602 w 4519987"/>
                  <a:gd name="connsiteY36" fmla="*/ 3276600 h 4496940"/>
                  <a:gd name="connsiteX37" fmla="*/ 4221502 w 4519987"/>
                  <a:gd name="connsiteY37" fmla="*/ 3333750 h 4496940"/>
                  <a:gd name="connsiteX38" fmla="*/ 4211977 w 4519987"/>
                  <a:gd name="connsiteY38" fmla="*/ 3362325 h 4496940"/>
                  <a:gd name="connsiteX39" fmla="*/ 4183402 w 4519987"/>
                  <a:gd name="connsiteY39" fmla="*/ 3400425 h 4496940"/>
                  <a:gd name="connsiteX40" fmla="*/ 4164352 w 4519987"/>
                  <a:gd name="connsiteY40" fmla="*/ 3429000 h 4496940"/>
                  <a:gd name="connsiteX41" fmla="*/ 4088152 w 4519987"/>
                  <a:gd name="connsiteY41" fmla="*/ 3495675 h 4496940"/>
                  <a:gd name="connsiteX42" fmla="*/ 4059577 w 4519987"/>
                  <a:gd name="connsiteY42" fmla="*/ 3533775 h 4496940"/>
                  <a:gd name="connsiteX43" fmla="*/ 4002427 w 4519987"/>
                  <a:gd name="connsiteY43" fmla="*/ 3600450 h 4496940"/>
                  <a:gd name="connsiteX44" fmla="*/ 3983377 w 4519987"/>
                  <a:gd name="connsiteY44" fmla="*/ 3629025 h 4496940"/>
                  <a:gd name="connsiteX45" fmla="*/ 3954802 w 4519987"/>
                  <a:gd name="connsiteY45" fmla="*/ 3648075 h 4496940"/>
                  <a:gd name="connsiteX46" fmla="*/ 3907177 w 4519987"/>
                  <a:gd name="connsiteY46" fmla="*/ 3686175 h 4496940"/>
                  <a:gd name="connsiteX47" fmla="*/ 3869077 w 4519987"/>
                  <a:gd name="connsiteY47" fmla="*/ 3724275 h 4496940"/>
                  <a:gd name="connsiteX48" fmla="*/ 3792877 w 4519987"/>
                  <a:gd name="connsiteY48" fmla="*/ 3781425 h 4496940"/>
                  <a:gd name="connsiteX49" fmla="*/ 3783352 w 4519987"/>
                  <a:gd name="connsiteY49" fmla="*/ 3810000 h 4496940"/>
                  <a:gd name="connsiteX50" fmla="*/ 3745252 w 4519987"/>
                  <a:gd name="connsiteY50" fmla="*/ 3819525 h 4496940"/>
                  <a:gd name="connsiteX51" fmla="*/ 3678577 w 4519987"/>
                  <a:gd name="connsiteY51" fmla="*/ 3848100 h 4496940"/>
                  <a:gd name="connsiteX52" fmla="*/ 3659527 w 4519987"/>
                  <a:gd name="connsiteY52" fmla="*/ 3971925 h 4496940"/>
                  <a:gd name="connsiteX53" fmla="*/ 3630952 w 4519987"/>
                  <a:gd name="connsiteY53" fmla="*/ 4010025 h 4496940"/>
                  <a:gd name="connsiteX54" fmla="*/ 3621427 w 4519987"/>
                  <a:gd name="connsiteY54" fmla="*/ 4038600 h 4496940"/>
                  <a:gd name="connsiteX55" fmla="*/ 3554752 w 4519987"/>
                  <a:gd name="connsiteY55" fmla="*/ 4095750 h 4496940"/>
                  <a:gd name="connsiteX56" fmla="*/ 3516652 w 4519987"/>
                  <a:gd name="connsiteY56" fmla="*/ 4114800 h 4496940"/>
                  <a:gd name="connsiteX57" fmla="*/ 3497602 w 4519987"/>
                  <a:gd name="connsiteY57" fmla="*/ 4143375 h 4496940"/>
                  <a:gd name="connsiteX58" fmla="*/ 3383302 w 4519987"/>
                  <a:gd name="connsiteY58" fmla="*/ 4210050 h 4496940"/>
                  <a:gd name="connsiteX59" fmla="*/ 3335677 w 4519987"/>
                  <a:gd name="connsiteY59" fmla="*/ 4238625 h 4496940"/>
                  <a:gd name="connsiteX60" fmla="*/ 3288052 w 4519987"/>
                  <a:gd name="connsiteY60" fmla="*/ 4248150 h 4496940"/>
                  <a:gd name="connsiteX61" fmla="*/ 3240427 w 4519987"/>
                  <a:gd name="connsiteY61" fmla="*/ 4267200 h 4496940"/>
                  <a:gd name="connsiteX62" fmla="*/ 3068977 w 4519987"/>
                  <a:gd name="connsiteY62" fmla="*/ 4286250 h 4496940"/>
                  <a:gd name="connsiteX63" fmla="*/ 2935627 w 4519987"/>
                  <a:gd name="connsiteY63" fmla="*/ 4333875 h 4496940"/>
                  <a:gd name="connsiteX64" fmla="*/ 2811802 w 4519987"/>
                  <a:gd name="connsiteY64" fmla="*/ 4371975 h 4496940"/>
                  <a:gd name="connsiteX65" fmla="*/ 2745127 w 4519987"/>
                  <a:gd name="connsiteY65" fmla="*/ 4410075 h 4496940"/>
                  <a:gd name="connsiteX66" fmla="*/ 2697502 w 4519987"/>
                  <a:gd name="connsiteY66" fmla="*/ 4429125 h 4496940"/>
                  <a:gd name="connsiteX67" fmla="*/ 2640352 w 4519987"/>
                  <a:gd name="connsiteY67" fmla="*/ 4457700 h 4496940"/>
                  <a:gd name="connsiteX68" fmla="*/ 2583202 w 4519987"/>
                  <a:gd name="connsiteY68" fmla="*/ 4467225 h 4496940"/>
                  <a:gd name="connsiteX69" fmla="*/ 2545102 w 4519987"/>
                  <a:gd name="connsiteY69" fmla="*/ 4486275 h 4496940"/>
                  <a:gd name="connsiteX70" fmla="*/ 2306977 w 4519987"/>
                  <a:gd name="connsiteY70" fmla="*/ 4476750 h 4496940"/>
                  <a:gd name="connsiteX71" fmla="*/ 2202202 w 4519987"/>
                  <a:gd name="connsiteY71" fmla="*/ 4457700 h 4496940"/>
                  <a:gd name="connsiteX72" fmla="*/ 2126002 w 4519987"/>
                  <a:gd name="connsiteY72" fmla="*/ 4429125 h 4496940"/>
                  <a:gd name="connsiteX73" fmla="*/ 1935502 w 4519987"/>
                  <a:gd name="connsiteY73" fmla="*/ 4400550 h 4496940"/>
                  <a:gd name="connsiteX74" fmla="*/ 1821202 w 4519987"/>
                  <a:gd name="connsiteY74" fmla="*/ 4371975 h 4496940"/>
                  <a:gd name="connsiteX75" fmla="*/ 1754527 w 4519987"/>
                  <a:gd name="connsiteY75" fmla="*/ 4352925 h 4496940"/>
                  <a:gd name="connsiteX76" fmla="*/ 1687852 w 4519987"/>
                  <a:gd name="connsiteY76" fmla="*/ 4343400 h 4496940"/>
                  <a:gd name="connsiteX77" fmla="*/ 1573552 w 4519987"/>
                  <a:gd name="connsiteY77" fmla="*/ 4305300 h 4496940"/>
                  <a:gd name="connsiteX78" fmla="*/ 1402102 w 4519987"/>
                  <a:gd name="connsiteY78" fmla="*/ 4276725 h 4496940"/>
                  <a:gd name="connsiteX79" fmla="*/ 1287802 w 4519987"/>
                  <a:gd name="connsiteY79" fmla="*/ 4229100 h 4496940"/>
                  <a:gd name="connsiteX80" fmla="*/ 1221127 w 4519987"/>
                  <a:gd name="connsiteY80" fmla="*/ 4200525 h 4496940"/>
                  <a:gd name="connsiteX81" fmla="*/ 1144927 w 4519987"/>
                  <a:gd name="connsiteY81" fmla="*/ 4171950 h 4496940"/>
                  <a:gd name="connsiteX82" fmla="*/ 1087777 w 4519987"/>
                  <a:gd name="connsiteY82" fmla="*/ 4143375 h 4496940"/>
                  <a:gd name="connsiteX83" fmla="*/ 1030627 w 4519987"/>
                  <a:gd name="connsiteY83" fmla="*/ 4124325 h 4496940"/>
                  <a:gd name="connsiteX84" fmla="*/ 925852 w 4519987"/>
                  <a:gd name="connsiteY84" fmla="*/ 4067175 h 4496940"/>
                  <a:gd name="connsiteX85" fmla="*/ 830602 w 4519987"/>
                  <a:gd name="connsiteY85" fmla="*/ 3981450 h 4496940"/>
                  <a:gd name="connsiteX86" fmla="*/ 763927 w 4519987"/>
                  <a:gd name="connsiteY86" fmla="*/ 3914775 h 4496940"/>
                  <a:gd name="connsiteX87" fmla="*/ 725827 w 4519987"/>
                  <a:gd name="connsiteY87" fmla="*/ 3876675 h 4496940"/>
                  <a:gd name="connsiteX88" fmla="*/ 697252 w 4519987"/>
                  <a:gd name="connsiteY88" fmla="*/ 3838575 h 4496940"/>
                  <a:gd name="connsiteX89" fmla="*/ 640102 w 4519987"/>
                  <a:gd name="connsiteY89" fmla="*/ 3781425 h 4496940"/>
                  <a:gd name="connsiteX90" fmla="*/ 611527 w 4519987"/>
                  <a:gd name="connsiteY90" fmla="*/ 3733800 h 4496940"/>
                  <a:gd name="connsiteX91" fmla="*/ 554377 w 4519987"/>
                  <a:gd name="connsiteY91" fmla="*/ 3657600 h 4496940"/>
                  <a:gd name="connsiteX92" fmla="*/ 525802 w 4519987"/>
                  <a:gd name="connsiteY92" fmla="*/ 3609975 h 4496940"/>
                  <a:gd name="connsiteX93" fmla="*/ 497227 w 4519987"/>
                  <a:gd name="connsiteY93" fmla="*/ 3552825 h 4496940"/>
                  <a:gd name="connsiteX94" fmla="*/ 440077 w 4519987"/>
                  <a:gd name="connsiteY94" fmla="*/ 3495675 h 4496940"/>
                  <a:gd name="connsiteX95" fmla="*/ 411502 w 4519987"/>
                  <a:gd name="connsiteY95" fmla="*/ 3448050 h 4496940"/>
                  <a:gd name="connsiteX96" fmla="*/ 278152 w 4519987"/>
                  <a:gd name="connsiteY96" fmla="*/ 3257550 h 4496940"/>
                  <a:gd name="connsiteX97" fmla="*/ 249577 w 4519987"/>
                  <a:gd name="connsiteY97" fmla="*/ 3200400 h 4496940"/>
                  <a:gd name="connsiteX98" fmla="*/ 240052 w 4519987"/>
                  <a:gd name="connsiteY98" fmla="*/ 3162300 h 4496940"/>
                  <a:gd name="connsiteX99" fmla="*/ 221002 w 4519987"/>
                  <a:gd name="connsiteY99" fmla="*/ 3105150 h 4496940"/>
                  <a:gd name="connsiteX100" fmla="*/ 173377 w 4519987"/>
                  <a:gd name="connsiteY100" fmla="*/ 3019425 h 4496940"/>
                  <a:gd name="connsiteX101" fmla="*/ 144802 w 4519987"/>
                  <a:gd name="connsiteY101" fmla="*/ 2924175 h 4496940"/>
                  <a:gd name="connsiteX102" fmla="*/ 68602 w 4519987"/>
                  <a:gd name="connsiteY102" fmla="*/ 2724150 h 4496940"/>
                  <a:gd name="connsiteX103" fmla="*/ 49552 w 4519987"/>
                  <a:gd name="connsiteY103" fmla="*/ 2638425 h 4496940"/>
                  <a:gd name="connsiteX104" fmla="*/ 40027 w 4519987"/>
                  <a:gd name="connsiteY104" fmla="*/ 2562225 h 4496940"/>
                  <a:gd name="connsiteX105" fmla="*/ 30502 w 4519987"/>
                  <a:gd name="connsiteY105" fmla="*/ 2514600 h 4496940"/>
                  <a:gd name="connsiteX106" fmla="*/ 11452 w 4519987"/>
                  <a:gd name="connsiteY106" fmla="*/ 2400300 h 4496940"/>
                  <a:gd name="connsiteX107" fmla="*/ 20977 w 4519987"/>
                  <a:gd name="connsiteY107" fmla="*/ 1905000 h 4496940"/>
                  <a:gd name="connsiteX108" fmla="*/ 30502 w 4519987"/>
                  <a:gd name="connsiteY108" fmla="*/ 1838325 h 4496940"/>
                  <a:gd name="connsiteX109" fmla="*/ 49552 w 4519987"/>
                  <a:gd name="connsiteY109" fmla="*/ 1781175 h 4496940"/>
                  <a:gd name="connsiteX110" fmla="*/ 59077 w 4519987"/>
                  <a:gd name="connsiteY110" fmla="*/ 1743075 h 4496940"/>
                  <a:gd name="connsiteX111" fmla="*/ 78127 w 4519987"/>
                  <a:gd name="connsiteY111" fmla="*/ 1685925 h 4496940"/>
                  <a:gd name="connsiteX112" fmla="*/ 87652 w 4519987"/>
                  <a:gd name="connsiteY112" fmla="*/ 1638300 h 4496940"/>
                  <a:gd name="connsiteX113" fmla="*/ 106702 w 4519987"/>
                  <a:gd name="connsiteY113" fmla="*/ 1590675 h 4496940"/>
                  <a:gd name="connsiteX114" fmla="*/ 135277 w 4519987"/>
                  <a:gd name="connsiteY114" fmla="*/ 1504950 h 4496940"/>
                  <a:gd name="connsiteX115" fmla="*/ 154327 w 4519987"/>
                  <a:gd name="connsiteY115" fmla="*/ 1419225 h 4496940"/>
                  <a:gd name="connsiteX116" fmla="*/ 230527 w 4519987"/>
                  <a:gd name="connsiteY116" fmla="*/ 1276350 h 4496940"/>
                  <a:gd name="connsiteX117" fmla="*/ 240052 w 4519987"/>
                  <a:gd name="connsiteY117" fmla="*/ 1247775 h 4496940"/>
                  <a:gd name="connsiteX118" fmla="*/ 268627 w 4519987"/>
                  <a:gd name="connsiteY118" fmla="*/ 1200150 h 4496940"/>
                  <a:gd name="connsiteX119" fmla="*/ 287677 w 4519987"/>
                  <a:gd name="connsiteY119" fmla="*/ 1152525 h 4496940"/>
                  <a:gd name="connsiteX120" fmla="*/ 316252 w 4519987"/>
                  <a:gd name="connsiteY120" fmla="*/ 1114425 h 4496940"/>
                  <a:gd name="connsiteX121" fmla="*/ 363877 w 4519987"/>
                  <a:gd name="connsiteY121" fmla="*/ 1038225 h 4496940"/>
                  <a:gd name="connsiteX122" fmla="*/ 382927 w 4519987"/>
                  <a:gd name="connsiteY122" fmla="*/ 1009650 h 4496940"/>
                  <a:gd name="connsiteX123" fmla="*/ 440077 w 4519987"/>
                  <a:gd name="connsiteY123" fmla="*/ 904875 h 4496940"/>
                  <a:gd name="connsiteX124" fmla="*/ 478177 w 4519987"/>
                  <a:gd name="connsiteY124" fmla="*/ 857250 h 4496940"/>
                  <a:gd name="connsiteX125" fmla="*/ 497227 w 4519987"/>
                  <a:gd name="connsiteY125" fmla="*/ 828675 h 4496940"/>
                  <a:gd name="connsiteX126" fmla="*/ 535327 w 4519987"/>
                  <a:gd name="connsiteY126" fmla="*/ 800100 h 4496940"/>
                  <a:gd name="connsiteX127" fmla="*/ 602002 w 4519987"/>
                  <a:gd name="connsiteY127" fmla="*/ 733425 h 4496940"/>
                  <a:gd name="connsiteX128" fmla="*/ 668677 w 4519987"/>
                  <a:gd name="connsiteY128" fmla="*/ 676275 h 4496940"/>
                  <a:gd name="connsiteX129" fmla="*/ 697252 w 4519987"/>
                  <a:gd name="connsiteY129" fmla="*/ 657225 h 4496940"/>
                  <a:gd name="connsiteX130" fmla="*/ 840127 w 4519987"/>
                  <a:gd name="connsiteY130" fmla="*/ 533400 h 4496940"/>
                  <a:gd name="connsiteX131" fmla="*/ 887752 w 4519987"/>
                  <a:gd name="connsiteY131" fmla="*/ 504825 h 4496940"/>
                  <a:gd name="connsiteX132" fmla="*/ 1167152 w 4519987"/>
                  <a:gd name="connsiteY132" fmla="*/ 311150 h 4496940"/>
                  <a:gd name="connsiteX133" fmla="*/ 1268752 w 4519987"/>
                  <a:gd name="connsiteY133" fmla="*/ 285750 h 4496940"/>
                  <a:gd name="connsiteX134" fmla="*/ 1411627 w 4519987"/>
                  <a:gd name="connsiteY134" fmla="*/ 190500 h 4496940"/>
                  <a:gd name="connsiteX135" fmla="*/ 1449727 w 4519987"/>
                  <a:gd name="connsiteY135" fmla="*/ 161925 h 4496940"/>
                  <a:gd name="connsiteX136" fmla="*/ 1525927 w 4519987"/>
                  <a:gd name="connsiteY136" fmla="*/ 152400 h 4496940"/>
                  <a:gd name="connsiteX137" fmla="*/ 1583077 w 4519987"/>
                  <a:gd name="connsiteY137" fmla="*/ 142875 h 4496940"/>
                  <a:gd name="connsiteX138" fmla="*/ 1716427 w 4519987"/>
                  <a:gd name="connsiteY138" fmla="*/ 123825 h 4496940"/>
                  <a:gd name="connsiteX139" fmla="*/ 1811677 w 4519987"/>
                  <a:gd name="connsiteY139" fmla="*/ 114300 h 4496940"/>
                  <a:gd name="connsiteX140" fmla="*/ 1859302 w 4519987"/>
                  <a:gd name="connsiteY140" fmla="*/ 104775 h 4496940"/>
                  <a:gd name="connsiteX141" fmla="*/ 1916452 w 4519987"/>
                  <a:gd name="connsiteY141" fmla="*/ 95250 h 4496940"/>
                  <a:gd name="connsiteX142" fmla="*/ 2030752 w 4519987"/>
                  <a:gd name="connsiteY142" fmla="*/ 66675 h 4496940"/>
                  <a:gd name="connsiteX143" fmla="*/ 2097427 w 4519987"/>
                  <a:gd name="connsiteY143" fmla="*/ 47625 h 4496940"/>
                  <a:gd name="connsiteX144" fmla="*/ 2164102 w 4519987"/>
                  <a:gd name="connsiteY144" fmla="*/ 38100 h 4496940"/>
                  <a:gd name="connsiteX145" fmla="*/ 2392702 w 4519987"/>
                  <a:gd name="connsiteY14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259602 w 4519987"/>
                  <a:gd name="connsiteY24" fmla="*/ 1190625 h 4496940"/>
                  <a:gd name="connsiteX25" fmla="*/ 4307227 w 4519987"/>
                  <a:gd name="connsiteY25" fmla="*/ 1266825 h 4496940"/>
                  <a:gd name="connsiteX26" fmla="*/ 4345327 w 4519987"/>
                  <a:gd name="connsiteY26" fmla="*/ 1362075 h 4496940"/>
                  <a:gd name="connsiteX27" fmla="*/ 4373902 w 4519987"/>
                  <a:gd name="connsiteY27" fmla="*/ 1428750 h 4496940"/>
                  <a:gd name="connsiteX28" fmla="*/ 4392952 w 4519987"/>
                  <a:gd name="connsiteY28" fmla="*/ 1552575 h 4496940"/>
                  <a:gd name="connsiteX29" fmla="*/ 4402477 w 4519987"/>
                  <a:gd name="connsiteY29" fmla="*/ 1590675 h 4496940"/>
                  <a:gd name="connsiteX30" fmla="*/ 4431052 w 4519987"/>
                  <a:gd name="connsiteY30" fmla="*/ 1685925 h 4496940"/>
                  <a:gd name="connsiteX31" fmla="*/ 4519952 w 4519987"/>
                  <a:gd name="connsiteY31" fmla="*/ 2181225 h 4496940"/>
                  <a:gd name="connsiteX32" fmla="*/ 4446927 w 4519987"/>
                  <a:gd name="connsiteY32" fmla="*/ 2768600 h 4496940"/>
                  <a:gd name="connsiteX33" fmla="*/ 4383427 w 4519987"/>
                  <a:gd name="connsiteY33" fmla="*/ 2990850 h 4496940"/>
                  <a:gd name="connsiteX34" fmla="*/ 4278652 w 4519987"/>
                  <a:gd name="connsiteY34" fmla="*/ 3248025 h 4496940"/>
                  <a:gd name="connsiteX35" fmla="*/ 4259602 w 4519987"/>
                  <a:gd name="connsiteY35" fmla="*/ 3276600 h 4496940"/>
                  <a:gd name="connsiteX36" fmla="*/ 4221502 w 4519987"/>
                  <a:gd name="connsiteY36" fmla="*/ 3333750 h 4496940"/>
                  <a:gd name="connsiteX37" fmla="*/ 4211977 w 4519987"/>
                  <a:gd name="connsiteY37" fmla="*/ 3362325 h 4496940"/>
                  <a:gd name="connsiteX38" fmla="*/ 4183402 w 4519987"/>
                  <a:gd name="connsiteY38" fmla="*/ 3400425 h 4496940"/>
                  <a:gd name="connsiteX39" fmla="*/ 4164352 w 4519987"/>
                  <a:gd name="connsiteY39" fmla="*/ 3429000 h 4496940"/>
                  <a:gd name="connsiteX40" fmla="*/ 4088152 w 4519987"/>
                  <a:gd name="connsiteY40" fmla="*/ 3495675 h 4496940"/>
                  <a:gd name="connsiteX41" fmla="*/ 4059577 w 4519987"/>
                  <a:gd name="connsiteY41" fmla="*/ 3533775 h 4496940"/>
                  <a:gd name="connsiteX42" fmla="*/ 4002427 w 4519987"/>
                  <a:gd name="connsiteY42" fmla="*/ 3600450 h 4496940"/>
                  <a:gd name="connsiteX43" fmla="*/ 3983377 w 4519987"/>
                  <a:gd name="connsiteY43" fmla="*/ 3629025 h 4496940"/>
                  <a:gd name="connsiteX44" fmla="*/ 3954802 w 4519987"/>
                  <a:gd name="connsiteY44" fmla="*/ 3648075 h 4496940"/>
                  <a:gd name="connsiteX45" fmla="*/ 3907177 w 4519987"/>
                  <a:gd name="connsiteY45" fmla="*/ 3686175 h 4496940"/>
                  <a:gd name="connsiteX46" fmla="*/ 3869077 w 4519987"/>
                  <a:gd name="connsiteY46" fmla="*/ 3724275 h 4496940"/>
                  <a:gd name="connsiteX47" fmla="*/ 3792877 w 4519987"/>
                  <a:gd name="connsiteY47" fmla="*/ 3781425 h 4496940"/>
                  <a:gd name="connsiteX48" fmla="*/ 3783352 w 4519987"/>
                  <a:gd name="connsiteY48" fmla="*/ 3810000 h 4496940"/>
                  <a:gd name="connsiteX49" fmla="*/ 3745252 w 4519987"/>
                  <a:gd name="connsiteY49" fmla="*/ 3819525 h 4496940"/>
                  <a:gd name="connsiteX50" fmla="*/ 3678577 w 4519987"/>
                  <a:gd name="connsiteY50" fmla="*/ 3848100 h 4496940"/>
                  <a:gd name="connsiteX51" fmla="*/ 3659527 w 4519987"/>
                  <a:gd name="connsiteY51" fmla="*/ 3971925 h 4496940"/>
                  <a:gd name="connsiteX52" fmla="*/ 3630952 w 4519987"/>
                  <a:gd name="connsiteY52" fmla="*/ 4010025 h 4496940"/>
                  <a:gd name="connsiteX53" fmla="*/ 3621427 w 4519987"/>
                  <a:gd name="connsiteY53" fmla="*/ 4038600 h 4496940"/>
                  <a:gd name="connsiteX54" fmla="*/ 3554752 w 4519987"/>
                  <a:gd name="connsiteY54" fmla="*/ 4095750 h 4496940"/>
                  <a:gd name="connsiteX55" fmla="*/ 3516652 w 4519987"/>
                  <a:gd name="connsiteY55" fmla="*/ 4114800 h 4496940"/>
                  <a:gd name="connsiteX56" fmla="*/ 3497602 w 4519987"/>
                  <a:gd name="connsiteY56" fmla="*/ 4143375 h 4496940"/>
                  <a:gd name="connsiteX57" fmla="*/ 3383302 w 4519987"/>
                  <a:gd name="connsiteY57" fmla="*/ 4210050 h 4496940"/>
                  <a:gd name="connsiteX58" fmla="*/ 3335677 w 4519987"/>
                  <a:gd name="connsiteY58" fmla="*/ 4238625 h 4496940"/>
                  <a:gd name="connsiteX59" fmla="*/ 3288052 w 4519987"/>
                  <a:gd name="connsiteY59" fmla="*/ 4248150 h 4496940"/>
                  <a:gd name="connsiteX60" fmla="*/ 3240427 w 4519987"/>
                  <a:gd name="connsiteY60" fmla="*/ 4267200 h 4496940"/>
                  <a:gd name="connsiteX61" fmla="*/ 3068977 w 4519987"/>
                  <a:gd name="connsiteY61" fmla="*/ 4286250 h 4496940"/>
                  <a:gd name="connsiteX62" fmla="*/ 2935627 w 4519987"/>
                  <a:gd name="connsiteY62" fmla="*/ 4333875 h 4496940"/>
                  <a:gd name="connsiteX63" fmla="*/ 2811802 w 4519987"/>
                  <a:gd name="connsiteY63" fmla="*/ 4371975 h 4496940"/>
                  <a:gd name="connsiteX64" fmla="*/ 2745127 w 4519987"/>
                  <a:gd name="connsiteY64" fmla="*/ 4410075 h 4496940"/>
                  <a:gd name="connsiteX65" fmla="*/ 2697502 w 4519987"/>
                  <a:gd name="connsiteY65" fmla="*/ 4429125 h 4496940"/>
                  <a:gd name="connsiteX66" fmla="*/ 2640352 w 4519987"/>
                  <a:gd name="connsiteY66" fmla="*/ 4457700 h 4496940"/>
                  <a:gd name="connsiteX67" fmla="*/ 2583202 w 4519987"/>
                  <a:gd name="connsiteY67" fmla="*/ 4467225 h 4496940"/>
                  <a:gd name="connsiteX68" fmla="*/ 2545102 w 4519987"/>
                  <a:gd name="connsiteY68" fmla="*/ 4486275 h 4496940"/>
                  <a:gd name="connsiteX69" fmla="*/ 2306977 w 4519987"/>
                  <a:gd name="connsiteY69" fmla="*/ 4476750 h 4496940"/>
                  <a:gd name="connsiteX70" fmla="*/ 2202202 w 4519987"/>
                  <a:gd name="connsiteY70" fmla="*/ 4457700 h 4496940"/>
                  <a:gd name="connsiteX71" fmla="*/ 2126002 w 4519987"/>
                  <a:gd name="connsiteY71" fmla="*/ 4429125 h 4496940"/>
                  <a:gd name="connsiteX72" fmla="*/ 1935502 w 4519987"/>
                  <a:gd name="connsiteY72" fmla="*/ 4400550 h 4496940"/>
                  <a:gd name="connsiteX73" fmla="*/ 1821202 w 4519987"/>
                  <a:gd name="connsiteY73" fmla="*/ 4371975 h 4496940"/>
                  <a:gd name="connsiteX74" fmla="*/ 1754527 w 4519987"/>
                  <a:gd name="connsiteY74" fmla="*/ 4352925 h 4496940"/>
                  <a:gd name="connsiteX75" fmla="*/ 1687852 w 4519987"/>
                  <a:gd name="connsiteY75" fmla="*/ 4343400 h 4496940"/>
                  <a:gd name="connsiteX76" fmla="*/ 1573552 w 4519987"/>
                  <a:gd name="connsiteY76" fmla="*/ 4305300 h 4496940"/>
                  <a:gd name="connsiteX77" fmla="*/ 1402102 w 4519987"/>
                  <a:gd name="connsiteY77" fmla="*/ 4276725 h 4496940"/>
                  <a:gd name="connsiteX78" fmla="*/ 1287802 w 4519987"/>
                  <a:gd name="connsiteY78" fmla="*/ 4229100 h 4496940"/>
                  <a:gd name="connsiteX79" fmla="*/ 1221127 w 4519987"/>
                  <a:gd name="connsiteY79" fmla="*/ 4200525 h 4496940"/>
                  <a:gd name="connsiteX80" fmla="*/ 1144927 w 4519987"/>
                  <a:gd name="connsiteY80" fmla="*/ 4171950 h 4496940"/>
                  <a:gd name="connsiteX81" fmla="*/ 1087777 w 4519987"/>
                  <a:gd name="connsiteY81" fmla="*/ 4143375 h 4496940"/>
                  <a:gd name="connsiteX82" fmla="*/ 1030627 w 4519987"/>
                  <a:gd name="connsiteY82" fmla="*/ 4124325 h 4496940"/>
                  <a:gd name="connsiteX83" fmla="*/ 925852 w 4519987"/>
                  <a:gd name="connsiteY83" fmla="*/ 4067175 h 4496940"/>
                  <a:gd name="connsiteX84" fmla="*/ 830602 w 4519987"/>
                  <a:gd name="connsiteY84" fmla="*/ 3981450 h 4496940"/>
                  <a:gd name="connsiteX85" fmla="*/ 763927 w 4519987"/>
                  <a:gd name="connsiteY85" fmla="*/ 3914775 h 4496940"/>
                  <a:gd name="connsiteX86" fmla="*/ 725827 w 4519987"/>
                  <a:gd name="connsiteY86" fmla="*/ 3876675 h 4496940"/>
                  <a:gd name="connsiteX87" fmla="*/ 697252 w 4519987"/>
                  <a:gd name="connsiteY87" fmla="*/ 3838575 h 4496940"/>
                  <a:gd name="connsiteX88" fmla="*/ 640102 w 4519987"/>
                  <a:gd name="connsiteY88" fmla="*/ 3781425 h 4496940"/>
                  <a:gd name="connsiteX89" fmla="*/ 611527 w 4519987"/>
                  <a:gd name="connsiteY89" fmla="*/ 3733800 h 4496940"/>
                  <a:gd name="connsiteX90" fmla="*/ 554377 w 4519987"/>
                  <a:gd name="connsiteY90" fmla="*/ 3657600 h 4496940"/>
                  <a:gd name="connsiteX91" fmla="*/ 525802 w 4519987"/>
                  <a:gd name="connsiteY91" fmla="*/ 3609975 h 4496940"/>
                  <a:gd name="connsiteX92" fmla="*/ 497227 w 4519987"/>
                  <a:gd name="connsiteY92" fmla="*/ 3552825 h 4496940"/>
                  <a:gd name="connsiteX93" fmla="*/ 440077 w 4519987"/>
                  <a:gd name="connsiteY93" fmla="*/ 3495675 h 4496940"/>
                  <a:gd name="connsiteX94" fmla="*/ 411502 w 4519987"/>
                  <a:gd name="connsiteY94" fmla="*/ 3448050 h 4496940"/>
                  <a:gd name="connsiteX95" fmla="*/ 278152 w 4519987"/>
                  <a:gd name="connsiteY95" fmla="*/ 3257550 h 4496940"/>
                  <a:gd name="connsiteX96" fmla="*/ 249577 w 4519987"/>
                  <a:gd name="connsiteY96" fmla="*/ 3200400 h 4496940"/>
                  <a:gd name="connsiteX97" fmla="*/ 240052 w 4519987"/>
                  <a:gd name="connsiteY97" fmla="*/ 3162300 h 4496940"/>
                  <a:gd name="connsiteX98" fmla="*/ 221002 w 4519987"/>
                  <a:gd name="connsiteY98" fmla="*/ 3105150 h 4496940"/>
                  <a:gd name="connsiteX99" fmla="*/ 173377 w 4519987"/>
                  <a:gd name="connsiteY99" fmla="*/ 3019425 h 4496940"/>
                  <a:gd name="connsiteX100" fmla="*/ 144802 w 4519987"/>
                  <a:gd name="connsiteY100" fmla="*/ 2924175 h 4496940"/>
                  <a:gd name="connsiteX101" fmla="*/ 68602 w 4519987"/>
                  <a:gd name="connsiteY101" fmla="*/ 2724150 h 4496940"/>
                  <a:gd name="connsiteX102" fmla="*/ 49552 w 4519987"/>
                  <a:gd name="connsiteY102" fmla="*/ 2638425 h 4496940"/>
                  <a:gd name="connsiteX103" fmla="*/ 40027 w 4519987"/>
                  <a:gd name="connsiteY103" fmla="*/ 2562225 h 4496940"/>
                  <a:gd name="connsiteX104" fmla="*/ 30502 w 4519987"/>
                  <a:gd name="connsiteY104" fmla="*/ 2514600 h 4496940"/>
                  <a:gd name="connsiteX105" fmla="*/ 11452 w 4519987"/>
                  <a:gd name="connsiteY105" fmla="*/ 2400300 h 4496940"/>
                  <a:gd name="connsiteX106" fmla="*/ 20977 w 4519987"/>
                  <a:gd name="connsiteY106" fmla="*/ 1905000 h 4496940"/>
                  <a:gd name="connsiteX107" fmla="*/ 30502 w 4519987"/>
                  <a:gd name="connsiteY107" fmla="*/ 1838325 h 4496940"/>
                  <a:gd name="connsiteX108" fmla="*/ 49552 w 4519987"/>
                  <a:gd name="connsiteY108" fmla="*/ 1781175 h 4496940"/>
                  <a:gd name="connsiteX109" fmla="*/ 59077 w 4519987"/>
                  <a:gd name="connsiteY109" fmla="*/ 1743075 h 4496940"/>
                  <a:gd name="connsiteX110" fmla="*/ 78127 w 4519987"/>
                  <a:gd name="connsiteY110" fmla="*/ 1685925 h 4496940"/>
                  <a:gd name="connsiteX111" fmla="*/ 87652 w 4519987"/>
                  <a:gd name="connsiteY111" fmla="*/ 1638300 h 4496940"/>
                  <a:gd name="connsiteX112" fmla="*/ 106702 w 4519987"/>
                  <a:gd name="connsiteY112" fmla="*/ 1590675 h 4496940"/>
                  <a:gd name="connsiteX113" fmla="*/ 135277 w 4519987"/>
                  <a:gd name="connsiteY113" fmla="*/ 1504950 h 4496940"/>
                  <a:gd name="connsiteX114" fmla="*/ 154327 w 4519987"/>
                  <a:gd name="connsiteY114" fmla="*/ 1419225 h 4496940"/>
                  <a:gd name="connsiteX115" fmla="*/ 230527 w 4519987"/>
                  <a:gd name="connsiteY115" fmla="*/ 1276350 h 4496940"/>
                  <a:gd name="connsiteX116" fmla="*/ 240052 w 4519987"/>
                  <a:gd name="connsiteY116" fmla="*/ 1247775 h 4496940"/>
                  <a:gd name="connsiteX117" fmla="*/ 268627 w 4519987"/>
                  <a:gd name="connsiteY117" fmla="*/ 1200150 h 4496940"/>
                  <a:gd name="connsiteX118" fmla="*/ 287677 w 4519987"/>
                  <a:gd name="connsiteY118" fmla="*/ 1152525 h 4496940"/>
                  <a:gd name="connsiteX119" fmla="*/ 316252 w 4519987"/>
                  <a:gd name="connsiteY119" fmla="*/ 1114425 h 4496940"/>
                  <a:gd name="connsiteX120" fmla="*/ 363877 w 4519987"/>
                  <a:gd name="connsiteY120" fmla="*/ 1038225 h 4496940"/>
                  <a:gd name="connsiteX121" fmla="*/ 382927 w 4519987"/>
                  <a:gd name="connsiteY121" fmla="*/ 1009650 h 4496940"/>
                  <a:gd name="connsiteX122" fmla="*/ 440077 w 4519987"/>
                  <a:gd name="connsiteY122" fmla="*/ 904875 h 4496940"/>
                  <a:gd name="connsiteX123" fmla="*/ 478177 w 4519987"/>
                  <a:gd name="connsiteY123" fmla="*/ 857250 h 4496940"/>
                  <a:gd name="connsiteX124" fmla="*/ 497227 w 4519987"/>
                  <a:gd name="connsiteY124" fmla="*/ 828675 h 4496940"/>
                  <a:gd name="connsiteX125" fmla="*/ 535327 w 4519987"/>
                  <a:gd name="connsiteY125" fmla="*/ 800100 h 4496940"/>
                  <a:gd name="connsiteX126" fmla="*/ 602002 w 4519987"/>
                  <a:gd name="connsiteY126" fmla="*/ 733425 h 4496940"/>
                  <a:gd name="connsiteX127" fmla="*/ 668677 w 4519987"/>
                  <a:gd name="connsiteY127" fmla="*/ 676275 h 4496940"/>
                  <a:gd name="connsiteX128" fmla="*/ 697252 w 4519987"/>
                  <a:gd name="connsiteY128" fmla="*/ 657225 h 4496940"/>
                  <a:gd name="connsiteX129" fmla="*/ 840127 w 4519987"/>
                  <a:gd name="connsiteY129" fmla="*/ 533400 h 4496940"/>
                  <a:gd name="connsiteX130" fmla="*/ 887752 w 4519987"/>
                  <a:gd name="connsiteY130" fmla="*/ 504825 h 4496940"/>
                  <a:gd name="connsiteX131" fmla="*/ 1167152 w 4519987"/>
                  <a:gd name="connsiteY131" fmla="*/ 311150 h 4496940"/>
                  <a:gd name="connsiteX132" fmla="*/ 1268752 w 4519987"/>
                  <a:gd name="connsiteY132" fmla="*/ 285750 h 4496940"/>
                  <a:gd name="connsiteX133" fmla="*/ 1411627 w 4519987"/>
                  <a:gd name="connsiteY133" fmla="*/ 190500 h 4496940"/>
                  <a:gd name="connsiteX134" fmla="*/ 1449727 w 4519987"/>
                  <a:gd name="connsiteY134" fmla="*/ 161925 h 4496940"/>
                  <a:gd name="connsiteX135" fmla="*/ 1525927 w 4519987"/>
                  <a:gd name="connsiteY135" fmla="*/ 152400 h 4496940"/>
                  <a:gd name="connsiteX136" fmla="*/ 1583077 w 4519987"/>
                  <a:gd name="connsiteY136" fmla="*/ 142875 h 4496940"/>
                  <a:gd name="connsiteX137" fmla="*/ 1716427 w 4519987"/>
                  <a:gd name="connsiteY137" fmla="*/ 123825 h 4496940"/>
                  <a:gd name="connsiteX138" fmla="*/ 1811677 w 4519987"/>
                  <a:gd name="connsiteY138" fmla="*/ 114300 h 4496940"/>
                  <a:gd name="connsiteX139" fmla="*/ 1859302 w 4519987"/>
                  <a:gd name="connsiteY139" fmla="*/ 104775 h 4496940"/>
                  <a:gd name="connsiteX140" fmla="*/ 1916452 w 4519987"/>
                  <a:gd name="connsiteY140" fmla="*/ 95250 h 4496940"/>
                  <a:gd name="connsiteX141" fmla="*/ 2030752 w 4519987"/>
                  <a:gd name="connsiteY141" fmla="*/ 66675 h 4496940"/>
                  <a:gd name="connsiteX142" fmla="*/ 2097427 w 4519987"/>
                  <a:gd name="connsiteY142" fmla="*/ 47625 h 4496940"/>
                  <a:gd name="connsiteX143" fmla="*/ 2164102 w 4519987"/>
                  <a:gd name="connsiteY143" fmla="*/ 38100 h 4496940"/>
                  <a:gd name="connsiteX144" fmla="*/ 2392702 w 4519987"/>
                  <a:gd name="connsiteY14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73902 w 4519987"/>
                  <a:gd name="connsiteY26" fmla="*/ 1428750 h 4496940"/>
                  <a:gd name="connsiteX27" fmla="*/ 4392952 w 4519987"/>
                  <a:gd name="connsiteY27" fmla="*/ 1552575 h 4496940"/>
                  <a:gd name="connsiteX28" fmla="*/ 4402477 w 4519987"/>
                  <a:gd name="connsiteY28" fmla="*/ 1590675 h 4496940"/>
                  <a:gd name="connsiteX29" fmla="*/ 4431052 w 4519987"/>
                  <a:gd name="connsiteY29" fmla="*/ 1685925 h 4496940"/>
                  <a:gd name="connsiteX30" fmla="*/ 4519952 w 4519987"/>
                  <a:gd name="connsiteY30" fmla="*/ 2181225 h 4496940"/>
                  <a:gd name="connsiteX31" fmla="*/ 4446927 w 4519987"/>
                  <a:gd name="connsiteY31" fmla="*/ 2768600 h 4496940"/>
                  <a:gd name="connsiteX32" fmla="*/ 4383427 w 4519987"/>
                  <a:gd name="connsiteY32" fmla="*/ 2990850 h 4496940"/>
                  <a:gd name="connsiteX33" fmla="*/ 4278652 w 4519987"/>
                  <a:gd name="connsiteY33" fmla="*/ 3248025 h 4496940"/>
                  <a:gd name="connsiteX34" fmla="*/ 4259602 w 4519987"/>
                  <a:gd name="connsiteY34" fmla="*/ 3276600 h 4496940"/>
                  <a:gd name="connsiteX35" fmla="*/ 4221502 w 4519987"/>
                  <a:gd name="connsiteY35" fmla="*/ 3333750 h 4496940"/>
                  <a:gd name="connsiteX36" fmla="*/ 4211977 w 4519987"/>
                  <a:gd name="connsiteY36" fmla="*/ 3362325 h 4496940"/>
                  <a:gd name="connsiteX37" fmla="*/ 4183402 w 4519987"/>
                  <a:gd name="connsiteY37" fmla="*/ 3400425 h 4496940"/>
                  <a:gd name="connsiteX38" fmla="*/ 4164352 w 4519987"/>
                  <a:gd name="connsiteY38" fmla="*/ 3429000 h 4496940"/>
                  <a:gd name="connsiteX39" fmla="*/ 4088152 w 4519987"/>
                  <a:gd name="connsiteY39" fmla="*/ 3495675 h 4496940"/>
                  <a:gd name="connsiteX40" fmla="*/ 4059577 w 4519987"/>
                  <a:gd name="connsiteY40" fmla="*/ 3533775 h 4496940"/>
                  <a:gd name="connsiteX41" fmla="*/ 4002427 w 4519987"/>
                  <a:gd name="connsiteY41" fmla="*/ 3600450 h 4496940"/>
                  <a:gd name="connsiteX42" fmla="*/ 3983377 w 4519987"/>
                  <a:gd name="connsiteY42" fmla="*/ 3629025 h 4496940"/>
                  <a:gd name="connsiteX43" fmla="*/ 3954802 w 4519987"/>
                  <a:gd name="connsiteY43" fmla="*/ 3648075 h 4496940"/>
                  <a:gd name="connsiteX44" fmla="*/ 3907177 w 4519987"/>
                  <a:gd name="connsiteY44" fmla="*/ 3686175 h 4496940"/>
                  <a:gd name="connsiteX45" fmla="*/ 3869077 w 4519987"/>
                  <a:gd name="connsiteY45" fmla="*/ 3724275 h 4496940"/>
                  <a:gd name="connsiteX46" fmla="*/ 3792877 w 4519987"/>
                  <a:gd name="connsiteY46" fmla="*/ 3781425 h 4496940"/>
                  <a:gd name="connsiteX47" fmla="*/ 3783352 w 4519987"/>
                  <a:gd name="connsiteY47" fmla="*/ 3810000 h 4496940"/>
                  <a:gd name="connsiteX48" fmla="*/ 3745252 w 4519987"/>
                  <a:gd name="connsiteY48" fmla="*/ 3819525 h 4496940"/>
                  <a:gd name="connsiteX49" fmla="*/ 3678577 w 4519987"/>
                  <a:gd name="connsiteY49" fmla="*/ 3848100 h 4496940"/>
                  <a:gd name="connsiteX50" fmla="*/ 3659527 w 4519987"/>
                  <a:gd name="connsiteY50" fmla="*/ 3971925 h 4496940"/>
                  <a:gd name="connsiteX51" fmla="*/ 3630952 w 4519987"/>
                  <a:gd name="connsiteY51" fmla="*/ 4010025 h 4496940"/>
                  <a:gd name="connsiteX52" fmla="*/ 3621427 w 4519987"/>
                  <a:gd name="connsiteY52" fmla="*/ 4038600 h 4496940"/>
                  <a:gd name="connsiteX53" fmla="*/ 3554752 w 4519987"/>
                  <a:gd name="connsiteY53" fmla="*/ 4095750 h 4496940"/>
                  <a:gd name="connsiteX54" fmla="*/ 3516652 w 4519987"/>
                  <a:gd name="connsiteY54" fmla="*/ 4114800 h 4496940"/>
                  <a:gd name="connsiteX55" fmla="*/ 3497602 w 4519987"/>
                  <a:gd name="connsiteY55" fmla="*/ 4143375 h 4496940"/>
                  <a:gd name="connsiteX56" fmla="*/ 3383302 w 4519987"/>
                  <a:gd name="connsiteY56" fmla="*/ 4210050 h 4496940"/>
                  <a:gd name="connsiteX57" fmla="*/ 3335677 w 4519987"/>
                  <a:gd name="connsiteY57" fmla="*/ 4238625 h 4496940"/>
                  <a:gd name="connsiteX58" fmla="*/ 3288052 w 4519987"/>
                  <a:gd name="connsiteY58" fmla="*/ 4248150 h 4496940"/>
                  <a:gd name="connsiteX59" fmla="*/ 3240427 w 4519987"/>
                  <a:gd name="connsiteY59" fmla="*/ 4267200 h 4496940"/>
                  <a:gd name="connsiteX60" fmla="*/ 3068977 w 4519987"/>
                  <a:gd name="connsiteY60" fmla="*/ 4286250 h 4496940"/>
                  <a:gd name="connsiteX61" fmla="*/ 2935627 w 4519987"/>
                  <a:gd name="connsiteY61" fmla="*/ 4333875 h 4496940"/>
                  <a:gd name="connsiteX62" fmla="*/ 2811802 w 4519987"/>
                  <a:gd name="connsiteY62" fmla="*/ 4371975 h 4496940"/>
                  <a:gd name="connsiteX63" fmla="*/ 2745127 w 4519987"/>
                  <a:gd name="connsiteY63" fmla="*/ 4410075 h 4496940"/>
                  <a:gd name="connsiteX64" fmla="*/ 2697502 w 4519987"/>
                  <a:gd name="connsiteY64" fmla="*/ 4429125 h 4496940"/>
                  <a:gd name="connsiteX65" fmla="*/ 2640352 w 4519987"/>
                  <a:gd name="connsiteY65" fmla="*/ 4457700 h 4496940"/>
                  <a:gd name="connsiteX66" fmla="*/ 2583202 w 4519987"/>
                  <a:gd name="connsiteY66" fmla="*/ 4467225 h 4496940"/>
                  <a:gd name="connsiteX67" fmla="*/ 2545102 w 4519987"/>
                  <a:gd name="connsiteY67" fmla="*/ 4486275 h 4496940"/>
                  <a:gd name="connsiteX68" fmla="*/ 2306977 w 4519987"/>
                  <a:gd name="connsiteY68" fmla="*/ 4476750 h 4496940"/>
                  <a:gd name="connsiteX69" fmla="*/ 2202202 w 4519987"/>
                  <a:gd name="connsiteY69" fmla="*/ 4457700 h 4496940"/>
                  <a:gd name="connsiteX70" fmla="*/ 2126002 w 4519987"/>
                  <a:gd name="connsiteY70" fmla="*/ 4429125 h 4496940"/>
                  <a:gd name="connsiteX71" fmla="*/ 1935502 w 4519987"/>
                  <a:gd name="connsiteY71" fmla="*/ 4400550 h 4496940"/>
                  <a:gd name="connsiteX72" fmla="*/ 1821202 w 4519987"/>
                  <a:gd name="connsiteY72" fmla="*/ 4371975 h 4496940"/>
                  <a:gd name="connsiteX73" fmla="*/ 1754527 w 4519987"/>
                  <a:gd name="connsiteY73" fmla="*/ 4352925 h 4496940"/>
                  <a:gd name="connsiteX74" fmla="*/ 1687852 w 4519987"/>
                  <a:gd name="connsiteY74" fmla="*/ 4343400 h 4496940"/>
                  <a:gd name="connsiteX75" fmla="*/ 1573552 w 4519987"/>
                  <a:gd name="connsiteY75" fmla="*/ 4305300 h 4496940"/>
                  <a:gd name="connsiteX76" fmla="*/ 1402102 w 4519987"/>
                  <a:gd name="connsiteY76" fmla="*/ 4276725 h 4496940"/>
                  <a:gd name="connsiteX77" fmla="*/ 1287802 w 4519987"/>
                  <a:gd name="connsiteY77" fmla="*/ 4229100 h 4496940"/>
                  <a:gd name="connsiteX78" fmla="*/ 1221127 w 4519987"/>
                  <a:gd name="connsiteY78" fmla="*/ 4200525 h 4496940"/>
                  <a:gd name="connsiteX79" fmla="*/ 1144927 w 4519987"/>
                  <a:gd name="connsiteY79" fmla="*/ 4171950 h 4496940"/>
                  <a:gd name="connsiteX80" fmla="*/ 1087777 w 4519987"/>
                  <a:gd name="connsiteY80" fmla="*/ 4143375 h 4496940"/>
                  <a:gd name="connsiteX81" fmla="*/ 1030627 w 4519987"/>
                  <a:gd name="connsiteY81" fmla="*/ 4124325 h 4496940"/>
                  <a:gd name="connsiteX82" fmla="*/ 925852 w 4519987"/>
                  <a:gd name="connsiteY82" fmla="*/ 4067175 h 4496940"/>
                  <a:gd name="connsiteX83" fmla="*/ 830602 w 4519987"/>
                  <a:gd name="connsiteY83" fmla="*/ 3981450 h 4496940"/>
                  <a:gd name="connsiteX84" fmla="*/ 763927 w 4519987"/>
                  <a:gd name="connsiteY84" fmla="*/ 3914775 h 4496940"/>
                  <a:gd name="connsiteX85" fmla="*/ 725827 w 4519987"/>
                  <a:gd name="connsiteY85" fmla="*/ 3876675 h 4496940"/>
                  <a:gd name="connsiteX86" fmla="*/ 697252 w 4519987"/>
                  <a:gd name="connsiteY86" fmla="*/ 3838575 h 4496940"/>
                  <a:gd name="connsiteX87" fmla="*/ 640102 w 4519987"/>
                  <a:gd name="connsiteY87" fmla="*/ 3781425 h 4496940"/>
                  <a:gd name="connsiteX88" fmla="*/ 611527 w 4519987"/>
                  <a:gd name="connsiteY88" fmla="*/ 3733800 h 4496940"/>
                  <a:gd name="connsiteX89" fmla="*/ 554377 w 4519987"/>
                  <a:gd name="connsiteY89" fmla="*/ 3657600 h 4496940"/>
                  <a:gd name="connsiteX90" fmla="*/ 525802 w 4519987"/>
                  <a:gd name="connsiteY90" fmla="*/ 3609975 h 4496940"/>
                  <a:gd name="connsiteX91" fmla="*/ 497227 w 4519987"/>
                  <a:gd name="connsiteY91" fmla="*/ 3552825 h 4496940"/>
                  <a:gd name="connsiteX92" fmla="*/ 440077 w 4519987"/>
                  <a:gd name="connsiteY92" fmla="*/ 3495675 h 4496940"/>
                  <a:gd name="connsiteX93" fmla="*/ 411502 w 4519987"/>
                  <a:gd name="connsiteY93" fmla="*/ 3448050 h 4496940"/>
                  <a:gd name="connsiteX94" fmla="*/ 278152 w 4519987"/>
                  <a:gd name="connsiteY94" fmla="*/ 3257550 h 4496940"/>
                  <a:gd name="connsiteX95" fmla="*/ 249577 w 4519987"/>
                  <a:gd name="connsiteY95" fmla="*/ 3200400 h 4496940"/>
                  <a:gd name="connsiteX96" fmla="*/ 240052 w 4519987"/>
                  <a:gd name="connsiteY96" fmla="*/ 3162300 h 4496940"/>
                  <a:gd name="connsiteX97" fmla="*/ 221002 w 4519987"/>
                  <a:gd name="connsiteY97" fmla="*/ 3105150 h 4496940"/>
                  <a:gd name="connsiteX98" fmla="*/ 173377 w 4519987"/>
                  <a:gd name="connsiteY98" fmla="*/ 3019425 h 4496940"/>
                  <a:gd name="connsiteX99" fmla="*/ 144802 w 4519987"/>
                  <a:gd name="connsiteY99" fmla="*/ 2924175 h 4496940"/>
                  <a:gd name="connsiteX100" fmla="*/ 68602 w 4519987"/>
                  <a:gd name="connsiteY100" fmla="*/ 2724150 h 4496940"/>
                  <a:gd name="connsiteX101" fmla="*/ 49552 w 4519987"/>
                  <a:gd name="connsiteY101" fmla="*/ 2638425 h 4496940"/>
                  <a:gd name="connsiteX102" fmla="*/ 40027 w 4519987"/>
                  <a:gd name="connsiteY102" fmla="*/ 2562225 h 4496940"/>
                  <a:gd name="connsiteX103" fmla="*/ 30502 w 4519987"/>
                  <a:gd name="connsiteY103" fmla="*/ 2514600 h 4496940"/>
                  <a:gd name="connsiteX104" fmla="*/ 11452 w 4519987"/>
                  <a:gd name="connsiteY104" fmla="*/ 2400300 h 4496940"/>
                  <a:gd name="connsiteX105" fmla="*/ 20977 w 4519987"/>
                  <a:gd name="connsiteY105" fmla="*/ 1905000 h 4496940"/>
                  <a:gd name="connsiteX106" fmla="*/ 30502 w 4519987"/>
                  <a:gd name="connsiteY106" fmla="*/ 1838325 h 4496940"/>
                  <a:gd name="connsiteX107" fmla="*/ 49552 w 4519987"/>
                  <a:gd name="connsiteY107" fmla="*/ 1781175 h 4496940"/>
                  <a:gd name="connsiteX108" fmla="*/ 59077 w 4519987"/>
                  <a:gd name="connsiteY108" fmla="*/ 1743075 h 4496940"/>
                  <a:gd name="connsiteX109" fmla="*/ 78127 w 4519987"/>
                  <a:gd name="connsiteY109" fmla="*/ 1685925 h 4496940"/>
                  <a:gd name="connsiteX110" fmla="*/ 87652 w 4519987"/>
                  <a:gd name="connsiteY110" fmla="*/ 1638300 h 4496940"/>
                  <a:gd name="connsiteX111" fmla="*/ 106702 w 4519987"/>
                  <a:gd name="connsiteY111" fmla="*/ 1590675 h 4496940"/>
                  <a:gd name="connsiteX112" fmla="*/ 135277 w 4519987"/>
                  <a:gd name="connsiteY112" fmla="*/ 1504950 h 4496940"/>
                  <a:gd name="connsiteX113" fmla="*/ 154327 w 4519987"/>
                  <a:gd name="connsiteY113" fmla="*/ 1419225 h 4496940"/>
                  <a:gd name="connsiteX114" fmla="*/ 230527 w 4519987"/>
                  <a:gd name="connsiteY114" fmla="*/ 1276350 h 4496940"/>
                  <a:gd name="connsiteX115" fmla="*/ 240052 w 4519987"/>
                  <a:gd name="connsiteY115" fmla="*/ 1247775 h 4496940"/>
                  <a:gd name="connsiteX116" fmla="*/ 268627 w 4519987"/>
                  <a:gd name="connsiteY116" fmla="*/ 1200150 h 4496940"/>
                  <a:gd name="connsiteX117" fmla="*/ 287677 w 4519987"/>
                  <a:gd name="connsiteY117" fmla="*/ 1152525 h 4496940"/>
                  <a:gd name="connsiteX118" fmla="*/ 316252 w 4519987"/>
                  <a:gd name="connsiteY118" fmla="*/ 1114425 h 4496940"/>
                  <a:gd name="connsiteX119" fmla="*/ 363877 w 4519987"/>
                  <a:gd name="connsiteY119" fmla="*/ 1038225 h 4496940"/>
                  <a:gd name="connsiteX120" fmla="*/ 382927 w 4519987"/>
                  <a:gd name="connsiteY120" fmla="*/ 1009650 h 4496940"/>
                  <a:gd name="connsiteX121" fmla="*/ 440077 w 4519987"/>
                  <a:gd name="connsiteY121" fmla="*/ 904875 h 4496940"/>
                  <a:gd name="connsiteX122" fmla="*/ 478177 w 4519987"/>
                  <a:gd name="connsiteY122" fmla="*/ 857250 h 4496940"/>
                  <a:gd name="connsiteX123" fmla="*/ 497227 w 4519987"/>
                  <a:gd name="connsiteY123" fmla="*/ 828675 h 4496940"/>
                  <a:gd name="connsiteX124" fmla="*/ 535327 w 4519987"/>
                  <a:gd name="connsiteY124" fmla="*/ 800100 h 4496940"/>
                  <a:gd name="connsiteX125" fmla="*/ 602002 w 4519987"/>
                  <a:gd name="connsiteY125" fmla="*/ 733425 h 4496940"/>
                  <a:gd name="connsiteX126" fmla="*/ 668677 w 4519987"/>
                  <a:gd name="connsiteY126" fmla="*/ 676275 h 4496940"/>
                  <a:gd name="connsiteX127" fmla="*/ 697252 w 4519987"/>
                  <a:gd name="connsiteY127" fmla="*/ 657225 h 4496940"/>
                  <a:gd name="connsiteX128" fmla="*/ 840127 w 4519987"/>
                  <a:gd name="connsiteY128" fmla="*/ 533400 h 4496940"/>
                  <a:gd name="connsiteX129" fmla="*/ 887752 w 4519987"/>
                  <a:gd name="connsiteY129" fmla="*/ 504825 h 4496940"/>
                  <a:gd name="connsiteX130" fmla="*/ 1167152 w 4519987"/>
                  <a:gd name="connsiteY130" fmla="*/ 311150 h 4496940"/>
                  <a:gd name="connsiteX131" fmla="*/ 1268752 w 4519987"/>
                  <a:gd name="connsiteY131" fmla="*/ 285750 h 4496940"/>
                  <a:gd name="connsiteX132" fmla="*/ 1411627 w 4519987"/>
                  <a:gd name="connsiteY132" fmla="*/ 190500 h 4496940"/>
                  <a:gd name="connsiteX133" fmla="*/ 1449727 w 4519987"/>
                  <a:gd name="connsiteY133" fmla="*/ 161925 h 4496940"/>
                  <a:gd name="connsiteX134" fmla="*/ 1525927 w 4519987"/>
                  <a:gd name="connsiteY134" fmla="*/ 152400 h 4496940"/>
                  <a:gd name="connsiteX135" fmla="*/ 1583077 w 4519987"/>
                  <a:gd name="connsiteY135" fmla="*/ 142875 h 4496940"/>
                  <a:gd name="connsiteX136" fmla="*/ 1716427 w 4519987"/>
                  <a:gd name="connsiteY136" fmla="*/ 123825 h 4496940"/>
                  <a:gd name="connsiteX137" fmla="*/ 1811677 w 4519987"/>
                  <a:gd name="connsiteY137" fmla="*/ 114300 h 4496940"/>
                  <a:gd name="connsiteX138" fmla="*/ 1859302 w 4519987"/>
                  <a:gd name="connsiteY138" fmla="*/ 104775 h 4496940"/>
                  <a:gd name="connsiteX139" fmla="*/ 1916452 w 4519987"/>
                  <a:gd name="connsiteY139" fmla="*/ 95250 h 4496940"/>
                  <a:gd name="connsiteX140" fmla="*/ 2030752 w 4519987"/>
                  <a:gd name="connsiteY140" fmla="*/ 66675 h 4496940"/>
                  <a:gd name="connsiteX141" fmla="*/ 2097427 w 4519987"/>
                  <a:gd name="connsiteY141" fmla="*/ 47625 h 4496940"/>
                  <a:gd name="connsiteX142" fmla="*/ 2164102 w 4519987"/>
                  <a:gd name="connsiteY142" fmla="*/ 38100 h 4496940"/>
                  <a:gd name="connsiteX143" fmla="*/ 2392702 w 4519987"/>
                  <a:gd name="connsiteY14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02477 w 4519987"/>
                  <a:gd name="connsiteY27" fmla="*/ 1590675 h 4496940"/>
                  <a:gd name="connsiteX28" fmla="*/ 4431052 w 4519987"/>
                  <a:gd name="connsiteY28" fmla="*/ 1685925 h 4496940"/>
                  <a:gd name="connsiteX29" fmla="*/ 4519952 w 4519987"/>
                  <a:gd name="connsiteY29" fmla="*/ 2181225 h 4496940"/>
                  <a:gd name="connsiteX30" fmla="*/ 4446927 w 4519987"/>
                  <a:gd name="connsiteY30" fmla="*/ 2768600 h 4496940"/>
                  <a:gd name="connsiteX31" fmla="*/ 4383427 w 4519987"/>
                  <a:gd name="connsiteY31" fmla="*/ 2990850 h 4496940"/>
                  <a:gd name="connsiteX32" fmla="*/ 4278652 w 4519987"/>
                  <a:gd name="connsiteY32" fmla="*/ 3248025 h 4496940"/>
                  <a:gd name="connsiteX33" fmla="*/ 4259602 w 4519987"/>
                  <a:gd name="connsiteY33" fmla="*/ 3276600 h 4496940"/>
                  <a:gd name="connsiteX34" fmla="*/ 4221502 w 4519987"/>
                  <a:gd name="connsiteY34" fmla="*/ 3333750 h 4496940"/>
                  <a:gd name="connsiteX35" fmla="*/ 4211977 w 4519987"/>
                  <a:gd name="connsiteY35" fmla="*/ 3362325 h 4496940"/>
                  <a:gd name="connsiteX36" fmla="*/ 4183402 w 4519987"/>
                  <a:gd name="connsiteY36" fmla="*/ 3400425 h 4496940"/>
                  <a:gd name="connsiteX37" fmla="*/ 4164352 w 4519987"/>
                  <a:gd name="connsiteY37" fmla="*/ 3429000 h 4496940"/>
                  <a:gd name="connsiteX38" fmla="*/ 4088152 w 4519987"/>
                  <a:gd name="connsiteY38" fmla="*/ 3495675 h 4496940"/>
                  <a:gd name="connsiteX39" fmla="*/ 4059577 w 4519987"/>
                  <a:gd name="connsiteY39" fmla="*/ 3533775 h 4496940"/>
                  <a:gd name="connsiteX40" fmla="*/ 4002427 w 4519987"/>
                  <a:gd name="connsiteY40" fmla="*/ 3600450 h 4496940"/>
                  <a:gd name="connsiteX41" fmla="*/ 3983377 w 4519987"/>
                  <a:gd name="connsiteY41" fmla="*/ 3629025 h 4496940"/>
                  <a:gd name="connsiteX42" fmla="*/ 3954802 w 4519987"/>
                  <a:gd name="connsiteY42" fmla="*/ 3648075 h 4496940"/>
                  <a:gd name="connsiteX43" fmla="*/ 3907177 w 4519987"/>
                  <a:gd name="connsiteY43" fmla="*/ 3686175 h 4496940"/>
                  <a:gd name="connsiteX44" fmla="*/ 3869077 w 4519987"/>
                  <a:gd name="connsiteY44" fmla="*/ 3724275 h 4496940"/>
                  <a:gd name="connsiteX45" fmla="*/ 3792877 w 4519987"/>
                  <a:gd name="connsiteY45" fmla="*/ 3781425 h 4496940"/>
                  <a:gd name="connsiteX46" fmla="*/ 3783352 w 4519987"/>
                  <a:gd name="connsiteY46" fmla="*/ 3810000 h 4496940"/>
                  <a:gd name="connsiteX47" fmla="*/ 3745252 w 4519987"/>
                  <a:gd name="connsiteY47" fmla="*/ 3819525 h 4496940"/>
                  <a:gd name="connsiteX48" fmla="*/ 3678577 w 4519987"/>
                  <a:gd name="connsiteY48" fmla="*/ 3848100 h 4496940"/>
                  <a:gd name="connsiteX49" fmla="*/ 3659527 w 4519987"/>
                  <a:gd name="connsiteY49" fmla="*/ 3971925 h 4496940"/>
                  <a:gd name="connsiteX50" fmla="*/ 3630952 w 4519987"/>
                  <a:gd name="connsiteY50" fmla="*/ 4010025 h 4496940"/>
                  <a:gd name="connsiteX51" fmla="*/ 3621427 w 4519987"/>
                  <a:gd name="connsiteY51" fmla="*/ 4038600 h 4496940"/>
                  <a:gd name="connsiteX52" fmla="*/ 3554752 w 4519987"/>
                  <a:gd name="connsiteY52" fmla="*/ 4095750 h 4496940"/>
                  <a:gd name="connsiteX53" fmla="*/ 3516652 w 4519987"/>
                  <a:gd name="connsiteY53" fmla="*/ 4114800 h 4496940"/>
                  <a:gd name="connsiteX54" fmla="*/ 3497602 w 4519987"/>
                  <a:gd name="connsiteY54" fmla="*/ 4143375 h 4496940"/>
                  <a:gd name="connsiteX55" fmla="*/ 3383302 w 4519987"/>
                  <a:gd name="connsiteY55" fmla="*/ 4210050 h 4496940"/>
                  <a:gd name="connsiteX56" fmla="*/ 3335677 w 4519987"/>
                  <a:gd name="connsiteY56" fmla="*/ 4238625 h 4496940"/>
                  <a:gd name="connsiteX57" fmla="*/ 3288052 w 4519987"/>
                  <a:gd name="connsiteY57" fmla="*/ 4248150 h 4496940"/>
                  <a:gd name="connsiteX58" fmla="*/ 3240427 w 4519987"/>
                  <a:gd name="connsiteY58" fmla="*/ 4267200 h 4496940"/>
                  <a:gd name="connsiteX59" fmla="*/ 3068977 w 4519987"/>
                  <a:gd name="connsiteY59" fmla="*/ 4286250 h 4496940"/>
                  <a:gd name="connsiteX60" fmla="*/ 2935627 w 4519987"/>
                  <a:gd name="connsiteY60" fmla="*/ 4333875 h 4496940"/>
                  <a:gd name="connsiteX61" fmla="*/ 2811802 w 4519987"/>
                  <a:gd name="connsiteY61" fmla="*/ 4371975 h 4496940"/>
                  <a:gd name="connsiteX62" fmla="*/ 2745127 w 4519987"/>
                  <a:gd name="connsiteY62" fmla="*/ 4410075 h 4496940"/>
                  <a:gd name="connsiteX63" fmla="*/ 2697502 w 4519987"/>
                  <a:gd name="connsiteY63" fmla="*/ 4429125 h 4496940"/>
                  <a:gd name="connsiteX64" fmla="*/ 2640352 w 4519987"/>
                  <a:gd name="connsiteY64" fmla="*/ 4457700 h 4496940"/>
                  <a:gd name="connsiteX65" fmla="*/ 2583202 w 4519987"/>
                  <a:gd name="connsiteY65" fmla="*/ 4467225 h 4496940"/>
                  <a:gd name="connsiteX66" fmla="*/ 2545102 w 4519987"/>
                  <a:gd name="connsiteY66" fmla="*/ 4486275 h 4496940"/>
                  <a:gd name="connsiteX67" fmla="*/ 2306977 w 4519987"/>
                  <a:gd name="connsiteY67" fmla="*/ 4476750 h 4496940"/>
                  <a:gd name="connsiteX68" fmla="*/ 2202202 w 4519987"/>
                  <a:gd name="connsiteY68" fmla="*/ 4457700 h 4496940"/>
                  <a:gd name="connsiteX69" fmla="*/ 2126002 w 4519987"/>
                  <a:gd name="connsiteY69" fmla="*/ 4429125 h 4496940"/>
                  <a:gd name="connsiteX70" fmla="*/ 1935502 w 4519987"/>
                  <a:gd name="connsiteY70" fmla="*/ 4400550 h 4496940"/>
                  <a:gd name="connsiteX71" fmla="*/ 1821202 w 4519987"/>
                  <a:gd name="connsiteY71" fmla="*/ 4371975 h 4496940"/>
                  <a:gd name="connsiteX72" fmla="*/ 1754527 w 4519987"/>
                  <a:gd name="connsiteY72" fmla="*/ 4352925 h 4496940"/>
                  <a:gd name="connsiteX73" fmla="*/ 1687852 w 4519987"/>
                  <a:gd name="connsiteY73" fmla="*/ 4343400 h 4496940"/>
                  <a:gd name="connsiteX74" fmla="*/ 1573552 w 4519987"/>
                  <a:gd name="connsiteY74" fmla="*/ 4305300 h 4496940"/>
                  <a:gd name="connsiteX75" fmla="*/ 1402102 w 4519987"/>
                  <a:gd name="connsiteY75" fmla="*/ 4276725 h 4496940"/>
                  <a:gd name="connsiteX76" fmla="*/ 1287802 w 4519987"/>
                  <a:gd name="connsiteY76" fmla="*/ 4229100 h 4496940"/>
                  <a:gd name="connsiteX77" fmla="*/ 1221127 w 4519987"/>
                  <a:gd name="connsiteY77" fmla="*/ 4200525 h 4496940"/>
                  <a:gd name="connsiteX78" fmla="*/ 1144927 w 4519987"/>
                  <a:gd name="connsiteY78" fmla="*/ 4171950 h 4496940"/>
                  <a:gd name="connsiteX79" fmla="*/ 1087777 w 4519987"/>
                  <a:gd name="connsiteY79" fmla="*/ 4143375 h 4496940"/>
                  <a:gd name="connsiteX80" fmla="*/ 1030627 w 4519987"/>
                  <a:gd name="connsiteY80" fmla="*/ 4124325 h 4496940"/>
                  <a:gd name="connsiteX81" fmla="*/ 925852 w 4519987"/>
                  <a:gd name="connsiteY81" fmla="*/ 4067175 h 4496940"/>
                  <a:gd name="connsiteX82" fmla="*/ 830602 w 4519987"/>
                  <a:gd name="connsiteY82" fmla="*/ 3981450 h 4496940"/>
                  <a:gd name="connsiteX83" fmla="*/ 763927 w 4519987"/>
                  <a:gd name="connsiteY83" fmla="*/ 3914775 h 4496940"/>
                  <a:gd name="connsiteX84" fmla="*/ 725827 w 4519987"/>
                  <a:gd name="connsiteY84" fmla="*/ 3876675 h 4496940"/>
                  <a:gd name="connsiteX85" fmla="*/ 697252 w 4519987"/>
                  <a:gd name="connsiteY85" fmla="*/ 3838575 h 4496940"/>
                  <a:gd name="connsiteX86" fmla="*/ 640102 w 4519987"/>
                  <a:gd name="connsiteY86" fmla="*/ 3781425 h 4496940"/>
                  <a:gd name="connsiteX87" fmla="*/ 611527 w 4519987"/>
                  <a:gd name="connsiteY87" fmla="*/ 3733800 h 4496940"/>
                  <a:gd name="connsiteX88" fmla="*/ 554377 w 4519987"/>
                  <a:gd name="connsiteY88" fmla="*/ 3657600 h 4496940"/>
                  <a:gd name="connsiteX89" fmla="*/ 525802 w 4519987"/>
                  <a:gd name="connsiteY89" fmla="*/ 3609975 h 4496940"/>
                  <a:gd name="connsiteX90" fmla="*/ 497227 w 4519987"/>
                  <a:gd name="connsiteY90" fmla="*/ 3552825 h 4496940"/>
                  <a:gd name="connsiteX91" fmla="*/ 440077 w 4519987"/>
                  <a:gd name="connsiteY91" fmla="*/ 3495675 h 4496940"/>
                  <a:gd name="connsiteX92" fmla="*/ 411502 w 4519987"/>
                  <a:gd name="connsiteY92" fmla="*/ 3448050 h 4496940"/>
                  <a:gd name="connsiteX93" fmla="*/ 278152 w 4519987"/>
                  <a:gd name="connsiteY93" fmla="*/ 3257550 h 4496940"/>
                  <a:gd name="connsiteX94" fmla="*/ 249577 w 4519987"/>
                  <a:gd name="connsiteY94" fmla="*/ 3200400 h 4496940"/>
                  <a:gd name="connsiteX95" fmla="*/ 240052 w 4519987"/>
                  <a:gd name="connsiteY95" fmla="*/ 3162300 h 4496940"/>
                  <a:gd name="connsiteX96" fmla="*/ 221002 w 4519987"/>
                  <a:gd name="connsiteY96" fmla="*/ 3105150 h 4496940"/>
                  <a:gd name="connsiteX97" fmla="*/ 173377 w 4519987"/>
                  <a:gd name="connsiteY97" fmla="*/ 3019425 h 4496940"/>
                  <a:gd name="connsiteX98" fmla="*/ 144802 w 4519987"/>
                  <a:gd name="connsiteY98" fmla="*/ 2924175 h 4496940"/>
                  <a:gd name="connsiteX99" fmla="*/ 68602 w 4519987"/>
                  <a:gd name="connsiteY99" fmla="*/ 2724150 h 4496940"/>
                  <a:gd name="connsiteX100" fmla="*/ 49552 w 4519987"/>
                  <a:gd name="connsiteY100" fmla="*/ 2638425 h 4496940"/>
                  <a:gd name="connsiteX101" fmla="*/ 40027 w 4519987"/>
                  <a:gd name="connsiteY101" fmla="*/ 2562225 h 4496940"/>
                  <a:gd name="connsiteX102" fmla="*/ 30502 w 4519987"/>
                  <a:gd name="connsiteY102" fmla="*/ 2514600 h 4496940"/>
                  <a:gd name="connsiteX103" fmla="*/ 11452 w 4519987"/>
                  <a:gd name="connsiteY103" fmla="*/ 2400300 h 4496940"/>
                  <a:gd name="connsiteX104" fmla="*/ 20977 w 4519987"/>
                  <a:gd name="connsiteY104" fmla="*/ 1905000 h 4496940"/>
                  <a:gd name="connsiteX105" fmla="*/ 30502 w 4519987"/>
                  <a:gd name="connsiteY105" fmla="*/ 1838325 h 4496940"/>
                  <a:gd name="connsiteX106" fmla="*/ 49552 w 4519987"/>
                  <a:gd name="connsiteY106" fmla="*/ 1781175 h 4496940"/>
                  <a:gd name="connsiteX107" fmla="*/ 59077 w 4519987"/>
                  <a:gd name="connsiteY107" fmla="*/ 1743075 h 4496940"/>
                  <a:gd name="connsiteX108" fmla="*/ 78127 w 4519987"/>
                  <a:gd name="connsiteY108" fmla="*/ 1685925 h 4496940"/>
                  <a:gd name="connsiteX109" fmla="*/ 87652 w 4519987"/>
                  <a:gd name="connsiteY109" fmla="*/ 1638300 h 4496940"/>
                  <a:gd name="connsiteX110" fmla="*/ 106702 w 4519987"/>
                  <a:gd name="connsiteY110" fmla="*/ 1590675 h 4496940"/>
                  <a:gd name="connsiteX111" fmla="*/ 135277 w 4519987"/>
                  <a:gd name="connsiteY111" fmla="*/ 1504950 h 4496940"/>
                  <a:gd name="connsiteX112" fmla="*/ 154327 w 4519987"/>
                  <a:gd name="connsiteY112" fmla="*/ 1419225 h 4496940"/>
                  <a:gd name="connsiteX113" fmla="*/ 230527 w 4519987"/>
                  <a:gd name="connsiteY113" fmla="*/ 1276350 h 4496940"/>
                  <a:gd name="connsiteX114" fmla="*/ 240052 w 4519987"/>
                  <a:gd name="connsiteY114" fmla="*/ 1247775 h 4496940"/>
                  <a:gd name="connsiteX115" fmla="*/ 268627 w 4519987"/>
                  <a:gd name="connsiteY115" fmla="*/ 1200150 h 4496940"/>
                  <a:gd name="connsiteX116" fmla="*/ 287677 w 4519987"/>
                  <a:gd name="connsiteY116" fmla="*/ 1152525 h 4496940"/>
                  <a:gd name="connsiteX117" fmla="*/ 316252 w 4519987"/>
                  <a:gd name="connsiteY117" fmla="*/ 1114425 h 4496940"/>
                  <a:gd name="connsiteX118" fmla="*/ 363877 w 4519987"/>
                  <a:gd name="connsiteY118" fmla="*/ 1038225 h 4496940"/>
                  <a:gd name="connsiteX119" fmla="*/ 382927 w 4519987"/>
                  <a:gd name="connsiteY119" fmla="*/ 1009650 h 4496940"/>
                  <a:gd name="connsiteX120" fmla="*/ 440077 w 4519987"/>
                  <a:gd name="connsiteY120" fmla="*/ 904875 h 4496940"/>
                  <a:gd name="connsiteX121" fmla="*/ 478177 w 4519987"/>
                  <a:gd name="connsiteY121" fmla="*/ 857250 h 4496940"/>
                  <a:gd name="connsiteX122" fmla="*/ 497227 w 4519987"/>
                  <a:gd name="connsiteY122" fmla="*/ 828675 h 4496940"/>
                  <a:gd name="connsiteX123" fmla="*/ 535327 w 4519987"/>
                  <a:gd name="connsiteY123" fmla="*/ 800100 h 4496940"/>
                  <a:gd name="connsiteX124" fmla="*/ 602002 w 4519987"/>
                  <a:gd name="connsiteY124" fmla="*/ 733425 h 4496940"/>
                  <a:gd name="connsiteX125" fmla="*/ 668677 w 4519987"/>
                  <a:gd name="connsiteY125" fmla="*/ 676275 h 4496940"/>
                  <a:gd name="connsiteX126" fmla="*/ 697252 w 4519987"/>
                  <a:gd name="connsiteY126" fmla="*/ 657225 h 4496940"/>
                  <a:gd name="connsiteX127" fmla="*/ 840127 w 4519987"/>
                  <a:gd name="connsiteY127" fmla="*/ 533400 h 4496940"/>
                  <a:gd name="connsiteX128" fmla="*/ 887752 w 4519987"/>
                  <a:gd name="connsiteY128" fmla="*/ 504825 h 4496940"/>
                  <a:gd name="connsiteX129" fmla="*/ 1167152 w 4519987"/>
                  <a:gd name="connsiteY129" fmla="*/ 311150 h 4496940"/>
                  <a:gd name="connsiteX130" fmla="*/ 1268752 w 4519987"/>
                  <a:gd name="connsiteY130" fmla="*/ 285750 h 4496940"/>
                  <a:gd name="connsiteX131" fmla="*/ 1411627 w 4519987"/>
                  <a:gd name="connsiteY131" fmla="*/ 190500 h 4496940"/>
                  <a:gd name="connsiteX132" fmla="*/ 1449727 w 4519987"/>
                  <a:gd name="connsiteY132" fmla="*/ 161925 h 4496940"/>
                  <a:gd name="connsiteX133" fmla="*/ 1525927 w 4519987"/>
                  <a:gd name="connsiteY133" fmla="*/ 152400 h 4496940"/>
                  <a:gd name="connsiteX134" fmla="*/ 1583077 w 4519987"/>
                  <a:gd name="connsiteY134" fmla="*/ 142875 h 4496940"/>
                  <a:gd name="connsiteX135" fmla="*/ 1716427 w 4519987"/>
                  <a:gd name="connsiteY135" fmla="*/ 123825 h 4496940"/>
                  <a:gd name="connsiteX136" fmla="*/ 1811677 w 4519987"/>
                  <a:gd name="connsiteY136" fmla="*/ 114300 h 4496940"/>
                  <a:gd name="connsiteX137" fmla="*/ 1859302 w 4519987"/>
                  <a:gd name="connsiteY137" fmla="*/ 104775 h 4496940"/>
                  <a:gd name="connsiteX138" fmla="*/ 1916452 w 4519987"/>
                  <a:gd name="connsiteY138" fmla="*/ 95250 h 4496940"/>
                  <a:gd name="connsiteX139" fmla="*/ 2030752 w 4519987"/>
                  <a:gd name="connsiteY139" fmla="*/ 66675 h 4496940"/>
                  <a:gd name="connsiteX140" fmla="*/ 2097427 w 4519987"/>
                  <a:gd name="connsiteY140" fmla="*/ 47625 h 4496940"/>
                  <a:gd name="connsiteX141" fmla="*/ 2164102 w 4519987"/>
                  <a:gd name="connsiteY141" fmla="*/ 38100 h 4496940"/>
                  <a:gd name="connsiteX142" fmla="*/ 2392702 w 4519987"/>
                  <a:gd name="connsiteY14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221502 w 4519987"/>
                  <a:gd name="connsiteY33" fmla="*/ 3333750 h 4496940"/>
                  <a:gd name="connsiteX34" fmla="*/ 4211977 w 4519987"/>
                  <a:gd name="connsiteY34" fmla="*/ 3362325 h 4496940"/>
                  <a:gd name="connsiteX35" fmla="*/ 4183402 w 4519987"/>
                  <a:gd name="connsiteY35" fmla="*/ 3400425 h 4496940"/>
                  <a:gd name="connsiteX36" fmla="*/ 4164352 w 4519987"/>
                  <a:gd name="connsiteY36" fmla="*/ 3429000 h 4496940"/>
                  <a:gd name="connsiteX37" fmla="*/ 4088152 w 4519987"/>
                  <a:gd name="connsiteY37" fmla="*/ 3495675 h 4496940"/>
                  <a:gd name="connsiteX38" fmla="*/ 4059577 w 4519987"/>
                  <a:gd name="connsiteY38" fmla="*/ 3533775 h 4496940"/>
                  <a:gd name="connsiteX39" fmla="*/ 4002427 w 4519987"/>
                  <a:gd name="connsiteY39" fmla="*/ 3600450 h 4496940"/>
                  <a:gd name="connsiteX40" fmla="*/ 3983377 w 4519987"/>
                  <a:gd name="connsiteY40" fmla="*/ 3629025 h 4496940"/>
                  <a:gd name="connsiteX41" fmla="*/ 3954802 w 4519987"/>
                  <a:gd name="connsiteY41" fmla="*/ 3648075 h 4496940"/>
                  <a:gd name="connsiteX42" fmla="*/ 3907177 w 4519987"/>
                  <a:gd name="connsiteY42" fmla="*/ 3686175 h 4496940"/>
                  <a:gd name="connsiteX43" fmla="*/ 3869077 w 4519987"/>
                  <a:gd name="connsiteY43" fmla="*/ 3724275 h 4496940"/>
                  <a:gd name="connsiteX44" fmla="*/ 3792877 w 4519987"/>
                  <a:gd name="connsiteY44" fmla="*/ 3781425 h 4496940"/>
                  <a:gd name="connsiteX45" fmla="*/ 3783352 w 4519987"/>
                  <a:gd name="connsiteY45" fmla="*/ 3810000 h 4496940"/>
                  <a:gd name="connsiteX46" fmla="*/ 3745252 w 4519987"/>
                  <a:gd name="connsiteY46" fmla="*/ 3819525 h 4496940"/>
                  <a:gd name="connsiteX47" fmla="*/ 3678577 w 4519987"/>
                  <a:gd name="connsiteY47" fmla="*/ 3848100 h 4496940"/>
                  <a:gd name="connsiteX48" fmla="*/ 3659527 w 4519987"/>
                  <a:gd name="connsiteY48" fmla="*/ 3971925 h 4496940"/>
                  <a:gd name="connsiteX49" fmla="*/ 3630952 w 4519987"/>
                  <a:gd name="connsiteY49" fmla="*/ 4010025 h 4496940"/>
                  <a:gd name="connsiteX50" fmla="*/ 3621427 w 4519987"/>
                  <a:gd name="connsiteY50" fmla="*/ 4038600 h 4496940"/>
                  <a:gd name="connsiteX51" fmla="*/ 3554752 w 4519987"/>
                  <a:gd name="connsiteY51" fmla="*/ 4095750 h 4496940"/>
                  <a:gd name="connsiteX52" fmla="*/ 3516652 w 4519987"/>
                  <a:gd name="connsiteY52" fmla="*/ 4114800 h 4496940"/>
                  <a:gd name="connsiteX53" fmla="*/ 3497602 w 4519987"/>
                  <a:gd name="connsiteY53" fmla="*/ 4143375 h 4496940"/>
                  <a:gd name="connsiteX54" fmla="*/ 3383302 w 4519987"/>
                  <a:gd name="connsiteY54" fmla="*/ 4210050 h 4496940"/>
                  <a:gd name="connsiteX55" fmla="*/ 3335677 w 4519987"/>
                  <a:gd name="connsiteY55" fmla="*/ 4238625 h 4496940"/>
                  <a:gd name="connsiteX56" fmla="*/ 3288052 w 4519987"/>
                  <a:gd name="connsiteY56" fmla="*/ 4248150 h 4496940"/>
                  <a:gd name="connsiteX57" fmla="*/ 3240427 w 4519987"/>
                  <a:gd name="connsiteY57" fmla="*/ 4267200 h 4496940"/>
                  <a:gd name="connsiteX58" fmla="*/ 3068977 w 4519987"/>
                  <a:gd name="connsiteY58" fmla="*/ 4286250 h 4496940"/>
                  <a:gd name="connsiteX59" fmla="*/ 2935627 w 4519987"/>
                  <a:gd name="connsiteY59" fmla="*/ 4333875 h 4496940"/>
                  <a:gd name="connsiteX60" fmla="*/ 2811802 w 4519987"/>
                  <a:gd name="connsiteY60" fmla="*/ 4371975 h 4496940"/>
                  <a:gd name="connsiteX61" fmla="*/ 2745127 w 4519987"/>
                  <a:gd name="connsiteY61" fmla="*/ 4410075 h 4496940"/>
                  <a:gd name="connsiteX62" fmla="*/ 2697502 w 4519987"/>
                  <a:gd name="connsiteY62" fmla="*/ 4429125 h 4496940"/>
                  <a:gd name="connsiteX63" fmla="*/ 2640352 w 4519987"/>
                  <a:gd name="connsiteY63" fmla="*/ 4457700 h 4496940"/>
                  <a:gd name="connsiteX64" fmla="*/ 2583202 w 4519987"/>
                  <a:gd name="connsiteY64" fmla="*/ 4467225 h 4496940"/>
                  <a:gd name="connsiteX65" fmla="*/ 2545102 w 4519987"/>
                  <a:gd name="connsiteY65" fmla="*/ 4486275 h 4496940"/>
                  <a:gd name="connsiteX66" fmla="*/ 2306977 w 4519987"/>
                  <a:gd name="connsiteY66" fmla="*/ 4476750 h 4496940"/>
                  <a:gd name="connsiteX67" fmla="*/ 2202202 w 4519987"/>
                  <a:gd name="connsiteY67" fmla="*/ 4457700 h 4496940"/>
                  <a:gd name="connsiteX68" fmla="*/ 2126002 w 4519987"/>
                  <a:gd name="connsiteY68" fmla="*/ 4429125 h 4496940"/>
                  <a:gd name="connsiteX69" fmla="*/ 1935502 w 4519987"/>
                  <a:gd name="connsiteY69" fmla="*/ 4400550 h 4496940"/>
                  <a:gd name="connsiteX70" fmla="*/ 1821202 w 4519987"/>
                  <a:gd name="connsiteY70" fmla="*/ 4371975 h 4496940"/>
                  <a:gd name="connsiteX71" fmla="*/ 1754527 w 4519987"/>
                  <a:gd name="connsiteY71" fmla="*/ 4352925 h 4496940"/>
                  <a:gd name="connsiteX72" fmla="*/ 1687852 w 4519987"/>
                  <a:gd name="connsiteY72" fmla="*/ 4343400 h 4496940"/>
                  <a:gd name="connsiteX73" fmla="*/ 1573552 w 4519987"/>
                  <a:gd name="connsiteY73" fmla="*/ 4305300 h 4496940"/>
                  <a:gd name="connsiteX74" fmla="*/ 1402102 w 4519987"/>
                  <a:gd name="connsiteY74" fmla="*/ 4276725 h 4496940"/>
                  <a:gd name="connsiteX75" fmla="*/ 1287802 w 4519987"/>
                  <a:gd name="connsiteY75" fmla="*/ 4229100 h 4496940"/>
                  <a:gd name="connsiteX76" fmla="*/ 1221127 w 4519987"/>
                  <a:gd name="connsiteY76" fmla="*/ 4200525 h 4496940"/>
                  <a:gd name="connsiteX77" fmla="*/ 1144927 w 4519987"/>
                  <a:gd name="connsiteY77" fmla="*/ 4171950 h 4496940"/>
                  <a:gd name="connsiteX78" fmla="*/ 1087777 w 4519987"/>
                  <a:gd name="connsiteY78" fmla="*/ 4143375 h 4496940"/>
                  <a:gd name="connsiteX79" fmla="*/ 1030627 w 4519987"/>
                  <a:gd name="connsiteY79" fmla="*/ 4124325 h 4496940"/>
                  <a:gd name="connsiteX80" fmla="*/ 925852 w 4519987"/>
                  <a:gd name="connsiteY80" fmla="*/ 4067175 h 4496940"/>
                  <a:gd name="connsiteX81" fmla="*/ 830602 w 4519987"/>
                  <a:gd name="connsiteY81" fmla="*/ 3981450 h 4496940"/>
                  <a:gd name="connsiteX82" fmla="*/ 763927 w 4519987"/>
                  <a:gd name="connsiteY82" fmla="*/ 3914775 h 4496940"/>
                  <a:gd name="connsiteX83" fmla="*/ 725827 w 4519987"/>
                  <a:gd name="connsiteY83" fmla="*/ 3876675 h 4496940"/>
                  <a:gd name="connsiteX84" fmla="*/ 697252 w 4519987"/>
                  <a:gd name="connsiteY84" fmla="*/ 3838575 h 4496940"/>
                  <a:gd name="connsiteX85" fmla="*/ 640102 w 4519987"/>
                  <a:gd name="connsiteY85" fmla="*/ 3781425 h 4496940"/>
                  <a:gd name="connsiteX86" fmla="*/ 611527 w 4519987"/>
                  <a:gd name="connsiteY86" fmla="*/ 3733800 h 4496940"/>
                  <a:gd name="connsiteX87" fmla="*/ 554377 w 4519987"/>
                  <a:gd name="connsiteY87" fmla="*/ 3657600 h 4496940"/>
                  <a:gd name="connsiteX88" fmla="*/ 525802 w 4519987"/>
                  <a:gd name="connsiteY88" fmla="*/ 3609975 h 4496940"/>
                  <a:gd name="connsiteX89" fmla="*/ 497227 w 4519987"/>
                  <a:gd name="connsiteY89" fmla="*/ 3552825 h 4496940"/>
                  <a:gd name="connsiteX90" fmla="*/ 440077 w 4519987"/>
                  <a:gd name="connsiteY90" fmla="*/ 3495675 h 4496940"/>
                  <a:gd name="connsiteX91" fmla="*/ 411502 w 4519987"/>
                  <a:gd name="connsiteY91" fmla="*/ 3448050 h 4496940"/>
                  <a:gd name="connsiteX92" fmla="*/ 278152 w 4519987"/>
                  <a:gd name="connsiteY92" fmla="*/ 3257550 h 4496940"/>
                  <a:gd name="connsiteX93" fmla="*/ 249577 w 4519987"/>
                  <a:gd name="connsiteY93" fmla="*/ 3200400 h 4496940"/>
                  <a:gd name="connsiteX94" fmla="*/ 240052 w 4519987"/>
                  <a:gd name="connsiteY94" fmla="*/ 3162300 h 4496940"/>
                  <a:gd name="connsiteX95" fmla="*/ 221002 w 4519987"/>
                  <a:gd name="connsiteY95" fmla="*/ 3105150 h 4496940"/>
                  <a:gd name="connsiteX96" fmla="*/ 173377 w 4519987"/>
                  <a:gd name="connsiteY96" fmla="*/ 3019425 h 4496940"/>
                  <a:gd name="connsiteX97" fmla="*/ 144802 w 4519987"/>
                  <a:gd name="connsiteY97" fmla="*/ 2924175 h 4496940"/>
                  <a:gd name="connsiteX98" fmla="*/ 68602 w 4519987"/>
                  <a:gd name="connsiteY98" fmla="*/ 2724150 h 4496940"/>
                  <a:gd name="connsiteX99" fmla="*/ 49552 w 4519987"/>
                  <a:gd name="connsiteY99" fmla="*/ 2638425 h 4496940"/>
                  <a:gd name="connsiteX100" fmla="*/ 40027 w 4519987"/>
                  <a:gd name="connsiteY100" fmla="*/ 2562225 h 4496940"/>
                  <a:gd name="connsiteX101" fmla="*/ 30502 w 4519987"/>
                  <a:gd name="connsiteY101" fmla="*/ 2514600 h 4496940"/>
                  <a:gd name="connsiteX102" fmla="*/ 11452 w 4519987"/>
                  <a:gd name="connsiteY102" fmla="*/ 2400300 h 4496940"/>
                  <a:gd name="connsiteX103" fmla="*/ 20977 w 4519987"/>
                  <a:gd name="connsiteY103" fmla="*/ 1905000 h 4496940"/>
                  <a:gd name="connsiteX104" fmla="*/ 30502 w 4519987"/>
                  <a:gd name="connsiteY104" fmla="*/ 1838325 h 4496940"/>
                  <a:gd name="connsiteX105" fmla="*/ 49552 w 4519987"/>
                  <a:gd name="connsiteY105" fmla="*/ 1781175 h 4496940"/>
                  <a:gd name="connsiteX106" fmla="*/ 59077 w 4519987"/>
                  <a:gd name="connsiteY106" fmla="*/ 1743075 h 4496940"/>
                  <a:gd name="connsiteX107" fmla="*/ 78127 w 4519987"/>
                  <a:gd name="connsiteY107" fmla="*/ 1685925 h 4496940"/>
                  <a:gd name="connsiteX108" fmla="*/ 87652 w 4519987"/>
                  <a:gd name="connsiteY108" fmla="*/ 1638300 h 4496940"/>
                  <a:gd name="connsiteX109" fmla="*/ 106702 w 4519987"/>
                  <a:gd name="connsiteY109" fmla="*/ 1590675 h 4496940"/>
                  <a:gd name="connsiteX110" fmla="*/ 135277 w 4519987"/>
                  <a:gd name="connsiteY110" fmla="*/ 1504950 h 4496940"/>
                  <a:gd name="connsiteX111" fmla="*/ 154327 w 4519987"/>
                  <a:gd name="connsiteY111" fmla="*/ 1419225 h 4496940"/>
                  <a:gd name="connsiteX112" fmla="*/ 230527 w 4519987"/>
                  <a:gd name="connsiteY112" fmla="*/ 1276350 h 4496940"/>
                  <a:gd name="connsiteX113" fmla="*/ 240052 w 4519987"/>
                  <a:gd name="connsiteY113" fmla="*/ 1247775 h 4496940"/>
                  <a:gd name="connsiteX114" fmla="*/ 268627 w 4519987"/>
                  <a:gd name="connsiteY114" fmla="*/ 1200150 h 4496940"/>
                  <a:gd name="connsiteX115" fmla="*/ 287677 w 4519987"/>
                  <a:gd name="connsiteY115" fmla="*/ 1152525 h 4496940"/>
                  <a:gd name="connsiteX116" fmla="*/ 316252 w 4519987"/>
                  <a:gd name="connsiteY116" fmla="*/ 1114425 h 4496940"/>
                  <a:gd name="connsiteX117" fmla="*/ 363877 w 4519987"/>
                  <a:gd name="connsiteY117" fmla="*/ 1038225 h 4496940"/>
                  <a:gd name="connsiteX118" fmla="*/ 382927 w 4519987"/>
                  <a:gd name="connsiteY118" fmla="*/ 1009650 h 4496940"/>
                  <a:gd name="connsiteX119" fmla="*/ 440077 w 4519987"/>
                  <a:gd name="connsiteY119" fmla="*/ 904875 h 4496940"/>
                  <a:gd name="connsiteX120" fmla="*/ 478177 w 4519987"/>
                  <a:gd name="connsiteY120" fmla="*/ 857250 h 4496940"/>
                  <a:gd name="connsiteX121" fmla="*/ 497227 w 4519987"/>
                  <a:gd name="connsiteY121" fmla="*/ 828675 h 4496940"/>
                  <a:gd name="connsiteX122" fmla="*/ 535327 w 4519987"/>
                  <a:gd name="connsiteY122" fmla="*/ 800100 h 4496940"/>
                  <a:gd name="connsiteX123" fmla="*/ 602002 w 4519987"/>
                  <a:gd name="connsiteY123" fmla="*/ 733425 h 4496940"/>
                  <a:gd name="connsiteX124" fmla="*/ 668677 w 4519987"/>
                  <a:gd name="connsiteY124" fmla="*/ 676275 h 4496940"/>
                  <a:gd name="connsiteX125" fmla="*/ 697252 w 4519987"/>
                  <a:gd name="connsiteY125" fmla="*/ 657225 h 4496940"/>
                  <a:gd name="connsiteX126" fmla="*/ 840127 w 4519987"/>
                  <a:gd name="connsiteY126" fmla="*/ 533400 h 4496940"/>
                  <a:gd name="connsiteX127" fmla="*/ 887752 w 4519987"/>
                  <a:gd name="connsiteY127" fmla="*/ 504825 h 4496940"/>
                  <a:gd name="connsiteX128" fmla="*/ 1167152 w 4519987"/>
                  <a:gd name="connsiteY128" fmla="*/ 311150 h 4496940"/>
                  <a:gd name="connsiteX129" fmla="*/ 1268752 w 4519987"/>
                  <a:gd name="connsiteY129" fmla="*/ 285750 h 4496940"/>
                  <a:gd name="connsiteX130" fmla="*/ 1411627 w 4519987"/>
                  <a:gd name="connsiteY130" fmla="*/ 190500 h 4496940"/>
                  <a:gd name="connsiteX131" fmla="*/ 1449727 w 4519987"/>
                  <a:gd name="connsiteY131" fmla="*/ 161925 h 4496940"/>
                  <a:gd name="connsiteX132" fmla="*/ 1525927 w 4519987"/>
                  <a:gd name="connsiteY132" fmla="*/ 152400 h 4496940"/>
                  <a:gd name="connsiteX133" fmla="*/ 1583077 w 4519987"/>
                  <a:gd name="connsiteY133" fmla="*/ 142875 h 4496940"/>
                  <a:gd name="connsiteX134" fmla="*/ 1716427 w 4519987"/>
                  <a:gd name="connsiteY134" fmla="*/ 123825 h 4496940"/>
                  <a:gd name="connsiteX135" fmla="*/ 1811677 w 4519987"/>
                  <a:gd name="connsiteY135" fmla="*/ 114300 h 4496940"/>
                  <a:gd name="connsiteX136" fmla="*/ 1859302 w 4519987"/>
                  <a:gd name="connsiteY136" fmla="*/ 104775 h 4496940"/>
                  <a:gd name="connsiteX137" fmla="*/ 1916452 w 4519987"/>
                  <a:gd name="connsiteY137" fmla="*/ 95250 h 4496940"/>
                  <a:gd name="connsiteX138" fmla="*/ 2030752 w 4519987"/>
                  <a:gd name="connsiteY138" fmla="*/ 66675 h 4496940"/>
                  <a:gd name="connsiteX139" fmla="*/ 2097427 w 4519987"/>
                  <a:gd name="connsiteY139" fmla="*/ 47625 h 4496940"/>
                  <a:gd name="connsiteX140" fmla="*/ 2164102 w 4519987"/>
                  <a:gd name="connsiteY140" fmla="*/ 38100 h 4496940"/>
                  <a:gd name="connsiteX141" fmla="*/ 2392702 w 4519987"/>
                  <a:gd name="connsiteY14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221502 w 4519987"/>
                  <a:gd name="connsiteY33" fmla="*/ 3333750 h 4496940"/>
                  <a:gd name="connsiteX34" fmla="*/ 4211977 w 4519987"/>
                  <a:gd name="connsiteY34" fmla="*/ 3362325 h 4496940"/>
                  <a:gd name="connsiteX35" fmla="*/ 4183402 w 4519987"/>
                  <a:gd name="connsiteY35" fmla="*/ 3400425 h 4496940"/>
                  <a:gd name="connsiteX36" fmla="*/ 4088152 w 4519987"/>
                  <a:gd name="connsiteY36" fmla="*/ 3495675 h 4496940"/>
                  <a:gd name="connsiteX37" fmla="*/ 4059577 w 4519987"/>
                  <a:gd name="connsiteY37" fmla="*/ 3533775 h 4496940"/>
                  <a:gd name="connsiteX38" fmla="*/ 4002427 w 4519987"/>
                  <a:gd name="connsiteY38" fmla="*/ 3600450 h 4496940"/>
                  <a:gd name="connsiteX39" fmla="*/ 3983377 w 4519987"/>
                  <a:gd name="connsiteY39" fmla="*/ 3629025 h 4496940"/>
                  <a:gd name="connsiteX40" fmla="*/ 3954802 w 4519987"/>
                  <a:gd name="connsiteY40" fmla="*/ 3648075 h 4496940"/>
                  <a:gd name="connsiteX41" fmla="*/ 3907177 w 4519987"/>
                  <a:gd name="connsiteY41" fmla="*/ 3686175 h 4496940"/>
                  <a:gd name="connsiteX42" fmla="*/ 3869077 w 4519987"/>
                  <a:gd name="connsiteY42" fmla="*/ 3724275 h 4496940"/>
                  <a:gd name="connsiteX43" fmla="*/ 3792877 w 4519987"/>
                  <a:gd name="connsiteY43" fmla="*/ 3781425 h 4496940"/>
                  <a:gd name="connsiteX44" fmla="*/ 3783352 w 4519987"/>
                  <a:gd name="connsiteY44" fmla="*/ 3810000 h 4496940"/>
                  <a:gd name="connsiteX45" fmla="*/ 3745252 w 4519987"/>
                  <a:gd name="connsiteY45" fmla="*/ 3819525 h 4496940"/>
                  <a:gd name="connsiteX46" fmla="*/ 3678577 w 4519987"/>
                  <a:gd name="connsiteY46" fmla="*/ 3848100 h 4496940"/>
                  <a:gd name="connsiteX47" fmla="*/ 3659527 w 4519987"/>
                  <a:gd name="connsiteY47" fmla="*/ 3971925 h 4496940"/>
                  <a:gd name="connsiteX48" fmla="*/ 3630952 w 4519987"/>
                  <a:gd name="connsiteY48" fmla="*/ 4010025 h 4496940"/>
                  <a:gd name="connsiteX49" fmla="*/ 3621427 w 4519987"/>
                  <a:gd name="connsiteY49" fmla="*/ 4038600 h 4496940"/>
                  <a:gd name="connsiteX50" fmla="*/ 3554752 w 4519987"/>
                  <a:gd name="connsiteY50" fmla="*/ 4095750 h 4496940"/>
                  <a:gd name="connsiteX51" fmla="*/ 3516652 w 4519987"/>
                  <a:gd name="connsiteY51" fmla="*/ 4114800 h 4496940"/>
                  <a:gd name="connsiteX52" fmla="*/ 3497602 w 4519987"/>
                  <a:gd name="connsiteY52" fmla="*/ 4143375 h 4496940"/>
                  <a:gd name="connsiteX53" fmla="*/ 3383302 w 4519987"/>
                  <a:gd name="connsiteY53" fmla="*/ 4210050 h 4496940"/>
                  <a:gd name="connsiteX54" fmla="*/ 3335677 w 4519987"/>
                  <a:gd name="connsiteY54" fmla="*/ 4238625 h 4496940"/>
                  <a:gd name="connsiteX55" fmla="*/ 3288052 w 4519987"/>
                  <a:gd name="connsiteY55" fmla="*/ 4248150 h 4496940"/>
                  <a:gd name="connsiteX56" fmla="*/ 3240427 w 4519987"/>
                  <a:gd name="connsiteY56" fmla="*/ 4267200 h 4496940"/>
                  <a:gd name="connsiteX57" fmla="*/ 3068977 w 4519987"/>
                  <a:gd name="connsiteY57" fmla="*/ 4286250 h 4496940"/>
                  <a:gd name="connsiteX58" fmla="*/ 2935627 w 4519987"/>
                  <a:gd name="connsiteY58" fmla="*/ 4333875 h 4496940"/>
                  <a:gd name="connsiteX59" fmla="*/ 2811802 w 4519987"/>
                  <a:gd name="connsiteY59" fmla="*/ 4371975 h 4496940"/>
                  <a:gd name="connsiteX60" fmla="*/ 2745127 w 4519987"/>
                  <a:gd name="connsiteY60" fmla="*/ 4410075 h 4496940"/>
                  <a:gd name="connsiteX61" fmla="*/ 2697502 w 4519987"/>
                  <a:gd name="connsiteY61" fmla="*/ 4429125 h 4496940"/>
                  <a:gd name="connsiteX62" fmla="*/ 2640352 w 4519987"/>
                  <a:gd name="connsiteY62" fmla="*/ 4457700 h 4496940"/>
                  <a:gd name="connsiteX63" fmla="*/ 2583202 w 4519987"/>
                  <a:gd name="connsiteY63" fmla="*/ 4467225 h 4496940"/>
                  <a:gd name="connsiteX64" fmla="*/ 2545102 w 4519987"/>
                  <a:gd name="connsiteY64" fmla="*/ 4486275 h 4496940"/>
                  <a:gd name="connsiteX65" fmla="*/ 2306977 w 4519987"/>
                  <a:gd name="connsiteY65" fmla="*/ 4476750 h 4496940"/>
                  <a:gd name="connsiteX66" fmla="*/ 2202202 w 4519987"/>
                  <a:gd name="connsiteY66" fmla="*/ 4457700 h 4496940"/>
                  <a:gd name="connsiteX67" fmla="*/ 2126002 w 4519987"/>
                  <a:gd name="connsiteY67" fmla="*/ 4429125 h 4496940"/>
                  <a:gd name="connsiteX68" fmla="*/ 1935502 w 4519987"/>
                  <a:gd name="connsiteY68" fmla="*/ 4400550 h 4496940"/>
                  <a:gd name="connsiteX69" fmla="*/ 1821202 w 4519987"/>
                  <a:gd name="connsiteY69" fmla="*/ 4371975 h 4496940"/>
                  <a:gd name="connsiteX70" fmla="*/ 1754527 w 4519987"/>
                  <a:gd name="connsiteY70" fmla="*/ 4352925 h 4496940"/>
                  <a:gd name="connsiteX71" fmla="*/ 1687852 w 4519987"/>
                  <a:gd name="connsiteY71" fmla="*/ 4343400 h 4496940"/>
                  <a:gd name="connsiteX72" fmla="*/ 1573552 w 4519987"/>
                  <a:gd name="connsiteY72" fmla="*/ 4305300 h 4496940"/>
                  <a:gd name="connsiteX73" fmla="*/ 1402102 w 4519987"/>
                  <a:gd name="connsiteY73" fmla="*/ 4276725 h 4496940"/>
                  <a:gd name="connsiteX74" fmla="*/ 1287802 w 4519987"/>
                  <a:gd name="connsiteY74" fmla="*/ 4229100 h 4496940"/>
                  <a:gd name="connsiteX75" fmla="*/ 1221127 w 4519987"/>
                  <a:gd name="connsiteY75" fmla="*/ 4200525 h 4496940"/>
                  <a:gd name="connsiteX76" fmla="*/ 1144927 w 4519987"/>
                  <a:gd name="connsiteY76" fmla="*/ 4171950 h 4496940"/>
                  <a:gd name="connsiteX77" fmla="*/ 1087777 w 4519987"/>
                  <a:gd name="connsiteY77" fmla="*/ 4143375 h 4496940"/>
                  <a:gd name="connsiteX78" fmla="*/ 1030627 w 4519987"/>
                  <a:gd name="connsiteY78" fmla="*/ 4124325 h 4496940"/>
                  <a:gd name="connsiteX79" fmla="*/ 925852 w 4519987"/>
                  <a:gd name="connsiteY79" fmla="*/ 4067175 h 4496940"/>
                  <a:gd name="connsiteX80" fmla="*/ 830602 w 4519987"/>
                  <a:gd name="connsiteY80" fmla="*/ 3981450 h 4496940"/>
                  <a:gd name="connsiteX81" fmla="*/ 763927 w 4519987"/>
                  <a:gd name="connsiteY81" fmla="*/ 3914775 h 4496940"/>
                  <a:gd name="connsiteX82" fmla="*/ 725827 w 4519987"/>
                  <a:gd name="connsiteY82" fmla="*/ 3876675 h 4496940"/>
                  <a:gd name="connsiteX83" fmla="*/ 697252 w 4519987"/>
                  <a:gd name="connsiteY83" fmla="*/ 3838575 h 4496940"/>
                  <a:gd name="connsiteX84" fmla="*/ 640102 w 4519987"/>
                  <a:gd name="connsiteY84" fmla="*/ 3781425 h 4496940"/>
                  <a:gd name="connsiteX85" fmla="*/ 611527 w 4519987"/>
                  <a:gd name="connsiteY85" fmla="*/ 3733800 h 4496940"/>
                  <a:gd name="connsiteX86" fmla="*/ 554377 w 4519987"/>
                  <a:gd name="connsiteY86" fmla="*/ 3657600 h 4496940"/>
                  <a:gd name="connsiteX87" fmla="*/ 525802 w 4519987"/>
                  <a:gd name="connsiteY87" fmla="*/ 3609975 h 4496940"/>
                  <a:gd name="connsiteX88" fmla="*/ 497227 w 4519987"/>
                  <a:gd name="connsiteY88" fmla="*/ 3552825 h 4496940"/>
                  <a:gd name="connsiteX89" fmla="*/ 440077 w 4519987"/>
                  <a:gd name="connsiteY89" fmla="*/ 3495675 h 4496940"/>
                  <a:gd name="connsiteX90" fmla="*/ 411502 w 4519987"/>
                  <a:gd name="connsiteY90" fmla="*/ 3448050 h 4496940"/>
                  <a:gd name="connsiteX91" fmla="*/ 278152 w 4519987"/>
                  <a:gd name="connsiteY91" fmla="*/ 3257550 h 4496940"/>
                  <a:gd name="connsiteX92" fmla="*/ 249577 w 4519987"/>
                  <a:gd name="connsiteY92" fmla="*/ 3200400 h 4496940"/>
                  <a:gd name="connsiteX93" fmla="*/ 240052 w 4519987"/>
                  <a:gd name="connsiteY93" fmla="*/ 3162300 h 4496940"/>
                  <a:gd name="connsiteX94" fmla="*/ 221002 w 4519987"/>
                  <a:gd name="connsiteY94" fmla="*/ 3105150 h 4496940"/>
                  <a:gd name="connsiteX95" fmla="*/ 173377 w 4519987"/>
                  <a:gd name="connsiteY95" fmla="*/ 3019425 h 4496940"/>
                  <a:gd name="connsiteX96" fmla="*/ 144802 w 4519987"/>
                  <a:gd name="connsiteY96" fmla="*/ 2924175 h 4496940"/>
                  <a:gd name="connsiteX97" fmla="*/ 68602 w 4519987"/>
                  <a:gd name="connsiteY97" fmla="*/ 2724150 h 4496940"/>
                  <a:gd name="connsiteX98" fmla="*/ 49552 w 4519987"/>
                  <a:gd name="connsiteY98" fmla="*/ 2638425 h 4496940"/>
                  <a:gd name="connsiteX99" fmla="*/ 40027 w 4519987"/>
                  <a:gd name="connsiteY99" fmla="*/ 2562225 h 4496940"/>
                  <a:gd name="connsiteX100" fmla="*/ 30502 w 4519987"/>
                  <a:gd name="connsiteY100" fmla="*/ 2514600 h 4496940"/>
                  <a:gd name="connsiteX101" fmla="*/ 11452 w 4519987"/>
                  <a:gd name="connsiteY101" fmla="*/ 2400300 h 4496940"/>
                  <a:gd name="connsiteX102" fmla="*/ 20977 w 4519987"/>
                  <a:gd name="connsiteY102" fmla="*/ 1905000 h 4496940"/>
                  <a:gd name="connsiteX103" fmla="*/ 30502 w 4519987"/>
                  <a:gd name="connsiteY103" fmla="*/ 1838325 h 4496940"/>
                  <a:gd name="connsiteX104" fmla="*/ 49552 w 4519987"/>
                  <a:gd name="connsiteY104" fmla="*/ 1781175 h 4496940"/>
                  <a:gd name="connsiteX105" fmla="*/ 59077 w 4519987"/>
                  <a:gd name="connsiteY105" fmla="*/ 1743075 h 4496940"/>
                  <a:gd name="connsiteX106" fmla="*/ 78127 w 4519987"/>
                  <a:gd name="connsiteY106" fmla="*/ 1685925 h 4496940"/>
                  <a:gd name="connsiteX107" fmla="*/ 87652 w 4519987"/>
                  <a:gd name="connsiteY107" fmla="*/ 1638300 h 4496940"/>
                  <a:gd name="connsiteX108" fmla="*/ 106702 w 4519987"/>
                  <a:gd name="connsiteY108" fmla="*/ 1590675 h 4496940"/>
                  <a:gd name="connsiteX109" fmla="*/ 135277 w 4519987"/>
                  <a:gd name="connsiteY109" fmla="*/ 1504950 h 4496940"/>
                  <a:gd name="connsiteX110" fmla="*/ 154327 w 4519987"/>
                  <a:gd name="connsiteY110" fmla="*/ 1419225 h 4496940"/>
                  <a:gd name="connsiteX111" fmla="*/ 230527 w 4519987"/>
                  <a:gd name="connsiteY111" fmla="*/ 1276350 h 4496940"/>
                  <a:gd name="connsiteX112" fmla="*/ 240052 w 4519987"/>
                  <a:gd name="connsiteY112" fmla="*/ 1247775 h 4496940"/>
                  <a:gd name="connsiteX113" fmla="*/ 268627 w 4519987"/>
                  <a:gd name="connsiteY113" fmla="*/ 1200150 h 4496940"/>
                  <a:gd name="connsiteX114" fmla="*/ 287677 w 4519987"/>
                  <a:gd name="connsiteY114" fmla="*/ 1152525 h 4496940"/>
                  <a:gd name="connsiteX115" fmla="*/ 316252 w 4519987"/>
                  <a:gd name="connsiteY115" fmla="*/ 1114425 h 4496940"/>
                  <a:gd name="connsiteX116" fmla="*/ 363877 w 4519987"/>
                  <a:gd name="connsiteY116" fmla="*/ 1038225 h 4496940"/>
                  <a:gd name="connsiteX117" fmla="*/ 382927 w 4519987"/>
                  <a:gd name="connsiteY117" fmla="*/ 1009650 h 4496940"/>
                  <a:gd name="connsiteX118" fmla="*/ 440077 w 4519987"/>
                  <a:gd name="connsiteY118" fmla="*/ 904875 h 4496940"/>
                  <a:gd name="connsiteX119" fmla="*/ 478177 w 4519987"/>
                  <a:gd name="connsiteY119" fmla="*/ 857250 h 4496940"/>
                  <a:gd name="connsiteX120" fmla="*/ 497227 w 4519987"/>
                  <a:gd name="connsiteY120" fmla="*/ 828675 h 4496940"/>
                  <a:gd name="connsiteX121" fmla="*/ 535327 w 4519987"/>
                  <a:gd name="connsiteY121" fmla="*/ 800100 h 4496940"/>
                  <a:gd name="connsiteX122" fmla="*/ 602002 w 4519987"/>
                  <a:gd name="connsiteY122" fmla="*/ 733425 h 4496940"/>
                  <a:gd name="connsiteX123" fmla="*/ 668677 w 4519987"/>
                  <a:gd name="connsiteY123" fmla="*/ 676275 h 4496940"/>
                  <a:gd name="connsiteX124" fmla="*/ 697252 w 4519987"/>
                  <a:gd name="connsiteY124" fmla="*/ 657225 h 4496940"/>
                  <a:gd name="connsiteX125" fmla="*/ 840127 w 4519987"/>
                  <a:gd name="connsiteY125" fmla="*/ 533400 h 4496940"/>
                  <a:gd name="connsiteX126" fmla="*/ 887752 w 4519987"/>
                  <a:gd name="connsiteY126" fmla="*/ 504825 h 4496940"/>
                  <a:gd name="connsiteX127" fmla="*/ 1167152 w 4519987"/>
                  <a:gd name="connsiteY127" fmla="*/ 311150 h 4496940"/>
                  <a:gd name="connsiteX128" fmla="*/ 1268752 w 4519987"/>
                  <a:gd name="connsiteY128" fmla="*/ 285750 h 4496940"/>
                  <a:gd name="connsiteX129" fmla="*/ 1411627 w 4519987"/>
                  <a:gd name="connsiteY129" fmla="*/ 190500 h 4496940"/>
                  <a:gd name="connsiteX130" fmla="*/ 1449727 w 4519987"/>
                  <a:gd name="connsiteY130" fmla="*/ 161925 h 4496940"/>
                  <a:gd name="connsiteX131" fmla="*/ 1525927 w 4519987"/>
                  <a:gd name="connsiteY131" fmla="*/ 152400 h 4496940"/>
                  <a:gd name="connsiteX132" fmla="*/ 1583077 w 4519987"/>
                  <a:gd name="connsiteY132" fmla="*/ 142875 h 4496940"/>
                  <a:gd name="connsiteX133" fmla="*/ 1716427 w 4519987"/>
                  <a:gd name="connsiteY133" fmla="*/ 123825 h 4496940"/>
                  <a:gd name="connsiteX134" fmla="*/ 1811677 w 4519987"/>
                  <a:gd name="connsiteY134" fmla="*/ 114300 h 4496940"/>
                  <a:gd name="connsiteX135" fmla="*/ 1859302 w 4519987"/>
                  <a:gd name="connsiteY135" fmla="*/ 104775 h 4496940"/>
                  <a:gd name="connsiteX136" fmla="*/ 1916452 w 4519987"/>
                  <a:gd name="connsiteY136" fmla="*/ 95250 h 4496940"/>
                  <a:gd name="connsiteX137" fmla="*/ 2030752 w 4519987"/>
                  <a:gd name="connsiteY137" fmla="*/ 66675 h 4496940"/>
                  <a:gd name="connsiteX138" fmla="*/ 2097427 w 4519987"/>
                  <a:gd name="connsiteY138" fmla="*/ 47625 h 4496940"/>
                  <a:gd name="connsiteX139" fmla="*/ 2164102 w 4519987"/>
                  <a:gd name="connsiteY139" fmla="*/ 38100 h 4496940"/>
                  <a:gd name="connsiteX140" fmla="*/ 2392702 w 4519987"/>
                  <a:gd name="connsiteY14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221502 w 4519987"/>
                  <a:gd name="connsiteY33" fmla="*/ 3333750 h 4496940"/>
                  <a:gd name="connsiteX34" fmla="*/ 4183402 w 4519987"/>
                  <a:gd name="connsiteY34" fmla="*/ 3400425 h 4496940"/>
                  <a:gd name="connsiteX35" fmla="*/ 4088152 w 4519987"/>
                  <a:gd name="connsiteY35" fmla="*/ 3495675 h 4496940"/>
                  <a:gd name="connsiteX36" fmla="*/ 4059577 w 4519987"/>
                  <a:gd name="connsiteY36" fmla="*/ 3533775 h 4496940"/>
                  <a:gd name="connsiteX37" fmla="*/ 4002427 w 4519987"/>
                  <a:gd name="connsiteY37" fmla="*/ 3600450 h 4496940"/>
                  <a:gd name="connsiteX38" fmla="*/ 3983377 w 4519987"/>
                  <a:gd name="connsiteY38" fmla="*/ 3629025 h 4496940"/>
                  <a:gd name="connsiteX39" fmla="*/ 3954802 w 4519987"/>
                  <a:gd name="connsiteY39" fmla="*/ 3648075 h 4496940"/>
                  <a:gd name="connsiteX40" fmla="*/ 3907177 w 4519987"/>
                  <a:gd name="connsiteY40" fmla="*/ 3686175 h 4496940"/>
                  <a:gd name="connsiteX41" fmla="*/ 3869077 w 4519987"/>
                  <a:gd name="connsiteY41" fmla="*/ 3724275 h 4496940"/>
                  <a:gd name="connsiteX42" fmla="*/ 3792877 w 4519987"/>
                  <a:gd name="connsiteY42" fmla="*/ 3781425 h 4496940"/>
                  <a:gd name="connsiteX43" fmla="*/ 3783352 w 4519987"/>
                  <a:gd name="connsiteY43" fmla="*/ 3810000 h 4496940"/>
                  <a:gd name="connsiteX44" fmla="*/ 3745252 w 4519987"/>
                  <a:gd name="connsiteY44" fmla="*/ 3819525 h 4496940"/>
                  <a:gd name="connsiteX45" fmla="*/ 3678577 w 4519987"/>
                  <a:gd name="connsiteY45" fmla="*/ 3848100 h 4496940"/>
                  <a:gd name="connsiteX46" fmla="*/ 3659527 w 4519987"/>
                  <a:gd name="connsiteY46" fmla="*/ 3971925 h 4496940"/>
                  <a:gd name="connsiteX47" fmla="*/ 3630952 w 4519987"/>
                  <a:gd name="connsiteY47" fmla="*/ 4010025 h 4496940"/>
                  <a:gd name="connsiteX48" fmla="*/ 3621427 w 4519987"/>
                  <a:gd name="connsiteY48" fmla="*/ 4038600 h 4496940"/>
                  <a:gd name="connsiteX49" fmla="*/ 3554752 w 4519987"/>
                  <a:gd name="connsiteY49" fmla="*/ 4095750 h 4496940"/>
                  <a:gd name="connsiteX50" fmla="*/ 3516652 w 4519987"/>
                  <a:gd name="connsiteY50" fmla="*/ 4114800 h 4496940"/>
                  <a:gd name="connsiteX51" fmla="*/ 3497602 w 4519987"/>
                  <a:gd name="connsiteY51" fmla="*/ 4143375 h 4496940"/>
                  <a:gd name="connsiteX52" fmla="*/ 3383302 w 4519987"/>
                  <a:gd name="connsiteY52" fmla="*/ 4210050 h 4496940"/>
                  <a:gd name="connsiteX53" fmla="*/ 3335677 w 4519987"/>
                  <a:gd name="connsiteY53" fmla="*/ 4238625 h 4496940"/>
                  <a:gd name="connsiteX54" fmla="*/ 3288052 w 4519987"/>
                  <a:gd name="connsiteY54" fmla="*/ 4248150 h 4496940"/>
                  <a:gd name="connsiteX55" fmla="*/ 3240427 w 4519987"/>
                  <a:gd name="connsiteY55" fmla="*/ 4267200 h 4496940"/>
                  <a:gd name="connsiteX56" fmla="*/ 3068977 w 4519987"/>
                  <a:gd name="connsiteY56" fmla="*/ 4286250 h 4496940"/>
                  <a:gd name="connsiteX57" fmla="*/ 2935627 w 4519987"/>
                  <a:gd name="connsiteY57" fmla="*/ 4333875 h 4496940"/>
                  <a:gd name="connsiteX58" fmla="*/ 2811802 w 4519987"/>
                  <a:gd name="connsiteY58" fmla="*/ 4371975 h 4496940"/>
                  <a:gd name="connsiteX59" fmla="*/ 2745127 w 4519987"/>
                  <a:gd name="connsiteY59" fmla="*/ 4410075 h 4496940"/>
                  <a:gd name="connsiteX60" fmla="*/ 2697502 w 4519987"/>
                  <a:gd name="connsiteY60" fmla="*/ 4429125 h 4496940"/>
                  <a:gd name="connsiteX61" fmla="*/ 2640352 w 4519987"/>
                  <a:gd name="connsiteY61" fmla="*/ 4457700 h 4496940"/>
                  <a:gd name="connsiteX62" fmla="*/ 2583202 w 4519987"/>
                  <a:gd name="connsiteY62" fmla="*/ 4467225 h 4496940"/>
                  <a:gd name="connsiteX63" fmla="*/ 2545102 w 4519987"/>
                  <a:gd name="connsiteY63" fmla="*/ 4486275 h 4496940"/>
                  <a:gd name="connsiteX64" fmla="*/ 2306977 w 4519987"/>
                  <a:gd name="connsiteY64" fmla="*/ 4476750 h 4496940"/>
                  <a:gd name="connsiteX65" fmla="*/ 2202202 w 4519987"/>
                  <a:gd name="connsiteY65" fmla="*/ 4457700 h 4496940"/>
                  <a:gd name="connsiteX66" fmla="*/ 2126002 w 4519987"/>
                  <a:gd name="connsiteY66" fmla="*/ 4429125 h 4496940"/>
                  <a:gd name="connsiteX67" fmla="*/ 1935502 w 4519987"/>
                  <a:gd name="connsiteY67" fmla="*/ 4400550 h 4496940"/>
                  <a:gd name="connsiteX68" fmla="*/ 1821202 w 4519987"/>
                  <a:gd name="connsiteY68" fmla="*/ 4371975 h 4496940"/>
                  <a:gd name="connsiteX69" fmla="*/ 1754527 w 4519987"/>
                  <a:gd name="connsiteY69" fmla="*/ 4352925 h 4496940"/>
                  <a:gd name="connsiteX70" fmla="*/ 1687852 w 4519987"/>
                  <a:gd name="connsiteY70" fmla="*/ 4343400 h 4496940"/>
                  <a:gd name="connsiteX71" fmla="*/ 1573552 w 4519987"/>
                  <a:gd name="connsiteY71" fmla="*/ 4305300 h 4496940"/>
                  <a:gd name="connsiteX72" fmla="*/ 1402102 w 4519987"/>
                  <a:gd name="connsiteY72" fmla="*/ 4276725 h 4496940"/>
                  <a:gd name="connsiteX73" fmla="*/ 1287802 w 4519987"/>
                  <a:gd name="connsiteY73" fmla="*/ 4229100 h 4496940"/>
                  <a:gd name="connsiteX74" fmla="*/ 1221127 w 4519987"/>
                  <a:gd name="connsiteY74" fmla="*/ 4200525 h 4496940"/>
                  <a:gd name="connsiteX75" fmla="*/ 1144927 w 4519987"/>
                  <a:gd name="connsiteY75" fmla="*/ 4171950 h 4496940"/>
                  <a:gd name="connsiteX76" fmla="*/ 1087777 w 4519987"/>
                  <a:gd name="connsiteY76" fmla="*/ 4143375 h 4496940"/>
                  <a:gd name="connsiteX77" fmla="*/ 1030627 w 4519987"/>
                  <a:gd name="connsiteY77" fmla="*/ 4124325 h 4496940"/>
                  <a:gd name="connsiteX78" fmla="*/ 925852 w 4519987"/>
                  <a:gd name="connsiteY78" fmla="*/ 4067175 h 4496940"/>
                  <a:gd name="connsiteX79" fmla="*/ 830602 w 4519987"/>
                  <a:gd name="connsiteY79" fmla="*/ 3981450 h 4496940"/>
                  <a:gd name="connsiteX80" fmla="*/ 763927 w 4519987"/>
                  <a:gd name="connsiteY80" fmla="*/ 3914775 h 4496940"/>
                  <a:gd name="connsiteX81" fmla="*/ 725827 w 4519987"/>
                  <a:gd name="connsiteY81" fmla="*/ 3876675 h 4496940"/>
                  <a:gd name="connsiteX82" fmla="*/ 697252 w 4519987"/>
                  <a:gd name="connsiteY82" fmla="*/ 3838575 h 4496940"/>
                  <a:gd name="connsiteX83" fmla="*/ 640102 w 4519987"/>
                  <a:gd name="connsiteY83" fmla="*/ 3781425 h 4496940"/>
                  <a:gd name="connsiteX84" fmla="*/ 611527 w 4519987"/>
                  <a:gd name="connsiteY84" fmla="*/ 3733800 h 4496940"/>
                  <a:gd name="connsiteX85" fmla="*/ 554377 w 4519987"/>
                  <a:gd name="connsiteY85" fmla="*/ 3657600 h 4496940"/>
                  <a:gd name="connsiteX86" fmla="*/ 525802 w 4519987"/>
                  <a:gd name="connsiteY86" fmla="*/ 3609975 h 4496940"/>
                  <a:gd name="connsiteX87" fmla="*/ 497227 w 4519987"/>
                  <a:gd name="connsiteY87" fmla="*/ 3552825 h 4496940"/>
                  <a:gd name="connsiteX88" fmla="*/ 440077 w 4519987"/>
                  <a:gd name="connsiteY88" fmla="*/ 3495675 h 4496940"/>
                  <a:gd name="connsiteX89" fmla="*/ 411502 w 4519987"/>
                  <a:gd name="connsiteY89" fmla="*/ 3448050 h 4496940"/>
                  <a:gd name="connsiteX90" fmla="*/ 278152 w 4519987"/>
                  <a:gd name="connsiteY90" fmla="*/ 3257550 h 4496940"/>
                  <a:gd name="connsiteX91" fmla="*/ 249577 w 4519987"/>
                  <a:gd name="connsiteY91" fmla="*/ 3200400 h 4496940"/>
                  <a:gd name="connsiteX92" fmla="*/ 240052 w 4519987"/>
                  <a:gd name="connsiteY92" fmla="*/ 3162300 h 4496940"/>
                  <a:gd name="connsiteX93" fmla="*/ 221002 w 4519987"/>
                  <a:gd name="connsiteY93" fmla="*/ 3105150 h 4496940"/>
                  <a:gd name="connsiteX94" fmla="*/ 173377 w 4519987"/>
                  <a:gd name="connsiteY94" fmla="*/ 3019425 h 4496940"/>
                  <a:gd name="connsiteX95" fmla="*/ 144802 w 4519987"/>
                  <a:gd name="connsiteY95" fmla="*/ 2924175 h 4496940"/>
                  <a:gd name="connsiteX96" fmla="*/ 68602 w 4519987"/>
                  <a:gd name="connsiteY96" fmla="*/ 2724150 h 4496940"/>
                  <a:gd name="connsiteX97" fmla="*/ 49552 w 4519987"/>
                  <a:gd name="connsiteY97" fmla="*/ 2638425 h 4496940"/>
                  <a:gd name="connsiteX98" fmla="*/ 40027 w 4519987"/>
                  <a:gd name="connsiteY98" fmla="*/ 2562225 h 4496940"/>
                  <a:gd name="connsiteX99" fmla="*/ 30502 w 4519987"/>
                  <a:gd name="connsiteY99" fmla="*/ 2514600 h 4496940"/>
                  <a:gd name="connsiteX100" fmla="*/ 11452 w 4519987"/>
                  <a:gd name="connsiteY100" fmla="*/ 2400300 h 4496940"/>
                  <a:gd name="connsiteX101" fmla="*/ 20977 w 4519987"/>
                  <a:gd name="connsiteY101" fmla="*/ 1905000 h 4496940"/>
                  <a:gd name="connsiteX102" fmla="*/ 30502 w 4519987"/>
                  <a:gd name="connsiteY102" fmla="*/ 1838325 h 4496940"/>
                  <a:gd name="connsiteX103" fmla="*/ 49552 w 4519987"/>
                  <a:gd name="connsiteY103" fmla="*/ 1781175 h 4496940"/>
                  <a:gd name="connsiteX104" fmla="*/ 59077 w 4519987"/>
                  <a:gd name="connsiteY104" fmla="*/ 1743075 h 4496940"/>
                  <a:gd name="connsiteX105" fmla="*/ 78127 w 4519987"/>
                  <a:gd name="connsiteY105" fmla="*/ 1685925 h 4496940"/>
                  <a:gd name="connsiteX106" fmla="*/ 87652 w 4519987"/>
                  <a:gd name="connsiteY106" fmla="*/ 1638300 h 4496940"/>
                  <a:gd name="connsiteX107" fmla="*/ 106702 w 4519987"/>
                  <a:gd name="connsiteY107" fmla="*/ 1590675 h 4496940"/>
                  <a:gd name="connsiteX108" fmla="*/ 135277 w 4519987"/>
                  <a:gd name="connsiteY108" fmla="*/ 1504950 h 4496940"/>
                  <a:gd name="connsiteX109" fmla="*/ 154327 w 4519987"/>
                  <a:gd name="connsiteY109" fmla="*/ 1419225 h 4496940"/>
                  <a:gd name="connsiteX110" fmla="*/ 230527 w 4519987"/>
                  <a:gd name="connsiteY110" fmla="*/ 1276350 h 4496940"/>
                  <a:gd name="connsiteX111" fmla="*/ 240052 w 4519987"/>
                  <a:gd name="connsiteY111" fmla="*/ 1247775 h 4496940"/>
                  <a:gd name="connsiteX112" fmla="*/ 268627 w 4519987"/>
                  <a:gd name="connsiteY112" fmla="*/ 1200150 h 4496940"/>
                  <a:gd name="connsiteX113" fmla="*/ 287677 w 4519987"/>
                  <a:gd name="connsiteY113" fmla="*/ 1152525 h 4496940"/>
                  <a:gd name="connsiteX114" fmla="*/ 316252 w 4519987"/>
                  <a:gd name="connsiteY114" fmla="*/ 1114425 h 4496940"/>
                  <a:gd name="connsiteX115" fmla="*/ 363877 w 4519987"/>
                  <a:gd name="connsiteY115" fmla="*/ 1038225 h 4496940"/>
                  <a:gd name="connsiteX116" fmla="*/ 382927 w 4519987"/>
                  <a:gd name="connsiteY116" fmla="*/ 1009650 h 4496940"/>
                  <a:gd name="connsiteX117" fmla="*/ 440077 w 4519987"/>
                  <a:gd name="connsiteY117" fmla="*/ 904875 h 4496940"/>
                  <a:gd name="connsiteX118" fmla="*/ 478177 w 4519987"/>
                  <a:gd name="connsiteY118" fmla="*/ 857250 h 4496940"/>
                  <a:gd name="connsiteX119" fmla="*/ 497227 w 4519987"/>
                  <a:gd name="connsiteY119" fmla="*/ 828675 h 4496940"/>
                  <a:gd name="connsiteX120" fmla="*/ 535327 w 4519987"/>
                  <a:gd name="connsiteY120" fmla="*/ 800100 h 4496940"/>
                  <a:gd name="connsiteX121" fmla="*/ 602002 w 4519987"/>
                  <a:gd name="connsiteY121" fmla="*/ 733425 h 4496940"/>
                  <a:gd name="connsiteX122" fmla="*/ 668677 w 4519987"/>
                  <a:gd name="connsiteY122" fmla="*/ 676275 h 4496940"/>
                  <a:gd name="connsiteX123" fmla="*/ 697252 w 4519987"/>
                  <a:gd name="connsiteY123" fmla="*/ 657225 h 4496940"/>
                  <a:gd name="connsiteX124" fmla="*/ 840127 w 4519987"/>
                  <a:gd name="connsiteY124" fmla="*/ 533400 h 4496940"/>
                  <a:gd name="connsiteX125" fmla="*/ 887752 w 4519987"/>
                  <a:gd name="connsiteY125" fmla="*/ 504825 h 4496940"/>
                  <a:gd name="connsiteX126" fmla="*/ 1167152 w 4519987"/>
                  <a:gd name="connsiteY126" fmla="*/ 311150 h 4496940"/>
                  <a:gd name="connsiteX127" fmla="*/ 1268752 w 4519987"/>
                  <a:gd name="connsiteY127" fmla="*/ 285750 h 4496940"/>
                  <a:gd name="connsiteX128" fmla="*/ 1411627 w 4519987"/>
                  <a:gd name="connsiteY128" fmla="*/ 190500 h 4496940"/>
                  <a:gd name="connsiteX129" fmla="*/ 1449727 w 4519987"/>
                  <a:gd name="connsiteY129" fmla="*/ 161925 h 4496940"/>
                  <a:gd name="connsiteX130" fmla="*/ 1525927 w 4519987"/>
                  <a:gd name="connsiteY130" fmla="*/ 152400 h 4496940"/>
                  <a:gd name="connsiteX131" fmla="*/ 1583077 w 4519987"/>
                  <a:gd name="connsiteY131" fmla="*/ 142875 h 4496940"/>
                  <a:gd name="connsiteX132" fmla="*/ 1716427 w 4519987"/>
                  <a:gd name="connsiteY132" fmla="*/ 123825 h 4496940"/>
                  <a:gd name="connsiteX133" fmla="*/ 1811677 w 4519987"/>
                  <a:gd name="connsiteY133" fmla="*/ 114300 h 4496940"/>
                  <a:gd name="connsiteX134" fmla="*/ 1859302 w 4519987"/>
                  <a:gd name="connsiteY134" fmla="*/ 104775 h 4496940"/>
                  <a:gd name="connsiteX135" fmla="*/ 1916452 w 4519987"/>
                  <a:gd name="connsiteY135" fmla="*/ 95250 h 4496940"/>
                  <a:gd name="connsiteX136" fmla="*/ 2030752 w 4519987"/>
                  <a:gd name="connsiteY136" fmla="*/ 66675 h 4496940"/>
                  <a:gd name="connsiteX137" fmla="*/ 2097427 w 4519987"/>
                  <a:gd name="connsiteY137" fmla="*/ 47625 h 4496940"/>
                  <a:gd name="connsiteX138" fmla="*/ 2164102 w 4519987"/>
                  <a:gd name="connsiteY138" fmla="*/ 38100 h 4496940"/>
                  <a:gd name="connsiteX139" fmla="*/ 2392702 w 4519987"/>
                  <a:gd name="connsiteY13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83377 w 4519987"/>
                  <a:gd name="connsiteY37" fmla="*/ 3629025 h 4496940"/>
                  <a:gd name="connsiteX38" fmla="*/ 3954802 w 4519987"/>
                  <a:gd name="connsiteY38" fmla="*/ 3648075 h 4496940"/>
                  <a:gd name="connsiteX39" fmla="*/ 3907177 w 4519987"/>
                  <a:gd name="connsiteY39" fmla="*/ 3686175 h 4496940"/>
                  <a:gd name="connsiteX40" fmla="*/ 3869077 w 4519987"/>
                  <a:gd name="connsiteY40" fmla="*/ 3724275 h 4496940"/>
                  <a:gd name="connsiteX41" fmla="*/ 3792877 w 4519987"/>
                  <a:gd name="connsiteY41" fmla="*/ 3781425 h 4496940"/>
                  <a:gd name="connsiteX42" fmla="*/ 3783352 w 4519987"/>
                  <a:gd name="connsiteY42" fmla="*/ 3810000 h 4496940"/>
                  <a:gd name="connsiteX43" fmla="*/ 3745252 w 4519987"/>
                  <a:gd name="connsiteY43" fmla="*/ 3819525 h 4496940"/>
                  <a:gd name="connsiteX44" fmla="*/ 3678577 w 4519987"/>
                  <a:gd name="connsiteY44" fmla="*/ 3848100 h 4496940"/>
                  <a:gd name="connsiteX45" fmla="*/ 3659527 w 4519987"/>
                  <a:gd name="connsiteY45" fmla="*/ 3971925 h 4496940"/>
                  <a:gd name="connsiteX46" fmla="*/ 3630952 w 4519987"/>
                  <a:gd name="connsiteY46" fmla="*/ 4010025 h 4496940"/>
                  <a:gd name="connsiteX47" fmla="*/ 3621427 w 4519987"/>
                  <a:gd name="connsiteY47" fmla="*/ 4038600 h 4496940"/>
                  <a:gd name="connsiteX48" fmla="*/ 3554752 w 4519987"/>
                  <a:gd name="connsiteY48" fmla="*/ 4095750 h 4496940"/>
                  <a:gd name="connsiteX49" fmla="*/ 3516652 w 4519987"/>
                  <a:gd name="connsiteY49" fmla="*/ 4114800 h 4496940"/>
                  <a:gd name="connsiteX50" fmla="*/ 3497602 w 4519987"/>
                  <a:gd name="connsiteY50" fmla="*/ 4143375 h 4496940"/>
                  <a:gd name="connsiteX51" fmla="*/ 3383302 w 4519987"/>
                  <a:gd name="connsiteY51" fmla="*/ 4210050 h 4496940"/>
                  <a:gd name="connsiteX52" fmla="*/ 3335677 w 4519987"/>
                  <a:gd name="connsiteY52" fmla="*/ 4238625 h 4496940"/>
                  <a:gd name="connsiteX53" fmla="*/ 3288052 w 4519987"/>
                  <a:gd name="connsiteY53" fmla="*/ 4248150 h 4496940"/>
                  <a:gd name="connsiteX54" fmla="*/ 3240427 w 4519987"/>
                  <a:gd name="connsiteY54" fmla="*/ 4267200 h 4496940"/>
                  <a:gd name="connsiteX55" fmla="*/ 3068977 w 4519987"/>
                  <a:gd name="connsiteY55" fmla="*/ 4286250 h 4496940"/>
                  <a:gd name="connsiteX56" fmla="*/ 2935627 w 4519987"/>
                  <a:gd name="connsiteY56" fmla="*/ 4333875 h 4496940"/>
                  <a:gd name="connsiteX57" fmla="*/ 2811802 w 4519987"/>
                  <a:gd name="connsiteY57" fmla="*/ 4371975 h 4496940"/>
                  <a:gd name="connsiteX58" fmla="*/ 2745127 w 4519987"/>
                  <a:gd name="connsiteY58" fmla="*/ 4410075 h 4496940"/>
                  <a:gd name="connsiteX59" fmla="*/ 2697502 w 4519987"/>
                  <a:gd name="connsiteY59" fmla="*/ 4429125 h 4496940"/>
                  <a:gd name="connsiteX60" fmla="*/ 2640352 w 4519987"/>
                  <a:gd name="connsiteY60" fmla="*/ 4457700 h 4496940"/>
                  <a:gd name="connsiteX61" fmla="*/ 2583202 w 4519987"/>
                  <a:gd name="connsiteY61" fmla="*/ 4467225 h 4496940"/>
                  <a:gd name="connsiteX62" fmla="*/ 2545102 w 4519987"/>
                  <a:gd name="connsiteY62" fmla="*/ 4486275 h 4496940"/>
                  <a:gd name="connsiteX63" fmla="*/ 2306977 w 4519987"/>
                  <a:gd name="connsiteY63" fmla="*/ 4476750 h 4496940"/>
                  <a:gd name="connsiteX64" fmla="*/ 2202202 w 4519987"/>
                  <a:gd name="connsiteY64" fmla="*/ 4457700 h 4496940"/>
                  <a:gd name="connsiteX65" fmla="*/ 2126002 w 4519987"/>
                  <a:gd name="connsiteY65" fmla="*/ 4429125 h 4496940"/>
                  <a:gd name="connsiteX66" fmla="*/ 1935502 w 4519987"/>
                  <a:gd name="connsiteY66" fmla="*/ 4400550 h 4496940"/>
                  <a:gd name="connsiteX67" fmla="*/ 1821202 w 4519987"/>
                  <a:gd name="connsiteY67" fmla="*/ 4371975 h 4496940"/>
                  <a:gd name="connsiteX68" fmla="*/ 1754527 w 4519987"/>
                  <a:gd name="connsiteY68" fmla="*/ 4352925 h 4496940"/>
                  <a:gd name="connsiteX69" fmla="*/ 1687852 w 4519987"/>
                  <a:gd name="connsiteY69" fmla="*/ 4343400 h 4496940"/>
                  <a:gd name="connsiteX70" fmla="*/ 1573552 w 4519987"/>
                  <a:gd name="connsiteY70" fmla="*/ 4305300 h 4496940"/>
                  <a:gd name="connsiteX71" fmla="*/ 1402102 w 4519987"/>
                  <a:gd name="connsiteY71" fmla="*/ 4276725 h 4496940"/>
                  <a:gd name="connsiteX72" fmla="*/ 1287802 w 4519987"/>
                  <a:gd name="connsiteY72" fmla="*/ 4229100 h 4496940"/>
                  <a:gd name="connsiteX73" fmla="*/ 1221127 w 4519987"/>
                  <a:gd name="connsiteY73" fmla="*/ 4200525 h 4496940"/>
                  <a:gd name="connsiteX74" fmla="*/ 1144927 w 4519987"/>
                  <a:gd name="connsiteY74" fmla="*/ 4171950 h 4496940"/>
                  <a:gd name="connsiteX75" fmla="*/ 1087777 w 4519987"/>
                  <a:gd name="connsiteY75" fmla="*/ 4143375 h 4496940"/>
                  <a:gd name="connsiteX76" fmla="*/ 1030627 w 4519987"/>
                  <a:gd name="connsiteY76" fmla="*/ 4124325 h 4496940"/>
                  <a:gd name="connsiteX77" fmla="*/ 925852 w 4519987"/>
                  <a:gd name="connsiteY77" fmla="*/ 4067175 h 4496940"/>
                  <a:gd name="connsiteX78" fmla="*/ 830602 w 4519987"/>
                  <a:gd name="connsiteY78" fmla="*/ 3981450 h 4496940"/>
                  <a:gd name="connsiteX79" fmla="*/ 763927 w 4519987"/>
                  <a:gd name="connsiteY79" fmla="*/ 3914775 h 4496940"/>
                  <a:gd name="connsiteX80" fmla="*/ 725827 w 4519987"/>
                  <a:gd name="connsiteY80" fmla="*/ 3876675 h 4496940"/>
                  <a:gd name="connsiteX81" fmla="*/ 697252 w 4519987"/>
                  <a:gd name="connsiteY81" fmla="*/ 3838575 h 4496940"/>
                  <a:gd name="connsiteX82" fmla="*/ 640102 w 4519987"/>
                  <a:gd name="connsiteY82" fmla="*/ 3781425 h 4496940"/>
                  <a:gd name="connsiteX83" fmla="*/ 611527 w 4519987"/>
                  <a:gd name="connsiteY83" fmla="*/ 3733800 h 4496940"/>
                  <a:gd name="connsiteX84" fmla="*/ 554377 w 4519987"/>
                  <a:gd name="connsiteY84" fmla="*/ 3657600 h 4496940"/>
                  <a:gd name="connsiteX85" fmla="*/ 525802 w 4519987"/>
                  <a:gd name="connsiteY85" fmla="*/ 3609975 h 4496940"/>
                  <a:gd name="connsiteX86" fmla="*/ 497227 w 4519987"/>
                  <a:gd name="connsiteY86" fmla="*/ 3552825 h 4496940"/>
                  <a:gd name="connsiteX87" fmla="*/ 440077 w 4519987"/>
                  <a:gd name="connsiteY87" fmla="*/ 3495675 h 4496940"/>
                  <a:gd name="connsiteX88" fmla="*/ 411502 w 4519987"/>
                  <a:gd name="connsiteY88" fmla="*/ 3448050 h 4496940"/>
                  <a:gd name="connsiteX89" fmla="*/ 278152 w 4519987"/>
                  <a:gd name="connsiteY89" fmla="*/ 3257550 h 4496940"/>
                  <a:gd name="connsiteX90" fmla="*/ 249577 w 4519987"/>
                  <a:gd name="connsiteY90" fmla="*/ 3200400 h 4496940"/>
                  <a:gd name="connsiteX91" fmla="*/ 240052 w 4519987"/>
                  <a:gd name="connsiteY91" fmla="*/ 3162300 h 4496940"/>
                  <a:gd name="connsiteX92" fmla="*/ 221002 w 4519987"/>
                  <a:gd name="connsiteY92" fmla="*/ 3105150 h 4496940"/>
                  <a:gd name="connsiteX93" fmla="*/ 173377 w 4519987"/>
                  <a:gd name="connsiteY93" fmla="*/ 3019425 h 4496940"/>
                  <a:gd name="connsiteX94" fmla="*/ 144802 w 4519987"/>
                  <a:gd name="connsiteY94" fmla="*/ 2924175 h 4496940"/>
                  <a:gd name="connsiteX95" fmla="*/ 68602 w 4519987"/>
                  <a:gd name="connsiteY95" fmla="*/ 2724150 h 4496940"/>
                  <a:gd name="connsiteX96" fmla="*/ 49552 w 4519987"/>
                  <a:gd name="connsiteY96" fmla="*/ 2638425 h 4496940"/>
                  <a:gd name="connsiteX97" fmla="*/ 40027 w 4519987"/>
                  <a:gd name="connsiteY97" fmla="*/ 2562225 h 4496940"/>
                  <a:gd name="connsiteX98" fmla="*/ 30502 w 4519987"/>
                  <a:gd name="connsiteY98" fmla="*/ 2514600 h 4496940"/>
                  <a:gd name="connsiteX99" fmla="*/ 11452 w 4519987"/>
                  <a:gd name="connsiteY99" fmla="*/ 2400300 h 4496940"/>
                  <a:gd name="connsiteX100" fmla="*/ 20977 w 4519987"/>
                  <a:gd name="connsiteY100" fmla="*/ 1905000 h 4496940"/>
                  <a:gd name="connsiteX101" fmla="*/ 30502 w 4519987"/>
                  <a:gd name="connsiteY101" fmla="*/ 1838325 h 4496940"/>
                  <a:gd name="connsiteX102" fmla="*/ 49552 w 4519987"/>
                  <a:gd name="connsiteY102" fmla="*/ 1781175 h 4496940"/>
                  <a:gd name="connsiteX103" fmla="*/ 59077 w 4519987"/>
                  <a:gd name="connsiteY103" fmla="*/ 1743075 h 4496940"/>
                  <a:gd name="connsiteX104" fmla="*/ 78127 w 4519987"/>
                  <a:gd name="connsiteY104" fmla="*/ 1685925 h 4496940"/>
                  <a:gd name="connsiteX105" fmla="*/ 87652 w 4519987"/>
                  <a:gd name="connsiteY105" fmla="*/ 1638300 h 4496940"/>
                  <a:gd name="connsiteX106" fmla="*/ 106702 w 4519987"/>
                  <a:gd name="connsiteY106" fmla="*/ 1590675 h 4496940"/>
                  <a:gd name="connsiteX107" fmla="*/ 135277 w 4519987"/>
                  <a:gd name="connsiteY107" fmla="*/ 1504950 h 4496940"/>
                  <a:gd name="connsiteX108" fmla="*/ 154327 w 4519987"/>
                  <a:gd name="connsiteY108" fmla="*/ 1419225 h 4496940"/>
                  <a:gd name="connsiteX109" fmla="*/ 230527 w 4519987"/>
                  <a:gd name="connsiteY109" fmla="*/ 1276350 h 4496940"/>
                  <a:gd name="connsiteX110" fmla="*/ 240052 w 4519987"/>
                  <a:gd name="connsiteY110" fmla="*/ 1247775 h 4496940"/>
                  <a:gd name="connsiteX111" fmla="*/ 268627 w 4519987"/>
                  <a:gd name="connsiteY111" fmla="*/ 1200150 h 4496940"/>
                  <a:gd name="connsiteX112" fmla="*/ 287677 w 4519987"/>
                  <a:gd name="connsiteY112" fmla="*/ 1152525 h 4496940"/>
                  <a:gd name="connsiteX113" fmla="*/ 316252 w 4519987"/>
                  <a:gd name="connsiteY113" fmla="*/ 1114425 h 4496940"/>
                  <a:gd name="connsiteX114" fmla="*/ 363877 w 4519987"/>
                  <a:gd name="connsiteY114" fmla="*/ 1038225 h 4496940"/>
                  <a:gd name="connsiteX115" fmla="*/ 382927 w 4519987"/>
                  <a:gd name="connsiteY115" fmla="*/ 1009650 h 4496940"/>
                  <a:gd name="connsiteX116" fmla="*/ 440077 w 4519987"/>
                  <a:gd name="connsiteY116" fmla="*/ 904875 h 4496940"/>
                  <a:gd name="connsiteX117" fmla="*/ 478177 w 4519987"/>
                  <a:gd name="connsiteY117" fmla="*/ 857250 h 4496940"/>
                  <a:gd name="connsiteX118" fmla="*/ 497227 w 4519987"/>
                  <a:gd name="connsiteY118" fmla="*/ 828675 h 4496940"/>
                  <a:gd name="connsiteX119" fmla="*/ 535327 w 4519987"/>
                  <a:gd name="connsiteY119" fmla="*/ 800100 h 4496940"/>
                  <a:gd name="connsiteX120" fmla="*/ 602002 w 4519987"/>
                  <a:gd name="connsiteY120" fmla="*/ 733425 h 4496940"/>
                  <a:gd name="connsiteX121" fmla="*/ 668677 w 4519987"/>
                  <a:gd name="connsiteY121" fmla="*/ 676275 h 4496940"/>
                  <a:gd name="connsiteX122" fmla="*/ 697252 w 4519987"/>
                  <a:gd name="connsiteY122" fmla="*/ 657225 h 4496940"/>
                  <a:gd name="connsiteX123" fmla="*/ 840127 w 4519987"/>
                  <a:gd name="connsiteY123" fmla="*/ 533400 h 4496940"/>
                  <a:gd name="connsiteX124" fmla="*/ 887752 w 4519987"/>
                  <a:gd name="connsiteY124" fmla="*/ 504825 h 4496940"/>
                  <a:gd name="connsiteX125" fmla="*/ 1167152 w 4519987"/>
                  <a:gd name="connsiteY125" fmla="*/ 311150 h 4496940"/>
                  <a:gd name="connsiteX126" fmla="*/ 1268752 w 4519987"/>
                  <a:gd name="connsiteY126" fmla="*/ 285750 h 4496940"/>
                  <a:gd name="connsiteX127" fmla="*/ 1411627 w 4519987"/>
                  <a:gd name="connsiteY127" fmla="*/ 190500 h 4496940"/>
                  <a:gd name="connsiteX128" fmla="*/ 1449727 w 4519987"/>
                  <a:gd name="connsiteY128" fmla="*/ 161925 h 4496940"/>
                  <a:gd name="connsiteX129" fmla="*/ 1525927 w 4519987"/>
                  <a:gd name="connsiteY129" fmla="*/ 152400 h 4496940"/>
                  <a:gd name="connsiteX130" fmla="*/ 1583077 w 4519987"/>
                  <a:gd name="connsiteY130" fmla="*/ 142875 h 4496940"/>
                  <a:gd name="connsiteX131" fmla="*/ 1716427 w 4519987"/>
                  <a:gd name="connsiteY131" fmla="*/ 123825 h 4496940"/>
                  <a:gd name="connsiteX132" fmla="*/ 1811677 w 4519987"/>
                  <a:gd name="connsiteY132" fmla="*/ 114300 h 4496940"/>
                  <a:gd name="connsiteX133" fmla="*/ 1859302 w 4519987"/>
                  <a:gd name="connsiteY133" fmla="*/ 104775 h 4496940"/>
                  <a:gd name="connsiteX134" fmla="*/ 1916452 w 4519987"/>
                  <a:gd name="connsiteY134" fmla="*/ 95250 h 4496940"/>
                  <a:gd name="connsiteX135" fmla="*/ 2030752 w 4519987"/>
                  <a:gd name="connsiteY135" fmla="*/ 66675 h 4496940"/>
                  <a:gd name="connsiteX136" fmla="*/ 2097427 w 4519987"/>
                  <a:gd name="connsiteY136" fmla="*/ 47625 h 4496940"/>
                  <a:gd name="connsiteX137" fmla="*/ 2164102 w 4519987"/>
                  <a:gd name="connsiteY137" fmla="*/ 38100 h 4496940"/>
                  <a:gd name="connsiteX138" fmla="*/ 2392702 w 4519987"/>
                  <a:gd name="connsiteY13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869077 w 4519987"/>
                  <a:gd name="connsiteY39" fmla="*/ 3724275 h 4496940"/>
                  <a:gd name="connsiteX40" fmla="*/ 3792877 w 4519987"/>
                  <a:gd name="connsiteY40" fmla="*/ 3781425 h 4496940"/>
                  <a:gd name="connsiteX41" fmla="*/ 3783352 w 4519987"/>
                  <a:gd name="connsiteY41" fmla="*/ 3810000 h 4496940"/>
                  <a:gd name="connsiteX42" fmla="*/ 3745252 w 4519987"/>
                  <a:gd name="connsiteY42" fmla="*/ 3819525 h 4496940"/>
                  <a:gd name="connsiteX43" fmla="*/ 3678577 w 4519987"/>
                  <a:gd name="connsiteY43" fmla="*/ 3848100 h 4496940"/>
                  <a:gd name="connsiteX44" fmla="*/ 3659527 w 4519987"/>
                  <a:gd name="connsiteY44" fmla="*/ 3971925 h 4496940"/>
                  <a:gd name="connsiteX45" fmla="*/ 3630952 w 4519987"/>
                  <a:gd name="connsiteY45" fmla="*/ 4010025 h 4496940"/>
                  <a:gd name="connsiteX46" fmla="*/ 3621427 w 4519987"/>
                  <a:gd name="connsiteY46" fmla="*/ 4038600 h 4496940"/>
                  <a:gd name="connsiteX47" fmla="*/ 3554752 w 4519987"/>
                  <a:gd name="connsiteY47" fmla="*/ 4095750 h 4496940"/>
                  <a:gd name="connsiteX48" fmla="*/ 3516652 w 4519987"/>
                  <a:gd name="connsiteY48" fmla="*/ 4114800 h 4496940"/>
                  <a:gd name="connsiteX49" fmla="*/ 3497602 w 4519987"/>
                  <a:gd name="connsiteY49" fmla="*/ 4143375 h 4496940"/>
                  <a:gd name="connsiteX50" fmla="*/ 3383302 w 4519987"/>
                  <a:gd name="connsiteY50" fmla="*/ 4210050 h 4496940"/>
                  <a:gd name="connsiteX51" fmla="*/ 3335677 w 4519987"/>
                  <a:gd name="connsiteY51" fmla="*/ 4238625 h 4496940"/>
                  <a:gd name="connsiteX52" fmla="*/ 3288052 w 4519987"/>
                  <a:gd name="connsiteY52" fmla="*/ 4248150 h 4496940"/>
                  <a:gd name="connsiteX53" fmla="*/ 3240427 w 4519987"/>
                  <a:gd name="connsiteY53" fmla="*/ 4267200 h 4496940"/>
                  <a:gd name="connsiteX54" fmla="*/ 3068977 w 4519987"/>
                  <a:gd name="connsiteY54" fmla="*/ 4286250 h 4496940"/>
                  <a:gd name="connsiteX55" fmla="*/ 2935627 w 4519987"/>
                  <a:gd name="connsiteY55" fmla="*/ 4333875 h 4496940"/>
                  <a:gd name="connsiteX56" fmla="*/ 2811802 w 4519987"/>
                  <a:gd name="connsiteY56" fmla="*/ 4371975 h 4496940"/>
                  <a:gd name="connsiteX57" fmla="*/ 2745127 w 4519987"/>
                  <a:gd name="connsiteY57" fmla="*/ 4410075 h 4496940"/>
                  <a:gd name="connsiteX58" fmla="*/ 2697502 w 4519987"/>
                  <a:gd name="connsiteY58" fmla="*/ 4429125 h 4496940"/>
                  <a:gd name="connsiteX59" fmla="*/ 2640352 w 4519987"/>
                  <a:gd name="connsiteY59" fmla="*/ 4457700 h 4496940"/>
                  <a:gd name="connsiteX60" fmla="*/ 2583202 w 4519987"/>
                  <a:gd name="connsiteY60" fmla="*/ 4467225 h 4496940"/>
                  <a:gd name="connsiteX61" fmla="*/ 2545102 w 4519987"/>
                  <a:gd name="connsiteY61" fmla="*/ 4486275 h 4496940"/>
                  <a:gd name="connsiteX62" fmla="*/ 2306977 w 4519987"/>
                  <a:gd name="connsiteY62" fmla="*/ 4476750 h 4496940"/>
                  <a:gd name="connsiteX63" fmla="*/ 2202202 w 4519987"/>
                  <a:gd name="connsiteY63" fmla="*/ 4457700 h 4496940"/>
                  <a:gd name="connsiteX64" fmla="*/ 2126002 w 4519987"/>
                  <a:gd name="connsiteY64" fmla="*/ 4429125 h 4496940"/>
                  <a:gd name="connsiteX65" fmla="*/ 1935502 w 4519987"/>
                  <a:gd name="connsiteY65" fmla="*/ 4400550 h 4496940"/>
                  <a:gd name="connsiteX66" fmla="*/ 1821202 w 4519987"/>
                  <a:gd name="connsiteY66" fmla="*/ 4371975 h 4496940"/>
                  <a:gd name="connsiteX67" fmla="*/ 1754527 w 4519987"/>
                  <a:gd name="connsiteY67" fmla="*/ 4352925 h 4496940"/>
                  <a:gd name="connsiteX68" fmla="*/ 1687852 w 4519987"/>
                  <a:gd name="connsiteY68" fmla="*/ 4343400 h 4496940"/>
                  <a:gd name="connsiteX69" fmla="*/ 1573552 w 4519987"/>
                  <a:gd name="connsiteY69" fmla="*/ 4305300 h 4496940"/>
                  <a:gd name="connsiteX70" fmla="*/ 1402102 w 4519987"/>
                  <a:gd name="connsiteY70" fmla="*/ 4276725 h 4496940"/>
                  <a:gd name="connsiteX71" fmla="*/ 1287802 w 4519987"/>
                  <a:gd name="connsiteY71" fmla="*/ 4229100 h 4496940"/>
                  <a:gd name="connsiteX72" fmla="*/ 1221127 w 4519987"/>
                  <a:gd name="connsiteY72" fmla="*/ 4200525 h 4496940"/>
                  <a:gd name="connsiteX73" fmla="*/ 1144927 w 4519987"/>
                  <a:gd name="connsiteY73" fmla="*/ 4171950 h 4496940"/>
                  <a:gd name="connsiteX74" fmla="*/ 1087777 w 4519987"/>
                  <a:gd name="connsiteY74" fmla="*/ 4143375 h 4496940"/>
                  <a:gd name="connsiteX75" fmla="*/ 1030627 w 4519987"/>
                  <a:gd name="connsiteY75" fmla="*/ 4124325 h 4496940"/>
                  <a:gd name="connsiteX76" fmla="*/ 925852 w 4519987"/>
                  <a:gd name="connsiteY76" fmla="*/ 4067175 h 4496940"/>
                  <a:gd name="connsiteX77" fmla="*/ 830602 w 4519987"/>
                  <a:gd name="connsiteY77" fmla="*/ 3981450 h 4496940"/>
                  <a:gd name="connsiteX78" fmla="*/ 763927 w 4519987"/>
                  <a:gd name="connsiteY78" fmla="*/ 3914775 h 4496940"/>
                  <a:gd name="connsiteX79" fmla="*/ 725827 w 4519987"/>
                  <a:gd name="connsiteY79" fmla="*/ 3876675 h 4496940"/>
                  <a:gd name="connsiteX80" fmla="*/ 697252 w 4519987"/>
                  <a:gd name="connsiteY80" fmla="*/ 3838575 h 4496940"/>
                  <a:gd name="connsiteX81" fmla="*/ 640102 w 4519987"/>
                  <a:gd name="connsiteY81" fmla="*/ 3781425 h 4496940"/>
                  <a:gd name="connsiteX82" fmla="*/ 611527 w 4519987"/>
                  <a:gd name="connsiteY82" fmla="*/ 3733800 h 4496940"/>
                  <a:gd name="connsiteX83" fmla="*/ 554377 w 4519987"/>
                  <a:gd name="connsiteY83" fmla="*/ 3657600 h 4496940"/>
                  <a:gd name="connsiteX84" fmla="*/ 525802 w 4519987"/>
                  <a:gd name="connsiteY84" fmla="*/ 3609975 h 4496940"/>
                  <a:gd name="connsiteX85" fmla="*/ 497227 w 4519987"/>
                  <a:gd name="connsiteY85" fmla="*/ 3552825 h 4496940"/>
                  <a:gd name="connsiteX86" fmla="*/ 440077 w 4519987"/>
                  <a:gd name="connsiteY86" fmla="*/ 3495675 h 4496940"/>
                  <a:gd name="connsiteX87" fmla="*/ 411502 w 4519987"/>
                  <a:gd name="connsiteY87" fmla="*/ 3448050 h 4496940"/>
                  <a:gd name="connsiteX88" fmla="*/ 278152 w 4519987"/>
                  <a:gd name="connsiteY88" fmla="*/ 3257550 h 4496940"/>
                  <a:gd name="connsiteX89" fmla="*/ 249577 w 4519987"/>
                  <a:gd name="connsiteY89" fmla="*/ 3200400 h 4496940"/>
                  <a:gd name="connsiteX90" fmla="*/ 240052 w 4519987"/>
                  <a:gd name="connsiteY90" fmla="*/ 3162300 h 4496940"/>
                  <a:gd name="connsiteX91" fmla="*/ 221002 w 4519987"/>
                  <a:gd name="connsiteY91" fmla="*/ 3105150 h 4496940"/>
                  <a:gd name="connsiteX92" fmla="*/ 173377 w 4519987"/>
                  <a:gd name="connsiteY92" fmla="*/ 3019425 h 4496940"/>
                  <a:gd name="connsiteX93" fmla="*/ 144802 w 4519987"/>
                  <a:gd name="connsiteY93" fmla="*/ 2924175 h 4496940"/>
                  <a:gd name="connsiteX94" fmla="*/ 68602 w 4519987"/>
                  <a:gd name="connsiteY94" fmla="*/ 2724150 h 4496940"/>
                  <a:gd name="connsiteX95" fmla="*/ 49552 w 4519987"/>
                  <a:gd name="connsiteY95" fmla="*/ 2638425 h 4496940"/>
                  <a:gd name="connsiteX96" fmla="*/ 40027 w 4519987"/>
                  <a:gd name="connsiteY96" fmla="*/ 2562225 h 4496940"/>
                  <a:gd name="connsiteX97" fmla="*/ 30502 w 4519987"/>
                  <a:gd name="connsiteY97" fmla="*/ 2514600 h 4496940"/>
                  <a:gd name="connsiteX98" fmla="*/ 11452 w 4519987"/>
                  <a:gd name="connsiteY98" fmla="*/ 2400300 h 4496940"/>
                  <a:gd name="connsiteX99" fmla="*/ 20977 w 4519987"/>
                  <a:gd name="connsiteY99" fmla="*/ 1905000 h 4496940"/>
                  <a:gd name="connsiteX100" fmla="*/ 30502 w 4519987"/>
                  <a:gd name="connsiteY100" fmla="*/ 1838325 h 4496940"/>
                  <a:gd name="connsiteX101" fmla="*/ 49552 w 4519987"/>
                  <a:gd name="connsiteY101" fmla="*/ 1781175 h 4496940"/>
                  <a:gd name="connsiteX102" fmla="*/ 59077 w 4519987"/>
                  <a:gd name="connsiteY102" fmla="*/ 1743075 h 4496940"/>
                  <a:gd name="connsiteX103" fmla="*/ 78127 w 4519987"/>
                  <a:gd name="connsiteY103" fmla="*/ 1685925 h 4496940"/>
                  <a:gd name="connsiteX104" fmla="*/ 87652 w 4519987"/>
                  <a:gd name="connsiteY104" fmla="*/ 1638300 h 4496940"/>
                  <a:gd name="connsiteX105" fmla="*/ 106702 w 4519987"/>
                  <a:gd name="connsiteY105" fmla="*/ 1590675 h 4496940"/>
                  <a:gd name="connsiteX106" fmla="*/ 135277 w 4519987"/>
                  <a:gd name="connsiteY106" fmla="*/ 1504950 h 4496940"/>
                  <a:gd name="connsiteX107" fmla="*/ 154327 w 4519987"/>
                  <a:gd name="connsiteY107" fmla="*/ 1419225 h 4496940"/>
                  <a:gd name="connsiteX108" fmla="*/ 230527 w 4519987"/>
                  <a:gd name="connsiteY108" fmla="*/ 1276350 h 4496940"/>
                  <a:gd name="connsiteX109" fmla="*/ 240052 w 4519987"/>
                  <a:gd name="connsiteY109" fmla="*/ 1247775 h 4496940"/>
                  <a:gd name="connsiteX110" fmla="*/ 268627 w 4519987"/>
                  <a:gd name="connsiteY110" fmla="*/ 1200150 h 4496940"/>
                  <a:gd name="connsiteX111" fmla="*/ 287677 w 4519987"/>
                  <a:gd name="connsiteY111" fmla="*/ 1152525 h 4496940"/>
                  <a:gd name="connsiteX112" fmla="*/ 316252 w 4519987"/>
                  <a:gd name="connsiteY112" fmla="*/ 1114425 h 4496940"/>
                  <a:gd name="connsiteX113" fmla="*/ 363877 w 4519987"/>
                  <a:gd name="connsiteY113" fmla="*/ 1038225 h 4496940"/>
                  <a:gd name="connsiteX114" fmla="*/ 382927 w 4519987"/>
                  <a:gd name="connsiteY114" fmla="*/ 1009650 h 4496940"/>
                  <a:gd name="connsiteX115" fmla="*/ 440077 w 4519987"/>
                  <a:gd name="connsiteY115" fmla="*/ 904875 h 4496940"/>
                  <a:gd name="connsiteX116" fmla="*/ 478177 w 4519987"/>
                  <a:gd name="connsiteY116" fmla="*/ 857250 h 4496940"/>
                  <a:gd name="connsiteX117" fmla="*/ 497227 w 4519987"/>
                  <a:gd name="connsiteY117" fmla="*/ 828675 h 4496940"/>
                  <a:gd name="connsiteX118" fmla="*/ 535327 w 4519987"/>
                  <a:gd name="connsiteY118" fmla="*/ 800100 h 4496940"/>
                  <a:gd name="connsiteX119" fmla="*/ 602002 w 4519987"/>
                  <a:gd name="connsiteY119" fmla="*/ 733425 h 4496940"/>
                  <a:gd name="connsiteX120" fmla="*/ 668677 w 4519987"/>
                  <a:gd name="connsiteY120" fmla="*/ 676275 h 4496940"/>
                  <a:gd name="connsiteX121" fmla="*/ 697252 w 4519987"/>
                  <a:gd name="connsiteY121" fmla="*/ 657225 h 4496940"/>
                  <a:gd name="connsiteX122" fmla="*/ 840127 w 4519987"/>
                  <a:gd name="connsiteY122" fmla="*/ 533400 h 4496940"/>
                  <a:gd name="connsiteX123" fmla="*/ 887752 w 4519987"/>
                  <a:gd name="connsiteY123" fmla="*/ 504825 h 4496940"/>
                  <a:gd name="connsiteX124" fmla="*/ 1167152 w 4519987"/>
                  <a:gd name="connsiteY124" fmla="*/ 311150 h 4496940"/>
                  <a:gd name="connsiteX125" fmla="*/ 1268752 w 4519987"/>
                  <a:gd name="connsiteY125" fmla="*/ 285750 h 4496940"/>
                  <a:gd name="connsiteX126" fmla="*/ 1411627 w 4519987"/>
                  <a:gd name="connsiteY126" fmla="*/ 190500 h 4496940"/>
                  <a:gd name="connsiteX127" fmla="*/ 1449727 w 4519987"/>
                  <a:gd name="connsiteY127" fmla="*/ 161925 h 4496940"/>
                  <a:gd name="connsiteX128" fmla="*/ 1525927 w 4519987"/>
                  <a:gd name="connsiteY128" fmla="*/ 152400 h 4496940"/>
                  <a:gd name="connsiteX129" fmla="*/ 1583077 w 4519987"/>
                  <a:gd name="connsiteY129" fmla="*/ 142875 h 4496940"/>
                  <a:gd name="connsiteX130" fmla="*/ 1716427 w 4519987"/>
                  <a:gd name="connsiteY130" fmla="*/ 123825 h 4496940"/>
                  <a:gd name="connsiteX131" fmla="*/ 1811677 w 4519987"/>
                  <a:gd name="connsiteY131" fmla="*/ 114300 h 4496940"/>
                  <a:gd name="connsiteX132" fmla="*/ 1859302 w 4519987"/>
                  <a:gd name="connsiteY132" fmla="*/ 104775 h 4496940"/>
                  <a:gd name="connsiteX133" fmla="*/ 1916452 w 4519987"/>
                  <a:gd name="connsiteY133" fmla="*/ 95250 h 4496940"/>
                  <a:gd name="connsiteX134" fmla="*/ 2030752 w 4519987"/>
                  <a:gd name="connsiteY134" fmla="*/ 66675 h 4496940"/>
                  <a:gd name="connsiteX135" fmla="*/ 2097427 w 4519987"/>
                  <a:gd name="connsiteY135" fmla="*/ 47625 h 4496940"/>
                  <a:gd name="connsiteX136" fmla="*/ 2164102 w 4519987"/>
                  <a:gd name="connsiteY136" fmla="*/ 38100 h 4496940"/>
                  <a:gd name="connsiteX137" fmla="*/ 2392702 w 4519987"/>
                  <a:gd name="connsiteY13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783352 w 4519987"/>
                  <a:gd name="connsiteY40" fmla="*/ 3810000 h 4496940"/>
                  <a:gd name="connsiteX41" fmla="*/ 3745252 w 4519987"/>
                  <a:gd name="connsiteY41" fmla="*/ 3819525 h 4496940"/>
                  <a:gd name="connsiteX42" fmla="*/ 3678577 w 4519987"/>
                  <a:gd name="connsiteY42" fmla="*/ 3848100 h 4496940"/>
                  <a:gd name="connsiteX43" fmla="*/ 3659527 w 4519987"/>
                  <a:gd name="connsiteY43" fmla="*/ 3971925 h 4496940"/>
                  <a:gd name="connsiteX44" fmla="*/ 3630952 w 4519987"/>
                  <a:gd name="connsiteY44" fmla="*/ 4010025 h 4496940"/>
                  <a:gd name="connsiteX45" fmla="*/ 3621427 w 4519987"/>
                  <a:gd name="connsiteY45" fmla="*/ 4038600 h 4496940"/>
                  <a:gd name="connsiteX46" fmla="*/ 3554752 w 4519987"/>
                  <a:gd name="connsiteY46" fmla="*/ 4095750 h 4496940"/>
                  <a:gd name="connsiteX47" fmla="*/ 3516652 w 4519987"/>
                  <a:gd name="connsiteY47" fmla="*/ 4114800 h 4496940"/>
                  <a:gd name="connsiteX48" fmla="*/ 3497602 w 4519987"/>
                  <a:gd name="connsiteY48" fmla="*/ 4143375 h 4496940"/>
                  <a:gd name="connsiteX49" fmla="*/ 3383302 w 4519987"/>
                  <a:gd name="connsiteY49" fmla="*/ 4210050 h 4496940"/>
                  <a:gd name="connsiteX50" fmla="*/ 3335677 w 4519987"/>
                  <a:gd name="connsiteY50" fmla="*/ 4238625 h 4496940"/>
                  <a:gd name="connsiteX51" fmla="*/ 3288052 w 4519987"/>
                  <a:gd name="connsiteY51" fmla="*/ 4248150 h 4496940"/>
                  <a:gd name="connsiteX52" fmla="*/ 3240427 w 4519987"/>
                  <a:gd name="connsiteY52" fmla="*/ 4267200 h 4496940"/>
                  <a:gd name="connsiteX53" fmla="*/ 3068977 w 4519987"/>
                  <a:gd name="connsiteY53" fmla="*/ 4286250 h 4496940"/>
                  <a:gd name="connsiteX54" fmla="*/ 2935627 w 4519987"/>
                  <a:gd name="connsiteY54" fmla="*/ 4333875 h 4496940"/>
                  <a:gd name="connsiteX55" fmla="*/ 2811802 w 4519987"/>
                  <a:gd name="connsiteY55" fmla="*/ 4371975 h 4496940"/>
                  <a:gd name="connsiteX56" fmla="*/ 2745127 w 4519987"/>
                  <a:gd name="connsiteY56" fmla="*/ 4410075 h 4496940"/>
                  <a:gd name="connsiteX57" fmla="*/ 2697502 w 4519987"/>
                  <a:gd name="connsiteY57" fmla="*/ 4429125 h 4496940"/>
                  <a:gd name="connsiteX58" fmla="*/ 2640352 w 4519987"/>
                  <a:gd name="connsiteY58" fmla="*/ 4457700 h 4496940"/>
                  <a:gd name="connsiteX59" fmla="*/ 2583202 w 4519987"/>
                  <a:gd name="connsiteY59" fmla="*/ 4467225 h 4496940"/>
                  <a:gd name="connsiteX60" fmla="*/ 2545102 w 4519987"/>
                  <a:gd name="connsiteY60" fmla="*/ 4486275 h 4496940"/>
                  <a:gd name="connsiteX61" fmla="*/ 2306977 w 4519987"/>
                  <a:gd name="connsiteY61" fmla="*/ 4476750 h 4496940"/>
                  <a:gd name="connsiteX62" fmla="*/ 2202202 w 4519987"/>
                  <a:gd name="connsiteY62" fmla="*/ 4457700 h 4496940"/>
                  <a:gd name="connsiteX63" fmla="*/ 2126002 w 4519987"/>
                  <a:gd name="connsiteY63" fmla="*/ 4429125 h 4496940"/>
                  <a:gd name="connsiteX64" fmla="*/ 1935502 w 4519987"/>
                  <a:gd name="connsiteY64" fmla="*/ 4400550 h 4496940"/>
                  <a:gd name="connsiteX65" fmla="*/ 1821202 w 4519987"/>
                  <a:gd name="connsiteY65" fmla="*/ 4371975 h 4496940"/>
                  <a:gd name="connsiteX66" fmla="*/ 1754527 w 4519987"/>
                  <a:gd name="connsiteY66" fmla="*/ 4352925 h 4496940"/>
                  <a:gd name="connsiteX67" fmla="*/ 1687852 w 4519987"/>
                  <a:gd name="connsiteY67" fmla="*/ 4343400 h 4496940"/>
                  <a:gd name="connsiteX68" fmla="*/ 1573552 w 4519987"/>
                  <a:gd name="connsiteY68" fmla="*/ 4305300 h 4496940"/>
                  <a:gd name="connsiteX69" fmla="*/ 1402102 w 4519987"/>
                  <a:gd name="connsiteY69" fmla="*/ 4276725 h 4496940"/>
                  <a:gd name="connsiteX70" fmla="*/ 1287802 w 4519987"/>
                  <a:gd name="connsiteY70" fmla="*/ 4229100 h 4496940"/>
                  <a:gd name="connsiteX71" fmla="*/ 1221127 w 4519987"/>
                  <a:gd name="connsiteY71" fmla="*/ 4200525 h 4496940"/>
                  <a:gd name="connsiteX72" fmla="*/ 1144927 w 4519987"/>
                  <a:gd name="connsiteY72" fmla="*/ 4171950 h 4496940"/>
                  <a:gd name="connsiteX73" fmla="*/ 1087777 w 4519987"/>
                  <a:gd name="connsiteY73" fmla="*/ 4143375 h 4496940"/>
                  <a:gd name="connsiteX74" fmla="*/ 1030627 w 4519987"/>
                  <a:gd name="connsiteY74" fmla="*/ 4124325 h 4496940"/>
                  <a:gd name="connsiteX75" fmla="*/ 925852 w 4519987"/>
                  <a:gd name="connsiteY75" fmla="*/ 4067175 h 4496940"/>
                  <a:gd name="connsiteX76" fmla="*/ 830602 w 4519987"/>
                  <a:gd name="connsiteY76" fmla="*/ 3981450 h 4496940"/>
                  <a:gd name="connsiteX77" fmla="*/ 763927 w 4519987"/>
                  <a:gd name="connsiteY77" fmla="*/ 3914775 h 4496940"/>
                  <a:gd name="connsiteX78" fmla="*/ 725827 w 4519987"/>
                  <a:gd name="connsiteY78" fmla="*/ 3876675 h 4496940"/>
                  <a:gd name="connsiteX79" fmla="*/ 697252 w 4519987"/>
                  <a:gd name="connsiteY79" fmla="*/ 3838575 h 4496940"/>
                  <a:gd name="connsiteX80" fmla="*/ 640102 w 4519987"/>
                  <a:gd name="connsiteY80" fmla="*/ 3781425 h 4496940"/>
                  <a:gd name="connsiteX81" fmla="*/ 611527 w 4519987"/>
                  <a:gd name="connsiteY81" fmla="*/ 3733800 h 4496940"/>
                  <a:gd name="connsiteX82" fmla="*/ 554377 w 4519987"/>
                  <a:gd name="connsiteY82" fmla="*/ 3657600 h 4496940"/>
                  <a:gd name="connsiteX83" fmla="*/ 525802 w 4519987"/>
                  <a:gd name="connsiteY83" fmla="*/ 3609975 h 4496940"/>
                  <a:gd name="connsiteX84" fmla="*/ 497227 w 4519987"/>
                  <a:gd name="connsiteY84" fmla="*/ 3552825 h 4496940"/>
                  <a:gd name="connsiteX85" fmla="*/ 440077 w 4519987"/>
                  <a:gd name="connsiteY85" fmla="*/ 3495675 h 4496940"/>
                  <a:gd name="connsiteX86" fmla="*/ 411502 w 4519987"/>
                  <a:gd name="connsiteY86" fmla="*/ 3448050 h 4496940"/>
                  <a:gd name="connsiteX87" fmla="*/ 278152 w 4519987"/>
                  <a:gd name="connsiteY87" fmla="*/ 3257550 h 4496940"/>
                  <a:gd name="connsiteX88" fmla="*/ 249577 w 4519987"/>
                  <a:gd name="connsiteY88" fmla="*/ 3200400 h 4496940"/>
                  <a:gd name="connsiteX89" fmla="*/ 240052 w 4519987"/>
                  <a:gd name="connsiteY89" fmla="*/ 3162300 h 4496940"/>
                  <a:gd name="connsiteX90" fmla="*/ 221002 w 4519987"/>
                  <a:gd name="connsiteY90" fmla="*/ 3105150 h 4496940"/>
                  <a:gd name="connsiteX91" fmla="*/ 173377 w 4519987"/>
                  <a:gd name="connsiteY91" fmla="*/ 3019425 h 4496940"/>
                  <a:gd name="connsiteX92" fmla="*/ 144802 w 4519987"/>
                  <a:gd name="connsiteY92" fmla="*/ 2924175 h 4496940"/>
                  <a:gd name="connsiteX93" fmla="*/ 68602 w 4519987"/>
                  <a:gd name="connsiteY93" fmla="*/ 2724150 h 4496940"/>
                  <a:gd name="connsiteX94" fmla="*/ 49552 w 4519987"/>
                  <a:gd name="connsiteY94" fmla="*/ 2638425 h 4496940"/>
                  <a:gd name="connsiteX95" fmla="*/ 40027 w 4519987"/>
                  <a:gd name="connsiteY95" fmla="*/ 2562225 h 4496940"/>
                  <a:gd name="connsiteX96" fmla="*/ 30502 w 4519987"/>
                  <a:gd name="connsiteY96" fmla="*/ 2514600 h 4496940"/>
                  <a:gd name="connsiteX97" fmla="*/ 11452 w 4519987"/>
                  <a:gd name="connsiteY97" fmla="*/ 2400300 h 4496940"/>
                  <a:gd name="connsiteX98" fmla="*/ 20977 w 4519987"/>
                  <a:gd name="connsiteY98" fmla="*/ 1905000 h 4496940"/>
                  <a:gd name="connsiteX99" fmla="*/ 30502 w 4519987"/>
                  <a:gd name="connsiteY99" fmla="*/ 1838325 h 4496940"/>
                  <a:gd name="connsiteX100" fmla="*/ 49552 w 4519987"/>
                  <a:gd name="connsiteY100" fmla="*/ 1781175 h 4496940"/>
                  <a:gd name="connsiteX101" fmla="*/ 59077 w 4519987"/>
                  <a:gd name="connsiteY101" fmla="*/ 1743075 h 4496940"/>
                  <a:gd name="connsiteX102" fmla="*/ 78127 w 4519987"/>
                  <a:gd name="connsiteY102" fmla="*/ 1685925 h 4496940"/>
                  <a:gd name="connsiteX103" fmla="*/ 87652 w 4519987"/>
                  <a:gd name="connsiteY103" fmla="*/ 1638300 h 4496940"/>
                  <a:gd name="connsiteX104" fmla="*/ 106702 w 4519987"/>
                  <a:gd name="connsiteY104" fmla="*/ 1590675 h 4496940"/>
                  <a:gd name="connsiteX105" fmla="*/ 135277 w 4519987"/>
                  <a:gd name="connsiteY105" fmla="*/ 1504950 h 4496940"/>
                  <a:gd name="connsiteX106" fmla="*/ 154327 w 4519987"/>
                  <a:gd name="connsiteY106" fmla="*/ 1419225 h 4496940"/>
                  <a:gd name="connsiteX107" fmla="*/ 230527 w 4519987"/>
                  <a:gd name="connsiteY107" fmla="*/ 1276350 h 4496940"/>
                  <a:gd name="connsiteX108" fmla="*/ 240052 w 4519987"/>
                  <a:gd name="connsiteY108" fmla="*/ 1247775 h 4496940"/>
                  <a:gd name="connsiteX109" fmla="*/ 268627 w 4519987"/>
                  <a:gd name="connsiteY109" fmla="*/ 1200150 h 4496940"/>
                  <a:gd name="connsiteX110" fmla="*/ 287677 w 4519987"/>
                  <a:gd name="connsiteY110" fmla="*/ 1152525 h 4496940"/>
                  <a:gd name="connsiteX111" fmla="*/ 316252 w 4519987"/>
                  <a:gd name="connsiteY111" fmla="*/ 1114425 h 4496940"/>
                  <a:gd name="connsiteX112" fmla="*/ 363877 w 4519987"/>
                  <a:gd name="connsiteY112" fmla="*/ 1038225 h 4496940"/>
                  <a:gd name="connsiteX113" fmla="*/ 382927 w 4519987"/>
                  <a:gd name="connsiteY113" fmla="*/ 1009650 h 4496940"/>
                  <a:gd name="connsiteX114" fmla="*/ 440077 w 4519987"/>
                  <a:gd name="connsiteY114" fmla="*/ 904875 h 4496940"/>
                  <a:gd name="connsiteX115" fmla="*/ 478177 w 4519987"/>
                  <a:gd name="connsiteY115" fmla="*/ 857250 h 4496940"/>
                  <a:gd name="connsiteX116" fmla="*/ 497227 w 4519987"/>
                  <a:gd name="connsiteY116" fmla="*/ 828675 h 4496940"/>
                  <a:gd name="connsiteX117" fmla="*/ 535327 w 4519987"/>
                  <a:gd name="connsiteY117" fmla="*/ 800100 h 4496940"/>
                  <a:gd name="connsiteX118" fmla="*/ 602002 w 4519987"/>
                  <a:gd name="connsiteY118" fmla="*/ 733425 h 4496940"/>
                  <a:gd name="connsiteX119" fmla="*/ 668677 w 4519987"/>
                  <a:gd name="connsiteY119" fmla="*/ 676275 h 4496940"/>
                  <a:gd name="connsiteX120" fmla="*/ 697252 w 4519987"/>
                  <a:gd name="connsiteY120" fmla="*/ 657225 h 4496940"/>
                  <a:gd name="connsiteX121" fmla="*/ 840127 w 4519987"/>
                  <a:gd name="connsiteY121" fmla="*/ 533400 h 4496940"/>
                  <a:gd name="connsiteX122" fmla="*/ 887752 w 4519987"/>
                  <a:gd name="connsiteY122" fmla="*/ 504825 h 4496940"/>
                  <a:gd name="connsiteX123" fmla="*/ 1167152 w 4519987"/>
                  <a:gd name="connsiteY123" fmla="*/ 311150 h 4496940"/>
                  <a:gd name="connsiteX124" fmla="*/ 1268752 w 4519987"/>
                  <a:gd name="connsiteY124" fmla="*/ 285750 h 4496940"/>
                  <a:gd name="connsiteX125" fmla="*/ 1411627 w 4519987"/>
                  <a:gd name="connsiteY125" fmla="*/ 190500 h 4496940"/>
                  <a:gd name="connsiteX126" fmla="*/ 1449727 w 4519987"/>
                  <a:gd name="connsiteY126" fmla="*/ 161925 h 4496940"/>
                  <a:gd name="connsiteX127" fmla="*/ 1525927 w 4519987"/>
                  <a:gd name="connsiteY127" fmla="*/ 152400 h 4496940"/>
                  <a:gd name="connsiteX128" fmla="*/ 1583077 w 4519987"/>
                  <a:gd name="connsiteY128" fmla="*/ 142875 h 4496940"/>
                  <a:gd name="connsiteX129" fmla="*/ 1716427 w 4519987"/>
                  <a:gd name="connsiteY129" fmla="*/ 123825 h 4496940"/>
                  <a:gd name="connsiteX130" fmla="*/ 1811677 w 4519987"/>
                  <a:gd name="connsiteY130" fmla="*/ 114300 h 4496940"/>
                  <a:gd name="connsiteX131" fmla="*/ 1859302 w 4519987"/>
                  <a:gd name="connsiteY131" fmla="*/ 104775 h 4496940"/>
                  <a:gd name="connsiteX132" fmla="*/ 1916452 w 4519987"/>
                  <a:gd name="connsiteY132" fmla="*/ 95250 h 4496940"/>
                  <a:gd name="connsiteX133" fmla="*/ 2030752 w 4519987"/>
                  <a:gd name="connsiteY133" fmla="*/ 66675 h 4496940"/>
                  <a:gd name="connsiteX134" fmla="*/ 2097427 w 4519987"/>
                  <a:gd name="connsiteY134" fmla="*/ 47625 h 4496940"/>
                  <a:gd name="connsiteX135" fmla="*/ 2164102 w 4519987"/>
                  <a:gd name="connsiteY135" fmla="*/ 38100 h 4496940"/>
                  <a:gd name="connsiteX136" fmla="*/ 2392702 w 4519987"/>
                  <a:gd name="connsiteY13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783352 w 4519987"/>
                  <a:gd name="connsiteY40" fmla="*/ 3810000 h 4496940"/>
                  <a:gd name="connsiteX41" fmla="*/ 3678577 w 4519987"/>
                  <a:gd name="connsiteY41" fmla="*/ 3848100 h 4496940"/>
                  <a:gd name="connsiteX42" fmla="*/ 3659527 w 4519987"/>
                  <a:gd name="connsiteY42" fmla="*/ 3971925 h 4496940"/>
                  <a:gd name="connsiteX43" fmla="*/ 3630952 w 4519987"/>
                  <a:gd name="connsiteY43" fmla="*/ 4010025 h 4496940"/>
                  <a:gd name="connsiteX44" fmla="*/ 3621427 w 4519987"/>
                  <a:gd name="connsiteY44" fmla="*/ 4038600 h 4496940"/>
                  <a:gd name="connsiteX45" fmla="*/ 3554752 w 4519987"/>
                  <a:gd name="connsiteY45" fmla="*/ 4095750 h 4496940"/>
                  <a:gd name="connsiteX46" fmla="*/ 3516652 w 4519987"/>
                  <a:gd name="connsiteY46" fmla="*/ 4114800 h 4496940"/>
                  <a:gd name="connsiteX47" fmla="*/ 3497602 w 4519987"/>
                  <a:gd name="connsiteY47" fmla="*/ 4143375 h 4496940"/>
                  <a:gd name="connsiteX48" fmla="*/ 3383302 w 4519987"/>
                  <a:gd name="connsiteY48" fmla="*/ 4210050 h 4496940"/>
                  <a:gd name="connsiteX49" fmla="*/ 3335677 w 4519987"/>
                  <a:gd name="connsiteY49" fmla="*/ 4238625 h 4496940"/>
                  <a:gd name="connsiteX50" fmla="*/ 3288052 w 4519987"/>
                  <a:gd name="connsiteY50" fmla="*/ 4248150 h 4496940"/>
                  <a:gd name="connsiteX51" fmla="*/ 3240427 w 4519987"/>
                  <a:gd name="connsiteY51" fmla="*/ 4267200 h 4496940"/>
                  <a:gd name="connsiteX52" fmla="*/ 3068977 w 4519987"/>
                  <a:gd name="connsiteY52" fmla="*/ 4286250 h 4496940"/>
                  <a:gd name="connsiteX53" fmla="*/ 2935627 w 4519987"/>
                  <a:gd name="connsiteY53" fmla="*/ 4333875 h 4496940"/>
                  <a:gd name="connsiteX54" fmla="*/ 2811802 w 4519987"/>
                  <a:gd name="connsiteY54" fmla="*/ 4371975 h 4496940"/>
                  <a:gd name="connsiteX55" fmla="*/ 2745127 w 4519987"/>
                  <a:gd name="connsiteY55" fmla="*/ 4410075 h 4496940"/>
                  <a:gd name="connsiteX56" fmla="*/ 2697502 w 4519987"/>
                  <a:gd name="connsiteY56" fmla="*/ 4429125 h 4496940"/>
                  <a:gd name="connsiteX57" fmla="*/ 2640352 w 4519987"/>
                  <a:gd name="connsiteY57" fmla="*/ 4457700 h 4496940"/>
                  <a:gd name="connsiteX58" fmla="*/ 2583202 w 4519987"/>
                  <a:gd name="connsiteY58" fmla="*/ 4467225 h 4496940"/>
                  <a:gd name="connsiteX59" fmla="*/ 2545102 w 4519987"/>
                  <a:gd name="connsiteY59" fmla="*/ 4486275 h 4496940"/>
                  <a:gd name="connsiteX60" fmla="*/ 2306977 w 4519987"/>
                  <a:gd name="connsiteY60" fmla="*/ 4476750 h 4496940"/>
                  <a:gd name="connsiteX61" fmla="*/ 2202202 w 4519987"/>
                  <a:gd name="connsiteY61" fmla="*/ 4457700 h 4496940"/>
                  <a:gd name="connsiteX62" fmla="*/ 2126002 w 4519987"/>
                  <a:gd name="connsiteY62" fmla="*/ 4429125 h 4496940"/>
                  <a:gd name="connsiteX63" fmla="*/ 1935502 w 4519987"/>
                  <a:gd name="connsiteY63" fmla="*/ 4400550 h 4496940"/>
                  <a:gd name="connsiteX64" fmla="*/ 1821202 w 4519987"/>
                  <a:gd name="connsiteY64" fmla="*/ 4371975 h 4496940"/>
                  <a:gd name="connsiteX65" fmla="*/ 1754527 w 4519987"/>
                  <a:gd name="connsiteY65" fmla="*/ 4352925 h 4496940"/>
                  <a:gd name="connsiteX66" fmla="*/ 1687852 w 4519987"/>
                  <a:gd name="connsiteY66" fmla="*/ 4343400 h 4496940"/>
                  <a:gd name="connsiteX67" fmla="*/ 1573552 w 4519987"/>
                  <a:gd name="connsiteY67" fmla="*/ 4305300 h 4496940"/>
                  <a:gd name="connsiteX68" fmla="*/ 1402102 w 4519987"/>
                  <a:gd name="connsiteY68" fmla="*/ 4276725 h 4496940"/>
                  <a:gd name="connsiteX69" fmla="*/ 1287802 w 4519987"/>
                  <a:gd name="connsiteY69" fmla="*/ 4229100 h 4496940"/>
                  <a:gd name="connsiteX70" fmla="*/ 1221127 w 4519987"/>
                  <a:gd name="connsiteY70" fmla="*/ 4200525 h 4496940"/>
                  <a:gd name="connsiteX71" fmla="*/ 1144927 w 4519987"/>
                  <a:gd name="connsiteY71" fmla="*/ 4171950 h 4496940"/>
                  <a:gd name="connsiteX72" fmla="*/ 1087777 w 4519987"/>
                  <a:gd name="connsiteY72" fmla="*/ 4143375 h 4496940"/>
                  <a:gd name="connsiteX73" fmla="*/ 1030627 w 4519987"/>
                  <a:gd name="connsiteY73" fmla="*/ 4124325 h 4496940"/>
                  <a:gd name="connsiteX74" fmla="*/ 925852 w 4519987"/>
                  <a:gd name="connsiteY74" fmla="*/ 4067175 h 4496940"/>
                  <a:gd name="connsiteX75" fmla="*/ 830602 w 4519987"/>
                  <a:gd name="connsiteY75" fmla="*/ 3981450 h 4496940"/>
                  <a:gd name="connsiteX76" fmla="*/ 763927 w 4519987"/>
                  <a:gd name="connsiteY76" fmla="*/ 3914775 h 4496940"/>
                  <a:gd name="connsiteX77" fmla="*/ 725827 w 4519987"/>
                  <a:gd name="connsiteY77" fmla="*/ 3876675 h 4496940"/>
                  <a:gd name="connsiteX78" fmla="*/ 697252 w 4519987"/>
                  <a:gd name="connsiteY78" fmla="*/ 3838575 h 4496940"/>
                  <a:gd name="connsiteX79" fmla="*/ 640102 w 4519987"/>
                  <a:gd name="connsiteY79" fmla="*/ 3781425 h 4496940"/>
                  <a:gd name="connsiteX80" fmla="*/ 611527 w 4519987"/>
                  <a:gd name="connsiteY80" fmla="*/ 3733800 h 4496940"/>
                  <a:gd name="connsiteX81" fmla="*/ 554377 w 4519987"/>
                  <a:gd name="connsiteY81" fmla="*/ 3657600 h 4496940"/>
                  <a:gd name="connsiteX82" fmla="*/ 525802 w 4519987"/>
                  <a:gd name="connsiteY82" fmla="*/ 3609975 h 4496940"/>
                  <a:gd name="connsiteX83" fmla="*/ 497227 w 4519987"/>
                  <a:gd name="connsiteY83" fmla="*/ 3552825 h 4496940"/>
                  <a:gd name="connsiteX84" fmla="*/ 440077 w 4519987"/>
                  <a:gd name="connsiteY84" fmla="*/ 3495675 h 4496940"/>
                  <a:gd name="connsiteX85" fmla="*/ 411502 w 4519987"/>
                  <a:gd name="connsiteY85" fmla="*/ 3448050 h 4496940"/>
                  <a:gd name="connsiteX86" fmla="*/ 278152 w 4519987"/>
                  <a:gd name="connsiteY86" fmla="*/ 3257550 h 4496940"/>
                  <a:gd name="connsiteX87" fmla="*/ 249577 w 4519987"/>
                  <a:gd name="connsiteY87" fmla="*/ 3200400 h 4496940"/>
                  <a:gd name="connsiteX88" fmla="*/ 240052 w 4519987"/>
                  <a:gd name="connsiteY88" fmla="*/ 3162300 h 4496940"/>
                  <a:gd name="connsiteX89" fmla="*/ 221002 w 4519987"/>
                  <a:gd name="connsiteY89" fmla="*/ 3105150 h 4496940"/>
                  <a:gd name="connsiteX90" fmla="*/ 173377 w 4519987"/>
                  <a:gd name="connsiteY90" fmla="*/ 3019425 h 4496940"/>
                  <a:gd name="connsiteX91" fmla="*/ 144802 w 4519987"/>
                  <a:gd name="connsiteY91" fmla="*/ 2924175 h 4496940"/>
                  <a:gd name="connsiteX92" fmla="*/ 68602 w 4519987"/>
                  <a:gd name="connsiteY92" fmla="*/ 2724150 h 4496940"/>
                  <a:gd name="connsiteX93" fmla="*/ 49552 w 4519987"/>
                  <a:gd name="connsiteY93" fmla="*/ 2638425 h 4496940"/>
                  <a:gd name="connsiteX94" fmla="*/ 40027 w 4519987"/>
                  <a:gd name="connsiteY94" fmla="*/ 2562225 h 4496940"/>
                  <a:gd name="connsiteX95" fmla="*/ 30502 w 4519987"/>
                  <a:gd name="connsiteY95" fmla="*/ 2514600 h 4496940"/>
                  <a:gd name="connsiteX96" fmla="*/ 11452 w 4519987"/>
                  <a:gd name="connsiteY96" fmla="*/ 2400300 h 4496940"/>
                  <a:gd name="connsiteX97" fmla="*/ 20977 w 4519987"/>
                  <a:gd name="connsiteY97" fmla="*/ 1905000 h 4496940"/>
                  <a:gd name="connsiteX98" fmla="*/ 30502 w 4519987"/>
                  <a:gd name="connsiteY98" fmla="*/ 1838325 h 4496940"/>
                  <a:gd name="connsiteX99" fmla="*/ 49552 w 4519987"/>
                  <a:gd name="connsiteY99" fmla="*/ 1781175 h 4496940"/>
                  <a:gd name="connsiteX100" fmla="*/ 59077 w 4519987"/>
                  <a:gd name="connsiteY100" fmla="*/ 1743075 h 4496940"/>
                  <a:gd name="connsiteX101" fmla="*/ 78127 w 4519987"/>
                  <a:gd name="connsiteY101" fmla="*/ 1685925 h 4496940"/>
                  <a:gd name="connsiteX102" fmla="*/ 87652 w 4519987"/>
                  <a:gd name="connsiteY102" fmla="*/ 1638300 h 4496940"/>
                  <a:gd name="connsiteX103" fmla="*/ 106702 w 4519987"/>
                  <a:gd name="connsiteY103" fmla="*/ 1590675 h 4496940"/>
                  <a:gd name="connsiteX104" fmla="*/ 135277 w 4519987"/>
                  <a:gd name="connsiteY104" fmla="*/ 1504950 h 4496940"/>
                  <a:gd name="connsiteX105" fmla="*/ 154327 w 4519987"/>
                  <a:gd name="connsiteY105" fmla="*/ 1419225 h 4496940"/>
                  <a:gd name="connsiteX106" fmla="*/ 230527 w 4519987"/>
                  <a:gd name="connsiteY106" fmla="*/ 1276350 h 4496940"/>
                  <a:gd name="connsiteX107" fmla="*/ 240052 w 4519987"/>
                  <a:gd name="connsiteY107" fmla="*/ 1247775 h 4496940"/>
                  <a:gd name="connsiteX108" fmla="*/ 268627 w 4519987"/>
                  <a:gd name="connsiteY108" fmla="*/ 1200150 h 4496940"/>
                  <a:gd name="connsiteX109" fmla="*/ 287677 w 4519987"/>
                  <a:gd name="connsiteY109" fmla="*/ 1152525 h 4496940"/>
                  <a:gd name="connsiteX110" fmla="*/ 316252 w 4519987"/>
                  <a:gd name="connsiteY110" fmla="*/ 1114425 h 4496940"/>
                  <a:gd name="connsiteX111" fmla="*/ 363877 w 4519987"/>
                  <a:gd name="connsiteY111" fmla="*/ 1038225 h 4496940"/>
                  <a:gd name="connsiteX112" fmla="*/ 382927 w 4519987"/>
                  <a:gd name="connsiteY112" fmla="*/ 1009650 h 4496940"/>
                  <a:gd name="connsiteX113" fmla="*/ 440077 w 4519987"/>
                  <a:gd name="connsiteY113" fmla="*/ 904875 h 4496940"/>
                  <a:gd name="connsiteX114" fmla="*/ 478177 w 4519987"/>
                  <a:gd name="connsiteY114" fmla="*/ 857250 h 4496940"/>
                  <a:gd name="connsiteX115" fmla="*/ 497227 w 4519987"/>
                  <a:gd name="connsiteY115" fmla="*/ 828675 h 4496940"/>
                  <a:gd name="connsiteX116" fmla="*/ 535327 w 4519987"/>
                  <a:gd name="connsiteY116" fmla="*/ 800100 h 4496940"/>
                  <a:gd name="connsiteX117" fmla="*/ 602002 w 4519987"/>
                  <a:gd name="connsiteY117" fmla="*/ 733425 h 4496940"/>
                  <a:gd name="connsiteX118" fmla="*/ 668677 w 4519987"/>
                  <a:gd name="connsiteY118" fmla="*/ 676275 h 4496940"/>
                  <a:gd name="connsiteX119" fmla="*/ 697252 w 4519987"/>
                  <a:gd name="connsiteY119" fmla="*/ 657225 h 4496940"/>
                  <a:gd name="connsiteX120" fmla="*/ 840127 w 4519987"/>
                  <a:gd name="connsiteY120" fmla="*/ 533400 h 4496940"/>
                  <a:gd name="connsiteX121" fmla="*/ 887752 w 4519987"/>
                  <a:gd name="connsiteY121" fmla="*/ 504825 h 4496940"/>
                  <a:gd name="connsiteX122" fmla="*/ 1167152 w 4519987"/>
                  <a:gd name="connsiteY122" fmla="*/ 311150 h 4496940"/>
                  <a:gd name="connsiteX123" fmla="*/ 1268752 w 4519987"/>
                  <a:gd name="connsiteY123" fmla="*/ 285750 h 4496940"/>
                  <a:gd name="connsiteX124" fmla="*/ 1411627 w 4519987"/>
                  <a:gd name="connsiteY124" fmla="*/ 190500 h 4496940"/>
                  <a:gd name="connsiteX125" fmla="*/ 1449727 w 4519987"/>
                  <a:gd name="connsiteY125" fmla="*/ 161925 h 4496940"/>
                  <a:gd name="connsiteX126" fmla="*/ 1525927 w 4519987"/>
                  <a:gd name="connsiteY126" fmla="*/ 152400 h 4496940"/>
                  <a:gd name="connsiteX127" fmla="*/ 1583077 w 4519987"/>
                  <a:gd name="connsiteY127" fmla="*/ 142875 h 4496940"/>
                  <a:gd name="connsiteX128" fmla="*/ 1716427 w 4519987"/>
                  <a:gd name="connsiteY128" fmla="*/ 123825 h 4496940"/>
                  <a:gd name="connsiteX129" fmla="*/ 1811677 w 4519987"/>
                  <a:gd name="connsiteY129" fmla="*/ 114300 h 4496940"/>
                  <a:gd name="connsiteX130" fmla="*/ 1859302 w 4519987"/>
                  <a:gd name="connsiteY130" fmla="*/ 104775 h 4496940"/>
                  <a:gd name="connsiteX131" fmla="*/ 1916452 w 4519987"/>
                  <a:gd name="connsiteY131" fmla="*/ 95250 h 4496940"/>
                  <a:gd name="connsiteX132" fmla="*/ 2030752 w 4519987"/>
                  <a:gd name="connsiteY132" fmla="*/ 66675 h 4496940"/>
                  <a:gd name="connsiteX133" fmla="*/ 2097427 w 4519987"/>
                  <a:gd name="connsiteY133" fmla="*/ 47625 h 4496940"/>
                  <a:gd name="connsiteX134" fmla="*/ 2164102 w 4519987"/>
                  <a:gd name="connsiteY134" fmla="*/ 38100 h 4496940"/>
                  <a:gd name="connsiteX135" fmla="*/ 2392702 w 4519987"/>
                  <a:gd name="connsiteY13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678577 w 4519987"/>
                  <a:gd name="connsiteY40" fmla="*/ 3848100 h 4496940"/>
                  <a:gd name="connsiteX41" fmla="*/ 3659527 w 4519987"/>
                  <a:gd name="connsiteY41" fmla="*/ 3971925 h 4496940"/>
                  <a:gd name="connsiteX42" fmla="*/ 3630952 w 4519987"/>
                  <a:gd name="connsiteY42" fmla="*/ 4010025 h 4496940"/>
                  <a:gd name="connsiteX43" fmla="*/ 3621427 w 4519987"/>
                  <a:gd name="connsiteY43" fmla="*/ 4038600 h 4496940"/>
                  <a:gd name="connsiteX44" fmla="*/ 3554752 w 4519987"/>
                  <a:gd name="connsiteY44" fmla="*/ 4095750 h 4496940"/>
                  <a:gd name="connsiteX45" fmla="*/ 3516652 w 4519987"/>
                  <a:gd name="connsiteY45" fmla="*/ 4114800 h 4496940"/>
                  <a:gd name="connsiteX46" fmla="*/ 3497602 w 4519987"/>
                  <a:gd name="connsiteY46" fmla="*/ 4143375 h 4496940"/>
                  <a:gd name="connsiteX47" fmla="*/ 3383302 w 4519987"/>
                  <a:gd name="connsiteY47" fmla="*/ 4210050 h 4496940"/>
                  <a:gd name="connsiteX48" fmla="*/ 3335677 w 4519987"/>
                  <a:gd name="connsiteY48" fmla="*/ 4238625 h 4496940"/>
                  <a:gd name="connsiteX49" fmla="*/ 3288052 w 4519987"/>
                  <a:gd name="connsiteY49" fmla="*/ 4248150 h 4496940"/>
                  <a:gd name="connsiteX50" fmla="*/ 3240427 w 4519987"/>
                  <a:gd name="connsiteY50" fmla="*/ 4267200 h 4496940"/>
                  <a:gd name="connsiteX51" fmla="*/ 3068977 w 4519987"/>
                  <a:gd name="connsiteY51" fmla="*/ 4286250 h 4496940"/>
                  <a:gd name="connsiteX52" fmla="*/ 2935627 w 4519987"/>
                  <a:gd name="connsiteY52" fmla="*/ 4333875 h 4496940"/>
                  <a:gd name="connsiteX53" fmla="*/ 2811802 w 4519987"/>
                  <a:gd name="connsiteY53" fmla="*/ 4371975 h 4496940"/>
                  <a:gd name="connsiteX54" fmla="*/ 2745127 w 4519987"/>
                  <a:gd name="connsiteY54" fmla="*/ 4410075 h 4496940"/>
                  <a:gd name="connsiteX55" fmla="*/ 2697502 w 4519987"/>
                  <a:gd name="connsiteY55" fmla="*/ 4429125 h 4496940"/>
                  <a:gd name="connsiteX56" fmla="*/ 2640352 w 4519987"/>
                  <a:gd name="connsiteY56" fmla="*/ 4457700 h 4496940"/>
                  <a:gd name="connsiteX57" fmla="*/ 2583202 w 4519987"/>
                  <a:gd name="connsiteY57" fmla="*/ 4467225 h 4496940"/>
                  <a:gd name="connsiteX58" fmla="*/ 2545102 w 4519987"/>
                  <a:gd name="connsiteY58" fmla="*/ 4486275 h 4496940"/>
                  <a:gd name="connsiteX59" fmla="*/ 2306977 w 4519987"/>
                  <a:gd name="connsiteY59" fmla="*/ 4476750 h 4496940"/>
                  <a:gd name="connsiteX60" fmla="*/ 2202202 w 4519987"/>
                  <a:gd name="connsiteY60" fmla="*/ 4457700 h 4496940"/>
                  <a:gd name="connsiteX61" fmla="*/ 2126002 w 4519987"/>
                  <a:gd name="connsiteY61" fmla="*/ 4429125 h 4496940"/>
                  <a:gd name="connsiteX62" fmla="*/ 1935502 w 4519987"/>
                  <a:gd name="connsiteY62" fmla="*/ 4400550 h 4496940"/>
                  <a:gd name="connsiteX63" fmla="*/ 1821202 w 4519987"/>
                  <a:gd name="connsiteY63" fmla="*/ 4371975 h 4496940"/>
                  <a:gd name="connsiteX64" fmla="*/ 1754527 w 4519987"/>
                  <a:gd name="connsiteY64" fmla="*/ 4352925 h 4496940"/>
                  <a:gd name="connsiteX65" fmla="*/ 1687852 w 4519987"/>
                  <a:gd name="connsiteY65" fmla="*/ 4343400 h 4496940"/>
                  <a:gd name="connsiteX66" fmla="*/ 1573552 w 4519987"/>
                  <a:gd name="connsiteY66" fmla="*/ 4305300 h 4496940"/>
                  <a:gd name="connsiteX67" fmla="*/ 1402102 w 4519987"/>
                  <a:gd name="connsiteY67" fmla="*/ 4276725 h 4496940"/>
                  <a:gd name="connsiteX68" fmla="*/ 1287802 w 4519987"/>
                  <a:gd name="connsiteY68" fmla="*/ 4229100 h 4496940"/>
                  <a:gd name="connsiteX69" fmla="*/ 1221127 w 4519987"/>
                  <a:gd name="connsiteY69" fmla="*/ 4200525 h 4496940"/>
                  <a:gd name="connsiteX70" fmla="*/ 1144927 w 4519987"/>
                  <a:gd name="connsiteY70" fmla="*/ 4171950 h 4496940"/>
                  <a:gd name="connsiteX71" fmla="*/ 1087777 w 4519987"/>
                  <a:gd name="connsiteY71" fmla="*/ 4143375 h 4496940"/>
                  <a:gd name="connsiteX72" fmla="*/ 1030627 w 4519987"/>
                  <a:gd name="connsiteY72" fmla="*/ 4124325 h 4496940"/>
                  <a:gd name="connsiteX73" fmla="*/ 925852 w 4519987"/>
                  <a:gd name="connsiteY73" fmla="*/ 4067175 h 4496940"/>
                  <a:gd name="connsiteX74" fmla="*/ 830602 w 4519987"/>
                  <a:gd name="connsiteY74" fmla="*/ 3981450 h 4496940"/>
                  <a:gd name="connsiteX75" fmla="*/ 763927 w 4519987"/>
                  <a:gd name="connsiteY75" fmla="*/ 3914775 h 4496940"/>
                  <a:gd name="connsiteX76" fmla="*/ 725827 w 4519987"/>
                  <a:gd name="connsiteY76" fmla="*/ 3876675 h 4496940"/>
                  <a:gd name="connsiteX77" fmla="*/ 697252 w 4519987"/>
                  <a:gd name="connsiteY77" fmla="*/ 3838575 h 4496940"/>
                  <a:gd name="connsiteX78" fmla="*/ 640102 w 4519987"/>
                  <a:gd name="connsiteY78" fmla="*/ 3781425 h 4496940"/>
                  <a:gd name="connsiteX79" fmla="*/ 611527 w 4519987"/>
                  <a:gd name="connsiteY79" fmla="*/ 3733800 h 4496940"/>
                  <a:gd name="connsiteX80" fmla="*/ 554377 w 4519987"/>
                  <a:gd name="connsiteY80" fmla="*/ 3657600 h 4496940"/>
                  <a:gd name="connsiteX81" fmla="*/ 525802 w 4519987"/>
                  <a:gd name="connsiteY81" fmla="*/ 3609975 h 4496940"/>
                  <a:gd name="connsiteX82" fmla="*/ 497227 w 4519987"/>
                  <a:gd name="connsiteY82" fmla="*/ 3552825 h 4496940"/>
                  <a:gd name="connsiteX83" fmla="*/ 440077 w 4519987"/>
                  <a:gd name="connsiteY83" fmla="*/ 3495675 h 4496940"/>
                  <a:gd name="connsiteX84" fmla="*/ 411502 w 4519987"/>
                  <a:gd name="connsiteY84" fmla="*/ 3448050 h 4496940"/>
                  <a:gd name="connsiteX85" fmla="*/ 278152 w 4519987"/>
                  <a:gd name="connsiteY85" fmla="*/ 3257550 h 4496940"/>
                  <a:gd name="connsiteX86" fmla="*/ 249577 w 4519987"/>
                  <a:gd name="connsiteY86" fmla="*/ 3200400 h 4496940"/>
                  <a:gd name="connsiteX87" fmla="*/ 240052 w 4519987"/>
                  <a:gd name="connsiteY87" fmla="*/ 3162300 h 4496940"/>
                  <a:gd name="connsiteX88" fmla="*/ 221002 w 4519987"/>
                  <a:gd name="connsiteY88" fmla="*/ 3105150 h 4496940"/>
                  <a:gd name="connsiteX89" fmla="*/ 173377 w 4519987"/>
                  <a:gd name="connsiteY89" fmla="*/ 3019425 h 4496940"/>
                  <a:gd name="connsiteX90" fmla="*/ 144802 w 4519987"/>
                  <a:gd name="connsiteY90" fmla="*/ 2924175 h 4496940"/>
                  <a:gd name="connsiteX91" fmla="*/ 68602 w 4519987"/>
                  <a:gd name="connsiteY91" fmla="*/ 2724150 h 4496940"/>
                  <a:gd name="connsiteX92" fmla="*/ 49552 w 4519987"/>
                  <a:gd name="connsiteY92" fmla="*/ 2638425 h 4496940"/>
                  <a:gd name="connsiteX93" fmla="*/ 40027 w 4519987"/>
                  <a:gd name="connsiteY93" fmla="*/ 2562225 h 4496940"/>
                  <a:gd name="connsiteX94" fmla="*/ 30502 w 4519987"/>
                  <a:gd name="connsiteY94" fmla="*/ 2514600 h 4496940"/>
                  <a:gd name="connsiteX95" fmla="*/ 11452 w 4519987"/>
                  <a:gd name="connsiteY95" fmla="*/ 2400300 h 4496940"/>
                  <a:gd name="connsiteX96" fmla="*/ 20977 w 4519987"/>
                  <a:gd name="connsiteY96" fmla="*/ 1905000 h 4496940"/>
                  <a:gd name="connsiteX97" fmla="*/ 30502 w 4519987"/>
                  <a:gd name="connsiteY97" fmla="*/ 1838325 h 4496940"/>
                  <a:gd name="connsiteX98" fmla="*/ 49552 w 4519987"/>
                  <a:gd name="connsiteY98" fmla="*/ 1781175 h 4496940"/>
                  <a:gd name="connsiteX99" fmla="*/ 59077 w 4519987"/>
                  <a:gd name="connsiteY99" fmla="*/ 1743075 h 4496940"/>
                  <a:gd name="connsiteX100" fmla="*/ 78127 w 4519987"/>
                  <a:gd name="connsiteY100" fmla="*/ 1685925 h 4496940"/>
                  <a:gd name="connsiteX101" fmla="*/ 87652 w 4519987"/>
                  <a:gd name="connsiteY101" fmla="*/ 1638300 h 4496940"/>
                  <a:gd name="connsiteX102" fmla="*/ 106702 w 4519987"/>
                  <a:gd name="connsiteY102" fmla="*/ 1590675 h 4496940"/>
                  <a:gd name="connsiteX103" fmla="*/ 135277 w 4519987"/>
                  <a:gd name="connsiteY103" fmla="*/ 1504950 h 4496940"/>
                  <a:gd name="connsiteX104" fmla="*/ 154327 w 4519987"/>
                  <a:gd name="connsiteY104" fmla="*/ 1419225 h 4496940"/>
                  <a:gd name="connsiteX105" fmla="*/ 230527 w 4519987"/>
                  <a:gd name="connsiteY105" fmla="*/ 1276350 h 4496940"/>
                  <a:gd name="connsiteX106" fmla="*/ 240052 w 4519987"/>
                  <a:gd name="connsiteY106" fmla="*/ 1247775 h 4496940"/>
                  <a:gd name="connsiteX107" fmla="*/ 268627 w 4519987"/>
                  <a:gd name="connsiteY107" fmla="*/ 1200150 h 4496940"/>
                  <a:gd name="connsiteX108" fmla="*/ 287677 w 4519987"/>
                  <a:gd name="connsiteY108" fmla="*/ 1152525 h 4496940"/>
                  <a:gd name="connsiteX109" fmla="*/ 316252 w 4519987"/>
                  <a:gd name="connsiteY109" fmla="*/ 1114425 h 4496940"/>
                  <a:gd name="connsiteX110" fmla="*/ 363877 w 4519987"/>
                  <a:gd name="connsiteY110" fmla="*/ 1038225 h 4496940"/>
                  <a:gd name="connsiteX111" fmla="*/ 382927 w 4519987"/>
                  <a:gd name="connsiteY111" fmla="*/ 1009650 h 4496940"/>
                  <a:gd name="connsiteX112" fmla="*/ 440077 w 4519987"/>
                  <a:gd name="connsiteY112" fmla="*/ 904875 h 4496940"/>
                  <a:gd name="connsiteX113" fmla="*/ 478177 w 4519987"/>
                  <a:gd name="connsiteY113" fmla="*/ 857250 h 4496940"/>
                  <a:gd name="connsiteX114" fmla="*/ 497227 w 4519987"/>
                  <a:gd name="connsiteY114" fmla="*/ 828675 h 4496940"/>
                  <a:gd name="connsiteX115" fmla="*/ 535327 w 4519987"/>
                  <a:gd name="connsiteY115" fmla="*/ 800100 h 4496940"/>
                  <a:gd name="connsiteX116" fmla="*/ 602002 w 4519987"/>
                  <a:gd name="connsiteY116" fmla="*/ 733425 h 4496940"/>
                  <a:gd name="connsiteX117" fmla="*/ 668677 w 4519987"/>
                  <a:gd name="connsiteY117" fmla="*/ 676275 h 4496940"/>
                  <a:gd name="connsiteX118" fmla="*/ 697252 w 4519987"/>
                  <a:gd name="connsiteY118" fmla="*/ 657225 h 4496940"/>
                  <a:gd name="connsiteX119" fmla="*/ 840127 w 4519987"/>
                  <a:gd name="connsiteY119" fmla="*/ 533400 h 4496940"/>
                  <a:gd name="connsiteX120" fmla="*/ 887752 w 4519987"/>
                  <a:gd name="connsiteY120" fmla="*/ 504825 h 4496940"/>
                  <a:gd name="connsiteX121" fmla="*/ 1167152 w 4519987"/>
                  <a:gd name="connsiteY121" fmla="*/ 311150 h 4496940"/>
                  <a:gd name="connsiteX122" fmla="*/ 1268752 w 4519987"/>
                  <a:gd name="connsiteY122" fmla="*/ 285750 h 4496940"/>
                  <a:gd name="connsiteX123" fmla="*/ 1411627 w 4519987"/>
                  <a:gd name="connsiteY123" fmla="*/ 190500 h 4496940"/>
                  <a:gd name="connsiteX124" fmla="*/ 1449727 w 4519987"/>
                  <a:gd name="connsiteY124" fmla="*/ 161925 h 4496940"/>
                  <a:gd name="connsiteX125" fmla="*/ 1525927 w 4519987"/>
                  <a:gd name="connsiteY125" fmla="*/ 152400 h 4496940"/>
                  <a:gd name="connsiteX126" fmla="*/ 1583077 w 4519987"/>
                  <a:gd name="connsiteY126" fmla="*/ 142875 h 4496940"/>
                  <a:gd name="connsiteX127" fmla="*/ 1716427 w 4519987"/>
                  <a:gd name="connsiteY127" fmla="*/ 123825 h 4496940"/>
                  <a:gd name="connsiteX128" fmla="*/ 1811677 w 4519987"/>
                  <a:gd name="connsiteY128" fmla="*/ 114300 h 4496940"/>
                  <a:gd name="connsiteX129" fmla="*/ 1859302 w 4519987"/>
                  <a:gd name="connsiteY129" fmla="*/ 104775 h 4496940"/>
                  <a:gd name="connsiteX130" fmla="*/ 1916452 w 4519987"/>
                  <a:gd name="connsiteY130" fmla="*/ 95250 h 4496940"/>
                  <a:gd name="connsiteX131" fmla="*/ 2030752 w 4519987"/>
                  <a:gd name="connsiteY131" fmla="*/ 66675 h 4496940"/>
                  <a:gd name="connsiteX132" fmla="*/ 2097427 w 4519987"/>
                  <a:gd name="connsiteY132" fmla="*/ 47625 h 4496940"/>
                  <a:gd name="connsiteX133" fmla="*/ 2164102 w 4519987"/>
                  <a:gd name="connsiteY133" fmla="*/ 38100 h 4496940"/>
                  <a:gd name="connsiteX134" fmla="*/ 2392702 w 4519987"/>
                  <a:gd name="connsiteY13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659527 w 4519987"/>
                  <a:gd name="connsiteY40" fmla="*/ 3971925 h 4496940"/>
                  <a:gd name="connsiteX41" fmla="*/ 3630952 w 4519987"/>
                  <a:gd name="connsiteY41" fmla="*/ 4010025 h 4496940"/>
                  <a:gd name="connsiteX42" fmla="*/ 3621427 w 4519987"/>
                  <a:gd name="connsiteY42" fmla="*/ 4038600 h 4496940"/>
                  <a:gd name="connsiteX43" fmla="*/ 3554752 w 4519987"/>
                  <a:gd name="connsiteY43" fmla="*/ 4095750 h 4496940"/>
                  <a:gd name="connsiteX44" fmla="*/ 3516652 w 4519987"/>
                  <a:gd name="connsiteY44" fmla="*/ 4114800 h 4496940"/>
                  <a:gd name="connsiteX45" fmla="*/ 3497602 w 4519987"/>
                  <a:gd name="connsiteY45" fmla="*/ 4143375 h 4496940"/>
                  <a:gd name="connsiteX46" fmla="*/ 3383302 w 4519987"/>
                  <a:gd name="connsiteY46" fmla="*/ 4210050 h 4496940"/>
                  <a:gd name="connsiteX47" fmla="*/ 3335677 w 4519987"/>
                  <a:gd name="connsiteY47" fmla="*/ 4238625 h 4496940"/>
                  <a:gd name="connsiteX48" fmla="*/ 3288052 w 4519987"/>
                  <a:gd name="connsiteY48" fmla="*/ 4248150 h 4496940"/>
                  <a:gd name="connsiteX49" fmla="*/ 3240427 w 4519987"/>
                  <a:gd name="connsiteY49" fmla="*/ 4267200 h 4496940"/>
                  <a:gd name="connsiteX50" fmla="*/ 3068977 w 4519987"/>
                  <a:gd name="connsiteY50" fmla="*/ 4286250 h 4496940"/>
                  <a:gd name="connsiteX51" fmla="*/ 2935627 w 4519987"/>
                  <a:gd name="connsiteY51" fmla="*/ 4333875 h 4496940"/>
                  <a:gd name="connsiteX52" fmla="*/ 2811802 w 4519987"/>
                  <a:gd name="connsiteY52" fmla="*/ 4371975 h 4496940"/>
                  <a:gd name="connsiteX53" fmla="*/ 2745127 w 4519987"/>
                  <a:gd name="connsiteY53" fmla="*/ 4410075 h 4496940"/>
                  <a:gd name="connsiteX54" fmla="*/ 2697502 w 4519987"/>
                  <a:gd name="connsiteY54" fmla="*/ 4429125 h 4496940"/>
                  <a:gd name="connsiteX55" fmla="*/ 2640352 w 4519987"/>
                  <a:gd name="connsiteY55" fmla="*/ 4457700 h 4496940"/>
                  <a:gd name="connsiteX56" fmla="*/ 2583202 w 4519987"/>
                  <a:gd name="connsiteY56" fmla="*/ 4467225 h 4496940"/>
                  <a:gd name="connsiteX57" fmla="*/ 2545102 w 4519987"/>
                  <a:gd name="connsiteY57" fmla="*/ 4486275 h 4496940"/>
                  <a:gd name="connsiteX58" fmla="*/ 2306977 w 4519987"/>
                  <a:gd name="connsiteY58" fmla="*/ 4476750 h 4496940"/>
                  <a:gd name="connsiteX59" fmla="*/ 2202202 w 4519987"/>
                  <a:gd name="connsiteY59" fmla="*/ 4457700 h 4496940"/>
                  <a:gd name="connsiteX60" fmla="*/ 2126002 w 4519987"/>
                  <a:gd name="connsiteY60" fmla="*/ 4429125 h 4496940"/>
                  <a:gd name="connsiteX61" fmla="*/ 1935502 w 4519987"/>
                  <a:gd name="connsiteY61" fmla="*/ 4400550 h 4496940"/>
                  <a:gd name="connsiteX62" fmla="*/ 1821202 w 4519987"/>
                  <a:gd name="connsiteY62" fmla="*/ 4371975 h 4496940"/>
                  <a:gd name="connsiteX63" fmla="*/ 1754527 w 4519987"/>
                  <a:gd name="connsiteY63" fmla="*/ 4352925 h 4496940"/>
                  <a:gd name="connsiteX64" fmla="*/ 1687852 w 4519987"/>
                  <a:gd name="connsiteY64" fmla="*/ 4343400 h 4496940"/>
                  <a:gd name="connsiteX65" fmla="*/ 1573552 w 4519987"/>
                  <a:gd name="connsiteY65" fmla="*/ 4305300 h 4496940"/>
                  <a:gd name="connsiteX66" fmla="*/ 1402102 w 4519987"/>
                  <a:gd name="connsiteY66" fmla="*/ 4276725 h 4496940"/>
                  <a:gd name="connsiteX67" fmla="*/ 1287802 w 4519987"/>
                  <a:gd name="connsiteY67" fmla="*/ 4229100 h 4496940"/>
                  <a:gd name="connsiteX68" fmla="*/ 1221127 w 4519987"/>
                  <a:gd name="connsiteY68" fmla="*/ 4200525 h 4496940"/>
                  <a:gd name="connsiteX69" fmla="*/ 1144927 w 4519987"/>
                  <a:gd name="connsiteY69" fmla="*/ 4171950 h 4496940"/>
                  <a:gd name="connsiteX70" fmla="*/ 1087777 w 4519987"/>
                  <a:gd name="connsiteY70" fmla="*/ 4143375 h 4496940"/>
                  <a:gd name="connsiteX71" fmla="*/ 1030627 w 4519987"/>
                  <a:gd name="connsiteY71" fmla="*/ 4124325 h 4496940"/>
                  <a:gd name="connsiteX72" fmla="*/ 925852 w 4519987"/>
                  <a:gd name="connsiteY72" fmla="*/ 4067175 h 4496940"/>
                  <a:gd name="connsiteX73" fmla="*/ 830602 w 4519987"/>
                  <a:gd name="connsiteY73" fmla="*/ 3981450 h 4496940"/>
                  <a:gd name="connsiteX74" fmla="*/ 763927 w 4519987"/>
                  <a:gd name="connsiteY74" fmla="*/ 3914775 h 4496940"/>
                  <a:gd name="connsiteX75" fmla="*/ 725827 w 4519987"/>
                  <a:gd name="connsiteY75" fmla="*/ 3876675 h 4496940"/>
                  <a:gd name="connsiteX76" fmla="*/ 697252 w 4519987"/>
                  <a:gd name="connsiteY76" fmla="*/ 3838575 h 4496940"/>
                  <a:gd name="connsiteX77" fmla="*/ 640102 w 4519987"/>
                  <a:gd name="connsiteY77" fmla="*/ 3781425 h 4496940"/>
                  <a:gd name="connsiteX78" fmla="*/ 611527 w 4519987"/>
                  <a:gd name="connsiteY78" fmla="*/ 3733800 h 4496940"/>
                  <a:gd name="connsiteX79" fmla="*/ 554377 w 4519987"/>
                  <a:gd name="connsiteY79" fmla="*/ 3657600 h 4496940"/>
                  <a:gd name="connsiteX80" fmla="*/ 525802 w 4519987"/>
                  <a:gd name="connsiteY80" fmla="*/ 3609975 h 4496940"/>
                  <a:gd name="connsiteX81" fmla="*/ 497227 w 4519987"/>
                  <a:gd name="connsiteY81" fmla="*/ 3552825 h 4496940"/>
                  <a:gd name="connsiteX82" fmla="*/ 440077 w 4519987"/>
                  <a:gd name="connsiteY82" fmla="*/ 3495675 h 4496940"/>
                  <a:gd name="connsiteX83" fmla="*/ 411502 w 4519987"/>
                  <a:gd name="connsiteY83" fmla="*/ 3448050 h 4496940"/>
                  <a:gd name="connsiteX84" fmla="*/ 278152 w 4519987"/>
                  <a:gd name="connsiteY84" fmla="*/ 3257550 h 4496940"/>
                  <a:gd name="connsiteX85" fmla="*/ 249577 w 4519987"/>
                  <a:gd name="connsiteY85" fmla="*/ 3200400 h 4496940"/>
                  <a:gd name="connsiteX86" fmla="*/ 240052 w 4519987"/>
                  <a:gd name="connsiteY86" fmla="*/ 3162300 h 4496940"/>
                  <a:gd name="connsiteX87" fmla="*/ 221002 w 4519987"/>
                  <a:gd name="connsiteY87" fmla="*/ 3105150 h 4496940"/>
                  <a:gd name="connsiteX88" fmla="*/ 173377 w 4519987"/>
                  <a:gd name="connsiteY88" fmla="*/ 3019425 h 4496940"/>
                  <a:gd name="connsiteX89" fmla="*/ 144802 w 4519987"/>
                  <a:gd name="connsiteY89" fmla="*/ 2924175 h 4496940"/>
                  <a:gd name="connsiteX90" fmla="*/ 68602 w 4519987"/>
                  <a:gd name="connsiteY90" fmla="*/ 2724150 h 4496940"/>
                  <a:gd name="connsiteX91" fmla="*/ 49552 w 4519987"/>
                  <a:gd name="connsiteY91" fmla="*/ 2638425 h 4496940"/>
                  <a:gd name="connsiteX92" fmla="*/ 40027 w 4519987"/>
                  <a:gd name="connsiteY92" fmla="*/ 2562225 h 4496940"/>
                  <a:gd name="connsiteX93" fmla="*/ 30502 w 4519987"/>
                  <a:gd name="connsiteY93" fmla="*/ 2514600 h 4496940"/>
                  <a:gd name="connsiteX94" fmla="*/ 11452 w 4519987"/>
                  <a:gd name="connsiteY94" fmla="*/ 2400300 h 4496940"/>
                  <a:gd name="connsiteX95" fmla="*/ 20977 w 4519987"/>
                  <a:gd name="connsiteY95" fmla="*/ 1905000 h 4496940"/>
                  <a:gd name="connsiteX96" fmla="*/ 30502 w 4519987"/>
                  <a:gd name="connsiteY96" fmla="*/ 1838325 h 4496940"/>
                  <a:gd name="connsiteX97" fmla="*/ 49552 w 4519987"/>
                  <a:gd name="connsiteY97" fmla="*/ 1781175 h 4496940"/>
                  <a:gd name="connsiteX98" fmla="*/ 59077 w 4519987"/>
                  <a:gd name="connsiteY98" fmla="*/ 1743075 h 4496940"/>
                  <a:gd name="connsiteX99" fmla="*/ 78127 w 4519987"/>
                  <a:gd name="connsiteY99" fmla="*/ 1685925 h 4496940"/>
                  <a:gd name="connsiteX100" fmla="*/ 87652 w 4519987"/>
                  <a:gd name="connsiteY100" fmla="*/ 1638300 h 4496940"/>
                  <a:gd name="connsiteX101" fmla="*/ 106702 w 4519987"/>
                  <a:gd name="connsiteY101" fmla="*/ 1590675 h 4496940"/>
                  <a:gd name="connsiteX102" fmla="*/ 135277 w 4519987"/>
                  <a:gd name="connsiteY102" fmla="*/ 1504950 h 4496940"/>
                  <a:gd name="connsiteX103" fmla="*/ 154327 w 4519987"/>
                  <a:gd name="connsiteY103" fmla="*/ 1419225 h 4496940"/>
                  <a:gd name="connsiteX104" fmla="*/ 230527 w 4519987"/>
                  <a:gd name="connsiteY104" fmla="*/ 1276350 h 4496940"/>
                  <a:gd name="connsiteX105" fmla="*/ 240052 w 4519987"/>
                  <a:gd name="connsiteY105" fmla="*/ 1247775 h 4496940"/>
                  <a:gd name="connsiteX106" fmla="*/ 268627 w 4519987"/>
                  <a:gd name="connsiteY106" fmla="*/ 1200150 h 4496940"/>
                  <a:gd name="connsiteX107" fmla="*/ 287677 w 4519987"/>
                  <a:gd name="connsiteY107" fmla="*/ 1152525 h 4496940"/>
                  <a:gd name="connsiteX108" fmla="*/ 316252 w 4519987"/>
                  <a:gd name="connsiteY108" fmla="*/ 1114425 h 4496940"/>
                  <a:gd name="connsiteX109" fmla="*/ 363877 w 4519987"/>
                  <a:gd name="connsiteY109" fmla="*/ 1038225 h 4496940"/>
                  <a:gd name="connsiteX110" fmla="*/ 382927 w 4519987"/>
                  <a:gd name="connsiteY110" fmla="*/ 1009650 h 4496940"/>
                  <a:gd name="connsiteX111" fmla="*/ 440077 w 4519987"/>
                  <a:gd name="connsiteY111" fmla="*/ 904875 h 4496940"/>
                  <a:gd name="connsiteX112" fmla="*/ 478177 w 4519987"/>
                  <a:gd name="connsiteY112" fmla="*/ 857250 h 4496940"/>
                  <a:gd name="connsiteX113" fmla="*/ 497227 w 4519987"/>
                  <a:gd name="connsiteY113" fmla="*/ 828675 h 4496940"/>
                  <a:gd name="connsiteX114" fmla="*/ 535327 w 4519987"/>
                  <a:gd name="connsiteY114" fmla="*/ 800100 h 4496940"/>
                  <a:gd name="connsiteX115" fmla="*/ 602002 w 4519987"/>
                  <a:gd name="connsiteY115" fmla="*/ 733425 h 4496940"/>
                  <a:gd name="connsiteX116" fmla="*/ 668677 w 4519987"/>
                  <a:gd name="connsiteY116" fmla="*/ 676275 h 4496940"/>
                  <a:gd name="connsiteX117" fmla="*/ 697252 w 4519987"/>
                  <a:gd name="connsiteY117" fmla="*/ 657225 h 4496940"/>
                  <a:gd name="connsiteX118" fmla="*/ 840127 w 4519987"/>
                  <a:gd name="connsiteY118" fmla="*/ 533400 h 4496940"/>
                  <a:gd name="connsiteX119" fmla="*/ 887752 w 4519987"/>
                  <a:gd name="connsiteY119" fmla="*/ 504825 h 4496940"/>
                  <a:gd name="connsiteX120" fmla="*/ 1167152 w 4519987"/>
                  <a:gd name="connsiteY120" fmla="*/ 311150 h 4496940"/>
                  <a:gd name="connsiteX121" fmla="*/ 1268752 w 4519987"/>
                  <a:gd name="connsiteY121" fmla="*/ 285750 h 4496940"/>
                  <a:gd name="connsiteX122" fmla="*/ 1411627 w 4519987"/>
                  <a:gd name="connsiteY122" fmla="*/ 190500 h 4496940"/>
                  <a:gd name="connsiteX123" fmla="*/ 1449727 w 4519987"/>
                  <a:gd name="connsiteY123" fmla="*/ 161925 h 4496940"/>
                  <a:gd name="connsiteX124" fmla="*/ 1525927 w 4519987"/>
                  <a:gd name="connsiteY124" fmla="*/ 152400 h 4496940"/>
                  <a:gd name="connsiteX125" fmla="*/ 1583077 w 4519987"/>
                  <a:gd name="connsiteY125" fmla="*/ 142875 h 4496940"/>
                  <a:gd name="connsiteX126" fmla="*/ 1716427 w 4519987"/>
                  <a:gd name="connsiteY126" fmla="*/ 123825 h 4496940"/>
                  <a:gd name="connsiteX127" fmla="*/ 1811677 w 4519987"/>
                  <a:gd name="connsiteY127" fmla="*/ 114300 h 4496940"/>
                  <a:gd name="connsiteX128" fmla="*/ 1859302 w 4519987"/>
                  <a:gd name="connsiteY128" fmla="*/ 104775 h 4496940"/>
                  <a:gd name="connsiteX129" fmla="*/ 1916452 w 4519987"/>
                  <a:gd name="connsiteY129" fmla="*/ 95250 h 4496940"/>
                  <a:gd name="connsiteX130" fmla="*/ 2030752 w 4519987"/>
                  <a:gd name="connsiteY130" fmla="*/ 66675 h 4496940"/>
                  <a:gd name="connsiteX131" fmla="*/ 2097427 w 4519987"/>
                  <a:gd name="connsiteY131" fmla="*/ 47625 h 4496940"/>
                  <a:gd name="connsiteX132" fmla="*/ 2164102 w 4519987"/>
                  <a:gd name="connsiteY132" fmla="*/ 38100 h 4496940"/>
                  <a:gd name="connsiteX133" fmla="*/ 2392702 w 4519987"/>
                  <a:gd name="connsiteY13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659527 w 4519987"/>
                  <a:gd name="connsiteY39" fmla="*/ 3971925 h 4496940"/>
                  <a:gd name="connsiteX40" fmla="*/ 3630952 w 4519987"/>
                  <a:gd name="connsiteY40" fmla="*/ 4010025 h 4496940"/>
                  <a:gd name="connsiteX41" fmla="*/ 3621427 w 4519987"/>
                  <a:gd name="connsiteY41" fmla="*/ 4038600 h 4496940"/>
                  <a:gd name="connsiteX42" fmla="*/ 3554752 w 4519987"/>
                  <a:gd name="connsiteY42" fmla="*/ 4095750 h 4496940"/>
                  <a:gd name="connsiteX43" fmla="*/ 3516652 w 4519987"/>
                  <a:gd name="connsiteY43" fmla="*/ 4114800 h 4496940"/>
                  <a:gd name="connsiteX44" fmla="*/ 3497602 w 4519987"/>
                  <a:gd name="connsiteY44" fmla="*/ 4143375 h 4496940"/>
                  <a:gd name="connsiteX45" fmla="*/ 3383302 w 4519987"/>
                  <a:gd name="connsiteY45" fmla="*/ 4210050 h 4496940"/>
                  <a:gd name="connsiteX46" fmla="*/ 3335677 w 4519987"/>
                  <a:gd name="connsiteY46" fmla="*/ 4238625 h 4496940"/>
                  <a:gd name="connsiteX47" fmla="*/ 3288052 w 4519987"/>
                  <a:gd name="connsiteY47" fmla="*/ 4248150 h 4496940"/>
                  <a:gd name="connsiteX48" fmla="*/ 3240427 w 4519987"/>
                  <a:gd name="connsiteY48" fmla="*/ 4267200 h 4496940"/>
                  <a:gd name="connsiteX49" fmla="*/ 3068977 w 4519987"/>
                  <a:gd name="connsiteY49" fmla="*/ 4286250 h 4496940"/>
                  <a:gd name="connsiteX50" fmla="*/ 2935627 w 4519987"/>
                  <a:gd name="connsiteY50" fmla="*/ 4333875 h 4496940"/>
                  <a:gd name="connsiteX51" fmla="*/ 2811802 w 4519987"/>
                  <a:gd name="connsiteY51" fmla="*/ 4371975 h 4496940"/>
                  <a:gd name="connsiteX52" fmla="*/ 2745127 w 4519987"/>
                  <a:gd name="connsiteY52" fmla="*/ 4410075 h 4496940"/>
                  <a:gd name="connsiteX53" fmla="*/ 2697502 w 4519987"/>
                  <a:gd name="connsiteY53" fmla="*/ 4429125 h 4496940"/>
                  <a:gd name="connsiteX54" fmla="*/ 2640352 w 4519987"/>
                  <a:gd name="connsiteY54" fmla="*/ 4457700 h 4496940"/>
                  <a:gd name="connsiteX55" fmla="*/ 2583202 w 4519987"/>
                  <a:gd name="connsiteY55" fmla="*/ 4467225 h 4496940"/>
                  <a:gd name="connsiteX56" fmla="*/ 2545102 w 4519987"/>
                  <a:gd name="connsiteY56" fmla="*/ 4486275 h 4496940"/>
                  <a:gd name="connsiteX57" fmla="*/ 2306977 w 4519987"/>
                  <a:gd name="connsiteY57" fmla="*/ 4476750 h 4496940"/>
                  <a:gd name="connsiteX58" fmla="*/ 2202202 w 4519987"/>
                  <a:gd name="connsiteY58" fmla="*/ 4457700 h 4496940"/>
                  <a:gd name="connsiteX59" fmla="*/ 2126002 w 4519987"/>
                  <a:gd name="connsiteY59" fmla="*/ 4429125 h 4496940"/>
                  <a:gd name="connsiteX60" fmla="*/ 1935502 w 4519987"/>
                  <a:gd name="connsiteY60" fmla="*/ 4400550 h 4496940"/>
                  <a:gd name="connsiteX61" fmla="*/ 1821202 w 4519987"/>
                  <a:gd name="connsiteY61" fmla="*/ 4371975 h 4496940"/>
                  <a:gd name="connsiteX62" fmla="*/ 1754527 w 4519987"/>
                  <a:gd name="connsiteY62" fmla="*/ 4352925 h 4496940"/>
                  <a:gd name="connsiteX63" fmla="*/ 1687852 w 4519987"/>
                  <a:gd name="connsiteY63" fmla="*/ 4343400 h 4496940"/>
                  <a:gd name="connsiteX64" fmla="*/ 1573552 w 4519987"/>
                  <a:gd name="connsiteY64" fmla="*/ 4305300 h 4496940"/>
                  <a:gd name="connsiteX65" fmla="*/ 1402102 w 4519987"/>
                  <a:gd name="connsiteY65" fmla="*/ 4276725 h 4496940"/>
                  <a:gd name="connsiteX66" fmla="*/ 1287802 w 4519987"/>
                  <a:gd name="connsiteY66" fmla="*/ 4229100 h 4496940"/>
                  <a:gd name="connsiteX67" fmla="*/ 1221127 w 4519987"/>
                  <a:gd name="connsiteY67" fmla="*/ 4200525 h 4496940"/>
                  <a:gd name="connsiteX68" fmla="*/ 1144927 w 4519987"/>
                  <a:gd name="connsiteY68" fmla="*/ 4171950 h 4496940"/>
                  <a:gd name="connsiteX69" fmla="*/ 1087777 w 4519987"/>
                  <a:gd name="connsiteY69" fmla="*/ 4143375 h 4496940"/>
                  <a:gd name="connsiteX70" fmla="*/ 1030627 w 4519987"/>
                  <a:gd name="connsiteY70" fmla="*/ 4124325 h 4496940"/>
                  <a:gd name="connsiteX71" fmla="*/ 925852 w 4519987"/>
                  <a:gd name="connsiteY71" fmla="*/ 4067175 h 4496940"/>
                  <a:gd name="connsiteX72" fmla="*/ 830602 w 4519987"/>
                  <a:gd name="connsiteY72" fmla="*/ 3981450 h 4496940"/>
                  <a:gd name="connsiteX73" fmla="*/ 763927 w 4519987"/>
                  <a:gd name="connsiteY73" fmla="*/ 3914775 h 4496940"/>
                  <a:gd name="connsiteX74" fmla="*/ 725827 w 4519987"/>
                  <a:gd name="connsiteY74" fmla="*/ 3876675 h 4496940"/>
                  <a:gd name="connsiteX75" fmla="*/ 697252 w 4519987"/>
                  <a:gd name="connsiteY75" fmla="*/ 3838575 h 4496940"/>
                  <a:gd name="connsiteX76" fmla="*/ 640102 w 4519987"/>
                  <a:gd name="connsiteY76" fmla="*/ 3781425 h 4496940"/>
                  <a:gd name="connsiteX77" fmla="*/ 611527 w 4519987"/>
                  <a:gd name="connsiteY77" fmla="*/ 3733800 h 4496940"/>
                  <a:gd name="connsiteX78" fmla="*/ 554377 w 4519987"/>
                  <a:gd name="connsiteY78" fmla="*/ 3657600 h 4496940"/>
                  <a:gd name="connsiteX79" fmla="*/ 525802 w 4519987"/>
                  <a:gd name="connsiteY79" fmla="*/ 3609975 h 4496940"/>
                  <a:gd name="connsiteX80" fmla="*/ 497227 w 4519987"/>
                  <a:gd name="connsiteY80" fmla="*/ 3552825 h 4496940"/>
                  <a:gd name="connsiteX81" fmla="*/ 440077 w 4519987"/>
                  <a:gd name="connsiteY81" fmla="*/ 3495675 h 4496940"/>
                  <a:gd name="connsiteX82" fmla="*/ 411502 w 4519987"/>
                  <a:gd name="connsiteY82" fmla="*/ 3448050 h 4496940"/>
                  <a:gd name="connsiteX83" fmla="*/ 278152 w 4519987"/>
                  <a:gd name="connsiteY83" fmla="*/ 3257550 h 4496940"/>
                  <a:gd name="connsiteX84" fmla="*/ 249577 w 4519987"/>
                  <a:gd name="connsiteY84" fmla="*/ 3200400 h 4496940"/>
                  <a:gd name="connsiteX85" fmla="*/ 240052 w 4519987"/>
                  <a:gd name="connsiteY85" fmla="*/ 3162300 h 4496940"/>
                  <a:gd name="connsiteX86" fmla="*/ 221002 w 4519987"/>
                  <a:gd name="connsiteY86" fmla="*/ 3105150 h 4496940"/>
                  <a:gd name="connsiteX87" fmla="*/ 173377 w 4519987"/>
                  <a:gd name="connsiteY87" fmla="*/ 3019425 h 4496940"/>
                  <a:gd name="connsiteX88" fmla="*/ 144802 w 4519987"/>
                  <a:gd name="connsiteY88" fmla="*/ 2924175 h 4496940"/>
                  <a:gd name="connsiteX89" fmla="*/ 68602 w 4519987"/>
                  <a:gd name="connsiteY89" fmla="*/ 2724150 h 4496940"/>
                  <a:gd name="connsiteX90" fmla="*/ 49552 w 4519987"/>
                  <a:gd name="connsiteY90" fmla="*/ 2638425 h 4496940"/>
                  <a:gd name="connsiteX91" fmla="*/ 40027 w 4519987"/>
                  <a:gd name="connsiteY91" fmla="*/ 2562225 h 4496940"/>
                  <a:gd name="connsiteX92" fmla="*/ 30502 w 4519987"/>
                  <a:gd name="connsiteY92" fmla="*/ 2514600 h 4496940"/>
                  <a:gd name="connsiteX93" fmla="*/ 11452 w 4519987"/>
                  <a:gd name="connsiteY93" fmla="*/ 2400300 h 4496940"/>
                  <a:gd name="connsiteX94" fmla="*/ 20977 w 4519987"/>
                  <a:gd name="connsiteY94" fmla="*/ 1905000 h 4496940"/>
                  <a:gd name="connsiteX95" fmla="*/ 30502 w 4519987"/>
                  <a:gd name="connsiteY95" fmla="*/ 1838325 h 4496940"/>
                  <a:gd name="connsiteX96" fmla="*/ 49552 w 4519987"/>
                  <a:gd name="connsiteY96" fmla="*/ 1781175 h 4496940"/>
                  <a:gd name="connsiteX97" fmla="*/ 59077 w 4519987"/>
                  <a:gd name="connsiteY97" fmla="*/ 1743075 h 4496940"/>
                  <a:gd name="connsiteX98" fmla="*/ 78127 w 4519987"/>
                  <a:gd name="connsiteY98" fmla="*/ 1685925 h 4496940"/>
                  <a:gd name="connsiteX99" fmla="*/ 87652 w 4519987"/>
                  <a:gd name="connsiteY99" fmla="*/ 1638300 h 4496940"/>
                  <a:gd name="connsiteX100" fmla="*/ 106702 w 4519987"/>
                  <a:gd name="connsiteY100" fmla="*/ 1590675 h 4496940"/>
                  <a:gd name="connsiteX101" fmla="*/ 135277 w 4519987"/>
                  <a:gd name="connsiteY101" fmla="*/ 1504950 h 4496940"/>
                  <a:gd name="connsiteX102" fmla="*/ 154327 w 4519987"/>
                  <a:gd name="connsiteY102" fmla="*/ 1419225 h 4496940"/>
                  <a:gd name="connsiteX103" fmla="*/ 230527 w 4519987"/>
                  <a:gd name="connsiteY103" fmla="*/ 1276350 h 4496940"/>
                  <a:gd name="connsiteX104" fmla="*/ 240052 w 4519987"/>
                  <a:gd name="connsiteY104" fmla="*/ 1247775 h 4496940"/>
                  <a:gd name="connsiteX105" fmla="*/ 268627 w 4519987"/>
                  <a:gd name="connsiteY105" fmla="*/ 1200150 h 4496940"/>
                  <a:gd name="connsiteX106" fmla="*/ 287677 w 4519987"/>
                  <a:gd name="connsiteY106" fmla="*/ 1152525 h 4496940"/>
                  <a:gd name="connsiteX107" fmla="*/ 316252 w 4519987"/>
                  <a:gd name="connsiteY107" fmla="*/ 1114425 h 4496940"/>
                  <a:gd name="connsiteX108" fmla="*/ 363877 w 4519987"/>
                  <a:gd name="connsiteY108" fmla="*/ 1038225 h 4496940"/>
                  <a:gd name="connsiteX109" fmla="*/ 382927 w 4519987"/>
                  <a:gd name="connsiteY109" fmla="*/ 1009650 h 4496940"/>
                  <a:gd name="connsiteX110" fmla="*/ 440077 w 4519987"/>
                  <a:gd name="connsiteY110" fmla="*/ 904875 h 4496940"/>
                  <a:gd name="connsiteX111" fmla="*/ 478177 w 4519987"/>
                  <a:gd name="connsiteY111" fmla="*/ 857250 h 4496940"/>
                  <a:gd name="connsiteX112" fmla="*/ 497227 w 4519987"/>
                  <a:gd name="connsiteY112" fmla="*/ 828675 h 4496940"/>
                  <a:gd name="connsiteX113" fmla="*/ 535327 w 4519987"/>
                  <a:gd name="connsiteY113" fmla="*/ 800100 h 4496940"/>
                  <a:gd name="connsiteX114" fmla="*/ 602002 w 4519987"/>
                  <a:gd name="connsiteY114" fmla="*/ 733425 h 4496940"/>
                  <a:gd name="connsiteX115" fmla="*/ 668677 w 4519987"/>
                  <a:gd name="connsiteY115" fmla="*/ 676275 h 4496940"/>
                  <a:gd name="connsiteX116" fmla="*/ 697252 w 4519987"/>
                  <a:gd name="connsiteY116" fmla="*/ 657225 h 4496940"/>
                  <a:gd name="connsiteX117" fmla="*/ 840127 w 4519987"/>
                  <a:gd name="connsiteY117" fmla="*/ 533400 h 4496940"/>
                  <a:gd name="connsiteX118" fmla="*/ 887752 w 4519987"/>
                  <a:gd name="connsiteY118" fmla="*/ 504825 h 4496940"/>
                  <a:gd name="connsiteX119" fmla="*/ 1167152 w 4519987"/>
                  <a:gd name="connsiteY119" fmla="*/ 311150 h 4496940"/>
                  <a:gd name="connsiteX120" fmla="*/ 1268752 w 4519987"/>
                  <a:gd name="connsiteY120" fmla="*/ 285750 h 4496940"/>
                  <a:gd name="connsiteX121" fmla="*/ 1411627 w 4519987"/>
                  <a:gd name="connsiteY121" fmla="*/ 190500 h 4496940"/>
                  <a:gd name="connsiteX122" fmla="*/ 1449727 w 4519987"/>
                  <a:gd name="connsiteY122" fmla="*/ 161925 h 4496940"/>
                  <a:gd name="connsiteX123" fmla="*/ 1525927 w 4519987"/>
                  <a:gd name="connsiteY123" fmla="*/ 152400 h 4496940"/>
                  <a:gd name="connsiteX124" fmla="*/ 1583077 w 4519987"/>
                  <a:gd name="connsiteY124" fmla="*/ 142875 h 4496940"/>
                  <a:gd name="connsiteX125" fmla="*/ 1716427 w 4519987"/>
                  <a:gd name="connsiteY125" fmla="*/ 123825 h 4496940"/>
                  <a:gd name="connsiteX126" fmla="*/ 1811677 w 4519987"/>
                  <a:gd name="connsiteY126" fmla="*/ 114300 h 4496940"/>
                  <a:gd name="connsiteX127" fmla="*/ 1859302 w 4519987"/>
                  <a:gd name="connsiteY127" fmla="*/ 104775 h 4496940"/>
                  <a:gd name="connsiteX128" fmla="*/ 1916452 w 4519987"/>
                  <a:gd name="connsiteY128" fmla="*/ 95250 h 4496940"/>
                  <a:gd name="connsiteX129" fmla="*/ 2030752 w 4519987"/>
                  <a:gd name="connsiteY129" fmla="*/ 66675 h 4496940"/>
                  <a:gd name="connsiteX130" fmla="*/ 2097427 w 4519987"/>
                  <a:gd name="connsiteY130" fmla="*/ 47625 h 4496940"/>
                  <a:gd name="connsiteX131" fmla="*/ 2164102 w 4519987"/>
                  <a:gd name="connsiteY131" fmla="*/ 38100 h 4496940"/>
                  <a:gd name="connsiteX132" fmla="*/ 2392702 w 4519987"/>
                  <a:gd name="connsiteY13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659527 w 4519987"/>
                  <a:gd name="connsiteY38" fmla="*/ 3971925 h 4496940"/>
                  <a:gd name="connsiteX39" fmla="*/ 3630952 w 4519987"/>
                  <a:gd name="connsiteY39" fmla="*/ 4010025 h 4496940"/>
                  <a:gd name="connsiteX40" fmla="*/ 3621427 w 4519987"/>
                  <a:gd name="connsiteY40" fmla="*/ 4038600 h 4496940"/>
                  <a:gd name="connsiteX41" fmla="*/ 3554752 w 4519987"/>
                  <a:gd name="connsiteY41" fmla="*/ 4095750 h 4496940"/>
                  <a:gd name="connsiteX42" fmla="*/ 3516652 w 4519987"/>
                  <a:gd name="connsiteY42" fmla="*/ 4114800 h 4496940"/>
                  <a:gd name="connsiteX43" fmla="*/ 3497602 w 4519987"/>
                  <a:gd name="connsiteY43" fmla="*/ 4143375 h 4496940"/>
                  <a:gd name="connsiteX44" fmla="*/ 3383302 w 4519987"/>
                  <a:gd name="connsiteY44" fmla="*/ 4210050 h 4496940"/>
                  <a:gd name="connsiteX45" fmla="*/ 3335677 w 4519987"/>
                  <a:gd name="connsiteY45" fmla="*/ 4238625 h 4496940"/>
                  <a:gd name="connsiteX46" fmla="*/ 3288052 w 4519987"/>
                  <a:gd name="connsiteY46" fmla="*/ 4248150 h 4496940"/>
                  <a:gd name="connsiteX47" fmla="*/ 3240427 w 4519987"/>
                  <a:gd name="connsiteY47" fmla="*/ 4267200 h 4496940"/>
                  <a:gd name="connsiteX48" fmla="*/ 3068977 w 4519987"/>
                  <a:gd name="connsiteY48" fmla="*/ 4286250 h 4496940"/>
                  <a:gd name="connsiteX49" fmla="*/ 2935627 w 4519987"/>
                  <a:gd name="connsiteY49" fmla="*/ 4333875 h 4496940"/>
                  <a:gd name="connsiteX50" fmla="*/ 2811802 w 4519987"/>
                  <a:gd name="connsiteY50" fmla="*/ 4371975 h 4496940"/>
                  <a:gd name="connsiteX51" fmla="*/ 2745127 w 4519987"/>
                  <a:gd name="connsiteY51" fmla="*/ 4410075 h 4496940"/>
                  <a:gd name="connsiteX52" fmla="*/ 2697502 w 4519987"/>
                  <a:gd name="connsiteY52" fmla="*/ 4429125 h 4496940"/>
                  <a:gd name="connsiteX53" fmla="*/ 2640352 w 4519987"/>
                  <a:gd name="connsiteY53" fmla="*/ 4457700 h 4496940"/>
                  <a:gd name="connsiteX54" fmla="*/ 2583202 w 4519987"/>
                  <a:gd name="connsiteY54" fmla="*/ 4467225 h 4496940"/>
                  <a:gd name="connsiteX55" fmla="*/ 2545102 w 4519987"/>
                  <a:gd name="connsiteY55" fmla="*/ 4486275 h 4496940"/>
                  <a:gd name="connsiteX56" fmla="*/ 2306977 w 4519987"/>
                  <a:gd name="connsiteY56" fmla="*/ 4476750 h 4496940"/>
                  <a:gd name="connsiteX57" fmla="*/ 2202202 w 4519987"/>
                  <a:gd name="connsiteY57" fmla="*/ 4457700 h 4496940"/>
                  <a:gd name="connsiteX58" fmla="*/ 2126002 w 4519987"/>
                  <a:gd name="connsiteY58" fmla="*/ 4429125 h 4496940"/>
                  <a:gd name="connsiteX59" fmla="*/ 1935502 w 4519987"/>
                  <a:gd name="connsiteY59" fmla="*/ 4400550 h 4496940"/>
                  <a:gd name="connsiteX60" fmla="*/ 1821202 w 4519987"/>
                  <a:gd name="connsiteY60" fmla="*/ 4371975 h 4496940"/>
                  <a:gd name="connsiteX61" fmla="*/ 1754527 w 4519987"/>
                  <a:gd name="connsiteY61" fmla="*/ 4352925 h 4496940"/>
                  <a:gd name="connsiteX62" fmla="*/ 1687852 w 4519987"/>
                  <a:gd name="connsiteY62" fmla="*/ 4343400 h 4496940"/>
                  <a:gd name="connsiteX63" fmla="*/ 1573552 w 4519987"/>
                  <a:gd name="connsiteY63" fmla="*/ 4305300 h 4496940"/>
                  <a:gd name="connsiteX64" fmla="*/ 1402102 w 4519987"/>
                  <a:gd name="connsiteY64" fmla="*/ 4276725 h 4496940"/>
                  <a:gd name="connsiteX65" fmla="*/ 1287802 w 4519987"/>
                  <a:gd name="connsiteY65" fmla="*/ 4229100 h 4496940"/>
                  <a:gd name="connsiteX66" fmla="*/ 1221127 w 4519987"/>
                  <a:gd name="connsiteY66" fmla="*/ 4200525 h 4496940"/>
                  <a:gd name="connsiteX67" fmla="*/ 1144927 w 4519987"/>
                  <a:gd name="connsiteY67" fmla="*/ 4171950 h 4496940"/>
                  <a:gd name="connsiteX68" fmla="*/ 1087777 w 4519987"/>
                  <a:gd name="connsiteY68" fmla="*/ 4143375 h 4496940"/>
                  <a:gd name="connsiteX69" fmla="*/ 1030627 w 4519987"/>
                  <a:gd name="connsiteY69" fmla="*/ 4124325 h 4496940"/>
                  <a:gd name="connsiteX70" fmla="*/ 925852 w 4519987"/>
                  <a:gd name="connsiteY70" fmla="*/ 4067175 h 4496940"/>
                  <a:gd name="connsiteX71" fmla="*/ 830602 w 4519987"/>
                  <a:gd name="connsiteY71" fmla="*/ 3981450 h 4496940"/>
                  <a:gd name="connsiteX72" fmla="*/ 763927 w 4519987"/>
                  <a:gd name="connsiteY72" fmla="*/ 3914775 h 4496940"/>
                  <a:gd name="connsiteX73" fmla="*/ 725827 w 4519987"/>
                  <a:gd name="connsiteY73" fmla="*/ 3876675 h 4496940"/>
                  <a:gd name="connsiteX74" fmla="*/ 697252 w 4519987"/>
                  <a:gd name="connsiteY74" fmla="*/ 3838575 h 4496940"/>
                  <a:gd name="connsiteX75" fmla="*/ 640102 w 4519987"/>
                  <a:gd name="connsiteY75" fmla="*/ 3781425 h 4496940"/>
                  <a:gd name="connsiteX76" fmla="*/ 611527 w 4519987"/>
                  <a:gd name="connsiteY76" fmla="*/ 3733800 h 4496940"/>
                  <a:gd name="connsiteX77" fmla="*/ 554377 w 4519987"/>
                  <a:gd name="connsiteY77" fmla="*/ 3657600 h 4496940"/>
                  <a:gd name="connsiteX78" fmla="*/ 525802 w 4519987"/>
                  <a:gd name="connsiteY78" fmla="*/ 3609975 h 4496940"/>
                  <a:gd name="connsiteX79" fmla="*/ 497227 w 4519987"/>
                  <a:gd name="connsiteY79" fmla="*/ 3552825 h 4496940"/>
                  <a:gd name="connsiteX80" fmla="*/ 440077 w 4519987"/>
                  <a:gd name="connsiteY80" fmla="*/ 3495675 h 4496940"/>
                  <a:gd name="connsiteX81" fmla="*/ 411502 w 4519987"/>
                  <a:gd name="connsiteY81" fmla="*/ 3448050 h 4496940"/>
                  <a:gd name="connsiteX82" fmla="*/ 278152 w 4519987"/>
                  <a:gd name="connsiteY82" fmla="*/ 3257550 h 4496940"/>
                  <a:gd name="connsiteX83" fmla="*/ 249577 w 4519987"/>
                  <a:gd name="connsiteY83" fmla="*/ 3200400 h 4496940"/>
                  <a:gd name="connsiteX84" fmla="*/ 240052 w 4519987"/>
                  <a:gd name="connsiteY84" fmla="*/ 3162300 h 4496940"/>
                  <a:gd name="connsiteX85" fmla="*/ 221002 w 4519987"/>
                  <a:gd name="connsiteY85" fmla="*/ 3105150 h 4496940"/>
                  <a:gd name="connsiteX86" fmla="*/ 173377 w 4519987"/>
                  <a:gd name="connsiteY86" fmla="*/ 3019425 h 4496940"/>
                  <a:gd name="connsiteX87" fmla="*/ 144802 w 4519987"/>
                  <a:gd name="connsiteY87" fmla="*/ 2924175 h 4496940"/>
                  <a:gd name="connsiteX88" fmla="*/ 68602 w 4519987"/>
                  <a:gd name="connsiteY88" fmla="*/ 2724150 h 4496940"/>
                  <a:gd name="connsiteX89" fmla="*/ 49552 w 4519987"/>
                  <a:gd name="connsiteY89" fmla="*/ 2638425 h 4496940"/>
                  <a:gd name="connsiteX90" fmla="*/ 40027 w 4519987"/>
                  <a:gd name="connsiteY90" fmla="*/ 2562225 h 4496940"/>
                  <a:gd name="connsiteX91" fmla="*/ 30502 w 4519987"/>
                  <a:gd name="connsiteY91" fmla="*/ 2514600 h 4496940"/>
                  <a:gd name="connsiteX92" fmla="*/ 11452 w 4519987"/>
                  <a:gd name="connsiteY92" fmla="*/ 2400300 h 4496940"/>
                  <a:gd name="connsiteX93" fmla="*/ 20977 w 4519987"/>
                  <a:gd name="connsiteY93" fmla="*/ 1905000 h 4496940"/>
                  <a:gd name="connsiteX94" fmla="*/ 30502 w 4519987"/>
                  <a:gd name="connsiteY94" fmla="*/ 1838325 h 4496940"/>
                  <a:gd name="connsiteX95" fmla="*/ 49552 w 4519987"/>
                  <a:gd name="connsiteY95" fmla="*/ 1781175 h 4496940"/>
                  <a:gd name="connsiteX96" fmla="*/ 59077 w 4519987"/>
                  <a:gd name="connsiteY96" fmla="*/ 1743075 h 4496940"/>
                  <a:gd name="connsiteX97" fmla="*/ 78127 w 4519987"/>
                  <a:gd name="connsiteY97" fmla="*/ 1685925 h 4496940"/>
                  <a:gd name="connsiteX98" fmla="*/ 87652 w 4519987"/>
                  <a:gd name="connsiteY98" fmla="*/ 1638300 h 4496940"/>
                  <a:gd name="connsiteX99" fmla="*/ 106702 w 4519987"/>
                  <a:gd name="connsiteY99" fmla="*/ 1590675 h 4496940"/>
                  <a:gd name="connsiteX100" fmla="*/ 135277 w 4519987"/>
                  <a:gd name="connsiteY100" fmla="*/ 1504950 h 4496940"/>
                  <a:gd name="connsiteX101" fmla="*/ 154327 w 4519987"/>
                  <a:gd name="connsiteY101" fmla="*/ 1419225 h 4496940"/>
                  <a:gd name="connsiteX102" fmla="*/ 230527 w 4519987"/>
                  <a:gd name="connsiteY102" fmla="*/ 1276350 h 4496940"/>
                  <a:gd name="connsiteX103" fmla="*/ 240052 w 4519987"/>
                  <a:gd name="connsiteY103" fmla="*/ 1247775 h 4496940"/>
                  <a:gd name="connsiteX104" fmla="*/ 268627 w 4519987"/>
                  <a:gd name="connsiteY104" fmla="*/ 1200150 h 4496940"/>
                  <a:gd name="connsiteX105" fmla="*/ 287677 w 4519987"/>
                  <a:gd name="connsiteY105" fmla="*/ 1152525 h 4496940"/>
                  <a:gd name="connsiteX106" fmla="*/ 316252 w 4519987"/>
                  <a:gd name="connsiteY106" fmla="*/ 1114425 h 4496940"/>
                  <a:gd name="connsiteX107" fmla="*/ 363877 w 4519987"/>
                  <a:gd name="connsiteY107" fmla="*/ 1038225 h 4496940"/>
                  <a:gd name="connsiteX108" fmla="*/ 382927 w 4519987"/>
                  <a:gd name="connsiteY108" fmla="*/ 1009650 h 4496940"/>
                  <a:gd name="connsiteX109" fmla="*/ 440077 w 4519987"/>
                  <a:gd name="connsiteY109" fmla="*/ 904875 h 4496940"/>
                  <a:gd name="connsiteX110" fmla="*/ 478177 w 4519987"/>
                  <a:gd name="connsiteY110" fmla="*/ 857250 h 4496940"/>
                  <a:gd name="connsiteX111" fmla="*/ 497227 w 4519987"/>
                  <a:gd name="connsiteY111" fmla="*/ 828675 h 4496940"/>
                  <a:gd name="connsiteX112" fmla="*/ 535327 w 4519987"/>
                  <a:gd name="connsiteY112" fmla="*/ 800100 h 4496940"/>
                  <a:gd name="connsiteX113" fmla="*/ 602002 w 4519987"/>
                  <a:gd name="connsiteY113" fmla="*/ 733425 h 4496940"/>
                  <a:gd name="connsiteX114" fmla="*/ 668677 w 4519987"/>
                  <a:gd name="connsiteY114" fmla="*/ 676275 h 4496940"/>
                  <a:gd name="connsiteX115" fmla="*/ 697252 w 4519987"/>
                  <a:gd name="connsiteY115" fmla="*/ 657225 h 4496940"/>
                  <a:gd name="connsiteX116" fmla="*/ 840127 w 4519987"/>
                  <a:gd name="connsiteY116" fmla="*/ 533400 h 4496940"/>
                  <a:gd name="connsiteX117" fmla="*/ 887752 w 4519987"/>
                  <a:gd name="connsiteY117" fmla="*/ 504825 h 4496940"/>
                  <a:gd name="connsiteX118" fmla="*/ 1167152 w 4519987"/>
                  <a:gd name="connsiteY118" fmla="*/ 311150 h 4496940"/>
                  <a:gd name="connsiteX119" fmla="*/ 1268752 w 4519987"/>
                  <a:gd name="connsiteY119" fmla="*/ 285750 h 4496940"/>
                  <a:gd name="connsiteX120" fmla="*/ 1411627 w 4519987"/>
                  <a:gd name="connsiteY120" fmla="*/ 190500 h 4496940"/>
                  <a:gd name="connsiteX121" fmla="*/ 1449727 w 4519987"/>
                  <a:gd name="connsiteY121" fmla="*/ 161925 h 4496940"/>
                  <a:gd name="connsiteX122" fmla="*/ 1525927 w 4519987"/>
                  <a:gd name="connsiteY122" fmla="*/ 152400 h 4496940"/>
                  <a:gd name="connsiteX123" fmla="*/ 1583077 w 4519987"/>
                  <a:gd name="connsiteY123" fmla="*/ 142875 h 4496940"/>
                  <a:gd name="connsiteX124" fmla="*/ 1716427 w 4519987"/>
                  <a:gd name="connsiteY124" fmla="*/ 123825 h 4496940"/>
                  <a:gd name="connsiteX125" fmla="*/ 1811677 w 4519987"/>
                  <a:gd name="connsiteY125" fmla="*/ 114300 h 4496940"/>
                  <a:gd name="connsiteX126" fmla="*/ 1859302 w 4519987"/>
                  <a:gd name="connsiteY126" fmla="*/ 104775 h 4496940"/>
                  <a:gd name="connsiteX127" fmla="*/ 1916452 w 4519987"/>
                  <a:gd name="connsiteY127" fmla="*/ 95250 h 4496940"/>
                  <a:gd name="connsiteX128" fmla="*/ 2030752 w 4519987"/>
                  <a:gd name="connsiteY128" fmla="*/ 66675 h 4496940"/>
                  <a:gd name="connsiteX129" fmla="*/ 2097427 w 4519987"/>
                  <a:gd name="connsiteY129" fmla="*/ 47625 h 4496940"/>
                  <a:gd name="connsiteX130" fmla="*/ 2164102 w 4519987"/>
                  <a:gd name="connsiteY130" fmla="*/ 38100 h 4496940"/>
                  <a:gd name="connsiteX131" fmla="*/ 2392702 w 4519987"/>
                  <a:gd name="connsiteY13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88152 w 4519987"/>
                  <a:gd name="connsiteY33" fmla="*/ 3495675 h 4496940"/>
                  <a:gd name="connsiteX34" fmla="*/ 4059577 w 4519987"/>
                  <a:gd name="connsiteY34" fmla="*/ 3533775 h 4496940"/>
                  <a:gd name="connsiteX35" fmla="*/ 4002427 w 4519987"/>
                  <a:gd name="connsiteY35" fmla="*/ 3600450 h 4496940"/>
                  <a:gd name="connsiteX36" fmla="*/ 3954802 w 4519987"/>
                  <a:gd name="connsiteY36" fmla="*/ 3648075 h 4496940"/>
                  <a:gd name="connsiteX37" fmla="*/ 3659527 w 4519987"/>
                  <a:gd name="connsiteY37" fmla="*/ 3971925 h 4496940"/>
                  <a:gd name="connsiteX38" fmla="*/ 3630952 w 4519987"/>
                  <a:gd name="connsiteY38" fmla="*/ 4010025 h 4496940"/>
                  <a:gd name="connsiteX39" fmla="*/ 3621427 w 4519987"/>
                  <a:gd name="connsiteY39" fmla="*/ 4038600 h 4496940"/>
                  <a:gd name="connsiteX40" fmla="*/ 3554752 w 4519987"/>
                  <a:gd name="connsiteY40" fmla="*/ 4095750 h 4496940"/>
                  <a:gd name="connsiteX41" fmla="*/ 3516652 w 4519987"/>
                  <a:gd name="connsiteY41" fmla="*/ 4114800 h 4496940"/>
                  <a:gd name="connsiteX42" fmla="*/ 3497602 w 4519987"/>
                  <a:gd name="connsiteY42" fmla="*/ 4143375 h 4496940"/>
                  <a:gd name="connsiteX43" fmla="*/ 3383302 w 4519987"/>
                  <a:gd name="connsiteY43" fmla="*/ 4210050 h 4496940"/>
                  <a:gd name="connsiteX44" fmla="*/ 3335677 w 4519987"/>
                  <a:gd name="connsiteY44" fmla="*/ 4238625 h 4496940"/>
                  <a:gd name="connsiteX45" fmla="*/ 3288052 w 4519987"/>
                  <a:gd name="connsiteY45" fmla="*/ 4248150 h 4496940"/>
                  <a:gd name="connsiteX46" fmla="*/ 3240427 w 4519987"/>
                  <a:gd name="connsiteY46" fmla="*/ 4267200 h 4496940"/>
                  <a:gd name="connsiteX47" fmla="*/ 3068977 w 4519987"/>
                  <a:gd name="connsiteY47" fmla="*/ 4286250 h 4496940"/>
                  <a:gd name="connsiteX48" fmla="*/ 2935627 w 4519987"/>
                  <a:gd name="connsiteY48" fmla="*/ 4333875 h 4496940"/>
                  <a:gd name="connsiteX49" fmla="*/ 2811802 w 4519987"/>
                  <a:gd name="connsiteY49" fmla="*/ 4371975 h 4496940"/>
                  <a:gd name="connsiteX50" fmla="*/ 2745127 w 4519987"/>
                  <a:gd name="connsiteY50" fmla="*/ 4410075 h 4496940"/>
                  <a:gd name="connsiteX51" fmla="*/ 2697502 w 4519987"/>
                  <a:gd name="connsiteY51" fmla="*/ 4429125 h 4496940"/>
                  <a:gd name="connsiteX52" fmla="*/ 2640352 w 4519987"/>
                  <a:gd name="connsiteY52" fmla="*/ 4457700 h 4496940"/>
                  <a:gd name="connsiteX53" fmla="*/ 2583202 w 4519987"/>
                  <a:gd name="connsiteY53" fmla="*/ 4467225 h 4496940"/>
                  <a:gd name="connsiteX54" fmla="*/ 2545102 w 4519987"/>
                  <a:gd name="connsiteY54" fmla="*/ 4486275 h 4496940"/>
                  <a:gd name="connsiteX55" fmla="*/ 2306977 w 4519987"/>
                  <a:gd name="connsiteY55" fmla="*/ 4476750 h 4496940"/>
                  <a:gd name="connsiteX56" fmla="*/ 2202202 w 4519987"/>
                  <a:gd name="connsiteY56" fmla="*/ 4457700 h 4496940"/>
                  <a:gd name="connsiteX57" fmla="*/ 2126002 w 4519987"/>
                  <a:gd name="connsiteY57" fmla="*/ 4429125 h 4496940"/>
                  <a:gd name="connsiteX58" fmla="*/ 1935502 w 4519987"/>
                  <a:gd name="connsiteY58" fmla="*/ 4400550 h 4496940"/>
                  <a:gd name="connsiteX59" fmla="*/ 1821202 w 4519987"/>
                  <a:gd name="connsiteY59" fmla="*/ 4371975 h 4496940"/>
                  <a:gd name="connsiteX60" fmla="*/ 1754527 w 4519987"/>
                  <a:gd name="connsiteY60" fmla="*/ 4352925 h 4496940"/>
                  <a:gd name="connsiteX61" fmla="*/ 1687852 w 4519987"/>
                  <a:gd name="connsiteY61" fmla="*/ 4343400 h 4496940"/>
                  <a:gd name="connsiteX62" fmla="*/ 1573552 w 4519987"/>
                  <a:gd name="connsiteY62" fmla="*/ 4305300 h 4496940"/>
                  <a:gd name="connsiteX63" fmla="*/ 1402102 w 4519987"/>
                  <a:gd name="connsiteY63" fmla="*/ 4276725 h 4496940"/>
                  <a:gd name="connsiteX64" fmla="*/ 1287802 w 4519987"/>
                  <a:gd name="connsiteY64" fmla="*/ 4229100 h 4496940"/>
                  <a:gd name="connsiteX65" fmla="*/ 1221127 w 4519987"/>
                  <a:gd name="connsiteY65" fmla="*/ 4200525 h 4496940"/>
                  <a:gd name="connsiteX66" fmla="*/ 1144927 w 4519987"/>
                  <a:gd name="connsiteY66" fmla="*/ 4171950 h 4496940"/>
                  <a:gd name="connsiteX67" fmla="*/ 1087777 w 4519987"/>
                  <a:gd name="connsiteY67" fmla="*/ 4143375 h 4496940"/>
                  <a:gd name="connsiteX68" fmla="*/ 1030627 w 4519987"/>
                  <a:gd name="connsiteY68" fmla="*/ 4124325 h 4496940"/>
                  <a:gd name="connsiteX69" fmla="*/ 925852 w 4519987"/>
                  <a:gd name="connsiteY69" fmla="*/ 4067175 h 4496940"/>
                  <a:gd name="connsiteX70" fmla="*/ 830602 w 4519987"/>
                  <a:gd name="connsiteY70" fmla="*/ 3981450 h 4496940"/>
                  <a:gd name="connsiteX71" fmla="*/ 763927 w 4519987"/>
                  <a:gd name="connsiteY71" fmla="*/ 3914775 h 4496940"/>
                  <a:gd name="connsiteX72" fmla="*/ 725827 w 4519987"/>
                  <a:gd name="connsiteY72" fmla="*/ 3876675 h 4496940"/>
                  <a:gd name="connsiteX73" fmla="*/ 697252 w 4519987"/>
                  <a:gd name="connsiteY73" fmla="*/ 3838575 h 4496940"/>
                  <a:gd name="connsiteX74" fmla="*/ 640102 w 4519987"/>
                  <a:gd name="connsiteY74" fmla="*/ 3781425 h 4496940"/>
                  <a:gd name="connsiteX75" fmla="*/ 611527 w 4519987"/>
                  <a:gd name="connsiteY75" fmla="*/ 3733800 h 4496940"/>
                  <a:gd name="connsiteX76" fmla="*/ 554377 w 4519987"/>
                  <a:gd name="connsiteY76" fmla="*/ 3657600 h 4496940"/>
                  <a:gd name="connsiteX77" fmla="*/ 525802 w 4519987"/>
                  <a:gd name="connsiteY77" fmla="*/ 3609975 h 4496940"/>
                  <a:gd name="connsiteX78" fmla="*/ 497227 w 4519987"/>
                  <a:gd name="connsiteY78" fmla="*/ 3552825 h 4496940"/>
                  <a:gd name="connsiteX79" fmla="*/ 440077 w 4519987"/>
                  <a:gd name="connsiteY79" fmla="*/ 3495675 h 4496940"/>
                  <a:gd name="connsiteX80" fmla="*/ 411502 w 4519987"/>
                  <a:gd name="connsiteY80" fmla="*/ 3448050 h 4496940"/>
                  <a:gd name="connsiteX81" fmla="*/ 278152 w 4519987"/>
                  <a:gd name="connsiteY81" fmla="*/ 3257550 h 4496940"/>
                  <a:gd name="connsiteX82" fmla="*/ 249577 w 4519987"/>
                  <a:gd name="connsiteY82" fmla="*/ 3200400 h 4496940"/>
                  <a:gd name="connsiteX83" fmla="*/ 240052 w 4519987"/>
                  <a:gd name="connsiteY83" fmla="*/ 3162300 h 4496940"/>
                  <a:gd name="connsiteX84" fmla="*/ 221002 w 4519987"/>
                  <a:gd name="connsiteY84" fmla="*/ 3105150 h 4496940"/>
                  <a:gd name="connsiteX85" fmla="*/ 173377 w 4519987"/>
                  <a:gd name="connsiteY85" fmla="*/ 3019425 h 4496940"/>
                  <a:gd name="connsiteX86" fmla="*/ 144802 w 4519987"/>
                  <a:gd name="connsiteY86" fmla="*/ 2924175 h 4496940"/>
                  <a:gd name="connsiteX87" fmla="*/ 68602 w 4519987"/>
                  <a:gd name="connsiteY87" fmla="*/ 2724150 h 4496940"/>
                  <a:gd name="connsiteX88" fmla="*/ 49552 w 4519987"/>
                  <a:gd name="connsiteY88" fmla="*/ 2638425 h 4496940"/>
                  <a:gd name="connsiteX89" fmla="*/ 40027 w 4519987"/>
                  <a:gd name="connsiteY89" fmla="*/ 2562225 h 4496940"/>
                  <a:gd name="connsiteX90" fmla="*/ 30502 w 4519987"/>
                  <a:gd name="connsiteY90" fmla="*/ 2514600 h 4496940"/>
                  <a:gd name="connsiteX91" fmla="*/ 11452 w 4519987"/>
                  <a:gd name="connsiteY91" fmla="*/ 2400300 h 4496940"/>
                  <a:gd name="connsiteX92" fmla="*/ 20977 w 4519987"/>
                  <a:gd name="connsiteY92" fmla="*/ 1905000 h 4496940"/>
                  <a:gd name="connsiteX93" fmla="*/ 30502 w 4519987"/>
                  <a:gd name="connsiteY93" fmla="*/ 1838325 h 4496940"/>
                  <a:gd name="connsiteX94" fmla="*/ 49552 w 4519987"/>
                  <a:gd name="connsiteY94" fmla="*/ 1781175 h 4496940"/>
                  <a:gd name="connsiteX95" fmla="*/ 59077 w 4519987"/>
                  <a:gd name="connsiteY95" fmla="*/ 1743075 h 4496940"/>
                  <a:gd name="connsiteX96" fmla="*/ 78127 w 4519987"/>
                  <a:gd name="connsiteY96" fmla="*/ 1685925 h 4496940"/>
                  <a:gd name="connsiteX97" fmla="*/ 87652 w 4519987"/>
                  <a:gd name="connsiteY97" fmla="*/ 1638300 h 4496940"/>
                  <a:gd name="connsiteX98" fmla="*/ 106702 w 4519987"/>
                  <a:gd name="connsiteY98" fmla="*/ 1590675 h 4496940"/>
                  <a:gd name="connsiteX99" fmla="*/ 135277 w 4519987"/>
                  <a:gd name="connsiteY99" fmla="*/ 1504950 h 4496940"/>
                  <a:gd name="connsiteX100" fmla="*/ 154327 w 4519987"/>
                  <a:gd name="connsiteY100" fmla="*/ 1419225 h 4496940"/>
                  <a:gd name="connsiteX101" fmla="*/ 230527 w 4519987"/>
                  <a:gd name="connsiteY101" fmla="*/ 1276350 h 4496940"/>
                  <a:gd name="connsiteX102" fmla="*/ 240052 w 4519987"/>
                  <a:gd name="connsiteY102" fmla="*/ 1247775 h 4496940"/>
                  <a:gd name="connsiteX103" fmla="*/ 268627 w 4519987"/>
                  <a:gd name="connsiteY103" fmla="*/ 1200150 h 4496940"/>
                  <a:gd name="connsiteX104" fmla="*/ 287677 w 4519987"/>
                  <a:gd name="connsiteY104" fmla="*/ 1152525 h 4496940"/>
                  <a:gd name="connsiteX105" fmla="*/ 316252 w 4519987"/>
                  <a:gd name="connsiteY105" fmla="*/ 1114425 h 4496940"/>
                  <a:gd name="connsiteX106" fmla="*/ 363877 w 4519987"/>
                  <a:gd name="connsiteY106" fmla="*/ 1038225 h 4496940"/>
                  <a:gd name="connsiteX107" fmla="*/ 382927 w 4519987"/>
                  <a:gd name="connsiteY107" fmla="*/ 1009650 h 4496940"/>
                  <a:gd name="connsiteX108" fmla="*/ 440077 w 4519987"/>
                  <a:gd name="connsiteY108" fmla="*/ 904875 h 4496940"/>
                  <a:gd name="connsiteX109" fmla="*/ 478177 w 4519987"/>
                  <a:gd name="connsiteY109" fmla="*/ 857250 h 4496940"/>
                  <a:gd name="connsiteX110" fmla="*/ 497227 w 4519987"/>
                  <a:gd name="connsiteY110" fmla="*/ 828675 h 4496940"/>
                  <a:gd name="connsiteX111" fmla="*/ 535327 w 4519987"/>
                  <a:gd name="connsiteY111" fmla="*/ 800100 h 4496940"/>
                  <a:gd name="connsiteX112" fmla="*/ 602002 w 4519987"/>
                  <a:gd name="connsiteY112" fmla="*/ 733425 h 4496940"/>
                  <a:gd name="connsiteX113" fmla="*/ 668677 w 4519987"/>
                  <a:gd name="connsiteY113" fmla="*/ 676275 h 4496940"/>
                  <a:gd name="connsiteX114" fmla="*/ 697252 w 4519987"/>
                  <a:gd name="connsiteY114" fmla="*/ 657225 h 4496940"/>
                  <a:gd name="connsiteX115" fmla="*/ 840127 w 4519987"/>
                  <a:gd name="connsiteY115" fmla="*/ 533400 h 4496940"/>
                  <a:gd name="connsiteX116" fmla="*/ 887752 w 4519987"/>
                  <a:gd name="connsiteY116" fmla="*/ 504825 h 4496940"/>
                  <a:gd name="connsiteX117" fmla="*/ 1167152 w 4519987"/>
                  <a:gd name="connsiteY117" fmla="*/ 311150 h 4496940"/>
                  <a:gd name="connsiteX118" fmla="*/ 1268752 w 4519987"/>
                  <a:gd name="connsiteY118" fmla="*/ 285750 h 4496940"/>
                  <a:gd name="connsiteX119" fmla="*/ 1411627 w 4519987"/>
                  <a:gd name="connsiteY119" fmla="*/ 190500 h 4496940"/>
                  <a:gd name="connsiteX120" fmla="*/ 1449727 w 4519987"/>
                  <a:gd name="connsiteY120" fmla="*/ 161925 h 4496940"/>
                  <a:gd name="connsiteX121" fmla="*/ 1525927 w 4519987"/>
                  <a:gd name="connsiteY121" fmla="*/ 152400 h 4496940"/>
                  <a:gd name="connsiteX122" fmla="*/ 1583077 w 4519987"/>
                  <a:gd name="connsiteY122" fmla="*/ 142875 h 4496940"/>
                  <a:gd name="connsiteX123" fmla="*/ 1716427 w 4519987"/>
                  <a:gd name="connsiteY123" fmla="*/ 123825 h 4496940"/>
                  <a:gd name="connsiteX124" fmla="*/ 1811677 w 4519987"/>
                  <a:gd name="connsiteY124" fmla="*/ 114300 h 4496940"/>
                  <a:gd name="connsiteX125" fmla="*/ 1859302 w 4519987"/>
                  <a:gd name="connsiteY125" fmla="*/ 104775 h 4496940"/>
                  <a:gd name="connsiteX126" fmla="*/ 1916452 w 4519987"/>
                  <a:gd name="connsiteY126" fmla="*/ 95250 h 4496940"/>
                  <a:gd name="connsiteX127" fmla="*/ 2030752 w 4519987"/>
                  <a:gd name="connsiteY127" fmla="*/ 66675 h 4496940"/>
                  <a:gd name="connsiteX128" fmla="*/ 2097427 w 4519987"/>
                  <a:gd name="connsiteY128" fmla="*/ 47625 h 4496940"/>
                  <a:gd name="connsiteX129" fmla="*/ 2164102 w 4519987"/>
                  <a:gd name="connsiteY129" fmla="*/ 38100 h 4496940"/>
                  <a:gd name="connsiteX130" fmla="*/ 2392702 w 4519987"/>
                  <a:gd name="connsiteY13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4002427 w 4519987"/>
                  <a:gd name="connsiteY34" fmla="*/ 3600450 h 4496940"/>
                  <a:gd name="connsiteX35" fmla="*/ 3954802 w 4519987"/>
                  <a:gd name="connsiteY35" fmla="*/ 3648075 h 4496940"/>
                  <a:gd name="connsiteX36" fmla="*/ 3659527 w 4519987"/>
                  <a:gd name="connsiteY36" fmla="*/ 3971925 h 4496940"/>
                  <a:gd name="connsiteX37" fmla="*/ 3630952 w 4519987"/>
                  <a:gd name="connsiteY37" fmla="*/ 4010025 h 4496940"/>
                  <a:gd name="connsiteX38" fmla="*/ 3621427 w 4519987"/>
                  <a:gd name="connsiteY38" fmla="*/ 4038600 h 4496940"/>
                  <a:gd name="connsiteX39" fmla="*/ 3554752 w 4519987"/>
                  <a:gd name="connsiteY39" fmla="*/ 4095750 h 4496940"/>
                  <a:gd name="connsiteX40" fmla="*/ 3516652 w 4519987"/>
                  <a:gd name="connsiteY40" fmla="*/ 4114800 h 4496940"/>
                  <a:gd name="connsiteX41" fmla="*/ 3497602 w 4519987"/>
                  <a:gd name="connsiteY41" fmla="*/ 4143375 h 4496940"/>
                  <a:gd name="connsiteX42" fmla="*/ 3383302 w 4519987"/>
                  <a:gd name="connsiteY42" fmla="*/ 4210050 h 4496940"/>
                  <a:gd name="connsiteX43" fmla="*/ 3335677 w 4519987"/>
                  <a:gd name="connsiteY43" fmla="*/ 4238625 h 4496940"/>
                  <a:gd name="connsiteX44" fmla="*/ 3288052 w 4519987"/>
                  <a:gd name="connsiteY44" fmla="*/ 4248150 h 4496940"/>
                  <a:gd name="connsiteX45" fmla="*/ 3240427 w 4519987"/>
                  <a:gd name="connsiteY45" fmla="*/ 4267200 h 4496940"/>
                  <a:gd name="connsiteX46" fmla="*/ 3068977 w 4519987"/>
                  <a:gd name="connsiteY46" fmla="*/ 4286250 h 4496940"/>
                  <a:gd name="connsiteX47" fmla="*/ 2935627 w 4519987"/>
                  <a:gd name="connsiteY47" fmla="*/ 4333875 h 4496940"/>
                  <a:gd name="connsiteX48" fmla="*/ 2811802 w 4519987"/>
                  <a:gd name="connsiteY48" fmla="*/ 4371975 h 4496940"/>
                  <a:gd name="connsiteX49" fmla="*/ 2745127 w 4519987"/>
                  <a:gd name="connsiteY49" fmla="*/ 4410075 h 4496940"/>
                  <a:gd name="connsiteX50" fmla="*/ 2697502 w 4519987"/>
                  <a:gd name="connsiteY50" fmla="*/ 4429125 h 4496940"/>
                  <a:gd name="connsiteX51" fmla="*/ 2640352 w 4519987"/>
                  <a:gd name="connsiteY51" fmla="*/ 4457700 h 4496940"/>
                  <a:gd name="connsiteX52" fmla="*/ 2583202 w 4519987"/>
                  <a:gd name="connsiteY52" fmla="*/ 4467225 h 4496940"/>
                  <a:gd name="connsiteX53" fmla="*/ 2545102 w 4519987"/>
                  <a:gd name="connsiteY53" fmla="*/ 4486275 h 4496940"/>
                  <a:gd name="connsiteX54" fmla="*/ 2306977 w 4519987"/>
                  <a:gd name="connsiteY54" fmla="*/ 4476750 h 4496940"/>
                  <a:gd name="connsiteX55" fmla="*/ 2202202 w 4519987"/>
                  <a:gd name="connsiteY55" fmla="*/ 4457700 h 4496940"/>
                  <a:gd name="connsiteX56" fmla="*/ 2126002 w 4519987"/>
                  <a:gd name="connsiteY56" fmla="*/ 4429125 h 4496940"/>
                  <a:gd name="connsiteX57" fmla="*/ 1935502 w 4519987"/>
                  <a:gd name="connsiteY57" fmla="*/ 4400550 h 4496940"/>
                  <a:gd name="connsiteX58" fmla="*/ 1821202 w 4519987"/>
                  <a:gd name="connsiteY58" fmla="*/ 4371975 h 4496940"/>
                  <a:gd name="connsiteX59" fmla="*/ 1754527 w 4519987"/>
                  <a:gd name="connsiteY59" fmla="*/ 4352925 h 4496940"/>
                  <a:gd name="connsiteX60" fmla="*/ 1687852 w 4519987"/>
                  <a:gd name="connsiteY60" fmla="*/ 4343400 h 4496940"/>
                  <a:gd name="connsiteX61" fmla="*/ 1573552 w 4519987"/>
                  <a:gd name="connsiteY61" fmla="*/ 4305300 h 4496940"/>
                  <a:gd name="connsiteX62" fmla="*/ 1402102 w 4519987"/>
                  <a:gd name="connsiteY62" fmla="*/ 4276725 h 4496940"/>
                  <a:gd name="connsiteX63" fmla="*/ 1287802 w 4519987"/>
                  <a:gd name="connsiteY63" fmla="*/ 4229100 h 4496940"/>
                  <a:gd name="connsiteX64" fmla="*/ 1221127 w 4519987"/>
                  <a:gd name="connsiteY64" fmla="*/ 4200525 h 4496940"/>
                  <a:gd name="connsiteX65" fmla="*/ 1144927 w 4519987"/>
                  <a:gd name="connsiteY65" fmla="*/ 4171950 h 4496940"/>
                  <a:gd name="connsiteX66" fmla="*/ 1087777 w 4519987"/>
                  <a:gd name="connsiteY66" fmla="*/ 4143375 h 4496940"/>
                  <a:gd name="connsiteX67" fmla="*/ 1030627 w 4519987"/>
                  <a:gd name="connsiteY67" fmla="*/ 4124325 h 4496940"/>
                  <a:gd name="connsiteX68" fmla="*/ 925852 w 4519987"/>
                  <a:gd name="connsiteY68" fmla="*/ 4067175 h 4496940"/>
                  <a:gd name="connsiteX69" fmla="*/ 830602 w 4519987"/>
                  <a:gd name="connsiteY69" fmla="*/ 3981450 h 4496940"/>
                  <a:gd name="connsiteX70" fmla="*/ 763927 w 4519987"/>
                  <a:gd name="connsiteY70" fmla="*/ 3914775 h 4496940"/>
                  <a:gd name="connsiteX71" fmla="*/ 725827 w 4519987"/>
                  <a:gd name="connsiteY71" fmla="*/ 3876675 h 4496940"/>
                  <a:gd name="connsiteX72" fmla="*/ 697252 w 4519987"/>
                  <a:gd name="connsiteY72" fmla="*/ 3838575 h 4496940"/>
                  <a:gd name="connsiteX73" fmla="*/ 640102 w 4519987"/>
                  <a:gd name="connsiteY73" fmla="*/ 3781425 h 4496940"/>
                  <a:gd name="connsiteX74" fmla="*/ 611527 w 4519987"/>
                  <a:gd name="connsiteY74" fmla="*/ 3733800 h 4496940"/>
                  <a:gd name="connsiteX75" fmla="*/ 554377 w 4519987"/>
                  <a:gd name="connsiteY75" fmla="*/ 3657600 h 4496940"/>
                  <a:gd name="connsiteX76" fmla="*/ 525802 w 4519987"/>
                  <a:gd name="connsiteY76" fmla="*/ 3609975 h 4496940"/>
                  <a:gd name="connsiteX77" fmla="*/ 497227 w 4519987"/>
                  <a:gd name="connsiteY77" fmla="*/ 3552825 h 4496940"/>
                  <a:gd name="connsiteX78" fmla="*/ 440077 w 4519987"/>
                  <a:gd name="connsiteY78" fmla="*/ 3495675 h 4496940"/>
                  <a:gd name="connsiteX79" fmla="*/ 411502 w 4519987"/>
                  <a:gd name="connsiteY79" fmla="*/ 3448050 h 4496940"/>
                  <a:gd name="connsiteX80" fmla="*/ 278152 w 4519987"/>
                  <a:gd name="connsiteY80" fmla="*/ 3257550 h 4496940"/>
                  <a:gd name="connsiteX81" fmla="*/ 249577 w 4519987"/>
                  <a:gd name="connsiteY81" fmla="*/ 3200400 h 4496940"/>
                  <a:gd name="connsiteX82" fmla="*/ 240052 w 4519987"/>
                  <a:gd name="connsiteY82" fmla="*/ 3162300 h 4496940"/>
                  <a:gd name="connsiteX83" fmla="*/ 221002 w 4519987"/>
                  <a:gd name="connsiteY83" fmla="*/ 3105150 h 4496940"/>
                  <a:gd name="connsiteX84" fmla="*/ 173377 w 4519987"/>
                  <a:gd name="connsiteY84" fmla="*/ 3019425 h 4496940"/>
                  <a:gd name="connsiteX85" fmla="*/ 144802 w 4519987"/>
                  <a:gd name="connsiteY85" fmla="*/ 2924175 h 4496940"/>
                  <a:gd name="connsiteX86" fmla="*/ 68602 w 4519987"/>
                  <a:gd name="connsiteY86" fmla="*/ 2724150 h 4496940"/>
                  <a:gd name="connsiteX87" fmla="*/ 49552 w 4519987"/>
                  <a:gd name="connsiteY87" fmla="*/ 2638425 h 4496940"/>
                  <a:gd name="connsiteX88" fmla="*/ 40027 w 4519987"/>
                  <a:gd name="connsiteY88" fmla="*/ 2562225 h 4496940"/>
                  <a:gd name="connsiteX89" fmla="*/ 30502 w 4519987"/>
                  <a:gd name="connsiteY89" fmla="*/ 2514600 h 4496940"/>
                  <a:gd name="connsiteX90" fmla="*/ 11452 w 4519987"/>
                  <a:gd name="connsiteY90" fmla="*/ 2400300 h 4496940"/>
                  <a:gd name="connsiteX91" fmla="*/ 20977 w 4519987"/>
                  <a:gd name="connsiteY91" fmla="*/ 1905000 h 4496940"/>
                  <a:gd name="connsiteX92" fmla="*/ 30502 w 4519987"/>
                  <a:gd name="connsiteY92" fmla="*/ 1838325 h 4496940"/>
                  <a:gd name="connsiteX93" fmla="*/ 49552 w 4519987"/>
                  <a:gd name="connsiteY93" fmla="*/ 1781175 h 4496940"/>
                  <a:gd name="connsiteX94" fmla="*/ 59077 w 4519987"/>
                  <a:gd name="connsiteY94" fmla="*/ 1743075 h 4496940"/>
                  <a:gd name="connsiteX95" fmla="*/ 78127 w 4519987"/>
                  <a:gd name="connsiteY95" fmla="*/ 1685925 h 4496940"/>
                  <a:gd name="connsiteX96" fmla="*/ 87652 w 4519987"/>
                  <a:gd name="connsiteY96" fmla="*/ 1638300 h 4496940"/>
                  <a:gd name="connsiteX97" fmla="*/ 106702 w 4519987"/>
                  <a:gd name="connsiteY97" fmla="*/ 1590675 h 4496940"/>
                  <a:gd name="connsiteX98" fmla="*/ 135277 w 4519987"/>
                  <a:gd name="connsiteY98" fmla="*/ 1504950 h 4496940"/>
                  <a:gd name="connsiteX99" fmla="*/ 154327 w 4519987"/>
                  <a:gd name="connsiteY99" fmla="*/ 1419225 h 4496940"/>
                  <a:gd name="connsiteX100" fmla="*/ 230527 w 4519987"/>
                  <a:gd name="connsiteY100" fmla="*/ 1276350 h 4496940"/>
                  <a:gd name="connsiteX101" fmla="*/ 240052 w 4519987"/>
                  <a:gd name="connsiteY101" fmla="*/ 1247775 h 4496940"/>
                  <a:gd name="connsiteX102" fmla="*/ 268627 w 4519987"/>
                  <a:gd name="connsiteY102" fmla="*/ 1200150 h 4496940"/>
                  <a:gd name="connsiteX103" fmla="*/ 287677 w 4519987"/>
                  <a:gd name="connsiteY103" fmla="*/ 1152525 h 4496940"/>
                  <a:gd name="connsiteX104" fmla="*/ 316252 w 4519987"/>
                  <a:gd name="connsiteY104" fmla="*/ 1114425 h 4496940"/>
                  <a:gd name="connsiteX105" fmla="*/ 363877 w 4519987"/>
                  <a:gd name="connsiteY105" fmla="*/ 1038225 h 4496940"/>
                  <a:gd name="connsiteX106" fmla="*/ 382927 w 4519987"/>
                  <a:gd name="connsiteY106" fmla="*/ 1009650 h 4496940"/>
                  <a:gd name="connsiteX107" fmla="*/ 440077 w 4519987"/>
                  <a:gd name="connsiteY107" fmla="*/ 904875 h 4496940"/>
                  <a:gd name="connsiteX108" fmla="*/ 478177 w 4519987"/>
                  <a:gd name="connsiteY108" fmla="*/ 857250 h 4496940"/>
                  <a:gd name="connsiteX109" fmla="*/ 497227 w 4519987"/>
                  <a:gd name="connsiteY109" fmla="*/ 828675 h 4496940"/>
                  <a:gd name="connsiteX110" fmla="*/ 535327 w 4519987"/>
                  <a:gd name="connsiteY110" fmla="*/ 800100 h 4496940"/>
                  <a:gd name="connsiteX111" fmla="*/ 602002 w 4519987"/>
                  <a:gd name="connsiteY111" fmla="*/ 733425 h 4496940"/>
                  <a:gd name="connsiteX112" fmla="*/ 668677 w 4519987"/>
                  <a:gd name="connsiteY112" fmla="*/ 676275 h 4496940"/>
                  <a:gd name="connsiteX113" fmla="*/ 697252 w 4519987"/>
                  <a:gd name="connsiteY113" fmla="*/ 657225 h 4496940"/>
                  <a:gd name="connsiteX114" fmla="*/ 840127 w 4519987"/>
                  <a:gd name="connsiteY114" fmla="*/ 533400 h 4496940"/>
                  <a:gd name="connsiteX115" fmla="*/ 887752 w 4519987"/>
                  <a:gd name="connsiteY115" fmla="*/ 504825 h 4496940"/>
                  <a:gd name="connsiteX116" fmla="*/ 1167152 w 4519987"/>
                  <a:gd name="connsiteY116" fmla="*/ 311150 h 4496940"/>
                  <a:gd name="connsiteX117" fmla="*/ 1268752 w 4519987"/>
                  <a:gd name="connsiteY117" fmla="*/ 285750 h 4496940"/>
                  <a:gd name="connsiteX118" fmla="*/ 1411627 w 4519987"/>
                  <a:gd name="connsiteY118" fmla="*/ 190500 h 4496940"/>
                  <a:gd name="connsiteX119" fmla="*/ 1449727 w 4519987"/>
                  <a:gd name="connsiteY119" fmla="*/ 161925 h 4496940"/>
                  <a:gd name="connsiteX120" fmla="*/ 1525927 w 4519987"/>
                  <a:gd name="connsiteY120" fmla="*/ 152400 h 4496940"/>
                  <a:gd name="connsiteX121" fmla="*/ 1583077 w 4519987"/>
                  <a:gd name="connsiteY121" fmla="*/ 142875 h 4496940"/>
                  <a:gd name="connsiteX122" fmla="*/ 1716427 w 4519987"/>
                  <a:gd name="connsiteY122" fmla="*/ 123825 h 4496940"/>
                  <a:gd name="connsiteX123" fmla="*/ 1811677 w 4519987"/>
                  <a:gd name="connsiteY123" fmla="*/ 114300 h 4496940"/>
                  <a:gd name="connsiteX124" fmla="*/ 1859302 w 4519987"/>
                  <a:gd name="connsiteY124" fmla="*/ 104775 h 4496940"/>
                  <a:gd name="connsiteX125" fmla="*/ 1916452 w 4519987"/>
                  <a:gd name="connsiteY125" fmla="*/ 95250 h 4496940"/>
                  <a:gd name="connsiteX126" fmla="*/ 2030752 w 4519987"/>
                  <a:gd name="connsiteY126" fmla="*/ 66675 h 4496940"/>
                  <a:gd name="connsiteX127" fmla="*/ 2097427 w 4519987"/>
                  <a:gd name="connsiteY127" fmla="*/ 47625 h 4496940"/>
                  <a:gd name="connsiteX128" fmla="*/ 2164102 w 4519987"/>
                  <a:gd name="connsiteY128" fmla="*/ 38100 h 4496940"/>
                  <a:gd name="connsiteX129" fmla="*/ 2392702 w 4519987"/>
                  <a:gd name="connsiteY12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621427 w 4519987"/>
                  <a:gd name="connsiteY37" fmla="*/ 4038600 h 4496940"/>
                  <a:gd name="connsiteX38" fmla="*/ 3554752 w 4519987"/>
                  <a:gd name="connsiteY38" fmla="*/ 4095750 h 4496940"/>
                  <a:gd name="connsiteX39" fmla="*/ 3516652 w 4519987"/>
                  <a:gd name="connsiteY39" fmla="*/ 4114800 h 4496940"/>
                  <a:gd name="connsiteX40" fmla="*/ 3497602 w 4519987"/>
                  <a:gd name="connsiteY40" fmla="*/ 4143375 h 4496940"/>
                  <a:gd name="connsiteX41" fmla="*/ 3383302 w 4519987"/>
                  <a:gd name="connsiteY41" fmla="*/ 4210050 h 4496940"/>
                  <a:gd name="connsiteX42" fmla="*/ 3335677 w 4519987"/>
                  <a:gd name="connsiteY42" fmla="*/ 4238625 h 4496940"/>
                  <a:gd name="connsiteX43" fmla="*/ 3288052 w 4519987"/>
                  <a:gd name="connsiteY43" fmla="*/ 4248150 h 4496940"/>
                  <a:gd name="connsiteX44" fmla="*/ 3240427 w 4519987"/>
                  <a:gd name="connsiteY44" fmla="*/ 4267200 h 4496940"/>
                  <a:gd name="connsiteX45" fmla="*/ 3068977 w 4519987"/>
                  <a:gd name="connsiteY45" fmla="*/ 4286250 h 4496940"/>
                  <a:gd name="connsiteX46" fmla="*/ 2935627 w 4519987"/>
                  <a:gd name="connsiteY46" fmla="*/ 4333875 h 4496940"/>
                  <a:gd name="connsiteX47" fmla="*/ 2811802 w 4519987"/>
                  <a:gd name="connsiteY47" fmla="*/ 4371975 h 4496940"/>
                  <a:gd name="connsiteX48" fmla="*/ 2745127 w 4519987"/>
                  <a:gd name="connsiteY48" fmla="*/ 4410075 h 4496940"/>
                  <a:gd name="connsiteX49" fmla="*/ 2697502 w 4519987"/>
                  <a:gd name="connsiteY49" fmla="*/ 4429125 h 4496940"/>
                  <a:gd name="connsiteX50" fmla="*/ 2640352 w 4519987"/>
                  <a:gd name="connsiteY50" fmla="*/ 4457700 h 4496940"/>
                  <a:gd name="connsiteX51" fmla="*/ 2583202 w 4519987"/>
                  <a:gd name="connsiteY51" fmla="*/ 4467225 h 4496940"/>
                  <a:gd name="connsiteX52" fmla="*/ 2545102 w 4519987"/>
                  <a:gd name="connsiteY52" fmla="*/ 4486275 h 4496940"/>
                  <a:gd name="connsiteX53" fmla="*/ 2306977 w 4519987"/>
                  <a:gd name="connsiteY53" fmla="*/ 4476750 h 4496940"/>
                  <a:gd name="connsiteX54" fmla="*/ 2202202 w 4519987"/>
                  <a:gd name="connsiteY54" fmla="*/ 4457700 h 4496940"/>
                  <a:gd name="connsiteX55" fmla="*/ 2126002 w 4519987"/>
                  <a:gd name="connsiteY55" fmla="*/ 4429125 h 4496940"/>
                  <a:gd name="connsiteX56" fmla="*/ 1935502 w 4519987"/>
                  <a:gd name="connsiteY56" fmla="*/ 4400550 h 4496940"/>
                  <a:gd name="connsiteX57" fmla="*/ 1821202 w 4519987"/>
                  <a:gd name="connsiteY57" fmla="*/ 4371975 h 4496940"/>
                  <a:gd name="connsiteX58" fmla="*/ 1754527 w 4519987"/>
                  <a:gd name="connsiteY58" fmla="*/ 4352925 h 4496940"/>
                  <a:gd name="connsiteX59" fmla="*/ 1687852 w 4519987"/>
                  <a:gd name="connsiteY59" fmla="*/ 4343400 h 4496940"/>
                  <a:gd name="connsiteX60" fmla="*/ 1573552 w 4519987"/>
                  <a:gd name="connsiteY60" fmla="*/ 4305300 h 4496940"/>
                  <a:gd name="connsiteX61" fmla="*/ 1402102 w 4519987"/>
                  <a:gd name="connsiteY61" fmla="*/ 4276725 h 4496940"/>
                  <a:gd name="connsiteX62" fmla="*/ 1287802 w 4519987"/>
                  <a:gd name="connsiteY62" fmla="*/ 4229100 h 4496940"/>
                  <a:gd name="connsiteX63" fmla="*/ 1221127 w 4519987"/>
                  <a:gd name="connsiteY63" fmla="*/ 4200525 h 4496940"/>
                  <a:gd name="connsiteX64" fmla="*/ 1144927 w 4519987"/>
                  <a:gd name="connsiteY64" fmla="*/ 4171950 h 4496940"/>
                  <a:gd name="connsiteX65" fmla="*/ 1087777 w 4519987"/>
                  <a:gd name="connsiteY65" fmla="*/ 4143375 h 4496940"/>
                  <a:gd name="connsiteX66" fmla="*/ 1030627 w 4519987"/>
                  <a:gd name="connsiteY66" fmla="*/ 4124325 h 4496940"/>
                  <a:gd name="connsiteX67" fmla="*/ 925852 w 4519987"/>
                  <a:gd name="connsiteY67" fmla="*/ 4067175 h 4496940"/>
                  <a:gd name="connsiteX68" fmla="*/ 830602 w 4519987"/>
                  <a:gd name="connsiteY68" fmla="*/ 3981450 h 4496940"/>
                  <a:gd name="connsiteX69" fmla="*/ 763927 w 4519987"/>
                  <a:gd name="connsiteY69" fmla="*/ 3914775 h 4496940"/>
                  <a:gd name="connsiteX70" fmla="*/ 725827 w 4519987"/>
                  <a:gd name="connsiteY70" fmla="*/ 3876675 h 4496940"/>
                  <a:gd name="connsiteX71" fmla="*/ 697252 w 4519987"/>
                  <a:gd name="connsiteY71" fmla="*/ 3838575 h 4496940"/>
                  <a:gd name="connsiteX72" fmla="*/ 640102 w 4519987"/>
                  <a:gd name="connsiteY72" fmla="*/ 3781425 h 4496940"/>
                  <a:gd name="connsiteX73" fmla="*/ 611527 w 4519987"/>
                  <a:gd name="connsiteY73" fmla="*/ 3733800 h 4496940"/>
                  <a:gd name="connsiteX74" fmla="*/ 554377 w 4519987"/>
                  <a:gd name="connsiteY74" fmla="*/ 3657600 h 4496940"/>
                  <a:gd name="connsiteX75" fmla="*/ 525802 w 4519987"/>
                  <a:gd name="connsiteY75" fmla="*/ 3609975 h 4496940"/>
                  <a:gd name="connsiteX76" fmla="*/ 497227 w 4519987"/>
                  <a:gd name="connsiteY76" fmla="*/ 3552825 h 4496940"/>
                  <a:gd name="connsiteX77" fmla="*/ 440077 w 4519987"/>
                  <a:gd name="connsiteY77" fmla="*/ 3495675 h 4496940"/>
                  <a:gd name="connsiteX78" fmla="*/ 411502 w 4519987"/>
                  <a:gd name="connsiteY78" fmla="*/ 3448050 h 4496940"/>
                  <a:gd name="connsiteX79" fmla="*/ 278152 w 4519987"/>
                  <a:gd name="connsiteY79" fmla="*/ 3257550 h 4496940"/>
                  <a:gd name="connsiteX80" fmla="*/ 249577 w 4519987"/>
                  <a:gd name="connsiteY80" fmla="*/ 3200400 h 4496940"/>
                  <a:gd name="connsiteX81" fmla="*/ 240052 w 4519987"/>
                  <a:gd name="connsiteY81" fmla="*/ 3162300 h 4496940"/>
                  <a:gd name="connsiteX82" fmla="*/ 221002 w 4519987"/>
                  <a:gd name="connsiteY82" fmla="*/ 3105150 h 4496940"/>
                  <a:gd name="connsiteX83" fmla="*/ 173377 w 4519987"/>
                  <a:gd name="connsiteY83" fmla="*/ 3019425 h 4496940"/>
                  <a:gd name="connsiteX84" fmla="*/ 144802 w 4519987"/>
                  <a:gd name="connsiteY84" fmla="*/ 2924175 h 4496940"/>
                  <a:gd name="connsiteX85" fmla="*/ 68602 w 4519987"/>
                  <a:gd name="connsiteY85" fmla="*/ 2724150 h 4496940"/>
                  <a:gd name="connsiteX86" fmla="*/ 49552 w 4519987"/>
                  <a:gd name="connsiteY86" fmla="*/ 2638425 h 4496940"/>
                  <a:gd name="connsiteX87" fmla="*/ 40027 w 4519987"/>
                  <a:gd name="connsiteY87" fmla="*/ 2562225 h 4496940"/>
                  <a:gd name="connsiteX88" fmla="*/ 30502 w 4519987"/>
                  <a:gd name="connsiteY88" fmla="*/ 2514600 h 4496940"/>
                  <a:gd name="connsiteX89" fmla="*/ 11452 w 4519987"/>
                  <a:gd name="connsiteY89" fmla="*/ 2400300 h 4496940"/>
                  <a:gd name="connsiteX90" fmla="*/ 20977 w 4519987"/>
                  <a:gd name="connsiteY90" fmla="*/ 1905000 h 4496940"/>
                  <a:gd name="connsiteX91" fmla="*/ 30502 w 4519987"/>
                  <a:gd name="connsiteY91" fmla="*/ 1838325 h 4496940"/>
                  <a:gd name="connsiteX92" fmla="*/ 49552 w 4519987"/>
                  <a:gd name="connsiteY92" fmla="*/ 1781175 h 4496940"/>
                  <a:gd name="connsiteX93" fmla="*/ 59077 w 4519987"/>
                  <a:gd name="connsiteY93" fmla="*/ 1743075 h 4496940"/>
                  <a:gd name="connsiteX94" fmla="*/ 78127 w 4519987"/>
                  <a:gd name="connsiteY94" fmla="*/ 1685925 h 4496940"/>
                  <a:gd name="connsiteX95" fmla="*/ 87652 w 4519987"/>
                  <a:gd name="connsiteY95" fmla="*/ 1638300 h 4496940"/>
                  <a:gd name="connsiteX96" fmla="*/ 106702 w 4519987"/>
                  <a:gd name="connsiteY96" fmla="*/ 1590675 h 4496940"/>
                  <a:gd name="connsiteX97" fmla="*/ 135277 w 4519987"/>
                  <a:gd name="connsiteY97" fmla="*/ 1504950 h 4496940"/>
                  <a:gd name="connsiteX98" fmla="*/ 154327 w 4519987"/>
                  <a:gd name="connsiteY98" fmla="*/ 1419225 h 4496940"/>
                  <a:gd name="connsiteX99" fmla="*/ 230527 w 4519987"/>
                  <a:gd name="connsiteY99" fmla="*/ 1276350 h 4496940"/>
                  <a:gd name="connsiteX100" fmla="*/ 240052 w 4519987"/>
                  <a:gd name="connsiteY100" fmla="*/ 1247775 h 4496940"/>
                  <a:gd name="connsiteX101" fmla="*/ 268627 w 4519987"/>
                  <a:gd name="connsiteY101" fmla="*/ 1200150 h 4496940"/>
                  <a:gd name="connsiteX102" fmla="*/ 287677 w 4519987"/>
                  <a:gd name="connsiteY102" fmla="*/ 1152525 h 4496940"/>
                  <a:gd name="connsiteX103" fmla="*/ 316252 w 4519987"/>
                  <a:gd name="connsiteY103" fmla="*/ 1114425 h 4496940"/>
                  <a:gd name="connsiteX104" fmla="*/ 363877 w 4519987"/>
                  <a:gd name="connsiteY104" fmla="*/ 1038225 h 4496940"/>
                  <a:gd name="connsiteX105" fmla="*/ 382927 w 4519987"/>
                  <a:gd name="connsiteY105" fmla="*/ 1009650 h 4496940"/>
                  <a:gd name="connsiteX106" fmla="*/ 440077 w 4519987"/>
                  <a:gd name="connsiteY106" fmla="*/ 904875 h 4496940"/>
                  <a:gd name="connsiteX107" fmla="*/ 478177 w 4519987"/>
                  <a:gd name="connsiteY107" fmla="*/ 857250 h 4496940"/>
                  <a:gd name="connsiteX108" fmla="*/ 497227 w 4519987"/>
                  <a:gd name="connsiteY108" fmla="*/ 828675 h 4496940"/>
                  <a:gd name="connsiteX109" fmla="*/ 535327 w 4519987"/>
                  <a:gd name="connsiteY109" fmla="*/ 800100 h 4496940"/>
                  <a:gd name="connsiteX110" fmla="*/ 602002 w 4519987"/>
                  <a:gd name="connsiteY110" fmla="*/ 733425 h 4496940"/>
                  <a:gd name="connsiteX111" fmla="*/ 668677 w 4519987"/>
                  <a:gd name="connsiteY111" fmla="*/ 676275 h 4496940"/>
                  <a:gd name="connsiteX112" fmla="*/ 697252 w 4519987"/>
                  <a:gd name="connsiteY112" fmla="*/ 657225 h 4496940"/>
                  <a:gd name="connsiteX113" fmla="*/ 840127 w 4519987"/>
                  <a:gd name="connsiteY113" fmla="*/ 533400 h 4496940"/>
                  <a:gd name="connsiteX114" fmla="*/ 887752 w 4519987"/>
                  <a:gd name="connsiteY114" fmla="*/ 504825 h 4496940"/>
                  <a:gd name="connsiteX115" fmla="*/ 1167152 w 4519987"/>
                  <a:gd name="connsiteY115" fmla="*/ 311150 h 4496940"/>
                  <a:gd name="connsiteX116" fmla="*/ 1268752 w 4519987"/>
                  <a:gd name="connsiteY116" fmla="*/ 285750 h 4496940"/>
                  <a:gd name="connsiteX117" fmla="*/ 1411627 w 4519987"/>
                  <a:gd name="connsiteY117" fmla="*/ 190500 h 4496940"/>
                  <a:gd name="connsiteX118" fmla="*/ 1449727 w 4519987"/>
                  <a:gd name="connsiteY118" fmla="*/ 161925 h 4496940"/>
                  <a:gd name="connsiteX119" fmla="*/ 1525927 w 4519987"/>
                  <a:gd name="connsiteY119" fmla="*/ 152400 h 4496940"/>
                  <a:gd name="connsiteX120" fmla="*/ 1583077 w 4519987"/>
                  <a:gd name="connsiteY120" fmla="*/ 142875 h 4496940"/>
                  <a:gd name="connsiteX121" fmla="*/ 1716427 w 4519987"/>
                  <a:gd name="connsiteY121" fmla="*/ 123825 h 4496940"/>
                  <a:gd name="connsiteX122" fmla="*/ 1811677 w 4519987"/>
                  <a:gd name="connsiteY122" fmla="*/ 114300 h 4496940"/>
                  <a:gd name="connsiteX123" fmla="*/ 1859302 w 4519987"/>
                  <a:gd name="connsiteY123" fmla="*/ 104775 h 4496940"/>
                  <a:gd name="connsiteX124" fmla="*/ 1916452 w 4519987"/>
                  <a:gd name="connsiteY124" fmla="*/ 95250 h 4496940"/>
                  <a:gd name="connsiteX125" fmla="*/ 2030752 w 4519987"/>
                  <a:gd name="connsiteY125" fmla="*/ 66675 h 4496940"/>
                  <a:gd name="connsiteX126" fmla="*/ 2097427 w 4519987"/>
                  <a:gd name="connsiteY126" fmla="*/ 47625 h 4496940"/>
                  <a:gd name="connsiteX127" fmla="*/ 2164102 w 4519987"/>
                  <a:gd name="connsiteY127" fmla="*/ 38100 h 4496940"/>
                  <a:gd name="connsiteX128" fmla="*/ 2392702 w 4519987"/>
                  <a:gd name="connsiteY12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621427 w 4519987"/>
                  <a:gd name="connsiteY37" fmla="*/ 4038600 h 4496940"/>
                  <a:gd name="connsiteX38" fmla="*/ 3554752 w 4519987"/>
                  <a:gd name="connsiteY38" fmla="*/ 4095750 h 4496940"/>
                  <a:gd name="connsiteX39" fmla="*/ 3516652 w 4519987"/>
                  <a:gd name="connsiteY39" fmla="*/ 4114800 h 4496940"/>
                  <a:gd name="connsiteX40" fmla="*/ 3383302 w 4519987"/>
                  <a:gd name="connsiteY40" fmla="*/ 4210050 h 4496940"/>
                  <a:gd name="connsiteX41" fmla="*/ 3335677 w 4519987"/>
                  <a:gd name="connsiteY41" fmla="*/ 4238625 h 4496940"/>
                  <a:gd name="connsiteX42" fmla="*/ 3288052 w 4519987"/>
                  <a:gd name="connsiteY42" fmla="*/ 4248150 h 4496940"/>
                  <a:gd name="connsiteX43" fmla="*/ 3240427 w 4519987"/>
                  <a:gd name="connsiteY43" fmla="*/ 4267200 h 4496940"/>
                  <a:gd name="connsiteX44" fmla="*/ 3068977 w 4519987"/>
                  <a:gd name="connsiteY44" fmla="*/ 4286250 h 4496940"/>
                  <a:gd name="connsiteX45" fmla="*/ 2935627 w 4519987"/>
                  <a:gd name="connsiteY45" fmla="*/ 4333875 h 4496940"/>
                  <a:gd name="connsiteX46" fmla="*/ 2811802 w 4519987"/>
                  <a:gd name="connsiteY46" fmla="*/ 4371975 h 4496940"/>
                  <a:gd name="connsiteX47" fmla="*/ 2745127 w 4519987"/>
                  <a:gd name="connsiteY47" fmla="*/ 4410075 h 4496940"/>
                  <a:gd name="connsiteX48" fmla="*/ 2697502 w 4519987"/>
                  <a:gd name="connsiteY48" fmla="*/ 4429125 h 4496940"/>
                  <a:gd name="connsiteX49" fmla="*/ 2640352 w 4519987"/>
                  <a:gd name="connsiteY49" fmla="*/ 4457700 h 4496940"/>
                  <a:gd name="connsiteX50" fmla="*/ 2583202 w 4519987"/>
                  <a:gd name="connsiteY50" fmla="*/ 4467225 h 4496940"/>
                  <a:gd name="connsiteX51" fmla="*/ 2545102 w 4519987"/>
                  <a:gd name="connsiteY51" fmla="*/ 4486275 h 4496940"/>
                  <a:gd name="connsiteX52" fmla="*/ 2306977 w 4519987"/>
                  <a:gd name="connsiteY52" fmla="*/ 4476750 h 4496940"/>
                  <a:gd name="connsiteX53" fmla="*/ 2202202 w 4519987"/>
                  <a:gd name="connsiteY53" fmla="*/ 4457700 h 4496940"/>
                  <a:gd name="connsiteX54" fmla="*/ 2126002 w 4519987"/>
                  <a:gd name="connsiteY54" fmla="*/ 4429125 h 4496940"/>
                  <a:gd name="connsiteX55" fmla="*/ 1935502 w 4519987"/>
                  <a:gd name="connsiteY55" fmla="*/ 4400550 h 4496940"/>
                  <a:gd name="connsiteX56" fmla="*/ 1821202 w 4519987"/>
                  <a:gd name="connsiteY56" fmla="*/ 4371975 h 4496940"/>
                  <a:gd name="connsiteX57" fmla="*/ 1754527 w 4519987"/>
                  <a:gd name="connsiteY57" fmla="*/ 4352925 h 4496940"/>
                  <a:gd name="connsiteX58" fmla="*/ 1687852 w 4519987"/>
                  <a:gd name="connsiteY58" fmla="*/ 4343400 h 4496940"/>
                  <a:gd name="connsiteX59" fmla="*/ 1573552 w 4519987"/>
                  <a:gd name="connsiteY59" fmla="*/ 4305300 h 4496940"/>
                  <a:gd name="connsiteX60" fmla="*/ 1402102 w 4519987"/>
                  <a:gd name="connsiteY60" fmla="*/ 4276725 h 4496940"/>
                  <a:gd name="connsiteX61" fmla="*/ 1287802 w 4519987"/>
                  <a:gd name="connsiteY61" fmla="*/ 4229100 h 4496940"/>
                  <a:gd name="connsiteX62" fmla="*/ 1221127 w 4519987"/>
                  <a:gd name="connsiteY62" fmla="*/ 4200525 h 4496940"/>
                  <a:gd name="connsiteX63" fmla="*/ 1144927 w 4519987"/>
                  <a:gd name="connsiteY63" fmla="*/ 4171950 h 4496940"/>
                  <a:gd name="connsiteX64" fmla="*/ 1087777 w 4519987"/>
                  <a:gd name="connsiteY64" fmla="*/ 4143375 h 4496940"/>
                  <a:gd name="connsiteX65" fmla="*/ 1030627 w 4519987"/>
                  <a:gd name="connsiteY65" fmla="*/ 4124325 h 4496940"/>
                  <a:gd name="connsiteX66" fmla="*/ 925852 w 4519987"/>
                  <a:gd name="connsiteY66" fmla="*/ 4067175 h 4496940"/>
                  <a:gd name="connsiteX67" fmla="*/ 830602 w 4519987"/>
                  <a:gd name="connsiteY67" fmla="*/ 3981450 h 4496940"/>
                  <a:gd name="connsiteX68" fmla="*/ 763927 w 4519987"/>
                  <a:gd name="connsiteY68" fmla="*/ 3914775 h 4496940"/>
                  <a:gd name="connsiteX69" fmla="*/ 725827 w 4519987"/>
                  <a:gd name="connsiteY69" fmla="*/ 3876675 h 4496940"/>
                  <a:gd name="connsiteX70" fmla="*/ 697252 w 4519987"/>
                  <a:gd name="connsiteY70" fmla="*/ 3838575 h 4496940"/>
                  <a:gd name="connsiteX71" fmla="*/ 640102 w 4519987"/>
                  <a:gd name="connsiteY71" fmla="*/ 3781425 h 4496940"/>
                  <a:gd name="connsiteX72" fmla="*/ 611527 w 4519987"/>
                  <a:gd name="connsiteY72" fmla="*/ 3733800 h 4496940"/>
                  <a:gd name="connsiteX73" fmla="*/ 554377 w 4519987"/>
                  <a:gd name="connsiteY73" fmla="*/ 3657600 h 4496940"/>
                  <a:gd name="connsiteX74" fmla="*/ 525802 w 4519987"/>
                  <a:gd name="connsiteY74" fmla="*/ 3609975 h 4496940"/>
                  <a:gd name="connsiteX75" fmla="*/ 497227 w 4519987"/>
                  <a:gd name="connsiteY75" fmla="*/ 3552825 h 4496940"/>
                  <a:gd name="connsiteX76" fmla="*/ 440077 w 4519987"/>
                  <a:gd name="connsiteY76" fmla="*/ 3495675 h 4496940"/>
                  <a:gd name="connsiteX77" fmla="*/ 411502 w 4519987"/>
                  <a:gd name="connsiteY77" fmla="*/ 3448050 h 4496940"/>
                  <a:gd name="connsiteX78" fmla="*/ 278152 w 4519987"/>
                  <a:gd name="connsiteY78" fmla="*/ 3257550 h 4496940"/>
                  <a:gd name="connsiteX79" fmla="*/ 249577 w 4519987"/>
                  <a:gd name="connsiteY79" fmla="*/ 3200400 h 4496940"/>
                  <a:gd name="connsiteX80" fmla="*/ 240052 w 4519987"/>
                  <a:gd name="connsiteY80" fmla="*/ 3162300 h 4496940"/>
                  <a:gd name="connsiteX81" fmla="*/ 221002 w 4519987"/>
                  <a:gd name="connsiteY81" fmla="*/ 3105150 h 4496940"/>
                  <a:gd name="connsiteX82" fmla="*/ 173377 w 4519987"/>
                  <a:gd name="connsiteY82" fmla="*/ 3019425 h 4496940"/>
                  <a:gd name="connsiteX83" fmla="*/ 144802 w 4519987"/>
                  <a:gd name="connsiteY83" fmla="*/ 2924175 h 4496940"/>
                  <a:gd name="connsiteX84" fmla="*/ 68602 w 4519987"/>
                  <a:gd name="connsiteY84" fmla="*/ 2724150 h 4496940"/>
                  <a:gd name="connsiteX85" fmla="*/ 49552 w 4519987"/>
                  <a:gd name="connsiteY85" fmla="*/ 2638425 h 4496940"/>
                  <a:gd name="connsiteX86" fmla="*/ 40027 w 4519987"/>
                  <a:gd name="connsiteY86" fmla="*/ 2562225 h 4496940"/>
                  <a:gd name="connsiteX87" fmla="*/ 30502 w 4519987"/>
                  <a:gd name="connsiteY87" fmla="*/ 2514600 h 4496940"/>
                  <a:gd name="connsiteX88" fmla="*/ 11452 w 4519987"/>
                  <a:gd name="connsiteY88" fmla="*/ 2400300 h 4496940"/>
                  <a:gd name="connsiteX89" fmla="*/ 20977 w 4519987"/>
                  <a:gd name="connsiteY89" fmla="*/ 1905000 h 4496940"/>
                  <a:gd name="connsiteX90" fmla="*/ 30502 w 4519987"/>
                  <a:gd name="connsiteY90" fmla="*/ 1838325 h 4496940"/>
                  <a:gd name="connsiteX91" fmla="*/ 49552 w 4519987"/>
                  <a:gd name="connsiteY91" fmla="*/ 1781175 h 4496940"/>
                  <a:gd name="connsiteX92" fmla="*/ 59077 w 4519987"/>
                  <a:gd name="connsiteY92" fmla="*/ 1743075 h 4496940"/>
                  <a:gd name="connsiteX93" fmla="*/ 78127 w 4519987"/>
                  <a:gd name="connsiteY93" fmla="*/ 1685925 h 4496940"/>
                  <a:gd name="connsiteX94" fmla="*/ 87652 w 4519987"/>
                  <a:gd name="connsiteY94" fmla="*/ 1638300 h 4496940"/>
                  <a:gd name="connsiteX95" fmla="*/ 106702 w 4519987"/>
                  <a:gd name="connsiteY95" fmla="*/ 1590675 h 4496940"/>
                  <a:gd name="connsiteX96" fmla="*/ 135277 w 4519987"/>
                  <a:gd name="connsiteY96" fmla="*/ 1504950 h 4496940"/>
                  <a:gd name="connsiteX97" fmla="*/ 154327 w 4519987"/>
                  <a:gd name="connsiteY97" fmla="*/ 1419225 h 4496940"/>
                  <a:gd name="connsiteX98" fmla="*/ 230527 w 4519987"/>
                  <a:gd name="connsiteY98" fmla="*/ 1276350 h 4496940"/>
                  <a:gd name="connsiteX99" fmla="*/ 240052 w 4519987"/>
                  <a:gd name="connsiteY99" fmla="*/ 1247775 h 4496940"/>
                  <a:gd name="connsiteX100" fmla="*/ 268627 w 4519987"/>
                  <a:gd name="connsiteY100" fmla="*/ 1200150 h 4496940"/>
                  <a:gd name="connsiteX101" fmla="*/ 287677 w 4519987"/>
                  <a:gd name="connsiteY101" fmla="*/ 1152525 h 4496940"/>
                  <a:gd name="connsiteX102" fmla="*/ 316252 w 4519987"/>
                  <a:gd name="connsiteY102" fmla="*/ 1114425 h 4496940"/>
                  <a:gd name="connsiteX103" fmla="*/ 363877 w 4519987"/>
                  <a:gd name="connsiteY103" fmla="*/ 1038225 h 4496940"/>
                  <a:gd name="connsiteX104" fmla="*/ 382927 w 4519987"/>
                  <a:gd name="connsiteY104" fmla="*/ 1009650 h 4496940"/>
                  <a:gd name="connsiteX105" fmla="*/ 440077 w 4519987"/>
                  <a:gd name="connsiteY105" fmla="*/ 904875 h 4496940"/>
                  <a:gd name="connsiteX106" fmla="*/ 478177 w 4519987"/>
                  <a:gd name="connsiteY106" fmla="*/ 857250 h 4496940"/>
                  <a:gd name="connsiteX107" fmla="*/ 497227 w 4519987"/>
                  <a:gd name="connsiteY107" fmla="*/ 828675 h 4496940"/>
                  <a:gd name="connsiteX108" fmla="*/ 535327 w 4519987"/>
                  <a:gd name="connsiteY108" fmla="*/ 800100 h 4496940"/>
                  <a:gd name="connsiteX109" fmla="*/ 602002 w 4519987"/>
                  <a:gd name="connsiteY109" fmla="*/ 733425 h 4496940"/>
                  <a:gd name="connsiteX110" fmla="*/ 668677 w 4519987"/>
                  <a:gd name="connsiteY110" fmla="*/ 676275 h 4496940"/>
                  <a:gd name="connsiteX111" fmla="*/ 697252 w 4519987"/>
                  <a:gd name="connsiteY111" fmla="*/ 657225 h 4496940"/>
                  <a:gd name="connsiteX112" fmla="*/ 840127 w 4519987"/>
                  <a:gd name="connsiteY112" fmla="*/ 533400 h 4496940"/>
                  <a:gd name="connsiteX113" fmla="*/ 887752 w 4519987"/>
                  <a:gd name="connsiteY113" fmla="*/ 504825 h 4496940"/>
                  <a:gd name="connsiteX114" fmla="*/ 1167152 w 4519987"/>
                  <a:gd name="connsiteY114" fmla="*/ 311150 h 4496940"/>
                  <a:gd name="connsiteX115" fmla="*/ 1268752 w 4519987"/>
                  <a:gd name="connsiteY115" fmla="*/ 285750 h 4496940"/>
                  <a:gd name="connsiteX116" fmla="*/ 1411627 w 4519987"/>
                  <a:gd name="connsiteY116" fmla="*/ 190500 h 4496940"/>
                  <a:gd name="connsiteX117" fmla="*/ 1449727 w 4519987"/>
                  <a:gd name="connsiteY117" fmla="*/ 161925 h 4496940"/>
                  <a:gd name="connsiteX118" fmla="*/ 1525927 w 4519987"/>
                  <a:gd name="connsiteY118" fmla="*/ 152400 h 4496940"/>
                  <a:gd name="connsiteX119" fmla="*/ 1583077 w 4519987"/>
                  <a:gd name="connsiteY119" fmla="*/ 142875 h 4496940"/>
                  <a:gd name="connsiteX120" fmla="*/ 1716427 w 4519987"/>
                  <a:gd name="connsiteY120" fmla="*/ 123825 h 4496940"/>
                  <a:gd name="connsiteX121" fmla="*/ 1811677 w 4519987"/>
                  <a:gd name="connsiteY121" fmla="*/ 114300 h 4496940"/>
                  <a:gd name="connsiteX122" fmla="*/ 1859302 w 4519987"/>
                  <a:gd name="connsiteY122" fmla="*/ 104775 h 4496940"/>
                  <a:gd name="connsiteX123" fmla="*/ 1916452 w 4519987"/>
                  <a:gd name="connsiteY123" fmla="*/ 95250 h 4496940"/>
                  <a:gd name="connsiteX124" fmla="*/ 2030752 w 4519987"/>
                  <a:gd name="connsiteY124" fmla="*/ 66675 h 4496940"/>
                  <a:gd name="connsiteX125" fmla="*/ 2097427 w 4519987"/>
                  <a:gd name="connsiteY125" fmla="*/ 47625 h 4496940"/>
                  <a:gd name="connsiteX126" fmla="*/ 2164102 w 4519987"/>
                  <a:gd name="connsiteY126" fmla="*/ 38100 h 4496940"/>
                  <a:gd name="connsiteX127" fmla="*/ 2392702 w 4519987"/>
                  <a:gd name="connsiteY12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621427 w 4519987"/>
                  <a:gd name="connsiteY37" fmla="*/ 4038600 h 4496940"/>
                  <a:gd name="connsiteX38" fmla="*/ 3554752 w 4519987"/>
                  <a:gd name="connsiteY38" fmla="*/ 4095750 h 4496940"/>
                  <a:gd name="connsiteX39" fmla="*/ 3383302 w 4519987"/>
                  <a:gd name="connsiteY39" fmla="*/ 4210050 h 4496940"/>
                  <a:gd name="connsiteX40" fmla="*/ 3335677 w 4519987"/>
                  <a:gd name="connsiteY40" fmla="*/ 4238625 h 4496940"/>
                  <a:gd name="connsiteX41" fmla="*/ 3288052 w 4519987"/>
                  <a:gd name="connsiteY41" fmla="*/ 4248150 h 4496940"/>
                  <a:gd name="connsiteX42" fmla="*/ 3240427 w 4519987"/>
                  <a:gd name="connsiteY42" fmla="*/ 4267200 h 4496940"/>
                  <a:gd name="connsiteX43" fmla="*/ 3068977 w 4519987"/>
                  <a:gd name="connsiteY43" fmla="*/ 4286250 h 4496940"/>
                  <a:gd name="connsiteX44" fmla="*/ 2935627 w 4519987"/>
                  <a:gd name="connsiteY44" fmla="*/ 4333875 h 4496940"/>
                  <a:gd name="connsiteX45" fmla="*/ 2811802 w 4519987"/>
                  <a:gd name="connsiteY45" fmla="*/ 4371975 h 4496940"/>
                  <a:gd name="connsiteX46" fmla="*/ 2745127 w 4519987"/>
                  <a:gd name="connsiteY46" fmla="*/ 4410075 h 4496940"/>
                  <a:gd name="connsiteX47" fmla="*/ 2697502 w 4519987"/>
                  <a:gd name="connsiteY47" fmla="*/ 4429125 h 4496940"/>
                  <a:gd name="connsiteX48" fmla="*/ 2640352 w 4519987"/>
                  <a:gd name="connsiteY48" fmla="*/ 4457700 h 4496940"/>
                  <a:gd name="connsiteX49" fmla="*/ 2583202 w 4519987"/>
                  <a:gd name="connsiteY49" fmla="*/ 4467225 h 4496940"/>
                  <a:gd name="connsiteX50" fmla="*/ 2545102 w 4519987"/>
                  <a:gd name="connsiteY50" fmla="*/ 4486275 h 4496940"/>
                  <a:gd name="connsiteX51" fmla="*/ 2306977 w 4519987"/>
                  <a:gd name="connsiteY51" fmla="*/ 4476750 h 4496940"/>
                  <a:gd name="connsiteX52" fmla="*/ 2202202 w 4519987"/>
                  <a:gd name="connsiteY52" fmla="*/ 4457700 h 4496940"/>
                  <a:gd name="connsiteX53" fmla="*/ 2126002 w 4519987"/>
                  <a:gd name="connsiteY53" fmla="*/ 4429125 h 4496940"/>
                  <a:gd name="connsiteX54" fmla="*/ 1935502 w 4519987"/>
                  <a:gd name="connsiteY54" fmla="*/ 4400550 h 4496940"/>
                  <a:gd name="connsiteX55" fmla="*/ 1821202 w 4519987"/>
                  <a:gd name="connsiteY55" fmla="*/ 4371975 h 4496940"/>
                  <a:gd name="connsiteX56" fmla="*/ 1754527 w 4519987"/>
                  <a:gd name="connsiteY56" fmla="*/ 4352925 h 4496940"/>
                  <a:gd name="connsiteX57" fmla="*/ 1687852 w 4519987"/>
                  <a:gd name="connsiteY57" fmla="*/ 4343400 h 4496940"/>
                  <a:gd name="connsiteX58" fmla="*/ 1573552 w 4519987"/>
                  <a:gd name="connsiteY58" fmla="*/ 4305300 h 4496940"/>
                  <a:gd name="connsiteX59" fmla="*/ 1402102 w 4519987"/>
                  <a:gd name="connsiteY59" fmla="*/ 4276725 h 4496940"/>
                  <a:gd name="connsiteX60" fmla="*/ 1287802 w 4519987"/>
                  <a:gd name="connsiteY60" fmla="*/ 4229100 h 4496940"/>
                  <a:gd name="connsiteX61" fmla="*/ 1221127 w 4519987"/>
                  <a:gd name="connsiteY61" fmla="*/ 4200525 h 4496940"/>
                  <a:gd name="connsiteX62" fmla="*/ 1144927 w 4519987"/>
                  <a:gd name="connsiteY62" fmla="*/ 4171950 h 4496940"/>
                  <a:gd name="connsiteX63" fmla="*/ 1087777 w 4519987"/>
                  <a:gd name="connsiteY63" fmla="*/ 4143375 h 4496940"/>
                  <a:gd name="connsiteX64" fmla="*/ 1030627 w 4519987"/>
                  <a:gd name="connsiteY64" fmla="*/ 4124325 h 4496940"/>
                  <a:gd name="connsiteX65" fmla="*/ 925852 w 4519987"/>
                  <a:gd name="connsiteY65" fmla="*/ 4067175 h 4496940"/>
                  <a:gd name="connsiteX66" fmla="*/ 830602 w 4519987"/>
                  <a:gd name="connsiteY66" fmla="*/ 3981450 h 4496940"/>
                  <a:gd name="connsiteX67" fmla="*/ 763927 w 4519987"/>
                  <a:gd name="connsiteY67" fmla="*/ 3914775 h 4496940"/>
                  <a:gd name="connsiteX68" fmla="*/ 725827 w 4519987"/>
                  <a:gd name="connsiteY68" fmla="*/ 3876675 h 4496940"/>
                  <a:gd name="connsiteX69" fmla="*/ 697252 w 4519987"/>
                  <a:gd name="connsiteY69" fmla="*/ 3838575 h 4496940"/>
                  <a:gd name="connsiteX70" fmla="*/ 640102 w 4519987"/>
                  <a:gd name="connsiteY70" fmla="*/ 3781425 h 4496940"/>
                  <a:gd name="connsiteX71" fmla="*/ 611527 w 4519987"/>
                  <a:gd name="connsiteY71" fmla="*/ 3733800 h 4496940"/>
                  <a:gd name="connsiteX72" fmla="*/ 554377 w 4519987"/>
                  <a:gd name="connsiteY72" fmla="*/ 3657600 h 4496940"/>
                  <a:gd name="connsiteX73" fmla="*/ 525802 w 4519987"/>
                  <a:gd name="connsiteY73" fmla="*/ 3609975 h 4496940"/>
                  <a:gd name="connsiteX74" fmla="*/ 497227 w 4519987"/>
                  <a:gd name="connsiteY74" fmla="*/ 3552825 h 4496940"/>
                  <a:gd name="connsiteX75" fmla="*/ 440077 w 4519987"/>
                  <a:gd name="connsiteY75" fmla="*/ 3495675 h 4496940"/>
                  <a:gd name="connsiteX76" fmla="*/ 411502 w 4519987"/>
                  <a:gd name="connsiteY76" fmla="*/ 3448050 h 4496940"/>
                  <a:gd name="connsiteX77" fmla="*/ 278152 w 4519987"/>
                  <a:gd name="connsiteY77" fmla="*/ 3257550 h 4496940"/>
                  <a:gd name="connsiteX78" fmla="*/ 249577 w 4519987"/>
                  <a:gd name="connsiteY78" fmla="*/ 3200400 h 4496940"/>
                  <a:gd name="connsiteX79" fmla="*/ 240052 w 4519987"/>
                  <a:gd name="connsiteY79" fmla="*/ 3162300 h 4496940"/>
                  <a:gd name="connsiteX80" fmla="*/ 221002 w 4519987"/>
                  <a:gd name="connsiteY80" fmla="*/ 3105150 h 4496940"/>
                  <a:gd name="connsiteX81" fmla="*/ 173377 w 4519987"/>
                  <a:gd name="connsiteY81" fmla="*/ 3019425 h 4496940"/>
                  <a:gd name="connsiteX82" fmla="*/ 144802 w 4519987"/>
                  <a:gd name="connsiteY82" fmla="*/ 2924175 h 4496940"/>
                  <a:gd name="connsiteX83" fmla="*/ 68602 w 4519987"/>
                  <a:gd name="connsiteY83" fmla="*/ 2724150 h 4496940"/>
                  <a:gd name="connsiteX84" fmla="*/ 49552 w 4519987"/>
                  <a:gd name="connsiteY84" fmla="*/ 2638425 h 4496940"/>
                  <a:gd name="connsiteX85" fmla="*/ 40027 w 4519987"/>
                  <a:gd name="connsiteY85" fmla="*/ 2562225 h 4496940"/>
                  <a:gd name="connsiteX86" fmla="*/ 30502 w 4519987"/>
                  <a:gd name="connsiteY86" fmla="*/ 2514600 h 4496940"/>
                  <a:gd name="connsiteX87" fmla="*/ 11452 w 4519987"/>
                  <a:gd name="connsiteY87" fmla="*/ 2400300 h 4496940"/>
                  <a:gd name="connsiteX88" fmla="*/ 20977 w 4519987"/>
                  <a:gd name="connsiteY88" fmla="*/ 1905000 h 4496940"/>
                  <a:gd name="connsiteX89" fmla="*/ 30502 w 4519987"/>
                  <a:gd name="connsiteY89" fmla="*/ 1838325 h 4496940"/>
                  <a:gd name="connsiteX90" fmla="*/ 49552 w 4519987"/>
                  <a:gd name="connsiteY90" fmla="*/ 1781175 h 4496940"/>
                  <a:gd name="connsiteX91" fmla="*/ 59077 w 4519987"/>
                  <a:gd name="connsiteY91" fmla="*/ 1743075 h 4496940"/>
                  <a:gd name="connsiteX92" fmla="*/ 78127 w 4519987"/>
                  <a:gd name="connsiteY92" fmla="*/ 1685925 h 4496940"/>
                  <a:gd name="connsiteX93" fmla="*/ 87652 w 4519987"/>
                  <a:gd name="connsiteY93" fmla="*/ 1638300 h 4496940"/>
                  <a:gd name="connsiteX94" fmla="*/ 106702 w 4519987"/>
                  <a:gd name="connsiteY94" fmla="*/ 1590675 h 4496940"/>
                  <a:gd name="connsiteX95" fmla="*/ 135277 w 4519987"/>
                  <a:gd name="connsiteY95" fmla="*/ 1504950 h 4496940"/>
                  <a:gd name="connsiteX96" fmla="*/ 154327 w 4519987"/>
                  <a:gd name="connsiteY96" fmla="*/ 1419225 h 4496940"/>
                  <a:gd name="connsiteX97" fmla="*/ 230527 w 4519987"/>
                  <a:gd name="connsiteY97" fmla="*/ 1276350 h 4496940"/>
                  <a:gd name="connsiteX98" fmla="*/ 240052 w 4519987"/>
                  <a:gd name="connsiteY98" fmla="*/ 1247775 h 4496940"/>
                  <a:gd name="connsiteX99" fmla="*/ 268627 w 4519987"/>
                  <a:gd name="connsiteY99" fmla="*/ 1200150 h 4496940"/>
                  <a:gd name="connsiteX100" fmla="*/ 287677 w 4519987"/>
                  <a:gd name="connsiteY100" fmla="*/ 1152525 h 4496940"/>
                  <a:gd name="connsiteX101" fmla="*/ 316252 w 4519987"/>
                  <a:gd name="connsiteY101" fmla="*/ 1114425 h 4496940"/>
                  <a:gd name="connsiteX102" fmla="*/ 363877 w 4519987"/>
                  <a:gd name="connsiteY102" fmla="*/ 1038225 h 4496940"/>
                  <a:gd name="connsiteX103" fmla="*/ 382927 w 4519987"/>
                  <a:gd name="connsiteY103" fmla="*/ 1009650 h 4496940"/>
                  <a:gd name="connsiteX104" fmla="*/ 440077 w 4519987"/>
                  <a:gd name="connsiteY104" fmla="*/ 904875 h 4496940"/>
                  <a:gd name="connsiteX105" fmla="*/ 478177 w 4519987"/>
                  <a:gd name="connsiteY105" fmla="*/ 857250 h 4496940"/>
                  <a:gd name="connsiteX106" fmla="*/ 497227 w 4519987"/>
                  <a:gd name="connsiteY106" fmla="*/ 828675 h 4496940"/>
                  <a:gd name="connsiteX107" fmla="*/ 535327 w 4519987"/>
                  <a:gd name="connsiteY107" fmla="*/ 800100 h 4496940"/>
                  <a:gd name="connsiteX108" fmla="*/ 602002 w 4519987"/>
                  <a:gd name="connsiteY108" fmla="*/ 733425 h 4496940"/>
                  <a:gd name="connsiteX109" fmla="*/ 668677 w 4519987"/>
                  <a:gd name="connsiteY109" fmla="*/ 676275 h 4496940"/>
                  <a:gd name="connsiteX110" fmla="*/ 697252 w 4519987"/>
                  <a:gd name="connsiteY110" fmla="*/ 657225 h 4496940"/>
                  <a:gd name="connsiteX111" fmla="*/ 840127 w 4519987"/>
                  <a:gd name="connsiteY111" fmla="*/ 533400 h 4496940"/>
                  <a:gd name="connsiteX112" fmla="*/ 887752 w 4519987"/>
                  <a:gd name="connsiteY112" fmla="*/ 504825 h 4496940"/>
                  <a:gd name="connsiteX113" fmla="*/ 1167152 w 4519987"/>
                  <a:gd name="connsiteY113" fmla="*/ 311150 h 4496940"/>
                  <a:gd name="connsiteX114" fmla="*/ 1268752 w 4519987"/>
                  <a:gd name="connsiteY114" fmla="*/ 285750 h 4496940"/>
                  <a:gd name="connsiteX115" fmla="*/ 1411627 w 4519987"/>
                  <a:gd name="connsiteY115" fmla="*/ 190500 h 4496940"/>
                  <a:gd name="connsiteX116" fmla="*/ 1449727 w 4519987"/>
                  <a:gd name="connsiteY116" fmla="*/ 161925 h 4496940"/>
                  <a:gd name="connsiteX117" fmla="*/ 1525927 w 4519987"/>
                  <a:gd name="connsiteY117" fmla="*/ 152400 h 4496940"/>
                  <a:gd name="connsiteX118" fmla="*/ 1583077 w 4519987"/>
                  <a:gd name="connsiteY118" fmla="*/ 142875 h 4496940"/>
                  <a:gd name="connsiteX119" fmla="*/ 1716427 w 4519987"/>
                  <a:gd name="connsiteY119" fmla="*/ 123825 h 4496940"/>
                  <a:gd name="connsiteX120" fmla="*/ 1811677 w 4519987"/>
                  <a:gd name="connsiteY120" fmla="*/ 114300 h 4496940"/>
                  <a:gd name="connsiteX121" fmla="*/ 1859302 w 4519987"/>
                  <a:gd name="connsiteY121" fmla="*/ 104775 h 4496940"/>
                  <a:gd name="connsiteX122" fmla="*/ 1916452 w 4519987"/>
                  <a:gd name="connsiteY122" fmla="*/ 95250 h 4496940"/>
                  <a:gd name="connsiteX123" fmla="*/ 2030752 w 4519987"/>
                  <a:gd name="connsiteY123" fmla="*/ 66675 h 4496940"/>
                  <a:gd name="connsiteX124" fmla="*/ 2097427 w 4519987"/>
                  <a:gd name="connsiteY124" fmla="*/ 47625 h 4496940"/>
                  <a:gd name="connsiteX125" fmla="*/ 2164102 w 4519987"/>
                  <a:gd name="connsiteY125" fmla="*/ 38100 h 4496940"/>
                  <a:gd name="connsiteX126" fmla="*/ 2392702 w 4519987"/>
                  <a:gd name="connsiteY12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554752 w 4519987"/>
                  <a:gd name="connsiteY37" fmla="*/ 4095750 h 4496940"/>
                  <a:gd name="connsiteX38" fmla="*/ 3383302 w 4519987"/>
                  <a:gd name="connsiteY38" fmla="*/ 4210050 h 4496940"/>
                  <a:gd name="connsiteX39" fmla="*/ 3335677 w 4519987"/>
                  <a:gd name="connsiteY39" fmla="*/ 4238625 h 4496940"/>
                  <a:gd name="connsiteX40" fmla="*/ 3288052 w 4519987"/>
                  <a:gd name="connsiteY40" fmla="*/ 4248150 h 4496940"/>
                  <a:gd name="connsiteX41" fmla="*/ 3240427 w 4519987"/>
                  <a:gd name="connsiteY41" fmla="*/ 4267200 h 4496940"/>
                  <a:gd name="connsiteX42" fmla="*/ 3068977 w 4519987"/>
                  <a:gd name="connsiteY42" fmla="*/ 4286250 h 4496940"/>
                  <a:gd name="connsiteX43" fmla="*/ 2935627 w 4519987"/>
                  <a:gd name="connsiteY43" fmla="*/ 4333875 h 4496940"/>
                  <a:gd name="connsiteX44" fmla="*/ 2811802 w 4519987"/>
                  <a:gd name="connsiteY44" fmla="*/ 4371975 h 4496940"/>
                  <a:gd name="connsiteX45" fmla="*/ 2745127 w 4519987"/>
                  <a:gd name="connsiteY45" fmla="*/ 4410075 h 4496940"/>
                  <a:gd name="connsiteX46" fmla="*/ 2697502 w 4519987"/>
                  <a:gd name="connsiteY46" fmla="*/ 4429125 h 4496940"/>
                  <a:gd name="connsiteX47" fmla="*/ 2640352 w 4519987"/>
                  <a:gd name="connsiteY47" fmla="*/ 4457700 h 4496940"/>
                  <a:gd name="connsiteX48" fmla="*/ 2583202 w 4519987"/>
                  <a:gd name="connsiteY48" fmla="*/ 4467225 h 4496940"/>
                  <a:gd name="connsiteX49" fmla="*/ 2545102 w 4519987"/>
                  <a:gd name="connsiteY49" fmla="*/ 4486275 h 4496940"/>
                  <a:gd name="connsiteX50" fmla="*/ 2306977 w 4519987"/>
                  <a:gd name="connsiteY50" fmla="*/ 4476750 h 4496940"/>
                  <a:gd name="connsiteX51" fmla="*/ 2202202 w 4519987"/>
                  <a:gd name="connsiteY51" fmla="*/ 4457700 h 4496940"/>
                  <a:gd name="connsiteX52" fmla="*/ 2126002 w 4519987"/>
                  <a:gd name="connsiteY52" fmla="*/ 4429125 h 4496940"/>
                  <a:gd name="connsiteX53" fmla="*/ 1935502 w 4519987"/>
                  <a:gd name="connsiteY53" fmla="*/ 4400550 h 4496940"/>
                  <a:gd name="connsiteX54" fmla="*/ 1821202 w 4519987"/>
                  <a:gd name="connsiteY54" fmla="*/ 4371975 h 4496940"/>
                  <a:gd name="connsiteX55" fmla="*/ 1754527 w 4519987"/>
                  <a:gd name="connsiteY55" fmla="*/ 4352925 h 4496940"/>
                  <a:gd name="connsiteX56" fmla="*/ 1687852 w 4519987"/>
                  <a:gd name="connsiteY56" fmla="*/ 4343400 h 4496940"/>
                  <a:gd name="connsiteX57" fmla="*/ 1573552 w 4519987"/>
                  <a:gd name="connsiteY57" fmla="*/ 4305300 h 4496940"/>
                  <a:gd name="connsiteX58" fmla="*/ 1402102 w 4519987"/>
                  <a:gd name="connsiteY58" fmla="*/ 4276725 h 4496940"/>
                  <a:gd name="connsiteX59" fmla="*/ 1287802 w 4519987"/>
                  <a:gd name="connsiteY59" fmla="*/ 4229100 h 4496940"/>
                  <a:gd name="connsiteX60" fmla="*/ 1221127 w 4519987"/>
                  <a:gd name="connsiteY60" fmla="*/ 4200525 h 4496940"/>
                  <a:gd name="connsiteX61" fmla="*/ 1144927 w 4519987"/>
                  <a:gd name="connsiteY61" fmla="*/ 4171950 h 4496940"/>
                  <a:gd name="connsiteX62" fmla="*/ 1087777 w 4519987"/>
                  <a:gd name="connsiteY62" fmla="*/ 4143375 h 4496940"/>
                  <a:gd name="connsiteX63" fmla="*/ 1030627 w 4519987"/>
                  <a:gd name="connsiteY63" fmla="*/ 4124325 h 4496940"/>
                  <a:gd name="connsiteX64" fmla="*/ 925852 w 4519987"/>
                  <a:gd name="connsiteY64" fmla="*/ 4067175 h 4496940"/>
                  <a:gd name="connsiteX65" fmla="*/ 830602 w 4519987"/>
                  <a:gd name="connsiteY65" fmla="*/ 3981450 h 4496940"/>
                  <a:gd name="connsiteX66" fmla="*/ 763927 w 4519987"/>
                  <a:gd name="connsiteY66" fmla="*/ 3914775 h 4496940"/>
                  <a:gd name="connsiteX67" fmla="*/ 725827 w 4519987"/>
                  <a:gd name="connsiteY67" fmla="*/ 3876675 h 4496940"/>
                  <a:gd name="connsiteX68" fmla="*/ 697252 w 4519987"/>
                  <a:gd name="connsiteY68" fmla="*/ 3838575 h 4496940"/>
                  <a:gd name="connsiteX69" fmla="*/ 640102 w 4519987"/>
                  <a:gd name="connsiteY69" fmla="*/ 3781425 h 4496940"/>
                  <a:gd name="connsiteX70" fmla="*/ 611527 w 4519987"/>
                  <a:gd name="connsiteY70" fmla="*/ 3733800 h 4496940"/>
                  <a:gd name="connsiteX71" fmla="*/ 554377 w 4519987"/>
                  <a:gd name="connsiteY71" fmla="*/ 3657600 h 4496940"/>
                  <a:gd name="connsiteX72" fmla="*/ 525802 w 4519987"/>
                  <a:gd name="connsiteY72" fmla="*/ 3609975 h 4496940"/>
                  <a:gd name="connsiteX73" fmla="*/ 497227 w 4519987"/>
                  <a:gd name="connsiteY73" fmla="*/ 3552825 h 4496940"/>
                  <a:gd name="connsiteX74" fmla="*/ 440077 w 4519987"/>
                  <a:gd name="connsiteY74" fmla="*/ 3495675 h 4496940"/>
                  <a:gd name="connsiteX75" fmla="*/ 411502 w 4519987"/>
                  <a:gd name="connsiteY75" fmla="*/ 3448050 h 4496940"/>
                  <a:gd name="connsiteX76" fmla="*/ 278152 w 4519987"/>
                  <a:gd name="connsiteY76" fmla="*/ 3257550 h 4496940"/>
                  <a:gd name="connsiteX77" fmla="*/ 249577 w 4519987"/>
                  <a:gd name="connsiteY77" fmla="*/ 3200400 h 4496940"/>
                  <a:gd name="connsiteX78" fmla="*/ 240052 w 4519987"/>
                  <a:gd name="connsiteY78" fmla="*/ 3162300 h 4496940"/>
                  <a:gd name="connsiteX79" fmla="*/ 221002 w 4519987"/>
                  <a:gd name="connsiteY79" fmla="*/ 3105150 h 4496940"/>
                  <a:gd name="connsiteX80" fmla="*/ 173377 w 4519987"/>
                  <a:gd name="connsiteY80" fmla="*/ 3019425 h 4496940"/>
                  <a:gd name="connsiteX81" fmla="*/ 144802 w 4519987"/>
                  <a:gd name="connsiteY81" fmla="*/ 2924175 h 4496940"/>
                  <a:gd name="connsiteX82" fmla="*/ 68602 w 4519987"/>
                  <a:gd name="connsiteY82" fmla="*/ 2724150 h 4496940"/>
                  <a:gd name="connsiteX83" fmla="*/ 49552 w 4519987"/>
                  <a:gd name="connsiteY83" fmla="*/ 2638425 h 4496940"/>
                  <a:gd name="connsiteX84" fmla="*/ 40027 w 4519987"/>
                  <a:gd name="connsiteY84" fmla="*/ 2562225 h 4496940"/>
                  <a:gd name="connsiteX85" fmla="*/ 30502 w 4519987"/>
                  <a:gd name="connsiteY85" fmla="*/ 2514600 h 4496940"/>
                  <a:gd name="connsiteX86" fmla="*/ 11452 w 4519987"/>
                  <a:gd name="connsiteY86" fmla="*/ 2400300 h 4496940"/>
                  <a:gd name="connsiteX87" fmla="*/ 20977 w 4519987"/>
                  <a:gd name="connsiteY87" fmla="*/ 1905000 h 4496940"/>
                  <a:gd name="connsiteX88" fmla="*/ 30502 w 4519987"/>
                  <a:gd name="connsiteY88" fmla="*/ 1838325 h 4496940"/>
                  <a:gd name="connsiteX89" fmla="*/ 49552 w 4519987"/>
                  <a:gd name="connsiteY89" fmla="*/ 1781175 h 4496940"/>
                  <a:gd name="connsiteX90" fmla="*/ 59077 w 4519987"/>
                  <a:gd name="connsiteY90" fmla="*/ 1743075 h 4496940"/>
                  <a:gd name="connsiteX91" fmla="*/ 78127 w 4519987"/>
                  <a:gd name="connsiteY91" fmla="*/ 1685925 h 4496940"/>
                  <a:gd name="connsiteX92" fmla="*/ 87652 w 4519987"/>
                  <a:gd name="connsiteY92" fmla="*/ 1638300 h 4496940"/>
                  <a:gd name="connsiteX93" fmla="*/ 106702 w 4519987"/>
                  <a:gd name="connsiteY93" fmla="*/ 1590675 h 4496940"/>
                  <a:gd name="connsiteX94" fmla="*/ 135277 w 4519987"/>
                  <a:gd name="connsiteY94" fmla="*/ 1504950 h 4496940"/>
                  <a:gd name="connsiteX95" fmla="*/ 154327 w 4519987"/>
                  <a:gd name="connsiteY95" fmla="*/ 1419225 h 4496940"/>
                  <a:gd name="connsiteX96" fmla="*/ 230527 w 4519987"/>
                  <a:gd name="connsiteY96" fmla="*/ 1276350 h 4496940"/>
                  <a:gd name="connsiteX97" fmla="*/ 240052 w 4519987"/>
                  <a:gd name="connsiteY97" fmla="*/ 1247775 h 4496940"/>
                  <a:gd name="connsiteX98" fmla="*/ 268627 w 4519987"/>
                  <a:gd name="connsiteY98" fmla="*/ 1200150 h 4496940"/>
                  <a:gd name="connsiteX99" fmla="*/ 287677 w 4519987"/>
                  <a:gd name="connsiteY99" fmla="*/ 1152525 h 4496940"/>
                  <a:gd name="connsiteX100" fmla="*/ 316252 w 4519987"/>
                  <a:gd name="connsiteY100" fmla="*/ 1114425 h 4496940"/>
                  <a:gd name="connsiteX101" fmla="*/ 363877 w 4519987"/>
                  <a:gd name="connsiteY101" fmla="*/ 1038225 h 4496940"/>
                  <a:gd name="connsiteX102" fmla="*/ 382927 w 4519987"/>
                  <a:gd name="connsiteY102" fmla="*/ 1009650 h 4496940"/>
                  <a:gd name="connsiteX103" fmla="*/ 440077 w 4519987"/>
                  <a:gd name="connsiteY103" fmla="*/ 904875 h 4496940"/>
                  <a:gd name="connsiteX104" fmla="*/ 478177 w 4519987"/>
                  <a:gd name="connsiteY104" fmla="*/ 857250 h 4496940"/>
                  <a:gd name="connsiteX105" fmla="*/ 497227 w 4519987"/>
                  <a:gd name="connsiteY105" fmla="*/ 828675 h 4496940"/>
                  <a:gd name="connsiteX106" fmla="*/ 535327 w 4519987"/>
                  <a:gd name="connsiteY106" fmla="*/ 800100 h 4496940"/>
                  <a:gd name="connsiteX107" fmla="*/ 602002 w 4519987"/>
                  <a:gd name="connsiteY107" fmla="*/ 733425 h 4496940"/>
                  <a:gd name="connsiteX108" fmla="*/ 668677 w 4519987"/>
                  <a:gd name="connsiteY108" fmla="*/ 676275 h 4496940"/>
                  <a:gd name="connsiteX109" fmla="*/ 697252 w 4519987"/>
                  <a:gd name="connsiteY109" fmla="*/ 657225 h 4496940"/>
                  <a:gd name="connsiteX110" fmla="*/ 840127 w 4519987"/>
                  <a:gd name="connsiteY110" fmla="*/ 533400 h 4496940"/>
                  <a:gd name="connsiteX111" fmla="*/ 887752 w 4519987"/>
                  <a:gd name="connsiteY111" fmla="*/ 504825 h 4496940"/>
                  <a:gd name="connsiteX112" fmla="*/ 1167152 w 4519987"/>
                  <a:gd name="connsiteY112" fmla="*/ 311150 h 4496940"/>
                  <a:gd name="connsiteX113" fmla="*/ 1268752 w 4519987"/>
                  <a:gd name="connsiteY113" fmla="*/ 285750 h 4496940"/>
                  <a:gd name="connsiteX114" fmla="*/ 1411627 w 4519987"/>
                  <a:gd name="connsiteY114" fmla="*/ 190500 h 4496940"/>
                  <a:gd name="connsiteX115" fmla="*/ 1449727 w 4519987"/>
                  <a:gd name="connsiteY115" fmla="*/ 161925 h 4496940"/>
                  <a:gd name="connsiteX116" fmla="*/ 1525927 w 4519987"/>
                  <a:gd name="connsiteY116" fmla="*/ 152400 h 4496940"/>
                  <a:gd name="connsiteX117" fmla="*/ 1583077 w 4519987"/>
                  <a:gd name="connsiteY117" fmla="*/ 142875 h 4496940"/>
                  <a:gd name="connsiteX118" fmla="*/ 1716427 w 4519987"/>
                  <a:gd name="connsiteY118" fmla="*/ 123825 h 4496940"/>
                  <a:gd name="connsiteX119" fmla="*/ 1811677 w 4519987"/>
                  <a:gd name="connsiteY119" fmla="*/ 114300 h 4496940"/>
                  <a:gd name="connsiteX120" fmla="*/ 1859302 w 4519987"/>
                  <a:gd name="connsiteY120" fmla="*/ 104775 h 4496940"/>
                  <a:gd name="connsiteX121" fmla="*/ 1916452 w 4519987"/>
                  <a:gd name="connsiteY121" fmla="*/ 95250 h 4496940"/>
                  <a:gd name="connsiteX122" fmla="*/ 2030752 w 4519987"/>
                  <a:gd name="connsiteY122" fmla="*/ 66675 h 4496940"/>
                  <a:gd name="connsiteX123" fmla="*/ 2097427 w 4519987"/>
                  <a:gd name="connsiteY123" fmla="*/ 47625 h 4496940"/>
                  <a:gd name="connsiteX124" fmla="*/ 2164102 w 4519987"/>
                  <a:gd name="connsiteY124" fmla="*/ 38100 h 4496940"/>
                  <a:gd name="connsiteX125" fmla="*/ 2392702 w 4519987"/>
                  <a:gd name="connsiteY12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54752 w 4519987"/>
                  <a:gd name="connsiteY36" fmla="*/ 4095750 h 4496940"/>
                  <a:gd name="connsiteX37" fmla="*/ 3383302 w 4519987"/>
                  <a:gd name="connsiteY37" fmla="*/ 4210050 h 4496940"/>
                  <a:gd name="connsiteX38" fmla="*/ 3335677 w 4519987"/>
                  <a:gd name="connsiteY38" fmla="*/ 4238625 h 4496940"/>
                  <a:gd name="connsiteX39" fmla="*/ 3288052 w 4519987"/>
                  <a:gd name="connsiteY39" fmla="*/ 4248150 h 4496940"/>
                  <a:gd name="connsiteX40" fmla="*/ 3240427 w 4519987"/>
                  <a:gd name="connsiteY40" fmla="*/ 4267200 h 4496940"/>
                  <a:gd name="connsiteX41" fmla="*/ 3068977 w 4519987"/>
                  <a:gd name="connsiteY41" fmla="*/ 4286250 h 4496940"/>
                  <a:gd name="connsiteX42" fmla="*/ 2935627 w 4519987"/>
                  <a:gd name="connsiteY42" fmla="*/ 4333875 h 4496940"/>
                  <a:gd name="connsiteX43" fmla="*/ 2811802 w 4519987"/>
                  <a:gd name="connsiteY43" fmla="*/ 4371975 h 4496940"/>
                  <a:gd name="connsiteX44" fmla="*/ 2745127 w 4519987"/>
                  <a:gd name="connsiteY44" fmla="*/ 4410075 h 4496940"/>
                  <a:gd name="connsiteX45" fmla="*/ 2697502 w 4519987"/>
                  <a:gd name="connsiteY45" fmla="*/ 4429125 h 4496940"/>
                  <a:gd name="connsiteX46" fmla="*/ 2640352 w 4519987"/>
                  <a:gd name="connsiteY46" fmla="*/ 4457700 h 4496940"/>
                  <a:gd name="connsiteX47" fmla="*/ 2583202 w 4519987"/>
                  <a:gd name="connsiteY47" fmla="*/ 4467225 h 4496940"/>
                  <a:gd name="connsiteX48" fmla="*/ 2545102 w 4519987"/>
                  <a:gd name="connsiteY48" fmla="*/ 4486275 h 4496940"/>
                  <a:gd name="connsiteX49" fmla="*/ 2306977 w 4519987"/>
                  <a:gd name="connsiteY49" fmla="*/ 4476750 h 4496940"/>
                  <a:gd name="connsiteX50" fmla="*/ 2202202 w 4519987"/>
                  <a:gd name="connsiteY50" fmla="*/ 4457700 h 4496940"/>
                  <a:gd name="connsiteX51" fmla="*/ 2126002 w 4519987"/>
                  <a:gd name="connsiteY51" fmla="*/ 4429125 h 4496940"/>
                  <a:gd name="connsiteX52" fmla="*/ 1935502 w 4519987"/>
                  <a:gd name="connsiteY52" fmla="*/ 4400550 h 4496940"/>
                  <a:gd name="connsiteX53" fmla="*/ 1821202 w 4519987"/>
                  <a:gd name="connsiteY53" fmla="*/ 4371975 h 4496940"/>
                  <a:gd name="connsiteX54" fmla="*/ 1754527 w 4519987"/>
                  <a:gd name="connsiteY54" fmla="*/ 4352925 h 4496940"/>
                  <a:gd name="connsiteX55" fmla="*/ 1687852 w 4519987"/>
                  <a:gd name="connsiteY55" fmla="*/ 4343400 h 4496940"/>
                  <a:gd name="connsiteX56" fmla="*/ 1573552 w 4519987"/>
                  <a:gd name="connsiteY56" fmla="*/ 4305300 h 4496940"/>
                  <a:gd name="connsiteX57" fmla="*/ 1402102 w 4519987"/>
                  <a:gd name="connsiteY57" fmla="*/ 4276725 h 4496940"/>
                  <a:gd name="connsiteX58" fmla="*/ 1287802 w 4519987"/>
                  <a:gd name="connsiteY58" fmla="*/ 4229100 h 4496940"/>
                  <a:gd name="connsiteX59" fmla="*/ 1221127 w 4519987"/>
                  <a:gd name="connsiteY59" fmla="*/ 4200525 h 4496940"/>
                  <a:gd name="connsiteX60" fmla="*/ 1144927 w 4519987"/>
                  <a:gd name="connsiteY60" fmla="*/ 4171950 h 4496940"/>
                  <a:gd name="connsiteX61" fmla="*/ 1087777 w 4519987"/>
                  <a:gd name="connsiteY61" fmla="*/ 4143375 h 4496940"/>
                  <a:gd name="connsiteX62" fmla="*/ 1030627 w 4519987"/>
                  <a:gd name="connsiteY62" fmla="*/ 4124325 h 4496940"/>
                  <a:gd name="connsiteX63" fmla="*/ 925852 w 4519987"/>
                  <a:gd name="connsiteY63" fmla="*/ 4067175 h 4496940"/>
                  <a:gd name="connsiteX64" fmla="*/ 830602 w 4519987"/>
                  <a:gd name="connsiteY64" fmla="*/ 3981450 h 4496940"/>
                  <a:gd name="connsiteX65" fmla="*/ 763927 w 4519987"/>
                  <a:gd name="connsiteY65" fmla="*/ 3914775 h 4496940"/>
                  <a:gd name="connsiteX66" fmla="*/ 725827 w 4519987"/>
                  <a:gd name="connsiteY66" fmla="*/ 3876675 h 4496940"/>
                  <a:gd name="connsiteX67" fmla="*/ 697252 w 4519987"/>
                  <a:gd name="connsiteY67" fmla="*/ 3838575 h 4496940"/>
                  <a:gd name="connsiteX68" fmla="*/ 640102 w 4519987"/>
                  <a:gd name="connsiteY68" fmla="*/ 3781425 h 4496940"/>
                  <a:gd name="connsiteX69" fmla="*/ 611527 w 4519987"/>
                  <a:gd name="connsiteY69" fmla="*/ 3733800 h 4496940"/>
                  <a:gd name="connsiteX70" fmla="*/ 554377 w 4519987"/>
                  <a:gd name="connsiteY70" fmla="*/ 3657600 h 4496940"/>
                  <a:gd name="connsiteX71" fmla="*/ 525802 w 4519987"/>
                  <a:gd name="connsiteY71" fmla="*/ 3609975 h 4496940"/>
                  <a:gd name="connsiteX72" fmla="*/ 497227 w 4519987"/>
                  <a:gd name="connsiteY72" fmla="*/ 3552825 h 4496940"/>
                  <a:gd name="connsiteX73" fmla="*/ 440077 w 4519987"/>
                  <a:gd name="connsiteY73" fmla="*/ 3495675 h 4496940"/>
                  <a:gd name="connsiteX74" fmla="*/ 411502 w 4519987"/>
                  <a:gd name="connsiteY74" fmla="*/ 3448050 h 4496940"/>
                  <a:gd name="connsiteX75" fmla="*/ 278152 w 4519987"/>
                  <a:gd name="connsiteY75" fmla="*/ 3257550 h 4496940"/>
                  <a:gd name="connsiteX76" fmla="*/ 249577 w 4519987"/>
                  <a:gd name="connsiteY76" fmla="*/ 3200400 h 4496940"/>
                  <a:gd name="connsiteX77" fmla="*/ 240052 w 4519987"/>
                  <a:gd name="connsiteY77" fmla="*/ 3162300 h 4496940"/>
                  <a:gd name="connsiteX78" fmla="*/ 221002 w 4519987"/>
                  <a:gd name="connsiteY78" fmla="*/ 3105150 h 4496940"/>
                  <a:gd name="connsiteX79" fmla="*/ 173377 w 4519987"/>
                  <a:gd name="connsiteY79" fmla="*/ 3019425 h 4496940"/>
                  <a:gd name="connsiteX80" fmla="*/ 144802 w 4519987"/>
                  <a:gd name="connsiteY80" fmla="*/ 2924175 h 4496940"/>
                  <a:gd name="connsiteX81" fmla="*/ 68602 w 4519987"/>
                  <a:gd name="connsiteY81" fmla="*/ 2724150 h 4496940"/>
                  <a:gd name="connsiteX82" fmla="*/ 49552 w 4519987"/>
                  <a:gd name="connsiteY82" fmla="*/ 2638425 h 4496940"/>
                  <a:gd name="connsiteX83" fmla="*/ 40027 w 4519987"/>
                  <a:gd name="connsiteY83" fmla="*/ 2562225 h 4496940"/>
                  <a:gd name="connsiteX84" fmla="*/ 30502 w 4519987"/>
                  <a:gd name="connsiteY84" fmla="*/ 2514600 h 4496940"/>
                  <a:gd name="connsiteX85" fmla="*/ 11452 w 4519987"/>
                  <a:gd name="connsiteY85" fmla="*/ 2400300 h 4496940"/>
                  <a:gd name="connsiteX86" fmla="*/ 20977 w 4519987"/>
                  <a:gd name="connsiteY86" fmla="*/ 1905000 h 4496940"/>
                  <a:gd name="connsiteX87" fmla="*/ 30502 w 4519987"/>
                  <a:gd name="connsiteY87" fmla="*/ 1838325 h 4496940"/>
                  <a:gd name="connsiteX88" fmla="*/ 49552 w 4519987"/>
                  <a:gd name="connsiteY88" fmla="*/ 1781175 h 4496940"/>
                  <a:gd name="connsiteX89" fmla="*/ 59077 w 4519987"/>
                  <a:gd name="connsiteY89" fmla="*/ 1743075 h 4496940"/>
                  <a:gd name="connsiteX90" fmla="*/ 78127 w 4519987"/>
                  <a:gd name="connsiteY90" fmla="*/ 1685925 h 4496940"/>
                  <a:gd name="connsiteX91" fmla="*/ 87652 w 4519987"/>
                  <a:gd name="connsiteY91" fmla="*/ 1638300 h 4496940"/>
                  <a:gd name="connsiteX92" fmla="*/ 106702 w 4519987"/>
                  <a:gd name="connsiteY92" fmla="*/ 1590675 h 4496940"/>
                  <a:gd name="connsiteX93" fmla="*/ 135277 w 4519987"/>
                  <a:gd name="connsiteY93" fmla="*/ 1504950 h 4496940"/>
                  <a:gd name="connsiteX94" fmla="*/ 154327 w 4519987"/>
                  <a:gd name="connsiteY94" fmla="*/ 1419225 h 4496940"/>
                  <a:gd name="connsiteX95" fmla="*/ 230527 w 4519987"/>
                  <a:gd name="connsiteY95" fmla="*/ 1276350 h 4496940"/>
                  <a:gd name="connsiteX96" fmla="*/ 240052 w 4519987"/>
                  <a:gd name="connsiteY96" fmla="*/ 1247775 h 4496940"/>
                  <a:gd name="connsiteX97" fmla="*/ 268627 w 4519987"/>
                  <a:gd name="connsiteY97" fmla="*/ 1200150 h 4496940"/>
                  <a:gd name="connsiteX98" fmla="*/ 287677 w 4519987"/>
                  <a:gd name="connsiteY98" fmla="*/ 1152525 h 4496940"/>
                  <a:gd name="connsiteX99" fmla="*/ 316252 w 4519987"/>
                  <a:gd name="connsiteY99" fmla="*/ 1114425 h 4496940"/>
                  <a:gd name="connsiteX100" fmla="*/ 363877 w 4519987"/>
                  <a:gd name="connsiteY100" fmla="*/ 1038225 h 4496940"/>
                  <a:gd name="connsiteX101" fmla="*/ 382927 w 4519987"/>
                  <a:gd name="connsiteY101" fmla="*/ 1009650 h 4496940"/>
                  <a:gd name="connsiteX102" fmla="*/ 440077 w 4519987"/>
                  <a:gd name="connsiteY102" fmla="*/ 904875 h 4496940"/>
                  <a:gd name="connsiteX103" fmla="*/ 478177 w 4519987"/>
                  <a:gd name="connsiteY103" fmla="*/ 857250 h 4496940"/>
                  <a:gd name="connsiteX104" fmla="*/ 497227 w 4519987"/>
                  <a:gd name="connsiteY104" fmla="*/ 828675 h 4496940"/>
                  <a:gd name="connsiteX105" fmla="*/ 535327 w 4519987"/>
                  <a:gd name="connsiteY105" fmla="*/ 800100 h 4496940"/>
                  <a:gd name="connsiteX106" fmla="*/ 602002 w 4519987"/>
                  <a:gd name="connsiteY106" fmla="*/ 733425 h 4496940"/>
                  <a:gd name="connsiteX107" fmla="*/ 668677 w 4519987"/>
                  <a:gd name="connsiteY107" fmla="*/ 676275 h 4496940"/>
                  <a:gd name="connsiteX108" fmla="*/ 697252 w 4519987"/>
                  <a:gd name="connsiteY108" fmla="*/ 657225 h 4496940"/>
                  <a:gd name="connsiteX109" fmla="*/ 840127 w 4519987"/>
                  <a:gd name="connsiteY109" fmla="*/ 533400 h 4496940"/>
                  <a:gd name="connsiteX110" fmla="*/ 887752 w 4519987"/>
                  <a:gd name="connsiteY110" fmla="*/ 504825 h 4496940"/>
                  <a:gd name="connsiteX111" fmla="*/ 1167152 w 4519987"/>
                  <a:gd name="connsiteY111" fmla="*/ 311150 h 4496940"/>
                  <a:gd name="connsiteX112" fmla="*/ 1268752 w 4519987"/>
                  <a:gd name="connsiteY112" fmla="*/ 285750 h 4496940"/>
                  <a:gd name="connsiteX113" fmla="*/ 1411627 w 4519987"/>
                  <a:gd name="connsiteY113" fmla="*/ 190500 h 4496940"/>
                  <a:gd name="connsiteX114" fmla="*/ 1449727 w 4519987"/>
                  <a:gd name="connsiteY114" fmla="*/ 161925 h 4496940"/>
                  <a:gd name="connsiteX115" fmla="*/ 1525927 w 4519987"/>
                  <a:gd name="connsiteY115" fmla="*/ 152400 h 4496940"/>
                  <a:gd name="connsiteX116" fmla="*/ 1583077 w 4519987"/>
                  <a:gd name="connsiteY116" fmla="*/ 142875 h 4496940"/>
                  <a:gd name="connsiteX117" fmla="*/ 1716427 w 4519987"/>
                  <a:gd name="connsiteY117" fmla="*/ 123825 h 4496940"/>
                  <a:gd name="connsiteX118" fmla="*/ 1811677 w 4519987"/>
                  <a:gd name="connsiteY118" fmla="*/ 114300 h 4496940"/>
                  <a:gd name="connsiteX119" fmla="*/ 1859302 w 4519987"/>
                  <a:gd name="connsiteY119" fmla="*/ 104775 h 4496940"/>
                  <a:gd name="connsiteX120" fmla="*/ 1916452 w 4519987"/>
                  <a:gd name="connsiteY120" fmla="*/ 95250 h 4496940"/>
                  <a:gd name="connsiteX121" fmla="*/ 2030752 w 4519987"/>
                  <a:gd name="connsiteY121" fmla="*/ 66675 h 4496940"/>
                  <a:gd name="connsiteX122" fmla="*/ 2097427 w 4519987"/>
                  <a:gd name="connsiteY122" fmla="*/ 47625 h 4496940"/>
                  <a:gd name="connsiteX123" fmla="*/ 2164102 w 4519987"/>
                  <a:gd name="connsiteY123" fmla="*/ 38100 h 4496940"/>
                  <a:gd name="connsiteX124" fmla="*/ 2392702 w 4519987"/>
                  <a:gd name="connsiteY12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383302 w 4519987"/>
                  <a:gd name="connsiteY37" fmla="*/ 4210050 h 4496940"/>
                  <a:gd name="connsiteX38" fmla="*/ 3335677 w 4519987"/>
                  <a:gd name="connsiteY38" fmla="*/ 4238625 h 4496940"/>
                  <a:gd name="connsiteX39" fmla="*/ 3288052 w 4519987"/>
                  <a:gd name="connsiteY39" fmla="*/ 4248150 h 4496940"/>
                  <a:gd name="connsiteX40" fmla="*/ 3240427 w 4519987"/>
                  <a:gd name="connsiteY40" fmla="*/ 4267200 h 4496940"/>
                  <a:gd name="connsiteX41" fmla="*/ 3068977 w 4519987"/>
                  <a:gd name="connsiteY41" fmla="*/ 4286250 h 4496940"/>
                  <a:gd name="connsiteX42" fmla="*/ 2935627 w 4519987"/>
                  <a:gd name="connsiteY42" fmla="*/ 4333875 h 4496940"/>
                  <a:gd name="connsiteX43" fmla="*/ 2811802 w 4519987"/>
                  <a:gd name="connsiteY43" fmla="*/ 4371975 h 4496940"/>
                  <a:gd name="connsiteX44" fmla="*/ 2745127 w 4519987"/>
                  <a:gd name="connsiteY44" fmla="*/ 4410075 h 4496940"/>
                  <a:gd name="connsiteX45" fmla="*/ 2697502 w 4519987"/>
                  <a:gd name="connsiteY45" fmla="*/ 4429125 h 4496940"/>
                  <a:gd name="connsiteX46" fmla="*/ 2640352 w 4519987"/>
                  <a:gd name="connsiteY46" fmla="*/ 4457700 h 4496940"/>
                  <a:gd name="connsiteX47" fmla="*/ 2583202 w 4519987"/>
                  <a:gd name="connsiteY47" fmla="*/ 4467225 h 4496940"/>
                  <a:gd name="connsiteX48" fmla="*/ 2545102 w 4519987"/>
                  <a:gd name="connsiteY48" fmla="*/ 4486275 h 4496940"/>
                  <a:gd name="connsiteX49" fmla="*/ 2306977 w 4519987"/>
                  <a:gd name="connsiteY49" fmla="*/ 4476750 h 4496940"/>
                  <a:gd name="connsiteX50" fmla="*/ 2202202 w 4519987"/>
                  <a:gd name="connsiteY50" fmla="*/ 4457700 h 4496940"/>
                  <a:gd name="connsiteX51" fmla="*/ 2126002 w 4519987"/>
                  <a:gd name="connsiteY51" fmla="*/ 4429125 h 4496940"/>
                  <a:gd name="connsiteX52" fmla="*/ 1935502 w 4519987"/>
                  <a:gd name="connsiteY52" fmla="*/ 4400550 h 4496940"/>
                  <a:gd name="connsiteX53" fmla="*/ 1821202 w 4519987"/>
                  <a:gd name="connsiteY53" fmla="*/ 4371975 h 4496940"/>
                  <a:gd name="connsiteX54" fmla="*/ 1754527 w 4519987"/>
                  <a:gd name="connsiteY54" fmla="*/ 4352925 h 4496940"/>
                  <a:gd name="connsiteX55" fmla="*/ 1687852 w 4519987"/>
                  <a:gd name="connsiteY55" fmla="*/ 4343400 h 4496940"/>
                  <a:gd name="connsiteX56" fmla="*/ 1573552 w 4519987"/>
                  <a:gd name="connsiteY56" fmla="*/ 4305300 h 4496940"/>
                  <a:gd name="connsiteX57" fmla="*/ 1402102 w 4519987"/>
                  <a:gd name="connsiteY57" fmla="*/ 4276725 h 4496940"/>
                  <a:gd name="connsiteX58" fmla="*/ 1287802 w 4519987"/>
                  <a:gd name="connsiteY58" fmla="*/ 4229100 h 4496940"/>
                  <a:gd name="connsiteX59" fmla="*/ 1221127 w 4519987"/>
                  <a:gd name="connsiteY59" fmla="*/ 4200525 h 4496940"/>
                  <a:gd name="connsiteX60" fmla="*/ 1144927 w 4519987"/>
                  <a:gd name="connsiteY60" fmla="*/ 4171950 h 4496940"/>
                  <a:gd name="connsiteX61" fmla="*/ 1087777 w 4519987"/>
                  <a:gd name="connsiteY61" fmla="*/ 4143375 h 4496940"/>
                  <a:gd name="connsiteX62" fmla="*/ 1030627 w 4519987"/>
                  <a:gd name="connsiteY62" fmla="*/ 4124325 h 4496940"/>
                  <a:gd name="connsiteX63" fmla="*/ 925852 w 4519987"/>
                  <a:gd name="connsiteY63" fmla="*/ 4067175 h 4496940"/>
                  <a:gd name="connsiteX64" fmla="*/ 830602 w 4519987"/>
                  <a:gd name="connsiteY64" fmla="*/ 3981450 h 4496940"/>
                  <a:gd name="connsiteX65" fmla="*/ 763927 w 4519987"/>
                  <a:gd name="connsiteY65" fmla="*/ 3914775 h 4496940"/>
                  <a:gd name="connsiteX66" fmla="*/ 725827 w 4519987"/>
                  <a:gd name="connsiteY66" fmla="*/ 3876675 h 4496940"/>
                  <a:gd name="connsiteX67" fmla="*/ 697252 w 4519987"/>
                  <a:gd name="connsiteY67" fmla="*/ 3838575 h 4496940"/>
                  <a:gd name="connsiteX68" fmla="*/ 640102 w 4519987"/>
                  <a:gd name="connsiteY68" fmla="*/ 3781425 h 4496940"/>
                  <a:gd name="connsiteX69" fmla="*/ 611527 w 4519987"/>
                  <a:gd name="connsiteY69" fmla="*/ 3733800 h 4496940"/>
                  <a:gd name="connsiteX70" fmla="*/ 554377 w 4519987"/>
                  <a:gd name="connsiteY70" fmla="*/ 3657600 h 4496940"/>
                  <a:gd name="connsiteX71" fmla="*/ 525802 w 4519987"/>
                  <a:gd name="connsiteY71" fmla="*/ 3609975 h 4496940"/>
                  <a:gd name="connsiteX72" fmla="*/ 497227 w 4519987"/>
                  <a:gd name="connsiteY72" fmla="*/ 3552825 h 4496940"/>
                  <a:gd name="connsiteX73" fmla="*/ 440077 w 4519987"/>
                  <a:gd name="connsiteY73" fmla="*/ 3495675 h 4496940"/>
                  <a:gd name="connsiteX74" fmla="*/ 411502 w 4519987"/>
                  <a:gd name="connsiteY74" fmla="*/ 3448050 h 4496940"/>
                  <a:gd name="connsiteX75" fmla="*/ 278152 w 4519987"/>
                  <a:gd name="connsiteY75" fmla="*/ 3257550 h 4496940"/>
                  <a:gd name="connsiteX76" fmla="*/ 249577 w 4519987"/>
                  <a:gd name="connsiteY76" fmla="*/ 3200400 h 4496940"/>
                  <a:gd name="connsiteX77" fmla="*/ 240052 w 4519987"/>
                  <a:gd name="connsiteY77" fmla="*/ 3162300 h 4496940"/>
                  <a:gd name="connsiteX78" fmla="*/ 221002 w 4519987"/>
                  <a:gd name="connsiteY78" fmla="*/ 3105150 h 4496940"/>
                  <a:gd name="connsiteX79" fmla="*/ 173377 w 4519987"/>
                  <a:gd name="connsiteY79" fmla="*/ 3019425 h 4496940"/>
                  <a:gd name="connsiteX80" fmla="*/ 144802 w 4519987"/>
                  <a:gd name="connsiteY80" fmla="*/ 2924175 h 4496940"/>
                  <a:gd name="connsiteX81" fmla="*/ 68602 w 4519987"/>
                  <a:gd name="connsiteY81" fmla="*/ 2724150 h 4496940"/>
                  <a:gd name="connsiteX82" fmla="*/ 49552 w 4519987"/>
                  <a:gd name="connsiteY82" fmla="*/ 2638425 h 4496940"/>
                  <a:gd name="connsiteX83" fmla="*/ 40027 w 4519987"/>
                  <a:gd name="connsiteY83" fmla="*/ 2562225 h 4496940"/>
                  <a:gd name="connsiteX84" fmla="*/ 30502 w 4519987"/>
                  <a:gd name="connsiteY84" fmla="*/ 2514600 h 4496940"/>
                  <a:gd name="connsiteX85" fmla="*/ 11452 w 4519987"/>
                  <a:gd name="connsiteY85" fmla="*/ 2400300 h 4496940"/>
                  <a:gd name="connsiteX86" fmla="*/ 20977 w 4519987"/>
                  <a:gd name="connsiteY86" fmla="*/ 1905000 h 4496940"/>
                  <a:gd name="connsiteX87" fmla="*/ 30502 w 4519987"/>
                  <a:gd name="connsiteY87" fmla="*/ 1838325 h 4496940"/>
                  <a:gd name="connsiteX88" fmla="*/ 49552 w 4519987"/>
                  <a:gd name="connsiteY88" fmla="*/ 1781175 h 4496940"/>
                  <a:gd name="connsiteX89" fmla="*/ 59077 w 4519987"/>
                  <a:gd name="connsiteY89" fmla="*/ 1743075 h 4496940"/>
                  <a:gd name="connsiteX90" fmla="*/ 78127 w 4519987"/>
                  <a:gd name="connsiteY90" fmla="*/ 1685925 h 4496940"/>
                  <a:gd name="connsiteX91" fmla="*/ 87652 w 4519987"/>
                  <a:gd name="connsiteY91" fmla="*/ 1638300 h 4496940"/>
                  <a:gd name="connsiteX92" fmla="*/ 106702 w 4519987"/>
                  <a:gd name="connsiteY92" fmla="*/ 1590675 h 4496940"/>
                  <a:gd name="connsiteX93" fmla="*/ 135277 w 4519987"/>
                  <a:gd name="connsiteY93" fmla="*/ 1504950 h 4496940"/>
                  <a:gd name="connsiteX94" fmla="*/ 154327 w 4519987"/>
                  <a:gd name="connsiteY94" fmla="*/ 1419225 h 4496940"/>
                  <a:gd name="connsiteX95" fmla="*/ 230527 w 4519987"/>
                  <a:gd name="connsiteY95" fmla="*/ 1276350 h 4496940"/>
                  <a:gd name="connsiteX96" fmla="*/ 240052 w 4519987"/>
                  <a:gd name="connsiteY96" fmla="*/ 1247775 h 4496940"/>
                  <a:gd name="connsiteX97" fmla="*/ 268627 w 4519987"/>
                  <a:gd name="connsiteY97" fmla="*/ 1200150 h 4496940"/>
                  <a:gd name="connsiteX98" fmla="*/ 287677 w 4519987"/>
                  <a:gd name="connsiteY98" fmla="*/ 1152525 h 4496940"/>
                  <a:gd name="connsiteX99" fmla="*/ 316252 w 4519987"/>
                  <a:gd name="connsiteY99" fmla="*/ 1114425 h 4496940"/>
                  <a:gd name="connsiteX100" fmla="*/ 363877 w 4519987"/>
                  <a:gd name="connsiteY100" fmla="*/ 1038225 h 4496940"/>
                  <a:gd name="connsiteX101" fmla="*/ 382927 w 4519987"/>
                  <a:gd name="connsiteY101" fmla="*/ 1009650 h 4496940"/>
                  <a:gd name="connsiteX102" fmla="*/ 440077 w 4519987"/>
                  <a:gd name="connsiteY102" fmla="*/ 904875 h 4496940"/>
                  <a:gd name="connsiteX103" fmla="*/ 478177 w 4519987"/>
                  <a:gd name="connsiteY103" fmla="*/ 857250 h 4496940"/>
                  <a:gd name="connsiteX104" fmla="*/ 497227 w 4519987"/>
                  <a:gd name="connsiteY104" fmla="*/ 828675 h 4496940"/>
                  <a:gd name="connsiteX105" fmla="*/ 535327 w 4519987"/>
                  <a:gd name="connsiteY105" fmla="*/ 800100 h 4496940"/>
                  <a:gd name="connsiteX106" fmla="*/ 602002 w 4519987"/>
                  <a:gd name="connsiteY106" fmla="*/ 733425 h 4496940"/>
                  <a:gd name="connsiteX107" fmla="*/ 668677 w 4519987"/>
                  <a:gd name="connsiteY107" fmla="*/ 676275 h 4496940"/>
                  <a:gd name="connsiteX108" fmla="*/ 697252 w 4519987"/>
                  <a:gd name="connsiteY108" fmla="*/ 657225 h 4496940"/>
                  <a:gd name="connsiteX109" fmla="*/ 840127 w 4519987"/>
                  <a:gd name="connsiteY109" fmla="*/ 533400 h 4496940"/>
                  <a:gd name="connsiteX110" fmla="*/ 887752 w 4519987"/>
                  <a:gd name="connsiteY110" fmla="*/ 504825 h 4496940"/>
                  <a:gd name="connsiteX111" fmla="*/ 1167152 w 4519987"/>
                  <a:gd name="connsiteY111" fmla="*/ 311150 h 4496940"/>
                  <a:gd name="connsiteX112" fmla="*/ 1268752 w 4519987"/>
                  <a:gd name="connsiteY112" fmla="*/ 285750 h 4496940"/>
                  <a:gd name="connsiteX113" fmla="*/ 1411627 w 4519987"/>
                  <a:gd name="connsiteY113" fmla="*/ 190500 h 4496940"/>
                  <a:gd name="connsiteX114" fmla="*/ 1449727 w 4519987"/>
                  <a:gd name="connsiteY114" fmla="*/ 161925 h 4496940"/>
                  <a:gd name="connsiteX115" fmla="*/ 1525927 w 4519987"/>
                  <a:gd name="connsiteY115" fmla="*/ 152400 h 4496940"/>
                  <a:gd name="connsiteX116" fmla="*/ 1583077 w 4519987"/>
                  <a:gd name="connsiteY116" fmla="*/ 142875 h 4496940"/>
                  <a:gd name="connsiteX117" fmla="*/ 1716427 w 4519987"/>
                  <a:gd name="connsiteY117" fmla="*/ 123825 h 4496940"/>
                  <a:gd name="connsiteX118" fmla="*/ 1811677 w 4519987"/>
                  <a:gd name="connsiteY118" fmla="*/ 114300 h 4496940"/>
                  <a:gd name="connsiteX119" fmla="*/ 1859302 w 4519987"/>
                  <a:gd name="connsiteY119" fmla="*/ 104775 h 4496940"/>
                  <a:gd name="connsiteX120" fmla="*/ 1916452 w 4519987"/>
                  <a:gd name="connsiteY120" fmla="*/ 95250 h 4496940"/>
                  <a:gd name="connsiteX121" fmla="*/ 2030752 w 4519987"/>
                  <a:gd name="connsiteY121" fmla="*/ 66675 h 4496940"/>
                  <a:gd name="connsiteX122" fmla="*/ 2097427 w 4519987"/>
                  <a:gd name="connsiteY122" fmla="*/ 47625 h 4496940"/>
                  <a:gd name="connsiteX123" fmla="*/ 2164102 w 4519987"/>
                  <a:gd name="connsiteY123" fmla="*/ 38100 h 4496940"/>
                  <a:gd name="connsiteX124" fmla="*/ 2392702 w 4519987"/>
                  <a:gd name="connsiteY12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335677 w 4519987"/>
                  <a:gd name="connsiteY37" fmla="*/ 4238625 h 4496940"/>
                  <a:gd name="connsiteX38" fmla="*/ 3288052 w 4519987"/>
                  <a:gd name="connsiteY38" fmla="*/ 4248150 h 4496940"/>
                  <a:gd name="connsiteX39" fmla="*/ 3240427 w 4519987"/>
                  <a:gd name="connsiteY39" fmla="*/ 4267200 h 4496940"/>
                  <a:gd name="connsiteX40" fmla="*/ 3068977 w 4519987"/>
                  <a:gd name="connsiteY40" fmla="*/ 4286250 h 4496940"/>
                  <a:gd name="connsiteX41" fmla="*/ 2935627 w 4519987"/>
                  <a:gd name="connsiteY41" fmla="*/ 4333875 h 4496940"/>
                  <a:gd name="connsiteX42" fmla="*/ 2811802 w 4519987"/>
                  <a:gd name="connsiteY42" fmla="*/ 4371975 h 4496940"/>
                  <a:gd name="connsiteX43" fmla="*/ 2745127 w 4519987"/>
                  <a:gd name="connsiteY43" fmla="*/ 4410075 h 4496940"/>
                  <a:gd name="connsiteX44" fmla="*/ 2697502 w 4519987"/>
                  <a:gd name="connsiteY44" fmla="*/ 4429125 h 4496940"/>
                  <a:gd name="connsiteX45" fmla="*/ 2640352 w 4519987"/>
                  <a:gd name="connsiteY45" fmla="*/ 4457700 h 4496940"/>
                  <a:gd name="connsiteX46" fmla="*/ 2583202 w 4519987"/>
                  <a:gd name="connsiteY46" fmla="*/ 4467225 h 4496940"/>
                  <a:gd name="connsiteX47" fmla="*/ 2545102 w 4519987"/>
                  <a:gd name="connsiteY47" fmla="*/ 4486275 h 4496940"/>
                  <a:gd name="connsiteX48" fmla="*/ 2306977 w 4519987"/>
                  <a:gd name="connsiteY48" fmla="*/ 4476750 h 4496940"/>
                  <a:gd name="connsiteX49" fmla="*/ 2202202 w 4519987"/>
                  <a:gd name="connsiteY49" fmla="*/ 4457700 h 4496940"/>
                  <a:gd name="connsiteX50" fmla="*/ 2126002 w 4519987"/>
                  <a:gd name="connsiteY50" fmla="*/ 4429125 h 4496940"/>
                  <a:gd name="connsiteX51" fmla="*/ 1935502 w 4519987"/>
                  <a:gd name="connsiteY51" fmla="*/ 4400550 h 4496940"/>
                  <a:gd name="connsiteX52" fmla="*/ 1821202 w 4519987"/>
                  <a:gd name="connsiteY52" fmla="*/ 4371975 h 4496940"/>
                  <a:gd name="connsiteX53" fmla="*/ 1754527 w 4519987"/>
                  <a:gd name="connsiteY53" fmla="*/ 4352925 h 4496940"/>
                  <a:gd name="connsiteX54" fmla="*/ 1687852 w 4519987"/>
                  <a:gd name="connsiteY54" fmla="*/ 4343400 h 4496940"/>
                  <a:gd name="connsiteX55" fmla="*/ 1573552 w 4519987"/>
                  <a:gd name="connsiteY55" fmla="*/ 4305300 h 4496940"/>
                  <a:gd name="connsiteX56" fmla="*/ 1402102 w 4519987"/>
                  <a:gd name="connsiteY56" fmla="*/ 4276725 h 4496940"/>
                  <a:gd name="connsiteX57" fmla="*/ 1287802 w 4519987"/>
                  <a:gd name="connsiteY57" fmla="*/ 4229100 h 4496940"/>
                  <a:gd name="connsiteX58" fmla="*/ 1221127 w 4519987"/>
                  <a:gd name="connsiteY58" fmla="*/ 4200525 h 4496940"/>
                  <a:gd name="connsiteX59" fmla="*/ 1144927 w 4519987"/>
                  <a:gd name="connsiteY59" fmla="*/ 4171950 h 4496940"/>
                  <a:gd name="connsiteX60" fmla="*/ 1087777 w 4519987"/>
                  <a:gd name="connsiteY60" fmla="*/ 4143375 h 4496940"/>
                  <a:gd name="connsiteX61" fmla="*/ 1030627 w 4519987"/>
                  <a:gd name="connsiteY61" fmla="*/ 4124325 h 4496940"/>
                  <a:gd name="connsiteX62" fmla="*/ 925852 w 4519987"/>
                  <a:gd name="connsiteY62" fmla="*/ 4067175 h 4496940"/>
                  <a:gd name="connsiteX63" fmla="*/ 830602 w 4519987"/>
                  <a:gd name="connsiteY63" fmla="*/ 3981450 h 4496940"/>
                  <a:gd name="connsiteX64" fmla="*/ 763927 w 4519987"/>
                  <a:gd name="connsiteY64" fmla="*/ 3914775 h 4496940"/>
                  <a:gd name="connsiteX65" fmla="*/ 725827 w 4519987"/>
                  <a:gd name="connsiteY65" fmla="*/ 3876675 h 4496940"/>
                  <a:gd name="connsiteX66" fmla="*/ 697252 w 4519987"/>
                  <a:gd name="connsiteY66" fmla="*/ 3838575 h 4496940"/>
                  <a:gd name="connsiteX67" fmla="*/ 640102 w 4519987"/>
                  <a:gd name="connsiteY67" fmla="*/ 3781425 h 4496940"/>
                  <a:gd name="connsiteX68" fmla="*/ 611527 w 4519987"/>
                  <a:gd name="connsiteY68" fmla="*/ 3733800 h 4496940"/>
                  <a:gd name="connsiteX69" fmla="*/ 554377 w 4519987"/>
                  <a:gd name="connsiteY69" fmla="*/ 3657600 h 4496940"/>
                  <a:gd name="connsiteX70" fmla="*/ 525802 w 4519987"/>
                  <a:gd name="connsiteY70" fmla="*/ 3609975 h 4496940"/>
                  <a:gd name="connsiteX71" fmla="*/ 497227 w 4519987"/>
                  <a:gd name="connsiteY71" fmla="*/ 3552825 h 4496940"/>
                  <a:gd name="connsiteX72" fmla="*/ 440077 w 4519987"/>
                  <a:gd name="connsiteY72" fmla="*/ 3495675 h 4496940"/>
                  <a:gd name="connsiteX73" fmla="*/ 411502 w 4519987"/>
                  <a:gd name="connsiteY73" fmla="*/ 3448050 h 4496940"/>
                  <a:gd name="connsiteX74" fmla="*/ 278152 w 4519987"/>
                  <a:gd name="connsiteY74" fmla="*/ 3257550 h 4496940"/>
                  <a:gd name="connsiteX75" fmla="*/ 249577 w 4519987"/>
                  <a:gd name="connsiteY75" fmla="*/ 3200400 h 4496940"/>
                  <a:gd name="connsiteX76" fmla="*/ 240052 w 4519987"/>
                  <a:gd name="connsiteY76" fmla="*/ 3162300 h 4496940"/>
                  <a:gd name="connsiteX77" fmla="*/ 221002 w 4519987"/>
                  <a:gd name="connsiteY77" fmla="*/ 3105150 h 4496940"/>
                  <a:gd name="connsiteX78" fmla="*/ 173377 w 4519987"/>
                  <a:gd name="connsiteY78" fmla="*/ 3019425 h 4496940"/>
                  <a:gd name="connsiteX79" fmla="*/ 144802 w 4519987"/>
                  <a:gd name="connsiteY79" fmla="*/ 2924175 h 4496940"/>
                  <a:gd name="connsiteX80" fmla="*/ 68602 w 4519987"/>
                  <a:gd name="connsiteY80" fmla="*/ 2724150 h 4496940"/>
                  <a:gd name="connsiteX81" fmla="*/ 49552 w 4519987"/>
                  <a:gd name="connsiteY81" fmla="*/ 2638425 h 4496940"/>
                  <a:gd name="connsiteX82" fmla="*/ 40027 w 4519987"/>
                  <a:gd name="connsiteY82" fmla="*/ 2562225 h 4496940"/>
                  <a:gd name="connsiteX83" fmla="*/ 30502 w 4519987"/>
                  <a:gd name="connsiteY83" fmla="*/ 2514600 h 4496940"/>
                  <a:gd name="connsiteX84" fmla="*/ 11452 w 4519987"/>
                  <a:gd name="connsiteY84" fmla="*/ 2400300 h 4496940"/>
                  <a:gd name="connsiteX85" fmla="*/ 20977 w 4519987"/>
                  <a:gd name="connsiteY85" fmla="*/ 1905000 h 4496940"/>
                  <a:gd name="connsiteX86" fmla="*/ 30502 w 4519987"/>
                  <a:gd name="connsiteY86" fmla="*/ 1838325 h 4496940"/>
                  <a:gd name="connsiteX87" fmla="*/ 49552 w 4519987"/>
                  <a:gd name="connsiteY87" fmla="*/ 1781175 h 4496940"/>
                  <a:gd name="connsiteX88" fmla="*/ 59077 w 4519987"/>
                  <a:gd name="connsiteY88" fmla="*/ 1743075 h 4496940"/>
                  <a:gd name="connsiteX89" fmla="*/ 78127 w 4519987"/>
                  <a:gd name="connsiteY89" fmla="*/ 1685925 h 4496940"/>
                  <a:gd name="connsiteX90" fmla="*/ 87652 w 4519987"/>
                  <a:gd name="connsiteY90" fmla="*/ 1638300 h 4496940"/>
                  <a:gd name="connsiteX91" fmla="*/ 106702 w 4519987"/>
                  <a:gd name="connsiteY91" fmla="*/ 1590675 h 4496940"/>
                  <a:gd name="connsiteX92" fmla="*/ 135277 w 4519987"/>
                  <a:gd name="connsiteY92" fmla="*/ 1504950 h 4496940"/>
                  <a:gd name="connsiteX93" fmla="*/ 154327 w 4519987"/>
                  <a:gd name="connsiteY93" fmla="*/ 1419225 h 4496940"/>
                  <a:gd name="connsiteX94" fmla="*/ 230527 w 4519987"/>
                  <a:gd name="connsiteY94" fmla="*/ 1276350 h 4496940"/>
                  <a:gd name="connsiteX95" fmla="*/ 240052 w 4519987"/>
                  <a:gd name="connsiteY95" fmla="*/ 1247775 h 4496940"/>
                  <a:gd name="connsiteX96" fmla="*/ 268627 w 4519987"/>
                  <a:gd name="connsiteY96" fmla="*/ 1200150 h 4496940"/>
                  <a:gd name="connsiteX97" fmla="*/ 287677 w 4519987"/>
                  <a:gd name="connsiteY97" fmla="*/ 1152525 h 4496940"/>
                  <a:gd name="connsiteX98" fmla="*/ 316252 w 4519987"/>
                  <a:gd name="connsiteY98" fmla="*/ 1114425 h 4496940"/>
                  <a:gd name="connsiteX99" fmla="*/ 363877 w 4519987"/>
                  <a:gd name="connsiteY99" fmla="*/ 1038225 h 4496940"/>
                  <a:gd name="connsiteX100" fmla="*/ 382927 w 4519987"/>
                  <a:gd name="connsiteY100" fmla="*/ 1009650 h 4496940"/>
                  <a:gd name="connsiteX101" fmla="*/ 440077 w 4519987"/>
                  <a:gd name="connsiteY101" fmla="*/ 904875 h 4496940"/>
                  <a:gd name="connsiteX102" fmla="*/ 478177 w 4519987"/>
                  <a:gd name="connsiteY102" fmla="*/ 857250 h 4496940"/>
                  <a:gd name="connsiteX103" fmla="*/ 497227 w 4519987"/>
                  <a:gd name="connsiteY103" fmla="*/ 828675 h 4496940"/>
                  <a:gd name="connsiteX104" fmla="*/ 535327 w 4519987"/>
                  <a:gd name="connsiteY104" fmla="*/ 800100 h 4496940"/>
                  <a:gd name="connsiteX105" fmla="*/ 602002 w 4519987"/>
                  <a:gd name="connsiteY105" fmla="*/ 733425 h 4496940"/>
                  <a:gd name="connsiteX106" fmla="*/ 668677 w 4519987"/>
                  <a:gd name="connsiteY106" fmla="*/ 676275 h 4496940"/>
                  <a:gd name="connsiteX107" fmla="*/ 697252 w 4519987"/>
                  <a:gd name="connsiteY107" fmla="*/ 657225 h 4496940"/>
                  <a:gd name="connsiteX108" fmla="*/ 840127 w 4519987"/>
                  <a:gd name="connsiteY108" fmla="*/ 533400 h 4496940"/>
                  <a:gd name="connsiteX109" fmla="*/ 887752 w 4519987"/>
                  <a:gd name="connsiteY109" fmla="*/ 504825 h 4496940"/>
                  <a:gd name="connsiteX110" fmla="*/ 1167152 w 4519987"/>
                  <a:gd name="connsiteY110" fmla="*/ 311150 h 4496940"/>
                  <a:gd name="connsiteX111" fmla="*/ 1268752 w 4519987"/>
                  <a:gd name="connsiteY111" fmla="*/ 285750 h 4496940"/>
                  <a:gd name="connsiteX112" fmla="*/ 1411627 w 4519987"/>
                  <a:gd name="connsiteY112" fmla="*/ 190500 h 4496940"/>
                  <a:gd name="connsiteX113" fmla="*/ 1449727 w 4519987"/>
                  <a:gd name="connsiteY113" fmla="*/ 161925 h 4496940"/>
                  <a:gd name="connsiteX114" fmla="*/ 1525927 w 4519987"/>
                  <a:gd name="connsiteY114" fmla="*/ 152400 h 4496940"/>
                  <a:gd name="connsiteX115" fmla="*/ 1583077 w 4519987"/>
                  <a:gd name="connsiteY115" fmla="*/ 142875 h 4496940"/>
                  <a:gd name="connsiteX116" fmla="*/ 1716427 w 4519987"/>
                  <a:gd name="connsiteY116" fmla="*/ 123825 h 4496940"/>
                  <a:gd name="connsiteX117" fmla="*/ 1811677 w 4519987"/>
                  <a:gd name="connsiteY117" fmla="*/ 114300 h 4496940"/>
                  <a:gd name="connsiteX118" fmla="*/ 1859302 w 4519987"/>
                  <a:gd name="connsiteY118" fmla="*/ 104775 h 4496940"/>
                  <a:gd name="connsiteX119" fmla="*/ 1916452 w 4519987"/>
                  <a:gd name="connsiteY119" fmla="*/ 95250 h 4496940"/>
                  <a:gd name="connsiteX120" fmla="*/ 2030752 w 4519987"/>
                  <a:gd name="connsiteY120" fmla="*/ 66675 h 4496940"/>
                  <a:gd name="connsiteX121" fmla="*/ 2097427 w 4519987"/>
                  <a:gd name="connsiteY121" fmla="*/ 47625 h 4496940"/>
                  <a:gd name="connsiteX122" fmla="*/ 2164102 w 4519987"/>
                  <a:gd name="connsiteY122" fmla="*/ 38100 h 4496940"/>
                  <a:gd name="connsiteX123" fmla="*/ 2392702 w 4519987"/>
                  <a:gd name="connsiteY12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335677 w 4519987"/>
                  <a:gd name="connsiteY37" fmla="*/ 4238625 h 4496940"/>
                  <a:gd name="connsiteX38" fmla="*/ 3240427 w 4519987"/>
                  <a:gd name="connsiteY38" fmla="*/ 4267200 h 4496940"/>
                  <a:gd name="connsiteX39" fmla="*/ 3068977 w 4519987"/>
                  <a:gd name="connsiteY39" fmla="*/ 4286250 h 4496940"/>
                  <a:gd name="connsiteX40" fmla="*/ 2935627 w 4519987"/>
                  <a:gd name="connsiteY40" fmla="*/ 4333875 h 4496940"/>
                  <a:gd name="connsiteX41" fmla="*/ 2811802 w 4519987"/>
                  <a:gd name="connsiteY41" fmla="*/ 4371975 h 4496940"/>
                  <a:gd name="connsiteX42" fmla="*/ 2745127 w 4519987"/>
                  <a:gd name="connsiteY42" fmla="*/ 4410075 h 4496940"/>
                  <a:gd name="connsiteX43" fmla="*/ 2697502 w 4519987"/>
                  <a:gd name="connsiteY43" fmla="*/ 4429125 h 4496940"/>
                  <a:gd name="connsiteX44" fmla="*/ 2640352 w 4519987"/>
                  <a:gd name="connsiteY44" fmla="*/ 4457700 h 4496940"/>
                  <a:gd name="connsiteX45" fmla="*/ 2583202 w 4519987"/>
                  <a:gd name="connsiteY45" fmla="*/ 4467225 h 4496940"/>
                  <a:gd name="connsiteX46" fmla="*/ 2545102 w 4519987"/>
                  <a:gd name="connsiteY46" fmla="*/ 4486275 h 4496940"/>
                  <a:gd name="connsiteX47" fmla="*/ 2306977 w 4519987"/>
                  <a:gd name="connsiteY47" fmla="*/ 4476750 h 4496940"/>
                  <a:gd name="connsiteX48" fmla="*/ 2202202 w 4519987"/>
                  <a:gd name="connsiteY48" fmla="*/ 4457700 h 4496940"/>
                  <a:gd name="connsiteX49" fmla="*/ 2126002 w 4519987"/>
                  <a:gd name="connsiteY49" fmla="*/ 4429125 h 4496940"/>
                  <a:gd name="connsiteX50" fmla="*/ 1935502 w 4519987"/>
                  <a:gd name="connsiteY50" fmla="*/ 4400550 h 4496940"/>
                  <a:gd name="connsiteX51" fmla="*/ 1821202 w 4519987"/>
                  <a:gd name="connsiteY51" fmla="*/ 4371975 h 4496940"/>
                  <a:gd name="connsiteX52" fmla="*/ 1754527 w 4519987"/>
                  <a:gd name="connsiteY52" fmla="*/ 4352925 h 4496940"/>
                  <a:gd name="connsiteX53" fmla="*/ 1687852 w 4519987"/>
                  <a:gd name="connsiteY53" fmla="*/ 4343400 h 4496940"/>
                  <a:gd name="connsiteX54" fmla="*/ 1573552 w 4519987"/>
                  <a:gd name="connsiteY54" fmla="*/ 4305300 h 4496940"/>
                  <a:gd name="connsiteX55" fmla="*/ 1402102 w 4519987"/>
                  <a:gd name="connsiteY55" fmla="*/ 4276725 h 4496940"/>
                  <a:gd name="connsiteX56" fmla="*/ 1287802 w 4519987"/>
                  <a:gd name="connsiteY56" fmla="*/ 4229100 h 4496940"/>
                  <a:gd name="connsiteX57" fmla="*/ 1221127 w 4519987"/>
                  <a:gd name="connsiteY57" fmla="*/ 4200525 h 4496940"/>
                  <a:gd name="connsiteX58" fmla="*/ 1144927 w 4519987"/>
                  <a:gd name="connsiteY58" fmla="*/ 4171950 h 4496940"/>
                  <a:gd name="connsiteX59" fmla="*/ 1087777 w 4519987"/>
                  <a:gd name="connsiteY59" fmla="*/ 4143375 h 4496940"/>
                  <a:gd name="connsiteX60" fmla="*/ 1030627 w 4519987"/>
                  <a:gd name="connsiteY60" fmla="*/ 4124325 h 4496940"/>
                  <a:gd name="connsiteX61" fmla="*/ 925852 w 4519987"/>
                  <a:gd name="connsiteY61" fmla="*/ 4067175 h 4496940"/>
                  <a:gd name="connsiteX62" fmla="*/ 830602 w 4519987"/>
                  <a:gd name="connsiteY62" fmla="*/ 3981450 h 4496940"/>
                  <a:gd name="connsiteX63" fmla="*/ 763927 w 4519987"/>
                  <a:gd name="connsiteY63" fmla="*/ 3914775 h 4496940"/>
                  <a:gd name="connsiteX64" fmla="*/ 725827 w 4519987"/>
                  <a:gd name="connsiteY64" fmla="*/ 3876675 h 4496940"/>
                  <a:gd name="connsiteX65" fmla="*/ 697252 w 4519987"/>
                  <a:gd name="connsiteY65" fmla="*/ 3838575 h 4496940"/>
                  <a:gd name="connsiteX66" fmla="*/ 640102 w 4519987"/>
                  <a:gd name="connsiteY66" fmla="*/ 3781425 h 4496940"/>
                  <a:gd name="connsiteX67" fmla="*/ 611527 w 4519987"/>
                  <a:gd name="connsiteY67" fmla="*/ 3733800 h 4496940"/>
                  <a:gd name="connsiteX68" fmla="*/ 554377 w 4519987"/>
                  <a:gd name="connsiteY68" fmla="*/ 3657600 h 4496940"/>
                  <a:gd name="connsiteX69" fmla="*/ 525802 w 4519987"/>
                  <a:gd name="connsiteY69" fmla="*/ 3609975 h 4496940"/>
                  <a:gd name="connsiteX70" fmla="*/ 497227 w 4519987"/>
                  <a:gd name="connsiteY70" fmla="*/ 3552825 h 4496940"/>
                  <a:gd name="connsiteX71" fmla="*/ 440077 w 4519987"/>
                  <a:gd name="connsiteY71" fmla="*/ 3495675 h 4496940"/>
                  <a:gd name="connsiteX72" fmla="*/ 411502 w 4519987"/>
                  <a:gd name="connsiteY72" fmla="*/ 3448050 h 4496940"/>
                  <a:gd name="connsiteX73" fmla="*/ 278152 w 4519987"/>
                  <a:gd name="connsiteY73" fmla="*/ 3257550 h 4496940"/>
                  <a:gd name="connsiteX74" fmla="*/ 249577 w 4519987"/>
                  <a:gd name="connsiteY74" fmla="*/ 3200400 h 4496940"/>
                  <a:gd name="connsiteX75" fmla="*/ 240052 w 4519987"/>
                  <a:gd name="connsiteY75" fmla="*/ 3162300 h 4496940"/>
                  <a:gd name="connsiteX76" fmla="*/ 221002 w 4519987"/>
                  <a:gd name="connsiteY76" fmla="*/ 3105150 h 4496940"/>
                  <a:gd name="connsiteX77" fmla="*/ 173377 w 4519987"/>
                  <a:gd name="connsiteY77" fmla="*/ 3019425 h 4496940"/>
                  <a:gd name="connsiteX78" fmla="*/ 144802 w 4519987"/>
                  <a:gd name="connsiteY78" fmla="*/ 2924175 h 4496940"/>
                  <a:gd name="connsiteX79" fmla="*/ 68602 w 4519987"/>
                  <a:gd name="connsiteY79" fmla="*/ 2724150 h 4496940"/>
                  <a:gd name="connsiteX80" fmla="*/ 49552 w 4519987"/>
                  <a:gd name="connsiteY80" fmla="*/ 2638425 h 4496940"/>
                  <a:gd name="connsiteX81" fmla="*/ 40027 w 4519987"/>
                  <a:gd name="connsiteY81" fmla="*/ 2562225 h 4496940"/>
                  <a:gd name="connsiteX82" fmla="*/ 30502 w 4519987"/>
                  <a:gd name="connsiteY82" fmla="*/ 2514600 h 4496940"/>
                  <a:gd name="connsiteX83" fmla="*/ 11452 w 4519987"/>
                  <a:gd name="connsiteY83" fmla="*/ 2400300 h 4496940"/>
                  <a:gd name="connsiteX84" fmla="*/ 20977 w 4519987"/>
                  <a:gd name="connsiteY84" fmla="*/ 1905000 h 4496940"/>
                  <a:gd name="connsiteX85" fmla="*/ 30502 w 4519987"/>
                  <a:gd name="connsiteY85" fmla="*/ 1838325 h 4496940"/>
                  <a:gd name="connsiteX86" fmla="*/ 49552 w 4519987"/>
                  <a:gd name="connsiteY86" fmla="*/ 1781175 h 4496940"/>
                  <a:gd name="connsiteX87" fmla="*/ 59077 w 4519987"/>
                  <a:gd name="connsiteY87" fmla="*/ 1743075 h 4496940"/>
                  <a:gd name="connsiteX88" fmla="*/ 78127 w 4519987"/>
                  <a:gd name="connsiteY88" fmla="*/ 1685925 h 4496940"/>
                  <a:gd name="connsiteX89" fmla="*/ 87652 w 4519987"/>
                  <a:gd name="connsiteY89" fmla="*/ 1638300 h 4496940"/>
                  <a:gd name="connsiteX90" fmla="*/ 106702 w 4519987"/>
                  <a:gd name="connsiteY90" fmla="*/ 1590675 h 4496940"/>
                  <a:gd name="connsiteX91" fmla="*/ 135277 w 4519987"/>
                  <a:gd name="connsiteY91" fmla="*/ 1504950 h 4496940"/>
                  <a:gd name="connsiteX92" fmla="*/ 154327 w 4519987"/>
                  <a:gd name="connsiteY92" fmla="*/ 1419225 h 4496940"/>
                  <a:gd name="connsiteX93" fmla="*/ 230527 w 4519987"/>
                  <a:gd name="connsiteY93" fmla="*/ 1276350 h 4496940"/>
                  <a:gd name="connsiteX94" fmla="*/ 240052 w 4519987"/>
                  <a:gd name="connsiteY94" fmla="*/ 1247775 h 4496940"/>
                  <a:gd name="connsiteX95" fmla="*/ 268627 w 4519987"/>
                  <a:gd name="connsiteY95" fmla="*/ 1200150 h 4496940"/>
                  <a:gd name="connsiteX96" fmla="*/ 287677 w 4519987"/>
                  <a:gd name="connsiteY96" fmla="*/ 1152525 h 4496940"/>
                  <a:gd name="connsiteX97" fmla="*/ 316252 w 4519987"/>
                  <a:gd name="connsiteY97" fmla="*/ 1114425 h 4496940"/>
                  <a:gd name="connsiteX98" fmla="*/ 363877 w 4519987"/>
                  <a:gd name="connsiteY98" fmla="*/ 1038225 h 4496940"/>
                  <a:gd name="connsiteX99" fmla="*/ 382927 w 4519987"/>
                  <a:gd name="connsiteY99" fmla="*/ 1009650 h 4496940"/>
                  <a:gd name="connsiteX100" fmla="*/ 440077 w 4519987"/>
                  <a:gd name="connsiteY100" fmla="*/ 904875 h 4496940"/>
                  <a:gd name="connsiteX101" fmla="*/ 478177 w 4519987"/>
                  <a:gd name="connsiteY101" fmla="*/ 857250 h 4496940"/>
                  <a:gd name="connsiteX102" fmla="*/ 497227 w 4519987"/>
                  <a:gd name="connsiteY102" fmla="*/ 828675 h 4496940"/>
                  <a:gd name="connsiteX103" fmla="*/ 535327 w 4519987"/>
                  <a:gd name="connsiteY103" fmla="*/ 800100 h 4496940"/>
                  <a:gd name="connsiteX104" fmla="*/ 602002 w 4519987"/>
                  <a:gd name="connsiteY104" fmla="*/ 733425 h 4496940"/>
                  <a:gd name="connsiteX105" fmla="*/ 668677 w 4519987"/>
                  <a:gd name="connsiteY105" fmla="*/ 676275 h 4496940"/>
                  <a:gd name="connsiteX106" fmla="*/ 697252 w 4519987"/>
                  <a:gd name="connsiteY106" fmla="*/ 657225 h 4496940"/>
                  <a:gd name="connsiteX107" fmla="*/ 840127 w 4519987"/>
                  <a:gd name="connsiteY107" fmla="*/ 533400 h 4496940"/>
                  <a:gd name="connsiteX108" fmla="*/ 887752 w 4519987"/>
                  <a:gd name="connsiteY108" fmla="*/ 504825 h 4496940"/>
                  <a:gd name="connsiteX109" fmla="*/ 1167152 w 4519987"/>
                  <a:gd name="connsiteY109" fmla="*/ 311150 h 4496940"/>
                  <a:gd name="connsiteX110" fmla="*/ 1268752 w 4519987"/>
                  <a:gd name="connsiteY110" fmla="*/ 285750 h 4496940"/>
                  <a:gd name="connsiteX111" fmla="*/ 1411627 w 4519987"/>
                  <a:gd name="connsiteY111" fmla="*/ 190500 h 4496940"/>
                  <a:gd name="connsiteX112" fmla="*/ 1449727 w 4519987"/>
                  <a:gd name="connsiteY112" fmla="*/ 161925 h 4496940"/>
                  <a:gd name="connsiteX113" fmla="*/ 1525927 w 4519987"/>
                  <a:gd name="connsiteY113" fmla="*/ 152400 h 4496940"/>
                  <a:gd name="connsiteX114" fmla="*/ 1583077 w 4519987"/>
                  <a:gd name="connsiteY114" fmla="*/ 142875 h 4496940"/>
                  <a:gd name="connsiteX115" fmla="*/ 1716427 w 4519987"/>
                  <a:gd name="connsiteY115" fmla="*/ 123825 h 4496940"/>
                  <a:gd name="connsiteX116" fmla="*/ 1811677 w 4519987"/>
                  <a:gd name="connsiteY116" fmla="*/ 114300 h 4496940"/>
                  <a:gd name="connsiteX117" fmla="*/ 1859302 w 4519987"/>
                  <a:gd name="connsiteY117" fmla="*/ 104775 h 4496940"/>
                  <a:gd name="connsiteX118" fmla="*/ 1916452 w 4519987"/>
                  <a:gd name="connsiteY118" fmla="*/ 95250 h 4496940"/>
                  <a:gd name="connsiteX119" fmla="*/ 2030752 w 4519987"/>
                  <a:gd name="connsiteY119" fmla="*/ 66675 h 4496940"/>
                  <a:gd name="connsiteX120" fmla="*/ 2097427 w 4519987"/>
                  <a:gd name="connsiteY120" fmla="*/ 47625 h 4496940"/>
                  <a:gd name="connsiteX121" fmla="*/ 2164102 w 4519987"/>
                  <a:gd name="connsiteY121" fmla="*/ 38100 h 4496940"/>
                  <a:gd name="connsiteX122" fmla="*/ 2392702 w 4519987"/>
                  <a:gd name="connsiteY12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240427 w 4519987"/>
                  <a:gd name="connsiteY37" fmla="*/ 4267200 h 4496940"/>
                  <a:gd name="connsiteX38" fmla="*/ 3068977 w 4519987"/>
                  <a:gd name="connsiteY38" fmla="*/ 4286250 h 4496940"/>
                  <a:gd name="connsiteX39" fmla="*/ 2935627 w 4519987"/>
                  <a:gd name="connsiteY39" fmla="*/ 4333875 h 4496940"/>
                  <a:gd name="connsiteX40" fmla="*/ 2811802 w 4519987"/>
                  <a:gd name="connsiteY40" fmla="*/ 4371975 h 4496940"/>
                  <a:gd name="connsiteX41" fmla="*/ 2745127 w 4519987"/>
                  <a:gd name="connsiteY41" fmla="*/ 4410075 h 4496940"/>
                  <a:gd name="connsiteX42" fmla="*/ 2697502 w 4519987"/>
                  <a:gd name="connsiteY42" fmla="*/ 4429125 h 4496940"/>
                  <a:gd name="connsiteX43" fmla="*/ 2640352 w 4519987"/>
                  <a:gd name="connsiteY43" fmla="*/ 4457700 h 4496940"/>
                  <a:gd name="connsiteX44" fmla="*/ 2583202 w 4519987"/>
                  <a:gd name="connsiteY44" fmla="*/ 4467225 h 4496940"/>
                  <a:gd name="connsiteX45" fmla="*/ 2545102 w 4519987"/>
                  <a:gd name="connsiteY45" fmla="*/ 4486275 h 4496940"/>
                  <a:gd name="connsiteX46" fmla="*/ 2306977 w 4519987"/>
                  <a:gd name="connsiteY46" fmla="*/ 4476750 h 4496940"/>
                  <a:gd name="connsiteX47" fmla="*/ 2202202 w 4519987"/>
                  <a:gd name="connsiteY47" fmla="*/ 4457700 h 4496940"/>
                  <a:gd name="connsiteX48" fmla="*/ 2126002 w 4519987"/>
                  <a:gd name="connsiteY48" fmla="*/ 4429125 h 4496940"/>
                  <a:gd name="connsiteX49" fmla="*/ 1935502 w 4519987"/>
                  <a:gd name="connsiteY49" fmla="*/ 4400550 h 4496940"/>
                  <a:gd name="connsiteX50" fmla="*/ 1821202 w 4519987"/>
                  <a:gd name="connsiteY50" fmla="*/ 4371975 h 4496940"/>
                  <a:gd name="connsiteX51" fmla="*/ 1754527 w 4519987"/>
                  <a:gd name="connsiteY51" fmla="*/ 4352925 h 4496940"/>
                  <a:gd name="connsiteX52" fmla="*/ 1687852 w 4519987"/>
                  <a:gd name="connsiteY52" fmla="*/ 4343400 h 4496940"/>
                  <a:gd name="connsiteX53" fmla="*/ 1573552 w 4519987"/>
                  <a:gd name="connsiteY53" fmla="*/ 4305300 h 4496940"/>
                  <a:gd name="connsiteX54" fmla="*/ 1402102 w 4519987"/>
                  <a:gd name="connsiteY54" fmla="*/ 4276725 h 4496940"/>
                  <a:gd name="connsiteX55" fmla="*/ 1287802 w 4519987"/>
                  <a:gd name="connsiteY55" fmla="*/ 4229100 h 4496940"/>
                  <a:gd name="connsiteX56" fmla="*/ 1221127 w 4519987"/>
                  <a:gd name="connsiteY56" fmla="*/ 4200525 h 4496940"/>
                  <a:gd name="connsiteX57" fmla="*/ 1144927 w 4519987"/>
                  <a:gd name="connsiteY57" fmla="*/ 4171950 h 4496940"/>
                  <a:gd name="connsiteX58" fmla="*/ 1087777 w 4519987"/>
                  <a:gd name="connsiteY58" fmla="*/ 4143375 h 4496940"/>
                  <a:gd name="connsiteX59" fmla="*/ 1030627 w 4519987"/>
                  <a:gd name="connsiteY59" fmla="*/ 4124325 h 4496940"/>
                  <a:gd name="connsiteX60" fmla="*/ 925852 w 4519987"/>
                  <a:gd name="connsiteY60" fmla="*/ 4067175 h 4496940"/>
                  <a:gd name="connsiteX61" fmla="*/ 830602 w 4519987"/>
                  <a:gd name="connsiteY61" fmla="*/ 3981450 h 4496940"/>
                  <a:gd name="connsiteX62" fmla="*/ 763927 w 4519987"/>
                  <a:gd name="connsiteY62" fmla="*/ 3914775 h 4496940"/>
                  <a:gd name="connsiteX63" fmla="*/ 725827 w 4519987"/>
                  <a:gd name="connsiteY63" fmla="*/ 3876675 h 4496940"/>
                  <a:gd name="connsiteX64" fmla="*/ 697252 w 4519987"/>
                  <a:gd name="connsiteY64" fmla="*/ 3838575 h 4496940"/>
                  <a:gd name="connsiteX65" fmla="*/ 640102 w 4519987"/>
                  <a:gd name="connsiteY65" fmla="*/ 3781425 h 4496940"/>
                  <a:gd name="connsiteX66" fmla="*/ 611527 w 4519987"/>
                  <a:gd name="connsiteY66" fmla="*/ 3733800 h 4496940"/>
                  <a:gd name="connsiteX67" fmla="*/ 554377 w 4519987"/>
                  <a:gd name="connsiteY67" fmla="*/ 3657600 h 4496940"/>
                  <a:gd name="connsiteX68" fmla="*/ 525802 w 4519987"/>
                  <a:gd name="connsiteY68" fmla="*/ 3609975 h 4496940"/>
                  <a:gd name="connsiteX69" fmla="*/ 497227 w 4519987"/>
                  <a:gd name="connsiteY69" fmla="*/ 3552825 h 4496940"/>
                  <a:gd name="connsiteX70" fmla="*/ 440077 w 4519987"/>
                  <a:gd name="connsiteY70" fmla="*/ 3495675 h 4496940"/>
                  <a:gd name="connsiteX71" fmla="*/ 411502 w 4519987"/>
                  <a:gd name="connsiteY71" fmla="*/ 3448050 h 4496940"/>
                  <a:gd name="connsiteX72" fmla="*/ 278152 w 4519987"/>
                  <a:gd name="connsiteY72" fmla="*/ 3257550 h 4496940"/>
                  <a:gd name="connsiteX73" fmla="*/ 249577 w 4519987"/>
                  <a:gd name="connsiteY73" fmla="*/ 3200400 h 4496940"/>
                  <a:gd name="connsiteX74" fmla="*/ 240052 w 4519987"/>
                  <a:gd name="connsiteY74" fmla="*/ 3162300 h 4496940"/>
                  <a:gd name="connsiteX75" fmla="*/ 221002 w 4519987"/>
                  <a:gd name="connsiteY75" fmla="*/ 3105150 h 4496940"/>
                  <a:gd name="connsiteX76" fmla="*/ 173377 w 4519987"/>
                  <a:gd name="connsiteY76" fmla="*/ 3019425 h 4496940"/>
                  <a:gd name="connsiteX77" fmla="*/ 144802 w 4519987"/>
                  <a:gd name="connsiteY77" fmla="*/ 2924175 h 4496940"/>
                  <a:gd name="connsiteX78" fmla="*/ 68602 w 4519987"/>
                  <a:gd name="connsiteY78" fmla="*/ 2724150 h 4496940"/>
                  <a:gd name="connsiteX79" fmla="*/ 49552 w 4519987"/>
                  <a:gd name="connsiteY79" fmla="*/ 2638425 h 4496940"/>
                  <a:gd name="connsiteX80" fmla="*/ 40027 w 4519987"/>
                  <a:gd name="connsiteY80" fmla="*/ 2562225 h 4496940"/>
                  <a:gd name="connsiteX81" fmla="*/ 30502 w 4519987"/>
                  <a:gd name="connsiteY81" fmla="*/ 2514600 h 4496940"/>
                  <a:gd name="connsiteX82" fmla="*/ 11452 w 4519987"/>
                  <a:gd name="connsiteY82" fmla="*/ 2400300 h 4496940"/>
                  <a:gd name="connsiteX83" fmla="*/ 20977 w 4519987"/>
                  <a:gd name="connsiteY83" fmla="*/ 1905000 h 4496940"/>
                  <a:gd name="connsiteX84" fmla="*/ 30502 w 4519987"/>
                  <a:gd name="connsiteY84" fmla="*/ 1838325 h 4496940"/>
                  <a:gd name="connsiteX85" fmla="*/ 49552 w 4519987"/>
                  <a:gd name="connsiteY85" fmla="*/ 1781175 h 4496940"/>
                  <a:gd name="connsiteX86" fmla="*/ 59077 w 4519987"/>
                  <a:gd name="connsiteY86" fmla="*/ 1743075 h 4496940"/>
                  <a:gd name="connsiteX87" fmla="*/ 78127 w 4519987"/>
                  <a:gd name="connsiteY87" fmla="*/ 1685925 h 4496940"/>
                  <a:gd name="connsiteX88" fmla="*/ 87652 w 4519987"/>
                  <a:gd name="connsiteY88" fmla="*/ 1638300 h 4496940"/>
                  <a:gd name="connsiteX89" fmla="*/ 106702 w 4519987"/>
                  <a:gd name="connsiteY89" fmla="*/ 1590675 h 4496940"/>
                  <a:gd name="connsiteX90" fmla="*/ 135277 w 4519987"/>
                  <a:gd name="connsiteY90" fmla="*/ 1504950 h 4496940"/>
                  <a:gd name="connsiteX91" fmla="*/ 154327 w 4519987"/>
                  <a:gd name="connsiteY91" fmla="*/ 1419225 h 4496940"/>
                  <a:gd name="connsiteX92" fmla="*/ 230527 w 4519987"/>
                  <a:gd name="connsiteY92" fmla="*/ 1276350 h 4496940"/>
                  <a:gd name="connsiteX93" fmla="*/ 240052 w 4519987"/>
                  <a:gd name="connsiteY93" fmla="*/ 1247775 h 4496940"/>
                  <a:gd name="connsiteX94" fmla="*/ 268627 w 4519987"/>
                  <a:gd name="connsiteY94" fmla="*/ 1200150 h 4496940"/>
                  <a:gd name="connsiteX95" fmla="*/ 287677 w 4519987"/>
                  <a:gd name="connsiteY95" fmla="*/ 1152525 h 4496940"/>
                  <a:gd name="connsiteX96" fmla="*/ 316252 w 4519987"/>
                  <a:gd name="connsiteY96" fmla="*/ 1114425 h 4496940"/>
                  <a:gd name="connsiteX97" fmla="*/ 363877 w 4519987"/>
                  <a:gd name="connsiteY97" fmla="*/ 1038225 h 4496940"/>
                  <a:gd name="connsiteX98" fmla="*/ 382927 w 4519987"/>
                  <a:gd name="connsiteY98" fmla="*/ 1009650 h 4496940"/>
                  <a:gd name="connsiteX99" fmla="*/ 440077 w 4519987"/>
                  <a:gd name="connsiteY99" fmla="*/ 904875 h 4496940"/>
                  <a:gd name="connsiteX100" fmla="*/ 478177 w 4519987"/>
                  <a:gd name="connsiteY100" fmla="*/ 857250 h 4496940"/>
                  <a:gd name="connsiteX101" fmla="*/ 497227 w 4519987"/>
                  <a:gd name="connsiteY101" fmla="*/ 828675 h 4496940"/>
                  <a:gd name="connsiteX102" fmla="*/ 535327 w 4519987"/>
                  <a:gd name="connsiteY102" fmla="*/ 800100 h 4496940"/>
                  <a:gd name="connsiteX103" fmla="*/ 602002 w 4519987"/>
                  <a:gd name="connsiteY103" fmla="*/ 733425 h 4496940"/>
                  <a:gd name="connsiteX104" fmla="*/ 668677 w 4519987"/>
                  <a:gd name="connsiteY104" fmla="*/ 676275 h 4496940"/>
                  <a:gd name="connsiteX105" fmla="*/ 697252 w 4519987"/>
                  <a:gd name="connsiteY105" fmla="*/ 657225 h 4496940"/>
                  <a:gd name="connsiteX106" fmla="*/ 840127 w 4519987"/>
                  <a:gd name="connsiteY106" fmla="*/ 533400 h 4496940"/>
                  <a:gd name="connsiteX107" fmla="*/ 887752 w 4519987"/>
                  <a:gd name="connsiteY107" fmla="*/ 504825 h 4496940"/>
                  <a:gd name="connsiteX108" fmla="*/ 1167152 w 4519987"/>
                  <a:gd name="connsiteY108" fmla="*/ 311150 h 4496940"/>
                  <a:gd name="connsiteX109" fmla="*/ 1268752 w 4519987"/>
                  <a:gd name="connsiteY109" fmla="*/ 285750 h 4496940"/>
                  <a:gd name="connsiteX110" fmla="*/ 1411627 w 4519987"/>
                  <a:gd name="connsiteY110" fmla="*/ 190500 h 4496940"/>
                  <a:gd name="connsiteX111" fmla="*/ 1449727 w 4519987"/>
                  <a:gd name="connsiteY111" fmla="*/ 161925 h 4496940"/>
                  <a:gd name="connsiteX112" fmla="*/ 1525927 w 4519987"/>
                  <a:gd name="connsiteY112" fmla="*/ 152400 h 4496940"/>
                  <a:gd name="connsiteX113" fmla="*/ 1583077 w 4519987"/>
                  <a:gd name="connsiteY113" fmla="*/ 142875 h 4496940"/>
                  <a:gd name="connsiteX114" fmla="*/ 1716427 w 4519987"/>
                  <a:gd name="connsiteY114" fmla="*/ 123825 h 4496940"/>
                  <a:gd name="connsiteX115" fmla="*/ 1811677 w 4519987"/>
                  <a:gd name="connsiteY115" fmla="*/ 114300 h 4496940"/>
                  <a:gd name="connsiteX116" fmla="*/ 1859302 w 4519987"/>
                  <a:gd name="connsiteY116" fmla="*/ 104775 h 4496940"/>
                  <a:gd name="connsiteX117" fmla="*/ 1916452 w 4519987"/>
                  <a:gd name="connsiteY117" fmla="*/ 95250 h 4496940"/>
                  <a:gd name="connsiteX118" fmla="*/ 2030752 w 4519987"/>
                  <a:gd name="connsiteY118" fmla="*/ 66675 h 4496940"/>
                  <a:gd name="connsiteX119" fmla="*/ 2097427 w 4519987"/>
                  <a:gd name="connsiteY119" fmla="*/ 47625 h 4496940"/>
                  <a:gd name="connsiteX120" fmla="*/ 2164102 w 4519987"/>
                  <a:gd name="connsiteY120" fmla="*/ 38100 h 4496940"/>
                  <a:gd name="connsiteX121" fmla="*/ 2392702 w 4519987"/>
                  <a:gd name="connsiteY12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221377 w 4519987"/>
                  <a:gd name="connsiteY37" fmla="*/ 4222750 h 4496940"/>
                  <a:gd name="connsiteX38" fmla="*/ 3068977 w 4519987"/>
                  <a:gd name="connsiteY38" fmla="*/ 4286250 h 4496940"/>
                  <a:gd name="connsiteX39" fmla="*/ 2935627 w 4519987"/>
                  <a:gd name="connsiteY39" fmla="*/ 4333875 h 4496940"/>
                  <a:gd name="connsiteX40" fmla="*/ 2811802 w 4519987"/>
                  <a:gd name="connsiteY40" fmla="*/ 4371975 h 4496940"/>
                  <a:gd name="connsiteX41" fmla="*/ 2745127 w 4519987"/>
                  <a:gd name="connsiteY41" fmla="*/ 4410075 h 4496940"/>
                  <a:gd name="connsiteX42" fmla="*/ 2697502 w 4519987"/>
                  <a:gd name="connsiteY42" fmla="*/ 4429125 h 4496940"/>
                  <a:gd name="connsiteX43" fmla="*/ 2640352 w 4519987"/>
                  <a:gd name="connsiteY43" fmla="*/ 4457700 h 4496940"/>
                  <a:gd name="connsiteX44" fmla="*/ 2583202 w 4519987"/>
                  <a:gd name="connsiteY44" fmla="*/ 4467225 h 4496940"/>
                  <a:gd name="connsiteX45" fmla="*/ 2545102 w 4519987"/>
                  <a:gd name="connsiteY45" fmla="*/ 4486275 h 4496940"/>
                  <a:gd name="connsiteX46" fmla="*/ 2306977 w 4519987"/>
                  <a:gd name="connsiteY46" fmla="*/ 4476750 h 4496940"/>
                  <a:gd name="connsiteX47" fmla="*/ 2202202 w 4519987"/>
                  <a:gd name="connsiteY47" fmla="*/ 4457700 h 4496940"/>
                  <a:gd name="connsiteX48" fmla="*/ 2126002 w 4519987"/>
                  <a:gd name="connsiteY48" fmla="*/ 4429125 h 4496940"/>
                  <a:gd name="connsiteX49" fmla="*/ 1935502 w 4519987"/>
                  <a:gd name="connsiteY49" fmla="*/ 4400550 h 4496940"/>
                  <a:gd name="connsiteX50" fmla="*/ 1821202 w 4519987"/>
                  <a:gd name="connsiteY50" fmla="*/ 4371975 h 4496940"/>
                  <a:gd name="connsiteX51" fmla="*/ 1754527 w 4519987"/>
                  <a:gd name="connsiteY51" fmla="*/ 4352925 h 4496940"/>
                  <a:gd name="connsiteX52" fmla="*/ 1687852 w 4519987"/>
                  <a:gd name="connsiteY52" fmla="*/ 4343400 h 4496940"/>
                  <a:gd name="connsiteX53" fmla="*/ 1573552 w 4519987"/>
                  <a:gd name="connsiteY53" fmla="*/ 4305300 h 4496940"/>
                  <a:gd name="connsiteX54" fmla="*/ 1402102 w 4519987"/>
                  <a:gd name="connsiteY54" fmla="*/ 4276725 h 4496940"/>
                  <a:gd name="connsiteX55" fmla="*/ 1287802 w 4519987"/>
                  <a:gd name="connsiteY55" fmla="*/ 4229100 h 4496940"/>
                  <a:gd name="connsiteX56" fmla="*/ 1221127 w 4519987"/>
                  <a:gd name="connsiteY56" fmla="*/ 4200525 h 4496940"/>
                  <a:gd name="connsiteX57" fmla="*/ 1144927 w 4519987"/>
                  <a:gd name="connsiteY57" fmla="*/ 4171950 h 4496940"/>
                  <a:gd name="connsiteX58" fmla="*/ 1087777 w 4519987"/>
                  <a:gd name="connsiteY58" fmla="*/ 4143375 h 4496940"/>
                  <a:gd name="connsiteX59" fmla="*/ 1030627 w 4519987"/>
                  <a:gd name="connsiteY59" fmla="*/ 4124325 h 4496940"/>
                  <a:gd name="connsiteX60" fmla="*/ 925852 w 4519987"/>
                  <a:gd name="connsiteY60" fmla="*/ 4067175 h 4496940"/>
                  <a:gd name="connsiteX61" fmla="*/ 830602 w 4519987"/>
                  <a:gd name="connsiteY61" fmla="*/ 3981450 h 4496940"/>
                  <a:gd name="connsiteX62" fmla="*/ 763927 w 4519987"/>
                  <a:gd name="connsiteY62" fmla="*/ 3914775 h 4496940"/>
                  <a:gd name="connsiteX63" fmla="*/ 725827 w 4519987"/>
                  <a:gd name="connsiteY63" fmla="*/ 3876675 h 4496940"/>
                  <a:gd name="connsiteX64" fmla="*/ 697252 w 4519987"/>
                  <a:gd name="connsiteY64" fmla="*/ 3838575 h 4496940"/>
                  <a:gd name="connsiteX65" fmla="*/ 640102 w 4519987"/>
                  <a:gd name="connsiteY65" fmla="*/ 3781425 h 4496940"/>
                  <a:gd name="connsiteX66" fmla="*/ 611527 w 4519987"/>
                  <a:gd name="connsiteY66" fmla="*/ 3733800 h 4496940"/>
                  <a:gd name="connsiteX67" fmla="*/ 554377 w 4519987"/>
                  <a:gd name="connsiteY67" fmla="*/ 3657600 h 4496940"/>
                  <a:gd name="connsiteX68" fmla="*/ 525802 w 4519987"/>
                  <a:gd name="connsiteY68" fmla="*/ 3609975 h 4496940"/>
                  <a:gd name="connsiteX69" fmla="*/ 497227 w 4519987"/>
                  <a:gd name="connsiteY69" fmla="*/ 3552825 h 4496940"/>
                  <a:gd name="connsiteX70" fmla="*/ 440077 w 4519987"/>
                  <a:gd name="connsiteY70" fmla="*/ 3495675 h 4496940"/>
                  <a:gd name="connsiteX71" fmla="*/ 411502 w 4519987"/>
                  <a:gd name="connsiteY71" fmla="*/ 3448050 h 4496940"/>
                  <a:gd name="connsiteX72" fmla="*/ 278152 w 4519987"/>
                  <a:gd name="connsiteY72" fmla="*/ 3257550 h 4496940"/>
                  <a:gd name="connsiteX73" fmla="*/ 249577 w 4519987"/>
                  <a:gd name="connsiteY73" fmla="*/ 3200400 h 4496940"/>
                  <a:gd name="connsiteX74" fmla="*/ 240052 w 4519987"/>
                  <a:gd name="connsiteY74" fmla="*/ 3162300 h 4496940"/>
                  <a:gd name="connsiteX75" fmla="*/ 221002 w 4519987"/>
                  <a:gd name="connsiteY75" fmla="*/ 3105150 h 4496940"/>
                  <a:gd name="connsiteX76" fmla="*/ 173377 w 4519987"/>
                  <a:gd name="connsiteY76" fmla="*/ 3019425 h 4496940"/>
                  <a:gd name="connsiteX77" fmla="*/ 144802 w 4519987"/>
                  <a:gd name="connsiteY77" fmla="*/ 2924175 h 4496940"/>
                  <a:gd name="connsiteX78" fmla="*/ 68602 w 4519987"/>
                  <a:gd name="connsiteY78" fmla="*/ 2724150 h 4496940"/>
                  <a:gd name="connsiteX79" fmla="*/ 49552 w 4519987"/>
                  <a:gd name="connsiteY79" fmla="*/ 2638425 h 4496940"/>
                  <a:gd name="connsiteX80" fmla="*/ 40027 w 4519987"/>
                  <a:gd name="connsiteY80" fmla="*/ 2562225 h 4496940"/>
                  <a:gd name="connsiteX81" fmla="*/ 30502 w 4519987"/>
                  <a:gd name="connsiteY81" fmla="*/ 2514600 h 4496940"/>
                  <a:gd name="connsiteX82" fmla="*/ 11452 w 4519987"/>
                  <a:gd name="connsiteY82" fmla="*/ 2400300 h 4496940"/>
                  <a:gd name="connsiteX83" fmla="*/ 20977 w 4519987"/>
                  <a:gd name="connsiteY83" fmla="*/ 1905000 h 4496940"/>
                  <a:gd name="connsiteX84" fmla="*/ 30502 w 4519987"/>
                  <a:gd name="connsiteY84" fmla="*/ 1838325 h 4496940"/>
                  <a:gd name="connsiteX85" fmla="*/ 49552 w 4519987"/>
                  <a:gd name="connsiteY85" fmla="*/ 1781175 h 4496940"/>
                  <a:gd name="connsiteX86" fmla="*/ 59077 w 4519987"/>
                  <a:gd name="connsiteY86" fmla="*/ 1743075 h 4496940"/>
                  <a:gd name="connsiteX87" fmla="*/ 78127 w 4519987"/>
                  <a:gd name="connsiteY87" fmla="*/ 1685925 h 4496940"/>
                  <a:gd name="connsiteX88" fmla="*/ 87652 w 4519987"/>
                  <a:gd name="connsiteY88" fmla="*/ 1638300 h 4496940"/>
                  <a:gd name="connsiteX89" fmla="*/ 106702 w 4519987"/>
                  <a:gd name="connsiteY89" fmla="*/ 1590675 h 4496940"/>
                  <a:gd name="connsiteX90" fmla="*/ 135277 w 4519987"/>
                  <a:gd name="connsiteY90" fmla="*/ 1504950 h 4496940"/>
                  <a:gd name="connsiteX91" fmla="*/ 154327 w 4519987"/>
                  <a:gd name="connsiteY91" fmla="*/ 1419225 h 4496940"/>
                  <a:gd name="connsiteX92" fmla="*/ 230527 w 4519987"/>
                  <a:gd name="connsiteY92" fmla="*/ 1276350 h 4496940"/>
                  <a:gd name="connsiteX93" fmla="*/ 240052 w 4519987"/>
                  <a:gd name="connsiteY93" fmla="*/ 1247775 h 4496940"/>
                  <a:gd name="connsiteX94" fmla="*/ 268627 w 4519987"/>
                  <a:gd name="connsiteY94" fmla="*/ 1200150 h 4496940"/>
                  <a:gd name="connsiteX95" fmla="*/ 287677 w 4519987"/>
                  <a:gd name="connsiteY95" fmla="*/ 1152525 h 4496940"/>
                  <a:gd name="connsiteX96" fmla="*/ 316252 w 4519987"/>
                  <a:gd name="connsiteY96" fmla="*/ 1114425 h 4496940"/>
                  <a:gd name="connsiteX97" fmla="*/ 363877 w 4519987"/>
                  <a:gd name="connsiteY97" fmla="*/ 1038225 h 4496940"/>
                  <a:gd name="connsiteX98" fmla="*/ 382927 w 4519987"/>
                  <a:gd name="connsiteY98" fmla="*/ 1009650 h 4496940"/>
                  <a:gd name="connsiteX99" fmla="*/ 440077 w 4519987"/>
                  <a:gd name="connsiteY99" fmla="*/ 904875 h 4496940"/>
                  <a:gd name="connsiteX100" fmla="*/ 478177 w 4519987"/>
                  <a:gd name="connsiteY100" fmla="*/ 857250 h 4496940"/>
                  <a:gd name="connsiteX101" fmla="*/ 497227 w 4519987"/>
                  <a:gd name="connsiteY101" fmla="*/ 828675 h 4496940"/>
                  <a:gd name="connsiteX102" fmla="*/ 535327 w 4519987"/>
                  <a:gd name="connsiteY102" fmla="*/ 800100 h 4496940"/>
                  <a:gd name="connsiteX103" fmla="*/ 602002 w 4519987"/>
                  <a:gd name="connsiteY103" fmla="*/ 733425 h 4496940"/>
                  <a:gd name="connsiteX104" fmla="*/ 668677 w 4519987"/>
                  <a:gd name="connsiteY104" fmla="*/ 676275 h 4496940"/>
                  <a:gd name="connsiteX105" fmla="*/ 697252 w 4519987"/>
                  <a:gd name="connsiteY105" fmla="*/ 657225 h 4496940"/>
                  <a:gd name="connsiteX106" fmla="*/ 840127 w 4519987"/>
                  <a:gd name="connsiteY106" fmla="*/ 533400 h 4496940"/>
                  <a:gd name="connsiteX107" fmla="*/ 887752 w 4519987"/>
                  <a:gd name="connsiteY107" fmla="*/ 504825 h 4496940"/>
                  <a:gd name="connsiteX108" fmla="*/ 1167152 w 4519987"/>
                  <a:gd name="connsiteY108" fmla="*/ 311150 h 4496940"/>
                  <a:gd name="connsiteX109" fmla="*/ 1268752 w 4519987"/>
                  <a:gd name="connsiteY109" fmla="*/ 285750 h 4496940"/>
                  <a:gd name="connsiteX110" fmla="*/ 1411627 w 4519987"/>
                  <a:gd name="connsiteY110" fmla="*/ 190500 h 4496940"/>
                  <a:gd name="connsiteX111" fmla="*/ 1449727 w 4519987"/>
                  <a:gd name="connsiteY111" fmla="*/ 161925 h 4496940"/>
                  <a:gd name="connsiteX112" fmla="*/ 1525927 w 4519987"/>
                  <a:gd name="connsiteY112" fmla="*/ 152400 h 4496940"/>
                  <a:gd name="connsiteX113" fmla="*/ 1583077 w 4519987"/>
                  <a:gd name="connsiteY113" fmla="*/ 142875 h 4496940"/>
                  <a:gd name="connsiteX114" fmla="*/ 1716427 w 4519987"/>
                  <a:gd name="connsiteY114" fmla="*/ 123825 h 4496940"/>
                  <a:gd name="connsiteX115" fmla="*/ 1811677 w 4519987"/>
                  <a:gd name="connsiteY115" fmla="*/ 114300 h 4496940"/>
                  <a:gd name="connsiteX116" fmla="*/ 1859302 w 4519987"/>
                  <a:gd name="connsiteY116" fmla="*/ 104775 h 4496940"/>
                  <a:gd name="connsiteX117" fmla="*/ 1916452 w 4519987"/>
                  <a:gd name="connsiteY117" fmla="*/ 95250 h 4496940"/>
                  <a:gd name="connsiteX118" fmla="*/ 2030752 w 4519987"/>
                  <a:gd name="connsiteY118" fmla="*/ 66675 h 4496940"/>
                  <a:gd name="connsiteX119" fmla="*/ 2097427 w 4519987"/>
                  <a:gd name="connsiteY119" fmla="*/ 47625 h 4496940"/>
                  <a:gd name="connsiteX120" fmla="*/ 2164102 w 4519987"/>
                  <a:gd name="connsiteY120" fmla="*/ 38100 h 4496940"/>
                  <a:gd name="connsiteX121" fmla="*/ 2392702 w 4519987"/>
                  <a:gd name="connsiteY12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221377 w 4519987"/>
                  <a:gd name="connsiteY37" fmla="*/ 4222750 h 4496940"/>
                  <a:gd name="connsiteX38" fmla="*/ 3068977 w 4519987"/>
                  <a:gd name="connsiteY38" fmla="*/ 4286250 h 4496940"/>
                  <a:gd name="connsiteX39" fmla="*/ 2935627 w 4519987"/>
                  <a:gd name="connsiteY39" fmla="*/ 4333875 h 4496940"/>
                  <a:gd name="connsiteX40" fmla="*/ 2811802 w 4519987"/>
                  <a:gd name="connsiteY40" fmla="*/ 4371975 h 4496940"/>
                  <a:gd name="connsiteX41" fmla="*/ 2745127 w 4519987"/>
                  <a:gd name="connsiteY41" fmla="*/ 4410075 h 4496940"/>
                  <a:gd name="connsiteX42" fmla="*/ 2640352 w 4519987"/>
                  <a:gd name="connsiteY42" fmla="*/ 4457700 h 4496940"/>
                  <a:gd name="connsiteX43" fmla="*/ 2583202 w 4519987"/>
                  <a:gd name="connsiteY43" fmla="*/ 4467225 h 4496940"/>
                  <a:gd name="connsiteX44" fmla="*/ 2545102 w 4519987"/>
                  <a:gd name="connsiteY44" fmla="*/ 4486275 h 4496940"/>
                  <a:gd name="connsiteX45" fmla="*/ 2306977 w 4519987"/>
                  <a:gd name="connsiteY45" fmla="*/ 4476750 h 4496940"/>
                  <a:gd name="connsiteX46" fmla="*/ 2202202 w 4519987"/>
                  <a:gd name="connsiteY46" fmla="*/ 4457700 h 4496940"/>
                  <a:gd name="connsiteX47" fmla="*/ 2126002 w 4519987"/>
                  <a:gd name="connsiteY47" fmla="*/ 4429125 h 4496940"/>
                  <a:gd name="connsiteX48" fmla="*/ 1935502 w 4519987"/>
                  <a:gd name="connsiteY48" fmla="*/ 4400550 h 4496940"/>
                  <a:gd name="connsiteX49" fmla="*/ 1821202 w 4519987"/>
                  <a:gd name="connsiteY49" fmla="*/ 4371975 h 4496940"/>
                  <a:gd name="connsiteX50" fmla="*/ 1754527 w 4519987"/>
                  <a:gd name="connsiteY50" fmla="*/ 4352925 h 4496940"/>
                  <a:gd name="connsiteX51" fmla="*/ 1687852 w 4519987"/>
                  <a:gd name="connsiteY51" fmla="*/ 4343400 h 4496940"/>
                  <a:gd name="connsiteX52" fmla="*/ 1573552 w 4519987"/>
                  <a:gd name="connsiteY52" fmla="*/ 4305300 h 4496940"/>
                  <a:gd name="connsiteX53" fmla="*/ 1402102 w 4519987"/>
                  <a:gd name="connsiteY53" fmla="*/ 4276725 h 4496940"/>
                  <a:gd name="connsiteX54" fmla="*/ 1287802 w 4519987"/>
                  <a:gd name="connsiteY54" fmla="*/ 4229100 h 4496940"/>
                  <a:gd name="connsiteX55" fmla="*/ 1221127 w 4519987"/>
                  <a:gd name="connsiteY55" fmla="*/ 4200525 h 4496940"/>
                  <a:gd name="connsiteX56" fmla="*/ 1144927 w 4519987"/>
                  <a:gd name="connsiteY56" fmla="*/ 4171950 h 4496940"/>
                  <a:gd name="connsiteX57" fmla="*/ 1087777 w 4519987"/>
                  <a:gd name="connsiteY57" fmla="*/ 4143375 h 4496940"/>
                  <a:gd name="connsiteX58" fmla="*/ 1030627 w 4519987"/>
                  <a:gd name="connsiteY58" fmla="*/ 4124325 h 4496940"/>
                  <a:gd name="connsiteX59" fmla="*/ 925852 w 4519987"/>
                  <a:gd name="connsiteY59" fmla="*/ 4067175 h 4496940"/>
                  <a:gd name="connsiteX60" fmla="*/ 830602 w 4519987"/>
                  <a:gd name="connsiteY60" fmla="*/ 3981450 h 4496940"/>
                  <a:gd name="connsiteX61" fmla="*/ 763927 w 4519987"/>
                  <a:gd name="connsiteY61" fmla="*/ 3914775 h 4496940"/>
                  <a:gd name="connsiteX62" fmla="*/ 725827 w 4519987"/>
                  <a:gd name="connsiteY62" fmla="*/ 3876675 h 4496940"/>
                  <a:gd name="connsiteX63" fmla="*/ 697252 w 4519987"/>
                  <a:gd name="connsiteY63" fmla="*/ 3838575 h 4496940"/>
                  <a:gd name="connsiteX64" fmla="*/ 640102 w 4519987"/>
                  <a:gd name="connsiteY64" fmla="*/ 3781425 h 4496940"/>
                  <a:gd name="connsiteX65" fmla="*/ 611527 w 4519987"/>
                  <a:gd name="connsiteY65" fmla="*/ 3733800 h 4496940"/>
                  <a:gd name="connsiteX66" fmla="*/ 554377 w 4519987"/>
                  <a:gd name="connsiteY66" fmla="*/ 3657600 h 4496940"/>
                  <a:gd name="connsiteX67" fmla="*/ 525802 w 4519987"/>
                  <a:gd name="connsiteY67" fmla="*/ 3609975 h 4496940"/>
                  <a:gd name="connsiteX68" fmla="*/ 497227 w 4519987"/>
                  <a:gd name="connsiteY68" fmla="*/ 3552825 h 4496940"/>
                  <a:gd name="connsiteX69" fmla="*/ 440077 w 4519987"/>
                  <a:gd name="connsiteY69" fmla="*/ 3495675 h 4496940"/>
                  <a:gd name="connsiteX70" fmla="*/ 411502 w 4519987"/>
                  <a:gd name="connsiteY70" fmla="*/ 3448050 h 4496940"/>
                  <a:gd name="connsiteX71" fmla="*/ 278152 w 4519987"/>
                  <a:gd name="connsiteY71" fmla="*/ 3257550 h 4496940"/>
                  <a:gd name="connsiteX72" fmla="*/ 249577 w 4519987"/>
                  <a:gd name="connsiteY72" fmla="*/ 3200400 h 4496940"/>
                  <a:gd name="connsiteX73" fmla="*/ 240052 w 4519987"/>
                  <a:gd name="connsiteY73" fmla="*/ 3162300 h 4496940"/>
                  <a:gd name="connsiteX74" fmla="*/ 221002 w 4519987"/>
                  <a:gd name="connsiteY74" fmla="*/ 3105150 h 4496940"/>
                  <a:gd name="connsiteX75" fmla="*/ 173377 w 4519987"/>
                  <a:gd name="connsiteY75" fmla="*/ 3019425 h 4496940"/>
                  <a:gd name="connsiteX76" fmla="*/ 144802 w 4519987"/>
                  <a:gd name="connsiteY76" fmla="*/ 2924175 h 4496940"/>
                  <a:gd name="connsiteX77" fmla="*/ 68602 w 4519987"/>
                  <a:gd name="connsiteY77" fmla="*/ 2724150 h 4496940"/>
                  <a:gd name="connsiteX78" fmla="*/ 49552 w 4519987"/>
                  <a:gd name="connsiteY78" fmla="*/ 2638425 h 4496940"/>
                  <a:gd name="connsiteX79" fmla="*/ 40027 w 4519987"/>
                  <a:gd name="connsiteY79" fmla="*/ 2562225 h 4496940"/>
                  <a:gd name="connsiteX80" fmla="*/ 30502 w 4519987"/>
                  <a:gd name="connsiteY80" fmla="*/ 2514600 h 4496940"/>
                  <a:gd name="connsiteX81" fmla="*/ 11452 w 4519987"/>
                  <a:gd name="connsiteY81" fmla="*/ 2400300 h 4496940"/>
                  <a:gd name="connsiteX82" fmla="*/ 20977 w 4519987"/>
                  <a:gd name="connsiteY82" fmla="*/ 1905000 h 4496940"/>
                  <a:gd name="connsiteX83" fmla="*/ 30502 w 4519987"/>
                  <a:gd name="connsiteY83" fmla="*/ 1838325 h 4496940"/>
                  <a:gd name="connsiteX84" fmla="*/ 49552 w 4519987"/>
                  <a:gd name="connsiteY84" fmla="*/ 1781175 h 4496940"/>
                  <a:gd name="connsiteX85" fmla="*/ 59077 w 4519987"/>
                  <a:gd name="connsiteY85" fmla="*/ 1743075 h 4496940"/>
                  <a:gd name="connsiteX86" fmla="*/ 78127 w 4519987"/>
                  <a:gd name="connsiteY86" fmla="*/ 1685925 h 4496940"/>
                  <a:gd name="connsiteX87" fmla="*/ 87652 w 4519987"/>
                  <a:gd name="connsiteY87" fmla="*/ 1638300 h 4496940"/>
                  <a:gd name="connsiteX88" fmla="*/ 106702 w 4519987"/>
                  <a:gd name="connsiteY88" fmla="*/ 1590675 h 4496940"/>
                  <a:gd name="connsiteX89" fmla="*/ 135277 w 4519987"/>
                  <a:gd name="connsiteY89" fmla="*/ 1504950 h 4496940"/>
                  <a:gd name="connsiteX90" fmla="*/ 154327 w 4519987"/>
                  <a:gd name="connsiteY90" fmla="*/ 1419225 h 4496940"/>
                  <a:gd name="connsiteX91" fmla="*/ 230527 w 4519987"/>
                  <a:gd name="connsiteY91" fmla="*/ 1276350 h 4496940"/>
                  <a:gd name="connsiteX92" fmla="*/ 240052 w 4519987"/>
                  <a:gd name="connsiteY92" fmla="*/ 1247775 h 4496940"/>
                  <a:gd name="connsiteX93" fmla="*/ 268627 w 4519987"/>
                  <a:gd name="connsiteY93" fmla="*/ 1200150 h 4496940"/>
                  <a:gd name="connsiteX94" fmla="*/ 287677 w 4519987"/>
                  <a:gd name="connsiteY94" fmla="*/ 1152525 h 4496940"/>
                  <a:gd name="connsiteX95" fmla="*/ 316252 w 4519987"/>
                  <a:gd name="connsiteY95" fmla="*/ 1114425 h 4496940"/>
                  <a:gd name="connsiteX96" fmla="*/ 363877 w 4519987"/>
                  <a:gd name="connsiteY96" fmla="*/ 1038225 h 4496940"/>
                  <a:gd name="connsiteX97" fmla="*/ 382927 w 4519987"/>
                  <a:gd name="connsiteY97" fmla="*/ 1009650 h 4496940"/>
                  <a:gd name="connsiteX98" fmla="*/ 440077 w 4519987"/>
                  <a:gd name="connsiteY98" fmla="*/ 904875 h 4496940"/>
                  <a:gd name="connsiteX99" fmla="*/ 478177 w 4519987"/>
                  <a:gd name="connsiteY99" fmla="*/ 857250 h 4496940"/>
                  <a:gd name="connsiteX100" fmla="*/ 497227 w 4519987"/>
                  <a:gd name="connsiteY100" fmla="*/ 828675 h 4496940"/>
                  <a:gd name="connsiteX101" fmla="*/ 535327 w 4519987"/>
                  <a:gd name="connsiteY101" fmla="*/ 800100 h 4496940"/>
                  <a:gd name="connsiteX102" fmla="*/ 602002 w 4519987"/>
                  <a:gd name="connsiteY102" fmla="*/ 733425 h 4496940"/>
                  <a:gd name="connsiteX103" fmla="*/ 668677 w 4519987"/>
                  <a:gd name="connsiteY103" fmla="*/ 676275 h 4496940"/>
                  <a:gd name="connsiteX104" fmla="*/ 697252 w 4519987"/>
                  <a:gd name="connsiteY104" fmla="*/ 657225 h 4496940"/>
                  <a:gd name="connsiteX105" fmla="*/ 840127 w 4519987"/>
                  <a:gd name="connsiteY105" fmla="*/ 533400 h 4496940"/>
                  <a:gd name="connsiteX106" fmla="*/ 887752 w 4519987"/>
                  <a:gd name="connsiteY106" fmla="*/ 504825 h 4496940"/>
                  <a:gd name="connsiteX107" fmla="*/ 1167152 w 4519987"/>
                  <a:gd name="connsiteY107" fmla="*/ 311150 h 4496940"/>
                  <a:gd name="connsiteX108" fmla="*/ 1268752 w 4519987"/>
                  <a:gd name="connsiteY108" fmla="*/ 285750 h 4496940"/>
                  <a:gd name="connsiteX109" fmla="*/ 1411627 w 4519987"/>
                  <a:gd name="connsiteY109" fmla="*/ 190500 h 4496940"/>
                  <a:gd name="connsiteX110" fmla="*/ 1449727 w 4519987"/>
                  <a:gd name="connsiteY110" fmla="*/ 161925 h 4496940"/>
                  <a:gd name="connsiteX111" fmla="*/ 1525927 w 4519987"/>
                  <a:gd name="connsiteY111" fmla="*/ 152400 h 4496940"/>
                  <a:gd name="connsiteX112" fmla="*/ 1583077 w 4519987"/>
                  <a:gd name="connsiteY112" fmla="*/ 142875 h 4496940"/>
                  <a:gd name="connsiteX113" fmla="*/ 1716427 w 4519987"/>
                  <a:gd name="connsiteY113" fmla="*/ 123825 h 4496940"/>
                  <a:gd name="connsiteX114" fmla="*/ 1811677 w 4519987"/>
                  <a:gd name="connsiteY114" fmla="*/ 114300 h 4496940"/>
                  <a:gd name="connsiteX115" fmla="*/ 1859302 w 4519987"/>
                  <a:gd name="connsiteY115" fmla="*/ 104775 h 4496940"/>
                  <a:gd name="connsiteX116" fmla="*/ 1916452 w 4519987"/>
                  <a:gd name="connsiteY116" fmla="*/ 95250 h 4496940"/>
                  <a:gd name="connsiteX117" fmla="*/ 2030752 w 4519987"/>
                  <a:gd name="connsiteY117" fmla="*/ 66675 h 4496940"/>
                  <a:gd name="connsiteX118" fmla="*/ 2097427 w 4519987"/>
                  <a:gd name="connsiteY118" fmla="*/ 47625 h 4496940"/>
                  <a:gd name="connsiteX119" fmla="*/ 2164102 w 4519987"/>
                  <a:gd name="connsiteY119" fmla="*/ 38100 h 4496940"/>
                  <a:gd name="connsiteX120" fmla="*/ 2392702 w 4519987"/>
                  <a:gd name="connsiteY120" fmla="*/ 28575 h 4496940"/>
                  <a:gd name="connsiteX0" fmla="*/ 2297452 w 4519987"/>
                  <a:gd name="connsiteY0" fmla="*/ 0 h 4487372"/>
                  <a:gd name="connsiteX1" fmla="*/ 2421277 w 4519987"/>
                  <a:gd name="connsiteY1" fmla="*/ 28575 h 4487372"/>
                  <a:gd name="connsiteX2" fmla="*/ 2497477 w 4519987"/>
                  <a:gd name="connsiteY2" fmla="*/ 47625 h 4487372"/>
                  <a:gd name="connsiteX3" fmla="*/ 2754652 w 4519987"/>
                  <a:gd name="connsiteY3" fmla="*/ 66675 h 4487372"/>
                  <a:gd name="connsiteX4" fmla="*/ 2830852 w 4519987"/>
                  <a:gd name="connsiteY4" fmla="*/ 76200 h 4487372"/>
                  <a:gd name="connsiteX5" fmla="*/ 2916577 w 4519987"/>
                  <a:gd name="connsiteY5" fmla="*/ 85725 h 4487372"/>
                  <a:gd name="connsiteX6" fmla="*/ 2973727 w 4519987"/>
                  <a:gd name="connsiteY6" fmla="*/ 114300 h 4487372"/>
                  <a:gd name="connsiteX7" fmla="*/ 3011827 w 4519987"/>
                  <a:gd name="connsiteY7" fmla="*/ 123825 h 4487372"/>
                  <a:gd name="connsiteX8" fmla="*/ 3135652 w 4519987"/>
                  <a:gd name="connsiteY8" fmla="*/ 171450 h 4487372"/>
                  <a:gd name="connsiteX9" fmla="*/ 3173752 w 4519987"/>
                  <a:gd name="connsiteY9" fmla="*/ 190500 h 4487372"/>
                  <a:gd name="connsiteX10" fmla="*/ 3240427 w 4519987"/>
                  <a:gd name="connsiteY10" fmla="*/ 228600 h 4487372"/>
                  <a:gd name="connsiteX11" fmla="*/ 3269002 w 4519987"/>
                  <a:gd name="connsiteY11" fmla="*/ 238125 h 4487372"/>
                  <a:gd name="connsiteX12" fmla="*/ 3297577 w 4519987"/>
                  <a:gd name="connsiteY12" fmla="*/ 257175 h 4487372"/>
                  <a:gd name="connsiteX13" fmla="*/ 3326152 w 4519987"/>
                  <a:gd name="connsiteY13" fmla="*/ 266700 h 4487372"/>
                  <a:gd name="connsiteX14" fmla="*/ 3354727 w 4519987"/>
                  <a:gd name="connsiteY14" fmla="*/ 285750 h 4487372"/>
                  <a:gd name="connsiteX15" fmla="*/ 3421402 w 4519987"/>
                  <a:gd name="connsiteY15" fmla="*/ 323850 h 4487372"/>
                  <a:gd name="connsiteX16" fmla="*/ 3469027 w 4519987"/>
                  <a:gd name="connsiteY16" fmla="*/ 361950 h 4487372"/>
                  <a:gd name="connsiteX17" fmla="*/ 3516652 w 4519987"/>
                  <a:gd name="connsiteY17" fmla="*/ 390525 h 4487372"/>
                  <a:gd name="connsiteX18" fmla="*/ 3630952 w 4519987"/>
                  <a:gd name="connsiteY18" fmla="*/ 485775 h 4487372"/>
                  <a:gd name="connsiteX19" fmla="*/ 3745252 w 4519987"/>
                  <a:gd name="connsiteY19" fmla="*/ 542925 h 4487372"/>
                  <a:gd name="connsiteX20" fmla="*/ 3811927 w 4519987"/>
                  <a:gd name="connsiteY20" fmla="*/ 581025 h 4487372"/>
                  <a:gd name="connsiteX21" fmla="*/ 4027827 w 4519987"/>
                  <a:gd name="connsiteY21" fmla="*/ 819150 h 4487372"/>
                  <a:gd name="connsiteX22" fmla="*/ 4164352 w 4519987"/>
                  <a:gd name="connsiteY22" fmla="*/ 990600 h 4487372"/>
                  <a:gd name="connsiteX23" fmla="*/ 4250077 w 4519987"/>
                  <a:gd name="connsiteY23" fmla="*/ 1143000 h 4487372"/>
                  <a:gd name="connsiteX24" fmla="*/ 4307227 w 4519987"/>
                  <a:gd name="connsiteY24" fmla="*/ 1266825 h 4487372"/>
                  <a:gd name="connsiteX25" fmla="*/ 4345327 w 4519987"/>
                  <a:gd name="connsiteY25" fmla="*/ 1362075 h 4487372"/>
                  <a:gd name="connsiteX26" fmla="*/ 4392952 w 4519987"/>
                  <a:gd name="connsiteY26" fmla="*/ 1552575 h 4487372"/>
                  <a:gd name="connsiteX27" fmla="*/ 4431052 w 4519987"/>
                  <a:gd name="connsiteY27" fmla="*/ 1685925 h 4487372"/>
                  <a:gd name="connsiteX28" fmla="*/ 4519952 w 4519987"/>
                  <a:gd name="connsiteY28" fmla="*/ 2181225 h 4487372"/>
                  <a:gd name="connsiteX29" fmla="*/ 4446927 w 4519987"/>
                  <a:gd name="connsiteY29" fmla="*/ 2768600 h 4487372"/>
                  <a:gd name="connsiteX30" fmla="*/ 4383427 w 4519987"/>
                  <a:gd name="connsiteY30" fmla="*/ 2990850 h 4487372"/>
                  <a:gd name="connsiteX31" fmla="*/ 4278652 w 4519987"/>
                  <a:gd name="connsiteY31" fmla="*/ 3248025 h 4487372"/>
                  <a:gd name="connsiteX32" fmla="*/ 4183402 w 4519987"/>
                  <a:gd name="connsiteY32" fmla="*/ 3400425 h 4487372"/>
                  <a:gd name="connsiteX33" fmla="*/ 4059577 w 4519987"/>
                  <a:gd name="connsiteY33" fmla="*/ 3533775 h 4487372"/>
                  <a:gd name="connsiteX34" fmla="*/ 3954802 w 4519987"/>
                  <a:gd name="connsiteY34" fmla="*/ 3648075 h 4487372"/>
                  <a:gd name="connsiteX35" fmla="*/ 3659527 w 4519987"/>
                  <a:gd name="connsiteY35" fmla="*/ 3971925 h 4487372"/>
                  <a:gd name="connsiteX36" fmla="*/ 3516652 w 4519987"/>
                  <a:gd name="connsiteY36" fmla="*/ 4083050 h 4487372"/>
                  <a:gd name="connsiteX37" fmla="*/ 3221377 w 4519987"/>
                  <a:gd name="connsiteY37" fmla="*/ 4222750 h 4487372"/>
                  <a:gd name="connsiteX38" fmla="*/ 3068977 w 4519987"/>
                  <a:gd name="connsiteY38" fmla="*/ 4286250 h 4487372"/>
                  <a:gd name="connsiteX39" fmla="*/ 2935627 w 4519987"/>
                  <a:gd name="connsiteY39" fmla="*/ 4333875 h 4487372"/>
                  <a:gd name="connsiteX40" fmla="*/ 2811802 w 4519987"/>
                  <a:gd name="connsiteY40" fmla="*/ 4371975 h 4487372"/>
                  <a:gd name="connsiteX41" fmla="*/ 2745127 w 4519987"/>
                  <a:gd name="connsiteY41" fmla="*/ 4410075 h 4487372"/>
                  <a:gd name="connsiteX42" fmla="*/ 2640352 w 4519987"/>
                  <a:gd name="connsiteY42" fmla="*/ 4457700 h 4487372"/>
                  <a:gd name="connsiteX43" fmla="*/ 2545102 w 4519987"/>
                  <a:gd name="connsiteY43" fmla="*/ 4486275 h 4487372"/>
                  <a:gd name="connsiteX44" fmla="*/ 2306977 w 4519987"/>
                  <a:gd name="connsiteY44" fmla="*/ 4476750 h 4487372"/>
                  <a:gd name="connsiteX45" fmla="*/ 2202202 w 4519987"/>
                  <a:gd name="connsiteY45" fmla="*/ 4457700 h 4487372"/>
                  <a:gd name="connsiteX46" fmla="*/ 2126002 w 4519987"/>
                  <a:gd name="connsiteY46" fmla="*/ 4429125 h 4487372"/>
                  <a:gd name="connsiteX47" fmla="*/ 1935502 w 4519987"/>
                  <a:gd name="connsiteY47" fmla="*/ 4400550 h 4487372"/>
                  <a:gd name="connsiteX48" fmla="*/ 1821202 w 4519987"/>
                  <a:gd name="connsiteY48" fmla="*/ 4371975 h 4487372"/>
                  <a:gd name="connsiteX49" fmla="*/ 1754527 w 4519987"/>
                  <a:gd name="connsiteY49" fmla="*/ 4352925 h 4487372"/>
                  <a:gd name="connsiteX50" fmla="*/ 1687852 w 4519987"/>
                  <a:gd name="connsiteY50" fmla="*/ 4343400 h 4487372"/>
                  <a:gd name="connsiteX51" fmla="*/ 1573552 w 4519987"/>
                  <a:gd name="connsiteY51" fmla="*/ 4305300 h 4487372"/>
                  <a:gd name="connsiteX52" fmla="*/ 1402102 w 4519987"/>
                  <a:gd name="connsiteY52" fmla="*/ 4276725 h 4487372"/>
                  <a:gd name="connsiteX53" fmla="*/ 1287802 w 4519987"/>
                  <a:gd name="connsiteY53" fmla="*/ 4229100 h 4487372"/>
                  <a:gd name="connsiteX54" fmla="*/ 1221127 w 4519987"/>
                  <a:gd name="connsiteY54" fmla="*/ 4200525 h 4487372"/>
                  <a:gd name="connsiteX55" fmla="*/ 1144927 w 4519987"/>
                  <a:gd name="connsiteY55" fmla="*/ 4171950 h 4487372"/>
                  <a:gd name="connsiteX56" fmla="*/ 1087777 w 4519987"/>
                  <a:gd name="connsiteY56" fmla="*/ 4143375 h 4487372"/>
                  <a:gd name="connsiteX57" fmla="*/ 1030627 w 4519987"/>
                  <a:gd name="connsiteY57" fmla="*/ 4124325 h 4487372"/>
                  <a:gd name="connsiteX58" fmla="*/ 925852 w 4519987"/>
                  <a:gd name="connsiteY58" fmla="*/ 4067175 h 4487372"/>
                  <a:gd name="connsiteX59" fmla="*/ 830602 w 4519987"/>
                  <a:gd name="connsiteY59" fmla="*/ 3981450 h 4487372"/>
                  <a:gd name="connsiteX60" fmla="*/ 763927 w 4519987"/>
                  <a:gd name="connsiteY60" fmla="*/ 3914775 h 4487372"/>
                  <a:gd name="connsiteX61" fmla="*/ 725827 w 4519987"/>
                  <a:gd name="connsiteY61" fmla="*/ 3876675 h 4487372"/>
                  <a:gd name="connsiteX62" fmla="*/ 697252 w 4519987"/>
                  <a:gd name="connsiteY62" fmla="*/ 3838575 h 4487372"/>
                  <a:gd name="connsiteX63" fmla="*/ 640102 w 4519987"/>
                  <a:gd name="connsiteY63" fmla="*/ 3781425 h 4487372"/>
                  <a:gd name="connsiteX64" fmla="*/ 611527 w 4519987"/>
                  <a:gd name="connsiteY64" fmla="*/ 3733800 h 4487372"/>
                  <a:gd name="connsiteX65" fmla="*/ 554377 w 4519987"/>
                  <a:gd name="connsiteY65" fmla="*/ 3657600 h 4487372"/>
                  <a:gd name="connsiteX66" fmla="*/ 525802 w 4519987"/>
                  <a:gd name="connsiteY66" fmla="*/ 3609975 h 4487372"/>
                  <a:gd name="connsiteX67" fmla="*/ 497227 w 4519987"/>
                  <a:gd name="connsiteY67" fmla="*/ 3552825 h 4487372"/>
                  <a:gd name="connsiteX68" fmla="*/ 440077 w 4519987"/>
                  <a:gd name="connsiteY68" fmla="*/ 3495675 h 4487372"/>
                  <a:gd name="connsiteX69" fmla="*/ 411502 w 4519987"/>
                  <a:gd name="connsiteY69" fmla="*/ 3448050 h 4487372"/>
                  <a:gd name="connsiteX70" fmla="*/ 278152 w 4519987"/>
                  <a:gd name="connsiteY70" fmla="*/ 3257550 h 4487372"/>
                  <a:gd name="connsiteX71" fmla="*/ 249577 w 4519987"/>
                  <a:gd name="connsiteY71" fmla="*/ 3200400 h 4487372"/>
                  <a:gd name="connsiteX72" fmla="*/ 240052 w 4519987"/>
                  <a:gd name="connsiteY72" fmla="*/ 3162300 h 4487372"/>
                  <a:gd name="connsiteX73" fmla="*/ 221002 w 4519987"/>
                  <a:gd name="connsiteY73" fmla="*/ 3105150 h 4487372"/>
                  <a:gd name="connsiteX74" fmla="*/ 173377 w 4519987"/>
                  <a:gd name="connsiteY74" fmla="*/ 3019425 h 4487372"/>
                  <a:gd name="connsiteX75" fmla="*/ 144802 w 4519987"/>
                  <a:gd name="connsiteY75" fmla="*/ 2924175 h 4487372"/>
                  <a:gd name="connsiteX76" fmla="*/ 68602 w 4519987"/>
                  <a:gd name="connsiteY76" fmla="*/ 2724150 h 4487372"/>
                  <a:gd name="connsiteX77" fmla="*/ 49552 w 4519987"/>
                  <a:gd name="connsiteY77" fmla="*/ 2638425 h 4487372"/>
                  <a:gd name="connsiteX78" fmla="*/ 40027 w 4519987"/>
                  <a:gd name="connsiteY78" fmla="*/ 2562225 h 4487372"/>
                  <a:gd name="connsiteX79" fmla="*/ 30502 w 4519987"/>
                  <a:gd name="connsiteY79" fmla="*/ 2514600 h 4487372"/>
                  <a:gd name="connsiteX80" fmla="*/ 11452 w 4519987"/>
                  <a:gd name="connsiteY80" fmla="*/ 2400300 h 4487372"/>
                  <a:gd name="connsiteX81" fmla="*/ 20977 w 4519987"/>
                  <a:gd name="connsiteY81" fmla="*/ 1905000 h 4487372"/>
                  <a:gd name="connsiteX82" fmla="*/ 30502 w 4519987"/>
                  <a:gd name="connsiteY82" fmla="*/ 1838325 h 4487372"/>
                  <a:gd name="connsiteX83" fmla="*/ 49552 w 4519987"/>
                  <a:gd name="connsiteY83" fmla="*/ 1781175 h 4487372"/>
                  <a:gd name="connsiteX84" fmla="*/ 59077 w 4519987"/>
                  <a:gd name="connsiteY84" fmla="*/ 1743075 h 4487372"/>
                  <a:gd name="connsiteX85" fmla="*/ 78127 w 4519987"/>
                  <a:gd name="connsiteY85" fmla="*/ 1685925 h 4487372"/>
                  <a:gd name="connsiteX86" fmla="*/ 87652 w 4519987"/>
                  <a:gd name="connsiteY86" fmla="*/ 1638300 h 4487372"/>
                  <a:gd name="connsiteX87" fmla="*/ 106702 w 4519987"/>
                  <a:gd name="connsiteY87" fmla="*/ 1590675 h 4487372"/>
                  <a:gd name="connsiteX88" fmla="*/ 135277 w 4519987"/>
                  <a:gd name="connsiteY88" fmla="*/ 1504950 h 4487372"/>
                  <a:gd name="connsiteX89" fmla="*/ 154327 w 4519987"/>
                  <a:gd name="connsiteY89" fmla="*/ 1419225 h 4487372"/>
                  <a:gd name="connsiteX90" fmla="*/ 230527 w 4519987"/>
                  <a:gd name="connsiteY90" fmla="*/ 1276350 h 4487372"/>
                  <a:gd name="connsiteX91" fmla="*/ 240052 w 4519987"/>
                  <a:gd name="connsiteY91" fmla="*/ 1247775 h 4487372"/>
                  <a:gd name="connsiteX92" fmla="*/ 268627 w 4519987"/>
                  <a:gd name="connsiteY92" fmla="*/ 1200150 h 4487372"/>
                  <a:gd name="connsiteX93" fmla="*/ 287677 w 4519987"/>
                  <a:gd name="connsiteY93" fmla="*/ 1152525 h 4487372"/>
                  <a:gd name="connsiteX94" fmla="*/ 316252 w 4519987"/>
                  <a:gd name="connsiteY94" fmla="*/ 1114425 h 4487372"/>
                  <a:gd name="connsiteX95" fmla="*/ 363877 w 4519987"/>
                  <a:gd name="connsiteY95" fmla="*/ 1038225 h 4487372"/>
                  <a:gd name="connsiteX96" fmla="*/ 382927 w 4519987"/>
                  <a:gd name="connsiteY96" fmla="*/ 1009650 h 4487372"/>
                  <a:gd name="connsiteX97" fmla="*/ 440077 w 4519987"/>
                  <a:gd name="connsiteY97" fmla="*/ 904875 h 4487372"/>
                  <a:gd name="connsiteX98" fmla="*/ 478177 w 4519987"/>
                  <a:gd name="connsiteY98" fmla="*/ 857250 h 4487372"/>
                  <a:gd name="connsiteX99" fmla="*/ 497227 w 4519987"/>
                  <a:gd name="connsiteY99" fmla="*/ 828675 h 4487372"/>
                  <a:gd name="connsiteX100" fmla="*/ 535327 w 4519987"/>
                  <a:gd name="connsiteY100" fmla="*/ 800100 h 4487372"/>
                  <a:gd name="connsiteX101" fmla="*/ 602002 w 4519987"/>
                  <a:gd name="connsiteY101" fmla="*/ 733425 h 4487372"/>
                  <a:gd name="connsiteX102" fmla="*/ 668677 w 4519987"/>
                  <a:gd name="connsiteY102" fmla="*/ 676275 h 4487372"/>
                  <a:gd name="connsiteX103" fmla="*/ 697252 w 4519987"/>
                  <a:gd name="connsiteY103" fmla="*/ 657225 h 4487372"/>
                  <a:gd name="connsiteX104" fmla="*/ 840127 w 4519987"/>
                  <a:gd name="connsiteY104" fmla="*/ 533400 h 4487372"/>
                  <a:gd name="connsiteX105" fmla="*/ 887752 w 4519987"/>
                  <a:gd name="connsiteY105" fmla="*/ 504825 h 4487372"/>
                  <a:gd name="connsiteX106" fmla="*/ 1167152 w 4519987"/>
                  <a:gd name="connsiteY106" fmla="*/ 311150 h 4487372"/>
                  <a:gd name="connsiteX107" fmla="*/ 1268752 w 4519987"/>
                  <a:gd name="connsiteY107" fmla="*/ 285750 h 4487372"/>
                  <a:gd name="connsiteX108" fmla="*/ 1411627 w 4519987"/>
                  <a:gd name="connsiteY108" fmla="*/ 190500 h 4487372"/>
                  <a:gd name="connsiteX109" fmla="*/ 1449727 w 4519987"/>
                  <a:gd name="connsiteY109" fmla="*/ 161925 h 4487372"/>
                  <a:gd name="connsiteX110" fmla="*/ 1525927 w 4519987"/>
                  <a:gd name="connsiteY110" fmla="*/ 152400 h 4487372"/>
                  <a:gd name="connsiteX111" fmla="*/ 1583077 w 4519987"/>
                  <a:gd name="connsiteY111" fmla="*/ 142875 h 4487372"/>
                  <a:gd name="connsiteX112" fmla="*/ 1716427 w 4519987"/>
                  <a:gd name="connsiteY112" fmla="*/ 123825 h 4487372"/>
                  <a:gd name="connsiteX113" fmla="*/ 1811677 w 4519987"/>
                  <a:gd name="connsiteY113" fmla="*/ 114300 h 4487372"/>
                  <a:gd name="connsiteX114" fmla="*/ 1859302 w 4519987"/>
                  <a:gd name="connsiteY114" fmla="*/ 104775 h 4487372"/>
                  <a:gd name="connsiteX115" fmla="*/ 1916452 w 4519987"/>
                  <a:gd name="connsiteY115" fmla="*/ 95250 h 4487372"/>
                  <a:gd name="connsiteX116" fmla="*/ 2030752 w 4519987"/>
                  <a:gd name="connsiteY116" fmla="*/ 66675 h 4487372"/>
                  <a:gd name="connsiteX117" fmla="*/ 2097427 w 4519987"/>
                  <a:gd name="connsiteY117" fmla="*/ 47625 h 4487372"/>
                  <a:gd name="connsiteX118" fmla="*/ 2164102 w 4519987"/>
                  <a:gd name="connsiteY118" fmla="*/ 38100 h 4487372"/>
                  <a:gd name="connsiteX119" fmla="*/ 2392702 w 4519987"/>
                  <a:gd name="connsiteY119" fmla="*/ 28575 h 4487372"/>
                  <a:gd name="connsiteX0" fmla="*/ 2297452 w 4519987"/>
                  <a:gd name="connsiteY0" fmla="*/ 0 h 4476750"/>
                  <a:gd name="connsiteX1" fmla="*/ 2421277 w 4519987"/>
                  <a:gd name="connsiteY1" fmla="*/ 28575 h 4476750"/>
                  <a:gd name="connsiteX2" fmla="*/ 2497477 w 4519987"/>
                  <a:gd name="connsiteY2" fmla="*/ 47625 h 4476750"/>
                  <a:gd name="connsiteX3" fmla="*/ 2754652 w 4519987"/>
                  <a:gd name="connsiteY3" fmla="*/ 66675 h 4476750"/>
                  <a:gd name="connsiteX4" fmla="*/ 2830852 w 4519987"/>
                  <a:gd name="connsiteY4" fmla="*/ 76200 h 4476750"/>
                  <a:gd name="connsiteX5" fmla="*/ 2916577 w 4519987"/>
                  <a:gd name="connsiteY5" fmla="*/ 85725 h 4476750"/>
                  <a:gd name="connsiteX6" fmla="*/ 2973727 w 4519987"/>
                  <a:gd name="connsiteY6" fmla="*/ 114300 h 4476750"/>
                  <a:gd name="connsiteX7" fmla="*/ 3011827 w 4519987"/>
                  <a:gd name="connsiteY7" fmla="*/ 123825 h 4476750"/>
                  <a:gd name="connsiteX8" fmla="*/ 3135652 w 4519987"/>
                  <a:gd name="connsiteY8" fmla="*/ 171450 h 4476750"/>
                  <a:gd name="connsiteX9" fmla="*/ 3173752 w 4519987"/>
                  <a:gd name="connsiteY9" fmla="*/ 190500 h 4476750"/>
                  <a:gd name="connsiteX10" fmla="*/ 3240427 w 4519987"/>
                  <a:gd name="connsiteY10" fmla="*/ 228600 h 4476750"/>
                  <a:gd name="connsiteX11" fmla="*/ 3269002 w 4519987"/>
                  <a:gd name="connsiteY11" fmla="*/ 238125 h 4476750"/>
                  <a:gd name="connsiteX12" fmla="*/ 3297577 w 4519987"/>
                  <a:gd name="connsiteY12" fmla="*/ 257175 h 4476750"/>
                  <a:gd name="connsiteX13" fmla="*/ 3326152 w 4519987"/>
                  <a:gd name="connsiteY13" fmla="*/ 266700 h 4476750"/>
                  <a:gd name="connsiteX14" fmla="*/ 3354727 w 4519987"/>
                  <a:gd name="connsiteY14" fmla="*/ 285750 h 4476750"/>
                  <a:gd name="connsiteX15" fmla="*/ 3421402 w 4519987"/>
                  <a:gd name="connsiteY15" fmla="*/ 323850 h 4476750"/>
                  <a:gd name="connsiteX16" fmla="*/ 3469027 w 4519987"/>
                  <a:gd name="connsiteY16" fmla="*/ 361950 h 4476750"/>
                  <a:gd name="connsiteX17" fmla="*/ 3516652 w 4519987"/>
                  <a:gd name="connsiteY17" fmla="*/ 390525 h 4476750"/>
                  <a:gd name="connsiteX18" fmla="*/ 3630952 w 4519987"/>
                  <a:gd name="connsiteY18" fmla="*/ 485775 h 4476750"/>
                  <a:gd name="connsiteX19" fmla="*/ 3745252 w 4519987"/>
                  <a:gd name="connsiteY19" fmla="*/ 542925 h 4476750"/>
                  <a:gd name="connsiteX20" fmla="*/ 3811927 w 4519987"/>
                  <a:gd name="connsiteY20" fmla="*/ 581025 h 4476750"/>
                  <a:gd name="connsiteX21" fmla="*/ 4027827 w 4519987"/>
                  <a:gd name="connsiteY21" fmla="*/ 819150 h 4476750"/>
                  <a:gd name="connsiteX22" fmla="*/ 4164352 w 4519987"/>
                  <a:gd name="connsiteY22" fmla="*/ 990600 h 4476750"/>
                  <a:gd name="connsiteX23" fmla="*/ 4250077 w 4519987"/>
                  <a:gd name="connsiteY23" fmla="*/ 1143000 h 4476750"/>
                  <a:gd name="connsiteX24" fmla="*/ 4307227 w 4519987"/>
                  <a:gd name="connsiteY24" fmla="*/ 1266825 h 4476750"/>
                  <a:gd name="connsiteX25" fmla="*/ 4345327 w 4519987"/>
                  <a:gd name="connsiteY25" fmla="*/ 1362075 h 4476750"/>
                  <a:gd name="connsiteX26" fmla="*/ 4392952 w 4519987"/>
                  <a:gd name="connsiteY26" fmla="*/ 1552575 h 4476750"/>
                  <a:gd name="connsiteX27" fmla="*/ 4431052 w 4519987"/>
                  <a:gd name="connsiteY27" fmla="*/ 1685925 h 4476750"/>
                  <a:gd name="connsiteX28" fmla="*/ 4519952 w 4519987"/>
                  <a:gd name="connsiteY28" fmla="*/ 2181225 h 4476750"/>
                  <a:gd name="connsiteX29" fmla="*/ 4446927 w 4519987"/>
                  <a:gd name="connsiteY29" fmla="*/ 2768600 h 4476750"/>
                  <a:gd name="connsiteX30" fmla="*/ 4383427 w 4519987"/>
                  <a:gd name="connsiteY30" fmla="*/ 2990850 h 4476750"/>
                  <a:gd name="connsiteX31" fmla="*/ 4278652 w 4519987"/>
                  <a:gd name="connsiteY31" fmla="*/ 3248025 h 4476750"/>
                  <a:gd name="connsiteX32" fmla="*/ 4183402 w 4519987"/>
                  <a:gd name="connsiteY32" fmla="*/ 3400425 h 4476750"/>
                  <a:gd name="connsiteX33" fmla="*/ 4059577 w 4519987"/>
                  <a:gd name="connsiteY33" fmla="*/ 3533775 h 4476750"/>
                  <a:gd name="connsiteX34" fmla="*/ 3954802 w 4519987"/>
                  <a:gd name="connsiteY34" fmla="*/ 3648075 h 4476750"/>
                  <a:gd name="connsiteX35" fmla="*/ 3659527 w 4519987"/>
                  <a:gd name="connsiteY35" fmla="*/ 3971925 h 4476750"/>
                  <a:gd name="connsiteX36" fmla="*/ 3516652 w 4519987"/>
                  <a:gd name="connsiteY36" fmla="*/ 4083050 h 4476750"/>
                  <a:gd name="connsiteX37" fmla="*/ 3221377 w 4519987"/>
                  <a:gd name="connsiteY37" fmla="*/ 4222750 h 4476750"/>
                  <a:gd name="connsiteX38" fmla="*/ 3068977 w 4519987"/>
                  <a:gd name="connsiteY38" fmla="*/ 4286250 h 4476750"/>
                  <a:gd name="connsiteX39" fmla="*/ 2935627 w 4519987"/>
                  <a:gd name="connsiteY39" fmla="*/ 4333875 h 4476750"/>
                  <a:gd name="connsiteX40" fmla="*/ 2811802 w 4519987"/>
                  <a:gd name="connsiteY40" fmla="*/ 4371975 h 4476750"/>
                  <a:gd name="connsiteX41" fmla="*/ 2745127 w 4519987"/>
                  <a:gd name="connsiteY41" fmla="*/ 4410075 h 4476750"/>
                  <a:gd name="connsiteX42" fmla="*/ 2640352 w 4519987"/>
                  <a:gd name="connsiteY42" fmla="*/ 4457700 h 4476750"/>
                  <a:gd name="connsiteX43" fmla="*/ 2306977 w 4519987"/>
                  <a:gd name="connsiteY43" fmla="*/ 4476750 h 4476750"/>
                  <a:gd name="connsiteX44" fmla="*/ 2202202 w 4519987"/>
                  <a:gd name="connsiteY44" fmla="*/ 4457700 h 4476750"/>
                  <a:gd name="connsiteX45" fmla="*/ 2126002 w 4519987"/>
                  <a:gd name="connsiteY45" fmla="*/ 4429125 h 4476750"/>
                  <a:gd name="connsiteX46" fmla="*/ 1935502 w 4519987"/>
                  <a:gd name="connsiteY46" fmla="*/ 4400550 h 4476750"/>
                  <a:gd name="connsiteX47" fmla="*/ 1821202 w 4519987"/>
                  <a:gd name="connsiteY47" fmla="*/ 4371975 h 4476750"/>
                  <a:gd name="connsiteX48" fmla="*/ 1754527 w 4519987"/>
                  <a:gd name="connsiteY48" fmla="*/ 4352925 h 4476750"/>
                  <a:gd name="connsiteX49" fmla="*/ 1687852 w 4519987"/>
                  <a:gd name="connsiteY49" fmla="*/ 4343400 h 4476750"/>
                  <a:gd name="connsiteX50" fmla="*/ 1573552 w 4519987"/>
                  <a:gd name="connsiteY50" fmla="*/ 4305300 h 4476750"/>
                  <a:gd name="connsiteX51" fmla="*/ 1402102 w 4519987"/>
                  <a:gd name="connsiteY51" fmla="*/ 4276725 h 4476750"/>
                  <a:gd name="connsiteX52" fmla="*/ 1287802 w 4519987"/>
                  <a:gd name="connsiteY52" fmla="*/ 4229100 h 4476750"/>
                  <a:gd name="connsiteX53" fmla="*/ 1221127 w 4519987"/>
                  <a:gd name="connsiteY53" fmla="*/ 4200525 h 4476750"/>
                  <a:gd name="connsiteX54" fmla="*/ 1144927 w 4519987"/>
                  <a:gd name="connsiteY54" fmla="*/ 4171950 h 4476750"/>
                  <a:gd name="connsiteX55" fmla="*/ 1087777 w 4519987"/>
                  <a:gd name="connsiteY55" fmla="*/ 4143375 h 4476750"/>
                  <a:gd name="connsiteX56" fmla="*/ 1030627 w 4519987"/>
                  <a:gd name="connsiteY56" fmla="*/ 4124325 h 4476750"/>
                  <a:gd name="connsiteX57" fmla="*/ 925852 w 4519987"/>
                  <a:gd name="connsiteY57" fmla="*/ 4067175 h 4476750"/>
                  <a:gd name="connsiteX58" fmla="*/ 830602 w 4519987"/>
                  <a:gd name="connsiteY58" fmla="*/ 3981450 h 4476750"/>
                  <a:gd name="connsiteX59" fmla="*/ 763927 w 4519987"/>
                  <a:gd name="connsiteY59" fmla="*/ 3914775 h 4476750"/>
                  <a:gd name="connsiteX60" fmla="*/ 725827 w 4519987"/>
                  <a:gd name="connsiteY60" fmla="*/ 3876675 h 4476750"/>
                  <a:gd name="connsiteX61" fmla="*/ 697252 w 4519987"/>
                  <a:gd name="connsiteY61" fmla="*/ 3838575 h 4476750"/>
                  <a:gd name="connsiteX62" fmla="*/ 640102 w 4519987"/>
                  <a:gd name="connsiteY62" fmla="*/ 3781425 h 4476750"/>
                  <a:gd name="connsiteX63" fmla="*/ 611527 w 4519987"/>
                  <a:gd name="connsiteY63" fmla="*/ 3733800 h 4476750"/>
                  <a:gd name="connsiteX64" fmla="*/ 554377 w 4519987"/>
                  <a:gd name="connsiteY64" fmla="*/ 3657600 h 4476750"/>
                  <a:gd name="connsiteX65" fmla="*/ 525802 w 4519987"/>
                  <a:gd name="connsiteY65" fmla="*/ 3609975 h 4476750"/>
                  <a:gd name="connsiteX66" fmla="*/ 497227 w 4519987"/>
                  <a:gd name="connsiteY66" fmla="*/ 3552825 h 4476750"/>
                  <a:gd name="connsiteX67" fmla="*/ 440077 w 4519987"/>
                  <a:gd name="connsiteY67" fmla="*/ 3495675 h 4476750"/>
                  <a:gd name="connsiteX68" fmla="*/ 411502 w 4519987"/>
                  <a:gd name="connsiteY68" fmla="*/ 3448050 h 4476750"/>
                  <a:gd name="connsiteX69" fmla="*/ 278152 w 4519987"/>
                  <a:gd name="connsiteY69" fmla="*/ 3257550 h 4476750"/>
                  <a:gd name="connsiteX70" fmla="*/ 249577 w 4519987"/>
                  <a:gd name="connsiteY70" fmla="*/ 3200400 h 4476750"/>
                  <a:gd name="connsiteX71" fmla="*/ 240052 w 4519987"/>
                  <a:gd name="connsiteY71" fmla="*/ 3162300 h 4476750"/>
                  <a:gd name="connsiteX72" fmla="*/ 221002 w 4519987"/>
                  <a:gd name="connsiteY72" fmla="*/ 3105150 h 4476750"/>
                  <a:gd name="connsiteX73" fmla="*/ 173377 w 4519987"/>
                  <a:gd name="connsiteY73" fmla="*/ 3019425 h 4476750"/>
                  <a:gd name="connsiteX74" fmla="*/ 144802 w 4519987"/>
                  <a:gd name="connsiteY74" fmla="*/ 2924175 h 4476750"/>
                  <a:gd name="connsiteX75" fmla="*/ 68602 w 4519987"/>
                  <a:gd name="connsiteY75" fmla="*/ 2724150 h 4476750"/>
                  <a:gd name="connsiteX76" fmla="*/ 49552 w 4519987"/>
                  <a:gd name="connsiteY76" fmla="*/ 2638425 h 4476750"/>
                  <a:gd name="connsiteX77" fmla="*/ 40027 w 4519987"/>
                  <a:gd name="connsiteY77" fmla="*/ 2562225 h 4476750"/>
                  <a:gd name="connsiteX78" fmla="*/ 30502 w 4519987"/>
                  <a:gd name="connsiteY78" fmla="*/ 2514600 h 4476750"/>
                  <a:gd name="connsiteX79" fmla="*/ 11452 w 4519987"/>
                  <a:gd name="connsiteY79" fmla="*/ 2400300 h 4476750"/>
                  <a:gd name="connsiteX80" fmla="*/ 20977 w 4519987"/>
                  <a:gd name="connsiteY80" fmla="*/ 1905000 h 4476750"/>
                  <a:gd name="connsiteX81" fmla="*/ 30502 w 4519987"/>
                  <a:gd name="connsiteY81" fmla="*/ 1838325 h 4476750"/>
                  <a:gd name="connsiteX82" fmla="*/ 49552 w 4519987"/>
                  <a:gd name="connsiteY82" fmla="*/ 1781175 h 4476750"/>
                  <a:gd name="connsiteX83" fmla="*/ 59077 w 4519987"/>
                  <a:gd name="connsiteY83" fmla="*/ 1743075 h 4476750"/>
                  <a:gd name="connsiteX84" fmla="*/ 78127 w 4519987"/>
                  <a:gd name="connsiteY84" fmla="*/ 1685925 h 4476750"/>
                  <a:gd name="connsiteX85" fmla="*/ 87652 w 4519987"/>
                  <a:gd name="connsiteY85" fmla="*/ 1638300 h 4476750"/>
                  <a:gd name="connsiteX86" fmla="*/ 106702 w 4519987"/>
                  <a:gd name="connsiteY86" fmla="*/ 1590675 h 4476750"/>
                  <a:gd name="connsiteX87" fmla="*/ 135277 w 4519987"/>
                  <a:gd name="connsiteY87" fmla="*/ 1504950 h 4476750"/>
                  <a:gd name="connsiteX88" fmla="*/ 154327 w 4519987"/>
                  <a:gd name="connsiteY88" fmla="*/ 1419225 h 4476750"/>
                  <a:gd name="connsiteX89" fmla="*/ 230527 w 4519987"/>
                  <a:gd name="connsiteY89" fmla="*/ 1276350 h 4476750"/>
                  <a:gd name="connsiteX90" fmla="*/ 240052 w 4519987"/>
                  <a:gd name="connsiteY90" fmla="*/ 1247775 h 4476750"/>
                  <a:gd name="connsiteX91" fmla="*/ 268627 w 4519987"/>
                  <a:gd name="connsiteY91" fmla="*/ 1200150 h 4476750"/>
                  <a:gd name="connsiteX92" fmla="*/ 287677 w 4519987"/>
                  <a:gd name="connsiteY92" fmla="*/ 1152525 h 4476750"/>
                  <a:gd name="connsiteX93" fmla="*/ 316252 w 4519987"/>
                  <a:gd name="connsiteY93" fmla="*/ 1114425 h 4476750"/>
                  <a:gd name="connsiteX94" fmla="*/ 363877 w 4519987"/>
                  <a:gd name="connsiteY94" fmla="*/ 1038225 h 4476750"/>
                  <a:gd name="connsiteX95" fmla="*/ 382927 w 4519987"/>
                  <a:gd name="connsiteY95" fmla="*/ 1009650 h 4476750"/>
                  <a:gd name="connsiteX96" fmla="*/ 440077 w 4519987"/>
                  <a:gd name="connsiteY96" fmla="*/ 904875 h 4476750"/>
                  <a:gd name="connsiteX97" fmla="*/ 478177 w 4519987"/>
                  <a:gd name="connsiteY97" fmla="*/ 857250 h 4476750"/>
                  <a:gd name="connsiteX98" fmla="*/ 497227 w 4519987"/>
                  <a:gd name="connsiteY98" fmla="*/ 828675 h 4476750"/>
                  <a:gd name="connsiteX99" fmla="*/ 535327 w 4519987"/>
                  <a:gd name="connsiteY99" fmla="*/ 800100 h 4476750"/>
                  <a:gd name="connsiteX100" fmla="*/ 602002 w 4519987"/>
                  <a:gd name="connsiteY100" fmla="*/ 733425 h 4476750"/>
                  <a:gd name="connsiteX101" fmla="*/ 668677 w 4519987"/>
                  <a:gd name="connsiteY101" fmla="*/ 676275 h 4476750"/>
                  <a:gd name="connsiteX102" fmla="*/ 697252 w 4519987"/>
                  <a:gd name="connsiteY102" fmla="*/ 657225 h 4476750"/>
                  <a:gd name="connsiteX103" fmla="*/ 840127 w 4519987"/>
                  <a:gd name="connsiteY103" fmla="*/ 533400 h 4476750"/>
                  <a:gd name="connsiteX104" fmla="*/ 887752 w 4519987"/>
                  <a:gd name="connsiteY104" fmla="*/ 504825 h 4476750"/>
                  <a:gd name="connsiteX105" fmla="*/ 1167152 w 4519987"/>
                  <a:gd name="connsiteY105" fmla="*/ 311150 h 4476750"/>
                  <a:gd name="connsiteX106" fmla="*/ 1268752 w 4519987"/>
                  <a:gd name="connsiteY106" fmla="*/ 285750 h 4476750"/>
                  <a:gd name="connsiteX107" fmla="*/ 1411627 w 4519987"/>
                  <a:gd name="connsiteY107" fmla="*/ 190500 h 4476750"/>
                  <a:gd name="connsiteX108" fmla="*/ 1449727 w 4519987"/>
                  <a:gd name="connsiteY108" fmla="*/ 161925 h 4476750"/>
                  <a:gd name="connsiteX109" fmla="*/ 1525927 w 4519987"/>
                  <a:gd name="connsiteY109" fmla="*/ 152400 h 4476750"/>
                  <a:gd name="connsiteX110" fmla="*/ 1583077 w 4519987"/>
                  <a:gd name="connsiteY110" fmla="*/ 142875 h 4476750"/>
                  <a:gd name="connsiteX111" fmla="*/ 1716427 w 4519987"/>
                  <a:gd name="connsiteY111" fmla="*/ 123825 h 4476750"/>
                  <a:gd name="connsiteX112" fmla="*/ 1811677 w 4519987"/>
                  <a:gd name="connsiteY112" fmla="*/ 114300 h 4476750"/>
                  <a:gd name="connsiteX113" fmla="*/ 1859302 w 4519987"/>
                  <a:gd name="connsiteY113" fmla="*/ 104775 h 4476750"/>
                  <a:gd name="connsiteX114" fmla="*/ 1916452 w 4519987"/>
                  <a:gd name="connsiteY114" fmla="*/ 95250 h 4476750"/>
                  <a:gd name="connsiteX115" fmla="*/ 2030752 w 4519987"/>
                  <a:gd name="connsiteY115" fmla="*/ 66675 h 4476750"/>
                  <a:gd name="connsiteX116" fmla="*/ 2097427 w 4519987"/>
                  <a:gd name="connsiteY116" fmla="*/ 47625 h 4476750"/>
                  <a:gd name="connsiteX117" fmla="*/ 2164102 w 4519987"/>
                  <a:gd name="connsiteY117" fmla="*/ 38100 h 4476750"/>
                  <a:gd name="connsiteX118" fmla="*/ 2392702 w 4519987"/>
                  <a:gd name="connsiteY118" fmla="*/ 28575 h 4476750"/>
                  <a:gd name="connsiteX0" fmla="*/ 2297452 w 4519987"/>
                  <a:gd name="connsiteY0" fmla="*/ 0 h 4478541"/>
                  <a:gd name="connsiteX1" fmla="*/ 2421277 w 4519987"/>
                  <a:gd name="connsiteY1" fmla="*/ 28575 h 4478541"/>
                  <a:gd name="connsiteX2" fmla="*/ 2497477 w 4519987"/>
                  <a:gd name="connsiteY2" fmla="*/ 47625 h 4478541"/>
                  <a:gd name="connsiteX3" fmla="*/ 2754652 w 4519987"/>
                  <a:gd name="connsiteY3" fmla="*/ 66675 h 4478541"/>
                  <a:gd name="connsiteX4" fmla="*/ 2830852 w 4519987"/>
                  <a:gd name="connsiteY4" fmla="*/ 76200 h 4478541"/>
                  <a:gd name="connsiteX5" fmla="*/ 2916577 w 4519987"/>
                  <a:gd name="connsiteY5" fmla="*/ 85725 h 4478541"/>
                  <a:gd name="connsiteX6" fmla="*/ 2973727 w 4519987"/>
                  <a:gd name="connsiteY6" fmla="*/ 114300 h 4478541"/>
                  <a:gd name="connsiteX7" fmla="*/ 3011827 w 4519987"/>
                  <a:gd name="connsiteY7" fmla="*/ 123825 h 4478541"/>
                  <a:gd name="connsiteX8" fmla="*/ 3135652 w 4519987"/>
                  <a:gd name="connsiteY8" fmla="*/ 171450 h 4478541"/>
                  <a:gd name="connsiteX9" fmla="*/ 3173752 w 4519987"/>
                  <a:gd name="connsiteY9" fmla="*/ 190500 h 4478541"/>
                  <a:gd name="connsiteX10" fmla="*/ 3240427 w 4519987"/>
                  <a:gd name="connsiteY10" fmla="*/ 228600 h 4478541"/>
                  <a:gd name="connsiteX11" fmla="*/ 3269002 w 4519987"/>
                  <a:gd name="connsiteY11" fmla="*/ 238125 h 4478541"/>
                  <a:gd name="connsiteX12" fmla="*/ 3297577 w 4519987"/>
                  <a:gd name="connsiteY12" fmla="*/ 257175 h 4478541"/>
                  <a:gd name="connsiteX13" fmla="*/ 3326152 w 4519987"/>
                  <a:gd name="connsiteY13" fmla="*/ 266700 h 4478541"/>
                  <a:gd name="connsiteX14" fmla="*/ 3354727 w 4519987"/>
                  <a:gd name="connsiteY14" fmla="*/ 285750 h 4478541"/>
                  <a:gd name="connsiteX15" fmla="*/ 3421402 w 4519987"/>
                  <a:gd name="connsiteY15" fmla="*/ 323850 h 4478541"/>
                  <a:gd name="connsiteX16" fmla="*/ 3469027 w 4519987"/>
                  <a:gd name="connsiteY16" fmla="*/ 361950 h 4478541"/>
                  <a:gd name="connsiteX17" fmla="*/ 3516652 w 4519987"/>
                  <a:gd name="connsiteY17" fmla="*/ 390525 h 4478541"/>
                  <a:gd name="connsiteX18" fmla="*/ 3630952 w 4519987"/>
                  <a:gd name="connsiteY18" fmla="*/ 485775 h 4478541"/>
                  <a:gd name="connsiteX19" fmla="*/ 3745252 w 4519987"/>
                  <a:gd name="connsiteY19" fmla="*/ 542925 h 4478541"/>
                  <a:gd name="connsiteX20" fmla="*/ 3811927 w 4519987"/>
                  <a:gd name="connsiteY20" fmla="*/ 581025 h 4478541"/>
                  <a:gd name="connsiteX21" fmla="*/ 4027827 w 4519987"/>
                  <a:gd name="connsiteY21" fmla="*/ 819150 h 4478541"/>
                  <a:gd name="connsiteX22" fmla="*/ 4164352 w 4519987"/>
                  <a:gd name="connsiteY22" fmla="*/ 990600 h 4478541"/>
                  <a:gd name="connsiteX23" fmla="*/ 4250077 w 4519987"/>
                  <a:gd name="connsiteY23" fmla="*/ 1143000 h 4478541"/>
                  <a:gd name="connsiteX24" fmla="*/ 4307227 w 4519987"/>
                  <a:gd name="connsiteY24" fmla="*/ 1266825 h 4478541"/>
                  <a:gd name="connsiteX25" fmla="*/ 4345327 w 4519987"/>
                  <a:gd name="connsiteY25" fmla="*/ 1362075 h 4478541"/>
                  <a:gd name="connsiteX26" fmla="*/ 4392952 w 4519987"/>
                  <a:gd name="connsiteY26" fmla="*/ 1552575 h 4478541"/>
                  <a:gd name="connsiteX27" fmla="*/ 4431052 w 4519987"/>
                  <a:gd name="connsiteY27" fmla="*/ 1685925 h 4478541"/>
                  <a:gd name="connsiteX28" fmla="*/ 4519952 w 4519987"/>
                  <a:gd name="connsiteY28" fmla="*/ 2181225 h 4478541"/>
                  <a:gd name="connsiteX29" fmla="*/ 4446927 w 4519987"/>
                  <a:gd name="connsiteY29" fmla="*/ 2768600 h 4478541"/>
                  <a:gd name="connsiteX30" fmla="*/ 4383427 w 4519987"/>
                  <a:gd name="connsiteY30" fmla="*/ 2990850 h 4478541"/>
                  <a:gd name="connsiteX31" fmla="*/ 4278652 w 4519987"/>
                  <a:gd name="connsiteY31" fmla="*/ 3248025 h 4478541"/>
                  <a:gd name="connsiteX32" fmla="*/ 4183402 w 4519987"/>
                  <a:gd name="connsiteY32" fmla="*/ 3400425 h 4478541"/>
                  <a:gd name="connsiteX33" fmla="*/ 4059577 w 4519987"/>
                  <a:gd name="connsiteY33" fmla="*/ 3533775 h 4478541"/>
                  <a:gd name="connsiteX34" fmla="*/ 3954802 w 4519987"/>
                  <a:gd name="connsiteY34" fmla="*/ 3648075 h 4478541"/>
                  <a:gd name="connsiteX35" fmla="*/ 3659527 w 4519987"/>
                  <a:gd name="connsiteY35" fmla="*/ 3971925 h 4478541"/>
                  <a:gd name="connsiteX36" fmla="*/ 3516652 w 4519987"/>
                  <a:gd name="connsiteY36" fmla="*/ 4083050 h 4478541"/>
                  <a:gd name="connsiteX37" fmla="*/ 3221377 w 4519987"/>
                  <a:gd name="connsiteY37" fmla="*/ 4222750 h 4478541"/>
                  <a:gd name="connsiteX38" fmla="*/ 3068977 w 4519987"/>
                  <a:gd name="connsiteY38" fmla="*/ 4286250 h 4478541"/>
                  <a:gd name="connsiteX39" fmla="*/ 2935627 w 4519987"/>
                  <a:gd name="connsiteY39" fmla="*/ 4333875 h 4478541"/>
                  <a:gd name="connsiteX40" fmla="*/ 2811802 w 4519987"/>
                  <a:gd name="connsiteY40" fmla="*/ 4371975 h 4478541"/>
                  <a:gd name="connsiteX41" fmla="*/ 2745127 w 4519987"/>
                  <a:gd name="connsiteY41" fmla="*/ 4410075 h 4478541"/>
                  <a:gd name="connsiteX42" fmla="*/ 2306977 w 4519987"/>
                  <a:gd name="connsiteY42" fmla="*/ 4476750 h 4478541"/>
                  <a:gd name="connsiteX43" fmla="*/ 2202202 w 4519987"/>
                  <a:gd name="connsiteY43" fmla="*/ 4457700 h 4478541"/>
                  <a:gd name="connsiteX44" fmla="*/ 2126002 w 4519987"/>
                  <a:gd name="connsiteY44" fmla="*/ 4429125 h 4478541"/>
                  <a:gd name="connsiteX45" fmla="*/ 1935502 w 4519987"/>
                  <a:gd name="connsiteY45" fmla="*/ 4400550 h 4478541"/>
                  <a:gd name="connsiteX46" fmla="*/ 1821202 w 4519987"/>
                  <a:gd name="connsiteY46" fmla="*/ 4371975 h 4478541"/>
                  <a:gd name="connsiteX47" fmla="*/ 1754527 w 4519987"/>
                  <a:gd name="connsiteY47" fmla="*/ 4352925 h 4478541"/>
                  <a:gd name="connsiteX48" fmla="*/ 1687852 w 4519987"/>
                  <a:gd name="connsiteY48" fmla="*/ 4343400 h 4478541"/>
                  <a:gd name="connsiteX49" fmla="*/ 1573552 w 4519987"/>
                  <a:gd name="connsiteY49" fmla="*/ 4305300 h 4478541"/>
                  <a:gd name="connsiteX50" fmla="*/ 1402102 w 4519987"/>
                  <a:gd name="connsiteY50" fmla="*/ 4276725 h 4478541"/>
                  <a:gd name="connsiteX51" fmla="*/ 1287802 w 4519987"/>
                  <a:gd name="connsiteY51" fmla="*/ 4229100 h 4478541"/>
                  <a:gd name="connsiteX52" fmla="*/ 1221127 w 4519987"/>
                  <a:gd name="connsiteY52" fmla="*/ 4200525 h 4478541"/>
                  <a:gd name="connsiteX53" fmla="*/ 1144927 w 4519987"/>
                  <a:gd name="connsiteY53" fmla="*/ 4171950 h 4478541"/>
                  <a:gd name="connsiteX54" fmla="*/ 1087777 w 4519987"/>
                  <a:gd name="connsiteY54" fmla="*/ 4143375 h 4478541"/>
                  <a:gd name="connsiteX55" fmla="*/ 1030627 w 4519987"/>
                  <a:gd name="connsiteY55" fmla="*/ 4124325 h 4478541"/>
                  <a:gd name="connsiteX56" fmla="*/ 925852 w 4519987"/>
                  <a:gd name="connsiteY56" fmla="*/ 4067175 h 4478541"/>
                  <a:gd name="connsiteX57" fmla="*/ 830602 w 4519987"/>
                  <a:gd name="connsiteY57" fmla="*/ 3981450 h 4478541"/>
                  <a:gd name="connsiteX58" fmla="*/ 763927 w 4519987"/>
                  <a:gd name="connsiteY58" fmla="*/ 3914775 h 4478541"/>
                  <a:gd name="connsiteX59" fmla="*/ 725827 w 4519987"/>
                  <a:gd name="connsiteY59" fmla="*/ 3876675 h 4478541"/>
                  <a:gd name="connsiteX60" fmla="*/ 697252 w 4519987"/>
                  <a:gd name="connsiteY60" fmla="*/ 3838575 h 4478541"/>
                  <a:gd name="connsiteX61" fmla="*/ 640102 w 4519987"/>
                  <a:gd name="connsiteY61" fmla="*/ 3781425 h 4478541"/>
                  <a:gd name="connsiteX62" fmla="*/ 611527 w 4519987"/>
                  <a:gd name="connsiteY62" fmla="*/ 3733800 h 4478541"/>
                  <a:gd name="connsiteX63" fmla="*/ 554377 w 4519987"/>
                  <a:gd name="connsiteY63" fmla="*/ 3657600 h 4478541"/>
                  <a:gd name="connsiteX64" fmla="*/ 525802 w 4519987"/>
                  <a:gd name="connsiteY64" fmla="*/ 3609975 h 4478541"/>
                  <a:gd name="connsiteX65" fmla="*/ 497227 w 4519987"/>
                  <a:gd name="connsiteY65" fmla="*/ 3552825 h 4478541"/>
                  <a:gd name="connsiteX66" fmla="*/ 440077 w 4519987"/>
                  <a:gd name="connsiteY66" fmla="*/ 3495675 h 4478541"/>
                  <a:gd name="connsiteX67" fmla="*/ 411502 w 4519987"/>
                  <a:gd name="connsiteY67" fmla="*/ 3448050 h 4478541"/>
                  <a:gd name="connsiteX68" fmla="*/ 278152 w 4519987"/>
                  <a:gd name="connsiteY68" fmla="*/ 3257550 h 4478541"/>
                  <a:gd name="connsiteX69" fmla="*/ 249577 w 4519987"/>
                  <a:gd name="connsiteY69" fmla="*/ 3200400 h 4478541"/>
                  <a:gd name="connsiteX70" fmla="*/ 240052 w 4519987"/>
                  <a:gd name="connsiteY70" fmla="*/ 3162300 h 4478541"/>
                  <a:gd name="connsiteX71" fmla="*/ 221002 w 4519987"/>
                  <a:gd name="connsiteY71" fmla="*/ 3105150 h 4478541"/>
                  <a:gd name="connsiteX72" fmla="*/ 173377 w 4519987"/>
                  <a:gd name="connsiteY72" fmla="*/ 3019425 h 4478541"/>
                  <a:gd name="connsiteX73" fmla="*/ 144802 w 4519987"/>
                  <a:gd name="connsiteY73" fmla="*/ 2924175 h 4478541"/>
                  <a:gd name="connsiteX74" fmla="*/ 68602 w 4519987"/>
                  <a:gd name="connsiteY74" fmla="*/ 2724150 h 4478541"/>
                  <a:gd name="connsiteX75" fmla="*/ 49552 w 4519987"/>
                  <a:gd name="connsiteY75" fmla="*/ 2638425 h 4478541"/>
                  <a:gd name="connsiteX76" fmla="*/ 40027 w 4519987"/>
                  <a:gd name="connsiteY76" fmla="*/ 2562225 h 4478541"/>
                  <a:gd name="connsiteX77" fmla="*/ 30502 w 4519987"/>
                  <a:gd name="connsiteY77" fmla="*/ 2514600 h 4478541"/>
                  <a:gd name="connsiteX78" fmla="*/ 11452 w 4519987"/>
                  <a:gd name="connsiteY78" fmla="*/ 2400300 h 4478541"/>
                  <a:gd name="connsiteX79" fmla="*/ 20977 w 4519987"/>
                  <a:gd name="connsiteY79" fmla="*/ 1905000 h 4478541"/>
                  <a:gd name="connsiteX80" fmla="*/ 30502 w 4519987"/>
                  <a:gd name="connsiteY80" fmla="*/ 1838325 h 4478541"/>
                  <a:gd name="connsiteX81" fmla="*/ 49552 w 4519987"/>
                  <a:gd name="connsiteY81" fmla="*/ 1781175 h 4478541"/>
                  <a:gd name="connsiteX82" fmla="*/ 59077 w 4519987"/>
                  <a:gd name="connsiteY82" fmla="*/ 1743075 h 4478541"/>
                  <a:gd name="connsiteX83" fmla="*/ 78127 w 4519987"/>
                  <a:gd name="connsiteY83" fmla="*/ 1685925 h 4478541"/>
                  <a:gd name="connsiteX84" fmla="*/ 87652 w 4519987"/>
                  <a:gd name="connsiteY84" fmla="*/ 1638300 h 4478541"/>
                  <a:gd name="connsiteX85" fmla="*/ 106702 w 4519987"/>
                  <a:gd name="connsiteY85" fmla="*/ 1590675 h 4478541"/>
                  <a:gd name="connsiteX86" fmla="*/ 135277 w 4519987"/>
                  <a:gd name="connsiteY86" fmla="*/ 1504950 h 4478541"/>
                  <a:gd name="connsiteX87" fmla="*/ 154327 w 4519987"/>
                  <a:gd name="connsiteY87" fmla="*/ 1419225 h 4478541"/>
                  <a:gd name="connsiteX88" fmla="*/ 230527 w 4519987"/>
                  <a:gd name="connsiteY88" fmla="*/ 1276350 h 4478541"/>
                  <a:gd name="connsiteX89" fmla="*/ 240052 w 4519987"/>
                  <a:gd name="connsiteY89" fmla="*/ 1247775 h 4478541"/>
                  <a:gd name="connsiteX90" fmla="*/ 268627 w 4519987"/>
                  <a:gd name="connsiteY90" fmla="*/ 1200150 h 4478541"/>
                  <a:gd name="connsiteX91" fmla="*/ 287677 w 4519987"/>
                  <a:gd name="connsiteY91" fmla="*/ 1152525 h 4478541"/>
                  <a:gd name="connsiteX92" fmla="*/ 316252 w 4519987"/>
                  <a:gd name="connsiteY92" fmla="*/ 1114425 h 4478541"/>
                  <a:gd name="connsiteX93" fmla="*/ 363877 w 4519987"/>
                  <a:gd name="connsiteY93" fmla="*/ 1038225 h 4478541"/>
                  <a:gd name="connsiteX94" fmla="*/ 382927 w 4519987"/>
                  <a:gd name="connsiteY94" fmla="*/ 1009650 h 4478541"/>
                  <a:gd name="connsiteX95" fmla="*/ 440077 w 4519987"/>
                  <a:gd name="connsiteY95" fmla="*/ 904875 h 4478541"/>
                  <a:gd name="connsiteX96" fmla="*/ 478177 w 4519987"/>
                  <a:gd name="connsiteY96" fmla="*/ 857250 h 4478541"/>
                  <a:gd name="connsiteX97" fmla="*/ 497227 w 4519987"/>
                  <a:gd name="connsiteY97" fmla="*/ 828675 h 4478541"/>
                  <a:gd name="connsiteX98" fmla="*/ 535327 w 4519987"/>
                  <a:gd name="connsiteY98" fmla="*/ 800100 h 4478541"/>
                  <a:gd name="connsiteX99" fmla="*/ 602002 w 4519987"/>
                  <a:gd name="connsiteY99" fmla="*/ 733425 h 4478541"/>
                  <a:gd name="connsiteX100" fmla="*/ 668677 w 4519987"/>
                  <a:gd name="connsiteY100" fmla="*/ 676275 h 4478541"/>
                  <a:gd name="connsiteX101" fmla="*/ 697252 w 4519987"/>
                  <a:gd name="connsiteY101" fmla="*/ 657225 h 4478541"/>
                  <a:gd name="connsiteX102" fmla="*/ 840127 w 4519987"/>
                  <a:gd name="connsiteY102" fmla="*/ 533400 h 4478541"/>
                  <a:gd name="connsiteX103" fmla="*/ 887752 w 4519987"/>
                  <a:gd name="connsiteY103" fmla="*/ 504825 h 4478541"/>
                  <a:gd name="connsiteX104" fmla="*/ 1167152 w 4519987"/>
                  <a:gd name="connsiteY104" fmla="*/ 311150 h 4478541"/>
                  <a:gd name="connsiteX105" fmla="*/ 1268752 w 4519987"/>
                  <a:gd name="connsiteY105" fmla="*/ 285750 h 4478541"/>
                  <a:gd name="connsiteX106" fmla="*/ 1411627 w 4519987"/>
                  <a:gd name="connsiteY106" fmla="*/ 190500 h 4478541"/>
                  <a:gd name="connsiteX107" fmla="*/ 1449727 w 4519987"/>
                  <a:gd name="connsiteY107" fmla="*/ 161925 h 4478541"/>
                  <a:gd name="connsiteX108" fmla="*/ 1525927 w 4519987"/>
                  <a:gd name="connsiteY108" fmla="*/ 152400 h 4478541"/>
                  <a:gd name="connsiteX109" fmla="*/ 1583077 w 4519987"/>
                  <a:gd name="connsiteY109" fmla="*/ 142875 h 4478541"/>
                  <a:gd name="connsiteX110" fmla="*/ 1716427 w 4519987"/>
                  <a:gd name="connsiteY110" fmla="*/ 123825 h 4478541"/>
                  <a:gd name="connsiteX111" fmla="*/ 1811677 w 4519987"/>
                  <a:gd name="connsiteY111" fmla="*/ 114300 h 4478541"/>
                  <a:gd name="connsiteX112" fmla="*/ 1859302 w 4519987"/>
                  <a:gd name="connsiteY112" fmla="*/ 104775 h 4478541"/>
                  <a:gd name="connsiteX113" fmla="*/ 1916452 w 4519987"/>
                  <a:gd name="connsiteY113" fmla="*/ 95250 h 4478541"/>
                  <a:gd name="connsiteX114" fmla="*/ 2030752 w 4519987"/>
                  <a:gd name="connsiteY114" fmla="*/ 66675 h 4478541"/>
                  <a:gd name="connsiteX115" fmla="*/ 2097427 w 4519987"/>
                  <a:gd name="connsiteY115" fmla="*/ 47625 h 4478541"/>
                  <a:gd name="connsiteX116" fmla="*/ 2164102 w 4519987"/>
                  <a:gd name="connsiteY116" fmla="*/ 38100 h 4478541"/>
                  <a:gd name="connsiteX117" fmla="*/ 2392702 w 4519987"/>
                  <a:gd name="connsiteY117" fmla="*/ 28575 h 4478541"/>
                  <a:gd name="connsiteX0" fmla="*/ 2297452 w 4519987"/>
                  <a:gd name="connsiteY0" fmla="*/ 0 h 4476750"/>
                  <a:gd name="connsiteX1" fmla="*/ 2421277 w 4519987"/>
                  <a:gd name="connsiteY1" fmla="*/ 28575 h 4476750"/>
                  <a:gd name="connsiteX2" fmla="*/ 2497477 w 4519987"/>
                  <a:gd name="connsiteY2" fmla="*/ 47625 h 4476750"/>
                  <a:gd name="connsiteX3" fmla="*/ 2754652 w 4519987"/>
                  <a:gd name="connsiteY3" fmla="*/ 66675 h 4476750"/>
                  <a:gd name="connsiteX4" fmla="*/ 2830852 w 4519987"/>
                  <a:gd name="connsiteY4" fmla="*/ 76200 h 4476750"/>
                  <a:gd name="connsiteX5" fmla="*/ 2916577 w 4519987"/>
                  <a:gd name="connsiteY5" fmla="*/ 85725 h 4476750"/>
                  <a:gd name="connsiteX6" fmla="*/ 2973727 w 4519987"/>
                  <a:gd name="connsiteY6" fmla="*/ 114300 h 4476750"/>
                  <a:gd name="connsiteX7" fmla="*/ 3011827 w 4519987"/>
                  <a:gd name="connsiteY7" fmla="*/ 123825 h 4476750"/>
                  <a:gd name="connsiteX8" fmla="*/ 3135652 w 4519987"/>
                  <a:gd name="connsiteY8" fmla="*/ 171450 h 4476750"/>
                  <a:gd name="connsiteX9" fmla="*/ 3173752 w 4519987"/>
                  <a:gd name="connsiteY9" fmla="*/ 190500 h 4476750"/>
                  <a:gd name="connsiteX10" fmla="*/ 3240427 w 4519987"/>
                  <a:gd name="connsiteY10" fmla="*/ 228600 h 4476750"/>
                  <a:gd name="connsiteX11" fmla="*/ 3269002 w 4519987"/>
                  <a:gd name="connsiteY11" fmla="*/ 238125 h 4476750"/>
                  <a:gd name="connsiteX12" fmla="*/ 3297577 w 4519987"/>
                  <a:gd name="connsiteY12" fmla="*/ 257175 h 4476750"/>
                  <a:gd name="connsiteX13" fmla="*/ 3326152 w 4519987"/>
                  <a:gd name="connsiteY13" fmla="*/ 266700 h 4476750"/>
                  <a:gd name="connsiteX14" fmla="*/ 3354727 w 4519987"/>
                  <a:gd name="connsiteY14" fmla="*/ 285750 h 4476750"/>
                  <a:gd name="connsiteX15" fmla="*/ 3421402 w 4519987"/>
                  <a:gd name="connsiteY15" fmla="*/ 323850 h 4476750"/>
                  <a:gd name="connsiteX16" fmla="*/ 3469027 w 4519987"/>
                  <a:gd name="connsiteY16" fmla="*/ 361950 h 4476750"/>
                  <a:gd name="connsiteX17" fmla="*/ 3516652 w 4519987"/>
                  <a:gd name="connsiteY17" fmla="*/ 390525 h 4476750"/>
                  <a:gd name="connsiteX18" fmla="*/ 3630952 w 4519987"/>
                  <a:gd name="connsiteY18" fmla="*/ 485775 h 4476750"/>
                  <a:gd name="connsiteX19" fmla="*/ 3745252 w 4519987"/>
                  <a:gd name="connsiteY19" fmla="*/ 542925 h 4476750"/>
                  <a:gd name="connsiteX20" fmla="*/ 3811927 w 4519987"/>
                  <a:gd name="connsiteY20" fmla="*/ 581025 h 4476750"/>
                  <a:gd name="connsiteX21" fmla="*/ 4027827 w 4519987"/>
                  <a:gd name="connsiteY21" fmla="*/ 819150 h 4476750"/>
                  <a:gd name="connsiteX22" fmla="*/ 4164352 w 4519987"/>
                  <a:gd name="connsiteY22" fmla="*/ 990600 h 4476750"/>
                  <a:gd name="connsiteX23" fmla="*/ 4250077 w 4519987"/>
                  <a:gd name="connsiteY23" fmla="*/ 1143000 h 4476750"/>
                  <a:gd name="connsiteX24" fmla="*/ 4307227 w 4519987"/>
                  <a:gd name="connsiteY24" fmla="*/ 1266825 h 4476750"/>
                  <a:gd name="connsiteX25" fmla="*/ 4345327 w 4519987"/>
                  <a:gd name="connsiteY25" fmla="*/ 1362075 h 4476750"/>
                  <a:gd name="connsiteX26" fmla="*/ 4392952 w 4519987"/>
                  <a:gd name="connsiteY26" fmla="*/ 1552575 h 4476750"/>
                  <a:gd name="connsiteX27" fmla="*/ 4431052 w 4519987"/>
                  <a:gd name="connsiteY27" fmla="*/ 1685925 h 4476750"/>
                  <a:gd name="connsiteX28" fmla="*/ 4519952 w 4519987"/>
                  <a:gd name="connsiteY28" fmla="*/ 2181225 h 4476750"/>
                  <a:gd name="connsiteX29" fmla="*/ 4446927 w 4519987"/>
                  <a:gd name="connsiteY29" fmla="*/ 2768600 h 4476750"/>
                  <a:gd name="connsiteX30" fmla="*/ 4383427 w 4519987"/>
                  <a:gd name="connsiteY30" fmla="*/ 2990850 h 4476750"/>
                  <a:gd name="connsiteX31" fmla="*/ 4278652 w 4519987"/>
                  <a:gd name="connsiteY31" fmla="*/ 3248025 h 4476750"/>
                  <a:gd name="connsiteX32" fmla="*/ 4183402 w 4519987"/>
                  <a:gd name="connsiteY32" fmla="*/ 3400425 h 4476750"/>
                  <a:gd name="connsiteX33" fmla="*/ 4059577 w 4519987"/>
                  <a:gd name="connsiteY33" fmla="*/ 3533775 h 4476750"/>
                  <a:gd name="connsiteX34" fmla="*/ 3954802 w 4519987"/>
                  <a:gd name="connsiteY34" fmla="*/ 3648075 h 4476750"/>
                  <a:gd name="connsiteX35" fmla="*/ 3659527 w 4519987"/>
                  <a:gd name="connsiteY35" fmla="*/ 3971925 h 4476750"/>
                  <a:gd name="connsiteX36" fmla="*/ 3516652 w 4519987"/>
                  <a:gd name="connsiteY36" fmla="*/ 4083050 h 4476750"/>
                  <a:gd name="connsiteX37" fmla="*/ 3221377 w 4519987"/>
                  <a:gd name="connsiteY37" fmla="*/ 4222750 h 4476750"/>
                  <a:gd name="connsiteX38" fmla="*/ 3068977 w 4519987"/>
                  <a:gd name="connsiteY38" fmla="*/ 4286250 h 4476750"/>
                  <a:gd name="connsiteX39" fmla="*/ 2935627 w 4519987"/>
                  <a:gd name="connsiteY39" fmla="*/ 4333875 h 4476750"/>
                  <a:gd name="connsiteX40" fmla="*/ 2811802 w 4519987"/>
                  <a:gd name="connsiteY40" fmla="*/ 4371975 h 4476750"/>
                  <a:gd name="connsiteX41" fmla="*/ 2580027 w 4519987"/>
                  <a:gd name="connsiteY41" fmla="*/ 4391025 h 4476750"/>
                  <a:gd name="connsiteX42" fmla="*/ 2306977 w 4519987"/>
                  <a:gd name="connsiteY42" fmla="*/ 4476750 h 4476750"/>
                  <a:gd name="connsiteX43" fmla="*/ 2202202 w 4519987"/>
                  <a:gd name="connsiteY43" fmla="*/ 4457700 h 4476750"/>
                  <a:gd name="connsiteX44" fmla="*/ 2126002 w 4519987"/>
                  <a:gd name="connsiteY44" fmla="*/ 4429125 h 4476750"/>
                  <a:gd name="connsiteX45" fmla="*/ 1935502 w 4519987"/>
                  <a:gd name="connsiteY45" fmla="*/ 4400550 h 4476750"/>
                  <a:gd name="connsiteX46" fmla="*/ 1821202 w 4519987"/>
                  <a:gd name="connsiteY46" fmla="*/ 4371975 h 4476750"/>
                  <a:gd name="connsiteX47" fmla="*/ 1754527 w 4519987"/>
                  <a:gd name="connsiteY47" fmla="*/ 4352925 h 4476750"/>
                  <a:gd name="connsiteX48" fmla="*/ 1687852 w 4519987"/>
                  <a:gd name="connsiteY48" fmla="*/ 4343400 h 4476750"/>
                  <a:gd name="connsiteX49" fmla="*/ 1573552 w 4519987"/>
                  <a:gd name="connsiteY49" fmla="*/ 4305300 h 4476750"/>
                  <a:gd name="connsiteX50" fmla="*/ 1402102 w 4519987"/>
                  <a:gd name="connsiteY50" fmla="*/ 4276725 h 4476750"/>
                  <a:gd name="connsiteX51" fmla="*/ 1287802 w 4519987"/>
                  <a:gd name="connsiteY51" fmla="*/ 4229100 h 4476750"/>
                  <a:gd name="connsiteX52" fmla="*/ 1221127 w 4519987"/>
                  <a:gd name="connsiteY52" fmla="*/ 4200525 h 4476750"/>
                  <a:gd name="connsiteX53" fmla="*/ 1144927 w 4519987"/>
                  <a:gd name="connsiteY53" fmla="*/ 4171950 h 4476750"/>
                  <a:gd name="connsiteX54" fmla="*/ 1087777 w 4519987"/>
                  <a:gd name="connsiteY54" fmla="*/ 4143375 h 4476750"/>
                  <a:gd name="connsiteX55" fmla="*/ 1030627 w 4519987"/>
                  <a:gd name="connsiteY55" fmla="*/ 4124325 h 4476750"/>
                  <a:gd name="connsiteX56" fmla="*/ 925852 w 4519987"/>
                  <a:gd name="connsiteY56" fmla="*/ 4067175 h 4476750"/>
                  <a:gd name="connsiteX57" fmla="*/ 830602 w 4519987"/>
                  <a:gd name="connsiteY57" fmla="*/ 3981450 h 4476750"/>
                  <a:gd name="connsiteX58" fmla="*/ 763927 w 4519987"/>
                  <a:gd name="connsiteY58" fmla="*/ 3914775 h 4476750"/>
                  <a:gd name="connsiteX59" fmla="*/ 725827 w 4519987"/>
                  <a:gd name="connsiteY59" fmla="*/ 3876675 h 4476750"/>
                  <a:gd name="connsiteX60" fmla="*/ 697252 w 4519987"/>
                  <a:gd name="connsiteY60" fmla="*/ 3838575 h 4476750"/>
                  <a:gd name="connsiteX61" fmla="*/ 640102 w 4519987"/>
                  <a:gd name="connsiteY61" fmla="*/ 3781425 h 4476750"/>
                  <a:gd name="connsiteX62" fmla="*/ 611527 w 4519987"/>
                  <a:gd name="connsiteY62" fmla="*/ 3733800 h 4476750"/>
                  <a:gd name="connsiteX63" fmla="*/ 554377 w 4519987"/>
                  <a:gd name="connsiteY63" fmla="*/ 3657600 h 4476750"/>
                  <a:gd name="connsiteX64" fmla="*/ 525802 w 4519987"/>
                  <a:gd name="connsiteY64" fmla="*/ 3609975 h 4476750"/>
                  <a:gd name="connsiteX65" fmla="*/ 497227 w 4519987"/>
                  <a:gd name="connsiteY65" fmla="*/ 3552825 h 4476750"/>
                  <a:gd name="connsiteX66" fmla="*/ 440077 w 4519987"/>
                  <a:gd name="connsiteY66" fmla="*/ 3495675 h 4476750"/>
                  <a:gd name="connsiteX67" fmla="*/ 411502 w 4519987"/>
                  <a:gd name="connsiteY67" fmla="*/ 3448050 h 4476750"/>
                  <a:gd name="connsiteX68" fmla="*/ 278152 w 4519987"/>
                  <a:gd name="connsiteY68" fmla="*/ 3257550 h 4476750"/>
                  <a:gd name="connsiteX69" fmla="*/ 249577 w 4519987"/>
                  <a:gd name="connsiteY69" fmla="*/ 3200400 h 4476750"/>
                  <a:gd name="connsiteX70" fmla="*/ 240052 w 4519987"/>
                  <a:gd name="connsiteY70" fmla="*/ 3162300 h 4476750"/>
                  <a:gd name="connsiteX71" fmla="*/ 221002 w 4519987"/>
                  <a:gd name="connsiteY71" fmla="*/ 3105150 h 4476750"/>
                  <a:gd name="connsiteX72" fmla="*/ 173377 w 4519987"/>
                  <a:gd name="connsiteY72" fmla="*/ 3019425 h 4476750"/>
                  <a:gd name="connsiteX73" fmla="*/ 144802 w 4519987"/>
                  <a:gd name="connsiteY73" fmla="*/ 2924175 h 4476750"/>
                  <a:gd name="connsiteX74" fmla="*/ 68602 w 4519987"/>
                  <a:gd name="connsiteY74" fmla="*/ 2724150 h 4476750"/>
                  <a:gd name="connsiteX75" fmla="*/ 49552 w 4519987"/>
                  <a:gd name="connsiteY75" fmla="*/ 2638425 h 4476750"/>
                  <a:gd name="connsiteX76" fmla="*/ 40027 w 4519987"/>
                  <a:gd name="connsiteY76" fmla="*/ 2562225 h 4476750"/>
                  <a:gd name="connsiteX77" fmla="*/ 30502 w 4519987"/>
                  <a:gd name="connsiteY77" fmla="*/ 2514600 h 4476750"/>
                  <a:gd name="connsiteX78" fmla="*/ 11452 w 4519987"/>
                  <a:gd name="connsiteY78" fmla="*/ 2400300 h 4476750"/>
                  <a:gd name="connsiteX79" fmla="*/ 20977 w 4519987"/>
                  <a:gd name="connsiteY79" fmla="*/ 1905000 h 4476750"/>
                  <a:gd name="connsiteX80" fmla="*/ 30502 w 4519987"/>
                  <a:gd name="connsiteY80" fmla="*/ 1838325 h 4476750"/>
                  <a:gd name="connsiteX81" fmla="*/ 49552 w 4519987"/>
                  <a:gd name="connsiteY81" fmla="*/ 1781175 h 4476750"/>
                  <a:gd name="connsiteX82" fmla="*/ 59077 w 4519987"/>
                  <a:gd name="connsiteY82" fmla="*/ 1743075 h 4476750"/>
                  <a:gd name="connsiteX83" fmla="*/ 78127 w 4519987"/>
                  <a:gd name="connsiteY83" fmla="*/ 1685925 h 4476750"/>
                  <a:gd name="connsiteX84" fmla="*/ 87652 w 4519987"/>
                  <a:gd name="connsiteY84" fmla="*/ 1638300 h 4476750"/>
                  <a:gd name="connsiteX85" fmla="*/ 106702 w 4519987"/>
                  <a:gd name="connsiteY85" fmla="*/ 1590675 h 4476750"/>
                  <a:gd name="connsiteX86" fmla="*/ 135277 w 4519987"/>
                  <a:gd name="connsiteY86" fmla="*/ 1504950 h 4476750"/>
                  <a:gd name="connsiteX87" fmla="*/ 154327 w 4519987"/>
                  <a:gd name="connsiteY87" fmla="*/ 1419225 h 4476750"/>
                  <a:gd name="connsiteX88" fmla="*/ 230527 w 4519987"/>
                  <a:gd name="connsiteY88" fmla="*/ 1276350 h 4476750"/>
                  <a:gd name="connsiteX89" fmla="*/ 240052 w 4519987"/>
                  <a:gd name="connsiteY89" fmla="*/ 1247775 h 4476750"/>
                  <a:gd name="connsiteX90" fmla="*/ 268627 w 4519987"/>
                  <a:gd name="connsiteY90" fmla="*/ 1200150 h 4476750"/>
                  <a:gd name="connsiteX91" fmla="*/ 287677 w 4519987"/>
                  <a:gd name="connsiteY91" fmla="*/ 1152525 h 4476750"/>
                  <a:gd name="connsiteX92" fmla="*/ 316252 w 4519987"/>
                  <a:gd name="connsiteY92" fmla="*/ 1114425 h 4476750"/>
                  <a:gd name="connsiteX93" fmla="*/ 363877 w 4519987"/>
                  <a:gd name="connsiteY93" fmla="*/ 1038225 h 4476750"/>
                  <a:gd name="connsiteX94" fmla="*/ 382927 w 4519987"/>
                  <a:gd name="connsiteY94" fmla="*/ 1009650 h 4476750"/>
                  <a:gd name="connsiteX95" fmla="*/ 440077 w 4519987"/>
                  <a:gd name="connsiteY95" fmla="*/ 904875 h 4476750"/>
                  <a:gd name="connsiteX96" fmla="*/ 478177 w 4519987"/>
                  <a:gd name="connsiteY96" fmla="*/ 857250 h 4476750"/>
                  <a:gd name="connsiteX97" fmla="*/ 497227 w 4519987"/>
                  <a:gd name="connsiteY97" fmla="*/ 828675 h 4476750"/>
                  <a:gd name="connsiteX98" fmla="*/ 535327 w 4519987"/>
                  <a:gd name="connsiteY98" fmla="*/ 800100 h 4476750"/>
                  <a:gd name="connsiteX99" fmla="*/ 602002 w 4519987"/>
                  <a:gd name="connsiteY99" fmla="*/ 733425 h 4476750"/>
                  <a:gd name="connsiteX100" fmla="*/ 668677 w 4519987"/>
                  <a:gd name="connsiteY100" fmla="*/ 676275 h 4476750"/>
                  <a:gd name="connsiteX101" fmla="*/ 697252 w 4519987"/>
                  <a:gd name="connsiteY101" fmla="*/ 657225 h 4476750"/>
                  <a:gd name="connsiteX102" fmla="*/ 840127 w 4519987"/>
                  <a:gd name="connsiteY102" fmla="*/ 533400 h 4476750"/>
                  <a:gd name="connsiteX103" fmla="*/ 887752 w 4519987"/>
                  <a:gd name="connsiteY103" fmla="*/ 504825 h 4476750"/>
                  <a:gd name="connsiteX104" fmla="*/ 1167152 w 4519987"/>
                  <a:gd name="connsiteY104" fmla="*/ 311150 h 4476750"/>
                  <a:gd name="connsiteX105" fmla="*/ 1268752 w 4519987"/>
                  <a:gd name="connsiteY105" fmla="*/ 285750 h 4476750"/>
                  <a:gd name="connsiteX106" fmla="*/ 1411627 w 4519987"/>
                  <a:gd name="connsiteY106" fmla="*/ 190500 h 4476750"/>
                  <a:gd name="connsiteX107" fmla="*/ 1449727 w 4519987"/>
                  <a:gd name="connsiteY107" fmla="*/ 161925 h 4476750"/>
                  <a:gd name="connsiteX108" fmla="*/ 1525927 w 4519987"/>
                  <a:gd name="connsiteY108" fmla="*/ 152400 h 4476750"/>
                  <a:gd name="connsiteX109" fmla="*/ 1583077 w 4519987"/>
                  <a:gd name="connsiteY109" fmla="*/ 142875 h 4476750"/>
                  <a:gd name="connsiteX110" fmla="*/ 1716427 w 4519987"/>
                  <a:gd name="connsiteY110" fmla="*/ 123825 h 4476750"/>
                  <a:gd name="connsiteX111" fmla="*/ 1811677 w 4519987"/>
                  <a:gd name="connsiteY111" fmla="*/ 114300 h 4476750"/>
                  <a:gd name="connsiteX112" fmla="*/ 1859302 w 4519987"/>
                  <a:gd name="connsiteY112" fmla="*/ 104775 h 4476750"/>
                  <a:gd name="connsiteX113" fmla="*/ 1916452 w 4519987"/>
                  <a:gd name="connsiteY113" fmla="*/ 95250 h 4476750"/>
                  <a:gd name="connsiteX114" fmla="*/ 2030752 w 4519987"/>
                  <a:gd name="connsiteY114" fmla="*/ 66675 h 4476750"/>
                  <a:gd name="connsiteX115" fmla="*/ 2097427 w 4519987"/>
                  <a:gd name="connsiteY115" fmla="*/ 47625 h 4476750"/>
                  <a:gd name="connsiteX116" fmla="*/ 2164102 w 4519987"/>
                  <a:gd name="connsiteY116" fmla="*/ 38100 h 4476750"/>
                  <a:gd name="connsiteX117" fmla="*/ 2392702 w 4519987"/>
                  <a:gd name="connsiteY117" fmla="*/ 28575 h 4476750"/>
                  <a:gd name="connsiteX0" fmla="*/ 2297452 w 4519987"/>
                  <a:gd name="connsiteY0" fmla="*/ 0 h 4457700"/>
                  <a:gd name="connsiteX1" fmla="*/ 2421277 w 4519987"/>
                  <a:gd name="connsiteY1" fmla="*/ 28575 h 4457700"/>
                  <a:gd name="connsiteX2" fmla="*/ 2497477 w 4519987"/>
                  <a:gd name="connsiteY2" fmla="*/ 47625 h 4457700"/>
                  <a:gd name="connsiteX3" fmla="*/ 2754652 w 4519987"/>
                  <a:gd name="connsiteY3" fmla="*/ 66675 h 4457700"/>
                  <a:gd name="connsiteX4" fmla="*/ 2830852 w 4519987"/>
                  <a:gd name="connsiteY4" fmla="*/ 76200 h 4457700"/>
                  <a:gd name="connsiteX5" fmla="*/ 2916577 w 4519987"/>
                  <a:gd name="connsiteY5" fmla="*/ 85725 h 4457700"/>
                  <a:gd name="connsiteX6" fmla="*/ 2973727 w 4519987"/>
                  <a:gd name="connsiteY6" fmla="*/ 114300 h 4457700"/>
                  <a:gd name="connsiteX7" fmla="*/ 3011827 w 4519987"/>
                  <a:gd name="connsiteY7" fmla="*/ 123825 h 4457700"/>
                  <a:gd name="connsiteX8" fmla="*/ 3135652 w 4519987"/>
                  <a:gd name="connsiteY8" fmla="*/ 171450 h 4457700"/>
                  <a:gd name="connsiteX9" fmla="*/ 3173752 w 4519987"/>
                  <a:gd name="connsiteY9" fmla="*/ 190500 h 4457700"/>
                  <a:gd name="connsiteX10" fmla="*/ 3240427 w 4519987"/>
                  <a:gd name="connsiteY10" fmla="*/ 228600 h 4457700"/>
                  <a:gd name="connsiteX11" fmla="*/ 3269002 w 4519987"/>
                  <a:gd name="connsiteY11" fmla="*/ 238125 h 4457700"/>
                  <a:gd name="connsiteX12" fmla="*/ 3297577 w 4519987"/>
                  <a:gd name="connsiteY12" fmla="*/ 257175 h 4457700"/>
                  <a:gd name="connsiteX13" fmla="*/ 3326152 w 4519987"/>
                  <a:gd name="connsiteY13" fmla="*/ 266700 h 4457700"/>
                  <a:gd name="connsiteX14" fmla="*/ 3354727 w 4519987"/>
                  <a:gd name="connsiteY14" fmla="*/ 285750 h 4457700"/>
                  <a:gd name="connsiteX15" fmla="*/ 3421402 w 4519987"/>
                  <a:gd name="connsiteY15" fmla="*/ 323850 h 4457700"/>
                  <a:gd name="connsiteX16" fmla="*/ 3469027 w 4519987"/>
                  <a:gd name="connsiteY16" fmla="*/ 361950 h 4457700"/>
                  <a:gd name="connsiteX17" fmla="*/ 3516652 w 4519987"/>
                  <a:gd name="connsiteY17" fmla="*/ 390525 h 4457700"/>
                  <a:gd name="connsiteX18" fmla="*/ 3630952 w 4519987"/>
                  <a:gd name="connsiteY18" fmla="*/ 485775 h 4457700"/>
                  <a:gd name="connsiteX19" fmla="*/ 3745252 w 4519987"/>
                  <a:gd name="connsiteY19" fmla="*/ 542925 h 4457700"/>
                  <a:gd name="connsiteX20" fmla="*/ 3811927 w 4519987"/>
                  <a:gd name="connsiteY20" fmla="*/ 581025 h 4457700"/>
                  <a:gd name="connsiteX21" fmla="*/ 4027827 w 4519987"/>
                  <a:gd name="connsiteY21" fmla="*/ 819150 h 4457700"/>
                  <a:gd name="connsiteX22" fmla="*/ 4164352 w 4519987"/>
                  <a:gd name="connsiteY22" fmla="*/ 990600 h 4457700"/>
                  <a:gd name="connsiteX23" fmla="*/ 4250077 w 4519987"/>
                  <a:gd name="connsiteY23" fmla="*/ 1143000 h 4457700"/>
                  <a:gd name="connsiteX24" fmla="*/ 4307227 w 4519987"/>
                  <a:gd name="connsiteY24" fmla="*/ 1266825 h 4457700"/>
                  <a:gd name="connsiteX25" fmla="*/ 4345327 w 4519987"/>
                  <a:gd name="connsiteY25" fmla="*/ 1362075 h 4457700"/>
                  <a:gd name="connsiteX26" fmla="*/ 4392952 w 4519987"/>
                  <a:gd name="connsiteY26" fmla="*/ 1552575 h 4457700"/>
                  <a:gd name="connsiteX27" fmla="*/ 4431052 w 4519987"/>
                  <a:gd name="connsiteY27" fmla="*/ 1685925 h 4457700"/>
                  <a:gd name="connsiteX28" fmla="*/ 4519952 w 4519987"/>
                  <a:gd name="connsiteY28" fmla="*/ 2181225 h 4457700"/>
                  <a:gd name="connsiteX29" fmla="*/ 4446927 w 4519987"/>
                  <a:gd name="connsiteY29" fmla="*/ 2768600 h 4457700"/>
                  <a:gd name="connsiteX30" fmla="*/ 4383427 w 4519987"/>
                  <a:gd name="connsiteY30" fmla="*/ 2990850 h 4457700"/>
                  <a:gd name="connsiteX31" fmla="*/ 4278652 w 4519987"/>
                  <a:gd name="connsiteY31" fmla="*/ 3248025 h 4457700"/>
                  <a:gd name="connsiteX32" fmla="*/ 4183402 w 4519987"/>
                  <a:gd name="connsiteY32" fmla="*/ 3400425 h 4457700"/>
                  <a:gd name="connsiteX33" fmla="*/ 4059577 w 4519987"/>
                  <a:gd name="connsiteY33" fmla="*/ 3533775 h 4457700"/>
                  <a:gd name="connsiteX34" fmla="*/ 3954802 w 4519987"/>
                  <a:gd name="connsiteY34" fmla="*/ 3648075 h 4457700"/>
                  <a:gd name="connsiteX35" fmla="*/ 3659527 w 4519987"/>
                  <a:gd name="connsiteY35" fmla="*/ 3971925 h 4457700"/>
                  <a:gd name="connsiteX36" fmla="*/ 3516652 w 4519987"/>
                  <a:gd name="connsiteY36" fmla="*/ 4083050 h 4457700"/>
                  <a:gd name="connsiteX37" fmla="*/ 3221377 w 4519987"/>
                  <a:gd name="connsiteY37" fmla="*/ 4222750 h 4457700"/>
                  <a:gd name="connsiteX38" fmla="*/ 3068977 w 4519987"/>
                  <a:gd name="connsiteY38" fmla="*/ 4286250 h 4457700"/>
                  <a:gd name="connsiteX39" fmla="*/ 2935627 w 4519987"/>
                  <a:gd name="connsiteY39" fmla="*/ 4333875 h 4457700"/>
                  <a:gd name="connsiteX40" fmla="*/ 2811802 w 4519987"/>
                  <a:gd name="connsiteY40" fmla="*/ 4371975 h 4457700"/>
                  <a:gd name="connsiteX41" fmla="*/ 2580027 w 4519987"/>
                  <a:gd name="connsiteY41" fmla="*/ 4391025 h 4457700"/>
                  <a:gd name="connsiteX42" fmla="*/ 2202202 w 4519987"/>
                  <a:gd name="connsiteY42" fmla="*/ 4457700 h 4457700"/>
                  <a:gd name="connsiteX43" fmla="*/ 2126002 w 4519987"/>
                  <a:gd name="connsiteY43" fmla="*/ 4429125 h 4457700"/>
                  <a:gd name="connsiteX44" fmla="*/ 1935502 w 4519987"/>
                  <a:gd name="connsiteY44" fmla="*/ 4400550 h 4457700"/>
                  <a:gd name="connsiteX45" fmla="*/ 1821202 w 4519987"/>
                  <a:gd name="connsiteY45" fmla="*/ 4371975 h 4457700"/>
                  <a:gd name="connsiteX46" fmla="*/ 1754527 w 4519987"/>
                  <a:gd name="connsiteY46" fmla="*/ 4352925 h 4457700"/>
                  <a:gd name="connsiteX47" fmla="*/ 1687852 w 4519987"/>
                  <a:gd name="connsiteY47" fmla="*/ 4343400 h 4457700"/>
                  <a:gd name="connsiteX48" fmla="*/ 1573552 w 4519987"/>
                  <a:gd name="connsiteY48" fmla="*/ 4305300 h 4457700"/>
                  <a:gd name="connsiteX49" fmla="*/ 1402102 w 4519987"/>
                  <a:gd name="connsiteY49" fmla="*/ 4276725 h 4457700"/>
                  <a:gd name="connsiteX50" fmla="*/ 1287802 w 4519987"/>
                  <a:gd name="connsiteY50" fmla="*/ 4229100 h 4457700"/>
                  <a:gd name="connsiteX51" fmla="*/ 1221127 w 4519987"/>
                  <a:gd name="connsiteY51" fmla="*/ 4200525 h 4457700"/>
                  <a:gd name="connsiteX52" fmla="*/ 1144927 w 4519987"/>
                  <a:gd name="connsiteY52" fmla="*/ 4171950 h 4457700"/>
                  <a:gd name="connsiteX53" fmla="*/ 1087777 w 4519987"/>
                  <a:gd name="connsiteY53" fmla="*/ 4143375 h 4457700"/>
                  <a:gd name="connsiteX54" fmla="*/ 1030627 w 4519987"/>
                  <a:gd name="connsiteY54" fmla="*/ 4124325 h 4457700"/>
                  <a:gd name="connsiteX55" fmla="*/ 925852 w 4519987"/>
                  <a:gd name="connsiteY55" fmla="*/ 4067175 h 4457700"/>
                  <a:gd name="connsiteX56" fmla="*/ 830602 w 4519987"/>
                  <a:gd name="connsiteY56" fmla="*/ 3981450 h 4457700"/>
                  <a:gd name="connsiteX57" fmla="*/ 763927 w 4519987"/>
                  <a:gd name="connsiteY57" fmla="*/ 3914775 h 4457700"/>
                  <a:gd name="connsiteX58" fmla="*/ 725827 w 4519987"/>
                  <a:gd name="connsiteY58" fmla="*/ 3876675 h 4457700"/>
                  <a:gd name="connsiteX59" fmla="*/ 697252 w 4519987"/>
                  <a:gd name="connsiteY59" fmla="*/ 3838575 h 4457700"/>
                  <a:gd name="connsiteX60" fmla="*/ 640102 w 4519987"/>
                  <a:gd name="connsiteY60" fmla="*/ 3781425 h 4457700"/>
                  <a:gd name="connsiteX61" fmla="*/ 611527 w 4519987"/>
                  <a:gd name="connsiteY61" fmla="*/ 3733800 h 4457700"/>
                  <a:gd name="connsiteX62" fmla="*/ 554377 w 4519987"/>
                  <a:gd name="connsiteY62" fmla="*/ 3657600 h 4457700"/>
                  <a:gd name="connsiteX63" fmla="*/ 525802 w 4519987"/>
                  <a:gd name="connsiteY63" fmla="*/ 3609975 h 4457700"/>
                  <a:gd name="connsiteX64" fmla="*/ 497227 w 4519987"/>
                  <a:gd name="connsiteY64" fmla="*/ 3552825 h 4457700"/>
                  <a:gd name="connsiteX65" fmla="*/ 440077 w 4519987"/>
                  <a:gd name="connsiteY65" fmla="*/ 3495675 h 4457700"/>
                  <a:gd name="connsiteX66" fmla="*/ 411502 w 4519987"/>
                  <a:gd name="connsiteY66" fmla="*/ 3448050 h 4457700"/>
                  <a:gd name="connsiteX67" fmla="*/ 278152 w 4519987"/>
                  <a:gd name="connsiteY67" fmla="*/ 3257550 h 4457700"/>
                  <a:gd name="connsiteX68" fmla="*/ 249577 w 4519987"/>
                  <a:gd name="connsiteY68" fmla="*/ 3200400 h 4457700"/>
                  <a:gd name="connsiteX69" fmla="*/ 240052 w 4519987"/>
                  <a:gd name="connsiteY69" fmla="*/ 3162300 h 4457700"/>
                  <a:gd name="connsiteX70" fmla="*/ 221002 w 4519987"/>
                  <a:gd name="connsiteY70" fmla="*/ 3105150 h 4457700"/>
                  <a:gd name="connsiteX71" fmla="*/ 173377 w 4519987"/>
                  <a:gd name="connsiteY71" fmla="*/ 3019425 h 4457700"/>
                  <a:gd name="connsiteX72" fmla="*/ 144802 w 4519987"/>
                  <a:gd name="connsiteY72" fmla="*/ 2924175 h 4457700"/>
                  <a:gd name="connsiteX73" fmla="*/ 68602 w 4519987"/>
                  <a:gd name="connsiteY73" fmla="*/ 2724150 h 4457700"/>
                  <a:gd name="connsiteX74" fmla="*/ 49552 w 4519987"/>
                  <a:gd name="connsiteY74" fmla="*/ 2638425 h 4457700"/>
                  <a:gd name="connsiteX75" fmla="*/ 40027 w 4519987"/>
                  <a:gd name="connsiteY75" fmla="*/ 2562225 h 4457700"/>
                  <a:gd name="connsiteX76" fmla="*/ 30502 w 4519987"/>
                  <a:gd name="connsiteY76" fmla="*/ 2514600 h 4457700"/>
                  <a:gd name="connsiteX77" fmla="*/ 11452 w 4519987"/>
                  <a:gd name="connsiteY77" fmla="*/ 2400300 h 4457700"/>
                  <a:gd name="connsiteX78" fmla="*/ 20977 w 4519987"/>
                  <a:gd name="connsiteY78" fmla="*/ 1905000 h 4457700"/>
                  <a:gd name="connsiteX79" fmla="*/ 30502 w 4519987"/>
                  <a:gd name="connsiteY79" fmla="*/ 1838325 h 4457700"/>
                  <a:gd name="connsiteX80" fmla="*/ 49552 w 4519987"/>
                  <a:gd name="connsiteY80" fmla="*/ 1781175 h 4457700"/>
                  <a:gd name="connsiteX81" fmla="*/ 59077 w 4519987"/>
                  <a:gd name="connsiteY81" fmla="*/ 1743075 h 4457700"/>
                  <a:gd name="connsiteX82" fmla="*/ 78127 w 4519987"/>
                  <a:gd name="connsiteY82" fmla="*/ 1685925 h 4457700"/>
                  <a:gd name="connsiteX83" fmla="*/ 87652 w 4519987"/>
                  <a:gd name="connsiteY83" fmla="*/ 1638300 h 4457700"/>
                  <a:gd name="connsiteX84" fmla="*/ 106702 w 4519987"/>
                  <a:gd name="connsiteY84" fmla="*/ 1590675 h 4457700"/>
                  <a:gd name="connsiteX85" fmla="*/ 135277 w 4519987"/>
                  <a:gd name="connsiteY85" fmla="*/ 1504950 h 4457700"/>
                  <a:gd name="connsiteX86" fmla="*/ 154327 w 4519987"/>
                  <a:gd name="connsiteY86" fmla="*/ 1419225 h 4457700"/>
                  <a:gd name="connsiteX87" fmla="*/ 230527 w 4519987"/>
                  <a:gd name="connsiteY87" fmla="*/ 1276350 h 4457700"/>
                  <a:gd name="connsiteX88" fmla="*/ 240052 w 4519987"/>
                  <a:gd name="connsiteY88" fmla="*/ 1247775 h 4457700"/>
                  <a:gd name="connsiteX89" fmla="*/ 268627 w 4519987"/>
                  <a:gd name="connsiteY89" fmla="*/ 1200150 h 4457700"/>
                  <a:gd name="connsiteX90" fmla="*/ 287677 w 4519987"/>
                  <a:gd name="connsiteY90" fmla="*/ 1152525 h 4457700"/>
                  <a:gd name="connsiteX91" fmla="*/ 316252 w 4519987"/>
                  <a:gd name="connsiteY91" fmla="*/ 1114425 h 4457700"/>
                  <a:gd name="connsiteX92" fmla="*/ 363877 w 4519987"/>
                  <a:gd name="connsiteY92" fmla="*/ 1038225 h 4457700"/>
                  <a:gd name="connsiteX93" fmla="*/ 382927 w 4519987"/>
                  <a:gd name="connsiteY93" fmla="*/ 1009650 h 4457700"/>
                  <a:gd name="connsiteX94" fmla="*/ 440077 w 4519987"/>
                  <a:gd name="connsiteY94" fmla="*/ 904875 h 4457700"/>
                  <a:gd name="connsiteX95" fmla="*/ 478177 w 4519987"/>
                  <a:gd name="connsiteY95" fmla="*/ 857250 h 4457700"/>
                  <a:gd name="connsiteX96" fmla="*/ 497227 w 4519987"/>
                  <a:gd name="connsiteY96" fmla="*/ 828675 h 4457700"/>
                  <a:gd name="connsiteX97" fmla="*/ 535327 w 4519987"/>
                  <a:gd name="connsiteY97" fmla="*/ 800100 h 4457700"/>
                  <a:gd name="connsiteX98" fmla="*/ 602002 w 4519987"/>
                  <a:gd name="connsiteY98" fmla="*/ 733425 h 4457700"/>
                  <a:gd name="connsiteX99" fmla="*/ 668677 w 4519987"/>
                  <a:gd name="connsiteY99" fmla="*/ 676275 h 4457700"/>
                  <a:gd name="connsiteX100" fmla="*/ 697252 w 4519987"/>
                  <a:gd name="connsiteY100" fmla="*/ 657225 h 4457700"/>
                  <a:gd name="connsiteX101" fmla="*/ 840127 w 4519987"/>
                  <a:gd name="connsiteY101" fmla="*/ 533400 h 4457700"/>
                  <a:gd name="connsiteX102" fmla="*/ 887752 w 4519987"/>
                  <a:gd name="connsiteY102" fmla="*/ 504825 h 4457700"/>
                  <a:gd name="connsiteX103" fmla="*/ 1167152 w 4519987"/>
                  <a:gd name="connsiteY103" fmla="*/ 311150 h 4457700"/>
                  <a:gd name="connsiteX104" fmla="*/ 1268752 w 4519987"/>
                  <a:gd name="connsiteY104" fmla="*/ 285750 h 4457700"/>
                  <a:gd name="connsiteX105" fmla="*/ 1411627 w 4519987"/>
                  <a:gd name="connsiteY105" fmla="*/ 190500 h 4457700"/>
                  <a:gd name="connsiteX106" fmla="*/ 1449727 w 4519987"/>
                  <a:gd name="connsiteY106" fmla="*/ 161925 h 4457700"/>
                  <a:gd name="connsiteX107" fmla="*/ 1525927 w 4519987"/>
                  <a:gd name="connsiteY107" fmla="*/ 152400 h 4457700"/>
                  <a:gd name="connsiteX108" fmla="*/ 1583077 w 4519987"/>
                  <a:gd name="connsiteY108" fmla="*/ 142875 h 4457700"/>
                  <a:gd name="connsiteX109" fmla="*/ 1716427 w 4519987"/>
                  <a:gd name="connsiteY109" fmla="*/ 123825 h 4457700"/>
                  <a:gd name="connsiteX110" fmla="*/ 1811677 w 4519987"/>
                  <a:gd name="connsiteY110" fmla="*/ 114300 h 4457700"/>
                  <a:gd name="connsiteX111" fmla="*/ 1859302 w 4519987"/>
                  <a:gd name="connsiteY111" fmla="*/ 104775 h 4457700"/>
                  <a:gd name="connsiteX112" fmla="*/ 1916452 w 4519987"/>
                  <a:gd name="connsiteY112" fmla="*/ 95250 h 4457700"/>
                  <a:gd name="connsiteX113" fmla="*/ 2030752 w 4519987"/>
                  <a:gd name="connsiteY113" fmla="*/ 66675 h 4457700"/>
                  <a:gd name="connsiteX114" fmla="*/ 2097427 w 4519987"/>
                  <a:gd name="connsiteY114" fmla="*/ 47625 h 4457700"/>
                  <a:gd name="connsiteX115" fmla="*/ 2164102 w 4519987"/>
                  <a:gd name="connsiteY115" fmla="*/ 38100 h 4457700"/>
                  <a:gd name="connsiteX116" fmla="*/ 2392702 w 4519987"/>
                  <a:gd name="connsiteY116" fmla="*/ 28575 h 4457700"/>
                  <a:gd name="connsiteX0" fmla="*/ 2297452 w 4519987"/>
                  <a:gd name="connsiteY0" fmla="*/ 0 h 4429260"/>
                  <a:gd name="connsiteX1" fmla="*/ 2421277 w 4519987"/>
                  <a:gd name="connsiteY1" fmla="*/ 28575 h 4429260"/>
                  <a:gd name="connsiteX2" fmla="*/ 2497477 w 4519987"/>
                  <a:gd name="connsiteY2" fmla="*/ 47625 h 4429260"/>
                  <a:gd name="connsiteX3" fmla="*/ 2754652 w 4519987"/>
                  <a:gd name="connsiteY3" fmla="*/ 66675 h 4429260"/>
                  <a:gd name="connsiteX4" fmla="*/ 2830852 w 4519987"/>
                  <a:gd name="connsiteY4" fmla="*/ 76200 h 4429260"/>
                  <a:gd name="connsiteX5" fmla="*/ 2916577 w 4519987"/>
                  <a:gd name="connsiteY5" fmla="*/ 85725 h 4429260"/>
                  <a:gd name="connsiteX6" fmla="*/ 2973727 w 4519987"/>
                  <a:gd name="connsiteY6" fmla="*/ 114300 h 4429260"/>
                  <a:gd name="connsiteX7" fmla="*/ 3011827 w 4519987"/>
                  <a:gd name="connsiteY7" fmla="*/ 123825 h 4429260"/>
                  <a:gd name="connsiteX8" fmla="*/ 3135652 w 4519987"/>
                  <a:gd name="connsiteY8" fmla="*/ 171450 h 4429260"/>
                  <a:gd name="connsiteX9" fmla="*/ 3173752 w 4519987"/>
                  <a:gd name="connsiteY9" fmla="*/ 190500 h 4429260"/>
                  <a:gd name="connsiteX10" fmla="*/ 3240427 w 4519987"/>
                  <a:gd name="connsiteY10" fmla="*/ 228600 h 4429260"/>
                  <a:gd name="connsiteX11" fmla="*/ 3269002 w 4519987"/>
                  <a:gd name="connsiteY11" fmla="*/ 238125 h 4429260"/>
                  <a:gd name="connsiteX12" fmla="*/ 3297577 w 4519987"/>
                  <a:gd name="connsiteY12" fmla="*/ 257175 h 4429260"/>
                  <a:gd name="connsiteX13" fmla="*/ 3326152 w 4519987"/>
                  <a:gd name="connsiteY13" fmla="*/ 266700 h 4429260"/>
                  <a:gd name="connsiteX14" fmla="*/ 3354727 w 4519987"/>
                  <a:gd name="connsiteY14" fmla="*/ 285750 h 4429260"/>
                  <a:gd name="connsiteX15" fmla="*/ 3421402 w 4519987"/>
                  <a:gd name="connsiteY15" fmla="*/ 323850 h 4429260"/>
                  <a:gd name="connsiteX16" fmla="*/ 3469027 w 4519987"/>
                  <a:gd name="connsiteY16" fmla="*/ 361950 h 4429260"/>
                  <a:gd name="connsiteX17" fmla="*/ 3516652 w 4519987"/>
                  <a:gd name="connsiteY17" fmla="*/ 390525 h 4429260"/>
                  <a:gd name="connsiteX18" fmla="*/ 3630952 w 4519987"/>
                  <a:gd name="connsiteY18" fmla="*/ 485775 h 4429260"/>
                  <a:gd name="connsiteX19" fmla="*/ 3745252 w 4519987"/>
                  <a:gd name="connsiteY19" fmla="*/ 542925 h 4429260"/>
                  <a:gd name="connsiteX20" fmla="*/ 3811927 w 4519987"/>
                  <a:gd name="connsiteY20" fmla="*/ 581025 h 4429260"/>
                  <a:gd name="connsiteX21" fmla="*/ 4027827 w 4519987"/>
                  <a:gd name="connsiteY21" fmla="*/ 819150 h 4429260"/>
                  <a:gd name="connsiteX22" fmla="*/ 4164352 w 4519987"/>
                  <a:gd name="connsiteY22" fmla="*/ 990600 h 4429260"/>
                  <a:gd name="connsiteX23" fmla="*/ 4250077 w 4519987"/>
                  <a:gd name="connsiteY23" fmla="*/ 1143000 h 4429260"/>
                  <a:gd name="connsiteX24" fmla="*/ 4307227 w 4519987"/>
                  <a:gd name="connsiteY24" fmla="*/ 1266825 h 4429260"/>
                  <a:gd name="connsiteX25" fmla="*/ 4345327 w 4519987"/>
                  <a:gd name="connsiteY25" fmla="*/ 1362075 h 4429260"/>
                  <a:gd name="connsiteX26" fmla="*/ 4392952 w 4519987"/>
                  <a:gd name="connsiteY26" fmla="*/ 1552575 h 4429260"/>
                  <a:gd name="connsiteX27" fmla="*/ 4431052 w 4519987"/>
                  <a:gd name="connsiteY27" fmla="*/ 1685925 h 4429260"/>
                  <a:gd name="connsiteX28" fmla="*/ 4519952 w 4519987"/>
                  <a:gd name="connsiteY28" fmla="*/ 2181225 h 4429260"/>
                  <a:gd name="connsiteX29" fmla="*/ 4446927 w 4519987"/>
                  <a:gd name="connsiteY29" fmla="*/ 2768600 h 4429260"/>
                  <a:gd name="connsiteX30" fmla="*/ 4383427 w 4519987"/>
                  <a:gd name="connsiteY30" fmla="*/ 2990850 h 4429260"/>
                  <a:gd name="connsiteX31" fmla="*/ 4278652 w 4519987"/>
                  <a:gd name="connsiteY31" fmla="*/ 3248025 h 4429260"/>
                  <a:gd name="connsiteX32" fmla="*/ 4183402 w 4519987"/>
                  <a:gd name="connsiteY32" fmla="*/ 3400425 h 4429260"/>
                  <a:gd name="connsiteX33" fmla="*/ 4059577 w 4519987"/>
                  <a:gd name="connsiteY33" fmla="*/ 3533775 h 4429260"/>
                  <a:gd name="connsiteX34" fmla="*/ 3954802 w 4519987"/>
                  <a:gd name="connsiteY34" fmla="*/ 3648075 h 4429260"/>
                  <a:gd name="connsiteX35" fmla="*/ 3659527 w 4519987"/>
                  <a:gd name="connsiteY35" fmla="*/ 3971925 h 4429260"/>
                  <a:gd name="connsiteX36" fmla="*/ 3516652 w 4519987"/>
                  <a:gd name="connsiteY36" fmla="*/ 4083050 h 4429260"/>
                  <a:gd name="connsiteX37" fmla="*/ 3221377 w 4519987"/>
                  <a:gd name="connsiteY37" fmla="*/ 4222750 h 4429260"/>
                  <a:gd name="connsiteX38" fmla="*/ 3068977 w 4519987"/>
                  <a:gd name="connsiteY38" fmla="*/ 4286250 h 4429260"/>
                  <a:gd name="connsiteX39" fmla="*/ 2935627 w 4519987"/>
                  <a:gd name="connsiteY39" fmla="*/ 4333875 h 4429260"/>
                  <a:gd name="connsiteX40" fmla="*/ 2811802 w 4519987"/>
                  <a:gd name="connsiteY40" fmla="*/ 4371975 h 4429260"/>
                  <a:gd name="connsiteX41" fmla="*/ 2580027 w 4519987"/>
                  <a:gd name="connsiteY41" fmla="*/ 4391025 h 4429260"/>
                  <a:gd name="connsiteX42" fmla="*/ 2126002 w 4519987"/>
                  <a:gd name="connsiteY42" fmla="*/ 4429125 h 4429260"/>
                  <a:gd name="connsiteX43" fmla="*/ 1935502 w 4519987"/>
                  <a:gd name="connsiteY43" fmla="*/ 4400550 h 4429260"/>
                  <a:gd name="connsiteX44" fmla="*/ 1821202 w 4519987"/>
                  <a:gd name="connsiteY44" fmla="*/ 4371975 h 4429260"/>
                  <a:gd name="connsiteX45" fmla="*/ 1754527 w 4519987"/>
                  <a:gd name="connsiteY45" fmla="*/ 4352925 h 4429260"/>
                  <a:gd name="connsiteX46" fmla="*/ 1687852 w 4519987"/>
                  <a:gd name="connsiteY46" fmla="*/ 4343400 h 4429260"/>
                  <a:gd name="connsiteX47" fmla="*/ 1573552 w 4519987"/>
                  <a:gd name="connsiteY47" fmla="*/ 4305300 h 4429260"/>
                  <a:gd name="connsiteX48" fmla="*/ 1402102 w 4519987"/>
                  <a:gd name="connsiteY48" fmla="*/ 4276725 h 4429260"/>
                  <a:gd name="connsiteX49" fmla="*/ 1287802 w 4519987"/>
                  <a:gd name="connsiteY49" fmla="*/ 4229100 h 4429260"/>
                  <a:gd name="connsiteX50" fmla="*/ 1221127 w 4519987"/>
                  <a:gd name="connsiteY50" fmla="*/ 4200525 h 4429260"/>
                  <a:gd name="connsiteX51" fmla="*/ 1144927 w 4519987"/>
                  <a:gd name="connsiteY51" fmla="*/ 4171950 h 4429260"/>
                  <a:gd name="connsiteX52" fmla="*/ 1087777 w 4519987"/>
                  <a:gd name="connsiteY52" fmla="*/ 4143375 h 4429260"/>
                  <a:gd name="connsiteX53" fmla="*/ 1030627 w 4519987"/>
                  <a:gd name="connsiteY53" fmla="*/ 4124325 h 4429260"/>
                  <a:gd name="connsiteX54" fmla="*/ 925852 w 4519987"/>
                  <a:gd name="connsiteY54" fmla="*/ 4067175 h 4429260"/>
                  <a:gd name="connsiteX55" fmla="*/ 830602 w 4519987"/>
                  <a:gd name="connsiteY55" fmla="*/ 3981450 h 4429260"/>
                  <a:gd name="connsiteX56" fmla="*/ 763927 w 4519987"/>
                  <a:gd name="connsiteY56" fmla="*/ 3914775 h 4429260"/>
                  <a:gd name="connsiteX57" fmla="*/ 725827 w 4519987"/>
                  <a:gd name="connsiteY57" fmla="*/ 3876675 h 4429260"/>
                  <a:gd name="connsiteX58" fmla="*/ 697252 w 4519987"/>
                  <a:gd name="connsiteY58" fmla="*/ 3838575 h 4429260"/>
                  <a:gd name="connsiteX59" fmla="*/ 640102 w 4519987"/>
                  <a:gd name="connsiteY59" fmla="*/ 3781425 h 4429260"/>
                  <a:gd name="connsiteX60" fmla="*/ 611527 w 4519987"/>
                  <a:gd name="connsiteY60" fmla="*/ 3733800 h 4429260"/>
                  <a:gd name="connsiteX61" fmla="*/ 554377 w 4519987"/>
                  <a:gd name="connsiteY61" fmla="*/ 3657600 h 4429260"/>
                  <a:gd name="connsiteX62" fmla="*/ 525802 w 4519987"/>
                  <a:gd name="connsiteY62" fmla="*/ 3609975 h 4429260"/>
                  <a:gd name="connsiteX63" fmla="*/ 497227 w 4519987"/>
                  <a:gd name="connsiteY63" fmla="*/ 3552825 h 4429260"/>
                  <a:gd name="connsiteX64" fmla="*/ 440077 w 4519987"/>
                  <a:gd name="connsiteY64" fmla="*/ 3495675 h 4429260"/>
                  <a:gd name="connsiteX65" fmla="*/ 411502 w 4519987"/>
                  <a:gd name="connsiteY65" fmla="*/ 3448050 h 4429260"/>
                  <a:gd name="connsiteX66" fmla="*/ 278152 w 4519987"/>
                  <a:gd name="connsiteY66" fmla="*/ 3257550 h 4429260"/>
                  <a:gd name="connsiteX67" fmla="*/ 249577 w 4519987"/>
                  <a:gd name="connsiteY67" fmla="*/ 3200400 h 4429260"/>
                  <a:gd name="connsiteX68" fmla="*/ 240052 w 4519987"/>
                  <a:gd name="connsiteY68" fmla="*/ 3162300 h 4429260"/>
                  <a:gd name="connsiteX69" fmla="*/ 221002 w 4519987"/>
                  <a:gd name="connsiteY69" fmla="*/ 3105150 h 4429260"/>
                  <a:gd name="connsiteX70" fmla="*/ 173377 w 4519987"/>
                  <a:gd name="connsiteY70" fmla="*/ 3019425 h 4429260"/>
                  <a:gd name="connsiteX71" fmla="*/ 144802 w 4519987"/>
                  <a:gd name="connsiteY71" fmla="*/ 2924175 h 4429260"/>
                  <a:gd name="connsiteX72" fmla="*/ 68602 w 4519987"/>
                  <a:gd name="connsiteY72" fmla="*/ 2724150 h 4429260"/>
                  <a:gd name="connsiteX73" fmla="*/ 49552 w 4519987"/>
                  <a:gd name="connsiteY73" fmla="*/ 2638425 h 4429260"/>
                  <a:gd name="connsiteX74" fmla="*/ 40027 w 4519987"/>
                  <a:gd name="connsiteY74" fmla="*/ 2562225 h 4429260"/>
                  <a:gd name="connsiteX75" fmla="*/ 30502 w 4519987"/>
                  <a:gd name="connsiteY75" fmla="*/ 2514600 h 4429260"/>
                  <a:gd name="connsiteX76" fmla="*/ 11452 w 4519987"/>
                  <a:gd name="connsiteY76" fmla="*/ 2400300 h 4429260"/>
                  <a:gd name="connsiteX77" fmla="*/ 20977 w 4519987"/>
                  <a:gd name="connsiteY77" fmla="*/ 1905000 h 4429260"/>
                  <a:gd name="connsiteX78" fmla="*/ 30502 w 4519987"/>
                  <a:gd name="connsiteY78" fmla="*/ 1838325 h 4429260"/>
                  <a:gd name="connsiteX79" fmla="*/ 49552 w 4519987"/>
                  <a:gd name="connsiteY79" fmla="*/ 1781175 h 4429260"/>
                  <a:gd name="connsiteX80" fmla="*/ 59077 w 4519987"/>
                  <a:gd name="connsiteY80" fmla="*/ 1743075 h 4429260"/>
                  <a:gd name="connsiteX81" fmla="*/ 78127 w 4519987"/>
                  <a:gd name="connsiteY81" fmla="*/ 1685925 h 4429260"/>
                  <a:gd name="connsiteX82" fmla="*/ 87652 w 4519987"/>
                  <a:gd name="connsiteY82" fmla="*/ 1638300 h 4429260"/>
                  <a:gd name="connsiteX83" fmla="*/ 106702 w 4519987"/>
                  <a:gd name="connsiteY83" fmla="*/ 1590675 h 4429260"/>
                  <a:gd name="connsiteX84" fmla="*/ 135277 w 4519987"/>
                  <a:gd name="connsiteY84" fmla="*/ 1504950 h 4429260"/>
                  <a:gd name="connsiteX85" fmla="*/ 154327 w 4519987"/>
                  <a:gd name="connsiteY85" fmla="*/ 1419225 h 4429260"/>
                  <a:gd name="connsiteX86" fmla="*/ 230527 w 4519987"/>
                  <a:gd name="connsiteY86" fmla="*/ 1276350 h 4429260"/>
                  <a:gd name="connsiteX87" fmla="*/ 240052 w 4519987"/>
                  <a:gd name="connsiteY87" fmla="*/ 1247775 h 4429260"/>
                  <a:gd name="connsiteX88" fmla="*/ 268627 w 4519987"/>
                  <a:gd name="connsiteY88" fmla="*/ 1200150 h 4429260"/>
                  <a:gd name="connsiteX89" fmla="*/ 287677 w 4519987"/>
                  <a:gd name="connsiteY89" fmla="*/ 1152525 h 4429260"/>
                  <a:gd name="connsiteX90" fmla="*/ 316252 w 4519987"/>
                  <a:gd name="connsiteY90" fmla="*/ 1114425 h 4429260"/>
                  <a:gd name="connsiteX91" fmla="*/ 363877 w 4519987"/>
                  <a:gd name="connsiteY91" fmla="*/ 1038225 h 4429260"/>
                  <a:gd name="connsiteX92" fmla="*/ 382927 w 4519987"/>
                  <a:gd name="connsiteY92" fmla="*/ 1009650 h 4429260"/>
                  <a:gd name="connsiteX93" fmla="*/ 440077 w 4519987"/>
                  <a:gd name="connsiteY93" fmla="*/ 904875 h 4429260"/>
                  <a:gd name="connsiteX94" fmla="*/ 478177 w 4519987"/>
                  <a:gd name="connsiteY94" fmla="*/ 857250 h 4429260"/>
                  <a:gd name="connsiteX95" fmla="*/ 497227 w 4519987"/>
                  <a:gd name="connsiteY95" fmla="*/ 828675 h 4429260"/>
                  <a:gd name="connsiteX96" fmla="*/ 535327 w 4519987"/>
                  <a:gd name="connsiteY96" fmla="*/ 800100 h 4429260"/>
                  <a:gd name="connsiteX97" fmla="*/ 602002 w 4519987"/>
                  <a:gd name="connsiteY97" fmla="*/ 733425 h 4429260"/>
                  <a:gd name="connsiteX98" fmla="*/ 668677 w 4519987"/>
                  <a:gd name="connsiteY98" fmla="*/ 676275 h 4429260"/>
                  <a:gd name="connsiteX99" fmla="*/ 697252 w 4519987"/>
                  <a:gd name="connsiteY99" fmla="*/ 657225 h 4429260"/>
                  <a:gd name="connsiteX100" fmla="*/ 840127 w 4519987"/>
                  <a:gd name="connsiteY100" fmla="*/ 533400 h 4429260"/>
                  <a:gd name="connsiteX101" fmla="*/ 887752 w 4519987"/>
                  <a:gd name="connsiteY101" fmla="*/ 504825 h 4429260"/>
                  <a:gd name="connsiteX102" fmla="*/ 1167152 w 4519987"/>
                  <a:gd name="connsiteY102" fmla="*/ 311150 h 4429260"/>
                  <a:gd name="connsiteX103" fmla="*/ 1268752 w 4519987"/>
                  <a:gd name="connsiteY103" fmla="*/ 285750 h 4429260"/>
                  <a:gd name="connsiteX104" fmla="*/ 1411627 w 4519987"/>
                  <a:gd name="connsiteY104" fmla="*/ 190500 h 4429260"/>
                  <a:gd name="connsiteX105" fmla="*/ 1449727 w 4519987"/>
                  <a:gd name="connsiteY105" fmla="*/ 161925 h 4429260"/>
                  <a:gd name="connsiteX106" fmla="*/ 1525927 w 4519987"/>
                  <a:gd name="connsiteY106" fmla="*/ 152400 h 4429260"/>
                  <a:gd name="connsiteX107" fmla="*/ 1583077 w 4519987"/>
                  <a:gd name="connsiteY107" fmla="*/ 142875 h 4429260"/>
                  <a:gd name="connsiteX108" fmla="*/ 1716427 w 4519987"/>
                  <a:gd name="connsiteY108" fmla="*/ 123825 h 4429260"/>
                  <a:gd name="connsiteX109" fmla="*/ 1811677 w 4519987"/>
                  <a:gd name="connsiteY109" fmla="*/ 114300 h 4429260"/>
                  <a:gd name="connsiteX110" fmla="*/ 1859302 w 4519987"/>
                  <a:gd name="connsiteY110" fmla="*/ 104775 h 4429260"/>
                  <a:gd name="connsiteX111" fmla="*/ 1916452 w 4519987"/>
                  <a:gd name="connsiteY111" fmla="*/ 95250 h 4429260"/>
                  <a:gd name="connsiteX112" fmla="*/ 2030752 w 4519987"/>
                  <a:gd name="connsiteY112" fmla="*/ 66675 h 4429260"/>
                  <a:gd name="connsiteX113" fmla="*/ 2097427 w 4519987"/>
                  <a:gd name="connsiteY113" fmla="*/ 47625 h 4429260"/>
                  <a:gd name="connsiteX114" fmla="*/ 2164102 w 4519987"/>
                  <a:gd name="connsiteY114" fmla="*/ 38100 h 4429260"/>
                  <a:gd name="connsiteX115" fmla="*/ 2392702 w 4519987"/>
                  <a:gd name="connsiteY115" fmla="*/ 28575 h 4429260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687852 w 4519987"/>
                  <a:gd name="connsiteY45" fmla="*/ 4343400 h 4429225"/>
                  <a:gd name="connsiteX46" fmla="*/ 1573552 w 4519987"/>
                  <a:gd name="connsiteY46" fmla="*/ 4305300 h 4429225"/>
                  <a:gd name="connsiteX47" fmla="*/ 1402102 w 4519987"/>
                  <a:gd name="connsiteY47" fmla="*/ 4276725 h 4429225"/>
                  <a:gd name="connsiteX48" fmla="*/ 1287802 w 4519987"/>
                  <a:gd name="connsiteY48" fmla="*/ 4229100 h 4429225"/>
                  <a:gd name="connsiteX49" fmla="*/ 1221127 w 4519987"/>
                  <a:gd name="connsiteY49" fmla="*/ 4200525 h 4429225"/>
                  <a:gd name="connsiteX50" fmla="*/ 1144927 w 4519987"/>
                  <a:gd name="connsiteY50" fmla="*/ 4171950 h 4429225"/>
                  <a:gd name="connsiteX51" fmla="*/ 1087777 w 4519987"/>
                  <a:gd name="connsiteY51" fmla="*/ 4143375 h 4429225"/>
                  <a:gd name="connsiteX52" fmla="*/ 1030627 w 4519987"/>
                  <a:gd name="connsiteY52" fmla="*/ 4124325 h 4429225"/>
                  <a:gd name="connsiteX53" fmla="*/ 925852 w 4519987"/>
                  <a:gd name="connsiteY53" fmla="*/ 4067175 h 4429225"/>
                  <a:gd name="connsiteX54" fmla="*/ 830602 w 4519987"/>
                  <a:gd name="connsiteY54" fmla="*/ 3981450 h 4429225"/>
                  <a:gd name="connsiteX55" fmla="*/ 763927 w 4519987"/>
                  <a:gd name="connsiteY55" fmla="*/ 3914775 h 4429225"/>
                  <a:gd name="connsiteX56" fmla="*/ 725827 w 4519987"/>
                  <a:gd name="connsiteY56" fmla="*/ 3876675 h 4429225"/>
                  <a:gd name="connsiteX57" fmla="*/ 697252 w 4519987"/>
                  <a:gd name="connsiteY57" fmla="*/ 3838575 h 4429225"/>
                  <a:gd name="connsiteX58" fmla="*/ 640102 w 4519987"/>
                  <a:gd name="connsiteY58" fmla="*/ 3781425 h 4429225"/>
                  <a:gd name="connsiteX59" fmla="*/ 611527 w 4519987"/>
                  <a:gd name="connsiteY59" fmla="*/ 3733800 h 4429225"/>
                  <a:gd name="connsiteX60" fmla="*/ 554377 w 4519987"/>
                  <a:gd name="connsiteY60" fmla="*/ 3657600 h 4429225"/>
                  <a:gd name="connsiteX61" fmla="*/ 525802 w 4519987"/>
                  <a:gd name="connsiteY61" fmla="*/ 3609975 h 4429225"/>
                  <a:gd name="connsiteX62" fmla="*/ 497227 w 4519987"/>
                  <a:gd name="connsiteY62" fmla="*/ 3552825 h 4429225"/>
                  <a:gd name="connsiteX63" fmla="*/ 440077 w 4519987"/>
                  <a:gd name="connsiteY63" fmla="*/ 3495675 h 4429225"/>
                  <a:gd name="connsiteX64" fmla="*/ 411502 w 4519987"/>
                  <a:gd name="connsiteY64" fmla="*/ 3448050 h 4429225"/>
                  <a:gd name="connsiteX65" fmla="*/ 278152 w 4519987"/>
                  <a:gd name="connsiteY65" fmla="*/ 3257550 h 4429225"/>
                  <a:gd name="connsiteX66" fmla="*/ 249577 w 4519987"/>
                  <a:gd name="connsiteY66" fmla="*/ 3200400 h 4429225"/>
                  <a:gd name="connsiteX67" fmla="*/ 240052 w 4519987"/>
                  <a:gd name="connsiteY67" fmla="*/ 3162300 h 4429225"/>
                  <a:gd name="connsiteX68" fmla="*/ 221002 w 4519987"/>
                  <a:gd name="connsiteY68" fmla="*/ 3105150 h 4429225"/>
                  <a:gd name="connsiteX69" fmla="*/ 173377 w 4519987"/>
                  <a:gd name="connsiteY69" fmla="*/ 3019425 h 4429225"/>
                  <a:gd name="connsiteX70" fmla="*/ 144802 w 4519987"/>
                  <a:gd name="connsiteY70" fmla="*/ 2924175 h 4429225"/>
                  <a:gd name="connsiteX71" fmla="*/ 68602 w 4519987"/>
                  <a:gd name="connsiteY71" fmla="*/ 2724150 h 4429225"/>
                  <a:gd name="connsiteX72" fmla="*/ 49552 w 4519987"/>
                  <a:gd name="connsiteY72" fmla="*/ 2638425 h 4429225"/>
                  <a:gd name="connsiteX73" fmla="*/ 40027 w 4519987"/>
                  <a:gd name="connsiteY73" fmla="*/ 2562225 h 4429225"/>
                  <a:gd name="connsiteX74" fmla="*/ 30502 w 4519987"/>
                  <a:gd name="connsiteY74" fmla="*/ 2514600 h 4429225"/>
                  <a:gd name="connsiteX75" fmla="*/ 11452 w 4519987"/>
                  <a:gd name="connsiteY75" fmla="*/ 2400300 h 4429225"/>
                  <a:gd name="connsiteX76" fmla="*/ 20977 w 4519987"/>
                  <a:gd name="connsiteY76" fmla="*/ 1905000 h 4429225"/>
                  <a:gd name="connsiteX77" fmla="*/ 30502 w 4519987"/>
                  <a:gd name="connsiteY77" fmla="*/ 1838325 h 4429225"/>
                  <a:gd name="connsiteX78" fmla="*/ 49552 w 4519987"/>
                  <a:gd name="connsiteY78" fmla="*/ 1781175 h 4429225"/>
                  <a:gd name="connsiteX79" fmla="*/ 59077 w 4519987"/>
                  <a:gd name="connsiteY79" fmla="*/ 1743075 h 4429225"/>
                  <a:gd name="connsiteX80" fmla="*/ 78127 w 4519987"/>
                  <a:gd name="connsiteY80" fmla="*/ 1685925 h 4429225"/>
                  <a:gd name="connsiteX81" fmla="*/ 87652 w 4519987"/>
                  <a:gd name="connsiteY81" fmla="*/ 1638300 h 4429225"/>
                  <a:gd name="connsiteX82" fmla="*/ 106702 w 4519987"/>
                  <a:gd name="connsiteY82" fmla="*/ 1590675 h 4429225"/>
                  <a:gd name="connsiteX83" fmla="*/ 135277 w 4519987"/>
                  <a:gd name="connsiteY83" fmla="*/ 1504950 h 4429225"/>
                  <a:gd name="connsiteX84" fmla="*/ 154327 w 4519987"/>
                  <a:gd name="connsiteY84" fmla="*/ 1419225 h 4429225"/>
                  <a:gd name="connsiteX85" fmla="*/ 230527 w 4519987"/>
                  <a:gd name="connsiteY85" fmla="*/ 1276350 h 4429225"/>
                  <a:gd name="connsiteX86" fmla="*/ 240052 w 4519987"/>
                  <a:gd name="connsiteY86" fmla="*/ 1247775 h 4429225"/>
                  <a:gd name="connsiteX87" fmla="*/ 268627 w 4519987"/>
                  <a:gd name="connsiteY87" fmla="*/ 1200150 h 4429225"/>
                  <a:gd name="connsiteX88" fmla="*/ 287677 w 4519987"/>
                  <a:gd name="connsiteY88" fmla="*/ 1152525 h 4429225"/>
                  <a:gd name="connsiteX89" fmla="*/ 316252 w 4519987"/>
                  <a:gd name="connsiteY89" fmla="*/ 1114425 h 4429225"/>
                  <a:gd name="connsiteX90" fmla="*/ 363877 w 4519987"/>
                  <a:gd name="connsiteY90" fmla="*/ 1038225 h 4429225"/>
                  <a:gd name="connsiteX91" fmla="*/ 382927 w 4519987"/>
                  <a:gd name="connsiteY91" fmla="*/ 1009650 h 4429225"/>
                  <a:gd name="connsiteX92" fmla="*/ 440077 w 4519987"/>
                  <a:gd name="connsiteY92" fmla="*/ 904875 h 4429225"/>
                  <a:gd name="connsiteX93" fmla="*/ 478177 w 4519987"/>
                  <a:gd name="connsiteY93" fmla="*/ 857250 h 4429225"/>
                  <a:gd name="connsiteX94" fmla="*/ 497227 w 4519987"/>
                  <a:gd name="connsiteY94" fmla="*/ 828675 h 4429225"/>
                  <a:gd name="connsiteX95" fmla="*/ 535327 w 4519987"/>
                  <a:gd name="connsiteY95" fmla="*/ 800100 h 4429225"/>
                  <a:gd name="connsiteX96" fmla="*/ 602002 w 4519987"/>
                  <a:gd name="connsiteY96" fmla="*/ 733425 h 4429225"/>
                  <a:gd name="connsiteX97" fmla="*/ 668677 w 4519987"/>
                  <a:gd name="connsiteY97" fmla="*/ 676275 h 4429225"/>
                  <a:gd name="connsiteX98" fmla="*/ 697252 w 4519987"/>
                  <a:gd name="connsiteY98" fmla="*/ 657225 h 4429225"/>
                  <a:gd name="connsiteX99" fmla="*/ 840127 w 4519987"/>
                  <a:gd name="connsiteY99" fmla="*/ 533400 h 4429225"/>
                  <a:gd name="connsiteX100" fmla="*/ 887752 w 4519987"/>
                  <a:gd name="connsiteY100" fmla="*/ 504825 h 4429225"/>
                  <a:gd name="connsiteX101" fmla="*/ 1167152 w 4519987"/>
                  <a:gd name="connsiteY101" fmla="*/ 311150 h 4429225"/>
                  <a:gd name="connsiteX102" fmla="*/ 1268752 w 4519987"/>
                  <a:gd name="connsiteY102" fmla="*/ 285750 h 4429225"/>
                  <a:gd name="connsiteX103" fmla="*/ 1411627 w 4519987"/>
                  <a:gd name="connsiteY103" fmla="*/ 190500 h 4429225"/>
                  <a:gd name="connsiteX104" fmla="*/ 1449727 w 4519987"/>
                  <a:gd name="connsiteY104" fmla="*/ 161925 h 4429225"/>
                  <a:gd name="connsiteX105" fmla="*/ 1525927 w 4519987"/>
                  <a:gd name="connsiteY105" fmla="*/ 152400 h 4429225"/>
                  <a:gd name="connsiteX106" fmla="*/ 1583077 w 4519987"/>
                  <a:gd name="connsiteY106" fmla="*/ 142875 h 4429225"/>
                  <a:gd name="connsiteX107" fmla="*/ 1716427 w 4519987"/>
                  <a:gd name="connsiteY107" fmla="*/ 123825 h 4429225"/>
                  <a:gd name="connsiteX108" fmla="*/ 1811677 w 4519987"/>
                  <a:gd name="connsiteY108" fmla="*/ 114300 h 4429225"/>
                  <a:gd name="connsiteX109" fmla="*/ 1859302 w 4519987"/>
                  <a:gd name="connsiteY109" fmla="*/ 104775 h 4429225"/>
                  <a:gd name="connsiteX110" fmla="*/ 1916452 w 4519987"/>
                  <a:gd name="connsiteY110" fmla="*/ 95250 h 4429225"/>
                  <a:gd name="connsiteX111" fmla="*/ 2030752 w 4519987"/>
                  <a:gd name="connsiteY111" fmla="*/ 66675 h 4429225"/>
                  <a:gd name="connsiteX112" fmla="*/ 2097427 w 4519987"/>
                  <a:gd name="connsiteY112" fmla="*/ 47625 h 4429225"/>
                  <a:gd name="connsiteX113" fmla="*/ 2164102 w 4519987"/>
                  <a:gd name="connsiteY113" fmla="*/ 38100 h 4429225"/>
                  <a:gd name="connsiteX114" fmla="*/ 2392702 w 4519987"/>
                  <a:gd name="connsiteY114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402102 w 4519987"/>
                  <a:gd name="connsiteY46" fmla="*/ 4276725 h 4429225"/>
                  <a:gd name="connsiteX47" fmla="*/ 1287802 w 4519987"/>
                  <a:gd name="connsiteY47" fmla="*/ 4229100 h 4429225"/>
                  <a:gd name="connsiteX48" fmla="*/ 1221127 w 4519987"/>
                  <a:gd name="connsiteY48" fmla="*/ 4200525 h 4429225"/>
                  <a:gd name="connsiteX49" fmla="*/ 1144927 w 4519987"/>
                  <a:gd name="connsiteY49" fmla="*/ 4171950 h 4429225"/>
                  <a:gd name="connsiteX50" fmla="*/ 1087777 w 4519987"/>
                  <a:gd name="connsiteY50" fmla="*/ 4143375 h 4429225"/>
                  <a:gd name="connsiteX51" fmla="*/ 1030627 w 4519987"/>
                  <a:gd name="connsiteY51" fmla="*/ 4124325 h 4429225"/>
                  <a:gd name="connsiteX52" fmla="*/ 925852 w 4519987"/>
                  <a:gd name="connsiteY52" fmla="*/ 4067175 h 4429225"/>
                  <a:gd name="connsiteX53" fmla="*/ 830602 w 4519987"/>
                  <a:gd name="connsiteY53" fmla="*/ 3981450 h 4429225"/>
                  <a:gd name="connsiteX54" fmla="*/ 763927 w 4519987"/>
                  <a:gd name="connsiteY54" fmla="*/ 3914775 h 4429225"/>
                  <a:gd name="connsiteX55" fmla="*/ 725827 w 4519987"/>
                  <a:gd name="connsiteY55" fmla="*/ 3876675 h 4429225"/>
                  <a:gd name="connsiteX56" fmla="*/ 697252 w 4519987"/>
                  <a:gd name="connsiteY56" fmla="*/ 3838575 h 4429225"/>
                  <a:gd name="connsiteX57" fmla="*/ 640102 w 4519987"/>
                  <a:gd name="connsiteY57" fmla="*/ 3781425 h 4429225"/>
                  <a:gd name="connsiteX58" fmla="*/ 611527 w 4519987"/>
                  <a:gd name="connsiteY58" fmla="*/ 3733800 h 4429225"/>
                  <a:gd name="connsiteX59" fmla="*/ 554377 w 4519987"/>
                  <a:gd name="connsiteY59" fmla="*/ 3657600 h 4429225"/>
                  <a:gd name="connsiteX60" fmla="*/ 525802 w 4519987"/>
                  <a:gd name="connsiteY60" fmla="*/ 3609975 h 4429225"/>
                  <a:gd name="connsiteX61" fmla="*/ 497227 w 4519987"/>
                  <a:gd name="connsiteY61" fmla="*/ 3552825 h 4429225"/>
                  <a:gd name="connsiteX62" fmla="*/ 440077 w 4519987"/>
                  <a:gd name="connsiteY62" fmla="*/ 3495675 h 4429225"/>
                  <a:gd name="connsiteX63" fmla="*/ 411502 w 4519987"/>
                  <a:gd name="connsiteY63" fmla="*/ 3448050 h 4429225"/>
                  <a:gd name="connsiteX64" fmla="*/ 278152 w 4519987"/>
                  <a:gd name="connsiteY64" fmla="*/ 3257550 h 4429225"/>
                  <a:gd name="connsiteX65" fmla="*/ 249577 w 4519987"/>
                  <a:gd name="connsiteY65" fmla="*/ 3200400 h 4429225"/>
                  <a:gd name="connsiteX66" fmla="*/ 240052 w 4519987"/>
                  <a:gd name="connsiteY66" fmla="*/ 3162300 h 4429225"/>
                  <a:gd name="connsiteX67" fmla="*/ 221002 w 4519987"/>
                  <a:gd name="connsiteY67" fmla="*/ 3105150 h 4429225"/>
                  <a:gd name="connsiteX68" fmla="*/ 173377 w 4519987"/>
                  <a:gd name="connsiteY68" fmla="*/ 3019425 h 4429225"/>
                  <a:gd name="connsiteX69" fmla="*/ 144802 w 4519987"/>
                  <a:gd name="connsiteY69" fmla="*/ 2924175 h 4429225"/>
                  <a:gd name="connsiteX70" fmla="*/ 68602 w 4519987"/>
                  <a:gd name="connsiteY70" fmla="*/ 2724150 h 4429225"/>
                  <a:gd name="connsiteX71" fmla="*/ 49552 w 4519987"/>
                  <a:gd name="connsiteY71" fmla="*/ 2638425 h 4429225"/>
                  <a:gd name="connsiteX72" fmla="*/ 40027 w 4519987"/>
                  <a:gd name="connsiteY72" fmla="*/ 2562225 h 4429225"/>
                  <a:gd name="connsiteX73" fmla="*/ 30502 w 4519987"/>
                  <a:gd name="connsiteY73" fmla="*/ 2514600 h 4429225"/>
                  <a:gd name="connsiteX74" fmla="*/ 11452 w 4519987"/>
                  <a:gd name="connsiteY74" fmla="*/ 2400300 h 4429225"/>
                  <a:gd name="connsiteX75" fmla="*/ 20977 w 4519987"/>
                  <a:gd name="connsiteY75" fmla="*/ 1905000 h 4429225"/>
                  <a:gd name="connsiteX76" fmla="*/ 30502 w 4519987"/>
                  <a:gd name="connsiteY76" fmla="*/ 1838325 h 4429225"/>
                  <a:gd name="connsiteX77" fmla="*/ 49552 w 4519987"/>
                  <a:gd name="connsiteY77" fmla="*/ 1781175 h 4429225"/>
                  <a:gd name="connsiteX78" fmla="*/ 59077 w 4519987"/>
                  <a:gd name="connsiteY78" fmla="*/ 1743075 h 4429225"/>
                  <a:gd name="connsiteX79" fmla="*/ 78127 w 4519987"/>
                  <a:gd name="connsiteY79" fmla="*/ 1685925 h 4429225"/>
                  <a:gd name="connsiteX80" fmla="*/ 87652 w 4519987"/>
                  <a:gd name="connsiteY80" fmla="*/ 1638300 h 4429225"/>
                  <a:gd name="connsiteX81" fmla="*/ 106702 w 4519987"/>
                  <a:gd name="connsiteY81" fmla="*/ 1590675 h 4429225"/>
                  <a:gd name="connsiteX82" fmla="*/ 135277 w 4519987"/>
                  <a:gd name="connsiteY82" fmla="*/ 1504950 h 4429225"/>
                  <a:gd name="connsiteX83" fmla="*/ 154327 w 4519987"/>
                  <a:gd name="connsiteY83" fmla="*/ 1419225 h 4429225"/>
                  <a:gd name="connsiteX84" fmla="*/ 230527 w 4519987"/>
                  <a:gd name="connsiteY84" fmla="*/ 1276350 h 4429225"/>
                  <a:gd name="connsiteX85" fmla="*/ 240052 w 4519987"/>
                  <a:gd name="connsiteY85" fmla="*/ 1247775 h 4429225"/>
                  <a:gd name="connsiteX86" fmla="*/ 268627 w 4519987"/>
                  <a:gd name="connsiteY86" fmla="*/ 1200150 h 4429225"/>
                  <a:gd name="connsiteX87" fmla="*/ 287677 w 4519987"/>
                  <a:gd name="connsiteY87" fmla="*/ 1152525 h 4429225"/>
                  <a:gd name="connsiteX88" fmla="*/ 316252 w 4519987"/>
                  <a:gd name="connsiteY88" fmla="*/ 1114425 h 4429225"/>
                  <a:gd name="connsiteX89" fmla="*/ 363877 w 4519987"/>
                  <a:gd name="connsiteY89" fmla="*/ 1038225 h 4429225"/>
                  <a:gd name="connsiteX90" fmla="*/ 382927 w 4519987"/>
                  <a:gd name="connsiteY90" fmla="*/ 1009650 h 4429225"/>
                  <a:gd name="connsiteX91" fmla="*/ 440077 w 4519987"/>
                  <a:gd name="connsiteY91" fmla="*/ 904875 h 4429225"/>
                  <a:gd name="connsiteX92" fmla="*/ 478177 w 4519987"/>
                  <a:gd name="connsiteY92" fmla="*/ 857250 h 4429225"/>
                  <a:gd name="connsiteX93" fmla="*/ 497227 w 4519987"/>
                  <a:gd name="connsiteY93" fmla="*/ 828675 h 4429225"/>
                  <a:gd name="connsiteX94" fmla="*/ 535327 w 4519987"/>
                  <a:gd name="connsiteY94" fmla="*/ 800100 h 4429225"/>
                  <a:gd name="connsiteX95" fmla="*/ 602002 w 4519987"/>
                  <a:gd name="connsiteY95" fmla="*/ 733425 h 4429225"/>
                  <a:gd name="connsiteX96" fmla="*/ 668677 w 4519987"/>
                  <a:gd name="connsiteY96" fmla="*/ 676275 h 4429225"/>
                  <a:gd name="connsiteX97" fmla="*/ 697252 w 4519987"/>
                  <a:gd name="connsiteY97" fmla="*/ 657225 h 4429225"/>
                  <a:gd name="connsiteX98" fmla="*/ 840127 w 4519987"/>
                  <a:gd name="connsiteY98" fmla="*/ 533400 h 4429225"/>
                  <a:gd name="connsiteX99" fmla="*/ 887752 w 4519987"/>
                  <a:gd name="connsiteY99" fmla="*/ 504825 h 4429225"/>
                  <a:gd name="connsiteX100" fmla="*/ 1167152 w 4519987"/>
                  <a:gd name="connsiteY100" fmla="*/ 311150 h 4429225"/>
                  <a:gd name="connsiteX101" fmla="*/ 1268752 w 4519987"/>
                  <a:gd name="connsiteY101" fmla="*/ 285750 h 4429225"/>
                  <a:gd name="connsiteX102" fmla="*/ 1411627 w 4519987"/>
                  <a:gd name="connsiteY102" fmla="*/ 190500 h 4429225"/>
                  <a:gd name="connsiteX103" fmla="*/ 1449727 w 4519987"/>
                  <a:gd name="connsiteY103" fmla="*/ 161925 h 4429225"/>
                  <a:gd name="connsiteX104" fmla="*/ 1525927 w 4519987"/>
                  <a:gd name="connsiteY104" fmla="*/ 152400 h 4429225"/>
                  <a:gd name="connsiteX105" fmla="*/ 1583077 w 4519987"/>
                  <a:gd name="connsiteY105" fmla="*/ 142875 h 4429225"/>
                  <a:gd name="connsiteX106" fmla="*/ 1716427 w 4519987"/>
                  <a:gd name="connsiteY106" fmla="*/ 123825 h 4429225"/>
                  <a:gd name="connsiteX107" fmla="*/ 1811677 w 4519987"/>
                  <a:gd name="connsiteY107" fmla="*/ 114300 h 4429225"/>
                  <a:gd name="connsiteX108" fmla="*/ 1859302 w 4519987"/>
                  <a:gd name="connsiteY108" fmla="*/ 104775 h 4429225"/>
                  <a:gd name="connsiteX109" fmla="*/ 1916452 w 4519987"/>
                  <a:gd name="connsiteY109" fmla="*/ 95250 h 4429225"/>
                  <a:gd name="connsiteX110" fmla="*/ 2030752 w 4519987"/>
                  <a:gd name="connsiteY110" fmla="*/ 66675 h 4429225"/>
                  <a:gd name="connsiteX111" fmla="*/ 2097427 w 4519987"/>
                  <a:gd name="connsiteY111" fmla="*/ 47625 h 4429225"/>
                  <a:gd name="connsiteX112" fmla="*/ 2164102 w 4519987"/>
                  <a:gd name="connsiteY112" fmla="*/ 38100 h 4429225"/>
                  <a:gd name="connsiteX113" fmla="*/ 2392702 w 4519987"/>
                  <a:gd name="connsiteY113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221127 w 4519987"/>
                  <a:gd name="connsiteY47" fmla="*/ 4200525 h 4429225"/>
                  <a:gd name="connsiteX48" fmla="*/ 1144927 w 4519987"/>
                  <a:gd name="connsiteY48" fmla="*/ 4171950 h 4429225"/>
                  <a:gd name="connsiteX49" fmla="*/ 1087777 w 4519987"/>
                  <a:gd name="connsiteY49" fmla="*/ 4143375 h 4429225"/>
                  <a:gd name="connsiteX50" fmla="*/ 1030627 w 4519987"/>
                  <a:gd name="connsiteY50" fmla="*/ 4124325 h 4429225"/>
                  <a:gd name="connsiteX51" fmla="*/ 925852 w 4519987"/>
                  <a:gd name="connsiteY51" fmla="*/ 4067175 h 4429225"/>
                  <a:gd name="connsiteX52" fmla="*/ 830602 w 4519987"/>
                  <a:gd name="connsiteY52" fmla="*/ 3981450 h 4429225"/>
                  <a:gd name="connsiteX53" fmla="*/ 763927 w 4519987"/>
                  <a:gd name="connsiteY53" fmla="*/ 3914775 h 4429225"/>
                  <a:gd name="connsiteX54" fmla="*/ 725827 w 4519987"/>
                  <a:gd name="connsiteY54" fmla="*/ 3876675 h 4429225"/>
                  <a:gd name="connsiteX55" fmla="*/ 697252 w 4519987"/>
                  <a:gd name="connsiteY55" fmla="*/ 3838575 h 4429225"/>
                  <a:gd name="connsiteX56" fmla="*/ 640102 w 4519987"/>
                  <a:gd name="connsiteY56" fmla="*/ 3781425 h 4429225"/>
                  <a:gd name="connsiteX57" fmla="*/ 611527 w 4519987"/>
                  <a:gd name="connsiteY57" fmla="*/ 3733800 h 4429225"/>
                  <a:gd name="connsiteX58" fmla="*/ 554377 w 4519987"/>
                  <a:gd name="connsiteY58" fmla="*/ 3657600 h 4429225"/>
                  <a:gd name="connsiteX59" fmla="*/ 525802 w 4519987"/>
                  <a:gd name="connsiteY59" fmla="*/ 3609975 h 4429225"/>
                  <a:gd name="connsiteX60" fmla="*/ 497227 w 4519987"/>
                  <a:gd name="connsiteY60" fmla="*/ 3552825 h 4429225"/>
                  <a:gd name="connsiteX61" fmla="*/ 440077 w 4519987"/>
                  <a:gd name="connsiteY61" fmla="*/ 3495675 h 4429225"/>
                  <a:gd name="connsiteX62" fmla="*/ 411502 w 4519987"/>
                  <a:gd name="connsiteY62" fmla="*/ 3448050 h 4429225"/>
                  <a:gd name="connsiteX63" fmla="*/ 278152 w 4519987"/>
                  <a:gd name="connsiteY63" fmla="*/ 3257550 h 4429225"/>
                  <a:gd name="connsiteX64" fmla="*/ 249577 w 4519987"/>
                  <a:gd name="connsiteY64" fmla="*/ 3200400 h 4429225"/>
                  <a:gd name="connsiteX65" fmla="*/ 240052 w 4519987"/>
                  <a:gd name="connsiteY65" fmla="*/ 3162300 h 4429225"/>
                  <a:gd name="connsiteX66" fmla="*/ 221002 w 4519987"/>
                  <a:gd name="connsiteY66" fmla="*/ 3105150 h 4429225"/>
                  <a:gd name="connsiteX67" fmla="*/ 173377 w 4519987"/>
                  <a:gd name="connsiteY67" fmla="*/ 3019425 h 4429225"/>
                  <a:gd name="connsiteX68" fmla="*/ 144802 w 4519987"/>
                  <a:gd name="connsiteY68" fmla="*/ 2924175 h 4429225"/>
                  <a:gd name="connsiteX69" fmla="*/ 68602 w 4519987"/>
                  <a:gd name="connsiteY69" fmla="*/ 2724150 h 4429225"/>
                  <a:gd name="connsiteX70" fmla="*/ 49552 w 4519987"/>
                  <a:gd name="connsiteY70" fmla="*/ 2638425 h 4429225"/>
                  <a:gd name="connsiteX71" fmla="*/ 40027 w 4519987"/>
                  <a:gd name="connsiteY71" fmla="*/ 2562225 h 4429225"/>
                  <a:gd name="connsiteX72" fmla="*/ 30502 w 4519987"/>
                  <a:gd name="connsiteY72" fmla="*/ 2514600 h 4429225"/>
                  <a:gd name="connsiteX73" fmla="*/ 11452 w 4519987"/>
                  <a:gd name="connsiteY73" fmla="*/ 2400300 h 4429225"/>
                  <a:gd name="connsiteX74" fmla="*/ 20977 w 4519987"/>
                  <a:gd name="connsiteY74" fmla="*/ 1905000 h 4429225"/>
                  <a:gd name="connsiteX75" fmla="*/ 30502 w 4519987"/>
                  <a:gd name="connsiteY75" fmla="*/ 1838325 h 4429225"/>
                  <a:gd name="connsiteX76" fmla="*/ 49552 w 4519987"/>
                  <a:gd name="connsiteY76" fmla="*/ 1781175 h 4429225"/>
                  <a:gd name="connsiteX77" fmla="*/ 59077 w 4519987"/>
                  <a:gd name="connsiteY77" fmla="*/ 1743075 h 4429225"/>
                  <a:gd name="connsiteX78" fmla="*/ 78127 w 4519987"/>
                  <a:gd name="connsiteY78" fmla="*/ 1685925 h 4429225"/>
                  <a:gd name="connsiteX79" fmla="*/ 87652 w 4519987"/>
                  <a:gd name="connsiteY79" fmla="*/ 1638300 h 4429225"/>
                  <a:gd name="connsiteX80" fmla="*/ 106702 w 4519987"/>
                  <a:gd name="connsiteY80" fmla="*/ 1590675 h 4429225"/>
                  <a:gd name="connsiteX81" fmla="*/ 135277 w 4519987"/>
                  <a:gd name="connsiteY81" fmla="*/ 1504950 h 4429225"/>
                  <a:gd name="connsiteX82" fmla="*/ 154327 w 4519987"/>
                  <a:gd name="connsiteY82" fmla="*/ 1419225 h 4429225"/>
                  <a:gd name="connsiteX83" fmla="*/ 230527 w 4519987"/>
                  <a:gd name="connsiteY83" fmla="*/ 1276350 h 4429225"/>
                  <a:gd name="connsiteX84" fmla="*/ 240052 w 4519987"/>
                  <a:gd name="connsiteY84" fmla="*/ 1247775 h 4429225"/>
                  <a:gd name="connsiteX85" fmla="*/ 268627 w 4519987"/>
                  <a:gd name="connsiteY85" fmla="*/ 1200150 h 4429225"/>
                  <a:gd name="connsiteX86" fmla="*/ 287677 w 4519987"/>
                  <a:gd name="connsiteY86" fmla="*/ 1152525 h 4429225"/>
                  <a:gd name="connsiteX87" fmla="*/ 316252 w 4519987"/>
                  <a:gd name="connsiteY87" fmla="*/ 1114425 h 4429225"/>
                  <a:gd name="connsiteX88" fmla="*/ 363877 w 4519987"/>
                  <a:gd name="connsiteY88" fmla="*/ 1038225 h 4429225"/>
                  <a:gd name="connsiteX89" fmla="*/ 382927 w 4519987"/>
                  <a:gd name="connsiteY89" fmla="*/ 1009650 h 4429225"/>
                  <a:gd name="connsiteX90" fmla="*/ 440077 w 4519987"/>
                  <a:gd name="connsiteY90" fmla="*/ 904875 h 4429225"/>
                  <a:gd name="connsiteX91" fmla="*/ 478177 w 4519987"/>
                  <a:gd name="connsiteY91" fmla="*/ 857250 h 4429225"/>
                  <a:gd name="connsiteX92" fmla="*/ 497227 w 4519987"/>
                  <a:gd name="connsiteY92" fmla="*/ 828675 h 4429225"/>
                  <a:gd name="connsiteX93" fmla="*/ 535327 w 4519987"/>
                  <a:gd name="connsiteY93" fmla="*/ 800100 h 4429225"/>
                  <a:gd name="connsiteX94" fmla="*/ 602002 w 4519987"/>
                  <a:gd name="connsiteY94" fmla="*/ 733425 h 4429225"/>
                  <a:gd name="connsiteX95" fmla="*/ 668677 w 4519987"/>
                  <a:gd name="connsiteY95" fmla="*/ 676275 h 4429225"/>
                  <a:gd name="connsiteX96" fmla="*/ 697252 w 4519987"/>
                  <a:gd name="connsiteY96" fmla="*/ 657225 h 4429225"/>
                  <a:gd name="connsiteX97" fmla="*/ 840127 w 4519987"/>
                  <a:gd name="connsiteY97" fmla="*/ 533400 h 4429225"/>
                  <a:gd name="connsiteX98" fmla="*/ 887752 w 4519987"/>
                  <a:gd name="connsiteY98" fmla="*/ 504825 h 4429225"/>
                  <a:gd name="connsiteX99" fmla="*/ 1167152 w 4519987"/>
                  <a:gd name="connsiteY99" fmla="*/ 311150 h 4429225"/>
                  <a:gd name="connsiteX100" fmla="*/ 1268752 w 4519987"/>
                  <a:gd name="connsiteY100" fmla="*/ 285750 h 4429225"/>
                  <a:gd name="connsiteX101" fmla="*/ 1411627 w 4519987"/>
                  <a:gd name="connsiteY101" fmla="*/ 190500 h 4429225"/>
                  <a:gd name="connsiteX102" fmla="*/ 1449727 w 4519987"/>
                  <a:gd name="connsiteY102" fmla="*/ 161925 h 4429225"/>
                  <a:gd name="connsiteX103" fmla="*/ 1525927 w 4519987"/>
                  <a:gd name="connsiteY103" fmla="*/ 152400 h 4429225"/>
                  <a:gd name="connsiteX104" fmla="*/ 1583077 w 4519987"/>
                  <a:gd name="connsiteY104" fmla="*/ 142875 h 4429225"/>
                  <a:gd name="connsiteX105" fmla="*/ 1716427 w 4519987"/>
                  <a:gd name="connsiteY105" fmla="*/ 123825 h 4429225"/>
                  <a:gd name="connsiteX106" fmla="*/ 1811677 w 4519987"/>
                  <a:gd name="connsiteY106" fmla="*/ 114300 h 4429225"/>
                  <a:gd name="connsiteX107" fmla="*/ 1859302 w 4519987"/>
                  <a:gd name="connsiteY107" fmla="*/ 104775 h 4429225"/>
                  <a:gd name="connsiteX108" fmla="*/ 1916452 w 4519987"/>
                  <a:gd name="connsiteY108" fmla="*/ 95250 h 4429225"/>
                  <a:gd name="connsiteX109" fmla="*/ 2030752 w 4519987"/>
                  <a:gd name="connsiteY109" fmla="*/ 66675 h 4429225"/>
                  <a:gd name="connsiteX110" fmla="*/ 2097427 w 4519987"/>
                  <a:gd name="connsiteY110" fmla="*/ 47625 h 4429225"/>
                  <a:gd name="connsiteX111" fmla="*/ 2164102 w 4519987"/>
                  <a:gd name="connsiteY111" fmla="*/ 38100 h 4429225"/>
                  <a:gd name="connsiteX112" fmla="*/ 2392702 w 4519987"/>
                  <a:gd name="connsiteY112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221127 w 4519987"/>
                  <a:gd name="connsiteY47" fmla="*/ 4200525 h 4429225"/>
                  <a:gd name="connsiteX48" fmla="*/ 1087777 w 4519987"/>
                  <a:gd name="connsiteY48" fmla="*/ 4143375 h 4429225"/>
                  <a:gd name="connsiteX49" fmla="*/ 1030627 w 4519987"/>
                  <a:gd name="connsiteY49" fmla="*/ 4124325 h 4429225"/>
                  <a:gd name="connsiteX50" fmla="*/ 925852 w 4519987"/>
                  <a:gd name="connsiteY50" fmla="*/ 4067175 h 4429225"/>
                  <a:gd name="connsiteX51" fmla="*/ 830602 w 4519987"/>
                  <a:gd name="connsiteY51" fmla="*/ 3981450 h 4429225"/>
                  <a:gd name="connsiteX52" fmla="*/ 763927 w 4519987"/>
                  <a:gd name="connsiteY52" fmla="*/ 3914775 h 4429225"/>
                  <a:gd name="connsiteX53" fmla="*/ 725827 w 4519987"/>
                  <a:gd name="connsiteY53" fmla="*/ 3876675 h 4429225"/>
                  <a:gd name="connsiteX54" fmla="*/ 697252 w 4519987"/>
                  <a:gd name="connsiteY54" fmla="*/ 3838575 h 4429225"/>
                  <a:gd name="connsiteX55" fmla="*/ 640102 w 4519987"/>
                  <a:gd name="connsiteY55" fmla="*/ 3781425 h 4429225"/>
                  <a:gd name="connsiteX56" fmla="*/ 611527 w 4519987"/>
                  <a:gd name="connsiteY56" fmla="*/ 3733800 h 4429225"/>
                  <a:gd name="connsiteX57" fmla="*/ 554377 w 4519987"/>
                  <a:gd name="connsiteY57" fmla="*/ 3657600 h 4429225"/>
                  <a:gd name="connsiteX58" fmla="*/ 525802 w 4519987"/>
                  <a:gd name="connsiteY58" fmla="*/ 3609975 h 4429225"/>
                  <a:gd name="connsiteX59" fmla="*/ 497227 w 4519987"/>
                  <a:gd name="connsiteY59" fmla="*/ 3552825 h 4429225"/>
                  <a:gd name="connsiteX60" fmla="*/ 440077 w 4519987"/>
                  <a:gd name="connsiteY60" fmla="*/ 3495675 h 4429225"/>
                  <a:gd name="connsiteX61" fmla="*/ 411502 w 4519987"/>
                  <a:gd name="connsiteY61" fmla="*/ 3448050 h 4429225"/>
                  <a:gd name="connsiteX62" fmla="*/ 278152 w 4519987"/>
                  <a:gd name="connsiteY62" fmla="*/ 3257550 h 4429225"/>
                  <a:gd name="connsiteX63" fmla="*/ 249577 w 4519987"/>
                  <a:gd name="connsiteY63" fmla="*/ 3200400 h 4429225"/>
                  <a:gd name="connsiteX64" fmla="*/ 240052 w 4519987"/>
                  <a:gd name="connsiteY64" fmla="*/ 3162300 h 4429225"/>
                  <a:gd name="connsiteX65" fmla="*/ 221002 w 4519987"/>
                  <a:gd name="connsiteY65" fmla="*/ 3105150 h 4429225"/>
                  <a:gd name="connsiteX66" fmla="*/ 173377 w 4519987"/>
                  <a:gd name="connsiteY66" fmla="*/ 3019425 h 4429225"/>
                  <a:gd name="connsiteX67" fmla="*/ 144802 w 4519987"/>
                  <a:gd name="connsiteY67" fmla="*/ 2924175 h 4429225"/>
                  <a:gd name="connsiteX68" fmla="*/ 68602 w 4519987"/>
                  <a:gd name="connsiteY68" fmla="*/ 2724150 h 4429225"/>
                  <a:gd name="connsiteX69" fmla="*/ 49552 w 4519987"/>
                  <a:gd name="connsiteY69" fmla="*/ 2638425 h 4429225"/>
                  <a:gd name="connsiteX70" fmla="*/ 40027 w 4519987"/>
                  <a:gd name="connsiteY70" fmla="*/ 2562225 h 4429225"/>
                  <a:gd name="connsiteX71" fmla="*/ 30502 w 4519987"/>
                  <a:gd name="connsiteY71" fmla="*/ 2514600 h 4429225"/>
                  <a:gd name="connsiteX72" fmla="*/ 11452 w 4519987"/>
                  <a:gd name="connsiteY72" fmla="*/ 2400300 h 4429225"/>
                  <a:gd name="connsiteX73" fmla="*/ 20977 w 4519987"/>
                  <a:gd name="connsiteY73" fmla="*/ 1905000 h 4429225"/>
                  <a:gd name="connsiteX74" fmla="*/ 30502 w 4519987"/>
                  <a:gd name="connsiteY74" fmla="*/ 1838325 h 4429225"/>
                  <a:gd name="connsiteX75" fmla="*/ 49552 w 4519987"/>
                  <a:gd name="connsiteY75" fmla="*/ 1781175 h 4429225"/>
                  <a:gd name="connsiteX76" fmla="*/ 59077 w 4519987"/>
                  <a:gd name="connsiteY76" fmla="*/ 1743075 h 4429225"/>
                  <a:gd name="connsiteX77" fmla="*/ 78127 w 4519987"/>
                  <a:gd name="connsiteY77" fmla="*/ 1685925 h 4429225"/>
                  <a:gd name="connsiteX78" fmla="*/ 87652 w 4519987"/>
                  <a:gd name="connsiteY78" fmla="*/ 1638300 h 4429225"/>
                  <a:gd name="connsiteX79" fmla="*/ 106702 w 4519987"/>
                  <a:gd name="connsiteY79" fmla="*/ 1590675 h 4429225"/>
                  <a:gd name="connsiteX80" fmla="*/ 135277 w 4519987"/>
                  <a:gd name="connsiteY80" fmla="*/ 1504950 h 4429225"/>
                  <a:gd name="connsiteX81" fmla="*/ 154327 w 4519987"/>
                  <a:gd name="connsiteY81" fmla="*/ 1419225 h 4429225"/>
                  <a:gd name="connsiteX82" fmla="*/ 230527 w 4519987"/>
                  <a:gd name="connsiteY82" fmla="*/ 1276350 h 4429225"/>
                  <a:gd name="connsiteX83" fmla="*/ 240052 w 4519987"/>
                  <a:gd name="connsiteY83" fmla="*/ 1247775 h 4429225"/>
                  <a:gd name="connsiteX84" fmla="*/ 268627 w 4519987"/>
                  <a:gd name="connsiteY84" fmla="*/ 1200150 h 4429225"/>
                  <a:gd name="connsiteX85" fmla="*/ 287677 w 4519987"/>
                  <a:gd name="connsiteY85" fmla="*/ 1152525 h 4429225"/>
                  <a:gd name="connsiteX86" fmla="*/ 316252 w 4519987"/>
                  <a:gd name="connsiteY86" fmla="*/ 1114425 h 4429225"/>
                  <a:gd name="connsiteX87" fmla="*/ 363877 w 4519987"/>
                  <a:gd name="connsiteY87" fmla="*/ 1038225 h 4429225"/>
                  <a:gd name="connsiteX88" fmla="*/ 382927 w 4519987"/>
                  <a:gd name="connsiteY88" fmla="*/ 1009650 h 4429225"/>
                  <a:gd name="connsiteX89" fmla="*/ 440077 w 4519987"/>
                  <a:gd name="connsiteY89" fmla="*/ 904875 h 4429225"/>
                  <a:gd name="connsiteX90" fmla="*/ 478177 w 4519987"/>
                  <a:gd name="connsiteY90" fmla="*/ 857250 h 4429225"/>
                  <a:gd name="connsiteX91" fmla="*/ 497227 w 4519987"/>
                  <a:gd name="connsiteY91" fmla="*/ 828675 h 4429225"/>
                  <a:gd name="connsiteX92" fmla="*/ 535327 w 4519987"/>
                  <a:gd name="connsiteY92" fmla="*/ 800100 h 4429225"/>
                  <a:gd name="connsiteX93" fmla="*/ 602002 w 4519987"/>
                  <a:gd name="connsiteY93" fmla="*/ 733425 h 4429225"/>
                  <a:gd name="connsiteX94" fmla="*/ 668677 w 4519987"/>
                  <a:gd name="connsiteY94" fmla="*/ 676275 h 4429225"/>
                  <a:gd name="connsiteX95" fmla="*/ 697252 w 4519987"/>
                  <a:gd name="connsiteY95" fmla="*/ 657225 h 4429225"/>
                  <a:gd name="connsiteX96" fmla="*/ 840127 w 4519987"/>
                  <a:gd name="connsiteY96" fmla="*/ 533400 h 4429225"/>
                  <a:gd name="connsiteX97" fmla="*/ 887752 w 4519987"/>
                  <a:gd name="connsiteY97" fmla="*/ 504825 h 4429225"/>
                  <a:gd name="connsiteX98" fmla="*/ 1167152 w 4519987"/>
                  <a:gd name="connsiteY98" fmla="*/ 311150 h 4429225"/>
                  <a:gd name="connsiteX99" fmla="*/ 1268752 w 4519987"/>
                  <a:gd name="connsiteY99" fmla="*/ 285750 h 4429225"/>
                  <a:gd name="connsiteX100" fmla="*/ 1411627 w 4519987"/>
                  <a:gd name="connsiteY100" fmla="*/ 190500 h 4429225"/>
                  <a:gd name="connsiteX101" fmla="*/ 1449727 w 4519987"/>
                  <a:gd name="connsiteY101" fmla="*/ 161925 h 4429225"/>
                  <a:gd name="connsiteX102" fmla="*/ 1525927 w 4519987"/>
                  <a:gd name="connsiteY102" fmla="*/ 152400 h 4429225"/>
                  <a:gd name="connsiteX103" fmla="*/ 1583077 w 4519987"/>
                  <a:gd name="connsiteY103" fmla="*/ 142875 h 4429225"/>
                  <a:gd name="connsiteX104" fmla="*/ 1716427 w 4519987"/>
                  <a:gd name="connsiteY104" fmla="*/ 123825 h 4429225"/>
                  <a:gd name="connsiteX105" fmla="*/ 1811677 w 4519987"/>
                  <a:gd name="connsiteY105" fmla="*/ 114300 h 4429225"/>
                  <a:gd name="connsiteX106" fmla="*/ 1859302 w 4519987"/>
                  <a:gd name="connsiteY106" fmla="*/ 104775 h 4429225"/>
                  <a:gd name="connsiteX107" fmla="*/ 1916452 w 4519987"/>
                  <a:gd name="connsiteY107" fmla="*/ 95250 h 4429225"/>
                  <a:gd name="connsiteX108" fmla="*/ 2030752 w 4519987"/>
                  <a:gd name="connsiteY108" fmla="*/ 66675 h 4429225"/>
                  <a:gd name="connsiteX109" fmla="*/ 2097427 w 4519987"/>
                  <a:gd name="connsiteY109" fmla="*/ 47625 h 4429225"/>
                  <a:gd name="connsiteX110" fmla="*/ 2164102 w 4519987"/>
                  <a:gd name="connsiteY110" fmla="*/ 38100 h 4429225"/>
                  <a:gd name="connsiteX111" fmla="*/ 2392702 w 4519987"/>
                  <a:gd name="connsiteY111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1030627 w 4519987"/>
                  <a:gd name="connsiteY48" fmla="*/ 4124325 h 4429225"/>
                  <a:gd name="connsiteX49" fmla="*/ 925852 w 4519987"/>
                  <a:gd name="connsiteY49" fmla="*/ 4067175 h 4429225"/>
                  <a:gd name="connsiteX50" fmla="*/ 830602 w 4519987"/>
                  <a:gd name="connsiteY50" fmla="*/ 3981450 h 4429225"/>
                  <a:gd name="connsiteX51" fmla="*/ 763927 w 4519987"/>
                  <a:gd name="connsiteY51" fmla="*/ 3914775 h 4429225"/>
                  <a:gd name="connsiteX52" fmla="*/ 725827 w 4519987"/>
                  <a:gd name="connsiteY52" fmla="*/ 3876675 h 4429225"/>
                  <a:gd name="connsiteX53" fmla="*/ 697252 w 4519987"/>
                  <a:gd name="connsiteY53" fmla="*/ 3838575 h 4429225"/>
                  <a:gd name="connsiteX54" fmla="*/ 640102 w 4519987"/>
                  <a:gd name="connsiteY54" fmla="*/ 3781425 h 4429225"/>
                  <a:gd name="connsiteX55" fmla="*/ 611527 w 4519987"/>
                  <a:gd name="connsiteY55" fmla="*/ 3733800 h 4429225"/>
                  <a:gd name="connsiteX56" fmla="*/ 554377 w 4519987"/>
                  <a:gd name="connsiteY56" fmla="*/ 3657600 h 4429225"/>
                  <a:gd name="connsiteX57" fmla="*/ 525802 w 4519987"/>
                  <a:gd name="connsiteY57" fmla="*/ 3609975 h 4429225"/>
                  <a:gd name="connsiteX58" fmla="*/ 497227 w 4519987"/>
                  <a:gd name="connsiteY58" fmla="*/ 3552825 h 4429225"/>
                  <a:gd name="connsiteX59" fmla="*/ 440077 w 4519987"/>
                  <a:gd name="connsiteY59" fmla="*/ 3495675 h 4429225"/>
                  <a:gd name="connsiteX60" fmla="*/ 411502 w 4519987"/>
                  <a:gd name="connsiteY60" fmla="*/ 3448050 h 4429225"/>
                  <a:gd name="connsiteX61" fmla="*/ 278152 w 4519987"/>
                  <a:gd name="connsiteY61" fmla="*/ 3257550 h 4429225"/>
                  <a:gd name="connsiteX62" fmla="*/ 249577 w 4519987"/>
                  <a:gd name="connsiteY62" fmla="*/ 3200400 h 4429225"/>
                  <a:gd name="connsiteX63" fmla="*/ 240052 w 4519987"/>
                  <a:gd name="connsiteY63" fmla="*/ 3162300 h 4429225"/>
                  <a:gd name="connsiteX64" fmla="*/ 221002 w 4519987"/>
                  <a:gd name="connsiteY64" fmla="*/ 3105150 h 4429225"/>
                  <a:gd name="connsiteX65" fmla="*/ 173377 w 4519987"/>
                  <a:gd name="connsiteY65" fmla="*/ 3019425 h 4429225"/>
                  <a:gd name="connsiteX66" fmla="*/ 144802 w 4519987"/>
                  <a:gd name="connsiteY66" fmla="*/ 2924175 h 4429225"/>
                  <a:gd name="connsiteX67" fmla="*/ 68602 w 4519987"/>
                  <a:gd name="connsiteY67" fmla="*/ 2724150 h 4429225"/>
                  <a:gd name="connsiteX68" fmla="*/ 49552 w 4519987"/>
                  <a:gd name="connsiteY68" fmla="*/ 2638425 h 4429225"/>
                  <a:gd name="connsiteX69" fmla="*/ 40027 w 4519987"/>
                  <a:gd name="connsiteY69" fmla="*/ 2562225 h 4429225"/>
                  <a:gd name="connsiteX70" fmla="*/ 30502 w 4519987"/>
                  <a:gd name="connsiteY70" fmla="*/ 2514600 h 4429225"/>
                  <a:gd name="connsiteX71" fmla="*/ 11452 w 4519987"/>
                  <a:gd name="connsiteY71" fmla="*/ 2400300 h 4429225"/>
                  <a:gd name="connsiteX72" fmla="*/ 20977 w 4519987"/>
                  <a:gd name="connsiteY72" fmla="*/ 1905000 h 4429225"/>
                  <a:gd name="connsiteX73" fmla="*/ 30502 w 4519987"/>
                  <a:gd name="connsiteY73" fmla="*/ 1838325 h 4429225"/>
                  <a:gd name="connsiteX74" fmla="*/ 49552 w 4519987"/>
                  <a:gd name="connsiteY74" fmla="*/ 1781175 h 4429225"/>
                  <a:gd name="connsiteX75" fmla="*/ 59077 w 4519987"/>
                  <a:gd name="connsiteY75" fmla="*/ 1743075 h 4429225"/>
                  <a:gd name="connsiteX76" fmla="*/ 78127 w 4519987"/>
                  <a:gd name="connsiteY76" fmla="*/ 1685925 h 4429225"/>
                  <a:gd name="connsiteX77" fmla="*/ 87652 w 4519987"/>
                  <a:gd name="connsiteY77" fmla="*/ 1638300 h 4429225"/>
                  <a:gd name="connsiteX78" fmla="*/ 106702 w 4519987"/>
                  <a:gd name="connsiteY78" fmla="*/ 1590675 h 4429225"/>
                  <a:gd name="connsiteX79" fmla="*/ 135277 w 4519987"/>
                  <a:gd name="connsiteY79" fmla="*/ 1504950 h 4429225"/>
                  <a:gd name="connsiteX80" fmla="*/ 154327 w 4519987"/>
                  <a:gd name="connsiteY80" fmla="*/ 1419225 h 4429225"/>
                  <a:gd name="connsiteX81" fmla="*/ 230527 w 4519987"/>
                  <a:gd name="connsiteY81" fmla="*/ 1276350 h 4429225"/>
                  <a:gd name="connsiteX82" fmla="*/ 240052 w 4519987"/>
                  <a:gd name="connsiteY82" fmla="*/ 1247775 h 4429225"/>
                  <a:gd name="connsiteX83" fmla="*/ 268627 w 4519987"/>
                  <a:gd name="connsiteY83" fmla="*/ 1200150 h 4429225"/>
                  <a:gd name="connsiteX84" fmla="*/ 287677 w 4519987"/>
                  <a:gd name="connsiteY84" fmla="*/ 1152525 h 4429225"/>
                  <a:gd name="connsiteX85" fmla="*/ 316252 w 4519987"/>
                  <a:gd name="connsiteY85" fmla="*/ 1114425 h 4429225"/>
                  <a:gd name="connsiteX86" fmla="*/ 363877 w 4519987"/>
                  <a:gd name="connsiteY86" fmla="*/ 1038225 h 4429225"/>
                  <a:gd name="connsiteX87" fmla="*/ 382927 w 4519987"/>
                  <a:gd name="connsiteY87" fmla="*/ 1009650 h 4429225"/>
                  <a:gd name="connsiteX88" fmla="*/ 440077 w 4519987"/>
                  <a:gd name="connsiteY88" fmla="*/ 904875 h 4429225"/>
                  <a:gd name="connsiteX89" fmla="*/ 478177 w 4519987"/>
                  <a:gd name="connsiteY89" fmla="*/ 857250 h 4429225"/>
                  <a:gd name="connsiteX90" fmla="*/ 497227 w 4519987"/>
                  <a:gd name="connsiteY90" fmla="*/ 828675 h 4429225"/>
                  <a:gd name="connsiteX91" fmla="*/ 535327 w 4519987"/>
                  <a:gd name="connsiteY91" fmla="*/ 800100 h 4429225"/>
                  <a:gd name="connsiteX92" fmla="*/ 602002 w 4519987"/>
                  <a:gd name="connsiteY92" fmla="*/ 733425 h 4429225"/>
                  <a:gd name="connsiteX93" fmla="*/ 668677 w 4519987"/>
                  <a:gd name="connsiteY93" fmla="*/ 676275 h 4429225"/>
                  <a:gd name="connsiteX94" fmla="*/ 697252 w 4519987"/>
                  <a:gd name="connsiteY94" fmla="*/ 657225 h 4429225"/>
                  <a:gd name="connsiteX95" fmla="*/ 840127 w 4519987"/>
                  <a:gd name="connsiteY95" fmla="*/ 533400 h 4429225"/>
                  <a:gd name="connsiteX96" fmla="*/ 887752 w 4519987"/>
                  <a:gd name="connsiteY96" fmla="*/ 504825 h 4429225"/>
                  <a:gd name="connsiteX97" fmla="*/ 1167152 w 4519987"/>
                  <a:gd name="connsiteY97" fmla="*/ 311150 h 4429225"/>
                  <a:gd name="connsiteX98" fmla="*/ 1268752 w 4519987"/>
                  <a:gd name="connsiteY98" fmla="*/ 285750 h 4429225"/>
                  <a:gd name="connsiteX99" fmla="*/ 1411627 w 4519987"/>
                  <a:gd name="connsiteY99" fmla="*/ 190500 h 4429225"/>
                  <a:gd name="connsiteX100" fmla="*/ 1449727 w 4519987"/>
                  <a:gd name="connsiteY100" fmla="*/ 161925 h 4429225"/>
                  <a:gd name="connsiteX101" fmla="*/ 1525927 w 4519987"/>
                  <a:gd name="connsiteY101" fmla="*/ 152400 h 4429225"/>
                  <a:gd name="connsiteX102" fmla="*/ 1583077 w 4519987"/>
                  <a:gd name="connsiteY102" fmla="*/ 142875 h 4429225"/>
                  <a:gd name="connsiteX103" fmla="*/ 1716427 w 4519987"/>
                  <a:gd name="connsiteY103" fmla="*/ 123825 h 4429225"/>
                  <a:gd name="connsiteX104" fmla="*/ 1811677 w 4519987"/>
                  <a:gd name="connsiteY104" fmla="*/ 114300 h 4429225"/>
                  <a:gd name="connsiteX105" fmla="*/ 1859302 w 4519987"/>
                  <a:gd name="connsiteY105" fmla="*/ 104775 h 4429225"/>
                  <a:gd name="connsiteX106" fmla="*/ 1916452 w 4519987"/>
                  <a:gd name="connsiteY106" fmla="*/ 95250 h 4429225"/>
                  <a:gd name="connsiteX107" fmla="*/ 2030752 w 4519987"/>
                  <a:gd name="connsiteY107" fmla="*/ 66675 h 4429225"/>
                  <a:gd name="connsiteX108" fmla="*/ 2097427 w 4519987"/>
                  <a:gd name="connsiteY108" fmla="*/ 47625 h 4429225"/>
                  <a:gd name="connsiteX109" fmla="*/ 2164102 w 4519987"/>
                  <a:gd name="connsiteY109" fmla="*/ 38100 h 4429225"/>
                  <a:gd name="connsiteX110" fmla="*/ 2392702 w 4519987"/>
                  <a:gd name="connsiteY110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925852 w 4519987"/>
                  <a:gd name="connsiteY48" fmla="*/ 4067175 h 4429225"/>
                  <a:gd name="connsiteX49" fmla="*/ 830602 w 4519987"/>
                  <a:gd name="connsiteY49" fmla="*/ 3981450 h 4429225"/>
                  <a:gd name="connsiteX50" fmla="*/ 763927 w 4519987"/>
                  <a:gd name="connsiteY50" fmla="*/ 3914775 h 4429225"/>
                  <a:gd name="connsiteX51" fmla="*/ 725827 w 4519987"/>
                  <a:gd name="connsiteY51" fmla="*/ 3876675 h 4429225"/>
                  <a:gd name="connsiteX52" fmla="*/ 697252 w 4519987"/>
                  <a:gd name="connsiteY52" fmla="*/ 3838575 h 4429225"/>
                  <a:gd name="connsiteX53" fmla="*/ 640102 w 4519987"/>
                  <a:gd name="connsiteY53" fmla="*/ 3781425 h 4429225"/>
                  <a:gd name="connsiteX54" fmla="*/ 611527 w 4519987"/>
                  <a:gd name="connsiteY54" fmla="*/ 3733800 h 4429225"/>
                  <a:gd name="connsiteX55" fmla="*/ 554377 w 4519987"/>
                  <a:gd name="connsiteY55" fmla="*/ 3657600 h 4429225"/>
                  <a:gd name="connsiteX56" fmla="*/ 525802 w 4519987"/>
                  <a:gd name="connsiteY56" fmla="*/ 3609975 h 4429225"/>
                  <a:gd name="connsiteX57" fmla="*/ 497227 w 4519987"/>
                  <a:gd name="connsiteY57" fmla="*/ 3552825 h 4429225"/>
                  <a:gd name="connsiteX58" fmla="*/ 440077 w 4519987"/>
                  <a:gd name="connsiteY58" fmla="*/ 3495675 h 4429225"/>
                  <a:gd name="connsiteX59" fmla="*/ 411502 w 4519987"/>
                  <a:gd name="connsiteY59" fmla="*/ 3448050 h 4429225"/>
                  <a:gd name="connsiteX60" fmla="*/ 278152 w 4519987"/>
                  <a:gd name="connsiteY60" fmla="*/ 3257550 h 4429225"/>
                  <a:gd name="connsiteX61" fmla="*/ 249577 w 4519987"/>
                  <a:gd name="connsiteY61" fmla="*/ 3200400 h 4429225"/>
                  <a:gd name="connsiteX62" fmla="*/ 240052 w 4519987"/>
                  <a:gd name="connsiteY62" fmla="*/ 3162300 h 4429225"/>
                  <a:gd name="connsiteX63" fmla="*/ 221002 w 4519987"/>
                  <a:gd name="connsiteY63" fmla="*/ 3105150 h 4429225"/>
                  <a:gd name="connsiteX64" fmla="*/ 173377 w 4519987"/>
                  <a:gd name="connsiteY64" fmla="*/ 3019425 h 4429225"/>
                  <a:gd name="connsiteX65" fmla="*/ 144802 w 4519987"/>
                  <a:gd name="connsiteY65" fmla="*/ 2924175 h 4429225"/>
                  <a:gd name="connsiteX66" fmla="*/ 68602 w 4519987"/>
                  <a:gd name="connsiteY66" fmla="*/ 2724150 h 4429225"/>
                  <a:gd name="connsiteX67" fmla="*/ 49552 w 4519987"/>
                  <a:gd name="connsiteY67" fmla="*/ 2638425 h 4429225"/>
                  <a:gd name="connsiteX68" fmla="*/ 40027 w 4519987"/>
                  <a:gd name="connsiteY68" fmla="*/ 2562225 h 4429225"/>
                  <a:gd name="connsiteX69" fmla="*/ 30502 w 4519987"/>
                  <a:gd name="connsiteY69" fmla="*/ 2514600 h 4429225"/>
                  <a:gd name="connsiteX70" fmla="*/ 11452 w 4519987"/>
                  <a:gd name="connsiteY70" fmla="*/ 2400300 h 4429225"/>
                  <a:gd name="connsiteX71" fmla="*/ 20977 w 4519987"/>
                  <a:gd name="connsiteY71" fmla="*/ 1905000 h 4429225"/>
                  <a:gd name="connsiteX72" fmla="*/ 30502 w 4519987"/>
                  <a:gd name="connsiteY72" fmla="*/ 1838325 h 4429225"/>
                  <a:gd name="connsiteX73" fmla="*/ 49552 w 4519987"/>
                  <a:gd name="connsiteY73" fmla="*/ 1781175 h 4429225"/>
                  <a:gd name="connsiteX74" fmla="*/ 59077 w 4519987"/>
                  <a:gd name="connsiteY74" fmla="*/ 1743075 h 4429225"/>
                  <a:gd name="connsiteX75" fmla="*/ 78127 w 4519987"/>
                  <a:gd name="connsiteY75" fmla="*/ 1685925 h 4429225"/>
                  <a:gd name="connsiteX76" fmla="*/ 87652 w 4519987"/>
                  <a:gd name="connsiteY76" fmla="*/ 1638300 h 4429225"/>
                  <a:gd name="connsiteX77" fmla="*/ 106702 w 4519987"/>
                  <a:gd name="connsiteY77" fmla="*/ 1590675 h 4429225"/>
                  <a:gd name="connsiteX78" fmla="*/ 135277 w 4519987"/>
                  <a:gd name="connsiteY78" fmla="*/ 1504950 h 4429225"/>
                  <a:gd name="connsiteX79" fmla="*/ 154327 w 4519987"/>
                  <a:gd name="connsiteY79" fmla="*/ 1419225 h 4429225"/>
                  <a:gd name="connsiteX80" fmla="*/ 230527 w 4519987"/>
                  <a:gd name="connsiteY80" fmla="*/ 1276350 h 4429225"/>
                  <a:gd name="connsiteX81" fmla="*/ 240052 w 4519987"/>
                  <a:gd name="connsiteY81" fmla="*/ 1247775 h 4429225"/>
                  <a:gd name="connsiteX82" fmla="*/ 268627 w 4519987"/>
                  <a:gd name="connsiteY82" fmla="*/ 1200150 h 4429225"/>
                  <a:gd name="connsiteX83" fmla="*/ 287677 w 4519987"/>
                  <a:gd name="connsiteY83" fmla="*/ 1152525 h 4429225"/>
                  <a:gd name="connsiteX84" fmla="*/ 316252 w 4519987"/>
                  <a:gd name="connsiteY84" fmla="*/ 1114425 h 4429225"/>
                  <a:gd name="connsiteX85" fmla="*/ 363877 w 4519987"/>
                  <a:gd name="connsiteY85" fmla="*/ 1038225 h 4429225"/>
                  <a:gd name="connsiteX86" fmla="*/ 382927 w 4519987"/>
                  <a:gd name="connsiteY86" fmla="*/ 1009650 h 4429225"/>
                  <a:gd name="connsiteX87" fmla="*/ 440077 w 4519987"/>
                  <a:gd name="connsiteY87" fmla="*/ 904875 h 4429225"/>
                  <a:gd name="connsiteX88" fmla="*/ 478177 w 4519987"/>
                  <a:gd name="connsiteY88" fmla="*/ 857250 h 4429225"/>
                  <a:gd name="connsiteX89" fmla="*/ 497227 w 4519987"/>
                  <a:gd name="connsiteY89" fmla="*/ 828675 h 4429225"/>
                  <a:gd name="connsiteX90" fmla="*/ 535327 w 4519987"/>
                  <a:gd name="connsiteY90" fmla="*/ 800100 h 4429225"/>
                  <a:gd name="connsiteX91" fmla="*/ 602002 w 4519987"/>
                  <a:gd name="connsiteY91" fmla="*/ 733425 h 4429225"/>
                  <a:gd name="connsiteX92" fmla="*/ 668677 w 4519987"/>
                  <a:gd name="connsiteY92" fmla="*/ 676275 h 4429225"/>
                  <a:gd name="connsiteX93" fmla="*/ 697252 w 4519987"/>
                  <a:gd name="connsiteY93" fmla="*/ 657225 h 4429225"/>
                  <a:gd name="connsiteX94" fmla="*/ 840127 w 4519987"/>
                  <a:gd name="connsiteY94" fmla="*/ 533400 h 4429225"/>
                  <a:gd name="connsiteX95" fmla="*/ 887752 w 4519987"/>
                  <a:gd name="connsiteY95" fmla="*/ 504825 h 4429225"/>
                  <a:gd name="connsiteX96" fmla="*/ 1167152 w 4519987"/>
                  <a:gd name="connsiteY96" fmla="*/ 311150 h 4429225"/>
                  <a:gd name="connsiteX97" fmla="*/ 1268752 w 4519987"/>
                  <a:gd name="connsiteY97" fmla="*/ 285750 h 4429225"/>
                  <a:gd name="connsiteX98" fmla="*/ 1411627 w 4519987"/>
                  <a:gd name="connsiteY98" fmla="*/ 190500 h 4429225"/>
                  <a:gd name="connsiteX99" fmla="*/ 1449727 w 4519987"/>
                  <a:gd name="connsiteY99" fmla="*/ 161925 h 4429225"/>
                  <a:gd name="connsiteX100" fmla="*/ 1525927 w 4519987"/>
                  <a:gd name="connsiteY100" fmla="*/ 152400 h 4429225"/>
                  <a:gd name="connsiteX101" fmla="*/ 1583077 w 4519987"/>
                  <a:gd name="connsiteY101" fmla="*/ 142875 h 4429225"/>
                  <a:gd name="connsiteX102" fmla="*/ 1716427 w 4519987"/>
                  <a:gd name="connsiteY102" fmla="*/ 123825 h 4429225"/>
                  <a:gd name="connsiteX103" fmla="*/ 1811677 w 4519987"/>
                  <a:gd name="connsiteY103" fmla="*/ 114300 h 4429225"/>
                  <a:gd name="connsiteX104" fmla="*/ 1859302 w 4519987"/>
                  <a:gd name="connsiteY104" fmla="*/ 104775 h 4429225"/>
                  <a:gd name="connsiteX105" fmla="*/ 1916452 w 4519987"/>
                  <a:gd name="connsiteY105" fmla="*/ 95250 h 4429225"/>
                  <a:gd name="connsiteX106" fmla="*/ 2030752 w 4519987"/>
                  <a:gd name="connsiteY106" fmla="*/ 66675 h 4429225"/>
                  <a:gd name="connsiteX107" fmla="*/ 2097427 w 4519987"/>
                  <a:gd name="connsiteY107" fmla="*/ 47625 h 4429225"/>
                  <a:gd name="connsiteX108" fmla="*/ 2164102 w 4519987"/>
                  <a:gd name="connsiteY108" fmla="*/ 38100 h 4429225"/>
                  <a:gd name="connsiteX109" fmla="*/ 2392702 w 4519987"/>
                  <a:gd name="connsiteY109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725827 w 4519987"/>
                  <a:gd name="connsiteY50" fmla="*/ 3876675 h 4429225"/>
                  <a:gd name="connsiteX51" fmla="*/ 697252 w 4519987"/>
                  <a:gd name="connsiteY51" fmla="*/ 3838575 h 4429225"/>
                  <a:gd name="connsiteX52" fmla="*/ 640102 w 4519987"/>
                  <a:gd name="connsiteY52" fmla="*/ 3781425 h 4429225"/>
                  <a:gd name="connsiteX53" fmla="*/ 611527 w 4519987"/>
                  <a:gd name="connsiteY53" fmla="*/ 3733800 h 4429225"/>
                  <a:gd name="connsiteX54" fmla="*/ 554377 w 4519987"/>
                  <a:gd name="connsiteY54" fmla="*/ 3657600 h 4429225"/>
                  <a:gd name="connsiteX55" fmla="*/ 525802 w 4519987"/>
                  <a:gd name="connsiteY55" fmla="*/ 3609975 h 4429225"/>
                  <a:gd name="connsiteX56" fmla="*/ 497227 w 4519987"/>
                  <a:gd name="connsiteY56" fmla="*/ 3552825 h 4429225"/>
                  <a:gd name="connsiteX57" fmla="*/ 440077 w 4519987"/>
                  <a:gd name="connsiteY57" fmla="*/ 3495675 h 4429225"/>
                  <a:gd name="connsiteX58" fmla="*/ 411502 w 4519987"/>
                  <a:gd name="connsiteY58" fmla="*/ 3448050 h 4429225"/>
                  <a:gd name="connsiteX59" fmla="*/ 278152 w 4519987"/>
                  <a:gd name="connsiteY59" fmla="*/ 3257550 h 4429225"/>
                  <a:gd name="connsiteX60" fmla="*/ 249577 w 4519987"/>
                  <a:gd name="connsiteY60" fmla="*/ 3200400 h 4429225"/>
                  <a:gd name="connsiteX61" fmla="*/ 240052 w 4519987"/>
                  <a:gd name="connsiteY61" fmla="*/ 3162300 h 4429225"/>
                  <a:gd name="connsiteX62" fmla="*/ 221002 w 4519987"/>
                  <a:gd name="connsiteY62" fmla="*/ 3105150 h 4429225"/>
                  <a:gd name="connsiteX63" fmla="*/ 173377 w 4519987"/>
                  <a:gd name="connsiteY63" fmla="*/ 3019425 h 4429225"/>
                  <a:gd name="connsiteX64" fmla="*/ 144802 w 4519987"/>
                  <a:gd name="connsiteY64" fmla="*/ 2924175 h 4429225"/>
                  <a:gd name="connsiteX65" fmla="*/ 68602 w 4519987"/>
                  <a:gd name="connsiteY65" fmla="*/ 2724150 h 4429225"/>
                  <a:gd name="connsiteX66" fmla="*/ 49552 w 4519987"/>
                  <a:gd name="connsiteY66" fmla="*/ 2638425 h 4429225"/>
                  <a:gd name="connsiteX67" fmla="*/ 40027 w 4519987"/>
                  <a:gd name="connsiteY67" fmla="*/ 2562225 h 4429225"/>
                  <a:gd name="connsiteX68" fmla="*/ 30502 w 4519987"/>
                  <a:gd name="connsiteY68" fmla="*/ 2514600 h 4429225"/>
                  <a:gd name="connsiteX69" fmla="*/ 11452 w 4519987"/>
                  <a:gd name="connsiteY69" fmla="*/ 2400300 h 4429225"/>
                  <a:gd name="connsiteX70" fmla="*/ 20977 w 4519987"/>
                  <a:gd name="connsiteY70" fmla="*/ 1905000 h 4429225"/>
                  <a:gd name="connsiteX71" fmla="*/ 30502 w 4519987"/>
                  <a:gd name="connsiteY71" fmla="*/ 1838325 h 4429225"/>
                  <a:gd name="connsiteX72" fmla="*/ 49552 w 4519987"/>
                  <a:gd name="connsiteY72" fmla="*/ 1781175 h 4429225"/>
                  <a:gd name="connsiteX73" fmla="*/ 59077 w 4519987"/>
                  <a:gd name="connsiteY73" fmla="*/ 1743075 h 4429225"/>
                  <a:gd name="connsiteX74" fmla="*/ 78127 w 4519987"/>
                  <a:gd name="connsiteY74" fmla="*/ 1685925 h 4429225"/>
                  <a:gd name="connsiteX75" fmla="*/ 87652 w 4519987"/>
                  <a:gd name="connsiteY75" fmla="*/ 1638300 h 4429225"/>
                  <a:gd name="connsiteX76" fmla="*/ 106702 w 4519987"/>
                  <a:gd name="connsiteY76" fmla="*/ 1590675 h 4429225"/>
                  <a:gd name="connsiteX77" fmla="*/ 135277 w 4519987"/>
                  <a:gd name="connsiteY77" fmla="*/ 1504950 h 4429225"/>
                  <a:gd name="connsiteX78" fmla="*/ 154327 w 4519987"/>
                  <a:gd name="connsiteY78" fmla="*/ 1419225 h 4429225"/>
                  <a:gd name="connsiteX79" fmla="*/ 230527 w 4519987"/>
                  <a:gd name="connsiteY79" fmla="*/ 1276350 h 4429225"/>
                  <a:gd name="connsiteX80" fmla="*/ 240052 w 4519987"/>
                  <a:gd name="connsiteY80" fmla="*/ 1247775 h 4429225"/>
                  <a:gd name="connsiteX81" fmla="*/ 268627 w 4519987"/>
                  <a:gd name="connsiteY81" fmla="*/ 1200150 h 4429225"/>
                  <a:gd name="connsiteX82" fmla="*/ 287677 w 4519987"/>
                  <a:gd name="connsiteY82" fmla="*/ 1152525 h 4429225"/>
                  <a:gd name="connsiteX83" fmla="*/ 316252 w 4519987"/>
                  <a:gd name="connsiteY83" fmla="*/ 1114425 h 4429225"/>
                  <a:gd name="connsiteX84" fmla="*/ 363877 w 4519987"/>
                  <a:gd name="connsiteY84" fmla="*/ 1038225 h 4429225"/>
                  <a:gd name="connsiteX85" fmla="*/ 382927 w 4519987"/>
                  <a:gd name="connsiteY85" fmla="*/ 1009650 h 4429225"/>
                  <a:gd name="connsiteX86" fmla="*/ 440077 w 4519987"/>
                  <a:gd name="connsiteY86" fmla="*/ 904875 h 4429225"/>
                  <a:gd name="connsiteX87" fmla="*/ 478177 w 4519987"/>
                  <a:gd name="connsiteY87" fmla="*/ 857250 h 4429225"/>
                  <a:gd name="connsiteX88" fmla="*/ 497227 w 4519987"/>
                  <a:gd name="connsiteY88" fmla="*/ 828675 h 4429225"/>
                  <a:gd name="connsiteX89" fmla="*/ 535327 w 4519987"/>
                  <a:gd name="connsiteY89" fmla="*/ 800100 h 4429225"/>
                  <a:gd name="connsiteX90" fmla="*/ 602002 w 4519987"/>
                  <a:gd name="connsiteY90" fmla="*/ 733425 h 4429225"/>
                  <a:gd name="connsiteX91" fmla="*/ 668677 w 4519987"/>
                  <a:gd name="connsiteY91" fmla="*/ 676275 h 4429225"/>
                  <a:gd name="connsiteX92" fmla="*/ 697252 w 4519987"/>
                  <a:gd name="connsiteY92" fmla="*/ 657225 h 4429225"/>
                  <a:gd name="connsiteX93" fmla="*/ 840127 w 4519987"/>
                  <a:gd name="connsiteY93" fmla="*/ 533400 h 4429225"/>
                  <a:gd name="connsiteX94" fmla="*/ 887752 w 4519987"/>
                  <a:gd name="connsiteY94" fmla="*/ 504825 h 4429225"/>
                  <a:gd name="connsiteX95" fmla="*/ 1167152 w 4519987"/>
                  <a:gd name="connsiteY95" fmla="*/ 311150 h 4429225"/>
                  <a:gd name="connsiteX96" fmla="*/ 1268752 w 4519987"/>
                  <a:gd name="connsiteY96" fmla="*/ 285750 h 4429225"/>
                  <a:gd name="connsiteX97" fmla="*/ 1411627 w 4519987"/>
                  <a:gd name="connsiteY97" fmla="*/ 190500 h 4429225"/>
                  <a:gd name="connsiteX98" fmla="*/ 1449727 w 4519987"/>
                  <a:gd name="connsiteY98" fmla="*/ 161925 h 4429225"/>
                  <a:gd name="connsiteX99" fmla="*/ 1525927 w 4519987"/>
                  <a:gd name="connsiteY99" fmla="*/ 152400 h 4429225"/>
                  <a:gd name="connsiteX100" fmla="*/ 1583077 w 4519987"/>
                  <a:gd name="connsiteY100" fmla="*/ 142875 h 4429225"/>
                  <a:gd name="connsiteX101" fmla="*/ 1716427 w 4519987"/>
                  <a:gd name="connsiteY101" fmla="*/ 123825 h 4429225"/>
                  <a:gd name="connsiteX102" fmla="*/ 1811677 w 4519987"/>
                  <a:gd name="connsiteY102" fmla="*/ 114300 h 4429225"/>
                  <a:gd name="connsiteX103" fmla="*/ 1859302 w 4519987"/>
                  <a:gd name="connsiteY103" fmla="*/ 104775 h 4429225"/>
                  <a:gd name="connsiteX104" fmla="*/ 1916452 w 4519987"/>
                  <a:gd name="connsiteY104" fmla="*/ 95250 h 4429225"/>
                  <a:gd name="connsiteX105" fmla="*/ 2030752 w 4519987"/>
                  <a:gd name="connsiteY105" fmla="*/ 66675 h 4429225"/>
                  <a:gd name="connsiteX106" fmla="*/ 2097427 w 4519987"/>
                  <a:gd name="connsiteY106" fmla="*/ 47625 h 4429225"/>
                  <a:gd name="connsiteX107" fmla="*/ 2164102 w 4519987"/>
                  <a:gd name="connsiteY107" fmla="*/ 38100 h 4429225"/>
                  <a:gd name="connsiteX108" fmla="*/ 2392702 w 4519987"/>
                  <a:gd name="connsiteY108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640102 w 4519987"/>
                  <a:gd name="connsiteY51" fmla="*/ 3781425 h 4429225"/>
                  <a:gd name="connsiteX52" fmla="*/ 611527 w 4519987"/>
                  <a:gd name="connsiteY52" fmla="*/ 3733800 h 4429225"/>
                  <a:gd name="connsiteX53" fmla="*/ 554377 w 4519987"/>
                  <a:gd name="connsiteY53" fmla="*/ 3657600 h 4429225"/>
                  <a:gd name="connsiteX54" fmla="*/ 525802 w 4519987"/>
                  <a:gd name="connsiteY54" fmla="*/ 3609975 h 4429225"/>
                  <a:gd name="connsiteX55" fmla="*/ 497227 w 4519987"/>
                  <a:gd name="connsiteY55" fmla="*/ 3552825 h 4429225"/>
                  <a:gd name="connsiteX56" fmla="*/ 440077 w 4519987"/>
                  <a:gd name="connsiteY56" fmla="*/ 3495675 h 4429225"/>
                  <a:gd name="connsiteX57" fmla="*/ 411502 w 4519987"/>
                  <a:gd name="connsiteY57" fmla="*/ 3448050 h 4429225"/>
                  <a:gd name="connsiteX58" fmla="*/ 278152 w 4519987"/>
                  <a:gd name="connsiteY58" fmla="*/ 3257550 h 4429225"/>
                  <a:gd name="connsiteX59" fmla="*/ 249577 w 4519987"/>
                  <a:gd name="connsiteY59" fmla="*/ 3200400 h 4429225"/>
                  <a:gd name="connsiteX60" fmla="*/ 240052 w 4519987"/>
                  <a:gd name="connsiteY60" fmla="*/ 3162300 h 4429225"/>
                  <a:gd name="connsiteX61" fmla="*/ 221002 w 4519987"/>
                  <a:gd name="connsiteY61" fmla="*/ 3105150 h 4429225"/>
                  <a:gd name="connsiteX62" fmla="*/ 173377 w 4519987"/>
                  <a:gd name="connsiteY62" fmla="*/ 3019425 h 4429225"/>
                  <a:gd name="connsiteX63" fmla="*/ 144802 w 4519987"/>
                  <a:gd name="connsiteY63" fmla="*/ 2924175 h 4429225"/>
                  <a:gd name="connsiteX64" fmla="*/ 68602 w 4519987"/>
                  <a:gd name="connsiteY64" fmla="*/ 2724150 h 4429225"/>
                  <a:gd name="connsiteX65" fmla="*/ 49552 w 4519987"/>
                  <a:gd name="connsiteY65" fmla="*/ 2638425 h 4429225"/>
                  <a:gd name="connsiteX66" fmla="*/ 40027 w 4519987"/>
                  <a:gd name="connsiteY66" fmla="*/ 2562225 h 4429225"/>
                  <a:gd name="connsiteX67" fmla="*/ 30502 w 4519987"/>
                  <a:gd name="connsiteY67" fmla="*/ 2514600 h 4429225"/>
                  <a:gd name="connsiteX68" fmla="*/ 11452 w 4519987"/>
                  <a:gd name="connsiteY68" fmla="*/ 2400300 h 4429225"/>
                  <a:gd name="connsiteX69" fmla="*/ 20977 w 4519987"/>
                  <a:gd name="connsiteY69" fmla="*/ 1905000 h 4429225"/>
                  <a:gd name="connsiteX70" fmla="*/ 30502 w 4519987"/>
                  <a:gd name="connsiteY70" fmla="*/ 1838325 h 4429225"/>
                  <a:gd name="connsiteX71" fmla="*/ 49552 w 4519987"/>
                  <a:gd name="connsiteY71" fmla="*/ 1781175 h 4429225"/>
                  <a:gd name="connsiteX72" fmla="*/ 59077 w 4519987"/>
                  <a:gd name="connsiteY72" fmla="*/ 1743075 h 4429225"/>
                  <a:gd name="connsiteX73" fmla="*/ 78127 w 4519987"/>
                  <a:gd name="connsiteY73" fmla="*/ 1685925 h 4429225"/>
                  <a:gd name="connsiteX74" fmla="*/ 87652 w 4519987"/>
                  <a:gd name="connsiteY74" fmla="*/ 1638300 h 4429225"/>
                  <a:gd name="connsiteX75" fmla="*/ 106702 w 4519987"/>
                  <a:gd name="connsiteY75" fmla="*/ 1590675 h 4429225"/>
                  <a:gd name="connsiteX76" fmla="*/ 135277 w 4519987"/>
                  <a:gd name="connsiteY76" fmla="*/ 1504950 h 4429225"/>
                  <a:gd name="connsiteX77" fmla="*/ 154327 w 4519987"/>
                  <a:gd name="connsiteY77" fmla="*/ 1419225 h 4429225"/>
                  <a:gd name="connsiteX78" fmla="*/ 230527 w 4519987"/>
                  <a:gd name="connsiteY78" fmla="*/ 1276350 h 4429225"/>
                  <a:gd name="connsiteX79" fmla="*/ 240052 w 4519987"/>
                  <a:gd name="connsiteY79" fmla="*/ 1247775 h 4429225"/>
                  <a:gd name="connsiteX80" fmla="*/ 268627 w 4519987"/>
                  <a:gd name="connsiteY80" fmla="*/ 1200150 h 4429225"/>
                  <a:gd name="connsiteX81" fmla="*/ 287677 w 4519987"/>
                  <a:gd name="connsiteY81" fmla="*/ 1152525 h 4429225"/>
                  <a:gd name="connsiteX82" fmla="*/ 316252 w 4519987"/>
                  <a:gd name="connsiteY82" fmla="*/ 1114425 h 4429225"/>
                  <a:gd name="connsiteX83" fmla="*/ 363877 w 4519987"/>
                  <a:gd name="connsiteY83" fmla="*/ 1038225 h 4429225"/>
                  <a:gd name="connsiteX84" fmla="*/ 382927 w 4519987"/>
                  <a:gd name="connsiteY84" fmla="*/ 1009650 h 4429225"/>
                  <a:gd name="connsiteX85" fmla="*/ 440077 w 4519987"/>
                  <a:gd name="connsiteY85" fmla="*/ 904875 h 4429225"/>
                  <a:gd name="connsiteX86" fmla="*/ 478177 w 4519987"/>
                  <a:gd name="connsiteY86" fmla="*/ 857250 h 4429225"/>
                  <a:gd name="connsiteX87" fmla="*/ 497227 w 4519987"/>
                  <a:gd name="connsiteY87" fmla="*/ 828675 h 4429225"/>
                  <a:gd name="connsiteX88" fmla="*/ 535327 w 4519987"/>
                  <a:gd name="connsiteY88" fmla="*/ 800100 h 4429225"/>
                  <a:gd name="connsiteX89" fmla="*/ 602002 w 4519987"/>
                  <a:gd name="connsiteY89" fmla="*/ 733425 h 4429225"/>
                  <a:gd name="connsiteX90" fmla="*/ 668677 w 4519987"/>
                  <a:gd name="connsiteY90" fmla="*/ 676275 h 4429225"/>
                  <a:gd name="connsiteX91" fmla="*/ 697252 w 4519987"/>
                  <a:gd name="connsiteY91" fmla="*/ 657225 h 4429225"/>
                  <a:gd name="connsiteX92" fmla="*/ 840127 w 4519987"/>
                  <a:gd name="connsiteY92" fmla="*/ 533400 h 4429225"/>
                  <a:gd name="connsiteX93" fmla="*/ 887752 w 4519987"/>
                  <a:gd name="connsiteY93" fmla="*/ 504825 h 4429225"/>
                  <a:gd name="connsiteX94" fmla="*/ 1167152 w 4519987"/>
                  <a:gd name="connsiteY94" fmla="*/ 311150 h 4429225"/>
                  <a:gd name="connsiteX95" fmla="*/ 1268752 w 4519987"/>
                  <a:gd name="connsiteY95" fmla="*/ 285750 h 4429225"/>
                  <a:gd name="connsiteX96" fmla="*/ 1411627 w 4519987"/>
                  <a:gd name="connsiteY96" fmla="*/ 190500 h 4429225"/>
                  <a:gd name="connsiteX97" fmla="*/ 1449727 w 4519987"/>
                  <a:gd name="connsiteY97" fmla="*/ 161925 h 4429225"/>
                  <a:gd name="connsiteX98" fmla="*/ 1525927 w 4519987"/>
                  <a:gd name="connsiteY98" fmla="*/ 152400 h 4429225"/>
                  <a:gd name="connsiteX99" fmla="*/ 1583077 w 4519987"/>
                  <a:gd name="connsiteY99" fmla="*/ 142875 h 4429225"/>
                  <a:gd name="connsiteX100" fmla="*/ 1716427 w 4519987"/>
                  <a:gd name="connsiteY100" fmla="*/ 123825 h 4429225"/>
                  <a:gd name="connsiteX101" fmla="*/ 1811677 w 4519987"/>
                  <a:gd name="connsiteY101" fmla="*/ 114300 h 4429225"/>
                  <a:gd name="connsiteX102" fmla="*/ 1859302 w 4519987"/>
                  <a:gd name="connsiteY102" fmla="*/ 104775 h 4429225"/>
                  <a:gd name="connsiteX103" fmla="*/ 1916452 w 4519987"/>
                  <a:gd name="connsiteY103" fmla="*/ 95250 h 4429225"/>
                  <a:gd name="connsiteX104" fmla="*/ 2030752 w 4519987"/>
                  <a:gd name="connsiteY104" fmla="*/ 66675 h 4429225"/>
                  <a:gd name="connsiteX105" fmla="*/ 2097427 w 4519987"/>
                  <a:gd name="connsiteY105" fmla="*/ 47625 h 4429225"/>
                  <a:gd name="connsiteX106" fmla="*/ 2164102 w 4519987"/>
                  <a:gd name="connsiteY106" fmla="*/ 38100 h 4429225"/>
                  <a:gd name="connsiteX107" fmla="*/ 2392702 w 4519987"/>
                  <a:gd name="connsiteY107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611527 w 4519987"/>
                  <a:gd name="connsiteY51" fmla="*/ 3733800 h 4429225"/>
                  <a:gd name="connsiteX52" fmla="*/ 554377 w 4519987"/>
                  <a:gd name="connsiteY52" fmla="*/ 3657600 h 4429225"/>
                  <a:gd name="connsiteX53" fmla="*/ 525802 w 4519987"/>
                  <a:gd name="connsiteY53" fmla="*/ 3609975 h 4429225"/>
                  <a:gd name="connsiteX54" fmla="*/ 497227 w 4519987"/>
                  <a:gd name="connsiteY54" fmla="*/ 3552825 h 4429225"/>
                  <a:gd name="connsiteX55" fmla="*/ 440077 w 4519987"/>
                  <a:gd name="connsiteY55" fmla="*/ 3495675 h 4429225"/>
                  <a:gd name="connsiteX56" fmla="*/ 411502 w 4519987"/>
                  <a:gd name="connsiteY56" fmla="*/ 3448050 h 4429225"/>
                  <a:gd name="connsiteX57" fmla="*/ 278152 w 4519987"/>
                  <a:gd name="connsiteY57" fmla="*/ 3257550 h 4429225"/>
                  <a:gd name="connsiteX58" fmla="*/ 249577 w 4519987"/>
                  <a:gd name="connsiteY58" fmla="*/ 3200400 h 4429225"/>
                  <a:gd name="connsiteX59" fmla="*/ 240052 w 4519987"/>
                  <a:gd name="connsiteY59" fmla="*/ 3162300 h 4429225"/>
                  <a:gd name="connsiteX60" fmla="*/ 221002 w 4519987"/>
                  <a:gd name="connsiteY60" fmla="*/ 3105150 h 4429225"/>
                  <a:gd name="connsiteX61" fmla="*/ 173377 w 4519987"/>
                  <a:gd name="connsiteY61" fmla="*/ 3019425 h 4429225"/>
                  <a:gd name="connsiteX62" fmla="*/ 144802 w 4519987"/>
                  <a:gd name="connsiteY62" fmla="*/ 2924175 h 4429225"/>
                  <a:gd name="connsiteX63" fmla="*/ 68602 w 4519987"/>
                  <a:gd name="connsiteY63" fmla="*/ 2724150 h 4429225"/>
                  <a:gd name="connsiteX64" fmla="*/ 49552 w 4519987"/>
                  <a:gd name="connsiteY64" fmla="*/ 2638425 h 4429225"/>
                  <a:gd name="connsiteX65" fmla="*/ 40027 w 4519987"/>
                  <a:gd name="connsiteY65" fmla="*/ 2562225 h 4429225"/>
                  <a:gd name="connsiteX66" fmla="*/ 30502 w 4519987"/>
                  <a:gd name="connsiteY66" fmla="*/ 2514600 h 4429225"/>
                  <a:gd name="connsiteX67" fmla="*/ 11452 w 4519987"/>
                  <a:gd name="connsiteY67" fmla="*/ 2400300 h 4429225"/>
                  <a:gd name="connsiteX68" fmla="*/ 20977 w 4519987"/>
                  <a:gd name="connsiteY68" fmla="*/ 1905000 h 4429225"/>
                  <a:gd name="connsiteX69" fmla="*/ 30502 w 4519987"/>
                  <a:gd name="connsiteY69" fmla="*/ 1838325 h 4429225"/>
                  <a:gd name="connsiteX70" fmla="*/ 49552 w 4519987"/>
                  <a:gd name="connsiteY70" fmla="*/ 1781175 h 4429225"/>
                  <a:gd name="connsiteX71" fmla="*/ 59077 w 4519987"/>
                  <a:gd name="connsiteY71" fmla="*/ 1743075 h 4429225"/>
                  <a:gd name="connsiteX72" fmla="*/ 78127 w 4519987"/>
                  <a:gd name="connsiteY72" fmla="*/ 1685925 h 4429225"/>
                  <a:gd name="connsiteX73" fmla="*/ 87652 w 4519987"/>
                  <a:gd name="connsiteY73" fmla="*/ 1638300 h 4429225"/>
                  <a:gd name="connsiteX74" fmla="*/ 106702 w 4519987"/>
                  <a:gd name="connsiteY74" fmla="*/ 1590675 h 4429225"/>
                  <a:gd name="connsiteX75" fmla="*/ 135277 w 4519987"/>
                  <a:gd name="connsiteY75" fmla="*/ 1504950 h 4429225"/>
                  <a:gd name="connsiteX76" fmla="*/ 154327 w 4519987"/>
                  <a:gd name="connsiteY76" fmla="*/ 1419225 h 4429225"/>
                  <a:gd name="connsiteX77" fmla="*/ 230527 w 4519987"/>
                  <a:gd name="connsiteY77" fmla="*/ 1276350 h 4429225"/>
                  <a:gd name="connsiteX78" fmla="*/ 240052 w 4519987"/>
                  <a:gd name="connsiteY78" fmla="*/ 1247775 h 4429225"/>
                  <a:gd name="connsiteX79" fmla="*/ 268627 w 4519987"/>
                  <a:gd name="connsiteY79" fmla="*/ 1200150 h 4429225"/>
                  <a:gd name="connsiteX80" fmla="*/ 287677 w 4519987"/>
                  <a:gd name="connsiteY80" fmla="*/ 1152525 h 4429225"/>
                  <a:gd name="connsiteX81" fmla="*/ 316252 w 4519987"/>
                  <a:gd name="connsiteY81" fmla="*/ 1114425 h 4429225"/>
                  <a:gd name="connsiteX82" fmla="*/ 363877 w 4519987"/>
                  <a:gd name="connsiteY82" fmla="*/ 1038225 h 4429225"/>
                  <a:gd name="connsiteX83" fmla="*/ 382927 w 4519987"/>
                  <a:gd name="connsiteY83" fmla="*/ 1009650 h 4429225"/>
                  <a:gd name="connsiteX84" fmla="*/ 440077 w 4519987"/>
                  <a:gd name="connsiteY84" fmla="*/ 904875 h 4429225"/>
                  <a:gd name="connsiteX85" fmla="*/ 478177 w 4519987"/>
                  <a:gd name="connsiteY85" fmla="*/ 857250 h 4429225"/>
                  <a:gd name="connsiteX86" fmla="*/ 497227 w 4519987"/>
                  <a:gd name="connsiteY86" fmla="*/ 828675 h 4429225"/>
                  <a:gd name="connsiteX87" fmla="*/ 535327 w 4519987"/>
                  <a:gd name="connsiteY87" fmla="*/ 800100 h 4429225"/>
                  <a:gd name="connsiteX88" fmla="*/ 602002 w 4519987"/>
                  <a:gd name="connsiteY88" fmla="*/ 733425 h 4429225"/>
                  <a:gd name="connsiteX89" fmla="*/ 668677 w 4519987"/>
                  <a:gd name="connsiteY89" fmla="*/ 676275 h 4429225"/>
                  <a:gd name="connsiteX90" fmla="*/ 697252 w 4519987"/>
                  <a:gd name="connsiteY90" fmla="*/ 657225 h 4429225"/>
                  <a:gd name="connsiteX91" fmla="*/ 840127 w 4519987"/>
                  <a:gd name="connsiteY91" fmla="*/ 533400 h 4429225"/>
                  <a:gd name="connsiteX92" fmla="*/ 887752 w 4519987"/>
                  <a:gd name="connsiteY92" fmla="*/ 504825 h 4429225"/>
                  <a:gd name="connsiteX93" fmla="*/ 1167152 w 4519987"/>
                  <a:gd name="connsiteY93" fmla="*/ 311150 h 4429225"/>
                  <a:gd name="connsiteX94" fmla="*/ 1268752 w 4519987"/>
                  <a:gd name="connsiteY94" fmla="*/ 285750 h 4429225"/>
                  <a:gd name="connsiteX95" fmla="*/ 1411627 w 4519987"/>
                  <a:gd name="connsiteY95" fmla="*/ 190500 h 4429225"/>
                  <a:gd name="connsiteX96" fmla="*/ 1449727 w 4519987"/>
                  <a:gd name="connsiteY96" fmla="*/ 161925 h 4429225"/>
                  <a:gd name="connsiteX97" fmla="*/ 1525927 w 4519987"/>
                  <a:gd name="connsiteY97" fmla="*/ 152400 h 4429225"/>
                  <a:gd name="connsiteX98" fmla="*/ 1583077 w 4519987"/>
                  <a:gd name="connsiteY98" fmla="*/ 142875 h 4429225"/>
                  <a:gd name="connsiteX99" fmla="*/ 1716427 w 4519987"/>
                  <a:gd name="connsiteY99" fmla="*/ 123825 h 4429225"/>
                  <a:gd name="connsiteX100" fmla="*/ 1811677 w 4519987"/>
                  <a:gd name="connsiteY100" fmla="*/ 114300 h 4429225"/>
                  <a:gd name="connsiteX101" fmla="*/ 1859302 w 4519987"/>
                  <a:gd name="connsiteY101" fmla="*/ 104775 h 4429225"/>
                  <a:gd name="connsiteX102" fmla="*/ 1916452 w 4519987"/>
                  <a:gd name="connsiteY102" fmla="*/ 95250 h 4429225"/>
                  <a:gd name="connsiteX103" fmla="*/ 2030752 w 4519987"/>
                  <a:gd name="connsiteY103" fmla="*/ 66675 h 4429225"/>
                  <a:gd name="connsiteX104" fmla="*/ 2097427 w 4519987"/>
                  <a:gd name="connsiteY104" fmla="*/ 47625 h 4429225"/>
                  <a:gd name="connsiteX105" fmla="*/ 2164102 w 4519987"/>
                  <a:gd name="connsiteY105" fmla="*/ 38100 h 4429225"/>
                  <a:gd name="connsiteX106" fmla="*/ 2392702 w 4519987"/>
                  <a:gd name="connsiteY106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525802 w 4519987"/>
                  <a:gd name="connsiteY52" fmla="*/ 3609975 h 4429225"/>
                  <a:gd name="connsiteX53" fmla="*/ 497227 w 4519987"/>
                  <a:gd name="connsiteY53" fmla="*/ 3552825 h 4429225"/>
                  <a:gd name="connsiteX54" fmla="*/ 440077 w 4519987"/>
                  <a:gd name="connsiteY54" fmla="*/ 3495675 h 4429225"/>
                  <a:gd name="connsiteX55" fmla="*/ 411502 w 4519987"/>
                  <a:gd name="connsiteY55" fmla="*/ 3448050 h 4429225"/>
                  <a:gd name="connsiteX56" fmla="*/ 278152 w 4519987"/>
                  <a:gd name="connsiteY56" fmla="*/ 3257550 h 4429225"/>
                  <a:gd name="connsiteX57" fmla="*/ 249577 w 4519987"/>
                  <a:gd name="connsiteY57" fmla="*/ 3200400 h 4429225"/>
                  <a:gd name="connsiteX58" fmla="*/ 240052 w 4519987"/>
                  <a:gd name="connsiteY58" fmla="*/ 3162300 h 4429225"/>
                  <a:gd name="connsiteX59" fmla="*/ 221002 w 4519987"/>
                  <a:gd name="connsiteY59" fmla="*/ 3105150 h 4429225"/>
                  <a:gd name="connsiteX60" fmla="*/ 173377 w 4519987"/>
                  <a:gd name="connsiteY60" fmla="*/ 3019425 h 4429225"/>
                  <a:gd name="connsiteX61" fmla="*/ 144802 w 4519987"/>
                  <a:gd name="connsiteY61" fmla="*/ 2924175 h 4429225"/>
                  <a:gd name="connsiteX62" fmla="*/ 68602 w 4519987"/>
                  <a:gd name="connsiteY62" fmla="*/ 2724150 h 4429225"/>
                  <a:gd name="connsiteX63" fmla="*/ 49552 w 4519987"/>
                  <a:gd name="connsiteY63" fmla="*/ 2638425 h 4429225"/>
                  <a:gd name="connsiteX64" fmla="*/ 40027 w 4519987"/>
                  <a:gd name="connsiteY64" fmla="*/ 2562225 h 4429225"/>
                  <a:gd name="connsiteX65" fmla="*/ 30502 w 4519987"/>
                  <a:gd name="connsiteY65" fmla="*/ 2514600 h 4429225"/>
                  <a:gd name="connsiteX66" fmla="*/ 11452 w 4519987"/>
                  <a:gd name="connsiteY66" fmla="*/ 2400300 h 4429225"/>
                  <a:gd name="connsiteX67" fmla="*/ 20977 w 4519987"/>
                  <a:gd name="connsiteY67" fmla="*/ 1905000 h 4429225"/>
                  <a:gd name="connsiteX68" fmla="*/ 30502 w 4519987"/>
                  <a:gd name="connsiteY68" fmla="*/ 1838325 h 4429225"/>
                  <a:gd name="connsiteX69" fmla="*/ 49552 w 4519987"/>
                  <a:gd name="connsiteY69" fmla="*/ 1781175 h 4429225"/>
                  <a:gd name="connsiteX70" fmla="*/ 59077 w 4519987"/>
                  <a:gd name="connsiteY70" fmla="*/ 1743075 h 4429225"/>
                  <a:gd name="connsiteX71" fmla="*/ 78127 w 4519987"/>
                  <a:gd name="connsiteY71" fmla="*/ 1685925 h 4429225"/>
                  <a:gd name="connsiteX72" fmla="*/ 87652 w 4519987"/>
                  <a:gd name="connsiteY72" fmla="*/ 1638300 h 4429225"/>
                  <a:gd name="connsiteX73" fmla="*/ 106702 w 4519987"/>
                  <a:gd name="connsiteY73" fmla="*/ 1590675 h 4429225"/>
                  <a:gd name="connsiteX74" fmla="*/ 135277 w 4519987"/>
                  <a:gd name="connsiteY74" fmla="*/ 1504950 h 4429225"/>
                  <a:gd name="connsiteX75" fmla="*/ 154327 w 4519987"/>
                  <a:gd name="connsiteY75" fmla="*/ 1419225 h 4429225"/>
                  <a:gd name="connsiteX76" fmla="*/ 230527 w 4519987"/>
                  <a:gd name="connsiteY76" fmla="*/ 1276350 h 4429225"/>
                  <a:gd name="connsiteX77" fmla="*/ 240052 w 4519987"/>
                  <a:gd name="connsiteY77" fmla="*/ 1247775 h 4429225"/>
                  <a:gd name="connsiteX78" fmla="*/ 268627 w 4519987"/>
                  <a:gd name="connsiteY78" fmla="*/ 1200150 h 4429225"/>
                  <a:gd name="connsiteX79" fmla="*/ 287677 w 4519987"/>
                  <a:gd name="connsiteY79" fmla="*/ 1152525 h 4429225"/>
                  <a:gd name="connsiteX80" fmla="*/ 316252 w 4519987"/>
                  <a:gd name="connsiteY80" fmla="*/ 1114425 h 4429225"/>
                  <a:gd name="connsiteX81" fmla="*/ 363877 w 4519987"/>
                  <a:gd name="connsiteY81" fmla="*/ 1038225 h 4429225"/>
                  <a:gd name="connsiteX82" fmla="*/ 382927 w 4519987"/>
                  <a:gd name="connsiteY82" fmla="*/ 1009650 h 4429225"/>
                  <a:gd name="connsiteX83" fmla="*/ 440077 w 4519987"/>
                  <a:gd name="connsiteY83" fmla="*/ 904875 h 4429225"/>
                  <a:gd name="connsiteX84" fmla="*/ 478177 w 4519987"/>
                  <a:gd name="connsiteY84" fmla="*/ 857250 h 4429225"/>
                  <a:gd name="connsiteX85" fmla="*/ 497227 w 4519987"/>
                  <a:gd name="connsiteY85" fmla="*/ 828675 h 4429225"/>
                  <a:gd name="connsiteX86" fmla="*/ 535327 w 4519987"/>
                  <a:gd name="connsiteY86" fmla="*/ 800100 h 4429225"/>
                  <a:gd name="connsiteX87" fmla="*/ 602002 w 4519987"/>
                  <a:gd name="connsiteY87" fmla="*/ 733425 h 4429225"/>
                  <a:gd name="connsiteX88" fmla="*/ 668677 w 4519987"/>
                  <a:gd name="connsiteY88" fmla="*/ 676275 h 4429225"/>
                  <a:gd name="connsiteX89" fmla="*/ 697252 w 4519987"/>
                  <a:gd name="connsiteY89" fmla="*/ 657225 h 4429225"/>
                  <a:gd name="connsiteX90" fmla="*/ 840127 w 4519987"/>
                  <a:gd name="connsiteY90" fmla="*/ 533400 h 4429225"/>
                  <a:gd name="connsiteX91" fmla="*/ 887752 w 4519987"/>
                  <a:gd name="connsiteY91" fmla="*/ 504825 h 4429225"/>
                  <a:gd name="connsiteX92" fmla="*/ 1167152 w 4519987"/>
                  <a:gd name="connsiteY92" fmla="*/ 311150 h 4429225"/>
                  <a:gd name="connsiteX93" fmla="*/ 1268752 w 4519987"/>
                  <a:gd name="connsiteY93" fmla="*/ 285750 h 4429225"/>
                  <a:gd name="connsiteX94" fmla="*/ 1411627 w 4519987"/>
                  <a:gd name="connsiteY94" fmla="*/ 190500 h 4429225"/>
                  <a:gd name="connsiteX95" fmla="*/ 1449727 w 4519987"/>
                  <a:gd name="connsiteY95" fmla="*/ 161925 h 4429225"/>
                  <a:gd name="connsiteX96" fmla="*/ 1525927 w 4519987"/>
                  <a:gd name="connsiteY96" fmla="*/ 152400 h 4429225"/>
                  <a:gd name="connsiteX97" fmla="*/ 1583077 w 4519987"/>
                  <a:gd name="connsiteY97" fmla="*/ 142875 h 4429225"/>
                  <a:gd name="connsiteX98" fmla="*/ 1716427 w 4519987"/>
                  <a:gd name="connsiteY98" fmla="*/ 123825 h 4429225"/>
                  <a:gd name="connsiteX99" fmla="*/ 1811677 w 4519987"/>
                  <a:gd name="connsiteY99" fmla="*/ 114300 h 4429225"/>
                  <a:gd name="connsiteX100" fmla="*/ 1859302 w 4519987"/>
                  <a:gd name="connsiteY100" fmla="*/ 104775 h 4429225"/>
                  <a:gd name="connsiteX101" fmla="*/ 1916452 w 4519987"/>
                  <a:gd name="connsiteY101" fmla="*/ 95250 h 4429225"/>
                  <a:gd name="connsiteX102" fmla="*/ 2030752 w 4519987"/>
                  <a:gd name="connsiteY102" fmla="*/ 66675 h 4429225"/>
                  <a:gd name="connsiteX103" fmla="*/ 2097427 w 4519987"/>
                  <a:gd name="connsiteY103" fmla="*/ 47625 h 4429225"/>
                  <a:gd name="connsiteX104" fmla="*/ 2164102 w 4519987"/>
                  <a:gd name="connsiteY104" fmla="*/ 38100 h 4429225"/>
                  <a:gd name="connsiteX105" fmla="*/ 2392702 w 4519987"/>
                  <a:gd name="connsiteY105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497227 w 4519987"/>
                  <a:gd name="connsiteY52" fmla="*/ 3552825 h 4429225"/>
                  <a:gd name="connsiteX53" fmla="*/ 440077 w 4519987"/>
                  <a:gd name="connsiteY53" fmla="*/ 3495675 h 4429225"/>
                  <a:gd name="connsiteX54" fmla="*/ 411502 w 4519987"/>
                  <a:gd name="connsiteY54" fmla="*/ 3448050 h 4429225"/>
                  <a:gd name="connsiteX55" fmla="*/ 278152 w 4519987"/>
                  <a:gd name="connsiteY55" fmla="*/ 3257550 h 4429225"/>
                  <a:gd name="connsiteX56" fmla="*/ 249577 w 4519987"/>
                  <a:gd name="connsiteY56" fmla="*/ 3200400 h 4429225"/>
                  <a:gd name="connsiteX57" fmla="*/ 240052 w 4519987"/>
                  <a:gd name="connsiteY57" fmla="*/ 3162300 h 4429225"/>
                  <a:gd name="connsiteX58" fmla="*/ 221002 w 4519987"/>
                  <a:gd name="connsiteY58" fmla="*/ 3105150 h 4429225"/>
                  <a:gd name="connsiteX59" fmla="*/ 173377 w 4519987"/>
                  <a:gd name="connsiteY59" fmla="*/ 3019425 h 4429225"/>
                  <a:gd name="connsiteX60" fmla="*/ 144802 w 4519987"/>
                  <a:gd name="connsiteY60" fmla="*/ 2924175 h 4429225"/>
                  <a:gd name="connsiteX61" fmla="*/ 68602 w 4519987"/>
                  <a:gd name="connsiteY61" fmla="*/ 2724150 h 4429225"/>
                  <a:gd name="connsiteX62" fmla="*/ 49552 w 4519987"/>
                  <a:gd name="connsiteY62" fmla="*/ 2638425 h 4429225"/>
                  <a:gd name="connsiteX63" fmla="*/ 40027 w 4519987"/>
                  <a:gd name="connsiteY63" fmla="*/ 2562225 h 4429225"/>
                  <a:gd name="connsiteX64" fmla="*/ 30502 w 4519987"/>
                  <a:gd name="connsiteY64" fmla="*/ 2514600 h 4429225"/>
                  <a:gd name="connsiteX65" fmla="*/ 11452 w 4519987"/>
                  <a:gd name="connsiteY65" fmla="*/ 2400300 h 4429225"/>
                  <a:gd name="connsiteX66" fmla="*/ 20977 w 4519987"/>
                  <a:gd name="connsiteY66" fmla="*/ 1905000 h 4429225"/>
                  <a:gd name="connsiteX67" fmla="*/ 30502 w 4519987"/>
                  <a:gd name="connsiteY67" fmla="*/ 1838325 h 4429225"/>
                  <a:gd name="connsiteX68" fmla="*/ 49552 w 4519987"/>
                  <a:gd name="connsiteY68" fmla="*/ 1781175 h 4429225"/>
                  <a:gd name="connsiteX69" fmla="*/ 59077 w 4519987"/>
                  <a:gd name="connsiteY69" fmla="*/ 1743075 h 4429225"/>
                  <a:gd name="connsiteX70" fmla="*/ 78127 w 4519987"/>
                  <a:gd name="connsiteY70" fmla="*/ 1685925 h 4429225"/>
                  <a:gd name="connsiteX71" fmla="*/ 87652 w 4519987"/>
                  <a:gd name="connsiteY71" fmla="*/ 1638300 h 4429225"/>
                  <a:gd name="connsiteX72" fmla="*/ 106702 w 4519987"/>
                  <a:gd name="connsiteY72" fmla="*/ 1590675 h 4429225"/>
                  <a:gd name="connsiteX73" fmla="*/ 135277 w 4519987"/>
                  <a:gd name="connsiteY73" fmla="*/ 1504950 h 4429225"/>
                  <a:gd name="connsiteX74" fmla="*/ 154327 w 4519987"/>
                  <a:gd name="connsiteY74" fmla="*/ 1419225 h 4429225"/>
                  <a:gd name="connsiteX75" fmla="*/ 230527 w 4519987"/>
                  <a:gd name="connsiteY75" fmla="*/ 1276350 h 4429225"/>
                  <a:gd name="connsiteX76" fmla="*/ 240052 w 4519987"/>
                  <a:gd name="connsiteY76" fmla="*/ 1247775 h 4429225"/>
                  <a:gd name="connsiteX77" fmla="*/ 268627 w 4519987"/>
                  <a:gd name="connsiteY77" fmla="*/ 1200150 h 4429225"/>
                  <a:gd name="connsiteX78" fmla="*/ 287677 w 4519987"/>
                  <a:gd name="connsiteY78" fmla="*/ 1152525 h 4429225"/>
                  <a:gd name="connsiteX79" fmla="*/ 316252 w 4519987"/>
                  <a:gd name="connsiteY79" fmla="*/ 1114425 h 4429225"/>
                  <a:gd name="connsiteX80" fmla="*/ 363877 w 4519987"/>
                  <a:gd name="connsiteY80" fmla="*/ 1038225 h 4429225"/>
                  <a:gd name="connsiteX81" fmla="*/ 382927 w 4519987"/>
                  <a:gd name="connsiteY81" fmla="*/ 1009650 h 4429225"/>
                  <a:gd name="connsiteX82" fmla="*/ 440077 w 4519987"/>
                  <a:gd name="connsiteY82" fmla="*/ 904875 h 4429225"/>
                  <a:gd name="connsiteX83" fmla="*/ 478177 w 4519987"/>
                  <a:gd name="connsiteY83" fmla="*/ 857250 h 4429225"/>
                  <a:gd name="connsiteX84" fmla="*/ 497227 w 4519987"/>
                  <a:gd name="connsiteY84" fmla="*/ 828675 h 4429225"/>
                  <a:gd name="connsiteX85" fmla="*/ 535327 w 4519987"/>
                  <a:gd name="connsiteY85" fmla="*/ 800100 h 4429225"/>
                  <a:gd name="connsiteX86" fmla="*/ 602002 w 4519987"/>
                  <a:gd name="connsiteY86" fmla="*/ 733425 h 4429225"/>
                  <a:gd name="connsiteX87" fmla="*/ 668677 w 4519987"/>
                  <a:gd name="connsiteY87" fmla="*/ 676275 h 4429225"/>
                  <a:gd name="connsiteX88" fmla="*/ 697252 w 4519987"/>
                  <a:gd name="connsiteY88" fmla="*/ 657225 h 4429225"/>
                  <a:gd name="connsiteX89" fmla="*/ 840127 w 4519987"/>
                  <a:gd name="connsiteY89" fmla="*/ 533400 h 4429225"/>
                  <a:gd name="connsiteX90" fmla="*/ 887752 w 4519987"/>
                  <a:gd name="connsiteY90" fmla="*/ 504825 h 4429225"/>
                  <a:gd name="connsiteX91" fmla="*/ 1167152 w 4519987"/>
                  <a:gd name="connsiteY91" fmla="*/ 311150 h 4429225"/>
                  <a:gd name="connsiteX92" fmla="*/ 1268752 w 4519987"/>
                  <a:gd name="connsiteY92" fmla="*/ 285750 h 4429225"/>
                  <a:gd name="connsiteX93" fmla="*/ 1411627 w 4519987"/>
                  <a:gd name="connsiteY93" fmla="*/ 190500 h 4429225"/>
                  <a:gd name="connsiteX94" fmla="*/ 1449727 w 4519987"/>
                  <a:gd name="connsiteY94" fmla="*/ 161925 h 4429225"/>
                  <a:gd name="connsiteX95" fmla="*/ 1525927 w 4519987"/>
                  <a:gd name="connsiteY95" fmla="*/ 152400 h 4429225"/>
                  <a:gd name="connsiteX96" fmla="*/ 1583077 w 4519987"/>
                  <a:gd name="connsiteY96" fmla="*/ 142875 h 4429225"/>
                  <a:gd name="connsiteX97" fmla="*/ 1716427 w 4519987"/>
                  <a:gd name="connsiteY97" fmla="*/ 123825 h 4429225"/>
                  <a:gd name="connsiteX98" fmla="*/ 1811677 w 4519987"/>
                  <a:gd name="connsiteY98" fmla="*/ 114300 h 4429225"/>
                  <a:gd name="connsiteX99" fmla="*/ 1859302 w 4519987"/>
                  <a:gd name="connsiteY99" fmla="*/ 104775 h 4429225"/>
                  <a:gd name="connsiteX100" fmla="*/ 1916452 w 4519987"/>
                  <a:gd name="connsiteY100" fmla="*/ 95250 h 4429225"/>
                  <a:gd name="connsiteX101" fmla="*/ 2030752 w 4519987"/>
                  <a:gd name="connsiteY101" fmla="*/ 66675 h 4429225"/>
                  <a:gd name="connsiteX102" fmla="*/ 2097427 w 4519987"/>
                  <a:gd name="connsiteY102" fmla="*/ 47625 h 4429225"/>
                  <a:gd name="connsiteX103" fmla="*/ 2164102 w 4519987"/>
                  <a:gd name="connsiteY103" fmla="*/ 38100 h 4429225"/>
                  <a:gd name="connsiteX104" fmla="*/ 2392702 w 4519987"/>
                  <a:gd name="connsiteY104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497227 w 4519987"/>
                  <a:gd name="connsiteY52" fmla="*/ 3552825 h 4429225"/>
                  <a:gd name="connsiteX53" fmla="*/ 440077 w 4519987"/>
                  <a:gd name="connsiteY53" fmla="*/ 3495675 h 4429225"/>
                  <a:gd name="connsiteX54" fmla="*/ 278152 w 4519987"/>
                  <a:gd name="connsiteY54" fmla="*/ 3257550 h 4429225"/>
                  <a:gd name="connsiteX55" fmla="*/ 249577 w 4519987"/>
                  <a:gd name="connsiteY55" fmla="*/ 3200400 h 4429225"/>
                  <a:gd name="connsiteX56" fmla="*/ 240052 w 4519987"/>
                  <a:gd name="connsiteY56" fmla="*/ 3162300 h 4429225"/>
                  <a:gd name="connsiteX57" fmla="*/ 221002 w 4519987"/>
                  <a:gd name="connsiteY57" fmla="*/ 3105150 h 4429225"/>
                  <a:gd name="connsiteX58" fmla="*/ 173377 w 4519987"/>
                  <a:gd name="connsiteY58" fmla="*/ 3019425 h 4429225"/>
                  <a:gd name="connsiteX59" fmla="*/ 144802 w 4519987"/>
                  <a:gd name="connsiteY59" fmla="*/ 2924175 h 4429225"/>
                  <a:gd name="connsiteX60" fmla="*/ 68602 w 4519987"/>
                  <a:gd name="connsiteY60" fmla="*/ 2724150 h 4429225"/>
                  <a:gd name="connsiteX61" fmla="*/ 49552 w 4519987"/>
                  <a:gd name="connsiteY61" fmla="*/ 2638425 h 4429225"/>
                  <a:gd name="connsiteX62" fmla="*/ 40027 w 4519987"/>
                  <a:gd name="connsiteY62" fmla="*/ 2562225 h 4429225"/>
                  <a:gd name="connsiteX63" fmla="*/ 30502 w 4519987"/>
                  <a:gd name="connsiteY63" fmla="*/ 2514600 h 4429225"/>
                  <a:gd name="connsiteX64" fmla="*/ 11452 w 4519987"/>
                  <a:gd name="connsiteY64" fmla="*/ 2400300 h 4429225"/>
                  <a:gd name="connsiteX65" fmla="*/ 20977 w 4519987"/>
                  <a:gd name="connsiteY65" fmla="*/ 1905000 h 4429225"/>
                  <a:gd name="connsiteX66" fmla="*/ 30502 w 4519987"/>
                  <a:gd name="connsiteY66" fmla="*/ 1838325 h 4429225"/>
                  <a:gd name="connsiteX67" fmla="*/ 49552 w 4519987"/>
                  <a:gd name="connsiteY67" fmla="*/ 1781175 h 4429225"/>
                  <a:gd name="connsiteX68" fmla="*/ 59077 w 4519987"/>
                  <a:gd name="connsiteY68" fmla="*/ 1743075 h 4429225"/>
                  <a:gd name="connsiteX69" fmla="*/ 78127 w 4519987"/>
                  <a:gd name="connsiteY69" fmla="*/ 1685925 h 4429225"/>
                  <a:gd name="connsiteX70" fmla="*/ 87652 w 4519987"/>
                  <a:gd name="connsiteY70" fmla="*/ 1638300 h 4429225"/>
                  <a:gd name="connsiteX71" fmla="*/ 106702 w 4519987"/>
                  <a:gd name="connsiteY71" fmla="*/ 1590675 h 4429225"/>
                  <a:gd name="connsiteX72" fmla="*/ 135277 w 4519987"/>
                  <a:gd name="connsiteY72" fmla="*/ 1504950 h 4429225"/>
                  <a:gd name="connsiteX73" fmla="*/ 154327 w 4519987"/>
                  <a:gd name="connsiteY73" fmla="*/ 1419225 h 4429225"/>
                  <a:gd name="connsiteX74" fmla="*/ 230527 w 4519987"/>
                  <a:gd name="connsiteY74" fmla="*/ 1276350 h 4429225"/>
                  <a:gd name="connsiteX75" fmla="*/ 240052 w 4519987"/>
                  <a:gd name="connsiteY75" fmla="*/ 1247775 h 4429225"/>
                  <a:gd name="connsiteX76" fmla="*/ 268627 w 4519987"/>
                  <a:gd name="connsiteY76" fmla="*/ 1200150 h 4429225"/>
                  <a:gd name="connsiteX77" fmla="*/ 287677 w 4519987"/>
                  <a:gd name="connsiteY77" fmla="*/ 1152525 h 4429225"/>
                  <a:gd name="connsiteX78" fmla="*/ 316252 w 4519987"/>
                  <a:gd name="connsiteY78" fmla="*/ 1114425 h 4429225"/>
                  <a:gd name="connsiteX79" fmla="*/ 363877 w 4519987"/>
                  <a:gd name="connsiteY79" fmla="*/ 1038225 h 4429225"/>
                  <a:gd name="connsiteX80" fmla="*/ 382927 w 4519987"/>
                  <a:gd name="connsiteY80" fmla="*/ 1009650 h 4429225"/>
                  <a:gd name="connsiteX81" fmla="*/ 440077 w 4519987"/>
                  <a:gd name="connsiteY81" fmla="*/ 904875 h 4429225"/>
                  <a:gd name="connsiteX82" fmla="*/ 478177 w 4519987"/>
                  <a:gd name="connsiteY82" fmla="*/ 857250 h 4429225"/>
                  <a:gd name="connsiteX83" fmla="*/ 497227 w 4519987"/>
                  <a:gd name="connsiteY83" fmla="*/ 828675 h 4429225"/>
                  <a:gd name="connsiteX84" fmla="*/ 535327 w 4519987"/>
                  <a:gd name="connsiteY84" fmla="*/ 800100 h 4429225"/>
                  <a:gd name="connsiteX85" fmla="*/ 602002 w 4519987"/>
                  <a:gd name="connsiteY85" fmla="*/ 733425 h 4429225"/>
                  <a:gd name="connsiteX86" fmla="*/ 668677 w 4519987"/>
                  <a:gd name="connsiteY86" fmla="*/ 676275 h 4429225"/>
                  <a:gd name="connsiteX87" fmla="*/ 697252 w 4519987"/>
                  <a:gd name="connsiteY87" fmla="*/ 657225 h 4429225"/>
                  <a:gd name="connsiteX88" fmla="*/ 840127 w 4519987"/>
                  <a:gd name="connsiteY88" fmla="*/ 533400 h 4429225"/>
                  <a:gd name="connsiteX89" fmla="*/ 887752 w 4519987"/>
                  <a:gd name="connsiteY89" fmla="*/ 504825 h 4429225"/>
                  <a:gd name="connsiteX90" fmla="*/ 1167152 w 4519987"/>
                  <a:gd name="connsiteY90" fmla="*/ 311150 h 4429225"/>
                  <a:gd name="connsiteX91" fmla="*/ 1268752 w 4519987"/>
                  <a:gd name="connsiteY91" fmla="*/ 285750 h 4429225"/>
                  <a:gd name="connsiteX92" fmla="*/ 1411627 w 4519987"/>
                  <a:gd name="connsiteY92" fmla="*/ 190500 h 4429225"/>
                  <a:gd name="connsiteX93" fmla="*/ 1449727 w 4519987"/>
                  <a:gd name="connsiteY93" fmla="*/ 161925 h 4429225"/>
                  <a:gd name="connsiteX94" fmla="*/ 1525927 w 4519987"/>
                  <a:gd name="connsiteY94" fmla="*/ 152400 h 4429225"/>
                  <a:gd name="connsiteX95" fmla="*/ 1583077 w 4519987"/>
                  <a:gd name="connsiteY95" fmla="*/ 142875 h 4429225"/>
                  <a:gd name="connsiteX96" fmla="*/ 1716427 w 4519987"/>
                  <a:gd name="connsiteY96" fmla="*/ 123825 h 4429225"/>
                  <a:gd name="connsiteX97" fmla="*/ 1811677 w 4519987"/>
                  <a:gd name="connsiteY97" fmla="*/ 114300 h 4429225"/>
                  <a:gd name="connsiteX98" fmla="*/ 1859302 w 4519987"/>
                  <a:gd name="connsiteY98" fmla="*/ 104775 h 4429225"/>
                  <a:gd name="connsiteX99" fmla="*/ 1916452 w 4519987"/>
                  <a:gd name="connsiteY99" fmla="*/ 95250 h 4429225"/>
                  <a:gd name="connsiteX100" fmla="*/ 2030752 w 4519987"/>
                  <a:gd name="connsiteY100" fmla="*/ 66675 h 4429225"/>
                  <a:gd name="connsiteX101" fmla="*/ 2097427 w 4519987"/>
                  <a:gd name="connsiteY101" fmla="*/ 47625 h 4429225"/>
                  <a:gd name="connsiteX102" fmla="*/ 2164102 w 4519987"/>
                  <a:gd name="connsiteY102" fmla="*/ 38100 h 4429225"/>
                  <a:gd name="connsiteX103" fmla="*/ 2392702 w 4519987"/>
                  <a:gd name="connsiteY103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440077 w 4519987"/>
                  <a:gd name="connsiteY52" fmla="*/ 3495675 h 4429225"/>
                  <a:gd name="connsiteX53" fmla="*/ 278152 w 4519987"/>
                  <a:gd name="connsiteY53" fmla="*/ 3257550 h 4429225"/>
                  <a:gd name="connsiteX54" fmla="*/ 249577 w 4519987"/>
                  <a:gd name="connsiteY54" fmla="*/ 3200400 h 4429225"/>
                  <a:gd name="connsiteX55" fmla="*/ 240052 w 4519987"/>
                  <a:gd name="connsiteY55" fmla="*/ 3162300 h 4429225"/>
                  <a:gd name="connsiteX56" fmla="*/ 221002 w 4519987"/>
                  <a:gd name="connsiteY56" fmla="*/ 3105150 h 4429225"/>
                  <a:gd name="connsiteX57" fmla="*/ 173377 w 4519987"/>
                  <a:gd name="connsiteY57" fmla="*/ 3019425 h 4429225"/>
                  <a:gd name="connsiteX58" fmla="*/ 144802 w 4519987"/>
                  <a:gd name="connsiteY58" fmla="*/ 2924175 h 4429225"/>
                  <a:gd name="connsiteX59" fmla="*/ 68602 w 4519987"/>
                  <a:gd name="connsiteY59" fmla="*/ 2724150 h 4429225"/>
                  <a:gd name="connsiteX60" fmla="*/ 49552 w 4519987"/>
                  <a:gd name="connsiteY60" fmla="*/ 2638425 h 4429225"/>
                  <a:gd name="connsiteX61" fmla="*/ 40027 w 4519987"/>
                  <a:gd name="connsiteY61" fmla="*/ 2562225 h 4429225"/>
                  <a:gd name="connsiteX62" fmla="*/ 30502 w 4519987"/>
                  <a:gd name="connsiteY62" fmla="*/ 2514600 h 4429225"/>
                  <a:gd name="connsiteX63" fmla="*/ 11452 w 4519987"/>
                  <a:gd name="connsiteY63" fmla="*/ 2400300 h 4429225"/>
                  <a:gd name="connsiteX64" fmla="*/ 20977 w 4519987"/>
                  <a:gd name="connsiteY64" fmla="*/ 1905000 h 4429225"/>
                  <a:gd name="connsiteX65" fmla="*/ 30502 w 4519987"/>
                  <a:gd name="connsiteY65" fmla="*/ 1838325 h 4429225"/>
                  <a:gd name="connsiteX66" fmla="*/ 49552 w 4519987"/>
                  <a:gd name="connsiteY66" fmla="*/ 1781175 h 4429225"/>
                  <a:gd name="connsiteX67" fmla="*/ 59077 w 4519987"/>
                  <a:gd name="connsiteY67" fmla="*/ 1743075 h 4429225"/>
                  <a:gd name="connsiteX68" fmla="*/ 78127 w 4519987"/>
                  <a:gd name="connsiteY68" fmla="*/ 1685925 h 4429225"/>
                  <a:gd name="connsiteX69" fmla="*/ 87652 w 4519987"/>
                  <a:gd name="connsiteY69" fmla="*/ 1638300 h 4429225"/>
                  <a:gd name="connsiteX70" fmla="*/ 106702 w 4519987"/>
                  <a:gd name="connsiteY70" fmla="*/ 1590675 h 4429225"/>
                  <a:gd name="connsiteX71" fmla="*/ 135277 w 4519987"/>
                  <a:gd name="connsiteY71" fmla="*/ 1504950 h 4429225"/>
                  <a:gd name="connsiteX72" fmla="*/ 154327 w 4519987"/>
                  <a:gd name="connsiteY72" fmla="*/ 1419225 h 4429225"/>
                  <a:gd name="connsiteX73" fmla="*/ 230527 w 4519987"/>
                  <a:gd name="connsiteY73" fmla="*/ 1276350 h 4429225"/>
                  <a:gd name="connsiteX74" fmla="*/ 240052 w 4519987"/>
                  <a:gd name="connsiteY74" fmla="*/ 1247775 h 4429225"/>
                  <a:gd name="connsiteX75" fmla="*/ 268627 w 4519987"/>
                  <a:gd name="connsiteY75" fmla="*/ 1200150 h 4429225"/>
                  <a:gd name="connsiteX76" fmla="*/ 287677 w 4519987"/>
                  <a:gd name="connsiteY76" fmla="*/ 1152525 h 4429225"/>
                  <a:gd name="connsiteX77" fmla="*/ 316252 w 4519987"/>
                  <a:gd name="connsiteY77" fmla="*/ 1114425 h 4429225"/>
                  <a:gd name="connsiteX78" fmla="*/ 363877 w 4519987"/>
                  <a:gd name="connsiteY78" fmla="*/ 1038225 h 4429225"/>
                  <a:gd name="connsiteX79" fmla="*/ 382927 w 4519987"/>
                  <a:gd name="connsiteY79" fmla="*/ 1009650 h 4429225"/>
                  <a:gd name="connsiteX80" fmla="*/ 440077 w 4519987"/>
                  <a:gd name="connsiteY80" fmla="*/ 904875 h 4429225"/>
                  <a:gd name="connsiteX81" fmla="*/ 478177 w 4519987"/>
                  <a:gd name="connsiteY81" fmla="*/ 857250 h 4429225"/>
                  <a:gd name="connsiteX82" fmla="*/ 497227 w 4519987"/>
                  <a:gd name="connsiteY82" fmla="*/ 828675 h 4429225"/>
                  <a:gd name="connsiteX83" fmla="*/ 535327 w 4519987"/>
                  <a:gd name="connsiteY83" fmla="*/ 800100 h 4429225"/>
                  <a:gd name="connsiteX84" fmla="*/ 602002 w 4519987"/>
                  <a:gd name="connsiteY84" fmla="*/ 733425 h 4429225"/>
                  <a:gd name="connsiteX85" fmla="*/ 668677 w 4519987"/>
                  <a:gd name="connsiteY85" fmla="*/ 676275 h 4429225"/>
                  <a:gd name="connsiteX86" fmla="*/ 697252 w 4519987"/>
                  <a:gd name="connsiteY86" fmla="*/ 657225 h 4429225"/>
                  <a:gd name="connsiteX87" fmla="*/ 840127 w 4519987"/>
                  <a:gd name="connsiteY87" fmla="*/ 533400 h 4429225"/>
                  <a:gd name="connsiteX88" fmla="*/ 887752 w 4519987"/>
                  <a:gd name="connsiteY88" fmla="*/ 504825 h 4429225"/>
                  <a:gd name="connsiteX89" fmla="*/ 1167152 w 4519987"/>
                  <a:gd name="connsiteY89" fmla="*/ 311150 h 4429225"/>
                  <a:gd name="connsiteX90" fmla="*/ 1268752 w 4519987"/>
                  <a:gd name="connsiteY90" fmla="*/ 285750 h 4429225"/>
                  <a:gd name="connsiteX91" fmla="*/ 1411627 w 4519987"/>
                  <a:gd name="connsiteY91" fmla="*/ 190500 h 4429225"/>
                  <a:gd name="connsiteX92" fmla="*/ 1449727 w 4519987"/>
                  <a:gd name="connsiteY92" fmla="*/ 161925 h 4429225"/>
                  <a:gd name="connsiteX93" fmla="*/ 1525927 w 4519987"/>
                  <a:gd name="connsiteY93" fmla="*/ 152400 h 4429225"/>
                  <a:gd name="connsiteX94" fmla="*/ 1583077 w 4519987"/>
                  <a:gd name="connsiteY94" fmla="*/ 142875 h 4429225"/>
                  <a:gd name="connsiteX95" fmla="*/ 1716427 w 4519987"/>
                  <a:gd name="connsiteY95" fmla="*/ 123825 h 4429225"/>
                  <a:gd name="connsiteX96" fmla="*/ 1811677 w 4519987"/>
                  <a:gd name="connsiteY96" fmla="*/ 114300 h 4429225"/>
                  <a:gd name="connsiteX97" fmla="*/ 1859302 w 4519987"/>
                  <a:gd name="connsiteY97" fmla="*/ 104775 h 4429225"/>
                  <a:gd name="connsiteX98" fmla="*/ 1916452 w 4519987"/>
                  <a:gd name="connsiteY98" fmla="*/ 95250 h 4429225"/>
                  <a:gd name="connsiteX99" fmla="*/ 2030752 w 4519987"/>
                  <a:gd name="connsiteY99" fmla="*/ 66675 h 4429225"/>
                  <a:gd name="connsiteX100" fmla="*/ 2097427 w 4519987"/>
                  <a:gd name="connsiteY100" fmla="*/ 47625 h 4429225"/>
                  <a:gd name="connsiteX101" fmla="*/ 2164102 w 4519987"/>
                  <a:gd name="connsiteY101" fmla="*/ 38100 h 4429225"/>
                  <a:gd name="connsiteX102" fmla="*/ 2392702 w 4519987"/>
                  <a:gd name="connsiteY102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49577 w 4519987"/>
                  <a:gd name="connsiteY53" fmla="*/ 3200400 h 4429225"/>
                  <a:gd name="connsiteX54" fmla="*/ 240052 w 4519987"/>
                  <a:gd name="connsiteY54" fmla="*/ 3162300 h 4429225"/>
                  <a:gd name="connsiteX55" fmla="*/ 221002 w 4519987"/>
                  <a:gd name="connsiteY55" fmla="*/ 3105150 h 4429225"/>
                  <a:gd name="connsiteX56" fmla="*/ 173377 w 4519987"/>
                  <a:gd name="connsiteY56" fmla="*/ 3019425 h 4429225"/>
                  <a:gd name="connsiteX57" fmla="*/ 144802 w 4519987"/>
                  <a:gd name="connsiteY57" fmla="*/ 2924175 h 4429225"/>
                  <a:gd name="connsiteX58" fmla="*/ 68602 w 4519987"/>
                  <a:gd name="connsiteY58" fmla="*/ 2724150 h 4429225"/>
                  <a:gd name="connsiteX59" fmla="*/ 49552 w 4519987"/>
                  <a:gd name="connsiteY59" fmla="*/ 2638425 h 4429225"/>
                  <a:gd name="connsiteX60" fmla="*/ 40027 w 4519987"/>
                  <a:gd name="connsiteY60" fmla="*/ 2562225 h 4429225"/>
                  <a:gd name="connsiteX61" fmla="*/ 30502 w 4519987"/>
                  <a:gd name="connsiteY61" fmla="*/ 2514600 h 4429225"/>
                  <a:gd name="connsiteX62" fmla="*/ 11452 w 4519987"/>
                  <a:gd name="connsiteY62" fmla="*/ 2400300 h 4429225"/>
                  <a:gd name="connsiteX63" fmla="*/ 20977 w 4519987"/>
                  <a:gd name="connsiteY63" fmla="*/ 1905000 h 4429225"/>
                  <a:gd name="connsiteX64" fmla="*/ 30502 w 4519987"/>
                  <a:gd name="connsiteY64" fmla="*/ 1838325 h 4429225"/>
                  <a:gd name="connsiteX65" fmla="*/ 49552 w 4519987"/>
                  <a:gd name="connsiteY65" fmla="*/ 1781175 h 4429225"/>
                  <a:gd name="connsiteX66" fmla="*/ 59077 w 4519987"/>
                  <a:gd name="connsiteY66" fmla="*/ 1743075 h 4429225"/>
                  <a:gd name="connsiteX67" fmla="*/ 78127 w 4519987"/>
                  <a:gd name="connsiteY67" fmla="*/ 1685925 h 4429225"/>
                  <a:gd name="connsiteX68" fmla="*/ 87652 w 4519987"/>
                  <a:gd name="connsiteY68" fmla="*/ 1638300 h 4429225"/>
                  <a:gd name="connsiteX69" fmla="*/ 106702 w 4519987"/>
                  <a:gd name="connsiteY69" fmla="*/ 1590675 h 4429225"/>
                  <a:gd name="connsiteX70" fmla="*/ 135277 w 4519987"/>
                  <a:gd name="connsiteY70" fmla="*/ 1504950 h 4429225"/>
                  <a:gd name="connsiteX71" fmla="*/ 154327 w 4519987"/>
                  <a:gd name="connsiteY71" fmla="*/ 1419225 h 4429225"/>
                  <a:gd name="connsiteX72" fmla="*/ 230527 w 4519987"/>
                  <a:gd name="connsiteY72" fmla="*/ 1276350 h 4429225"/>
                  <a:gd name="connsiteX73" fmla="*/ 240052 w 4519987"/>
                  <a:gd name="connsiteY73" fmla="*/ 1247775 h 4429225"/>
                  <a:gd name="connsiteX74" fmla="*/ 268627 w 4519987"/>
                  <a:gd name="connsiteY74" fmla="*/ 1200150 h 4429225"/>
                  <a:gd name="connsiteX75" fmla="*/ 287677 w 4519987"/>
                  <a:gd name="connsiteY75" fmla="*/ 1152525 h 4429225"/>
                  <a:gd name="connsiteX76" fmla="*/ 316252 w 4519987"/>
                  <a:gd name="connsiteY76" fmla="*/ 1114425 h 4429225"/>
                  <a:gd name="connsiteX77" fmla="*/ 363877 w 4519987"/>
                  <a:gd name="connsiteY77" fmla="*/ 1038225 h 4429225"/>
                  <a:gd name="connsiteX78" fmla="*/ 382927 w 4519987"/>
                  <a:gd name="connsiteY78" fmla="*/ 1009650 h 4429225"/>
                  <a:gd name="connsiteX79" fmla="*/ 440077 w 4519987"/>
                  <a:gd name="connsiteY79" fmla="*/ 904875 h 4429225"/>
                  <a:gd name="connsiteX80" fmla="*/ 478177 w 4519987"/>
                  <a:gd name="connsiteY80" fmla="*/ 857250 h 4429225"/>
                  <a:gd name="connsiteX81" fmla="*/ 497227 w 4519987"/>
                  <a:gd name="connsiteY81" fmla="*/ 828675 h 4429225"/>
                  <a:gd name="connsiteX82" fmla="*/ 535327 w 4519987"/>
                  <a:gd name="connsiteY82" fmla="*/ 800100 h 4429225"/>
                  <a:gd name="connsiteX83" fmla="*/ 602002 w 4519987"/>
                  <a:gd name="connsiteY83" fmla="*/ 733425 h 4429225"/>
                  <a:gd name="connsiteX84" fmla="*/ 668677 w 4519987"/>
                  <a:gd name="connsiteY84" fmla="*/ 676275 h 4429225"/>
                  <a:gd name="connsiteX85" fmla="*/ 697252 w 4519987"/>
                  <a:gd name="connsiteY85" fmla="*/ 657225 h 4429225"/>
                  <a:gd name="connsiteX86" fmla="*/ 840127 w 4519987"/>
                  <a:gd name="connsiteY86" fmla="*/ 533400 h 4429225"/>
                  <a:gd name="connsiteX87" fmla="*/ 887752 w 4519987"/>
                  <a:gd name="connsiteY87" fmla="*/ 504825 h 4429225"/>
                  <a:gd name="connsiteX88" fmla="*/ 1167152 w 4519987"/>
                  <a:gd name="connsiteY88" fmla="*/ 311150 h 4429225"/>
                  <a:gd name="connsiteX89" fmla="*/ 1268752 w 4519987"/>
                  <a:gd name="connsiteY89" fmla="*/ 285750 h 4429225"/>
                  <a:gd name="connsiteX90" fmla="*/ 1411627 w 4519987"/>
                  <a:gd name="connsiteY90" fmla="*/ 190500 h 4429225"/>
                  <a:gd name="connsiteX91" fmla="*/ 1449727 w 4519987"/>
                  <a:gd name="connsiteY91" fmla="*/ 161925 h 4429225"/>
                  <a:gd name="connsiteX92" fmla="*/ 1525927 w 4519987"/>
                  <a:gd name="connsiteY92" fmla="*/ 152400 h 4429225"/>
                  <a:gd name="connsiteX93" fmla="*/ 1583077 w 4519987"/>
                  <a:gd name="connsiteY93" fmla="*/ 142875 h 4429225"/>
                  <a:gd name="connsiteX94" fmla="*/ 1716427 w 4519987"/>
                  <a:gd name="connsiteY94" fmla="*/ 123825 h 4429225"/>
                  <a:gd name="connsiteX95" fmla="*/ 1811677 w 4519987"/>
                  <a:gd name="connsiteY95" fmla="*/ 114300 h 4429225"/>
                  <a:gd name="connsiteX96" fmla="*/ 1859302 w 4519987"/>
                  <a:gd name="connsiteY96" fmla="*/ 104775 h 4429225"/>
                  <a:gd name="connsiteX97" fmla="*/ 1916452 w 4519987"/>
                  <a:gd name="connsiteY97" fmla="*/ 95250 h 4429225"/>
                  <a:gd name="connsiteX98" fmla="*/ 2030752 w 4519987"/>
                  <a:gd name="connsiteY98" fmla="*/ 66675 h 4429225"/>
                  <a:gd name="connsiteX99" fmla="*/ 2097427 w 4519987"/>
                  <a:gd name="connsiteY99" fmla="*/ 47625 h 4429225"/>
                  <a:gd name="connsiteX100" fmla="*/ 2164102 w 4519987"/>
                  <a:gd name="connsiteY100" fmla="*/ 38100 h 4429225"/>
                  <a:gd name="connsiteX101" fmla="*/ 2392702 w 4519987"/>
                  <a:gd name="connsiteY101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49577 w 4519987"/>
                  <a:gd name="connsiteY53" fmla="*/ 3200400 h 4429225"/>
                  <a:gd name="connsiteX54" fmla="*/ 221002 w 4519987"/>
                  <a:gd name="connsiteY54" fmla="*/ 3105150 h 4429225"/>
                  <a:gd name="connsiteX55" fmla="*/ 173377 w 4519987"/>
                  <a:gd name="connsiteY55" fmla="*/ 3019425 h 4429225"/>
                  <a:gd name="connsiteX56" fmla="*/ 144802 w 4519987"/>
                  <a:gd name="connsiteY56" fmla="*/ 2924175 h 4429225"/>
                  <a:gd name="connsiteX57" fmla="*/ 68602 w 4519987"/>
                  <a:gd name="connsiteY57" fmla="*/ 2724150 h 4429225"/>
                  <a:gd name="connsiteX58" fmla="*/ 49552 w 4519987"/>
                  <a:gd name="connsiteY58" fmla="*/ 2638425 h 4429225"/>
                  <a:gd name="connsiteX59" fmla="*/ 40027 w 4519987"/>
                  <a:gd name="connsiteY59" fmla="*/ 2562225 h 4429225"/>
                  <a:gd name="connsiteX60" fmla="*/ 30502 w 4519987"/>
                  <a:gd name="connsiteY60" fmla="*/ 2514600 h 4429225"/>
                  <a:gd name="connsiteX61" fmla="*/ 11452 w 4519987"/>
                  <a:gd name="connsiteY61" fmla="*/ 2400300 h 4429225"/>
                  <a:gd name="connsiteX62" fmla="*/ 20977 w 4519987"/>
                  <a:gd name="connsiteY62" fmla="*/ 1905000 h 4429225"/>
                  <a:gd name="connsiteX63" fmla="*/ 30502 w 4519987"/>
                  <a:gd name="connsiteY63" fmla="*/ 1838325 h 4429225"/>
                  <a:gd name="connsiteX64" fmla="*/ 49552 w 4519987"/>
                  <a:gd name="connsiteY64" fmla="*/ 1781175 h 4429225"/>
                  <a:gd name="connsiteX65" fmla="*/ 59077 w 4519987"/>
                  <a:gd name="connsiteY65" fmla="*/ 1743075 h 4429225"/>
                  <a:gd name="connsiteX66" fmla="*/ 78127 w 4519987"/>
                  <a:gd name="connsiteY66" fmla="*/ 1685925 h 4429225"/>
                  <a:gd name="connsiteX67" fmla="*/ 87652 w 4519987"/>
                  <a:gd name="connsiteY67" fmla="*/ 1638300 h 4429225"/>
                  <a:gd name="connsiteX68" fmla="*/ 106702 w 4519987"/>
                  <a:gd name="connsiteY68" fmla="*/ 1590675 h 4429225"/>
                  <a:gd name="connsiteX69" fmla="*/ 135277 w 4519987"/>
                  <a:gd name="connsiteY69" fmla="*/ 1504950 h 4429225"/>
                  <a:gd name="connsiteX70" fmla="*/ 154327 w 4519987"/>
                  <a:gd name="connsiteY70" fmla="*/ 1419225 h 4429225"/>
                  <a:gd name="connsiteX71" fmla="*/ 230527 w 4519987"/>
                  <a:gd name="connsiteY71" fmla="*/ 1276350 h 4429225"/>
                  <a:gd name="connsiteX72" fmla="*/ 240052 w 4519987"/>
                  <a:gd name="connsiteY72" fmla="*/ 1247775 h 4429225"/>
                  <a:gd name="connsiteX73" fmla="*/ 268627 w 4519987"/>
                  <a:gd name="connsiteY73" fmla="*/ 1200150 h 4429225"/>
                  <a:gd name="connsiteX74" fmla="*/ 287677 w 4519987"/>
                  <a:gd name="connsiteY74" fmla="*/ 1152525 h 4429225"/>
                  <a:gd name="connsiteX75" fmla="*/ 316252 w 4519987"/>
                  <a:gd name="connsiteY75" fmla="*/ 1114425 h 4429225"/>
                  <a:gd name="connsiteX76" fmla="*/ 363877 w 4519987"/>
                  <a:gd name="connsiteY76" fmla="*/ 1038225 h 4429225"/>
                  <a:gd name="connsiteX77" fmla="*/ 382927 w 4519987"/>
                  <a:gd name="connsiteY77" fmla="*/ 1009650 h 4429225"/>
                  <a:gd name="connsiteX78" fmla="*/ 440077 w 4519987"/>
                  <a:gd name="connsiteY78" fmla="*/ 904875 h 4429225"/>
                  <a:gd name="connsiteX79" fmla="*/ 478177 w 4519987"/>
                  <a:gd name="connsiteY79" fmla="*/ 857250 h 4429225"/>
                  <a:gd name="connsiteX80" fmla="*/ 497227 w 4519987"/>
                  <a:gd name="connsiteY80" fmla="*/ 828675 h 4429225"/>
                  <a:gd name="connsiteX81" fmla="*/ 535327 w 4519987"/>
                  <a:gd name="connsiteY81" fmla="*/ 800100 h 4429225"/>
                  <a:gd name="connsiteX82" fmla="*/ 602002 w 4519987"/>
                  <a:gd name="connsiteY82" fmla="*/ 733425 h 4429225"/>
                  <a:gd name="connsiteX83" fmla="*/ 668677 w 4519987"/>
                  <a:gd name="connsiteY83" fmla="*/ 676275 h 4429225"/>
                  <a:gd name="connsiteX84" fmla="*/ 697252 w 4519987"/>
                  <a:gd name="connsiteY84" fmla="*/ 657225 h 4429225"/>
                  <a:gd name="connsiteX85" fmla="*/ 840127 w 4519987"/>
                  <a:gd name="connsiteY85" fmla="*/ 533400 h 4429225"/>
                  <a:gd name="connsiteX86" fmla="*/ 887752 w 4519987"/>
                  <a:gd name="connsiteY86" fmla="*/ 504825 h 4429225"/>
                  <a:gd name="connsiteX87" fmla="*/ 1167152 w 4519987"/>
                  <a:gd name="connsiteY87" fmla="*/ 311150 h 4429225"/>
                  <a:gd name="connsiteX88" fmla="*/ 1268752 w 4519987"/>
                  <a:gd name="connsiteY88" fmla="*/ 285750 h 4429225"/>
                  <a:gd name="connsiteX89" fmla="*/ 1411627 w 4519987"/>
                  <a:gd name="connsiteY89" fmla="*/ 190500 h 4429225"/>
                  <a:gd name="connsiteX90" fmla="*/ 1449727 w 4519987"/>
                  <a:gd name="connsiteY90" fmla="*/ 161925 h 4429225"/>
                  <a:gd name="connsiteX91" fmla="*/ 1525927 w 4519987"/>
                  <a:gd name="connsiteY91" fmla="*/ 152400 h 4429225"/>
                  <a:gd name="connsiteX92" fmla="*/ 1583077 w 4519987"/>
                  <a:gd name="connsiteY92" fmla="*/ 142875 h 4429225"/>
                  <a:gd name="connsiteX93" fmla="*/ 1716427 w 4519987"/>
                  <a:gd name="connsiteY93" fmla="*/ 123825 h 4429225"/>
                  <a:gd name="connsiteX94" fmla="*/ 1811677 w 4519987"/>
                  <a:gd name="connsiteY94" fmla="*/ 114300 h 4429225"/>
                  <a:gd name="connsiteX95" fmla="*/ 1859302 w 4519987"/>
                  <a:gd name="connsiteY95" fmla="*/ 104775 h 4429225"/>
                  <a:gd name="connsiteX96" fmla="*/ 1916452 w 4519987"/>
                  <a:gd name="connsiteY96" fmla="*/ 95250 h 4429225"/>
                  <a:gd name="connsiteX97" fmla="*/ 2030752 w 4519987"/>
                  <a:gd name="connsiteY97" fmla="*/ 66675 h 4429225"/>
                  <a:gd name="connsiteX98" fmla="*/ 2097427 w 4519987"/>
                  <a:gd name="connsiteY98" fmla="*/ 47625 h 4429225"/>
                  <a:gd name="connsiteX99" fmla="*/ 2164102 w 4519987"/>
                  <a:gd name="connsiteY99" fmla="*/ 38100 h 4429225"/>
                  <a:gd name="connsiteX100" fmla="*/ 2392702 w 4519987"/>
                  <a:gd name="connsiteY100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73377 w 4519987"/>
                  <a:gd name="connsiteY54" fmla="*/ 3019425 h 4429225"/>
                  <a:gd name="connsiteX55" fmla="*/ 144802 w 4519987"/>
                  <a:gd name="connsiteY55" fmla="*/ 2924175 h 4429225"/>
                  <a:gd name="connsiteX56" fmla="*/ 68602 w 4519987"/>
                  <a:gd name="connsiteY56" fmla="*/ 2724150 h 4429225"/>
                  <a:gd name="connsiteX57" fmla="*/ 49552 w 4519987"/>
                  <a:gd name="connsiteY57" fmla="*/ 2638425 h 4429225"/>
                  <a:gd name="connsiteX58" fmla="*/ 40027 w 4519987"/>
                  <a:gd name="connsiteY58" fmla="*/ 2562225 h 4429225"/>
                  <a:gd name="connsiteX59" fmla="*/ 30502 w 4519987"/>
                  <a:gd name="connsiteY59" fmla="*/ 2514600 h 4429225"/>
                  <a:gd name="connsiteX60" fmla="*/ 11452 w 4519987"/>
                  <a:gd name="connsiteY60" fmla="*/ 2400300 h 4429225"/>
                  <a:gd name="connsiteX61" fmla="*/ 20977 w 4519987"/>
                  <a:gd name="connsiteY61" fmla="*/ 1905000 h 4429225"/>
                  <a:gd name="connsiteX62" fmla="*/ 30502 w 4519987"/>
                  <a:gd name="connsiteY62" fmla="*/ 1838325 h 4429225"/>
                  <a:gd name="connsiteX63" fmla="*/ 49552 w 4519987"/>
                  <a:gd name="connsiteY63" fmla="*/ 1781175 h 4429225"/>
                  <a:gd name="connsiteX64" fmla="*/ 59077 w 4519987"/>
                  <a:gd name="connsiteY64" fmla="*/ 1743075 h 4429225"/>
                  <a:gd name="connsiteX65" fmla="*/ 78127 w 4519987"/>
                  <a:gd name="connsiteY65" fmla="*/ 1685925 h 4429225"/>
                  <a:gd name="connsiteX66" fmla="*/ 87652 w 4519987"/>
                  <a:gd name="connsiteY66" fmla="*/ 1638300 h 4429225"/>
                  <a:gd name="connsiteX67" fmla="*/ 106702 w 4519987"/>
                  <a:gd name="connsiteY67" fmla="*/ 1590675 h 4429225"/>
                  <a:gd name="connsiteX68" fmla="*/ 135277 w 4519987"/>
                  <a:gd name="connsiteY68" fmla="*/ 1504950 h 4429225"/>
                  <a:gd name="connsiteX69" fmla="*/ 154327 w 4519987"/>
                  <a:gd name="connsiteY69" fmla="*/ 1419225 h 4429225"/>
                  <a:gd name="connsiteX70" fmla="*/ 230527 w 4519987"/>
                  <a:gd name="connsiteY70" fmla="*/ 1276350 h 4429225"/>
                  <a:gd name="connsiteX71" fmla="*/ 240052 w 4519987"/>
                  <a:gd name="connsiteY71" fmla="*/ 1247775 h 4429225"/>
                  <a:gd name="connsiteX72" fmla="*/ 268627 w 4519987"/>
                  <a:gd name="connsiteY72" fmla="*/ 1200150 h 4429225"/>
                  <a:gd name="connsiteX73" fmla="*/ 287677 w 4519987"/>
                  <a:gd name="connsiteY73" fmla="*/ 1152525 h 4429225"/>
                  <a:gd name="connsiteX74" fmla="*/ 316252 w 4519987"/>
                  <a:gd name="connsiteY74" fmla="*/ 1114425 h 4429225"/>
                  <a:gd name="connsiteX75" fmla="*/ 363877 w 4519987"/>
                  <a:gd name="connsiteY75" fmla="*/ 1038225 h 4429225"/>
                  <a:gd name="connsiteX76" fmla="*/ 382927 w 4519987"/>
                  <a:gd name="connsiteY76" fmla="*/ 1009650 h 4429225"/>
                  <a:gd name="connsiteX77" fmla="*/ 440077 w 4519987"/>
                  <a:gd name="connsiteY77" fmla="*/ 904875 h 4429225"/>
                  <a:gd name="connsiteX78" fmla="*/ 478177 w 4519987"/>
                  <a:gd name="connsiteY78" fmla="*/ 857250 h 4429225"/>
                  <a:gd name="connsiteX79" fmla="*/ 497227 w 4519987"/>
                  <a:gd name="connsiteY79" fmla="*/ 828675 h 4429225"/>
                  <a:gd name="connsiteX80" fmla="*/ 535327 w 4519987"/>
                  <a:gd name="connsiteY80" fmla="*/ 800100 h 4429225"/>
                  <a:gd name="connsiteX81" fmla="*/ 602002 w 4519987"/>
                  <a:gd name="connsiteY81" fmla="*/ 733425 h 4429225"/>
                  <a:gd name="connsiteX82" fmla="*/ 668677 w 4519987"/>
                  <a:gd name="connsiteY82" fmla="*/ 676275 h 4429225"/>
                  <a:gd name="connsiteX83" fmla="*/ 697252 w 4519987"/>
                  <a:gd name="connsiteY83" fmla="*/ 657225 h 4429225"/>
                  <a:gd name="connsiteX84" fmla="*/ 840127 w 4519987"/>
                  <a:gd name="connsiteY84" fmla="*/ 533400 h 4429225"/>
                  <a:gd name="connsiteX85" fmla="*/ 887752 w 4519987"/>
                  <a:gd name="connsiteY85" fmla="*/ 504825 h 4429225"/>
                  <a:gd name="connsiteX86" fmla="*/ 1167152 w 4519987"/>
                  <a:gd name="connsiteY86" fmla="*/ 311150 h 4429225"/>
                  <a:gd name="connsiteX87" fmla="*/ 1268752 w 4519987"/>
                  <a:gd name="connsiteY87" fmla="*/ 285750 h 4429225"/>
                  <a:gd name="connsiteX88" fmla="*/ 1411627 w 4519987"/>
                  <a:gd name="connsiteY88" fmla="*/ 190500 h 4429225"/>
                  <a:gd name="connsiteX89" fmla="*/ 1449727 w 4519987"/>
                  <a:gd name="connsiteY89" fmla="*/ 161925 h 4429225"/>
                  <a:gd name="connsiteX90" fmla="*/ 1525927 w 4519987"/>
                  <a:gd name="connsiteY90" fmla="*/ 152400 h 4429225"/>
                  <a:gd name="connsiteX91" fmla="*/ 1583077 w 4519987"/>
                  <a:gd name="connsiteY91" fmla="*/ 142875 h 4429225"/>
                  <a:gd name="connsiteX92" fmla="*/ 1716427 w 4519987"/>
                  <a:gd name="connsiteY92" fmla="*/ 123825 h 4429225"/>
                  <a:gd name="connsiteX93" fmla="*/ 1811677 w 4519987"/>
                  <a:gd name="connsiteY93" fmla="*/ 114300 h 4429225"/>
                  <a:gd name="connsiteX94" fmla="*/ 1859302 w 4519987"/>
                  <a:gd name="connsiteY94" fmla="*/ 104775 h 4429225"/>
                  <a:gd name="connsiteX95" fmla="*/ 1916452 w 4519987"/>
                  <a:gd name="connsiteY95" fmla="*/ 95250 h 4429225"/>
                  <a:gd name="connsiteX96" fmla="*/ 2030752 w 4519987"/>
                  <a:gd name="connsiteY96" fmla="*/ 66675 h 4429225"/>
                  <a:gd name="connsiteX97" fmla="*/ 2097427 w 4519987"/>
                  <a:gd name="connsiteY97" fmla="*/ 47625 h 4429225"/>
                  <a:gd name="connsiteX98" fmla="*/ 2164102 w 4519987"/>
                  <a:gd name="connsiteY98" fmla="*/ 38100 h 4429225"/>
                  <a:gd name="connsiteX99" fmla="*/ 2392702 w 4519987"/>
                  <a:gd name="connsiteY99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49552 w 4519987"/>
                  <a:gd name="connsiteY56" fmla="*/ 2638425 h 4429225"/>
                  <a:gd name="connsiteX57" fmla="*/ 40027 w 4519987"/>
                  <a:gd name="connsiteY57" fmla="*/ 2562225 h 4429225"/>
                  <a:gd name="connsiteX58" fmla="*/ 30502 w 4519987"/>
                  <a:gd name="connsiteY58" fmla="*/ 2514600 h 4429225"/>
                  <a:gd name="connsiteX59" fmla="*/ 11452 w 4519987"/>
                  <a:gd name="connsiteY59" fmla="*/ 2400300 h 4429225"/>
                  <a:gd name="connsiteX60" fmla="*/ 20977 w 4519987"/>
                  <a:gd name="connsiteY60" fmla="*/ 1905000 h 4429225"/>
                  <a:gd name="connsiteX61" fmla="*/ 30502 w 4519987"/>
                  <a:gd name="connsiteY61" fmla="*/ 1838325 h 4429225"/>
                  <a:gd name="connsiteX62" fmla="*/ 49552 w 4519987"/>
                  <a:gd name="connsiteY62" fmla="*/ 1781175 h 4429225"/>
                  <a:gd name="connsiteX63" fmla="*/ 59077 w 4519987"/>
                  <a:gd name="connsiteY63" fmla="*/ 1743075 h 4429225"/>
                  <a:gd name="connsiteX64" fmla="*/ 78127 w 4519987"/>
                  <a:gd name="connsiteY64" fmla="*/ 1685925 h 4429225"/>
                  <a:gd name="connsiteX65" fmla="*/ 87652 w 4519987"/>
                  <a:gd name="connsiteY65" fmla="*/ 1638300 h 4429225"/>
                  <a:gd name="connsiteX66" fmla="*/ 106702 w 4519987"/>
                  <a:gd name="connsiteY66" fmla="*/ 1590675 h 4429225"/>
                  <a:gd name="connsiteX67" fmla="*/ 135277 w 4519987"/>
                  <a:gd name="connsiteY67" fmla="*/ 1504950 h 4429225"/>
                  <a:gd name="connsiteX68" fmla="*/ 154327 w 4519987"/>
                  <a:gd name="connsiteY68" fmla="*/ 1419225 h 4429225"/>
                  <a:gd name="connsiteX69" fmla="*/ 230527 w 4519987"/>
                  <a:gd name="connsiteY69" fmla="*/ 1276350 h 4429225"/>
                  <a:gd name="connsiteX70" fmla="*/ 240052 w 4519987"/>
                  <a:gd name="connsiteY70" fmla="*/ 1247775 h 4429225"/>
                  <a:gd name="connsiteX71" fmla="*/ 268627 w 4519987"/>
                  <a:gd name="connsiteY71" fmla="*/ 1200150 h 4429225"/>
                  <a:gd name="connsiteX72" fmla="*/ 287677 w 4519987"/>
                  <a:gd name="connsiteY72" fmla="*/ 1152525 h 4429225"/>
                  <a:gd name="connsiteX73" fmla="*/ 316252 w 4519987"/>
                  <a:gd name="connsiteY73" fmla="*/ 1114425 h 4429225"/>
                  <a:gd name="connsiteX74" fmla="*/ 363877 w 4519987"/>
                  <a:gd name="connsiteY74" fmla="*/ 1038225 h 4429225"/>
                  <a:gd name="connsiteX75" fmla="*/ 382927 w 4519987"/>
                  <a:gd name="connsiteY75" fmla="*/ 1009650 h 4429225"/>
                  <a:gd name="connsiteX76" fmla="*/ 440077 w 4519987"/>
                  <a:gd name="connsiteY76" fmla="*/ 904875 h 4429225"/>
                  <a:gd name="connsiteX77" fmla="*/ 478177 w 4519987"/>
                  <a:gd name="connsiteY77" fmla="*/ 857250 h 4429225"/>
                  <a:gd name="connsiteX78" fmla="*/ 497227 w 4519987"/>
                  <a:gd name="connsiteY78" fmla="*/ 828675 h 4429225"/>
                  <a:gd name="connsiteX79" fmla="*/ 535327 w 4519987"/>
                  <a:gd name="connsiteY79" fmla="*/ 800100 h 4429225"/>
                  <a:gd name="connsiteX80" fmla="*/ 602002 w 4519987"/>
                  <a:gd name="connsiteY80" fmla="*/ 733425 h 4429225"/>
                  <a:gd name="connsiteX81" fmla="*/ 668677 w 4519987"/>
                  <a:gd name="connsiteY81" fmla="*/ 676275 h 4429225"/>
                  <a:gd name="connsiteX82" fmla="*/ 697252 w 4519987"/>
                  <a:gd name="connsiteY82" fmla="*/ 657225 h 4429225"/>
                  <a:gd name="connsiteX83" fmla="*/ 840127 w 4519987"/>
                  <a:gd name="connsiteY83" fmla="*/ 533400 h 4429225"/>
                  <a:gd name="connsiteX84" fmla="*/ 887752 w 4519987"/>
                  <a:gd name="connsiteY84" fmla="*/ 504825 h 4429225"/>
                  <a:gd name="connsiteX85" fmla="*/ 1167152 w 4519987"/>
                  <a:gd name="connsiteY85" fmla="*/ 311150 h 4429225"/>
                  <a:gd name="connsiteX86" fmla="*/ 1268752 w 4519987"/>
                  <a:gd name="connsiteY86" fmla="*/ 285750 h 4429225"/>
                  <a:gd name="connsiteX87" fmla="*/ 1411627 w 4519987"/>
                  <a:gd name="connsiteY87" fmla="*/ 190500 h 4429225"/>
                  <a:gd name="connsiteX88" fmla="*/ 1449727 w 4519987"/>
                  <a:gd name="connsiteY88" fmla="*/ 161925 h 4429225"/>
                  <a:gd name="connsiteX89" fmla="*/ 1525927 w 4519987"/>
                  <a:gd name="connsiteY89" fmla="*/ 152400 h 4429225"/>
                  <a:gd name="connsiteX90" fmla="*/ 1583077 w 4519987"/>
                  <a:gd name="connsiteY90" fmla="*/ 142875 h 4429225"/>
                  <a:gd name="connsiteX91" fmla="*/ 1716427 w 4519987"/>
                  <a:gd name="connsiteY91" fmla="*/ 123825 h 4429225"/>
                  <a:gd name="connsiteX92" fmla="*/ 1811677 w 4519987"/>
                  <a:gd name="connsiteY92" fmla="*/ 114300 h 4429225"/>
                  <a:gd name="connsiteX93" fmla="*/ 1859302 w 4519987"/>
                  <a:gd name="connsiteY93" fmla="*/ 104775 h 4429225"/>
                  <a:gd name="connsiteX94" fmla="*/ 1916452 w 4519987"/>
                  <a:gd name="connsiteY94" fmla="*/ 95250 h 4429225"/>
                  <a:gd name="connsiteX95" fmla="*/ 2030752 w 4519987"/>
                  <a:gd name="connsiteY95" fmla="*/ 66675 h 4429225"/>
                  <a:gd name="connsiteX96" fmla="*/ 2097427 w 4519987"/>
                  <a:gd name="connsiteY96" fmla="*/ 47625 h 4429225"/>
                  <a:gd name="connsiteX97" fmla="*/ 2164102 w 4519987"/>
                  <a:gd name="connsiteY97" fmla="*/ 38100 h 4429225"/>
                  <a:gd name="connsiteX98" fmla="*/ 2392702 w 4519987"/>
                  <a:gd name="connsiteY98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40027 w 4519987"/>
                  <a:gd name="connsiteY56" fmla="*/ 2562225 h 4429225"/>
                  <a:gd name="connsiteX57" fmla="*/ 30502 w 4519987"/>
                  <a:gd name="connsiteY57" fmla="*/ 2514600 h 4429225"/>
                  <a:gd name="connsiteX58" fmla="*/ 11452 w 4519987"/>
                  <a:gd name="connsiteY58" fmla="*/ 2400300 h 4429225"/>
                  <a:gd name="connsiteX59" fmla="*/ 20977 w 4519987"/>
                  <a:gd name="connsiteY59" fmla="*/ 1905000 h 4429225"/>
                  <a:gd name="connsiteX60" fmla="*/ 30502 w 4519987"/>
                  <a:gd name="connsiteY60" fmla="*/ 1838325 h 4429225"/>
                  <a:gd name="connsiteX61" fmla="*/ 49552 w 4519987"/>
                  <a:gd name="connsiteY61" fmla="*/ 1781175 h 4429225"/>
                  <a:gd name="connsiteX62" fmla="*/ 59077 w 4519987"/>
                  <a:gd name="connsiteY62" fmla="*/ 1743075 h 4429225"/>
                  <a:gd name="connsiteX63" fmla="*/ 78127 w 4519987"/>
                  <a:gd name="connsiteY63" fmla="*/ 1685925 h 4429225"/>
                  <a:gd name="connsiteX64" fmla="*/ 87652 w 4519987"/>
                  <a:gd name="connsiteY64" fmla="*/ 1638300 h 4429225"/>
                  <a:gd name="connsiteX65" fmla="*/ 106702 w 4519987"/>
                  <a:gd name="connsiteY65" fmla="*/ 1590675 h 4429225"/>
                  <a:gd name="connsiteX66" fmla="*/ 135277 w 4519987"/>
                  <a:gd name="connsiteY66" fmla="*/ 1504950 h 4429225"/>
                  <a:gd name="connsiteX67" fmla="*/ 154327 w 4519987"/>
                  <a:gd name="connsiteY67" fmla="*/ 1419225 h 4429225"/>
                  <a:gd name="connsiteX68" fmla="*/ 230527 w 4519987"/>
                  <a:gd name="connsiteY68" fmla="*/ 1276350 h 4429225"/>
                  <a:gd name="connsiteX69" fmla="*/ 240052 w 4519987"/>
                  <a:gd name="connsiteY69" fmla="*/ 1247775 h 4429225"/>
                  <a:gd name="connsiteX70" fmla="*/ 268627 w 4519987"/>
                  <a:gd name="connsiteY70" fmla="*/ 1200150 h 4429225"/>
                  <a:gd name="connsiteX71" fmla="*/ 287677 w 4519987"/>
                  <a:gd name="connsiteY71" fmla="*/ 1152525 h 4429225"/>
                  <a:gd name="connsiteX72" fmla="*/ 316252 w 4519987"/>
                  <a:gd name="connsiteY72" fmla="*/ 1114425 h 4429225"/>
                  <a:gd name="connsiteX73" fmla="*/ 363877 w 4519987"/>
                  <a:gd name="connsiteY73" fmla="*/ 1038225 h 4429225"/>
                  <a:gd name="connsiteX74" fmla="*/ 382927 w 4519987"/>
                  <a:gd name="connsiteY74" fmla="*/ 1009650 h 4429225"/>
                  <a:gd name="connsiteX75" fmla="*/ 440077 w 4519987"/>
                  <a:gd name="connsiteY75" fmla="*/ 904875 h 4429225"/>
                  <a:gd name="connsiteX76" fmla="*/ 478177 w 4519987"/>
                  <a:gd name="connsiteY76" fmla="*/ 857250 h 4429225"/>
                  <a:gd name="connsiteX77" fmla="*/ 497227 w 4519987"/>
                  <a:gd name="connsiteY77" fmla="*/ 828675 h 4429225"/>
                  <a:gd name="connsiteX78" fmla="*/ 535327 w 4519987"/>
                  <a:gd name="connsiteY78" fmla="*/ 800100 h 4429225"/>
                  <a:gd name="connsiteX79" fmla="*/ 602002 w 4519987"/>
                  <a:gd name="connsiteY79" fmla="*/ 733425 h 4429225"/>
                  <a:gd name="connsiteX80" fmla="*/ 668677 w 4519987"/>
                  <a:gd name="connsiteY80" fmla="*/ 676275 h 4429225"/>
                  <a:gd name="connsiteX81" fmla="*/ 697252 w 4519987"/>
                  <a:gd name="connsiteY81" fmla="*/ 657225 h 4429225"/>
                  <a:gd name="connsiteX82" fmla="*/ 840127 w 4519987"/>
                  <a:gd name="connsiteY82" fmla="*/ 533400 h 4429225"/>
                  <a:gd name="connsiteX83" fmla="*/ 887752 w 4519987"/>
                  <a:gd name="connsiteY83" fmla="*/ 504825 h 4429225"/>
                  <a:gd name="connsiteX84" fmla="*/ 1167152 w 4519987"/>
                  <a:gd name="connsiteY84" fmla="*/ 311150 h 4429225"/>
                  <a:gd name="connsiteX85" fmla="*/ 1268752 w 4519987"/>
                  <a:gd name="connsiteY85" fmla="*/ 285750 h 4429225"/>
                  <a:gd name="connsiteX86" fmla="*/ 1411627 w 4519987"/>
                  <a:gd name="connsiteY86" fmla="*/ 190500 h 4429225"/>
                  <a:gd name="connsiteX87" fmla="*/ 1449727 w 4519987"/>
                  <a:gd name="connsiteY87" fmla="*/ 161925 h 4429225"/>
                  <a:gd name="connsiteX88" fmla="*/ 1525927 w 4519987"/>
                  <a:gd name="connsiteY88" fmla="*/ 152400 h 4429225"/>
                  <a:gd name="connsiteX89" fmla="*/ 1583077 w 4519987"/>
                  <a:gd name="connsiteY89" fmla="*/ 142875 h 4429225"/>
                  <a:gd name="connsiteX90" fmla="*/ 1716427 w 4519987"/>
                  <a:gd name="connsiteY90" fmla="*/ 123825 h 4429225"/>
                  <a:gd name="connsiteX91" fmla="*/ 1811677 w 4519987"/>
                  <a:gd name="connsiteY91" fmla="*/ 114300 h 4429225"/>
                  <a:gd name="connsiteX92" fmla="*/ 1859302 w 4519987"/>
                  <a:gd name="connsiteY92" fmla="*/ 104775 h 4429225"/>
                  <a:gd name="connsiteX93" fmla="*/ 1916452 w 4519987"/>
                  <a:gd name="connsiteY93" fmla="*/ 95250 h 4429225"/>
                  <a:gd name="connsiteX94" fmla="*/ 2030752 w 4519987"/>
                  <a:gd name="connsiteY94" fmla="*/ 66675 h 4429225"/>
                  <a:gd name="connsiteX95" fmla="*/ 2097427 w 4519987"/>
                  <a:gd name="connsiteY95" fmla="*/ 47625 h 4429225"/>
                  <a:gd name="connsiteX96" fmla="*/ 2164102 w 4519987"/>
                  <a:gd name="connsiteY96" fmla="*/ 38100 h 4429225"/>
                  <a:gd name="connsiteX97" fmla="*/ 2392702 w 4519987"/>
                  <a:gd name="connsiteY97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40027 w 4519987"/>
                  <a:gd name="connsiteY56" fmla="*/ 2562225 h 4429225"/>
                  <a:gd name="connsiteX57" fmla="*/ 11452 w 4519987"/>
                  <a:gd name="connsiteY57" fmla="*/ 2400300 h 4429225"/>
                  <a:gd name="connsiteX58" fmla="*/ 20977 w 4519987"/>
                  <a:gd name="connsiteY58" fmla="*/ 1905000 h 4429225"/>
                  <a:gd name="connsiteX59" fmla="*/ 30502 w 4519987"/>
                  <a:gd name="connsiteY59" fmla="*/ 1838325 h 4429225"/>
                  <a:gd name="connsiteX60" fmla="*/ 49552 w 4519987"/>
                  <a:gd name="connsiteY60" fmla="*/ 1781175 h 4429225"/>
                  <a:gd name="connsiteX61" fmla="*/ 59077 w 4519987"/>
                  <a:gd name="connsiteY61" fmla="*/ 1743075 h 4429225"/>
                  <a:gd name="connsiteX62" fmla="*/ 78127 w 4519987"/>
                  <a:gd name="connsiteY62" fmla="*/ 1685925 h 4429225"/>
                  <a:gd name="connsiteX63" fmla="*/ 87652 w 4519987"/>
                  <a:gd name="connsiteY63" fmla="*/ 1638300 h 4429225"/>
                  <a:gd name="connsiteX64" fmla="*/ 106702 w 4519987"/>
                  <a:gd name="connsiteY64" fmla="*/ 1590675 h 4429225"/>
                  <a:gd name="connsiteX65" fmla="*/ 135277 w 4519987"/>
                  <a:gd name="connsiteY65" fmla="*/ 1504950 h 4429225"/>
                  <a:gd name="connsiteX66" fmla="*/ 154327 w 4519987"/>
                  <a:gd name="connsiteY66" fmla="*/ 1419225 h 4429225"/>
                  <a:gd name="connsiteX67" fmla="*/ 230527 w 4519987"/>
                  <a:gd name="connsiteY67" fmla="*/ 1276350 h 4429225"/>
                  <a:gd name="connsiteX68" fmla="*/ 240052 w 4519987"/>
                  <a:gd name="connsiteY68" fmla="*/ 1247775 h 4429225"/>
                  <a:gd name="connsiteX69" fmla="*/ 268627 w 4519987"/>
                  <a:gd name="connsiteY69" fmla="*/ 1200150 h 4429225"/>
                  <a:gd name="connsiteX70" fmla="*/ 287677 w 4519987"/>
                  <a:gd name="connsiteY70" fmla="*/ 1152525 h 4429225"/>
                  <a:gd name="connsiteX71" fmla="*/ 316252 w 4519987"/>
                  <a:gd name="connsiteY71" fmla="*/ 1114425 h 4429225"/>
                  <a:gd name="connsiteX72" fmla="*/ 363877 w 4519987"/>
                  <a:gd name="connsiteY72" fmla="*/ 1038225 h 4429225"/>
                  <a:gd name="connsiteX73" fmla="*/ 382927 w 4519987"/>
                  <a:gd name="connsiteY73" fmla="*/ 1009650 h 4429225"/>
                  <a:gd name="connsiteX74" fmla="*/ 440077 w 4519987"/>
                  <a:gd name="connsiteY74" fmla="*/ 904875 h 4429225"/>
                  <a:gd name="connsiteX75" fmla="*/ 478177 w 4519987"/>
                  <a:gd name="connsiteY75" fmla="*/ 857250 h 4429225"/>
                  <a:gd name="connsiteX76" fmla="*/ 497227 w 4519987"/>
                  <a:gd name="connsiteY76" fmla="*/ 828675 h 4429225"/>
                  <a:gd name="connsiteX77" fmla="*/ 535327 w 4519987"/>
                  <a:gd name="connsiteY77" fmla="*/ 800100 h 4429225"/>
                  <a:gd name="connsiteX78" fmla="*/ 602002 w 4519987"/>
                  <a:gd name="connsiteY78" fmla="*/ 733425 h 4429225"/>
                  <a:gd name="connsiteX79" fmla="*/ 668677 w 4519987"/>
                  <a:gd name="connsiteY79" fmla="*/ 676275 h 4429225"/>
                  <a:gd name="connsiteX80" fmla="*/ 697252 w 4519987"/>
                  <a:gd name="connsiteY80" fmla="*/ 657225 h 4429225"/>
                  <a:gd name="connsiteX81" fmla="*/ 840127 w 4519987"/>
                  <a:gd name="connsiteY81" fmla="*/ 533400 h 4429225"/>
                  <a:gd name="connsiteX82" fmla="*/ 887752 w 4519987"/>
                  <a:gd name="connsiteY82" fmla="*/ 504825 h 4429225"/>
                  <a:gd name="connsiteX83" fmla="*/ 1167152 w 4519987"/>
                  <a:gd name="connsiteY83" fmla="*/ 311150 h 4429225"/>
                  <a:gd name="connsiteX84" fmla="*/ 1268752 w 4519987"/>
                  <a:gd name="connsiteY84" fmla="*/ 285750 h 4429225"/>
                  <a:gd name="connsiteX85" fmla="*/ 1411627 w 4519987"/>
                  <a:gd name="connsiteY85" fmla="*/ 190500 h 4429225"/>
                  <a:gd name="connsiteX86" fmla="*/ 1449727 w 4519987"/>
                  <a:gd name="connsiteY86" fmla="*/ 161925 h 4429225"/>
                  <a:gd name="connsiteX87" fmla="*/ 1525927 w 4519987"/>
                  <a:gd name="connsiteY87" fmla="*/ 152400 h 4429225"/>
                  <a:gd name="connsiteX88" fmla="*/ 1583077 w 4519987"/>
                  <a:gd name="connsiteY88" fmla="*/ 142875 h 4429225"/>
                  <a:gd name="connsiteX89" fmla="*/ 1716427 w 4519987"/>
                  <a:gd name="connsiteY89" fmla="*/ 123825 h 4429225"/>
                  <a:gd name="connsiteX90" fmla="*/ 1811677 w 4519987"/>
                  <a:gd name="connsiteY90" fmla="*/ 114300 h 4429225"/>
                  <a:gd name="connsiteX91" fmla="*/ 1859302 w 4519987"/>
                  <a:gd name="connsiteY91" fmla="*/ 104775 h 4429225"/>
                  <a:gd name="connsiteX92" fmla="*/ 1916452 w 4519987"/>
                  <a:gd name="connsiteY92" fmla="*/ 95250 h 4429225"/>
                  <a:gd name="connsiteX93" fmla="*/ 2030752 w 4519987"/>
                  <a:gd name="connsiteY93" fmla="*/ 66675 h 4429225"/>
                  <a:gd name="connsiteX94" fmla="*/ 2097427 w 4519987"/>
                  <a:gd name="connsiteY94" fmla="*/ 47625 h 4429225"/>
                  <a:gd name="connsiteX95" fmla="*/ 2164102 w 4519987"/>
                  <a:gd name="connsiteY95" fmla="*/ 38100 h 4429225"/>
                  <a:gd name="connsiteX96" fmla="*/ 2392702 w 4519987"/>
                  <a:gd name="connsiteY96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11452 w 4519987"/>
                  <a:gd name="connsiteY56" fmla="*/ 2400300 h 4429225"/>
                  <a:gd name="connsiteX57" fmla="*/ 20977 w 4519987"/>
                  <a:gd name="connsiteY57" fmla="*/ 1905000 h 4429225"/>
                  <a:gd name="connsiteX58" fmla="*/ 30502 w 4519987"/>
                  <a:gd name="connsiteY58" fmla="*/ 1838325 h 4429225"/>
                  <a:gd name="connsiteX59" fmla="*/ 49552 w 4519987"/>
                  <a:gd name="connsiteY59" fmla="*/ 1781175 h 4429225"/>
                  <a:gd name="connsiteX60" fmla="*/ 59077 w 4519987"/>
                  <a:gd name="connsiteY60" fmla="*/ 1743075 h 4429225"/>
                  <a:gd name="connsiteX61" fmla="*/ 78127 w 4519987"/>
                  <a:gd name="connsiteY61" fmla="*/ 1685925 h 4429225"/>
                  <a:gd name="connsiteX62" fmla="*/ 87652 w 4519987"/>
                  <a:gd name="connsiteY62" fmla="*/ 1638300 h 4429225"/>
                  <a:gd name="connsiteX63" fmla="*/ 106702 w 4519987"/>
                  <a:gd name="connsiteY63" fmla="*/ 1590675 h 4429225"/>
                  <a:gd name="connsiteX64" fmla="*/ 135277 w 4519987"/>
                  <a:gd name="connsiteY64" fmla="*/ 1504950 h 4429225"/>
                  <a:gd name="connsiteX65" fmla="*/ 154327 w 4519987"/>
                  <a:gd name="connsiteY65" fmla="*/ 1419225 h 4429225"/>
                  <a:gd name="connsiteX66" fmla="*/ 230527 w 4519987"/>
                  <a:gd name="connsiteY66" fmla="*/ 1276350 h 4429225"/>
                  <a:gd name="connsiteX67" fmla="*/ 240052 w 4519987"/>
                  <a:gd name="connsiteY67" fmla="*/ 1247775 h 4429225"/>
                  <a:gd name="connsiteX68" fmla="*/ 268627 w 4519987"/>
                  <a:gd name="connsiteY68" fmla="*/ 1200150 h 4429225"/>
                  <a:gd name="connsiteX69" fmla="*/ 287677 w 4519987"/>
                  <a:gd name="connsiteY69" fmla="*/ 1152525 h 4429225"/>
                  <a:gd name="connsiteX70" fmla="*/ 316252 w 4519987"/>
                  <a:gd name="connsiteY70" fmla="*/ 1114425 h 4429225"/>
                  <a:gd name="connsiteX71" fmla="*/ 363877 w 4519987"/>
                  <a:gd name="connsiteY71" fmla="*/ 1038225 h 4429225"/>
                  <a:gd name="connsiteX72" fmla="*/ 382927 w 4519987"/>
                  <a:gd name="connsiteY72" fmla="*/ 1009650 h 4429225"/>
                  <a:gd name="connsiteX73" fmla="*/ 440077 w 4519987"/>
                  <a:gd name="connsiteY73" fmla="*/ 904875 h 4429225"/>
                  <a:gd name="connsiteX74" fmla="*/ 478177 w 4519987"/>
                  <a:gd name="connsiteY74" fmla="*/ 857250 h 4429225"/>
                  <a:gd name="connsiteX75" fmla="*/ 497227 w 4519987"/>
                  <a:gd name="connsiteY75" fmla="*/ 828675 h 4429225"/>
                  <a:gd name="connsiteX76" fmla="*/ 535327 w 4519987"/>
                  <a:gd name="connsiteY76" fmla="*/ 800100 h 4429225"/>
                  <a:gd name="connsiteX77" fmla="*/ 602002 w 4519987"/>
                  <a:gd name="connsiteY77" fmla="*/ 733425 h 4429225"/>
                  <a:gd name="connsiteX78" fmla="*/ 668677 w 4519987"/>
                  <a:gd name="connsiteY78" fmla="*/ 676275 h 4429225"/>
                  <a:gd name="connsiteX79" fmla="*/ 697252 w 4519987"/>
                  <a:gd name="connsiteY79" fmla="*/ 657225 h 4429225"/>
                  <a:gd name="connsiteX80" fmla="*/ 840127 w 4519987"/>
                  <a:gd name="connsiteY80" fmla="*/ 533400 h 4429225"/>
                  <a:gd name="connsiteX81" fmla="*/ 887752 w 4519987"/>
                  <a:gd name="connsiteY81" fmla="*/ 504825 h 4429225"/>
                  <a:gd name="connsiteX82" fmla="*/ 1167152 w 4519987"/>
                  <a:gd name="connsiteY82" fmla="*/ 311150 h 4429225"/>
                  <a:gd name="connsiteX83" fmla="*/ 1268752 w 4519987"/>
                  <a:gd name="connsiteY83" fmla="*/ 285750 h 4429225"/>
                  <a:gd name="connsiteX84" fmla="*/ 1411627 w 4519987"/>
                  <a:gd name="connsiteY84" fmla="*/ 190500 h 4429225"/>
                  <a:gd name="connsiteX85" fmla="*/ 1449727 w 4519987"/>
                  <a:gd name="connsiteY85" fmla="*/ 161925 h 4429225"/>
                  <a:gd name="connsiteX86" fmla="*/ 1525927 w 4519987"/>
                  <a:gd name="connsiteY86" fmla="*/ 152400 h 4429225"/>
                  <a:gd name="connsiteX87" fmla="*/ 1583077 w 4519987"/>
                  <a:gd name="connsiteY87" fmla="*/ 142875 h 4429225"/>
                  <a:gd name="connsiteX88" fmla="*/ 1716427 w 4519987"/>
                  <a:gd name="connsiteY88" fmla="*/ 123825 h 4429225"/>
                  <a:gd name="connsiteX89" fmla="*/ 1811677 w 4519987"/>
                  <a:gd name="connsiteY89" fmla="*/ 114300 h 4429225"/>
                  <a:gd name="connsiteX90" fmla="*/ 1859302 w 4519987"/>
                  <a:gd name="connsiteY90" fmla="*/ 104775 h 4429225"/>
                  <a:gd name="connsiteX91" fmla="*/ 1916452 w 4519987"/>
                  <a:gd name="connsiteY91" fmla="*/ 95250 h 4429225"/>
                  <a:gd name="connsiteX92" fmla="*/ 2030752 w 4519987"/>
                  <a:gd name="connsiteY92" fmla="*/ 66675 h 4429225"/>
                  <a:gd name="connsiteX93" fmla="*/ 2097427 w 4519987"/>
                  <a:gd name="connsiteY93" fmla="*/ 47625 h 4429225"/>
                  <a:gd name="connsiteX94" fmla="*/ 2164102 w 4519987"/>
                  <a:gd name="connsiteY94" fmla="*/ 38100 h 4429225"/>
                  <a:gd name="connsiteX95" fmla="*/ 2392702 w 4519987"/>
                  <a:gd name="connsiteY95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202394 w 4501379"/>
                  <a:gd name="connsiteY53" fmla="*/ 3105150 h 4429225"/>
                  <a:gd name="connsiteX54" fmla="*/ 126194 w 4501379"/>
                  <a:gd name="connsiteY54" fmla="*/ 2924175 h 4429225"/>
                  <a:gd name="connsiteX55" fmla="*/ 49994 w 4501379"/>
                  <a:gd name="connsiteY55" fmla="*/ 2724150 h 4429225"/>
                  <a:gd name="connsiteX56" fmla="*/ 56344 w 4501379"/>
                  <a:gd name="connsiteY56" fmla="*/ 2368550 h 4429225"/>
                  <a:gd name="connsiteX57" fmla="*/ 2369 w 4501379"/>
                  <a:gd name="connsiteY57" fmla="*/ 1905000 h 4429225"/>
                  <a:gd name="connsiteX58" fmla="*/ 11894 w 4501379"/>
                  <a:gd name="connsiteY58" fmla="*/ 1838325 h 4429225"/>
                  <a:gd name="connsiteX59" fmla="*/ 30944 w 4501379"/>
                  <a:gd name="connsiteY59" fmla="*/ 1781175 h 4429225"/>
                  <a:gd name="connsiteX60" fmla="*/ 40469 w 4501379"/>
                  <a:gd name="connsiteY60" fmla="*/ 1743075 h 4429225"/>
                  <a:gd name="connsiteX61" fmla="*/ 59519 w 4501379"/>
                  <a:gd name="connsiteY61" fmla="*/ 1685925 h 4429225"/>
                  <a:gd name="connsiteX62" fmla="*/ 69044 w 4501379"/>
                  <a:gd name="connsiteY62" fmla="*/ 1638300 h 4429225"/>
                  <a:gd name="connsiteX63" fmla="*/ 88094 w 4501379"/>
                  <a:gd name="connsiteY63" fmla="*/ 1590675 h 4429225"/>
                  <a:gd name="connsiteX64" fmla="*/ 116669 w 4501379"/>
                  <a:gd name="connsiteY64" fmla="*/ 1504950 h 4429225"/>
                  <a:gd name="connsiteX65" fmla="*/ 135719 w 4501379"/>
                  <a:gd name="connsiteY65" fmla="*/ 1419225 h 4429225"/>
                  <a:gd name="connsiteX66" fmla="*/ 211919 w 4501379"/>
                  <a:gd name="connsiteY66" fmla="*/ 1276350 h 4429225"/>
                  <a:gd name="connsiteX67" fmla="*/ 221444 w 4501379"/>
                  <a:gd name="connsiteY67" fmla="*/ 1247775 h 4429225"/>
                  <a:gd name="connsiteX68" fmla="*/ 250019 w 4501379"/>
                  <a:gd name="connsiteY68" fmla="*/ 1200150 h 4429225"/>
                  <a:gd name="connsiteX69" fmla="*/ 269069 w 4501379"/>
                  <a:gd name="connsiteY69" fmla="*/ 1152525 h 4429225"/>
                  <a:gd name="connsiteX70" fmla="*/ 297644 w 4501379"/>
                  <a:gd name="connsiteY70" fmla="*/ 1114425 h 4429225"/>
                  <a:gd name="connsiteX71" fmla="*/ 345269 w 4501379"/>
                  <a:gd name="connsiteY71" fmla="*/ 1038225 h 4429225"/>
                  <a:gd name="connsiteX72" fmla="*/ 364319 w 4501379"/>
                  <a:gd name="connsiteY72" fmla="*/ 1009650 h 4429225"/>
                  <a:gd name="connsiteX73" fmla="*/ 421469 w 4501379"/>
                  <a:gd name="connsiteY73" fmla="*/ 904875 h 4429225"/>
                  <a:gd name="connsiteX74" fmla="*/ 459569 w 4501379"/>
                  <a:gd name="connsiteY74" fmla="*/ 857250 h 4429225"/>
                  <a:gd name="connsiteX75" fmla="*/ 478619 w 4501379"/>
                  <a:gd name="connsiteY75" fmla="*/ 828675 h 4429225"/>
                  <a:gd name="connsiteX76" fmla="*/ 516719 w 4501379"/>
                  <a:gd name="connsiteY76" fmla="*/ 800100 h 4429225"/>
                  <a:gd name="connsiteX77" fmla="*/ 583394 w 4501379"/>
                  <a:gd name="connsiteY77" fmla="*/ 733425 h 4429225"/>
                  <a:gd name="connsiteX78" fmla="*/ 650069 w 4501379"/>
                  <a:gd name="connsiteY78" fmla="*/ 676275 h 4429225"/>
                  <a:gd name="connsiteX79" fmla="*/ 678644 w 4501379"/>
                  <a:gd name="connsiteY79" fmla="*/ 657225 h 4429225"/>
                  <a:gd name="connsiteX80" fmla="*/ 821519 w 4501379"/>
                  <a:gd name="connsiteY80" fmla="*/ 533400 h 4429225"/>
                  <a:gd name="connsiteX81" fmla="*/ 869144 w 4501379"/>
                  <a:gd name="connsiteY81" fmla="*/ 504825 h 4429225"/>
                  <a:gd name="connsiteX82" fmla="*/ 1148544 w 4501379"/>
                  <a:gd name="connsiteY82" fmla="*/ 311150 h 4429225"/>
                  <a:gd name="connsiteX83" fmla="*/ 1250144 w 4501379"/>
                  <a:gd name="connsiteY83" fmla="*/ 285750 h 4429225"/>
                  <a:gd name="connsiteX84" fmla="*/ 1393019 w 4501379"/>
                  <a:gd name="connsiteY84" fmla="*/ 190500 h 4429225"/>
                  <a:gd name="connsiteX85" fmla="*/ 1431119 w 4501379"/>
                  <a:gd name="connsiteY85" fmla="*/ 161925 h 4429225"/>
                  <a:gd name="connsiteX86" fmla="*/ 1507319 w 4501379"/>
                  <a:gd name="connsiteY86" fmla="*/ 152400 h 4429225"/>
                  <a:gd name="connsiteX87" fmla="*/ 1564469 w 4501379"/>
                  <a:gd name="connsiteY87" fmla="*/ 142875 h 4429225"/>
                  <a:gd name="connsiteX88" fmla="*/ 1697819 w 4501379"/>
                  <a:gd name="connsiteY88" fmla="*/ 123825 h 4429225"/>
                  <a:gd name="connsiteX89" fmla="*/ 1793069 w 4501379"/>
                  <a:gd name="connsiteY89" fmla="*/ 114300 h 4429225"/>
                  <a:gd name="connsiteX90" fmla="*/ 1840694 w 4501379"/>
                  <a:gd name="connsiteY90" fmla="*/ 104775 h 4429225"/>
                  <a:gd name="connsiteX91" fmla="*/ 1897844 w 4501379"/>
                  <a:gd name="connsiteY91" fmla="*/ 95250 h 4429225"/>
                  <a:gd name="connsiteX92" fmla="*/ 2012144 w 4501379"/>
                  <a:gd name="connsiteY92" fmla="*/ 66675 h 4429225"/>
                  <a:gd name="connsiteX93" fmla="*/ 2078819 w 4501379"/>
                  <a:gd name="connsiteY93" fmla="*/ 47625 h 4429225"/>
                  <a:gd name="connsiteX94" fmla="*/ 2145494 w 4501379"/>
                  <a:gd name="connsiteY94" fmla="*/ 38100 h 4429225"/>
                  <a:gd name="connsiteX95" fmla="*/ 2374094 w 4501379"/>
                  <a:gd name="connsiteY95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202394 w 4501379"/>
                  <a:gd name="connsiteY53" fmla="*/ 3105150 h 4429225"/>
                  <a:gd name="connsiteX54" fmla="*/ 126194 w 4501379"/>
                  <a:gd name="connsiteY54" fmla="*/ 2924175 h 4429225"/>
                  <a:gd name="connsiteX55" fmla="*/ 56344 w 4501379"/>
                  <a:gd name="connsiteY55" fmla="*/ 2368550 h 4429225"/>
                  <a:gd name="connsiteX56" fmla="*/ 2369 w 4501379"/>
                  <a:gd name="connsiteY56" fmla="*/ 1905000 h 4429225"/>
                  <a:gd name="connsiteX57" fmla="*/ 11894 w 4501379"/>
                  <a:gd name="connsiteY57" fmla="*/ 1838325 h 4429225"/>
                  <a:gd name="connsiteX58" fmla="*/ 30944 w 4501379"/>
                  <a:gd name="connsiteY58" fmla="*/ 1781175 h 4429225"/>
                  <a:gd name="connsiteX59" fmla="*/ 40469 w 4501379"/>
                  <a:gd name="connsiteY59" fmla="*/ 1743075 h 4429225"/>
                  <a:gd name="connsiteX60" fmla="*/ 59519 w 4501379"/>
                  <a:gd name="connsiteY60" fmla="*/ 1685925 h 4429225"/>
                  <a:gd name="connsiteX61" fmla="*/ 69044 w 4501379"/>
                  <a:gd name="connsiteY61" fmla="*/ 1638300 h 4429225"/>
                  <a:gd name="connsiteX62" fmla="*/ 88094 w 4501379"/>
                  <a:gd name="connsiteY62" fmla="*/ 1590675 h 4429225"/>
                  <a:gd name="connsiteX63" fmla="*/ 116669 w 4501379"/>
                  <a:gd name="connsiteY63" fmla="*/ 1504950 h 4429225"/>
                  <a:gd name="connsiteX64" fmla="*/ 135719 w 4501379"/>
                  <a:gd name="connsiteY64" fmla="*/ 1419225 h 4429225"/>
                  <a:gd name="connsiteX65" fmla="*/ 211919 w 4501379"/>
                  <a:gd name="connsiteY65" fmla="*/ 1276350 h 4429225"/>
                  <a:gd name="connsiteX66" fmla="*/ 221444 w 4501379"/>
                  <a:gd name="connsiteY66" fmla="*/ 1247775 h 4429225"/>
                  <a:gd name="connsiteX67" fmla="*/ 250019 w 4501379"/>
                  <a:gd name="connsiteY67" fmla="*/ 1200150 h 4429225"/>
                  <a:gd name="connsiteX68" fmla="*/ 269069 w 4501379"/>
                  <a:gd name="connsiteY68" fmla="*/ 1152525 h 4429225"/>
                  <a:gd name="connsiteX69" fmla="*/ 297644 w 4501379"/>
                  <a:gd name="connsiteY69" fmla="*/ 1114425 h 4429225"/>
                  <a:gd name="connsiteX70" fmla="*/ 345269 w 4501379"/>
                  <a:gd name="connsiteY70" fmla="*/ 1038225 h 4429225"/>
                  <a:gd name="connsiteX71" fmla="*/ 364319 w 4501379"/>
                  <a:gd name="connsiteY71" fmla="*/ 1009650 h 4429225"/>
                  <a:gd name="connsiteX72" fmla="*/ 421469 w 4501379"/>
                  <a:gd name="connsiteY72" fmla="*/ 904875 h 4429225"/>
                  <a:gd name="connsiteX73" fmla="*/ 459569 w 4501379"/>
                  <a:gd name="connsiteY73" fmla="*/ 857250 h 4429225"/>
                  <a:gd name="connsiteX74" fmla="*/ 478619 w 4501379"/>
                  <a:gd name="connsiteY74" fmla="*/ 828675 h 4429225"/>
                  <a:gd name="connsiteX75" fmla="*/ 516719 w 4501379"/>
                  <a:gd name="connsiteY75" fmla="*/ 800100 h 4429225"/>
                  <a:gd name="connsiteX76" fmla="*/ 583394 w 4501379"/>
                  <a:gd name="connsiteY76" fmla="*/ 733425 h 4429225"/>
                  <a:gd name="connsiteX77" fmla="*/ 650069 w 4501379"/>
                  <a:gd name="connsiteY77" fmla="*/ 676275 h 4429225"/>
                  <a:gd name="connsiteX78" fmla="*/ 678644 w 4501379"/>
                  <a:gd name="connsiteY78" fmla="*/ 657225 h 4429225"/>
                  <a:gd name="connsiteX79" fmla="*/ 821519 w 4501379"/>
                  <a:gd name="connsiteY79" fmla="*/ 533400 h 4429225"/>
                  <a:gd name="connsiteX80" fmla="*/ 869144 w 4501379"/>
                  <a:gd name="connsiteY80" fmla="*/ 504825 h 4429225"/>
                  <a:gd name="connsiteX81" fmla="*/ 1148544 w 4501379"/>
                  <a:gd name="connsiteY81" fmla="*/ 311150 h 4429225"/>
                  <a:gd name="connsiteX82" fmla="*/ 1250144 w 4501379"/>
                  <a:gd name="connsiteY82" fmla="*/ 285750 h 4429225"/>
                  <a:gd name="connsiteX83" fmla="*/ 1393019 w 4501379"/>
                  <a:gd name="connsiteY83" fmla="*/ 190500 h 4429225"/>
                  <a:gd name="connsiteX84" fmla="*/ 1431119 w 4501379"/>
                  <a:gd name="connsiteY84" fmla="*/ 161925 h 4429225"/>
                  <a:gd name="connsiteX85" fmla="*/ 1507319 w 4501379"/>
                  <a:gd name="connsiteY85" fmla="*/ 152400 h 4429225"/>
                  <a:gd name="connsiteX86" fmla="*/ 1564469 w 4501379"/>
                  <a:gd name="connsiteY86" fmla="*/ 142875 h 4429225"/>
                  <a:gd name="connsiteX87" fmla="*/ 1697819 w 4501379"/>
                  <a:gd name="connsiteY87" fmla="*/ 123825 h 4429225"/>
                  <a:gd name="connsiteX88" fmla="*/ 1793069 w 4501379"/>
                  <a:gd name="connsiteY88" fmla="*/ 114300 h 4429225"/>
                  <a:gd name="connsiteX89" fmla="*/ 1840694 w 4501379"/>
                  <a:gd name="connsiteY89" fmla="*/ 104775 h 4429225"/>
                  <a:gd name="connsiteX90" fmla="*/ 1897844 w 4501379"/>
                  <a:gd name="connsiteY90" fmla="*/ 95250 h 4429225"/>
                  <a:gd name="connsiteX91" fmla="*/ 2012144 w 4501379"/>
                  <a:gd name="connsiteY91" fmla="*/ 66675 h 4429225"/>
                  <a:gd name="connsiteX92" fmla="*/ 2078819 w 4501379"/>
                  <a:gd name="connsiteY92" fmla="*/ 47625 h 4429225"/>
                  <a:gd name="connsiteX93" fmla="*/ 2145494 w 4501379"/>
                  <a:gd name="connsiteY93" fmla="*/ 38100 h 4429225"/>
                  <a:gd name="connsiteX94" fmla="*/ 2374094 w 4501379"/>
                  <a:gd name="connsiteY94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126194 w 4501379"/>
                  <a:gd name="connsiteY53" fmla="*/ 292417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40519 w 4501379"/>
                  <a:gd name="connsiteY51" fmla="*/ 34956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92919 w 4501379"/>
                  <a:gd name="connsiteY50" fmla="*/ 3657600 h 4429225"/>
                  <a:gd name="connsiteX51" fmla="*/ 440519 w 4501379"/>
                  <a:gd name="connsiteY51" fmla="*/ 34956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92919 w 4501379"/>
                  <a:gd name="connsiteY50" fmla="*/ 3657600 h 4429225"/>
                  <a:gd name="connsiteX51" fmla="*/ 446869 w 4501379"/>
                  <a:gd name="connsiteY51" fmla="*/ 34702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926294 w 4501379"/>
                  <a:gd name="connsiteY48" fmla="*/ 39687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145369 w 4501379"/>
                  <a:gd name="connsiteY47" fmla="*/ 4111625 h 4429225"/>
                  <a:gd name="connsiteX48" fmla="*/ 926294 w 4501379"/>
                  <a:gd name="connsiteY48" fmla="*/ 39687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313644 w 4501379"/>
                  <a:gd name="connsiteY46" fmla="*/ 4216400 h 4429225"/>
                  <a:gd name="connsiteX47" fmla="*/ 1145369 w 4501379"/>
                  <a:gd name="connsiteY47" fmla="*/ 4111625 h 4429225"/>
                  <a:gd name="connsiteX48" fmla="*/ 926294 w 4501379"/>
                  <a:gd name="connsiteY48" fmla="*/ 39687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94"/>
                  <a:gd name="connsiteX1" fmla="*/ 2402669 w 4501379"/>
                  <a:gd name="connsiteY1" fmla="*/ 28575 h 4429294"/>
                  <a:gd name="connsiteX2" fmla="*/ 2478869 w 4501379"/>
                  <a:gd name="connsiteY2" fmla="*/ 47625 h 4429294"/>
                  <a:gd name="connsiteX3" fmla="*/ 2736044 w 4501379"/>
                  <a:gd name="connsiteY3" fmla="*/ 66675 h 4429294"/>
                  <a:gd name="connsiteX4" fmla="*/ 2812244 w 4501379"/>
                  <a:gd name="connsiteY4" fmla="*/ 76200 h 4429294"/>
                  <a:gd name="connsiteX5" fmla="*/ 2897969 w 4501379"/>
                  <a:gd name="connsiteY5" fmla="*/ 85725 h 4429294"/>
                  <a:gd name="connsiteX6" fmla="*/ 2955119 w 4501379"/>
                  <a:gd name="connsiteY6" fmla="*/ 114300 h 4429294"/>
                  <a:gd name="connsiteX7" fmla="*/ 2993219 w 4501379"/>
                  <a:gd name="connsiteY7" fmla="*/ 123825 h 4429294"/>
                  <a:gd name="connsiteX8" fmla="*/ 3117044 w 4501379"/>
                  <a:gd name="connsiteY8" fmla="*/ 171450 h 4429294"/>
                  <a:gd name="connsiteX9" fmla="*/ 3155144 w 4501379"/>
                  <a:gd name="connsiteY9" fmla="*/ 190500 h 4429294"/>
                  <a:gd name="connsiteX10" fmla="*/ 3221819 w 4501379"/>
                  <a:gd name="connsiteY10" fmla="*/ 228600 h 4429294"/>
                  <a:gd name="connsiteX11" fmla="*/ 3250394 w 4501379"/>
                  <a:gd name="connsiteY11" fmla="*/ 238125 h 4429294"/>
                  <a:gd name="connsiteX12" fmla="*/ 3278969 w 4501379"/>
                  <a:gd name="connsiteY12" fmla="*/ 257175 h 4429294"/>
                  <a:gd name="connsiteX13" fmla="*/ 3307544 w 4501379"/>
                  <a:gd name="connsiteY13" fmla="*/ 266700 h 4429294"/>
                  <a:gd name="connsiteX14" fmla="*/ 3336119 w 4501379"/>
                  <a:gd name="connsiteY14" fmla="*/ 285750 h 4429294"/>
                  <a:gd name="connsiteX15" fmla="*/ 3402794 w 4501379"/>
                  <a:gd name="connsiteY15" fmla="*/ 323850 h 4429294"/>
                  <a:gd name="connsiteX16" fmla="*/ 3450419 w 4501379"/>
                  <a:gd name="connsiteY16" fmla="*/ 361950 h 4429294"/>
                  <a:gd name="connsiteX17" fmla="*/ 3498044 w 4501379"/>
                  <a:gd name="connsiteY17" fmla="*/ 390525 h 4429294"/>
                  <a:gd name="connsiteX18" fmla="*/ 3612344 w 4501379"/>
                  <a:gd name="connsiteY18" fmla="*/ 485775 h 4429294"/>
                  <a:gd name="connsiteX19" fmla="*/ 3726644 w 4501379"/>
                  <a:gd name="connsiteY19" fmla="*/ 542925 h 4429294"/>
                  <a:gd name="connsiteX20" fmla="*/ 3793319 w 4501379"/>
                  <a:gd name="connsiteY20" fmla="*/ 581025 h 4429294"/>
                  <a:gd name="connsiteX21" fmla="*/ 4009219 w 4501379"/>
                  <a:gd name="connsiteY21" fmla="*/ 819150 h 4429294"/>
                  <a:gd name="connsiteX22" fmla="*/ 4145744 w 4501379"/>
                  <a:gd name="connsiteY22" fmla="*/ 990600 h 4429294"/>
                  <a:gd name="connsiteX23" fmla="*/ 4231469 w 4501379"/>
                  <a:gd name="connsiteY23" fmla="*/ 1143000 h 4429294"/>
                  <a:gd name="connsiteX24" fmla="*/ 4288619 w 4501379"/>
                  <a:gd name="connsiteY24" fmla="*/ 1266825 h 4429294"/>
                  <a:gd name="connsiteX25" fmla="*/ 4326719 w 4501379"/>
                  <a:gd name="connsiteY25" fmla="*/ 1362075 h 4429294"/>
                  <a:gd name="connsiteX26" fmla="*/ 4374344 w 4501379"/>
                  <a:gd name="connsiteY26" fmla="*/ 1552575 h 4429294"/>
                  <a:gd name="connsiteX27" fmla="*/ 4412444 w 4501379"/>
                  <a:gd name="connsiteY27" fmla="*/ 1685925 h 4429294"/>
                  <a:gd name="connsiteX28" fmla="*/ 4501344 w 4501379"/>
                  <a:gd name="connsiteY28" fmla="*/ 2181225 h 4429294"/>
                  <a:gd name="connsiteX29" fmla="*/ 4428319 w 4501379"/>
                  <a:gd name="connsiteY29" fmla="*/ 2768600 h 4429294"/>
                  <a:gd name="connsiteX30" fmla="*/ 4364819 w 4501379"/>
                  <a:gd name="connsiteY30" fmla="*/ 2990850 h 4429294"/>
                  <a:gd name="connsiteX31" fmla="*/ 4260044 w 4501379"/>
                  <a:gd name="connsiteY31" fmla="*/ 3248025 h 4429294"/>
                  <a:gd name="connsiteX32" fmla="*/ 4164794 w 4501379"/>
                  <a:gd name="connsiteY32" fmla="*/ 3400425 h 4429294"/>
                  <a:gd name="connsiteX33" fmla="*/ 4040969 w 4501379"/>
                  <a:gd name="connsiteY33" fmla="*/ 3533775 h 4429294"/>
                  <a:gd name="connsiteX34" fmla="*/ 3936194 w 4501379"/>
                  <a:gd name="connsiteY34" fmla="*/ 3648075 h 4429294"/>
                  <a:gd name="connsiteX35" fmla="*/ 3640919 w 4501379"/>
                  <a:gd name="connsiteY35" fmla="*/ 3971925 h 4429294"/>
                  <a:gd name="connsiteX36" fmla="*/ 3498044 w 4501379"/>
                  <a:gd name="connsiteY36" fmla="*/ 4083050 h 4429294"/>
                  <a:gd name="connsiteX37" fmla="*/ 3202769 w 4501379"/>
                  <a:gd name="connsiteY37" fmla="*/ 4222750 h 4429294"/>
                  <a:gd name="connsiteX38" fmla="*/ 3050369 w 4501379"/>
                  <a:gd name="connsiteY38" fmla="*/ 4286250 h 4429294"/>
                  <a:gd name="connsiteX39" fmla="*/ 2917019 w 4501379"/>
                  <a:gd name="connsiteY39" fmla="*/ 4333875 h 4429294"/>
                  <a:gd name="connsiteX40" fmla="*/ 2793194 w 4501379"/>
                  <a:gd name="connsiteY40" fmla="*/ 4371975 h 4429294"/>
                  <a:gd name="connsiteX41" fmla="*/ 2561419 w 4501379"/>
                  <a:gd name="connsiteY41" fmla="*/ 4391025 h 4429294"/>
                  <a:gd name="connsiteX42" fmla="*/ 2107394 w 4501379"/>
                  <a:gd name="connsiteY42" fmla="*/ 4429125 h 4429294"/>
                  <a:gd name="connsiteX43" fmla="*/ 1916894 w 4501379"/>
                  <a:gd name="connsiteY43" fmla="*/ 4400550 h 4429294"/>
                  <a:gd name="connsiteX44" fmla="*/ 1554944 w 4501379"/>
                  <a:gd name="connsiteY44" fmla="*/ 4305300 h 4429294"/>
                  <a:gd name="connsiteX45" fmla="*/ 1313644 w 4501379"/>
                  <a:gd name="connsiteY45" fmla="*/ 4216400 h 4429294"/>
                  <a:gd name="connsiteX46" fmla="*/ 1145369 w 4501379"/>
                  <a:gd name="connsiteY46" fmla="*/ 4111625 h 4429294"/>
                  <a:gd name="connsiteX47" fmla="*/ 926294 w 4501379"/>
                  <a:gd name="connsiteY47" fmla="*/ 3968750 h 4429294"/>
                  <a:gd name="connsiteX48" fmla="*/ 592919 w 4501379"/>
                  <a:gd name="connsiteY48" fmla="*/ 3657600 h 4429294"/>
                  <a:gd name="connsiteX49" fmla="*/ 446869 w 4501379"/>
                  <a:gd name="connsiteY49" fmla="*/ 3470275 h 4429294"/>
                  <a:gd name="connsiteX50" fmla="*/ 316694 w 4501379"/>
                  <a:gd name="connsiteY50" fmla="*/ 3244850 h 4429294"/>
                  <a:gd name="connsiteX51" fmla="*/ 164294 w 4501379"/>
                  <a:gd name="connsiteY51" fmla="*/ 2892425 h 4429294"/>
                  <a:gd name="connsiteX52" fmla="*/ 56344 w 4501379"/>
                  <a:gd name="connsiteY52" fmla="*/ 2368550 h 4429294"/>
                  <a:gd name="connsiteX53" fmla="*/ 2369 w 4501379"/>
                  <a:gd name="connsiteY53" fmla="*/ 1905000 h 4429294"/>
                  <a:gd name="connsiteX54" fmla="*/ 11894 w 4501379"/>
                  <a:gd name="connsiteY54" fmla="*/ 1838325 h 4429294"/>
                  <a:gd name="connsiteX55" fmla="*/ 30944 w 4501379"/>
                  <a:gd name="connsiteY55" fmla="*/ 1781175 h 4429294"/>
                  <a:gd name="connsiteX56" fmla="*/ 40469 w 4501379"/>
                  <a:gd name="connsiteY56" fmla="*/ 1743075 h 4429294"/>
                  <a:gd name="connsiteX57" fmla="*/ 59519 w 4501379"/>
                  <a:gd name="connsiteY57" fmla="*/ 1685925 h 4429294"/>
                  <a:gd name="connsiteX58" fmla="*/ 69044 w 4501379"/>
                  <a:gd name="connsiteY58" fmla="*/ 1638300 h 4429294"/>
                  <a:gd name="connsiteX59" fmla="*/ 88094 w 4501379"/>
                  <a:gd name="connsiteY59" fmla="*/ 1590675 h 4429294"/>
                  <a:gd name="connsiteX60" fmla="*/ 116669 w 4501379"/>
                  <a:gd name="connsiteY60" fmla="*/ 1504950 h 4429294"/>
                  <a:gd name="connsiteX61" fmla="*/ 135719 w 4501379"/>
                  <a:gd name="connsiteY61" fmla="*/ 1419225 h 4429294"/>
                  <a:gd name="connsiteX62" fmla="*/ 211919 w 4501379"/>
                  <a:gd name="connsiteY62" fmla="*/ 1276350 h 4429294"/>
                  <a:gd name="connsiteX63" fmla="*/ 221444 w 4501379"/>
                  <a:gd name="connsiteY63" fmla="*/ 1247775 h 4429294"/>
                  <a:gd name="connsiteX64" fmla="*/ 250019 w 4501379"/>
                  <a:gd name="connsiteY64" fmla="*/ 1200150 h 4429294"/>
                  <a:gd name="connsiteX65" fmla="*/ 269069 w 4501379"/>
                  <a:gd name="connsiteY65" fmla="*/ 1152525 h 4429294"/>
                  <a:gd name="connsiteX66" fmla="*/ 297644 w 4501379"/>
                  <a:gd name="connsiteY66" fmla="*/ 1114425 h 4429294"/>
                  <a:gd name="connsiteX67" fmla="*/ 345269 w 4501379"/>
                  <a:gd name="connsiteY67" fmla="*/ 1038225 h 4429294"/>
                  <a:gd name="connsiteX68" fmla="*/ 364319 w 4501379"/>
                  <a:gd name="connsiteY68" fmla="*/ 1009650 h 4429294"/>
                  <a:gd name="connsiteX69" fmla="*/ 421469 w 4501379"/>
                  <a:gd name="connsiteY69" fmla="*/ 904875 h 4429294"/>
                  <a:gd name="connsiteX70" fmla="*/ 459569 w 4501379"/>
                  <a:gd name="connsiteY70" fmla="*/ 857250 h 4429294"/>
                  <a:gd name="connsiteX71" fmla="*/ 478619 w 4501379"/>
                  <a:gd name="connsiteY71" fmla="*/ 828675 h 4429294"/>
                  <a:gd name="connsiteX72" fmla="*/ 516719 w 4501379"/>
                  <a:gd name="connsiteY72" fmla="*/ 800100 h 4429294"/>
                  <a:gd name="connsiteX73" fmla="*/ 583394 w 4501379"/>
                  <a:gd name="connsiteY73" fmla="*/ 733425 h 4429294"/>
                  <a:gd name="connsiteX74" fmla="*/ 650069 w 4501379"/>
                  <a:gd name="connsiteY74" fmla="*/ 676275 h 4429294"/>
                  <a:gd name="connsiteX75" fmla="*/ 678644 w 4501379"/>
                  <a:gd name="connsiteY75" fmla="*/ 657225 h 4429294"/>
                  <a:gd name="connsiteX76" fmla="*/ 821519 w 4501379"/>
                  <a:gd name="connsiteY76" fmla="*/ 533400 h 4429294"/>
                  <a:gd name="connsiteX77" fmla="*/ 869144 w 4501379"/>
                  <a:gd name="connsiteY77" fmla="*/ 504825 h 4429294"/>
                  <a:gd name="connsiteX78" fmla="*/ 1148544 w 4501379"/>
                  <a:gd name="connsiteY78" fmla="*/ 311150 h 4429294"/>
                  <a:gd name="connsiteX79" fmla="*/ 1250144 w 4501379"/>
                  <a:gd name="connsiteY79" fmla="*/ 285750 h 4429294"/>
                  <a:gd name="connsiteX80" fmla="*/ 1393019 w 4501379"/>
                  <a:gd name="connsiteY80" fmla="*/ 190500 h 4429294"/>
                  <a:gd name="connsiteX81" fmla="*/ 1431119 w 4501379"/>
                  <a:gd name="connsiteY81" fmla="*/ 161925 h 4429294"/>
                  <a:gd name="connsiteX82" fmla="*/ 1507319 w 4501379"/>
                  <a:gd name="connsiteY82" fmla="*/ 152400 h 4429294"/>
                  <a:gd name="connsiteX83" fmla="*/ 1564469 w 4501379"/>
                  <a:gd name="connsiteY83" fmla="*/ 142875 h 4429294"/>
                  <a:gd name="connsiteX84" fmla="*/ 1697819 w 4501379"/>
                  <a:gd name="connsiteY84" fmla="*/ 123825 h 4429294"/>
                  <a:gd name="connsiteX85" fmla="*/ 1793069 w 4501379"/>
                  <a:gd name="connsiteY85" fmla="*/ 114300 h 4429294"/>
                  <a:gd name="connsiteX86" fmla="*/ 1840694 w 4501379"/>
                  <a:gd name="connsiteY86" fmla="*/ 104775 h 4429294"/>
                  <a:gd name="connsiteX87" fmla="*/ 1897844 w 4501379"/>
                  <a:gd name="connsiteY87" fmla="*/ 95250 h 4429294"/>
                  <a:gd name="connsiteX88" fmla="*/ 2012144 w 4501379"/>
                  <a:gd name="connsiteY88" fmla="*/ 66675 h 4429294"/>
                  <a:gd name="connsiteX89" fmla="*/ 2078819 w 4501379"/>
                  <a:gd name="connsiteY89" fmla="*/ 47625 h 4429294"/>
                  <a:gd name="connsiteX90" fmla="*/ 2145494 w 4501379"/>
                  <a:gd name="connsiteY90" fmla="*/ 38100 h 4429294"/>
                  <a:gd name="connsiteX91" fmla="*/ 2374094 w 4501379"/>
                  <a:gd name="connsiteY91" fmla="*/ 28575 h 4429294"/>
                  <a:gd name="connsiteX0" fmla="*/ 2278844 w 4501379"/>
                  <a:gd name="connsiteY0" fmla="*/ 0 h 4429294"/>
                  <a:gd name="connsiteX1" fmla="*/ 2402669 w 4501379"/>
                  <a:gd name="connsiteY1" fmla="*/ 28575 h 4429294"/>
                  <a:gd name="connsiteX2" fmla="*/ 2478869 w 4501379"/>
                  <a:gd name="connsiteY2" fmla="*/ 47625 h 4429294"/>
                  <a:gd name="connsiteX3" fmla="*/ 2736044 w 4501379"/>
                  <a:gd name="connsiteY3" fmla="*/ 66675 h 4429294"/>
                  <a:gd name="connsiteX4" fmla="*/ 2812244 w 4501379"/>
                  <a:gd name="connsiteY4" fmla="*/ 76200 h 4429294"/>
                  <a:gd name="connsiteX5" fmla="*/ 2897969 w 4501379"/>
                  <a:gd name="connsiteY5" fmla="*/ 85725 h 4429294"/>
                  <a:gd name="connsiteX6" fmla="*/ 2955119 w 4501379"/>
                  <a:gd name="connsiteY6" fmla="*/ 114300 h 4429294"/>
                  <a:gd name="connsiteX7" fmla="*/ 2993219 w 4501379"/>
                  <a:gd name="connsiteY7" fmla="*/ 123825 h 4429294"/>
                  <a:gd name="connsiteX8" fmla="*/ 3117044 w 4501379"/>
                  <a:gd name="connsiteY8" fmla="*/ 171450 h 4429294"/>
                  <a:gd name="connsiteX9" fmla="*/ 3155144 w 4501379"/>
                  <a:gd name="connsiteY9" fmla="*/ 190500 h 4429294"/>
                  <a:gd name="connsiteX10" fmla="*/ 3221819 w 4501379"/>
                  <a:gd name="connsiteY10" fmla="*/ 228600 h 4429294"/>
                  <a:gd name="connsiteX11" fmla="*/ 3250394 w 4501379"/>
                  <a:gd name="connsiteY11" fmla="*/ 238125 h 4429294"/>
                  <a:gd name="connsiteX12" fmla="*/ 3278969 w 4501379"/>
                  <a:gd name="connsiteY12" fmla="*/ 257175 h 4429294"/>
                  <a:gd name="connsiteX13" fmla="*/ 3307544 w 4501379"/>
                  <a:gd name="connsiteY13" fmla="*/ 266700 h 4429294"/>
                  <a:gd name="connsiteX14" fmla="*/ 3336119 w 4501379"/>
                  <a:gd name="connsiteY14" fmla="*/ 285750 h 4429294"/>
                  <a:gd name="connsiteX15" fmla="*/ 3402794 w 4501379"/>
                  <a:gd name="connsiteY15" fmla="*/ 323850 h 4429294"/>
                  <a:gd name="connsiteX16" fmla="*/ 3450419 w 4501379"/>
                  <a:gd name="connsiteY16" fmla="*/ 361950 h 4429294"/>
                  <a:gd name="connsiteX17" fmla="*/ 3498044 w 4501379"/>
                  <a:gd name="connsiteY17" fmla="*/ 390525 h 4429294"/>
                  <a:gd name="connsiteX18" fmla="*/ 3612344 w 4501379"/>
                  <a:gd name="connsiteY18" fmla="*/ 485775 h 4429294"/>
                  <a:gd name="connsiteX19" fmla="*/ 3726644 w 4501379"/>
                  <a:gd name="connsiteY19" fmla="*/ 542925 h 4429294"/>
                  <a:gd name="connsiteX20" fmla="*/ 3793319 w 4501379"/>
                  <a:gd name="connsiteY20" fmla="*/ 581025 h 4429294"/>
                  <a:gd name="connsiteX21" fmla="*/ 4009219 w 4501379"/>
                  <a:gd name="connsiteY21" fmla="*/ 819150 h 4429294"/>
                  <a:gd name="connsiteX22" fmla="*/ 4145744 w 4501379"/>
                  <a:gd name="connsiteY22" fmla="*/ 990600 h 4429294"/>
                  <a:gd name="connsiteX23" fmla="*/ 4231469 w 4501379"/>
                  <a:gd name="connsiteY23" fmla="*/ 1143000 h 4429294"/>
                  <a:gd name="connsiteX24" fmla="*/ 4288619 w 4501379"/>
                  <a:gd name="connsiteY24" fmla="*/ 1266825 h 4429294"/>
                  <a:gd name="connsiteX25" fmla="*/ 4326719 w 4501379"/>
                  <a:gd name="connsiteY25" fmla="*/ 1362075 h 4429294"/>
                  <a:gd name="connsiteX26" fmla="*/ 4374344 w 4501379"/>
                  <a:gd name="connsiteY26" fmla="*/ 1552575 h 4429294"/>
                  <a:gd name="connsiteX27" fmla="*/ 4412444 w 4501379"/>
                  <a:gd name="connsiteY27" fmla="*/ 1685925 h 4429294"/>
                  <a:gd name="connsiteX28" fmla="*/ 4501344 w 4501379"/>
                  <a:gd name="connsiteY28" fmla="*/ 2181225 h 4429294"/>
                  <a:gd name="connsiteX29" fmla="*/ 4428319 w 4501379"/>
                  <a:gd name="connsiteY29" fmla="*/ 2768600 h 4429294"/>
                  <a:gd name="connsiteX30" fmla="*/ 4364819 w 4501379"/>
                  <a:gd name="connsiteY30" fmla="*/ 2990850 h 4429294"/>
                  <a:gd name="connsiteX31" fmla="*/ 4260044 w 4501379"/>
                  <a:gd name="connsiteY31" fmla="*/ 3248025 h 4429294"/>
                  <a:gd name="connsiteX32" fmla="*/ 4164794 w 4501379"/>
                  <a:gd name="connsiteY32" fmla="*/ 3400425 h 4429294"/>
                  <a:gd name="connsiteX33" fmla="*/ 4040969 w 4501379"/>
                  <a:gd name="connsiteY33" fmla="*/ 3533775 h 4429294"/>
                  <a:gd name="connsiteX34" fmla="*/ 3936194 w 4501379"/>
                  <a:gd name="connsiteY34" fmla="*/ 3648075 h 4429294"/>
                  <a:gd name="connsiteX35" fmla="*/ 3640919 w 4501379"/>
                  <a:gd name="connsiteY35" fmla="*/ 3971925 h 4429294"/>
                  <a:gd name="connsiteX36" fmla="*/ 3498044 w 4501379"/>
                  <a:gd name="connsiteY36" fmla="*/ 4083050 h 4429294"/>
                  <a:gd name="connsiteX37" fmla="*/ 3202769 w 4501379"/>
                  <a:gd name="connsiteY37" fmla="*/ 4222750 h 4429294"/>
                  <a:gd name="connsiteX38" fmla="*/ 3050369 w 4501379"/>
                  <a:gd name="connsiteY38" fmla="*/ 4286250 h 4429294"/>
                  <a:gd name="connsiteX39" fmla="*/ 2917019 w 4501379"/>
                  <a:gd name="connsiteY39" fmla="*/ 4333875 h 4429294"/>
                  <a:gd name="connsiteX40" fmla="*/ 2793194 w 4501379"/>
                  <a:gd name="connsiteY40" fmla="*/ 4371975 h 4429294"/>
                  <a:gd name="connsiteX41" fmla="*/ 2561419 w 4501379"/>
                  <a:gd name="connsiteY41" fmla="*/ 4391025 h 4429294"/>
                  <a:gd name="connsiteX42" fmla="*/ 2107394 w 4501379"/>
                  <a:gd name="connsiteY42" fmla="*/ 4429125 h 4429294"/>
                  <a:gd name="connsiteX43" fmla="*/ 1916894 w 4501379"/>
                  <a:gd name="connsiteY43" fmla="*/ 4400550 h 4429294"/>
                  <a:gd name="connsiteX44" fmla="*/ 1554944 w 4501379"/>
                  <a:gd name="connsiteY44" fmla="*/ 4305300 h 4429294"/>
                  <a:gd name="connsiteX45" fmla="*/ 1313644 w 4501379"/>
                  <a:gd name="connsiteY45" fmla="*/ 4216400 h 4429294"/>
                  <a:gd name="connsiteX46" fmla="*/ 1145369 w 4501379"/>
                  <a:gd name="connsiteY46" fmla="*/ 4111625 h 4429294"/>
                  <a:gd name="connsiteX47" fmla="*/ 926294 w 4501379"/>
                  <a:gd name="connsiteY47" fmla="*/ 3968750 h 4429294"/>
                  <a:gd name="connsiteX48" fmla="*/ 592919 w 4501379"/>
                  <a:gd name="connsiteY48" fmla="*/ 3657600 h 4429294"/>
                  <a:gd name="connsiteX49" fmla="*/ 446869 w 4501379"/>
                  <a:gd name="connsiteY49" fmla="*/ 3470275 h 4429294"/>
                  <a:gd name="connsiteX50" fmla="*/ 316694 w 4501379"/>
                  <a:gd name="connsiteY50" fmla="*/ 3244850 h 4429294"/>
                  <a:gd name="connsiteX51" fmla="*/ 164294 w 4501379"/>
                  <a:gd name="connsiteY51" fmla="*/ 2892425 h 4429294"/>
                  <a:gd name="connsiteX52" fmla="*/ 56344 w 4501379"/>
                  <a:gd name="connsiteY52" fmla="*/ 2368550 h 4429294"/>
                  <a:gd name="connsiteX53" fmla="*/ 2369 w 4501379"/>
                  <a:gd name="connsiteY53" fmla="*/ 1905000 h 4429294"/>
                  <a:gd name="connsiteX54" fmla="*/ 11894 w 4501379"/>
                  <a:gd name="connsiteY54" fmla="*/ 1838325 h 4429294"/>
                  <a:gd name="connsiteX55" fmla="*/ 30944 w 4501379"/>
                  <a:gd name="connsiteY55" fmla="*/ 1781175 h 4429294"/>
                  <a:gd name="connsiteX56" fmla="*/ 40469 w 4501379"/>
                  <a:gd name="connsiteY56" fmla="*/ 1743075 h 4429294"/>
                  <a:gd name="connsiteX57" fmla="*/ 59519 w 4501379"/>
                  <a:gd name="connsiteY57" fmla="*/ 1685925 h 4429294"/>
                  <a:gd name="connsiteX58" fmla="*/ 69044 w 4501379"/>
                  <a:gd name="connsiteY58" fmla="*/ 1638300 h 4429294"/>
                  <a:gd name="connsiteX59" fmla="*/ 88094 w 4501379"/>
                  <a:gd name="connsiteY59" fmla="*/ 1590675 h 4429294"/>
                  <a:gd name="connsiteX60" fmla="*/ 116669 w 4501379"/>
                  <a:gd name="connsiteY60" fmla="*/ 1504950 h 4429294"/>
                  <a:gd name="connsiteX61" fmla="*/ 135719 w 4501379"/>
                  <a:gd name="connsiteY61" fmla="*/ 1419225 h 4429294"/>
                  <a:gd name="connsiteX62" fmla="*/ 211919 w 4501379"/>
                  <a:gd name="connsiteY62" fmla="*/ 1276350 h 4429294"/>
                  <a:gd name="connsiteX63" fmla="*/ 221444 w 4501379"/>
                  <a:gd name="connsiteY63" fmla="*/ 1247775 h 4429294"/>
                  <a:gd name="connsiteX64" fmla="*/ 250019 w 4501379"/>
                  <a:gd name="connsiteY64" fmla="*/ 1200150 h 4429294"/>
                  <a:gd name="connsiteX65" fmla="*/ 269069 w 4501379"/>
                  <a:gd name="connsiteY65" fmla="*/ 1152525 h 4429294"/>
                  <a:gd name="connsiteX66" fmla="*/ 297644 w 4501379"/>
                  <a:gd name="connsiteY66" fmla="*/ 1114425 h 4429294"/>
                  <a:gd name="connsiteX67" fmla="*/ 345269 w 4501379"/>
                  <a:gd name="connsiteY67" fmla="*/ 1038225 h 4429294"/>
                  <a:gd name="connsiteX68" fmla="*/ 364319 w 4501379"/>
                  <a:gd name="connsiteY68" fmla="*/ 1009650 h 4429294"/>
                  <a:gd name="connsiteX69" fmla="*/ 421469 w 4501379"/>
                  <a:gd name="connsiteY69" fmla="*/ 904875 h 4429294"/>
                  <a:gd name="connsiteX70" fmla="*/ 459569 w 4501379"/>
                  <a:gd name="connsiteY70" fmla="*/ 857250 h 4429294"/>
                  <a:gd name="connsiteX71" fmla="*/ 478619 w 4501379"/>
                  <a:gd name="connsiteY71" fmla="*/ 828675 h 4429294"/>
                  <a:gd name="connsiteX72" fmla="*/ 516719 w 4501379"/>
                  <a:gd name="connsiteY72" fmla="*/ 800100 h 4429294"/>
                  <a:gd name="connsiteX73" fmla="*/ 583394 w 4501379"/>
                  <a:gd name="connsiteY73" fmla="*/ 733425 h 4429294"/>
                  <a:gd name="connsiteX74" fmla="*/ 650069 w 4501379"/>
                  <a:gd name="connsiteY74" fmla="*/ 676275 h 4429294"/>
                  <a:gd name="connsiteX75" fmla="*/ 678644 w 4501379"/>
                  <a:gd name="connsiteY75" fmla="*/ 657225 h 4429294"/>
                  <a:gd name="connsiteX76" fmla="*/ 821519 w 4501379"/>
                  <a:gd name="connsiteY76" fmla="*/ 533400 h 4429294"/>
                  <a:gd name="connsiteX77" fmla="*/ 869144 w 4501379"/>
                  <a:gd name="connsiteY77" fmla="*/ 504825 h 4429294"/>
                  <a:gd name="connsiteX78" fmla="*/ 1148544 w 4501379"/>
                  <a:gd name="connsiteY78" fmla="*/ 311150 h 4429294"/>
                  <a:gd name="connsiteX79" fmla="*/ 1250144 w 4501379"/>
                  <a:gd name="connsiteY79" fmla="*/ 285750 h 4429294"/>
                  <a:gd name="connsiteX80" fmla="*/ 1393019 w 4501379"/>
                  <a:gd name="connsiteY80" fmla="*/ 190500 h 4429294"/>
                  <a:gd name="connsiteX81" fmla="*/ 1431119 w 4501379"/>
                  <a:gd name="connsiteY81" fmla="*/ 161925 h 4429294"/>
                  <a:gd name="connsiteX82" fmla="*/ 1507319 w 4501379"/>
                  <a:gd name="connsiteY82" fmla="*/ 152400 h 4429294"/>
                  <a:gd name="connsiteX83" fmla="*/ 1564469 w 4501379"/>
                  <a:gd name="connsiteY83" fmla="*/ 142875 h 4429294"/>
                  <a:gd name="connsiteX84" fmla="*/ 1697819 w 4501379"/>
                  <a:gd name="connsiteY84" fmla="*/ 123825 h 4429294"/>
                  <a:gd name="connsiteX85" fmla="*/ 1793069 w 4501379"/>
                  <a:gd name="connsiteY85" fmla="*/ 114300 h 4429294"/>
                  <a:gd name="connsiteX86" fmla="*/ 1840694 w 4501379"/>
                  <a:gd name="connsiteY86" fmla="*/ 104775 h 4429294"/>
                  <a:gd name="connsiteX87" fmla="*/ 1897844 w 4501379"/>
                  <a:gd name="connsiteY87" fmla="*/ 95250 h 4429294"/>
                  <a:gd name="connsiteX88" fmla="*/ 2012144 w 4501379"/>
                  <a:gd name="connsiteY88" fmla="*/ 66675 h 4429294"/>
                  <a:gd name="connsiteX89" fmla="*/ 2078819 w 4501379"/>
                  <a:gd name="connsiteY89" fmla="*/ 47625 h 4429294"/>
                  <a:gd name="connsiteX90" fmla="*/ 2145494 w 4501379"/>
                  <a:gd name="connsiteY90" fmla="*/ 38100 h 4429294"/>
                  <a:gd name="connsiteX0" fmla="*/ 2278844 w 4501379"/>
                  <a:gd name="connsiteY0" fmla="*/ 0 h 4429294"/>
                  <a:gd name="connsiteX1" fmla="*/ 2478869 w 4501379"/>
                  <a:gd name="connsiteY1" fmla="*/ 47625 h 4429294"/>
                  <a:gd name="connsiteX2" fmla="*/ 2736044 w 4501379"/>
                  <a:gd name="connsiteY2" fmla="*/ 66675 h 4429294"/>
                  <a:gd name="connsiteX3" fmla="*/ 2812244 w 4501379"/>
                  <a:gd name="connsiteY3" fmla="*/ 76200 h 4429294"/>
                  <a:gd name="connsiteX4" fmla="*/ 2897969 w 4501379"/>
                  <a:gd name="connsiteY4" fmla="*/ 85725 h 4429294"/>
                  <a:gd name="connsiteX5" fmla="*/ 2955119 w 4501379"/>
                  <a:gd name="connsiteY5" fmla="*/ 114300 h 4429294"/>
                  <a:gd name="connsiteX6" fmla="*/ 2993219 w 4501379"/>
                  <a:gd name="connsiteY6" fmla="*/ 123825 h 4429294"/>
                  <a:gd name="connsiteX7" fmla="*/ 3117044 w 4501379"/>
                  <a:gd name="connsiteY7" fmla="*/ 171450 h 4429294"/>
                  <a:gd name="connsiteX8" fmla="*/ 3155144 w 4501379"/>
                  <a:gd name="connsiteY8" fmla="*/ 190500 h 4429294"/>
                  <a:gd name="connsiteX9" fmla="*/ 3221819 w 4501379"/>
                  <a:gd name="connsiteY9" fmla="*/ 228600 h 4429294"/>
                  <a:gd name="connsiteX10" fmla="*/ 3250394 w 4501379"/>
                  <a:gd name="connsiteY10" fmla="*/ 238125 h 4429294"/>
                  <a:gd name="connsiteX11" fmla="*/ 3278969 w 4501379"/>
                  <a:gd name="connsiteY11" fmla="*/ 257175 h 4429294"/>
                  <a:gd name="connsiteX12" fmla="*/ 3307544 w 4501379"/>
                  <a:gd name="connsiteY12" fmla="*/ 266700 h 4429294"/>
                  <a:gd name="connsiteX13" fmla="*/ 3336119 w 4501379"/>
                  <a:gd name="connsiteY13" fmla="*/ 285750 h 4429294"/>
                  <a:gd name="connsiteX14" fmla="*/ 3402794 w 4501379"/>
                  <a:gd name="connsiteY14" fmla="*/ 323850 h 4429294"/>
                  <a:gd name="connsiteX15" fmla="*/ 3450419 w 4501379"/>
                  <a:gd name="connsiteY15" fmla="*/ 361950 h 4429294"/>
                  <a:gd name="connsiteX16" fmla="*/ 3498044 w 4501379"/>
                  <a:gd name="connsiteY16" fmla="*/ 390525 h 4429294"/>
                  <a:gd name="connsiteX17" fmla="*/ 3612344 w 4501379"/>
                  <a:gd name="connsiteY17" fmla="*/ 485775 h 4429294"/>
                  <a:gd name="connsiteX18" fmla="*/ 3726644 w 4501379"/>
                  <a:gd name="connsiteY18" fmla="*/ 542925 h 4429294"/>
                  <a:gd name="connsiteX19" fmla="*/ 3793319 w 4501379"/>
                  <a:gd name="connsiteY19" fmla="*/ 581025 h 4429294"/>
                  <a:gd name="connsiteX20" fmla="*/ 4009219 w 4501379"/>
                  <a:gd name="connsiteY20" fmla="*/ 819150 h 4429294"/>
                  <a:gd name="connsiteX21" fmla="*/ 4145744 w 4501379"/>
                  <a:gd name="connsiteY21" fmla="*/ 990600 h 4429294"/>
                  <a:gd name="connsiteX22" fmla="*/ 4231469 w 4501379"/>
                  <a:gd name="connsiteY22" fmla="*/ 1143000 h 4429294"/>
                  <a:gd name="connsiteX23" fmla="*/ 4288619 w 4501379"/>
                  <a:gd name="connsiteY23" fmla="*/ 1266825 h 4429294"/>
                  <a:gd name="connsiteX24" fmla="*/ 4326719 w 4501379"/>
                  <a:gd name="connsiteY24" fmla="*/ 1362075 h 4429294"/>
                  <a:gd name="connsiteX25" fmla="*/ 4374344 w 4501379"/>
                  <a:gd name="connsiteY25" fmla="*/ 1552575 h 4429294"/>
                  <a:gd name="connsiteX26" fmla="*/ 4412444 w 4501379"/>
                  <a:gd name="connsiteY26" fmla="*/ 1685925 h 4429294"/>
                  <a:gd name="connsiteX27" fmla="*/ 4501344 w 4501379"/>
                  <a:gd name="connsiteY27" fmla="*/ 2181225 h 4429294"/>
                  <a:gd name="connsiteX28" fmla="*/ 4428319 w 4501379"/>
                  <a:gd name="connsiteY28" fmla="*/ 2768600 h 4429294"/>
                  <a:gd name="connsiteX29" fmla="*/ 4364819 w 4501379"/>
                  <a:gd name="connsiteY29" fmla="*/ 2990850 h 4429294"/>
                  <a:gd name="connsiteX30" fmla="*/ 4260044 w 4501379"/>
                  <a:gd name="connsiteY30" fmla="*/ 3248025 h 4429294"/>
                  <a:gd name="connsiteX31" fmla="*/ 4164794 w 4501379"/>
                  <a:gd name="connsiteY31" fmla="*/ 3400425 h 4429294"/>
                  <a:gd name="connsiteX32" fmla="*/ 4040969 w 4501379"/>
                  <a:gd name="connsiteY32" fmla="*/ 3533775 h 4429294"/>
                  <a:gd name="connsiteX33" fmla="*/ 3936194 w 4501379"/>
                  <a:gd name="connsiteY33" fmla="*/ 3648075 h 4429294"/>
                  <a:gd name="connsiteX34" fmla="*/ 3640919 w 4501379"/>
                  <a:gd name="connsiteY34" fmla="*/ 3971925 h 4429294"/>
                  <a:gd name="connsiteX35" fmla="*/ 3498044 w 4501379"/>
                  <a:gd name="connsiteY35" fmla="*/ 4083050 h 4429294"/>
                  <a:gd name="connsiteX36" fmla="*/ 3202769 w 4501379"/>
                  <a:gd name="connsiteY36" fmla="*/ 4222750 h 4429294"/>
                  <a:gd name="connsiteX37" fmla="*/ 3050369 w 4501379"/>
                  <a:gd name="connsiteY37" fmla="*/ 4286250 h 4429294"/>
                  <a:gd name="connsiteX38" fmla="*/ 2917019 w 4501379"/>
                  <a:gd name="connsiteY38" fmla="*/ 4333875 h 4429294"/>
                  <a:gd name="connsiteX39" fmla="*/ 2793194 w 4501379"/>
                  <a:gd name="connsiteY39" fmla="*/ 4371975 h 4429294"/>
                  <a:gd name="connsiteX40" fmla="*/ 2561419 w 4501379"/>
                  <a:gd name="connsiteY40" fmla="*/ 4391025 h 4429294"/>
                  <a:gd name="connsiteX41" fmla="*/ 2107394 w 4501379"/>
                  <a:gd name="connsiteY41" fmla="*/ 4429125 h 4429294"/>
                  <a:gd name="connsiteX42" fmla="*/ 1916894 w 4501379"/>
                  <a:gd name="connsiteY42" fmla="*/ 4400550 h 4429294"/>
                  <a:gd name="connsiteX43" fmla="*/ 1554944 w 4501379"/>
                  <a:gd name="connsiteY43" fmla="*/ 4305300 h 4429294"/>
                  <a:gd name="connsiteX44" fmla="*/ 1313644 w 4501379"/>
                  <a:gd name="connsiteY44" fmla="*/ 4216400 h 4429294"/>
                  <a:gd name="connsiteX45" fmla="*/ 1145369 w 4501379"/>
                  <a:gd name="connsiteY45" fmla="*/ 4111625 h 4429294"/>
                  <a:gd name="connsiteX46" fmla="*/ 926294 w 4501379"/>
                  <a:gd name="connsiteY46" fmla="*/ 3968750 h 4429294"/>
                  <a:gd name="connsiteX47" fmla="*/ 592919 w 4501379"/>
                  <a:gd name="connsiteY47" fmla="*/ 3657600 h 4429294"/>
                  <a:gd name="connsiteX48" fmla="*/ 446869 w 4501379"/>
                  <a:gd name="connsiteY48" fmla="*/ 3470275 h 4429294"/>
                  <a:gd name="connsiteX49" fmla="*/ 316694 w 4501379"/>
                  <a:gd name="connsiteY49" fmla="*/ 3244850 h 4429294"/>
                  <a:gd name="connsiteX50" fmla="*/ 164294 w 4501379"/>
                  <a:gd name="connsiteY50" fmla="*/ 2892425 h 4429294"/>
                  <a:gd name="connsiteX51" fmla="*/ 56344 w 4501379"/>
                  <a:gd name="connsiteY51" fmla="*/ 2368550 h 4429294"/>
                  <a:gd name="connsiteX52" fmla="*/ 2369 w 4501379"/>
                  <a:gd name="connsiteY52" fmla="*/ 1905000 h 4429294"/>
                  <a:gd name="connsiteX53" fmla="*/ 11894 w 4501379"/>
                  <a:gd name="connsiteY53" fmla="*/ 1838325 h 4429294"/>
                  <a:gd name="connsiteX54" fmla="*/ 30944 w 4501379"/>
                  <a:gd name="connsiteY54" fmla="*/ 1781175 h 4429294"/>
                  <a:gd name="connsiteX55" fmla="*/ 40469 w 4501379"/>
                  <a:gd name="connsiteY55" fmla="*/ 1743075 h 4429294"/>
                  <a:gd name="connsiteX56" fmla="*/ 59519 w 4501379"/>
                  <a:gd name="connsiteY56" fmla="*/ 1685925 h 4429294"/>
                  <a:gd name="connsiteX57" fmla="*/ 69044 w 4501379"/>
                  <a:gd name="connsiteY57" fmla="*/ 1638300 h 4429294"/>
                  <a:gd name="connsiteX58" fmla="*/ 88094 w 4501379"/>
                  <a:gd name="connsiteY58" fmla="*/ 1590675 h 4429294"/>
                  <a:gd name="connsiteX59" fmla="*/ 116669 w 4501379"/>
                  <a:gd name="connsiteY59" fmla="*/ 1504950 h 4429294"/>
                  <a:gd name="connsiteX60" fmla="*/ 135719 w 4501379"/>
                  <a:gd name="connsiteY60" fmla="*/ 1419225 h 4429294"/>
                  <a:gd name="connsiteX61" fmla="*/ 211919 w 4501379"/>
                  <a:gd name="connsiteY61" fmla="*/ 1276350 h 4429294"/>
                  <a:gd name="connsiteX62" fmla="*/ 221444 w 4501379"/>
                  <a:gd name="connsiteY62" fmla="*/ 1247775 h 4429294"/>
                  <a:gd name="connsiteX63" fmla="*/ 250019 w 4501379"/>
                  <a:gd name="connsiteY63" fmla="*/ 1200150 h 4429294"/>
                  <a:gd name="connsiteX64" fmla="*/ 269069 w 4501379"/>
                  <a:gd name="connsiteY64" fmla="*/ 1152525 h 4429294"/>
                  <a:gd name="connsiteX65" fmla="*/ 297644 w 4501379"/>
                  <a:gd name="connsiteY65" fmla="*/ 1114425 h 4429294"/>
                  <a:gd name="connsiteX66" fmla="*/ 345269 w 4501379"/>
                  <a:gd name="connsiteY66" fmla="*/ 1038225 h 4429294"/>
                  <a:gd name="connsiteX67" fmla="*/ 364319 w 4501379"/>
                  <a:gd name="connsiteY67" fmla="*/ 1009650 h 4429294"/>
                  <a:gd name="connsiteX68" fmla="*/ 421469 w 4501379"/>
                  <a:gd name="connsiteY68" fmla="*/ 904875 h 4429294"/>
                  <a:gd name="connsiteX69" fmla="*/ 459569 w 4501379"/>
                  <a:gd name="connsiteY69" fmla="*/ 857250 h 4429294"/>
                  <a:gd name="connsiteX70" fmla="*/ 478619 w 4501379"/>
                  <a:gd name="connsiteY70" fmla="*/ 828675 h 4429294"/>
                  <a:gd name="connsiteX71" fmla="*/ 516719 w 4501379"/>
                  <a:gd name="connsiteY71" fmla="*/ 800100 h 4429294"/>
                  <a:gd name="connsiteX72" fmla="*/ 583394 w 4501379"/>
                  <a:gd name="connsiteY72" fmla="*/ 733425 h 4429294"/>
                  <a:gd name="connsiteX73" fmla="*/ 650069 w 4501379"/>
                  <a:gd name="connsiteY73" fmla="*/ 676275 h 4429294"/>
                  <a:gd name="connsiteX74" fmla="*/ 678644 w 4501379"/>
                  <a:gd name="connsiteY74" fmla="*/ 657225 h 4429294"/>
                  <a:gd name="connsiteX75" fmla="*/ 821519 w 4501379"/>
                  <a:gd name="connsiteY75" fmla="*/ 533400 h 4429294"/>
                  <a:gd name="connsiteX76" fmla="*/ 869144 w 4501379"/>
                  <a:gd name="connsiteY76" fmla="*/ 504825 h 4429294"/>
                  <a:gd name="connsiteX77" fmla="*/ 1148544 w 4501379"/>
                  <a:gd name="connsiteY77" fmla="*/ 311150 h 4429294"/>
                  <a:gd name="connsiteX78" fmla="*/ 1250144 w 4501379"/>
                  <a:gd name="connsiteY78" fmla="*/ 285750 h 4429294"/>
                  <a:gd name="connsiteX79" fmla="*/ 1393019 w 4501379"/>
                  <a:gd name="connsiteY79" fmla="*/ 190500 h 4429294"/>
                  <a:gd name="connsiteX80" fmla="*/ 1431119 w 4501379"/>
                  <a:gd name="connsiteY80" fmla="*/ 161925 h 4429294"/>
                  <a:gd name="connsiteX81" fmla="*/ 1507319 w 4501379"/>
                  <a:gd name="connsiteY81" fmla="*/ 152400 h 4429294"/>
                  <a:gd name="connsiteX82" fmla="*/ 1564469 w 4501379"/>
                  <a:gd name="connsiteY82" fmla="*/ 142875 h 4429294"/>
                  <a:gd name="connsiteX83" fmla="*/ 1697819 w 4501379"/>
                  <a:gd name="connsiteY83" fmla="*/ 123825 h 4429294"/>
                  <a:gd name="connsiteX84" fmla="*/ 1793069 w 4501379"/>
                  <a:gd name="connsiteY84" fmla="*/ 114300 h 4429294"/>
                  <a:gd name="connsiteX85" fmla="*/ 1840694 w 4501379"/>
                  <a:gd name="connsiteY85" fmla="*/ 104775 h 4429294"/>
                  <a:gd name="connsiteX86" fmla="*/ 1897844 w 4501379"/>
                  <a:gd name="connsiteY86" fmla="*/ 95250 h 4429294"/>
                  <a:gd name="connsiteX87" fmla="*/ 2012144 w 4501379"/>
                  <a:gd name="connsiteY87" fmla="*/ 66675 h 4429294"/>
                  <a:gd name="connsiteX88" fmla="*/ 2078819 w 4501379"/>
                  <a:gd name="connsiteY88" fmla="*/ 47625 h 4429294"/>
                  <a:gd name="connsiteX89" fmla="*/ 2145494 w 4501379"/>
                  <a:gd name="connsiteY89" fmla="*/ 38100 h 4429294"/>
                  <a:gd name="connsiteX0" fmla="*/ 2278844 w 4501379"/>
                  <a:gd name="connsiteY0" fmla="*/ 0 h 4429294"/>
                  <a:gd name="connsiteX1" fmla="*/ 2736044 w 4501379"/>
                  <a:gd name="connsiteY1" fmla="*/ 66675 h 4429294"/>
                  <a:gd name="connsiteX2" fmla="*/ 2812244 w 4501379"/>
                  <a:gd name="connsiteY2" fmla="*/ 76200 h 4429294"/>
                  <a:gd name="connsiteX3" fmla="*/ 2897969 w 4501379"/>
                  <a:gd name="connsiteY3" fmla="*/ 85725 h 4429294"/>
                  <a:gd name="connsiteX4" fmla="*/ 2955119 w 4501379"/>
                  <a:gd name="connsiteY4" fmla="*/ 114300 h 4429294"/>
                  <a:gd name="connsiteX5" fmla="*/ 2993219 w 4501379"/>
                  <a:gd name="connsiteY5" fmla="*/ 123825 h 4429294"/>
                  <a:gd name="connsiteX6" fmla="*/ 3117044 w 4501379"/>
                  <a:gd name="connsiteY6" fmla="*/ 171450 h 4429294"/>
                  <a:gd name="connsiteX7" fmla="*/ 3155144 w 4501379"/>
                  <a:gd name="connsiteY7" fmla="*/ 190500 h 4429294"/>
                  <a:gd name="connsiteX8" fmla="*/ 3221819 w 4501379"/>
                  <a:gd name="connsiteY8" fmla="*/ 228600 h 4429294"/>
                  <a:gd name="connsiteX9" fmla="*/ 3250394 w 4501379"/>
                  <a:gd name="connsiteY9" fmla="*/ 238125 h 4429294"/>
                  <a:gd name="connsiteX10" fmla="*/ 3278969 w 4501379"/>
                  <a:gd name="connsiteY10" fmla="*/ 257175 h 4429294"/>
                  <a:gd name="connsiteX11" fmla="*/ 3307544 w 4501379"/>
                  <a:gd name="connsiteY11" fmla="*/ 266700 h 4429294"/>
                  <a:gd name="connsiteX12" fmla="*/ 3336119 w 4501379"/>
                  <a:gd name="connsiteY12" fmla="*/ 285750 h 4429294"/>
                  <a:gd name="connsiteX13" fmla="*/ 3402794 w 4501379"/>
                  <a:gd name="connsiteY13" fmla="*/ 323850 h 4429294"/>
                  <a:gd name="connsiteX14" fmla="*/ 3450419 w 4501379"/>
                  <a:gd name="connsiteY14" fmla="*/ 361950 h 4429294"/>
                  <a:gd name="connsiteX15" fmla="*/ 3498044 w 4501379"/>
                  <a:gd name="connsiteY15" fmla="*/ 390525 h 4429294"/>
                  <a:gd name="connsiteX16" fmla="*/ 3612344 w 4501379"/>
                  <a:gd name="connsiteY16" fmla="*/ 485775 h 4429294"/>
                  <a:gd name="connsiteX17" fmla="*/ 3726644 w 4501379"/>
                  <a:gd name="connsiteY17" fmla="*/ 542925 h 4429294"/>
                  <a:gd name="connsiteX18" fmla="*/ 3793319 w 4501379"/>
                  <a:gd name="connsiteY18" fmla="*/ 581025 h 4429294"/>
                  <a:gd name="connsiteX19" fmla="*/ 4009219 w 4501379"/>
                  <a:gd name="connsiteY19" fmla="*/ 819150 h 4429294"/>
                  <a:gd name="connsiteX20" fmla="*/ 4145744 w 4501379"/>
                  <a:gd name="connsiteY20" fmla="*/ 990600 h 4429294"/>
                  <a:gd name="connsiteX21" fmla="*/ 4231469 w 4501379"/>
                  <a:gd name="connsiteY21" fmla="*/ 1143000 h 4429294"/>
                  <a:gd name="connsiteX22" fmla="*/ 4288619 w 4501379"/>
                  <a:gd name="connsiteY22" fmla="*/ 1266825 h 4429294"/>
                  <a:gd name="connsiteX23" fmla="*/ 4326719 w 4501379"/>
                  <a:gd name="connsiteY23" fmla="*/ 1362075 h 4429294"/>
                  <a:gd name="connsiteX24" fmla="*/ 4374344 w 4501379"/>
                  <a:gd name="connsiteY24" fmla="*/ 1552575 h 4429294"/>
                  <a:gd name="connsiteX25" fmla="*/ 4412444 w 4501379"/>
                  <a:gd name="connsiteY25" fmla="*/ 1685925 h 4429294"/>
                  <a:gd name="connsiteX26" fmla="*/ 4501344 w 4501379"/>
                  <a:gd name="connsiteY26" fmla="*/ 2181225 h 4429294"/>
                  <a:gd name="connsiteX27" fmla="*/ 4428319 w 4501379"/>
                  <a:gd name="connsiteY27" fmla="*/ 2768600 h 4429294"/>
                  <a:gd name="connsiteX28" fmla="*/ 4364819 w 4501379"/>
                  <a:gd name="connsiteY28" fmla="*/ 2990850 h 4429294"/>
                  <a:gd name="connsiteX29" fmla="*/ 4260044 w 4501379"/>
                  <a:gd name="connsiteY29" fmla="*/ 3248025 h 4429294"/>
                  <a:gd name="connsiteX30" fmla="*/ 4164794 w 4501379"/>
                  <a:gd name="connsiteY30" fmla="*/ 3400425 h 4429294"/>
                  <a:gd name="connsiteX31" fmla="*/ 4040969 w 4501379"/>
                  <a:gd name="connsiteY31" fmla="*/ 3533775 h 4429294"/>
                  <a:gd name="connsiteX32" fmla="*/ 3936194 w 4501379"/>
                  <a:gd name="connsiteY32" fmla="*/ 3648075 h 4429294"/>
                  <a:gd name="connsiteX33" fmla="*/ 3640919 w 4501379"/>
                  <a:gd name="connsiteY33" fmla="*/ 3971925 h 4429294"/>
                  <a:gd name="connsiteX34" fmla="*/ 3498044 w 4501379"/>
                  <a:gd name="connsiteY34" fmla="*/ 4083050 h 4429294"/>
                  <a:gd name="connsiteX35" fmla="*/ 3202769 w 4501379"/>
                  <a:gd name="connsiteY35" fmla="*/ 4222750 h 4429294"/>
                  <a:gd name="connsiteX36" fmla="*/ 3050369 w 4501379"/>
                  <a:gd name="connsiteY36" fmla="*/ 4286250 h 4429294"/>
                  <a:gd name="connsiteX37" fmla="*/ 2917019 w 4501379"/>
                  <a:gd name="connsiteY37" fmla="*/ 4333875 h 4429294"/>
                  <a:gd name="connsiteX38" fmla="*/ 2793194 w 4501379"/>
                  <a:gd name="connsiteY38" fmla="*/ 4371975 h 4429294"/>
                  <a:gd name="connsiteX39" fmla="*/ 2561419 w 4501379"/>
                  <a:gd name="connsiteY39" fmla="*/ 4391025 h 4429294"/>
                  <a:gd name="connsiteX40" fmla="*/ 2107394 w 4501379"/>
                  <a:gd name="connsiteY40" fmla="*/ 4429125 h 4429294"/>
                  <a:gd name="connsiteX41" fmla="*/ 1916894 w 4501379"/>
                  <a:gd name="connsiteY41" fmla="*/ 4400550 h 4429294"/>
                  <a:gd name="connsiteX42" fmla="*/ 1554944 w 4501379"/>
                  <a:gd name="connsiteY42" fmla="*/ 4305300 h 4429294"/>
                  <a:gd name="connsiteX43" fmla="*/ 1313644 w 4501379"/>
                  <a:gd name="connsiteY43" fmla="*/ 4216400 h 4429294"/>
                  <a:gd name="connsiteX44" fmla="*/ 1145369 w 4501379"/>
                  <a:gd name="connsiteY44" fmla="*/ 4111625 h 4429294"/>
                  <a:gd name="connsiteX45" fmla="*/ 926294 w 4501379"/>
                  <a:gd name="connsiteY45" fmla="*/ 3968750 h 4429294"/>
                  <a:gd name="connsiteX46" fmla="*/ 592919 w 4501379"/>
                  <a:gd name="connsiteY46" fmla="*/ 3657600 h 4429294"/>
                  <a:gd name="connsiteX47" fmla="*/ 446869 w 4501379"/>
                  <a:gd name="connsiteY47" fmla="*/ 3470275 h 4429294"/>
                  <a:gd name="connsiteX48" fmla="*/ 316694 w 4501379"/>
                  <a:gd name="connsiteY48" fmla="*/ 3244850 h 4429294"/>
                  <a:gd name="connsiteX49" fmla="*/ 164294 w 4501379"/>
                  <a:gd name="connsiteY49" fmla="*/ 2892425 h 4429294"/>
                  <a:gd name="connsiteX50" fmla="*/ 56344 w 4501379"/>
                  <a:gd name="connsiteY50" fmla="*/ 2368550 h 4429294"/>
                  <a:gd name="connsiteX51" fmla="*/ 2369 w 4501379"/>
                  <a:gd name="connsiteY51" fmla="*/ 1905000 h 4429294"/>
                  <a:gd name="connsiteX52" fmla="*/ 11894 w 4501379"/>
                  <a:gd name="connsiteY52" fmla="*/ 1838325 h 4429294"/>
                  <a:gd name="connsiteX53" fmla="*/ 30944 w 4501379"/>
                  <a:gd name="connsiteY53" fmla="*/ 1781175 h 4429294"/>
                  <a:gd name="connsiteX54" fmla="*/ 40469 w 4501379"/>
                  <a:gd name="connsiteY54" fmla="*/ 1743075 h 4429294"/>
                  <a:gd name="connsiteX55" fmla="*/ 59519 w 4501379"/>
                  <a:gd name="connsiteY55" fmla="*/ 1685925 h 4429294"/>
                  <a:gd name="connsiteX56" fmla="*/ 69044 w 4501379"/>
                  <a:gd name="connsiteY56" fmla="*/ 1638300 h 4429294"/>
                  <a:gd name="connsiteX57" fmla="*/ 88094 w 4501379"/>
                  <a:gd name="connsiteY57" fmla="*/ 1590675 h 4429294"/>
                  <a:gd name="connsiteX58" fmla="*/ 116669 w 4501379"/>
                  <a:gd name="connsiteY58" fmla="*/ 1504950 h 4429294"/>
                  <a:gd name="connsiteX59" fmla="*/ 135719 w 4501379"/>
                  <a:gd name="connsiteY59" fmla="*/ 1419225 h 4429294"/>
                  <a:gd name="connsiteX60" fmla="*/ 211919 w 4501379"/>
                  <a:gd name="connsiteY60" fmla="*/ 1276350 h 4429294"/>
                  <a:gd name="connsiteX61" fmla="*/ 221444 w 4501379"/>
                  <a:gd name="connsiteY61" fmla="*/ 1247775 h 4429294"/>
                  <a:gd name="connsiteX62" fmla="*/ 250019 w 4501379"/>
                  <a:gd name="connsiteY62" fmla="*/ 1200150 h 4429294"/>
                  <a:gd name="connsiteX63" fmla="*/ 269069 w 4501379"/>
                  <a:gd name="connsiteY63" fmla="*/ 1152525 h 4429294"/>
                  <a:gd name="connsiteX64" fmla="*/ 297644 w 4501379"/>
                  <a:gd name="connsiteY64" fmla="*/ 1114425 h 4429294"/>
                  <a:gd name="connsiteX65" fmla="*/ 345269 w 4501379"/>
                  <a:gd name="connsiteY65" fmla="*/ 1038225 h 4429294"/>
                  <a:gd name="connsiteX66" fmla="*/ 364319 w 4501379"/>
                  <a:gd name="connsiteY66" fmla="*/ 1009650 h 4429294"/>
                  <a:gd name="connsiteX67" fmla="*/ 421469 w 4501379"/>
                  <a:gd name="connsiteY67" fmla="*/ 904875 h 4429294"/>
                  <a:gd name="connsiteX68" fmla="*/ 459569 w 4501379"/>
                  <a:gd name="connsiteY68" fmla="*/ 857250 h 4429294"/>
                  <a:gd name="connsiteX69" fmla="*/ 478619 w 4501379"/>
                  <a:gd name="connsiteY69" fmla="*/ 828675 h 4429294"/>
                  <a:gd name="connsiteX70" fmla="*/ 516719 w 4501379"/>
                  <a:gd name="connsiteY70" fmla="*/ 800100 h 4429294"/>
                  <a:gd name="connsiteX71" fmla="*/ 583394 w 4501379"/>
                  <a:gd name="connsiteY71" fmla="*/ 733425 h 4429294"/>
                  <a:gd name="connsiteX72" fmla="*/ 650069 w 4501379"/>
                  <a:gd name="connsiteY72" fmla="*/ 676275 h 4429294"/>
                  <a:gd name="connsiteX73" fmla="*/ 678644 w 4501379"/>
                  <a:gd name="connsiteY73" fmla="*/ 657225 h 4429294"/>
                  <a:gd name="connsiteX74" fmla="*/ 821519 w 4501379"/>
                  <a:gd name="connsiteY74" fmla="*/ 533400 h 4429294"/>
                  <a:gd name="connsiteX75" fmla="*/ 869144 w 4501379"/>
                  <a:gd name="connsiteY75" fmla="*/ 504825 h 4429294"/>
                  <a:gd name="connsiteX76" fmla="*/ 1148544 w 4501379"/>
                  <a:gd name="connsiteY76" fmla="*/ 311150 h 4429294"/>
                  <a:gd name="connsiteX77" fmla="*/ 1250144 w 4501379"/>
                  <a:gd name="connsiteY77" fmla="*/ 285750 h 4429294"/>
                  <a:gd name="connsiteX78" fmla="*/ 1393019 w 4501379"/>
                  <a:gd name="connsiteY78" fmla="*/ 190500 h 4429294"/>
                  <a:gd name="connsiteX79" fmla="*/ 1431119 w 4501379"/>
                  <a:gd name="connsiteY79" fmla="*/ 161925 h 4429294"/>
                  <a:gd name="connsiteX80" fmla="*/ 1507319 w 4501379"/>
                  <a:gd name="connsiteY80" fmla="*/ 152400 h 4429294"/>
                  <a:gd name="connsiteX81" fmla="*/ 1564469 w 4501379"/>
                  <a:gd name="connsiteY81" fmla="*/ 142875 h 4429294"/>
                  <a:gd name="connsiteX82" fmla="*/ 1697819 w 4501379"/>
                  <a:gd name="connsiteY82" fmla="*/ 123825 h 4429294"/>
                  <a:gd name="connsiteX83" fmla="*/ 1793069 w 4501379"/>
                  <a:gd name="connsiteY83" fmla="*/ 114300 h 4429294"/>
                  <a:gd name="connsiteX84" fmla="*/ 1840694 w 4501379"/>
                  <a:gd name="connsiteY84" fmla="*/ 104775 h 4429294"/>
                  <a:gd name="connsiteX85" fmla="*/ 1897844 w 4501379"/>
                  <a:gd name="connsiteY85" fmla="*/ 95250 h 4429294"/>
                  <a:gd name="connsiteX86" fmla="*/ 2012144 w 4501379"/>
                  <a:gd name="connsiteY86" fmla="*/ 66675 h 4429294"/>
                  <a:gd name="connsiteX87" fmla="*/ 2078819 w 4501379"/>
                  <a:gd name="connsiteY87" fmla="*/ 47625 h 4429294"/>
                  <a:gd name="connsiteX88" fmla="*/ 2145494 w 4501379"/>
                  <a:gd name="connsiteY8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12244 w 4501379"/>
                  <a:gd name="connsiteY2" fmla="*/ 76200 h 4429294"/>
                  <a:gd name="connsiteX3" fmla="*/ 2897969 w 4501379"/>
                  <a:gd name="connsiteY3" fmla="*/ 85725 h 4429294"/>
                  <a:gd name="connsiteX4" fmla="*/ 2955119 w 4501379"/>
                  <a:gd name="connsiteY4" fmla="*/ 114300 h 4429294"/>
                  <a:gd name="connsiteX5" fmla="*/ 2993219 w 4501379"/>
                  <a:gd name="connsiteY5" fmla="*/ 123825 h 4429294"/>
                  <a:gd name="connsiteX6" fmla="*/ 3117044 w 4501379"/>
                  <a:gd name="connsiteY6" fmla="*/ 171450 h 4429294"/>
                  <a:gd name="connsiteX7" fmla="*/ 3155144 w 4501379"/>
                  <a:gd name="connsiteY7" fmla="*/ 190500 h 4429294"/>
                  <a:gd name="connsiteX8" fmla="*/ 3221819 w 4501379"/>
                  <a:gd name="connsiteY8" fmla="*/ 228600 h 4429294"/>
                  <a:gd name="connsiteX9" fmla="*/ 3250394 w 4501379"/>
                  <a:gd name="connsiteY9" fmla="*/ 238125 h 4429294"/>
                  <a:gd name="connsiteX10" fmla="*/ 3278969 w 4501379"/>
                  <a:gd name="connsiteY10" fmla="*/ 257175 h 4429294"/>
                  <a:gd name="connsiteX11" fmla="*/ 3307544 w 4501379"/>
                  <a:gd name="connsiteY11" fmla="*/ 266700 h 4429294"/>
                  <a:gd name="connsiteX12" fmla="*/ 3336119 w 4501379"/>
                  <a:gd name="connsiteY12" fmla="*/ 285750 h 4429294"/>
                  <a:gd name="connsiteX13" fmla="*/ 3402794 w 4501379"/>
                  <a:gd name="connsiteY13" fmla="*/ 323850 h 4429294"/>
                  <a:gd name="connsiteX14" fmla="*/ 3450419 w 4501379"/>
                  <a:gd name="connsiteY14" fmla="*/ 361950 h 4429294"/>
                  <a:gd name="connsiteX15" fmla="*/ 3498044 w 4501379"/>
                  <a:gd name="connsiteY15" fmla="*/ 390525 h 4429294"/>
                  <a:gd name="connsiteX16" fmla="*/ 3612344 w 4501379"/>
                  <a:gd name="connsiteY16" fmla="*/ 485775 h 4429294"/>
                  <a:gd name="connsiteX17" fmla="*/ 3726644 w 4501379"/>
                  <a:gd name="connsiteY17" fmla="*/ 542925 h 4429294"/>
                  <a:gd name="connsiteX18" fmla="*/ 3793319 w 4501379"/>
                  <a:gd name="connsiteY18" fmla="*/ 581025 h 4429294"/>
                  <a:gd name="connsiteX19" fmla="*/ 4009219 w 4501379"/>
                  <a:gd name="connsiteY19" fmla="*/ 819150 h 4429294"/>
                  <a:gd name="connsiteX20" fmla="*/ 4145744 w 4501379"/>
                  <a:gd name="connsiteY20" fmla="*/ 990600 h 4429294"/>
                  <a:gd name="connsiteX21" fmla="*/ 4231469 w 4501379"/>
                  <a:gd name="connsiteY21" fmla="*/ 1143000 h 4429294"/>
                  <a:gd name="connsiteX22" fmla="*/ 4288619 w 4501379"/>
                  <a:gd name="connsiteY22" fmla="*/ 1266825 h 4429294"/>
                  <a:gd name="connsiteX23" fmla="*/ 4326719 w 4501379"/>
                  <a:gd name="connsiteY23" fmla="*/ 1362075 h 4429294"/>
                  <a:gd name="connsiteX24" fmla="*/ 4374344 w 4501379"/>
                  <a:gd name="connsiteY24" fmla="*/ 1552575 h 4429294"/>
                  <a:gd name="connsiteX25" fmla="*/ 4412444 w 4501379"/>
                  <a:gd name="connsiteY25" fmla="*/ 1685925 h 4429294"/>
                  <a:gd name="connsiteX26" fmla="*/ 4501344 w 4501379"/>
                  <a:gd name="connsiteY26" fmla="*/ 2181225 h 4429294"/>
                  <a:gd name="connsiteX27" fmla="*/ 4428319 w 4501379"/>
                  <a:gd name="connsiteY27" fmla="*/ 2768600 h 4429294"/>
                  <a:gd name="connsiteX28" fmla="*/ 4364819 w 4501379"/>
                  <a:gd name="connsiteY28" fmla="*/ 2990850 h 4429294"/>
                  <a:gd name="connsiteX29" fmla="*/ 4260044 w 4501379"/>
                  <a:gd name="connsiteY29" fmla="*/ 3248025 h 4429294"/>
                  <a:gd name="connsiteX30" fmla="*/ 4164794 w 4501379"/>
                  <a:gd name="connsiteY30" fmla="*/ 3400425 h 4429294"/>
                  <a:gd name="connsiteX31" fmla="*/ 4040969 w 4501379"/>
                  <a:gd name="connsiteY31" fmla="*/ 3533775 h 4429294"/>
                  <a:gd name="connsiteX32" fmla="*/ 3936194 w 4501379"/>
                  <a:gd name="connsiteY32" fmla="*/ 3648075 h 4429294"/>
                  <a:gd name="connsiteX33" fmla="*/ 3640919 w 4501379"/>
                  <a:gd name="connsiteY33" fmla="*/ 3971925 h 4429294"/>
                  <a:gd name="connsiteX34" fmla="*/ 3498044 w 4501379"/>
                  <a:gd name="connsiteY34" fmla="*/ 4083050 h 4429294"/>
                  <a:gd name="connsiteX35" fmla="*/ 3202769 w 4501379"/>
                  <a:gd name="connsiteY35" fmla="*/ 4222750 h 4429294"/>
                  <a:gd name="connsiteX36" fmla="*/ 3050369 w 4501379"/>
                  <a:gd name="connsiteY36" fmla="*/ 4286250 h 4429294"/>
                  <a:gd name="connsiteX37" fmla="*/ 2917019 w 4501379"/>
                  <a:gd name="connsiteY37" fmla="*/ 4333875 h 4429294"/>
                  <a:gd name="connsiteX38" fmla="*/ 2793194 w 4501379"/>
                  <a:gd name="connsiteY38" fmla="*/ 4371975 h 4429294"/>
                  <a:gd name="connsiteX39" fmla="*/ 2561419 w 4501379"/>
                  <a:gd name="connsiteY39" fmla="*/ 4391025 h 4429294"/>
                  <a:gd name="connsiteX40" fmla="*/ 2107394 w 4501379"/>
                  <a:gd name="connsiteY40" fmla="*/ 4429125 h 4429294"/>
                  <a:gd name="connsiteX41" fmla="*/ 1916894 w 4501379"/>
                  <a:gd name="connsiteY41" fmla="*/ 4400550 h 4429294"/>
                  <a:gd name="connsiteX42" fmla="*/ 1554944 w 4501379"/>
                  <a:gd name="connsiteY42" fmla="*/ 4305300 h 4429294"/>
                  <a:gd name="connsiteX43" fmla="*/ 1313644 w 4501379"/>
                  <a:gd name="connsiteY43" fmla="*/ 4216400 h 4429294"/>
                  <a:gd name="connsiteX44" fmla="*/ 1145369 w 4501379"/>
                  <a:gd name="connsiteY44" fmla="*/ 4111625 h 4429294"/>
                  <a:gd name="connsiteX45" fmla="*/ 926294 w 4501379"/>
                  <a:gd name="connsiteY45" fmla="*/ 3968750 h 4429294"/>
                  <a:gd name="connsiteX46" fmla="*/ 592919 w 4501379"/>
                  <a:gd name="connsiteY46" fmla="*/ 3657600 h 4429294"/>
                  <a:gd name="connsiteX47" fmla="*/ 446869 w 4501379"/>
                  <a:gd name="connsiteY47" fmla="*/ 3470275 h 4429294"/>
                  <a:gd name="connsiteX48" fmla="*/ 316694 w 4501379"/>
                  <a:gd name="connsiteY48" fmla="*/ 3244850 h 4429294"/>
                  <a:gd name="connsiteX49" fmla="*/ 164294 w 4501379"/>
                  <a:gd name="connsiteY49" fmla="*/ 2892425 h 4429294"/>
                  <a:gd name="connsiteX50" fmla="*/ 56344 w 4501379"/>
                  <a:gd name="connsiteY50" fmla="*/ 2368550 h 4429294"/>
                  <a:gd name="connsiteX51" fmla="*/ 2369 w 4501379"/>
                  <a:gd name="connsiteY51" fmla="*/ 1905000 h 4429294"/>
                  <a:gd name="connsiteX52" fmla="*/ 11894 w 4501379"/>
                  <a:gd name="connsiteY52" fmla="*/ 1838325 h 4429294"/>
                  <a:gd name="connsiteX53" fmla="*/ 30944 w 4501379"/>
                  <a:gd name="connsiteY53" fmla="*/ 1781175 h 4429294"/>
                  <a:gd name="connsiteX54" fmla="*/ 40469 w 4501379"/>
                  <a:gd name="connsiteY54" fmla="*/ 1743075 h 4429294"/>
                  <a:gd name="connsiteX55" fmla="*/ 59519 w 4501379"/>
                  <a:gd name="connsiteY55" fmla="*/ 1685925 h 4429294"/>
                  <a:gd name="connsiteX56" fmla="*/ 69044 w 4501379"/>
                  <a:gd name="connsiteY56" fmla="*/ 1638300 h 4429294"/>
                  <a:gd name="connsiteX57" fmla="*/ 88094 w 4501379"/>
                  <a:gd name="connsiteY57" fmla="*/ 1590675 h 4429294"/>
                  <a:gd name="connsiteX58" fmla="*/ 116669 w 4501379"/>
                  <a:gd name="connsiteY58" fmla="*/ 1504950 h 4429294"/>
                  <a:gd name="connsiteX59" fmla="*/ 135719 w 4501379"/>
                  <a:gd name="connsiteY59" fmla="*/ 1419225 h 4429294"/>
                  <a:gd name="connsiteX60" fmla="*/ 211919 w 4501379"/>
                  <a:gd name="connsiteY60" fmla="*/ 1276350 h 4429294"/>
                  <a:gd name="connsiteX61" fmla="*/ 221444 w 4501379"/>
                  <a:gd name="connsiteY61" fmla="*/ 1247775 h 4429294"/>
                  <a:gd name="connsiteX62" fmla="*/ 250019 w 4501379"/>
                  <a:gd name="connsiteY62" fmla="*/ 1200150 h 4429294"/>
                  <a:gd name="connsiteX63" fmla="*/ 269069 w 4501379"/>
                  <a:gd name="connsiteY63" fmla="*/ 1152525 h 4429294"/>
                  <a:gd name="connsiteX64" fmla="*/ 297644 w 4501379"/>
                  <a:gd name="connsiteY64" fmla="*/ 1114425 h 4429294"/>
                  <a:gd name="connsiteX65" fmla="*/ 345269 w 4501379"/>
                  <a:gd name="connsiteY65" fmla="*/ 1038225 h 4429294"/>
                  <a:gd name="connsiteX66" fmla="*/ 364319 w 4501379"/>
                  <a:gd name="connsiteY66" fmla="*/ 1009650 h 4429294"/>
                  <a:gd name="connsiteX67" fmla="*/ 421469 w 4501379"/>
                  <a:gd name="connsiteY67" fmla="*/ 904875 h 4429294"/>
                  <a:gd name="connsiteX68" fmla="*/ 459569 w 4501379"/>
                  <a:gd name="connsiteY68" fmla="*/ 857250 h 4429294"/>
                  <a:gd name="connsiteX69" fmla="*/ 478619 w 4501379"/>
                  <a:gd name="connsiteY69" fmla="*/ 828675 h 4429294"/>
                  <a:gd name="connsiteX70" fmla="*/ 516719 w 4501379"/>
                  <a:gd name="connsiteY70" fmla="*/ 800100 h 4429294"/>
                  <a:gd name="connsiteX71" fmla="*/ 583394 w 4501379"/>
                  <a:gd name="connsiteY71" fmla="*/ 733425 h 4429294"/>
                  <a:gd name="connsiteX72" fmla="*/ 650069 w 4501379"/>
                  <a:gd name="connsiteY72" fmla="*/ 676275 h 4429294"/>
                  <a:gd name="connsiteX73" fmla="*/ 678644 w 4501379"/>
                  <a:gd name="connsiteY73" fmla="*/ 657225 h 4429294"/>
                  <a:gd name="connsiteX74" fmla="*/ 821519 w 4501379"/>
                  <a:gd name="connsiteY74" fmla="*/ 533400 h 4429294"/>
                  <a:gd name="connsiteX75" fmla="*/ 869144 w 4501379"/>
                  <a:gd name="connsiteY75" fmla="*/ 504825 h 4429294"/>
                  <a:gd name="connsiteX76" fmla="*/ 1148544 w 4501379"/>
                  <a:gd name="connsiteY76" fmla="*/ 311150 h 4429294"/>
                  <a:gd name="connsiteX77" fmla="*/ 1250144 w 4501379"/>
                  <a:gd name="connsiteY77" fmla="*/ 285750 h 4429294"/>
                  <a:gd name="connsiteX78" fmla="*/ 1393019 w 4501379"/>
                  <a:gd name="connsiteY78" fmla="*/ 190500 h 4429294"/>
                  <a:gd name="connsiteX79" fmla="*/ 1431119 w 4501379"/>
                  <a:gd name="connsiteY79" fmla="*/ 161925 h 4429294"/>
                  <a:gd name="connsiteX80" fmla="*/ 1507319 w 4501379"/>
                  <a:gd name="connsiteY80" fmla="*/ 152400 h 4429294"/>
                  <a:gd name="connsiteX81" fmla="*/ 1564469 w 4501379"/>
                  <a:gd name="connsiteY81" fmla="*/ 142875 h 4429294"/>
                  <a:gd name="connsiteX82" fmla="*/ 1697819 w 4501379"/>
                  <a:gd name="connsiteY82" fmla="*/ 123825 h 4429294"/>
                  <a:gd name="connsiteX83" fmla="*/ 1793069 w 4501379"/>
                  <a:gd name="connsiteY83" fmla="*/ 114300 h 4429294"/>
                  <a:gd name="connsiteX84" fmla="*/ 1840694 w 4501379"/>
                  <a:gd name="connsiteY84" fmla="*/ 104775 h 4429294"/>
                  <a:gd name="connsiteX85" fmla="*/ 1897844 w 4501379"/>
                  <a:gd name="connsiteY85" fmla="*/ 95250 h 4429294"/>
                  <a:gd name="connsiteX86" fmla="*/ 2012144 w 4501379"/>
                  <a:gd name="connsiteY86" fmla="*/ 66675 h 4429294"/>
                  <a:gd name="connsiteX87" fmla="*/ 2078819 w 4501379"/>
                  <a:gd name="connsiteY87" fmla="*/ 47625 h 4429294"/>
                  <a:gd name="connsiteX88" fmla="*/ 2145494 w 4501379"/>
                  <a:gd name="connsiteY8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2955119 w 4501379"/>
                  <a:gd name="connsiteY3" fmla="*/ 114300 h 4429294"/>
                  <a:gd name="connsiteX4" fmla="*/ 2993219 w 4501379"/>
                  <a:gd name="connsiteY4" fmla="*/ 123825 h 4429294"/>
                  <a:gd name="connsiteX5" fmla="*/ 3117044 w 4501379"/>
                  <a:gd name="connsiteY5" fmla="*/ 171450 h 4429294"/>
                  <a:gd name="connsiteX6" fmla="*/ 3155144 w 4501379"/>
                  <a:gd name="connsiteY6" fmla="*/ 190500 h 4429294"/>
                  <a:gd name="connsiteX7" fmla="*/ 3221819 w 4501379"/>
                  <a:gd name="connsiteY7" fmla="*/ 228600 h 4429294"/>
                  <a:gd name="connsiteX8" fmla="*/ 3250394 w 4501379"/>
                  <a:gd name="connsiteY8" fmla="*/ 238125 h 4429294"/>
                  <a:gd name="connsiteX9" fmla="*/ 3278969 w 4501379"/>
                  <a:gd name="connsiteY9" fmla="*/ 257175 h 4429294"/>
                  <a:gd name="connsiteX10" fmla="*/ 3307544 w 4501379"/>
                  <a:gd name="connsiteY10" fmla="*/ 266700 h 4429294"/>
                  <a:gd name="connsiteX11" fmla="*/ 3336119 w 4501379"/>
                  <a:gd name="connsiteY11" fmla="*/ 285750 h 4429294"/>
                  <a:gd name="connsiteX12" fmla="*/ 3402794 w 4501379"/>
                  <a:gd name="connsiteY12" fmla="*/ 323850 h 4429294"/>
                  <a:gd name="connsiteX13" fmla="*/ 3450419 w 4501379"/>
                  <a:gd name="connsiteY13" fmla="*/ 361950 h 4429294"/>
                  <a:gd name="connsiteX14" fmla="*/ 3498044 w 4501379"/>
                  <a:gd name="connsiteY14" fmla="*/ 390525 h 4429294"/>
                  <a:gd name="connsiteX15" fmla="*/ 3612344 w 4501379"/>
                  <a:gd name="connsiteY15" fmla="*/ 485775 h 4429294"/>
                  <a:gd name="connsiteX16" fmla="*/ 3726644 w 4501379"/>
                  <a:gd name="connsiteY16" fmla="*/ 542925 h 4429294"/>
                  <a:gd name="connsiteX17" fmla="*/ 3793319 w 4501379"/>
                  <a:gd name="connsiteY17" fmla="*/ 581025 h 4429294"/>
                  <a:gd name="connsiteX18" fmla="*/ 4009219 w 4501379"/>
                  <a:gd name="connsiteY18" fmla="*/ 819150 h 4429294"/>
                  <a:gd name="connsiteX19" fmla="*/ 4145744 w 4501379"/>
                  <a:gd name="connsiteY19" fmla="*/ 990600 h 4429294"/>
                  <a:gd name="connsiteX20" fmla="*/ 4231469 w 4501379"/>
                  <a:gd name="connsiteY20" fmla="*/ 1143000 h 4429294"/>
                  <a:gd name="connsiteX21" fmla="*/ 4288619 w 4501379"/>
                  <a:gd name="connsiteY21" fmla="*/ 1266825 h 4429294"/>
                  <a:gd name="connsiteX22" fmla="*/ 4326719 w 4501379"/>
                  <a:gd name="connsiteY22" fmla="*/ 1362075 h 4429294"/>
                  <a:gd name="connsiteX23" fmla="*/ 4374344 w 4501379"/>
                  <a:gd name="connsiteY23" fmla="*/ 1552575 h 4429294"/>
                  <a:gd name="connsiteX24" fmla="*/ 4412444 w 4501379"/>
                  <a:gd name="connsiteY24" fmla="*/ 1685925 h 4429294"/>
                  <a:gd name="connsiteX25" fmla="*/ 4501344 w 4501379"/>
                  <a:gd name="connsiteY25" fmla="*/ 2181225 h 4429294"/>
                  <a:gd name="connsiteX26" fmla="*/ 4428319 w 4501379"/>
                  <a:gd name="connsiteY26" fmla="*/ 2768600 h 4429294"/>
                  <a:gd name="connsiteX27" fmla="*/ 4364819 w 4501379"/>
                  <a:gd name="connsiteY27" fmla="*/ 2990850 h 4429294"/>
                  <a:gd name="connsiteX28" fmla="*/ 4260044 w 4501379"/>
                  <a:gd name="connsiteY28" fmla="*/ 3248025 h 4429294"/>
                  <a:gd name="connsiteX29" fmla="*/ 4164794 w 4501379"/>
                  <a:gd name="connsiteY29" fmla="*/ 3400425 h 4429294"/>
                  <a:gd name="connsiteX30" fmla="*/ 4040969 w 4501379"/>
                  <a:gd name="connsiteY30" fmla="*/ 3533775 h 4429294"/>
                  <a:gd name="connsiteX31" fmla="*/ 3936194 w 4501379"/>
                  <a:gd name="connsiteY31" fmla="*/ 3648075 h 4429294"/>
                  <a:gd name="connsiteX32" fmla="*/ 3640919 w 4501379"/>
                  <a:gd name="connsiteY32" fmla="*/ 3971925 h 4429294"/>
                  <a:gd name="connsiteX33" fmla="*/ 3498044 w 4501379"/>
                  <a:gd name="connsiteY33" fmla="*/ 4083050 h 4429294"/>
                  <a:gd name="connsiteX34" fmla="*/ 3202769 w 4501379"/>
                  <a:gd name="connsiteY34" fmla="*/ 4222750 h 4429294"/>
                  <a:gd name="connsiteX35" fmla="*/ 3050369 w 4501379"/>
                  <a:gd name="connsiteY35" fmla="*/ 4286250 h 4429294"/>
                  <a:gd name="connsiteX36" fmla="*/ 2917019 w 4501379"/>
                  <a:gd name="connsiteY36" fmla="*/ 4333875 h 4429294"/>
                  <a:gd name="connsiteX37" fmla="*/ 2793194 w 4501379"/>
                  <a:gd name="connsiteY37" fmla="*/ 4371975 h 4429294"/>
                  <a:gd name="connsiteX38" fmla="*/ 2561419 w 4501379"/>
                  <a:gd name="connsiteY38" fmla="*/ 4391025 h 4429294"/>
                  <a:gd name="connsiteX39" fmla="*/ 2107394 w 4501379"/>
                  <a:gd name="connsiteY39" fmla="*/ 4429125 h 4429294"/>
                  <a:gd name="connsiteX40" fmla="*/ 1916894 w 4501379"/>
                  <a:gd name="connsiteY40" fmla="*/ 4400550 h 4429294"/>
                  <a:gd name="connsiteX41" fmla="*/ 1554944 w 4501379"/>
                  <a:gd name="connsiteY41" fmla="*/ 4305300 h 4429294"/>
                  <a:gd name="connsiteX42" fmla="*/ 1313644 w 4501379"/>
                  <a:gd name="connsiteY42" fmla="*/ 4216400 h 4429294"/>
                  <a:gd name="connsiteX43" fmla="*/ 1145369 w 4501379"/>
                  <a:gd name="connsiteY43" fmla="*/ 4111625 h 4429294"/>
                  <a:gd name="connsiteX44" fmla="*/ 926294 w 4501379"/>
                  <a:gd name="connsiteY44" fmla="*/ 3968750 h 4429294"/>
                  <a:gd name="connsiteX45" fmla="*/ 592919 w 4501379"/>
                  <a:gd name="connsiteY45" fmla="*/ 3657600 h 4429294"/>
                  <a:gd name="connsiteX46" fmla="*/ 446869 w 4501379"/>
                  <a:gd name="connsiteY46" fmla="*/ 3470275 h 4429294"/>
                  <a:gd name="connsiteX47" fmla="*/ 316694 w 4501379"/>
                  <a:gd name="connsiteY47" fmla="*/ 3244850 h 4429294"/>
                  <a:gd name="connsiteX48" fmla="*/ 164294 w 4501379"/>
                  <a:gd name="connsiteY48" fmla="*/ 2892425 h 4429294"/>
                  <a:gd name="connsiteX49" fmla="*/ 56344 w 4501379"/>
                  <a:gd name="connsiteY49" fmla="*/ 2368550 h 4429294"/>
                  <a:gd name="connsiteX50" fmla="*/ 2369 w 4501379"/>
                  <a:gd name="connsiteY50" fmla="*/ 1905000 h 4429294"/>
                  <a:gd name="connsiteX51" fmla="*/ 11894 w 4501379"/>
                  <a:gd name="connsiteY51" fmla="*/ 1838325 h 4429294"/>
                  <a:gd name="connsiteX52" fmla="*/ 30944 w 4501379"/>
                  <a:gd name="connsiteY52" fmla="*/ 1781175 h 4429294"/>
                  <a:gd name="connsiteX53" fmla="*/ 40469 w 4501379"/>
                  <a:gd name="connsiteY53" fmla="*/ 1743075 h 4429294"/>
                  <a:gd name="connsiteX54" fmla="*/ 59519 w 4501379"/>
                  <a:gd name="connsiteY54" fmla="*/ 1685925 h 4429294"/>
                  <a:gd name="connsiteX55" fmla="*/ 69044 w 4501379"/>
                  <a:gd name="connsiteY55" fmla="*/ 1638300 h 4429294"/>
                  <a:gd name="connsiteX56" fmla="*/ 88094 w 4501379"/>
                  <a:gd name="connsiteY56" fmla="*/ 1590675 h 4429294"/>
                  <a:gd name="connsiteX57" fmla="*/ 116669 w 4501379"/>
                  <a:gd name="connsiteY57" fmla="*/ 1504950 h 4429294"/>
                  <a:gd name="connsiteX58" fmla="*/ 135719 w 4501379"/>
                  <a:gd name="connsiteY58" fmla="*/ 1419225 h 4429294"/>
                  <a:gd name="connsiteX59" fmla="*/ 211919 w 4501379"/>
                  <a:gd name="connsiteY59" fmla="*/ 1276350 h 4429294"/>
                  <a:gd name="connsiteX60" fmla="*/ 221444 w 4501379"/>
                  <a:gd name="connsiteY60" fmla="*/ 1247775 h 4429294"/>
                  <a:gd name="connsiteX61" fmla="*/ 250019 w 4501379"/>
                  <a:gd name="connsiteY61" fmla="*/ 1200150 h 4429294"/>
                  <a:gd name="connsiteX62" fmla="*/ 269069 w 4501379"/>
                  <a:gd name="connsiteY62" fmla="*/ 1152525 h 4429294"/>
                  <a:gd name="connsiteX63" fmla="*/ 297644 w 4501379"/>
                  <a:gd name="connsiteY63" fmla="*/ 1114425 h 4429294"/>
                  <a:gd name="connsiteX64" fmla="*/ 345269 w 4501379"/>
                  <a:gd name="connsiteY64" fmla="*/ 1038225 h 4429294"/>
                  <a:gd name="connsiteX65" fmla="*/ 364319 w 4501379"/>
                  <a:gd name="connsiteY65" fmla="*/ 1009650 h 4429294"/>
                  <a:gd name="connsiteX66" fmla="*/ 421469 w 4501379"/>
                  <a:gd name="connsiteY66" fmla="*/ 904875 h 4429294"/>
                  <a:gd name="connsiteX67" fmla="*/ 459569 w 4501379"/>
                  <a:gd name="connsiteY67" fmla="*/ 857250 h 4429294"/>
                  <a:gd name="connsiteX68" fmla="*/ 478619 w 4501379"/>
                  <a:gd name="connsiteY68" fmla="*/ 828675 h 4429294"/>
                  <a:gd name="connsiteX69" fmla="*/ 516719 w 4501379"/>
                  <a:gd name="connsiteY69" fmla="*/ 800100 h 4429294"/>
                  <a:gd name="connsiteX70" fmla="*/ 583394 w 4501379"/>
                  <a:gd name="connsiteY70" fmla="*/ 733425 h 4429294"/>
                  <a:gd name="connsiteX71" fmla="*/ 650069 w 4501379"/>
                  <a:gd name="connsiteY71" fmla="*/ 676275 h 4429294"/>
                  <a:gd name="connsiteX72" fmla="*/ 678644 w 4501379"/>
                  <a:gd name="connsiteY72" fmla="*/ 657225 h 4429294"/>
                  <a:gd name="connsiteX73" fmla="*/ 821519 w 4501379"/>
                  <a:gd name="connsiteY73" fmla="*/ 533400 h 4429294"/>
                  <a:gd name="connsiteX74" fmla="*/ 869144 w 4501379"/>
                  <a:gd name="connsiteY74" fmla="*/ 504825 h 4429294"/>
                  <a:gd name="connsiteX75" fmla="*/ 1148544 w 4501379"/>
                  <a:gd name="connsiteY75" fmla="*/ 311150 h 4429294"/>
                  <a:gd name="connsiteX76" fmla="*/ 1250144 w 4501379"/>
                  <a:gd name="connsiteY76" fmla="*/ 285750 h 4429294"/>
                  <a:gd name="connsiteX77" fmla="*/ 1393019 w 4501379"/>
                  <a:gd name="connsiteY77" fmla="*/ 190500 h 4429294"/>
                  <a:gd name="connsiteX78" fmla="*/ 1431119 w 4501379"/>
                  <a:gd name="connsiteY78" fmla="*/ 161925 h 4429294"/>
                  <a:gd name="connsiteX79" fmla="*/ 1507319 w 4501379"/>
                  <a:gd name="connsiteY79" fmla="*/ 152400 h 4429294"/>
                  <a:gd name="connsiteX80" fmla="*/ 1564469 w 4501379"/>
                  <a:gd name="connsiteY80" fmla="*/ 142875 h 4429294"/>
                  <a:gd name="connsiteX81" fmla="*/ 1697819 w 4501379"/>
                  <a:gd name="connsiteY81" fmla="*/ 123825 h 4429294"/>
                  <a:gd name="connsiteX82" fmla="*/ 1793069 w 4501379"/>
                  <a:gd name="connsiteY82" fmla="*/ 114300 h 4429294"/>
                  <a:gd name="connsiteX83" fmla="*/ 1840694 w 4501379"/>
                  <a:gd name="connsiteY83" fmla="*/ 104775 h 4429294"/>
                  <a:gd name="connsiteX84" fmla="*/ 1897844 w 4501379"/>
                  <a:gd name="connsiteY84" fmla="*/ 95250 h 4429294"/>
                  <a:gd name="connsiteX85" fmla="*/ 2012144 w 4501379"/>
                  <a:gd name="connsiteY85" fmla="*/ 66675 h 4429294"/>
                  <a:gd name="connsiteX86" fmla="*/ 2078819 w 4501379"/>
                  <a:gd name="connsiteY86" fmla="*/ 47625 h 4429294"/>
                  <a:gd name="connsiteX87" fmla="*/ 2145494 w 4501379"/>
                  <a:gd name="connsiteY87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2955119 w 4501379"/>
                  <a:gd name="connsiteY3" fmla="*/ 114300 h 4429294"/>
                  <a:gd name="connsiteX4" fmla="*/ 3117044 w 4501379"/>
                  <a:gd name="connsiteY4" fmla="*/ 171450 h 4429294"/>
                  <a:gd name="connsiteX5" fmla="*/ 3155144 w 4501379"/>
                  <a:gd name="connsiteY5" fmla="*/ 190500 h 4429294"/>
                  <a:gd name="connsiteX6" fmla="*/ 3221819 w 4501379"/>
                  <a:gd name="connsiteY6" fmla="*/ 228600 h 4429294"/>
                  <a:gd name="connsiteX7" fmla="*/ 3250394 w 4501379"/>
                  <a:gd name="connsiteY7" fmla="*/ 238125 h 4429294"/>
                  <a:gd name="connsiteX8" fmla="*/ 3278969 w 4501379"/>
                  <a:gd name="connsiteY8" fmla="*/ 257175 h 4429294"/>
                  <a:gd name="connsiteX9" fmla="*/ 3307544 w 4501379"/>
                  <a:gd name="connsiteY9" fmla="*/ 266700 h 4429294"/>
                  <a:gd name="connsiteX10" fmla="*/ 3336119 w 4501379"/>
                  <a:gd name="connsiteY10" fmla="*/ 285750 h 4429294"/>
                  <a:gd name="connsiteX11" fmla="*/ 3402794 w 4501379"/>
                  <a:gd name="connsiteY11" fmla="*/ 323850 h 4429294"/>
                  <a:gd name="connsiteX12" fmla="*/ 3450419 w 4501379"/>
                  <a:gd name="connsiteY12" fmla="*/ 361950 h 4429294"/>
                  <a:gd name="connsiteX13" fmla="*/ 3498044 w 4501379"/>
                  <a:gd name="connsiteY13" fmla="*/ 390525 h 4429294"/>
                  <a:gd name="connsiteX14" fmla="*/ 3612344 w 4501379"/>
                  <a:gd name="connsiteY14" fmla="*/ 485775 h 4429294"/>
                  <a:gd name="connsiteX15" fmla="*/ 3726644 w 4501379"/>
                  <a:gd name="connsiteY15" fmla="*/ 542925 h 4429294"/>
                  <a:gd name="connsiteX16" fmla="*/ 3793319 w 4501379"/>
                  <a:gd name="connsiteY16" fmla="*/ 581025 h 4429294"/>
                  <a:gd name="connsiteX17" fmla="*/ 4009219 w 4501379"/>
                  <a:gd name="connsiteY17" fmla="*/ 819150 h 4429294"/>
                  <a:gd name="connsiteX18" fmla="*/ 4145744 w 4501379"/>
                  <a:gd name="connsiteY18" fmla="*/ 990600 h 4429294"/>
                  <a:gd name="connsiteX19" fmla="*/ 4231469 w 4501379"/>
                  <a:gd name="connsiteY19" fmla="*/ 1143000 h 4429294"/>
                  <a:gd name="connsiteX20" fmla="*/ 4288619 w 4501379"/>
                  <a:gd name="connsiteY20" fmla="*/ 1266825 h 4429294"/>
                  <a:gd name="connsiteX21" fmla="*/ 4326719 w 4501379"/>
                  <a:gd name="connsiteY21" fmla="*/ 1362075 h 4429294"/>
                  <a:gd name="connsiteX22" fmla="*/ 4374344 w 4501379"/>
                  <a:gd name="connsiteY22" fmla="*/ 1552575 h 4429294"/>
                  <a:gd name="connsiteX23" fmla="*/ 4412444 w 4501379"/>
                  <a:gd name="connsiteY23" fmla="*/ 1685925 h 4429294"/>
                  <a:gd name="connsiteX24" fmla="*/ 4501344 w 4501379"/>
                  <a:gd name="connsiteY24" fmla="*/ 2181225 h 4429294"/>
                  <a:gd name="connsiteX25" fmla="*/ 4428319 w 4501379"/>
                  <a:gd name="connsiteY25" fmla="*/ 2768600 h 4429294"/>
                  <a:gd name="connsiteX26" fmla="*/ 4364819 w 4501379"/>
                  <a:gd name="connsiteY26" fmla="*/ 2990850 h 4429294"/>
                  <a:gd name="connsiteX27" fmla="*/ 4260044 w 4501379"/>
                  <a:gd name="connsiteY27" fmla="*/ 3248025 h 4429294"/>
                  <a:gd name="connsiteX28" fmla="*/ 4164794 w 4501379"/>
                  <a:gd name="connsiteY28" fmla="*/ 3400425 h 4429294"/>
                  <a:gd name="connsiteX29" fmla="*/ 4040969 w 4501379"/>
                  <a:gd name="connsiteY29" fmla="*/ 3533775 h 4429294"/>
                  <a:gd name="connsiteX30" fmla="*/ 3936194 w 4501379"/>
                  <a:gd name="connsiteY30" fmla="*/ 3648075 h 4429294"/>
                  <a:gd name="connsiteX31" fmla="*/ 3640919 w 4501379"/>
                  <a:gd name="connsiteY31" fmla="*/ 3971925 h 4429294"/>
                  <a:gd name="connsiteX32" fmla="*/ 3498044 w 4501379"/>
                  <a:gd name="connsiteY32" fmla="*/ 4083050 h 4429294"/>
                  <a:gd name="connsiteX33" fmla="*/ 3202769 w 4501379"/>
                  <a:gd name="connsiteY33" fmla="*/ 4222750 h 4429294"/>
                  <a:gd name="connsiteX34" fmla="*/ 3050369 w 4501379"/>
                  <a:gd name="connsiteY34" fmla="*/ 4286250 h 4429294"/>
                  <a:gd name="connsiteX35" fmla="*/ 2917019 w 4501379"/>
                  <a:gd name="connsiteY35" fmla="*/ 4333875 h 4429294"/>
                  <a:gd name="connsiteX36" fmla="*/ 2793194 w 4501379"/>
                  <a:gd name="connsiteY36" fmla="*/ 4371975 h 4429294"/>
                  <a:gd name="connsiteX37" fmla="*/ 2561419 w 4501379"/>
                  <a:gd name="connsiteY37" fmla="*/ 4391025 h 4429294"/>
                  <a:gd name="connsiteX38" fmla="*/ 2107394 w 4501379"/>
                  <a:gd name="connsiteY38" fmla="*/ 4429125 h 4429294"/>
                  <a:gd name="connsiteX39" fmla="*/ 1916894 w 4501379"/>
                  <a:gd name="connsiteY39" fmla="*/ 4400550 h 4429294"/>
                  <a:gd name="connsiteX40" fmla="*/ 1554944 w 4501379"/>
                  <a:gd name="connsiteY40" fmla="*/ 4305300 h 4429294"/>
                  <a:gd name="connsiteX41" fmla="*/ 1313644 w 4501379"/>
                  <a:gd name="connsiteY41" fmla="*/ 4216400 h 4429294"/>
                  <a:gd name="connsiteX42" fmla="*/ 1145369 w 4501379"/>
                  <a:gd name="connsiteY42" fmla="*/ 4111625 h 4429294"/>
                  <a:gd name="connsiteX43" fmla="*/ 926294 w 4501379"/>
                  <a:gd name="connsiteY43" fmla="*/ 3968750 h 4429294"/>
                  <a:gd name="connsiteX44" fmla="*/ 592919 w 4501379"/>
                  <a:gd name="connsiteY44" fmla="*/ 3657600 h 4429294"/>
                  <a:gd name="connsiteX45" fmla="*/ 446869 w 4501379"/>
                  <a:gd name="connsiteY45" fmla="*/ 3470275 h 4429294"/>
                  <a:gd name="connsiteX46" fmla="*/ 316694 w 4501379"/>
                  <a:gd name="connsiteY46" fmla="*/ 3244850 h 4429294"/>
                  <a:gd name="connsiteX47" fmla="*/ 164294 w 4501379"/>
                  <a:gd name="connsiteY47" fmla="*/ 2892425 h 4429294"/>
                  <a:gd name="connsiteX48" fmla="*/ 56344 w 4501379"/>
                  <a:gd name="connsiteY48" fmla="*/ 2368550 h 4429294"/>
                  <a:gd name="connsiteX49" fmla="*/ 2369 w 4501379"/>
                  <a:gd name="connsiteY49" fmla="*/ 1905000 h 4429294"/>
                  <a:gd name="connsiteX50" fmla="*/ 11894 w 4501379"/>
                  <a:gd name="connsiteY50" fmla="*/ 1838325 h 4429294"/>
                  <a:gd name="connsiteX51" fmla="*/ 30944 w 4501379"/>
                  <a:gd name="connsiteY51" fmla="*/ 1781175 h 4429294"/>
                  <a:gd name="connsiteX52" fmla="*/ 40469 w 4501379"/>
                  <a:gd name="connsiteY52" fmla="*/ 1743075 h 4429294"/>
                  <a:gd name="connsiteX53" fmla="*/ 59519 w 4501379"/>
                  <a:gd name="connsiteY53" fmla="*/ 1685925 h 4429294"/>
                  <a:gd name="connsiteX54" fmla="*/ 69044 w 4501379"/>
                  <a:gd name="connsiteY54" fmla="*/ 1638300 h 4429294"/>
                  <a:gd name="connsiteX55" fmla="*/ 88094 w 4501379"/>
                  <a:gd name="connsiteY55" fmla="*/ 1590675 h 4429294"/>
                  <a:gd name="connsiteX56" fmla="*/ 116669 w 4501379"/>
                  <a:gd name="connsiteY56" fmla="*/ 1504950 h 4429294"/>
                  <a:gd name="connsiteX57" fmla="*/ 135719 w 4501379"/>
                  <a:gd name="connsiteY57" fmla="*/ 1419225 h 4429294"/>
                  <a:gd name="connsiteX58" fmla="*/ 211919 w 4501379"/>
                  <a:gd name="connsiteY58" fmla="*/ 1276350 h 4429294"/>
                  <a:gd name="connsiteX59" fmla="*/ 221444 w 4501379"/>
                  <a:gd name="connsiteY59" fmla="*/ 1247775 h 4429294"/>
                  <a:gd name="connsiteX60" fmla="*/ 250019 w 4501379"/>
                  <a:gd name="connsiteY60" fmla="*/ 1200150 h 4429294"/>
                  <a:gd name="connsiteX61" fmla="*/ 269069 w 4501379"/>
                  <a:gd name="connsiteY61" fmla="*/ 1152525 h 4429294"/>
                  <a:gd name="connsiteX62" fmla="*/ 297644 w 4501379"/>
                  <a:gd name="connsiteY62" fmla="*/ 1114425 h 4429294"/>
                  <a:gd name="connsiteX63" fmla="*/ 345269 w 4501379"/>
                  <a:gd name="connsiteY63" fmla="*/ 1038225 h 4429294"/>
                  <a:gd name="connsiteX64" fmla="*/ 364319 w 4501379"/>
                  <a:gd name="connsiteY64" fmla="*/ 1009650 h 4429294"/>
                  <a:gd name="connsiteX65" fmla="*/ 421469 w 4501379"/>
                  <a:gd name="connsiteY65" fmla="*/ 904875 h 4429294"/>
                  <a:gd name="connsiteX66" fmla="*/ 459569 w 4501379"/>
                  <a:gd name="connsiteY66" fmla="*/ 857250 h 4429294"/>
                  <a:gd name="connsiteX67" fmla="*/ 478619 w 4501379"/>
                  <a:gd name="connsiteY67" fmla="*/ 828675 h 4429294"/>
                  <a:gd name="connsiteX68" fmla="*/ 516719 w 4501379"/>
                  <a:gd name="connsiteY68" fmla="*/ 800100 h 4429294"/>
                  <a:gd name="connsiteX69" fmla="*/ 583394 w 4501379"/>
                  <a:gd name="connsiteY69" fmla="*/ 733425 h 4429294"/>
                  <a:gd name="connsiteX70" fmla="*/ 650069 w 4501379"/>
                  <a:gd name="connsiteY70" fmla="*/ 676275 h 4429294"/>
                  <a:gd name="connsiteX71" fmla="*/ 678644 w 4501379"/>
                  <a:gd name="connsiteY71" fmla="*/ 657225 h 4429294"/>
                  <a:gd name="connsiteX72" fmla="*/ 821519 w 4501379"/>
                  <a:gd name="connsiteY72" fmla="*/ 533400 h 4429294"/>
                  <a:gd name="connsiteX73" fmla="*/ 869144 w 4501379"/>
                  <a:gd name="connsiteY73" fmla="*/ 504825 h 4429294"/>
                  <a:gd name="connsiteX74" fmla="*/ 1148544 w 4501379"/>
                  <a:gd name="connsiteY74" fmla="*/ 311150 h 4429294"/>
                  <a:gd name="connsiteX75" fmla="*/ 1250144 w 4501379"/>
                  <a:gd name="connsiteY75" fmla="*/ 285750 h 4429294"/>
                  <a:gd name="connsiteX76" fmla="*/ 1393019 w 4501379"/>
                  <a:gd name="connsiteY76" fmla="*/ 190500 h 4429294"/>
                  <a:gd name="connsiteX77" fmla="*/ 1431119 w 4501379"/>
                  <a:gd name="connsiteY77" fmla="*/ 161925 h 4429294"/>
                  <a:gd name="connsiteX78" fmla="*/ 1507319 w 4501379"/>
                  <a:gd name="connsiteY78" fmla="*/ 152400 h 4429294"/>
                  <a:gd name="connsiteX79" fmla="*/ 1564469 w 4501379"/>
                  <a:gd name="connsiteY79" fmla="*/ 142875 h 4429294"/>
                  <a:gd name="connsiteX80" fmla="*/ 1697819 w 4501379"/>
                  <a:gd name="connsiteY80" fmla="*/ 123825 h 4429294"/>
                  <a:gd name="connsiteX81" fmla="*/ 1793069 w 4501379"/>
                  <a:gd name="connsiteY81" fmla="*/ 114300 h 4429294"/>
                  <a:gd name="connsiteX82" fmla="*/ 1840694 w 4501379"/>
                  <a:gd name="connsiteY82" fmla="*/ 104775 h 4429294"/>
                  <a:gd name="connsiteX83" fmla="*/ 1897844 w 4501379"/>
                  <a:gd name="connsiteY83" fmla="*/ 95250 h 4429294"/>
                  <a:gd name="connsiteX84" fmla="*/ 2012144 w 4501379"/>
                  <a:gd name="connsiteY84" fmla="*/ 66675 h 4429294"/>
                  <a:gd name="connsiteX85" fmla="*/ 2078819 w 4501379"/>
                  <a:gd name="connsiteY85" fmla="*/ 47625 h 4429294"/>
                  <a:gd name="connsiteX86" fmla="*/ 2145494 w 4501379"/>
                  <a:gd name="connsiteY86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155144 w 4501379"/>
                  <a:gd name="connsiteY4" fmla="*/ 190500 h 4429294"/>
                  <a:gd name="connsiteX5" fmla="*/ 3221819 w 4501379"/>
                  <a:gd name="connsiteY5" fmla="*/ 228600 h 4429294"/>
                  <a:gd name="connsiteX6" fmla="*/ 3250394 w 4501379"/>
                  <a:gd name="connsiteY6" fmla="*/ 238125 h 4429294"/>
                  <a:gd name="connsiteX7" fmla="*/ 3278969 w 4501379"/>
                  <a:gd name="connsiteY7" fmla="*/ 257175 h 4429294"/>
                  <a:gd name="connsiteX8" fmla="*/ 3307544 w 4501379"/>
                  <a:gd name="connsiteY8" fmla="*/ 266700 h 4429294"/>
                  <a:gd name="connsiteX9" fmla="*/ 3336119 w 4501379"/>
                  <a:gd name="connsiteY9" fmla="*/ 285750 h 4429294"/>
                  <a:gd name="connsiteX10" fmla="*/ 3402794 w 4501379"/>
                  <a:gd name="connsiteY10" fmla="*/ 323850 h 4429294"/>
                  <a:gd name="connsiteX11" fmla="*/ 3450419 w 4501379"/>
                  <a:gd name="connsiteY11" fmla="*/ 361950 h 4429294"/>
                  <a:gd name="connsiteX12" fmla="*/ 3498044 w 4501379"/>
                  <a:gd name="connsiteY12" fmla="*/ 390525 h 4429294"/>
                  <a:gd name="connsiteX13" fmla="*/ 3612344 w 4501379"/>
                  <a:gd name="connsiteY13" fmla="*/ 485775 h 4429294"/>
                  <a:gd name="connsiteX14" fmla="*/ 3726644 w 4501379"/>
                  <a:gd name="connsiteY14" fmla="*/ 542925 h 4429294"/>
                  <a:gd name="connsiteX15" fmla="*/ 3793319 w 4501379"/>
                  <a:gd name="connsiteY15" fmla="*/ 581025 h 4429294"/>
                  <a:gd name="connsiteX16" fmla="*/ 4009219 w 4501379"/>
                  <a:gd name="connsiteY16" fmla="*/ 819150 h 4429294"/>
                  <a:gd name="connsiteX17" fmla="*/ 4145744 w 4501379"/>
                  <a:gd name="connsiteY17" fmla="*/ 990600 h 4429294"/>
                  <a:gd name="connsiteX18" fmla="*/ 4231469 w 4501379"/>
                  <a:gd name="connsiteY18" fmla="*/ 1143000 h 4429294"/>
                  <a:gd name="connsiteX19" fmla="*/ 4288619 w 4501379"/>
                  <a:gd name="connsiteY19" fmla="*/ 1266825 h 4429294"/>
                  <a:gd name="connsiteX20" fmla="*/ 4326719 w 4501379"/>
                  <a:gd name="connsiteY20" fmla="*/ 1362075 h 4429294"/>
                  <a:gd name="connsiteX21" fmla="*/ 4374344 w 4501379"/>
                  <a:gd name="connsiteY21" fmla="*/ 1552575 h 4429294"/>
                  <a:gd name="connsiteX22" fmla="*/ 4412444 w 4501379"/>
                  <a:gd name="connsiteY22" fmla="*/ 1685925 h 4429294"/>
                  <a:gd name="connsiteX23" fmla="*/ 4501344 w 4501379"/>
                  <a:gd name="connsiteY23" fmla="*/ 2181225 h 4429294"/>
                  <a:gd name="connsiteX24" fmla="*/ 4428319 w 4501379"/>
                  <a:gd name="connsiteY24" fmla="*/ 2768600 h 4429294"/>
                  <a:gd name="connsiteX25" fmla="*/ 4364819 w 4501379"/>
                  <a:gd name="connsiteY25" fmla="*/ 2990850 h 4429294"/>
                  <a:gd name="connsiteX26" fmla="*/ 4260044 w 4501379"/>
                  <a:gd name="connsiteY26" fmla="*/ 3248025 h 4429294"/>
                  <a:gd name="connsiteX27" fmla="*/ 4164794 w 4501379"/>
                  <a:gd name="connsiteY27" fmla="*/ 3400425 h 4429294"/>
                  <a:gd name="connsiteX28" fmla="*/ 4040969 w 4501379"/>
                  <a:gd name="connsiteY28" fmla="*/ 3533775 h 4429294"/>
                  <a:gd name="connsiteX29" fmla="*/ 3936194 w 4501379"/>
                  <a:gd name="connsiteY29" fmla="*/ 3648075 h 4429294"/>
                  <a:gd name="connsiteX30" fmla="*/ 3640919 w 4501379"/>
                  <a:gd name="connsiteY30" fmla="*/ 3971925 h 4429294"/>
                  <a:gd name="connsiteX31" fmla="*/ 3498044 w 4501379"/>
                  <a:gd name="connsiteY31" fmla="*/ 4083050 h 4429294"/>
                  <a:gd name="connsiteX32" fmla="*/ 3202769 w 4501379"/>
                  <a:gd name="connsiteY32" fmla="*/ 4222750 h 4429294"/>
                  <a:gd name="connsiteX33" fmla="*/ 3050369 w 4501379"/>
                  <a:gd name="connsiteY33" fmla="*/ 4286250 h 4429294"/>
                  <a:gd name="connsiteX34" fmla="*/ 2917019 w 4501379"/>
                  <a:gd name="connsiteY34" fmla="*/ 4333875 h 4429294"/>
                  <a:gd name="connsiteX35" fmla="*/ 2793194 w 4501379"/>
                  <a:gd name="connsiteY35" fmla="*/ 4371975 h 4429294"/>
                  <a:gd name="connsiteX36" fmla="*/ 2561419 w 4501379"/>
                  <a:gd name="connsiteY36" fmla="*/ 4391025 h 4429294"/>
                  <a:gd name="connsiteX37" fmla="*/ 2107394 w 4501379"/>
                  <a:gd name="connsiteY37" fmla="*/ 4429125 h 4429294"/>
                  <a:gd name="connsiteX38" fmla="*/ 1916894 w 4501379"/>
                  <a:gd name="connsiteY38" fmla="*/ 4400550 h 4429294"/>
                  <a:gd name="connsiteX39" fmla="*/ 1554944 w 4501379"/>
                  <a:gd name="connsiteY39" fmla="*/ 4305300 h 4429294"/>
                  <a:gd name="connsiteX40" fmla="*/ 1313644 w 4501379"/>
                  <a:gd name="connsiteY40" fmla="*/ 4216400 h 4429294"/>
                  <a:gd name="connsiteX41" fmla="*/ 1145369 w 4501379"/>
                  <a:gd name="connsiteY41" fmla="*/ 4111625 h 4429294"/>
                  <a:gd name="connsiteX42" fmla="*/ 926294 w 4501379"/>
                  <a:gd name="connsiteY42" fmla="*/ 3968750 h 4429294"/>
                  <a:gd name="connsiteX43" fmla="*/ 592919 w 4501379"/>
                  <a:gd name="connsiteY43" fmla="*/ 3657600 h 4429294"/>
                  <a:gd name="connsiteX44" fmla="*/ 446869 w 4501379"/>
                  <a:gd name="connsiteY44" fmla="*/ 3470275 h 4429294"/>
                  <a:gd name="connsiteX45" fmla="*/ 316694 w 4501379"/>
                  <a:gd name="connsiteY45" fmla="*/ 3244850 h 4429294"/>
                  <a:gd name="connsiteX46" fmla="*/ 164294 w 4501379"/>
                  <a:gd name="connsiteY46" fmla="*/ 2892425 h 4429294"/>
                  <a:gd name="connsiteX47" fmla="*/ 56344 w 4501379"/>
                  <a:gd name="connsiteY47" fmla="*/ 2368550 h 4429294"/>
                  <a:gd name="connsiteX48" fmla="*/ 2369 w 4501379"/>
                  <a:gd name="connsiteY48" fmla="*/ 1905000 h 4429294"/>
                  <a:gd name="connsiteX49" fmla="*/ 11894 w 4501379"/>
                  <a:gd name="connsiteY49" fmla="*/ 1838325 h 4429294"/>
                  <a:gd name="connsiteX50" fmla="*/ 30944 w 4501379"/>
                  <a:gd name="connsiteY50" fmla="*/ 1781175 h 4429294"/>
                  <a:gd name="connsiteX51" fmla="*/ 40469 w 4501379"/>
                  <a:gd name="connsiteY51" fmla="*/ 1743075 h 4429294"/>
                  <a:gd name="connsiteX52" fmla="*/ 59519 w 4501379"/>
                  <a:gd name="connsiteY52" fmla="*/ 1685925 h 4429294"/>
                  <a:gd name="connsiteX53" fmla="*/ 69044 w 4501379"/>
                  <a:gd name="connsiteY53" fmla="*/ 1638300 h 4429294"/>
                  <a:gd name="connsiteX54" fmla="*/ 88094 w 4501379"/>
                  <a:gd name="connsiteY54" fmla="*/ 1590675 h 4429294"/>
                  <a:gd name="connsiteX55" fmla="*/ 116669 w 4501379"/>
                  <a:gd name="connsiteY55" fmla="*/ 1504950 h 4429294"/>
                  <a:gd name="connsiteX56" fmla="*/ 135719 w 4501379"/>
                  <a:gd name="connsiteY56" fmla="*/ 1419225 h 4429294"/>
                  <a:gd name="connsiteX57" fmla="*/ 211919 w 4501379"/>
                  <a:gd name="connsiteY57" fmla="*/ 1276350 h 4429294"/>
                  <a:gd name="connsiteX58" fmla="*/ 221444 w 4501379"/>
                  <a:gd name="connsiteY58" fmla="*/ 1247775 h 4429294"/>
                  <a:gd name="connsiteX59" fmla="*/ 250019 w 4501379"/>
                  <a:gd name="connsiteY59" fmla="*/ 1200150 h 4429294"/>
                  <a:gd name="connsiteX60" fmla="*/ 269069 w 4501379"/>
                  <a:gd name="connsiteY60" fmla="*/ 1152525 h 4429294"/>
                  <a:gd name="connsiteX61" fmla="*/ 297644 w 4501379"/>
                  <a:gd name="connsiteY61" fmla="*/ 1114425 h 4429294"/>
                  <a:gd name="connsiteX62" fmla="*/ 345269 w 4501379"/>
                  <a:gd name="connsiteY62" fmla="*/ 1038225 h 4429294"/>
                  <a:gd name="connsiteX63" fmla="*/ 364319 w 4501379"/>
                  <a:gd name="connsiteY63" fmla="*/ 1009650 h 4429294"/>
                  <a:gd name="connsiteX64" fmla="*/ 421469 w 4501379"/>
                  <a:gd name="connsiteY64" fmla="*/ 904875 h 4429294"/>
                  <a:gd name="connsiteX65" fmla="*/ 459569 w 4501379"/>
                  <a:gd name="connsiteY65" fmla="*/ 857250 h 4429294"/>
                  <a:gd name="connsiteX66" fmla="*/ 478619 w 4501379"/>
                  <a:gd name="connsiteY66" fmla="*/ 828675 h 4429294"/>
                  <a:gd name="connsiteX67" fmla="*/ 516719 w 4501379"/>
                  <a:gd name="connsiteY67" fmla="*/ 800100 h 4429294"/>
                  <a:gd name="connsiteX68" fmla="*/ 583394 w 4501379"/>
                  <a:gd name="connsiteY68" fmla="*/ 733425 h 4429294"/>
                  <a:gd name="connsiteX69" fmla="*/ 650069 w 4501379"/>
                  <a:gd name="connsiteY69" fmla="*/ 676275 h 4429294"/>
                  <a:gd name="connsiteX70" fmla="*/ 678644 w 4501379"/>
                  <a:gd name="connsiteY70" fmla="*/ 657225 h 4429294"/>
                  <a:gd name="connsiteX71" fmla="*/ 821519 w 4501379"/>
                  <a:gd name="connsiteY71" fmla="*/ 533400 h 4429294"/>
                  <a:gd name="connsiteX72" fmla="*/ 869144 w 4501379"/>
                  <a:gd name="connsiteY72" fmla="*/ 504825 h 4429294"/>
                  <a:gd name="connsiteX73" fmla="*/ 1148544 w 4501379"/>
                  <a:gd name="connsiteY73" fmla="*/ 311150 h 4429294"/>
                  <a:gd name="connsiteX74" fmla="*/ 1250144 w 4501379"/>
                  <a:gd name="connsiteY74" fmla="*/ 285750 h 4429294"/>
                  <a:gd name="connsiteX75" fmla="*/ 1393019 w 4501379"/>
                  <a:gd name="connsiteY75" fmla="*/ 190500 h 4429294"/>
                  <a:gd name="connsiteX76" fmla="*/ 1431119 w 4501379"/>
                  <a:gd name="connsiteY76" fmla="*/ 161925 h 4429294"/>
                  <a:gd name="connsiteX77" fmla="*/ 1507319 w 4501379"/>
                  <a:gd name="connsiteY77" fmla="*/ 152400 h 4429294"/>
                  <a:gd name="connsiteX78" fmla="*/ 1564469 w 4501379"/>
                  <a:gd name="connsiteY78" fmla="*/ 142875 h 4429294"/>
                  <a:gd name="connsiteX79" fmla="*/ 1697819 w 4501379"/>
                  <a:gd name="connsiteY79" fmla="*/ 123825 h 4429294"/>
                  <a:gd name="connsiteX80" fmla="*/ 1793069 w 4501379"/>
                  <a:gd name="connsiteY80" fmla="*/ 114300 h 4429294"/>
                  <a:gd name="connsiteX81" fmla="*/ 1840694 w 4501379"/>
                  <a:gd name="connsiteY81" fmla="*/ 104775 h 4429294"/>
                  <a:gd name="connsiteX82" fmla="*/ 1897844 w 4501379"/>
                  <a:gd name="connsiteY82" fmla="*/ 95250 h 4429294"/>
                  <a:gd name="connsiteX83" fmla="*/ 2012144 w 4501379"/>
                  <a:gd name="connsiteY83" fmla="*/ 66675 h 4429294"/>
                  <a:gd name="connsiteX84" fmla="*/ 2078819 w 4501379"/>
                  <a:gd name="connsiteY84" fmla="*/ 47625 h 4429294"/>
                  <a:gd name="connsiteX85" fmla="*/ 2145494 w 4501379"/>
                  <a:gd name="connsiteY85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250394 w 4501379"/>
                  <a:gd name="connsiteY5" fmla="*/ 238125 h 4429294"/>
                  <a:gd name="connsiteX6" fmla="*/ 3278969 w 4501379"/>
                  <a:gd name="connsiteY6" fmla="*/ 257175 h 4429294"/>
                  <a:gd name="connsiteX7" fmla="*/ 3307544 w 4501379"/>
                  <a:gd name="connsiteY7" fmla="*/ 266700 h 4429294"/>
                  <a:gd name="connsiteX8" fmla="*/ 3336119 w 4501379"/>
                  <a:gd name="connsiteY8" fmla="*/ 285750 h 4429294"/>
                  <a:gd name="connsiteX9" fmla="*/ 3402794 w 4501379"/>
                  <a:gd name="connsiteY9" fmla="*/ 323850 h 4429294"/>
                  <a:gd name="connsiteX10" fmla="*/ 3450419 w 4501379"/>
                  <a:gd name="connsiteY10" fmla="*/ 361950 h 4429294"/>
                  <a:gd name="connsiteX11" fmla="*/ 3498044 w 4501379"/>
                  <a:gd name="connsiteY11" fmla="*/ 390525 h 4429294"/>
                  <a:gd name="connsiteX12" fmla="*/ 3612344 w 4501379"/>
                  <a:gd name="connsiteY12" fmla="*/ 485775 h 4429294"/>
                  <a:gd name="connsiteX13" fmla="*/ 3726644 w 4501379"/>
                  <a:gd name="connsiteY13" fmla="*/ 542925 h 4429294"/>
                  <a:gd name="connsiteX14" fmla="*/ 3793319 w 4501379"/>
                  <a:gd name="connsiteY14" fmla="*/ 581025 h 4429294"/>
                  <a:gd name="connsiteX15" fmla="*/ 4009219 w 4501379"/>
                  <a:gd name="connsiteY15" fmla="*/ 819150 h 4429294"/>
                  <a:gd name="connsiteX16" fmla="*/ 4145744 w 4501379"/>
                  <a:gd name="connsiteY16" fmla="*/ 990600 h 4429294"/>
                  <a:gd name="connsiteX17" fmla="*/ 4231469 w 4501379"/>
                  <a:gd name="connsiteY17" fmla="*/ 1143000 h 4429294"/>
                  <a:gd name="connsiteX18" fmla="*/ 4288619 w 4501379"/>
                  <a:gd name="connsiteY18" fmla="*/ 1266825 h 4429294"/>
                  <a:gd name="connsiteX19" fmla="*/ 4326719 w 4501379"/>
                  <a:gd name="connsiteY19" fmla="*/ 1362075 h 4429294"/>
                  <a:gd name="connsiteX20" fmla="*/ 4374344 w 4501379"/>
                  <a:gd name="connsiteY20" fmla="*/ 1552575 h 4429294"/>
                  <a:gd name="connsiteX21" fmla="*/ 4412444 w 4501379"/>
                  <a:gd name="connsiteY21" fmla="*/ 1685925 h 4429294"/>
                  <a:gd name="connsiteX22" fmla="*/ 4501344 w 4501379"/>
                  <a:gd name="connsiteY22" fmla="*/ 2181225 h 4429294"/>
                  <a:gd name="connsiteX23" fmla="*/ 4428319 w 4501379"/>
                  <a:gd name="connsiteY23" fmla="*/ 2768600 h 4429294"/>
                  <a:gd name="connsiteX24" fmla="*/ 4364819 w 4501379"/>
                  <a:gd name="connsiteY24" fmla="*/ 2990850 h 4429294"/>
                  <a:gd name="connsiteX25" fmla="*/ 4260044 w 4501379"/>
                  <a:gd name="connsiteY25" fmla="*/ 3248025 h 4429294"/>
                  <a:gd name="connsiteX26" fmla="*/ 4164794 w 4501379"/>
                  <a:gd name="connsiteY26" fmla="*/ 3400425 h 4429294"/>
                  <a:gd name="connsiteX27" fmla="*/ 4040969 w 4501379"/>
                  <a:gd name="connsiteY27" fmla="*/ 3533775 h 4429294"/>
                  <a:gd name="connsiteX28" fmla="*/ 3936194 w 4501379"/>
                  <a:gd name="connsiteY28" fmla="*/ 3648075 h 4429294"/>
                  <a:gd name="connsiteX29" fmla="*/ 3640919 w 4501379"/>
                  <a:gd name="connsiteY29" fmla="*/ 3971925 h 4429294"/>
                  <a:gd name="connsiteX30" fmla="*/ 3498044 w 4501379"/>
                  <a:gd name="connsiteY30" fmla="*/ 4083050 h 4429294"/>
                  <a:gd name="connsiteX31" fmla="*/ 3202769 w 4501379"/>
                  <a:gd name="connsiteY31" fmla="*/ 4222750 h 4429294"/>
                  <a:gd name="connsiteX32" fmla="*/ 3050369 w 4501379"/>
                  <a:gd name="connsiteY32" fmla="*/ 4286250 h 4429294"/>
                  <a:gd name="connsiteX33" fmla="*/ 2917019 w 4501379"/>
                  <a:gd name="connsiteY33" fmla="*/ 4333875 h 4429294"/>
                  <a:gd name="connsiteX34" fmla="*/ 2793194 w 4501379"/>
                  <a:gd name="connsiteY34" fmla="*/ 4371975 h 4429294"/>
                  <a:gd name="connsiteX35" fmla="*/ 2561419 w 4501379"/>
                  <a:gd name="connsiteY35" fmla="*/ 4391025 h 4429294"/>
                  <a:gd name="connsiteX36" fmla="*/ 2107394 w 4501379"/>
                  <a:gd name="connsiteY36" fmla="*/ 4429125 h 4429294"/>
                  <a:gd name="connsiteX37" fmla="*/ 1916894 w 4501379"/>
                  <a:gd name="connsiteY37" fmla="*/ 4400550 h 4429294"/>
                  <a:gd name="connsiteX38" fmla="*/ 1554944 w 4501379"/>
                  <a:gd name="connsiteY38" fmla="*/ 4305300 h 4429294"/>
                  <a:gd name="connsiteX39" fmla="*/ 1313644 w 4501379"/>
                  <a:gd name="connsiteY39" fmla="*/ 4216400 h 4429294"/>
                  <a:gd name="connsiteX40" fmla="*/ 1145369 w 4501379"/>
                  <a:gd name="connsiteY40" fmla="*/ 4111625 h 4429294"/>
                  <a:gd name="connsiteX41" fmla="*/ 926294 w 4501379"/>
                  <a:gd name="connsiteY41" fmla="*/ 3968750 h 4429294"/>
                  <a:gd name="connsiteX42" fmla="*/ 592919 w 4501379"/>
                  <a:gd name="connsiteY42" fmla="*/ 3657600 h 4429294"/>
                  <a:gd name="connsiteX43" fmla="*/ 446869 w 4501379"/>
                  <a:gd name="connsiteY43" fmla="*/ 3470275 h 4429294"/>
                  <a:gd name="connsiteX44" fmla="*/ 316694 w 4501379"/>
                  <a:gd name="connsiteY44" fmla="*/ 3244850 h 4429294"/>
                  <a:gd name="connsiteX45" fmla="*/ 164294 w 4501379"/>
                  <a:gd name="connsiteY45" fmla="*/ 2892425 h 4429294"/>
                  <a:gd name="connsiteX46" fmla="*/ 56344 w 4501379"/>
                  <a:gd name="connsiteY46" fmla="*/ 2368550 h 4429294"/>
                  <a:gd name="connsiteX47" fmla="*/ 2369 w 4501379"/>
                  <a:gd name="connsiteY47" fmla="*/ 1905000 h 4429294"/>
                  <a:gd name="connsiteX48" fmla="*/ 11894 w 4501379"/>
                  <a:gd name="connsiteY48" fmla="*/ 1838325 h 4429294"/>
                  <a:gd name="connsiteX49" fmla="*/ 30944 w 4501379"/>
                  <a:gd name="connsiteY49" fmla="*/ 1781175 h 4429294"/>
                  <a:gd name="connsiteX50" fmla="*/ 40469 w 4501379"/>
                  <a:gd name="connsiteY50" fmla="*/ 1743075 h 4429294"/>
                  <a:gd name="connsiteX51" fmla="*/ 59519 w 4501379"/>
                  <a:gd name="connsiteY51" fmla="*/ 1685925 h 4429294"/>
                  <a:gd name="connsiteX52" fmla="*/ 69044 w 4501379"/>
                  <a:gd name="connsiteY52" fmla="*/ 1638300 h 4429294"/>
                  <a:gd name="connsiteX53" fmla="*/ 88094 w 4501379"/>
                  <a:gd name="connsiteY53" fmla="*/ 1590675 h 4429294"/>
                  <a:gd name="connsiteX54" fmla="*/ 116669 w 4501379"/>
                  <a:gd name="connsiteY54" fmla="*/ 1504950 h 4429294"/>
                  <a:gd name="connsiteX55" fmla="*/ 135719 w 4501379"/>
                  <a:gd name="connsiteY55" fmla="*/ 1419225 h 4429294"/>
                  <a:gd name="connsiteX56" fmla="*/ 211919 w 4501379"/>
                  <a:gd name="connsiteY56" fmla="*/ 1276350 h 4429294"/>
                  <a:gd name="connsiteX57" fmla="*/ 221444 w 4501379"/>
                  <a:gd name="connsiteY57" fmla="*/ 1247775 h 4429294"/>
                  <a:gd name="connsiteX58" fmla="*/ 250019 w 4501379"/>
                  <a:gd name="connsiteY58" fmla="*/ 1200150 h 4429294"/>
                  <a:gd name="connsiteX59" fmla="*/ 269069 w 4501379"/>
                  <a:gd name="connsiteY59" fmla="*/ 1152525 h 4429294"/>
                  <a:gd name="connsiteX60" fmla="*/ 297644 w 4501379"/>
                  <a:gd name="connsiteY60" fmla="*/ 1114425 h 4429294"/>
                  <a:gd name="connsiteX61" fmla="*/ 345269 w 4501379"/>
                  <a:gd name="connsiteY61" fmla="*/ 1038225 h 4429294"/>
                  <a:gd name="connsiteX62" fmla="*/ 364319 w 4501379"/>
                  <a:gd name="connsiteY62" fmla="*/ 1009650 h 4429294"/>
                  <a:gd name="connsiteX63" fmla="*/ 421469 w 4501379"/>
                  <a:gd name="connsiteY63" fmla="*/ 904875 h 4429294"/>
                  <a:gd name="connsiteX64" fmla="*/ 459569 w 4501379"/>
                  <a:gd name="connsiteY64" fmla="*/ 857250 h 4429294"/>
                  <a:gd name="connsiteX65" fmla="*/ 478619 w 4501379"/>
                  <a:gd name="connsiteY65" fmla="*/ 828675 h 4429294"/>
                  <a:gd name="connsiteX66" fmla="*/ 516719 w 4501379"/>
                  <a:gd name="connsiteY66" fmla="*/ 800100 h 4429294"/>
                  <a:gd name="connsiteX67" fmla="*/ 583394 w 4501379"/>
                  <a:gd name="connsiteY67" fmla="*/ 733425 h 4429294"/>
                  <a:gd name="connsiteX68" fmla="*/ 650069 w 4501379"/>
                  <a:gd name="connsiteY68" fmla="*/ 676275 h 4429294"/>
                  <a:gd name="connsiteX69" fmla="*/ 678644 w 4501379"/>
                  <a:gd name="connsiteY69" fmla="*/ 657225 h 4429294"/>
                  <a:gd name="connsiteX70" fmla="*/ 821519 w 4501379"/>
                  <a:gd name="connsiteY70" fmla="*/ 533400 h 4429294"/>
                  <a:gd name="connsiteX71" fmla="*/ 869144 w 4501379"/>
                  <a:gd name="connsiteY71" fmla="*/ 504825 h 4429294"/>
                  <a:gd name="connsiteX72" fmla="*/ 1148544 w 4501379"/>
                  <a:gd name="connsiteY72" fmla="*/ 311150 h 4429294"/>
                  <a:gd name="connsiteX73" fmla="*/ 1250144 w 4501379"/>
                  <a:gd name="connsiteY73" fmla="*/ 285750 h 4429294"/>
                  <a:gd name="connsiteX74" fmla="*/ 1393019 w 4501379"/>
                  <a:gd name="connsiteY74" fmla="*/ 190500 h 4429294"/>
                  <a:gd name="connsiteX75" fmla="*/ 1431119 w 4501379"/>
                  <a:gd name="connsiteY75" fmla="*/ 161925 h 4429294"/>
                  <a:gd name="connsiteX76" fmla="*/ 1507319 w 4501379"/>
                  <a:gd name="connsiteY76" fmla="*/ 152400 h 4429294"/>
                  <a:gd name="connsiteX77" fmla="*/ 1564469 w 4501379"/>
                  <a:gd name="connsiteY77" fmla="*/ 142875 h 4429294"/>
                  <a:gd name="connsiteX78" fmla="*/ 1697819 w 4501379"/>
                  <a:gd name="connsiteY78" fmla="*/ 123825 h 4429294"/>
                  <a:gd name="connsiteX79" fmla="*/ 1793069 w 4501379"/>
                  <a:gd name="connsiteY79" fmla="*/ 114300 h 4429294"/>
                  <a:gd name="connsiteX80" fmla="*/ 1840694 w 4501379"/>
                  <a:gd name="connsiteY80" fmla="*/ 104775 h 4429294"/>
                  <a:gd name="connsiteX81" fmla="*/ 1897844 w 4501379"/>
                  <a:gd name="connsiteY81" fmla="*/ 95250 h 4429294"/>
                  <a:gd name="connsiteX82" fmla="*/ 2012144 w 4501379"/>
                  <a:gd name="connsiteY82" fmla="*/ 66675 h 4429294"/>
                  <a:gd name="connsiteX83" fmla="*/ 2078819 w 4501379"/>
                  <a:gd name="connsiteY83" fmla="*/ 47625 h 4429294"/>
                  <a:gd name="connsiteX84" fmla="*/ 2145494 w 4501379"/>
                  <a:gd name="connsiteY84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250394 w 4501379"/>
                  <a:gd name="connsiteY5" fmla="*/ 238125 h 4429294"/>
                  <a:gd name="connsiteX6" fmla="*/ 3307544 w 4501379"/>
                  <a:gd name="connsiteY6" fmla="*/ 266700 h 4429294"/>
                  <a:gd name="connsiteX7" fmla="*/ 3336119 w 4501379"/>
                  <a:gd name="connsiteY7" fmla="*/ 285750 h 4429294"/>
                  <a:gd name="connsiteX8" fmla="*/ 3402794 w 4501379"/>
                  <a:gd name="connsiteY8" fmla="*/ 323850 h 4429294"/>
                  <a:gd name="connsiteX9" fmla="*/ 3450419 w 4501379"/>
                  <a:gd name="connsiteY9" fmla="*/ 361950 h 4429294"/>
                  <a:gd name="connsiteX10" fmla="*/ 3498044 w 4501379"/>
                  <a:gd name="connsiteY10" fmla="*/ 390525 h 4429294"/>
                  <a:gd name="connsiteX11" fmla="*/ 3612344 w 4501379"/>
                  <a:gd name="connsiteY11" fmla="*/ 485775 h 4429294"/>
                  <a:gd name="connsiteX12" fmla="*/ 3726644 w 4501379"/>
                  <a:gd name="connsiteY12" fmla="*/ 542925 h 4429294"/>
                  <a:gd name="connsiteX13" fmla="*/ 3793319 w 4501379"/>
                  <a:gd name="connsiteY13" fmla="*/ 581025 h 4429294"/>
                  <a:gd name="connsiteX14" fmla="*/ 4009219 w 4501379"/>
                  <a:gd name="connsiteY14" fmla="*/ 819150 h 4429294"/>
                  <a:gd name="connsiteX15" fmla="*/ 4145744 w 4501379"/>
                  <a:gd name="connsiteY15" fmla="*/ 990600 h 4429294"/>
                  <a:gd name="connsiteX16" fmla="*/ 4231469 w 4501379"/>
                  <a:gd name="connsiteY16" fmla="*/ 1143000 h 4429294"/>
                  <a:gd name="connsiteX17" fmla="*/ 4288619 w 4501379"/>
                  <a:gd name="connsiteY17" fmla="*/ 1266825 h 4429294"/>
                  <a:gd name="connsiteX18" fmla="*/ 4326719 w 4501379"/>
                  <a:gd name="connsiteY18" fmla="*/ 1362075 h 4429294"/>
                  <a:gd name="connsiteX19" fmla="*/ 4374344 w 4501379"/>
                  <a:gd name="connsiteY19" fmla="*/ 1552575 h 4429294"/>
                  <a:gd name="connsiteX20" fmla="*/ 4412444 w 4501379"/>
                  <a:gd name="connsiteY20" fmla="*/ 1685925 h 4429294"/>
                  <a:gd name="connsiteX21" fmla="*/ 4501344 w 4501379"/>
                  <a:gd name="connsiteY21" fmla="*/ 2181225 h 4429294"/>
                  <a:gd name="connsiteX22" fmla="*/ 4428319 w 4501379"/>
                  <a:gd name="connsiteY22" fmla="*/ 2768600 h 4429294"/>
                  <a:gd name="connsiteX23" fmla="*/ 4364819 w 4501379"/>
                  <a:gd name="connsiteY23" fmla="*/ 2990850 h 4429294"/>
                  <a:gd name="connsiteX24" fmla="*/ 4260044 w 4501379"/>
                  <a:gd name="connsiteY24" fmla="*/ 3248025 h 4429294"/>
                  <a:gd name="connsiteX25" fmla="*/ 4164794 w 4501379"/>
                  <a:gd name="connsiteY25" fmla="*/ 3400425 h 4429294"/>
                  <a:gd name="connsiteX26" fmla="*/ 4040969 w 4501379"/>
                  <a:gd name="connsiteY26" fmla="*/ 3533775 h 4429294"/>
                  <a:gd name="connsiteX27" fmla="*/ 3936194 w 4501379"/>
                  <a:gd name="connsiteY27" fmla="*/ 3648075 h 4429294"/>
                  <a:gd name="connsiteX28" fmla="*/ 3640919 w 4501379"/>
                  <a:gd name="connsiteY28" fmla="*/ 3971925 h 4429294"/>
                  <a:gd name="connsiteX29" fmla="*/ 3498044 w 4501379"/>
                  <a:gd name="connsiteY29" fmla="*/ 4083050 h 4429294"/>
                  <a:gd name="connsiteX30" fmla="*/ 3202769 w 4501379"/>
                  <a:gd name="connsiteY30" fmla="*/ 4222750 h 4429294"/>
                  <a:gd name="connsiteX31" fmla="*/ 3050369 w 4501379"/>
                  <a:gd name="connsiteY31" fmla="*/ 4286250 h 4429294"/>
                  <a:gd name="connsiteX32" fmla="*/ 2917019 w 4501379"/>
                  <a:gd name="connsiteY32" fmla="*/ 4333875 h 4429294"/>
                  <a:gd name="connsiteX33" fmla="*/ 2793194 w 4501379"/>
                  <a:gd name="connsiteY33" fmla="*/ 4371975 h 4429294"/>
                  <a:gd name="connsiteX34" fmla="*/ 2561419 w 4501379"/>
                  <a:gd name="connsiteY34" fmla="*/ 4391025 h 4429294"/>
                  <a:gd name="connsiteX35" fmla="*/ 2107394 w 4501379"/>
                  <a:gd name="connsiteY35" fmla="*/ 4429125 h 4429294"/>
                  <a:gd name="connsiteX36" fmla="*/ 1916894 w 4501379"/>
                  <a:gd name="connsiteY36" fmla="*/ 4400550 h 4429294"/>
                  <a:gd name="connsiteX37" fmla="*/ 1554944 w 4501379"/>
                  <a:gd name="connsiteY37" fmla="*/ 4305300 h 4429294"/>
                  <a:gd name="connsiteX38" fmla="*/ 1313644 w 4501379"/>
                  <a:gd name="connsiteY38" fmla="*/ 4216400 h 4429294"/>
                  <a:gd name="connsiteX39" fmla="*/ 1145369 w 4501379"/>
                  <a:gd name="connsiteY39" fmla="*/ 4111625 h 4429294"/>
                  <a:gd name="connsiteX40" fmla="*/ 926294 w 4501379"/>
                  <a:gd name="connsiteY40" fmla="*/ 3968750 h 4429294"/>
                  <a:gd name="connsiteX41" fmla="*/ 592919 w 4501379"/>
                  <a:gd name="connsiteY41" fmla="*/ 3657600 h 4429294"/>
                  <a:gd name="connsiteX42" fmla="*/ 446869 w 4501379"/>
                  <a:gd name="connsiteY42" fmla="*/ 3470275 h 4429294"/>
                  <a:gd name="connsiteX43" fmla="*/ 316694 w 4501379"/>
                  <a:gd name="connsiteY43" fmla="*/ 3244850 h 4429294"/>
                  <a:gd name="connsiteX44" fmla="*/ 164294 w 4501379"/>
                  <a:gd name="connsiteY44" fmla="*/ 2892425 h 4429294"/>
                  <a:gd name="connsiteX45" fmla="*/ 56344 w 4501379"/>
                  <a:gd name="connsiteY45" fmla="*/ 2368550 h 4429294"/>
                  <a:gd name="connsiteX46" fmla="*/ 2369 w 4501379"/>
                  <a:gd name="connsiteY46" fmla="*/ 1905000 h 4429294"/>
                  <a:gd name="connsiteX47" fmla="*/ 11894 w 4501379"/>
                  <a:gd name="connsiteY47" fmla="*/ 1838325 h 4429294"/>
                  <a:gd name="connsiteX48" fmla="*/ 30944 w 4501379"/>
                  <a:gd name="connsiteY48" fmla="*/ 1781175 h 4429294"/>
                  <a:gd name="connsiteX49" fmla="*/ 40469 w 4501379"/>
                  <a:gd name="connsiteY49" fmla="*/ 1743075 h 4429294"/>
                  <a:gd name="connsiteX50" fmla="*/ 59519 w 4501379"/>
                  <a:gd name="connsiteY50" fmla="*/ 1685925 h 4429294"/>
                  <a:gd name="connsiteX51" fmla="*/ 69044 w 4501379"/>
                  <a:gd name="connsiteY51" fmla="*/ 1638300 h 4429294"/>
                  <a:gd name="connsiteX52" fmla="*/ 88094 w 4501379"/>
                  <a:gd name="connsiteY52" fmla="*/ 1590675 h 4429294"/>
                  <a:gd name="connsiteX53" fmla="*/ 116669 w 4501379"/>
                  <a:gd name="connsiteY53" fmla="*/ 1504950 h 4429294"/>
                  <a:gd name="connsiteX54" fmla="*/ 135719 w 4501379"/>
                  <a:gd name="connsiteY54" fmla="*/ 1419225 h 4429294"/>
                  <a:gd name="connsiteX55" fmla="*/ 211919 w 4501379"/>
                  <a:gd name="connsiteY55" fmla="*/ 1276350 h 4429294"/>
                  <a:gd name="connsiteX56" fmla="*/ 221444 w 4501379"/>
                  <a:gd name="connsiteY56" fmla="*/ 1247775 h 4429294"/>
                  <a:gd name="connsiteX57" fmla="*/ 250019 w 4501379"/>
                  <a:gd name="connsiteY57" fmla="*/ 1200150 h 4429294"/>
                  <a:gd name="connsiteX58" fmla="*/ 269069 w 4501379"/>
                  <a:gd name="connsiteY58" fmla="*/ 1152525 h 4429294"/>
                  <a:gd name="connsiteX59" fmla="*/ 297644 w 4501379"/>
                  <a:gd name="connsiteY59" fmla="*/ 1114425 h 4429294"/>
                  <a:gd name="connsiteX60" fmla="*/ 345269 w 4501379"/>
                  <a:gd name="connsiteY60" fmla="*/ 1038225 h 4429294"/>
                  <a:gd name="connsiteX61" fmla="*/ 364319 w 4501379"/>
                  <a:gd name="connsiteY61" fmla="*/ 1009650 h 4429294"/>
                  <a:gd name="connsiteX62" fmla="*/ 421469 w 4501379"/>
                  <a:gd name="connsiteY62" fmla="*/ 904875 h 4429294"/>
                  <a:gd name="connsiteX63" fmla="*/ 459569 w 4501379"/>
                  <a:gd name="connsiteY63" fmla="*/ 857250 h 4429294"/>
                  <a:gd name="connsiteX64" fmla="*/ 478619 w 4501379"/>
                  <a:gd name="connsiteY64" fmla="*/ 828675 h 4429294"/>
                  <a:gd name="connsiteX65" fmla="*/ 516719 w 4501379"/>
                  <a:gd name="connsiteY65" fmla="*/ 800100 h 4429294"/>
                  <a:gd name="connsiteX66" fmla="*/ 583394 w 4501379"/>
                  <a:gd name="connsiteY66" fmla="*/ 733425 h 4429294"/>
                  <a:gd name="connsiteX67" fmla="*/ 650069 w 4501379"/>
                  <a:gd name="connsiteY67" fmla="*/ 676275 h 4429294"/>
                  <a:gd name="connsiteX68" fmla="*/ 678644 w 4501379"/>
                  <a:gd name="connsiteY68" fmla="*/ 657225 h 4429294"/>
                  <a:gd name="connsiteX69" fmla="*/ 821519 w 4501379"/>
                  <a:gd name="connsiteY69" fmla="*/ 533400 h 4429294"/>
                  <a:gd name="connsiteX70" fmla="*/ 869144 w 4501379"/>
                  <a:gd name="connsiteY70" fmla="*/ 504825 h 4429294"/>
                  <a:gd name="connsiteX71" fmla="*/ 1148544 w 4501379"/>
                  <a:gd name="connsiteY71" fmla="*/ 311150 h 4429294"/>
                  <a:gd name="connsiteX72" fmla="*/ 1250144 w 4501379"/>
                  <a:gd name="connsiteY72" fmla="*/ 285750 h 4429294"/>
                  <a:gd name="connsiteX73" fmla="*/ 1393019 w 4501379"/>
                  <a:gd name="connsiteY73" fmla="*/ 190500 h 4429294"/>
                  <a:gd name="connsiteX74" fmla="*/ 1431119 w 4501379"/>
                  <a:gd name="connsiteY74" fmla="*/ 161925 h 4429294"/>
                  <a:gd name="connsiteX75" fmla="*/ 1507319 w 4501379"/>
                  <a:gd name="connsiteY75" fmla="*/ 152400 h 4429294"/>
                  <a:gd name="connsiteX76" fmla="*/ 1564469 w 4501379"/>
                  <a:gd name="connsiteY76" fmla="*/ 142875 h 4429294"/>
                  <a:gd name="connsiteX77" fmla="*/ 1697819 w 4501379"/>
                  <a:gd name="connsiteY77" fmla="*/ 123825 h 4429294"/>
                  <a:gd name="connsiteX78" fmla="*/ 1793069 w 4501379"/>
                  <a:gd name="connsiteY78" fmla="*/ 114300 h 4429294"/>
                  <a:gd name="connsiteX79" fmla="*/ 1840694 w 4501379"/>
                  <a:gd name="connsiteY79" fmla="*/ 104775 h 4429294"/>
                  <a:gd name="connsiteX80" fmla="*/ 1897844 w 4501379"/>
                  <a:gd name="connsiteY80" fmla="*/ 95250 h 4429294"/>
                  <a:gd name="connsiteX81" fmla="*/ 2012144 w 4501379"/>
                  <a:gd name="connsiteY81" fmla="*/ 66675 h 4429294"/>
                  <a:gd name="connsiteX82" fmla="*/ 2078819 w 4501379"/>
                  <a:gd name="connsiteY82" fmla="*/ 47625 h 4429294"/>
                  <a:gd name="connsiteX83" fmla="*/ 2145494 w 4501379"/>
                  <a:gd name="connsiteY83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250394 w 4501379"/>
                  <a:gd name="connsiteY5" fmla="*/ 238125 h 4429294"/>
                  <a:gd name="connsiteX6" fmla="*/ 3307544 w 4501379"/>
                  <a:gd name="connsiteY6" fmla="*/ 266700 h 4429294"/>
                  <a:gd name="connsiteX7" fmla="*/ 3402794 w 4501379"/>
                  <a:gd name="connsiteY7" fmla="*/ 323850 h 4429294"/>
                  <a:gd name="connsiteX8" fmla="*/ 3450419 w 4501379"/>
                  <a:gd name="connsiteY8" fmla="*/ 361950 h 4429294"/>
                  <a:gd name="connsiteX9" fmla="*/ 3498044 w 4501379"/>
                  <a:gd name="connsiteY9" fmla="*/ 390525 h 4429294"/>
                  <a:gd name="connsiteX10" fmla="*/ 3612344 w 4501379"/>
                  <a:gd name="connsiteY10" fmla="*/ 485775 h 4429294"/>
                  <a:gd name="connsiteX11" fmla="*/ 3726644 w 4501379"/>
                  <a:gd name="connsiteY11" fmla="*/ 542925 h 4429294"/>
                  <a:gd name="connsiteX12" fmla="*/ 3793319 w 4501379"/>
                  <a:gd name="connsiteY12" fmla="*/ 581025 h 4429294"/>
                  <a:gd name="connsiteX13" fmla="*/ 4009219 w 4501379"/>
                  <a:gd name="connsiteY13" fmla="*/ 819150 h 4429294"/>
                  <a:gd name="connsiteX14" fmla="*/ 4145744 w 4501379"/>
                  <a:gd name="connsiteY14" fmla="*/ 990600 h 4429294"/>
                  <a:gd name="connsiteX15" fmla="*/ 4231469 w 4501379"/>
                  <a:gd name="connsiteY15" fmla="*/ 1143000 h 4429294"/>
                  <a:gd name="connsiteX16" fmla="*/ 4288619 w 4501379"/>
                  <a:gd name="connsiteY16" fmla="*/ 1266825 h 4429294"/>
                  <a:gd name="connsiteX17" fmla="*/ 4326719 w 4501379"/>
                  <a:gd name="connsiteY17" fmla="*/ 1362075 h 4429294"/>
                  <a:gd name="connsiteX18" fmla="*/ 4374344 w 4501379"/>
                  <a:gd name="connsiteY18" fmla="*/ 1552575 h 4429294"/>
                  <a:gd name="connsiteX19" fmla="*/ 4412444 w 4501379"/>
                  <a:gd name="connsiteY19" fmla="*/ 1685925 h 4429294"/>
                  <a:gd name="connsiteX20" fmla="*/ 4501344 w 4501379"/>
                  <a:gd name="connsiteY20" fmla="*/ 2181225 h 4429294"/>
                  <a:gd name="connsiteX21" fmla="*/ 4428319 w 4501379"/>
                  <a:gd name="connsiteY21" fmla="*/ 2768600 h 4429294"/>
                  <a:gd name="connsiteX22" fmla="*/ 4364819 w 4501379"/>
                  <a:gd name="connsiteY22" fmla="*/ 2990850 h 4429294"/>
                  <a:gd name="connsiteX23" fmla="*/ 4260044 w 4501379"/>
                  <a:gd name="connsiteY23" fmla="*/ 3248025 h 4429294"/>
                  <a:gd name="connsiteX24" fmla="*/ 4164794 w 4501379"/>
                  <a:gd name="connsiteY24" fmla="*/ 3400425 h 4429294"/>
                  <a:gd name="connsiteX25" fmla="*/ 4040969 w 4501379"/>
                  <a:gd name="connsiteY25" fmla="*/ 3533775 h 4429294"/>
                  <a:gd name="connsiteX26" fmla="*/ 3936194 w 4501379"/>
                  <a:gd name="connsiteY26" fmla="*/ 3648075 h 4429294"/>
                  <a:gd name="connsiteX27" fmla="*/ 3640919 w 4501379"/>
                  <a:gd name="connsiteY27" fmla="*/ 3971925 h 4429294"/>
                  <a:gd name="connsiteX28" fmla="*/ 3498044 w 4501379"/>
                  <a:gd name="connsiteY28" fmla="*/ 4083050 h 4429294"/>
                  <a:gd name="connsiteX29" fmla="*/ 3202769 w 4501379"/>
                  <a:gd name="connsiteY29" fmla="*/ 4222750 h 4429294"/>
                  <a:gd name="connsiteX30" fmla="*/ 3050369 w 4501379"/>
                  <a:gd name="connsiteY30" fmla="*/ 4286250 h 4429294"/>
                  <a:gd name="connsiteX31" fmla="*/ 2917019 w 4501379"/>
                  <a:gd name="connsiteY31" fmla="*/ 4333875 h 4429294"/>
                  <a:gd name="connsiteX32" fmla="*/ 2793194 w 4501379"/>
                  <a:gd name="connsiteY32" fmla="*/ 4371975 h 4429294"/>
                  <a:gd name="connsiteX33" fmla="*/ 2561419 w 4501379"/>
                  <a:gd name="connsiteY33" fmla="*/ 4391025 h 4429294"/>
                  <a:gd name="connsiteX34" fmla="*/ 2107394 w 4501379"/>
                  <a:gd name="connsiteY34" fmla="*/ 4429125 h 4429294"/>
                  <a:gd name="connsiteX35" fmla="*/ 1916894 w 4501379"/>
                  <a:gd name="connsiteY35" fmla="*/ 4400550 h 4429294"/>
                  <a:gd name="connsiteX36" fmla="*/ 1554944 w 4501379"/>
                  <a:gd name="connsiteY36" fmla="*/ 4305300 h 4429294"/>
                  <a:gd name="connsiteX37" fmla="*/ 1313644 w 4501379"/>
                  <a:gd name="connsiteY37" fmla="*/ 4216400 h 4429294"/>
                  <a:gd name="connsiteX38" fmla="*/ 1145369 w 4501379"/>
                  <a:gd name="connsiteY38" fmla="*/ 4111625 h 4429294"/>
                  <a:gd name="connsiteX39" fmla="*/ 926294 w 4501379"/>
                  <a:gd name="connsiteY39" fmla="*/ 3968750 h 4429294"/>
                  <a:gd name="connsiteX40" fmla="*/ 592919 w 4501379"/>
                  <a:gd name="connsiteY40" fmla="*/ 3657600 h 4429294"/>
                  <a:gd name="connsiteX41" fmla="*/ 446869 w 4501379"/>
                  <a:gd name="connsiteY41" fmla="*/ 3470275 h 4429294"/>
                  <a:gd name="connsiteX42" fmla="*/ 316694 w 4501379"/>
                  <a:gd name="connsiteY42" fmla="*/ 3244850 h 4429294"/>
                  <a:gd name="connsiteX43" fmla="*/ 164294 w 4501379"/>
                  <a:gd name="connsiteY43" fmla="*/ 2892425 h 4429294"/>
                  <a:gd name="connsiteX44" fmla="*/ 56344 w 4501379"/>
                  <a:gd name="connsiteY44" fmla="*/ 2368550 h 4429294"/>
                  <a:gd name="connsiteX45" fmla="*/ 2369 w 4501379"/>
                  <a:gd name="connsiteY45" fmla="*/ 1905000 h 4429294"/>
                  <a:gd name="connsiteX46" fmla="*/ 11894 w 4501379"/>
                  <a:gd name="connsiteY46" fmla="*/ 1838325 h 4429294"/>
                  <a:gd name="connsiteX47" fmla="*/ 30944 w 4501379"/>
                  <a:gd name="connsiteY47" fmla="*/ 1781175 h 4429294"/>
                  <a:gd name="connsiteX48" fmla="*/ 40469 w 4501379"/>
                  <a:gd name="connsiteY48" fmla="*/ 1743075 h 4429294"/>
                  <a:gd name="connsiteX49" fmla="*/ 59519 w 4501379"/>
                  <a:gd name="connsiteY49" fmla="*/ 1685925 h 4429294"/>
                  <a:gd name="connsiteX50" fmla="*/ 69044 w 4501379"/>
                  <a:gd name="connsiteY50" fmla="*/ 1638300 h 4429294"/>
                  <a:gd name="connsiteX51" fmla="*/ 88094 w 4501379"/>
                  <a:gd name="connsiteY51" fmla="*/ 1590675 h 4429294"/>
                  <a:gd name="connsiteX52" fmla="*/ 116669 w 4501379"/>
                  <a:gd name="connsiteY52" fmla="*/ 1504950 h 4429294"/>
                  <a:gd name="connsiteX53" fmla="*/ 135719 w 4501379"/>
                  <a:gd name="connsiteY53" fmla="*/ 1419225 h 4429294"/>
                  <a:gd name="connsiteX54" fmla="*/ 211919 w 4501379"/>
                  <a:gd name="connsiteY54" fmla="*/ 1276350 h 4429294"/>
                  <a:gd name="connsiteX55" fmla="*/ 221444 w 4501379"/>
                  <a:gd name="connsiteY55" fmla="*/ 1247775 h 4429294"/>
                  <a:gd name="connsiteX56" fmla="*/ 250019 w 4501379"/>
                  <a:gd name="connsiteY56" fmla="*/ 1200150 h 4429294"/>
                  <a:gd name="connsiteX57" fmla="*/ 269069 w 4501379"/>
                  <a:gd name="connsiteY57" fmla="*/ 1152525 h 4429294"/>
                  <a:gd name="connsiteX58" fmla="*/ 297644 w 4501379"/>
                  <a:gd name="connsiteY58" fmla="*/ 1114425 h 4429294"/>
                  <a:gd name="connsiteX59" fmla="*/ 345269 w 4501379"/>
                  <a:gd name="connsiteY59" fmla="*/ 1038225 h 4429294"/>
                  <a:gd name="connsiteX60" fmla="*/ 364319 w 4501379"/>
                  <a:gd name="connsiteY60" fmla="*/ 1009650 h 4429294"/>
                  <a:gd name="connsiteX61" fmla="*/ 421469 w 4501379"/>
                  <a:gd name="connsiteY61" fmla="*/ 904875 h 4429294"/>
                  <a:gd name="connsiteX62" fmla="*/ 459569 w 4501379"/>
                  <a:gd name="connsiteY62" fmla="*/ 857250 h 4429294"/>
                  <a:gd name="connsiteX63" fmla="*/ 478619 w 4501379"/>
                  <a:gd name="connsiteY63" fmla="*/ 828675 h 4429294"/>
                  <a:gd name="connsiteX64" fmla="*/ 516719 w 4501379"/>
                  <a:gd name="connsiteY64" fmla="*/ 800100 h 4429294"/>
                  <a:gd name="connsiteX65" fmla="*/ 583394 w 4501379"/>
                  <a:gd name="connsiteY65" fmla="*/ 733425 h 4429294"/>
                  <a:gd name="connsiteX66" fmla="*/ 650069 w 4501379"/>
                  <a:gd name="connsiteY66" fmla="*/ 676275 h 4429294"/>
                  <a:gd name="connsiteX67" fmla="*/ 678644 w 4501379"/>
                  <a:gd name="connsiteY67" fmla="*/ 657225 h 4429294"/>
                  <a:gd name="connsiteX68" fmla="*/ 821519 w 4501379"/>
                  <a:gd name="connsiteY68" fmla="*/ 533400 h 4429294"/>
                  <a:gd name="connsiteX69" fmla="*/ 869144 w 4501379"/>
                  <a:gd name="connsiteY69" fmla="*/ 504825 h 4429294"/>
                  <a:gd name="connsiteX70" fmla="*/ 1148544 w 4501379"/>
                  <a:gd name="connsiteY70" fmla="*/ 311150 h 4429294"/>
                  <a:gd name="connsiteX71" fmla="*/ 1250144 w 4501379"/>
                  <a:gd name="connsiteY71" fmla="*/ 285750 h 4429294"/>
                  <a:gd name="connsiteX72" fmla="*/ 1393019 w 4501379"/>
                  <a:gd name="connsiteY72" fmla="*/ 190500 h 4429294"/>
                  <a:gd name="connsiteX73" fmla="*/ 1431119 w 4501379"/>
                  <a:gd name="connsiteY73" fmla="*/ 161925 h 4429294"/>
                  <a:gd name="connsiteX74" fmla="*/ 1507319 w 4501379"/>
                  <a:gd name="connsiteY74" fmla="*/ 152400 h 4429294"/>
                  <a:gd name="connsiteX75" fmla="*/ 1564469 w 4501379"/>
                  <a:gd name="connsiteY75" fmla="*/ 142875 h 4429294"/>
                  <a:gd name="connsiteX76" fmla="*/ 1697819 w 4501379"/>
                  <a:gd name="connsiteY76" fmla="*/ 123825 h 4429294"/>
                  <a:gd name="connsiteX77" fmla="*/ 1793069 w 4501379"/>
                  <a:gd name="connsiteY77" fmla="*/ 114300 h 4429294"/>
                  <a:gd name="connsiteX78" fmla="*/ 1840694 w 4501379"/>
                  <a:gd name="connsiteY78" fmla="*/ 104775 h 4429294"/>
                  <a:gd name="connsiteX79" fmla="*/ 1897844 w 4501379"/>
                  <a:gd name="connsiteY79" fmla="*/ 95250 h 4429294"/>
                  <a:gd name="connsiteX80" fmla="*/ 2012144 w 4501379"/>
                  <a:gd name="connsiteY80" fmla="*/ 66675 h 4429294"/>
                  <a:gd name="connsiteX81" fmla="*/ 2078819 w 4501379"/>
                  <a:gd name="connsiteY81" fmla="*/ 47625 h 4429294"/>
                  <a:gd name="connsiteX82" fmla="*/ 2145494 w 4501379"/>
                  <a:gd name="connsiteY82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307544 w 4501379"/>
                  <a:gd name="connsiteY5" fmla="*/ 266700 h 4429294"/>
                  <a:gd name="connsiteX6" fmla="*/ 3402794 w 4501379"/>
                  <a:gd name="connsiteY6" fmla="*/ 323850 h 4429294"/>
                  <a:gd name="connsiteX7" fmla="*/ 3450419 w 4501379"/>
                  <a:gd name="connsiteY7" fmla="*/ 361950 h 4429294"/>
                  <a:gd name="connsiteX8" fmla="*/ 3498044 w 4501379"/>
                  <a:gd name="connsiteY8" fmla="*/ 390525 h 4429294"/>
                  <a:gd name="connsiteX9" fmla="*/ 3612344 w 4501379"/>
                  <a:gd name="connsiteY9" fmla="*/ 485775 h 4429294"/>
                  <a:gd name="connsiteX10" fmla="*/ 3726644 w 4501379"/>
                  <a:gd name="connsiteY10" fmla="*/ 542925 h 4429294"/>
                  <a:gd name="connsiteX11" fmla="*/ 3793319 w 4501379"/>
                  <a:gd name="connsiteY11" fmla="*/ 581025 h 4429294"/>
                  <a:gd name="connsiteX12" fmla="*/ 4009219 w 4501379"/>
                  <a:gd name="connsiteY12" fmla="*/ 819150 h 4429294"/>
                  <a:gd name="connsiteX13" fmla="*/ 4145744 w 4501379"/>
                  <a:gd name="connsiteY13" fmla="*/ 990600 h 4429294"/>
                  <a:gd name="connsiteX14" fmla="*/ 4231469 w 4501379"/>
                  <a:gd name="connsiteY14" fmla="*/ 1143000 h 4429294"/>
                  <a:gd name="connsiteX15" fmla="*/ 4288619 w 4501379"/>
                  <a:gd name="connsiteY15" fmla="*/ 1266825 h 4429294"/>
                  <a:gd name="connsiteX16" fmla="*/ 4326719 w 4501379"/>
                  <a:gd name="connsiteY16" fmla="*/ 1362075 h 4429294"/>
                  <a:gd name="connsiteX17" fmla="*/ 4374344 w 4501379"/>
                  <a:gd name="connsiteY17" fmla="*/ 1552575 h 4429294"/>
                  <a:gd name="connsiteX18" fmla="*/ 4412444 w 4501379"/>
                  <a:gd name="connsiteY18" fmla="*/ 1685925 h 4429294"/>
                  <a:gd name="connsiteX19" fmla="*/ 4501344 w 4501379"/>
                  <a:gd name="connsiteY19" fmla="*/ 2181225 h 4429294"/>
                  <a:gd name="connsiteX20" fmla="*/ 4428319 w 4501379"/>
                  <a:gd name="connsiteY20" fmla="*/ 2768600 h 4429294"/>
                  <a:gd name="connsiteX21" fmla="*/ 4364819 w 4501379"/>
                  <a:gd name="connsiteY21" fmla="*/ 2990850 h 4429294"/>
                  <a:gd name="connsiteX22" fmla="*/ 4260044 w 4501379"/>
                  <a:gd name="connsiteY22" fmla="*/ 3248025 h 4429294"/>
                  <a:gd name="connsiteX23" fmla="*/ 4164794 w 4501379"/>
                  <a:gd name="connsiteY23" fmla="*/ 3400425 h 4429294"/>
                  <a:gd name="connsiteX24" fmla="*/ 4040969 w 4501379"/>
                  <a:gd name="connsiteY24" fmla="*/ 3533775 h 4429294"/>
                  <a:gd name="connsiteX25" fmla="*/ 3936194 w 4501379"/>
                  <a:gd name="connsiteY25" fmla="*/ 3648075 h 4429294"/>
                  <a:gd name="connsiteX26" fmla="*/ 3640919 w 4501379"/>
                  <a:gd name="connsiteY26" fmla="*/ 3971925 h 4429294"/>
                  <a:gd name="connsiteX27" fmla="*/ 3498044 w 4501379"/>
                  <a:gd name="connsiteY27" fmla="*/ 4083050 h 4429294"/>
                  <a:gd name="connsiteX28" fmla="*/ 3202769 w 4501379"/>
                  <a:gd name="connsiteY28" fmla="*/ 4222750 h 4429294"/>
                  <a:gd name="connsiteX29" fmla="*/ 3050369 w 4501379"/>
                  <a:gd name="connsiteY29" fmla="*/ 4286250 h 4429294"/>
                  <a:gd name="connsiteX30" fmla="*/ 2917019 w 4501379"/>
                  <a:gd name="connsiteY30" fmla="*/ 4333875 h 4429294"/>
                  <a:gd name="connsiteX31" fmla="*/ 2793194 w 4501379"/>
                  <a:gd name="connsiteY31" fmla="*/ 4371975 h 4429294"/>
                  <a:gd name="connsiteX32" fmla="*/ 2561419 w 4501379"/>
                  <a:gd name="connsiteY32" fmla="*/ 4391025 h 4429294"/>
                  <a:gd name="connsiteX33" fmla="*/ 2107394 w 4501379"/>
                  <a:gd name="connsiteY33" fmla="*/ 4429125 h 4429294"/>
                  <a:gd name="connsiteX34" fmla="*/ 1916894 w 4501379"/>
                  <a:gd name="connsiteY34" fmla="*/ 4400550 h 4429294"/>
                  <a:gd name="connsiteX35" fmla="*/ 1554944 w 4501379"/>
                  <a:gd name="connsiteY35" fmla="*/ 4305300 h 4429294"/>
                  <a:gd name="connsiteX36" fmla="*/ 1313644 w 4501379"/>
                  <a:gd name="connsiteY36" fmla="*/ 4216400 h 4429294"/>
                  <a:gd name="connsiteX37" fmla="*/ 1145369 w 4501379"/>
                  <a:gd name="connsiteY37" fmla="*/ 4111625 h 4429294"/>
                  <a:gd name="connsiteX38" fmla="*/ 926294 w 4501379"/>
                  <a:gd name="connsiteY38" fmla="*/ 3968750 h 4429294"/>
                  <a:gd name="connsiteX39" fmla="*/ 592919 w 4501379"/>
                  <a:gd name="connsiteY39" fmla="*/ 3657600 h 4429294"/>
                  <a:gd name="connsiteX40" fmla="*/ 446869 w 4501379"/>
                  <a:gd name="connsiteY40" fmla="*/ 3470275 h 4429294"/>
                  <a:gd name="connsiteX41" fmla="*/ 316694 w 4501379"/>
                  <a:gd name="connsiteY41" fmla="*/ 3244850 h 4429294"/>
                  <a:gd name="connsiteX42" fmla="*/ 164294 w 4501379"/>
                  <a:gd name="connsiteY42" fmla="*/ 2892425 h 4429294"/>
                  <a:gd name="connsiteX43" fmla="*/ 56344 w 4501379"/>
                  <a:gd name="connsiteY43" fmla="*/ 2368550 h 4429294"/>
                  <a:gd name="connsiteX44" fmla="*/ 2369 w 4501379"/>
                  <a:gd name="connsiteY44" fmla="*/ 1905000 h 4429294"/>
                  <a:gd name="connsiteX45" fmla="*/ 11894 w 4501379"/>
                  <a:gd name="connsiteY45" fmla="*/ 1838325 h 4429294"/>
                  <a:gd name="connsiteX46" fmla="*/ 30944 w 4501379"/>
                  <a:gd name="connsiteY46" fmla="*/ 1781175 h 4429294"/>
                  <a:gd name="connsiteX47" fmla="*/ 40469 w 4501379"/>
                  <a:gd name="connsiteY47" fmla="*/ 1743075 h 4429294"/>
                  <a:gd name="connsiteX48" fmla="*/ 59519 w 4501379"/>
                  <a:gd name="connsiteY48" fmla="*/ 1685925 h 4429294"/>
                  <a:gd name="connsiteX49" fmla="*/ 69044 w 4501379"/>
                  <a:gd name="connsiteY49" fmla="*/ 1638300 h 4429294"/>
                  <a:gd name="connsiteX50" fmla="*/ 88094 w 4501379"/>
                  <a:gd name="connsiteY50" fmla="*/ 1590675 h 4429294"/>
                  <a:gd name="connsiteX51" fmla="*/ 116669 w 4501379"/>
                  <a:gd name="connsiteY51" fmla="*/ 1504950 h 4429294"/>
                  <a:gd name="connsiteX52" fmla="*/ 135719 w 4501379"/>
                  <a:gd name="connsiteY52" fmla="*/ 1419225 h 4429294"/>
                  <a:gd name="connsiteX53" fmla="*/ 211919 w 4501379"/>
                  <a:gd name="connsiteY53" fmla="*/ 1276350 h 4429294"/>
                  <a:gd name="connsiteX54" fmla="*/ 221444 w 4501379"/>
                  <a:gd name="connsiteY54" fmla="*/ 1247775 h 4429294"/>
                  <a:gd name="connsiteX55" fmla="*/ 250019 w 4501379"/>
                  <a:gd name="connsiteY55" fmla="*/ 1200150 h 4429294"/>
                  <a:gd name="connsiteX56" fmla="*/ 269069 w 4501379"/>
                  <a:gd name="connsiteY56" fmla="*/ 1152525 h 4429294"/>
                  <a:gd name="connsiteX57" fmla="*/ 297644 w 4501379"/>
                  <a:gd name="connsiteY57" fmla="*/ 1114425 h 4429294"/>
                  <a:gd name="connsiteX58" fmla="*/ 345269 w 4501379"/>
                  <a:gd name="connsiteY58" fmla="*/ 1038225 h 4429294"/>
                  <a:gd name="connsiteX59" fmla="*/ 364319 w 4501379"/>
                  <a:gd name="connsiteY59" fmla="*/ 1009650 h 4429294"/>
                  <a:gd name="connsiteX60" fmla="*/ 421469 w 4501379"/>
                  <a:gd name="connsiteY60" fmla="*/ 904875 h 4429294"/>
                  <a:gd name="connsiteX61" fmla="*/ 459569 w 4501379"/>
                  <a:gd name="connsiteY61" fmla="*/ 857250 h 4429294"/>
                  <a:gd name="connsiteX62" fmla="*/ 478619 w 4501379"/>
                  <a:gd name="connsiteY62" fmla="*/ 828675 h 4429294"/>
                  <a:gd name="connsiteX63" fmla="*/ 516719 w 4501379"/>
                  <a:gd name="connsiteY63" fmla="*/ 800100 h 4429294"/>
                  <a:gd name="connsiteX64" fmla="*/ 583394 w 4501379"/>
                  <a:gd name="connsiteY64" fmla="*/ 733425 h 4429294"/>
                  <a:gd name="connsiteX65" fmla="*/ 650069 w 4501379"/>
                  <a:gd name="connsiteY65" fmla="*/ 676275 h 4429294"/>
                  <a:gd name="connsiteX66" fmla="*/ 678644 w 4501379"/>
                  <a:gd name="connsiteY66" fmla="*/ 657225 h 4429294"/>
                  <a:gd name="connsiteX67" fmla="*/ 821519 w 4501379"/>
                  <a:gd name="connsiteY67" fmla="*/ 533400 h 4429294"/>
                  <a:gd name="connsiteX68" fmla="*/ 869144 w 4501379"/>
                  <a:gd name="connsiteY68" fmla="*/ 504825 h 4429294"/>
                  <a:gd name="connsiteX69" fmla="*/ 1148544 w 4501379"/>
                  <a:gd name="connsiteY69" fmla="*/ 311150 h 4429294"/>
                  <a:gd name="connsiteX70" fmla="*/ 1250144 w 4501379"/>
                  <a:gd name="connsiteY70" fmla="*/ 285750 h 4429294"/>
                  <a:gd name="connsiteX71" fmla="*/ 1393019 w 4501379"/>
                  <a:gd name="connsiteY71" fmla="*/ 190500 h 4429294"/>
                  <a:gd name="connsiteX72" fmla="*/ 1431119 w 4501379"/>
                  <a:gd name="connsiteY72" fmla="*/ 161925 h 4429294"/>
                  <a:gd name="connsiteX73" fmla="*/ 1507319 w 4501379"/>
                  <a:gd name="connsiteY73" fmla="*/ 152400 h 4429294"/>
                  <a:gd name="connsiteX74" fmla="*/ 1564469 w 4501379"/>
                  <a:gd name="connsiteY74" fmla="*/ 142875 h 4429294"/>
                  <a:gd name="connsiteX75" fmla="*/ 1697819 w 4501379"/>
                  <a:gd name="connsiteY75" fmla="*/ 123825 h 4429294"/>
                  <a:gd name="connsiteX76" fmla="*/ 1793069 w 4501379"/>
                  <a:gd name="connsiteY76" fmla="*/ 114300 h 4429294"/>
                  <a:gd name="connsiteX77" fmla="*/ 1840694 w 4501379"/>
                  <a:gd name="connsiteY77" fmla="*/ 104775 h 4429294"/>
                  <a:gd name="connsiteX78" fmla="*/ 1897844 w 4501379"/>
                  <a:gd name="connsiteY78" fmla="*/ 95250 h 4429294"/>
                  <a:gd name="connsiteX79" fmla="*/ 2012144 w 4501379"/>
                  <a:gd name="connsiteY79" fmla="*/ 66675 h 4429294"/>
                  <a:gd name="connsiteX80" fmla="*/ 2078819 w 4501379"/>
                  <a:gd name="connsiteY80" fmla="*/ 47625 h 4429294"/>
                  <a:gd name="connsiteX81" fmla="*/ 2145494 w 4501379"/>
                  <a:gd name="connsiteY81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450419 w 4501379"/>
                  <a:gd name="connsiteY6" fmla="*/ 361950 h 4429294"/>
                  <a:gd name="connsiteX7" fmla="*/ 3498044 w 4501379"/>
                  <a:gd name="connsiteY7" fmla="*/ 390525 h 4429294"/>
                  <a:gd name="connsiteX8" fmla="*/ 3612344 w 4501379"/>
                  <a:gd name="connsiteY8" fmla="*/ 485775 h 4429294"/>
                  <a:gd name="connsiteX9" fmla="*/ 3726644 w 4501379"/>
                  <a:gd name="connsiteY9" fmla="*/ 542925 h 4429294"/>
                  <a:gd name="connsiteX10" fmla="*/ 3793319 w 4501379"/>
                  <a:gd name="connsiteY10" fmla="*/ 581025 h 4429294"/>
                  <a:gd name="connsiteX11" fmla="*/ 4009219 w 4501379"/>
                  <a:gd name="connsiteY11" fmla="*/ 819150 h 4429294"/>
                  <a:gd name="connsiteX12" fmla="*/ 4145744 w 4501379"/>
                  <a:gd name="connsiteY12" fmla="*/ 990600 h 4429294"/>
                  <a:gd name="connsiteX13" fmla="*/ 4231469 w 4501379"/>
                  <a:gd name="connsiteY13" fmla="*/ 1143000 h 4429294"/>
                  <a:gd name="connsiteX14" fmla="*/ 4288619 w 4501379"/>
                  <a:gd name="connsiteY14" fmla="*/ 1266825 h 4429294"/>
                  <a:gd name="connsiteX15" fmla="*/ 4326719 w 4501379"/>
                  <a:gd name="connsiteY15" fmla="*/ 1362075 h 4429294"/>
                  <a:gd name="connsiteX16" fmla="*/ 4374344 w 4501379"/>
                  <a:gd name="connsiteY16" fmla="*/ 1552575 h 4429294"/>
                  <a:gd name="connsiteX17" fmla="*/ 4412444 w 4501379"/>
                  <a:gd name="connsiteY17" fmla="*/ 1685925 h 4429294"/>
                  <a:gd name="connsiteX18" fmla="*/ 4501344 w 4501379"/>
                  <a:gd name="connsiteY18" fmla="*/ 2181225 h 4429294"/>
                  <a:gd name="connsiteX19" fmla="*/ 4428319 w 4501379"/>
                  <a:gd name="connsiteY19" fmla="*/ 2768600 h 4429294"/>
                  <a:gd name="connsiteX20" fmla="*/ 4364819 w 4501379"/>
                  <a:gd name="connsiteY20" fmla="*/ 2990850 h 4429294"/>
                  <a:gd name="connsiteX21" fmla="*/ 4260044 w 4501379"/>
                  <a:gd name="connsiteY21" fmla="*/ 3248025 h 4429294"/>
                  <a:gd name="connsiteX22" fmla="*/ 4164794 w 4501379"/>
                  <a:gd name="connsiteY22" fmla="*/ 3400425 h 4429294"/>
                  <a:gd name="connsiteX23" fmla="*/ 4040969 w 4501379"/>
                  <a:gd name="connsiteY23" fmla="*/ 3533775 h 4429294"/>
                  <a:gd name="connsiteX24" fmla="*/ 3936194 w 4501379"/>
                  <a:gd name="connsiteY24" fmla="*/ 3648075 h 4429294"/>
                  <a:gd name="connsiteX25" fmla="*/ 3640919 w 4501379"/>
                  <a:gd name="connsiteY25" fmla="*/ 3971925 h 4429294"/>
                  <a:gd name="connsiteX26" fmla="*/ 3498044 w 4501379"/>
                  <a:gd name="connsiteY26" fmla="*/ 4083050 h 4429294"/>
                  <a:gd name="connsiteX27" fmla="*/ 3202769 w 4501379"/>
                  <a:gd name="connsiteY27" fmla="*/ 4222750 h 4429294"/>
                  <a:gd name="connsiteX28" fmla="*/ 3050369 w 4501379"/>
                  <a:gd name="connsiteY28" fmla="*/ 4286250 h 4429294"/>
                  <a:gd name="connsiteX29" fmla="*/ 2917019 w 4501379"/>
                  <a:gd name="connsiteY29" fmla="*/ 4333875 h 4429294"/>
                  <a:gd name="connsiteX30" fmla="*/ 2793194 w 4501379"/>
                  <a:gd name="connsiteY30" fmla="*/ 4371975 h 4429294"/>
                  <a:gd name="connsiteX31" fmla="*/ 2561419 w 4501379"/>
                  <a:gd name="connsiteY31" fmla="*/ 4391025 h 4429294"/>
                  <a:gd name="connsiteX32" fmla="*/ 2107394 w 4501379"/>
                  <a:gd name="connsiteY32" fmla="*/ 4429125 h 4429294"/>
                  <a:gd name="connsiteX33" fmla="*/ 1916894 w 4501379"/>
                  <a:gd name="connsiteY33" fmla="*/ 4400550 h 4429294"/>
                  <a:gd name="connsiteX34" fmla="*/ 1554944 w 4501379"/>
                  <a:gd name="connsiteY34" fmla="*/ 4305300 h 4429294"/>
                  <a:gd name="connsiteX35" fmla="*/ 1313644 w 4501379"/>
                  <a:gd name="connsiteY35" fmla="*/ 4216400 h 4429294"/>
                  <a:gd name="connsiteX36" fmla="*/ 1145369 w 4501379"/>
                  <a:gd name="connsiteY36" fmla="*/ 4111625 h 4429294"/>
                  <a:gd name="connsiteX37" fmla="*/ 926294 w 4501379"/>
                  <a:gd name="connsiteY37" fmla="*/ 3968750 h 4429294"/>
                  <a:gd name="connsiteX38" fmla="*/ 592919 w 4501379"/>
                  <a:gd name="connsiteY38" fmla="*/ 3657600 h 4429294"/>
                  <a:gd name="connsiteX39" fmla="*/ 446869 w 4501379"/>
                  <a:gd name="connsiteY39" fmla="*/ 3470275 h 4429294"/>
                  <a:gd name="connsiteX40" fmla="*/ 316694 w 4501379"/>
                  <a:gd name="connsiteY40" fmla="*/ 3244850 h 4429294"/>
                  <a:gd name="connsiteX41" fmla="*/ 164294 w 4501379"/>
                  <a:gd name="connsiteY41" fmla="*/ 2892425 h 4429294"/>
                  <a:gd name="connsiteX42" fmla="*/ 56344 w 4501379"/>
                  <a:gd name="connsiteY42" fmla="*/ 2368550 h 4429294"/>
                  <a:gd name="connsiteX43" fmla="*/ 2369 w 4501379"/>
                  <a:gd name="connsiteY43" fmla="*/ 1905000 h 4429294"/>
                  <a:gd name="connsiteX44" fmla="*/ 11894 w 4501379"/>
                  <a:gd name="connsiteY44" fmla="*/ 1838325 h 4429294"/>
                  <a:gd name="connsiteX45" fmla="*/ 30944 w 4501379"/>
                  <a:gd name="connsiteY45" fmla="*/ 1781175 h 4429294"/>
                  <a:gd name="connsiteX46" fmla="*/ 40469 w 4501379"/>
                  <a:gd name="connsiteY46" fmla="*/ 1743075 h 4429294"/>
                  <a:gd name="connsiteX47" fmla="*/ 59519 w 4501379"/>
                  <a:gd name="connsiteY47" fmla="*/ 1685925 h 4429294"/>
                  <a:gd name="connsiteX48" fmla="*/ 69044 w 4501379"/>
                  <a:gd name="connsiteY48" fmla="*/ 1638300 h 4429294"/>
                  <a:gd name="connsiteX49" fmla="*/ 88094 w 4501379"/>
                  <a:gd name="connsiteY49" fmla="*/ 1590675 h 4429294"/>
                  <a:gd name="connsiteX50" fmla="*/ 116669 w 4501379"/>
                  <a:gd name="connsiteY50" fmla="*/ 1504950 h 4429294"/>
                  <a:gd name="connsiteX51" fmla="*/ 135719 w 4501379"/>
                  <a:gd name="connsiteY51" fmla="*/ 1419225 h 4429294"/>
                  <a:gd name="connsiteX52" fmla="*/ 211919 w 4501379"/>
                  <a:gd name="connsiteY52" fmla="*/ 1276350 h 4429294"/>
                  <a:gd name="connsiteX53" fmla="*/ 221444 w 4501379"/>
                  <a:gd name="connsiteY53" fmla="*/ 1247775 h 4429294"/>
                  <a:gd name="connsiteX54" fmla="*/ 250019 w 4501379"/>
                  <a:gd name="connsiteY54" fmla="*/ 1200150 h 4429294"/>
                  <a:gd name="connsiteX55" fmla="*/ 269069 w 4501379"/>
                  <a:gd name="connsiteY55" fmla="*/ 1152525 h 4429294"/>
                  <a:gd name="connsiteX56" fmla="*/ 297644 w 4501379"/>
                  <a:gd name="connsiteY56" fmla="*/ 1114425 h 4429294"/>
                  <a:gd name="connsiteX57" fmla="*/ 345269 w 4501379"/>
                  <a:gd name="connsiteY57" fmla="*/ 1038225 h 4429294"/>
                  <a:gd name="connsiteX58" fmla="*/ 364319 w 4501379"/>
                  <a:gd name="connsiteY58" fmla="*/ 1009650 h 4429294"/>
                  <a:gd name="connsiteX59" fmla="*/ 421469 w 4501379"/>
                  <a:gd name="connsiteY59" fmla="*/ 904875 h 4429294"/>
                  <a:gd name="connsiteX60" fmla="*/ 459569 w 4501379"/>
                  <a:gd name="connsiteY60" fmla="*/ 857250 h 4429294"/>
                  <a:gd name="connsiteX61" fmla="*/ 478619 w 4501379"/>
                  <a:gd name="connsiteY61" fmla="*/ 828675 h 4429294"/>
                  <a:gd name="connsiteX62" fmla="*/ 516719 w 4501379"/>
                  <a:gd name="connsiteY62" fmla="*/ 800100 h 4429294"/>
                  <a:gd name="connsiteX63" fmla="*/ 583394 w 4501379"/>
                  <a:gd name="connsiteY63" fmla="*/ 733425 h 4429294"/>
                  <a:gd name="connsiteX64" fmla="*/ 650069 w 4501379"/>
                  <a:gd name="connsiteY64" fmla="*/ 676275 h 4429294"/>
                  <a:gd name="connsiteX65" fmla="*/ 678644 w 4501379"/>
                  <a:gd name="connsiteY65" fmla="*/ 657225 h 4429294"/>
                  <a:gd name="connsiteX66" fmla="*/ 821519 w 4501379"/>
                  <a:gd name="connsiteY66" fmla="*/ 533400 h 4429294"/>
                  <a:gd name="connsiteX67" fmla="*/ 869144 w 4501379"/>
                  <a:gd name="connsiteY67" fmla="*/ 504825 h 4429294"/>
                  <a:gd name="connsiteX68" fmla="*/ 1148544 w 4501379"/>
                  <a:gd name="connsiteY68" fmla="*/ 311150 h 4429294"/>
                  <a:gd name="connsiteX69" fmla="*/ 1250144 w 4501379"/>
                  <a:gd name="connsiteY69" fmla="*/ 285750 h 4429294"/>
                  <a:gd name="connsiteX70" fmla="*/ 1393019 w 4501379"/>
                  <a:gd name="connsiteY70" fmla="*/ 190500 h 4429294"/>
                  <a:gd name="connsiteX71" fmla="*/ 1431119 w 4501379"/>
                  <a:gd name="connsiteY71" fmla="*/ 161925 h 4429294"/>
                  <a:gd name="connsiteX72" fmla="*/ 1507319 w 4501379"/>
                  <a:gd name="connsiteY72" fmla="*/ 152400 h 4429294"/>
                  <a:gd name="connsiteX73" fmla="*/ 1564469 w 4501379"/>
                  <a:gd name="connsiteY73" fmla="*/ 142875 h 4429294"/>
                  <a:gd name="connsiteX74" fmla="*/ 1697819 w 4501379"/>
                  <a:gd name="connsiteY74" fmla="*/ 123825 h 4429294"/>
                  <a:gd name="connsiteX75" fmla="*/ 1793069 w 4501379"/>
                  <a:gd name="connsiteY75" fmla="*/ 114300 h 4429294"/>
                  <a:gd name="connsiteX76" fmla="*/ 1840694 w 4501379"/>
                  <a:gd name="connsiteY76" fmla="*/ 104775 h 4429294"/>
                  <a:gd name="connsiteX77" fmla="*/ 1897844 w 4501379"/>
                  <a:gd name="connsiteY77" fmla="*/ 95250 h 4429294"/>
                  <a:gd name="connsiteX78" fmla="*/ 2012144 w 4501379"/>
                  <a:gd name="connsiteY78" fmla="*/ 66675 h 4429294"/>
                  <a:gd name="connsiteX79" fmla="*/ 2078819 w 4501379"/>
                  <a:gd name="connsiteY79" fmla="*/ 47625 h 4429294"/>
                  <a:gd name="connsiteX80" fmla="*/ 2145494 w 4501379"/>
                  <a:gd name="connsiteY80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450419 w 4501379"/>
                  <a:gd name="connsiteY6" fmla="*/ 361950 h 4429294"/>
                  <a:gd name="connsiteX7" fmla="*/ 3612344 w 4501379"/>
                  <a:gd name="connsiteY7" fmla="*/ 485775 h 4429294"/>
                  <a:gd name="connsiteX8" fmla="*/ 3726644 w 4501379"/>
                  <a:gd name="connsiteY8" fmla="*/ 542925 h 4429294"/>
                  <a:gd name="connsiteX9" fmla="*/ 3793319 w 4501379"/>
                  <a:gd name="connsiteY9" fmla="*/ 581025 h 4429294"/>
                  <a:gd name="connsiteX10" fmla="*/ 4009219 w 4501379"/>
                  <a:gd name="connsiteY10" fmla="*/ 819150 h 4429294"/>
                  <a:gd name="connsiteX11" fmla="*/ 4145744 w 4501379"/>
                  <a:gd name="connsiteY11" fmla="*/ 990600 h 4429294"/>
                  <a:gd name="connsiteX12" fmla="*/ 4231469 w 4501379"/>
                  <a:gd name="connsiteY12" fmla="*/ 1143000 h 4429294"/>
                  <a:gd name="connsiteX13" fmla="*/ 4288619 w 4501379"/>
                  <a:gd name="connsiteY13" fmla="*/ 1266825 h 4429294"/>
                  <a:gd name="connsiteX14" fmla="*/ 4326719 w 4501379"/>
                  <a:gd name="connsiteY14" fmla="*/ 1362075 h 4429294"/>
                  <a:gd name="connsiteX15" fmla="*/ 4374344 w 4501379"/>
                  <a:gd name="connsiteY15" fmla="*/ 1552575 h 4429294"/>
                  <a:gd name="connsiteX16" fmla="*/ 4412444 w 4501379"/>
                  <a:gd name="connsiteY16" fmla="*/ 1685925 h 4429294"/>
                  <a:gd name="connsiteX17" fmla="*/ 4501344 w 4501379"/>
                  <a:gd name="connsiteY17" fmla="*/ 2181225 h 4429294"/>
                  <a:gd name="connsiteX18" fmla="*/ 4428319 w 4501379"/>
                  <a:gd name="connsiteY18" fmla="*/ 2768600 h 4429294"/>
                  <a:gd name="connsiteX19" fmla="*/ 4364819 w 4501379"/>
                  <a:gd name="connsiteY19" fmla="*/ 2990850 h 4429294"/>
                  <a:gd name="connsiteX20" fmla="*/ 4260044 w 4501379"/>
                  <a:gd name="connsiteY20" fmla="*/ 3248025 h 4429294"/>
                  <a:gd name="connsiteX21" fmla="*/ 4164794 w 4501379"/>
                  <a:gd name="connsiteY21" fmla="*/ 3400425 h 4429294"/>
                  <a:gd name="connsiteX22" fmla="*/ 4040969 w 4501379"/>
                  <a:gd name="connsiteY22" fmla="*/ 3533775 h 4429294"/>
                  <a:gd name="connsiteX23" fmla="*/ 3936194 w 4501379"/>
                  <a:gd name="connsiteY23" fmla="*/ 3648075 h 4429294"/>
                  <a:gd name="connsiteX24" fmla="*/ 3640919 w 4501379"/>
                  <a:gd name="connsiteY24" fmla="*/ 3971925 h 4429294"/>
                  <a:gd name="connsiteX25" fmla="*/ 3498044 w 4501379"/>
                  <a:gd name="connsiteY25" fmla="*/ 4083050 h 4429294"/>
                  <a:gd name="connsiteX26" fmla="*/ 3202769 w 4501379"/>
                  <a:gd name="connsiteY26" fmla="*/ 4222750 h 4429294"/>
                  <a:gd name="connsiteX27" fmla="*/ 3050369 w 4501379"/>
                  <a:gd name="connsiteY27" fmla="*/ 4286250 h 4429294"/>
                  <a:gd name="connsiteX28" fmla="*/ 2917019 w 4501379"/>
                  <a:gd name="connsiteY28" fmla="*/ 4333875 h 4429294"/>
                  <a:gd name="connsiteX29" fmla="*/ 2793194 w 4501379"/>
                  <a:gd name="connsiteY29" fmla="*/ 4371975 h 4429294"/>
                  <a:gd name="connsiteX30" fmla="*/ 2561419 w 4501379"/>
                  <a:gd name="connsiteY30" fmla="*/ 4391025 h 4429294"/>
                  <a:gd name="connsiteX31" fmla="*/ 2107394 w 4501379"/>
                  <a:gd name="connsiteY31" fmla="*/ 4429125 h 4429294"/>
                  <a:gd name="connsiteX32" fmla="*/ 1916894 w 4501379"/>
                  <a:gd name="connsiteY32" fmla="*/ 4400550 h 4429294"/>
                  <a:gd name="connsiteX33" fmla="*/ 1554944 w 4501379"/>
                  <a:gd name="connsiteY33" fmla="*/ 4305300 h 4429294"/>
                  <a:gd name="connsiteX34" fmla="*/ 1313644 w 4501379"/>
                  <a:gd name="connsiteY34" fmla="*/ 4216400 h 4429294"/>
                  <a:gd name="connsiteX35" fmla="*/ 1145369 w 4501379"/>
                  <a:gd name="connsiteY35" fmla="*/ 4111625 h 4429294"/>
                  <a:gd name="connsiteX36" fmla="*/ 926294 w 4501379"/>
                  <a:gd name="connsiteY36" fmla="*/ 3968750 h 4429294"/>
                  <a:gd name="connsiteX37" fmla="*/ 592919 w 4501379"/>
                  <a:gd name="connsiteY37" fmla="*/ 3657600 h 4429294"/>
                  <a:gd name="connsiteX38" fmla="*/ 446869 w 4501379"/>
                  <a:gd name="connsiteY38" fmla="*/ 3470275 h 4429294"/>
                  <a:gd name="connsiteX39" fmla="*/ 316694 w 4501379"/>
                  <a:gd name="connsiteY39" fmla="*/ 3244850 h 4429294"/>
                  <a:gd name="connsiteX40" fmla="*/ 164294 w 4501379"/>
                  <a:gd name="connsiteY40" fmla="*/ 2892425 h 4429294"/>
                  <a:gd name="connsiteX41" fmla="*/ 56344 w 4501379"/>
                  <a:gd name="connsiteY41" fmla="*/ 2368550 h 4429294"/>
                  <a:gd name="connsiteX42" fmla="*/ 2369 w 4501379"/>
                  <a:gd name="connsiteY42" fmla="*/ 1905000 h 4429294"/>
                  <a:gd name="connsiteX43" fmla="*/ 11894 w 4501379"/>
                  <a:gd name="connsiteY43" fmla="*/ 1838325 h 4429294"/>
                  <a:gd name="connsiteX44" fmla="*/ 30944 w 4501379"/>
                  <a:gd name="connsiteY44" fmla="*/ 1781175 h 4429294"/>
                  <a:gd name="connsiteX45" fmla="*/ 40469 w 4501379"/>
                  <a:gd name="connsiteY45" fmla="*/ 1743075 h 4429294"/>
                  <a:gd name="connsiteX46" fmla="*/ 59519 w 4501379"/>
                  <a:gd name="connsiteY46" fmla="*/ 1685925 h 4429294"/>
                  <a:gd name="connsiteX47" fmla="*/ 69044 w 4501379"/>
                  <a:gd name="connsiteY47" fmla="*/ 1638300 h 4429294"/>
                  <a:gd name="connsiteX48" fmla="*/ 88094 w 4501379"/>
                  <a:gd name="connsiteY48" fmla="*/ 1590675 h 4429294"/>
                  <a:gd name="connsiteX49" fmla="*/ 116669 w 4501379"/>
                  <a:gd name="connsiteY49" fmla="*/ 1504950 h 4429294"/>
                  <a:gd name="connsiteX50" fmla="*/ 135719 w 4501379"/>
                  <a:gd name="connsiteY50" fmla="*/ 1419225 h 4429294"/>
                  <a:gd name="connsiteX51" fmla="*/ 211919 w 4501379"/>
                  <a:gd name="connsiteY51" fmla="*/ 1276350 h 4429294"/>
                  <a:gd name="connsiteX52" fmla="*/ 221444 w 4501379"/>
                  <a:gd name="connsiteY52" fmla="*/ 1247775 h 4429294"/>
                  <a:gd name="connsiteX53" fmla="*/ 250019 w 4501379"/>
                  <a:gd name="connsiteY53" fmla="*/ 1200150 h 4429294"/>
                  <a:gd name="connsiteX54" fmla="*/ 269069 w 4501379"/>
                  <a:gd name="connsiteY54" fmla="*/ 1152525 h 4429294"/>
                  <a:gd name="connsiteX55" fmla="*/ 297644 w 4501379"/>
                  <a:gd name="connsiteY55" fmla="*/ 1114425 h 4429294"/>
                  <a:gd name="connsiteX56" fmla="*/ 345269 w 4501379"/>
                  <a:gd name="connsiteY56" fmla="*/ 1038225 h 4429294"/>
                  <a:gd name="connsiteX57" fmla="*/ 364319 w 4501379"/>
                  <a:gd name="connsiteY57" fmla="*/ 1009650 h 4429294"/>
                  <a:gd name="connsiteX58" fmla="*/ 421469 w 4501379"/>
                  <a:gd name="connsiteY58" fmla="*/ 904875 h 4429294"/>
                  <a:gd name="connsiteX59" fmla="*/ 459569 w 4501379"/>
                  <a:gd name="connsiteY59" fmla="*/ 857250 h 4429294"/>
                  <a:gd name="connsiteX60" fmla="*/ 478619 w 4501379"/>
                  <a:gd name="connsiteY60" fmla="*/ 828675 h 4429294"/>
                  <a:gd name="connsiteX61" fmla="*/ 516719 w 4501379"/>
                  <a:gd name="connsiteY61" fmla="*/ 800100 h 4429294"/>
                  <a:gd name="connsiteX62" fmla="*/ 583394 w 4501379"/>
                  <a:gd name="connsiteY62" fmla="*/ 733425 h 4429294"/>
                  <a:gd name="connsiteX63" fmla="*/ 650069 w 4501379"/>
                  <a:gd name="connsiteY63" fmla="*/ 676275 h 4429294"/>
                  <a:gd name="connsiteX64" fmla="*/ 678644 w 4501379"/>
                  <a:gd name="connsiteY64" fmla="*/ 657225 h 4429294"/>
                  <a:gd name="connsiteX65" fmla="*/ 821519 w 4501379"/>
                  <a:gd name="connsiteY65" fmla="*/ 533400 h 4429294"/>
                  <a:gd name="connsiteX66" fmla="*/ 869144 w 4501379"/>
                  <a:gd name="connsiteY66" fmla="*/ 504825 h 4429294"/>
                  <a:gd name="connsiteX67" fmla="*/ 1148544 w 4501379"/>
                  <a:gd name="connsiteY67" fmla="*/ 311150 h 4429294"/>
                  <a:gd name="connsiteX68" fmla="*/ 1250144 w 4501379"/>
                  <a:gd name="connsiteY68" fmla="*/ 285750 h 4429294"/>
                  <a:gd name="connsiteX69" fmla="*/ 1393019 w 4501379"/>
                  <a:gd name="connsiteY69" fmla="*/ 190500 h 4429294"/>
                  <a:gd name="connsiteX70" fmla="*/ 1431119 w 4501379"/>
                  <a:gd name="connsiteY70" fmla="*/ 161925 h 4429294"/>
                  <a:gd name="connsiteX71" fmla="*/ 1507319 w 4501379"/>
                  <a:gd name="connsiteY71" fmla="*/ 152400 h 4429294"/>
                  <a:gd name="connsiteX72" fmla="*/ 1564469 w 4501379"/>
                  <a:gd name="connsiteY72" fmla="*/ 142875 h 4429294"/>
                  <a:gd name="connsiteX73" fmla="*/ 1697819 w 4501379"/>
                  <a:gd name="connsiteY73" fmla="*/ 123825 h 4429294"/>
                  <a:gd name="connsiteX74" fmla="*/ 1793069 w 4501379"/>
                  <a:gd name="connsiteY74" fmla="*/ 114300 h 4429294"/>
                  <a:gd name="connsiteX75" fmla="*/ 1840694 w 4501379"/>
                  <a:gd name="connsiteY75" fmla="*/ 104775 h 4429294"/>
                  <a:gd name="connsiteX76" fmla="*/ 1897844 w 4501379"/>
                  <a:gd name="connsiteY76" fmla="*/ 95250 h 4429294"/>
                  <a:gd name="connsiteX77" fmla="*/ 2012144 w 4501379"/>
                  <a:gd name="connsiteY77" fmla="*/ 66675 h 4429294"/>
                  <a:gd name="connsiteX78" fmla="*/ 2078819 w 4501379"/>
                  <a:gd name="connsiteY78" fmla="*/ 47625 h 4429294"/>
                  <a:gd name="connsiteX79" fmla="*/ 2145494 w 4501379"/>
                  <a:gd name="connsiteY79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612344 w 4501379"/>
                  <a:gd name="connsiteY6" fmla="*/ 485775 h 4429294"/>
                  <a:gd name="connsiteX7" fmla="*/ 3726644 w 4501379"/>
                  <a:gd name="connsiteY7" fmla="*/ 542925 h 4429294"/>
                  <a:gd name="connsiteX8" fmla="*/ 3793319 w 4501379"/>
                  <a:gd name="connsiteY8" fmla="*/ 581025 h 4429294"/>
                  <a:gd name="connsiteX9" fmla="*/ 4009219 w 4501379"/>
                  <a:gd name="connsiteY9" fmla="*/ 819150 h 4429294"/>
                  <a:gd name="connsiteX10" fmla="*/ 4145744 w 4501379"/>
                  <a:gd name="connsiteY10" fmla="*/ 990600 h 4429294"/>
                  <a:gd name="connsiteX11" fmla="*/ 4231469 w 4501379"/>
                  <a:gd name="connsiteY11" fmla="*/ 1143000 h 4429294"/>
                  <a:gd name="connsiteX12" fmla="*/ 4288619 w 4501379"/>
                  <a:gd name="connsiteY12" fmla="*/ 1266825 h 4429294"/>
                  <a:gd name="connsiteX13" fmla="*/ 4326719 w 4501379"/>
                  <a:gd name="connsiteY13" fmla="*/ 1362075 h 4429294"/>
                  <a:gd name="connsiteX14" fmla="*/ 4374344 w 4501379"/>
                  <a:gd name="connsiteY14" fmla="*/ 1552575 h 4429294"/>
                  <a:gd name="connsiteX15" fmla="*/ 4412444 w 4501379"/>
                  <a:gd name="connsiteY15" fmla="*/ 1685925 h 4429294"/>
                  <a:gd name="connsiteX16" fmla="*/ 4501344 w 4501379"/>
                  <a:gd name="connsiteY16" fmla="*/ 2181225 h 4429294"/>
                  <a:gd name="connsiteX17" fmla="*/ 4428319 w 4501379"/>
                  <a:gd name="connsiteY17" fmla="*/ 2768600 h 4429294"/>
                  <a:gd name="connsiteX18" fmla="*/ 4364819 w 4501379"/>
                  <a:gd name="connsiteY18" fmla="*/ 2990850 h 4429294"/>
                  <a:gd name="connsiteX19" fmla="*/ 4260044 w 4501379"/>
                  <a:gd name="connsiteY19" fmla="*/ 3248025 h 4429294"/>
                  <a:gd name="connsiteX20" fmla="*/ 4164794 w 4501379"/>
                  <a:gd name="connsiteY20" fmla="*/ 3400425 h 4429294"/>
                  <a:gd name="connsiteX21" fmla="*/ 4040969 w 4501379"/>
                  <a:gd name="connsiteY21" fmla="*/ 3533775 h 4429294"/>
                  <a:gd name="connsiteX22" fmla="*/ 3936194 w 4501379"/>
                  <a:gd name="connsiteY22" fmla="*/ 3648075 h 4429294"/>
                  <a:gd name="connsiteX23" fmla="*/ 3640919 w 4501379"/>
                  <a:gd name="connsiteY23" fmla="*/ 3971925 h 4429294"/>
                  <a:gd name="connsiteX24" fmla="*/ 3498044 w 4501379"/>
                  <a:gd name="connsiteY24" fmla="*/ 4083050 h 4429294"/>
                  <a:gd name="connsiteX25" fmla="*/ 3202769 w 4501379"/>
                  <a:gd name="connsiteY25" fmla="*/ 4222750 h 4429294"/>
                  <a:gd name="connsiteX26" fmla="*/ 3050369 w 4501379"/>
                  <a:gd name="connsiteY26" fmla="*/ 4286250 h 4429294"/>
                  <a:gd name="connsiteX27" fmla="*/ 2917019 w 4501379"/>
                  <a:gd name="connsiteY27" fmla="*/ 4333875 h 4429294"/>
                  <a:gd name="connsiteX28" fmla="*/ 2793194 w 4501379"/>
                  <a:gd name="connsiteY28" fmla="*/ 4371975 h 4429294"/>
                  <a:gd name="connsiteX29" fmla="*/ 2561419 w 4501379"/>
                  <a:gd name="connsiteY29" fmla="*/ 4391025 h 4429294"/>
                  <a:gd name="connsiteX30" fmla="*/ 2107394 w 4501379"/>
                  <a:gd name="connsiteY30" fmla="*/ 4429125 h 4429294"/>
                  <a:gd name="connsiteX31" fmla="*/ 1916894 w 4501379"/>
                  <a:gd name="connsiteY31" fmla="*/ 4400550 h 4429294"/>
                  <a:gd name="connsiteX32" fmla="*/ 1554944 w 4501379"/>
                  <a:gd name="connsiteY32" fmla="*/ 4305300 h 4429294"/>
                  <a:gd name="connsiteX33" fmla="*/ 1313644 w 4501379"/>
                  <a:gd name="connsiteY33" fmla="*/ 4216400 h 4429294"/>
                  <a:gd name="connsiteX34" fmla="*/ 1145369 w 4501379"/>
                  <a:gd name="connsiteY34" fmla="*/ 4111625 h 4429294"/>
                  <a:gd name="connsiteX35" fmla="*/ 926294 w 4501379"/>
                  <a:gd name="connsiteY35" fmla="*/ 3968750 h 4429294"/>
                  <a:gd name="connsiteX36" fmla="*/ 592919 w 4501379"/>
                  <a:gd name="connsiteY36" fmla="*/ 3657600 h 4429294"/>
                  <a:gd name="connsiteX37" fmla="*/ 446869 w 4501379"/>
                  <a:gd name="connsiteY37" fmla="*/ 3470275 h 4429294"/>
                  <a:gd name="connsiteX38" fmla="*/ 316694 w 4501379"/>
                  <a:gd name="connsiteY38" fmla="*/ 3244850 h 4429294"/>
                  <a:gd name="connsiteX39" fmla="*/ 164294 w 4501379"/>
                  <a:gd name="connsiteY39" fmla="*/ 2892425 h 4429294"/>
                  <a:gd name="connsiteX40" fmla="*/ 56344 w 4501379"/>
                  <a:gd name="connsiteY40" fmla="*/ 2368550 h 4429294"/>
                  <a:gd name="connsiteX41" fmla="*/ 2369 w 4501379"/>
                  <a:gd name="connsiteY41" fmla="*/ 1905000 h 4429294"/>
                  <a:gd name="connsiteX42" fmla="*/ 11894 w 4501379"/>
                  <a:gd name="connsiteY42" fmla="*/ 1838325 h 4429294"/>
                  <a:gd name="connsiteX43" fmla="*/ 30944 w 4501379"/>
                  <a:gd name="connsiteY43" fmla="*/ 1781175 h 4429294"/>
                  <a:gd name="connsiteX44" fmla="*/ 40469 w 4501379"/>
                  <a:gd name="connsiteY44" fmla="*/ 1743075 h 4429294"/>
                  <a:gd name="connsiteX45" fmla="*/ 59519 w 4501379"/>
                  <a:gd name="connsiteY45" fmla="*/ 1685925 h 4429294"/>
                  <a:gd name="connsiteX46" fmla="*/ 69044 w 4501379"/>
                  <a:gd name="connsiteY46" fmla="*/ 1638300 h 4429294"/>
                  <a:gd name="connsiteX47" fmla="*/ 88094 w 4501379"/>
                  <a:gd name="connsiteY47" fmla="*/ 1590675 h 4429294"/>
                  <a:gd name="connsiteX48" fmla="*/ 116669 w 4501379"/>
                  <a:gd name="connsiteY48" fmla="*/ 1504950 h 4429294"/>
                  <a:gd name="connsiteX49" fmla="*/ 135719 w 4501379"/>
                  <a:gd name="connsiteY49" fmla="*/ 1419225 h 4429294"/>
                  <a:gd name="connsiteX50" fmla="*/ 211919 w 4501379"/>
                  <a:gd name="connsiteY50" fmla="*/ 1276350 h 4429294"/>
                  <a:gd name="connsiteX51" fmla="*/ 221444 w 4501379"/>
                  <a:gd name="connsiteY51" fmla="*/ 1247775 h 4429294"/>
                  <a:gd name="connsiteX52" fmla="*/ 250019 w 4501379"/>
                  <a:gd name="connsiteY52" fmla="*/ 1200150 h 4429294"/>
                  <a:gd name="connsiteX53" fmla="*/ 269069 w 4501379"/>
                  <a:gd name="connsiteY53" fmla="*/ 1152525 h 4429294"/>
                  <a:gd name="connsiteX54" fmla="*/ 297644 w 4501379"/>
                  <a:gd name="connsiteY54" fmla="*/ 1114425 h 4429294"/>
                  <a:gd name="connsiteX55" fmla="*/ 345269 w 4501379"/>
                  <a:gd name="connsiteY55" fmla="*/ 1038225 h 4429294"/>
                  <a:gd name="connsiteX56" fmla="*/ 364319 w 4501379"/>
                  <a:gd name="connsiteY56" fmla="*/ 1009650 h 4429294"/>
                  <a:gd name="connsiteX57" fmla="*/ 421469 w 4501379"/>
                  <a:gd name="connsiteY57" fmla="*/ 904875 h 4429294"/>
                  <a:gd name="connsiteX58" fmla="*/ 459569 w 4501379"/>
                  <a:gd name="connsiteY58" fmla="*/ 857250 h 4429294"/>
                  <a:gd name="connsiteX59" fmla="*/ 478619 w 4501379"/>
                  <a:gd name="connsiteY59" fmla="*/ 828675 h 4429294"/>
                  <a:gd name="connsiteX60" fmla="*/ 516719 w 4501379"/>
                  <a:gd name="connsiteY60" fmla="*/ 800100 h 4429294"/>
                  <a:gd name="connsiteX61" fmla="*/ 583394 w 4501379"/>
                  <a:gd name="connsiteY61" fmla="*/ 733425 h 4429294"/>
                  <a:gd name="connsiteX62" fmla="*/ 650069 w 4501379"/>
                  <a:gd name="connsiteY62" fmla="*/ 676275 h 4429294"/>
                  <a:gd name="connsiteX63" fmla="*/ 678644 w 4501379"/>
                  <a:gd name="connsiteY63" fmla="*/ 657225 h 4429294"/>
                  <a:gd name="connsiteX64" fmla="*/ 821519 w 4501379"/>
                  <a:gd name="connsiteY64" fmla="*/ 533400 h 4429294"/>
                  <a:gd name="connsiteX65" fmla="*/ 869144 w 4501379"/>
                  <a:gd name="connsiteY65" fmla="*/ 504825 h 4429294"/>
                  <a:gd name="connsiteX66" fmla="*/ 1148544 w 4501379"/>
                  <a:gd name="connsiteY66" fmla="*/ 311150 h 4429294"/>
                  <a:gd name="connsiteX67" fmla="*/ 1250144 w 4501379"/>
                  <a:gd name="connsiteY67" fmla="*/ 285750 h 4429294"/>
                  <a:gd name="connsiteX68" fmla="*/ 1393019 w 4501379"/>
                  <a:gd name="connsiteY68" fmla="*/ 190500 h 4429294"/>
                  <a:gd name="connsiteX69" fmla="*/ 1431119 w 4501379"/>
                  <a:gd name="connsiteY69" fmla="*/ 161925 h 4429294"/>
                  <a:gd name="connsiteX70" fmla="*/ 1507319 w 4501379"/>
                  <a:gd name="connsiteY70" fmla="*/ 152400 h 4429294"/>
                  <a:gd name="connsiteX71" fmla="*/ 1564469 w 4501379"/>
                  <a:gd name="connsiteY71" fmla="*/ 142875 h 4429294"/>
                  <a:gd name="connsiteX72" fmla="*/ 1697819 w 4501379"/>
                  <a:gd name="connsiteY72" fmla="*/ 123825 h 4429294"/>
                  <a:gd name="connsiteX73" fmla="*/ 1793069 w 4501379"/>
                  <a:gd name="connsiteY73" fmla="*/ 114300 h 4429294"/>
                  <a:gd name="connsiteX74" fmla="*/ 1840694 w 4501379"/>
                  <a:gd name="connsiteY74" fmla="*/ 104775 h 4429294"/>
                  <a:gd name="connsiteX75" fmla="*/ 1897844 w 4501379"/>
                  <a:gd name="connsiteY75" fmla="*/ 95250 h 4429294"/>
                  <a:gd name="connsiteX76" fmla="*/ 2012144 w 4501379"/>
                  <a:gd name="connsiteY76" fmla="*/ 66675 h 4429294"/>
                  <a:gd name="connsiteX77" fmla="*/ 2078819 w 4501379"/>
                  <a:gd name="connsiteY77" fmla="*/ 47625 h 4429294"/>
                  <a:gd name="connsiteX78" fmla="*/ 2145494 w 4501379"/>
                  <a:gd name="connsiteY7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612344 w 4501379"/>
                  <a:gd name="connsiteY6" fmla="*/ 485775 h 4429294"/>
                  <a:gd name="connsiteX7" fmla="*/ 3793319 w 4501379"/>
                  <a:gd name="connsiteY7" fmla="*/ 581025 h 4429294"/>
                  <a:gd name="connsiteX8" fmla="*/ 4009219 w 4501379"/>
                  <a:gd name="connsiteY8" fmla="*/ 819150 h 4429294"/>
                  <a:gd name="connsiteX9" fmla="*/ 4145744 w 4501379"/>
                  <a:gd name="connsiteY9" fmla="*/ 990600 h 4429294"/>
                  <a:gd name="connsiteX10" fmla="*/ 4231469 w 4501379"/>
                  <a:gd name="connsiteY10" fmla="*/ 1143000 h 4429294"/>
                  <a:gd name="connsiteX11" fmla="*/ 4288619 w 4501379"/>
                  <a:gd name="connsiteY11" fmla="*/ 1266825 h 4429294"/>
                  <a:gd name="connsiteX12" fmla="*/ 4326719 w 4501379"/>
                  <a:gd name="connsiteY12" fmla="*/ 1362075 h 4429294"/>
                  <a:gd name="connsiteX13" fmla="*/ 4374344 w 4501379"/>
                  <a:gd name="connsiteY13" fmla="*/ 1552575 h 4429294"/>
                  <a:gd name="connsiteX14" fmla="*/ 4412444 w 4501379"/>
                  <a:gd name="connsiteY14" fmla="*/ 1685925 h 4429294"/>
                  <a:gd name="connsiteX15" fmla="*/ 4501344 w 4501379"/>
                  <a:gd name="connsiteY15" fmla="*/ 2181225 h 4429294"/>
                  <a:gd name="connsiteX16" fmla="*/ 4428319 w 4501379"/>
                  <a:gd name="connsiteY16" fmla="*/ 2768600 h 4429294"/>
                  <a:gd name="connsiteX17" fmla="*/ 4364819 w 4501379"/>
                  <a:gd name="connsiteY17" fmla="*/ 2990850 h 4429294"/>
                  <a:gd name="connsiteX18" fmla="*/ 4260044 w 4501379"/>
                  <a:gd name="connsiteY18" fmla="*/ 3248025 h 4429294"/>
                  <a:gd name="connsiteX19" fmla="*/ 4164794 w 4501379"/>
                  <a:gd name="connsiteY19" fmla="*/ 3400425 h 4429294"/>
                  <a:gd name="connsiteX20" fmla="*/ 4040969 w 4501379"/>
                  <a:gd name="connsiteY20" fmla="*/ 3533775 h 4429294"/>
                  <a:gd name="connsiteX21" fmla="*/ 3936194 w 4501379"/>
                  <a:gd name="connsiteY21" fmla="*/ 3648075 h 4429294"/>
                  <a:gd name="connsiteX22" fmla="*/ 3640919 w 4501379"/>
                  <a:gd name="connsiteY22" fmla="*/ 3971925 h 4429294"/>
                  <a:gd name="connsiteX23" fmla="*/ 3498044 w 4501379"/>
                  <a:gd name="connsiteY23" fmla="*/ 4083050 h 4429294"/>
                  <a:gd name="connsiteX24" fmla="*/ 3202769 w 4501379"/>
                  <a:gd name="connsiteY24" fmla="*/ 4222750 h 4429294"/>
                  <a:gd name="connsiteX25" fmla="*/ 3050369 w 4501379"/>
                  <a:gd name="connsiteY25" fmla="*/ 4286250 h 4429294"/>
                  <a:gd name="connsiteX26" fmla="*/ 2917019 w 4501379"/>
                  <a:gd name="connsiteY26" fmla="*/ 4333875 h 4429294"/>
                  <a:gd name="connsiteX27" fmla="*/ 2793194 w 4501379"/>
                  <a:gd name="connsiteY27" fmla="*/ 4371975 h 4429294"/>
                  <a:gd name="connsiteX28" fmla="*/ 2561419 w 4501379"/>
                  <a:gd name="connsiteY28" fmla="*/ 4391025 h 4429294"/>
                  <a:gd name="connsiteX29" fmla="*/ 2107394 w 4501379"/>
                  <a:gd name="connsiteY29" fmla="*/ 4429125 h 4429294"/>
                  <a:gd name="connsiteX30" fmla="*/ 1916894 w 4501379"/>
                  <a:gd name="connsiteY30" fmla="*/ 4400550 h 4429294"/>
                  <a:gd name="connsiteX31" fmla="*/ 1554944 w 4501379"/>
                  <a:gd name="connsiteY31" fmla="*/ 4305300 h 4429294"/>
                  <a:gd name="connsiteX32" fmla="*/ 1313644 w 4501379"/>
                  <a:gd name="connsiteY32" fmla="*/ 4216400 h 4429294"/>
                  <a:gd name="connsiteX33" fmla="*/ 1145369 w 4501379"/>
                  <a:gd name="connsiteY33" fmla="*/ 4111625 h 4429294"/>
                  <a:gd name="connsiteX34" fmla="*/ 926294 w 4501379"/>
                  <a:gd name="connsiteY34" fmla="*/ 3968750 h 4429294"/>
                  <a:gd name="connsiteX35" fmla="*/ 592919 w 4501379"/>
                  <a:gd name="connsiteY35" fmla="*/ 3657600 h 4429294"/>
                  <a:gd name="connsiteX36" fmla="*/ 446869 w 4501379"/>
                  <a:gd name="connsiteY36" fmla="*/ 3470275 h 4429294"/>
                  <a:gd name="connsiteX37" fmla="*/ 316694 w 4501379"/>
                  <a:gd name="connsiteY37" fmla="*/ 3244850 h 4429294"/>
                  <a:gd name="connsiteX38" fmla="*/ 164294 w 4501379"/>
                  <a:gd name="connsiteY38" fmla="*/ 2892425 h 4429294"/>
                  <a:gd name="connsiteX39" fmla="*/ 56344 w 4501379"/>
                  <a:gd name="connsiteY39" fmla="*/ 2368550 h 4429294"/>
                  <a:gd name="connsiteX40" fmla="*/ 2369 w 4501379"/>
                  <a:gd name="connsiteY40" fmla="*/ 1905000 h 4429294"/>
                  <a:gd name="connsiteX41" fmla="*/ 11894 w 4501379"/>
                  <a:gd name="connsiteY41" fmla="*/ 1838325 h 4429294"/>
                  <a:gd name="connsiteX42" fmla="*/ 30944 w 4501379"/>
                  <a:gd name="connsiteY42" fmla="*/ 1781175 h 4429294"/>
                  <a:gd name="connsiteX43" fmla="*/ 40469 w 4501379"/>
                  <a:gd name="connsiteY43" fmla="*/ 1743075 h 4429294"/>
                  <a:gd name="connsiteX44" fmla="*/ 59519 w 4501379"/>
                  <a:gd name="connsiteY44" fmla="*/ 1685925 h 4429294"/>
                  <a:gd name="connsiteX45" fmla="*/ 69044 w 4501379"/>
                  <a:gd name="connsiteY45" fmla="*/ 1638300 h 4429294"/>
                  <a:gd name="connsiteX46" fmla="*/ 88094 w 4501379"/>
                  <a:gd name="connsiteY46" fmla="*/ 1590675 h 4429294"/>
                  <a:gd name="connsiteX47" fmla="*/ 116669 w 4501379"/>
                  <a:gd name="connsiteY47" fmla="*/ 1504950 h 4429294"/>
                  <a:gd name="connsiteX48" fmla="*/ 135719 w 4501379"/>
                  <a:gd name="connsiteY48" fmla="*/ 1419225 h 4429294"/>
                  <a:gd name="connsiteX49" fmla="*/ 211919 w 4501379"/>
                  <a:gd name="connsiteY49" fmla="*/ 1276350 h 4429294"/>
                  <a:gd name="connsiteX50" fmla="*/ 221444 w 4501379"/>
                  <a:gd name="connsiteY50" fmla="*/ 1247775 h 4429294"/>
                  <a:gd name="connsiteX51" fmla="*/ 250019 w 4501379"/>
                  <a:gd name="connsiteY51" fmla="*/ 1200150 h 4429294"/>
                  <a:gd name="connsiteX52" fmla="*/ 269069 w 4501379"/>
                  <a:gd name="connsiteY52" fmla="*/ 1152525 h 4429294"/>
                  <a:gd name="connsiteX53" fmla="*/ 297644 w 4501379"/>
                  <a:gd name="connsiteY53" fmla="*/ 1114425 h 4429294"/>
                  <a:gd name="connsiteX54" fmla="*/ 345269 w 4501379"/>
                  <a:gd name="connsiteY54" fmla="*/ 1038225 h 4429294"/>
                  <a:gd name="connsiteX55" fmla="*/ 364319 w 4501379"/>
                  <a:gd name="connsiteY55" fmla="*/ 1009650 h 4429294"/>
                  <a:gd name="connsiteX56" fmla="*/ 421469 w 4501379"/>
                  <a:gd name="connsiteY56" fmla="*/ 904875 h 4429294"/>
                  <a:gd name="connsiteX57" fmla="*/ 459569 w 4501379"/>
                  <a:gd name="connsiteY57" fmla="*/ 857250 h 4429294"/>
                  <a:gd name="connsiteX58" fmla="*/ 478619 w 4501379"/>
                  <a:gd name="connsiteY58" fmla="*/ 828675 h 4429294"/>
                  <a:gd name="connsiteX59" fmla="*/ 516719 w 4501379"/>
                  <a:gd name="connsiteY59" fmla="*/ 800100 h 4429294"/>
                  <a:gd name="connsiteX60" fmla="*/ 583394 w 4501379"/>
                  <a:gd name="connsiteY60" fmla="*/ 733425 h 4429294"/>
                  <a:gd name="connsiteX61" fmla="*/ 650069 w 4501379"/>
                  <a:gd name="connsiteY61" fmla="*/ 676275 h 4429294"/>
                  <a:gd name="connsiteX62" fmla="*/ 678644 w 4501379"/>
                  <a:gd name="connsiteY62" fmla="*/ 657225 h 4429294"/>
                  <a:gd name="connsiteX63" fmla="*/ 821519 w 4501379"/>
                  <a:gd name="connsiteY63" fmla="*/ 533400 h 4429294"/>
                  <a:gd name="connsiteX64" fmla="*/ 869144 w 4501379"/>
                  <a:gd name="connsiteY64" fmla="*/ 504825 h 4429294"/>
                  <a:gd name="connsiteX65" fmla="*/ 1148544 w 4501379"/>
                  <a:gd name="connsiteY65" fmla="*/ 311150 h 4429294"/>
                  <a:gd name="connsiteX66" fmla="*/ 1250144 w 4501379"/>
                  <a:gd name="connsiteY66" fmla="*/ 285750 h 4429294"/>
                  <a:gd name="connsiteX67" fmla="*/ 1393019 w 4501379"/>
                  <a:gd name="connsiteY67" fmla="*/ 190500 h 4429294"/>
                  <a:gd name="connsiteX68" fmla="*/ 1431119 w 4501379"/>
                  <a:gd name="connsiteY68" fmla="*/ 161925 h 4429294"/>
                  <a:gd name="connsiteX69" fmla="*/ 1507319 w 4501379"/>
                  <a:gd name="connsiteY69" fmla="*/ 152400 h 4429294"/>
                  <a:gd name="connsiteX70" fmla="*/ 1564469 w 4501379"/>
                  <a:gd name="connsiteY70" fmla="*/ 142875 h 4429294"/>
                  <a:gd name="connsiteX71" fmla="*/ 1697819 w 4501379"/>
                  <a:gd name="connsiteY71" fmla="*/ 123825 h 4429294"/>
                  <a:gd name="connsiteX72" fmla="*/ 1793069 w 4501379"/>
                  <a:gd name="connsiteY72" fmla="*/ 114300 h 4429294"/>
                  <a:gd name="connsiteX73" fmla="*/ 1840694 w 4501379"/>
                  <a:gd name="connsiteY73" fmla="*/ 104775 h 4429294"/>
                  <a:gd name="connsiteX74" fmla="*/ 1897844 w 4501379"/>
                  <a:gd name="connsiteY74" fmla="*/ 95250 h 4429294"/>
                  <a:gd name="connsiteX75" fmla="*/ 2012144 w 4501379"/>
                  <a:gd name="connsiteY75" fmla="*/ 66675 h 4429294"/>
                  <a:gd name="connsiteX76" fmla="*/ 2078819 w 4501379"/>
                  <a:gd name="connsiteY76" fmla="*/ 47625 h 4429294"/>
                  <a:gd name="connsiteX77" fmla="*/ 2145494 w 4501379"/>
                  <a:gd name="connsiteY77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250144 w 4501379"/>
                  <a:gd name="connsiteY65" fmla="*/ 285750 h 4429294"/>
                  <a:gd name="connsiteX66" fmla="*/ 1393019 w 4501379"/>
                  <a:gd name="connsiteY66" fmla="*/ 190500 h 4429294"/>
                  <a:gd name="connsiteX67" fmla="*/ 1431119 w 4501379"/>
                  <a:gd name="connsiteY67" fmla="*/ 161925 h 4429294"/>
                  <a:gd name="connsiteX68" fmla="*/ 1507319 w 4501379"/>
                  <a:gd name="connsiteY68" fmla="*/ 152400 h 4429294"/>
                  <a:gd name="connsiteX69" fmla="*/ 1564469 w 4501379"/>
                  <a:gd name="connsiteY69" fmla="*/ 142875 h 4429294"/>
                  <a:gd name="connsiteX70" fmla="*/ 1697819 w 4501379"/>
                  <a:gd name="connsiteY70" fmla="*/ 123825 h 4429294"/>
                  <a:gd name="connsiteX71" fmla="*/ 1793069 w 4501379"/>
                  <a:gd name="connsiteY71" fmla="*/ 114300 h 4429294"/>
                  <a:gd name="connsiteX72" fmla="*/ 1840694 w 4501379"/>
                  <a:gd name="connsiteY72" fmla="*/ 104775 h 4429294"/>
                  <a:gd name="connsiteX73" fmla="*/ 1897844 w 4501379"/>
                  <a:gd name="connsiteY73" fmla="*/ 95250 h 4429294"/>
                  <a:gd name="connsiteX74" fmla="*/ 2012144 w 4501379"/>
                  <a:gd name="connsiteY74" fmla="*/ 66675 h 4429294"/>
                  <a:gd name="connsiteX75" fmla="*/ 2078819 w 4501379"/>
                  <a:gd name="connsiteY75" fmla="*/ 47625 h 4429294"/>
                  <a:gd name="connsiteX76" fmla="*/ 2145494 w 4501379"/>
                  <a:gd name="connsiteY76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250144 w 4501379"/>
                  <a:gd name="connsiteY65" fmla="*/ 285750 h 4429294"/>
                  <a:gd name="connsiteX66" fmla="*/ 1431119 w 4501379"/>
                  <a:gd name="connsiteY66" fmla="*/ 161925 h 4429294"/>
                  <a:gd name="connsiteX67" fmla="*/ 1507319 w 4501379"/>
                  <a:gd name="connsiteY67" fmla="*/ 152400 h 4429294"/>
                  <a:gd name="connsiteX68" fmla="*/ 1564469 w 4501379"/>
                  <a:gd name="connsiteY68" fmla="*/ 142875 h 4429294"/>
                  <a:gd name="connsiteX69" fmla="*/ 1697819 w 4501379"/>
                  <a:gd name="connsiteY69" fmla="*/ 123825 h 4429294"/>
                  <a:gd name="connsiteX70" fmla="*/ 1793069 w 4501379"/>
                  <a:gd name="connsiteY70" fmla="*/ 114300 h 4429294"/>
                  <a:gd name="connsiteX71" fmla="*/ 1840694 w 4501379"/>
                  <a:gd name="connsiteY71" fmla="*/ 104775 h 4429294"/>
                  <a:gd name="connsiteX72" fmla="*/ 1897844 w 4501379"/>
                  <a:gd name="connsiteY72" fmla="*/ 95250 h 4429294"/>
                  <a:gd name="connsiteX73" fmla="*/ 2012144 w 4501379"/>
                  <a:gd name="connsiteY73" fmla="*/ 66675 h 4429294"/>
                  <a:gd name="connsiteX74" fmla="*/ 2078819 w 4501379"/>
                  <a:gd name="connsiteY74" fmla="*/ 47625 h 4429294"/>
                  <a:gd name="connsiteX75" fmla="*/ 2145494 w 4501379"/>
                  <a:gd name="connsiteY75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250144 w 4501379"/>
                  <a:gd name="connsiteY65" fmla="*/ 285750 h 4429294"/>
                  <a:gd name="connsiteX66" fmla="*/ 1507319 w 4501379"/>
                  <a:gd name="connsiteY66" fmla="*/ 152400 h 4429294"/>
                  <a:gd name="connsiteX67" fmla="*/ 1564469 w 4501379"/>
                  <a:gd name="connsiteY67" fmla="*/ 142875 h 4429294"/>
                  <a:gd name="connsiteX68" fmla="*/ 1697819 w 4501379"/>
                  <a:gd name="connsiteY68" fmla="*/ 123825 h 4429294"/>
                  <a:gd name="connsiteX69" fmla="*/ 1793069 w 4501379"/>
                  <a:gd name="connsiteY69" fmla="*/ 114300 h 4429294"/>
                  <a:gd name="connsiteX70" fmla="*/ 1840694 w 4501379"/>
                  <a:gd name="connsiteY70" fmla="*/ 104775 h 4429294"/>
                  <a:gd name="connsiteX71" fmla="*/ 1897844 w 4501379"/>
                  <a:gd name="connsiteY71" fmla="*/ 95250 h 4429294"/>
                  <a:gd name="connsiteX72" fmla="*/ 2012144 w 4501379"/>
                  <a:gd name="connsiteY72" fmla="*/ 66675 h 4429294"/>
                  <a:gd name="connsiteX73" fmla="*/ 2078819 w 4501379"/>
                  <a:gd name="connsiteY73" fmla="*/ 47625 h 4429294"/>
                  <a:gd name="connsiteX74" fmla="*/ 2145494 w 4501379"/>
                  <a:gd name="connsiteY74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697819 w 4501379"/>
                  <a:gd name="connsiteY67" fmla="*/ 123825 h 4429294"/>
                  <a:gd name="connsiteX68" fmla="*/ 1793069 w 4501379"/>
                  <a:gd name="connsiteY68" fmla="*/ 114300 h 4429294"/>
                  <a:gd name="connsiteX69" fmla="*/ 1840694 w 4501379"/>
                  <a:gd name="connsiteY69" fmla="*/ 104775 h 4429294"/>
                  <a:gd name="connsiteX70" fmla="*/ 1897844 w 4501379"/>
                  <a:gd name="connsiteY70" fmla="*/ 95250 h 4429294"/>
                  <a:gd name="connsiteX71" fmla="*/ 2012144 w 4501379"/>
                  <a:gd name="connsiteY71" fmla="*/ 66675 h 4429294"/>
                  <a:gd name="connsiteX72" fmla="*/ 2078819 w 4501379"/>
                  <a:gd name="connsiteY72" fmla="*/ 47625 h 4429294"/>
                  <a:gd name="connsiteX73" fmla="*/ 2145494 w 4501379"/>
                  <a:gd name="connsiteY73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793069 w 4501379"/>
                  <a:gd name="connsiteY67" fmla="*/ 114300 h 4429294"/>
                  <a:gd name="connsiteX68" fmla="*/ 1840694 w 4501379"/>
                  <a:gd name="connsiteY68" fmla="*/ 104775 h 4429294"/>
                  <a:gd name="connsiteX69" fmla="*/ 1897844 w 4501379"/>
                  <a:gd name="connsiteY69" fmla="*/ 95250 h 4429294"/>
                  <a:gd name="connsiteX70" fmla="*/ 2012144 w 4501379"/>
                  <a:gd name="connsiteY70" fmla="*/ 66675 h 4429294"/>
                  <a:gd name="connsiteX71" fmla="*/ 2078819 w 4501379"/>
                  <a:gd name="connsiteY71" fmla="*/ 47625 h 4429294"/>
                  <a:gd name="connsiteX72" fmla="*/ 2145494 w 4501379"/>
                  <a:gd name="connsiteY72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840694 w 4501379"/>
                  <a:gd name="connsiteY67" fmla="*/ 104775 h 4429294"/>
                  <a:gd name="connsiteX68" fmla="*/ 1897844 w 4501379"/>
                  <a:gd name="connsiteY68" fmla="*/ 95250 h 4429294"/>
                  <a:gd name="connsiteX69" fmla="*/ 2012144 w 4501379"/>
                  <a:gd name="connsiteY69" fmla="*/ 66675 h 4429294"/>
                  <a:gd name="connsiteX70" fmla="*/ 2078819 w 4501379"/>
                  <a:gd name="connsiteY70" fmla="*/ 47625 h 4429294"/>
                  <a:gd name="connsiteX71" fmla="*/ 2145494 w 4501379"/>
                  <a:gd name="connsiteY71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897844 w 4501379"/>
                  <a:gd name="connsiteY67" fmla="*/ 95250 h 4429294"/>
                  <a:gd name="connsiteX68" fmla="*/ 2012144 w 4501379"/>
                  <a:gd name="connsiteY68" fmla="*/ 66675 h 4429294"/>
                  <a:gd name="connsiteX69" fmla="*/ 2078819 w 4501379"/>
                  <a:gd name="connsiteY69" fmla="*/ 47625 h 4429294"/>
                  <a:gd name="connsiteX70" fmla="*/ 2145494 w 4501379"/>
                  <a:gd name="connsiteY70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012144 w 4501379"/>
                  <a:gd name="connsiteY67" fmla="*/ 66675 h 4429294"/>
                  <a:gd name="connsiteX68" fmla="*/ 2078819 w 4501379"/>
                  <a:gd name="connsiteY68" fmla="*/ 47625 h 4429294"/>
                  <a:gd name="connsiteX69" fmla="*/ 2145494 w 4501379"/>
                  <a:gd name="connsiteY69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078819 w 4501379"/>
                  <a:gd name="connsiteY67" fmla="*/ 47625 h 4429294"/>
                  <a:gd name="connsiteX68" fmla="*/ 2145494 w 4501379"/>
                  <a:gd name="connsiteY6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145494 w 4501379"/>
                  <a:gd name="connsiteY67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253444 w 4501379"/>
                  <a:gd name="connsiteY6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253444 w 4501379"/>
                  <a:gd name="connsiteY6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621619 w 4501379"/>
                  <a:gd name="connsiteY66" fmla="*/ 111125 h 4429294"/>
                  <a:gd name="connsiteX67" fmla="*/ 2253444 w 4501379"/>
                  <a:gd name="connsiteY6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650069 w 4501379"/>
                  <a:gd name="connsiteY59" fmla="*/ 676275 h 4429294"/>
                  <a:gd name="connsiteX60" fmla="*/ 678644 w 4501379"/>
                  <a:gd name="connsiteY60" fmla="*/ 657225 h 4429294"/>
                  <a:gd name="connsiteX61" fmla="*/ 821519 w 4501379"/>
                  <a:gd name="connsiteY61" fmla="*/ 533400 h 4429294"/>
                  <a:gd name="connsiteX62" fmla="*/ 869144 w 4501379"/>
                  <a:gd name="connsiteY62" fmla="*/ 504825 h 4429294"/>
                  <a:gd name="connsiteX63" fmla="*/ 1148544 w 4501379"/>
                  <a:gd name="connsiteY63" fmla="*/ 311150 h 4429294"/>
                  <a:gd name="connsiteX64" fmla="*/ 1507319 w 4501379"/>
                  <a:gd name="connsiteY64" fmla="*/ 152400 h 4429294"/>
                  <a:gd name="connsiteX65" fmla="*/ 1621619 w 4501379"/>
                  <a:gd name="connsiteY65" fmla="*/ 111125 h 4429294"/>
                  <a:gd name="connsiteX66" fmla="*/ 2253444 w 4501379"/>
                  <a:gd name="connsiteY66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650069 w 4501379"/>
                  <a:gd name="connsiteY59" fmla="*/ 676275 h 4429294"/>
                  <a:gd name="connsiteX60" fmla="*/ 821519 w 4501379"/>
                  <a:gd name="connsiteY60" fmla="*/ 533400 h 4429294"/>
                  <a:gd name="connsiteX61" fmla="*/ 869144 w 4501379"/>
                  <a:gd name="connsiteY61" fmla="*/ 504825 h 4429294"/>
                  <a:gd name="connsiteX62" fmla="*/ 1148544 w 4501379"/>
                  <a:gd name="connsiteY62" fmla="*/ 311150 h 4429294"/>
                  <a:gd name="connsiteX63" fmla="*/ 1507319 w 4501379"/>
                  <a:gd name="connsiteY63" fmla="*/ 152400 h 4429294"/>
                  <a:gd name="connsiteX64" fmla="*/ 1621619 w 4501379"/>
                  <a:gd name="connsiteY64" fmla="*/ 111125 h 4429294"/>
                  <a:gd name="connsiteX65" fmla="*/ 2253444 w 4501379"/>
                  <a:gd name="connsiteY65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650069 w 4501379"/>
                  <a:gd name="connsiteY59" fmla="*/ 676275 h 4429294"/>
                  <a:gd name="connsiteX60" fmla="*/ 869144 w 4501379"/>
                  <a:gd name="connsiteY60" fmla="*/ 504825 h 4429294"/>
                  <a:gd name="connsiteX61" fmla="*/ 1148544 w 4501379"/>
                  <a:gd name="connsiteY61" fmla="*/ 311150 h 4429294"/>
                  <a:gd name="connsiteX62" fmla="*/ 1507319 w 4501379"/>
                  <a:gd name="connsiteY62" fmla="*/ 152400 h 4429294"/>
                  <a:gd name="connsiteX63" fmla="*/ 1621619 w 4501379"/>
                  <a:gd name="connsiteY63" fmla="*/ 111125 h 4429294"/>
                  <a:gd name="connsiteX64" fmla="*/ 2253444 w 4501379"/>
                  <a:gd name="connsiteY64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64319 w 4501379"/>
                  <a:gd name="connsiteY53" fmla="*/ 1009650 h 4429294"/>
                  <a:gd name="connsiteX54" fmla="*/ 421469 w 4501379"/>
                  <a:gd name="connsiteY54" fmla="*/ 904875 h 4429294"/>
                  <a:gd name="connsiteX55" fmla="*/ 459569 w 4501379"/>
                  <a:gd name="connsiteY55" fmla="*/ 857250 h 4429294"/>
                  <a:gd name="connsiteX56" fmla="*/ 478619 w 4501379"/>
                  <a:gd name="connsiteY56" fmla="*/ 828675 h 4429294"/>
                  <a:gd name="connsiteX57" fmla="*/ 516719 w 4501379"/>
                  <a:gd name="connsiteY57" fmla="*/ 800100 h 4429294"/>
                  <a:gd name="connsiteX58" fmla="*/ 650069 w 4501379"/>
                  <a:gd name="connsiteY58" fmla="*/ 676275 h 4429294"/>
                  <a:gd name="connsiteX59" fmla="*/ 869144 w 4501379"/>
                  <a:gd name="connsiteY59" fmla="*/ 504825 h 4429294"/>
                  <a:gd name="connsiteX60" fmla="*/ 1148544 w 4501379"/>
                  <a:gd name="connsiteY60" fmla="*/ 311150 h 4429294"/>
                  <a:gd name="connsiteX61" fmla="*/ 1507319 w 4501379"/>
                  <a:gd name="connsiteY61" fmla="*/ 152400 h 4429294"/>
                  <a:gd name="connsiteX62" fmla="*/ 1621619 w 4501379"/>
                  <a:gd name="connsiteY62" fmla="*/ 111125 h 4429294"/>
                  <a:gd name="connsiteX63" fmla="*/ 2253444 w 4501379"/>
                  <a:gd name="connsiteY63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421469 w 4501379"/>
                  <a:gd name="connsiteY53" fmla="*/ 904875 h 4429294"/>
                  <a:gd name="connsiteX54" fmla="*/ 459569 w 4501379"/>
                  <a:gd name="connsiteY54" fmla="*/ 857250 h 4429294"/>
                  <a:gd name="connsiteX55" fmla="*/ 478619 w 4501379"/>
                  <a:gd name="connsiteY55" fmla="*/ 828675 h 4429294"/>
                  <a:gd name="connsiteX56" fmla="*/ 516719 w 4501379"/>
                  <a:gd name="connsiteY56" fmla="*/ 800100 h 4429294"/>
                  <a:gd name="connsiteX57" fmla="*/ 650069 w 4501379"/>
                  <a:gd name="connsiteY57" fmla="*/ 676275 h 4429294"/>
                  <a:gd name="connsiteX58" fmla="*/ 869144 w 4501379"/>
                  <a:gd name="connsiteY58" fmla="*/ 504825 h 4429294"/>
                  <a:gd name="connsiteX59" fmla="*/ 1148544 w 4501379"/>
                  <a:gd name="connsiteY59" fmla="*/ 311150 h 4429294"/>
                  <a:gd name="connsiteX60" fmla="*/ 1507319 w 4501379"/>
                  <a:gd name="connsiteY60" fmla="*/ 152400 h 4429294"/>
                  <a:gd name="connsiteX61" fmla="*/ 1621619 w 4501379"/>
                  <a:gd name="connsiteY61" fmla="*/ 111125 h 4429294"/>
                  <a:gd name="connsiteX62" fmla="*/ 2253444 w 4501379"/>
                  <a:gd name="connsiteY62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459569 w 4501379"/>
                  <a:gd name="connsiteY53" fmla="*/ 857250 h 4429294"/>
                  <a:gd name="connsiteX54" fmla="*/ 478619 w 4501379"/>
                  <a:gd name="connsiteY54" fmla="*/ 828675 h 4429294"/>
                  <a:gd name="connsiteX55" fmla="*/ 516719 w 4501379"/>
                  <a:gd name="connsiteY55" fmla="*/ 800100 h 4429294"/>
                  <a:gd name="connsiteX56" fmla="*/ 650069 w 4501379"/>
                  <a:gd name="connsiteY56" fmla="*/ 676275 h 4429294"/>
                  <a:gd name="connsiteX57" fmla="*/ 869144 w 4501379"/>
                  <a:gd name="connsiteY57" fmla="*/ 504825 h 4429294"/>
                  <a:gd name="connsiteX58" fmla="*/ 1148544 w 4501379"/>
                  <a:gd name="connsiteY58" fmla="*/ 311150 h 4429294"/>
                  <a:gd name="connsiteX59" fmla="*/ 1507319 w 4501379"/>
                  <a:gd name="connsiteY59" fmla="*/ 152400 h 4429294"/>
                  <a:gd name="connsiteX60" fmla="*/ 1621619 w 4501379"/>
                  <a:gd name="connsiteY60" fmla="*/ 111125 h 4429294"/>
                  <a:gd name="connsiteX61" fmla="*/ 2253444 w 4501379"/>
                  <a:gd name="connsiteY61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459569 w 4501379"/>
                  <a:gd name="connsiteY53" fmla="*/ 857250 h 4429294"/>
                  <a:gd name="connsiteX54" fmla="*/ 516719 w 4501379"/>
                  <a:gd name="connsiteY54" fmla="*/ 800100 h 4429294"/>
                  <a:gd name="connsiteX55" fmla="*/ 650069 w 4501379"/>
                  <a:gd name="connsiteY55" fmla="*/ 676275 h 4429294"/>
                  <a:gd name="connsiteX56" fmla="*/ 869144 w 4501379"/>
                  <a:gd name="connsiteY56" fmla="*/ 504825 h 4429294"/>
                  <a:gd name="connsiteX57" fmla="*/ 1148544 w 4501379"/>
                  <a:gd name="connsiteY57" fmla="*/ 311150 h 4429294"/>
                  <a:gd name="connsiteX58" fmla="*/ 1507319 w 4501379"/>
                  <a:gd name="connsiteY58" fmla="*/ 152400 h 4429294"/>
                  <a:gd name="connsiteX59" fmla="*/ 1621619 w 4501379"/>
                  <a:gd name="connsiteY59" fmla="*/ 111125 h 4429294"/>
                  <a:gd name="connsiteX60" fmla="*/ 2253444 w 4501379"/>
                  <a:gd name="connsiteY60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69069 w 4501379"/>
                  <a:gd name="connsiteY50" fmla="*/ 1152525 h 4429294"/>
                  <a:gd name="connsiteX51" fmla="*/ 297644 w 4501379"/>
                  <a:gd name="connsiteY51" fmla="*/ 1114425 h 4429294"/>
                  <a:gd name="connsiteX52" fmla="*/ 459569 w 4501379"/>
                  <a:gd name="connsiteY52" fmla="*/ 857250 h 4429294"/>
                  <a:gd name="connsiteX53" fmla="*/ 516719 w 4501379"/>
                  <a:gd name="connsiteY53" fmla="*/ 800100 h 4429294"/>
                  <a:gd name="connsiteX54" fmla="*/ 650069 w 4501379"/>
                  <a:gd name="connsiteY54" fmla="*/ 676275 h 4429294"/>
                  <a:gd name="connsiteX55" fmla="*/ 869144 w 4501379"/>
                  <a:gd name="connsiteY55" fmla="*/ 504825 h 4429294"/>
                  <a:gd name="connsiteX56" fmla="*/ 1148544 w 4501379"/>
                  <a:gd name="connsiteY56" fmla="*/ 311150 h 4429294"/>
                  <a:gd name="connsiteX57" fmla="*/ 1507319 w 4501379"/>
                  <a:gd name="connsiteY57" fmla="*/ 152400 h 4429294"/>
                  <a:gd name="connsiteX58" fmla="*/ 1621619 w 4501379"/>
                  <a:gd name="connsiteY58" fmla="*/ 111125 h 4429294"/>
                  <a:gd name="connsiteX59" fmla="*/ 2253444 w 4501379"/>
                  <a:gd name="connsiteY59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97644 w 4501379"/>
                  <a:gd name="connsiteY50" fmla="*/ 1114425 h 4429294"/>
                  <a:gd name="connsiteX51" fmla="*/ 459569 w 4501379"/>
                  <a:gd name="connsiteY51" fmla="*/ 857250 h 4429294"/>
                  <a:gd name="connsiteX52" fmla="*/ 516719 w 4501379"/>
                  <a:gd name="connsiteY52" fmla="*/ 800100 h 4429294"/>
                  <a:gd name="connsiteX53" fmla="*/ 650069 w 4501379"/>
                  <a:gd name="connsiteY53" fmla="*/ 676275 h 4429294"/>
                  <a:gd name="connsiteX54" fmla="*/ 869144 w 4501379"/>
                  <a:gd name="connsiteY54" fmla="*/ 504825 h 4429294"/>
                  <a:gd name="connsiteX55" fmla="*/ 1148544 w 4501379"/>
                  <a:gd name="connsiteY55" fmla="*/ 311150 h 4429294"/>
                  <a:gd name="connsiteX56" fmla="*/ 1507319 w 4501379"/>
                  <a:gd name="connsiteY56" fmla="*/ 152400 h 4429294"/>
                  <a:gd name="connsiteX57" fmla="*/ 1621619 w 4501379"/>
                  <a:gd name="connsiteY57" fmla="*/ 111125 h 4429294"/>
                  <a:gd name="connsiteX58" fmla="*/ 2253444 w 4501379"/>
                  <a:gd name="connsiteY58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97644 w 4501379"/>
                  <a:gd name="connsiteY49" fmla="*/ 1114425 h 4429294"/>
                  <a:gd name="connsiteX50" fmla="*/ 459569 w 4501379"/>
                  <a:gd name="connsiteY50" fmla="*/ 857250 h 4429294"/>
                  <a:gd name="connsiteX51" fmla="*/ 516719 w 4501379"/>
                  <a:gd name="connsiteY51" fmla="*/ 800100 h 4429294"/>
                  <a:gd name="connsiteX52" fmla="*/ 650069 w 4501379"/>
                  <a:gd name="connsiteY52" fmla="*/ 676275 h 4429294"/>
                  <a:gd name="connsiteX53" fmla="*/ 869144 w 4501379"/>
                  <a:gd name="connsiteY53" fmla="*/ 504825 h 4429294"/>
                  <a:gd name="connsiteX54" fmla="*/ 1148544 w 4501379"/>
                  <a:gd name="connsiteY54" fmla="*/ 311150 h 4429294"/>
                  <a:gd name="connsiteX55" fmla="*/ 1507319 w 4501379"/>
                  <a:gd name="connsiteY55" fmla="*/ 152400 h 4429294"/>
                  <a:gd name="connsiteX56" fmla="*/ 1621619 w 4501379"/>
                  <a:gd name="connsiteY56" fmla="*/ 111125 h 4429294"/>
                  <a:gd name="connsiteX57" fmla="*/ 2253444 w 4501379"/>
                  <a:gd name="connsiteY5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35719 w 4501379"/>
                  <a:gd name="connsiteY46" fmla="*/ 1419225 h 4429294"/>
                  <a:gd name="connsiteX47" fmla="*/ 211919 w 4501379"/>
                  <a:gd name="connsiteY47" fmla="*/ 1276350 h 4429294"/>
                  <a:gd name="connsiteX48" fmla="*/ 297644 w 4501379"/>
                  <a:gd name="connsiteY48" fmla="*/ 1114425 h 4429294"/>
                  <a:gd name="connsiteX49" fmla="*/ 459569 w 4501379"/>
                  <a:gd name="connsiteY49" fmla="*/ 857250 h 4429294"/>
                  <a:gd name="connsiteX50" fmla="*/ 516719 w 4501379"/>
                  <a:gd name="connsiteY50" fmla="*/ 800100 h 4429294"/>
                  <a:gd name="connsiteX51" fmla="*/ 650069 w 4501379"/>
                  <a:gd name="connsiteY51" fmla="*/ 676275 h 4429294"/>
                  <a:gd name="connsiteX52" fmla="*/ 869144 w 4501379"/>
                  <a:gd name="connsiteY52" fmla="*/ 504825 h 4429294"/>
                  <a:gd name="connsiteX53" fmla="*/ 1148544 w 4501379"/>
                  <a:gd name="connsiteY53" fmla="*/ 311150 h 4429294"/>
                  <a:gd name="connsiteX54" fmla="*/ 1507319 w 4501379"/>
                  <a:gd name="connsiteY54" fmla="*/ 152400 h 4429294"/>
                  <a:gd name="connsiteX55" fmla="*/ 1621619 w 4501379"/>
                  <a:gd name="connsiteY55" fmla="*/ 111125 h 4429294"/>
                  <a:gd name="connsiteX56" fmla="*/ 2253444 w 4501379"/>
                  <a:gd name="connsiteY56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88094 w 4501379"/>
                  <a:gd name="connsiteY44" fmla="*/ 1590675 h 4429294"/>
                  <a:gd name="connsiteX45" fmla="*/ 135719 w 4501379"/>
                  <a:gd name="connsiteY45" fmla="*/ 1419225 h 4429294"/>
                  <a:gd name="connsiteX46" fmla="*/ 211919 w 4501379"/>
                  <a:gd name="connsiteY46" fmla="*/ 1276350 h 4429294"/>
                  <a:gd name="connsiteX47" fmla="*/ 297644 w 4501379"/>
                  <a:gd name="connsiteY47" fmla="*/ 1114425 h 4429294"/>
                  <a:gd name="connsiteX48" fmla="*/ 459569 w 4501379"/>
                  <a:gd name="connsiteY48" fmla="*/ 857250 h 4429294"/>
                  <a:gd name="connsiteX49" fmla="*/ 516719 w 4501379"/>
                  <a:gd name="connsiteY49" fmla="*/ 800100 h 4429294"/>
                  <a:gd name="connsiteX50" fmla="*/ 650069 w 4501379"/>
                  <a:gd name="connsiteY50" fmla="*/ 676275 h 4429294"/>
                  <a:gd name="connsiteX51" fmla="*/ 869144 w 4501379"/>
                  <a:gd name="connsiteY51" fmla="*/ 504825 h 4429294"/>
                  <a:gd name="connsiteX52" fmla="*/ 1148544 w 4501379"/>
                  <a:gd name="connsiteY52" fmla="*/ 311150 h 4429294"/>
                  <a:gd name="connsiteX53" fmla="*/ 1507319 w 4501379"/>
                  <a:gd name="connsiteY53" fmla="*/ 152400 h 4429294"/>
                  <a:gd name="connsiteX54" fmla="*/ 1621619 w 4501379"/>
                  <a:gd name="connsiteY54" fmla="*/ 111125 h 4429294"/>
                  <a:gd name="connsiteX55" fmla="*/ 2253444 w 4501379"/>
                  <a:gd name="connsiteY55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88094 w 4501379"/>
                  <a:gd name="connsiteY43" fmla="*/ 1590675 h 4429294"/>
                  <a:gd name="connsiteX44" fmla="*/ 135719 w 4501379"/>
                  <a:gd name="connsiteY44" fmla="*/ 1419225 h 4429294"/>
                  <a:gd name="connsiteX45" fmla="*/ 211919 w 4501379"/>
                  <a:gd name="connsiteY45" fmla="*/ 1276350 h 4429294"/>
                  <a:gd name="connsiteX46" fmla="*/ 297644 w 4501379"/>
                  <a:gd name="connsiteY46" fmla="*/ 1114425 h 4429294"/>
                  <a:gd name="connsiteX47" fmla="*/ 459569 w 4501379"/>
                  <a:gd name="connsiteY47" fmla="*/ 857250 h 4429294"/>
                  <a:gd name="connsiteX48" fmla="*/ 516719 w 4501379"/>
                  <a:gd name="connsiteY48" fmla="*/ 800100 h 4429294"/>
                  <a:gd name="connsiteX49" fmla="*/ 650069 w 4501379"/>
                  <a:gd name="connsiteY49" fmla="*/ 676275 h 4429294"/>
                  <a:gd name="connsiteX50" fmla="*/ 869144 w 4501379"/>
                  <a:gd name="connsiteY50" fmla="*/ 504825 h 4429294"/>
                  <a:gd name="connsiteX51" fmla="*/ 1148544 w 4501379"/>
                  <a:gd name="connsiteY51" fmla="*/ 311150 h 4429294"/>
                  <a:gd name="connsiteX52" fmla="*/ 1507319 w 4501379"/>
                  <a:gd name="connsiteY52" fmla="*/ 152400 h 4429294"/>
                  <a:gd name="connsiteX53" fmla="*/ 1621619 w 4501379"/>
                  <a:gd name="connsiteY53" fmla="*/ 111125 h 4429294"/>
                  <a:gd name="connsiteX54" fmla="*/ 2253444 w 4501379"/>
                  <a:gd name="connsiteY54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88094 w 4501379"/>
                  <a:gd name="connsiteY42" fmla="*/ 1590675 h 4429294"/>
                  <a:gd name="connsiteX43" fmla="*/ 135719 w 4501379"/>
                  <a:gd name="connsiteY43" fmla="*/ 1419225 h 4429294"/>
                  <a:gd name="connsiteX44" fmla="*/ 211919 w 4501379"/>
                  <a:gd name="connsiteY44" fmla="*/ 1276350 h 4429294"/>
                  <a:gd name="connsiteX45" fmla="*/ 297644 w 4501379"/>
                  <a:gd name="connsiteY45" fmla="*/ 1114425 h 4429294"/>
                  <a:gd name="connsiteX46" fmla="*/ 459569 w 4501379"/>
                  <a:gd name="connsiteY46" fmla="*/ 857250 h 4429294"/>
                  <a:gd name="connsiteX47" fmla="*/ 516719 w 4501379"/>
                  <a:gd name="connsiteY47" fmla="*/ 800100 h 4429294"/>
                  <a:gd name="connsiteX48" fmla="*/ 650069 w 4501379"/>
                  <a:gd name="connsiteY48" fmla="*/ 676275 h 4429294"/>
                  <a:gd name="connsiteX49" fmla="*/ 869144 w 4501379"/>
                  <a:gd name="connsiteY49" fmla="*/ 504825 h 4429294"/>
                  <a:gd name="connsiteX50" fmla="*/ 1148544 w 4501379"/>
                  <a:gd name="connsiteY50" fmla="*/ 311150 h 4429294"/>
                  <a:gd name="connsiteX51" fmla="*/ 1507319 w 4501379"/>
                  <a:gd name="connsiteY51" fmla="*/ 152400 h 4429294"/>
                  <a:gd name="connsiteX52" fmla="*/ 1621619 w 4501379"/>
                  <a:gd name="connsiteY52" fmla="*/ 111125 h 4429294"/>
                  <a:gd name="connsiteX53" fmla="*/ 2253444 w 4501379"/>
                  <a:gd name="connsiteY53" fmla="*/ 12700 h 4429294"/>
                  <a:gd name="connsiteX0" fmla="*/ 2277090 w 4499625"/>
                  <a:gd name="connsiteY0" fmla="*/ 0 h 4429294"/>
                  <a:gd name="connsiteX1" fmla="*/ 2600940 w 4499625"/>
                  <a:gd name="connsiteY1" fmla="*/ 15875 h 4429294"/>
                  <a:gd name="connsiteX2" fmla="*/ 2896215 w 4499625"/>
                  <a:gd name="connsiteY2" fmla="*/ 85725 h 4429294"/>
                  <a:gd name="connsiteX3" fmla="*/ 3115290 w 4499625"/>
                  <a:gd name="connsiteY3" fmla="*/ 171450 h 4429294"/>
                  <a:gd name="connsiteX4" fmla="*/ 3220065 w 4499625"/>
                  <a:gd name="connsiteY4" fmla="*/ 228600 h 4429294"/>
                  <a:gd name="connsiteX5" fmla="*/ 3401040 w 4499625"/>
                  <a:gd name="connsiteY5" fmla="*/ 323850 h 4429294"/>
                  <a:gd name="connsiteX6" fmla="*/ 3791565 w 4499625"/>
                  <a:gd name="connsiteY6" fmla="*/ 581025 h 4429294"/>
                  <a:gd name="connsiteX7" fmla="*/ 4007465 w 4499625"/>
                  <a:gd name="connsiteY7" fmla="*/ 819150 h 4429294"/>
                  <a:gd name="connsiteX8" fmla="*/ 4143990 w 4499625"/>
                  <a:gd name="connsiteY8" fmla="*/ 990600 h 4429294"/>
                  <a:gd name="connsiteX9" fmla="*/ 4229715 w 4499625"/>
                  <a:gd name="connsiteY9" fmla="*/ 1143000 h 4429294"/>
                  <a:gd name="connsiteX10" fmla="*/ 4286865 w 4499625"/>
                  <a:gd name="connsiteY10" fmla="*/ 1266825 h 4429294"/>
                  <a:gd name="connsiteX11" fmla="*/ 4324965 w 4499625"/>
                  <a:gd name="connsiteY11" fmla="*/ 1362075 h 4429294"/>
                  <a:gd name="connsiteX12" fmla="*/ 4372590 w 4499625"/>
                  <a:gd name="connsiteY12" fmla="*/ 1552575 h 4429294"/>
                  <a:gd name="connsiteX13" fmla="*/ 4410690 w 4499625"/>
                  <a:gd name="connsiteY13" fmla="*/ 1685925 h 4429294"/>
                  <a:gd name="connsiteX14" fmla="*/ 4499590 w 4499625"/>
                  <a:gd name="connsiteY14" fmla="*/ 2181225 h 4429294"/>
                  <a:gd name="connsiteX15" fmla="*/ 4426565 w 4499625"/>
                  <a:gd name="connsiteY15" fmla="*/ 2768600 h 4429294"/>
                  <a:gd name="connsiteX16" fmla="*/ 4363065 w 4499625"/>
                  <a:gd name="connsiteY16" fmla="*/ 2990850 h 4429294"/>
                  <a:gd name="connsiteX17" fmla="*/ 4258290 w 4499625"/>
                  <a:gd name="connsiteY17" fmla="*/ 3248025 h 4429294"/>
                  <a:gd name="connsiteX18" fmla="*/ 4163040 w 4499625"/>
                  <a:gd name="connsiteY18" fmla="*/ 3400425 h 4429294"/>
                  <a:gd name="connsiteX19" fmla="*/ 4039215 w 4499625"/>
                  <a:gd name="connsiteY19" fmla="*/ 3533775 h 4429294"/>
                  <a:gd name="connsiteX20" fmla="*/ 3934440 w 4499625"/>
                  <a:gd name="connsiteY20" fmla="*/ 3648075 h 4429294"/>
                  <a:gd name="connsiteX21" fmla="*/ 3639165 w 4499625"/>
                  <a:gd name="connsiteY21" fmla="*/ 3971925 h 4429294"/>
                  <a:gd name="connsiteX22" fmla="*/ 3496290 w 4499625"/>
                  <a:gd name="connsiteY22" fmla="*/ 4083050 h 4429294"/>
                  <a:gd name="connsiteX23" fmla="*/ 3201015 w 4499625"/>
                  <a:gd name="connsiteY23" fmla="*/ 4222750 h 4429294"/>
                  <a:gd name="connsiteX24" fmla="*/ 3048615 w 4499625"/>
                  <a:gd name="connsiteY24" fmla="*/ 4286250 h 4429294"/>
                  <a:gd name="connsiteX25" fmla="*/ 2915265 w 4499625"/>
                  <a:gd name="connsiteY25" fmla="*/ 4333875 h 4429294"/>
                  <a:gd name="connsiteX26" fmla="*/ 2791440 w 4499625"/>
                  <a:gd name="connsiteY26" fmla="*/ 4371975 h 4429294"/>
                  <a:gd name="connsiteX27" fmla="*/ 2559665 w 4499625"/>
                  <a:gd name="connsiteY27" fmla="*/ 4391025 h 4429294"/>
                  <a:gd name="connsiteX28" fmla="*/ 2105640 w 4499625"/>
                  <a:gd name="connsiteY28" fmla="*/ 4429125 h 4429294"/>
                  <a:gd name="connsiteX29" fmla="*/ 1915140 w 4499625"/>
                  <a:gd name="connsiteY29" fmla="*/ 4400550 h 4429294"/>
                  <a:gd name="connsiteX30" fmla="*/ 1553190 w 4499625"/>
                  <a:gd name="connsiteY30" fmla="*/ 4305300 h 4429294"/>
                  <a:gd name="connsiteX31" fmla="*/ 1311890 w 4499625"/>
                  <a:gd name="connsiteY31" fmla="*/ 4216400 h 4429294"/>
                  <a:gd name="connsiteX32" fmla="*/ 1143615 w 4499625"/>
                  <a:gd name="connsiteY32" fmla="*/ 4111625 h 4429294"/>
                  <a:gd name="connsiteX33" fmla="*/ 924540 w 4499625"/>
                  <a:gd name="connsiteY33" fmla="*/ 3968750 h 4429294"/>
                  <a:gd name="connsiteX34" fmla="*/ 591165 w 4499625"/>
                  <a:gd name="connsiteY34" fmla="*/ 3657600 h 4429294"/>
                  <a:gd name="connsiteX35" fmla="*/ 445115 w 4499625"/>
                  <a:gd name="connsiteY35" fmla="*/ 3470275 h 4429294"/>
                  <a:gd name="connsiteX36" fmla="*/ 314940 w 4499625"/>
                  <a:gd name="connsiteY36" fmla="*/ 3244850 h 4429294"/>
                  <a:gd name="connsiteX37" fmla="*/ 162540 w 4499625"/>
                  <a:gd name="connsiteY37" fmla="*/ 2892425 h 4429294"/>
                  <a:gd name="connsiteX38" fmla="*/ 54590 w 4499625"/>
                  <a:gd name="connsiteY38" fmla="*/ 2368550 h 4429294"/>
                  <a:gd name="connsiteX39" fmla="*/ 615 w 4499625"/>
                  <a:gd name="connsiteY39" fmla="*/ 1905000 h 4429294"/>
                  <a:gd name="connsiteX40" fmla="*/ 29190 w 4499625"/>
                  <a:gd name="connsiteY40" fmla="*/ 1781175 h 4429294"/>
                  <a:gd name="connsiteX41" fmla="*/ 86340 w 4499625"/>
                  <a:gd name="connsiteY41" fmla="*/ 1590675 h 4429294"/>
                  <a:gd name="connsiteX42" fmla="*/ 133965 w 4499625"/>
                  <a:gd name="connsiteY42" fmla="*/ 1419225 h 4429294"/>
                  <a:gd name="connsiteX43" fmla="*/ 210165 w 4499625"/>
                  <a:gd name="connsiteY43" fmla="*/ 1276350 h 4429294"/>
                  <a:gd name="connsiteX44" fmla="*/ 295890 w 4499625"/>
                  <a:gd name="connsiteY44" fmla="*/ 1114425 h 4429294"/>
                  <a:gd name="connsiteX45" fmla="*/ 457815 w 4499625"/>
                  <a:gd name="connsiteY45" fmla="*/ 857250 h 4429294"/>
                  <a:gd name="connsiteX46" fmla="*/ 514965 w 4499625"/>
                  <a:gd name="connsiteY46" fmla="*/ 800100 h 4429294"/>
                  <a:gd name="connsiteX47" fmla="*/ 648315 w 4499625"/>
                  <a:gd name="connsiteY47" fmla="*/ 676275 h 4429294"/>
                  <a:gd name="connsiteX48" fmla="*/ 867390 w 4499625"/>
                  <a:gd name="connsiteY48" fmla="*/ 504825 h 4429294"/>
                  <a:gd name="connsiteX49" fmla="*/ 1146790 w 4499625"/>
                  <a:gd name="connsiteY49" fmla="*/ 311150 h 4429294"/>
                  <a:gd name="connsiteX50" fmla="*/ 1505565 w 4499625"/>
                  <a:gd name="connsiteY50" fmla="*/ 152400 h 4429294"/>
                  <a:gd name="connsiteX51" fmla="*/ 1619865 w 4499625"/>
                  <a:gd name="connsiteY51" fmla="*/ 111125 h 4429294"/>
                  <a:gd name="connsiteX52" fmla="*/ 2251690 w 4499625"/>
                  <a:gd name="connsiteY52" fmla="*/ 12700 h 4429294"/>
                  <a:gd name="connsiteX0" fmla="*/ 2249427 w 4471962"/>
                  <a:gd name="connsiteY0" fmla="*/ 0 h 4429294"/>
                  <a:gd name="connsiteX1" fmla="*/ 2573277 w 4471962"/>
                  <a:gd name="connsiteY1" fmla="*/ 15875 h 4429294"/>
                  <a:gd name="connsiteX2" fmla="*/ 2868552 w 4471962"/>
                  <a:gd name="connsiteY2" fmla="*/ 85725 h 4429294"/>
                  <a:gd name="connsiteX3" fmla="*/ 3087627 w 4471962"/>
                  <a:gd name="connsiteY3" fmla="*/ 171450 h 4429294"/>
                  <a:gd name="connsiteX4" fmla="*/ 3192402 w 4471962"/>
                  <a:gd name="connsiteY4" fmla="*/ 228600 h 4429294"/>
                  <a:gd name="connsiteX5" fmla="*/ 3373377 w 4471962"/>
                  <a:gd name="connsiteY5" fmla="*/ 323850 h 4429294"/>
                  <a:gd name="connsiteX6" fmla="*/ 3763902 w 4471962"/>
                  <a:gd name="connsiteY6" fmla="*/ 581025 h 4429294"/>
                  <a:gd name="connsiteX7" fmla="*/ 3979802 w 4471962"/>
                  <a:gd name="connsiteY7" fmla="*/ 819150 h 4429294"/>
                  <a:gd name="connsiteX8" fmla="*/ 4116327 w 4471962"/>
                  <a:gd name="connsiteY8" fmla="*/ 990600 h 4429294"/>
                  <a:gd name="connsiteX9" fmla="*/ 4202052 w 4471962"/>
                  <a:gd name="connsiteY9" fmla="*/ 1143000 h 4429294"/>
                  <a:gd name="connsiteX10" fmla="*/ 4259202 w 4471962"/>
                  <a:gd name="connsiteY10" fmla="*/ 1266825 h 4429294"/>
                  <a:gd name="connsiteX11" fmla="*/ 4297302 w 4471962"/>
                  <a:gd name="connsiteY11" fmla="*/ 1362075 h 4429294"/>
                  <a:gd name="connsiteX12" fmla="*/ 4344927 w 4471962"/>
                  <a:gd name="connsiteY12" fmla="*/ 1552575 h 4429294"/>
                  <a:gd name="connsiteX13" fmla="*/ 4383027 w 4471962"/>
                  <a:gd name="connsiteY13" fmla="*/ 1685925 h 4429294"/>
                  <a:gd name="connsiteX14" fmla="*/ 4471927 w 4471962"/>
                  <a:gd name="connsiteY14" fmla="*/ 2181225 h 4429294"/>
                  <a:gd name="connsiteX15" fmla="*/ 4398902 w 4471962"/>
                  <a:gd name="connsiteY15" fmla="*/ 2768600 h 4429294"/>
                  <a:gd name="connsiteX16" fmla="*/ 4335402 w 4471962"/>
                  <a:gd name="connsiteY16" fmla="*/ 2990850 h 4429294"/>
                  <a:gd name="connsiteX17" fmla="*/ 4230627 w 4471962"/>
                  <a:gd name="connsiteY17" fmla="*/ 3248025 h 4429294"/>
                  <a:gd name="connsiteX18" fmla="*/ 4135377 w 4471962"/>
                  <a:gd name="connsiteY18" fmla="*/ 3400425 h 4429294"/>
                  <a:gd name="connsiteX19" fmla="*/ 4011552 w 4471962"/>
                  <a:gd name="connsiteY19" fmla="*/ 3533775 h 4429294"/>
                  <a:gd name="connsiteX20" fmla="*/ 3906777 w 4471962"/>
                  <a:gd name="connsiteY20" fmla="*/ 3648075 h 4429294"/>
                  <a:gd name="connsiteX21" fmla="*/ 3611502 w 4471962"/>
                  <a:gd name="connsiteY21" fmla="*/ 3971925 h 4429294"/>
                  <a:gd name="connsiteX22" fmla="*/ 3468627 w 4471962"/>
                  <a:gd name="connsiteY22" fmla="*/ 4083050 h 4429294"/>
                  <a:gd name="connsiteX23" fmla="*/ 3173352 w 4471962"/>
                  <a:gd name="connsiteY23" fmla="*/ 4222750 h 4429294"/>
                  <a:gd name="connsiteX24" fmla="*/ 3020952 w 4471962"/>
                  <a:gd name="connsiteY24" fmla="*/ 4286250 h 4429294"/>
                  <a:gd name="connsiteX25" fmla="*/ 2887602 w 4471962"/>
                  <a:gd name="connsiteY25" fmla="*/ 4333875 h 4429294"/>
                  <a:gd name="connsiteX26" fmla="*/ 2763777 w 4471962"/>
                  <a:gd name="connsiteY26" fmla="*/ 4371975 h 4429294"/>
                  <a:gd name="connsiteX27" fmla="*/ 2532002 w 4471962"/>
                  <a:gd name="connsiteY27" fmla="*/ 4391025 h 4429294"/>
                  <a:gd name="connsiteX28" fmla="*/ 2077977 w 4471962"/>
                  <a:gd name="connsiteY28" fmla="*/ 4429125 h 4429294"/>
                  <a:gd name="connsiteX29" fmla="*/ 1887477 w 4471962"/>
                  <a:gd name="connsiteY29" fmla="*/ 4400550 h 4429294"/>
                  <a:gd name="connsiteX30" fmla="*/ 1525527 w 4471962"/>
                  <a:gd name="connsiteY30" fmla="*/ 4305300 h 4429294"/>
                  <a:gd name="connsiteX31" fmla="*/ 1284227 w 4471962"/>
                  <a:gd name="connsiteY31" fmla="*/ 4216400 h 4429294"/>
                  <a:gd name="connsiteX32" fmla="*/ 1115952 w 4471962"/>
                  <a:gd name="connsiteY32" fmla="*/ 4111625 h 4429294"/>
                  <a:gd name="connsiteX33" fmla="*/ 896877 w 4471962"/>
                  <a:gd name="connsiteY33" fmla="*/ 3968750 h 4429294"/>
                  <a:gd name="connsiteX34" fmla="*/ 563502 w 4471962"/>
                  <a:gd name="connsiteY34" fmla="*/ 3657600 h 4429294"/>
                  <a:gd name="connsiteX35" fmla="*/ 417452 w 4471962"/>
                  <a:gd name="connsiteY35" fmla="*/ 3470275 h 4429294"/>
                  <a:gd name="connsiteX36" fmla="*/ 287277 w 4471962"/>
                  <a:gd name="connsiteY36" fmla="*/ 3244850 h 4429294"/>
                  <a:gd name="connsiteX37" fmla="*/ 134877 w 4471962"/>
                  <a:gd name="connsiteY37" fmla="*/ 2892425 h 4429294"/>
                  <a:gd name="connsiteX38" fmla="*/ 26927 w 4471962"/>
                  <a:gd name="connsiteY38" fmla="*/ 2368550 h 4429294"/>
                  <a:gd name="connsiteX39" fmla="*/ 1527 w 4471962"/>
                  <a:gd name="connsiteY39" fmla="*/ 1781175 h 4429294"/>
                  <a:gd name="connsiteX40" fmla="*/ 58677 w 4471962"/>
                  <a:gd name="connsiteY40" fmla="*/ 1590675 h 4429294"/>
                  <a:gd name="connsiteX41" fmla="*/ 106302 w 4471962"/>
                  <a:gd name="connsiteY41" fmla="*/ 1419225 h 4429294"/>
                  <a:gd name="connsiteX42" fmla="*/ 182502 w 4471962"/>
                  <a:gd name="connsiteY42" fmla="*/ 1276350 h 4429294"/>
                  <a:gd name="connsiteX43" fmla="*/ 268227 w 4471962"/>
                  <a:gd name="connsiteY43" fmla="*/ 1114425 h 4429294"/>
                  <a:gd name="connsiteX44" fmla="*/ 430152 w 4471962"/>
                  <a:gd name="connsiteY44" fmla="*/ 857250 h 4429294"/>
                  <a:gd name="connsiteX45" fmla="*/ 487302 w 4471962"/>
                  <a:gd name="connsiteY45" fmla="*/ 800100 h 4429294"/>
                  <a:gd name="connsiteX46" fmla="*/ 620652 w 4471962"/>
                  <a:gd name="connsiteY46" fmla="*/ 676275 h 4429294"/>
                  <a:gd name="connsiteX47" fmla="*/ 839727 w 4471962"/>
                  <a:gd name="connsiteY47" fmla="*/ 504825 h 4429294"/>
                  <a:gd name="connsiteX48" fmla="*/ 1119127 w 4471962"/>
                  <a:gd name="connsiteY48" fmla="*/ 311150 h 4429294"/>
                  <a:gd name="connsiteX49" fmla="*/ 1477902 w 4471962"/>
                  <a:gd name="connsiteY49" fmla="*/ 152400 h 4429294"/>
                  <a:gd name="connsiteX50" fmla="*/ 1592202 w 4471962"/>
                  <a:gd name="connsiteY50" fmla="*/ 111125 h 4429294"/>
                  <a:gd name="connsiteX51" fmla="*/ 2224027 w 4471962"/>
                  <a:gd name="connsiteY51" fmla="*/ 12700 h 4429294"/>
                  <a:gd name="connsiteX0" fmla="*/ 2231942 w 4454477"/>
                  <a:gd name="connsiteY0" fmla="*/ 0 h 4429294"/>
                  <a:gd name="connsiteX1" fmla="*/ 2555792 w 4454477"/>
                  <a:gd name="connsiteY1" fmla="*/ 15875 h 4429294"/>
                  <a:gd name="connsiteX2" fmla="*/ 2851067 w 4454477"/>
                  <a:gd name="connsiteY2" fmla="*/ 85725 h 4429294"/>
                  <a:gd name="connsiteX3" fmla="*/ 3070142 w 4454477"/>
                  <a:gd name="connsiteY3" fmla="*/ 171450 h 4429294"/>
                  <a:gd name="connsiteX4" fmla="*/ 3174917 w 4454477"/>
                  <a:gd name="connsiteY4" fmla="*/ 228600 h 4429294"/>
                  <a:gd name="connsiteX5" fmla="*/ 3355892 w 4454477"/>
                  <a:gd name="connsiteY5" fmla="*/ 323850 h 4429294"/>
                  <a:gd name="connsiteX6" fmla="*/ 3746417 w 4454477"/>
                  <a:gd name="connsiteY6" fmla="*/ 581025 h 4429294"/>
                  <a:gd name="connsiteX7" fmla="*/ 3962317 w 4454477"/>
                  <a:gd name="connsiteY7" fmla="*/ 819150 h 4429294"/>
                  <a:gd name="connsiteX8" fmla="*/ 4098842 w 4454477"/>
                  <a:gd name="connsiteY8" fmla="*/ 990600 h 4429294"/>
                  <a:gd name="connsiteX9" fmla="*/ 4184567 w 4454477"/>
                  <a:gd name="connsiteY9" fmla="*/ 1143000 h 4429294"/>
                  <a:gd name="connsiteX10" fmla="*/ 4241717 w 4454477"/>
                  <a:gd name="connsiteY10" fmla="*/ 1266825 h 4429294"/>
                  <a:gd name="connsiteX11" fmla="*/ 4279817 w 4454477"/>
                  <a:gd name="connsiteY11" fmla="*/ 1362075 h 4429294"/>
                  <a:gd name="connsiteX12" fmla="*/ 4327442 w 4454477"/>
                  <a:gd name="connsiteY12" fmla="*/ 1552575 h 4429294"/>
                  <a:gd name="connsiteX13" fmla="*/ 4365542 w 4454477"/>
                  <a:gd name="connsiteY13" fmla="*/ 1685925 h 4429294"/>
                  <a:gd name="connsiteX14" fmla="*/ 4454442 w 4454477"/>
                  <a:gd name="connsiteY14" fmla="*/ 2181225 h 4429294"/>
                  <a:gd name="connsiteX15" fmla="*/ 4381417 w 4454477"/>
                  <a:gd name="connsiteY15" fmla="*/ 2768600 h 4429294"/>
                  <a:gd name="connsiteX16" fmla="*/ 4317917 w 4454477"/>
                  <a:gd name="connsiteY16" fmla="*/ 2990850 h 4429294"/>
                  <a:gd name="connsiteX17" fmla="*/ 4213142 w 4454477"/>
                  <a:gd name="connsiteY17" fmla="*/ 3248025 h 4429294"/>
                  <a:gd name="connsiteX18" fmla="*/ 4117892 w 4454477"/>
                  <a:gd name="connsiteY18" fmla="*/ 3400425 h 4429294"/>
                  <a:gd name="connsiteX19" fmla="*/ 3994067 w 4454477"/>
                  <a:gd name="connsiteY19" fmla="*/ 3533775 h 4429294"/>
                  <a:gd name="connsiteX20" fmla="*/ 3889292 w 4454477"/>
                  <a:gd name="connsiteY20" fmla="*/ 3648075 h 4429294"/>
                  <a:gd name="connsiteX21" fmla="*/ 3594017 w 4454477"/>
                  <a:gd name="connsiteY21" fmla="*/ 3971925 h 4429294"/>
                  <a:gd name="connsiteX22" fmla="*/ 3451142 w 4454477"/>
                  <a:gd name="connsiteY22" fmla="*/ 4083050 h 4429294"/>
                  <a:gd name="connsiteX23" fmla="*/ 3155867 w 4454477"/>
                  <a:gd name="connsiteY23" fmla="*/ 4222750 h 4429294"/>
                  <a:gd name="connsiteX24" fmla="*/ 3003467 w 4454477"/>
                  <a:gd name="connsiteY24" fmla="*/ 4286250 h 4429294"/>
                  <a:gd name="connsiteX25" fmla="*/ 2870117 w 4454477"/>
                  <a:gd name="connsiteY25" fmla="*/ 4333875 h 4429294"/>
                  <a:gd name="connsiteX26" fmla="*/ 2746292 w 4454477"/>
                  <a:gd name="connsiteY26" fmla="*/ 4371975 h 4429294"/>
                  <a:gd name="connsiteX27" fmla="*/ 2514517 w 4454477"/>
                  <a:gd name="connsiteY27" fmla="*/ 4391025 h 4429294"/>
                  <a:gd name="connsiteX28" fmla="*/ 2060492 w 4454477"/>
                  <a:gd name="connsiteY28" fmla="*/ 4429125 h 4429294"/>
                  <a:gd name="connsiteX29" fmla="*/ 1869992 w 4454477"/>
                  <a:gd name="connsiteY29" fmla="*/ 4400550 h 4429294"/>
                  <a:gd name="connsiteX30" fmla="*/ 1508042 w 4454477"/>
                  <a:gd name="connsiteY30" fmla="*/ 4305300 h 4429294"/>
                  <a:gd name="connsiteX31" fmla="*/ 1266742 w 4454477"/>
                  <a:gd name="connsiteY31" fmla="*/ 4216400 h 4429294"/>
                  <a:gd name="connsiteX32" fmla="*/ 1098467 w 4454477"/>
                  <a:gd name="connsiteY32" fmla="*/ 4111625 h 4429294"/>
                  <a:gd name="connsiteX33" fmla="*/ 879392 w 4454477"/>
                  <a:gd name="connsiteY33" fmla="*/ 3968750 h 4429294"/>
                  <a:gd name="connsiteX34" fmla="*/ 546017 w 4454477"/>
                  <a:gd name="connsiteY34" fmla="*/ 3657600 h 4429294"/>
                  <a:gd name="connsiteX35" fmla="*/ 399967 w 4454477"/>
                  <a:gd name="connsiteY35" fmla="*/ 3470275 h 4429294"/>
                  <a:gd name="connsiteX36" fmla="*/ 269792 w 4454477"/>
                  <a:gd name="connsiteY36" fmla="*/ 3244850 h 4429294"/>
                  <a:gd name="connsiteX37" fmla="*/ 117392 w 4454477"/>
                  <a:gd name="connsiteY37" fmla="*/ 2892425 h 4429294"/>
                  <a:gd name="connsiteX38" fmla="*/ 9442 w 4454477"/>
                  <a:gd name="connsiteY38" fmla="*/ 2368550 h 4429294"/>
                  <a:gd name="connsiteX39" fmla="*/ 15792 w 4454477"/>
                  <a:gd name="connsiteY39" fmla="*/ 1870075 h 4429294"/>
                  <a:gd name="connsiteX40" fmla="*/ 41192 w 4454477"/>
                  <a:gd name="connsiteY40" fmla="*/ 1590675 h 4429294"/>
                  <a:gd name="connsiteX41" fmla="*/ 88817 w 4454477"/>
                  <a:gd name="connsiteY41" fmla="*/ 1419225 h 4429294"/>
                  <a:gd name="connsiteX42" fmla="*/ 165017 w 4454477"/>
                  <a:gd name="connsiteY42" fmla="*/ 1276350 h 4429294"/>
                  <a:gd name="connsiteX43" fmla="*/ 250742 w 4454477"/>
                  <a:gd name="connsiteY43" fmla="*/ 1114425 h 4429294"/>
                  <a:gd name="connsiteX44" fmla="*/ 412667 w 4454477"/>
                  <a:gd name="connsiteY44" fmla="*/ 857250 h 4429294"/>
                  <a:gd name="connsiteX45" fmla="*/ 469817 w 4454477"/>
                  <a:gd name="connsiteY45" fmla="*/ 800100 h 4429294"/>
                  <a:gd name="connsiteX46" fmla="*/ 603167 w 4454477"/>
                  <a:gd name="connsiteY46" fmla="*/ 676275 h 4429294"/>
                  <a:gd name="connsiteX47" fmla="*/ 822242 w 4454477"/>
                  <a:gd name="connsiteY47" fmla="*/ 504825 h 4429294"/>
                  <a:gd name="connsiteX48" fmla="*/ 1101642 w 4454477"/>
                  <a:gd name="connsiteY48" fmla="*/ 311150 h 4429294"/>
                  <a:gd name="connsiteX49" fmla="*/ 1460417 w 4454477"/>
                  <a:gd name="connsiteY49" fmla="*/ 152400 h 4429294"/>
                  <a:gd name="connsiteX50" fmla="*/ 1574717 w 4454477"/>
                  <a:gd name="connsiteY50" fmla="*/ 111125 h 4429294"/>
                  <a:gd name="connsiteX51" fmla="*/ 2206542 w 4454477"/>
                  <a:gd name="connsiteY51" fmla="*/ 12700 h 4429294"/>
                  <a:gd name="connsiteX0" fmla="*/ 2233750 w 4456285"/>
                  <a:gd name="connsiteY0" fmla="*/ 0 h 4429294"/>
                  <a:gd name="connsiteX1" fmla="*/ 2557600 w 4456285"/>
                  <a:gd name="connsiteY1" fmla="*/ 15875 h 4429294"/>
                  <a:gd name="connsiteX2" fmla="*/ 2852875 w 4456285"/>
                  <a:gd name="connsiteY2" fmla="*/ 85725 h 4429294"/>
                  <a:gd name="connsiteX3" fmla="*/ 3071950 w 4456285"/>
                  <a:gd name="connsiteY3" fmla="*/ 171450 h 4429294"/>
                  <a:gd name="connsiteX4" fmla="*/ 3176725 w 4456285"/>
                  <a:gd name="connsiteY4" fmla="*/ 228600 h 4429294"/>
                  <a:gd name="connsiteX5" fmla="*/ 3357700 w 4456285"/>
                  <a:gd name="connsiteY5" fmla="*/ 323850 h 4429294"/>
                  <a:gd name="connsiteX6" fmla="*/ 3748225 w 4456285"/>
                  <a:gd name="connsiteY6" fmla="*/ 581025 h 4429294"/>
                  <a:gd name="connsiteX7" fmla="*/ 3964125 w 4456285"/>
                  <a:gd name="connsiteY7" fmla="*/ 819150 h 4429294"/>
                  <a:gd name="connsiteX8" fmla="*/ 4100650 w 4456285"/>
                  <a:gd name="connsiteY8" fmla="*/ 990600 h 4429294"/>
                  <a:gd name="connsiteX9" fmla="*/ 4186375 w 4456285"/>
                  <a:gd name="connsiteY9" fmla="*/ 1143000 h 4429294"/>
                  <a:gd name="connsiteX10" fmla="*/ 4243525 w 4456285"/>
                  <a:gd name="connsiteY10" fmla="*/ 1266825 h 4429294"/>
                  <a:gd name="connsiteX11" fmla="*/ 4281625 w 4456285"/>
                  <a:gd name="connsiteY11" fmla="*/ 1362075 h 4429294"/>
                  <a:gd name="connsiteX12" fmla="*/ 4329250 w 4456285"/>
                  <a:gd name="connsiteY12" fmla="*/ 1552575 h 4429294"/>
                  <a:gd name="connsiteX13" fmla="*/ 4367350 w 4456285"/>
                  <a:gd name="connsiteY13" fmla="*/ 1685925 h 4429294"/>
                  <a:gd name="connsiteX14" fmla="*/ 4456250 w 4456285"/>
                  <a:gd name="connsiteY14" fmla="*/ 2181225 h 4429294"/>
                  <a:gd name="connsiteX15" fmla="*/ 4383225 w 4456285"/>
                  <a:gd name="connsiteY15" fmla="*/ 2768600 h 4429294"/>
                  <a:gd name="connsiteX16" fmla="*/ 4319725 w 4456285"/>
                  <a:gd name="connsiteY16" fmla="*/ 2990850 h 4429294"/>
                  <a:gd name="connsiteX17" fmla="*/ 4214950 w 4456285"/>
                  <a:gd name="connsiteY17" fmla="*/ 3248025 h 4429294"/>
                  <a:gd name="connsiteX18" fmla="*/ 4119700 w 4456285"/>
                  <a:gd name="connsiteY18" fmla="*/ 3400425 h 4429294"/>
                  <a:gd name="connsiteX19" fmla="*/ 3995875 w 4456285"/>
                  <a:gd name="connsiteY19" fmla="*/ 3533775 h 4429294"/>
                  <a:gd name="connsiteX20" fmla="*/ 3891100 w 4456285"/>
                  <a:gd name="connsiteY20" fmla="*/ 3648075 h 4429294"/>
                  <a:gd name="connsiteX21" fmla="*/ 3595825 w 4456285"/>
                  <a:gd name="connsiteY21" fmla="*/ 3971925 h 4429294"/>
                  <a:gd name="connsiteX22" fmla="*/ 3452950 w 4456285"/>
                  <a:gd name="connsiteY22" fmla="*/ 4083050 h 4429294"/>
                  <a:gd name="connsiteX23" fmla="*/ 3157675 w 4456285"/>
                  <a:gd name="connsiteY23" fmla="*/ 4222750 h 4429294"/>
                  <a:gd name="connsiteX24" fmla="*/ 3005275 w 4456285"/>
                  <a:gd name="connsiteY24" fmla="*/ 4286250 h 4429294"/>
                  <a:gd name="connsiteX25" fmla="*/ 2871925 w 4456285"/>
                  <a:gd name="connsiteY25" fmla="*/ 4333875 h 4429294"/>
                  <a:gd name="connsiteX26" fmla="*/ 2748100 w 4456285"/>
                  <a:gd name="connsiteY26" fmla="*/ 4371975 h 4429294"/>
                  <a:gd name="connsiteX27" fmla="*/ 2516325 w 4456285"/>
                  <a:gd name="connsiteY27" fmla="*/ 4391025 h 4429294"/>
                  <a:gd name="connsiteX28" fmla="*/ 2062300 w 4456285"/>
                  <a:gd name="connsiteY28" fmla="*/ 4429125 h 4429294"/>
                  <a:gd name="connsiteX29" fmla="*/ 1871800 w 4456285"/>
                  <a:gd name="connsiteY29" fmla="*/ 4400550 h 4429294"/>
                  <a:gd name="connsiteX30" fmla="*/ 1509850 w 4456285"/>
                  <a:gd name="connsiteY30" fmla="*/ 4305300 h 4429294"/>
                  <a:gd name="connsiteX31" fmla="*/ 1268550 w 4456285"/>
                  <a:gd name="connsiteY31" fmla="*/ 4216400 h 4429294"/>
                  <a:gd name="connsiteX32" fmla="*/ 1100275 w 4456285"/>
                  <a:gd name="connsiteY32" fmla="*/ 4111625 h 4429294"/>
                  <a:gd name="connsiteX33" fmla="*/ 881200 w 4456285"/>
                  <a:gd name="connsiteY33" fmla="*/ 3968750 h 4429294"/>
                  <a:gd name="connsiteX34" fmla="*/ 547825 w 4456285"/>
                  <a:gd name="connsiteY34" fmla="*/ 3657600 h 4429294"/>
                  <a:gd name="connsiteX35" fmla="*/ 401775 w 4456285"/>
                  <a:gd name="connsiteY35" fmla="*/ 3470275 h 4429294"/>
                  <a:gd name="connsiteX36" fmla="*/ 271600 w 4456285"/>
                  <a:gd name="connsiteY36" fmla="*/ 3244850 h 4429294"/>
                  <a:gd name="connsiteX37" fmla="*/ 119200 w 4456285"/>
                  <a:gd name="connsiteY37" fmla="*/ 2892425 h 4429294"/>
                  <a:gd name="connsiteX38" fmla="*/ 11250 w 4456285"/>
                  <a:gd name="connsiteY38" fmla="*/ 2368550 h 4429294"/>
                  <a:gd name="connsiteX39" fmla="*/ 17600 w 4456285"/>
                  <a:gd name="connsiteY39" fmla="*/ 1870075 h 4429294"/>
                  <a:gd name="connsiteX40" fmla="*/ 90625 w 4456285"/>
                  <a:gd name="connsiteY40" fmla="*/ 1419225 h 4429294"/>
                  <a:gd name="connsiteX41" fmla="*/ 166825 w 4456285"/>
                  <a:gd name="connsiteY41" fmla="*/ 1276350 h 4429294"/>
                  <a:gd name="connsiteX42" fmla="*/ 252550 w 4456285"/>
                  <a:gd name="connsiteY42" fmla="*/ 1114425 h 4429294"/>
                  <a:gd name="connsiteX43" fmla="*/ 414475 w 4456285"/>
                  <a:gd name="connsiteY43" fmla="*/ 857250 h 4429294"/>
                  <a:gd name="connsiteX44" fmla="*/ 471625 w 4456285"/>
                  <a:gd name="connsiteY44" fmla="*/ 800100 h 4429294"/>
                  <a:gd name="connsiteX45" fmla="*/ 604975 w 4456285"/>
                  <a:gd name="connsiteY45" fmla="*/ 676275 h 4429294"/>
                  <a:gd name="connsiteX46" fmla="*/ 824050 w 4456285"/>
                  <a:gd name="connsiteY46" fmla="*/ 504825 h 4429294"/>
                  <a:gd name="connsiteX47" fmla="*/ 1103450 w 4456285"/>
                  <a:gd name="connsiteY47" fmla="*/ 311150 h 4429294"/>
                  <a:gd name="connsiteX48" fmla="*/ 1462225 w 4456285"/>
                  <a:gd name="connsiteY48" fmla="*/ 152400 h 4429294"/>
                  <a:gd name="connsiteX49" fmla="*/ 1576525 w 4456285"/>
                  <a:gd name="connsiteY49" fmla="*/ 111125 h 4429294"/>
                  <a:gd name="connsiteX50" fmla="*/ 2208350 w 4456285"/>
                  <a:gd name="connsiteY50" fmla="*/ 12700 h 4429294"/>
                  <a:gd name="connsiteX0" fmla="*/ 2237540 w 4460075"/>
                  <a:gd name="connsiteY0" fmla="*/ 0 h 4429294"/>
                  <a:gd name="connsiteX1" fmla="*/ 2561390 w 4460075"/>
                  <a:gd name="connsiteY1" fmla="*/ 15875 h 4429294"/>
                  <a:gd name="connsiteX2" fmla="*/ 2856665 w 4460075"/>
                  <a:gd name="connsiteY2" fmla="*/ 85725 h 4429294"/>
                  <a:gd name="connsiteX3" fmla="*/ 3075740 w 4460075"/>
                  <a:gd name="connsiteY3" fmla="*/ 171450 h 4429294"/>
                  <a:gd name="connsiteX4" fmla="*/ 3180515 w 4460075"/>
                  <a:gd name="connsiteY4" fmla="*/ 228600 h 4429294"/>
                  <a:gd name="connsiteX5" fmla="*/ 3361490 w 4460075"/>
                  <a:gd name="connsiteY5" fmla="*/ 323850 h 4429294"/>
                  <a:gd name="connsiteX6" fmla="*/ 3752015 w 4460075"/>
                  <a:gd name="connsiteY6" fmla="*/ 581025 h 4429294"/>
                  <a:gd name="connsiteX7" fmla="*/ 3967915 w 4460075"/>
                  <a:gd name="connsiteY7" fmla="*/ 819150 h 4429294"/>
                  <a:gd name="connsiteX8" fmla="*/ 4104440 w 4460075"/>
                  <a:gd name="connsiteY8" fmla="*/ 990600 h 4429294"/>
                  <a:gd name="connsiteX9" fmla="*/ 4190165 w 4460075"/>
                  <a:gd name="connsiteY9" fmla="*/ 1143000 h 4429294"/>
                  <a:gd name="connsiteX10" fmla="*/ 4247315 w 4460075"/>
                  <a:gd name="connsiteY10" fmla="*/ 1266825 h 4429294"/>
                  <a:gd name="connsiteX11" fmla="*/ 4285415 w 4460075"/>
                  <a:gd name="connsiteY11" fmla="*/ 1362075 h 4429294"/>
                  <a:gd name="connsiteX12" fmla="*/ 4333040 w 4460075"/>
                  <a:gd name="connsiteY12" fmla="*/ 1552575 h 4429294"/>
                  <a:gd name="connsiteX13" fmla="*/ 4371140 w 4460075"/>
                  <a:gd name="connsiteY13" fmla="*/ 1685925 h 4429294"/>
                  <a:gd name="connsiteX14" fmla="*/ 4460040 w 4460075"/>
                  <a:gd name="connsiteY14" fmla="*/ 2181225 h 4429294"/>
                  <a:gd name="connsiteX15" fmla="*/ 4387015 w 4460075"/>
                  <a:gd name="connsiteY15" fmla="*/ 2768600 h 4429294"/>
                  <a:gd name="connsiteX16" fmla="*/ 4323515 w 4460075"/>
                  <a:gd name="connsiteY16" fmla="*/ 2990850 h 4429294"/>
                  <a:gd name="connsiteX17" fmla="*/ 4218740 w 4460075"/>
                  <a:gd name="connsiteY17" fmla="*/ 3248025 h 4429294"/>
                  <a:gd name="connsiteX18" fmla="*/ 4123490 w 4460075"/>
                  <a:gd name="connsiteY18" fmla="*/ 3400425 h 4429294"/>
                  <a:gd name="connsiteX19" fmla="*/ 3999665 w 4460075"/>
                  <a:gd name="connsiteY19" fmla="*/ 3533775 h 4429294"/>
                  <a:gd name="connsiteX20" fmla="*/ 3894890 w 4460075"/>
                  <a:gd name="connsiteY20" fmla="*/ 3648075 h 4429294"/>
                  <a:gd name="connsiteX21" fmla="*/ 3599615 w 4460075"/>
                  <a:gd name="connsiteY21" fmla="*/ 3971925 h 4429294"/>
                  <a:gd name="connsiteX22" fmla="*/ 3456740 w 4460075"/>
                  <a:gd name="connsiteY22" fmla="*/ 4083050 h 4429294"/>
                  <a:gd name="connsiteX23" fmla="*/ 3161465 w 4460075"/>
                  <a:gd name="connsiteY23" fmla="*/ 4222750 h 4429294"/>
                  <a:gd name="connsiteX24" fmla="*/ 3009065 w 4460075"/>
                  <a:gd name="connsiteY24" fmla="*/ 4286250 h 4429294"/>
                  <a:gd name="connsiteX25" fmla="*/ 2875715 w 4460075"/>
                  <a:gd name="connsiteY25" fmla="*/ 4333875 h 4429294"/>
                  <a:gd name="connsiteX26" fmla="*/ 2751890 w 4460075"/>
                  <a:gd name="connsiteY26" fmla="*/ 4371975 h 4429294"/>
                  <a:gd name="connsiteX27" fmla="*/ 2520115 w 4460075"/>
                  <a:gd name="connsiteY27" fmla="*/ 4391025 h 4429294"/>
                  <a:gd name="connsiteX28" fmla="*/ 2066090 w 4460075"/>
                  <a:gd name="connsiteY28" fmla="*/ 4429125 h 4429294"/>
                  <a:gd name="connsiteX29" fmla="*/ 1875590 w 4460075"/>
                  <a:gd name="connsiteY29" fmla="*/ 4400550 h 4429294"/>
                  <a:gd name="connsiteX30" fmla="*/ 1513640 w 4460075"/>
                  <a:gd name="connsiteY30" fmla="*/ 4305300 h 4429294"/>
                  <a:gd name="connsiteX31" fmla="*/ 1272340 w 4460075"/>
                  <a:gd name="connsiteY31" fmla="*/ 4216400 h 4429294"/>
                  <a:gd name="connsiteX32" fmla="*/ 1104065 w 4460075"/>
                  <a:gd name="connsiteY32" fmla="*/ 4111625 h 4429294"/>
                  <a:gd name="connsiteX33" fmla="*/ 884990 w 4460075"/>
                  <a:gd name="connsiteY33" fmla="*/ 3968750 h 4429294"/>
                  <a:gd name="connsiteX34" fmla="*/ 551615 w 4460075"/>
                  <a:gd name="connsiteY34" fmla="*/ 3657600 h 4429294"/>
                  <a:gd name="connsiteX35" fmla="*/ 405565 w 4460075"/>
                  <a:gd name="connsiteY35" fmla="*/ 3470275 h 4429294"/>
                  <a:gd name="connsiteX36" fmla="*/ 275390 w 4460075"/>
                  <a:gd name="connsiteY36" fmla="*/ 3244850 h 4429294"/>
                  <a:gd name="connsiteX37" fmla="*/ 122990 w 4460075"/>
                  <a:gd name="connsiteY37" fmla="*/ 2892425 h 4429294"/>
                  <a:gd name="connsiteX38" fmla="*/ 15040 w 4460075"/>
                  <a:gd name="connsiteY38" fmla="*/ 2368550 h 4429294"/>
                  <a:gd name="connsiteX39" fmla="*/ 21390 w 4460075"/>
                  <a:gd name="connsiteY39" fmla="*/ 1870075 h 4429294"/>
                  <a:gd name="connsiteX40" fmla="*/ 170615 w 4460075"/>
                  <a:gd name="connsiteY40" fmla="*/ 1276350 h 4429294"/>
                  <a:gd name="connsiteX41" fmla="*/ 256340 w 4460075"/>
                  <a:gd name="connsiteY41" fmla="*/ 1114425 h 4429294"/>
                  <a:gd name="connsiteX42" fmla="*/ 418265 w 4460075"/>
                  <a:gd name="connsiteY42" fmla="*/ 857250 h 4429294"/>
                  <a:gd name="connsiteX43" fmla="*/ 475415 w 4460075"/>
                  <a:gd name="connsiteY43" fmla="*/ 800100 h 4429294"/>
                  <a:gd name="connsiteX44" fmla="*/ 608765 w 4460075"/>
                  <a:gd name="connsiteY44" fmla="*/ 676275 h 4429294"/>
                  <a:gd name="connsiteX45" fmla="*/ 827840 w 4460075"/>
                  <a:gd name="connsiteY45" fmla="*/ 504825 h 4429294"/>
                  <a:gd name="connsiteX46" fmla="*/ 1107240 w 4460075"/>
                  <a:gd name="connsiteY46" fmla="*/ 311150 h 4429294"/>
                  <a:gd name="connsiteX47" fmla="*/ 1466015 w 4460075"/>
                  <a:gd name="connsiteY47" fmla="*/ 152400 h 4429294"/>
                  <a:gd name="connsiteX48" fmla="*/ 1580315 w 4460075"/>
                  <a:gd name="connsiteY48" fmla="*/ 111125 h 4429294"/>
                  <a:gd name="connsiteX49" fmla="*/ 2212140 w 4460075"/>
                  <a:gd name="connsiteY49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57065 w 4460800"/>
                  <a:gd name="connsiteY41" fmla="*/ 1114425 h 4429294"/>
                  <a:gd name="connsiteX42" fmla="*/ 418990 w 4460800"/>
                  <a:gd name="connsiteY42" fmla="*/ 857250 h 4429294"/>
                  <a:gd name="connsiteX43" fmla="*/ 476140 w 4460800"/>
                  <a:gd name="connsiteY43" fmla="*/ 800100 h 4429294"/>
                  <a:gd name="connsiteX44" fmla="*/ 609490 w 4460800"/>
                  <a:gd name="connsiteY44" fmla="*/ 676275 h 4429294"/>
                  <a:gd name="connsiteX45" fmla="*/ 828565 w 4460800"/>
                  <a:gd name="connsiteY45" fmla="*/ 504825 h 4429294"/>
                  <a:gd name="connsiteX46" fmla="*/ 1107965 w 4460800"/>
                  <a:gd name="connsiteY46" fmla="*/ 311150 h 4429294"/>
                  <a:gd name="connsiteX47" fmla="*/ 1466740 w 4460800"/>
                  <a:gd name="connsiteY47" fmla="*/ 152400 h 4429294"/>
                  <a:gd name="connsiteX48" fmla="*/ 1581040 w 4460800"/>
                  <a:gd name="connsiteY48" fmla="*/ 111125 h 4429294"/>
                  <a:gd name="connsiteX49" fmla="*/ 2212865 w 4460800"/>
                  <a:gd name="connsiteY49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418990 w 4460800"/>
                  <a:gd name="connsiteY42" fmla="*/ 857250 h 4429294"/>
                  <a:gd name="connsiteX43" fmla="*/ 476140 w 4460800"/>
                  <a:gd name="connsiteY43" fmla="*/ 800100 h 4429294"/>
                  <a:gd name="connsiteX44" fmla="*/ 609490 w 4460800"/>
                  <a:gd name="connsiteY44" fmla="*/ 676275 h 4429294"/>
                  <a:gd name="connsiteX45" fmla="*/ 828565 w 4460800"/>
                  <a:gd name="connsiteY45" fmla="*/ 504825 h 4429294"/>
                  <a:gd name="connsiteX46" fmla="*/ 1107965 w 4460800"/>
                  <a:gd name="connsiteY46" fmla="*/ 311150 h 4429294"/>
                  <a:gd name="connsiteX47" fmla="*/ 1466740 w 4460800"/>
                  <a:gd name="connsiteY47" fmla="*/ 152400 h 4429294"/>
                  <a:gd name="connsiteX48" fmla="*/ 1581040 w 4460800"/>
                  <a:gd name="connsiteY48" fmla="*/ 111125 h 4429294"/>
                  <a:gd name="connsiteX49" fmla="*/ 2212865 w 4460800"/>
                  <a:gd name="connsiteY49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476140 w 4460800"/>
                  <a:gd name="connsiteY42" fmla="*/ 800100 h 4429294"/>
                  <a:gd name="connsiteX43" fmla="*/ 609490 w 4460800"/>
                  <a:gd name="connsiteY43" fmla="*/ 676275 h 4429294"/>
                  <a:gd name="connsiteX44" fmla="*/ 828565 w 4460800"/>
                  <a:gd name="connsiteY44" fmla="*/ 504825 h 4429294"/>
                  <a:gd name="connsiteX45" fmla="*/ 1107965 w 4460800"/>
                  <a:gd name="connsiteY45" fmla="*/ 311150 h 4429294"/>
                  <a:gd name="connsiteX46" fmla="*/ 1466740 w 4460800"/>
                  <a:gd name="connsiteY46" fmla="*/ 152400 h 4429294"/>
                  <a:gd name="connsiteX47" fmla="*/ 1581040 w 4460800"/>
                  <a:gd name="connsiteY47" fmla="*/ 111125 h 4429294"/>
                  <a:gd name="connsiteX48" fmla="*/ 2212865 w 4460800"/>
                  <a:gd name="connsiteY48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609490 w 4460800"/>
                  <a:gd name="connsiteY42" fmla="*/ 676275 h 4429294"/>
                  <a:gd name="connsiteX43" fmla="*/ 828565 w 4460800"/>
                  <a:gd name="connsiteY43" fmla="*/ 504825 h 4429294"/>
                  <a:gd name="connsiteX44" fmla="*/ 1107965 w 4460800"/>
                  <a:gd name="connsiteY44" fmla="*/ 311150 h 4429294"/>
                  <a:gd name="connsiteX45" fmla="*/ 1466740 w 4460800"/>
                  <a:gd name="connsiteY45" fmla="*/ 152400 h 4429294"/>
                  <a:gd name="connsiteX46" fmla="*/ 1581040 w 4460800"/>
                  <a:gd name="connsiteY46" fmla="*/ 111125 h 4429294"/>
                  <a:gd name="connsiteX47" fmla="*/ 2212865 w 4460800"/>
                  <a:gd name="connsiteY47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609490 w 4460800"/>
                  <a:gd name="connsiteY42" fmla="*/ 676275 h 4429294"/>
                  <a:gd name="connsiteX43" fmla="*/ 828565 w 4460800"/>
                  <a:gd name="connsiteY43" fmla="*/ 504825 h 4429294"/>
                  <a:gd name="connsiteX44" fmla="*/ 1107965 w 4460800"/>
                  <a:gd name="connsiteY44" fmla="*/ 311150 h 4429294"/>
                  <a:gd name="connsiteX45" fmla="*/ 1466740 w 4460800"/>
                  <a:gd name="connsiteY45" fmla="*/ 152400 h 4429294"/>
                  <a:gd name="connsiteX46" fmla="*/ 1581040 w 4460800"/>
                  <a:gd name="connsiteY46" fmla="*/ 111125 h 4429294"/>
                  <a:gd name="connsiteX47" fmla="*/ 2212865 w 4460800"/>
                  <a:gd name="connsiteY47" fmla="*/ 12700 h 4429294"/>
                  <a:gd name="connsiteX48" fmla="*/ 2238265 w 4460800"/>
                  <a:gd name="connsiteY48" fmla="*/ 0 h 4429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4460800" h="4429294">
                    <a:moveTo>
                      <a:pt x="2238265" y="0"/>
                    </a:moveTo>
                    <a:cubicBezTo>
                      <a:pt x="2346215" y="5292"/>
                      <a:pt x="2458928" y="1588"/>
                      <a:pt x="2562115" y="15875"/>
                    </a:cubicBezTo>
                    <a:cubicBezTo>
                      <a:pt x="2665302" y="30162"/>
                      <a:pt x="2798653" y="69321"/>
                      <a:pt x="2857390" y="85725"/>
                    </a:cubicBezTo>
                    <a:cubicBezTo>
                      <a:pt x="2943115" y="111654"/>
                      <a:pt x="3033603" y="153988"/>
                      <a:pt x="3076465" y="171450"/>
                    </a:cubicBezTo>
                    <a:cubicBezTo>
                      <a:pt x="3130440" y="195262"/>
                      <a:pt x="3133615" y="203200"/>
                      <a:pt x="3181240" y="228600"/>
                    </a:cubicBezTo>
                    <a:cubicBezTo>
                      <a:pt x="3228865" y="254000"/>
                      <a:pt x="3266965" y="265113"/>
                      <a:pt x="3362215" y="323850"/>
                    </a:cubicBezTo>
                    <a:cubicBezTo>
                      <a:pt x="3457465" y="382588"/>
                      <a:pt x="3651669" y="498475"/>
                      <a:pt x="3752740" y="581025"/>
                    </a:cubicBezTo>
                    <a:cubicBezTo>
                      <a:pt x="3853811" y="663575"/>
                      <a:pt x="3909903" y="750888"/>
                      <a:pt x="3968640" y="819150"/>
                    </a:cubicBezTo>
                    <a:cubicBezTo>
                      <a:pt x="4027378" y="887413"/>
                      <a:pt x="4068123" y="936625"/>
                      <a:pt x="4105165" y="990600"/>
                    </a:cubicBezTo>
                    <a:cubicBezTo>
                      <a:pt x="4142207" y="1044575"/>
                      <a:pt x="4175015" y="1109663"/>
                      <a:pt x="4190890" y="1143000"/>
                    </a:cubicBezTo>
                    <a:cubicBezTo>
                      <a:pt x="4214703" y="1189038"/>
                      <a:pt x="4232165" y="1230313"/>
                      <a:pt x="4248040" y="1266825"/>
                    </a:cubicBezTo>
                    <a:cubicBezTo>
                      <a:pt x="4263915" y="1303338"/>
                      <a:pt x="4271853" y="1314450"/>
                      <a:pt x="4286140" y="1362075"/>
                    </a:cubicBezTo>
                    <a:cubicBezTo>
                      <a:pt x="4300427" y="1409700"/>
                      <a:pt x="4319478" y="1498600"/>
                      <a:pt x="4333765" y="1552575"/>
                    </a:cubicBezTo>
                    <a:cubicBezTo>
                      <a:pt x="4348053" y="1606550"/>
                      <a:pt x="4350698" y="1581150"/>
                      <a:pt x="4371865" y="1685925"/>
                    </a:cubicBezTo>
                    <a:cubicBezTo>
                      <a:pt x="4393032" y="1790700"/>
                      <a:pt x="4459178" y="1982788"/>
                      <a:pt x="4460765" y="2181225"/>
                    </a:cubicBezTo>
                    <a:cubicBezTo>
                      <a:pt x="4462352" y="2379662"/>
                      <a:pt x="4410494" y="2633663"/>
                      <a:pt x="4387740" y="2768600"/>
                    </a:cubicBezTo>
                    <a:cubicBezTo>
                      <a:pt x="4364986" y="2903537"/>
                      <a:pt x="4352286" y="2910946"/>
                      <a:pt x="4324240" y="2990850"/>
                    </a:cubicBezTo>
                    <a:cubicBezTo>
                      <a:pt x="4296194" y="3070754"/>
                      <a:pt x="4252802" y="3179763"/>
                      <a:pt x="4219465" y="3248025"/>
                    </a:cubicBezTo>
                    <a:cubicBezTo>
                      <a:pt x="4186128" y="3316287"/>
                      <a:pt x="4160728" y="3352800"/>
                      <a:pt x="4124215" y="3400425"/>
                    </a:cubicBezTo>
                    <a:cubicBezTo>
                      <a:pt x="4087703" y="3448050"/>
                      <a:pt x="4038490" y="3492500"/>
                      <a:pt x="4000390" y="3533775"/>
                    </a:cubicBezTo>
                    <a:lnTo>
                      <a:pt x="3895615" y="3648075"/>
                    </a:lnTo>
                    <a:cubicBezTo>
                      <a:pt x="3797190" y="3756025"/>
                      <a:pt x="3673365" y="3899429"/>
                      <a:pt x="3600340" y="3971925"/>
                    </a:cubicBezTo>
                    <a:cubicBezTo>
                      <a:pt x="3527315" y="4044421"/>
                      <a:pt x="3530490" y="4041246"/>
                      <a:pt x="3457465" y="4083050"/>
                    </a:cubicBezTo>
                    <a:cubicBezTo>
                      <a:pt x="3384440" y="4124854"/>
                      <a:pt x="3236802" y="4188883"/>
                      <a:pt x="3162190" y="4222750"/>
                    </a:cubicBezTo>
                    <a:cubicBezTo>
                      <a:pt x="3087578" y="4256617"/>
                      <a:pt x="3038173" y="4283885"/>
                      <a:pt x="3009790" y="4286250"/>
                    </a:cubicBezTo>
                    <a:cubicBezTo>
                      <a:pt x="2947977" y="4310975"/>
                      <a:pt x="2954113" y="4309602"/>
                      <a:pt x="2876440" y="4333875"/>
                    </a:cubicBezTo>
                    <a:cubicBezTo>
                      <a:pt x="2853306" y="4341104"/>
                      <a:pt x="2811882" y="4362450"/>
                      <a:pt x="2752615" y="4371975"/>
                    </a:cubicBezTo>
                    <a:cubicBezTo>
                      <a:pt x="2693348" y="4381500"/>
                      <a:pt x="2635140" y="4381500"/>
                      <a:pt x="2520840" y="4391025"/>
                    </a:cubicBezTo>
                    <a:cubicBezTo>
                      <a:pt x="2406540" y="4400550"/>
                      <a:pt x="2174236" y="4427538"/>
                      <a:pt x="2066815" y="4429125"/>
                    </a:cubicBezTo>
                    <a:cubicBezTo>
                      <a:pt x="1959394" y="4430712"/>
                      <a:pt x="1968390" y="4421187"/>
                      <a:pt x="1876315" y="4400550"/>
                    </a:cubicBezTo>
                    <a:cubicBezTo>
                      <a:pt x="1784240" y="4379913"/>
                      <a:pt x="1614907" y="4335992"/>
                      <a:pt x="1514365" y="4305300"/>
                    </a:cubicBezTo>
                    <a:cubicBezTo>
                      <a:pt x="1413823" y="4274608"/>
                      <a:pt x="1353498" y="4246033"/>
                      <a:pt x="1273065" y="4216400"/>
                    </a:cubicBezTo>
                    <a:cubicBezTo>
                      <a:pt x="1206390" y="4187825"/>
                      <a:pt x="1169348" y="4152900"/>
                      <a:pt x="1104790" y="4111625"/>
                    </a:cubicBezTo>
                    <a:cubicBezTo>
                      <a:pt x="1040232" y="4070350"/>
                      <a:pt x="977790" y="4044421"/>
                      <a:pt x="885715" y="3968750"/>
                    </a:cubicBezTo>
                    <a:cubicBezTo>
                      <a:pt x="793640" y="3893079"/>
                      <a:pt x="632244" y="3740679"/>
                      <a:pt x="552340" y="3657600"/>
                    </a:cubicBezTo>
                    <a:cubicBezTo>
                      <a:pt x="472436" y="3574521"/>
                      <a:pt x="452327" y="3539067"/>
                      <a:pt x="406290" y="3470275"/>
                    </a:cubicBezTo>
                    <a:cubicBezTo>
                      <a:pt x="360253" y="3401483"/>
                      <a:pt x="323211" y="3341158"/>
                      <a:pt x="276115" y="3244850"/>
                    </a:cubicBezTo>
                    <a:cubicBezTo>
                      <a:pt x="229019" y="3148542"/>
                      <a:pt x="167107" y="3038475"/>
                      <a:pt x="123715" y="2892425"/>
                    </a:cubicBezTo>
                    <a:cubicBezTo>
                      <a:pt x="80323" y="2746375"/>
                      <a:pt x="37990" y="2553758"/>
                      <a:pt x="15765" y="2368550"/>
                    </a:cubicBezTo>
                    <a:cubicBezTo>
                      <a:pt x="-6460" y="2183342"/>
                      <a:pt x="-5931" y="2044700"/>
                      <a:pt x="22115" y="1870075"/>
                    </a:cubicBezTo>
                    <a:cubicBezTo>
                      <a:pt x="50161" y="1695450"/>
                      <a:pt x="139590" y="1446742"/>
                      <a:pt x="184040" y="1320800"/>
                    </a:cubicBezTo>
                    <a:cubicBezTo>
                      <a:pt x="228490" y="1194858"/>
                      <a:pt x="217907" y="1221846"/>
                      <a:pt x="288815" y="1114425"/>
                    </a:cubicBezTo>
                    <a:cubicBezTo>
                      <a:pt x="359723" y="1007004"/>
                      <a:pt x="519532" y="777875"/>
                      <a:pt x="609490" y="676275"/>
                    </a:cubicBezTo>
                    <a:cubicBezTo>
                      <a:pt x="699448" y="574675"/>
                      <a:pt x="745486" y="565679"/>
                      <a:pt x="828565" y="504825"/>
                    </a:cubicBezTo>
                    <a:cubicBezTo>
                      <a:pt x="911644" y="443971"/>
                      <a:pt x="997898" y="379942"/>
                      <a:pt x="1107965" y="311150"/>
                    </a:cubicBezTo>
                    <a:cubicBezTo>
                      <a:pt x="1214328" y="252413"/>
                      <a:pt x="1387894" y="185737"/>
                      <a:pt x="1466740" y="152400"/>
                    </a:cubicBezTo>
                    <a:cubicBezTo>
                      <a:pt x="1545586" y="119063"/>
                      <a:pt x="1456686" y="134408"/>
                      <a:pt x="1581040" y="111125"/>
                    </a:cubicBezTo>
                    <a:cubicBezTo>
                      <a:pt x="1810698" y="67733"/>
                      <a:pt x="1945107" y="-7408"/>
                      <a:pt x="2212865" y="12700"/>
                    </a:cubicBezTo>
                    <a:lnTo>
                      <a:pt x="2238265" y="0"/>
                    </a:ln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BA9823A6-E118-9B67-6339-7434892D6710}"/>
                  </a:ext>
                </a:extLst>
              </p:cNvPr>
              <p:cNvSpPr/>
              <p:nvPr/>
            </p:nvSpPr>
            <p:spPr>
              <a:xfrm>
                <a:off x="5166252" y="2199397"/>
                <a:ext cx="3443968" cy="3419644"/>
              </a:xfrm>
              <a:custGeom>
                <a:avLst/>
                <a:gdLst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944902 w 4469152"/>
                  <a:gd name="connsiteY150" fmla="*/ 476250 h 4496940"/>
                  <a:gd name="connsiteX151" fmla="*/ 1087777 w 4469152"/>
                  <a:gd name="connsiteY151" fmla="*/ 409575 h 4496940"/>
                  <a:gd name="connsiteX152" fmla="*/ 1202077 w 4469152"/>
                  <a:gd name="connsiteY152" fmla="*/ 314325 h 4496940"/>
                  <a:gd name="connsiteX153" fmla="*/ 1268752 w 4469152"/>
                  <a:gd name="connsiteY153" fmla="*/ 285750 h 4496940"/>
                  <a:gd name="connsiteX154" fmla="*/ 1411627 w 4469152"/>
                  <a:gd name="connsiteY154" fmla="*/ 190500 h 4496940"/>
                  <a:gd name="connsiteX155" fmla="*/ 1449727 w 4469152"/>
                  <a:gd name="connsiteY155" fmla="*/ 161925 h 4496940"/>
                  <a:gd name="connsiteX156" fmla="*/ 1525927 w 4469152"/>
                  <a:gd name="connsiteY156" fmla="*/ 152400 h 4496940"/>
                  <a:gd name="connsiteX157" fmla="*/ 1583077 w 4469152"/>
                  <a:gd name="connsiteY157" fmla="*/ 142875 h 4496940"/>
                  <a:gd name="connsiteX158" fmla="*/ 1716427 w 4469152"/>
                  <a:gd name="connsiteY158" fmla="*/ 123825 h 4496940"/>
                  <a:gd name="connsiteX159" fmla="*/ 1811677 w 4469152"/>
                  <a:gd name="connsiteY159" fmla="*/ 114300 h 4496940"/>
                  <a:gd name="connsiteX160" fmla="*/ 1859302 w 4469152"/>
                  <a:gd name="connsiteY160" fmla="*/ 104775 h 4496940"/>
                  <a:gd name="connsiteX161" fmla="*/ 1916452 w 4469152"/>
                  <a:gd name="connsiteY161" fmla="*/ 95250 h 4496940"/>
                  <a:gd name="connsiteX162" fmla="*/ 2030752 w 4469152"/>
                  <a:gd name="connsiteY162" fmla="*/ 66675 h 4496940"/>
                  <a:gd name="connsiteX163" fmla="*/ 2097427 w 4469152"/>
                  <a:gd name="connsiteY163" fmla="*/ 47625 h 4496940"/>
                  <a:gd name="connsiteX164" fmla="*/ 2164102 w 4469152"/>
                  <a:gd name="connsiteY164" fmla="*/ 38100 h 4496940"/>
                  <a:gd name="connsiteX165" fmla="*/ 2392702 w 4469152"/>
                  <a:gd name="connsiteY165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087777 w 4469152"/>
                  <a:gd name="connsiteY150" fmla="*/ 409575 h 4496940"/>
                  <a:gd name="connsiteX151" fmla="*/ 1202077 w 4469152"/>
                  <a:gd name="connsiteY151" fmla="*/ 314325 h 4496940"/>
                  <a:gd name="connsiteX152" fmla="*/ 1268752 w 4469152"/>
                  <a:gd name="connsiteY152" fmla="*/ 285750 h 4496940"/>
                  <a:gd name="connsiteX153" fmla="*/ 1411627 w 4469152"/>
                  <a:gd name="connsiteY153" fmla="*/ 190500 h 4496940"/>
                  <a:gd name="connsiteX154" fmla="*/ 1449727 w 4469152"/>
                  <a:gd name="connsiteY154" fmla="*/ 161925 h 4496940"/>
                  <a:gd name="connsiteX155" fmla="*/ 1525927 w 4469152"/>
                  <a:gd name="connsiteY155" fmla="*/ 152400 h 4496940"/>
                  <a:gd name="connsiteX156" fmla="*/ 1583077 w 4469152"/>
                  <a:gd name="connsiteY156" fmla="*/ 142875 h 4496940"/>
                  <a:gd name="connsiteX157" fmla="*/ 1716427 w 4469152"/>
                  <a:gd name="connsiteY157" fmla="*/ 123825 h 4496940"/>
                  <a:gd name="connsiteX158" fmla="*/ 1811677 w 4469152"/>
                  <a:gd name="connsiteY158" fmla="*/ 114300 h 4496940"/>
                  <a:gd name="connsiteX159" fmla="*/ 1859302 w 4469152"/>
                  <a:gd name="connsiteY159" fmla="*/ 104775 h 4496940"/>
                  <a:gd name="connsiteX160" fmla="*/ 1916452 w 4469152"/>
                  <a:gd name="connsiteY160" fmla="*/ 95250 h 4496940"/>
                  <a:gd name="connsiteX161" fmla="*/ 2030752 w 4469152"/>
                  <a:gd name="connsiteY161" fmla="*/ 66675 h 4496940"/>
                  <a:gd name="connsiteX162" fmla="*/ 2097427 w 4469152"/>
                  <a:gd name="connsiteY162" fmla="*/ 47625 h 4496940"/>
                  <a:gd name="connsiteX163" fmla="*/ 2164102 w 4469152"/>
                  <a:gd name="connsiteY163" fmla="*/ 38100 h 4496940"/>
                  <a:gd name="connsiteX164" fmla="*/ 2392702 w 4469152"/>
                  <a:gd name="connsiteY164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202077 w 4469152"/>
                  <a:gd name="connsiteY150" fmla="*/ 314325 h 4496940"/>
                  <a:gd name="connsiteX151" fmla="*/ 1268752 w 4469152"/>
                  <a:gd name="connsiteY151" fmla="*/ 285750 h 4496940"/>
                  <a:gd name="connsiteX152" fmla="*/ 1411627 w 4469152"/>
                  <a:gd name="connsiteY152" fmla="*/ 190500 h 4496940"/>
                  <a:gd name="connsiteX153" fmla="*/ 1449727 w 4469152"/>
                  <a:gd name="connsiteY153" fmla="*/ 161925 h 4496940"/>
                  <a:gd name="connsiteX154" fmla="*/ 1525927 w 4469152"/>
                  <a:gd name="connsiteY154" fmla="*/ 152400 h 4496940"/>
                  <a:gd name="connsiteX155" fmla="*/ 1583077 w 4469152"/>
                  <a:gd name="connsiteY155" fmla="*/ 142875 h 4496940"/>
                  <a:gd name="connsiteX156" fmla="*/ 1716427 w 4469152"/>
                  <a:gd name="connsiteY156" fmla="*/ 123825 h 4496940"/>
                  <a:gd name="connsiteX157" fmla="*/ 1811677 w 4469152"/>
                  <a:gd name="connsiteY157" fmla="*/ 114300 h 4496940"/>
                  <a:gd name="connsiteX158" fmla="*/ 1859302 w 4469152"/>
                  <a:gd name="connsiteY158" fmla="*/ 104775 h 4496940"/>
                  <a:gd name="connsiteX159" fmla="*/ 1916452 w 4469152"/>
                  <a:gd name="connsiteY159" fmla="*/ 95250 h 4496940"/>
                  <a:gd name="connsiteX160" fmla="*/ 2030752 w 4469152"/>
                  <a:gd name="connsiteY160" fmla="*/ 66675 h 4496940"/>
                  <a:gd name="connsiteX161" fmla="*/ 2097427 w 4469152"/>
                  <a:gd name="connsiteY161" fmla="*/ 47625 h 4496940"/>
                  <a:gd name="connsiteX162" fmla="*/ 2164102 w 4469152"/>
                  <a:gd name="connsiteY162" fmla="*/ 38100 h 4496940"/>
                  <a:gd name="connsiteX163" fmla="*/ 2392702 w 4469152"/>
                  <a:gd name="connsiteY163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268752 w 4469152"/>
                  <a:gd name="connsiteY150" fmla="*/ 285750 h 4496940"/>
                  <a:gd name="connsiteX151" fmla="*/ 1411627 w 4469152"/>
                  <a:gd name="connsiteY151" fmla="*/ 190500 h 4496940"/>
                  <a:gd name="connsiteX152" fmla="*/ 1449727 w 4469152"/>
                  <a:gd name="connsiteY152" fmla="*/ 161925 h 4496940"/>
                  <a:gd name="connsiteX153" fmla="*/ 1525927 w 4469152"/>
                  <a:gd name="connsiteY153" fmla="*/ 152400 h 4496940"/>
                  <a:gd name="connsiteX154" fmla="*/ 1583077 w 4469152"/>
                  <a:gd name="connsiteY154" fmla="*/ 142875 h 4496940"/>
                  <a:gd name="connsiteX155" fmla="*/ 1716427 w 4469152"/>
                  <a:gd name="connsiteY155" fmla="*/ 123825 h 4496940"/>
                  <a:gd name="connsiteX156" fmla="*/ 1811677 w 4469152"/>
                  <a:gd name="connsiteY156" fmla="*/ 114300 h 4496940"/>
                  <a:gd name="connsiteX157" fmla="*/ 1859302 w 4469152"/>
                  <a:gd name="connsiteY157" fmla="*/ 104775 h 4496940"/>
                  <a:gd name="connsiteX158" fmla="*/ 1916452 w 4469152"/>
                  <a:gd name="connsiteY158" fmla="*/ 95250 h 4496940"/>
                  <a:gd name="connsiteX159" fmla="*/ 2030752 w 4469152"/>
                  <a:gd name="connsiteY159" fmla="*/ 66675 h 4496940"/>
                  <a:gd name="connsiteX160" fmla="*/ 2097427 w 4469152"/>
                  <a:gd name="connsiteY160" fmla="*/ 47625 h 4496940"/>
                  <a:gd name="connsiteX161" fmla="*/ 2164102 w 4469152"/>
                  <a:gd name="connsiteY161" fmla="*/ 38100 h 4496940"/>
                  <a:gd name="connsiteX162" fmla="*/ 2392702 w 4469152"/>
                  <a:gd name="connsiteY162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167152 w 4469152"/>
                  <a:gd name="connsiteY150" fmla="*/ 311150 h 4496940"/>
                  <a:gd name="connsiteX151" fmla="*/ 1268752 w 4469152"/>
                  <a:gd name="connsiteY151" fmla="*/ 285750 h 4496940"/>
                  <a:gd name="connsiteX152" fmla="*/ 1411627 w 4469152"/>
                  <a:gd name="connsiteY152" fmla="*/ 190500 h 4496940"/>
                  <a:gd name="connsiteX153" fmla="*/ 1449727 w 4469152"/>
                  <a:gd name="connsiteY153" fmla="*/ 161925 h 4496940"/>
                  <a:gd name="connsiteX154" fmla="*/ 1525927 w 4469152"/>
                  <a:gd name="connsiteY154" fmla="*/ 152400 h 4496940"/>
                  <a:gd name="connsiteX155" fmla="*/ 1583077 w 4469152"/>
                  <a:gd name="connsiteY155" fmla="*/ 142875 h 4496940"/>
                  <a:gd name="connsiteX156" fmla="*/ 1716427 w 4469152"/>
                  <a:gd name="connsiteY156" fmla="*/ 123825 h 4496940"/>
                  <a:gd name="connsiteX157" fmla="*/ 1811677 w 4469152"/>
                  <a:gd name="connsiteY157" fmla="*/ 114300 h 4496940"/>
                  <a:gd name="connsiteX158" fmla="*/ 1859302 w 4469152"/>
                  <a:gd name="connsiteY158" fmla="*/ 104775 h 4496940"/>
                  <a:gd name="connsiteX159" fmla="*/ 1916452 w 4469152"/>
                  <a:gd name="connsiteY159" fmla="*/ 95250 h 4496940"/>
                  <a:gd name="connsiteX160" fmla="*/ 2030752 w 4469152"/>
                  <a:gd name="connsiteY160" fmla="*/ 66675 h 4496940"/>
                  <a:gd name="connsiteX161" fmla="*/ 2097427 w 4469152"/>
                  <a:gd name="connsiteY161" fmla="*/ 47625 h 4496940"/>
                  <a:gd name="connsiteX162" fmla="*/ 2164102 w 4469152"/>
                  <a:gd name="connsiteY162" fmla="*/ 38100 h 4496940"/>
                  <a:gd name="connsiteX163" fmla="*/ 2392702 w 4469152"/>
                  <a:gd name="connsiteY163" fmla="*/ 28575 h 4496940"/>
                  <a:gd name="connsiteX0" fmla="*/ 2297452 w 4519952"/>
                  <a:gd name="connsiteY0" fmla="*/ 0 h 4496940"/>
                  <a:gd name="connsiteX1" fmla="*/ 2421277 w 4519952"/>
                  <a:gd name="connsiteY1" fmla="*/ 28575 h 4496940"/>
                  <a:gd name="connsiteX2" fmla="*/ 2497477 w 4519952"/>
                  <a:gd name="connsiteY2" fmla="*/ 47625 h 4496940"/>
                  <a:gd name="connsiteX3" fmla="*/ 2754652 w 4519952"/>
                  <a:gd name="connsiteY3" fmla="*/ 66675 h 4496940"/>
                  <a:gd name="connsiteX4" fmla="*/ 2830852 w 4519952"/>
                  <a:gd name="connsiteY4" fmla="*/ 76200 h 4496940"/>
                  <a:gd name="connsiteX5" fmla="*/ 2916577 w 4519952"/>
                  <a:gd name="connsiteY5" fmla="*/ 85725 h 4496940"/>
                  <a:gd name="connsiteX6" fmla="*/ 2973727 w 4519952"/>
                  <a:gd name="connsiteY6" fmla="*/ 114300 h 4496940"/>
                  <a:gd name="connsiteX7" fmla="*/ 3011827 w 4519952"/>
                  <a:gd name="connsiteY7" fmla="*/ 123825 h 4496940"/>
                  <a:gd name="connsiteX8" fmla="*/ 3135652 w 4519952"/>
                  <a:gd name="connsiteY8" fmla="*/ 171450 h 4496940"/>
                  <a:gd name="connsiteX9" fmla="*/ 3173752 w 4519952"/>
                  <a:gd name="connsiteY9" fmla="*/ 190500 h 4496940"/>
                  <a:gd name="connsiteX10" fmla="*/ 3240427 w 4519952"/>
                  <a:gd name="connsiteY10" fmla="*/ 228600 h 4496940"/>
                  <a:gd name="connsiteX11" fmla="*/ 3269002 w 4519952"/>
                  <a:gd name="connsiteY11" fmla="*/ 238125 h 4496940"/>
                  <a:gd name="connsiteX12" fmla="*/ 3297577 w 4519952"/>
                  <a:gd name="connsiteY12" fmla="*/ 257175 h 4496940"/>
                  <a:gd name="connsiteX13" fmla="*/ 3326152 w 4519952"/>
                  <a:gd name="connsiteY13" fmla="*/ 266700 h 4496940"/>
                  <a:gd name="connsiteX14" fmla="*/ 3354727 w 4519952"/>
                  <a:gd name="connsiteY14" fmla="*/ 285750 h 4496940"/>
                  <a:gd name="connsiteX15" fmla="*/ 3421402 w 4519952"/>
                  <a:gd name="connsiteY15" fmla="*/ 323850 h 4496940"/>
                  <a:gd name="connsiteX16" fmla="*/ 3469027 w 4519952"/>
                  <a:gd name="connsiteY16" fmla="*/ 361950 h 4496940"/>
                  <a:gd name="connsiteX17" fmla="*/ 3516652 w 4519952"/>
                  <a:gd name="connsiteY17" fmla="*/ 390525 h 4496940"/>
                  <a:gd name="connsiteX18" fmla="*/ 3545227 w 4519952"/>
                  <a:gd name="connsiteY18" fmla="*/ 419100 h 4496940"/>
                  <a:gd name="connsiteX19" fmla="*/ 3602377 w 4519952"/>
                  <a:gd name="connsiteY19" fmla="*/ 457200 h 4496940"/>
                  <a:gd name="connsiteX20" fmla="*/ 3630952 w 4519952"/>
                  <a:gd name="connsiteY20" fmla="*/ 485775 h 4496940"/>
                  <a:gd name="connsiteX21" fmla="*/ 3678577 w 4519952"/>
                  <a:gd name="connsiteY21" fmla="*/ 504825 h 4496940"/>
                  <a:gd name="connsiteX22" fmla="*/ 3745252 w 4519952"/>
                  <a:gd name="connsiteY22" fmla="*/ 542925 h 4496940"/>
                  <a:gd name="connsiteX23" fmla="*/ 3811927 w 4519952"/>
                  <a:gd name="connsiteY23" fmla="*/ 581025 h 4496940"/>
                  <a:gd name="connsiteX24" fmla="*/ 3840502 w 4519952"/>
                  <a:gd name="connsiteY24" fmla="*/ 600075 h 4496940"/>
                  <a:gd name="connsiteX25" fmla="*/ 3869077 w 4519952"/>
                  <a:gd name="connsiteY25" fmla="*/ 628650 h 4496940"/>
                  <a:gd name="connsiteX26" fmla="*/ 3907177 w 4519952"/>
                  <a:gd name="connsiteY26" fmla="*/ 647700 h 4496940"/>
                  <a:gd name="connsiteX27" fmla="*/ 3935752 w 4519952"/>
                  <a:gd name="connsiteY27" fmla="*/ 676275 h 4496940"/>
                  <a:gd name="connsiteX28" fmla="*/ 3992902 w 4519952"/>
                  <a:gd name="connsiteY28" fmla="*/ 714375 h 4496940"/>
                  <a:gd name="connsiteX29" fmla="*/ 4050052 w 4519952"/>
                  <a:gd name="connsiteY29" fmla="*/ 790575 h 4496940"/>
                  <a:gd name="connsiteX30" fmla="*/ 4078627 w 4519952"/>
                  <a:gd name="connsiteY30" fmla="*/ 838200 h 4496940"/>
                  <a:gd name="connsiteX31" fmla="*/ 4107202 w 4519952"/>
                  <a:gd name="connsiteY31" fmla="*/ 876300 h 4496940"/>
                  <a:gd name="connsiteX32" fmla="*/ 4116727 w 4519952"/>
                  <a:gd name="connsiteY32" fmla="*/ 904875 h 4496940"/>
                  <a:gd name="connsiteX33" fmla="*/ 4135777 w 4519952"/>
                  <a:gd name="connsiteY33" fmla="*/ 933450 h 4496940"/>
                  <a:gd name="connsiteX34" fmla="*/ 4164352 w 4519952"/>
                  <a:gd name="connsiteY34" fmla="*/ 990600 h 4496940"/>
                  <a:gd name="connsiteX35" fmla="*/ 4173877 w 4519952"/>
                  <a:gd name="connsiteY35" fmla="*/ 1019175 h 4496940"/>
                  <a:gd name="connsiteX36" fmla="*/ 4192927 w 4519952"/>
                  <a:gd name="connsiteY36" fmla="*/ 1057275 h 4496940"/>
                  <a:gd name="connsiteX37" fmla="*/ 4202452 w 4519952"/>
                  <a:gd name="connsiteY37" fmla="*/ 1085850 h 4496940"/>
                  <a:gd name="connsiteX38" fmla="*/ 4250077 w 4519952"/>
                  <a:gd name="connsiteY38" fmla="*/ 1143000 h 4496940"/>
                  <a:gd name="connsiteX39" fmla="*/ 4259602 w 4519952"/>
                  <a:gd name="connsiteY39" fmla="*/ 1190625 h 4496940"/>
                  <a:gd name="connsiteX40" fmla="*/ 4307227 w 4519952"/>
                  <a:gd name="connsiteY40" fmla="*/ 1266825 h 4496940"/>
                  <a:gd name="connsiteX41" fmla="*/ 4345327 w 4519952"/>
                  <a:gd name="connsiteY41" fmla="*/ 1362075 h 4496940"/>
                  <a:gd name="connsiteX42" fmla="*/ 4373902 w 4519952"/>
                  <a:gd name="connsiteY42" fmla="*/ 1428750 h 4496940"/>
                  <a:gd name="connsiteX43" fmla="*/ 4392952 w 4519952"/>
                  <a:gd name="connsiteY43" fmla="*/ 1552575 h 4496940"/>
                  <a:gd name="connsiteX44" fmla="*/ 4402477 w 4519952"/>
                  <a:gd name="connsiteY44" fmla="*/ 1590675 h 4496940"/>
                  <a:gd name="connsiteX45" fmla="*/ 4431052 w 4519952"/>
                  <a:gd name="connsiteY45" fmla="*/ 1685925 h 4496940"/>
                  <a:gd name="connsiteX46" fmla="*/ 4440577 w 4519952"/>
                  <a:gd name="connsiteY46" fmla="*/ 1762125 h 4496940"/>
                  <a:gd name="connsiteX47" fmla="*/ 4459627 w 4519952"/>
                  <a:gd name="connsiteY47" fmla="*/ 1828800 h 4496940"/>
                  <a:gd name="connsiteX48" fmla="*/ 4519952 w 4519952"/>
                  <a:gd name="connsiteY48" fmla="*/ 2181225 h 4496940"/>
                  <a:gd name="connsiteX49" fmla="*/ 4440577 w 4519952"/>
                  <a:gd name="connsiteY49" fmla="*/ 2876550 h 4496940"/>
                  <a:gd name="connsiteX50" fmla="*/ 4383427 w 4519952"/>
                  <a:gd name="connsiteY50" fmla="*/ 2990850 h 4496940"/>
                  <a:gd name="connsiteX51" fmla="*/ 4354852 w 4519952"/>
                  <a:gd name="connsiteY51" fmla="*/ 3057525 h 4496940"/>
                  <a:gd name="connsiteX52" fmla="*/ 4335802 w 4519952"/>
                  <a:gd name="connsiteY52" fmla="*/ 3095625 h 4496940"/>
                  <a:gd name="connsiteX53" fmla="*/ 4278652 w 4519952"/>
                  <a:gd name="connsiteY53" fmla="*/ 3248025 h 4496940"/>
                  <a:gd name="connsiteX54" fmla="*/ 4259602 w 4519952"/>
                  <a:gd name="connsiteY54" fmla="*/ 3276600 h 4496940"/>
                  <a:gd name="connsiteX55" fmla="*/ 4221502 w 4519952"/>
                  <a:gd name="connsiteY55" fmla="*/ 3333750 h 4496940"/>
                  <a:gd name="connsiteX56" fmla="*/ 4211977 w 4519952"/>
                  <a:gd name="connsiteY56" fmla="*/ 3362325 h 4496940"/>
                  <a:gd name="connsiteX57" fmla="*/ 4183402 w 4519952"/>
                  <a:gd name="connsiteY57" fmla="*/ 3400425 h 4496940"/>
                  <a:gd name="connsiteX58" fmla="*/ 4164352 w 4519952"/>
                  <a:gd name="connsiteY58" fmla="*/ 3429000 h 4496940"/>
                  <a:gd name="connsiteX59" fmla="*/ 4088152 w 4519952"/>
                  <a:gd name="connsiteY59" fmla="*/ 3495675 h 4496940"/>
                  <a:gd name="connsiteX60" fmla="*/ 4059577 w 4519952"/>
                  <a:gd name="connsiteY60" fmla="*/ 3533775 h 4496940"/>
                  <a:gd name="connsiteX61" fmla="*/ 4002427 w 4519952"/>
                  <a:gd name="connsiteY61" fmla="*/ 3600450 h 4496940"/>
                  <a:gd name="connsiteX62" fmla="*/ 3983377 w 4519952"/>
                  <a:gd name="connsiteY62" fmla="*/ 3629025 h 4496940"/>
                  <a:gd name="connsiteX63" fmla="*/ 3954802 w 4519952"/>
                  <a:gd name="connsiteY63" fmla="*/ 3648075 h 4496940"/>
                  <a:gd name="connsiteX64" fmla="*/ 3907177 w 4519952"/>
                  <a:gd name="connsiteY64" fmla="*/ 3686175 h 4496940"/>
                  <a:gd name="connsiteX65" fmla="*/ 3869077 w 4519952"/>
                  <a:gd name="connsiteY65" fmla="*/ 3724275 h 4496940"/>
                  <a:gd name="connsiteX66" fmla="*/ 3792877 w 4519952"/>
                  <a:gd name="connsiteY66" fmla="*/ 3781425 h 4496940"/>
                  <a:gd name="connsiteX67" fmla="*/ 3783352 w 4519952"/>
                  <a:gd name="connsiteY67" fmla="*/ 3810000 h 4496940"/>
                  <a:gd name="connsiteX68" fmla="*/ 3745252 w 4519952"/>
                  <a:gd name="connsiteY68" fmla="*/ 3819525 h 4496940"/>
                  <a:gd name="connsiteX69" fmla="*/ 3678577 w 4519952"/>
                  <a:gd name="connsiteY69" fmla="*/ 3848100 h 4496940"/>
                  <a:gd name="connsiteX70" fmla="*/ 3659527 w 4519952"/>
                  <a:gd name="connsiteY70" fmla="*/ 3971925 h 4496940"/>
                  <a:gd name="connsiteX71" fmla="*/ 3630952 w 4519952"/>
                  <a:gd name="connsiteY71" fmla="*/ 4010025 h 4496940"/>
                  <a:gd name="connsiteX72" fmla="*/ 3621427 w 4519952"/>
                  <a:gd name="connsiteY72" fmla="*/ 4038600 h 4496940"/>
                  <a:gd name="connsiteX73" fmla="*/ 3554752 w 4519952"/>
                  <a:gd name="connsiteY73" fmla="*/ 4095750 h 4496940"/>
                  <a:gd name="connsiteX74" fmla="*/ 3516652 w 4519952"/>
                  <a:gd name="connsiteY74" fmla="*/ 4114800 h 4496940"/>
                  <a:gd name="connsiteX75" fmla="*/ 3497602 w 4519952"/>
                  <a:gd name="connsiteY75" fmla="*/ 4143375 h 4496940"/>
                  <a:gd name="connsiteX76" fmla="*/ 3383302 w 4519952"/>
                  <a:gd name="connsiteY76" fmla="*/ 4210050 h 4496940"/>
                  <a:gd name="connsiteX77" fmla="*/ 3335677 w 4519952"/>
                  <a:gd name="connsiteY77" fmla="*/ 4238625 h 4496940"/>
                  <a:gd name="connsiteX78" fmla="*/ 3288052 w 4519952"/>
                  <a:gd name="connsiteY78" fmla="*/ 4248150 h 4496940"/>
                  <a:gd name="connsiteX79" fmla="*/ 3240427 w 4519952"/>
                  <a:gd name="connsiteY79" fmla="*/ 4267200 h 4496940"/>
                  <a:gd name="connsiteX80" fmla="*/ 3068977 w 4519952"/>
                  <a:gd name="connsiteY80" fmla="*/ 4286250 h 4496940"/>
                  <a:gd name="connsiteX81" fmla="*/ 2935627 w 4519952"/>
                  <a:gd name="connsiteY81" fmla="*/ 4333875 h 4496940"/>
                  <a:gd name="connsiteX82" fmla="*/ 2811802 w 4519952"/>
                  <a:gd name="connsiteY82" fmla="*/ 4371975 h 4496940"/>
                  <a:gd name="connsiteX83" fmla="*/ 2745127 w 4519952"/>
                  <a:gd name="connsiteY83" fmla="*/ 4410075 h 4496940"/>
                  <a:gd name="connsiteX84" fmla="*/ 2697502 w 4519952"/>
                  <a:gd name="connsiteY84" fmla="*/ 4429125 h 4496940"/>
                  <a:gd name="connsiteX85" fmla="*/ 2640352 w 4519952"/>
                  <a:gd name="connsiteY85" fmla="*/ 4457700 h 4496940"/>
                  <a:gd name="connsiteX86" fmla="*/ 2583202 w 4519952"/>
                  <a:gd name="connsiteY86" fmla="*/ 4467225 h 4496940"/>
                  <a:gd name="connsiteX87" fmla="*/ 2545102 w 4519952"/>
                  <a:gd name="connsiteY87" fmla="*/ 4486275 h 4496940"/>
                  <a:gd name="connsiteX88" fmla="*/ 2306977 w 4519952"/>
                  <a:gd name="connsiteY88" fmla="*/ 4476750 h 4496940"/>
                  <a:gd name="connsiteX89" fmla="*/ 2202202 w 4519952"/>
                  <a:gd name="connsiteY89" fmla="*/ 4457700 h 4496940"/>
                  <a:gd name="connsiteX90" fmla="*/ 2126002 w 4519952"/>
                  <a:gd name="connsiteY90" fmla="*/ 4429125 h 4496940"/>
                  <a:gd name="connsiteX91" fmla="*/ 1935502 w 4519952"/>
                  <a:gd name="connsiteY91" fmla="*/ 4400550 h 4496940"/>
                  <a:gd name="connsiteX92" fmla="*/ 1821202 w 4519952"/>
                  <a:gd name="connsiteY92" fmla="*/ 4371975 h 4496940"/>
                  <a:gd name="connsiteX93" fmla="*/ 1754527 w 4519952"/>
                  <a:gd name="connsiteY93" fmla="*/ 4352925 h 4496940"/>
                  <a:gd name="connsiteX94" fmla="*/ 1687852 w 4519952"/>
                  <a:gd name="connsiteY94" fmla="*/ 4343400 h 4496940"/>
                  <a:gd name="connsiteX95" fmla="*/ 1573552 w 4519952"/>
                  <a:gd name="connsiteY95" fmla="*/ 4305300 h 4496940"/>
                  <a:gd name="connsiteX96" fmla="*/ 1402102 w 4519952"/>
                  <a:gd name="connsiteY96" fmla="*/ 4276725 h 4496940"/>
                  <a:gd name="connsiteX97" fmla="*/ 1287802 w 4519952"/>
                  <a:gd name="connsiteY97" fmla="*/ 4229100 h 4496940"/>
                  <a:gd name="connsiteX98" fmla="*/ 1221127 w 4519952"/>
                  <a:gd name="connsiteY98" fmla="*/ 4200525 h 4496940"/>
                  <a:gd name="connsiteX99" fmla="*/ 1144927 w 4519952"/>
                  <a:gd name="connsiteY99" fmla="*/ 4171950 h 4496940"/>
                  <a:gd name="connsiteX100" fmla="*/ 1087777 w 4519952"/>
                  <a:gd name="connsiteY100" fmla="*/ 4143375 h 4496940"/>
                  <a:gd name="connsiteX101" fmla="*/ 1030627 w 4519952"/>
                  <a:gd name="connsiteY101" fmla="*/ 4124325 h 4496940"/>
                  <a:gd name="connsiteX102" fmla="*/ 925852 w 4519952"/>
                  <a:gd name="connsiteY102" fmla="*/ 4067175 h 4496940"/>
                  <a:gd name="connsiteX103" fmla="*/ 830602 w 4519952"/>
                  <a:gd name="connsiteY103" fmla="*/ 3981450 h 4496940"/>
                  <a:gd name="connsiteX104" fmla="*/ 763927 w 4519952"/>
                  <a:gd name="connsiteY104" fmla="*/ 3914775 h 4496940"/>
                  <a:gd name="connsiteX105" fmla="*/ 725827 w 4519952"/>
                  <a:gd name="connsiteY105" fmla="*/ 3876675 h 4496940"/>
                  <a:gd name="connsiteX106" fmla="*/ 697252 w 4519952"/>
                  <a:gd name="connsiteY106" fmla="*/ 3838575 h 4496940"/>
                  <a:gd name="connsiteX107" fmla="*/ 640102 w 4519952"/>
                  <a:gd name="connsiteY107" fmla="*/ 3781425 h 4496940"/>
                  <a:gd name="connsiteX108" fmla="*/ 611527 w 4519952"/>
                  <a:gd name="connsiteY108" fmla="*/ 3733800 h 4496940"/>
                  <a:gd name="connsiteX109" fmla="*/ 554377 w 4519952"/>
                  <a:gd name="connsiteY109" fmla="*/ 3657600 h 4496940"/>
                  <a:gd name="connsiteX110" fmla="*/ 525802 w 4519952"/>
                  <a:gd name="connsiteY110" fmla="*/ 3609975 h 4496940"/>
                  <a:gd name="connsiteX111" fmla="*/ 497227 w 4519952"/>
                  <a:gd name="connsiteY111" fmla="*/ 3552825 h 4496940"/>
                  <a:gd name="connsiteX112" fmla="*/ 440077 w 4519952"/>
                  <a:gd name="connsiteY112" fmla="*/ 3495675 h 4496940"/>
                  <a:gd name="connsiteX113" fmla="*/ 411502 w 4519952"/>
                  <a:gd name="connsiteY113" fmla="*/ 3448050 h 4496940"/>
                  <a:gd name="connsiteX114" fmla="*/ 278152 w 4519952"/>
                  <a:gd name="connsiteY114" fmla="*/ 3257550 h 4496940"/>
                  <a:gd name="connsiteX115" fmla="*/ 249577 w 4519952"/>
                  <a:gd name="connsiteY115" fmla="*/ 3200400 h 4496940"/>
                  <a:gd name="connsiteX116" fmla="*/ 240052 w 4519952"/>
                  <a:gd name="connsiteY116" fmla="*/ 3162300 h 4496940"/>
                  <a:gd name="connsiteX117" fmla="*/ 221002 w 4519952"/>
                  <a:gd name="connsiteY117" fmla="*/ 3105150 h 4496940"/>
                  <a:gd name="connsiteX118" fmla="*/ 173377 w 4519952"/>
                  <a:gd name="connsiteY118" fmla="*/ 3019425 h 4496940"/>
                  <a:gd name="connsiteX119" fmla="*/ 144802 w 4519952"/>
                  <a:gd name="connsiteY119" fmla="*/ 2924175 h 4496940"/>
                  <a:gd name="connsiteX120" fmla="*/ 68602 w 4519952"/>
                  <a:gd name="connsiteY120" fmla="*/ 2724150 h 4496940"/>
                  <a:gd name="connsiteX121" fmla="*/ 49552 w 4519952"/>
                  <a:gd name="connsiteY121" fmla="*/ 2638425 h 4496940"/>
                  <a:gd name="connsiteX122" fmla="*/ 40027 w 4519952"/>
                  <a:gd name="connsiteY122" fmla="*/ 2562225 h 4496940"/>
                  <a:gd name="connsiteX123" fmla="*/ 30502 w 4519952"/>
                  <a:gd name="connsiteY123" fmla="*/ 2514600 h 4496940"/>
                  <a:gd name="connsiteX124" fmla="*/ 11452 w 4519952"/>
                  <a:gd name="connsiteY124" fmla="*/ 2400300 h 4496940"/>
                  <a:gd name="connsiteX125" fmla="*/ 20977 w 4519952"/>
                  <a:gd name="connsiteY125" fmla="*/ 1905000 h 4496940"/>
                  <a:gd name="connsiteX126" fmla="*/ 30502 w 4519952"/>
                  <a:gd name="connsiteY126" fmla="*/ 1838325 h 4496940"/>
                  <a:gd name="connsiteX127" fmla="*/ 49552 w 4519952"/>
                  <a:gd name="connsiteY127" fmla="*/ 1781175 h 4496940"/>
                  <a:gd name="connsiteX128" fmla="*/ 59077 w 4519952"/>
                  <a:gd name="connsiteY128" fmla="*/ 1743075 h 4496940"/>
                  <a:gd name="connsiteX129" fmla="*/ 78127 w 4519952"/>
                  <a:gd name="connsiteY129" fmla="*/ 1685925 h 4496940"/>
                  <a:gd name="connsiteX130" fmla="*/ 87652 w 4519952"/>
                  <a:gd name="connsiteY130" fmla="*/ 1638300 h 4496940"/>
                  <a:gd name="connsiteX131" fmla="*/ 106702 w 4519952"/>
                  <a:gd name="connsiteY131" fmla="*/ 1590675 h 4496940"/>
                  <a:gd name="connsiteX132" fmla="*/ 135277 w 4519952"/>
                  <a:gd name="connsiteY132" fmla="*/ 1504950 h 4496940"/>
                  <a:gd name="connsiteX133" fmla="*/ 154327 w 4519952"/>
                  <a:gd name="connsiteY133" fmla="*/ 1419225 h 4496940"/>
                  <a:gd name="connsiteX134" fmla="*/ 230527 w 4519952"/>
                  <a:gd name="connsiteY134" fmla="*/ 1276350 h 4496940"/>
                  <a:gd name="connsiteX135" fmla="*/ 240052 w 4519952"/>
                  <a:gd name="connsiteY135" fmla="*/ 1247775 h 4496940"/>
                  <a:gd name="connsiteX136" fmla="*/ 268627 w 4519952"/>
                  <a:gd name="connsiteY136" fmla="*/ 1200150 h 4496940"/>
                  <a:gd name="connsiteX137" fmla="*/ 287677 w 4519952"/>
                  <a:gd name="connsiteY137" fmla="*/ 1152525 h 4496940"/>
                  <a:gd name="connsiteX138" fmla="*/ 316252 w 4519952"/>
                  <a:gd name="connsiteY138" fmla="*/ 1114425 h 4496940"/>
                  <a:gd name="connsiteX139" fmla="*/ 363877 w 4519952"/>
                  <a:gd name="connsiteY139" fmla="*/ 1038225 h 4496940"/>
                  <a:gd name="connsiteX140" fmla="*/ 382927 w 4519952"/>
                  <a:gd name="connsiteY140" fmla="*/ 1009650 h 4496940"/>
                  <a:gd name="connsiteX141" fmla="*/ 440077 w 4519952"/>
                  <a:gd name="connsiteY141" fmla="*/ 904875 h 4496940"/>
                  <a:gd name="connsiteX142" fmla="*/ 478177 w 4519952"/>
                  <a:gd name="connsiteY142" fmla="*/ 857250 h 4496940"/>
                  <a:gd name="connsiteX143" fmla="*/ 497227 w 4519952"/>
                  <a:gd name="connsiteY143" fmla="*/ 828675 h 4496940"/>
                  <a:gd name="connsiteX144" fmla="*/ 535327 w 4519952"/>
                  <a:gd name="connsiteY144" fmla="*/ 800100 h 4496940"/>
                  <a:gd name="connsiteX145" fmla="*/ 602002 w 4519952"/>
                  <a:gd name="connsiteY145" fmla="*/ 733425 h 4496940"/>
                  <a:gd name="connsiteX146" fmla="*/ 668677 w 4519952"/>
                  <a:gd name="connsiteY146" fmla="*/ 676275 h 4496940"/>
                  <a:gd name="connsiteX147" fmla="*/ 697252 w 4519952"/>
                  <a:gd name="connsiteY147" fmla="*/ 657225 h 4496940"/>
                  <a:gd name="connsiteX148" fmla="*/ 840127 w 4519952"/>
                  <a:gd name="connsiteY148" fmla="*/ 533400 h 4496940"/>
                  <a:gd name="connsiteX149" fmla="*/ 887752 w 4519952"/>
                  <a:gd name="connsiteY149" fmla="*/ 504825 h 4496940"/>
                  <a:gd name="connsiteX150" fmla="*/ 1167152 w 4519952"/>
                  <a:gd name="connsiteY150" fmla="*/ 311150 h 4496940"/>
                  <a:gd name="connsiteX151" fmla="*/ 1268752 w 4519952"/>
                  <a:gd name="connsiteY151" fmla="*/ 285750 h 4496940"/>
                  <a:gd name="connsiteX152" fmla="*/ 1411627 w 4519952"/>
                  <a:gd name="connsiteY152" fmla="*/ 190500 h 4496940"/>
                  <a:gd name="connsiteX153" fmla="*/ 1449727 w 4519952"/>
                  <a:gd name="connsiteY153" fmla="*/ 161925 h 4496940"/>
                  <a:gd name="connsiteX154" fmla="*/ 1525927 w 4519952"/>
                  <a:gd name="connsiteY154" fmla="*/ 152400 h 4496940"/>
                  <a:gd name="connsiteX155" fmla="*/ 1583077 w 4519952"/>
                  <a:gd name="connsiteY155" fmla="*/ 142875 h 4496940"/>
                  <a:gd name="connsiteX156" fmla="*/ 1716427 w 4519952"/>
                  <a:gd name="connsiteY156" fmla="*/ 123825 h 4496940"/>
                  <a:gd name="connsiteX157" fmla="*/ 1811677 w 4519952"/>
                  <a:gd name="connsiteY157" fmla="*/ 114300 h 4496940"/>
                  <a:gd name="connsiteX158" fmla="*/ 1859302 w 4519952"/>
                  <a:gd name="connsiteY158" fmla="*/ 104775 h 4496940"/>
                  <a:gd name="connsiteX159" fmla="*/ 1916452 w 4519952"/>
                  <a:gd name="connsiteY159" fmla="*/ 95250 h 4496940"/>
                  <a:gd name="connsiteX160" fmla="*/ 2030752 w 4519952"/>
                  <a:gd name="connsiteY160" fmla="*/ 66675 h 4496940"/>
                  <a:gd name="connsiteX161" fmla="*/ 2097427 w 4519952"/>
                  <a:gd name="connsiteY161" fmla="*/ 47625 h 4496940"/>
                  <a:gd name="connsiteX162" fmla="*/ 2164102 w 4519952"/>
                  <a:gd name="connsiteY162" fmla="*/ 38100 h 4496940"/>
                  <a:gd name="connsiteX163" fmla="*/ 2392702 w 4519952"/>
                  <a:gd name="connsiteY163" fmla="*/ 28575 h 4496940"/>
                  <a:gd name="connsiteX0" fmla="*/ 2297452 w 4519952"/>
                  <a:gd name="connsiteY0" fmla="*/ 0 h 4496940"/>
                  <a:gd name="connsiteX1" fmla="*/ 2421277 w 4519952"/>
                  <a:gd name="connsiteY1" fmla="*/ 28575 h 4496940"/>
                  <a:gd name="connsiteX2" fmla="*/ 2497477 w 4519952"/>
                  <a:gd name="connsiteY2" fmla="*/ 47625 h 4496940"/>
                  <a:gd name="connsiteX3" fmla="*/ 2754652 w 4519952"/>
                  <a:gd name="connsiteY3" fmla="*/ 66675 h 4496940"/>
                  <a:gd name="connsiteX4" fmla="*/ 2830852 w 4519952"/>
                  <a:gd name="connsiteY4" fmla="*/ 76200 h 4496940"/>
                  <a:gd name="connsiteX5" fmla="*/ 2916577 w 4519952"/>
                  <a:gd name="connsiteY5" fmla="*/ 85725 h 4496940"/>
                  <a:gd name="connsiteX6" fmla="*/ 2973727 w 4519952"/>
                  <a:gd name="connsiteY6" fmla="*/ 114300 h 4496940"/>
                  <a:gd name="connsiteX7" fmla="*/ 3011827 w 4519952"/>
                  <a:gd name="connsiteY7" fmla="*/ 123825 h 4496940"/>
                  <a:gd name="connsiteX8" fmla="*/ 3135652 w 4519952"/>
                  <a:gd name="connsiteY8" fmla="*/ 171450 h 4496940"/>
                  <a:gd name="connsiteX9" fmla="*/ 3173752 w 4519952"/>
                  <a:gd name="connsiteY9" fmla="*/ 190500 h 4496940"/>
                  <a:gd name="connsiteX10" fmla="*/ 3240427 w 4519952"/>
                  <a:gd name="connsiteY10" fmla="*/ 228600 h 4496940"/>
                  <a:gd name="connsiteX11" fmla="*/ 3269002 w 4519952"/>
                  <a:gd name="connsiteY11" fmla="*/ 238125 h 4496940"/>
                  <a:gd name="connsiteX12" fmla="*/ 3297577 w 4519952"/>
                  <a:gd name="connsiteY12" fmla="*/ 257175 h 4496940"/>
                  <a:gd name="connsiteX13" fmla="*/ 3326152 w 4519952"/>
                  <a:gd name="connsiteY13" fmla="*/ 266700 h 4496940"/>
                  <a:gd name="connsiteX14" fmla="*/ 3354727 w 4519952"/>
                  <a:gd name="connsiteY14" fmla="*/ 285750 h 4496940"/>
                  <a:gd name="connsiteX15" fmla="*/ 3421402 w 4519952"/>
                  <a:gd name="connsiteY15" fmla="*/ 323850 h 4496940"/>
                  <a:gd name="connsiteX16" fmla="*/ 3469027 w 4519952"/>
                  <a:gd name="connsiteY16" fmla="*/ 361950 h 4496940"/>
                  <a:gd name="connsiteX17" fmla="*/ 3516652 w 4519952"/>
                  <a:gd name="connsiteY17" fmla="*/ 390525 h 4496940"/>
                  <a:gd name="connsiteX18" fmla="*/ 3545227 w 4519952"/>
                  <a:gd name="connsiteY18" fmla="*/ 419100 h 4496940"/>
                  <a:gd name="connsiteX19" fmla="*/ 3602377 w 4519952"/>
                  <a:gd name="connsiteY19" fmla="*/ 457200 h 4496940"/>
                  <a:gd name="connsiteX20" fmla="*/ 3630952 w 4519952"/>
                  <a:gd name="connsiteY20" fmla="*/ 485775 h 4496940"/>
                  <a:gd name="connsiteX21" fmla="*/ 3678577 w 4519952"/>
                  <a:gd name="connsiteY21" fmla="*/ 504825 h 4496940"/>
                  <a:gd name="connsiteX22" fmla="*/ 3745252 w 4519952"/>
                  <a:gd name="connsiteY22" fmla="*/ 542925 h 4496940"/>
                  <a:gd name="connsiteX23" fmla="*/ 3811927 w 4519952"/>
                  <a:gd name="connsiteY23" fmla="*/ 581025 h 4496940"/>
                  <a:gd name="connsiteX24" fmla="*/ 3840502 w 4519952"/>
                  <a:gd name="connsiteY24" fmla="*/ 600075 h 4496940"/>
                  <a:gd name="connsiteX25" fmla="*/ 3869077 w 4519952"/>
                  <a:gd name="connsiteY25" fmla="*/ 628650 h 4496940"/>
                  <a:gd name="connsiteX26" fmla="*/ 3907177 w 4519952"/>
                  <a:gd name="connsiteY26" fmla="*/ 647700 h 4496940"/>
                  <a:gd name="connsiteX27" fmla="*/ 3935752 w 4519952"/>
                  <a:gd name="connsiteY27" fmla="*/ 676275 h 4496940"/>
                  <a:gd name="connsiteX28" fmla="*/ 3992902 w 4519952"/>
                  <a:gd name="connsiteY28" fmla="*/ 714375 h 4496940"/>
                  <a:gd name="connsiteX29" fmla="*/ 4050052 w 4519952"/>
                  <a:gd name="connsiteY29" fmla="*/ 790575 h 4496940"/>
                  <a:gd name="connsiteX30" fmla="*/ 4078627 w 4519952"/>
                  <a:gd name="connsiteY30" fmla="*/ 838200 h 4496940"/>
                  <a:gd name="connsiteX31" fmla="*/ 4107202 w 4519952"/>
                  <a:gd name="connsiteY31" fmla="*/ 876300 h 4496940"/>
                  <a:gd name="connsiteX32" fmla="*/ 4116727 w 4519952"/>
                  <a:gd name="connsiteY32" fmla="*/ 904875 h 4496940"/>
                  <a:gd name="connsiteX33" fmla="*/ 4135777 w 4519952"/>
                  <a:gd name="connsiteY33" fmla="*/ 933450 h 4496940"/>
                  <a:gd name="connsiteX34" fmla="*/ 4164352 w 4519952"/>
                  <a:gd name="connsiteY34" fmla="*/ 990600 h 4496940"/>
                  <a:gd name="connsiteX35" fmla="*/ 4173877 w 4519952"/>
                  <a:gd name="connsiteY35" fmla="*/ 1019175 h 4496940"/>
                  <a:gd name="connsiteX36" fmla="*/ 4192927 w 4519952"/>
                  <a:gd name="connsiteY36" fmla="*/ 1057275 h 4496940"/>
                  <a:gd name="connsiteX37" fmla="*/ 4202452 w 4519952"/>
                  <a:gd name="connsiteY37" fmla="*/ 1085850 h 4496940"/>
                  <a:gd name="connsiteX38" fmla="*/ 4250077 w 4519952"/>
                  <a:gd name="connsiteY38" fmla="*/ 1143000 h 4496940"/>
                  <a:gd name="connsiteX39" fmla="*/ 4259602 w 4519952"/>
                  <a:gd name="connsiteY39" fmla="*/ 1190625 h 4496940"/>
                  <a:gd name="connsiteX40" fmla="*/ 4307227 w 4519952"/>
                  <a:gd name="connsiteY40" fmla="*/ 1266825 h 4496940"/>
                  <a:gd name="connsiteX41" fmla="*/ 4345327 w 4519952"/>
                  <a:gd name="connsiteY41" fmla="*/ 1362075 h 4496940"/>
                  <a:gd name="connsiteX42" fmla="*/ 4373902 w 4519952"/>
                  <a:gd name="connsiteY42" fmla="*/ 1428750 h 4496940"/>
                  <a:gd name="connsiteX43" fmla="*/ 4392952 w 4519952"/>
                  <a:gd name="connsiteY43" fmla="*/ 1552575 h 4496940"/>
                  <a:gd name="connsiteX44" fmla="*/ 4402477 w 4519952"/>
                  <a:gd name="connsiteY44" fmla="*/ 1590675 h 4496940"/>
                  <a:gd name="connsiteX45" fmla="*/ 4431052 w 4519952"/>
                  <a:gd name="connsiteY45" fmla="*/ 1685925 h 4496940"/>
                  <a:gd name="connsiteX46" fmla="*/ 4459627 w 4519952"/>
                  <a:gd name="connsiteY46" fmla="*/ 1828800 h 4496940"/>
                  <a:gd name="connsiteX47" fmla="*/ 4519952 w 4519952"/>
                  <a:gd name="connsiteY47" fmla="*/ 2181225 h 4496940"/>
                  <a:gd name="connsiteX48" fmla="*/ 4440577 w 4519952"/>
                  <a:gd name="connsiteY48" fmla="*/ 2876550 h 4496940"/>
                  <a:gd name="connsiteX49" fmla="*/ 4383427 w 4519952"/>
                  <a:gd name="connsiteY49" fmla="*/ 2990850 h 4496940"/>
                  <a:gd name="connsiteX50" fmla="*/ 4354852 w 4519952"/>
                  <a:gd name="connsiteY50" fmla="*/ 3057525 h 4496940"/>
                  <a:gd name="connsiteX51" fmla="*/ 4335802 w 4519952"/>
                  <a:gd name="connsiteY51" fmla="*/ 3095625 h 4496940"/>
                  <a:gd name="connsiteX52" fmla="*/ 4278652 w 4519952"/>
                  <a:gd name="connsiteY52" fmla="*/ 3248025 h 4496940"/>
                  <a:gd name="connsiteX53" fmla="*/ 4259602 w 4519952"/>
                  <a:gd name="connsiteY53" fmla="*/ 3276600 h 4496940"/>
                  <a:gd name="connsiteX54" fmla="*/ 4221502 w 4519952"/>
                  <a:gd name="connsiteY54" fmla="*/ 3333750 h 4496940"/>
                  <a:gd name="connsiteX55" fmla="*/ 4211977 w 4519952"/>
                  <a:gd name="connsiteY55" fmla="*/ 3362325 h 4496940"/>
                  <a:gd name="connsiteX56" fmla="*/ 4183402 w 4519952"/>
                  <a:gd name="connsiteY56" fmla="*/ 3400425 h 4496940"/>
                  <a:gd name="connsiteX57" fmla="*/ 4164352 w 4519952"/>
                  <a:gd name="connsiteY57" fmla="*/ 3429000 h 4496940"/>
                  <a:gd name="connsiteX58" fmla="*/ 4088152 w 4519952"/>
                  <a:gd name="connsiteY58" fmla="*/ 3495675 h 4496940"/>
                  <a:gd name="connsiteX59" fmla="*/ 4059577 w 4519952"/>
                  <a:gd name="connsiteY59" fmla="*/ 3533775 h 4496940"/>
                  <a:gd name="connsiteX60" fmla="*/ 4002427 w 4519952"/>
                  <a:gd name="connsiteY60" fmla="*/ 3600450 h 4496940"/>
                  <a:gd name="connsiteX61" fmla="*/ 3983377 w 4519952"/>
                  <a:gd name="connsiteY61" fmla="*/ 3629025 h 4496940"/>
                  <a:gd name="connsiteX62" fmla="*/ 3954802 w 4519952"/>
                  <a:gd name="connsiteY62" fmla="*/ 3648075 h 4496940"/>
                  <a:gd name="connsiteX63" fmla="*/ 3907177 w 4519952"/>
                  <a:gd name="connsiteY63" fmla="*/ 3686175 h 4496940"/>
                  <a:gd name="connsiteX64" fmla="*/ 3869077 w 4519952"/>
                  <a:gd name="connsiteY64" fmla="*/ 3724275 h 4496940"/>
                  <a:gd name="connsiteX65" fmla="*/ 3792877 w 4519952"/>
                  <a:gd name="connsiteY65" fmla="*/ 3781425 h 4496940"/>
                  <a:gd name="connsiteX66" fmla="*/ 3783352 w 4519952"/>
                  <a:gd name="connsiteY66" fmla="*/ 3810000 h 4496940"/>
                  <a:gd name="connsiteX67" fmla="*/ 3745252 w 4519952"/>
                  <a:gd name="connsiteY67" fmla="*/ 3819525 h 4496940"/>
                  <a:gd name="connsiteX68" fmla="*/ 3678577 w 4519952"/>
                  <a:gd name="connsiteY68" fmla="*/ 3848100 h 4496940"/>
                  <a:gd name="connsiteX69" fmla="*/ 3659527 w 4519952"/>
                  <a:gd name="connsiteY69" fmla="*/ 3971925 h 4496940"/>
                  <a:gd name="connsiteX70" fmla="*/ 3630952 w 4519952"/>
                  <a:gd name="connsiteY70" fmla="*/ 4010025 h 4496940"/>
                  <a:gd name="connsiteX71" fmla="*/ 3621427 w 4519952"/>
                  <a:gd name="connsiteY71" fmla="*/ 4038600 h 4496940"/>
                  <a:gd name="connsiteX72" fmla="*/ 3554752 w 4519952"/>
                  <a:gd name="connsiteY72" fmla="*/ 4095750 h 4496940"/>
                  <a:gd name="connsiteX73" fmla="*/ 3516652 w 4519952"/>
                  <a:gd name="connsiteY73" fmla="*/ 4114800 h 4496940"/>
                  <a:gd name="connsiteX74" fmla="*/ 3497602 w 4519952"/>
                  <a:gd name="connsiteY74" fmla="*/ 4143375 h 4496940"/>
                  <a:gd name="connsiteX75" fmla="*/ 3383302 w 4519952"/>
                  <a:gd name="connsiteY75" fmla="*/ 4210050 h 4496940"/>
                  <a:gd name="connsiteX76" fmla="*/ 3335677 w 4519952"/>
                  <a:gd name="connsiteY76" fmla="*/ 4238625 h 4496940"/>
                  <a:gd name="connsiteX77" fmla="*/ 3288052 w 4519952"/>
                  <a:gd name="connsiteY77" fmla="*/ 4248150 h 4496940"/>
                  <a:gd name="connsiteX78" fmla="*/ 3240427 w 4519952"/>
                  <a:gd name="connsiteY78" fmla="*/ 4267200 h 4496940"/>
                  <a:gd name="connsiteX79" fmla="*/ 3068977 w 4519952"/>
                  <a:gd name="connsiteY79" fmla="*/ 4286250 h 4496940"/>
                  <a:gd name="connsiteX80" fmla="*/ 2935627 w 4519952"/>
                  <a:gd name="connsiteY80" fmla="*/ 4333875 h 4496940"/>
                  <a:gd name="connsiteX81" fmla="*/ 2811802 w 4519952"/>
                  <a:gd name="connsiteY81" fmla="*/ 4371975 h 4496940"/>
                  <a:gd name="connsiteX82" fmla="*/ 2745127 w 4519952"/>
                  <a:gd name="connsiteY82" fmla="*/ 4410075 h 4496940"/>
                  <a:gd name="connsiteX83" fmla="*/ 2697502 w 4519952"/>
                  <a:gd name="connsiteY83" fmla="*/ 4429125 h 4496940"/>
                  <a:gd name="connsiteX84" fmla="*/ 2640352 w 4519952"/>
                  <a:gd name="connsiteY84" fmla="*/ 4457700 h 4496940"/>
                  <a:gd name="connsiteX85" fmla="*/ 2583202 w 4519952"/>
                  <a:gd name="connsiteY85" fmla="*/ 4467225 h 4496940"/>
                  <a:gd name="connsiteX86" fmla="*/ 2545102 w 4519952"/>
                  <a:gd name="connsiteY86" fmla="*/ 4486275 h 4496940"/>
                  <a:gd name="connsiteX87" fmla="*/ 2306977 w 4519952"/>
                  <a:gd name="connsiteY87" fmla="*/ 4476750 h 4496940"/>
                  <a:gd name="connsiteX88" fmla="*/ 2202202 w 4519952"/>
                  <a:gd name="connsiteY88" fmla="*/ 4457700 h 4496940"/>
                  <a:gd name="connsiteX89" fmla="*/ 2126002 w 4519952"/>
                  <a:gd name="connsiteY89" fmla="*/ 4429125 h 4496940"/>
                  <a:gd name="connsiteX90" fmla="*/ 1935502 w 4519952"/>
                  <a:gd name="connsiteY90" fmla="*/ 4400550 h 4496940"/>
                  <a:gd name="connsiteX91" fmla="*/ 1821202 w 4519952"/>
                  <a:gd name="connsiteY91" fmla="*/ 4371975 h 4496940"/>
                  <a:gd name="connsiteX92" fmla="*/ 1754527 w 4519952"/>
                  <a:gd name="connsiteY92" fmla="*/ 4352925 h 4496940"/>
                  <a:gd name="connsiteX93" fmla="*/ 1687852 w 4519952"/>
                  <a:gd name="connsiteY93" fmla="*/ 4343400 h 4496940"/>
                  <a:gd name="connsiteX94" fmla="*/ 1573552 w 4519952"/>
                  <a:gd name="connsiteY94" fmla="*/ 4305300 h 4496940"/>
                  <a:gd name="connsiteX95" fmla="*/ 1402102 w 4519952"/>
                  <a:gd name="connsiteY95" fmla="*/ 4276725 h 4496940"/>
                  <a:gd name="connsiteX96" fmla="*/ 1287802 w 4519952"/>
                  <a:gd name="connsiteY96" fmla="*/ 4229100 h 4496940"/>
                  <a:gd name="connsiteX97" fmla="*/ 1221127 w 4519952"/>
                  <a:gd name="connsiteY97" fmla="*/ 4200525 h 4496940"/>
                  <a:gd name="connsiteX98" fmla="*/ 1144927 w 4519952"/>
                  <a:gd name="connsiteY98" fmla="*/ 4171950 h 4496940"/>
                  <a:gd name="connsiteX99" fmla="*/ 1087777 w 4519952"/>
                  <a:gd name="connsiteY99" fmla="*/ 4143375 h 4496940"/>
                  <a:gd name="connsiteX100" fmla="*/ 1030627 w 4519952"/>
                  <a:gd name="connsiteY100" fmla="*/ 4124325 h 4496940"/>
                  <a:gd name="connsiteX101" fmla="*/ 925852 w 4519952"/>
                  <a:gd name="connsiteY101" fmla="*/ 4067175 h 4496940"/>
                  <a:gd name="connsiteX102" fmla="*/ 830602 w 4519952"/>
                  <a:gd name="connsiteY102" fmla="*/ 3981450 h 4496940"/>
                  <a:gd name="connsiteX103" fmla="*/ 763927 w 4519952"/>
                  <a:gd name="connsiteY103" fmla="*/ 3914775 h 4496940"/>
                  <a:gd name="connsiteX104" fmla="*/ 725827 w 4519952"/>
                  <a:gd name="connsiteY104" fmla="*/ 3876675 h 4496940"/>
                  <a:gd name="connsiteX105" fmla="*/ 697252 w 4519952"/>
                  <a:gd name="connsiteY105" fmla="*/ 3838575 h 4496940"/>
                  <a:gd name="connsiteX106" fmla="*/ 640102 w 4519952"/>
                  <a:gd name="connsiteY106" fmla="*/ 3781425 h 4496940"/>
                  <a:gd name="connsiteX107" fmla="*/ 611527 w 4519952"/>
                  <a:gd name="connsiteY107" fmla="*/ 3733800 h 4496940"/>
                  <a:gd name="connsiteX108" fmla="*/ 554377 w 4519952"/>
                  <a:gd name="connsiteY108" fmla="*/ 3657600 h 4496940"/>
                  <a:gd name="connsiteX109" fmla="*/ 525802 w 4519952"/>
                  <a:gd name="connsiteY109" fmla="*/ 3609975 h 4496940"/>
                  <a:gd name="connsiteX110" fmla="*/ 497227 w 4519952"/>
                  <a:gd name="connsiteY110" fmla="*/ 3552825 h 4496940"/>
                  <a:gd name="connsiteX111" fmla="*/ 440077 w 4519952"/>
                  <a:gd name="connsiteY111" fmla="*/ 3495675 h 4496940"/>
                  <a:gd name="connsiteX112" fmla="*/ 411502 w 4519952"/>
                  <a:gd name="connsiteY112" fmla="*/ 3448050 h 4496940"/>
                  <a:gd name="connsiteX113" fmla="*/ 278152 w 4519952"/>
                  <a:gd name="connsiteY113" fmla="*/ 3257550 h 4496940"/>
                  <a:gd name="connsiteX114" fmla="*/ 249577 w 4519952"/>
                  <a:gd name="connsiteY114" fmla="*/ 3200400 h 4496940"/>
                  <a:gd name="connsiteX115" fmla="*/ 240052 w 4519952"/>
                  <a:gd name="connsiteY115" fmla="*/ 3162300 h 4496940"/>
                  <a:gd name="connsiteX116" fmla="*/ 221002 w 4519952"/>
                  <a:gd name="connsiteY116" fmla="*/ 3105150 h 4496940"/>
                  <a:gd name="connsiteX117" fmla="*/ 173377 w 4519952"/>
                  <a:gd name="connsiteY117" fmla="*/ 3019425 h 4496940"/>
                  <a:gd name="connsiteX118" fmla="*/ 144802 w 4519952"/>
                  <a:gd name="connsiteY118" fmla="*/ 2924175 h 4496940"/>
                  <a:gd name="connsiteX119" fmla="*/ 68602 w 4519952"/>
                  <a:gd name="connsiteY119" fmla="*/ 2724150 h 4496940"/>
                  <a:gd name="connsiteX120" fmla="*/ 49552 w 4519952"/>
                  <a:gd name="connsiteY120" fmla="*/ 2638425 h 4496940"/>
                  <a:gd name="connsiteX121" fmla="*/ 40027 w 4519952"/>
                  <a:gd name="connsiteY121" fmla="*/ 2562225 h 4496940"/>
                  <a:gd name="connsiteX122" fmla="*/ 30502 w 4519952"/>
                  <a:gd name="connsiteY122" fmla="*/ 2514600 h 4496940"/>
                  <a:gd name="connsiteX123" fmla="*/ 11452 w 4519952"/>
                  <a:gd name="connsiteY123" fmla="*/ 2400300 h 4496940"/>
                  <a:gd name="connsiteX124" fmla="*/ 20977 w 4519952"/>
                  <a:gd name="connsiteY124" fmla="*/ 1905000 h 4496940"/>
                  <a:gd name="connsiteX125" fmla="*/ 30502 w 4519952"/>
                  <a:gd name="connsiteY125" fmla="*/ 1838325 h 4496940"/>
                  <a:gd name="connsiteX126" fmla="*/ 49552 w 4519952"/>
                  <a:gd name="connsiteY126" fmla="*/ 1781175 h 4496940"/>
                  <a:gd name="connsiteX127" fmla="*/ 59077 w 4519952"/>
                  <a:gd name="connsiteY127" fmla="*/ 1743075 h 4496940"/>
                  <a:gd name="connsiteX128" fmla="*/ 78127 w 4519952"/>
                  <a:gd name="connsiteY128" fmla="*/ 1685925 h 4496940"/>
                  <a:gd name="connsiteX129" fmla="*/ 87652 w 4519952"/>
                  <a:gd name="connsiteY129" fmla="*/ 1638300 h 4496940"/>
                  <a:gd name="connsiteX130" fmla="*/ 106702 w 4519952"/>
                  <a:gd name="connsiteY130" fmla="*/ 1590675 h 4496940"/>
                  <a:gd name="connsiteX131" fmla="*/ 135277 w 4519952"/>
                  <a:gd name="connsiteY131" fmla="*/ 1504950 h 4496940"/>
                  <a:gd name="connsiteX132" fmla="*/ 154327 w 4519952"/>
                  <a:gd name="connsiteY132" fmla="*/ 1419225 h 4496940"/>
                  <a:gd name="connsiteX133" fmla="*/ 230527 w 4519952"/>
                  <a:gd name="connsiteY133" fmla="*/ 1276350 h 4496940"/>
                  <a:gd name="connsiteX134" fmla="*/ 240052 w 4519952"/>
                  <a:gd name="connsiteY134" fmla="*/ 1247775 h 4496940"/>
                  <a:gd name="connsiteX135" fmla="*/ 268627 w 4519952"/>
                  <a:gd name="connsiteY135" fmla="*/ 1200150 h 4496940"/>
                  <a:gd name="connsiteX136" fmla="*/ 287677 w 4519952"/>
                  <a:gd name="connsiteY136" fmla="*/ 1152525 h 4496940"/>
                  <a:gd name="connsiteX137" fmla="*/ 316252 w 4519952"/>
                  <a:gd name="connsiteY137" fmla="*/ 1114425 h 4496940"/>
                  <a:gd name="connsiteX138" fmla="*/ 363877 w 4519952"/>
                  <a:gd name="connsiteY138" fmla="*/ 1038225 h 4496940"/>
                  <a:gd name="connsiteX139" fmla="*/ 382927 w 4519952"/>
                  <a:gd name="connsiteY139" fmla="*/ 1009650 h 4496940"/>
                  <a:gd name="connsiteX140" fmla="*/ 440077 w 4519952"/>
                  <a:gd name="connsiteY140" fmla="*/ 904875 h 4496940"/>
                  <a:gd name="connsiteX141" fmla="*/ 478177 w 4519952"/>
                  <a:gd name="connsiteY141" fmla="*/ 857250 h 4496940"/>
                  <a:gd name="connsiteX142" fmla="*/ 497227 w 4519952"/>
                  <a:gd name="connsiteY142" fmla="*/ 828675 h 4496940"/>
                  <a:gd name="connsiteX143" fmla="*/ 535327 w 4519952"/>
                  <a:gd name="connsiteY143" fmla="*/ 800100 h 4496940"/>
                  <a:gd name="connsiteX144" fmla="*/ 602002 w 4519952"/>
                  <a:gd name="connsiteY144" fmla="*/ 733425 h 4496940"/>
                  <a:gd name="connsiteX145" fmla="*/ 668677 w 4519952"/>
                  <a:gd name="connsiteY145" fmla="*/ 676275 h 4496940"/>
                  <a:gd name="connsiteX146" fmla="*/ 697252 w 4519952"/>
                  <a:gd name="connsiteY146" fmla="*/ 657225 h 4496940"/>
                  <a:gd name="connsiteX147" fmla="*/ 840127 w 4519952"/>
                  <a:gd name="connsiteY147" fmla="*/ 533400 h 4496940"/>
                  <a:gd name="connsiteX148" fmla="*/ 887752 w 4519952"/>
                  <a:gd name="connsiteY148" fmla="*/ 504825 h 4496940"/>
                  <a:gd name="connsiteX149" fmla="*/ 1167152 w 4519952"/>
                  <a:gd name="connsiteY149" fmla="*/ 311150 h 4496940"/>
                  <a:gd name="connsiteX150" fmla="*/ 1268752 w 4519952"/>
                  <a:gd name="connsiteY150" fmla="*/ 285750 h 4496940"/>
                  <a:gd name="connsiteX151" fmla="*/ 1411627 w 4519952"/>
                  <a:gd name="connsiteY151" fmla="*/ 190500 h 4496940"/>
                  <a:gd name="connsiteX152" fmla="*/ 1449727 w 4519952"/>
                  <a:gd name="connsiteY152" fmla="*/ 161925 h 4496940"/>
                  <a:gd name="connsiteX153" fmla="*/ 1525927 w 4519952"/>
                  <a:gd name="connsiteY153" fmla="*/ 152400 h 4496940"/>
                  <a:gd name="connsiteX154" fmla="*/ 1583077 w 4519952"/>
                  <a:gd name="connsiteY154" fmla="*/ 142875 h 4496940"/>
                  <a:gd name="connsiteX155" fmla="*/ 1716427 w 4519952"/>
                  <a:gd name="connsiteY155" fmla="*/ 123825 h 4496940"/>
                  <a:gd name="connsiteX156" fmla="*/ 1811677 w 4519952"/>
                  <a:gd name="connsiteY156" fmla="*/ 114300 h 4496940"/>
                  <a:gd name="connsiteX157" fmla="*/ 1859302 w 4519952"/>
                  <a:gd name="connsiteY157" fmla="*/ 104775 h 4496940"/>
                  <a:gd name="connsiteX158" fmla="*/ 1916452 w 4519952"/>
                  <a:gd name="connsiteY158" fmla="*/ 95250 h 4496940"/>
                  <a:gd name="connsiteX159" fmla="*/ 2030752 w 4519952"/>
                  <a:gd name="connsiteY159" fmla="*/ 66675 h 4496940"/>
                  <a:gd name="connsiteX160" fmla="*/ 2097427 w 4519952"/>
                  <a:gd name="connsiteY160" fmla="*/ 47625 h 4496940"/>
                  <a:gd name="connsiteX161" fmla="*/ 2164102 w 4519952"/>
                  <a:gd name="connsiteY161" fmla="*/ 38100 h 4496940"/>
                  <a:gd name="connsiteX162" fmla="*/ 2392702 w 4519952"/>
                  <a:gd name="connsiteY162" fmla="*/ 28575 h 4496940"/>
                  <a:gd name="connsiteX0" fmla="*/ 2297452 w 4519983"/>
                  <a:gd name="connsiteY0" fmla="*/ 0 h 4496940"/>
                  <a:gd name="connsiteX1" fmla="*/ 2421277 w 4519983"/>
                  <a:gd name="connsiteY1" fmla="*/ 28575 h 4496940"/>
                  <a:gd name="connsiteX2" fmla="*/ 2497477 w 4519983"/>
                  <a:gd name="connsiteY2" fmla="*/ 47625 h 4496940"/>
                  <a:gd name="connsiteX3" fmla="*/ 2754652 w 4519983"/>
                  <a:gd name="connsiteY3" fmla="*/ 66675 h 4496940"/>
                  <a:gd name="connsiteX4" fmla="*/ 2830852 w 4519983"/>
                  <a:gd name="connsiteY4" fmla="*/ 76200 h 4496940"/>
                  <a:gd name="connsiteX5" fmla="*/ 2916577 w 4519983"/>
                  <a:gd name="connsiteY5" fmla="*/ 85725 h 4496940"/>
                  <a:gd name="connsiteX6" fmla="*/ 2973727 w 4519983"/>
                  <a:gd name="connsiteY6" fmla="*/ 114300 h 4496940"/>
                  <a:gd name="connsiteX7" fmla="*/ 3011827 w 4519983"/>
                  <a:gd name="connsiteY7" fmla="*/ 123825 h 4496940"/>
                  <a:gd name="connsiteX8" fmla="*/ 3135652 w 4519983"/>
                  <a:gd name="connsiteY8" fmla="*/ 171450 h 4496940"/>
                  <a:gd name="connsiteX9" fmla="*/ 3173752 w 4519983"/>
                  <a:gd name="connsiteY9" fmla="*/ 190500 h 4496940"/>
                  <a:gd name="connsiteX10" fmla="*/ 3240427 w 4519983"/>
                  <a:gd name="connsiteY10" fmla="*/ 228600 h 4496940"/>
                  <a:gd name="connsiteX11" fmla="*/ 3269002 w 4519983"/>
                  <a:gd name="connsiteY11" fmla="*/ 238125 h 4496940"/>
                  <a:gd name="connsiteX12" fmla="*/ 3297577 w 4519983"/>
                  <a:gd name="connsiteY12" fmla="*/ 257175 h 4496940"/>
                  <a:gd name="connsiteX13" fmla="*/ 3326152 w 4519983"/>
                  <a:gd name="connsiteY13" fmla="*/ 266700 h 4496940"/>
                  <a:gd name="connsiteX14" fmla="*/ 3354727 w 4519983"/>
                  <a:gd name="connsiteY14" fmla="*/ 285750 h 4496940"/>
                  <a:gd name="connsiteX15" fmla="*/ 3421402 w 4519983"/>
                  <a:gd name="connsiteY15" fmla="*/ 323850 h 4496940"/>
                  <a:gd name="connsiteX16" fmla="*/ 3469027 w 4519983"/>
                  <a:gd name="connsiteY16" fmla="*/ 361950 h 4496940"/>
                  <a:gd name="connsiteX17" fmla="*/ 3516652 w 4519983"/>
                  <a:gd name="connsiteY17" fmla="*/ 390525 h 4496940"/>
                  <a:gd name="connsiteX18" fmla="*/ 3545227 w 4519983"/>
                  <a:gd name="connsiteY18" fmla="*/ 419100 h 4496940"/>
                  <a:gd name="connsiteX19" fmla="*/ 3602377 w 4519983"/>
                  <a:gd name="connsiteY19" fmla="*/ 457200 h 4496940"/>
                  <a:gd name="connsiteX20" fmla="*/ 3630952 w 4519983"/>
                  <a:gd name="connsiteY20" fmla="*/ 485775 h 4496940"/>
                  <a:gd name="connsiteX21" fmla="*/ 3678577 w 4519983"/>
                  <a:gd name="connsiteY21" fmla="*/ 504825 h 4496940"/>
                  <a:gd name="connsiteX22" fmla="*/ 3745252 w 4519983"/>
                  <a:gd name="connsiteY22" fmla="*/ 542925 h 4496940"/>
                  <a:gd name="connsiteX23" fmla="*/ 3811927 w 4519983"/>
                  <a:gd name="connsiteY23" fmla="*/ 581025 h 4496940"/>
                  <a:gd name="connsiteX24" fmla="*/ 3840502 w 4519983"/>
                  <a:gd name="connsiteY24" fmla="*/ 600075 h 4496940"/>
                  <a:gd name="connsiteX25" fmla="*/ 3869077 w 4519983"/>
                  <a:gd name="connsiteY25" fmla="*/ 628650 h 4496940"/>
                  <a:gd name="connsiteX26" fmla="*/ 3907177 w 4519983"/>
                  <a:gd name="connsiteY26" fmla="*/ 647700 h 4496940"/>
                  <a:gd name="connsiteX27" fmla="*/ 3935752 w 4519983"/>
                  <a:gd name="connsiteY27" fmla="*/ 676275 h 4496940"/>
                  <a:gd name="connsiteX28" fmla="*/ 3992902 w 4519983"/>
                  <a:gd name="connsiteY28" fmla="*/ 714375 h 4496940"/>
                  <a:gd name="connsiteX29" fmla="*/ 4050052 w 4519983"/>
                  <a:gd name="connsiteY29" fmla="*/ 790575 h 4496940"/>
                  <a:gd name="connsiteX30" fmla="*/ 4078627 w 4519983"/>
                  <a:gd name="connsiteY30" fmla="*/ 838200 h 4496940"/>
                  <a:gd name="connsiteX31" fmla="*/ 4107202 w 4519983"/>
                  <a:gd name="connsiteY31" fmla="*/ 876300 h 4496940"/>
                  <a:gd name="connsiteX32" fmla="*/ 4116727 w 4519983"/>
                  <a:gd name="connsiteY32" fmla="*/ 904875 h 4496940"/>
                  <a:gd name="connsiteX33" fmla="*/ 4135777 w 4519983"/>
                  <a:gd name="connsiteY33" fmla="*/ 933450 h 4496940"/>
                  <a:gd name="connsiteX34" fmla="*/ 4164352 w 4519983"/>
                  <a:gd name="connsiteY34" fmla="*/ 990600 h 4496940"/>
                  <a:gd name="connsiteX35" fmla="*/ 4173877 w 4519983"/>
                  <a:gd name="connsiteY35" fmla="*/ 1019175 h 4496940"/>
                  <a:gd name="connsiteX36" fmla="*/ 4192927 w 4519983"/>
                  <a:gd name="connsiteY36" fmla="*/ 1057275 h 4496940"/>
                  <a:gd name="connsiteX37" fmla="*/ 4202452 w 4519983"/>
                  <a:gd name="connsiteY37" fmla="*/ 1085850 h 4496940"/>
                  <a:gd name="connsiteX38" fmla="*/ 4250077 w 4519983"/>
                  <a:gd name="connsiteY38" fmla="*/ 1143000 h 4496940"/>
                  <a:gd name="connsiteX39" fmla="*/ 4259602 w 4519983"/>
                  <a:gd name="connsiteY39" fmla="*/ 1190625 h 4496940"/>
                  <a:gd name="connsiteX40" fmla="*/ 4307227 w 4519983"/>
                  <a:gd name="connsiteY40" fmla="*/ 1266825 h 4496940"/>
                  <a:gd name="connsiteX41" fmla="*/ 4345327 w 4519983"/>
                  <a:gd name="connsiteY41" fmla="*/ 1362075 h 4496940"/>
                  <a:gd name="connsiteX42" fmla="*/ 4373902 w 4519983"/>
                  <a:gd name="connsiteY42" fmla="*/ 1428750 h 4496940"/>
                  <a:gd name="connsiteX43" fmla="*/ 4392952 w 4519983"/>
                  <a:gd name="connsiteY43" fmla="*/ 1552575 h 4496940"/>
                  <a:gd name="connsiteX44" fmla="*/ 4402477 w 4519983"/>
                  <a:gd name="connsiteY44" fmla="*/ 1590675 h 4496940"/>
                  <a:gd name="connsiteX45" fmla="*/ 4431052 w 4519983"/>
                  <a:gd name="connsiteY45" fmla="*/ 1685925 h 4496940"/>
                  <a:gd name="connsiteX46" fmla="*/ 4519952 w 4519983"/>
                  <a:gd name="connsiteY46" fmla="*/ 2181225 h 4496940"/>
                  <a:gd name="connsiteX47" fmla="*/ 4440577 w 4519983"/>
                  <a:gd name="connsiteY47" fmla="*/ 2876550 h 4496940"/>
                  <a:gd name="connsiteX48" fmla="*/ 4383427 w 4519983"/>
                  <a:gd name="connsiteY48" fmla="*/ 2990850 h 4496940"/>
                  <a:gd name="connsiteX49" fmla="*/ 4354852 w 4519983"/>
                  <a:gd name="connsiteY49" fmla="*/ 3057525 h 4496940"/>
                  <a:gd name="connsiteX50" fmla="*/ 4335802 w 4519983"/>
                  <a:gd name="connsiteY50" fmla="*/ 3095625 h 4496940"/>
                  <a:gd name="connsiteX51" fmla="*/ 4278652 w 4519983"/>
                  <a:gd name="connsiteY51" fmla="*/ 3248025 h 4496940"/>
                  <a:gd name="connsiteX52" fmla="*/ 4259602 w 4519983"/>
                  <a:gd name="connsiteY52" fmla="*/ 3276600 h 4496940"/>
                  <a:gd name="connsiteX53" fmla="*/ 4221502 w 4519983"/>
                  <a:gd name="connsiteY53" fmla="*/ 3333750 h 4496940"/>
                  <a:gd name="connsiteX54" fmla="*/ 4211977 w 4519983"/>
                  <a:gd name="connsiteY54" fmla="*/ 3362325 h 4496940"/>
                  <a:gd name="connsiteX55" fmla="*/ 4183402 w 4519983"/>
                  <a:gd name="connsiteY55" fmla="*/ 3400425 h 4496940"/>
                  <a:gd name="connsiteX56" fmla="*/ 4164352 w 4519983"/>
                  <a:gd name="connsiteY56" fmla="*/ 3429000 h 4496940"/>
                  <a:gd name="connsiteX57" fmla="*/ 4088152 w 4519983"/>
                  <a:gd name="connsiteY57" fmla="*/ 3495675 h 4496940"/>
                  <a:gd name="connsiteX58" fmla="*/ 4059577 w 4519983"/>
                  <a:gd name="connsiteY58" fmla="*/ 3533775 h 4496940"/>
                  <a:gd name="connsiteX59" fmla="*/ 4002427 w 4519983"/>
                  <a:gd name="connsiteY59" fmla="*/ 3600450 h 4496940"/>
                  <a:gd name="connsiteX60" fmla="*/ 3983377 w 4519983"/>
                  <a:gd name="connsiteY60" fmla="*/ 3629025 h 4496940"/>
                  <a:gd name="connsiteX61" fmla="*/ 3954802 w 4519983"/>
                  <a:gd name="connsiteY61" fmla="*/ 3648075 h 4496940"/>
                  <a:gd name="connsiteX62" fmla="*/ 3907177 w 4519983"/>
                  <a:gd name="connsiteY62" fmla="*/ 3686175 h 4496940"/>
                  <a:gd name="connsiteX63" fmla="*/ 3869077 w 4519983"/>
                  <a:gd name="connsiteY63" fmla="*/ 3724275 h 4496940"/>
                  <a:gd name="connsiteX64" fmla="*/ 3792877 w 4519983"/>
                  <a:gd name="connsiteY64" fmla="*/ 3781425 h 4496940"/>
                  <a:gd name="connsiteX65" fmla="*/ 3783352 w 4519983"/>
                  <a:gd name="connsiteY65" fmla="*/ 3810000 h 4496940"/>
                  <a:gd name="connsiteX66" fmla="*/ 3745252 w 4519983"/>
                  <a:gd name="connsiteY66" fmla="*/ 3819525 h 4496940"/>
                  <a:gd name="connsiteX67" fmla="*/ 3678577 w 4519983"/>
                  <a:gd name="connsiteY67" fmla="*/ 3848100 h 4496940"/>
                  <a:gd name="connsiteX68" fmla="*/ 3659527 w 4519983"/>
                  <a:gd name="connsiteY68" fmla="*/ 3971925 h 4496940"/>
                  <a:gd name="connsiteX69" fmla="*/ 3630952 w 4519983"/>
                  <a:gd name="connsiteY69" fmla="*/ 4010025 h 4496940"/>
                  <a:gd name="connsiteX70" fmla="*/ 3621427 w 4519983"/>
                  <a:gd name="connsiteY70" fmla="*/ 4038600 h 4496940"/>
                  <a:gd name="connsiteX71" fmla="*/ 3554752 w 4519983"/>
                  <a:gd name="connsiteY71" fmla="*/ 4095750 h 4496940"/>
                  <a:gd name="connsiteX72" fmla="*/ 3516652 w 4519983"/>
                  <a:gd name="connsiteY72" fmla="*/ 4114800 h 4496940"/>
                  <a:gd name="connsiteX73" fmla="*/ 3497602 w 4519983"/>
                  <a:gd name="connsiteY73" fmla="*/ 4143375 h 4496940"/>
                  <a:gd name="connsiteX74" fmla="*/ 3383302 w 4519983"/>
                  <a:gd name="connsiteY74" fmla="*/ 4210050 h 4496940"/>
                  <a:gd name="connsiteX75" fmla="*/ 3335677 w 4519983"/>
                  <a:gd name="connsiteY75" fmla="*/ 4238625 h 4496940"/>
                  <a:gd name="connsiteX76" fmla="*/ 3288052 w 4519983"/>
                  <a:gd name="connsiteY76" fmla="*/ 4248150 h 4496940"/>
                  <a:gd name="connsiteX77" fmla="*/ 3240427 w 4519983"/>
                  <a:gd name="connsiteY77" fmla="*/ 4267200 h 4496940"/>
                  <a:gd name="connsiteX78" fmla="*/ 3068977 w 4519983"/>
                  <a:gd name="connsiteY78" fmla="*/ 4286250 h 4496940"/>
                  <a:gd name="connsiteX79" fmla="*/ 2935627 w 4519983"/>
                  <a:gd name="connsiteY79" fmla="*/ 4333875 h 4496940"/>
                  <a:gd name="connsiteX80" fmla="*/ 2811802 w 4519983"/>
                  <a:gd name="connsiteY80" fmla="*/ 4371975 h 4496940"/>
                  <a:gd name="connsiteX81" fmla="*/ 2745127 w 4519983"/>
                  <a:gd name="connsiteY81" fmla="*/ 4410075 h 4496940"/>
                  <a:gd name="connsiteX82" fmla="*/ 2697502 w 4519983"/>
                  <a:gd name="connsiteY82" fmla="*/ 4429125 h 4496940"/>
                  <a:gd name="connsiteX83" fmla="*/ 2640352 w 4519983"/>
                  <a:gd name="connsiteY83" fmla="*/ 4457700 h 4496940"/>
                  <a:gd name="connsiteX84" fmla="*/ 2583202 w 4519983"/>
                  <a:gd name="connsiteY84" fmla="*/ 4467225 h 4496940"/>
                  <a:gd name="connsiteX85" fmla="*/ 2545102 w 4519983"/>
                  <a:gd name="connsiteY85" fmla="*/ 4486275 h 4496940"/>
                  <a:gd name="connsiteX86" fmla="*/ 2306977 w 4519983"/>
                  <a:gd name="connsiteY86" fmla="*/ 4476750 h 4496940"/>
                  <a:gd name="connsiteX87" fmla="*/ 2202202 w 4519983"/>
                  <a:gd name="connsiteY87" fmla="*/ 4457700 h 4496940"/>
                  <a:gd name="connsiteX88" fmla="*/ 2126002 w 4519983"/>
                  <a:gd name="connsiteY88" fmla="*/ 4429125 h 4496940"/>
                  <a:gd name="connsiteX89" fmla="*/ 1935502 w 4519983"/>
                  <a:gd name="connsiteY89" fmla="*/ 4400550 h 4496940"/>
                  <a:gd name="connsiteX90" fmla="*/ 1821202 w 4519983"/>
                  <a:gd name="connsiteY90" fmla="*/ 4371975 h 4496940"/>
                  <a:gd name="connsiteX91" fmla="*/ 1754527 w 4519983"/>
                  <a:gd name="connsiteY91" fmla="*/ 4352925 h 4496940"/>
                  <a:gd name="connsiteX92" fmla="*/ 1687852 w 4519983"/>
                  <a:gd name="connsiteY92" fmla="*/ 4343400 h 4496940"/>
                  <a:gd name="connsiteX93" fmla="*/ 1573552 w 4519983"/>
                  <a:gd name="connsiteY93" fmla="*/ 4305300 h 4496940"/>
                  <a:gd name="connsiteX94" fmla="*/ 1402102 w 4519983"/>
                  <a:gd name="connsiteY94" fmla="*/ 4276725 h 4496940"/>
                  <a:gd name="connsiteX95" fmla="*/ 1287802 w 4519983"/>
                  <a:gd name="connsiteY95" fmla="*/ 4229100 h 4496940"/>
                  <a:gd name="connsiteX96" fmla="*/ 1221127 w 4519983"/>
                  <a:gd name="connsiteY96" fmla="*/ 4200525 h 4496940"/>
                  <a:gd name="connsiteX97" fmla="*/ 1144927 w 4519983"/>
                  <a:gd name="connsiteY97" fmla="*/ 4171950 h 4496940"/>
                  <a:gd name="connsiteX98" fmla="*/ 1087777 w 4519983"/>
                  <a:gd name="connsiteY98" fmla="*/ 4143375 h 4496940"/>
                  <a:gd name="connsiteX99" fmla="*/ 1030627 w 4519983"/>
                  <a:gd name="connsiteY99" fmla="*/ 4124325 h 4496940"/>
                  <a:gd name="connsiteX100" fmla="*/ 925852 w 4519983"/>
                  <a:gd name="connsiteY100" fmla="*/ 4067175 h 4496940"/>
                  <a:gd name="connsiteX101" fmla="*/ 830602 w 4519983"/>
                  <a:gd name="connsiteY101" fmla="*/ 3981450 h 4496940"/>
                  <a:gd name="connsiteX102" fmla="*/ 763927 w 4519983"/>
                  <a:gd name="connsiteY102" fmla="*/ 3914775 h 4496940"/>
                  <a:gd name="connsiteX103" fmla="*/ 725827 w 4519983"/>
                  <a:gd name="connsiteY103" fmla="*/ 3876675 h 4496940"/>
                  <a:gd name="connsiteX104" fmla="*/ 697252 w 4519983"/>
                  <a:gd name="connsiteY104" fmla="*/ 3838575 h 4496940"/>
                  <a:gd name="connsiteX105" fmla="*/ 640102 w 4519983"/>
                  <a:gd name="connsiteY105" fmla="*/ 3781425 h 4496940"/>
                  <a:gd name="connsiteX106" fmla="*/ 611527 w 4519983"/>
                  <a:gd name="connsiteY106" fmla="*/ 3733800 h 4496940"/>
                  <a:gd name="connsiteX107" fmla="*/ 554377 w 4519983"/>
                  <a:gd name="connsiteY107" fmla="*/ 3657600 h 4496940"/>
                  <a:gd name="connsiteX108" fmla="*/ 525802 w 4519983"/>
                  <a:gd name="connsiteY108" fmla="*/ 3609975 h 4496940"/>
                  <a:gd name="connsiteX109" fmla="*/ 497227 w 4519983"/>
                  <a:gd name="connsiteY109" fmla="*/ 3552825 h 4496940"/>
                  <a:gd name="connsiteX110" fmla="*/ 440077 w 4519983"/>
                  <a:gd name="connsiteY110" fmla="*/ 3495675 h 4496940"/>
                  <a:gd name="connsiteX111" fmla="*/ 411502 w 4519983"/>
                  <a:gd name="connsiteY111" fmla="*/ 3448050 h 4496940"/>
                  <a:gd name="connsiteX112" fmla="*/ 278152 w 4519983"/>
                  <a:gd name="connsiteY112" fmla="*/ 3257550 h 4496940"/>
                  <a:gd name="connsiteX113" fmla="*/ 249577 w 4519983"/>
                  <a:gd name="connsiteY113" fmla="*/ 3200400 h 4496940"/>
                  <a:gd name="connsiteX114" fmla="*/ 240052 w 4519983"/>
                  <a:gd name="connsiteY114" fmla="*/ 3162300 h 4496940"/>
                  <a:gd name="connsiteX115" fmla="*/ 221002 w 4519983"/>
                  <a:gd name="connsiteY115" fmla="*/ 3105150 h 4496940"/>
                  <a:gd name="connsiteX116" fmla="*/ 173377 w 4519983"/>
                  <a:gd name="connsiteY116" fmla="*/ 3019425 h 4496940"/>
                  <a:gd name="connsiteX117" fmla="*/ 144802 w 4519983"/>
                  <a:gd name="connsiteY117" fmla="*/ 2924175 h 4496940"/>
                  <a:gd name="connsiteX118" fmla="*/ 68602 w 4519983"/>
                  <a:gd name="connsiteY118" fmla="*/ 2724150 h 4496940"/>
                  <a:gd name="connsiteX119" fmla="*/ 49552 w 4519983"/>
                  <a:gd name="connsiteY119" fmla="*/ 2638425 h 4496940"/>
                  <a:gd name="connsiteX120" fmla="*/ 40027 w 4519983"/>
                  <a:gd name="connsiteY120" fmla="*/ 2562225 h 4496940"/>
                  <a:gd name="connsiteX121" fmla="*/ 30502 w 4519983"/>
                  <a:gd name="connsiteY121" fmla="*/ 2514600 h 4496940"/>
                  <a:gd name="connsiteX122" fmla="*/ 11452 w 4519983"/>
                  <a:gd name="connsiteY122" fmla="*/ 2400300 h 4496940"/>
                  <a:gd name="connsiteX123" fmla="*/ 20977 w 4519983"/>
                  <a:gd name="connsiteY123" fmla="*/ 1905000 h 4496940"/>
                  <a:gd name="connsiteX124" fmla="*/ 30502 w 4519983"/>
                  <a:gd name="connsiteY124" fmla="*/ 1838325 h 4496940"/>
                  <a:gd name="connsiteX125" fmla="*/ 49552 w 4519983"/>
                  <a:gd name="connsiteY125" fmla="*/ 1781175 h 4496940"/>
                  <a:gd name="connsiteX126" fmla="*/ 59077 w 4519983"/>
                  <a:gd name="connsiteY126" fmla="*/ 1743075 h 4496940"/>
                  <a:gd name="connsiteX127" fmla="*/ 78127 w 4519983"/>
                  <a:gd name="connsiteY127" fmla="*/ 1685925 h 4496940"/>
                  <a:gd name="connsiteX128" fmla="*/ 87652 w 4519983"/>
                  <a:gd name="connsiteY128" fmla="*/ 1638300 h 4496940"/>
                  <a:gd name="connsiteX129" fmla="*/ 106702 w 4519983"/>
                  <a:gd name="connsiteY129" fmla="*/ 1590675 h 4496940"/>
                  <a:gd name="connsiteX130" fmla="*/ 135277 w 4519983"/>
                  <a:gd name="connsiteY130" fmla="*/ 1504950 h 4496940"/>
                  <a:gd name="connsiteX131" fmla="*/ 154327 w 4519983"/>
                  <a:gd name="connsiteY131" fmla="*/ 1419225 h 4496940"/>
                  <a:gd name="connsiteX132" fmla="*/ 230527 w 4519983"/>
                  <a:gd name="connsiteY132" fmla="*/ 1276350 h 4496940"/>
                  <a:gd name="connsiteX133" fmla="*/ 240052 w 4519983"/>
                  <a:gd name="connsiteY133" fmla="*/ 1247775 h 4496940"/>
                  <a:gd name="connsiteX134" fmla="*/ 268627 w 4519983"/>
                  <a:gd name="connsiteY134" fmla="*/ 1200150 h 4496940"/>
                  <a:gd name="connsiteX135" fmla="*/ 287677 w 4519983"/>
                  <a:gd name="connsiteY135" fmla="*/ 1152525 h 4496940"/>
                  <a:gd name="connsiteX136" fmla="*/ 316252 w 4519983"/>
                  <a:gd name="connsiteY136" fmla="*/ 1114425 h 4496940"/>
                  <a:gd name="connsiteX137" fmla="*/ 363877 w 4519983"/>
                  <a:gd name="connsiteY137" fmla="*/ 1038225 h 4496940"/>
                  <a:gd name="connsiteX138" fmla="*/ 382927 w 4519983"/>
                  <a:gd name="connsiteY138" fmla="*/ 1009650 h 4496940"/>
                  <a:gd name="connsiteX139" fmla="*/ 440077 w 4519983"/>
                  <a:gd name="connsiteY139" fmla="*/ 904875 h 4496940"/>
                  <a:gd name="connsiteX140" fmla="*/ 478177 w 4519983"/>
                  <a:gd name="connsiteY140" fmla="*/ 857250 h 4496940"/>
                  <a:gd name="connsiteX141" fmla="*/ 497227 w 4519983"/>
                  <a:gd name="connsiteY141" fmla="*/ 828675 h 4496940"/>
                  <a:gd name="connsiteX142" fmla="*/ 535327 w 4519983"/>
                  <a:gd name="connsiteY142" fmla="*/ 800100 h 4496940"/>
                  <a:gd name="connsiteX143" fmla="*/ 602002 w 4519983"/>
                  <a:gd name="connsiteY143" fmla="*/ 733425 h 4496940"/>
                  <a:gd name="connsiteX144" fmla="*/ 668677 w 4519983"/>
                  <a:gd name="connsiteY144" fmla="*/ 676275 h 4496940"/>
                  <a:gd name="connsiteX145" fmla="*/ 697252 w 4519983"/>
                  <a:gd name="connsiteY145" fmla="*/ 657225 h 4496940"/>
                  <a:gd name="connsiteX146" fmla="*/ 840127 w 4519983"/>
                  <a:gd name="connsiteY146" fmla="*/ 533400 h 4496940"/>
                  <a:gd name="connsiteX147" fmla="*/ 887752 w 4519983"/>
                  <a:gd name="connsiteY147" fmla="*/ 504825 h 4496940"/>
                  <a:gd name="connsiteX148" fmla="*/ 1167152 w 4519983"/>
                  <a:gd name="connsiteY148" fmla="*/ 311150 h 4496940"/>
                  <a:gd name="connsiteX149" fmla="*/ 1268752 w 4519983"/>
                  <a:gd name="connsiteY149" fmla="*/ 285750 h 4496940"/>
                  <a:gd name="connsiteX150" fmla="*/ 1411627 w 4519983"/>
                  <a:gd name="connsiteY150" fmla="*/ 190500 h 4496940"/>
                  <a:gd name="connsiteX151" fmla="*/ 1449727 w 4519983"/>
                  <a:gd name="connsiteY151" fmla="*/ 161925 h 4496940"/>
                  <a:gd name="connsiteX152" fmla="*/ 1525927 w 4519983"/>
                  <a:gd name="connsiteY152" fmla="*/ 152400 h 4496940"/>
                  <a:gd name="connsiteX153" fmla="*/ 1583077 w 4519983"/>
                  <a:gd name="connsiteY153" fmla="*/ 142875 h 4496940"/>
                  <a:gd name="connsiteX154" fmla="*/ 1716427 w 4519983"/>
                  <a:gd name="connsiteY154" fmla="*/ 123825 h 4496940"/>
                  <a:gd name="connsiteX155" fmla="*/ 1811677 w 4519983"/>
                  <a:gd name="connsiteY155" fmla="*/ 114300 h 4496940"/>
                  <a:gd name="connsiteX156" fmla="*/ 1859302 w 4519983"/>
                  <a:gd name="connsiteY156" fmla="*/ 104775 h 4496940"/>
                  <a:gd name="connsiteX157" fmla="*/ 1916452 w 4519983"/>
                  <a:gd name="connsiteY157" fmla="*/ 95250 h 4496940"/>
                  <a:gd name="connsiteX158" fmla="*/ 2030752 w 4519983"/>
                  <a:gd name="connsiteY158" fmla="*/ 66675 h 4496940"/>
                  <a:gd name="connsiteX159" fmla="*/ 2097427 w 4519983"/>
                  <a:gd name="connsiteY159" fmla="*/ 47625 h 4496940"/>
                  <a:gd name="connsiteX160" fmla="*/ 2164102 w 4519983"/>
                  <a:gd name="connsiteY160" fmla="*/ 38100 h 4496940"/>
                  <a:gd name="connsiteX161" fmla="*/ 2392702 w 4519983"/>
                  <a:gd name="connsiteY16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3992902 w 4519987"/>
                  <a:gd name="connsiteY28" fmla="*/ 714375 h 4496940"/>
                  <a:gd name="connsiteX29" fmla="*/ 4050052 w 4519987"/>
                  <a:gd name="connsiteY29" fmla="*/ 790575 h 4496940"/>
                  <a:gd name="connsiteX30" fmla="*/ 4078627 w 4519987"/>
                  <a:gd name="connsiteY30" fmla="*/ 838200 h 4496940"/>
                  <a:gd name="connsiteX31" fmla="*/ 4107202 w 4519987"/>
                  <a:gd name="connsiteY31" fmla="*/ 876300 h 4496940"/>
                  <a:gd name="connsiteX32" fmla="*/ 4116727 w 4519987"/>
                  <a:gd name="connsiteY32" fmla="*/ 904875 h 4496940"/>
                  <a:gd name="connsiteX33" fmla="*/ 4135777 w 4519987"/>
                  <a:gd name="connsiteY33" fmla="*/ 933450 h 4496940"/>
                  <a:gd name="connsiteX34" fmla="*/ 4164352 w 4519987"/>
                  <a:gd name="connsiteY34" fmla="*/ 990600 h 4496940"/>
                  <a:gd name="connsiteX35" fmla="*/ 4173877 w 4519987"/>
                  <a:gd name="connsiteY35" fmla="*/ 1019175 h 4496940"/>
                  <a:gd name="connsiteX36" fmla="*/ 4192927 w 4519987"/>
                  <a:gd name="connsiteY36" fmla="*/ 1057275 h 4496940"/>
                  <a:gd name="connsiteX37" fmla="*/ 4202452 w 4519987"/>
                  <a:gd name="connsiteY37" fmla="*/ 1085850 h 4496940"/>
                  <a:gd name="connsiteX38" fmla="*/ 4250077 w 4519987"/>
                  <a:gd name="connsiteY38" fmla="*/ 1143000 h 4496940"/>
                  <a:gd name="connsiteX39" fmla="*/ 4259602 w 4519987"/>
                  <a:gd name="connsiteY39" fmla="*/ 1190625 h 4496940"/>
                  <a:gd name="connsiteX40" fmla="*/ 4307227 w 4519987"/>
                  <a:gd name="connsiteY40" fmla="*/ 1266825 h 4496940"/>
                  <a:gd name="connsiteX41" fmla="*/ 4345327 w 4519987"/>
                  <a:gd name="connsiteY41" fmla="*/ 1362075 h 4496940"/>
                  <a:gd name="connsiteX42" fmla="*/ 4373902 w 4519987"/>
                  <a:gd name="connsiteY42" fmla="*/ 1428750 h 4496940"/>
                  <a:gd name="connsiteX43" fmla="*/ 4392952 w 4519987"/>
                  <a:gd name="connsiteY43" fmla="*/ 1552575 h 4496940"/>
                  <a:gd name="connsiteX44" fmla="*/ 4402477 w 4519987"/>
                  <a:gd name="connsiteY44" fmla="*/ 1590675 h 4496940"/>
                  <a:gd name="connsiteX45" fmla="*/ 4431052 w 4519987"/>
                  <a:gd name="connsiteY45" fmla="*/ 1685925 h 4496940"/>
                  <a:gd name="connsiteX46" fmla="*/ 4519952 w 4519987"/>
                  <a:gd name="connsiteY46" fmla="*/ 2181225 h 4496940"/>
                  <a:gd name="connsiteX47" fmla="*/ 4446927 w 4519987"/>
                  <a:gd name="connsiteY47" fmla="*/ 2768600 h 4496940"/>
                  <a:gd name="connsiteX48" fmla="*/ 4383427 w 4519987"/>
                  <a:gd name="connsiteY48" fmla="*/ 2990850 h 4496940"/>
                  <a:gd name="connsiteX49" fmla="*/ 4354852 w 4519987"/>
                  <a:gd name="connsiteY49" fmla="*/ 3057525 h 4496940"/>
                  <a:gd name="connsiteX50" fmla="*/ 4335802 w 4519987"/>
                  <a:gd name="connsiteY50" fmla="*/ 3095625 h 4496940"/>
                  <a:gd name="connsiteX51" fmla="*/ 4278652 w 4519987"/>
                  <a:gd name="connsiteY51" fmla="*/ 3248025 h 4496940"/>
                  <a:gd name="connsiteX52" fmla="*/ 4259602 w 4519987"/>
                  <a:gd name="connsiteY52" fmla="*/ 3276600 h 4496940"/>
                  <a:gd name="connsiteX53" fmla="*/ 4221502 w 4519987"/>
                  <a:gd name="connsiteY53" fmla="*/ 3333750 h 4496940"/>
                  <a:gd name="connsiteX54" fmla="*/ 4211977 w 4519987"/>
                  <a:gd name="connsiteY54" fmla="*/ 3362325 h 4496940"/>
                  <a:gd name="connsiteX55" fmla="*/ 4183402 w 4519987"/>
                  <a:gd name="connsiteY55" fmla="*/ 3400425 h 4496940"/>
                  <a:gd name="connsiteX56" fmla="*/ 4164352 w 4519987"/>
                  <a:gd name="connsiteY56" fmla="*/ 3429000 h 4496940"/>
                  <a:gd name="connsiteX57" fmla="*/ 4088152 w 4519987"/>
                  <a:gd name="connsiteY57" fmla="*/ 3495675 h 4496940"/>
                  <a:gd name="connsiteX58" fmla="*/ 4059577 w 4519987"/>
                  <a:gd name="connsiteY58" fmla="*/ 3533775 h 4496940"/>
                  <a:gd name="connsiteX59" fmla="*/ 4002427 w 4519987"/>
                  <a:gd name="connsiteY59" fmla="*/ 3600450 h 4496940"/>
                  <a:gd name="connsiteX60" fmla="*/ 3983377 w 4519987"/>
                  <a:gd name="connsiteY60" fmla="*/ 3629025 h 4496940"/>
                  <a:gd name="connsiteX61" fmla="*/ 3954802 w 4519987"/>
                  <a:gd name="connsiteY61" fmla="*/ 3648075 h 4496940"/>
                  <a:gd name="connsiteX62" fmla="*/ 3907177 w 4519987"/>
                  <a:gd name="connsiteY62" fmla="*/ 3686175 h 4496940"/>
                  <a:gd name="connsiteX63" fmla="*/ 3869077 w 4519987"/>
                  <a:gd name="connsiteY63" fmla="*/ 3724275 h 4496940"/>
                  <a:gd name="connsiteX64" fmla="*/ 3792877 w 4519987"/>
                  <a:gd name="connsiteY64" fmla="*/ 3781425 h 4496940"/>
                  <a:gd name="connsiteX65" fmla="*/ 3783352 w 4519987"/>
                  <a:gd name="connsiteY65" fmla="*/ 3810000 h 4496940"/>
                  <a:gd name="connsiteX66" fmla="*/ 3745252 w 4519987"/>
                  <a:gd name="connsiteY66" fmla="*/ 3819525 h 4496940"/>
                  <a:gd name="connsiteX67" fmla="*/ 3678577 w 4519987"/>
                  <a:gd name="connsiteY67" fmla="*/ 3848100 h 4496940"/>
                  <a:gd name="connsiteX68" fmla="*/ 3659527 w 4519987"/>
                  <a:gd name="connsiteY68" fmla="*/ 3971925 h 4496940"/>
                  <a:gd name="connsiteX69" fmla="*/ 3630952 w 4519987"/>
                  <a:gd name="connsiteY69" fmla="*/ 4010025 h 4496940"/>
                  <a:gd name="connsiteX70" fmla="*/ 3621427 w 4519987"/>
                  <a:gd name="connsiteY70" fmla="*/ 4038600 h 4496940"/>
                  <a:gd name="connsiteX71" fmla="*/ 3554752 w 4519987"/>
                  <a:gd name="connsiteY71" fmla="*/ 4095750 h 4496940"/>
                  <a:gd name="connsiteX72" fmla="*/ 3516652 w 4519987"/>
                  <a:gd name="connsiteY72" fmla="*/ 4114800 h 4496940"/>
                  <a:gd name="connsiteX73" fmla="*/ 3497602 w 4519987"/>
                  <a:gd name="connsiteY73" fmla="*/ 4143375 h 4496940"/>
                  <a:gd name="connsiteX74" fmla="*/ 3383302 w 4519987"/>
                  <a:gd name="connsiteY74" fmla="*/ 4210050 h 4496940"/>
                  <a:gd name="connsiteX75" fmla="*/ 3335677 w 4519987"/>
                  <a:gd name="connsiteY75" fmla="*/ 4238625 h 4496940"/>
                  <a:gd name="connsiteX76" fmla="*/ 3288052 w 4519987"/>
                  <a:gd name="connsiteY76" fmla="*/ 4248150 h 4496940"/>
                  <a:gd name="connsiteX77" fmla="*/ 3240427 w 4519987"/>
                  <a:gd name="connsiteY77" fmla="*/ 4267200 h 4496940"/>
                  <a:gd name="connsiteX78" fmla="*/ 3068977 w 4519987"/>
                  <a:gd name="connsiteY78" fmla="*/ 4286250 h 4496940"/>
                  <a:gd name="connsiteX79" fmla="*/ 2935627 w 4519987"/>
                  <a:gd name="connsiteY79" fmla="*/ 4333875 h 4496940"/>
                  <a:gd name="connsiteX80" fmla="*/ 2811802 w 4519987"/>
                  <a:gd name="connsiteY80" fmla="*/ 4371975 h 4496940"/>
                  <a:gd name="connsiteX81" fmla="*/ 2745127 w 4519987"/>
                  <a:gd name="connsiteY81" fmla="*/ 4410075 h 4496940"/>
                  <a:gd name="connsiteX82" fmla="*/ 2697502 w 4519987"/>
                  <a:gd name="connsiteY82" fmla="*/ 4429125 h 4496940"/>
                  <a:gd name="connsiteX83" fmla="*/ 2640352 w 4519987"/>
                  <a:gd name="connsiteY83" fmla="*/ 4457700 h 4496940"/>
                  <a:gd name="connsiteX84" fmla="*/ 2583202 w 4519987"/>
                  <a:gd name="connsiteY84" fmla="*/ 4467225 h 4496940"/>
                  <a:gd name="connsiteX85" fmla="*/ 2545102 w 4519987"/>
                  <a:gd name="connsiteY85" fmla="*/ 4486275 h 4496940"/>
                  <a:gd name="connsiteX86" fmla="*/ 2306977 w 4519987"/>
                  <a:gd name="connsiteY86" fmla="*/ 4476750 h 4496940"/>
                  <a:gd name="connsiteX87" fmla="*/ 2202202 w 4519987"/>
                  <a:gd name="connsiteY87" fmla="*/ 4457700 h 4496940"/>
                  <a:gd name="connsiteX88" fmla="*/ 2126002 w 4519987"/>
                  <a:gd name="connsiteY88" fmla="*/ 4429125 h 4496940"/>
                  <a:gd name="connsiteX89" fmla="*/ 1935502 w 4519987"/>
                  <a:gd name="connsiteY89" fmla="*/ 4400550 h 4496940"/>
                  <a:gd name="connsiteX90" fmla="*/ 1821202 w 4519987"/>
                  <a:gd name="connsiteY90" fmla="*/ 4371975 h 4496940"/>
                  <a:gd name="connsiteX91" fmla="*/ 1754527 w 4519987"/>
                  <a:gd name="connsiteY91" fmla="*/ 4352925 h 4496940"/>
                  <a:gd name="connsiteX92" fmla="*/ 1687852 w 4519987"/>
                  <a:gd name="connsiteY92" fmla="*/ 4343400 h 4496940"/>
                  <a:gd name="connsiteX93" fmla="*/ 1573552 w 4519987"/>
                  <a:gd name="connsiteY93" fmla="*/ 4305300 h 4496940"/>
                  <a:gd name="connsiteX94" fmla="*/ 1402102 w 4519987"/>
                  <a:gd name="connsiteY94" fmla="*/ 4276725 h 4496940"/>
                  <a:gd name="connsiteX95" fmla="*/ 1287802 w 4519987"/>
                  <a:gd name="connsiteY95" fmla="*/ 4229100 h 4496940"/>
                  <a:gd name="connsiteX96" fmla="*/ 1221127 w 4519987"/>
                  <a:gd name="connsiteY96" fmla="*/ 4200525 h 4496940"/>
                  <a:gd name="connsiteX97" fmla="*/ 1144927 w 4519987"/>
                  <a:gd name="connsiteY97" fmla="*/ 4171950 h 4496940"/>
                  <a:gd name="connsiteX98" fmla="*/ 1087777 w 4519987"/>
                  <a:gd name="connsiteY98" fmla="*/ 4143375 h 4496940"/>
                  <a:gd name="connsiteX99" fmla="*/ 1030627 w 4519987"/>
                  <a:gd name="connsiteY99" fmla="*/ 4124325 h 4496940"/>
                  <a:gd name="connsiteX100" fmla="*/ 925852 w 4519987"/>
                  <a:gd name="connsiteY100" fmla="*/ 4067175 h 4496940"/>
                  <a:gd name="connsiteX101" fmla="*/ 830602 w 4519987"/>
                  <a:gd name="connsiteY101" fmla="*/ 3981450 h 4496940"/>
                  <a:gd name="connsiteX102" fmla="*/ 763927 w 4519987"/>
                  <a:gd name="connsiteY102" fmla="*/ 3914775 h 4496940"/>
                  <a:gd name="connsiteX103" fmla="*/ 725827 w 4519987"/>
                  <a:gd name="connsiteY103" fmla="*/ 3876675 h 4496940"/>
                  <a:gd name="connsiteX104" fmla="*/ 697252 w 4519987"/>
                  <a:gd name="connsiteY104" fmla="*/ 3838575 h 4496940"/>
                  <a:gd name="connsiteX105" fmla="*/ 640102 w 4519987"/>
                  <a:gd name="connsiteY105" fmla="*/ 3781425 h 4496940"/>
                  <a:gd name="connsiteX106" fmla="*/ 611527 w 4519987"/>
                  <a:gd name="connsiteY106" fmla="*/ 3733800 h 4496940"/>
                  <a:gd name="connsiteX107" fmla="*/ 554377 w 4519987"/>
                  <a:gd name="connsiteY107" fmla="*/ 3657600 h 4496940"/>
                  <a:gd name="connsiteX108" fmla="*/ 525802 w 4519987"/>
                  <a:gd name="connsiteY108" fmla="*/ 3609975 h 4496940"/>
                  <a:gd name="connsiteX109" fmla="*/ 497227 w 4519987"/>
                  <a:gd name="connsiteY109" fmla="*/ 3552825 h 4496940"/>
                  <a:gd name="connsiteX110" fmla="*/ 440077 w 4519987"/>
                  <a:gd name="connsiteY110" fmla="*/ 3495675 h 4496940"/>
                  <a:gd name="connsiteX111" fmla="*/ 411502 w 4519987"/>
                  <a:gd name="connsiteY111" fmla="*/ 3448050 h 4496940"/>
                  <a:gd name="connsiteX112" fmla="*/ 278152 w 4519987"/>
                  <a:gd name="connsiteY112" fmla="*/ 3257550 h 4496940"/>
                  <a:gd name="connsiteX113" fmla="*/ 249577 w 4519987"/>
                  <a:gd name="connsiteY113" fmla="*/ 3200400 h 4496940"/>
                  <a:gd name="connsiteX114" fmla="*/ 240052 w 4519987"/>
                  <a:gd name="connsiteY114" fmla="*/ 3162300 h 4496940"/>
                  <a:gd name="connsiteX115" fmla="*/ 221002 w 4519987"/>
                  <a:gd name="connsiteY115" fmla="*/ 3105150 h 4496940"/>
                  <a:gd name="connsiteX116" fmla="*/ 173377 w 4519987"/>
                  <a:gd name="connsiteY116" fmla="*/ 3019425 h 4496940"/>
                  <a:gd name="connsiteX117" fmla="*/ 144802 w 4519987"/>
                  <a:gd name="connsiteY117" fmla="*/ 2924175 h 4496940"/>
                  <a:gd name="connsiteX118" fmla="*/ 68602 w 4519987"/>
                  <a:gd name="connsiteY118" fmla="*/ 2724150 h 4496940"/>
                  <a:gd name="connsiteX119" fmla="*/ 49552 w 4519987"/>
                  <a:gd name="connsiteY119" fmla="*/ 2638425 h 4496940"/>
                  <a:gd name="connsiteX120" fmla="*/ 40027 w 4519987"/>
                  <a:gd name="connsiteY120" fmla="*/ 2562225 h 4496940"/>
                  <a:gd name="connsiteX121" fmla="*/ 30502 w 4519987"/>
                  <a:gd name="connsiteY121" fmla="*/ 2514600 h 4496940"/>
                  <a:gd name="connsiteX122" fmla="*/ 11452 w 4519987"/>
                  <a:gd name="connsiteY122" fmla="*/ 2400300 h 4496940"/>
                  <a:gd name="connsiteX123" fmla="*/ 20977 w 4519987"/>
                  <a:gd name="connsiteY123" fmla="*/ 1905000 h 4496940"/>
                  <a:gd name="connsiteX124" fmla="*/ 30502 w 4519987"/>
                  <a:gd name="connsiteY124" fmla="*/ 1838325 h 4496940"/>
                  <a:gd name="connsiteX125" fmla="*/ 49552 w 4519987"/>
                  <a:gd name="connsiteY125" fmla="*/ 1781175 h 4496940"/>
                  <a:gd name="connsiteX126" fmla="*/ 59077 w 4519987"/>
                  <a:gd name="connsiteY126" fmla="*/ 1743075 h 4496940"/>
                  <a:gd name="connsiteX127" fmla="*/ 78127 w 4519987"/>
                  <a:gd name="connsiteY127" fmla="*/ 1685925 h 4496940"/>
                  <a:gd name="connsiteX128" fmla="*/ 87652 w 4519987"/>
                  <a:gd name="connsiteY128" fmla="*/ 1638300 h 4496940"/>
                  <a:gd name="connsiteX129" fmla="*/ 106702 w 4519987"/>
                  <a:gd name="connsiteY129" fmla="*/ 1590675 h 4496940"/>
                  <a:gd name="connsiteX130" fmla="*/ 135277 w 4519987"/>
                  <a:gd name="connsiteY130" fmla="*/ 1504950 h 4496940"/>
                  <a:gd name="connsiteX131" fmla="*/ 154327 w 4519987"/>
                  <a:gd name="connsiteY131" fmla="*/ 1419225 h 4496940"/>
                  <a:gd name="connsiteX132" fmla="*/ 230527 w 4519987"/>
                  <a:gd name="connsiteY132" fmla="*/ 1276350 h 4496940"/>
                  <a:gd name="connsiteX133" fmla="*/ 240052 w 4519987"/>
                  <a:gd name="connsiteY133" fmla="*/ 1247775 h 4496940"/>
                  <a:gd name="connsiteX134" fmla="*/ 268627 w 4519987"/>
                  <a:gd name="connsiteY134" fmla="*/ 1200150 h 4496940"/>
                  <a:gd name="connsiteX135" fmla="*/ 287677 w 4519987"/>
                  <a:gd name="connsiteY135" fmla="*/ 1152525 h 4496940"/>
                  <a:gd name="connsiteX136" fmla="*/ 316252 w 4519987"/>
                  <a:gd name="connsiteY136" fmla="*/ 1114425 h 4496940"/>
                  <a:gd name="connsiteX137" fmla="*/ 363877 w 4519987"/>
                  <a:gd name="connsiteY137" fmla="*/ 1038225 h 4496940"/>
                  <a:gd name="connsiteX138" fmla="*/ 382927 w 4519987"/>
                  <a:gd name="connsiteY138" fmla="*/ 1009650 h 4496940"/>
                  <a:gd name="connsiteX139" fmla="*/ 440077 w 4519987"/>
                  <a:gd name="connsiteY139" fmla="*/ 904875 h 4496940"/>
                  <a:gd name="connsiteX140" fmla="*/ 478177 w 4519987"/>
                  <a:gd name="connsiteY140" fmla="*/ 857250 h 4496940"/>
                  <a:gd name="connsiteX141" fmla="*/ 497227 w 4519987"/>
                  <a:gd name="connsiteY141" fmla="*/ 828675 h 4496940"/>
                  <a:gd name="connsiteX142" fmla="*/ 535327 w 4519987"/>
                  <a:gd name="connsiteY142" fmla="*/ 800100 h 4496940"/>
                  <a:gd name="connsiteX143" fmla="*/ 602002 w 4519987"/>
                  <a:gd name="connsiteY143" fmla="*/ 733425 h 4496940"/>
                  <a:gd name="connsiteX144" fmla="*/ 668677 w 4519987"/>
                  <a:gd name="connsiteY144" fmla="*/ 676275 h 4496940"/>
                  <a:gd name="connsiteX145" fmla="*/ 697252 w 4519987"/>
                  <a:gd name="connsiteY145" fmla="*/ 657225 h 4496940"/>
                  <a:gd name="connsiteX146" fmla="*/ 840127 w 4519987"/>
                  <a:gd name="connsiteY146" fmla="*/ 533400 h 4496940"/>
                  <a:gd name="connsiteX147" fmla="*/ 887752 w 4519987"/>
                  <a:gd name="connsiteY147" fmla="*/ 504825 h 4496940"/>
                  <a:gd name="connsiteX148" fmla="*/ 1167152 w 4519987"/>
                  <a:gd name="connsiteY148" fmla="*/ 311150 h 4496940"/>
                  <a:gd name="connsiteX149" fmla="*/ 1268752 w 4519987"/>
                  <a:gd name="connsiteY149" fmla="*/ 285750 h 4496940"/>
                  <a:gd name="connsiteX150" fmla="*/ 1411627 w 4519987"/>
                  <a:gd name="connsiteY150" fmla="*/ 190500 h 4496940"/>
                  <a:gd name="connsiteX151" fmla="*/ 1449727 w 4519987"/>
                  <a:gd name="connsiteY151" fmla="*/ 161925 h 4496940"/>
                  <a:gd name="connsiteX152" fmla="*/ 1525927 w 4519987"/>
                  <a:gd name="connsiteY152" fmla="*/ 152400 h 4496940"/>
                  <a:gd name="connsiteX153" fmla="*/ 1583077 w 4519987"/>
                  <a:gd name="connsiteY153" fmla="*/ 142875 h 4496940"/>
                  <a:gd name="connsiteX154" fmla="*/ 1716427 w 4519987"/>
                  <a:gd name="connsiteY154" fmla="*/ 123825 h 4496940"/>
                  <a:gd name="connsiteX155" fmla="*/ 1811677 w 4519987"/>
                  <a:gd name="connsiteY155" fmla="*/ 114300 h 4496940"/>
                  <a:gd name="connsiteX156" fmla="*/ 1859302 w 4519987"/>
                  <a:gd name="connsiteY156" fmla="*/ 104775 h 4496940"/>
                  <a:gd name="connsiteX157" fmla="*/ 1916452 w 4519987"/>
                  <a:gd name="connsiteY157" fmla="*/ 95250 h 4496940"/>
                  <a:gd name="connsiteX158" fmla="*/ 2030752 w 4519987"/>
                  <a:gd name="connsiteY158" fmla="*/ 66675 h 4496940"/>
                  <a:gd name="connsiteX159" fmla="*/ 2097427 w 4519987"/>
                  <a:gd name="connsiteY159" fmla="*/ 47625 h 4496940"/>
                  <a:gd name="connsiteX160" fmla="*/ 2164102 w 4519987"/>
                  <a:gd name="connsiteY160" fmla="*/ 38100 h 4496940"/>
                  <a:gd name="connsiteX161" fmla="*/ 2392702 w 4519987"/>
                  <a:gd name="connsiteY16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3992902 w 4519987"/>
                  <a:gd name="connsiteY28" fmla="*/ 714375 h 4496940"/>
                  <a:gd name="connsiteX29" fmla="*/ 4050052 w 4519987"/>
                  <a:gd name="connsiteY29" fmla="*/ 790575 h 4496940"/>
                  <a:gd name="connsiteX30" fmla="*/ 4078627 w 4519987"/>
                  <a:gd name="connsiteY30" fmla="*/ 838200 h 4496940"/>
                  <a:gd name="connsiteX31" fmla="*/ 4107202 w 4519987"/>
                  <a:gd name="connsiteY31" fmla="*/ 876300 h 4496940"/>
                  <a:gd name="connsiteX32" fmla="*/ 4116727 w 4519987"/>
                  <a:gd name="connsiteY32" fmla="*/ 904875 h 4496940"/>
                  <a:gd name="connsiteX33" fmla="*/ 4135777 w 4519987"/>
                  <a:gd name="connsiteY33" fmla="*/ 933450 h 4496940"/>
                  <a:gd name="connsiteX34" fmla="*/ 4164352 w 4519987"/>
                  <a:gd name="connsiteY34" fmla="*/ 990600 h 4496940"/>
                  <a:gd name="connsiteX35" fmla="*/ 4173877 w 4519987"/>
                  <a:gd name="connsiteY35" fmla="*/ 1019175 h 4496940"/>
                  <a:gd name="connsiteX36" fmla="*/ 4192927 w 4519987"/>
                  <a:gd name="connsiteY36" fmla="*/ 1057275 h 4496940"/>
                  <a:gd name="connsiteX37" fmla="*/ 4202452 w 4519987"/>
                  <a:gd name="connsiteY37" fmla="*/ 1085850 h 4496940"/>
                  <a:gd name="connsiteX38" fmla="*/ 4250077 w 4519987"/>
                  <a:gd name="connsiteY38" fmla="*/ 1143000 h 4496940"/>
                  <a:gd name="connsiteX39" fmla="*/ 4259602 w 4519987"/>
                  <a:gd name="connsiteY39" fmla="*/ 1190625 h 4496940"/>
                  <a:gd name="connsiteX40" fmla="*/ 4307227 w 4519987"/>
                  <a:gd name="connsiteY40" fmla="*/ 1266825 h 4496940"/>
                  <a:gd name="connsiteX41" fmla="*/ 4345327 w 4519987"/>
                  <a:gd name="connsiteY41" fmla="*/ 1362075 h 4496940"/>
                  <a:gd name="connsiteX42" fmla="*/ 4373902 w 4519987"/>
                  <a:gd name="connsiteY42" fmla="*/ 1428750 h 4496940"/>
                  <a:gd name="connsiteX43" fmla="*/ 4392952 w 4519987"/>
                  <a:gd name="connsiteY43" fmla="*/ 1552575 h 4496940"/>
                  <a:gd name="connsiteX44" fmla="*/ 4402477 w 4519987"/>
                  <a:gd name="connsiteY44" fmla="*/ 1590675 h 4496940"/>
                  <a:gd name="connsiteX45" fmla="*/ 4431052 w 4519987"/>
                  <a:gd name="connsiteY45" fmla="*/ 1685925 h 4496940"/>
                  <a:gd name="connsiteX46" fmla="*/ 4519952 w 4519987"/>
                  <a:gd name="connsiteY46" fmla="*/ 2181225 h 4496940"/>
                  <a:gd name="connsiteX47" fmla="*/ 4446927 w 4519987"/>
                  <a:gd name="connsiteY47" fmla="*/ 2768600 h 4496940"/>
                  <a:gd name="connsiteX48" fmla="*/ 4383427 w 4519987"/>
                  <a:gd name="connsiteY48" fmla="*/ 2990850 h 4496940"/>
                  <a:gd name="connsiteX49" fmla="*/ 4354852 w 4519987"/>
                  <a:gd name="connsiteY49" fmla="*/ 3057525 h 4496940"/>
                  <a:gd name="connsiteX50" fmla="*/ 4278652 w 4519987"/>
                  <a:gd name="connsiteY50" fmla="*/ 3248025 h 4496940"/>
                  <a:gd name="connsiteX51" fmla="*/ 4259602 w 4519987"/>
                  <a:gd name="connsiteY51" fmla="*/ 3276600 h 4496940"/>
                  <a:gd name="connsiteX52" fmla="*/ 4221502 w 4519987"/>
                  <a:gd name="connsiteY52" fmla="*/ 3333750 h 4496940"/>
                  <a:gd name="connsiteX53" fmla="*/ 4211977 w 4519987"/>
                  <a:gd name="connsiteY53" fmla="*/ 3362325 h 4496940"/>
                  <a:gd name="connsiteX54" fmla="*/ 4183402 w 4519987"/>
                  <a:gd name="connsiteY54" fmla="*/ 3400425 h 4496940"/>
                  <a:gd name="connsiteX55" fmla="*/ 4164352 w 4519987"/>
                  <a:gd name="connsiteY55" fmla="*/ 3429000 h 4496940"/>
                  <a:gd name="connsiteX56" fmla="*/ 4088152 w 4519987"/>
                  <a:gd name="connsiteY56" fmla="*/ 3495675 h 4496940"/>
                  <a:gd name="connsiteX57" fmla="*/ 4059577 w 4519987"/>
                  <a:gd name="connsiteY57" fmla="*/ 3533775 h 4496940"/>
                  <a:gd name="connsiteX58" fmla="*/ 4002427 w 4519987"/>
                  <a:gd name="connsiteY58" fmla="*/ 3600450 h 4496940"/>
                  <a:gd name="connsiteX59" fmla="*/ 3983377 w 4519987"/>
                  <a:gd name="connsiteY59" fmla="*/ 3629025 h 4496940"/>
                  <a:gd name="connsiteX60" fmla="*/ 3954802 w 4519987"/>
                  <a:gd name="connsiteY60" fmla="*/ 3648075 h 4496940"/>
                  <a:gd name="connsiteX61" fmla="*/ 3907177 w 4519987"/>
                  <a:gd name="connsiteY61" fmla="*/ 3686175 h 4496940"/>
                  <a:gd name="connsiteX62" fmla="*/ 3869077 w 4519987"/>
                  <a:gd name="connsiteY62" fmla="*/ 3724275 h 4496940"/>
                  <a:gd name="connsiteX63" fmla="*/ 3792877 w 4519987"/>
                  <a:gd name="connsiteY63" fmla="*/ 3781425 h 4496940"/>
                  <a:gd name="connsiteX64" fmla="*/ 3783352 w 4519987"/>
                  <a:gd name="connsiteY64" fmla="*/ 3810000 h 4496940"/>
                  <a:gd name="connsiteX65" fmla="*/ 3745252 w 4519987"/>
                  <a:gd name="connsiteY65" fmla="*/ 3819525 h 4496940"/>
                  <a:gd name="connsiteX66" fmla="*/ 3678577 w 4519987"/>
                  <a:gd name="connsiteY66" fmla="*/ 3848100 h 4496940"/>
                  <a:gd name="connsiteX67" fmla="*/ 3659527 w 4519987"/>
                  <a:gd name="connsiteY67" fmla="*/ 3971925 h 4496940"/>
                  <a:gd name="connsiteX68" fmla="*/ 3630952 w 4519987"/>
                  <a:gd name="connsiteY68" fmla="*/ 4010025 h 4496940"/>
                  <a:gd name="connsiteX69" fmla="*/ 3621427 w 4519987"/>
                  <a:gd name="connsiteY69" fmla="*/ 4038600 h 4496940"/>
                  <a:gd name="connsiteX70" fmla="*/ 3554752 w 4519987"/>
                  <a:gd name="connsiteY70" fmla="*/ 4095750 h 4496940"/>
                  <a:gd name="connsiteX71" fmla="*/ 3516652 w 4519987"/>
                  <a:gd name="connsiteY71" fmla="*/ 4114800 h 4496940"/>
                  <a:gd name="connsiteX72" fmla="*/ 3497602 w 4519987"/>
                  <a:gd name="connsiteY72" fmla="*/ 4143375 h 4496940"/>
                  <a:gd name="connsiteX73" fmla="*/ 3383302 w 4519987"/>
                  <a:gd name="connsiteY73" fmla="*/ 4210050 h 4496940"/>
                  <a:gd name="connsiteX74" fmla="*/ 3335677 w 4519987"/>
                  <a:gd name="connsiteY74" fmla="*/ 4238625 h 4496940"/>
                  <a:gd name="connsiteX75" fmla="*/ 3288052 w 4519987"/>
                  <a:gd name="connsiteY75" fmla="*/ 4248150 h 4496940"/>
                  <a:gd name="connsiteX76" fmla="*/ 3240427 w 4519987"/>
                  <a:gd name="connsiteY76" fmla="*/ 4267200 h 4496940"/>
                  <a:gd name="connsiteX77" fmla="*/ 3068977 w 4519987"/>
                  <a:gd name="connsiteY77" fmla="*/ 4286250 h 4496940"/>
                  <a:gd name="connsiteX78" fmla="*/ 2935627 w 4519987"/>
                  <a:gd name="connsiteY78" fmla="*/ 4333875 h 4496940"/>
                  <a:gd name="connsiteX79" fmla="*/ 2811802 w 4519987"/>
                  <a:gd name="connsiteY79" fmla="*/ 4371975 h 4496940"/>
                  <a:gd name="connsiteX80" fmla="*/ 2745127 w 4519987"/>
                  <a:gd name="connsiteY80" fmla="*/ 4410075 h 4496940"/>
                  <a:gd name="connsiteX81" fmla="*/ 2697502 w 4519987"/>
                  <a:gd name="connsiteY81" fmla="*/ 4429125 h 4496940"/>
                  <a:gd name="connsiteX82" fmla="*/ 2640352 w 4519987"/>
                  <a:gd name="connsiteY82" fmla="*/ 4457700 h 4496940"/>
                  <a:gd name="connsiteX83" fmla="*/ 2583202 w 4519987"/>
                  <a:gd name="connsiteY83" fmla="*/ 4467225 h 4496940"/>
                  <a:gd name="connsiteX84" fmla="*/ 2545102 w 4519987"/>
                  <a:gd name="connsiteY84" fmla="*/ 4486275 h 4496940"/>
                  <a:gd name="connsiteX85" fmla="*/ 2306977 w 4519987"/>
                  <a:gd name="connsiteY85" fmla="*/ 4476750 h 4496940"/>
                  <a:gd name="connsiteX86" fmla="*/ 2202202 w 4519987"/>
                  <a:gd name="connsiteY86" fmla="*/ 4457700 h 4496940"/>
                  <a:gd name="connsiteX87" fmla="*/ 2126002 w 4519987"/>
                  <a:gd name="connsiteY87" fmla="*/ 4429125 h 4496940"/>
                  <a:gd name="connsiteX88" fmla="*/ 1935502 w 4519987"/>
                  <a:gd name="connsiteY88" fmla="*/ 4400550 h 4496940"/>
                  <a:gd name="connsiteX89" fmla="*/ 1821202 w 4519987"/>
                  <a:gd name="connsiteY89" fmla="*/ 4371975 h 4496940"/>
                  <a:gd name="connsiteX90" fmla="*/ 1754527 w 4519987"/>
                  <a:gd name="connsiteY90" fmla="*/ 4352925 h 4496940"/>
                  <a:gd name="connsiteX91" fmla="*/ 1687852 w 4519987"/>
                  <a:gd name="connsiteY91" fmla="*/ 4343400 h 4496940"/>
                  <a:gd name="connsiteX92" fmla="*/ 1573552 w 4519987"/>
                  <a:gd name="connsiteY92" fmla="*/ 4305300 h 4496940"/>
                  <a:gd name="connsiteX93" fmla="*/ 1402102 w 4519987"/>
                  <a:gd name="connsiteY93" fmla="*/ 4276725 h 4496940"/>
                  <a:gd name="connsiteX94" fmla="*/ 1287802 w 4519987"/>
                  <a:gd name="connsiteY94" fmla="*/ 4229100 h 4496940"/>
                  <a:gd name="connsiteX95" fmla="*/ 1221127 w 4519987"/>
                  <a:gd name="connsiteY95" fmla="*/ 4200525 h 4496940"/>
                  <a:gd name="connsiteX96" fmla="*/ 1144927 w 4519987"/>
                  <a:gd name="connsiteY96" fmla="*/ 4171950 h 4496940"/>
                  <a:gd name="connsiteX97" fmla="*/ 1087777 w 4519987"/>
                  <a:gd name="connsiteY97" fmla="*/ 4143375 h 4496940"/>
                  <a:gd name="connsiteX98" fmla="*/ 1030627 w 4519987"/>
                  <a:gd name="connsiteY98" fmla="*/ 4124325 h 4496940"/>
                  <a:gd name="connsiteX99" fmla="*/ 925852 w 4519987"/>
                  <a:gd name="connsiteY99" fmla="*/ 4067175 h 4496940"/>
                  <a:gd name="connsiteX100" fmla="*/ 830602 w 4519987"/>
                  <a:gd name="connsiteY100" fmla="*/ 3981450 h 4496940"/>
                  <a:gd name="connsiteX101" fmla="*/ 763927 w 4519987"/>
                  <a:gd name="connsiteY101" fmla="*/ 3914775 h 4496940"/>
                  <a:gd name="connsiteX102" fmla="*/ 725827 w 4519987"/>
                  <a:gd name="connsiteY102" fmla="*/ 3876675 h 4496940"/>
                  <a:gd name="connsiteX103" fmla="*/ 697252 w 4519987"/>
                  <a:gd name="connsiteY103" fmla="*/ 3838575 h 4496940"/>
                  <a:gd name="connsiteX104" fmla="*/ 640102 w 4519987"/>
                  <a:gd name="connsiteY104" fmla="*/ 3781425 h 4496940"/>
                  <a:gd name="connsiteX105" fmla="*/ 611527 w 4519987"/>
                  <a:gd name="connsiteY105" fmla="*/ 3733800 h 4496940"/>
                  <a:gd name="connsiteX106" fmla="*/ 554377 w 4519987"/>
                  <a:gd name="connsiteY106" fmla="*/ 3657600 h 4496940"/>
                  <a:gd name="connsiteX107" fmla="*/ 525802 w 4519987"/>
                  <a:gd name="connsiteY107" fmla="*/ 3609975 h 4496940"/>
                  <a:gd name="connsiteX108" fmla="*/ 497227 w 4519987"/>
                  <a:gd name="connsiteY108" fmla="*/ 3552825 h 4496940"/>
                  <a:gd name="connsiteX109" fmla="*/ 440077 w 4519987"/>
                  <a:gd name="connsiteY109" fmla="*/ 3495675 h 4496940"/>
                  <a:gd name="connsiteX110" fmla="*/ 411502 w 4519987"/>
                  <a:gd name="connsiteY110" fmla="*/ 3448050 h 4496940"/>
                  <a:gd name="connsiteX111" fmla="*/ 278152 w 4519987"/>
                  <a:gd name="connsiteY111" fmla="*/ 3257550 h 4496940"/>
                  <a:gd name="connsiteX112" fmla="*/ 249577 w 4519987"/>
                  <a:gd name="connsiteY112" fmla="*/ 3200400 h 4496940"/>
                  <a:gd name="connsiteX113" fmla="*/ 240052 w 4519987"/>
                  <a:gd name="connsiteY113" fmla="*/ 3162300 h 4496940"/>
                  <a:gd name="connsiteX114" fmla="*/ 221002 w 4519987"/>
                  <a:gd name="connsiteY114" fmla="*/ 3105150 h 4496940"/>
                  <a:gd name="connsiteX115" fmla="*/ 173377 w 4519987"/>
                  <a:gd name="connsiteY115" fmla="*/ 3019425 h 4496940"/>
                  <a:gd name="connsiteX116" fmla="*/ 144802 w 4519987"/>
                  <a:gd name="connsiteY116" fmla="*/ 2924175 h 4496940"/>
                  <a:gd name="connsiteX117" fmla="*/ 68602 w 4519987"/>
                  <a:gd name="connsiteY117" fmla="*/ 2724150 h 4496940"/>
                  <a:gd name="connsiteX118" fmla="*/ 49552 w 4519987"/>
                  <a:gd name="connsiteY118" fmla="*/ 2638425 h 4496940"/>
                  <a:gd name="connsiteX119" fmla="*/ 40027 w 4519987"/>
                  <a:gd name="connsiteY119" fmla="*/ 2562225 h 4496940"/>
                  <a:gd name="connsiteX120" fmla="*/ 30502 w 4519987"/>
                  <a:gd name="connsiteY120" fmla="*/ 2514600 h 4496940"/>
                  <a:gd name="connsiteX121" fmla="*/ 11452 w 4519987"/>
                  <a:gd name="connsiteY121" fmla="*/ 2400300 h 4496940"/>
                  <a:gd name="connsiteX122" fmla="*/ 20977 w 4519987"/>
                  <a:gd name="connsiteY122" fmla="*/ 1905000 h 4496940"/>
                  <a:gd name="connsiteX123" fmla="*/ 30502 w 4519987"/>
                  <a:gd name="connsiteY123" fmla="*/ 1838325 h 4496940"/>
                  <a:gd name="connsiteX124" fmla="*/ 49552 w 4519987"/>
                  <a:gd name="connsiteY124" fmla="*/ 1781175 h 4496940"/>
                  <a:gd name="connsiteX125" fmla="*/ 59077 w 4519987"/>
                  <a:gd name="connsiteY125" fmla="*/ 1743075 h 4496940"/>
                  <a:gd name="connsiteX126" fmla="*/ 78127 w 4519987"/>
                  <a:gd name="connsiteY126" fmla="*/ 1685925 h 4496940"/>
                  <a:gd name="connsiteX127" fmla="*/ 87652 w 4519987"/>
                  <a:gd name="connsiteY127" fmla="*/ 1638300 h 4496940"/>
                  <a:gd name="connsiteX128" fmla="*/ 106702 w 4519987"/>
                  <a:gd name="connsiteY128" fmla="*/ 1590675 h 4496940"/>
                  <a:gd name="connsiteX129" fmla="*/ 135277 w 4519987"/>
                  <a:gd name="connsiteY129" fmla="*/ 1504950 h 4496940"/>
                  <a:gd name="connsiteX130" fmla="*/ 154327 w 4519987"/>
                  <a:gd name="connsiteY130" fmla="*/ 1419225 h 4496940"/>
                  <a:gd name="connsiteX131" fmla="*/ 230527 w 4519987"/>
                  <a:gd name="connsiteY131" fmla="*/ 1276350 h 4496940"/>
                  <a:gd name="connsiteX132" fmla="*/ 240052 w 4519987"/>
                  <a:gd name="connsiteY132" fmla="*/ 1247775 h 4496940"/>
                  <a:gd name="connsiteX133" fmla="*/ 268627 w 4519987"/>
                  <a:gd name="connsiteY133" fmla="*/ 1200150 h 4496940"/>
                  <a:gd name="connsiteX134" fmla="*/ 287677 w 4519987"/>
                  <a:gd name="connsiteY134" fmla="*/ 1152525 h 4496940"/>
                  <a:gd name="connsiteX135" fmla="*/ 316252 w 4519987"/>
                  <a:gd name="connsiteY135" fmla="*/ 1114425 h 4496940"/>
                  <a:gd name="connsiteX136" fmla="*/ 363877 w 4519987"/>
                  <a:gd name="connsiteY136" fmla="*/ 1038225 h 4496940"/>
                  <a:gd name="connsiteX137" fmla="*/ 382927 w 4519987"/>
                  <a:gd name="connsiteY137" fmla="*/ 1009650 h 4496940"/>
                  <a:gd name="connsiteX138" fmla="*/ 440077 w 4519987"/>
                  <a:gd name="connsiteY138" fmla="*/ 904875 h 4496940"/>
                  <a:gd name="connsiteX139" fmla="*/ 478177 w 4519987"/>
                  <a:gd name="connsiteY139" fmla="*/ 857250 h 4496940"/>
                  <a:gd name="connsiteX140" fmla="*/ 497227 w 4519987"/>
                  <a:gd name="connsiteY140" fmla="*/ 828675 h 4496940"/>
                  <a:gd name="connsiteX141" fmla="*/ 535327 w 4519987"/>
                  <a:gd name="connsiteY141" fmla="*/ 800100 h 4496940"/>
                  <a:gd name="connsiteX142" fmla="*/ 602002 w 4519987"/>
                  <a:gd name="connsiteY142" fmla="*/ 733425 h 4496940"/>
                  <a:gd name="connsiteX143" fmla="*/ 668677 w 4519987"/>
                  <a:gd name="connsiteY143" fmla="*/ 676275 h 4496940"/>
                  <a:gd name="connsiteX144" fmla="*/ 697252 w 4519987"/>
                  <a:gd name="connsiteY144" fmla="*/ 657225 h 4496940"/>
                  <a:gd name="connsiteX145" fmla="*/ 840127 w 4519987"/>
                  <a:gd name="connsiteY145" fmla="*/ 533400 h 4496940"/>
                  <a:gd name="connsiteX146" fmla="*/ 887752 w 4519987"/>
                  <a:gd name="connsiteY146" fmla="*/ 504825 h 4496940"/>
                  <a:gd name="connsiteX147" fmla="*/ 1167152 w 4519987"/>
                  <a:gd name="connsiteY147" fmla="*/ 311150 h 4496940"/>
                  <a:gd name="connsiteX148" fmla="*/ 1268752 w 4519987"/>
                  <a:gd name="connsiteY148" fmla="*/ 285750 h 4496940"/>
                  <a:gd name="connsiteX149" fmla="*/ 1411627 w 4519987"/>
                  <a:gd name="connsiteY149" fmla="*/ 190500 h 4496940"/>
                  <a:gd name="connsiteX150" fmla="*/ 1449727 w 4519987"/>
                  <a:gd name="connsiteY150" fmla="*/ 161925 h 4496940"/>
                  <a:gd name="connsiteX151" fmla="*/ 1525927 w 4519987"/>
                  <a:gd name="connsiteY151" fmla="*/ 152400 h 4496940"/>
                  <a:gd name="connsiteX152" fmla="*/ 1583077 w 4519987"/>
                  <a:gd name="connsiteY152" fmla="*/ 142875 h 4496940"/>
                  <a:gd name="connsiteX153" fmla="*/ 1716427 w 4519987"/>
                  <a:gd name="connsiteY153" fmla="*/ 123825 h 4496940"/>
                  <a:gd name="connsiteX154" fmla="*/ 1811677 w 4519987"/>
                  <a:gd name="connsiteY154" fmla="*/ 114300 h 4496940"/>
                  <a:gd name="connsiteX155" fmla="*/ 1859302 w 4519987"/>
                  <a:gd name="connsiteY155" fmla="*/ 104775 h 4496940"/>
                  <a:gd name="connsiteX156" fmla="*/ 1916452 w 4519987"/>
                  <a:gd name="connsiteY156" fmla="*/ 95250 h 4496940"/>
                  <a:gd name="connsiteX157" fmla="*/ 2030752 w 4519987"/>
                  <a:gd name="connsiteY157" fmla="*/ 66675 h 4496940"/>
                  <a:gd name="connsiteX158" fmla="*/ 2097427 w 4519987"/>
                  <a:gd name="connsiteY158" fmla="*/ 47625 h 4496940"/>
                  <a:gd name="connsiteX159" fmla="*/ 2164102 w 4519987"/>
                  <a:gd name="connsiteY159" fmla="*/ 38100 h 4496940"/>
                  <a:gd name="connsiteX160" fmla="*/ 2392702 w 4519987"/>
                  <a:gd name="connsiteY16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3992902 w 4519987"/>
                  <a:gd name="connsiteY28" fmla="*/ 714375 h 4496940"/>
                  <a:gd name="connsiteX29" fmla="*/ 4050052 w 4519987"/>
                  <a:gd name="connsiteY29" fmla="*/ 790575 h 4496940"/>
                  <a:gd name="connsiteX30" fmla="*/ 4078627 w 4519987"/>
                  <a:gd name="connsiteY30" fmla="*/ 838200 h 4496940"/>
                  <a:gd name="connsiteX31" fmla="*/ 4107202 w 4519987"/>
                  <a:gd name="connsiteY31" fmla="*/ 876300 h 4496940"/>
                  <a:gd name="connsiteX32" fmla="*/ 4116727 w 4519987"/>
                  <a:gd name="connsiteY32" fmla="*/ 904875 h 4496940"/>
                  <a:gd name="connsiteX33" fmla="*/ 4135777 w 4519987"/>
                  <a:gd name="connsiteY33" fmla="*/ 933450 h 4496940"/>
                  <a:gd name="connsiteX34" fmla="*/ 4164352 w 4519987"/>
                  <a:gd name="connsiteY34" fmla="*/ 990600 h 4496940"/>
                  <a:gd name="connsiteX35" fmla="*/ 4173877 w 4519987"/>
                  <a:gd name="connsiteY35" fmla="*/ 1019175 h 4496940"/>
                  <a:gd name="connsiteX36" fmla="*/ 4192927 w 4519987"/>
                  <a:gd name="connsiteY36" fmla="*/ 1057275 h 4496940"/>
                  <a:gd name="connsiteX37" fmla="*/ 4202452 w 4519987"/>
                  <a:gd name="connsiteY37" fmla="*/ 1085850 h 4496940"/>
                  <a:gd name="connsiteX38" fmla="*/ 4250077 w 4519987"/>
                  <a:gd name="connsiteY38" fmla="*/ 1143000 h 4496940"/>
                  <a:gd name="connsiteX39" fmla="*/ 4259602 w 4519987"/>
                  <a:gd name="connsiteY39" fmla="*/ 1190625 h 4496940"/>
                  <a:gd name="connsiteX40" fmla="*/ 4307227 w 4519987"/>
                  <a:gd name="connsiteY40" fmla="*/ 1266825 h 4496940"/>
                  <a:gd name="connsiteX41" fmla="*/ 4345327 w 4519987"/>
                  <a:gd name="connsiteY41" fmla="*/ 1362075 h 4496940"/>
                  <a:gd name="connsiteX42" fmla="*/ 4373902 w 4519987"/>
                  <a:gd name="connsiteY42" fmla="*/ 1428750 h 4496940"/>
                  <a:gd name="connsiteX43" fmla="*/ 4392952 w 4519987"/>
                  <a:gd name="connsiteY43" fmla="*/ 1552575 h 4496940"/>
                  <a:gd name="connsiteX44" fmla="*/ 4402477 w 4519987"/>
                  <a:gd name="connsiteY44" fmla="*/ 1590675 h 4496940"/>
                  <a:gd name="connsiteX45" fmla="*/ 4431052 w 4519987"/>
                  <a:gd name="connsiteY45" fmla="*/ 1685925 h 4496940"/>
                  <a:gd name="connsiteX46" fmla="*/ 4519952 w 4519987"/>
                  <a:gd name="connsiteY46" fmla="*/ 2181225 h 4496940"/>
                  <a:gd name="connsiteX47" fmla="*/ 4446927 w 4519987"/>
                  <a:gd name="connsiteY47" fmla="*/ 2768600 h 4496940"/>
                  <a:gd name="connsiteX48" fmla="*/ 4383427 w 4519987"/>
                  <a:gd name="connsiteY48" fmla="*/ 2990850 h 4496940"/>
                  <a:gd name="connsiteX49" fmla="*/ 4278652 w 4519987"/>
                  <a:gd name="connsiteY49" fmla="*/ 3248025 h 4496940"/>
                  <a:gd name="connsiteX50" fmla="*/ 4259602 w 4519987"/>
                  <a:gd name="connsiteY50" fmla="*/ 3276600 h 4496940"/>
                  <a:gd name="connsiteX51" fmla="*/ 4221502 w 4519987"/>
                  <a:gd name="connsiteY51" fmla="*/ 3333750 h 4496940"/>
                  <a:gd name="connsiteX52" fmla="*/ 4211977 w 4519987"/>
                  <a:gd name="connsiteY52" fmla="*/ 3362325 h 4496940"/>
                  <a:gd name="connsiteX53" fmla="*/ 4183402 w 4519987"/>
                  <a:gd name="connsiteY53" fmla="*/ 3400425 h 4496940"/>
                  <a:gd name="connsiteX54" fmla="*/ 4164352 w 4519987"/>
                  <a:gd name="connsiteY54" fmla="*/ 3429000 h 4496940"/>
                  <a:gd name="connsiteX55" fmla="*/ 4088152 w 4519987"/>
                  <a:gd name="connsiteY55" fmla="*/ 3495675 h 4496940"/>
                  <a:gd name="connsiteX56" fmla="*/ 4059577 w 4519987"/>
                  <a:gd name="connsiteY56" fmla="*/ 3533775 h 4496940"/>
                  <a:gd name="connsiteX57" fmla="*/ 4002427 w 4519987"/>
                  <a:gd name="connsiteY57" fmla="*/ 3600450 h 4496940"/>
                  <a:gd name="connsiteX58" fmla="*/ 3983377 w 4519987"/>
                  <a:gd name="connsiteY58" fmla="*/ 3629025 h 4496940"/>
                  <a:gd name="connsiteX59" fmla="*/ 3954802 w 4519987"/>
                  <a:gd name="connsiteY59" fmla="*/ 3648075 h 4496940"/>
                  <a:gd name="connsiteX60" fmla="*/ 3907177 w 4519987"/>
                  <a:gd name="connsiteY60" fmla="*/ 3686175 h 4496940"/>
                  <a:gd name="connsiteX61" fmla="*/ 3869077 w 4519987"/>
                  <a:gd name="connsiteY61" fmla="*/ 3724275 h 4496940"/>
                  <a:gd name="connsiteX62" fmla="*/ 3792877 w 4519987"/>
                  <a:gd name="connsiteY62" fmla="*/ 3781425 h 4496940"/>
                  <a:gd name="connsiteX63" fmla="*/ 3783352 w 4519987"/>
                  <a:gd name="connsiteY63" fmla="*/ 3810000 h 4496940"/>
                  <a:gd name="connsiteX64" fmla="*/ 3745252 w 4519987"/>
                  <a:gd name="connsiteY64" fmla="*/ 3819525 h 4496940"/>
                  <a:gd name="connsiteX65" fmla="*/ 3678577 w 4519987"/>
                  <a:gd name="connsiteY65" fmla="*/ 3848100 h 4496940"/>
                  <a:gd name="connsiteX66" fmla="*/ 3659527 w 4519987"/>
                  <a:gd name="connsiteY66" fmla="*/ 3971925 h 4496940"/>
                  <a:gd name="connsiteX67" fmla="*/ 3630952 w 4519987"/>
                  <a:gd name="connsiteY67" fmla="*/ 4010025 h 4496940"/>
                  <a:gd name="connsiteX68" fmla="*/ 3621427 w 4519987"/>
                  <a:gd name="connsiteY68" fmla="*/ 4038600 h 4496940"/>
                  <a:gd name="connsiteX69" fmla="*/ 3554752 w 4519987"/>
                  <a:gd name="connsiteY69" fmla="*/ 4095750 h 4496940"/>
                  <a:gd name="connsiteX70" fmla="*/ 3516652 w 4519987"/>
                  <a:gd name="connsiteY70" fmla="*/ 4114800 h 4496940"/>
                  <a:gd name="connsiteX71" fmla="*/ 3497602 w 4519987"/>
                  <a:gd name="connsiteY71" fmla="*/ 4143375 h 4496940"/>
                  <a:gd name="connsiteX72" fmla="*/ 3383302 w 4519987"/>
                  <a:gd name="connsiteY72" fmla="*/ 4210050 h 4496940"/>
                  <a:gd name="connsiteX73" fmla="*/ 3335677 w 4519987"/>
                  <a:gd name="connsiteY73" fmla="*/ 4238625 h 4496940"/>
                  <a:gd name="connsiteX74" fmla="*/ 3288052 w 4519987"/>
                  <a:gd name="connsiteY74" fmla="*/ 4248150 h 4496940"/>
                  <a:gd name="connsiteX75" fmla="*/ 3240427 w 4519987"/>
                  <a:gd name="connsiteY75" fmla="*/ 4267200 h 4496940"/>
                  <a:gd name="connsiteX76" fmla="*/ 3068977 w 4519987"/>
                  <a:gd name="connsiteY76" fmla="*/ 4286250 h 4496940"/>
                  <a:gd name="connsiteX77" fmla="*/ 2935627 w 4519987"/>
                  <a:gd name="connsiteY77" fmla="*/ 4333875 h 4496940"/>
                  <a:gd name="connsiteX78" fmla="*/ 2811802 w 4519987"/>
                  <a:gd name="connsiteY78" fmla="*/ 4371975 h 4496940"/>
                  <a:gd name="connsiteX79" fmla="*/ 2745127 w 4519987"/>
                  <a:gd name="connsiteY79" fmla="*/ 4410075 h 4496940"/>
                  <a:gd name="connsiteX80" fmla="*/ 2697502 w 4519987"/>
                  <a:gd name="connsiteY80" fmla="*/ 4429125 h 4496940"/>
                  <a:gd name="connsiteX81" fmla="*/ 2640352 w 4519987"/>
                  <a:gd name="connsiteY81" fmla="*/ 4457700 h 4496940"/>
                  <a:gd name="connsiteX82" fmla="*/ 2583202 w 4519987"/>
                  <a:gd name="connsiteY82" fmla="*/ 4467225 h 4496940"/>
                  <a:gd name="connsiteX83" fmla="*/ 2545102 w 4519987"/>
                  <a:gd name="connsiteY83" fmla="*/ 4486275 h 4496940"/>
                  <a:gd name="connsiteX84" fmla="*/ 2306977 w 4519987"/>
                  <a:gd name="connsiteY84" fmla="*/ 4476750 h 4496940"/>
                  <a:gd name="connsiteX85" fmla="*/ 2202202 w 4519987"/>
                  <a:gd name="connsiteY85" fmla="*/ 4457700 h 4496940"/>
                  <a:gd name="connsiteX86" fmla="*/ 2126002 w 4519987"/>
                  <a:gd name="connsiteY86" fmla="*/ 4429125 h 4496940"/>
                  <a:gd name="connsiteX87" fmla="*/ 1935502 w 4519987"/>
                  <a:gd name="connsiteY87" fmla="*/ 4400550 h 4496940"/>
                  <a:gd name="connsiteX88" fmla="*/ 1821202 w 4519987"/>
                  <a:gd name="connsiteY88" fmla="*/ 4371975 h 4496940"/>
                  <a:gd name="connsiteX89" fmla="*/ 1754527 w 4519987"/>
                  <a:gd name="connsiteY89" fmla="*/ 4352925 h 4496940"/>
                  <a:gd name="connsiteX90" fmla="*/ 1687852 w 4519987"/>
                  <a:gd name="connsiteY90" fmla="*/ 4343400 h 4496940"/>
                  <a:gd name="connsiteX91" fmla="*/ 1573552 w 4519987"/>
                  <a:gd name="connsiteY91" fmla="*/ 4305300 h 4496940"/>
                  <a:gd name="connsiteX92" fmla="*/ 1402102 w 4519987"/>
                  <a:gd name="connsiteY92" fmla="*/ 4276725 h 4496940"/>
                  <a:gd name="connsiteX93" fmla="*/ 1287802 w 4519987"/>
                  <a:gd name="connsiteY93" fmla="*/ 4229100 h 4496940"/>
                  <a:gd name="connsiteX94" fmla="*/ 1221127 w 4519987"/>
                  <a:gd name="connsiteY94" fmla="*/ 4200525 h 4496940"/>
                  <a:gd name="connsiteX95" fmla="*/ 1144927 w 4519987"/>
                  <a:gd name="connsiteY95" fmla="*/ 4171950 h 4496940"/>
                  <a:gd name="connsiteX96" fmla="*/ 1087777 w 4519987"/>
                  <a:gd name="connsiteY96" fmla="*/ 4143375 h 4496940"/>
                  <a:gd name="connsiteX97" fmla="*/ 1030627 w 4519987"/>
                  <a:gd name="connsiteY97" fmla="*/ 4124325 h 4496940"/>
                  <a:gd name="connsiteX98" fmla="*/ 925852 w 4519987"/>
                  <a:gd name="connsiteY98" fmla="*/ 4067175 h 4496940"/>
                  <a:gd name="connsiteX99" fmla="*/ 830602 w 4519987"/>
                  <a:gd name="connsiteY99" fmla="*/ 3981450 h 4496940"/>
                  <a:gd name="connsiteX100" fmla="*/ 763927 w 4519987"/>
                  <a:gd name="connsiteY100" fmla="*/ 3914775 h 4496940"/>
                  <a:gd name="connsiteX101" fmla="*/ 725827 w 4519987"/>
                  <a:gd name="connsiteY101" fmla="*/ 3876675 h 4496940"/>
                  <a:gd name="connsiteX102" fmla="*/ 697252 w 4519987"/>
                  <a:gd name="connsiteY102" fmla="*/ 3838575 h 4496940"/>
                  <a:gd name="connsiteX103" fmla="*/ 640102 w 4519987"/>
                  <a:gd name="connsiteY103" fmla="*/ 3781425 h 4496940"/>
                  <a:gd name="connsiteX104" fmla="*/ 611527 w 4519987"/>
                  <a:gd name="connsiteY104" fmla="*/ 3733800 h 4496940"/>
                  <a:gd name="connsiteX105" fmla="*/ 554377 w 4519987"/>
                  <a:gd name="connsiteY105" fmla="*/ 3657600 h 4496940"/>
                  <a:gd name="connsiteX106" fmla="*/ 525802 w 4519987"/>
                  <a:gd name="connsiteY106" fmla="*/ 3609975 h 4496940"/>
                  <a:gd name="connsiteX107" fmla="*/ 497227 w 4519987"/>
                  <a:gd name="connsiteY107" fmla="*/ 3552825 h 4496940"/>
                  <a:gd name="connsiteX108" fmla="*/ 440077 w 4519987"/>
                  <a:gd name="connsiteY108" fmla="*/ 3495675 h 4496940"/>
                  <a:gd name="connsiteX109" fmla="*/ 411502 w 4519987"/>
                  <a:gd name="connsiteY109" fmla="*/ 3448050 h 4496940"/>
                  <a:gd name="connsiteX110" fmla="*/ 278152 w 4519987"/>
                  <a:gd name="connsiteY110" fmla="*/ 3257550 h 4496940"/>
                  <a:gd name="connsiteX111" fmla="*/ 249577 w 4519987"/>
                  <a:gd name="connsiteY111" fmla="*/ 3200400 h 4496940"/>
                  <a:gd name="connsiteX112" fmla="*/ 240052 w 4519987"/>
                  <a:gd name="connsiteY112" fmla="*/ 3162300 h 4496940"/>
                  <a:gd name="connsiteX113" fmla="*/ 221002 w 4519987"/>
                  <a:gd name="connsiteY113" fmla="*/ 3105150 h 4496940"/>
                  <a:gd name="connsiteX114" fmla="*/ 173377 w 4519987"/>
                  <a:gd name="connsiteY114" fmla="*/ 3019425 h 4496940"/>
                  <a:gd name="connsiteX115" fmla="*/ 144802 w 4519987"/>
                  <a:gd name="connsiteY115" fmla="*/ 2924175 h 4496940"/>
                  <a:gd name="connsiteX116" fmla="*/ 68602 w 4519987"/>
                  <a:gd name="connsiteY116" fmla="*/ 2724150 h 4496940"/>
                  <a:gd name="connsiteX117" fmla="*/ 49552 w 4519987"/>
                  <a:gd name="connsiteY117" fmla="*/ 2638425 h 4496940"/>
                  <a:gd name="connsiteX118" fmla="*/ 40027 w 4519987"/>
                  <a:gd name="connsiteY118" fmla="*/ 2562225 h 4496940"/>
                  <a:gd name="connsiteX119" fmla="*/ 30502 w 4519987"/>
                  <a:gd name="connsiteY119" fmla="*/ 2514600 h 4496940"/>
                  <a:gd name="connsiteX120" fmla="*/ 11452 w 4519987"/>
                  <a:gd name="connsiteY120" fmla="*/ 2400300 h 4496940"/>
                  <a:gd name="connsiteX121" fmla="*/ 20977 w 4519987"/>
                  <a:gd name="connsiteY121" fmla="*/ 1905000 h 4496940"/>
                  <a:gd name="connsiteX122" fmla="*/ 30502 w 4519987"/>
                  <a:gd name="connsiteY122" fmla="*/ 1838325 h 4496940"/>
                  <a:gd name="connsiteX123" fmla="*/ 49552 w 4519987"/>
                  <a:gd name="connsiteY123" fmla="*/ 1781175 h 4496940"/>
                  <a:gd name="connsiteX124" fmla="*/ 59077 w 4519987"/>
                  <a:gd name="connsiteY124" fmla="*/ 1743075 h 4496940"/>
                  <a:gd name="connsiteX125" fmla="*/ 78127 w 4519987"/>
                  <a:gd name="connsiteY125" fmla="*/ 1685925 h 4496940"/>
                  <a:gd name="connsiteX126" fmla="*/ 87652 w 4519987"/>
                  <a:gd name="connsiteY126" fmla="*/ 1638300 h 4496940"/>
                  <a:gd name="connsiteX127" fmla="*/ 106702 w 4519987"/>
                  <a:gd name="connsiteY127" fmla="*/ 1590675 h 4496940"/>
                  <a:gd name="connsiteX128" fmla="*/ 135277 w 4519987"/>
                  <a:gd name="connsiteY128" fmla="*/ 1504950 h 4496940"/>
                  <a:gd name="connsiteX129" fmla="*/ 154327 w 4519987"/>
                  <a:gd name="connsiteY129" fmla="*/ 1419225 h 4496940"/>
                  <a:gd name="connsiteX130" fmla="*/ 230527 w 4519987"/>
                  <a:gd name="connsiteY130" fmla="*/ 1276350 h 4496940"/>
                  <a:gd name="connsiteX131" fmla="*/ 240052 w 4519987"/>
                  <a:gd name="connsiteY131" fmla="*/ 1247775 h 4496940"/>
                  <a:gd name="connsiteX132" fmla="*/ 268627 w 4519987"/>
                  <a:gd name="connsiteY132" fmla="*/ 1200150 h 4496940"/>
                  <a:gd name="connsiteX133" fmla="*/ 287677 w 4519987"/>
                  <a:gd name="connsiteY133" fmla="*/ 1152525 h 4496940"/>
                  <a:gd name="connsiteX134" fmla="*/ 316252 w 4519987"/>
                  <a:gd name="connsiteY134" fmla="*/ 1114425 h 4496940"/>
                  <a:gd name="connsiteX135" fmla="*/ 363877 w 4519987"/>
                  <a:gd name="connsiteY135" fmla="*/ 1038225 h 4496940"/>
                  <a:gd name="connsiteX136" fmla="*/ 382927 w 4519987"/>
                  <a:gd name="connsiteY136" fmla="*/ 1009650 h 4496940"/>
                  <a:gd name="connsiteX137" fmla="*/ 440077 w 4519987"/>
                  <a:gd name="connsiteY137" fmla="*/ 904875 h 4496940"/>
                  <a:gd name="connsiteX138" fmla="*/ 478177 w 4519987"/>
                  <a:gd name="connsiteY138" fmla="*/ 857250 h 4496940"/>
                  <a:gd name="connsiteX139" fmla="*/ 497227 w 4519987"/>
                  <a:gd name="connsiteY139" fmla="*/ 828675 h 4496940"/>
                  <a:gd name="connsiteX140" fmla="*/ 535327 w 4519987"/>
                  <a:gd name="connsiteY140" fmla="*/ 800100 h 4496940"/>
                  <a:gd name="connsiteX141" fmla="*/ 602002 w 4519987"/>
                  <a:gd name="connsiteY141" fmla="*/ 733425 h 4496940"/>
                  <a:gd name="connsiteX142" fmla="*/ 668677 w 4519987"/>
                  <a:gd name="connsiteY142" fmla="*/ 676275 h 4496940"/>
                  <a:gd name="connsiteX143" fmla="*/ 697252 w 4519987"/>
                  <a:gd name="connsiteY143" fmla="*/ 657225 h 4496940"/>
                  <a:gd name="connsiteX144" fmla="*/ 840127 w 4519987"/>
                  <a:gd name="connsiteY144" fmla="*/ 533400 h 4496940"/>
                  <a:gd name="connsiteX145" fmla="*/ 887752 w 4519987"/>
                  <a:gd name="connsiteY145" fmla="*/ 504825 h 4496940"/>
                  <a:gd name="connsiteX146" fmla="*/ 1167152 w 4519987"/>
                  <a:gd name="connsiteY146" fmla="*/ 311150 h 4496940"/>
                  <a:gd name="connsiteX147" fmla="*/ 1268752 w 4519987"/>
                  <a:gd name="connsiteY147" fmla="*/ 285750 h 4496940"/>
                  <a:gd name="connsiteX148" fmla="*/ 1411627 w 4519987"/>
                  <a:gd name="connsiteY148" fmla="*/ 190500 h 4496940"/>
                  <a:gd name="connsiteX149" fmla="*/ 1449727 w 4519987"/>
                  <a:gd name="connsiteY149" fmla="*/ 161925 h 4496940"/>
                  <a:gd name="connsiteX150" fmla="*/ 1525927 w 4519987"/>
                  <a:gd name="connsiteY150" fmla="*/ 152400 h 4496940"/>
                  <a:gd name="connsiteX151" fmla="*/ 1583077 w 4519987"/>
                  <a:gd name="connsiteY151" fmla="*/ 142875 h 4496940"/>
                  <a:gd name="connsiteX152" fmla="*/ 1716427 w 4519987"/>
                  <a:gd name="connsiteY152" fmla="*/ 123825 h 4496940"/>
                  <a:gd name="connsiteX153" fmla="*/ 1811677 w 4519987"/>
                  <a:gd name="connsiteY153" fmla="*/ 114300 h 4496940"/>
                  <a:gd name="connsiteX154" fmla="*/ 1859302 w 4519987"/>
                  <a:gd name="connsiteY154" fmla="*/ 104775 h 4496940"/>
                  <a:gd name="connsiteX155" fmla="*/ 1916452 w 4519987"/>
                  <a:gd name="connsiteY155" fmla="*/ 95250 h 4496940"/>
                  <a:gd name="connsiteX156" fmla="*/ 2030752 w 4519987"/>
                  <a:gd name="connsiteY156" fmla="*/ 66675 h 4496940"/>
                  <a:gd name="connsiteX157" fmla="*/ 2097427 w 4519987"/>
                  <a:gd name="connsiteY157" fmla="*/ 47625 h 4496940"/>
                  <a:gd name="connsiteX158" fmla="*/ 2164102 w 4519987"/>
                  <a:gd name="connsiteY158" fmla="*/ 38100 h 4496940"/>
                  <a:gd name="connsiteX159" fmla="*/ 2392702 w 4519987"/>
                  <a:gd name="connsiteY15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50052 w 4519987"/>
                  <a:gd name="connsiteY28" fmla="*/ 790575 h 4496940"/>
                  <a:gd name="connsiteX29" fmla="*/ 4078627 w 4519987"/>
                  <a:gd name="connsiteY29" fmla="*/ 838200 h 4496940"/>
                  <a:gd name="connsiteX30" fmla="*/ 4107202 w 4519987"/>
                  <a:gd name="connsiteY30" fmla="*/ 876300 h 4496940"/>
                  <a:gd name="connsiteX31" fmla="*/ 4116727 w 4519987"/>
                  <a:gd name="connsiteY31" fmla="*/ 904875 h 4496940"/>
                  <a:gd name="connsiteX32" fmla="*/ 4135777 w 4519987"/>
                  <a:gd name="connsiteY32" fmla="*/ 933450 h 4496940"/>
                  <a:gd name="connsiteX33" fmla="*/ 4164352 w 4519987"/>
                  <a:gd name="connsiteY33" fmla="*/ 990600 h 4496940"/>
                  <a:gd name="connsiteX34" fmla="*/ 4173877 w 4519987"/>
                  <a:gd name="connsiteY34" fmla="*/ 1019175 h 4496940"/>
                  <a:gd name="connsiteX35" fmla="*/ 4192927 w 4519987"/>
                  <a:gd name="connsiteY35" fmla="*/ 1057275 h 4496940"/>
                  <a:gd name="connsiteX36" fmla="*/ 4202452 w 4519987"/>
                  <a:gd name="connsiteY36" fmla="*/ 1085850 h 4496940"/>
                  <a:gd name="connsiteX37" fmla="*/ 4250077 w 4519987"/>
                  <a:gd name="connsiteY37" fmla="*/ 1143000 h 4496940"/>
                  <a:gd name="connsiteX38" fmla="*/ 4259602 w 4519987"/>
                  <a:gd name="connsiteY38" fmla="*/ 1190625 h 4496940"/>
                  <a:gd name="connsiteX39" fmla="*/ 4307227 w 4519987"/>
                  <a:gd name="connsiteY39" fmla="*/ 1266825 h 4496940"/>
                  <a:gd name="connsiteX40" fmla="*/ 4345327 w 4519987"/>
                  <a:gd name="connsiteY40" fmla="*/ 1362075 h 4496940"/>
                  <a:gd name="connsiteX41" fmla="*/ 4373902 w 4519987"/>
                  <a:gd name="connsiteY41" fmla="*/ 1428750 h 4496940"/>
                  <a:gd name="connsiteX42" fmla="*/ 4392952 w 4519987"/>
                  <a:gd name="connsiteY42" fmla="*/ 1552575 h 4496940"/>
                  <a:gd name="connsiteX43" fmla="*/ 4402477 w 4519987"/>
                  <a:gd name="connsiteY43" fmla="*/ 1590675 h 4496940"/>
                  <a:gd name="connsiteX44" fmla="*/ 4431052 w 4519987"/>
                  <a:gd name="connsiteY44" fmla="*/ 1685925 h 4496940"/>
                  <a:gd name="connsiteX45" fmla="*/ 4519952 w 4519987"/>
                  <a:gd name="connsiteY45" fmla="*/ 2181225 h 4496940"/>
                  <a:gd name="connsiteX46" fmla="*/ 4446927 w 4519987"/>
                  <a:gd name="connsiteY46" fmla="*/ 2768600 h 4496940"/>
                  <a:gd name="connsiteX47" fmla="*/ 4383427 w 4519987"/>
                  <a:gd name="connsiteY47" fmla="*/ 2990850 h 4496940"/>
                  <a:gd name="connsiteX48" fmla="*/ 4278652 w 4519987"/>
                  <a:gd name="connsiteY48" fmla="*/ 3248025 h 4496940"/>
                  <a:gd name="connsiteX49" fmla="*/ 4259602 w 4519987"/>
                  <a:gd name="connsiteY49" fmla="*/ 3276600 h 4496940"/>
                  <a:gd name="connsiteX50" fmla="*/ 4221502 w 4519987"/>
                  <a:gd name="connsiteY50" fmla="*/ 3333750 h 4496940"/>
                  <a:gd name="connsiteX51" fmla="*/ 4211977 w 4519987"/>
                  <a:gd name="connsiteY51" fmla="*/ 3362325 h 4496940"/>
                  <a:gd name="connsiteX52" fmla="*/ 4183402 w 4519987"/>
                  <a:gd name="connsiteY52" fmla="*/ 3400425 h 4496940"/>
                  <a:gd name="connsiteX53" fmla="*/ 4164352 w 4519987"/>
                  <a:gd name="connsiteY53" fmla="*/ 3429000 h 4496940"/>
                  <a:gd name="connsiteX54" fmla="*/ 4088152 w 4519987"/>
                  <a:gd name="connsiteY54" fmla="*/ 3495675 h 4496940"/>
                  <a:gd name="connsiteX55" fmla="*/ 4059577 w 4519987"/>
                  <a:gd name="connsiteY55" fmla="*/ 3533775 h 4496940"/>
                  <a:gd name="connsiteX56" fmla="*/ 4002427 w 4519987"/>
                  <a:gd name="connsiteY56" fmla="*/ 3600450 h 4496940"/>
                  <a:gd name="connsiteX57" fmla="*/ 3983377 w 4519987"/>
                  <a:gd name="connsiteY57" fmla="*/ 3629025 h 4496940"/>
                  <a:gd name="connsiteX58" fmla="*/ 3954802 w 4519987"/>
                  <a:gd name="connsiteY58" fmla="*/ 3648075 h 4496940"/>
                  <a:gd name="connsiteX59" fmla="*/ 3907177 w 4519987"/>
                  <a:gd name="connsiteY59" fmla="*/ 3686175 h 4496940"/>
                  <a:gd name="connsiteX60" fmla="*/ 3869077 w 4519987"/>
                  <a:gd name="connsiteY60" fmla="*/ 3724275 h 4496940"/>
                  <a:gd name="connsiteX61" fmla="*/ 3792877 w 4519987"/>
                  <a:gd name="connsiteY61" fmla="*/ 3781425 h 4496940"/>
                  <a:gd name="connsiteX62" fmla="*/ 3783352 w 4519987"/>
                  <a:gd name="connsiteY62" fmla="*/ 3810000 h 4496940"/>
                  <a:gd name="connsiteX63" fmla="*/ 3745252 w 4519987"/>
                  <a:gd name="connsiteY63" fmla="*/ 3819525 h 4496940"/>
                  <a:gd name="connsiteX64" fmla="*/ 3678577 w 4519987"/>
                  <a:gd name="connsiteY64" fmla="*/ 3848100 h 4496940"/>
                  <a:gd name="connsiteX65" fmla="*/ 3659527 w 4519987"/>
                  <a:gd name="connsiteY65" fmla="*/ 3971925 h 4496940"/>
                  <a:gd name="connsiteX66" fmla="*/ 3630952 w 4519987"/>
                  <a:gd name="connsiteY66" fmla="*/ 4010025 h 4496940"/>
                  <a:gd name="connsiteX67" fmla="*/ 3621427 w 4519987"/>
                  <a:gd name="connsiteY67" fmla="*/ 4038600 h 4496940"/>
                  <a:gd name="connsiteX68" fmla="*/ 3554752 w 4519987"/>
                  <a:gd name="connsiteY68" fmla="*/ 4095750 h 4496940"/>
                  <a:gd name="connsiteX69" fmla="*/ 3516652 w 4519987"/>
                  <a:gd name="connsiteY69" fmla="*/ 4114800 h 4496940"/>
                  <a:gd name="connsiteX70" fmla="*/ 3497602 w 4519987"/>
                  <a:gd name="connsiteY70" fmla="*/ 4143375 h 4496940"/>
                  <a:gd name="connsiteX71" fmla="*/ 3383302 w 4519987"/>
                  <a:gd name="connsiteY71" fmla="*/ 4210050 h 4496940"/>
                  <a:gd name="connsiteX72" fmla="*/ 3335677 w 4519987"/>
                  <a:gd name="connsiteY72" fmla="*/ 4238625 h 4496940"/>
                  <a:gd name="connsiteX73" fmla="*/ 3288052 w 4519987"/>
                  <a:gd name="connsiteY73" fmla="*/ 4248150 h 4496940"/>
                  <a:gd name="connsiteX74" fmla="*/ 3240427 w 4519987"/>
                  <a:gd name="connsiteY74" fmla="*/ 4267200 h 4496940"/>
                  <a:gd name="connsiteX75" fmla="*/ 3068977 w 4519987"/>
                  <a:gd name="connsiteY75" fmla="*/ 4286250 h 4496940"/>
                  <a:gd name="connsiteX76" fmla="*/ 2935627 w 4519987"/>
                  <a:gd name="connsiteY76" fmla="*/ 4333875 h 4496940"/>
                  <a:gd name="connsiteX77" fmla="*/ 2811802 w 4519987"/>
                  <a:gd name="connsiteY77" fmla="*/ 4371975 h 4496940"/>
                  <a:gd name="connsiteX78" fmla="*/ 2745127 w 4519987"/>
                  <a:gd name="connsiteY78" fmla="*/ 4410075 h 4496940"/>
                  <a:gd name="connsiteX79" fmla="*/ 2697502 w 4519987"/>
                  <a:gd name="connsiteY79" fmla="*/ 4429125 h 4496940"/>
                  <a:gd name="connsiteX80" fmla="*/ 2640352 w 4519987"/>
                  <a:gd name="connsiteY80" fmla="*/ 4457700 h 4496940"/>
                  <a:gd name="connsiteX81" fmla="*/ 2583202 w 4519987"/>
                  <a:gd name="connsiteY81" fmla="*/ 4467225 h 4496940"/>
                  <a:gd name="connsiteX82" fmla="*/ 2545102 w 4519987"/>
                  <a:gd name="connsiteY82" fmla="*/ 4486275 h 4496940"/>
                  <a:gd name="connsiteX83" fmla="*/ 2306977 w 4519987"/>
                  <a:gd name="connsiteY83" fmla="*/ 4476750 h 4496940"/>
                  <a:gd name="connsiteX84" fmla="*/ 2202202 w 4519987"/>
                  <a:gd name="connsiteY84" fmla="*/ 4457700 h 4496940"/>
                  <a:gd name="connsiteX85" fmla="*/ 2126002 w 4519987"/>
                  <a:gd name="connsiteY85" fmla="*/ 4429125 h 4496940"/>
                  <a:gd name="connsiteX86" fmla="*/ 1935502 w 4519987"/>
                  <a:gd name="connsiteY86" fmla="*/ 4400550 h 4496940"/>
                  <a:gd name="connsiteX87" fmla="*/ 1821202 w 4519987"/>
                  <a:gd name="connsiteY87" fmla="*/ 4371975 h 4496940"/>
                  <a:gd name="connsiteX88" fmla="*/ 1754527 w 4519987"/>
                  <a:gd name="connsiteY88" fmla="*/ 4352925 h 4496940"/>
                  <a:gd name="connsiteX89" fmla="*/ 1687852 w 4519987"/>
                  <a:gd name="connsiteY89" fmla="*/ 4343400 h 4496940"/>
                  <a:gd name="connsiteX90" fmla="*/ 1573552 w 4519987"/>
                  <a:gd name="connsiteY90" fmla="*/ 4305300 h 4496940"/>
                  <a:gd name="connsiteX91" fmla="*/ 1402102 w 4519987"/>
                  <a:gd name="connsiteY91" fmla="*/ 4276725 h 4496940"/>
                  <a:gd name="connsiteX92" fmla="*/ 1287802 w 4519987"/>
                  <a:gd name="connsiteY92" fmla="*/ 4229100 h 4496940"/>
                  <a:gd name="connsiteX93" fmla="*/ 1221127 w 4519987"/>
                  <a:gd name="connsiteY93" fmla="*/ 4200525 h 4496940"/>
                  <a:gd name="connsiteX94" fmla="*/ 1144927 w 4519987"/>
                  <a:gd name="connsiteY94" fmla="*/ 4171950 h 4496940"/>
                  <a:gd name="connsiteX95" fmla="*/ 1087777 w 4519987"/>
                  <a:gd name="connsiteY95" fmla="*/ 4143375 h 4496940"/>
                  <a:gd name="connsiteX96" fmla="*/ 1030627 w 4519987"/>
                  <a:gd name="connsiteY96" fmla="*/ 4124325 h 4496940"/>
                  <a:gd name="connsiteX97" fmla="*/ 925852 w 4519987"/>
                  <a:gd name="connsiteY97" fmla="*/ 4067175 h 4496940"/>
                  <a:gd name="connsiteX98" fmla="*/ 830602 w 4519987"/>
                  <a:gd name="connsiteY98" fmla="*/ 3981450 h 4496940"/>
                  <a:gd name="connsiteX99" fmla="*/ 763927 w 4519987"/>
                  <a:gd name="connsiteY99" fmla="*/ 3914775 h 4496940"/>
                  <a:gd name="connsiteX100" fmla="*/ 725827 w 4519987"/>
                  <a:gd name="connsiteY100" fmla="*/ 3876675 h 4496940"/>
                  <a:gd name="connsiteX101" fmla="*/ 697252 w 4519987"/>
                  <a:gd name="connsiteY101" fmla="*/ 3838575 h 4496940"/>
                  <a:gd name="connsiteX102" fmla="*/ 640102 w 4519987"/>
                  <a:gd name="connsiteY102" fmla="*/ 3781425 h 4496940"/>
                  <a:gd name="connsiteX103" fmla="*/ 611527 w 4519987"/>
                  <a:gd name="connsiteY103" fmla="*/ 3733800 h 4496940"/>
                  <a:gd name="connsiteX104" fmla="*/ 554377 w 4519987"/>
                  <a:gd name="connsiteY104" fmla="*/ 3657600 h 4496940"/>
                  <a:gd name="connsiteX105" fmla="*/ 525802 w 4519987"/>
                  <a:gd name="connsiteY105" fmla="*/ 3609975 h 4496940"/>
                  <a:gd name="connsiteX106" fmla="*/ 497227 w 4519987"/>
                  <a:gd name="connsiteY106" fmla="*/ 3552825 h 4496940"/>
                  <a:gd name="connsiteX107" fmla="*/ 440077 w 4519987"/>
                  <a:gd name="connsiteY107" fmla="*/ 3495675 h 4496940"/>
                  <a:gd name="connsiteX108" fmla="*/ 411502 w 4519987"/>
                  <a:gd name="connsiteY108" fmla="*/ 3448050 h 4496940"/>
                  <a:gd name="connsiteX109" fmla="*/ 278152 w 4519987"/>
                  <a:gd name="connsiteY109" fmla="*/ 3257550 h 4496940"/>
                  <a:gd name="connsiteX110" fmla="*/ 249577 w 4519987"/>
                  <a:gd name="connsiteY110" fmla="*/ 3200400 h 4496940"/>
                  <a:gd name="connsiteX111" fmla="*/ 240052 w 4519987"/>
                  <a:gd name="connsiteY111" fmla="*/ 3162300 h 4496940"/>
                  <a:gd name="connsiteX112" fmla="*/ 221002 w 4519987"/>
                  <a:gd name="connsiteY112" fmla="*/ 3105150 h 4496940"/>
                  <a:gd name="connsiteX113" fmla="*/ 173377 w 4519987"/>
                  <a:gd name="connsiteY113" fmla="*/ 3019425 h 4496940"/>
                  <a:gd name="connsiteX114" fmla="*/ 144802 w 4519987"/>
                  <a:gd name="connsiteY114" fmla="*/ 2924175 h 4496940"/>
                  <a:gd name="connsiteX115" fmla="*/ 68602 w 4519987"/>
                  <a:gd name="connsiteY115" fmla="*/ 2724150 h 4496940"/>
                  <a:gd name="connsiteX116" fmla="*/ 49552 w 4519987"/>
                  <a:gd name="connsiteY116" fmla="*/ 2638425 h 4496940"/>
                  <a:gd name="connsiteX117" fmla="*/ 40027 w 4519987"/>
                  <a:gd name="connsiteY117" fmla="*/ 2562225 h 4496940"/>
                  <a:gd name="connsiteX118" fmla="*/ 30502 w 4519987"/>
                  <a:gd name="connsiteY118" fmla="*/ 2514600 h 4496940"/>
                  <a:gd name="connsiteX119" fmla="*/ 11452 w 4519987"/>
                  <a:gd name="connsiteY119" fmla="*/ 2400300 h 4496940"/>
                  <a:gd name="connsiteX120" fmla="*/ 20977 w 4519987"/>
                  <a:gd name="connsiteY120" fmla="*/ 1905000 h 4496940"/>
                  <a:gd name="connsiteX121" fmla="*/ 30502 w 4519987"/>
                  <a:gd name="connsiteY121" fmla="*/ 1838325 h 4496940"/>
                  <a:gd name="connsiteX122" fmla="*/ 49552 w 4519987"/>
                  <a:gd name="connsiteY122" fmla="*/ 1781175 h 4496940"/>
                  <a:gd name="connsiteX123" fmla="*/ 59077 w 4519987"/>
                  <a:gd name="connsiteY123" fmla="*/ 1743075 h 4496940"/>
                  <a:gd name="connsiteX124" fmla="*/ 78127 w 4519987"/>
                  <a:gd name="connsiteY124" fmla="*/ 1685925 h 4496940"/>
                  <a:gd name="connsiteX125" fmla="*/ 87652 w 4519987"/>
                  <a:gd name="connsiteY125" fmla="*/ 1638300 h 4496940"/>
                  <a:gd name="connsiteX126" fmla="*/ 106702 w 4519987"/>
                  <a:gd name="connsiteY126" fmla="*/ 1590675 h 4496940"/>
                  <a:gd name="connsiteX127" fmla="*/ 135277 w 4519987"/>
                  <a:gd name="connsiteY127" fmla="*/ 1504950 h 4496940"/>
                  <a:gd name="connsiteX128" fmla="*/ 154327 w 4519987"/>
                  <a:gd name="connsiteY128" fmla="*/ 1419225 h 4496940"/>
                  <a:gd name="connsiteX129" fmla="*/ 230527 w 4519987"/>
                  <a:gd name="connsiteY129" fmla="*/ 1276350 h 4496940"/>
                  <a:gd name="connsiteX130" fmla="*/ 240052 w 4519987"/>
                  <a:gd name="connsiteY130" fmla="*/ 1247775 h 4496940"/>
                  <a:gd name="connsiteX131" fmla="*/ 268627 w 4519987"/>
                  <a:gd name="connsiteY131" fmla="*/ 1200150 h 4496940"/>
                  <a:gd name="connsiteX132" fmla="*/ 287677 w 4519987"/>
                  <a:gd name="connsiteY132" fmla="*/ 1152525 h 4496940"/>
                  <a:gd name="connsiteX133" fmla="*/ 316252 w 4519987"/>
                  <a:gd name="connsiteY133" fmla="*/ 1114425 h 4496940"/>
                  <a:gd name="connsiteX134" fmla="*/ 363877 w 4519987"/>
                  <a:gd name="connsiteY134" fmla="*/ 1038225 h 4496940"/>
                  <a:gd name="connsiteX135" fmla="*/ 382927 w 4519987"/>
                  <a:gd name="connsiteY135" fmla="*/ 1009650 h 4496940"/>
                  <a:gd name="connsiteX136" fmla="*/ 440077 w 4519987"/>
                  <a:gd name="connsiteY136" fmla="*/ 904875 h 4496940"/>
                  <a:gd name="connsiteX137" fmla="*/ 478177 w 4519987"/>
                  <a:gd name="connsiteY137" fmla="*/ 857250 h 4496940"/>
                  <a:gd name="connsiteX138" fmla="*/ 497227 w 4519987"/>
                  <a:gd name="connsiteY138" fmla="*/ 828675 h 4496940"/>
                  <a:gd name="connsiteX139" fmla="*/ 535327 w 4519987"/>
                  <a:gd name="connsiteY139" fmla="*/ 800100 h 4496940"/>
                  <a:gd name="connsiteX140" fmla="*/ 602002 w 4519987"/>
                  <a:gd name="connsiteY140" fmla="*/ 733425 h 4496940"/>
                  <a:gd name="connsiteX141" fmla="*/ 668677 w 4519987"/>
                  <a:gd name="connsiteY141" fmla="*/ 676275 h 4496940"/>
                  <a:gd name="connsiteX142" fmla="*/ 697252 w 4519987"/>
                  <a:gd name="connsiteY142" fmla="*/ 657225 h 4496940"/>
                  <a:gd name="connsiteX143" fmla="*/ 840127 w 4519987"/>
                  <a:gd name="connsiteY143" fmla="*/ 533400 h 4496940"/>
                  <a:gd name="connsiteX144" fmla="*/ 887752 w 4519987"/>
                  <a:gd name="connsiteY144" fmla="*/ 504825 h 4496940"/>
                  <a:gd name="connsiteX145" fmla="*/ 1167152 w 4519987"/>
                  <a:gd name="connsiteY145" fmla="*/ 311150 h 4496940"/>
                  <a:gd name="connsiteX146" fmla="*/ 1268752 w 4519987"/>
                  <a:gd name="connsiteY146" fmla="*/ 285750 h 4496940"/>
                  <a:gd name="connsiteX147" fmla="*/ 1411627 w 4519987"/>
                  <a:gd name="connsiteY147" fmla="*/ 190500 h 4496940"/>
                  <a:gd name="connsiteX148" fmla="*/ 1449727 w 4519987"/>
                  <a:gd name="connsiteY148" fmla="*/ 161925 h 4496940"/>
                  <a:gd name="connsiteX149" fmla="*/ 1525927 w 4519987"/>
                  <a:gd name="connsiteY149" fmla="*/ 152400 h 4496940"/>
                  <a:gd name="connsiteX150" fmla="*/ 1583077 w 4519987"/>
                  <a:gd name="connsiteY150" fmla="*/ 142875 h 4496940"/>
                  <a:gd name="connsiteX151" fmla="*/ 1716427 w 4519987"/>
                  <a:gd name="connsiteY151" fmla="*/ 123825 h 4496940"/>
                  <a:gd name="connsiteX152" fmla="*/ 1811677 w 4519987"/>
                  <a:gd name="connsiteY152" fmla="*/ 114300 h 4496940"/>
                  <a:gd name="connsiteX153" fmla="*/ 1859302 w 4519987"/>
                  <a:gd name="connsiteY153" fmla="*/ 104775 h 4496940"/>
                  <a:gd name="connsiteX154" fmla="*/ 1916452 w 4519987"/>
                  <a:gd name="connsiteY154" fmla="*/ 95250 h 4496940"/>
                  <a:gd name="connsiteX155" fmla="*/ 2030752 w 4519987"/>
                  <a:gd name="connsiteY155" fmla="*/ 66675 h 4496940"/>
                  <a:gd name="connsiteX156" fmla="*/ 2097427 w 4519987"/>
                  <a:gd name="connsiteY156" fmla="*/ 47625 h 4496940"/>
                  <a:gd name="connsiteX157" fmla="*/ 2164102 w 4519987"/>
                  <a:gd name="connsiteY157" fmla="*/ 38100 h 4496940"/>
                  <a:gd name="connsiteX158" fmla="*/ 2392702 w 4519987"/>
                  <a:gd name="connsiteY15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78627 w 4519987"/>
                  <a:gd name="connsiteY28" fmla="*/ 838200 h 4496940"/>
                  <a:gd name="connsiteX29" fmla="*/ 4107202 w 4519987"/>
                  <a:gd name="connsiteY29" fmla="*/ 876300 h 4496940"/>
                  <a:gd name="connsiteX30" fmla="*/ 4116727 w 4519987"/>
                  <a:gd name="connsiteY30" fmla="*/ 904875 h 4496940"/>
                  <a:gd name="connsiteX31" fmla="*/ 4135777 w 4519987"/>
                  <a:gd name="connsiteY31" fmla="*/ 933450 h 4496940"/>
                  <a:gd name="connsiteX32" fmla="*/ 4164352 w 4519987"/>
                  <a:gd name="connsiteY32" fmla="*/ 990600 h 4496940"/>
                  <a:gd name="connsiteX33" fmla="*/ 4173877 w 4519987"/>
                  <a:gd name="connsiteY33" fmla="*/ 1019175 h 4496940"/>
                  <a:gd name="connsiteX34" fmla="*/ 4192927 w 4519987"/>
                  <a:gd name="connsiteY34" fmla="*/ 1057275 h 4496940"/>
                  <a:gd name="connsiteX35" fmla="*/ 4202452 w 4519987"/>
                  <a:gd name="connsiteY35" fmla="*/ 1085850 h 4496940"/>
                  <a:gd name="connsiteX36" fmla="*/ 4250077 w 4519987"/>
                  <a:gd name="connsiteY36" fmla="*/ 1143000 h 4496940"/>
                  <a:gd name="connsiteX37" fmla="*/ 4259602 w 4519987"/>
                  <a:gd name="connsiteY37" fmla="*/ 1190625 h 4496940"/>
                  <a:gd name="connsiteX38" fmla="*/ 4307227 w 4519987"/>
                  <a:gd name="connsiteY38" fmla="*/ 1266825 h 4496940"/>
                  <a:gd name="connsiteX39" fmla="*/ 4345327 w 4519987"/>
                  <a:gd name="connsiteY39" fmla="*/ 1362075 h 4496940"/>
                  <a:gd name="connsiteX40" fmla="*/ 4373902 w 4519987"/>
                  <a:gd name="connsiteY40" fmla="*/ 1428750 h 4496940"/>
                  <a:gd name="connsiteX41" fmla="*/ 4392952 w 4519987"/>
                  <a:gd name="connsiteY41" fmla="*/ 1552575 h 4496940"/>
                  <a:gd name="connsiteX42" fmla="*/ 4402477 w 4519987"/>
                  <a:gd name="connsiteY42" fmla="*/ 1590675 h 4496940"/>
                  <a:gd name="connsiteX43" fmla="*/ 4431052 w 4519987"/>
                  <a:gd name="connsiteY43" fmla="*/ 1685925 h 4496940"/>
                  <a:gd name="connsiteX44" fmla="*/ 4519952 w 4519987"/>
                  <a:gd name="connsiteY44" fmla="*/ 2181225 h 4496940"/>
                  <a:gd name="connsiteX45" fmla="*/ 4446927 w 4519987"/>
                  <a:gd name="connsiteY45" fmla="*/ 2768600 h 4496940"/>
                  <a:gd name="connsiteX46" fmla="*/ 4383427 w 4519987"/>
                  <a:gd name="connsiteY46" fmla="*/ 2990850 h 4496940"/>
                  <a:gd name="connsiteX47" fmla="*/ 4278652 w 4519987"/>
                  <a:gd name="connsiteY47" fmla="*/ 3248025 h 4496940"/>
                  <a:gd name="connsiteX48" fmla="*/ 4259602 w 4519987"/>
                  <a:gd name="connsiteY48" fmla="*/ 3276600 h 4496940"/>
                  <a:gd name="connsiteX49" fmla="*/ 4221502 w 4519987"/>
                  <a:gd name="connsiteY49" fmla="*/ 3333750 h 4496940"/>
                  <a:gd name="connsiteX50" fmla="*/ 4211977 w 4519987"/>
                  <a:gd name="connsiteY50" fmla="*/ 3362325 h 4496940"/>
                  <a:gd name="connsiteX51" fmla="*/ 4183402 w 4519987"/>
                  <a:gd name="connsiteY51" fmla="*/ 3400425 h 4496940"/>
                  <a:gd name="connsiteX52" fmla="*/ 4164352 w 4519987"/>
                  <a:gd name="connsiteY52" fmla="*/ 3429000 h 4496940"/>
                  <a:gd name="connsiteX53" fmla="*/ 4088152 w 4519987"/>
                  <a:gd name="connsiteY53" fmla="*/ 3495675 h 4496940"/>
                  <a:gd name="connsiteX54" fmla="*/ 4059577 w 4519987"/>
                  <a:gd name="connsiteY54" fmla="*/ 3533775 h 4496940"/>
                  <a:gd name="connsiteX55" fmla="*/ 4002427 w 4519987"/>
                  <a:gd name="connsiteY55" fmla="*/ 3600450 h 4496940"/>
                  <a:gd name="connsiteX56" fmla="*/ 3983377 w 4519987"/>
                  <a:gd name="connsiteY56" fmla="*/ 3629025 h 4496940"/>
                  <a:gd name="connsiteX57" fmla="*/ 3954802 w 4519987"/>
                  <a:gd name="connsiteY57" fmla="*/ 3648075 h 4496940"/>
                  <a:gd name="connsiteX58" fmla="*/ 3907177 w 4519987"/>
                  <a:gd name="connsiteY58" fmla="*/ 3686175 h 4496940"/>
                  <a:gd name="connsiteX59" fmla="*/ 3869077 w 4519987"/>
                  <a:gd name="connsiteY59" fmla="*/ 3724275 h 4496940"/>
                  <a:gd name="connsiteX60" fmla="*/ 3792877 w 4519987"/>
                  <a:gd name="connsiteY60" fmla="*/ 3781425 h 4496940"/>
                  <a:gd name="connsiteX61" fmla="*/ 3783352 w 4519987"/>
                  <a:gd name="connsiteY61" fmla="*/ 3810000 h 4496940"/>
                  <a:gd name="connsiteX62" fmla="*/ 3745252 w 4519987"/>
                  <a:gd name="connsiteY62" fmla="*/ 3819525 h 4496940"/>
                  <a:gd name="connsiteX63" fmla="*/ 3678577 w 4519987"/>
                  <a:gd name="connsiteY63" fmla="*/ 3848100 h 4496940"/>
                  <a:gd name="connsiteX64" fmla="*/ 3659527 w 4519987"/>
                  <a:gd name="connsiteY64" fmla="*/ 3971925 h 4496940"/>
                  <a:gd name="connsiteX65" fmla="*/ 3630952 w 4519987"/>
                  <a:gd name="connsiteY65" fmla="*/ 4010025 h 4496940"/>
                  <a:gd name="connsiteX66" fmla="*/ 3621427 w 4519987"/>
                  <a:gd name="connsiteY66" fmla="*/ 4038600 h 4496940"/>
                  <a:gd name="connsiteX67" fmla="*/ 3554752 w 4519987"/>
                  <a:gd name="connsiteY67" fmla="*/ 4095750 h 4496940"/>
                  <a:gd name="connsiteX68" fmla="*/ 3516652 w 4519987"/>
                  <a:gd name="connsiteY68" fmla="*/ 4114800 h 4496940"/>
                  <a:gd name="connsiteX69" fmla="*/ 3497602 w 4519987"/>
                  <a:gd name="connsiteY69" fmla="*/ 4143375 h 4496940"/>
                  <a:gd name="connsiteX70" fmla="*/ 3383302 w 4519987"/>
                  <a:gd name="connsiteY70" fmla="*/ 4210050 h 4496940"/>
                  <a:gd name="connsiteX71" fmla="*/ 3335677 w 4519987"/>
                  <a:gd name="connsiteY71" fmla="*/ 4238625 h 4496940"/>
                  <a:gd name="connsiteX72" fmla="*/ 3288052 w 4519987"/>
                  <a:gd name="connsiteY72" fmla="*/ 4248150 h 4496940"/>
                  <a:gd name="connsiteX73" fmla="*/ 3240427 w 4519987"/>
                  <a:gd name="connsiteY73" fmla="*/ 4267200 h 4496940"/>
                  <a:gd name="connsiteX74" fmla="*/ 3068977 w 4519987"/>
                  <a:gd name="connsiteY74" fmla="*/ 4286250 h 4496940"/>
                  <a:gd name="connsiteX75" fmla="*/ 2935627 w 4519987"/>
                  <a:gd name="connsiteY75" fmla="*/ 4333875 h 4496940"/>
                  <a:gd name="connsiteX76" fmla="*/ 2811802 w 4519987"/>
                  <a:gd name="connsiteY76" fmla="*/ 4371975 h 4496940"/>
                  <a:gd name="connsiteX77" fmla="*/ 2745127 w 4519987"/>
                  <a:gd name="connsiteY77" fmla="*/ 4410075 h 4496940"/>
                  <a:gd name="connsiteX78" fmla="*/ 2697502 w 4519987"/>
                  <a:gd name="connsiteY78" fmla="*/ 4429125 h 4496940"/>
                  <a:gd name="connsiteX79" fmla="*/ 2640352 w 4519987"/>
                  <a:gd name="connsiteY79" fmla="*/ 4457700 h 4496940"/>
                  <a:gd name="connsiteX80" fmla="*/ 2583202 w 4519987"/>
                  <a:gd name="connsiteY80" fmla="*/ 4467225 h 4496940"/>
                  <a:gd name="connsiteX81" fmla="*/ 2545102 w 4519987"/>
                  <a:gd name="connsiteY81" fmla="*/ 4486275 h 4496940"/>
                  <a:gd name="connsiteX82" fmla="*/ 2306977 w 4519987"/>
                  <a:gd name="connsiteY82" fmla="*/ 4476750 h 4496940"/>
                  <a:gd name="connsiteX83" fmla="*/ 2202202 w 4519987"/>
                  <a:gd name="connsiteY83" fmla="*/ 4457700 h 4496940"/>
                  <a:gd name="connsiteX84" fmla="*/ 2126002 w 4519987"/>
                  <a:gd name="connsiteY84" fmla="*/ 4429125 h 4496940"/>
                  <a:gd name="connsiteX85" fmla="*/ 1935502 w 4519987"/>
                  <a:gd name="connsiteY85" fmla="*/ 4400550 h 4496940"/>
                  <a:gd name="connsiteX86" fmla="*/ 1821202 w 4519987"/>
                  <a:gd name="connsiteY86" fmla="*/ 4371975 h 4496940"/>
                  <a:gd name="connsiteX87" fmla="*/ 1754527 w 4519987"/>
                  <a:gd name="connsiteY87" fmla="*/ 4352925 h 4496940"/>
                  <a:gd name="connsiteX88" fmla="*/ 1687852 w 4519987"/>
                  <a:gd name="connsiteY88" fmla="*/ 4343400 h 4496940"/>
                  <a:gd name="connsiteX89" fmla="*/ 1573552 w 4519987"/>
                  <a:gd name="connsiteY89" fmla="*/ 4305300 h 4496940"/>
                  <a:gd name="connsiteX90" fmla="*/ 1402102 w 4519987"/>
                  <a:gd name="connsiteY90" fmla="*/ 4276725 h 4496940"/>
                  <a:gd name="connsiteX91" fmla="*/ 1287802 w 4519987"/>
                  <a:gd name="connsiteY91" fmla="*/ 4229100 h 4496940"/>
                  <a:gd name="connsiteX92" fmla="*/ 1221127 w 4519987"/>
                  <a:gd name="connsiteY92" fmla="*/ 4200525 h 4496940"/>
                  <a:gd name="connsiteX93" fmla="*/ 1144927 w 4519987"/>
                  <a:gd name="connsiteY93" fmla="*/ 4171950 h 4496940"/>
                  <a:gd name="connsiteX94" fmla="*/ 1087777 w 4519987"/>
                  <a:gd name="connsiteY94" fmla="*/ 4143375 h 4496940"/>
                  <a:gd name="connsiteX95" fmla="*/ 1030627 w 4519987"/>
                  <a:gd name="connsiteY95" fmla="*/ 4124325 h 4496940"/>
                  <a:gd name="connsiteX96" fmla="*/ 925852 w 4519987"/>
                  <a:gd name="connsiteY96" fmla="*/ 4067175 h 4496940"/>
                  <a:gd name="connsiteX97" fmla="*/ 830602 w 4519987"/>
                  <a:gd name="connsiteY97" fmla="*/ 3981450 h 4496940"/>
                  <a:gd name="connsiteX98" fmla="*/ 763927 w 4519987"/>
                  <a:gd name="connsiteY98" fmla="*/ 3914775 h 4496940"/>
                  <a:gd name="connsiteX99" fmla="*/ 725827 w 4519987"/>
                  <a:gd name="connsiteY99" fmla="*/ 3876675 h 4496940"/>
                  <a:gd name="connsiteX100" fmla="*/ 697252 w 4519987"/>
                  <a:gd name="connsiteY100" fmla="*/ 3838575 h 4496940"/>
                  <a:gd name="connsiteX101" fmla="*/ 640102 w 4519987"/>
                  <a:gd name="connsiteY101" fmla="*/ 3781425 h 4496940"/>
                  <a:gd name="connsiteX102" fmla="*/ 611527 w 4519987"/>
                  <a:gd name="connsiteY102" fmla="*/ 3733800 h 4496940"/>
                  <a:gd name="connsiteX103" fmla="*/ 554377 w 4519987"/>
                  <a:gd name="connsiteY103" fmla="*/ 3657600 h 4496940"/>
                  <a:gd name="connsiteX104" fmla="*/ 525802 w 4519987"/>
                  <a:gd name="connsiteY104" fmla="*/ 3609975 h 4496940"/>
                  <a:gd name="connsiteX105" fmla="*/ 497227 w 4519987"/>
                  <a:gd name="connsiteY105" fmla="*/ 3552825 h 4496940"/>
                  <a:gd name="connsiteX106" fmla="*/ 440077 w 4519987"/>
                  <a:gd name="connsiteY106" fmla="*/ 3495675 h 4496940"/>
                  <a:gd name="connsiteX107" fmla="*/ 411502 w 4519987"/>
                  <a:gd name="connsiteY107" fmla="*/ 3448050 h 4496940"/>
                  <a:gd name="connsiteX108" fmla="*/ 278152 w 4519987"/>
                  <a:gd name="connsiteY108" fmla="*/ 3257550 h 4496940"/>
                  <a:gd name="connsiteX109" fmla="*/ 249577 w 4519987"/>
                  <a:gd name="connsiteY109" fmla="*/ 3200400 h 4496940"/>
                  <a:gd name="connsiteX110" fmla="*/ 240052 w 4519987"/>
                  <a:gd name="connsiteY110" fmla="*/ 3162300 h 4496940"/>
                  <a:gd name="connsiteX111" fmla="*/ 221002 w 4519987"/>
                  <a:gd name="connsiteY111" fmla="*/ 3105150 h 4496940"/>
                  <a:gd name="connsiteX112" fmla="*/ 173377 w 4519987"/>
                  <a:gd name="connsiteY112" fmla="*/ 3019425 h 4496940"/>
                  <a:gd name="connsiteX113" fmla="*/ 144802 w 4519987"/>
                  <a:gd name="connsiteY113" fmla="*/ 2924175 h 4496940"/>
                  <a:gd name="connsiteX114" fmla="*/ 68602 w 4519987"/>
                  <a:gd name="connsiteY114" fmla="*/ 2724150 h 4496940"/>
                  <a:gd name="connsiteX115" fmla="*/ 49552 w 4519987"/>
                  <a:gd name="connsiteY115" fmla="*/ 2638425 h 4496940"/>
                  <a:gd name="connsiteX116" fmla="*/ 40027 w 4519987"/>
                  <a:gd name="connsiteY116" fmla="*/ 2562225 h 4496940"/>
                  <a:gd name="connsiteX117" fmla="*/ 30502 w 4519987"/>
                  <a:gd name="connsiteY117" fmla="*/ 2514600 h 4496940"/>
                  <a:gd name="connsiteX118" fmla="*/ 11452 w 4519987"/>
                  <a:gd name="connsiteY118" fmla="*/ 2400300 h 4496940"/>
                  <a:gd name="connsiteX119" fmla="*/ 20977 w 4519987"/>
                  <a:gd name="connsiteY119" fmla="*/ 1905000 h 4496940"/>
                  <a:gd name="connsiteX120" fmla="*/ 30502 w 4519987"/>
                  <a:gd name="connsiteY120" fmla="*/ 1838325 h 4496940"/>
                  <a:gd name="connsiteX121" fmla="*/ 49552 w 4519987"/>
                  <a:gd name="connsiteY121" fmla="*/ 1781175 h 4496940"/>
                  <a:gd name="connsiteX122" fmla="*/ 59077 w 4519987"/>
                  <a:gd name="connsiteY122" fmla="*/ 1743075 h 4496940"/>
                  <a:gd name="connsiteX123" fmla="*/ 78127 w 4519987"/>
                  <a:gd name="connsiteY123" fmla="*/ 1685925 h 4496940"/>
                  <a:gd name="connsiteX124" fmla="*/ 87652 w 4519987"/>
                  <a:gd name="connsiteY124" fmla="*/ 1638300 h 4496940"/>
                  <a:gd name="connsiteX125" fmla="*/ 106702 w 4519987"/>
                  <a:gd name="connsiteY125" fmla="*/ 1590675 h 4496940"/>
                  <a:gd name="connsiteX126" fmla="*/ 135277 w 4519987"/>
                  <a:gd name="connsiteY126" fmla="*/ 1504950 h 4496940"/>
                  <a:gd name="connsiteX127" fmla="*/ 154327 w 4519987"/>
                  <a:gd name="connsiteY127" fmla="*/ 1419225 h 4496940"/>
                  <a:gd name="connsiteX128" fmla="*/ 230527 w 4519987"/>
                  <a:gd name="connsiteY128" fmla="*/ 1276350 h 4496940"/>
                  <a:gd name="connsiteX129" fmla="*/ 240052 w 4519987"/>
                  <a:gd name="connsiteY129" fmla="*/ 1247775 h 4496940"/>
                  <a:gd name="connsiteX130" fmla="*/ 268627 w 4519987"/>
                  <a:gd name="connsiteY130" fmla="*/ 1200150 h 4496940"/>
                  <a:gd name="connsiteX131" fmla="*/ 287677 w 4519987"/>
                  <a:gd name="connsiteY131" fmla="*/ 1152525 h 4496940"/>
                  <a:gd name="connsiteX132" fmla="*/ 316252 w 4519987"/>
                  <a:gd name="connsiteY132" fmla="*/ 1114425 h 4496940"/>
                  <a:gd name="connsiteX133" fmla="*/ 363877 w 4519987"/>
                  <a:gd name="connsiteY133" fmla="*/ 1038225 h 4496940"/>
                  <a:gd name="connsiteX134" fmla="*/ 382927 w 4519987"/>
                  <a:gd name="connsiteY134" fmla="*/ 1009650 h 4496940"/>
                  <a:gd name="connsiteX135" fmla="*/ 440077 w 4519987"/>
                  <a:gd name="connsiteY135" fmla="*/ 904875 h 4496940"/>
                  <a:gd name="connsiteX136" fmla="*/ 478177 w 4519987"/>
                  <a:gd name="connsiteY136" fmla="*/ 857250 h 4496940"/>
                  <a:gd name="connsiteX137" fmla="*/ 497227 w 4519987"/>
                  <a:gd name="connsiteY137" fmla="*/ 828675 h 4496940"/>
                  <a:gd name="connsiteX138" fmla="*/ 535327 w 4519987"/>
                  <a:gd name="connsiteY138" fmla="*/ 800100 h 4496940"/>
                  <a:gd name="connsiteX139" fmla="*/ 602002 w 4519987"/>
                  <a:gd name="connsiteY139" fmla="*/ 733425 h 4496940"/>
                  <a:gd name="connsiteX140" fmla="*/ 668677 w 4519987"/>
                  <a:gd name="connsiteY140" fmla="*/ 676275 h 4496940"/>
                  <a:gd name="connsiteX141" fmla="*/ 697252 w 4519987"/>
                  <a:gd name="connsiteY141" fmla="*/ 657225 h 4496940"/>
                  <a:gd name="connsiteX142" fmla="*/ 840127 w 4519987"/>
                  <a:gd name="connsiteY142" fmla="*/ 533400 h 4496940"/>
                  <a:gd name="connsiteX143" fmla="*/ 887752 w 4519987"/>
                  <a:gd name="connsiteY143" fmla="*/ 504825 h 4496940"/>
                  <a:gd name="connsiteX144" fmla="*/ 1167152 w 4519987"/>
                  <a:gd name="connsiteY144" fmla="*/ 311150 h 4496940"/>
                  <a:gd name="connsiteX145" fmla="*/ 1268752 w 4519987"/>
                  <a:gd name="connsiteY145" fmla="*/ 285750 h 4496940"/>
                  <a:gd name="connsiteX146" fmla="*/ 1411627 w 4519987"/>
                  <a:gd name="connsiteY146" fmla="*/ 190500 h 4496940"/>
                  <a:gd name="connsiteX147" fmla="*/ 1449727 w 4519987"/>
                  <a:gd name="connsiteY147" fmla="*/ 161925 h 4496940"/>
                  <a:gd name="connsiteX148" fmla="*/ 1525927 w 4519987"/>
                  <a:gd name="connsiteY148" fmla="*/ 152400 h 4496940"/>
                  <a:gd name="connsiteX149" fmla="*/ 1583077 w 4519987"/>
                  <a:gd name="connsiteY149" fmla="*/ 142875 h 4496940"/>
                  <a:gd name="connsiteX150" fmla="*/ 1716427 w 4519987"/>
                  <a:gd name="connsiteY150" fmla="*/ 123825 h 4496940"/>
                  <a:gd name="connsiteX151" fmla="*/ 1811677 w 4519987"/>
                  <a:gd name="connsiteY151" fmla="*/ 114300 h 4496940"/>
                  <a:gd name="connsiteX152" fmla="*/ 1859302 w 4519987"/>
                  <a:gd name="connsiteY152" fmla="*/ 104775 h 4496940"/>
                  <a:gd name="connsiteX153" fmla="*/ 1916452 w 4519987"/>
                  <a:gd name="connsiteY153" fmla="*/ 95250 h 4496940"/>
                  <a:gd name="connsiteX154" fmla="*/ 2030752 w 4519987"/>
                  <a:gd name="connsiteY154" fmla="*/ 66675 h 4496940"/>
                  <a:gd name="connsiteX155" fmla="*/ 2097427 w 4519987"/>
                  <a:gd name="connsiteY155" fmla="*/ 47625 h 4496940"/>
                  <a:gd name="connsiteX156" fmla="*/ 2164102 w 4519987"/>
                  <a:gd name="connsiteY156" fmla="*/ 38100 h 4496940"/>
                  <a:gd name="connsiteX157" fmla="*/ 2392702 w 4519987"/>
                  <a:gd name="connsiteY15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78627 w 4519987"/>
                  <a:gd name="connsiteY28" fmla="*/ 838200 h 4496940"/>
                  <a:gd name="connsiteX29" fmla="*/ 4107202 w 4519987"/>
                  <a:gd name="connsiteY29" fmla="*/ 876300 h 4496940"/>
                  <a:gd name="connsiteX30" fmla="*/ 4135777 w 4519987"/>
                  <a:gd name="connsiteY30" fmla="*/ 933450 h 4496940"/>
                  <a:gd name="connsiteX31" fmla="*/ 4164352 w 4519987"/>
                  <a:gd name="connsiteY31" fmla="*/ 990600 h 4496940"/>
                  <a:gd name="connsiteX32" fmla="*/ 4173877 w 4519987"/>
                  <a:gd name="connsiteY32" fmla="*/ 1019175 h 4496940"/>
                  <a:gd name="connsiteX33" fmla="*/ 4192927 w 4519987"/>
                  <a:gd name="connsiteY33" fmla="*/ 1057275 h 4496940"/>
                  <a:gd name="connsiteX34" fmla="*/ 4202452 w 4519987"/>
                  <a:gd name="connsiteY34" fmla="*/ 1085850 h 4496940"/>
                  <a:gd name="connsiteX35" fmla="*/ 4250077 w 4519987"/>
                  <a:gd name="connsiteY35" fmla="*/ 1143000 h 4496940"/>
                  <a:gd name="connsiteX36" fmla="*/ 4259602 w 4519987"/>
                  <a:gd name="connsiteY36" fmla="*/ 1190625 h 4496940"/>
                  <a:gd name="connsiteX37" fmla="*/ 4307227 w 4519987"/>
                  <a:gd name="connsiteY37" fmla="*/ 1266825 h 4496940"/>
                  <a:gd name="connsiteX38" fmla="*/ 4345327 w 4519987"/>
                  <a:gd name="connsiteY38" fmla="*/ 1362075 h 4496940"/>
                  <a:gd name="connsiteX39" fmla="*/ 4373902 w 4519987"/>
                  <a:gd name="connsiteY39" fmla="*/ 1428750 h 4496940"/>
                  <a:gd name="connsiteX40" fmla="*/ 4392952 w 4519987"/>
                  <a:gd name="connsiteY40" fmla="*/ 1552575 h 4496940"/>
                  <a:gd name="connsiteX41" fmla="*/ 4402477 w 4519987"/>
                  <a:gd name="connsiteY41" fmla="*/ 1590675 h 4496940"/>
                  <a:gd name="connsiteX42" fmla="*/ 4431052 w 4519987"/>
                  <a:gd name="connsiteY42" fmla="*/ 1685925 h 4496940"/>
                  <a:gd name="connsiteX43" fmla="*/ 4519952 w 4519987"/>
                  <a:gd name="connsiteY43" fmla="*/ 2181225 h 4496940"/>
                  <a:gd name="connsiteX44" fmla="*/ 4446927 w 4519987"/>
                  <a:gd name="connsiteY44" fmla="*/ 2768600 h 4496940"/>
                  <a:gd name="connsiteX45" fmla="*/ 4383427 w 4519987"/>
                  <a:gd name="connsiteY45" fmla="*/ 2990850 h 4496940"/>
                  <a:gd name="connsiteX46" fmla="*/ 4278652 w 4519987"/>
                  <a:gd name="connsiteY46" fmla="*/ 3248025 h 4496940"/>
                  <a:gd name="connsiteX47" fmla="*/ 4259602 w 4519987"/>
                  <a:gd name="connsiteY47" fmla="*/ 3276600 h 4496940"/>
                  <a:gd name="connsiteX48" fmla="*/ 4221502 w 4519987"/>
                  <a:gd name="connsiteY48" fmla="*/ 3333750 h 4496940"/>
                  <a:gd name="connsiteX49" fmla="*/ 4211977 w 4519987"/>
                  <a:gd name="connsiteY49" fmla="*/ 3362325 h 4496940"/>
                  <a:gd name="connsiteX50" fmla="*/ 4183402 w 4519987"/>
                  <a:gd name="connsiteY50" fmla="*/ 3400425 h 4496940"/>
                  <a:gd name="connsiteX51" fmla="*/ 4164352 w 4519987"/>
                  <a:gd name="connsiteY51" fmla="*/ 3429000 h 4496940"/>
                  <a:gd name="connsiteX52" fmla="*/ 4088152 w 4519987"/>
                  <a:gd name="connsiteY52" fmla="*/ 3495675 h 4496940"/>
                  <a:gd name="connsiteX53" fmla="*/ 4059577 w 4519987"/>
                  <a:gd name="connsiteY53" fmla="*/ 3533775 h 4496940"/>
                  <a:gd name="connsiteX54" fmla="*/ 4002427 w 4519987"/>
                  <a:gd name="connsiteY54" fmla="*/ 3600450 h 4496940"/>
                  <a:gd name="connsiteX55" fmla="*/ 3983377 w 4519987"/>
                  <a:gd name="connsiteY55" fmla="*/ 3629025 h 4496940"/>
                  <a:gd name="connsiteX56" fmla="*/ 3954802 w 4519987"/>
                  <a:gd name="connsiteY56" fmla="*/ 3648075 h 4496940"/>
                  <a:gd name="connsiteX57" fmla="*/ 3907177 w 4519987"/>
                  <a:gd name="connsiteY57" fmla="*/ 3686175 h 4496940"/>
                  <a:gd name="connsiteX58" fmla="*/ 3869077 w 4519987"/>
                  <a:gd name="connsiteY58" fmla="*/ 3724275 h 4496940"/>
                  <a:gd name="connsiteX59" fmla="*/ 3792877 w 4519987"/>
                  <a:gd name="connsiteY59" fmla="*/ 3781425 h 4496940"/>
                  <a:gd name="connsiteX60" fmla="*/ 3783352 w 4519987"/>
                  <a:gd name="connsiteY60" fmla="*/ 3810000 h 4496940"/>
                  <a:gd name="connsiteX61" fmla="*/ 3745252 w 4519987"/>
                  <a:gd name="connsiteY61" fmla="*/ 3819525 h 4496940"/>
                  <a:gd name="connsiteX62" fmla="*/ 3678577 w 4519987"/>
                  <a:gd name="connsiteY62" fmla="*/ 3848100 h 4496940"/>
                  <a:gd name="connsiteX63" fmla="*/ 3659527 w 4519987"/>
                  <a:gd name="connsiteY63" fmla="*/ 3971925 h 4496940"/>
                  <a:gd name="connsiteX64" fmla="*/ 3630952 w 4519987"/>
                  <a:gd name="connsiteY64" fmla="*/ 4010025 h 4496940"/>
                  <a:gd name="connsiteX65" fmla="*/ 3621427 w 4519987"/>
                  <a:gd name="connsiteY65" fmla="*/ 4038600 h 4496940"/>
                  <a:gd name="connsiteX66" fmla="*/ 3554752 w 4519987"/>
                  <a:gd name="connsiteY66" fmla="*/ 4095750 h 4496940"/>
                  <a:gd name="connsiteX67" fmla="*/ 3516652 w 4519987"/>
                  <a:gd name="connsiteY67" fmla="*/ 4114800 h 4496940"/>
                  <a:gd name="connsiteX68" fmla="*/ 3497602 w 4519987"/>
                  <a:gd name="connsiteY68" fmla="*/ 4143375 h 4496940"/>
                  <a:gd name="connsiteX69" fmla="*/ 3383302 w 4519987"/>
                  <a:gd name="connsiteY69" fmla="*/ 4210050 h 4496940"/>
                  <a:gd name="connsiteX70" fmla="*/ 3335677 w 4519987"/>
                  <a:gd name="connsiteY70" fmla="*/ 4238625 h 4496940"/>
                  <a:gd name="connsiteX71" fmla="*/ 3288052 w 4519987"/>
                  <a:gd name="connsiteY71" fmla="*/ 4248150 h 4496940"/>
                  <a:gd name="connsiteX72" fmla="*/ 3240427 w 4519987"/>
                  <a:gd name="connsiteY72" fmla="*/ 4267200 h 4496940"/>
                  <a:gd name="connsiteX73" fmla="*/ 3068977 w 4519987"/>
                  <a:gd name="connsiteY73" fmla="*/ 4286250 h 4496940"/>
                  <a:gd name="connsiteX74" fmla="*/ 2935627 w 4519987"/>
                  <a:gd name="connsiteY74" fmla="*/ 4333875 h 4496940"/>
                  <a:gd name="connsiteX75" fmla="*/ 2811802 w 4519987"/>
                  <a:gd name="connsiteY75" fmla="*/ 4371975 h 4496940"/>
                  <a:gd name="connsiteX76" fmla="*/ 2745127 w 4519987"/>
                  <a:gd name="connsiteY76" fmla="*/ 4410075 h 4496940"/>
                  <a:gd name="connsiteX77" fmla="*/ 2697502 w 4519987"/>
                  <a:gd name="connsiteY77" fmla="*/ 4429125 h 4496940"/>
                  <a:gd name="connsiteX78" fmla="*/ 2640352 w 4519987"/>
                  <a:gd name="connsiteY78" fmla="*/ 4457700 h 4496940"/>
                  <a:gd name="connsiteX79" fmla="*/ 2583202 w 4519987"/>
                  <a:gd name="connsiteY79" fmla="*/ 4467225 h 4496940"/>
                  <a:gd name="connsiteX80" fmla="*/ 2545102 w 4519987"/>
                  <a:gd name="connsiteY80" fmla="*/ 4486275 h 4496940"/>
                  <a:gd name="connsiteX81" fmla="*/ 2306977 w 4519987"/>
                  <a:gd name="connsiteY81" fmla="*/ 4476750 h 4496940"/>
                  <a:gd name="connsiteX82" fmla="*/ 2202202 w 4519987"/>
                  <a:gd name="connsiteY82" fmla="*/ 4457700 h 4496940"/>
                  <a:gd name="connsiteX83" fmla="*/ 2126002 w 4519987"/>
                  <a:gd name="connsiteY83" fmla="*/ 4429125 h 4496940"/>
                  <a:gd name="connsiteX84" fmla="*/ 1935502 w 4519987"/>
                  <a:gd name="connsiteY84" fmla="*/ 4400550 h 4496940"/>
                  <a:gd name="connsiteX85" fmla="*/ 1821202 w 4519987"/>
                  <a:gd name="connsiteY85" fmla="*/ 4371975 h 4496940"/>
                  <a:gd name="connsiteX86" fmla="*/ 1754527 w 4519987"/>
                  <a:gd name="connsiteY86" fmla="*/ 4352925 h 4496940"/>
                  <a:gd name="connsiteX87" fmla="*/ 1687852 w 4519987"/>
                  <a:gd name="connsiteY87" fmla="*/ 4343400 h 4496940"/>
                  <a:gd name="connsiteX88" fmla="*/ 1573552 w 4519987"/>
                  <a:gd name="connsiteY88" fmla="*/ 4305300 h 4496940"/>
                  <a:gd name="connsiteX89" fmla="*/ 1402102 w 4519987"/>
                  <a:gd name="connsiteY89" fmla="*/ 4276725 h 4496940"/>
                  <a:gd name="connsiteX90" fmla="*/ 1287802 w 4519987"/>
                  <a:gd name="connsiteY90" fmla="*/ 4229100 h 4496940"/>
                  <a:gd name="connsiteX91" fmla="*/ 1221127 w 4519987"/>
                  <a:gd name="connsiteY91" fmla="*/ 4200525 h 4496940"/>
                  <a:gd name="connsiteX92" fmla="*/ 1144927 w 4519987"/>
                  <a:gd name="connsiteY92" fmla="*/ 4171950 h 4496940"/>
                  <a:gd name="connsiteX93" fmla="*/ 1087777 w 4519987"/>
                  <a:gd name="connsiteY93" fmla="*/ 4143375 h 4496940"/>
                  <a:gd name="connsiteX94" fmla="*/ 1030627 w 4519987"/>
                  <a:gd name="connsiteY94" fmla="*/ 4124325 h 4496940"/>
                  <a:gd name="connsiteX95" fmla="*/ 925852 w 4519987"/>
                  <a:gd name="connsiteY95" fmla="*/ 4067175 h 4496940"/>
                  <a:gd name="connsiteX96" fmla="*/ 830602 w 4519987"/>
                  <a:gd name="connsiteY96" fmla="*/ 3981450 h 4496940"/>
                  <a:gd name="connsiteX97" fmla="*/ 763927 w 4519987"/>
                  <a:gd name="connsiteY97" fmla="*/ 3914775 h 4496940"/>
                  <a:gd name="connsiteX98" fmla="*/ 725827 w 4519987"/>
                  <a:gd name="connsiteY98" fmla="*/ 3876675 h 4496940"/>
                  <a:gd name="connsiteX99" fmla="*/ 697252 w 4519987"/>
                  <a:gd name="connsiteY99" fmla="*/ 3838575 h 4496940"/>
                  <a:gd name="connsiteX100" fmla="*/ 640102 w 4519987"/>
                  <a:gd name="connsiteY100" fmla="*/ 3781425 h 4496940"/>
                  <a:gd name="connsiteX101" fmla="*/ 611527 w 4519987"/>
                  <a:gd name="connsiteY101" fmla="*/ 3733800 h 4496940"/>
                  <a:gd name="connsiteX102" fmla="*/ 554377 w 4519987"/>
                  <a:gd name="connsiteY102" fmla="*/ 3657600 h 4496940"/>
                  <a:gd name="connsiteX103" fmla="*/ 525802 w 4519987"/>
                  <a:gd name="connsiteY103" fmla="*/ 3609975 h 4496940"/>
                  <a:gd name="connsiteX104" fmla="*/ 497227 w 4519987"/>
                  <a:gd name="connsiteY104" fmla="*/ 3552825 h 4496940"/>
                  <a:gd name="connsiteX105" fmla="*/ 440077 w 4519987"/>
                  <a:gd name="connsiteY105" fmla="*/ 3495675 h 4496940"/>
                  <a:gd name="connsiteX106" fmla="*/ 411502 w 4519987"/>
                  <a:gd name="connsiteY106" fmla="*/ 3448050 h 4496940"/>
                  <a:gd name="connsiteX107" fmla="*/ 278152 w 4519987"/>
                  <a:gd name="connsiteY107" fmla="*/ 3257550 h 4496940"/>
                  <a:gd name="connsiteX108" fmla="*/ 249577 w 4519987"/>
                  <a:gd name="connsiteY108" fmla="*/ 3200400 h 4496940"/>
                  <a:gd name="connsiteX109" fmla="*/ 240052 w 4519987"/>
                  <a:gd name="connsiteY109" fmla="*/ 3162300 h 4496940"/>
                  <a:gd name="connsiteX110" fmla="*/ 221002 w 4519987"/>
                  <a:gd name="connsiteY110" fmla="*/ 3105150 h 4496940"/>
                  <a:gd name="connsiteX111" fmla="*/ 173377 w 4519987"/>
                  <a:gd name="connsiteY111" fmla="*/ 3019425 h 4496940"/>
                  <a:gd name="connsiteX112" fmla="*/ 144802 w 4519987"/>
                  <a:gd name="connsiteY112" fmla="*/ 2924175 h 4496940"/>
                  <a:gd name="connsiteX113" fmla="*/ 68602 w 4519987"/>
                  <a:gd name="connsiteY113" fmla="*/ 2724150 h 4496940"/>
                  <a:gd name="connsiteX114" fmla="*/ 49552 w 4519987"/>
                  <a:gd name="connsiteY114" fmla="*/ 2638425 h 4496940"/>
                  <a:gd name="connsiteX115" fmla="*/ 40027 w 4519987"/>
                  <a:gd name="connsiteY115" fmla="*/ 2562225 h 4496940"/>
                  <a:gd name="connsiteX116" fmla="*/ 30502 w 4519987"/>
                  <a:gd name="connsiteY116" fmla="*/ 2514600 h 4496940"/>
                  <a:gd name="connsiteX117" fmla="*/ 11452 w 4519987"/>
                  <a:gd name="connsiteY117" fmla="*/ 2400300 h 4496940"/>
                  <a:gd name="connsiteX118" fmla="*/ 20977 w 4519987"/>
                  <a:gd name="connsiteY118" fmla="*/ 1905000 h 4496940"/>
                  <a:gd name="connsiteX119" fmla="*/ 30502 w 4519987"/>
                  <a:gd name="connsiteY119" fmla="*/ 1838325 h 4496940"/>
                  <a:gd name="connsiteX120" fmla="*/ 49552 w 4519987"/>
                  <a:gd name="connsiteY120" fmla="*/ 1781175 h 4496940"/>
                  <a:gd name="connsiteX121" fmla="*/ 59077 w 4519987"/>
                  <a:gd name="connsiteY121" fmla="*/ 1743075 h 4496940"/>
                  <a:gd name="connsiteX122" fmla="*/ 78127 w 4519987"/>
                  <a:gd name="connsiteY122" fmla="*/ 1685925 h 4496940"/>
                  <a:gd name="connsiteX123" fmla="*/ 87652 w 4519987"/>
                  <a:gd name="connsiteY123" fmla="*/ 1638300 h 4496940"/>
                  <a:gd name="connsiteX124" fmla="*/ 106702 w 4519987"/>
                  <a:gd name="connsiteY124" fmla="*/ 1590675 h 4496940"/>
                  <a:gd name="connsiteX125" fmla="*/ 135277 w 4519987"/>
                  <a:gd name="connsiteY125" fmla="*/ 1504950 h 4496940"/>
                  <a:gd name="connsiteX126" fmla="*/ 154327 w 4519987"/>
                  <a:gd name="connsiteY126" fmla="*/ 1419225 h 4496940"/>
                  <a:gd name="connsiteX127" fmla="*/ 230527 w 4519987"/>
                  <a:gd name="connsiteY127" fmla="*/ 1276350 h 4496940"/>
                  <a:gd name="connsiteX128" fmla="*/ 240052 w 4519987"/>
                  <a:gd name="connsiteY128" fmla="*/ 1247775 h 4496940"/>
                  <a:gd name="connsiteX129" fmla="*/ 268627 w 4519987"/>
                  <a:gd name="connsiteY129" fmla="*/ 1200150 h 4496940"/>
                  <a:gd name="connsiteX130" fmla="*/ 287677 w 4519987"/>
                  <a:gd name="connsiteY130" fmla="*/ 1152525 h 4496940"/>
                  <a:gd name="connsiteX131" fmla="*/ 316252 w 4519987"/>
                  <a:gd name="connsiteY131" fmla="*/ 1114425 h 4496940"/>
                  <a:gd name="connsiteX132" fmla="*/ 363877 w 4519987"/>
                  <a:gd name="connsiteY132" fmla="*/ 1038225 h 4496940"/>
                  <a:gd name="connsiteX133" fmla="*/ 382927 w 4519987"/>
                  <a:gd name="connsiteY133" fmla="*/ 1009650 h 4496940"/>
                  <a:gd name="connsiteX134" fmla="*/ 440077 w 4519987"/>
                  <a:gd name="connsiteY134" fmla="*/ 904875 h 4496940"/>
                  <a:gd name="connsiteX135" fmla="*/ 478177 w 4519987"/>
                  <a:gd name="connsiteY135" fmla="*/ 857250 h 4496940"/>
                  <a:gd name="connsiteX136" fmla="*/ 497227 w 4519987"/>
                  <a:gd name="connsiteY136" fmla="*/ 828675 h 4496940"/>
                  <a:gd name="connsiteX137" fmla="*/ 535327 w 4519987"/>
                  <a:gd name="connsiteY137" fmla="*/ 800100 h 4496940"/>
                  <a:gd name="connsiteX138" fmla="*/ 602002 w 4519987"/>
                  <a:gd name="connsiteY138" fmla="*/ 733425 h 4496940"/>
                  <a:gd name="connsiteX139" fmla="*/ 668677 w 4519987"/>
                  <a:gd name="connsiteY139" fmla="*/ 676275 h 4496940"/>
                  <a:gd name="connsiteX140" fmla="*/ 697252 w 4519987"/>
                  <a:gd name="connsiteY140" fmla="*/ 657225 h 4496940"/>
                  <a:gd name="connsiteX141" fmla="*/ 840127 w 4519987"/>
                  <a:gd name="connsiteY141" fmla="*/ 533400 h 4496940"/>
                  <a:gd name="connsiteX142" fmla="*/ 887752 w 4519987"/>
                  <a:gd name="connsiteY142" fmla="*/ 504825 h 4496940"/>
                  <a:gd name="connsiteX143" fmla="*/ 1167152 w 4519987"/>
                  <a:gd name="connsiteY143" fmla="*/ 311150 h 4496940"/>
                  <a:gd name="connsiteX144" fmla="*/ 1268752 w 4519987"/>
                  <a:gd name="connsiteY144" fmla="*/ 285750 h 4496940"/>
                  <a:gd name="connsiteX145" fmla="*/ 1411627 w 4519987"/>
                  <a:gd name="connsiteY145" fmla="*/ 190500 h 4496940"/>
                  <a:gd name="connsiteX146" fmla="*/ 1449727 w 4519987"/>
                  <a:gd name="connsiteY146" fmla="*/ 161925 h 4496940"/>
                  <a:gd name="connsiteX147" fmla="*/ 1525927 w 4519987"/>
                  <a:gd name="connsiteY147" fmla="*/ 152400 h 4496940"/>
                  <a:gd name="connsiteX148" fmla="*/ 1583077 w 4519987"/>
                  <a:gd name="connsiteY148" fmla="*/ 142875 h 4496940"/>
                  <a:gd name="connsiteX149" fmla="*/ 1716427 w 4519987"/>
                  <a:gd name="connsiteY149" fmla="*/ 123825 h 4496940"/>
                  <a:gd name="connsiteX150" fmla="*/ 1811677 w 4519987"/>
                  <a:gd name="connsiteY150" fmla="*/ 114300 h 4496940"/>
                  <a:gd name="connsiteX151" fmla="*/ 1859302 w 4519987"/>
                  <a:gd name="connsiteY151" fmla="*/ 104775 h 4496940"/>
                  <a:gd name="connsiteX152" fmla="*/ 1916452 w 4519987"/>
                  <a:gd name="connsiteY152" fmla="*/ 95250 h 4496940"/>
                  <a:gd name="connsiteX153" fmla="*/ 2030752 w 4519987"/>
                  <a:gd name="connsiteY153" fmla="*/ 66675 h 4496940"/>
                  <a:gd name="connsiteX154" fmla="*/ 2097427 w 4519987"/>
                  <a:gd name="connsiteY154" fmla="*/ 47625 h 4496940"/>
                  <a:gd name="connsiteX155" fmla="*/ 2164102 w 4519987"/>
                  <a:gd name="connsiteY155" fmla="*/ 38100 h 4496940"/>
                  <a:gd name="connsiteX156" fmla="*/ 2392702 w 4519987"/>
                  <a:gd name="connsiteY15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78627 w 4519987"/>
                  <a:gd name="connsiteY28" fmla="*/ 838200 h 4496940"/>
                  <a:gd name="connsiteX29" fmla="*/ 4135777 w 4519987"/>
                  <a:gd name="connsiteY29" fmla="*/ 933450 h 4496940"/>
                  <a:gd name="connsiteX30" fmla="*/ 4164352 w 4519987"/>
                  <a:gd name="connsiteY30" fmla="*/ 990600 h 4496940"/>
                  <a:gd name="connsiteX31" fmla="*/ 4173877 w 4519987"/>
                  <a:gd name="connsiteY31" fmla="*/ 1019175 h 4496940"/>
                  <a:gd name="connsiteX32" fmla="*/ 4192927 w 4519987"/>
                  <a:gd name="connsiteY32" fmla="*/ 1057275 h 4496940"/>
                  <a:gd name="connsiteX33" fmla="*/ 4202452 w 4519987"/>
                  <a:gd name="connsiteY33" fmla="*/ 1085850 h 4496940"/>
                  <a:gd name="connsiteX34" fmla="*/ 4250077 w 4519987"/>
                  <a:gd name="connsiteY34" fmla="*/ 1143000 h 4496940"/>
                  <a:gd name="connsiteX35" fmla="*/ 4259602 w 4519987"/>
                  <a:gd name="connsiteY35" fmla="*/ 1190625 h 4496940"/>
                  <a:gd name="connsiteX36" fmla="*/ 4307227 w 4519987"/>
                  <a:gd name="connsiteY36" fmla="*/ 1266825 h 4496940"/>
                  <a:gd name="connsiteX37" fmla="*/ 4345327 w 4519987"/>
                  <a:gd name="connsiteY37" fmla="*/ 1362075 h 4496940"/>
                  <a:gd name="connsiteX38" fmla="*/ 4373902 w 4519987"/>
                  <a:gd name="connsiteY38" fmla="*/ 1428750 h 4496940"/>
                  <a:gd name="connsiteX39" fmla="*/ 4392952 w 4519987"/>
                  <a:gd name="connsiteY39" fmla="*/ 1552575 h 4496940"/>
                  <a:gd name="connsiteX40" fmla="*/ 4402477 w 4519987"/>
                  <a:gd name="connsiteY40" fmla="*/ 1590675 h 4496940"/>
                  <a:gd name="connsiteX41" fmla="*/ 4431052 w 4519987"/>
                  <a:gd name="connsiteY41" fmla="*/ 1685925 h 4496940"/>
                  <a:gd name="connsiteX42" fmla="*/ 4519952 w 4519987"/>
                  <a:gd name="connsiteY42" fmla="*/ 2181225 h 4496940"/>
                  <a:gd name="connsiteX43" fmla="*/ 4446927 w 4519987"/>
                  <a:gd name="connsiteY43" fmla="*/ 2768600 h 4496940"/>
                  <a:gd name="connsiteX44" fmla="*/ 4383427 w 4519987"/>
                  <a:gd name="connsiteY44" fmla="*/ 2990850 h 4496940"/>
                  <a:gd name="connsiteX45" fmla="*/ 4278652 w 4519987"/>
                  <a:gd name="connsiteY45" fmla="*/ 3248025 h 4496940"/>
                  <a:gd name="connsiteX46" fmla="*/ 4259602 w 4519987"/>
                  <a:gd name="connsiteY46" fmla="*/ 3276600 h 4496940"/>
                  <a:gd name="connsiteX47" fmla="*/ 4221502 w 4519987"/>
                  <a:gd name="connsiteY47" fmla="*/ 3333750 h 4496940"/>
                  <a:gd name="connsiteX48" fmla="*/ 4211977 w 4519987"/>
                  <a:gd name="connsiteY48" fmla="*/ 3362325 h 4496940"/>
                  <a:gd name="connsiteX49" fmla="*/ 4183402 w 4519987"/>
                  <a:gd name="connsiteY49" fmla="*/ 3400425 h 4496940"/>
                  <a:gd name="connsiteX50" fmla="*/ 4164352 w 4519987"/>
                  <a:gd name="connsiteY50" fmla="*/ 3429000 h 4496940"/>
                  <a:gd name="connsiteX51" fmla="*/ 4088152 w 4519987"/>
                  <a:gd name="connsiteY51" fmla="*/ 3495675 h 4496940"/>
                  <a:gd name="connsiteX52" fmla="*/ 4059577 w 4519987"/>
                  <a:gd name="connsiteY52" fmla="*/ 3533775 h 4496940"/>
                  <a:gd name="connsiteX53" fmla="*/ 4002427 w 4519987"/>
                  <a:gd name="connsiteY53" fmla="*/ 3600450 h 4496940"/>
                  <a:gd name="connsiteX54" fmla="*/ 3983377 w 4519987"/>
                  <a:gd name="connsiteY54" fmla="*/ 3629025 h 4496940"/>
                  <a:gd name="connsiteX55" fmla="*/ 3954802 w 4519987"/>
                  <a:gd name="connsiteY55" fmla="*/ 3648075 h 4496940"/>
                  <a:gd name="connsiteX56" fmla="*/ 3907177 w 4519987"/>
                  <a:gd name="connsiteY56" fmla="*/ 3686175 h 4496940"/>
                  <a:gd name="connsiteX57" fmla="*/ 3869077 w 4519987"/>
                  <a:gd name="connsiteY57" fmla="*/ 3724275 h 4496940"/>
                  <a:gd name="connsiteX58" fmla="*/ 3792877 w 4519987"/>
                  <a:gd name="connsiteY58" fmla="*/ 3781425 h 4496940"/>
                  <a:gd name="connsiteX59" fmla="*/ 3783352 w 4519987"/>
                  <a:gd name="connsiteY59" fmla="*/ 3810000 h 4496940"/>
                  <a:gd name="connsiteX60" fmla="*/ 3745252 w 4519987"/>
                  <a:gd name="connsiteY60" fmla="*/ 3819525 h 4496940"/>
                  <a:gd name="connsiteX61" fmla="*/ 3678577 w 4519987"/>
                  <a:gd name="connsiteY61" fmla="*/ 3848100 h 4496940"/>
                  <a:gd name="connsiteX62" fmla="*/ 3659527 w 4519987"/>
                  <a:gd name="connsiteY62" fmla="*/ 3971925 h 4496940"/>
                  <a:gd name="connsiteX63" fmla="*/ 3630952 w 4519987"/>
                  <a:gd name="connsiteY63" fmla="*/ 4010025 h 4496940"/>
                  <a:gd name="connsiteX64" fmla="*/ 3621427 w 4519987"/>
                  <a:gd name="connsiteY64" fmla="*/ 4038600 h 4496940"/>
                  <a:gd name="connsiteX65" fmla="*/ 3554752 w 4519987"/>
                  <a:gd name="connsiteY65" fmla="*/ 4095750 h 4496940"/>
                  <a:gd name="connsiteX66" fmla="*/ 3516652 w 4519987"/>
                  <a:gd name="connsiteY66" fmla="*/ 4114800 h 4496940"/>
                  <a:gd name="connsiteX67" fmla="*/ 3497602 w 4519987"/>
                  <a:gd name="connsiteY67" fmla="*/ 4143375 h 4496940"/>
                  <a:gd name="connsiteX68" fmla="*/ 3383302 w 4519987"/>
                  <a:gd name="connsiteY68" fmla="*/ 4210050 h 4496940"/>
                  <a:gd name="connsiteX69" fmla="*/ 3335677 w 4519987"/>
                  <a:gd name="connsiteY69" fmla="*/ 4238625 h 4496940"/>
                  <a:gd name="connsiteX70" fmla="*/ 3288052 w 4519987"/>
                  <a:gd name="connsiteY70" fmla="*/ 4248150 h 4496940"/>
                  <a:gd name="connsiteX71" fmla="*/ 3240427 w 4519987"/>
                  <a:gd name="connsiteY71" fmla="*/ 4267200 h 4496940"/>
                  <a:gd name="connsiteX72" fmla="*/ 3068977 w 4519987"/>
                  <a:gd name="connsiteY72" fmla="*/ 4286250 h 4496940"/>
                  <a:gd name="connsiteX73" fmla="*/ 2935627 w 4519987"/>
                  <a:gd name="connsiteY73" fmla="*/ 4333875 h 4496940"/>
                  <a:gd name="connsiteX74" fmla="*/ 2811802 w 4519987"/>
                  <a:gd name="connsiteY74" fmla="*/ 4371975 h 4496940"/>
                  <a:gd name="connsiteX75" fmla="*/ 2745127 w 4519987"/>
                  <a:gd name="connsiteY75" fmla="*/ 4410075 h 4496940"/>
                  <a:gd name="connsiteX76" fmla="*/ 2697502 w 4519987"/>
                  <a:gd name="connsiteY76" fmla="*/ 4429125 h 4496940"/>
                  <a:gd name="connsiteX77" fmla="*/ 2640352 w 4519987"/>
                  <a:gd name="connsiteY77" fmla="*/ 4457700 h 4496940"/>
                  <a:gd name="connsiteX78" fmla="*/ 2583202 w 4519987"/>
                  <a:gd name="connsiteY78" fmla="*/ 4467225 h 4496940"/>
                  <a:gd name="connsiteX79" fmla="*/ 2545102 w 4519987"/>
                  <a:gd name="connsiteY79" fmla="*/ 4486275 h 4496940"/>
                  <a:gd name="connsiteX80" fmla="*/ 2306977 w 4519987"/>
                  <a:gd name="connsiteY80" fmla="*/ 4476750 h 4496940"/>
                  <a:gd name="connsiteX81" fmla="*/ 2202202 w 4519987"/>
                  <a:gd name="connsiteY81" fmla="*/ 4457700 h 4496940"/>
                  <a:gd name="connsiteX82" fmla="*/ 2126002 w 4519987"/>
                  <a:gd name="connsiteY82" fmla="*/ 4429125 h 4496940"/>
                  <a:gd name="connsiteX83" fmla="*/ 1935502 w 4519987"/>
                  <a:gd name="connsiteY83" fmla="*/ 4400550 h 4496940"/>
                  <a:gd name="connsiteX84" fmla="*/ 1821202 w 4519987"/>
                  <a:gd name="connsiteY84" fmla="*/ 4371975 h 4496940"/>
                  <a:gd name="connsiteX85" fmla="*/ 1754527 w 4519987"/>
                  <a:gd name="connsiteY85" fmla="*/ 4352925 h 4496940"/>
                  <a:gd name="connsiteX86" fmla="*/ 1687852 w 4519987"/>
                  <a:gd name="connsiteY86" fmla="*/ 4343400 h 4496940"/>
                  <a:gd name="connsiteX87" fmla="*/ 1573552 w 4519987"/>
                  <a:gd name="connsiteY87" fmla="*/ 4305300 h 4496940"/>
                  <a:gd name="connsiteX88" fmla="*/ 1402102 w 4519987"/>
                  <a:gd name="connsiteY88" fmla="*/ 4276725 h 4496940"/>
                  <a:gd name="connsiteX89" fmla="*/ 1287802 w 4519987"/>
                  <a:gd name="connsiteY89" fmla="*/ 4229100 h 4496940"/>
                  <a:gd name="connsiteX90" fmla="*/ 1221127 w 4519987"/>
                  <a:gd name="connsiteY90" fmla="*/ 4200525 h 4496940"/>
                  <a:gd name="connsiteX91" fmla="*/ 1144927 w 4519987"/>
                  <a:gd name="connsiteY91" fmla="*/ 4171950 h 4496940"/>
                  <a:gd name="connsiteX92" fmla="*/ 1087777 w 4519987"/>
                  <a:gd name="connsiteY92" fmla="*/ 4143375 h 4496940"/>
                  <a:gd name="connsiteX93" fmla="*/ 1030627 w 4519987"/>
                  <a:gd name="connsiteY93" fmla="*/ 4124325 h 4496940"/>
                  <a:gd name="connsiteX94" fmla="*/ 925852 w 4519987"/>
                  <a:gd name="connsiteY94" fmla="*/ 4067175 h 4496940"/>
                  <a:gd name="connsiteX95" fmla="*/ 830602 w 4519987"/>
                  <a:gd name="connsiteY95" fmla="*/ 3981450 h 4496940"/>
                  <a:gd name="connsiteX96" fmla="*/ 763927 w 4519987"/>
                  <a:gd name="connsiteY96" fmla="*/ 3914775 h 4496940"/>
                  <a:gd name="connsiteX97" fmla="*/ 725827 w 4519987"/>
                  <a:gd name="connsiteY97" fmla="*/ 3876675 h 4496940"/>
                  <a:gd name="connsiteX98" fmla="*/ 697252 w 4519987"/>
                  <a:gd name="connsiteY98" fmla="*/ 3838575 h 4496940"/>
                  <a:gd name="connsiteX99" fmla="*/ 640102 w 4519987"/>
                  <a:gd name="connsiteY99" fmla="*/ 3781425 h 4496940"/>
                  <a:gd name="connsiteX100" fmla="*/ 611527 w 4519987"/>
                  <a:gd name="connsiteY100" fmla="*/ 3733800 h 4496940"/>
                  <a:gd name="connsiteX101" fmla="*/ 554377 w 4519987"/>
                  <a:gd name="connsiteY101" fmla="*/ 3657600 h 4496940"/>
                  <a:gd name="connsiteX102" fmla="*/ 525802 w 4519987"/>
                  <a:gd name="connsiteY102" fmla="*/ 3609975 h 4496940"/>
                  <a:gd name="connsiteX103" fmla="*/ 497227 w 4519987"/>
                  <a:gd name="connsiteY103" fmla="*/ 3552825 h 4496940"/>
                  <a:gd name="connsiteX104" fmla="*/ 440077 w 4519987"/>
                  <a:gd name="connsiteY104" fmla="*/ 3495675 h 4496940"/>
                  <a:gd name="connsiteX105" fmla="*/ 411502 w 4519987"/>
                  <a:gd name="connsiteY105" fmla="*/ 3448050 h 4496940"/>
                  <a:gd name="connsiteX106" fmla="*/ 278152 w 4519987"/>
                  <a:gd name="connsiteY106" fmla="*/ 3257550 h 4496940"/>
                  <a:gd name="connsiteX107" fmla="*/ 249577 w 4519987"/>
                  <a:gd name="connsiteY107" fmla="*/ 3200400 h 4496940"/>
                  <a:gd name="connsiteX108" fmla="*/ 240052 w 4519987"/>
                  <a:gd name="connsiteY108" fmla="*/ 3162300 h 4496940"/>
                  <a:gd name="connsiteX109" fmla="*/ 221002 w 4519987"/>
                  <a:gd name="connsiteY109" fmla="*/ 3105150 h 4496940"/>
                  <a:gd name="connsiteX110" fmla="*/ 173377 w 4519987"/>
                  <a:gd name="connsiteY110" fmla="*/ 3019425 h 4496940"/>
                  <a:gd name="connsiteX111" fmla="*/ 144802 w 4519987"/>
                  <a:gd name="connsiteY111" fmla="*/ 2924175 h 4496940"/>
                  <a:gd name="connsiteX112" fmla="*/ 68602 w 4519987"/>
                  <a:gd name="connsiteY112" fmla="*/ 2724150 h 4496940"/>
                  <a:gd name="connsiteX113" fmla="*/ 49552 w 4519987"/>
                  <a:gd name="connsiteY113" fmla="*/ 2638425 h 4496940"/>
                  <a:gd name="connsiteX114" fmla="*/ 40027 w 4519987"/>
                  <a:gd name="connsiteY114" fmla="*/ 2562225 h 4496940"/>
                  <a:gd name="connsiteX115" fmla="*/ 30502 w 4519987"/>
                  <a:gd name="connsiteY115" fmla="*/ 2514600 h 4496940"/>
                  <a:gd name="connsiteX116" fmla="*/ 11452 w 4519987"/>
                  <a:gd name="connsiteY116" fmla="*/ 2400300 h 4496940"/>
                  <a:gd name="connsiteX117" fmla="*/ 20977 w 4519987"/>
                  <a:gd name="connsiteY117" fmla="*/ 1905000 h 4496940"/>
                  <a:gd name="connsiteX118" fmla="*/ 30502 w 4519987"/>
                  <a:gd name="connsiteY118" fmla="*/ 1838325 h 4496940"/>
                  <a:gd name="connsiteX119" fmla="*/ 49552 w 4519987"/>
                  <a:gd name="connsiteY119" fmla="*/ 1781175 h 4496940"/>
                  <a:gd name="connsiteX120" fmla="*/ 59077 w 4519987"/>
                  <a:gd name="connsiteY120" fmla="*/ 1743075 h 4496940"/>
                  <a:gd name="connsiteX121" fmla="*/ 78127 w 4519987"/>
                  <a:gd name="connsiteY121" fmla="*/ 1685925 h 4496940"/>
                  <a:gd name="connsiteX122" fmla="*/ 87652 w 4519987"/>
                  <a:gd name="connsiteY122" fmla="*/ 1638300 h 4496940"/>
                  <a:gd name="connsiteX123" fmla="*/ 106702 w 4519987"/>
                  <a:gd name="connsiteY123" fmla="*/ 1590675 h 4496940"/>
                  <a:gd name="connsiteX124" fmla="*/ 135277 w 4519987"/>
                  <a:gd name="connsiteY124" fmla="*/ 1504950 h 4496940"/>
                  <a:gd name="connsiteX125" fmla="*/ 154327 w 4519987"/>
                  <a:gd name="connsiteY125" fmla="*/ 1419225 h 4496940"/>
                  <a:gd name="connsiteX126" fmla="*/ 230527 w 4519987"/>
                  <a:gd name="connsiteY126" fmla="*/ 1276350 h 4496940"/>
                  <a:gd name="connsiteX127" fmla="*/ 240052 w 4519987"/>
                  <a:gd name="connsiteY127" fmla="*/ 1247775 h 4496940"/>
                  <a:gd name="connsiteX128" fmla="*/ 268627 w 4519987"/>
                  <a:gd name="connsiteY128" fmla="*/ 1200150 h 4496940"/>
                  <a:gd name="connsiteX129" fmla="*/ 287677 w 4519987"/>
                  <a:gd name="connsiteY129" fmla="*/ 1152525 h 4496940"/>
                  <a:gd name="connsiteX130" fmla="*/ 316252 w 4519987"/>
                  <a:gd name="connsiteY130" fmla="*/ 1114425 h 4496940"/>
                  <a:gd name="connsiteX131" fmla="*/ 363877 w 4519987"/>
                  <a:gd name="connsiteY131" fmla="*/ 1038225 h 4496940"/>
                  <a:gd name="connsiteX132" fmla="*/ 382927 w 4519987"/>
                  <a:gd name="connsiteY132" fmla="*/ 1009650 h 4496940"/>
                  <a:gd name="connsiteX133" fmla="*/ 440077 w 4519987"/>
                  <a:gd name="connsiteY133" fmla="*/ 904875 h 4496940"/>
                  <a:gd name="connsiteX134" fmla="*/ 478177 w 4519987"/>
                  <a:gd name="connsiteY134" fmla="*/ 857250 h 4496940"/>
                  <a:gd name="connsiteX135" fmla="*/ 497227 w 4519987"/>
                  <a:gd name="connsiteY135" fmla="*/ 828675 h 4496940"/>
                  <a:gd name="connsiteX136" fmla="*/ 535327 w 4519987"/>
                  <a:gd name="connsiteY136" fmla="*/ 800100 h 4496940"/>
                  <a:gd name="connsiteX137" fmla="*/ 602002 w 4519987"/>
                  <a:gd name="connsiteY137" fmla="*/ 733425 h 4496940"/>
                  <a:gd name="connsiteX138" fmla="*/ 668677 w 4519987"/>
                  <a:gd name="connsiteY138" fmla="*/ 676275 h 4496940"/>
                  <a:gd name="connsiteX139" fmla="*/ 697252 w 4519987"/>
                  <a:gd name="connsiteY139" fmla="*/ 657225 h 4496940"/>
                  <a:gd name="connsiteX140" fmla="*/ 840127 w 4519987"/>
                  <a:gd name="connsiteY140" fmla="*/ 533400 h 4496940"/>
                  <a:gd name="connsiteX141" fmla="*/ 887752 w 4519987"/>
                  <a:gd name="connsiteY141" fmla="*/ 504825 h 4496940"/>
                  <a:gd name="connsiteX142" fmla="*/ 1167152 w 4519987"/>
                  <a:gd name="connsiteY142" fmla="*/ 311150 h 4496940"/>
                  <a:gd name="connsiteX143" fmla="*/ 1268752 w 4519987"/>
                  <a:gd name="connsiteY143" fmla="*/ 285750 h 4496940"/>
                  <a:gd name="connsiteX144" fmla="*/ 1411627 w 4519987"/>
                  <a:gd name="connsiteY144" fmla="*/ 190500 h 4496940"/>
                  <a:gd name="connsiteX145" fmla="*/ 1449727 w 4519987"/>
                  <a:gd name="connsiteY145" fmla="*/ 161925 h 4496940"/>
                  <a:gd name="connsiteX146" fmla="*/ 1525927 w 4519987"/>
                  <a:gd name="connsiteY146" fmla="*/ 152400 h 4496940"/>
                  <a:gd name="connsiteX147" fmla="*/ 1583077 w 4519987"/>
                  <a:gd name="connsiteY147" fmla="*/ 142875 h 4496940"/>
                  <a:gd name="connsiteX148" fmla="*/ 1716427 w 4519987"/>
                  <a:gd name="connsiteY148" fmla="*/ 123825 h 4496940"/>
                  <a:gd name="connsiteX149" fmla="*/ 1811677 w 4519987"/>
                  <a:gd name="connsiteY149" fmla="*/ 114300 h 4496940"/>
                  <a:gd name="connsiteX150" fmla="*/ 1859302 w 4519987"/>
                  <a:gd name="connsiteY150" fmla="*/ 104775 h 4496940"/>
                  <a:gd name="connsiteX151" fmla="*/ 1916452 w 4519987"/>
                  <a:gd name="connsiteY151" fmla="*/ 95250 h 4496940"/>
                  <a:gd name="connsiteX152" fmla="*/ 2030752 w 4519987"/>
                  <a:gd name="connsiteY152" fmla="*/ 66675 h 4496940"/>
                  <a:gd name="connsiteX153" fmla="*/ 2097427 w 4519987"/>
                  <a:gd name="connsiteY153" fmla="*/ 47625 h 4496940"/>
                  <a:gd name="connsiteX154" fmla="*/ 2164102 w 4519987"/>
                  <a:gd name="connsiteY154" fmla="*/ 38100 h 4496940"/>
                  <a:gd name="connsiteX155" fmla="*/ 2392702 w 4519987"/>
                  <a:gd name="connsiteY15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907177 w 4519987"/>
                  <a:gd name="connsiteY25" fmla="*/ 647700 h 4496940"/>
                  <a:gd name="connsiteX26" fmla="*/ 3935752 w 4519987"/>
                  <a:gd name="connsiteY26" fmla="*/ 676275 h 4496940"/>
                  <a:gd name="connsiteX27" fmla="*/ 4078627 w 4519987"/>
                  <a:gd name="connsiteY27" fmla="*/ 838200 h 4496940"/>
                  <a:gd name="connsiteX28" fmla="*/ 4135777 w 4519987"/>
                  <a:gd name="connsiteY28" fmla="*/ 933450 h 4496940"/>
                  <a:gd name="connsiteX29" fmla="*/ 4164352 w 4519987"/>
                  <a:gd name="connsiteY29" fmla="*/ 990600 h 4496940"/>
                  <a:gd name="connsiteX30" fmla="*/ 4173877 w 4519987"/>
                  <a:gd name="connsiteY30" fmla="*/ 1019175 h 4496940"/>
                  <a:gd name="connsiteX31" fmla="*/ 4192927 w 4519987"/>
                  <a:gd name="connsiteY31" fmla="*/ 1057275 h 4496940"/>
                  <a:gd name="connsiteX32" fmla="*/ 4202452 w 4519987"/>
                  <a:gd name="connsiteY32" fmla="*/ 1085850 h 4496940"/>
                  <a:gd name="connsiteX33" fmla="*/ 4250077 w 4519987"/>
                  <a:gd name="connsiteY33" fmla="*/ 1143000 h 4496940"/>
                  <a:gd name="connsiteX34" fmla="*/ 4259602 w 4519987"/>
                  <a:gd name="connsiteY34" fmla="*/ 1190625 h 4496940"/>
                  <a:gd name="connsiteX35" fmla="*/ 4307227 w 4519987"/>
                  <a:gd name="connsiteY35" fmla="*/ 1266825 h 4496940"/>
                  <a:gd name="connsiteX36" fmla="*/ 4345327 w 4519987"/>
                  <a:gd name="connsiteY36" fmla="*/ 1362075 h 4496940"/>
                  <a:gd name="connsiteX37" fmla="*/ 4373902 w 4519987"/>
                  <a:gd name="connsiteY37" fmla="*/ 1428750 h 4496940"/>
                  <a:gd name="connsiteX38" fmla="*/ 4392952 w 4519987"/>
                  <a:gd name="connsiteY38" fmla="*/ 1552575 h 4496940"/>
                  <a:gd name="connsiteX39" fmla="*/ 4402477 w 4519987"/>
                  <a:gd name="connsiteY39" fmla="*/ 1590675 h 4496940"/>
                  <a:gd name="connsiteX40" fmla="*/ 4431052 w 4519987"/>
                  <a:gd name="connsiteY40" fmla="*/ 1685925 h 4496940"/>
                  <a:gd name="connsiteX41" fmla="*/ 4519952 w 4519987"/>
                  <a:gd name="connsiteY41" fmla="*/ 2181225 h 4496940"/>
                  <a:gd name="connsiteX42" fmla="*/ 4446927 w 4519987"/>
                  <a:gd name="connsiteY42" fmla="*/ 2768600 h 4496940"/>
                  <a:gd name="connsiteX43" fmla="*/ 4383427 w 4519987"/>
                  <a:gd name="connsiteY43" fmla="*/ 2990850 h 4496940"/>
                  <a:gd name="connsiteX44" fmla="*/ 4278652 w 4519987"/>
                  <a:gd name="connsiteY44" fmla="*/ 3248025 h 4496940"/>
                  <a:gd name="connsiteX45" fmla="*/ 4259602 w 4519987"/>
                  <a:gd name="connsiteY45" fmla="*/ 3276600 h 4496940"/>
                  <a:gd name="connsiteX46" fmla="*/ 4221502 w 4519987"/>
                  <a:gd name="connsiteY46" fmla="*/ 3333750 h 4496940"/>
                  <a:gd name="connsiteX47" fmla="*/ 4211977 w 4519987"/>
                  <a:gd name="connsiteY47" fmla="*/ 3362325 h 4496940"/>
                  <a:gd name="connsiteX48" fmla="*/ 4183402 w 4519987"/>
                  <a:gd name="connsiteY48" fmla="*/ 3400425 h 4496940"/>
                  <a:gd name="connsiteX49" fmla="*/ 4164352 w 4519987"/>
                  <a:gd name="connsiteY49" fmla="*/ 3429000 h 4496940"/>
                  <a:gd name="connsiteX50" fmla="*/ 4088152 w 4519987"/>
                  <a:gd name="connsiteY50" fmla="*/ 3495675 h 4496940"/>
                  <a:gd name="connsiteX51" fmla="*/ 4059577 w 4519987"/>
                  <a:gd name="connsiteY51" fmla="*/ 3533775 h 4496940"/>
                  <a:gd name="connsiteX52" fmla="*/ 4002427 w 4519987"/>
                  <a:gd name="connsiteY52" fmla="*/ 3600450 h 4496940"/>
                  <a:gd name="connsiteX53" fmla="*/ 3983377 w 4519987"/>
                  <a:gd name="connsiteY53" fmla="*/ 3629025 h 4496940"/>
                  <a:gd name="connsiteX54" fmla="*/ 3954802 w 4519987"/>
                  <a:gd name="connsiteY54" fmla="*/ 3648075 h 4496940"/>
                  <a:gd name="connsiteX55" fmla="*/ 3907177 w 4519987"/>
                  <a:gd name="connsiteY55" fmla="*/ 3686175 h 4496940"/>
                  <a:gd name="connsiteX56" fmla="*/ 3869077 w 4519987"/>
                  <a:gd name="connsiteY56" fmla="*/ 3724275 h 4496940"/>
                  <a:gd name="connsiteX57" fmla="*/ 3792877 w 4519987"/>
                  <a:gd name="connsiteY57" fmla="*/ 3781425 h 4496940"/>
                  <a:gd name="connsiteX58" fmla="*/ 3783352 w 4519987"/>
                  <a:gd name="connsiteY58" fmla="*/ 3810000 h 4496940"/>
                  <a:gd name="connsiteX59" fmla="*/ 3745252 w 4519987"/>
                  <a:gd name="connsiteY59" fmla="*/ 3819525 h 4496940"/>
                  <a:gd name="connsiteX60" fmla="*/ 3678577 w 4519987"/>
                  <a:gd name="connsiteY60" fmla="*/ 3848100 h 4496940"/>
                  <a:gd name="connsiteX61" fmla="*/ 3659527 w 4519987"/>
                  <a:gd name="connsiteY61" fmla="*/ 3971925 h 4496940"/>
                  <a:gd name="connsiteX62" fmla="*/ 3630952 w 4519987"/>
                  <a:gd name="connsiteY62" fmla="*/ 4010025 h 4496940"/>
                  <a:gd name="connsiteX63" fmla="*/ 3621427 w 4519987"/>
                  <a:gd name="connsiteY63" fmla="*/ 4038600 h 4496940"/>
                  <a:gd name="connsiteX64" fmla="*/ 3554752 w 4519987"/>
                  <a:gd name="connsiteY64" fmla="*/ 4095750 h 4496940"/>
                  <a:gd name="connsiteX65" fmla="*/ 3516652 w 4519987"/>
                  <a:gd name="connsiteY65" fmla="*/ 4114800 h 4496940"/>
                  <a:gd name="connsiteX66" fmla="*/ 3497602 w 4519987"/>
                  <a:gd name="connsiteY66" fmla="*/ 4143375 h 4496940"/>
                  <a:gd name="connsiteX67" fmla="*/ 3383302 w 4519987"/>
                  <a:gd name="connsiteY67" fmla="*/ 4210050 h 4496940"/>
                  <a:gd name="connsiteX68" fmla="*/ 3335677 w 4519987"/>
                  <a:gd name="connsiteY68" fmla="*/ 4238625 h 4496940"/>
                  <a:gd name="connsiteX69" fmla="*/ 3288052 w 4519987"/>
                  <a:gd name="connsiteY69" fmla="*/ 4248150 h 4496940"/>
                  <a:gd name="connsiteX70" fmla="*/ 3240427 w 4519987"/>
                  <a:gd name="connsiteY70" fmla="*/ 4267200 h 4496940"/>
                  <a:gd name="connsiteX71" fmla="*/ 3068977 w 4519987"/>
                  <a:gd name="connsiteY71" fmla="*/ 4286250 h 4496940"/>
                  <a:gd name="connsiteX72" fmla="*/ 2935627 w 4519987"/>
                  <a:gd name="connsiteY72" fmla="*/ 4333875 h 4496940"/>
                  <a:gd name="connsiteX73" fmla="*/ 2811802 w 4519987"/>
                  <a:gd name="connsiteY73" fmla="*/ 4371975 h 4496940"/>
                  <a:gd name="connsiteX74" fmla="*/ 2745127 w 4519987"/>
                  <a:gd name="connsiteY74" fmla="*/ 4410075 h 4496940"/>
                  <a:gd name="connsiteX75" fmla="*/ 2697502 w 4519987"/>
                  <a:gd name="connsiteY75" fmla="*/ 4429125 h 4496940"/>
                  <a:gd name="connsiteX76" fmla="*/ 2640352 w 4519987"/>
                  <a:gd name="connsiteY76" fmla="*/ 4457700 h 4496940"/>
                  <a:gd name="connsiteX77" fmla="*/ 2583202 w 4519987"/>
                  <a:gd name="connsiteY77" fmla="*/ 4467225 h 4496940"/>
                  <a:gd name="connsiteX78" fmla="*/ 2545102 w 4519987"/>
                  <a:gd name="connsiteY78" fmla="*/ 4486275 h 4496940"/>
                  <a:gd name="connsiteX79" fmla="*/ 2306977 w 4519987"/>
                  <a:gd name="connsiteY79" fmla="*/ 4476750 h 4496940"/>
                  <a:gd name="connsiteX80" fmla="*/ 2202202 w 4519987"/>
                  <a:gd name="connsiteY80" fmla="*/ 4457700 h 4496940"/>
                  <a:gd name="connsiteX81" fmla="*/ 2126002 w 4519987"/>
                  <a:gd name="connsiteY81" fmla="*/ 4429125 h 4496940"/>
                  <a:gd name="connsiteX82" fmla="*/ 1935502 w 4519987"/>
                  <a:gd name="connsiteY82" fmla="*/ 4400550 h 4496940"/>
                  <a:gd name="connsiteX83" fmla="*/ 1821202 w 4519987"/>
                  <a:gd name="connsiteY83" fmla="*/ 4371975 h 4496940"/>
                  <a:gd name="connsiteX84" fmla="*/ 1754527 w 4519987"/>
                  <a:gd name="connsiteY84" fmla="*/ 4352925 h 4496940"/>
                  <a:gd name="connsiteX85" fmla="*/ 1687852 w 4519987"/>
                  <a:gd name="connsiteY85" fmla="*/ 4343400 h 4496940"/>
                  <a:gd name="connsiteX86" fmla="*/ 1573552 w 4519987"/>
                  <a:gd name="connsiteY86" fmla="*/ 4305300 h 4496940"/>
                  <a:gd name="connsiteX87" fmla="*/ 1402102 w 4519987"/>
                  <a:gd name="connsiteY87" fmla="*/ 4276725 h 4496940"/>
                  <a:gd name="connsiteX88" fmla="*/ 1287802 w 4519987"/>
                  <a:gd name="connsiteY88" fmla="*/ 4229100 h 4496940"/>
                  <a:gd name="connsiteX89" fmla="*/ 1221127 w 4519987"/>
                  <a:gd name="connsiteY89" fmla="*/ 4200525 h 4496940"/>
                  <a:gd name="connsiteX90" fmla="*/ 1144927 w 4519987"/>
                  <a:gd name="connsiteY90" fmla="*/ 4171950 h 4496940"/>
                  <a:gd name="connsiteX91" fmla="*/ 1087777 w 4519987"/>
                  <a:gd name="connsiteY91" fmla="*/ 4143375 h 4496940"/>
                  <a:gd name="connsiteX92" fmla="*/ 1030627 w 4519987"/>
                  <a:gd name="connsiteY92" fmla="*/ 4124325 h 4496940"/>
                  <a:gd name="connsiteX93" fmla="*/ 925852 w 4519987"/>
                  <a:gd name="connsiteY93" fmla="*/ 4067175 h 4496940"/>
                  <a:gd name="connsiteX94" fmla="*/ 830602 w 4519987"/>
                  <a:gd name="connsiteY94" fmla="*/ 3981450 h 4496940"/>
                  <a:gd name="connsiteX95" fmla="*/ 763927 w 4519987"/>
                  <a:gd name="connsiteY95" fmla="*/ 3914775 h 4496940"/>
                  <a:gd name="connsiteX96" fmla="*/ 725827 w 4519987"/>
                  <a:gd name="connsiteY96" fmla="*/ 3876675 h 4496940"/>
                  <a:gd name="connsiteX97" fmla="*/ 697252 w 4519987"/>
                  <a:gd name="connsiteY97" fmla="*/ 3838575 h 4496940"/>
                  <a:gd name="connsiteX98" fmla="*/ 640102 w 4519987"/>
                  <a:gd name="connsiteY98" fmla="*/ 3781425 h 4496940"/>
                  <a:gd name="connsiteX99" fmla="*/ 611527 w 4519987"/>
                  <a:gd name="connsiteY99" fmla="*/ 3733800 h 4496940"/>
                  <a:gd name="connsiteX100" fmla="*/ 554377 w 4519987"/>
                  <a:gd name="connsiteY100" fmla="*/ 3657600 h 4496940"/>
                  <a:gd name="connsiteX101" fmla="*/ 525802 w 4519987"/>
                  <a:gd name="connsiteY101" fmla="*/ 3609975 h 4496940"/>
                  <a:gd name="connsiteX102" fmla="*/ 497227 w 4519987"/>
                  <a:gd name="connsiteY102" fmla="*/ 3552825 h 4496940"/>
                  <a:gd name="connsiteX103" fmla="*/ 440077 w 4519987"/>
                  <a:gd name="connsiteY103" fmla="*/ 3495675 h 4496940"/>
                  <a:gd name="connsiteX104" fmla="*/ 411502 w 4519987"/>
                  <a:gd name="connsiteY104" fmla="*/ 3448050 h 4496940"/>
                  <a:gd name="connsiteX105" fmla="*/ 278152 w 4519987"/>
                  <a:gd name="connsiteY105" fmla="*/ 3257550 h 4496940"/>
                  <a:gd name="connsiteX106" fmla="*/ 249577 w 4519987"/>
                  <a:gd name="connsiteY106" fmla="*/ 3200400 h 4496940"/>
                  <a:gd name="connsiteX107" fmla="*/ 240052 w 4519987"/>
                  <a:gd name="connsiteY107" fmla="*/ 3162300 h 4496940"/>
                  <a:gd name="connsiteX108" fmla="*/ 221002 w 4519987"/>
                  <a:gd name="connsiteY108" fmla="*/ 3105150 h 4496940"/>
                  <a:gd name="connsiteX109" fmla="*/ 173377 w 4519987"/>
                  <a:gd name="connsiteY109" fmla="*/ 3019425 h 4496940"/>
                  <a:gd name="connsiteX110" fmla="*/ 144802 w 4519987"/>
                  <a:gd name="connsiteY110" fmla="*/ 2924175 h 4496940"/>
                  <a:gd name="connsiteX111" fmla="*/ 68602 w 4519987"/>
                  <a:gd name="connsiteY111" fmla="*/ 2724150 h 4496940"/>
                  <a:gd name="connsiteX112" fmla="*/ 49552 w 4519987"/>
                  <a:gd name="connsiteY112" fmla="*/ 2638425 h 4496940"/>
                  <a:gd name="connsiteX113" fmla="*/ 40027 w 4519987"/>
                  <a:gd name="connsiteY113" fmla="*/ 2562225 h 4496940"/>
                  <a:gd name="connsiteX114" fmla="*/ 30502 w 4519987"/>
                  <a:gd name="connsiteY114" fmla="*/ 2514600 h 4496940"/>
                  <a:gd name="connsiteX115" fmla="*/ 11452 w 4519987"/>
                  <a:gd name="connsiteY115" fmla="*/ 2400300 h 4496940"/>
                  <a:gd name="connsiteX116" fmla="*/ 20977 w 4519987"/>
                  <a:gd name="connsiteY116" fmla="*/ 1905000 h 4496940"/>
                  <a:gd name="connsiteX117" fmla="*/ 30502 w 4519987"/>
                  <a:gd name="connsiteY117" fmla="*/ 1838325 h 4496940"/>
                  <a:gd name="connsiteX118" fmla="*/ 49552 w 4519987"/>
                  <a:gd name="connsiteY118" fmla="*/ 1781175 h 4496940"/>
                  <a:gd name="connsiteX119" fmla="*/ 59077 w 4519987"/>
                  <a:gd name="connsiteY119" fmla="*/ 1743075 h 4496940"/>
                  <a:gd name="connsiteX120" fmla="*/ 78127 w 4519987"/>
                  <a:gd name="connsiteY120" fmla="*/ 1685925 h 4496940"/>
                  <a:gd name="connsiteX121" fmla="*/ 87652 w 4519987"/>
                  <a:gd name="connsiteY121" fmla="*/ 1638300 h 4496940"/>
                  <a:gd name="connsiteX122" fmla="*/ 106702 w 4519987"/>
                  <a:gd name="connsiteY122" fmla="*/ 1590675 h 4496940"/>
                  <a:gd name="connsiteX123" fmla="*/ 135277 w 4519987"/>
                  <a:gd name="connsiteY123" fmla="*/ 1504950 h 4496940"/>
                  <a:gd name="connsiteX124" fmla="*/ 154327 w 4519987"/>
                  <a:gd name="connsiteY124" fmla="*/ 1419225 h 4496940"/>
                  <a:gd name="connsiteX125" fmla="*/ 230527 w 4519987"/>
                  <a:gd name="connsiteY125" fmla="*/ 1276350 h 4496940"/>
                  <a:gd name="connsiteX126" fmla="*/ 240052 w 4519987"/>
                  <a:gd name="connsiteY126" fmla="*/ 1247775 h 4496940"/>
                  <a:gd name="connsiteX127" fmla="*/ 268627 w 4519987"/>
                  <a:gd name="connsiteY127" fmla="*/ 1200150 h 4496940"/>
                  <a:gd name="connsiteX128" fmla="*/ 287677 w 4519987"/>
                  <a:gd name="connsiteY128" fmla="*/ 1152525 h 4496940"/>
                  <a:gd name="connsiteX129" fmla="*/ 316252 w 4519987"/>
                  <a:gd name="connsiteY129" fmla="*/ 1114425 h 4496940"/>
                  <a:gd name="connsiteX130" fmla="*/ 363877 w 4519987"/>
                  <a:gd name="connsiteY130" fmla="*/ 1038225 h 4496940"/>
                  <a:gd name="connsiteX131" fmla="*/ 382927 w 4519987"/>
                  <a:gd name="connsiteY131" fmla="*/ 1009650 h 4496940"/>
                  <a:gd name="connsiteX132" fmla="*/ 440077 w 4519987"/>
                  <a:gd name="connsiteY132" fmla="*/ 904875 h 4496940"/>
                  <a:gd name="connsiteX133" fmla="*/ 478177 w 4519987"/>
                  <a:gd name="connsiteY133" fmla="*/ 857250 h 4496940"/>
                  <a:gd name="connsiteX134" fmla="*/ 497227 w 4519987"/>
                  <a:gd name="connsiteY134" fmla="*/ 828675 h 4496940"/>
                  <a:gd name="connsiteX135" fmla="*/ 535327 w 4519987"/>
                  <a:gd name="connsiteY135" fmla="*/ 800100 h 4496940"/>
                  <a:gd name="connsiteX136" fmla="*/ 602002 w 4519987"/>
                  <a:gd name="connsiteY136" fmla="*/ 733425 h 4496940"/>
                  <a:gd name="connsiteX137" fmla="*/ 668677 w 4519987"/>
                  <a:gd name="connsiteY137" fmla="*/ 676275 h 4496940"/>
                  <a:gd name="connsiteX138" fmla="*/ 697252 w 4519987"/>
                  <a:gd name="connsiteY138" fmla="*/ 657225 h 4496940"/>
                  <a:gd name="connsiteX139" fmla="*/ 840127 w 4519987"/>
                  <a:gd name="connsiteY139" fmla="*/ 533400 h 4496940"/>
                  <a:gd name="connsiteX140" fmla="*/ 887752 w 4519987"/>
                  <a:gd name="connsiteY140" fmla="*/ 504825 h 4496940"/>
                  <a:gd name="connsiteX141" fmla="*/ 1167152 w 4519987"/>
                  <a:gd name="connsiteY141" fmla="*/ 311150 h 4496940"/>
                  <a:gd name="connsiteX142" fmla="*/ 1268752 w 4519987"/>
                  <a:gd name="connsiteY142" fmla="*/ 285750 h 4496940"/>
                  <a:gd name="connsiteX143" fmla="*/ 1411627 w 4519987"/>
                  <a:gd name="connsiteY143" fmla="*/ 190500 h 4496940"/>
                  <a:gd name="connsiteX144" fmla="*/ 1449727 w 4519987"/>
                  <a:gd name="connsiteY144" fmla="*/ 161925 h 4496940"/>
                  <a:gd name="connsiteX145" fmla="*/ 1525927 w 4519987"/>
                  <a:gd name="connsiteY145" fmla="*/ 152400 h 4496940"/>
                  <a:gd name="connsiteX146" fmla="*/ 1583077 w 4519987"/>
                  <a:gd name="connsiteY146" fmla="*/ 142875 h 4496940"/>
                  <a:gd name="connsiteX147" fmla="*/ 1716427 w 4519987"/>
                  <a:gd name="connsiteY147" fmla="*/ 123825 h 4496940"/>
                  <a:gd name="connsiteX148" fmla="*/ 1811677 w 4519987"/>
                  <a:gd name="connsiteY148" fmla="*/ 114300 h 4496940"/>
                  <a:gd name="connsiteX149" fmla="*/ 1859302 w 4519987"/>
                  <a:gd name="connsiteY149" fmla="*/ 104775 h 4496940"/>
                  <a:gd name="connsiteX150" fmla="*/ 1916452 w 4519987"/>
                  <a:gd name="connsiteY150" fmla="*/ 95250 h 4496940"/>
                  <a:gd name="connsiteX151" fmla="*/ 2030752 w 4519987"/>
                  <a:gd name="connsiteY151" fmla="*/ 66675 h 4496940"/>
                  <a:gd name="connsiteX152" fmla="*/ 2097427 w 4519987"/>
                  <a:gd name="connsiteY152" fmla="*/ 47625 h 4496940"/>
                  <a:gd name="connsiteX153" fmla="*/ 2164102 w 4519987"/>
                  <a:gd name="connsiteY153" fmla="*/ 38100 h 4496940"/>
                  <a:gd name="connsiteX154" fmla="*/ 2392702 w 4519987"/>
                  <a:gd name="connsiteY15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907177 w 4519987"/>
                  <a:gd name="connsiteY24" fmla="*/ 647700 h 4496940"/>
                  <a:gd name="connsiteX25" fmla="*/ 3935752 w 4519987"/>
                  <a:gd name="connsiteY25" fmla="*/ 676275 h 4496940"/>
                  <a:gd name="connsiteX26" fmla="*/ 4078627 w 4519987"/>
                  <a:gd name="connsiteY26" fmla="*/ 838200 h 4496940"/>
                  <a:gd name="connsiteX27" fmla="*/ 4135777 w 4519987"/>
                  <a:gd name="connsiteY27" fmla="*/ 933450 h 4496940"/>
                  <a:gd name="connsiteX28" fmla="*/ 4164352 w 4519987"/>
                  <a:gd name="connsiteY28" fmla="*/ 990600 h 4496940"/>
                  <a:gd name="connsiteX29" fmla="*/ 4173877 w 4519987"/>
                  <a:gd name="connsiteY29" fmla="*/ 1019175 h 4496940"/>
                  <a:gd name="connsiteX30" fmla="*/ 4192927 w 4519987"/>
                  <a:gd name="connsiteY30" fmla="*/ 1057275 h 4496940"/>
                  <a:gd name="connsiteX31" fmla="*/ 4202452 w 4519987"/>
                  <a:gd name="connsiteY31" fmla="*/ 1085850 h 4496940"/>
                  <a:gd name="connsiteX32" fmla="*/ 4250077 w 4519987"/>
                  <a:gd name="connsiteY32" fmla="*/ 1143000 h 4496940"/>
                  <a:gd name="connsiteX33" fmla="*/ 4259602 w 4519987"/>
                  <a:gd name="connsiteY33" fmla="*/ 1190625 h 4496940"/>
                  <a:gd name="connsiteX34" fmla="*/ 4307227 w 4519987"/>
                  <a:gd name="connsiteY34" fmla="*/ 1266825 h 4496940"/>
                  <a:gd name="connsiteX35" fmla="*/ 4345327 w 4519987"/>
                  <a:gd name="connsiteY35" fmla="*/ 1362075 h 4496940"/>
                  <a:gd name="connsiteX36" fmla="*/ 4373902 w 4519987"/>
                  <a:gd name="connsiteY36" fmla="*/ 1428750 h 4496940"/>
                  <a:gd name="connsiteX37" fmla="*/ 4392952 w 4519987"/>
                  <a:gd name="connsiteY37" fmla="*/ 1552575 h 4496940"/>
                  <a:gd name="connsiteX38" fmla="*/ 4402477 w 4519987"/>
                  <a:gd name="connsiteY38" fmla="*/ 1590675 h 4496940"/>
                  <a:gd name="connsiteX39" fmla="*/ 4431052 w 4519987"/>
                  <a:gd name="connsiteY39" fmla="*/ 1685925 h 4496940"/>
                  <a:gd name="connsiteX40" fmla="*/ 4519952 w 4519987"/>
                  <a:gd name="connsiteY40" fmla="*/ 2181225 h 4496940"/>
                  <a:gd name="connsiteX41" fmla="*/ 4446927 w 4519987"/>
                  <a:gd name="connsiteY41" fmla="*/ 2768600 h 4496940"/>
                  <a:gd name="connsiteX42" fmla="*/ 4383427 w 4519987"/>
                  <a:gd name="connsiteY42" fmla="*/ 2990850 h 4496940"/>
                  <a:gd name="connsiteX43" fmla="*/ 4278652 w 4519987"/>
                  <a:gd name="connsiteY43" fmla="*/ 3248025 h 4496940"/>
                  <a:gd name="connsiteX44" fmla="*/ 4259602 w 4519987"/>
                  <a:gd name="connsiteY44" fmla="*/ 3276600 h 4496940"/>
                  <a:gd name="connsiteX45" fmla="*/ 4221502 w 4519987"/>
                  <a:gd name="connsiteY45" fmla="*/ 3333750 h 4496940"/>
                  <a:gd name="connsiteX46" fmla="*/ 4211977 w 4519987"/>
                  <a:gd name="connsiteY46" fmla="*/ 3362325 h 4496940"/>
                  <a:gd name="connsiteX47" fmla="*/ 4183402 w 4519987"/>
                  <a:gd name="connsiteY47" fmla="*/ 3400425 h 4496940"/>
                  <a:gd name="connsiteX48" fmla="*/ 4164352 w 4519987"/>
                  <a:gd name="connsiteY48" fmla="*/ 3429000 h 4496940"/>
                  <a:gd name="connsiteX49" fmla="*/ 4088152 w 4519987"/>
                  <a:gd name="connsiteY49" fmla="*/ 3495675 h 4496940"/>
                  <a:gd name="connsiteX50" fmla="*/ 4059577 w 4519987"/>
                  <a:gd name="connsiteY50" fmla="*/ 3533775 h 4496940"/>
                  <a:gd name="connsiteX51" fmla="*/ 4002427 w 4519987"/>
                  <a:gd name="connsiteY51" fmla="*/ 3600450 h 4496940"/>
                  <a:gd name="connsiteX52" fmla="*/ 3983377 w 4519987"/>
                  <a:gd name="connsiteY52" fmla="*/ 3629025 h 4496940"/>
                  <a:gd name="connsiteX53" fmla="*/ 3954802 w 4519987"/>
                  <a:gd name="connsiteY53" fmla="*/ 3648075 h 4496940"/>
                  <a:gd name="connsiteX54" fmla="*/ 3907177 w 4519987"/>
                  <a:gd name="connsiteY54" fmla="*/ 3686175 h 4496940"/>
                  <a:gd name="connsiteX55" fmla="*/ 3869077 w 4519987"/>
                  <a:gd name="connsiteY55" fmla="*/ 3724275 h 4496940"/>
                  <a:gd name="connsiteX56" fmla="*/ 3792877 w 4519987"/>
                  <a:gd name="connsiteY56" fmla="*/ 3781425 h 4496940"/>
                  <a:gd name="connsiteX57" fmla="*/ 3783352 w 4519987"/>
                  <a:gd name="connsiteY57" fmla="*/ 3810000 h 4496940"/>
                  <a:gd name="connsiteX58" fmla="*/ 3745252 w 4519987"/>
                  <a:gd name="connsiteY58" fmla="*/ 3819525 h 4496940"/>
                  <a:gd name="connsiteX59" fmla="*/ 3678577 w 4519987"/>
                  <a:gd name="connsiteY59" fmla="*/ 3848100 h 4496940"/>
                  <a:gd name="connsiteX60" fmla="*/ 3659527 w 4519987"/>
                  <a:gd name="connsiteY60" fmla="*/ 3971925 h 4496940"/>
                  <a:gd name="connsiteX61" fmla="*/ 3630952 w 4519987"/>
                  <a:gd name="connsiteY61" fmla="*/ 4010025 h 4496940"/>
                  <a:gd name="connsiteX62" fmla="*/ 3621427 w 4519987"/>
                  <a:gd name="connsiteY62" fmla="*/ 4038600 h 4496940"/>
                  <a:gd name="connsiteX63" fmla="*/ 3554752 w 4519987"/>
                  <a:gd name="connsiteY63" fmla="*/ 4095750 h 4496940"/>
                  <a:gd name="connsiteX64" fmla="*/ 3516652 w 4519987"/>
                  <a:gd name="connsiteY64" fmla="*/ 4114800 h 4496940"/>
                  <a:gd name="connsiteX65" fmla="*/ 3497602 w 4519987"/>
                  <a:gd name="connsiteY65" fmla="*/ 4143375 h 4496940"/>
                  <a:gd name="connsiteX66" fmla="*/ 3383302 w 4519987"/>
                  <a:gd name="connsiteY66" fmla="*/ 4210050 h 4496940"/>
                  <a:gd name="connsiteX67" fmla="*/ 3335677 w 4519987"/>
                  <a:gd name="connsiteY67" fmla="*/ 4238625 h 4496940"/>
                  <a:gd name="connsiteX68" fmla="*/ 3288052 w 4519987"/>
                  <a:gd name="connsiteY68" fmla="*/ 4248150 h 4496940"/>
                  <a:gd name="connsiteX69" fmla="*/ 3240427 w 4519987"/>
                  <a:gd name="connsiteY69" fmla="*/ 4267200 h 4496940"/>
                  <a:gd name="connsiteX70" fmla="*/ 3068977 w 4519987"/>
                  <a:gd name="connsiteY70" fmla="*/ 4286250 h 4496940"/>
                  <a:gd name="connsiteX71" fmla="*/ 2935627 w 4519987"/>
                  <a:gd name="connsiteY71" fmla="*/ 4333875 h 4496940"/>
                  <a:gd name="connsiteX72" fmla="*/ 2811802 w 4519987"/>
                  <a:gd name="connsiteY72" fmla="*/ 4371975 h 4496940"/>
                  <a:gd name="connsiteX73" fmla="*/ 2745127 w 4519987"/>
                  <a:gd name="connsiteY73" fmla="*/ 4410075 h 4496940"/>
                  <a:gd name="connsiteX74" fmla="*/ 2697502 w 4519987"/>
                  <a:gd name="connsiteY74" fmla="*/ 4429125 h 4496940"/>
                  <a:gd name="connsiteX75" fmla="*/ 2640352 w 4519987"/>
                  <a:gd name="connsiteY75" fmla="*/ 4457700 h 4496940"/>
                  <a:gd name="connsiteX76" fmla="*/ 2583202 w 4519987"/>
                  <a:gd name="connsiteY76" fmla="*/ 4467225 h 4496940"/>
                  <a:gd name="connsiteX77" fmla="*/ 2545102 w 4519987"/>
                  <a:gd name="connsiteY77" fmla="*/ 4486275 h 4496940"/>
                  <a:gd name="connsiteX78" fmla="*/ 2306977 w 4519987"/>
                  <a:gd name="connsiteY78" fmla="*/ 4476750 h 4496940"/>
                  <a:gd name="connsiteX79" fmla="*/ 2202202 w 4519987"/>
                  <a:gd name="connsiteY79" fmla="*/ 4457700 h 4496940"/>
                  <a:gd name="connsiteX80" fmla="*/ 2126002 w 4519987"/>
                  <a:gd name="connsiteY80" fmla="*/ 4429125 h 4496940"/>
                  <a:gd name="connsiteX81" fmla="*/ 1935502 w 4519987"/>
                  <a:gd name="connsiteY81" fmla="*/ 4400550 h 4496940"/>
                  <a:gd name="connsiteX82" fmla="*/ 1821202 w 4519987"/>
                  <a:gd name="connsiteY82" fmla="*/ 4371975 h 4496940"/>
                  <a:gd name="connsiteX83" fmla="*/ 1754527 w 4519987"/>
                  <a:gd name="connsiteY83" fmla="*/ 4352925 h 4496940"/>
                  <a:gd name="connsiteX84" fmla="*/ 1687852 w 4519987"/>
                  <a:gd name="connsiteY84" fmla="*/ 4343400 h 4496940"/>
                  <a:gd name="connsiteX85" fmla="*/ 1573552 w 4519987"/>
                  <a:gd name="connsiteY85" fmla="*/ 4305300 h 4496940"/>
                  <a:gd name="connsiteX86" fmla="*/ 1402102 w 4519987"/>
                  <a:gd name="connsiteY86" fmla="*/ 4276725 h 4496940"/>
                  <a:gd name="connsiteX87" fmla="*/ 1287802 w 4519987"/>
                  <a:gd name="connsiteY87" fmla="*/ 4229100 h 4496940"/>
                  <a:gd name="connsiteX88" fmla="*/ 1221127 w 4519987"/>
                  <a:gd name="connsiteY88" fmla="*/ 4200525 h 4496940"/>
                  <a:gd name="connsiteX89" fmla="*/ 1144927 w 4519987"/>
                  <a:gd name="connsiteY89" fmla="*/ 4171950 h 4496940"/>
                  <a:gd name="connsiteX90" fmla="*/ 1087777 w 4519987"/>
                  <a:gd name="connsiteY90" fmla="*/ 4143375 h 4496940"/>
                  <a:gd name="connsiteX91" fmla="*/ 1030627 w 4519987"/>
                  <a:gd name="connsiteY91" fmla="*/ 4124325 h 4496940"/>
                  <a:gd name="connsiteX92" fmla="*/ 925852 w 4519987"/>
                  <a:gd name="connsiteY92" fmla="*/ 4067175 h 4496940"/>
                  <a:gd name="connsiteX93" fmla="*/ 830602 w 4519987"/>
                  <a:gd name="connsiteY93" fmla="*/ 3981450 h 4496940"/>
                  <a:gd name="connsiteX94" fmla="*/ 763927 w 4519987"/>
                  <a:gd name="connsiteY94" fmla="*/ 3914775 h 4496940"/>
                  <a:gd name="connsiteX95" fmla="*/ 725827 w 4519987"/>
                  <a:gd name="connsiteY95" fmla="*/ 3876675 h 4496940"/>
                  <a:gd name="connsiteX96" fmla="*/ 697252 w 4519987"/>
                  <a:gd name="connsiteY96" fmla="*/ 3838575 h 4496940"/>
                  <a:gd name="connsiteX97" fmla="*/ 640102 w 4519987"/>
                  <a:gd name="connsiteY97" fmla="*/ 3781425 h 4496940"/>
                  <a:gd name="connsiteX98" fmla="*/ 611527 w 4519987"/>
                  <a:gd name="connsiteY98" fmla="*/ 3733800 h 4496940"/>
                  <a:gd name="connsiteX99" fmla="*/ 554377 w 4519987"/>
                  <a:gd name="connsiteY99" fmla="*/ 3657600 h 4496940"/>
                  <a:gd name="connsiteX100" fmla="*/ 525802 w 4519987"/>
                  <a:gd name="connsiteY100" fmla="*/ 3609975 h 4496940"/>
                  <a:gd name="connsiteX101" fmla="*/ 497227 w 4519987"/>
                  <a:gd name="connsiteY101" fmla="*/ 3552825 h 4496940"/>
                  <a:gd name="connsiteX102" fmla="*/ 440077 w 4519987"/>
                  <a:gd name="connsiteY102" fmla="*/ 3495675 h 4496940"/>
                  <a:gd name="connsiteX103" fmla="*/ 411502 w 4519987"/>
                  <a:gd name="connsiteY103" fmla="*/ 3448050 h 4496940"/>
                  <a:gd name="connsiteX104" fmla="*/ 278152 w 4519987"/>
                  <a:gd name="connsiteY104" fmla="*/ 3257550 h 4496940"/>
                  <a:gd name="connsiteX105" fmla="*/ 249577 w 4519987"/>
                  <a:gd name="connsiteY105" fmla="*/ 3200400 h 4496940"/>
                  <a:gd name="connsiteX106" fmla="*/ 240052 w 4519987"/>
                  <a:gd name="connsiteY106" fmla="*/ 3162300 h 4496940"/>
                  <a:gd name="connsiteX107" fmla="*/ 221002 w 4519987"/>
                  <a:gd name="connsiteY107" fmla="*/ 3105150 h 4496940"/>
                  <a:gd name="connsiteX108" fmla="*/ 173377 w 4519987"/>
                  <a:gd name="connsiteY108" fmla="*/ 3019425 h 4496940"/>
                  <a:gd name="connsiteX109" fmla="*/ 144802 w 4519987"/>
                  <a:gd name="connsiteY109" fmla="*/ 2924175 h 4496940"/>
                  <a:gd name="connsiteX110" fmla="*/ 68602 w 4519987"/>
                  <a:gd name="connsiteY110" fmla="*/ 2724150 h 4496940"/>
                  <a:gd name="connsiteX111" fmla="*/ 49552 w 4519987"/>
                  <a:gd name="connsiteY111" fmla="*/ 2638425 h 4496940"/>
                  <a:gd name="connsiteX112" fmla="*/ 40027 w 4519987"/>
                  <a:gd name="connsiteY112" fmla="*/ 2562225 h 4496940"/>
                  <a:gd name="connsiteX113" fmla="*/ 30502 w 4519987"/>
                  <a:gd name="connsiteY113" fmla="*/ 2514600 h 4496940"/>
                  <a:gd name="connsiteX114" fmla="*/ 11452 w 4519987"/>
                  <a:gd name="connsiteY114" fmla="*/ 2400300 h 4496940"/>
                  <a:gd name="connsiteX115" fmla="*/ 20977 w 4519987"/>
                  <a:gd name="connsiteY115" fmla="*/ 1905000 h 4496940"/>
                  <a:gd name="connsiteX116" fmla="*/ 30502 w 4519987"/>
                  <a:gd name="connsiteY116" fmla="*/ 1838325 h 4496940"/>
                  <a:gd name="connsiteX117" fmla="*/ 49552 w 4519987"/>
                  <a:gd name="connsiteY117" fmla="*/ 1781175 h 4496940"/>
                  <a:gd name="connsiteX118" fmla="*/ 59077 w 4519987"/>
                  <a:gd name="connsiteY118" fmla="*/ 1743075 h 4496940"/>
                  <a:gd name="connsiteX119" fmla="*/ 78127 w 4519987"/>
                  <a:gd name="connsiteY119" fmla="*/ 1685925 h 4496940"/>
                  <a:gd name="connsiteX120" fmla="*/ 87652 w 4519987"/>
                  <a:gd name="connsiteY120" fmla="*/ 1638300 h 4496940"/>
                  <a:gd name="connsiteX121" fmla="*/ 106702 w 4519987"/>
                  <a:gd name="connsiteY121" fmla="*/ 1590675 h 4496940"/>
                  <a:gd name="connsiteX122" fmla="*/ 135277 w 4519987"/>
                  <a:gd name="connsiteY122" fmla="*/ 1504950 h 4496940"/>
                  <a:gd name="connsiteX123" fmla="*/ 154327 w 4519987"/>
                  <a:gd name="connsiteY123" fmla="*/ 1419225 h 4496940"/>
                  <a:gd name="connsiteX124" fmla="*/ 230527 w 4519987"/>
                  <a:gd name="connsiteY124" fmla="*/ 1276350 h 4496940"/>
                  <a:gd name="connsiteX125" fmla="*/ 240052 w 4519987"/>
                  <a:gd name="connsiteY125" fmla="*/ 1247775 h 4496940"/>
                  <a:gd name="connsiteX126" fmla="*/ 268627 w 4519987"/>
                  <a:gd name="connsiteY126" fmla="*/ 1200150 h 4496940"/>
                  <a:gd name="connsiteX127" fmla="*/ 287677 w 4519987"/>
                  <a:gd name="connsiteY127" fmla="*/ 1152525 h 4496940"/>
                  <a:gd name="connsiteX128" fmla="*/ 316252 w 4519987"/>
                  <a:gd name="connsiteY128" fmla="*/ 1114425 h 4496940"/>
                  <a:gd name="connsiteX129" fmla="*/ 363877 w 4519987"/>
                  <a:gd name="connsiteY129" fmla="*/ 1038225 h 4496940"/>
                  <a:gd name="connsiteX130" fmla="*/ 382927 w 4519987"/>
                  <a:gd name="connsiteY130" fmla="*/ 1009650 h 4496940"/>
                  <a:gd name="connsiteX131" fmla="*/ 440077 w 4519987"/>
                  <a:gd name="connsiteY131" fmla="*/ 904875 h 4496940"/>
                  <a:gd name="connsiteX132" fmla="*/ 478177 w 4519987"/>
                  <a:gd name="connsiteY132" fmla="*/ 857250 h 4496940"/>
                  <a:gd name="connsiteX133" fmla="*/ 497227 w 4519987"/>
                  <a:gd name="connsiteY133" fmla="*/ 828675 h 4496940"/>
                  <a:gd name="connsiteX134" fmla="*/ 535327 w 4519987"/>
                  <a:gd name="connsiteY134" fmla="*/ 800100 h 4496940"/>
                  <a:gd name="connsiteX135" fmla="*/ 602002 w 4519987"/>
                  <a:gd name="connsiteY135" fmla="*/ 733425 h 4496940"/>
                  <a:gd name="connsiteX136" fmla="*/ 668677 w 4519987"/>
                  <a:gd name="connsiteY136" fmla="*/ 676275 h 4496940"/>
                  <a:gd name="connsiteX137" fmla="*/ 697252 w 4519987"/>
                  <a:gd name="connsiteY137" fmla="*/ 657225 h 4496940"/>
                  <a:gd name="connsiteX138" fmla="*/ 840127 w 4519987"/>
                  <a:gd name="connsiteY138" fmla="*/ 533400 h 4496940"/>
                  <a:gd name="connsiteX139" fmla="*/ 887752 w 4519987"/>
                  <a:gd name="connsiteY139" fmla="*/ 504825 h 4496940"/>
                  <a:gd name="connsiteX140" fmla="*/ 1167152 w 4519987"/>
                  <a:gd name="connsiteY140" fmla="*/ 311150 h 4496940"/>
                  <a:gd name="connsiteX141" fmla="*/ 1268752 w 4519987"/>
                  <a:gd name="connsiteY141" fmla="*/ 285750 h 4496940"/>
                  <a:gd name="connsiteX142" fmla="*/ 1411627 w 4519987"/>
                  <a:gd name="connsiteY142" fmla="*/ 190500 h 4496940"/>
                  <a:gd name="connsiteX143" fmla="*/ 1449727 w 4519987"/>
                  <a:gd name="connsiteY143" fmla="*/ 161925 h 4496940"/>
                  <a:gd name="connsiteX144" fmla="*/ 1525927 w 4519987"/>
                  <a:gd name="connsiteY144" fmla="*/ 152400 h 4496940"/>
                  <a:gd name="connsiteX145" fmla="*/ 1583077 w 4519987"/>
                  <a:gd name="connsiteY145" fmla="*/ 142875 h 4496940"/>
                  <a:gd name="connsiteX146" fmla="*/ 1716427 w 4519987"/>
                  <a:gd name="connsiteY146" fmla="*/ 123825 h 4496940"/>
                  <a:gd name="connsiteX147" fmla="*/ 1811677 w 4519987"/>
                  <a:gd name="connsiteY147" fmla="*/ 114300 h 4496940"/>
                  <a:gd name="connsiteX148" fmla="*/ 1859302 w 4519987"/>
                  <a:gd name="connsiteY148" fmla="*/ 104775 h 4496940"/>
                  <a:gd name="connsiteX149" fmla="*/ 1916452 w 4519987"/>
                  <a:gd name="connsiteY149" fmla="*/ 95250 h 4496940"/>
                  <a:gd name="connsiteX150" fmla="*/ 2030752 w 4519987"/>
                  <a:gd name="connsiteY150" fmla="*/ 66675 h 4496940"/>
                  <a:gd name="connsiteX151" fmla="*/ 2097427 w 4519987"/>
                  <a:gd name="connsiteY151" fmla="*/ 47625 h 4496940"/>
                  <a:gd name="connsiteX152" fmla="*/ 2164102 w 4519987"/>
                  <a:gd name="connsiteY152" fmla="*/ 38100 h 4496940"/>
                  <a:gd name="connsiteX153" fmla="*/ 2392702 w 4519987"/>
                  <a:gd name="connsiteY15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02377 w 4519987"/>
                  <a:gd name="connsiteY18" fmla="*/ 457200 h 4496940"/>
                  <a:gd name="connsiteX19" fmla="*/ 3630952 w 4519987"/>
                  <a:gd name="connsiteY19" fmla="*/ 485775 h 4496940"/>
                  <a:gd name="connsiteX20" fmla="*/ 3678577 w 4519987"/>
                  <a:gd name="connsiteY20" fmla="*/ 504825 h 4496940"/>
                  <a:gd name="connsiteX21" fmla="*/ 3745252 w 4519987"/>
                  <a:gd name="connsiteY21" fmla="*/ 542925 h 4496940"/>
                  <a:gd name="connsiteX22" fmla="*/ 3811927 w 4519987"/>
                  <a:gd name="connsiteY22" fmla="*/ 581025 h 4496940"/>
                  <a:gd name="connsiteX23" fmla="*/ 3907177 w 4519987"/>
                  <a:gd name="connsiteY23" fmla="*/ 647700 h 4496940"/>
                  <a:gd name="connsiteX24" fmla="*/ 3935752 w 4519987"/>
                  <a:gd name="connsiteY24" fmla="*/ 676275 h 4496940"/>
                  <a:gd name="connsiteX25" fmla="*/ 4078627 w 4519987"/>
                  <a:gd name="connsiteY25" fmla="*/ 838200 h 4496940"/>
                  <a:gd name="connsiteX26" fmla="*/ 4135777 w 4519987"/>
                  <a:gd name="connsiteY26" fmla="*/ 933450 h 4496940"/>
                  <a:gd name="connsiteX27" fmla="*/ 4164352 w 4519987"/>
                  <a:gd name="connsiteY27" fmla="*/ 990600 h 4496940"/>
                  <a:gd name="connsiteX28" fmla="*/ 4173877 w 4519987"/>
                  <a:gd name="connsiteY28" fmla="*/ 1019175 h 4496940"/>
                  <a:gd name="connsiteX29" fmla="*/ 4192927 w 4519987"/>
                  <a:gd name="connsiteY29" fmla="*/ 1057275 h 4496940"/>
                  <a:gd name="connsiteX30" fmla="*/ 4202452 w 4519987"/>
                  <a:gd name="connsiteY30" fmla="*/ 1085850 h 4496940"/>
                  <a:gd name="connsiteX31" fmla="*/ 4250077 w 4519987"/>
                  <a:gd name="connsiteY31" fmla="*/ 1143000 h 4496940"/>
                  <a:gd name="connsiteX32" fmla="*/ 4259602 w 4519987"/>
                  <a:gd name="connsiteY32" fmla="*/ 1190625 h 4496940"/>
                  <a:gd name="connsiteX33" fmla="*/ 4307227 w 4519987"/>
                  <a:gd name="connsiteY33" fmla="*/ 1266825 h 4496940"/>
                  <a:gd name="connsiteX34" fmla="*/ 4345327 w 4519987"/>
                  <a:gd name="connsiteY34" fmla="*/ 1362075 h 4496940"/>
                  <a:gd name="connsiteX35" fmla="*/ 4373902 w 4519987"/>
                  <a:gd name="connsiteY35" fmla="*/ 1428750 h 4496940"/>
                  <a:gd name="connsiteX36" fmla="*/ 4392952 w 4519987"/>
                  <a:gd name="connsiteY36" fmla="*/ 1552575 h 4496940"/>
                  <a:gd name="connsiteX37" fmla="*/ 4402477 w 4519987"/>
                  <a:gd name="connsiteY37" fmla="*/ 1590675 h 4496940"/>
                  <a:gd name="connsiteX38" fmla="*/ 4431052 w 4519987"/>
                  <a:gd name="connsiteY38" fmla="*/ 1685925 h 4496940"/>
                  <a:gd name="connsiteX39" fmla="*/ 4519952 w 4519987"/>
                  <a:gd name="connsiteY39" fmla="*/ 2181225 h 4496940"/>
                  <a:gd name="connsiteX40" fmla="*/ 4446927 w 4519987"/>
                  <a:gd name="connsiteY40" fmla="*/ 2768600 h 4496940"/>
                  <a:gd name="connsiteX41" fmla="*/ 4383427 w 4519987"/>
                  <a:gd name="connsiteY41" fmla="*/ 2990850 h 4496940"/>
                  <a:gd name="connsiteX42" fmla="*/ 4278652 w 4519987"/>
                  <a:gd name="connsiteY42" fmla="*/ 3248025 h 4496940"/>
                  <a:gd name="connsiteX43" fmla="*/ 4259602 w 4519987"/>
                  <a:gd name="connsiteY43" fmla="*/ 3276600 h 4496940"/>
                  <a:gd name="connsiteX44" fmla="*/ 4221502 w 4519987"/>
                  <a:gd name="connsiteY44" fmla="*/ 3333750 h 4496940"/>
                  <a:gd name="connsiteX45" fmla="*/ 4211977 w 4519987"/>
                  <a:gd name="connsiteY45" fmla="*/ 3362325 h 4496940"/>
                  <a:gd name="connsiteX46" fmla="*/ 4183402 w 4519987"/>
                  <a:gd name="connsiteY46" fmla="*/ 3400425 h 4496940"/>
                  <a:gd name="connsiteX47" fmla="*/ 4164352 w 4519987"/>
                  <a:gd name="connsiteY47" fmla="*/ 3429000 h 4496940"/>
                  <a:gd name="connsiteX48" fmla="*/ 4088152 w 4519987"/>
                  <a:gd name="connsiteY48" fmla="*/ 3495675 h 4496940"/>
                  <a:gd name="connsiteX49" fmla="*/ 4059577 w 4519987"/>
                  <a:gd name="connsiteY49" fmla="*/ 3533775 h 4496940"/>
                  <a:gd name="connsiteX50" fmla="*/ 4002427 w 4519987"/>
                  <a:gd name="connsiteY50" fmla="*/ 3600450 h 4496940"/>
                  <a:gd name="connsiteX51" fmla="*/ 3983377 w 4519987"/>
                  <a:gd name="connsiteY51" fmla="*/ 3629025 h 4496940"/>
                  <a:gd name="connsiteX52" fmla="*/ 3954802 w 4519987"/>
                  <a:gd name="connsiteY52" fmla="*/ 3648075 h 4496940"/>
                  <a:gd name="connsiteX53" fmla="*/ 3907177 w 4519987"/>
                  <a:gd name="connsiteY53" fmla="*/ 3686175 h 4496940"/>
                  <a:gd name="connsiteX54" fmla="*/ 3869077 w 4519987"/>
                  <a:gd name="connsiteY54" fmla="*/ 3724275 h 4496940"/>
                  <a:gd name="connsiteX55" fmla="*/ 3792877 w 4519987"/>
                  <a:gd name="connsiteY55" fmla="*/ 3781425 h 4496940"/>
                  <a:gd name="connsiteX56" fmla="*/ 3783352 w 4519987"/>
                  <a:gd name="connsiteY56" fmla="*/ 3810000 h 4496940"/>
                  <a:gd name="connsiteX57" fmla="*/ 3745252 w 4519987"/>
                  <a:gd name="connsiteY57" fmla="*/ 3819525 h 4496940"/>
                  <a:gd name="connsiteX58" fmla="*/ 3678577 w 4519987"/>
                  <a:gd name="connsiteY58" fmla="*/ 3848100 h 4496940"/>
                  <a:gd name="connsiteX59" fmla="*/ 3659527 w 4519987"/>
                  <a:gd name="connsiteY59" fmla="*/ 3971925 h 4496940"/>
                  <a:gd name="connsiteX60" fmla="*/ 3630952 w 4519987"/>
                  <a:gd name="connsiteY60" fmla="*/ 4010025 h 4496940"/>
                  <a:gd name="connsiteX61" fmla="*/ 3621427 w 4519987"/>
                  <a:gd name="connsiteY61" fmla="*/ 4038600 h 4496940"/>
                  <a:gd name="connsiteX62" fmla="*/ 3554752 w 4519987"/>
                  <a:gd name="connsiteY62" fmla="*/ 4095750 h 4496940"/>
                  <a:gd name="connsiteX63" fmla="*/ 3516652 w 4519987"/>
                  <a:gd name="connsiteY63" fmla="*/ 4114800 h 4496940"/>
                  <a:gd name="connsiteX64" fmla="*/ 3497602 w 4519987"/>
                  <a:gd name="connsiteY64" fmla="*/ 4143375 h 4496940"/>
                  <a:gd name="connsiteX65" fmla="*/ 3383302 w 4519987"/>
                  <a:gd name="connsiteY65" fmla="*/ 4210050 h 4496940"/>
                  <a:gd name="connsiteX66" fmla="*/ 3335677 w 4519987"/>
                  <a:gd name="connsiteY66" fmla="*/ 4238625 h 4496940"/>
                  <a:gd name="connsiteX67" fmla="*/ 3288052 w 4519987"/>
                  <a:gd name="connsiteY67" fmla="*/ 4248150 h 4496940"/>
                  <a:gd name="connsiteX68" fmla="*/ 3240427 w 4519987"/>
                  <a:gd name="connsiteY68" fmla="*/ 4267200 h 4496940"/>
                  <a:gd name="connsiteX69" fmla="*/ 3068977 w 4519987"/>
                  <a:gd name="connsiteY69" fmla="*/ 4286250 h 4496940"/>
                  <a:gd name="connsiteX70" fmla="*/ 2935627 w 4519987"/>
                  <a:gd name="connsiteY70" fmla="*/ 4333875 h 4496940"/>
                  <a:gd name="connsiteX71" fmla="*/ 2811802 w 4519987"/>
                  <a:gd name="connsiteY71" fmla="*/ 4371975 h 4496940"/>
                  <a:gd name="connsiteX72" fmla="*/ 2745127 w 4519987"/>
                  <a:gd name="connsiteY72" fmla="*/ 4410075 h 4496940"/>
                  <a:gd name="connsiteX73" fmla="*/ 2697502 w 4519987"/>
                  <a:gd name="connsiteY73" fmla="*/ 4429125 h 4496940"/>
                  <a:gd name="connsiteX74" fmla="*/ 2640352 w 4519987"/>
                  <a:gd name="connsiteY74" fmla="*/ 4457700 h 4496940"/>
                  <a:gd name="connsiteX75" fmla="*/ 2583202 w 4519987"/>
                  <a:gd name="connsiteY75" fmla="*/ 4467225 h 4496940"/>
                  <a:gd name="connsiteX76" fmla="*/ 2545102 w 4519987"/>
                  <a:gd name="connsiteY76" fmla="*/ 4486275 h 4496940"/>
                  <a:gd name="connsiteX77" fmla="*/ 2306977 w 4519987"/>
                  <a:gd name="connsiteY77" fmla="*/ 4476750 h 4496940"/>
                  <a:gd name="connsiteX78" fmla="*/ 2202202 w 4519987"/>
                  <a:gd name="connsiteY78" fmla="*/ 4457700 h 4496940"/>
                  <a:gd name="connsiteX79" fmla="*/ 2126002 w 4519987"/>
                  <a:gd name="connsiteY79" fmla="*/ 4429125 h 4496940"/>
                  <a:gd name="connsiteX80" fmla="*/ 1935502 w 4519987"/>
                  <a:gd name="connsiteY80" fmla="*/ 4400550 h 4496940"/>
                  <a:gd name="connsiteX81" fmla="*/ 1821202 w 4519987"/>
                  <a:gd name="connsiteY81" fmla="*/ 4371975 h 4496940"/>
                  <a:gd name="connsiteX82" fmla="*/ 1754527 w 4519987"/>
                  <a:gd name="connsiteY82" fmla="*/ 4352925 h 4496940"/>
                  <a:gd name="connsiteX83" fmla="*/ 1687852 w 4519987"/>
                  <a:gd name="connsiteY83" fmla="*/ 4343400 h 4496940"/>
                  <a:gd name="connsiteX84" fmla="*/ 1573552 w 4519987"/>
                  <a:gd name="connsiteY84" fmla="*/ 4305300 h 4496940"/>
                  <a:gd name="connsiteX85" fmla="*/ 1402102 w 4519987"/>
                  <a:gd name="connsiteY85" fmla="*/ 4276725 h 4496940"/>
                  <a:gd name="connsiteX86" fmla="*/ 1287802 w 4519987"/>
                  <a:gd name="connsiteY86" fmla="*/ 4229100 h 4496940"/>
                  <a:gd name="connsiteX87" fmla="*/ 1221127 w 4519987"/>
                  <a:gd name="connsiteY87" fmla="*/ 4200525 h 4496940"/>
                  <a:gd name="connsiteX88" fmla="*/ 1144927 w 4519987"/>
                  <a:gd name="connsiteY88" fmla="*/ 4171950 h 4496940"/>
                  <a:gd name="connsiteX89" fmla="*/ 1087777 w 4519987"/>
                  <a:gd name="connsiteY89" fmla="*/ 4143375 h 4496940"/>
                  <a:gd name="connsiteX90" fmla="*/ 1030627 w 4519987"/>
                  <a:gd name="connsiteY90" fmla="*/ 4124325 h 4496940"/>
                  <a:gd name="connsiteX91" fmla="*/ 925852 w 4519987"/>
                  <a:gd name="connsiteY91" fmla="*/ 4067175 h 4496940"/>
                  <a:gd name="connsiteX92" fmla="*/ 830602 w 4519987"/>
                  <a:gd name="connsiteY92" fmla="*/ 3981450 h 4496940"/>
                  <a:gd name="connsiteX93" fmla="*/ 763927 w 4519987"/>
                  <a:gd name="connsiteY93" fmla="*/ 3914775 h 4496940"/>
                  <a:gd name="connsiteX94" fmla="*/ 725827 w 4519987"/>
                  <a:gd name="connsiteY94" fmla="*/ 3876675 h 4496940"/>
                  <a:gd name="connsiteX95" fmla="*/ 697252 w 4519987"/>
                  <a:gd name="connsiteY95" fmla="*/ 3838575 h 4496940"/>
                  <a:gd name="connsiteX96" fmla="*/ 640102 w 4519987"/>
                  <a:gd name="connsiteY96" fmla="*/ 3781425 h 4496940"/>
                  <a:gd name="connsiteX97" fmla="*/ 611527 w 4519987"/>
                  <a:gd name="connsiteY97" fmla="*/ 3733800 h 4496940"/>
                  <a:gd name="connsiteX98" fmla="*/ 554377 w 4519987"/>
                  <a:gd name="connsiteY98" fmla="*/ 3657600 h 4496940"/>
                  <a:gd name="connsiteX99" fmla="*/ 525802 w 4519987"/>
                  <a:gd name="connsiteY99" fmla="*/ 3609975 h 4496940"/>
                  <a:gd name="connsiteX100" fmla="*/ 497227 w 4519987"/>
                  <a:gd name="connsiteY100" fmla="*/ 3552825 h 4496940"/>
                  <a:gd name="connsiteX101" fmla="*/ 440077 w 4519987"/>
                  <a:gd name="connsiteY101" fmla="*/ 3495675 h 4496940"/>
                  <a:gd name="connsiteX102" fmla="*/ 411502 w 4519987"/>
                  <a:gd name="connsiteY102" fmla="*/ 3448050 h 4496940"/>
                  <a:gd name="connsiteX103" fmla="*/ 278152 w 4519987"/>
                  <a:gd name="connsiteY103" fmla="*/ 3257550 h 4496940"/>
                  <a:gd name="connsiteX104" fmla="*/ 249577 w 4519987"/>
                  <a:gd name="connsiteY104" fmla="*/ 3200400 h 4496940"/>
                  <a:gd name="connsiteX105" fmla="*/ 240052 w 4519987"/>
                  <a:gd name="connsiteY105" fmla="*/ 3162300 h 4496940"/>
                  <a:gd name="connsiteX106" fmla="*/ 221002 w 4519987"/>
                  <a:gd name="connsiteY106" fmla="*/ 3105150 h 4496940"/>
                  <a:gd name="connsiteX107" fmla="*/ 173377 w 4519987"/>
                  <a:gd name="connsiteY107" fmla="*/ 3019425 h 4496940"/>
                  <a:gd name="connsiteX108" fmla="*/ 144802 w 4519987"/>
                  <a:gd name="connsiteY108" fmla="*/ 2924175 h 4496940"/>
                  <a:gd name="connsiteX109" fmla="*/ 68602 w 4519987"/>
                  <a:gd name="connsiteY109" fmla="*/ 2724150 h 4496940"/>
                  <a:gd name="connsiteX110" fmla="*/ 49552 w 4519987"/>
                  <a:gd name="connsiteY110" fmla="*/ 2638425 h 4496940"/>
                  <a:gd name="connsiteX111" fmla="*/ 40027 w 4519987"/>
                  <a:gd name="connsiteY111" fmla="*/ 2562225 h 4496940"/>
                  <a:gd name="connsiteX112" fmla="*/ 30502 w 4519987"/>
                  <a:gd name="connsiteY112" fmla="*/ 2514600 h 4496940"/>
                  <a:gd name="connsiteX113" fmla="*/ 11452 w 4519987"/>
                  <a:gd name="connsiteY113" fmla="*/ 2400300 h 4496940"/>
                  <a:gd name="connsiteX114" fmla="*/ 20977 w 4519987"/>
                  <a:gd name="connsiteY114" fmla="*/ 1905000 h 4496940"/>
                  <a:gd name="connsiteX115" fmla="*/ 30502 w 4519987"/>
                  <a:gd name="connsiteY115" fmla="*/ 1838325 h 4496940"/>
                  <a:gd name="connsiteX116" fmla="*/ 49552 w 4519987"/>
                  <a:gd name="connsiteY116" fmla="*/ 1781175 h 4496940"/>
                  <a:gd name="connsiteX117" fmla="*/ 59077 w 4519987"/>
                  <a:gd name="connsiteY117" fmla="*/ 1743075 h 4496940"/>
                  <a:gd name="connsiteX118" fmla="*/ 78127 w 4519987"/>
                  <a:gd name="connsiteY118" fmla="*/ 1685925 h 4496940"/>
                  <a:gd name="connsiteX119" fmla="*/ 87652 w 4519987"/>
                  <a:gd name="connsiteY119" fmla="*/ 1638300 h 4496940"/>
                  <a:gd name="connsiteX120" fmla="*/ 106702 w 4519987"/>
                  <a:gd name="connsiteY120" fmla="*/ 1590675 h 4496940"/>
                  <a:gd name="connsiteX121" fmla="*/ 135277 w 4519987"/>
                  <a:gd name="connsiteY121" fmla="*/ 1504950 h 4496940"/>
                  <a:gd name="connsiteX122" fmla="*/ 154327 w 4519987"/>
                  <a:gd name="connsiteY122" fmla="*/ 1419225 h 4496940"/>
                  <a:gd name="connsiteX123" fmla="*/ 230527 w 4519987"/>
                  <a:gd name="connsiteY123" fmla="*/ 1276350 h 4496940"/>
                  <a:gd name="connsiteX124" fmla="*/ 240052 w 4519987"/>
                  <a:gd name="connsiteY124" fmla="*/ 1247775 h 4496940"/>
                  <a:gd name="connsiteX125" fmla="*/ 268627 w 4519987"/>
                  <a:gd name="connsiteY125" fmla="*/ 1200150 h 4496940"/>
                  <a:gd name="connsiteX126" fmla="*/ 287677 w 4519987"/>
                  <a:gd name="connsiteY126" fmla="*/ 1152525 h 4496940"/>
                  <a:gd name="connsiteX127" fmla="*/ 316252 w 4519987"/>
                  <a:gd name="connsiteY127" fmla="*/ 1114425 h 4496940"/>
                  <a:gd name="connsiteX128" fmla="*/ 363877 w 4519987"/>
                  <a:gd name="connsiteY128" fmla="*/ 1038225 h 4496940"/>
                  <a:gd name="connsiteX129" fmla="*/ 382927 w 4519987"/>
                  <a:gd name="connsiteY129" fmla="*/ 1009650 h 4496940"/>
                  <a:gd name="connsiteX130" fmla="*/ 440077 w 4519987"/>
                  <a:gd name="connsiteY130" fmla="*/ 904875 h 4496940"/>
                  <a:gd name="connsiteX131" fmla="*/ 478177 w 4519987"/>
                  <a:gd name="connsiteY131" fmla="*/ 857250 h 4496940"/>
                  <a:gd name="connsiteX132" fmla="*/ 497227 w 4519987"/>
                  <a:gd name="connsiteY132" fmla="*/ 828675 h 4496940"/>
                  <a:gd name="connsiteX133" fmla="*/ 535327 w 4519987"/>
                  <a:gd name="connsiteY133" fmla="*/ 800100 h 4496940"/>
                  <a:gd name="connsiteX134" fmla="*/ 602002 w 4519987"/>
                  <a:gd name="connsiteY134" fmla="*/ 733425 h 4496940"/>
                  <a:gd name="connsiteX135" fmla="*/ 668677 w 4519987"/>
                  <a:gd name="connsiteY135" fmla="*/ 676275 h 4496940"/>
                  <a:gd name="connsiteX136" fmla="*/ 697252 w 4519987"/>
                  <a:gd name="connsiteY136" fmla="*/ 657225 h 4496940"/>
                  <a:gd name="connsiteX137" fmla="*/ 840127 w 4519987"/>
                  <a:gd name="connsiteY137" fmla="*/ 533400 h 4496940"/>
                  <a:gd name="connsiteX138" fmla="*/ 887752 w 4519987"/>
                  <a:gd name="connsiteY138" fmla="*/ 504825 h 4496940"/>
                  <a:gd name="connsiteX139" fmla="*/ 1167152 w 4519987"/>
                  <a:gd name="connsiteY139" fmla="*/ 311150 h 4496940"/>
                  <a:gd name="connsiteX140" fmla="*/ 1268752 w 4519987"/>
                  <a:gd name="connsiteY140" fmla="*/ 285750 h 4496940"/>
                  <a:gd name="connsiteX141" fmla="*/ 1411627 w 4519987"/>
                  <a:gd name="connsiteY141" fmla="*/ 190500 h 4496940"/>
                  <a:gd name="connsiteX142" fmla="*/ 1449727 w 4519987"/>
                  <a:gd name="connsiteY142" fmla="*/ 161925 h 4496940"/>
                  <a:gd name="connsiteX143" fmla="*/ 1525927 w 4519987"/>
                  <a:gd name="connsiteY143" fmla="*/ 152400 h 4496940"/>
                  <a:gd name="connsiteX144" fmla="*/ 1583077 w 4519987"/>
                  <a:gd name="connsiteY144" fmla="*/ 142875 h 4496940"/>
                  <a:gd name="connsiteX145" fmla="*/ 1716427 w 4519987"/>
                  <a:gd name="connsiteY145" fmla="*/ 123825 h 4496940"/>
                  <a:gd name="connsiteX146" fmla="*/ 1811677 w 4519987"/>
                  <a:gd name="connsiteY146" fmla="*/ 114300 h 4496940"/>
                  <a:gd name="connsiteX147" fmla="*/ 1859302 w 4519987"/>
                  <a:gd name="connsiteY147" fmla="*/ 104775 h 4496940"/>
                  <a:gd name="connsiteX148" fmla="*/ 1916452 w 4519987"/>
                  <a:gd name="connsiteY148" fmla="*/ 95250 h 4496940"/>
                  <a:gd name="connsiteX149" fmla="*/ 2030752 w 4519987"/>
                  <a:gd name="connsiteY149" fmla="*/ 66675 h 4496940"/>
                  <a:gd name="connsiteX150" fmla="*/ 2097427 w 4519987"/>
                  <a:gd name="connsiteY150" fmla="*/ 47625 h 4496940"/>
                  <a:gd name="connsiteX151" fmla="*/ 2164102 w 4519987"/>
                  <a:gd name="connsiteY151" fmla="*/ 38100 h 4496940"/>
                  <a:gd name="connsiteX152" fmla="*/ 2392702 w 4519987"/>
                  <a:gd name="connsiteY15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02377 w 4519987"/>
                  <a:gd name="connsiteY18" fmla="*/ 457200 h 4496940"/>
                  <a:gd name="connsiteX19" fmla="*/ 3630952 w 4519987"/>
                  <a:gd name="connsiteY19" fmla="*/ 485775 h 4496940"/>
                  <a:gd name="connsiteX20" fmla="*/ 3745252 w 4519987"/>
                  <a:gd name="connsiteY20" fmla="*/ 542925 h 4496940"/>
                  <a:gd name="connsiteX21" fmla="*/ 3811927 w 4519987"/>
                  <a:gd name="connsiteY21" fmla="*/ 581025 h 4496940"/>
                  <a:gd name="connsiteX22" fmla="*/ 3907177 w 4519987"/>
                  <a:gd name="connsiteY22" fmla="*/ 647700 h 4496940"/>
                  <a:gd name="connsiteX23" fmla="*/ 3935752 w 4519987"/>
                  <a:gd name="connsiteY23" fmla="*/ 676275 h 4496940"/>
                  <a:gd name="connsiteX24" fmla="*/ 4078627 w 4519987"/>
                  <a:gd name="connsiteY24" fmla="*/ 838200 h 4496940"/>
                  <a:gd name="connsiteX25" fmla="*/ 4135777 w 4519987"/>
                  <a:gd name="connsiteY25" fmla="*/ 933450 h 4496940"/>
                  <a:gd name="connsiteX26" fmla="*/ 4164352 w 4519987"/>
                  <a:gd name="connsiteY26" fmla="*/ 990600 h 4496940"/>
                  <a:gd name="connsiteX27" fmla="*/ 4173877 w 4519987"/>
                  <a:gd name="connsiteY27" fmla="*/ 1019175 h 4496940"/>
                  <a:gd name="connsiteX28" fmla="*/ 4192927 w 4519987"/>
                  <a:gd name="connsiteY28" fmla="*/ 1057275 h 4496940"/>
                  <a:gd name="connsiteX29" fmla="*/ 4202452 w 4519987"/>
                  <a:gd name="connsiteY29" fmla="*/ 1085850 h 4496940"/>
                  <a:gd name="connsiteX30" fmla="*/ 4250077 w 4519987"/>
                  <a:gd name="connsiteY30" fmla="*/ 1143000 h 4496940"/>
                  <a:gd name="connsiteX31" fmla="*/ 4259602 w 4519987"/>
                  <a:gd name="connsiteY31" fmla="*/ 1190625 h 4496940"/>
                  <a:gd name="connsiteX32" fmla="*/ 4307227 w 4519987"/>
                  <a:gd name="connsiteY32" fmla="*/ 1266825 h 4496940"/>
                  <a:gd name="connsiteX33" fmla="*/ 4345327 w 4519987"/>
                  <a:gd name="connsiteY33" fmla="*/ 1362075 h 4496940"/>
                  <a:gd name="connsiteX34" fmla="*/ 4373902 w 4519987"/>
                  <a:gd name="connsiteY34" fmla="*/ 1428750 h 4496940"/>
                  <a:gd name="connsiteX35" fmla="*/ 4392952 w 4519987"/>
                  <a:gd name="connsiteY35" fmla="*/ 1552575 h 4496940"/>
                  <a:gd name="connsiteX36" fmla="*/ 4402477 w 4519987"/>
                  <a:gd name="connsiteY36" fmla="*/ 1590675 h 4496940"/>
                  <a:gd name="connsiteX37" fmla="*/ 4431052 w 4519987"/>
                  <a:gd name="connsiteY37" fmla="*/ 1685925 h 4496940"/>
                  <a:gd name="connsiteX38" fmla="*/ 4519952 w 4519987"/>
                  <a:gd name="connsiteY38" fmla="*/ 2181225 h 4496940"/>
                  <a:gd name="connsiteX39" fmla="*/ 4446927 w 4519987"/>
                  <a:gd name="connsiteY39" fmla="*/ 2768600 h 4496940"/>
                  <a:gd name="connsiteX40" fmla="*/ 4383427 w 4519987"/>
                  <a:gd name="connsiteY40" fmla="*/ 2990850 h 4496940"/>
                  <a:gd name="connsiteX41" fmla="*/ 4278652 w 4519987"/>
                  <a:gd name="connsiteY41" fmla="*/ 3248025 h 4496940"/>
                  <a:gd name="connsiteX42" fmla="*/ 4259602 w 4519987"/>
                  <a:gd name="connsiteY42" fmla="*/ 3276600 h 4496940"/>
                  <a:gd name="connsiteX43" fmla="*/ 4221502 w 4519987"/>
                  <a:gd name="connsiteY43" fmla="*/ 3333750 h 4496940"/>
                  <a:gd name="connsiteX44" fmla="*/ 4211977 w 4519987"/>
                  <a:gd name="connsiteY44" fmla="*/ 3362325 h 4496940"/>
                  <a:gd name="connsiteX45" fmla="*/ 4183402 w 4519987"/>
                  <a:gd name="connsiteY45" fmla="*/ 3400425 h 4496940"/>
                  <a:gd name="connsiteX46" fmla="*/ 4164352 w 4519987"/>
                  <a:gd name="connsiteY46" fmla="*/ 3429000 h 4496940"/>
                  <a:gd name="connsiteX47" fmla="*/ 4088152 w 4519987"/>
                  <a:gd name="connsiteY47" fmla="*/ 3495675 h 4496940"/>
                  <a:gd name="connsiteX48" fmla="*/ 4059577 w 4519987"/>
                  <a:gd name="connsiteY48" fmla="*/ 3533775 h 4496940"/>
                  <a:gd name="connsiteX49" fmla="*/ 4002427 w 4519987"/>
                  <a:gd name="connsiteY49" fmla="*/ 3600450 h 4496940"/>
                  <a:gd name="connsiteX50" fmla="*/ 3983377 w 4519987"/>
                  <a:gd name="connsiteY50" fmla="*/ 3629025 h 4496940"/>
                  <a:gd name="connsiteX51" fmla="*/ 3954802 w 4519987"/>
                  <a:gd name="connsiteY51" fmla="*/ 3648075 h 4496940"/>
                  <a:gd name="connsiteX52" fmla="*/ 3907177 w 4519987"/>
                  <a:gd name="connsiteY52" fmla="*/ 3686175 h 4496940"/>
                  <a:gd name="connsiteX53" fmla="*/ 3869077 w 4519987"/>
                  <a:gd name="connsiteY53" fmla="*/ 3724275 h 4496940"/>
                  <a:gd name="connsiteX54" fmla="*/ 3792877 w 4519987"/>
                  <a:gd name="connsiteY54" fmla="*/ 3781425 h 4496940"/>
                  <a:gd name="connsiteX55" fmla="*/ 3783352 w 4519987"/>
                  <a:gd name="connsiteY55" fmla="*/ 3810000 h 4496940"/>
                  <a:gd name="connsiteX56" fmla="*/ 3745252 w 4519987"/>
                  <a:gd name="connsiteY56" fmla="*/ 3819525 h 4496940"/>
                  <a:gd name="connsiteX57" fmla="*/ 3678577 w 4519987"/>
                  <a:gd name="connsiteY57" fmla="*/ 3848100 h 4496940"/>
                  <a:gd name="connsiteX58" fmla="*/ 3659527 w 4519987"/>
                  <a:gd name="connsiteY58" fmla="*/ 3971925 h 4496940"/>
                  <a:gd name="connsiteX59" fmla="*/ 3630952 w 4519987"/>
                  <a:gd name="connsiteY59" fmla="*/ 4010025 h 4496940"/>
                  <a:gd name="connsiteX60" fmla="*/ 3621427 w 4519987"/>
                  <a:gd name="connsiteY60" fmla="*/ 4038600 h 4496940"/>
                  <a:gd name="connsiteX61" fmla="*/ 3554752 w 4519987"/>
                  <a:gd name="connsiteY61" fmla="*/ 4095750 h 4496940"/>
                  <a:gd name="connsiteX62" fmla="*/ 3516652 w 4519987"/>
                  <a:gd name="connsiteY62" fmla="*/ 4114800 h 4496940"/>
                  <a:gd name="connsiteX63" fmla="*/ 3497602 w 4519987"/>
                  <a:gd name="connsiteY63" fmla="*/ 4143375 h 4496940"/>
                  <a:gd name="connsiteX64" fmla="*/ 3383302 w 4519987"/>
                  <a:gd name="connsiteY64" fmla="*/ 4210050 h 4496940"/>
                  <a:gd name="connsiteX65" fmla="*/ 3335677 w 4519987"/>
                  <a:gd name="connsiteY65" fmla="*/ 4238625 h 4496940"/>
                  <a:gd name="connsiteX66" fmla="*/ 3288052 w 4519987"/>
                  <a:gd name="connsiteY66" fmla="*/ 4248150 h 4496940"/>
                  <a:gd name="connsiteX67" fmla="*/ 3240427 w 4519987"/>
                  <a:gd name="connsiteY67" fmla="*/ 4267200 h 4496940"/>
                  <a:gd name="connsiteX68" fmla="*/ 3068977 w 4519987"/>
                  <a:gd name="connsiteY68" fmla="*/ 4286250 h 4496940"/>
                  <a:gd name="connsiteX69" fmla="*/ 2935627 w 4519987"/>
                  <a:gd name="connsiteY69" fmla="*/ 4333875 h 4496940"/>
                  <a:gd name="connsiteX70" fmla="*/ 2811802 w 4519987"/>
                  <a:gd name="connsiteY70" fmla="*/ 4371975 h 4496940"/>
                  <a:gd name="connsiteX71" fmla="*/ 2745127 w 4519987"/>
                  <a:gd name="connsiteY71" fmla="*/ 4410075 h 4496940"/>
                  <a:gd name="connsiteX72" fmla="*/ 2697502 w 4519987"/>
                  <a:gd name="connsiteY72" fmla="*/ 4429125 h 4496940"/>
                  <a:gd name="connsiteX73" fmla="*/ 2640352 w 4519987"/>
                  <a:gd name="connsiteY73" fmla="*/ 4457700 h 4496940"/>
                  <a:gd name="connsiteX74" fmla="*/ 2583202 w 4519987"/>
                  <a:gd name="connsiteY74" fmla="*/ 4467225 h 4496940"/>
                  <a:gd name="connsiteX75" fmla="*/ 2545102 w 4519987"/>
                  <a:gd name="connsiteY75" fmla="*/ 4486275 h 4496940"/>
                  <a:gd name="connsiteX76" fmla="*/ 2306977 w 4519987"/>
                  <a:gd name="connsiteY76" fmla="*/ 4476750 h 4496940"/>
                  <a:gd name="connsiteX77" fmla="*/ 2202202 w 4519987"/>
                  <a:gd name="connsiteY77" fmla="*/ 4457700 h 4496940"/>
                  <a:gd name="connsiteX78" fmla="*/ 2126002 w 4519987"/>
                  <a:gd name="connsiteY78" fmla="*/ 4429125 h 4496940"/>
                  <a:gd name="connsiteX79" fmla="*/ 1935502 w 4519987"/>
                  <a:gd name="connsiteY79" fmla="*/ 4400550 h 4496940"/>
                  <a:gd name="connsiteX80" fmla="*/ 1821202 w 4519987"/>
                  <a:gd name="connsiteY80" fmla="*/ 4371975 h 4496940"/>
                  <a:gd name="connsiteX81" fmla="*/ 1754527 w 4519987"/>
                  <a:gd name="connsiteY81" fmla="*/ 4352925 h 4496940"/>
                  <a:gd name="connsiteX82" fmla="*/ 1687852 w 4519987"/>
                  <a:gd name="connsiteY82" fmla="*/ 4343400 h 4496940"/>
                  <a:gd name="connsiteX83" fmla="*/ 1573552 w 4519987"/>
                  <a:gd name="connsiteY83" fmla="*/ 4305300 h 4496940"/>
                  <a:gd name="connsiteX84" fmla="*/ 1402102 w 4519987"/>
                  <a:gd name="connsiteY84" fmla="*/ 4276725 h 4496940"/>
                  <a:gd name="connsiteX85" fmla="*/ 1287802 w 4519987"/>
                  <a:gd name="connsiteY85" fmla="*/ 4229100 h 4496940"/>
                  <a:gd name="connsiteX86" fmla="*/ 1221127 w 4519987"/>
                  <a:gd name="connsiteY86" fmla="*/ 4200525 h 4496940"/>
                  <a:gd name="connsiteX87" fmla="*/ 1144927 w 4519987"/>
                  <a:gd name="connsiteY87" fmla="*/ 4171950 h 4496940"/>
                  <a:gd name="connsiteX88" fmla="*/ 1087777 w 4519987"/>
                  <a:gd name="connsiteY88" fmla="*/ 4143375 h 4496940"/>
                  <a:gd name="connsiteX89" fmla="*/ 1030627 w 4519987"/>
                  <a:gd name="connsiteY89" fmla="*/ 4124325 h 4496940"/>
                  <a:gd name="connsiteX90" fmla="*/ 925852 w 4519987"/>
                  <a:gd name="connsiteY90" fmla="*/ 4067175 h 4496940"/>
                  <a:gd name="connsiteX91" fmla="*/ 830602 w 4519987"/>
                  <a:gd name="connsiteY91" fmla="*/ 3981450 h 4496940"/>
                  <a:gd name="connsiteX92" fmla="*/ 763927 w 4519987"/>
                  <a:gd name="connsiteY92" fmla="*/ 3914775 h 4496940"/>
                  <a:gd name="connsiteX93" fmla="*/ 725827 w 4519987"/>
                  <a:gd name="connsiteY93" fmla="*/ 3876675 h 4496940"/>
                  <a:gd name="connsiteX94" fmla="*/ 697252 w 4519987"/>
                  <a:gd name="connsiteY94" fmla="*/ 3838575 h 4496940"/>
                  <a:gd name="connsiteX95" fmla="*/ 640102 w 4519987"/>
                  <a:gd name="connsiteY95" fmla="*/ 3781425 h 4496940"/>
                  <a:gd name="connsiteX96" fmla="*/ 611527 w 4519987"/>
                  <a:gd name="connsiteY96" fmla="*/ 3733800 h 4496940"/>
                  <a:gd name="connsiteX97" fmla="*/ 554377 w 4519987"/>
                  <a:gd name="connsiteY97" fmla="*/ 3657600 h 4496940"/>
                  <a:gd name="connsiteX98" fmla="*/ 525802 w 4519987"/>
                  <a:gd name="connsiteY98" fmla="*/ 3609975 h 4496940"/>
                  <a:gd name="connsiteX99" fmla="*/ 497227 w 4519987"/>
                  <a:gd name="connsiteY99" fmla="*/ 3552825 h 4496940"/>
                  <a:gd name="connsiteX100" fmla="*/ 440077 w 4519987"/>
                  <a:gd name="connsiteY100" fmla="*/ 3495675 h 4496940"/>
                  <a:gd name="connsiteX101" fmla="*/ 411502 w 4519987"/>
                  <a:gd name="connsiteY101" fmla="*/ 3448050 h 4496940"/>
                  <a:gd name="connsiteX102" fmla="*/ 278152 w 4519987"/>
                  <a:gd name="connsiteY102" fmla="*/ 3257550 h 4496940"/>
                  <a:gd name="connsiteX103" fmla="*/ 249577 w 4519987"/>
                  <a:gd name="connsiteY103" fmla="*/ 3200400 h 4496940"/>
                  <a:gd name="connsiteX104" fmla="*/ 240052 w 4519987"/>
                  <a:gd name="connsiteY104" fmla="*/ 3162300 h 4496940"/>
                  <a:gd name="connsiteX105" fmla="*/ 221002 w 4519987"/>
                  <a:gd name="connsiteY105" fmla="*/ 3105150 h 4496940"/>
                  <a:gd name="connsiteX106" fmla="*/ 173377 w 4519987"/>
                  <a:gd name="connsiteY106" fmla="*/ 3019425 h 4496940"/>
                  <a:gd name="connsiteX107" fmla="*/ 144802 w 4519987"/>
                  <a:gd name="connsiteY107" fmla="*/ 2924175 h 4496940"/>
                  <a:gd name="connsiteX108" fmla="*/ 68602 w 4519987"/>
                  <a:gd name="connsiteY108" fmla="*/ 2724150 h 4496940"/>
                  <a:gd name="connsiteX109" fmla="*/ 49552 w 4519987"/>
                  <a:gd name="connsiteY109" fmla="*/ 2638425 h 4496940"/>
                  <a:gd name="connsiteX110" fmla="*/ 40027 w 4519987"/>
                  <a:gd name="connsiteY110" fmla="*/ 2562225 h 4496940"/>
                  <a:gd name="connsiteX111" fmla="*/ 30502 w 4519987"/>
                  <a:gd name="connsiteY111" fmla="*/ 2514600 h 4496940"/>
                  <a:gd name="connsiteX112" fmla="*/ 11452 w 4519987"/>
                  <a:gd name="connsiteY112" fmla="*/ 2400300 h 4496940"/>
                  <a:gd name="connsiteX113" fmla="*/ 20977 w 4519987"/>
                  <a:gd name="connsiteY113" fmla="*/ 1905000 h 4496940"/>
                  <a:gd name="connsiteX114" fmla="*/ 30502 w 4519987"/>
                  <a:gd name="connsiteY114" fmla="*/ 1838325 h 4496940"/>
                  <a:gd name="connsiteX115" fmla="*/ 49552 w 4519987"/>
                  <a:gd name="connsiteY115" fmla="*/ 1781175 h 4496940"/>
                  <a:gd name="connsiteX116" fmla="*/ 59077 w 4519987"/>
                  <a:gd name="connsiteY116" fmla="*/ 1743075 h 4496940"/>
                  <a:gd name="connsiteX117" fmla="*/ 78127 w 4519987"/>
                  <a:gd name="connsiteY117" fmla="*/ 1685925 h 4496940"/>
                  <a:gd name="connsiteX118" fmla="*/ 87652 w 4519987"/>
                  <a:gd name="connsiteY118" fmla="*/ 1638300 h 4496940"/>
                  <a:gd name="connsiteX119" fmla="*/ 106702 w 4519987"/>
                  <a:gd name="connsiteY119" fmla="*/ 1590675 h 4496940"/>
                  <a:gd name="connsiteX120" fmla="*/ 135277 w 4519987"/>
                  <a:gd name="connsiteY120" fmla="*/ 1504950 h 4496940"/>
                  <a:gd name="connsiteX121" fmla="*/ 154327 w 4519987"/>
                  <a:gd name="connsiteY121" fmla="*/ 1419225 h 4496940"/>
                  <a:gd name="connsiteX122" fmla="*/ 230527 w 4519987"/>
                  <a:gd name="connsiteY122" fmla="*/ 1276350 h 4496940"/>
                  <a:gd name="connsiteX123" fmla="*/ 240052 w 4519987"/>
                  <a:gd name="connsiteY123" fmla="*/ 1247775 h 4496940"/>
                  <a:gd name="connsiteX124" fmla="*/ 268627 w 4519987"/>
                  <a:gd name="connsiteY124" fmla="*/ 1200150 h 4496940"/>
                  <a:gd name="connsiteX125" fmla="*/ 287677 w 4519987"/>
                  <a:gd name="connsiteY125" fmla="*/ 1152525 h 4496940"/>
                  <a:gd name="connsiteX126" fmla="*/ 316252 w 4519987"/>
                  <a:gd name="connsiteY126" fmla="*/ 1114425 h 4496940"/>
                  <a:gd name="connsiteX127" fmla="*/ 363877 w 4519987"/>
                  <a:gd name="connsiteY127" fmla="*/ 1038225 h 4496940"/>
                  <a:gd name="connsiteX128" fmla="*/ 382927 w 4519987"/>
                  <a:gd name="connsiteY128" fmla="*/ 1009650 h 4496940"/>
                  <a:gd name="connsiteX129" fmla="*/ 440077 w 4519987"/>
                  <a:gd name="connsiteY129" fmla="*/ 904875 h 4496940"/>
                  <a:gd name="connsiteX130" fmla="*/ 478177 w 4519987"/>
                  <a:gd name="connsiteY130" fmla="*/ 857250 h 4496940"/>
                  <a:gd name="connsiteX131" fmla="*/ 497227 w 4519987"/>
                  <a:gd name="connsiteY131" fmla="*/ 828675 h 4496940"/>
                  <a:gd name="connsiteX132" fmla="*/ 535327 w 4519987"/>
                  <a:gd name="connsiteY132" fmla="*/ 800100 h 4496940"/>
                  <a:gd name="connsiteX133" fmla="*/ 602002 w 4519987"/>
                  <a:gd name="connsiteY133" fmla="*/ 733425 h 4496940"/>
                  <a:gd name="connsiteX134" fmla="*/ 668677 w 4519987"/>
                  <a:gd name="connsiteY134" fmla="*/ 676275 h 4496940"/>
                  <a:gd name="connsiteX135" fmla="*/ 697252 w 4519987"/>
                  <a:gd name="connsiteY135" fmla="*/ 657225 h 4496940"/>
                  <a:gd name="connsiteX136" fmla="*/ 840127 w 4519987"/>
                  <a:gd name="connsiteY136" fmla="*/ 533400 h 4496940"/>
                  <a:gd name="connsiteX137" fmla="*/ 887752 w 4519987"/>
                  <a:gd name="connsiteY137" fmla="*/ 504825 h 4496940"/>
                  <a:gd name="connsiteX138" fmla="*/ 1167152 w 4519987"/>
                  <a:gd name="connsiteY138" fmla="*/ 311150 h 4496940"/>
                  <a:gd name="connsiteX139" fmla="*/ 1268752 w 4519987"/>
                  <a:gd name="connsiteY139" fmla="*/ 285750 h 4496940"/>
                  <a:gd name="connsiteX140" fmla="*/ 1411627 w 4519987"/>
                  <a:gd name="connsiteY140" fmla="*/ 190500 h 4496940"/>
                  <a:gd name="connsiteX141" fmla="*/ 1449727 w 4519987"/>
                  <a:gd name="connsiteY141" fmla="*/ 161925 h 4496940"/>
                  <a:gd name="connsiteX142" fmla="*/ 1525927 w 4519987"/>
                  <a:gd name="connsiteY142" fmla="*/ 152400 h 4496940"/>
                  <a:gd name="connsiteX143" fmla="*/ 1583077 w 4519987"/>
                  <a:gd name="connsiteY143" fmla="*/ 142875 h 4496940"/>
                  <a:gd name="connsiteX144" fmla="*/ 1716427 w 4519987"/>
                  <a:gd name="connsiteY144" fmla="*/ 123825 h 4496940"/>
                  <a:gd name="connsiteX145" fmla="*/ 1811677 w 4519987"/>
                  <a:gd name="connsiteY145" fmla="*/ 114300 h 4496940"/>
                  <a:gd name="connsiteX146" fmla="*/ 1859302 w 4519987"/>
                  <a:gd name="connsiteY146" fmla="*/ 104775 h 4496940"/>
                  <a:gd name="connsiteX147" fmla="*/ 1916452 w 4519987"/>
                  <a:gd name="connsiteY147" fmla="*/ 95250 h 4496940"/>
                  <a:gd name="connsiteX148" fmla="*/ 2030752 w 4519987"/>
                  <a:gd name="connsiteY148" fmla="*/ 66675 h 4496940"/>
                  <a:gd name="connsiteX149" fmla="*/ 2097427 w 4519987"/>
                  <a:gd name="connsiteY149" fmla="*/ 47625 h 4496940"/>
                  <a:gd name="connsiteX150" fmla="*/ 2164102 w 4519987"/>
                  <a:gd name="connsiteY150" fmla="*/ 38100 h 4496940"/>
                  <a:gd name="connsiteX151" fmla="*/ 2392702 w 4519987"/>
                  <a:gd name="connsiteY15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3907177 w 4519987"/>
                  <a:gd name="connsiteY21" fmla="*/ 647700 h 4496940"/>
                  <a:gd name="connsiteX22" fmla="*/ 3935752 w 4519987"/>
                  <a:gd name="connsiteY22" fmla="*/ 676275 h 4496940"/>
                  <a:gd name="connsiteX23" fmla="*/ 4078627 w 4519987"/>
                  <a:gd name="connsiteY23" fmla="*/ 838200 h 4496940"/>
                  <a:gd name="connsiteX24" fmla="*/ 4135777 w 4519987"/>
                  <a:gd name="connsiteY24" fmla="*/ 933450 h 4496940"/>
                  <a:gd name="connsiteX25" fmla="*/ 4164352 w 4519987"/>
                  <a:gd name="connsiteY25" fmla="*/ 990600 h 4496940"/>
                  <a:gd name="connsiteX26" fmla="*/ 4173877 w 4519987"/>
                  <a:gd name="connsiteY26" fmla="*/ 1019175 h 4496940"/>
                  <a:gd name="connsiteX27" fmla="*/ 4192927 w 4519987"/>
                  <a:gd name="connsiteY27" fmla="*/ 1057275 h 4496940"/>
                  <a:gd name="connsiteX28" fmla="*/ 4202452 w 4519987"/>
                  <a:gd name="connsiteY28" fmla="*/ 1085850 h 4496940"/>
                  <a:gd name="connsiteX29" fmla="*/ 4250077 w 4519987"/>
                  <a:gd name="connsiteY29" fmla="*/ 1143000 h 4496940"/>
                  <a:gd name="connsiteX30" fmla="*/ 4259602 w 4519987"/>
                  <a:gd name="connsiteY30" fmla="*/ 1190625 h 4496940"/>
                  <a:gd name="connsiteX31" fmla="*/ 4307227 w 4519987"/>
                  <a:gd name="connsiteY31" fmla="*/ 1266825 h 4496940"/>
                  <a:gd name="connsiteX32" fmla="*/ 4345327 w 4519987"/>
                  <a:gd name="connsiteY32" fmla="*/ 1362075 h 4496940"/>
                  <a:gd name="connsiteX33" fmla="*/ 4373902 w 4519987"/>
                  <a:gd name="connsiteY33" fmla="*/ 1428750 h 4496940"/>
                  <a:gd name="connsiteX34" fmla="*/ 4392952 w 4519987"/>
                  <a:gd name="connsiteY34" fmla="*/ 1552575 h 4496940"/>
                  <a:gd name="connsiteX35" fmla="*/ 4402477 w 4519987"/>
                  <a:gd name="connsiteY35" fmla="*/ 1590675 h 4496940"/>
                  <a:gd name="connsiteX36" fmla="*/ 4431052 w 4519987"/>
                  <a:gd name="connsiteY36" fmla="*/ 1685925 h 4496940"/>
                  <a:gd name="connsiteX37" fmla="*/ 4519952 w 4519987"/>
                  <a:gd name="connsiteY37" fmla="*/ 2181225 h 4496940"/>
                  <a:gd name="connsiteX38" fmla="*/ 4446927 w 4519987"/>
                  <a:gd name="connsiteY38" fmla="*/ 2768600 h 4496940"/>
                  <a:gd name="connsiteX39" fmla="*/ 4383427 w 4519987"/>
                  <a:gd name="connsiteY39" fmla="*/ 2990850 h 4496940"/>
                  <a:gd name="connsiteX40" fmla="*/ 4278652 w 4519987"/>
                  <a:gd name="connsiteY40" fmla="*/ 3248025 h 4496940"/>
                  <a:gd name="connsiteX41" fmla="*/ 4259602 w 4519987"/>
                  <a:gd name="connsiteY41" fmla="*/ 3276600 h 4496940"/>
                  <a:gd name="connsiteX42" fmla="*/ 4221502 w 4519987"/>
                  <a:gd name="connsiteY42" fmla="*/ 3333750 h 4496940"/>
                  <a:gd name="connsiteX43" fmla="*/ 4211977 w 4519987"/>
                  <a:gd name="connsiteY43" fmla="*/ 3362325 h 4496940"/>
                  <a:gd name="connsiteX44" fmla="*/ 4183402 w 4519987"/>
                  <a:gd name="connsiteY44" fmla="*/ 3400425 h 4496940"/>
                  <a:gd name="connsiteX45" fmla="*/ 4164352 w 4519987"/>
                  <a:gd name="connsiteY45" fmla="*/ 3429000 h 4496940"/>
                  <a:gd name="connsiteX46" fmla="*/ 4088152 w 4519987"/>
                  <a:gd name="connsiteY46" fmla="*/ 3495675 h 4496940"/>
                  <a:gd name="connsiteX47" fmla="*/ 4059577 w 4519987"/>
                  <a:gd name="connsiteY47" fmla="*/ 3533775 h 4496940"/>
                  <a:gd name="connsiteX48" fmla="*/ 4002427 w 4519987"/>
                  <a:gd name="connsiteY48" fmla="*/ 3600450 h 4496940"/>
                  <a:gd name="connsiteX49" fmla="*/ 3983377 w 4519987"/>
                  <a:gd name="connsiteY49" fmla="*/ 3629025 h 4496940"/>
                  <a:gd name="connsiteX50" fmla="*/ 3954802 w 4519987"/>
                  <a:gd name="connsiteY50" fmla="*/ 3648075 h 4496940"/>
                  <a:gd name="connsiteX51" fmla="*/ 3907177 w 4519987"/>
                  <a:gd name="connsiteY51" fmla="*/ 3686175 h 4496940"/>
                  <a:gd name="connsiteX52" fmla="*/ 3869077 w 4519987"/>
                  <a:gd name="connsiteY52" fmla="*/ 3724275 h 4496940"/>
                  <a:gd name="connsiteX53" fmla="*/ 3792877 w 4519987"/>
                  <a:gd name="connsiteY53" fmla="*/ 3781425 h 4496940"/>
                  <a:gd name="connsiteX54" fmla="*/ 3783352 w 4519987"/>
                  <a:gd name="connsiteY54" fmla="*/ 3810000 h 4496940"/>
                  <a:gd name="connsiteX55" fmla="*/ 3745252 w 4519987"/>
                  <a:gd name="connsiteY55" fmla="*/ 3819525 h 4496940"/>
                  <a:gd name="connsiteX56" fmla="*/ 3678577 w 4519987"/>
                  <a:gd name="connsiteY56" fmla="*/ 3848100 h 4496940"/>
                  <a:gd name="connsiteX57" fmla="*/ 3659527 w 4519987"/>
                  <a:gd name="connsiteY57" fmla="*/ 3971925 h 4496940"/>
                  <a:gd name="connsiteX58" fmla="*/ 3630952 w 4519987"/>
                  <a:gd name="connsiteY58" fmla="*/ 4010025 h 4496940"/>
                  <a:gd name="connsiteX59" fmla="*/ 3621427 w 4519987"/>
                  <a:gd name="connsiteY59" fmla="*/ 4038600 h 4496940"/>
                  <a:gd name="connsiteX60" fmla="*/ 3554752 w 4519987"/>
                  <a:gd name="connsiteY60" fmla="*/ 4095750 h 4496940"/>
                  <a:gd name="connsiteX61" fmla="*/ 3516652 w 4519987"/>
                  <a:gd name="connsiteY61" fmla="*/ 4114800 h 4496940"/>
                  <a:gd name="connsiteX62" fmla="*/ 3497602 w 4519987"/>
                  <a:gd name="connsiteY62" fmla="*/ 4143375 h 4496940"/>
                  <a:gd name="connsiteX63" fmla="*/ 3383302 w 4519987"/>
                  <a:gd name="connsiteY63" fmla="*/ 4210050 h 4496940"/>
                  <a:gd name="connsiteX64" fmla="*/ 3335677 w 4519987"/>
                  <a:gd name="connsiteY64" fmla="*/ 4238625 h 4496940"/>
                  <a:gd name="connsiteX65" fmla="*/ 3288052 w 4519987"/>
                  <a:gd name="connsiteY65" fmla="*/ 4248150 h 4496940"/>
                  <a:gd name="connsiteX66" fmla="*/ 3240427 w 4519987"/>
                  <a:gd name="connsiteY66" fmla="*/ 4267200 h 4496940"/>
                  <a:gd name="connsiteX67" fmla="*/ 3068977 w 4519987"/>
                  <a:gd name="connsiteY67" fmla="*/ 4286250 h 4496940"/>
                  <a:gd name="connsiteX68" fmla="*/ 2935627 w 4519987"/>
                  <a:gd name="connsiteY68" fmla="*/ 4333875 h 4496940"/>
                  <a:gd name="connsiteX69" fmla="*/ 2811802 w 4519987"/>
                  <a:gd name="connsiteY69" fmla="*/ 4371975 h 4496940"/>
                  <a:gd name="connsiteX70" fmla="*/ 2745127 w 4519987"/>
                  <a:gd name="connsiteY70" fmla="*/ 4410075 h 4496940"/>
                  <a:gd name="connsiteX71" fmla="*/ 2697502 w 4519987"/>
                  <a:gd name="connsiteY71" fmla="*/ 4429125 h 4496940"/>
                  <a:gd name="connsiteX72" fmla="*/ 2640352 w 4519987"/>
                  <a:gd name="connsiteY72" fmla="*/ 4457700 h 4496940"/>
                  <a:gd name="connsiteX73" fmla="*/ 2583202 w 4519987"/>
                  <a:gd name="connsiteY73" fmla="*/ 4467225 h 4496940"/>
                  <a:gd name="connsiteX74" fmla="*/ 2545102 w 4519987"/>
                  <a:gd name="connsiteY74" fmla="*/ 4486275 h 4496940"/>
                  <a:gd name="connsiteX75" fmla="*/ 2306977 w 4519987"/>
                  <a:gd name="connsiteY75" fmla="*/ 4476750 h 4496940"/>
                  <a:gd name="connsiteX76" fmla="*/ 2202202 w 4519987"/>
                  <a:gd name="connsiteY76" fmla="*/ 4457700 h 4496940"/>
                  <a:gd name="connsiteX77" fmla="*/ 2126002 w 4519987"/>
                  <a:gd name="connsiteY77" fmla="*/ 4429125 h 4496940"/>
                  <a:gd name="connsiteX78" fmla="*/ 1935502 w 4519987"/>
                  <a:gd name="connsiteY78" fmla="*/ 4400550 h 4496940"/>
                  <a:gd name="connsiteX79" fmla="*/ 1821202 w 4519987"/>
                  <a:gd name="connsiteY79" fmla="*/ 4371975 h 4496940"/>
                  <a:gd name="connsiteX80" fmla="*/ 1754527 w 4519987"/>
                  <a:gd name="connsiteY80" fmla="*/ 4352925 h 4496940"/>
                  <a:gd name="connsiteX81" fmla="*/ 1687852 w 4519987"/>
                  <a:gd name="connsiteY81" fmla="*/ 4343400 h 4496940"/>
                  <a:gd name="connsiteX82" fmla="*/ 1573552 w 4519987"/>
                  <a:gd name="connsiteY82" fmla="*/ 4305300 h 4496940"/>
                  <a:gd name="connsiteX83" fmla="*/ 1402102 w 4519987"/>
                  <a:gd name="connsiteY83" fmla="*/ 4276725 h 4496940"/>
                  <a:gd name="connsiteX84" fmla="*/ 1287802 w 4519987"/>
                  <a:gd name="connsiteY84" fmla="*/ 4229100 h 4496940"/>
                  <a:gd name="connsiteX85" fmla="*/ 1221127 w 4519987"/>
                  <a:gd name="connsiteY85" fmla="*/ 4200525 h 4496940"/>
                  <a:gd name="connsiteX86" fmla="*/ 1144927 w 4519987"/>
                  <a:gd name="connsiteY86" fmla="*/ 4171950 h 4496940"/>
                  <a:gd name="connsiteX87" fmla="*/ 1087777 w 4519987"/>
                  <a:gd name="connsiteY87" fmla="*/ 4143375 h 4496940"/>
                  <a:gd name="connsiteX88" fmla="*/ 1030627 w 4519987"/>
                  <a:gd name="connsiteY88" fmla="*/ 4124325 h 4496940"/>
                  <a:gd name="connsiteX89" fmla="*/ 925852 w 4519987"/>
                  <a:gd name="connsiteY89" fmla="*/ 4067175 h 4496940"/>
                  <a:gd name="connsiteX90" fmla="*/ 830602 w 4519987"/>
                  <a:gd name="connsiteY90" fmla="*/ 3981450 h 4496940"/>
                  <a:gd name="connsiteX91" fmla="*/ 763927 w 4519987"/>
                  <a:gd name="connsiteY91" fmla="*/ 3914775 h 4496940"/>
                  <a:gd name="connsiteX92" fmla="*/ 725827 w 4519987"/>
                  <a:gd name="connsiteY92" fmla="*/ 3876675 h 4496940"/>
                  <a:gd name="connsiteX93" fmla="*/ 697252 w 4519987"/>
                  <a:gd name="connsiteY93" fmla="*/ 3838575 h 4496940"/>
                  <a:gd name="connsiteX94" fmla="*/ 640102 w 4519987"/>
                  <a:gd name="connsiteY94" fmla="*/ 3781425 h 4496940"/>
                  <a:gd name="connsiteX95" fmla="*/ 611527 w 4519987"/>
                  <a:gd name="connsiteY95" fmla="*/ 3733800 h 4496940"/>
                  <a:gd name="connsiteX96" fmla="*/ 554377 w 4519987"/>
                  <a:gd name="connsiteY96" fmla="*/ 3657600 h 4496940"/>
                  <a:gd name="connsiteX97" fmla="*/ 525802 w 4519987"/>
                  <a:gd name="connsiteY97" fmla="*/ 3609975 h 4496940"/>
                  <a:gd name="connsiteX98" fmla="*/ 497227 w 4519987"/>
                  <a:gd name="connsiteY98" fmla="*/ 3552825 h 4496940"/>
                  <a:gd name="connsiteX99" fmla="*/ 440077 w 4519987"/>
                  <a:gd name="connsiteY99" fmla="*/ 3495675 h 4496940"/>
                  <a:gd name="connsiteX100" fmla="*/ 411502 w 4519987"/>
                  <a:gd name="connsiteY100" fmla="*/ 3448050 h 4496940"/>
                  <a:gd name="connsiteX101" fmla="*/ 278152 w 4519987"/>
                  <a:gd name="connsiteY101" fmla="*/ 3257550 h 4496940"/>
                  <a:gd name="connsiteX102" fmla="*/ 249577 w 4519987"/>
                  <a:gd name="connsiteY102" fmla="*/ 3200400 h 4496940"/>
                  <a:gd name="connsiteX103" fmla="*/ 240052 w 4519987"/>
                  <a:gd name="connsiteY103" fmla="*/ 3162300 h 4496940"/>
                  <a:gd name="connsiteX104" fmla="*/ 221002 w 4519987"/>
                  <a:gd name="connsiteY104" fmla="*/ 3105150 h 4496940"/>
                  <a:gd name="connsiteX105" fmla="*/ 173377 w 4519987"/>
                  <a:gd name="connsiteY105" fmla="*/ 3019425 h 4496940"/>
                  <a:gd name="connsiteX106" fmla="*/ 144802 w 4519987"/>
                  <a:gd name="connsiteY106" fmla="*/ 2924175 h 4496940"/>
                  <a:gd name="connsiteX107" fmla="*/ 68602 w 4519987"/>
                  <a:gd name="connsiteY107" fmla="*/ 2724150 h 4496940"/>
                  <a:gd name="connsiteX108" fmla="*/ 49552 w 4519987"/>
                  <a:gd name="connsiteY108" fmla="*/ 2638425 h 4496940"/>
                  <a:gd name="connsiteX109" fmla="*/ 40027 w 4519987"/>
                  <a:gd name="connsiteY109" fmla="*/ 2562225 h 4496940"/>
                  <a:gd name="connsiteX110" fmla="*/ 30502 w 4519987"/>
                  <a:gd name="connsiteY110" fmla="*/ 2514600 h 4496940"/>
                  <a:gd name="connsiteX111" fmla="*/ 11452 w 4519987"/>
                  <a:gd name="connsiteY111" fmla="*/ 2400300 h 4496940"/>
                  <a:gd name="connsiteX112" fmla="*/ 20977 w 4519987"/>
                  <a:gd name="connsiteY112" fmla="*/ 1905000 h 4496940"/>
                  <a:gd name="connsiteX113" fmla="*/ 30502 w 4519987"/>
                  <a:gd name="connsiteY113" fmla="*/ 1838325 h 4496940"/>
                  <a:gd name="connsiteX114" fmla="*/ 49552 w 4519987"/>
                  <a:gd name="connsiteY114" fmla="*/ 1781175 h 4496940"/>
                  <a:gd name="connsiteX115" fmla="*/ 59077 w 4519987"/>
                  <a:gd name="connsiteY115" fmla="*/ 1743075 h 4496940"/>
                  <a:gd name="connsiteX116" fmla="*/ 78127 w 4519987"/>
                  <a:gd name="connsiteY116" fmla="*/ 1685925 h 4496940"/>
                  <a:gd name="connsiteX117" fmla="*/ 87652 w 4519987"/>
                  <a:gd name="connsiteY117" fmla="*/ 1638300 h 4496940"/>
                  <a:gd name="connsiteX118" fmla="*/ 106702 w 4519987"/>
                  <a:gd name="connsiteY118" fmla="*/ 1590675 h 4496940"/>
                  <a:gd name="connsiteX119" fmla="*/ 135277 w 4519987"/>
                  <a:gd name="connsiteY119" fmla="*/ 1504950 h 4496940"/>
                  <a:gd name="connsiteX120" fmla="*/ 154327 w 4519987"/>
                  <a:gd name="connsiteY120" fmla="*/ 1419225 h 4496940"/>
                  <a:gd name="connsiteX121" fmla="*/ 230527 w 4519987"/>
                  <a:gd name="connsiteY121" fmla="*/ 1276350 h 4496940"/>
                  <a:gd name="connsiteX122" fmla="*/ 240052 w 4519987"/>
                  <a:gd name="connsiteY122" fmla="*/ 1247775 h 4496940"/>
                  <a:gd name="connsiteX123" fmla="*/ 268627 w 4519987"/>
                  <a:gd name="connsiteY123" fmla="*/ 1200150 h 4496940"/>
                  <a:gd name="connsiteX124" fmla="*/ 287677 w 4519987"/>
                  <a:gd name="connsiteY124" fmla="*/ 1152525 h 4496940"/>
                  <a:gd name="connsiteX125" fmla="*/ 316252 w 4519987"/>
                  <a:gd name="connsiteY125" fmla="*/ 1114425 h 4496940"/>
                  <a:gd name="connsiteX126" fmla="*/ 363877 w 4519987"/>
                  <a:gd name="connsiteY126" fmla="*/ 1038225 h 4496940"/>
                  <a:gd name="connsiteX127" fmla="*/ 382927 w 4519987"/>
                  <a:gd name="connsiteY127" fmla="*/ 1009650 h 4496940"/>
                  <a:gd name="connsiteX128" fmla="*/ 440077 w 4519987"/>
                  <a:gd name="connsiteY128" fmla="*/ 904875 h 4496940"/>
                  <a:gd name="connsiteX129" fmla="*/ 478177 w 4519987"/>
                  <a:gd name="connsiteY129" fmla="*/ 857250 h 4496940"/>
                  <a:gd name="connsiteX130" fmla="*/ 497227 w 4519987"/>
                  <a:gd name="connsiteY130" fmla="*/ 828675 h 4496940"/>
                  <a:gd name="connsiteX131" fmla="*/ 535327 w 4519987"/>
                  <a:gd name="connsiteY131" fmla="*/ 800100 h 4496940"/>
                  <a:gd name="connsiteX132" fmla="*/ 602002 w 4519987"/>
                  <a:gd name="connsiteY132" fmla="*/ 733425 h 4496940"/>
                  <a:gd name="connsiteX133" fmla="*/ 668677 w 4519987"/>
                  <a:gd name="connsiteY133" fmla="*/ 676275 h 4496940"/>
                  <a:gd name="connsiteX134" fmla="*/ 697252 w 4519987"/>
                  <a:gd name="connsiteY134" fmla="*/ 657225 h 4496940"/>
                  <a:gd name="connsiteX135" fmla="*/ 840127 w 4519987"/>
                  <a:gd name="connsiteY135" fmla="*/ 533400 h 4496940"/>
                  <a:gd name="connsiteX136" fmla="*/ 887752 w 4519987"/>
                  <a:gd name="connsiteY136" fmla="*/ 504825 h 4496940"/>
                  <a:gd name="connsiteX137" fmla="*/ 1167152 w 4519987"/>
                  <a:gd name="connsiteY137" fmla="*/ 311150 h 4496940"/>
                  <a:gd name="connsiteX138" fmla="*/ 1268752 w 4519987"/>
                  <a:gd name="connsiteY138" fmla="*/ 285750 h 4496940"/>
                  <a:gd name="connsiteX139" fmla="*/ 1411627 w 4519987"/>
                  <a:gd name="connsiteY139" fmla="*/ 190500 h 4496940"/>
                  <a:gd name="connsiteX140" fmla="*/ 1449727 w 4519987"/>
                  <a:gd name="connsiteY140" fmla="*/ 161925 h 4496940"/>
                  <a:gd name="connsiteX141" fmla="*/ 1525927 w 4519987"/>
                  <a:gd name="connsiteY141" fmla="*/ 152400 h 4496940"/>
                  <a:gd name="connsiteX142" fmla="*/ 1583077 w 4519987"/>
                  <a:gd name="connsiteY142" fmla="*/ 142875 h 4496940"/>
                  <a:gd name="connsiteX143" fmla="*/ 1716427 w 4519987"/>
                  <a:gd name="connsiteY143" fmla="*/ 123825 h 4496940"/>
                  <a:gd name="connsiteX144" fmla="*/ 1811677 w 4519987"/>
                  <a:gd name="connsiteY144" fmla="*/ 114300 h 4496940"/>
                  <a:gd name="connsiteX145" fmla="*/ 1859302 w 4519987"/>
                  <a:gd name="connsiteY145" fmla="*/ 104775 h 4496940"/>
                  <a:gd name="connsiteX146" fmla="*/ 1916452 w 4519987"/>
                  <a:gd name="connsiteY146" fmla="*/ 95250 h 4496940"/>
                  <a:gd name="connsiteX147" fmla="*/ 2030752 w 4519987"/>
                  <a:gd name="connsiteY147" fmla="*/ 66675 h 4496940"/>
                  <a:gd name="connsiteX148" fmla="*/ 2097427 w 4519987"/>
                  <a:gd name="connsiteY148" fmla="*/ 47625 h 4496940"/>
                  <a:gd name="connsiteX149" fmla="*/ 2164102 w 4519987"/>
                  <a:gd name="connsiteY149" fmla="*/ 38100 h 4496940"/>
                  <a:gd name="connsiteX150" fmla="*/ 2392702 w 4519987"/>
                  <a:gd name="connsiteY15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3907177 w 4519987"/>
                  <a:gd name="connsiteY21" fmla="*/ 647700 h 4496940"/>
                  <a:gd name="connsiteX22" fmla="*/ 4078627 w 4519987"/>
                  <a:gd name="connsiteY22" fmla="*/ 838200 h 4496940"/>
                  <a:gd name="connsiteX23" fmla="*/ 4135777 w 4519987"/>
                  <a:gd name="connsiteY23" fmla="*/ 933450 h 4496940"/>
                  <a:gd name="connsiteX24" fmla="*/ 4164352 w 4519987"/>
                  <a:gd name="connsiteY24" fmla="*/ 990600 h 4496940"/>
                  <a:gd name="connsiteX25" fmla="*/ 4173877 w 4519987"/>
                  <a:gd name="connsiteY25" fmla="*/ 1019175 h 4496940"/>
                  <a:gd name="connsiteX26" fmla="*/ 4192927 w 4519987"/>
                  <a:gd name="connsiteY26" fmla="*/ 1057275 h 4496940"/>
                  <a:gd name="connsiteX27" fmla="*/ 4202452 w 4519987"/>
                  <a:gd name="connsiteY27" fmla="*/ 1085850 h 4496940"/>
                  <a:gd name="connsiteX28" fmla="*/ 4250077 w 4519987"/>
                  <a:gd name="connsiteY28" fmla="*/ 1143000 h 4496940"/>
                  <a:gd name="connsiteX29" fmla="*/ 4259602 w 4519987"/>
                  <a:gd name="connsiteY29" fmla="*/ 1190625 h 4496940"/>
                  <a:gd name="connsiteX30" fmla="*/ 4307227 w 4519987"/>
                  <a:gd name="connsiteY30" fmla="*/ 1266825 h 4496940"/>
                  <a:gd name="connsiteX31" fmla="*/ 4345327 w 4519987"/>
                  <a:gd name="connsiteY31" fmla="*/ 1362075 h 4496940"/>
                  <a:gd name="connsiteX32" fmla="*/ 4373902 w 4519987"/>
                  <a:gd name="connsiteY32" fmla="*/ 1428750 h 4496940"/>
                  <a:gd name="connsiteX33" fmla="*/ 4392952 w 4519987"/>
                  <a:gd name="connsiteY33" fmla="*/ 1552575 h 4496940"/>
                  <a:gd name="connsiteX34" fmla="*/ 4402477 w 4519987"/>
                  <a:gd name="connsiteY34" fmla="*/ 1590675 h 4496940"/>
                  <a:gd name="connsiteX35" fmla="*/ 4431052 w 4519987"/>
                  <a:gd name="connsiteY35" fmla="*/ 1685925 h 4496940"/>
                  <a:gd name="connsiteX36" fmla="*/ 4519952 w 4519987"/>
                  <a:gd name="connsiteY36" fmla="*/ 2181225 h 4496940"/>
                  <a:gd name="connsiteX37" fmla="*/ 4446927 w 4519987"/>
                  <a:gd name="connsiteY37" fmla="*/ 2768600 h 4496940"/>
                  <a:gd name="connsiteX38" fmla="*/ 4383427 w 4519987"/>
                  <a:gd name="connsiteY38" fmla="*/ 2990850 h 4496940"/>
                  <a:gd name="connsiteX39" fmla="*/ 4278652 w 4519987"/>
                  <a:gd name="connsiteY39" fmla="*/ 3248025 h 4496940"/>
                  <a:gd name="connsiteX40" fmla="*/ 4259602 w 4519987"/>
                  <a:gd name="connsiteY40" fmla="*/ 3276600 h 4496940"/>
                  <a:gd name="connsiteX41" fmla="*/ 4221502 w 4519987"/>
                  <a:gd name="connsiteY41" fmla="*/ 3333750 h 4496940"/>
                  <a:gd name="connsiteX42" fmla="*/ 4211977 w 4519987"/>
                  <a:gd name="connsiteY42" fmla="*/ 3362325 h 4496940"/>
                  <a:gd name="connsiteX43" fmla="*/ 4183402 w 4519987"/>
                  <a:gd name="connsiteY43" fmla="*/ 3400425 h 4496940"/>
                  <a:gd name="connsiteX44" fmla="*/ 4164352 w 4519987"/>
                  <a:gd name="connsiteY44" fmla="*/ 3429000 h 4496940"/>
                  <a:gd name="connsiteX45" fmla="*/ 4088152 w 4519987"/>
                  <a:gd name="connsiteY45" fmla="*/ 3495675 h 4496940"/>
                  <a:gd name="connsiteX46" fmla="*/ 4059577 w 4519987"/>
                  <a:gd name="connsiteY46" fmla="*/ 3533775 h 4496940"/>
                  <a:gd name="connsiteX47" fmla="*/ 4002427 w 4519987"/>
                  <a:gd name="connsiteY47" fmla="*/ 3600450 h 4496940"/>
                  <a:gd name="connsiteX48" fmla="*/ 3983377 w 4519987"/>
                  <a:gd name="connsiteY48" fmla="*/ 3629025 h 4496940"/>
                  <a:gd name="connsiteX49" fmla="*/ 3954802 w 4519987"/>
                  <a:gd name="connsiteY49" fmla="*/ 3648075 h 4496940"/>
                  <a:gd name="connsiteX50" fmla="*/ 3907177 w 4519987"/>
                  <a:gd name="connsiteY50" fmla="*/ 3686175 h 4496940"/>
                  <a:gd name="connsiteX51" fmla="*/ 3869077 w 4519987"/>
                  <a:gd name="connsiteY51" fmla="*/ 3724275 h 4496940"/>
                  <a:gd name="connsiteX52" fmla="*/ 3792877 w 4519987"/>
                  <a:gd name="connsiteY52" fmla="*/ 3781425 h 4496940"/>
                  <a:gd name="connsiteX53" fmla="*/ 3783352 w 4519987"/>
                  <a:gd name="connsiteY53" fmla="*/ 3810000 h 4496940"/>
                  <a:gd name="connsiteX54" fmla="*/ 3745252 w 4519987"/>
                  <a:gd name="connsiteY54" fmla="*/ 3819525 h 4496940"/>
                  <a:gd name="connsiteX55" fmla="*/ 3678577 w 4519987"/>
                  <a:gd name="connsiteY55" fmla="*/ 3848100 h 4496940"/>
                  <a:gd name="connsiteX56" fmla="*/ 3659527 w 4519987"/>
                  <a:gd name="connsiteY56" fmla="*/ 3971925 h 4496940"/>
                  <a:gd name="connsiteX57" fmla="*/ 3630952 w 4519987"/>
                  <a:gd name="connsiteY57" fmla="*/ 4010025 h 4496940"/>
                  <a:gd name="connsiteX58" fmla="*/ 3621427 w 4519987"/>
                  <a:gd name="connsiteY58" fmla="*/ 4038600 h 4496940"/>
                  <a:gd name="connsiteX59" fmla="*/ 3554752 w 4519987"/>
                  <a:gd name="connsiteY59" fmla="*/ 4095750 h 4496940"/>
                  <a:gd name="connsiteX60" fmla="*/ 3516652 w 4519987"/>
                  <a:gd name="connsiteY60" fmla="*/ 4114800 h 4496940"/>
                  <a:gd name="connsiteX61" fmla="*/ 3497602 w 4519987"/>
                  <a:gd name="connsiteY61" fmla="*/ 4143375 h 4496940"/>
                  <a:gd name="connsiteX62" fmla="*/ 3383302 w 4519987"/>
                  <a:gd name="connsiteY62" fmla="*/ 4210050 h 4496940"/>
                  <a:gd name="connsiteX63" fmla="*/ 3335677 w 4519987"/>
                  <a:gd name="connsiteY63" fmla="*/ 4238625 h 4496940"/>
                  <a:gd name="connsiteX64" fmla="*/ 3288052 w 4519987"/>
                  <a:gd name="connsiteY64" fmla="*/ 4248150 h 4496940"/>
                  <a:gd name="connsiteX65" fmla="*/ 3240427 w 4519987"/>
                  <a:gd name="connsiteY65" fmla="*/ 4267200 h 4496940"/>
                  <a:gd name="connsiteX66" fmla="*/ 3068977 w 4519987"/>
                  <a:gd name="connsiteY66" fmla="*/ 4286250 h 4496940"/>
                  <a:gd name="connsiteX67" fmla="*/ 2935627 w 4519987"/>
                  <a:gd name="connsiteY67" fmla="*/ 4333875 h 4496940"/>
                  <a:gd name="connsiteX68" fmla="*/ 2811802 w 4519987"/>
                  <a:gd name="connsiteY68" fmla="*/ 4371975 h 4496940"/>
                  <a:gd name="connsiteX69" fmla="*/ 2745127 w 4519987"/>
                  <a:gd name="connsiteY69" fmla="*/ 4410075 h 4496940"/>
                  <a:gd name="connsiteX70" fmla="*/ 2697502 w 4519987"/>
                  <a:gd name="connsiteY70" fmla="*/ 4429125 h 4496940"/>
                  <a:gd name="connsiteX71" fmla="*/ 2640352 w 4519987"/>
                  <a:gd name="connsiteY71" fmla="*/ 4457700 h 4496940"/>
                  <a:gd name="connsiteX72" fmla="*/ 2583202 w 4519987"/>
                  <a:gd name="connsiteY72" fmla="*/ 4467225 h 4496940"/>
                  <a:gd name="connsiteX73" fmla="*/ 2545102 w 4519987"/>
                  <a:gd name="connsiteY73" fmla="*/ 4486275 h 4496940"/>
                  <a:gd name="connsiteX74" fmla="*/ 2306977 w 4519987"/>
                  <a:gd name="connsiteY74" fmla="*/ 4476750 h 4496940"/>
                  <a:gd name="connsiteX75" fmla="*/ 2202202 w 4519987"/>
                  <a:gd name="connsiteY75" fmla="*/ 4457700 h 4496940"/>
                  <a:gd name="connsiteX76" fmla="*/ 2126002 w 4519987"/>
                  <a:gd name="connsiteY76" fmla="*/ 4429125 h 4496940"/>
                  <a:gd name="connsiteX77" fmla="*/ 1935502 w 4519987"/>
                  <a:gd name="connsiteY77" fmla="*/ 4400550 h 4496940"/>
                  <a:gd name="connsiteX78" fmla="*/ 1821202 w 4519987"/>
                  <a:gd name="connsiteY78" fmla="*/ 4371975 h 4496940"/>
                  <a:gd name="connsiteX79" fmla="*/ 1754527 w 4519987"/>
                  <a:gd name="connsiteY79" fmla="*/ 4352925 h 4496940"/>
                  <a:gd name="connsiteX80" fmla="*/ 1687852 w 4519987"/>
                  <a:gd name="connsiteY80" fmla="*/ 4343400 h 4496940"/>
                  <a:gd name="connsiteX81" fmla="*/ 1573552 w 4519987"/>
                  <a:gd name="connsiteY81" fmla="*/ 4305300 h 4496940"/>
                  <a:gd name="connsiteX82" fmla="*/ 1402102 w 4519987"/>
                  <a:gd name="connsiteY82" fmla="*/ 4276725 h 4496940"/>
                  <a:gd name="connsiteX83" fmla="*/ 1287802 w 4519987"/>
                  <a:gd name="connsiteY83" fmla="*/ 4229100 h 4496940"/>
                  <a:gd name="connsiteX84" fmla="*/ 1221127 w 4519987"/>
                  <a:gd name="connsiteY84" fmla="*/ 4200525 h 4496940"/>
                  <a:gd name="connsiteX85" fmla="*/ 1144927 w 4519987"/>
                  <a:gd name="connsiteY85" fmla="*/ 4171950 h 4496940"/>
                  <a:gd name="connsiteX86" fmla="*/ 1087777 w 4519987"/>
                  <a:gd name="connsiteY86" fmla="*/ 4143375 h 4496940"/>
                  <a:gd name="connsiteX87" fmla="*/ 1030627 w 4519987"/>
                  <a:gd name="connsiteY87" fmla="*/ 4124325 h 4496940"/>
                  <a:gd name="connsiteX88" fmla="*/ 925852 w 4519987"/>
                  <a:gd name="connsiteY88" fmla="*/ 4067175 h 4496940"/>
                  <a:gd name="connsiteX89" fmla="*/ 830602 w 4519987"/>
                  <a:gd name="connsiteY89" fmla="*/ 3981450 h 4496940"/>
                  <a:gd name="connsiteX90" fmla="*/ 763927 w 4519987"/>
                  <a:gd name="connsiteY90" fmla="*/ 3914775 h 4496940"/>
                  <a:gd name="connsiteX91" fmla="*/ 725827 w 4519987"/>
                  <a:gd name="connsiteY91" fmla="*/ 3876675 h 4496940"/>
                  <a:gd name="connsiteX92" fmla="*/ 697252 w 4519987"/>
                  <a:gd name="connsiteY92" fmla="*/ 3838575 h 4496940"/>
                  <a:gd name="connsiteX93" fmla="*/ 640102 w 4519987"/>
                  <a:gd name="connsiteY93" fmla="*/ 3781425 h 4496940"/>
                  <a:gd name="connsiteX94" fmla="*/ 611527 w 4519987"/>
                  <a:gd name="connsiteY94" fmla="*/ 3733800 h 4496940"/>
                  <a:gd name="connsiteX95" fmla="*/ 554377 w 4519987"/>
                  <a:gd name="connsiteY95" fmla="*/ 3657600 h 4496940"/>
                  <a:gd name="connsiteX96" fmla="*/ 525802 w 4519987"/>
                  <a:gd name="connsiteY96" fmla="*/ 3609975 h 4496940"/>
                  <a:gd name="connsiteX97" fmla="*/ 497227 w 4519987"/>
                  <a:gd name="connsiteY97" fmla="*/ 3552825 h 4496940"/>
                  <a:gd name="connsiteX98" fmla="*/ 440077 w 4519987"/>
                  <a:gd name="connsiteY98" fmla="*/ 3495675 h 4496940"/>
                  <a:gd name="connsiteX99" fmla="*/ 411502 w 4519987"/>
                  <a:gd name="connsiteY99" fmla="*/ 3448050 h 4496940"/>
                  <a:gd name="connsiteX100" fmla="*/ 278152 w 4519987"/>
                  <a:gd name="connsiteY100" fmla="*/ 3257550 h 4496940"/>
                  <a:gd name="connsiteX101" fmla="*/ 249577 w 4519987"/>
                  <a:gd name="connsiteY101" fmla="*/ 3200400 h 4496940"/>
                  <a:gd name="connsiteX102" fmla="*/ 240052 w 4519987"/>
                  <a:gd name="connsiteY102" fmla="*/ 3162300 h 4496940"/>
                  <a:gd name="connsiteX103" fmla="*/ 221002 w 4519987"/>
                  <a:gd name="connsiteY103" fmla="*/ 3105150 h 4496940"/>
                  <a:gd name="connsiteX104" fmla="*/ 173377 w 4519987"/>
                  <a:gd name="connsiteY104" fmla="*/ 3019425 h 4496940"/>
                  <a:gd name="connsiteX105" fmla="*/ 144802 w 4519987"/>
                  <a:gd name="connsiteY105" fmla="*/ 2924175 h 4496940"/>
                  <a:gd name="connsiteX106" fmla="*/ 68602 w 4519987"/>
                  <a:gd name="connsiteY106" fmla="*/ 2724150 h 4496940"/>
                  <a:gd name="connsiteX107" fmla="*/ 49552 w 4519987"/>
                  <a:gd name="connsiteY107" fmla="*/ 2638425 h 4496940"/>
                  <a:gd name="connsiteX108" fmla="*/ 40027 w 4519987"/>
                  <a:gd name="connsiteY108" fmla="*/ 2562225 h 4496940"/>
                  <a:gd name="connsiteX109" fmla="*/ 30502 w 4519987"/>
                  <a:gd name="connsiteY109" fmla="*/ 2514600 h 4496940"/>
                  <a:gd name="connsiteX110" fmla="*/ 11452 w 4519987"/>
                  <a:gd name="connsiteY110" fmla="*/ 2400300 h 4496940"/>
                  <a:gd name="connsiteX111" fmla="*/ 20977 w 4519987"/>
                  <a:gd name="connsiteY111" fmla="*/ 1905000 h 4496940"/>
                  <a:gd name="connsiteX112" fmla="*/ 30502 w 4519987"/>
                  <a:gd name="connsiteY112" fmla="*/ 1838325 h 4496940"/>
                  <a:gd name="connsiteX113" fmla="*/ 49552 w 4519987"/>
                  <a:gd name="connsiteY113" fmla="*/ 1781175 h 4496940"/>
                  <a:gd name="connsiteX114" fmla="*/ 59077 w 4519987"/>
                  <a:gd name="connsiteY114" fmla="*/ 1743075 h 4496940"/>
                  <a:gd name="connsiteX115" fmla="*/ 78127 w 4519987"/>
                  <a:gd name="connsiteY115" fmla="*/ 1685925 h 4496940"/>
                  <a:gd name="connsiteX116" fmla="*/ 87652 w 4519987"/>
                  <a:gd name="connsiteY116" fmla="*/ 1638300 h 4496940"/>
                  <a:gd name="connsiteX117" fmla="*/ 106702 w 4519987"/>
                  <a:gd name="connsiteY117" fmla="*/ 1590675 h 4496940"/>
                  <a:gd name="connsiteX118" fmla="*/ 135277 w 4519987"/>
                  <a:gd name="connsiteY118" fmla="*/ 1504950 h 4496940"/>
                  <a:gd name="connsiteX119" fmla="*/ 154327 w 4519987"/>
                  <a:gd name="connsiteY119" fmla="*/ 1419225 h 4496940"/>
                  <a:gd name="connsiteX120" fmla="*/ 230527 w 4519987"/>
                  <a:gd name="connsiteY120" fmla="*/ 1276350 h 4496940"/>
                  <a:gd name="connsiteX121" fmla="*/ 240052 w 4519987"/>
                  <a:gd name="connsiteY121" fmla="*/ 1247775 h 4496940"/>
                  <a:gd name="connsiteX122" fmla="*/ 268627 w 4519987"/>
                  <a:gd name="connsiteY122" fmla="*/ 1200150 h 4496940"/>
                  <a:gd name="connsiteX123" fmla="*/ 287677 w 4519987"/>
                  <a:gd name="connsiteY123" fmla="*/ 1152525 h 4496940"/>
                  <a:gd name="connsiteX124" fmla="*/ 316252 w 4519987"/>
                  <a:gd name="connsiteY124" fmla="*/ 1114425 h 4496940"/>
                  <a:gd name="connsiteX125" fmla="*/ 363877 w 4519987"/>
                  <a:gd name="connsiteY125" fmla="*/ 1038225 h 4496940"/>
                  <a:gd name="connsiteX126" fmla="*/ 382927 w 4519987"/>
                  <a:gd name="connsiteY126" fmla="*/ 1009650 h 4496940"/>
                  <a:gd name="connsiteX127" fmla="*/ 440077 w 4519987"/>
                  <a:gd name="connsiteY127" fmla="*/ 904875 h 4496940"/>
                  <a:gd name="connsiteX128" fmla="*/ 478177 w 4519987"/>
                  <a:gd name="connsiteY128" fmla="*/ 857250 h 4496940"/>
                  <a:gd name="connsiteX129" fmla="*/ 497227 w 4519987"/>
                  <a:gd name="connsiteY129" fmla="*/ 828675 h 4496940"/>
                  <a:gd name="connsiteX130" fmla="*/ 535327 w 4519987"/>
                  <a:gd name="connsiteY130" fmla="*/ 800100 h 4496940"/>
                  <a:gd name="connsiteX131" fmla="*/ 602002 w 4519987"/>
                  <a:gd name="connsiteY131" fmla="*/ 733425 h 4496940"/>
                  <a:gd name="connsiteX132" fmla="*/ 668677 w 4519987"/>
                  <a:gd name="connsiteY132" fmla="*/ 676275 h 4496940"/>
                  <a:gd name="connsiteX133" fmla="*/ 697252 w 4519987"/>
                  <a:gd name="connsiteY133" fmla="*/ 657225 h 4496940"/>
                  <a:gd name="connsiteX134" fmla="*/ 840127 w 4519987"/>
                  <a:gd name="connsiteY134" fmla="*/ 533400 h 4496940"/>
                  <a:gd name="connsiteX135" fmla="*/ 887752 w 4519987"/>
                  <a:gd name="connsiteY135" fmla="*/ 504825 h 4496940"/>
                  <a:gd name="connsiteX136" fmla="*/ 1167152 w 4519987"/>
                  <a:gd name="connsiteY136" fmla="*/ 311150 h 4496940"/>
                  <a:gd name="connsiteX137" fmla="*/ 1268752 w 4519987"/>
                  <a:gd name="connsiteY137" fmla="*/ 285750 h 4496940"/>
                  <a:gd name="connsiteX138" fmla="*/ 1411627 w 4519987"/>
                  <a:gd name="connsiteY138" fmla="*/ 190500 h 4496940"/>
                  <a:gd name="connsiteX139" fmla="*/ 1449727 w 4519987"/>
                  <a:gd name="connsiteY139" fmla="*/ 161925 h 4496940"/>
                  <a:gd name="connsiteX140" fmla="*/ 1525927 w 4519987"/>
                  <a:gd name="connsiteY140" fmla="*/ 152400 h 4496940"/>
                  <a:gd name="connsiteX141" fmla="*/ 1583077 w 4519987"/>
                  <a:gd name="connsiteY141" fmla="*/ 142875 h 4496940"/>
                  <a:gd name="connsiteX142" fmla="*/ 1716427 w 4519987"/>
                  <a:gd name="connsiteY142" fmla="*/ 123825 h 4496940"/>
                  <a:gd name="connsiteX143" fmla="*/ 1811677 w 4519987"/>
                  <a:gd name="connsiteY143" fmla="*/ 114300 h 4496940"/>
                  <a:gd name="connsiteX144" fmla="*/ 1859302 w 4519987"/>
                  <a:gd name="connsiteY144" fmla="*/ 104775 h 4496940"/>
                  <a:gd name="connsiteX145" fmla="*/ 1916452 w 4519987"/>
                  <a:gd name="connsiteY145" fmla="*/ 95250 h 4496940"/>
                  <a:gd name="connsiteX146" fmla="*/ 2030752 w 4519987"/>
                  <a:gd name="connsiteY146" fmla="*/ 66675 h 4496940"/>
                  <a:gd name="connsiteX147" fmla="*/ 2097427 w 4519987"/>
                  <a:gd name="connsiteY147" fmla="*/ 47625 h 4496940"/>
                  <a:gd name="connsiteX148" fmla="*/ 2164102 w 4519987"/>
                  <a:gd name="connsiteY148" fmla="*/ 38100 h 4496940"/>
                  <a:gd name="connsiteX149" fmla="*/ 2392702 w 4519987"/>
                  <a:gd name="connsiteY14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78627 w 4519987"/>
                  <a:gd name="connsiteY21" fmla="*/ 838200 h 4496940"/>
                  <a:gd name="connsiteX22" fmla="*/ 4135777 w 4519987"/>
                  <a:gd name="connsiteY22" fmla="*/ 933450 h 4496940"/>
                  <a:gd name="connsiteX23" fmla="*/ 4164352 w 4519987"/>
                  <a:gd name="connsiteY23" fmla="*/ 990600 h 4496940"/>
                  <a:gd name="connsiteX24" fmla="*/ 4173877 w 4519987"/>
                  <a:gd name="connsiteY24" fmla="*/ 1019175 h 4496940"/>
                  <a:gd name="connsiteX25" fmla="*/ 4192927 w 4519987"/>
                  <a:gd name="connsiteY25" fmla="*/ 1057275 h 4496940"/>
                  <a:gd name="connsiteX26" fmla="*/ 4202452 w 4519987"/>
                  <a:gd name="connsiteY26" fmla="*/ 1085850 h 4496940"/>
                  <a:gd name="connsiteX27" fmla="*/ 4250077 w 4519987"/>
                  <a:gd name="connsiteY27" fmla="*/ 1143000 h 4496940"/>
                  <a:gd name="connsiteX28" fmla="*/ 4259602 w 4519987"/>
                  <a:gd name="connsiteY28" fmla="*/ 1190625 h 4496940"/>
                  <a:gd name="connsiteX29" fmla="*/ 4307227 w 4519987"/>
                  <a:gd name="connsiteY29" fmla="*/ 1266825 h 4496940"/>
                  <a:gd name="connsiteX30" fmla="*/ 4345327 w 4519987"/>
                  <a:gd name="connsiteY30" fmla="*/ 1362075 h 4496940"/>
                  <a:gd name="connsiteX31" fmla="*/ 4373902 w 4519987"/>
                  <a:gd name="connsiteY31" fmla="*/ 1428750 h 4496940"/>
                  <a:gd name="connsiteX32" fmla="*/ 4392952 w 4519987"/>
                  <a:gd name="connsiteY32" fmla="*/ 1552575 h 4496940"/>
                  <a:gd name="connsiteX33" fmla="*/ 4402477 w 4519987"/>
                  <a:gd name="connsiteY33" fmla="*/ 1590675 h 4496940"/>
                  <a:gd name="connsiteX34" fmla="*/ 4431052 w 4519987"/>
                  <a:gd name="connsiteY34" fmla="*/ 1685925 h 4496940"/>
                  <a:gd name="connsiteX35" fmla="*/ 4519952 w 4519987"/>
                  <a:gd name="connsiteY35" fmla="*/ 2181225 h 4496940"/>
                  <a:gd name="connsiteX36" fmla="*/ 4446927 w 4519987"/>
                  <a:gd name="connsiteY36" fmla="*/ 2768600 h 4496940"/>
                  <a:gd name="connsiteX37" fmla="*/ 4383427 w 4519987"/>
                  <a:gd name="connsiteY37" fmla="*/ 2990850 h 4496940"/>
                  <a:gd name="connsiteX38" fmla="*/ 4278652 w 4519987"/>
                  <a:gd name="connsiteY38" fmla="*/ 3248025 h 4496940"/>
                  <a:gd name="connsiteX39" fmla="*/ 4259602 w 4519987"/>
                  <a:gd name="connsiteY39" fmla="*/ 3276600 h 4496940"/>
                  <a:gd name="connsiteX40" fmla="*/ 4221502 w 4519987"/>
                  <a:gd name="connsiteY40" fmla="*/ 3333750 h 4496940"/>
                  <a:gd name="connsiteX41" fmla="*/ 4211977 w 4519987"/>
                  <a:gd name="connsiteY41" fmla="*/ 3362325 h 4496940"/>
                  <a:gd name="connsiteX42" fmla="*/ 4183402 w 4519987"/>
                  <a:gd name="connsiteY42" fmla="*/ 3400425 h 4496940"/>
                  <a:gd name="connsiteX43" fmla="*/ 4164352 w 4519987"/>
                  <a:gd name="connsiteY43" fmla="*/ 3429000 h 4496940"/>
                  <a:gd name="connsiteX44" fmla="*/ 4088152 w 4519987"/>
                  <a:gd name="connsiteY44" fmla="*/ 3495675 h 4496940"/>
                  <a:gd name="connsiteX45" fmla="*/ 4059577 w 4519987"/>
                  <a:gd name="connsiteY45" fmla="*/ 3533775 h 4496940"/>
                  <a:gd name="connsiteX46" fmla="*/ 4002427 w 4519987"/>
                  <a:gd name="connsiteY46" fmla="*/ 3600450 h 4496940"/>
                  <a:gd name="connsiteX47" fmla="*/ 3983377 w 4519987"/>
                  <a:gd name="connsiteY47" fmla="*/ 3629025 h 4496940"/>
                  <a:gd name="connsiteX48" fmla="*/ 3954802 w 4519987"/>
                  <a:gd name="connsiteY48" fmla="*/ 3648075 h 4496940"/>
                  <a:gd name="connsiteX49" fmla="*/ 3907177 w 4519987"/>
                  <a:gd name="connsiteY49" fmla="*/ 3686175 h 4496940"/>
                  <a:gd name="connsiteX50" fmla="*/ 3869077 w 4519987"/>
                  <a:gd name="connsiteY50" fmla="*/ 3724275 h 4496940"/>
                  <a:gd name="connsiteX51" fmla="*/ 3792877 w 4519987"/>
                  <a:gd name="connsiteY51" fmla="*/ 3781425 h 4496940"/>
                  <a:gd name="connsiteX52" fmla="*/ 3783352 w 4519987"/>
                  <a:gd name="connsiteY52" fmla="*/ 3810000 h 4496940"/>
                  <a:gd name="connsiteX53" fmla="*/ 3745252 w 4519987"/>
                  <a:gd name="connsiteY53" fmla="*/ 3819525 h 4496940"/>
                  <a:gd name="connsiteX54" fmla="*/ 3678577 w 4519987"/>
                  <a:gd name="connsiteY54" fmla="*/ 3848100 h 4496940"/>
                  <a:gd name="connsiteX55" fmla="*/ 3659527 w 4519987"/>
                  <a:gd name="connsiteY55" fmla="*/ 3971925 h 4496940"/>
                  <a:gd name="connsiteX56" fmla="*/ 3630952 w 4519987"/>
                  <a:gd name="connsiteY56" fmla="*/ 4010025 h 4496940"/>
                  <a:gd name="connsiteX57" fmla="*/ 3621427 w 4519987"/>
                  <a:gd name="connsiteY57" fmla="*/ 4038600 h 4496940"/>
                  <a:gd name="connsiteX58" fmla="*/ 3554752 w 4519987"/>
                  <a:gd name="connsiteY58" fmla="*/ 4095750 h 4496940"/>
                  <a:gd name="connsiteX59" fmla="*/ 3516652 w 4519987"/>
                  <a:gd name="connsiteY59" fmla="*/ 4114800 h 4496940"/>
                  <a:gd name="connsiteX60" fmla="*/ 3497602 w 4519987"/>
                  <a:gd name="connsiteY60" fmla="*/ 4143375 h 4496940"/>
                  <a:gd name="connsiteX61" fmla="*/ 3383302 w 4519987"/>
                  <a:gd name="connsiteY61" fmla="*/ 4210050 h 4496940"/>
                  <a:gd name="connsiteX62" fmla="*/ 3335677 w 4519987"/>
                  <a:gd name="connsiteY62" fmla="*/ 4238625 h 4496940"/>
                  <a:gd name="connsiteX63" fmla="*/ 3288052 w 4519987"/>
                  <a:gd name="connsiteY63" fmla="*/ 4248150 h 4496940"/>
                  <a:gd name="connsiteX64" fmla="*/ 3240427 w 4519987"/>
                  <a:gd name="connsiteY64" fmla="*/ 4267200 h 4496940"/>
                  <a:gd name="connsiteX65" fmla="*/ 3068977 w 4519987"/>
                  <a:gd name="connsiteY65" fmla="*/ 4286250 h 4496940"/>
                  <a:gd name="connsiteX66" fmla="*/ 2935627 w 4519987"/>
                  <a:gd name="connsiteY66" fmla="*/ 4333875 h 4496940"/>
                  <a:gd name="connsiteX67" fmla="*/ 2811802 w 4519987"/>
                  <a:gd name="connsiteY67" fmla="*/ 4371975 h 4496940"/>
                  <a:gd name="connsiteX68" fmla="*/ 2745127 w 4519987"/>
                  <a:gd name="connsiteY68" fmla="*/ 4410075 h 4496940"/>
                  <a:gd name="connsiteX69" fmla="*/ 2697502 w 4519987"/>
                  <a:gd name="connsiteY69" fmla="*/ 4429125 h 4496940"/>
                  <a:gd name="connsiteX70" fmla="*/ 2640352 w 4519987"/>
                  <a:gd name="connsiteY70" fmla="*/ 4457700 h 4496940"/>
                  <a:gd name="connsiteX71" fmla="*/ 2583202 w 4519987"/>
                  <a:gd name="connsiteY71" fmla="*/ 4467225 h 4496940"/>
                  <a:gd name="connsiteX72" fmla="*/ 2545102 w 4519987"/>
                  <a:gd name="connsiteY72" fmla="*/ 4486275 h 4496940"/>
                  <a:gd name="connsiteX73" fmla="*/ 2306977 w 4519987"/>
                  <a:gd name="connsiteY73" fmla="*/ 4476750 h 4496940"/>
                  <a:gd name="connsiteX74" fmla="*/ 2202202 w 4519987"/>
                  <a:gd name="connsiteY74" fmla="*/ 4457700 h 4496940"/>
                  <a:gd name="connsiteX75" fmla="*/ 2126002 w 4519987"/>
                  <a:gd name="connsiteY75" fmla="*/ 4429125 h 4496940"/>
                  <a:gd name="connsiteX76" fmla="*/ 1935502 w 4519987"/>
                  <a:gd name="connsiteY76" fmla="*/ 4400550 h 4496940"/>
                  <a:gd name="connsiteX77" fmla="*/ 1821202 w 4519987"/>
                  <a:gd name="connsiteY77" fmla="*/ 4371975 h 4496940"/>
                  <a:gd name="connsiteX78" fmla="*/ 1754527 w 4519987"/>
                  <a:gd name="connsiteY78" fmla="*/ 4352925 h 4496940"/>
                  <a:gd name="connsiteX79" fmla="*/ 1687852 w 4519987"/>
                  <a:gd name="connsiteY79" fmla="*/ 4343400 h 4496940"/>
                  <a:gd name="connsiteX80" fmla="*/ 1573552 w 4519987"/>
                  <a:gd name="connsiteY80" fmla="*/ 4305300 h 4496940"/>
                  <a:gd name="connsiteX81" fmla="*/ 1402102 w 4519987"/>
                  <a:gd name="connsiteY81" fmla="*/ 4276725 h 4496940"/>
                  <a:gd name="connsiteX82" fmla="*/ 1287802 w 4519987"/>
                  <a:gd name="connsiteY82" fmla="*/ 4229100 h 4496940"/>
                  <a:gd name="connsiteX83" fmla="*/ 1221127 w 4519987"/>
                  <a:gd name="connsiteY83" fmla="*/ 4200525 h 4496940"/>
                  <a:gd name="connsiteX84" fmla="*/ 1144927 w 4519987"/>
                  <a:gd name="connsiteY84" fmla="*/ 4171950 h 4496940"/>
                  <a:gd name="connsiteX85" fmla="*/ 1087777 w 4519987"/>
                  <a:gd name="connsiteY85" fmla="*/ 4143375 h 4496940"/>
                  <a:gd name="connsiteX86" fmla="*/ 1030627 w 4519987"/>
                  <a:gd name="connsiteY86" fmla="*/ 4124325 h 4496940"/>
                  <a:gd name="connsiteX87" fmla="*/ 925852 w 4519987"/>
                  <a:gd name="connsiteY87" fmla="*/ 4067175 h 4496940"/>
                  <a:gd name="connsiteX88" fmla="*/ 830602 w 4519987"/>
                  <a:gd name="connsiteY88" fmla="*/ 3981450 h 4496940"/>
                  <a:gd name="connsiteX89" fmla="*/ 763927 w 4519987"/>
                  <a:gd name="connsiteY89" fmla="*/ 3914775 h 4496940"/>
                  <a:gd name="connsiteX90" fmla="*/ 725827 w 4519987"/>
                  <a:gd name="connsiteY90" fmla="*/ 3876675 h 4496940"/>
                  <a:gd name="connsiteX91" fmla="*/ 697252 w 4519987"/>
                  <a:gd name="connsiteY91" fmla="*/ 3838575 h 4496940"/>
                  <a:gd name="connsiteX92" fmla="*/ 640102 w 4519987"/>
                  <a:gd name="connsiteY92" fmla="*/ 3781425 h 4496940"/>
                  <a:gd name="connsiteX93" fmla="*/ 611527 w 4519987"/>
                  <a:gd name="connsiteY93" fmla="*/ 3733800 h 4496940"/>
                  <a:gd name="connsiteX94" fmla="*/ 554377 w 4519987"/>
                  <a:gd name="connsiteY94" fmla="*/ 3657600 h 4496940"/>
                  <a:gd name="connsiteX95" fmla="*/ 525802 w 4519987"/>
                  <a:gd name="connsiteY95" fmla="*/ 3609975 h 4496940"/>
                  <a:gd name="connsiteX96" fmla="*/ 497227 w 4519987"/>
                  <a:gd name="connsiteY96" fmla="*/ 3552825 h 4496940"/>
                  <a:gd name="connsiteX97" fmla="*/ 440077 w 4519987"/>
                  <a:gd name="connsiteY97" fmla="*/ 3495675 h 4496940"/>
                  <a:gd name="connsiteX98" fmla="*/ 411502 w 4519987"/>
                  <a:gd name="connsiteY98" fmla="*/ 3448050 h 4496940"/>
                  <a:gd name="connsiteX99" fmla="*/ 278152 w 4519987"/>
                  <a:gd name="connsiteY99" fmla="*/ 3257550 h 4496940"/>
                  <a:gd name="connsiteX100" fmla="*/ 249577 w 4519987"/>
                  <a:gd name="connsiteY100" fmla="*/ 3200400 h 4496940"/>
                  <a:gd name="connsiteX101" fmla="*/ 240052 w 4519987"/>
                  <a:gd name="connsiteY101" fmla="*/ 3162300 h 4496940"/>
                  <a:gd name="connsiteX102" fmla="*/ 221002 w 4519987"/>
                  <a:gd name="connsiteY102" fmla="*/ 3105150 h 4496940"/>
                  <a:gd name="connsiteX103" fmla="*/ 173377 w 4519987"/>
                  <a:gd name="connsiteY103" fmla="*/ 3019425 h 4496940"/>
                  <a:gd name="connsiteX104" fmla="*/ 144802 w 4519987"/>
                  <a:gd name="connsiteY104" fmla="*/ 2924175 h 4496940"/>
                  <a:gd name="connsiteX105" fmla="*/ 68602 w 4519987"/>
                  <a:gd name="connsiteY105" fmla="*/ 2724150 h 4496940"/>
                  <a:gd name="connsiteX106" fmla="*/ 49552 w 4519987"/>
                  <a:gd name="connsiteY106" fmla="*/ 2638425 h 4496940"/>
                  <a:gd name="connsiteX107" fmla="*/ 40027 w 4519987"/>
                  <a:gd name="connsiteY107" fmla="*/ 2562225 h 4496940"/>
                  <a:gd name="connsiteX108" fmla="*/ 30502 w 4519987"/>
                  <a:gd name="connsiteY108" fmla="*/ 2514600 h 4496940"/>
                  <a:gd name="connsiteX109" fmla="*/ 11452 w 4519987"/>
                  <a:gd name="connsiteY109" fmla="*/ 2400300 h 4496940"/>
                  <a:gd name="connsiteX110" fmla="*/ 20977 w 4519987"/>
                  <a:gd name="connsiteY110" fmla="*/ 1905000 h 4496940"/>
                  <a:gd name="connsiteX111" fmla="*/ 30502 w 4519987"/>
                  <a:gd name="connsiteY111" fmla="*/ 1838325 h 4496940"/>
                  <a:gd name="connsiteX112" fmla="*/ 49552 w 4519987"/>
                  <a:gd name="connsiteY112" fmla="*/ 1781175 h 4496940"/>
                  <a:gd name="connsiteX113" fmla="*/ 59077 w 4519987"/>
                  <a:gd name="connsiteY113" fmla="*/ 1743075 h 4496940"/>
                  <a:gd name="connsiteX114" fmla="*/ 78127 w 4519987"/>
                  <a:gd name="connsiteY114" fmla="*/ 1685925 h 4496940"/>
                  <a:gd name="connsiteX115" fmla="*/ 87652 w 4519987"/>
                  <a:gd name="connsiteY115" fmla="*/ 1638300 h 4496940"/>
                  <a:gd name="connsiteX116" fmla="*/ 106702 w 4519987"/>
                  <a:gd name="connsiteY116" fmla="*/ 1590675 h 4496940"/>
                  <a:gd name="connsiteX117" fmla="*/ 135277 w 4519987"/>
                  <a:gd name="connsiteY117" fmla="*/ 1504950 h 4496940"/>
                  <a:gd name="connsiteX118" fmla="*/ 154327 w 4519987"/>
                  <a:gd name="connsiteY118" fmla="*/ 1419225 h 4496940"/>
                  <a:gd name="connsiteX119" fmla="*/ 230527 w 4519987"/>
                  <a:gd name="connsiteY119" fmla="*/ 1276350 h 4496940"/>
                  <a:gd name="connsiteX120" fmla="*/ 240052 w 4519987"/>
                  <a:gd name="connsiteY120" fmla="*/ 1247775 h 4496940"/>
                  <a:gd name="connsiteX121" fmla="*/ 268627 w 4519987"/>
                  <a:gd name="connsiteY121" fmla="*/ 1200150 h 4496940"/>
                  <a:gd name="connsiteX122" fmla="*/ 287677 w 4519987"/>
                  <a:gd name="connsiteY122" fmla="*/ 1152525 h 4496940"/>
                  <a:gd name="connsiteX123" fmla="*/ 316252 w 4519987"/>
                  <a:gd name="connsiteY123" fmla="*/ 1114425 h 4496940"/>
                  <a:gd name="connsiteX124" fmla="*/ 363877 w 4519987"/>
                  <a:gd name="connsiteY124" fmla="*/ 1038225 h 4496940"/>
                  <a:gd name="connsiteX125" fmla="*/ 382927 w 4519987"/>
                  <a:gd name="connsiteY125" fmla="*/ 1009650 h 4496940"/>
                  <a:gd name="connsiteX126" fmla="*/ 440077 w 4519987"/>
                  <a:gd name="connsiteY126" fmla="*/ 904875 h 4496940"/>
                  <a:gd name="connsiteX127" fmla="*/ 478177 w 4519987"/>
                  <a:gd name="connsiteY127" fmla="*/ 857250 h 4496940"/>
                  <a:gd name="connsiteX128" fmla="*/ 497227 w 4519987"/>
                  <a:gd name="connsiteY128" fmla="*/ 828675 h 4496940"/>
                  <a:gd name="connsiteX129" fmla="*/ 535327 w 4519987"/>
                  <a:gd name="connsiteY129" fmla="*/ 800100 h 4496940"/>
                  <a:gd name="connsiteX130" fmla="*/ 602002 w 4519987"/>
                  <a:gd name="connsiteY130" fmla="*/ 733425 h 4496940"/>
                  <a:gd name="connsiteX131" fmla="*/ 668677 w 4519987"/>
                  <a:gd name="connsiteY131" fmla="*/ 676275 h 4496940"/>
                  <a:gd name="connsiteX132" fmla="*/ 697252 w 4519987"/>
                  <a:gd name="connsiteY132" fmla="*/ 657225 h 4496940"/>
                  <a:gd name="connsiteX133" fmla="*/ 840127 w 4519987"/>
                  <a:gd name="connsiteY133" fmla="*/ 533400 h 4496940"/>
                  <a:gd name="connsiteX134" fmla="*/ 887752 w 4519987"/>
                  <a:gd name="connsiteY134" fmla="*/ 504825 h 4496940"/>
                  <a:gd name="connsiteX135" fmla="*/ 1167152 w 4519987"/>
                  <a:gd name="connsiteY135" fmla="*/ 311150 h 4496940"/>
                  <a:gd name="connsiteX136" fmla="*/ 1268752 w 4519987"/>
                  <a:gd name="connsiteY136" fmla="*/ 285750 h 4496940"/>
                  <a:gd name="connsiteX137" fmla="*/ 1411627 w 4519987"/>
                  <a:gd name="connsiteY137" fmla="*/ 190500 h 4496940"/>
                  <a:gd name="connsiteX138" fmla="*/ 1449727 w 4519987"/>
                  <a:gd name="connsiteY138" fmla="*/ 161925 h 4496940"/>
                  <a:gd name="connsiteX139" fmla="*/ 1525927 w 4519987"/>
                  <a:gd name="connsiteY139" fmla="*/ 152400 h 4496940"/>
                  <a:gd name="connsiteX140" fmla="*/ 1583077 w 4519987"/>
                  <a:gd name="connsiteY140" fmla="*/ 142875 h 4496940"/>
                  <a:gd name="connsiteX141" fmla="*/ 1716427 w 4519987"/>
                  <a:gd name="connsiteY141" fmla="*/ 123825 h 4496940"/>
                  <a:gd name="connsiteX142" fmla="*/ 1811677 w 4519987"/>
                  <a:gd name="connsiteY142" fmla="*/ 114300 h 4496940"/>
                  <a:gd name="connsiteX143" fmla="*/ 1859302 w 4519987"/>
                  <a:gd name="connsiteY143" fmla="*/ 104775 h 4496940"/>
                  <a:gd name="connsiteX144" fmla="*/ 1916452 w 4519987"/>
                  <a:gd name="connsiteY144" fmla="*/ 95250 h 4496940"/>
                  <a:gd name="connsiteX145" fmla="*/ 2030752 w 4519987"/>
                  <a:gd name="connsiteY145" fmla="*/ 66675 h 4496940"/>
                  <a:gd name="connsiteX146" fmla="*/ 2097427 w 4519987"/>
                  <a:gd name="connsiteY146" fmla="*/ 47625 h 4496940"/>
                  <a:gd name="connsiteX147" fmla="*/ 2164102 w 4519987"/>
                  <a:gd name="connsiteY147" fmla="*/ 38100 h 4496940"/>
                  <a:gd name="connsiteX148" fmla="*/ 2392702 w 4519987"/>
                  <a:gd name="connsiteY14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135777 w 4519987"/>
                  <a:gd name="connsiteY21" fmla="*/ 9334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192927 w 4519987"/>
                  <a:gd name="connsiteY24" fmla="*/ 1057275 h 4496940"/>
                  <a:gd name="connsiteX25" fmla="*/ 4202452 w 4519987"/>
                  <a:gd name="connsiteY25" fmla="*/ 1085850 h 4496940"/>
                  <a:gd name="connsiteX26" fmla="*/ 4250077 w 4519987"/>
                  <a:gd name="connsiteY26" fmla="*/ 1143000 h 4496940"/>
                  <a:gd name="connsiteX27" fmla="*/ 4259602 w 4519987"/>
                  <a:gd name="connsiteY27" fmla="*/ 1190625 h 4496940"/>
                  <a:gd name="connsiteX28" fmla="*/ 4307227 w 4519987"/>
                  <a:gd name="connsiteY28" fmla="*/ 1266825 h 4496940"/>
                  <a:gd name="connsiteX29" fmla="*/ 4345327 w 4519987"/>
                  <a:gd name="connsiteY29" fmla="*/ 1362075 h 4496940"/>
                  <a:gd name="connsiteX30" fmla="*/ 4373902 w 4519987"/>
                  <a:gd name="connsiteY30" fmla="*/ 1428750 h 4496940"/>
                  <a:gd name="connsiteX31" fmla="*/ 4392952 w 4519987"/>
                  <a:gd name="connsiteY31" fmla="*/ 1552575 h 4496940"/>
                  <a:gd name="connsiteX32" fmla="*/ 4402477 w 4519987"/>
                  <a:gd name="connsiteY32" fmla="*/ 1590675 h 4496940"/>
                  <a:gd name="connsiteX33" fmla="*/ 4431052 w 4519987"/>
                  <a:gd name="connsiteY33" fmla="*/ 1685925 h 4496940"/>
                  <a:gd name="connsiteX34" fmla="*/ 4519952 w 4519987"/>
                  <a:gd name="connsiteY34" fmla="*/ 2181225 h 4496940"/>
                  <a:gd name="connsiteX35" fmla="*/ 4446927 w 4519987"/>
                  <a:gd name="connsiteY35" fmla="*/ 2768600 h 4496940"/>
                  <a:gd name="connsiteX36" fmla="*/ 4383427 w 4519987"/>
                  <a:gd name="connsiteY36" fmla="*/ 2990850 h 4496940"/>
                  <a:gd name="connsiteX37" fmla="*/ 4278652 w 4519987"/>
                  <a:gd name="connsiteY37" fmla="*/ 3248025 h 4496940"/>
                  <a:gd name="connsiteX38" fmla="*/ 4259602 w 4519987"/>
                  <a:gd name="connsiteY38" fmla="*/ 3276600 h 4496940"/>
                  <a:gd name="connsiteX39" fmla="*/ 4221502 w 4519987"/>
                  <a:gd name="connsiteY39" fmla="*/ 3333750 h 4496940"/>
                  <a:gd name="connsiteX40" fmla="*/ 4211977 w 4519987"/>
                  <a:gd name="connsiteY40" fmla="*/ 3362325 h 4496940"/>
                  <a:gd name="connsiteX41" fmla="*/ 4183402 w 4519987"/>
                  <a:gd name="connsiteY41" fmla="*/ 3400425 h 4496940"/>
                  <a:gd name="connsiteX42" fmla="*/ 4164352 w 4519987"/>
                  <a:gd name="connsiteY42" fmla="*/ 3429000 h 4496940"/>
                  <a:gd name="connsiteX43" fmla="*/ 4088152 w 4519987"/>
                  <a:gd name="connsiteY43" fmla="*/ 3495675 h 4496940"/>
                  <a:gd name="connsiteX44" fmla="*/ 4059577 w 4519987"/>
                  <a:gd name="connsiteY44" fmla="*/ 3533775 h 4496940"/>
                  <a:gd name="connsiteX45" fmla="*/ 4002427 w 4519987"/>
                  <a:gd name="connsiteY45" fmla="*/ 3600450 h 4496940"/>
                  <a:gd name="connsiteX46" fmla="*/ 3983377 w 4519987"/>
                  <a:gd name="connsiteY46" fmla="*/ 3629025 h 4496940"/>
                  <a:gd name="connsiteX47" fmla="*/ 3954802 w 4519987"/>
                  <a:gd name="connsiteY47" fmla="*/ 3648075 h 4496940"/>
                  <a:gd name="connsiteX48" fmla="*/ 3907177 w 4519987"/>
                  <a:gd name="connsiteY48" fmla="*/ 3686175 h 4496940"/>
                  <a:gd name="connsiteX49" fmla="*/ 3869077 w 4519987"/>
                  <a:gd name="connsiteY49" fmla="*/ 3724275 h 4496940"/>
                  <a:gd name="connsiteX50" fmla="*/ 3792877 w 4519987"/>
                  <a:gd name="connsiteY50" fmla="*/ 3781425 h 4496940"/>
                  <a:gd name="connsiteX51" fmla="*/ 3783352 w 4519987"/>
                  <a:gd name="connsiteY51" fmla="*/ 3810000 h 4496940"/>
                  <a:gd name="connsiteX52" fmla="*/ 3745252 w 4519987"/>
                  <a:gd name="connsiteY52" fmla="*/ 3819525 h 4496940"/>
                  <a:gd name="connsiteX53" fmla="*/ 3678577 w 4519987"/>
                  <a:gd name="connsiteY53" fmla="*/ 3848100 h 4496940"/>
                  <a:gd name="connsiteX54" fmla="*/ 3659527 w 4519987"/>
                  <a:gd name="connsiteY54" fmla="*/ 3971925 h 4496940"/>
                  <a:gd name="connsiteX55" fmla="*/ 3630952 w 4519987"/>
                  <a:gd name="connsiteY55" fmla="*/ 4010025 h 4496940"/>
                  <a:gd name="connsiteX56" fmla="*/ 3621427 w 4519987"/>
                  <a:gd name="connsiteY56" fmla="*/ 4038600 h 4496940"/>
                  <a:gd name="connsiteX57" fmla="*/ 3554752 w 4519987"/>
                  <a:gd name="connsiteY57" fmla="*/ 4095750 h 4496940"/>
                  <a:gd name="connsiteX58" fmla="*/ 3516652 w 4519987"/>
                  <a:gd name="connsiteY58" fmla="*/ 4114800 h 4496940"/>
                  <a:gd name="connsiteX59" fmla="*/ 3497602 w 4519987"/>
                  <a:gd name="connsiteY59" fmla="*/ 4143375 h 4496940"/>
                  <a:gd name="connsiteX60" fmla="*/ 3383302 w 4519987"/>
                  <a:gd name="connsiteY60" fmla="*/ 4210050 h 4496940"/>
                  <a:gd name="connsiteX61" fmla="*/ 3335677 w 4519987"/>
                  <a:gd name="connsiteY61" fmla="*/ 4238625 h 4496940"/>
                  <a:gd name="connsiteX62" fmla="*/ 3288052 w 4519987"/>
                  <a:gd name="connsiteY62" fmla="*/ 4248150 h 4496940"/>
                  <a:gd name="connsiteX63" fmla="*/ 3240427 w 4519987"/>
                  <a:gd name="connsiteY63" fmla="*/ 4267200 h 4496940"/>
                  <a:gd name="connsiteX64" fmla="*/ 3068977 w 4519987"/>
                  <a:gd name="connsiteY64" fmla="*/ 4286250 h 4496940"/>
                  <a:gd name="connsiteX65" fmla="*/ 2935627 w 4519987"/>
                  <a:gd name="connsiteY65" fmla="*/ 4333875 h 4496940"/>
                  <a:gd name="connsiteX66" fmla="*/ 2811802 w 4519987"/>
                  <a:gd name="connsiteY66" fmla="*/ 4371975 h 4496940"/>
                  <a:gd name="connsiteX67" fmla="*/ 2745127 w 4519987"/>
                  <a:gd name="connsiteY67" fmla="*/ 4410075 h 4496940"/>
                  <a:gd name="connsiteX68" fmla="*/ 2697502 w 4519987"/>
                  <a:gd name="connsiteY68" fmla="*/ 4429125 h 4496940"/>
                  <a:gd name="connsiteX69" fmla="*/ 2640352 w 4519987"/>
                  <a:gd name="connsiteY69" fmla="*/ 4457700 h 4496940"/>
                  <a:gd name="connsiteX70" fmla="*/ 2583202 w 4519987"/>
                  <a:gd name="connsiteY70" fmla="*/ 4467225 h 4496940"/>
                  <a:gd name="connsiteX71" fmla="*/ 2545102 w 4519987"/>
                  <a:gd name="connsiteY71" fmla="*/ 4486275 h 4496940"/>
                  <a:gd name="connsiteX72" fmla="*/ 2306977 w 4519987"/>
                  <a:gd name="connsiteY72" fmla="*/ 4476750 h 4496940"/>
                  <a:gd name="connsiteX73" fmla="*/ 2202202 w 4519987"/>
                  <a:gd name="connsiteY73" fmla="*/ 4457700 h 4496940"/>
                  <a:gd name="connsiteX74" fmla="*/ 2126002 w 4519987"/>
                  <a:gd name="connsiteY74" fmla="*/ 4429125 h 4496940"/>
                  <a:gd name="connsiteX75" fmla="*/ 1935502 w 4519987"/>
                  <a:gd name="connsiteY75" fmla="*/ 4400550 h 4496940"/>
                  <a:gd name="connsiteX76" fmla="*/ 1821202 w 4519987"/>
                  <a:gd name="connsiteY76" fmla="*/ 4371975 h 4496940"/>
                  <a:gd name="connsiteX77" fmla="*/ 1754527 w 4519987"/>
                  <a:gd name="connsiteY77" fmla="*/ 4352925 h 4496940"/>
                  <a:gd name="connsiteX78" fmla="*/ 1687852 w 4519987"/>
                  <a:gd name="connsiteY78" fmla="*/ 4343400 h 4496940"/>
                  <a:gd name="connsiteX79" fmla="*/ 1573552 w 4519987"/>
                  <a:gd name="connsiteY79" fmla="*/ 4305300 h 4496940"/>
                  <a:gd name="connsiteX80" fmla="*/ 1402102 w 4519987"/>
                  <a:gd name="connsiteY80" fmla="*/ 4276725 h 4496940"/>
                  <a:gd name="connsiteX81" fmla="*/ 1287802 w 4519987"/>
                  <a:gd name="connsiteY81" fmla="*/ 4229100 h 4496940"/>
                  <a:gd name="connsiteX82" fmla="*/ 1221127 w 4519987"/>
                  <a:gd name="connsiteY82" fmla="*/ 4200525 h 4496940"/>
                  <a:gd name="connsiteX83" fmla="*/ 1144927 w 4519987"/>
                  <a:gd name="connsiteY83" fmla="*/ 4171950 h 4496940"/>
                  <a:gd name="connsiteX84" fmla="*/ 1087777 w 4519987"/>
                  <a:gd name="connsiteY84" fmla="*/ 4143375 h 4496940"/>
                  <a:gd name="connsiteX85" fmla="*/ 1030627 w 4519987"/>
                  <a:gd name="connsiteY85" fmla="*/ 4124325 h 4496940"/>
                  <a:gd name="connsiteX86" fmla="*/ 925852 w 4519987"/>
                  <a:gd name="connsiteY86" fmla="*/ 4067175 h 4496940"/>
                  <a:gd name="connsiteX87" fmla="*/ 830602 w 4519987"/>
                  <a:gd name="connsiteY87" fmla="*/ 3981450 h 4496940"/>
                  <a:gd name="connsiteX88" fmla="*/ 763927 w 4519987"/>
                  <a:gd name="connsiteY88" fmla="*/ 3914775 h 4496940"/>
                  <a:gd name="connsiteX89" fmla="*/ 725827 w 4519987"/>
                  <a:gd name="connsiteY89" fmla="*/ 3876675 h 4496940"/>
                  <a:gd name="connsiteX90" fmla="*/ 697252 w 4519987"/>
                  <a:gd name="connsiteY90" fmla="*/ 3838575 h 4496940"/>
                  <a:gd name="connsiteX91" fmla="*/ 640102 w 4519987"/>
                  <a:gd name="connsiteY91" fmla="*/ 3781425 h 4496940"/>
                  <a:gd name="connsiteX92" fmla="*/ 611527 w 4519987"/>
                  <a:gd name="connsiteY92" fmla="*/ 3733800 h 4496940"/>
                  <a:gd name="connsiteX93" fmla="*/ 554377 w 4519987"/>
                  <a:gd name="connsiteY93" fmla="*/ 3657600 h 4496940"/>
                  <a:gd name="connsiteX94" fmla="*/ 525802 w 4519987"/>
                  <a:gd name="connsiteY94" fmla="*/ 3609975 h 4496940"/>
                  <a:gd name="connsiteX95" fmla="*/ 497227 w 4519987"/>
                  <a:gd name="connsiteY95" fmla="*/ 3552825 h 4496940"/>
                  <a:gd name="connsiteX96" fmla="*/ 440077 w 4519987"/>
                  <a:gd name="connsiteY96" fmla="*/ 3495675 h 4496940"/>
                  <a:gd name="connsiteX97" fmla="*/ 411502 w 4519987"/>
                  <a:gd name="connsiteY97" fmla="*/ 3448050 h 4496940"/>
                  <a:gd name="connsiteX98" fmla="*/ 278152 w 4519987"/>
                  <a:gd name="connsiteY98" fmla="*/ 3257550 h 4496940"/>
                  <a:gd name="connsiteX99" fmla="*/ 249577 w 4519987"/>
                  <a:gd name="connsiteY99" fmla="*/ 3200400 h 4496940"/>
                  <a:gd name="connsiteX100" fmla="*/ 240052 w 4519987"/>
                  <a:gd name="connsiteY100" fmla="*/ 3162300 h 4496940"/>
                  <a:gd name="connsiteX101" fmla="*/ 221002 w 4519987"/>
                  <a:gd name="connsiteY101" fmla="*/ 3105150 h 4496940"/>
                  <a:gd name="connsiteX102" fmla="*/ 173377 w 4519987"/>
                  <a:gd name="connsiteY102" fmla="*/ 3019425 h 4496940"/>
                  <a:gd name="connsiteX103" fmla="*/ 144802 w 4519987"/>
                  <a:gd name="connsiteY103" fmla="*/ 2924175 h 4496940"/>
                  <a:gd name="connsiteX104" fmla="*/ 68602 w 4519987"/>
                  <a:gd name="connsiteY104" fmla="*/ 2724150 h 4496940"/>
                  <a:gd name="connsiteX105" fmla="*/ 49552 w 4519987"/>
                  <a:gd name="connsiteY105" fmla="*/ 2638425 h 4496940"/>
                  <a:gd name="connsiteX106" fmla="*/ 40027 w 4519987"/>
                  <a:gd name="connsiteY106" fmla="*/ 2562225 h 4496940"/>
                  <a:gd name="connsiteX107" fmla="*/ 30502 w 4519987"/>
                  <a:gd name="connsiteY107" fmla="*/ 2514600 h 4496940"/>
                  <a:gd name="connsiteX108" fmla="*/ 11452 w 4519987"/>
                  <a:gd name="connsiteY108" fmla="*/ 2400300 h 4496940"/>
                  <a:gd name="connsiteX109" fmla="*/ 20977 w 4519987"/>
                  <a:gd name="connsiteY109" fmla="*/ 1905000 h 4496940"/>
                  <a:gd name="connsiteX110" fmla="*/ 30502 w 4519987"/>
                  <a:gd name="connsiteY110" fmla="*/ 1838325 h 4496940"/>
                  <a:gd name="connsiteX111" fmla="*/ 49552 w 4519987"/>
                  <a:gd name="connsiteY111" fmla="*/ 1781175 h 4496940"/>
                  <a:gd name="connsiteX112" fmla="*/ 59077 w 4519987"/>
                  <a:gd name="connsiteY112" fmla="*/ 1743075 h 4496940"/>
                  <a:gd name="connsiteX113" fmla="*/ 78127 w 4519987"/>
                  <a:gd name="connsiteY113" fmla="*/ 1685925 h 4496940"/>
                  <a:gd name="connsiteX114" fmla="*/ 87652 w 4519987"/>
                  <a:gd name="connsiteY114" fmla="*/ 1638300 h 4496940"/>
                  <a:gd name="connsiteX115" fmla="*/ 106702 w 4519987"/>
                  <a:gd name="connsiteY115" fmla="*/ 1590675 h 4496940"/>
                  <a:gd name="connsiteX116" fmla="*/ 135277 w 4519987"/>
                  <a:gd name="connsiteY116" fmla="*/ 1504950 h 4496940"/>
                  <a:gd name="connsiteX117" fmla="*/ 154327 w 4519987"/>
                  <a:gd name="connsiteY117" fmla="*/ 1419225 h 4496940"/>
                  <a:gd name="connsiteX118" fmla="*/ 230527 w 4519987"/>
                  <a:gd name="connsiteY118" fmla="*/ 1276350 h 4496940"/>
                  <a:gd name="connsiteX119" fmla="*/ 240052 w 4519987"/>
                  <a:gd name="connsiteY119" fmla="*/ 1247775 h 4496940"/>
                  <a:gd name="connsiteX120" fmla="*/ 268627 w 4519987"/>
                  <a:gd name="connsiteY120" fmla="*/ 1200150 h 4496940"/>
                  <a:gd name="connsiteX121" fmla="*/ 287677 w 4519987"/>
                  <a:gd name="connsiteY121" fmla="*/ 1152525 h 4496940"/>
                  <a:gd name="connsiteX122" fmla="*/ 316252 w 4519987"/>
                  <a:gd name="connsiteY122" fmla="*/ 1114425 h 4496940"/>
                  <a:gd name="connsiteX123" fmla="*/ 363877 w 4519987"/>
                  <a:gd name="connsiteY123" fmla="*/ 1038225 h 4496940"/>
                  <a:gd name="connsiteX124" fmla="*/ 382927 w 4519987"/>
                  <a:gd name="connsiteY124" fmla="*/ 1009650 h 4496940"/>
                  <a:gd name="connsiteX125" fmla="*/ 440077 w 4519987"/>
                  <a:gd name="connsiteY125" fmla="*/ 904875 h 4496940"/>
                  <a:gd name="connsiteX126" fmla="*/ 478177 w 4519987"/>
                  <a:gd name="connsiteY126" fmla="*/ 857250 h 4496940"/>
                  <a:gd name="connsiteX127" fmla="*/ 497227 w 4519987"/>
                  <a:gd name="connsiteY127" fmla="*/ 828675 h 4496940"/>
                  <a:gd name="connsiteX128" fmla="*/ 535327 w 4519987"/>
                  <a:gd name="connsiteY128" fmla="*/ 800100 h 4496940"/>
                  <a:gd name="connsiteX129" fmla="*/ 602002 w 4519987"/>
                  <a:gd name="connsiteY129" fmla="*/ 733425 h 4496940"/>
                  <a:gd name="connsiteX130" fmla="*/ 668677 w 4519987"/>
                  <a:gd name="connsiteY130" fmla="*/ 676275 h 4496940"/>
                  <a:gd name="connsiteX131" fmla="*/ 697252 w 4519987"/>
                  <a:gd name="connsiteY131" fmla="*/ 657225 h 4496940"/>
                  <a:gd name="connsiteX132" fmla="*/ 840127 w 4519987"/>
                  <a:gd name="connsiteY132" fmla="*/ 533400 h 4496940"/>
                  <a:gd name="connsiteX133" fmla="*/ 887752 w 4519987"/>
                  <a:gd name="connsiteY133" fmla="*/ 504825 h 4496940"/>
                  <a:gd name="connsiteX134" fmla="*/ 1167152 w 4519987"/>
                  <a:gd name="connsiteY134" fmla="*/ 311150 h 4496940"/>
                  <a:gd name="connsiteX135" fmla="*/ 1268752 w 4519987"/>
                  <a:gd name="connsiteY135" fmla="*/ 285750 h 4496940"/>
                  <a:gd name="connsiteX136" fmla="*/ 1411627 w 4519987"/>
                  <a:gd name="connsiteY136" fmla="*/ 190500 h 4496940"/>
                  <a:gd name="connsiteX137" fmla="*/ 1449727 w 4519987"/>
                  <a:gd name="connsiteY137" fmla="*/ 161925 h 4496940"/>
                  <a:gd name="connsiteX138" fmla="*/ 1525927 w 4519987"/>
                  <a:gd name="connsiteY138" fmla="*/ 152400 h 4496940"/>
                  <a:gd name="connsiteX139" fmla="*/ 1583077 w 4519987"/>
                  <a:gd name="connsiteY139" fmla="*/ 142875 h 4496940"/>
                  <a:gd name="connsiteX140" fmla="*/ 1716427 w 4519987"/>
                  <a:gd name="connsiteY140" fmla="*/ 123825 h 4496940"/>
                  <a:gd name="connsiteX141" fmla="*/ 1811677 w 4519987"/>
                  <a:gd name="connsiteY141" fmla="*/ 114300 h 4496940"/>
                  <a:gd name="connsiteX142" fmla="*/ 1859302 w 4519987"/>
                  <a:gd name="connsiteY142" fmla="*/ 104775 h 4496940"/>
                  <a:gd name="connsiteX143" fmla="*/ 1916452 w 4519987"/>
                  <a:gd name="connsiteY143" fmla="*/ 95250 h 4496940"/>
                  <a:gd name="connsiteX144" fmla="*/ 2030752 w 4519987"/>
                  <a:gd name="connsiteY144" fmla="*/ 66675 h 4496940"/>
                  <a:gd name="connsiteX145" fmla="*/ 2097427 w 4519987"/>
                  <a:gd name="connsiteY145" fmla="*/ 47625 h 4496940"/>
                  <a:gd name="connsiteX146" fmla="*/ 2164102 w 4519987"/>
                  <a:gd name="connsiteY146" fmla="*/ 38100 h 4496940"/>
                  <a:gd name="connsiteX147" fmla="*/ 2392702 w 4519987"/>
                  <a:gd name="connsiteY14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192927 w 4519987"/>
                  <a:gd name="connsiteY24" fmla="*/ 1057275 h 4496940"/>
                  <a:gd name="connsiteX25" fmla="*/ 4202452 w 4519987"/>
                  <a:gd name="connsiteY25" fmla="*/ 1085850 h 4496940"/>
                  <a:gd name="connsiteX26" fmla="*/ 4250077 w 4519987"/>
                  <a:gd name="connsiteY26" fmla="*/ 1143000 h 4496940"/>
                  <a:gd name="connsiteX27" fmla="*/ 4259602 w 4519987"/>
                  <a:gd name="connsiteY27" fmla="*/ 1190625 h 4496940"/>
                  <a:gd name="connsiteX28" fmla="*/ 4307227 w 4519987"/>
                  <a:gd name="connsiteY28" fmla="*/ 1266825 h 4496940"/>
                  <a:gd name="connsiteX29" fmla="*/ 4345327 w 4519987"/>
                  <a:gd name="connsiteY29" fmla="*/ 1362075 h 4496940"/>
                  <a:gd name="connsiteX30" fmla="*/ 4373902 w 4519987"/>
                  <a:gd name="connsiteY30" fmla="*/ 1428750 h 4496940"/>
                  <a:gd name="connsiteX31" fmla="*/ 4392952 w 4519987"/>
                  <a:gd name="connsiteY31" fmla="*/ 1552575 h 4496940"/>
                  <a:gd name="connsiteX32" fmla="*/ 4402477 w 4519987"/>
                  <a:gd name="connsiteY32" fmla="*/ 1590675 h 4496940"/>
                  <a:gd name="connsiteX33" fmla="*/ 4431052 w 4519987"/>
                  <a:gd name="connsiteY33" fmla="*/ 1685925 h 4496940"/>
                  <a:gd name="connsiteX34" fmla="*/ 4519952 w 4519987"/>
                  <a:gd name="connsiteY34" fmla="*/ 2181225 h 4496940"/>
                  <a:gd name="connsiteX35" fmla="*/ 4446927 w 4519987"/>
                  <a:gd name="connsiteY35" fmla="*/ 2768600 h 4496940"/>
                  <a:gd name="connsiteX36" fmla="*/ 4383427 w 4519987"/>
                  <a:gd name="connsiteY36" fmla="*/ 2990850 h 4496940"/>
                  <a:gd name="connsiteX37" fmla="*/ 4278652 w 4519987"/>
                  <a:gd name="connsiteY37" fmla="*/ 3248025 h 4496940"/>
                  <a:gd name="connsiteX38" fmla="*/ 4259602 w 4519987"/>
                  <a:gd name="connsiteY38" fmla="*/ 3276600 h 4496940"/>
                  <a:gd name="connsiteX39" fmla="*/ 4221502 w 4519987"/>
                  <a:gd name="connsiteY39" fmla="*/ 3333750 h 4496940"/>
                  <a:gd name="connsiteX40" fmla="*/ 4211977 w 4519987"/>
                  <a:gd name="connsiteY40" fmla="*/ 3362325 h 4496940"/>
                  <a:gd name="connsiteX41" fmla="*/ 4183402 w 4519987"/>
                  <a:gd name="connsiteY41" fmla="*/ 3400425 h 4496940"/>
                  <a:gd name="connsiteX42" fmla="*/ 4164352 w 4519987"/>
                  <a:gd name="connsiteY42" fmla="*/ 3429000 h 4496940"/>
                  <a:gd name="connsiteX43" fmla="*/ 4088152 w 4519987"/>
                  <a:gd name="connsiteY43" fmla="*/ 3495675 h 4496940"/>
                  <a:gd name="connsiteX44" fmla="*/ 4059577 w 4519987"/>
                  <a:gd name="connsiteY44" fmla="*/ 3533775 h 4496940"/>
                  <a:gd name="connsiteX45" fmla="*/ 4002427 w 4519987"/>
                  <a:gd name="connsiteY45" fmla="*/ 3600450 h 4496940"/>
                  <a:gd name="connsiteX46" fmla="*/ 3983377 w 4519987"/>
                  <a:gd name="connsiteY46" fmla="*/ 3629025 h 4496940"/>
                  <a:gd name="connsiteX47" fmla="*/ 3954802 w 4519987"/>
                  <a:gd name="connsiteY47" fmla="*/ 3648075 h 4496940"/>
                  <a:gd name="connsiteX48" fmla="*/ 3907177 w 4519987"/>
                  <a:gd name="connsiteY48" fmla="*/ 3686175 h 4496940"/>
                  <a:gd name="connsiteX49" fmla="*/ 3869077 w 4519987"/>
                  <a:gd name="connsiteY49" fmla="*/ 3724275 h 4496940"/>
                  <a:gd name="connsiteX50" fmla="*/ 3792877 w 4519987"/>
                  <a:gd name="connsiteY50" fmla="*/ 3781425 h 4496940"/>
                  <a:gd name="connsiteX51" fmla="*/ 3783352 w 4519987"/>
                  <a:gd name="connsiteY51" fmla="*/ 3810000 h 4496940"/>
                  <a:gd name="connsiteX52" fmla="*/ 3745252 w 4519987"/>
                  <a:gd name="connsiteY52" fmla="*/ 3819525 h 4496940"/>
                  <a:gd name="connsiteX53" fmla="*/ 3678577 w 4519987"/>
                  <a:gd name="connsiteY53" fmla="*/ 3848100 h 4496940"/>
                  <a:gd name="connsiteX54" fmla="*/ 3659527 w 4519987"/>
                  <a:gd name="connsiteY54" fmla="*/ 3971925 h 4496940"/>
                  <a:gd name="connsiteX55" fmla="*/ 3630952 w 4519987"/>
                  <a:gd name="connsiteY55" fmla="*/ 4010025 h 4496940"/>
                  <a:gd name="connsiteX56" fmla="*/ 3621427 w 4519987"/>
                  <a:gd name="connsiteY56" fmla="*/ 4038600 h 4496940"/>
                  <a:gd name="connsiteX57" fmla="*/ 3554752 w 4519987"/>
                  <a:gd name="connsiteY57" fmla="*/ 4095750 h 4496940"/>
                  <a:gd name="connsiteX58" fmla="*/ 3516652 w 4519987"/>
                  <a:gd name="connsiteY58" fmla="*/ 4114800 h 4496940"/>
                  <a:gd name="connsiteX59" fmla="*/ 3497602 w 4519987"/>
                  <a:gd name="connsiteY59" fmla="*/ 4143375 h 4496940"/>
                  <a:gd name="connsiteX60" fmla="*/ 3383302 w 4519987"/>
                  <a:gd name="connsiteY60" fmla="*/ 4210050 h 4496940"/>
                  <a:gd name="connsiteX61" fmla="*/ 3335677 w 4519987"/>
                  <a:gd name="connsiteY61" fmla="*/ 4238625 h 4496940"/>
                  <a:gd name="connsiteX62" fmla="*/ 3288052 w 4519987"/>
                  <a:gd name="connsiteY62" fmla="*/ 4248150 h 4496940"/>
                  <a:gd name="connsiteX63" fmla="*/ 3240427 w 4519987"/>
                  <a:gd name="connsiteY63" fmla="*/ 4267200 h 4496940"/>
                  <a:gd name="connsiteX64" fmla="*/ 3068977 w 4519987"/>
                  <a:gd name="connsiteY64" fmla="*/ 4286250 h 4496940"/>
                  <a:gd name="connsiteX65" fmla="*/ 2935627 w 4519987"/>
                  <a:gd name="connsiteY65" fmla="*/ 4333875 h 4496940"/>
                  <a:gd name="connsiteX66" fmla="*/ 2811802 w 4519987"/>
                  <a:gd name="connsiteY66" fmla="*/ 4371975 h 4496940"/>
                  <a:gd name="connsiteX67" fmla="*/ 2745127 w 4519987"/>
                  <a:gd name="connsiteY67" fmla="*/ 4410075 h 4496940"/>
                  <a:gd name="connsiteX68" fmla="*/ 2697502 w 4519987"/>
                  <a:gd name="connsiteY68" fmla="*/ 4429125 h 4496940"/>
                  <a:gd name="connsiteX69" fmla="*/ 2640352 w 4519987"/>
                  <a:gd name="connsiteY69" fmla="*/ 4457700 h 4496940"/>
                  <a:gd name="connsiteX70" fmla="*/ 2583202 w 4519987"/>
                  <a:gd name="connsiteY70" fmla="*/ 4467225 h 4496940"/>
                  <a:gd name="connsiteX71" fmla="*/ 2545102 w 4519987"/>
                  <a:gd name="connsiteY71" fmla="*/ 4486275 h 4496940"/>
                  <a:gd name="connsiteX72" fmla="*/ 2306977 w 4519987"/>
                  <a:gd name="connsiteY72" fmla="*/ 4476750 h 4496940"/>
                  <a:gd name="connsiteX73" fmla="*/ 2202202 w 4519987"/>
                  <a:gd name="connsiteY73" fmla="*/ 4457700 h 4496940"/>
                  <a:gd name="connsiteX74" fmla="*/ 2126002 w 4519987"/>
                  <a:gd name="connsiteY74" fmla="*/ 4429125 h 4496940"/>
                  <a:gd name="connsiteX75" fmla="*/ 1935502 w 4519987"/>
                  <a:gd name="connsiteY75" fmla="*/ 4400550 h 4496940"/>
                  <a:gd name="connsiteX76" fmla="*/ 1821202 w 4519987"/>
                  <a:gd name="connsiteY76" fmla="*/ 4371975 h 4496940"/>
                  <a:gd name="connsiteX77" fmla="*/ 1754527 w 4519987"/>
                  <a:gd name="connsiteY77" fmla="*/ 4352925 h 4496940"/>
                  <a:gd name="connsiteX78" fmla="*/ 1687852 w 4519987"/>
                  <a:gd name="connsiteY78" fmla="*/ 4343400 h 4496940"/>
                  <a:gd name="connsiteX79" fmla="*/ 1573552 w 4519987"/>
                  <a:gd name="connsiteY79" fmla="*/ 4305300 h 4496940"/>
                  <a:gd name="connsiteX80" fmla="*/ 1402102 w 4519987"/>
                  <a:gd name="connsiteY80" fmla="*/ 4276725 h 4496940"/>
                  <a:gd name="connsiteX81" fmla="*/ 1287802 w 4519987"/>
                  <a:gd name="connsiteY81" fmla="*/ 4229100 h 4496940"/>
                  <a:gd name="connsiteX82" fmla="*/ 1221127 w 4519987"/>
                  <a:gd name="connsiteY82" fmla="*/ 4200525 h 4496940"/>
                  <a:gd name="connsiteX83" fmla="*/ 1144927 w 4519987"/>
                  <a:gd name="connsiteY83" fmla="*/ 4171950 h 4496940"/>
                  <a:gd name="connsiteX84" fmla="*/ 1087777 w 4519987"/>
                  <a:gd name="connsiteY84" fmla="*/ 4143375 h 4496940"/>
                  <a:gd name="connsiteX85" fmla="*/ 1030627 w 4519987"/>
                  <a:gd name="connsiteY85" fmla="*/ 4124325 h 4496940"/>
                  <a:gd name="connsiteX86" fmla="*/ 925852 w 4519987"/>
                  <a:gd name="connsiteY86" fmla="*/ 4067175 h 4496940"/>
                  <a:gd name="connsiteX87" fmla="*/ 830602 w 4519987"/>
                  <a:gd name="connsiteY87" fmla="*/ 3981450 h 4496940"/>
                  <a:gd name="connsiteX88" fmla="*/ 763927 w 4519987"/>
                  <a:gd name="connsiteY88" fmla="*/ 3914775 h 4496940"/>
                  <a:gd name="connsiteX89" fmla="*/ 725827 w 4519987"/>
                  <a:gd name="connsiteY89" fmla="*/ 3876675 h 4496940"/>
                  <a:gd name="connsiteX90" fmla="*/ 697252 w 4519987"/>
                  <a:gd name="connsiteY90" fmla="*/ 3838575 h 4496940"/>
                  <a:gd name="connsiteX91" fmla="*/ 640102 w 4519987"/>
                  <a:gd name="connsiteY91" fmla="*/ 3781425 h 4496940"/>
                  <a:gd name="connsiteX92" fmla="*/ 611527 w 4519987"/>
                  <a:gd name="connsiteY92" fmla="*/ 3733800 h 4496940"/>
                  <a:gd name="connsiteX93" fmla="*/ 554377 w 4519987"/>
                  <a:gd name="connsiteY93" fmla="*/ 3657600 h 4496940"/>
                  <a:gd name="connsiteX94" fmla="*/ 525802 w 4519987"/>
                  <a:gd name="connsiteY94" fmla="*/ 3609975 h 4496940"/>
                  <a:gd name="connsiteX95" fmla="*/ 497227 w 4519987"/>
                  <a:gd name="connsiteY95" fmla="*/ 3552825 h 4496940"/>
                  <a:gd name="connsiteX96" fmla="*/ 440077 w 4519987"/>
                  <a:gd name="connsiteY96" fmla="*/ 3495675 h 4496940"/>
                  <a:gd name="connsiteX97" fmla="*/ 411502 w 4519987"/>
                  <a:gd name="connsiteY97" fmla="*/ 3448050 h 4496940"/>
                  <a:gd name="connsiteX98" fmla="*/ 278152 w 4519987"/>
                  <a:gd name="connsiteY98" fmla="*/ 3257550 h 4496940"/>
                  <a:gd name="connsiteX99" fmla="*/ 249577 w 4519987"/>
                  <a:gd name="connsiteY99" fmla="*/ 3200400 h 4496940"/>
                  <a:gd name="connsiteX100" fmla="*/ 240052 w 4519987"/>
                  <a:gd name="connsiteY100" fmla="*/ 3162300 h 4496940"/>
                  <a:gd name="connsiteX101" fmla="*/ 221002 w 4519987"/>
                  <a:gd name="connsiteY101" fmla="*/ 3105150 h 4496940"/>
                  <a:gd name="connsiteX102" fmla="*/ 173377 w 4519987"/>
                  <a:gd name="connsiteY102" fmla="*/ 3019425 h 4496940"/>
                  <a:gd name="connsiteX103" fmla="*/ 144802 w 4519987"/>
                  <a:gd name="connsiteY103" fmla="*/ 2924175 h 4496940"/>
                  <a:gd name="connsiteX104" fmla="*/ 68602 w 4519987"/>
                  <a:gd name="connsiteY104" fmla="*/ 2724150 h 4496940"/>
                  <a:gd name="connsiteX105" fmla="*/ 49552 w 4519987"/>
                  <a:gd name="connsiteY105" fmla="*/ 2638425 h 4496940"/>
                  <a:gd name="connsiteX106" fmla="*/ 40027 w 4519987"/>
                  <a:gd name="connsiteY106" fmla="*/ 2562225 h 4496940"/>
                  <a:gd name="connsiteX107" fmla="*/ 30502 w 4519987"/>
                  <a:gd name="connsiteY107" fmla="*/ 2514600 h 4496940"/>
                  <a:gd name="connsiteX108" fmla="*/ 11452 w 4519987"/>
                  <a:gd name="connsiteY108" fmla="*/ 2400300 h 4496940"/>
                  <a:gd name="connsiteX109" fmla="*/ 20977 w 4519987"/>
                  <a:gd name="connsiteY109" fmla="*/ 1905000 h 4496940"/>
                  <a:gd name="connsiteX110" fmla="*/ 30502 w 4519987"/>
                  <a:gd name="connsiteY110" fmla="*/ 1838325 h 4496940"/>
                  <a:gd name="connsiteX111" fmla="*/ 49552 w 4519987"/>
                  <a:gd name="connsiteY111" fmla="*/ 1781175 h 4496940"/>
                  <a:gd name="connsiteX112" fmla="*/ 59077 w 4519987"/>
                  <a:gd name="connsiteY112" fmla="*/ 1743075 h 4496940"/>
                  <a:gd name="connsiteX113" fmla="*/ 78127 w 4519987"/>
                  <a:gd name="connsiteY113" fmla="*/ 1685925 h 4496940"/>
                  <a:gd name="connsiteX114" fmla="*/ 87652 w 4519987"/>
                  <a:gd name="connsiteY114" fmla="*/ 1638300 h 4496940"/>
                  <a:gd name="connsiteX115" fmla="*/ 106702 w 4519987"/>
                  <a:gd name="connsiteY115" fmla="*/ 1590675 h 4496940"/>
                  <a:gd name="connsiteX116" fmla="*/ 135277 w 4519987"/>
                  <a:gd name="connsiteY116" fmla="*/ 1504950 h 4496940"/>
                  <a:gd name="connsiteX117" fmla="*/ 154327 w 4519987"/>
                  <a:gd name="connsiteY117" fmla="*/ 1419225 h 4496940"/>
                  <a:gd name="connsiteX118" fmla="*/ 230527 w 4519987"/>
                  <a:gd name="connsiteY118" fmla="*/ 1276350 h 4496940"/>
                  <a:gd name="connsiteX119" fmla="*/ 240052 w 4519987"/>
                  <a:gd name="connsiteY119" fmla="*/ 1247775 h 4496940"/>
                  <a:gd name="connsiteX120" fmla="*/ 268627 w 4519987"/>
                  <a:gd name="connsiteY120" fmla="*/ 1200150 h 4496940"/>
                  <a:gd name="connsiteX121" fmla="*/ 287677 w 4519987"/>
                  <a:gd name="connsiteY121" fmla="*/ 1152525 h 4496940"/>
                  <a:gd name="connsiteX122" fmla="*/ 316252 w 4519987"/>
                  <a:gd name="connsiteY122" fmla="*/ 1114425 h 4496940"/>
                  <a:gd name="connsiteX123" fmla="*/ 363877 w 4519987"/>
                  <a:gd name="connsiteY123" fmla="*/ 1038225 h 4496940"/>
                  <a:gd name="connsiteX124" fmla="*/ 382927 w 4519987"/>
                  <a:gd name="connsiteY124" fmla="*/ 1009650 h 4496940"/>
                  <a:gd name="connsiteX125" fmla="*/ 440077 w 4519987"/>
                  <a:gd name="connsiteY125" fmla="*/ 904875 h 4496940"/>
                  <a:gd name="connsiteX126" fmla="*/ 478177 w 4519987"/>
                  <a:gd name="connsiteY126" fmla="*/ 857250 h 4496940"/>
                  <a:gd name="connsiteX127" fmla="*/ 497227 w 4519987"/>
                  <a:gd name="connsiteY127" fmla="*/ 828675 h 4496940"/>
                  <a:gd name="connsiteX128" fmla="*/ 535327 w 4519987"/>
                  <a:gd name="connsiteY128" fmla="*/ 800100 h 4496940"/>
                  <a:gd name="connsiteX129" fmla="*/ 602002 w 4519987"/>
                  <a:gd name="connsiteY129" fmla="*/ 733425 h 4496940"/>
                  <a:gd name="connsiteX130" fmla="*/ 668677 w 4519987"/>
                  <a:gd name="connsiteY130" fmla="*/ 676275 h 4496940"/>
                  <a:gd name="connsiteX131" fmla="*/ 697252 w 4519987"/>
                  <a:gd name="connsiteY131" fmla="*/ 657225 h 4496940"/>
                  <a:gd name="connsiteX132" fmla="*/ 840127 w 4519987"/>
                  <a:gd name="connsiteY132" fmla="*/ 533400 h 4496940"/>
                  <a:gd name="connsiteX133" fmla="*/ 887752 w 4519987"/>
                  <a:gd name="connsiteY133" fmla="*/ 504825 h 4496940"/>
                  <a:gd name="connsiteX134" fmla="*/ 1167152 w 4519987"/>
                  <a:gd name="connsiteY134" fmla="*/ 311150 h 4496940"/>
                  <a:gd name="connsiteX135" fmla="*/ 1268752 w 4519987"/>
                  <a:gd name="connsiteY135" fmla="*/ 285750 h 4496940"/>
                  <a:gd name="connsiteX136" fmla="*/ 1411627 w 4519987"/>
                  <a:gd name="connsiteY136" fmla="*/ 190500 h 4496940"/>
                  <a:gd name="connsiteX137" fmla="*/ 1449727 w 4519987"/>
                  <a:gd name="connsiteY137" fmla="*/ 161925 h 4496940"/>
                  <a:gd name="connsiteX138" fmla="*/ 1525927 w 4519987"/>
                  <a:gd name="connsiteY138" fmla="*/ 152400 h 4496940"/>
                  <a:gd name="connsiteX139" fmla="*/ 1583077 w 4519987"/>
                  <a:gd name="connsiteY139" fmla="*/ 142875 h 4496940"/>
                  <a:gd name="connsiteX140" fmla="*/ 1716427 w 4519987"/>
                  <a:gd name="connsiteY140" fmla="*/ 123825 h 4496940"/>
                  <a:gd name="connsiteX141" fmla="*/ 1811677 w 4519987"/>
                  <a:gd name="connsiteY141" fmla="*/ 114300 h 4496940"/>
                  <a:gd name="connsiteX142" fmla="*/ 1859302 w 4519987"/>
                  <a:gd name="connsiteY142" fmla="*/ 104775 h 4496940"/>
                  <a:gd name="connsiteX143" fmla="*/ 1916452 w 4519987"/>
                  <a:gd name="connsiteY143" fmla="*/ 95250 h 4496940"/>
                  <a:gd name="connsiteX144" fmla="*/ 2030752 w 4519987"/>
                  <a:gd name="connsiteY144" fmla="*/ 66675 h 4496940"/>
                  <a:gd name="connsiteX145" fmla="*/ 2097427 w 4519987"/>
                  <a:gd name="connsiteY145" fmla="*/ 47625 h 4496940"/>
                  <a:gd name="connsiteX146" fmla="*/ 2164102 w 4519987"/>
                  <a:gd name="connsiteY146" fmla="*/ 38100 h 4496940"/>
                  <a:gd name="connsiteX147" fmla="*/ 2392702 w 4519987"/>
                  <a:gd name="connsiteY14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202452 w 4519987"/>
                  <a:gd name="connsiteY24" fmla="*/ 1085850 h 4496940"/>
                  <a:gd name="connsiteX25" fmla="*/ 4250077 w 4519987"/>
                  <a:gd name="connsiteY25" fmla="*/ 1143000 h 4496940"/>
                  <a:gd name="connsiteX26" fmla="*/ 4259602 w 4519987"/>
                  <a:gd name="connsiteY26" fmla="*/ 1190625 h 4496940"/>
                  <a:gd name="connsiteX27" fmla="*/ 4307227 w 4519987"/>
                  <a:gd name="connsiteY27" fmla="*/ 1266825 h 4496940"/>
                  <a:gd name="connsiteX28" fmla="*/ 4345327 w 4519987"/>
                  <a:gd name="connsiteY28" fmla="*/ 1362075 h 4496940"/>
                  <a:gd name="connsiteX29" fmla="*/ 4373902 w 4519987"/>
                  <a:gd name="connsiteY29" fmla="*/ 1428750 h 4496940"/>
                  <a:gd name="connsiteX30" fmla="*/ 4392952 w 4519987"/>
                  <a:gd name="connsiteY30" fmla="*/ 1552575 h 4496940"/>
                  <a:gd name="connsiteX31" fmla="*/ 4402477 w 4519987"/>
                  <a:gd name="connsiteY31" fmla="*/ 1590675 h 4496940"/>
                  <a:gd name="connsiteX32" fmla="*/ 4431052 w 4519987"/>
                  <a:gd name="connsiteY32" fmla="*/ 1685925 h 4496940"/>
                  <a:gd name="connsiteX33" fmla="*/ 4519952 w 4519987"/>
                  <a:gd name="connsiteY33" fmla="*/ 2181225 h 4496940"/>
                  <a:gd name="connsiteX34" fmla="*/ 4446927 w 4519987"/>
                  <a:gd name="connsiteY34" fmla="*/ 2768600 h 4496940"/>
                  <a:gd name="connsiteX35" fmla="*/ 4383427 w 4519987"/>
                  <a:gd name="connsiteY35" fmla="*/ 2990850 h 4496940"/>
                  <a:gd name="connsiteX36" fmla="*/ 4278652 w 4519987"/>
                  <a:gd name="connsiteY36" fmla="*/ 3248025 h 4496940"/>
                  <a:gd name="connsiteX37" fmla="*/ 4259602 w 4519987"/>
                  <a:gd name="connsiteY37" fmla="*/ 3276600 h 4496940"/>
                  <a:gd name="connsiteX38" fmla="*/ 4221502 w 4519987"/>
                  <a:gd name="connsiteY38" fmla="*/ 3333750 h 4496940"/>
                  <a:gd name="connsiteX39" fmla="*/ 4211977 w 4519987"/>
                  <a:gd name="connsiteY39" fmla="*/ 3362325 h 4496940"/>
                  <a:gd name="connsiteX40" fmla="*/ 4183402 w 4519987"/>
                  <a:gd name="connsiteY40" fmla="*/ 3400425 h 4496940"/>
                  <a:gd name="connsiteX41" fmla="*/ 4164352 w 4519987"/>
                  <a:gd name="connsiteY41" fmla="*/ 3429000 h 4496940"/>
                  <a:gd name="connsiteX42" fmla="*/ 4088152 w 4519987"/>
                  <a:gd name="connsiteY42" fmla="*/ 3495675 h 4496940"/>
                  <a:gd name="connsiteX43" fmla="*/ 4059577 w 4519987"/>
                  <a:gd name="connsiteY43" fmla="*/ 3533775 h 4496940"/>
                  <a:gd name="connsiteX44" fmla="*/ 4002427 w 4519987"/>
                  <a:gd name="connsiteY44" fmla="*/ 3600450 h 4496940"/>
                  <a:gd name="connsiteX45" fmla="*/ 3983377 w 4519987"/>
                  <a:gd name="connsiteY45" fmla="*/ 3629025 h 4496940"/>
                  <a:gd name="connsiteX46" fmla="*/ 3954802 w 4519987"/>
                  <a:gd name="connsiteY46" fmla="*/ 3648075 h 4496940"/>
                  <a:gd name="connsiteX47" fmla="*/ 3907177 w 4519987"/>
                  <a:gd name="connsiteY47" fmla="*/ 3686175 h 4496940"/>
                  <a:gd name="connsiteX48" fmla="*/ 3869077 w 4519987"/>
                  <a:gd name="connsiteY48" fmla="*/ 3724275 h 4496940"/>
                  <a:gd name="connsiteX49" fmla="*/ 3792877 w 4519987"/>
                  <a:gd name="connsiteY49" fmla="*/ 3781425 h 4496940"/>
                  <a:gd name="connsiteX50" fmla="*/ 3783352 w 4519987"/>
                  <a:gd name="connsiteY50" fmla="*/ 3810000 h 4496940"/>
                  <a:gd name="connsiteX51" fmla="*/ 3745252 w 4519987"/>
                  <a:gd name="connsiteY51" fmla="*/ 3819525 h 4496940"/>
                  <a:gd name="connsiteX52" fmla="*/ 3678577 w 4519987"/>
                  <a:gd name="connsiteY52" fmla="*/ 3848100 h 4496940"/>
                  <a:gd name="connsiteX53" fmla="*/ 3659527 w 4519987"/>
                  <a:gd name="connsiteY53" fmla="*/ 3971925 h 4496940"/>
                  <a:gd name="connsiteX54" fmla="*/ 3630952 w 4519987"/>
                  <a:gd name="connsiteY54" fmla="*/ 4010025 h 4496940"/>
                  <a:gd name="connsiteX55" fmla="*/ 3621427 w 4519987"/>
                  <a:gd name="connsiteY55" fmla="*/ 4038600 h 4496940"/>
                  <a:gd name="connsiteX56" fmla="*/ 3554752 w 4519987"/>
                  <a:gd name="connsiteY56" fmla="*/ 4095750 h 4496940"/>
                  <a:gd name="connsiteX57" fmla="*/ 3516652 w 4519987"/>
                  <a:gd name="connsiteY57" fmla="*/ 4114800 h 4496940"/>
                  <a:gd name="connsiteX58" fmla="*/ 3497602 w 4519987"/>
                  <a:gd name="connsiteY58" fmla="*/ 4143375 h 4496940"/>
                  <a:gd name="connsiteX59" fmla="*/ 3383302 w 4519987"/>
                  <a:gd name="connsiteY59" fmla="*/ 4210050 h 4496940"/>
                  <a:gd name="connsiteX60" fmla="*/ 3335677 w 4519987"/>
                  <a:gd name="connsiteY60" fmla="*/ 4238625 h 4496940"/>
                  <a:gd name="connsiteX61" fmla="*/ 3288052 w 4519987"/>
                  <a:gd name="connsiteY61" fmla="*/ 4248150 h 4496940"/>
                  <a:gd name="connsiteX62" fmla="*/ 3240427 w 4519987"/>
                  <a:gd name="connsiteY62" fmla="*/ 4267200 h 4496940"/>
                  <a:gd name="connsiteX63" fmla="*/ 3068977 w 4519987"/>
                  <a:gd name="connsiteY63" fmla="*/ 4286250 h 4496940"/>
                  <a:gd name="connsiteX64" fmla="*/ 2935627 w 4519987"/>
                  <a:gd name="connsiteY64" fmla="*/ 4333875 h 4496940"/>
                  <a:gd name="connsiteX65" fmla="*/ 2811802 w 4519987"/>
                  <a:gd name="connsiteY65" fmla="*/ 4371975 h 4496940"/>
                  <a:gd name="connsiteX66" fmla="*/ 2745127 w 4519987"/>
                  <a:gd name="connsiteY66" fmla="*/ 4410075 h 4496940"/>
                  <a:gd name="connsiteX67" fmla="*/ 2697502 w 4519987"/>
                  <a:gd name="connsiteY67" fmla="*/ 4429125 h 4496940"/>
                  <a:gd name="connsiteX68" fmla="*/ 2640352 w 4519987"/>
                  <a:gd name="connsiteY68" fmla="*/ 4457700 h 4496940"/>
                  <a:gd name="connsiteX69" fmla="*/ 2583202 w 4519987"/>
                  <a:gd name="connsiteY69" fmla="*/ 4467225 h 4496940"/>
                  <a:gd name="connsiteX70" fmla="*/ 2545102 w 4519987"/>
                  <a:gd name="connsiteY70" fmla="*/ 4486275 h 4496940"/>
                  <a:gd name="connsiteX71" fmla="*/ 2306977 w 4519987"/>
                  <a:gd name="connsiteY71" fmla="*/ 4476750 h 4496940"/>
                  <a:gd name="connsiteX72" fmla="*/ 2202202 w 4519987"/>
                  <a:gd name="connsiteY72" fmla="*/ 4457700 h 4496940"/>
                  <a:gd name="connsiteX73" fmla="*/ 2126002 w 4519987"/>
                  <a:gd name="connsiteY73" fmla="*/ 4429125 h 4496940"/>
                  <a:gd name="connsiteX74" fmla="*/ 1935502 w 4519987"/>
                  <a:gd name="connsiteY74" fmla="*/ 4400550 h 4496940"/>
                  <a:gd name="connsiteX75" fmla="*/ 1821202 w 4519987"/>
                  <a:gd name="connsiteY75" fmla="*/ 4371975 h 4496940"/>
                  <a:gd name="connsiteX76" fmla="*/ 1754527 w 4519987"/>
                  <a:gd name="connsiteY76" fmla="*/ 4352925 h 4496940"/>
                  <a:gd name="connsiteX77" fmla="*/ 1687852 w 4519987"/>
                  <a:gd name="connsiteY77" fmla="*/ 4343400 h 4496940"/>
                  <a:gd name="connsiteX78" fmla="*/ 1573552 w 4519987"/>
                  <a:gd name="connsiteY78" fmla="*/ 4305300 h 4496940"/>
                  <a:gd name="connsiteX79" fmla="*/ 1402102 w 4519987"/>
                  <a:gd name="connsiteY79" fmla="*/ 4276725 h 4496940"/>
                  <a:gd name="connsiteX80" fmla="*/ 1287802 w 4519987"/>
                  <a:gd name="connsiteY80" fmla="*/ 4229100 h 4496940"/>
                  <a:gd name="connsiteX81" fmla="*/ 1221127 w 4519987"/>
                  <a:gd name="connsiteY81" fmla="*/ 4200525 h 4496940"/>
                  <a:gd name="connsiteX82" fmla="*/ 1144927 w 4519987"/>
                  <a:gd name="connsiteY82" fmla="*/ 4171950 h 4496940"/>
                  <a:gd name="connsiteX83" fmla="*/ 1087777 w 4519987"/>
                  <a:gd name="connsiteY83" fmla="*/ 4143375 h 4496940"/>
                  <a:gd name="connsiteX84" fmla="*/ 1030627 w 4519987"/>
                  <a:gd name="connsiteY84" fmla="*/ 4124325 h 4496940"/>
                  <a:gd name="connsiteX85" fmla="*/ 925852 w 4519987"/>
                  <a:gd name="connsiteY85" fmla="*/ 4067175 h 4496940"/>
                  <a:gd name="connsiteX86" fmla="*/ 830602 w 4519987"/>
                  <a:gd name="connsiteY86" fmla="*/ 3981450 h 4496940"/>
                  <a:gd name="connsiteX87" fmla="*/ 763927 w 4519987"/>
                  <a:gd name="connsiteY87" fmla="*/ 3914775 h 4496940"/>
                  <a:gd name="connsiteX88" fmla="*/ 725827 w 4519987"/>
                  <a:gd name="connsiteY88" fmla="*/ 3876675 h 4496940"/>
                  <a:gd name="connsiteX89" fmla="*/ 697252 w 4519987"/>
                  <a:gd name="connsiteY89" fmla="*/ 3838575 h 4496940"/>
                  <a:gd name="connsiteX90" fmla="*/ 640102 w 4519987"/>
                  <a:gd name="connsiteY90" fmla="*/ 3781425 h 4496940"/>
                  <a:gd name="connsiteX91" fmla="*/ 611527 w 4519987"/>
                  <a:gd name="connsiteY91" fmla="*/ 3733800 h 4496940"/>
                  <a:gd name="connsiteX92" fmla="*/ 554377 w 4519987"/>
                  <a:gd name="connsiteY92" fmla="*/ 3657600 h 4496940"/>
                  <a:gd name="connsiteX93" fmla="*/ 525802 w 4519987"/>
                  <a:gd name="connsiteY93" fmla="*/ 3609975 h 4496940"/>
                  <a:gd name="connsiteX94" fmla="*/ 497227 w 4519987"/>
                  <a:gd name="connsiteY94" fmla="*/ 3552825 h 4496940"/>
                  <a:gd name="connsiteX95" fmla="*/ 440077 w 4519987"/>
                  <a:gd name="connsiteY95" fmla="*/ 3495675 h 4496940"/>
                  <a:gd name="connsiteX96" fmla="*/ 411502 w 4519987"/>
                  <a:gd name="connsiteY96" fmla="*/ 3448050 h 4496940"/>
                  <a:gd name="connsiteX97" fmla="*/ 278152 w 4519987"/>
                  <a:gd name="connsiteY97" fmla="*/ 3257550 h 4496940"/>
                  <a:gd name="connsiteX98" fmla="*/ 249577 w 4519987"/>
                  <a:gd name="connsiteY98" fmla="*/ 3200400 h 4496940"/>
                  <a:gd name="connsiteX99" fmla="*/ 240052 w 4519987"/>
                  <a:gd name="connsiteY99" fmla="*/ 3162300 h 4496940"/>
                  <a:gd name="connsiteX100" fmla="*/ 221002 w 4519987"/>
                  <a:gd name="connsiteY100" fmla="*/ 3105150 h 4496940"/>
                  <a:gd name="connsiteX101" fmla="*/ 173377 w 4519987"/>
                  <a:gd name="connsiteY101" fmla="*/ 3019425 h 4496940"/>
                  <a:gd name="connsiteX102" fmla="*/ 144802 w 4519987"/>
                  <a:gd name="connsiteY102" fmla="*/ 2924175 h 4496940"/>
                  <a:gd name="connsiteX103" fmla="*/ 68602 w 4519987"/>
                  <a:gd name="connsiteY103" fmla="*/ 2724150 h 4496940"/>
                  <a:gd name="connsiteX104" fmla="*/ 49552 w 4519987"/>
                  <a:gd name="connsiteY104" fmla="*/ 2638425 h 4496940"/>
                  <a:gd name="connsiteX105" fmla="*/ 40027 w 4519987"/>
                  <a:gd name="connsiteY105" fmla="*/ 2562225 h 4496940"/>
                  <a:gd name="connsiteX106" fmla="*/ 30502 w 4519987"/>
                  <a:gd name="connsiteY106" fmla="*/ 2514600 h 4496940"/>
                  <a:gd name="connsiteX107" fmla="*/ 11452 w 4519987"/>
                  <a:gd name="connsiteY107" fmla="*/ 2400300 h 4496940"/>
                  <a:gd name="connsiteX108" fmla="*/ 20977 w 4519987"/>
                  <a:gd name="connsiteY108" fmla="*/ 1905000 h 4496940"/>
                  <a:gd name="connsiteX109" fmla="*/ 30502 w 4519987"/>
                  <a:gd name="connsiteY109" fmla="*/ 1838325 h 4496940"/>
                  <a:gd name="connsiteX110" fmla="*/ 49552 w 4519987"/>
                  <a:gd name="connsiteY110" fmla="*/ 1781175 h 4496940"/>
                  <a:gd name="connsiteX111" fmla="*/ 59077 w 4519987"/>
                  <a:gd name="connsiteY111" fmla="*/ 1743075 h 4496940"/>
                  <a:gd name="connsiteX112" fmla="*/ 78127 w 4519987"/>
                  <a:gd name="connsiteY112" fmla="*/ 1685925 h 4496940"/>
                  <a:gd name="connsiteX113" fmla="*/ 87652 w 4519987"/>
                  <a:gd name="connsiteY113" fmla="*/ 1638300 h 4496940"/>
                  <a:gd name="connsiteX114" fmla="*/ 106702 w 4519987"/>
                  <a:gd name="connsiteY114" fmla="*/ 1590675 h 4496940"/>
                  <a:gd name="connsiteX115" fmla="*/ 135277 w 4519987"/>
                  <a:gd name="connsiteY115" fmla="*/ 1504950 h 4496940"/>
                  <a:gd name="connsiteX116" fmla="*/ 154327 w 4519987"/>
                  <a:gd name="connsiteY116" fmla="*/ 1419225 h 4496940"/>
                  <a:gd name="connsiteX117" fmla="*/ 230527 w 4519987"/>
                  <a:gd name="connsiteY117" fmla="*/ 1276350 h 4496940"/>
                  <a:gd name="connsiteX118" fmla="*/ 240052 w 4519987"/>
                  <a:gd name="connsiteY118" fmla="*/ 1247775 h 4496940"/>
                  <a:gd name="connsiteX119" fmla="*/ 268627 w 4519987"/>
                  <a:gd name="connsiteY119" fmla="*/ 1200150 h 4496940"/>
                  <a:gd name="connsiteX120" fmla="*/ 287677 w 4519987"/>
                  <a:gd name="connsiteY120" fmla="*/ 1152525 h 4496940"/>
                  <a:gd name="connsiteX121" fmla="*/ 316252 w 4519987"/>
                  <a:gd name="connsiteY121" fmla="*/ 1114425 h 4496940"/>
                  <a:gd name="connsiteX122" fmla="*/ 363877 w 4519987"/>
                  <a:gd name="connsiteY122" fmla="*/ 1038225 h 4496940"/>
                  <a:gd name="connsiteX123" fmla="*/ 382927 w 4519987"/>
                  <a:gd name="connsiteY123" fmla="*/ 1009650 h 4496940"/>
                  <a:gd name="connsiteX124" fmla="*/ 440077 w 4519987"/>
                  <a:gd name="connsiteY124" fmla="*/ 904875 h 4496940"/>
                  <a:gd name="connsiteX125" fmla="*/ 478177 w 4519987"/>
                  <a:gd name="connsiteY125" fmla="*/ 857250 h 4496940"/>
                  <a:gd name="connsiteX126" fmla="*/ 497227 w 4519987"/>
                  <a:gd name="connsiteY126" fmla="*/ 828675 h 4496940"/>
                  <a:gd name="connsiteX127" fmla="*/ 535327 w 4519987"/>
                  <a:gd name="connsiteY127" fmla="*/ 800100 h 4496940"/>
                  <a:gd name="connsiteX128" fmla="*/ 602002 w 4519987"/>
                  <a:gd name="connsiteY128" fmla="*/ 733425 h 4496940"/>
                  <a:gd name="connsiteX129" fmla="*/ 668677 w 4519987"/>
                  <a:gd name="connsiteY129" fmla="*/ 676275 h 4496940"/>
                  <a:gd name="connsiteX130" fmla="*/ 697252 w 4519987"/>
                  <a:gd name="connsiteY130" fmla="*/ 657225 h 4496940"/>
                  <a:gd name="connsiteX131" fmla="*/ 840127 w 4519987"/>
                  <a:gd name="connsiteY131" fmla="*/ 533400 h 4496940"/>
                  <a:gd name="connsiteX132" fmla="*/ 887752 w 4519987"/>
                  <a:gd name="connsiteY132" fmla="*/ 504825 h 4496940"/>
                  <a:gd name="connsiteX133" fmla="*/ 1167152 w 4519987"/>
                  <a:gd name="connsiteY133" fmla="*/ 311150 h 4496940"/>
                  <a:gd name="connsiteX134" fmla="*/ 1268752 w 4519987"/>
                  <a:gd name="connsiteY134" fmla="*/ 285750 h 4496940"/>
                  <a:gd name="connsiteX135" fmla="*/ 1411627 w 4519987"/>
                  <a:gd name="connsiteY135" fmla="*/ 190500 h 4496940"/>
                  <a:gd name="connsiteX136" fmla="*/ 1449727 w 4519987"/>
                  <a:gd name="connsiteY136" fmla="*/ 161925 h 4496940"/>
                  <a:gd name="connsiteX137" fmla="*/ 1525927 w 4519987"/>
                  <a:gd name="connsiteY137" fmla="*/ 152400 h 4496940"/>
                  <a:gd name="connsiteX138" fmla="*/ 1583077 w 4519987"/>
                  <a:gd name="connsiteY138" fmla="*/ 142875 h 4496940"/>
                  <a:gd name="connsiteX139" fmla="*/ 1716427 w 4519987"/>
                  <a:gd name="connsiteY139" fmla="*/ 123825 h 4496940"/>
                  <a:gd name="connsiteX140" fmla="*/ 1811677 w 4519987"/>
                  <a:gd name="connsiteY140" fmla="*/ 114300 h 4496940"/>
                  <a:gd name="connsiteX141" fmla="*/ 1859302 w 4519987"/>
                  <a:gd name="connsiteY141" fmla="*/ 104775 h 4496940"/>
                  <a:gd name="connsiteX142" fmla="*/ 1916452 w 4519987"/>
                  <a:gd name="connsiteY142" fmla="*/ 95250 h 4496940"/>
                  <a:gd name="connsiteX143" fmla="*/ 2030752 w 4519987"/>
                  <a:gd name="connsiteY143" fmla="*/ 66675 h 4496940"/>
                  <a:gd name="connsiteX144" fmla="*/ 2097427 w 4519987"/>
                  <a:gd name="connsiteY144" fmla="*/ 47625 h 4496940"/>
                  <a:gd name="connsiteX145" fmla="*/ 2164102 w 4519987"/>
                  <a:gd name="connsiteY145" fmla="*/ 38100 h 4496940"/>
                  <a:gd name="connsiteX146" fmla="*/ 2392702 w 4519987"/>
                  <a:gd name="connsiteY14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250077 w 4519987"/>
                  <a:gd name="connsiteY24" fmla="*/ 1143000 h 4496940"/>
                  <a:gd name="connsiteX25" fmla="*/ 4259602 w 4519987"/>
                  <a:gd name="connsiteY25" fmla="*/ 1190625 h 4496940"/>
                  <a:gd name="connsiteX26" fmla="*/ 4307227 w 4519987"/>
                  <a:gd name="connsiteY26" fmla="*/ 1266825 h 4496940"/>
                  <a:gd name="connsiteX27" fmla="*/ 4345327 w 4519987"/>
                  <a:gd name="connsiteY27" fmla="*/ 1362075 h 4496940"/>
                  <a:gd name="connsiteX28" fmla="*/ 4373902 w 4519987"/>
                  <a:gd name="connsiteY28" fmla="*/ 1428750 h 4496940"/>
                  <a:gd name="connsiteX29" fmla="*/ 4392952 w 4519987"/>
                  <a:gd name="connsiteY29" fmla="*/ 1552575 h 4496940"/>
                  <a:gd name="connsiteX30" fmla="*/ 4402477 w 4519987"/>
                  <a:gd name="connsiteY30" fmla="*/ 1590675 h 4496940"/>
                  <a:gd name="connsiteX31" fmla="*/ 4431052 w 4519987"/>
                  <a:gd name="connsiteY31" fmla="*/ 1685925 h 4496940"/>
                  <a:gd name="connsiteX32" fmla="*/ 4519952 w 4519987"/>
                  <a:gd name="connsiteY32" fmla="*/ 2181225 h 4496940"/>
                  <a:gd name="connsiteX33" fmla="*/ 4446927 w 4519987"/>
                  <a:gd name="connsiteY33" fmla="*/ 2768600 h 4496940"/>
                  <a:gd name="connsiteX34" fmla="*/ 4383427 w 4519987"/>
                  <a:gd name="connsiteY34" fmla="*/ 2990850 h 4496940"/>
                  <a:gd name="connsiteX35" fmla="*/ 4278652 w 4519987"/>
                  <a:gd name="connsiteY35" fmla="*/ 3248025 h 4496940"/>
                  <a:gd name="connsiteX36" fmla="*/ 4259602 w 4519987"/>
                  <a:gd name="connsiteY36" fmla="*/ 3276600 h 4496940"/>
                  <a:gd name="connsiteX37" fmla="*/ 4221502 w 4519987"/>
                  <a:gd name="connsiteY37" fmla="*/ 3333750 h 4496940"/>
                  <a:gd name="connsiteX38" fmla="*/ 4211977 w 4519987"/>
                  <a:gd name="connsiteY38" fmla="*/ 3362325 h 4496940"/>
                  <a:gd name="connsiteX39" fmla="*/ 4183402 w 4519987"/>
                  <a:gd name="connsiteY39" fmla="*/ 3400425 h 4496940"/>
                  <a:gd name="connsiteX40" fmla="*/ 4164352 w 4519987"/>
                  <a:gd name="connsiteY40" fmla="*/ 3429000 h 4496940"/>
                  <a:gd name="connsiteX41" fmla="*/ 4088152 w 4519987"/>
                  <a:gd name="connsiteY41" fmla="*/ 3495675 h 4496940"/>
                  <a:gd name="connsiteX42" fmla="*/ 4059577 w 4519987"/>
                  <a:gd name="connsiteY42" fmla="*/ 3533775 h 4496940"/>
                  <a:gd name="connsiteX43" fmla="*/ 4002427 w 4519987"/>
                  <a:gd name="connsiteY43" fmla="*/ 3600450 h 4496940"/>
                  <a:gd name="connsiteX44" fmla="*/ 3983377 w 4519987"/>
                  <a:gd name="connsiteY44" fmla="*/ 3629025 h 4496940"/>
                  <a:gd name="connsiteX45" fmla="*/ 3954802 w 4519987"/>
                  <a:gd name="connsiteY45" fmla="*/ 3648075 h 4496940"/>
                  <a:gd name="connsiteX46" fmla="*/ 3907177 w 4519987"/>
                  <a:gd name="connsiteY46" fmla="*/ 3686175 h 4496940"/>
                  <a:gd name="connsiteX47" fmla="*/ 3869077 w 4519987"/>
                  <a:gd name="connsiteY47" fmla="*/ 3724275 h 4496940"/>
                  <a:gd name="connsiteX48" fmla="*/ 3792877 w 4519987"/>
                  <a:gd name="connsiteY48" fmla="*/ 3781425 h 4496940"/>
                  <a:gd name="connsiteX49" fmla="*/ 3783352 w 4519987"/>
                  <a:gd name="connsiteY49" fmla="*/ 3810000 h 4496940"/>
                  <a:gd name="connsiteX50" fmla="*/ 3745252 w 4519987"/>
                  <a:gd name="connsiteY50" fmla="*/ 3819525 h 4496940"/>
                  <a:gd name="connsiteX51" fmla="*/ 3678577 w 4519987"/>
                  <a:gd name="connsiteY51" fmla="*/ 3848100 h 4496940"/>
                  <a:gd name="connsiteX52" fmla="*/ 3659527 w 4519987"/>
                  <a:gd name="connsiteY52" fmla="*/ 3971925 h 4496940"/>
                  <a:gd name="connsiteX53" fmla="*/ 3630952 w 4519987"/>
                  <a:gd name="connsiteY53" fmla="*/ 4010025 h 4496940"/>
                  <a:gd name="connsiteX54" fmla="*/ 3621427 w 4519987"/>
                  <a:gd name="connsiteY54" fmla="*/ 4038600 h 4496940"/>
                  <a:gd name="connsiteX55" fmla="*/ 3554752 w 4519987"/>
                  <a:gd name="connsiteY55" fmla="*/ 4095750 h 4496940"/>
                  <a:gd name="connsiteX56" fmla="*/ 3516652 w 4519987"/>
                  <a:gd name="connsiteY56" fmla="*/ 4114800 h 4496940"/>
                  <a:gd name="connsiteX57" fmla="*/ 3497602 w 4519987"/>
                  <a:gd name="connsiteY57" fmla="*/ 4143375 h 4496940"/>
                  <a:gd name="connsiteX58" fmla="*/ 3383302 w 4519987"/>
                  <a:gd name="connsiteY58" fmla="*/ 4210050 h 4496940"/>
                  <a:gd name="connsiteX59" fmla="*/ 3335677 w 4519987"/>
                  <a:gd name="connsiteY59" fmla="*/ 4238625 h 4496940"/>
                  <a:gd name="connsiteX60" fmla="*/ 3288052 w 4519987"/>
                  <a:gd name="connsiteY60" fmla="*/ 4248150 h 4496940"/>
                  <a:gd name="connsiteX61" fmla="*/ 3240427 w 4519987"/>
                  <a:gd name="connsiteY61" fmla="*/ 4267200 h 4496940"/>
                  <a:gd name="connsiteX62" fmla="*/ 3068977 w 4519987"/>
                  <a:gd name="connsiteY62" fmla="*/ 4286250 h 4496940"/>
                  <a:gd name="connsiteX63" fmla="*/ 2935627 w 4519987"/>
                  <a:gd name="connsiteY63" fmla="*/ 4333875 h 4496940"/>
                  <a:gd name="connsiteX64" fmla="*/ 2811802 w 4519987"/>
                  <a:gd name="connsiteY64" fmla="*/ 4371975 h 4496940"/>
                  <a:gd name="connsiteX65" fmla="*/ 2745127 w 4519987"/>
                  <a:gd name="connsiteY65" fmla="*/ 4410075 h 4496940"/>
                  <a:gd name="connsiteX66" fmla="*/ 2697502 w 4519987"/>
                  <a:gd name="connsiteY66" fmla="*/ 4429125 h 4496940"/>
                  <a:gd name="connsiteX67" fmla="*/ 2640352 w 4519987"/>
                  <a:gd name="connsiteY67" fmla="*/ 4457700 h 4496940"/>
                  <a:gd name="connsiteX68" fmla="*/ 2583202 w 4519987"/>
                  <a:gd name="connsiteY68" fmla="*/ 4467225 h 4496940"/>
                  <a:gd name="connsiteX69" fmla="*/ 2545102 w 4519987"/>
                  <a:gd name="connsiteY69" fmla="*/ 4486275 h 4496940"/>
                  <a:gd name="connsiteX70" fmla="*/ 2306977 w 4519987"/>
                  <a:gd name="connsiteY70" fmla="*/ 4476750 h 4496940"/>
                  <a:gd name="connsiteX71" fmla="*/ 2202202 w 4519987"/>
                  <a:gd name="connsiteY71" fmla="*/ 4457700 h 4496940"/>
                  <a:gd name="connsiteX72" fmla="*/ 2126002 w 4519987"/>
                  <a:gd name="connsiteY72" fmla="*/ 4429125 h 4496940"/>
                  <a:gd name="connsiteX73" fmla="*/ 1935502 w 4519987"/>
                  <a:gd name="connsiteY73" fmla="*/ 4400550 h 4496940"/>
                  <a:gd name="connsiteX74" fmla="*/ 1821202 w 4519987"/>
                  <a:gd name="connsiteY74" fmla="*/ 4371975 h 4496940"/>
                  <a:gd name="connsiteX75" fmla="*/ 1754527 w 4519987"/>
                  <a:gd name="connsiteY75" fmla="*/ 4352925 h 4496940"/>
                  <a:gd name="connsiteX76" fmla="*/ 1687852 w 4519987"/>
                  <a:gd name="connsiteY76" fmla="*/ 4343400 h 4496940"/>
                  <a:gd name="connsiteX77" fmla="*/ 1573552 w 4519987"/>
                  <a:gd name="connsiteY77" fmla="*/ 4305300 h 4496940"/>
                  <a:gd name="connsiteX78" fmla="*/ 1402102 w 4519987"/>
                  <a:gd name="connsiteY78" fmla="*/ 4276725 h 4496940"/>
                  <a:gd name="connsiteX79" fmla="*/ 1287802 w 4519987"/>
                  <a:gd name="connsiteY79" fmla="*/ 4229100 h 4496940"/>
                  <a:gd name="connsiteX80" fmla="*/ 1221127 w 4519987"/>
                  <a:gd name="connsiteY80" fmla="*/ 4200525 h 4496940"/>
                  <a:gd name="connsiteX81" fmla="*/ 1144927 w 4519987"/>
                  <a:gd name="connsiteY81" fmla="*/ 4171950 h 4496940"/>
                  <a:gd name="connsiteX82" fmla="*/ 1087777 w 4519987"/>
                  <a:gd name="connsiteY82" fmla="*/ 4143375 h 4496940"/>
                  <a:gd name="connsiteX83" fmla="*/ 1030627 w 4519987"/>
                  <a:gd name="connsiteY83" fmla="*/ 4124325 h 4496940"/>
                  <a:gd name="connsiteX84" fmla="*/ 925852 w 4519987"/>
                  <a:gd name="connsiteY84" fmla="*/ 4067175 h 4496940"/>
                  <a:gd name="connsiteX85" fmla="*/ 830602 w 4519987"/>
                  <a:gd name="connsiteY85" fmla="*/ 3981450 h 4496940"/>
                  <a:gd name="connsiteX86" fmla="*/ 763927 w 4519987"/>
                  <a:gd name="connsiteY86" fmla="*/ 3914775 h 4496940"/>
                  <a:gd name="connsiteX87" fmla="*/ 725827 w 4519987"/>
                  <a:gd name="connsiteY87" fmla="*/ 3876675 h 4496940"/>
                  <a:gd name="connsiteX88" fmla="*/ 697252 w 4519987"/>
                  <a:gd name="connsiteY88" fmla="*/ 3838575 h 4496940"/>
                  <a:gd name="connsiteX89" fmla="*/ 640102 w 4519987"/>
                  <a:gd name="connsiteY89" fmla="*/ 3781425 h 4496940"/>
                  <a:gd name="connsiteX90" fmla="*/ 611527 w 4519987"/>
                  <a:gd name="connsiteY90" fmla="*/ 3733800 h 4496940"/>
                  <a:gd name="connsiteX91" fmla="*/ 554377 w 4519987"/>
                  <a:gd name="connsiteY91" fmla="*/ 3657600 h 4496940"/>
                  <a:gd name="connsiteX92" fmla="*/ 525802 w 4519987"/>
                  <a:gd name="connsiteY92" fmla="*/ 3609975 h 4496940"/>
                  <a:gd name="connsiteX93" fmla="*/ 497227 w 4519987"/>
                  <a:gd name="connsiteY93" fmla="*/ 3552825 h 4496940"/>
                  <a:gd name="connsiteX94" fmla="*/ 440077 w 4519987"/>
                  <a:gd name="connsiteY94" fmla="*/ 3495675 h 4496940"/>
                  <a:gd name="connsiteX95" fmla="*/ 411502 w 4519987"/>
                  <a:gd name="connsiteY95" fmla="*/ 3448050 h 4496940"/>
                  <a:gd name="connsiteX96" fmla="*/ 278152 w 4519987"/>
                  <a:gd name="connsiteY96" fmla="*/ 3257550 h 4496940"/>
                  <a:gd name="connsiteX97" fmla="*/ 249577 w 4519987"/>
                  <a:gd name="connsiteY97" fmla="*/ 3200400 h 4496940"/>
                  <a:gd name="connsiteX98" fmla="*/ 240052 w 4519987"/>
                  <a:gd name="connsiteY98" fmla="*/ 3162300 h 4496940"/>
                  <a:gd name="connsiteX99" fmla="*/ 221002 w 4519987"/>
                  <a:gd name="connsiteY99" fmla="*/ 3105150 h 4496940"/>
                  <a:gd name="connsiteX100" fmla="*/ 173377 w 4519987"/>
                  <a:gd name="connsiteY100" fmla="*/ 3019425 h 4496940"/>
                  <a:gd name="connsiteX101" fmla="*/ 144802 w 4519987"/>
                  <a:gd name="connsiteY101" fmla="*/ 2924175 h 4496940"/>
                  <a:gd name="connsiteX102" fmla="*/ 68602 w 4519987"/>
                  <a:gd name="connsiteY102" fmla="*/ 2724150 h 4496940"/>
                  <a:gd name="connsiteX103" fmla="*/ 49552 w 4519987"/>
                  <a:gd name="connsiteY103" fmla="*/ 2638425 h 4496940"/>
                  <a:gd name="connsiteX104" fmla="*/ 40027 w 4519987"/>
                  <a:gd name="connsiteY104" fmla="*/ 2562225 h 4496940"/>
                  <a:gd name="connsiteX105" fmla="*/ 30502 w 4519987"/>
                  <a:gd name="connsiteY105" fmla="*/ 2514600 h 4496940"/>
                  <a:gd name="connsiteX106" fmla="*/ 11452 w 4519987"/>
                  <a:gd name="connsiteY106" fmla="*/ 2400300 h 4496940"/>
                  <a:gd name="connsiteX107" fmla="*/ 20977 w 4519987"/>
                  <a:gd name="connsiteY107" fmla="*/ 1905000 h 4496940"/>
                  <a:gd name="connsiteX108" fmla="*/ 30502 w 4519987"/>
                  <a:gd name="connsiteY108" fmla="*/ 1838325 h 4496940"/>
                  <a:gd name="connsiteX109" fmla="*/ 49552 w 4519987"/>
                  <a:gd name="connsiteY109" fmla="*/ 1781175 h 4496940"/>
                  <a:gd name="connsiteX110" fmla="*/ 59077 w 4519987"/>
                  <a:gd name="connsiteY110" fmla="*/ 1743075 h 4496940"/>
                  <a:gd name="connsiteX111" fmla="*/ 78127 w 4519987"/>
                  <a:gd name="connsiteY111" fmla="*/ 1685925 h 4496940"/>
                  <a:gd name="connsiteX112" fmla="*/ 87652 w 4519987"/>
                  <a:gd name="connsiteY112" fmla="*/ 1638300 h 4496940"/>
                  <a:gd name="connsiteX113" fmla="*/ 106702 w 4519987"/>
                  <a:gd name="connsiteY113" fmla="*/ 1590675 h 4496940"/>
                  <a:gd name="connsiteX114" fmla="*/ 135277 w 4519987"/>
                  <a:gd name="connsiteY114" fmla="*/ 1504950 h 4496940"/>
                  <a:gd name="connsiteX115" fmla="*/ 154327 w 4519987"/>
                  <a:gd name="connsiteY115" fmla="*/ 1419225 h 4496940"/>
                  <a:gd name="connsiteX116" fmla="*/ 230527 w 4519987"/>
                  <a:gd name="connsiteY116" fmla="*/ 1276350 h 4496940"/>
                  <a:gd name="connsiteX117" fmla="*/ 240052 w 4519987"/>
                  <a:gd name="connsiteY117" fmla="*/ 1247775 h 4496940"/>
                  <a:gd name="connsiteX118" fmla="*/ 268627 w 4519987"/>
                  <a:gd name="connsiteY118" fmla="*/ 1200150 h 4496940"/>
                  <a:gd name="connsiteX119" fmla="*/ 287677 w 4519987"/>
                  <a:gd name="connsiteY119" fmla="*/ 1152525 h 4496940"/>
                  <a:gd name="connsiteX120" fmla="*/ 316252 w 4519987"/>
                  <a:gd name="connsiteY120" fmla="*/ 1114425 h 4496940"/>
                  <a:gd name="connsiteX121" fmla="*/ 363877 w 4519987"/>
                  <a:gd name="connsiteY121" fmla="*/ 1038225 h 4496940"/>
                  <a:gd name="connsiteX122" fmla="*/ 382927 w 4519987"/>
                  <a:gd name="connsiteY122" fmla="*/ 1009650 h 4496940"/>
                  <a:gd name="connsiteX123" fmla="*/ 440077 w 4519987"/>
                  <a:gd name="connsiteY123" fmla="*/ 904875 h 4496940"/>
                  <a:gd name="connsiteX124" fmla="*/ 478177 w 4519987"/>
                  <a:gd name="connsiteY124" fmla="*/ 857250 h 4496940"/>
                  <a:gd name="connsiteX125" fmla="*/ 497227 w 4519987"/>
                  <a:gd name="connsiteY125" fmla="*/ 828675 h 4496940"/>
                  <a:gd name="connsiteX126" fmla="*/ 535327 w 4519987"/>
                  <a:gd name="connsiteY126" fmla="*/ 800100 h 4496940"/>
                  <a:gd name="connsiteX127" fmla="*/ 602002 w 4519987"/>
                  <a:gd name="connsiteY127" fmla="*/ 733425 h 4496940"/>
                  <a:gd name="connsiteX128" fmla="*/ 668677 w 4519987"/>
                  <a:gd name="connsiteY128" fmla="*/ 676275 h 4496940"/>
                  <a:gd name="connsiteX129" fmla="*/ 697252 w 4519987"/>
                  <a:gd name="connsiteY129" fmla="*/ 657225 h 4496940"/>
                  <a:gd name="connsiteX130" fmla="*/ 840127 w 4519987"/>
                  <a:gd name="connsiteY130" fmla="*/ 533400 h 4496940"/>
                  <a:gd name="connsiteX131" fmla="*/ 887752 w 4519987"/>
                  <a:gd name="connsiteY131" fmla="*/ 504825 h 4496940"/>
                  <a:gd name="connsiteX132" fmla="*/ 1167152 w 4519987"/>
                  <a:gd name="connsiteY132" fmla="*/ 311150 h 4496940"/>
                  <a:gd name="connsiteX133" fmla="*/ 1268752 w 4519987"/>
                  <a:gd name="connsiteY133" fmla="*/ 285750 h 4496940"/>
                  <a:gd name="connsiteX134" fmla="*/ 1411627 w 4519987"/>
                  <a:gd name="connsiteY134" fmla="*/ 190500 h 4496940"/>
                  <a:gd name="connsiteX135" fmla="*/ 1449727 w 4519987"/>
                  <a:gd name="connsiteY135" fmla="*/ 161925 h 4496940"/>
                  <a:gd name="connsiteX136" fmla="*/ 1525927 w 4519987"/>
                  <a:gd name="connsiteY136" fmla="*/ 152400 h 4496940"/>
                  <a:gd name="connsiteX137" fmla="*/ 1583077 w 4519987"/>
                  <a:gd name="connsiteY137" fmla="*/ 142875 h 4496940"/>
                  <a:gd name="connsiteX138" fmla="*/ 1716427 w 4519987"/>
                  <a:gd name="connsiteY138" fmla="*/ 123825 h 4496940"/>
                  <a:gd name="connsiteX139" fmla="*/ 1811677 w 4519987"/>
                  <a:gd name="connsiteY139" fmla="*/ 114300 h 4496940"/>
                  <a:gd name="connsiteX140" fmla="*/ 1859302 w 4519987"/>
                  <a:gd name="connsiteY140" fmla="*/ 104775 h 4496940"/>
                  <a:gd name="connsiteX141" fmla="*/ 1916452 w 4519987"/>
                  <a:gd name="connsiteY141" fmla="*/ 95250 h 4496940"/>
                  <a:gd name="connsiteX142" fmla="*/ 2030752 w 4519987"/>
                  <a:gd name="connsiteY142" fmla="*/ 66675 h 4496940"/>
                  <a:gd name="connsiteX143" fmla="*/ 2097427 w 4519987"/>
                  <a:gd name="connsiteY143" fmla="*/ 47625 h 4496940"/>
                  <a:gd name="connsiteX144" fmla="*/ 2164102 w 4519987"/>
                  <a:gd name="connsiteY144" fmla="*/ 38100 h 4496940"/>
                  <a:gd name="connsiteX145" fmla="*/ 2392702 w 4519987"/>
                  <a:gd name="connsiteY14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259602 w 4519987"/>
                  <a:gd name="connsiteY24" fmla="*/ 1190625 h 4496940"/>
                  <a:gd name="connsiteX25" fmla="*/ 4307227 w 4519987"/>
                  <a:gd name="connsiteY25" fmla="*/ 1266825 h 4496940"/>
                  <a:gd name="connsiteX26" fmla="*/ 4345327 w 4519987"/>
                  <a:gd name="connsiteY26" fmla="*/ 1362075 h 4496940"/>
                  <a:gd name="connsiteX27" fmla="*/ 4373902 w 4519987"/>
                  <a:gd name="connsiteY27" fmla="*/ 1428750 h 4496940"/>
                  <a:gd name="connsiteX28" fmla="*/ 4392952 w 4519987"/>
                  <a:gd name="connsiteY28" fmla="*/ 1552575 h 4496940"/>
                  <a:gd name="connsiteX29" fmla="*/ 4402477 w 4519987"/>
                  <a:gd name="connsiteY29" fmla="*/ 1590675 h 4496940"/>
                  <a:gd name="connsiteX30" fmla="*/ 4431052 w 4519987"/>
                  <a:gd name="connsiteY30" fmla="*/ 1685925 h 4496940"/>
                  <a:gd name="connsiteX31" fmla="*/ 4519952 w 4519987"/>
                  <a:gd name="connsiteY31" fmla="*/ 2181225 h 4496940"/>
                  <a:gd name="connsiteX32" fmla="*/ 4446927 w 4519987"/>
                  <a:gd name="connsiteY32" fmla="*/ 2768600 h 4496940"/>
                  <a:gd name="connsiteX33" fmla="*/ 4383427 w 4519987"/>
                  <a:gd name="connsiteY33" fmla="*/ 2990850 h 4496940"/>
                  <a:gd name="connsiteX34" fmla="*/ 4278652 w 4519987"/>
                  <a:gd name="connsiteY34" fmla="*/ 3248025 h 4496940"/>
                  <a:gd name="connsiteX35" fmla="*/ 4259602 w 4519987"/>
                  <a:gd name="connsiteY35" fmla="*/ 3276600 h 4496940"/>
                  <a:gd name="connsiteX36" fmla="*/ 4221502 w 4519987"/>
                  <a:gd name="connsiteY36" fmla="*/ 3333750 h 4496940"/>
                  <a:gd name="connsiteX37" fmla="*/ 4211977 w 4519987"/>
                  <a:gd name="connsiteY37" fmla="*/ 3362325 h 4496940"/>
                  <a:gd name="connsiteX38" fmla="*/ 4183402 w 4519987"/>
                  <a:gd name="connsiteY38" fmla="*/ 3400425 h 4496940"/>
                  <a:gd name="connsiteX39" fmla="*/ 4164352 w 4519987"/>
                  <a:gd name="connsiteY39" fmla="*/ 3429000 h 4496940"/>
                  <a:gd name="connsiteX40" fmla="*/ 4088152 w 4519987"/>
                  <a:gd name="connsiteY40" fmla="*/ 3495675 h 4496940"/>
                  <a:gd name="connsiteX41" fmla="*/ 4059577 w 4519987"/>
                  <a:gd name="connsiteY41" fmla="*/ 3533775 h 4496940"/>
                  <a:gd name="connsiteX42" fmla="*/ 4002427 w 4519987"/>
                  <a:gd name="connsiteY42" fmla="*/ 3600450 h 4496940"/>
                  <a:gd name="connsiteX43" fmla="*/ 3983377 w 4519987"/>
                  <a:gd name="connsiteY43" fmla="*/ 3629025 h 4496940"/>
                  <a:gd name="connsiteX44" fmla="*/ 3954802 w 4519987"/>
                  <a:gd name="connsiteY44" fmla="*/ 3648075 h 4496940"/>
                  <a:gd name="connsiteX45" fmla="*/ 3907177 w 4519987"/>
                  <a:gd name="connsiteY45" fmla="*/ 3686175 h 4496940"/>
                  <a:gd name="connsiteX46" fmla="*/ 3869077 w 4519987"/>
                  <a:gd name="connsiteY46" fmla="*/ 3724275 h 4496940"/>
                  <a:gd name="connsiteX47" fmla="*/ 3792877 w 4519987"/>
                  <a:gd name="connsiteY47" fmla="*/ 3781425 h 4496940"/>
                  <a:gd name="connsiteX48" fmla="*/ 3783352 w 4519987"/>
                  <a:gd name="connsiteY48" fmla="*/ 3810000 h 4496940"/>
                  <a:gd name="connsiteX49" fmla="*/ 3745252 w 4519987"/>
                  <a:gd name="connsiteY49" fmla="*/ 3819525 h 4496940"/>
                  <a:gd name="connsiteX50" fmla="*/ 3678577 w 4519987"/>
                  <a:gd name="connsiteY50" fmla="*/ 3848100 h 4496940"/>
                  <a:gd name="connsiteX51" fmla="*/ 3659527 w 4519987"/>
                  <a:gd name="connsiteY51" fmla="*/ 3971925 h 4496940"/>
                  <a:gd name="connsiteX52" fmla="*/ 3630952 w 4519987"/>
                  <a:gd name="connsiteY52" fmla="*/ 4010025 h 4496940"/>
                  <a:gd name="connsiteX53" fmla="*/ 3621427 w 4519987"/>
                  <a:gd name="connsiteY53" fmla="*/ 4038600 h 4496940"/>
                  <a:gd name="connsiteX54" fmla="*/ 3554752 w 4519987"/>
                  <a:gd name="connsiteY54" fmla="*/ 4095750 h 4496940"/>
                  <a:gd name="connsiteX55" fmla="*/ 3516652 w 4519987"/>
                  <a:gd name="connsiteY55" fmla="*/ 4114800 h 4496940"/>
                  <a:gd name="connsiteX56" fmla="*/ 3497602 w 4519987"/>
                  <a:gd name="connsiteY56" fmla="*/ 4143375 h 4496940"/>
                  <a:gd name="connsiteX57" fmla="*/ 3383302 w 4519987"/>
                  <a:gd name="connsiteY57" fmla="*/ 4210050 h 4496940"/>
                  <a:gd name="connsiteX58" fmla="*/ 3335677 w 4519987"/>
                  <a:gd name="connsiteY58" fmla="*/ 4238625 h 4496940"/>
                  <a:gd name="connsiteX59" fmla="*/ 3288052 w 4519987"/>
                  <a:gd name="connsiteY59" fmla="*/ 4248150 h 4496940"/>
                  <a:gd name="connsiteX60" fmla="*/ 3240427 w 4519987"/>
                  <a:gd name="connsiteY60" fmla="*/ 4267200 h 4496940"/>
                  <a:gd name="connsiteX61" fmla="*/ 3068977 w 4519987"/>
                  <a:gd name="connsiteY61" fmla="*/ 4286250 h 4496940"/>
                  <a:gd name="connsiteX62" fmla="*/ 2935627 w 4519987"/>
                  <a:gd name="connsiteY62" fmla="*/ 4333875 h 4496940"/>
                  <a:gd name="connsiteX63" fmla="*/ 2811802 w 4519987"/>
                  <a:gd name="connsiteY63" fmla="*/ 4371975 h 4496940"/>
                  <a:gd name="connsiteX64" fmla="*/ 2745127 w 4519987"/>
                  <a:gd name="connsiteY64" fmla="*/ 4410075 h 4496940"/>
                  <a:gd name="connsiteX65" fmla="*/ 2697502 w 4519987"/>
                  <a:gd name="connsiteY65" fmla="*/ 4429125 h 4496940"/>
                  <a:gd name="connsiteX66" fmla="*/ 2640352 w 4519987"/>
                  <a:gd name="connsiteY66" fmla="*/ 4457700 h 4496940"/>
                  <a:gd name="connsiteX67" fmla="*/ 2583202 w 4519987"/>
                  <a:gd name="connsiteY67" fmla="*/ 4467225 h 4496940"/>
                  <a:gd name="connsiteX68" fmla="*/ 2545102 w 4519987"/>
                  <a:gd name="connsiteY68" fmla="*/ 4486275 h 4496940"/>
                  <a:gd name="connsiteX69" fmla="*/ 2306977 w 4519987"/>
                  <a:gd name="connsiteY69" fmla="*/ 4476750 h 4496940"/>
                  <a:gd name="connsiteX70" fmla="*/ 2202202 w 4519987"/>
                  <a:gd name="connsiteY70" fmla="*/ 4457700 h 4496940"/>
                  <a:gd name="connsiteX71" fmla="*/ 2126002 w 4519987"/>
                  <a:gd name="connsiteY71" fmla="*/ 4429125 h 4496940"/>
                  <a:gd name="connsiteX72" fmla="*/ 1935502 w 4519987"/>
                  <a:gd name="connsiteY72" fmla="*/ 4400550 h 4496940"/>
                  <a:gd name="connsiteX73" fmla="*/ 1821202 w 4519987"/>
                  <a:gd name="connsiteY73" fmla="*/ 4371975 h 4496940"/>
                  <a:gd name="connsiteX74" fmla="*/ 1754527 w 4519987"/>
                  <a:gd name="connsiteY74" fmla="*/ 4352925 h 4496940"/>
                  <a:gd name="connsiteX75" fmla="*/ 1687852 w 4519987"/>
                  <a:gd name="connsiteY75" fmla="*/ 4343400 h 4496940"/>
                  <a:gd name="connsiteX76" fmla="*/ 1573552 w 4519987"/>
                  <a:gd name="connsiteY76" fmla="*/ 4305300 h 4496940"/>
                  <a:gd name="connsiteX77" fmla="*/ 1402102 w 4519987"/>
                  <a:gd name="connsiteY77" fmla="*/ 4276725 h 4496940"/>
                  <a:gd name="connsiteX78" fmla="*/ 1287802 w 4519987"/>
                  <a:gd name="connsiteY78" fmla="*/ 4229100 h 4496940"/>
                  <a:gd name="connsiteX79" fmla="*/ 1221127 w 4519987"/>
                  <a:gd name="connsiteY79" fmla="*/ 4200525 h 4496940"/>
                  <a:gd name="connsiteX80" fmla="*/ 1144927 w 4519987"/>
                  <a:gd name="connsiteY80" fmla="*/ 4171950 h 4496940"/>
                  <a:gd name="connsiteX81" fmla="*/ 1087777 w 4519987"/>
                  <a:gd name="connsiteY81" fmla="*/ 4143375 h 4496940"/>
                  <a:gd name="connsiteX82" fmla="*/ 1030627 w 4519987"/>
                  <a:gd name="connsiteY82" fmla="*/ 4124325 h 4496940"/>
                  <a:gd name="connsiteX83" fmla="*/ 925852 w 4519987"/>
                  <a:gd name="connsiteY83" fmla="*/ 4067175 h 4496940"/>
                  <a:gd name="connsiteX84" fmla="*/ 830602 w 4519987"/>
                  <a:gd name="connsiteY84" fmla="*/ 3981450 h 4496940"/>
                  <a:gd name="connsiteX85" fmla="*/ 763927 w 4519987"/>
                  <a:gd name="connsiteY85" fmla="*/ 3914775 h 4496940"/>
                  <a:gd name="connsiteX86" fmla="*/ 725827 w 4519987"/>
                  <a:gd name="connsiteY86" fmla="*/ 3876675 h 4496940"/>
                  <a:gd name="connsiteX87" fmla="*/ 697252 w 4519987"/>
                  <a:gd name="connsiteY87" fmla="*/ 3838575 h 4496940"/>
                  <a:gd name="connsiteX88" fmla="*/ 640102 w 4519987"/>
                  <a:gd name="connsiteY88" fmla="*/ 3781425 h 4496940"/>
                  <a:gd name="connsiteX89" fmla="*/ 611527 w 4519987"/>
                  <a:gd name="connsiteY89" fmla="*/ 3733800 h 4496940"/>
                  <a:gd name="connsiteX90" fmla="*/ 554377 w 4519987"/>
                  <a:gd name="connsiteY90" fmla="*/ 3657600 h 4496940"/>
                  <a:gd name="connsiteX91" fmla="*/ 525802 w 4519987"/>
                  <a:gd name="connsiteY91" fmla="*/ 3609975 h 4496940"/>
                  <a:gd name="connsiteX92" fmla="*/ 497227 w 4519987"/>
                  <a:gd name="connsiteY92" fmla="*/ 3552825 h 4496940"/>
                  <a:gd name="connsiteX93" fmla="*/ 440077 w 4519987"/>
                  <a:gd name="connsiteY93" fmla="*/ 3495675 h 4496940"/>
                  <a:gd name="connsiteX94" fmla="*/ 411502 w 4519987"/>
                  <a:gd name="connsiteY94" fmla="*/ 3448050 h 4496940"/>
                  <a:gd name="connsiteX95" fmla="*/ 278152 w 4519987"/>
                  <a:gd name="connsiteY95" fmla="*/ 3257550 h 4496940"/>
                  <a:gd name="connsiteX96" fmla="*/ 249577 w 4519987"/>
                  <a:gd name="connsiteY96" fmla="*/ 3200400 h 4496940"/>
                  <a:gd name="connsiteX97" fmla="*/ 240052 w 4519987"/>
                  <a:gd name="connsiteY97" fmla="*/ 3162300 h 4496940"/>
                  <a:gd name="connsiteX98" fmla="*/ 221002 w 4519987"/>
                  <a:gd name="connsiteY98" fmla="*/ 3105150 h 4496940"/>
                  <a:gd name="connsiteX99" fmla="*/ 173377 w 4519987"/>
                  <a:gd name="connsiteY99" fmla="*/ 3019425 h 4496940"/>
                  <a:gd name="connsiteX100" fmla="*/ 144802 w 4519987"/>
                  <a:gd name="connsiteY100" fmla="*/ 2924175 h 4496940"/>
                  <a:gd name="connsiteX101" fmla="*/ 68602 w 4519987"/>
                  <a:gd name="connsiteY101" fmla="*/ 2724150 h 4496940"/>
                  <a:gd name="connsiteX102" fmla="*/ 49552 w 4519987"/>
                  <a:gd name="connsiteY102" fmla="*/ 2638425 h 4496940"/>
                  <a:gd name="connsiteX103" fmla="*/ 40027 w 4519987"/>
                  <a:gd name="connsiteY103" fmla="*/ 2562225 h 4496940"/>
                  <a:gd name="connsiteX104" fmla="*/ 30502 w 4519987"/>
                  <a:gd name="connsiteY104" fmla="*/ 2514600 h 4496940"/>
                  <a:gd name="connsiteX105" fmla="*/ 11452 w 4519987"/>
                  <a:gd name="connsiteY105" fmla="*/ 2400300 h 4496940"/>
                  <a:gd name="connsiteX106" fmla="*/ 20977 w 4519987"/>
                  <a:gd name="connsiteY106" fmla="*/ 1905000 h 4496940"/>
                  <a:gd name="connsiteX107" fmla="*/ 30502 w 4519987"/>
                  <a:gd name="connsiteY107" fmla="*/ 1838325 h 4496940"/>
                  <a:gd name="connsiteX108" fmla="*/ 49552 w 4519987"/>
                  <a:gd name="connsiteY108" fmla="*/ 1781175 h 4496940"/>
                  <a:gd name="connsiteX109" fmla="*/ 59077 w 4519987"/>
                  <a:gd name="connsiteY109" fmla="*/ 1743075 h 4496940"/>
                  <a:gd name="connsiteX110" fmla="*/ 78127 w 4519987"/>
                  <a:gd name="connsiteY110" fmla="*/ 1685925 h 4496940"/>
                  <a:gd name="connsiteX111" fmla="*/ 87652 w 4519987"/>
                  <a:gd name="connsiteY111" fmla="*/ 1638300 h 4496940"/>
                  <a:gd name="connsiteX112" fmla="*/ 106702 w 4519987"/>
                  <a:gd name="connsiteY112" fmla="*/ 1590675 h 4496940"/>
                  <a:gd name="connsiteX113" fmla="*/ 135277 w 4519987"/>
                  <a:gd name="connsiteY113" fmla="*/ 1504950 h 4496940"/>
                  <a:gd name="connsiteX114" fmla="*/ 154327 w 4519987"/>
                  <a:gd name="connsiteY114" fmla="*/ 1419225 h 4496940"/>
                  <a:gd name="connsiteX115" fmla="*/ 230527 w 4519987"/>
                  <a:gd name="connsiteY115" fmla="*/ 1276350 h 4496940"/>
                  <a:gd name="connsiteX116" fmla="*/ 240052 w 4519987"/>
                  <a:gd name="connsiteY116" fmla="*/ 1247775 h 4496940"/>
                  <a:gd name="connsiteX117" fmla="*/ 268627 w 4519987"/>
                  <a:gd name="connsiteY117" fmla="*/ 1200150 h 4496940"/>
                  <a:gd name="connsiteX118" fmla="*/ 287677 w 4519987"/>
                  <a:gd name="connsiteY118" fmla="*/ 1152525 h 4496940"/>
                  <a:gd name="connsiteX119" fmla="*/ 316252 w 4519987"/>
                  <a:gd name="connsiteY119" fmla="*/ 1114425 h 4496940"/>
                  <a:gd name="connsiteX120" fmla="*/ 363877 w 4519987"/>
                  <a:gd name="connsiteY120" fmla="*/ 1038225 h 4496940"/>
                  <a:gd name="connsiteX121" fmla="*/ 382927 w 4519987"/>
                  <a:gd name="connsiteY121" fmla="*/ 1009650 h 4496940"/>
                  <a:gd name="connsiteX122" fmla="*/ 440077 w 4519987"/>
                  <a:gd name="connsiteY122" fmla="*/ 904875 h 4496940"/>
                  <a:gd name="connsiteX123" fmla="*/ 478177 w 4519987"/>
                  <a:gd name="connsiteY123" fmla="*/ 857250 h 4496940"/>
                  <a:gd name="connsiteX124" fmla="*/ 497227 w 4519987"/>
                  <a:gd name="connsiteY124" fmla="*/ 828675 h 4496940"/>
                  <a:gd name="connsiteX125" fmla="*/ 535327 w 4519987"/>
                  <a:gd name="connsiteY125" fmla="*/ 800100 h 4496940"/>
                  <a:gd name="connsiteX126" fmla="*/ 602002 w 4519987"/>
                  <a:gd name="connsiteY126" fmla="*/ 733425 h 4496940"/>
                  <a:gd name="connsiteX127" fmla="*/ 668677 w 4519987"/>
                  <a:gd name="connsiteY127" fmla="*/ 676275 h 4496940"/>
                  <a:gd name="connsiteX128" fmla="*/ 697252 w 4519987"/>
                  <a:gd name="connsiteY128" fmla="*/ 657225 h 4496940"/>
                  <a:gd name="connsiteX129" fmla="*/ 840127 w 4519987"/>
                  <a:gd name="connsiteY129" fmla="*/ 533400 h 4496940"/>
                  <a:gd name="connsiteX130" fmla="*/ 887752 w 4519987"/>
                  <a:gd name="connsiteY130" fmla="*/ 504825 h 4496940"/>
                  <a:gd name="connsiteX131" fmla="*/ 1167152 w 4519987"/>
                  <a:gd name="connsiteY131" fmla="*/ 311150 h 4496940"/>
                  <a:gd name="connsiteX132" fmla="*/ 1268752 w 4519987"/>
                  <a:gd name="connsiteY132" fmla="*/ 285750 h 4496940"/>
                  <a:gd name="connsiteX133" fmla="*/ 1411627 w 4519987"/>
                  <a:gd name="connsiteY133" fmla="*/ 190500 h 4496940"/>
                  <a:gd name="connsiteX134" fmla="*/ 1449727 w 4519987"/>
                  <a:gd name="connsiteY134" fmla="*/ 161925 h 4496940"/>
                  <a:gd name="connsiteX135" fmla="*/ 1525927 w 4519987"/>
                  <a:gd name="connsiteY135" fmla="*/ 152400 h 4496940"/>
                  <a:gd name="connsiteX136" fmla="*/ 1583077 w 4519987"/>
                  <a:gd name="connsiteY136" fmla="*/ 142875 h 4496940"/>
                  <a:gd name="connsiteX137" fmla="*/ 1716427 w 4519987"/>
                  <a:gd name="connsiteY137" fmla="*/ 123825 h 4496940"/>
                  <a:gd name="connsiteX138" fmla="*/ 1811677 w 4519987"/>
                  <a:gd name="connsiteY138" fmla="*/ 114300 h 4496940"/>
                  <a:gd name="connsiteX139" fmla="*/ 1859302 w 4519987"/>
                  <a:gd name="connsiteY139" fmla="*/ 104775 h 4496940"/>
                  <a:gd name="connsiteX140" fmla="*/ 1916452 w 4519987"/>
                  <a:gd name="connsiteY140" fmla="*/ 95250 h 4496940"/>
                  <a:gd name="connsiteX141" fmla="*/ 2030752 w 4519987"/>
                  <a:gd name="connsiteY141" fmla="*/ 66675 h 4496940"/>
                  <a:gd name="connsiteX142" fmla="*/ 2097427 w 4519987"/>
                  <a:gd name="connsiteY142" fmla="*/ 47625 h 4496940"/>
                  <a:gd name="connsiteX143" fmla="*/ 2164102 w 4519987"/>
                  <a:gd name="connsiteY143" fmla="*/ 38100 h 4496940"/>
                  <a:gd name="connsiteX144" fmla="*/ 2392702 w 4519987"/>
                  <a:gd name="connsiteY14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73902 w 4519987"/>
                  <a:gd name="connsiteY26" fmla="*/ 1428750 h 4496940"/>
                  <a:gd name="connsiteX27" fmla="*/ 4392952 w 4519987"/>
                  <a:gd name="connsiteY27" fmla="*/ 1552575 h 4496940"/>
                  <a:gd name="connsiteX28" fmla="*/ 4402477 w 4519987"/>
                  <a:gd name="connsiteY28" fmla="*/ 1590675 h 4496940"/>
                  <a:gd name="connsiteX29" fmla="*/ 4431052 w 4519987"/>
                  <a:gd name="connsiteY29" fmla="*/ 1685925 h 4496940"/>
                  <a:gd name="connsiteX30" fmla="*/ 4519952 w 4519987"/>
                  <a:gd name="connsiteY30" fmla="*/ 2181225 h 4496940"/>
                  <a:gd name="connsiteX31" fmla="*/ 4446927 w 4519987"/>
                  <a:gd name="connsiteY31" fmla="*/ 2768600 h 4496940"/>
                  <a:gd name="connsiteX32" fmla="*/ 4383427 w 4519987"/>
                  <a:gd name="connsiteY32" fmla="*/ 2990850 h 4496940"/>
                  <a:gd name="connsiteX33" fmla="*/ 4278652 w 4519987"/>
                  <a:gd name="connsiteY33" fmla="*/ 3248025 h 4496940"/>
                  <a:gd name="connsiteX34" fmla="*/ 4259602 w 4519987"/>
                  <a:gd name="connsiteY34" fmla="*/ 3276600 h 4496940"/>
                  <a:gd name="connsiteX35" fmla="*/ 4221502 w 4519987"/>
                  <a:gd name="connsiteY35" fmla="*/ 3333750 h 4496940"/>
                  <a:gd name="connsiteX36" fmla="*/ 4211977 w 4519987"/>
                  <a:gd name="connsiteY36" fmla="*/ 3362325 h 4496940"/>
                  <a:gd name="connsiteX37" fmla="*/ 4183402 w 4519987"/>
                  <a:gd name="connsiteY37" fmla="*/ 3400425 h 4496940"/>
                  <a:gd name="connsiteX38" fmla="*/ 4164352 w 4519987"/>
                  <a:gd name="connsiteY38" fmla="*/ 3429000 h 4496940"/>
                  <a:gd name="connsiteX39" fmla="*/ 4088152 w 4519987"/>
                  <a:gd name="connsiteY39" fmla="*/ 3495675 h 4496940"/>
                  <a:gd name="connsiteX40" fmla="*/ 4059577 w 4519987"/>
                  <a:gd name="connsiteY40" fmla="*/ 3533775 h 4496940"/>
                  <a:gd name="connsiteX41" fmla="*/ 4002427 w 4519987"/>
                  <a:gd name="connsiteY41" fmla="*/ 3600450 h 4496940"/>
                  <a:gd name="connsiteX42" fmla="*/ 3983377 w 4519987"/>
                  <a:gd name="connsiteY42" fmla="*/ 3629025 h 4496940"/>
                  <a:gd name="connsiteX43" fmla="*/ 3954802 w 4519987"/>
                  <a:gd name="connsiteY43" fmla="*/ 3648075 h 4496940"/>
                  <a:gd name="connsiteX44" fmla="*/ 3907177 w 4519987"/>
                  <a:gd name="connsiteY44" fmla="*/ 3686175 h 4496940"/>
                  <a:gd name="connsiteX45" fmla="*/ 3869077 w 4519987"/>
                  <a:gd name="connsiteY45" fmla="*/ 3724275 h 4496940"/>
                  <a:gd name="connsiteX46" fmla="*/ 3792877 w 4519987"/>
                  <a:gd name="connsiteY46" fmla="*/ 3781425 h 4496940"/>
                  <a:gd name="connsiteX47" fmla="*/ 3783352 w 4519987"/>
                  <a:gd name="connsiteY47" fmla="*/ 3810000 h 4496940"/>
                  <a:gd name="connsiteX48" fmla="*/ 3745252 w 4519987"/>
                  <a:gd name="connsiteY48" fmla="*/ 3819525 h 4496940"/>
                  <a:gd name="connsiteX49" fmla="*/ 3678577 w 4519987"/>
                  <a:gd name="connsiteY49" fmla="*/ 3848100 h 4496940"/>
                  <a:gd name="connsiteX50" fmla="*/ 3659527 w 4519987"/>
                  <a:gd name="connsiteY50" fmla="*/ 3971925 h 4496940"/>
                  <a:gd name="connsiteX51" fmla="*/ 3630952 w 4519987"/>
                  <a:gd name="connsiteY51" fmla="*/ 4010025 h 4496940"/>
                  <a:gd name="connsiteX52" fmla="*/ 3621427 w 4519987"/>
                  <a:gd name="connsiteY52" fmla="*/ 4038600 h 4496940"/>
                  <a:gd name="connsiteX53" fmla="*/ 3554752 w 4519987"/>
                  <a:gd name="connsiteY53" fmla="*/ 4095750 h 4496940"/>
                  <a:gd name="connsiteX54" fmla="*/ 3516652 w 4519987"/>
                  <a:gd name="connsiteY54" fmla="*/ 4114800 h 4496940"/>
                  <a:gd name="connsiteX55" fmla="*/ 3497602 w 4519987"/>
                  <a:gd name="connsiteY55" fmla="*/ 4143375 h 4496940"/>
                  <a:gd name="connsiteX56" fmla="*/ 3383302 w 4519987"/>
                  <a:gd name="connsiteY56" fmla="*/ 4210050 h 4496940"/>
                  <a:gd name="connsiteX57" fmla="*/ 3335677 w 4519987"/>
                  <a:gd name="connsiteY57" fmla="*/ 4238625 h 4496940"/>
                  <a:gd name="connsiteX58" fmla="*/ 3288052 w 4519987"/>
                  <a:gd name="connsiteY58" fmla="*/ 4248150 h 4496940"/>
                  <a:gd name="connsiteX59" fmla="*/ 3240427 w 4519987"/>
                  <a:gd name="connsiteY59" fmla="*/ 4267200 h 4496940"/>
                  <a:gd name="connsiteX60" fmla="*/ 3068977 w 4519987"/>
                  <a:gd name="connsiteY60" fmla="*/ 4286250 h 4496940"/>
                  <a:gd name="connsiteX61" fmla="*/ 2935627 w 4519987"/>
                  <a:gd name="connsiteY61" fmla="*/ 4333875 h 4496940"/>
                  <a:gd name="connsiteX62" fmla="*/ 2811802 w 4519987"/>
                  <a:gd name="connsiteY62" fmla="*/ 4371975 h 4496940"/>
                  <a:gd name="connsiteX63" fmla="*/ 2745127 w 4519987"/>
                  <a:gd name="connsiteY63" fmla="*/ 4410075 h 4496940"/>
                  <a:gd name="connsiteX64" fmla="*/ 2697502 w 4519987"/>
                  <a:gd name="connsiteY64" fmla="*/ 4429125 h 4496940"/>
                  <a:gd name="connsiteX65" fmla="*/ 2640352 w 4519987"/>
                  <a:gd name="connsiteY65" fmla="*/ 4457700 h 4496940"/>
                  <a:gd name="connsiteX66" fmla="*/ 2583202 w 4519987"/>
                  <a:gd name="connsiteY66" fmla="*/ 4467225 h 4496940"/>
                  <a:gd name="connsiteX67" fmla="*/ 2545102 w 4519987"/>
                  <a:gd name="connsiteY67" fmla="*/ 4486275 h 4496940"/>
                  <a:gd name="connsiteX68" fmla="*/ 2306977 w 4519987"/>
                  <a:gd name="connsiteY68" fmla="*/ 4476750 h 4496940"/>
                  <a:gd name="connsiteX69" fmla="*/ 2202202 w 4519987"/>
                  <a:gd name="connsiteY69" fmla="*/ 4457700 h 4496940"/>
                  <a:gd name="connsiteX70" fmla="*/ 2126002 w 4519987"/>
                  <a:gd name="connsiteY70" fmla="*/ 4429125 h 4496940"/>
                  <a:gd name="connsiteX71" fmla="*/ 1935502 w 4519987"/>
                  <a:gd name="connsiteY71" fmla="*/ 4400550 h 4496940"/>
                  <a:gd name="connsiteX72" fmla="*/ 1821202 w 4519987"/>
                  <a:gd name="connsiteY72" fmla="*/ 4371975 h 4496940"/>
                  <a:gd name="connsiteX73" fmla="*/ 1754527 w 4519987"/>
                  <a:gd name="connsiteY73" fmla="*/ 4352925 h 4496940"/>
                  <a:gd name="connsiteX74" fmla="*/ 1687852 w 4519987"/>
                  <a:gd name="connsiteY74" fmla="*/ 4343400 h 4496940"/>
                  <a:gd name="connsiteX75" fmla="*/ 1573552 w 4519987"/>
                  <a:gd name="connsiteY75" fmla="*/ 4305300 h 4496940"/>
                  <a:gd name="connsiteX76" fmla="*/ 1402102 w 4519987"/>
                  <a:gd name="connsiteY76" fmla="*/ 4276725 h 4496940"/>
                  <a:gd name="connsiteX77" fmla="*/ 1287802 w 4519987"/>
                  <a:gd name="connsiteY77" fmla="*/ 4229100 h 4496940"/>
                  <a:gd name="connsiteX78" fmla="*/ 1221127 w 4519987"/>
                  <a:gd name="connsiteY78" fmla="*/ 4200525 h 4496940"/>
                  <a:gd name="connsiteX79" fmla="*/ 1144927 w 4519987"/>
                  <a:gd name="connsiteY79" fmla="*/ 4171950 h 4496940"/>
                  <a:gd name="connsiteX80" fmla="*/ 1087777 w 4519987"/>
                  <a:gd name="connsiteY80" fmla="*/ 4143375 h 4496940"/>
                  <a:gd name="connsiteX81" fmla="*/ 1030627 w 4519987"/>
                  <a:gd name="connsiteY81" fmla="*/ 4124325 h 4496940"/>
                  <a:gd name="connsiteX82" fmla="*/ 925852 w 4519987"/>
                  <a:gd name="connsiteY82" fmla="*/ 4067175 h 4496940"/>
                  <a:gd name="connsiteX83" fmla="*/ 830602 w 4519987"/>
                  <a:gd name="connsiteY83" fmla="*/ 3981450 h 4496940"/>
                  <a:gd name="connsiteX84" fmla="*/ 763927 w 4519987"/>
                  <a:gd name="connsiteY84" fmla="*/ 3914775 h 4496940"/>
                  <a:gd name="connsiteX85" fmla="*/ 725827 w 4519987"/>
                  <a:gd name="connsiteY85" fmla="*/ 3876675 h 4496940"/>
                  <a:gd name="connsiteX86" fmla="*/ 697252 w 4519987"/>
                  <a:gd name="connsiteY86" fmla="*/ 3838575 h 4496940"/>
                  <a:gd name="connsiteX87" fmla="*/ 640102 w 4519987"/>
                  <a:gd name="connsiteY87" fmla="*/ 3781425 h 4496940"/>
                  <a:gd name="connsiteX88" fmla="*/ 611527 w 4519987"/>
                  <a:gd name="connsiteY88" fmla="*/ 3733800 h 4496940"/>
                  <a:gd name="connsiteX89" fmla="*/ 554377 w 4519987"/>
                  <a:gd name="connsiteY89" fmla="*/ 3657600 h 4496940"/>
                  <a:gd name="connsiteX90" fmla="*/ 525802 w 4519987"/>
                  <a:gd name="connsiteY90" fmla="*/ 3609975 h 4496940"/>
                  <a:gd name="connsiteX91" fmla="*/ 497227 w 4519987"/>
                  <a:gd name="connsiteY91" fmla="*/ 3552825 h 4496940"/>
                  <a:gd name="connsiteX92" fmla="*/ 440077 w 4519987"/>
                  <a:gd name="connsiteY92" fmla="*/ 3495675 h 4496940"/>
                  <a:gd name="connsiteX93" fmla="*/ 411502 w 4519987"/>
                  <a:gd name="connsiteY93" fmla="*/ 3448050 h 4496940"/>
                  <a:gd name="connsiteX94" fmla="*/ 278152 w 4519987"/>
                  <a:gd name="connsiteY94" fmla="*/ 3257550 h 4496940"/>
                  <a:gd name="connsiteX95" fmla="*/ 249577 w 4519987"/>
                  <a:gd name="connsiteY95" fmla="*/ 3200400 h 4496940"/>
                  <a:gd name="connsiteX96" fmla="*/ 240052 w 4519987"/>
                  <a:gd name="connsiteY96" fmla="*/ 3162300 h 4496940"/>
                  <a:gd name="connsiteX97" fmla="*/ 221002 w 4519987"/>
                  <a:gd name="connsiteY97" fmla="*/ 3105150 h 4496940"/>
                  <a:gd name="connsiteX98" fmla="*/ 173377 w 4519987"/>
                  <a:gd name="connsiteY98" fmla="*/ 3019425 h 4496940"/>
                  <a:gd name="connsiteX99" fmla="*/ 144802 w 4519987"/>
                  <a:gd name="connsiteY99" fmla="*/ 2924175 h 4496940"/>
                  <a:gd name="connsiteX100" fmla="*/ 68602 w 4519987"/>
                  <a:gd name="connsiteY100" fmla="*/ 2724150 h 4496940"/>
                  <a:gd name="connsiteX101" fmla="*/ 49552 w 4519987"/>
                  <a:gd name="connsiteY101" fmla="*/ 2638425 h 4496940"/>
                  <a:gd name="connsiteX102" fmla="*/ 40027 w 4519987"/>
                  <a:gd name="connsiteY102" fmla="*/ 2562225 h 4496940"/>
                  <a:gd name="connsiteX103" fmla="*/ 30502 w 4519987"/>
                  <a:gd name="connsiteY103" fmla="*/ 2514600 h 4496940"/>
                  <a:gd name="connsiteX104" fmla="*/ 11452 w 4519987"/>
                  <a:gd name="connsiteY104" fmla="*/ 2400300 h 4496940"/>
                  <a:gd name="connsiteX105" fmla="*/ 20977 w 4519987"/>
                  <a:gd name="connsiteY105" fmla="*/ 1905000 h 4496940"/>
                  <a:gd name="connsiteX106" fmla="*/ 30502 w 4519987"/>
                  <a:gd name="connsiteY106" fmla="*/ 1838325 h 4496940"/>
                  <a:gd name="connsiteX107" fmla="*/ 49552 w 4519987"/>
                  <a:gd name="connsiteY107" fmla="*/ 1781175 h 4496940"/>
                  <a:gd name="connsiteX108" fmla="*/ 59077 w 4519987"/>
                  <a:gd name="connsiteY108" fmla="*/ 1743075 h 4496940"/>
                  <a:gd name="connsiteX109" fmla="*/ 78127 w 4519987"/>
                  <a:gd name="connsiteY109" fmla="*/ 1685925 h 4496940"/>
                  <a:gd name="connsiteX110" fmla="*/ 87652 w 4519987"/>
                  <a:gd name="connsiteY110" fmla="*/ 1638300 h 4496940"/>
                  <a:gd name="connsiteX111" fmla="*/ 106702 w 4519987"/>
                  <a:gd name="connsiteY111" fmla="*/ 1590675 h 4496940"/>
                  <a:gd name="connsiteX112" fmla="*/ 135277 w 4519987"/>
                  <a:gd name="connsiteY112" fmla="*/ 1504950 h 4496940"/>
                  <a:gd name="connsiteX113" fmla="*/ 154327 w 4519987"/>
                  <a:gd name="connsiteY113" fmla="*/ 1419225 h 4496940"/>
                  <a:gd name="connsiteX114" fmla="*/ 230527 w 4519987"/>
                  <a:gd name="connsiteY114" fmla="*/ 1276350 h 4496940"/>
                  <a:gd name="connsiteX115" fmla="*/ 240052 w 4519987"/>
                  <a:gd name="connsiteY115" fmla="*/ 1247775 h 4496940"/>
                  <a:gd name="connsiteX116" fmla="*/ 268627 w 4519987"/>
                  <a:gd name="connsiteY116" fmla="*/ 1200150 h 4496940"/>
                  <a:gd name="connsiteX117" fmla="*/ 287677 w 4519987"/>
                  <a:gd name="connsiteY117" fmla="*/ 1152525 h 4496940"/>
                  <a:gd name="connsiteX118" fmla="*/ 316252 w 4519987"/>
                  <a:gd name="connsiteY118" fmla="*/ 1114425 h 4496940"/>
                  <a:gd name="connsiteX119" fmla="*/ 363877 w 4519987"/>
                  <a:gd name="connsiteY119" fmla="*/ 1038225 h 4496940"/>
                  <a:gd name="connsiteX120" fmla="*/ 382927 w 4519987"/>
                  <a:gd name="connsiteY120" fmla="*/ 1009650 h 4496940"/>
                  <a:gd name="connsiteX121" fmla="*/ 440077 w 4519987"/>
                  <a:gd name="connsiteY121" fmla="*/ 904875 h 4496940"/>
                  <a:gd name="connsiteX122" fmla="*/ 478177 w 4519987"/>
                  <a:gd name="connsiteY122" fmla="*/ 857250 h 4496940"/>
                  <a:gd name="connsiteX123" fmla="*/ 497227 w 4519987"/>
                  <a:gd name="connsiteY123" fmla="*/ 828675 h 4496940"/>
                  <a:gd name="connsiteX124" fmla="*/ 535327 w 4519987"/>
                  <a:gd name="connsiteY124" fmla="*/ 800100 h 4496940"/>
                  <a:gd name="connsiteX125" fmla="*/ 602002 w 4519987"/>
                  <a:gd name="connsiteY125" fmla="*/ 733425 h 4496940"/>
                  <a:gd name="connsiteX126" fmla="*/ 668677 w 4519987"/>
                  <a:gd name="connsiteY126" fmla="*/ 676275 h 4496940"/>
                  <a:gd name="connsiteX127" fmla="*/ 697252 w 4519987"/>
                  <a:gd name="connsiteY127" fmla="*/ 657225 h 4496940"/>
                  <a:gd name="connsiteX128" fmla="*/ 840127 w 4519987"/>
                  <a:gd name="connsiteY128" fmla="*/ 533400 h 4496940"/>
                  <a:gd name="connsiteX129" fmla="*/ 887752 w 4519987"/>
                  <a:gd name="connsiteY129" fmla="*/ 504825 h 4496940"/>
                  <a:gd name="connsiteX130" fmla="*/ 1167152 w 4519987"/>
                  <a:gd name="connsiteY130" fmla="*/ 311150 h 4496940"/>
                  <a:gd name="connsiteX131" fmla="*/ 1268752 w 4519987"/>
                  <a:gd name="connsiteY131" fmla="*/ 285750 h 4496940"/>
                  <a:gd name="connsiteX132" fmla="*/ 1411627 w 4519987"/>
                  <a:gd name="connsiteY132" fmla="*/ 190500 h 4496940"/>
                  <a:gd name="connsiteX133" fmla="*/ 1449727 w 4519987"/>
                  <a:gd name="connsiteY133" fmla="*/ 161925 h 4496940"/>
                  <a:gd name="connsiteX134" fmla="*/ 1525927 w 4519987"/>
                  <a:gd name="connsiteY134" fmla="*/ 152400 h 4496940"/>
                  <a:gd name="connsiteX135" fmla="*/ 1583077 w 4519987"/>
                  <a:gd name="connsiteY135" fmla="*/ 142875 h 4496940"/>
                  <a:gd name="connsiteX136" fmla="*/ 1716427 w 4519987"/>
                  <a:gd name="connsiteY136" fmla="*/ 123825 h 4496940"/>
                  <a:gd name="connsiteX137" fmla="*/ 1811677 w 4519987"/>
                  <a:gd name="connsiteY137" fmla="*/ 114300 h 4496940"/>
                  <a:gd name="connsiteX138" fmla="*/ 1859302 w 4519987"/>
                  <a:gd name="connsiteY138" fmla="*/ 104775 h 4496940"/>
                  <a:gd name="connsiteX139" fmla="*/ 1916452 w 4519987"/>
                  <a:gd name="connsiteY139" fmla="*/ 95250 h 4496940"/>
                  <a:gd name="connsiteX140" fmla="*/ 2030752 w 4519987"/>
                  <a:gd name="connsiteY140" fmla="*/ 66675 h 4496940"/>
                  <a:gd name="connsiteX141" fmla="*/ 2097427 w 4519987"/>
                  <a:gd name="connsiteY141" fmla="*/ 47625 h 4496940"/>
                  <a:gd name="connsiteX142" fmla="*/ 2164102 w 4519987"/>
                  <a:gd name="connsiteY142" fmla="*/ 38100 h 4496940"/>
                  <a:gd name="connsiteX143" fmla="*/ 2392702 w 4519987"/>
                  <a:gd name="connsiteY14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02477 w 4519987"/>
                  <a:gd name="connsiteY27" fmla="*/ 1590675 h 4496940"/>
                  <a:gd name="connsiteX28" fmla="*/ 4431052 w 4519987"/>
                  <a:gd name="connsiteY28" fmla="*/ 1685925 h 4496940"/>
                  <a:gd name="connsiteX29" fmla="*/ 4519952 w 4519987"/>
                  <a:gd name="connsiteY29" fmla="*/ 2181225 h 4496940"/>
                  <a:gd name="connsiteX30" fmla="*/ 4446927 w 4519987"/>
                  <a:gd name="connsiteY30" fmla="*/ 2768600 h 4496940"/>
                  <a:gd name="connsiteX31" fmla="*/ 4383427 w 4519987"/>
                  <a:gd name="connsiteY31" fmla="*/ 2990850 h 4496940"/>
                  <a:gd name="connsiteX32" fmla="*/ 4278652 w 4519987"/>
                  <a:gd name="connsiteY32" fmla="*/ 3248025 h 4496940"/>
                  <a:gd name="connsiteX33" fmla="*/ 4259602 w 4519987"/>
                  <a:gd name="connsiteY33" fmla="*/ 3276600 h 4496940"/>
                  <a:gd name="connsiteX34" fmla="*/ 4221502 w 4519987"/>
                  <a:gd name="connsiteY34" fmla="*/ 3333750 h 4496940"/>
                  <a:gd name="connsiteX35" fmla="*/ 4211977 w 4519987"/>
                  <a:gd name="connsiteY35" fmla="*/ 3362325 h 4496940"/>
                  <a:gd name="connsiteX36" fmla="*/ 4183402 w 4519987"/>
                  <a:gd name="connsiteY36" fmla="*/ 3400425 h 4496940"/>
                  <a:gd name="connsiteX37" fmla="*/ 4164352 w 4519987"/>
                  <a:gd name="connsiteY37" fmla="*/ 3429000 h 4496940"/>
                  <a:gd name="connsiteX38" fmla="*/ 4088152 w 4519987"/>
                  <a:gd name="connsiteY38" fmla="*/ 3495675 h 4496940"/>
                  <a:gd name="connsiteX39" fmla="*/ 4059577 w 4519987"/>
                  <a:gd name="connsiteY39" fmla="*/ 3533775 h 4496940"/>
                  <a:gd name="connsiteX40" fmla="*/ 4002427 w 4519987"/>
                  <a:gd name="connsiteY40" fmla="*/ 3600450 h 4496940"/>
                  <a:gd name="connsiteX41" fmla="*/ 3983377 w 4519987"/>
                  <a:gd name="connsiteY41" fmla="*/ 3629025 h 4496940"/>
                  <a:gd name="connsiteX42" fmla="*/ 3954802 w 4519987"/>
                  <a:gd name="connsiteY42" fmla="*/ 3648075 h 4496940"/>
                  <a:gd name="connsiteX43" fmla="*/ 3907177 w 4519987"/>
                  <a:gd name="connsiteY43" fmla="*/ 3686175 h 4496940"/>
                  <a:gd name="connsiteX44" fmla="*/ 3869077 w 4519987"/>
                  <a:gd name="connsiteY44" fmla="*/ 3724275 h 4496940"/>
                  <a:gd name="connsiteX45" fmla="*/ 3792877 w 4519987"/>
                  <a:gd name="connsiteY45" fmla="*/ 3781425 h 4496940"/>
                  <a:gd name="connsiteX46" fmla="*/ 3783352 w 4519987"/>
                  <a:gd name="connsiteY46" fmla="*/ 3810000 h 4496940"/>
                  <a:gd name="connsiteX47" fmla="*/ 3745252 w 4519987"/>
                  <a:gd name="connsiteY47" fmla="*/ 3819525 h 4496940"/>
                  <a:gd name="connsiteX48" fmla="*/ 3678577 w 4519987"/>
                  <a:gd name="connsiteY48" fmla="*/ 3848100 h 4496940"/>
                  <a:gd name="connsiteX49" fmla="*/ 3659527 w 4519987"/>
                  <a:gd name="connsiteY49" fmla="*/ 3971925 h 4496940"/>
                  <a:gd name="connsiteX50" fmla="*/ 3630952 w 4519987"/>
                  <a:gd name="connsiteY50" fmla="*/ 4010025 h 4496940"/>
                  <a:gd name="connsiteX51" fmla="*/ 3621427 w 4519987"/>
                  <a:gd name="connsiteY51" fmla="*/ 4038600 h 4496940"/>
                  <a:gd name="connsiteX52" fmla="*/ 3554752 w 4519987"/>
                  <a:gd name="connsiteY52" fmla="*/ 4095750 h 4496940"/>
                  <a:gd name="connsiteX53" fmla="*/ 3516652 w 4519987"/>
                  <a:gd name="connsiteY53" fmla="*/ 4114800 h 4496940"/>
                  <a:gd name="connsiteX54" fmla="*/ 3497602 w 4519987"/>
                  <a:gd name="connsiteY54" fmla="*/ 4143375 h 4496940"/>
                  <a:gd name="connsiteX55" fmla="*/ 3383302 w 4519987"/>
                  <a:gd name="connsiteY55" fmla="*/ 4210050 h 4496940"/>
                  <a:gd name="connsiteX56" fmla="*/ 3335677 w 4519987"/>
                  <a:gd name="connsiteY56" fmla="*/ 4238625 h 4496940"/>
                  <a:gd name="connsiteX57" fmla="*/ 3288052 w 4519987"/>
                  <a:gd name="connsiteY57" fmla="*/ 4248150 h 4496940"/>
                  <a:gd name="connsiteX58" fmla="*/ 3240427 w 4519987"/>
                  <a:gd name="connsiteY58" fmla="*/ 4267200 h 4496940"/>
                  <a:gd name="connsiteX59" fmla="*/ 3068977 w 4519987"/>
                  <a:gd name="connsiteY59" fmla="*/ 4286250 h 4496940"/>
                  <a:gd name="connsiteX60" fmla="*/ 2935627 w 4519987"/>
                  <a:gd name="connsiteY60" fmla="*/ 4333875 h 4496940"/>
                  <a:gd name="connsiteX61" fmla="*/ 2811802 w 4519987"/>
                  <a:gd name="connsiteY61" fmla="*/ 4371975 h 4496940"/>
                  <a:gd name="connsiteX62" fmla="*/ 2745127 w 4519987"/>
                  <a:gd name="connsiteY62" fmla="*/ 4410075 h 4496940"/>
                  <a:gd name="connsiteX63" fmla="*/ 2697502 w 4519987"/>
                  <a:gd name="connsiteY63" fmla="*/ 4429125 h 4496940"/>
                  <a:gd name="connsiteX64" fmla="*/ 2640352 w 4519987"/>
                  <a:gd name="connsiteY64" fmla="*/ 4457700 h 4496940"/>
                  <a:gd name="connsiteX65" fmla="*/ 2583202 w 4519987"/>
                  <a:gd name="connsiteY65" fmla="*/ 4467225 h 4496940"/>
                  <a:gd name="connsiteX66" fmla="*/ 2545102 w 4519987"/>
                  <a:gd name="connsiteY66" fmla="*/ 4486275 h 4496940"/>
                  <a:gd name="connsiteX67" fmla="*/ 2306977 w 4519987"/>
                  <a:gd name="connsiteY67" fmla="*/ 4476750 h 4496940"/>
                  <a:gd name="connsiteX68" fmla="*/ 2202202 w 4519987"/>
                  <a:gd name="connsiteY68" fmla="*/ 4457700 h 4496940"/>
                  <a:gd name="connsiteX69" fmla="*/ 2126002 w 4519987"/>
                  <a:gd name="connsiteY69" fmla="*/ 4429125 h 4496940"/>
                  <a:gd name="connsiteX70" fmla="*/ 1935502 w 4519987"/>
                  <a:gd name="connsiteY70" fmla="*/ 4400550 h 4496940"/>
                  <a:gd name="connsiteX71" fmla="*/ 1821202 w 4519987"/>
                  <a:gd name="connsiteY71" fmla="*/ 4371975 h 4496940"/>
                  <a:gd name="connsiteX72" fmla="*/ 1754527 w 4519987"/>
                  <a:gd name="connsiteY72" fmla="*/ 4352925 h 4496940"/>
                  <a:gd name="connsiteX73" fmla="*/ 1687852 w 4519987"/>
                  <a:gd name="connsiteY73" fmla="*/ 4343400 h 4496940"/>
                  <a:gd name="connsiteX74" fmla="*/ 1573552 w 4519987"/>
                  <a:gd name="connsiteY74" fmla="*/ 4305300 h 4496940"/>
                  <a:gd name="connsiteX75" fmla="*/ 1402102 w 4519987"/>
                  <a:gd name="connsiteY75" fmla="*/ 4276725 h 4496940"/>
                  <a:gd name="connsiteX76" fmla="*/ 1287802 w 4519987"/>
                  <a:gd name="connsiteY76" fmla="*/ 4229100 h 4496940"/>
                  <a:gd name="connsiteX77" fmla="*/ 1221127 w 4519987"/>
                  <a:gd name="connsiteY77" fmla="*/ 4200525 h 4496940"/>
                  <a:gd name="connsiteX78" fmla="*/ 1144927 w 4519987"/>
                  <a:gd name="connsiteY78" fmla="*/ 4171950 h 4496940"/>
                  <a:gd name="connsiteX79" fmla="*/ 1087777 w 4519987"/>
                  <a:gd name="connsiteY79" fmla="*/ 4143375 h 4496940"/>
                  <a:gd name="connsiteX80" fmla="*/ 1030627 w 4519987"/>
                  <a:gd name="connsiteY80" fmla="*/ 4124325 h 4496940"/>
                  <a:gd name="connsiteX81" fmla="*/ 925852 w 4519987"/>
                  <a:gd name="connsiteY81" fmla="*/ 4067175 h 4496940"/>
                  <a:gd name="connsiteX82" fmla="*/ 830602 w 4519987"/>
                  <a:gd name="connsiteY82" fmla="*/ 3981450 h 4496940"/>
                  <a:gd name="connsiteX83" fmla="*/ 763927 w 4519987"/>
                  <a:gd name="connsiteY83" fmla="*/ 3914775 h 4496940"/>
                  <a:gd name="connsiteX84" fmla="*/ 725827 w 4519987"/>
                  <a:gd name="connsiteY84" fmla="*/ 3876675 h 4496940"/>
                  <a:gd name="connsiteX85" fmla="*/ 697252 w 4519987"/>
                  <a:gd name="connsiteY85" fmla="*/ 3838575 h 4496940"/>
                  <a:gd name="connsiteX86" fmla="*/ 640102 w 4519987"/>
                  <a:gd name="connsiteY86" fmla="*/ 3781425 h 4496940"/>
                  <a:gd name="connsiteX87" fmla="*/ 611527 w 4519987"/>
                  <a:gd name="connsiteY87" fmla="*/ 3733800 h 4496940"/>
                  <a:gd name="connsiteX88" fmla="*/ 554377 w 4519987"/>
                  <a:gd name="connsiteY88" fmla="*/ 3657600 h 4496940"/>
                  <a:gd name="connsiteX89" fmla="*/ 525802 w 4519987"/>
                  <a:gd name="connsiteY89" fmla="*/ 3609975 h 4496940"/>
                  <a:gd name="connsiteX90" fmla="*/ 497227 w 4519987"/>
                  <a:gd name="connsiteY90" fmla="*/ 3552825 h 4496940"/>
                  <a:gd name="connsiteX91" fmla="*/ 440077 w 4519987"/>
                  <a:gd name="connsiteY91" fmla="*/ 3495675 h 4496940"/>
                  <a:gd name="connsiteX92" fmla="*/ 411502 w 4519987"/>
                  <a:gd name="connsiteY92" fmla="*/ 3448050 h 4496940"/>
                  <a:gd name="connsiteX93" fmla="*/ 278152 w 4519987"/>
                  <a:gd name="connsiteY93" fmla="*/ 3257550 h 4496940"/>
                  <a:gd name="connsiteX94" fmla="*/ 249577 w 4519987"/>
                  <a:gd name="connsiteY94" fmla="*/ 3200400 h 4496940"/>
                  <a:gd name="connsiteX95" fmla="*/ 240052 w 4519987"/>
                  <a:gd name="connsiteY95" fmla="*/ 3162300 h 4496940"/>
                  <a:gd name="connsiteX96" fmla="*/ 221002 w 4519987"/>
                  <a:gd name="connsiteY96" fmla="*/ 3105150 h 4496940"/>
                  <a:gd name="connsiteX97" fmla="*/ 173377 w 4519987"/>
                  <a:gd name="connsiteY97" fmla="*/ 3019425 h 4496940"/>
                  <a:gd name="connsiteX98" fmla="*/ 144802 w 4519987"/>
                  <a:gd name="connsiteY98" fmla="*/ 2924175 h 4496940"/>
                  <a:gd name="connsiteX99" fmla="*/ 68602 w 4519987"/>
                  <a:gd name="connsiteY99" fmla="*/ 2724150 h 4496940"/>
                  <a:gd name="connsiteX100" fmla="*/ 49552 w 4519987"/>
                  <a:gd name="connsiteY100" fmla="*/ 2638425 h 4496940"/>
                  <a:gd name="connsiteX101" fmla="*/ 40027 w 4519987"/>
                  <a:gd name="connsiteY101" fmla="*/ 2562225 h 4496940"/>
                  <a:gd name="connsiteX102" fmla="*/ 30502 w 4519987"/>
                  <a:gd name="connsiteY102" fmla="*/ 2514600 h 4496940"/>
                  <a:gd name="connsiteX103" fmla="*/ 11452 w 4519987"/>
                  <a:gd name="connsiteY103" fmla="*/ 2400300 h 4496940"/>
                  <a:gd name="connsiteX104" fmla="*/ 20977 w 4519987"/>
                  <a:gd name="connsiteY104" fmla="*/ 1905000 h 4496940"/>
                  <a:gd name="connsiteX105" fmla="*/ 30502 w 4519987"/>
                  <a:gd name="connsiteY105" fmla="*/ 1838325 h 4496940"/>
                  <a:gd name="connsiteX106" fmla="*/ 49552 w 4519987"/>
                  <a:gd name="connsiteY106" fmla="*/ 1781175 h 4496940"/>
                  <a:gd name="connsiteX107" fmla="*/ 59077 w 4519987"/>
                  <a:gd name="connsiteY107" fmla="*/ 1743075 h 4496940"/>
                  <a:gd name="connsiteX108" fmla="*/ 78127 w 4519987"/>
                  <a:gd name="connsiteY108" fmla="*/ 1685925 h 4496940"/>
                  <a:gd name="connsiteX109" fmla="*/ 87652 w 4519987"/>
                  <a:gd name="connsiteY109" fmla="*/ 1638300 h 4496940"/>
                  <a:gd name="connsiteX110" fmla="*/ 106702 w 4519987"/>
                  <a:gd name="connsiteY110" fmla="*/ 1590675 h 4496940"/>
                  <a:gd name="connsiteX111" fmla="*/ 135277 w 4519987"/>
                  <a:gd name="connsiteY111" fmla="*/ 1504950 h 4496940"/>
                  <a:gd name="connsiteX112" fmla="*/ 154327 w 4519987"/>
                  <a:gd name="connsiteY112" fmla="*/ 1419225 h 4496940"/>
                  <a:gd name="connsiteX113" fmla="*/ 230527 w 4519987"/>
                  <a:gd name="connsiteY113" fmla="*/ 1276350 h 4496940"/>
                  <a:gd name="connsiteX114" fmla="*/ 240052 w 4519987"/>
                  <a:gd name="connsiteY114" fmla="*/ 1247775 h 4496940"/>
                  <a:gd name="connsiteX115" fmla="*/ 268627 w 4519987"/>
                  <a:gd name="connsiteY115" fmla="*/ 1200150 h 4496940"/>
                  <a:gd name="connsiteX116" fmla="*/ 287677 w 4519987"/>
                  <a:gd name="connsiteY116" fmla="*/ 1152525 h 4496940"/>
                  <a:gd name="connsiteX117" fmla="*/ 316252 w 4519987"/>
                  <a:gd name="connsiteY117" fmla="*/ 1114425 h 4496940"/>
                  <a:gd name="connsiteX118" fmla="*/ 363877 w 4519987"/>
                  <a:gd name="connsiteY118" fmla="*/ 1038225 h 4496940"/>
                  <a:gd name="connsiteX119" fmla="*/ 382927 w 4519987"/>
                  <a:gd name="connsiteY119" fmla="*/ 1009650 h 4496940"/>
                  <a:gd name="connsiteX120" fmla="*/ 440077 w 4519987"/>
                  <a:gd name="connsiteY120" fmla="*/ 904875 h 4496940"/>
                  <a:gd name="connsiteX121" fmla="*/ 478177 w 4519987"/>
                  <a:gd name="connsiteY121" fmla="*/ 857250 h 4496940"/>
                  <a:gd name="connsiteX122" fmla="*/ 497227 w 4519987"/>
                  <a:gd name="connsiteY122" fmla="*/ 828675 h 4496940"/>
                  <a:gd name="connsiteX123" fmla="*/ 535327 w 4519987"/>
                  <a:gd name="connsiteY123" fmla="*/ 800100 h 4496940"/>
                  <a:gd name="connsiteX124" fmla="*/ 602002 w 4519987"/>
                  <a:gd name="connsiteY124" fmla="*/ 733425 h 4496940"/>
                  <a:gd name="connsiteX125" fmla="*/ 668677 w 4519987"/>
                  <a:gd name="connsiteY125" fmla="*/ 676275 h 4496940"/>
                  <a:gd name="connsiteX126" fmla="*/ 697252 w 4519987"/>
                  <a:gd name="connsiteY126" fmla="*/ 657225 h 4496940"/>
                  <a:gd name="connsiteX127" fmla="*/ 840127 w 4519987"/>
                  <a:gd name="connsiteY127" fmla="*/ 533400 h 4496940"/>
                  <a:gd name="connsiteX128" fmla="*/ 887752 w 4519987"/>
                  <a:gd name="connsiteY128" fmla="*/ 504825 h 4496940"/>
                  <a:gd name="connsiteX129" fmla="*/ 1167152 w 4519987"/>
                  <a:gd name="connsiteY129" fmla="*/ 311150 h 4496940"/>
                  <a:gd name="connsiteX130" fmla="*/ 1268752 w 4519987"/>
                  <a:gd name="connsiteY130" fmla="*/ 285750 h 4496940"/>
                  <a:gd name="connsiteX131" fmla="*/ 1411627 w 4519987"/>
                  <a:gd name="connsiteY131" fmla="*/ 190500 h 4496940"/>
                  <a:gd name="connsiteX132" fmla="*/ 1449727 w 4519987"/>
                  <a:gd name="connsiteY132" fmla="*/ 161925 h 4496940"/>
                  <a:gd name="connsiteX133" fmla="*/ 1525927 w 4519987"/>
                  <a:gd name="connsiteY133" fmla="*/ 152400 h 4496940"/>
                  <a:gd name="connsiteX134" fmla="*/ 1583077 w 4519987"/>
                  <a:gd name="connsiteY134" fmla="*/ 142875 h 4496940"/>
                  <a:gd name="connsiteX135" fmla="*/ 1716427 w 4519987"/>
                  <a:gd name="connsiteY135" fmla="*/ 123825 h 4496940"/>
                  <a:gd name="connsiteX136" fmla="*/ 1811677 w 4519987"/>
                  <a:gd name="connsiteY136" fmla="*/ 114300 h 4496940"/>
                  <a:gd name="connsiteX137" fmla="*/ 1859302 w 4519987"/>
                  <a:gd name="connsiteY137" fmla="*/ 104775 h 4496940"/>
                  <a:gd name="connsiteX138" fmla="*/ 1916452 w 4519987"/>
                  <a:gd name="connsiteY138" fmla="*/ 95250 h 4496940"/>
                  <a:gd name="connsiteX139" fmla="*/ 2030752 w 4519987"/>
                  <a:gd name="connsiteY139" fmla="*/ 66675 h 4496940"/>
                  <a:gd name="connsiteX140" fmla="*/ 2097427 w 4519987"/>
                  <a:gd name="connsiteY140" fmla="*/ 47625 h 4496940"/>
                  <a:gd name="connsiteX141" fmla="*/ 2164102 w 4519987"/>
                  <a:gd name="connsiteY141" fmla="*/ 38100 h 4496940"/>
                  <a:gd name="connsiteX142" fmla="*/ 2392702 w 4519987"/>
                  <a:gd name="connsiteY14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221502 w 4519987"/>
                  <a:gd name="connsiteY33" fmla="*/ 3333750 h 4496940"/>
                  <a:gd name="connsiteX34" fmla="*/ 4211977 w 4519987"/>
                  <a:gd name="connsiteY34" fmla="*/ 3362325 h 4496940"/>
                  <a:gd name="connsiteX35" fmla="*/ 4183402 w 4519987"/>
                  <a:gd name="connsiteY35" fmla="*/ 3400425 h 4496940"/>
                  <a:gd name="connsiteX36" fmla="*/ 4164352 w 4519987"/>
                  <a:gd name="connsiteY36" fmla="*/ 3429000 h 4496940"/>
                  <a:gd name="connsiteX37" fmla="*/ 4088152 w 4519987"/>
                  <a:gd name="connsiteY37" fmla="*/ 3495675 h 4496940"/>
                  <a:gd name="connsiteX38" fmla="*/ 4059577 w 4519987"/>
                  <a:gd name="connsiteY38" fmla="*/ 3533775 h 4496940"/>
                  <a:gd name="connsiteX39" fmla="*/ 4002427 w 4519987"/>
                  <a:gd name="connsiteY39" fmla="*/ 3600450 h 4496940"/>
                  <a:gd name="connsiteX40" fmla="*/ 3983377 w 4519987"/>
                  <a:gd name="connsiteY40" fmla="*/ 3629025 h 4496940"/>
                  <a:gd name="connsiteX41" fmla="*/ 3954802 w 4519987"/>
                  <a:gd name="connsiteY41" fmla="*/ 3648075 h 4496940"/>
                  <a:gd name="connsiteX42" fmla="*/ 3907177 w 4519987"/>
                  <a:gd name="connsiteY42" fmla="*/ 3686175 h 4496940"/>
                  <a:gd name="connsiteX43" fmla="*/ 3869077 w 4519987"/>
                  <a:gd name="connsiteY43" fmla="*/ 3724275 h 4496940"/>
                  <a:gd name="connsiteX44" fmla="*/ 3792877 w 4519987"/>
                  <a:gd name="connsiteY44" fmla="*/ 3781425 h 4496940"/>
                  <a:gd name="connsiteX45" fmla="*/ 3783352 w 4519987"/>
                  <a:gd name="connsiteY45" fmla="*/ 3810000 h 4496940"/>
                  <a:gd name="connsiteX46" fmla="*/ 3745252 w 4519987"/>
                  <a:gd name="connsiteY46" fmla="*/ 3819525 h 4496940"/>
                  <a:gd name="connsiteX47" fmla="*/ 3678577 w 4519987"/>
                  <a:gd name="connsiteY47" fmla="*/ 3848100 h 4496940"/>
                  <a:gd name="connsiteX48" fmla="*/ 3659527 w 4519987"/>
                  <a:gd name="connsiteY48" fmla="*/ 3971925 h 4496940"/>
                  <a:gd name="connsiteX49" fmla="*/ 3630952 w 4519987"/>
                  <a:gd name="connsiteY49" fmla="*/ 4010025 h 4496940"/>
                  <a:gd name="connsiteX50" fmla="*/ 3621427 w 4519987"/>
                  <a:gd name="connsiteY50" fmla="*/ 4038600 h 4496940"/>
                  <a:gd name="connsiteX51" fmla="*/ 3554752 w 4519987"/>
                  <a:gd name="connsiteY51" fmla="*/ 4095750 h 4496940"/>
                  <a:gd name="connsiteX52" fmla="*/ 3516652 w 4519987"/>
                  <a:gd name="connsiteY52" fmla="*/ 4114800 h 4496940"/>
                  <a:gd name="connsiteX53" fmla="*/ 3497602 w 4519987"/>
                  <a:gd name="connsiteY53" fmla="*/ 4143375 h 4496940"/>
                  <a:gd name="connsiteX54" fmla="*/ 3383302 w 4519987"/>
                  <a:gd name="connsiteY54" fmla="*/ 4210050 h 4496940"/>
                  <a:gd name="connsiteX55" fmla="*/ 3335677 w 4519987"/>
                  <a:gd name="connsiteY55" fmla="*/ 4238625 h 4496940"/>
                  <a:gd name="connsiteX56" fmla="*/ 3288052 w 4519987"/>
                  <a:gd name="connsiteY56" fmla="*/ 4248150 h 4496940"/>
                  <a:gd name="connsiteX57" fmla="*/ 3240427 w 4519987"/>
                  <a:gd name="connsiteY57" fmla="*/ 4267200 h 4496940"/>
                  <a:gd name="connsiteX58" fmla="*/ 3068977 w 4519987"/>
                  <a:gd name="connsiteY58" fmla="*/ 4286250 h 4496940"/>
                  <a:gd name="connsiteX59" fmla="*/ 2935627 w 4519987"/>
                  <a:gd name="connsiteY59" fmla="*/ 4333875 h 4496940"/>
                  <a:gd name="connsiteX60" fmla="*/ 2811802 w 4519987"/>
                  <a:gd name="connsiteY60" fmla="*/ 4371975 h 4496940"/>
                  <a:gd name="connsiteX61" fmla="*/ 2745127 w 4519987"/>
                  <a:gd name="connsiteY61" fmla="*/ 4410075 h 4496940"/>
                  <a:gd name="connsiteX62" fmla="*/ 2697502 w 4519987"/>
                  <a:gd name="connsiteY62" fmla="*/ 4429125 h 4496940"/>
                  <a:gd name="connsiteX63" fmla="*/ 2640352 w 4519987"/>
                  <a:gd name="connsiteY63" fmla="*/ 4457700 h 4496940"/>
                  <a:gd name="connsiteX64" fmla="*/ 2583202 w 4519987"/>
                  <a:gd name="connsiteY64" fmla="*/ 4467225 h 4496940"/>
                  <a:gd name="connsiteX65" fmla="*/ 2545102 w 4519987"/>
                  <a:gd name="connsiteY65" fmla="*/ 4486275 h 4496940"/>
                  <a:gd name="connsiteX66" fmla="*/ 2306977 w 4519987"/>
                  <a:gd name="connsiteY66" fmla="*/ 4476750 h 4496940"/>
                  <a:gd name="connsiteX67" fmla="*/ 2202202 w 4519987"/>
                  <a:gd name="connsiteY67" fmla="*/ 4457700 h 4496940"/>
                  <a:gd name="connsiteX68" fmla="*/ 2126002 w 4519987"/>
                  <a:gd name="connsiteY68" fmla="*/ 4429125 h 4496940"/>
                  <a:gd name="connsiteX69" fmla="*/ 1935502 w 4519987"/>
                  <a:gd name="connsiteY69" fmla="*/ 4400550 h 4496940"/>
                  <a:gd name="connsiteX70" fmla="*/ 1821202 w 4519987"/>
                  <a:gd name="connsiteY70" fmla="*/ 4371975 h 4496940"/>
                  <a:gd name="connsiteX71" fmla="*/ 1754527 w 4519987"/>
                  <a:gd name="connsiteY71" fmla="*/ 4352925 h 4496940"/>
                  <a:gd name="connsiteX72" fmla="*/ 1687852 w 4519987"/>
                  <a:gd name="connsiteY72" fmla="*/ 4343400 h 4496940"/>
                  <a:gd name="connsiteX73" fmla="*/ 1573552 w 4519987"/>
                  <a:gd name="connsiteY73" fmla="*/ 4305300 h 4496940"/>
                  <a:gd name="connsiteX74" fmla="*/ 1402102 w 4519987"/>
                  <a:gd name="connsiteY74" fmla="*/ 4276725 h 4496940"/>
                  <a:gd name="connsiteX75" fmla="*/ 1287802 w 4519987"/>
                  <a:gd name="connsiteY75" fmla="*/ 4229100 h 4496940"/>
                  <a:gd name="connsiteX76" fmla="*/ 1221127 w 4519987"/>
                  <a:gd name="connsiteY76" fmla="*/ 4200525 h 4496940"/>
                  <a:gd name="connsiteX77" fmla="*/ 1144927 w 4519987"/>
                  <a:gd name="connsiteY77" fmla="*/ 4171950 h 4496940"/>
                  <a:gd name="connsiteX78" fmla="*/ 1087777 w 4519987"/>
                  <a:gd name="connsiteY78" fmla="*/ 4143375 h 4496940"/>
                  <a:gd name="connsiteX79" fmla="*/ 1030627 w 4519987"/>
                  <a:gd name="connsiteY79" fmla="*/ 4124325 h 4496940"/>
                  <a:gd name="connsiteX80" fmla="*/ 925852 w 4519987"/>
                  <a:gd name="connsiteY80" fmla="*/ 4067175 h 4496940"/>
                  <a:gd name="connsiteX81" fmla="*/ 830602 w 4519987"/>
                  <a:gd name="connsiteY81" fmla="*/ 3981450 h 4496940"/>
                  <a:gd name="connsiteX82" fmla="*/ 763927 w 4519987"/>
                  <a:gd name="connsiteY82" fmla="*/ 3914775 h 4496940"/>
                  <a:gd name="connsiteX83" fmla="*/ 725827 w 4519987"/>
                  <a:gd name="connsiteY83" fmla="*/ 3876675 h 4496940"/>
                  <a:gd name="connsiteX84" fmla="*/ 697252 w 4519987"/>
                  <a:gd name="connsiteY84" fmla="*/ 3838575 h 4496940"/>
                  <a:gd name="connsiteX85" fmla="*/ 640102 w 4519987"/>
                  <a:gd name="connsiteY85" fmla="*/ 3781425 h 4496940"/>
                  <a:gd name="connsiteX86" fmla="*/ 611527 w 4519987"/>
                  <a:gd name="connsiteY86" fmla="*/ 3733800 h 4496940"/>
                  <a:gd name="connsiteX87" fmla="*/ 554377 w 4519987"/>
                  <a:gd name="connsiteY87" fmla="*/ 3657600 h 4496940"/>
                  <a:gd name="connsiteX88" fmla="*/ 525802 w 4519987"/>
                  <a:gd name="connsiteY88" fmla="*/ 3609975 h 4496940"/>
                  <a:gd name="connsiteX89" fmla="*/ 497227 w 4519987"/>
                  <a:gd name="connsiteY89" fmla="*/ 3552825 h 4496940"/>
                  <a:gd name="connsiteX90" fmla="*/ 440077 w 4519987"/>
                  <a:gd name="connsiteY90" fmla="*/ 3495675 h 4496940"/>
                  <a:gd name="connsiteX91" fmla="*/ 411502 w 4519987"/>
                  <a:gd name="connsiteY91" fmla="*/ 3448050 h 4496940"/>
                  <a:gd name="connsiteX92" fmla="*/ 278152 w 4519987"/>
                  <a:gd name="connsiteY92" fmla="*/ 3257550 h 4496940"/>
                  <a:gd name="connsiteX93" fmla="*/ 249577 w 4519987"/>
                  <a:gd name="connsiteY93" fmla="*/ 3200400 h 4496940"/>
                  <a:gd name="connsiteX94" fmla="*/ 240052 w 4519987"/>
                  <a:gd name="connsiteY94" fmla="*/ 3162300 h 4496940"/>
                  <a:gd name="connsiteX95" fmla="*/ 221002 w 4519987"/>
                  <a:gd name="connsiteY95" fmla="*/ 3105150 h 4496940"/>
                  <a:gd name="connsiteX96" fmla="*/ 173377 w 4519987"/>
                  <a:gd name="connsiteY96" fmla="*/ 3019425 h 4496940"/>
                  <a:gd name="connsiteX97" fmla="*/ 144802 w 4519987"/>
                  <a:gd name="connsiteY97" fmla="*/ 2924175 h 4496940"/>
                  <a:gd name="connsiteX98" fmla="*/ 68602 w 4519987"/>
                  <a:gd name="connsiteY98" fmla="*/ 2724150 h 4496940"/>
                  <a:gd name="connsiteX99" fmla="*/ 49552 w 4519987"/>
                  <a:gd name="connsiteY99" fmla="*/ 2638425 h 4496940"/>
                  <a:gd name="connsiteX100" fmla="*/ 40027 w 4519987"/>
                  <a:gd name="connsiteY100" fmla="*/ 2562225 h 4496940"/>
                  <a:gd name="connsiteX101" fmla="*/ 30502 w 4519987"/>
                  <a:gd name="connsiteY101" fmla="*/ 2514600 h 4496940"/>
                  <a:gd name="connsiteX102" fmla="*/ 11452 w 4519987"/>
                  <a:gd name="connsiteY102" fmla="*/ 2400300 h 4496940"/>
                  <a:gd name="connsiteX103" fmla="*/ 20977 w 4519987"/>
                  <a:gd name="connsiteY103" fmla="*/ 1905000 h 4496940"/>
                  <a:gd name="connsiteX104" fmla="*/ 30502 w 4519987"/>
                  <a:gd name="connsiteY104" fmla="*/ 1838325 h 4496940"/>
                  <a:gd name="connsiteX105" fmla="*/ 49552 w 4519987"/>
                  <a:gd name="connsiteY105" fmla="*/ 1781175 h 4496940"/>
                  <a:gd name="connsiteX106" fmla="*/ 59077 w 4519987"/>
                  <a:gd name="connsiteY106" fmla="*/ 1743075 h 4496940"/>
                  <a:gd name="connsiteX107" fmla="*/ 78127 w 4519987"/>
                  <a:gd name="connsiteY107" fmla="*/ 1685925 h 4496940"/>
                  <a:gd name="connsiteX108" fmla="*/ 87652 w 4519987"/>
                  <a:gd name="connsiteY108" fmla="*/ 1638300 h 4496940"/>
                  <a:gd name="connsiteX109" fmla="*/ 106702 w 4519987"/>
                  <a:gd name="connsiteY109" fmla="*/ 1590675 h 4496940"/>
                  <a:gd name="connsiteX110" fmla="*/ 135277 w 4519987"/>
                  <a:gd name="connsiteY110" fmla="*/ 1504950 h 4496940"/>
                  <a:gd name="connsiteX111" fmla="*/ 154327 w 4519987"/>
                  <a:gd name="connsiteY111" fmla="*/ 1419225 h 4496940"/>
                  <a:gd name="connsiteX112" fmla="*/ 230527 w 4519987"/>
                  <a:gd name="connsiteY112" fmla="*/ 1276350 h 4496940"/>
                  <a:gd name="connsiteX113" fmla="*/ 240052 w 4519987"/>
                  <a:gd name="connsiteY113" fmla="*/ 1247775 h 4496940"/>
                  <a:gd name="connsiteX114" fmla="*/ 268627 w 4519987"/>
                  <a:gd name="connsiteY114" fmla="*/ 1200150 h 4496940"/>
                  <a:gd name="connsiteX115" fmla="*/ 287677 w 4519987"/>
                  <a:gd name="connsiteY115" fmla="*/ 1152525 h 4496940"/>
                  <a:gd name="connsiteX116" fmla="*/ 316252 w 4519987"/>
                  <a:gd name="connsiteY116" fmla="*/ 1114425 h 4496940"/>
                  <a:gd name="connsiteX117" fmla="*/ 363877 w 4519987"/>
                  <a:gd name="connsiteY117" fmla="*/ 1038225 h 4496940"/>
                  <a:gd name="connsiteX118" fmla="*/ 382927 w 4519987"/>
                  <a:gd name="connsiteY118" fmla="*/ 1009650 h 4496940"/>
                  <a:gd name="connsiteX119" fmla="*/ 440077 w 4519987"/>
                  <a:gd name="connsiteY119" fmla="*/ 904875 h 4496940"/>
                  <a:gd name="connsiteX120" fmla="*/ 478177 w 4519987"/>
                  <a:gd name="connsiteY120" fmla="*/ 857250 h 4496940"/>
                  <a:gd name="connsiteX121" fmla="*/ 497227 w 4519987"/>
                  <a:gd name="connsiteY121" fmla="*/ 828675 h 4496940"/>
                  <a:gd name="connsiteX122" fmla="*/ 535327 w 4519987"/>
                  <a:gd name="connsiteY122" fmla="*/ 800100 h 4496940"/>
                  <a:gd name="connsiteX123" fmla="*/ 602002 w 4519987"/>
                  <a:gd name="connsiteY123" fmla="*/ 733425 h 4496940"/>
                  <a:gd name="connsiteX124" fmla="*/ 668677 w 4519987"/>
                  <a:gd name="connsiteY124" fmla="*/ 676275 h 4496940"/>
                  <a:gd name="connsiteX125" fmla="*/ 697252 w 4519987"/>
                  <a:gd name="connsiteY125" fmla="*/ 657225 h 4496940"/>
                  <a:gd name="connsiteX126" fmla="*/ 840127 w 4519987"/>
                  <a:gd name="connsiteY126" fmla="*/ 533400 h 4496940"/>
                  <a:gd name="connsiteX127" fmla="*/ 887752 w 4519987"/>
                  <a:gd name="connsiteY127" fmla="*/ 504825 h 4496940"/>
                  <a:gd name="connsiteX128" fmla="*/ 1167152 w 4519987"/>
                  <a:gd name="connsiteY128" fmla="*/ 311150 h 4496940"/>
                  <a:gd name="connsiteX129" fmla="*/ 1268752 w 4519987"/>
                  <a:gd name="connsiteY129" fmla="*/ 285750 h 4496940"/>
                  <a:gd name="connsiteX130" fmla="*/ 1411627 w 4519987"/>
                  <a:gd name="connsiteY130" fmla="*/ 190500 h 4496940"/>
                  <a:gd name="connsiteX131" fmla="*/ 1449727 w 4519987"/>
                  <a:gd name="connsiteY131" fmla="*/ 161925 h 4496940"/>
                  <a:gd name="connsiteX132" fmla="*/ 1525927 w 4519987"/>
                  <a:gd name="connsiteY132" fmla="*/ 152400 h 4496940"/>
                  <a:gd name="connsiteX133" fmla="*/ 1583077 w 4519987"/>
                  <a:gd name="connsiteY133" fmla="*/ 142875 h 4496940"/>
                  <a:gd name="connsiteX134" fmla="*/ 1716427 w 4519987"/>
                  <a:gd name="connsiteY134" fmla="*/ 123825 h 4496940"/>
                  <a:gd name="connsiteX135" fmla="*/ 1811677 w 4519987"/>
                  <a:gd name="connsiteY135" fmla="*/ 114300 h 4496940"/>
                  <a:gd name="connsiteX136" fmla="*/ 1859302 w 4519987"/>
                  <a:gd name="connsiteY136" fmla="*/ 104775 h 4496940"/>
                  <a:gd name="connsiteX137" fmla="*/ 1916452 w 4519987"/>
                  <a:gd name="connsiteY137" fmla="*/ 95250 h 4496940"/>
                  <a:gd name="connsiteX138" fmla="*/ 2030752 w 4519987"/>
                  <a:gd name="connsiteY138" fmla="*/ 66675 h 4496940"/>
                  <a:gd name="connsiteX139" fmla="*/ 2097427 w 4519987"/>
                  <a:gd name="connsiteY139" fmla="*/ 47625 h 4496940"/>
                  <a:gd name="connsiteX140" fmla="*/ 2164102 w 4519987"/>
                  <a:gd name="connsiteY140" fmla="*/ 38100 h 4496940"/>
                  <a:gd name="connsiteX141" fmla="*/ 2392702 w 4519987"/>
                  <a:gd name="connsiteY14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221502 w 4519987"/>
                  <a:gd name="connsiteY33" fmla="*/ 3333750 h 4496940"/>
                  <a:gd name="connsiteX34" fmla="*/ 4211977 w 4519987"/>
                  <a:gd name="connsiteY34" fmla="*/ 3362325 h 4496940"/>
                  <a:gd name="connsiteX35" fmla="*/ 4183402 w 4519987"/>
                  <a:gd name="connsiteY35" fmla="*/ 3400425 h 4496940"/>
                  <a:gd name="connsiteX36" fmla="*/ 4088152 w 4519987"/>
                  <a:gd name="connsiteY36" fmla="*/ 3495675 h 4496940"/>
                  <a:gd name="connsiteX37" fmla="*/ 4059577 w 4519987"/>
                  <a:gd name="connsiteY37" fmla="*/ 3533775 h 4496940"/>
                  <a:gd name="connsiteX38" fmla="*/ 4002427 w 4519987"/>
                  <a:gd name="connsiteY38" fmla="*/ 3600450 h 4496940"/>
                  <a:gd name="connsiteX39" fmla="*/ 3983377 w 4519987"/>
                  <a:gd name="connsiteY39" fmla="*/ 3629025 h 4496940"/>
                  <a:gd name="connsiteX40" fmla="*/ 3954802 w 4519987"/>
                  <a:gd name="connsiteY40" fmla="*/ 3648075 h 4496940"/>
                  <a:gd name="connsiteX41" fmla="*/ 3907177 w 4519987"/>
                  <a:gd name="connsiteY41" fmla="*/ 3686175 h 4496940"/>
                  <a:gd name="connsiteX42" fmla="*/ 3869077 w 4519987"/>
                  <a:gd name="connsiteY42" fmla="*/ 3724275 h 4496940"/>
                  <a:gd name="connsiteX43" fmla="*/ 3792877 w 4519987"/>
                  <a:gd name="connsiteY43" fmla="*/ 3781425 h 4496940"/>
                  <a:gd name="connsiteX44" fmla="*/ 3783352 w 4519987"/>
                  <a:gd name="connsiteY44" fmla="*/ 3810000 h 4496940"/>
                  <a:gd name="connsiteX45" fmla="*/ 3745252 w 4519987"/>
                  <a:gd name="connsiteY45" fmla="*/ 3819525 h 4496940"/>
                  <a:gd name="connsiteX46" fmla="*/ 3678577 w 4519987"/>
                  <a:gd name="connsiteY46" fmla="*/ 3848100 h 4496940"/>
                  <a:gd name="connsiteX47" fmla="*/ 3659527 w 4519987"/>
                  <a:gd name="connsiteY47" fmla="*/ 3971925 h 4496940"/>
                  <a:gd name="connsiteX48" fmla="*/ 3630952 w 4519987"/>
                  <a:gd name="connsiteY48" fmla="*/ 4010025 h 4496940"/>
                  <a:gd name="connsiteX49" fmla="*/ 3621427 w 4519987"/>
                  <a:gd name="connsiteY49" fmla="*/ 4038600 h 4496940"/>
                  <a:gd name="connsiteX50" fmla="*/ 3554752 w 4519987"/>
                  <a:gd name="connsiteY50" fmla="*/ 4095750 h 4496940"/>
                  <a:gd name="connsiteX51" fmla="*/ 3516652 w 4519987"/>
                  <a:gd name="connsiteY51" fmla="*/ 4114800 h 4496940"/>
                  <a:gd name="connsiteX52" fmla="*/ 3497602 w 4519987"/>
                  <a:gd name="connsiteY52" fmla="*/ 4143375 h 4496940"/>
                  <a:gd name="connsiteX53" fmla="*/ 3383302 w 4519987"/>
                  <a:gd name="connsiteY53" fmla="*/ 4210050 h 4496940"/>
                  <a:gd name="connsiteX54" fmla="*/ 3335677 w 4519987"/>
                  <a:gd name="connsiteY54" fmla="*/ 4238625 h 4496940"/>
                  <a:gd name="connsiteX55" fmla="*/ 3288052 w 4519987"/>
                  <a:gd name="connsiteY55" fmla="*/ 4248150 h 4496940"/>
                  <a:gd name="connsiteX56" fmla="*/ 3240427 w 4519987"/>
                  <a:gd name="connsiteY56" fmla="*/ 4267200 h 4496940"/>
                  <a:gd name="connsiteX57" fmla="*/ 3068977 w 4519987"/>
                  <a:gd name="connsiteY57" fmla="*/ 4286250 h 4496940"/>
                  <a:gd name="connsiteX58" fmla="*/ 2935627 w 4519987"/>
                  <a:gd name="connsiteY58" fmla="*/ 4333875 h 4496940"/>
                  <a:gd name="connsiteX59" fmla="*/ 2811802 w 4519987"/>
                  <a:gd name="connsiteY59" fmla="*/ 4371975 h 4496940"/>
                  <a:gd name="connsiteX60" fmla="*/ 2745127 w 4519987"/>
                  <a:gd name="connsiteY60" fmla="*/ 4410075 h 4496940"/>
                  <a:gd name="connsiteX61" fmla="*/ 2697502 w 4519987"/>
                  <a:gd name="connsiteY61" fmla="*/ 4429125 h 4496940"/>
                  <a:gd name="connsiteX62" fmla="*/ 2640352 w 4519987"/>
                  <a:gd name="connsiteY62" fmla="*/ 4457700 h 4496940"/>
                  <a:gd name="connsiteX63" fmla="*/ 2583202 w 4519987"/>
                  <a:gd name="connsiteY63" fmla="*/ 4467225 h 4496940"/>
                  <a:gd name="connsiteX64" fmla="*/ 2545102 w 4519987"/>
                  <a:gd name="connsiteY64" fmla="*/ 4486275 h 4496940"/>
                  <a:gd name="connsiteX65" fmla="*/ 2306977 w 4519987"/>
                  <a:gd name="connsiteY65" fmla="*/ 4476750 h 4496940"/>
                  <a:gd name="connsiteX66" fmla="*/ 2202202 w 4519987"/>
                  <a:gd name="connsiteY66" fmla="*/ 4457700 h 4496940"/>
                  <a:gd name="connsiteX67" fmla="*/ 2126002 w 4519987"/>
                  <a:gd name="connsiteY67" fmla="*/ 4429125 h 4496940"/>
                  <a:gd name="connsiteX68" fmla="*/ 1935502 w 4519987"/>
                  <a:gd name="connsiteY68" fmla="*/ 4400550 h 4496940"/>
                  <a:gd name="connsiteX69" fmla="*/ 1821202 w 4519987"/>
                  <a:gd name="connsiteY69" fmla="*/ 4371975 h 4496940"/>
                  <a:gd name="connsiteX70" fmla="*/ 1754527 w 4519987"/>
                  <a:gd name="connsiteY70" fmla="*/ 4352925 h 4496940"/>
                  <a:gd name="connsiteX71" fmla="*/ 1687852 w 4519987"/>
                  <a:gd name="connsiteY71" fmla="*/ 4343400 h 4496940"/>
                  <a:gd name="connsiteX72" fmla="*/ 1573552 w 4519987"/>
                  <a:gd name="connsiteY72" fmla="*/ 4305300 h 4496940"/>
                  <a:gd name="connsiteX73" fmla="*/ 1402102 w 4519987"/>
                  <a:gd name="connsiteY73" fmla="*/ 4276725 h 4496940"/>
                  <a:gd name="connsiteX74" fmla="*/ 1287802 w 4519987"/>
                  <a:gd name="connsiteY74" fmla="*/ 4229100 h 4496940"/>
                  <a:gd name="connsiteX75" fmla="*/ 1221127 w 4519987"/>
                  <a:gd name="connsiteY75" fmla="*/ 4200525 h 4496940"/>
                  <a:gd name="connsiteX76" fmla="*/ 1144927 w 4519987"/>
                  <a:gd name="connsiteY76" fmla="*/ 4171950 h 4496940"/>
                  <a:gd name="connsiteX77" fmla="*/ 1087777 w 4519987"/>
                  <a:gd name="connsiteY77" fmla="*/ 4143375 h 4496940"/>
                  <a:gd name="connsiteX78" fmla="*/ 1030627 w 4519987"/>
                  <a:gd name="connsiteY78" fmla="*/ 4124325 h 4496940"/>
                  <a:gd name="connsiteX79" fmla="*/ 925852 w 4519987"/>
                  <a:gd name="connsiteY79" fmla="*/ 4067175 h 4496940"/>
                  <a:gd name="connsiteX80" fmla="*/ 830602 w 4519987"/>
                  <a:gd name="connsiteY80" fmla="*/ 3981450 h 4496940"/>
                  <a:gd name="connsiteX81" fmla="*/ 763927 w 4519987"/>
                  <a:gd name="connsiteY81" fmla="*/ 3914775 h 4496940"/>
                  <a:gd name="connsiteX82" fmla="*/ 725827 w 4519987"/>
                  <a:gd name="connsiteY82" fmla="*/ 3876675 h 4496940"/>
                  <a:gd name="connsiteX83" fmla="*/ 697252 w 4519987"/>
                  <a:gd name="connsiteY83" fmla="*/ 3838575 h 4496940"/>
                  <a:gd name="connsiteX84" fmla="*/ 640102 w 4519987"/>
                  <a:gd name="connsiteY84" fmla="*/ 3781425 h 4496940"/>
                  <a:gd name="connsiteX85" fmla="*/ 611527 w 4519987"/>
                  <a:gd name="connsiteY85" fmla="*/ 3733800 h 4496940"/>
                  <a:gd name="connsiteX86" fmla="*/ 554377 w 4519987"/>
                  <a:gd name="connsiteY86" fmla="*/ 3657600 h 4496940"/>
                  <a:gd name="connsiteX87" fmla="*/ 525802 w 4519987"/>
                  <a:gd name="connsiteY87" fmla="*/ 3609975 h 4496940"/>
                  <a:gd name="connsiteX88" fmla="*/ 497227 w 4519987"/>
                  <a:gd name="connsiteY88" fmla="*/ 3552825 h 4496940"/>
                  <a:gd name="connsiteX89" fmla="*/ 440077 w 4519987"/>
                  <a:gd name="connsiteY89" fmla="*/ 3495675 h 4496940"/>
                  <a:gd name="connsiteX90" fmla="*/ 411502 w 4519987"/>
                  <a:gd name="connsiteY90" fmla="*/ 3448050 h 4496940"/>
                  <a:gd name="connsiteX91" fmla="*/ 278152 w 4519987"/>
                  <a:gd name="connsiteY91" fmla="*/ 3257550 h 4496940"/>
                  <a:gd name="connsiteX92" fmla="*/ 249577 w 4519987"/>
                  <a:gd name="connsiteY92" fmla="*/ 3200400 h 4496940"/>
                  <a:gd name="connsiteX93" fmla="*/ 240052 w 4519987"/>
                  <a:gd name="connsiteY93" fmla="*/ 3162300 h 4496940"/>
                  <a:gd name="connsiteX94" fmla="*/ 221002 w 4519987"/>
                  <a:gd name="connsiteY94" fmla="*/ 3105150 h 4496940"/>
                  <a:gd name="connsiteX95" fmla="*/ 173377 w 4519987"/>
                  <a:gd name="connsiteY95" fmla="*/ 3019425 h 4496940"/>
                  <a:gd name="connsiteX96" fmla="*/ 144802 w 4519987"/>
                  <a:gd name="connsiteY96" fmla="*/ 2924175 h 4496940"/>
                  <a:gd name="connsiteX97" fmla="*/ 68602 w 4519987"/>
                  <a:gd name="connsiteY97" fmla="*/ 2724150 h 4496940"/>
                  <a:gd name="connsiteX98" fmla="*/ 49552 w 4519987"/>
                  <a:gd name="connsiteY98" fmla="*/ 2638425 h 4496940"/>
                  <a:gd name="connsiteX99" fmla="*/ 40027 w 4519987"/>
                  <a:gd name="connsiteY99" fmla="*/ 2562225 h 4496940"/>
                  <a:gd name="connsiteX100" fmla="*/ 30502 w 4519987"/>
                  <a:gd name="connsiteY100" fmla="*/ 2514600 h 4496940"/>
                  <a:gd name="connsiteX101" fmla="*/ 11452 w 4519987"/>
                  <a:gd name="connsiteY101" fmla="*/ 2400300 h 4496940"/>
                  <a:gd name="connsiteX102" fmla="*/ 20977 w 4519987"/>
                  <a:gd name="connsiteY102" fmla="*/ 1905000 h 4496940"/>
                  <a:gd name="connsiteX103" fmla="*/ 30502 w 4519987"/>
                  <a:gd name="connsiteY103" fmla="*/ 1838325 h 4496940"/>
                  <a:gd name="connsiteX104" fmla="*/ 49552 w 4519987"/>
                  <a:gd name="connsiteY104" fmla="*/ 1781175 h 4496940"/>
                  <a:gd name="connsiteX105" fmla="*/ 59077 w 4519987"/>
                  <a:gd name="connsiteY105" fmla="*/ 1743075 h 4496940"/>
                  <a:gd name="connsiteX106" fmla="*/ 78127 w 4519987"/>
                  <a:gd name="connsiteY106" fmla="*/ 1685925 h 4496940"/>
                  <a:gd name="connsiteX107" fmla="*/ 87652 w 4519987"/>
                  <a:gd name="connsiteY107" fmla="*/ 1638300 h 4496940"/>
                  <a:gd name="connsiteX108" fmla="*/ 106702 w 4519987"/>
                  <a:gd name="connsiteY108" fmla="*/ 1590675 h 4496940"/>
                  <a:gd name="connsiteX109" fmla="*/ 135277 w 4519987"/>
                  <a:gd name="connsiteY109" fmla="*/ 1504950 h 4496940"/>
                  <a:gd name="connsiteX110" fmla="*/ 154327 w 4519987"/>
                  <a:gd name="connsiteY110" fmla="*/ 1419225 h 4496940"/>
                  <a:gd name="connsiteX111" fmla="*/ 230527 w 4519987"/>
                  <a:gd name="connsiteY111" fmla="*/ 1276350 h 4496940"/>
                  <a:gd name="connsiteX112" fmla="*/ 240052 w 4519987"/>
                  <a:gd name="connsiteY112" fmla="*/ 1247775 h 4496940"/>
                  <a:gd name="connsiteX113" fmla="*/ 268627 w 4519987"/>
                  <a:gd name="connsiteY113" fmla="*/ 1200150 h 4496940"/>
                  <a:gd name="connsiteX114" fmla="*/ 287677 w 4519987"/>
                  <a:gd name="connsiteY114" fmla="*/ 1152525 h 4496940"/>
                  <a:gd name="connsiteX115" fmla="*/ 316252 w 4519987"/>
                  <a:gd name="connsiteY115" fmla="*/ 1114425 h 4496940"/>
                  <a:gd name="connsiteX116" fmla="*/ 363877 w 4519987"/>
                  <a:gd name="connsiteY116" fmla="*/ 1038225 h 4496940"/>
                  <a:gd name="connsiteX117" fmla="*/ 382927 w 4519987"/>
                  <a:gd name="connsiteY117" fmla="*/ 1009650 h 4496940"/>
                  <a:gd name="connsiteX118" fmla="*/ 440077 w 4519987"/>
                  <a:gd name="connsiteY118" fmla="*/ 904875 h 4496940"/>
                  <a:gd name="connsiteX119" fmla="*/ 478177 w 4519987"/>
                  <a:gd name="connsiteY119" fmla="*/ 857250 h 4496940"/>
                  <a:gd name="connsiteX120" fmla="*/ 497227 w 4519987"/>
                  <a:gd name="connsiteY120" fmla="*/ 828675 h 4496940"/>
                  <a:gd name="connsiteX121" fmla="*/ 535327 w 4519987"/>
                  <a:gd name="connsiteY121" fmla="*/ 800100 h 4496940"/>
                  <a:gd name="connsiteX122" fmla="*/ 602002 w 4519987"/>
                  <a:gd name="connsiteY122" fmla="*/ 733425 h 4496940"/>
                  <a:gd name="connsiteX123" fmla="*/ 668677 w 4519987"/>
                  <a:gd name="connsiteY123" fmla="*/ 676275 h 4496940"/>
                  <a:gd name="connsiteX124" fmla="*/ 697252 w 4519987"/>
                  <a:gd name="connsiteY124" fmla="*/ 657225 h 4496940"/>
                  <a:gd name="connsiteX125" fmla="*/ 840127 w 4519987"/>
                  <a:gd name="connsiteY125" fmla="*/ 533400 h 4496940"/>
                  <a:gd name="connsiteX126" fmla="*/ 887752 w 4519987"/>
                  <a:gd name="connsiteY126" fmla="*/ 504825 h 4496940"/>
                  <a:gd name="connsiteX127" fmla="*/ 1167152 w 4519987"/>
                  <a:gd name="connsiteY127" fmla="*/ 311150 h 4496940"/>
                  <a:gd name="connsiteX128" fmla="*/ 1268752 w 4519987"/>
                  <a:gd name="connsiteY128" fmla="*/ 285750 h 4496940"/>
                  <a:gd name="connsiteX129" fmla="*/ 1411627 w 4519987"/>
                  <a:gd name="connsiteY129" fmla="*/ 190500 h 4496940"/>
                  <a:gd name="connsiteX130" fmla="*/ 1449727 w 4519987"/>
                  <a:gd name="connsiteY130" fmla="*/ 161925 h 4496940"/>
                  <a:gd name="connsiteX131" fmla="*/ 1525927 w 4519987"/>
                  <a:gd name="connsiteY131" fmla="*/ 152400 h 4496940"/>
                  <a:gd name="connsiteX132" fmla="*/ 1583077 w 4519987"/>
                  <a:gd name="connsiteY132" fmla="*/ 142875 h 4496940"/>
                  <a:gd name="connsiteX133" fmla="*/ 1716427 w 4519987"/>
                  <a:gd name="connsiteY133" fmla="*/ 123825 h 4496940"/>
                  <a:gd name="connsiteX134" fmla="*/ 1811677 w 4519987"/>
                  <a:gd name="connsiteY134" fmla="*/ 114300 h 4496940"/>
                  <a:gd name="connsiteX135" fmla="*/ 1859302 w 4519987"/>
                  <a:gd name="connsiteY135" fmla="*/ 104775 h 4496940"/>
                  <a:gd name="connsiteX136" fmla="*/ 1916452 w 4519987"/>
                  <a:gd name="connsiteY136" fmla="*/ 95250 h 4496940"/>
                  <a:gd name="connsiteX137" fmla="*/ 2030752 w 4519987"/>
                  <a:gd name="connsiteY137" fmla="*/ 66675 h 4496940"/>
                  <a:gd name="connsiteX138" fmla="*/ 2097427 w 4519987"/>
                  <a:gd name="connsiteY138" fmla="*/ 47625 h 4496940"/>
                  <a:gd name="connsiteX139" fmla="*/ 2164102 w 4519987"/>
                  <a:gd name="connsiteY139" fmla="*/ 38100 h 4496940"/>
                  <a:gd name="connsiteX140" fmla="*/ 2392702 w 4519987"/>
                  <a:gd name="connsiteY14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221502 w 4519987"/>
                  <a:gd name="connsiteY33" fmla="*/ 3333750 h 4496940"/>
                  <a:gd name="connsiteX34" fmla="*/ 4183402 w 4519987"/>
                  <a:gd name="connsiteY34" fmla="*/ 3400425 h 4496940"/>
                  <a:gd name="connsiteX35" fmla="*/ 4088152 w 4519987"/>
                  <a:gd name="connsiteY35" fmla="*/ 3495675 h 4496940"/>
                  <a:gd name="connsiteX36" fmla="*/ 4059577 w 4519987"/>
                  <a:gd name="connsiteY36" fmla="*/ 3533775 h 4496940"/>
                  <a:gd name="connsiteX37" fmla="*/ 4002427 w 4519987"/>
                  <a:gd name="connsiteY37" fmla="*/ 3600450 h 4496940"/>
                  <a:gd name="connsiteX38" fmla="*/ 3983377 w 4519987"/>
                  <a:gd name="connsiteY38" fmla="*/ 3629025 h 4496940"/>
                  <a:gd name="connsiteX39" fmla="*/ 3954802 w 4519987"/>
                  <a:gd name="connsiteY39" fmla="*/ 3648075 h 4496940"/>
                  <a:gd name="connsiteX40" fmla="*/ 3907177 w 4519987"/>
                  <a:gd name="connsiteY40" fmla="*/ 3686175 h 4496940"/>
                  <a:gd name="connsiteX41" fmla="*/ 3869077 w 4519987"/>
                  <a:gd name="connsiteY41" fmla="*/ 3724275 h 4496940"/>
                  <a:gd name="connsiteX42" fmla="*/ 3792877 w 4519987"/>
                  <a:gd name="connsiteY42" fmla="*/ 3781425 h 4496940"/>
                  <a:gd name="connsiteX43" fmla="*/ 3783352 w 4519987"/>
                  <a:gd name="connsiteY43" fmla="*/ 3810000 h 4496940"/>
                  <a:gd name="connsiteX44" fmla="*/ 3745252 w 4519987"/>
                  <a:gd name="connsiteY44" fmla="*/ 3819525 h 4496940"/>
                  <a:gd name="connsiteX45" fmla="*/ 3678577 w 4519987"/>
                  <a:gd name="connsiteY45" fmla="*/ 3848100 h 4496940"/>
                  <a:gd name="connsiteX46" fmla="*/ 3659527 w 4519987"/>
                  <a:gd name="connsiteY46" fmla="*/ 3971925 h 4496940"/>
                  <a:gd name="connsiteX47" fmla="*/ 3630952 w 4519987"/>
                  <a:gd name="connsiteY47" fmla="*/ 4010025 h 4496940"/>
                  <a:gd name="connsiteX48" fmla="*/ 3621427 w 4519987"/>
                  <a:gd name="connsiteY48" fmla="*/ 4038600 h 4496940"/>
                  <a:gd name="connsiteX49" fmla="*/ 3554752 w 4519987"/>
                  <a:gd name="connsiteY49" fmla="*/ 4095750 h 4496940"/>
                  <a:gd name="connsiteX50" fmla="*/ 3516652 w 4519987"/>
                  <a:gd name="connsiteY50" fmla="*/ 4114800 h 4496940"/>
                  <a:gd name="connsiteX51" fmla="*/ 3497602 w 4519987"/>
                  <a:gd name="connsiteY51" fmla="*/ 4143375 h 4496940"/>
                  <a:gd name="connsiteX52" fmla="*/ 3383302 w 4519987"/>
                  <a:gd name="connsiteY52" fmla="*/ 4210050 h 4496940"/>
                  <a:gd name="connsiteX53" fmla="*/ 3335677 w 4519987"/>
                  <a:gd name="connsiteY53" fmla="*/ 4238625 h 4496940"/>
                  <a:gd name="connsiteX54" fmla="*/ 3288052 w 4519987"/>
                  <a:gd name="connsiteY54" fmla="*/ 4248150 h 4496940"/>
                  <a:gd name="connsiteX55" fmla="*/ 3240427 w 4519987"/>
                  <a:gd name="connsiteY55" fmla="*/ 4267200 h 4496940"/>
                  <a:gd name="connsiteX56" fmla="*/ 3068977 w 4519987"/>
                  <a:gd name="connsiteY56" fmla="*/ 4286250 h 4496940"/>
                  <a:gd name="connsiteX57" fmla="*/ 2935627 w 4519987"/>
                  <a:gd name="connsiteY57" fmla="*/ 4333875 h 4496940"/>
                  <a:gd name="connsiteX58" fmla="*/ 2811802 w 4519987"/>
                  <a:gd name="connsiteY58" fmla="*/ 4371975 h 4496940"/>
                  <a:gd name="connsiteX59" fmla="*/ 2745127 w 4519987"/>
                  <a:gd name="connsiteY59" fmla="*/ 4410075 h 4496940"/>
                  <a:gd name="connsiteX60" fmla="*/ 2697502 w 4519987"/>
                  <a:gd name="connsiteY60" fmla="*/ 4429125 h 4496940"/>
                  <a:gd name="connsiteX61" fmla="*/ 2640352 w 4519987"/>
                  <a:gd name="connsiteY61" fmla="*/ 4457700 h 4496940"/>
                  <a:gd name="connsiteX62" fmla="*/ 2583202 w 4519987"/>
                  <a:gd name="connsiteY62" fmla="*/ 4467225 h 4496940"/>
                  <a:gd name="connsiteX63" fmla="*/ 2545102 w 4519987"/>
                  <a:gd name="connsiteY63" fmla="*/ 4486275 h 4496940"/>
                  <a:gd name="connsiteX64" fmla="*/ 2306977 w 4519987"/>
                  <a:gd name="connsiteY64" fmla="*/ 4476750 h 4496940"/>
                  <a:gd name="connsiteX65" fmla="*/ 2202202 w 4519987"/>
                  <a:gd name="connsiteY65" fmla="*/ 4457700 h 4496940"/>
                  <a:gd name="connsiteX66" fmla="*/ 2126002 w 4519987"/>
                  <a:gd name="connsiteY66" fmla="*/ 4429125 h 4496940"/>
                  <a:gd name="connsiteX67" fmla="*/ 1935502 w 4519987"/>
                  <a:gd name="connsiteY67" fmla="*/ 4400550 h 4496940"/>
                  <a:gd name="connsiteX68" fmla="*/ 1821202 w 4519987"/>
                  <a:gd name="connsiteY68" fmla="*/ 4371975 h 4496940"/>
                  <a:gd name="connsiteX69" fmla="*/ 1754527 w 4519987"/>
                  <a:gd name="connsiteY69" fmla="*/ 4352925 h 4496940"/>
                  <a:gd name="connsiteX70" fmla="*/ 1687852 w 4519987"/>
                  <a:gd name="connsiteY70" fmla="*/ 4343400 h 4496940"/>
                  <a:gd name="connsiteX71" fmla="*/ 1573552 w 4519987"/>
                  <a:gd name="connsiteY71" fmla="*/ 4305300 h 4496940"/>
                  <a:gd name="connsiteX72" fmla="*/ 1402102 w 4519987"/>
                  <a:gd name="connsiteY72" fmla="*/ 4276725 h 4496940"/>
                  <a:gd name="connsiteX73" fmla="*/ 1287802 w 4519987"/>
                  <a:gd name="connsiteY73" fmla="*/ 4229100 h 4496940"/>
                  <a:gd name="connsiteX74" fmla="*/ 1221127 w 4519987"/>
                  <a:gd name="connsiteY74" fmla="*/ 4200525 h 4496940"/>
                  <a:gd name="connsiteX75" fmla="*/ 1144927 w 4519987"/>
                  <a:gd name="connsiteY75" fmla="*/ 4171950 h 4496940"/>
                  <a:gd name="connsiteX76" fmla="*/ 1087777 w 4519987"/>
                  <a:gd name="connsiteY76" fmla="*/ 4143375 h 4496940"/>
                  <a:gd name="connsiteX77" fmla="*/ 1030627 w 4519987"/>
                  <a:gd name="connsiteY77" fmla="*/ 4124325 h 4496940"/>
                  <a:gd name="connsiteX78" fmla="*/ 925852 w 4519987"/>
                  <a:gd name="connsiteY78" fmla="*/ 4067175 h 4496940"/>
                  <a:gd name="connsiteX79" fmla="*/ 830602 w 4519987"/>
                  <a:gd name="connsiteY79" fmla="*/ 3981450 h 4496940"/>
                  <a:gd name="connsiteX80" fmla="*/ 763927 w 4519987"/>
                  <a:gd name="connsiteY80" fmla="*/ 3914775 h 4496940"/>
                  <a:gd name="connsiteX81" fmla="*/ 725827 w 4519987"/>
                  <a:gd name="connsiteY81" fmla="*/ 3876675 h 4496940"/>
                  <a:gd name="connsiteX82" fmla="*/ 697252 w 4519987"/>
                  <a:gd name="connsiteY82" fmla="*/ 3838575 h 4496940"/>
                  <a:gd name="connsiteX83" fmla="*/ 640102 w 4519987"/>
                  <a:gd name="connsiteY83" fmla="*/ 3781425 h 4496940"/>
                  <a:gd name="connsiteX84" fmla="*/ 611527 w 4519987"/>
                  <a:gd name="connsiteY84" fmla="*/ 3733800 h 4496940"/>
                  <a:gd name="connsiteX85" fmla="*/ 554377 w 4519987"/>
                  <a:gd name="connsiteY85" fmla="*/ 3657600 h 4496940"/>
                  <a:gd name="connsiteX86" fmla="*/ 525802 w 4519987"/>
                  <a:gd name="connsiteY86" fmla="*/ 3609975 h 4496940"/>
                  <a:gd name="connsiteX87" fmla="*/ 497227 w 4519987"/>
                  <a:gd name="connsiteY87" fmla="*/ 3552825 h 4496940"/>
                  <a:gd name="connsiteX88" fmla="*/ 440077 w 4519987"/>
                  <a:gd name="connsiteY88" fmla="*/ 3495675 h 4496940"/>
                  <a:gd name="connsiteX89" fmla="*/ 411502 w 4519987"/>
                  <a:gd name="connsiteY89" fmla="*/ 3448050 h 4496940"/>
                  <a:gd name="connsiteX90" fmla="*/ 278152 w 4519987"/>
                  <a:gd name="connsiteY90" fmla="*/ 3257550 h 4496940"/>
                  <a:gd name="connsiteX91" fmla="*/ 249577 w 4519987"/>
                  <a:gd name="connsiteY91" fmla="*/ 3200400 h 4496940"/>
                  <a:gd name="connsiteX92" fmla="*/ 240052 w 4519987"/>
                  <a:gd name="connsiteY92" fmla="*/ 3162300 h 4496940"/>
                  <a:gd name="connsiteX93" fmla="*/ 221002 w 4519987"/>
                  <a:gd name="connsiteY93" fmla="*/ 3105150 h 4496940"/>
                  <a:gd name="connsiteX94" fmla="*/ 173377 w 4519987"/>
                  <a:gd name="connsiteY94" fmla="*/ 3019425 h 4496940"/>
                  <a:gd name="connsiteX95" fmla="*/ 144802 w 4519987"/>
                  <a:gd name="connsiteY95" fmla="*/ 2924175 h 4496940"/>
                  <a:gd name="connsiteX96" fmla="*/ 68602 w 4519987"/>
                  <a:gd name="connsiteY96" fmla="*/ 2724150 h 4496940"/>
                  <a:gd name="connsiteX97" fmla="*/ 49552 w 4519987"/>
                  <a:gd name="connsiteY97" fmla="*/ 2638425 h 4496940"/>
                  <a:gd name="connsiteX98" fmla="*/ 40027 w 4519987"/>
                  <a:gd name="connsiteY98" fmla="*/ 2562225 h 4496940"/>
                  <a:gd name="connsiteX99" fmla="*/ 30502 w 4519987"/>
                  <a:gd name="connsiteY99" fmla="*/ 2514600 h 4496940"/>
                  <a:gd name="connsiteX100" fmla="*/ 11452 w 4519987"/>
                  <a:gd name="connsiteY100" fmla="*/ 2400300 h 4496940"/>
                  <a:gd name="connsiteX101" fmla="*/ 20977 w 4519987"/>
                  <a:gd name="connsiteY101" fmla="*/ 1905000 h 4496940"/>
                  <a:gd name="connsiteX102" fmla="*/ 30502 w 4519987"/>
                  <a:gd name="connsiteY102" fmla="*/ 1838325 h 4496940"/>
                  <a:gd name="connsiteX103" fmla="*/ 49552 w 4519987"/>
                  <a:gd name="connsiteY103" fmla="*/ 1781175 h 4496940"/>
                  <a:gd name="connsiteX104" fmla="*/ 59077 w 4519987"/>
                  <a:gd name="connsiteY104" fmla="*/ 1743075 h 4496940"/>
                  <a:gd name="connsiteX105" fmla="*/ 78127 w 4519987"/>
                  <a:gd name="connsiteY105" fmla="*/ 1685925 h 4496940"/>
                  <a:gd name="connsiteX106" fmla="*/ 87652 w 4519987"/>
                  <a:gd name="connsiteY106" fmla="*/ 1638300 h 4496940"/>
                  <a:gd name="connsiteX107" fmla="*/ 106702 w 4519987"/>
                  <a:gd name="connsiteY107" fmla="*/ 1590675 h 4496940"/>
                  <a:gd name="connsiteX108" fmla="*/ 135277 w 4519987"/>
                  <a:gd name="connsiteY108" fmla="*/ 1504950 h 4496940"/>
                  <a:gd name="connsiteX109" fmla="*/ 154327 w 4519987"/>
                  <a:gd name="connsiteY109" fmla="*/ 1419225 h 4496940"/>
                  <a:gd name="connsiteX110" fmla="*/ 230527 w 4519987"/>
                  <a:gd name="connsiteY110" fmla="*/ 1276350 h 4496940"/>
                  <a:gd name="connsiteX111" fmla="*/ 240052 w 4519987"/>
                  <a:gd name="connsiteY111" fmla="*/ 1247775 h 4496940"/>
                  <a:gd name="connsiteX112" fmla="*/ 268627 w 4519987"/>
                  <a:gd name="connsiteY112" fmla="*/ 1200150 h 4496940"/>
                  <a:gd name="connsiteX113" fmla="*/ 287677 w 4519987"/>
                  <a:gd name="connsiteY113" fmla="*/ 1152525 h 4496940"/>
                  <a:gd name="connsiteX114" fmla="*/ 316252 w 4519987"/>
                  <a:gd name="connsiteY114" fmla="*/ 1114425 h 4496940"/>
                  <a:gd name="connsiteX115" fmla="*/ 363877 w 4519987"/>
                  <a:gd name="connsiteY115" fmla="*/ 1038225 h 4496940"/>
                  <a:gd name="connsiteX116" fmla="*/ 382927 w 4519987"/>
                  <a:gd name="connsiteY116" fmla="*/ 1009650 h 4496940"/>
                  <a:gd name="connsiteX117" fmla="*/ 440077 w 4519987"/>
                  <a:gd name="connsiteY117" fmla="*/ 904875 h 4496940"/>
                  <a:gd name="connsiteX118" fmla="*/ 478177 w 4519987"/>
                  <a:gd name="connsiteY118" fmla="*/ 857250 h 4496940"/>
                  <a:gd name="connsiteX119" fmla="*/ 497227 w 4519987"/>
                  <a:gd name="connsiteY119" fmla="*/ 828675 h 4496940"/>
                  <a:gd name="connsiteX120" fmla="*/ 535327 w 4519987"/>
                  <a:gd name="connsiteY120" fmla="*/ 800100 h 4496940"/>
                  <a:gd name="connsiteX121" fmla="*/ 602002 w 4519987"/>
                  <a:gd name="connsiteY121" fmla="*/ 733425 h 4496940"/>
                  <a:gd name="connsiteX122" fmla="*/ 668677 w 4519987"/>
                  <a:gd name="connsiteY122" fmla="*/ 676275 h 4496940"/>
                  <a:gd name="connsiteX123" fmla="*/ 697252 w 4519987"/>
                  <a:gd name="connsiteY123" fmla="*/ 657225 h 4496940"/>
                  <a:gd name="connsiteX124" fmla="*/ 840127 w 4519987"/>
                  <a:gd name="connsiteY124" fmla="*/ 533400 h 4496940"/>
                  <a:gd name="connsiteX125" fmla="*/ 887752 w 4519987"/>
                  <a:gd name="connsiteY125" fmla="*/ 504825 h 4496940"/>
                  <a:gd name="connsiteX126" fmla="*/ 1167152 w 4519987"/>
                  <a:gd name="connsiteY126" fmla="*/ 311150 h 4496940"/>
                  <a:gd name="connsiteX127" fmla="*/ 1268752 w 4519987"/>
                  <a:gd name="connsiteY127" fmla="*/ 285750 h 4496940"/>
                  <a:gd name="connsiteX128" fmla="*/ 1411627 w 4519987"/>
                  <a:gd name="connsiteY128" fmla="*/ 190500 h 4496940"/>
                  <a:gd name="connsiteX129" fmla="*/ 1449727 w 4519987"/>
                  <a:gd name="connsiteY129" fmla="*/ 161925 h 4496940"/>
                  <a:gd name="connsiteX130" fmla="*/ 1525927 w 4519987"/>
                  <a:gd name="connsiteY130" fmla="*/ 152400 h 4496940"/>
                  <a:gd name="connsiteX131" fmla="*/ 1583077 w 4519987"/>
                  <a:gd name="connsiteY131" fmla="*/ 142875 h 4496940"/>
                  <a:gd name="connsiteX132" fmla="*/ 1716427 w 4519987"/>
                  <a:gd name="connsiteY132" fmla="*/ 123825 h 4496940"/>
                  <a:gd name="connsiteX133" fmla="*/ 1811677 w 4519987"/>
                  <a:gd name="connsiteY133" fmla="*/ 114300 h 4496940"/>
                  <a:gd name="connsiteX134" fmla="*/ 1859302 w 4519987"/>
                  <a:gd name="connsiteY134" fmla="*/ 104775 h 4496940"/>
                  <a:gd name="connsiteX135" fmla="*/ 1916452 w 4519987"/>
                  <a:gd name="connsiteY135" fmla="*/ 95250 h 4496940"/>
                  <a:gd name="connsiteX136" fmla="*/ 2030752 w 4519987"/>
                  <a:gd name="connsiteY136" fmla="*/ 66675 h 4496940"/>
                  <a:gd name="connsiteX137" fmla="*/ 2097427 w 4519987"/>
                  <a:gd name="connsiteY137" fmla="*/ 47625 h 4496940"/>
                  <a:gd name="connsiteX138" fmla="*/ 2164102 w 4519987"/>
                  <a:gd name="connsiteY138" fmla="*/ 38100 h 4496940"/>
                  <a:gd name="connsiteX139" fmla="*/ 2392702 w 4519987"/>
                  <a:gd name="connsiteY13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83377 w 4519987"/>
                  <a:gd name="connsiteY37" fmla="*/ 3629025 h 4496940"/>
                  <a:gd name="connsiteX38" fmla="*/ 3954802 w 4519987"/>
                  <a:gd name="connsiteY38" fmla="*/ 3648075 h 4496940"/>
                  <a:gd name="connsiteX39" fmla="*/ 3907177 w 4519987"/>
                  <a:gd name="connsiteY39" fmla="*/ 3686175 h 4496940"/>
                  <a:gd name="connsiteX40" fmla="*/ 3869077 w 4519987"/>
                  <a:gd name="connsiteY40" fmla="*/ 3724275 h 4496940"/>
                  <a:gd name="connsiteX41" fmla="*/ 3792877 w 4519987"/>
                  <a:gd name="connsiteY41" fmla="*/ 3781425 h 4496940"/>
                  <a:gd name="connsiteX42" fmla="*/ 3783352 w 4519987"/>
                  <a:gd name="connsiteY42" fmla="*/ 3810000 h 4496940"/>
                  <a:gd name="connsiteX43" fmla="*/ 3745252 w 4519987"/>
                  <a:gd name="connsiteY43" fmla="*/ 3819525 h 4496940"/>
                  <a:gd name="connsiteX44" fmla="*/ 3678577 w 4519987"/>
                  <a:gd name="connsiteY44" fmla="*/ 3848100 h 4496940"/>
                  <a:gd name="connsiteX45" fmla="*/ 3659527 w 4519987"/>
                  <a:gd name="connsiteY45" fmla="*/ 3971925 h 4496940"/>
                  <a:gd name="connsiteX46" fmla="*/ 3630952 w 4519987"/>
                  <a:gd name="connsiteY46" fmla="*/ 4010025 h 4496940"/>
                  <a:gd name="connsiteX47" fmla="*/ 3621427 w 4519987"/>
                  <a:gd name="connsiteY47" fmla="*/ 4038600 h 4496940"/>
                  <a:gd name="connsiteX48" fmla="*/ 3554752 w 4519987"/>
                  <a:gd name="connsiteY48" fmla="*/ 4095750 h 4496940"/>
                  <a:gd name="connsiteX49" fmla="*/ 3516652 w 4519987"/>
                  <a:gd name="connsiteY49" fmla="*/ 4114800 h 4496940"/>
                  <a:gd name="connsiteX50" fmla="*/ 3497602 w 4519987"/>
                  <a:gd name="connsiteY50" fmla="*/ 4143375 h 4496940"/>
                  <a:gd name="connsiteX51" fmla="*/ 3383302 w 4519987"/>
                  <a:gd name="connsiteY51" fmla="*/ 4210050 h 4496940"/>
                  <a:gd name="connsiteX52" fmla="*/ 3335677 w 4519987"/>
                  <a:gd name="connsiteY52" fmla="*/ 4238625 h 4496940"/>
                  <a:gd name="connsiteX53" fmla="*/ 3288052 w 4519987"/>
                  <a:gd name="connsiteY53" fmla="*/ 4248150 h 4496940"/>
                  <a:gd name="connsiteX54" fmla="*/ 3240427 w 4519987"/>
                  <a:gd name="connsiteY54" fmla="*/ 4267200 h 4496940"/>
                  <a:gd name="connsiteX55" fmla="*/ 3068977 w 4519987"/>
                  <a:gd name="connsiteY55" fmla="*/ 4286250 h 4496940"/>
                  <a:gd name="connsiteX56" fmla="*/ 2935627 w 4519987"/>
                  <a:gd name="connsiteY56" fmla="*/ 4333875 h 4496940"/>
                  <a:gd name="connsiteX57" fmla="*/ 2811802 w 4519987"/>
                  <a:gd name="connsiteY57" fmla="*/ 4371975 h 4496940"/>
                  <a:gd name="connsiteX58" fmla="*/ 2745127 w 4519987"/>
                  <a:gd name="connsiteY58" fmla="*/ 4410075 h 4496940"/>
                  <a:gd name="connsiteX59" fmla="*/ 2697502 w 4519987"/>
                  <a:gd name="connsiteY59" fmla="*/ 4429125 h 4496940"/>
                  <a:gd name="connsiteX60" fmla="*/ 2640352 w 4519987"/>
                  <a:gd name="connsiteY60" fmla="*/ 4457700 h 4496940"/>
                  <a:gd name="connsiteX61" fmla="*/ 2583202 w 4519987"/>
                  <a:gd name="connsiteY61" fmla="*/ 4467225 h 4496940"/>
                  <a:gd name="connsiteX62" fmla="*/ 2545102 w 4519987"/>
                  <a:gd name="connsiteY62" fmla="*/ 4486275 h 4496940"/>
                  <a:gd name="connsiteX63" fmla="*/ 2306977 w 4519987"/>
                  <a:gd name="connsiteY63" fmla="*/ 4476750 h 4496940"/>
                  <a:gd name="connsiteX64" fmla="*/ 2202202 w 4519987"/>
                  <a:gd name="connsiteY64" fmla="*/ 4457700 h 4496940"/>
                  <a:gd name="connsiteX65" fmla="*/ 2126002 w 4519987"/>
                  <a:gd name="connsiteY65" fmla="*/ 4429125 h 4496940"/>
                  <a:gd name="connsiteX66" fmla="*/ 1935502 w 4519987"/>
                  <a:gd name="connsiteY66" fmla="*/ 4400550 h 4496940"/>
                  <a:gd name="connsiteX67" fmla="*/ 1821202 w 4519987"/>
                  <a:gd name="connsiteY67" fmla="*/ 4371975 h 4496940"/>
                  <a:gd name="connsiteX68" fmla="*/ 1754527 w 4519987"/>
                  <a:gd name="connsiteY68" fmla="*/ 4352925 h 4496940"/>
                  <a:gd name="connsiteX69" fmla="*/ 1687852 w 4519987"/>
                  <a:gd name="connsiteY69" fmla="*/ 4343400 h 4496940"/>
                  <a:gd name="connsiteX70" fmla="*/ 1573552 w 4519987"/>
                  <a:gd name="connsiteY70" fmla="*/ 4305300 h 4496940"/>
                  <a:gd name="connsiteX71" fmla="*/ 1402102 w 4519987"/>
                  <a:gd name="connsiteY71" fmla="*/ 4276725 h 4496940"/>
                  <a:gd name="connsiteX72" fmla="*/ 1287802 w 4519987"/>
                  <a:gd name="connsiteY72" fmla="*/ 4229100 h 4496940"/>
                  <a:gd name="connsiteX73" fmla="*/ 1221127 w 4519987"/>
                  <a:gd name="connsiteY73" fmla="*/ 4200525 h 4496940"/>
                  <a:gd name="connsiteX74" fmla="*/ 1144927 w 4519987"/>
                  <a:gd name="connsiteY74" fmla="*/ 4171950 h 4496940"/>
                  <a:gd name="connsiteX75" fmla="*/ 1087777 w 4519987"/>
                  <a:gd name="connsiteY75" fmla="*/ 4143375 h 4496940"/>
                  <a:gd name="connsiteX76" fmla="*/ 1030627 w 4519987"/>
                  <a:gd name="connsiteY76" fmla="*/ 4124325 h 4496940"/>
                  <a:gd name="connsiteX77" fmla="*/ 925852 w 4519987"/>
                  <a:gd name="connsiteY77" fmla="*/ 4067175 h 4496940"/>
                  <a:gd name="connsiteX78" fmla="*/ 830602 w 4519987"/>
                  <a:gd name="connsiteY78" fmla="*/ 3981450 h 4496940"/>
                  <a:gd name="connsiteX79" fmla="*/ 763927 w 4519987"/>
                  <a:gd name="connsiteY79" fmla="*/ 3914775 h 4496940"/>
                  <a:gd name="connsiteX80" fmla="*/ 725827 w 4519987"/>
                  <a:gd name="connsiteY80" fmla="*/ 3876675 h 4496940"/>
                  <a:gd name="connsiteX81" fmla="*/ 697252 w 4519987"/>
                  <a:gd name="connsiteY81" fmla="*/ 3838575 h 4496940"/>
                  <a:gd name="connsiteX82" fmla="*/ 640102 w 4519987"/>
                  <a:gd name="connsiteY82" fmla="*/ 3781425 h 4496940"/>
                  <a:gd name="connsiteX83" fmla="*/ 611527 w 4519987"/>
                  <a:gd name="connsiteY83" fmla="*/ 3733800 h 4496940"/>
                  <a:gd name="connsiteX84" fmla="*/ 554377 w 4519987"/>
                  <a:gd name="connsiteY84" fmla="*/ 3657600 h 4496940"/>
                  <a:gd name="connsiteX85" fmla="*/ 525802 w 4519987"/>
                  <a:gd name="connsiteY85" fmla="*/ 3609975 h 4496940"/>
                  <a:gd name="connsiteX86" fmla="*/ 497227 w 4519987"/>
                  <a:gd name="connsiteY86" fmla="*/ 3552825 h 4496940"/>
                  <a:gd name="connsiteX87" fmla="*/ 440077 w 4519987"/>
                  <a:gd name="connsiteY87" fmla="*/ 3495675 h 4496940"/>
                  <a:gd name="connsiteX88" fmla="*/ 411502 w 4519987"/>
                  <a:gd name="connsiteY88" fmla="*/ 3448050 h 4496940"/>
                  <a:gd name="connsiteX89" fmla="*/ 278152 w 4519987"/>
                  <a:gd name="connsiteY89" fmla="*/ 3257550 h 4496940"/>
                  <a:gd name="connsiteX90" fmla="*/ 249577 w 4519987"/>
                  <a:gd name="connsiteY90" fmla="*/ 3200400 h 4496940"/>
                  <a:gd name="connsiteX91" fmla="*/ 240052 w 4519987"/>
                  <a:gd name="connsiteY91" fmla="*/ 3162300 h 4496940"/>
                  <a:gd name="connsiteX92" fmla="*/ 221002 w 4519987"/>
                  <a:gd name="connsiteY92" fmla="*/ 3105150 h 4496940"/>
                  <a:gd name="connsiteX93" fmla="*/ 173377 w 4519987"/>
                  <a:gd name="connsiteY93" fmla="*/ 3019425 h 4496940"/>
                  <a:gd name="connsiteX94" fmla="*/ 144802 w 4519987"/>
                  <a:gd name="connsiteY94" fmla="*/ 2924175 h 4496940"/>
                  <a:gd name="connsiteX95" fmla="*/ 68602 w 4519987"/>
                  <a:gd name="connsiteY95" fmla="*/ 2724150 h 4496940"/>
                  <a:gd name="connsiteX96" fmla="*/ 49552 w 4519987"/>
                  <a:gd name="connsiteY96" fmla="*/ 2638425 h 4496940"/>
                  <a:gd name="connsiteX97" fmla="*/ 40027 w 4519987"/>
                  <a:gd name="connsiteY97" fmla="*/ 2562225 h 4496940"/>
                  <a:gd name="connsiteX98" fmla="*/ 30502 w 4519987"/>
                  <a:gd name="connsiteY98" fmla="*/ 2514600 h 4496940"/>
                  <a:gd name="connsiteX99" fmla="*/ 11452 w 4519987"/>
                  <a:gd name="connsiteY99" fmla="*/ 2400300 h 4496940"/>
                  <a:gd name="connsiteX100" fmla="*/ 20977 w 4519987"/>
                  <a:gd name="connsiteY100" fmla="*/ 1905000 h 4496940"/>
                  <a:gd name="connsiteX101" fmla="*/ 30502 w 4519987"/>
                  <a:gd name="connsiteY101" fmla="*/ 1838325 h 4496940"/>
                  <a:gd name="connsiteX102" fmla="*/ 49552 w 4519987"/>
                  <a:gd name="connsiteY102" fmla="*/ 1781175 h 4496940"/>
                  <a:gd name="connsiteX103" fmla="*/ 59077 w 4519987"/>
                  <a:gd name="connsiteY103" fmla="*/ 1743075 h 4496940"/>
                  <a:gd name="connsiteX104" fmla="*/ 78127 w 4519987"/>
                  <a:gd name="connsiteY104" fmla="*/ 1685925 h 4496940"/>
                  <a:gd name="connsiteX105" fmla="*/ 87652 w 4519987"/>
                  <a:gd name="connsiteY105" fmla="*/ 1638300 h 4496940"/>
                  <a:gd name="connsiteX106" fmla="*/ 106702 w 4519987"/>
                  <a:gd name="connsiteY106" fmla="*/ 1590675 h 4496940"/>
                  <a:gd name="connsiteX107" fmla="*/ 135277 w 4519987"/>
                  <a:gd name="connsiteY107" fmla="*/ 1504950 h 4496940"/>
                  <a:gd name="connsiteX108" fmla="*/ 154327 w 4519987"/>
                  <a:gd name="connsiteY108" fmla="*/ 1419225 h 4496940"/>
                  <a:gd name="connsiteX109" fmla="*/ 230527 w 4519987"/>
                  <a:gd name="connsiteY109" fmla="*/ 1276350 h 4496940"/>
                  <a:gd name="connsiteX110" fmla="*/ 240052 w 4519987"/>
                  <a:gd name="connsiteY110" fmla="*/ 1247775 h 4496940"/>
                  <a:gd name="connsiteX111" fmla="*/ 268627 w 4519987"/>
                  <a:gd name="connsiteY111" fmla="*/ 1200150 h 4496940"/>
                  <a:gd name="connsiteX112" fmla="*/ 287677 w 4519987"/>
                  <a:gd name="connsiteY112" fmla="*/ 1152525 h 4496940"/>
                  <a:gd name="connsiteX113" fmla="*/ 316252 w 4519987"/>
                  <a:gd name="connsiteY113" fmla="*/ 1114425 h 4496940"/>
                  <a:gd name="connsiteX114" fmla="*/ 363877 w 4519987"/>
                  <a:gd name="connsiteY114" fmla="*/ 1038225 h 4496940"/>
                  <a:gd name="connsiteX115" fmla="*/ 382927 w 4519987"/>
                  <a:gd name="connsiteY115" fmla="*/ 1009650 h 4496940"/>
                  <a:gd name="connsiteX116" fmla="*/ 440077 w 4519987"/>
                  <a:gd name="connsiteY116" fmla="*/ 904875 h 4496940"/>
                  <a:gd name="connsiteX117" fmla="*/ 478177 w 4519987"/>
                  <a:gd name="connsiteY117" fmla="*/ 857250 h 4496940"/>
                  <a:gd name="connsiteX118" fmla="*/ 497227 w 4519987"/>
                  <a:gd name="connsiteY118" fmla="*/ 828675 h 4496940"/>
                  <a:gd name="connsiteX119" fmla="*/ 535327 w 4519987"/>
                  <a:gd name="connsiteY119" fmla="*/ 800100 h 4496940"/>
                  <a:gd name="connsiteX120" fmla="*/ 602002 w 4519987"/>
                  <a:gd name="connsiteY120" fmla="*/ 733425 h 4496940"/>
                  <a:gd name="connsiteX121" fmla="*/ 668677 w 4519987"/>
                  <a:gd name="connsiteY121" fmla="*/ 676275 h 4496940"/>
                  <a:gd name="connsiteX122" fmla="*/ 697252 w 4519987"/>
                  <a:gd name="connsiteY122" fmla="*/ 657225 h 4496940"/>
                  <a:gd name="connsiteX123" fmla="*/ 840127 w 4519987"/>
                  <a:gd name="connsiteY123" fmla="*/ 533400 h 4496940"/>
                  <a:gd name="connsiteX124" fmla="*/ 887752 w 4519987"/>
                  <a:gd name="connsiteY124" fmla="*/ 504825 h 4496940"/>
                  <a:gd name="connsiteX125" fmla="*/ 1167152 w 4519987"/>
                  <a:gd name="connsiteY125" fmla="*/ 311150 h 4496940"/>
                  <a:gd name="connsiteX126" fmla="*/ 1268752 w 4519987"/>
                  <a:gd name="connsiteY126" fmla="*/ 285750 h 4496940"/>
                  <a:gd name="connsiteX127" fmla="*/ 1411627 w 4519987"/>
                  <a:gd name="connsiteY127" fmla="*/ 190500 h 4496940"/>
                  <a:gd name="connsiteX128" fmla="*/ 1449727 w 4519987"/>
                  <a:gd name="connsiteY128" fmla="*/ 161925 h 4496940"/>
                  <a:gd name="connsiteX129" fmla="*/ 1525927 w 4519987"/>
                  <a:gd name="connsiteY129" fmla="*/ 152400 h 4496940"/>
                  <a:gd name="connsiteX130" fmla="*/ 1583077 w 4519987"/>
                  <a:gd name="connsiteY130" fmla="*/ 142875 h 4496940"/>
                  <a:gd name="connsiteX131" fmla="*/ 1716427 w 4519987"/>
                  <a:gd name="connsiteY131" fmla="*/ 123825 h 4496940"/>
                  <a:gd name="connsiteX132" fmla="*/ 1811677 w 4519987"/>
                  <a:gd name="connsiteY132" fmla="*/ 114300 h 4496940"/>
                  <a:gd name="connsiteX133" fmla="*/ 1859302 w 4519987"/>
                  <a:gd name="connsiteY133" fmla="*/ 104775 h 4496940"/>
                  <a:gd name="connsiteX134" fmla="*/ 1916452 w 4519987"/>
                  <a:gd name="connsiteY134" fmla="*/ 95250 h 4496940"/>
                  <a:gd name="connsiteX135" fmla="*/ 2030752 w 4519987"/>
                  <a:gd name="connsiteY135" fmla="*/ 66675 h 4496940"/>
                  <a:gd name="connsiteX136" fmla="*/ 2097427 w 4519987"/>
                  <a:gd name="connsiteY136" fmla="*/ 47625 h 4496940"/>
                  <a:gd name="connsiteX137" fmla="*/ 2164102 w 4519987"/>
                  <a:gd name="connsiteY137" fmla="*/ 38100 h 4496940"/>
                  <a:gd name="connsiteX138" fmla="*/ 2392702 w 4519987"/>
                  <a:gd name="connsiteY13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869077 w 4519987"/>
                  <a:gd name="connsiteY39" fmla="*/ 3724275 h 4496940"/>
                  <a:gd name="connsiteX40" fmla="*/ 3792877 w 4519987"/>
                  <a:gd name="connsiteY40" fmla="*/ 3781425 h 4496940"/>
                  <a:gd name="connsiteX41" fmla="*/ 3783352 w 4519987"/>
                  <a:gd name="connsiteY41" fmla="*/ 3810000 h 4496940"/>
                  <a:gd name="connsiteX42" fmla="*/ 3745252 w 4519987"/>
                  <a:gd name="connsiteY42" fmla="*/ 3819525 h 4496940"/>
                  <a:gd name="connsiteX43" fmla="*/ 3678577 w 4519987"/>
                  <a:gd name="connsiteY43" fmla="*/ 3848100 h 4496940"/>
                  <a:gd name="connsiteX44" fmla="*/ 3659527 w 4519987"/>
                  <a:gd name="connsiteY44" fmla="*/ 3971925 h 4496940"/>
                  <a:gd name="connsiteX45" fmla="*/ 3630952 w 4519987"/>
                  <a:gd name="connsiteY45" fmla="*/ 4010025 h 4496940"/>
                  <a:gd name="connsiteX46" fmla="*/ 3621427 w 4519987"/>
                  <a:gd name="connsiteY46" fmla="*/ 4038600 h 4496940"/>
                  <a:gd name="connsiteX47" fmla="*/ 3554752 w 4519987"/>
                  <a:gd name="connsiteY47" fmla="*/ 4095750 h 4496940"/>
                  <a:gd name="connsiteX48" fmla="*/ 3516652 w 4519987"/>
                  <a:gd name="connsiteY48" fmla="*/ 4114800 h 4496940"/>
                  <a:gd name="connsiteX49" fmla="*/ 3497602 w 4519987"/>
                  <a:gd name="connsiteY49" fmla="*/ 4143375 h 4496940"/>
                  <a:gd name="connsiteX50" fmla="*/ 3383302 w 4519987"/>
                  <a:gd name="connsiteY50" fmla="*/ 4210050 h 4496940"/>
                  <a:gd name="connsiteX51" fmla="*/ 3335677 w 4519987"/>
                  <a:gd name="connsiteY51" fmla="*/ 4238625 h 4496940"/>
                  <a:gd name="connsiteX52" fmla="*/ 3288052 w 4519987"/>
                  <a:gd name="connsiteY52" fmla="*/ 4248150 h 4496940"/>
                  <a:gd name="connsiteX53" fmla="*/ 3240427 w 4519987"/>
                  <a:gd name="connsiteY53" fmla="*/ 4267200 h 4496940"/>
                  <a:gd name="connsiteX54" fmla="*/ 3068977 w 4519987"/>
                  <a:gd name="connsiteY54" fmla="*/ 4286250 h 4496940"/>
                  <a:gd name="connsiteX55" fmla="*/ 2935627 w 4519987"/>
                  <a:gd name="connsiteY55" fmla="*/ 4333875 h 4496940"/>
                  <a:gd name="connsiteX56" fmla="*/ 2811802 w 4519987"/>
                  <a:gd name="connsiteY56" fmla="*/ 4371975 h 4496940"/>
                  <a:gd name="connsiteX57" fmla="*/ 2745127 w 4519987"/>
                  <a:gd name="connsiteY57" fmla="*/ 4410075 h 4496940"/>
                  <a:gd name="connsiteX58" fmla="*/ 2697502 w 4519987"/>
                  <a:gd name="connsiteY58" fmla="*/ 4429125 h 4496940"/>
                  <a:gd name="connsiteX59" fmla="*/ 2640352 w 4519987"/>
                  <a:gd name="connsiteY59" fmla="*/ 4457700 h 4496940"/>
                  <a:gd name="connsiteX60" fmla="*/ 2583202 w 4519987"/>
                  <a:gd name="connsiteY60" fmla="*/ 4467225 h 4496940"/>
                  <a:gd name="connsiteX61" fmla="*/ 2545102 w 4519987"/>
                  <a:gd name="connsiteY61" fmla="*/ 4486275 h 4496940"/>
                  <a:gd name="connsiteX62" fmla="*/ 2306977 w 4519987"/>
                  <a:gd name="connsiteY62" fmla="*/ 4476750 h 4496940"/>
                  <a:gd name="connsiteX63" fmla="*/ 2202202 w 4519987"/>
                  <a:gd name="connsiteY63" fmla="*/ 4457700 h 4496940"/>
                  <a:gd name="connsiteX64" fmla="*/ 2126002 w 4519987"/>
                  <a:gd name="connsiteY64" fmla="*/ 4429125 h 4496940"/>
                  <a:gd name="connsiteX65" fmla="*/ 1935502 w 4519987"/>
                  <a:gd name="connsiteY65" fmla="*/ 4400550 h 4496940"/>
                  <a:gd name="connsiteX66" fmla="*/ 1821202 w 4519987"/>
                  <a:gd name="connsiteY66" fmla="*/ 4371975 h 4496940"/>
                  <a:gd name="connsiteX67" fmla="*/ 1754527 w 4519987"/>
                  <a:gd name="connsiteY67" fmla="*/ 4352925 h 4496940"/>
                  <a:gd name="connsiteX68" fmla="*/ 1687852 w 4519987"/>
                  <a:gd name="connsiteY68" fmla="*/ 4343400 h 4496940"/>
                  <a:gd name="connsiteX69" fmla="*/ 1573552 w 4519987"/>
                  <a:gd name="connsiteY69" fmla="*/ 4305300 h 4496940"/>
                  <a:gd name="connsiteX70" fmla="*/ 1402102 w 4519987"/>
                  <a:gd name="connsiteY70" fmla="*/ 4276725 h 4496940"/>
                  <a:gd name="connsiteX71" fmla="*/ 1287802 w 4519987"/>
                  <a:gd name="connsiteY71" fmla="*/ 4229100 h 4496940"/>
                  <a:gd name="connsiteX72" fmla="*/ 1221127 w 4519987"/>
                  <a:gd name="connsiteY72" fmla="*/ 4200525 h 4496940"/>
                  <a:gd name="connsiteX73" fmla="*/ 1144927 w 4519987"/>
                  <a:gd name="connsiteY73" fmla="*/ 4171950 h 4496940"/>
                  <a:gd name="connsiteX74" fmla="*/ 1087777 w 4519987"/>
                  <a:gd name="connsiteY74" fmla="*/ 4143375 h 4496940"/>
                  <a:gd name="connsiteX75" fmla="*/ 1030627 w 4519987"/>
                  <a:gd name="connsiteY75" fmla="*/ 4124325 h 4496940"/>
                  <a:gd name="connsiteX76" fmla="*/ 925852 w 4519987"/>
                  <a:gd name="connsiteY76" fmla="*/ 4067175 h 4496940"/>
                  <a:gd name="connsiteX77" fmla="*/ 830602 w 4519987"/>
                  <a:gd name="connsiteY77" fmla="*/ 3981450 h 4496940"/>
                  <a:gd name="connsiteX78" fmla="*/ 763927 w 4519987"/>
                  <a:gd name="connsiteY78" fmla="*/ 3914775 h 4496940"/>
                  <a:gd name="connsiteX79" fmla="*/ 725827 w 4519987"/>
                  <a:gd name="connsiteY79" fmla="*/ 3876675 h 4496940"/>
                  <a:gd name="connsiteX80" fmla="*/ 697252 w 4519987"/>
                  <a:gd name="connsiteY80" fmla="*/ 3838575 h 4496940"/>
                  <a:gd name="connsiteX81" fmla="*/ 640102 w 4519987"/>
                  <a:gd name="connsiteY81" fmla="*/ 3781425 h 4496940"/>
                  <a:gd name="connsiteX82" fmla="*/ 611527 w 4519987"/>
                  <a:gd name="connsiteY82" fmla="*/ 3733800 h 4496940"/>
                  <a:gd name="connsiteX83" fmla="*/ 554377 w 4519987"/>
                  <a:gd name="connsiteY83" fmla="*/ 3657600 h 4496940"/>
                  <a:gd name="connsiteX84" fmla="*/ 525802 w 4519987"/>
                  <a:gd name="connsiteY84" fmla="*/ 3609975 h 4496940"/>
                  <a:gd name="connsiteX85" fmla="*/ 497227 w 4519987"/>
                  <a:gd name="connsiteY85" fmla="*/ 3552825 h 4496940"/>
                  <a:gd name="connsiteX86" fmla="*/ 440077 w 4519987"/>
                  <a:gd name="connsiteY86" fmla="*/ 3495675 h 4496940"/>
                  <a:gd name="connsiteX87" fmla="*/ 411502 w 4519987"/>
                  <a:gd name="connsiteY87" fmla="*/ 3448050 h 4496940"/>
                  <a:gd name="connsiteX88" fmla="*/ 278152 w 4519987"/>
                  <a:gd name="connsiteY88" fmla="*/ 3257550 h 4496940"/>
                  <a:gd name="connsiteX89" fmla="*/ 249577 w 4519987"/>
                  <a:gd name="connsiteY89" fmla="*/ 3200400 h 4496940"/>
                  <a:gd name="connsiteX90" fmla="*/ 240052 w 4519987"/>
                  <a:gd name="connsiteY90" fmla="*/ 3162300 h 4496940"/>
                  <a:gd name="connsiteX91" fmla="*/ 221002 w 4519987"/>
                  <a:gd name="connsiteY91" fmla="*/ 3105150 h 4496940"/>
                  <a:gd name="connsiteX92" fmla="*/ 173377 w 4519987"/>
                  <a:gd name="connsiteY92" fmla="*/ 3019425 h 4496940"/>
                  <a:gd name="connsiteX93" fmla="*/ 144802 w 4519987"/>
                  <a:gd name="connsiteY93" fmla="*/ 2924175 h 4496940"/>
                  <a:gd name="connsiteX94" fmla="*/ 68602 w 4519987"/>
                  <a:gd name="connsiteY94" fmla="*/ 2724150 h 4496940"/>
                  <a:gd name="connsiteX95" fmla="*/ 49552 w 4519987"/>
                  <a:gd name="connsiteY95" fmla="*/ 2638425 h 4496940"/>
                  <a:gd name="connsiteX96" fmla="*/ 40027 w 4519987"/>
                  <a:gd name="connsiteY96" fmla="*/ 2562225 h 4496940"/>
                  <a:gd name="connsiteX97" fmla="*/ 30502 w 4519987"/>
                  <a:gd name="connsiteY97" fmla="*/ 2514600 h 4496940"/>
                  <a:gd name="connsiteX98" fmla="*/ 11452 w 4519987"/>
                  <a:gd name="connsiteY98" fmla="*/ 2400300 h 4496940"/>
                  <a:gd name="connsiteX99" fmla="*/ 20977 w 4519987"/>
                  <a:gd name="connsiteY99" fmla="*/ 1905000 h 4496940"/>
                  <a:gd name="connsiteX100" fmla="*/ 30502 w 4519987"/>
                  <a:gd name="connsiteY100" fmla="*/ 1838325 h 4496940"/>
                  <a:gd name="connsiteX101" fmla="*/ 49552 w 4519987"/>
                  <a:gd name="connsiteY101" fmla="*/ 1781175 h 4496940"/>
                  <a:gd name="connsiteX102" fmla="*/ 59077 w 4519987"/>
                  <a:gd name="connsiteY102" fmla="*/ 1743075 h 4496940"/>
                  <a:gd name="connsiteX103" fmla="*/ 78127 w 4519987"/>
                  <a:gd name="connsiteY103" fmla="*/ 1685925 h 4496940"/>
                  <a:gd name="connsiteX104" fmla="*/ 87652 w 4519987"/>
                  <a:gd name="connsiteY104" fmla="*/ 1638300 h 4496940"/>
                  <a:gd name="connsiteX105" fmla="*/ 106702 w 4519987"/>
                  <a:gd name="connsiteY105" fmla="*/ 1590675 h 4496940"/>
                  <a:gd name="connsiteX106" fmla="*/ 135277 w 4519987"/>
                  <a:gd name="connsiteY106" fmla="*/ 1504950 h 4496940"/>
                  <a:gd name="connsiteX107" fmla="*/ 154327 w 4519987"/>
                  <a:gd name="connsiteY107" fmla="*/ 1419225 h 4496940"/>
                  <a:gd name="connsiteX108" fmla="*/ 230527 w 4519987"/>
                  <a:gd name="connsiteY108" fmla="*/ 1276350 h 4496940"/>
                  <a:gd name="connsiteX109" fmla="*/ 240052 w 4519987"/>
                  <a:gd name="connsiteY109" fmla="*/ 1247775 h 4496940"/>
                  <a:gd name="connsiteX110" fmla="*/ 268627 w 4519987"/>
                  <a:gd name="connsiteY110" fmla="*/ 1200150 h 4496940"/>
                  <a:gd name="connsiteX111" fmla="*/ 287677 w 4519987"/>
                  <a:gd name="connsiteY111" fmla="*/ 1152525 h 4496940"/>
                  <a:gd name="connsiteX112" fmla="*/ 316252 w 4519987"/>
                  <a:gd name="connsiteY112" fmla="*/ 1114425 h 4496940"/>
                  <a:gd name="connsiteX113" fmla="*/ 363877 w 4519987"/>
                  <a:gd name="connsiteY113" fmla="*/ 1038225 h 4496940"/>
                  <a:gd name="connsiteX114" fmla="*/ 382927 w 4519987"/>
                  <a:gd name="connsiteY114" fmla="*/ 1009650 h 4496940"/>
                  <a:gd name="connsiteX115" fmla="*/ 440077 w 4519987"/>
                  <a:gd name="connsiteY115" fmla="*/ 904875 h 4496940"/>
                  <a:gd name="connsiteX116" fmla="*/ 478177 w 4519987"/>
                  <a:gd name="connsiteY116" fmla="*/ 857250 h 4496940"/>
                  <a:gd name="connsiteX117" fmla="*/ 497227 w 4519987"/>
                  <a:gd name="connsiteY117" fmla="*/ 828675 h 4496940"/>
                  <a:gd name="connsiteX118" fmla="*/ 535327 w 4519987"/>
                  <a:gd name="connsiteY118" fmla="*/ 800100 h 4496940"/>
                  <a:gd name="connsiteX119" fmla="*/ 602002 w 4519987"/>
                  <a:gd name="connsiteY119" fmla="*/ 733425 h 4496940"/>
                  <a:gd name="connsiteX120" fmla="*/ 668677 w 4519987"/>
                  <a:gd name="connsiteY120" fmla="*/ 676275 h 4496940"/>
                  <a:gd name="connsiteX121" fmla="*/ 697252 w 4519987"/>
                  <a:gd name="connsiteY121" fmla="*/ 657225 h 4496940"/>
                  <a:gd name="connsiteX122" fmla="*/ 840127 w 4519987"/>
                  <a:gd name="connsiteY122" fmla="*/ 533400 h 4496940"/>
                  <a:gd name="connsiteX123" fmla="*/ 887752 w 4519987"/>
                  <a:gd name="connsiteY123" fmla="*/ 504825 h 4496940"/>
                  <a:gd name="connsiteX124" fmla="*/ 1167152 w 4519987"/>
                  <a:gd name="connsiteY124" fmla="*/ 311150 h 4496940"/>
                  <a:gd name="connsiteX125" fmla="*/ 1268752 w 4519987"/>
                  <a:gd name="connsiteY125" fmla="*/ 285750 h 4496940"/>
                  <a:gd name="connsiteX126" fmla="*/ 1411627 w 4519987"/>
                  <a:gd name="connsiteY126" fmla="*/ 190500 h 4496940"/>
                  <a:gd name="connsiteX127" fmla="*/ 1449727 w 4519987"/>
                  <a:gd name="connsiteY127" fmla="*/ 161925 h 4496940"/>
                  <a:gd name="connsiteX128" fmla="*/ 1525927 w 4519987"/>
                  <a:gd name="connsiteY128" fmla="*/ 152400 h 4496940"/>
                  <a:gd name="connsiteX129" fmla="*/ 1583077 w 4519987"/>
                  <a:gd name="connsiteY129" fmla="*/ 142875 h 4496940"/>
                  <a:gd name="connsiteX130" fmla="*/ 1716427 w 4519987"/>
                  <a:gd name="connsiteY130" fmla="*/ 123825 h 4496940"/>
                  <a:gd name="connsiteX131" fmla="*/ 1811677 w 4519987"/>
                  <a:gd name="connsiteY131" fmla="*/ 114300 h 4496940"/>
                  <a:gd name="connsiteX132" fmla="*/ 1859302 w 4519987"/>
                  <a:gd name="connsiteY132" fmla="*/ 104775 h 4496940"/>
                  <a:gd name="connsiteX133" fmla="*/ 1916452 w 4519987"/>
                  <a:gd name="connsiteY133" fmla="*/ 95250 h 4496940"/>
                  <a:gd name="connsiteX134" fmla="*/ 2030752 w 4519987"/>
                  <a:gd name="connsiteY134" fmla="*/ 66675 h 4496940"/>
                  <a:gd name="connsiteX135" fmla="*/ 2097427 w 4519987"/>
                  <a:gd name="connsiteY135" fmla="*/ 47625 h 4496940"/>
                  <a:gd name="connsiteX136" fmla="*/ 2164102 w 4519987"/>
                  <a:gd name="connsiteY136" fmla="*/ 38100 h 4496940"/>
                  <a:gd name="connsiteX137" fmla="*/ 2392702 w 4519987"/>
                  <a:gd name="connsiteY13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783352 w 4519987"/>
                  <a:gd name="connsiteY40" fmla="*/ 3810000 h 4496940"/>
                  <a:gd name="connsiteX41" fmla="*/ 3745252 w 4519987"/>
                  <a:gd name="connsiteY41" fmla="*/ 3819525 h 4496940"/>
                  <a:gd name="connsiteX42" fmla="*/ 3678577 w 4519987"/>
                  <a:gd name="connsiteY42" fmla="*/ 3848100 h 4496940"/>
                  <a:gd name="connsiteX43" fmla="*/ 3659527 w 4519987"/>
                  <a:gd name="connsiteY43" fmla="*/ 3971925 h 4496940"/>
                  <a:gd name="connsiteX44" fmla="*/ 3630952 w 4519987"/>
                  <a:gd name="connsiteY44" fmla="*/ 4010025 h 4496940"/>
                  <a:gd name="connsiteX45" fmla="*/ 3621427 w 4519987"/>
                  <a:gd name="connsiteY45" fmla="*/ 4038600 h 4496940"/>
                  <a:gd name="connsiteX46" fmla="*/ 3554752 w 4519987"/>
                  <a:gd name="connsiteY46" fmla="*/ 4095750 h 4496940"/>
                  <a:gd name="connsiteX47" fmla="*/ 3516652 w 4519987"/>
                  <a:gd name="connsiteY47" fmla="*/ 4114800 h 4496940"/>
                  <a:gd name="connsiteX48" fmla="*/ 3497602 w 4519987"/>
                  <a:gd name="connsiteY48" fmla="*/ 4143375 h 4496940"/>
                  <a:gd name="connsiteX49" fmla="*/ 3383302 w 4519987"/>
                  <a:gd name="connsiteY49" fmla="*/ 4210050 h 4496940"/>
                  <a:gd name="connsiteX50" fmla="*/ 3335677 w 4519987"/>
                  <a:gd name="connsiteY50" fmla="*/ 4238625 h 4496940"/>
                  <a:gd name="connsiteX51" fmla="*/ 3288052 w 4519987"/>
                  <a:gd name="connsiteY51" fmla="*/ 4248150 h 4496940"/>
                  <a:gd name="connsiteX52" fmla="*/ 3240427 w 4519987"/>
                  <a:gd name="connsiteY52" fmla="*/ 4267200 h 4496940"/>
                  <a:gd name="connsiteX53" fmla="*/ 3068977 w 4519987"/>
                  <a:gd name="connsiteY53" fmla="*/ 4286250 h 4496940"/>
                  <a:gd name="connsiteX54" fmla="*/ 2935627 w 4519987"/>
                  <a:gd name="connsiteY54" fmla="*/ 4333875 h 4496940"/>
                  <a:gd name="connsiteX55" fmla="*/ 2811802 w 4519987"/>
                  <a:gd name="connsiteY55" fmla="*/ 4371975 h 4496940"/>
                  <a:gd name="connsiteX56" fmla="*/ 2745127 w 4519987"/>
                  <a:gd name="connsiteY56" fmla="*/ 4410075 h 4496940"/>
                  <a:gd name="connsiteX57" fmla="*/ 2697502 w 4519987"/>
                  <a:gd name="connsiteY57" fmla="*/ 4429125 h 4496940"/>
                  <a:gd name="connsiteX58" fmla="*/ 2640352 w 4519987"/>
                  <a:gd name="connsiteY58" fmla="*/ 4457700 h 4496940"/>
                  <a:gd name="connsiteX59" fmla="*/ 2583202 w 4519987"/>
                  <a:gd name="connsiteY59" fmla="*/ 4467225 h 4496940"/>
                  <a:gd name="connsiteX60" fmla="*/ 2545102 w 4519987"/>
                  <a:gd name="connsiteY60" fmla="*/ 4486275 h 4496940"/>
                  <a:gd name="connsiteX61" fmla="*/ 2306977 w 4519987"/>
                  <a:gd name="connsiteY61" fmla="*/ 4476750 h 4496940"/>
                  <a:gd name="connsiteX62" fmla="*/ 2202202 w 4519987"/>
                  <a:gd name="connsiteY62" fmla="*/ 4457700 h 4496940"/>
                  <a:gd name="connsiteX63" fmla="*/ 2126002 w 4519987"/>
                  <a:gd name="connsiteY63" fmla="*/ 4429125 h 4496940"/>
                  <a:gd name="connsiteX64" fmla="*/ 1935502 w 4519987"/>
                  <a:gd name="connsiteY64" fmla="*/ 4400550 h 4496940"/>
                  <a:gd name="connsiteX65" fmla="*/ 1821202 w 4519987"/>
                  <a:gd name="connsiteY65" fmla="*/ 4371975 h 4496940"/>
                  <a:gd name="connsiteX66" fmla="*/ 1754527 w 4519987"/>
                  <a:gd name="connsiteY66" fmla="*/ 4352925 h 4496940"/>
                  <a:gd name="connsiteX67" fmla="*/ 1687852 w 4519987"/>
                  <a:gd name="connsiteY67" fmla="*/ 4343400 h 4496940"/>
                  <a:gd name="connsiteX68" fmla="*/ 1573552 w 4519987"/>
                  <a:gd name="connsiteY68" fmla="*/ 4305300 h 4496940"/>
                  <a:gd name="connsiteX69" fmla="*/ 1402102 w 4519987"/>
                  <a:gd name="connsiteY69" fmla="*/ 4276725 h 4496940"/>
                  <a:gd name="connsiteX70" fmla="*/ 1287802 w 4519987"/>
                  <a:gd name="connsiteY70" fmla="*/ 4229100 h 4496940"/>
                  <a:gd name="connsiteX71" fmla="*/ 1221127 w 4519987"/>
                  <a:gd name="connsiteY71" fmla="*/ 4200525 h 4496940"/>
                  <a:gd name="connsiteX72" fmla="*/ 1144927 w 4519987"/>
                  <a:gd name="connsiteY72" fmla="*/ 4171950 h 4496940"/>
                  <a:gd name="connsiteX73" fmla="*/ 1087777 w 4519987"/>
                  <a:gd name="connsiteY73" fmla="*/ 4143375 h 4496940"/>
                  <a:gd name="connsiteX74" fmla="*/ 1030627 w 4519987"/>
                  <a:gd name="connsiteY74" fmla="*/ 4124325 h 4496940"/>
                  <a:gd name="connsiteX75" fmla="*/ 925852 w 4519987"/>
                  <a:gd name="connsiteY75" fmla="*/ 4067175 h 4496940"/>
                  <a:gd name="connsiteX76" fmla="*/ 830602 w 4519987"/>
                  <a:gd name="connsiteY76" fmla="*/ 3981450 h 4496940"/>
                  <a:gd name="connsiteX77" fmla="*/ 763927 w 4519987"/>
                  <a:gd name="connsiteY77" fmla="*/ 3914775 h 4496940"/>
                  <a:gd name="connsiteX78" fmla="*/ 725827 w 4519987"/>
                  <a:gd name="connsiteY78" fmla="*/ 3876675 h 4496940"/>
                  <a:gd name="connsiteX79" fmla="*/ 697252 w 4519987"/>
                  <a:gd name="connsiteY79" fmla="*/ 3838575 h 4496940"/>
                  <a:gd name="connsiteX80" fmla="*/ 640102 w 4519987"/>
                  <a:gd name="connsiteY80" fmla="*/ 3781425 h 4496940"/>
                  <a:gd name="connsiteX81" fmla="*/ 611527 w 4519987"/>
                  <a:gd name="connsiteY81" fmla="*/ 3733800 h 4496940"/>
                  <a:gd name="connsiteX82" fmla="*/ 554377 w 4519987"/>
                  <a:gd name="connsiteY82" fmla="*/ 3657600 h 4496940"/>
                  <a:gd name="connsiteX83" fmla="*/ 525802 w 4519987"/>
                  <a:gd name="connsiteY83" fmla="*/ 3609975 h 4496940"/>
                  <a:gd name="connsiteX84" fmla="*/ 497227 w 4519987"/>
                  <a:gd name="connsiteY84" fmla="*/ 3552825 h 4496940"/>
                  <a:gd name="connsiteX85" fmla="*/ 440077 w 4519987"/>
                  <a:gd name="connsiteY85" fmla="*/ 3495675 h 4496940"/>
                  <a:gd name="connsiteX86" fmla="*/ 411502 w 4519987"/>
                  <a:gd name="connsiteY86" fmla="*/ 3448050 h 4496940"/>
                  <a:gd name="connsiteX87" fmla="*/ 278152 w 4519987"/>
                  <a:gd name="connsiteY87" fmla="*/ 3257550 h 4496940"/>
                  <a:gd name="connsiteX88" fmla="*/ 249577 w 4519987"/>
                  <a:gd name="connsiteY88" fmla="*/ 3200400 h 4496940"/>
                  <a:gd name="connsiteX89" fmla="*/ 240052 w 4519987"/>
                  <a:gd name="connsiteY89" fmla="*/ 3162300 h 4496940"/>
                  <a:gd name="connsiteX90" fmla="*/ 221002 w 4519987"/>
                  <a:gd name="connsiteY90" fmla="*/ 3105150 h 4496940"/>
                  <a:gd name="connsiteX91" fmla="*/ 173377 w 4519987"/>
                  <a:gd name="connsiteY91" fmla="*/ 3019425 h 4496940"/>
                  <a:gd name="connsiteX92" fmla="*/ 144802 w 4519987"/>
                  <a:gd name="connsiteY92" fmla="*/ 2924175 h 4496940"/>
                  <a:gd name="connsiteX93" fmla="*/ 68602 w 4519987"/>
                  <a:gd name="connsiteY93" fmla="*/ 2724150 h 4496940"/>
                  <a:gd name="connsiteX94" fmla="*/ 49552 w 4519987"/>
                  <a:gd name="connsiteY94" fmla="*/ 2638425 h 4496940"/>
                  <a:gd name="connsiteX95" fmla="*/ 40027 w 4519987"/>
                  <a:gd name="connsiteY95" fmla="*/ 2562225 h 4496940"/>
                  <a:gd name="connsiteX96" fmla="*/ 30502 w 4519987"/>
                  <a:gd name="connsiteY96" fmla="*/ 2514600 h 4496940"/>
                  <a:gd name="connsiteX97" fmla="*/ 11452 w 4519987"/>
                  <a:gd name="connsiteY97" fmla="*/ 2400300 h 4496940"/>
                  <a:gd name="connsiteX98" fmla="*/ 20977 w 4519987"/>
                  <a:gd name="connsiteY98" fmla="*/ 1905000 h 4496940"/>
                  <a:gd name="connsiteX99" fmla="*/ 30502 w 4519987"/>
                  <a:gd name="connsiteY99" fmla="*/ 1838325 h 4496940"/>
                  <a:gd name="connsiteX100" fmla="*/ 49552 w 4519987"/>
                  <a:gd name="connsiteY100" fmla="*/ 1781175 h 4496940"/>
                  <a:gd name="connsiteX101" fmla="*/ 59077 w 4519987"/>
                  <a:gd name="connsiteY101" fmla="*/ 1743075 h 4496940"/>
                  <a:gd name="connsiteX102" fmla="*/ 78127 w 4519987"/>
                  <a:gd name="connsiteY102" fmla="*/ 1685925 h 4496940"/>
                  <a:gd name="connsiteX103" fmla="*/ 87652 w 4519987"/>
                  <a:gd name="connsiteY103" fmla="*/ 1638300 h 4496940"/>
                  <a:gd name="connsiteX104" fmla="*/ 106702 w 4519987"/>
                  <a:gd name="connsiteY104" fmla="*/ 1590675 h 4496940"/>
                  <a:gd name="connsiteX105" fmla="*/ 135277 w 4519987"/>
                  <a:gd name="connsiteY105" fmla="*/ 1504950 h 4496940"/>
                  <a:gd name="connsiteX106" fmla="*/ 154327 w 4519987"/>
                  <a:gd name="connsiteY106" fmla="*/ 1419225 h 4496940"/>
                  <a:gd name="connsiteX107" fmla="*/ 230527 w 4519987"/>
                  <a:gd name="connsiteY107" fmla="*/ 1276350 h 4496940"/>
                  <a:gd name="connsiteX108" fmla="*/ 240052 w 4519987"/>
                  <a:gd name="connsiteY108" fmla="*/ 1247775 h 4496940"/>
                  <a:gd name="connsiteX109" fmla="*/ 268627 w 4519987"/>
                  <a:gd name="connsiteY109" fmla="*/ 1200150 h 4496940"/>
                  <a:gd name="connsiteX110" fmla="*/ 287677 w 4519987"/>
                  <a:gd name="connsiteY110" fmla="*/ 1152525 h 4496940"/>
                  <a:gd name="connsiteX111" fmla="*/ 316252 w 4519987"/>
                  <a:gd name="connsiteY111" fmla="*/ 1114425 h 4496940"/>
                  <a:gd name="connsiteX112" fmla="*/ 363877 w 4519987"/>
                  <a:gd name="connsiteY112" fmla="*/ 1038225 h 4496940"/>
                  <a:gd name="connsiteX113" fmla="*/ 382927 w 4519987"/>
                  <a:gd name="connsiteY113" fmla="*/ 1009650 h 4496940"/>
                  <a:gd name="connsiteX114" fmla="*/ 440077 w 4519987"/>
                  <a:gd name="connsiteY114" fmla="*/ 904875 h 4496940"/>
                  <a:gd name="connsiteX115" fmla="*/ 478177 w 4519987"/>
                  <a:gd name="connsiteY115" fmla="*/ 857250 h 4496940"/>
                  <a:gd name="connsiteX116" fmla="*/ 497227 w 4519987"/>
                  <a:gd name="connsiteY116" fmla="*/ 828675 h 4496940"/>
                  <a:gd name="connsiteX117" fmla="*/ 535327 w 4519987"/>
                  <a:gd name="connsiteY117" fmla="*/ 800100 h 4496940"/>
                  <a:gd name="connsiteX118" fmla="*/ 602002 w 4519987"/>
                  <a:gd name="connsiteY118" fmla="*/ 733425 h 4496940"/>
                  <a:gd name="connsiteX119" fmla="*/ 668677 w 4519987"/>
                  <a:gd name="connsiteY119" fmla="*/ 676275 h 4496940"/>
                  <a:gd name="connsiteX120" fmla="*/ 697252 w 4519987"/>
                  <a:gd name="connsiteY120" fmla="*/ 657225 h 4496940"/>
                  <a:gd name="connsiteX121" fmla="*/ 840127 w 4519987"/>
                  <a:gd name="connsiteY121" fmla="*/ 533400 h 4496940"/>
                  <a:gd name="connsiteX122" fmla="*/ 887752 w 4519987"/>
                  <a:gd name="connsiteY122" fmla="*/ 504825 h 4496940"/>
                  <a:gd name="connsiteX123" fmla="*/ 1167152 w 4519987"/>
                  <a:gd name="connsiteY123" fmla="*/ 311150 h 4496940"/>
                  <a:gd name="connsiteX124" fmla="*/ 1268752 w 4519987"/>
                  <a:gd name="connsiteY124" fmla="*/ 285750 h 4496940"/>
                  <a:gd name="connsiteX125" fmla="*/ 1411627 w 4519987"/>
                  <a:gd name="connsiteY125" fmla="*/ 190500 h 4496940"/>
                  <a:gd name="connsiteX126" fmla="*/ 1449727 w 4519987"/>
                  <a:gd name="connsiteY126" fmla="*/ 161925 h 4496940"/>
                  <a:gd name="connsiteX127" fmla="*/ 1525927 w 4519987"/>
                  <a:gd name="connsiteY127" fmla="*/ 152400 h 4496940"/>
                  <a:gd name="connsiteX128" fmla="*/ 1583077 w 4519987"/>
                  <a:gd name="connsiteY128" fmla="*/ 142875 h 4496940"/>
                  <a:gd name="connsiteX129" fmla="*/ 1716427 w 4519987"/>
                  <a:gd name="connsiteY129" fmla="*/ 123825 h 4496940"/>
                  <a:gd name="connsiteX130" fmla="*/ 1811677 w 4519987"/>
                  <a:gd name="connsiteY130" fmla="*/ 114300 h 4496940"/>
                  <a:gd name="connsiteX131" fmla="*/ 1859302 w 4519987"/>
                  <a:gd name="connsiteY131" fmla="*/ 104775 h 4496940"/>
                  <a:gd name="connsiteX132" fmla="*/ 1916452 w 4519987"/>
                  <a:gd name="connsiteY132" fmla="*/ 95250 h 4496940"/>
                  <a:gd name="connsiteX133" fmla="*/ 2030752 w 4519987"/>
                  <a:gd name="connsiteY133" fmla="*/ 66675 h 4496940"/>
                  <a:gd name="connsiteX134" fmla="*/ 2097427 w 4519987"/>
                  <a:gd name="connsiteY134" fmla="*/ 47625 h 4496940"/>
                  <a:gd name="connsiteX135" fmla="*/ 2164102 w 4519987"/>
                  <a:gd name="connsiteY135" fmla="*/ 38100 h 4496940"/>
                  <a:gd name="connsiteX136" fmla="*/ 2392702 w 4519987"/>
                  <a:gd name="connsiteY13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783352 w 4519987"/>
                  <a:gd name="connsiteY40" fmla="*/ 3810000 h 4496940"/>
                  <a:gd name="connsiteX41" fmla="*/ 3678577 w 4519987"/>
                  <a:gd name="connsiteY41" fmla="*/ 3848100 h 4496940"/>
                  <a:gd name="connsiteX42" fmla="*/ 3659527 w 4519987"/>
                  <a:gd name="connsiteY42" fmla="*/ 3971925 h 4496940"/>
                  <a:gd name="connsiteX43" fmla="*/ 3630952 w 4519987"/>
                  <a:gd name="connsiteY43" fmla="*/ 4010025 h 4496940"/>
                  <a:gd name="connsiteX44" fmla="*/ 3621427 w 4519987"/>
                  <a:gd name="connsiteY44" fmla="*/ 4038600 h 4496940"/>
                  <a:gd name="connsiteX45" fmla="*/ 3554752 w 4519987"/>
                  <a:gd name="connsiteY45" fmla="*/ 4095750 h 4496940"/>
                  <a:gd name="connsiteX46" fmla="*/ 3516652 w 4519987"/>
                  <a:gd name="connsiteY46" fmla="*/ 4114800 h 4496940"/>
                  <a:gd name="connsiteX47" fmla="*/ 3497602 w 4519987"/>
                  <a:gd name="connsiteY47" fmla="*/ 4143375 h 4496940"/>
                  <a:gd name="connsiteX48" fmla="*/ 3383302 w 4519987"/>
                  <a:gd name="connsiteY48" fmla="*/ 4210050 h 4496940"/>
                  <a:gd name="connsiteX49" fmla="*/ 3335677 w 4519987"/>
                  <a:gd name="connsiteY49" fmla="*/ 4238625 h 4496940"/>
                  <a:gd name="connsiteX50" fmla="*/ 3288052 w 4519987"/>
                  <a:gd name="connsiteY50" fmla="*/ 4248150 h 4496940"/>
                  <a:gd name="connsiteX51" fmla="*/ 3240427 w 4519987"/>
                  <a:gd name="connsiteY51" fmla="*/ 4267200 h 4496940"/>
                  <a:gd name="connsiteX52" fmla="*/ 3068977 w 4519987"/>
                  <a:gd name="connsiteY52" fmla="*/ 4286250 h 4496940"/>
                  <a:gd name="connsiteX53" fmla="*/ 2935627 w 4519987"/>
                  <a:gd name="connsiteY53" fmla="*/ 4333875 h 4496940"/>
                  <a:gd name="connsiteX54" fmla="*/ 2811802 w 4519987"/>
                  <a:gd name="connsiteY54" fmla="*/ 4371975 h 4496940"/>
                  <a:gd name="connsiteX55" fmla="*/ 2745127 w 4519987"/>
                  <a:gd name="connsiteY55" fmla="*/ 4410075 h 4496940"/>
                  <a:gd name="connsiteX56" fmla="*/ 2697502 w 4519987"/>
                  <a:gd name="connsiteY56" fmla="*/ 4429125 h 4496940"/>
                  <a:gd name="connsiteX57" fmla="*/ 2640352 w 4519987"/>
                  <a:gd name="connsiteY57" fmla="*/ 4457700 h 4496940"/>
                  <a:gd name="connsiteX58" fmla="*/ 2583202 w 4519987"/>
                  <a:gd name="connsiteY58" fmla="*/ 4467225 h 4496940"/>
                  <a:gd name="connsiteX59" fmla="*/ 2545102 w 4519987"/>
                  <a:gd name="connsiteY59" fmla="*/ 4486275 h 4496940"/>
                  <a:gd name="connsiteX60" fmla="*/ 2306977 w 4519987"/>
                  <a:gd name="connsiteY60" fmla="*/ 4476750 h 4496940"/>
                  <a:gd name="connsiteX61" fmla="*/ 2202202 w 4519987"/>
                  <a:gd name="connsiteY61" fmla="*/ 4457700 h 4496940"/>
                  <a:gd name="connsiteX62" fmla="*/ 2126002 w 4519987"/>
                  <a:gd name="connsiteY62" fmla="*/ 4429125 h 4496940"/>
                  <a:gd name="connsiteX63" fmla="*/ 1935502 w 4519987"/>
                  <a:gd name="connsiteY63" fmla="*/ 4400550 h 4496940"/>
                  <a:gd name="connsiteX64" fmla="*/ 1821202 w 4519987"/>
                  <a:gd name="connsiteY64" fmla="*/ 4371975 h 4496940"/>
                  <a:gd name="connsiteX65" fmla="*/ 1754527 w 4519987"/>
                  <a:gd name="connsiteY65" fmla="*/ 4352925 h 4496940"/>
                  <a:gd name="connsiteX66" fmla="*/ 1687852 w 4519987"/>
                  <a:gd name="connsiteY66" fmla="*/ 4343400 h 4496940"/>
                  <a:gd name="connsiteX67" fmla="*/ 1573552 w 4519987"/>
                  <a:gd name="connsiteY67" fmla="*/ 4305300 h 4496940"/>
                  <a:gd name="connsiteX68" fmla="*/ 1402102 w 4519987"/>
                  <a:gd name="connsiteY68" fmla="*/ 4276725 h 4496940"/>
                  <a:gd name="connsiteX69" fmla="*/ 1287802 w 4519987"/>
                  <a:gd name="connsiteY69" fmla="*/ 4229100 h 4496940"/>
                  <a:gd name="connsiteX70" fmla="*/ 1221127 w 4519987"/>
                  <a:gd name="connsiteY70" fmla="*/ 4200525 h 4496940"/>
                  <a:gd name="connsiteX71" fmla="*/ 1144927 w 4519987"/>
                  <a:gd name="connsiteY71" fmla="*/ 4171950 h 4496940"/>
                  <a:gd name="connsiteX72" fmla="*/ 1087777 w 4519987"/>
                  <a:gd name="connsiteY72" fmla="*/ 4143375 h 4496940"/>
                  <a:gd name="connsiteX73" fmla="*/ 1030627 w 4519987"/>
                  <a:gd name="connsiteY73" fmla="*/ 4124325 h 4496940"/>
                  <a:gd name="connsiteX74" fmla="*/ 925852 w 4519987"/>
                  <a:gd name="connsiteY74" fmla="*/ 4067175 h 4496940"/>
                  <a:gd name="connsiteX75" fmla="*/ 830602 w 4519987"/>
                  <a:gd name="connsiteY75" fmla="*/ 3981450 h 4496940"/>
                  <a:gd name="connsiteX76" fmla="*/ 763927 w 4519987"/>
                  <a:gd name="connsiteY76" fmla="*/ 3914775 h 4496940"/>
                  <a:gd name="connsiteX77" fmla="*/ 725827 w 4519987"/>
                  <a:gd name="connsiteY77" fmla="*/ 3876675 h 4496940"/>
                  <a:gd name="connsiteX78" fmla="*/ 697252 w 4519987"/>
                  <a:gd name="connsiteY78" fmla="*/ 3838575 h 4496940"/>
                  <a:gd name="connsiteX79" fmla="*/ 640102 w 4519987"/>
                  <a:gd name="connsiteY79" fmla="*/ 3781425 h 4496940"/>
                  <a:gd name="connsiteX80" fmla="*/ 611527 w 4519987"/>
                  <a:gd name="connsiteY80" fmla="*/ 3733800 h 4496940"/>
                  <a:gd name="connsiteX81" fmla="*/ 554377 w 4519987"/>
                  <a:gd name="connsiteY81" fmla="*/ 3657600 h 4496940"/>
                  <a:gd name="connsiteX82" fmla="*/ 525802 w 4519987"/>
                  <a:gd name="connsiteY82" fmla="*/ 3609975 h 4496940"/>
                  <a:gd name="connsiteX83" fmla="*/ 497227 w 4519987"/>
                  <a:gd name="connsiteY83" fmla="*/ 3552825 h 4496940"/>
                  <a:gd name="connsiteX84" fmla="*/ 440077 w 4519987"/>
                  <a:gd name="connsiteY84" fmla="*/ 3495675 h 4496940"/>
                  <a:gd name="connsiteX85" fmla="*/ 411502 w 4519987"/>
                  <a:gd name="connsiteY85" fmla="*/ 3448050 h 4496940"/>
                  <a:gd name="connsiteX86" fmla="*/ 278152 w 4519987"/>
                  <a:gd name="connsiteY86" fmla="*/ 3257550 h 4496940"/>
                  <a:gd name="connsiteX87" fmla="*/ 249577 w 4519987"/>
                  <a:gd name="connsiteY87" fmla="*/ 3200400 h 4496940"/>
                  <a:gd name="connsiteX88" fmla="*/ 240052 w 4519987"/>
                  <a:gd name="connsiteY88" fmla="*/ 3162300 h 4496940"/>
                  <a:gd name="connsiteX89" fmla="*/ 221002 w 4519987"/>
                  <a:gd name="connsiteY89" fmla="*/ 3105150 h 4496940"/>
                  <a:gd name="connsiteX90" fmla="*/ 173377 w 4519987"/>
                  <a:gd name="connsiteY90" fmla="*/ 3019425 h 4496940"/>
                  <a:gd name="connsiteX91" fmla="*/ 144802 w 4519987"/>
                  <a:gd name="connsiteY91" fmla="*/ 2924175 h 4496940"/>
                  <a:gd name="connsiteX92" fmla="*/ 68602 w 4519987"/>
                  <a:gd name="connsiteY92" fmla="*/ 2724150 h 4496940"/>
                  <a:gd name="connsiteX93" fmla="*/ 49552 w 4519987"/>
                  <a:gd name="connsiteY93" fmla="*/ 2638425 h 4496940"/>
                  <a:gd name="connsiteX94" fmla="*/ 40027 w 4519987"/>
                  <a:gd name="connsiteY94" fmla="*/ 2562225 h 4496940"/>
                  <a:gd name="connsiteX95" fmla="*/ 30502 w 4519987"/>
                  <a:gd name="connsiteY95" fmla="*/ 2514600 h 4496940"/>
                  <a:gd name="connsiteX96" fmla="*/ 11452 w 4519987"/>
                  <a:gd name="connsiteY96" fmla="*/ 2400300 h 4496940"/>
                  <a:gd name="connsiteX97" fmla="*/ 20977 w 4519987"/>
                  <a:gd name="connsiteY97" fmla="*/ 1905000 h 4496940"/>
                  <a:gd name="connsiteX98" fmla="*/ 30502 w 4519987"/>
                  <a:gd name="connsiteY98" fmla="*/ 1838325 h 4496940"/>
                  <a:gd name="connsiteX99" fmla="*/ 49552 w 4519987"/>
                  <a:gd name="connsiteY99" fmla="*/ 1781175 h 4496940"/>
                  <a:gd name="connsiteX100" fmla="*/ 59077 w 4519987"/>
                  <a:gd name="connsiteY100" fmla="*/ 1743075 h 4496940"/>
                  <a:gd name="connsiteX101" fmla="*/ 78127 w 4519987"/>
                  <a:gd name="connsiteY101" fmla="*/ 1685925 h 4496940"/>
                  <a:gd name="connsiteX102" fmla="*/ 87652 w 4519987"/>
                  <a:gd name="connsiteY102" fmla="*/ 1638300 h 4496940"/>
                  <a:gd name="connsiteX103" fmla="*/ 106702 w 4519987"/>
                  <a:gd name="connsiteY103" fmla="*/ 1590675 h 4496940"/>
                  <a:gd name="connsiteX104" fmla="*/ 135277 w 4519987"/>
                  <a:gd name="connsiteY104" fmla="*/ 1504950 h 4496940"/>
                  <a:gd name="connsiteX105" fmla="*/ 154327 w 4519987"/>
                  <a:gd name="connsiteY105" fmla="*/ 1419225 h 4496940"/>
                  <a:gd name="connsiteX106" fmla="*/ 230527 w 4519987"/>
                  <a:gd name="connsiteY106" fmla="*/ 1276350 h 4496940"/>
                  <a:gd name="connsiteX107" fmla="*/ 240052 w 4519987"/>
                  <a:gd name="connsiteY107" fmla="*/ 1247775 h 4496940"/>
                  <a:gd name="connsiteX108" fmla="*/ 268627 w 4519987"/>
                  <a:gd name="connsiteY108" fmla="*/ 1200150 h 4496940"/>
                  <a:gd name="connsiteX109" fmla="*/ 287677 w 4519987"/>
                  <a:gd name="connsiteY109" fmla="*/ 1152525 h 4496940"/>
                  <a:gd name="connsiteX110" fmla="*/ 316252 w 4519987"/>
                  <a:gd name="connsiteY110" fmla="*/ 1114425 h 4496940"/>
                  <a:gd name="connsiteX111" fmla="*/ 363877 w 4519987"/>
                  <a:gd name="connsiteY111" fmla="*/ 1038225 h 4496940"/>
                  <a:gd name="connsiteX112" fmla="*/ 382927 w 4519987"/>
                  <a:gd name="connsiteY112" fmla="*/ 1009650 h 4496940"/>
                  <a:gd name="connsiteX113" fmla="*/ 440077 w 4519987"/>
                  <a:gd name="connsiteY113" fmla="*/ 904875 h 4496940"/>
                  <a:gd name="connsiteX114" fmla="*/ 478177 w 4519987"/>
                  <a:gd name="connsiteY114" fmla="*/ 857250 h 4496940"/>
                  <a:gd name="connsiteX115" fmla="*/ 497227 w 4519987"/>
                  <a:gd name="connsiteY115" fmla="*/ 828675 h 4496940"/>
                  <a:gd name="connsiteX116" fmla="*/ 535327 w 4519987"/>
                  <a:gd name="connsiteY116" fmla="*/ 800100 h 4496940"/>
                  <a:gd name="connsiteX117" fmla="*/ 602002 w 4519987"/>
                  <a:gd name="connsiteY117" fmla="*/ 733425 h 4496940"/>
                  <a:gd name="connsiteX118" fmla="*/ 668677 w 4519987"/>
                  <a:gd name="connsiteY118" fmla="*/ 676275 h 4496940"/>
                  <a:gd name="connsiteX119" fmla="*/ 697252 w 4519987"/>
                  <a:gd name="connsiteY119" fmla="*/ 657225 h 4496940"/>
                  <a:gd name="connsiteX120" fmla="*/ 840127 w 4519987"/>
                  <a:gd name="connsiteY120" fmla="*/ 533400 h 4496940"/>
                  <a:gd name="connsiteX121" fmla="*/ 887752 w 4519987"/>
                  <a:gd name="connsiteY121" fmla="*/ 504825 h 4496940"/>
                  <a:gd name="connsiteX122" fmla="*/ 1167152 w 4519987"/>
                  <a:gd name="connsiteY122" fmla="*/ 311150 h 4496940"/>
                  <a:gd name="connsiteX123" fmla="*/ 1268752 w 4519987"/>
                  <a:gd name="connsiteY123" fmla="*/ 285750 h 4496940"/>
                  <a:gd name="connsiteX124" fmla="*/ 1411627 w 4519987"/>
                  <a:gd name="connsiteY124" fmla="*/ 190500 h 4496940"/>
                  <a:gd name="connsiteX125" fmla="*/ 1449727 w 4519987"/>
                  <a:gd name="connsiteY125" fmla="*/ 161925 h 4496940"/>
                  <a:gd name="connsiteX126" fmla="*/ 1525927 w 4519987"/>
                  <a:gd name="connsiteY126" fmla="*/ 152400 h 4496940"/>
                  <a:gd name="connsiteX127" fmla="*/ 1583077 w 4519987"/>
                  <a:gd name="connsiteY127" fmla="*/ 142875 h 4496940"/>
                  <a:gd name="connsiteX128" fmla="*/ 1716427 w 4519987"/>
                  <a:gd name="connsiteY128" fmla="*/ 123825 h 4496940"/>
                  <a:gd name="connsiteX129" fmla="*/ 1811677 w 4519987"/>
                  <a:gd name="connsiteY129" fmla="*/ 114300 h 4496940"/>
                  <a:gd name="connsiteX130" fmla="*/ 1859302 w 4519987"/>
                  <a:gd name="connsiteY130" fmla="*/ 104775 h 4496940"/>
                  <a:gd name="connsiteX131" fmla="*/ 1916452 w 4519987"/>
                  <a:gd name="connsiteY131" fmla="*/ 95250 h 4496940"/>
                  <a:gd name="connsiteX132" fmla="*/ 2030752 w 4519987"/>
                  <a:gd name="connsiteY132" fmla="*/ 66675 h 4496940"/>
                  <a:gd name="connsiteX133" fmla="*/ 2097427 w 4519987"/>
                  <a:gd name="connsiteY133" fmla="*/ 47625 h 4496940"/>
                  <a:gd name="connsiteX134" fmla="*/ 2164102 w 4519987"/>
                  <a:gd name="connsiteY134" fmla="*/ 38100 h 4496940"/>
                  <a:gd name="connsiteX135" fmla="*/ 2392702 w 4519987"/>
                  <a:gd name="connsiteY13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678577 w 4519987"/>
                  <a:gd name="connsiteY40" fmla="*/ 3848100 h 4496940"/>
                  <a:gd name="connsiteX41" fmla="*/ 3659527 w 4519987"/>
                  <a:gd name="connsiteY41" fmla="*/ 3971925 h 4496940"/>
                  <a:gd name="connsiteX42" fmla="*/ 3630952 w 4519987"/>
                  <a:gd name="connsiteY42" fmla="*/ 4010025 h 4496940"/>
                  <a:gd name="connsiteX43" fmla="*/ 3621427 w 4519987"/>
                  <a:gd name="connsiteY43" fmla="*/ 4038600 h 4496940"/>
                  <a:gd name="connsiteX44" fmla="*/ 3554752 w 4519987"/>
                  <a:gd name="connsiteY44" fmla="*/ 4095750 h 4496940"/>
                  <a:gd name="connsiteX45" fmla="*/ 3516652 w 4519987"/>
                  <a:gd name="connsiteY45" fmla="*/ 4114800 h 4496940"/>
                  <a:gd name="connsiteX46" fmla="*/ 3497602 w 4519987"/>
                  <a:gd name="connsiteY46" fmla="*/ 4143375 h 4496940"/>
                  <a:gd name="connsiteX47" fmla="*/ 3383302 w 4519987"/>
                  <a:gd name="connsiteY47" fmla="*/ 4210050 h 4496940"/>
                  <a:gd name="connsiteX48" fmla="*/ 3335677 w 4519987"/>
                  <a:gd name="connsiteY48" fmla="*/ 4238625 h 4496940"/>
                  <a:gd name="connsiteX49" fmla="*/ 3288052 w 4519987"/>
                  <a:gd name="connsiteY49" fmla="*/ 4248150 h 4496940"/>
                  <a:gd name="connsiteX50" fmla="*/ 3240427 w 4519987"/>
                  <a:gd name="connsiteY50" fmla="*/ 4267200 h 4496940"/>
                  <a:gd name="connsiteX51" fmla="*/ 3068977 w 4519987"/>
                  <a:gd name="connsiteY51" fmla="*/ 4286250 h 4496940"/>
                  <a:gd name="connsiteX52" fmla="*/ 2935627 w 4519987"/>
                  <a:gd name="connsiteY52" fmla="*/ 4333875 h 4496940"/>
                  <a:gd name="connsiteX53" fmla="*/ 2811802 w 4519987"/>
                  <a:gd name="connsiteY53" fmla="*/ 4371975 h 4496940"/>
                  <a:gd name="connsiteX54" fmla="*/ 2745127 w 4519987"/>
                  <a:gd name="connsiteY54" fmla="*/ 4410075 h 4496940"/>
                  <a:gd name="connsiteX55" fmla="*/ 2697502 w 4519987"/>
                  <a:gd name="connsiteY55" fmla="*/ 4429125 h 4496940"/>
                  <a:gd name="connsiteX56" fmla="*/ 2640352 w 4519987"/>
                  <a:gd name="connsiteY56" fmla="*/ 4457700 h 4496940"/>
                  <a:gd name="connsiteX57" fmla="*/ 2583202 w 4519987"/>
                  <a:gd name="connsiteY57" fmla="*/ 4467225 h 4496940"/>
                  <a:gd name="connsiteX58" fmla="*/ 2545102 w 4519987"/>
                  <a:gd name="connsiteY58" fmla="*/ 4486275 h 4496940"/>
                  <a:gd name="connsiteX59" fmla="*/ 2306977 w 4519987"/>
                  <a:gd name="connsiteY59" fmla="*/ 4476750 h 4496940"/>
                  <a:gd name="connsiteX60" fmla="*/ 2202202 w 4519987"/>
                  <a:gd name="connsiteY60" fmla="*/ 4457700 h 4496940"/>
                  <a:gd name="connsiteX61" fmla="*/ 2126002 w 4519987"/>
                  <a:gd name="connsiteY61" fmla="*/ 4429125 h 4496940"/>
                  <a:gd name="connsiteX62" fmla="*/ 1935502 w 4519987"/>
                  <a:gd name="connsiteY62" fmla="*/ 4400550 h 4496940"/>
                  <a:gd name="connsiteX63" fmla="*/ 1821202 w 4519987"/>
                  <a:gd name="connsiteY63" fmla="*/ 4371975 h 4496940"/>
                  <a:gd name="connsiteX64" fmla="*/ 1754527 w 4519987"/>
                  <a:gd name="connsiteY64" fmla="*/ 4352925 h 4496940"/>
                  <a:gd name="connsiteX65" fmla="*/ 1687852 w 4519987"/>
                  <a:gd name="connsiteY65" fmla="*/ 4343400 h 4496940"/>
                  <a:gd name="connsiteX66" fmla="*/ 1573552 w 4519987"/>
                  <a:gd name="connsiteY66" fmla="*/ 4305300 h 4496940"/>
                  <a:gd name="connsiteX67" fmla="*/ 1402102 w 4519987"/>
                  <a:gd name="connsiteY67" fmla="*/ 4276725 h 4496940"/>
                  <a:gd name="connsiteX68" fmla="*/ 1287802 w 4519987"/>
                  <a:gd name="connsiteY68" fmla="*/ 4229100 h 4496940"/>
                  <a:gd name="connsiteX69" fmla="*/ 1221127 w 4519987"/>
                  <a:gd name="connsiteY69" fmla="*/ 4200525 h 4496940"/>
                  <a:gd name="connsiteX70" fmla="*/ 1144927 w 4519987"/>
                  <a:gd name="connsiteY70" fmla="*/ 4171950 h 4496940"/>
                  <a:gd name="connsiteX71" fmla="*/ 1087777 w 4519987"/>
                  <a:gd name="connsiteY71" fmla="*/ 4143375 h 4496940"/>
                  <a:gd name="connsiteX72" fmla="*/ 1030627 w 4519987"/>
                  <a:gd name="connsiteY72" fmla="*/ 4124325 h 4496940"/>
                  <a:gd name="connsiteX73" fmla="*/ 925852 w 4519987"/>
                  <a:gd name="connsiteY73" fmla="*/ 4067175 h 4496940"/>
                  <a:gd name="connsiteX74" fmla="*/ 830602 w 4519987"/>
                  <a:gd name="connsiteY74" fmla="*/ 3981450 h 4496940"/>
                  <a:gd name="connsiteX75" fmla="*/ 763927 w 4519987"/>
                  <a:gd name="connsiteY75" fmla="*/ 3914775 h 4496940"/>
                  <a:gd name="connsiteX76" fmla="*/ 725827 w 4519987"/>
                  <a:gd name="connsiteY76" fmla="*/ 3876675 h 4496940"/>
                  <a:gd name="connsiteX77" fmla="*/ 697252 w 4519987"/>
                  <a:gd name="connsiteY77" fmla="*/ 3838575 h 4496940"/>
                  <a:gd name="connsiteX78" fmla="*/ 640102 w 4519987"/>
                  <a:gd name="connsiteY78" fmla="*/ 3781425 h 4496940"/>
                  <a:gd name="connsiteX79" fmla="*/ 611527 w 4519987"/>
                  <a:gd name="connsiteY79" fmla="*/ 3733800 h 4496940"/>
                  <a:gd name="connsiteX80" fmla="*/ 554377 w 4519987"/>
                  <a:gd name="connsiteY80" fmla="*/ 3657600 h 4496940"/>
                  <a:gd name="connsiteX81" fmla="*/ 525802 w 4519987"/>
                  <a:gd name="connsiteY81" fmla="*/ 3609975 h 4496940"/>
                  <a:gd name="connsiteX82" fmla="*/ 497227 w 4519987"/>
                  <a:gd name="connsiteY82" fmla="*/ 3552825 h 4496940"/>
                  <a:gd name="connsiteX83" fmla="*/ 440077 w 4519987"/>
                  <a:gd name="connsiteY83" fmla="*/ 3495675 h 4496940"/>
                  <a:gd name="connsiteX84" fmla="*/ 411502 w 4519987"/>
                  <a:gd name="connsiteY84" fmla="*/ 3448050 h 4496940"/>
                  <a:gd name="connsiteX85" fmla="*/ 278152 w 4519987"/>
                  <a:gd name="connsiteY85" fmla="*/ 3257550 h 4496940"/>
                  <a:gd name="connsiteX86" fmla="*/ 249577 w 4519987"/>
                  <a:gd name="connsiteY86" fmla="*/ 3200400 h 4496940"/>
                  <a:gd name="connsiteX87" fmla="*/ 240052 w 4519987"/>
                  <a:gd name="connsiteY87" fmla="*/ 3162300 h 4496940"/>
                  <a:gd name="connsiteX88" fmla="*/ 221002 w 4519987"/>
                  <a:gd name="connsiteY88" fmla="*/ 3105150 h 4496940"/>
                  <a:gd name="connsiteX89" fmla="*/ 173377 w 4519987"/>
                  <a:gd name="connsiteY89" fmla="*/ 3019425 h 4496940"/>
                  <a:gd name="connsiteX90" fmla="*/ 144802 w 4519987"/>
                  <a:gd name="connsiteY90" fmla="*/ 2924175 h 4496940"/>
                  <a:gd name="connsiteX91" fmla="*/ 68602 w 4519987"/>
                  <a:gd name="connsiteY91" fmla="*/ 2724150 h 4496940"/>
                  <a:gd name="connsiteX92" fmla="*/ 49552 w 4519987"/>
                  <a:gd name="connsiteY92" fmla="*/ 2638425 h 4496940"/>
                  <a:gd name="connsiteX93" fmla="*/ 40027 w 4519987"/>
                  <a:gd name="connsiteY93" fmla="*/ 2562225 h 4496940"/>
                  <a:gd name="connsiteX94" fmla="*/ 30502 w 4519987"/>
                  <a:gd name="connsiteY94" fmla="*/ 2514600 h 4496940"/>
                  <a:gd name="connsiteX95" fmla="*/ 11452 w 4519987"/>
                  <a:gd name="connsiteY95" fmla="*/ 2400300 h 4496940"/>
                  <a:gd name="connsiteX96" fmla="*/ 20977 w 4519987"/>
                  <a:gd name="connsiteY96" fmla="*/ 1905000 h 4496940"/>
                  <a:gd name="connsiteX97" fmla="*/ 30502 w 4519987"/>
                  <a:gd name="connsiteY97" fmla="*/ 1838325 h 4496940"/>
                  <a:gd name="connsiteX98" fmla="*/ 49552 w 4519987"/>
                  <a:gd name="connsiteY98" fmla="*/ 1781175 h 4496940"/>
                  <a:gd name="connsiteX99" fmla="*/ 59077 w 4519987"/>
                  <a:gd name="connsiteY99" fmla="*/ 1743075 h 4496940"/>
                  <a:gd name="connsiteX100" fmla="*/ 78127 w 4519987"/>
                  <a:gd name="connsiteY100" fmla="*/ 1685925 h 4496940"/>
                  <a:gd name="connsiteX101" fmla="*/ 87652 w 4519987"/>
                  <a:gd name="connsiteY101" fmla="*/ 1638300 h 4496940"/>
                  <a:gd name="connsiteX102" fmla="*/ 106702 w 4519987"/>
                  <a:gd name="connsiteY102" fmla="*/ 1590675 h 4496940"/>
                  <a:gd name="connsiteX103" fmla="*/ 135277 w 4519987"/>
                  <a:gd name="connsiteY103" fmla="*/ 1504950 h 4496940"/>
                  <a:gd name="connsiteX104" fmla="*/ 154327 w 4519987"/>
                  <a:gd name="connsiteY104" fmla="*/ 1419225 h 4496940"/>
                  <a:gd name="connsiteX105" fmla="*/ 230527 w 4519987"/>
                  <a:gd name="connsiteY105" fmla="*/ 1276350 h 4496940"/>
                  <a:gd name="connsiteX106" fmla="*/ 240052 w 4519987"/>
                  <a:gd name="connsiteY106" fmla="*/ 1247775 h 4496940"/>
                  <a:gd name="connsiteX107" fmla="*/ 268627 w 4519987"/>
                  <a:gd name="connsiteY107" fmla="*/ 1200150 h 4496940"/>
                  <a:gd name="connsiteX108" fmla="*/ 287677 w 4519987"/>
                  <a:gd name="connsiteY108" fmla="*/ 1152525 h 4496940"/>
                  <a:gd name="connsiteX109" fmla="*/ 316252 w 4519987"/>
                  <a:gd name="connsiteY109" fmla="*/ 1114425 h 4496940"/>
                  <a:gd name="connsiteX110" fmla="*/ 363877 w 4519987"/>
                  <a:gd name="connsiteY110" fmla="*/ 1038225 h 4496940"/>
                  <a:gd name="connsiteX111" fmla="*/ 382927 w 4519987"/>
                  <a:gd name="connsiteY111" fmla="*/ 1009650 h 4496940"/>
                  <a:gd name="connsiteX112" fmla="*/ 440077 w 4519987"/>
                  <a:gd name="connsiteY112" fmla="*/ 904875 h 4496940"/>
                  <a:gd name="connsiteX113" fmla="*/ 478177 w 4519987"/>
                  <a:gd name="connsiteY113" fmla="*/ 857250 h 4496940"/>
                  <a:gd name="connsiteX114" fmla="*/ 497227 w 4519987"/>
                  <a:gd name="connsiteY114" fmla="*/ 828675 h 4496940"/>
                  <a:gd name="connsiteX115" fmla="*/ 535327 w 4519987"/>
                  <a:gd name="connsiteY115" fmla="*/ 800100 h 4496940"/>
                  <a:gd name="connsiteX116" fmla="*/ 602002 w 4519987"/>
                  <a:gd name="connsiteY116" fmla="*/ 733425 h 4496940"/>
                  <a:gd name="connsiteX117" fmla="*/ 668677 w 4519987"/>
                  <a:gd name="connsiteY117" fmla="*/ 676275 h 4496940"/>
                  <a:gd name="connsiteX118" fmla="*/ 697252 w 4519987"/>
                  <a:gd name="connsiteY118" fmla="*/ 657225 h 4496940"/>
                  <a:gd name="connsiteX119" fmla="*/ 840127 w 4519987"/>
                  <a:gd name="connsiteY119" fmla="*/ 533400 h 4496940"/>
                  <a:gd name="connsiteX120" fmla="*/ 887752 w 4519987"/>
                  <a:gd name="connsiteY120" fmla="*/ 504825 h 4496940"/>
                  <a:gd name="connsiteX121" fmla="*/ 1167152 w 4519987"/>
                  <a:gd name="connsiteY121" fmla="*/ 311150 h 4496940"/>
                  <a:gd name="connsiteX122" fmla="*/ 1268752 w 4519987"/>
                  <a:gd name="connsiteY122" fmla="*/ 285750 h 4496940"/>
                  <a:gd name="connsiteX123" fmla="*/ 1411627 w 4519987"/>
                  <a:gd name="connsiteY123" fmla="*/ 190500 h 4496940"/>
                  <a:gd name="connsiteX124" fmla="*/ 1449727 w 4519987"/>
                  <a:gd name="connsiteY124" fmla="*/ 161925 h 4496940"/>
                  <a:gd name="connsiteX125" fmla="*/ 1525927 w 4519987"/>
                  <a:gd name="connsiteY125" fmla="*/ 152400 h 4496940"/>
                  <a:gd name="connsiteX126" fmla="*/ 1583077 w 4519987"/>
                  <a:gd name="connsiteY126" fmla="*/ 142875 h 4496940"/>
                  <a:gd name="connsiteX127" fmla="*/ 1716427 w 4519987"/>
                  <a:gd name="connsiteY127" fmla="*/ 123825 h 4496940"/>
                  <a:gd name="connsiteX128" fmla="*/ 1811677 w 4519987"/>
                  <a:gd name="connsiteY128" fmla="*/ 114300 h 4496940"/>
                  <a:gd name="connsiteX129" fmla="*/ 1859302 w 4519987"/>
                  <a:gd name="connsiteY129" fmla="*/ 104775 h 4496940"/>
                  <a:gd name="connsiteX130" fmla="*/ 1916452 w 4519987"/>
                  <a:gd name="connsiteY130" fmla="*/ 95250 h 4496940"/>
                  <a:gd name="connsiteX131" fmla="*/ 2030752 w 4519987"/>
                  <a:gd name="connsiteY131" fmla="*/ 66675 h 4496940"/>
                  <a:gd name="connsiteX132" fmla="*/ 2097427 w 4519987"/>
                  <a:gd name="connsiteY132" fmla="*/ 47625 h 4496940"/>
                  <a:gd name="connsiteX133" fmla="*/ 2164102 w 4519987"/>
                  <a:gd name="connsiteY133" fmla="*/ 38100 h 4496940"/>
                  <a:gd name="connsiteX134" fmla="*/ 2392702 w 4519987"/>
                  <a:gd name="connsiteY13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659527 w 4519987"/>
                  <a:gd name="connsiteY40" fmla="*/ 3971925 h 4496940"/>
                  <a:gd name="connsiteX41" fmla="*/ 3630952 w 4519987"/>
                  <a:gd name="connsiteY41" fmla="*/ 4010025 h 4496940"/>
                  <a:gd name="connsiteX42" fmla="*/ 3621427 w 4519987"/>
                  <a:gd name="connsiteY42" fmla="*/ 4038600 h 4496940"/>
                  <a:gd name="connsiteX43" fmla="*/ 3554752 w 4519987"/>
                  <a:gd name="connsiteY43" fmla="*/ 4095750 h 4496940"/>
                  <a:gd name="connsiteX44" fmla="*/ 3516652 w 4519987"/>
                  <a:gd name="connsiteY44" fmla="*/ 4114800 h 4496940"/>
                  <a:gd name="connsiteX45" fmla="*/ 3497602 w 4519987"/>
                  <a:gd name="connsiteY45" fmla="*/ 4143375 h 4496940"/>
                  <a:gd name="connsiteX46" fmla="*/ 3383302 w 4519987"/>
                  <a:gd name="connsiteY46" fmla="*/ 4210050 h 4496940"/>
                  <a:gd name="connsiteX47" fmla="*/ 3335677 w 4519987"/>
                  <a:gd name="connsiteY47" fmla="*/ 4238625 h 4496940"/>
                  <a:gd name="connsiteX48" fmla="*/ 3288052 w 4519987"/>
                  <a:gd name="connsiteY48" fmla="*/ 4248150 h 4496940"/>
                  <a:gd name="connsiteX49" fmla="*/ 3240427 w 4519987"/>
                  <a:gd name="connsiteY49" fmla="*/ 4267200 h 4496940"/>
                  <a:gd name="connsiteX50" fmla="*/ 3068977 w 4519987"/>
                  <a:gd name="connsiteY50" fmla="*/ 4286250 h 4496940"/>
                  <a:gd name="connsiteX51" fmla="*/ 2935627 w 4519987"/>
                  <a:gd name="connsiteY51" fmla="*/ 4333875 h 4496940"/>
                  <a:gd name="connsiteX52" fmla="*/ 2811802 w 4519987"/>
                  <a:gd name="connsiteY52" fmla="*/ 4371975 h 4496940"/>
                  <a:gd name="connsiteX53" fmla="*/ 2745127 w 4519987"/>
                  <a:gd name="connsiteY53" fmla="*/ 4410075 h 4496940"/>
                  <a:gd name="connsiteX54" fmla="*/ 2697502 w 4519987"/>
                  <a:gd name="connsiteY54" fmla="*/ 4429125 h 4496940"/>
                  <a:gd name="connsiteX55" fmla="*/ 2640352 w 4519987"/>
                  <a:gd name="connsiteY55" fmla="*/ 4457700 h 4496940"/>
                  <a:gd name="connsiteX56" fmla="*/ 2583202 w 4519987"/>
                  <a:gd name="connsiteY56" fmla="*/ 4467225 h 4496940"/>
                  <a:gd name="connsiteX57" fmla="*/ 2545102 w 4519987"/>
                  <a:gd name="connsiteY57" fmla="*/ 4486275 h 4496940"/>
                  <a:gd name="connsiteX58" fmla="*/ 2306977 w 4519987"/>
                  <a:gd name="connsiteY58" fmla="*/ 4476750 h 4496940"/>
                  <a:gd name="connsiteX59" fmla="*/ 2202202 w 4519987"/>
                  <a:gd name="connsiteY59" fmla="*/ 4457700 h 4496940"/>
                  <a:gd name="connsiteX60" fmla="*/ 2126002 w 4519987"/>
                  <a:gd name="connsiteY60" fmla="*/ 4429125 h 4496940"/>
                  <a:gd name="connsiteX61" fmla="*/ 1935502 w 4519987"/>
                  <a:gd name="connsiteY61" fmla="*/ 4400550 h 4496940"/>
                  <a:gd name="connsiteX62" fmla="*/ 1821202 w 4519987"/>
                  <a:gd name="connsiteY62" fmla="*/ 4371975 h 4496940"/>
                  <a:gd name="connsiteX63" fmla="*/ 1754527 w 4519987"/>
                  <a:gd name="connsiteY63" fmla="*/ 4352925 h 4496940"/>
                  <a:gd name="connsiteX64" fmla="*/ 1687852 w 4519987"/>
                  <a:gd name="connsiteY64" fmla="*/ 4343400 h 4496940"/>
                  <a:gd name="connsiteX65" fmla="*/ 1573552 w 4519987"/>
                  <a:gd name="connsiteY65" fmla="*/ 4305300 h 4496940"/>
                  <a:gd name="connsiteX66" fmla="*/ 1402102 w 4519987"/>
                  <a:gd name="connsiteY66" fmla="*/ 4276725 h 4496940"/>
                  <a:gd name="connsiteX67" fmla="*/ 1287802 w 4519987"/>
                  <a:gd name="connsiteY67" fmla="*/ 4229100 h 4496940"/>
                  <a:gd name="connsiteX68" fmla="*/ 1221127 w 4519987"/>
                  <a:gd name="connsiteY68" fmla="*/ 4200525 h 4496940"/>
                  <a:gd name="connsiteX69" fmla="*/ 1144927 w 4519987"/>
                  <a:gd name="connsiteY69" fmla="*/ 4171950 h 4496940"/>
                  <a:gd name="connsiteX70" fmla="*/ 1087777 w 4519987"/>
                  <a:gd name="connsiteY70" fmla="*/ 4143375 h 4496940"/>
                  <a:gd name="connsiteX71" fmla="*/ 1030627 w 4519987"/>
                  <a:gd name="connsiteY71" fmla="*/ 4124325 h 4496940"/>
                  <a:gd name="connsiteX72" fmla="*/ 925852 w 4519987"/>
                  <a:gd name="connsiteY72" fmla="*/ 4067175 h 4496940"/>
                  <a:gd name="connsiteX73" fmla="*/ 830602 w 4519987"/>
                  <a:gd name="connsiteY73" fmla="*/ 3981450 h 4496940"/>
                  <a:gd name="connsiteX74" fmla="*/ 763927 w 4519987"/>
                  <a:gd name="connsiteY74" fmla="*/ 3914775 h 4496940"/>
                  <a:gd name="connsiteX75" fmla="*/ 725827 w 4519987"/>
                  <a:gd name="connsiteY75" fmla="*/ 3876675 h 4496940"/>
                  <a:gd name="connsiteX76" fmla="*/ 697252 w 4519987"/>
                  <a:gd name="connsiteY76" fmla="*/ 3838575 h 4496940"/>
                  <a:gd name="connsiteX77" fmla="*/ 640102 w 4519987"/>
                  <a:gd name="connsiteY77" fmla="*/ 3781425 h 4496940"/>
                  <a:gd name="connsiteX78" fmla="*/ 611527 w 4519987"/>
                  <a:gd name="connsiteY78" fmla="*/ 3733800 h 4496940"/>
                  <a:gd name="connsiteX79" fmla="*/ 554377 w 4519987"/>
                  <a:gd name="connsiteY79" fmla="*/ 3657600 h 4496940"/>
                  <a:gd name="connsiteX80" fmla="*/ 525802 w 4519987"/>
                  <a:gd name="connsiteY80" fmla="*/ 3609975 h 4496940"/>
                  <a:gd name="connsiteX81" fmla="*/ 497227 w 4519987"/>
                  <a:gd name="connsiteY81" fmla="*/ 3552825 h 4496940"/>
                  <a:gd name="connsiteX82" fmla="*/ 440077 w 4519987"/>
                  <a:gd name="connsiteY82" fmla="*/ 3495675 h 4496940"/>
                  <a:gd name="connsiteX83" fmla="*/ 411502 w 4519987"/>
                  <a:gd name="connsiteY83" fmla="*/ 3448050 h 4496940"/>
                  <a:gd name="connsiteX84" fmla="*/ 278152 w 4519987"/>
                  <a:gd name="connsiteY84" fmla="*/ 3257550 h 4496940"/>
                  <a:gd name="connsiteX85" fmla="*/ 249577 w 4519987"/>
                  <a:gd name="connsiteY85" fmla="*/ 3200400 h 4496940"/>
                  <a:gd name="connsiteX86" fmla="*/ 240052 w 4519987"/>
                  <a:gd name="connsiteY86" fmla="*/ 3162300 h 4496940"/>
                  <a:gd name="connsiteX87" fmla="*/ 221002 w 4519987"/>
                  <a:gd name="connsiteY87" fmla="*/ 3105150 h 4496940"/>
                  <a:gd name="connsiteX88" fmla="*/ 173377 w 4519987"/>
                  <a:gd name="connsiteY88" fmla="*/ 3019425 h 4496940"/>
                  <a:gd name="connsiteX89" fmla="*/ 144802 w 4519987"/>
                  <a:gd name="connsiteY89" fmla="*/ 2924175 h 4496940"/>
                  <a:gd name="connsiteX90" fmla="*/ 68602 w 4519987"/>
                  <a:gd name="connsiteY90" fmla="*/ 2724150 h 4496940"/>
                  <a:gd name="connsiteX91" fmla="*/ 49552 w 4519987"/>
                  <a:gd name="connsiteY91" fmla="*/ 2638425 h 4496940"/>
                  <a:gd name="connsiteX92" fmla="*/ 40027 w 4519987"/>
                  <a:gd name="connsiteY92" fmla="*/ 2562225 h 4496940"/>
                  <a:gd name="connsiteX93" fmla="*/ 30502 w 4519987"/>
                  <a:gd name="connsiteY93" fmla="*/ 2514600 h 4496940"/>
                  <a:gd name="connsiteX94" fmla="*/ 11452 w 4519987"/>
                  <a:gd name="connsiteY94" fmla="*/ 2400300 h 4496940"/>
                  <a:gd name="connsiteX95" fmla="*/ 20977 w 4519987"/>
                  <a:gd name="connsiteY95" fmla="*/ 1905000 h 4496940"/>
                  <a:gd name="connsiteX96" fmla="*/ 30502 w 4519987"/>
                  <a:gd name="connsiteY96" fmla="*/ 1838325 h 4496940"/>
                  <a:gd name="connsiteX97" fmla="*/ 49552 w 4519987"/>
                  <a:gd name="connsiteY97" fmla="*/ 1781175 h 4496940"/>
                  <a:gd name="connsiteX98" fmla="*/ 59077 w 4519987"/>
                  <a:gd name="connsiteY98" fmla="*/ 1743075 h 4496940"/>
                  <a:gd name="connsiteX99" fmla="*/ 78127 w 4519987"/>
                  <a:gd name="connsiteY99" fmla="*/ 1685925 h 4496940"/>
                  <a:gd name="connsiteX100" fmla="*/ 87652 w 4519987"/>
                  <a:gd name="connsiteY100" fmla="*/ 1638300 h 4496940"/>
                  <a:gd name="connsiteX101" fmla="*/ 106702 w 4519987"/>
                  <a:gd name="connsiteY101" fmla="*/ 1590675 h 4496940"/>
                  <a:gd name="connsiteX102" fmla="*/ 135277 w 4519987"/>
                  <a:gd name="connsiteY102" fmla="*/ 1504950 h 4496940"/>
                  <a:gd name="connsiteX103" fmla="*/ 154327 w 4519987"/>
                  <a:gd name="connsiteY103" fmla="*/ 1419225 h 4496940"/>
                  <a:gd name="connsiteX104" fmla="*/ 230527 w 4519987"/>
                  <a:gd name="connsiteY104" fmla="*/ 1276350 h 4496940"/>
                  <a:gd name="connsiteX105" fmla="*/ 240052 w 4519987"/>
                  <a:gd name="connsiteY105" fmla="*/ 1247775 h 4496940"/>
                  <a:gd name="connsiteX106" fmla="*/ 268627 w 4519987"/>
                  <a:gd name="connsiteY106" fmla="*/ 1200150 h 4496940"/>
                  <a:gd name="connsiteX107" fmla="*/ 287677 w 4519987"/>
                  <a:gd name="connsiteY107" fmla="*/ 1152525 h 4496940"/>
                  <a:gd name="connsiteX108" fmla="*/ 316252 w 4519987"/>
                  <a:gd name="connsiteY108" fmla="*/ 1114425 h 4496940"/>
                  <a:gd name="connsiteX109" fmla="*/ 363877 w 4519987"/>
                  <a:gd name="connsiteY109" fmla="*/ 1038225 h 4496940"/>
                  <a:gd name="connsiteX110" fmla="*/ 382927 w 4519987"/>
                  <a:gd name="connsiteY110" fmla="*/ 1009650 h 4496940"/>
                  <a:gd name="connsiteX111" fmla="*/ 440077 w 4519987"/>
                  <a:gd name="connsiteY111" fmla="*/ 904875 h 4496940"/>
                  <a:gd name="connsiteX112" fmla="*/ 478177 w 4519987"/>
                  <a:gd name="connsiteY112" fmla="*/ 857250 h 4496940"/>
                  <a:gd name="connsiteX113" fmla="*/ 497227 w 4519987"/>
                  <a:gd name="connsiteY113" fmla="*/ 828675 h 4496940"/>
                  <a:gd name="connsiteX114" fmla="*/ 535327 w 4519987"/>
                  <a:gd name="connsiteY114" fmla="*/ 800100 h 4496940"/>
                  <a:gd name="connsiteX115" fmla="*/ 602002 w 4519987"/>
                  <a:gd name="connsiteY115" fmla="*/ 733425 h 4496940"/>
                  <a:gd name="connsiteX116" fmla="*/ 668677 w 4519987"/>
                  <a:gd name="connsiteY116" fmla="*/ 676275 h 4496940"/>
                  <a:gd name="connsiteX117" fmla="*/ 697252 w 4519987"/>
                  <a:gd name="connsiteY117" fmla="*/ 657225 h 4496940"/>
                  <a:gd name="connsiteX118" fmla="*/ 840127 w 4519987"/>
                  <a:gd name="connsiteY118" fmla="*/ 533400 h 4496940"/>
                  <a:gd name="connsiteX119" fmla="*/ 887752 w 4519987"/>
                  <a:gd name="connsiteY119" fmla="*/ 504825 h 4496940"/>
                  <a:gd name="connsiteX120" fmla="*/ 1167152 w 4519987"/>
                  <a:gd name="connsiteY120" fmla="*/ 311150 h 4496940"/>
                  <a:gd name="connsiteX121" fmla="*/ 1268752 w 4519987"/>
                  <a:gd name="connsiteY121" fmla="*/ 285750 h 4496940"/>
                  <a:gd name="connsiteX122" fmla="*/ 1411627 w 4519987"/>
                  <a:gd name="connsiteY122" fmla="*/ 190500 h 4496940"/>
                  <a:gd name="connsiteX123" fmla="*/ 1449727 w 4519987"/>
                  <a:gd name="connsiteY123" fmla="*/ 161925 h 4496940"/>
                  <a:gd name="connsiteX124" fmla="*/ 1525927 w 4519987"/>
                  <a:gd name="connsiteY124" fmla="*/ 152400 h 4496940"/>
                  <a:gd name="connsiteX125" fmla="*/ 1583077 w 4519987"/>
                  <a:gd name="connsiteY125" fmla="*/ 142875 h 4496940"/>
                  <a:gd name="connsiteX126" fmla="*/ 1716427 w 4519987"/>
                  <a:gd name="connsiteY126" fmla="*/ 123825 h 4496940"/>
                  <a:gd name="connsiteX127" fmla="*/ 1811677 w 4519987"/>
                  <a:gd name="connsiteY127" fmla="*/ 114300 h 4496940"/>
                  <a:gd name="connsiteX128" fmla="*/ 1859302 w 4519987"/>
                  <a:gd name="connsiteY128" fmla="*/ 104775 h 4496940"/>
                  <a:gd name="connsiteX129" fmla="*/ 1916452 w 4519987"/>
                  <a:gd name="connsiteY129" fmla="*/ 95250 h 4496940"/>
                  <a:gd name="connsiteX130" fmla="*/ 2030752 w 4519987"/>
                  <a:gd name="connsiteY130" fmla="*/ 66675 h 4496940"/>
                  <a:gd name="connsiteX131" fmla="*/ 2097427 w 4519987"/>
                  <a:gd name="connsiteY131" fmla="*/ 47625 h 4496940"/>
                  <a:gd name="connsiteX132" fmla="*/ 2164102 w 4519987"/>
                  <a:gd name="connsiteY132" fmla="*/ 38100 h 4496940"/>
                  <a:gd name="connsiteX133" fmla="*/ 2392702 w 4519987"/>
                  <a:gd name="connsiteY13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659527 w 4519987"/>
                  <a:gd name="connsiteY39" fmla="*/ 3971925 h 4496940"/>
                  <a:gd name="connsiteX40" fmla="*/ 3630952 w 4519987"/>
                  <a:gd name="connsiteY40" fmla="*/ 4010025 h 4496940"/>
                  <a:gd name="connsiteX41" fmla="*/ 3621427 w 4519987"/>
                  <a:gd name="connsiteY41" fmla="*/ 4038600 h 4496940"/>
                  <a:gd name="connsiteX42" fmla="*/ 3554752 w 4519987"/>
                  <a:gd name="connsiteY42" fmla="*/ 4095750 h 4496940"/>
                  <a:gd name="connsiteX43" fmla="*/ 3516652 w 4519987"/>
                  <a:gd name="connsiteY43" fmla="*/ 4114800 h 4496940"/>
                  <a:gd name="connsiteX44" fmla="*/ 3497602 w 4519987"/>
                  <a:gd name="connsiteY44" fmla="*/ 4143375 h 4496940"/>
                  <a:gd name="connsiteX45" fmla="*/ 3383302 w 4519987"/>
                  <a:gd name="connsiteY45" fmla="*/ 4210050 h 4496940"/>
                  <a:gd name="connsiteX46" fmla="*/ 3335677 w 4519987"/>
                  <a:gd name="connsiteY46" fmla="*/ 4238625 h 4496940"/>
                  <a:gd name="connsiteX47" fmla="*/ 3288052 w 4519987"/>
                  <a:gd name="connsiteY47" fmla="*/ 4248150 h 4496940"/>
                  <a:gd name="connsiteX48" fmla="*/ 3240427 w 4519987"/>
                  <a:gd name="connsiteY48" fmla="*/ 4267200 h 4496940"/>
                  <a:gd name="connsiteX49" fmla="*/ 3068977 w 4519987"/>
                  <a:gd name="connsiteY49" fmla="*/ 4286250 h 4496940"/>
                  <a:gd name="connsiteX50" fmla="*/ 2935627 w 4519987"/>
                  <a:gd name="connsiteY50" fmla="*/ 4333875 h 4496940"/>
                  <a:gd name="connsiteX51" fmla="*/ 2811802 w 4519987"/>
                  <a:gd name="connsiteY51" fmla="*/ 4371975 h 4496940"/>
                  <a:gd name="connsiteX52" fmla="*/ 2745127 w 4519987"/>
                  <a:gd name="connsiteY52" fmla="*/ 4410075 h 4496940"/>
                  <a:gd name="connsiteX53" fmla="*/ 2697502 w 4519987"/>
                  <a:gd name="connsiteY53" fmla="*/ 4429125 h 4496940"/>
                  <a:gd name="connsiteX54" fmla="*/ 2640352 w 4519987"/>
                  <a:gd name="connsiteY54" fmla="*/ 4457700 h 4496940"/>
                  <a:gd name="connsiteX55" fmla="*/ 2583202 w 4519987"/>
                  <a:gd name="connsiteY55" fmla="*/ 4467225 h 4496940"/>
                  <a:gd name="connsiteX56" fmla="*/ 2545102 w 4519987"/>
                  <a:gd name="connsiteY56" fmla="*/ 4486275 h 4496940"/>
                  <a:gd name="connsiteX57" fmla="*/ 2306977 w 4519987"/>
                  <a:gd name="connsiteY57" fmla="*/ 4476750 h 4496940"/>
                  <a:gd name="connsiteX58" fmla="*/ 2202202 w 4519987"/>
                  <a:gd name="connsiteY58" fmla="*/ 4457700 h 4496940"/>
                  <a:gd name="connsiteX59" fmla="*/ 2126002 w 4519987"/>
                  <a:gd name="connsiteY59" fmla="*/ 4429125 h 4496940"/>
                  <a:gd name="connsiteX60" fmla="*/ 1935502 w 4519987"/>
                  <a:gd name="connsiteY60" fmla="*/ 4400550 h 4496940"/>
                  <a:gd name="connsiteX61" fmla="*/ 1821202 w 4519987"/>
                  <a:gd name="connsiteY61" fmla="*/ 4371975 h 4496940"/>
                  <a:gd name="connsiteX62" fmla="*/ 1754527 w 4519987"/>
                  <a:gd name="connsiteY62" fmla="*/ 4352925 h 4496940"/>
                  <a:gd name="connsiteX63" fmla="*/ 1687852 w 4519987"/>
                  <a:gd name="connsiteY63" fmla="*/ 4343400 h 4496940"/>
                  <a:gd name="connsiteX64" fmla="*/ 1573552 w 4519987"/>
                  <a:gd name="connsiteY64" fmla="*/ 4305300 h 4496940"/>
                  <a:gd name="connsiteX65" fmla="*/ 1402102 w 4519987"/>
                  <a:gd name="connsiteY65" fmla="*/ 4276725 h 4496940"/>
                  <a:gd name="connsiteX66" fmla="*/ 1287802 w 4519987"/>
                  <a:gd name="connsiteY66" fmla="*/ 4229100 h 4496940"/>
                  <a:gd name="connsiteX67" fmla="*/ 1221127 w 4519987"/>
                  <a:gd name="connsiteY67" fmla="*/ 4200525 h 4496940"/>
                  <a:gd name="connsiteX68" fmla="*/ 1144927 w 4519987"/>
                  <a:gd name="connsiteY68" fmla="*/ 4171950 h 4496940"/>
                  <a:gd name="connsiteX69" fmla="*/ 1087777 w 4519987"/>
                  <a:gd name="connsiteY69" fmla="*/ 4143375 h 4496940"/>
                  <a:gd name="connsiteX70" fmla="*/ 1030627 w 4519987"/>
                  <a:gd name="connsiteY70" fmla="*/ 4124325 h 4496940"/>
                  <a:gd name="connsiteX71" fmla="*/ 925852 w 4519987"/>
                  <a:gd name="connsiteY71" fmla="*/ 4067175 h 4496940"/>
                  <a:gd name="connsiteX72" fmla="*/ 830602 w 4519987"/>
                  <a:gd name="connsiteY72" fmla="*/ 3981450 h 4496940"/>
                  <a:gd name="connsiteX73" fmla="*/ 763927 w 4519987"/>
                  <a:gd name="connsiteY73" fmla="*/ 3914775 h 4496940"/>
                  <a:gd name="connsiteX74" fmla="*/ 725827 w 4519987"/>
                  <a:gd name="connsiteY74" fmla="*/ 3876675 h 4496940"/>
                  <a:gd name="connsiteX75" fmla="*/ 697252 w 4519987"/>
                  <a:gd name="connsiteY75" fmla="*/ 3838575 h 4496940"/>
                  <a:gd name="connsiteX76" fmla="*/ 640102 w 4519987"/>
                  <a:gd name="connsiteY76" fmla="*/ 3781425 h 4496940"/>
                  <a:gd name="connsiteX77" fmla="*/ 611527 w 4519987"/>
                  <a:gd name="connsiteY77" fmla="*/ 3733800 h 4496940"/>
                  <a:gd name="connsiteX78" fmla="*/ 554377 w 4519987"/>
                  <a:gd name="connsiteY78" fmla="*/ 3657600 h 4496940"/>
                  <a:gd name="connsiteX79" fmla="*/ 525802 w 4519987"/>
                  <a:gd name="connsiteY79" fmla="*/ 3609975 h 4496940"/>
                  <a:gd name="connsiteX80" fmla="*/ 497227 w 4519987"/>
                  <a:gd name="connsiteY80" fmla="*/ 3552825 h 4496940"/>
                  <a:gd name="connsiteX81" fmla="*/ 440077 w 4519987"/>
                  <a:gd name="connsiteY81" fmla="*/ 3495675 h 4496940"/>
                  <a:gd name="connsiteX82" fmla="*/ 411502 w 4519987"/>
                  <a:gd name="connsiteY82" fmla="*/ 3448050 h 4496940"/>
                  <a:gd name="connsiteX83" fmla="*/ 278152 w 4519987"/>
                  <a:gd name="connsiteY83" fmla="*/ 3257550 h 4496940"/>
                  <a:gd name="connsiteX84" fmla="*/ 249577 w 4519987"/>
                  <a:gd name="connsiteY84" fmla="*/ 3200400 h 4496940"/>
                  <a:gd name="connsiteX85" fmla="*/ 240052 w 4519987"/>
                  <a:gd name="connsiteY85" fmla="*/ 3162300 h 4496940"/>
                  <a:gd name="connsiteX86" fmla="*/ 221002 w 4519987"/>
                  <a:gd name="connsiteY86" fmla="*/ 3105150 h 4496940"/>
                  <a:gd name="connsiteX87" fmla="*/ 173377 w 4519987"/>
                  <a:gd name="connsiteY87" fmla="*/ 3019425 h 4496940"/>
                  <a:gd name="connsiteX88" fmla="*/ 144802 w 4519987"/>
                  <a:gd name="connsiteY88" fmla="*/ 2924175 h 4496940"/>
                  <a:gd name="connsiteX89" fmla="*/ 68602 w 4519987"/>
                  <a:gd name="connsiteY89" fmla="*/ 2724150 h 4496940"/>
                  <a:gd name="connsiteX90" fmla="*/ 49552 w 4519987"/>
                  <a:gd name="connsiteY90" fmla="*/ 2638425 h 4496940"/>
                  <a:gd name="connsiteX91" fmla="*/ 40027 w 4519987"/>
                  <a:gd name="connsiteY91" fmla="*/ 2562225 h 4496940"/>
                  <a:gd name="connsiteX92" fmla="*/ 30502 w 4519987"/>
                  <a:gd name="connsiteY92" fmla="*/ 2514600 h 4496940"/>
                  <a:gd name="connsiteX93" fmla="*/ 11452 w 4519987"/>
                  <a:gd name="connsiteY93" fmla="*/ 2400300 h 4496940"/>
                  <a:gd name="connsiteX94" fmla="*/ 20977 w 4519987"/>
                  <a:gd name="connsiteY94" fmla="*/ 1905000 h 4496940"/>
                  <a:gd name="connsiteX95" fmla="*/ 30502 w 4519987"/>
                  <a:gd name="connsiteY95" fmla="*/ 1838325 h 4496940"/>
                  <a:gd name="connsiteX96" fmla="*/ 49552 w 4519987"/>
                  <a:gd name="connsiteY96" fmla="*/ 1781175 h 4496940"/>
                  <a:gd name="connsiteX97" fmla="*/ 59077 w 4519987"/>
                  <a:gd name="connsiteY97" fmla="*/ 1743075 h 4496940"/>
                  <a:gd name="connsiteX98" fmla="*/ 78127 w 4519987"/>
                  <a:gd name="connsiteY98" fmla="*/ 1685925 h 4496940"/>
                  <a:gd name="connsiteX99" fmla="*/ 87652 w 4519987"/>
                  <a:gd name="connsiteY99" fmla="*/ 1638300 h 4496940"/>
                  <a:gd name="connsiteX100" fmla="*/ 106702 w 4519987"/>
                  <a:gd name="connsiteY100" fmla="*/ 1590675 h 4496940"/>
                  <a:gd name="connsiteX101" fmla="*/ 135277 w 4519987"/>
                  <a:gd name="connsiteY101" fmla="*/ 1504950 h 4496940"/>
                  <a:gd name="connsiteX102" fmla="*/ 154327 w 4519987"/>
                  <a:gd name="connsiteY102" fmla="*/ 1419225 h 4496940"/>
                  <a:gd name="connsiteX103" fmla="*/ 230527 w 4519987"/>
                  <a:gd name="connsiteY103" fmla="*/ 1276350 h 4496940"/>
                  <a:gd name="connsiteX104" fmla="*/ 240052 w 4519987"/>
                  <a:gd name="connsiteY104" fmla="*/ 1247775 h 4496940"/>
                  <a:gd name="connsiteX105" fmla="*/ 268627 w 4519987"/>
                  <a:gd name="connsiteY105" fmla="*/ 1200150 h 4496940"/>
                  <a:gd name="connsiteX106" fmla="*/ 287677 w 4519987"/>
                  <a:gd name="connsiteY106" fmla="*/ 1152525 h 4496940"/>
                  <a:gd name="connsiteX107" fmla="*/ 316252 w 4519987"/>
                  <a:gd name="connsiteY107" fmla="*/ 1114425 h 4496940"/>
                  <a:gd name="connsiteX108" fmla="*/ 363877 w 4519987"/>
                  <a:gd name="connsiteY108" fmla="*/ 1038225 h 4496940"/>
                  <a:gd name="connsiteX109" fmla="*/ 382927 w 4519987"/>
                  <a:gd name="connsiteY109" fmla="*/ 1009650 h 4496940"/>
                  <a:gd name="connsiteX110" fmla="*/ 440077 w 4519987"/>
                  <a:gd name="connsiteY110" fmla="*/ 904875 h 4496940"/>
                  <a:gd name="connsiteX111" fmla="*/ 478177 w 4519987"/>
                  <a:gd name="connsiteY111" fmla="*/ 857250 h 4496940"/>
                  <a:gd name="connsiteX112" fmla="*/ 497227 w 4519987"/>
                  <a:gd name="connsiteY112" fmla="*/ 828675 h 4496940"/>
                  <a:gd name="connsiteX113" fmla="*/ 535327 w 4519987"/>
                  <a:gd name="connsiteY113" fmla="*/ 800100 h 4496940"/>
                  <a:gd name="connsiteX114" fmla="*/ 602002 w 4519987"/>
                  <a:gd name="connsiteY114" fmla="*/ 733425 h 4496940"/>
                  <a:gd name="connsiteX115" fmla="*/ 668677 w 4519987"/>
                  <a:gd name="connsiteY115" fmla="*/ 676275 h 4496940"/>
                  <a:gd name="connsiteX116" fmla="*/ 697252 w 4519987"/>
                  <a:gd name="connsiteY116" fmla="*/ 657225 h 4496940"/>
                  <a:gd name="connsiteX117" fmla="*/ 840127 w 4519987"/>
                  <a:gd name="connsiteY117" fmla="*/ 533400 h 4496940"/>
                  <a:gd name="connsiteX118" fmla="*/ 887752 w 4519987"/>
                  <a:gd name="connsiteY118" fmla="*/ 504825 h 4496940"/>
                  <a:gd name="connsiteX119" fmla="*/ 1167152 w 4519987"/>
                  <a:gd name="connsiteY119" fmla="*/ 311150 h 4496940"/>
                  <a:gd name="connsiteX120" fmla="*/ 1268752 w 4519987"/>
                  <a:gd name="connsiteY120" fmla="*/ 285750 h 4496940"/>
                  <a:gd name="connsiteX121" fmla="*/ 1411627 w 4519987"/>
                  <a:gd name="connsiteY121" fmla="*/ 190500 h 4496940"/>
                  <a:gd name="connsiteX122" fmla="*/ 1449727 w 4519987"/>
                  <a:gd name="connsiteY122" fmla="*/ 161925 h 4496940"/>
                  <a:gd name="connsiteX123" fmla="*/ 1525927 w 4519987"/>
                  <a:gd name="connsiteY123" fmla="*/ 152400 h 4496940"/>
                  <a:gd name="connsiteX124" fmla="*/ 1583077 w 4519987"/>
                  <a:gd name="connsiteY124" fmla="*/ 142875 h 4496940"/>
                  <a:gd name="connsiteX125" fmla="*/ 1716427 w 4519987"/>
                  <a:gd name="connsiteY125" fmla="*/ 123825 h 4496940"/>
                  <a:gd name="connsiteX126" fmla="*/ 1811677 w 4519987"/>
                  <a:gd name="connsiteY126" fmla="*/ 114300 h 4496940"/>
                  <a:gd name="connsiteX127" fmla="*/ 1859302 w 4519987"/>
                  <a:gd name="connsiteY127" fmla="*/ 104775 h 4496940"/>
                  <a:gd name="connsiteX128" fmla="*/ 1916452 w 4519987"/>
                  <a:gd name="connsiteY128" fmla="*/ 95250 h 4496940"/>
                  <a:gd name="connsiteX129" fmla="*/ 2030752 w 4519987"/>
                  <a:gd name="connsiteY129" fmla="*/ 66675 h 4496940"/>
                  <a:gd name="connsiteX130" fmla="*/ 2097427 w 4519987"/>
                  <a:gd name="connsiteY130" fmla="*/ 47625 h 4496940"/>
                  <a:gd name="connsiteX131" fmla="*/ 2164102 w 4519987"/>
                  <a:gd name="connsiteY131" fmla="*/ 38100 h 4496940"/>
                  <a:gd name="connsiteX132" fmla="*/ 2392702 w 4519987"/>
                  <a:gd name="connsiteY13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659527 w 4519987"/>
                  <a:gd name="connsiteY38" fmla="*/ 3971925 h 4496940"/>
                  <a:gd name="connsiteX39" fmla="*/ 3630952 w 4519987"/>
                  <a:gd name="connsiteY39" fmla="*/ 4010025 h 4496940"/>
                  <a:gd name="connsiteX40" fmla="*/ 3621427 w 4519987"/>
                  <a:gd name="connsiteY40" fmla="*/ 4038600 h 4496940"/>
                  <a:gd name="connsiteX41" fmla="*/ 3554752 w 4519987"/>
                  <a:gd name="connsiteY41" fmla="*/ 4095750 h 4496940"/>
                  <a:gd name="connsiteX42" fmla="*/ 3516652 w 4519987"/>
                  <a:gd name="connsiteY42" fmla="*/ 4114800 h 4496940"/>
                  <a:gd name="connsiteX43" fmla="*/ 3497602 w 4519987"/>
                  <a:gd name="connsiteY43" fmla="*/ 4143375 h 4496940"/>
                  <a:gd name="connsiteX44" fmla="*/ 3383302 w 4519987"/>
                  <a:gd name="connsiteY44" fmla="*/ 4210050 h 4496940"/>
                  <a:gd name="connsiteX45" fmla="*/ 3335677 w 4519987"/>
                  <a:gd name="connsiteY45" fmla="*/ 4238625 h 4496940"/>
                  <a:gd name="connsiteX46" fmla="*/ 3288052 w 4519987"/>
                  <a:gd name="connsiteY46" fmla="*/ 4248150 h 4496940"/>
                  <a:gd name="connsiteX47" fmla="*/ 3240427 w 4519987"/>
                  <a:gd name="connsiteY47" fmla="*/ 4267200 h 4496940"/>
                  <a:gd name="connsiteX48" fmla="*/ 3068977 w 4519987"/>
                  <a:gd name="connsiteY48" fmla="*/ 4286250 h 4496940"/>
                  <a:gd name="connsiteX49" fmla="*/ 2935627 w 4519987"/>
                  <a:gd name="connsiteY49" fmla="*/ 4333875 h 4496940"/>
                  <a:gd name="connsiteX50" fmla="*/ 2811802 w 4519987"/>
                  <a:gd name="connsiteY50" fmla="*/ 4371975 h 4496940"/>
                  <a:gd name="connsiteX51" fmla="*/ 2745127 w 4519987"/>
                  <a:gd name="connsiteY51" fmla="*/ 4410075 h 4496940"/>
                  <a:gd name="connsiteX52" fmla="*/ 2697502 w 4519987"/>
                  <a:gd name="connsiteY52" fmla="*/ 4429125 h 4496940"/>
                  <a:gd name="connsiteX53" fmla="*/ 2640352 w 4519987"/>
                  <a:gd name="connsiteY53" fmla="*/ 4457700 h 4496940"/>
                  <a:gd name="connsiteX54" fmla="*/ 2583202 w 4519987"/>
                  <a:gd name="connsiteY54" fmla="*/ 4467225 h 4496940"/>
                  <a:gd name="connsiteX55" fmla="*/ 2545102 w 4519987"/>
                  <a:gd name="connsiteY55" fmla="*/ 4486275 h 4496940"/>
                  <a:gd name="connsiteX56" fmla="*/ 2306977 w 4519987"/>
                  <a:gd name="connsiteY56" fmla="*/ 4476750 h 4496940"/>
                  <a:gd name="connsiteX57" fmla="*/ 2202202 w 4519987"/>
                  <a:gd name="connsiteY57" fmla="*/ 4457700 h 4496940"/>
                  <a:gd name="connsiteX58" fmla="*/ 2126002 w 4519987"/>
                  <a:gd name="connsiteY58" fmla="*/ 4429125 h 4496940"/>
                  <a:gd name="connsiteX59" fmla="*/ 1935502 w 4519987"/>
                  <a:gd name="connsiteY59" fmla="*/ 4400550 h 4496940"/>
                  <a:gd name="connsiteX60" fmla="*/ 1821202 w 4519987"/>
                  <a:gd name="connsiteY60" fmla="*/ 4371975 h 4496940"/>
                  <a:gd name="connsiteX61" fmla="*/ 1754527 w 4519987"/>
                  <a:gd name="connsiteY61" fmla="*/ 4352925 h 4496940"/>
                  <a:gd name="connsiteX62" fmla="*/ 1687852 w 4519987"/>
                  <a:gd name="connsiteY62" fmla="*/ 4343400 h 4496940"/>
                  <a:gd name="connsiteX63" fmla="*/ 1573552 w 4519987"/>
                  <a:gd name="connsiteY63" fmla="*/ 4305300 h 4496940"/>
                  <a:gd name="connsiteX64" fmla="*/ 1402102 w 4519987"/>
                  <a:gd name="connsiteY64" fmla="*/ 4276725 h 4496940"/>
                  <a:gd name="connsiteX65" fmla="*/ 1287802 w 4519987"/>
                  <a:gd name="connsiteY65" fmla="*/ 4229100 h 4496940"/>
                  <a:gd name="connsiteX66" fmla="*/ 1221127 w 4519987"/>
                  <a:gd name="connsiteY66" fmla="*/ 4200525 h 4496940"/>
                  <a:gd name="connsiteX67" fmla="*/ 1144927 w 4519987"/>
                  <a:gd name="connsiteY67" fmla="*/ 4171950 h 4496940"/>
                  <a:gd name="connsiteX68" fmla="*/ 1087777 w 4519987"/>
                  <a:gd name="connsiteY68" fmla="*/ 4143375 h 4496940"/>
                  <a:gd name="connsiteX69" fmla="*/ 1030627 w 4519987"/>
                  <a:gd name="connsiteY69" fmla="*/ 4124325 h 4496940"/>
                  <a:gd name="connsiteX70" fmla="*/ 925852 w 4519987"/>
                  <a:gd name="connsiteY70" fmla="*/ 4067175 h 4496940"/>
                  <a:gd name="connsiteX71" fmla="*/ 830602 w 4519987"/>
                  <a:gd name="connsiteY71" fmla="*/ 3981450 h 4496940"/>
                  <a:gd name="connsiteX72" fmla="*/ 763927 w 4519987"/>
                  <a:gd name="connsiteY72" fmla="*/ 3914775 h 4496940"/>
                  <a:gd name="connsiteX73" fmla="*/ 725827 w 4519987"/>
                  <a:gd name="connsiteY73" fmla="*/ 3876675 h 4496940"/>
                  <a:gd name="connsiteX74" fmla="*/ 697252 w 4519987"/>
                  <a:gd name="connsiteY74" fmla="*/ 3838575 h 4496940"/>
                  <a:gd name="connsiteX75" fmla="*/ 640102 w 4519987"/>
                  <a:gd name="connsiteY75" fmla="*/ 3781425 h 4496940"/>
                  <a:gd name="connsiteX76" fmla="*/ 611527 w 4519987"/>
                  <a:gd name="connsiteY76" fmla="*/ 3733800 h 4496940"/>
                  <a:gd name="connsiteX77" fmla="*/ 554377 w 4519987"/>
                  <a:gd name="connsiteY77" fmla="*/ 3657600 h 4496940"/>
                  <a:gd name="connsiteX78" fmla="*/ 525802 w 4519987"/>
                  <a:gd name="connsiteY78" fmla="*/ 3609975 h 4496940"/>
                  <a:gd name="connsiteX79" fmla="*/ 497227 w 4519987"/>
                  <a:gd name="connsiteY79" fmla="*/ 3552825 h 4496940"/>
                  <a:gd name="connsiteX80" fmla="*/ 440077 w 4519987"/>
                  <a:gd name="connsiteY80" fmla="*/ 3495675 h 4496940"/>
                  <a:gd name="connsiteX81" fmla="*/ 411502 w 4519987"/>
                  <a:gd name="connsiteY81" fmla="*/ 3448050 h 4496940"/>
                  <a:gd name="connsiteX82" fmla="*/ 278152 w 4519987"/>
                  <a:gd name="connsiteY82" fmla="*/ 3257550 h 4496940"/>
                  <a:gd name="connsiteX83" fmla="*/ 249577 w 4519987"/>
                  <a:gd name="connsiteY83" fmla="*/ 3200400 h 4496940"/>
                  <a:gd name="connsiteX84" fmla="*/ 240052 w 4519987"/>
                  <a:gd name="connsiteY84" fmla="*/ 3162300 h 4496940"/>
                  <a:gd name="connsiteX85" fmla="*/ 221002 w 4519987"/>
                  <a:gd name="connsiteY85" fmla="*/ 3105150 h 4496940"/>
                  <a:gd name="connsiteX86" fmla="*/ 173377 w 4519987"/>
                  <a:gd name="connsiteY86" fmla="*/ 3019425 h 4496940"/>
                  <a:gd name="connsiteX87" fmla="*/ 144802 w 4519987"/>
                  <a:gd name="connsiteY87" fmla="*/ 2924175 h 4496940"/>
                  <a:gd name="connsiteX88" fmla="*/ 68602 w 4519987"/>
                  <a:gd name="connsiteY88" fmla="*/ 2724150 h 4496940"/>
                  <a:gd name="connsiteX89" fmla="*/ 49552 w 4519987"/>
                  <a:gd name="connsiteY89" fmla="*/ 2638425 h 4496940"/>
                  <a:gd name="connsiteX90" fmla="*/ 40027 w 4519987"/>
                  <a:gd name="connsiteY90" fmla="*/ 2562225 h 4496940"/>
                  <a:gd name="connsiteX91" fmla="*/ 30502 w 4519987"/>
                  <a:gd name="connsiteY91" fmla="*/ 2514600 h 4496940"/>
                  <a:gd name="connsiteX92" fmla="*/ 11452 w 4519987"/>
                  <a:gd name="connsiteY92" fmla="*/ 2400300 h 4496940"/>
                  <a:gd name="connsiteX93" fmla="*/ 20977 w 4519987"/>
                  <a:gd name="connsiteY93" fmla="*/ 1905000 h 4496940"/>
                  <a:gd name="connsiteX94" fmla="*/ 30502 w 4519987"/>
                  <a:gd name="connsiteY94" fmla="*/ 1838325 h 4496940"/>
                  <a:gd name="connsiteX95" fmla="*/ 49552 w 4519987"/>
                  <a:gd name="connsiteY95" fmla="*/ 1781175 h 4496940"/>
                  <a:gd name="connsiteX96" fmla="*/ 59077 w 4519987"/>
                  <a:gd name="connsiteY96" fmla="*/ 1743075 h 4496940"/>
                  <a:gd name="connsiteX97" fmla="*/ 78127 w 4519987"/>
                  <a:gd name="connsiteY97" fmla="*/ 1685925 h 4496940"/>
                  <a:gd name="connsiteX98" fmla="*/ 87652 w 4519987"/>
                  <a:gd name="connsiteY98" fmla="*/ 1638300 h 4496940"/>
                  <a:gd name="connsiteX99" fmla="*/ 106702 w 4519987"/>
                  <a:gd name="connsiteY99" fmla="*/ 1590675 h 4496940"/>
                  <a:gd name="connsiteX100" fmla="*/ 135277 w 4519987"/>
                  <a:gd name="connsiteY100" fmla="*/ 1504950 h 4496940"/>
                  <a:gd name="connsiteX101" fmla="*/ 154327 w 4519987"/>
                  <a:gd name="connsiteY101" fmla="*/ 1419225 h 4496940"/>
                  <a:gd name="connsiteX102" fmla="*/ 230527 w 4519987"/>
                  <a:gd name="connsiteY102" fmla="*/ 1276350 h 4496940"/>
                  <a:gd name="connsiteX103" fmla="*/ 240052 w 4519987"/>
                  <a:gd name="connsiteY103" fmla="*/ 1247775 h 4496940"/>
                  <a:gd name="connsiteX104" fmla="*/ 268627 w 4519987"/>
                  <a:gd name="connsiteY104" fmla="*/ 1200150 h 4496940"/>
                  <a:gd name="connsiteX105" fmla="*/ 287677 w 4519987"/>
                  <a:gd name="connsiteY105" fmla="*/ 1152525 h 4496940"/>
                  <a:gd name="connsiteX106" fmla="*/ 316252 w 4519987"/>
                  <a:gd name="connsiteY106" fmla="*/ 1114425 h 4496940"/>
                  <a:gd name="connsiteX107" fmla="*/ 363877 w 4519987"/>
                  <a:gd name="connsiteY107" fmla="*/ 1038225 h 4496940"/>
                  <a:gd name="connsiteX108" fmla="*/ 382927 w 4519987"/>
                  <a:gd name="connsiteY108" fmla="*/ 1009650 h 4496940"/>
                  <a:gd name="connsiteX109" fmla="*/ 440077 w 4519987"/>
                  <a:gd name="connsiteY109" fmla="*/ 904875 h 4496940"/>
                  <a:gd name="connsiteX110" fmla="*/ 478177 w 4519987"/>
                  <a:gd name="connsiteY110" fmla="*/ 857250 h 4496940"/>
                  <a:gd name="connsiteX111" fmla="*/ 497227 w 4519987"/>
                  <a:gd name="connsiteY111" fmla="*/ 828675 h 4496940"/>
                  <a:gd name="connsiteX112" fmla="*/ 535327 w 4519987"/>
                  <a:gd name="connsiteY112" fmla="*/ 800100 h 4496940"/>
                  <a:gd name="connsiteX113" fmla="*/ 602002 w 4519987"/>
                  <a:gd name="connsiteY113" fmla="*/ 733425 h 4496940"/>
                  <a:gd name="connsiteX114" fmla="*/ 668677 w 4519987"/>
                  <a:gd name="connsiteY114" fmla="*/ 676275 h 4496940"/>
                  <a:gd name="connsiteX115" fmla="*/ 697252 w 4519987"/>
                  <a:gd name="connsiteY115" fmla="*/ 657225 h 4496940"/>
                  <a:gd name="connsiteX116" fmla="*/ 840127 w 4519987"/>
                  <a:gd name="connsiteY116" fmla="*/ 533400 h 4496940"/>
                  <a:gd name="connsiteX117" fmla="*/ 887752 w 4519987"/>
                  <a:gd name="connsiteY117" fmla="*/ 504825 h 4496940"/>
                  <a:gd name="connsiteX118" fmla="*/ 1167152 w 4519987"/>
                  <a:gd name="connsiteY118" fmla="*/ 311150 h 4496940"/>
                  <a:gd name="connsiteX119" fmla="*/ 1268752 w 4519987"/>
                  <a:gd name="connsiteY119" fmla="*/ 285750 h 4496940"/>
                  <a:gd name="connsiteX120" fmla="*/ 1411627 w 4519987"/>
                  <a:gd name="connsiteY120" fmla="*/ 190500 h 4496940"/>
                  <a:gd name="connsiteX121" fmla="*/ 1449727 w 4519987"/>
                  <a:gd name="connsiteY121" fmla="*/ 161925 h 4496940"/>
                  <a:gd name="connsiteX122" fmla="*/ 1525927 w 4519987"/>
                  <a:gd name="connsiteY122" fmla="*/ 152400 h 4496940"/>
                  <a:gd name="connsiteX123" fmla="*/ 1583077 w 4519987"/>
                  <a:gd name="connsiteY123" fmla="*/ 142875 h 4496940"/>
                  <a:gd name="connsiteX124" fmla="*/ 1716427 w 4519987"/>
                  <a:gd name="connsiteY124" fmla="*/ 123825 h 4496940"/>
                  <a:gd name="connsiteX125" fmla="*/ 1811677 w 4519987"/>
                  <a:gd name="connsiteY125" fmla="*/ 114300 h 4496940"/>
                  <a:gd name="connsiteX126" fmla="*/ 1859302 w 4519987"/>
                  <a:gd name="connsiteY126" fmla="*/ 104775 h 4496940"/>
                  <a:gd name="connsiteX127" fmla="*/ 1916452 w 4519987"/>
                  <a:gd name="connsiteY127" fmla="*/ 95250 h 4496940"/>
                  <a:gd name="connsiteX128" fmla="*/ 2030752 w 4519987"/>
                  <a:gd name="connsiteY128" fmla="*/ 66675 h 4496940"/>
                  <a:gd name="connsiteX129" fmla="*/ 2097427 w 4519987"/>
                  <a:gd name="connsiteY129" fmla="*/ 47625 h 4496940"/>
                  <a:gd name="connsiteX130" fmla="*/ 2164102 w 4519987"/>
                  <a:gd name="connsiteY130" fmla="*/ 38100 h 4496940"/>
                  <a:gd name="connsiteX131" fmla="*/ 2392702 w 4519987"/>
                  <a:gd name="connsiteY13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88152 w 4519987"/>
                  <a:gd name="connsiteY33" fmla="*/ 3495675 h 4496940"/>
                  <a:gd name="connsiteX34" fmla="*/ 4059577 w 4519987"/>
                  <a:gd name="connsiteY34" fmla="*/ 3533775 h 4496940"/>
                  <a:gd name="connsiteX35" fmla="*/ 4002427 w 4519987"/>
                  <a:gd name="connsiteY35" fmla="*/ 3600450 h 4496940"/>
                  <a:gd name="connsiteX36" fmla="*/ 3954802 w 4519987"/>
                  <a:gd name="connsiteY36" fmla="*/ 3648075 h 4496940"/>
                  <a:gd name="connsiteX37" fmla="*/ 3659527 w 4519987"/>
                  <a:gd name="connsiteY37" fmla="*/ 3971925 h 4496940"/>
                  <a:gd name="connsiteX38" fmla="*/ 3630952 w 4519987"/>
                  <a:gd name="connsiteY38" fmla="*/ 4010025 h 4496940"/>
                  <a:gd name="connsiteX39" fmla="*/ 3621427 w 4519987"/>
                  <a:gd name="connsiteY39" fmla="*/ 4038600 h 4496940"/>
                  <a:gd name="connsiteX40" fmla="*/ 3554752 w 4519987"/>
                  <a:gd name="connsiteY40" fmla="*/ 4095750 h 4496940"/>
                  <a:gd name="connsiteX41" fmla="*/ 3516652 w 4519987"/>
                  <a:gd name="connsiteY41" fmla="*/ 4114800 h 4496940"/>
                  <a:gd name="connsiteX42" fmla="*/ 3497602 w 4519987"/>
                  <a:gd name="connsiteY42" fmla="*/ 4143375 h 4496940"/>
                  <a:gd name="connsiteX43" fmla="*/ 3383302 w 4519987"/>
                  <a:gd name="connsiteY43" fmla="*/ 4210050 h 4496940"/>
                  <a:gd name="connsiteX44" fmla="*/ 3335677 w 4519987"/>
                  <a:gd name="connsiteY44" fmla="*/ 4238625 h 4496940"/>
                  <a:gd name="connsiteX45" fmla="*/ 3288052 w 4519987"/>
                  <a:gd name="connsiteY45" fmla="*/ 4248150 h 4496940"/>
                  <a:gd name="connsiteX46" fmla="*/ 3240427 w 4519987"/>
                  <a:gd name="connsiteY46" fmla="*/ 4267200 h 4496940"/>
                  <a:gd name="connsiteX47" fmla="*/ 3068977 w 4519987"/>
                  <a:gd name="connsiteY47" fmla="*/ 4286250 h 4496940"/>
                  <a:gd name="connsiteX48" fmla="*/ 2935627 w 4519987"/>
                  <a:gd name="connsiteY48" fmla="*/ 4333875 h 4496940"/>
                  <a:gd name="connsiteX49" fmla="*/ 2811802 w 4519987"/>
                  <a:gd name="connsiteY49" fmla="*/ 4371975 h 4496940"/>
                  <a:gd name="connsiteX50" fmla="*/ 2745127 w 4519987"/>
                  <a:gd name="connsiteY50" fmla="*/ 4410075 h 4496940"/>
                  <a:gd name="connsiteX51" fmla="*/ 2697502 w 4519987"/>
                  <a:gd name="connsiteY51" fmla="*/ 4429125 h 4496940"/>
                  <a:gd name="connsiteX52" fmla="*/ 2640352 w 4519987"/>
                  <a:gd name="connsiteY52" fmla="*/ 4457700 h 4496940"/>
                  <a:gd name="connsiteX53" fmla="*/ 2583202 w 4519987"/>
                  <a:gd name="connsiteY53" fmla="*/ 4467225 h 4496940"/>
                  <a:gd name="connsiteX54" fmla="*/ 2545102 w 4519987"/>
                  <a:gd name="connsiteY54" fmla="*/ 4486275 h 4496940"/>
                  <a:gd name="connsiteX55" fmla="*/ 2306977 w 4519987"/>
                  <a:gd name="connsiteY55" fmla="*/ 4476750 h 4496940"/>
                  <a:gd name="connsiteX56" fmla="*/ 2202202 w 4519987"/>
                  <a:gd name="connsiteY56" fmla="*/ 4457700 h 4496940"/>
                  <a:gd name="connsiteX57" fmla="*/ 2126002 w 4519987"/>
                  <a:gd name="connsiteY57" fmla="*/ 4429125 h 4496940"/>
                  <a:gd name="connsiteX58" fmla="*/ 1935502 w 4519987"/>
                  <a:gd name="connsiteY58" fmla="*/ 4400550 h 4496940"/>
                  <a:gd name="connsiteX59" fmla="*/ 1821202 w 4519987"/>
                  <a:gd name="connsiteY59" fmla="*/ 4371975 h 4496940"/>
                  <a:gd name="connsiteX60" fmla="*/ 1754527 w 4519987"/>
                  <a:gd name="connsiteY60" fmla="*/ 4352925 h 4496940"/>
                  <a:gd name="connsiteX61" fmla="*/ 1687852 w 4519987"/>
                  <a:gd name="connsiteY61" fmla="*/ 4343400 h 4496940"/>
                  <a:gd name="connsiteX62" fmla="*/ 1573552 w 4519987"/>
                  <a:gd name="connsiteY62" fmla="*/ 4305300 h 4496940"/>
                  <a:gd name="connsiteX63" fmla="*/ 1402102 w 4519987"/>
                  <a:gd name="connsiteY63" fmla="*/ 4276725 h 4496940"/>
                  <a:gd name="connsiteX64" fmla="*/ 1287802 w 4519987"/>
                  <a:gd name="connsiteY64" fmla="*/ 4229100 h 4496940"/>
                  <a:gd name="connsiteX65" fmla="*/ 1221127 w 4519987"/>
                  <a:gd name="connsiteY65" fmla="*/ 4200525 h 4496940"/>
                  <a:gd name="connsiteX66" fmla="*/ 1144927 w 4519987"/>
                  <a:gd name="connsiteY66" fmla="*/ 4171950 h 4496940"/>
                  <a:gd name="connsiteX67" fmla="*/ 1087777 w 4519987"/>
                  <a:gd name="connsiteY67" fmla="*/ 4143375 h 4496940"/>
                  <a:gd name="connsiteX68" fmla="*/ 1030627 w 4519987"/>
                  <a:gd name="connsiteY68" fmla="*/ 4124325 h 4496940"/>
                  <a:gd name="connsiteX69" fmla="*/ 925852 w 4519987"/>
                  <a:gd name="connsiteY69" fmla="*/ 4067175 h 4496940"/>
                  <a:gd name="connsiteX70" fmla="*/ 830602 w 4519987"/>
                  <a:gd name="connsiteY70" fmla="*/ 3981450 h 4496940"/>
                  <a:gd name="connsiteX71" fmla="*/ 763927 w 4519987"/>
                  <a:gd name="connsiteY71" fmla="*/ 3914775 h 4496940"/>
                  <a:gd name="connsiteX72" fmla="*/ 725827 w 4519987"/>
                  <a:gd name="connsiteY72" fmla="*/ 3876675 h 4496940"/>
                  <a:gd name="connsiteX73" fmla="*/ 697252 w 4519987"/>
                  <a:gd name="connsiteY73" fmla="*/ 3838575 h 4496940"/>
                  <a:gd name="connsiteX74" fmla="*/ 640102 w 4519987"/>
                  <a:gd name="connsiteY74" fmla="*/ 3781425 h 4496940"/>
                  <a:gd name="connsiteX75" fmla="*/ 611527 w 4519987"/>
                  <a:gd name="connsiteY75" fmla="*/ 3733800 h 4496940"/>
                  <a:gd name="connsiteX76" fmla="*/ 554377 w 4519987"/>
                  <a:gd name="connsiteY76" fmla="*/ 3657600 h 4496940"/>
                  <a:gd name="connsiteX77" fmla="*/ 525802 w 4519987"/>
                  <a:gd name="connsiteY77" fmla="*/ 3609975 h 4496940"/>
                  <a:gd name="connsiteX78" fmla="*/ 497227 w 4519987"/>
                  <a:gd name="connsiteY78" fmla="*/ 3552825 h 4496940"/>
                  <a:gd name="connsiteX79" fmla="*/ 440077 w 4519987"/>
                  <a:gd name="connsiteY79" fmla="*/ 3495675 h 4496940"/>
                  <a:gd name="connsiteX80" fmla="*/ 411502 w 4519987"/>
                  <a:gd name="connsiteY80" fmla="*/ 3448050 h 4496940"/>
                  <a:gd name="connsiteX81" fmla="*/ 278152 w 4519987"/>
                  <a:gd name="connsiteY81" fmla="*/ 3257550 h 4496940"/>
                  <a:gd name="connsiteX82" fmla="*/ 249577 w 4519987"/>
                  <a:gd name="connsiteY82" fmla="*/ 3200400 h 4496940"/>
                  <a:gd name="connsiteX83" fmla="*/ 240052 w 4519987"/>
                  <a:gd name="connsiteY83" fmla="*/ 3162300 h 4496940"/>
                  <a:gd name="connsiteX84" fmla="*/ 221002 w 4519987"/>
                  <a:gd name="connsiteY84" fmla="*/ 3105150 h 4496940"/>
                  <a:gd name="connsiteX85" fmla="*/ 173377 w 4519987"/>
                  <a:gd name="connsiteY85" fmla="*/ 3019425 h 4496940"/>
                  <a:gd name="connsiteX86" fmla="*/ 144802 w 4519987"/>
                  <a:gd name="connsiteY86" fmla="*/ 2924175 h 4496940"/>
                  <a:gd name="connsiteX87" fmla="*/ 68602 w 4519987"/>
                  <a:gd name="connsiteY87" fmla="*/ 2724150 h 4496940"/>
                  <a:gd name="connsiteX88" fmla="*/ 49552 w 4519987"/>
                  <a:gd name="connsiteY88" fmla="*/ 2638425 h 4496940"/>
                  <a:gd name="connsiteX89" fmla="*/ 40027 w 4519987"/>
                  <a:gd name="connsiteY89" fmla="*/ 2562225 h 4496940"/>
                  <a:gd name="connsiteX90" fmla="*/ 30502 w 4519987"/>
                  <a:gd name="connsiteY90" fmla="*/ 2514600 h 4496940"/>
                  <a:gd name="connsiteX91" fmla="*/ 11452 w 4519987"/>
                  <a:gd name="connsiteY91" fmla="*/ 2400300 h 4496940"/>
                  <a:gd name="connsiteX92" fmla="*/ 20977 w 4519987"/>
                  <a:gd name="connsiteY92" fmla="*/ 1905000 h 4496940"/>
                  <a:gd name="connsiteX93" fmla="*/ 30502 w 4519987"/>
                  <a:gd name="connsiteY93" fmla="*/ 1838325 h 4496940"/>
                  <a:gd name="connsiteX94" fmla="*/ 49552 w 4519987"/>
                  <a:gd name="connsiteY94" fmla="*/ 1781175 h 4496940"/>
                  <a:gd name="connsiteX95" fmla="*/ 59077 w 4519987"/>
                  <a:gd name="connsiteY95" fmla="*/ 1743075 h 4496940"/>
                  <a:gd name="connsiteX96" fmla="*/ 78127 w 4519987"/>
                  <a:gd name="connsiteY96" fmla="*/ 1685925 h 4496940"/>
                  <a:gd name="connsiteX97" fmla="*/ 87652 w 4519987"/>
                  <a:gd name="connsiteY97" fmla="*/ 1638300 h 4496940"/>
                  <a:gd name="connsiteX98" fmla="*/ 106702 w 4519987"/>
                  <a:gd name="connsiteY98" fmla="*/ 1590675 h 4496940"/>
                  <a:gd name="connsiteX99" fmla="*/ 135277 w 4519987"/>
                  <a:gd name="connsiteY99" fmla="*/ 1504950 h 4496940"/>
                  <a:gd name="connsiteX100" fmla="*/ 154327 w 4519987"/>
                  <a:gd name="connsiteY100" fmla="*/ 1419225 h 4496940"/>
                  <a:gd name="connsiteX101" fmla="*/ 230527 w 4519987"/>
                  <a:gd name="connsiteY101" fmla="*/ 1276350 h 4496940"/>
                  <a:gd name="connsiteX102" fmla="*/ 240052 w 4519987"/>
                  <a:gd name="connsiteY102" fmla="*/ 1247775 h 4496940"/>
                  <a:gd name="connsiteX103" fmla="*/ 268627 w 4519987"/>
                  <a:gd name="connsiteY103" fmla="*/ 1200150 h 4496940"/>
                  <a:gd name="connsiteX104" fmla="*/ 287677 w 4519987"/>
                  <a:gd name="connsiteY104" fmla="*/ 1152525 h 4496940"/>
                  <a:gd name="connsiteX105" fmla="*/ 316252 w 4519987"/>
                  <a:gd name="connsiteY105" fmla="*/ 1114425 h 4496940"/>
                  <a:gd name="connsiteX106" fmla="*/ 363877 w 4519987"/>
                  <a:gd name="connsiteY106" fmla="*/ 1038225 h 4496940"/>
                  <a:gd name="connsiteX107" fmla="*/ 382927 w 4519987"/>
                  <a:gd name="connsiteY107" fmla="*/ 1009650 h 4496940"/>
                  <a:gd name="connsiteX108" fmla="*/ 440077 w 4519987"/>
                  <a:gd name="connsiteY108" fmla="*/ 904875 h 4496940"/>
                  <a:gd name="connsiteX109" fmla="*/ 478177 w 4519987"/>
                  <a:gd name="connsiteY109" fmla="*/ 857250 h 4496940"/>
                  <a:gd name="connsiteX110" fmla="*/ 497227 w 4519987"/>
                  <a:gd name="connsiteY110" fmla="*/ 828675 h 4496940"/>
                  <a:gd name="connsiteX111" fmla="*/ 535327 w 4519987"/>
                  <a:gd name="connsiteY111" fmla="*/ 800100 h 4496940"/>
                  <a:gd name="connsiteX112" fmla="*/ 602002 w 4519987"/>
                  <a:gd name="connsiteY112" fmla="*/ 733425 h 4496940"/>
                  <a:gd name="connsiteX113" fmla="*/ 668677 w 4519987"/>
                  <a:gd name="connsiteY113" fmla="*/ 676275 h 4496940"/>
                  <a:gd name="connsiteX114" fmla="*/ 697252 w 4519987"/>
                  <a:gd name="connsiteY114" fmla="*/ 657225 h 4496940"/>
                  <a:gd name="connsiteX115" fmla="*/ 840127 w 4519987"/>
                  <a:gd name="connsiteY115" fmla="*/ 533400 h 4496940"/>
                  <a:gd name="connsiteX116" fmla="*/ 887752 w 4519987"/>
                  <a:gd name="connsiteY116" fmla="*/ 504825 h 4496940"/>
                  <a:gd name="connsiteX117" fmla="*/ 1167152 w 4519987"/>
                  <a:gd name="connsiteY117" fmla="*/ 311150 h 4496940"/>
                  <a:gd name="connsiteX118" fmla="*/ 1268752 w 4519987"/>
                  <a:gd name="connsiteY118" fmla="*/ 285750 h 4496940"/>
                  <a:gd name="connsiteX119" fmla="*/ 1411627 w 4519987"/>
                  <a:gd name="connsiteY119" fmla="*/ 190500 h 4496940"/>
                  <a:gd name="connsiteX120" fmla="*/ 1449727 w 4519987"/>
                  <a:gd name="connsiteY120" fmla="*/ 161925 h 4496940"/>
                  <a:gd name="connsiteX121" fmla="*/ 1525927 w 4519987"/>
                  <a:gd name="connsiteY121" fmla="*/ 152400 h 4496940"/>
                  <a:gd name="connsiteX122" fmla="*/ 1583077 w 4519987"/>
                  <a:gd name="connsiteY122" fmla="*/ 142875 h 4496940"/>
                  <a:gd name="connsiteX123" fmla="*/ 1716427 w 4519987"/>
                  <a:gd name="connsiteY123" fmla="*/ 123825 h 4496940"/>
                  <a:gd name="connsiteX124" fmla="*/ 1811677 w 4519987"/>
                  <a:gd name="connsiteY124" fmla="*/ 114300 h 4496940"/>
                  <a:gd name="connsiteX125" fmla="*/ 1859302 w 4519987"/>
                  <a:gd name="connsiteY125" fmla="*/ 104775 h 4496940"/>
                  <a:gd name="connsiteX126" fmla="*/ 1916452 w 4519987"/>
                  <a:gd name="connsiteY126" fmla="*/ 95250 h 4496940"/>
                  <a:gd name="connsiteX127" fmla="*/ 2030752 w 4519987"/>
                  <a:gd name="connsiteY127" fmla="*/ 66675 h 4496940"/>
                  <a:gd name="connsiteX128" fmla="*/ 2097427 w 4519987"/>
                  <a:gd name="connsiteY128" fmla="*/ 47625 h 4496940"/>
                  <a:gd name="connsiteX129" fmla="*/ 2164102 w 4519987"/>
                  <a:gd name="connsiteY129" fmla="*/ 38100 h 4496940"/>
                  <a:gd name="connsiteX130" fmla="*/ 2392702 w 4519987"/>
                  <a:gd name="connsiteY13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4002427 w 4519987"/>
                  <a:gd name="connsiteY34" fmla="*/ 3600450 h 4496940"/>
                  <a:gd name="connsiteX35" fmla="*/ 3954802 w 4519987"/>
                  <a:gd name="connsiteY35" fmla="*/ 3648075 h 4496940"/>
                  <a:gd name="connsiteX36" fmla="*/ 3659527 w 4519987"/>
                  <a:gd name="connsiteY36" fmla="*/ 3971925 h 4496940"/>
                  <a:gd name="connsiteX37" fmla="*/ 3630952 w 4519987"/>
                  <a:gd name="connsiteY37" fmla="*/ 4010025 h 4496940"/>
                  <a:gd name="connsiteX38" fmla="*/ 3621427 w 4519987"/>
                  <a:gd name="connsiteY38" fmla="*/ 4038600 h 4496940"/>
                  <a:gd name="connsiteX39" fmla="*/ 3554752 w 4519987"/>
                  <a:gd name="connsiteY39" fmla="*/ 4095750 h 4496940"/>
                  <a:gd name="connsiteX40" fmla="*/ 3516652 w 4519987"/>
                  <a:gd name="connsiteY40" fmla="*/ 4114800 h 4496940"/>
                  <a:gd name="connsiteX41" fmla="*/ 3497602 w 4519987"/>
                  <a:gd name="connsiteY41" fmla="*/ 4143375 h 4496940"/>
                  <a:gd name="connsiteX42" fmla="*/ 3383302 w 4519987"/>
                  <a:gd name="connsiteY42" fmla="*/ 4210050 h 4496940"/>
                  <a:gd name="connsiteX43" fmla="*/ 3335677 w 4519987"/>
                  <a:gd name="connsiteY43" fmla="*/ 4238625 h 4496940"/>
                  <a:gd name="connsiteX44" fmla="*/ 3288052 w 4519987"/>
                  <a:gd name="connsiteY44" fmla="*/ 4248150 h 4496940"/>
                  <a:gd name="connsiteX45" fmla="*/ 3240427 w 4519987"/>
                  <a:gd name="connsiteY45" fmla="*/ 4267200 h 4496940"/>
                  <a:gd name="connsiteX46" fmla="*/ 3068977 w 4519987"/>
                  <a:gd name="connsiteY46" fmla="*/ 4286250 h 4496940"/>
                  <a:gd name="connsiteX47" fmla="*/ 2935627 w 4519987"/>
                  <a:gd name="connsiteY47" fmla="*/ 4333875 h 4496940"/>
                  <a:gd name="connsiteX48" fmla="*/ 2811802 w 4519987"/>
                  <a:gd name="connsiteY48" fmla="*/ 4371975 h 4496940"/>
                  <a:gd name="connsiteX49" fmla="*/ 2745127 w 4519987"/>
                  <a:gd name="connsiteY49" fmla="*/ 4410075 h 4496940"/>
                  <a:gd name="connsiteX50" fmla="*/ 2697502 w 4519987"/>
                  <a:gd name="connsiteY50" fmla="*/ 4429125 h 4496940"/>
                  <a:gd name="connsiteX51" fmla="*/ 2640352 w 4519987"/>
                  <a:gd name="connsiteY51" fmla="*/ 4457700 h 4496940"/>
                  <a:gd name="connsiteX52" fmla="*/ 2583202 w 4519987"/>
                  <a:gd name="connsiteY52" fmla="*/ 4467225 h 4496940"/>
                  <a:gd name="connsiteX53" fmla="*/ 2545102 w 4519987"/>
                  <a:gd name="connsiteY53" fmla="*/ 4486275 h 4496940"/>
                  <a:gd name="connsiteX54" fmla="*/ 2306977 w 4519987"/>
                  <a:gd name="connsiteY54" fmla="*/ 4476750 h 4496940"/>
                  <a:gd name="connsiteX55" fmla="*/ 2202202 w 4519987"/>
                  <a:gd name="connsiteY55" fmla="*/ 4457700 h 4496940"/>
                  <a:gd name="connsiteX56" fmla="*/ 2126002 w 4519987"/>
                  <a:gd name="connsiteY56" fmla="*/ 4429125 h 4496940"/>
                  <a:gd name="connsiteX57" fmla="*/ 1935502 w 4519987"/>
                  <a:gd name="connsiteY57" fmla="*/ 4400550 h 4496940"/>
                  <a:gd name="connsiteX58" fmla="*/ 1821202 w 4519987"/>
                  <a:gd name="connsiteY58" fmla="*/ 4371975 h 4496940"/>
                  <a:gd name="connsiteX59" fmla="*/ 1754527 w 4519987"/>
                  <a:gd name="connsiteY59" fmla="*/ 4352925 h 4496940"/>
                  <a:gd name="connsiteX60" fmla="*/ 1687852 w 4519987"/>
                  <a:gd name="connsiteY60" fmla="*/ 4343400 h 4496940"/>
                  <a:gd name="connsiteX61" fmla="*/ 1573552 w 4519987"/>
                  <a:gd name="connsiteY61" fmla="*/ 4305300 h 4496940"/>
                  <a:gd name="connsiteX62" fmla="*/ 1402102 w 4519987"/>
                  <a:gd name="connsiteY62" fmla="*/ 4276725 h 4496940"/>
                  <a:gd name="connsiteX63" fmla="*/ 1287802 w 4519987"/>
                  <a:gd name="connsiteY63" fmla="*/ 4229100 h 4496940"/>
                  <a:gd name="connsiteX64" fmla="*/ 1221127 w 4519987"/>
                  <a:gd name="connsiteY64" fmla="*/ 4200525 h 4496940"/>
                  <a:gd name="connsiteX65" fmla="*/ 1144927 w 4519987"/>
                  <a:gd name="connsiteY65" fmla="*/ 4171950 h 4496940"/>
                  <a:gd name="connsiteX66" fmla="*/ 1087777 w 4519987"/>
                  <a:gd name="connsiteY66" fmla="*/ 4143375 h 4496940"/>
                  <a:gd name="connsiteX67" fmla="*/ 1030627 w 4519987"/>
                  <a:gd name="connsiteY67" fmla="*/ 4124325 h 4496940"/>
                  <a:gd name="connsiteX68" fmla="*/ 925852 w 4519987"/>
                  <a:gd name="connsiteY68" fmla="*/ 4067175 h 4496940"/>
                  <a:gd name="connsiteX69" fmla="*/ 830602 w 4519987"/>
                  <a:gd name="connsiteY69" fmla="*/ 3981450 h 4496940"/>
                  <a:gd name="connsiteX70" fmla="*/ 763927 w 4519987"/>
                  <a:gd name="connsiteY70" fmla="*/ 3914775 h 4496940"/>
                  <a:gd name="connsiteX71" fmla="*/ 725827 w 4519987"/>
                  <a:gd name="connsiteY71" fmla="*/ 3876675 h 4496940"/>
                  <a:gd name="connsiteX72" fmla="*/ 697252 w 4519987"/>
                  <a:gd name="connsiteY72" fmla="*/ 3838575 h 4496940"/>
                  <a:gd name="connsiteX73" fmla="*/ 640102 w 4519987"/>
                  <a:gd name="connsiteY73" fmla="*/ 3781425 h 4496940"/>
                  <a:gd name="connsiteX74" fmla="*/ 611527 w 4519987"/>
                  <a:gd name="connsiteY74" fmla="*/ 3733800 h 4496940"/>
                  <a:gd name="connsiteX75" fmla="*/ 554377 w 4519987"/>
                  <a:gd name="connsiteY75" fmla="*/ 3657600 h 4496940"/>
                  <a:gd name="connsiteX76" fmla="*/ 525802 w 4519987"/>
                  <a:gd name="connsiteY76" fmla="*/ 3609975 h 4496940"/>
                  <a:gd name="connsiteX77" fmla="*/ 497227 w 4519987"/>
                  <a:gd name="connsiteY77" fmla="*/ 3552825 h 4496940"/>
                  <a:gd name="connsiteX78" fmla="*/ 440077 w 4519987"/>
                  <a:gd name="connsiteY78" fmla="*/ 3495675 h 4496940"/>
                  <a:gd name="connsiteX79" fmla="*/ 411502 w 4519987"/>
                  <a:gd name="connsiteY79" fmla="*/ 3448050 h 4496940"/>
                  <a:gd name="connsiteX80" fmla="*/ 278152 w 4519987"/>
                  <a:gd name="connsiteY80" fmla="*/ 3257550 h 4496940"/>
                  <a:gd name="connsiteX81" fmla="*/ 249577 w 4519987"/>
                  <a:gd name="connsiteY81" fmla="*/ 3200400 h 4496940"/>
                  <a:gd name="connsiteX82" fmla="*/ 240052 w 4519987"/>
                  <a:gd name="connsiteY82" fmla="*/ 3162300 h 4496940"/>
                  <a:gd name="connsiteX83" fmla="*/ 221002 w 4519987"/>
                  <a:gd name="connsiteY83" fmla="*/ 3105150 h 4496940"/>
                  <a:gd name="connsiteX84" fmla="*/ 173377 w 4519987"/>
                  <a:gd name="connsiteY84" fmla="*/ 3019425 h 4496940"/>
                  <a:gd name="connsiteX85" fmla="*/ 144802 w 4519987"/>
                  <a:gd name="connsiteY85" fmla="*/ 2924175 h 4496940"/>
                  <a:gd name="connsiteX86" fmla="*/ 68602 w 4519987"/>
                  <a:gd name="connsiteY86" fmla="*/ 2724150 h 4496940"/>
                  <a:gd name="connsiteX87" fmla="*/ 49552 w 4519987"/>
                  <a:gd name="connsiteY87" fmla="*/ 2638425 h 4496940"/>
                  <a:gd name="connsiteX88" fmla="*/ 40027 w 4519987"/>
                  <a:gd name="connsiteY88" fmla="*/ 2562225 h 4496940"/>
                  <a:gd name="connsiteX89" fmla="*/ 30502 w 4519987"/>
                  <a:gd name="connsiteY89" fmla="*/ 2514600 h 4496940"/>
                  <a:gd name="connsiteX90" fmla="*/ 11452 w 4519987"/>
                  <a:gd name="connsiteY90" fmla="*/ 2400300 h 4496940"/>
                  <a:gd name="connsiteX91" fmla="*/ 20977 w 4519987"/>
                  <a:gd name="connsiteY91" fmla="*/ 1905000 h 4496940"/>
                  <a:gd name="connsiteX92" fmla="*/ 30502 w 4519987"/>
                  <a:gd name="connsiteY92" fmla="*/ 1838325 h 4496940"/>
                  <a:gd name="connsiteX93" fmla="*/ 49552 w 4519987"/>
                  <a:gd name="connsiteY93" fmla="*/ 1781175 h 4496940"/>
                  <a:gd name="connsiteX94" fmla="*/ 59077 w 4519987"/>
                  <a:gd name="connsiteY94" fmla="*/ 1743075 h 4496940"/>
                  <a:gd name="connsiteX95" fmla="*/ 78127 w 4519987"/>
                  <a:gd name="connsiteY95" fmla="*/ 1685925 h 4496940"/>
                  <a:gd name="connsiteX96" fmla="*/ 87652 w 4519987"/>
                  <a:gd name="connsiteY96" fmla="*/ 1638300 h 4496940"/>
                  <a:gd name="connsiteX97" fmla="*/ 106702 w 4519987"/>
                  <a:gd name="connsiteY97" fmla="*/ 1590675 h 4496940"/>
                  <a:gd name="connsiteX98" fmla="*/ 135277 w 4519987"/>
                  <a:gd name="connsiteY98" fmla="*/ 1504950 h 4496940"/>
                  <a:gd name="connsiteX99" fmla="*/ 154327 w 4519987"/>
                  <a:gd name="connsiteY99" fmla="*/ 1419225 h 4496940"/>
                  <a:gd name="connsiteX100" fmla="*/ 230527 w 4519987"/>
                  <a:gd name="connsiteY100" fmla="*/ 1276350 h 4496940"/>
                  <a:gd name="connsiteX101" fmla="*/ 240052 w 4519987"/>
                  <a:gd name="connsiteY101" fmla="*/ 1247775 h 4496940"/>
                  <a:gd name="connsiteX102" fmla="*/ 268627 w 4519987"/>
                  <a:gd name="connsiteY102" fmla="*/ 1200150 h 4496940"/>
                  <a:gd name="connsiteX103" fmla="*/ 287677 w 4519987"/>
                  <a:gd name="connsiteY103" fmla="*/ 1152525 h 4496940"/>
                  <a:gd name="connsiteX104" fmla="*/ 316252 w 4519987"/>
                  <a:gd name="connsiteY104" fmla="*/ 1114425 h 4496940"/>
                  <a:gd name="connsiteX105" fmla="*/ 363877 w 4519987"/>
                  <a:gd name="connsiteY105" fmla="*/ 1038225 h 4496940"/>
                  <a:gd name="connsiteX106" fmla="*/ 382927 w 4519987"/>
                  <a:gd name="connsiteY106" fmla="*/ 1009650 h 4496940"/>
                  <a:gd name="connsiteX107" fmla="*/ 440077 w 4519987"/>
                  <a:gd name="connsiteY107" fmla="*/ 904875 h 4496940"/>
                  <a:gd name="connsiteX108" fmla="*/ 478177 w 4519987"/>
                  <a:gd name="connsiteY108" fmla="*/ 857250 h 4496940"/>
                  <a:gd name="connsiteX109" fmla="*/ 497227 w 4519987"/>
                  <a:gd name="connsiteY109" fmla="*/ 828675 h 4496940"/>
                  <a:gd name="connsiteX110" fmla="*/ 535327 w 4519987"/>
                  <a:gd name="connsiteY110" fmla="*/ 800100 h 4496940"/>
                  <a:gd name="connsiteX111" fmla="*/ 602002 w 4519987"/>
                  <a:gd name="connsiteY111" fmla="*/ 733425 h 4496940"/>
                  <a:gd name="connsiteX112" fmla="*/ 668677 w 4519987"/>
                  <a:gd name="connsiteY112" fmla="*/ 676275 h 4496940"/>
                  <a:gd name="connsiteX113" fmla="*/ 697252 w 4519987"/>
                  <a:gd name="connsiteY113" fmla="*/ 657225 h 4496940"/>
                  <a:gd name="connsiteX114" fmla="*/ 840127 w 4519987"/>
                  <a:gd name="connsiteY114" fmla="*/ 533400 h 4496940"/>
                  <a:gd name="connsiteX115" fmla="*/ 887752 w 4519987"/>
                  <a:gd name="connsiteY115" fmla="*/ 504825 h 4496940"/>
                  <a:gd name="connsiteX116" fmla="*/ 1167152 w 4519987"/>
                  <a:gd name="connsiteY116" fmla="*/ 311150 h 4496940"/>
                  <a:gd name="connsiteX117" fmla="*/ 1268752 w 4519987"/>
                  <a:gd name="connsiteY117" fmla="*/ 285750 h 4496940"/>
                  <a:gd name="connsiteX118" fmla="*/ 1411627 w 4519987"/>
                  <a:gd name="connsiteY118" fmla="*/ 190500 h 4496940"/>
                  <a:gd name="connsiteX119" fmla="*/ 1449727 w 4519987"/>
                  <a:gd name="connsiteY119" fmla="*/ 161925 h 4496940"/>
                  <a:gd name="connsiteX120" fmla="*/ 1525927 w 4519987"/>
                  <a:gd name="connsiteY120" fmla="*/ 152400 h 4496940"/>
                  <a:gd name="connsiteX121" fmla="*/ 1583077 w 4519987"/>
                  <a:gd name="connsiteY121" fmla="*/ 142875 h 4496940"/>
                  <a:gd name="connsiteX122" fmla="*/ 1716427 w 4519987"/>
                  <a:gd name="connsiteY122" fmla="*/ 123825 h 4496940"/>
                  <a:gd name="connsiteX123" fmla="*/ 1811677 w 4519987"/>
                  <a:gd name="connsiteY123" fmla="*/ 114300 h 4496940"/>
                  <a:gd name="connsiteX124" fmla="*/ 1859302 w 4519987"/>
                  <a:gd name="connsiteY124" fmla="*/ 104775 h 4496940"/>
                  <a:gd name="connsiteX125" fmla="*/ 1916452 w 4519987"/>
                  <a:gd name="connsiteY125" fmla="*/ 95250 h 4496940"/>
                  <a:gd name="connsiteX126" fmla="*/ 2030752 w 4519987"/>
                  <a:gd name="connsiteY126" fmla="*/ 66675 h 4496940"/>
                  <a:gd name="connsiteX127" fmla="*/ 2097427 w 4519987"/>
                  <a:gd name="connsiteY127" fmla="*/ 47625 h 4496940"/>
                  <a:gd name="connsiteX128" fmla="*/ 2164102 w 4519987"/>
                  <a:gd name="connsiteY128" fmla="*/ 38100 h 4496940"/>
                  <a:gd name="connsiteX129" fmla="*/ 2392702 w 4519987"/>
                  <a:gd name="connsiteY12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621427 w 4519987"/>
                  <a:gd name="connsiteY37" fmla="*/ 4038600 h 4496940"/>
                  <a:gd name="connsiteX38" fmla="*/ 3554752 w 4519987"/>
                  <a:gd name="connsiteY38" fmla="*/ 4095750 h 4496940"/>
                  <a:gd name="connsiteX39" fmla="*/ 3516652 w 4519987"/>
                  <a:gd name="connsiteY39" fmla="*/ 4114800 h 4496940"/>
                  <a:gd name="connsiteX40" fmla="*/ 3497602 w 4519987"/>
                  <a:gd name="connsiteY40" fmla="*/ 4143375 h 4496940"/>
                  <a:gd name="connsiteX41" fmla="*/ 3383302 w 4519987"/>
                  <a:gd name="connsiteY41" fmla="*/ 4210050 h 4496940"/>
                  <a:gd name="connsiteX42" fmla="*/ 3335677 w 4519987"/>
                  <a:gd name="connsiteY42" fmla="*/ 4238625 h 4496940"/>
                  <a:gd name="connsiteX43" fmla="*/ 3288052 w 4519987"/>
                  <a:gd name="connsiteY43" fmla="*/ 4248150 h 4496940"/>
                  <a:gd name="connsiteX44" fmla="*/ 3240427 w 4519987"/>
                  <a:gd name="connsiteY44" fmla="*/ 4267200 h 4496940"/>
                  <a:gd name="connsiteX45" fmla="*/ 3068977 w 4519987"/>
                  <a:gd name="connsiteY45" fmla="*/ 4286250 h 4496940"/>
                  <a:gd name="connsiteX46" fmla="*/ 2935627 w 4519987"/>
                  <a:gd name="connsiteY46" fmla="*/ 4333875 h 4496940"/>
                  <a:gd name="connsiteX47" fmla="*/ 2811802 w 4519987"/>
                  <a:gd name="connsiteY47" fmla="*/ 4371975 h 4496940"/>
                  <a:gd name="connsiteX48" fmla="*/ 2745127 w 4519987"/>
                  <a:gd name="connsiteY48" fmla="*/ 4410075 h 4496940"/>
                  <a:gd name="connsiteX49" fmla="*/ 2697502 w 4519987"/>
                  <a:gd name="connsiteY49" fmla="*/ 4429125 h 4496940"/>
                  <a:gd name="connsiteX50" fmla="*/ 2640352 w 4519987"/>
                  <a:gd name="connsiteY50" fmla="*/ 4457700 h 4496940"/>
                  <a:gd name="connsiteX51" fmla="*/ 2583202 w 4519987"/>
                  <a:gd name="connsiteY51" fmla="*/ 4467225 h 4496940"/>
                  <a:gd name="connsiteX52" fmla="*/ 2545102 w 4519987"/>
                  <a:gd name="connsiteY52" fmla="*/ 4486275 h 4496940"/>
                  <a:gd name="connsiteX53" fmla="*/ 2306977 w 4519987"/>
                  <a:gd name="connsiteY53" fmla="*/ 4476750 h 4496940"/>
                  <a:gd name="connsiteX54" fmla="*/ 2202202 w 4519987"/>
                  <a:gd name="connsiteY54" fmla="*/ 4457700 h 4496940"/>
                  <a:gd name="connsiteX55" fmla="*/ 2126002 w 4519987"/>
                  <a:gd name="connsiteY55" fmla="*/ 4429125 h 4496940"/>
                  <a:gd name="connsiteX56" fmla="*/ 1935502 w 4519987"/>
                  <a:gd name="connsiteY56" fmla="*/ 4400550 h 4496940"/>
                  <a:gd name="connsiteX57" fmla="*/ 1821202 w 4519987"/>
                  <a:gd name="connsiteY57" fmla="*/ 4371975 h 4496940"/>
                  <a:gd name="connsiteX58" fmla="*/ 1754527 w 4519987"/>
                  <a:gd name="connsiteY58" fmla="*/ 4352925 h 4496940"/>
                  <a:gd name="connsiteX59" fmla="*/ 1687852 w 4519987"/>
                  <a:gd name="connsiteY59" fmla="*/ 4343400 h 4496940"/>
                  <a:gd name="connsiteX60" fmla="*/ 1573552 w 4519987"/>
                  <a:gd name="connsiteY60" fmla="*/ 4305300 h 4496940"/>
                  <a:gd name="connsiteX61" fmla="*/ 1402102 w 4519987"/>
                  <a:gd name="connsiteY61" fmla="*/ 4276725 h 4496940"/>
                  <a:gd name="connsiteX62" fmla="*/ 1287802 w 4519987"/>
                  <a:gd name="connsiteY62" fmla="*/ 4229100 h 4496940"/>
                  <a:gd name="connsiteX63" fmla="*/ 1221127 w 4519987"/>
                  <a:gd name="connsiteY63" fmla="*/ 4200525 h 4496940"/>
                  <a:gd name="connsiteX64" fmla="*/ 1144927 w 4519987"/>
                  <a:gd name="connsiteY64" fmla="*/ 4171950 h 4496940"/>
                  <a:gd name="connsiteX65" fmla="*/ 1087777 w 4519987"/>
                  <a:gd name="connsiteY65" fmla="*/ 4143375 h 4496940"/>
                  <a:gd name="connsiteX66" fmla="*/ 1030627 w 4519987"/>
                  <a:gd name="connsiteY66" fmla="*/ 4124325 h 4496940"/>
                  <a:gd name="connsiteX67" fmla="*/ 925852 w 4519987"/>
                  <a:gd name="connsiteY67" fmla="*/ 4067175 h 4496940"/>
                  <a:gd name="connsiteX68" fmla="*/ 830602 w 4519987"/>
                  <a:gd name="connsiteY68" fmla="*/ 3981450 h 4496940"/>
                  <a:gd name="connsiteX69" fmla="*/ 763927 w 4519987"/>
                  <a:gd name="connsiteY69" fmla="*/ 3914775 h 4496940"/>
                  <a:gd name="connsiteX70" fmla="*/ 725827 w 4519987"/>
                  <a:gd name="connsiteY70" fmla="*/ 3876675 h 4496940"/>
                  <a:gd name="connsiteX71" fmla="*/ 697252 w 4519987"/>
                  <a:gd name="connsiteY71" fmla="*/ 3838575 h 4496940"/>
                  <a:gd name="connsiteX72" fmla="*/ 640102 w 4519987"/>
                  <a:gd name="connsiteY72" fmla="*/ 3781425 h 4496940"/>
                  <a:gd name="connsiteX73" fmla="*/ 611527 w 4519987"/>
                  <a:gd name="connsiteY73" fmla="*/ 3733800 h 4496940"/>
                  <a:gd name="connsiteX74" fmla="*/ 554377 w 4519987"/>
                  <a:gd name="connsiteY74" fmla="*/ 3657600 h 4496940"/>
                  <a:gd name="connsiteX75" fmla="*/ 525802 w 4519987"/>
                  <a:gd name="connsiteY75" fmla="*/ 3609975 h 4496940"/>
                  <a:gd name="connsiteX76" fmla="*/ 497227 w 4519987"/>
                  <a:gd name="connsiteY76" fmla="*/ 3552825 h 4496940"/>
                  <a:gd name="connsiteX77" fmla="*/ 440077 w 4519987"/>
                  <a:gd name="connsiteY77" fmla="*/ 3495675 h 4496940"/>
                  <a:gd name="connsiteX78" fmla="*/ 411502 w 4519987"/>
                  <a:gd name="connsiteY78" fmla="*/ 3448050 h 4496940"/>
                  <a:gd name="connsiteX79" fmla="*/ 278152 w 4519987"/>
                  <a:gd name="connsiteY79" fmla="*/ 3257550 h 4496940"/>
                  <a:gd name="connsiteX80" fmla="*/ 249577 w 4519987"/>
                  <a:gd name="connsiteY80" fmla="*/ 3200400 h 4496940"/>
                  <a:gd name="connsiteX81" fmla="*/ 240052 w 4519987"/>
                  <a:gd name="connsiteY81" fmla="*/ 3162300 h 4496940"/>
                  <a:gd name="connsiteX82" fmla="*/ 221002 w 4519987"/>
                  <a:gd name="connsiteY82" fmla="*/ 3105150 h 4496940"/>
                  <a:gd name="connsiteX83" fmla="*/ 173377 w 4519987"/>
                  <a:gd name="connsiteY83" fmla="*/ 3019425 h 4496940"/>
                  <a:gd name="connsiteX84" fmla="*/ 144802 w 4519987"/>
                  <a:gd name="connsiteY84" fmla="*/ 2924175 h 4496940"/>
                  <a:gd name="connsiteX85" fmla="*/ 68602 w 4519987"/>
                  <a:gd name="connsiteY85" fmla="*/ 2724150 h 4496940"/>
                  <a:gd name="connsiteX86" fmla="*/ 49552 w 4519987"/>
                  <a:gd name="connsiteY86" fmla="*/ 2638425 h 4496940"/>
                  <a:gd name="connsiteX87" fmla="*/ 40027 w 4519987"/>
                  <a:gd name="connsiteY87" fmla="*/ 2562225 h 4496940"/>
                  <a:gd name="connsiteX88" fmla="*/ 30502 w 4519987"/>
                  <a:gd name="connsiteY88" fmla="*/ 2514600 h 4496940"/>
                  <a:gd name="connsiteX89" fmla="*/ 11452 w 4519987"/>
                  <a:gd name="connsiteY89" fmla="*/ 2400300 h 4496940"/>
                  <a:gd name="connsiteX90" fmla="*/ 20977 w 4519987"/>
                  <a:gd name="connsiteY90" fmla="*/ 1905000 h 4496940"/>
                  <a:gd name="connsiteX91" fmla="*/ 30502 w 4519987"/>
                  <a:gd name="connsiteY91" fmla="*/ 1838325 h 4496940"/>
                  <a:gd name="connsiteX92" fmla="*/ 49552 w 4519987"/>
                  <a:gd name="connsiteY92" fmla="*/ 1781175 h 4496940"/>
                  <a:gd name="connsiteX93" fmla="*/ 59077 w 4519987"/>
                  <a:gd name="connsiteY93" fmla="*/ 1743075 h 4496940"/>
                  <a:gd name="connsiteX94" fmla="*/ 78127 w 4519987"/>
                  <a:gd name="connsiteY94" fmla="*/ 1685925 h 4496940"/>
                  <a:gd name="connsiteX95" fmla="*/ 87652 w 4519987"/>
                  <a:gd name="connsiteY95" fmla="*/ 1638300 h 4496940"/>
                  <a:gd name="connsiteX96" fmla="*/ 106702 w 4519987"/>
                  <a:gd name="connsiteY96" fmla="*/ 1590675 h 4496940"/>
                  <a:gd name="connsiteX97" fmla="*/ 135277 w 4519987"/>
                  <a:gd name="connsiteY97" fmla="*/ 1504950 h 4496940"/>
                  <a:gd name="connsiteX98" fmla="*/ 154327 w 4519987"/>
                  <a:gd name="connsiteY98" fmla="*/ 1419225 h 4496940"/>
                  <a:gd name="connsiteX99" fmla="*/ 230527 w 4519987"/>
                  <a:gd name="connsiteY99" fmla="*/ 1276350 h 4496940"/>
                  <a:gd name="connsiteX100" fmla="*/ 240052 w 4519987"/>
                  <a:gd name="connsiteY100" fmla="*/ 1247775 h 4496940"/>
                  <a:gd name="connsiteX101" fmla="*/ 268627 w 4519987"/>
                  <a:gd name="connsiteY101" fmla="*/ 1200150 h 4496940"/>
                  <a:gd name="connsiteX102" fmla="*/ 287677 w 4519987"/>
                  <a:gd name="connsiteY102" fmla="*/ 1152525 h 4496940"/>
                  <a:gd name="connsiteX103" fmla="*/ 316252 w 4519987"/>
                  <a:gd name="connsiteY103" fmla="*/ 1114425 h 4496940"/>
                  <a:gd name="connsiteX104" fmla="*/ 363877 w 4519987"/>
                  <a:gd name="connsiteY104" fmla="*/ 1038225 h 4496940"/>
                  <a:gd name="connsiteX105" fmla="*/ 382927 w 4519987"/>
                  <a:gd name="connsiteY105" fmla="*/ 1009650 h 4496940"/>
                  <a:gd name="connsiteX106" fmla="*/ 440077 w 4519987"/>
                  <a:gd name="connsiteY106" fmla="*/ 904875 h 4496940"/>
                  <a:gd name="connsiteX107" fmla="*/ 478177 w 4519987"/>
                  <a:gd name="connsiteY107" fmla="*/ 857250 h 4496940"/>
                  <a:gd name="connsiteX108" fmla="*/ 497227 w 4519987"/>
                  <a:gd name="connsiteY108" fmla="*/ 828675 h 4496940"/>
                  <a:gd name="connsiteX109" fmla="*/ 535327 w 4519987"/>
                  <a:gd name="connsiteY109" fmla="*/ 800100 h 4496940"/>
                  <a:gd name="connsiteX110" fmla="*/ 602002 w 4519987"/>
                  <a:gd name="connsiteY110" fmla="*/ 733425 h 4496940"/>
                  <a:gd name="connsiteX111" fmla="*/ 668677 w 4519987"/>
                  <a:gd name="connsiteY111" fmla="*/ 676275 h 4496940"/>
                  <a:gd name="connsiteX112" fmla="*/ 697252 w 4519987"/>
                  <a:gd name="connsiteY112" fmla="*/ 657225 h 4496940"/>
                  <a:gd name="connsiteX113" fmla="*/ 840127 w 4519987"/>
                  <a:gd name="connsiteY113" fmla="*/ 533400 h 4496940"/>
                  <a:gd name="connsiteX114" fmla="*/ 887752 w 4519987"/>
                  <a:gd name="connsiteY114" fmla="*/ 504825 h 4496940"/>
                  <a:gd name="connsiteX115" fmla="*/ 1167152 w 4519987"/>
                  <a:gd name="connsiteY115" fmla="*/ 311150 h 4496940"/>
                  <a:gd name="connsiteX116" fmla="*/ 1268752 w 4519987"/>
                  <a:gd name="connsiteY116" fmla="*/ 285750 h 4496940"/>
                  <a:gd name="connsiteX117" fmla="*/ 1411627 w 4519987"/>
                  <a:gd name="connsiteY117" fmla="*/ 190500 h 4496940"/>
                  <a:gd name="connsiteX118" fmla="*/ 1449727 w 4519987"/>
                  <a:gd name="connsiteY118" fmla="*/ 161925 h 4496940"/>
                  <a:gd name="connsiteX119" fmla="*/ 1525927 w 4519987"/>
                  <a:gd name="connsiteY119" fmla="*/ 152400 h 4496940"/>
                  <a:gd name="connsiteX120" fmla="*/ 1583077 w 4519987"/>
                  <a:gd name="connsiteY120" fmla="*/ 142875 h 4496940"/>
                  <a:gd name="connsiteX121" fmla="*/ 1716427 w 4519987"/>
                  <a:gd name="connsiteY121" fmla="*/ 123825 h 4496940"/>
                  <a:gd name="connsiteX122" fmla="*/ 1811677 w 4519987"/>
                  <a:gd name="connsiteY122" fmla="*/ 114300 h 4496940"/>
                  <a:gd name="connsiteX123" fmla="*/ 1859302 w 4519987"/>
                  <a:gd name="connsiteY123" fmla="*/ 104775 h 4496940"/>
                  <a:gd name="connsiteX124" fmla="*/ 1916452 w 4519987"/>
                  <a:gd name="connsiteY124" fmla="*/ 95250 h 4496940"/>
                  <a:gd name="connsiteX125" fmla="*/ 2030752 w 4519987"/>
                  <a:gd name="connsiteY125" fmla="*/ 66675 h 4496940"/>
                  <a:gd name="connsiteX126" fmla="*/ 2097427 w 4519987"/>
                  <a:gd name="connsiteY126" fmla="*/ 47625 h 4496940"/>
                  <a:gd name="connsiteX127" fmla="*/ 2164102 w 4519987"/>
                  <a:gd name="connsiteY127" fmla="*/ 38100 h 4496940"/>
                  <a:gd name="connsiteX128" fmla="*/ 2392702 w 4519987"/>
                  <a:gd name="connsiteY12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621427 w 4519987"/>
                  <a:gd name="connsiteY37" fmla="*/ 4038600 h 4496940"/>
                  <a:gd name="connsiteX38" fmla="*/ 3554752 w 4519987"/>
                  <a:gd name="connsiteY38" fmla="*/ 4095750 h 4496940"/>
                  <a:gd name="connsiteX39" fmla="*/ 3516652 w 4519987"/>
                  <a:gd name="connsiteY39" fmla="*/ 4114800 h 4496940"/>
                  <a:gd name="connsiteX40" fmla="*/ 3383302 w 4519987"/>
                  <a:gd name="connsiteY40" fmla="*/ 4210050 h 4496940"/>
                  <a:gd name="connsiteX41" fmla="*/ 3335677 w 4519987"/>
                  <a:gd name="connsiteY41" fmla="*/ 4238625 h 4496940"/>
                  <a:gd name="connsiteX42" fmla="*/ 3288052 w 4519987"/>
                  <a:gd name="connsiteY42" fmla="*/ 4248150 h 4496940"/>
                  <a:gd name="connsiteX43" fmla="*/ 3240427 w 4519987"/>
                  <a:gd name="connsiteY43" fmla="*/ 4267200 h 4496940"/>
                  <a:gd name="connsiteX44" fmla="*/ 3068977 w 4519987"/>
                  <a:gd name="connsiteY44" fmla="*/ 4286250 h 4496940"/>
                  <a:gd name="connsiteX45" fmla="*/ 2935627 w 4519987"/>
                  <a:gd name="connsiteY45" fmla="*/ 4333875 h 4496940"/>
                  <a:gd name="connsiteX46" fmla="*/ 2811802 w 4519987"/>
                  <a:gd name="connsiteY46" fmla="*/ 4371975 h 4496940"/>
                  <a:gd name="connsiteX47" fmla="*/ 2745127 w 4519987"/>
                  <a:gd name="connsiteY47" fmla="*/ 4410075 h 4496940"/>
                  <a:gd name="connsiteX48" fmla="*/ 2697502 w 4519987"/>
                  <a:gd name="connsiteY48" fmla="*/ 4429125 h 4496940"/>
                  <a:gd name="connsiteX49" fmla="*/ 2640352 w 4519987"/>
                  <a:gd name="connsiteY49" fmla="*/ 4457700 h 4496940"/>
                  <a:gd name="connsiteX50" fmla="*/ 2583202 w 4519987"/>
                  <a:gd name="connsiteY50" fmla="*/ 4467225 h 4496940"/>
                  <a:gd name="connsiteX51" fmla="*/ 2545102 w 4519987"/>
                  <a:gd name="connsiteY51" fmla="*/ 4486275 h 4496940"/>
                  <a:gd name="connsiteX52" fmla="*/ 2306977 w 4519987"/>
                  <a:gd name="connsiteY52" fmla="*/ 4476750 h 4496940"/>
                  <a:gd name="connsiteX53" fmla="*/ 2202202 w 4519987"/>
                  <a:gd name="connsiteY53" fmla="*/ 4457700 h 4496940"/>
                  <a:gd name="connsiteX54" fmla="*/ 2126002 w 4519987"/>
                  <a:gd name="connsiteY54" fmla="*/ 4429125 h 4496940"/>
                  <a:gd name="connsiteX55" fmla="*/ 1935502 w 4519987"/>
                  <a:gd name="connsiteY55" fmla="*/ 4400550 h 4496940"/>
                  <a:gd name="connsiteX56" fmla="*/ 1821202 w 4519987"/>
                  <a:gd name="connsiteY56" fmla="*/ 4371975 h 4496940"/>
                  <a:gd name="connsiteX57" fmla="*/ 1754527 w 4519987"/>
                  <a:gd name="connsiteY57" fmla="*/ 4352925 h 4496940"/>
                  <a:gd name="connsiteX58" fmla="*/ 1687852 w 4519987"/>
                  <a:gd name="connsiteY58" fmla="*/ 4343400 h 4496940"/>
                  <a:gd name="connsiteX59" fmla="*/ 1573552 w 4519987"/>
                  <a:gd name="connsiteY59" fmla="*/ 4305300 h 4496940"/>
                  <a:gd name="connsiteX60" fmla="*/ 1402102 w 4519987"/>
                  <a:gd name="connsiteY60" fmla="*/ 4276725 h 4496940"/>
                  <a:gd name="connsiteX61" fmla="*/ 1287802 w 4519987"/>
                  <a:gd name="connsiteY61" fmla="*/ 4229100 h 4496940"/>
                  <a:gd name="connsiteX62" fmla="*/ 1221127 w 4519987"/>
                  <a:gd name="connsiteY62" fmla="*/ 4200525 h 4496940"/>
                  <a:gd name="connsiteX63" fmla="*/ 1144927 w 4519987"/>
                  <a:gd name="connsiteY63" fmla="*/ 4171950 h 4496940"/>
                  <a:gd name="connsiteX64" fmla="*/ 1087777 w 4519987"/>
                  <a:gd name="connsiteY64" fmla="*/ 4143375 h 4496940"/>
                  <a:gd name="connsiteX65" fmla="*/ 1030627 w 4519987"/>
                  <a:gd name="connsiteY65" fmla="*/ 4124325 h 4496940"/>
                  <a:gd name="connsiteX66" fmla="*/ 925852 w 4519987"/>
                  <a:gd name="connsiteY66" fmla="*/ 4067175 h 4496940"/>
                  <a:gd name="connsiteX67" fmla="*/ 830602 w 4519987"/>
                  <a:gd name="connsiteY67" fmla="*/ 3981450 h 4496940"/>
                  <a:gd name="connsiteX68" fmla="*/ 763927 w 4519987"/>
                  <a:gd name="connsiteY68" fmla="*/ 3914775 h 4496940"/>
                  <a:gd name="connsiteX69" fmla="*/ 725827 w 4519987"/>
                  <a:gd name="connsiteY69" fmla="*/ 3876675 h 4496940"/>
                  <a:gd name="connsiteX70" fmla="*/ 697252 w 4519987"/>
                  <a:gd name="connsiteY70" fmla="*/ 3838575 h 4496940"/>
                  <a:gd name="connsiteX71" fmla="*/ 640102 w 4519987"/>
                  <a:gd name="connsiteY71" fmla="*/ 3781425 h 4496940"/>
                  <a:gd name="connsiteX72" fmla="*/ 611527 w 4519987"/>
                  <a:gd name="connsiteY72" fmla="*/ 3733800 h 4496940"/>
                  <a:gd name="connsiteX73" fmla="*/ 554377 w 4519987"/>
                  <a:gd name="connsiteY73" fmla="*/ 3657600 h 4496940"/>
                  <a:gd name="connsiteX74" fmla="*/ 525802 w 4519987"/>
                  <a:gd name="connsiteY74" fmla="*/ 3609975 h 4496940"/>
                  <a:gd name="connsiteX75" fmla="*/ 497227 w 4519987"/>
                  <a:gd name="connsiteY75" fmla="*/ 3552825 h 4496940"/>
                  <a:gd name="connsiteX76" fmla="*/ 440077 w 4519987"/>
                  <a:gd name="connsiteY76" fmla="*/ 3495675 h 4496940"/>
                  <a:gd name="connsiteX77" fmla="*/ 411502 w 4519987"/>
                  <a:gd name="connsiteY77" fmla="*/ 3448050 h 4496940"/>
                  <a:gd name="connsiteX78" fmla="*/ 278152 w 4519987"/>
                  <a:gd name="connsiteY78" fmla="*/ 3257550 h 4496940"/>
                  <a:gd name="connsiteX79" fmla="*/ 249577 w 4519987"/>
                  <a:gd name="connsiteY79" fmla="*/ 3200400 h 4496940"/>
                  <a:gd name="connsiteX80" fmla="*/ 240052 w 4519987"/>
                  <a:gd name="connsiteY80" fmla="*/ 3162300 h 4496940"/>
                  <a:gd name="connsiteX81" fmla="*/ 221002 w 4519987"/>
                  <a:gd name="connsiteY81" fmla="*/ 3105150 h 4496940"/>
                  <a:gd name="connsiteX82" fmla="*/ 173377 w 4519987"/>
                  <a:gd name="connsiteY82" fmla="*/ 3019425 h 4496940"/>
                  <a:gd name="connsiteX83" fmla="*/ 144802 w 4519987"/>
                  <a:gd name="connsiteY83" fmla="*/ 2924175 h 4496940"/>
                  <a:gd name="connsiteX84" fmla="*/ 68602 w 4519987"/>
                  <a:gd name="connsiteY84" fmla="*/ 2724150 h 4496940"/>
                  <a:gd name="connsiteX85" fmla="*/ 49552 w 4519987"/>
                  <a:gd name="connsiteY85" fmla="*/ 2638425 h 4496940"/>
                  <a:gd name="connsiteX86" fmla="*/ 40027 w 4519987"/>
                  <a:gd name="connsiteY86" fmla="*/ 2562225 h 4496940"/>
                  <a:gd name="connsiteX87" fmla="*/ 30502 w 4519987"/>
                  <a:gd name="connsiteY87" fmla="*/ 2514600 h 4496940"/>
                  <a:gd name="connsiteX88" fmla="*/ 11452 w 4519987"/>
                  <a:gd name="connsiteY88" fmla="*/ 2400300 h 4496940"/>
                  <a:gd name="connsiteX89" fmla="*/ 20977 w 4519987"/>
                  <a:gd name="connsiteY89" fmla="*/ 1905000 h 4496940"/>
                  <a:gd name="connsiteX90" fmla="*/ 30502 w 4519987"/>
                  <a:gd name="connsiteY90" fmla="*/ 1838325 h 4496940"/>
                  <a:gd name="connsiteX91" fmla="*/ 49552 w 4519987"/>
                  <a:gd name="connsiteY91" fmla="*/ 1781175 h 4496940"/>
                  <a:gd name="connsiteX92" fmla="*/ 59077 w 4519987"/>
                  <a:gd name="connsiteY92" fmla="*/ 1743075 h 4496940"/>
                  <a:gd name="connsiteX93" fmla="*/ 78127 w 4519987"/>
                  <a:gd name="connsiteY93" fmla="*/ 1685925 h 4496940"/>
                  <a:gd name="connsiteX94" fmla="*/ 87652 w 4519987"/>
                  <a:gd name="connsiteY94" fmla="*/ 1638300 h 4496940"/>
                  <a:gd name="connsiteX95" fmla="*/ 106702 w 4519987"/>
                  <a:gd name="connsiteY95" fmla="*/ 1590675 h 4496940"/>
                  <a:gd name="connsiteX96" fmla="*/ 135277 w 4519987"/>
                  <a:gd name="connsiteY96" fmla="*/ 1504950 h 4496940"/>
                  <a:gd name="connsiteX97" fmla="*/ 154327 w 4519987"/>
                  <a:gd name="connsiteY97" fmla="*/ 1419225 h 4496940"/>
                  <a:gd name="connsiteX98" fmla="*/ 230527 w 4519987"/>
                  <a:gd name="connsiteY98" fmla="*/ 1276350 h 4496940"/>
                  <a:gd name="connsiteX99" fmla="*/ 240052 w 4519987"/>
                  <a:gd name="connsiteY99" fmla="*/ 1247775 h 4496940"/>
                  <a:gd name="connsiteX100" fmla="*/ 268627 w 4519987"/>
                  <a:gd name="connsiteY100" fmla="*/ 1200150 h 4496940"/>
                  <a:gd name="connsiteX101" fmla="*/ 287677 w 4519987"/>
                  <a:gd name="connsiteY101" fmla="*/ 1152525 h 4496940"/>
                  <a:gd name="connsiteX102" fmla="*/ 316252 w 4519987"/>
                  <a:gd name="connsiteY102" fmla="*/ 1114425 h 4496940"/>
                  <a:gd name="connsiteX103" fmla="*/ 363877 w 4519987"/>
                  <a:gd name="connsiteY103" fmla="*/ 1038225 h 4496940"/>
                  <a:gd name="connsiteX104" fmla="*/ 382927 w 4519987"/>
                  <a:gd name="connsiteY104" fmla="*/ 1009650 h 4496940"/>
                  <a:gd name="connsiteX105" fmla="*/ 440077 w 4519987"/>
                  <a:gd name="connsiteY105" fmla="*/ 904875 h 4496940"/>
                  <a:gd name="connsiteX106" fmla="*/ 478177 w 4519987"/>
                  <a:gd name="connsiteY106" fmla="*/ 857250 h 4496940"/>
                  <a:gd name="connsiteX107" fmla="*/ 497227 w 4519987"/>
                  <a:gd name="connsiteY107" fmla="*/ 828675 h 4496940"/>
                  <a:gd name="connsiteX108" fmla="*/ 535327 w 4519987"/>
                  <a:gd name="connsiteY108" fmla="*/ 800100 h 4496940"/>
                  <a:gd name="connsiteX109" fmla="*/ 602002 w 4519987"/>
                  <a:gd name="connsiteY109" fmla="*/ 733425 h 4496940"/>
                  <a:gd name="connsiteX110" fmla="*/ 668677 w 4519987"/>
                  <a:gd name="connsiteY110" fmla="*/ 676275 h 4496940"/>
                  <a:gd name="connsiteX111" fmla="*/ 697252 w 4519987"/>
                  <a:gd name="connsiteY111" fmla="*/ 657225 h 4496940"/>
                  <a:gd name="connsiteX112" fmla="*/ 840127 w 4519987"/>
                  <a:gd name="connsiteY112" fmla="*/ 533400 h 4496940"/>
                  <a:gd name="connsiteX113" fmla="*/ 887752 w 4519987"/>
                  <a:gd name="connsiteY113" fmla="*/ 504825 h 4496940"/>
                  <a:gd name="connsiteX114" fmla="*/ 1167152 w 4519987"/>
                  <a:gd name="connsiteY114" fmla="*/ 311150 h 4496940"/>
                  <a:gd name="connsiteX115" fmla="*/ 1268752 w 4519987"/>
                  <a:gd name="connsiteY115" fmla="*/ 285750 h 4496940"/>
                  <a:gd name="connsiteX116" fmla="*/ 1411627 w 4519987"/>
                  <a:gd name="connsiteY116" fmla="*/ 190500 h 4496940"/>
                  <a:gd name="connsiteX117" fmla="*/ 1449727 w 4519987"/>
                  <a:gd name="connsiteY117" fmla="*/ 161925 h 4496940"/>
                  <a:gd name="connsiteX118" fmla="*/ 1525927 w 4519987"/>
                  <a:gd name="connsiteY118" fmla="*/ 152400 h 4496940"/>
                  <a:gd name="connsiteX119" fmla="*/ 1583077 w 4519987"/>
                  <a:gd name="connsiteY119" fmla="*/ 142875 h 4496940"/>
                  <a:gd name="connsiteX120" fmla="*/ 1716427 w 4519987"/>
                  <a:gd name="connsiteY120" fmla="*/ 123825 h 4496940"/>
                  <a:gd name="connsiteX121" fmla="*/ 1811677 w 4519987"/>
                  <a:gd name="connsiteY121" fmla="*/ 114300 h 4496940"/>
                  <a:gd name="connsiteX122" fmla="*/ 1859302 w 4519987"/>
                  <a:gd name="connsiteY122" fmla="*/ 104775 h 4496940"/>
                  <a:gd name="connsiteX123" fmla="*/ 1916452 w 4519987"/>
                  <a:gd name="connsiteY123" fmla="*/ 95250 h 4496940"/>
                  <a:gd name="connsiteX124" fmla="*/ 2030752 w 4519987"/>
                  <a:gd name="connsiteY124" fmla="*/ 66675 h 4496940"/>
                  <a:gd name="connsiteX125" fmla="*/ 2097427 w 4519987"/>
                  <a:gd name="connsiteY125" fmla="*/ 47625 h 4496940"/>
                  <a:gd name="connsiteX126" fmla="*/ 2164102 w 4519987"/>
                  <a:gd name="connsiteY126" fmla="*/ 38100 h 4496940"/>
                  <a:gd name="connsiteX127" fmla="*/ 2392702 w 4519987"/>
                  <a:gd name="connsiteY12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621427 w 4519987"/>
                  <a:gd name="connsiteY37" fmla="*/ 4038600 h 4496940"/>
                  <a:gd name="connsiteX38" fmla="*/ 3554752 w 4519987"/>
                  <a:gd name="connsiteY38" fmla="*/ 4095750 h 4496940"/>
                  <a:gd name="connsiteX39" fmla="*/ 3383302 w 4519987"/>
                  <a:gd name="connsiteY39" fmla="*/ 4210050 h 4496940"/>
                  <a:gd name="connsiteX40" fmla="*/ 3335677 w 4519987"/>
                  <a:gd name="connsiteY40" fmla="*/ 4238625 h 4496940"/>
                  <a:gd name="connsiteX41" fmla="*/ 3288052 w 4519987"/>
                  <a:gd name="connsiteY41" fmla="*/ 4248150 h 4496940"/>
                  <a:gd name="connsiteX42" fmla="*/ 3240427 w 4519987"/>
                  <a:gd name="connsiteY42" fmla="*/ 4267200 h 4496940"/>
                  <a:gd name="connsiteX43" fmla="*/ 3068977 w 4519987"/>
                  <a:gd name="connsiteY43" fmla="*/ 4286250 h 4496940"/>
                  <a:gd name="connsiteX44" fmla="*/ 2935627 w 4519987"/>
                  <a:gd name="connsiteY44" fmla="*/ 4333875 h 4496940"/>
                  <a:gd name="connsiteX45" fmla="*/ 2811802 w 4519987"/>
                  <a:gd name="connsiteY45" fmla="*/ 4371975 h 4496940"/>
                  <a:gd name="connsiteX46" fmla="*/ 2745127 w 4519987"/>
                  <a:gd name="connsiteY46" fmla="*/ 4410075 h 4496940"/>
                  <a:gd name="connsiteX47" fmla="*/ 2697502 w 4519987"/>
                  <a:gd name="connsiteY47" fmla="*/ 4429125 h 4496940"/>
                  <a:gd name="connsiteX48" fmla="*/ 2640352 w 4519987"/>
                  <a:gd name="connsiteY48" fmla="*/ 4457700 h 4496940"/>
                  <a:gd name="connsiteX49" fmla="*/ 2583202 w 4519987"/>
                  <a:gd name="connsiteY49" fmla="*/ 4467225 h 4496940"/>
                  <a:gd name="connsiteX50" fmla="*/ 2545102 w 4519987"/>
                  <a:gd name="connsiteY50" fmla="*/ 4486275 h 4496940"/>
                  <a:gd name="connsiteX51" fmla="*/ 2306977 w 4519987"/>
                  <a:gd name="connsiteY51" fmla="*/ 4476750 h 4496940"/>
                  <a:gd name="connsiteX52" fmla="*/ 2202202 w 4519987"/>
                  <a:gd name="connsiteY52" fmla="*/ 4457700 h 4496940"/>
                  <a:gd name="connsiteX53" fmla="*/ 2126002 w 4519987"/>
                  <a:gd name="connsiteY53" fmla="*/ 4429125 h 4496940"/>
                  <a:gd name="connsiteX54" fmla="*/ 1935502 w 4519987"/>
                  <a:gd name="connsiteY54" fmla="*/ 4400550 h 4496940"/>
                  <a:gd name="connsiteX55" fmla="*/ 1821202 w 4519987"/>
                  <a:gd name="connsiteY55" fmla="*/ 4371975 h 4496940"/>
                  <a:gd name="connsiteX56" fmla="*/ 1754527 w 4519987"/>
                  <a:gd name="connsiteY56" fmla="*/ 4352925 h 4496940"/>
                  <a:gd name="connsiteX57" fmla="*/ 1687852 w 4519987"/>
                  <a:gd name="connsiteY57" fmla="*/ 4343400 h 4496940"/>
                  <a:gd name="connsiteX58" fmla="*/ 1573552 w 4519987"/>
                  <a:gd name="connsiteY58" fmla="*/ 4305300 h 4496940"/>
                  <a:gd name="connsiteX59" fmla="*/ 1402102 w 4519987"/>
                  <a:gd name="connsiteY59" fmla="*/ 4276725 h 4496940"/>
                  <a:gd name="connsiteX60" fmla="*/ 1287802 w 4519987"/>
                  <a:gd name="connsiteY60" fmla="*/ 4229100 h 4496940"/>
                  <a:gd name="connsiteX61" fmla="*/ 1221127 w 4519987"/>
                  <a:gd name="connsiteY61" fmla="*/ 4200525 h 4496940"/>
                  <a:gd name="connsiteX62" fmla="*/ 1144927 w 4519987"/>
                  <a:gd name="connsiteY62" fmla="*/ 4171950 h 4496940"/>
                  <a:gd name="connsiteX63" fmla="*/ 1087777 w 4519987"/>
                  <a:gd name="connsiteY63" fmla="*/ 4143375 h 4496940"/>
                  <a:gd name="connsiteX64" fmla="*/ 1030627 w 4519987"/>
                  <a:gd name="connsiteY64" fmla="*/ 4124325 h 4496940"/>
                  <a:gd name="connsiteX65" fmla="*/ 925852 w 4519987"/>
                  <a:gd name="connsiteY65" fmla="*/ 4067175 h 4496940"/>
                  <a:gd name="connsiteX66" fmla="*/ 830602 w 4519987"/>
                  <a:gd name="connsiteY66" fmla="*/ 3981450 h 4496940"/>
                  <a:gd name="connsiteX67" fmla="*/ 763927 w 4519987"/>
                  <a:gd name="connsiteY67" fmla="*/ 3914775 h 4496940"/>
                  <a:gd name="connsiteX68" fmla="*/ 725827 w 4519987"/>
                  <a:gd name="connsiteY68" fmla="*/ 3876675 h 4496940"/>
                  <a:gd name="connsiteX69" fmla="*/ 697252 w 4519987"/>
                  <a:gd name="connsiteY69" fmla="*/ 3838575 h 4496940"/>
                  <a:gd name="connsiteX70" fmla="*/ 640102 w 4519987"/>
                  <a:gd name="connsiteY70" fmla="*/ 3781425 h 4496940"/>
                  <a:gd name="connsiteX71" fmla="*/ 611527 w 4519987"/>
                  <a:gd name="connsiteY71" fmla="*/ 3733800 h 4496940"/>
                  <a:gd name="connsiteX72" fmla="*/ 554377 w 4519987"/>
                  <a:gd name="connsiteY72" fmla="*/ 3657600 h 4496940"/>
                  <a:gd name="connsiteX73" fmla="*/ 525802 w 4519987"/>
                  <a:gd name="connsiteY73" fmla="*/ 3609975 h 4496940"/>
                  <a:gd name="connsiteX74" fmla="*/ 497227 w 4519987"/>
                  <a:gd name="connsiteY74" fmla="*/ 3552825 h 4496940"/>
                  <a:gd name="connsiteX75" fmla="*/ 440077 w 4519987"/>
                  <a:gd name="connsiteY75" fmla="*/ 3495675 h 4496940"/>
                  <a:gd name="connsiteX76" fmla="*/ 411502 w 4519987"/>
                  <a:gd name="connsiteY76" fmla="*/ 3448050 h 4496940"/>
                  <a:gd name="connsiteX77" fmla="*/ 278152 w 4519987"/>
                  <a:gd name="connsiteY77" fmla="*/ 3257550 h 4496940"/>
                  <a:gd name="connsiteX78" fmla="*/ 249577 w 4519987"/>
                  <a:gd name="connsiteY78" fmla="*/ 3200400 h 4496940"/>
                  <a:gd name="connsiteX79" fmla="*/ 240052 w 4519987"/>
                  <a:gd name="connsiteY79" fmla="*/ 3162300 h 4496940"/>
                  <a:gd name="connsiteX80" fmla="*/ 221002 w 4519987"/>
                  <a:gd name="connsiteY80" fmla="*/ 3105150 h 4496940"/>
                  <a:gd name="connsiteX81" fmla="*/ 173377 w 4519987"/>
                  <a:gd name="connsiteY81" fmla="*/ 3019425 h 4496940"/>
                  <a:gd name="connsiteX82" fmla="*/ 144802 w 4519987"/>
                  <a:gd name="connsiteY82" fmla="*/ 2924175 h 4496940"/>
                  <a:gd name="connsiteX83" fmla="*/ 68602 w 4519987"/>
                  <a:gd name="connsiteY83" fmla="*/ 2724150 h 4496940"/>
                  <a:gd name="connsiteX84" fmla="*/ 49552 w 4519987"/>
                  <a:gd name="connsiteY84" fmla="*/ 2638425 h 4496940"/>
                  <a:gd name="connsiteX85" fmla="*/ 40027 w 4519987"/>
                  <a:gd name="connsiteY85" fmla="*/ 2562225 h 4496940"/>
                  <a:gd name="connsiteX86" fmla="*/ 30502 w 4519987"/>
                  <a:gd name="connsiteY86" fmla="*/ 2514600 h 4496940"/>
                  <a:gd name="connsiteX87" fmla="*/ 11452 w 4519987"/>
                  <a:gd name="connsiteY87" fmla="*/ 2400300 h 4496940"/>
                  <a:gd name="connsiteX88" fmla="*/ 20977 w 4519987"/>
                  <a:gd name="connsiteY88" fmla="*/ 1905000 h 4496940"/>
                  <a:gd name="connsiteX89" fmla="*/ 30502 w 4519987"/>
                  <a:gd name="connsiteY89" fmla="*/ 1838325 h 4496940"/>
                  <a:gd name="connsiteX90" fmla="*/ 49552 w 4519987"/>
                  <a:gd name="connsiteY90" fmla="*/ 1781175 h 4496940"/>
                  <a:gd name="connsiteX91" fmla="*/ 59077 w 4519987"/>
                  <a:gd name="connsiteY91" fmla="*/ 1743075 h 4496940"/>
                  <a:gd name="connsiteX92" fmla="*/ 78127 w 4519987"/>
                  <a:gd name="connsiteY92" fmla="*/ 1685925 h 4496940"/>
                  <a:gd name="connsiteX93" fmla="*/ 87652 w 4519987"/>
                  <a:gd name="connsiteY93" fmla="*/ 1638300 h 4496940"/>
                  <a:gd name="connsiteX94" fmla="*/ 106702 w 4519987"/>
                  <a:gd name="connsiteY94" fmla="*/ 1590675 h 4496940"/>
                  <a:gd name="connsiteX95" fmla="*/ 135277 w 4519987"/>
                  <a:gd name="connsiteY95" fmla="*/ 1504950 h 4496940"/>
                  <a:gd name="connsiteX96" fmla="*/ 154327 w 4519987"/>
                  <a:gd name="connsiteY96" fmla="*/ 1419225 h 4496940"/>
                  <a:gd name="connsiteX97" fmla="*/ 230527 w 4519987"/>
                  <a:gd name="connsiteY97" fmla="*/ 1276350 h 4496940"/>
                  <a:gd name="connsiteX98" fmla="*/ 240052 w 4519987"/>
                  <a:gd name="connsiteY98" fmla="*/ 1247775 h 4496940"/>
                  <a:gd name="connsiteX99" fmla="*/ 268627 w 4519987"/>
                  <a:gd name="connsiteY99" fmla="*/ 1200150 h 4496940"/>
                  <a:gd name="connsiteX100" fmla="*/ 287677 w 4519987"/>
                  <a:gd name="connsiteY100" fmla="*/ 1152525 h 4496940"/>
                  <a:gd name="connsiteX101" fmla="*/ 316252 w 4519987"/>
                  <a:gd name="connsiteY101" fmla="*/ 1114425 h 4496940"/>
                  <a:gd name="connsiteX102" fmla="*/ 363877 w 4519987"/>
                  <a:gd name="connsiteY102" fmla="*/ 1038225 h 4496940"/>
                  <a:gd name="connsiteX103" fmla="*/ 382927 w 4519987"/>
                  <a:gd name="connsiteY103" fmla="*/ 1009650 h 4496940"/>
                  <a:gd name="connsiteX104" fmla="*/ 440077 w 4519987"/>
                  <a:gd name="connsiteY104" fmla="*/ 904875 h 4496940"/>
                  <a:gd name="connsiteX105" fmla="*/ 478177 w 4519987"/>
                  <a:gd name="connsiteY105" fmla="*/ 857250 h 4496940"/>
                  <a:gd name="connsiteX106" fmla="*/ 497227 w 4519987"/>
                  <a:gd name="connsiteY106" fmla="*/ 828675 h 4496940"/>
                  <a:gd name="connsiteX107" fmla="*/ 535327 w 4519987"/>
                  <a:gd name="connsiteY107" fmla="*/ 800100 h 4496940"/>
                  <a:gd name="connsiteX108" fmla="*/ 602002 w 4519987"/>
                  <a:gd name="connsiteY108" fmla="*/ 733425 h 4496940"/>
                  <a:gd name="connsiteX109" fmla="*/ 668677 w 4519987"/>
                  <a:gd name="connsiteY109" fmla="*/ 676275 h 4496940"/>
                  <a:gd name="connsiteX110" fmla="*/ 697252 w 4519987"/>
                  <a:gd name="connsiteY110" fmla="*/ 657225 h 4496940"/>
                  <a:gd name="connsiteX111" fmla="*/ 840127 w 4519987"/>
                  <a:gd name="connsiteY111" fmla="*/ 533400 h 4496940"/>
                  <a:gd name="connsiteX112" fmla="*/ 887752 w 4519987"/>
                  <a:gd name="connsiteY112" fmla="*/ 504825 h 4496940"/>
                  <a:gd name="connsiteX113" fmla="*/ 1167152 w 4519987"/>
                  <a:gd name="connsiteY113" fmla="*/ 311150 h 4496940"/>
                  <a:gd name="connsiteX114" fmla="*/ 1268752 w 4519987"/>
                  <a:gd name="connsiteY114" fmla="*/ 285750 h 4496940"/>
                  <a:gd name="connsiteX115" fmla="*/ 1411627 w 4519987"/>
                  <a:gd name="connsiteY115" fmla="*/ 190500 h 4496940"/>
                  <a:gd name="connsiteX116" fmla="*/ 1449727 w 4519987"/>
                  <a:gd name="connsiteY116" fmla="*/ 161925 h 4496940"/>
                  <a:gd name="connsiteX117" fmla="*/ 1525927 w 4519987"/>
                  <a:gd name="connsiteY117" fmla="*/ 152400 h 4496940"/>
                  <a:gd name="connsiteX118" fmla="*/ 1583077 w 4519987"/>
                  <a:gd name="connsiteY118" fmla="*/ 142875 h 4496940"/>
                  <a:gd name="connsiteX119" fmla="*/ 1716427 w 4519987"/>
                  <a:gd name="connsiteY119" fmla="*/ 123825 h 4496940"/>
                  <a:gd name="connsiteX120" fmla="*/ 1811677 w 4519987"/>
                  <a:gd name="connsiteY120" fmla="*/ 114300 h 4496940"/>
                  <a:gd name="connsiteX121" fmla="*/ 1859302 w 4519987"/>
                  <a:gd name="connsiteY121" fmla="*/ 104775 h 4496940"/>
                  <a:gd name="connsiteX122" fmla="*/ 1916452 w 4519987"/>
                  <a:gd name="connsiteY122" fmla="*/ 95250 h 4496940"/>
                  <a:gd name="connsiteX123" fmla="*/ 2030752 w 4519987"/>
                  <a:gd name="connsiteY123" fmla="*/ 66675 h 4496940"/>
                  <a:gd name="connsiteX124" fmla="*/ 2097427 w 4519987"/>
                  <a:gd name="connsiteY124" fmla="*/ 47625 h 4496940"/>
                  <a:gd name="connsiteX125" fmla="*/ 2164102 w 4519987"/>
                  <a:gd name="connsiteY125" fmla="*/ 38100 h 4496940"/>
                  <a:gd name="connsiteX126" fmla="*/ 2392702 w 4519987"/>
                  <a:gd name="connsiteY12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554752 w 4519987"/>
                  <a:gd name="connsiteY37" fmla="*/ 4095750 h 4496940"/>
                  <a:gd name="connsiteX38" fmla="*/ 3383302 w 4519987"/>
                  <a:gd name="connsiteY38" fmla="*/ 4210050 h 4496940"/>
                  <a:gd name="connsiteX39" fmla="*/ 3335677 w 4519987"/>
                  <a:gd name="connsiteY39" fmla="*/ 4238625 h 4496940"/>
                  <a:gd name="connsiteX40" fmla="*/ 3288052 w 4519987"/>
                  <a:gd name="connsiteY40" fmla="*/ 4248150 h 4496940"/>
                  <a:gd name="connsiteX41" fmla="*/ 3240427 w 4519987"/>
                  <a:gd name="connsiteY41" fmla="*/ 4267200 h 4496940"/>
                  <a:gd name="connsiteX42" fmla="*/ 3068977 w 4519987"/>
                  <a:gd name="connsiteY42" fmla="*/ 4286250 h 4496940"/>
                  <a:gd name="connsiteX43" fmla="*/ 2935627 w 4519987"/>
                  <a:gd name="connsiteY43" fmla="*/ 4333875 h 4496940"/>
                  <a:gd name="connsiteX44" fmla="*/ 2811802 w 4519987"/>
                  <a:gd name="connsiteY44" fmla="*/ 4371975 h 4496940"/>
                  <a:gd name="connsiteX45" fmla="*/ 2745127 w 4519987"/>
                  <a:gd name="connsiteY45" fmla="*/ 4410075 h 4496940"/>
                  <a:gd name="connsiteX46" fmla="*/ 2697502 w 4519987"/>
                  <a:gd name="connsiteY46" fmla="*/ 4429125 h 4496940"/>
                  <a:gd name="connsiteX47" fmla="*/ 2640352 w 4519987"/>
                  <a:gd name="connsiteY47" fmla="*/ 4457700 h 4496940"/>
                  <a:gd name="connsiteX48" fmla="*/ 2583202 w 4519987"/>
                  <a:gd name="connsiteY48" fmla="*/ 4467225 h 4496940"/>
                  <a:gd name="connsiteX49" fmla="*/ 2545102 w 4519987"/>
                  <a:gd name="connsiteY49" fmla="*/ 4486275 h 4496940"/>
                  <a:gd name="connsiteX50" fmla="*/ 2306977 w 4519987"/>
                  <a:gd name="connsiteY50" fmla="*/ 4476750 h 4496940"/>
                  <a:gd name="connsiteX51" fmla="*/ 2202202 w 4519987"/>
                  <a:gd name="connsiteY51" fmla="*/ 4457700 h 4496940"/>
                  <a:gd name="connsiteX52" fmla="*/ 2126002 w 4519987"/>
                  <a:gd name="connsiteY52" fmla="*/ 4429125 h 4496940"/>
                  <a:gd name="connsiteX53" fmla="*/ 1935502 w 4519987"/>
                  <a:gd name="connsiteY53" fmla="*/ 4400550 h 4496940"/>
                  <a:gd name="connsiteX54" fmla="*/ 1821202 w 4519987"/>
                  <a:gd name="connsiteY54" fmla="*/ 4371975 h 4496940"/>
                  <a:gd name="connsiteX55" fmla="*/ 1754527 w 4519987"/>
                  <a:gd name="connsiteY55" fmla="*/ 4352925 h 4496940"/>
                  <a:gd name="connsiteX56" fmla="*/ 1687852 w 4519987"/>
                  <a:gd name="connsiteY56" fmla="*/ 4343400 h 4496940"/>
                  <a:gd name="connsiteX57" fmla="*/ 1573552 w 4519987"/>
                  <a:gd name="connsiteY57" fmla="*/ 4305300 h 4496940"/>
                  <a:gd name="connsiteX58" fmla="*/ 1402102 w 4519987"/>
                  <a:gd name="connsiteY58" fmla="*/ 4276725 h 4496940"/>
                  <a:gd name="connsiteX59" fmla="*/ 1287802 w 4519987"/>
                  <a:gd name="connsiteY59" fmla="*/ 4229100 h 4496940"/>
                  <a:gd name="connsiteX60" fmla="*/ 1221127 w 4519987"/>
                  <a:gd name="connsiteY60" fmla="*/ 4200525 h 4496940"/>
                  <a:gd name="connsiteX61" fmla="*/ 1144927 w 4519987"/>
                  <a:gd name="connsiteY61" fmla="*/ 4171950 h 4496940"/>
                  <a:gd name="connsiteX62" fmla="*/ 1087777 w 4519987"/>
                  <a:gd name="connsiteY62" fmla="*/ 4143375 h 4496940"/>
                  <a:gd name="connsiteX63" fmla="*/ 1030627 w 4519987"/>
                  <a:gd name="connsiteY63" fmla="*/ 4124325 h 4496940"/>
                  <a:gd name="connsiteX64" fmla="*/ 925852 w 4519987"/>
                  <a:gd name="connsiteY64" fmla="*/ 4067175 h 4496940"/>
                  <a:gd name="connsiteX65" fmla="*/ 830602 w 4519987"/>
                  <a:gd name="connsiteY65" fmla="*/ 3981450 h 4496940"/>
                  <a:gd name="connsiteX66" fmla="*/ 763927 w 4519987"/>
                  <a:gd name="connsiteY66" fmla="*/ 3914775 h 4496940"/>
                  <a:gd name="connsiteX67" fmla="*/ 725827 w 4519987"/>
                  <a:gd name="connsiteY67" fmla="*/ 3876675 h 4496940"/>
                  <a:gd name="connsiteX68" fmla="*/ 697252 w 4519987"/>
                  <a:gd name="connsiteY68" fmla="*/ 3838575 h 4496940"/>
                  <a:gd name="connsiteX69" fmla="*/ 640102 w 4519987"/>
                  <a:gd name="connsiteY69" fmla="*/ 3781425 h 4496940"/>
                  <a:gd name="connsiteX70" fmla="*/ 611527 w 4519987"/>
                  <a:gd name="connsiteY70" fmla="*/ 3733800 h 4496940"/>
                  <a:gd name="connsiteX71" fmla="*/ 554377 w 4519987"/>
                  <a:gd name="connsiteY71" fmla="*/ 3657600 h 4496940"/>
                  <a:gd name="connsiteX72" fmla="*/ 525802 w 4519987"/>
                  <a:gd name="connsiteY72" fmla="*/ 3609975 h 4496940"/>
                  <a:gd name="connsiteX73" fmla="*/ 497227 w 4519987"/>
                  <a:gd name="connsiteY73" fmla="*/ 3552825 h 4496940"/>
                  <a:gd name="connsiteX74" fmla="*/ 440077 w 4519987"/>
                  <a:gd name="connsiteY74" fmla="*/ 3495675 h 4496940"/>
                  <a:gd name="connsiteX75" fmla="*/ 411502 w 4519987"/>
                  <a:gd name="connsiteY75" fmla="*/ 3448050 h 4496940"/>
                  <a:gd name="connsiteX76" fmla="*/ 278152 w 4519987"/>
                  <a:gd name="connsiteY76" fmla="*/ 3257550 h 4496940"/>
                  <a:gd name="connsiteX77" fmla="*/ 249577 w 4519987"/>
                  <a:gd name="connsiteY77" fmla="*/ 3200400 h 4496940"/>
                  <a:gd name="connsiteX78" fmla="*/ 240052 w 4519987"/>
                  <a:gd name="connsiteY78" fmla="*/ 3162300 h 4496940"/>
                  <a:gd name="connsiteX79" fmla="*/ 221002 w 4519987"/>
                  <a:gd name="connsiteY79" fmla="*/ 3105150 h 4496940"/>
                  <a:gd name="connsiteX80" fmla="*/ 173377 w 4519987"/>
                  <a:gd name="connsiteY80" fmla="*/ 3019425 h 4496940"/>
                  <a:gd name="connsiteX81" fmla="*/ 144802 w 4519987"/>
                  <a:gd name="connsiteY81" fmla="*/ 2924175 h 4496940"/>
                  <a:gd name="connsiteX82" fmla="*/ 68602 w 4519987"/>
                  <a:gd name="connsiteY82" fmla="*/ 2724150 h 4496940"/>
                  <a:gd name="connsiteX83" fmla="*/ 49552 w 4519987"/>
                  <a:gd name="connsiteY83" fmla="*/ 2638425 h 4496940"/>
                  <a:gd name="connsiteX84" fmla="*/ 40027 w 4519987"/>
                  <a:gd name="connsiteY84" fmla="*/ 2562225 h 4496940"/>
                  <a:gd name="connsiteX85" fmla="*/ 30502 w 4519987"/>
                  <a:gd name="connsiteY85" fmla="*/ 2514600 h 4496940"/>
                  <a:gd name="connsiteX86" fmla="*/ 11452 w 4519987"/>
                  <a:gd name="connsiteY86" fmla="*/ 2400300 h 4496940"/>
                  <a:gd name="connsiteX87" fmla="*/ 20977 w 4519987"/>
                  <a:gd name="connsiteY87" fmla="*/ 1905000 h 4496940"/>
                  <a:gd name="connsiteX88" fmla="*/ 30502 w 4519987"/>
                  <a:gd name="connsiteY88" fmla="*/ 1838325 h 4496940"/>
                  <a:gd name="connsiteX89" fmla="*/ 49552 w 4519987"/>
                  <a:gd name="connsiteY89" fmla="*/ 1781175 h 4496940"/>
                  <a:gd name="connsiteX90" fmla="*/ 59077 w 4519987"/>
                  <a:gd name="connsiteY90" fmla="*/ 1743075 h 4496940"/>
                  <a:gd name="connsiteX91" fmla="*/ 78127 w 4519987"/>
                  <a:gd name="connsiteY91" fmla="*/ 1685925 h 4496940"/>
                  <a:gd name="connsiteX92" fmla="*/ 87652 w 4519987"/>
                  <a:gd name="connsiteY92" fmla="*/ 1638300 h 4496940"/>
                  <a:gd name="connsiteX93" fmla="*/ 106702 w 4519987"/>
                  <a:gd name="connsiteY93" fmla="*/ 1590675 h 4496940"/>
                  <a:gd name="connsiteX94" fmla="*/ 135277 w 4519987"/>
                  <a:gd name="connsiteY94" fmla="*/ 1504950 h 4496940"/>
                  <a:gd name="connsiteX95" fmla="*/ 154327 w 4519987"/>
                  <a:gd name="connsiteY95" fmla="*/ 1419225 h 4496940"/>
                  <a:gd name="connsiteX96" fmla="*/ 230527 w 4519987"/>
                  <a:gd name="connsiteY96" fmla="*/ 1276350 h 4496940"/>
                  <a:gd name="connsiteX97" fmla="*/ 240052 w 4519987"/>
                  <a:gd name="connsiteY97" fmla="*/ 1247775 h 4496940"/>
                  <a:gd name="connsiteX98" fmla="*/ 268627 w 4519987"/>
                  <a:gd name="connsiteY98" fmla="*/ 1200150 h 4496940"/>
                  <a:gd name="connsiteX99" fmla="*/ 287677 w 4519987"/>
                  <a:gd name="connsiteY99" fmla="*/ 1152525 h 4496940"/>
                  <a:gd name="connsiteX100" fmla="*/ 316252 w 4519987"/>
                  <a:gd name="connsiteY100" fmla="*/ 1114425 h 4496940"/>
                  <a:gd name="connsiteX101" fmla="*/ 363877 w 4519987"/>
                  <a:gd name="connsiteY101" fmla="*/ 1038225 h 4496940"/>
                  <a:gd name="connsiteX102" fmla="*/ 382927 w 4519987"/>
                  <a:gd name="connsiteY102" fmla="*/ 1009650 h 4496940"/>
                  <a:gd name="connsiteX103" fmla="*/ 440077 w 4519987"/>
                  <a:gd name="connsiteY103" fmla="*/ 904875 h 4496940"/>
                  <a:gd name="connsiteX104" fmla="*/ 478177 w 4519987"/>
                  <a:gd name="connsiteY104" fmla="*/ 857250 h 4496940"/>
                  <a:gd name="connsiteX105" fmla="*/ 497227 w 4519987"/>
                  <a:gd name="connsiteY105" fmla="*/ 828675 h 4496940"/>
                  <a:gd name="connsiteX106" fmla="*/ 535327 w 4519987"/>
                  <a:gd name="connsiteY106" fmla="*/ 800100 h 4496940"/>
                  <a:gd name="connsiteX107" fmla="*/ 602002 w 4519987"/>
                  <a:gd name="connsiteY107" fmla="*/ 733425 h 4496940"/>
                  <a:gd name="connsiteX108" fmla="*/ 668677 w 4519987"/>
                  <a:gd name="connsiteY108" fmla="*/ 676275 h 4496940"/>
                  <a:gd name="connsiteX109" fmla="*/ 697252 w 4519987"/>
                  <a:gd name="connsiteY109" fmla="*/ 657225 h 4496940"/>
                  <a:gd name="connsiteX110" fmla="*/ 840127 w 4519987"/>
                  <a:gd name="connsiteY110" fmla="*/ 533400 h 4496940"/>
                  <a:gd name="connsiteX111" fmla="*/ 887752 w 4519987"/>
                  <a:gd name="connsiteY111" fmla="*/ 504825 h 4496940"/>
                  <a:gd name="connsiteX112" fmla="*/ 1167152 w 4519987"/>
                  <a:gd name="connsiteY112" fmla="*/ 311150 h 4496940"/>
                  <a:gd name="connsiteX113" fmla="*/ 1268752 w 4519987"/>
                  <a:gd name="connsiteY113" fmla="*/ 285750 h 4496940"/>
                  <a:gd name="connsiteX114" fmla="*/ 1411627 w 4519987"/>
                  <a:gd name="connsiteY114" fmla="*/ 190500 h 4496940"/>
                  <a:gd name="connsiteX115" fmla="*/ 1449727 w 4519987"/>
                  <a:gd name="connsiteY115" fmla="*/ 161925 h 4496940"/>
                  <a:gd name="connsiteX116" fmla="*/ 1525927 w 4519987"/>
                  <a:gd name="connsiteY116" fmla="*/ 152400 h 4496940"/>
                  <a:gd name="connsiteX117" fmla="*/ 1583077 w 4519987"/>
                  <a:gd name="connsiteY117" fmla="*/ 142875 h 4496940"/>
                  <a:gd name="connsiteX118" fmla="*/ 1716427 w 4519987"/>
                  <a:gd name="connsiteY118" fmla="*/ 123825 h 4496940"/>
                  <a:gd name="connsiteX119" fmla="*/ 1811677 w 4519987"/>
                  <a:gd name="connsiteY119" fmla="*/ 114300 h 4496940"/>
                  <a:gd name="connsiteX120" fmla="*/ 1859302 w 4519987"/>
                  <a:gd name="connsiteY120" fmla="*/ 104775 h 4496940"/>
                  <a:gd name="connsiteX121" fmla="*/ 1916452 w 4519987"/>
                  <a:gd name="connsiteY121" fmla="*/ 95250 h 4496940"/>
                  <a:gd name="connsiteX122" fmla="*/ 2030752 w 4519987"/>
                  <a:gd name="connsiteY122" fmla="*/ 66675 h 4496940"/>
                  <a:gd name="connsiteX123" fmla="*/ 2097427 w 4519987"/>
                  <a:gd name="connsiteY123" fmla="*/ 47625 h 4496940"/>
                  <a:gd name="connsiteX124" fmla="*/ 2164102 w 4519987"/>
                  <a:gd name="connsiteY124" fmla="*/ 38100 h 4496940"/>
                  <a:gd name="connsiteX125" fmla="*/ 2392702 w 4519987"/>
                  <a:gd name="connsiteY12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54752 w 4519987"/>
                  <a:gd name="connsiteY36" fmla="*/ 4095750 h 4496940"/>
                  <a:gd name="connsiteX37" fmla="*/ 3383302 w 4519987"/>
                  <a:gd name="connsiteY37" fmla="*/ 4210050 h 4496940"/>
                  <a:gd name="connsiteX38" fmla="*/ 3335677 w 4519987"/>
                  <a:gd name="connsiteY38" fmla="*/ 4238625 h 4496940"/>
                  <a:gd name="connsiteX39" fmla="*/ 3288052 w 4519987"/>
                  <a:gd name="connsiteY39" fmla="*/ 4248150 h 4496940"/>
                  <a:gd name="connsiteX40" fmla="*/ 3240427 w 4519987"/>
                  <a:gd name="connsiteY40" fmla="*/ 4267200 h 4496940"/>
                  <a:gd name="connsiteX41" fmla="*/ 3068977 w 4519987"/>
                  <a:gd name="connsiteY41" fmla="*/ 4286250 h 4496940"/>
                  <a:gd name="connsiteX42" fmla="*/ 2935627 w 4519987"/>
                  <a:gd name="connsiteY42" fmla="*/ 4333875 h 4496940"/>
                  <a:gd name="connsiteX43" fmla="*/ 2811802 w 4519987"/>
                  <a:gd name="connsiteY43" fmla="*/ 4371975 h 4496940"/>
                  <a:gd name="connsiteX44" fmla="*/ 2745127 w 4519987"/>
                  <a:gd name="connsiteY44" fmla="*/ 4410075 h 4496940"/>
                  <a:gd name="connsiteX45" fmla="*/ 2697502 w 4519987"/>
                  <a:gd name="connsiteY45" fmla="*/ 4429125 h 4496940"/>
                  <a:gd name="connsiteX46" fmla="*/ 2640352 w 4519987"/>
                  <a:gd name="connsiteY46" fmla="*/ 4457700 h 4496940"/>
                  <a:gd name="connsiteX47" fmla="*/ 2583202 w 4519987"/>
                  <a:gd name="connsiteY47" fmla="*/ 4467225 h 4496940"/>
                  <a:gd name="connsiteX48" fmla="*/ 2545102 w 4519987"/>
                  <a:gd name="connsiteY48" fmla="*/ 4486275 h 4496940"/>
                  <a:gd name="connsiteX49" fmla="*/ 2306977 w 4519987"/>
                  <a:gd name="connsiteY49" fmla="*/ 4476750 h 4496940"/>
                  <a:gd name="connsiteX50" fmla="*/ 2202202 w 4519987"/>
                  <a:gd name="connsiteY50" fmla="*/ 4457700 h 4496940"/>
                  <a:gd name="connsiteX51" fmla="*/ 2126002 w 4519987"/>
                  <a:gd name="connsiteY51" fmla="*/ 4429125 h 4496940"/>
                  <a:gd name="connsiteX52" fmla="*/ 1935502 w 4519987"/>
                  <a:gd name="connsiteY52" fmla="*/ 4400550 h 4496940"/>
                  <a:gd name="connsiteX53" fmla="*/ 1821202 w 4519987"/>
                  <a:gd name="connsiteY53" fmla="*/ 4371975 h 4496940"/>
                  <a:gd name="connsiteX54" fmla="*/ 1754527 w 4519987"/>
                  <a:gd name="connsiteY54" fmla="*/ 4352925 h 4496940"/>
                  <a:gd name="connsiteX55" fmla="*/ 1687852 w 4519987"/>
                  <a:gd name="connsiteY55" fmla="*/ 4343400 h 4496940"/>
                  <a:gd name="connsiteX56" fmla="*/ 1573552 w 4519987"/>
                  <a:gd name="connsiteY56" fmla="*/ 4305300 h 4496940"/>
                  <a:gd name="connsiteX57" fmla="*/ 1402102 w 4519987"/>
                  <a:gd name="connsiteY57" fmla="*/ 4276725 h 4496940"/>
                  <a:gd name="connsiteX58" fmla="*/ 1287802 w 4519987"/>
                  <a:gd name="connsiteY58" fmla="*/ 4229100 h 4496940"/>
                  <a:gd name="connsiteX59" fmla="*/ 1221127 w 4519987"/>
                  <a:gd name="connsiteY59" fmla="*/ 4200525 h 4496940"/>
                  <a:gd name="connsiteX60" fmla="*/ 1144927 w 4519987"/>
                  <a:gd name="connsiteY60" fmla="*/ 4171950 h 4496940"/>
                  <a:gd name="connsiteX61" fmla="*/ 1087777 w 4519987"/>
                  <a:gd name="connsiteY61" fmla="*/ 4143375 h 4496940"/>
                  <a:gd name="connsiteX62" fmla="*/ 1030627 w 4519987"/>
                  <a:gd name="connsiteY62" fmla="*/ 4124325 h 4496940"/>
                  <a:gd name="connsiteX63" fmla="*/ 925852 w 4519987"/>
                  <a:gd name="connsiteY63" fmla="*/ 4067175 h 4496940"/>
                  <a:gd name="connsiteX64" fmla="*/ 830602 w 4519987"/>
                  <a:gd name="connsiteY64" fmla="*/ 3981450 h 4496940"/>
                  <a:gd name="connsiteX65" fmla="*/ 763927 w 4519987"/>
                  <a:gd name="connsiteY65" fmla="*/ 3914775 h 4496940"/>
                  <a:gd name="connsiteX66" fmla="*/ 725827 w 4519987"/>
                  <a:gd name="connsiteY66" fmla="*/ 3876675 h 4496940"/>
                  <a:gd name="connsiteX67" fmla="*/ 697252 w 4519987"/>
                  <a:gd name="connsiteY67" fmla="*/ 3838575 h 4496940"/>
                  <a:gd name="connsiteX68" fmla="*/ 640102 w 4519987"/>
                  <a:gd name="connsiteY68" fmla="*/ 3781425 h 4496940"/>
                  <a:gd name="connsiteX69" fmla="*/ 611527 w 4519987"/>
                  <a:gd name="connsiteY69" fmla="*/ 3733800 h 4496940"/>
                  <a:gd name="connsiteX70" fmla="*/ 554377 w 4519987"/>
                  <a:gd name="connsiteY70" fmla="*/ 3657600 h 4496940"/>
                  <a:gd name="connsiteX71" fmla="*/ 525802 w 4519987"/>
                  <a:gd name="connsiteY71" fmla="*/ 3609975 h 4496940"/>
                  <a:gd name="connsiteX72" fmla="*/ 497227 w 4519987"/>
                  <a:gd name="connsiteY72" fmla="*/ 3552825 h 4496940"/>
                  <a:gd name="connsiteX73" fmla="*/ 440077 w 4519987"/>
                  <a:gd name="connsiteY73" fmla="*/ 3495675 h 4496940"/>
                  <a:gd name="connsiteX74" fmla="*/ 411502 w 4519987"/>
                  <a:gd name="connsiteY74" fmla="*/ 3448050 h 4496940"/>
                  <a:gd name="connsiteX75" fmla="*/ 278152 w 4519987"/>
                  <a:gd name="connsiteY75" fmla="*/ 3257550 h 4496940"/>
                  <a:gd name="connsiteX76" fmla="*/ 249577 w 4519987"/>
                  <a:gd name="connsiteY76" fmla="*/ 3200400 h 4496940"/>
                  <a:gd name="connsiteX77" fmla="*/ 240052 w 4519987"/>
                  <a:gd name="connsiteY77" fmla="*/ 3162300 h 4496940"/>
                  <a:gd name="connsiteX78" fmla="*/ 221002 w 4519987"/>
                  <a:gd name="connsiteY78" fmla="*/ 3105150 h 4496940"/>
                  <a:gd name="connsiteX79" fmla="*/ 173377 w 4519987"/>
                  <a:gd name="connsiteY79" fmla="*/ 3019425 h 4496940"/>
                  <a:gd name="connsiteX80" fmla="*/ 144802 w 4519987"/>
                  <a:gd name="connsiteY80" fmla="*/ 2924175 h 4496940"/>
                  <a:gd name="connsiteX81" fmla="*/ 68602 w 4519987"/>
                  <a:gd name="connsiteY81" fmla="*/ 2724150 h 4496940"/>
                  <a:gd name="connsiteX82" fmla="*/ 49552 w 4519987"/>
                  <a:gd name="connsiteY82" fmla="*/ 2638425 h 4496940"/>
                  <a:gd name="connsiteX83" fmla="*/ 40027 w 4519987"/>
                  <a:gd name="connsiteY83" fmla="*/ 2562225 h 4496940"/>
                  <a:gd name="connsiteX84" fmla="*/ 30502 w 4519987"/>
                  <a:gd name="connsiteY84" fmla="*/ 2514600 h 4496940"/>
                  <a:gd name="connsiteX85" fmla="*/ 11452 w 4519987"/>
                  <a:gd name="connsiteY85" fmla="*/ 2400300 h 4496940"/>
                  <a:gd name="connsiteX86" fmla="*/ 20977 w 4519987"/>
                  <a:gd name="connsiteY86" fmla="*/ 1905000 h 4496940"/>
                  <a:gd name="connsiteX87" fmla="*/ 30502 w 4519987"/>
                  <a:gd name="connsiteY87" fmla="*/ 1838325 h 4496940"/>
                  <a:gd name="connsiteX88" fmla="*/ 49552 w 4519987"/>
                  <a:gd name="connsiteY88" fmla="*/ 1781175 h 4496940"/>
                  <a:gd name="connsiteX89" fmla="*/ 59077 w 4519987"/>
                  <a:gd name="connsiteY89" fmla="*/ 1743075 h 4496940"/>
                  <a:gd name="connsiteX90" fmla="*/ 78127 w 4519987"/>
                  <a:gd name="connsiteY90" fmla="*/ 1685925 h 4496940"/>
                  <a:gd name="connsiteX91" fmla="*/ 87652 w 4519987"/>
                  <a:gd name="connsiteY91" fmla="*/ 1638300 h 4496940"/>
                  <a:gd name="connsiteX92" fmla="*/ 106702 w 4519987"/>
                  <a:gd name="connsiteY92" fmla="*/ 1590675 h 4496940"/>
                  <a:gd name="connsiteX93" fmla="*/ 135277 w 4519987"/>
                  <a:gd name="connsiteY93" fmla="*/ 1504950 h 4496940"/>
                  <a:gd name="connsiteX94" fmla="*/ 154327 w 4519987"/>
                  <a:gd name="connsiteY94" fmla="*/ 1419225 h 4496940"/>
                  <a:gd name="connsiteX95" fmla="*/ 230527 w 4519987"/>
                  <a:gd name="connsiteY95" fmla="*/ 1276350 h 4496940"/>
                  <a:gd name="connsiteX96" fmla="*/ 240052 w 4519987"/>
                  <a:gd name="connsiteY96" fmla="*/ 1247775 h 4496940"/>
                  <a:gd name="connsiteX97" fmla="*/ 268627 w 4519987"/>
                  <a:gd name="connsiteY97" fmla="*/ 1200150 h 4496940"/>
                  <a:gd name="connsiteX98" fmla="*/ 287677 w 4519987"/>
                  <a:gd name="connsiteY98" fmla="*/ 1152525 h 4496940"/>
                  <a:gd name="connsiteX99" fmla="*/ 316252 w 4519987"/>
                  <a:gd name="connsiteY99" fmla="*/ 1114425 h 4496940"/>
                  <a:gd name="connsiteX100" fmla="*/ 363877 w 4519987"/>
                  <a:gd name="connsiteY100" fmla="*/ 1038225 h 4496940"/>
                  <a:gd name="connsiteX101" fmla="*/ 382927 w 4519987"/>
                  <a:gd name="connsiteY101" fmla="*/ 1009650 h 4496940"/>
                  <a:gd name="connsiteX102" fmla="*/ 440077 w 4519987"/>
                  <a:gd name="connsiteY102" fmla="*/ 904875 h 4496940"/>
                  <a:gd name="connsiteX103" fmla="*/ 478177 w 4519987"/>
                  <a:gd name="connsiteY103" fmla="*/ 857250 h 4496940"/>
                  <a:gd name="connsiteX104" fmla="*/ 497227 w 4519987"/>
                  <a:gd name="connsiteY104" fmla="*/ 828675 h 4496940"/>
                  <a:gd name="connsiteX105" fmla="*/ 535327 w 4519987"/>
                  <a:gd name="connsiteY105" fmla="*/ 800100 h 4496940"/>
                  <a:gd name="connsiteX106" fmla="*/ 602002 w 4519987"/>
                  <a:gd name="connsiteY106" fmla="*/ 733425 h 4496940"/>
                  <a:gd name="connsiteX107" fmla="*/ 668677 w 4519987"/>
                  <a:gd name="connsiteY107" fmla="*/ 676275 h 4496940"/>
                  <a:gd name="connsiteX108" fmla="*/ 697252 w 4519987"/>
                  <a:gd name="connsiteY108" fmla="*/ 657225 h 4496940"/>
                  <a:gd name="connsiteX109" fmla="*/ 840127 w 4519987"/>
                  <a:gd name="connsiteY109" fmla="*/ 533400 h 4496940"/>
                  <a:gd name="connsiteX110" fmla="*/ 887752 w 4519987"/>
                  <a:gd name="connsiteY110" fmla="*/ 504825 h 4496940"/>
                  <a:gd name="connsiteX111" fmla="*/ 1167152 w 4519987"/>
                  <a:gd name="connsiteY111" fmla="*/ 311150 h 4496940"/>
                  <a:gd name="connsiteX112" fmla="*/ 1268752 w 4519987"/>
                  <a:gd name="connsiteY112" fmla="*/ 285750 h 4496940"/>
                  <a:gd name="connsiteX113" fmla="*/ 1411627 w 4519987"/>
                  <a:gd name="connsiteY113" fmla="*/ 190500 h 4496940"/>
                  <a:gd name="connsiteX114" fmla="*/ 1449727 w 4519987"/>
                  <a:gd name="connsiteY114" fmla="*/ 161925 h 4496940"/>
                  <a:gd name="connsiteX115" fmla="*/ 1525927 w 4519987"/>
                  <a:gd name="connsiteY115" fmla="*/ 152400 h 4496940"/>
                  <a:gd name="connsiteX116" fmla="*/ 1583077 w 4519987"/>
                  <a:gd name="connsiteY116" fmla="*/ 142875 h 4496940"/>
                  <a:gd name="connsiteX117" fmla="*/ 1716427 w 4519987"/>
                  <a:gd name="connsiteY117" fmla="*/ 123825 h 4496940"/>
                  <a:gd name="connsiteX118" fmla="*/ 1811677 w 4519987"/>
                  <a:gd name="connsiteY118" fmla="*/ 114300 h 4496940"/>
                  <a:gd name="connsiteX119" fmla="*/ 1859302 w 4519987"/>
                  <a:gd name="connsiteY119" fmla="*/ 104775 h 4496940"/>
                  <a:gd name="connsiteX120" fmla="*/ 1916452 w 4519987"/>
                  <a:gd name="connsiteY120" fmla="*/ 95250 h 4496940"/>
                  <a:gd name="connsiteX121" fmla="*/ 2030752 w 4519987"/>
                  <a:gd name="connsiteY121" fmla="*/ 66675 h 4496940"/>
                  <a:gd name="connsiteX122" fmla="*/ 2097427 w 4519987"/>
                  <a:gd name="connsiteY122" fmla="*/ 47625 h 4496940"/>
                  <a:gd name="connsiteX123" fmla="*/ 2164102 w 4519987"/>
                  <a:gd name="connsiteY123" fmla="*/ 38100 h 4496940"/>
                  <a:gd name="connsiteX124" fmla="*/ 2392702 w 4519987"/>
                  <a:gd name="connsiteY12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383302 w 4519987"/>
                  <a:gd name="connsiteY37" fmla="*/ 4210050 h 4496940"/>
                  <a:gd name="connsiteX38" fmla="*/ 3335677 w 4519987"/>
                  <a:gd name="connsiteY38" fmla="*/ 4238625 h 4496940"/>
                  <a:gd name="connsiteX39" fmla="*/ 3288052 w 4519987"/>
                  <a:gd name="connsiteY39" fmla="*/ 4248150 h 4496940"/>
                  <a:gd name="connsiteX40" fmla="*/ 3240427 w 4519987"/>
                  <a:gd name="connsiteY40" fmla="*/ 4267200 h 4496940"/>
                  <a:gd name="connsiteX41" fmla="*/ 3068977 w 4519987"/>
                  <a:gd name="connsiteY41" fmla="*/ 4286250 h 4496940"/>
                  <a:gd name="connsiteX42" fmla="*/ 2935627 w 4519987"/>
                  <a:gd name="connsiteY42" fmla="*/ 4333875 h 4496940"/>
                  <a:gd name="connsiteX43" fmla="*/ 2811802 w 4519987"/>
                  <a:gd name="connsiteY43" fmla="*/ 4371975 h 4496940"/>
                  <a:gd name="connsiteX44" fmla="*/ 2745127 w 4519987"/>
                  <a:gd name="connsiteY44" fmla="*/ 4410075 h 4496940"/>
                  <a:gd name="connsiteX45" fmla="*/ 2697502 w 4519987"/>
                  <a:gd name="connsiteY45" fmla="*/ 4429125 h 4496940"/>
                  <a:gd name="connsiteX46" fmla="*/ 2640352 w 4519987"/>
                  <a:gd name="connsiteY46" fmla="*/ 4457700 h 4496940"/>
                  <a:gd name="connsiteX47" fmla="*/ 2583202 w 4519987"/>
                  <a:gd name="connsiteY47" fmla="*/ 4467225 h 4496940"/>
                  <a:gd name="connsiteX48" fmla="*/ 2545102 w 4519987"/>
                  <a:gd name="connsiteY48" fmla="*/ 4486275 h 4496940"/>
                  <a:gd name="connsiteX49" fmla="*/ 2306977 w 4519987"/>
                  <a:gd name="connsiteY49" fmla="*/ 4476750 h 4496940"/>
                  <a:gd name="connsiteX50" fmla="*/ 2202202 w 4519987"/>
                  <a:gd name="connsiteY50" fmla="*/ 4457700 h 4496940"/>
                  <a:gd name="connsiteX51" fmla="*/ 2126002 w 4519987"/>
                  <a:gd name="connsiteY51" fmla="*/ 4429125 h 4496940"/>
                  <a:gd name="connsiteX52" fmla="*/ 1935502 w 4519987"/>
                  <a:gd name="connsiteY52" fmla="*/ 4400550 h 4496940"/>
                  <a:gd name="connsiteX53" fmla="*/ 1821202 w 4519987"/>
                  <a:gd name="connsiteY53" fmla="*/ 4371975 h 4496940"/>
                  <a:gd name="connsiteX54" fmla="*/ 1754527 w 4519987"/>
                  <a:gd name="connsiteY54" fmla="*/ 4352925 h 4496940"/>
                  <a:gd name="connsiteX55" fmla="*/ 1687852 w 4519987"/>
                  <a:gd name="connsiteY55" fmla="*/ 4343400 h 4496940"/>
                  <a:gd name="connsiteX56" fmla="*/ 1573552 w 4519987"/>
                  <a:gd name="connsiteY56" fmla="*/ 4305300 h 4496940"/>
                  <a:gd name="connsiteX57" fmla="*/ 1402102 w 4519987"/>
                  <a:gd name="connsiteY57" fmla="*/ 4276725 h 4496940"/>
                  <a:gd name="connsiteX58" fmla="*/ 1287802 w 4519987"/>
                  <a:gd name="connsiteY58" fmla="*/ 4229100 h 4496940"/>
                  <a:gd name="connsiteX59" fmla="*/ 1221127 w 4519987"/>
                  <a:gd name="connsiteY59" fmla="*/ 4200525 h 4496940"/>
                  <a:gd name="connsiteX60" fmla="*/ 1144927 w 4519987"/>
                  <a:gd name="connsiteY60" fmla="*/ 4171950 h 4496940"/>
                  <a:gd name="connsiteX61" fmla="*/ 1087777 w 4519987"/>
                  <a:gd name="connsiteY61" fmla="*/ 4143375 h 4496940"/>
                  <a:gd name="connsiteX62" fmla="*/ 1030627 w 4519987"/>
                  <a:gd name="connsiteY62" fmla="*/ 4124325 h 4496940"/>
                  <a:gd name="connsiteX63" fmla="*/ 925852 w 4519987"/>
                  <a:gd name="connsiteY63" fmla="*/ 4067175 h 4496940"/>
                  <a:gd name="connsiteX64" fmla="*/ 830602 w 4519987"/>
                  <a:gd name="connsiteY64" fmla="*/ 3981450 h 4496940"/>
                  <a:gd name="connsiteX65" fmla="*/ 763927 w 4519987"/>
                  <a:gd name="connsiteY65" fmla="*/ 3914775 h 4496940"/>
                  <a:gd name="connsiteX66" fmla="*/ 725827 w 4519987"/>
                  <a:gd name="connsiteY66" fmla="*/ 3876675 h 4496940"/>
                  <a:gd name="connsiteX67" fmla="*/ 697252 w 4519987"/>
                  <a:gd name="connsiteY67" fmla="*/ 3838575 h 4496940"/>
                  <a:gd name="connsiteX68" fmla="*/ 640102 w 4519987"/>
                  <a:gd name="connsiteY68" fmla="*/ 3781425 h 4496940"/>
                  <a:gd name="connsiteX69" fmla="*/ 611527 w 4519987"/>
                  <a:gd name="connsiteY69" fmla="*/ 3733800 h 4496940"/>
                  <a:gd name="connsiteX70" fmla="*/ 554377 w 4519987"/>
                  <a:gd name="connsiteY70" fmla="*/ 3657600 h 4496940"/>
                  <a:gd name="connsiteX71" fmla="*/ 525802 w 4519987"/>
                  <a:gd name="connsiteY71" fmla="*/ 3609975 h 4496940"/>
                  <a:gd name="connsiteX72" fmla="*/ 497227 w 4519987"/>
                  <a:gd name="connsiteY72" fmla="*/ 3552825 h 4496940"/>
                  <a:gd name="connsiteX73" fmla="*/ 440077 w 4519987"/>
                  <a:gd name="connsiteY73" fmla="*/ 3495675 h 4496940"/>
                  <a:gd name="connsiteX74" fmla="*/ 411502 w 4519987"/>
                  <a:gd name="connsiteY74" fmla="*/ 3448050 h 4496940"/>
                  <a:gd name="connsiteX75" fmla="*/ 278152 w 4519987"/>
                  <a:gd name="connsiteY75" fmla="*/ 3257550 h 4496940"/>
                  <a:gd name="connsiteX76" fmla="*/ 249577 w 4519987"/>
                  <a:gd name="connsiteY76" fmla="*/ 3200400 h 4496940"/>
                  <a:gd name="connsiteX77" fmla="*/ 240052 w 4519987"/>
                  <a:gd name="connsiteY77" fmla="*/ 3162300 h 4496940"/>
                  <a:gd name="connsiteX78" fmla="*/ 221002 w 4519987"/>
                  <a:gd name="connsiteY78" fmla="*/ 3105150 h 4496940"/>
                  <a:gd name="connsiteX79" fmla="*/ 173377 w 4519987"/>
                  <a:gd name="connsiteY79" fmla="*/ 3019425 h 4496940"/>
                  <a:gd name="connsiteX80" fmla="*/ 144802 w 4519987"/>
                  <a:gd name="connsiteY80" fmla="*/ 2924175 h 4496940"/>
                  <a:gd name="connsiteX81" fmla="*/ 68602 w 4519987"/>
                  <a:gd name="connsiteY81" fmla="*/ 2724150 h 4496940"/>
                  <a:gd name="connsiteX82" fmla="*/ 49552 w 4519987"/>
                  <a:gd name="connsiteY82" fmla="*/ 2638425 h 4496940"/>
                  <a:gd name="connsiteX83" fmla="*/ 40027 w 4519987"/>
                  <a:gd name="connsiteY83" fmla="*/ 2562225 h 4496940"/>
                  <a:gd name="connsiteX84" fmla="*/ 30502 w 4519987"/>
                  <a:gd name="connsiteY84" fmla="*/ 2514600 h 4496940"/>
                  <a:gd name="connsiteX85" fmla="*/ 11452 w 4519987"/>
                  <a:gd name="connsiteY85" fmla="*/ 2400300 h 4496940"/>
                  <a:gd name="connsiteX86" fmla="*/ 20977 w 4519987"/>
                  <a:gd name="connsiteY86" fmla="*/ 1905000 h 4496940"/>
                  <a:gd name="connsiteX87" fmla="*/ 30502 w 4519987"/>
                  <a:gd name="connsiteY87" fmla="*/ 1838325 h 4496940"/>
                  <a:gd name="connsiteX88" fmla="*/ 49552 w 4519987"/>
                  <a:gd name="connsiteY88" fmla="*/ 1781175 h 4496940"/>
                  <a:gd name="connsiteX89" fmla="*/ 59077 w 4519987"/>
                  <a:gd name="connsiteY89" fmla="*/ 1743075 h 4496940"/>
                  <a:gd name="connsiteX90" fmla="*/ 78127 w 4519987"/>
                  <a:gd name="connsiteY90" fmla="*/ 1685925 h 4496940"/>
                  <a:gd name="connsiteX91" fmla="*/ 87652 w 4519987"/>
                  <a:gd name="connsiteY91" fmla="*/ 1638300 h 4496940"/>
                  <a:gd name="connsiteX92" fmla="*/ 106702 w 4519987"/>
                  <a:gd name="connsiteY92" fmla="*/ 1590675 h 4496940"/>
                  <a:gd name="connsiteX93" fmla="*/ 135277 w 4519987"/>
                  <a:gd name="connsiteY93" fmla="*/ 1504950 h 4496940"/>
                  <a:gd name="connsiteX94" fmla="*/ 154327 w 4519987"/>
                  <a:gd name="connsiteY94" fmla="*/ 1419225 h 4496940"/>
                  <a:gd name="connsiteX95" fmla="*/ 230527 w 4519987"/>
                  <a:gd name="connsiteY95" fmla="*/ 1276350 h 4496940"/>
                  <a:gd name="connsiteX96" fmla="*/ 240052 w 4519987"/>
                  <a:gd name="connsiteY96" fmla="*/ 1247775 h 4496940"/>
                  <a:gd name="connsiteX97" fmla="*/ 268627 w 4519987"/>
                  <a:gd name="connsiteY97" fmla="*/ 1200150 h 4496940"/>
                  <a:gd name="connsiteX98" fmla="*/ 287677 w 4519987"/>
                  <a:gd name="connsiteY98" fmla="*/ 1152525 h 4496940"/>
                  <a:gd name="connsiteX99" fmla="*/ 316252 w 4519987"/>
                  <a:gd name="connsiteY99" fmla="*/ 1114425 h 4496940"/>
                  <a:gd name="connsiteX100" fmla="*/ 363877 w 4519987"/>
                  <a:gd name="connsiteY100" fmla="*/ 1038225 h 4496940"/>
                  <a:gd name="connsiteX101" fmla="*/ 382927 w 4519987"/>
                  <a:gd name="connsiteY101" fmla="*/ 1009650 h 4496940"/>
                  <a:gd name="connsiteX102" fmla="*/ 440077 w 4519987"/>
                  <a:gd name="connsiteY102" fmla="*/ 904875 h 4496940"/>
                  <a:gd name="connsiteX103" fmla="*/ 478177 w 4519987"/>
                  <a:gd name="connsiteY103" fmla="*/ 857250 h 4496940"/>
                  <a:gd name="connsiteX104" fmla="*/ 497227 w 4519987"/>
                  <a:gd name="connsiteY104" fmla="*/ 828675 h 4496940"/>
                  <a:gd name="connsiteX105" fmla="*/ 535327 w 4519987"/>
                  <a:gd name="connsiteY105" fmla="*/ 800100 h 4496940"/>
                  <a:gd name="connsiteX106" fmla="*/ 602002 w 4519987"/>
                  <a:gd name="connsiteY106" fmla="*/ 733425 h 4496940"/>
                  <a:gd name="connsiteX107" fmla="*/ 668677 w 4519987"/>
                  <a:gd name="connsiteY107" fmla="*/ 676275 h 4496940"/>
                  <a:gd name="connsiteX108" fmla="*/ 697252 w 4519987"/>
                  <a:gd name="connsiteY108" fmla="*/ 657225 h 4496940"/>
                  <a:gd name="connsiteX109" fmla="*/ 840127 w 4519987"/>
                  <a:gd name="connsiteY109" fmla="*/ 533400 h 4496940"/>
                  <a:gd name="connsiteX110" fmla="*/ 887752 w 4519987"/>
                  <a:gd name="connsiteY110" fmla="*/ 504825 h 4496940"/>
                  <a:gd name="connsiteX111" fmla="*/ 1167152 w 4519987"/>
                  <a:gd name="connsiteY111" fmla="*/ 311150 h 4496940"/>
                  <a:gd name="connsiteX112" fmla="*/ 1268752 w 4519987"/>
                  <a:gd name="connsiteY112" fmla="*/ 285750 h 4496940"/>
                  <a:gd name="connsiteX113" fmla="*/ 1411627 w 4519987"/>
                  <a:gd name="connsiteY113" fmla="*/ 190500 h 4496940"/>
                  <a:gd name="connsiteX114" fmla="*/ 1449727 w 4519987"/>
                  <a:gd name="connsiteY114" fmla="*/ 161925 h 4496940"/>
                  <a:gd name="connsiteX115" fmla="*/ 1525927 w 4519987"/>
                  <a:gd name="connsiteY115" fmla="*/ 152400 h 4496940"/>
                  <a:gd name="connsiteX116" fmla="*/ 1583077 w 4519987"/>
                  <a:gd name="connsiteY116" fmla="*/ 142875 h 4496940"/>
                  <a:gd name="connsiteX117" fmla="*/ 1716427 w 4519987"/>
                  <a:gd name="connsiteY117" fmla="*/ 123825 h 4496940"/>
                  <a:gd name="connsiteX118" fmla="*/ 1811677 w 4519987"/>
                  <a:gd name="connsiteY118" fmla="*/ 114300 h 4496940"/>
                  <a:gd name="connsiteX119" fmla="*/ 1859302 w 4519987"/>
                  <a:gd name="connsiteY119" fmla="*/ 104775 h 4496940"/>
                  <a:gd name="connsiteX120" fmla="*/ 1916452 w 4519987"/>
                  <a:gd name="connsiteY120" fmla="*/ 95250 h 4496940"/>
                  <a:gd name="connsiteX121" fmla="*/ 2030752 w 4519987"/>
                  <a:gd name="connsiteY121" fmla="*/ 66675 h 4496940"/>
                  <a:gd name="connsiteX122" fmla="*/ 2097427 w 4519987"/>
                  <a:gd name="connsiteY122" fmla="*/ 47625 h 4496940"/>
                  <a:gd name="connsiteX123" fmla="*/ 2164102 w 4519987"/>
                  <a:gd name="connsiteY123" fmla="*/ 38100 h 4496940"/>
                  <a:gd name="connsiteX124" fmla="*/ 2392702 w 4519987"/>
                  <a:gd name="connsiteY12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335677 w 4519987"/>
                  <a:gd name="connsiteY37" fmla="*/ 4238625 h 4496940"/>
                  <a:gd name="connsiteX38" fmla="*/ 3288052 w 4519987"/>
                  <a:gd name="connsiteY38" fmla="*/ 4248150 h 4496940"/>
                  <a:gd name="connsiteX39" fmla="*/ 3240427 w 4519987"/>
                  <a:gd name="connsiteY39" fmla="*/ 4267200 h 4496940"/>
                  <a:gd name="connsiteX40" fmla="*/ 3068977 w 4519987"/>
                  <a:gd name="connsiteY40" fmla="*/ 4286250 h 4496940"/>
                  <a:gd name="connsiteX41" fmla="*/ 2935627 w 4519987"/>
                  <a:gd name="connsiteY41" fmla="*/ 4333875 h 4496940"/>
                  <a:gd name="connsiteX42" fmla="*/ 2811802 w 4519987"/>
                  <a:gd name="connsiteY42" fmla="*/ 4371975 h 4496940"/>
                  <a:gd name="connsiteX43" fmla="*/ 2745127 w 4519987"/>
                  <a:gd name="connsiteY43" fmla="*/ 4410075 h 4496940"/>
                  <a:gd name="connsiteX44" fmla="*/ 2697502 w 4519987"/>
                  <a:gd name="connsiteY44" fmla="*/ 4429125 h 4496940"/>
                  <a:gd name="connsiteX45" fmla="*/ 2640352 w 4519987"/>
                  <a:gd name="connsiteY45" fmla="*/ 4457700 h 4496940"/>
                  <a:gd name="connsiteX46" fmla="*/ 2583202 w 4519987"/>
                  <a:gd name="connsiteY46" fmla="*/ 4467225 h 4496940"/>
                  <a:gd name="connsiteX47" fmla="*/ 2545102 w 4519987"/>
                  <a:gd name="connsiteY47" fmla="*/ 4486275 h 4496940"/>
                  <a:gd name="connsiteX48" fmla="*/ 2306977 w 4519987"/>
                  <a:gd name="connsiteY48" fmla="*/ 4476750 h 4496940"/>
                  <a:gd name="connsiteX49" fmla="*/ 2202202 w 4519987"/>
                  <a:gd name="connsiteY49" fmla="*/ 4457700 h 4496940"/>
                  <a:gd name="connsiteX50" fmla="*/ 2126002 w 4519987"/>
                  <a:gd name="connsiteY50" fmla="*/ 4429125 h 4496940"/>
                  <a:gd name="connsiteX51" fmla="*/ 1935502 w 4519987"/>
                  <a:gd name="connsiteY51" fmla="*/ 4400550 h 4496940"/>
                  <a:gd name="connsiteX52" fmla="*/ 1821202 w 4519987"/>
                  <a:gd name="connsiteY52" fmla="*/ 4371975 h 4496940"/>
                  <a:gd name="connsiteX53" fmla="*/ 1754527 w 4519987"/>
                  <a:gd name="connsiteY53" fmla="*/ 4352925 h 4496940"/>
                  <a:gd name="connsiteX54" fmla="*/ 1687852 w 4519987"/>
                  <a:gd name="connsiteY54" fmla="*/ 4343400 h 4496940"/>
                  <a:gd name="connsiteX55" fmla="*/ 1573552 w 4519987"/>
                  <a:gd name="connsiteY55" fmla="*/ 4305300 h 4496940"/>
                  <a:gd name="connsiteX56" fmla="*/ 1402102 w 4519987"/>
                  <a:gd name="connsiteY56" fmla="*/ 4276725 h 4496940"/>
                  <a:gd name="connsiteX57" fmla="*/ 1287802 w 4519987"/>
                  <a:gd name="connsiteY57" fmla="*/ 4229100 h 4496940"/>
                  <a:gd name="connsiteX58" fmla="*/ 1221127 w 4519987"/>
                  <a:gd name="connsiteY58" fmla="*/ 4200525 h 4496940"/>
                  <a:gd name="connsiteX59" fmla="*/ 1144927 w 4519987"/>
                  <a:gd name="connsiteY59" fmla="*/ 4171950 h 4496940"/>
                  <a:gd name="connsiteX60" fmla="*/ 1087777 w 4519987"/>
                  <a:gd name="connsiteY60" fmla="*/ 4143375 h 4496940"/>
                  <a:gd name="connsiteX61" fmla="*/ 1030627 w 4519987"/>
                  <a:gd name="connsiteY61" fmla="*/ 4124325 h 4496940"/>
                  <a:gd name="connsiteX62" fmla="*/ 925852 w 4519987"/>
                  <a:gd name="connsiteY62" fmla="*/ 4067175 h 4496940"/>
                  <a:gd name="connsiteX63" fmla="*/ 830602 w 4519987"/>
                  <a:gd name="connsiteY63" fmla="*/ 3981450 h 4496940"/>
                  <a:gd name="connsiteX64" fmla="*/ 763927 w 4519987"/>
                  <a:gd name="connsiteY64" fmla="*/ 3914775 h 4496940"/>
                  <a:gd name="connsiteX65" fmla="*/ 725827 w 4519987"/>
                  <a:gd name="connsiteY65" fmla="*/ 3876675 h 4496940"/>
                  <a:gd name="connsiteX66" fmla="*/ 697252 w 4519987"/>
                  <a:gd name="connsiteY66" fmla="*/ 3838575 h 4496940"/>
                  <a:gd name="connsiteX67" fmla="*/ 640102 w 4519987"/>
                  <a:gd name="connsiteY67" fmla="*/ 3781425 h 4496940"/>
                  <a:gd name="connsiteX68" fmla="*/ 611527 w 4519987"/>
                  <a:gd name="connsiteY68" fmla="*/ 3733800 h 4496940"/>
                  <a:gd name="connsiteX69" fmla="*/ 554377 w 4519987"/>
                  <a:gd name="connsiteY69" fmla="*/ 3657600 h 4496940"/>
                  <a:gd name="connsiteX70" fmla="*/ 525802 w 4519987"/>
                  <a:gd name="connsiteY70" fmla="*/ 3609975 h 4496940"/>
                  <a:gd name="connsiteX71" fmla="*/ 497227 w 4519987"/>
                  <a:gd name="connsiteY71" fmla="*/ 3552825 h 4496940"/>
                  <a:gd name="connsiteX72" fmla="*/ 440077 w 4519987"/>
                  <a:gd name="connsiteY72" fmla="*/ 3495675 h 4496940"/>
                  <a:gd name="connsiteX73" fmla="*/ 411502 w 4519987"/>
                  <a:gd name="connsiteY73" fmla="*/ 3448050 h 4496940"/>
                  <a:gd name="connsiteX74" fmla="*/ 278152 w 4519987"/>
                  <a:gd name="connsiteY74" fmla="*/ 3257550 h 4496940"/>
                  <a:gd name="connsiteX75" fmla="*/ 249577 w 4519987"/>
                  <a:gd name="connsiteY75" fmla="*/ 3200400 h 4496940"/>
                  <a:gd name="connsiteX76" fmla="*/ 240052 w 4519987"/>
                  <a:gd name="connsiteY76" fmla="*/ 3162300 h 4496940"/>
                  <a:gd name="connsiteX77" fmla="*/ 221002 w 4519987"/>
                  <a:gd name="connsiteY77" fmla="*/ 3105150 h 4496940"/>
                  <a:gd name="connsiteX78" fmla="*/ 173377 w 4519987"/>
                  <a:gd name="connsiteY78" fmla="*/ 3019425 h 4496940"/>
                  <a:gd name="connsiteX79" fmla="*/ 144802 w 4519987"/>
                  <a:gd name="connsiteY79" fmla="*/ 2924175 h 4496940"/>
                  <a:gd name="connsiteX80" fmla="*/ 68602 w 4519987"/>
                  <a:gd name="connsiteY80" fmla="*/ 2724150 h 4496940"/>
                  <a:gd name="connsiteX81" fmla="*/ 49552 w 4519987"/>
                  <a:gd name="connsiteY81" fmla="*/ 2638425 h 4496940"/>
                  <a:gd name="connsiteX82" fmla="*/ 40027 w 4519987"/>
                  <a:gd name="connsiteY82" fmla="*/ 2562225 h 4496940"/>
                  <a:gd name="connsiteX83" fmla="*/ 30502 w 4519987"/>
                  <a:gd name="connsiteY83" fmla="*/ 2514600 h 4496940"/>
                  <a:gd name="connsiteX84" fmla="*/ 11452 w 4519987"/>
                  <a:gd name="connsiteY84" fmla="*/ 2400300 h 4496940"/>
                  <a:gd name="connsiteX85" fmla="*/ 20977 w 4519987"/>
                  <a:gd name="connsiteY85" fmla="*/ 1905000 h 4496940"/>
                  <a:gd name="connsiteX86" fmla="*/ 30502 w 4519987"/>
                  <a:gd name="connsiteY86" fmla="*/ 1838325 h 4496940"/>
                  <a:gd name="connsiteX87" fmla="*/ 49552 w 4519987"/>
                  <a:gd name="connsiteY87" fmla="*/ 1781175 h 4496940"/>
                  <a:gd name="connsiteX88" fmla="*/ 59077 w 4519987"/>
                  <a:gd name="connsiteY88" fmla="*/ 1743075 h 4496940"/>
                  <a:gd name="connsiteX89" fmla="*/ 78127 w 4519987"/>
                  <a:gd name="connsiteY89" fmla="*/ 1685925 h 4496940"/>
                  <a:gd name="connsiteX90" fmla="*/ 87652 w 4519987"/>
                  <a:gd name="connsiteY90" fmla="*/ 1638300 h 4496940"/>
                  <a:gd name="connsiteX91" fmla="*/ 106702 w 4519987"/>
                  <a:gd name="connsiteY91" fmla="*/ 1590675 h 4496940"/>
                  <a:gd name="connsiteX92" fmla="*/ 135277 w 4519987"/>
                  <a:gd name="connsiteY92" fmla="*/ 1504950 h 4496940"/>
                  <a:gd name="connsiteX93" fmla="*/ 154327 w 4519987"/>
                  <a:gd name="connsiteY93" fmla="*/ 1419225 h 4496940"/>
                  <a:gd name="connsiteX94" fmla="*/ 230527 w 4519987"/>
                  <a:gd name="connsiteY94" fmla="*/ 1276350 h 4496940"/>
                  <a:gd name="connsiteX95" fmla="*/ 240052 w 4519987"/>
                  <a:gd name="connsiteY95" fmla="*/ 1247775 h 4496940"/>
                  <a:gd name="connsiteX96" fmla="*/ 268627 w 4519987"/>
                  <a:gd name="connsiteY96" fmla="*/ 1200150 h 4496940"/>
                  <a:gd name="connsiteX97" fmla="*/ 287677 w 4519987"/>
                  <a:gd name="connsiteY97" fmla="*/ 1152525 h 4496940"/>
                  <a:gd name="connsiteX98" fmla="*/ 316252 w 4519987"/>
                  <a:gd name="connsiteY98" fmla="*/ 1114425 h 4496940"/>
                  <a:gd name="connsiteX99" fmla="*/ 363877 w 4519987"/>
                  <a:gd name="connsiteY99" fmla="*/ 1038225 h 4496940"/>
                  <a:gd name="connsiteX100" fmla="*/ 382927 w 4519987"/>
                  <a:gd name="connsiteY100" fmla="*/ 1009650 h 4496940"/>
                  <a:gd name="connsiteX101" fmla="*/ 440077 w 4519987"/>
                  <a:gd name="connsiteY101" fmla="*/ 904875 h 4496940"/>
                  <a:gd name="connsiteX102" fmla="*/ 478177 w 4519987"/>
                  <a:gd name="connsiteY102" fmla="*/ 857250 h 4496940"/>
                  <a:gd name="connsiteX103" fmla="*/ 497227 w 4519987"/>
                  <a:gd name="connsiteY103" fmla="*/ 828675 h 4496940"/>
                  <a:gd name="connsiteX104" fmla="*/ 535327 w 4519987"/>
                  <a:gd name="connsiteY104" fmla="*/ 800100 h 4496940"/>
                  <a:gd name="connsiteX105" fmla="*/ 602002 w 4519987"/>
                  <a:gd name="connsiteY105" fmla="*/ 733425 h 4496940"/>
                  <a:gd name="connsiteX106" fmla="*/ 668677 w 4519987"/>
                  <a:gd name="connsiteY106" fmla="*/ 676275 h 4496940"/>
                  <a:gd name="connsiteX107" fmla="*/ 697252 w 4519987"/>
                  <a:gd name="connsiteY107" fmla="*/ 657225 h 4496940"/>
                  <a:gd name="connsiteX108" fmla="*/ 840127 w 4519987"/>
                  <a:gd name="connsiteY108" fmla="*/ 533400 h 4496940"/>
                  <a:gd name="connsiteX109" fmla="*/ 887752 w 4519987"/>
                  <a:gd name="connsiteY109" fmla="*/ 504825 h 4496940"/>
                  <a:gd name="connsiteX110" fmla="*/ 1167152 w 4519987"/>
                  <a:gd name="connsiteY110" fmla="*/ 311150 h 4496940"/>
                  <a:gd name="connsiteX111" fmla="*/ 1268752 w 4519987"/>
                  <a:gd name="connsiteY111" fmla="*/ 285750 h 4496940"/>
                  <a:gd name="connsiteX112" fmla="*/ 1411627 w 4519987"/>
                  <a:gd name="connsiteY112" fmla="*/ 190500 h 4496940"/>
                  <a:gd name="connsiteX113" fmla="*/ 1449727 w 4519987"/>
                  <a:gd name="connsiteY113" fmla="*/ 161925 h 4496940"/>
                  <a:gd name="connsiteX114" fmla="*/ 1525927 w 4519987"/>
                  <a:gd name="connsiteY114" fmla="*/ 152400 h 4496940"/>
                  <a:gd name="connsiteX115" fmla="*/ 1583077 w 4519987"/>
                  <a:gd name="connsiteY115" fmla="*/ 142875 h 4496940"/>
                  <a:gd name="connsiteX116" fmla="*/ 1716427 w 4519987"/>
                  <a:gd name="connsiteY116" fmla="*/ 123825 h 4496940"/>
                  <a:gd name="connsiteX117" fmla="*/ 1811677 w 4519987"/>
                  <a:gd name="connsiteY117" fmla="*/ 114300 h 4496940"/>
                  <a:gd name="connsiteX118" fmla="*/ 1859302 w 4519987"/>
                  <a:gd name="connsiteY118" fmla="*/ 104775 h 4496940"/>
                  <a:gd name="connsiteX119" fmla="*/ 1916452 w 4519987"/>
                  <a:gd name="connsiteY119" fmla="*/ 95250 h 4496940"/>
                  <a:gd name="connsiteX120" fmla="*/ 2030752 w 4519987"/>
                  <a:gd name="connsiteY120" fmla="*/ 66675 h 4496940"/>
                  <a:gd name="connsiteX121" fmla="*/ 2097427 w 4519987"/>
                  <a:gd name="connsiteY121" fmla="*/ 47625 h 4496940"/>
                  <a:gd name="connsiteX122" fmla="*/ 2164102 w 4519987"/>
                  <a:gd name="connsiteY122" fmla="*/ 38100 h 4496940"/>
                  <a:gd name="connsiteX123" fmla="*/ 2392702 w 4519987"/>
                  <a:gd name="connsiteY12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335677 w 4519987"/>
                  <a:gd name="connsiteY37" fmla="*/ 4238625 h 4496940"/>
                  <a:gd name="connsiteX38" fmla="*/ 3240427 w 4519987"/>
                  <a:gd name="connsiteY38" fmla="*/ 4267200 h 4496940"/>
                  <a:gd name="connsiteX39" fmla="*/ 3068977 w 4519987"/>
                  <a:gd name="connsiteY39" fmla="*/ 4286250 h 4496940"/>
                  <a:gd name="connsiteX40" fmla="*/ 2935627 w 4519987"/>
                  <a:gd name="connsiteY40" fmla="*/ 4333875 h 4496940"/>
                  <a:gd name="connsiteX41" fmla="*/ 2811802 w 4519987"/>
                  <a:gd name="connsiteY41" fmla="*/ 4371975 h 4496940"/>
                  <a:gd name="connsiteX42" fmla="*/ 2745127 w 4519987"/>
                  <a:gd name="connsiteY42" fmla="*/ 4410075 h 4496940"/>
                  <a:gd name="connsiteX43" fmla="*/ 2697502 w 4519987"/>
                  <a:gd name="connsiteY43" fmla="*/ 4429125 h 4496940"/>
                  <a:gd name="connsiteX44" fmla="*/ 2640352 w 4519987"/>
                  <a:gd name="connsiteY44" fmla="*/ 4457700 h 4496940"/>
                  <a:gd name="connsiteX45" fmla="*/ 2583202 w 4519987"/>
                  <a:gd name="connsiteY45" fmla="*/ 4467225 h 4496940"/>
                  <a:gd name="connsiteX46" fmla="*/ 2545102 w 4519987"/>
                  <a:gd name="connsiteY46" fmla="*/ 4486275 h 4496940"/>
                  <a:gd name="connsiteX47" fmla="*/ 2306977 w 4519987"/>
                  <a:gd name="connsiteY47" fmla="*/ 4476750 h 4496940"/>
                  <a:gd name="connsiteX48" fmla="*/ 2202202 w 4519987"/>
                  <a:gd name="connsiteY48" fmla="*/ 4457700 h 4496940"/>
                  <a:gd name="connsiteX49" fmla="*/ 2126002 w 4519987"/>
                  <a:gd name="connsiteY49" fmla="*/ 4429125 h 4496940"/>
                  <a:gd name="connsiteX50" fmla="*/ 1935502 w 4519987"/>
                  <a:gd name="connsiteY50" fmla="*/ 4400550 h 4496940"/>
                  <a:gd name="connsiteX51" fmla="*/ 1821202 w 4519987"/>
                  <a:gd name="connsiteY51" fmla="*/ 4371975 h 4496940"/>
                  <a:gd name="connsiteX52" fmla="*/ 1754527 w 4519987"/>
                  <a:gd name="connsiteY52" fmla="*/ 4352925 h 4496940"/>
                  <a:gd name="connsiteX53" fmla="*/ 1687852 w 4519987"/>
                  <a:gd name="connsiteY53" fmla="*/ 4343400 h 4496940"/>
                  <a:gd name="connsiteX54" fmla="*/ 1573552 w 4519987"/>
                  <a:gd name="connsiteY54" fmla="*/ 4305300 h 4496940"/>
                  <a:gd name="connsiteX55" fmla="*/ 1402102 w 4519987"/>
                  <a:gd name="connsiteY55" fmla="*/ 4276725 h 4496940"/>
                  <a:gd name="connsiteX56" fmla="*/ 1287802 w 4519987"/>
                  <a:gd name="connsiteY56" fmla="*/ 4229100 h 4496940"/>
                  <a:gd name="connsiteX57" fmla="*/ 1221127 w 4519987"/>
                  <a:gd name="connsiteY57" fmla="*/ 4200525 h 4496940"/>
                  <a:gd name="connsiteX58" fmla="*/ 1144927 w 4519987"/>
                  <a:gd name="connsiteY58" fmla="*/ 4171950 h 4496940"/>
                  <a:gd name="connsiteX59" fmla="*/ 1087777 w 4519987"/>
                  <a:gd name="connsiteY59" fmla="*/ 4143375 h 4496940"/>
                  <a:gd name="connsiteX60" fmla="*/ 1030627 w 4519987"/>
                  <a:gd name="connsiteY60" fmla="*/ 4124325 h 4496940"/>
                  <a:gd name="connsiteX61" fmla="*/ 925852 w 4519987"/>
                  <a:gd name="connsiteY61" fmla="*/ 4067175 h 4496940"/>
                  <a:gd name="connsiteX62" fmla="*/ 830602 w 4519987"/>
                  <a:gd name="connsiteY62" fmla="*/ 3981450 h 4496940"/>
                  <a:gd name="connsiteX63" fmla="*/ 763927 w 4519987"/>
                  <a:gd name="connsiteY63" fmla="*/ 3914775 h 4496940"/>
                  <a:gd name="connsiteX64" fmla="*/ 725827 w 4519987"/>
                  <a:gd name="connsiteY64" fmla="*/ 3876675 h 4496940"/>
                  <a:gd name="connsiteX65" fmla="*/ 697252 w 4519987"/>
                  <a:gd name="connsiteY65" fmla="*/ 3838575 h 4496940"/>
                  <a:gd name="connsiteX66" fmla="*/ 640102 w 4519987"/>
                  <a:gd name="connsiteY66" fmla="*/ 3781425 h 4496940"/>
                  <a:gd name="connsiteX67" fmla="*/ 611527 w 4519987"/>
                  <a:gd name="connsiteY67" fmla="*/ 3733800 h 4496940"/>
                  <a:gd name="connsiteX68" fmla="*/ 554377 w 4519987"/>
                  <a:gd name="connsiteY68" fmla="*/ 3657600 h 4496940"/>
                  <a:gd name="connsiteX69" fmla="*/ 525802 w 4519987"/>
                  <a:gd name="connsiteY69" fmla="*/ 3609975 h 4496940"/>
                  <a:gd name="connsiteX70" fmla="*/ 497227 w 4519987"/>
                  <a:gd name="connsiteY70" fmla="*/ 3552825 h 4496940"/>
                  <a:gd name="connsiteX71" fmla="*/ 440077 w 4519987"/>
                  <a:gd name="connsiteY71" fmla="*/ 3495675 h 4496940"/>
                  <a:gd name="connsiteX72" fmla="*/ 411502 w 4519987"/>
                  <a:gd name="connsiteY72" fmla="*/ 3448050 h 4496940"/>
                  <a:gd name="connsiteX73" fmla="*/ 278152 w 4519987"/>
                  <a:gd name="connsiteY73" fmla="*/ 3257550 h 4496940"/>
                  <a:gd name="connsiteX74" fmla="*/ 249577 w 4519987"/>
                  <a:gd name="connsiteY74" fmla="*/ 3200400 h 4496940"/>
                  <a:gd name="connsiteX75" fmla="*/ 240052 w 4519987"/>
                  <a:gd name="connsiteY75" fmla="*/ 3162300 h 4496940"/>
                  <a:gd name="connsiteX76" fmla="*/ 221002 w 4519987"/>
                  <a:gd name="connsiteY76" fmla="*/ 3105150 h 4496940"/>
                  <a:gd name="connsiteX77" fmla="*/ 173377 w 4519987"/>
                  <a:gd name="connsiteY77" fmla="*/ 3019425 h 4496940"/>
                  <a:gd name="connsiteX78" fmla="*/ 144802 w 4519987"/>
                  <a:gd name="connsiteY78" fmla="*/ 2924175 h 4496940"/>
                  <a:gd name="connsiteX79" fmla="*/ 68602 w 4519987"/>
                  <a:gd name="connsiteY79" fmla="*/ 2724150 h 4496940"/>
                  <a:gd name="connsiteX80" fmla="*/ 49552 w 4519987"/>
                  <a:gd name="connsiteY80" fmla="*/ 2638425 h 4496940"/>
                  <a:gd name="connsiteX81" fmla="*/ 40027 w 4519987"/>
                  <a:gd name="connsiteY81" fmla="*/ 2562225 h 4496940"/>
                  <a:gd name="connsiteX82" fmla="*/ 30502 w 4519987"/>
                  <a:gd name="connsiteY82" fmla="*/ 2514600 h 4496940"/>
                  <a:gd name="connsiteX83" fmla="*/ 11452 w 4519987"/>
                  <a:gd name="connsiteY83" fmla="*/ 2400300 h 4496940"/>
                  <a:gd name="connsiteX84" fmla="*/ 20977 w 4519987"/>
                  <a:gd name="connsiteY84" fmla="*/ 1905000 h 4496940"/>
                  <a:gd name="connsiteX85" fmla="*/ 30502 w 4519987"/>
                  <a:gd name="connsiteY85" fmla="*/ 1838325 h 4496940"/>
                  <a:gd name="connsiteX86" fmla="*/ 49552 w 4519987"/>
                  <a:gd name="connsiteY86" fmla="*/ 1781175 h 4496940"/>
                  <a:gd name="connsiteX87" fmla="*/ 59077 w 4519987"/>
                  <a:gd name="connsiteY87" fmla="*/ 1743075 h 4496940"/>
                  <a:gd name="connsiteX88" fmla="*/ 78127 w 4519987"/>
                  <a:gd name="connsiteY88" fmla="*/ 1685925 h 4496940"/>
                  <a:gd name="connsiteX89" fmla="*/ 87652 w 4519987"/>
                  <a:gd name="connsiteY89" fmla="*/ 1638300 h 4496940"/>
                  <a:gd name="connsiteX90" fmla="*/ 106702 w 4519987"/>
                  <a:gd name="connsiteY90" fmla="*/ 1590675 h 4496940"/>
                  <a:gd name="connsiteX91" fmla="*/ 135277 w 4519987"/>
                  <a:gd name="connsiteY91" fmla="*/ 1504950 h 4496940"/>
                  <a:gd name="connsiteX92" fmla="*/ 154327 w 4519987"/>
                  <a:gd name="connsiteY92" fmla="*/ 1419225 h 4496940"/>
                  <a:gd name="connsiteX93" fmla="*/ 230527 w 4519987"/>
                  <a:gd name="connsiteY93" fmla="*/ 1276350 h 4496940"/>
                  <a:gd name="connsiteX94" fmla="*/ 240052 w 4519987"/>
                  <a:gd name="connsiteY94" fmla="*/ 1247775 h 4496940"/>
                  <a:gd name="connsiteX95" fmla="*/ 268627 w 4519987"/>
                  <a:gd name="connsiteY95" fmla="*/ 1200150 h 4496940"/>
                  <a:gd name="connsiteX96" fmla="*/ 287677 w 4519987"/>
                  <a:gd name="connsiteY96" fmla="*/ 1152525 h 4496940"/>
                  <a:gd name="connsiteX97" fmla="*/ 316252 w 4519987"/>
                  <a:gd name="connsiteY97" fmla="*/ 1114425 h 4496940"/>
                  <a:gd name="connsiteX98" fmla="*/ 363877 w 4519987"/>
                  <a:gd name="connsiteY98" fmla="*/ 1038225 h 4496940"/>
                  <a:gd name="connsiteX99" fmla="*/ 382927 w 4519987"/>
                  <a:gd name="connsiteY99" fmla="*/ 1009650 h 4496940"/>
                  <a:gd name="connsiteX100" fmla="*/ 440077 w 4519987"/>
                  <a:gd name="connsiteY100" fmla="*/ 904875 h 4496940"/>
                  <a:gd name="connsiteX101" fmla="*/ 478177 w 4519987"/>
                  <a:gd name="connsiteY101" fmla="*/ 857250 h 4496940"/>
                  <a:gd name="connsiteX102" fmla="*/ 497227 w 4519987"/>
                  <a:gd name="connsiteY102" fmla="*/ 828675 h 4496940"/>
                  <a:gd name="connsiteX103" fmla="*/ 535327 w 4519987"/>
                  <a:gd name="connsiteY103" fmla="*/ 800100 h 4496940"/>
                  <a:gd name="connsiteX104" fmla="*/ 602002 w 4519987"/>
                  <a:gd name="connsiteY104" fmla="*/ 733425 h 4496940"/>
                  <a:gd name="connsiteX105" fmla="*/ 668677 w 4519987"/>
                  <a:gd name="connsiteY105" fmla="*/ 676275 h 4496940"/>
                  <a:gd name="connsiteX106" fmla="*/ 697252 w 4519987"/>
                  <a:gd name="connsiteY106" fmla="*/ 657225 h 4496940"/>
                  <a:gd name="connsiteX107" fmla="*/ 840127 w 4519987"/>
                  <a:gd name="connsiteY107" fmla="*/ 533400 h 4496940"/>
                  <a:gd name="connsiteX108" fmla="*/ 887752 w 4519987"/>
                  <a:gd name="connsiteY108" fmla="*/ 504825 h 4496940"/>
                  <a:gd name="connsiteX109" fmla="*/ 1167152 w 4519987"/>
                  <a:gd name="connsiteY109" fmla="*/ 311150 h 4496940"/>
                  <a:gd name="connsiteX110" fmla="*/ 1268752 w 4519987"/>
                  <a:gd name="connsiteY110" fmla="*/ 285750 h 4496940"/>
                  <a:gd name="connsiteX111" fmla="*/ 1411627 w 4519987"/>
                  <a:gd name="connsiteY111" fmla="*/ 190500 h 4496940"/>
                  <a:gd name="connsiteX112" fmla="*/ 1449727 w 4519987"/>
                  <a:gd name="connsiteY112" fmla="*/ 161925 h 4496940"/>
                  <a:gd name="connsiteX113" fmla="*/ 1525927 w 4519987"/>
                  <a:gd name="connsiteY113" fmla="*/ 152400 h 4496940"/>
                  <a:gd name="connsiteX114" fmla="*/ 1583077 w 4519987"/>
                  <a:gd name="connsiteY114" fmla="*/ 142875 h 4496940"/>
                  <a:gd name="connsiteX115" fmla="*/ 1716427 w 4519987"/>
                  <a:gd name="connsiteY115" fmla="*/ 123825 h 4496940"/>
                  <a:gd name="connsiteX116" fmla="*/ 1811677 w 4519987"/>
                  <a:gd name="connsiteY116" fmla="*/ 114300 h 4496940"/>
                  <a:gd name="connsiteX117" fmla="*/ 1859302 w 4519987"/>
                  <a:gd name="connsiteY117" fmla="*/ 104775 h 4496940"/>
                  <a:gd name="connsiteX118" fmla="*/ 1916452 w 4519987"/>
                  <a:gd name="connsiteY118" fmla="*/ 95250 h 4496940"/>
                  <a:gd name="connsiteX119" fmla="*/ 2030752 w 4519987"/>
                  <a:gd name="connsiteY119" fmla="*/ 66675 h 4496940"/>
                  <a:gd name="connsiteX120" fmla="*/ 2097427 w 4519987"/>
                  <a:gd name="connsiteY120" fmla="*/ 47625 h 4496940"/>
                  <a:gd name="connsiteX121" fmla="*/ 2164102 w 4519987"/>
                  <a:gd name="connsiteY121" fmla="*/ 38100 h 4496940"/>
                  <a:gd name="connsiteX122" fmla="*/ 2392702 w 4519987"/>
                  <a:gd name="connsiteY12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240427 w 4519987"/>
                  <a:gd name="connsiteY37" fmla="*/ 4267200 h 4496940"/>
                  <a:gd name="connsiteX38" fmla="*/ 3068977 w 4519987"/>
                  <a:gd name="connsiteY38" fmla="*/ 4286250 h 4496940"/>
                  <a:gd name="connsiteX39" fmla="*/ 2935627 w 4519987"/>
                  <a:gd name="connsiteY39" fmla="*/ 4333875 h 4496940"/>
                  <a:gd name="connsiteX40" fmla="*/ 2811802 w 4519987"/>
                  <a:gd name="connsiteY40" fmla="*/ 4371975 h 4496940"/>
                  <a:gd name="connsiteX41" fmla="*/ 2745127 w 4519987"/>
                  <a:gd name="connsiteY41" fmla="*/ 4410075 h 4496940"/>
                  <a:gd name="connsiteX42" fmla="*/ 2697502 w 4519987"/>
                  <a:gd name="connsiteY42" fmla="*/ 4429125 h 4496940"/>
                  <a:gd name="connsiteX43" fmla="*/ 2640352 w 4519987"/>
                  <a:gd name="connsiteY43" fmla="*/ 4457700 h 4496940"/>
                  <a:gd name="connsiteX44" fmla="*/ 2583202 w 4519987"/>
                  <a:gd name="connsiteY44" fmla="*/ 4467225 h 4496940"/>
                  <a:gd name="connsiteX45" fmla="*/ 2545102 w 4519987"/>
                  <a:gd name="connsiteY45" fmla="*/ 4486275 h 4496940"/>
                  <a:gd name="connsiteX46" fmla="*/ 2306977 w 4519987"/>
                  <a:gd name="connsiteY46" fmla="*/ 4476750 h 4496940"/>
                  <a:gd name="connsiteX47" fmla="*/ 2202202 w 4519987"/>
                  <a:gd name="connsiteY47" fmla="*/ 4457700 h 4496940"/>
                  <a:gd name="connsiteX48" fmla="*/ 2126002 w 4519987"/>
                  <a:gd name="connsiteY48" fmla="*/ 4429125 h 4496940"/>
                  <a:gd name="connsiteX49" fmla="*/ 1935502 w 4519987"/>
                  <a:gd name="connsiteY49" fmla="*/ 4400550 h 4496940"/>
                  <a:gd name="connsiteX50" fmla="*/ 1821202 w 4519987"/>
                  <a:gd name="connsiteY50" fmla="*/ 4371975 h 4496940"/>
                  <a:gd name="connsiteX51" fmla="*/ 1754527 w 4519987"/>
                  <a:gd name="connsiteY51" fmla="*/ 4352925 h 4496940"/>
                  <a:gd name="connsiteX52" fmla="*/ 1687852 w 4519987"/>
                  <a:gd name="connsiteY52" fmla="*/ 4343400 h 4496940"/>
                  <a:gd name="connsiteX53" fmla="*/ 1573552 w 4519987"/>
                  <a:gd name="connsiteY53" fmla="*/ 4305300 h 4496940"/>
                  <a:gd name="connsiteX54" fmla="*/ 1402102 w 4519987"/>
                  <a:gd name="connsiteY54" fmla="*/ 4276725 h 4496940"/>
                  <a:gd name="connsiteX55" fmla="*/ 1287802 w 4519987"/>
                  <a:gd name="connsiteY55" fmla="*/ 4229100 h 4496940"/>
                  <a:gd name="connsiteX56" fmla="*/ 1221127 w 4519987"/>
                  <a:gd name="connsiteY56" fmla="*/ 4200525 h 4496940"/>
                  <a:gd name="connsiteX57" fmla="*/ 1144927 w 4519987"/>
                  <a:gd name="connsiteY57" fmla="*/ 4171950 h 4496940"/>
                  <a:gd name="connsiteX58" fmla="*/ 1087777 w 4519987"/>
                  <a:gd name="connsiteY58" fmla="*/ 4143375 h 4496940"/>
                  <a:gd name="connsiteX59" fmla="*/ 1030627 w 4519987"/>
                  <a:gd name="connsiteY59" fmla="*/ 4124325 h 4496940"/>
                  <a:gd name="connsiteX60" fmla="*/ 925852 w 4519987"/>
                  <a:gd name="connsiteY60" fmla="*/ 4067175 h 4496940"/>
                  <a:gd name="connsiteX61" fmla="*/ 830602 w 4519987"/>
                  <a:gd name="connsiteY61" fmla="*/ 3981450 h 4496940"/>
                  <a:gd name="connsiteX62" fmla="*/ 763927 w 4519987"/>
                  <a:gd name="connsiteY62" fmla="*/ 3914775 h 4496940"/>
                  <a:gd name="connsiteX63" fmla="*/ 725827 w 4519987"/>
                  <a:gd name="connsiteY63" fmla="*/ 3876675 h 4496940"/>
                  <a:gd name="connsiteX64" fmla="*/ 697252 w 4519987"/>
                  <a:gd name="connsiteY64" fmla="*/ 3838575 h 4496940"/>
                  <a:gd name="connsiteX65" fmla="*/ 640102 w 4519987"/>
                  <a:gd name="connsiteY65" fmla="*/ 3781425 h 4496940"/>
                  <a:gd name="connsiteX66" fmla="*/ 611527 w 4519987"/>
                  <a:gd name="connsiteY66" fmla="*/ 3733800 h 4496940"/>
                  <a:gd name="connsiteX67" fmla="*/ 554377 w 4519987"/>
                  <a:gd name="connsiteY67" fmla="*/ 3657600 h 4496940"/>
                  <a:gd name="connsiteX68" fmla="*/ 525802 w 4519987"/>
                  <a:gd name="connsiteY68" fmla="*/ 3609975 h 4496940"/>
                  <a:gd name="connsiteX69" fmla="*/ 497227 w 4519987"/>
                  <a:gd name="connsiteY69" fmla="*/ 3552825 h 4496940"/>
                  <a:gd name="connsiteX70" fmla="*/ 440077 w 4519987"/>
                  <a:gd name="connsiteY70" fmla="*/ 3495675 h 4496940"/>
                  <a:gd name="connsiteX71" fmla="*/ 411502 w 4519987"/>
                  <a:gd name="connsiteY71" fmla="*/ 3448050 h 4496940"/>
                  <a:gd name="connsiteX72" fmla="*/ 278152 w 4519987"/>
                  <a:gd name="connsiteY72" fmla="*/ 3257550 h 4496940"/>
                  <a:gd name="connsiteX73" fmla="*/ 249577 w 4519987"/>
                  <a:gd name="connsiteY73" fmla="*/ 3200400 h 4496940"/>
                  <a:gd name="connsiteX74" fmla="*/ 240052 w 4519987"/>
                  <a:gd name="connsiteY74" fmla="*/ 3162300 h 4496940"/>
                  <a:gd name="connsiteX75" fmla="*/ 221002 w 4519987"/>
                  <a:gd name="connsiteY75" fmla="*/ 3105150 h 4496940"/>
                  <a:gd name="connsiteX76" fmla="*/ 173377 w 4519987"/>
                  <a:gd name="connsiteY76" fmla="*/ 3019425 h 4496940"/>
                  <a:gd name="connsiteX77" fmla="*/ 144802 w 4519987"/>
                  <a:gd name="connsiteY77" fmla="*/ 2924175 h 4496940"/>
                  <a:gd name="connsiteX78" fmla="*/ 68602 w 4519987"/>
                  <a:gd name="connsiteY78" fmla="*/ 2724150 h 4496940"/>
                  <a:gd name="connsiteX79" fmla="*/ 49552 w 4519987"/>
                  <a:gd name="connsiteY79" fmla="*/ 2638425 h 4496940"/>
                  <a:gd name="connsiteX80" fmla="*/ 40027 w 4519987"/>
                  <a:gd name="connsiteY80" fmla="*/ 2562225 h 4496940"/>
                  <a:gd name="connsiteX81" fmla="*/ 30502 w 4519987"/>
                  <a:gd name="connsiteY81" fmla="*/ 2514600 h 4496940"/>
                  <a:gd name="connsiteX82" fmla="*/ 11452 w 4519987"/>
                  <a:gd name="connsiteY82" fmla="*/ 2400300 h 4496940"/>
                  <a:gd name="connsiteX83" fmla="*/ 20977 w 4519987"/>
                  <a:gd name="connsiteY83" fmla="*/ 1905000 h 4496940"/>
                  <a:gd name="connsiteX84" fmla="*/ 30502 w 4519987"/>
                  <a:gd name="connsiteY84" fmla="*/ 1838325 h 4496940"/>
                  <a:gd name="connsiteX85" fmla="*/ 49552 w 4519987"/>
                  <a:gd name="connsiteY85" fmla="*/ 1781175 h 4496940"/>
                  <a:gd name="connsiteX86" fmla="*/ 59077 w 4519987"/>
                  <a:gd name="connsiteY86" fmla="*/ 1743075 h 4496940"/>
                  <a:gd name="connsiteX87" fmla="*/ 78127 w 4519987"/>
                  <a:gd name="connsiteY87" fmla="*/ 1685925 h 4496940"/>
                  <a:gd name="connsiteX88" fmla="*/ 87652 w 4519987"/>
                  <a:gd name="connsiteY88" fmla="*/ 1638300 h 4496940"/>
                  <a:gd name="connsiteX89" fmla="*/ 106702 w 4519987"/>
                  <a:gd name="connsiteY89" fmla="*/ 1590675 h 4496940"/>
                  <a:gd name="connsiteX90" fmla="*/ 135277 w 4519987"/>
                  <a:gd name="connsiteY90" fmla="*/ 1504950 h 4496940"/>
                  <a:gd name="connsiteX91" fmla="*/ 154327 w 4519987"/>
                  <a:gd name="connsiteY91" fmla="*/ 1419225 h 4496940"/>
                  <a:gd name="connsiteX92" fmla="*/ 230527 w 4519987"/>
                  <a:gd name="connsiteY92" fmla="*/ 1276350 h 4496940"/>
                  <a:gd name="connsiteX93" fmla="*/ 240052 w 4519987"/>
                  <a:gd name="connsiteY93" fmla="*/ 1247775 h 4496940"/>
                  <a:gd name="connsiteX94" fmla="*/ 268627 w 4519987"/>
                  <a:gd name="connsiteY94" fmla="*/ 1200150 h 4496940"/>
                  <a:gd name="connsiteX95" fmla="*/ 287677 w 4519987"/>
                  <a:gd name="connsiteY95" fmla="*/ 1152525 h 4496940"/>
                  <a:gd name="connsiteX96" fmla="*/ 316252 w 4519987"/>
                  <a:gd name="connsiteY96" fmla="*/ 1114425 h 4496940"/>
                  <a:gd name="connsiteX97" fmla="*/ 363877 w 4519987"/>
                  <a:gd name="connsiteY97" fmla="*/ 1038225 h 4496940"/>
                  <a:gd name="connsiteX98" fmla="*/ 382927 w 4519987"/>
                  <a:gd name="connsiteY98" fmla="*/ 1009650 h 4496940"/>
                  <a:gd name="connsiteX99" fmla="*/ 440077 w 4519987"/>
                  <a:gd name="connsiteY99" fmla="*/ 904875 h 4496940"/>
                  <a:gd name="connsiteX100" fmla="*/ 478177 w 4519987"/>
                  <a:gd name="connsiteY100" fmla="*/ 857250 h 4496940"/>
                  <a:gd name="connsiteX101" fmla="*/ 497227 w 4519987"/>
                  <a:gd name="connsiteY101" fmla="*/ 828675 h 4496940"/>
                  <a:gd name="connsiteX102" fmla="*/ 535327 w 4519987"/>
                  <a:gd name="connsiteY102" fmla="*/ 800100 h 4496940"/>
                  <a:gd name="connsiteX103" fmla="*/ 602002 w 4519987"/>
                  <a:gd name="connsiteY103" fmla="*/ 733425 h 4496940"/>
                  <a:gd name="connsiteX104" fmla="*/ 668677 w 4519987"/>
                  <a:gd name="connsiteY104" fmla="*/ 676275 h 4496940"/>
                  <a:gd name="connsiteX105" fmla="*/ 697252 w 4519987"/>
                  <a:gd name="connsiteY105" fmla="*/ 657225 h 4496940"/>
                  <a:gd name="connsiteX106" fmla="*/ 840127 w 4519987"/>
                  <a:gd name="connsiteY106" fmla="*/ 533400 h 4496940"/>
                  <a:gd name="connsiteX107" fmla="*/ 887752 w 4519987"/>
                  <a:gd name="connsiteY107" fmla="*/ 504825 h 4496940"/>
                  <a:gd name="connsiteX108" fmla="*/ 1167152 w 4519987"/>
                  <a:gd name="connsiteY108" fmla="*/ 311150 h 4496940"/>
                  <a:gd name="connsiteX109" fmla="*/ 1268752 w 4519987"/>
                  <a:gd name="connsiteY109" fmla="*/ 285750 h 4496940"/>
                  <a:gd name="connsiteX110" fmla="*/ 1411627 w 4519987"/>
                  <a:gd name="connsiteY110" fmla="*/ 190500 h 4496940"/>
                  <a:gd name="connsiteX111" fmla="*/ 1449727 w 4519987"/>
                  <a:gd name="connsiteY111" fmla="*/ 161925 h 4496940"/>
                  <a:gd name="connsiteX112" fmla="*/ 1525927 w 4519987"/>
                  <a:gd name="connsiteY112" fmla="*/ 152400 h 4496940"/>
                  <a:gd name="connsiteX113" fmla="*/ 1583077 w 4519987"/>
                  <a:gd name="connsiteY113" fmla="*/ 142875 h 4496940"/>
                  <a:gd name="connsiteX114" fmla="*/ 1716427 w 4519987"/>
                  <a:gd name="connsiteY114" fmla="*/ 123825 h 4496940"/>
                  <a:gd name="connsiteX115" fmla="*/ 1811677 w 4519987"/>
                  <a:gd name="connsiteY115" fmla="*/ 114300 h 4496940"/>
                  <a:gd name="connsiteX116" fmla="*/ 1859302 w 4519987"/>
                  <a:gd name="connsiteY116" fmla="*/ 104775 h 4496940"/>
                  <a:gd name="connsiteX117" fmla="*/ 1916452 w 4519987"/>
                  <a:gd name="connsiteY117" fmla="*/ 95250 h 4496940"/>
                  <a:gd name="connsiteX118" fmla="*/ 2030752 w 4519987"/>
                  <a:gd name="connsiteY118" fmla="*/ 66675 h 4496940"/>
                  <a:gd name="connsiteX119" fmla="*/ 2097427 w 4519987"/>
                  <a:gd name="connsiteY119" fmla="*/ 47625 h 4496940"/>
                  <a:gd name="connsiteX120" fmla="*/ 2164102 w 4519987"/>
                  <a:gd name="connsiteY120" fmla="*/ 38100 h 4496940"/>
                  <a:gd name="connsiteX121" fmla="*/ 2392702 w 4519987"/>
                  <a:gd name="connsiteY12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221377 w 4519987"/>
                  <a:gd name="connsiteY37" fmla="*/ 4222750 h 4496940"/>
                  <a:gd name="connsiteX38" fmla="*/ 3068977 w 4519987"/>
                  <a:gd name="connsiteY38" fmla="*/ 4286250 h 4496940"/>
                  <a:gd name="connsiteX39" fmla="*/ 2935627 w 4519987"/>
                  <a:gd name="connsiteY39" fmla="*/ 4333875 h 4496940"/>
                  <a:gd name="connsiteX40" fmla="*/ 2811802 w 4519987"/>
                  <a:gd name="connsiteY40" fmla="*/ 4371975 h 4496940"/>
                  <a:gd name="connsiteX41" fmla="*/ 2745127 w 4519987"/>
                  <a:gd name="connsiteY41" fmla="*/ 4410075 h 4496940"/>
                  <a:gd name="connsiteX42" fmla="*/ 2697502 w 4519987"/>
                  <a:gd name="connsiteY42" fmla="*/ 4429125 h 4496940"/>
                  <a:gd name="connsiteX43" fmla="*/ 2640352 w 4519987"/>
                  <a:gd name="connsiteY43" fmla="*/ 4457700 h 4496940"/>
                  <a:gd name="connsiteX44" fmla="*/ 2583202 w 4519987"/>
                  <a:gd name="connsiteY44" fmla="*/ 4467225 h 4496940"/>
                  <a:gd name="connsiteX45" fmla="*/ 2545102 w 4519987"/>
                  <a:gd name="connsiteY45" fmla="*/ 4486275 h 4496940"/>
                  <a:gd name="connsiteX46" fmla="*/ 2306977 w 4519987"/>
                  <a:gd name="connsiteY46" fmla="*/ 4476750 h 4496940"/>
                  <a:gd name="connsiteX47" fmla="*/ 2202202 w 4519987"/>
                  <a:gd name="connsiteY47" fmla="*/ 4457700 h 4496940"/>
                  <a:gd name="connsiteX48" fmla="*/ 2126002 w 4519987"/>
                  <a:gd name="connsiteY48" fmla="*/ 4429125 h 4496940"/>
                  <a:gd name="connsiteX49" fmla="*/ 1935502 w 4519987"/>
                  <a:gd name="connsiteY49" fmla="*/ 4400550 h 4496940"/>
                  <a:gd name="connsiteX50" fmla="*/ 1821202 w 4519987"/>
                  <a:gd name="connsiteY50" fmla="*/ 4371975 h 4496940"/>
                  <a:gd name="connsiteX51" fmla="*/ 1754527 w 4519987"/>
                  <a:gd name="connsiteY51" fmla="*/ 4352925 h 4496940"/>
                  <a:gd name="connsiteX52" fmla="*/ 1687852 w 4519987"/>
                  <a:gd name="connsiteY52" fmla="*/ 4343400 h 4496940"/>
                  <a:gd name="connsiteX53" fmla="*/ 1573552 w 4519987"/>
                  <a:gd name="connsiteY53" fmla="*/ 4305300 h 4496940"/>
                  <a:gd name="connsiteX54" fmla="*/ 1402102 w 4519987"/>
                  <a:gd name="connsiteY54" fmla="*/ 4276725 h 4496940"/>
                  <a:gd name="connsiteX55" fmla="*/ 1287802 w 4519987"/>
                  <a:gd name="connsiteY55" fmla="*/ 4229100 h 4496940"/>
                  <a:gd name="connsiteX56" fmla="*/ 1221127 w 4519987"/>
                  <a:gd name="connsiteY56" fmla="*/ 4200525 h 4496940"/>
                  <a:gd name="connsiteX57" fmla="*/ 1144927 w 4519987"/>
                  <a:gd name="connsiteY57" fmla="*/ 4171950 h 4496940"/>
                  <a:gd name="connsiteX58" fmla="*/ 1087777 w 4519987"/>
                  <a:gd name="connsiteY58" fmla="*/ 4143375 h 4496940"/>
                  <a:gd name="connsiteX59" fmla="*/ 1030627 w 4519987"/>
                  <a:gd name="connsiteY59" fmla="*/ 4124325 h 4496940"/>
                  <a:gd name="connsiteX60" fmla="*/ 925852 w 4519987"/>
                  <a:gd name="connsiteY60" fmla="*/ 4067175 h 4496940"/>
                  <a:gd name="connsiteX61" fmla="*/ 830602 w 4519987"/>
                  <a:gd name="connsiteY61" fmla="*/ 3981450 h 4496940"/>
                  <a:gd name="connsiteX62" fmla="*/ 763927 w 4519987"/>
                  <a:gd name="connsiteY62" fmla="*/ 3914775 h 4496940"/>
                  <a:gd name="connsiteX63" fmla="*/ 725827 w 4519987"/>
                  <a:gd name="connsiteY63" fmla="*/ 3876675 h 4496940"/>
                  <a:gd name="connsiteX64" fmla="*/ 697252 w 4519987"/>
                  <a:gd name="connsiteY64" fmla="*/ 3838575 h 4496940"/>
                  <a:gd name="connsiteX65" fmla="*/ 640102 w 4519987"/>
                  <a:gd name="connsiteY65" fmla="*/ 3781425 h 4496940"/>
                  <a:gd name="connsiteX66" fmla="*/ 611527 w 4519987"/>
                  <a:gd name="connsiteY66" fmla="*/ 3733800 h 4496940"/>
                  <a:gd name="connsiteX67" fmla="*/ 554377 w 4519987"/>
                  <a:gd name="connsiteY67" fmla="*/ 3657600 h 4496940"/>
                  <a:gd name="connsiteX68" fmla="*/ 525802 w 4519987"/>
                  <a:gd name="connsiteY68" fmla="*/ 3609975 h 4496940"/>
                  <a:gd name="connsiteX69" fmla="*/ 497227 w 4519987"/>
                  <a:gd name="connsiteY69" fmla="*/ 3552825 h 4496940"/>
                  <a:gd name="connsiteX70" fmla="*/ 440077 w 4519987"/>
                  <a:gd name="connsiteY70" fmla="*/ 3495675 h 4496940"/>
                  <a:gd name="connsiteX71" fmla="*/ 411502 w 4519987"/>
                  <a:gd name="connsiteY71" fmla="*/ 3448050 h 4496940"/>
                  <a:gd name="connsiteX72" fmla="*/ 278152 w 4519987"/>
                  <a:gd name="connsiteY72" fmla="*/ 3257550 h 4496940"/>
                  <a:gd name="connsiteX73" fmla="*/ 249577 w 4519987"/>
                  <a:gd name="connsiteY73" fmla="*/ 3200400 h 4496940"/>
                  <a:gd name="connsiteX74" fmla="*/ 240052 w 4519987"/>
                  <a:gd name="connsiteY74" fmla="*/ 3162300 h 4496940"/>
                  <a:gd name="connsiteX75" fmla="*/ 221002 w 4519987"/>
                  <a:gd name="connsiteY75" fmla="*/ 3105150 h 4496940"/>
                  <a:gd name="connsiteX76" fmla="*/ 173377 w 4519987"/>
                  <a:gd name="connsiteY76" fmla="*/ 3019425 h 4496940"/>
                  <a:gd name="connsiteX77" fmla="*/ 144802 w 4519987"/>
                  <a:gd name="connsiteY77" fmla="*/ 2924175 h 4496940"/>
                  <a:gd name="connsiteX78" fmla="*/ 68602 w 4519987"/>
                  <a:gd name="connsiteY78" fmla="*/ 2724150 h 4496940"/>
                  <a:gd name="connsiteX79" fmla="*/ 49552 w 4519987"/>
                  <a:gd name="connsiteY79" fmla="*/ 2638425 h 4496940"/>
                  <a:gd name="connsiteX80" fmla="*/ 40027 w 4519987"/>
                  <a:gd name="connsiteY80" fmla="*/ 2562225 h 4496940"/>
                  <a:gd name="connsiteX81" fmla="*/ 30502 w 4519987"/>
                  <a:gd name="connsiteY81" fmla="*/ 2514600 h 4496940"/>
                  <a:gd name="connsiteX82" fmla="*/ 11452 w 4519987"/>
                  <a:gd name="connsiteY82" fmla="*/ 2400300 h 4496940"/>
                  <a:gd name="connsiteX83" fmla="*/ 20977 w 4519987"/>
                  <a:gd name="connsiteY83" fmla="*/ 1905000 h 4496940"/>
                  <a:gd name="connsiteX84" fmla="*/ 30502 w 4519987"/>
                  <a:gd name="connsiteY84" fmla="*/ 1838325 h 4496940"/>
                  <a:gd name="connsiteX85" fmla="*/ 49552 w 4519987"/>
                  <a:gd name="connsiteY85" fmla="*/ 1781175 h 4496940"/>
                  <a:gd name="connsiteX86" fmla="*/ 59077 w 4519987"/>
                  <a:gd name="connsiteY86" fmla="*/ 1743075 h 4496940"/>
                  <a:gd name="connsiteX87" fmla="*/ 78127 w 4519987"/>
                  <a:gd name="connsiteY87" fmla="*/ 1685925 h 4496940"/>
                  <a:gd name="connsiteX88" fmla="*/ 87652 w 4519987"/>
                  <a:gd name="connsiteY88" fmla="*/ 1638300 h 4496940"/>
                  <a:gd name="connsiteX89" fmla="*/ 106702 w 4519987"/>
                  <a:gd name="connsiteY89" fmla="*/ 1590675 h 4496940"/>
                  <a:gd name="connsiteX90" fmla="*/ 135277 w 4519987"/>
                  <a:gd name="connsiteY90" fmla="*/ 1504950 h 4496940"/>
                  <a:gd name="connsiteX91" fmla="*/ 154327 w 4519987"/>
                  <a:gd name="connsiteY91" fmla="*/ 1419225 h 4496940"/>
                  <a:gd name="connsiteX92" fmla="*/ 230527 w 4519987"/>
                  <a:gd name="connsiteY92" fmla="*/ 1276350 h 4496940"/>
                  <a:gd name="connsiteX93" fmla="*/ 240052 w 4519987"/>
                  <a:gd name="connsiteY93" fmla="*/ 1247775 h 4496940"/>
                  <a:gd name="connsiteX94" fmla="*/ 268627 w 4519987"/>
                  <a:gd name="connsiteY94" fmla="*/ 1200150 h 4496940"/>
                  <a:gd name="connsiteX95" fmla="*/ 287677 w 4519987"/>
                  <a:gd name="connsiteY95" fmla="*/ 1152525 h 4496940"/>
                  <a:gd name="connsiteX96" fmla="*/ 316252 w 4519987"/>
                  <a:gd name="connsiteY96" fmla="*/ 1114425 h 4496940"/>
                  <a:gd name="connsiteX97" fmla="*/ 363877 w 4519987"/>
                  <a:gd name="connsiteY97" fmla="*/ 1038225 h 4496940"/>
                  <a:gd name="connsiteX98" fmla="*/ 382927 w 4519987"/>
                  <a:gd name="connsiteY98" fmla="*/ 1009650 h 4496940"/>
                  <a:gd name="connsiteX99" fmla="*/ 440077 w 4519987"/>
                  <a:gd name="connsiteY99" fmla="*/ 904875 h 4496940"/>
                  <a:gd name="connsiteX100" fmla="*/ 478177 w 4519987"/>
                  <a:gd name="connsiteY100" fmla="*/ 857250 h 4496940"/>
                  <a:gd name="connsiteX101" fmla="*/ 497227 w 4519987"/>
                  <a:gd name="connsiteY101" fmla="*/ 828675 h 4496940"/>
                  <a:gd name="connsiteX102" fmla="*/ 535327 w 4519987"/>
                  <a:gd name="connsiteY102" fmla="*/ 800100 h 4496940"/>
                  <a:gd name="connsiteX103" fmla="*/ 602002 w 4519987"/>
                  <a:gd name="connsiteY103" fmla="*/ 733425 h 4496940"/>
                  <a:gd name="connsiteX104" fmla="*/ 668677 w 4519987"/>
                  <a:gd name="connsiteY104" fmla="*/ 676275 h 4496940"/>
                  <a:gd name="connsiteX105" fmla="*/ 697252 w 4519987"/>
                  <a:gd name="connsiteY105" fmla="*/ 657225 h 4496940"/>
                  <a:gd name="connsiteX106" fmla="*/ 840127 w 4519987"/>
                  <a:gd name="connsiteY106" fmla="*/ 533400 h 4496940"/>
                  <a:gd name="connsiteX107" fmla="*/ 887752 w 4519987"/>
                  <a:gd name="connsiteY107" fmla="*/ 504825 h 4496940"/>
                  <a:gd name="connsiteX108" fmla="*/ 1167152 w 4519987"/>
                  <a:gd name="connsiteY108" fmla="*/ 311150 h 4496940"/>
                  <a:gd name="connsiteX109" fmla="*/ 1268752 w 4519987"/>
                  <a:gd name="connsiteY109" fmla="*/ 285750 h 4496940"/>
                  <a:gd name="connsiteX110" fmla="*/ 1411627 w 4519987"/>
                  <a:gd name="connsiteY110" fmla="*/ 190500 h 4496940"/>
                  <a:gd name="connsiteX111" fmla="*/ 1449727 w 4519987"/>
                  <a:gd name="connsiteY111" fmla="*/ 161925 h 4496940"/>
                  <a:gd name="connsiteX112" fmla="*/ 1525927 w 4519987"/>
                  <a:gd name="connsiteY112" fmla="*/ 152400 h 4496940"/>
                  <a:gd name="connsiteX113" fmla="*/ 1583077 w 4519987"/>
                  <a:gd name="connsiteY113" fmla="*/ 142875 h 4496940"/>
                  <a:gd name="connsiteX114" fmla="*/ 1716427 w 4519987"/>
                  <a:gd name="connsiteY114" fmla="*/ 123825 h 4496940"/>
                  <a:gd name="connsiteX115" fmla="*/ 1811677 w 4519987"/>
                  <a:gd name="connsiteY115" fmla="*/ 114300 h 4496940"/>
                  <a:gd name="connsiteX116" fmla="*/ 1859302 w 4519987"/>
                  <a:gd name="connsiteY116" fmla="*/ 104775 h 4496940"/>
                  <a:gd name="connsiteX117" fmla="*/ 1916452 w 4519987"/>
                  <a:gd name="connsiteY117" fmla="*/ 95250 h 4496940"/>
                  <a:gd name="connsiteX118" fmla="*/ 2030752 w 4519987"/>
                  <a:gd name="connsiteY118" fmla="*/ 66675 h 4496940"/>
                  <a:gd name="connsiteX119" fmla="*/ 2097427 w 4519987"/>
                  <a:gd name="connsiteY119" fmla="*/ 47625 h 4496940"/>
                  <a:gd name="connsiteX120" fmla="*/ 2164102 w 4519987"/>
                  <a:gd name="connsiteY120" fmla="*/ 38100 h 4496940"/>
                  <a:gd name="connsiteX121" fmla="*/ 2392702 w 4519987"/>
                  <a:gd name="connsiteY12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221377 w 4519987"/>
                  <a:gd name="connsiteY37" fmla="*/ 4222750 h 4496940"/>
                  <a:gd name="connsiteX38" fmla="*/ 3068977 w 4519987"/>
                  <a:gd name="connsiteY38" fmla="*/ 4286250 h 4496940"/>
                  <a:gd name="connsiteX39" fmla="*/ 2935627 w 4519987"/>
                  <a:gd name="connsiteY39" fmla="*/ 4333875 h 4496940"/>
                  <a:gd name="connsiteX40" fmla="*/ 2811802 w 4519987"/>
                  <a:gd name="connsiteY40" fmla="*/ 4371975 h 4496940"/>
                  <a:gd name="connsiteX41" fmla="*/ 2745127 w 4519987"/>
                  <a:gd name="connsiteY41" fmla="*/ 4410075 h 4496940"/>
                  <a:gd name="connsiteX42" fmla="*/ 2640352 w 4519987"/>
                  <a:gd name="connsiteY42" fmla="*/ 4457700 h 4496940"/>
                  <a:gd name="connsiteX43" fmla="*/ 2583202 w 4519987"/>
                  <a:gd name="connsiteY43" fmla="*/ 4467225 h 4496940"/>
                  <a:gd name="connsiteX44" fmla="*/ 2545102 w 4519987"/>
                  <a:gd name="connsiteY44" fmla="*/ 4486275 h 4496940"/>
                  <a:gd name="connsiteX45" fmla="*/ 2306977 w 4519987"/>
                  <a:gd name="connsiteY45" fmla="*/ 4476750 h 4496940"/>
                  <a:gd name="connsiteX46" fmla="*/ 2202202 w 4519987"/>
                  <a:gd name="connsiteY46" fmla="*/ 4457700 h 4496940"/>
                  <a:gd name="connsiteX47" fmla="*/ 2126002 w 4519987"/>
                  <a:gd name="connsiteY47" fmla="*/ 4429125 h 4496940"/>
                  <a:gd name="connsiteX48" fmla="*/ 1935502 w 4519987"/>
                  <a:gd name="connsiteY48" fmla="*/ 4400550 h 4496940"/>
                  <a:gd name="connsiteX49" fmla="*/ 1821202 w 4519987"/>
                  <a:gd name="connsiteY49" fmla="*/ 4371975 h 4496940"/>
                  <a:gd name="connsiteX50" fmla="*/ 1754527 w 4519987"/>
                  <a:gd name="connsiteY50" fmla="*/ 4352925 h 4496940"/>
                  <a:gd name="connsiteX51" fmla="*/ 1687852 w 4519987"/>
                  <a:gd name="connsiteY51" fmla="*/ 4343400 h 4496940"/>
                  <a:gd name="connsiteX52" fmla="*/ 1573552 w 4519987"/>
                  <a:gd name="connsiteY52" fmla="*/ 4305300 h 4496940"/>
                  <a:gd name="connsiteX53" fmla="*/ 1402102 w 4519987"/>
                  <a:gd name="connsiteY53" fmla="*/ 4276725 h 4496940"/>
                  <a:gd name="connsiteX54" fmla="*/ 1287802 w 4519987"/>
                  <a:gd name="connsiteY54" fmla="*/ 4229100 h 4496940"/>
                  <a:gd name="connsiteX55" fmla="*/ 1221127 w 4519987"/>
                  <a:gd name="connsiteY55" fmla="*/ 4200525 h 4496940"/>
                  <a:gd name="connsiteX56" fmla="*/ 1144927 w 4519987"/>
                  <a:gd name="connsiteY56" fmla="*/ 4171950 h 4496940"/>
                  <a:gd name="connsiteX57" fmla="*/ 1087777 w 4519987"/>
                  <a:gd name="connsiteY57" fmla="*/ 4143375 h 4496940"/>
                  <a:gd name="connsiteX58" fmla="*/ 1030627 w 4519987"/>
                  <a:gd name="connsiteY58" fmla="*/ 4124325 h 4496940"/>
                  <a:gd name="connsiteX59" fmla="*/ 925852 w 4519987"/>
                  <a:gd name="connsiteY59" fmla="*/ 4067175 h 4496940"/>
                  <a:gd name="connsiteX60" fmla="*/ 830602 w 4519987"/>
                  <a:gd name="connsiteY60" fmla="*/ 3981450 h 4496940"/>
                  <a:gd name="connsiteX61" fmla="*/ 763927 w 4519987"/>
                  <a:gd name="connsiteY61" fmla="*/ 3914775 h 4496940"/>
                  <a:gd name="connsiteX62" fmla="*/ 725827 w 4519987"/>
                  <a:gd name="connsiteY62" fmla="*/ 3876675 h 4496940"/>
                  <a:gd name="connsiteX63" fmla="*/ 697252 w 4519987"/>
                  <a:gd name="connsiteY63" fmla="*/ 3838575 h 4496940"/>
                  <a:gd name="connsiteX64" fmla="*/ 640102 w 4519987"/>
                  <a:gd name="connsiteY64" fmla="*/ 3781425 h 4496940"/>
                  <a:gd name="connsiteX65" fmla="*/ 611527 w 4519987"/>
                  <a:gd name="connsiteY65" fmla="*/ 3733800 h 4496940"/>
                  <a:gd name="connsiteX66" fmla="*/ 554377 w 4519987"/>
                  <a:gd name="connsiteY66" fmla="*/ 3657600 h 4496940"/>
                  <a:gd name="connsiteX67" fmla="*/ 525802 w 4519987"/>
                  <a:gd name="connsiteY67" fmla="*/ 3609975 h 4496940"/>
                  <a:gd name="connsiteX68" fmla="*/ 497227 w 4519987"/>
                  <a:gd name="connsiteY68" fmla="*/ 3552825 h 4496940"/>
                  <a:gd name="connsiteX69" fmla="*/ 440077 w 4519987"/>
                  <a:gd name="connsiteY69" fmla="*/ 3495675 h 4496940"/>
                  <a:gd name="connsiteX70" fmla="*/ 411502 w 4519987"/>
                  <a:gd name="connsiteY70" fmla="*/ 3448050 h 4496940"/>
                  <a:gd name="connsiteX71" fmla="*/ 278152 w 4519987"/>
                  <a:gd name="connsiteY71" fmla="*/ 3257550 h 4496940"/>
                  <a:gd name="connsiteX72" fmla="*/ 249577 w 4519987"/>
                  <a:gd name="connsiteY72" fmla="*/ 3200400 h 4496940"/>
                  <a:gd name="connsiteX73" fmla="*/ 240052 w 4519987"/>
                  <a:gd name="connsiteY73" fmla="*/ 3162300 h 4496940"/>
                  <a:gd name="connsiteX74" fmla="*/ 221002 w 4519987"/>
                  <a:gd name="connsiteY74" fmla="*/ 3105150 h 4496940"/>
                  <a:gd name="connsiteX75" fmla="*/ 173377 w 4519987"/>
                  <a:gd name="connsiteY75" fmla="*/ 3019425 h 4496940"/>
                  <a:gd name="connsiteX76" fmla="*/ 144802 w 4519987"/>
                  <a:gd name="connsiteY76" fmla="*/ 2924175 h 4496940"/>
                  <a:gd name="connsiteX77" fmla="*/ 68602 w 4519987"/>
                  <a:gd name="connsiteY77" fmla="*/ 2724150 h 4496940"/>
                  <a:gd name="connsiteX78" fmla="*/ 49552 w 4519987"/>
                  <a:gd name="connsiteY78" fmla="*/ 2638425 h 4496940"/>
                  <a:gd name="connsiteX79" fmla="*/ 40027 w 4519987"/>
                  <a:gd name="connsiteY79" fmla="*/ 2562225 h 4496940"/>
                  <a:gd name="connsiteX80" fmla="*/ 30502 w 4519987"/>
                  <a:gd name="connsiteY80" fmla="*/ 2514600 h 4496940"/>
                  <a:gd name="connsiteX81" fmla="*/ 11452 w 4519987"/>
                  <a:gd name="connsiteY81" fmla="*/ 2400300 h 4496940"/>
                  <a:gd name="connsiteX82" fmla="*/ 20977 w 4519987"/>
                  <a:gd name="connsiteY82" fmla="*/ 1905000 h 4496940"/>
                  <a:gd name="connsiteX83" fmla="*/ 30502 w 4519987"/>
                  <a:gd name="connsiteY83" fmla="*/ 1838325 h 4496940"/>
                  <a:gd name="connsiteX84" fmla="*/ 49552 w 4519987"/>
                  <a:gd name="connsiteY84" fmla="*/ 1781175 h 4496940"/>
                  <a:gd name="connsiteX85" fmla="*/ 59077 w 4519987"/>
                  <a:gd name="connsiteY85" fmla="*/ 1743075 h 4496940"/>
                  <a:gd name="connsiteX86" fmla="*/ 78127 w 4519987"/>
                  <a:gd name="connsiteY86" fmla="*/ 1685925 h 4496940"/>
                  <a:gd name="connsiteX87" fmla="*/ 87652 w 4519987"/>
                  <a:gd name="connsiteY87" fmla="*/ 1638300 h 4496940"/>
                  <a:gd name="connsiteX88" fmla="*/ 106702 w 4519987"/>
                  <a:gd name="connsiteY88" fmla="*/ 1590675 h 4496940"/>
                  <a:gd name="connsiteX89" fmla="*/ 135277 w 4519987"/>
                  <a:gd name="connsiteY89" fmla="*/ 1504950 h 4496940"/>
                  <a:gd name="connsiteX90" fmla="*/ 154327 w 4519987"/>
                  <a:gd name="connsiteY90" fmla="*/ 1419225 h 4496940"/>
                  <a:gd name="connsiteX91" fmla="*/ 230527 w 4519987"/>
                  <a:gd name="connsiteY91" fmla="*/ 1276350 h 4496940"/>
                  <a:gd name="connsiteX92" fmla="*/ 240052 w 4519987"/>
                  <a:gd name="connsiteY92" fmla="*/ 1247775 h 4496940"/>
                  <a:gd name="connsiteX93" fmla="*/ 268627 w 4519987"/>
                  <a:gd name="connsiteY93" fmla="*/ 1200150 h 4496940"/>
                  <a:gd name="connsiteX94" fmla="*/ 287677 w 4519987"/>
                  <a:gd name="connsiteY94" fmla="*/ 1152525 h 4496940"/>
                  <a:gd name="connsiteX95" fmla="*/ 316252 w 4519987"/>
                  <a:gd name="connsiteY95" fmla="*/ 1114425 h 4496940"/>
                  <a:gd name="connsiteX96" fmla="*/ 363877 w 4519987"/>
                  <a:gd name="connsiteY96" fmla="*/ 1038225 h 4496940"/>
                  <a:gd name="connsiteX97" fmla="*/ 382927 w 4519987"/>
                  <a:gd name="connsiteY97" fmla="*/ 1009650 h 4496940"/>
                  <a:gd name="connsiteX98" fmla="*/ 440077 w 4519987"/>
                  <a:gd name="connsiteY98" fmla="*/ 904875 h 4496940"/>
                  <a:gd name="connsiteX99" fmla="*/ 478177 w 4519987"/>
                  <a:gd name="connsiteY99" fmla="*/ 857250 h 4496940"/>
                  <a:gd name="connsiteX100" fmla="*/ 497227 w 4519987"/>
                  <a:gd name="connsiteY100" fmla="*/ 828675 h 4496940"/>
                  <a:gd name="connsiteX101" fmla="*/ 535327 w 4519987"/>
                  <a:gd name="connsiteY101" fmla="*/ 800100 h 4496940"/>
                  <a:gd name="connsiteX102" fmla="*/ 602002 w 4519987"/>
                  <a:gd name="connsiteY102" fmla="*/ 733425 h 4496940"/>
                  <a:gd name="connsiteX103" fmla="*/ 668677 w 4519987"/>
                  <a:gd name="connsiteY103" fmla="*/ 676275 h 4496940"/>
                  <a:gd name="connsiteX104" fmla="*/ 697252 w 4519987"/>
                  <a:gd name="connsiteY104" fmla="*/ 657225 h 4496940"/>
                  <a:gd name="connsiteX105" fmla="*/ 840127 w 4519987"/>
                  <a:gd name="connsiteY105" fmla="*/ 533400 h 4496940"/>
                  <a:gd name="connsiteX106" fmla="*/ 887752 w 4519987"/>
                  <a:gd name="connsiteY106" fmla="*/ 504825 h 4496940"/>
                  <a:gd name="connsiteX107" fmla="*/ 1167152 w 4519987"/>
                  <a:gd name="connsiteY107" fmla="*/ 311150 h 4496940"/>
                  <a:gd name="connsiteX108" fmla="*/ 1268752 w 4519987"/>
                  <a:gd name="connsiteY108" fmla="*/ 285750 h 4496940"/>
                  <a:gd name="connsiteX109" fmla="*/ 1411627 w 4519987"/>
                  <a:gd name="connsiteY109" fmla="*/ 190500 h 4496940"/>
                  <a:gd name="connsiteX110" fmla="*/ 1449727 w 4519987"/>
                  <a:gd name="connsiteY110" fmla="*/ 161925 h 4496940"/>
                  <a:gd name="connsiteX111" fmla="*/ 1525927 w 4519987"/>
                  <a:gd name="connsiteY111" fmla="*/ 152400 h 4496940"/>
                  <a:gd name="connsiteX112" fmla="*/ 1583077 w 4519987"/>
                  <a:gd name="connsiteY112" fmla="*/ 142875 h 4496940"/>
                  <a:gd name="connsiteX113" fmla="*/ 1716427 w 4519987"/>
                  <a:gd name="connsiteY113" fmla="*/ 123825 h 4496940"/>
                  <a:gd name="connsiteX114" fmla="*/ 1811677 w 4519987"/>
                  <a:gd name="connsiteY114" fmla="*/ 114300 h 4496940"/>
                  <a:gd name="connsiteX115" fmla="*/ 1859302 w 4519987"/>
                  <a:gd name="connsiteY115" fmla="*/ 104775 h 4496940"/>
                  <a:gd name="connsiteX116" fmla="*/ 1916452 w 4519987"/>
                  <a:gd name="connsiteY116" fmla="*/ 95250 h 4496940"/>
                  <a:gd name="connsiteX117" fmla="*/ 2030752 w 4519987"/>
                  <a:gd name="connsiteY117" fmla="*/ 66675 h 4496940"/>
                  <a:gd name="connsiteX118" fmla="*/ 2097427 w 4519987"/>
                  <a:gd name="connsiteY118" fmla="*/ 47625 h 4496940"/>
                  <a:gd name="connsiteX119" fmla="*/ 2164102 w 4519987"/>
                  <a:gd name="connsiteY119" fmla="*/ 38100 h 4496940"/>
                  <a:gd name="connsiteX120" fmla="*/ 2392702 w 4519987"/>
                  <a:gd name="connsiteY120" fmla="*/ 28575 h 4496940"/>
                  <a:gd name="connsiteX0" fmla="*/ 2297452 w 4519987"/>
                  <a:gd name="connsiteY0" fmla="*/ 0 h 4487372"/>
                  <a:gd name="connsiteX1" fmla="*/ 2421277 w 4519987"/>
                  <a:gd name="connsiteY1" fmla="*/ 28575 h 4487372"/>
                  <a:gd name="connsiteX2" fmla="*/ 2497477 w 4519987"/>
                  <a:gd name="connsiteY2" fmla="*/ 47625 h 4487372"/>
                  <a:gd name="connsiteX3" fmla="*/ 2754652 w 4519987"/>
                  <a:gd name="connsiteY3" fmla="*/ 66675 h 4487372"/>
                  <a:gd name="connsiteX4" fmla="*/ 2830852 w 4519987"/>
                  <a:gd name="connsiteY4" fmla="*/ 76200 h 4487372"/>
                  <a:gd name="connsiteX5" fmla="*/ 2916577 w 4519987"/>
                  <a:gd name="connsiteY5" fmla="*/ 85725 h 4487372"/>
                  <a:gd name="connsiteX6" fmla="*/ 2973727 w 4519987"/>
                  <a:gd name="connsiteY6" fmla="*/ 114300 h 4487372"/>
                  <a:gd name="connsiteX7" fmla="*/ 3011827 w 4519987"/>
                  <a:gd name="connsiteY7" fmla="*/ 123825 h 4487372"/>
                  <a:gd name="connsiteX8" fmla="*/ 3135652 w 4519987"/>
                  <a:gd name="connsiteY8" fmla="*/ 171450 h 4487372"/>
                  <a:gd name="connsiteX9" fmla="*/ 3173752 w 4519987"/>
                  <a:gd name="connsiteY9" fmla="*/ 190500 h 4487372"/>
                  <a:gd name="connsiteX10" fmla="*/ 3240427 w 4519987"/>
                  <a:gd name="connsiteY10" fmla="*/ 228600 h 4487372"/>
                  <a:gd name="connsiteX11" fmla="*/ 3269002 w 4519987"/>
                  <a:gd name="connsiteY11" fmla="*/ 238125 h 4487372"/>
                  <a:gd name="connsiteX12" fmla="*/ 3297577 w 4519987"/>
                  <a:gd name="connsiteY12" fmla="*/ 257175 h 4487372"/>
                  <a:gd name="connsiteX13" fmla="*/ 3326152 w 4519987"/>
                  <a:gd name="connsiteY13" fmla="*/ 266700 h 4487372"/>
                  <a:gd name="connsiteX14" fmla="*/ 3354727 w 4519987"/>
                  <a:gd name="connsiteY14" fmla="*/ 285750 h 4487372"/>
                  <a:gd name="connsiteX15" fmla="*/ 3421402 w 4519987"/>
                  <a:gd name="connsiteY15" fmla="*/ 323850 h 4487372"/>
                  <a:gd name="connsiteX16" fmla="*/ 3469027 w 4519987"/>
                  <a:gd name="connsiteY16" fmla="*/ 361950 h 4487372"/>
                  <a:gd name="connsiteX17" fmla="*/ 3516652 w 4519987"/>
                  <a:gd name="connsiteY17" fmla="*/ 390525 h 4487372"/>
                  <a:gd name="connsiteX18" fmla="*/ 3630952 w 4519987"/>
                  <a:gd name="connsiteY18" fmla="*/ 485775 h 4487372"/>
                  <a:gd name="connsiteX19" fmla="*/ 3745252 w 4519987"/>
                  <a:gd name="connsiteY19" fmla="*/ 542925 h 4487372"/>
                  <a:gd name="connsiteX20" fmla="*/ 3811927 w 4519987"/>
                  <a:gd name="connsiteY20" fmla="*/ 581025 h 4487372"/>
                  <a:gd name="connsiteX21" fmla="*/ 4027827 w 4519987"/>
                  <a:gd name="connsiteY21" fmla="*/ 819150 h 4487372"/>
                  <a:gd name="connsiteX22" fmla="*/ 4164352 w 4519987"/>
                  <a:gd name="connsiteY22" fmla="*/ 990600 h 4487372"/>
                  <a:gd name="connsiteX23" fmla="*/ 4250077 w 4519987"/>
                  <a:gd name="connsiteY23" fmla="*/ 1143000 h 4487372"/>
                  <a:gd name="connsiteX24" fmla="*/ 4307227 w 4519987"/>
                  <a:gd name="connsiteY24" fmla="*/ 1266825 h 4487372"/>
                  <a:gd name="connsiteX25" fmla="*/ 4345327 w 4519987"/>
                  <a:gd name="connsiteY25" fmla="*/ 1362075 h 4487372"/>
                  <a:gd name="connsiteX26" fmla="*/ 4392952 w 4519987"/>
                  <a:gd name="connsiteY26" fmla="*/ 1552575 h 4487372"/>
                  <a:gd name="connsiteX27" fmla="*/ 4431052 w 4519987"/>
                  <a:gd name="connsiteY27" fmla="*/ 1685925 h 4487372"/>
                  <a:gd name="connsiteX28" fmla="*/ 4519952 w 4519987"/>
                  <a:gd name="connsiteY28" fmla="*/ 2181225 h 4487372"/>
                  <a:gd name="connsiteX29" fmla="*/ 4446927 w 4519987"/>
                  <a:gd name="connsiteY29" fmla="*/ 2768600 h 4487372"/>
                  <a:gd name="connsiteX30" fmla="*/ 4383427 w 4519987"/>
                  <a:gd name="connsiteY30" fmla="*/ 2990850 h 4487372"/>
                  <a:gd name="connsiteX31" fmla="*/ 4278652 w 4519987"/>
                  <a:gd name="connsiteY31" fmla="*/ 3248025 h 4487372"/>
                  <a:gd name="connsiteX32" fmla="*/ 4183402 w 4519987"/>
                  <a:gd name="connsiteY32" fmla="*/ 3400425 h 4487372"/>
                  <a:gd name="connsiteX33" fmla="*/ 4059577 w 4519987"/>
                  <a:gd name="connsiteY33" fmla="*/ 3533775 h 4487372"/>
                  <a:gd name="connsiteX34" fmla="*/ 3954802 w 4519987"/>
                  <a:gd name="connsiteY34" fmla="*/ 3648075 h 4487372"/>
                  <a:gd name="connsiteX35" fmla="*/ 3659527 w 4519987"/>
                  <a:gd name="connsiteY35" fmla="*/ 3971925 h 4487372"/>
                  <a:gd name="connsiteX36" fmla="*/ 3516652 w 4519987"/>
                  <a:gd name="connsiteY36" fmla="*/ 4083050 h 4487372"/>
                  <a:gd name="connsiteX37" fmla="*/ 3221377 w 4519987"/>
                  <a:gd name="connsiteY37" fmla="*/ 4222750 h 4487372"/>
                  <a:gd name="connsiteX38" fmla="*/ 3068977 w 4519987"/>
                  <a:gd name="connsiteY38" fmla="*/ 4286250 h 4487372"/>
                  <a:gd name="connsiteX39" fmla="*/ 2935627 w 4519987"/>
                  <a:gd name="connsiteY39" fmla="*/ 4333875 h 4487372"/>
                  <a:gd name="connsiteX40" fmla="*/ 2811802 w 4519987"/>
                  <a:gd name="connsiteY40" fmla="*/ 4371975 h 4487372"/>
                  <a:gd name="connsiteX41" fmla="*/ 2745127 w 4519987"/>
                  <a:gd name="connsiteY41" fmla="*/ 4410075 h 4487372"/>
                  <a:gd name="connsiteX42" fmla="*/ 2640352 w 4519987"/>
                  <a:gd name="connsiteY42" fmla="*/ 4457700 h 4487372"/>
                  <a:gd name="connsiteX43" fmla="*/ 2545102 w 4519987"/>
                  <a:gd name="connsiteY43" fmla="*/ 4486275 h 4487372"/>
                  <a:gd name="connsiteX44" fmla="*/ 2306977 w 4519987"/>
                  <a:gd name="connsiteY44" fmla="*/ 4476750 h 4487372"/>
                  <a:gd name="connsiteX45" fmla="*/ 2202202 w 4519987"/>
                  <a:gd name="connsiteY45" fmla="*/ 4457700 h 4487372"/>
                  <a:gd name="connsiteX46" fmla="*/ 2126002 w 4519987"/>
                  <a:gd name="connsiteY46" fmla="*/ 4429125 h 4487372"/>
                  <a:gd name="connsiteX47" fmla="*/ 1935502 w 4519987"/>
                  <a:gd name="connsiteY47" fmla="*/ 4400550 h 4487372"/>
                  <a:gd name="connsiteX48" fmla="*/ 1821202 w 4519987"/>
                  <a:gd name="connsiteY48" fmla="*/ 4371975 h 4487372"/>
                  <a:gd name="connsiteX49" fmla="*/ 1754527 w 4519987"/>
                  <a:gd name="connsiteY49" fmla="*/ 4352925 h 4487372"/>
                  <a:gd name="connsiteX50" fmla="*/ 1687852 w 4519987"/>
                  <a:gd name="connsiteY50" fmla="*/ 4343400 h 4487372"/>
                  <a:gd name="connsiteX51" fmla="*/ 1573552 w 4519987"/>
                  <a:gd name="connsiteY51" fmla="*/ 4305300 h 4487372"/>
                  <a:gd name="connsiteX52" fmla="*/ 1402102 w 4519987"/>
                  <a:gd name="connsiteY52" fmla="*/ 4276725 h 4487372"/>
                  <a:gd name="connsiteX53" fmla="*/ 1287802 w 4519987"/>
                  <a:gd name="connsiteY53" fmla="*/ 4229100 h 4487372"/>
                  <a:gd name="connsiteX54" fmla="*/ 1221127 w 4519987"/>
                  <a:gd name="connsiteY54" fmla="*/ 4200525 h 4487372"/>
                  <a:gd name="connsiteX55" fmla="*/ 1144927 w 4519987"/>
                  <a:gd name="connsiteY55" fmla="*/ 4171950 h 4487372"/>
                  <a:gd name="connsiteX56" fmla="*/ 1087777 w 4519987"/>
                  <a:gd name="connsiteY56" fmla="*/ 4143375 h 4487372"/>
                  <a:gd name="connsiteX57" fmla="*/ 1030627 w 4519987"/>
                  <a:gd name="connsiteY57" fmla="*/ 4124325 h 4487372"/>
                  <a:gd name="connsiteX58" fmla="*/ 925852 w 4519987"/>
                  <a:gd name="connsiteY58" fmla="*/ 4067175 h 4487372"/>
                  <a:gd name="connsiteX59" fmla="*/ 830602 w 4519987"/>
                  <a:gd name="connsiteY59" fmla="*/ 3981450 h 4487372"/>
                  <a:gd name="connsiteX60" fmla="*/ 763927 w 4519987"/>
                  <a:gd name="connsiteY60" fmla="*/ 3914775 h 4487372"/>
                  <a:gd name="connsiteX61" fmla="*/ 725827 w 4519987"/>
                  <a:gd name="connsiteY61" fmla="*/ 3876675 h 4487372"/>
                  <a:gd name="connsiteX62" fmla="*/ 697252 w 4519987"/>
                  <a:gd name="connsiteY62" fmla="*/ 3838575 h 4487372"/>
                  <a:gd name="connsiteX63" fmla="*/ 640102 w 4519987"/>
                  <a:gd name="connsiteY63" fmla="*/ 3781425 h 4487372"/>
                  <a:gd name="connsiteX64" fmla="*/ 611527 w 4519987"/>
                  <a:gd name="connsiteY64" fmla="*/ 3733800 h 4487372"/>
                  <a:gd name="connsiteX65" fmla="*/ 554377 w 4519987"/>
                  <a:gd name="connsiteY65" fmla="*/ 3657600 h 4487372"/>
                  <a:gd name="connsiteX66" fmla="*/ 525802 w 4519987"/>
                  <a:gd name="connsiteY66" fmla="*/ 3609975 h 4487372"/>
                  <a:gd name="connsiteX67" fmla="*/ 497227 w 4519987"/>
                  <a:gd name="connsiteY67" fmla="*/ 3552825 h 4487372"/>
                  <a:gd name="connsiteX68" fmla="*/ 440077 w 4519987"/>
                  <a:gd name="connsiteY68" fmla="*/ 3495675 h 4487372"/>
                  <a:gd name="connsiteX69" fmla="*/ 411502 w 4519987"/>
                  <a:gd name="connsiteY69" fmla="*/ 3448050 h 4487372"/>
                  <a:gd name="connsiteX70" fmla="*/ 278152 w 4519987"/>
                  <a:gd name="connsiteY70" fmla="*/ 3257550 h 4487372"/>
                  <a:gd name="connsiteX71" fmla="*/ 249577 w 4519987"/>
                  <a:gd name="connsiteY71" fmla="*/ 3200400 h 4487372"/>
                  <a:gd name="connsiteX72" fmla="*/ 240052 w 4519987"/>
                  <a:gd name="connsiteY72" fmla="*/ 3162300 h 4487372"/>
                  <a:gd name="connsiteX73" fmla="*/ 221002 w 4519987"/>
                  <a:gd name="connsiteY73" fmla="*/ 3105150 h 4487372"/>
                  <a:gd name="connsiteX74" fmla="*/ 173377 w 4519987"/>
                  <a:gd name="connsiteY74" fmla="*/ 3019425 h 4487372"/>
                  <a:gd name="connsiteX75" fmla="*/ 144802 w 4519987"/>
                  <a:gd name="connsiteY75" fmla="*/ 2924175 h 4487372"/>
                  <a:gd name="connsiteX76" fmla="*/ 68602 w 4519987"/>
                  <a:gd name="connsiteY76" fmla="*/ 2724150 h 4487372"/>
                  <a:gd name="connsiteX77" fmla="*/ 49552 w 4519987"/>
                  <a:gd name="connsiteY77" fmla="*/ 2638425 h 4487372"/>
                  <a:gd name="connsiteX78" fmla="*/ 40027 w 4519987"/>
                  <a:gd name="connsiteY78" fmla="*/ 2562225 h 4487372"/>
                  <a:gd name="connsiteX79" fmla="*/ 30502 w 4519987"/>
                  <a:gd name="connsiteY79" fmla="*/ 2514600 h 4487372"/>
                  <a:gd name="connsiteX80" fmla="*/ 11452 w 4519987"/>
                  <a:gd name="connsiteY80" fmla="*/ 2400300 h 4487372"/>
                  <a:gd name="connsiteX81" fmla="*/ 20977 w 4519987"/>
                  <a:gd name="connsiteY81" fmla="*/ 1905000 h 4487372"/>
                  <a:gd name="connsiteX82" fmla="*/ 30502 w 4519987"/>
                  <a:gd name="connsiteY82" fmla="*/ 1838325 h 4487372"/>
                  <a:gd name="connsiteX83" fmla="*/ 49552 w 4519987"/>
                  <a:gd name="connsiteY83" fmla="*/ 1781175 h 4487372"/>
                  <a:gd name="connsiteX84" fmla="*/ 59077 w 4519987"/>
                  <a:gd name="connsiteY84" fmla="*/ 1743075 h 4487372"/>
                  <a:gd name="connsiteX85" fmla="*/ 78127 w 4519987"/>
                  <a:gd name="connsiteY85" fmla="*/ 1685925 h 4487372"/>
                  <a:gd name="connsiteX86" fmla="*/ 87652 w 4519987"/>
                  <a:gd name="connsiteY86" fmla="*/ 1638300 h 4487372"/>
                  <a:gd name="connsiteX87" fmla="*/ 106702 w 4519987"/>
                  <a:gd name="connsiteY87" fmla="*/ 1590675 h 4487372"/>
                  <a:gd name="connsiteX88" fmla="*/ 135277 w 4519987"/>
                  <a:gd name="connsiteY88" fmla="*/ 1504950 h 4487372"/>
                  <a:gd name="connsiteX89" fmla="*/ 154327 w 4519987"/>
                  <a:gd name="connsiteY89" fmla="*/ 1419225 h 4487372"/>
                  <a:gd name="connsiteX90" fmla="*/ 230527 w 4519987"/>
                  <a:gd name="connsiteY90" fmla="*/ 1276350 h 4487372"/>
                  <a:gd name="connsiteX91" fmla="*/ 240052 w 4519987"/>
                  <a:gd name="connsiteY91" fmla="*/ 1247775 h 4487372"/>
                  <a:gd name="connsiteX92" fmla="*/ 268627 w 4519987"/>
                  <a:gd name="connsiteY92" fmla="*/ 1200150 h 4487372"/>
                  <a:gd name="connsiteX93" fmla="*/ 287677 w 4519987"/>
                  <a:gd name="connsiteY93" fmla="*/ 1152525 h 4487372"/>
                  <a:gd name="connsiteX94" fmla="*/ 316252 w 4519987"/>
                  <a:gd name="connsiteY94" fmla="*/ 1114425 h 4487372"/>
                  <a:gd name="connsiteX95" fmla="*/ 363877 w 4519987"/>
                  <a:gd name="connsiteY95" fmla="*/ 1038225 h 4487372"/>
                  <a:gd name="connsiteX96" fmla="*/ 382927 w 4519987"/>
                  <a:gd name="connsiteY96" fmla="*/ 1009650 h 4487372"/>
                  <a:gd name="connsiteX97" fmla="*/ 440077 w 4519987"/>
                  <a:gd name="connsiteY97" fmla="*/ 904875 h 4487372"/>
                  <a:gd name="connsiteX98" fmla="*/ 478177 w 4519987"/>
                  <a:gd name="connsiteY98" fmla="*/ 857250 h 4487372"/>
                  <a:gd name="connsiteX99" fmla="*/ 497227 w 4519987"/>
                  <a:gd name="connsiteY99" fmla="*/ 828675 h 4487372"/>
                  <a:gd name="connsiteX100" fmla="*/ 535327 w 4519987"/>
                  <a:gd name="connsiteY100" fmla="*/ 800100 h 4487372"/>
                  <a:gd name="connsiteX101" fmla="*/ 602002 w 4519987"/>
                  <a:gd name="connsiteY101" fmla="*/ 733425 h 4487372"/>
                  <a:gd name="connsiteX102" fmla="*/ 668677 w 4519987"/>
                  <a:gd name="connsiteY102" fmla="*/ 676275 h 4487372"/>
                  <a:gd name="connsiteX103" fmla="*/ 697252 w 4519987"/>
                  <a:gd name="connsiteY103" fmla="*/ 657225 h 4487372"/>
                  <a:gd name="connsiteX104" fmla="*/ 840127 w 4519987"/>
                  <a:gd name="connsiteY104" fmla="*/ 533400 h 4487372"/>
                  <a:gd name="connsiteX105" fmla="*/ 887752 w 4519987"/>
                  <a:gd name="connsiteY105" fmla="*/ 504825 h 4487372"/>
                  <a:gd name="connsiteX106" fmla="*/ 1167152 w 4519987"/>
                  <a:gd name="connsiteY106" fmla="*/ 311150 h 4487372"/>
                  <a:gd name="connsiteX107" fmla="*/ 1268752 w 4519987"/>
                  <a:gd name="connsiteY107" fmla="*/ 285750 h 4487372"/>
                  <a:gd name="connsiteX108" fmla="*/ 1411627 w 4519987"/>
                  <a:gd name="connsiteY108" fmla="*/ 190500 h 4487372"/>
                  <a:gd name="connsiteX109" fmla="*/ 1449727 w 4519987"/>
                  <a:gd name="connsiteY109" fmla="*/ 161925 h 4487372"/>
                  <a:gd name="connsiteX110" fmla="*/ 1525927 w 4519987"/>
                  <a:gd name="connsiteY110" fmla="*/ 152400 h 4487372"/>
                  <a:gd name="connsiteX111" fmla="*/ 1583077 w 4519987"/>
                  <a:gd name="connsiteY111" fmla="*/ 142875 h 4487372"/>
                  <a:gd name="connsiteX112" fmla="*/ 1716427 w 4519987"/>
                  <a:gd name="connsiteY112" fmla="*/ 123825 h 4487372"/>
                  <a:gd name="connsiteX113" fmla="*/ 1811677 w 4519987"/>
                  <a:gd name="connsiteY113" fmla="*/ 114300 h 4487372"/>
                  <a:gd name="connsiteX114" fmla="*/ 1859302 w 4519987"/>
                  <a:gd name="connsiteY114" fmla="*/ 104775 h 4487372"/>
                  <a:gd name="connsiteX115" fmla="*/ 1916452 w 4519987"/>
                  <a:gd name="connsiteY115" fmla="*/ 95250 h 4487372"/>
                  <a:gd name="connsiteX116" fmla="*/ 2030752 w 4519987"/>
                  <a:gd name="connsiteY116" fmla="*/ 66675 h 4487372"/>
                  <a:gd name="connsiteX117" fmla="*/ 2097427 w 4519987"/>
                  <a:gd name="connsiteY117" fmla="*/ 47625 h 4487372"/>
                  <a:gd name="connsiteX118" fmla="*/ 2164102 w 4519987"/>
                  <a:gd name="connsiteY118" fmla="*/ 38100 h 4487372"/>
                  <a:gd name="connsiteX119" fmla="*/ 2392702 w 4519987"/>
                  <a:gd name="connsiteY119" fmla="*/ 28575 h 4487372"/>
                  <a:gd name="connsiteX0" fmla="*/ 2297452 w 4519987"/>
                  <a:gd name="connsiteY0" fmla="*/ 0 h 4476750"/>
                  <a:gd name="connsiteX1" fmla="*/ 2421277 w 4519987"/>
                  <a:gd name="connsiteY1" fmla="*/ 28575 h 4476750"/>
                  <a:gd name="connsiteX2" fmla="*/ 2497477 w 4519987"/>
                  <a:gd name="connsiteY2" fmla="*/ 47625 h 4476750"/>
                  <a:gd name="connsiteX3" fmla="*/ 2754652 w 4519987"/>
                  <a:gd name="connsiteY3" fmla="*/ 66675 h 4476750"/>
                  <a:gd name="connsiteX4" fmla="*/ 2830852 w 4519987"/>
                  <a:gd name="connsiteY4" fmla="*/ 76200 h 4476750"/>
                  <a:gd name="connsiteX5" fmla="*/ 2916577 w 4519987"/>
                  <a:gd name="connsiteY5" fmla="*/ 85725 h 4476750"/>
                  <a:gd name="connsiteX6" fmla="*/ 2973727 w 4519987"/>
                  <a:gd name="connsiteY6" fmla="*/ 114300 h 4476750"/>
                  <a:gd name="connsiteX7" fmla="*/ 3011827 w 4519987"/>
                  <a:gd name="connsiteY7" fmla="*/ 123825 h 4476750"/>
                  <a:gd name="connsiteX8" fmla="*/ 3135652 w 4519987"/>
                  <a:gd name="connsiteY8" fmla="*/ 171450 h 4476750"/>
                  <a:gd name="connsiteX9" fmla="*/ 3173752 w 4519987"/>
                  <a:gd name="connsiteY9" fmla="*/ 190500 h 4476750"/>
                  <a:gd name="connsiteX10" fmla="*/ 3240427 w 4519987"/>
                  <a:gd name="connsiteY10" fmla="*/ 228600 h 4476750"/>
                  <a:gd name="connsiteX11" fmla="*/ 3269002 w 4519987"/>
                  <a:gd name="connsiteY11" fmla="*/ 238125 h 4476750"/>
                  <a:gd name="connsiteX12" fmla="*/ 3297577 w 4519987"/>
                  <a:gd name="connsiteY12" fmla="*/ 257175 h 4476750"/>
                  <a:gd name="connsiteX13" fmla="*/ 3326152 w 4519987"/>
                  <a:gd name="connsiteY13" fmla="*/ 266700 h 4476750"/>
                  <a:gd name="connsiteX14" fmla="*/ 3354727 w 4519987"/>
                  <a:gd name="connsiteY14" fmla="*/ 285750 h 4476750"/>
                  <a:gd name="connsiteX15" fmla="*/ 3421402 w 4519987"/>
                  <a:gd name="connsiteY15" fmla="*/ 323850 h 4476750"/>
                  <a:gd name="connsiteX16" fmla="*/ 3469027 w 4519987"/>
                  <a:gd name="connsiteY16" fmla="*/ 361950 h 4476750"/>
                  <a:gd name="connsiteX17" fmla="*/ 3516652 w 4519987"/>
                  <a:gd name="connsiteY17" fmla="*/ 390525 h 4476750"/>
                  <a:gd name="connsiteX18" fmla="*/ 3630952 w 4519987"/>
                  <a:gd name="connsiteY18" fmla="*/ 485775 h 4476750"/>
                  <a:gd name="connsiteX19" fmla="*/ 3745252 w 4519987"/>
                  <a:gd name="connsiteY19" fmla="*/ 542925 h 4476750"/>
                  <a:gd name="connsiteX20" fmla="*/ 3811927 w 4519987"/>
                  <a:gd name="connsiteY20" fmla="*/ 581025 h 4476750"/>
                  <a:gd name="connsiteX21" fmla="*/ 4027827 w 4519987"/>
                  <a:gd name="connsiteY21" fmla="*/ 819150 h 4476750"/>
                  <a:gd name="connsiteX22" fmla="*/ 4164352 w 4519987"/>
                  <a:gd name="connsiteY22" fmla="*/ 990600 h 4476750"/>
                  <a:gd name="connsiteX23" fmla="*/ 4250077 w 4519987"/>
                  <a:gd name="connsiteY23" fmla="*/ 1143000 h 4476750"/>
                  <a:gd name="connsiteX24" fmla="*/ 4307227 w 4519987"/>
                  <a:gd name="connsiteY24" fmla="*/ 1266825 h 4476750"/>
                  <a:gd name="connsiteX25" fmla="*/ 4345327 w 4519987"/>
                  <a:gd name="connsiteY25" fmla="*/ 1362075 h 4476750"/>
                  <a:gd name="connsiteX26" fmla="*/ 4392952 w 4519987"/>
                  <a:gd name="connsiteY26" fmla="*/ 1552575 h 4476750"/>
                  <a:gd name="connsiteX27" fmla="*/ 4431052 w 4519987"/>
                  <a:gd name="connsiteY27" fmla="*/ 1685925 h 4476750"/>
                  <a:gd name="connsiteX28" fmla="*/ 4519952 w 4519987"/>
                  <a:gd name="connsiteY28" fmla="*/ 2181225 h 4476750"/>
                  <a:gd name="connsiteX29" fmla="*/ 4446927 w 4519987"/>
                  <a:gd name="connsiteY29" fmla="*/ 2768600 h 4476750"/>
                  <a:gd name="connsiteX30" fmla="*/ 4383427 w 4519987"/>
                  <a:gd name="connsiteY30" fmla="*/ 2990850 h 4476750"/>
                  <a:gd name="connsiteX31" fmla="*/ 4278652 w 4519987"/>
                  <a:gd name="connsiteY31" fmla="*/ 3248025 h 4476750"/>
                  <a:gd name="connsiteX32" fmla="*/ 4183402 w 4519987"/>
                  <a:gd name="connsiteY32" fmla="*/ 3400425 h 4476750"/>
                  <a:gd name="connsiteX33" fmla="*/ 4059577 w 4519987"/>
                  <a:gd name="connsiteY33" fmla="*/ 3533775 h 4476750"/>
                  <a:gd name="connsiteX34" fmla="*/ 3954802 w 4519987"/>
                  <a:gd name="connsiteY34" fmla="*/ 3648075 h 4476750"/>
                  <a:gd name="connsiteX35" fmla="*/ 3659527 w 4519987"/>
                  <a:gd name="connsiteY35" fmla="*/ 3971925 h 4476750"/>
                  <a:gd name="connsiteX36" fmla="*/ 3516652 w 4519987"/>
                  <a:gd name="connsiteY36" fmla="*/ 4083050 h 4476750"/>
                  <a:gd name="connsiteX37" fmla="*/ 3221377 w 4519987"/>
                  <a:gd name="connsiteY37" fmla="*/ 4222750 h 4476750"/>
                  <a:gd name="connsiteX38" fmla="*/ 3068977 w 4519987"/>
                  <a:gd name="connsiteY38" fmla="*/ 4286250 h 4476750"/>
                  <a:gd name="connsiteX39" fmla="*/ 2935627 w 4519987"/>
                  <a:gd name="connsiteY39" fmla="*/ 4333875 h 4476750"/>
                  <a:gd name="connsiteX40" fmla="*/ 2811802 w 4519987"/>
                  <a:gd name="connsiteY40" fmla="*/ 4371975 h 4476750"/>
                  <a:gd name="connsiteX41" fmla="*/ 2745127 w 4519987"/>
                  <a:gd name="connsiteY41" fmla="*/ 4410075 h 4476750"/>
                  <a:gd name="connsiteX42" fmla="*/ 2640352 w 4519987"/>
                  <a:gd name="connsiteY42" fmla="*/ 4457700 h 4476750"/>
                  <a:gd name="connsiteX43" fmla="*/ 2306977 w 4519987"/>
                  <a:gd name="connsiteY43" fmla="*/ 4476750 h 4476750"/>
                  <a:gd name="connsiteX44" fmla="*/ 2202202 w 4519987"/>
                  <a:gd name="connsiteY44" fmla="*/ 4457700 h 4476750"/>
                  <a:gd name="connsiteX45" fmla="*/ 2126002 w 4519987"/>
                  <a:gd name="connsiteY45" fmla="*/ 4429125 h 4476750"/>
                  <a:gd name="connsiteX46" fmla="*/ 1935502 w 4519987"/>
                  <a:gd name="connsiteY46" fmla="*/ 4400550 h 4476750"/>
                  <a:gd name="connsiteX47" fmla="*/ 1821202 w 4519987"/>
                  <a:gd name="connsiteY47" fmla="*/ 4371975 h 4476750"/>
                  <a:gd name="connsiteX48" fmla="*/ 1754527 w 4519987"/>
                  <a:gd name="connsiteY48" fmla="*/ 4352925 h 4476750"/>
                  <a:gd name="connsiteX49" fmla="*/ 1687852 w 4519987"/>
                  <a:gd name="connsiteY49" fmla="*/ 4343400 h 4476750"/>
                  <a:gd name="connsiteX50" fmla="*/ 1573552 w 4519987"/>
                  <a:gd name="connsiteY50" fmla="*/ 4305300 h 4476750"/>
                  <a:gd name="connsiteX51" fmla="*/ 1402102 w 4519987"/>
                  <a:gd name="connsiteY51" fmla="*/ 4276725 h 4476750"/>
                  <a:gd name="connsiteX52" fmla="*/ 1287802 w 4519987"/>
                  <a:gd name="connsiteY52" fmla="*/ 4229100 h 4476750"/>
                  <a:gd name="connsiteX53" fmla="*/ 1221127 w 4519987"/>
                  <a:gd name="connsiteY53" fmla="*/ 4200525 h 4476750"/>
                  <a:gd name="connsiteX54" fmla="*/ 1144927 w 4519987"/>
                  <a:gd name="connsiteY54" fmla="*/ 4171950 h 4476750"/>
                  <a:gd name="connsiteX55" fmla="*/ 1087777 w 4519987"/>
                  <a:gd name="connsiteY55" fmla="*/ 4143375 h 4476750"/>
                  <a:gd name="connsiteX56" fmla="*/ 1030627 w 4519987"/>
                  <a:gd name="connsiteY56" fmla="*/ 4124325 h 4476750"/>
                  <a:gd name="connsiteX57" fmla="*/ 925852 w 4519987"/>
                  <a:gd name="connsiteY57" fmla="*/ 4067175 h 4476750"/>
                  <a:gd name="connsiteX58" fmla="*/ 830602 w 4519987"/>
                  <a:gd name="connsiteY58" fmla="*/ 3981450 h 4476750"/>
                  <a:gd name="connsiteX59" fmla="*/ 763927 w 4519987"/>
                  <a:gd name="connsiteY59" fmla="*/ 3914775 h 4476750"/>
                  <a:gd name="connsiteX60" fmla="*/ 725827 w 4519987"/>
                  <a:gd name="connsiteY60" fmla="*/ 3876675 h 4476750"/>
                  <a:gd name="connsiteX61" fmla="*/ 697252 w 4519987"/>
                  <a:gd name="connsiteY61" fmla="*/ 3838575 h 4476750"/>
                  <a:gd name="connsiteX62" fmla="*/ 640102 w 4519987"/>
                  <a:gd name="connsiteY62" fmla="*/ 3781425 h 4476750"/>
                  <a:gd name="connsiteX63" fmla="*/ 611527 w 4519987"/>
                  <a:gd name="connsiteY63" fmla="*/ 3733800 h 4476750"/>
                  <a:gd name="connsiteX64" fmla="*/ 554377 w 4519987"/>
                  <a:gd name="connsiteY64" fmla="*/ 3657600 h 4476750"/>
                  <a:gd name="connsiteX65" fmla="*/ 525802 w 4519987"/>
                  <a:gd name="connsiteY65" fmla="*/ 3609975 h 4476750"/>
                  <a:gd name="connsiteX66" fmla="*/ 497227 w 4519987"/>
                  <a:gd name="connsiteY66" fmla="*/ 3552825 h 4476750"/>
                  <a:gd name="connsiteX67" fmla="*/ 440077 w 4519987"/>
                  <a:gd name="connsiteY67" fmla="*/ 3495675 h 4476750"/>
                  <a:gd name="connsiteX68" fmla="*/ 411502 w 4519987"/>
                  <a:gd name="connsiteY68" fmla="*/ 3448050 h 4476750"/>
                  <a:gd name="connsiteX69" fmla="*/ 278152 w 4519987"/>
                  <a:gd name="connsiteY69" fmla="*/ 3257550 h 4476750"/>
                  <a:gd name="connsiteX70" fmla="*/ 249577 w 4519987"/>
                  <a:gd name="connsiteY70" fmla="*/ 3200400 h 4476750"/>
                  <a:gd name="connsiteX71" fmla="*/ 240052 w 4519987"/>
                  <a:gd name="connsiteY71" fmla="*/ 3162300 h 4476750"/>
                  <a:gd name="connsiteX72" fmla="*/ 221002 w 4519987"/>
                  <a:gd name="connsiteY72" fmla="*/ 3105150 h 4476750"/>
                  <a:gd name="connsiteX73" fmla="*/ 173377 w 4519987"/>
                  <a:gd name="connsiteY73" fmla="*/ 3019425 h 4476750"/>
                  <a:gd name="connsiteX74" fmla="*/ 144802 w 4519987"/>
                  <a:gd name="connsiteY74" fmla="*/ 2924175 h 4476750"/>
                  <a:gd name="connsiteX75" fmla="*/ 68602 w 4519987"/>
                  <a:gd name="connsiteY75" fmla="*/ 2724150 h 4476750"/>
                  <a:gd name="connsiteX76" fmla="*/ 49552 w 4519987"/>
                  <a:gd name="connsiteY76" fmla="*/ 2638425 h 4476750"/>
                  <a:gd name="connsiteX77" fmla="*/ 40027 w 4519987"/>
                  <a:gd name="connsiteY77" fmla="*/ 2562225 h 4476750"/>
                  <a:gd name="connsiteX78" fmla="*/ 30502 w 4519987"/>
                  <a:gd name="connsiteY78" fmla="*/ 2514600 h 4476750"/>
                  <a:gd name="connsiteX79" fmla="*/ 11452 w 4519987"/>
                  <a:gd name="connsiteY79" fmla="*/ 2400300 h 4476750"/>
                  <a:gd name="connsiteX80" fmla="*/ 20977 w 4519987"/>
                  <a:gd name="connsiteY80" fmla="*/ 1905000 h 4476750"/>
                  <a:gd name="connsiteX81" fmla="*/ 30502 w 4519987"/>
                  <a:gd name="connsiteY81" fmla="*/ 1838325 h 4476750"/>
                  <a:gd name="connsiteX82" fmla="*/ 49552 w 4519987"/>
                  <a:gd name="connsiteY82" fmla="*/ 1781175 h 4476750"/>
                  <a:gd name="connsiteX83" fmla="*/ 59077 w 4519987"/>
                  <a:gd name="connsiteY83" fmla="*/ 1743075 h 4476750"/>
                  <a:gd name="connsiteX84" fmla="*/ 78127 w 4519987"/>
                  <a:gd name="connsiteY84" fmla="*/ 1685925 h 4476750"/>
                  <a:gd name="connsiteX85" fmla="*/ 87652 w 4519987"/>
                  <a:gd name="connsiteY85" fmla="*/ 1638300 h 4476750"/>
                  <a:gd name="connsiteX86" fmla="*/ 106702 w 4519987"/>
                  <a:gd name="connsiteY86" fmla="*/ 1590675 h 4476750"/>
                  <a:gd name="connsiteX87" fmla="*/ 135277 w 4519987"/>
                  <a:gd name="connsiteY87" fmla="*/ 1504950 h 4476750"/>
                  <a:gd name="connsiteX88" fmla="*/ 154327 w 4519987"/>
                  <a:gd name="connsiteY88" fmla="*/ 1419225 h 4476750"/>
                  <a:gd name="connsiteX89" fmla="*/ 230527 w 4519987"/>
                  <a:gd name="connsiteY89" fmla="*/ 1276350 h 4476750"/>
                  <a:gd name="connsiteX90" fmla="*/ 240052 w 4519987"/>
                  <a:gd name="connsiteY90" fmla="*/ 1247775 h 4476750"/>
                  <a:gd name="connsiteX91" fmla="*/ 268627 w 4519987"/>
                  <a:gd name="connsiteY91" fmla="*/ 1200150 h 4476750"/>
                  <a:gd name="connsiteX92" fmla="*/ 287677 w 4519987"/>
                  <a:gd name="connsiteY92" fmla="*/ 1152525 h 4476750"/>
                  <a:gd name="connsiteX93" fmla="*/ 316252 w 4519987"/>
                  <a:gd name="connsiteY93" fmla="*/ 1114425 h 4476750"/>
                  <a:gd name="connsiteX94" fmla="*/ 363877 w 4519987"/>
                  <a:gd name="connsiteY94" fmla="*/ 1038225 h 4476750"/>
                  <a:gd name="connsiteX95" fmla="*/ 382927 w 4519987"/>
                  <a:gd name="connsiteY95" fmla="*/ 1009650 h 4476750"/>
                  <a:gd name="connsiteX96" fmla="*/ 440077 w 4519987"/>
                  <a:gd name="connsiteY96" fmla="*/ 904875 h 4476750"/>
                  <a:gd name="connsiteX97" fmla="*/ 478177 w 4519987"/>
                  <a:gd name="connsiteY97" fmla="*/ 857250 h 4476750"/>
                  <a:gd name="connsiteX98" fmla="*/ 497227 w 4519987"/>
                  <a:gd name="connsiteY98" fmla="*/ 828675 h 4476750"/>
                  <a:gd name="connsiteX99" fmla="*/ 535327 w 4519987"/>
                  <a:gd name="connsiteY99" fmla="*/ 800100 h 4476750"/>
                  <a:gd name="connsiteX100" fmla="*/ 602002 w 4519987"/>
                  <a:gd name="connsiteY100" fmla="*/ 733425 h 4476750"/>
                  <a:gd name="connsiteX101" fmla="*/ 668677 w 4519987"/>
                  <a:gd name="connsiteY101" fmla="*/ 676275 h 4476750"/>
                  <a:gd name="connsiteX102" fmla="*/ 697252 w 4519987"/>
                  <a:gd name="connsiteY102" fmla="*/ 657225 h 4476750"/>
                  <a:gd name="connsiteX103" fmla="*/ 840127 w 4519987"/>
                  <a:gd name="connsiteY103" fmla="*/ 533400 h 4476750"/>
                  <a:gd name="connsiteX104" fmla="*/ 887752 w 4519987"/>
                  <a:gd name="connsiteY104" fmla="*/ 504825 h 4476750"/>
                  <a:gd name="connsiteX105" fmla="*/ 1167152 w 4519987"/>
                  <a:gd name="connsiteY105" fmla="*/ 311150 h 4476750"/>
                  <a:gd name="connsiteX106" fmla="*/ 1268752 w 4519987"/>
                  <a:gd name="connsiteY106" fmla="*/ 285750 h 4476750"/>
                  <a:gd name="connsiteX107" fmla="*/ 1411627 w 4519987"/>
                  <a:gd name="connsiteY107" fmla="*/ 190500 h 4476750"/>
                  <a:gd name="connsiteX108" fmla="*/ 1449727 w 4519987"/>
                  <a:gd name="connsiteY108" fmla="*/ 161925 h 4476750"/>
                  <a:gd name="connsiteX109" fmla="*/ 1525927 w 4519987"/>
                  <a:gd name="connsiteY109" fmla="*/ 152400 h 4476750"/>
                  <a:gd name="connsiteX110" fmla="*/ 1583077 w 4519987"/>
                  <a:gd name="connsiteY110" fmla="*/ 142875 h 4476750"/>
                  <a:gd name="connsiteX111" fmla="*/ 1716427 w 4519987"/>
                  <a:gd name="connsiteY111" fmla="*/ 123825 h 4476750"/>
                  <a:gd name="connsiteX112" fmla="*/ 1811677 w 4519987"/>
                  <a:gd name="connsiteY112" fmla="*/ 114300 h 4476750"/>
                  <a:gd name="connsiteX113" fmla="*/ 1859302 w 4519987"/>
                  <a:gd name="connsiteY113" fmla="*/ 104775 h 4476750"/>
                  <a:gd name="connsiteX114" fmla="*/ 1916452 w 4519987"/>
                  <a:gd name="connsiteY114" fmla="*/ 95250 h 4476750"/>
                  <a:gd name="connsiteX115" fmla="*/ 2030752 w 4519987"/>
                  <a:gd name="connsiteY115" fmla="*/ 66675 h 4476750"/>
                  <a:gd name="connsiteX116" fmla="*/ 2097427 w 4519987"/>
                  <a:gd name="connsiteY116" fmla="*/ 47625 h 4476750"/>
                  <a:gd name="connsiteX117" fmla="*/ 2164102 w 4519987"/>
                  <a:gd name="connsiteY117" fmla="*/ 38100 h 4476750"/>
                  <a:gd name="connsiteX118" fmla="*/ 2392702 w 4519987"/>
                  <a:gd name="connsiteY118" fmla="*/ 28575 h 4476750"/>
                  <a:gd name="connsiteX0" fmla="*/ 2297452 w 4519987"/>
                  <a:gd name="connsiteY0" fmla="*/ 0 h 4478541"/>
                  <a:gd name="connsiteX1" fmla="*/ 2421277 w 4519987"/>
                  <a:gd name="connsiteY1" fmla="*/ 28575 h 4478541"/>
                  <a:gd name="connsiteX2" fmla="*/ 2497477 w 4519987"/>
                  <a:gd name="connsiteY2" fmla="*/ 47625 h 4478541"/>
                  <a:gd name="connsiteX3" fmla="*/ 2754652 w 4519987"/>
                  <a:gd name="connsiteY3" fmla="*/ 66675 h 4478541"/>
                  <a:gd name="connsiteX4" fmla="*/ 2830852 w 4519987"/>
                  <a:gd name="connsiteY4" fmla="*/ 76200 h 4478541"/>
                  <a:gd name="connsiteX5" fmla="*/ 2916577 w 4519987"/>
                  <a:gd name="connsiteY5" fmla="*/ 85725 h 4478541"/>
                  <a:gd name="connsiteX6" fmla="*/ 2973727 w 4519987"/>
                  <a:gd name="connsiteY6" fmla="*/ 114300 h 4478541"/>
                  <a:gd name="connsiteX7" fmla="*/ 3011827 w 4519987"/>
                  <a:gd name="connsiteY7" fmla="*/ 123825 h 4478541"/>
                  <a:gd name="connsiteX8" fmla="*/ 3135652 w 4519987"/>
                  <a:gd name="connsiteY8" fmla="*/ 171450 h 4478541"/>
                  <a:gd name="connsiteX9" fmla="*/ 3173752 w 4519987"/>
                  <a:gd name="connsiteY9" fmla="*/ 190500 h 4478541"/>
                  <a:gd name="connsiteX10" fmla="*/ 3240427 w 4519987"/>
                  <a:gd name="connsiteY10" fmla="*/ 228600 h 4478541"/>
                  <a:gd name="connsiteX11" fmla="*/ 3269002 w 4519987"/>
                  <a:gd name="connsiteY11" fmla="*/ 238125 h 4478541"/>
                  <a:gd name="connsiteX12" fmla="*/ 3297577 w 4519987"/>
                  <a:gd name="connsiteY12" fmla="*/ 257175 h 4478541"/>
                  <a:gd name="connsiteX13" fmla="*/ 3326152 w 4519987"/>
                  <a:gd name="connsiteY13" fmla="*/ 266700 h 4478541"/>
                  <a:gd name="connsiteX14" fmla="*/ 3354727 w 4519987"/>
                  <a:gd name="connsiteY14" fmla="*/ 285750 h 4478541"/>
                  <a:gd name="connsiteX15" fmla="*/ 3421402 w 4519987"/>
                  <a:gd name="connsiteY15" fmla="*/ 323850 h 4478541"/>
                  <a:gd name="connsiteX16" fmla="*/ 3469027 w 4519987"/>
                  <a:gd name="connsiteY16" fmla="*/ 361950 h 4478541"/>
                  <a:gd name="connsiteX17" fmla="*/ 3516652 w 4519987"/>
                  <a:gd name="connsiteY17" fmla="*/ 390525 h 4478541"/>
                  <a:gd name="connsiteX18" fmla="*/ 3630952 w 4519987"/>
                  <a:gd name="connsiteY18" fmla="*/ 485775 h 4478541"/>
                  <a:gd name="connsiteX19" fmla="*/ 3745252 w 4519987"/>
                  <a:gd name="connsiteY19" fmla="*/ 542925 h 4478541"/>
                  <a:gd name="connsiteX20" fmla="*/ 3811927 w 4519987"/>
                  <a:gd name="connsiteY20" fmla="*/ 581025 h 4478541"/>
                  <a:gd name="connsiteX21" fmla="*/ 4027827 w 4519987"/>
                  <a:gd name="connsiteY21" fmla="*/ 819150 h 4478541"/>
                  <a:gd name="connsiteX22" fmla="*/ 4164352 w 4519987"/>
                  <a:gd name="connsiteY22" fmla="*/ 990600 h 4478541"/>
                  <a:gd name="connsiteX23" fmla="*/ 4250077 w 4519987"/>
                  <a:gd name="connsiteY23" fmla="*/ 1143000 h 4478541"/>
                  <a:gd name="connsiteX24" fmla="*/ 4307227 w 4519987"/>
                  <a:gd name="connsiteY24" fmla="*/ 1266825 h 4478541"/>
                  <a:gd name="connsiteX25" fmla="*/ 4345327 w 4519987"/>
                  <a:gd name="connsiteY25" fmla="*/ 1362075 h 4478541"/>
                  <a:gd name="connsiteX26" fmla="*/ 4392952 w 4519987"/>
                  <a:gd name="connsiteY26" fmla="*/ 1552575 h 4478541"/>
                  <a:gd name="connsiteX27" fmla="*/ 4431052 w 4519987"/>
                  <a:gd name="connsiteY27" fmla="*/ 1685925 h 4478541"/>
                  <a:gd name="connsiteX28" fmla="*/ 4519952 w 4519987"/>
                  <a:gd name="connsiteY28" fmla="*/ 2181225 h 4478541"/>
                  <a:gd name="connsiteX29" fmla="*/ 4446927 w 4519987"/>
                  <a:gd name="connsiteY29" fmla="*/ 2768600 h 4478541"/>
                  <a:gd name="connsiteX30" fmla="*/ 4383427 w 4519987"/>
                  <a:gd name="connsiteY30" fmla="*/ 2990850 h 4478541"/>
                  <a:gd name="connsiteX31" fmla="*/ 4278652 w 4519987"/>
                  <a:gd name="connsiteY31" fmla="*/ 3248025 h 4478541"/>
                  <a:gd name="connsiteX32" fmla="*/ 4183402 w 4519987"/>
                  <a:gd name="connsiteY32" fmla="*/ 3400425 h 4478541"/>
                  <a:gd name="connsiteX33" fmla="*/ 4059577 w 4519987"/>
                  <a:gd name="connsiteY33" fmla="*/ 3533775 h 4478541"/>
                  <a:gd name="connsiteX34" fmla="*/ 3954802 w 4519987"/>
                  <a:gd name="connsiteY34" fmla="*/ 3648075 h 4478541"/>
                  <a:gd name="connsiteX35" fmla="*/ 3659527 w 4519987"/>
                  <a:gd name="connsiteY35" fmla="*/ 3971925 h 4478541"/>
                  <a:gd name="connsiteX36" fmla="*/ 3516652 w 4519987"/>
                  <a:gd name="connsiteY36" fmla="*/ 4083050 h 4478541"/>
                  <a:gd name="connsiteX37" fmla="*/ 3221377 w 4519987"/>
                  <a:gd name="connsiteY37" fmla="*/ 4222750 h 4478541"/>
                  <a:gd name="connsiteX38" fmla="*/ 3068977 w 4519987"/>
                  <a:gd name="connsiteY38" fmla="*/ 4286250 h 4478541"/>
                  <a:gd name="connsiteX39" fmla="*/ 2935627 w 4519987"/>
                  <a:gd name="connsiteY39" fmla="*/ 4333875 h 4478541"/>
                  <a:gd name="connsiteX40" fmla="*/ 2811802 w 4519987"/>
                  <a:gd name="connsiteY40" fmla="*/ 4371975 h 4478541"/>
                  <a:gd name="connsiteX41" fmla="*/ 2745127 w 4519987"/>
                  <a:gd name="connsiteY41" fmla="*/ 4410075 h 4478541"/>
                  <a:gd name="connsiteX42" fmla="*/ 2306977 w 4519987"/>
                  <a:gd name="connsiteY42" fmla="*/ 4476750 h 4478541"/>
                  <a:gd name="connsiteX43" fmla="*/ 2202202 w 4519987"/>
                  <a:gd name="connsiteY43" fmla="*/ 4457700 h 4478541"/>
                  <a:gd name="connsiteX44" fmla="*/ 2126002 w 4519987"/>
                  <a:gd name="connsiteY44" fmla="*/ 4429125 h 4478541"/>
                  <a:gd name="connsiteX45" fmla="*/ 1935502 w 4519987"/>
                  <a:gd name="connsiteY45" fmla="*/ 4400550 h 4478541"/>
                  <a:gd name="connsiteX46" fmla="*/ 1821202 w 4519987"/>
                  <a:gd name="connsiteY46" fmla="*/ 4371975 h 4478541"/>
                  <a:gd name="connsiteX47" fmla="*/ 1754527 w 4519987"/>
                  <a:gd name="connsiteY47" fmla="*/ 4352925 h 4478541"/>
                  <a:gd name="connsiteX48" fmla="*/ 1687852 w 4519987"/>
                  <a:gd name="connsiteY48" fmla="*/ 4343400 h 4478541"/>
                  <a:gd name="connsiteX49" fmla="*/ 1573552 w 4519987"/>
                  <a:gd name="connsiteY49" fmla="*/ 4305300 h 4478541"/>
                  <a:gd name="connsiteX50" fmla="*/ 1402102 w 4519987"/>
                  <a:gd name="connsiteY50" fmla="*/ 4276725 h 4478541"/>
                  <a:gd name="connsiteX51" fmla="*/ 1287802 w 4519987"/>
                  <a:gd name="connsiteY51" fmla="*/ 4229100 h 4478541"/>
                  <a:gd name="connsiteX52" fmla="*/ 1221127 w 4519987"/>
                  <a:gd name="connsiteY52" fmla="*/ 4200525 h 4478541"/>
                  <a:gd name="connsiteX53" fmla="*/ 1144927 w 4519987"/>
                  <a:gd name="connsiteY53" fmla="*/ 4171950 h 4478541"/>
                  <a:gd name="connsiteX54" fmla="*/ 1087777 w 4519987"/>
                  <a:gd name="connsiteY54" fmla="*/ 4143375 h 4478541"/>
                  <a:gd name="connsiteX55" fmla="*/ 1030627 w 4519987"/>
                  <a:gd name="connsiteY55" fmla="*/ 4124325 h 4478541"/>
                  <a:gd name="connsiteX56" fmla="*/ 925852 w 4519987"/>
                  <a:gd name="connsiteY56" fmla="*/ 4067175 h 4478541"/>
                  <a:gd name="connsiteX57" fmla="*/ 830602 w 4519987"/>
                  <a:gd name="connsiteY57" fmla="*/ 3981450 h 4478541"/>
                  <a:gd name="connsiteX58" fmla="*/ 763927 w 4519987"/>
                  <a:gd name="connsiteY58" fmla="*/ 3914775 h 4478541"/>
                  <a:gd name="connsiteX59" fmla="*/ 725827 w 4519987"/>
                  <a:gd name="connsiteY59" fmla="*/ 3876675 h 4478541"/>
                  <a:gd name="connsiteX60" fmla="*/ 697252 w 4519987"/>
                  <a:gd name="connsiteY60" fmla="*/ 3838575 h 4478541"/>
                  <a:gd name="connsiteX61" fmla="*/ 640102 w 4519987"/>
                  <a:gd name="connsiteY61" fmla="*/ 3781425 h 4478541"/>
                  <a:gd name="connsiteX62" fmla="*/ 611527 w 4519987"/>
                  <a:gd name="connsiteY62" fmla="*/ 3733800 h 4478541"/>
                  <a:gd name="connsiteX63" fmla="*/ 554377 w 4519987"/>
                  <a:gd name="connsiteY63" fmla="*/ 3657600 h 4478541"/>
                  <a:gd name="connsiteX64" fmla="*/ 525802 w 4519987"/>
                  <a:gd name="connsiteY64" fmla="*/ 3609975 h 4478541"/>
                  <a:gd name="connsiteX65" fmla="*/ 497227 w 4519987"/>
                  <a:gd name="connsiteY65" fmla="*/ 3552825 h 4478541"/>
                  <a:gd name="connsiteX66" fmla="*/ 440077 w 4519987"/>
                  <a:gd name="connsiteY66" fmla="*/ 3495675 h 4478541"/>
                  <a:gd name="connsiteX67" fmla="*/ 411502 w 4519987"/>
                  <a:gd name="connsiteY67" fmla="*/ 3448050 h 4478541"/>
                  <a:gd name="connsiteX68" fmla="*/ 278152 w 4519987"/>
                  <a:gd name="connsiteY68" fmla="*/ 3257550 h 4478541"/>
                  <a:gd name="connsiteX69" fmla="*/ 249577 w 4519987"/>
                  <a:gd name="connsiteY69" fmla="*/ 3200400 h 4478541"/>
                  <a:gd name="connsiteX70" fmla="*/ 240052 w 4519987"/>
                  <a:gd name="connsiteY70" fmla="*/ 3162300 h 4478541"/>
                  <a:gd name="connsiteX71" fmla="*/ 221002 w 4519987"/>
                  <a:gd name="connsiteY71" fmla="*/ 3105150 h 4478541"/>
                  <a:gd name="connsiteX72" fmla="*/ 173377 w 4519987"/>
                  <a:gd name="connsiteY72" fmla="*/ 3019425 h 4478541"/>
                  <a:gd name="connsiteX73" fmla="*/ 144802 w 4519987"/>
                  <a:gd name="connsiteY73" fmla="*/ 2924175 h 4478541"/>
                  <a:gd name="connsiteX74" fmla="*/ 68602 w 4519987"/>
                  <a:gd name="connsiteY74" fmla="*/ 2724150 h 4478541"/>
                  <a:gd name="connsiteX75" fmla="*/ 49552 w 4519987"/>
                  <a:gd name="connsiteY75" fmla="*/ 2638425 h 4478541"/>
                  <a:gd name="connsiteX76" fmla="*/ 40027 w 4519987"/>
                  <a:gd name="connsiteY76" fmla="*/ 2562225 h 4478541"/>
                  <a:gd name="connsiteX77" fmla="*/ 30502 w 4519987"/>
                  <a:gd name="connsiteY77" fmla="*/ 2514600 h 4478541"/>
                  <a:gd name="connsiteX78" fmla="*/ 11452 w 4519987"/>
                  <a:gd name="connsiteY78" fmla="*/ 2400300 h 4478541"/>
                  <a:gd name="connsiteX79" fmla="*/ 20977 w 4519987"/>
                  <a:gd name="connsiteY79" fmla="*/ 1905000 h 4478541"/>
                  <a:gd name="connsiteX80" fmla="*/ 30502 w 4519987"/>
                  <a:gd name="connsiteY80" fmla="*/ 1838325 h 4478541"/>
                  <a:gd name="connsiteX81" fmla="*/ 49552 w 4519987"/>
                  <a:gd name="connsiteY81" fmla="*/ 1781175 h 4478541"/>
                  <a:gd name="connsiteX82" fmla="*/ 59077 w 4519987"/>
                  <a:gd name="connsiteY82" fmla="*/ 1743075 h 4478541"/>
                  <a:gd name="connsiteX83" fmla="*/ 78127 w 4519987"/>
                  <a:gd name="connsiteY83" fmla="*/ 1685925 h 4478541"/>
                  <a:gd name="connsiteX84" fmla="*/ 87652 w 4519987"/>
                  <a:gd name="connsiteY84" fmla="*/ 1638300 h 4478541"/>
                  <a:gd name="connsiteX85" fmla="*/ 106702 w 4519987"/>
                  <a:gd name="connsiteY85" fmla="*/ 1590675 h 4478541"/>
                  <a:gd name="connsiteX86" fmla="*/ 135277 w 4519987"/>
                  <a:gd name="connsiteY86" fmla="*/ 1504950 h 4478541"/>
                  <a:gd name="connsiteX87" fmla="*/ 154327 w 4519987"/>
                  <a:gd name="connsiteY87" fmla="*/ 1419225 h 4478541"/>
                  <a:gd name="connsiteX88" fmla="*/ 230527 w 4519987"/>
                  <a:gd name="connsiteY88" fmla="*/ 1276350 h 4478541"/>
                  <a:gd name="connsiteX89" fmla="*/ 240052 w 4519987"/>
                  <a:gd name="connsiteY89" fmla="*/ 1247775 h 4478541"/>
                  <a:gd name="connsiteX90" fmla="*/ 268627 w 4519987"/>
                  <a:gd name="connsiteY90" fmla="*/ 1200150 h 4478541"/>
                  <a:gd name="connsiteX91" fmla="*/ 287677 w 4519987"/>
                  <a:gd name="connsiteY91" fmla="*/ 1152525 h 4478541"/>
                  <a:gd name="connsiteX92" fmla="*/ 316252 w 4519987"/>
                  <a:gd name="connsiteY92" fmla="*/ 1114425 h 4478541"/>
                  <a:gd name="connsiteX93" fmla="*/ 363877 w 4519987"/>
                  <a:gd name="connsiteY93" fmla="*/ 1038225 h 4478541"/>
                  <a:gd name="connsiteX94" fmla="*/ 382927 w 4519987"/>
                  <a:gd name="connsiteY94" fmla="*/ 1009650 h 4478541"/>
                  <a:gd name="connsiteX95" fmla="*/ 440077 w 4519987"/>
                  <a:gd name="connsiteY95" fmla="*/ 904875 h 4478541"/>
                  <a:gd name="connsiteX96" fmla="*/ 478177 w 4519987"/>
                  <a:gd name="connsiteY96" fmla="*/ 857250 h 4478541"/>
                  <a:gd name="connsiteX97" fmla="*/ 497227 w 4519987"/>
                  <a:gd name="connsiteY97" fmla="*/ 828675 h 4478541"/>
                  <a:gd name="connsiteX98" fmla="*/ 535327 w 4519987"/>
                  <a:gd name="connsiteY98" fmla="*/ 800100 h 4478541"/>
                  <a:gd name="connsiteX99" fmla="*/ 602002 w 4519987"/>
                  <a:gd name="connsiteY99" fmla="*/ 733425 h 4478541"/>
                  <a:gd name="connsiteX100" fmla="*/ 668677 w 4519987"/>
                  <a:gd name="connsiteY100" fmla="*/ 676275 h 4478541"/>
                  <a:gd name="connsiteX101" fmla="*/ 697252 w 4519987"/>
                  <a:gd name="connsiteY101" fmla="*/ 657225 h 4478541"/>
                  <a:gd name="connsiteX102" fmla="*/ 840127 w 4519987"/>
                  <a:gd name="connsiteY102" fmla="*/ 533400 h 4478541"/>
                  <a:gd name="connsiteX103" fmla="*/ 887752 w 4519987"/>
                  <a:gd name="connsiteY103" fmla="*/ 504825 h 4478541"/>
                  <a:gd name="connsiteX104" fmla="*/ 1167152 w 4519987"/>
                  <a:gd name="connsiteY104" fmla="*/ 311150 h 4478541"/>
                  <a:gd name="connsiteX105" fmla="*/ 1268752 w 4519987"/>
                  <a:gd name="connsiteY105" fmla="*/ 285750 h 4478541"/>
                  <a:gd name="connsiteX106" fmla="*/ 1411627 w 4519987"/>
                  <a:gd name="connsiteY106" fmla="*/ 190500 h 4478541"/>
                  <a:gd name="connsiteX107" fmla="*/ 1449727 w 4519987"/>
                  <a:gd name="connsiteY107" fmla="*/ 161925 h 4478541"/>
                  <a:gd name="connsiteX108" fmla="*/ 1525927 w 4519987"/>
                  <a:gd name="connsiteY108" fmla="*/ 152400 h 4478541"/>
                  <a:gd name="connsiteX109" fmla="*/ 1583077 w 4519987"/>
                  <a:gd name="connsiteY109" fmla="*/ 142875 h 4478541"/>
                  <a:gd name="connsiteX110" fmla="*/ 1716427 w 4519987"/>
                  <a:gd name="connsiteY110" fmla="*/ 123825 h 4478541"/>
                  <a:gd name="connsiteX111" fmla="*/ 1811677 w 4519987"/>
                  <a:gd name="connsiteY111" fmla="*/ 114300 h 4478541"/>
                  <a:gd name="connsiteX112" fmla="*/ 1859302 w 4519987"/>
                  <a:gd name="connsiteY112" fmla="*/ 104775 h 4478541"/>
                  <a:gd name="connsiteX113" fmla="*/ 1916452 w 4519987"/>
                  <a:gd name="connsiteY113" fmla="*/ 95250 h 4478541"/>
                  <a:gd name="connsiteX114" fmla="*/ 2030752 w 4519987"/>
                  <a:gd name="connsiteY114" fmla="*/ 66675 h 4478541"/>
                  <a:gd name="connsiteX115" fmla="*/ 2097427 w 4519987"/>
                  <a:gd name="connsiteY115" fmla="*/ 47625 h 4478541"/>
                  <a:gd name="connsiteX116" fmla="*/ 2164102 w 4519987"/>
                  <a:gd name="connsiteY116" fmla="*/ 38100 h 4478541"/>
                  <a:gd name="connsiteX117" fmla="*/ 2392702 w 4519987"/>
                  <a:gd name="connsiteY117" fmla="*/ 28575 h 4478541"/>
                  <a:gd name="connsiteX0" fmla="*/ 2297452 w 4519987"/>
                  <a:gd name="connsiteY0" fmla="*/ 0 h 4476750"/>
                  <a:gd name="connsiteX1" fmla="*/ 2421277 w 4519987"/>
                  <a:gd name="connsiteY1" fmla="*/ 28575 h 4476750"/>
                  <a:gd name="connsiteX2" fmla="*/ 2497477 w 4519987"/>
                  <a:gd name="connsiteY2" fmla="*/ 47625 h 4476750"/>
                  <a:gd name="connsiteX3" fmla="*/ 2754652 w 4519987"/>
                  <a:gd name="connsiteY3" fmla="*/ 66675 h 4476750"/>
                  <a:gd name="connsiteX4" fmla="*/ 2830852 w 4519987"/>
                  <a:gd name="connsiteY4" fmla="*/ 76200 h 4476750"/>
                  <a:gd name="connsiteX5" fmla="*/ 2916577 w 4519987"/>
                  <a:gd name="connsiteY5" fmla="*/ 85725 h 4476750"/>
                  <a:gd name="connsiteX6" fmla="*/ 2973727 w 4519987"/>
                  <a:gd name="connsiteY6" fmla="*/ 114300 h 4476750"/>
                  <a:gd name="connsiteX7" fmla="*/ 3011827 w 4519987"/>
                  <a:gd name="connsiteY7" fmla="*/ 123825 h 4476750"/>
                  <a:gd name="connsiteX8" fmla="*/ 3135652 w 4519987"/>
                  <a:gd name="connsiteY8" fmla="*/ 171450 h 4476750"/>
                  <a:gd name="connsiteX9" fmla="*/ 3173752 w 4519987"/>
                  <a:gd name="connsiteY9" fmla="*/ 190500 h 4476750"/>
                  <a:gd name="connsiteX10" fmla="*/ 3240427 w 4519987"/>
                  <a:gd name="connsiteY10" fmla="*/ 228600 h 4476750"/>
                  <a:gd name="connsiteX11" fmla="*/ 3269002 w 4519987"/>
                  <a:gd name="connsiteY11" fmla="*/ 238125 h 4476750"/>
                  <a:gd name="connsiteX12" fmla="*/ 3297577 w 4519987"/>
                  <a:gd name="connsiteY12" fmla="*/ 257175 h 4476750"/>
                  <a:gd name="connsiteX13" fmla="*/ 3326152 w 4519987"/>
                  <a:gd name="connsiteY13" fmla="*/ 266700 h 4476750"/>
                  <a:gd name="connsiteX14" fmla="*/ 3354727 w 4519987"/>
                  <a:gd name="connsiteY14" fmla="*/ 285750 h 4476750"/>
                  <a:gd name="connsiteX15" fmla="*/ 3421402 w 4519987"/>
                  <a:gd name="connsiteY15" fmla="*/ 323850 h 4476750"/>
                  <a:gd name="connsiteX16" fmla="*/ 3469027 w 4519987"/>
                  <a:gd name="connsiteY16" fmla="*/ 361950 h 4476750"/>
                  <a:gd name="connsiteX17" fmla="*/ 3516652 w 4519987"/>
                  <a:gd name="connsiteY17" fmla="*/ 390525 h 4476750"/>
                  <a:gd name="connsiteX18" fmla="*/ 3630952 w 4519987"/>
                  <a:gd name="connsiteY18" fmla="*/ 485775 h 4476750"/>
                  <a:gd name="connsiteX19" fmla="*/ 3745252 w 4519987"/>
                  <a:gd name="connsiteY19" fmla="*/ 542925 h 4476750"/>
                  <a:gd name="connsiteX20" fmla="*/ 3811927 w 4519987"/>
                  <a:gd name="connsiteY20" fmla="*/ 581025 h 4476750"/>
                  <a:gd name="connsiteX21" fmla="*/ 4027827 w 4519987"/>
                  <a:gd name="connsiteY21" fmla="*/ 819150 h 4476750"/>
                  <a:gd name="connsiteX22" fmla="*/ 4164352 w 4519987"/>
                  <a:gd name="connsiteY22" fmla="*/ 990600 h 4476750"/>
                  <a:gd name="connsiteX23" fmla="*/ 4250077 w 4519987"/>
                  <a:gd name="connsiteY23" fmla="*/ 1143000 h 4476750"/>
                  <a:gd name="connsiteX24" fmla="*/ 4307227 w 4519987"/>
                  <a:gd name="connsiteY24" fmla="*/ 1266825 h 4476750"/>
                  <a:gd name="connsiteX25" fmla="*/ 4345327 w 4519987"/>
                  <a:gd name="connsiteY25" fmla="*/ 1362075 h 4476750"/>
                  <a:gd name="connsiteX26" fmla="*/ 4392952 w 4519987"/>
                  <a:gd name="connsiteY26" fmla="*/ 1552575 h 4476750"/>
                  <a:gd name="connsiteX27" fmla="*/ 4431052 w 4519987"/>
                  <a:gd name="connsiteY27" fmla="*/ 1685925 h 4476750"/>
                  <a:gd name="connsiteX28" fmla="*/ 4519952 w 4519987"/>
                  <a:gd name="connsiteY28" fmla="*/ 2181225 h 4476750"/>
                  <a:gd name="connsiteX29" fmla="*/ 4446927 w 4519987"/>
                  <a:gd name="connsiteY29" fmla="*/ 2768600 h 4476750"/>
                  <a:gd name="connsiteX30" fmla="*/ 4383427 w 4519987"/>
                  <a:gd name="connsiteY30" fmla="*/ 2990850 h 4476750"/>
                  <a:gd name="connsiteX31" fmla="*/ 4278652 w 4519987"/>
                  <a:gd name="connsiteY31" fmla="*/ 3248025 h 4476750"/>
                  <a:gd name="connsiteX32" fmla="*/ 4183402 w 4519987"/>
                  <a:gd name="connsiteY32" fmla="*/ 3400425 h 4476750"/>
                  <a:gd name="connsiteX33" fmla="*/ 4059577 w 4519987"/>
                  <a:gd name="connsiteY33" fmla="*/ 3533775 h 4476750"/>
                  <a:gd name="connsiteX34" fmla="*/ 3954802 w 4519987"/>
                  <a:gd name="connsiteY34" fmla="*/ 3648075 h 4476750"/>
                  <a:gd name="connsiteX35" fmla="*/ 3659527 w 4519987"/>
                  <a:gd name="connsiteY35" fmla="*/ 3971925 h 4476750"/>
                  <a:gd name="connsiteX36" fmla="*/ 3516652 w 4519987"/>
                  <a:gd name="connsiteY36" fmla="*/ 4083050 h 4476750"/>
                  <a:gd name="connsiteX37" fmla="*/ 3221377 w 4519987"/>
                  <a:gd name="connsiteY37" fmla="*/ 4222750 h 4476750"/>
                  <a:gd name="connsiteX38" fmla="*/ 3068977 w 4519987"/>
                  <a:gd name="connsiteY38" fmla="*/ 4286250 h 4476750"/>
                  <a:gd name="connsiteX39" fmla="*/ 2935627 w 4519987"/>
                  <a:gd name="connsiteY39" fmla="*/ 4333875 h 4476750"/>
                  <a:gd name="connsiteX40" fmla="*/ 2811802 w 4519987"/>
                  <a:gd name="connsiteY40" fmla="*/ 4371975 h 4476750"/>
                  <a:gd name="connsiteX41" fmla="*/ 2580027 w 4519987"/>
                  <a:gd name="connsiteY41" fmla="*/ 4391025 h 4476750"/>
                  <a:gd name="connsiteX42" fmla="*/ 2306977 w 4519987"/>
                  <a:gd name="connsiteY42" fmla="*/ 4476750 h 4476750"/>
                  <a:gd name="connsiteX43" fmla="*/ 2202202 w 4519987"/>
                  <a:gd name="connsiteY43" fmla="*/ 4457700 h 4476750"/>
                  <a:gd name="connsiteX44" fmla="*/ 2126002 w 4519987"/>
                  <a:gd name="connsiteY44" fmla="*/ 4429125 h 4476750"/>
                  <a:gd name="connsiteX45" fmla="*/ 1935502 w 4519987"/>
                  <a:gd name="connsiteY45" fmla="*/ 4400550 h 4476750"/>
                  <a:gd name="connsiteX46" fmla="*/ 1821202 w 4519987"/>
                  <a:gd name="connsiteY46" fmla="*/ 4371975 h 4476750"/>
                  <a:gd name="connsiteX47" fmla="*/ 1754527 w 4519987"/>
                  <a:gd name="connsiteY47" fmla="*/ 4352925 h 4476750"/>
                  <a:gd name="connsiteX48" fmla="*/ 1687852 w 4519987"/>
                  <a:gd name="connsiteY48" fmla="*/ 4343400 h 4476750"/>
                  <a:gd name="connsiteX49" fmla="*/ 1573552 w 4519987"/>
                  <a:gd name="connsiteY49" fmla="*/ 4305300 h 4476750"/>
                  <a:gd name="connsiteX50" fmla="*/ 1402102 w 4519987"/>
                  <a:gd name="connsiteY50" fmla="*/ 4276725 h 4476750"/>
                  <a:gd name="connsiteX51" fmla="*/ 1287802 w 4519987"/>
                  <a:gd name="connsiteY51" fmla="*/ 4229100 h 4476750"/>
                  <a:gd name="connsiteX52" fmla="*/ 1221127 w 4519987"/>
                  <a:gd name="connsiteY52" fmla="*/ 4200525 h 4476750"/>
                  <a:gd name="connsiteX53" fmla="*/ 1144927 w 4519987"/>
                  <a:gd name="connsiteY53" fmla="*/ 4171950 h 4476750"/>
                  <a:gd name="connsiteX54" fmla="*/ 1087777 w 4519987"/>
                  <a:gd name="connsiteY54" fmla="*/ 4143375 h 4476750"/>
                  <a:gd name="connsiteX55" fmla="*/ 1030627 w 4519987"/>
                  <a:gd name="connsiteY55" fmla="*/ 4124325 h 4476750"/>
                  <a:gd name="connsiteX56" fmla="*/ 925852 w 4519987"/>
                  <a:gd name="connsiteY56" fmla="*/ 4067175 h 4476750"/>
                  <a:gd name="connsiteX57" fmla="*/ 830602 w 4519987"/>
                  <a:gd name="connsiteY57" fmla="*/ 3981450 h 4476750"/>
                  <a:gd name="connsiteX58" fmla="*/ 763927 w 4519987"/>
                  <a:gd name="connsiteY58" fmla="*/ 3914775 h 4476750"/>
                  <a:gd name="connsiteX59" fmla="*/ 725827 w 4519987"/>
                  <a:gd name="connsiteY59" fmla="*/ 3876675 h 4476750"/>
                  <a:gd name="connsiteX60" fmla="*/ 697252 w 4519987"/>
                  <a:gd name="connsiteY60" fmla="*/ 3838575 h 4476750"/>
                  <a:gd name="connsiteX61" fmla="*/ 640102 w 4519987"/>
                  <a:gd name="connsiteY61" fmla="*/ 3781425 h 4476750"/>
                  <a:gd name="connsiteX62" fmla="*/ 611527 w 4519987"/>
                  <a:gd name="connsiteY62" fmla="*/ 3733800 h 4476750"/>
                  <a:gd name="connsiteX63" fmla="*/ 554377 w 4519987"/>
                  <a:gd name="connsiteY63" fmla="*/ 3657600 h 4476750"/>
                  <a:gd name="connsiteX64" fmla="*/ 525802 w 4519987"/>
                  <a:gd name="connsiteY64" fmla="*/ 3609975 h 4476750"/>
                  <a:gd name="connsiteX65" fmla="*/ 497227 w 4519987"/>
                  <a:gd name="connsiteY65" fmla="*/ 3552825 h 4476750"/>
                  <a:gd name="connsiteX66" fmla="*/ 440077 w 4519987"/>
                  <a:gd name="connsiteY66" fmla="*/ 3495675 h 4476750"/>
                  <a:gd name="connsiteX67" fmla="*/ 411502 w 4519987"/>
                  <a:gd name="connsiteY67" fmla="*/ 3448050 h 4476750"/>
                  <a:gd name="connsiteX68" fmla="*/ 278152 w 4519987"/>
                  <a:gd name="connsiteY68" fmla="*/ 3257550 h 4476750"/>
                  <a:gd name="connsiteX69" fmla="*/ 249577 w 4519987"/>
                  <a:gd name="connsiteY69" fmla="*/ 3200400 h 4476750"/>
                  <a:gd name="connsiteX70" fmla="*/ 240052 w 4519987"/>
                  <a:gd name="connsiteY70" fmla="*/ 3162300 h 4476750"/>
                  <a:gd name="connsiteX71" fmla="*/ 221002 w 4519987"/>
                  <a:gd name="connsiteY71" fmla="*/ 3105150 h 4476750"/>
                  <a:gd name="connsiteX72" fmla="*/ 173377 w 4519987"/>
                  <a:gd name="connsiteY72" fmla="*/ 3019425 h 4476750"/>
                  <a:gd name="connsiteX73" fmla="*/ 144802 w 4519987"/>
                  <a:gd name="connsiteY73" fmla="*/ 2924175 h 4476750"/>
                  <a:gd name="connsiteX74" fmla="*/ 68602 w 4519987"/>
                  <a:gd name="connsiteY74" fmla="*/ 2724150 h 4476750"/>
                  <a:gd name="connsiteX75" fmla="*/ 49552 w 4519987"/>
                  <a:gd name="connsiteY75" fmla="*/ 2638425 h 4476750"/>
                  <a:gd name="connsiteX76" fmla="*/ 40027 w 4519987"/>
                  <a:gd name="connsiteY76" fmla="*/ 2562225 h 4476750"/>
                  <a:gd name="connsiteX77" fmla="*/ 30502 w 4519987"/>
                  <a:gd name="connsiteY77" fmla="*/ 2514600 h 4476750"/>
                  <a:gd name="connsiteX78" fmla="*/ 11452 w 4519987"/>
                  <a:gd name="connsiteY78" fmla="*/ 2400300 h 4476750"/>
                  <a:gd name="connsiteX79" fmla="*/ 20977 w 4519987"/>
                  <a:gd name="connsiteY79" fmla="*/ 1905000 h 4476750"/>
                  <a:gd name="connsiteX80" fmla="*/ 30502 w 4519987"/>
                  <a:gd name="connsiteY80" fmla="*/ 1838325 h 4476750"/>
                  <a:gd name="connsiteX81" fmla="*/ 49552 w 4519987"/>
                  <a:gd name="connsiteY81" fmla="*/ 1781175 h 4476750"/>
                  <a:gd name="connsiteX82" fmla="*/ 59077 w 4519987"/>
                  <a:gd name="connsiteY82" fmla="*/ 1743075 h 4476750"/>
                  <a:gd name="connsiteX83" fmla="*/ 78127 w 4519987"/>
                  <a:gd name="connsiteY83" fmla="*/ 1685925 h 4476750"/>
                  <a:gd name="connsiteX84" fmla="*/ 87652 w 4519987"/>
                  <a:gd name="connsiteY84" fmla="*/ 1638300 h 4476750"/>
                  <a:gd name="connsiteX85" fmla="*/ 106702 w 4519987"/>
                  <a:gd name="connsiteY85" fmla="*/ 1590675 h 4476750"/>
                  <a:gd name="connsiteX86" fmla="*/ 135277 w 4519987"/>
                  <a:gd name="connsiteY86" fmla="*/ 1504950 h 4476750"/>
                  <a:gd name="connsiteX87" fmla="*/ 154327 w 4519987"/>
                  <a:gd name="connsiteY87" fmla="*/ 1419225 h 4476750"/>
                  <a:gd name="connsiteX88" fmla="*/ 230527 w 4519987"/>
                  <a:gd name="connsiteY88" fmla="*/ 1276350 h 4476750"/>
                  <a:gd name="connsiteX89" fmla="*/ 240052 w 4519987"/>
                  <a:gd name="connsiteY89" fmla="*/ 1247775 h 4476750"/>
                  <a:gd name="connsiteX90" fmla="*/ 268627 w 4519987"/>
                  <a:gd name="connsiteY90" fmla="*/ 1200150 h 4476750"/>
                  <a:gd name="connsiteX91" fmla="*/ 287677 w 4519987"/>
                  <a:gd name="connsiteY91" fmla="*/ 1152525 h 4476750"/>
                  <a:gd name="connsiteX92" fmla="*/ 316252 w 4519987"/>
                  <a:gd name="connsiteY92" fmla="*/ 1114425 h 4476750"/>
                  <a:gd name="connsiteX93" fmla="*/ 363877 w 4519987"/>
                  <a:gd name="connsiteY93" fmla="*/ 1038225 h 4476750"/>
                  <a:gd name="connsiteX94" fmla="*/ 382927 w 4519987"/>
                  <a:gd name="connsiteY94" fmla="*/ 1009650 h 4476750"/>
                  <a:gd name="connsiteX95" fmla="*/ 440077 w 4519987"/>
                  <a:gd name="connsiteY95" fmla="*/ 904875 h 4476750"/>
                  <a:gd name="connsiteX96" fmla="*/ 478177 w 4519987"/>
                  <a:gd name="connsiteY96" fmla="*/ 857250 h 4476750"/>
                  <a:gd name="connsiteX97" fmla="*/ 497227 w 4519987"/>
                  <a:gd name="connsiteY97" fmla="*/ 828675 h 4476750"/>
                  <a:gd name="connsiteX98" fmla="*/ 535327 w 4519987"/>
                  <a:gd name="connsiteY98" fmla="*/ 800100 h 4476750"/>
                  <a:gd name="connsiteX99" fmla="*/ 602002 w 4519987"/>
                  <a:gd name="connsiteY99" fmla="*/ 733425 h 4476750"/>
                  <a:gd name="connsiteX100" fmla="*/ 668677 w 4519987"/>
                  <a:gd name="connsiteY100" fmla="*/ 676275 h 4476750"/>
                  <a:gd name="connsiteX101" fmla="*/ 697252 w 4519987"/>
                  <a:gd name="connsiteY101" fmla="*/ 657225 h 4476750"/>
                  <a:gd name="connsiteX102" fmla="*/ 840127 w 4519987"/>
                  <a:gd name="connsiteY102" fmla="*/ 533400 h 4476750"/>
                  <a:gd name="connsiteX103" fmla="*/ 887752 w 4519987"/>
                  <a:gd name="connsiteY103" fmla="*/ 504825 h 4476750"/>
                  <a:gd name="connsiteX104" fmla="*/ 1167152 w 4519987"/>
                  <a:gd name="connsiteY104" fmla="*/ 311150 h 4476750"/>
                  <a:gd name="connsiteX105" fmla="*/ 1268752 w 4519987"/>
                  <a:gd name="connsiteY105" fmla="*/ 285750 h 4476750"/>
                  <a:gd name="connsiteX106" fmla="*/ 1411627 w 4519987"/>
                  <a:gd name="connsiteY106" fmla="*/ 190500 h 4476750"/>
                  <a:gd name="connsiteX107" fmla="*/ 1449727 w 4519987"/>
                  <a:gd name="connsiteY107" fmla="*/ 161925 h 4476750"/>
                  <a:gd name="connsiteX108" fmla="*/ 1525927 w 4519987"/>
                  <a:gd name="connsiteY108" fmla="*/ 152400 h 4476750"/>
                  <a:gd name="connsiteX109" fmla="*/ 1583077 w 4519987"/>
                  <a:gd name="connsiteY109" fmla="*/ 142875 h 4476750"/>
                  <a:gd name="connsiteX110" fmla="*/ 1716427 w 4519987"/>
                  <a:gd name="connsiteY110" fmla="*/ 123825 h 4476750"/>
                  <a:gd name="connsiteX111" fmla="*/ 1811677 w 4519987"/>
                  <a:gd name="connsiteY111" fmla="*/ 114300 h 4476750"/>
                  <a:gd name="connsiteX112" fmla="*/ 1859302 w 4519987"/>
                  <a:gd name="connsiteY112" fmla="*/ 104775 h 4476750"/>
                  <a:gd name="connsiteX113" fmla="*/ 1916452 w 4519987"/>
                  <a:gd name="connsiteY113" fmla="*/ 95250 h 4476750"/>
                  <a:gd name="connsiteX114" fmla="*/ 2030752 w 4519987"/>
                  <a:gd name="connsiteY114" fmla="*/ 66675 h 4476750"/>
                  <a:gd name="connsiteX115" fmla="*/ 2097427 w 4519987"/>
                  <a:gd name="connsiteY115" fmla="*/ 47625 h 4476750"/>
                  <a:gd name="connsiteX116" fmla="*/ 2164102 w 4519987"/>
                  <a:gd name="connsiteY116" fmla="*/ 38100 h 4476750"/>
                  <a:gd name="connsiteX117" fmla="*/ 2392702 w 4519987"/>
                  <a:gd name="connsiteY117" fmla="*/ 28575 h 4476750"/>
                  <a:gd name="connsiteX0" fmla="*/ 2297452 w 4519987"/>
                  <a:gd name="connsiteY0" fmla="*/ 0 h 4457700"/>
                  <a:gd name="connsiteX1" fmla="*/ 2421277 w 4519987"/>
                  <a:gd name="connsiteY1" fmla="*/ 28575 h 4457700"/>
                  <a:gd name="connsiteX2" fmla="*/ 2497477 w 4519987"/>
                  <a:gd name="connsiteY2" fmla="*/ 47625 h 4457700"/>
                  <a:gd name="connsiteX3" fmla="*/ 2754652 w 4519987"/>
                  <a:gd name="connsiteY3" fmla="*/ 66675 h 4457700"/>
                  <a:gd name="connsiteX4" fmla="*/ 2830852 w 4519987"/>
                  <a:gd name="connsiteY4" fmla="*/ 76200 h 4457700"/>
                  <a:gd name="connsiteX5" fmla="*/ 2916577 w 4519987"/>
                  <a:gd name="connsiteY5" fmla="*/ 85725 h 4457700"/>
                  <a:gd name="connsiteX6" fmla="*/ 2973727 w 4519987"/>
                  <a:gd name="connsiteY6" fmla="*/ 114300 h 4457700"/>
                  <a:gd name="connsiteX7" fmla="*/ 3011827 w 4519987"/>
                  <a:gd name="connsiteY7" fmla="*/ 123825 h 4457700"/>
                  <a:gd name="connsiteX8" fmla="*/ 3135652 w 4519987"/>
                  <a:gd name="connsiteY8" fmla="*/ 171450 h 4457700"/>
                  <a:gd name="connsiteX9" fmla="*/ 3173752 w 4519987"/>
                  <a:gd name="connsiteY9" fmla="*/ 190500 h 4457700"/>
                  <a:gd name="connsiteX10" fmla="*/ 3240427 w 4519987"/>
                  <a:gd name="connsiteY10" fmla="*/ 228600 h 4457700"/>
                  <a:gd name="connsiteX11" fmla="*/ 3269002 w 4519987"/>
                  <a:gd name="connsiteY11" fmla="*/ 238125 h 4457700"/>
                  <a:gd name="connsiteX12" fmla="*/ 3297577 w 4519987"/>
                  <a:gd name="connsiteY12" fmla="*/ 257175 h 4457700"/>
                  <a:gd name="connsiteX13" fmla="*/ 3326152 w 4519987"/>
                  <a:gd name="connsiteY13" fmla="*/ 266700 h 4457700"/>
                  <a:gd name="connsiteX14" fmla="*/ 3354727 w 4519987"/>
                  <a:gd name="connsiteY14" fmla="*/ 285750 h 4457700"/>
                  <a:gd name="connsiteX15" fmla="*/ 3421402 w 4519987"/>
                  <a:gd name="connsiteY15" fmla="*/ 323850 h 4457700"/>
                  <a:gd name="connsiteX16" fmla="*/ 3469027 w 4519987"/>
                  <a:gd name="connsiteY16" fmla="*/ 361950 h 4457700"/>
                  <a:gd name="connsiteX17" fmla="*/ 3516652 w 4519987"/>
                  <a:gd name="connsiteY17" fmla="*/ 390525 h 4457700"/>
                  <a:gd name="connsiteX18" fmla="*/ 3630952 w 4519987"/>
                  <a:gd name="connsiteY18" fmla="*/ 485775 h 4457700"/>
                  <a:gd name="connsiteX19" fmla="*/ 3745252 w 4519987"/>
                  <a:gd name="connsiteY19" fmla="*/ 542925 h 4457700"/>
                  <a:gd name="connsiteX20" fmla="*/ 3811927 w 4519987"/>
                  <a:gd name="connsiteY20" fmla="*/ 581025 h 4457700"/>
                  <a:gd name="connsiteX21" fmla="*/ 4027827 w 4519987"/>
                  <a:gd name="connsiteY21" fmla="*/ 819150 h 4457700"/>
                  <a:gd name="connsiteX22" fmla="*/ 4164352 w 4519987"/>
                  <a:gd name="connsiteY22" fmla="*/ 990600 h 4457700"/>
                  <a:gd name="connsiteX23" fmla="*/ 4250077 w 4519987"/>
                  <a:gd name="connsiteY23" fmla="*/ 1143000 h 4457700"/>
                  <a:gd name="connsiteX24" fmla="*/ 4307227 w 4519987"/>
                  <a:gd name="connsiteY24" fmla="*/ 1266825 h 4457700"/>
                  <a:gd name="connsiteX25" fmla="*/ 4345327 w 4519987"/>
                  <a:gd name="connsiteY25" fmla="*/ 1362075 h 4457700"/>
                  <a:gd name="connsiteX26" fmla="*/ 4392952 w 4519987"/>
                  <a:gd name="connsiteY26" fmla="*/ 1552575 h 4457700"/>
                  <a:gd name="connsiteX27" fmla="*/ 4431052 w 4519987"/>
                  <a:gd name="connsiteY27" fmla="*/ 1685925 h 4457700"/>
                  <a:gd name="connsiteX28" fmla="*/ 4519952 w 4519987"/>
                  <a:gd name="connsiteY28" fmla="*/ 2181225 h 4457700"/>
                  <a:gd name="connsiteX29" fmla="*/ 4446927 w 4519987"/>
                  <a:gd name="connsiteY29" fmla="*/ 2768600 h 4457700"/>
                  <a:gd name="connsiteX30" fmla="*/ 4383427 w 4519987"/>
                  <a:gd name="connsiteY30" fmla="*/ 2990850 h 4457700"/>
                  <a:gd name="connsiteX31" fmla="*/ 4278652 w 4519987"/>
                  <a:gd name="connsiteY31" fmla="*/ 3248025 h 4457700"/>
                  <a:gd name="connsiteX32" fmla="*/ 4183402 w 4519987"/>
                  <a:gd name="connsiteY32" fmla="*/ 3400425 h 4457700"/>
                  <a:gd name="connsiteX33" fmla="*/ 4059577 w 4519987"/>
                  <a:gd name="connsiteY33" fmla="*/ 3533775 h 4457700"/>
                  <a:gd name="connsiteX34" fmla="*/ 3954802 w 4519987"/>
                  <a:gd name="connsiteY34" fmla="*/ 3648075 h 4457700"/>
                  <a:gd name="connsiteX35" fmla="*/ 3659527 w 4519987"/>
                  <a:gd name="connsiteY35" fmla="*/ 3971925 h 4457700"/>
                  <a:gd name="connsiteX36" fmla="*/ 3516652 w 4519987"/>
                  <a:gd name="connsiteY36" fmla="*/ 4083050 h 4457700"/>
                  <a:gd name="connsiteX37" fmla="*/ 3221377 w 4519987"/>
                  <a:gd name="connsiteY37" fmla="*/ 4222750 h 4457700"/>
                  <a:gd name="connsiteX38" fmla="*/ 3068977 w 4519987"/>
                  <a:gd name="connsiteY38" fmla="*/ 4286250 h 4457700"/>
                  <a:gd name="connsiteX39" fmla="*/ 2935627 w 4519987"/>
                  <a:gd name="connsiteY39" fmla="*/ 4333875 h 4457700"/>
                  <a:gd name="connsiteX40" fmla="*/ 2811802 w 4519987"/>
                  <a:gd name="connsiteY40" fmla="*/ 4371975 h 4457700"/>
                  <a:gd name="connsiteX41" fmla="*/ 2580027 w 4519987"/>
                  <a:gd name="connsiteY41" fmla="*/ 4391025 h 4457700"/>
                  <a:gd name="connsiteX42" fmla="*/ 2202202 w 4519987"/>
                  <a:gd name="connsiteY42" fmla="*/ 4457700 h 4457700"/>
                  <a:gd name="connsiteX43" fmla="*/ 2126002 w 4519987"/>
                  <a:gd name="connsiteY43" fmla="*/ 4429125 h 4457700"/>
                  <a:gd name="connsiteX44" fmla="*/ 1935502 w 4519987"/>
                  <a:gd name="connsiteY44" fmla="*/ 4400550 h 4457700"/>
                  <a:gd name="connsiteX45" fmla="*/ 1821202 w 4519987"/>
                  <a:gd name="connsiteY45" fmla="*/ 4371975 h 4457700"/>
                  <a:gd name="connsiteX46" fmla="*/ 1754527 w 4519987"/>
                  <a:gd name="connsiteY46" fmla="*/ 4352925 h 4457700"/>
                  <a:gd name="connsiteX47" fmla="*/ 1687852 w 4519987"/>
                  <a:gd name="connsiteY47" fmla="*/ 4343400 h 4457700"/>
                  <a:gd name="connsiteX48" fmla="*/ 1573552 w 4519987"/>
                  <a:gd name="connsiteY48" fmla="*/ 4305300 h 4457700"/>
                  <a:gd name="connsiteX49" fmla="*/ 1402102 w 4519987"/>
                  <a:gd name="connsiteY49" fmla="*/ 4276725 h 4457700"/>
                  <a:gd name="connsiteX50" fmla="*/ 1287802 w 4519987"/>
                  <a:gd name="connsiteY50" fmla="*/ 4229100 h 4457700"/>
                  <a:gd name="connsiteX51" fmla="*/ 1221127 w 4519987"/>
                  <a:gd name="connsiteY51" fmla="*/ 4200525 h 4457700"/>
                  <a:gd name="connsiteX52" fmla="*/ 1144927 w 4519987"/>
                  <a:gd name="connsiteY52" fmla="*/ 4171950 h 4457700"/>
                  <a:gd name="connsiteX53" fmla="*/ 1087777 w 4519987"/>
                  <a:gd name="connsiteY53" fmla="*/ 4143375 h 4457700"/>
                  <a:gd name="connsiteX54" fmla="*/ 1030627 w 4519987"/>
                  <a:gd name="connsiteY54" fmla="*/ 4124325 h 4457700"/>
                  <a:gd name="connsiteX55" fmla="*/ 925852 w 4519987"/>
                  <a:gd name="connsiteY55" fmla="*/ 4067175 h 4457700"/>
                  <a:gd name="connsiteX56" fmla="*/ 830602 w 4519987"/>
                  <a:gd name="connsiteY56" fmla="*/ 3981450 h 4457700"/>
                  <a:gd name="connsiteX57" fmla="*/ 763927 w 4519987"/>
                  <a:gd name="connsiteY57" fmla="*/ 3914775 h 4457700"/>
                  <a:gd name="connsiteX58" fmla="*/ 725827 w 4519987"/>
                  <a:gd name="connsiteY58" fmla="*/ 3876675 h 4457700"/>
                  <a:gd name="connsiteX59" fmla="*/ 697252 w 4519987"/>
                  <a:gd name="connsiteY59" fmla="*/ 3838575 h 4457700"/>
                  <a:gd name="connsiteX60" fmla="*/ 640102 w 4519987"/>
                  <a:gd name="connsiteY60" fmla="*/ 3781425 h 4457700"/>
                  <a:gd name="connsiteX61" fmla="*/ 611527 w 4519987"/>
                  <a:gd name="connsiteY61" fmla="*/ 3733800 h 4457700"/>
                  <a:gd name="connsiteX62" fmla="*/ 554377 w 4519987"/>
                  <a:gd name="connsiteY62" fmla="*/ 3657600 h 4457700"/>
                  <a:gd name="connsiteX63" fmla="*/ 525802 w 4519987"/>
                  <a:gd name="connsiteY63" fmla="*/ 3609975 h 4457700"/>
                  <a:gd name="connsiteX64" fmla="*/ 497227 w 4519987"/>
                  <a:gd name="connsiteY64" fmla="*/ 3552825 h 4457700"/>
                  <a:gd name="connsiteX65" fmla="*/ 440077 w 4519987"/>
                  <a:gd name="connsiteY65" fmla="*/ 3495675 h 4457700"/>
                  <a:gd name="connsiteX66" fmla="*/ 411502 w 4519987"/>
                  <a:gd name="connsiteY66" fmla="*/ 3448050 h 4457700"/>
                  <a:gd name="connsiteX67" fmla="*/ 278152 w 4519987"/>
                  <a:gd name="connsiteY67" fmla="*/ 3257550 h 4457700"/>
                  <a:gd name="connsiteX68" fmla="*/ 249577 w 4519987"/>
                  <a:gd name="connsiteY68" fmla="*/ 3200400 h 4457700"/>
                  <a:gd name="connsiteX69" fmla="*/ 240052 w 4519987"/>
                  <a:gd name="connsiteY69" fmla="*/ 3162300 h 4457700"/>
                  <a:gd name="connsiteX70" fmla="*/ 221002 w 4519987"/>
                  <a:gd name="connsiteY70" fmla="*/ 3105150 h 4457700"/>
                  <a:gd name="connsiteX71" fmla="*/ 173377 w 4519987"/>
                  <a:gd name="connsiteY71" fmla="*/ 3019425 h 4457700"/>
                  <a:gd name="connsiteX72" fmla="*/ 144802 w 4519987"/>
                  <a:gd name="connsiteY72" fmla="*/ 2924175 h 4457700"/>
                  <a:gd name="connsiteX73" fmla="*/ 68602 w 4519987"/>
                  <a:gd name="connsiteY73" fmla="*/ 2724150 h 4457700"/>
                  <a:gd name="connsiteX74" fmla="*/ 49552 w 4519987"/>
                  <a:gd name="connsiteY74" fmla="*/ 2638425 h 4457700"/>
                  <a:gd name="connsiteX75" fmla="*/ 40027 w 4519987"/>
                  <a:gd name="connsiteY75" fmla="*/ 2562225 h 4457700"/>
                  <a:gd name="connsiteX76" fmla="*/ 30502 w 4519987"/>
                  <a:gd name="connsiteY76" fmla="*/ 2514600 h 4457700"/>
                  <a:gd name="connsiteX77" fmla="*/ 11452 w 4519987"/>
                  <a:gd name="connsiteY77" fmla="*/ 2400300 h 4457700"/>
                  <a:gd name="connsiteX78" fmla="*/ 20977 w 4519987"/>
                  <a:gd name="connsiteY78" fmla="*/ 1905000 h 4457700"/>
                  <a:gd name="connsiteX79" fmla="*/ 30502 w 4519987"/>
                  <a:gd name="connsiteY79" fmla="*/ 1838325 h 4457700"/>
                  <a:gd name="connsiteX80" fmla="*/ 49552 w 4519987"/>
                  <a:gd name="connsiteY80" fmla="*/ 1781175 h 4457700"/>
                  <a:gd name="connsiteX81" fmla="*/ 59077 w 4519987"/>
                  <a:gd name="connsiteY81" fmla="*/ 1743075 h 4457700"/>
                  <a:gd name="connsiteX82" fmla="*/ 78127 w 4519987"/>
                  <a:gd name="connsiteY82" fmla="*/ 1685925 h 4457700"/>
                  <a:gd name="connsiteX83" fmla="*/ 87652 w 4519987"/>
                  <a:gd name="connsiteY83" fmla="*/ 1638300 h 4457700"/>
                  <a:gd name="connsiteX84" fmla="*/ 106702 w 4519987"/>
                  <a:gd name="connsiteY84" fmla="*/ 1590675 h 4457700"/>
                  <a:gd name="connsiteX85" fmla="*/ 135277 w 4519987"/>
                  <a:gd name="connsiteY85" fmla="*/ 1504950 h 4457700"/>
                  <a:gd name="connsiteX86" fmla="*/ 154327 w 4519987"/>
                  <a:gd name="connsiteY86" fmla="*/ 1419225 h 4457700"/>
                  <a:gd name="connsiteX87" fmla="*/ 230527 w 4519987"/>
                  <a:gd name="connsiteY87" fmla="*/ 1276350 h 4457700"/>
                  <a:gd name="connsiteX88" fmla="*/ 240052 w 4519987"/>
                  <a:gd name="connsiteY88" fmla="*/ 1247775 h 4457700"/>
                  <a:gd name="connsiteX89" fmla="*/ 268627 w 4519987"/>
                  <a:gd name="connsiteY89" fmla="*/ 1200150 h 4457700"/>
                  <a:gd name="connsiteX90" fmla="*/ 287677 w 4519987"/>
                  <a:gd name="connsiteY90" fmla="*/ 1152525 h 4457700"/>
                  <a:gd name="connsiteX91" fmla="*/ 316252 w 4519987"/>
                  <a:gd name="connsiteY91" fmla="*/ 1114425 h 4457700"/>
                  <a:gd name="connsiteX92" fmla="*/ 363877 w 4519987"/>
                  <a:gd name="connsiteY92" fmla="*/ 1038225 h 4457700"/>
                  <a:gd name="connsiteX93" fmla="*/ 382927 w 4519987"/>
                  <a:gd name="connsiteY93" fmla="*/ 1009650 h 4457700"/>
                  <a:gd name="connsiteX94" fmla="*/ 440077 w 4519987"/>
                  <a:gd name="connsiteY94" fmla="*/ 904875 h 4457700"/>
                  <a:gd name="connsiteX95" fmla="*/ 478177 w 4519987"/>
                  <a:gd name="connsiteY95" fmla="*/ 857250 h 4457700"/>
                  <a:gd name="connsiteX96" fmla="*/ 497227 w 4519987"/>
                  <a:gd name="connsiteY96" fmla="*/ 828675 h 4457700"/>
                  <a:gd name="connsiteX97" fmla="*/ 535327 w 4519987"/>
                  <a:gd name="connsiteY97" fmla="*/ 800100 h 4457700"/>
                  <a:gd name="connsiteX98" fmla="*/ 602002 w 4519987"/>
                  <a:gd name="connsiteY98" fmla="*/ 733425 h 4457700"/>
                  <a:gd name="connsiteX99" fmla="*/ 668677 w 4519987"/>
                  <a:gd name="connsiteY99" fmla="*/ 676275 h 4457700"/>
                  <a:gd name="connsiteX100" fmla="*/ 697252 w 4519987"/>
                  <a:gd name="connsiteY100" fmla="*/ 657225 h 4457700"/>
                  <a:gd name="connsiteX101" fmla="*/ 840127 w 4519987"/>
                  <a:gd name="connsiteY101" fmla="*/ 533400 h 4457700"/>
                  <a:gd name="connsiteX102" fmla="*/ 887752 w 4519987"/>
                  <a:gd name="connsiteY102" fmla="*/ 504825 h 4457700"/>
                  <a:gd name="connsiteX103" fmla="*/ 1167152 w 4519987"/>
                  <a:gd name="connsiteY103" fmla="*/ 311150 h 4457700"/>
                  <a:gd name="connsiteX104" fmla="*/ 1268752 w 4519987"/>
                  <a:gd name="connsiteY104" fmla="*/ 285750 h 4457700"/>
                  <a:gd name="connsiteX105" fmla="*/ 1411627 w 4519987"/>
                  <a:gd name="connsiteY105" fmla="*/ 190500 h 4457700"/>
                  <a:gd name="connsiteX106" fmla="*/ 1449727 w 4519987"/>
                  <a:gd name="connsiteY106" fmla="*/ 161925 h 4457700"/>
                  <a:gd name="connsiteX107" fmla="*/ 1525927 w 4519987"/>
                  <a:gd name="connsiteY107" fmla="*/ 152400 h 4457700"/>
                  <a:gd name="connsiteX108" fmla="*/ 1583077 w 4519987"/>
                  <a:gd name="connsiteY108" fmla="*/ 142875 h 4457700"/>
                  <a:gd name="connsiteX109" fmla="*/ 1716427 w 4519987"/>
                  <a:gd name="connsiteY109" fmla="*/ 123825 h 4457700"/>
                  <a:gd name="connsiteX110" fmla="*/ 1811677 w 4519987"/>
                  <a:gd name="connsiteY110" fmla="*/ 114300 h 4457700"/>
                  <a:gd name="connsiteX111" fmla="*/ 1859302 w 4519987"/>
                  <a:gd name="connsiteY111" fmla="*/ 104775 h 4457700"/>
                  <a:gd name="connsiteX112" fmla="*/ 1916452 w 4519987"/>
                  <a:gd name="connsiteY112" fmla="*/ 95250 h 4457700"/>
                  <a:gd name="connsiteX113" fmla="*/ 2030752 w 4519987"/>
                  <a:gd name="connsiteY113" fmla="*/ 66675 h 4457700"/>
                  <a:gd name="connsiteX114" fmla="*/ 2097427 w 4519987"/>
                  <a:gd name="connsiteY114" fmla="*/ 47625 h 4457700"/>
                  <a:gd name="connsiteX115" fmla="*/ 2164102 w 4519987"/>
                  <a:gd name="connsiteY115" fmla="*/ 38100 h 4457700"/>
                  <a:gd name="connsiteX116" fmla="*/ 2392702 w 4519987"/>
                  <a:gd name="connsiteY116" fmla="*/ 28575 h 4457700"/>
                  <a:gd name="connsiteX0" fmla="*/ 2297452 w 4519987"/>
                  <a:gd name="connsiteY0" fmla="*/ 0 h 4429260"/>
                  <a:gd name="connsiteX1" fmla="*/ 2421277 w 4519987"/>
                  <a:gd name="connsiteY1" fmla="*/ 28575 h 4429260"/>
                  <a:gd name="connsiteX2" fmla="*/ 2497477 w 4519987"/>
                  <a:gd name="connsiteY2" fmla="*/ 47625 h 4429260"/>
                  <a:gd name="connsiteX3" fmla="*/ 2754652 w 4519987"/>
                  <a:gd name="connsiteY3" fmla="*/ 66675 h 4429260"/>
                  <a:gd name="connsiteX4" fmla="*/ 2830852 w 4519987"/>
                  <a:gd name="connsiteY4" fmla="*/ 76200 h 4429260"/>
                  <a:gd name="connsiteX5" fmla="*/ 2916577 w 4519987"/>
                  <a:gd name="connsiteY5" fmla="*/ 85725 h 4429260"/>
                  <a:gd name="connsiteX6" fmla="*/ 2973727 w 4519987"/>
                  <a:gd name="connsiteY6" fmla="*/ 114300 h 4429260"/>
                  <a:gd name="connsiteX7" fmla="*/ 3011827 w 4519987"/>
                  <a:gd name="connsiteY7" fmla="*/ 123825 h 4429260"/>
                  <a:gd name="connsiteX8" fmla="*/ 3135652 w 4519987"/>
                  <a:gd name="connsiteY8" fmla="*/ 171450 h 4429260"/>
                  <a:gd name="connsiteX9" fmla="*/ 3173752 w 4519987"/>
                  <a:gd name="connsiteY9" fmla="*/ 190500 h 4429260"/>
                  <a:gd name="connsiteX10" fmla="*/ 3240427 w 4519987"/>
                  <a:gd name="connsiteY10" fmla="*/ 228600 h 4429260"/>
                  <a:gd name="connsiteX11" fmla="*/ 3269002 w 4519987"/>
                  <a:gd name="connsiteY11" fmla="*/ 238125 h 4429260"/>
                  <a:gd name="connsiteX12" fmla="*/ 3297577 w 4519987"/>
                  <a:gd name="connsiteY12" fmla="*/ 257175 h 4429260"/>
                  <a:gd name="connsiteX13" fmla="*/ 3326152 w 4519987"/>
                  <a:gd name="connsiteY13" fmla="*/ 266700 h 4429260"/>
                  <a:gd name="connsiteX14" fmla="*/ 3354727 w 4519987"/>
                  <a:gd name="connsiteY14" fmla="*/ 285750 h 4429260"/>
                  <a:gd name="connsiteX15" fmla="*/ 3421402 w 4519987"/>
                  <a:gd name="connsiteY15" fmla="*/ 323850 h 4429260"/>
                  <a:gd name="connsiteX16" fmla="*/ 3469027 w 4519987"/>
                  <a:gd name="connsiteY16" fmla="*/ 361950 h 4429260"/>
                  <a:gd name="connsiteX17" fmla="*/ 3516652 w 4519987"/>
                  <a:gd name="connsiteY17" fmla="*/ 390525 h 4429260"/>
                  <a:gd name="connsiteX18" fmla="*/ 3630952 w 4519987"/>
                  <a:gd name="connsiteY18" fmla="*/ 485775 h 4429260"/>
                  <a:gd name="connsiteX19" fmla="*/ 3745252 w 4519987"/>
                  <a:gd name="connsiteY19" fmla="*/ 542925 h 4429260"/>
                  <a:gd name="connsiteX20" fmla="*/ 3811927 w 4519987"/>
                  <a:gd name="connsiteY20" fmla="*/ 581025 h 4429260"/>
                  <a:gd name="connsiteX21" fmla="*/ 4027827 w 4519987"/>
                  <a:gd name="connsiteY21" fmla="*/ 819150 h 4429260"/>
                  <a:gd name="connsiteX22" fmla="*/ 4164352 w 4519987"/>
                  <a:gd name="connsiteY22" fmla="*/ 990600 h 4429260"/>
                  <a:gd name="connsiteX23" fmla="*/ 4250077 w 4519987"/>
                  <a:gd name="connsiteY23" fmla="*/ 1143000 h 4429260"/>
                  <a:gd name="connsiteX24" fmla="*/ 4307227 w 4519987"/>
                  <a:gd name="connsiteY24" fmla="*/ 1266825 h 4429260"/>
                  <a:gd name="connsiteX25" fmla="*/ 4345327 w 4519987"/>
                  <a:gd name="connsiteY25" fmla="*/ 1362075 h 4429260"/>
                  <a:gd name="connsiteX26" fmla="*/ 4392952 w 4519987"/>
                  <a:gd name="connsiteY26" fmla="*/ 1552575 h 4429260"/>
                  <a:gd name="connsiteX27" fmla="*/ 4431052 w 4519987"/>
                  <a:gd name="connsiteY27" fmla="*/ 1685925 h 4429260"/>
                  <a:gd name="connsiteX28" fmla="*/ 4519952 w 4519987"/>
                  <a:gd name="connsiteY28" fmla="*/ 2181225 h 4429260"/>
                  <a:gd name="connsiteX29" fmla="*/ 4446927 w 4519987"/>
                  <a:gd name="connsiteY29" fmla="*/ 2768600 h 4429260"/>
                  <a:gd name="connsiteX30" fmla="*/ 4383427 w 4519987"/>
                  <a:gd name="connsiteY30" fmla="*/ 2990850 h 4429260"/>
                  <a:gd name="connsiteX31" fmla="*/ 4278652 w 4519987"/>
                  <a:gd name="connsiteY31" fmla="*/ 3248025 h 4429260"/>
                  <a:gd name="connsiteX32" fmla="*/ 4183402 w 4519987"/>
                  <a:gd name="connsiteY32" fmla="*/ 3400425 h 4429260"/>
                  <a:gd name="connsiteX33" fmla="*/ 4059577 w 4519987"/>
                  <a:gd name="connsiteY33" fmla="*/ 3533775 h 4429260"/>
                  <a:gd name="connsiteX34" fmla="*/ 3954802 w 4519987"/>
                  <a:gd name="connsiteY34" fmla="*/ 3648075 h 4429260"/>
                  <a:gd name="connsiteX35" fmla="*/ 3659527 w 4519987"/>
                  <a:gd name="connsiteY35" fmla="*/ 3971925 h 4429260"/>
                  <a:gd name="connsiteX36" fmla="*/ 3516652 w 4519987"/>
                  <a:gd name="connsiteY36" fmla="*/ 4083050 h 4429260"/>
                  <a:gd name="connsiteX37" fmla="*/ 3221377 w 4519987"/>
                  <a:gd name="connsiteY37" fmla="*/ 4222750 h 4429260"/>
                  <a:gd name="connsiteX38" fmla="*/ 3068977 w 4519987"/>
                  <a:gd name="connsiteY38" fmla="*/ 4286250 h 4429260"/>
                  <a:gd name="connsiteX39" fmla="*/ 2935627 w 4519987"/>
                  <a:gd name="connsiteY39" fmla="*/ 4333875 h 4429260"/>
                  <a:gd name="connsiteX40" fmla="*/ 2811802 w 4519987"/>
                  <a:gd name="connsiteY40" fmla="*/ 4371975 h 4429260"/>
                  <a:gd name="connsiteX41" fmla="*/ 2580027 w 4519987"/>
                  <a:gd name="connsiteY41" fmla="*/ 4391025 h 4429260"/>
                  <a:gd name="connsiteX42" fmla="*/ 2126002 w 4519987"/>
                  <a:gd name="connsiteY42" fmla="*/ 4429125 h 4429260"/>
                  <a:gd name="connsiteX43" fmla="*/ 1935502 w 4519987"/>
                  <a:gd name="connsiteY43" fmla="*/ 4400550 h 4429260"/>
                  <a:gd name="connsiteX44" fmla="*/ 1821202 w 4519987"/>
                  <a:gd name="connsiteY44" fmla="*/ 4371975 h 4429260"/>
                  <a:gd name="connsiteX45" fmla="*/ 1754527 w 4519987"/>
                  <a:gd name="connsiteY45" fmla="*/ 4352925 h 4429260"/>
                  <a:gd name="connsiteX46" fmla="*/ 1687852 w 4519987"/>
                  <a:gd name="connsiteY46" fmla="*/ 4343400 h 4429260"/>
                  <a:gd name="connsiteX47" fmla="*/ 1573552 w 4519987"/>
                  <a:gd name="connsiteY47" fmla="*/ 4305300 h 4429260"/>
                  <a:gd name="connsiteX48" fmla="*/ 1402102 w 4519987"/>
                  <a:gd name="connsiteY48" fmla="*/ 4276725 h 4429260"/>
                  <a:gd name="connsiteX49" fmla="*/ 1287802 w 4519987"/>
                  <a:gd name="connsiteY49" fmla="*/ 4229100 h 4429260"/>
                  <a:gd name="connsiteX50" fmla="*/ 1221127 w 4519987"/>
                  <a:gd name="connsiteY50" fmla="*/ 4200525 h 4429260"/>
                  <a:gd name="connsiteX51" fmla="*/ 1144927 w 4519987"/>
                  <a:gd name="connsiteY51" fmla="*/ 4171950 h 4429260"/>
                  <a:gd name="connsiteX52" fmla="*/ 1087777 w 4519987"/>
                  <a:gd name="connsiteY52" fmla="*/ 4143375 h 4429260"/>
                  <a:gd name="connsiteX53" fmla="*/ 1030627 w 4519987"/>
                  <a:gd name="connsiteY53" fmla="*/ 4124325 h 4429260"/>
                  <a:gd name="connsiteX54" fmla="*/ 925852 w 4519987"/>
                  <a:gd name="connsiteY54" fmla="*/ 4067175 h 4429260"/>
                  <a:gd name="connsiteX55" fmla="*/ 830602 w 4519987"/>
                  <a:gd name="connsiteY55" fmla="*/ 3981450 h 4429260"/>
                  <a:gd name="connsiteX56" fmla="*/ 763927 w 4519987"/>
                  <a:gd name="connsiteY56" fmla="*/ 3914775 h 4429260"/>
                  <a:gd name="connsiteX57" fmla="*/ 725827 w 4519987"/>
                  <a:gd name="connsiteY57" fmla="*/ 3876675 h 4429260"/>
                  <a:gd name="connsiteX58" fmla="*/ 697252 w 4519987"/>
                  <a:gd name="connsiteY58" fmla="*/ 3838575 h 4429260"/>
                  <a:gd name="connsiteX59" fmla="*/ 640102 w 4519987"/>
                  <a:gd name="connsiteY59" fmla="*/ 3781425 h 4429260"/>
                  <a:gd name="connsiteX60" fmla="*/ 611527 w 4519987"/>
                  <a:gd name="connsiteY60" fmla="*/ 3733800 h 4429260"/>
                  <a:gd name="connsiteX61" fmla="*/ 554377 w 4519987"/>
                  <a:gd name="connsiteY61" fmla="*/ 3657600 h 4429260"/>
                  <a:gd name="connsiteX62" fmla="*/ 525802 w 4519987"/>
                  <a:gd name="connsiteY62" fmla="*/ 3609975 h 4429260"/>
                  <a:gd name="connsiteX63" fmla="*/ 497227 w 4519987"/>
                  <a:gd name="connsiteY63" fmla="*/ 3552825 h 4429260"/>
                  <a:gd name="connsiteX64" fmla="*/ 440077 w 4519987"/>
                  <a:gd name="connsiteY64" fmla="*/ 3495675 h 4429260"/>
                  <a:gd name="connsiteX65" fmla="*/ 411502 w 4519987"/>
                  <a:gd name="connsiteY65" fmla="*/ 3448050 h 4429260"/>
                  <a:gd name="connsiteX66" fmla="*/ 278152 w 4519987"/>
                  <a:gd name="connsiteY66" fmla="*/ 3257550 h 4429260"/>
                  <a:gd name="connsiteX67" fmla="*/ 249577 w 4519987"/>
                  <a:gd name="connsiteY67" fmla="*/ 3200400 h 4429260"/>
                  <a:gd name="connsiteX68" fmla="*/ 240052 w 4519987"/>
                  <a:gd name="connsiteY68" fmla="*/ 3162300 h 4429260"/>
                  <a:gd name="connsiteX69" fmla="*/ 221002 w 4519987"/>
                  <a:gd name="connsiteY69" fmla="*/ 3105150 h 4429260"/>
                  <a:gd name="connsiteX70" fmla="*/ 173377 w 4519987"/>
                  <a:gd name="connsiteY70" fmla="*/ 3019425 h 4429260"/>
                  <a:gd name="connsiteX71" fmla="*/ 144802 w 4519987"/>
                  <a:gd name="connsiteY71" fmla="*/ 2924175 h 4429260"/>
                  <a:gd name="connsiteX72" fmla="*/ 68602 w 4519987"/>
                  <a:gd name="connsiteY72" fmla="*/ 2724150 h 4429260"/>
                  <a:gd name="connsiteX73" fmla="*/ 49552 w 4519987"/>
                  <a:gd name="connsiteY73" fmla="*/ 2638425 h 4429260"/>
                  <a:gd name="connsiteX74" fmla="*/ 40027 w 4519987"/>
                  <a:gd name="connsiteY74" fmla="*/ 2562225 h 4429260"/>
                  <a:gd name="connsiteX75" fmla="*/ 30502 w 4519987"/>
                  <a:gd name="connsiteY75" fmla="*/ 2514600 h 4429260"/>
                  <a:gd name="connsiteX76" fmla="*/ 11452 w 4519987"/>
                  <a:gd name="connsiteY76" fmla="*/ 2400300 h 4429260"/>
                  <a:gd name="connsiteX77" fmla="*/ 20977 w 4519987"/>
                  <a:gd name="connsiteY77" fmla="*/ 1905000 h 4429260"/>
                  <a:gd name="connsiteX78" fmla="*/ 30502 w 4519987"/>
                  <a:gd name="connsiteY78" fmla="*/ 1838325 h 4429260"/>
                  <a:gd name="connsiteX79" fmla="*/ 49552 w 4519987"/>
                  <a:gd name="connsiteY79" fmla="*/ 1781175 h 4429260"/>
                  <a:gd name="connsiteX80" fmla="*/ 59077 w 4519987"/>
                  <a:gd name="connsiteY80" fmla="*/ 1743075 h 4429260"/>
                  <a:gd name="connsiteX81" fmla="*/ 78127 w 4519987"/>
                  <a:gd name="connsiteY81" fmla="*/ 1685925 h 4429260"/>
                  <a:gd name="connsiteX82" fmla="*/ 87652 w 4519987"/>
                  <a:gd name="connsiteY82" fmla="*/ 1638300 h 4429260"/>
                  <a:gd name="connsiteX83" fmla="*/ 106702 w 4519987"/>
                  <a:gd name="connsiteY83" fmla="*/ 1590675 h 4429260"/>
                  <a:gd name="connsiteX84" fmla="*/ 135277 w 4519987"/>
                  <a:gd name="connsiteY84" fmla="*/ 1504950 h 4429260"/>
                  <a:gd name="connsiteX85" fmla="*/ 154327 w 4519987"/>
                  <a:gd name="connsiteY85" fmla="*/ 1419225 h 4429260"/>
                  <a:gd name="connsiteX86" fmla="*/ 230527 w 4519987"/>
                  <a:gd name="connsiteY86" fmla="*/ 1276350 h 4429260"/>
                  <a:gd name="connsiteX87" fmla="*/ 240052 w 4519987"/>
                  <a:gd name="connsiteY87" fmla="*/ 1247775 h 4429260"/>
                  <a:gd name="connsiteX88" fmla="*/ 268627 w 4519987"/>
                  <a:gd name="connsiteY88" fmla="*/ 1200150 h 4429260"/>
                  <a:gd name="connsiteX89" fmla="*/ 287677 w 4519987"/>
                  <a:gd name="connsiteY89" fmla="*/ 1152525 h 4429260"/>
                  <a:gd name="connsiteX90" fmla="*/ 316252 w 4519987"/>
                  <a:gd name="connsiteY90" fmla="*/ 1114425 h 4429260"/>
                  <a:gd name="connsiteX91" fmla="*/ 363877 w 4519987"/>
                  <a:gd name="connsiteY91" fmla="*/ 1038225 h 4429260"/>
                  <a:gd name="connsiteX92" fmla="*/ 382927 w 4519987"/>
                  <a:gd name="connsiteY92" fmla="*/ 1009650 h 4429260"/>
                  <a:gd name="connsiteX93" fmla="*/ 440077 w 4519987"/>
                  <a:gd name="connsiteY93" fmla="*/ 904875 h 4429260"/>
                  <a:gd name="connsiteX94" fmla="*/ 478177 w 4519987"/>
                  <a:gd name="connsiteY94" fmla="*/ 857250 h 4429260"/>
                  <a:gd name="connsiteX95" fmla="*/ 497227 w 4519987"/>
                  <a:gd name="connsiteY95" fmla="*/ 828675 h 4429260"/>
                  <a:gd name="connsiteX96" fmla="*/ 535327 w 4519987"/>
                  <a:gd name="connsiteY96" fmla="*/ 800100 h 4429260"/>
                  <a:gd name="connsiteX97" fmla="*/ 602002 w 4519987"/>
                  <a:gd name="connsiteY97" fmla="*/ 733425 h 4429260"/>
                  <a:gd name="connsiteX98" fmla="*/ 668677 w 4519987"/>
                  <a:gd name="connsiteY98" fmla="*/ 676275 h 4429260"/>
                  <a:gd name="connsiteX99" fmla="*/ 697252 w 4519987"/>
                  <a:gd name="connsiteY99" fmla="*/ 657225 h 4429260"/>
                  <a:gd name="connsiteX100" fmla="*/ 840127 w 4519987"/>
                  <a:gd name="connsiteY100" fmla="*/ 533400 h 4429260"/>
                  <a:gd name="connsiteX101" fmla="*/ 887752 w 4519987"/>
                  <a:gd name="connsiteY101" fmla="*/ 504825 h 4429260"/>
                  <a:gd name="connsiteX102" fmla="*/ 1167152 w 4519987"/>
                  <a:gd name="connsiteY102" fmla="*/ 311150 h 4429260"/>
                  <a:gd name="connsiteX103" fmla="*/ 1268752 w 4519987"/>
                  <a:gd name="connsiteY103" fmla="*/ 285750 h 4429260"/>
                  <a:gd name="connsiteX104" fmla="*/ 1411627 w 4519987"/>
                  <a:gd name="connsiteY104" fmla="*/ 190500 h 4429260"/>
                  <a:gd name="connsiteX105" fmla="*/ 1449727 w 4519987"/>
                  <a:gd name="connsiteY105" fmla="*/ 161925 h 4429260"/>
                  <a:gd name="connsiteX106" fmla="*/ 1525927 w 4519987"/>
                  <a:gd name="connsiteY106" fmla="*/ 152400 h 4429260"/>
                  <a:gd name="connsiteX107" fmla="*/ 1583077 w 4519987"/>
                  <a:gd name="connsiteY107" fmla="*/ 142875 h 4429260"/>
                  <a:gd name="connsiteX108" fmla="*/ 1716427 w 4519987"/>
                  <a:gd name="connsiteY108" fmla="*/ 123825 h 4429260"/>
                  <a:gd name="connsiteX109" fmla="*/ 1811677 w 4519987"/>
                  <a:gd name="connsiteY109" fmla="*/ 114300 h 4429260"/>
                  <a:gd name="connsiteX110" fmla="*/ 1859302 w 4519987"/>
                  <a:gd name="connsiteY110" fmla="*/ 104775 h 4429260"/>
                  <a:gd name="connsiteX111" fmla="*/ 1916452 w 4519987"/>
                  <a:gd name="connsiteY111" fmla="*/ 95250 h 4429260"/>
                  <a:gd name="connsiteX112" fmla="*/ 2030752 w 4519987"/>
                  <a:gd name="connsiteY112" fmla="*/ 66675 h 4429260"/>
                  <a:gd name="connsiteX113" fmla="*/ 2097427 w 4519987"/>
                  <a:gd name="connsiteY113" fmla="*/ 47625 h 4429260"/>
                  <a:gd name="connsiteX114" fmla="*/ 2164102 w 4519987"/>
                  <a:gd name="connsiteY114" fmla="*/ 38100 h 4429260"/>
                  <a:gd name="connsiteX115" fmla="*/ 2392702 w 4519987"/>
                  <a:gd name="connsiteY115" fmla="*/ 28575 h 4429260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687852 w 4519987"/>
                  <a:gd name="connsiteY45" fmla="*/ 4343400 h 4429225"/>
                  <a:gd name="connsiteX46" fmla="*/ 1573552 w 4519987"/>
                  <a:gd name="connsiteY46" fmla="*/ 4305300 h 4429225"/>
                  <a:gd name="connsiteX47" fmla="*/ 1402102 w 4519987"/>
                  <a:gd name="connsiteY47" fmla="*/ 4276725 h 4429225"/>
                  <a:gd name="connsiteX48" fmla="*/ 1287802 w 4519987"/>
                  <a:gd name="connsiteY48" fmla="*/ 4229100 h 4429225"/>
                  <a:gd name="connsiteX49" fmla="*/ 1221127 w 4519987"/>
                  <a:gd name="connsiteY49" fmla="*/ 4200525 h 4429225"/>
                  <a:gd name="connsiteX50" fmla="*/ 1144927 w 4519987"/>
                  <a:gd name="connsiteY50" fmla="*/ 4171950 h 4429225"/>
                  <a:gd name="connsiteX51" fmla="*/ 1087777 w 4519987"/>
                  <a:gd name="connsiteY51" fmla="*/ 4143375 h 4429225"/>
                  <a:gd name="connsiteX52" fmla="*/ 1030627 w 4519987"/>
                  <a:gd name="connsiteY52" fmla="*/ 4124325 h 4429225"/>
                  <a:gd name="connsiteX53" fmla="*/ 925852 w 4519987"/>
                  <a:gd name="connsiteY53" fmla="*/ 4067175 h 4429225"/>
                  <a:gd name="connsiteX54" fmla="*/ 830602 w 4519987"/>
                  <a:gd name="connsiteY54" fmla="*/ 3981450 h 4429225"/>
                  <a:gd name="connsiteX55" fmla="*/ 763927 w 4519987"/>
                  <a:gd name="connsiteY55" fmla="*/ 3914775 h 4429225"/>
                  <a:gd name="connsiteX56" fmla="*/ 725827 w 4519987"/>
                  <a:gd name="connsiteY56" fmla="*/ 3876675 h 4429225"/>
                  <a:gd name="connsiteX57" fmla="*/ 697252 w 4519987"/>
                  <a:gd name="connsiteY57" fmla="*/ 3838575 h 4429225"/>
                  <a:gd name="connsiteX58" fmla="*/ 640102 w 4519987"/>
                  <a:gd name="connsiteY58" fmla="*/ 3781425 h 4429225"/>
                  <a:gd name="connsiteX59" fmla="*/ 611527 w 4519987"/>
                  <a:gd name="connsiteY59" fmla="*/ 3733800 h 4429225"/>
                  <a:gd name="connsiteX60" fmla="*/ 554377 w 4519987"/>
                  <a:gd name="connsiteY60" fmla="*/ 3657600 h 4429225"/>
                  <a:gd name="connsiteX61" fmla="*/ 525802 w 4519987"/>
                  <a:gd name="connsiteY61" fmla="*/ 3609975 h 4429225"/>
                  <a:gd name="connsiteX62" fmla="*/ 497227 w 4519987"/>
                  <a:gd name="connsiteY62" fmla="*/ 3552825 h 4429225"/>
                  <a:gd name="connsiteX63" fmla="*/ 440077 w 4519987"/>
                  <a:gd name="connsiteY63" fmla="*/ 3495675 h 4429225"/>
                  <a:gd name="connsiteX64" fmla="*/ 411502 w 4519987"/>
                  <a:gd name="connsiteY64" fmla="*/ 3448050 h 4429225"/>
                  <a:gd name="connsiteX65" fmla="*/ 278152 w 4519987"/>
                  <a:gd name="connsiteY65" fmla="*/ 3257550 h 4429225"/>
                  <a:gd name="connsiteX66" fmla="*/ 249577 w 4519987"/>
                  <a:gd name="connsiteY66" fmla="*/ 3200400 h 4429225"/>
                  <a:gd name="connsiteX67" fmla="*/ 240052 w 4519987"/>
                  <a:gd name="connsiteY67" fmla="*/ 3162300 h 4429225"/>
                  <a:gd name="connsiteX68" fmla="*/ 221002 w 4519987"/>
                  <a:gd name="connsiteY68" fmla="*/ 3105150 h 4429225"/>
                  <a:gd name="connsiteX69" fmla="*/ 173377 w 4519987"/>
                  <a:gd name="connsiteY69" fmla="*/ 3019425 h 4429225"/>
                  <a:gd name="connsiteX70" fmla="*/ 144802 w 4519987"/>
                  <a:gd name="connsiteY70" fmla="*/ 2924175 h 4429225"/>
                  <a:gd name="connsiteX71" fmla="*/ 68602 w 4519987"/>
                  <a:gd name="connsiteY71" fmla="*/ 2724150 h 4429225"/>
                  <a:gd name="connsiteX72" fmla="*/ 49552 w 4519987"/>
                  <a:gd name="connsiteY72" fmla="*/ 2638425 h 4429225"/>
                  <a:gd name="connsiteX73" fmla="*/ 40027 w 4519987"/>
                  <a:gd name="connsiteY73" fmla="*/ 2562225 h 4429225"/>
                  <a:gd name="connsiteX74" fmla="*/ 30502 w 4519987"/>
                  <a:gd name="connsiteY74" fmla="*/ 2514600 h 4429225"/>
                  <a:gd name="connsiteX75" fmla="*/ 11452 w 4519987"/>
                  <a:gd name="connsiteY75" fmla="*/ 2400300 h 4429225"/>
                  <a:gd name="connsiteX76" fmla="*/ 20977 w 4519987"/>
                  <a:gd name="connsiteY76" fmla="*/ 1905000 h 4429225"/>
                  <a:gd name="connsiteX77" fmla="*/ 30502 w 4519987"/>
                  <a:gd name="connsiteY77" fmla="*/ 1838325 h 4429225"/>
                  <a:gd name="connsiteX78" fmla="*/ 49552 w 4519987"/>
                  <a:gd name="connsiteY78" fmla="*/ 1781175 h 4429225"/>
                  <a:gd name="connsiteX79" fmla="*/ 59077 w 4519987"/>
                  <a:gd name="connsiteY79" fmla="*/ 1743075 h 4429225"/>
                  <a:gd name="connsiteX80" fmla="*/ 78127 w 4519987"/>
                  <a:gd name="connsiteY80" fmla="*/ 1685925 h 4429225"/>
                  <a:gd name="connsiteX81" fmla="*/ 87652 w 4519987"/>
                  <a:gd name="connsiteY81" fmla="*/ 1638300 h 4429225"/>
                  <a:gd name="connsiteX82" fmla="*/ 106702 w 4519987"/>
                  <a:gd name="connsiteY82" fmla="*/ 1590675 h 4429225"/>
                  <a:gd name="connsiteX83" fmla="*/ 135277 w 4519987"/>
                  <a:gd name="connsiteY83" fmla="*/ 1504950 h 4429225"/>
                  <a:gd name="connsiteX84" fmla="*/ 154327 w 4519987"/>
                  <a:gd name="connsiteY84" fmla="*/ 1419225 h 4429225"/>
                  <a:gd name="connsiteX85" fmla="*/ 230527 w 4519987"/>
                  <a:gd name="connsiteY85" fmla="*/ 1276350 h 4429225"/>
                  <a:gd name="connsiteX86" fmla="*/ 240052 w 4519987"/>
                  <a:gd name="connsiteY86" fmla="*/ 1247775 h 4429225"/>
                  <a:gd name="connsiteX87" fmla="*/ 268627 w 4519987"/>
                  <a:gd name="connsiteY87" fmla="*/ 1200150 h 4429225"/>
                  <a:gd name="connsiteX88" fmla="*/ 287677 w 4519987"/>
                  <a:gd name="connsiteY88" fmla="*/ 1152525 h 4429225"/>
                  <a:gd name="connsiteX89" fmla="*/ 316252 w 4519987"/>
                  <a:gd name="connsiteY89" fmla="*/ 1114425 h 4429225"/>
                  <a:gd name="connsiteX90" fmla="*/ 363877 w 4519987"/>
                  <a:gd name="connsiteY90" fmla="*/ 1038225 h 4429225"/>
                  <a:gd name="connsiteX91" fmla="*/ 382927 w 4519987"/>
                  <a:gd name="connsiteY91" fmla="*/ 1009650 h 4429225"/>
                  <a:gd name="connsiteX92" fmla="*/ 440077 w 4519987"/>
                  <a:gd name="connsiteY92" fmla="*/ 904875 h 4429225"/>
                  <a:gd name="connsiteX93" fmla="*/ 478177 w 4519987"/>
                  <a:gd name="connsiteY93" fmla="*/ 857250 h 4429225"/>
                  <a:gd name="connsiteX94" fmla="*/ 497227 w 4519987"/>
                  <a:gd name="connsiteY94" fmla="*/ 828675 h 4429225"/>
                  <a:gd name="connsiteX95" fmla="*/ 535327 w 4519987"/>
                  <a:gd name="connsiteY95" fmla="*/ 800100 h 4429225"/>
                  <a:gd name="connsiteX96" fmla="*/ 602002 w 4519987"/>
                  <a:gd name="connsiteY96" fmla="*/ 733425 h 4429225"/>
                  <a:gd name="connsiteX97" fmla="*/ 668677 w 4519987"/>
                  <a:gd name="connsiteY97" fmla="*/ 676275 h 4429225"/>
                  <a:gd name="connsiteX98" fmla="*/ 697252 w 4519987"/>
                  <a:gd name="connsiteY98" fmla="*/ 657225 h 4429225"/>
                  <a:gd name="connsiteX99" fmla="*/ 840127 w 4519987"/>
                  <a:gd name="connsiteY99" fmla="*/ 533400 h 4429225"/>
                  <a:gd name="connsiteX100" fmla="*/ 887752 w 4519987"/>
                  <a:gd name="connsiteY100" fmla="*/ 504825 h 4429225"/>
                  <a:gd name="connsiteX101" fmla="*/ 1167152 w 4519987"/>
                  <a:gd name="connsiteY101" fmla="*/ 311150 h 4429225"/>
                  <a:gd name="connsiteX102" fmla="*/ 1268752 w 4519987"/>
                  <a:gd name="connsiteY102" fmla="*/ 285750 h 4429225"/>
                  <a:gd name="connsiteX103" fmla="*/ 1411627 w 4519987"/>
                  <a:gd name="connsiteY103" fmla="*/ 190500 h 4429225"/>
                  <a:gd name="connsiteX104" fmla="*/ 1449727 w 4519987"/>
                  <a:gd name="connsiteY104" fmla="*/ 161925 h 4429225"/>
                  <a:gd name="connsiteX105" fmla="*/ 1525927 w 4519987"/>
                  <a:gd name="connsiteY105" fmla="*/ 152400 h 4429225"/>
                  <a:gd name="connsiteX106" fmla="*/ 1583077 w 4519987"/>
                  <a:gd name="connsiteY106" fmla="*/ 142875 h 4429225"/>
                  <a:gd name="connsiteX107" fmla="*/ 1716427 w 4519987"/>
                  <a:gd name="connsiteY107" fmla="*/ 123825 h 4429225"/>
                  <a:gd name="connsiteX108" fmla="*/ 1811677 w 4519987"/>
                  <a:gd name="connsiteY108" fmla="*/ 114300 h 4429225"/>
                  <a:gd name="connsiteX109" fmla="*/ 1859302 w 4519987"/>
                  <a:gd name="connsiteY109" fmla="*/ 104775 h 4429225"/>
                  <a:gd name="connsiteX110" fmla="*/ 1916452 w 4519987"/>
                  <a:gd name="connsiteY110" fmla="*/ 95250 h 4429225"/>
                  <a:gd name="connsiteX111" fmla="*/ 2030752 w 4519987"/>
                  <a:gd name="connsiteY111" fmla="*/ 66675 h 4429225"/>
                  <a:gd name="connsiteX112" fmla="*/ 2097427 w 4519987"/>
                  <a:gd name="connsiteY112" fmla="*/ 47625 h 4429225"/>
                  <a:gd name="connsiteX113" fmla="*/ 2164102 w 4519987"/>
                  <a:gd name="connsiteY113" fmla="*/ 38100 h 4429225"/>
                  <a:gd name="connsiteX114" fmla="*/ 2392702 w 4519987"/>
                  <a:gd name="connsiteY114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402102 w 4519987"/>
                  <a:gd name="connsiteY46" fmla="*/ 4276725 h 4429225"/>
                  <a:gd name="connsiteX47" fmla="*/ 1287802 w 4519987"/>
                  <a:gd name="connsiteY47" fmla="*/ 4229100 h 4429225"/>
                  <a:gd name="connsiteX48" fmla="*/ 1221127 w 4519987"/>
                  <a:gd name="connsiteY48" fmla="*/ 4200525 h 4429225"/>
                  <a:gd name="connsiteX49" fmla="*/ 1144927 w 4519987"/>
                  <a:gd name="connsiteY49" fmla="*/ 4171950 h 4429225"/>
                  <a:gd name="connsiteX50" fmla="*/ 1087777 w 4519987"/>
                  <a:gd name="connsiteY50" fmla="*/ 4143375 h 4429225"/>
                  <a:gd name="connsiteX51" fmla="*/ 1030627 w 4519987"/>
                  <a:gd name="connsiteY51" fmla="*/ 4124325 h 4429225"/>
                  <a:gd name="connsiteX52" fmla="*/ 925852 w 4519987"/>
                  <a:gd name="connsiteY52" fmla="*/ 4067175 h 4429225"/>
                  <a:gd name="connsiteX53" fmla="*/ 830602 w 4519987"/>
                  <a:gd name="connsiteY53" fmla="*/ 3981450 h 4429225"/>
                  <a:gd name="connsiteX54" fmla="*/ 763927 w 4519987"/>
                  <a:gd name="connsiteY54" fmla="*/ 3914775 h 4429225"/>
                  <a:gd name="connsiteX55" fmla="*/ 725827 w 4519987"/>
                  <a:gd name="connsiteY55" fmla="*/ 3876675 h 4429225"/>
                  <a:gd name="connsiteX56" fmla="*/ 697252 w 4519987"/>
                  <a:gd name="connsiteY56" fmla="*/ 3838575 h 4429225"/>
                  <a:gd name="connsiteX57" fmla="*/ 640102 w 4519987"/>
                  <a:gd name="connsiteY57" fmla="*/ 3781425 h 4429225"/>
                  <a:gd name="connsiteX58" fmla="*/ 611527 w 4519987"/>
                  <a:gd name="connsiteY58" fmla="*/ 3733800 h 4429225"/>
                  <a:gd name="connsiteX59" fmla="*/ 554377 w 4519987"/>
                  <a:gd name="connsiteY59" fmla="*/ 3657600 h 4429225"/>
                  <a:gd name="connsiteX60" fmla="*/ 525802 w 4519987"/>
                  <a:gd name="connsiteY60" fmla="*/ 3609975 h 4429225"/>
                  <a:gd name="connsiteX61" fmla="*/ 497227 w 4519987"/>
                  <a:gd name="connsiteY61" fmla="*/ 3552825 h 4429225"/>
                  <a:gd name="connsiteX62" fmla="*/ 440077 w 4519987"/>
                  <a:gd name="connsiteY62" fmla="*/ 3495675 h 4429225"/>
                  <a:gd name="connsiteX63" fmla="*/ 411502 w 4519987"/>
                  <a:gd name="connsiteY63" fmla="*/ 3448050 h 4429225"/>
                  <a:gd name="connsiteX64" fmla="*/ 278152 w 4519987"/>
                  <a:gd name="connsiteY64" fmla="*/ 3257550 h 4429225"/>
                  <a:gd name="connsiteX65" fmla="*/ 249577 w 4519987"/>
                  <a:gd name="connsiteY65" fmla="*/ 3200400 h 4429225"/>
                  <a:gd name="connsiteX66" fmla="*/ 240052 w 4519987"/>
                  <a:gd name="connsiteY66" fmla="*/ 3162300 h 4429225"/>
                  <a:gd name="connsiteX67" fmla="*/ 221002 w 4519987"/>
                  <a:gd name="connsiteY67" fmla="*/ 3105150 h 4429225"/>
                  <a:gd name="connsiteX68" fmla="*/ 173377 w 4519987"/>
                  <a:gd name="connsiteY68" fmla="*/ 3019425 h 4429225"/>
                  <a:gd name="connsiteX69" fmla="*/ 144802 w 4519987"/>
                  <a:gd name="connsiteY69" fmla="*/ 2924175 h 4429225"/>
                  <a:gd name="connsiteX70" fmla="*/ 68602 w 4519987"/>
                  <a:gd name="connsiteY70" fmla="*/ 2724150 h 4429225"/>
                  <a:gd name="connsiteX71" fmla="*/ 49552 w 4519987"/>
                  <a:gd name="connsiteY71" fmla="*/ 2638425 h 4429225"/>
                  <a:gd name="connsiteX72" fmla="*/ 40027 w 4519987"/>
                  <a:gd name="connsiteY72" fmla="*/ 2562225 h 4429225"/>
                  <a:gd name="connsiteX73" fmla="*/ 30502 w 4519987"/>
                  <a:gd name="connsiteY73" fmla="*/ 2514600 h 4429225"/>
                  <a:gd name="connsiteX74" fmla="*/ 11452 w 4519987"/>
                  <a:gd name="connsiteY74" fmla="*/ 2400300 h 4429225"/>
                  <a:gd name="connsiteX75" fmla="*/ 20977 w 4519987"/>
                  <a:gd name="connsiteY75" fmla="*/ 1905000 h 4429225"/>
                  <a:gd name="connsiteX76" fmla="*/ 30502 w 4519987"/>
                  <a:gd name="connsiteY76" fmla="*/ 1838325 h 4429225"/>
                  <a:gd name="connsiteX77" fmla="*/ 49552 w 4519987"/>
                  <a:gd name="connsiteY77" fmla="*/ 1781175 h 4429225"/>
                  <a:gd name="connsiteX78" fmla="*/ 59077 w 4519987"/>
                  <a:gd name="connsiteY78" fmla="*/ 1743075 h 4429225"/>
                  <a:gd name="connsiteX79" fmla="*/ 78127 w 4519987"/>
                  <a:gd name="connsiteY79" fmla="*/ 1685925 h 4429225"/>
                  <a:gd name="connsiteX80" fmla="*/ 87652 w 4519987"/>
                  <a:gd name="connsiteY80" fmla="*/ 1638300 h 4429225"/>
                  <a:gd name="connsiteX81" fmla="*/ 106702 w 4519987"/>
                  <a:gd name="connsiteY81" fmla="*/ 1590675 h 4429225"/>
                  <a:gd name="connsiteX82" fmla="*/ 135277 w 4519987"/>
                  <a:gd name="connsiteY82" fmla="*/ 1504950 h 4429225"/>
                  <a:gd name="connsiteX83" fmla="*/ 154327 w 4519987"/>
                  <a:gd name="connsiteY83" fmla="*/ 1419225 h 4429225"/>
                  <a:gd name="connsiteX84" fmla="*/ 230527 w 4519987"/>
                  <a:gd name="connsiteY84" fmla="*/ 1276350 h 4429225"/>
                  <a:gd name="connsiteX85" fmla="*/ 240052 w 4519987"/>
                  <a:gd name="connsiteY85" fmla="*/ 1247775 h 4429225"/>
                  <a:gd name="connsiteX86" fmla="*/ 268627 w 4519987"/>
                  <a:gd name="connsiteY86" fmla="*/ 1200150 h 4429225"/>
                  <a:gd name="connsiteX87" fmla="*/ 287677 w 4519987"/>
                  <a:gd name="connsiteY87" fmla="*/ 1152525 h 4429225"/>
                  <a:gd name="connsiteX88" fmla="*/ 316252 w 4519987"/>
                  <a:gd name="connsiteY88" fmla="*/ 1114425 h 4429225"/>
                  <a:gd name="connsiteX89" fmla="*/ 363877 w 4519987"/>
                  <a:gd name="connsiteY89" fmla="*/ 1038225 h 4429225"/>
                  <a:gd name="connsiteX90" fmla="*/ 382927 w 4519987"/>
                  <a:gd name="connsiteY90" fmla="*/ 1009650 h 4429225"/>
                  <a:gd name="connsiteX91" fmla="*/ 440077 w 4519987"/>
                  <a:gd name="connsiteY91" fmla="*/ 904875 h 4429225"/>
                  <a:gd name="connsiteX92" fmla="*/ 478177 w 4519987"/>
                  <a:gd name="connsiteY92" fmla="*/ 857250 h 4429225"/>
                  <a:gd name="connsiteX93" fmla="*/ 497227 w 4519987"/>
                  <a:gd name="connsiteY93" fmla="*/ 828675 h 4429225"/>
                  <a:gd name="connsiteX94" fmla="*/ 535327 w 4519987"/>
                  <a:gd name="connsiteY94" fmla="*/ 800100 h 4429225"/>
                  <a:gd name="connsiteX95" fmla="*/ 602002 w 4519987"/>
                  <a:gd name="connsiteY95" fmla="*/ 733425 h 4429225"/>
                  <a:gd name="connsiteX96" fmla="*/ 668677 w 4519987"/>
                  <a:gd name="connsiteY96" fmla="*/ 676275 h 4429225"/>
                  <a:gd name="connsiteX97" fmla="*/ 697252 w 4519987"/>
                  <a:gd name="connsiteY97" fmla="*/ 657225 h 4429225"/>
                  <a:gd name="connsiteX98" fmla="*/ 840127 w 4519987"/>
                  <a:gd name="connsiteY98" fmla="*/ 533400 h 4429225"/>
                  <a:gd name="connsiteX99" fmla="*/ 887752 w 4519987"/>
                  <a:gd name="connsiteY99" fmla="*/ 504825 h 4429225"/>
                  <a:gd name="connsiteX100" fmla="*/ 1167152 w 4519987"/>
                  <a:gd name="connsiteY100" fmla="*/ 311150 h 4429225"/>
                  <a:gd name="connsiteX101" fmla="*/ 1268752 w 4519987"/>
                  <a:gd name="connsiteY101" fmla="*/ 285750 h 4429225"/>
                  <a:gd name="connsiteX102" fmla="*/ 1411627 w 4519987"/>
                  <a:gd name="connsiteY102" fmla="*/ 190500 h 4429225"/>
                  <a:gd name="connsiteX103" fmla="*/ 1449727 w 4519987"/>
                  <a:gd name="connsiteY103" fmla="*/ 161925 h 4429225"/>
                  <a:gd name="connsiteX104" fmla="*/ 1525927 w 4519987"/>
                  <a:gd name="connsiteY104" fmla="*/ 152400 h 4429225"/>
                  <a:gd name="connsiteX105" fmla="*/ 1583077 w 4519987"/>
                  <a:gd name="connsiteY105" fmla="*/ 142875 h 4429225"/>
                  <a:gd name="connsiteX106" fmla="*/ 1716427 w 4519987"/>
                  <a:gd name="connsiteY106" fmla="*/ 123825 h 4429225"/>
                  <a:gd name="connsiteX107" fmla="*/ 1811677 w 4519987"/>
                  <a:gd name="connsiteY107" fmla="*/ 114300 h 4429225"/>
                  <a:gd name="connsiteX108" fmla="*/ 1859302 w 4519987"/>
                  <a:gd name="connsiteY108" fmla="*/ 104775 h 4429225"/>
                  <a:gd name="connsiteX109" fmla="*/ 1916452 w 4519987"/>
                  <a:gd name="connsiteY109" fmla="*/ 95250 h 4429225"/>
                  <a:gd name="connsiteX110" fmla="*/ 2030752 w 4519987"/>
                  <a:gd name="connsiteY110" fmla="*/ 66675 h 4429225"/>
                  <a:gd name="connsiteX111" fmla="*/ 2097427 w 4519987"/>
                  <a:gd name="connsiteY111" fmla="*/ 47625 h 4429225"/>
                  <a:gd name="connsiteX112" fmla="*/ 2164102 w 4519987"/>
                  <a:gd name="connsiteY112" fmla="*/ 38100 h 4429225"/>
                  <a:gd name="connsiteX113" fmla="*/ 2392702 w 4519987"/>
                  <a:gd name="connsiteY113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221127 w 4519987"/>
                  <a:gd name="connsiteY47" fmla="*/ 4200525 h 4429225"/>
                  <a:gd name="connsiteX48" fmla="*/ 1144927 w 4519987"/>
                  <a:gd name="connsiteY48" fmla="*/ 4171950 h 4429225"/>
                  <a:gd name="connsiteX49" fmla="*/ 1087777 w 4519987"/>
                  <a:gd name="connsiteY49" fmla="*/ 4143375 h 4429225"/>
                  <a:gd name="connsiteX50" fmla="*/ 1030627 w 4519987"/>
                  <a:gd name="connsiteY50" fmla="*/ 4124325 h 4429225"/>
                  <a:gd name="connsiteX51" fmla="*/ 925852 w 4519987"/>
                  <a:gd name="connsiteY51" fmla="*/ 4067175 h 4429225"/>
                  <a:gd name="connsiteX52" fmla="*/ 830602 w 4519987"/>
                  <a:gd name="connsiteY52" fmla="*/ 3981450 h 4429225"/>
                  <a:gd name="connsiteX53" fmla="*/ 763927 w 4519987"/>
                  <a:gd name="connsiteY53" fmla="*/ 3914775 h 4429225"/>
                  <a:gd name="connsiteX54" fmla="*/ 725827 w 4519987"/>
                  <a:gd name="connsiteY54" fmla="*/ 3876675 h 4429225"/>
                  <a:gd name="connsiteX55" fmla="*/ 697252 w 4519987"/>
                  <a:gd name="connsiteY55" fmla="*/ 3838575 h 4429225"/>
                  <a:gd name="connsiteX56" fmla="*/ 640102 w 4519987"/>
                  <a:gd name="connsiteY56" fmla="*/ 3781425 h 4429225"/>
                  <a:gd name="connsiteX57" fmla="*/ 611527 w 4519987"/>
                  <a:gd name="connsiteY57" fmla="*/ 3733800 h 4429225"/>
                  <a:gd name="connsiteX58" fmla="*/ 554377 w 4519987"/>
                  <a:gd name="connsiteY58" fmla="*/ 3657600 h 4429225"/>
                  <a:gd name="connsiteX59" fmla="*/ 525802 w 4519987"/>
                  <a:gd name="connsiteY59" fmla="*/ 3609975 h 4429225"/>
                  <a:gd name="connsiteX60" fmla="*/ 497227 w 4519987"/>
                  <a:gd name="connsiteY60" fmla="*/ 3552825 h 4429225"/>
                  <a:gd name="connsiteX61" fmla="*/ 440077 w 4519987"/>
                  <a:gd name="connsiteY61" fmla="*/ 3495675 h 4429225"/>
                  <a:gd name="connsiteX62" fmla="*/ 411502 w 4519987"/>
                  <a:gd name="connsiteY62" fmla="*/ 3448050 h 4429225"/>
                  <a:gd name="connsiteX63" fmla="*/ 278152 w 4519987"/>
                  <a:gd name="connsiteY63" fmla="*/ 3257550 h 4429225"/>
                  <a:gd name="connsiteX64" fmla="*/ 249577 w 4519987"/>
                  <a:gd name="connsiteY64" fmla="*/ 3200400 h 4429225"/>
                  <a:gd name="connsiteX65" fmla="*/ 240052 w 4519987"/>
                  <a:gd name="connsiteY65" fmla="*/ 3162300 h 4429225"/>
                  <a:gd name="connsiteX66" fmla="*/ 221002 w 4519987"/>
                  <a:gd name="connsiteY66" fmla="*/ 3105150 h 4429225"/>
                  <a:gd name="connsiteX67" fmla="*/ 173377 w 4519987"/>
                  <a:gd name="connsiteY67" fmla="*/ 3019425 h 4429225"/>
                  <a:gd name="connsiteX68" fmla="*/ 144802 w 4519987"/>
                  <a:gd name="connsiteY68" fmla="*/ 2924175 h 4429225"/>
                  <a:gd name="connsiteX69" fmla="*/ 68602 w 4519987"/>
                  <a:gd name="connsiteY69" fmla="*/ 2724150 h 4429225"/>
                  <a:gd name="connsiteX70" fmla="*/ 49552 w 4519987"/>
                  <a:gd name="connsiteY70" fmla="*/ 2638425 h 4429225"/>
                  <a:gd name="connsiteX71" fmla="*/ 40027 w 4519987"/>
                  <a:gd name="connsiteY71" fmla="*/ 2562225 h 4429225"/>
                  <a:gd name="connsiteX72" fmla="*/ 30502 w 4519987"/>
                  <a:gd name="connsiteY72" fmla="*/ 2514600 h 4429225"/>
                  <a:gd name="connsiteX73" fmla="*/ 11452 w 4519987"/>
                  <a:gd name="connsiteY73" fmla="*/ 2400300 h 4429225"/>
                  <a:gd name="connsiteX74" fmla="*/ 20977 w 4519987"/>
                  <a:gd name="connsiteY74" fmla="*/ 1905000 h 4429225"/>
                  <a:gd name="connsiteX75" fmla="*/ 30502 w 4519987"/>
                  <a:gd name="connsiteY75" fmla="*/ 1838325 h 4429225"/>
                  <a:gd name="connsiteX76" fmla="*/ 49552 w 4519987"/>
                  <a:gd name="connsiteY76" fmla="*/ 1781175 h 4429225"/>
                  <a:gd name="connsiteX77" fmla="*/ 59077 w 4519987"/>
                  <a:gd name="connsiteY77" fmla="*/ 1743075 h 4429225"/>
                  <a:gd name="connsiteX78" fmla="*/ 78127 w 4519987"/>
                  <a:gd name="connsiteY78" fmla="*/ 1685925 h 4429225"/>
                  <a:gd name="connsiteX79" fmla="*/ 87652 w 4519987"/>
                  <a:gd name="connsiteY79" fmla="*/ 1638300 h 4429225"/>
                  <a:gd name="connsiteX80" fmla="*/ 106702 w 4519987"/>
                  <a:gd name="connsiteY80" fmla="*/ 1590675 h 4429225"/>
                  <a:gd name="connsiteX81" fmla="*/ 135277 w 4519987"/>
                  <a:gd name="connsiteY81" fmla="*/ 1504950 h 4429225"/>
                  <a:gd name="connsiteX82" fmla="*/ 154327 w 4519987"/>
                  <a:gd name="connsiteY82" fmla="*/ 1419225 h 4429225"/>
                  <a:gd name="connsiteX83" fmla="*/ 230527 w 4519987"/>
                  <a:gd name="connsiteY83" fmla="*/ 1276350 h 4429225"/>
                  <a:gd name="connsiteX84" fmla="*/ 240052 w 4519987"/>
                  <a:gd name="connsiteY84" fmla="*/ 1247775 h 4429225"/>
                  <a:gd name="connsiteX85" fmla="*/ 268627 w 4519987"/>
                  <a:gd name="connsiteY85" fmla="*/ 1200150 h 4429225"/>
                  <a:gd name="connsiteX86" fmla="*/ 287677 w 4519987"/>
                  <a:gd name="connsiteY86" fmla="*/ 1152525 h 4429225"/>
                  <a:gd name="connsiteX87" fmla="*/ 316252 w 4519987"/>
                  <a:gd name="connsiteY87" fmla="*/ 1114425 h 4429225"/>
                  <a:gd name="connsiteX88" fmla="*/ 363877 w 4519987"/>
                  <a:gd name="connsiteY88" fmla="*/ 1038225 h 4429225"/>
                  <a:gd name="connsiteX89" fmla="*/ 382927 w 4519987"/>
                  <a:gd name="connsiteY89" fmla="*/ 1009650 h 4429225"/>
                  <a:gd name="connsiteX90" fmla="*/ 440077 w 4519987"/>
                  <a:gd name="connsiteY90" fmla="*/ 904875 h 4429225"/>
                  <a:gd name="connsiteX91" fmla="*/ 478177 w 4519987"/>
                  <a:gd name="connsiteY91" fmla="*/ 857250 h 4429225"/>
                  <a:gd name="connsiteX92" fmla="*/ 497227 w 4519987"/>
                  <a:gd name="connsiteY92" fmla="*/ 828675 h 4429225"/>
                  <a:gd name="connsiteX93" fmla="*/ 535327 w 4519987"/>
                  <a:gd name="connsiteY93" fmla="*/ 800100 h 4429225"/>
                  <a:gd name="connsiteX94" fmla="*/ 602002 w 4519987"/>
                  <a:gd name="connsiteY94" fmla="*/ 733425 h 4429225"/>
                  <a:gd name="connsiteX95" fmla="*/ 668677 w 4519987"/>
                  <a:gd name="connsiteY95" fmla="*/ 676275 h 4429225"/>
                  <a:gd name="connsiteX96" fmla="*/ 697252 w 4519987"/>
                  <a:gd name="connsiteY96" fmla="*/ 657225 h 4429225"/>
                  <a:gd name="connsiteX97" fmla="*/ 840127 w 4519987"/>
                  <a:gd name="connsiteY97" fmla="*/ 533400 h 4429225"/>
                  <a:gd name="connsiteX98" fmla="*/ 887752 w 4519987"/>
                  <a:gd name="connsiteY98" fmla="*/ 504825 h 4429225"/>
                  <a:gd name="connsiteX99" fmla="*/ 1167152 w 4519987"/>
                  <a:gd name="connsiteY99" fmla="*/ 311150 h 4429225"/>
                  <a:gd name="connsiteX100" fmla="*/ 1268752 w 4519987"/>
                  <a:gd name="connsiteY100" fmla="*/ 285750 h 4429225"/>
                  <a:gd name="connsiteX101" fmla="*/ 1411627 w 4519987"/>
                  <a:gd name="connsiteY101" fmla="*/ 190500 h 4429225"/>
                  <a:gd name="connsiteX102" fmla="*/ 1449727 w 4519987"/>
                  <a:gd name="connsiteY102" fmla="*/ 161925 h 4429225"/>
                  <a:gd name="connsiteX103" fmla="*/ 1525927 w 4519987"/>
                  <a:gd name="connsiteY103" fmla="*/ 152400 h 4429225"/>
                  <a:gd name="connsiteX104" fmla="*/ 1583077 w 4519987"/>
                  <a:gd name="connsiteY104" fmla="*/ 142875 h 4429225"/>
                  <a:gd name="connsiteX105" fmla="*/ 1716427 w 4519987"/>
                  <a:gd name="connsiteY105" fmla="*/ 123825 h 4429225"/>
                  <a:gd name="connsiteX106" fmla="*/ 1811677 w 4519987"/>
                  <a:gd name="connsiteY106" fmla="*/ 114300 h 4429225"/>
                  <a:gd name="connsiteX107" fmla="*/ 1859302 w 4519987"/>
                  <a:gd name="connsiteY107" fmla="*/ 104775 h 4429225"/>
                  <a:gd name="connsiteX108" fmla="*/ 1916452 w 4519987"/>
                  <a:gd name="connsiteY108" fmla="*/ 95250 h 4429225"/>
                  <a:gd name="connsiteX109" fmla="*/ 2030752 w 4519987"/>
                  <a:gd name="connsiteY109" fmla="*/ 66675 h 4429225"/>
                  <a:gd name="connsiteX110" fmla="*/ 2097427 w 4519987"/>
                  <a:gd name="connsiteY110" fmla="*/ 47625 h 4429225"/>
                  <a:gd name="connsiteX111" fmla="*/ 2164102 w 4519987"/>
                  <a:gd name="connsiteY111" fmla="*/ 38100 h 4429225"/>
                  <a:gd name="connsiteX112" fmla="*/ 2392702 w 4519987"/>
                  <a:gd name="connsiteY112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221127 w 4519987"/>
                  <a:gd name="connsiteY47" fmla="*/ 4200525 h 4429225"/>
                  <a:gd name="connsiteX48" fmla="*/ 1087777 w 4519987"/>
                  <a:gd name="connsiteY48" fmla="*/ 4143375 h 4429225"/>
                  <a:gd name="connsiteX49" fmla="*/ 1030627 w 4519987"/>
                  <a:gd name="connsiteY49" fmla="*/ 4124325 h 4429225"/>
                  <a:gd name="connsiteX50" fmla="*/ 925852 w 4519987"/>
                  <a:gd name="connsiteY50" fmla="*/ 4067175 h 4429225"/>
                  <a:gd name="connsiteX51" fmla="*/ 830602 w 4519987"/>
                  <a:gd name="connsiteY51" fmla="*/ 3981450 h 4429225"/>
                  <a:gd name="connsiteX52" fmla="*/ 763927 w 4519987"/>
                  <a:gd name="connsiteY52" fmla="*/ 3914775 h 4429225"/>
                  <a:gd name="connsiteX53" fmla="*/ 725827 w 4519987"/>
                  <a:gd name="connsiteY53" fmla="*/ 3876675 h 4429225"/>
                  <a:gd name="connsiteX54" fmla="*/ 697252 w 4519987"/>
                  <a:gd name="connsiteY54" fmla="*/ 3838575 h 4429225"/>
                  <a:gd name="connsiteX55" fmla="*/ 640102 w 4519987"/>
                  <a:gd name="connsiteY55" fmla="*/ 3781425 h 4429225"/>
                  <a:gd name="connsiteX56" fmla="*/ 611527 w 4519987"/>
                  <a:gd name="connsiteY56" fmla="*/ 3733800 h 4429225"/>
                  <a:gd name="connsiteX57" fmla="*/ 554377 w 4519987"/>
                  <a:gd name="connsiteY57" fmla="*/ 3657600 h 4429225"/>
                  <a:gd name="connsiteX58" fmla="*/ 525802 w 4519987"/>
                  <a:gd name="connsiteY58" fmla="*/ 3609975 h 4429225"/>
                  <a:gd name="connsiteX59" fmla="*/ 497227 w 4519987"/>
                  <a:gd name="connsiteY59" fmla="*/ 3552825 h 4429225"/>
                  <a:gd name="connsiteX60" fmla="*/ 440077 w 4519987"/>
                  <a:gd name="connsiteY60" fmla="*/ 3495675 h 4429225"/>
                  <a:gd name="connsiteX61" fmla="*/ 411502 w 4519987"/>
                  <a:gd name="connsiteY61" fmla="*/ 3448050 h 4429225"/>
                  <a:gd name="connsiteX62" fmla="*/ 278152 w 4519987"/>
                  <a:gd name="connsiteY62" fmla="*/ 3257550 h 4429225"/>
                  <a:gd name="connsiteX63" fmla="*/ 249577 w 4519987"/>
                  <a:gd name="connsiteY63" fmla="*/ 3200400 h 4429225"/>
                  <a:gd name="connsiteX64" fmla="*/ 240052 w 4519987"/>
                  <a:gd name="connsiteY64" fmla="*/ 3162300 h 4429225"/>
                  <a:gd name="connsiteX65" fmla="*/ 221002 w 4519987"/>
                  <a:gd name="connsiteY65" fmla="*/ 3105150 h 4429225"/>
                  <a:gd name="connsiteX66" fmla="*/ 173377 w 4519987"/>
                  <a:gd name="connsiteY66" fmla="*/ 3019425 h 4429225"/>
                  <a:gd name="connsiteX67" fmla="*/ 144802 w 4519987"/>
                  <a:gd name="connsiteY67" fmla="*/ 2924175 h 4429225"/>
                  <a:gd name="connsiteX68" fmla="*/ 68602 w 4519987"/>
                  <a:gd name="connsiteY68" fmla="*/ 2724150 h 4429225"/>
                  <a:gd name="connsiteX69" fmla="*/ 49552 w 4519987"/>
                  <a:gd name="connsiteY69" fmla="*/ 2638425 h 4429225"/>
                  <a:gd name="connsiteX70" fmla="*/ 40027 w 4519987"/>
                  <a:gd name="connsiteY70" fmla="*/ 2562225 h 4429225"/>
                  <a:gd name="connsiteX71" fmla="*/ 30502 w 4519987"/>
                  <a:gd name="connsiteY71" fmla="*/ 2514600 h 4429225"/>
                  <a:gd name="connsiteX72" fmla="*/ 11452 w 4519987"/>
                  <a:gd name="connsiteY72" fmla="*/ 2400300 h 4429225"/>
                  <a:gd name="connsiteX73" fmla="*/ 20977 w 4519987"/>
                  <a:gd name="connsiteY73" fmla="*/ 1905000 h 4429225"/>
                  <a:gd name="connsiteX74" fmla="*/ 30502 w 4519987"/>
                  <a:gd name="connsiteY74" fmla="*/ 1838325 h 4429225"/>
                  <a:gd name="connsiteX75" fmla="*/ 49552 w 4519987"/>
                  <a:gd name="connsiteY75" fmla="*/ 1781175 h 4429225"/>
                  <a:gd name="connsiteX76" fmla="*/ 59077 w 4519987"/>
                  <a:gd name="connsiteY76" fmla="*/ 1743075 h 4429225"/>
                  <a:gd name="connsiteX77" fmla="*/ 78127 w 4519987"/>
                  <a:gd name="connsiteY77" fmla="*/ 1685925 h 4429225"/>
                  <a:gd name="connsiteX78" fmla="*/ 87652 w 4519987"/>
                  <a:gd name="connsiteY78" fmla="*/ 1638300 h 4429225"/>
                  <a:gd name="connsiteX79" fmla="*/ 106702 w 4519987"/>
                  <a:gd name="connsiteY79" fmla="*/ 1590675 h 4429225"/>
                  <a:gd name="connsiteX80" fmla="*/ 135277 w 4519987"/>
                  <a:gd name="connsiteY80" fmla="*/ 1504950 h 4429225"/>
                  <a:gd name="connsiteX81" fmla="*/ 154327 w 4519987"/>
                  <a:gd name="connsiteY81" fmla="*/ 1419225 h 4429225"/>
                  <a:gd name="connsiteX82" fmla="*/ 230527 w 4519987"/>
                  <a:gd name="connsiteY82" fmla="*/ 1276350 h 4429225"/>
                  <a:gd name="connsiteX83" fmla="*/ 240052 w 4519987"/>
                  <a:gd name="connsiteY83" fmla="*/ 1247775 h 4429225"/>
                  <a:gd name="connsiteX84" fmla="*/ 268627 w 4519987"/>
                  <a:gd name="connsiteY84" fmla="*/ 1200150 h 4429225"/>
                  <a:gd name="connsiteX85" fmla="*/ 287677 w 4519987"/>
                  <a:gd name="connsiteY85" fmla="*/ 1152525 h 4429225"/>
                  <a:gd name="connsiteX86" fmla="*/ 316252 w 4519987"/>
                  <a:gd name="connsiteY86" fmla="*/ 1114425 h 4429225"/>
                  <a:gd name="connsiteX87" fmla="*/ 363877 w 4519987"/>
                  <a:gd name="connsiteY87" fmla="*/ 1038225 h 4429225"/>
                  <a:gd name="connsiteX88" fmla="*/ 382927 w 4519987"/>
                  <a:gd name="connsiteY88" fmla="*/ 1009650 h 4429225"/>
                  <a:gd name="connsiteX89" fmla="*/ 440077 w 4519987"/>
                  <a:gd name="connsiteY89" fmla="*/ 904875 h 4429225"/>
                  <a:gd name="connsiteX90" fmla="*/ 478177 w 4519987"/>
                  <a:gd name="connsiteY90" fmla="*/ 857250 h 4429225"/>
                  <a:gd name="connsiteX91" fmla="*/ 497227 w 4519987"/>
                  <a:gd name="connsiteY91" fmla="*/ 828675 h 4429225"/>
                  <a:gd name="connsiteX92" fmla="*/ 535327 w 4519987"/>
                  <a:gd name="connsiteY92" fmla="*/ 800100 h 4429225"/>
                  <a:gd name="connsiteX93" fmla="*/ 602002 w 4519987"/>
                  <a:gd name="connsiteY93" fmla="*/ 733425 h 4429225"/>
                  <a:gd name="connsiteX94" fmla="*/ 668677 w 4519987"/>
                  <a:gd name="connsiteY94" fmla="*/ 676275 h 4429225"/>
                  <a:gd name="connsiteX95" fmla="*/ 697252 w 4519987"/>
                  <a:gd name="connsiteY95" fmla="*/ 657225 h 4429225"/>
                  <a:gd name="connsiteX96" fmla="*/ 840127 w 4519987"/>
                  <a:gd name="connsiteY96" fmla="*/ 533400 h 4429225"/>
                  <a:gd name="connsiteX97" fmla="*/ 887752 w 4519987"/>
                  <a:gd name="connsiteY97" fmla="*/ 504825 h 4429225"/>
                  <a:gd name="connsiteX98" fmla="*/ 1167152 w 4519987"/>
                  <a:gd name="connsiteY98" fmla="*/ 311150 h 4429225"/>
                  <a:gd name="connsiteX99" fmla="*/ 1268752 w 4519987"/>
                  <a:gd name="connsiteY99" fmla="*/ 285750 h 4429225"/>
                  <a:gd name="connsiteX100" fmla="*/ 1411627 w 4519987"/>
                  <a:gd name="connsiteY100" fmla="*/ 190500 h 4429225"/>
                  <a:gd name="connsiteX101" fmla="*/ 1449727 w 4519987"/>
                  <a:gd name="connsiteY101" fmla="*/ 161925 h 4429225"/>
                  <a:gd name="connsiteX102" fmla="*/ 1525927 w 4519987"/>
                  <a:gd name="connsiteY102" fmla="*/ 152400 h 4429225"/>
                  <a:gd name="connsiteX103" fmla="*/ 1583077 w 4519987"/>
                  <a:gd name="connsiteY103" fmla="*/ 142875 h 4429225"/>
                  <a:gd name="connsiteX104" fmla="*/ 1716427 w 4519987"/>
                  <a:gd name="connsiteY104" fmla="*/ 123825 h 4429225"/>
                  <a:gd name="connsiteX105" fmla="*/ 1811677 w 4519987"/>
                  <a:gd name="connsiteY105" fmla="*/ 114300 h 4429225"/>
                  <a:gd name="connsiteX106" fmla="*/ 1859302 w 4519987"/>
                  <a:gd name="connsiteY106" fmla="*/ 104775 h 4429225"/>
                  <a:gd name="connsiteX107" fmla="*/ 1916452 w 4519987"/>
                  <a:gd name="connsiteY107" fmla="*/ 95250 h 4429225"/>
                  <a:gd name="connsiteX108" fmla="*/ 2030752 w 4519987"/>
                  <a:gd name="connsiteY108" fmla="*/ 66675 h 4429225"/>
                  <a:gd name="connsiteX109" fmla="*/ 2097427 w 4519987"/>
                  <a:gd name="connsiteY109" fmla="*/ 47625 h 4429225"/>
                  <a:gd name="connsiteX110" fmla="*/ 2164102 w 4519987"/>
                  <a:gd name="connsiteY110" fmla="*/ 38100 h 4429225"/>
                  <a:gd name="connsiteX111" fmla="*/ 2392702 w 4519987"/>
                  <a:gd name="connsiteY111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1030627 w 4519987"/>
                  <a:gd name="connsiteY48" fmla="*/ 4124325 h 4429225"/>
                  <a:gd name="connsiteX49" fmla="*/ 925852 w 4519987"/>
                  <a:gd name="connsiteY49" fmla="*/ 4067175 h 4429225"/>
                  <a:gd name="connsiteX50" fmla="*/ 830602 w 4519987"/>
                  <a:gd name="connsiteY50" fmla="*/ 3981450 h 4429225"/>
                  <a:gd name="connsiteX51" fmla="*/ 763927 w 4519987"/>
                  <a:gd name="connsiteY51" fmla="*/ 3914775 h 4429225"/>
                  <a:gd name="connsiteX52" fmla="*/ 725827 w 4519987"/>
                  <a:gd name="connsiteY52" fmla="*/ 3876675 h 4429225"/>
                  <a:gd name="connsiteX53" fmla="*/ 697252 w 4519987"/>
                  <a:gd name="connsiteY53" fmla="*/ 3838575 h 4429225"/>
                  <a:gd name="connsiteX54" fmla="*/ 640102 w 4519987"/>
                  <a:gd name="connsiteY54" fmla="*/ 3781425 h 4429225"/>
                  <a:gd name="connsiteX55" fmla="*/ 611527 w 4519987"/>
                  <a:gd name="connsiteY55" fmla="*/ 3733800 h 4429225"/>
                  <a:gd name="connsiteX56" fmla="*/ 554377 w 4519987"/>
                  <a:gd name="connsiteY56" fmla="*/ 3657600 h 4429225"/>
                  <a:gd name="connsiteX57" fmla="*/ 525802 w 4519987"/>
                  <a:gd name="connsiteY57" fmla="*/ 3609975 h 4429225"/>
                  <a:gd name="connsiteX58" fmla="*/ 497227 w 4519987"/>
                  <a:gd name="connsiteY58" fmla="*/ 3552825 h 4429225"/>
                  <a:gd name="connsiteX59" fmla="*/ 440077 w 4519987"/>
                  <a:gd name="connsiteY59" fmla="*/ 3495675 h 4429225"/>
                  <a:gd name="connsiteX60" fmla="*/ 411502 w 4519987"/>
                  <a:gd name="connsiteY60" fmla="*/ 3448050 h 4429225"/>
                  <a:gd name="connsiteX61" fmla="*/ 278152 w 4519987"/>
                  <a:gd name="connsiteY61" fmla="*/ 3257550 h 4429225"/>
                  <a:gd name="connsiteX62" fmla="*/ 249577 w 4519987"/>
                  <a:gd name="connsiteY62" fmla="*/ 3200400 h 4429225"/>
                  <a:gd name="connsiteX63" fmla="*/ 240052 w 4519987"/>
                  <a:gd name="connsiteY63" fmla="*/ 3162300 h 4429225"/>
                  <a:gd name="connsiteX64" fmla="*/ 221002 w 4519987"/>
                  <a:gd name="connsiteY64" fmla="*/ 3105150 h 4429225"/>
                  <a:gd name="connsiteX65" fmla="*/ 173377 w 4519987"/>
                  <a:gd name="connsiteY65" fmla="*/ 3019425 h 4429225"/>
                  <a:gd name="connsiteX66" fmla="*/ 144802 w 4519987"/>
                  <a:gd name="connsiteY66" fmla="*/ 2924175 h 4429225"/>
                  <a:gd name="connsiteX67" fmla="*/ 68602 w 4519987"/>
                  <a:gd name="connsiteY67" fmla="*/ 2724150 h 4429225"/>
                  <a:gd name="connsiteX68" fmla="*/ 49552 w 4519987"/>
                  <a:gd name="connsiteY68" fmla="*/ 2638425 h 4429225"/>
                  <a:gd name="connsiteX69" fmla="*/ 40027 w 4519987"/>
                  <a:gd name="connsiteY69" fmla="*/ 2562225 h 4429225"/>
                  <a:gd name="connsiteX70" fmla="*/ 30502 w 4519987"/>
                  <a:gd name="connsiteY70" fmla="*/ 2514600 h 4429225"/>
                  <a:gd name="connsiteX71" fmla="*/ 11452 w 4519987"/>
                  <a:gd name="connsiteY71" fmla="*/ 2400300 h 4429225"/>
                  <a:gd name="connsiteX72" fmla="*/ 20977 w 4519987"/>
                  <a:gd name="connsiteY72" fmla="*/ 1905000 h 4429225"/>
                  <a:gd name="connsiteX73" fmla="*/ 30502 w 4519987"/>
                  <a:gd name="connsiteY73" fmla="*/ 1838325 h 4429225"/>
                  <a:gd name="connsiteX74" fmla="*/ 49552 w 4519987"/>
                  <a:gd name="connsiteY74" fmla="*/ 1781175 h 4429225"/>
                  <a:gd name="connsiteX75" fmla="*/ 59077 w 4519987"/>
                  <a:gd name="connsiteY75" fmla="*/ 1743075 h 4429225"/>
                  <a:gd name="connsiteX76" fmla="*/ 78127 w 4519987"/>
                  <a:gd name="connsiteY76" fmla="*/ 1685925 h 4429225"/>
                  <a:gd name="connsiteX77" fmla="*/ 87652 w 4519987"/>
                  <a:gd name="connsiteY77" fmla="*/ 1638300 h 4429225"/>
                  <a:gd name="connsiteX78" fmla="*/ 106702 w 4519987"/>
                  <a:gd name="connsiteY78" fmla="*/ 1590675 h 4429225"/>
                  <a:gd name="connsiteX79" fmla="*/ 135277 w 4519987"/>
                  <a:gd name="connsiteY79" fmla="*/ 1504950 h 4429225"/>
                  <a:gd name="connsiteX80" fmla="*/ 154327 w 4519987"/>
                  <a:gd name="connsiteY80" fmla="*/ 1419225 h 4429225"/>
                  <a:gd name="connsiteX81" fmla="*/ 230527 w 4519987"/>
                  <a:gd name="connsiteY81" fmla="*/ 1276350 h 4429225"/>
                  <a:gd name="connsiteX82" fmla="*/ 240052 w 4519987"/>
                  <a:gd name="connsiteY82" fmla="*/ 1247775 h 4429225"/>
                  <a:gd name="connsiteX83" fmla="*/ 268627 w 4519987"/>
                  <a:gd name="connsiteY83" fmla="*/ 1200150 h 4429225"/>
                  <a:gd name="connsiteX84" fmla="*/ 287677 w 4519987"/>
                  <a:gd name="connsiteY84" fmla="*/ 1152525 h 4429225"/>
                  <a:gd name="connsiteX85" fmla="*/ 316252 w 4519987"/>
                  <a:gd name="connsiteY85" fmla="*/ 1114425 h 4429225"/>
                  <a:gd name="connsiteX86" fmla="*/ 363877 w 4519987"/>
                  <a:gd name="connsiteY86" fmla="*/ 1038225 h 4429225"/>
                  <a:gd name="connsiteX87" fmla="*/ 382927 w 4519987"/>
                  <a:gd name="connsiteY87" fmla="*/ 1009650 h 4429225"/>
                  <a:gd name="connsiteX88" fmla="*/ 440077 w 4519987"/>
                  <a:gd name="connsiteY88" fmla="*/ 904875 h 4429225"/>
                  <a:gd name="connsiteX89" fmla="*/ 478177 w 4519987"/>
                  <a:gd name="connsiteY89" fmla="*/ 857250 h 4429225"/>
                  <a:gd name="connsiteX90" fmla="*/ 497227 w 4519987"/>
                  <a:gd name="connsiteY90" fmla="*/ 828675 h 4429225"/>
                  <a:gd name="connsiteX91" fmla="*/ 535327 w 4519987"/>
                  <a:gd name="connsiteY91" fmla="*/ 800100 h 4429225"/>
                  <a:gd name="connsiteX92" fmla="*/ 602002 w 4519987"/>
                  <a:gd name="connsiteY92" fmla="*/ 733425 h 4429225"/>
                  <a:gd name="connsiteX93" fmla="*/ 668677 w 4519987"/>
                  <a:gd name="connsiteY93" fmla="*/ 676275 h 4429225"/>
                  <a:gd name="connsiteX94" fmla="*/ 697252 w 4519987"/>
                  <a:gd name="connsiteY94" fmla="*/ 657225 h 4429225"/>
                  <a:gd name="connsiteX95" fmla="*/ 840127 w 4519987"/>
                  <a:gd name="connsiteY95" fmla="*/ 533400 h 4429225"/>
                  <a:gd name="connsiteX96" fmla="*/ 887752 w 4519987"/>
                  <a:gd name="connsiteY96" fmla="*/ 504825 h 4429225"/>
                  <a:gd name="connsiteX97" fmla="*/ 1167152 w 4519987"/>
                  <a:gd name="connsiteY97" fmla="*/ 311150 h 4429225"/>
                  <a:gd name="connsiteX98" fmla="*/ 1268752 w 4519987"/>
                  <a:gd name="connsiteY98" fmla="*/ 285750 h 4429225"/>
                  <a:gd name="connsiteX99" fmla="*/ 1411627 w 4519987"/>
                  <a:gd name="connsiteY99" fmla="*/ 190500 h 4429225"/>
                  <a:gd name="connsiteX100" fmla="*/ 1449727 w 4519987"/>
                  <a:gd name="connsiteY100" fmla="*/ 161925 h 4429225"/>
                  <a:gd name="connsiteX101" fmla="*/ 1525927 w 4519987"/>
                  <a:gd name="connsiteY101" fmla="*/ 152400 h 4429225"/>
                  <a:gd name="connsiteX102" fmla="*/ 1583077 w 4519987"/>
                  <a:gd name="connsiteY102" fmla="*/ 142875 h 4429225"/>
                  <a:gd name="connsiteX103" fmla="*/ 1716427 w 4519987"/>
                  <a:gd name="connsiteY103" fmla="*/ 123825 h 4429225"/>
                  <a:gd name="connsiteX104" fmla="*/ 1811677 w 4519987"/>
                  <a:gd name="connsiteY104" fmla="*/ 114300 h 4429225"/>
                  <a:gd name="connsiteX105" fmla="*/ 1859302 w 4519987"/>
                  <a:gd name="connsiteY105" fmla="*/ 104775 h 4429225"/>
                  <a:gd name="connsiteX106" fmla="*/ 1916452 w 4519987"/>
                  <a:gd name="connsiteY106" fmla="*/ 95250 h 4429225"/>
                  <a:gd name="connsiteX107" fmla="*/ 2030752 w 4519987"/>
                  <a:gd name="connsiteY107" fmla="*/ 66675 h 4429225"/>
                  <a:gd name="connsiteX108" fmla="*/ 2097427 w 4519987"/>
                  <a:gd name="connsiteY108" fmla="*/ 47625 h 4429225"/>
                  <a:gd name="connsiteX109" fmla="*/ 2164102 w 4519987"/>
                  <a:gd name="connsiteY109" fmla="*/ 38100 h 4429225"/>
                  <a:gd name="connsiteX110" fmla="*/ 2392702 w 4519987"/>
                  <a:gd name="connsiteY110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925852 w 4519987"/>
                  <a:gd name="connsiteY48" fmla="*/ 4067175 h 4429225"/>
                  <a:gd name="connsiteX49" fmla="*/ 830602 w 4519987"/>
                  <a:gd name="connsiteY49" fmla="*/ 3981450 h 4429225"/>
                  <a:gd name="connsiteX50" fmla="*/ 763927 w 4519987"/>
                  <a:gd name="connsiteY50" fmla="*/ 3914775 h 4429225"/>
                  <a:gd name="connsiteX51" fmla="*/ 725827 w 4519987"/>
                  <a:gd name="connsiteY51" fmla="*/ 3876675 h 4429225"/>
                  <a:gd name="connsiteX52" fmla="*/ 697252 w 4519987"/>
                  <a:gd name="connsiteY52" fmla="*/ 3838575 h 4429225"/>
                  <a:gd name="connsiteX53" fmla="*/ 640102 w 4519987"/>
                  <a:gd name="connsiteY53" fmla="*/ 3781425 h 4429225"/>
                  <a:gd name="connsiteX54" fmla="*/ 611527 w 4519987"/>
                  <a:gd name="connsiteY54" fmla="*/ 3733800 h 4429225"/>
                  <a:gd name="connsiteX55" fmla="*/ 554377 w 4519987"/>
                  <a:gd name="connsiteY55" fmla="*/ 3657600 h 4429225"/>
                  <a:gd name="connsiteX56" fmla="*/ 525802 w 4519987"/>
                  <a:gd name="connsiteY56" fmla="*/ 3609975 h 4429225"/>
                  <a:gd name="connsiteX57" fmla="*/ 497227 w 4519987"/>
                  <a:gd name="connsiteY57" fmla="*/ 3552825 h 4429225"/>
                  <a:gd name="connsiteX58" fmla="*/ 440077 w 4519987"/>
                  <a:gd name="connsiteY58" fmla="*/ 3495675 h 4429225"/>
                  <a:gd name="connsiteX59" fmla="*/ 411502 w 4519987"/>
                  <a:gd name="connsiteY59" fmla="*/ 3448050 h 4429225"/>
                  <a:gd name="connsiteX60" fmla="*/ 278152 w 4519987"/>
                  <a:gd name="connsiteY60" fmla="*/ 3257550 h 4429225"/>
                  <a:gd name="connsiteX61" fmla="*/ 249577 w 4519987"/>
                  <a:gd name="connsiteY61" fmla="*/ 3200400 h 4429225"/>
                  <a:gd name="connsiteX62" fmla="*/ 240052 w 4519987"/>
                  <a:gd name="connsiteY62" fmla="*/ 3162300 h 4429225"/>
                  <a:gd name="connsiteX63" fmla="*/ 221002 w 4519987"/>
                  <a:gd name="connsiteY63" fmla="*/ 3105150 h 4429225"/>
                  <a:gd name="connsiteX64" fmla="*/ 173377 w 4519987"/>
                  <a:gd name="connsiteY64" fmla="*/ 3019425 h 4429225"/>
                  <a:gd name="connsiteX65" fmla="*/ 144802 w 4519987"/>
                  <a:gd name="connsiteY65" fmla="*/ 2924175 h 4429225"/>
                  <a:gd name="connsiteX66" fmla="*/ 68602 w 4519987"/>
                  <a:gd name="connsiteY66" fmla="*/ 2724150 h 4429225"/>
                  <a:gd name="connsiteX67" fmla="*/ 49552 w 4519987"/>
                  <a:gd name="connsiteY67" fmla="*/ 2638425 h 4429225"/>
                  <a:gd name="connsiteX68" fmla="*/ 40027 w 4519987"/>
                  <a:gd name="connsiteY68" fmla="*/ 2562225 h 4429225"/>
                  <a:gd name="connsiteX69" fmla="*/ 30502 w 4519987"/>
                  <a:gd name="connsiteY69" fmla="*/ 2514600 h 4429225"/>
                  <a:gd name="connsiteX70" fmla="*/ 11452 w 4519987"/>
                  <a:gd name="connsiteY70" fmla="*/ 2400300 h 4429225"/>
                  <a:gd name="connsiteX71" fmla="*/ 20977 w 4519987"/>
                  <a:gd name="connsiteY71" fmla="*/ 1905000 h 4429225"/>
                  <a:gd name="connsiteX72" fmla="*/ 30502 w 4519987"/>
                  <a:gd name="connsiteY72" fmla="*/ 1838325 h 4429225"/>
                  <a:gd name="connsiteX73" fmla="*/ 49552 w 4519987"/>
                  <a:gd name="connsiteY73" fmla="*/ 1781175 h 4429225"/>
                  <a:gd name="connsiteX74" fmla="*/ 59077 w 4519987"/>
                  <a:gd name="connsiteY74" fmla="*/ 1743075 h 4429225"/>
                  <a:gd name="connsiteX75" fmla="*/ 78127 w 4519987"/>
                  <a:gd name="connsiteY75" fmla="*/ 1685925 h 4429225"/>
                  <a:gd name="connsiteX76" fmla="*/ 87652 w 4519987"/>
                  <a:gd name="connsiteY76" fmla="*/ 1638300 h 4429225"/>
                  <a:gd name="connsiteX77" fmla="*/ 106702 w 4519987"/>
                  <a:gd name="connsiteY77" fmla="*/ 1590675 h 4429225"/>
                  <a:gd name="connsiteX78" fmla="*/ 135277 w 4519987"/>
                  <a:gd name="connsiteY78" fmla="*/ 1504950 h 4429225"/>
                  <a:gd name="connsiteX79" fmla="*/ 154327 w 4519987"/>
                  <a:gd name="connsiteY79" fmla="*/ 1419225 h 4429225"/>
                  <a:gd name="connsiteX80" fmla="*/ 230527 w 4519987"/>
                  <a:gd name="connsiteY80" fmla="*/ 1276350 h 4429225"/>
                  <a:gd name="connsiteX81" fmla="*/ 240052 w 4519987"/>
                  <a:gd name="connsiteY81" fmla="*/ 1247775 h 4429225"/>
                  <a:gd name="connsiteX82" fmla="*/ 268627 w 4519987"/>
                  <a:gd name="connsiteY82" fmla="*/ 1200150 h 4429225"/>
                  <a:gd name="connsiteX83" fmla="*/ 287677 w 4519987"/>
                  <a:gd name="connsiteY83" fmla="*/ 1152525 h 4429225"/>
                  <a:gd name="connsiteX84" fmla="*/ 316252 w 4519987"/>
                  <a:gd name="connsiteY84" fmla="*/ 1114425 h 4429225"/>
                  <a:gd name="connsiteX85" fmla="*/ 363877 w 4519987"/>
                  <a:gd name="connsiteY85" fmla="*/ 1038225 h 4429225"/>
                  <a:gd name="connsiteX86" fmla="*/ 382927 w 4519987"/>
                  <a:gd name="connsiteY86" fmla="*/ 1009650 h 4429225"/>
                  <a:gd name="connsiteX87" fmla="*/ 440077 w 4519987"/>
                  <a:gd name="connsiteY87" fmla="*/ 904875 h 4429225"/>
                  <a:gd name="connsiteX88" fmla="*/ 478177 w 4519987"/>
                  <a:gd name="connsiteY88" fmla="*/ 857250 h 4429225"/>
                  <a:gd name="connsiteX89" fmla="*/ 497227 w 4519987"/>
                  <a:gd name="connsiteY89" fmla="*/ 828675 h 4429225"/>
                  <a:gd name="connsiteX90" fmla="*/ 535327 w 4519987"/>
                  <a:gd name="connsiteY90" fmla="*/ 800100 h 4429225"/>
                  <a:gd name="connsiteX91" fmla="*/ 602002 w 4519987"/>
                  <a:gd name="connsiteY91" fmla="*/ 733425 h 4429225"/>
                  <a:gd name="connsiteX92" fmla="*/ 668677 w 4519987"/>
                  <a:gd name="connsiteY92" fmla="*/ 676275 h 4429225"/>
                  <a:gd name="connsiteX93" fmla="*/ 697252 w 4519987"/>
                  <a:gd name="connsiteY93" fmla="*/ 657225 h 4429225"/>
                  <a:gd name="connsiteX94" fmla="*/ 840127 w 4519987"/>
                  <a:gd name="connsiteY94" fmla="*/ 533400 h 4429225"/>
                  <a:gd name="connsiteX95" fmla="*/ 887752 w 4519987"/>
                  <a:gd name="connsiteY95" fmla="*/ 504825 h 4429225"/>
                  <a:gd name="connsiteX96" fmla="*/ 1167152 w 4519987"/>
                  <a:gd name="connsiteY96" fmla="*/ 311150 h 4429225"/>
                  <a:gd name="connsiteX97" fmla="*/ 1268752 w 4519987"/>
                  <a:gd name="connsiteY97" fmla="*/ 285750 h 4429225"/>
                  <a:gd name="connsiteX98" fmla="*/ 1411627 w 4519987"/>
                  <a:gd name="connsiteY98" fmla="*/ 190500 h 4429225"/>
                  <a:gd name="connsiteX99" fmla="*/ 1449727 w 4519987"/>
                  <a:gd name="connsiteY99" fmla="*/ 161925 h 4429225"/>
                  <a:gd name="connsiteX100" fmla="*/ 1525927 w 4519987"/>
                  <a:gd name="connsiteY100" fmla="*/ 152400 h 4429225"/>
                  <a:gd name="connsiteX101" fmla="*/ 1583077 w 4519987"/>
                  <a:gd name="connsiteY101" fmla="*/ 142875 h 4429225"/>
                  <a:gd name="connsiteX102" fmla="*/ 1716427 w 4519987"/>
                  <a:gd name="connsiteY102" fmla="*/ 123825 h 4429225"/>
                  <a:gd name="connsiteX103" fmla="*/ 1811677 w 4519987"/>
                  <a:gd name="connsiteY103" fmla="*/ 114300 h 4429225"/>
                  <a:gd name="connsiteX104" fmla="*/ 1859302 w 4519987"/>
                  <a:gd name="connsiteY104" fmla="*/ 104775 h 4429225"/>
                  <a:gd name="connsiteX105" fmla="*/ 1916452 w 4519987"/>
                  <a:gd name="connsiteY105" fmla="*/ 95250 h 4429225"/>
                  <a:gd name="connsiteX106" fmla="*/ 2030752 w 4519987"/>
                  <a:gd name="connsiteY106" fmla="*/ 66675 h 4429225"/>
                  <a:gd name="connsiteX107" fmla="*/ 2097427 w 4519987"/>
                  <a:gd name="connsiteY107" fmla="*/ 47625 h 4429225"/>
                  <a:gd name="connsiteX108" fmla="*/ 2164102 w 4519987"/>
                  <a:gd name="connsiteY108" fmla="*/ 38100 h 4429225"/>
                  <a:gd name="connsiteX109" fmla="*/ 2392702 w 4519987"/>
                  <a:gd name="connsiteY109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725827 w 4519987"/>
                  <a:gd name="connsiteY50" fmla="*/ 3876675 h 4429225"/>
                  <a:gd name="connsiteX51" fmla="*/ 697252 w 4519987"/>
                  <a:gd name="connsiteY51" fmla="*/ 3838575 h 4429225"/>
                  <a:gd name="connsiteX52" fmla="*/ 640102 w 4519987"/>
                  <a:gd name="connsiteY52" fmla="*/ 3781425 h 4429225"/>
                  <a:gd name="connsiteX53" fmla="*/ 611527 w 4519987"/>
                  <a:gd name="connsiteY53" fmla="*/ 3733800 h 4429225"/>
                  <a:gd name="connsiteX54" fmla="*/ 554377 w 4519987"/>
                  <a:gd name="connsiteY54" fmla="*/ 3657600 h 4429225"/>
                  <a:gd name="connsiteX55" fmla="*/ 525802 w 4519987"/>
                  <a:gd name="connsiteY55" fmla="*/ 3609975 h 4429225"/>
                  <a:gd name="connsiteX56" fmla="*/ 497227 w 4519987"/>
                  <a:gd name="connsiteY56" fmla="*/ 3552825 h 4429225"/>
                  <a:gd name="connsiteX57" fmla="*/ 440077 w 4519987"/>
                  <a:gd name="connsiteY57" fmla="*/ 3495675 h 4429225"/>
                  <a:gd name="connsiteX58" fmla="*/ 411502 w 4519987"/>
                  <a:gd name="connsiteY58" fmla="*/ 3448050 h 4429225"/>
                  <a:gd name="connsiteX59" fmla="*/ 278152 w 4519987"/>
                  <a:gd name="connsiteY59" fmla="*/ 3257550 h 4429225"/>
                  <a:gd name="connsiteX60" fmla="*/ 249577 w 4519987"/>
                  <a:gd name="connsiteY60" fmla="*/ 3200400 h 4429225"/>
                  <a:gd name="connsiteX61" fmla="*/ 240052 w 4519987"/>
                  <a:gd name="connsiteY61" fmla="*/ 3162300 h 4429225"/>
                  <a:gd name="connsiteX62" fmla="*/ 221002 w 4519987"/>
                  <a:gd name="connsiteY62" fmla="*/ 3105150 h 4429225"/>
                  <a:gd name="connsiteX63" fmla="*/ 173377 w 4519987"/>
                  <a:gd name="connsiteY63" fmla="*/ 3019425 h 4429225"/>
                  <a:gd name="connsiteX64" fmla="*/ 144802 w 4519987"/>
                  <a:gd name="connsiteY64" fmla="*/ 2924175 h 4429225"/>
                  <a:gd name="connsiteX65" fmla="*/ 68602 w 4519987"/>
                  <a:gd name="connsiteY65" fmla="*/ 2724150 h 4429225"/>
                  <a:gd name="connsiteX66" fmla="*/ 49552 w 4519987"/>
                  <a:gd name="connsiteY66" fmla="*/ 2638425 h 4429225"/>
                  <a:gd name="connsiteX67" fmla="*/ 40027 w 4519987"/>
                  <a:gd name="connsiteY67" fmla="*/ 2562225 h 4429225"/>
                  <a:gd name="connsiteX68" fmla="*/ 30502 w 4519987"/>
                  <a:gd name="connsiteY68" fmla="*/ 2514600 h 4429225"/>
                  <a:gd name="connsiteX69" fmla="*/ 11452 w 4519987"/>
                  <a:gd name="connsiteY69" fmla="*/ 2400300 h 4429225"/>
                  <a:gd name="connsiteX70" fmla="*/ 20977 w 4519987"/>
                  <a:gd name="connsiteY70" fmla="*/ 1905000 h 4429225"/>
                  <a:gd name="connsiteX71" fmla="*/ 30502 w 4519987"/>
                  <a:gd name="connsiteY71" fmla="*/ 1838325 h 4429225"/>
                  <a:gd name="connsiteX72" fmla="*/ 49552 w 4519987"/>
                  <a:gd name="connsiteY72" fmla="*/ 1781175 h 4429225"/>
                  <a:gd name="connsiteX73" fmla="*/ 59077 w 4519987"/>
                  <a:gd name="connsiteY73" fmla="*/ 1743075 h 4429225"/>
                  <a:gd name="connsiteX74" fmla="*/ 78127 w 4519987"/>
                  <a:gd name="connsiteY74" fmla="*/ 1685925 h 4429225"/>
                  <a:gd name="connsiteX75" fmla="*/ 87652 w 4519987"/>
                  <a:gd name="connsiteY75" fmla="*/ 1638300 h 4429225"/>
                  <a:gd name="connsiteX76" fmla="*/ 106702 w 4519987"/>
                  <a:gd name="connsiteY76" fmla="*/ 1590675 h 4429225"/>
                  <a:gd name="connsiteX77" fmla="*/ 135277 w 4519987"/>
                  <a:gd name="connsiteY77" fmla="*/ 1504950 h 4429225"/>
                  <a:gd name="connsiteX78" fmla="*/ 154327 w 4519987"/>
                  <a:gd name="connsiteY78" fmla="*/ 1419225 h 4429225"/>
                  <a:gd name="connsiteX79" fmla="*/ 230527 w 4519987"/>
                  <a:gd name="connsiteY79" fmla="*/ 1276350 h 4429225"/>
                  <a:gd name="connsiteX80" fmla="*/ 240052 w 4519987"/>
                  <a:gd name="connsiteY80" fmla="*/ 1247775 h 4429225"/>
                  <a:gd name="connsiteX81" fmla="*/ 268627 w 4519987"/>
                  <a:gd name="connsiteY81" fmla="*/ 1200150 h 4429225"/>
                  <a:gd name="connsiteX82" fmla="*/ 287677 w 4519987"/>
                  <a:gd name="connsiteY82" fmla="*/ 1152525 h 4429225"/>
                  <a:gd name="connsiteX83" fmla="*/ 316252 w 4519987"/>
                  <a:gd name="connsiteY83" fmla="*/ 1114425 h 4429225"/>
                  <a:gd name="connsiteX84" fmla="*/ 363877 w 4519987"/>
                  <a:gd name="connsiteY84" fmla="*/ 1038225 h 4429225"/>
                  <a:gd name="connsiteX85" fmla="*/ 382927 w 4519987"/>
                  <a:gd name="connsiteY85" fmla="*/ 1009650 h 4429225"/>
                  <a:gd name="connsiteX86" fmla="*/ 440077 w 4519987"/>
                  <a:gd name="connsiteY86" fmla="*/ 904875 h 4429225"/>
                  <a:gd name="connsiteX87" fmla="*/ 478177 w 4519987"/>
                  <a:gd name="connsiteY87" fmla="*/ 857250 h 4429225"/>
                  <a:gd name="connsiteX88" fmla="*/ 497227 w 4519987"/>
                  <a:gd name="connsiteY88" fmla="*/ 828675 h 4429225"/>
                  <a:gd name="connsiteX89" fmla="*/ 535327 w 4519987"/>
                  <a:gd name="connsiteY89" fmla="*/ 800100 h 4429225"/>
                  <a:gd name="connsiteX90" fmla="*/ 602002 w 4519987"/>
                  <a:gd name="connsiteY90" fmla="*/ 733425 h 4429225"/>
                  <a:gd name="connsiteX91" fmla="*/ 668677 w 4519987"/>
                  <a:gd name="connsiteY91" fmla="*/ 676275 h 4429225"/>
                  <a:gd name="connsiteX92" fmla="*/ 697252 w 4519987"/>
                  <a:gd name="connsiteY92" fmla="*/ 657225 h 4429225"/>
                  <a:gd name="connsiteX93" fmla="*/ 840127 w 4519987"/>
                  <a:gd name="connsiteY93" fmla="*/ 533400 h 4429225"/>
                  <a:gd name="connsiteX94" fmla="*/ 887752 w 4519987"/>
                  <a:gd name="connsiteY94" fmla="*/ 504825 h 4429225"/>
                  <a:gd name="connsiteX95" fmla="*/ 1167152 w 4519987"/>
                  <a:gd name="connsiteY95" fmla="*/ 311150 h 4429225"/>
                  <a:gd name="connsiteX96" fmla="*/ 1268752 w 4519987"/>
                  <a:gd name="connsiteY96" fmla="*/ 285750 h 4429225"/>
                  <a:gd name="connsiteX97" fmla="*/ 1411627 w 4519987"/>
                  <a:gd name="connsiteY97" fmla="*/ 190500 h 4429225"/>
                  <a:gd name="connsiteX98" fmla="*/ 1449727 w 4519987"/>
                  <a:gd name="connsiteY98" fmla="*/ 161925 h 4429225"/>
                  <a:gd name="connsiteX99" fmla="*/ 1525927 w 4519987"/>
                  <a:gd name="connsiteY99" fmla="*/ 152400 h 4429225"/>
                  <a:gd name="connsiteX100" fmla="*/ 1583077 w 4519987"/>
                  <a:gd name="connsiteY100" fmla="*/ 142875 h 4429225"/>
                  <a:gd name="connsiteX101" fmla="*/ 1716427 w 4519987"/>
                  <a:gd name="connsiteY101" fmla="*/ 123825 h 4429225"/>
                  <a:gd name="connsiteX102" fmla="*/ 1811677 w 4519987"/>
                  <a:gd name="connsiteY102" fmla="*/ 114300 h 4429225"/>
                  <a:gd name="connsiteX103" fmla="*/ 1859302 w 4519987"/>
                  <a:gd name="connsiteY103" fmla="*/ 104775 h 4429225"/>
                  <a:gd name="connsiteX104" fmla="*/ 1916452 w 4519987"/>
                  <a:gd name="connsiteY104" fmla="*/ 95250 h 4429225"/>
                  <a:gd name="connsiteX105" fmla="*/ 2030752 w 4519987"/>
                  <a:gd name="connsiteY105" fmla="*/ 66675 h 4429225"/>
                  <a:gd name="connsiteX106" fmla="*/ 2097427 w 4519987"/>
                  <a:gd name="connsiteY106" fmla="*/ 47625 h 4429225"/>
                  <a:gd name="connsiteX107" fmla="*/ 2164102 w 4519987"/>
                  <a:gd name="connsiteY107" fmla="*/ 38100 h 4429225"/>
                  <a:gd name="connsiteX108" fmla="*/ 2392702 w 4519987"/>
                  <a:gd name="connsiteY108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640102 w 4519987"/>
                  <a:gd name="connsiteY51" fmla="*/ 3781425 h 4429225"/>
                  <a:gd name="connsiteX52" fmla="*/ 611527 w 4519987"/>
                  <a:gd name="connsiteY52" fmla="*/ 3733800 h 4429225"/>
                  <a:gd name="connsiteX53" fmla="*/ 554377 w 4519987"/>
                  <a:gd name="connsiteY53" fmla="*/ 3657600 h 4429225"/>
                  <a:gd name="connsiteX54" fmla="*/ 525802 w 4519987"/>
                  <a:gd name="connsiteY54" fmla="*/ 3609975 h 4429225"/>
                  <a:gd name="connsiteX55" fmla="*/ 497227 w 4519987"/>
                  <a:gd name="connsiteY55" fmla="*/ 3552825 h 4429225"/>
                  <a:gd name="connsiteX56" fmla="*/ 440077 w 4519987"/>
                  <a:gd name="connsiteY56" fmla="*/ 3495675 h 4429225"/>
                  <a:gd name="connsiteX57" fmla="*/ 411502 w 4519987"/>
                  <a:gd name="connsiteY57" fmla="*/ 3448050 h 4429225"/>
                  <a:gd name="connsiteX58" fmla="*/ 278152 w 4519987"/>
                  <a:gd name="connsiteY58" fmla="*/ 3257550 h 4429225"/>
                  <a:gd name="connsiteX59" fmla="*/ 249577 w 4519987"/>
                  <a:gd name="connsiteY59" fmla="*/ 3200400 h 4429225"/>
                  <a:gd name="connsiteX60" fmla="*/ 240052 w 4519987"/>
                  <a:gd name="connsiteY60" fmla="*/ 3162300 h 4429225"/>
                  <a:gd name="connsiteX61" fmla="*/ 221002 w 4519987"/>
                  <a:gd name="connsiteY61" fmla="*/ 3105150 h 4429225"/>
                  <a:gd name="connsiteX62" fmla="*/ 173377 w 4519987"/>
                  <a:gd name="connsiteY62" fmla="*/ 3019425 h 4429225"/>
                  <a:gd name="connsiteX63" fmla="*/ 144802 w 4519987"/>
                  <a:gd name="connsiteY63" fmla="*/ 2924175 h 4429225"/>
                  <a:gd name="connsiteX64" fmla="*/ 68602 w 4519987"/>
                  <a:gd name="connsiteY64" fmla="*/ 2724150 h 4429225"/>
                  <a:gd name="connsiteX65" fmla="*/ 49552 w 4519987"/>
                  <a:gd name="connsiteY65" fmla="*/ 2638425 h 4429225"/>
                  <a:gd name="connsiteX66" fmla="*/ 40027 w 4519987"/>
                  <a:gd name="connsiteY66" fmla="*/ 2562225 h 4429225"/>
                  <a:gd name="connsiteX67" fmla="*/ 30502 w 4519987"/>
                  <a:gd name="connsiteY67" fmla="*/ 2514600 h 4429225"/>
                  <a:gd name="connsiteX68" fmla="*/ 11452 w 4519987"/>
                  <a:gd name="connsiteY68" fmla="*/ 2400300 h 4429225"/>
                  <a:gd name="connsiteX69" fmla="*/ 20977 w 4519987"/>
                  <a:gd name="connsiteY69" fmla="*/ 1905000 h 4429225"/>
                  <a:gd name="connsiteX70" fmla="*/ 30502 w 4519987"/>
                  <a:gd name="connsiteY70" fmla="*/ 1838325 h 4429225"/>
                  <a:gd name="connsiteX71" fmla="*/ 49552 w 4519987"/>
                  <a:gd name="connsiteY71" fmla="*/ 1781175 h 4429225"/>
                  <a:gd name="connsiteX72" fmla="*/ 59077 w 4519987"/>
                  <a:gd name="connsiteY72" fmla="*/ 1743075 h 4429225"/>
                  <a:gd name="connsiteX73" fmla="*/ 78127 w 4519987"/>
                  <a:gd name="connsiteY73" fmla="*/ 1685925 h 4429225"/>
                  <a:gd name="connsiteX74" fmla="*/ 87652 w 4519987"/>
                  <a:gd name="connsiteY74" fmla="*/ 1638300 h 4429225"/>
                  <a:gd name="connsiteX75" fmla="*/ 106702 w 4519987"/>
                  <a:gd name="connsiteY75" fmla="*/ 1590675 h 4429225"/>
                  <a:gd name="connsiteX76" fmla="*/ 135277 w 4519987"/>
                  <a:gd name="connsiteY76" fmla="*/ 1504950 h 4429225"/>
                  <a:gd name="connsiteX77" fmla="*/ 154327 w 4519987"/>
                  <a:gd name="connsiteY77" fmla="*/ 1419225 h 4429225"/>
                  <a:gd name="connsiteX78" fmla="*/ 230527 w 4519987"/>
                  <a:gd name="connsiteY78" fmla="*/ 1276350 h 4429225"/>
                  <a:gd name="connsiteX79" fmla="*/ 240052 w 4519987"/>
                  <a:gd name="connsiteY79" fmla="*/ 1247775 h 4429225"/>
                  <a:gd name="connsiteX80" fmla="*/ 268627 w 4519987"/>
                  <a:gd name="connsiteY80" fmla="*/ 1200150 h 4429225"/>
                  <a:gd name="connsiteX81" fmla="*/ 287677 w 4519987"/>
                  <a:gd name="connsiteY81" fmla="*/ 1152525 h 4429225"/>
                  <a:gd name="connsiteX82" fmla="*/ 316252 w 4519987"/>
                  <a:gd name="connsiteY82" fmla="*/ 1114425 h 4429225"/>
                  <a:gd name="connsiteX83" fmla="*/ 363877 w 4519987"/>
                  <a:gd name="connsiteY83" fmla="*/ 1038225 h 4429225"/>
                  <a:gd name="connsiteX84" fmla="*/ 382927 w 4519987"/>
                  <a:gd name="connsiteY84" fmla="*/ 1009650 h 4429225"/>
                  <a:gd name="connsiteX85" fmla="*/ 440077 w 4519987"/>
                  <a:gd name="connsiteY85" fmla="*/ 904875 h 4429225"/>
                  <a:gd name="connsiteX86" fmla="*/ 478177 w 4519987"/>
                  <a:gd name="connsiteY86" fmla="*/ 857250 h 4429225"/>
                  <a:gd name="connsiteX87" fmla="*/ 497227 w 4519987"/>
                  <a:gd name="connsiteY87" fmla="*/ 828675 h 4429225"/>
                  <a:gd name="connsiteX88" fmla="*/ 535327 w 4519987"/>
                  <a:gd name="connsiteY88" fmla="*/ 800100 h 4429225"/>
                  <a:gd name="connsiteX89" fmla="*/ 602002 w 4519987"/>
                  <a:gd name="connsiteY89" fmla="*/ 733425 h 4429225"/>
                  <a:gd name="connsiteX90" fmla="*/ 668677 w 4519987"/>
                  <a:gd name="connsiteY90" fmla="*/ 676275 h 4429225"/>
                  <a:gd name="connsiteX91" fmla="*/ 697252 w 4519987"/>
                  <a:gd name="connsiteY91" fmla="*/ 657225 h 4429225"/>
                  <a:gd name="connsiteX92" fmla="*/ 840127 w 4519987"/>
                  <a:gd name="connsiteY92" fmla="*/ 533400 h 4429225"/>
                  <a:gd name="connsiteX93" fmla="*/ 887752 w 4519987"/>
                  <a:gd name="connsiteY93" fmla="*/ 504825 h 4429225"/>
                  <a:gd name="connsiteX94" fmla="*/ 1167152 w 4519987"/>
                  <a:gd name="connsiteY94" fmla="*/ 311150 h 4429225"/>
                  <a:gd name="connsiteX95" fmla="*/ 1268752 w 4519987"/>
                  <a:gd name="connsiteY95" fmla="*/ 285750 h 4429225"/>
                  <a:gd name="connsiteX96" fmla="*/ 1411627 w 4519987"/>
                  <a:gd name="connsiteY96" fmla="*/ 190500 h 4429225"/>
                  <a:gd name="connsiteX97" fmla="*/ 1449727 w 4519987"/>
                  <a:gd name="connsiteY97" fmla="*/ 161925 h 4429225"/>
                  <a:gd name="connsiteX98" fmla="*/ 1525927 w 4519987"/>
                  <a:gd name="connsiteY98" fmla="*/ 152400 h 4429225"/>
                  <a:gd name="connsiteX99" fmla="*/ 1583077 w 4519987"/>
                  <a:gd name="connsiteY99" fmla="*/ 142875 h 4429225"/>
                  <a:gd name="connsiteX100" fmla="*/ 1716427 w 4519987"/>
                  <a:gd name="connsiteY100" fmla="*/ 123825 h 4429225"/>
                  <a:gd name="connsiteX101" fmla="*/ 1811677 w 4519987"/>
                  <a:gd name="connsiteY101" fmla="*/ 114300 h 4429225"/>
                  <a:gd name="connsiteX102" fmla="*/ 1859302 w 4519987"/>
                  <a:gd name="connsiteY102" fmla="*/ 104775 h 4429225"/>
                  <a:gd name="connsiteX103" fmla="*/ 1916452 w 4519987"/>
                  <a:gd name="connsiteY103" fmla="*/ 95250 h 4429225"/>
                  <a:gd name="connsiteX104" fmla="*/ 2030752 w 4519987"/>
                  <a:gd name="connsiteY104" fmla="*/ 66675 h 4429225"/>
                  <a:gd name="connsiteX105" fmla="*/ 2097427 w 4519987"/>
                  <a:gd name="connsiteY105" fmla="*/ 47625 h 4429225"/>
                  <a:gd name="connsiteX106" fmla="*/ 2164102 w 4519987"/>
                  <a:gd name="connsiteY106" fmla="*/ 38100 h 4429225"/>
                  <a:gd name="connsiteX107" fmla="*/ 2392702 w 4519987"/>
                  <a:gd name="connsiteY107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611527 w 4519987"/>
                  <a:gd name="connsiteY51" fmla="*/ 3733800 h 4429225"/>
                  <a:gd name="connsiteX52" fmla="*/ 554377 w 4519987"/>
                  <a:gd name="connsiteY52" fmla="*/ 3657600 h 4429225"/>
                  <a:gd name="connsiteX53" fmla="*/ 525802 w 4519987"/>
                  <a:gd name="connsiteY53" fmla="*/ 3609975 h 4429225"/>
                  <a:gd name="connsiteX54" fmla="*/ 497227 w 4519987"/>
                  <a:gd name="connsiteY54" fmla="*/ 3552825 h 4429225"/>
                  <a:gd name="connsiteX55" fmla="*/ 440077 w 4519987"/>
                  <a:gd name="connsiteY55" fmla="*/ 3495675 h 4429225"/>
                  <a:gd name="connsiteX56" fmla="*/ 411502 w 4519987"/>
                  <a:gd name="connsiteY56" fmla="*/ 3448050 h 4429225"/>
                  <a:gd name="connsiteX57" fmla="*/ 278152 w 4519987"/>
                  <a:gd name="connsiteY57" fmla="*/ 3257550 h 4429225"/>
                  <a:gd name="connsiteX58" fmla="*/ 249577 w 4519987"/>
                  <a:gd name="connsiteY58" fmla="*/ 3200400 h 4429225"/>
                  <a:gd name="connsiteX59" fmla="*/ 240052 w 4519987"/>
                  <a:gd name="connsiteY59" fmla="*/ 3162300 h 4429225"/>
                  <a:gd name="connsiteX60" fmla="*/ 221002 w 4519987"/>
                  <a:gd name="connsiteY60" fmla="*/ 3105150 h 4429225"/>
                  <a:gd name="connsiteX61" fmla="*/ 173377 w 4519987"/>
                  <a:gd name="connsiteY61" fmla="*/ 3019425 h 4429225"/>
                  <a:gd name="connsiteX62" fmla="*/ 144802 w 4519987"/>
                  <a:gd name="connsiteY62" fmla="*/ 2924175 h 4429225"/>
                  <a:gd name="connsiteX63" fmla="*/ 68602 w 4519987"/>
                  <a:gd name="connsiteY63" fmla="*/ 2724150 h 4429225"/>
                  <a:gd name="connsiteX64" fmla="*/ 49552 w 4519987"/>
                  <a:gd name="connsiteY64" fmla="*/ 2638425 h 4429225"/>
                  <a:gd name="connsiteX65" fmla="*/ 40027 w 4519987"/>
                  <a:gd name="connsiteY65" fmla="*/ 2562225 h 4429225"/>
                  <a:gd name="connsiteX66" fmla="*/ 30502 w 4519987"/>
                  <a:gd name="connsiteY66" fmla="*/ 2514600 h 4429225"/>
                  <a:gd name="connsiteX67" fmla="*/ 11452 w 4519987"/>
                  <a:gd name="connsiteY67" fmla="*/ 2400300 h 4429225"/>
                  <a:gd name="connsiteX68" fmla="*/ 20977 w 4519987"/>
                  <a:gd name="connsiteY68" fmla="*/ 1905000 h 4429225"/>
                  <a:gd name="connsiteX69" fmla="*/ 30502 w 4519987"/>
                  <a:gd name="connsiteY69" fmla="*/ 1838325 h 4429225"/>
                  <a:gd name="connsiteX70" fmla="*/ 49552 w 4519987"/>
                  <a:gd name="connsiteY70" fmla="*/ 1781175 h 4429225"/>
                  <a:gd name="connsiteX71" fmla="*/ 59077 w 4519987"/>
                  <a:gd name="connsiteY71" fmla="*/ 1743075 h 4429225"/>
                  <a:gd name="connsiteX72" fmla="*/ 78127 w 4519987"/>
                  <a:gd name="connsiteY72" fmla="*/ 1685925 h 4429225"/>
                  <a:gd name="connsiteX73" fmla="*/ 87652 w 4519987"/>
                  <a:gd name="connsiteY73" fmla="*/ 1638300 h 4429225"/>
                  <a:gd name="connsiteX74" fmla="*/ 106702 w 4519987"/>
                  <a:gd name="connsiteY74" fmla="*/ 1590675 h 4429225"/>
                  <a:gd name="connsiteX75" fmla="*/ 135277 w 4519987"/>
                  <a:gd name="connsiteY75" fmla="*/ 1504950 h 4429225"/>
                  <a:gd name="connsiteX76" fmla="*/ 154327 w 4519987"/>
                  <a:gd name="connsiteY76" fmla="*/ 1419225 h 4429225"/>
                  <a:gd name="connsiteX77" fmla="*/ 230527 w 4519987"/>
                  <a:gd name="connsiteY77" fmla="*/ 1276350 h 4429225"/>
                  <a:gd name="connsiteX78" fmla="*/ 240052 w 4519987"/>
                  <a:gd name="connsiteY78" fmla="*/ 1247775 h 4429225"/>
                  <a:gd name="connsiteX79" fmla="*/ 268627 w 4519987"/>
                  <a:gd name="connsiteY79" fmla="*/ 1200150 h 4429225"/>
                  <a:gd name="connsiteX80" fmla="*/ 287677 w 4519987"/>
                  <a:gd name="connsiteY80" fmla="*/ 1152525 h 4429225"/>
                  <a:gd name="connsiteX81" fmla="*/ 316252 w 4519987"/>
                  <a:gd name="connsiteY81" fmla="*/ 1114425 h 4429225"/>
                  <a:gd name="connsiteX82" fmla="*/ 363877 w 4519987"/>
                  <a:gd name="connsiteY82" fmla="*/ 1038225 h 4429225"/>
                  <a:gd name="connsiteX83" fmla="*/ 382927 w 4519987"/>
                  <a:gd name="connsiteY83" fmla="*/ 1009650 h 4429225"/>
                  <a:gd name="connsiteX84" fmla="*/ 440077 w 4519987"/>
                  <a:gd name="connsiteY84" fmla="*/ 904875 h 4429225"/>
                  <a:gd name="connsiteX85" fmla="*/ 478177 w 4519987"/>
                  <a:gd name="connsiteY85" fmla="*/ 857250 h 4429225"/>
                  <a:gd name="connsiteX86" fmla="*/ 497227 w 4519987"/>
                  <a:gd name="connsiteY86" fmla="*/ 828675 h 4429225"/>
                  <a:gd name="connsiteX87" fmla="*/ 535327 w 4519987"/>
                  <a:gd name="connsiteY87" fmla="*/ 800100 h 4429225"/>
                  <a:gd name="connsiteX88" fmla="*/ 602002 w 4519987"/>
                  <a:gd name="connsiteY88" fmla="*/ 733425 h 4429225"/>
                  <a:gd name="connsiteX89" fmla="*/ 668677 w 4519987"/>
                  <a:gd name="connsiteY89" fmla="*/ 676275 h 4429225"/>
                  <a:gd name="connsiteX90" fmla="*/ 697252 w 4519987"/>
                  <a:gd name="connsiteY90" fmla="*/ 657225 h 4429225"/>
                  <a:gd name="connsiteX91" fmla="*/ 840127 w 4519987"/>
                  <a:gd name="connsiteY91" fmla="*/ 533400 h 4429225"/>
                  <a:gd name="connsiteX92" fmla="*/ 887752 w 4519987"/>
                  <a:gd name="connsiteY92" fmla="*/ 504825 h 4429225"/>
                  <a:gd name="connsiteX93" fmla="*/ 1167152 w 4519987"/>
                  <a:gd name="connsiteY93" fmla="*/ 311150 h 4429225"/>
                  <a:gd name="connsiteX94" fmla="*/ 1268752 w 4519987"/>
                  <a:gd name="connsiteY94" fmla="*/ 285750 h 4429225"/>
                  <a:gd name="connsiteX95" fmla="*/ 1411627 w 4519987"/>
                  <a:gd name="connsiteY95" fmla="*/ 190500 h 4429225"/>
                  <a:gd name="connsiteX96" fmla="*/ 1449727 w 4519987"/>
                  <a:gd name="connsiteY96" fmla="*/ 161925 h 4429225"/>
                  <a:gd name="connsiteX97" fmla="*/ 1525927 w 4519987"/>
                  <a:gd name="connsiteY97" fmla="*/ 152400 h 4429225"/>
                  <a:gd name="connsiteX98" fmla="*/ 1583077 w 4519987"/>
                  <a:gd name="connsiteY98" fmla="*/ 142875 h 4429225"/>
                  <a:gd name="connsiteX99" fmla="*/ 1716427 w 4519987"/>
                  <a:gd name="connsiteY99" fmla="*/ 123825 h 4429225"/>
                  <a:gd name="connsiteX100" fmla="*/ 1811677 w 4519987"/>
                  <a:gd name="connsiteY100" fmla="*/ 114300 h 4429225"/>
                  <a:gd name="connsiteX101" fmla="*/ 1859302 w 4519987"/>
                  <a:gd name="connsiteY101" fmla="*/ 104775 h 4429225"/>
                  <a:gd name="connsiteX102" fmla="*/ 1916452 w 4519987"/>
                  <a:gd name="connsiteY102" fmla="*/ 95250 h 4429225"/>
                  <a:gd name="connsiteX103" fmla="*/ 2030752 w 4519987"/>
                  <a:gd name="connsiteY103" fmla="*/ 66675 h 4429225"/>
                  <a:gd name="connsiteX104" fmla="*/ 2097427 w 4519987"/>
                  <a:gd name="connsiteY104" fmla="*/ 47625 h 4429225"/>
                  <a:gd name="connsiteX105" fmla="*/ 2164102 w 4519987"/>
                  <a:gd name="connsiteY105" fmla="*/ 38100 h 4429225"/>
                  <a:gd name="connsiteX106" fmla="*/ 2392702 w 4519987"/>
                  <a:gd name="connsiteY106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525802 w 4519987"/>
                  <a:gd name="connsiteY52" fmla="*/ 3609975 h 4429225"/>
                  <a:gd name="connsiteX53" fmla="*/ 497227 w 4519987"/>
                  <a:gd name="connsiteY53" fmla="*/ 3552825 h 4429225"/>
                  <a:gd name="connsiteX54" fmla="*/ 440077 w 4519987"/>
                  <a:gd name="connsiteY54" fmla="*/ 3495675 h 4429225"/>
                  <a:gd name="connsiteX55" fmla="*/ 411502 w 4519987"/>
                  <a:gd name="connsiteY55" fmla="*/ 3448050 h 4429225"/>
                  <a:gd name="connsiteX56" fmla="*/ 278152 w 4519987"/>
                  <a:gd name="connsiteY56" fmla="*/ 3257550 h 4429225"/>
                  <a:gd name="connsiteX57" fmla="*/ 249577 w 4519987"/>
                  <a:gd name="connsiteY57" fmla="*/ 3200400 h 4429225"/>
                  <a:gd name="connsiteX58" fmla="*/ 240052 w 4519987"/>
                  <a:gd name="connsiteY58" fmla="*/ 3162300 h 4429225"/>
                  <a:gd name="connsiteX59" fmla="*/ 221002 w 4519987"/>
                  <a:gd name="connsiteY59" fmla="*/ 3105150 h 4429225"/>
                  <a:gd name="connsiteX60" fmla="*/ 173377 w 4519987"/>
                  <a:gd name="connsiteY60" fmla="*/ 3019425 h 4429225"/>
                  <a:gd name="connsiteX61" fmla="*/ 144802 w 4519987"/>
                  <a:gd name="connsiteY61" fmla="*/ 2924175 h 4429225"/>
                  <a:gd name="connsiteX62" fmla="*/ 68602 w 4519987"/>
                  <a:gd name="connsiteY62" fmla="*/ 2724150 h 4429225"/>
                  <a:gd name="connsiteX63" fmla="*/ 49552 w 4519987"/>
                  <a:gd name="connsiteY63" fmla="*/ 2638425 h 4429225"/>
                  <a:gd name="connsiteX64" fmla="*/ 40027 w 4519987"/>
                  <a:gd name="connsiteY64" fmla="*/ 2562225 h 4429225"/>
                  <a:gd name="connsiteX65" fmla="*/ 30502 w 4519987"/>
                  <a:gd name="connsiteY65" fmla="*/ 2514600 h 4429225"/>
                  <a:gd name="connsiteX66" fmla="*/ 11452 w 4519987"/>
                  <a:gd name="connsiteY66" fmla="*/ 2400300 h 4429225"/>
                  <a:gd name="connsiteX67" fmla="*/ 20977 w 4519987"/>
                  <a:gd name="connsiteY67" fmla="*/ 1905000 h 4429225"/>
                  <a:gd name="connsiteX68" fmla="*/ 30502 w 4519987"/>
                  <a:gd name="connsiteY68" fmla="*/ 1838325 h 4429225"/>
                  <a:gd name="connsiteX69" fmla="*/ 49552 w 4519987"/>
                  <a:gd name="connsiteY69" fmla="*/ 1781175 h 4429225"/>
                  <a:gd name="connsiteX70" fmla="*/ 59077 w 4519987"/>
                  <a:gd name="connsiteY70" fmla="*/ 1743075 h 4429225"/>
                  <a:gd name="connsiteX71" fmla="*/ 78127 w 4519987"/>
                  <a:gd name="connsiteY71" fmla="*/ 1685925 h 4429225"/>
                  <a:gd name="connsiteX72" fmla="*/ 87652 w 4519987"/>
                  <a:gd name="connsiteY72" fmla="*/ 1638300 h 4429225"/>
                  <a:gd name="connsiteX73" fmla="*/ 106702 w 4519987"/>
                  <a:gd name="connsiteY73" fmla="*/ 1590675 h 4429225"/>
                  <a:gd name="connsiteX74" fmla="*/ 135277 w 4519987"/>
                  <a:gd name="connsiteY74" fmla="*/ 1504950 h 4429225"/>
                  <a:gd name="connsiteX75" fmla="*/ 154327 w 4519987"/>
                  <a:gd name="connsiteY75" fmla="*/ 1419225 h 4429225"/>
                  <a:gd name="connsiteX76" fmla="*/ 230527 w 4519987"/>
                  <a:gd name="connsiteY76" fmla="*/ 1276350 h 4429225"/>
                  <a:gd name="connsiteX77" fmla="*/ 240052 w 4519987"/>
                  <a:gd name="connsiteY77" fmla="*/ 1247775 h 4429225"/>
                  <a:gd name="connsiteX78" fmla="*/ 268627 w 4519987"/>
                  <a:gd name="connsiteY78" fmla="*/ 1200150 h 4429225"/>
                  <a:gd name="connsiteX79" fmla="*/ 287677 w 4519987"/>
                  <a:gd name="connsiteY79" fmla="*/ 1152525 h 4429225"/>
                  <a:gd name="connsiteX80" fmla="*/ 316252 w 4519987"/>
                  <a:gd name="connsiteY80" fmla="*/ 1114425 h 4429225"/>
                  <a:gd name="connsiteX81" fmla="*/ 363877 w 4519987"/>
                  <a:gd name="connsiteY81" fmla="*/ 1038225 h 4429225"/>
                  <a:gd name="connsiteX82" fmla="*/ 382927 w 4519987"/>
                  <a:gd name="connsiteY82" fmla="*/ 1009650 h 4429225"/>
                  <a:gd name="connsiteX83" fmla="*/ 440077 w 4519987"/>
                  <a:gd name="connsiteY83" fmla="*/ 904875 h 4429225"/>
                  <a:gd name="connsiteX84" fmla="*/ 478177 w 4519987"/>
                  <a:gd name="connsiteY84" fmla="*/ 857250 h 4429225"/>
                  <a:gd name="connsiteX85" fmla="*/ 497227 w 4519987"/>
                  <a:gd name="connsiteY85" fmla="*/ 828675 h 4429225"/>
                  <a:gd name="connsiteX86" fmla="*/ 535327 w 4519987"/>
                  <a:gd name="connsiteY86" fmla="*/ 800100 h 4429225"/>
                  <a:gd name="connsiteX87" fmla="*/ 602002 w 4519987"/>
                  <a:gd name="connsiteY87" fmla="*/ 733425 h 4429225"/>
                  <a:gd name="connsiteX88" fmla="*/ 668677 w 4519987"/>
                  <a:gd name="connsiteY88" fmla="*/ 676275 h 4429225"/>
                  <a:gd name="connsiteX89" fmla="*/ 697252 w 4519987"/>
                  <a:gd name="connsiteY89" fmla="*/ 657225 h 4429225"/>
                  <a:gd name="connsiteX90" fmla="*/ 840127 w 4519987"/>
                  <a:gd name="connsiteY90" fmla="*/ 533400 h 4429225"/>
                  <a:gd name="connsiteX91" fmla="*/ 887752 w 4519987"/>
                  <a:gd name="connsiteY91" fmla="*/ 504825 h 4429225"/>
                  <a:gd name="connsiteX92" fmla="*/ 1167152 w 4519987"/>
                  <a:gd name="connsiteY92" fmla="*/ 311150 h 4429225"/>
                  <a:gd name="connsiteX93" fmla="*/ 1268752 w 4519987"/>
                  <a:gd name="connsiteY93" fmla="*/ 285750 h 4429225"/>
                  <a:gd name="connsiteX94" fmla="*/ 1411627 w 4519987"/>
                  <a:gd name="connsiteY94" fmla="*/ 190500 h 4429225"/>
                  <a:gd name="connsiteX95" fmla="*/ 1449727 w 4519987"/>
                  <a:gd name="connsiteY95" fmla="*/ 161925 h 4429225"/>
                  <a:gd name="connsiteX96" fmla="*/ 1525927 w 4519987"/>
                  <a:gd name="connsiteY96" fmla="*/ 152400 h 4429225"/>
                  <a:gd name="connsiteX97" fmla="*/ 1583077 w 4519987"/>
                  <a:gd name="connsiteY97" fmla="*/ 142875 h 4429225"/>
                  <a:gd name="connsiteX98" fmla="*/ 1716427 w 4519987"/>
                  <a:gd name="connsiteY98" fmla="*/ 123825 h 4429225"/>
                  <a:gd name="connsiteX99" fmla="*/ 1811677 w 4519987"/>
                  <a:gd name="connsiteY99" fmla="*/ 114300 h 4429225"/>
                  <a:gd name="connsiteX100" fmla="*/ 1859302 w 4519987"/>
                  <a:gd name="connsiteY100" fmla="*/ 104775 h 4429225"/>
                  <a:gd name="connsiteX101" fmla="*/ 1916452 w 4519987"/>
                  <a:gd name="connsiteY101" fmla="*/ 95250 h 4429225"/>
                  <a:gd name="connsiteX102" fmla="*/ 2030752 w 4519987"/>
                  <a:gd name="connsiteY102" fmla="*/ 66675 h 4429225"/>
                  <a:gd name="connsiteX103" fmla="*/ 2097427 w 4519987"/>
                  <a:gd name="connsiteY103" fmla="*/ 47625 h 4429225"/>
                  <a:gd name="connsiteX104" fmla="*/ 2164102 w 4519987"/>
                  <a:gd name="connsiteY104" fmla="*/ 38100 h 4429225"/>
                  <a:gd name="connsiteX105" fmla="*/ 2392702 w 4519987"/>
                  <a:gd name="connsiteY105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497227 w 4519987"/>
                  <a:gd name="connsiteY52" fmla="*/ 3552825 h 4429225"/>
                  <a:gd name="connsiteX53" fmla="*/ 440077 w 4519987"/>
                  <a:gd name="connsiteY53" fmla="*/ 3495675 h 4429225"/>
                  <a:gd name="connsiteX54" fmla="*/ 411502 w 4519987"/>
                  <a:gd name="connsiteY54" fmla="*/ 3448050 h 4429225"/>
                  <a:gd name="connsiteX55" fmla="*/ 278152 w 4519987"/>
                  <a:gd name="connsiteY55" fmla="*/ 3257550 h 4429225"/>
                  <a:gd name="connsiteX56" fmla="*/ 249577 w 4519987"/>
                  <a:gd name="connsiteY56" fmla="*/ 3200400 h 4429225"/>
                  <a:gd name="connsiteX57" fmla="*/ 240052 w 4519987"/>
                  <a:gd name="connsiteY57" fmla="*/ 3162300 h 4429225"/>
                  <a:gd name="connsiteX58" fmla="*/ 221002 w 4519987"/>
                  <a:gd name="connsiteY58" fmla="*/ 3105150 h 4429225"/>
                  <a:gd name="connsiteX59" fmla="*/ 173377 w 4519987"/>
                  <a:gd name="connsiteY59" fmla="*/ 3019425 h 4429225"/>
                  <a:gd name="connsiteX60" fmla="*/ 144802 w 4519987"/>
                  <a:gd name="connsiteY60" fmla="*/ 2924175 h 4429225"/>
                  <a:gd name="connsiteX61" fmla="*/ 68602 w 4519987"/>
                  <a:gd name="connsiteY61" fmla="*/ 2724150 h 4429225"/>
                  <a:gd name="connsiteX62" fmla="*/ 49552 w 4519987"/>
                  <a:gd name="connsiteY62" fmla="*/ 2638425 h 4429225"/>
                  <a:gd name="connsiteX63" fmla="*/ 40027 w 4519987"/>
                  <a:gd name="connsiteY63" fmla="*/ 2562225 h 4429225"/>
                  <a:gd name="connsiteX64" fmla="*/ 30502 w 4519987"/>
                  <a:gd name="connsiteY64" fmla="*/ 2514600 h 4429225"/>
                  <a:gd name="connsiteX65" fmla="*/ 11452 w 4519987"/>
                  <a:gd name="connsiteY65" fmla="*/ 2400300 h 4429225"/>
                  <a:gd name="connsiteX66" fmla="*/ 20977 w 4519987"/>
                  <a:gd name="connsiteY66" fmla="*/ 1905000 h 4429225"/>
                  <a:gd name="connsiteX67" fmla="*/ 30502 w 4519987"/>
                  <a:gd name="connsiteY67" fmla="*/ 1838325 h 4429225"/>
                  <a:gd name="connsiteX68" fmla="*/ 49552 w 4519987"/>
                  <a:gd name="connsiteY68" fmla="*/ 1781175 h 4429225"/>
                  <a:gd name="connsiteX69" fmla="*/ 59077 w 4519987"/>
                  <a:gd name="connsiteY69" fmla="*/ 1743075 h 4429225"/>
                  <a:gd name="connsiteX70" fmla="*/ 78127 w 4519987"/>
                  <a:gd name="connsiteY70" fmla="*/ 1685925 h 4429225"/>
                  <a:gd name="connsiteX71" fmla="*/ 87652 w 4519987"/>
                  <a:gd name="connsiteY71" fmla="*/ 1638300 h 4429225"/>
                  <a:gd name="connsiteX72" fmla="*/ 106702 w 4519987"/>
                  <a:gd name="connsiteY72" fmla="*/ 1590675 h 4429225"/>
                  <a:gd name="connsiteX73" fmla="*/ 135277 w 4519987"/>
                  <a:gd name="connsiteY73" fmla="*/ 1504950 h 4429225"/>
                  <a:gd name="connsiteX74" fmla="*/ 154327 w 4519987"/>
                  <a:gd name="connsiteY74" fmla="*/ 1419225 h 4429225"/>
                  <a:gd name="connsiteX75" fmla="*/ 230527 w 4519987"/>
                  <a:gd name="connsiteY75" fmla="*/ 1276350 h 4429225"/>
                  <a:gd name="connsiteX76" fmla="*/ 240052 w 4519987"/>
                  <a:gd name="connsiteY76" fmla="*/ 1247775 h 4429225"/>
                  <a:gd name="connsiteX77" fmla="*/ 268627 w 4519987"/>
                  <a:gd name="connsiteY77" fmla="*/ 1200150 h 4429225"/>
                  <a:gd name="connsiteX78" fmla="*/ 287677 w 4519987"/>
                  <a:gd name="connsiteY78" fmla="*/ 1152525 h 4429225"/>
                  <a:gd name="connsiteX79" fmla="*/ 316252 w 4519987"/>
                  <a:gd name="connsiteY79" fmla="*/ 1114425 h 4429225"/>
                  <a:gd name="connsiteX80" fmla="*/ 363877 w 4519987"/>
                  <a:gd name="connsiteY80" fmla="*/ 1038225 h 4429225"/>
                  <a:gd name="connsiteX81" fmla="*/ 382927 w 4519987"/>
                  <a:gd name="connsiteY81" fmla="*/ 1009650 h 4429225"/>
                  <a:gd name="connsiteX82" fmla="*/ 440077 w 4519987"/>
                  <a:gd name="connsiteY82" fmla="*/ 904875 h 4429225"/>
                  <a:gd name="connsiteX83" fmla="*/ 478177 w 4519987"/>
                  <a:gd name="connsiteY83" fmla="*/ 857250 h 4429225"/>
                  <a:gd name="connsiteX84" fmla="*/ 497227 w 4519987"/>
                  <a:gd name="connsiteY84" fmla="*/ 828675 h 4429225"/>
                  <a:gd name="connsiteX85" fmla="*/ 535327 w 4519987"/>
                  <a:gd name="connsiteY85" fmla="*/ 800100 h 4429225"/>
                  <a:gd name="connsiteX86" fmla="*/ 602002 w 4519987"/>
                  <a:gd name="connsiteY86" fmla="*/ 733425 h 4429225"/>
                  <a:gd name="connsiteX87" fmla="*/ 668677 w 4519987"/>
                  <a:gd name="connsiteY87" fmla="*/ 676275 h 4429225"/>
                  <a:gd name="connsiteX88" fmla="*/ 697252 w 4519987"/>
                  <a:gd name="connsiteY88" fmla="*/ 657225 h 4429225"/>
                  <a:gd name="connsiteX89" fmla="*/ 840127 w 4519987"/>
                  <a:gd name="connsiteY89" fmla="*/ 533400 h 4429225"/>
                  <a:gd name="connsiteX90" fmla="*/ 887752 w 4519987"/>
                  <a:gd name="connsiteY90" fmla="*/ 504825 h 4429225"/>
                  <a:gd name="connsiteX91" fmla="*/ 1167152 w 4519987"/>
                  <a:gd name="connsiteY91" fmla="*/ 311150 h 4429225"/>
                  <a:gd name="connsiteX92" fmla="*/ 1268752 w 4519987"/>
                  <a:gd name="connsiteY92" fmla="*/ 285750 h 4429225"/>
                  <a:gd name="connsiteX93" fmla="*/ 1411627 w 4519987"/>
                  <a:gd name="connsiteY93" fmla="*/ 190500 h 4429225"/>
                  <a:gd name="connsiteX94" fmla="*/ 1449727 w 4519987"/>
                  <a:gd name="connsiteY94" fmla="*/ 161925 h 4429225"/>
                  <a:gd name="connsiteX95" fmla="*/ 1525927 w 4519987"/>
                  <a:gd name="connsiteY95" fmla="*/ 152400 h 4429225"/>
                  <a:gd name="connsiteX96" fmla="*/ 1583077 w 4519987"/>
                  <a:gd name="connsiteY96" fmla="*/ 142875 h 4429225"/>
                  <a:gd name="connsiteX97" fmla="*/ 1716427 w 4519987"/>
                  <a:gd name="connsiteY97" fmla="*/ 123825 h 4429225"/>
                  <a:gd name="connsiteX98" fmla="*/ 1811677 w 4519987"/>
                  <a:gd name="connsiteY98" fmla="*/ 114300 h 4429225"/>
                  <a:gd name="connsiteX99" fmla="*/ 1859302 w 4519987"/>
                  <a:gd name="connsiteY99" fmla="*/ 104775 h 4429225"/>
                  <a:gd name="connsiteX100" fmla="*/ 1916452 w 4519987"/>
                  <a:gd name="connsiteY100" fmla="*/ 95250 h 4429225"/>
                  <a:gd name="connsiteX101" fmla="*/ 2030752 w 4519987"/>
                  <a:gd name="connsiteY101" fmla="*/ 66675 h 4429225"/>
                  <a:gd name="connsiteX102" fmla="*/ 2097427 w 4519987"/>
                  <a:gd name="connsiteY102" fmla="*/ 47625 h 4429225"/>
                  <a:gd name="connsiteX103" fmla="*/ 2164102 w 4519987"/>
                  <a:gd name="connsiteY103" fmla="*/ 38100 h 4429225"/>
                  <a:gd name="connsiteX104" fmla="*/ 2392702 w 4519987"/>
                  <a:gd name="connsiteY104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497227 w 4519987"/>
                  <a:gd name="connsiteY52" fmla="*/ 3552825 h 4429225"/>
                  <a:gd name="connsiteX53" fmla="*/ 440077 w 4519987"/>
                  <a:gd name="connsiteY53" fmla="*/ 3495675 h 4429225"/>
                  <a:gd name="connsiteX54" fmla="*/ 278152 w 4519987"/>
                  <a:gd name="connsiteY54" fmla="*/ 3257550 h 4429225"/>
                  <a:gd name="connsiteX55" fmla="*/ 249577 w 4519987"/>
                  <a:gd name="connsiteY55" fmla="*/ 3200400 h 4429225"/>
                  <a:gd name="connsiteX56" fmla="*/ 240052 w 4519987"/>
                  <a:gd name="connsiteY56" fmla="*/ 3162300 h 4429225"/>
                  <a:gd name="connsiteX57" fmla="*/ 221002 w 4519987"/>
                  <a:gd name="connsiteY57" fmla="*/ 3105150 h 4429225"/>
                  <a:gd name="connsiteX58" fmla="*/ 173377 w 4519987"/>
                  <a:gd name="connsiteY58" fmla="*/ 3019425 h 4429225"/>
                  <a:gd name="connsiteX59" fmla="*/ 144802 w 4519987"/>
                  <a:gd name="connsiteY59" fmla="*/ 2924175 h 4429225"/>
                  <a:gd name="connsiteX60" fmla="*/ 68602 w 4519987"/>
                  <a:gd name="connsiteY60" fmla="*/ 2724150 h 4429225"/>
                  <a:gd name="connsiteX61" fmla="*/ 49552 w 4519987"/>
                  <a:gd name="connsiteY61" fmla="*/ 2638425 h 4429225"/>
                  <a:gd name="connsiteX62" fmla="*/ 40027 w 4519987"/>
                  <a:gd name="connsiteY62" fmla="*/ 2562225 h 4429225"/>
                  <a:gd name="connsiteX63" fmla="*/ 30502 w 4519987"/>
                  <a:gd name="connsiteY63" fmla="*/ 2514600 h 4429225"/>
                  <a:gd name="connsiteX64" fmla="*/ 11452 w 4519987"/>
                  <a:gd name="connsiteY64" fmla="*/ 2400300 h 4429225"/>
                  <a:gd name="connsiteX65" fmla="*/ 20977 w 4519987"/>
                  <a:gd name="connsiteY65" fmla="*/ 1905000 h 4429225"/>
                  <a:gd name="connsiteX66" fmla="*/ 30502 w 4519987"/>
                  <a:gd name="connsiteY66" fmla="*/ 1838325 h 4429225"/>
                  <a:gd name="connsiteX67" fmla="*/ 49552 w 4519987"/>
                  <a:gd name="connsiteY67" fmla="*/ 1781175 h 4429225"/>
                  <a:gd name="connsiteX68" fmla="*/ 59077 w 4519987"/>
                  <a:gd name="connsiteY68" fmla="*/ 1743075 h 4429225"/>
                  <a:gd name="connsiteX69" fmla="*/ 78127 w 4519987"/>
                  <a:gd name="connsiteY69" fmla="*/ 1685925 h 4429225"/>
                  <a:gd name="connsiteX70" fmla="*/ 87652 w 4519987"/>
                  <a:gd name="connsiteY70" fmla="*/ 1638300 h 4429225"/>
                  <a:gd name="connsiteX71" fmla="*/ 106702 w 4519987"/>
                  <a:gd name="connsiteY71" fmla="*/ 1590675 h 4429225"/>
                  <a:gd name="connsiteX72" fmla="*/ 135277 w 4519987"/>
                  <a:gd name="connsiteY72" fmla="*/ 1504950 h 4429225"/>
                  <a:gd name="connsiteX73" fmla="*/ 154327 w 4519987"/>
                  <a:gd name="connsiteY73" fmla="*/ 1419225 h 4429225"/>
                  <a:gd name="connsiteX74" fmla="*/ 230527 w 4519987"/>
                  <a:gd name="connsiteY74" fmla="*/ 1276350 h 4429225"/>
                  <a:gd name="connsiteX75" fmla="*/ 240052 w 4519987"/>
                  <a:gd name="connsiteY75" fmla="*/ 1247775 h 4429225"/>
                  <a:gd name="connsiteX76" fmla="*/ 268627 w 4519987"/>
                  <a:gd name="connsiteY76" fmla="*/ 1200150 h 4429225"/>
                  <a:gd name="connsiteX77" fmla="*/ 287677 w 4519987"/>
                  <a:gd name="connsiteY77" fmla="*/ 1152525 h 4429225"/>
                  <a:gd name="connsiteX78" fmla="*/ 316252 w 4519987"/>
                  <a:gd name="connsiteY78" fmla="*/ 1114425 h 4429225"/>
                  <a:gd name="connsiteX79" fmla="*/ 363877 w 4519987"/>
                  <a:gd name="connsiteY79" fmla="*/ 1038225 h 4429225"/>
                  <a:gd name="connsiteX80" fmla="*/ 382927 w 4519987"/>
                  <a:gd name="connsiteY80" fmla="*/ 1009650 h 4429225"/>
                  <a:gd name="connsiteX81" fmla="*/ 440077 w 4519987"/>
                  <a:gd name="connsiteY81" fmla="*/ 904875 h 4429225"/>
                  <a:gd name="connsiteX82" fmla="*/ 478177 w 4519987"/>
                  <a:gd name="connsiteY82" fmla="*/ 857250 h 4429225"/>
                  <a:gd name="connsiteX83" fmla="*/ 497227 w 4519987"/>
                  <a:gd name="connsiteY83" fmla="*/ 828675 h 4429225"/>
                  <a:gd name="connsiteX84" fmla="*/ 535327 w 4519987"/>
                  <a:gd name="connsiteY84" fmla="*/ 800100 h 4429225"/>
                  <a:gd name="connsiteX85" fmla="*/ 602002 w 4519987"/>
                  <a:gd name="connsiteY85" fmla="*/ 733425 h 4429225"/>
                  <a:gd name="connsiteX86" fmla="*/ 668677 w 4519987"/>
                  <a:gd name="connsiteY86" fmla="*/ 676275 h 4429225"/>
                  <a:gd name="connsiteX87" fmla="*/ 697252 w 4519987"/>
                  <a:gd name="connsiteY87" fmla="*/ 657225 h 4429225"/>
                  <a:gd name="connsiteX88" fmla="*/ 840127 w 4519987"/>
                  <a:gd name="connsiteY88" fmla="*/ 533400 h 4429225"/>
                  <a:gd name="connsiteX89" fmla="*/ 887752 w 4519987"/>
                  <a:gd name="connsiteY89" fmla="*/ 504825 h 4429225"/>
                  <a:gd name="connsiteX90" fmla="*/ 1167152 w 4519987"/>
                  <a:gd name="connsiteY90" fmla="*/ 311150 h 4429225"/>
                  <a:gd name="connsiteX91" fmla="*/ 1268752 w 4519987"/>
                  <a:gd name="connsiteY91" fmla="*/ 285750 h 4429225"/>
                  <a:gd name="connsiteX92" fmla="*/ 1411627 w 4519987"/>
                  <a:gd name="connsiteY92" fmla="*/ 190500 h 4429225"/>
                  <a:gd name="connsiteX93" fmla="*/ 1449727 w 4519987"/>
                  <a:gd name="connsiteY93" fmla="*/ 161925 h 4429225"/>
                  <a:gd name="connsiteX94" fmla="*/ 1525927 w 4519987"/>
                  <a:gd name="connsiteY94" fmla="*/ 152400 h 4429225"/>
                  <a:gd name="connsiteX95" fmla="*/ 1583077 w 4519987"/>
                  <a:gd name="connsiteY95" fmla="*/ 142875 h 4429225"/>
                  <a:gd name="connsiteX96" fmla="*/ 1716427 w 4519987"/>
                  <a:gd name="connsiteY96" fmla="*/ 123825 h 4429225"/>
                  <a:gd name="connsiteX97" fmla="*/ 1811677 w 4519987"/>
                  <a:gd name="connsiteY97" fmla="*/ 114300 h 4429225"/>
                  <a:gd name="connsiteX98" fmla="*/ 1859302 w 4519987"/>
                  <a:gd name="connsiteY98" fmla="*/ 104775 h 4429225"/>
                  <a:gd name="connsiteX99" fmla="*/ 1916452 w 4519987"/>
                  <a:gd name="connsiteY99" fmla="*/ 95250 h 4429225"/>
                  <a:gd name="connsiteX100" fmla="*/ 2030752 w 4519987"/>
                  <a:gd name="connsiteY100" fmla="*/ 66675 h 4429225"/>
                  <a:gd name="connsiteX101" fmla="*/ 2097427 w 4519987"/>
                  <a:gd name="connsiteY101" fmla="*/ 47625 h 4429225"/>
                  <a:gd name="connsiteX102" fmla="*/ 2164102 w 4519987"/>
                  <a:gd name="connsiteY102" fmla="*/ 38100 h 4429225"/>
                  <a:gd name="connsiteX103" fmla="*/ 2392702 w 4519987"/>
                  <a:gd name="connsiteY103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440077 w 4519987"/>
                  <a:gd name="connsiteY52" fmla="*/ 3495675 h 4429225"/>
                  <a:gd name="connsiteX53" fmla="*/ 278152 w 4519987"/>
                  <a:gd name="connsiteY53" fmla="*/ 3257550 h 4429225"/>
                  <a:gd name="connsiteX54" fmla="*/ 249577 w 4519987"/>
                  <a:gd name="connsiteY54" fmla="*/ 3200400 h 4429225"/>
                  <a:gd name="connsiteX55" fmla="*/ 240052 w 4519987"/>
                  <a:gd name="connsiteY55" fmla="*/ 3162300 h 4429225"/>
                  <a:gd name="connsiteX56" fmla="*/ 221002 w 4519987"/>
                  <a:gd name="connsiteY56" fmla="*/ 3105150 h 4429225"/>
                  <a:gd name="connsiteX57" fmla="*/ 173377 w 4519987"/>
                  <a:gd name="connsiteY57" fmla="*/ 3019425 h 4429225"/>
                  <a:gd name="connsiteX58" fmla="*/ 144802 w 4519987"/>
                  <a:gd name="connsiteY58" fmla="*/ 2924175 h 4429225"/>
                  <a:gd name="connsiteX59" fmla="*/ 68602 w 4519987"/>
                  <a:gd name="connsiteY59" fmla="*/ 2724150 h 4429225"/>
                  <a:gd name="connsiteX60" fmla="*/ 49552 w 4519987"/>
                  <a:gd name="connsiteY60" fmla="*/ 2638425 h 4429225"/>
                  <a:gd name="connsiteX61" fmla="*/ 40027 w 4519987"/>
                  <a:gd name="connsiteY61" fmla="*/ 2562225 h 4429225"/>
                  <a:gd name="connsiteX62" fmla="*/ 30502 w 4519987"/>
                  <a:gd name="connsiteY62" fmla="*/ 2514600 h 4429225"/>
                  <a:gd name="connsiteX63" fmla="*/ 11452 w 4519987"/>
                  <a:gd name="connsiteY63" fmla="*/ 2400300 h 4429225"/>
                  <a:gd name="connsiteX64" fmla="*/ 20977 w 4519987"/>
                  <a:gd name="connsiteY64" fmla="*/ 1905000 h 4429225"/>
                  <a:gd name="connsiteX65" fmla="*/ 30502 w 4519987"/>
                  <a:gd name="connsiteY65" fmla="*/ 1838325 h 4429225"/>
                  <a:gd name="connsiteX66" fmla="*/ 49552 w 4519987"/>
                  <a:gd name="connsiteY66" fmla="*/ 1781175 h 4429225"/>
                  <a:gd name="connsiteX67" fmla="*/ 59077 w 4519987"/>
                  <a:gd name="connsiteY67" fmla="*/ 1743075 h 4429225"/>
                  <a:gd name="connsiteX68" fmla="*/ 78127 w 4519987"/>
                  <a:gd name="connsiteY68" fmla="*/ 1685925 h 4429225"/>
                  <a:gd name="connsiteX69" fmla="*/ 87652 w 4519987"/>
                  <a:gd name="connsiteY69" fmla="*/ 1638300 h 4429225"/>
                  <a:gd name="connsiteX70" fmla="*/ 106702 w 4519987"/>
                  <a:gd name="connsiteY70" fmla="*/ 1590675 h 4429225"/>
                  <a:gd name="connsiteX71" fmla="*/ 135277 w 4519987"/>
                  <a:gd name="connsiteY71" fmla="*/ 1504950 h 4429225"/>
                  <a:gd name="connsiteX72" fmla="*/ 154327 w 4519987"/>
                  <a:gd name="connsiteY72" fmla="*/ 1419225 h 4429225"/>
                  <a:gd name="connsiteX73" fmla="*/ 230527 w 4519987"/>
                  <a:gd name="connsiteY73" fmla="*/ 1276350 h 4429225"/>
                  <a:gd name="connsiteX74" fmla="*/ 240052 w 4519987"/>
                  <a:gd name="connsiteY74" fmla="*/ 1247775 h 4429225"/>
                  <a:gd name="connsiteX75" fmla="*/ 268627 w 4519987"/>
                  <a:gd name="connsiteY75" fmla="*/ 1200150 h 4429225"/>
                  <a:gd name="connsiteX76" fmla="*/ 287677 w 4519987"/>
                  <a:gd name="connsiteY76" fmla="*/ 1152525 h 4429225"/>
                  <a:gd name="connsiteX77" fmla="*/ 316252 w 4519987"/>
                  <a:gd name="connsiteY77" fmla="*/ 1114425 h 4429225"/>
                  <a:gd name="connsiteX78" fmla="*/ 363877 w 4519987"/>
                  <a:gd name="connsiteY78" fmla="*/ 1038225 h 4429225"/>
                  <a:gd name="connsiteX79" fmla="*/ 382927 w 4519987"/>
                  <a:gd name="connsiteY79" fmla="*/ 1009650 h 4429225"/>
                  <a:gd name="connsiteX80" fmla="*/ 440077 w 4519987"/>
                  <a:gd name="connsiteY80" fmla="*/ 904875 h 4429225"/>
                  <a:gd name="connsiteX81" fmla="*/ 478177 w 4519987"/>
                  <a:gd name="connsiteY81" fmla="*/ 857250 h 4429225"/>
                  <a:gd name="connsiteX82" fmla="*/ 497227 w 4519987"/>
                  <a:gd name="connsiteY82" fmla="*/ 828675 h 4429225"/>
                  <a:gd name="connsiteX83" fmla="*/ 535327 w 4519987"/>
                  <a:gd name="connsiteY83" fmla="*/ 800100 h 4429225"/>
                  <a:gd name="connsiteX84" fmla="*/ 602002 w 4519987"/>
                  <a:gd name="connsiteY84" fmla="*/ 733425 h 4429225"/>
                  <a:gd name="connsiteX85" fmla="*/ 668677 w 4519987"/>
                  <a:gd name="connsiteY85" fmla="*/ 676275 h 4429225"/>
                  <a:gd name="connsiteX86" fmla="*/ 697252 w 4519987"/>
                  <a:gd name="connsiteY86" fmla="*/ 657225 h 4429225"/>
                  <a:gd name="connsiteX87" fmla="*/ 840127 w 4519987"/>
                  <a:gd name="connsiteY87" fmla="*/ 533400 h 4429225"/>
                  <a:gd name="connsiteX88" fmla="*/ 887752 w 4519987"/>
                  <a:gd name="connsiteY88" fmla="*/ 504825 h 4429225"/>
                  <a:gd name="connsiteX89" fmla="*/ 1167152 w 4519987"/>
                  <a:gd name="connsiteY89" fmla="*/ 311150 h 4429225"/>
                  <a:gd name="connsiteX90" fmla="*/ 1268752 w 4519987"/>
                  <a:gd name="connsiteY90" fmla="*/ 285750 h 4429225"/>
                  <a:gd name="connsiteX91" fmla="*/ 1411627 w 4519987"/>
                  <a:gd name="connsiteY91" fmla="*/ 190500 h 4429225"/>
                  <a:gd name="connsiteX92" fmla="*/ 1449727 w 4519987"/>
                  <a:gd name="connsiteY92" fmla="*/ 161925 h 4429225"/>
                  <a:gd name="connsiteX93" fmla="*/ 1525927 w 4519987"/>
                  <a:gd name="connsiteY93" fmla="*/ 152400 h 4429225"/>
                  <a:gd name="connsiteX94" fmla="*/ 1583077 w 4519987"/>
                  <a:gd name="connsiteY94" fmla="*/ 142875 h 4429225"/>
                  <a:gd name="connsiteX95" fmla="*/ 1716427 w 4519987"/>
                  <a:gd name="connsiteY95" fmla="*/ 123825 h 4429225"/>
                  <a:gd name="connsiteX96" fmla="*/ 1811677 w 4519987"/>
                  <a:gd name="connsiteY96" fmla="*/ 114300 h 4429225"/>
                  <a:gd name="connsiteX97" fmla="*/ 1859302 w 4519987"/>
                  <a:gd name="connsiteY97" fmla="*/ 104775 h 4429225"/>
                  <a:gd name="connsiteX98" fmla="*/ 1916452 w 4519987"/>
                  <a:gd name="connsiteY98" fmla="*/ 95250 h 4429225"/>
                  <a:gd name="connsiteX99" fmla="*/ 2030752 w 4519987"/>
                  <a:gd name="connsiteY99" fmla="*/ 66675 h 4429225"/>
                  <a:gd name="connsiteX100" fmla="*/ 2097427 w 4519987"/>
                  <a:gd name="connsiteY100" fmla="*/ 47625 h 4429225"/>
                  <a:gd name="connsiteX101" fmla="*/ 2164102 w 4519987"/>
                  <a:gd name="connsiteY101" fmla="*/ 38100 h 4429225"/>
                  <a:gd name="connsiteX102" fmla="*/ 2392702 w 4519987"/>
                  <a:gd name="connsiteY102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49577 w 4519987"/>
                  <a:gd name="connsiteY53" fmla="*/ 3200400 h 4429225"/>
                  <a:gd name="connsiteX54" fmla="*/ 240052 w 4519987"/>
                  <a:gd name="connsiteY54" fmla="*/ 3162300 h 4429225"/>
                  <a:gd name="connsiteX55" fmla="*/ 221002 w 4519987"/>
                  <a:gd name="connsiteY55" fmla="*/ 3105150 h 4429225"/>
                  <a:gd name="connsiteX56" fmla="*/ 173377 w 4519987"/>
                  <a:gd name="connsiteY56" fmla="*/ 3019425 h 4429225"/>
                  <a:gd name="connsiteX57" fmla="*/ 144802 w 4519987"/>
                  <a:gd name="connsiteY57" fmla="*/ 2924175 h 4429225"/>
                  <a:gd name="connsiteX58" fmla="*/ 68602 w 4519987"/>
                  <a:gd name="connsiteY58" fmla="*/ 2724150 h 4429225"/>
                  <a:gd name="connsiteX59" fmla="*/ 49552 w 4519987"/>
                  <a:gd name="connsiteY59" fmla="*/ 2638425 h 4429225"/>
                  <a:gd name="connsiteX60" fmla="*/ 40027 w 4519987"/>
                  <a:gd name="connsiteY60" fmla="*/ 2562225 h 4429225"/>
                  <a:gd name="connsiteX61" fmla="*/ 30502 w 4519987"/>
                  <a:gd name="connsiteY61" fmla="*/ 2514600 h 4429225"/>
                  <a:gd name="connsiteX62" fmla="*/ 11452 w 4519987"/>
                  <a:gd name="connsiteY62" fmla="*/ 2400300 h 4429225"/>
                  <a:gd name="connsiteX63" fmla="*/ 20977 w 4519987"/>
                  <a:gd name="connsiteY63" fmla="*/ 1905000 h 4429225"/>
                  <a:gd name="connsiteX64" fmla="*/ 30502 w 4519987"/>
                  <a:gd name="connsiteY64" fmla="*/ 1838325 h 4429225"/>
                  <a:gd name="connsiteX65" fmla="*/ 49552 w 4519987"/>
                  <a:gd name="connsiteY65" fmla="*/ 1781175 h 4429225"/>
                  <a:gd name="connsiteX66" fmla="*/ 59077 w 4519987"/>
                  <a:gd name="connsiteY66" fmla="*/ 1743075 h 4429225"/>
                  <a:gd name="connsiteX67" fmla="*/ 78127 w 4519987"/>
                  <a:gd name="connsiteY67" fmla="*/ 1685925 h 4429225"/>
                  <a:gd name="connsiteX68" fmla="*/ 87652 w 4519987"/>
                  <a:gd name="connsiteY68" fmla="*/ 1638300 h 4429225"/>
                  <a:gd name="connsiteX69" fmla="*/ 106702 w 4519987"/>
                  <a:gd name="connsiteY69" fmla="*/ 1590675 h 4429225"/>
                  <a:gd name="connsiteX70" fmla="*/ 135277 w 4519987"/>
                  <a:gd name="connsiteY70" fmla="*/ 1504950 h 4429225"/>
                  <a:gd name="connsiteX71" fmla="*/ 154327 w 4519987"/>
                  <a:gd name="connsiteY71" fmla="*/ 1419225 h 4429225"/>
                  <a:gd name="connsiteX72" fmla="*/ 230527 w 4519987"/>
                  <a:gd name="connsiteY72" fmla="*/ 1276350 h 4429225"/>
                  <a:gd name="connsiteX73" fmla="*/ 240052 w 4519987"/>
                  <a:gd name="connsiteY73" fmla="*/ 1247775 h 4429225"/>
                  <a:gd name="connsiteX74" fmla="*/ 268627 w 4519987"/>
                  <a:gd name="connsiteY74" fmla="*/ 1200150 h 4429225"/>
                  <a:gd name="connsiteX75" fmla="*/ 287677 w 4519987"/>
                  <a:gd name="connsiteY75" fmla="*/ 1152525 h 4429225"/>
                  <a:gd name="connsiteX76" fmla="*/ 316252 w 4519987"/>
                  <a:gd name="connsiteY76" fmla="*/ 1114425 h 4429225"/>
                  <a:gd name="connsiteX77" fmla="*/ 363877 w 4519987"/>
                  <a:gd name="connsiteY77" fmla="*/ 1038225 h 4429225"/>
                  <a:gd name="connsiteX78" fmla="*/ 382927 w 4519987"/>
                  <a:gd name="connsiteY78" fmla="*/ 1009650 h 4429225"/>
                  <a:gd name="connsiteX79" fmla="*/ 440077 w 4519987"/>
                  <a:gd name="connsiteY79" fmla="*/ 904875 h 4429225"/>
                  <a:gd name="connsiteX80" fmla="*/ 478177 w 4519987"/>
                  <a:gd name="connsiteY80" fmla="*/ 857250 h 4429225"/>
                  <a:gd name="connsiteX81" fmla="*/ 497227 w 4519987"/>
                  <a:gd name="connsiteY81" fmla="*/ 828675 h 4429225"/>
                  <a:gd name="connsiteX82" fmla="*/ 535327 w 4519987"/>
                  <a:gd name="connsiteY82" fmla="*/ 800100 h 4429225"/>
                  <a:gd name="connsiteX83" fmla="*/ 602002 w 4519987"/>
                  <a:gd name="connsiteY83" fmla="*/ 733425 h 4429225"/>
                  <a:gd name="connsiteX84" fmla="*/ 668677 w 4519987"/>
                  <a:gd name="connsiteY84" fmla="*/ 676275 h 4429225"/>
                  <a:gd name="connsiteX85" fmla="*/ 697252 w 4519987"/>
                  <a:gd name="connsiteY85" fmla="*/ 657225 h 4429225"/>
                  <a:gd name="connsiteX86" fmla="*/ 840127 w 4519987"/>
                  <a:gd name="connsiteY86" fmla="*/ 533400 h 4429225"/>
                  <a:gd name="connsiteX87" fmla="*/ 887752 w 4519987"/>
                  <a:gd name="connsiteY87" fmla="*/ 504825 h 4429225"/>
                  <a:gd name="connsiteX88" fmla="*/ 1167152 w 4519987"/>
                  <a:gd name="connsiteY88" fmla="*/ 311150 h 4429225"/>
                  <a:gd name="connsiteX89" fmla="*/ 1268752 w 4519987"/>
                  <a:gd name="connsiteY89" fmla="*/ 285750 h 4429225"/>
                  <a:gd name="connsiteX90" fmla="*/ 1411627 w 4519987"/>
                  <a:gd name="connsiteY90" fmla="*/ 190500 h 4429225"/>
                  <a:gd name="connsiteX91" fmla="*/ 1449727 w 4519987"/>
                  <a:gd name="connsiteY91" fmla="*/ 161925 h 4429225"/>
                  <a:gd name="connsiteX92" fmla="*/ 1525927 w 4519987"/>
                  <a:gd name="connsiteY92" fmla="*/ 152400 h 4429225"/>
                  <a:gd name="connsiteX93" fmla="*/ 1583077 w 4519987"/>
                  <a:gd name="connsiteY93" fmla="*/ 142875 h 4429225"/>
                  <a:gd name="connsiteX94" fmla="*/ 1716427 w 4519987"/>
                  <a:gd name="connsiteY94" fmla="*/ 123825 h 4429225"/>
                  <a:gd name="connsiteX95" fmla="*/ 1811677 w 4519987"/>
                  <a:gd name="connsiteY95" fmla="*/ 114300 h 4429225"/>
                  <a:gd name="connsiteX96" fmla="*/ 1859302 w 4519987"/>
                  <a:gd name="connsiteY96" fmla="*/ 104775 h 4429225"/>
                  <a:gd name="connsiteX97" fmla="*/ 1916452 w 4519987"/>
                  <a:gd name="connsiteY97" fmla="*/ 95250 h 4429225"/>
                  <a:gd name="connsiteX98" fmla="*/ 2030752 w 4519987"/>
                  <a:gd name="connsiteY98" fmla="*/ 66675 h 4429225"/>
                  <a:gd name="connsiteX99" fmla="*/ 2097427 w 4519987"/>
                  <a:gd name="connsiteY99" fmla="*/ 47625 h 4429225"/>
                  <a:gd name="connsiteX100" fmla="*/ 2164102 w 4519987"/>
                  <a:gd name="connsiteY100" fmla="*/ 38100 h 4429225"/>
                  <a:gd name="connsiteX101" fmla="*/ 2392702 w 4519987"/>
                  <a:gd name="connsiteY101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49577 w 4519987"/>
                  <a:gd name="connsiteY53" fmla="*/ 3200400 h 4429225"/>
                  <a:gd name="connsiteX54" fmla="*/ 221002 w 4519987"/>
                  <a:gd name="connsiteY54" fmla="*/ 3105150 h 4429225"/>
                  <a:gd name="connsiteX55" fmla="*/ 173377 w 4519987"/>
                  <a:gd name="connsiteY55" fmla="*/ 3019425 h 4429225"/>
                  <a:gd name="connsiteX56" fmla="*/ 144802 w 4519987"/>
                  <a:gd name="connsiteY56" fmla="*/ 2924175 h 4429225"/>
                  <a:gd name="connsiteX57" fmla="*/ 68602 w 4519987"/>
                  <a:gd name="connsiteY57" fmla="*/ 2724150 h 4429225"/>
                  <a:gd name="connsiteX58" fmla="*/ 49552 w 4519987"/>
                  <a:gd name="connsiteY58" fmla="*/ 2638425 h 4429225"/>
                  <a:gd name="connsiteX59" fmla="*/ 40027 w 4519987"/>
                  <a:gd name="connsiteY59" fmla="*/ 2562225 h 4429225"/>
                  <a:gd name="connsiteX60" fmla="*/ 30502 w 4519987"/>
                  <a:gd name="connsiteY60" fmla="*/ 2514600 h 4429225"/>
                  <a:gd name="connsiteX61" fmla="*/ 11452 w 4519987"/>
                  <a:gd name="connsiteY61" fmla="*/ 2400300 h 4429225"/>
                  <a:gd name="connsiteX62" fmla="*/ 20977 w 4519987"/>
                  <a:gd name="connsiteY62" fmla="*/ 1905000 h 4429225"/>
                  <a:gd name="connsiteX63" fmla="*/ 30502 w 4519987"/>
                  <a:gd name="connsiteY63" fmla="*/ 1838325 h 4429225"/>
                  <a:gd name="connsiteX64" fmla="*/ 49552 w 4519987"/>
                  <a:gd name="connsiteY64" fmla="*/ 1781175 h 4429225"/>
                  <a:gd name="connsiteX65" fmla="*/ 59077 w 4519987"/>
                  <a:gd name="connsiteY65" fmla="*/ 1743075 h 4429225"/>
                  <a:gd name="connsiteX66" fmla="*/ 78127 w 4519987"/>
                  <a:gd name="connsiteY66" fmla="*/ 1685925 h 4429225"/>
                  <a:gd name="connsiteX67" fmla="*/ 87652 w 4519987"/>
                  <a:gd name="connsiteY67" fmla="*/ 1638300 h 4429225"/>
                  <a:gd name="connsiteX68" fmla="*/ 106702 w 4519987"/>
                  <a:gd name="connsiteY68" fmla="*/ 1590675 h 4429225"/>
                  <a:gd name="connsiteX69" fmla="*/ 135277 w 4519987"/>
                  <a:gd name="connsiteY69" fmla="*/ 1504950 h 4429225"/>
                  <a:gd name="connsiteX70" fmla="*/ 154327 w 4519987"/>
                  <a:gd name="connsiteY70" fmla="*/ 1419225 h 4429225"/>
                  <a:gd name="connsiteX71" fmla="*/ 230527 w 4519987"/>
                  <a:gd name="connsiteY71" fmla="*/ 1276350 h 4429225"/>
                  <a:gd name="connsiteX72" fmla="*/ 240052 w 4519987"/>
                  <a:gd name="connsiteY72" fmla="*/ 1247775 h 4429225"/>
                  <a:gd name="connsiteX73" fmla="*/ 268627 w 4519987"/>
                  <a:gd name="connsiteY73" fmla="*/ 1200150 h 4429225"/>
                  <a:gd name="connsiteX74" fmla="*/ 287677 w 4519987"/>
                  <a:gd name="connsiteY74" fmla="*/ 1152525 h 4429225"/>
                  <a:gd name="connsiteX75" fmla="*/ 316252 w 4519987"/>
                  <a:gd name="connsiteY75" fmla="*/ 1114425 h 4429225"/>
                  <a:gd name="connsiteX76" fmla="*/ 363877 w 4519987"/>
                  <a:gd name="connsiteY76" fmla="*/ 1038225 h 4429225"/>
                  <a:gd name="connsiteX77" fmla="*/ 382927 w 4519987"/>
                  <a:gd name="connsiteY77" fmla="*/ 1009650 h 4429225"/>
                  <a:gd name="connsiteX78" fmla="*/ 440077 w 4519987"/>
                  <a:gd name="connsiteY78" fmla="*/ 904875 h 4429225"/>
                  <a:gd name="connsiteX79" fmla="*/ 478177 w 4519987"/>
                  <a:gd name="connsiteY79" fmla="*/ 857250 h 4429225"/>
                  <a:gd name="connsiteX80" fmla="*/ 497227 w 4519987"/>
                  <a:gd name="connsiteY80" fmla="*/ 828675 h 4429225"/>
                  <a:gd name="connsiteX81" fmla="*/ 535327 w 4519987"/>
                  <a:gd name="connsiteY81" fmla="*/ 800100 h 4429225"/>
                  <a:gd name="connsiteX82" fmla="*/ 602002 w 4519987"/>
                  <a:gd name="connsiteY82" fmla="*/ 733425 h 4429225"/>
                  <a:gd name="connsiteX83" fmla="*/ 668677 w 4519987"/>
                  <a:gd name="connsiteY83" fmla="*/ 676275 h 4429225"/>
                  <a:gd name="connsiteX84" fmla="*/ 697252 w 4519987"/>
                  <a:gd name="connsiteY84" fmla="*/ 657225 h 4429225"/>
                  <a:gd name="connsiteX85" fmla="*/ 840127 w 4519987"/>
                  <a:gd name="connsiteY85" fmla="*/ 533400 h 4429225"/>
                  <a:gd name="connsiteX86" fmla="*/ 887752 w 4519987"/>
                  <a:gd name="connsiteY86" fmla="*/ 504825 h 4429225"/>
                  <a:gd name="connsiteX87" fmla="*/ 1167152 w 4519987"/>
                  <a:gd name="connsiteY87" fmla="*/ 311150 h 4429225"/>
                  <a:gd name="connsiteX88" fmla="*/ 1268752 w 4519987"/>
                  <a:gd name="connsiteY88" fmla="*/ 285750 h 4429225"/>
                  <a:gd name="connsiteX89" fmla="*/ 1411627 w 4519987"/>
                  <a:gd name="connsiteY89" fmla="*/ 190500 h 4429225"/>
                  <a:gd name="connsiteX90" fmla="*/ 1449727 w 4519987"/>
                  <a:gd name="connsiteY90" fmla="*/ 161925 h 4429225"/>
                  <a:gd name="connsiteX91" fmla="*/ 1525927 w 4519987"/>
                  <a:gd name="connsiteY91" fmla="*/ 152400 h 4429225"/>
                  <a:gd name="connsiteX92" fmla="*/ 1583077 w 4519987"/>
                  <a:gd name="connsiteY92" fmla="*/ 142875 h 4429225"/>
                  <a:gd name="connsiteX93" fmla="*/ 1716427 w 4519987"/>
                  <a:gd name="connsiteY93" fmla="*/ 123825 h 4429225"/>
                  <a:gd name="connsiteX94" fmla="*/ 1811677 w 4519987"/>
                  <a:gd name="connsiteY94" fmla="*/ 114300 h 4429225"/>
                  <a:gd name="connsiteX95" fmla="*/ 1859302 w 4519987"/>
                  <a:gd name="connsiteY95" fmla="*/ 104775 h 4429225"/>
                  <a:gd name="connsiteX96" fmla="*/ 1916452 w 4519987"/>
                  <a:gd name="connsiteY96" fmla="*/ 95250 h 4429225"/>
                  <a:gd name="connsiteX97" fmla="*/ 2030752 w 4519987"/>
                  <a:gd name="connsiteY97" fmla="*/ 66675 h 4429225"/>
                  <a:gd name="connsiteX98" fmla="*/ 2097427 w 4519987"/>
                  <a:gd name="connsiteY98" fmla="*/ 47625 h 4429225"/>
                  <a:gd name="connsiteX99" fmla="*/ 2164102 w 4519987"/>
                  <a:gd name="connsiteY99" fmla="*/ 38100 h 4429225"/>
                  <a:gd name="connsiteX100" fmla="*/ 2392702 w 4519987"/>
                  <a:gd name="connsiteY100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73377 w 4519987"/>
                  <a:gd name="connsiteY54" fmla="*/ 3019425 h 4429225"/>
                  <a:gd name="connsiteX55" fmla="*/ 144802 w 4519987"/>
                  <a:gd name="connsiteY55" fmla="*/ 2924175 h 4429225"/>
                  <a:gd name="connsiteX56" fmla="*/ 68602 w 4519987"/>
                  <a:gd name="connsiteY56" fmla="*/ 2724150 h 4429225"/>
                  <a:gd name="connsiteX57" fmla="*/ 49552 w 4519987"/>
                  <a:gd name="connsiteY57" fmla="*/ 2638425 h 4429225"/>
                  <a:gd name="connsiteX58" fmla="*/ 40027 w 4519987"/>
                  <a:gd name="connsiteY58" fmla="*/ 2562225 h 4429225"/>
                  <a:gd name="connsiteX59" fmla="*/ 30502 w 4519987"/>
                  <a:gd name="connsiteY59" fmla="*/ 2514600 h 4429225"/>
                  <a:gd name="connsiteX60" fmla="*/ 11452 w 4519987"/>
                  <a:gd name="connsiteY60" fmla="*/ 2400300 h 4429225"/>
                  <a:gd name="connsiteX61" fmla="*/ 20977 w 4519987"/>
                  <a:gd name="connsiteY61" fmla="*/ 1905000 h 4429225"/>
                  <a:gd name="connsiteX62" fmla="*/ 30502 w 4519987"/>
                  <a:gd name="connsiteY62" fmla="*/ 1838325 h 4429225"/>
                  <a:gd name="connsiteX63" fmla="*/ 49552 w 4519987"/>
                  <a:gd name="connsiteY63" fmla="*/ 1781175 h 4429225"/>
                  <a:gd name="connsiteX64" fmla="*/ 59077 w 4519987"/>
                  <a:gd name="connsiteY64" fmla="*/ 1743075 h 4429225"/>
                  <a:gd name="connsiteX65" fmla="*/ 78127 w 4519987"/>
                  <a:gd name="connsiteY65" fmla="*/ 1685925 h 4429225"/>
                  <a:gd name="connsiteX66" fmla="*/ 87652 w 4519987"/>
                  <a:gd name="connsiteY66" fmla="*/ 1638300 h 4429225"/>
                  <a:gd name="connsiteX67" fmla="*/ 106702 w 4519987"/>
                  <a:gd name="connsiteY67" fmla="*/ 1590675 h 4429225"/>
                  <a:gd name="connsiteX68" fmla="*/ 135277 w 4519987"/>
                  <a:gd name="connsiteY68" fmla="*/ 1504950 h 4429225"/>
                  <a:gd name="connsiteX69" fmla="*/ 154327 w 4519987"/>
                  <a:gd name="connsiteY69" fmla="*/ 1419225 h 4429225"/>
                  <a:gd name="connsiteX70" fmla="*/ 230527 w 4519987"/>
                  <a:gd name="connsiteY70" fmla="*/ 1276350 h 4429225"/>
                  <a:gd name="connsiteX71" fmla="*/ 240052 w 4519987"/>
                  <a:gd name="connsiteY71" fmla="*/ 1247775 h 4429225"/>
                  <a:gd name="connsiteX72" fmla="*/ 268627 w 4519987"/>
                  <a:gd name="connsiteY72" fmla="*/ 1200150 h 4429225"/>
                  <a:gd name="connsiteX73" fmla="*/ 287677 w 4519987"/>
                  <a:gd name="connsiteY73" fmla="*/ 1152525 h 4429225"/>
                  <a:gd name="connsiteX74" fmla="*/ 316252 w 4519987"/>
                  <a:gd name="connsiteY74" fmla="*/ 1114425 h 4429225"/>
                  <a:gd name="connsiteX75" fmla="*/ 363877 w 4519987"/>
                  <a:gd name="connsiteY75" fmla="*/ 1038225 h 4429225"/>
                  <a:gd name="connsiteX76" fmla="*/ 382927 w 4519987"/>
                  <a:gd name="connsiteY76" fmla="*/ 1009650 h 4429225"/>
                  <a:gd name="connsiteX77" fmla="*/ 440077 w 4519987"/>
                  <a:gd name="connsiteY77" fmla="*/ 904875 h 4429225"/>
                  <a:gd name="connsiteX78" fmla="*/ 478177 w 4519987"/>
                  <a:gd name="connsiteY78" fmla="*/ 857250 h 4429225"/>
                  <a:gd name="connsiteX79" fmla="*/ 497227 w 4519987"/>
                  <a:gd name="connsiteY79" fmla="*/ 828675 h 4429225"/>
                  <a:gd name="connsiteX80" fmla="*/ 535327 w 4519987"/>
                  <a:gd name="connsiteY80" fmla="*/ 800100 h 4429225"/>
                  <a:gd name="connsiteX81" fmla="*/ 602002 w 4519987"/>
                  <a:gd name="connsiteY81" fmla="*/ 733425 h 4429225"/>
                  <a:gd name="connsiteX82" fmla="*/ 668677 w 4519987"/>
                  <a:gd name="connsiteY82" fmla="*/ 676275 h 4429225"/>
                  <a:gd name="connsiteX83" fmla="*/ 697252 w 4519987"/>
                  <a:gd name="connsiteY83" fmla="*/ 657225 h 4429225"/>
                  <a:gd name="connsiteX84" fmla="*/ 840127 w 4519987"/>
                  <a:gd name="connsiteY84" fmla="*/ 533400 h 4429225"/>
                  <a:gd name="connsiteX85" fmla="*/ 887752 w 4519987"/>
                  <a:gd name="connsiteY85" fmla="*/ 504825 h 4429225"/>
                  <a:gd name="connsiteX86" fmla="*/ 1167152 w 4519987"/>
                  <a:gd name="connsiteY86" fmla="*/ 311150 h 4429225"/>
                  <a:gd name="connsiteX87" fmla="*/ 1268752 w 4519987"/>
                  <a:gd name="connsiteY87" fmla="*/ 285750 h 4429225"/>
                  <a:gd name="connsiteX88" fmla="*/ 1411627 w 4519987"/>
                  <a:gd name="connsiteY88" fmla="*/ 190500 h 4429225"/>
                  <a:gd name="connsiteX89" fmla="*/ 1449727 w 4519987"/>
                  <a:gd name="connsiteY89" fmla="*/ 161925 h 4429225"/>
                  <a:gd name="connsiteX90" fmla="*/ 1525927 w 4519987"/>
                  <a:gd name="connsiteY90" fmla="*/ 152400 h 4429225"/>
                  <a:gd name="connsiteX91" fmla="*/ 1583077 w 4519987"/>
                  <a:gd name="connsiteY91" fmla="*/ 142875 h 4429225"/>
                  <a:gd name="connsiteX92" fmla="*/ 1716427 w 4519987"/>
                  <a:gd name="connsiteY92" fmla="*/ 123825 h 4429225"/>
                  <a:gd name="connsiteX93" fmla="*/ 1811677 w 4519987"/>
                  <a:gd name="connsiteY93" fmla="*/ 114300 h 4429225"/>
                  <a:gd name="connsiteX94" fmla="*/ 1859302 w 4519987"/>
                  <a:gd name="connsiteY94" fmla="*/ 104775 h 4429225"/>
                  <a:gd name="connsiteX95" fmla="*/ 1916452 w 4519987"/>
                  <a:gd name="connsiteY95" fmla="*/ 95250 h 4429225"/>
                  <a:gd name="connsiteX96" fmla="*/ 2030752 w 4519987"/>
                  <a:gd name="connsiteY96" fmla="*/ 66675 h 4429225"/>
                  <a:gd name="connsiteX97" fmla="*/ 2097427 w 4519987"/>
                  <a:gd name="connsiteY97" fmla="*/ 47625 h 4429225"/>
                  <a:gd name="connsiteX98" fmla="*/ 2164102 w 4519987"/>
                  <a:gd name="connsiteY98" fmla="*/ 38100 h 4429225"/>
                  <a:gd name="connsiteX99" fmla="*/ 2392702 w 4519987"/>
                  <a:gd name="connsiteY99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49552 w 4519987"/>
                  <a:gd name="connsiteY56" fmla="*/ 2638425 h 4429225"/>
                  <a:gd name="connsiteX57" fmla="*/ 40027 w 4519987"/>
                  <a:gd name="connsiteY57" fmla="*/ 2562225 h 4429225"/>
                  <a:gd name="connsiteX58" fmla="*/ 30502 w 4519987"/>
                  <a:gd name="connsiteY58" fmla="*/ 2514600 h 4429225"/>
                  <a:gd name="connsiteX59" fmla="*/ 11452 w 4519987"/>
                  <a:gd name="connsiteY59" fmla="*/ 2400300 h 4429225"/>
                  <a:gd name="connsiteX60" fmla="*/ 20977 w 4519987"/>
                  <a:gd name="connsiteY60" fmla="*/ 1905000 h 4429225"/>
                  <a:gd name="connsiteX61" fmla="*/ 30502 w 4519987"/>
                  <a:gd name="connsiteY61" fmla="*/ 1838325 h 4429225"/>
                  <a:gd name="connsiteX62" fmla="*/ 49552 w 4519987"/>
                  <a:gd name="connsiteY62" fmla="*/ 1781175 h 4429225"/>
                  <a:gd name="connsiteX63" fmla="*/ 59077 w 4519987"/>
                  <a:gd name="connsiteY63" fmla="*/ 1743075 h 4429225"/>
                  <a:gd name="connsiteX64" fmla="*/ 78127 w 4519987"/>
                  <a:gd name="connsiteY64" fmla="*/ 1685925 h 4429225"/>
                  <a:gd name="connsiteX65" fmla="*/ 87652 w 4519987"/>
                  <a:gd name="connsiteY65" fmla="*/ 1638300 h 4429225"/>
                  <a:gd name="connsiteX66" fmla="*/ 106702 w 4519987"/>
                  <a:gd name="connsiteY66" fmla="*/ 1590675 h 4429225"/>
                  <a:gd name="connsiteX67" fmla="*/ 135277 w 4519987"/>
                  <a:gd name="connsiteY67" fmla="*/ 1504950 h 4429225"/>
                  <a:gd name="connsiteX68" fmla="*/ 154327 w 4519987"/>
                  <a:gd name="connsiteY68" fmla="*/ 1419225 h 4429225"/>
                  <a:gd name="connsiteX69" fmla="*/ 230527 w 4519987"/>
                  <a:gd name="connsiteY69" fmla="*/ 1276350 h 4429225"/>
                  <a:gd name="connsiteX70" fmla="*/ 240052 w 4519987"/>
                  <a:gd name="connsiteY70" fmla="*/ 1247775 h 4429225"/>
                  <a:gd name="connsiteX71" fmla="*/ 268627 w 4519987"/>
                  <a:gd name="connsiteY71" fmla="*/ 1200150 h 4429225"/>
                  <a:gd name="connsiteX72" fmla="*/ 287677 w 4519987"/>
                  <a:gd name="connsiteY72" fmla="*/ 1152525 h 4429225"/>
                  <a:gd name="connsiteX73" fmla="*/ 316252 w 4519987"/>
                  <a:gd name="connsiteY73" fmla="*/ 1114425 h 4429225"/>
                  <a:gd name="connsiteX74" fmla="*/ 363877 w 4519987"/>
                  <a:gd name="connsiteY74" fmla="*/ 1038225 h 4429225"/>
                  <a:gd name="connsiteX75" fmla="*/ 382927 w 4519987"/>
                  <a:gd name="connsiteY75" fmla="*/ 1009650 h 4429225"/>
                  <a:gd name="connsiteX76" fmla="*/ 440077 w 4519987"/>
                  <a:gd name="connsiteY76" fmla="*/ 904875 h 4429225"/>
                  <a:gd name="connsiteX77" fmla="*/ 478177 w 4519987"/>
                  <a:gd name="connsiteY77" fmla="*/ 857250 h 4429225"/>
                  <a:gd name="connsiteX78" fmla="*/ 497227 w 4519987"/>
                  <a:gd name="connsiteY78" fmla="*/ 828675 h 4429225"/>
                  <a:gd name="connsiteX79" fmla="*/ 535327 w 4519987"/>
                  <a:gd name="connsiteY79" fmla="*/ 800100 h 4429225"/>
                  <a:gd name="connsiteX80" fmla="*/ 602002 w 4519987"/>
                  <a:gd name="connsiteY80" fmla="*/ 733425 h 4429225"/>
                  <a:gd name="connsiteX81" fmla="*/ 668677 w 4519987"/>
                  <a:gd name="connsiteY81" fmla="*/ 676275 h 4429225"/>
                  <a:gd name="connsiteX82" fmla="*/ 697252 w 4519987"/>
                  <a:gd name="connsiteY82" fmla="*/ 657225 h 4429225"/>
                  <a:gd name="connsiteX83" fmla="*/ 840127 w 4519987"/>
                  <a:gd name="connsiteY83" fmla="*/ 533400 h 4429225"/>
                  <a:gd name="connsiteX84" fmla="*/ 887752 w 4519987"/>
                  <a:gd name="connsiteY84" fmla="*/ 504825 h 4429225"/>
                  <a:gd name="connsiteX85" fmla="*/ 1167152 w 4519987"/>
                  <a:gd name="connsiteY85" fmla="*/ 311150 h 4429225"/>
                  <a:gd name="connsiteX86" fmla="*/ 1268752 w 4519987"/>
                  <a:gd name="connsiteY86" fmla="*/ 285750 h 4429225"/>
                  <a:gd name="connsiteX87" fmla="*/ 1411627 w 4519987"/>
                  <a:gd name="connsiteY87" fmla="*/ 190500 h 4429225"/>
                  <a:gd name="connsiteX88" fmla="*/ 1449727 w 4519987"/>
                  <a:gd name="connsiteY88" fmla="*/ 161925 h 4429225"/>
                  <a:gd name="connsiteX89" fmla="*/ 1525927 w 4519987"/>
                  <a:gd name="connsiteY89" fmla="*/ 152400 h 4429225"/>
                  <a:gd name="connsiteX90" fmla="*/ 1583077 w 4519987"/>
                  <a:gd name="connsiteY90" fmla="*/ 142875 h 4429225"/>
                  <a:gd name="connsiteX91" fmla="*/ 1716427 w 4519987"/>
                  <a:gd name="connsiteY91" fmla="*/ 123825 h 4429225"/>
                  <a:gd name="connsiteX92" fmla="*/ 1811677 w 4519987"/>
                  <a:gd name="connsiteY92" fmla="*/ 114300 h 4429225"/>
                  <a:gd name="connsiteX93" fmla="*/ 1859302 w 4519987"/>
                  <a:gd name="connsiteY93" fmla="*/ 104775 h 4429225"/>
                  <a:gd name="connsiteX94" fmla="*/ 1916452 w 4519987"/>
                  <a:gd name="connsiteY94" fmla="*/ 95250 h 4429225"/>
                  <a:gd name="connsiteX95" fmla="*/ 2030752 w 4519987"/>
                  <a:gd name="connsiteY95" fmla="*/ 66675 h 4429225"/>
                  <a:gd name="connsiteX96" fmla="*/ 2097427 w 4519987"/>
                  <a:gd name="connsiteY96" fmla="*/ 47625 h 4429225"/>
                  <a:gd name="connsiteX97" fmla="*/ 2164102 w 4519987"/>
                  <a:gd name="connsiteY97" fmla="*/ 38100 h 4429225"/>
                  <a:gd name="connsiteX98" fmla="*/ 2392702 w 4519987"/>
                  <a:gd name="connsiteY98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40027 w 4519987"/>
                  <a:gd name="connsiteY56" fmla="*/ 2562225 h 4429225"/>
                  <a:gd name="connsiteX57" fmla="*/ 30502 w 4519987"/>
                  <a:gd name="connsiteY57" fmla="*/ 2514600 h 4429225"/>
                  <a:gd name="connsiteX58" fmla="*/ 11452 w 4519987"/>
                  <a:gd name="connsiteY58" fmla="*/ 2400300 h 4429225"/>
                  <a:gd name="connsiteX59" fmla="*/ 20977 w 4519987"/>
                  <a:gd name="connsiteY59" fmla="*/ 1905000 h 4429225"/>
                  <a:gd name="connsiteX60" fmla="*/ 30502 w 4519987"/>
                  <a:gd name="connsiteY60" fmla="*/ 1838325 h 4429225"/>
                  <a:gd name="connsiteX61" fmla="*/ 49552 w 4519987"/>
                  <a:gd name="connsiteY61" fmla="*/ 1781175 h 4429225"/>
                  <a:gd name="connsiteX62" fmla="*/ 59077 w 4519987"/>
                  <a:gd name="connsiteY62" fmla="*/ 1743075 h 4429225"/>
                  <a:gd name="connsiteX63" fmla="*/ 78127 w 4519987"/>
                  <a:gd name="connsiteY63" fmla="*/ 1685925 h 4429225"/>
                  <a:gd name="connsiteX64" fmla="*/ 87652 w 4519987"/>
                  <a:gd name="connsiteY64" fmla="*/ 1638300 h 4429225"/>
                  <a:gd name="connsiteX65" fmla="*/ 106702 w 4519987"/>
                  <a:gd name="connsiteY65" fmla="*/ 1590675 h 4429225"/>
                  <a:gd name="connsiteX66" fmla="*/ 135277 w 4519987"/>
                  <a:gd name="connsiteY66" fmla="*/ 1504950 h 4429225"/>
                  <a:gd name="connsiteX67" fmla="*/ 154327 w 4519987"/>
                  <a:gd name="connsiteY67" fmla="*/ 1419225 h 4429225"/>
                  <a:gd name="connsiteX68" fmla="*/ 230527 w 4519987"/>
                  <a:gd name="connsiteY68" fmla="*/ 1276350 h 4429225"/>
                  <a:gd name="connsiteX69" fmla="*/ 240052 w 4519987"/>
                  <a:gd name="connsiteY69" fmla="*/ 1247775 h 4429225"/>
                  <a:gd name="connsiteX70" fmla="*/ 268627 w 4519987"/>
                  <a:gd name="connsiteY70" fmla="*/ 1200150 h 4429225"/>
                  <a:gd name="connsiteX71" fmla="*/ 287677 w 4519987"/>
                  <a:gd name="connsiteY71" fmla="*/ 1152525 h 4429225"/>
                  <a:gd name="connsiteX72" fmla="*/ 316252 w 4519987"/>
                  <a:gd name="connsiteY72" fmla="*/ 1114425 h 4429225"/>
                  <a:gd name="connsiteX73" fmla="*/ 363877 w 4519987"/>
                  <a:gd name="connsiteY73" fmla="*/ 1038225 h 4429225"/>
                  <a:gd name="connsiteX74" fmla="*/ 382927 w 4519987"/>
                  <a:gd name="connsiteY74" fmla="*/ 1009650 h 4429225"/>
                  <a:gd name="connsiteX75" fmla="*/ 440077 w 4519987"/>
                  <a:gd name="connsiteY75" fmla="*/ 904875 h 4429225"/>
                  <a:gd name="connsiteX76" fmla="*/ 478177 w 4519987"/>
                  <a:gd name="connsiteY76" fmla="*/ 857250 h 4429225"/>
                  <a:gd name="connsiteX77" fmla="*/ 497227 w 4519987"/>
                  <a:gd name="connsiteY77" fmla="*/ 828675 h 4429225"/>
                  <a:gd name="connsiteX78" fmla="*/ 535327 w 4519987"/>
                  <a:gd name="connsiteY78" fmla="*/ 800100 h 4429225"/>
                  <a:gd name="connsiteX79" fmla="*/ 602002 w 4519987"/>
                  <a:gd name="connsiteY79" fmla="*/ 733425 h 4429225"/>
                  <a:gd name="connsiteX80" fmla="*/ 668677 w 4519987"/>
                  <a:gd name="connsiteY80" fmla="*/ 676275 h 4429225"/>
                  <a:gd name="connsiteX81" fmla="*/ 697252 w 4519987"/>
                  <a:gd name="connsiteY81" fmla="*/ 657225 h 4429225"/>
                  <a:gd name="connsiteX82" fmla="*/ 840127 w 4519987"/>
                  <a:gd name="connsiteY82" fmla="*/ 533400 h 4429225"/>
                  <a:gd name="connsiteX83" fmla="*/ 887752 w 4519987"/>
                  <a:gd name="connsiteY83" fmla="*/ 504825 h 4429225"/>
                  <a:gd name="connsiteX84" fmla="*/ 1167152 w 4519987"/>
                  <a:gd name="connsiteY84" fmla="*/ 311150 h 4429225"/>
                  <a:gd name="connsiteX85" fmla="*/ 1268752 w 4519987"/>
                  <a:gd name="connsiteY85" fmla="*/ 285750 h 4429225"/>
                  <a:gd name="connsiteX86" fmla="*/ 1411627 w 4519987"/>
                  <a:gd name="connsiteY86" fmla="*/ 190500 h 4429225"/>
                  <a:gd name="connsiteX87" fmla="*/ 1449727 w 4519987"/>
                  <a:gd name="connsiteY87" fmla="*/ 161925 h 4429225"/>
                  <a:gd name="connsiteX88" fmla="*/ 1525927 w 4519987"/>
                  <a:gd name="connsiteY88" fmla="*/ 152400 h 4429225"/>
                  <a:gd name="connsiteX89" fmla="*/ 1583077 w 4519987"/>
                  <a:gd name="connsiteY89" fmla="*/ 142875 h 4429225"/>
                  <a:gd name="connsiteX90" fmla="*/ 1716427 w 4519987"/>
                  <a:gd name="connsiteY90" fmla="*/ 123825 h 4429225"/>
                  <a:gd name="connsiteX91" fmla="*/ 1811677 w 4519987"/>
                  <a:gd name="connsiteY91" fmla="*/ 114300 h 4429225"/>
                  <a:gd name="connsiteX92" fmla="*/ 1859302 w 4519987"/>
                  <a:gd name="connsiteY92" fmla="*/ 104775 h 4429225"/>
                  <a:gd name="connsiteX93" fmla="*/ 1916452 w 4519987"/>
                  <a:gd name="connsiteY93" fmla="*/ 95250 h 4429225"/>
                  <a:gd name="connsiteX94" fmla="*/ 2030752 w 4519987"/>
                  <a:gd name="connsiteY94" fmla="*/ 66675 h 4429225"/>
                  <a:gd name="connsiteX95" fmla="*/ 2097427 w 4519987"/>
                  <a:gd name="connsiteY95" fmla="*/ 47625 h 4429225"/>
                  <a:gd name="connsiteX96" fmla="*/ 2164102 w 4519987"/>
                  <a:gd name="connsiteY96" fmla="*/ 38100 h 4429225"/>
                  <a:gd name="connsiteX97" fmla="*/ 2392702 w 4519987"/>
                  <a:gd name="connsiteY97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40027 w 4519987"/>
                  <a:gd name="connsiteY56" fmla="*/ 2562225 h 4429225"/>
                  <a:gd name="connsiteX57" fmla="*/ 11452 w 4519987"/>
                  <a:gd name="connsiteY57" fmla="*/ 2400300 h 4429225"/>
                  <a:gd name="connsiteX58" fmla="*/ 20977 w 4519987"/>
                  <a:gd name="connsiteY58" fmla="*/ 1905000 h 4429225"/>
                  <a:gd name="connsiteX59" fmla="*/ 30502 w 4519987"/>
                  <a:gd name="connsiteY59" fmla="*/ 1838325 h 4429225"/>
                  <a:gd name="connsiteX60" fmla="*/ 49552 w 4519987"/>
                  <a:gd name="connsiteY60" fmla="*/ 1781175 h 4429225"/>
                  <a:gd name="connsiteX61" fmla="*/ 59077 w 4519987"/>
                  <a:gd name="connsiteY61" fmla="*/ 1743075 h 4429225"/>
                  <a:gd name="connsiteX62" fmla="*/ 78127 w 4519987"/>
                  <a:gd name="connsiteY62" fmla="*/ 1685925 h 4429225"/>
                  <a:gd name="connsiteX63" fmla="*/ 87652 w 4519987"/>
                  <a:gd name="connsiteY63" fmla="*/ 1638300 h 4429225"/>
                  <a:gd name="connsiteX64" fmla="*/ 106702 w 4519987"/>
                  <a:gd name="connsiteY64" fmla="*/ 1590675 h 4429225"/>
                  <a:gd name="connsiteX65" fmla="*/ 135277 w 4519987"/>
                  <a:gd name="connsiteY65" fmla="*/ 1504950 h 4429225"/>
                  <a:gd name="connsiteX66" fmla="*/ 154327 w 4519987"/>
                  <a:gd name="connsiteY66" fmla="*/ 1419225 h 4429225"/>
                  <a:gd name="connsiteX67" fmla="*/ 230527 w 4519987"/>
                  <a:gd name="connsiteY67" fmla="*/ 1276350 h 4429225"/>
                  <a:gd name="connsiteX68" fmla="*/ 240052 w 4519987"/>
                  <a:gd name="connsiteY68" fmla="*/ 1247775 h 4429225"/>
                  <a:gd name="connsiteX69" fmla="*/ 268627 w 4519987"/>
                  <a:gd name="connsiteY69" fmla="*/ 1200150 h 4429225"/>
                  <a:gd name="connsiteX70" fmla="*/ 287677 w 4519987"/>
                  <a:gd name="connsiteY70" fmla="*/ 1152525 h 4429225"/>
                  <a:gd name="connsiteX71" fmla="*/ 316252 w 4519987"/>
                  <a:gd name="connsiteY71" fmla="*/ 1114425 h 4429225"/>
                  <a:gd name="connsiteX72" fmla="*/ 363877 w 4519987"/>
                  <a:gd name="connsiteY72" fmla="*/ 1038225 h 4429225"/>
                  <a:gd name="connsiteX73" fmla="*/ 382927 w 4519987"/>
                  <a:gd name="connsiteY73" fmla="*/ 1009650 h 4429225"/>
                  <a:gd name="connsiteX74" fmla="*/ 440077 w 4519987"/>
                  <a:gd name="connsiteY74" fmla="*/ 904875 h 4429225"/>
                  <a:gd name="connsiteX75" fmla="*/ 478177 w 4519987"/>
                  <a:gd name="connsiteY75" fmla="*/ 857250 h 4429225"/>
                  <a:gd name="connsiteX76" fmla="*/ 497227 w 4519987"/>
                  <a:gd name="connsiteY76" fmla="*/ 828675 h 4429225"/>
                  <a:gd name="connsiteX77" fmla="*/ 535327 w 4519987"/>
                  <a:gd name="connsiteY77" fmla="*/ 800100 h 4429225"/>
                  <a:gd name="connsiteX78" fmla="*/ 602002 w 4519987"/>
                  <a:gd name="connsiteY78" fmla="*/ 733425 h 4429225"/>
                  <a:gd name="connsiteX79" fmla="*/ 668677 w 4519987"/>
                  <a:gd name="connsiteY79" fmla="*/ 676275 h 4429225"/>
                  <a:gd name="connsiteX80" fmla="*/ 697252 w 4519987"/>
                  <a:gd name="connsiteY80" fmla="*/ 657225 h 4429225"/>
                  <a:gd name="connsiteX81" fmla="*/ 840127 w 4519987"/>
                  <a:gd name="connsiteY81" fmla="*/ 533400 h 4429225"/>
                  <a:gd name="connsiteX82" fmla="*/ 887752 w 4519987"/>
                  <a:gd name="connsiteY82" fmla="*/ 504825 h 4429225"/>
                  <a:gd name="connsiteX83" fmla="*/ 1167152 w 4519987"/>
                  <a:gd name="connsiteY83" fmla="*/ 311150 h 4429225"/>
                  <a:gd name="connsiteX84" fmla="*/ 1268752 w 4519987"/>
                  <a:gd name="connsiteY84" fmla="*/ 285750 h 4429225"/>
                  <a:gd name="connsiteX85" fmla="*/ 1411627 w 4519987"/>
                  <a:gd name="connsiteY85" fmla="*/ 190500 h 4429225"/>
                  <a:gd name="connsiteX86" fmla="*/ 1449727 w 4519987"/>
                  <a:gd name="connsiteY86" fmla="*/ 161925 h 4429225"/>
                  <a:gd name="connsiteX87" fmla="*/ 1525927 w 4519987"/>
                  <a:gd name="connsiteY87" fmla="*/ 152400 h 4429225"/>
                  <a:gd name="connsiteX88" fmla="*/ 1583077 w 4519987"/>
                  <a:gd name="connsiteY88" fmla="*/ 142875 h 4429225"/>
                  <a:gd name="connsiteX89" fmla="*/ 1716427 w 4519987"/>
                  <a:gd name="connsiteY89" fmla="*/ 123825 h 4429225"/>
                  <a:gd name="connsiteX90" fmla="*/ 1811677 w 4519987"/>
                  <a:gd name="connsiteY90" fmla="*/ 114300 h 4429225"/>
                  <a:gd name="connsiteX91" fmla="*/ 1859302 w 4519987"/>
                  <a:gd name="connsiteY91" fmla="*/ 104775 h 4429225"/>
                  <a:gd name="connsiteX92" fmla="*/ 1916452 w 4519987"/>
                  <a:gd name="connsiteY92" fmla="*/ 95250 h 4429225"/>
                  <a:gd name="connsiteX93" fmla="*/ 2030752 w 4519987"/>
                  <a:gd name="connsiteY93" fmla="*/ 66675 h 4429225"/>
                  <a:gd name="connsiteX94" fmla="*/ 2097427 w 4519987"/>
                  <a:gd name="connsiteY94" fmla="*/ 47625 h 4429225"/>
                  <a:gd name="connsiteX95" fmla="*/ 2164102 w 4519987"/>
                  <a:gd name="connsiteY95" fmla="*/ 38100 h 4429225"/>
                  <a:gd name="connsiteX96" fmla="*/ 2392702 w 4519987"/>
                  <a:gd name="connsiteY96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11452 w 4519987"/>
                  <a:gd name="connsiteY56" fmla="*/ 2400300 h 4429225"/>
                  <a:gd name="connsiteX57" fmla="*/ 20977 w 4519987"/>
                  <a:gd name="connsiteY57" fmla="*/ 1905000 h 4429225"/>
                  <a:gd name="connsiteX58" fmla="*/ 30502 w 4519987"/>
                  <a:gd name="connsiteY58" fmla="*/ 1838325 h 4429225"/>
                  <a:gd name="connsiteX59" fmla="*/ 49552 w 4519987"/>
                  <a:gd name="connsiteY59" fmla="*/ 1781175 h 4429225"/>
                  <a:gd name="connsiteX60" fmla="*/ 59077 w 4519987"/>
                  <a:gd name="connsiteY60" fmla="*/ 1743075 h 4429225"/>
                  <a:gd name="connsiteX61" fmla="*/ 78127 w 4519987"/>
                  <a:gd name="connsiteY61" fmla="*/ 1685925 h 4429225"/>
                  <a:gd name="connsiteX62" fmla="*/ 87652 w 4519987"/>
                  <a:gd name="connsiteY62" fmla="*/ 1638300 h 4429225"/>
                  <a:gd name="connsiteX63" fmla="*/ 106702 w 4519987"/>
                  <a:gd name="connsiteY63" fmla="*/ 1590675 h 4429225"/>
                  <a:gd name="connsiteX64" fmla="*/ 135277 w 4519987"/>
                  <a:gd name="connsiteY64" fmla="*/ 1504950 h 4429225"/>
                  <a:gd name="connsiteX65" fmla="*/ 154327 w 4519987"/>
                  <a:gd name="connsiteY65" fmla="*/ 1419225 h 4429225"/>
                  <a:gd name="connsiteX66" fmla="*/ 230527 w 4519987"/>
                  <a:gd name="connsiteY66" fmla="*/ 1276350 h 4429225"/>
                  <a:gd name="connsiteX67" fmla="*/ 240052 w 4519987"/>
                  <a:gd name="connsiteY67" fmla="*/ 1247775 h 4429225"/>
                  <a:gd name="connsiteX68" fmla="*/ 268627 w 4519987"/>
                  <a:gd name="connsiteY68" fmla="*/ 1200150 h 4429225"/>
                  <a:gd name="connsiteX69" fmla="*/ 287677 w 4519987"/>
                  <a:gd name="connsiteY69" fmla="*/ 1152525 h 4429225"/>
                  <a:gd name="connsiteX70" fmla="*/ 316252 w 4519987"/>
                  <a:gd name="connsiteY70" fmla="*/ 1114425 h 4429225"/>
                  <a:gd name="connsiteX71" fmla="*/ 363877 w 4519987"/>
                  <a:gd name="connsiteY71" fmla="*/ 1038225 h 4429225"/>
                  <a:gd name="connsiteX72" fmla="*/ 382927 w 4519987"/>
                  <a:gd name="connsiteY72" fmla="*/ 1009650 h 4429225"/>
                  <a:gd name="connsiteX73" fmla="*/ 440077 w 4519987"/>
                  <a:gd name="connsiteY73" fmla="*/ 904875 h 4429225"/>
                  <a:gd name="connsiteX74" fmla="*/ 478177 w 4519987"/>
                  <a:gd name="connsiteY74" fmla="*/ 857250 h 4429225"/>
                  <a:gd name="connsiteX75" fmla="*/ 497227 w 4519987"/>
                  <a:gd name="connsiteY75" fmla="*/ 828675 h 4429225"/>
                  <a:gd name="connsiteX76" fmla="*/ 535327 w 4519987"/>
                  <a:gd name="connsiteY76" fmla="*/ 800100 h 4429225"/>
                  <a:gd name="connsiteX77" fmla="*/ 602002 w 4519987"/>
                  <a:gd name="connsiteY77" fmla="*/ 733425 h 4429225"/>
                  <a:gd name="connsiteX78" fmla="*/ 668677 w 4519987"/>
                  <a:gd name="connsiteY78" fmla="*/ 676275 h 4429225"/>
                  <a:gd name="connsiteX79" fmla="*/ 697252 w 4519987"/>
                  <a:gd name="connsiteY79" fmla="*/ 657225 h 4429225"/>
                  <a:gd name="connsiteX80" fmla="*/ 840127 w 4519987"/>
                  <a:gd name="connsiteY80" fmla="*/ 533400 h 4429225"/>
                  <a:gd name="connsiteX81" fmla="*/ 887752 w 4519987"/>
                  <a:gd name="connsiteY81" fmla="*/ 504825 h 4429225"/>
                  <a:gd name="connsiteX82" fmla="*/ 1167152 w 4519987"/>
                  <a:gd name="connsiteY82" fmla="*/ 311150 h 4429225"/>
                  <a:gd name="connsiteX83" fmla="*/ 1268752 w 4519987"/>
                  <a:gd name="connsiteY83" fmla="*/ 285750 h 4429225"/>
                  <a:gd name="connsiteX84" fmla="*/ 1411627 w 4519987"/>
                  <a:gd name="connsiteY84" fmla="*/ 190500 h 4429225"/>
                  <a:gd name="connsiteX85" fmla="*/ 1449727 w 4519987"/>
                  <a:gd name="connsiteY85" fmla="*/ 161925 h 4429225"/>
                  <a:gd name="connsiteX86" fmla="*/ 1525927 w 4519987"/>
                  <a:gd name="connsiteY86" fmla="*/ 152400 h 4429225"/>
                  <a:gd name="connsiteX87" fmla="*/ 1583077 w 4519987"/>
                  <a:gd name="connsiteY87" fmla="*/ 142875 h 4429225"/>
                  <a:gd name="connsiteX88" fmla="*/ 1716427 w 4519987"/>
                  <a:gd name="connsiteY88" fmla="*/ 123825 h 4429225"/>
                  <a:gd name="connsiteX89" fmla="*/ 1811677 w 4519987"/>
                  <a:gd name="connsiteY89" fmla="*/ 114300 h 4429225"/>
                  <a:gd name="connsiteX90" fmla="*/ 1859302 w 4519987"/>
                  <a:gd name="connsiteY90" fmla="*/ 104775 h 4429225"/>
                  <a:gd name="connsiteX91" fmla="*/ 1916452 w 4519987"/>
                  <a:gd name="connsiteY91" fmla="*/ 95250 h 4429225"/>
                  <a:gd name="connsiteX92" fmla="*/ 2030752 w 4519987"/>
                  <a:gd name="connsiteY92" fmla="*/ 66675 h 4429225"/>
                  <a:gd name="connsiteX93" fmla="*/ 2097427 w 4519987"/>
                  <a:gd name="connsiteY93" fmla="*/ 47625 h 4429225"/>
                  <a:gd name="connsiteX94" fmla="*/ 2164102 w 4519987"/>
                  <a:gd name="connsiteY94" fmla="*/ 38100 h 4429225"/>
                  <a:gd name="connsiteX95" fmla="*/ 2392702 w 4519987"/>
                  <a:gd name="connsiteY95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202394 w 4501379"/>
                  <a:gd name="connsiteY53" fmla="*/ 3105150 h 4429225"/>
                  <a:gd name="connsiteX54" fmla="*/ 126194 w 4501379"/>
                  <a:gd name="connsiteY54" fmla="*/ 2924175 h 4429225"/>
                  <a:gd name="connsiteX55" fmla="*/ 49994 w 4501379"/>
                  <a:gd name="connsiteY55" fmla="*/ 2724150 h 4429225"/>
                  <a:gd name="connsiteX56" fmla="*/ 56344 w 4501379"/>
                  <a:gd name="connsiteY56" fmla="*/ 2368550 h 4429225"/>
                  <a:gd name="connsiteX57" fmla="*/ 2369 w 4501379"/>
                  <a:gd name="connsiteY57" fmla="*/ 1905000 h 4429225"/>
                  <a:gd name="connsiteX58" fmla="*/ 11894 w 4501379"/>
                  <a:gd name="connsiteY58" fmla="*/ 1838325 h 4429225"/>
                  <a:gd name="connsiteX59" fmla="*/ 30944 w 4501379"/>
                  <a:gd name="connsiteY59" fmla="*/ 1781175 h 4429225"/>
                  <a:gd name="connsiteX60" fmla="*/ 40469 w 4501379"/>
                  <a:gd name="connsiteY60" fmla="*/ 1743075 h 4429225"/>
                  <a:gd name="connsiteX61" fmla="*/ 59519 w 4501379"/>
                  <a:gd name="connsiteY61" fmla="*/ 1685925 h 4429225"/>
                  <a:gd name="connsiteX62" fmla="*/ 69044 w 4501379"/>
                  <a:gd name="connsiteY62" fmla="*/ 1638300 h 4429225"/>
                  <a:gd name="connsiteX63" fmla="*/ 88094 w 4501379"/>
                  <a:gd name="connsiteY63" fmla="*/ 1590675 h 4429225"/>
                  <a:gd name="connsiteX64" fmla="*/ 116669 w 4501379"/>
                  <a:gd name="connsiteY64" fmla="*/ 1504950 h 4429225"/>
                  <a:gd name="connsiteX65" fmla="*/ 135719 w 4501379"/>
                  <a:gd name="connsiteY65" fmla="*/ 1419225 h 4429225"/>
                  <a:gd name="connsiteX66" fmla="*/ 211919 w 4501379"/>
                  <a:gd name="connsiteY66" fmla="*/ 1276350 h 4429225"/>
                  <a:gd name="connsiteX67" fmla="*/ 221444 w 4501379"/>
                  <a:gd name="connsiteY67" fmla="*/ 1247775 h 4429225"/>
                  <a:gd name="connsiteX68" fmla="*/ 250019 w 4501379"/>
                  <a:gd name="connsiteY68" fmla="*/ 1200150 h 4429225"/>
                  <a:gd name="connsiteX69" fmla="*/ 269069 w 4501379"/>
                  <a:gd name="connsiteY69" fmla="*/ 1152525 h 4429225"/>
                  <a:gd name="connsiteX70" fmla="*/ 297644 w 4501379"/>
                  <a:gd name="connsiteY70" fmla="*/ 1114425 h 4429225"/>
                  <a:gd name="connsiteX71" fmla="*/ 345269 w 4501379"/>
                  <a:gd name="connsiteY71" fmla="*/ 1038225 h 4429225"/>
                  <a:gd name="connsiteX72" fmla="*/ 364319 w 4501379"/>
                  <a:gd name="connsiteY72" fmla="*/ 1009650 h 4429225"/>
                  <a:gd name="connsiteX73" fmla="*/ 421469 w 4501379"/>
                  <a:gd name="connsiteY73" fmla="*/ 904875 h 4429225"/>
                  <a:gd name="connsiteX74" fmla="*/ 459569 w 4501379"/>
                  <a:gd name="connsiteY74" fmla="*/ 857250 h 4429225"/>
                  <a:gd name="connsiteX75" fmla="*/ 478619 w 4501379"/>
                  <a:gd name="connsiteY75" fmla="*/ 828675 h 4429225"/>
                  <a:gd name="connsiteX76" fmla="*/ 516719 w 4501379"/>
                  <a:gd name="connsiteY76" fmla="*/ 800100 h 4429225"/>
                  <a:gd name="connsiteX77" fmla="*/ 583394 w 4501379"/>
                  <a:gd name="connsiteY77" fmla="*/ 733425 h 4429225"/>
                  <a:gd name="connsiteX78" fmla="*/ 650069 w 4501379"/>
                  <a:gd name="connsiteY78" fmla="*/ 676275 h 4429225"/>
                  <a:gd name="connsiteX79" fmla="*/ 678644 w 4501379"/>
                  <a:gd name="connsiteY79" fmla="*/ 657225 h 4429225"/>
                  <a:gd name="connsiteX80" fmla="*/ 821519 w 4501379"/>
                  <a:gd name="connsiteY80" fmla="*/ 533400 h 4429225"/>
                  <a:gd name="connsiteX81" fmla="*/ 869144 w 4501379"/>
                  <a:gd name="connsiteY81" fmla="*/ 504825 h 4429225"/>
                  <a:gd name="connsiteX82" fmla="*/ 1148544 w 4501379"/>
                  <a:gd name="connsiteY82" fmla="*/ 311150 h 4429225"/>
                  <a:gd name="connsiteX83" fmla="*/ 1250144 w 4501379"/>
                  <a:gd name="connsiteY83" fmla="*/ 285750 h 4429225"/>
                  <a:gd name="connsiteX84" fmla="*/ 1393019 w 4501379"/>
                  <a:gd name="connsiteY84" fmla="*/ 190500 h 4429225"/>
                  <a:gd name="connsiteX85" fmla="*/ 1431119 w 4501379"/>
                  <a:gd name="connsiteY85" fmla="*/ 161925 h 4429225"/>
                  <a:gd name="connsiteX86" fmla="*/ 1507319 w 4501379"/>
                  <a:gd name="connsiteY86" fmla="*/ 152400 h 4429225"/>
                  <a:gd name="connsiteX87" fmla="*/ 1564469 w 4501379"/>
                  <a:gd name="connsiteY87" fmla="*/ 142875 h 4429225"/>
                  <a:gd name="connsiteX88" fmla="*/ 1697819 w 4501379"/>
                  <a:gd name="connsiteY88" fmla="*/ 123825 h 4429225"/>
                  <a:gd name="connsiteX89" fmla="*/ 1793069 w 4501379"/>
                  <a:gd name="connsiteY89" fmla="*/ 114300 h 4429225"/>
                  <a:gd name="connsiteX90" fmla="*/ 1840694 w 4501379"/>
                  <a:gd name="connsiteY90" fmla="*/ 104775 h 4429225"/>
                  <a:gd name="connsiteX91" fmla="*/ 1897844 w 4501379"/>
                  <a:gd name="connsiteY91" fmla="*/ 95250 h 4429225"/>
                  <a:gd name="connsiteX92" fmla="*/ 2012144 w 4501379"/>
                  <a:gd name="connsiteY92" fmla="*/ 66675 h 4429225"/>
                  <a:gd name="connsiteX93" fmla="*/ 2078819 w 4501379"/>
                  <a:gd name="connsiteY93" fmla="*/ 47625 h 4429225"/>
                  <a:gd name="connsiteX94" fmla="*/ 2145494 w 4501379"/>
                  <a:gd name="connsiteY94" fmla="*/ 38100 h 4429225"/>
                  <a:gd name="connsiteX95" fmla="*/ 2374094 w 4501379"/>
                  <a:gd name="connsiteY95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202394 w 4501379"/>
                  <a:gd name="connsiteY53" fmla="*/ 3105150 h 4429225"/>
                  <a:gd name="connsiteX54" fmla="*/ 126194 w 4501379"/>
                  <a:gd name="connsiteY54" fmla="*/ 2924175 h 4429225"/>
                  <a:gd name="connsiteX55" fmla="*/ 56344 w 4501379"/>
                  <a:gd name="connsiteY55" fmla="*/ 2368550 h 4429225"/>
                  <a:gd name="connsiteX56" fmla="*/ 2369 w 4501379"/>
                  <a:gd name="connsiteY56" fmla="*/ 1905000 h 4429225"/>
                  <a:gd name="connsiteX57" fmla="*/ 11894 w 4501379"/>
                  <a:gd name="connsiteY57" fmla="*/ 1838325 h 4429225"/>
                  <a:gd name="connsiteX58" fmla="*/ 30944 w 4501379"/>
                  <a:gd name="connsiteY58" fmla="*/ 1781175 h 4429225"/>
                  <a:gd name="connsiteX59" fmla="*/ 40469 w 4501379"/>
                  <a:gd name="connsiteY59" fmla="*/ 1743075 h 4429225"/>
                  <a:gd name="connsiteX60" fmla="*/ 59519 w 4501379"/>
                  <a:gd name="connsiteY60" fmla="*/ 1685925 h 4429225"/>
                  <a:gd name="connsiteX61" fmla="*/ 69044 w 4501379"/>
                  <a:gd name="connsiteY61" fmla="*/ 1638300 h 4429225"/>
                  <a:gd name="connsiteX62" fmla="*/ 88094 w 4501379"/>
                  <a:gd name="connsiteY62" fmla="*/ 1590675 h 4429225"/>
                  <a:gd name="connsiteX63" fmla="*/ 116669 w 4501379"/>
                  <a:gd name="connsiteY63" fmla="*/ 1504950 h 4429225"/>
                  <a:gd name="connsiteX64" fmla="*/ 135719 w 4501379"/>
                  <a:gd name="connsiteY64" fmla="*/ 1419225 h 4429225"/>
                  <a:gd name="connsiteX65" fmla="*/ 211919 w 4501379"/>
                  <a:gd name="connsiteY65" fmla="*/ 1276350 h 4429225"/>
                  <a:gd name="connsiteX66" fmla="*/ 221444 w 4501379"/>
                  <a:gd name="connsiteY66" fmla="*/ 1247775 h 4429225"/>
                  <a:gd name="connsiteX67" fmla="*/ 250019 w 4501379"/>
                  <a:gd name="connsiteY67" fmla="*/ 1200150 h 4429225"/>
                  <a:gd name="connsiteX68" fmla="*/ 269069 w 4501379"/>
                  <a:gd name="connsiteY68" fmla="*/ 1152525 h 4429225"/>
                  <a:gd name="connsiteX69" fmla="*/ 297644 w 4501379"/>
                  <a:gd name="connsiteY69" fmla="*/ 1114425 h 4429225"/>
                  <a:gd name="connsiteX70" fmla="*/ 345269 w 4501379"/>
                  <a:gd name="connsiteY70" fmla="*/ 1038225 h 4429225"/>
                  <a:gd name="connsiteX71" fmla="*/ 364319 w 4501379"/>
                  <a:gd name="connsiteY71" fmla="*/ 1009650 h 4429225"/>
                  <a:gd name="connsiteX72" fmla="*/ 421469 w 4501379"/>
                  <a:gd name="connsiteY72" fmla="*/ 904875 h 4429225"/>
                  <a:gd name="connsiteX73" fmla="*/ 459569 w 4501379"/>
                  <a:gd name="connsiteY73" fmla="*/ 857250 h 4429225"/>
                  <a:gd name="connsiteX74" fmla="*/ 478619 w 4501379"/>
                  <a:gd name="connsiteY74" fmla="*/ 828675 h 4429225"/>
                  <a:gd name="connsiteX75" fmla="*/ 516719 w 4501379"/>
                  <a:gd name="connsiteY75" fmla="*/ 800100 h 4429225"/>
                  <a:gd name="connsiteX76" fmla="*/ 583394 w 4501379"/>
                  <a:gd name="connsiteY76" fmla="*/ 733425 h 4429225"/>
                  <a:gd name="connsiteX77" fmla="*/ 650069 w 4501379"/>
                  <a:gd name="connsiteY77" fmla="*/ 676275 h 4429225"/>
                  <a:gd name="connsiteX78" fmla="*/ 678644 w 4501379"/>
                  <a:gd name="connsiteY78" fmla="*/ 657225 h 4429225"/>
                  <a:gd name="connsiteX79" fmla="*/ 821519 w 4501379"/>
                  <a:gd name="connsiteY79" fmla="*/ 533400 h 4429225"/>
                  <a:gd name="connsiteX80" fmla="*/ 869144 w 4501379"/>
                  <a:gd name="connsiteY80" fmla="*/ 504825 h 4429225"/>
                  <a:gd name="connsiteX81" fmla="*/ 1148544 w 4501379"/>
                  <a:gd name="connsiteY81" fmla="*/ 311150 h 4429225"/>
                  <a:gd name="connsiteX82" fmla="*/ 1250144 w 4501379"/>
                  <a:gd name="connsiteY82" fmla="*/ 285750 h 4429225"/>
                  <a:gd name="connsiteX83" fmla="*/ 1393019 w 4501379"/>
                  <a:gd name="connsiteY83" fmla="*/ 190500 h 4429225"/>
                  <a:gd name="connsiteX84" fmla="*/ 1431119 w 4501379"/>
                  <a:gd name="connsiteY84" fmla="*/ 161925 h 4429225"/>
                  <a:gd name="connsiteX85" fmla="*/ 1507319 w 4501379"/>
                  <a:gd name="connsiteY85" fmla="*/ 152400 h 4429225"/>
                  <a:gd name="connsiteX86" fmla="*/ 1564469 w 4501379"/>
                  <a:gd name="connsiteY86" fmla="*/ 142875 h 4429225"/>
                  <a:gd name="connsiteX87" fmla="*/ 1697819 w 4501379"/>
                  <a:gd name="connsiteY87" fmla="*/ 123825 h 4429225"/>
                  <a:gd name="connsiteX88" fmla="*/ 1793069 w 4501379"/>
                  <a:gd name="connsiteY88" fmla="*/ 114300 h 4429225"/>
                  <a:gd name="connsiteX89" fmla="*/ 1840694 w 4501379"/>
                  <a:gd name="connsiteY89" fmla="*/ 104775 h 4429225"/>
                  <a:gd name="connsiteX90" fmla="*/ 1897844 w 4501379"/>
                  <a:gd name="connsiteY90" fmla="*/ 95250 h 4429225"/>
                  <a:gd name="connsiteX91" fmla="*/ 2012144 w 4501379"/>
                  <a:gd name="connsiteY91" fmla="*/ 66675 h 4429225"/>
                  <a:gd name="connsiteX92" fmla="*/ 2078819 w 4501379"/>
                  <a:gd name="connsiteY92" fmla="*/ 47625 h 4429225"/>
                  <a:gd name="connsiteX93" fmla="*/ 2145494 w 4501379"/>
                  <a:gd name="connsiteY93" fmla="*/ 38100 h 4429225"/>
                  <a:gd name="connsiteX94" fmla="*/ 2374094 w 4501379"/>
                  <a:gd name="connsiteY94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126194 w 4501379"/>
                  <a:gd name="connsiteY53" fmla="*/ 292417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40519 w 4501379"/>
                  <a:gd name="connsiteY51" fmla="*/ 34956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92919 w 4501379"/>
                  <a:gd name="connsiteY50" fmla="*/ 3657600 h 4429225"/>
                  <a:gd name="connsiteX51" fmla="*/ 440519 w 4501379"/>
                  <a:gd name="connsiteY51" fmla="*/ 34956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92919 w 4501379"/>
                  <a:gd name="connsiteY50" fmla="*/ 3657600 h 4429225"/>
                  <a:gd name="connsiteX51" fmla="*/ 446869 w 4501379"/>
                  <a:gd name="connsiteY51" fmla="*/ 34702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926294 w 4501379"/>
                  <a:gd name="connsiteY48" fmla="*/ 39687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145369 w 4501379"/>
                  <a:gd name="connsiteY47" fmla="*/ 4111625 h 4429225"/>
                  <a:gd name="connsiteX48" fmla="*/ 926294 w 4501379"/>
                  <a:gd name="connsiteY48" fmla="*/ 39687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313644 w 4501379"/>
                  <a:gd name="connsiteY46" fmla="*/ 4216400 h 4429225"/>
                  <a:gd name="connsiteX47" fmla="*/ 1145369 w 4501379"/>
                  <a:gd name="connsiteY47" fmla="*/ 4111625 h 4429225"/>
                  <a:gd name="connsiteX48" fmla="*/ 926294 w 4501379"/>
                  <a:gd name="connsiteY48" fmla="*/ 39687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94"/>
                  <a:gd name="connsiteX1" fmla="*/ 2402669 w 4501379"/>
                  <a:gd name="connsiteY1" fmla="*/ 28575 h 4429294"/>
                  <a:gd name="connsiteX2" fmla="*/ 2478869 w 4501379"/>
                  <a:gd name="connsiteY2" fmla="*/ 47625 h 4429294"/>
                  <a:gd name="connsiteX3" fmla="*/ 2736044 w 4501379"/>
                  <a:gd name="connsiteY3" fmla="*/ 66675 h 4429294"/>
                  <a:gd name="connsiteX4" fmla="*/ 2812244 w 4501379"/>
                  <a:gd name="connsiteY4" fmla="*/ 76200 h 4429294"/>
                  <a:gd name="connsiteX5" fmla="*/ 2897969 w 4501379"/>
                  <a:gd name="connsiteY5" fmla="*/ 85725 h 4429294"/>
                  <a:gd name="connsiteX6" fmla="*/ 2955119 w 4501379"/>
                  <a:gd name="connsiteY6" fmla="*/ 114300 h 4429294"/>
                  <a:gd name="connsiteX7" fmla="*/ 2993219 w 4501379"/>
                  <a:gd name="connsiteY7" fmla="*/ 123825 h 4429294"/>
                  <a:gd name="connsiteX8" fmla="*/ 3117044 w 4501379"/>
                  <a:gd name="connsiteY8" fmla="*/ 171450 h 4429294"/>
                  <a:gd name="connsiteX9" fmla="*/ 3155144 w 4501379"/>
                  <a:gd name="connsiteY9" fmla="*/ 190500 h 4429294"/>
                  <a:gd name="connsiteX10" fmla="*/ 3221819 w 4501379"/>
                  <a:gd name="connsiteY10" fmla="*/ 228600 h 4429294"/>
                  <a:gd name="connsiteX11" fmla="*/ 3250394 w 4501379"/>
                  <a:gd name="connsiteY11" fmla="*/ 238125 h 4429294"/>
                  <a:gd name="connsiteX12" fmla="*/ 3278969 w 4501379"/>
                  <a:gd name="connsiteY12" fmla="*/ 257175 h 4429294"/>
                  <a:gd name="connsiteX13" fmla="*/ 3307544 w 4501379"/>
                  <a:gd name="connsiteY13" fmla="*/ 266700 h 4429294"/>
                  <a:gd name="connsiteX14" fmla="*/ 3336119 w 4501379"/>
                  <a:gd name="connsiteY14" fmla="*/ 285750 h 4429294"/>
                  <a:gd name="connsiteX15" fmla="*/ 3402794 w 4501379"/>
                  <a:gd name="connsiteY15" fmla="*/ 323850 h 4429294"/>
                  <a:gd name="connsiteX16" fmla="*/ 3450419 w 4501379"/>
                  <a:gd name="connsiteY16" fmla="*/ 361950 h 4429294"/>
                  <a:gd name="connsiteX17" fmla="*/ 3498044 w 4501379"/>
                  <a:gd name="connsiteY17" fmla="*/ 390525 h 4429294"/>
                  <a:gd name="connsiteX18" fmla="*/ 3612344 w 4501379"/>
                  <a:gd name="connsiteY18" fmla="*/ 485775 h 4429294"/>
                  <a:gd name="connsiteX19" fmla="*/ 3726644 w 4501379"/>
                  <a:gd name="connsiteY19" fmla="*/ 542925 h 4429294"/>
                  <a:gd name="connsiteX20" fmla="*/ 3793319 w 4501379"/>
                  <a:gd name="connsiteY20" fmla="*/ 581025 h 4429294"/>
                  <a:gd name="connsiteX21" fmla="*/ 4009219 w 4501379"/>
                  <a:gd name="connsiteY21" fmla="*/ 819150 h 4429294"/>
                  <a:gd name="connsiteX22" fmla="*/ 4145744 w 4501379"/>
                  <a:gd name="connsiteY22" fmla="*/ 990600 h 4429294"/>
                  <a:gd name="connsiteX23" fmla="*/ 4231469 w 4501379"/>
                  <a:gd name="connsiteY23" fmla="*/ 1143000 h 4429294"/>
                  <a:gd name="connsiteX24" fmla="*/ 4288619 w 4501379"/>
                  <a:gd name="connsiteY24" fmla="*/ 1266825 h 4429294"/>
                  <a:gd name="connsiteX25" fmla="*/ 4326719 w 4501379"/>
                  <a:gd name="connsiteY25" fmla="*/ 1362075 h 4429294"/>
                  <a:gd name="connsiteX26" fmla="*/ 4374344 w 4501379"/>
                  <a:gd name="connsiteY26" fmla="*/ 1552575 h 4429294"/>
                  <a:gd name="connsiteX27" fmla="*/ 4412444 w 4501379"/>
                  <a:gd name="connsiteY27" fmla="*/ 1685925 h 4429294"/>
                  <a:gd name="connsiteX28" fmla="*/ 4501344 w 4501379"/>
                  <a:gd name="connsiteY28" fmla="*/ 2181225 h 4429294"/>
                  <a:gd name="connsiteX29" fmla="*/ 4428319 w 4501379"/>
                  <a:gd name="connsiteY29" fmla="*/ 2768600 h 4429294"/>
                  <a:gd name="connsiteX30" fmla="*/ 4364819 w 4501379"/>
                  <a:gd name="connsiteY30" fmla="*/ 2990850 h 4429294"/>
                  <a:gd name="connsiteX31" fmla="*/ 4260044 w 4501379"/>
                  <a:gd name="connsiteY31" fmla="*/ 3248025 h 4429294"/>
                  <a:gd name="connsiteX32" fmla="*/ 4164794 w 4501379"/>
                  <a:gd name="connsiteY32" fmla="*/ 3400425 h 4429294"/>
                  <a:gd name="connsiteX33" fmla="*/ 4040969 w 4501379"/>
                  <a:gd name="connsiteY33" fmla="*/ 3533775 h 4429294"/>
                  <a:gd name="connsiteX34" fmla="*/ 3936194 w 4501379"/>
                  <a:gd name="connsiteY34" fmla="*/ 3648075 h 4429294"/>
                  <a:gd name="connsiteX35" fmla="*/ 3640919 w 4501379"/>
                  <a:gd name="connsiteY35" fmla="*/ 3971925 h 4429294"/>
                  <a:gd name="connsiteX36" fmla="*/ 3498044 w 4501379"/>
                  <a:gd name="connsiteY36" fmla="*/ 4083050 h 4429294"/>
                  <a:gd name="connsiteX37" fmla="*/ 3202769 w 4501379"/>
                  <a:gd name="connsiteY37" fmla="*/ 4222750 h 4429294"/>
                  <a:gd name="connsiteX38" fmla="*/ 3050369 w 4501379"/>
                  <a:gd name="connsiteY38" fmla="*/ 4286250 h 4429294"/>
                  <a:gd name="connsiteX39" fmla="*/ 2917019 w 4501379"/>
                  <a:gd name="connsiteY39" fmla="*/ 4333875 h 4429294"/>
                  <a:gd name="connsiteX40" fmla="*/ 2793194 w 4501379"/>
                  <a:gd name="connsiteY40" fmla="*/ 4371975 h 4429294"/>
                  <a:gd name="connsiteX41" fmla="*/ 2561419 w 4501379"/>
                  <a:gd name="connsiteY41" fmla="*/ 4391025 h 4429294"/>
                  <a:gd name="connsiteX42" fmla="*/ 2107394 w 4501379"/>
                  <a:gd name="connsiteY42" fmla="*/ 4429125 h 4429294"/>
                  <a:gd name="connsiteX43" fmla="*/ 1916894 w 4501379"/>
                  <a:gd name="connsiteY43" fmla="*/ 4400550 h 4429294"/>
                  <a:gd name="connsiteX44" fmla="*/ 1554944 w 4501379"/>
                  <a:gd name="connsiteY44" fmla="*/ 4305300 h 4429294"/>
                  <a:gd name="connsiteX45" fmla="*/ 1313644 w 4501379"/>
                  <a:gd name="connsiteY45" fmla="*/ 4216400 h 4429294"/>
                  <a:gd name="connsiteX46" fmla="*/ 1145369 w 4501379"/>
                  <a:gd name="connsiteY46" fmla="*/ 4111625 h 4429294"/>
                  <a:gd name="connsiteX47" fmla="*/ 926294 w 4501379"/>
                  <a:gd name="connsiteY47" fmla="*/ 3968750 h 4429294"/>
                  <a:gd name="connsiteX48" fmla="*/ 592919 w 4501379"/>
                  <a:gd name="connsiteY48" fmla="*/ 3657600 h 4429294"/>
                  <a:gd name="connsiteX49" fmla="*/ 446869 w 4501379"/>
                  <a:gd name="connsiteY49" fmla="*/ 3470275 h 4429294"/>
                  <a:gd name="connsiteX50" fmla="*/ 316694 w 4501379"/>
                  <a:gd name="connsiteY50" fmla="*/ 3244850 h 4429294"/>
                  <a:gd name="connsiteX51" fmla="*/ 164294 w 4501379"/>
                  <a:gd name="connsiteY51" fmla="*/ 2892425 h 4429294"/>
                  <a:gd name="connsiteX52" fmla="*/ 56344 w 4501379"/>
                  <a:gd name="connsiteY52" fmla="*/ 2368550 h 4429294"/>
                  <a:gd name="connsiteX53" fmla="*/ 2369 w 4501379"/>
                  <a:gd name="connsiteY53" fmla="*/ 1905000 h 4429294"/>
                  <a:gd name="connsiteX54" fmla="*/ 11894 w 4501379"/>
                  <a:gd name="connsiteY54" fmla="*/ 1838325 h 4429294"/>
                  <a:gd name="connsiteX55" fmla="*/ 30944 w 4501379"/>
                  <a:gd name="connsiteY55" fmla="*/ 1781175 h 4429294"/>
                  <a:gd name="connsiteX56" fmla="*/ 40469 w 4501379"/>
                  <a:gd name="connsiteY56" fmla="*/ 1743075 h 4429294"/>
                  <a:gd name="connsiteX57" fmla="*/ 59519 w 4501379"/>
                  <a:gd name="connsiteY57" fmla="*/ 1685925 h 4429294"/>
                  <a:gd name="connsiteX58" fmla="*/ 69044 w 4501379"/>
                  <a:gd name="connsiteY58" fmla="*/ 1638300 h 4429294"/>
                  <a:gd name="connsiteX59" fmla="*/ 88094 w 4501379"/>
                  <a:gd name="connsiteY59" fmla="*/ 1590675 h 4429294"/>
                  <a:gd name="connsiteX60" fmla="*/ 116669 w 4501379"/>
                  <a:gd name="connsiteY60" fmla="*/ 1504950 h 4429294"/>
                  <a:gd name="connsiteX61" fmla="*/ 135719 w 4501379"/>
                  <a:gd name="connsiteY61" fmla="*/ 1419225 h 4429294"/>
                  <a:gd name="connsiteX62" fmla="*/ 211919 w 4501379"/>
                  <a:gd name="connsiteY62" fmla="*/ 1276350 h 4429294"/>
                  <a:gd name="connsiteX63" fmla="*/ 221444 w 4501379"/>
                  <a:gd name="connsiteY63" fmla="*/ 1247775 h 4429294"/>
                  <a:gd name="connsiteX64" fmla="*/ 250019 w 4501379"/>
                  <a:gd name="connsiteY64" fmla="*/ 1200150 h 4429294"/>
                  <a:gd name="connsiteX65" fmla="*/ 269069 w 4501379"/>
                  <a:gd name="connsiteY65" fmla="*/ 1152525 h 4429294"/>
                  <a:gd name="connsiteX66" fmla="*/ 297644 w 4501379"/>
                  <a:gd name="connsiteY66" fmla="*/ 1114425 h 4429294"/>
                  <a:gd name="connsiteX67" fmla="*/ 345269 w 4501379"/>
                  <a:gd name="connsiteY67" fmla="*/ 1038225 h 4429294"/>
                  <a:gd name="connsiteX68" fmla="*/ 364319 w 4501379"/>
                  <a:gd name="connsiteY68" fmla="*/ 1009650 h 4429294"/>
                  <a:gd name="connsiteX69" fmla="*/ 421469 w 4501379"/>
                  <a:gd name="connsiteY69" fmla="*/ 904875 h 4429294"/>
                  <a:gd name="connsiteX70" fmla="*/ 459569 w 4501379"/>
                  <a:gd name="connsiteY70" fmla="*/ 857250 h 4429294"/>
                  <a:gd name="connsiteX71" fmla="*/ 478619 w 4501379"/>
                  <a:gd name="connsiteY71" fmla="*/ 828675 h 4429294"/>
                  <a:gd name="connsiteX72" fmla="*/ 516719 w 4501379"/>
                  <a:gd name="connsiteY72" fmla="*/ 800100 h 4429294"/>
                  <a:gd name="connsiteX73" fmla="*/ 583394 w 4501379"/>
                  <a:gd name="connsiteY73" fmla="*/ 733425 h 4429294"/>
                  <a:gd name="connsiteX74" fmla="*/ 650069 w 4501379"/>
                  <a:gd name="connsiteY74" fmla="*/ 676275 h 4429294"/>
                  <a:gd name="connsiteX75" fmla="*/ 678644 w 4501379"/>
                  <a:gd name="connsiteY75" fmla="*/ 657225 h 4429294"/>
                  <a:gd name="connsiteX76" fmla="*/ 821519 w 4501379"/>
                  <a:gd name="connsiteY76" fmla="*/ 533400 h 4429294"/>
                  <a:gd name="connsiteX77" fmla="*/ 869144 w 4501379"/>
                  <a:gd name="connsiteY77" fmla="*/ 504825 h 4429294"/>
                  <a:gd name="connsiteX78" fmla="*/ 1148544 w 4501379"/>
                  <a:gd name="connsiteY78" fmla="*/ 311150 h 4429294"/>
                  <a:gd name="connsiteX79" fmla="*/ 1250144 w 4501379"/>
                  <a:gd name="connsiteY79" fmla="*/ 285750 h 4429294"/>
                  <a:gd name="connsiteX80" fmla="*/ 1393019 w 4501379"/>
                  <a:gd name="connsiteY80" fmla="*/ 190500 h 4429294"/>
                  <a:gd name="connsiteX81" fmla="*/ 1431119 w 4501379"/>
                  <a:gd name="connsiteY81" fmla="*/ 161925 h 4429294"/>
                  <a:gd name="connsiteX82" fmla="*/ 1507319 w 4501379"/>
                  <a:gd name="connsiteY82" fmla="*/ 152400 h 4429294"/>
                  <a:gd name="connsiteX83" fmla="*/ 1564469 w 4501379"/>
                  <a:gd name="connsiteY83" fmla="*/ 142875 h 4429294"/>
                  <a:gd name="connsiteX84" fmla="*/ 1697819 w 4501379"/>
                  <a:gd name="connsiteY84" fmla="*/ 123825 h 4429294"/>
                  <a:gd name="connsiteX85" fmla="*/ 1793069 w 4501379"/>
                  <a:gd name="connsiteY85" fmla="*/ 114300 h 4429294"/>
                  <a:gd name="connsiteX86" fmla="*/ 1840694 w 4501379"/>
                  <a:gd name="connsiteY86" fmla="*/ 104775 h 4429294"/>
                  <a:gd name="connsiteX87" fmla="*/ 1897844 w 4501379"/>
                  <a:gd name="connsiteY87" fmla="*/ 95250 h 4429294"/>
                  <a:gd name="connsiteX88" fmla="*/ 2012144 w 4501379"/>
                  <a:gd name="connsiteY88" fmla="*/ 66675 h 4429294"/>
                  <a:gd name="connsiteX89" fmla="*/ 2078819 w 4501379"/>
                  <a:gd name="connsiteY89" fmla="*/ 47625 h 4429294"/>
                  <a:gd name="connsiteX90" fmla="*/ 2145494 w 4501379"/>
                  <a:gd name="connsiteY90" fmla="*/ 38100 h 4429294"/>
                  <a:gd name="connsiteX91" fmla="*/ 2374094 w 4501379"/>
                  <a:gd name="connsiteY91" fmla="*/ 28575 h 4429294"/>
                  <a:gd name="connsiteX0" fmla="*/ 2278844 w 4501379"/>
                  <a:gd name="connsiteY0" fmla="*/ 0 h 4429294"/>
                  <a:gd name="connsiteX1" fmla="*/ 2402669 w 4501379"/>
                  <a:gd name="connsiteY1" fmla="*/ 28575 h 4429294"/>
                  <a:gd name="connsiteX2" fmla="*/ 2478869 w 4501379"/>
                  <a:gd name="connsiteY2" fmla="*/ 47625 h 4429294"/>
                  <a:gd name="connsiteX3" fmla="*/ 2736044 w 4501379"/>
                  <a:gd name="connsiteY3" fmla="*/ 66675 h 4429294"/>
                  <a:gd name="connsiteX4" fmla="*/ 2812244 w 4501379"/>
                  <a:gd name="connsiteY4" fmla="*/ 76200 h 4429294"/>
                  <a:gd name="connsiteX5" fmla="*/ 2897969 w 4501379"/>
                  <a:gd name="connsiteY5" fmla="*/ 85725 h 4429294"/>
                  <a:gd name="connsiteX6" fmla="*/ 2955119 w 4501379"/>
                  <a:gd name="connsiteY6" fmla="*/ 114300 h 4429294"/>
                  <a:gd name="connsiteX7" fmla="*/ 2993219 w 4501379"/>
                  <a:gd name="connsiteY7" fmla="*/ 123825 h 4429294"/>
                  <a:gd name="connsiteX8" fmla="*/ 3117044 w 4501379"/>
                  <a:gd name="connsiteY8" fmla="*/ 171450 h 4429294"/>
                  <a:gd name="connsiteX9" fmla="*/ 3155144 w 4501379"/>
                  <a:gd name="connsiteY9" fmla="*/ 190500 h 4429294"/>
                  <a:gd name="connsiteX10" fmla="*/ 3221819 w 4501379"/>
                  <a:gd name="connsiteY10" fmla="*/ 228600 h 4429294"/>
                  <a:gd name="connsiteX11" fmla="*/ 3250394 w 4501379"/>
                  <a:gd name="connsiteY11" fmla="*/ 238125 h 4429294"/>
                  <a:gd name="connsiteX12" fmla="*/ 3278969 w 4501379"/>
                  <a:gd name="connsiteY12" fmla="*/ 257175 h 4429294"/>
                  <a:gd name="connsiteX13" fmla="*/ 3307544 w 4501379"/>
                  <a:gd name="connsiteY13" fmla="*/ 266700 h 4429294"/>
                  <a:gd name="connsiteX14" fmla="*/ 3336119 w 4501379"/>
                  <a:gd name="connsiteY14" fmla="*/ 285750 h 4429294"/>
                  <a:gd name="connsiteX15" fmla="*/ 3402794 w 4501379"/>
                  <a:gd name="connsiteY15" fmla="*/ 323850 h 4429294"/>
                  <a:gd name="connsiteX16" fmla="*/ 3450419 w 4501379"/>
                  <a:gd name="connsiteY16" fmla="*/ 361950 h 4429294"/>
                  <a:gd name="connsiteX17" fmla="*/ 3498044 w 4501379"/>
                  <a:gd name="connsiteY17" fmla="*/ 390525 h 4429294"/>
                  <a:gd name="connsiteX18" fmla="*/ 3612344 w 4501379"/>
                  <a:gd name="connsiteY18" fmla="*/ 485775 h 4429294"/>
                  <a:gd name="connsiteX19" fmla="*/ 3726644 w 4501379"/>
                  <a:gd name="connsiteY19" fmla="*/ 542925 h 4429294"/>
                  <a:gd name="connsiteX20" fmla="*/ 3793319 w 4501379"/>
                  <a:gd name="connsiteY20" fmla="*/ 581025 h 4429294"/>
                  <a:gd name="connsiteX21" fmla="*/ 4009219 w 4501379"/>
                  <a:gd name="connsiteY21" fmla="*/ 819150 h 4429294"/>
                  <a:gd name="connsiteX22" fmla="*/ 4145744 w 4501379"/>
                  <a:gd name="connsiteY22" fmla="*/ 990600 h 4429294"/>
                  <a:gd name="connsiteX23" fmla="*/ 4231469 w 4501379"/>
                  <a:gd name="connsiteY23" fmla="*/ 1143000 h 4429294"/>
                  <a:gd name="connsiteX24" fmla="*/ 4288619 w 4501379"/>
                  <a:gd name="connsiteY24" fmla="*/ 1266825 h 4429294"/>
                  <a:gd name="connsiteX25" fmla="*/ 4326719 w 4501379"/>
                  <a:gd name="connsiteY25" fmla="*/ 1362075 h 4429294"/>
                  <a:gd name="connsiteX26" fmla="*/ 4374344 w 4501379"/>
                  <a:gd name="connsiteY26" fmla="*/ 1552575 h 4429294"/>
                  <a:gd name="connsiteX27" fmla="*/ 4412444 w 4501379"/>
                  <a:gd name="connsiteY27" fmla="*/ 1685925 h 4429294"/>
                  <a:gd name="connsiteX28" fmla="*/ 4501344 w 4501379"/>
                  <a:gd name="connsiteY28" fmla="*/ 2181225 h 4429294"/>
                  <a:gd name="connsiteX29" fmla="*/ 4428319 w 4501379"/>
                  <a:gd name="connsiteY29" fmla="*/ 2768600 h 4429294"/>
                  <a:gd name="connsiteX30" fmla="*/ 4364819 w 4501379"/>
                  <a:gd name="connsiteY30" fmla="*/ 2990850 h 4429294"/>
                  <a:gd name="connsiteX31" fmla="*/ 4260044 w 4501379"/>
                  <a:gd name="connsiteY31" fmla="*/ 3248025 h 4429294"/>
                  <a:gd name="connsiteX32" fmla="*/ 4164794 w 4501379"/>
                  <a:gd name="connsiteY32" fmla="*/ 3400425 h 4429294"/>
                  <a:gd name="connsiteX33" fmla="*/ 4040969 w 4501379"/>
                  <a:gd name="connsiteY33" fmla="*/ 3533775 h 4429294"/>
                  <a:gd name="connsiteX34" fmla="*/ 3936194 w 4501379"/>
                  <a:gd name="connsiteY34" fmla="*/ 3648075 h 4429294"/>
                  <a:gd name="connsiteX35" fmla="*/ 3640919 w 4501379"/>
                  <a:gd name="connsiteY35" fmla="*/ 3971925 h 4429294"/>
                  <a:gd name="connsiteX36" fmla="*/ 3498044 w 4501379"/>
                  <a:gd name="connsiteY36" fmla="*/ 4083050 h 4429294"/>
                  <a:gd name="connsiteX37" fmla="*/ 3202769 w 4501379"/>
                  <a:gd name="connsiteY37" fmla="*/ 4222750 h 4429294"/>
                  <a:gd name="connsiteX38" fmla="*/ 3050369 w 4501379"/>
                  <a:gd name="connsiteY38" fmla="*/ 4286250 h 4429294"/>
                  <a:gd name="connsiteX39" fmla="*/ 2917019 w 4501379"/>
                  <a:gd name="connsiteY39" fmla="*/ 4333875 h 4429294"/>
                  <a:gd name="connsiteX40" fmla="*/ 2793194 w 4501379"/>
                  <a:gd name="connsiteY40" fmla="*/ 4371975 h 4429294"/>
                  <a:gd name="connsiteX41" fmla="*/ 2561419 w 4501379"/>
                  <a:gd name="connsiteY41" fmla="*/ 4391025 h 4429294"/>
                  <a:gd name="connsiteX42" fmla="*/ 2107394 w 4501379"/>
                  <a:gd name="connsiteY42" fmla="*/ 4429125 h 4429294"/>
                  <a:gd name="connsiteX43" fmla="*/ 1916894 w 4501379"/>
                  <a:gd name="connsiteY43" fmla="*/ 4400550 h 4429294"/>
                  <a:gd name="connsiteX44" fmla="*/ 1554944 w 4501379"/>
                  <a:gd name="connsiteY44" fmla="*/ 4305300 h 4429294"/>
                  <a:gd name="connsiteX45" fmla="*/ 1313644 w 4501379"/>
                  <a:gd name="connsiteY45" fmla="*/ 4216400 h 4429294"/>
                  <a:gd name="connsiteX46" fmla="*/ 1145369 w 4501379"/>
                  <a:gd name="connsiteY46" fmla="*/ 4111625 h 4429294"/>
                  <a:gd name="connsiteX47" fmla="*/ 926294 w 4501379"/>
                  <a:gd name="connsiteY47" fmla="*/ 3968750 h 4429294"/>
                  <a:gd name="connsiteX48" fmla="*/ 592919 w 4501379"/>
                  <a:gd name="connsiteY48" fmla="*/ 3657600 h 4429294"/>
                  <a:gd name="connsiteX49" fmla="*/ 446869 w 4501379"/>
                  <a:gd name="connsiteY49" fmla="*/ 3470275 h 4429294"/>
                  <a:gd name="connsiteX50" fmla="*/ 316694 w 4501379"/>
                  <a:gd name="connsiteY50" fmla="*/ 3244850 h 4429294"/>
                  <a:gd name="connsiteX51" fmla="*/ 164294 w 4501379"/>
                  <a:gd name="connsiteY51" fmla="*/ 2892425 h 4429294"/>
                  <a:gd name="connsiteX52" fmla="*/ 56344 w 4501379"/>
                  <a:gd name="connsiteY52" fmla="*/ 2368550 h 4429294"/>
                  <a:gd name="connsiteX53" fmla="*/ 2369 w 4501379"/>
                  <a:gd name="connsiteY53" fmla="*/ 1905000 h 4429294"/>
                  <a:gd name="connsiteX54" fmla="*/ 11894 w 4501379"/>
                  <a:gd name="connsiteY54" fmla="*/ 1838325 h 4429294"/>
                  <a:gd name="connsiteX55" fmla="*/ 30944 w 4501379"/>
                  <a:gd name="connsiteY55" fmla="*/ 1781175 h 4429294"/>
                  <a:gd name="connsiteX56" fmla="*/ 40469 w 4501379"/>
                  <a:gd name="connsiteY56" fmla="*/ 1743075 h 4429294"/>
                  <a:gd name="connsiteX57" fmla="*/ 59519 w 4501379"/>
                  <a:gd name="connsiteY57" fmla="*/ 1685925 h 4429294"/>
                  <a:gd name="connsiteX58" fmla="*/ 69044 w 4501379"/>
                  <a:gd name="connsiteY58" fmla="*/ 1638300 h 4429294"/>
                  <a:gd name="connsiteX59" fmla="*/ 88094 w 4501379"/>
                  <a:gd name="connsiteY59" fmla="*/ 1590675 h 4429294"/>
                  <a:gd name="connsiteX60" fmla="*/ 116669 w 4501379"/>
                  <a:gd name="connsiteY60" fmla="*/ 1504950 h 4429294"/>
                  <a:gd name="connsiteX61" fmla="*/ 135719 w 4501379"/>
                  <a:gd name="connsiteY61" fmla="*/ 1419225 h 4429294"/>
                  <a:gd name="connsiteX62" fmla="*/ 211919 w 4501379"/>
                  <a:gd name="connsiteY62" fmla="*/ 1276350 h 4429294"/>
                  <a:gd name="connsiteX63" fmla="*/ 221444 w 4501379"/>
                  <a:gd name="connsiteY63" fmla="*/ 1247775 h 4429294"/>
                  <a:gd name="connsiteX64" fmla="*/ 250019 w 4501379"/>
                  <a:gd name="connsiteY64" fmla="*/ 1200150 h 4429294"/>
                  <a:gd name="connsiteX65" fmla="*/ 269069 w 4501379"/>
                  <a:gd name="connsiteY65" fmla="*/ 1152525 h 4429294"/>
                  <a:gd name="connsiteX66" fmla="*/ 297644 w 4501379"/>
                  <a:gd name="connsiteY66" fmla="*/ 1114425 h 4429294"/>
                  <a:gd name="connsiteX67" fmla="*/ 345269 w 4501379"/>
                  <a:gd name="connsiteY67" fmla="*/ 1038225 h 4429294"/>
                  <a:gd name="connsiteX68" fmla="*/ 364319 w 4501379"/>
                  <a:gd name="connsiteY68" fmla="*/ 1009650 h 4429294"/>
                  <a:gd name="connsiteX69" fmla="*/ 421469 w 4501379"/>
                  <a:gd name="connsiteY69" fmla="*/ 904875 h 4429294"/>
                  <a:gd name="connsiteX70" fmla="*/ 459569 w 4501379"/>
                  <a:gd name="connsiteY70" fmla="*/ 857250 h 4429294"/>
                  <a:gd name="connsiteX71" fmla="*/ 478619 w 4501379"/>
                  <a:gd name="connsiteY71" fmla="*/ 828675 h 4429294"/>
                  <a:gd name="connsiteX72" fmla="*/ 516719 w 4501379"/>
                  <a:gd name="connsiteY72" fmla="*/ 800100 h 4429294"/>
                  <a:gd name="connsiteX73" fmla="*/ 583394 w 4501379"/>
                  <a:gd name="connsiteY73" fmla="*/ 733425 h 4429294"/>
                  <a:gd name="connsiteX74" fmla="*/ 650069 w 4501379"/>
                  <a:gd name="connsiteY74" fmla="*/ 676275 h 4429294"/>
                  <a:gd name="connsiteX75" fmla="*/ 678644 w 4501379"/>
                  <a:gd name="connsiteY75" fmla="*/ 657225 h 4429294"/>
                  <a:gd name="connsiteX76" fmla="*/ 821519 w 4501379"/>
                  <a:gd name="connsiteY76" fmla="*/ 533400 h 4429294"/>
                  <a:gd name="connsiteX77" fmla="*/ 869144 w 4501379"/>
                  <a:gd name="connsiteY77" fmla="*/ 504825 h 4429294"/>
                  <a:gd name="connsiteX78" fmla="*/ 1148544 w 4501379"/>
                  <a:gd name="connsiteY78" fmla="*/ 311150 h 4429294"/>
                  <a:gd name="connsiteX79" fmla="*/ 1250144 w 4501379"/>
                  <a:gd name="connsiteY79" fmla="*/ 285750 h 4429294"/>
                  <a:gd name="connsiteX80" fmla="*/ 1393019 w 4501379"/>
                  <a:gd name="connsiteY80" fmla="*/ 190500 h 4429294"/>
                  <a:gd name="connsiteX81" fmla="*/ 1431119 w 4501379"/>
                  <a:gd name="connsiteY81" fmla="*/ 161925 h 4429294"/>
                  <a:gd name="connsiteX82" fmla="*/ 1507319 w 4501379"/>
                  <a:gd name="connsiteY82" fmla="*/ 152400 h 4429294"/>
                  <a:gd name="connsiteX83" fmla="*/ 1564469 w 4501379"/>
                  <a:gd name="connsiteY83" fmla="*/ 142875 h 4429294"/>
                  <a:gd name="connsiteX84" fmla="*/ 1697819 w 4501379"/>
                  <a:gd name="connsiteY84" fmla="*/ 123825 h 4429294"/>
                  <a:gd name="connsiteX85" fmla="*/ 1793069 w 4501379"/>
                  <a:gd name="connsiteY85" fmla="*/ 114300 h 4429294"/>
                  <a:gd name="connsiteX86" fmla="*/ 1840694 w 4501379"/>
                  <a:gd name="connsiteY86" fmla="*/ 104775 h 4429294"/>
                  <a:gd name="connsiteX87" fmla="*/ 1897844 w 4501379"/>
                  <a:gd name="connsiteY87" fmla="*/ 95250 h 4429294"/>
                  <a:gd name="connsiteX88" fmla="*/ 2012144 w 4501379"/>
                  <a:gd name="connsiteY88" fmla="*/ 66675 h 4429294"/>
                  <a:gd name="connsiteX89" fmla="*/ 2078819 w 4501379"/>
                  <a:gd name="connsiteY89" fmla="*/ 47625 h 4429294"/>
                  <a:gd name="connsiteX90" fmla="*/ 2145494 w 4501379"/>
                  <a:gd name="connsiteY90" fmla="*/ 38100 h 4429294"/>
                  <a:gd name="connsiteX0" fmla="*/ 2278844 w 4501379"/>
                  <a:gd name="connsiteY0" fmla="*/ 0 h 4429294"/>
                  <a:gd name="connsiteX1" fmla="*/ 2478869 w 4501379"/>
                  <a:gd name="connsiteY1" fmla="*/ 47625 h 4429294"/>
                  <a:gd name="connsiteX2" fmla="*/ 2736044 w 4501379"/>
                  <a:gd name="connsiteY2" fmla="*/ 66675 h 4429294"/>
                  <a:gd name="connsiteX3" fmla="*/ 2812244 w 4501379"/>
                  <a:gd name="connsiteY3" fmla="*/ 76200 h 4429294"/>
                  <a:gd name="connsiteX4" fmla="*/ 2897969 w 4501379"/>
                  <a:gd name="connsiteY4" fmla="*/ 85725 h 4429294"/>
                  <a:gd name="connsiteX5" fmla="*/ 2955119 w 4501379"/>
                  <a:gd name="connsiteY5" fmla="*/ 114300 h 4429294"/>
                  <a:gd name="connsiteX6" fmla="*/ 2993219 w 4501379"/>
                  <a:gd name="connsiteY6" fmla="*/ 123825 h 4429294"/>
                  <a:gd name="connsiteX7" fmla="*/ 3117044 w 4501379"/>
                  <a:gd name="connsiteY7" fmla="*/ 171450 h 4429294"/>
                  <a:gd name="connsiteX8" fmla="*/ 3155144 w 4501379"/>
                  <a:gd name="connsiteY8" fmla="*/ 190500 h 4429294"/>
                  <a:gd name="connsiteX9" fmla="*/ 3221819 w 4501379"/>
                  <a:gd name="connsiteY9" fmla="*/ 228600 h 4429294"/>
                  <a:gd name="connsiteX10" fmla="*/ 3250394 w 4501379"/>
                  <a:gd name="connsiteY10" fmla="*/ 238125 h 4429294"/>
                  <a:gd name="connsiteX11" fmla="*/ 3278969 w 4501379"/>
                  <a:gd name="connsiteY11" fmla="*/ 257175 h 4429294"/>
                  <a:gd name="connsiteX12" fmla="*/ 3307544 w 4501379"/>
                  <a:gd name="connsiteY12" fmla="*/ 266700 h 4429294"/>
                  <a:gd name="connsiteX13" fmla="*/ 3336119 w 4501379"/>
                  <a:gd name="connsiteY13" fmla="*/ 285750 h 4429294"/>
                  <a:gd name="connsiteX14" fmla="*/ 3402794 w 4501379"/>
                  <a:gd name="connsiteY14" fmla="*/ 323850 h 4429294"/>
                  <a:gd name="connsiteX15" fmla="*/ 3450419 w 4501379"/>
                  <a:gd name="connsiteY15" fmla="*/ 361950 h 4429294"/>
                  <a:gd name="connsiteX16" fmla="*/ 3498044 w 4501379"/>
                  <a:gd name="connsiteY16" fmla="*/ 390525 h 4429294"/>
                  <a:gd name="connsiteX17" fmla="*/ 3612344 w 4501379"/>
                  <a:gd name="connsiteY17" fmla="*/ 485775 h 4429294"/>
                  <a:gd name="connsiteX18" fmla="*/ 3726644 w 4501379"/>
                  <a:gd name="connsiteY18" fmla="*/ 542925 h 4429294"/>
                  <a:gd name="connsiteX19" fmla="*/ 3793319 w 4501379"/>
                  <a:gd name="connsiteY19" fmla="*/ 581025 h 4429294"/>
                  <a:gd name="connsiteX20" fmla="*/ 4009219 w 4501379"/>
                  <a:gd name="connsiteY20" fmla="*/ 819150 h 4429294"/>
                  <a:gd name="connsiteX21" fmla="*/ 4145744 w 4501379"/>
                  <a:gd name="connsiteY21" fmla="*/ 990600 h 4429294"/>
                  <a:gd name="connsiteX22" fmla="*/ 4231469 w 4501379"/>
                  <a:gd name="connsiteY22" fmla="*/ 1143000 h 4429294"/>
                  <a:gd name="connsiteX23" fmla="*/ 4288619 w 4501379"/>
                  <a:gd name="connsiteY23" fmla="*/ 1266825 h 4429294"/>
                  <a:gd name="connsiteX24" fmla="*/ 4326719 w 4501379"/>
                  <a:gd name="connsiteY24" fmla="*/ 1362075 h 4429294"/>
                  <a:gd name="connsiteX25" fmla="*/ 4374344 w 4501379"/>
                  <a:gd name="connsiteY25" fmla="*/ 1552575 h 4429294"/>
                  <a:gd name="connsiteX26" fmla="*/ 4412444 w 4501379"/>
                  <a:gd name="connsiteY26" fmla="*/ 1685925 h 4429294"/>
                  <a:gd name="connsiteX27" fmla="*/ 4501344 w 4501379"/>
                  <a:gd name="connsiteY27" fmla="*/ 2181225 h 4429294"/>
                  <a:gd name="connsiteX28" fmla="*/ 4428319 w 4501379"/>
                  <a:gd name="connsiteY28" fmla="*/ 2768600 h 4429294"/>
                  <a:gd name="connsiteX29" fmla="*/ 4364819 w 4501379"/>
                  <a:gd name="connsiteY29" fmla="*/ 2990850 h 4429294"/>
                  <a:gd name="connsiteX30" fmla="*/ 4260044 w 4501379"/>
                  <a:gd name="connsiteY30" fmla="*/ 3248025 h 4429294"/>
                  <a:gd name="connsiteX31" fmla="*/ 4164794 w 4501379"/>
                  <a:gd name="connsiteY31" fmla="*/ 3400425 h 4429294"/>
                  <a:gd name="connsiteX32" fmla="*/ 4040969 w 4501379"/>
                  <a:gd name="connsiteY32" fmla="*/ 3533775 h 4429294"/>
                  <a:gd name="connsiteX33" fmla="*/ 3936194 w 4501379"/>
                  <a:gd name="connsiteY33" fmla="*/ 3648075 h 4429294"/>
                  <a:gd name="connsiteX34" fmla="*/ 3640919 w 4501379"/>
                  <a:gd name="connsiteY34" fmla="*/ 3971925 h 4429294"/>
                  <a:gd name="connsiteX35" fmla="*/ 3498044 w 4501379"/>
                  <a:gd name="connsiteY35" fmla="*/ 4083050 h 4429294"/>
                  <a:gd name="connsiteX36" fmla="*/ 3202769 w 4501379"/>
                  <a:gd name="connsiteY36" fmla="*/ 4222750 h 4429294"/>
                  <a:gd name="connsiteX37" fmla="*/ 3050369 w 4501379"/>
                  <a:gd name="connsiteY37" fmla="*/ 4286250 h 4429294"/>
                  <a:gd name="connsiteX38" fmla="*/ 2917019 w 4501379"/>
                  <a:gd name="connsiteY38" fmla="*/ 4333875 h 4429294"/>
                  <a:gd name="connsiteX39" fmla="*/ 2793194 w 4501379"/>
                  <a:gd name="connsiteY39" fmla="*/ 4371975 h 4429294"/>
                  <a:gd name="connsiteX40" fmla="*/ 2561419 w 4501379"/>
                  <a:gd name="connsiteY40" fmla="*/ 4391025 h 4429294"/>
                  <a:gd name="connsiteX41" fmla="*/ 2107394 w 4501379"/>
                  <a:gd name="connsiteY41" fmla="*/ 4429125 h 4429294"/>
                  <a:gd name="connsiteX42" fmla="*/ 1916894 w 4501379"/>
                  <a:gd name="connsiteY42" fmla="*/ 4400550 h 4429294"/>
                  <a:gd name="connsiteX43" fmla="*/ 1554944 w 4501379"/>
                  <a:gd name="connsiteY43" fmla="*/ 4305300 h 4429294"/>
                  <a:gd name="connsiteX44" fmla="*/ 1313644 w 4501379"/>
                  <a:gd name="connsiteY44" fmla="*/ 4216400 h 4429294"/>
                  <a:gd name="connsiteX45" fmla="*/ 1145369 w 4501379"/>
                  <a:gd name="connsiteY45" fmla="*/ 4111625 h 4429294"/>
                  <a:gd name="connsiteX46" fmla="*/ 926294 w 4501379"/>
                  <a:gd name="connsiteY46" fmla="*/ 3968750 h 4429294"/>
                  <a:gd name="connsiteX47" fmla="*/ 592919 w 4501379"/>
                  <a:gd name="connsiteY47" fmla="*/ 3657600 h 4429294"/>
                  <a:gd name="connsiteX48" fmla="*/ 446869 w 4501379"/>
                  <a:gd name="connsiteY48" fmla="*/ 3470275 h 4429294"/>
                  <a:gd name="connsiteX49" fmla="*/ 316694 w 4501379"/>
                  <a:gd name="connsiteY49" fmla="*/ 3244850 h 4429294"/>
                  <a:gd name="connsiteX50" fmla="*/ 164294 w 4501379"/>
                  <a:gd name="connsiteY50" fmla="*/ 2892425 h 4429294"/>
                  <a:gd name="connsiteX51" fmla="*/ 56344 w 4501379"/>
                  <a:gd name="connsiteY51" fmla="*/ 2368550 h 4429294"/>
                  <a:gd name="connsiteX52" fmla="*/ 2369 w 4501379"/>
                  <a:gd name="connsiteY52" fmla="*/ 1905000 h 4429294"/>
                  <a:gd name="connsiteX53" fmla="*/ 11894 w 4501379"/>
                  <a:gd name="connsiteY53" fmla="*/ 1838325 h 4429294"/>
                  <a:gd name="connsiteX54" fmla="*/ 30944 w 4501379"/>
                  <a:gd name="connsiteY54" fmla="*/ 1781175 h 4429294"/>
                  <a:gd name="connsiteX55" fmla="*/ 40469 w 4501379"/>
                  <a:gd name="connsiteY55" fmla="*/ 1743075 h 4429294"/>
                  <a:gd name="connsiteX56" fmla="*/ 59519 w 4501379"/>
                  <a:gd name="connsiteY56" fmla="*/ 1685925 h 4429294"/>
                  <a:gd name="connsiteX57" fmla="*/ 69044 w 4501379"/>
                  <a:gd name="connsiteY57" fmla="*/ 1638300 h 4429294"/>
                  <a:gd name="connsiteX58" fmla="*/ 88094 w 4501379"/>
                  <a:gd name="connsiteY58" fmla="*/ 1590675 h 4429294"/>
                  <a:gd name="connsiteX59" fmla="*/ 116669 w 4501379"/>
                  <a:gd name="connsiteY59" fmla="*/ 1504950 h 4429294"/>
                  <a:gd name="connsiteX60" fmla="*/ 135719 w 4501379"/>
                  <a:gd name="connsiteY60" fmla="*/ 1419225 h 4429294"/>
                  <a:gd name="connsiteX61" fmla="*/ 211919 w 4501379"/>
                  <a:gd name="connsiteY61" fmla="*/ 1276350 h 4429294"/>
                  <a:gd name="connsiteX62" fmla="*/ 221444 w 4501379"/>
                  <a:gd name="connsiteY62" fmla="*/ 1247775 h 4429294"/>
                  <a:gd name="connsiteX63" fmla="*/ 250019 w 4501379"/>
                  <a:gd name="connsiteY63" fmla="*/ 1200150 h 4429294"/>
                  <a:gd name="connsiteX64" fmla="*/ 269069 w 4501379"/>
                  <a:gd name="connsiteY64" fmla="*/ 1152525 h 4429294"/>
                  <a:gd name="connsiteX65" fmla="*/ 297644 w 4501379"/>
                  <a:gd name="connsiteY65" fmla="*/ 1114425 h 4429294"/>
                  <a:gd name="connsiteX66" fmla="*/ 345269 w 4501379"/>
                  <a:gd name="connsiteY66" fmla="*/ 1038225 h 4429294"/>
                  <a:gd name="connsiteX67" fmla="*/ 364319 w 4501379"/>
                  <a:gd name="connsiteY67" fmla="*/ 1009650 h 4429294"/>
                  <a:gd name="connsiteX68" fmla="*/ 421469 w 4501379"/>
                  <a:gd name="connsiteY68" fmla="*/ 904875 h 4429294"/>
                  <a:gd name="connsiteX69" fmla="*/ 459569 w 4501379"/>
                  <a:gd name="connsiteY69" fmla="*/ 857250 h 4429294"/>
                  <a:gd name="connsiteX70" fmla="*/ 478619 w 4501379"/>
                  <a:gd name="connsiteY70" fmla="*/ 828675 h 4429294"/>
                  <a:gd name="connsiteX71" fmla="*/ 516719 w 4501379"/>
                  <a:gd name="connsiteY71" fmla="*/ 800100 h 4429294"/>
                  <a:gd name="connsiteX72" fmla="*/ 583394 w 4501379"/>
                  <a:gd name="connsiteY72" fmla="*/ 733425 h 4429294"/>
                  <a:gd name="connsiteX73" fmla="*/ 650069 w 4501379"/>
                  <a:gd name="connsiteY73" fmla="*/ 676275 h 4429294"/>
                  <a:gd name="connsiteX74" fmla="*/ 678644 w 4501379"/>
                  <a:gd name="connsiteY74" fmla="*/ 657225 h 4429294"/>
                  <a:gd name="connsiteX75" fmla="*/ 821519 w 4501379"/>
                  <a:gd name="connsiteY75" fmla="*/ 533400 h 4429294"/>
                  <a:gd name="connsiteX76" fmla="*/ 869144 w 4501379"/>
                  <a:gd name="connsiteY76" fmla="*/ 504825 h 4429294"/>
                  <a:gd name="connsiteX77" fmla="*/ 1148544 w 4501379"/>
                  <a:gd name="connsiteY77" fmla="*/ 311150 h 4429294"/>
                  <a:gd name="connsiteX78" fmla="*/ 1250144 w 4501379"/>
                  <a:gd name="connsiteY78" fmla="*/ 285750 h 4429294"/>
                  <a:gd name="connsiteX79" fmla="*/ 1393019 w 4501379"/>
                  <a:gd name="connsiteY79" fmla="*/ 190500 h 4429294"/>
                  <a:gd name="connsiteX80" fmla="*/ 1431119 w 4501379"/>
                  <a:gd name="connsiteY80" fmla="*/ 161925 h 4429294"/>
                  <a:gd name="connsiteX81" fmla="*/ 1507319 w 4501379"/>
                  <a:gd name="connsiteY81" fmla="*/ 152400 h 4429294"/>
                  <a:gd name="connsiteX82" fmla="*/ 1564469 w 4501379"/>
                  <a:gd name="connsiteY82" fmla="*/ 142875 h 4429294"/>
                  <a:gd name="connsiteX83" fmla="*/ 1697819 w 4501379"/>
                  <a:gd name="connsiteY83" fmla="*/ 123825 h 4429294"/>
                  <a:gd name="connsiteX84" fmla="*/ 1793069 w 4501379"/>
                  <a:gd name="connsiteY84" fmla="*/ 114300 h 4429294"/>
                  <a:gd name="connsiteX85" fmla="*/ 1840694 w 4501379"/>
                  <a:gd name="connsiteY85" fmla="*/ 104775 h 4429294"/>
                  <a:gd name="connsiteX86" fmla="*/ 1897844 w 4501379"/>
                  <a:gd name="connsiteY86" fmla="*/ 95250 h 4429294"/>
                  <a:gd name="connsiteX87" fmla="*/ 2012144 w 4501379"/>
                  <a:gd name="connsiteY87" fmla="*/ 66675 h 4429294"/>
                  <a:gd name="connsiteX88" fmla="*/ 2078819 w 4501379"/>
                  <a:gd name="connsiteY88" fmla="*/ 47625 h 4429294"/>
                  <a:gd name="connsiteX89" fmla="*/ 2145494 w 4501379"/>
                  <a:gd name="connsiteY89" fmla="*/ 38100 h 4429294"/>
                  <a:gd name="connsiteX0" fmla="*/ 2278844 w 4501379"/>
                  <a:gd name="connsiteY0" fmla="*/ 0 h 4429294"/>
                  <a:gd name="connsiteX1" fmla="*/ 2736044 w 4501379"/>
                  <a:gd name="connsiteY1" fmla="*/ 66675 h 4429294"/>
                  <a:gd name="connsiteX2" fmla="*/ 2812244 w 4501379"/>
                  <a:gd name="connsiteY2" fmla="*/ 76200 h 4429294"/>
                  <a:gd name="connsiteX3" fmla="*/ 2897969 w 4501379"/>
                  <a:gd name="connsiteY3" fmla="*/ 85725 h 4429294"/>
                  <a:gd name="connsiteX4" fmla="*/ 2955119 w 4501379"/>
                  <a:gd name="connsiteY4" fmla="*/ 114300 h 4429294"/>
                  <a:gd name="connsiteX5" fmla="*/ 2993219 w 4501379"/>
                  <a:gd name="connsiteY5" fmla="*/ 123825 h 4429294"/>
                  <a:gd name="connsiteX6" fmla="*/ 3117044 w 4501379"/>
                  <a:gd name="connsiteY6" fmla="*/ 171450 h 4429294"/>
                  <a:gd name="connsiteX7" fmla="*/ 3155144 w 4501379"/>
                  <a:gd name="connsiteY7" fmla="*/ 190500 h 4429294"/>
                  <a:gd name="connsiteX8" fmla="*/ 3221819 w 4501379"/>
                  <a:gd name="connsiteY8" fmla="*/ 228600 h 4429294"/>
                  <a:gd name="connsiteX9" fmla="*/ 3250394 w 4501379"/>
                  <a:gd name="connsiteY9" fmla="*/ 238125 h 4429294"/>
                  <a:gd name="connsiteX10" fmla="*/ 3278969 w 4501379"/>
                  <a:gd name="connsiteY10" fmla="*/ 257175 h 4429294"/>
                  <a:gd name="connsiteX11" fmla="*/ 3307544 w 4501379"/>
                  <a:gd name="connsiteY11" fmla="*/ 266700 h 4429294"/>
                  <a:gd name="connsiteX12" fmla="*/ 3336119 w 4501379"/>
                  <a:gd name="connsiteY12" fmla="*/ 285750 h 4429294"/>
                  <a:gd name="connsiteX13" fmla="*/ 3402794 w 4501379"/>
                  <a:gd name="connsiteY13" fmla="*/ 323850 h 4429294"/>
                  <a:gd name="connsiteX14" fmla="*/ 3450419 w 4501379"/>
                  <a:gd name="connsiteY14" fmla="*/ 361950 h 4429294"/>
                  <a:gd name="connsiteX15" fmla="*/ 3498044 w 4501379"/>
                  <a:gd name="connsiteY15" fmla="*/ 390525 h 4429294"/>
                  <a:gd name="connsiteX16" fmla="*/ 3612344 w 4501379"/>
                  <a:gd name="connsiteY16" fmla="*/ 485775 h 4429294"/>
                  <a:gd name="connsiteX17" fmla="*/ 3726644 w 4501379"/>
                  <a:gd name="connsiteY17" fmla="*/ 542925 h 4429294"/>
                  <a:gd name="connsiteX18" fmla="*/ 3793319 w 4501379"/>
                  <a:gd name="connsiteY18" fmla="*/ 581025 h 4429294"/>
                  <a:gd name="connsiteX19" fmla="*/ 4009219 w 4501379"/>
                  <a:gd name="connsiteY19" fmla="*/ 819150 h 4429294"/>
                  <a:gd name="connsiteX20" fmla="*/ 4145744 w 4501379"/>
                  <a:gd name="connsiteY20" fmla="*/ 990600 h 4429294"/>
                  <a:gd name="connsiteX21" fmla="*/ 4231469 w 4501379"/>
                  <a:gd name="connsiteY21" fmla="*/ 1143000 h 4429294"/>
                  <a:gd name="connsiteX22" fmla="*/ 4288619 w 4501379"/>
                  <a:gd name="connsiteY22" fmla="*/ 1266825 h 4429294"/>
                  <a:gd name="connsiteX23" fmla="*/ 4326719 w 4501379"/>
                  <a:gd name="connsiteY23" fmla="*/ 1362075 h 4429294"/>
                  <a:gd name="connsiteX24" fmla="*/ 4374344 w 4501379"/>
                  <a:gd name="connsiteY24" fmla="*/ 1552575 h 4429294"/>
                  <a:gd name="connsiteX25" fmla="*/ 4412444 w 4501379"/>
                  <a:gd name="connsiteY25" fmla="*/ 1685925 h 4429294"/>
                  <a:gd name="connsiteX26" fmla="*/ 4501344 w 4501379"/>
                  <a:gd name="connsiteY26" fmla="*/ 2181225 h 4429294"/>
                  <a:gd name="connsiteX27" fmla="*/ 4428319 w 4501379"/>
                  <a:gd name="connsiteY27" fmla="*/ 2768600 h 4429294"/>
                  <a:gd name="connsiteX28" fmla="*/ 4364819 w 4501379"/>
                  <a:gd name="connsiteY28" fmla="*/ 2990850 h 4429294"/>
                  <a:gd name="connsiteX29" fmla="*/ 4260044 w 4501379"/>
                  <a:gd name="connsiteY29" fmla="*/ 3248025 h 4429294"/>
                  <a:gd name="connsiteX30" fmla="*/ 4164794 w 4501379"/>
                  <a:gd name="connsiteY30" fmla="*/ 3400425 h 4429294"/>
                  <a:gd name="connsiteX31" fmla="*/ 4040969 w 4501379"/>
                  <a:gd name="connsiteY31" fmla="*/ 3533775 h 4429294"/>
                  <a:gd name="connsiteX32" fmla="*/ 3936194 w 4501379"/>
                  <a:gd name="connsiteY32" fmla="*/ 3648075 h 4429294"/>
                  <a:gd name="connsiteX33" fmla="*/ 3640919 w 4501379"/>
                  <a:gd name="connsiteY33" fmla="*/ 3971925 h 4429294"/>
                  <a:gd name="connsiteX34" fmla="*/ 3498044 w 4501379"/>
                  <a:gd name="connsiteY34" fmla="*/ 4083050 h 4429294"/>
                  <a:gd name="connsiteX35" fmla="*/ 3202769 w 4501379"/>
                  <a:gd name="connsiteY35" fmla="*/ 4222750 h 4429294"/>
                  <a:gd name="connsiteX36" fmla="*/ 3050369 w 4501379"/>
                  <a:gd name="connsiteY36" fmla="*/ 4286250 h 4429294"/>
                  <a:gd name="connsiteX37" fmla="*/ 2917019 w 4501379"/>
                  <a:gd name="connsiteY37" fmla="*/ 4333875 h 4429294"/>
                  <a:gd name="connsiteX38" fmla="*/ 2793194 w 4501379"/>
                  <a:gd name="connsiteY38" fmla="*/ 4371975 h 4429294"/>
                  <a:gd name="connsiteX39" fmla="*/ 2561419 w 4501379"/>
                  <a:gd name="connsiteY39" fmla="*/ 4391025 h 4429294"/>
                  <a:gd name="connsiteX40" fmla="*/ 2107394 w 4501379"/>
                  <a:gd name="connsiteY40" fmla="*/ 4429125 h 4429294"/>
                  <a:gd name="connsiteX41" fmla="*/ 1916894 w 4501379"/>
                  <a:gd name="connsiteY41" fmla="*/ 4400550 h 4429294"/>
                  <a:gd name="connsiteX42" fmla="*/ 1554944 w 4501379"/>
                  <a:gd name="connsiteY42" fmla="*/ 4305300 h 4429294"/>
                  <a:gd name="connsiteX43" fmla="*/ 1313644 w 4501379"/>
                  <a:gd name="connsiteY43" fmla="*/ 4216400 h 4429294"/>
                  <a:gd name="connsiteX44" fmla="*/ 1145369 w 4501379"/>
                  <a:gd name="connsiteY44" fmla="*/ 4111625 h 4429294"/>
                  <a:gd name="connsiteX45" fmla="*/ 926294 w 4501379"/>
                  <a:gd name="connsiteY45" fmla="*/ 3968750 h 4429294"/>
                  <a:gd name="connsiteX46" fmla="*/ 592919 w 4501379"/>
                  <a:gd name="connsiteY46" fmla="*/ 3657600 h 4429294"/>
                  <a:gd name="connsiteX47" fmla="*/ 446869 w 4501379"/>
                  <a:gd name="connsiteY47" fmla="*/ 3470275 h 4429294"/>
                  <a:gd name="connsiteX48" fmla="*/ 316694 w 4501379"/>
                  <a:gd name="connsiteY48" fmla="*/ 3244850 h 4429294"/>
                  <a:gd name="connsiteX49" fmla="*/ 164294 w 4501379"/>
                  <a:gd name="connsiteY49" fmla="*/ 2892425 h 4429294"/>
                  <a:gd name="connsiteX50" fmla="*/ 56344 w 4501379"/>
                  <a:gd name="connsiteY50" fmla="*/ 2368550 h 4429294"/>
                  <a:gd name="connsiteX51" fmla="*/ 2369 w 4501379"/>
                  <a:gd name="connsiteY51" fmla="*/ 1905000 h 4429294"/>
                  <a:gd name="connsiteX52" fmla="*/ 11894 w 4501379"/>
                  <a:gd name="connsiteY52" fmla="*/ 1838325 h 4429294"/>
                  <a:gd name="connsiteX53" fmla="*/ 30944 w 4501379"/>
                  <a:gd name="connsiteY53" fmla="*/ 1781175 h 4429294"/>
                  <a:gd name="connsiteX54" fmla="*/ 40469 w 4501379"/>
                  <a:gd name="connsiteY54" fmla="*/ 1743075 h 4429294"/>
                  <a:gd name="connsiteX55" fmla="*/ 59519 w 4501379"/>
                  <a:gd name="connsiteY55" fmla="*/ 1685925 h 4429294"/>
                  <a:gd name="connsiteX56" fmla="*/ 69044 w 4501379"/>
                  <a:gd name="connsiteY56" fmla="*/ 1638300 h 4429294"/>
                  <a:gd name="connsiteX57" fmla="*/ 88094 w 4501379"/>
                  <a:gd name="connsiteY57" fmla="*/ 1590675 h 4429294"/>
                  <a:gd name="connsiteX58" fmla="*/ 116669 w 4501379"/>
                  <a:gd name="connsiteY58" fmla="*/ 1504950 h 4429294"/>
                  <a:gd name="connsiteX59" fmla="*/ 135719 w 4501379"/>
                  <a:gd name="connsiteY59" fmla="*/ 1419225 h 4429294"/>
                  <a:gd name="connsiteX60" fmla="*/ 211919 w 4501379"/>
                  <a:gd name="connsiteY60" fmla="*/ 1276350 h 4429294"/>
                  <a:gd name="connsiteX61" fmla="*/ 221444 w 4501379"/>
                  <a:gd name="connsiteY61" fmla="*/ 1247775 h 4429294"/>
                  <a:gd name="connsiteX62" fmla="*/ 250019 w 4501379"/>
                  <a:gd name="connsiteY62" fmla="*/ 1200150 h 4429294"/>
                  <a:gd name="connsiteX63" fmla="*/ 269069 w 4501379"/>
                  <a:gd name="connsiteY63" fmla="*/ 1152525 h 4429294"/>
                  <a:gd name="connsiteX64" fmla="*/ 297644 w 4501379"/>
                  <a:gd name="connsiteY64" fmla="*/ 1114425 h 4429294"/>
                  <a:gd name="connsiteX65" fmla="*/ 345269 w 4501379"/>
                  <a:gd name="connsiteY65" fmla="*/ 1038225 h 4429294"/>
                  <a:gd name="connsiteX66" fmla="*/ 364319 w 4501379"/>
                  <a:gd name="connsiteY66" fmla="*/ 1009650 h 4429294"/>
                  <a:gd name="connsiteX67" fmla="*/ 421469 w 4501379"/>
                  <a:gd name="connsiteY67" fmla="*/ 904875 h 4429294"/>
                  <a:gd name="connsiteX68" fmla="*/ 459569 w 4501379"/>
                  <a:gd name="connsiteY68" fmla="*/ 857250 h 4429294"/>
                  <a:gd name="connsiteX69" fmla="*/ 478619 w 4501379"/>
                  <a:gd name="connsiteY69" fmla="*/ 828675 h 4429294"/>
                  <a:gd name="connsiteX70" fmla="*/ 516719 w 4501379"/>
                  <a:gd name="connsiteY70" fmla="*/ 800100 h 4429294"/>
                  <a:gd name="connsiteX71" fmla="*/ 583394 w 4501379"/>
                  <a:gd name="connsiteY71" fmla="*/ 733425 h 4429294"/>
                  <a:gd name="connsiteX72" fmla="*/ 650069 w 4501379"/>
                  <a:gd name="connsiteY72" fmla="*/ 676275 h 4429294"/>
                  <a:gd name="connsiteX73" fmla="*/ 678644 w 4501379"/>
                  <a:gd name="connsiteY73" fmla="*/ 657225 h 4429294"/>
                  <a:gd name="connsiteX74" fmla="*/ 821519 w 4501379"/>
                  <a:gd name="connsiteY74" fmla="*/ 533400 h 4429294"/>
                  <a:gd name="connsiteX75" fmla="*/ 869144 w 4501379"/>
                  <a:gd name="connsiteY75" fmla="*/ 504825 h 4429294"/>
                  <a:gd name="connsiteX76" fmla="*/ 1148544 w 4501379"/>
                  <a:gd name="connsiteY76" fmla="*/ 311150 h 4429294"/>
                  <a:gd name="connsiteX77" fmla="*/ 1250144 w 4501379"/>
                  <a:gd name="connsiteY77" fmla="*/ 285750 h 4429294"/>
                  <a:gd name="connsiteX78" fmla="*/ 1393019 w 4501379"/>
                  <a:gd name="connsiteY78" fmla="*/ 190500 h 4429294"/>
                  <a:gd name="connsiteX79" fmla="*/ 1431119 w 4501379"/>
                  <a:gd name="connsiteY79" fmla="*/ 161925 h 4429294"/>
                  <a:gd name="connsiteX80" fmla="*/ 1507319 w 4501379"/>
                  <a:gd name="connsiteY80" fmla="*/ 152400 h 4429294"/>
                  <a:gd name="connsiteX81" fmla="*/ 1564469 w 4501379"/>
                  <a:gd name="connsiteY81" fmla="*/ 142875 h 4429294"/>
                  <a:gd name="connsiteX82" fmla="*/ 1697819 w 4501379"/>
                  <a:gd name="connsiteY82" fmla="*/ 123825 h 4429294"/>
                  <a:gd name="connsiteX83" fmla="*/ 1793069 w 4501379"/>
                  <a:gd name="connsiteY83" fmla="*/ 114300 h 4429294"/>
                  <a:gd name="connsiteX84" fmla="*/ 1840694 w 4501379"/>
                  <a:gd name="connsiteY84" fmla="*/ 104775 h 4429294"/>
                  <a:gd name="connsiteX85" fmla="*/ 1897844 w 4501379"/>
                  <a:gd name="connsiteY85" fmla="*/ 95250 h 4429294"/>
                  <a:gd name="connsiteX86" fmla="*/ 2012144 w 4501379"/>
                  <a:gd name="connsiteY86" fmla="*/ 66675 h 4429294"/>
                  <a:gd name="connsiteX87" fmla="*/ 2078819 w 4501379"/>
                  <a:gd name="connsiteY87" fmla="*/ 47625 h 4429294"/>
                  <a:gd name="connsiteX88" fmla="*/ 2145494 w 4501379"/>
                  <a:gd name="connsiteY8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12244 w 4501379"/>
                  <a:gd name="connsiteY2" fmla="*/ 76200 h 4429294"/>
                  <a:gd name="connsiteX3" fmla="*/ 2897969 w 4501379"/>
                  <a:gd name="connsiteY3" fmla="*/ 85725 h 4429294"/>
                  <a:gd name="connsiteX4" fmla="*/ 2955119 w 4501379"/>
                  <a:gd name="connsiteY4" fmla="*/ 114300 h 4429294"/>
                  <a:gd name="connsiteX5" fmla="*/ 2993219 w 4501379"/>
                  <a:gd name="connsiteY5" fmla="*/ 123825 h 4429294"/>
                  <a:gd name="connsiteX6" fmla="*/ 3117044 w 4501379"/>
                  <a:gd name="connsiteY6" fmla="*/ 171450 h 4429294"/>
                  <a:gd name="connsiteX7" fmla="*/ 3155144 w 4501379"/>
                  <a:gd name="connsiteY7" fmla="*/ 190500 h 4429294"/>
                  <a:gd name="connsiteX8" fmla="*/ 3221819 w 4501379"/>
                  <a:gd name="connsiteY8" fmla="*/ 228600 h 4429294"/>
                  <a:gd name="connsiteX9" fmla="*/ 3250394 w 4501379"/>
                  <a:gd name="connsiteY9" fmla="*/ 238125 h 4429294"/>
                  <a:gd name="connsiteX10" fmla="*/ 3278969 w 4501379"/>
                  <a:gd name="connsiteY10" fmla="*/ 257175 h 4429294"/>
                  <a:gd name="connsiteX11" fmla="*/ 3307544 w 4501379"/>
                  <a:gd name="connsiteY11" fmla="*/ 266700 h 4429294"/>
                  <a:gd name="connsiteX12" fmla="*/ 3336119 w 4501379"/>
                  <a:gd name="connsiteY12" fmla="*/ 285750 h 4429294"/>
                  <a:gd name="connsiteX13" fmla="*/ 3402794 w 4501379"/>
                  <a:gd name="connsiteY13" fmla="*/ 323850 h 4429294"/>
                  <a:gd name="connsiteX14" fmla="*/ 3450419 w 4501379"/>
                  <a:gd name="connsiteY14" fmla="*/ 361950 h 4429294"/>
                  <a:gd name="connsiteX15" fmla="*/ 3498044 w 4501379"/>
                  <a:gd name="connsiteY15" fmla="*/ 390525 h 4429294"/>
                  <a:gd name="connsiteX16" fmla="*/ 3612344 w 4501379"/>
                  <a:gd name="connsiteY16" fmla="*/ 485775 h 4429294"/>
                  <a:gd name="connsiteX17" fmla="*/ 3726644 w 4501379"/>
                  <a:gd name="connsiteY17" fmla="*/ 542925 h 4429294"/>
                  <a:gd name="connsiteX18" fmla="*/ 3793319 w 4501379"/>
                  <a:gd name="connsiteY18" fmla="*/ 581025 h 4429294"/>
                  <a:gd name="connsiteX19" fmla="*/ 4009219 w 4501379"/>
                  <a:gd name="connsiteY19" fmla="*/ 819150 h 4429294"/>
                  <a:gd name="connsiteX20" fmla="*/ 4145744 w 4501379"/>
                  <a:gd name="connsiteY20" fmla="*/ 990600 h 4429294"/>
                  <a:gd name="connsiteX21" fmla="*/ 4231469 w 4501379"/>
                  <a:gd name="connsiteY21" fmla="*/ 1143000 h 4429294"/>
                  <a:gd name="connsiteX22" fmla="*/ 4288619 w 4501379"/>
                  <a:gd name="connsiteY22" fmla="*/ 1266825 h 4429294"/>
                  <a:gd name="connsiteX23" fmla="*/ 4326719 w 4501379"/>
                  <a:gd name="connsiteY23" fmla="*/ 1362075 h 4429294"/>
                  <a:gd name="connsiteX24" fmla="*/ 4374344 w 4501379"/>
                  <a:gd name="connsiteY24" fmla="*/ 1552575 h 4429294"/>
                  <a:gd name="connsiteX25" fmla="*/ 4412444 w 4501379"/>
                  <a:gd name="connsiteY25" fmla="*/ 1685925 h 4429294"/>
                  <a:gd name="connsiteX26" fmla="*/ 4501344 w 4501379"/>
                  <a:gd name="connsiteY26" fmla="*/ 2181225 h 4429294"/>
                  <a:gd name="connsiteX27" fmla="*/ 4428319 w 4501379"/>
                  <a:gd name="connsiteY27" fmla="*/ 2768600 h 4429294"/>
                  <a:gd name="connsiteX28" fmla="*/ 4364819 w 4501379"/>
                  <a:gd name="connsiteY28" fmla="*/ 2990850 h 4429294"/>
                  <a:gd name="connsiteX29" fmla="*/ 4260044 w 4501379"/>
                  <a:gd name="connsiteY29" fmla="*/ 3248025 h 4429294"/>
                  <a:gd name="connsiteX30" fmla="*/ 4164794 w 4501379"/>
                  <a:gd name="connsiteY30" fmla="*/ 3400425 h 4429294"/>
                  <a:gd name="connsiteX31" fmla="*/ 4040969 w 4501379"/>
                  <a:gd name="connsiteY31" fmla="*/ 3533775 h 4429294"/>
                  <a:gd name="connsiteX32" fmla="*/ 3936194 w 4501379"/>
                  <a:gd name="connsiteY32" fmla="*/ 3648075 h 4429294"/>
                  <a:gd name="connsiteX33" fmla="*/ 3640919 w 4501379"/>
                  <a:gd name="connsiteY33" fmla="*/ 3971925 h 4429294"/>
                  <a:gd name="connsiteX34" fmla="*/ 3498044 w 4501379"/>
                  <a:gd name="connsiteY34" fmla="*/ 4083050 h 4429294"/>
                  <a:gd name="connsiteX35" fmla="*/ 3202769 w 4501379"/>
                  <a:gd name="connsiteY35" fmla="*/ 4222750 h 4429294"/>
                  <a:gd name="connsiteX36" fmla="*/ 3050369 w 4501379"/>
                  <a:gd name="connsiteY36" fmla="*/ 4286250 h 4429294"/>
                  <a:gd name="connsiteX37" fmla="*/ 2917019 w 4501379"/>
                  <a:gd name="connsiteY37" fmla="*/ 4333875 h 4429294"/>
                  <a:gd name="connsiteX38" fmla="*/ 2793194 w 4501379"/>
                  <a:gd name="connsiteY38" fmla="*/ 4371975 h 4429294"/>
                  <a:gd name="connsiteX39" fmla="*/ 2561419 w 4501379"/>
                  <a:gd name="connsiteY39" fmla="*/ 4391025 h 4429294"/>
                  <a:gd name="connsiteX40" fmla="*/ 2107394 w 4501379"/>
                  <a:gd name="connsiteY40" fmla="*/ 4429125 h 4429294"/>
                  <a:gd name="connsiteX41" fmla="*/ 1916894 w 4501379"/>
                  <a:gd name="connsiteY41" fmla="*/ 4400550 h 4429294"/>
                  <a:gd name="connsiteX42" fmla="*/ 1554944 w 4501379"/>
                  <a:gd name="connsiteY42" fmla="*/ 4305300 h 4429294"/>
                  <a:gd name="connsiteX43" fmla="*/ 1313644 w 4501379"/>
                  <a:gd name="connsiteY43" fmla="*/ 4216400 h 4429294"/>
                  <a:gd name="connsiteX44" fmla="*/ 1145369 w 4501379"/>
                  <a:gd name="connsiteY44" fmla="*/ 4111625 h 4429294"/>
                  <a:gd name="connsiteX45" fmla="*/ 926294 w 4501379"/>
                  <a:gd name="connsiteY45" fmla="*/ 3968750 h 4429294"/>
                  <a:gd name="connsiteX46" fmla="*/ 592919 w 4501379"/>
                  <a:gd name="connsiteY46" fmla="*/ 3657600 h 4429294"/>
                  <a:gd name="connsiteX47" fmla="*/ 446869 w 4501379"/>
                  <a:gd name="connsiteY47" fmla="*/ 3470275 h 4429294"/>
                  <a:gd name="connsiteX48" fmla="*/ 316694 w 4501379"/>
                  <a:gd name="connsiteY48" fmla="*/ 3244850 h 4429294"/>
                  <a:gd name="connsiteX49" fmla="*/ 164294 w 4501379"/>
                  <a:gd name="connsiteY49" fmla="*/ 2892425 h 4429294"/>
                  <a:gd name="connsiteX50" fmla="*/ 56344 w 4501379"/>
                  <a:gd name="connsiteY50" fmla="*/ 2368550 h 4429294"/>
                  <a:gd name="connsiteX51" fmla="*/ 2369 w 4501379"/>
                  <a:gd name="connsiteY51" fmla="*/ 1905000 h 4429294"/>
                  <a:gd name="connsiteX52" fmla="*/ 11894 w 4501379"/>
                  <a:gd name="connsiteY52" fmla="*/ 1838325 h 4429294"/>
                  <a:gd name="connsiteX53" fmla="*/ 30944 w 4501379"/>
                  <a:gd name="connsiteY53" fmla="*/ 1781175 h 4429294"/>
                  <a:gd name="connsiteX54" fmla="*/ 40469 w 4501379"/>
                  <a:gd name="connsiteY54" fmla="*/ 1743075 h 4429294"/>
                  <a:gd name="connsiteX55" fmla="*/ 59519 w 4501379"/>
                  <a:gd name="connsiteY55" fmla="*/ 1685925 h 4429294"/>
                  <a:gd name="connsiteX56" fmla="*/ 69044 w 4501379"/>
                  <a:gd name="connsiteY56" fmla="*/ 1638300 h 4429294"/>
                  <a:gd name="connsiteX57" fmla="*/ 88094 w 4501379"/>
                  <a:gd name="connsiteY57" fmla="*/ 1590675 h 4429294"/>
                  <a:gd name="connsiteX58" fmla="*/ 116669 w 4501379"/>
                  <a:gd name="connsiteY58" fmla="*/ 1504950 h 4429294"/>
                  <a:gd name="connsiteX59" fmla="*/ 135719 w 4501379"/>
                  <a:gd name="connsiteY59" fmla="*/ 1419225 h 4429294"/>
                  <a:gd name="connsiteX60" fmla="*/ 211919 w 4501379"/>
                  <a:gd name="connsiteY60" fmla="*/ 1276350 h 4429294"/>
                  <a:gd name="connsiteX61" fmla="*/ 221444 w 4501379"/>
                  <a:gd name="connsiteY61" fmla="*/ 1247775 h 4429294"/>
                  <a:gd name="connsiteX62" fmla="*/ 250019 w 4501379"/>
                  <a:gd name="connsiteY62" fmla="*/ 1200150 h 4429294"/>
                  <a:gd name="connsiteX63" fmla="*/ 269069 w 4501379"/>
                  <a:gd name="connsiteY63" fmla="*/ 1152525 h 4429294"/>
                  <a:gd name="connsiteX64" fmla="*/ 297644 w 4501379"/>
                  <a:gd name="connsiteY64" fmla="*/ 1114425 h 4429294"/>
                  <a:gd name="connsiteX65" fmla="*/ 345269 w 4501379"/>
                  <a:gd name="connsiteY65" fmla="*/ 1038225 h 4429294"/>
                  <a:gd name="connsiteX66" fmla="*/ 364319 w 4501379"/>
                  <a:gd name="connsiteY66" fmla="*/ 1009650 h 4429294"/>
                  <a:gd name="connsiteX67" fmla="*/ 421469 w 4501379"/>
                  <a:gd name="connsiteY67" fmla="*/ 904875 h 4429294"/>
                  <a:gd name="connsiteX68" fmla="*/ 459569 w 4501379"/>
                  <a:gd name="connsiteY68" fmla="*/ 857250 h 4429294"/>
                  <a:gd name="connsiteX69" fmla="*/ 478619 w 4501379"/>
                  <a:gd name="connsiteY69" fmla="*/ 828675 h 4429294"/>
                  <a:gd name="connsiteX70" fmla="*/ 516719 w 4501379"/>
                  <a:gd name="connsiteY70" fmla="*/ 800100 h 4429294"/>
                  <a:gd name="connsiteX71" fmla="*/ 583394 w 4501379"/>
                  <a:gd name="connsiteY71" fmla="*/ 733425 h 4429294"/>
                  <a:gd name="connsiteX72" fmla="*/ 650069 w 4501379"/>
                  <a:gd name="connsiteY72" fmla="*/ 676275 h 4429294"/>
                  <a:gd name="connsiteX73" fmla="*/ 678644 w 4501379"/>
                  <a:gd name="connsiteY73" fmla="*/ 657225 h 4429294"/>
                  <a:gd name="connsiteX74" fmla="*/ 821519 w 4501379"/>
                  <a:gd name="connsiteY74" fmla="*/ 533400 h 4429294"/>
                  <a:gd name="connsiteX75" fmla="*/ 869144 w 4501379"/>
                  <a:gd name="connsiteY75" fmla="*/ 504825 h 4429294"/>
                  <a:gd name="connsiteX76" fmla="*/ 1148544 w 4501379"/>
                  <a:gd name="connsiteY76" fmla="*/ 311150 h 4429294"/>
                  <a:gd name="connsiteX77" fmla="*/ 1250144 w 4501379"/>
                  <a:gd name="connsiteY77" fmla="*/ 285750 h 4429294"/>
                  <a:gd name="connsiteX78" fmla="*/ 1393019 w 4501379"/>
                  <a:gd name="connsiteY78" fmla="*/ 190500 h 4429294"/>
                  <a:gd name="connsiteX79" fmla="*/ 1431119 w 4501379"/>
                  <a:gd name="connsiteY79" fmla="*/ 161925 h 4429294"/>
                  <a:gd name="connsiteX80" fmla="*/ 1507319 w 4501379"/>
                  <a:gd name="connsiteY80" fmla="*/ 152400 h 4429294"/>
                  <a:gd name="connsiteX81" fmla="*/ 1564469 w 4501379"/>
                  <a:gd name="connsiteY81" fmla="*/ 142875 h 4429294"/>
                  <a:gd name="connsiteX82" fmla="*/ 1697819 w 4501379"/>
                  <a:gd name="connsiteY82" fmla="*/ 123825 h 4429294"/>
                  <a:gd name="connsiteX83" fmla="*/ 1793069 w 4501379"/>
                  <a:gd name="connsiteY83" fmla="*/ 114300 h 4429294"/>
                  <a:gd name="connsiteX84" fmla="*/ 1840694 w 4501379"/>
                  <a:gd name="connsiteY84" fmla="*/ 104775 h 4429294"/>
                  <a:gd name="connsiteX85" fmla="*/ 1897844 w 4501379"/>
                  <a:gd name="connsiteY85" fmla="*/ 95250 h 4429294"/>
                  <a:gd name="connsiteX86" fmla="*/ 2012144 w 4501379"/>
                  <a:gd name="connsiteY86" fmla="*/ 66675 h 4429294"/>
                  <a:gd name="connsiteX87" fmla="*/ 2078819 w 4501379"/>
                  <a:gd name="connsiteY87" fmla="*/ 47625 h 4429294"/>
                  <a:gd name="connsiteX88" fmla="*/ 2145494 w 4501379"/>
                  <a:gd name="connsiteY8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2955119 w 4501379"/>
                  <a:gd name="connsiteY3" fmla="*/ 114300 h 4429294"/>
                  <a:gd name="connsiteX4" fmla="*/ 2993219 w 4501379"/>
                  <a:gd name="connsiteY4" fmla="*/ 123825 h 4429294"/>
                  <a:gd name="connsiteX5" fmla="*/ 3117044 w 4501379"/>
                  <a:gd name="connsiteY5" fmla="*/ 171450 h 4429294"/>
                  <a:gd name="connsiteX6" fmla="*/ 3155144 w 4501379"/>
                  <a:gd name="connsiteY6" fmla="*/ 190500 h 4429294"/>
                  <a:gd name="connsiteX7" fmla="*/ 3221819 w 4501379"/>
                  <a:gd name="connsiteY7" fmla="*/ 228600 h 4429294"/>
                  <a:gd name="connsiteX8" fmla="*/ 3250394 w 4501379"/>
                  <a:gd name="connsiteY8" fmla="*/ 238125 h 4429294"/>
                  <a:gd name="connsiteX9" fmla="*/ 3278969 w 4501379"/>
                  <a:gd name="connsiteY9" fmla="*/ 257175 h 4429294"/>
                  <a:gd name="connsiteX10" fmla="*/ 3307544 w 4501379"/>
                  <a:gd name="connsiteY10" fmla="*/ 266700 h 4429294"/>
                  <a:gd name="connsiteX11" fmla="*/ 3336119 w 4501379"/>
                  <a:gd name="connsiteY11" fmla="*/ 285750 h 4429294"/>
                  <a:gd name="connsiteX12" fmla="*/ 3402794 w 4501379"/>
                  <a:gd name="connsiteY12" fmla="*/ 323850 h 4429294"/>
                  <a:gd name="connsiteX13" fmla="*/ 3450419 w 4501379"/>
                  <a:gd name="connsiteY13" fmla="*/ 361950 h 4429294"/>
                  <a:gd name="connsiteX14" fmla="*/ 3498044 w 4501379"/>
                  <a:gd name="connsiteY14" fmla="*/ 390525 h 4429294"/>
                  <a:gd name="connsiteX15" fmla="*/ 3612344 w 4501379"/>
                  <a:gd name="connsiteY15" fmla="*/ 485775 h 4429294"/>
                  <a:gd name="connsiteX16" fmla="*/ 3726644 w 4501379"/>
                  <a:gd name="connsiteY16" fmla="*/ 542925 h 4429294"/>
                  <a:gd name="connsiteX17" fmla="*/ 3793319 w 4501379"/>
                  <a:gd name="connsiteY17" fmla="*/ 581025 h 4429294"/>
                  <a:gd name="connsiteX18" fmla="*/ 4009219 w 4501379"/>
                  <a:gd name="connsiteY18" fmla="*/ 819150 h 4429294"/>
                  <a:gd name="connsiteX19" fmla="*/ 4145744 w 4501379"/>
                  <a:gd name="connsiteY19" fmla="*/ 990600 h 4429294"/>
                  <a:gd name="connsiteX20" fmla="*/ 4231469 w 4501379"/>
                  <a:gd name="connsiteY20" fmla="*/ 1143000 h 4429294"/>
                  <a:gd name="connsiteX21" fmla="*/ 4288619 w 4501379"/>
                  <a:gd name="connsiteY21" fmla="*/ 1266825 h 4429294"/>
                  <a:gd name="connsiteX22" fmla="*/ 4326719 w 4501379"/>
                  <a:gd name="connsiteY22" fmla="*/ 1362075 h 4429294"/>
                  <a:gd name="connsiteX23" fmla="*/ 4374344 w 4501379"/>
                  <a:gd name="connsiteY23" fmla="*/ 1552575 h 4429294"/>
                  <a:gd name="connsiteX24" fmla="*/ 4412444 w 4501379"/>
                  <a:gd name="connsiteY24" fmla="*/ 1685925 h 4429294"/>
                  <a:gd name="connsiteX25" fmla="*/ 4501344 w 4501379"/>
                  <a:gd name="connsiteY25" fmla="*/ 2181225 h 4429294"/>
                  <a:gd name="connsiteX26" fmla="*/ 4428319 w 4501379"/>
                  <a:gd name="connsiteY26" fmla="*/ 2768600 h 4429294"/>
                  <a:gd name="connsiteX27" fmla="*/ 4364819 w 4501379"/>
                  <a:gd name="connsiteY27" fmla="*/ 2990850 h 4429294"/>
                  <a:gd name="connsiteX28" fmla="*/ 4260044 w 4501379"/>
                  <a:gd name="connsiteY28" fmla="*/ 3248025 h 4429294"/>
                  <a:gd name="connsiteX29" fmla="*/ 4164794 w 4501379"/>
                  <a:gd name="connsiteY29" fmla="*/ 3400425 h 4429294"/>
                  <a:gd name="connsiteX30" fmla="*/ 4040969 w 4501379"/>
                  <a:gd name="connsiteY30" fmla="*/ 3533775 h 4429294"/>
                  <a:gd name="connsiteX31" fmla="*/ 3936194 w 4501379"/>
                  <a:gd name="connsiteY31" fmla="*/ 3648075 h 4429294"/>
                  <a:gd name="connsiteX32" fmla="*/ 3640919 w 4501379"/>
                  <a:gd name="connsiteY32" fmla="*/ 3971925 h 4429294"/>
                  <a:gd name="connsiteX33" fmla="*/ 3498044 w 4501379"/>
                  <a:gd name="connsiteY33" fmla="*/ 4083050 h 4429294"/>
                  <a:gd name="connsiteX34" fmla="*/ 3202769 w 4501379"/>
                  <a:gd name="connsiteY34" fmla="*/ 4222750 h 4429294"/>
                  <a:gd name="connsiteX35" fmla="*/ 3050369 w 4501379"/>
                  <a:gd name="connsiteY35" fmla="*/ 4286250 h 4429294"/>
                  <a:gd name="connsiteX36" fmla="*/ 2917019 w 4501379"/>
                  <a:gd name="connsiteY36" fmla="*/ 4333875 h 4429294"/>
                  <a:gd name="connsiteX37" fmla="*/ 2793194 w 4501379"/>
                  <a:gd name="connsiteY37" fmla="*/ 4371975 h 4429294"/>
                  <a:gd name="connsiteX38" fmla="*/ 2561419 w 4501379"/>
                  <a:gd name="connsiteY38" fmla="*/ 4391025 h 4429294"/>
                  <a:gd name="connsiteX39" fmla="*/ 2107394 w 4501379"/>
                  <a:gd name="connsiteY39" fmla="*/ 4429125 h 4429294"/>
                  <a:gd name="connsiteX40" fmla="*/ 1916894 w 4501379"/>
                  <a:gd name="connsiteY40" fmla="*/ 4400550 h 4429294"/>
                  <a:gd name="connsiteX41" fmla="*/ 1554944 w 4501379"/>
                  <a:gd name="connsiteY41" fmla="*/ 4305300 h 4429294"/>
                  <a:gd name="connsiteX42" fmla="*/ 1313644 w 4501379"/>
                  <a:gd name="connsiteY42" fmla="*/ 4216400 h 4429294"/>
                  <a:gd name="connsiteX43" fmla="*/ 1145369 w 4501379"/>
                  <a:gd name="connsiteY43" fmla="*/ 4111625 h 4429294"/>
                  <a:gd name="connsiteX44" fmla="*/ 926294 w 4501379"/>
                  <a:gd name="connsiteY44" fmla="*/ 3968750 h 4429294"/>
                  <a:gd name="connsiteX45" fmla="*/ 592919 w 4501379"/>
                  <a:gd name="connsiteY45" fmla="*/ 3657600 h 4429294"/>
                  <a:gd name="connsiteX46" fmla="*/ 446869 w 4501379"/>
                  <a:gd name="connsiteY46" fmla="*/ 3470275 h 4429294"/>
                  <a:gd name="connsiteX47" fmla="*/ 316694 w 4501379"/>
                  <a:gd name="connsiteY47" fmla="*/ 3244850 h 4429294"/>
                  <a:gd name="connsiteX48" fmla="*/ 164294 w 4501379"/>
                  <a:gd name="connsiteY48" fmla="*/ 2892425 h 4429294"/>
                  <a:gd name="connsiteX49" fmla="*/ 56344 w 4501379"/>
                  <a:gd name="connsiteY49" fmla="*/ 2368550 h 4429294"/>
                  <a:gd name="connsiteX50" fmla="*/ 2369 w 4501379"/>
                  <a:gd name="connsiteY50" fmla="*/ 1905000 h 4429294"/>
                  <a:gd name="connsiteX51" fmla="*/ 11894 w 4501379"/>
                  <a:gd name="connsiteY51" fmla="*/ 1838325 h 4429294"/>
                  <a:gd name="connsiteX52" fmla="*/ 30944 w 4501379"/>
                  <a:gd name="connsiteY52" fmla="*/ 1781175 h 4429294"/>
                  <a:gd name="connsiteX53" fmla="*/ 40469 w 4501379"/>
                  <a:gd name="connsiteY53" fmla="*/ 1743075 h 4429294"/>
                  <a:gd name="connsiteX54" fmla="*/ 59519 w 4501379"/>
                  <a:gd name="connsiteY54" fmla="*/ 1685925 h 4429294"/>
                  <a:gd name="connsiteX55" fmla="*/ 69044 w 4501379"/>
                  <a:gd name="connsiteY55" fmla="*/ 1638300 h 4429294"/>
                  <a:gd name="connsiteX56" fmla="*/ 88094 w 4501379"/>
                  <a:gd name="connsiteY56" fmla="*/ 1590675 h 4429294"/>
                  <a:gd name="connsiteX57" fmla="*/ 116669 w 4501379"/>
                  <a:gd name="connsiteY57" fmla="*/ 1504950 h 4429294"/>
                  <a:gd name="connsiteX58" fmla="*/ 135719 w 4501379"/>
                  <a:gd name="connsiteY58" fmla="*/ 1419225 h 4429294"/>
                  <a:gd name="connsiteX59" fmla="*/ 211919 w 4501379"/>
                  <a:gd name="connsiteY59" fmla="*/ 1276350 h 4429294"/>
                  <a:gd name="connsiteX60" fmla="*/ 221444 w 4501379"/>
                  <a:gd name="connsiteY60" fmla="*/ 1247775 h 4429294"/>
                  <a:gd name="connsiteX61" fmla="*/ 250019 w 4501379"/>
                  <a:gd name="connsiteY61" fmla="*/ 1200150 h 4429294"/>
                  <a:gd name="connsiteX62" fmla="*/ 269069 w 4501379"/>
                  <a:gd name="connsiteY62" fmla="*/ 1152525 h 4429294"/>
                  <a:gd name="connsiteX63" fmla="*/ 297644 w 4501379"/>
                  <a:gd name="connsiteY63" fmla="*/ 1114425 h 4429294"/>
                  <a:gd name="connsiteX64" fmla="*/ 345269 w 4501379"/>
                  <a:gd name="connsiteY64" fmla="*/ 1038225 h 4429294"/>
                  <a:gd name="connsiteX65" fmla="*/ 364319 w 4501379"/>
                  <a:gd name="connsiteY65" fmla="*/ 1009650 h 4429294"/>
                  <a:gd name="connsiteX66" fmla="*/ 421469 w 4501379"/>
                  <a:gd name="connsiteY66" fmla="*/ 904875 h 4429294"/>
                  <a:gd name="connsiteX67" fmla="*/ 459569 w 4501379"/>
                  <a:gd name="connsiteY67" fmla="*/ 857250 h 4429294"/>
                  <a:gd name="connsiteX68" fmla="*/ 478619 w 4501379"/>
                  <a:gd name="connsiteY68" fmla="*/ 828675 h 4429294"/>
                  <a:gd name="connsiteX69" fmla="*/ 516719 w 4501379"/>
                  <a:gd name="connsiteY69" fmla="*/ 800100 h 4429294"/>
                  <a:gd name="connsiteX70" fmla="*/ 583394 w 4501379"/>
                  <a:gd name="connsiteY70" fmla="*/ 733425 h 4429294"/>
                  <a:gd name="connsiteX71" fmla="*/ 650069 w 4501379"/>
                  <a:gd name="connsiteY71" fmla="*/ 676275 h 4429294"/>
                  <a:gd name="connsiteX72" fmla="*/ 678644 w 4501379"/>
                  <a:gd name="connsiteY72" fmla="*/ 657225 h 4429294"/>
                  <a:gd name="connsiteX73" fmla="*/ 821519 w 4501379"/>
                  <a:gd name="connsiteY73" fmla="*/ 533400 h 4429294"/>
                  <a:gd name="connsiteX74" fmla="*/ 869144 w 4501379"/>
                  <a:gd name="connsiteY74" fmla="*/ 504825 h 4429294"/>
                  <a:gd name="connsiteX75" fmla="*/ 1148544 w 4501379"/>
                  <a:gd name="connsiteY75" fmla="*/ 311150 h 4429294"/>
                  <a:gd name="connsiteX76" fmla="*/ 1250144 w 4501379"/>
                  <a:gd name="connsiteY76" fmla="*/ 285750 h 4429294"/>
                  <a:gd name="connsiteX77" fmla="*/ 1393019 w 4501379"/>
                  <a:gd name="connsiteY77" fmla="*/ 190500 h 4429294"/>
                  <a:gd name="connsiteX78" fmla="*/ 1431119 w 4501379"/>
                  <a:gd name="connsiteY78" fmla="*/ 161925 h 4429294"/>
                  <a:gd name="connsiteX79" fmla="*/ 1507319 w 4501379"/>
                  <a:gd name="connsiteY79" fmla="*/ 152400 h 4429294"/>
                  <a:gd name="connsiteX80" fmla="*/ 1564469 w 4501379"/>
                  <a:gd name="connsiteY80" fmla="*/ 142875 h 4429294"/>
                  <a:gd name="connsiteX81" fmla="*/ 1697819 w 4501379"/>
                  <a:gd name="connsiteY81" fmla="*/ 123825 h 4429294"/>
                  <a:gd name="connsiteX82" fmla="*/ 1793069 w 4501379"/>
                  <a:gd name="connsiteY82" fmla="*/ 114300 h 4429294"/>
                  <a:gd name="connsiteX83" fmla="*/ 1840694 w 4501379"/>
                  <a:gd name="connsiteY83" fmla="*/ 104775 h 4429294"/>
                  <a:gd name="connsiteX84" fmla="*/ 1897844 w 4501379"/>
                  <a:gd name="connsiteY84" fmla="*/ 95250 h 4429294"/>
                  <a:gd name="connsiteX85" fmla="*/ 2012144 w 4501379"/>
                  <a:gd name="connsiteY85" fmla="*/ 66675 h 4429294"/>
                  <a:gd name="connsiteX86" fmla="*/ 2078819 w 4501379"/>
                  <a:gd name="connsiteY86" fmla="*/ 47625 h 4429294"/>
                  <a:gd name="connsiteX87" fmla="*/ 2145494 w 4501379"/>
                  <a:gd name="connsiteY87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2955119 w 4501379"/>
                  <a:gd name="connsiteY3" fmla="*/ 114300 h 4429294"/>
                  <a:gd name="connsiteX4" fmla="*/ 3117044 w 4501379"/>
                  <a:gd name="connsiteY4" fmla="*/ 171450 h 4429294"/>
                  <a:gd name="connsiteX5" fmla="*/ 3155144 w 4501379"/>
                  <a:gd name="connsiteY5" fmla="*/ 190500 h 4429294"/>
                  <a:gd name="connsiteX6" fmla="*/ 3221819 w 4501379"/>
                  <a:gd name="connsiteY6" fmla="*/ 228600 h 4429294"/>
                  <a:gd name="connsiteX7" fmla="*/ 3250394 w 4501379"/>
                  <a:gd name="connsiteY7" fmla="*/ 238125 h 4429294"/>
                  <a:gd name="connsiteX8" fmla="*/ 3278969 w 4501379"/>
                  <a:gd name="connsiteY8" fmla="*/ 257175 h 4429294"/>
                  <a:gd name="connsiteX9" fmla="*/ 3307544 w 4501379"/>
                  <a:gd name="connsiteY9" fmla="*/ 266700 h 4429294"/>
                  <a:gd name="connsiteX10" fmla="*/ 3336119 w 4501379"/>
                  <a:gd name="connsiteY10" fmla="*/ 285750 h 4429294"/>
                  <a:gd name="connsiteX11" fmla="*/ 3402794 w 4501379"/>
                  <a:gd name="connsiteY11" fmla="*/ 323850 h 4429294"/>
                  <a:gd name="connsiteX12" fmla="*/ 3450419 w 4501379"/>
                  <a:gd name="connsiteY12" fmla="*/ 361950 h 4429294"/>
                  <a:gd name="connsiteX13" fmla="*/ 3498044 w 4501379"/>
                  <a:gd name="connsiteY13" fmla="*/ 390525 h 4429294"/>
                  <a:gd name="connsiteX14" fmla="*/ 3612344 w 4501379"/>
                  <a:gd name="connsiteY14" fmla="*/ 485775 h 4429294"/>
                  <a:gd name="connsiteX15" fmla="*/ 3726644 w 4501379"/>
                  <a:gd name="connsiteY15" fmla="*/ 542925 h 4429294"/>
                  <a:gd name="connsiteX16" fmla="*/ 3793319 w 4501379"/>
                  <a:gd name="connsiteY16" fmla="*/ 581025 h 4429294"/>
                  <a:gd name="connsiteX17" fmla="*/ 4009219 w 4501379"/>
                  <a:gd name="connsiteY17" fmla="*/ 819150 h 4429294"/>
                  <a:gd name="connsiteX18" fmla="*/ 4145744 w 4501379"/>
                  <a:gd name="connsiteY18" fmla="*/ 990600 h 4429294"/>
                  <a:gd name="connsiteX19" fmla="*/ 4231469 w 4501379"/>
                  <a:gd name="connsiteY19" fmla="*/ 1143000 h 4429294"/>
                  <a:gd name="connsiteX20" fmla="*/ 4288619 w 4501379"/>
                  <a:gd name="connsiteY20" fmla="*/ 1266825 h 4429294"/>
                  <a:gd name="connsiteX21" fmla="*/ 4326719 w 4501379"/>
                  <a:gd name="connsiteY21" fmla="*/ 1362075 h 4429294"/>
                  <a:gd name="connsiteX22" fmla="*/ 4374344 w 4501379"/>
                  <a:gd name="connsiteY22" fmla="*/ 1552575 h 4429294"/>
                  <a:gd name="connsiteX23" fmla="*/ 4412444 w 4501379"/>
                  <a:gd name="connsiteY23" fmla="*/ 1685925 h 4429294"/>
                  <a:gd name="connsiteX24" fmla="*/ 4501344 w 4501379"/>
                  <a:gd name="connsiteY24" fmla="*/ 2181225 h 4429294"/>
                  <a:gd name="connsiteX25" fmla="*/ 4428319 w 4501379"/>
                  <a:gd name="connsiteY25" fmla="*/ 2768600 h 4429294"/>
                  <a:gd name="connsiteX26" fmla="*/ 4364819 w 4501379"/>
                  <a:gd name="connsiteY26" fmla="*/ 2990850 h 4429294"/>
                  <a:gd name="connsiteX27" fmla="*/ 4260044 w 4501379"/>
                  <a:gd name="connsiteY27" fmla="*/ 3248025 h 4429294"/>
                  <a:gd name="connsiteX28" fmla="*/ 4164794 w 4501379"/>
                  <a:gd name="connsiteY28" fmla="*/ 3400425 h 4429294"/>
                  <a:gd name="connsiteX29" fmla="*/ 4040969 w 4501379"/>
                  <a:gd name="connsiteY29" fmla="*/ 3533775 h 4429294"/>
                  <a:gd name="connsiteX30" fmla="*/ 3936194 w 4501379"/>
                  <a:gd name="connsiteY30" fmla="*/ 3648075 h 4429294"/>
                  <a:gd name="connsiteX31" fmla="*/ 3640919 w 4501379"/>
                  <a:gd name="connsiteY31" fmla="*/ 3971925 h 4429294"/>
                  <a:gd name="connsiteX32" fmla="*/ 3498044 w 4501379"/>
                  <a:gd name="connsiteY32" fmla="*/ 4083050 h 4429294"/>
                  <a:gd name="connsiteX33" fmla="*/ 3202769 w 4501379"/>
                  <a:gd name="connsiteY33" fmla="*/ 4222750 h 4429294"/>
                  <a:gd name="connsiteX34" fmla="*/ 3050369 w 4501379"/>
                  <a:gd name="connsiteY34" fmla="*/ 4286250 h 4429294"/>
                  <a:gd name="connsiteX35" fmla="*/ 2917019 w 4501379"/>
                  <a:gd name="connsiteY35" fmla="*/ 4333875 h 4429294"/>
                  <a:gd name="connsiteX36" fmla="*/ 2793194 w 4501379"/>
                  <a:gd name="connsiteY36" fmla="*/ 4371975 h 4429294"/>
                  <a:gd name="connsiteX37" fmla="*/ 2561419 w 4501379"/>
                  <a:gd name="connsiteY37" fmla="*/ 4391025 h 4429294"/>
                  <a:gd name="connsiteX38" fmla="*/ 2107394 w 4501379"/>
                  <a:gd name="connsiteY38" fmla="*/ 4429125 h 4429294"/>
                  <a:gd name="connsiteX39" fmla="*/ 1916894 w 4501379"/>
                  <a:gd name="connsiteY39" fmla="*/ 4400550 h 4429294"/>
                  <a:gd name="connsiteX40" fmla="*/ 1554944 w 4501379"/>
                  <a:gd name="connsiteY40" fmla="*/ 4305300 h 4429294"/>
                  <a:gd name="connsiteX41" fmla="*/ 1313644 w 4501379"/>
                  <a:gd name="connsiteY41" fmla="*/ 4216400 h 4429294"/>
                  <a:gd name="connsiteX42" fmla="*/ 1145369 w 4501379"/>
                  <a:gd name="connsiteY42" fmla="*/ 4111625 h 4429294"/>
                  <a:gd name="connsiteX43" fmla="*/ 926294 w 4501379"/>
                  <a:gd name="connsiteY43" fmla="*/ 3968750 h 4429294"/>
                  <a:gd name="connsiteX44" fmla="*/ 592919 w 4501379"/>
                  <a:gd name="connsiteY44" fmla="*/ 3657600 h 4429294"/>
                  <a:gd name="connsiteX45" fmla="*/ 446869 w 4501379"/>
                  <a:gd name="connsiteY45" fmla="*/ 3470275 h 4429294"/>
                  <a:gd name="connsiteX46" fmla="*/ 316694 w 4501379"/>
                  <a:gd name="connsiteY46" fmla="*/ 3244850 h 4429294"/>
                  <a:gd name="connsiteX47" fmla="*/ 164294 w 4501379"/>
                  <a:gd name="connsiteY47" fmla="*/ 2892425 h 4429294"/>
                  <a:gd name="connsiteX48" fmla="*/ 56344 w 4501379"/>
                  <a:gd name="connsiteY48" fmla="*/ 2368550 h 4429294"/>
                  <a:gd name="connsiteX49" fmla="*/ 2369 w 4501379"/>
                  <a:gd name="connsiteY49" fmla="*/ 1905000 h 4429294"/>
                  <a:gd name="connsiteX50" fmla="*/ 11894 w 4501379"/>
                  <a:gd name="connsiteY50" fmla="*/ 1838325 h 4429294"/>
                  <a:gd name="connsiteX51" fmla="*/ 30944 w 4501379"/>
                  <a:gd name="connsiteY51" fmla="*/ 1781175 h 4429294"/>
                  <a:gd name="connsiteX52" fmla="*/ 40469 w 4501379"/>
                  <a:gd name="connsiteY52" fmla="*/ 1743075 h 4429294"/>
                  <a:gd name="connsiteX53" fmla="*/ 59519 w 4501379"/>
                  <a:gd name="connsiteY53" fmla="*/ 1685925 h 4429294"/>
                  <a:gd name="connsiteX54" fmla="*/ 69044 w 4501379"/>
                  <a:gd name="connsiteY54" fmla="*/ 1638300 h 4429294"/>
                  <a:gd name="connsiteX55" fmla="*/ 88094 w 4501379"/>
                  <a:gd name="connsiteY55" fmla="*/ 1590675 h 4429294"/>
                  <a:gd name="connsiteX56" fmla="*/ 116669 w 4501379"/>
                  <a:gd name="connsiteY56" fmla="*/ 1504950 h 4429294"/>
                  <a:gd name="connsiteX57" fmla="*/ 135719 w 4501379"/>
                  <a:gd name="connsiteY57" fmla="*/ 1419225 h 4429294"/>
                  <a:gd name="connsiteX58" fmla="*/ 211919 w 4501379"/>
                  <a:gd name="connsiteY58" fmla="*/ 1276350 h 4429294"/>
                  <a:gd name="connsiteX59" fmla="*/ 221444 w 4501379"/>
                  <a:gd name="connsiteY59" fmla="*/ 1247775 h 4429294"/>
                  <a:gd name="connsiteX60" fmla="*/ 250019 w 4501379"/>
                  <a:gd name="connsiteY60" fmla="*/ 1200150 h 4429294"/>
                  <a:gd name="connsiteX61" fmla="*/ 269069 w 4501379"/>
                  <a:gd name="connsiteY61" fmla="*/ 1152525 h 4429294"/>
                  <a:gd name="connsiteX62" fmla="*/ 297644 w 4501379"/>
                  <a:gd name="connsiteY62" fmla="*/ 1114425 h 4429294"/>
                  <a:gd name="connsiteX63" fmla="*/ 345269 w 4501379"/>
                  <a:gd name="connsiteY63" fmla="*/ 1038225 h 4429294"/>
                  <a:gd name="connsiteX64" fmla="*/ 364319 w 4501379"/>
                  <a:gd name="connsiteY64" fmla="*/ 1009650 h 4429294"/>
                  <a:gd name="connsiteX65" fmla="*/ 421469 w 4501379"/>
                  <a:gd name="connsiteY65" fmla="*/ 904875 h 4429294"/>
                  <a:gd name="connsiteX66" fmla="*/ 459569 w 4501379"/>
                  <a:gd name="connsiteY66" fmla="*/ 857250 h 4429294"/>
                  <a:gd name="connsiteX67" fmla="*/ 478619 w 4501379"/>
                  <a:gd name="connsiteY67" fmla="*/ 828675 h 4429294"/>
                  <a:gd name="connsiteX68" fmla="*/ 516719 w 4501379"/>
                  <a:gd name="connsiteY68" fmla="*/ 800100 h 4429294"/>
                  <a:gd name="connsiteX69" fmla="*/ 583394 w 4501379"/>
                  <a:gd name="connsiteY69" fmla="*/ 733425 h 4429294"/>
                  <a:gd name="connsiteX70" fmla="*/ 650069 w 4501379"/>
                  <a:gd name="connsiteY70" fmla="*/ 676275 h 4429294"/>
                  <a:gd name="connsiteX71" fmla="*/ 678644 w 4501379"/>
                  <a:gd name="connsiteY71" fmla="*/ 657225 h 4429294"/>
                  <a:gd name="connsiteX72" fmla="*/ 821519 w 4501379"/>
                  <a:gd name="connsiteY72" fmla="*/ 533400 h 4429294"/>
                  <a:gd name="connsiteX73" fmla="*/ 869144 w 4501379"/>
                  <a:gd name="connsiteY73" fmla="*/ 504825 h 4429294"/>
                  <a:gd name="connsiteX74" fmla="*/ 1148544 w 4501379"/>
                  <a:gd name="connsiteY74" fmla="*/ 311150 h 4429294"/>
                  <a:gd name="connsiteX75" fmla="*/ 1250144 w 4501379"/>
                  <a:gd name="connsiteY75" fmla="*/ 285750 h 4429294"/>
                  <a:gd name="connsiteX76" fmla="*/ 1393019 w 4501379"/>
                  <a:gd name="connsiteY76" fmla="*/ 190500 h 4429294"/>
                  <a:gd name="connsiteX77" fmla="*/ 1431119 w 4501379"/>
                  <a:gd name="connsiteY77" fmla="*/ 161925 h 4429294"/>
                  <a:gd name="connsiteX78" fmla="*/ 1507319 w 4501379"/>
                  <a:gd name="connsiteY78" fmla="*/ 152400 h 4429294"/>
                  <a:gd name="connsiteX79" fmla="*/ 1564469 w 4501379"/>
                  <a:gd name="connsiteY79" fmla="*/ 142875 h 4429294"/>
                  <a:gd name="connsiteX80" fmla="*/ 1697819 w 4501379"/>
                  <a:gd name="connsiteY80" fmla="*/ 123825 h 4429294"/>
                  <a:gd name="connsiteX81" fmla="*/ 1793069 w 4501379"/>
                  <a:gd name="connsiteY81" fmla="*/ 114300 h 4429294"/>
                  <a:gd name="connsiteX82" fmla="*/ 1840694 w 4501379"/>
                  <a:gd name="connsiteY82" fmla="*/ 104775 h 4429294"/>
                  <a:gd name="connsiteX83" fmla="*/ 1897844 w 4501379"/>
                  <a:gd name="connsiteY83" fmla="*/ 95250 h 4429294"/>
                  <a:gd name="connsiteX84" fmla="*/ 2012144 w 4501379"/>
                  <a:gd name="connsiteY84" fmla="*/ 66675 h 4429294"/>
                  <a:gd name="connsiteX85" fmla="*/ 2078819 w 4501379"/>
                  <a:gd name="connsiteY85" fmla="*/ 47625 h 4429294"/>
                  <a:gd name="connsiteX86" fmla="*/ 2145494 w 4501379"/>
                  <a:gd name="connsiteY86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155144 w 4501379"/>
                  <a:gd name="connsiteY4" fmla="*/ 190500 h 4429294"/>
                  <a:gd name="connsiteX5" fmla="*/ 3221819 w 4501379"/>
                  <a:gd name="connsiteY5" fmla="*/ 228600 h 4429294"/>
                  <a:gd name="connsiteX6" fmla="*/ 3250394 w 4501379"/>
                  <a:gd name="connsiteY6" fmla="*/ 238125 h 4429294"/>
                  <a:gd name="connsiteX7" fmla="*/ 3278969 w 4501379"/>
                  <a:gd name="connsiteY7" fmla="*/ 257175 h 4429294"/>
                  <a:gd name="connsiteX8" fmla="*/ 3307544 w 4501379"/>
                  <a:gd name="connsiteY8" fmla="*/ 266700 h 4429294"/>
                  <a:gd name="connsiteX9" fmla="*/ 3336119 w 4501379"/>
                  <a:gd name="connsiteY9" fmla="*/ 285750 h 4429294"/>
                  <a:gd name="connsiteX10" fmla="*/ 3402794 w 4501379"/>
                  <a:gd name="connsiteY10" fmla="*/ 323850 h 4429294"/>
                  <a:gd name="connsiteX11" fmla="*/ 3450419 w 4501379"/>
                  <a:gd name="connsiteY11" fmla="*/ 361950 h 4429294"/>
                  <a:gd name="connsiteX12" fmla="*/ 3498044 w 4501379"/>
                  <a:gd name="connsiteY12" fmla="*/ 390525 h 4429294"/>
                  <a:gd name="connsiteX13" fmla="*/ 3612344 w 4501379"/>
                  <a:gd name="connsiteY13" fmla="*/ 485775 h 4429294"/>
                  <a:gd name="connsiteX14" fmla="*/ 3726644 w 4501379"/>
                  <a:gd name="connsiteY14" fmla="*/ 542925 h 4429294"/>
                  <a:gd name="connsiteX15" fmla="*/ 3793319 w 4501379"/>
                  <a:gd name="connsiteY15" fmla="*/ 581025 h 4429294"/>
                  <a:gd name="connsiteX16" fmla="*/ 4009219 w 4501379"/>
                  <a:gd name="connsiteY16" fmla="*/ 819150 h 4429294"/>
                  <a:gd name="connsiteX17" fmla="*/ 4145744 w 4501379"/>
                  <a:gd name="connsiteY17" fmla="*/ 990600 h 4429294"/>
                  <a:gd name="connsiteX18" fmla="*/ 4231469 w 4501379"/>
                  <a:gd name="connsiteY18" fmla="*/ 1143000 h 4429294"/>
                  <a:gd name="connsiteX19" fmla="*/ 4288619 w 4501379"/>
                  <a:gd name="connsiteY19" fmla="*/ 1266825 h 4429294"/>
                  <a:gd name="connsiteX20" fmla="*/ 4326719 w 4501379"/>
                  <a:gd name="connsiteY20" fmla="*/ 1362075 h 4429294"/>
                  <a:gd name="connsiteX21" fmla="*/ 4374344 w 4501379"/>
                  <a:gd name="connsiteY21" fmla="*/ 1552575 h 4429294"/>
                  <a:gd name="connsiteX22" fmla="*/ 4412444 w 4501379"/>
                  <a:gd name="connsiteY22" fmla="*/ 1685925 h 4429294"/>
                  <a:gd name="connsiteX23" fmla="*/ 4501344 w 4501379"/>
                  <a:gd name="connsiteY23" fmla="*/ 2181225 h 4429294"/>
                  <a:gd name="connsiteX24" fmla="*/ 4428319 w 4501379"/>
                  <a:gd name="connsiteY24" fmla="*/ 2768600 h 4429294"/>
                  <a:gd name="connsiteX25" fmla="*/ 4364819 w 4501379"/>
                  <a:gd name="connsiteY25" fmla="*/ 2990850 h 4429294"/>
                  <a:gd name="connsiteX26" fmla="*/ 4260044 w 4501379"/>
                  <a:gd name="connsiteY26" fmla="*/ 3248025 h 4429294"/>
                  <a:gd name="connsiteX27" fmla="*/ 4164794 w 4501379"/>
                  <a:gd name="connsiteY27" fmla="*/ 3400425 h 4429294"/>
                  <a:gd name="connsiteX28" fmla="*/ 4040969 w 4501379"/>
                  <a:gd name="connsiteY28" fmla="*/ 3533775 h 4429294"/>
                  <a:gd name="connsiteX29" fmla="*/ 3936194 w 4501379"/>
                  <a:gd name="connsiteY29" fmla="*/ 3648075 h 4429294"/>
                  <a:gd name="connsiteX30" fmla="*/ 3640919 w 4501379"/>
                  <a:gd name="connsiteY30" fmla="*/ 3971925 h 4429294"/>
                  <a:gd name="connsiteX31" fmla="*/ 3498044 w 4501379"/>
                  <a:gd name="connsiteY31" fmla="*/ 4083050 h 4429294"/>
                  <a:gd name="connsiteX32" fmla="*/ 3202769 w 4501379"/>
                  <a:gd name="connsiteY32" fmla="*/ 4222750 h 4429294"/>
                  <a:gd name="connsiteX33" fmla="*/ 3050369 w 4501379"/>
                  <a:gd name="connsiteY33" fmla="*/ 4286250 h 4429294"/>
                  <a:gd name="connsiteX34" fmla="*/ 2917019 w 4501379"/>
                  <a:gd name="connsiteY34" fmla="*/ 4333875 h 4429294"/>
                  <a:gd name="connsiteX35" fmla="*/ 2793194 w 4501379"/>
                  <a:gd name="connsiteY35" fmla="*/ 4371975 h 4429294"/>
                  <a:gd name="connsiteX36" fmla="*/ 2561419 w 4501379"/>
                  <a:gd name="connsiteY36" fmla="*/ 4391025 h 4429294"/>
                  <a:gd name="connsiteX37" fmla="*/ 2107394 w 4501379"/>
                  <a:gd name="connsiteY37" fmla="*/ 4429125 h 4429294"/>
                  <a:gd name="connsiteX38" fmla="*/ 1916894 w 4501379"/>
                  <a:gd name="connsiteY38" fmla="*/ 4400550 h 4429294"/>
                  <a:gd name="connsiteX39" fmla="*/ 1554944 w 4501379"/>
                  <a:gd name="connsiteY39" fmla="*/ 4305300 h 4429294"/>
                  <a:gd name="connsiteX40" fmla="*/ 1313644 w 4501379"/>
                  <a:gd name="connsiteY40" fmla="*/ 4216400 h 4429294"/>
                  <a:gd name="connsiteX41" fmla="*/ 1145369 w 4501379"/>
                  <a:gd name="connsiteY41" fmla="*/ 4111625 h 4429294"/>
                  <a:gd name="connsiteX42" fmla="*/ 926294 w 4501379"/>
                  <a:gd name="connsiteY42" fmla="*/ 3968750 h 4429294"/>
                  <a:gd name="connsiteX43" fmla="*/ 592919 w 4501379"/>
                  <a:gd name="connsiteY43" fmla="*/ 3657600 h 4429294"/>
                  <a:gd name="connsiteX44" fmla="*/ 446869 w 4501379"/>
                  <a:gd name="connsiteY44" fmla="*/ 3470275 h 4429294"/>
                  <a:gd name="connsiteX45" fmla="*/ 316694 w 4501379"/>
                  <a:gd name="connsiteY45" fmla="*/ 3244850 h 4429294"/>
                  <a:gd name="connsiteX46" fmla="*/ 164294 w 4501379"/>
                  <a:gd name="connsiteY46" fmla="*/ 2892425 h 4429294"/>
                  <a:gd name="connsiteX47" fmla="*/ 56344 w 4501379"/>
                  <a:gd name="connsiteY47" fmla="*/ 2368550 h 4429294"/>
                  <a:gd name="connsiteX48" fmla="*/ 2369 w 4501379"/>
                  <a:gd name="connsiteY48" fmla="*/ 1905000 h 4429294"/>
                  <a:gd name="connsiteX49" fmla="*/ 11894 w 4501379"/>
                  <a:gd name="connsiteY49" fmla="*/ 1838325 h 4429294"/>
                  <a:gd name="connsiteX50" fmla="*/ 30944 w 4501379"/>
                  <a:gd name="connsiteY50" fmla="*/ 1781175 h 4429294"/>
                  <a:gd name="connsiteX51" fmla="*/ 40469 w 4501379"/>
                  <a:gd name="connsiteY51" fmla="*/ 1743075 h 4429294"/>
                  <a:gd name="connsiteX52" fmla="*/ 59519 w 4501379"/>
                  <a:gd name="connsiteY52" fmla="*/ 1685925 h 4429294"/>
                  <a:gd name="connsiteX53" fmla="*/ 69044 w 4501379"/>
                  <a:gd name="connsiteY53" fmla="*/ 1638300 h 4429294"/>
                  <a:gd name="connsiteX54" fmla="*/ 88094 w 4501379"/>
                  <a:gd name="connsiteY54" fmla="*/ 1590675 h 4429294"/>
                  <a:gd name="connsiteX55" fmla="*/ 116669 w 4501379"/>
                  <a:gd name="connsiteY55" fmla="*/ 1504950 h 4429294"/>
                  <a:gd name="connsiteX56" fmla="*/ 135719 w 4501379"/>
                  <a:gd name="connsiteY56" fmla="*/ 1419225 h 4429294"/>
                  <a:gd name="connsiteX57" fmla="*/ 211919 w 4501379"/>
                  <a:gd name="connsiteY57" fmla="*/ 1276350 h 4429294"/>
                  <a:gd name="connsiteX58" fmla="*/ 221444 w 4501379"/>
                  <a:gd name="connsiteY58" fmla="*/ 1247775 h 4429294"/>
                  <a:gd name="connsiteX59" fmla="*/ 250019 w 4501379"/>
                  <a:gd name="connsiteY59" fmla="*/ 1200150 h 4429294"/>
                  <a:gd name="connsiteX60" fmla="*/ 269069 w 4501379"/>
                  <a:gd name="connsiteY60" fmla="*/ 1152525 h 4429294"/>
                  <a:gd name="connsiteX61" fmla="*/ 297644 w 4501379"/>
                  <a:gd name="connsiteY61" fmla="*/ 1114425 h 4429294"/>
                  <a:gd name="connsiteX62" fmla="*/ 345269 w 4501379"/>
                  <a:gd name="connsiteY62" fmla="*/ 1038225 h 4429294"/>
                  <a:gd name="connsiteX63" fmla="*/ 364319 w 4501379"/>
                  <a:gd name="connsiteY63" fmla="*/ 1009650 h 4429294"/>
                  <a:gd name="connsiteX64" fmla="*/ 421469 w 4501379"/>
                  <a:gd name="connsiteY64" fmla="*/ 904875 h 4429294"/>
                  <a:gd name="connsiteX65" fmla="*/ 459569 w 4501379"/>
                  <a:gd name="connsiteY65" fmla="*/ 857250 h 4429294"/>
                  <a:gd name="connsiteX66" fmla="*/ 478619 w 4501379"/>
                  <a:gd name="connsiteY66" fmla="*/ 828675 h 4429294"/>
                  <a:gd name="connsiteX67" fmla="*/ 516719 w 4501379"/>
                  <a:gd name="connsiteY67" fmla="*/ 800100 h 4429294"/>
                  <a:gd name="connsiteX68" fmla="*/ 583394 w 4501379"/>
                  <a:gd name="connsiteY68" fmla="*/ 733425 h 4429294"/>
                  <a:gd name="connsiteX69" fmla="*/ 650069 w 4501379"/>
                  <a:gd name="connsiteY69" fmla="*/ 676275 h 4429294"/>
                  <a:gd name="connsiteX70" fmla="*/ 678644 w 4501379"/>
                  <a:gd name="connsiteY70" fmla="*/ 657225 h 4429294"/>
                  <a:gd name="connsiteX71" fmla="*/ 821519 w 4501379"/>
                  <a:gd name="connsiteY71" fmla="*/ 533400 h 4429294"/>
                  <a:gd name="connsiteX72" fmla="*/ 869144 w 4501379"/>
                  <a:gd name="connsiteY72" fmla="*/ 504825 h 4429294"/>
                  <a:gd name="connsiteX73" fmla="*/ 1148544 w 4501379"/>
                  <a:gd name="connsiteY73" fmla="*/ 311150 h 4429294"/>
                  <a:gd name="connsiteX74" fmla="*/ 1250144 w 4501379"/>
                  <a:gd name="connsiteY74" fmla="*/ 285750 h 4429294"/>
                  <a:gd name="connsiteX75" fmla="*/ 1393019 w 4501379"/>
                  <a:gd name="connsiteY75" fmla="*/ 190500 h 4429294"/>
                  <a:gd name="connsiteX76" fmla="*/ 1431119 w 4501379"/>
                  <a:gd name="connsiteY76" fmla="*/ 161925 h 4429294"/>
                  <a:gd name="connsiteX77" fmla="*/ 1507319 w 4501379"/>
                  <a:gd name="connsiteY77" fmla="*/ 152400 h 4429294"/>
                  <a:gd name="connsiteX78" fmla="*/ 1564469 w 4501379"/>
                  <a:gd name="connsiteY78" fmla="*/ 142875 h 4429294"/>
                  <a:gd name="connsiteX79" fmla="*/ 1697819 w 4501379"/>
                  <a:gd name="connsiteY79" fmla="*/ 123825 h 4429294"/>
                  <a:gd name="connsiteX80" fmla="*/ 1793069 w 4501379"/>
                  <a:gd name="connsiteY80" fmla="*/ 114300 h 4429294"/>
                  <a:gd name="connsiteX81" fmla="*/ 1840694 w 4501379"/>
                  <a:gd name="connsiteY81" fmla="*/ 104775 h 4429294"/>
                  <a:gd name="connsiteX82" fmla="*/ 1897844 w 4501379"/>
                  <a:gd name="connsiteY82" fmla="*/ 95250 h 4429294"/>
                  <a:gd name="connsiteX83" fmla="*/ 2012144 w 4501379"/>
                  <a:gd name="connsiteY83" fmla="*/ 66675 h 4429294"/>
                  <a:gd name="connsiteX84" fmla="*/ 2078819 w 4501379"/>
                  <a:gd name="connsiteY84" fmla="*/ 47625 h 4429294"/>
                  <a:gd name="connsiteX85" fmla="*/ 2145494 w 4501379"/>
                  <a:gd name="connsiteY85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250394 w 4501379"/>
                  <a:gd name="connsiteY5" fmla="*/ 238125 h 4429294"/>
                  <a:gd name="connsiteX6" fmla="*/ 3278969 w 4501379"/>
                  <a:gd name="connsiteY6" fmla="*/ 257175 h 4429294"/>
                  <a:gd name="connsiteX7" fmla="*/ 3307544 w 4501379"/>
                  <a:gd name="connsiteY7" fmla="*/ 266700 h 4429294"/>
                  <a:gd name="connsiteX8" fmla="*/ 3336119 w 4501379"/>
                  <a:gd name="connsiteY8" fmla="*/ 285750 h 4429294"/>
                  <a:gd name="connsiteX9" fmla="*/ 3402794 w 4501379"/>
                  <a:gd name="connsiteY9" fmla="*/ 323850 h 4429294"/>
                  <a:gd name="connsiteX10" fmla="*/ 3450419 w 4501379"/>
                  <a:gd name="connsiteY10" fmla="*/ 361950 h 4429294"/>
                  <a:gd name="connsiteX11" fmla="*/ 3498044 w 4501379"/>
                  <a:gd name="connsiteY11" fmla="*/ 390525 h 4429294"/>
                  <a:gd name="connsiteX12" fmla="*/ 3612344 w 4501379"/>
                  <a:gd name="connsiteY12" fmla="*/ 485775 h 4429294"/>
                  <a:gd name="connsiteX13" fmla="*/ 3726644 w 4501379"/>
                  <a:gd name="connsiteY13" fmla="*/ 542925 h 4429294"/>
                  <a:gd name="connsiteX14" fmla="*/ 3793319 w 4501379"/>
                  <a:gd name="connsiteY14" fmla="*/ 581025 h 4429294"/>
                  <a:gd name="connsiteX15" fmla="*/ 4009219 w 4501379"/>
                  <a:gd name="connsiteY15" fmla="*/ 819150 h 4429294"/>
                  <a:gd name="connsiteX16" fmla="*/ 4145744 w 4501379"/>
                  <a:gd name="connsiteY16" fmla="*/ 990600 h 4429294"/>
                  <a:gd name="connsiteX17" fmla="*/ 4231469 w 4501379"/>
                  <a:gd name="connsiteY17" fmla="*/ 1143000 h 4429294"/>
                  <a:gd name="connsiteX18" fmla="*/ 4288619 w 4501379"/>
                  <a:gd name="connsiteY18" fmla="*/ 1266825 h 4429294"/>
                  <a:gd name="connsiteX19" fmla="*/ 4326719 w 4501379"/>
                  <a:gd name="connsiteY19" fmla="*/ 1362075 h 4429294"/>
                  <a:gd name="connsiteX20" fmla="*/ 4374344 w 4501379"/>
                  <a:gd name="connsiteY20" fmla="*/ 1552575 h 4429294"/>
                  <a:gd name="connsiteX21" fmla="*/ 4412444 w 4501379"/>
                  <a:gd name="connsiteY21" fmla="*/ 1685925 h 4429294"/>
                  <a:gd name="connsiteX22" fmla="*/ 4501344 w 4501379"/>
                  <a:gd name="connsiteY22" fmla="*/ 2181225 h 4429294"/>
                  <a:gd name="connsiteX23" fmla="*/ 4428319 w 4501379"/>
                  <a:gd name="connsiteY23" fmla="*/ 2768600 h 4429294"/>
                  <a:gd name="connsiteX24" fmla="*/ 4364819 w 4501379"/>
                  <a:gd name="connsiteY24" fmla="*/ 2990850 h 4429294"/>
                  <a:gd name="connsiteX25" fmla="*/ 4260044 w 4501379"/>
                  <a:gd name="connsiteY25" fmla="*/ 3248025 h 4429294"/>
                  <a:gd name="connsiteX26" fmla="*/ 4164794 w 4501379"/>
                  <a:gd name="connsiteY26" fmla="*/ 3400425 h 4429294"/>
                  <a:gd name="connsiteX27" fmla="*/ 4040969 w 4501379"/>
                  <a:gd name="connsiteY27" fmla="*/ 3533775 h 4429294"/>
                  <a:gd name="connsiteX28" fmla="*/ 3936194 w 4501379"/>
                  <a:gd name="connsiteY28" fmla="*/ 3648075 h 4429294"/>
                  <a:gd name="connsiteX29" fmla="*/ 3640919 w 4501379"/>
                  <a:gd name="connsiteY29" fmla="*/ 3971925 h 4429294"/>
                  <a:gd name="connsiteX30" fmla="*/ 3498044 w 4501379"/>
                  <a:gd name="connsiteY30" fmla="*/ 4083050 h 4429294"/>
                  <a:gd name="connsiteX31" fmla="*/ 3202769 w 4501379"/>
                  <a:gd name="connsiteY31" fmla="*/ 4222750 h 4429294"/>
                  <a:gd name="connsiteX32" fmla="*/ 3050369 w 4501379"/>
                  <a:gd name="connsiteY32" fmla="*/ 4286250 h 4429294"/>
                  <a:gd name="connsiteX33" fmla="*/ 2917019 w 4501379"/>
                  <a:gd name="connsiteY33" fmla="*/ 4333875 h 4429294"/>
                  <a:gd name="connsiteX34" fmla="*/ 2793194 w 4501379"/>
                  <a:gd name="connsiteY34" fmla="*/ 4371975 h 4429294"/>
                  <a:gd name="connsiteX35" fmla="*/ 2561419 w 4501379"/>
                  <a:gd name="connsiteY35" fmla="*/ 4391025 h 4429294"/>
                  <a:gd name="connsiteX36" fmla="*/ 2107394 w 4501379"/>
                  <a:gd name="connsiteY36" fmla="*/ 4429125 h 4429294"/>
                  <a:gd name="connsiteX37" fmla="*/ 1916894 w 4501379"/>
                  <a:gd name="connsiteY37" fmla="*/ 4400550 h 4429294"/>
                  <a:gd name="connsiteX38" fmla="*/ 1554944 w 4501379"/>
                  <a:gd name="connsiteY38" fmla="*/ 4305300 h 4429294"/>
                  <a:gd name="connsiteX39" fmla="*/ 1313644 w 4501379"/>
                  <a:gd name="connsiteY39" fmla="*/ 4216400 h 4429294"/>
                  <a:gd name="connsiteX40" fmla="*/ 1145369 w 4501379"/>
                  <a:gd name="connsiteY40" fmla="*/ 4111625 h 4429294"/>
                  <a:gd name="connsiteX41" fmla="*/ 926294 w 4501379"/>
                  <a:gd name="connsiteY41" fmla="*/ 3968750 h 4429294"/>
                  <a:gd name="connsiteX42" fmla="*/ 592919 w 4501379"/>
                  <a:gd name="connsiteY42" fmla="*/ 3657600 h 4429294"/>
                  <a:gd name="connsiteX43" fmla="*/ 446869 w 4501379"/>
                  <a:gd name="connsiteY43" fmla="*/ 3470275 h 4429294"/>
                  <a:gd name="connsiteX44" fmla="*/ 316694 w 4501379"/>
                  <a:gd name="connsiteY44" fmla="*/ 3244850 h 4429294"/>
                  <a:gd name="connsiteX45" fmla="*/ 164294 w 4501379"/>
                  <a:gd name="connsiteY45" fmla="*/ 2892425 h 4429294"/>
                  <a:gd name="connsiteX46" fmla="*/ 56344 w 4501379"/>
                  <a:gd name="connsiteY46" fmla="*/ 2368550 h 4429294"/>
                  <a:gd name="connsiteX47" fmla="*/ 2369 w 4501379"/>
                  <a:gd name="connsiteY47" fmla="*/ 1905000 h 4429294"/>
                  <a:gd name="connsiteX48" fmla="*/ 11894 w 4501379"/>
                  <a:gd name="connsiteY48" fmla="*/ 1838325 h 4429294"/>
                  <a:gd name="connsiteX49" fmla="*/ 30944 w 4501379"/>
                  <a:gd name="connsiteY49" fmla="*/ 1781175 h 4429294"/>
                  <a:gd name="connsiteX50" fmla="*/ 40469 w 4501379"/>
                  <a:gd name="connsiteY50" fmla="*/ 1743075 h 4429294"/>
                  <a:gd name="connsiteX51" fmla="*/ 59519 w 4501379"/>
                  <a:gd name="connsiteY51" fmla="*/ 1685925 h 4429294"/>
                  <a:gd name="connsiteX52" fmla="*/ 69044 w 4501379"/>
                  <a:gd name="connsiteY52" fmla="*/ 1638300 h 4429294"/>
                  <a:gd name="connsiteX53" fmla="*/ 88094 w 4501379"/>
                  <a:gd name="connsiteY53" fmla="*/ 1590675 h 4429294"/>
                  <a:gd name="connsiteX54" fmla="*/ 116669 w 4501379"/>
                  <a:gd name="connsiteY54" fmla="*/ 1504950 h 4429294"/>
                  <a:gd name="connsiteX55" fmla="*/ 135719 w 4501379"/>
                  <a:gd name="connsiteY55" fmla="*/ 1419225 h 4429294"/>
                  <a:gd name="connsiteX56" fmla="*/ 211919 w 4501379"/>
                  <a:gd name="connsiteY56" fmla="*/ 1276350 h 4429294"/>
                  <a:gd name="connsiteX57" fmla="*/ 221444 w 4501379"/>
                  <a:gd name="connsiteY57" fmla="*/ 1247775 h 4429294"/>
                  <a:gd name="connsiteX58" fmla="*/ 250019 w 4501379"/>
                  <a:gd name="connsiteY58" fmla="*/ 1200150 h 4429294"/>
                  <a:gd name="connsiteX59" fmla="*/ 269069 w 4501379"/>
                  <a:gd name="connsiteY59" fmla="*/ 1152525 h 4429294"/>
                  <a:gd name="connsiteX60" fmla="*/ 297644 w 4501379"/>
                  <a:gd name="connsiteY60" fmla="*/ 1114425 h 4429294"/>
                  <a:gd name="connsiteX61" fmla="*/ 345269 w 4501379"/>
                  <a:gd name="connsiteY61" fmla="*/ 1038225 h 4429294"/>
                  <a:gd name="connsiteX62" fmla="*/ 364319 w 4501379"/>
                  <a:gd name="connsiteY62" fmla="*/ 1009650 h 4429294"/>
                  <a:gd name="connsiteX63" fmla="*/ 421469 w 4501379"/>
                  <a:gd name="connsiteY63" fmla="*/ 904875 h 4429294"/>
                  <a:gd name="connsiteX64" fmla="*/ 459569 w 4501379"/>
                  <a:gd name="connsiteY64" fmla="*/ 857250 h 4429294"/>
                  <a:gd name="connsiteX65" fmla="*/ 478619 w 4501379"/>
                  <a:gd name="connsiteY65" fmla="*/ 828675 h 4429294"/>
                  <a:gd name="connsiteX66" fmla="*/ 516719 w 4501379"/>
                  <a:gd name="connsiteY66" fmla="*/ 800100 h 4429294"/>
                  <a:gd name="connsiteX67" fmla="*/ 583394 w 4501379"/>
                  <a:gd name="connsiteY67" fmla="*/ 733425 h 4429294"/>
                  <a:gd name="connsiteX68" fmla="*/ 650069 w 4501379"/>
                  <a:gd name="connsiteY68" fmla="*/ 676275 h 4429294"/>
                  <a:gd name="connsiteX69" fmla="*/ 678644 w 4501379"/>
                  <a:gd name="connsiteY69" fmla="*/ 657225 h 4429294"/>
                  <a:gd name="connsiteX70" fmla="*/ 821519 w 4501379"/>
                  <a:gd name="connsiteY70" fmla="*/ 533400 h 4429294"/>
                  <a:gd name="connsiteX71" fmla="*/ 869144 w 4501379"/>
                  <a:gd name="connsiteY71" fmla="*/ 504825 h 4429294"/>
                  <a:gd name="connsiteX72" fmla="*/ 1148544 w 4501379"/>
                  <a:gd name="connsiteY72" fmla="*/ 311150 h 4429294"/>
                  <a:gd name="connsiteX73" fmla="*/ 1250144 w 4501379"/>
                  <a:gd name="connsiteY73" fmla="*/ 285750 h 4429294"/>
                  <a:gd name="connsiteX74" fmla="*/ 1393019 w 4501379"/>
                  <a:gd name="connsiteY74" fmla="*/ 190500 h 4429294"/>
                  <a:gd name="connsiteX75" fmla="*/ 1431119 w 4501379"/>
                  <a:gd name="connsiteY75" fmla="*/ 161925 h 4429294"/>
                  <a:gd name="connsiteX76" fmla="*/ 1507319 w 4501379"/>
                  <a:gd name="connsiteY76" fmla="*/ 152400 h 4429294"/>
                  <a:gd name="connsiteX77" fmla="*/ 1564469 w 4501379"/>
                  <a:gd name="connsiteY77" fmla="*/ 142875 h 4429294"/>
                  <a:gd name="connsiteX78" fmla="*/ 1697819 w 4501379"/>
                  <a:gd name="connsiteY78" fmla="*/ 123825 h 4429294"/>
                  <a:gd name="connsiteX79" fmla="*/ 1793069 w 4501379"/>
                  <a:gd name="connsiteY79" fmla="*/ 114300 h 4429294"/>
                  <a:gd name="connsiteX80" fmla="*/ 1840694 w 4501379"/>
                  <a:gd name="connsiteY80" fmla="*/ 104775 h 4429294"/>
                  <a:gd name="connsiteX81" fmla="*/ 1897844 w 4501379"/>
                  <a:gd name="connsiteY81" fmla="*/ 95250 h 4429294"/>
                  <a:gd name="connsiteX82" fmla="*/ 2012144 w 4501379"/>
                  <a:gd name="connsiteY82" fmla="*/ 66675 h 4429294"/>
                  <a:gd name="connsiteX83" fmla="*/ 2078819 w 4501379"/>
                  <a:gd name="connsiteY83" fmla="*/ 47625 h 4429294"/>
                  <a:gd name="connsiteX84" fmla="*/ 2145494 w 4501379"/>
                  <a:gd name="connsiteY84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250394 w 4501379"/>
                  <a:gd name="connsiteY5" fmla="*/ 238125 h 4429294"/>
                  <a:gd name="connsiteX6" fmla="*/ 3307544 w 4501379"/>
                  <a:gd name="connsiteY6" fmla="*/ 266700 h 4429294"/>
                  <a:gd name="connsiteX7" fmla="*/ 3336119 w 4501379"/>
                  <a:gd name="connsiteY7" fmla="*/ 285750 h 4429294"/>
                  <a:gd name="connsiteX8" fmla="*/ 3402794 w 4501379"/>
                  <a:gd name="connsiteY8" fmla="*/ 323850 h 4429294"/>
                  <a:gd name="connsiteX9" fmla="*/ 3450419 w 4501379"/>
                  <a:gd name="connsiteY9" fmla="*/ 361950 h 4429294"/>
                  <a:gd name="connsiteX10" fmla="*/ 3498044 w 4501379"/>
                  <a:gd name="connsiteY10" fmla="*/ 390525 h 4429294"/>
                  <a:gd name="connsiteX11" fmla="*/ 3612344 w 4501379"/>
                  <a:gd name="connsiteY11" fmla="*/ 485775 h 4429294"/>
                  <a:gd name="connsiteX12" fmla="*/ 3726644 w 4501379"/>
                  <a:gd name="connsiteY12" fmla="*/ 542925 h 4429294"/>
                  <a:gd name="connsiteX13" fmla="*/ 3793319 w 4501379"/>
                  <a:gd name="connsiteY13" fmla="*/ 581025 h 4429294"/>
                  <a:gd name="connsiteX14" fmla="*/ 4009219 w 4501379"/>
                  <a:gd name="connsiteY14" fmla="*/ 819150 h 4429294"/>
                  <a:gd name="connsiteX15" fmla="*/ 4145744 w 4501379"/>
                  <a:gd name="connsiteY15" fmla="*/ 990600 h 4429294"/>
                  <a:gd name="connsiteX16" fmla="*/ 4231469 w 4501379"/>
                  <a:gd name="connsiteY16" fmla="*/ 1143000 h 4429294"/>
                  <a:gd name="connsiteX17" fmla="*/ 4288619 w 4501379"/>
                  <a:gd name="connsiteY17" fmla="*/ 1266825 h 4429294"/>
                  <a:gd name="connsiteX18" fmla="*/ 4326719 w 4501379"/>
                  <a:gd name="connsiteY18" fmla="*/ 1362075 h 4429294"/>
                  <a:gd name="connsiteX19" fmla="*/ 4374344 w 4501379"/>
                  <a:gd name="connsiteY19" fmla="*/ 1552575 h 4429294"/>
                  <a:gd name="connsiteX20" fmla="*/ 4412444 w 4501379"/>
                  <a:gd name="connsiteY20" fmla="*/ 1685925 h 4429294"/>
                  <a:gd name="connsiteX21" fmla="*/ 4501344 w 4501379"/>
                  <a:gd name="connsiteY21" fmla="*/ 2181225 h 4429294"/>
                  <a:gd name="connsiteX22" fmla="*/ 4428319 w 4501379"/>
                  <a:gd name="connsiteY22" fmla="*/ 2768600 h 4429294"/>
                  <a:gd name="connsiteX23" fmla="*/ 4364819 w 4501379"/>
                  <a:gd name="connsiteY23" fmla="*/ 2990850 h 4429294"/>
                  <a:gd name="connsiteX24" fmla="*/ 4260044 w 4501379"/>
                  <a:gd name="connsiteY24" fmla="*/ 3248025 h 4429294"/>
                  <a:gd name="connsiteX25" fmla="*/ 4164794 w 4501379"/>
                  <a:gd name="connsiteY25" fmla="*/ 3400425 h 4429294"/>
                  <a:gd name="connsiteX26" fmla="*/ 4040969 w 4501379"/>
                  <a:gd name="connsiteY26" fmla="*/ 3533775 h 4429294"/>
                  <a:gd name="connsiteX27" fmla="*/ 3936194 w 4501379"/>
                  <a:gd name="connsiteY27" fmla="*/ 3648075 h 4429294"/>
                  <a:gd name="connsiteX28" fmla="*/ 3640919 w 4501379"/>
                  <a:gd name="connsiteY28" fmla="*/ 3971925 h 4429294"/>
                  <a:gd name="connsiteX29" fmla="*/ 3498044 w 4501379"/>
                  <a:gd name="connsiteY29" fmla="*/ 4083050 h 4429294"/>
                  <a:gd name="connsiteX30" fmla="*/ 3202769 w 4501379"/>
                  <a:gd name="connsiteY30" fmla="*/ 4222750 h 4429294"/>
                  <a:gd name="connsiteX31" fmla="*/ 3050369 w 4501379"/>
                  <a:gd name="connsiteY31" fmla="*/ 4286250 h 4429294"/>
                  <a:gd name="connsiteX32" fmla="*/ 2917019 w 4501379"/>
                  <a:gd name="connsiteY32" fmla="*/ 4333875 h 4429294"/>
                  <a:gd name="connsiteX33" fmla="*/ 2793194 w 4501379"/>
                  <a:gd name="connsiteY33" fmla="*/ 4371975 h 4429294"/>
                  <a:gd name="connsiteX34" fmla="*/ 2561419 w 4501379"/>
                  <a:gd name="connsiteY34" fmla="*/ 4391025 h 4429294"/>
                  <a:gd name="connsiteX35" fmla="*/ 2107394 w 4501379"/>
                  <a:gd name="connsiteY35" fmla="*/ 4429125 h 4429294"/>
                  <a:gd name="connsiteX36" fmla="*/ 1916894 w 4501379"/>
                  <a:gd name="connsiteY36" fmla="*/ 4400550 h 4429294"/>
                  <a:gd name="connsiteX37" fmla="*/ 1554944 w 4501379"/>
                  <a:gd name="connsiteY37" fmla="*/ 4305300 h 4429294"/>
                  <a:gd name="connsiteX38" fmla="*/ 1313644 w 4501379"/>
                  <a:gd name="connsiteY38" fmla="*/ 4216400 h 4429294"/>
                  <a:gd name="connsiteX39" fmla="*/ 1145369 w 4501379"/>
                  <a:gd name="connsiteY39" fmla="*/ 4111625 h 4429294"/>
                  <a:gd name="connsiteX40" fmla="*/ 926294 w 4501379"/>
                  <a:gd name="connsiteY40" fmla="*/ 3968750 h 4429294"/>
                  <a:gd name="connsiteX41" fmla="*/ 592919 w 4501379"/>
                  <a:gd name="connsiteY41" fmla="*/ 3657600 h 4429294"/>
                  <a:gd name="connsiteX42" fmla="*/ 446869 w 4501379"/>
                  <a:gd name="connsiteY42" fmla="*/ 3470275 h 4429294"/>
                  <a:gd name="connsiteX43" fmla="*/ 316694 w 4501379"/>
                  <a:gd name="connsiteY43" fmla="*/ 3244850 h 4429294"/>
                  <a:gd name="connsiteX44" fmla="*/ 164294 w 4501379"/>
                  <a:gd name="connsiteY44" fmla="*/ 2892425 h 4429294"/>
                  <a:gd name="connsiteX45" fmla="*/ 56344 w 4501379"/>
                  <a:gd name="connsiteY45" fmla="*/ 2368550 h 4429294"/>
                  <a:gd name="connsiteX46" fmla="*/ 2369 w 4501379"/>
                  <a:gd name="connsiteY46" fmla="*/ 1905000 h 4429294"/>
                  <a:gd name="connsiteX47" fmla="*/ 11894 w 4501379"/>
                  <a:gd name="connsiteY47" fmla="*/ 1838325 h 4429294"/>
                  <a:gd name="connsiteX48" fmla="*/ 30944 w 4501379"/>
                  <a:gd name="connsiteY48" fmla="*/ 1781175 h 4429294"/>
                  <a:gd name="connsiteX49" fmla="*/ 40469 w 4501379"/>
                  <a:gd name="connsiteY49" fmla="*/ 1743075 h 4429294"/>
                  <a:gd name="connsiteX50" fmla="*/ 59519 w 4501379"/>
                  <a:gd name="connsiteY50" fmla="*/ 1685925 h 4429294"/>
                  <a:gd name="connsiteX51" fmla="*/ 69044 w 4501379"/>
                  <a:gd name="connsiteY51" fmla="*/ 1638300 h 4429294"/>
                  <a:gd name="connsiteX52" fmla="*/ 88094 w 4501379"/>
                  <a:gd name="connsiteY52" fmla="*/ 1590675 h 4429294"/>
                  <a:gd name="connsiteX53" fmla="*/ 116669 w 4501379"/>
                  <a:gd name="connsiteY53" fmla="*/ 1504950 h 4429294"/>
                  <a:gd name="connsiteX54" fmla="*/ 135719 w 4501379"/>
                  <a:gd name="connsiteY54" fmla="*/ 1419225 h 4429294"/>
                  <a:gd name="connsiteX55" fmla="*/ 211919 w 4501379"/>
                  <a:gd name="connsiteY55" fmla="*/ 1276350 h 4429294"/>
                  <a:gd name="connsiteX56" fmla="*/ 221444 w 4501379"/>
                  <a:gd name="connsiteY56" fmla="*/ 1247775 h 4429294"/>
                  <a:gd name="connsiteX57" fmla="*/ 250019 w 4501379"/>
                  <a:gd name="connsiteY57" fmla="*/ 1200150 h 4429294"/>
                  <a:gd name="connsiteX58" fmla="*/ 269069 w 4501379"/>
                  <a:gd name="connsiteY58" fmla="*/ 1152525 h 4429294"/>
                  <a:gd name="connsiteX59" fmla="*/ 297644 w 4501379"/>
                  <a:gd name="connsiteY59" fmla="*/ 1114425 h 4429294"/>
                  <a:gd name="connsiteX60" fmla="*/ 345269 w 4501379"/>
                  <a:gd name="connsiteY60" fmla="*/ 1038225 h 4429294"/>
                  <a:gd name="connsiteX61" fmla="*/ 364319 w 4501379"/>
                  <a:gd name="connsiteY61" fmla="*/ 1009650 h 4429294"/>
                  <a:gd name="connsiteX62" fmla="*/ 421469 w 4501379"/>
                  <a:gd name="connsiteY62" fmla="*/ 904875 h 4429294"/>
                  <a:gd name="connsiteX63" fmla="*/ 459569 w 4501379"/>
                  <a:gd name="connsiteY63" fmla="*/ 857250 h 4429294"/>
                  <a:gd name="connsiteX64" fmla="*/ 478619 w 4501379"/>
                  <a:gd name="connsiteY64" fmla="*/ 828675 h 4429294"/>
                  <a:gd name="connsiteX65" fmla="*/ 516719 w 4501379"/>
                  <a:gd name="connsiteY65" fmla="*/ 800100 h 4429294"/>
                  <a:gd name="connsiteX66" fmla="*/ 583394 w 4501379"/>
                  <a:gd name="connsiteY66" fmla="*/ 733425 h 4429294"/>
                  <a:gd name="connsiteX67" fmla="*/ 650069 w 4501379"/>
                  <a:gd name="connsiteY67" fmla="*/ 676275 h 4429294"/>
                  <a:gd name="connsiteX68" fmla="*/ 678644 w 4501379"/>
                  <a:gd name="connsiteY68" fmla="*/ 657225 h 4429294"/>
                  <a:gd name="connsiteX69" fmla="*/ 821519 w 4501379"/>
                  <a:gd name="connsiteY69" fmla="*/ 533400 h 4429294"/>
                  <a:gd name="connsiteX70" fmla="*/ 869144 w 4501379"/>
                  <a:gd name="connsiteY70" fmla="*/ 504825 h 4429294"/>
                  <a:gd name="connsiteX71" fmla="*/ 1148544 w 4501379"/>
                  <a:gd name="connsiteY71" fmla="*/ 311150 h 4429294"/>
                  <a:gd name="connsiteX72" fmla="*/ 1250144 w 4501379"/>
                  <a:gd name="connsiteY72" fmla="*/ 285750 h 4429294"/>
                  <a:gd name="connsiteX73" fmla="*/ 1393019 w 4501379"/>
                  <a:gd name="connsiteY73" fmla="*/ 190500 h 4429294"/>
                  <a:gd name="connsiteX74" fmla="*/ 1431119 w 4501379"/>
                  <a:gd name="connsiteY74" fmla="*/ 161925 h 4429294"/>
                  <a:gd name="connsiteX75" fmla="*/ 1507319 w 4501379"/>
                  <a:gd name="connsiteY75" fmla="*/ 152400 h 4429294"/>
                  <a:gd name="connsiteX76" fmla="*/ 1564469 w 4501379"/>
                  <a:gd name="connsiteY76" fmla="*/ 142875 h 4429294"/>
                  <a:gd name="connsiteX77" fmla="*/ 1697819 w 4501379"/>
                  <a:gd name="connsiteY77" fmla="*/ 123825 h 4429294"/>
                  <a:gd name="connsiteX78" fmla="*/ 1793069 w 4501379"/>
                  <a:gd name="connsiteY78" fmla="*/ 114300 h 4429294"/>
                  <a:gd name="connsiteX79" fmla="*/ 1840694 w 4501379"/>
                  <a:gd name="connsiteY79" fmla="*/ 104775 h 4429294"/>
                  <a:gd name="connsiteX80" fmla="*/ 1897844 w 4501379"/>
                  <a:gd name="connsiteY80" fmla="*/ 95250 h 4429294"/>
                  <a:gd name="connsiteX81" fmla="*/ 2012144 w 4501379"/>
                  <a:gd name="connsiteY81" fmla="*/ 66675 h 4429294"/>
                  <a:gd name="connsiteX82" fmla="*/ 2078819 w 4501379"/>
                  <a:gd name="connsiteY82" fmla="*/ 47625 h 4429294"/>
                  <a:gd name="connsiteX83" fmla="*/ 2145494 w 4501379"/>
                  <a:gd name="connsiteY83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250394 w 4501379"/>
                  <a:gd name="connsiteY5" fmla="*/ 238125 h 4429294"/>
                  <a:gd name="connsiteX6" fmla="*/ 3307544 w 4501379"/>
                  <a:gd name="connsiteY6" fmla="*/ 266700 h 4429294"/>
                  <a:gd name="connsiteX7" fmla="*/ 3402794 w 4501379"/>
                  <a:gd name="connsiteY7" fmla="*/ 323850 h 4429294"/>
                  <a:gd name="connsiteX8" fmla="*/ 3450419 w 4501379"/>
                  <a:gd name="connsiteY8" fmla="*/ 361950 h 4429294"/>
                  <a:gd name="connsiteX9" fmla="*/ 3498044 w 4501379"/>
                  <a:gd name="connsiteY9" fmla="*/ 390525 h 4429294"/>
                  <a:gd name="connsiteX10" fmla="*/ 3612344 w 4501379"/>
                  <a:gd name="connsiteY10" fmla="*/ 485775 h 4429294"/>
                  <a:gd name="connsiteX11" fmla="*/ 3726644 w 4501379"/>
                  <a:gd name="connsiteY11" fmla="*/ 542925 h 4429294"/>
                  <a:gd name="connsiteX12" fmla="*/ 3793319 w 4501379"/>
                  <a:gd name="connsiteY12" fmla="*/ 581025 h 4429294"/>
                  <a:gd name="connsiteX13" fmla="*/ 4009219 w 4501379"/>
                  <a:gd name="connsiteY13" fmla="*/ 819150 h 4429294"/>
                  <a:gd name="connsiteX14" fmla="*/ 4145744 w 4501379"/>
                  <a:gd name="connsiteY14" fmla="*/ 990600 h 4429294"/>
                  <a:gd name="connsiteX15" fmla="*/ 4231469 w 4501379"/>
                  <a:gd name="connsiteY15" fmla="*/ 1143000 h 4429294"/>
                  <a:gd name="connsiteX16" fmla="*/ 4288619 w 4501379"/>
                  <a:gd name="connsiteY16" fmla="*/ 1266825 h 4429294"/>
                  <a:gd name="connsiteX17" fmla="*/ 4326719 w 4501379"/>
                  <a:gd name="connsiteY17" fmla="*/ 1362075 h 4429294"/>
                  <a:gd name="connsiteX18" fmla="*/ 4374344 w 4501379"/>
                  <a:gd name="connsiteY18" fmla="*/ 1552575 h 4429294"/>
                  <a:gd name="connsiteX19" fmla="*/ 4412444 w 4501379"/>
                  <a:gd name="connsiteY19" fmla="*/ 1685925 h 4429294"/>
                  <a:gd name="connsiteX20" fmla="*/ 4501344 w 4501379"/>
                  <a:gd name="connsiteY20" fmla="*/ 2181225 h 4429294"/>
                  <a:gd name="connsiteX21" fmla="*/ 4428319 w 4501379"/>
                  <a:gd name="connsiteY21" fmla="*/ 2768600 h 4429294"/>
                  <a:gd name="connsiteX22" fmla="*/ 4364819 w 4501379"/>
                  <a:gd name="connsiteY22" fmla="*/ 2990850 h 4429294"/>
                  <a:gd name="connsiteX23" fmla="*/ 4260044 w 4501379"/>
                  <a:gd name="connsiteY23" fmla="*/ 3248025 h 4429294"/>
                  <a:gd name="connsiteX24" fmla="*/ 4164794 w 4501379"/>
                  <a:gd name="connsiteY24" fmla="*/ 3400425 h 4429294"/>
                  <a:gd name="connsiteX25" fmla="*/ 4040969 w 4501379"/>
                  <a:gd name="connsiteY25" fmla="*/ 3533775 h 4429294"/>
                  <a:gd name="connsiteX26" fmla="*/ 3936194 w 4501379"/>
                  <a:gd name="connsiteY26" fmla="*/ 3648075 h 4429294"/>
                  <a:gd name="connsiteX27" fmla="*/ 3640919 w 4501379"/>
                  <a:gd name="connsiteY27" fmla="*/ 3971925 h 4429294"/>
                  <a:gd name="connsiteX28" fmla="*/ 3498044 w 4501379"/>
                  <a:gd name="connsiteY28" fmla="*/ 4083050 h 4429294"/>
                  <a:gd name="connsiteX29" fmla="*/ 3202769 w 4501379"/>
                  <a:gd name="connsiteY29" fmla="*/ 4222750 h 4429294"/>
                  <a:gd name="connsiteX30" fmla="*/ 3050369 w 4501379"/>
                  <a:gd name="connsiteY30" fmla="*/ 4286250 h 4429294"/>
                  <a:gd name="connsiteX31" fmla="*/ 2917019 w 4501379"/>
                  <a:gd name="connsiteY31" fmla="*/ 4333875 h 4429294"/>
                  <a:gd name="connsiteX32" fmla="*/ 2793194 w 4501379"/>
                  <a:gd name="connsiteY32" fmla="*/ 4371975 h 4429294"/>
                  <a:gd name="connsiteX33" fmla="*/ 2561419 w 4501379"/>
                  <a:gd name="connsiteY33" fmla="*/ 4391025 h 4429294"/>
                  <a:gd name="connsiteX34" fmla="*/ 2107394 w 4501379"/>
                  <a:gd name="connsiteY34" fmla="*/ 4429125 h 4429294"/>
                  <a:gd name="connsiteX35" fmla="*/ 1916894 w 4501379"/>
                  <a:gd name="connsiteY35" fmla="*/ 4400550 h 4429294"/>
                  <a:gd name="connsiteX36" fmla="*/ 1554944 w 4501379"/>
                  <a:gd name="connsiteY36" fmla="*/ 4305300 h 4429294"/>
                  <a:gd name="connsiteX37" fmla="*/ 1313644 w 4501379"/>
                  <a:gd name="connsiteY37" fmla="*/ 4216400 h 4429294"/>
                  <a:gd name="connsiteX38" fmla="*/ 1145369 w 4501379"/>
                  <a:gd name="connsiteY38" fmla="*/ 4111625 h 4429294"/>
                  <a:gd name="connsiteX39" fmla="*/ 926294 w 4501379"/>
                  <a:gd name="connsiteY39" fmla="*/ 3968750 h 4429294"/>
                  <a:gd name="connsiteX40" fmla="*/ 592919 w 4501379"/>
                  <a:gd name="connsiteY40" fmla="*/ 3657600 h 4429294"/>
                  <a:gd name="connsiteX41" fmla="*/ 446869 w 4501379"/>
                  <a:gd name="connsiteY41" fmla="*/ 3470275 h 4429294"/>
                  <a:gd name="connsiteX42" fmla="*/ 316694 w 4501379"/>
                  <a:gd name="connsiteY42" fmla="*/ 3244850 h 4429294"/>
                  <a:gd name="connsiteX43" fmla="*/ 164294 w 4501379"/>
                  <a:gd name="connsiteY43" fmla="*/ 2892425 h 4429294"/>
                  <a:gd name="connsiteX44" fmla="*/ 56344 w 4501379"/>
                  <a:gd name="connsiteY44" fmla="*/ 2368550 h 4429294"/>
                  <a:gd name="connsiteX45" fmla="*/ 2369 w 4501379"/>
                  <a:gd name="connsiteY45" fmla="*/ 1905000 h 4429294"/>
                  <a:gd name="connsiteX46" fmla="*/ 11894 w 4501379"/>
                  <a:gd name="connsiteY46" fmla="*/ 1838325 h 4429294"/>
                  <a:gd name="connsiteX47" fmla="*/ 30944 w 4501379"/>
                  <a:gd name="connsiteY47" fmla="*/ 1781175 h 4429294"/>
                  <a:gd name="connsiteX48" fmla="*/ 40469 w 4501379"/>
                  <a:gd name="connsiteY48" fmla="*/ 1743075 h 4429294"/>
                  <a:gd name="connsiteX49" fmla="*/ 59519 w 4501379"/>
                  <a:gd name="connsiteY49" fmla="*/ 1685925 h 4429294"/>
                  <a:gd name="connsiteX50" fmla="*/ 69044 w 4501379"/>
                  <a:gd name="connsiteY50" fmla="*/ 1638300 h 4429294"/>
                  <a:gd name="connsiteX51" fmla="*/ 88094 w 4501379"/>
                  <a:gd name="connsiteY51" fmla="*/ 1590675 h 4429294"/>
                  <a:gd name="connsiteX52" fmla="*/ 116669 w 4501379"/>
                  <a:gd name="connsiteY52" fmla="*/ 1504950 h 4429294"/>
                  <a:gd name="connsiteX53" fmla="*/ 135719 w 4501379"/>
                  <a:gd name="connsiteY53" fmla="*/ 1419225 h 4429294"/>
                  <a:gd name="connsiteX54" fmla="*/ 211919 w 4501379"/>
                  <a:gd name="connsiteY54" fmla="*/ 1276350 h 4429294"/>
                  <a:gd name="connsiteX55" fmla="*/ 221444 w 4501379"/>
                  <a:gd name="connsiteY55" fmla="*/ 1247775 h 4429294"/>
                  <a:gd name="connsiteX56" fmla="*/ 250019 w 4501379"/>
                  <a:gd name="connsiteY56" fmla="*/ 1200150 h 4429294"/>
                  <a:gd name="connsiteX57" fmla="*/ 269069 w 4501379"/>
                  <a:gd name="connsiteY57" fmla="*/ 1152525 h 4429294"/>
                  <a:gd name="connsiteX58" fmla="*/ 297644 w 4501379"/>
                  <a:gd name="connsiteY58" fmla="*/ 1114425 h 4429294"/>
                  <a:gd name="connsiteX59" fmla="*/ 345269 w 4501379"/>
                  <a:gd name="connsiteY59" fmla="*/ 1038225 h 4429294"/>
                  <a:gd name="connsiteX60" fmla="*/ 364319 w 4501379"/>
                  <a:gd name="connsiteY60" fmla="*/ 1009650 h 4429294"/>
                  <a:gd name="connsiteX61" fmla="*/ 421469 w 4501379"/>
                  <a:gd name="connsiteY61" fmla="*/ 904875 h 4429294"/>
                  <a:gd name="connsiteX62" fmla="*/ 459569 w 4501379"/>
                  <a:gd name="connsiteY62" fmla="*/ 857250 h 4429294"/>
                  <a:gd name="connsiteX63" fmla="*/ 478619 w 4501379"/>
                  <a:gd name="connsiteY63" fmla="*/ 828675 h 4429294"/>
                  <a:gd name="connsiteX64" fmla="*/ 516719 w 4501379"/>
                  <a:gd name="connsiteY64" fmla="*/ 800100 h 4429294"/>
                  <a:gd name="connsiteX65" fmla="*/ 583394 w 4501379"/>
                  <a:gd name="connsiteY65" fmla="*/ 733425 h 4429294"/>
                  <a:gd name="connsiteX66" fmla="*/ 650069 w 4501379"/>
                  <a:gd name="connsiteY66" fmla="*/ 676275 h 4429294"/>
                  <a:gd name="connsiteX67" fmla="*/ 678644 w 4501379"/>
                  <a:gd name="connsiteY67" fmla="*/ 657225 h 4429294"/>
                  <a:gd name="connsiteX68" fmla="*/ 821519 w 4501379"/>
                  <a:gd name="connsiteY68" fmla="*/ 533400 h 4429294"/>
                  <a:gd name="connsiteX69" fmla="*/ 869144 w 4501379"/>
                  <a:gd name="connsiteY69" fmla="*/ 504825 h 4429294"/>
                  <a:gd name="connsiteX70" fmla="*/ 1148544 w 4501379"/>
                  <a:gd name="connsiteY70" fmla="*/ 311150 h 4429294"/>
                  <a:gd name="connsiteX71" fmla="*/ 1250144 w 4501379"/>
                  <a:gd name="connsiteY71" fmla="*/ 285750 h 4429294"/>
                  <a:gd name="connsiteX72" fmla="*/ 1393019 w 4501379"/>
                  <a:gd name="connsiteY72" fmla="*/ 190500 h 4429294"/>
                  <a:gd name="connsiteX73" fmla="*/ 1431119 w 4501379"/>
                  <a:gd name="connsiteY73" fmla="*/ 161925 h 4429294"/>
                  <a:gd name="connsiteX74" fmla="*/ 1507319 w 4501379"/>
                  <a:gd name="connsiteY74" fmla="*/ 152400 h 4429294"/>
                  <a:gd name="connsiteX75" fmla="*/ 1564469 w 4501379"/>
                  <a:gd name="connsiteY75" fmla="*/ 142875 h 4429294"/>
                  <a:gd name="connsiteX76" fmla="*/ 1697819 w 4501379"/>
                  <a:gd name="connsiteY76" fmla="*/ 123825 h 4429294"/>
                  <a:gd name="connsiteX77" fmla="*/ 1793069 w 4501379"/>
                  <a:gd name="connsiteY77" fmla="*/ 114300 h 4429294"/>
                  <a:gd name="connsiteX78" fmla="*/ 1840694 w 4501379"/>
                  <a:gd name="connsiteY78" fmla="*/ 104775 h 4429294"/>
                  <a:gd name="connsiteX79" fmla="*/ 1897844 w 4501379"/>
                  <a:gd name="connsiteY79" fmla="*/ 95250 h 4429294"/>
                  <a:gd name="connsiteX80" fmla="*/ 2012144 w 4501379"/>
                  <a:gd name="connsiteY80" fmla="*/ 66675 h 4429294"/>
                  <a:gd name="connsiteX81" fmla="*/ 2078819 w 4501379"/>
                  <a:gd name="connsiteY81" fmla="*/ 47625 h 4429294"/>
                  <a:gd name="connsiteX82" fmla="*/ 2145494 w 4501379"/>
                  <a:gd name="connsiteY82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307544 w 4501379"/>
                  <a:gd name="connsiteY5" fmla="*/ 266700 h 4429294"/>
                  <a:gd name="connsiteX6" fmla="*/ 3402794 w 4501379"/>
                  <a:gd name="connsiteY6" fmla="*/ 323850 h 4429294"/>
                  <a:gd name="connsiteX7" fmla="*/ 3450419 w 4501379"/>
                  <a:gd name="connsiteY7" fmla="*/ 361950 h 4429294"/>
                  <a:gd name="connsiteX8" fmla="*/ 3498044 w 4501379"/>
                  <a:gd name="connsiteY8" fmla="*/ 390525 h 4429294"/>
                  <a:gd name="connsiteX9" fmla="*/ 3612344 w 4501379"/>
                  <a:gd name="connsiteY9" fmla="*/ 485775 h 4429294"/>
                  <a:gd name="connsiteX10" fmla="*/ 3726644 w 4501379"/>
                  <a:gd name="connsiteY10" fmla="*/ 542925 h 4429294"/>
                  <a:gd name="connsiteX11" fmla="*/ 3793319 w 4501379"/>
                  <a:gd name="connsiteY11" fmla="*/ 581025 h 4429294"/>
                  <a:gd name="connsiteX12" fmla="*/ 4009219 w 4501379"/>
                  <a:gd name="connsiteY12" fmla="*/ 819150 h 4429294"/>
                  <a:gd name="connsiteX13" fmla="*/ 4145744 w 4501379"/>
                  <a:gd name="connsiteY13" fmla="*/ 990600 h 4429294"/>
                  <a:gd name="connsiteX14" fmla="*/ 4231469 w 4501379"/>
                  <a:gd name="connsiteY14" fmla="*/ 1143000 h 4429294"/>
                  <a:gd name="connsiteX15" fmla="*/ 4288619 w 4501379"/>
                  <a:gd name="connsiteY15" fmla="*/ 1266825 h 4429294"/>
                  <a:gd name="connsiteX16" fmla="*/ 4326719 w 4501379"/>
                  <a:gd name="connsiteY16" fmla="*/ 1362075 h 4429294"/>
                  <a:gd name="connsiteX17" fmla="*/ 4374344 w 4501379"/>
                  <a:gd name="connsiteY17" fmla="*/ 1552575 h 4429294"/>
                  <a:gd name="connsiteX18" fmla="*/ 4412444 w 4501379"/>
                  <a:gd name="connsiteY18" fmla="*/ 1685925 h 4429294"/>
                  <a:gd name="connsiteX19" fmla="*/ 4501344 w 4501379"/>
                  <a:gd name="connsiteY19" fmla="*/ 2181225 h 4429294"/>
                  <a:gd name="connsiteX20" fmla="*/ 4428319 w 4501379"/>
                  <a:gd name="connsiteY20" fmla="*/ 2768600 h 4429294"/>
                  <a:gd name="connsiteX21" fmla="*/ 4364819 w 4501379"/>
                  <a:gd name="connsiteY21" fmla="*/ 2990850 h 4429294"/>
                  <a:gd name="connsiteX22" fmla="*/ 4260044 w 4501379"/>
                  <a:gd name="connsiteY22" fmla="*/ 3248025 h 4429294"/>
                  <a:gd name="connsiteX23" fmla="*/ 4164794 w 4501379"/>
                  <a:gd name="connsiteY23" fmla="*/ 3400425 h 4429294"/>
                  <a:gd name="connsiteX24" fmla="*/ 4040969 w 4501379"/>
                  <a:gd name="connsiteY24" fmla="*/ 3533775 h 4429294"/>
                  <a:gd name="connsiteX25" fmla="*/ 3936194 w 4501379"/>
                  <a:gd name="connsiteY25" fmla="*/ 3648075 h 4429294"/>
                  <a:gd name="connsiteX26" fmla="*/ 3640919 w 4501379"/>
                  <a:gd name="connsiteY26" fmla="*/ 3971925 h 4429294"/>
                  <a:gd name="connsiteX27" fmla="*/ 3498044 w 4501379"/>
                  <a:gd name="connsiteY27" fmla="*/ 4083050 h 4429294"/>
                  <a:gd name="connsiteX28" fmla="*/ 3202769 w 4501379"/>
                  <a:gd name="connsiteY28" fmla="*/ 4222750 h 4429294"/>
                  <a:gd name="connsiteX29" fmla="*/ 3050369 w 4501379"/>
                  <a:gd name="connsiteY29" fmla="*/ 4286250 h 4429294"/>
                  <a:gd name="connsiteX30" fmla="*/ 2917019 w 4501379"/>
                  <a:gd name="connsiteY30" fmla="*/ 4333875 h 4429294"/>
                  <a:gd name="connsiteX31" fmla="*/ 2793194 w 4501379"/>
                  <a:gd name="connsiteY31" fmla="*/ 4371975 h 4429294"/>
                  <a:gd name="connsiteX32" fmla="*/ 2561419 w 4501379"/>
                  <a:gd name="connsiteY32" fmla="*/ 4391025 h 4429294"/>
                  <a:gd name="connsiteX33" fmla="*/ 2107394 w 4501379"/>
                  <a:gd name="connsiteY33" fmla="*/ 4429125 h 4429294"/>
                  <a:gd name="connsiteX34" fmla="*/ 1916894 w 4501379"/>
                  <a:gd name="connsiteY34" fmla="*/ 4400550 h 4429294"/>
                  <a:gd name="connsiteX35" fmla="*/ 1554944 w 4501379"/>
                  <a:gd name="connsiteY35" fmla="*/ 4305300 h 4429294"/>
                  <a:gd name="connsiteX36" fmla="*/ 1313644 w 4501379"/>
                  <a:gd name="connsiteY36" fmla="*/ 4216400 h 4429294"/>
                  <a:gd name="connsiteX37" fmla="*/ 1145369 w 4501379"/>
                  <a:gd name="connsiteY37" fmla="*/ 4111625 h 4429294"/>
                  <a:gd name="connsiteX38" fmla="*/ 926294 w 4501379"/>
                  <a:gd name="connsiteY38" fmla="*/ 3968750 h 4429294"/>
                  <a:gd name="connsiteX39" fmla="*/ 592919 w 4501379"/>
                  <a:gd name="connsiteY39" fmla="*/ 3657600 h 4429294"/>
                  <a:gd name="connsiteX40" fmla="*/ 446869 w 4501379"/>
                  <a:gd name="connsiteY40" fmla="*/ 3470275 h 4429294"/>
                  <a:gd name="connsiteX41" fmla="*/ 316694 w 4501379"/>
                  <a:gd name="connsiteY41" fmla="*/ 3244850 h 4429294"/>
                  <a:gd name="connsiteX42" fmla="*/ 164294 w 4501379"/>
                  <a:gd name="connsiteY42" fmla="*/ 2892425 h 4429294"/>
                  <a:gd name="connsiteX43" fmla="*/ 56344 w 4501379"/>
                  <a:gd name="connsiteY43" fmla="*/ 2368550 h 4429294"/>
                  <a:gd name="connsiteX44" fmla="*/ 2369 w 4501379"/>
                  <a:gd name="connsiteY44" fmla="*/ 1905000 h 4429294"/>
                  <a:gd name="connsiteX45" fmla="*/ 11894 w 4501379"/>
                  <a:gd name="connsiteY45" fmla="*/ 1838325 h 4429294"/>
                  <a:gd name="connsiteX46" fmla="*/ 30944 w 4501379"/>
                  <a:gd name="connsiteY46" fmla="*/ 1781175 h 4429294"/>
                  <a:gd name="connsiteX47" fmla="*/ 40469 w 4501379"/>
                  <a:gd name="connsiteY47" fmla="*/ 1743075 h 4429294"/>
                  <a:gd name="connsiteX48" fmla="*/ 59519 w 4501379"/>
                  <a:gd name="connsiteY48" fmla="*/ 1685925 h 4429294"/>
                  <a:gd name="connsiteX49" fmla="*/ 69044 w 4501379"/>
                  <a:gd name="connsiteY49" fmla="*/ 1638300 h 4429294"/>
                  <a:gd name="connsiteX50" fmla="*/ 88094 w 4501379"/>
                  <a:gd name="connsiteY50" fmla="*/ 1590675 h 4429294"/>
                  <a:gd name="connsiteX51" fmla="*/ 116669 w 4501379"/>
                  <a:gd name="connsiteY51" fmla="*/ 1504950 h 4429294"/>
                  <a:gd name="connsiteX52" fmla="*/ 135719 w 4501379"/>
                  <a:gd name="connsiteY52" fmla="*/ 1419225 h 4429294"/>
                  <a:gd name="connsiteX53" fmla="*/ 211919 w 4501379"/>
                  <a:gd name="connsiteY53" fmla="*/ 1276350 h 4429294"/>
                  <a:gd name="connsiteX54" fmla="*/ 221444 w 4501379"/>
                  <a:gd name="connsiteY54" fmla="*/ 1247775 h 4429294"/>
                  <a:gd name="connsiteX55" fmla="*/ 250019 w 4501379"/>
                  <a:gd name="connsiteY55" fmla="*/ 1200150 h 4429294"/>
                  <a:gd name="connsiteX56" fmla="*/ 269069 w 4501379"/>
                  <a:gd name="connsiteY56" fmla="*/ 1152525 h 4429294"/>
                  <a:gd name="connsiteX57" fmla="*/ 297644 w 4501379"/>
                  <a:gd name="connsiteY57" fmla="*/ 1114425 h 4429294"/>
                  <a:gd name="connsiteX58" fmla="*/ 345269 w 4501379"/>
                  <a:gd name="connsiteY58" fmla="*/ 1038225 h 4429294"/>
                  <a:gd name="connsiteX59" fmla="*/ 364319 w 4501379"/>
                  <a:gd name="connsiteY59" fmla="*/ 1009650 h 4429294"/>
                  <a:gd name="connsiteX60" fmla="*/ 421469 w 4501379"/>
                  <a:gd name="connsiteY60" fmla="*/ 904875 h 4429294"/>
                  <a:gd name="connsiteX61" fmla="*/ 459569 w 4501379"/>
                  <a:gd name="connsiteY61" fmla="*/ 857250 h 4429294"/>
                  <a:gd name="connsiteX62" fmla="*/ 478619 w 4501379"/>
                  <a:gd name="connsiteY62" fmla="*/ 828675 h 4429294"/>
                  <a:gd name="connsiteX63" fmla="*/ 516719 w 4501379"/>
                  <a:gd name="connsiteY63" fmla="*/ 800100 h 4429294"/>
                  <a:gd name="connsiteX64" fmla="*/ 583394 w 4501379"/>
                  <a:gd name="connsiteY64" fmla="*/ 733425 h 4429294"/>
                  <a:gd name="connsiteX65" fmla="*/ 650069 w 4501379"/>
                  <a:gd name="connsiteY65" fmla="*/ 676275 h 4429294"/>
                  <a:gd name="connsiteX66" fmla="*/ 678644 w 4501379"/>
                  <a:gd name="connsiteY66" fmla="*/ 657225 h 4429294"/>
                  <a:gd name="connsiteX67" fmla="*/ 821519 w 4501379"/>
                  <a:gd name="connsiteY67" fmla="*/ 533400 h 4429294"/>
                  <a:gd name="connsiteX68" fmla="*/ 869144 w 4501379"/>
                  <a:gd name="connsiteY68" fmla="*/ 504825 h 4429294"/>
                  <a:gd name="connsiteX69" fmla="*/ 1148544 w 4501379"/>
                  <a:gd name="connsiteY69" fmla="*/ 311150 h 4429294"/>
                  <a:gd name="connsiteX70" fmla="*/ 1250144 w 4501379"/>
                  <a:gd name="connsiteY70" fmla="*/ 285750 h 4429294"/>
                  <a:gd name="connsiteX71" fmla="*/ 1393019 w 4501379"/>
                  <a:gd name="connsiteY71" fmla="*/ 190500 h 4429294"/>
                  <a:gd name="connsiteX72" fmla="*/ 1431119 w 4501379"/>
                  <a:gd name="connsiteY72" fmla="*/ 161925 h 4429294"/>
                  <a:gd name="connsiteX73" fmla="*/ 1507319 w 4501379"/>
                  <a:gd name="connsiteY73" fmla="*/ 152400 h 4429294"/>
                  <a:gd name="connsiteX74" fmla="*/ 1564469 w 4501379"/>
                  <a:gd name="connsiteY74" fmla="*/ 142875 h 4429294"/>
                  <a:gd name="connsiteX75" fmla="*/ 1697819 w 4501379"/>
                  <a:gd name="connsiteY75" fmla="*/ 123825 h 4429294"/>
                  <a:gd name="connsiteX76" fmla="*/ 1793069 w 4501379"/>
                  <a:gd name="connsiteY76" fmla="*/ 114300 h 4429294"/>
                  <a:gd name="connsiteX77" fmla="*/ 1840694 w 4501379"/>
                  <a:gd name="connsiteY77" fmla="*/ 104775 h 4429294"/>
                  <a:gd name="connsiteX78" fmla="*/ 1897844 w 4501379"/>
                  <a:gd name="connsiteY78" fmla="*/ 95250 h 4429294"/>
                  <a:gd name="connsiteX79" fmla="*/ 2012144 w 4501379"/>
                  <a:gd name="connsiteY79" fmla="*/ 66675 h 4429294"/>
                  <a:gd name="connsiteX80" fmla="*/ 2078819 w 4501379"/>
                  <a:gd name="connsiteY80" fmla="*/ 47625 h 4429294"/>
                  <a:gd name="connsiteX81" fmla="*/ 2145494 w 4501379"/>
                  <a:gd name="connsiteY81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450419 w 4501379"/>
                  <a:gd name="connsiteY6" fmla="*/ 361950 h 4429294"/>
                  <a:gd name="connsiteX7" fmla="*/ 3498044 w 4501379"/>
                  <a:gd name="connsiteY7" fmla="*/ 390525 h 4429294"/>
                  <a:gd name="connsiteX8" fmla="*/ 3612344 w 4501379"/>
                  <a:gd name="connsiteY8" fmla="*/ 485775 h 4429294"/>
                  <a:gd name="connsiteX9" fmla="*/ 3726644 w 4501379"/>
                  <a:gd name="connsiteY9" fmla="*/ 542925 h 4429294"/>
                  <a:gd name="connsiteX10" fmla="*/ 3793319 w 4501379"/>
                  <a:gd name="connsiteY10" fmla="*/ 581025 h 4429294"/>
                  <a:gd name="connsiteX11" fmla="*/ 4009219 w 4501379"/>
                  <a:gd name="connsiteY11" fmla="*/ 819150 h 4429294"/>
                  <a:gd name="connsiteX12" fmla="*/ 4145744 w 4501379"/>
                  <a:gd name="connsiteY12" fmla="*/ 990600 h 4429294"/>
                  <a:gd name="connsiteX13" fmla="*/ 4231469 w 4501379"/>
                  <a:gd name="connsiteY13" fmla="*/ 1143000 h 4429294"/>
                  <a:gd name="connsiteX14" fmla="*/ 4288619 w 4501379"/>
                  <a:gd name="connsiteY14" fmla="*/ 1266825 h 4429294"/>
                  <a:gd name="connsiteX15" fmla="*/ 4326719 w 4501379"/>
                  <a:gd name="connsiteY15" fmla="*/ 1362075 h 4429294"/>
                  <a:gd name="connsiteX16" fmla="*/ 4374344 w 4501379"/>
                  <a:gd name="connsiteY16" fmla="*/ 1552575 h 4429294"/>
                  <a:gd name="connsiteX17" fmla="*/ 4412444 w 4501379"/>
                  <a:gd name="connsiteY17" fmla="*/ 1685925 h 4429294"/>
                  <a:gd name="connsiteX18" fmla="*/ 4501344 w 4501379"/>
                  <a:gd name="connsiteY18" fmla="*/ 2181225 h 4429294"/>
                  <a:gd name="connsiteX19" fmla="*/ 4428319 w 4501379"/>
                  <a:gd name="connsiteY19" fmla="*/ 2768600 h 4429294"/>
                  <a:gd name="connsiteX20" fmla="*/ 4364819 w 4501379"/>
                  <a:gd name="connsiteY20" fmla="*/ 2990850 h 4429294"/>
                  <a:gd name="connsiteX21" fmla="*/ 4260044 w 4501379"/>
                  <a:gd name="connsiteY21" fmla="*/ 3248025 h 4429294"/>
                  <a:gd name="connsiteX22" fmla="*/ 4164794 w 4501379"/>
                  <a:gd name="connsiteY22" fmla="*/ 3400425 h 4429294"/>
                  <a:gd name="connsiteX23" fmla="*/ 4040969 w 4501379"/>
                  <a:gd name="connsiteY23" fmla="*/ 3533775 h 4429294"/>
                  <a:gd name="connsiteX24" fmla="*/ 3936194 w 4501379"/>
                  <a:gd name="connsiteY24" fmla="*/ 3648075 h 4429294"/>
                  <a:gd name="connsiteX25" fmla="*/ 3640919 w 4501379"/>
                  <a:gd name="connsiteY25" fmla="*/ 3971925 h 4429294"/>
                  <a:gd name="connsiteX26" fmla="*/ 3498044 w 4501379"/>
                  <a:gd name="connsiteY26" fmla="*/ 4083050 h 4429294"/>
                  <a:gd name="connsiteX27" fmla="*/ 3202769 w 4501379"/>
                  <a:gd name="connsiteY27" fmla="*/ 4222750 h 4429294"/>
                  <a:gd name="connsiteX28" fmla="*/ 3050369 w 4501379"/>
                  <a:gd name="connsiteY28" fmla="*/ 4286250 h 4429294"/>
                  <a:gd name="connsiteX29" fmla="*/ 2917019 w 4501379"/>
                  <a:gd name="connsiteY29" fmla="*/ 4333875 h 4429294"/>
                  <a:gd name="connsiteX30" fmla="*/ 2793194 w 4501379"/>
                  <a:gd name="connsiteY30" fmla="*/ 4371975 h 4429294"/>
                  <a:gd name="connsiteX31" fmla="*/ 2561419 w 4501379"/>
                  <a:gd name="connsiteY31" fmla="*/ 4391025 h 4429294"/>
                  <a:gd name="connsiteX32" fmla="*/ 2107394 w 4501379"/>
                  <a:gd name="connsiteY32" fmla="*/ 4429125 h 4429294"/>
                  <a:gd name="connsiteX33" fmla="*/ 1916894 w 4501379"/>
                  <a:gd name="connsiteY33" fmla="*/ 4400550 h 4429294"/>
                  <a:gd name="connsiteX34" fmla="*/ 1554944 w 4501379"/>
                  <a:gd name="connsiteY34" fmla="*/ 4305300 h 4429294"/>
                  <a:gd name="connsiteX35" fmla="*/ 1313644 w 4501379"/>
                  <a:gd name="connsiteY35" fmla="*/ 4216400 h 4429294"/>
                  <a:gd name="connsiteX36" fmla="*/ 1145369 w 4501379"/>
                  <a:gd name="connsiteY36" fmla="*/ 4111625 h 4429294"/>
                  <a:gd name="connsiteX37" fmla="*/ 926294 w 4501379"/>
                  <a:gd name="connsiteY37" fmla="*/ 3968750 h 4429294"/>
                  <a:gd name="connsiteX38" fmla="*/ 592919 w 4501379"/>
                  <a:gd name="connsiteY38" fmla="*/ 3657600 h 4429294"/>
                  <a:gd name="connsiteX39" fmla="*/ 446869 w 4501379"/>
                  <a:gd name="connsiteY39" fmla="*/ 3470275 h 4429294"/>
                  <a:gd name="connsiteX40" fmla="*/ 316694 w 4501379"/>
                  <a:gd name="connsiteY40" fmla="*/ 3244850 h 4429294"/>
                  <a:gd name="connsiteX41" fmla="*/ 164294 w 4501379"/>
                  <a:gd name="connsiteY41" fmla="*/ 2892425 h 4429294"/>
                  <a:gd name="connsiteX42" fmla="*/ 56344 w 4501379"/>
                  <a:gd name="connsiteY42" fmla="*/ 2368550 h 4429294"/>
                  <a:gd name="connsiteX43" fmla="*/ 2369 w 4501379"/>
                  <a:gd name="connsiteY43" fmla="*/ 1905000 h 4429294"/>
                  <a:gd name="connsiteX44" fmla="*/ 11894 w 4501379"/>
                  <a:gd name="connsiteY44" fmla="*/ 1838325 h 4429294"/>
                  <a:gd name="connsiteX45" fmla="*/ 30944 w 4501379"/>
                  <a:gd name="connsiteY45" fmla="*/ 1781175 h 4429294"/>
                  <a:gd name="connsiteX46" fmla="*/ 40469 w 4501379"/>
                  <a:gd name="connsiteY46" fmla="*/ 1743075 h 4429294"/>
                  <a:gd name="connsiteX47" fmla="*/ 59519 w 4501379"/>
                  <a:gd name="connsiteY47" fmla="*/ 1685925 h 4429294"/>
                  <a:gd name="connsiteX48" fmla="*/ 69044 w 4501379"/>
                  <a:gd name="connsiteY48" fmla="*/ 1638300 h 4429294"/>
                  <a:gd name="connsiteX49" fmla="*/ 88094 w 4501379"/>
                  <a:gd name="connsiteY49" fmla="*/ 1590675 h 4429294"/>
                  <a:gd name="connsiteX50" fmla="*/ 116669 w 4501379"/>
                  <a:gd name="connsiteY50" fmla="*/ 1504950 h 4429294"/>
                  <a:gd name="connsiteX51" fmla="*/ 135719 w 4501379"/>
                  <a:gd name="connsiteY51" fmla="*/ 1419225 h 4429294"/>
                  <a:gd name="connsiteX52" fmla="*/ 211919 w 4501379"/>
                  <a:gd name="connsiteY52" fmla="*/ 1276350 h 4429294"/>
                  <a:gd name="connsiteX53" fmla="*/ 221444 w 4501379"/>
                  <a:gd name="connsiteY53" fmla="*/ 1247775 h 4429294"/>
                  <a:gd name="connsiteX54" fmla="*/ 250019 w 4501379"/>
                  <a:gd name="connsiteY54" fmla="*/ 1200150 h 4429294"/>
                  <a:gd name="connsiteX55" fmla="*/ 269069 w 4501379"/>
                  <a:gd name="connsiteY55" fmla="*/ 1152525 h 4429294"/>
                  <a:gd name="connsiteX56" fmla="*/ 297644 w 4501379"/>
                  <a:gd name="connsiteY56" fmla="*/ 1114425 h 4429294"/>
                  <a:gd name="connsiteX57" fmla="*/ 345269 w 4501379"/>
                  <a:gd name="connsiteY57" fmla="*/ 1038225 h 4429294"/>
                  <a:gd name="connsiteX58" fmla="*/ 364319 w 4501379"/>
                  <a:gd name="connsiteY58" fmla="*/ 1009650 h 4429294"/>
                  <a:gd name="connsiteX59" fmla="*/ 421469 w 4501379"/>
                  <a:gd name="connsiteY59" fmla="*/ 904875 h 4429294"/>
                  <a:gd name="connsiteX60" fmla="*/ 459569 w 4501379"/>
                  <a:gd name="connsiteY60" fmla="*/ 857250 h 4429294"/>
                  <a:gd name="connsiteX61" fmla="*/ 478619 w 4501379"/>
                  <a:gd name="connsiteY61" fmla="*/ 828675 h 4429294"/>
                  <a:gd name="connsiteX62" fmla="*/ 516719 w 4501379"/>
                  <a:gd name="connsiteY62" fmla="*/ 800100 h 4429294"/>
                  <a:gd name="connsiteX63" fmla="*/ 583394 w 4501379"/>
                  <a:gd name="connsiteY63" fmla="*/ 733425 h 4429294"/>
                  <a:gd name="connsiteX64" fmla="*/ 650069 w 4501379"/>
                  <a:gd name="connsiteY64" fmla="*/ 676275 h 4429294"/>
                  <a:gd name="connsiteX65" fmla="*/ 678644 w 4501379"/>
                  <a:gd name="connsiteY65" fmla="*/ 657225 h 4429294"/>
                  <a:gd name="connsiteX66" fmla="*/ 821519 w 4501379"/>
                  <a:gd name="connsiteY66" fmla="*/ 533400 h 4429294"/>
                  <a:gd name="connsiteX67" fmla="*/ 869144 w 4501379"/>
                  <a:gd name="connsiteY67" fmla="*/ 504825 h 4429294"/>
                  <a:gd name="connsiteX68" fmla="*/ 1148544 w 4501379"/>
                  <a:gd name="connsiteY68" fmla="*/ 311150 h 4429294"/>
                  <a:gd name="connsiteX69" fmla="*/ 1250144 w 4501379"/>
                  <a:gd name="connsiteY69" fmla="*/ 285750 h 4429294"/>
                  <a:gd name="connsiteX70" fmla="*/ 1393019 w 4501379"/>
                  <a:gd name="connsiteY70" fmla="*/ 190500 h 4429294"/>
                  <a:gd name="connsiteX71" fmla="*/ 1431119 w 4501379"/>
                  <a:gd name="connsiteY71" fmla="*/ 161925 h 4429294"/>
                  <a:gd name="connsiteX72" fmla="*/ 1507319 w 4501379"/>
                  <a:gd name="connsiteY72" fmla="*/ 152400 h 4429294"/>
                  <a:gd name="connsiteX73" fmla="*/ 1564469 w 4501379"/>
                  <a:gd name="connsiteY73" fmla="*/ 142875 h 4429294"/>
                  <a:gd name="connsiteX74" fmla="*/ 1697819 w 4501379"/>
                  <a:gd name="connsiteY74" fmla="*/ 123825 h 4429294"/>
                  <a:gd name="connsiteX75" fmla="*/ 1793069 w 4501379"/>
                  <a:gd name="connsiteY75" fmla="*/ 114300 h 4429294"/>
                  <a:gd name="connsiteX76" fmla="*/ 1840694 w 4501379"/>
                  <a:gd name="connsiteY76" fmla="*/ 104775 h 4429294"/>
                  <a:gd name="connsiteX77" fmla="*/ 1897844 w 4501379"/>
                  <a:gd name="connsiteY77" fmla="*/ 95250 h 4429294"/>
                  <a:gd name="connsiteX78" fmla="*/ 2012144 w 4501379"/>
                  <a:gd name="connsiteY78" fmla="*/ 66675 h 4429294"/>
                  <a:gd name="connsiteX79" fmla="*/ 2078819 w 4501379"/>
                  <a:gd name="connsiteY79" fmla="*/ 47625 h 4429294"/>
                  <a:gd name="connsiteX80" fmla="*/ 2145494 w 4501379"/>
                  <a:gd name="connsiteY80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450419 w 4501379"/>
                  <a:gd name="connsiteY6" fmla="*/ 361950 h 4429294"/>
                  <a:gd name="connsiteX7" fmla="*/ 3612344 w 4501379"/>
                  <a:gd name="connsiteY7" fmla="*/ 485775 h 4429294"/>
                  <a:gd name="connsiteX8" fmla="*/ 3726644 w 4501379"/>
                  <a:gd name="connsiteY8" fmla="*/ 542925 h 4429294"/>
                  <a:gd name="connsiteX9" fmla="*/ 3793319 w 4501379"/>
                  <a:gd name="connsiteY9" fmla="*/ 581025 h 4429294"/>
                  <a:gd name="connsiteX10" fmla="*/ 4009219 w 4501379"/>
                  <a:gd name="connsiteY10" fmla="*/ 819150 h 4429294"/>
                  <a:gd name="connsiteX11" fmla="*/ 4145744 w 4501379"/>
                  <a:gd name="connsiteY11" fmla="*/ 990600 h 4429294"/>
                  <a:gd name="connsiteX12" fmla="*/ 4231469 w 4501379"/>
                  <a:gd name="connsiteY12" fmla="*/ 1143000 h 4429294"/>
                  <a:gd name="connsiteX13" fmla="*/ 4288619 w 4501379"/>
                  <a:gd name="connsiteY13" fmla="*/ 1266825 h 4429294"/>
                  <a:gd name="connsiteX14" fmla="*/ 4326719 w 4501379"/>
                  <a:gd name="connsiteY14" fmla="*/ 1362075 h 4429294"/>
                  <a:gd name="connsiteX15" fmla="*/ 4374344 w 4501379"/>
                  <a:gd name="connsiteY15" fmla="*/ 1552575 h 4429294"/>
                  <a:gd name="connsiteX16" fmla="*/ 4412444 w 4501379"/>
                  <a:gd name="connsiteY16" fmla="*/ 1685925 h 4429294"/>
                  <a:gd name="connsiteX17" fmla="*/ 4501344 w 4501379"/>
                  <a:gd name="connsiteY17" fmla="*/ 2181225 h 4429294"/>
                  <a:gd name="connsiteX18" fmla="*/ 4428319 w 4501379"/>
                  <a:gd name="connsiteY18" fmla="*/ 2768600 h 4429294"/>
                  <a:gd name="connsiteX19" fmla="*/ 4364819 w 4501379"/>
                  <a:gd name="connsiteY19" fmla="*/ 2990850 h 4429294"/>
                  <a:gd name="connsiteX20" fmla="*/ 4260044 w 4501379"/>
                  <a:gd name="connsiteY20" fmla="*/ 3248025 h 4429294"/>
                  <a:gd name="connsiteX21" fmla="*/ 4164794 w 4501379"/>
                  <a:gd name="connsiteY21" fmla="*/ 3400425 h 4429294"/>
                  <a:gd name="connsiteX22" fmla="*/ 4040969 w 4501379"/>
                  <a:gd name="connsiteY22" fmla="*/ 3533775 h 4429294"/>
                  <a:gd name="connsiteX23" fmla="*/ 3936194 w 4501379"/>
                  <a:gd name="connsiteY23" fmla="*/ 3648075 h 4429294"/>
                  <a:gd name="connsiteX24" fmla="*/ 3640919 w 4501379"/>
                  <a:gd name="connsiteY24" fmla="*/ 3971925 h 4429294"/>
                  <a:gd name="connsiteX25" fmla="*/ 3498044 w 4501379"/>
                  <a:gd name="connsiteY25" fmla="*/ 4083050 h 4429294"/>
                  <a:gd name="connsiteX26" fmla="*/ 3202769 w 4501379"/>
                  <a:gd name="connsiteY26" fmla="*/ 4222750 h 4429294"/>
                  <a:gd name="connsiteX27" fmla="*/ 3050369 w 4501379"/>
                  <a:gd name="connsiteY27" fmla="*/ 4286250 h 4429294"/>
                  <a:gd name="connsiteX28" fmla="*/ 2917019 w 4501379"/>
                  <a:gd name="connsiteY28" fmla="*/ 4333875 h 4429294"/>
                  <a:gd name="connsiteX29" fmla="*/ 2793194 w 4501379"/>
                  <a:gd name="connsiteY29" fmla="*/ 4371975 h 4429294"/>
                  <a:gd name="connsiteX30" fmla="*/ 2561419 w 4501379"/>
                  <a:gd name="connsiteY30" fmla="*/ 4391025 h 4429294"/>
                  <a:gd name="connsiteX31" fmla="*/ 2107394 w 4501379"/>
                  <a:gd name="connsiteY31" fmla="*/ 4429125 h 4429294"/>
                  <a:gd name="connsiteX32" fmla="*/ 1916894 w 4501379"/>
                  <a:gd name="connsiteY32" fmla="*/ 4400550 h 4429294"/>
                  <a:gd name="connsiteX33" fmla="*/ 1554944 w 4501379"/>
                  <a:gd name="connsiteY33" fmla="*/ 4305300 h 4429294"/>
                  <a:gd name="connsiteX34" fmla="*/ 1313644 w 4501379"/>
                  <a:gd name="connsiteY34" fmla="*/ 4216400 h 4429294"/>
                  <a:gd name="connsiteX35" fmla="*/ 1145369 w 4501379"/>
                  <a:gd name="connsiteY35" fmla="*/ 4111625 h 4429294"/>
                  <a:gd name="connsiteX36" fmla="*/ 926294 w 4501379"/>
                  <a:gd name="connsiteY36" fmla="*/ 3968750 h 4429294"/>
                  <a:gd name="connsiteX37" fmla="*/ 592919 w 4501379"/>
                  <a:gd name="connsiteY37" fmla="*/ 3657600 h 4429294"/>
                  <a:gd name="connsiteX38" fmla="*/ 446869 w 4501379"/>
                  <a:gd name="connsiteY38" fmla="*/ 3470275 h 4429294"/>
                  <a:gd name="connsiteX39" fmla="*/ 316694 w 4501379"/>
                  <a:gd name="connsiteY39" fmla="*/ 3244850 h 4429294"/>
                  <a:gd name="connsiteX40" fmla="*/ 164294 w 4501379"/>
                  <a:gd name="connsiteY40" fmla="*/ 2892425 h 4429294"/>
                  <a:gd name="connsiteX41" fmla="*/ 56344 w 4501379"/>
                  <a:gd name="connsiteY41" fmla="*/ 2368550 h 4429294"/>
                  <a:gd name="connsiteX42" fmla="*/ 2369 w 4501379"/>
                  <a:gd name="connsiteY42" fmla="*/ 1905000 h 4429294"/>
                  <a:gd name="connsiteX43" fmla="*/ 11894 w 4501379"/>
                  <a:gd name="connsiteY43" fmla="*/ 1838325 h 4429294"/>
                  <a:gd name="connsiteX44" fmla="*/ 30944 w 4501379"/>
                  <a:gd name="connsiteY44" fmla="*/ 1781175 h 4429294"/>
                  <a:gd name="connsiteX45" fmla="*/ 40469 w 4501379"/>
                  <a:gd name="connsiteY45" fmla="*/ 1743075 h 4429294"/>
                  <a:gd name="connsiteX46" fmla="*/ 59519 w 4501379"/>
                  <a:gd name="connsiteY46" fmla="*/ 1685925 h 4429294"/>
                  <a:gd name="connsiteX47" fmla="*/ 69044 w 4501379"/>
                  <a:gd name="connsiteY47" fmla="*/ 1638300 h 4429294"/>
                  <a:gd name="connsiteX48" fmla="*/ 88094 w 4501379"/>
                  <a:gd name="connsiteY48" fmla="*/ 1590675 h 4429294"/>
                  <a:gd name="connsiteX49" fmla="*/ 116669 w 4501379"/>
                  <a:gd name="connsiteY49" fmla="*/ 1504950 h 4429294"/>
                  <a:gd name="connsiteX50" fmla="*/ 135719 w 4501379"/>
                  <a:gd name="connsiteY50" fmla="*/ 1419225 h 4429294"/>
                  <a:gd name="connsiteX51" fmla="*/ 211919 w 4501379"/>
                  <a:gd name="connsiteY51" fmla="*/ 1276350 h 4429294"/>
                  <a:gd name="connsiteX52" fmla="*/ 221444 w 4501379"/>
                  <a:gd name="connsiteY52" fmla="*/ 1247775 h 4429294"/>
                  <a:gd name="connsiteX53" fmla="*/ 250019 w 4501379"/>
                  <a:gd name="connsiteY53" fmla="*/ 1200150 h 4429294"/>
                  <a:gd name="connsiteX54" fmla="*/ 269069 w 4501379"/>
                  <a:gd name="connsiteY54" fmla="*/ 1152525 h 4429294"/>
                  <a:gd name="connsiteX55" fmla="*/ 297644 w 4501379"/>
                  <a:gd name="connsiteY55" fmla="*/ 1114425 h 4429294"/>
                  <a:gd name="connsiteX56" fmla="*/ 345269 w 4501379"/>
                  <a:gd name="connsiteY56" fmla="*/ 1038225 h 4429294"/>
                  <a:gd name="connsiteX57" fmla="*/ 364319 w 4501379"/>
                  <a:gd name="connsiteY57" fmla="*/ 1009650 h 4429294"/>
                  <a:gd name="connsiteX58" fmla="*/ 421469 w 4501379"/>
                  <a:gd name="connsiteY58" fmla="*/ 904875 h 4429294"/>
                  <a:gd name="connsiteX59" fmla="*/ 459569 w 4501379"/>
                  <a:gd name="connsiteY59" fmla="*/ 857250 h 4429294"/>
                  <a:gd name="connsiteX60" fmla="*/ 478619 w 4501379"/>
                  <a:gd name="connsiteY60" fmla="*/ 828675 h 4429294"/>
                  <a:gd name="connsiteX61" fmla="*/ 516719 w 4501379"/>
                  <a:gd name="connsiteY61" fmla="*/ 800100 h 4429294"/>
                  <a:gd name="connsiteX62" fmla="*/ 583394 w 4501379"/>
                  <a:gd name="connsiteY62" fmla="*/ 733425 h 4429294"/>
                  <a:gd name="connsiteX63" fmla="*/ 650069 w 4501379"/>
                  <a:gd name="connsiteY63" fmla="*/ 676275 h 4429294"/>
                  <a:gd name="connsiteX64" fmla="*/ 678644 w 4501379"/>
                  <a:gd name="connsiteY64" fmla="*/ 657225 h 4429294"/>
                  <a:gd name="connsiteX65" fmla="*/ 821519 w 4501379"/>
                  <a:gd name="connsiteY65" fmla="*/ 533400 h 4429294"/>
                  <a:gd name="connsiteX66" fmla="*/ 869144 w 4501379"/>
                  <a:gd name="connsiteY66" fmla="*/ 504825 h 4429294"/>
                  <a:gd name="connsiteX67" fmla="*/ 1148544 w 4501379"/>
                  <a:gd name="connsiteY67" fmla="*/ 311150 h 4429294"/>
                  <a:gd name="connsiteX68" fmla="*/ 1250144 w 4501379"/>
                  <a:gd name="connsiteY68" fmla="*/ 285750 h 4429294"/>
                  <a:gd name="connsiteX69" fmla="*/ 1393019 w 4501379"/>
                  <a:gd name="connsiteY69" fmla="*/ 190500 h 4429294"/>
                  <a:gd name="connsiteX70" fmla="*/ 1431119 w 4501379"/>
                  <a:gd name="connsiteY70" fmla="*/ 161925 h 4429294"/>
                  <a:gd name="connsiteX71" fmla="*/ 1507319 w 4501379"/>
                  <a:gd name="connsiteY71" fmla="*/ 152400 h 4429294"/>
                  <a:gd name="connsiteX72" fmla="*/ 1564469 w 4501379"/>
                  <a:gd name="connsiteY72" fmla="*/ 142875 h 4429294"/>
                  <a:gd name="connsiteX73" fmla="*/ 1697819 w 4501379"/>
                  <a:gd name="connsiteY73" fmla="*/ 123825 h 4429294"/>
                  <a:gd name="connsiteX74" fmla="*/ 1793069 w 4501379"/>
                  <a:gd name="connsiteY74" fmla="*/ 114300 h 4429294"/>
                  <a:gd name="connsiteX75" fmla="*/ 1840694 w 4501379"/>
                  <a:gd name="connsiteY75" fmla="*/ 104775 h 4429294"/>
                  <a:gd name="connsiteX76" fmla="*/ 1897844 w 4501379"/>
                  <a:gd name="connsiteY76" fmla="*/ 95250 h 4429294"/>
                  <a:gd name="connsiteX77" fmla="*/ 2012144 w 4501379"/>
                  <a:gd name="connsiteY77" fmla="*/ 66675 h 4429294"/>
                  <a:gd name="connsiteX78" fmla="*/ 2078819 w 4501379"/>
                  <a:gd name="connsiteY78" fmla="*/ 47625 h 4429294"/>
                  <a:gd name="connsiteX79" fmla="*/ 2145494 w 4501379"/>
                  <a:gd name="connsiteY79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612344 w 4501379"/>
                  <a:gd name="connsiteY6" fmla="*/ 485775 h 4429294"/>
                  <a:gd name="connsiteX7" fmla="*/ 3726644 w 4501379"/>
                  <a:gd name="connsiteY7" fmla="*/ 542925 h 4429294"/>
                  <a:gd name="connsiteX8" fmla="*/ 3793319 w 4501379"/>
                  <a:gd name="connsiteY8" fmla="*/ 581025 h 4429294"/>
                  <a:gd name="connsiteX9" fmla="*/ 4009219 w 4501379"/>
                  <a:gd name="connsiteY9" fmla="*/ 819150 h 4429294"/>
                  <a:gd name="connsiteX10" fmla="*/ 4145744 w 4501379"/>
                  <a:gd name="connsiteY10" fmla="*/ 990600 h 4429294"/>
                  <a:gd name="connsiteX11" fmla="*/ 4231469 w 4501379"/>
                  <a:gd name="connsiteY11" fmla="*/ 1143000 h 4429294"/>
                  <a:gd name="connsiteX12" fmla="*/ 4288619 w 4501379"/>
                  <a:gd name="connsiteY12" fmla="*/ 1266825 h 4429294"/>
                  <a:gd name="connsiteX13" fmla="*/ 4326719 w 4501379"/>
                  <a:gd name="connsiteY13" fmla="*/ 1362075 h 4429294"/>
                  <a:gd name="connsiteX14" fmla="*/ 4374344 w 4501379"/>
                  <a:gd name="connsiteY14" fmla="*/ 1552575 h 4429294"/>
                  <a:gd name="connsiteX15" fmla="*/ 4412444 w 4501379"/>
                  <a:gd name="connsiteY15" fmla="*/ 1685925 h 4429294"/>
                  <a:gd name="connsiteX16" fmla="*/ 4501344 w 4501379"/>
                  <a:gd name="connsiteY16" fmla="*/ 2181225 h 4429294"/>
                  <a:gd name="connsiteX17" fmla="*/ 4428319 w 4501379"/>
                  <a:gd name="connsiteY17" fmla="*/ 2768600 h 4429294"/>
                  <a:gd name="connsiteX18" fmla="*/ 4364819 w 4501379"/>
                  <a:gd name="connsiteY18" fmla="*/ 2990850 h 4429294"/>
                  <a:gd name="connsiteX19" fmla="*/ 4260044 w 4501379"/>
                  <a:gd name="connsiteY19" fmla="*/ 3248025 h 4429294"/>
                  <a:gd name="connsiteX20" fmla="*/ 4164794 w 4501379"/>
                  <a:gd name="connsiteY20" fmla="*/ 3400425 h 4429294"/>
                  <a:gd name="connsiteX21" fmla="*/ 4040969 w 4501379"/>
                  <a:gd name="connsiteY21" fmla="*/ 3533775 h 4429294"/>
                  <a:gd name="connsiteX22" fmla="*/ 3936194 w 4501379"/>
                  <a:gd name="connsiteY22" fmla="*/ 3648075 h 4429294"/>
                  <a:gd name="connsiteX23" fmla="*/ 3640919 w 4501379"/>
                  <a:gd name="connsiteY23" fmla="*/ 3971925 h 4429294"/>
                  <a:gd name="connsiteX24" fmla="*/ 3498044 w 4501379"/>
                  <a:gd name="connsiteY24" fmla="*/ 4083050 h 4429294"/>
                  <a:gd name="connsiteX25" fmla="*/ 3202769 w 4501379"/>
                  <a:gd name="connsiteY25" fmla="*/ 4222750 h 4429294"/>
                  <a:gd name="connsiteX26" fmla="*/ 3050369 w 4501379"/>
                  <a:gd name="connsiteY26" fmla="*/ 4286250 h 4429294"/>
                  <a:gd name="connsiteX27" fmla="*/ 2917019 w 4501379"/>
                  <a:gd name="connsiteY27" fmla="*/ 4333875 h 4429294"/>
                  <a:gd name="connsiteX28" fmla="*/ 2793194 w 4501379"/>
                  <a:gd name="connsiteY28" fmla="*/ 4371975 h 4429294"/>
                  <a:gd name="connsiteX29" fmla="*/ 2561419 w 4501379"/>
                  <a:gd name="connsiteY29" fmla="*/ 4391025 h 4429294"/>
                  <a:gd name="connsiteX30" fmla="*/ 2107394 w 4501379"/>
                  <a:gd name="connsiteY30" fmla="*/ 4429125 h 4429294"/>
                  <a:gd name="connsiteX31" fmla="*/ 1916894 w 4501379"/>
                  <a:gd name="connsiteY31" fmla="*/ 4400550 h 4429294"/>
                  <a:gd name="connsiteX32" fmla="*/ 1554944 w 4501379"/>
                  <a:gd name="connsiteY32" fmla="*/ 4305300 h 4429294"/>
                  <a:gd name="connsiteX33" fmla="*/ 1313644 w 4501379"/>
                  <a:gd name="connsiteY33" fmla="*/ 4216400 h 4429294"/>
                  <a:gd name="connsiteX34" fmla="*/ 1145369 w 4501379"/>
                  <a:gd name="connsiteY34" fmla="*/ 4111625 h 4429294"/>
                  <a:gd name="connsiteX35" fmla="*/ 926294 w 4501379"/>
                  <a:gd name="connsiteY35" fmla="*/ 3968750 h 4429294"/>
                  <a:gd name="connsiteX36" fmla="*/ 592919 w 4501379"/>
                  <a:gd name="connsiteY36" fmla="*/ 3657600 h 4429294"/>
                  <a:gd name="connsiteX37" fmla="*/ 446869 w 4501379"/>
                  <a:gd name="connsiteY37" fmla="*/ 3470275 h 4429294"/>
                  <a:gd name="connsiteX38" fmla="*/ 316694 w 4501379"/>
                  <a:gd name="connsiteY38" fmla="*/ 3244850 h 4429294"/>
                  <a:gd name="connsiteX39" fmla="*/ 164294 w 4501379"/>
                  <a:gd name="connsiteY39" fmla="*/ 2892425 h 4429294"/>
                  <a:gd name="connsiteX40" fmla="*/ 56344 w 4501379"/>
                  <a:gd name="connsiteY40" fmla="*/ 2368550 h 4429294"/>
                  <a:gd name="connsiteX41" fmla="*/ 2369 w 4501379"/>
                  <a:gd name="connsiteY41" fmla="*/ 1905000 h 4429294"/>
                  <a:gd name="connsiteX42" fmla="*/ 11894 w 4501379"/>
                  <a:gd name="connsiteY42" fmla="*/ 1838325 h 4429294"/>
                  <a:gd name="connsiteX43" fmla="*/ 30944 w 4501379"/>
                  <a:gd name="connsiteY43" fmla="*/ 1781175 h 4429294"/>
                  <a:gd name="connsiteX44" fmla="*/ 40469 w 4501379"/>
                  <a:gd name="connsiteY44" fmla="*/ 1743075 h 4429294"/>
                  <a:gd name="connsiteX45" fmla="*/ 59519 w 4501379"/>
                  <a:gd name="connsiteY45" fmla="*/ 1685925 h 4429294"/>
                  <a:gd name="connsiteX46" fmla="*/ 69044 w 4501379"/>
                  <a:gd name="connsiteY46" fmla="*/ 1638300 h 4429294"/>
                  <a:gd name="connsiteX47" fmla="*/ 88094 w 4501379"/>
                  <a:gd name="connsiteY47" fmla="*/ 1590675 h 4429294"/>
                  <a:gd name="connsiteX48" fmla="*/ 116669 w 4501379"/>
                  <a:gd name="connsiteY48" fmla="*/ 1504950 h 4429294"/>
                  <a:gd name="connsiteX49" fmla="*/ 135719 w 4501379"/>
                  <a:gd name="connsiteY49" fmla="*/ 1419225 h 4429294"/>
                  <a:gd name="connsiteX50" fmla="*/ 211919 w 4501379"/>
                  <a:gd name="connsiteY50" fmla="*/ 1276350 h 4429294"/>
                  <a:gd name="connsiteX51" fmla="*/ 221444 w 4501379"/>
                  <a:gd name="connsiteY51" fmla="*/ 1247775 h 4429294"/>
                  <a:gd name="connsiteX52" fmla="*/ 250019 w 4501379"/>
                  <a:gd name="connsiteY52" fmla="*/ 1200150 h 4429294"/>
                  <a:gd name="connsiteX53" fmla="*/ 269069 w 4501379"/>
                  <a:gd name="connsiteY53" fmla="*/ 1152525 h 4429294"/>
                  <a:gd name="connsiteX54" fmla="*/ 297644 w 4501379"/>
                  <a:gd name="connsiteY54" fmla="*/ 1114425 h 4429294"/>
                  <a:gd name="connsiteX55" fmla="*/ 345269 w 4501379"/>
                  <a:gd name="connsiteY55" fmla="*/ 1038225 h 4429294"/>
                  <a:gd name="connsiteX56" fmla="*/ 364319 w 4501379"/>
                  <a:gd name="connsiteY56" fmla="*/ 1009650 h 4429294"/>
                  <a:gd name="connsiteX57" fmla="*/ 421469 w 4501379"/>
                  <a:gd name="connsiteY57" fmla="*/ 904875 h 4429294"/>
                  <a:gd name="connsiteX58" fmla="*/ 459569 w 4501379"/>
                  <a:gd name="connsiteY58" fmla="*/ 857250 h 4429294"/>
                  <a:gd name="connsiteX59" fmla="*/ 478619 w 4501379"/>
                  <a:gd name="connsiteY59" fmla="*/ 828675 h 4429294"/>
                  <a:gd name="connsiteX60" fmla="*/ 516719 w 4501379"/>
                  <a:gd name="connsiteY60" fmla="*/ 800100 h 4429294"/>
                  <a:gd name="connsiteX61" fmla="*/ 583394 w 4501379"/>
                  <a:gd name="connsiteY61" fmla="*/ 733425 h 4429294"/>
                  <a:gd name="connsiteX62" fmla="*/ 650069 w 4501379"/>
                  <a:gd name="connsiteY62" fmla="*/ 676275 h 4429294"/>
                  <a:gd name="connsiteX63" fmla="*/ 678644 w 4501379"/>
                  <a:gd name="connsiteY63" fmla="*/ 657225 h 4429294"/>
                  <a:gd name="connsiteX64" fmla="*/ 821519 w 4501379"/>
                  <a:gd name="connsiteY64" fmla="*/ 533400 h 4429294"/>
                  <a:gd name="connsiteX65" fmla="*/ 869144 w 4501379"/>
                  <a:gd name="connsiteY65" fmla="*/ 504825 h 4429294"/>
                  <a:gd name="connsiteX66" fmla="*/ 1148544 w 4501379"/>
                  <a:gd name="connsiteY66" fmla="*/ 311150 h 4429294"/>
                  <a:gd name="connsiteX67" fmla="*/ 1250144 w 4501379"/>
                  <a:gd name="connsiteY67" fmla="*/ 285750 h 4429294"/>
                  <a:gd name="connsiteX68" fmla="*/ 1393019 w 4501379"/>
                  <a:gd name="connsiteY68" fmla="*/ 190500 h 4429294"/>
                  <a:gd name="connsiteX69" fmla="*/ 1431119 w 4501379"/>
                  <a:gd name="connsiteY69" fmla="*/ 161925 h 4429294"/>
                  <a:gd name="connsiteX70" fmla="*/ 1507319 w 4501379"/>
                  <a:gd name="connsiteY70" fmla="*/ 152400 h 4429294"/>
                  <a:gd name="connsiteX71" fmla="*/ 1564469 w 4501379"/>
                  <a:gd name="connsiteY71" fmla="*/ 142875 h 4429294"/>
                  <a:gd name="connsiteX72" fmla="*/ 1697819 w 4501379"/>
                  <a:gd name="connsiteY72" fmla="*/ 123825 h 4429294"/>
                  <a:gd name="connsiteX73" fmla="*/ 1793069 w 4501379"/>
                  <a:gd name="connsiteY73" fmla="*/ 114300 h 4429294"/>
                  <a:gd name="connsiteX74" fmla="*/ 1840694 w 4501379"/>
                  <a:gd name="connsiteY74" fmla="*/ 104775 h 4429294"/>
                  <a:gd name="connsiteX75" fmla="*/ 1897844 w 4501379"/>
                  <a:gd name="connsiteY75" fmla="*/ 95250 h 4429294"/>
                  <a:gd name="connsiteX76" fmla="*/ 2012144 w 4501379"/>
                  <a:gd name="connsiteY76" fmla="*/ 66675 h 4429294"/>
                  <a:gd name="connsiteX77" fmla="*/ 2078819 w 4501379"/>
                  <a:gd name="connsiteY77" fmla="*/ 47625 h 4429294"/>
                  <a:gd name="connsiteX78" fmla="*/ 2145494 w 4501379"/>
                  <a:gd name="connsiteY7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612344 w 4501379"/>
                  <a:gd name="connsiteY6" fmla="*/ 485775 h 4429294"/>
                  <a:gd name="connsiteX7" fmla="*/ 3793319 w 4501379"/>
                  <a:gd name="connsiteY7" fmla="*/ 581025 h 4429294"/>
                  <a:gd name="connsiteX8" fmla="*/ 4009219 w 4501379"/>
                  <a:gd name="connsiteY8" fmla="*/ 819150 h 4429294"/>
                  <a:gd name="connsiteX9" fmla="*/ 4145744 w 4501379"/>
                  <a:gd name="connsiteY9" fmla="*/ 990600 h 4429294"/>
                  <a:gd name="connsiteX10" fmla="*/ 4231469 w 4501379"/>
                  <a:gd name="connsiteY10" fmla="*/ 1143000 h 4429294"/>
                  <a:gd name="connsiteX11" fmla="*/ 4288619 w 4501379"/>
                  <a:gd name="connsiteY11" fmla="*/ 1266825 h 4429294"/>
                  <a:gd name="connsiteX12" fmla="*/ 4326719 w 4501379"/>
                  <a:gd name="connsiteY12" fmla="*/ 1362075 h 4429294"/>
                  <a:gd name="connsiteX13" fmla="*/ 4374344 w 4501379"/>
                  <a:gd name="connsiteY13" fmla="*/ 1552575 h 4429294"/>
                  <a:gd name="connsiteX14" fmla="*/ 4412444 w 4501379"/>
                  <a:gd name="connsiteY14" fmla="*/ 1685925 h 4429294"/>
                  <a:gd name="connsiteX15" fmla="*/ 4501344 w 4501379"/>
                  <a:gd name="connsiteY15" fmla="*/ 2181225 h 4429294"/>
                  <a:gd name="connsiteX16" fmla="*/ 4428319 w 4501379"/>
                  <a:gd name="connsiteY16" fmla="*/ 2768600 h 4429294"/>
                  <a:gd name="connsiteX17" fmla="*/ 4364819 w 4501379"/>
                  <a:gd name="connsiteY17" fmla="*/ 2990850 h 4429294"/>
                  <a:gd name="connsiteX18" fmla="*/ 4260044 w 4501379"/>
                  <a:gd name="connsiteY18" fmla="*/ 3248025 h 4429294"/>
                  <a:gd name="connsiteX19" fmla="*/ 4164794 w 4501379"/>
                  <a:gd name="connsiteY19" fmla="*/ 3400425 h 4429294"/>
                  <a:gd name="connsiteX20" fmla="*/ 4040969 w 4501379"/>
                  <a:gd name="connsiteY20" fmla="*/ 3533775 h 4429294"/>
                  <a:gd name="connsiteX21" fmla="*/ 3936194 w 4501379"/>
                  <a:gd name="connsiteY21" fmla="*/ 3648075 h 4429294"/>
                  <a:gd name="connsiteX22" fmla="*/ 3640919 w 4501379"/>
                  <a:gd name="connsiteY22" fmla="*/ 3971925 h 4429294"/>
                  <a:gd name="connsiteX23" fmla="*/ 3498044 w 4501379"/>
                  <a:gd name="connsiteY23" fmla="*/ 4083050 h 4429294"/>
                  <a:gd name="connsiteX24" fmla="*/ 3202769 w 4501379"/>
                  <a:gd name="connsiteY24" fmla="*/ 4222750 h 4429294"/>
                  <a:gd name="connsiteX25" fmla="*/ 3050369 w 4501379"/>
                  <a:gd name="connsiteY25" fmla="*/ 4286250 h 4429294"/>
                  <a:gd name="connsiteX26" fmla="*/ 2917019 w 4501379"/>
                  <a:gd name="connsiteY26" fmla="*/ 4333875 h 4429294"/>
                  <a:gd name="connsiteX27" fmla="*/ 2793194 w 4501379"/>
                  <a:gd name="connsiteY27" fmla="*/ 4371975 h 4429294"/>
                  <a:gd name="connsiteX28" fmla="*/ 2561419 w 4501379"/>
                  <a:gd name="connsiteY28" fmla="*/ 4391025 h 4429294"/>
                  <a:gd name="connsiteX29" fmla="*/ 2107394 w 4501379"/>
                  <a:gd name="connsiteY29" fmla="*/ 4429125 h 4429294"/>
                  <a:gd name="connsiteX30" fmla="*/ 1916894 w 4501379"/>
                  <a:gd name="connsiteY30" fmla="*/ 4400550 h 4429294"/>
                  <a:gd name="connsiteX31" fmla="*/ 1554944 w 4501379"/>
                  <a:gd name="connsiteY31" fmla="*/ 4305300 h 4429294"/>
                  <a:gd name="connsiteX32" fmla="*/ 1313644 w 4501379"/>
                  <a:gd name="connsiteY32" fmla="*/ 4216400 h 4429294"/>
                  <a:gd name="connsiteX33" fmla="*/ 1145369 w 4501379"/>
                  <a:gd name="connsiteY33" fmla="*/ 4111625 h 4429294"/>
                  <a:gd name="connsiteX34" fmla="*/ 926294 w 4501379"/>
                  <a:gd name="connsiteY34" fmla="*/ 3968750 h 4429294"/>
                  <a:gd name="connsiteX35" fmla="*/ 592919 w 4501379"/>
                  <a:gd name="connsiteY35" fmla="*/ 3657600 h 4429294"/>
                  <a:gd name="connsiteX36" fmla="*/ 446869 w 4501379"/>
                  <a:gd name="connsiteY36" fmla="*/ 3470275 h 4429294"/>
                  <a:gd name="connsiteX37" fmla="*/ 316694 w 4501379"/>
                  <a:gd name="connsiteY37" fmla="*/ 3244850 h 4429294"/>
                  <a:gd name="connsiteX38" fmla="*/ 164294 w 4501379"/>
                  <a:gd name="connsiteY38" fmla="*/ 2892425 h 4429294"/>
                  <a:gd name="connsiteX39" fmla="*/ 56344 w 4501379"/>
                  <a:gd name="connsiteY39" fmla="*/ 2368550 h 4429294"/>
                  <a:gd name="connsiteX40" fmla="*/ 2369 w 4501379"/>
                  <a:gd name="connsiteY40" fmla="*/ 1905000 h 4429294"/>
                  <a:gd name="connsiteX41" fmla="*/ 11894 w 4501379"/>
                  <a:gd name="connsiteY41" fmla="*/ 1838325 h 4429294"/>
                  <a:gd name="connsiteX42" fmla="*/ 30944 w 4501379"/>
                  <a:gd name="connsiteY42" fmla="*/ 1781175 h 4429294"/>
                  <a:gd name="connsiteX43" fmla="*/ 40469 w 4501379"/>
                  <a:gd name="connsiteY43" fmla="*/ 1743075 h 4429294"/>
                  <a:gd name="connsiteX44" fmla="*/ 59519 w 4501379"/>
                  <a:gd name="connsiteY44" fmla="*/ 1685925 h 4429294"/>
                  <a:gd name="connsiteX45" fmla="*/ 69044 w 4501379"/>
                  <a:gd name="connsiteY45" fmla="*/ 1638300 h 4429294"/>
                  <a:gd name="connsiteX46" fmla="*/ 88094 w 4501379"/>
                  <a:gd name="connsiteY46" fmla="*/ 1590675 h 4429294"/>
                  <a:gd name="connsiteX47" fmla="*/ 116669 w 4501379"/>
                  <a:gd name="connsiteY47" fmla="*/ 1504950 h 4429294"/>
                  <a:gd name="connsiteX48" fmla="*/ 135719 w 4501379"/>
                  <a:gd name="connsiteY48" fmla="*/ 1419225 h 4429294"/>
                  <a:gd name="connsiteX49" fmla="*/ 211919 w 4501379"/>
                  <a:gd name="connsiteY49" fmla="*/ 1276350 h 4429294"/>
                  <a:gd name="connsiteX50" fmla="*/ 221444 w 4501379"/>
                  <a:gd name="connsiteY50" fmla="*/ 1247775 h 4429294"/>
                  <a:gd name="connsiteX51" fmla="*/ 250019 w 4501379"/>
                  <a:gd name="connsiteY51" fmla="*/ 1200150 h 4429294"/>
                  <a:gd name="connsiteX52" fmla="*/ 269069 w 4501379"/>
                  <a:gd name="connsiteY52" fmla="*/ 1152525 h 4429294"/>
                  <a:gd name="connsiteX53" fmla="*/ 297644 w 4501379"/>
                  <a:gd name="connsiteY53" fmla="*/ 1114425 h 4429294"/>
                  <a:gd name="connsiteX54" fmla="*/ 345269 w 4501379"/>
                  <a:gd name="connsiteY54" fmla="*/ 1038225 h 4429294"/>
                  <a:gd name="connsiteX55" fmla="*/ 364319 w 4501379"/>
                  <a:gd name="connsiteY55" fmla="*/ 1009650 h 4429294"/>
                  <a:gd name="connsiteX56" fmla="*/ 421469 w 4501379"/>
                  <a:gd name="connsiteY56" fmla="*/ 904875 h 4429294"/>
                  <a:gd name="connsiteX57" fmla="*/ 459569 w 4501379"/>
                  <a:gd name="connsiteY57" fmla="*/ 857250 h 4429294"/>
                  <a:gd name="connsiteX58" fmla="*/ 478619 w 4501379"/>
                  <a:gd name="connsiteY58" fmla="*/ 828675 h 4429294"/>
                  <a:gd name="connsiteX59" fmla="*/ 516719 w 4501379"/>
                  <a:gd name="connsiteY59" fmla="*/ 800100 h 4429294"/>
                  <a:gd name="connsiteX60" fmla="*/ 583394 w 4501379"/>
                  <a:gd name="connsiteY60" fmla="*/ 733425 h 4429294"/>
                  <a:gd name="connsiteX61" fmla="*/ 650069 w 4501379"/>
                  <a:gd name="connsiteY61" fmla="*/ 676275 h 4429294"/>
                  <a:gd name="connsiteX62" fmla="*/ 678644 w 4501379"/>
                  <a:gd name="connsiteY62" fmla="*/ 657225 h 4429294"/>
                  <a:gd name="connsiteX63" fmla="*/ 821519 w 4501379"/>
                  <a:gd name="connsiteY63" fmla="*/ 533400 h 4429294"/>
                  <a:gd name="connsiteX64" fmla="*/ 869144 w 4501379"/>
                  <a:gd name="connsiteY64" fmla="*/ 504825 h 4429294"/>
                  <a:gd name="connsiteX65" fmla="*/ 1148544 w 4501379"/>
                  <a:gd name="connsiteY65" fmla="*/ 311150 h 4429294"/>
                  <a:gd name="connsiteX66" fmla="*/ 1250144 w 4501379"/>
                  <a:gd name="connsiteY66" fmla="*/ 285750 h 4429294"/>
                  <a:gd name="connsiteX67" fmla="*/ 1393019 w 4501379"/>
                  <a:gd name="connsiteY67" fmla="*/ 190500 h 4429294"/>
                  <a:gd name="connsiteX68" fmla="*/ 1431119 w 4501379"/>
                  <a:gd name="connsiteY68" fmla="*/ 161925 h 4429294"/>
                  <a:gd name="connsiteX69" fmla="*/ 1507319 w 4501379"/>
                  <a:gd name="connsiteY69" fmla="*/ 152400 h 4429294"/>
                  <a:gd name="connsiteX70" fmla="*/ 1564469 w 4501379"/>
                  <a:gd name="connsiteY70" fmla="*/ 142875 h 4429294"/>
                  <a:gd name="connsiteX71" fmla="*/ 1697819 w 4501379"/>
                  <a:gd name="connsiteY71" fmla="*/ 123825 h 4429294"/>
                  <a:gd name="connsiteX72" fmla="*/ 1793069 w 4501379"/>
                  <a:gd name="connsiteY72" fmla="*/ 114300 h 4429294"/>
                  <a:gd name="connsiteX73" fmla="*/ 1840694 w 4501379"/>
                  <a:gd name="connsiteY73" fmla="*/ 104775 h 4429294"/>
                  <a:gd name="connsiteX74" fmla="*/ 1897844 w 4501379"/>
                  <a:gd name="connsiteY74" fmla="*/ 95250 h 4429294"/>
                  <a:gd name="connsiteX75" fmla="*/ 2012144 w 4501379"/>
                  <a:gd name="connsiteY75" fmla="*/ 66675 h 4429294"/>
                  <a:gd name="connsiteX76" fmla="*/ 2078819 w 4501379"/>
                  <a:gd name="connsiteY76" fmla="*/ 47625 h 4429294"/>
                  <a:gd name="connsiteX77" fmla="*/ 2145494 w 4501379"/>
                  <a:gd name="connsiteY77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250144 w 4501379"/>
                  <a:gd name="connsiteY65" fmla="*/ 285750 h 4429294"/>
                  <a:gd name="connsiteX66" fmla="*/ 1393019 w 4501379"/>
                  <a:gd name="connsiteY66" fmla="*/ 190500 h 4429294"/>
                  <a:gd name="connsiteX67" fmla="*/ 1431119 w 4501379"/>
                  <a:gd name="connsiteY67" fmla="*/ 161925 h 4429294"/>
                  <a:gd name="connsiteX68" fmla="*/ 1507319 w 4501379"/>
                  <a:gd name="connsiteY68" fmla="*/ 152400 h 4429294"/>
                  <a:gd name="connsiteX69" fmla="*/ 1564469 w 4501379"/>
                  <a:gd name="connsiteY69" fmla="*/ 142875 h 4429294"/>
                  <a:gd name="connsiteX70" fmla="*/ 1697819 w 4501379"/>
                  <a:gd name="connsiteY70" fmla="*/ 123825 h 4429294"/>
                  <a:gd name="connsiteX71" fmla="*/ 1793069 w 4501379"/>
                  <a:gd name="connsiteY71" fmla="*/ 114300 h 4429294"/>
                  <a:gd name="connsiteX72" fmla="*/ 1840694 w 4501379"/>
                  <a:gd name="connsiteY72" fmla="*/ 104775 h 4429294"/>
                  <a:gd name="connsiteX73" fmla="*/ 1897844 w 4501379"/>
                  <a:gd name="connsiteY73" fmla="*/ 95250 h 4429294"/>
                  <a:gd name="connsiteX74" fmla="*/ 2012144 w 4501379"/>
                  <a:gd name="connsiteY74" fmla="*/ 66675 h 4429294"/>
                  <a:gd name="connsiteX75" fmla="*/ 2078819 w 4501379"/>
                  <a:gd name="connsiteY75" fmla="*/ 47625 h 4429294"/>
                  <a:gd name="connsiteX76" fmla="*/ 2145494 w 4501379"/>
                  <a:gd name="connsiteY76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250144 w 4501379"/>
                  <a:gd name="connsiteY65" fmla="*/ 285750 h 4429294"/>
                  <a:gd name="connsiteX66" fmla="*/ 1431119 w 4501379"/>
                  <a:gd name="connsiteY66" fmla="*/ 161925 h 4429294"/>
                  <a:gd name="connsiteX67" fmla="*/ 1507319 w 4501379"/>
                  <a:gd name="connsiteY67" fmla="*/ 152400 h 4429294"/>
                  <a:gd name="connsiteX68" fmla="*/ 1564469 w 4501379"/>
                  <a:gd name="connsiteY68" fmla="*/ 142875 h 4429294"/>
                  <a:gd name="connsiteX69" fmla="*/ 1697819 w 4501379"/>
                  <a:gd name="connsiteY69" fmla="*/ 123825 h 4429294"/>
                  <a:gd name="connsiteX70" fmla="*/ 1793069 w 4501379"/>
                  <a:gd name="connsiteY70" fmla="*/ 114300 h 4429294"/>
                  <a:gd name="connsiteX71" fmla="*/ 1840694 w 4501379"/>
                  <a:gd name="connsiteY71" fmla="*/ 104775 h 4429294"/>
                  <a:gd name="connsiteX72" fmla="*/ 1897844 w 4501379"/>
                  <a:gd name="connsiteY72" fmla="*/ 95250 h 4429294"/>
                  <a:gd name="connsiteX73" fmla="*/ 2012144 w 4501379"/>
                  <a:gd name="connsiteY73" fmla="*/ 66675 h 4429294"/>
                  <a:gd name="connsiteX74" fmla="*/ 2078819 w 4501379"/>
                  <a:gd name="connsiteY74" fmla="*/ 47625 h 4429294"/>
                  <a:gd name="connsiteX75" fmla="*/ 2145494 w 4501379"/>
                  <a:gd name="connsiteY75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250144 w 4501379"/>
                  <a:gd name="connsiteY65" fmla="*/ 285750 h 4429294"/>
                  <a:gd name="connsiteX66" fmla="*/ 1507319 w 4501379"/>
                  <a:gd name="connsiteY66" fmla="*/ 152400 h 4429294"/>
                  <a:gd name="connsiteX67" fmla="*/ 1564469 w 4501379"/>
                  <a:gd name="connsiteY67" fmla="*/ 142875 h 4429294"/>
                  <a:gd name="connsiteX68" fmla="*/ 1697819 w 4501379"/>
                  <a:gd name="connsiteY68" fmla="*/ 123825 h 4429294"/>
                  <a:gd name="connsiteX69" fmla="*/ 1793069 w 4501379"/>
                  <a:gd name="connsiteY69" fmla="*/ 114300 h 4429294"/>
                  <a:gd name="connsiteX70" fmla="*/ 1840694 w 4501379"/>
                  <a:gd name="connsiteY70" fmla="*/ 104775 h 4429294"/>
                  <a:gd name="connsiteX71" fmla="*/ 1897844 w 4501379"/>
                  <a:gd name="connsiteY71" fmla="*/ 95250 h 4429294"/>
                  <a:gd name="connsiteX72" fmla="*/ 2012144 w 4501379"/>
                  <a:gd name="connsiteY72" fmla="*/ 66675 h 4429294"/>
                  <a:gd name="connsiteX73" fmla="*/ 2078819 w 4501379"/>
                  <a:gd name="connsiteY73" fmla="*/ 47625 h 4429294"/>
                  <a:gd name="connsiteX74" fmla="*/ 2145494 w 4501379"/>
                  <a:gd name="connsiteY74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697819 w 4501379"/>
                  <a:gd name="connsiteY67" fmla="*/ 123825 h 4429294"/>
                  <a:gd name="connsiteX68" fmla="*/ 1793069 w 4501379"/>
                  <a:gd name="connsiteY68" fmla="*/ 114300 h 4429294"/>
                  <a:gd name="connsiteX69" fmla="*/ 1840694 w 4501379"/>
                  <a:gd name="connsiteY69" fmla="*/ 104775 h 4429294"/>
                  <a:gd name="connsiteX70" fmla="*/ 1897844 w 4501379"/>
                  <a:gd name="connsiteY70" fmla="*/ 95250 h 4429294"/>
                  <a:gd name="connsiteX71" fmla="*/ 2012144 w 4501379"/>
                  <a:gd name="connsiteY71" fmla="*/ 66675 h 4429294"/>
                  <a:gd name="connsiteX72" fmla="*/ 2078819 w 4501379"/>
                  <a:gd name="connsiteY72" fmla="*/ 47625 h 4429294"/>
                  <a:gd name="connsiteX73" fmla="*/ 2145494 w 4501379"/>
                  <a:gd name="connsiteY73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793069 w 4501379"/>
                  <a:gd name="connsiteY67" fmla="*/ 114300 h 4429294"/>
                  <a:gd name="connsiteX68" fmla="*/ 1840694 w 4501379"/>
                  <a:gd name="connsiteY68" fmla="*/ 104775 h 4429294"/>
                  <a:gd name="connsiteX69" fmla="*/ 1897844 w 4501379"/>
                  <a:gd name="connsiteY69" fmla="*/ 95250 h 4429294"/>
                  <a:gd name="connsiteX70" fmla="*/ 2012144 w 4501379"/>
                  <a:gd name="connsiteY70" fmla="*/ 66675 h 4429294"/>
                  <a:gd name="connsiteX71" fmla="*/ 2078819 w 4501379"/>
                  <a:gd name="connsiteY71" fmla="*/ 47625 h 4429294"/>
                  <a:gd name="connsiteX72" fmla="*/ 2145494 w 4501379"/>
                  <a:gd name="connsiteY72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840694 w 4501379"/>
                  <a:gd name="connsiteY67" fmla="*/ 104775 h 4429294"/>
                  <a:gd name="connsiteX68" fmla="*/ 1897844 w 4501379"/>
                  <a:gd name="connsiteY68" fmla="*/ 95250 h 4429294"/>
                  <a:gd name="connsiteX69" fmla="*/ 2012144 w 4501379"/>
                  <a:gd name="connsiteY69" fmla="*/ 66675 h 4429294"/>
                  <a:gd name="connsiteX70" fmla="*/ 2078819 w 4501379"/>
                  <a:gd name="connsiteY70" fmla="*/ 47625 h 4429294"/>
                  <a:gd name="connsiteX71" fmla="*/ 2145494 w 4501379"/>
                  <a:gd name="connsiteY71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897844 w 4501379"/>
                  <a:gd name="connsiteY67" fmla="*/ 95250 h 4429294"/>
                  <a:gd name="connsiteX68" fmla="*/ 2012144 w 4501379"/>
                  <a:gd name="connsiteY68" fmla="*/ 66675 h 4429294"/>
                  <a:gd name="connsiteX69" fmla="*/ 2078819 w 4501379"/>
                  <a:gd name="connsiteY69" fmla="*/ 47625 h 4429294"/>
                  <a:gd name="connsiteX70" fmla="*/ 2145494 w 4501379"/>
                  <a:gd name="connsiteY70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012144 w 4501379"/>
                  <a:gd name="connsiteY67" fmla="*/ 66675 h 4429294"/>
                  <a:gd name="connsiteX68" fmla="*/ 2078819 w 4501379"/>
                  <a:gd name="connsiteY68" fmla="*/ 47625 h 4429294"/>
                  <a:gd name="connsiteX69" fmla="*/ 2145494 w 4501379"/>
                  <a:gd name="connsiteY69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078819 w 4501379"/>
                  <a:gd name="connsiteY67" fmla="*/ 47625 h 4429294"/>
                  <a:gd name="connsiteX68" fmla="*/ 2145494 w 4501379"/>
                  <a:gd name="connsiteY6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145494 w 4501379"/>
                  <a:gd name="connsiteY67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253444 w 4501379"/>
                  <a:gd name="connsiteY6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253444 w 4501379"/>
                  <a:gd name="connsiteY6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621619 w 4501379"/>
                  <a:gd name="connsiteY66" fmla="*/ 111125 h 4429294"/>
                  <a:gd name="connsiteX67" fmla="*/ 2253444 w 4501379"/>
                  <a:gd name="connsiteY6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650069 w 4501379"/>
                  <a:gd name="connsiteY59" fmla="*/ 676275 h 4429294"/>
                  <a:gd name="connsiteX60" fmla="*/ 678644 w 4501379"/>
                  <a:gd name="connsiteY60" fmla="*/ 657225 h 4429294"/>
                  <a:gd name="connsiteX61" fmla="*/ 821519 w 4501379"/>
                  <a:gd name="connsiteY61" fmla="*/ 533400 h 4429294"/>
                  <a:gd name="connsiteX62" fmla="*/ 869144 w 4501379"/>
                  <a:gd name="connsiteY62" fmla="*/ 504825 h 4429294"/>
                  <a:gd name="connsiteX63" fmla="*/ 1148544 w 4501379"/>
                  <a:gd name="connsiteY63" fmla="*/ 311150 h 4429294"/>
                  <a:gd name="connsiteX64" fmla="*/ 1507319 w 4501379"/>
                  <a:gd name="connsiteY64" fmla="*/ 152400 h 4429294"/>
                  <a:gd name="connsiteX65" fmla="*/ 1621619 w 4501379"/>
                  <a:gd name="connsiteY65" fmla="*/ 111125 h 4429294"/>
                  <a:gd name="connsiteX66" fmla="*/ 2253444 w 4501379"/>
                  <a:gd name="connsiteY66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650069 w 4501379"/>
                  <a:gd name="connsiteY59" fmla="*/ 676275 h 4429294"/>
                  <a:gd name="connsiteX60" fmla="*/ 821519 w 4501379"/>
                  <a:gd name="connsiteY60" fmla="*/ 533400 h 4429294"/>
                  <a:gd name="connsiteX61" fmla="*/ 869144 w 4501379"/>
                  <a:gd name="connsiteY61" fmla="*/ 504825 h 4429294"/>
                  <a:gd name="connsiteX62" fmla="*/ 1148544 w 4501379"/>
                  <a:gd name="connsiteY62" fmla="*/ 311150 h 4429294"/>
                  <a:gd name="connsiteX63" fmla="*/ 1507319 w 4501379"/>
                  <a:gd name="connsiteY63" fmla="*/ 152400 h 4429294"/>
                  <a:gd name="connsiteX64" fmla="*/ 1621619 w 4501379"/>
                  <a:gd name="connsiteY64" fmla="*/ 111125 h 4429294"/>
                  <a:gd name="connsiteX65" fmla="*/ 2253444 w 4501379"/>
                  <a:gd name="connsiteY65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650069 w 4501379"/>
                  <a:gd name="connsiteY59" fmla="*/ 676275 h 4429294"/>
                  <a:gd name="connsiteX60" fmla="*/ 869144 w 4501379"/>
                  <a:gd name="connsiteY60" fmla="*/ 504825 h 4429294"/>
                  <a:gd name="connsiteX61" fmla="*/ 1148544 w 4501379"/>
                  <a:gd name="connsiteY61" fmla="*/ 311150 h 4429294"/>
                  <a:gd name="connsiteX62" fmla="*/ 1507319 w 4501379"/>
                  <a:gd name="connsiteY62" fmla="*/ 152400 h 4429294"/>
                  <a:gd name="connsiteX63" fmla="*/ 1621619 w 4501379"/>
                  <a:gd name="connsiteY63" fmla="*/ 111125 h 4429294"/>
                  <a:gd name="connsiteX64" fmla="*/ 2253444 w 4501379"/>
                  <a:gd name="connsiteY64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64319 w 4501379"/>
                  <a:gd name="connsiteY53" fmla="*/ 1009650 h 4429294"/>
                  <a:gd name="connsiteX54" fmla="*/ 421469 w 4501379"/>
                  <a:gd name="connsiteY54" fmla="*/ 904875 h 4429294"/>
                  <a:gd name="connsiteX55" fmla="*/ 459569 w 4501379"/>
                  <a:gd name="connsiteY55" fmla="*/ 857250 h 4429294"/>
                  <a:gd name="connsiteX56" fmla="*/ 478619 w 4501379"/>
                  <a:gd name="connsiteY56" fmla="*/ 828675 h 4429294"/>
                  <a:gd name="connsiteX57" fmla="*/ 516719 w 4501379"/>
                  <a:gd name="connsiteY57" fmla="*/ 800100 h 4429294"/>
                  <a:gd name="connsiteX58" fmla="*/ 650069 w 4501379"/>
                  <a:gd name="connsiteY58" fmla="*/ 676275 h 4429294"/>
                  <a:gd name="connsiteX59" fmla="*/ 869144 w 4501379"/>
                  <a:gd name="connsiteY59" fmla="*/ 504825 h 4429294"/>
                  <a:gd name="connsiteX60" fmla="*/ 1148544 w 4501379"/>
                  <a:gd name="connsiteY60" fmla="*/ 311150 h 4429294"/>
                  <a:gd name="connsiteX61" fmla="*/ 1507319 w 4501379"/>
                  <a:gd name="connsiteY61" fmla="*/ 152400 h 4429294"/>
                  <a:gd name="connsiteX62" fmla="*/ 1621619 w 4501379"/>
                  <a:gd name="connsiteY62" fmla="*/ 111125 h 4429294"/>
                  <a:gd name="connsiteX63" fmla="*/ 2253444 w 4501379"/>
                  <a:gd name="connsiteY63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421469 w 4501379"/>
                  <a:gd name="connsiteY53" fmla="*/ 904875 h 4429294"/>
                  <a:gd name="connsiteX54" fmla="*/ 459569 w 4501379"/>
                  <a:gd name="connsiteY54" fmla="*/ 857250 h 4429294"/>
                  <a:gd name="connsiteX55" fmla="*/ 478619 w 4501379"/>
                  <a:gd name="connsiteY55" fmla="*/ 828675 h 4429294"/>
                  <a:gd name="connsiteX56" fmla="*/ 516719 w 4501379"/>
                  <a:gd name="connsiteY56" fmla="*/ 800100 h 4429294"/>
                  <a:gd name="connsiteX57" fmla="*/ 650069 w 4501379"/>
                  <a:gd name="connsiteY57" fmla="*/ 676275 h 4429294"/>
                  <a:gd name="connsiteX58" fmla="*/ 869144 w 4501379"/>
                  <a:gd name="connsiteY58" fmla="*/ 504825 h 4429294"/>
                  <a:gd name="connsiteX59" fmla="*/ 1148544 w 4501379"/>
                  <a:gd name="connsiteY59" fmla="*/ 311150 h 4429294"/>
                  <a:gd name="connsiteX60" fmla="*/ 1507319 w 4501379"/>
                  <a:gd name="connsiteY60" fmla="*/ 152400 h 4429294"/>
                  <a:gd name="connsiteX61" fmla="*/ 1621619 w 4501379"/>
                  <a:gd name="connsiteY61" fmla="*/ 111125 h 4429294"/>
                  <a:gd name="connsiteX62" fmla="*/ 2253444 w 4501379"/>
                  <a:gd name="connsiteY62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459569 w 4501379"/>
                  <a:gd name="connsiteY53" fmla="*/ 857250 h 4429294"/>
                  <a:gd name="connsiteX54" fmla="*/ 478619 w 4501379"/>
                  <a:gd name="connsiteY54" fmla="*/ 828675 h 4429294"/>
                  <a:gd name="connsiteX55" fmla="*/ 516719 w 4501379"/>
                  <a:gd name="connsiteY55" fmla="*/ 800100 h 4429294"/>
                  <a:gd name="connsiteX56" fmla="*/ 650069 w 4501379"/>
                  <a:gd name="connsiteY56" fmla="*/ 676275 h 4429294"/>
                  <a:gd name="connsiteX57" fmla="*/ 869144 w 4501379"/>
                  <a:gd name="connsiteY57" fmla="*/ 504825 h 4429294"/>
                  <a:gd name="connsiteX58" fmla="*/ 1148544 w 4501379"/>
                  <a:gd name="connsiteY58" fmla="*/ 311150 h 4429294"/>
                  <a:gd name="connsiteX59" fmla="*/ 1507319 w 4501379"/>
                  <a:gd name="connsiteY59" fmla="*/ 152400 h 4429294"/>
                  <a:gd name="connsiteX60" fmla="*/ 1621619 w 4501379"/>
                  <a:gd name="connsiteY60" fmla="*/ 111125 h 4429294"/>
                  <a:gd name="connsiteX61" fmla="*/ 2253444 w 4501379"/>
                  <a:gd name="connsiteY61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459569 w 4501379"/>
                  <a:gd name="connsiteY53" fmla="*/ 857250 h 4429294"/>
                  <a:gd name="connsiteX54" fmla="*/ 516719 w 4501379"/>
                  <a:gd name="connsiteY54" fmla="*/ 800100 h 4429294"/>
                  <a:gd name="connsiteX55" fmla="*/ 650069 w 4501379"/>
                  <a:gd name="connsiteY55" fmla="*/ 676275 h 4429294"/>
                  <a:gd name="connsiteX56" fmla="*/ 869144 w 4501379"/>
                  <a:gd name="connsiteY56" fmla="*/ 504825 h 4429294"/>
                  <a:gd name="connsiteX57" fmla="*/ 1148544 w 4501379"/>
                  <a:gd name="connsiteY57" fmla="*/ 311150 h 4429294"/>
                  <a:gd name="connsiteX58" fmla="*/ 1507319 w 4501379"/>
                  <a:gd name="connsiteY58" fmla="*/ 152400 h 4429294"/>
                  <a:gd name="connsiteX59" fmla="*/ 1621619 w 4501379"/>
                  <a:gd name="connsiteY59" fmla="*/ 111125 h 4429294"/>
                  <a:gd name="connsiteX60" fmla="*/ 2253444 w 4501379"/>
                  <a:gd name="connsiteY60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69069 w 4501379"/>
                  <a:gd name="connsiteY50" fmla="*/ 1152525 h 4429294"/>
                  <a:gd name="connsiteX51" fmla="*/ 297644 w 4501379"/>
                  <a:gd name="connsiteY51" fmla="*/ 1114425 h 4429294"/>
                  <a:gd name="connsiteX52" fmla="*/ 459569 w 4501379"/>
                  <a:gd name="connsiteY52" fmla="*/ 857250 h 4429294"/>
                  <a:gd name="connsiteX53" fmla="*/ 516719 w 4501379"/>
                  <a:gd name="connsiteY53" fmla="*/ 800100 h 4429294"/>
                  <a:gd name="connsiteX54" fmla="*/ 650069 w 4501379"/>
                  <a:gd name="connsiteY54" fmla="*/ 676275 h 4429294"/>
                  <a:gd name="connsiteX55" fmla="*/ 869144 w 4501379"/>
                  <a:gd name="connsiteY55" fmla="*/ 504825 h 4429294"/>
                  <a:gd name="connsiteX56" fmla="*/ 1148544 w 4501379"/>
                  <a:gd name="connsiteY56" fmla="*/ 311150 h 4429294"/>
                  <a:gd name="connsiteX57" fmla="*/ 1507319 w 4501379"/>
                  <a:gd name="connsiteY57" fmla="*/ 152400 h 4429294"/>
                  <a:gd name="connsiteX58" fmla="*/ 1621619 w 4501379"/>
                  <a:gd name="connsiteY58" fmla="*/ 111125 h 4429294"/>
                  <a:gd name="connsiteX59" fmla="*/ 2253444 w 4501379"/>
                  <a:gd name="connsiteY59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97644 w 4501379"/>
                  <a:gd name="connsiteY50" fmla="*/ 1114425 h 4429294"/>
                  <a:gd name="connsiteX51" fmla="*/ 459569 w 4501379"/>
                  <a:gd name="connsiteY51" fmla="*/ 857250 h 4429294"/>
                  <a:gd name="connsiteX52" fmla="*/ 516719 w 4501379"/>
                  <a:gd name="connsiteY52" fmla="*/ 800100 h 4429294"/>
                  <a:gd name="connsiteX53" fmla="*/ 650069 w 4501379"/>
                  <a:gd name="connsiteY53" fmla="*/ 676275 h 4429294"/>
                  <a:gd name="connsiteX54" fmla="*/ 869144 w 4501379"/>
                  <a:gd name="connsiteY54" fmla="*/ 504825 h 4429294"/>
                  <a:gd name="connsiteX55" fmla="*/ 1148544 w 4501379"/>
                  <a:gd name="connsiteY55" fmla="*/ 311150 h 4429294"/>
                  <a:gd name="connsiteX56" fmla="*/ 1507319 w 4501379"/>
                  <a:gd name="connsiteY56" fmla="*/ 152400 h 4429294"/>
                  <a:gd name="connsiteX57" fmla="*/ 1621619 w 4501379"/>
                  <a:gd name="connsiteY57" fmla="*/ 111125 h 4429294"/>
                  <a:gd name="connsiteX58" fmla="*/ 2253444 w 4501379"/>
                  <a:gd name="connsiteY58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97644 w 4501379"/>
                  <a:gd name="connsiteY49" fmla="*/ 1114425 h 4429294"/>
                  <a:gd name="connsiteX50" fmla="*/ 459569 w 4501379"/>
                  <a:gd name="connsiteY50" fmla="*/ 857250 h 4429294"/>
                  <a:gd name="connsiteX51" fmla="*/ 516719 w 4501379"/>
                  <a:gd name="connsiteY51" fmla="*/ 800100 h 4429294"/>
                  <a:gd name="connsiteX52" fmla="*/ 650069 w 4501379"/>
                  <a:gd name="connsiteY52" fmla="*/ 676275 h 4429294"/>
                  <a:gd name="connsiteX53" fmla="*/ 869144 w 4501379"/>
                  <a:gd name="connsiteY53" fmla="*/ 504825 h 4429294"/>
                  <a:gd name="connsiteX54" fmla="*/ 1148544 w 4501379"/>
                  <a:gd name="connsiteY54" fmla="*/ 311150 h 4429294"/>
                  <a:gd name="connsiteX55" fmla="*/ 1507319 w 4501379"/>
                  <a:gd name="connsiteY55" fmla="*/ 152400 h 4429294"/>
                  <a:gd name="connsiteX56" fmla="*/ 1621619 w 4501379"/>
                  <a:gd name="connsiteY56" fmla="*/ 111125 h 4429294"/>
                  <a:gd name="connsiteX57" fmla="*/ 2253444 w 4501379"/>
                  <a:gd name="connsiteY5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35719 w 4501379"/>
                  <a:gd name="connsiteY46" fmla="*/ 1419225 h 4429294"/>
                  <a:gd name="connsiteX47" fmla="*/ 211919 w 4501379"/>
                  <a:gd name="connsiteY47" fmla="*/ 1276350 h 4429294"/>
                  <a:gd name="connsiteX48" fmla="*/ 297644 w 4501379"/>
                  <a:gd name="connsiteY48" fmla="*/ 1114425 h 4429294"/>
                  <a:gd name="connsiteX49" fmla="*/ 459569 w 4501379"/>
                  <a:gd name="connsiteY49" fmla="*/ 857250 h 4429294"/>
                  <a:gd name="connsiteX50" fmla="*/ 516719 w 4501379"/>
                  <a:gd name="connsiteY50" fmla="*/ 800100 h 4429294"/>
                  <a:gd name="connsiteX51" fmla="*/ 650069 w 4501379"/>
                  <a:gd name="connsiteY51" fmla="*/ 676275 h 4429294"/>
                  <a:gd name="connsiteX52" fmla="*/ 869144 w 4501379"/>
                  <a:gd name="connsiteY52" fmla="*/ 504825 h 4429294"/>
                  <a:gd name="connsiteX53" fmla="*/ 1148544 w 4501379"/>
                  <a:gd name="connsiteY53" fmla="*/ 311150 h 4429294"/>
                  <a:gd name="connsiteX54" fmla="*/ 1507319 w 4501379"/>
                  <a:gd name="connsiteY54" fmla="*/ 152400 h 4429294"/>
                  <a:gd name="connsiteX55" fmla="*/ 1621619 w 4501379"/>
                  <a:gd name="connsiteY55" fmla="*/ 111125 h 4429294"/>
                  <a:gd name="connsiteX56" fmla="*/ 2253444 w 4501379"/>
                  <a:gd name="connsiteY56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88094 w 4501379"/>
                  <a:gd name="connsiteY44" fmla="*/ 1590675 h 4429294"/>
                  <a:gd name="connsiteX45" fmla="*/ 135719 w 4501379"/>
                  <a:gd name="connsiteY45" fmla="*/ 1419225 h 4429294"/>
                  <a:gd name="connsiteX46" fmla="*/ 211919 w 4501379"/>
                  <a:gd name="connsiteY46" fmla="*/ 1276350 h 4429294"/>
                  <a:gd name="connsiteX47" fmla="*/ 297644 w 4501379"/>
                  <a:gd name="connsiteY47" fmla="*/ 1114425 h 4429294"/>
                  <a:gd name="connsiteX48" fmla="*/ 459569 w 4501379"/>
                  <a:gd name="connsiteY48" fmla="*/ 857250 h 4429294"/>
                  <a:gd name="connsiteX49" fmla="*/ 516719 w 4501379"/>
                  <a:gd name="connsiteY49" fmla="*/ 800100 h 4429294"/>
                  <a:gd name="connsiteX50" fmla="*/ 650069 w 4501379"/>
                  <a:gd name="connsiteY50" fmla="*/ 676275 h 4429294"/>
                  <a:gd name="connsiteX51" fmla="*/ 869144 w 4501379"/>
                  <a:gd name="connsiteY51" fmla="*/ 504825 h 4429294"/>
                  <a:gd name="connsiteX52" fmla="*/ 1148544 w 4501379"/>
                  <a:gd name="connsiteY52" fmla="*/ 311150 h 4429294"/>
                  <a:gd name="connsiteX53" fmla="*/ 1507319 w 4501379"/>
                  <a:gd name="connsiteY53" fmla="*/ 152400 h 4429294"/>
                  <a:gd name="connsiteX54" fmla="*/ 1621619 w 4501379"/>
                  <a:gd name="connsiteY54" fmla="*/ 111125 h 4429294"/>
                  <a:gd name="connsiteX55" fmla="*/ 2253444 w 4501379"/>
                  <a:gd name="connsiteY55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88094 w 4501379"/>
                  <a:gd name="connsiteY43" fmla="*/ 1590675 h 4429294"/>
                  <a:gd name="connsiteX44" fmla="*/ 135719 w 4501379"/>
                  <a:gd name="connsiteY44" fmla="*/ 1419225 h 4429294"/>
                  <a:gd name="connsiteX45" fmla="*/ 211919 w 4501379"/>
                  <a:gd name="connsiteY45" fmla="*/ 1276350 h 4429294"/>
                  <a:gd name="connsiteX46" fmla="*/ 297644 w 4501379"/>
                  <a:gd name="connsiteY46" fmla="*/ 1114425 h 4429294"/>
                  <a:gd name="connsiteX47" fmla="*/ 459569 w 4501379"/>
                  <a:gd name="connsiteY47" fmla="*/ 857250 h 4429294"/>
                  <a:gd name="connsiteX48" fmla="*/ 516719 w 4501379"/>
                  <a:gd name="connsiteY48" fmla="*/ 800100 h 4429294"/>
                  <a:gd name="connsiteX49" fmla="*/ 650069 w 4501379"/>
                  <a:gd name="connsiteY49" fmla="*/ 676275 h 4429294"/>
                  <a:gd name="connsiteX50" fmla="*/ 869144 w 4501379"/>
                  <a:gd name="connsiteY50" fmla="*/ 504825 h 4429294"/>
                  <a:gd name="connsiteX51" fmla="*/ 1148544 w 4501379"/>
                  <a:gd name="connsiteY51" fmla="*/ 311150 h 4429294"/>
                  <a:gd name="connsiteX52" fmla="*/ 1507319 w 4501379"/>
                  <a:gd name="connsiteY52" fmla="*/ 152400 h 4429294"/>
                  <a:gd name="connsiteX53" fmla="*/ 1621619 w 4501379"/>
                  <a:gd name="connsiteY53" fmla="*/ 111125 h 4429294"/>
                  <a:gd name="connsiteX54" fmla="*/ 2253444 w 4501379"/>
                  <a:gd name="connsiteY54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88094 w 4501379"/>
                  <a:gd name="connsiteY42" fmla="*/ 1590675 h 4429294"/>
                  <a:gd name="connsiteX43" fmla="*/ 135719 w 4501379"/>
                  <a:gd name="connsiteY43" fmla="*/ 1419225 h 4429294"/>
                  <a:gd name="connsiteX44" fmla="*/ 211919 w 4501379"/>
                  <a:gd name="connsiteY44" fmla="*/ 1276350 h 4429294"/>
                  <a:gd name="connsiteX45" fmla="*/ 297644 w 4501379"/>
                  <a:gd name="connsiteY45" fmla="*/ 1114425 h 4429294"/>
                  <a:gd name="connsiteX46" fmla="*/ 459569 w 4501379"/>
                  <a:gd name="connsiteY46" fmla="*/ 857250 h 4429294"/>
                  <a:gd name="connsiteX47" fmla="*/ 516719 w 4501379"/>
                  <a:gd name="connsiteY47" fmla="*/ 800100 h 4429294"/>
                  <a:gd name="connsiteX48" fmla="*/ 650069 w 4501379"/>
                  <a:gd name="connsiteY48" fmla="*/ 676275 h 4429294"/>
                  <a:gd name="connsiteX49" fmla="*/ 869144 w 4501379"/>
                  <a:gd name="connsiteY49" fmla="*/ 504825 h 4429294"/>
                  <a:gd name="connsiteX50" fmla="*/ 1148544 w 4501379"/>
                  <a:gd name="connsiteY50" fmla="*/ 311150 h 4429294"/>
                  <a:gd name="connsiteX51" fmla="*/ 1507319 w 4501379"/>
                  <a:gd name="connsiteY51" fmla="*/ 152400 h 4429294"/>
                  <a:gd name="connsiteX52" fmla="*/ 1621619 w 4501379"/>
                  <a:gd name="connsiteY52" fmla="*/ 111125 h 4429294"/>
                  <a:gd name="connsiteX53" fmla="*/ 2253444 w 4501379"/>
                  <a:gd name="connsiteY53" fmla="*/ 12700 h 4429294"/>
                  <a:gd name="connsiteX0" fmla="*/ 2277090 w 4499625"/>
                  <a:gd name="connsiteY0" fmla="*/ 0 h 4429294"/>
                  <a:gd name="connsiteX1" fmla="*/ 2600940 w 4499625"/>
                  <a:gd name="connsiteY1" fmla="*/ 15875 h 4429294"/>
                  <a:gd name="connsiteX2" fmla="*/ 2896215 w 4499625"/>
                  <a:gd name="connsiteY2" fmla="*/ 85725 h 4429294"/>
                  <a:gd name="connsiteX3" fmla="*/ 3115290 w 4499625"/>
                  <a:gd name="connsiteY3" fmla="*/ 171450 h 4429294"/>
                  <a:gd name="connsiteX4" fmla="*/ 3220065 w 4499625"/>
                  <a:gd name="connsiteY4" fmla="*/ 228600 h 4429294"/>
                  <a:gd name="connsiteX5" fmla="*/ 3401040 w 4499625"/>
                  <a:gd name="connsiteY5" fmla="*/ 323850 h 4429294"/>
                  <a:gd name="connsiteX6" fmla="*/ 3791565 w 4499625"/>
                  <a:gd name="connsiteY6" fmla="*/ 581025 h 4429294"/>
                  <a:gd name="connsiteX7" fmla="*/ 4007465 w 4499625"/>
                  <a:gd name="connsiteY7" fmla="*/ 819150 h 4429294"/>
                  <a:gd name="connsiteX8" fmla="*/ 4143990 w 4499625"/>
                  <a:gd name="connsiteY8" fmla="*/ 990600 h 4429294"/>
                  <a:gd name="connsiteX9" fmla="*/ 4229715 w 4499625"/>
                  <a:gd name="connsiteY9" fmla="*/ 1143000 h 4429294"/>
                  <a:gd name="connsiteX10" fmla="*/ 4286865 w 4499625"/>
                  <a:gd name="connsiteY10" fmla="*/ 1266825 h 4429294"/>
                  <a:gd name="connsiteX11" fmla="*/ 4324965 w 4499625"/>
                  <a:gd name="connsiteY11" fmla="*/ 1362075 h 4429294"/>
                  <a:gd name="connsiteX12" fmla="*/ 4372590 w 4499625"/>
                  <a:gd name="connsiteY12" fmla="*/ 1552575 h 4429294"/>
                  <a:gd name="connsiteX13" fmla="*/ 4410690 w 4499625"/>
                  <a:gd name="connsiteY13" fmla="*/ 1685925 h 4429294"/>
                  <a:gd name="connsiteX14" fmla="*/ 4499590 w 4499625"/>
                  <a:gd name="connsiteY14" fmla="*/ 2181225 h 4429294"/>
                  <a:gd name="connsiteX15" fmla="*/ 4426565 w 4499625"/>
                  <a:gd name="connsiteY15" fmla="*/ 2768600 h 4429294"/>
                  <a:gd name="connsiteX16" fmla="*/ 4363065 w 4499625"/>
                  <a:gd name="connsiteY16" fmla="*/ 2990850 h 4429294"/>
                  <a:gd name="connsiteX17" fmla="*/ 4258290 w 4499625"/>
                  <a:gd name="connsiteY17" fmla="*/ 3248025 h 4429294"/>
                  <a:gd name="connsiteX18" fmla="*/ 4163040 w 4499625"/>
                  <a:gd name="connsiteY18" fmla="*/ 3400425 h 4429294"/>
                  <a:gd name="connsiteX19" fmla="*/ 4039215 w 4499625"/>
                  <a:gd name="connsiteY19" fmla="*/ 3533775 h 4429294"/>
                  <a:gd name="connsiteX20" fmla="*/ 3934440 w 4499625"/>
                  <a:gd name="connsiteY20" fmla="*/ 3648075 h 4429294"/>
                  <a:gd name="connsiteX21" fmla="*/ 3639165 w 4499625"/>
                  <a:gd name="connsiteY21" fmla="*/ 3971925 h 4429294"/>
                  <a:gd name="connsiteX22" fmla="*/ 3496290 w 4499625"/>
                  <a:gd name="connsiteY22" fmla="*/ 4083050 h 4429294"/>
                  <a:gd name="connsiteX23" fmla="*/ 3201015 w 4499625"/>
                  <a:gd name="connsiteY23" fmla="*/ 4222750 h 4429294"/>
                  <a:gd name="connsiteX24" fmla="*/ 3048615 w 4499625"/>
                  <a:gd name="connsiteY24" fmla="*/ 4286250 h 4429294"/>
                  <a:gd name="connsiteX25" fmla="*/ 2915265 w 4499625"/>
                  <a:gd name="connsiteY25" fmla="*/ 4333875 h 4429294"/>
                  <a:gd name="connsiteX26" fmla="*/ 2791440 w 4499625"/>
                  <a:gd name="connsiteY26" fmla="*/ 4371975 h 4429294"/>
                  <a:gd name="connsiteX27" fmla="*/ 2559665 w 4499625"/>
                  <a:gd name="connsiteY27" fmla="*/ 4391025 h 4429294"/>
                  <a:gd name="connsiteX28" fmla="*/ 2105640 w 4499625"/>
                  <a:gd name="connsiteY28" fmla="*/ 4429125 h 4429294"/>
                  <a:gd name="connsiteX29" fmla="*/ 1915140 w 4499625"/>
                  <a:gd name="connsiteY29" fmla="*/ 4400550 h 4429294"/>
                  <a:gd name="connsiteX30" fmla="*/ 1553190 w 4499625"/>
                  <a:gd name="connsiteY30" fmla="*/ 4305300 h 4429294"/>
                  <a:gd name="connsiteX31" fmla="*/ 1311890 w 4499625"/>
                  <a:gd name="connsiteY31" fmla="*/ 4216400 h 4429294"/>
                  <a:gd name="connsiteX32" fmla="*/ 1143615 w 4499625"/>
                  <a:gd name="connsiteY32" fmla="*/ 4111625 h 4429294"/>
                  <a:gd name="connsiteX33" fmla="*/ 924540 w 4499625"/>
                  <a:gd name="connsiteY33" fmla="*/ 3968750 h 4429294"/>
                  <a:gd name="connsiteX34" fmla="*/ 591165 w 4499625"/>
                  <a:gd name="connsiteY34" fmla="*/ 3657600 h 4429294"/>
                  <a:gd name="connsiteX35" fmla="*/ 445115 w 4499625"/>
                  <a:gd name="connsiteY35" fmla="*/ 3470275 h 4429294"/>
                  <a:gd name="connsiteX36" fmla="*/ 314940 w 4499625"/>
                  <a:gd name="connsiteY36" fmla="*/ 3244850 h 4429294"/>
                  <a:gd name="connsiteX37" fmla="*/ 162540 w 4499625"/>
                  <a:gd name="connsiteY37" fmla="*/ 2892425 h 4429294"/>
                  <a:gd name="connsiteX38" fmla="*/ 54590 w 4499625"/>
                  <a:gd name="connsiteY38" fmla="*/ 2368550 h 4429294"/>
                  <a:gd name="connsiteX39" fmla="*/ 615 w 4499625"/>
                  <a:gd name="connsiteY39" fmla="*/ 1905000 h 4429294"/>
                  <a:gd name="connsiteX40" fmla="*/ 29190 w 4499625"/>
                  <a:gd name="connsiteY40" fmla="*/ 1781175 h 4429294"/>
                  <a:gd name="connsiteX41" fmla="*/ 86340 w 4499625"/>
                  <a:gd name="connsiteY41" fmla="*/ 1590675 h 4429294"/>
                  <a:gd name="connsiteX42" fmla="*/ 133965 w 4499625"/>
                  <a:gd name="connsiteY42" fmla="*/ 1419225 h 4429294"/>
                  <a:gd name="connsiteX43" fmla="*/ 210165 w 4499625"/>
                  <a:gd name="connsiteY43" fmla="*/ 1276350 h 4429294"/>
                  <a:gd name="connsiteX44" fmla="*/ 295890 w 4499625"/>
                  <a:gd name="connsiteY44" fmla="*/ 1114425 h 4429294"/>
                  <a:gd name="connsiteX45" fmla="*/ 457815 w 4499625"/>
                  <a:gd name="connsiteY45" fmla="*/ 857250 h 4429294"/>
                  <a:gd name="connsiteX46" fmla="*/ 514965 w 4499625"/>
                  <a:gd name="connsiteY46" fmla="*/ 800100 h 4429294"/>
                  <a:gd name="connsiteX47" fmla="*/ 648315 w 4499625"/>
                  <a:gd name="connsiteY47" fmla="*/ 676275 h 4429294"/>
                  <a:gd name="connsiteX48" fmla="*/ 867390 w 4499625"/>
                  <a:gd name="connsiteY48" fmla="*/ 504825 h 4429294"/>
                  <a:gd name="connsiteX49" fmla="*/ 1146790 w 4499625"/>
                  <a:gd name="connsiteY49" fmla="*/ 311150 h 4429294"/>
                  <a:gd name="connsiteX50" fmla="*/ 1505565 w 4499625"/>
                  <a:gd name="connsiteY50" fmla="*/ 152400 h 4429294"/>
                  <a:gd name="connsiteX51" fmla="*/ 1619865 w 4499625"/>
                  <a:gd name="connsiteY51" fmla="*/ 111125 h 4429294"/>
                  <a:gd name="connsiteX52" fmla="*/ 2251690 w 4499625"/>
                  <a:gd name="connsiteY52" fmla="*/ 12700 h 4429294"/>
                  <a:gd name="connsiteX0" fmla="*/ 2249427 w 4471962"/>
                  <a:gd name="connsiteY0" fmla="*/ 0 h 4429294"/>
                  <a:gd name="connsiteX1" fmla="*/ 2573277 w 4471962"/>
                  <a:gd name="connsiteY1" fmla="*/ 15875 h 4429294"/>
                  <a:gd name="connsiteX2" fmla="*/ 2868552 w 4471962"/>
                  <a:gd name="connsiteY2" fmla="*/ 85725 h 4429294"/>
                  <a:gd name="connsiteX3" fmla="*/ 3087627 w 4471962"/>
                  <a:gd name="connsiteY3" fmla="*/ 171450 h 4429294"/>
                  <a:gd name="connsiteX4" fmla="*/ 3192402 w 4471962"/>
                  <a:gd name="connsiteY4" fmla="*/ 228600 h 4429294"/>
                  <a:gd name="connsiteX5" fmla="*/ 3373377 w 4471962"/>
                  <a:gd name="connsiteY5" fmla="*/ 323850 h 4429294"/>
                  <a:gd name="connsiteX6" fmla="*/ 3763902 w 4471962"/>
                  <a:gd name="connsiteY6" fmla="*/ 581025 h 4429294"/>
                  <a:gd name="connsiteX7" fmla="*/ 3979802 w 4471962"/>
                  <a:gd name="connsiteY7" fmla="*/ 819150 h 4429294"/>
                  <a:gd name="connsiteX8" fmla="*/ 4116327 w 4471962"/>
                  <a:gd name="connsiteY8" fmla="*/ 990600 h 4429294"/>
                  <a:gd name="connsiteX9" fmla="*/ 4202052 w 4471962"/>
                  <a:gd name="connsiteY9" fmla="*/ 1143000 h 4429294"/>
                  <a:gd name="connsiteX10" fmla="*/ 4259202 w 4471962"/>
                  <a:gd name="connsiteY10" fmla="*/ 1266825 h 4429294"/>
                  <a:gd name="connsiteX11" fmla="*/ 4297302 w 4471962"/>
                  <a:gd name="connsiteY11" fmla="*/ 1362075 h 4429294"/>
                  <a:gd name="connsiteX12" fmla="*/ 4344927 w 4471962"/>
                  <a:gd name="connsiteY12" fmla="*/ 1552575 h 4429294"/>
                  <a:gd name="connsiteX13" fmla="*/ 4383027 w 4471962"/>
                  <a:gd name="connsiteY13" fmla="*/ 1685925 h 4429294"/>
                  <a:gd name="connsiteX14" fmla="*/ 4471927 w 4471962"/>
                  <a:gd name="connsiteY14" fmla="*/ 2181225 h 4429294"/>
                  <a:gd name="connsiteX15" fmla="*/ 4398902 w 4471962"/>
                  <a:gd name="connsiteY15" fmla="*/ 2768600 h 4429294"/>
                  <a:gd name="connsiteX16" fmla="*/ 4335402 w 4471962"/>
                  <a:gd name="connsiteY16" fmla="*/ 2990850 h 4429294"/>
                  <a:gd name="connsiteX17" fmla="*/ 4230627 w 4471962"/>
                  <a:gd name="connsiteY17" fmla="*/ 3248025 h 4429294"/>
                  <a:gd name="connsiteX18" fmla="*/ 4135377 w 4471962"/>
                  <a:gd name="connsiteY18" fmla="*/ 3400425 h 4429294"/>
                  <a:gd name="connsiteX19" fmla="*/ 4011552 w 4471962"/>
                  <a:gd name="connsiteY19" fmla="*/ 3533775 h 4429294"/>
                  <a:gd name="connsiteX20" fmla="*/ 3906777 w 4471962"/>
                  <a:gd name="connsiteY20" fmla="*/ 3648075 h 4429294"/>
                  <a:gd name="connsiteX21" fmla="*/ 3611502 w 4471962"/>
                  <a:gd name="connsiteY21" fmla="*/ 3971925 h 4429294"/>
                  <a:gd name="connsiteX22" fmla="*/ 3468627 w 4471962"/>
                  <a:gd name="connsiteY22" fmla="*/ 4083050 h 4429294"/>
                  <a:gd name="connsiteX23" fmla="*/ 3173352 w 4471962"/>
                  <a:gd name="connsiteY23" fmla="*/ 4222750 h 4429294"/>
                  <a:gd name="connsiteX24" fmla="*/ 3020952 w 4471962"/>
                  <a:gd name="connsiteY24" fmla="*/ 4286250 h 4429294"/>
                  <a:gd name="connsiteX25" fmla="*/ 2887602 w 4471962"/>
                  <a:gd name="connsiteY25" fmla="*/ 4333875 h 4429294"/>
                  <a:gd name="connsiteX26" fmla="*/ 2763777 w 4471962"/>
                  <a:gd name="connsiteY26" fmla="*/ 4371975 h 4429294"/>
                  <a:gd name="connsiteX27" fmla="*/ 2532002 w 4471962"/>
                  <a:gd name="connsiteY27" fmla="*/ 4391025 h 4429294"/>
                  <a:gd name="connsiteX28" fmla="*/ 2077977 w 4471962"/>
                  <a:gd name="connsiteY28" fmla="*/ 4429125 h 4429294"/>
                  <a:gd name="connsiteX29" fmla="*/ 1887477 w 4471962"/>
                  <a:gd name="connsiteY29" fmla="*/ 4400550 h 4429294"/>
                  <a:gd name="connsiteX30" fmla="*/ 1525527 w 4471962"/>
                  <a:gd name="connsiteY30" fmla="*/ 4305300 h 4429294"/>
                  <a:gd name="connsiteX31" fmla="*/ 1284227 w 4471962"/>
                  <a:gd name="connsiteY31" fmla="*/ 4216400 h 4429294"/>
                  <a:gd name="connsiteX32" fmla="*/ 1115952 w 4471962"/>
                  <a:gd name="connsiteY32" fmla="*/ 4111625 h 4429294"/>
                  <a:gd name="connsiteX33" fmla="*/ 896877 w 4471962"/>
                  <a:gd name="connsiteY33" fmla="*/ 3968750 h 4429294"/>
                  <a:gd name="connsiteX34" fmla="*/ 563502 w 4471962"/>
                  <a:gd name="connsiteY34" fmla="*/ 3657600 h 4429294"/>
                  <a:gd name="connsiteX35" fmla="*/ 417452 w 4471962"/>
                  <a:gd name="connsiteY35" fmla="*/ 3470275 h 4429294"/>
                  <a:gd name="connsiteX36" fmla="*/ 287277 w 4471962"/>
                  <a:gd name="connsiteY36" fmla="*/ 3244850 h 4429294"/>
                  <a:gd name="connsiteX37" fmla="*/ 134877 w 4471962"/>
                  <a:gd name="connsiteY37" fmla="*/ 2892425 h 4429294"/>
                  <a:gd name="connsiteX38" fmla="*/ 26927 w 4471962"/>
                  <a:gd name="connsiteY38" fmla="*/ 2368550 h 4429294"/>
                  <a:gd name="connsiteX39" fmla="*/ 1527 w 4471962"/>
                  <a:gd name="connsiteY39" fmla="*/ 1781175 h 4429294"/>
                  <a:gd name="connsiteX40" fmla="*/ 58677 w 4471962"/>
                  <a:gd name="connsiteY40" fmla="*/ 1590675 h 4429294"/>
                  <a:gd name="connsiteX41" fmla="*/ 106302 w 4471962"/>
                  <a:gd name="connsiteY41" fmla="*/ 1419225 h 4429294"/>
                  <a:gd name="connsiteX42" fmla="*/ 182502 w 4471962"/>
                  <a:gd name="connsiteY42" fmla="*/ 1276350 h 4429294"/>
                  <a:gd name="connsiteX43" fmla="*/ 268227 w 4471962"/>
                  <a:gd name="connsiteY43" fmla="*/ 1114425 h 4429294"/>
                  <a:gd name="connsiteX44" fmla="*/ 430152 w 4471962"/>
                  <a:gd name="connsiteY44" fmla="*/ 857250 h 4429294"/>
                  <a:gd name="connsiteX45" fmla="*/ 487302 w 4471962"/>
                  <a:gd name="connsiteY45" fmla="*/ 800100 h 4429294"/>
                  <a:gd name="connsiteX46" fmla="*/ 620652 w 4471962"/>
                  <a:gd name="connsiteY46" fmla="*/ 676275 h 4429294"/>
                  <a:gd name="connsiteX47" fmla="*/ 839727 w 4471962"/>
                  <a:gd name="connsiteY47" fmla="*/ 504825 h 4429294"/>
                  <a:gd name="connsiteX48" fmla="*/ 1119127 w 4471962"/>
                  <a:gd name="connsiteY48" fmla="*/ 311150 h 4429294"/>
                  <a:gd name="connsiteX49" fmla="*/ 1477902 w 4471962"/>
                  <a:gd name="connsiteY49" fmla="*/ 152400 h 4429294"/>
                  <a:gd name="connsiteX50" fmla="*/ 1592202 w 4471962"/>
                  <a:gd name="connsiteY50" fmla="*/ 111125 h 4429294"/>
                  <a:gd name="connsiteX51" fmla="*/ 2224027 w 4471962"/>
                  <a:gd name="connsiteY51" fmla="*/ 12700 h 4429294"/>
                  <a:gd name="connsiteX0" fmla="*/ 2231942 w 4454477"/>
                  <a:gd name="connsiteY0" fmla="*/ 0 h 4429294"/>
                  <a:gd name="connsiteX1" fmla="*/ 2555792 w 4454477"/>
                  <a:gd name="connsiteY1" fmla="*/ 15875 h 4429294"/>
                  <a:gd name="connsiteX2" fmla="*/ 2851067 w 4454477"/>
                  <a:gd name="connsiteY2" fmla="*/ 85725 h 4429294"/>
                  <a:gd name="connsiteX3" fmla="*/ 3070142 w 4454477"/>
                  <a:gd name="connsiteY3" fmla="*/ 171450 h 4429294"/>
                  <a:gd name="connsiteX4" fmla="*/ 3174917 w 4454477"/>
                  <a:gd name="connsiteY4" fmla="*/ 228600 h 4429294"/>
                  <a:gd name="connsiteX5" fmla="*/ 3355892 w 4454477"/>
                  <a:gd name="connsiteY5" fmla="*/ 323850 h 4429294"/>
                  <a:gd name="connsiteX6" fmla="*/ 3746417 w 4454477"/>
                  <a:gd name="connsiteY6" fmla="*/ 581025 h 4429294"/>
                  <a:gd name="connsiteX7" fmla="*/ 3962317 w 4454477"/>
                  <a:gd name="connsiteY7" fmla="*/ 819150 h 4429294"/>
                  <a:gd name="connsiteX8" fmla="*/ 4098842 w 4454477"/>
                  <a:gd name="connsiteY8" fmla="*/ 990600 h 4429294"/>
                  <a:gd name="connsiteX9" fmla="*/ 4184567 w 4454477"/>
                  <a:gd name="connsiteY9" fmla="*/ 1143000 h 4429294"/>
                  <a:gd name="connsiteX10" fmla="*/ 4241717 w 4454477"/>
                  <a:gd name="connsiteY10" fmla="*/ 1266825 h 4429294"/>
                  <a:gd name="connsiteX11" fmla="*/ 4279817 w 4454477"/>
                  <a:gd name="connsiteY11" fmla="*/ 1362075 h 4429294"/>
                  <a:gd name="connsiteX12" fmla="*/ 4327442 w 4454477"/>
                  <a:gd name="connsiteY12" fmla="*/ 1552575 h 4429294"/>
                  <a:gd name="connsiteX13" fmla="*/ 4365542 w 4454477"/>
                  <a:gd name="connsiteY13" fmla="*/ 1685925 h 4429294"/>
                  <a:gd name="connsiteX14" fmla="*/ 4454442 w 4454477"/>
                  <a:gd name="connsiteY14" fmla="*/ 2181225 h 4429294"/>
                  <a:gd name="connsiteX15" fmla="*/ 4381417 w 4454477"/>
                  <a:gd name="connsiteY15" fmla="*/ 2768600 h 4429294"/>
                  <a:gd name="connsiteX16" fmla="*/ 4317917 w 4454477"/>
                  <a:gd name="connsiteY16" fmla="*/ 2990850 h 4429294"/>
                  <a:gd name="connsiteX17" fmla="*/ 4213142 w 4454477"/>
                  <a:gd name="connsiteY17" fmla="*/ 3248025 h 4429294"/>
                  <a:gd name="connsiteX18" fmla="*/ 4117892 w 4454477"/>
                  <a:gd name="connsiteY18" fmla="*/ 3400425 h 4429294"/>
                  <a:gd name="connsiteX19" fmla="*/ 3994067 w 4454477"/>
                  <a:gd name="connsiteY19" fmla="*/ 3533775 h 4429294"/>
                  <a:gd name="connsiteX20" fmla="*/ 3889292 w 4454477"/>
                  <a:gd name="connsiteY20" fmla="*/ 3648075 h 4429294"/>
                  <a:gd name="connsiteX21" fmla="*/ 3594017 w 4454477"/>
                  <a:gd name="connsiteY21" fmla="*/ 3971925 h 4429294"/>
                  <a:gd name="connsiteX22" fmla="*/ 3451142 w 4454477"/>
                  <a:gd name="connsiteY22" fmla="*/ 4083050 h 4429294"/>
                  <a:gd name="connsiteX23" fmla="*/ 3155867 w 4454477"/>
                  <a:gd name="connsiteY23" fmla="*/ 4222750 h 4429294"/>
                  <a:gd name="connsiteX24" fmla="*/ 3003467 w 4454477"/>
                  <a:gd name="connsiteY24" fmla="*/ 4286250 h 4429294"/>
                  <a:gd name="connsiteX25" fmla="*/ 2870117 w 4454477"/>
                  <a:gd name="connsiteY25" fmla="*/ 4333875 h 4429294"/>
                  <a:gd name="connsiteX26" fmla="*/ 2746292 w 4454477"/>
                  <a:gd name="connsiteY26" fmla="*/ 4371975 h 4429294"/>
                  <a:gd name="connsiteX27" fmla="*/ 2514517 w 4454477"/>
                  <a:gd name="connsiteY27" fmla="*/ 4391025 h 4429294"/>
                  <a:gd name="connsiteX28" fmla="*/ 2060492 w 4454477"/>
                  <a:gd name="connsiteY28" fmla="*/ 4429125 h 4429294"/>
                  <a:gd name="connsiteX29" fmla="*/ 1869992 w 4454477"/>
                  <a:gd name="connsiteY29" fmla="*/ 4400550 h 4429294"/>
                  <a:gd name="connsiteX30" fmla="*/ 1508042 w 4454477"/>
                  <a:gd name="connsiteY30" fmla="*/ 4305300 h 4429294"/>
                  <a:gd name="connsiteX31" fmla="*/ 1266742 w 4454477"/>
                  <a:gd name="connsiteY31" fmla="*/ 4216400 h 4429294"/>
                  <a:gd name="connsiteX32" fmla="*/ 1098467 w 4454477"/>
                  <a:gd name="connsiteY32" fmla="*/ 4111625 h 4429294"/>
                  <a:gd name="connsiteX33" fmla="*/ 879392 w 4454477"/>
                  <a:gd name="connsiteY33" fmla="*/ 3968750 h 4429294"/>
                  <a:gd name="connsiteX34" fmla="*/ 546017 w 4454477"/>
                  <a:gd name="connsiteY34" fmla="*/ 3657600 h 4429294"/>
                  <a:gd name="connsiteX35" fmla="*/ 399967 w 4454477"/>
                  <a:gd name="connsiteY35" fmla="*/ 3470275 h 4429294"/>
                  <a:gd name="connsiteX36" fmla="*/ 269792 w 4454477"/>
                  <a:gd name="connsiteY36" fmla="*/ 3244850 h 4429294"/>
                  <a:gd name="connsiteX37" fmla="*/ 117392 w 4454477"/>
                  <a:gd name="connsiteY37" fmla="*/ 2892425 h 4429294"/>
                  <a:gd name="connsiteX38" fmla="*/ 9442 w 4454477"/>
                  <a:gd name="connsiteY38" fmla="*/ 2368550 h 4429294"/>
                  <a:gd name="connsiteX39" fmla="*/ 15792 w 4454477"/>
                  <a:gd name="connsiteY39" fmla="*/ 1870075 h 4429294"/>
                  <a:gd name="connsiteX40" fmla="*/ 41192 w 4454477"/>
                  <a:gd name="connsiteY40" fmla="*/ 1590675 h 4429294"/>
                  <a:gd name="connsiteX41" fmla="*/ 88817 w 4454477"/>
                  <a:gd name="connsiteY41" fmla="*/ 1419225 h 4429294"/>
                  <a:gd name="connsiteX42" fmla="*/ 165017 w 4454477"/>
                  <a:gd name="connsiteY42" fmla="*/ 1276350 h 4429294"/>
                  <a:gd name="connsiteX43" fmla="*/ 250742 w 4454477"/>
                  <a:gd name="connsiteY43" fmla="*/ 1114425 h 4429294"/>
                  <a:gd name="connsiteX44" fmla="*/ 412667 w 4454477"/>
                  <a:gd name="connsiteY44" fmla="*/ 857250 h 4429294"/>
                  <a:gd name="connsiteX45" fmla="*/ 469817 w 4454477"/>
                  <a:gd name="connsiteY45" fmla="*/ 800100 h 4429294"/>
                  <a:gd name="connsiteX46" fmla="*/ 603167 w 4454477"/>
                  <a:gd name="connsiteY46" fmla="*/ 676275 h 4429294"/>
                  <a:gd name="connsiteX47" fmla="*/ 822242 w 4454477"/>
                  <a:gd name="connsiteY47" fmla="*/ 504825 h 4429294"/>
                  <a:gd name="connsiteX48" fmla="*/ 1101642 w 4454477"/>
                  <a:gd name="connsiteY48" fmla="*/ 311150 h 4429294"/>
                  <a:gd name="connsiteX49" fmla="*/ 1460417 w 4454477"/>
                  <a:gd name="connsiteY49" fmla="*/ 152400 h 4429294"/>
                  <a:gd name="connsiteX50" fmla="*/ 1574717 w 4454477"/>
                  <a:gd name="connsiteY50" fmla="*/ 111125 h 4429294"/>
                  <a:gd name="connsiteX51" fmla="*/ 2206542 w 4454477"/>
                  <a:gd name="connsiteY51" fmla="*/ 12700 h 4429294"/>
                  <a:gd name="connsiteX0" fmla="*/ 2233750 w 4456285"/>
                  <a:gd name="connsiteY0" fmla="*/ 0 h 4429294"/>
                  <a:gd name="connsiteX1" fmla="*/ 2557600 w 4456285"/>
                  <a:gd name="connsiteY1" fmla="*/ 15875 h 4429294"/>
                  <a:gd name="connsiteX2" fmla="*/ 2852875 w 4456285"/>
                  <a:gd name="connsiteY2" fmla="*/ 85725 h 4429294"/>
                  <a:gd name="connsiteX3" fmla="*/ 3071950 w 4456285"/>
                  <a:gd name="connsiteY3" fmla="*/ 171450 h 4429294"/>
                  <a:gd name="connsiteX4" fmla="*/ 3176725 w 4456285"/>
                  <a:gd name="connsiteY4" fmla="*/ 228600 h 4429294"/>
                  <a:gd name="connsiteX5" fmla="*/ 3357700 w 4456285"/>
                  <a:gd name="connsiteY5" fmla="*/ 323850 h 4429294"/>
                  <a:gd name="connsiteX6" fmla="*/ 3748225 w 4456285"/>
                  <a:gd name="connsiteY6" fmla="*/ 581025 h 4429294"/>
                  <a:gd name="connsiteX7" fmla="*/ 3964125 w 4456285"/>
                  <a:gd name="connsiteY7" fmla="*/ 819150 h 4429294"/>
                  <a:gd name="connsiteX8" fmla="*/ 4100650 w 4456285"/>
                  <a:gd name="connsiteY8" fmla="*/ 990600 h 4429294"/>
                  <a:gd name="connsiteX9" fmla="*/ 4186375 w 4456285"/>
                  <a:gd name="connsiteY9" fmla="*/ 1143000 h 4429294"/>
                  <a:gd name="connsiteX10" fmla="*/ 4243525 w 4456285"/>
                  <a:gd name="connsiteY10" fmla="*/ 1266825 h 4429294"/>
                  <a:gd name="connsiteX11" fmla="*/ 4281625 w 4456285"/>
                  <a:gd name="connsiteY11" fmla="*/ 1362075 h 4429294"/>
                  <a:gd name="connsiteX12" fmla="*/ 4329250 w 4456285"/>
                  <a:gd name="connsiteY12" fmla="*/ 1552575 h 4429294"/>
                  <a:gd name="connsiteX13" fmla="*/ 4367350 w 4456285"/>
                  <a:gd name="connsiteY13" fmla="*/ 1685925 h 4429294"/>
                  <a:gd name="connsiteX14" fmla="*/ 4456250 w 4456285"/>
                  <a:gd name="connsiteY14" fmla="*/ 2181225 h 4429294"/>
                  <a:gd name="connsiteX15" fmla="*/ 4383225 w 4456285"/>
                  <a:gd name="connsiteY15" fmla="*/ 2768600 h 4429294"/>
                  <a:gd name="connsiteX16" fmla="*/ 4319725 w 4456285"/>
                  <a:gd name="connsiteY16" fmla="*/ 2990850 h 4429294"/>
                  <a:gd name="connsiteX17" fmla="*/ 4214950 w 4456285"/>
                  <a:gd name="connsiteY17" fmla="*/ 3248025 h 4429294"/>
                  <a:gd name="connsiteX18" fmla="*/ 4119700 w 4456285"/>
                  <a:gd name="connsiteY18" fmla="*/ 3400425 h 4429294"/>
                  <a:gd name="connsiteX19" fmla="*/ 3995875 w 4456285"/>
                  <a:gd name="connsiteY19" fmla="*/ 3533775 h 4429294"/>
                  <a:gd name="connsiteX20" fmla="*/ 3891100 w 4456285"/>
                  <a:gd name="connsiteY20" fmla="*/ 3648075 h 4429294"/>
                  <a:gd name="connsiteX21" fmla="*/ 3595825 w 4456285"/>
                  <a:gd name="connsiteY21" fmla="*/ 3971925 h 4429294"/>
                  <a:gd name="connsiteX22" fmla="*/ 3452950 w 4456285"/>
                  <a:gd name="connsiteY22" fmla="*/ 4083050 h 4429294"/>
                  <a:gd name="connsiteX23" fmla="*/ 3157675 w 4456285"/>
                  <a:gd name="connsiteY23" fmla="*/ 4222750 h 4429294"/>
                  <a:gd name="connsiteX24" fmla="*/ 3005275 w 4456285"/>
                  <a:gd name="connsiteY24" fmla="*/ 4286250 h 4429294"/>
                  <a:gd name="connsiteX25" fmla="*/ 2871925 w 4456285"/>
                  <a:gd name="connsiteY25" fmla="*/ 4333875 h 4429294"/>
                  <a:gd name="connsiteX26" fmla="*/ 2748100 w 4456285"/>
                  <a:gd name="connsiteY26" fmla="*/ 4371975 h 4429294"/>
                  <a:gd name="connsiteX27" fmla="*/ 2516325 w 4456285"/>
                  <a:gd name="connsiteY27" fmla="*/ 4391025 h 4429294"/>
                  <a:gd name="connsiteX28" fmla="*/ 2062300 w 4456285"/>
                  <a:gd name="connsiteY28" fmla="*/ 4429125 h 4429294"/>
                  <a:gd name="connsiteX29" fmla="*/ 1871800 w 4456285"/>
                  <a:gd name="connsiteY29" fmla="*/ 4400550 h 4429294"/>
                  <a:gd name="connsiteX30" fmla="*/ 1509850 w 4456285"/>
                  <a:gd name="connsiteY30" fmla="*/ 4305300 h 4429294"/>
                  <a:gd name="connsiteX31" fmla="*/ 1268550 w 4456285"/>
                  <a:gd name="connsiteY31" fmla="*/ 4216400 h 4429294"/>
                  <a:gd name="connsiteX32" fmla="*/ 1100275 w 4456285"/>
                  <a:gd name="connsiteY32" fmla="*/ 4111625 h 4429294"/>
                  <a:gd name="connsiteX33" fmla="*/ 881200 w 4456285"/>
                  <a:gd name="connsiteY33" fmla="*/ 3968750 h 4429294"/>
                  <a:gd name="connsiteX34" fmla="*/ 547825 w 4456285"/>
                  <a:gd name="connsiteY34" fmla="*/ 3657600 h 4429294"/>
                  <a:gd name="connsiteX35" fmla="*/ 401775 w 4456285"/>
                  <a:gd name="connsiteY35" fmla="*/ 3470275 h 4429294"/>
                  <a:gd name="connsiteX36" fmla="*/ 271600 w 4456285"/>
                  <a:gd name="connsiteY36" fmla="*/ 3244850 h 4429294"/>
                  <a:gd name="connsiteX37" fmla="*/ 119200 w 4456285"/>
                  <a:gd name="connsiteY37" fmla="*/ 2892425 h 4429294"/>
                  <a:gd name="connsiteX38" fmla="*/ 11250 w 4456285"/>
                  <a:gd name="connsiteY38" fmla="*/ 2368550 h 4429294"/>
                  <a:gd name="connsiteX39" fmla="*/ 17600 w 4456285"/>
                  <a:gd name="connsiteY39" fmla="*/ 1870075 h 4429294"/>
                  <a:gd name="connsiteX40" fmla="*/ 90625 w 4456285"/>
                  <a:gd name="connsiteY40" fmla="*/ 1419225 h 4429294"/>
                  <a:gd name="connsiteX41" fmla="*/ 166825 w 4456285"/>
                  <a:gd name="connsiteY41" fmla="*/ 1276350 h 4429294"/>
                  <a:gd name="connsiteX42" fmla="*/ 252550 w 4456285"/>
                  <a:gd name="connsiteY42" fmla="*/ 1114425 h 4429294"/>
                  <a:gd name="connsiteX43" fmla="*/ 414475 w 4456285"/>
                  <a:gd name="connsiteY43" fmla="*/ 857250 h 4429294"/>
                  <a:gd name="connsiteX44" fmla="*/ 471625 w 4456285"/>
                  <a:gd name="connsiteY44" fmla="*/ 800100 h 4429294"/>
                  <a:gd name="connsiteX45" fmla="*/ 604975 w 4456285"/>
                  <a:gd name="connsiteY45" fmla="*/ 676275 h 4429294"/>
                  <a:gd name="connsiteX46" fmla="*/ 824050 w 4456285"/>
                  <a:gd name="connsiteY46" fmla="*/ 504825 h 4429294"/>
                  <a:gd name="connsiteX47" fmla="*/ 1103450 w 4456285"/>
                  <a:gd name="connsiteY47" fmla="*/ 311150 h 4429294"/>
                  <a:gd name="connsiteX48" fmla="*/ 1462225 w 4456285"/>
                  <a:gd name="connsiteY48" fmla="*/ 152400 h 4429294"/>
                  <a:gd name="connsiteX49" fmla="*/ 1576525 w 4456285"/>
                  <a:gd name="connsiteY49" fmla="*/ 111125 h 4429294"/>
                  <a:gd name="connsiteX50" fmla="*/ 2208350 w 4456285"/>
                  <a:gd name="connsiteY50" fmla="*/ 12700 h 4429294"/>
                  <a:gd name="connsiteX0" fmla="*/ 2237540 w 4460075"/>
                  <a:gd name="connsiteY0" fmla="*/ 0 h 4429294"/>
                  <a:gd name="connsiteX1" fmla="*/ 2561390 w 4460075"/>
                  <a:gd name="connsiteY1" fmla="*/ 15875 h 4429294"/>
                  <a:gd name="connsiteX2" fmla="*/ 2856665 w 4460075"/>
                  <a:gd name="connsiteY2" fmla="*/ 85725 h 4429294"/>
                  <a:gd name="connsiteX3" fmla="*/ 3075740 w 4460075"/>
                  <a:gd name="connsiteY3" fmla="*/ 171450 h 4429294"/>
                  <a:gd name="connsiteX4" fmla="*/ 3180515 w 4460075"/>
                  <a:gd name="connsiteY4" fmla="*/ 228600 h 4429294"/>
                  <a:gd name="connsiteX5" fmla="*/ 3361490 w 4460075"/>
                  <a:gd name="connsiteY5" fmla="*/ 323850 h 4429294"/>
                  <a:gd name="connsiteX6" fmla="*/ 3752015 w 4460075"/>
                  <a:gd name="connsiteY6" fmla="*/ 581025 h 4429294"/>
                  <a:gd name="connsiteX7" fmla="*/ 3967915 w 4460075"/>
                  <a:gd name="connsiteY7" fmla="*/ 819150 h 4429294"/>
                  <a:gd name="connsiteX8" fmla="*/ 4104440 w 4460075"/>
                  <a:gd name="connsiteY8" fmla="*/ 990600 h 4429294"/>
                  <a:gd name="connsiteX9" fmla="*/ 4190165 w 4460075"/>
                  <a:gd name="connsiteY9" fmla="*/ 1143000 h 4429294"/>
                  <a:gd name="connsiteX10" fmla="*/ 4247315 w 4460075"/>
                  <a:gd name="connsiteY10" fmla="*/ 1266825 h 4429294"/>
                  <a:gd name="connsiteX11" fmla="*/ 4285415 w 4460075"/>
                  <a:gd name="connsiteY11" fmla="*/ 1362075 h 4429294"/>
                  <a:gd name="connsiteX12" fmla="*/ 4333040 w 4460075"/>
                  <a:gd name="connsiteY12" fmla="*/ 1552575 h 4429294"/>
                  <a:gd name="connsiteX13" fmla="*/ 4371140 w 4460075"/>
                  <a:gd name="connsiteY13" fmla="*/ 1685925 h 4429294"/>
                  <a:gd name="connsiteX14" fmla="*/ 4460040 w 4460075"/>
                  <a:gd name="connsiteY14" fmla="*/ 2181225 h 4429294"/>
                  <a:gd name="connsiteX15" fmla="*/ 4387015 w 4460075"/>
                  <a:gd name="connsiteY15" fmla="*/ 2768600 h 4429294"/>
                  <a:gd name="connsiteX16" fmla="*/ 4323515 w 4460075"/>
                  <a:gd name="connsiteY16" fmla="*/ 2990850 h 4429294"/>
                  <a:gd name="connsiteX17" fmla="*/ 4218740 w 4460075"/>
                  <a:gd name="connsiteY17" fmla="*/ 3248025 h 4429294"/>
                  <a:gd name="connsiteX18" fmla="*/ 4123490 w 4460075"/>
                  <a:gd name="connsiteY18" fmla="*/ 3400425 h 4429294"/>
                  <a:gd name="connsiteX19" fmla="*/ 3999665 w 4460075"/>
                  <a:gd name="connsiteY19" fmla="*/ 3533775 h 4429294"/>
                  <a:gd name="connsiteX20" fmla="*/ 3894890 w 4460075"/>
                  <a:gd name="connsiteY20" fmla="*/ 3648075 h 4429294"/>
                  <a:gd name="connsiteX21" fmla="*/ 3599615 w 4460075"/>
                  <a:gd name="connsiteY21" fmla="*/ 3971925 h 4429294"/>
                  <a:gd name="connsiteX22" fmla="*/ 3456740 w 4460075"/>
                  <a:gd name="connsiteY22" fmla="*/ 4083050 h 4429294"/>
                  <a:gd name="connsiteX23" fmla="*/ 3161465 w 4460075"/>
                  <a:gd name="connsiteY23" fmla="*/ 4222750 h 4429294"/>
                  <a:gd name="connsiteX24" fmla="*/ 3009065 w 4460075"/>
                  <a:gd name="connsiteY24" fmla="*/ 4286250 h 4429294"/>
                  <a:gd name="connsiteX25" fmla="*/ 2875715 w 4460075"/>
                  <a:gd name="connsiteY25" fmla="*/ 4333875 h 4429294"/>
                  <a:gd name="connsiteX26" fmla="*/ 2751890 w 4460075"/>
                  <a:gd name="connsiteY26" fmla="*/ 4371975 h 4429294"/>
                  <a:gd name="connsiteX27" fmla="*/ 2520115 w 4460075"/>
                  <a:gd name="connsiteY27" fmla="*/ 4391025 h 4429294"/>
                  <a:gd name="connsiteX28" fmla="*/ 2066090 w 4460075"/>
                  <a:gd name="connsiteY28" fmla="*/ 4429125 h 4429294"/>
                  <a:gd name="connsiteX29" fmla="*/ 1875590 w 4460075"/>
                  <a:gd name="connsiteY29" fmla="*/ 4400550 h 4429294"/>
                  <a:gd name="connsiteX30" fmla="*/ 1513640 w 4460075"/>
                  <a:gd name="connsiteY30" fmla="*/ 4305300 h 4429294"/>
                  <a:gd name="connsiteX31" fmla="*/ 1272340 w 4460075"/>
                  <a:gd name="connsiteY31" fmla="*/ 4216400 h 4429294"/>
                  <a:gd name="connsiteX32" fmla="*/ 1104065 w 4460075"/>
                  <a:gd name="connsiteY32" fmla="*/ 4111625 h 4429294"/>
                  <a:gd name="connsiteX33" fmla="*/ 884990 w 4460075"/>
                  <a:gd name="connsiteY33" fmla="*/ 3968750 h 4429294"/>
                  <a:gd name="connsiteX34" fmla="*/ 551615 w 4460075"/>
                  <a:gd name="connsiteY34" fmla="*/ 3657600 h 4429294"/>
                  <a:gd name="connsiteX35" fmla="*/ 405565 w 4460075"/>
                  <a:gd name="connsiteY35" fmla="*/ 3470275 h 4429294"/>
                  <a:gd name="connsiteX36" fmla="*/ 275390 w 4460075"/>
                  <a:gd name="connsiteY36" fmla="*/ 3244850 h 4429294"/>
                  <a:gd name="connsiteX37" fmla="*/ 122990 w 4460075"/>
                  <a:gd name="connsiteY37" fmla="*/ 2892425 h 4429294"/>
                  <a:gd name="connsiteX38" fmla="*/ 15040 w 4460075"/>
                  <a:gd name="connsiteY38" fmla="*/ 2368550 h 4429294"/>
                  <a:gd name="connsiteX39" fmla="*/ 21390 w 4460075"/>
                  <a:gd name="connsiteY39" fmla="*/ 1870075 h 4429294"/>
                  <a:gd name="connsiteX40" fmla="*/ 170615 w 4460075"/>
                  <a:gd name="connsiteY40" fmla="*/ 1276350 h 4429294"/>
                  <a:gd name="connsiteX41" fmla="*/ 256340 w 4460075"/>
                  <a:gd name="connsiteY41" fmla="*/ 1114425 h 4429294"/>
                  <a:gd name="connsiteX42" fmla="*/ 418265 w 4460075"/>
                  <a:gd name="connsiteY42" fmla="*/ 857250 h 4429294"/>
                  <a:gd name="connsiteX43" fmla="*/ 475415 w 4460075"/>
                  <a:gd name="connsiteY43" fmla="*/ 800100 h 4429294"/>
                  <a:gd name="connsiteX44" fmla="*/ 608765 w 4460075"/>
                  <a:gd name="connsiteY44" fmla="*/ 676275 h 4429294"/>
                  <a:gd name="connsiteX45" fmla="*/ 827840 w 4460075"/>
                  <a:gd name="connsiteY45" fmla="*/ 504825 h 4429294"/>
                  <a:gd name="connsiteX46" fmla="*/ 1107240 w 4460075"/>
                  <a:gd name="connsiteY46" fmla="*/ 311150 h 4429294"/>
                  <a:gd name="connsiteX47" fmla="*/ 1466015 w 4460075"/>
                  <a:gd name="connsiteY47" fmla="*/ 152400 h 4429294"/>
                  <a:gd name="connsiteX48" fmla="*/ 1580315 w 4460075"/>
                  <a:gd name="connsiteY48" fmla="*/ 111125 h 4429294"/>
                  <a:gd name="connsiteX49" fmla="*/ 2212140 w 4460075"/>
                  <a:gd name="connsiteY49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57065 w 4460800"/>
                  <a:gd name="connsiteY41" fmla="*/ 1114425 h 4429294"/>
                  <a:gd name="connsiteX42" fmla="*/ 418990 w 4460800"/>
                  <a:gd name="connsiteY42" fmla="*/ 857250 h 4429294"/>
                  <a:gd name="connsiteX43" fmla="*/ 476140 w 4460800"/>
                  <a:gd name="connsiteY43" fmla="*/ 800100 h 4429294"/>
                  <a:gd name="connsiteX44" fmla="*/ 609490 w 4460800"/>
                  <a:gd name="connsiteY44" fmla="*/ 676275 h 4429294"/>
                  <a:gd name="connsiteX45" fmla="*/ 828565 w 4460800"/>
                  <a:gd name="connsiteY45" fmla="*/ 504825 h 4429294"/>
                  <a:gd name="connsiteX46" fmla="*/ 1107965 w 4460800"/>
                  <a:gd name="connsiteY46" fmla="*/ 311150 h 4429294"/>
                  <a:gd name="connsiteX47" fmla="*/ 1466740 w 4460800"/>
                  <a:gd name="connsiteY47" fmla="*/ 152400 h 4429294"/>
                  <a:gd name="connsiteX48" fmla="*/ 1581040 w 4460800"/>
                  <a:gd name="connsiteY48" fmla="*/ 111125 h 4429294"/>
                  <a:gd name="connsiteX49" fmla="*/ 2212865 w 4460800"/>
                  <a:gd name="connsiteY49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418990 w 4460800"/>
                  <a:gd name="connsiteY42" fmla="*/ 857250 h 4429294"/>
                  <a:gd name="connsiteX43" fmla="*/ 476140 w 4460800"/>
                  <a:gd name="connsiteY43" fmla="*/ 800100 h 4429294"/>
                  <a:gd name="connsiteX44" fmla="*/ 609490 w 4460800"/>
                  <a:gd name="connsiteY44" fmla="*/ 676275 h 4429294"/>
                  <a:gd name="connsiteX45" fmla="*/ 828565 w 4460800"/>
                  <a:gd name="connsiteY45" fmla="*/ 504825 h 4429294"/>
                  <a:gd name="connsiteX46" fmla="*/ 1107965 w 4460800"/>
                  <a:gd name="connsiteY46" fmla="*/ 311150 h 4429294"/>
                  <a:gd name="connsiteX47" fmla="*/ 1466740 w 4460800"/>
                  <a:gd name="connsiteY47" fmla="*/ 152400 h 4429294"/>
                  <a:gd name="connsiteX48" fmla="*/ 1581040 w 4460800"/>
                  <a:gd name="connsiteY48" fmla="*/ 111125 h 4429294"/>
                  <a:gd name="connsiteX49" fmla="*/ 2212865 w 4460800"/>
                  <a:gd name="connsiteY49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476140 w 4460800"/>
                  <a:gd name="connsiteY42" fmla="*/ 800100 h 4429294"/>
                  <a:gd name="connsiteX43" fmla="*/ 609490 w 4460800"/>
                  <a:gd name="connsiteY43" fmla="*/ 676275 h 4429294"/>
                  <a:gd name="connsiteX44" fmla="*/ 828565 w 4460800"/>
                  <a:gd name="connsiteY44" fmla="*/ 504825 h 4429294"/>
                  <a:gd name="connsiteX45" fmla="*/ 1107965 w 4460800"/>
                  <a:gd name="connsiteY45" fmla="*/ 311150 h 4429294"/>
                  <a:gd name="connsiteX46" fmla="*/ 1466740 w 4460800"/>
                  <a:gd name="connsiteY46" fmla="*/ 152400 h 4429294"/>
                  <a:gd name="connsiteX47" fmla="*/ 1581040 w 4460800"/>
                  <a:gd name="connsiteY47" fmla="*/ 111125 h 4429294"/>
                  <a:gd name="connsiteX48" fmla="*/ 2212865 w 4460800"/>
                  <a:gd name="connsiteY48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609490 w 4460800"/>
                  <a:gd name="connsiteY42" fmla="*/ 676275 h 4429294"/>
                  <a:gd name="connsiteX43" fmla="*/ 828565 w 4460800"/>
                  <a:gd name="connsiteY43" fmla="*/ 504825 h 4429294"/>
                  <a:gd name="connsiteX44" fmla="*/ 1107965 w 4460800"/>
                  <a:gd name="connsiteY44" fmla="*/ 311150 h 4429294"/>
                  <a:gd name="connsiteX45" fmla="*/ 1466740 w 4460800"/>
                  <a:gd name="connsiteY45" fmla="*/ 152400 h 4429294"/>
                  <a:gd name="connsiteX46" fmla="*/ 1581040 w 4460800"/>
                  <a:gd name="connsiteY46" fmla="*/ 111125 h 4429294"/>
                  <a:gd name="connsiteX47" fmla="*/ 2212865 w 4460800"/>
                  <a:gd name="connsiteY47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609490 w 4460800"/>
                  <a:gd name="connsiteY42" fmla="*/ 676275 h 4429294"/>
                  <a:gd name="connsiteX43" fmla="*/ 828565 w 4460800"/>
                  <a:gd name="connsiteY43" fmla="*/ 504825 h 4429294"/>
                  <a:gd name="connsiteX44" fmla="*/ 1107965 w 4460800"/>
                  <a:gd name="connsiteY44" fmla="*/ 311150 h 4429294"/>
                  <a:gd name="connsiteX45" fmla="*/ 1466740 w 4460800"/>
                  <a:gd name="connsiteY45" fmla="*/ 152400 h 4429294"/>
                  <a:gd name="connsiteX46" fmla="*/ 1581040 w 4460800"/>
                  <a:gd name="connsiteY46" fmla="*/ 111125 h 4429294"/>
                  <a:gd name="connsiteX47" fmla="*/ 2212865 w 4460800"/>
                  <a:gd name="connsiteY47" fmla="*/ 12700 h 4429294"/>
                  <a:gd name="connsiteX48" fmla="*/ 2238265 w 4460800"/>
                  <a:gd name="connsiteY48" fmla="*/ 0 h 4429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4460800" h="4429294">
                    <a:moveTo>
                      <a:pt x="2238265" y="0"/>
                    </a:moveTo>
                    <a:cubicBezTo>
                      <a:pt x="2346215" y="5292"/>
                      <a:pt x="2458928" y="1588"/>
                      <a:pt x="2562115" y="15875"/>
                    </a:cubicBezTo>
                    <a:cubicBezTo>
                      <a:pt x="2665302" y="30162"/>
                      <a:pt x="2798653" y="69321"/>
                      <a:pt x="2857390" y="85725"/>
                    </a:cubicBezTo>
                    <a:cubicBezTo>
                      <a:pt x="2943115" y="111654"/>
                      <a:pt x="3033603" y="153988"/>
                      <a:pt x="3076465" y="171450"/>
                    </a:cubicBezTo>
                    <a:cubicBezTo>
                      <a:pt x="3130440" y="195262"/>
                      <a:pt x="3133615" y="203200"/>
                      <a:pt x="3181240" y="228600"/>
                    </a:cubicBezTo>
                    <a:cubicBezTo>
                      <a:pt x="3228865" y="254000"/>
                      <a:pt x="3266965" y="265113"/>
                      <a:pt x="3362215" y="323850"/>
                    </a:cubicBezTo>
                    <a:cubicBezTo>
                      <a:pt x="3457465" y="382588"/>
                      <a:pt x="3651669" y="498475"/>
                      <a:pt x="3752740" y="581025"/>
                    </a:cubicBezTo>
                    <a:cubicBezTo>
                      <a:pt x="3853811" y="663575"/>
                      <a:pt x="3909903" y="750888"/>
                      <a:pt x="3968640" y="819150"/>
                    </a:cubicBezTo>
                    <a:cubicBezTo>
                      <a:pt x="4027378" y="887413"/>
                      <a:pt x="4068123" y="936625"/>
                      <a:pt x="4105165" y="990600"/>
                    </a:cubicBezTo>
                    <a:cubicBezTo>
                      <a:pt x="4142207" y="1044575"/>
                      <a:pt x="4175015" y="1109663"/>
                      <a:pt x="4190890" y="1143000"/>
                    </a:cubicBezTo>
                    <a:cubicBezTo>
                      <a:pt x="4214703" y="1189038"/>
                      <a:pt x="4232165" y="1230313"/>
                      <a:pt x="4248040" y="1266825"/>
                    </a:cubicBezTo>
                    <a:cubicBezTo>
                      <a:pt x="4263915" y="1303338"/>
                      <a:pt x="4271853" y="1314450"/>
                      <a:pt x="4286140" y="1362075"/>
                    </a:cubicBezTo>
                    <a:cubicBezTo>
                      <a:pt x="4300427" y="1409700"/>
                      <a:pt x="4319478" y="1498600"/>
                      <a:pt x="4333765" y="1552575"/>
                    </a:cubicBezTo>
                    <a:cubicBezTo>
                      <a:pt x="4348053" y="1606550"/>
                      <a:pt x="4350698" y="1581150"/>
                      <a:pt x="4371865" y="1685925"/>
                    </a:cubicBezTo>
                    <a:cubicBezTo>
                      <a:pt x="4393032" y="1790700"/>
                      <a:pt x="4459178" y="1982788"/>
                      <a:pt x="4460765" y="2181225"/>
                    </a:cubicBezTo>
                    <a:cubicBezTo>
                      <a:pt x="4462352" y="2379662"/>
                      <a:pt x="4410494" y="2633663"/>
                      <a:pt x="4387740" y="2768600"/>
                    </a:cubicBezTo>
                    <a:cubicBezTo>
                      <a:pt x="4364986" y="2903537"/>
                      <a:pt x="4352286" y="2910946"/>
                      <a:pt x="4324240" y="2990850"/>
                    </a:cubicBezTo>
                    <a:cubicBezTo>
                      <a:pt x="4296194" y="3070754"/>
                      <a:pt x="4252802" y="3179763"/>
                      <a:pt x="4219465" y="3248025"/>
                    </a:cubicBezTo>
                    <a:cubicBezTo>
                      <a:pt x="4186128" y="3316287"/>
                      <a:pt x="4160728" y="3352800"/>
                      <a:pt x="4124215" y="3400425"/>
                    </a:cubicBezTo>
                    <a:cubicBezTo>
                      <a:pt x="4087703" y="3448050"/>
                      <a:pt x="4038490" y="3492500"/>
                      <a:pt x="4000390" y="3533775"/>
                    </a:cubicBezTo>
                    <a:lnTo>
                      <a:pt x="3895615" y="3648075"/>
                    </a:lnTo>
                    <a:cubicBezTo>
                      <a:pt x="3797190" y="3756025"/>
                      <a:pt x="3673365" y="3899429"/>
                      <a:pt x="3600340" y="3971925"/>
                    </a:cubicBezTo>
                    <a:cubicBezTo>
                      <a:pt x="3527315" y="4044421"/>
                      <a:pt x="3530490" y="4041246"/>
                      <a:pt x="3457465" y="4083050"/>
                    </a:cubicBezTo>
                    <a:cubicBezTo>
                      <a:pt x="3384440" y="4124854"/>
                      <a:pt x="3236802" y="4188883"/>
                      <a:pt x="3162190" y="4222750"/>
                    </a:cubicBezTo>
                    <a:cubicBezTo>
                      <a:pt x="3087578" y="4256617"/>
                      <a:pt x="3038173" y="4283885"/>
                      <a:pt x="3009790" y="4286250"/>
                    </a:cubicBezTo>
                    <a:cubicBezTo>
                      <a:pt x="2947977" y="4310975"/>
                      <a:pt x="2954113" y="4309602"/>
                      <a:pt x="2876440" y="4333875"/>
                    </a:cubicBezTo>
                    <a:cubicBezTo>
                      <a:pt x="2853306" y="4341104"/>
                      <a:pt x="2811882" y="4362450"/>
                      <a:pt x="2752615" y="4371975"/>
                    </a:cubicBezTo>
                    <a:cubicBezTo>
                      <a:pt x="2693348" y="4381500"/>
                      <a:pt x="2635140" y="4381500"/>
                      <a:pt x="2520840" y="4391025"/>
                    </a:cubicBezTo>
                    <a:cubicBezTo>
                      <a:pt x="2406540" y="4400550"/>
                      <a:pt x="2174236" y="4427538"/>
                      <a:pt x="2066815" y="4429125"/>
                    </a:cubicBezTo>
                    <a:cubicBezTo>
                      <a:pt x="1959394" y="4430712"/>
                      <a:pt x="1968390" y="4421187"/>
                      <a:pt x="1876315" y="4400550"/>
                    </a:cubicBezTo>
                    <a:cubicBezTo>
                      <a:pt x="1784240" y="4379913"/>
                      <a:pt x="1614907" y="4335992"/>
                      <a:pt x="1514365" y="4305300"/>
                    </a:cubicBezTo>
                    <a:cubicBezTo>
                      <a:pt x="1413823" y="4274608"/>
                      <a:pt x="1353498" y="4246033"/>
                      <a:pt x="1273065" y="4216400"/>
                    </a:cubicBezTo>
                    <a:cubicBezTo>
                      <a:pt x="1206390" y="4187825"/>
                      <a:pt x="1169348" y="4152900"/>
                      <a:pt x="1104790" y="4111625"/>
                    </a:cubicBezTo>
                    <a:cubicBezTo>
                      <a:pt x="1040232" y="4070350"/>
                      <a:pt x="977790" y="4044421"/>
                      <a:pt x="885715" y="3968750"/>
                    </a:cubicBezTo>
                    <a:cubicBezTo>
                      <a:pt x="793640" y="3893079"/>
                      <a:pt x="632244" y="3740679"/>
                      <a:pt x="552340" y="3657600"/>
                    </a:cubicBezTo>
                    <a:cubicBezTo>
                      <a:pt x="472436" y="3574521"/>
                      <a:pt x="452327" y="3539067"/>
                      <a:pt x="406290" y="3470275"/>
                    </a:cubicBezTo>
                    <a:cubicBezTo>
                      <a:pt x="360253" y="3401483"/>
                      <a:pt x="323211" y="3341158"/>
                      <a:pt x="276115" y="3244850"/>
                    </a:cubicBezTo>
                    <a:cubicBezTo>
                      <a:pt x="229019" y="3148542"/>
                      <a:pt x="167107" y="3038475"/>
                      <a:pt x="123715" y="2892425"/>
                    </a:cubicBezTo>
                    <a:cubicBezTo>
                      <a:pt x="80323" y="2746375"/>
                      <a:pt x="37990" y="2553758"/>
                      <a:pt x="15765" y="2368550"/>
                    </a:cubicBezTo>
                    <a:cubicBezTo>
                      <a:pt x="-6460" y="2183342"/>
                      <a:pt x="-5931" y="2044700"/>
                      <a:pt x="22115" y="1870075"/>
                    </a:cubicBezTo>
                    <a:cubicBezTo>
                      <a:pt x="50161" y="1695450"/>
                      <a:pt x="139590" y="1446742"/>
                      <a:pt x="184040" y="1320800"/>
                    </a:cubicBezTo>
                    <a:cubicBezTo>
                      <a:pt x="228490" y="1194858"/>
                      <a:pt x="217907" y="1221846"/>
                      <a:pt x="288815" y="1114425"/>
                    </a:cubicBezTo>
                    <a:cubicBezTo>
                      <a:pt x="359723" y="1007004"/>
                      <a:pt x="519532" y="777875"/>
                      <a:pt x="609490" y="676275"/>
                    </a:cubicBezTo>
                    <a:cubicBezTo>
                      <a:pt x="699448" y="574675"/>
                      <a:pt x="745486" y="565679"/>
                      <a:pt x="828565" y="504825"/>
                    </a:cubicBezTo>
                    <a:cubicBezTo>
                      <a:pt x="911644" y="443971"/>
                      <a:pt x="997898" y="379942"/>
                      <a:pt x="1107965" y="311150"/>
                    </a:cubicBezTo>
                    <a:cubicBezTo>
                      <a:pt x="1214328" y="252413"/>
                      <a:pt x="1387894" y="185737"/>
                      <a:pt x="1466740" y="152400"/>
                    </a:cubicBezTo>
                    <a:cubicBezTo>
                      <a:pt x="1545586" y="119063"/>
                      <a:pt x="1456686" y="134408"/>
                      <a:pt x="1581040" y="111125"/>
                    </a:cubicBezTo>
                    <a:cubicBezTo>
                      <a:pt x="1810698" y="67733"/>
                      <a:pt x="1945107" y="-7408"/>
                      <a:pt x="2212865" y="12700"/>
                    </a:cubicBezTo>
                    <a:lnTo>
                      <a:pt x="2238265" y="0"/>
                    </a:ln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F931D4CB-AA2B-5AAE-7B94-69A3604A15C8}"/>
                  </a:ext>
                </a:extLst>
              </p:cNvPr>
              <p:cNvSpPr/>
              <p:nvPr/>
            </p:nvSpPr>
            <p:spPr>
              <a:xfrm>
                <a:off x="5459953" y="2254250"/>
                <a:ext cx="362722" cy="318128"/>
              </a:xfrm>
              <a:custGeom>
                <a:avLst/>
                <a:gdLst>
                  <a:gd name="connsiteX0" fmla="*/ 0 w 362634"/>
                  <a:gd name="connsiteY0" fmla="*/ 0 h 341644"/>
                  <a:gd name="connsiteX1" fmla="*/ 100484 w 362634"/>
                  <a:gd name="connsiteY1" fmla="*/ 60290 h 341644"/>
                  <a:gd name="connsiteX2" fmla="*/ 160774 w 362634"/>
                  <a:gd name="connsiteY2" fmla="*/ 110532 h 341644"/>
                  <a:gd name="connsiteX3" fmla="*/ 190919 w 362634"/>
                  <a:gd name="connsiteY3" fmla="*/ 140677 h 341644"/>
                  <a:gd name="connsiteX4" fmla="*/ 221064 w 362634"/>
                  <a:gd name="connsiteY4" fmla="*/ 160774 h 341644"/>
                  <a:gd name="connsiteX5" fmla="*/ 291402 w 362634"/>
                  <a:gd name="connsiteY5" fmla="*/ 251209 h 341644"/>
                  <a:gd name="connsiteX6" fmla="*/ 331596 w 362634"/>
                  <a:gd name="connsiteY6" fmla="*/ 301451 h 341644"/>
                  <a:gd name="connsiteX7" fmla="*/ 361741 w 362634"/>
                  <a:gd name="connsiteY7" fmla="*/ 331596 h 341644"/>
                  <a:gd name="connsiteX8" fmla="*/ 361741 w 362634"/>
                  <a:gd name="connsiteY8" fmla="*/ 341644 h 341644"/>
                  <a:gd name="connsiteX0" fmla="*/ 0 w 369096"/>
                  <a:gd name="connsiteY0" fmla="*/ 0 h 397133"/>
                  <a:gd name="connsiteX1" fmla="*/ 106946 w 369096"/>
                  <a:gd name="connsiteY1" fmla="*/ 115779 h 397133"/>
                  <a:gd name="connsiteX2" fmla="*/ 167236 w 369096"/>
                  <a:gd name="connsiteY2" fmla="*/ 166021 h 397133"/>
                  <a:gd name="connsiteX3" fmla="*/ 197381 w 369096"/>
                  <a:gd name="connsiteY3" fmla="*/ 196166 h 397133"/>
                  <a:gd name="connsiteX4" fmla="*/ 227526 w 369096"/>
                  <a:gd name="connsiteY4" fmla="*/ 216263 h 397133"/>
                  <a:gd name="connsiteX5" fmla="*/ 297864 w 369096"/>
                  <a:gd name="connsiteY5" fmla="*/ 306698 h 397133"/>
                  <a:gd name="connsiteX6" fmla="*/ 338058 w 369096"/>
                  <a:gd name="connsiteY6" fmla="*/ 356940 h 397133"/>
                  <a:gd name="connsiteX7" fmla="*/ 368203 w 369096"/>
                  <a:gd name="connsiteY7" fmla="*/ 387085 h 397133"/>
                  <a:gd name="connsiteX8" fmla="*/ 368203 w 369096"/>
                  <a:gd name="connsiteY8" fmla="*/ 397133 h 3971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69096" h="397133">
                    <a:moveTo>
                      <a:pt x="0" y="0"/>
                    </a:moveTo>
                    <a:cubicBezTo>
                      <a:pt x="33495" y="20097"/>
                      <a:pt x="79073" y="88109"/>
                      <a:pt x="106946" y="115779"/>
                    </a:cubicBezTo>
                    <a:cubicBezTo>
                      <a:pt x="134819" y="143449"/>
                      <a:pt x="147684" y="148641"/>
                      <a:pt x="167236" y="166021"/>
                    </a:cubicBezTo>
                    <a:cubicBezTo>
                      <a:pt x="177857" y="175462"/>
                      <a:pt x="186464" y="187069"/>
                      <a:pt x="197381" y="196166"/>
                    </a:cubicBezTo>
                    <a:cubicBezTo>
                      <a:pt x="206659" y="203897"/>
                      <a:pt x="219402" y="207327"/>
                      <a:pt x="227526" y="216263"/>
                    </a:cubicBezTo>
                    <a:cubicBezTo>
                      <a:pt x="253215" y="244521"/>
                      <a:pt x="274270" y="276669"/>
                      <a:pt x="297864" y="306698"/>
                    </a:cubicBezTo>
                    <a:cubicBezTo>
                      <a:pt x="311115" y="323562"/>
                      <a:pt x="322893" y="341775"/>
                      <a:pt x="338058" y="356940"/>
                    </a:cubicBezTo>
                    <a:cubicBezTo>
                      <a:pt x="348106" y="366988"/>
                      <a:pt x="359677" y="375717"/>
                      <a:pt x="368203" y="387085"/>
                    </a:cubicBezTo>
                    <a:cubicBezTo>
                      <a:pt x="370213" y="389764"/>
                      <a:pt x="368203" y="393784"/>
                      <a:pt x="368203" y="397133"/>
                    </a:cubicBezTo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95A82D16-903B-2D6D-EC45-A2876949C27D}"/>
                  </a:ext>
                </a:extLst>
              </p:cNvPr>
              <p:cNvSpPr/>
              <p:nvPr/>
            </p:nvSpPr>
            <p:spPr>
              <a:xfrm>
                <a:off x="6794500" y="1701800"/>
                <a:ext cx="6350" cy="514350"/>
              </a:xfrm>
              <a:custGeom>
                <a:avLst/>
                <a:gdLst>
                  <a:gd name="connsiteX0" fmla="*/ 20061 w 27350"/>
                  <a:gd name="connsiteY0" fmla="*/ 0 h 514350"/>
                  <a:gd name="connsiteX1" fmla="*/ 26411 w 27350"/>
                  <a:gd name="connsiteY1" fmla="*/ 114300 h 514350"/>
                  <a:gd name="connsiteX2" fmla="*/ 7361 w 27350"/>
                  <a:gd name="connsiteY2" fmla="*/ 133350 h 514350"/>
                  <a:gd name="connsiteX3" fmla="*/ 20061 w 27350"/>
                  <a:gd name="connsiteY3" fmla="*/ 311150 h 514350"/>
                  <a:gd name="connsiteX4" fmla="*/ 20061 w 27350"/>
                  <a:gd name="connsiteY4" fmla="*/ 514350 h 514350"/>
                  <a:gd name="connsiteX0" fmla="*/ 0 w 6350"/>
                  <a:gd name="connsiteY0" fmla="*/ 0 h 514350"/>
                  <a:gd name="connsiteX1" fmla="*/ 6350 w 6350"/>
                  <a:gd name="connsiteY1" fmla="*/ 114300 h 514350"/>
                  <a:gd name="connsiteX2" fmla="*/ 0 w 6350"/>
                  <a:gd name="connsiteY2" fmla="*/ 311150 h 514350"/>
                  <a:gd name="connsiteX3" fmla="*/ 0 w 6350"/>
                  <a:gd name="connsiteY3" fmla="*/ 514350 h 5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350" h="514350">
                    <a:moveTo>
                      <a:pt x="0" y="0"/>
                    </a:moveTo>
                    <a:cubicBezTo>
                      <a:pt x="2117" y="38100"/>
                      <a:pt x="6350" y="62442"/>
                      <a:pt x="6350" y="114300"/>
                    </a:cubicBezTo>
                    <a:cubicBezTo>
                      <a:pt x="6350" y="166158"/>
                      <a:pt x="1058" y="244475"/>
                      <a:pt x="0" y="311150"/>
                    </a:cubicBezTo>
                    <a:cubicBezTo>
                      <a:pt x="1736" y="378861"/>
                      <a:pt x="0" y="446617"/>
                      <a:pt x="0" y="514350"/>
                    </a:cubicBezTo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2E2AA88B-752A-5CD6-B4E0-82B9E255D703}"/>
                  </a:ext>
                </a:extLst>
              </p:cNvPr>
              <p:cNvSpPr/>
              <p:nvPr/>
            </p:nvSpPr>
            <p:spPr>
              <a:xfrm>
                <a:off x="4749800" y="3263900"/>
                <a:ext cx="501650" cy="139792"/>
              </a:xfrm>
              <a:custGeom>
                <a:avLst/>
                <a:gdLst>
                  <a:gd name="connsiteX0" fmla="*/ 0 w 501650"/>
                  <a:gd name="connsiteY0" fmla="*/ 0 h 139792"/>
                  <a:gd name="connsiteX1" fmla="*/ 82550 w 501650"/>
                  <a:gd name="connsiteY1" fmla="*/ 19050 h 139792"/>
                  <a:gd name="connsiteX2" fmla="*/ 114300 w 501650"/>
                  <a:gd name="connsiteY2" fmla="*/ 25400 h 139792"/>
                  <a:gd name="connsiteX3" fmla="*/ 203200 w 501650"/>
                  <a:gd name="connsiteY3" fmla="*/ 44450 h 139792"/>
                  <a:gd name="connsiteX4" fmla="*/ 279400 w 501650"/>
                  <a:gd name="connsiteY4" fmla="*/ 76200 h 139792"/>
                  <a:gd name="connsiteX5" fmla="*/ 349250 w 501650"/>
                  <a:gd name="connsiteY5" fmla="*/ 101600 h 139792"/>
                  <a:gd name="connsiteX6" fmla="*/ 425450 w 501650"/>
                  <a:gd name="connsiteY6" fmla="*/ 107950 h 139792"/>
                  <a:gd name="connsiteX7" fmla="*/ 444500 w 501650"/>
                  <a:gd name="connsiteY7" fmla="*/ 127000 h 139792"/>
                  <a:gd name="connsiteX8" fmla="*/ 501650 w 501650"/>
                  <a:gd name="connsiteY8" fmla="*/ 139700 h 1397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501650" h="139792">
                    <a:moveTo>
                      <a:pt x="0" y="0"/>
                    </a:moveTo>
                    <a:cubicBezTo>
                      <a:pt x="102828" y="12853"/>
                      <a:pt x="7759" y="-3387"/>
                      <a:pt x="82550" y="19050"/>
                    </a:cubicBezTo>
                    <a:cubicBezTo>
                      <a:pt x="92888" y="22151"/>
                      <a:pt x="103783" y="22973"/>
                      <a:pt x="114300" y="25400"/>
                    </a:cubicBezTo>
                    <a:cubicBezTo>
                      <a:pt x="196578" y="44387"/>
                      <a:pt x="133877" y="32896"/>
                      <a:pt x="203200" y="44450"/>
                    </a:cubicBezTo>
                    <a:cubicBezTo>
                      <a:pt x="265429" y="75564"/>
                      <a:pt x="216370" y="53280"/>
                      <a:pt x="279400" y="76200"/>
                    </a:cubicBezTo>
                    <a:cubicBezTo>
                      <a:pt x="296495" y="82416"/>
                      <a:pt x="332146" y="98749"/>
                      <a:pt x="349250" y="101600"/>
                    </a:cubicBezTo>
                    <a:cubicBezTo>
                      <a:pt x="374391" y="105790"/>
                      <a:pt x="400050" y="105833"/>
                      <a:pt x="425450" y="107950"/>
                    </a:cubicBezTo>
                    <a:cubicBezTo>
                      <a:pt x="431800" y="114300"/>
                      <a:pt x="436650" y="122639"/>
                      <a:pt x="444500" y="127000"/>
                    </a:cubicBezTo>
                    <a:cubicBezTo>
                      <a:pt x="470974" y="141708"/>
                      <a:pt x="477585" y="139700"/>
                      <a:pt x="501650" y="139700"/>
                    </a:cubicBezTo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143AB146-DF09-A2A8-C47A-70AE26F2BE96}"/>
                  </a:ext>
                </a:extLst>
              </p:cNvPr>
              <p:cNvSpPr/>
              <p:nvPr/>
            </p:nvSpPr>
            <p:spPr>
              <a:xfrm>
                <a:off x="5765800" y="5416550"/>
                <a:ext cx="298450" cy="393700"/>
              </a:xfrm>
              <a:custGeom>
                <a:avLst/>
                <a:gdLst>
                  <a:gd name="connsiteX0" fmla="*/ 0 w 298450"/>
                  <a:gd name="connsiteY0" fmla="*/ 393700 h 393700"/>
                  <a:gd name="connsiteX1" fmla="*/ 31750 w 298450"/>
                  <a:gd name="connsiteY1" fmla="*/ 381000 h 393700"/>
                  <a:gd name="connsiteX2" fmla="*/ 44450 w 298450"/>
                  <a:gd name="connsiteY2" fmla="*/ 342900 h 393700"/>
                  <a:gd name="connsiteX3" fmla="*/ 57150 w 298450"/>
                  <a:gd name="connsiteY3" fmla="*/ 317500 h 393700"/>
                  <a:gd name="connsiteX4" fmla="*/ 63500 w 298450"/>
                  <a:gd name="connsiteY4" fmla="*/ 298450 h 393700"/>
                  <a:gd name="connsiteX5" fmla="*/ 82550 w 298450"/>
                  <a:gd name="connsiteY5" fmla="*/ 279400 h 393700"/>
                  <a:gd name="connsiteX6" fmla="*/ 95250 w 298450"/>
                  <a:gd name="connsiteY6" fmla="*/ 260350 h 393700"/>
                  <a:gd name="connsiteX7" fmla="*/ 120650 w 298450"/>
                  <a:gd name="connsiteY7" fmla="*/ 234950 h 393700"/>
                  <a:gd name="connsiteX8" fmla="*/ 158750 w 298450"/>
                  <a:gd name="connsiteY8" fmla="*/ 196850 h 393700"/>
                  <a:gd name="connsiteX9" fmla="*/ 171450 w 298450"/>
                  <a:gd name="connsiteY9" fmla="*/ 177800 h 393700"/>
                  <a:gd name="connsiteX10" fmla="*/ 196850 w 298450"/>
                  <a:gd name="connsiteY10" fmla="*/ 158750 h 393700"/>
                  <a:gd name="connsiteX11" fmla="*/ 234950 w 298450"/>
                  <a:gd name="connsiteY11" fmla="*/ 127000 h 393700"/>
                  <a:gd name="connsiteX12" fmla="*/ 266700 w 298450"/>
                  <a:gd name="connsiteY12" fmla="*/ 82550 h 393700"/>
                  <a:gd name="connsiteX13" fmla="*/ 292100 w 298450"/>
                  <a:gd name="connsiteY13" fmla="*/ 25400 h 393700"/>
                  <a:gd name="connsiteX14" fmla="*/ 298450 w 298450"/>
                  <a:gd name="connsiteY14" fmla="*/ 0 h 393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98450" h="393700">
                    <a:moveTo>
                      <a:pt x="0" y="393700"/>
                    </a:moveTo>
                    <a:cubicBezTo>
                      <a:pt x="10583" y="389467"/>
                      <a:pt x="24244" y="389578"/>
                      <a:pt x="31750" y="381000"/>
                    </a:cubicBezTo>
                    <a:cubicBezTo>
                      <a:pt x="40565" y="370925"/>
                      <a:pt x="39478" y="355329"/>
                      <a:pt x="44450" y="342900"/>
                    </a:cubicBezTo>
                    <a:cubicBezTo>
                      <a:pt x="47966" y="334111"/>
                      <a:pt x="53421" y="326201"/>
                      <a:pt x="57150" y="317500"/>
                    </a:cubicBezTo>
                    <a:cubicBezTo>
                      <a:pt x="59787" y="311348"/>
                      <a:pt x="59787" y="304019"/>
                      <a:pt x="63500" y="298450"/>
                    </a:cubicBezTo>
                    <a:cubicBezTo>
                      <a:pt x="68481" y="290978"/>
                      <a:pt x="76801" y="286299"/>
                      <a:pt x="82550" y="279400"/>
                    </a:cubicBezTo>
                    <a:cubicBezTo>
                      <a:pt x="87436" y="273537"/>
                      <a:pt x="90283" y="266144"/>
                      <a:pt x="95250" y="260350"/>
                    </a:cubicBezTo>
                    <a:cubicBezTo>
                      <a:pt x="103042" y="251259"/>
                      <a:pt x="112765" y="243961"/>
                      <a:pt x="120650" y="234950"/>
                    </a:cubicBezTo>
                    <a:cubicBezTo>
                      <a:pt x="153731" y="197144"/>
                      <a:pt x="124078" y="219964"/>
                      <a:pt x="158750" y="196850"/>
                    </a:cubicBezTo>
                    <a:cubicBezTo>
                      <a:pt x="162983" y="190500"/>
                      <a:pt x="166054" y="183196"/>
                      <a:pt x="171450" y="177800"/>
                    </a:cubicBezTo>
                    <a:cubicBezTo>
                      <a:pt x="178934" y="170316"/>
                      <a:pt x="188586" y="165361"/>
                      <a:pt x="196850" y="158750"/>
                    </a:cubicBezTo>
                    <a:cubicBezTo>
                      <a:pt x="209759" y="148423"/>
                      <a:pt x="223260" y="138690"/>
                      <a:pt x="234950" y="127000"/>
                    </a:cubicBezTo>
                    <a:cubicBezTo>
                      <a:pt x="239493" y="122457"/>
                      <a:pt x="261893" y="90963"/>
                      <a:pt x="266700" y="82550"/>
                    </a:cubicBezTo>
                    <a:cubicBezTo>
                      <a:pt x="275552" y="67060"/>
                      <a:pt x="286657" y="41729"/>
                      <a:pt x="292100" y="25400"/>
                    </a:cubicBezTo>
                    <a:cubicBezTo>
                      <a:pt x="294860" y="17121"/>
                      <a:pt x="298450" y="0"/>
                      <a:pt x="298450" y="0"/>
                    </a:cubicBezTo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</p:grp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5B12A54-F84B-68F9-E4F7-3CC0735D44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24464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84" imgH="384" progId="TCLayout.ActiveDocument.1">
                  <p:embed/>
                </p:oleObj>
              </mc:Choice>
              <mc:Fallback>
                <p:oleObj name="think-cell Slide" r:id="rId7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B12A54-F84B-68F9-E4F7-3CC0735D44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B21B18DA-A85D-1FAE-96C5-59608C964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 dirty="0"/>
              <a:t>ESG-data i Det Almene Datavarehus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7060C70-813A-07F3-115A-E4AB5E000ED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0</a:t>
            </a:fld>
            <a:endParaRPr lang="da-DK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5E23257-01FF-261E-F741-C33FAC0B0A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/>
              <a:t>Vores fælles data bor i Landsbyggefonden</a:t>
            </a:r>
          </a:p>
        </p:txBody>
      </p:sp>
      <p:grpSp>
        <p:nvGrpSpPr>
          <p:cNvPr id="166" name="Group 165">
            <a:extLst>
              <a:ext uri="{FF2B5EF4-FFF2-40B4-BE49-F238E27FC236}">
                <a16:creationId xmlns:a16="http://schemas.microsoft.com/office/drawing/2014/main" id="{17810ECD-E241-FF38-BA2A-F0F316F2EA3A}"/>
              </a:ext>
            </a:extLst>
          </p:cNvPr>
          <p:cNvGrpSpPr/>
          <p:nvPr/>
        </p:nvGrpSpPr>
        <p:grpSpPr>
          <a:xfrm>
            <a:off x="1365811" y="2483909"/>
            <a:ext cx="1205237" cy="3712729"/>
            <a:chOff x="352425" y="2324250"/>
            <a:chExt cx="1282115" cy="3949550"/>
          </a:xfrm>
        </p:grpSpPr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4EDB8253-0518-8FA8-BCF5-FF8DE3489374}"/>
                </a:ext>
              </a:extLst>
            </p:cNvPr>
            <p:cNvSpPr/>
            <p:nvPr/>
          </p:nvSpPr>
          <p:spPr>
            <a:xfrm>
              <a:off x="352425" y="2324250"/>
              <a:ext cx="1282115" cy="1273060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41523836-FACF-FEB7-510D-44BE1F728B55}"/>
                </a:ext>
              </a:extLst>
            </p:cNvPr>
            <p:cNvSpPr/>
            <p:nvPr/>
          </p:nvSpPr>
          <p:spPr>
            <a:xfrm>
              <a:off x="352425" y="3662495"/>
              <a:ext cx="1282115" cy="1273060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A44F158F-A16F-C453-C5A2-B4EA29F34C4E}"/>
                </a:ext>
              </a:extLst>
            </p:cNvPr>
            <p:cNvSpPr/>
            <p:nvPr/>
          </p:nvSpPr>
          <p:spPr>
            <a:xfrm>
              <a:off x="352425" y="5000740"/>
              <a:ext cx="1282115" cy="1273060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E108E645-7F09-0D8E-3135-686EDD69C16A}"/>
                </a:ext>
              </a:extLst>
            </p:cNvPr>
            <p:cNvGrpSpPr/>
            <p:nvPr/>
          </p:nvGrpSpPr>
          <p:grpSpPr>
            <a:xfrm>
              <a:off x="676332" y="2555174"/>
              <a:ext cx="634300" cy="811212"/>
              <a:chOff x="3395346" y="1880433"/>
              <a:chExt cx="1633885" cy="2089588"/>
            </a:xfrm>
          </p:grpSpPr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1A7DB25B-8516-ECBC-5322-6B42B50D4F1C}"/>
                  </a:ext>
                </a:extLst>
              </p:cNvPr>
              <p:cNvSpPr/>
              <p:nvPr/>
            </p:nvSpPr>
            <p:spPr>
              <a:xfrm>
                <a:off x="3395346" y="2041850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solidFill>
                <a:srgbClr val="E1EBE5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026C6B3C-C274-BFF4-40E1-839F643B92CD}"/>
                  </a:ext>
                </a:extLst>
              </p:cNvPr>
              <p:cNvSpPr/>
              <p:nvPr/>
            </p:nvSpPr>
            <p:spPr>
              <a:xfrm>
                <a:off x="3395346" y="3242409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solidFill>
                <a:srgbClr val="E1EBE5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3B243F3C-8E21-2D15-1F07-1E6664D1BB7D}"/>
                  </a:ext>
                </a:extLst>
              </p:cNvPr>
              <p:cNvSpPr/>
              <p:nvPr/>
            </p:nvSpPr>
            <p:spPr>
              <a:xfrm>
                <a:off x="3397293" y="1880433"/>
                <a:ext cx="1624532" cy="292545"/>
              </a:xfrm>
              <a:custGeom>
                <a:avLst/>
                <a:gdLst>
                  <a:gd name="connsiteX0" fmla="*/ 11907 w 1116840"/>
                  <a:gd name="connsiteY0" fmla="*/ 124159 h 219409"/>
                  <a:gd name="connsiteX1" fmla="*/ 23813 w 1116840"/>
                  <a:gd name="connsiteY1" fmla="*/ 133684 h 219409"/>
                  <a:gd name="connsiteX2" fmla="*/ 28575 w 1116840"/>
                  <a:gd name="connsiteY2" fmla="*/ 140827 h 219409"/>
                  <a:gd name="connsiteX3" fmla="*/ 40482 w 1116840"/>
                  <a:gd name="connsiteY3" fmla="*/ 147971 h 219409"/>
                  <a:gd name="connsiteX4" fmla="*/ 47625 w 1116840"/>
                  <a:gd name="connsiteY4" fmla="*/ 152734 h 219409"/>
                  <a:gd name="connsiteX5" fmla="*/ 78582 w 1116840"/>
                  <a:gd name="connsiteY5" fmla="*/ 157496 h 219409"/>
                  <a:gd name="connsiteX6" fmla="*/ 104775 w 1116840"/>
                  <a:gd name="connsiteY6" fmla="*/ 162259 h 219409"/>
                  <a:gd name="connsiteX7" fmla="*/ 128588 w 1116840"/>
                  <a:gd name="connsiteY7" fmla="*/ 164640 h 219409"/>
                  <a:gd name="connsiteX8" fmla="*/ 161925 w 1116840"/>
                  <a:gd name="connsiteY8" fmla="*/ 174165 h 219409"/>
                  <a:gd name="connsiteX9" fmla="*/ 178594 w 1116840"/>
                  <a:gd name="connsiteY9" fmla="*/ 176546 h 219409"/>
                  <a:gd name="connsiteX10" fmla="*/ 202407 w 1116840"/>
                  <a:gd name="connsiteY10" fmla="*/ 181309 h 219409"/>
                  <a:gd name="connsiteX11" fmla="*/ 209550 w 1116840"/>
                  <a:gd name="connsiteY11" fmla="*/ 183690 h 219409"/>
                  <a:gd name="connsiteX12" fmla="*/ 238125 w 1116840"/>
                  <a:gd name="connsiteY12" fmla="*/ 190834 h 219409"/>
                  <a:gd name="connsiteX13" fmla="*/ 285750 w 1116840"/>
                  <a:gd name="connsiteY13" fmla="*/ 205121 h 219409"/>
                  <a:gd name="connsiteX14" fmla="*/ 378619 w 1116840"/>
                  <a:gd name="connsiteY14" fmla="*/ 207502 h 219409"/>
                  <a:gd name="connsiteX15" fmla="*/ 402432 w 1116840"/>
                  <a:gd name="connsiteY15" fmla="*/ 212265 h 219409"/>
                  <a:gd name="connsiteX16" fmla="*/ 457200 w 1116840"/>
                  <a:gd name="connsiteY16" fmla="*/ 219409 h 219409"/>
                  <a:gd name="connsiteX17" fmla="*/ 604838 w 1116840"/>
                  <a:gd name="connsiteY17" fmla="*/ 217027 h 219409"/>
                  <a:gd name="connsiteX18" fmla="*/ 623888 w 1116840"/>
                  <a:gd name="connsiteY18" fmla="*/ 212265 h 219409"/>
                  <a:gd name="connsiteX19" fmla="*/ 676275 w 1116840"/>
                  <a:gd name="connsiteY19" fmla="*/ 209884 h 219409"/>
                  <a:gd name="connsiteX20" fmla="*/ 697707 w 1116840"/>
                  <a:gd name="connsiteY20" fmla="*/ 205121 h 219409"/>
                  <a:gd name="connsiteX21" fmla="*/ 707232 w 1116840"/>
                  <a:gd name="connsiteY21" fmla="*/ 202740 h 219409"/>
                  <a:gd name="connsiteX22" fmla="*/ 797719 w 1116840"/>
                  <a:gd name="connsiteY22" fmla="*/ 200359 h 219409"/>
                  <a:gd name="connsiteX23" fmla="*/ 823913 w 1116840"/>
                  <a:gd name="connsiteY23" fmla="*/ 193215 h 219409"/>
                  <a:gd name="connsiteX24" fmla="*/ 842963 w 1116840"/>
                  <a:gd name="connsiteY24" fmla="*/ 188452 h 219409"/>
                  <a:gd name="connsiteX25" fmla="*/ 866775 w 1116840"/>
                  <a:gd name="connsiteY25" fmla="*/ 186071 h 219409"/>
                  <a:gd name="connsiteX26" fmla="*/ 940594 w 1116840"/>
                  <a:gd name="connsiteY26" fmla="*/ 181309 h 219409"/>
                  <a:gd name="connsiteX27" fmla="*/ 971550 w 1116840"/>
                  <a:gd name="connsiteY27" fmla="*/ 178927 h 219409"/>
                  <a:gd name="connsiteX28" fmla="*/ 992982 w 1116840"/>
                  <a:gd name="connsiteY28" fmla="*/ 174165 h 219409"/>
                  <a:gd name="connsiteX29" fmla="*/ 1007269 w 1116840"/>
                  <a:gd name="connsiteY29" fmla="*/ 171784 h 219409"/>
                  <a:gd name="connsiteX30" fmla="*/ 1035844 w 1116840"/>
                  <a:gd name="connsiteY30" fmla="*/ 164640 h 219409"/>
                  <a:gd name="connsiteX31" fmla="*/ 1052513 w 1116840"/>
                  <a:gd name="connsiteY31" fmla="*/ 155115 h 219409"/>
                  <a:gd name="connsiteX32" fmla="*/ 1083469 w 1116840"/>
                  <a:gd name="connsiteY32" fmla="*/ 143209 h 219409"/>
                  <a:gd name="connsiteX33" fmla="*/ 1090613 w 1116840"/>
                  <a:gd name="connsiteY33" fmla="*/ 136065 h 219409"/>
                  <a:gd name="connsiteX34" fmla="*/ 1100138 w 1116840"/>
                  <a:gd name="connsiteY34" fmla="*/ 131302 h 219409"/>
                  <a:gd name="connsiteX35" fmla="*/ 1107282 w 1116840"/>
                  <a:gd name="connsiteY35" fmla="*/ 126540 h 219409"/>
                  <a:gd name="connsiteX36" fmla="*/ 1116807 w 1116840"/>
                  <a:gd name="connsiteY36" fmla="*/ 107490 h 219409"/>
                  <a:gd name="connsiteX37" fmla="*/ 1114425 w 1116840"/>
                  <a:gd name="connsiteY37" fmla="*/ 97965 h 219409"/>
                  <a:gd name="connsiteX38" fmla="*/ 1054894 w 1116840"/>
                  <a:gd name="connsiteY38" fmla="*/ 74152 h 219409"/>
                  <a:gd name="connsiteX39" fmla="*/ 1047750 w 1116840"/>
                  <a:gd name="connsiteY39" fmla="*/ 71771 h 219409"/>
                  <a:gd name="connsiteX40" fmla="*/ 1038225 w 1116840"/>
                  <a:gd name="connsiteY40" fmla="*/ 67009 h 219409"/>
                  <a:gd name="connsiteX41" fmla="*/ 1026319 w 1116840"/>
                  <a:gd name="connsiteY41" fmla="*/ 62246 h 219409"/>
                  <a:gd name="connsiteX42" fmla="*/ 995363 w 1116840"/>
                  <a:gd name="connsiteY42" fmla="*/ 57484 h 219409"/>
                  <a:gd name="connsiteX43" fmla="*/ 966788 w 1116840"/>
                  <a:gd name="connsiteY43" fmla="*/ 47959 h 219409"/>
                  <a:gd name="connsiteX44" fmla="*/ 947738 w 1116840"/>
                  <a:gd name="connsiteY44" fmla="*/ 40815 h 219409"/>
                  <a:gd name="connsiteX45" fmla="*/ 857250 w 1116840"/>
                  <a:gd name="connsiteY45" fmla="*/ 33671 h 219409"/>
                  <a:gd name="connsiteX46" fmla="*/ 812007 w 1116840"/>
                  <a:gd name="connsiteY46" fmla="*/ 26527 h 219409"/>
                  <a:gd name="connsiteX47" fmla="*/ 800100 w 1116840"/>
                  <a:gd name="connsiteY47" fmla="*/ 24146 h 219409"/>
                  <a:gd name="connsiteX48" fmla="*/ 790575 w 1116840"/>
                  <a:gd name="connsiteY48" fmla="*/ 21765 h 219409"/>
                  <a:gd name="connsiteX49" fmla="*/ 702469 w 1116840"/>
                  <a:gd name="connsiteY49" fmla="*/ 19384 h 219409"/>
                  <a:gd name="connsiteX50" fmla="*/ 559594 w 1116840"/>
                  <a:gd name="connsiteY50" fmla="*/ 12240 h 219409"/>
                  <a:gd name="connsiteX51" fmla="*/ 350044 w 1116840"/>
                  <a:gd name="connsiteY51" fmla="*/ 9859 h 219409"/>
                  <a:gd name="connsiteX52" fmla="*/ 338138 w 1116840"/>
                  <a:gd name="connsiteY52" fmla="*/ 14621 h 219409"/>
                  <a:gd name="connsiteX53" fmla="*/ 295275 w 1116840"/>
                  <a:gd name="connsiteY53" fmla="*/ 19384 h 219409"/>
                  <a:gd name="connsiteX54" fmla="*/ 278607 w 1116840"/>
                  <a:gd name="connsiteY54" fmla="*/ 21765 h 219409"/>
                  <a:gd name="connsiteX55" fmla="*/ 269082 w 1116840"/>
                  <a:gd name="connsiteY55" fmla="*/ 24146 h 219409"/>
                  <a:gd name="connsiteX56" fmla="*/ 238125 w 1116840"/>
                  <a:gd name="connsiteY56" fmla="*/ 26527 h 219409"/>
                  <a:gd name="connsiteX57" fmla="*/ 216694 w 1116840"/>
                  <a:gd name="connsiteY57" fmla="*/ 33671 h 219409"/>
                  <a:gd name="connsiteX58" fmla="*/ 195263 w 1116840"/>
                  <a:gd name="connsiteY58" fmla="*/ 38434 h 219409"/>
                  <a:gd name="connsiteX59" fmla="*/ 183357 w 1116840"/>
                  <a:gd name="connsiteY59" fmla="*/ 40815 h 219409"/>
                  <a:gd name="connsiteX60" fmla="*/ 147638 w 1116840"/>
                  <a:gd name="connsiteY60" fmla="*/ 50340 h 219409"/>
                  <a:gd name="connsiteX61" fmla="*/ 128588 w 1116840"/>
                  <a:gd name="connsiteY61" fmla="*/ 57484 h 219409"/>
                  <a:gd name="connsiteX62" fmla="*/ 109538 w 1116840"/>
                  <a:gd name="connsiteY62" fmla="*/ 62246 h 219409"/>
                  <a:gd name="connsiteX63" fmla="*/ 97632 w 1116840"/>
                  <a:gd name="connsiteY63" fmla="*/ 67009 h 219409"/>
                  <a:gd name="connsiteX64" fmla="*/ 80963 w 1116840"/>
                  <a:gd name="connsiteY64" fmla="*/ 69390 h 219409"/>
                  <a:gd name="connsiteX65" fmla="*/ 54769 w 1116840"/>
                  <a:gd name="connsiteY65" fmla="*/ 74152 h 219409"/>
                  <a:gd name="connsiteX66" fmla="*/ 47625 w 1116840"/>
                  <a:gd name="connsiteY66" fmla="*/ 76534 h 219409"/>
                  <a:gd name="connsiteX67" fmla="*/ 23813 w 1116840"/>
                  <a:gd name="connsiteY67" fmla="*/ 83677 h 219409"/>
                  <a:gd name="connsiteX68" fmla="*/ 9525 w 1116840"/>
                  <a:gd name="connsiteY68" fmla="*/ 93202 h 219409"/>
                  <a:gd name="connsiteX69" fmla="*/ 0 w 1116840"/>
                  <a:gd name="connsiteY69" fmla="*/ 117015 h 219409"/>
                  <a:gd name="connsiteX70" fmla="*/ 11907 w 1116840"/>
                  <a:gd name="connsiteY70" fmla="*/ 124159 h 21940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800100 w 1116840"/>
                  <a:gd name="connsiteY47" fmla="*/ 11906 h 207169"/>
                  <a:gd name="connsiteX48" fmla="*/ 790575 w 1116840"/>
                  <a:gd name="connsiteY48" fmla="*/ 9525 h 207169"/>
                  <a:gd name="connsiteX49" fmla="*/ 702469 w 1116840"/>
                  <a:gd name="connsiteY49" fmla="*/ 7144 h 207169"/>
                  <a:gd name="connsiteX50" fmla="*/ 559594 w 1116840"/>
                  <a:gd name="connsiteY50" fmla="*/ 0 h 207169"/>
                  <a:gd name="connsiteX51" fmla="*/ 338138 w 1116840"/>
                  <a:gd name="connsiteY51" fmla="*/ 2381 h 207169"/>
                  <a:gd name="connsiteX52" fmla="*/ 295275 w 1116840"/>
                  <a:gd name="connsiteY52" fmla="*/ 7144 h 207169"/>
                  <a:gd name="connsiteX53" fmla="*/ 278607 w 1116840"/>
                  <a:gd name="connsiteY53" fmla="*/ 9525 h 207169"/>
                  <a:gd name="connsiteX54" fmla="*/ 269082 w 1116840"/>
                  <a:gd name="connsiteY54" fmla="*/ 11906 h 207169"/>
                  <a:gd name="connsiteX55" fmla="*/ 238125 w 1116840"/>
                  <a:gd name="connsiteY55" fmla="*/ 14287 h 207169"/>
                  <a:gd name="connsiteX56" fmla="*/ 216694 w 1116840"/>
                  <a:gd name="connsiteY56" fmla="*/ 21431 h 207169"/>
                  <a:gd name="connsiteX57" fmla="*/ 195263 w 1116840"/>
                  <a:gd name="connsiteY57" fmla="*/ 26194 h 207169"/>
                  <a:gd name="connsiteX58" fmla="*/ 183357 w 1116840"/>
                  <a:gd name="connsiteY58" fmla="*/ 28575 h 207169"/>
                  <a:gd name="connsiteX59" fmla="*/ 147638 w 1116840"/>
                  <a:gd name="connsiteY59" fmla="*/ 38100 h 207169"/>
                  <a:gd name="connsiteX60" fmla="*/ 128588 w 1116840"/>
                  <a:gd name="connsiteY60" fmla="*/ 45244 h 207169"/>
                  <a:gd name="connsiteX61" fmla="*/ 109538 w 1116840"/>
                  <a:gd name="connsiteY61" fmla="*/ 50006 h 207169"/>
                  <a:gd name="connsiteX62" fmla="*/ 97632 w 1116840"/>
                  <a:gd name="connsiteY62" fmla="*/ 54769 h 207169"/>
                  <a:gd name="connsiteX63" fmla="*/ 80963 w 1116840"/>
                  <a:gd name="connsiteY63" fmla="*/ 57150 h 207169"/>
                  <a:gd name="connsiteX64" fmla="*/ 54769 w 1116840"/>
                  <a:gd name="connsiteY64" fmla="*/ 61912 h 207169"/>
                  <a:gd name="connsiteX65" fmla="*/ 47625 w 1116840"/>
                  <a:gd name="connsiteY65" fmla="*/ 64294 h 207169"/>
                  <a:gd name="connsiteX66" fmla="*/ 23813 w 1116840"/>
                  <a:gd name="connsiteY66" fmla="*/ 71437 h 207169"/>
                  <a:gd name="connsiteX67" fmla="*/ 9525 w 1116840"/>
                  <a:gd name="connsiteY67" fmla="*/ 80962 h 207169"/>
                  <a:gd name="connsiteX68" fmla="*/ 0 w 1116840"/>
                  <a:gd name="connsiteY68" fmla="*/ 104775 h 207169"/>
                  <a:gd name="connsiteX69" fmla="*/ 11907 w 1116840"/>
                  <a:gd name="connsiteY69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790575 w 1116840"/>
                  <a:gd name="connsiteY47" fmla="*/ 9525 h 207169"/>
                  <a:gd name="connsiteX48" fmla="*/ 702469 w 1116840"/>
                  <a:gd name="connsiteY48" fmla="*/ 7144 h 207169"/>
                  <a:gd name="connsiteX49" fmla="*/ 559594 w 1116840"/>
                  <a:gd name="connsiteY49" fmla="*/ 0 h 207169"/>
                  <a:gd name="connsiteX50" fmla="*/ 338138 w 1116840"/>
                  <a:gd name="connsiteY50" fmla="*/ 2381 h 207169"/>
                  <a:gd name="connsiteX51" fmla="*/ 295275 w 1116840"/>
                  <a:gd name="connsiteY51" fmla="*/ 7144 h 207169"/>
                  <a:gd name="connsiteX52" fmla="*/ 278607 w 1116840"/>
                  <a:gd name="connsiteY52" fmla="*/ 9525 h 207169"/>
                  <a:gd name="connsiteX53" fmla="*/ 269082 w 1116840"/>
                  <a:gd name="connsiteY53" fmla="*/ 11906 h 207169"/>
                  <a:gd name="connsiteX54" fmla="*/ 238125 w 1116840"/>
                  <a:gd name="connsiteY54" fmla="*/ 14287 h 207169"/>
                  <a:gd name="connsiteX55" fmla="*/ 216694 w 1116840"/>
                  <a:gd name="connsiteY55" fmla="*/ 21431 h 207169"/>
                  <a:gd name="connsiteX56" fmla="*/ 195263 w 1116840"/>
                  <a:gd name="connsiteY56" fmla="*/ 26194 h 207169"/>
                  <a:gd name="connsiteX57" fmla="*/ 183357 w 1116840"/>
                  <a:gd name="connsiteY57" fmla="*/ 28575 h 207169"/>
                  <a:gd name="connsiteX58" fmla="*/ 147638 w 1116840"/>
                  <a:gd name="connsiteY58" fmla="*/ 38100 h 207169"/>
                  <a:gd name="connsiteX59" fmla="*/ 128588 w 1116840"/>
                  <a:gd name="connsiteY59" fmla="*/ 45244 h 207169"/>
                  <a:gd name="connsiteX60" fmla="*/ 109538 w 1116840"/>
                  <a:gd name="connsiteY60" fmla="*/ 50006 h 207169"/>
                  <a:gd name="connsiteX61" fmla="*/ 97632 w 1116840"/>
                  <a:gd name="connsiteY61" fmla="*/ 54769 h 207169"/>
                  <a:gd name="connsiteX62" fmla="*/ 80963 w 1116840"/>
                  <a:gd name="connsiteY62" fmla="*/ 57150 h 207169"/>
                  <a:gd name="connsiteX63" fmla="*/ 54769 w 1116840"/>
                  <a:gd name="connsiteY63" fmla="*/ 61912 h 207169"/>
                  <a:gd name="connsiteX64" fmla="*/ 47625 w 1116840"/>
                  <a:gd name="connsiteY64" fmla="*/ 64294 h 207169"/>
                  <a:gd name="connsiteX65" fmla="*/ 23813 w 1116840"/>
                  <a:gd name="connsiteY65" fmla="*/ 71437 h 207169"/>
                  <a:gd name="connsiteX66" fmla="*/ 9525 w 1116840"/>
                  <a:gd name="connsiteY66" fmla="*/ 80962 h 207169"/>
                  <a:gd name="connsiteX67" fmla="*/ 0 w 1116840"/>
                  <a:gd name="connsiteY67" fmla="*/ 104775 h 207169"/>
                  <a:gd name="connsiteX68" fmla="*/ 11907 w 1116840"/>
                  <a:gd name="connsiteY68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790575 w 1116840"/>
                  <a:gd name="connsiteY46" fmla="*/ 9525 h 207169"/>
                  <a:gd name="connsiteX47" fmla="*/ 702469 w 1116840"/>
                  <a:gd name="connsiteY47" fmla="*/ 7144 h 207169"/>
                  <a:gd name="connsiteX48" fmla="*/ 559594 w 1116840"/>
                  <a:gd name="connsiteY48" fmla="*/ 0 h 207169"/>
                  <a:gd name="connsiteX49" fmla="*/ 338138 w 1116840"/>
                  <a:gd name="connsiteY49" fmla="*/ 2381 h 207169"/>
                  <a:gd name="connsiteX50" fmla="*/ 295275 w 1116840"/>
                  <a:gd name="connsiteY50" fmla="*/ 7144 h 207169"/>
                  <a:gd name="connsiteX51" fmla="*/ 278607 w 1116840"/>
                  <a:gd name="connsiteY51" fmla="*/ 9525 h 207169"/>
                  <a:gd name="connsiteX52" fmla="*/ 269082 w 1116840"/>
                  <a:gd name="connsiteY52" fmla="*/ 11906 h 207169"/>
                  <a:gd name="connsiteX53" fmla="*/ 238125 w 1116840"/>
                  <a:gd name="connsiteY53" fmla="*/ 14287 h 207169"/>
                  <a:gd name="connsiteX54" fmla="*/ 216694 w 1116840"/>
                  <a:gd name="connsiteY54" fmla="*/ 21431 h 207169"/>
                  <a:gd name="connsiteX55" fmla="*/ 195263 w 1116840"/>
                  <a:gd name="connsiteY55" fmla="*/ 26194 h 207169"/>
                  <a:gd name="connsiteX56" fmla="*/ 183357 w 1116840"/>
                  <a:gd name="connsiteY56" fmla="*/ 28575 h 207169"/>
                  <a:gd name="connsiteX57" fmla="*/ 147638 w 1116840"/>
                  <a:gd name="connsiteY57" fmla="*/ 38100 h 207169"/>
                  <a:gd name="connsiteX58" fmla="*/ 128588 w 1116840"/>
                  <a:gd name="connsiteY58" fmla="*/ 45244 h 207169"/>
                  <a:gd name="connsiteX59" fmla="*/ 109538 w 1116840"/>
                  <a:gd name="connsiteY59" fmla="*/ 50006 h 207169"/>
                  <a:gd name="connsiteX60" fmla="*/ 97632 w 1116840"/>
                  <a:gd name="connsiteY60" fmla="*/ 54769 h 207169"/>
                  <a:gd name="connsiteX61" fmla="*/ 80963 w 1116840"/>
                  <a:gd name="connsiteY61" fmla="*/ 57150 h 207169"/>
                  <a:gd name="connsiteX62" fmla="*/ 54769 w 1116840"/>
                  <a:gd name="connsiteY62" fmla="*/ 61912 h 207169"/>
                  <a:gd name="connsiteX63" fmla="*/ 47625 w 1116840"/>
                  <a:gd name="connsiteY63" fmla="*/ 64294 h 207169"/>
                  <a:gd name="connsiteX64" fmla="*/ 23813 w 1116840"/>
                  <a:gd name="connsiteY64" fmla="*/ 71437 h 207169"/>
                  <a:gd name="connsiteX65" fmla="*/ 9525 w 1116840"/>
                  <a:gd name="connsiteY65" fmla="*/ 80962 h 207169"/>
                  <a:gd name="connsiteX66" fmla="*/ 0 w 1116840"/>
                  <a:gd name="connsiteY66" fmla="*/ 104775 h 207169"/>
                  <a:gd name="connsiteX67" fmla="*/ 11907 w 1116840"/>
                  <a:gd name="connsiteY67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857250 w 1116840"/>
                  <a:gd name="connsiteY44" fmla="*/ 21431 h 207169"/>
                  <a:gd name="connsiteX45" fmla="*/ 790575 w 1116840"/>
                  <a:gd name="connsiteY45" fmla="*/ 9525 h 207169"/>
                  <a:gd name="connsiteX46" fmla="*/ 702469 w 1116840"/>
                  <a:gd name="connsiteY46" fmla="*/ 7144 h 207169"/>
                  <a:gd name="connsiteX47" fmla="*/ 559594 w 1116840"/>
                  <a:gd name="connsiteY47" fmla="*/ 0 h 207169"/>
                  <a:gd name="connsiteX48" fmla="*/ 338138 w 1116840"/>
                  <a:gd name="connsiteY48" fmla="*/ 2381 h 207169"/>
                  <a:gd name="connsiteX49" fmla="*/ 295275 w 1116840"/>
                  <a:gd name="connsiteY49" fmla="*/ 7144 h 207169"/>
                  <a:gd name="connsiteX50" fmla="*/ 278607 w 1116840"/>
                  <a:gd name="connsiteY50" fmla="*/ 9525 h 207169"/>
                  <a:gd name="connsiteX51" fmla="*/ 269082 w 1116840"/>
                  <a:gd name="connsiteY51" fmla="*/ 11906 h 207169"/>
                  <a:gd name="connsiteX52" fmla="*/ 238125 w 1116840"/>
                  <a:gd name="connsiteY52" fmla="*/ 14287 h 207169"/>
                  <a:gd name="connsiteX53" fmla="*/ 216694 w 1116840"/>
                  <a:gd name="connsiteY53" fmla="*/ 21431 h 207169"/>
                  <a:gd name="connsiteX54" fmla="*/ 195263 w 1116840"/>
                  <a:gd name="connsiteY54" fmla="*/ 26194 h 207169"/>
                  <a:gd name="connsiteX55" fmla="*/ 183357 w 1116840"/>
                  <a:gd name="connsiteY55" fmla="*/ 28575 h 207169"/>
                  <a:gd name="connsiteX56" fmla="*/ 147638 w 1116840"/>
                  <a:gd name="connsiteY56" fmla="*/ 38100 h 207169"/>
                  <a:gd name="connsiteX57" fmla="*/ 128588 w 1116840"/>
                  <a:gd name="connsiteY57" fmla="*/ 45244 h 207169"/>
                  <a:gd name="connsiteX58" fmla="*/ 109538 w 1116840"/>
                  <a:gd name="connsiteY58" fmla="*/ 50006 h 207169"/>
                  <a:gd name="connsiteX59" fmla="*/ 97632 w 1116840"/>
                  <a:gd name="connsiteY59" fmla="*/ 54769 h 207169"/>
                  <a:gd name="connsiteX60" fmla="*/ 80963 w 1116840"/>
                  <a:gd name="connsiteY60" fmla="*/ 57150 h 207169"/>
                  <a:gd name="connsiteX61" fmla="*/ 54769 w 1116840"/>
                  <a:gd name="connsiteY61" fmla="*/ 61912 h 207169"/>
                  <a:gd name="connsiteX62" fmla="*/ 47625 w 1116840"/>
                  <a:gd name="connsiteY62" fmla="*/ 64294 h 207169"/>
                  <a:gd name="connsiteX63" fmla="*/ 23813 w 1116840"/>
                  <a:gd name="connsiteY63" fmla="*/ 71437 h 207169"/>
                  <a:gd name="connsiteX64" fmla="*/ 9525 w 1116840"/>
                  <a:gd name="connsiteY64" fmla="*/ 80962 h 207169"/>
                  <a:gd name="connsiteX65" fmla="*/ 0 w 1116840"/>
                  <a:gd name="connsiteY65" fmla="*/ 104775 h 207169"/>
                  <a:gd name="connsiteX66" fmla="*/ 11907 w 1116840"/>
                  <a:gd name="connsiteY66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66788 w 1116840"/>
                  <a:gd name="connsiteY42" fmla="*/ 35719 h 207169"/>
                  <a:gd name="connsiteX43" fmla="*/ 857250 w 1116840"/>
                  <a:gd name="connsiteY43" fmla="*/ 21431 h 207169"/>
                  <a:gd name="connsiteX44" fmla="*/ 790575 w 1116840"/>
                  <a:gd name="connsiteY44" fmla="*/ 9525 h 207169"/>
                  <a:gd name="connsiteX45" fmla="*/ 702469 w 1116840"/>
                  <a:gd name="connsiteY45" fmla="*/ 7144 h 207169"/>
                  <a:gd name="connsiteX46" fmla="*/ 559594 w 1116840"/>
                  <a:gd name="connsiteY46" fmla="*/ 0 h 207169"/>
                  <a:gd name="connsiteX47" fmla="*/ 338138 w 1116840"/>
                  <a:gd name="connsiteY47" fmla="*/ 2381 h 207169"/>
                  <a:gd name="connsiteX48" fmla="*/ 295275 w 1116840"/>
                  <a:gd name="connsiteY48" fmla="*/ 7144 h 207169"/>
                  <a:gd name="connsiteX49" fmla="*/ 278607 w 1116840"/>
                  <a:gd name="connsiteY49" fmla="*/ 9525 h 207169"/>
                  <a:gd name="connsiteX50" fmla="*/ 269082 w 1116840"/>
                  <a:gd name="connsiteY50" fmla="*/ 11906 h 207169"/>
                  <a:gd name="connsiteX51" fmla="*/ 238125 w 1116840"/>
                  <a:gd name="connsiteY51" fmla="*/ 14287 h 207169"/>
                  <a:gd name="connsiteX52" fmla="*/ 216694 w 1116840"/>
                  <a:gd name="connsiteY52" fmla="*/ 21431 h 207169"/>
                  <a:gd name="connsiteX53" fmla="*/ 195263 w 1116840"/>
                  <a:gd name="connsiteY53" fmla="*/ 26194 h 207169"/>
                  <a:gd name="connsiteX54" fmla="*/ 183357 w 1116840"/>
                  <a:gd name="connsiteY54" fmla="*/ 28575 h 207169"/>
                  <a:gd name="connsiteX55" fmla="*/ 147638 w 1116840"/>
                  <a:gd name="connsiteY55" fmla="*/ 38100 h 207169"/>
                  <a:gd name="connsiteX56" fmla="*/ 128588 w 1116840"/>
                  <a:gd name="connsiteY56" fmla="*/ 45244 h 207169"/>
                  <a:gd name="connsiteX57" fmla="*/ 109538 w 1116840"/>
                  <a:gd name="connsiteY57" fmla="*/ 50006 h 207169"/>
                  <a:gd name="connsiteX58" fmla="*/ 97632 w 1116840"/>
                  <a:gd name="connsiteY58" fmla="*/ 54769 h 207169"/>
                  <a:gd name="connsiteX59" fmla="*/ 80963 w 1116840"/>
                  <a:gd name="connsiteY59" fmla="*/ 57150 h 207169"/>
                  <a:gd name="connsiteX60" fmla="*/ 54769 w 1116840"/>
                  <a:gd name="connsiteY60" fmla="*/ 61912 h 207169"/>
                  <a:gd name="connsiteX61" fmla="*/ 47625 w 1116840"/>
                  <a:gd name="connsiteY61" fmla="*/ 64294 h 207169"/>
                  <a:gd name="connsiteX62" fmla="*/ 23813 w 1116840"/>
                  <a:gd name="connsiteY62" fmla="*/ 71437 h 207169"/>
                  <a:gd name="connsiteX63" fmla="*/ 9525 w 1116840"/>
                  <a:gd name="connsiteY63" fmla="*/ 80962 h 207169"/>
                  <a:gd name="connsiteX64" fmla="*/ 0 w 1116840"/>
                  <a:gd name="connsiteY64" fmla="*/ 104775 h 207169"/>
                  <a:gd name="connsiteX65" fmla="*/ 11907 w 1116840"/>
                  <a:gd name="connsiteY65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966788 w 1116840"/>
                  <a:gd name="connsiteY41" fmla="*/ 35719 h 207169"/>
                  <a:gd name="connsiteX42" fmla="*/ 857250 w 1116840"/>
                  <a:gd name="connsiteY42" fmla="*/ 21431 h 207169"/>
                  <a:gd name="connsiteX43" fmla="*/ 790575 w 1116840"/>
                  <a:gd name="connsiteY43" fmla="*/ 9525 h 207169"/>
                  <a:gd name="connsiteX44" fmla="*/ 702469 w 1116840"/>
                  <a:gd name="connsiteY44" fmla="*/ 7144 h 207169"/>
                  <a:gd name="connsiteX45" fmla="*/ 559594 w 1116840"/>
                  <a:gd name="connsiteY45" fmla="*/ 0 h 207169"/>
                  <a:gd name="connsiteX46" fmla="*/ 338138 w 1116840"/>
                  <a:gd name="connsiteY46" fmla="*/ 2381 h 207169"/>
                  <a:gd name="connsiteX47" fmla="*/ 295275 w 1116840"/>
                  <a:gd name="connsiteY47" fmla="*/ 7144 h 207169"/>
                  <a:gd name="connsiteX48" fmla="*/ 278607 w 1116840"/>
                  <a:gd name="connsiteY48" fmla="*/ 9525 h 207169"/>
                  <a:gd name="connsiteX49" fmla="*/ 269082 w 1116840"/>
                  <a:gd name="connsiteY49" fmla="*/ 11906 h 207169"/>
                  <a:gd name="connsiteX50" fmla="*/ 238125 w 1116840"/>
                  <a:gd name="connsiteY50" fmla="*/ 14287 h 207169"/>
                  <a:gd name="connsiteX51" fmla="*/ 216694 w 1116840"/>
                  <a:gd name="connsiteY51" fmla="*/ 21431 h 207169"/>
                  <a:gd name="connsiteX52" fmla="*/ 195263 w 1116840"/>
                  <a:gd name="connsiteY52" fmla="*/ 26194 h 207169"/>
                  <a:gd name="connsiteX53" fmla="*/ 183357 w 1116840"/>
                  <a:gd name="connsiteY53" fmla="*/ 28575 h 207169"/>
                  <a:gd name="connsiteX54" fmla="*/ 147638 w 1116840"/>
                  <a:gd name="connsiteY54" fmla="*/ 38100 h 207169"/>
                  <a:gd name="connsiteX55" fmla="*/ 128588 w 1116840"/>
                  <a:gd name="connsiteY55" fmla="*/ 45244 h 207169"/>
                  <a:gd name="connsiteX56" fmla="*/ 109538 w 1116840"/>
                  <a:gd name="connsiteY56" fmla="*/ 50006 h 207169"/>
                  <a:gd name="connsiteX57" fmla="*/ 97632 w 1116840"/>
                  <a:gd name="connsiteY57" fmla="*/ 54769 h 207169"/>
                  <a:gd name="connsiteX58" fmla="*/ 80963 w 1116840"/>
                  <a:gd name="connsiteY58" fmla="*/ 57150 h 207169"/>
                  <a:gd name="connsiteX59" fmla="*/ 54769 w 1116840"/>
                  <a:gd name="connsiteY59" fmla="*/ 61912 h 207169"/>
                  <a:gd name="connsiteX60" fmla="*/ 47625 w 1116840"/>
                  <a:gd name="connsiteY60" fmla="*/ 64294 h 207169"/>
                  <a:gd name="connsiteX61" fmla="*/ 23813 w 1116840"/>
                  <a:gd name="connsiteY61" fmla="*/ 71437 h 207169"/>
                  <a:gd name="connsiteX62" fmla="*/ 9525 w 1116840"/>
                  <a:gd name="connsiteY62" fmla="*/ 80962 h 207169"/>
                  <a:gd name="connsiteX63" fmla="*/ 0 w 1116840"/>
                  <a:gd name="connsiteY63" fmla="*/ 104775 h 207169"/>
                  <a:gd name="connsiteX64" fmla="*/ 11907 w 1116840"/>
                  <a:gd name="connsiteY64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966788 w 1116840"/>
                  <a:gd name="connsiteY40" fmla="*/ 35719 h 207169"/>
                  <a:gd name="connsiteX41" fmla="*/ 857250 w 1116840"/>
                  <a:gd name="connsiteY41" fmla="*/ 21431 h 207169"/>
                  <a:gd name="connsiteX42" fmla="*/ 790575 w 1116840"/>
                  <a:gd name="connsiteY42" fmla="*/ 9525 h 207169"/>
                  <a:gd name="connsiteX43" fmla="*/ 702469 w 1116840"/>
                  <a:gd name="connsiteY43" fmla="*/ 7144 h 207169"/>
                  <a:gd name="connsiteX44" fmla="*/ 559594 w 1116840"/>
                  <a:gd name="connsiteY44" fmla="*/ 0 h 207169"/>
                  <a:gd name="connsiteX45" fmla="*/ 338138 w 1116840"/>
                  <a:gd name="connsiteY45" fmla="*/ 2381 h 207169"/>
                  <a:gd name="connsiteX46" fmla="*/ 295275 w 1116840"/>
                  <a:gd name="connsiteY46" fmla="*/ 7144 h 207169"/>
                  <a:gd name="connsiteX47" fmla="*/ 278607 w 1116840"/>
                  <a:gd name="connsiteY47" fmla="*/ 9525 h 207169"/>
                  <a:gd name="connsiteX48" fmla="*/ 269082 w 1116840"/>
                  <a:gd name="connsiteY48" fmla="*/ 11906 h 207169"/>
                  <a:gd name="connsiteX49" fmla="*/ 238125 w 1116840"/>
                  <a:gd name="connsiteY49" fmla="*/ 14287 h 207169"/>
                  <a:gd name="connsiteX50" fmla="*/ 216694 w 1116840"/>
                  <a:gd name="connsiteY50" fmla="*/ 21431 h 207169"/>
                  <a:gd name="connsiteX51" fmla="*/ 195263 w 1116840"/>
                  <a:gd name="connsiteY51" fmla="*/ 26194 h 207169"/>
                  <a:gd name="connsiteX52" fmla="*/ 183357 w 1116840"/>
                  <a:gd name="connsiteY52" fmla="*/ 28575 h 207169"/>
                  <a:gd name="connsiteX53" fmla="*/ 147638 w 1116840"/>
                  <a:gd name="connsiteY53" fmla="*/ 38100 h 207169"/>
                  <a:gd name="connsiteX54" fmla="*/ 128588 w 1116840"/>
                  <a:gd name="connsiteY54" fmla="*/ 45244 h 207169"/>
                  <a:gd name="connsiteX55" fmla="*/ 109538 w 1116840"/>
                  <a:gd name="connsiteY55" fmla="*/ 50006 h 207169"/>
                  <a:gd name="connsiteX56" fmla="*/ 97632 w 1116840"/>
                  <a:gd name="connsiteY56" fmla="*/ 54769 h 207169"/>
                  <a:gd name="connsiteX57" fmla="*/ 80963 w 1116840"/>
                  <a:gd name="connsiteY57" fmla="*/ 57150 h 207169"/>
                  <a:gd name="connsiteX58" fmla="*/ 54769 w 1116840"/>
                  <a:gd name="connsiteY58" fmla="*/ 61912 h 207169"/>
                  <a:gd name="connsiteX59" fmla="*/ 47625 w 1116840"/>
                  <a:gd name="connsiteY59" fmla="*/ 64294 h 207169"/>
                  <a:gd name="connsiteX60" fmla="*/ 23813 w 1116840"/>
                  <a:gd name="connsiteY60" fmla="*/ 71437 h 207169"/>
                  <a:gd name="connsiteX61" fmla="*/ 9525 w 1116840"/>
                  <a:gd name="connsiteY61" fmla="*/ 80962 h 207169"/>
                  <a:gd name="connsiteX62" fmla="*/ 0 w 1116840"/>
                  <a:gd name="connsiteY62" fmla="*/ 104775 h 207169"/>
                  <a:gd name="connsiteX63" fmla="*/ 11907 w 1116840"/>
                  <a:gd name="connsiteY63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966788 w 1116840"/>
                  <a:gd name="connsiteY39" fmla="*/ 35719 h 207169"/>
                  <a:gd name="connsiteX40" fmla="*/ 857250 w 1116840"/>
                  <a:gd name="connsiteY40" fmla="*/ 21431 h 207169"/>
                  <a:gd name="connsiteX41" fmla="*/ 790575 w 1116840"/>
                  <a:gd name="connsiteY41" fmla="*/ 9525 h 207169"/>
                  <a:gd name="connsiteX42" fmla="*/ 702469 w 1116840"/>
                  <a:gd name="connsiteY42" fmla="*/ 7144 h 207169"/>
                  <a:gd name="connsiteX43" fmla="*/ 559594 w 1116840"/>
                  <a:gd name="connsiteY43" fmla="*/ 0 h 207169"/>
                  <a:gd name="connsiteX44" fmla="*/ 338138 w 1116840"/>
                  <a:gd name="connsiteY44" fmla="*/ 2381 h 207169"/>
                  <a:gd name="connsiteX45" fmla="*/ 295275 w 1116840"/>
                  <a:gd name="connsiteY45" fmla="*/ 7144 h 207169"/>
                  <a:gd name="connsiteX46" fmla="*/ 278607 w 1116840"/>
                  <a:gd name="connsiteY46" fmla="*/ 9525 h 207169"/>
                  <a:gd name="connsiteX47" fmla="*/ 269082 w 1116840"/>
                  <a:gd name="connsiteY47" fmla="*/ 11906 h 207169"/>
                  <a:gd name="connsiteX48" fmla="*/ 238125 w 1116840"/>
                  <a:gd name="connsiteY48" fmla="*/ 14287 h 207169"/>
                  <a:gd name="connsiteX49" fmla="*/ 216694 w 1116840"/>
                  <a:gd name="connsiteY49" fmla="*/ 21431 h 207169"/>
                  <a:gd name="connsiteX50" fmla="*/ 195263 w 1116840"/>
                  <a:gd name="connsiteY50" fmla="*/ 26194 h 207169"/>
                  <a:gd name="connsiteX51" fmla="*/ 183357 w 1116840"/>
                  <a:gd name="connsiteY51" fmla="*/ 28575 h 207169"/>
                  <a:gd name="connsiteX52" fmla="*/ 147638 w 1116840"/>
                  <a:gd name="connsiteY52" fmla="*/ 38100 h 207169"/>
                  <a:gd name="connsiteX53" fmla="*/ 128588 w 1116840"/>
                  <a:gd name="connsiteY53" fmla="*/ 45244 h 207169"/>
                  <a:gd name="connsiteX54" fmla="*/ 109538 w 1116840"/>
                  <a:gd name="connsiteY54" fmla="*/ 50006 h 207169"/>
                  <a:gd name="connsiteX55" fmla="*/ 97632 w 1116840"/>
                  <a:gd name="connsiteY55" fmla="*/ 54769 h 207169"/>
                  <a:gd name="connsiteX56" fmla="*/ 80963 w 1116840"/>
                  <a:gd name="connsiteY56" fmla="*/ 57150 h 207169"/>
                  <a:gd name="connsiteX57" fmla="*/ 54769 w 1116840"/>
                  <a:gd name="connsiteY57" fmla="*/ 61912 h 207169"/>
                  <a:gd name="connsiteX58" fmla="*/ 47625 w 1116840"/>
                  <a:gd name="connsiteY58" fmla="*/ 64294 h 207169"/>
                  <a:gd name="connsiteX59" fmla="*/ 23813 w 1116840"/>
                  <a:gd name="connsiteY59" fmla="*/ 71437 h 207169"/>
                  <a:gd name="connsiteX60" fmla="*/ 9525 w 1116840"/>
                  <a:gd name="connsiteY60" fmla="*/ 80962 h 207169"/>
                  <a:gd name="connsiteX61" fmla="*/ 0 w 1116840"/>
                  <a:gd name="connsiteY61" fmla="*/ 104775 h 207169"/>
                  <a:gd name="connsiteX62" fmla="*/ 11907 w 1116840"/>
                  <a:gd name="connsiteY62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83469 w 1117890"/>
                  <a:gd name="connsiteY32" fmla="*/ 130969 h 207169"/>
                  <a:gd name="connsiteX33" fmla="*/ 1090613 w 1117890"/>
                  <a:gd name="connsiteY33" fmla="*/ 123825 h 207169"/>
                  <a:gd name="connsiteX34" fmla="*/ 1100138 w 1117890"/>
                  <a:gd name="connsiteY34" fmla="*/ 119062 h 207169"/>
                  <a:gd name="connsiteX35" fmla="*/ 1116807 w 1117890"/>
                  <a:gd name="connsiteY35" fmla="*/ 95250 h 207169"/>
                  <a:gd name="connsiteX36" fmla="*/ 1114425 w 1117890"/>
                  <a:gd name="connsiteY36" fmla="*/ 85725 h 207169"/>
                  <a:gd name="connsiteX37" fmla="*/ 1054894 w 1117890"/>
                  <a:gd name="connsiteY37" fmla="*/ 61912 h 207169"/>
                  <a:gd name="connsiteX38" fmla="*/ 966788 w 1117890"/>
                  <a:gd name="connsiteY38" fmla="*/ 35719 h 207169"/>
                  <a:gd name="connsiteX39" fmla="*/ 857250 w 1117890"/>
                  <a:gd name="connsiteY39" fmla="*/ 21431 h 207169"/>
                  <a:gd name="connsiteX40" fmla="*/ 790575 w 1117890"/>
                  <a:gd name="connsiteY40" fmla="*/ 9525 h 207169"/>
                  <a:gd name="connsiteX41" fmla="*/ 702469 w 1117890"/>
                  <a:gd name="connsiteY41" fmla="*/ 7144 h 207169"/>
                  <a:gd name="connsiteX42" fmla="*/ 559594 w 1117890"/>
                  <a:gd name="connsiteY42" fmla="*/ 0 h 207169"/>
                  <a:gd name="connsiteX43" fmla="*/ 338138 w 1117890"/>
                  <a:gd name="connsiteY43" fmla="*/ 2381 h 207169"/>
                  <a:gd name="connsiteX44" fmla="*/ 295275 w 1117890"/>
                  <a:gd name="connsiteY44" fmla="*/ 7144 h 207169"/>
                  <a:gd name="connsiteX45" fmla="*/ 278607 w 1117890"/>
                  <a:gd name="connsiteY45" fmla="*/ 9525 h 207169"/>
                  <a:gd name="connsiteX46" fmla="*/ 269082 w 1117890"/>
                  <a:gd name="connsiteY46" fmla="*/ 11906 h 207169"/>
                  <a:gd name="connsiteX47" fmla="*/ 238125 w 1117890"/>
                  <a:gd name="connsiteY47" fmla="*/ 14287 h 207169"/>
                  <a:gd name="connsiteX48" fmla="*/ 216694 w 1117890"/>
                  <a:gd name="connsiteY48" fmla="*/ 21431 h 207169"/>
                  <a:gd name="connsiteX49" fmla="*/ 195263 w 1117890"/>
                  <a:gd name="connsiteY49" fmla="*/ 26194 h 207169"/>
                  <a:gd name="connsiteX50" fmla="*/ 183357 w 1117890"/>
                  <a:gd name="connsiteY50" fmla="*/ 28575 h 207169"/>
                  <a:gd name="connsiteX51" fmla="*/ 147638 w 1117890"/>
                  <a:gd name="connsiteY51" fmla="*/ 38100 h 207169"/>
                  <a:gd name="connsiteX52" fmla="*/ 128588 w 1117890"/>
                  <a:gd name="connsiteY52" fmla="*/ 45244 h 207169"/>
                  <a:gd name="connsiteX53" fmla="*/ 109538 w 1117890"/>
                  <a:gd name="connsiteY53" fmla="*/ 50006 h 207169"/>
                  <a:gd name="connsiteX54" fmla="*/ 97632 w 1117890"/>
                  <a:gd name="connsiteY54" fmla="*/ 54769 h 207169"/>
                  <a:gd name="connsiteX55" fmla="*/ 80963 w 1117890"/>
                  <a:gd name="connsiteY55" fmla="*/ 57150 h 207169"/>
                  <a:gd name="connsiteX56" fmla="*/ 54769 w 1117890"/>
                  <a:gd name="connsiteY56" fmla="*/ 61912 h 207169"/>
                  <a:gd name="connsiteX57" fmla="*/ 47625 w 1117890"/>
                  <a:gd name="connsiteY57" fmla="*/ 64294 h 207169"/>
                  <a:gd name="connsiteX58" fmla="*/ 23813 w 1117890"/>
                  <a:gd name="connsiteY58" fmla="*/ 71437 h 207169"/>
                  <a:gd name="connsiteX59" fmla="*/ 9525 w 1117890"/>
                  <a:gd name="connsiteY59" fmla="*/ 80962 h 207169"/>
                  <a:gd name="connsiteX60" fmla="*/ 0 w 1117890"/>
                  <a:gd name="connsiteY60" fmla="*/ 104775 h 207169"/>
                  <a:gd name="connsiteX61" fmla="*/ 11907 w 1117890"/>
                  <a:gd name="connsiteY61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90613 w 1117890"/>
                  <a:gd name="connsiteY32" fmla="*/ 123825 h 207169"/>
                  <a:gd name="connsiteX33" fmla="*/ 1100138 w 1117890"/>
                  <a:gd name="connsiteY33" fmla="*/ 119062 h 207169"/>
                  <a:gd name="connsiteX34" fmla="*/ 1116807 w 1117890"/>
                  <a:gd name="connsiteY34" fmla="*/ 95250 h 207169"/>
                  <a:gd name="connsiteX35" fmla="*/ 1114425 w 1117890"/>
                  <a:gd name="connsiteY35" fmla="*/ 85725 h 207169"/>
                  <a:gd name="connsiteX36" fmla="*/ 1054894 w 1117890"/>
                  <a:gd name="connsiteY36" fmla="*/ 61912 h 207169"/>
                  <a:gd name="connsiteX37" fmla="*/ 966788 w 1117890"/>
                  <a:gd name="connsiteY37" fmla="*/ 35719 h 207169"/>
                  <a:gd name="connsiteX38" fmla="*/ 857250 w 1117890"/>
                  <a:gd name="connsiteY38" fmla="*/ 21431 h 207169"/>
                  <a:gd name="connsiteX39" fmla="*/ 790575 w 1117890"/>
                  <a:gd name="connsiteY39" fmla="*/ 9525 h 207169"/>
                  <a:gd name="connsiteX40" fmla="*/ 702469 w 1117890"/>
                  <a:gd name="connsiteY40" fmla="*/ 7144 h 207169"/>
                  <a:gd name="connsiteX41" fmla="*/ 559594 w 1117890"/>
                  <a:gd name="connsiteY41" fmla="*/ 0 h 207169"/>
                  <a:gd name="connsiteX42" fmla="*/ 338138 w 1117890"/>
                  <a:gd name="connsiteY42" fmla="*/ 2381 h 207169"/>
                  <a:gd name="connsiteX43" fmla="*/ 295275 w 1117890"/>
                  <a:gd name="connsiteY43" fmla="*/ 7144 h 207169"/>
                  <a:gd name="connsiteX44" fmla="*/ 278607 w 1117890"/>
                  <a:gd name="connsiteY44" fmla="*/ 9525 h 207169"/>
                  <a:gd name="connsiteX45" fmla="*/ 269082 w 1117890"/>
                  <a:gd name="connsiteY45" fmla="*/ 11906 h 207169"/>
                  <a:gd name="connsiteX46" fmla="*/ 238125 w 1117890"/>
                  <a:gd name="connsiteY46" fmla="*/ 14287 h 207169"/>
                  <a:gd name="connsiteX47" fmla="*/ 216694 w 1117890"/>
                  <a:gd name="connsiteY47" fmla="*/ 21431 h 207169"/>
                  <a:gd name="connsiteX48" fmla="*/ 195263 w 1117890"/>
                  <a:gd name="connsiteY48" fmla="*/ 26194 h 207169"/>
                  <a:gd name="connsiteX49" fmla="*/ 183357 w 1117890"/>
                  <a:gd name="connsiteY49" fmla="*/ 28575 h 207169"/>
                  <a:gd name="connsiteX50" fmla="*/ 147638 w 1117890"/>
                  <a:gd name="connsiteY50" fmla="*/ 38100 h 207169"/>
                  <a:gd name="connsiteX51" fmla="*/ 128588 w 1117890"/>
                  <a:gd name="connsiteY51" fmla="*/ 45244 h 207169"/>
                  <a:gd name="connsiteX52" fmla="*/ 109538 w 1117890"/>
                  <a:gd name="connsiteY52" fmla="*/ 50006 h 207169"/>
                  <a:gd name="connsiteX53" fmla="*/ 97632 w 1117890"/>
                  <a:gd name="connsiteY53" fmla="*/ 54769 h 207169"/>
                  <a:gd name="connsiteX54" fmla="*/ 80963 w 1117890"/>
                  <a:gd name="connsiteY54" fmla="*/ 57150 h 207169"/>
                  <a:gd name="connsiteX55" fmla="*/ 54769 w 1117890"/>
                  <a:gd name="connsiteY55" fmla="*/ 61912 h 207169"/>
                  <a:gd name="connsiteX56" fmla="*/ 47625 w 1117890"/>
                  <a:gd name="connsiteY56" fmla="*/ 64294 h 207169"/>
                  <a:gd name="connsiteX57" fmla="*/ 23813 w 1117890"/>
                  <a:gd name="connsiteY57" fmla="*/ 71437 h 207169"/>
                  <a:gd name="connsiteX58" fmla="*/ 9525 w 1117890"/>
                  <a:gd name="connsiteY58" fmla="*/ 80962 h 207169"/>
                  <a:gd name="connsiteX59" fmla="*/ 0 w 1117890"/>
                  <a:gd name="connsiteY59" fmla="*/ 104775 h 207169"/>
                  <a:gd name="connsiteX60" fmla="*/ 11907 w 1117890"/>
                  <a:gd name="connsiteY60" fmla="*/ 111919 h 207169"/>
                  <a:gd name="connsiteX0" fmla="*/ 11907 w 1118595"/>
                  <a:gd name="connsiteY0" fmla="*/ 111919 h 207169"/>
                  <a:gd name="connsiteX1" fmla="*/ 23813 w 1118595"/>
                  <a:gd name="connsiteY1" fmla="*/ 121444 h 207169"/>
                  <a:gd name="connsiteX2" fmla="*/ 28575 w 1118595"/>
                  <a:gd name="connsiteY2" fmla="*/ 128587 h 207169"/>
                  <a:gd name="connsiteX3" fmla="*/ 40482 w 1118595"/>
                  <a:gd name="connsiteY3" fmla="*/ 135731 h 207169"/>
                  <a:gd name="connsiteX4" fmla="*/ 47625 w 1118595"/>
                  <a:gd name="connsiteY4" fmla="*/ 140494 h 207169"/>
                  <a:gd name="connsiteX5" fmla="*/ 78582 w 1118595"/>
                  <a:gd name="connsiteY5" fmla="*/ 145256 h 207169"/>
                  <a:gd name="connsiteX6" fmla="*/ 104775 w 1118595"/>
                  <a:gd name="connsiteY6" fmla="*/ 150019 h 207169"/>
                  <a:gd name="connsiteX7" fmla="*/ 128588 w 1118595"/>
                  <a:gd name="connsiteY7" fmla="*/ 152400 h 207169"/>
                  <a:gd name="connsiteX8" fmla="*/ 161925 w 1118595"/>
                  <a:gd name="connsiteY8" fmla="*/ 161925 h 207169"/>
                  <a:gd name="connsiteX9" fmla="*/ 178594 w 1118595"/>
                  <a:gd name="connsiteY9" fmla="*/ 164306 h 207169"/>
                  <a:gd name="connsiteX10" fmla="*/ 202407 w 1118595"/>
                  <a:gd name="connsiteY10" fmla="*/ 169069 h 207169"/>
                  <a:gd name="connsiteX11" fmla="*/ 209550 w 1118595"/>
                  <a:gd name="connsiteY11" fmla="*/ 171450 h 207169"/>
                  <a:gd name="connsiteX12" fmla="*/ 238125 w 1118595"/>
                  <a:gd name="connsiteY12" fmla="*/ 178594 h 207169"/>
                  <a:gd name="connsiteX13" fmla="*/ 285750 w 1118595"/>
                  <a:gd name="connsiteY13" fmla="*/ 192881 h 207169"/>
                  <a:gd name="connsiteX14" fmla="*/ 378619 w 1118595"/>
                  <a:gd name="connsiteY14" fmla="*/ 195262 h 207169"/>
                  <a:gd name="connsiteX15" fmla="*/ 402432 w 1118595"/>
                  <a:gd name="connsiteY15" fmla="*/ 200025 h 207169"/>
                  <a:gd name="connsiteX16" fmla="*/ 457200 w 1118595"/>
                  <a:gd name="connsiteY16" fmla="*/ 207169 h 207169"/>
                  <a:gd name="connsiteX17" fmla="*/ 604838 w 1118595"/>
                  <a:gd name="connsiteY17" fmla="*/ 204787 h 207169"/>
                  <a:gd name="connsiteX18" fmla="*/ 623888 w 1118595"/>
                  <a:gd name="connsiteY18" fmla="*/ 200025 h 207169"/>
                  <a:gd name="connsiteX19" fmla="*/ 676275 w 1118595"/>
                  <a:gd name="connsiteY19" fmla="*/ 197644 h 207169"/>
                  <a:gd name="connsiteX20" fmla="*/ 697707 w 1118595"/>
                  <a:gd name="connsiteY20" fmla="*/ 192881 h 207169"/>
                  <a:gd name="connsiteX21" fmla="*/ 707232 w 1118595"/>
                  <a:gd name="connsiteY21" fmla="*/ 190500 h 207169"/>
                  <a:gd name="connsiteX22" fmla="*/ 797719 w 1118595"/>
                  <a:gd name="connsiteY22" fmla="*/ 188119 h 207169"/>
                  <a:gd name="connsiteX23" fmla="*/ 823913 w 1118595"/>
                  <a:gd name="connsiteY23" fmla="*/ 180975 h 207169"/>
                  <a:gd name="connsiteX24" fmla="*/ 842963 w 1118595"/>
                  <a:gd name="connsiteY24" fmla="*/ 176212 h 207169"/>
                  <a:gd name="connsiteX25" fmla="*/ 866775 w 1118595"/>
                  <a:gd name="connsiteY25" fmla="*/ 173831 h 207169"/>
                  <a:gd name="connsiteX26" fmla="*/ 940594 w 1118595"/>
                  <a:gd name="connsiteY26" fmla="*/ 169069 h 207169"/>
                  <a:gd name="connsiteX27" fmla="*/ 971550 w 1118595"/>
                  <a:gd name="connsiteY27" fmla="*/ 166687 h 207169"/>
                  <a:gd name="connsiteX28" fmla="*/ 992982 w 1118595"/>
                  <a:gd name="connsiteY28" fmla="*/ 161925 h 207169"/>
                  <a:gd name="connsiteX29" fmla="*/ 1007269 w 1118595"/>
                  <a:gd name="connsiteY29" fmla="*/ 159544 h 207169"/>
                  <a:gd name="connsiteX30" fmla="*/ 1035844 w 1118595"/>
                  <a:gd name="connsiteY30" fmla="*/ 152400 h 207169"/>
                  <a:gd name="connsiteX31" fmla="*/ 1052513 w 1118595"/>
                  <a:gd name="connsiteY31" fmla="*/ 142875 h 207169"/>
                  <a:gd name="connsiteX32" fmla="*/ 1090613 w 1118595"/>
                  <a:gd name="connsiteY32" fmla="*/ 123825 h 207169"/>
                  <a:gd name="connsiteX33" fmla="*/ 1116807 w 1118595"/>
                  <a:gd name="connsiteY33" fmla="*/ 95250 h 207169"/>
                  <a:gd name="connsiteX34" fmla="*/ 1114425 w 1118595"/>
                  <a:gd name="connsiteY34" fmla="*/ 85725 h 207169"/>
                  <a:gd name="connsiteX35" fmla="*/ 1054894 w 1118595"/>
                  <a:gd name="connsiteY35" fmla="*/ 61912 h 207169"/>
                  <a:gd name="connsiteX36" fmla="*/ 966788 w 1118595"/>
                  <a:gd name="connsiteY36" fmla="*/ 35719 h 207169"/>
                  <a:gd name="connsiteX37" fmla="*/ 857250 w 1118595"/>
                  <a:gd name="connsiteY37" fmla="*/ 21431 h 207169"/>
                  <a:gd name="connsiteX38" fmla="*/ 790575 w 1118595"/>
                  <a:gd name="connsiteY38" fmla="*/ 9525 h 207169"/>
                  <a:gd name="connsiteX39" fmla="*/ 702469 w 1118595"/>
                  <a:gd name="connsiteY39" fmla="*/ 7144 h 207169"/>
                  <a:gd name="connsiteX40" fmla="*/ 559594 w 1118595"/>
                  <a:gd name="connsiteY40" fmla="*/ 0 h 207169"/>
                  <a:gd name="connsiteX41" fmla="*/ 338138 w 1118595"/>
                  <a:gd name="connsiteY41" fmla="*/ 2381 h 207169"/>
                  <a:gd name="connsiteX42" fmla="*/ 295275 w 1118595"/>
                  <a:gd name="connsiteY42" fmla="*/ 7144 h 207169"/>
                  <a:gd name="connsiteX43" fmla="*/ 278607 w 1118595"/>
                  <a:gd name="connsiteY43" fmla="*/ 9525 h 207169"/>
                  <a:gd name="connsiteX44" fmla="*/ 269082 w 1118595"/>
                  <a:gd name="connsiteY44" fmla="*/ 11906 h 207169"/>
                  <a:gd name="connsiteX45" fmla="*/ 238125 w 1118595"/>
                  <a:gd name="connsiteY45" fmla="*/ 14287 h 207169"/>
                  <a:gd name="connsiteX46" fmla="*/ 216694 w 1118595"/>
                  <a:gd name="connsiteY46" fmla="*/ 21431 h 207169"/>
                  <a:gd name="connsiteX47" fmla="*/ 195263 w 1118595"/>
                  <a:gd name="connsiteY47" fmla="*/ 26194 h 207169"/>
                  <a:gd name="connsiteX48" fmla="*/ 183357 w 1118595"/>
                  <a:gd name="connsiteY48" fmla="*/ 28575 h 207169"/>
                  <a:gd name="connsiteX49" fmla="*/ 147638 w 1118595"/>
                  <a:gd name="connsiteY49" fmla="*/ 38100 h 207169"/>
                  <a:gd name="connsiteX50" fmla="*/ 128588 w 1118595"/>
                  <a:gd name="connsiteY50" fmla="*/ 45244 h 207169"/>
                  <a:gd name="connsiteX51" fmla="*/ 109538 w 1118595"/>
                  <a:gd name="connsiteY51" fmla="*/ 50006 h 207169"/>
                  <a:gd name="connsiteX52" fmla="*/ 97632 w 1118595"/>
                  <a:gd name="connsiteY52" fmla="*/ 54769 h 207169"/>
                  <a:gd name="connsiteX53" fmla="*/ 80963 w 1118595"/>
                  <a:gd name="connsiteY53" fmla="*/ 57150 h 207169"/>
                  <a:gd name="connsiteX54" fmla="*/ 54769 w 1118595"/>
                  <a:gd name="connsiteY54" fmla="*/ 61912 h 207169"/>
                  <a:gd name="connsiteX55" fmla="*/ 47625 w 1118595"/>
                  <a:gd name="connsiteY55" fmla="*/ 64294 h 207169"/>
                  <a:gd name="connsiteX56" fmla="*/ 23813 w 1118595"/>
                  <a:gd name="connsiteY56" fmla="*/ 71437 h 207169"/>
                  <a:gd name="connsiteX57" fmla="*/ 9525 w 1118595"/>
                  <a:gd name="connsiteY57" fmla="*/ 80962 h 207169"/>
                  <a:gd name="connsiteX58" fmla="*/ 0 w 1118595"/>
                  <a:gd name="connsiteY58" fmla="*/ 104775 h 207169"/>
                  <a:gd name="connsiteX59" fmla="*/ 11907 w 1118595"/>
                  <a:gd name="connsiteY5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992982 w 1121416"/>
                  <a:gd name="connsiteY28" fmla="*/ 161925 h 207169"/>
                  <a:gd name="connsiteX29" fmla="*/ 1007269 w 1121416"/>
                  <a:gd name="connsiteY29" fmla="*/ 159544 h 207169"/>
                  <a:gd name="connsiteX30" fmla="*/ 1035844 w 1121416"/>
                  <a:gd name="connsiteY30" fmla="*/ 152400 h 207169"/>
                  <a:gd name="connsiteX31" fmla="*/ 1052513 w 1121416"/>
                  <a:gd name="connsiteY31" fmla="*/ 142875 h 207169"/>
                  <a:gd name="connsiteX32" fmla="*/ 1116807 w 1121416"/>
                  <a:gd name="connsiteY32" fmla="*/ 95250 h 207169"/>
                  <a:gd name="connsiteX33" fmla="*/ 1114425 w 1121416"/>
                  <a:gd name="connsiteY33" fmla="*/ 85725 h 207169"/>
                  <a:gd name="connsiteX34" fmla="*/ 1054894 w 1121416"/>
                  <a:gd name="connsiteY34" fmla="*/ 61912 h 207169"/>
                  <a:gd name="connsiteX35" fmla="*/ 966788 w 1121416"/>
                  <a:gd name="connsiteY35" fmla="*/ 35719 h 207169"/>
                  <a:gd name="connsiteX36" fmla="*/ 857250 w 1121416"/>
                  <a:gd name="connsiteY36" fmla="*/ 21431 h 207169"/>
                  <a:gd name="connsiteX37" fmla="*/ 790575 w 1121416"/>
                  <a:gd name="connsiteY37" fmla="*/ 9525 h 207169"/>
                  <a:gd name="connsiteX38" fmla="*/ 702469 w 1121416"/>
                  <a:gd name="connsiteY38" fmla="*/ 7144 h 207169"/>
                  <a:gd name="connsiteX39" fmla="*/ 559594 w 1121416"/>
                  <a:gd name="connsiteY39" fmla="*/ 0 h 207169"/>
                  <a:gd name="connsiteX40" fmla="*/ 338138 w 1121416"/>
                  <a:gd name="connsiteY40" fmla="*/ 2381 h 207169"/>
                  <a:gd name="connsiteX41" fmla="*/ 295275 w 1121416"/>
                  <a:gd name="connsiteY41" fmla="*/ 7144 h 207169"/>
                  <a:gd name="connsiteX42" fmla="*/ 278607 w 1121416"/>
                  <a:gd name="connsiteY42" fmla="*/ 9525 h 207169"/>
                  <a:gd name="connsiteX43" fmla="*/ 269082 w 1121416"/>
                  <a:gd name="connsiteY43" fmla="*/ 11906 h 207169"/>
                  <a:gd name="connsiteX44" fmla="*/ 238125 w 1121416"/>
                  <a:gd name="connsiteY44" fmla="*/ 14287 h 207169"/>
                  <a:gd name="connsiteX45" fmla="*/ 216694 w 1121416"/>
                  <a:gd name="connsiteY45" fmla="*/ 21431 h 207169"/>
                  <a:gd name="connsiteX46" fmla="*/ 195263 w 1121416"/>
                  <a:gd name="connsiteY46" fmla="*/ 26194 h 207169"/>
                  <a:gd name="connsiteX47" fmla="*/ 183357 w 1121416"/>
                  <a:gd name="connsiteY47" fmla="*/ 28575 h 207169"/>
                  <a:gd name="connsiteX48" fmla="*/ 147638 w 1121416"/>
                  <a:gd name="connsiteY48" fmla="*/ 38100 h 207169"/>
                  <a:gd name="connsiteX49" fmla="*/ 128588 w 1121416"/>
                  <a:gd name="connsiteY49" fmla="*/ 45244 h 207169"/>
                  <a:gd name="connsiteX50" fmla="*/ 109538 w 1121416"/>
                  <a:gd name="connsiteY50" fmla="*/ 50006 h 207169"/>
                  <a:gd name="connsiteX51" fmla="*/ 97632 w 1121416"/>
                  <a:gd name="connsiteY51" fmla="*/ 54769 h 207169"/>
                  <a:gd name="connsiteX52" fmla="*/ 80963 w 1121416"/>
                  <a:gd name="connsiteY52" fmla="*/ 57150 h 207169"/>
                  <a:gd name="connsiteX53" fmla="*/ 54769 w 1121416"/>
                  <a:gd name="connsiteY53" fmla="*/ 61912 h 207169"/>
                  <a:gd name="connsiteX54" fmla="*/ 47625 w 1121416"/>
                  <a:gd name="connsiteY54" fmla="*/ 64294 h 207169"/>
                  <a:gd name="connsiteX55" fmla="*/ 23813 w 1121416"/>
                  <a:gd name="connsiteY55" fmla="*/ 71437 h 207169"/>
                  <a:gd name="connsiteX56" fmla="*/ 9525 w 1121416"/>
                  <a:gd name="connsiteY56" fmla="*/ 80962 h 207169"/>
                  <a:gd name="connsiteX57" fmla="*/ 0 w 1121416"/>
                  <a:gd name="connsiteY57" fmla="*/ 104775 h 207169"/>
                  <a:gd name="connsiteX58" fmla="*/ 11907 w 1121416"/>
                  <a:gd name="connsiteY5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07269 w 1121416"/>
                  <a:gd name="connsiteY28" fmla="*/ 159544 h 207169"/>
                  <a:gd name="connsiteX29" fmla="*/ 1035844 w 1121416"/>
                  <a:gd name="connsiteY29" fmla="*/ 152400 h 207169"/>
                  <a:gd name="connsiteX30" fmla="*/ 1052513 w 1121416"/>
                  <a:gd name="connsiteY30" fmla="*/ 142875 h 207169"/>
                  <a:gd name="connsiteX31" fmla="*/ 1116807 w 1121416"/>
                  <a:gd name="connsiteY31" fmla="*/ 95250 h 207169"/>
                  <a:gd name="connsiteX32" fmla="*/ 1114425 w 1121416"/>
                  <a:gd name="connsiteY32" fmla="*/ 85725 h 207169"/>
                  <a:gd name="connsiteX33" fmla="*/ 1054894 w 1121416"/>
                  <a:gd name="connsiteY33" fmla="*/ 61912 h 207169"/>
                  <a:gd name="connsiteX34" fmla="*/ 966788 w 1121416"/>
                  <a:gd name="connsiteY34" fmla="*/ 35719 h 207169"/>
                  <a:gd name="connsiteX35" fmla="*/ 857250 w 1121416"/>
                  <a:gd name="connsiteY35" fmla="*/ 21431 h 207169"/>
                  <a:gd name="connsiteX36" fmla="*/ 790575 w 1121416"/>
                  <a:gd name="connsiteY36" fmla="*/ 9525 h 207169"/>
                  <a:gd name="connsiteX37" fmla="*/ 702469 w 1121416"/>
                  <a:gd name="connsiteY37" fmla="*/ 7144 h 207169"/>
                  <a:gd name="connsiteX38" fmla="*/ 559594 w 1121416"/>
                  <a:gd name="connsiteY38" fmla="*/ 0 h 207169"/>
                  <a:gd name="connsiteX39" fmla="*/ 338138 w 1121416"/>
                  <a:gd name="connsiteY39" fmla="*/ 2381 h 207169"/>
                  <a:gd name="connsiteX40" fmla="*/ 295275 w 1121416"/>
                  <a:gd name="connsiteY40" fmla="*/ 7144 h 207169"/>
                  <a:gd name="connsiteX41" fmla="*/ 278607 w 1121416"/>
                  <a:gd name="connsiteY41" fmla="*/ 9525 h 207169"/>
                  <a:gd name="connsiteX42" fmla="*/ 269082 w 1121416"/>
                  <a:gd name="connsiteY42" fmla="*/ 11906 h 207169"/>
                  <a:gd name="connsiteX43" fmla="*/ 238125 w 1121416"/>
                  <a:gd name="connsiteY43" fmla="*/ 14287 h 207169"/>
                  <a:gd name="connsiteX44" fmla="*/ 216694 w 1121416"/>
                  <a:gd name="connsiteY44" fmla="*/ 21431 h 207169"/>
                  <a:gd name="connsiteX45" fmla="*/ 195263 w 1121416"/>
                  <a:gd name="connsiteY45" fmla="*/ 26194 h 207169"/>
                  <a:gd name="connsiteX46" fmla="*/ 183357 w 1121416"/>
                  <a:gd name="connsiteY46" fmla="*/ 28575 h 207169"/>
                  <a:gd name="connsiteX47" fmla="*/ 147638 w 1121416"/>
                  <a:gd name="connsiteY47" fmla="*/ 38100 h 207169"/>
                  <a:gd name="connsiteX48" fmla="*/ 128588 w 1121416"/>
                  <a:gd name="connsiteY48" fmla="*/ 45244 h 207169"/>
                  <a:gd name="connsiteX49" fmla="*/ 109538 w 1121416"/>
                  <a:gd name="connsiteY49" fmla="*/ 50006 h 207169"/>
                  <a:gd name="connsiteX50" fmla="*/ 97632 w 1121416"/>
                  <a:gd name="connsiteY50" fmla="*/ 54769 h 207169"/>
                  <a:gd name="connsiteX51" fmla="*/ 80963 w 1121416"/>
                  <a:gd name="connsiteY51" fmla="*/ 57150 h 207169"/>
                  <a:gd name="connsiteX52" fmla="*/ 54769 w 1121416"/>
                  <a:gd name="connsiteY52" fmla="*/ 61912 h 207169"/>
                  <a:gd name="connsiteX53" fmla="*/ 47625 w 1121416"/>
                  <a:gd name="connsiteY53" fmla="*/ 64294 h 207169"/>
                  <a:gd name="connsiteX54" fmla="*/ 23813 w 1121416"/>
                  <a:gd name="connsiteY54" fmla="*/ 71437 h 207169"/>
                  <a:gd name="connsiteX55" fmla="*/ 9525 w 1121416"/>
                  <a:gd name="connsiteY55" fmla="*/ 80962 h 207169"/>
                  <a:gd name="connsiteX56" fmla="*/ 0 w 1121416"/>
                  <a:gd name="connsiteY56" fmla="*/ 104775 h 207169"/>
                  <a:gd name="connsiteX57" fmla="*/ 11907 w 1121416"/>
                  <a:gd name="connsiteY5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35844 w 1121416"/>
                  <a:gd name="connsiteY28" fmla="*/ 152400 h 207169"/>
                  <a:gd name="connsiteX29" fmla="*/ 1052513 w 1121416"/>
                  <a:gd name="connsiteY29" fmla="*/ 142875 h 207169"/>
                  <a:gd name="connsiteX30" fmla="*/ 1116807 w 1121416"/>
                  <a:gd name="connsiteY30" fmla="*/ 95250 h 207169"/>
                  <a:gd name="connsiteX31" fmla="*/ 1114425 w 1121416"/>
                  <a:gd name="connsiteY31" fmla="*/ 85725 h 207169"/>
                  <a:gd name="connsiteX32" fmla="*/ 1054894 w 1121416"/>
                  <a:gd name="connsiteY32" fmla="*/ 61912 h 207169"/>
                  <a:gd name="connsiteX33" fmla="*/ 966788 w 1121416"/>
                  <a:gd name="connsiteY33" fmla="*/ 35719 h 207169"/>
                  <a:gd name="connsiteX34" fmla="*/ 857250 w 1121416"/>
                  <a:gd name="connsiteY34" fmla="*/ 21431 h 207169"/>
                  <a:gd name="connsiteX35" fmla="*/ 790575 w 1121416"/>
                  <a:gd name="connsiteY35" fmla="*/ 9525 h 207169"/>
                  <a:gd name="connsiteX36" fmla="*/ 702469 w 1121416"/>
                  <a:gd name="connsiteY36" fmla="*/ 7144 h 207169"/>
                  <a:gd name="connsiteX37" fmla="*/ 559594 w 1121416"/>
                  <a:gd name="connsiteY37" fmla="*/ 0 h 207169"/>
                  <a:gd name="connsiteX38" fmla="*/ 338138 w 1121416"/>
                  <a:gd name="connsiteY38" fmla="*/ 2381 h 207169"/>
                  <a:gd name="connsiteX39" fmla="*/ 295275 w 1121416"/>
                  <a:gd name="connsiteY39" fmla="*/ 7144 h 207169"/>
                  <a:gd name="connsiteX40" fmla="*/ 278607 w 1121416"/>
                  <a:gd name="connsiteY40" fmla="*/ 9525 h 207169"/>
                  <a:gd name="connsiteX41" fmla="*/ 269082 w 1121416"/>
                  <a:gd name="connsiteY41" fmla="*/ 11906 h 207169"/>
                  <a:gd name="connsiteX42" fmla="*/ 238125 w 1121416"/>
                  <a:gd name="connsiteY42" fmla="*/ 14287 h 207169"/>
                  <a:gd name="connsiteX43" fmla="*/ 216694 w 1121416"/>
                  <a:gd name="connsiteY43" fmla="*/ 21431 h 207169"/>
                  <a:gd name="connsiteX44" fmla="*/ 195263 w 1121416"/>
                  <a:gd name="connsiteY44" fmla="*/ 26194 h 207169"/>
                  <a:gd name="connsiteX45" fmla="*/ 183357 w 1121416"/>
                  <a:gd name="connsiteY45" fmla="*/ 28575 h 207169"/>
                  <a:gd name="connsiteX46" fmla="*/ 147638 w 1121416"/>
                  <a:gd name="connsiteY46" fmla="*/ 38100 h 207169"/>
                  <a:gd name="connsiteX47" fmla="*/ 128588 w 1121416"/>
                  <a:gd name="connsiteY47" fmla="*/ 45244 h 207169"/>
                  <a:gd name="connsiteX48" fmla="*/ 109538 w 1121416"/>
                  <a:gd name="connsiteY48" fmla="*/ 50006 h 207169"/>
                  <a:gd name="connsiteX49" fmla="*/ 97632 w 1121416"/>
                  <a:gd name="connsiteY49" fmla="*/ 54769 h 207169"/>
                  <a:gd name="connsiteX50" fmla="*/ 80963 w 1121416"/>
                  <a:gd name="connsiteY50" fmla="*/ 57150 h 207169"/>
                  <a:gd name="connsiteX51" fmla="*/ 54769 w 1121416"/>
                  <a:gd name="connsiteY51" fmla="*/ 61912 h 207169"/>
                  <a:gd name="connsiteX52" fmla="*/ 47625 w 1121416"/>
                  <a:gd name="connsiteY52" fmla="*/ 64294 h 207169"/>
                  <a:gd name="connsiteX53" fmla="*/ 23813 w 1121416"/>
                  <a:gd name="connsiteY53" fmla="*/ 71437 h 207169"/>
                  <a:gd name="connsiteX54" fmla="*/ 9525 w 1121416"/>
                  <a:gd name="connsiteY54" fmla="*/ 80962 h 207169"/>
                  <a:gd name="connsiteX55" fmla="*/ 0 w 1121416"/>
                  <a:gd name="connsiteY55" fmla="*/ 104775 h 207169"/>
                  <a:gd name="connsiteX56" fmla="*/ 11907 w 1121416"/>
                  <a:gd name="connsiteY5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52513 w 1121416"/>
                  <a:gd name="connsiteY28" fmla="*/ 142875 h 207169"/>
                  <a:gd name="connsiteX29" fmla="*/ 1116807 w 1121416"/>
                  <a:gd name="connsiteY29" fmla="*/ 95250 h 207169"/>
                  <a:gd name="connsiteX30" fmla="*/ 1114425 w 1121416"/>
                  <a:gd name="connsiteY30" fmla="*/ 85725 h 207169"/>
                  <a:gd name="connsiteX31" fmla="*/ 1054894 w 1121416"/>
                  <a:gd name="connsiteY31" fmla="*/ 61912 h 207169"/>
                  <a:gd name="connsiteX32" fmla="*/ 966788 w 1121416"/>
                  <a:gd name="connsiteY32" fmla="*/ 35719 h 207169"/>
                  <a:gd name="connsiteX33" fmla="*/ 857250 w 1121416"/>
                  <a:gd name="connsiteY33" fmla="*/ 21431 h 207169"/>
                  <a:gd name="connsiteX34" fmla="*/ 790575 w 1121416"/>
                  <a:gd name="connsiteY34" fmla="*/ 9525 h 207169"/>
                  <a:gd name="connsiteX35" fmla="*/ 702469 w 1121416"/>
                  <a:gd name="connsiteY35" fmla="*/ 7144 h 207169"/>
                  <a:gd name="connsiteX36" fmla="*/ 559594 w 1121416"/>
                  <a:gd name="connsiteY36" fmla="*/ 0 h 207169"/>
                  <a:gd name="connsiteX37" fmla="*/ 338138 w 1121416"/>
                  <a:gd name="connsiteY37" fmla="*/ 2381 h 207169"/>
                  <a:gd name="connsiteX38" fmla="*/ 295275 w 1121416"/>
                  <a:gd name="connsiteY38" fmla="*/ 7144 h 207169"/>
                  <a:gd name="connsiteX39" fmla="*/ 278607 w 1121416"/>
                  <a:gd name="connsiteY39" fmla="*/ 9525 h 207169"/>
                  <a:gd name="connsiteX40" fmla="*/ 269082 w 1121416"/>
                  <a:gd name="connsiteY40" fmla="*/ 11906 h 207169"/>
                  <a:gd name="connsiteX41" fmla="*/ 238125 w 1121416"/>
                  <a:gd name="connsiteY41" fmla="*/ 14287 h 207169"/>
                  <a:gd name="connsiteX42" fmla="*/ 216694 w 1121416"/>
                  <a:gd name="connsiteY42" fmla="*/ 21431 h 207169"/>
                  <a:gd name="connsiteX43" fmla="*/ 195263 w 1121416"/>
                  <a:gd name="connsiteY43" fmla="*/ 26194 h 207169"/>
                  <a:gd name="connsiteX44" fmla="*/ 183357 w 1121416"/>
                  <a:gd name="connsiteY44" fmla="*/ 28575 h 207169"/>
                  <a:gd name="connsiteX45" fmla="*/ 147638 w 1121416"/>
                  <a:gd name="connsiteY45" fmla="*/ 38100 h 207169"/>
                  <a:gd name="connsiteX46" fmla="*/ 128588 w 1121416"/>
                  <a:gd name="connsiteY46" fmla="*/ 45244 h 207169"/>
                  <a:gd name="connsiteX47" fmla="*/ 109538 w 1121416"/>
                  <a:gd name="connsiteY47" fmla="*/ 50006 h 207169"/>
                  <a:gd name="connsiteX48" fmla="*/ 97632 w 1121416"/>
                  <a:gd name="connsiteY48" fmla="*/ 54769 h 207169"/>
                  <a:gd name="connsiteX49" fmla="*/ 80963 w 1121416"/>
                  <a:gd name="connsiteY49" fmla="*/ 57150 h 207169"/>
                  <a:gd name="connsiteX50" fmla="*/ 54769 w 1121416"/>
                  <a:gd name="connsiteY50" fmla="*/ 61912 h 207169"/>
                  <a:gd name="connsiteX51" fmla="*/ 47625 w 1121416"/>
                  <a:gd name="connsiteY51" fmla="*/ 64294 h 207169"/>
                  <a:gd name="connsiteX52" fmla="*/ 23813 w 1121416"/>
                  <a:gd name="connsiteY52" fmla="*/ 71437 h 207169"/>
                  <a:gd name="connsiteX53" fmla="*/ 9525 w 1121416"/>
                  <a:gd name="connsiteY53" fmla="*/ 80962 h 207169"/>
                  <a:gd name="connsiteX54" fmla="*/ 0 w 1121416"/>
                  <a:gd name="connsiteY54" fmla="*/ 104775 h 207169"/>
                  <a:gd name="connsiteX55" fmla="*/ 11907 w 1121416"/>
                  <a:gd name="connsiteY5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66775 w 1121416"/>
                  <a:gd name="connsiteY24" fmla="*/ 173831 h 207169"/>
                  <a:gd name="connsiteX25" fmla="*/ 940594 w 1121416"/>
                  <a:gd name="connsiteY25" fmla="*/ 169069 h 207169"/>
                  <a:gd name="connsiteX26" fmla="*/ 971550 w 1121416"/>
                  <a:gd name="connsiteY26" fmla="*/ 166687 h 207169"/>
                  <a:gd name="connsiteX27" fmla="*/ 1052513 w 1121416"/>
                  <a:gd name="connsiteY27" fmla="*/ 142875 h 207169"/>
                  <a:gd name="connsiteX28" fmla="*/ 1116807 w 1121416"/>
                  <a:gd name="connsiteY28" fmla="*/ 95250 h 207169"/>
                  <a:gd name="connsiteX29" fmla="*/ 1114425 w 1121416"/>
                  <a:gd name="connsiteY29" fmla="*/ 85725 h 207169"/>
                  <a:gd name="connsiteX30" fmla="*/ 1054894 w 1121416"/>
                  <a:gd name="connsiteY30" fmla="*/ 61912 h 207169"/>
                  <a:gd name="connsiteX31" fmla="*/ 966788 w 1121416"/>
                  <a:gd name="connsiteY31" fmla="*/ 35719 h 207169"/>
                  <a:gd name="connsiteX32" fmla="*/ 857250 w 1121416"/>
                  <a:gd name="connsiteY32" fmla="*/ 21431 h 207169"/>
                  <a:gd name="connsiteX33" fmla="*/ 790575 w 1121416"/>
                  <a:gd name="connsiteY33" fmla="*/ 9525 h 207169"/>
                  <a:gd name="connsiteX34" fmla="*/ 702469 w 1121416"/>
                  <a:gd name="connsiteY34" fmla="*/ 7144 h 207169"/>
                  <a:gd name="connsiteX35" fmla="*/ 559594 w 1121416"/>
                  <a:gd name="connsiteY35" fmla="*/ 0 h 207169"/>
                  <a:gd name="connsiteX36" fmla="*/ 338138 w 1121416"/>
                  <a:gd name="connsiteY36" fmla="*/ 2381 h 207169"/>
                  <a:gd name="connsiteX37" fmla="*/ 295275 w 1121416"/>
                  <a:gd name="connsiteY37" fmla="*/ 7144 h 207169"/>
                  <a:gd name="connsiteX38" fmla="*/ 278607 w 1121416"/>
                  <a:gd name="connsiteY38" fmla="*/ 9525 h 207169"/>
                  <a:gd name="connsiteX39" fmla="*/ 269082 w 1121416"/>
                  <a:gd name="connsiteY39" fmla="*/ 11906 h 207169"/>
                  <a:gd name="connsiteX40" fmla="*/ 238125 w 1121416"/>
                  <a:gd name="connsiteY40" fmla="*/ 14287 h 207169"/>
                  <a:gd name="connsiteX41" fmla="*/ 216694 w 1121416"/>
                  <a:gd name="connsiteY41" fmla="*/ 21431 h 207169"/>
                  <a:gd name="connsiteX42" fmla="*/ 195263 w 1121416"/>
                  <a:gd name="connsiteY42" fmla="*/ 26194 h 207169"/>
                  <a:gd name="connsiteX43" fmla="*/ 183357 w 1121416"/>
                  <a:gd name="connsiteY43" fmla="*/ 28575 h 207169"/>
                  <a:gd name="connsiteX44" fmla="*/ 147638 w 1121416"/>
                  <a:gd name="connsiteY44" fmla="*/ 38100 h 207169"/>
                  <a:gd name="connsiteX45" fmla="*/ 128588 w 1121416"/>
                  <a:gd name="connsiteY45" fmla="*/ 45244 h 207169"/>
                  <a:gd name="connsiteX46" fmla="*/ 109538 w 1121416"/>
                  <a:gd name="connsiteY46" fmla="*/ 50006 h 207169"/>
                  <a:gd name="connsiteX47" fmla="*/ 97632 w 1121416"/>
                  <a:gd name="connsiteY47" fmla="*/ 54769 h 207169"/>
                  <a:gd name="connsiteX48" fmla="*/ 80963 w 1121416"/>
                  <a:gd name="connsiteY48" fmla="*/ 57150 h 207169"/>
                  <a:gd name="connsiteX49" fmla="*/ 54769 w 1121416"/>
                  <a:gd name="connsiteY49" fmla="*/ 61912 h 207169"/>
                  <a:gd name="connsiteX50" fmla="*/ 47625 w 1121416"/>
                  <a:gd name="connsiteY50" fmla="*/ 64294 h 207169"/>
                  <a:gd name="connsiteX51" fmla="*/ 23813 w 1121416"/>
                  <a:gd name="connsiteY51" fmla="*/ 71437 h 207169"/>
                  <a:gd name="connsiteX52" fmla="*/ 9525 w 1121416"/>
                  <a:gd name="connsiteY52" fmla="*/ 80962 h 207169"/>
                  <a:gd name="connsiteX53" fmla="*/ 0 w 1121416"/>
                  <a:gd name="connsiteY53" fmla="*/ 104775 h 207169"/>
                  <a:gd name="connsiteX54" fmla="*/ 11907 w 1121416"/>
                  <a:gd name="connsiteY5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66775 w 1121416"/>
                  <a:gd name="connsiteY23" fmla="*/ 173831 h 207169"/>
                  <a:gd name="connsiteX24" fmla="*/ 940594 w 1121416"/>
                  <a:gd name="connsiteY24" fmla="*/ 169069 h 207169"/>
                  <a:gd name="connsiteX25" fmla="*/ 971550 w 1121416"/>
                  <a:gd name="connsiteY25" fmla="*/ 166687 h 207169"/>
                  <a:gd name="connsiteX26" fmla="*/ 1052513 w 1121416"/>
                  <a:gd name="connsiteY26" fmla="*/ 142875 h 207169"/>
                  <a:gd name="connsiteX27" fmla="*/ 1116807 w 1121416"/>
                  <a:gd name="connsiteY27" fmla="*/ 95250 h 207169"/>
                  <a:gd name="connsiteX28" fmla="*/ 1114425 w 1121416"/>
                  <a:gd name="connsiteY28" fmla="*/ 85725 h 207169"/>
                  <a:gd name="connsiteX29" fmla="*/ 1054894 w 1121416"/>
                  <a:gd name="connsiteY29" fmla="*/ 61912 h 207169"/>
                  <a:gd name="connsiteX30" fmla="*/ 966788 w 1121416"/>
                  <a:gd name="connsiteY30" fmla="*/ 35719 h 207169"/>
                  <a:gd name="connsiteX31" fmla="*/ 857250 w 1121416"/>
                  <a:gd name="connsiteY31" fmla="*/ 21431 h 207169"/>
                  <a:gd name="connsiteX32" fmla="*/ 790575 w 1121416"/>
                  <a:gd name="connsiteY32" fmla="*/ 9525 h 207169"/>
                  <a:gd name="connsiteX33" fmla="*/ 702469 w 1121416"/>
                  <a:gd name="connsiteY33" fmla="*/ 7144 h 207169"/>
                  <a:gd name="connsiteX34" fmla="*/ 559594 w 1121416"/>
                  <a:gd name="connsiteY34" fmla="*/ 0 h 207169"/>
                  <a:gd name="connsiteX35" fmla="*/ 338138 w 1121416"/>
                  <a:gd name="connsiteY35" fmla="*/ 2381 h 207169"/>
                  <a:gd name="connsiteX36" fmla="*/ 295275 w 1121416"/>
                  <a:gd name="connsiteY36" fmla="*/ 7144 h 207169"/>
                  <a:gd name="connsiteX37" fmla="*/ 278607 w 1121416"/>
                  <a:gd name="connsiteY37" fmla="*/ 9525 h 207169"/>
                  <a:gd name="connsiteX38" fmla="*/ 269082 w 1121416"/>
                  <a:gd name="connsiteY38" fmla="*/ 11906 h 207169"/>
                  <a:gd name="connsiteX39" fmla="*/ 238125 w 1121416"/>
                  <a:gd name="connsiteY39" fmla="*/ 14287 h 207169"/>
                  <a:gd name="connsiteX40" fmla="*/ 216694 w 1121416"/>
                  <a:gd name="connsiteY40" fmla="*/ 21431 h 207169"/>
                  <a:gd name="connsiteX41" fmla="*/ 195263 w 1121416"/>
                  <a:gd name="connsiteY41" fmla="*/ 26194 h 207169"/>
                  <a:gd name="connsiteX42" fmla="*/ 183357 w 1121416"/>
                  <a:gd name="connsiteY42" fmla="*/ 28575 h 207169"/>
                  <a:gd name="connsiteX43" fmla="*/ 147638 w 1121416"/>
                  <a:gd name="connsiteY43" fmla="*/ 38100 h 207169"/>
                  <a:gd name="connsiteX44" fmla="*/ 128588 w 1121416"/>
                  <a:gd name="connsiteY44" fmla="*/ 45244 h 207169"/>
                  <a:gd name="connsiteX45" fmla="*/ 109538 w 1121416"/>
                  <a:gd name="connsiteY45" fmla="*/ 50006 h 207169"/>
                  <a:gd name="connsiteX46" fmla="*/ 97632 w 1121416"/>
                  <a:gd name="connsiteY46" fmla="*/ 54769 h 207169"/>
                  <a:gd name="connsiteX47" fmla="*/ 80963 w 1121416"/>
                  <a:gd name="connsiteY47" fmla="*/ 57150 h 207169"/>
                  <a:gd name="connsiteX48" fmla="*/ 54769 w 1121416"/>
                  <a:gd name="connsiteY48" fmla="*/ 61912 h 207169"/>
                  <a:gd name="connsiteX49" fmla="*/ 47625 w 1121416"/>
                  <a:gd name="connsiteY49" fmla="*/ 64294 h 207169"/>
                  <a:gd name="connsiteX50" fmla="*/ 23813 w 1121416"/>
                  <a:gd name="connsiteY50" fmla="*/ 71437 h 207169"/>
                  <a:gd name="connsiteX51" fmla="*/ 9525 w 1121416"/>
                  <a:gd name="connsiteY51" fmla="*/ 80962 h 207169"/>
                  <a:gd name="connsiteX52" fmla="*/ 0 w 1121416"/>
                  <a:gd name="connsiteY52" fmla="*/ 104775 h 207169"/>
                  <a:gd name="connsiteX53" fmla="*/ 11907 w 1121416"/>
                  <a:gd name="connsiteY53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97719 w 1121416"/>
                  <a:gd name="connsiteY21" fmla="*/ 188119 h 207169"/>
                  <a:gd name="connsiteX22" fmla="*/ 866775 w 1121416"/>
                  <a:gd name="connsiteY22" fmla="*/ 173831 h 207169"/>
                  <a:gd name="connsiteX23" fmla="*/ 940594 w 1121416"/>
                  <a:gd name="connsiteY23" fmla="*/ 169069 h 207169"/>
                  <a:gd name="connsiteX24" fmla="*/ 971550 w 1121416"/>
                  <a:gd name="connsiteY24" fmla="*/ 166687 h 207169"/>
                  <a:gd name="connsiteX25" fmla="*/ 1052513 w 1121416"/>
                  <a:gd name="connsiteY25" fmla="*/ 142875 h 207169"/>
                  <a:gd name="connsiteX26" fmla="*/ 1116807 w 1121416"/>
                  <a:gd name="connsiteY26" fmla="*/ 95250 h 207169"/>
                  <a:gd name="connsiteX27" fmla="*/ 1114425 w 1121416"/>
                  <a:gd name="connsiteY27" fmla="*/ 85725 h 207169"/>
                  <a:gd name="connsiteX28" fmla="*/ 1054894 w 1121416"/>
                  <a:gd name="connsiteY28" fmla="*/ 61912 h 207169"/>
                  <a:gd name="connsiteX29" fmla="*/ 966788 w 1121416"/>
                  <a:gd name="connsiteY29" fmla="*/ 35719 h 207169"/>
                  <a:gd name="connsiteX30" fmla="*/ 857250 w 1121416"/>
                  <a:gd name="connsiteY30" fmla="*/ 21431 h 207169"/>
                  <a:gd name="connsiteX31" fmla="*/ 790575 w 1121416"/>
                  <a:gd name="connsiteY31" fmla="*/ 9525 h 207169"/>
                  <a:gd name="connsiteX32" fmla="*/ 702469 w 1121416"/>
                  <a:gd name="connsiteY32" fmla="*/ 7144 h 207169"/>
                  <a:gd name="connsiteX33" fmla="*/ 559594 w 1121416"/>
                  <a:gd name="connsiteY33" fmla="*/ 0 h 207169"/>
                  <a:gd name="connsiteX34" fmla="*/ 338138 w 1121416"/>
                  <a:gd name="connsiteY34" fmla="*/ 2381 h 207169"/>
                  <a:gd name="connsiteX35" fmla="*/ 295275 w 1121416"/>
                  <a:gd name="connsiteY35" fmla="*/ 7144 h 207169"/>
                  <a:gd name="connsiteX36" fmla="*/ 278607 w 1121416"/>
                  <a:gd name="connsiteY36" fmla="*/ 9525 h 207169"/>
                  <a:gd name="connsiteX37" fmla="*/ 269082 w 1121416"/>
                  <a:gd name="connsiteY37" fmla="*/ 11906 h 207169"/>
                  <a:gd name="connsiteX38" fmla="*/ 238125 w 1121416"/>
                  <a:gd name="connsiteY38" fmla="*/ 14287 h 207169"/>
                  <a:gd name="connsiteX39" fmla="*/ 216694 w 1121416"/>
                  <a:gd name="connsiteY39" fmla="*/ 21431 h 207169"/>
                  <a:gd name="connsiteX40" fmla="*/ 195263 w 1121416"/>
                  <a:gd name="connsiteY40" fmla="*/ 26194 h 207169"/>
                  <a:gd name="connsiteX41" fmla="*/ 183357 w 1121416"/>
                  <a:gd name="connsiteY41" fmla="*/ 28575 h 207169"/>
                  <a:gd name="connsiteX42" fmla="*/ 147638 w 1121416"/>
                  <a:gd name="connsiteY42" fmla="*/ 38100 h 207169"/>
                  <a:gd name="connsiteX43" fmla="*/ 128588 w 1121416"/>
                  <a:gd name="connsiteY43" fmla="*/ 45244 h 207169"/>
                  <a:gd name="connsiteX44" fmla="*/ 109538 w 1121416"/>
                  <a:gd name="connsiteY44" fmla="*/ 50006 h 207169"/>
                  <a:gd name="connsiteX45" fmla="*/ 97632 w 1121416"/>
                  <a:gd name="connsiteY45" fmla="*/ 54769 h 207169"/>
                  <a:gd name="connsiteX46" fmla="*/ 80963 w 1121416"/>
                  <a:gd name="connsiteY46" fmla="*/ 57150 h 207169"/>
                  <a:gd name="connsiteX47" fmla="*/ 54769 w 1121416"/>
                  <a:gd name="connsiteY47" fmla="*/ 61912 h 207169"/>
                  <a:gd name="connsiteX48" fmla="*/ 47625 w 1121416"/>
                  <a:gd name="connsiteY48" fmla="*/ 64294 h 207169"/>
                  <a:gd name="connsiteX49" fmla="*/ 23813 w 1121416"/>
                  <a:gd name="connsiteY49" fmla="*/ 71437 h 207169"/>
                  <a:gd name="connsiteX50" fmla="*/ 9525 w 1121416"/>
                  <a:gd name="connsiteY50" fmla="*/ 80962 h 207169"/>
                  <a:gd name="connsiteX51" fmla="*/ 0 w 1121416"/>
                  <a:gd name="connsiteY51" fmla="*/ 104775 h 207169"/>
                  <a:gd name="connsiteX52" fmla="*/ 11907 w 1121416"/>
                  <a:gd name="connsiteY52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797719 w 1121416"/>
                  <a:gd name="connsiteY20" fmla="*/ 188119 h 207169"/>
                  <a:gd name="connsiteX21" fmla="*/ 866775 w 1121416"/>
                  <a:gd name="connsiteY21" fmla="*/ 173831 h 207169"/>
                  <a:gd name="connsiteX22" fmla="*/ 940594 w 1121416"/>
                  <a:gd name="connsiteY22" fmla="*/ 169069 h 207169"/>
                  <a:gd name="connsiteX23" fmla="*/ 971550 w 1121416"/>
                  <a:gd name="connsiteY23" fmla="*/ 166687 h 207169"/>
                  <a:gd name="connsiteX24" fmla="*/ 1052513 w 1121416"/>
                  <a:gd name="connsiteY24" fmla="*/ 142875 h 207169"/>
                  <a:gd name="connsiteX25" fmla="*/ 1116807 w 1121416"/>
                  <a:gd name="connsiteY25" fmla="*/ 95250 h 207169"/>
                  <a:gd name="connsiteX26" fmla="*/ 1114425 w 1121416"/>
                  <a:gd name="connsiteY26" fmla="*/ 85725 h 207169"/>
                  <a:gd name="connsiteX27" fmla="*/ 1054894 w 1121416"/>
                  <a:gd name="connsiteY27" fmla="*/ 61912 h 207169"/>
                  <a:gd name="connsiteX28" fmla="*/ 966788 w 1121416"/>
                  <a:gd name="connsiteY28" fmla="*/ 35719 h 207169"/>
                  <a:gd name="connsiteX29" fmla="*/ 857250 w 1121416"/>
                  <a:gd name="connsiteY29" fmla="*/ 21431 h 207169"/>
                  <a:gd name="connsiteX30" fmla="*/ 790575 w 1121416"/>
                  <a:gd name="connsiteY30" fmla="*/ 9525 h 207169"/>
                  <a:gd name="connsiteX31" fmla="*/ 702469 w 1121416"/>
                  <a:gd name="connsiteY31" fmla="*/ 7144 h 207169"/>
                  <a:gd name="connsiteX32" fmla="*/ 559594 w 1121416"/>
                  <a:gd name="connsiteY32" fmla="*/ 0 h 207169"/>
                  <a:gd name="connsiteX33" fmla="*/ 338138 w 1121416"/>
                  <a:gd name="connsiteY33" fmla="*/ 2381 h 207169"/>
                  <a:gd name="connsiteX34" fmla="*/ 295275 w 1121416"/>
                  <a:gd name="connsiteY34" fmla="*/ 7144 h 207169"/>
                  <a:gd name="connsiteX35" fmla="*/ 278607 w 1121416"/>
                  <a:gd name="connsiteY35" fmla="*/ 9525 h 207169"/>
                  <a:gd name="connsiteX36" fmla="*/ 269082 w 1121416"/>
                  <a:gd name="connsiteY36" fmla="*/ 11906 h 207169"/>
                  <a:gd name="connsiteX37" fmla="*/ 238125 w 1121416"/>
                  <a:gd name="connsiteY37" fmla="*/ 14287 h 207169"/>
                  <a:gd name="connsiteX38" fmla="*/ 216694 w 1121416"/>
                  <a:gd name="connsiteY38" fmla="*/ 21431 h 207169"/>
                  <a:gd name="connsiteX39" fmla="*/ 195263 w 1121416"/>
                  <a:gd name="connsiteY39" fmla="*/ 26194 h 207169"/>
                  <a:gd name="connsiteX40" fmla="*/ 183357 w 1121416"/>
                  <a:gd name="connsiteY40" fmla="*/ 28575 h 207169"/>
                  <a:gd name="connsiteX41" fmla="*/ 147638 w 1121416"/>
                  <a:gd name="connsiteY41" fmla="*/ 38100 h 207169"/>
                  <a:gd name="connsiteX42" fmla="*/ 128588 w 1121416"/>
                  <a:gd name="connsiteY42" fmla="*/ 45244 h 207169"/>
                  <a:gd name="connsiteX43" fmla="*/ 109538 w 1121416"/>
                  <a:gd name="connsiteY43" fmla="*/ 50006 h 207169"/>
                  <a:gd name="connsiteX44" fmla="*/ 97632 w 1121416"/>
                  <a:gd name="connsiteY44" fmla="*/ 54769 h 207169"/>
                  <a:gd name="connsiteX45" fmla="*/ 80963 w 1121416"/>
                  <a:gd name="connsiteY45" fmla="*/ 57150 h 207169"/>
                  <a:gd name="connsiteX46" fmla="*/ 54769 w 1121416"/>
                  <a:gd name="connsiteY46" fmla="*/ 61912 h 207169"/>
                  <a:gd name="connsiteX47" fmla="*/ 47625 w 1121416"/>
                  <a:gd name="connsiteY47" fmla="*/ 64294 h 207169"/>
                  <a:gd name="connsiteX48" fmla="*/ 23813 w 1121416"/>
                  <a:gd name="connsiteY48" fmla="*/ 71437 h 207169"/>
                  <a:gd name="connsiteX49" fmla="*/ 9525 w 1121416"/>
                  <a:gd name="connsiteY49" fmla="*/ 80962 h 207169"/>
                  <a:gd name="connsiteX50" fmla="*/ 0 w 1121416"/>
                  <a:gd name="connsiteY50" fmla="*/ 104775 h 207169"/>
                  <a:gd name="connsiteX51" fmla="*/ 11907 w 1121416"/>
                  <a:gd name="connsiteY51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57200 w 1121416"/>
                  <a:gd name="connsiteY15" fmla="*/ 207169 h 207169"/>
                  <a:gd name="connsiteX16" fmla="*/ 604838 w 1121416"/>
                  <a:gd name="connsiteY16" fmla="*/ 204787 h 207169"/>
                  <a:gd name="connsiteX17" fmla="*/ 623888 w 1121416"/>
                  <a:gd name="connsiteY17" fmla="*/ 200025 h 207169"/>
                  <a:gd name="connsiteX18" fmla="*/ 676275 w 1121416"/>
                  <a:gd name="connsiteY18" fmla="*/ 197644 h 207169"/>
                  <a:gd name="connsiteX19" fmla="*/ 797719 w 1121416"/>
                  <a:gd name="connsiteY19" fmla="*/ 188119 h 207169"/>
                  <a:gd name="connsiteX20" fmla="*/ 866775 w 1121416"/>
                  <a:gd name="connsiteY20" fmla="*/ 173831 h 207169"/>
                  <a:gd name="connsiteX21" fmla="*/ 940594 w 1121416"/>
                  <a:gd name="connsiteY21" fmla="*/ 169069 h 207169"/>
                  <a:gd name="connsiteX22" fmla="*/ 971550 w 1121416"/>
                  <a:gd name="connsiteY22" fmla="*/ 166687 h 207169"/>
                  <a:gd name="connsiteX23" fmla="*/ 1052513 w 1121416"/>
                  <a:gd name="connsiteY23" fmla="*/ 142875 h 207169"/>
                  <a:gd name="connsiteX24" fmla="*/ 1116807 w 1121416"/>
                  <a:gd name="connsiteY24" fmla="*/ 95250 h 207169"/>
                  <a:gd name="connsiteX25" fmla="*/ 1114425 w 1121416"/>
                  <a:gd name="connsiteY25" fmla="*/ 85725 h 207169"/>
                  <a:gd name="connsiteX26" fmla="*/ 1054894 w 1121416"/>
                  <a:gd name="connsiteY26" fmla="*/ 61912 h 207169"/>
                  <a:gd name="connsiteX27" fmla="*/ 966788 w 1121416"/>
                  <a:gd name="connsiteY27" fmla="*/ 35719 h 207169"/>
                  <a:gd name="connsiteX28" fmla="*/ 857250 w 1121416"/>
                  <a:gd name="connsiteY28" fmla="*/ 21431 h 207169"/>
                  <a:gd name="connsiteX29" fmla="*/ 790575 w 1121416"/>
                  <a:gd name="connsiteY29" fmla="*/ 9525 h 207169"/>
                  <a:gd name="connsiteX30" fmla="*/ 702469 w 1121416"/>
                  <a:gd name="connsiteY30" fmla="*/ 7144 h 207169"/>
                  <a:gd name="connsiteX31" fmla="*/ 559594 w 1121416"/>
                  <a:gd name="connsiteY31" fmla="*/ 0 h 207169"/>
                  <a:gd name="connsiteX32" fmla="*/ 338138 w 1121416"/>
                  <a:gd name="connsiteY32" fmla="*/ 2381 h 207169"/>
                  <a:gd name="connsiteX33" fmla="*/ 295275 w 1121416"/>
                  <a:gd name="connsiteY33" fmla="*/ 7144 h 207169"/>
                  <a:gd name="connsiteX34" fmla="*/ 278607 w 1121416"/>
                  <a:gd name="connsiteY34" fmla="*/ 9525 h 207169"/>
                  <a:gd name="connsiteX35" fmla="*/ 269082 w 1121416"/>
                  <a:gd name="connsiteY35" fmla="*/ 11906 h 207169"/>
                  <a:gd name="connsiteX36" fmla="*/ 238125 w 1121416"/>
                  <a:gd name="connsiteY36" fmla="*/ 14287 h 207169"/>
                  <a:gd name="connsiteX37" fmla="*/ 216694 w 1121416"/>
                  <a:gd name="connsiteY37" fmla="*/ 21431 h 207169"/>
                  <a:gd name="connsiteX38" fmla="*/ 195263 w 1121416"/>
                  <a:gd name="connsiteY38" fmla="*/ 26194 h 207169"/>
                  <a:gd name="connsiteX39" fmla="*/ 183357 w 1121416"/>
                  <a:gd name="connsiteY39" fmla="*/ 28575 h 207169"/>
                  <a:gd name="connsiteX40" fmla="*/ 147638 w 1121416"/>
                  <a:gd name="connsiteY40" fmla="*/ 38100 h 207169"/>
                  <a:gd name="connsiteX41" fmla="*/ 128588 w 1121416"/>
                  <a:gd name="connsiteY41" fmla="*/ 45244 h 207169"/>
                  <a:gd name="connsiteX42" fmla="*/ 109538 w 1121416"/>
                  <a:gd name="connsiteY42" fmla="*/ 50006 h 207169"/>
                  <a:gd name="connsiteX43" fmla="*/ 97632 w 1121416"/>
                  <a:gd name="connsiteY43" fmla="*/ 54769 h 207169"/>
                  <a:gd name="connsiteX44" fmla="*/ 80963 w 1121416"/>
                  <a:gd name="connsiteY44" fmla="*/ 57150 h 207169"/>
                  <a:gd name="connsiteX45" fmla="*/ 54769 w 1121416"/>
                  <a:gd name="connsiteY45" fmla="*/ 61912 h 207169"/>
                  <a:gd name="connsiteX46" fmla="*/ 47625 w 1121416"/>
                  <a:gd name="connsiteY46" fmla="*/ 64294 h 207169"/>
                  <a:gd name="connsiteX47" fmla="*/ 23813 w 1121416"/>
                  <a:gd name="connsiteY47" fmla="*/ 71437 h 207169"/>
                  <a:gd name="connsiteX48" fmla="*/ 9525 w 1121416"/>
                  <a:gd name="connsiteY48" fmla="*/ 80962 h 207169"/>
                  <a:gd name="connsiteX49" fmla="*/ 0 w 1121416"/>
                  <a:gd name="connsiteY49" fmla="*/ 104775 h 207169"/>
                  <a:gd name="connsiteX50" fmla="*/ 11907 w 1121416"/>
                  <a:gd name="connsiteY50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457200 w 1121416"/>
                  <a:gd name="connsiteY14" fmla="*/ 207169 h 207169"/>
                  <a:gd name="connsiteX15" fmla="*/ 604838 w 1121416"/>
                  <a:gd name="connsiteY15" fmla="*/ 204787 h 207169"/>
                  <a:gd name="connsiteX16" fmla="*/ 623888 w 1121416"/>
                  <a:gd name="connsiteY16" fmla="*/ 200025 h 207169"/>
                  <a:gd name="connsiteX17" fmla="*/ 676275 w 1121416"/>
                  <a:gd name="connsiteY17" fmla="*/ 197644 h 207169"/>
                  <a:gd name="connsiteX18" fmla="*/ 797719 w 1121416"/>
                  <a:gd name="connsiteY18" fmla="*/ 188119 h 207169"/>
                  <a:gd name="connsiteX19" fmla="*/ 866775 w 1121416"/>
                  <a:gd name="connsiteY19" fmla="*/ 173831 h 207169"/>
                  <a:gd name="connsiteX20" fmla="*/ 940594 w 1121416"/>
                  <a:gd name="connsiteY20" fmla="*/ 169069 h 207169"/>
                  <a:gd name="connsiteX21" fmla="*/ 971550 w 1121416"/>
                  <a:gd name="connsiteY21" fmla="*/ 166687 h 207169"/>
                  <a:gd name="connsiteX22" fmla="*/ 1052513 w 1121416"/>
                  <a:gd name="connsiteY22" fmla="*/ 142875 h 207169"/>
                  <a:gd name="connsiteX23" fmla="*/ 1116807 w 1121416"/>
                  <a:gd name="connsiteY23" fmla="*/ 95250 h 207169"/>
                  <a:gd name="connsiteX24" fmla="*/ 1114425 w 1121416"/>
                  <a:gd name="connsiteY24" fmla="*/ 85725 h 207169"/>
                  <a:gd name="connsiteX25" fmla="*/ 1054894 w 1121416"/>
                  <a:gd name="connsiteY25" fmla="*/ 61912 h 207169"/>
                  <a:gd name="connsiteX26" fmla="*/ 966788 w 1121416"/>
                  <a:gd name="connsiteY26" fmla="*/ 35719 h 207169"/>
                  <a:gd name="connsiteX27" fmla="*/ 857250 w 1121416"/>
                  <a:gd name="connsiteY27" fmla="*/ 21431 h 207169"/>
                  <a:gd name="connsiteX28" fmla="*/ 790575 w 1121416"/>
                  <a:gd name="connsiteY28" fmla="*/ 9525 h 207169"/>
                  <a:gd name="connsiteX29" fmla="*/ 702469 w 1121416"/>
                  <a:gd name="connsiteY29" fmla="*/ 7144 h 207169"/>
                  <a:gd name="connsiteX30" fmla="*/ 559594 w 1121416"/>
                  <a:gd name="connsiteY30" fmla="*/ 0 h 207169"/>
                  <a:gd name="connsiteX31" fmla="*/ 338138 w 1121416"/>
                  <a:gd name="connsiteY31" fmla="*/ 2381 h 207169"/>
                  <a:gd name="connsiteX32" fmla="*/ 295275 w 1121416"/>
                  <a:gd name="connsiteY32" fmla="*/ 7144 h 207169"/>
                  <a:gd name="connsiteX33" fmla="*/ 278607 w 1121416"/>
                  <a:gd name="connsiteY33" fmla="*/ 9525 h 207169"/>
                  <a:gd name="connsiteX34" fmla="*/ 269082 w 1121416"/>
                  <a:gd name="connsiteY34" fmla="*/ 11906 h 207169"/>
                  <a:gd name="connsiteX35" fmla="*/ 238125 w 1121416"/>
                  <a:gd name="connsiteY35" fmla="*/ 14287 h 207169"/>
                  <a:gd name="connsiteX36" fmla="*/ 216694 w 1121416"/>
                  <a:gd name="connsiteY36" fmla="*/ 21431 h 207169"/>
                  <a:gd name="connsiteX37" fmla="*/ 195263 w 1121416"/>
                  <a:gd name="connsiteY37" fmla="*/ 26194 h 207169"/>
                  <a:gd name="connsiteX38" fmla="*/ 183357 w 1121416"/>
                  <a:gd name="connsiteY38" fmla="*/ 28575 h 207169"/>
                  <a:gd name="connsiteX39" fmla="*/ 147638 w 1121416"/>
                  <a:gd name="connsiteY39" fmla="*/ 38100 h 207169"/>
                  <a:gd name="connsiteX40" fmla="*/ 128588 w 1121416"/>
                  <a:gd name="connsiteY40" fmla="*/ 45244 h 207169"/>
                  <a:gd name="connsiteX41" fmla="*/ 109538 w 1121416"/>
                  <a:gd name="connsiteY41" fmla="*/ 50006 h 207169"/>
                  <a:gd name="connsiteX42" fmla="*/ 97632 w 1121416"/>
                  <a:gd name="connsiteY42" fmla="*/ 54769 h 207169"/>
                  <a:gd name="connsiteX43" fmla="*/ 80963 w 1121416"/>
                  <a:gd name="connsiteY43" fmla="*/ 57150 h 207169"/>
                  <a:gd name="connsiteX44" fmla="*/ 54769 w 1121416"/>
                  <a:gd name="connsiteY44" fmla="*/ 61912 h 207169"/>
                  <a:gd name="connsiteX45" fmla="*/ 47625 w 1121416"/>
                  <a:gd name="connsiteY45" fmla="*/ 64294 h 207169"/>
                  <a:gd name="connsiteX46" fmla="*/ 23813 w 1121416"/>
                  <a:gd name="connsiteY46" fmla="*/ 71437 h 207169"/>
                  <a:gd name="connsiteX47" fmla="*/ 9525 w 1121416"/>
                  <a:gd name="connsiteY47" fmla="*/ 80962 h 207169"/>
                  <a:gd name="connsiteX48" fmla="*/ 0 w 1121416"/>
                  <a:gd name="connsiteY48" fmla="*/ 104775 h 207169"/>
                  <a:gd name="connsiteX49" fmla="*/ 11907 w 1121416"/>
                  <a:gd name="connsiteY4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38125 w 1121416"/>
                  <a:gd name="connsiteY11" fmla="*/ 178594 h 207169"/>
                  <a:gd name="connsiteX12" fmla="*/ 285750 w 1121416"/>
                  <a:gd name="connsiteY12" fmla="*/ 192881 h 207169"/>
                  <a:gd name="connsiteX13" fmla="*/ 457200 w 1121416"/>
                  <a:gd name="connsiteY13" fmla="*/ 207169 h 207169"/>
                  <a:gd name="connsiteX14" fmla="*/ 604838 w 1121416"/>
                  <a:gd name="connsiteY14" fmla="*/ 204787 h 207169"/>
                  <a:gd name="connsiteX15" fmla="*/ 623888 w 1121416"/>
                  <a:gd name="connsiteY15" fmla="*/ 200025 h 207169"/>
                  <a:gd name="connsiteX16" fmla="*/ 676275 w 1121416"/>
                  <a:gd name="connsiteY16" fmla="*/ 197644 h 207169"/>
                  <a:gd name="connsiteX17" fmla="*/ 797719 w 1121416"/>
                  <a:gd name="connsiteY17" fmla="*/ 188119 h 207169"/>
                  <a:gd name="connsiteX18" fmla="*/ 866775 w 1121416"/>
                  <a:gd name="connsiteY18" fmla="*/ 173831 h 207169"/>
                  <a:gd name="connsiteX19" fmla="*/ 940594 w 1121416"/>
                  <a:gd name="connsiteY19" fmla="*/ 169069 h 207169"/>
                  <a:gd name="connsiteX20" fmla="*/ 971550 w 1121416"/>
                  <a:gd name="connsiteY20" fmla="*/ 166687 h 207169"/>
                  <a:gd name="connsiteX21" fmla="*/ 1052513 w 1121416"/>
                  <a:gd name="connsiteY21" fmla="*/ 142875 h 207169"/>
                  <a:gd name="connsiteX22" fmla="*/ 1116807 w 1121416"/>
                  <a:gd name="connsiteY22" fmla="*/ 95250 h 207169"/>
                  <a:gd name="connsiteX23" fmla="*/ 1114425 w 1121416"/>
                  <a:gd name="connsiteY23" fmla="*/ 85725 h 207169"/>
                  <a:gd name="connsiteX24" fmla="*/ 1054894 w 1121416"/>
                  <a:gd name="connsiteY24" fmla="*/ 61912 h 207169"/>
                  <a:gd name="connsiteX25" fmla="*/ 966788 w 1121416"/>
                  <a:gd name="connsiteY25" fmla="*/ 35719 h 207169"/>
                  <a:gd name="connsiteX26" fmla="*/ 857250 w 1121416"/>
                  <a:gd name="connsiteY26" fmla="*/ 21431 h 207169"/>
                  <a:gd name="connsiteX27" fmla="*/ 790575 w 1121416"/>
                  <a:gd name="connsiteY27" fmla="*/ 9525 h 207169"/>
                  <a:gd name="connsiteX28" fmla="*/ 702469 w 1121416"/>
                  <a:gd name="connsiteY28" fmla="*/ 7144 h 207169"/>
                  <a:gd name="connsiteX29" fmla="*/ 559594 w 1121416"/>
                  <a:gd name="connsiteY29" fmla="*/ 0 h 207169"/>
                  <a:gd name="connsiteX30" fmla="*/ 338138 w 1121416"/>
                  <a:gd name="connsiteY30" fmla="*/ 2381 h 207169"/>
                  <a:gd name="connsiteX31" fmla="*/ 295275 w 1121416"/>
                  <a:gd name="connsiteY31" fmla="*/ 7144 h 207169"/>
                  <a:gd name="connsiteX32" fmla="*/ 278607 w 1121416"/>
                  <a:gd name="connsiteY32" fmla="*/ 9525 h 207169"/>
                  <a:gd name="connsiteX33" fmla="*/ 269082 w 1121416"/>
                  <a:gd name="connsiteY33" fmla="*/ 11906 h 207169"/>
                  <a:gd name="connsiteX34" fmla="*/ 238125 w 1121416"/>
                  <a:gd name="connsiteY34" fmla="*/ 14287 h 207169"/>
                  <a:gd name="connsiteX35" fmla="*/ 216694 w 1121416"/>
                  <a:gd name="connsiteY35" fmla="*/ 21431 h 207169"/>
                  <a:gd name="connsiteX36" fmla="*/ 195263 w 1121416"/>
                  <a:gd name="connsiteY36" fmla="*/ 26194 h 207169"/>
                  <a:gd name="connsiteX37" fmla="*/ 183357 w 1121416"/>
                  <a:gd name="connsiteY37" fmla="*/ 28575 h 207169"/>
                  <a:gd name="connsiteX38" fmla="*/ 147638 w 1121416"/>
                  <a:gd name="connsiteY38" fmla="*/ 38100 h 207169"/>
                  <a:gd name="connsiteX39" fmla="*/ 128588 w 1121416"/>
                  <a:gd name="connsiteY39" fmla="*/ 45244 h 207169"/>
                  <a:gd name="connsiteX40" fmla="*/ 109538 w 1121416"/>
                  <a:gd name="connsiteY40" fmla="*/ 50006 h 207169"/>
                  <a:gd name="connsiteX41" fmla="*/ 97632 w 1121416"/>
                  <a:gd name="connsiteY41" fmla="*/ 54769 h 207169"/>
                  <a:gd name="connsiteX42" fmla="*/ 80963 w 1121416"/>
                  <a:gd name="connsiteY42" fmla="*/ 57150 h 207169"/>
                  <a:gd name="connsiteX43" fmla="*/ 54769 w 1121416"/>
                  <a:gd name="connsiteY43" fmla="*/ 61912 h 207169"/>
                  <a:gd name="connsiteX44" fmla="*/ 47625 w 1121416"/>
                  <a:gd name="connsiteY44" fmla="*/ 64294 h 207169"/>
                  <a:gd name="connsiteX45" fmla="*/ 23813 w 1121416"/>
                  <a:gd name="connsiteY45" fmla="*/ 71437 h 207169"/>
                  <a:gd name="connsiteX46" fmla="*/ 9525 w 1121416"/>
                  <a:gd name="connsiteY46" fmla="*/ 80962 h 207169"/>
                  <a:gd name="connsiteX47" fmla="*/ 0 w 1121416"/>
                  <a:gd name="connsiteY47" fmla="*/ 104775 h 207169"/>
                  <a:gd name="connsiteX48" fmla="*/ 11907 w 1121416"/>
                  <a:gd name="connsiteY4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202407 w 1121416"/>
                  <a:gd name="connsiteY9" fmla="*/ 169069 h 207169"/>
                  <a:gd name="connsiteX10" fmla="*/ 238125 w 1121416"/>
                  <a:gd name="connsiteY10" fmla="*/ 178594 h 207169"/>
                  <a:gd name="connsiteX11" fmla="*/ 285750 w 1121416"/>
                  <a:gd name="connsiteY11" fmla="*/ 192881 h 207169"/>
                  <a:gd name="connsiteX12" fmla="*/ 457200 w 1121416"/>
                  <a:gd name="connsiteY12" fmla="*/ 207169 h 207169"/>
                  <a:gd name="connsiteX13" fmla="*/ 604838 w 1121416"/>
                  <a:gd name="connsiteY13" fmla="*/ 204787 h 207169"/>
                  <a:gd name="connsiteX14" fmla="*/ 623888 w 1121416"/>
                  <a:gd name="connsiteY14" fmla="*/ 200025 h 207169"/>
                  <a:gd name="connsiteX15" fmla="*/ 676275 w 1121416"/>
                  <a:gd name="connsiteY15" fmla="*/ 197644 h 207169"/>
                  <a:gd name="connsiteX16" fmla="*/ 797719 w 1121416"/>
                  <a:gd name="connsiteY16" fmla="*/ 188119 h 207169"/>
                  <a:gd name="connsiteX17" fmla="*/ 866775 w 1121416"/>
                  <a:gd name="connsiteY17" fmla="*/ 173831 h 207169"/>
                  <a:gd name="connsiteX18" fmla="*/ 940594 w 1121416"/>
                  <a:gd name="connsiteY18" fmla="*/ 169069 h 207169"/>
                  <a:gd name="connsiteX19" fmla="*/ 971550 w 1121416"/>
                  <a:gd name="connsiteY19" fmla="*/ 166687 h 207169"/>
                  <a:gd name="connsiteX20" fmla="*/ 1052513 w 1121416"/>
                  <a:gd name="connsiteY20" fmla="*/ 142875 h 207169"/>
                  <a:gd name="connsiteX21" fmla="*/ 1116807 w 1121416"/>
                  <a:gd name="connsiteY21" fmla="*/ 95250 h 207169"/>
                  <a:gd name="connsiteX22" fmla="*/ 1114425 w 1121416"/>
                  <a:gd name="connsiteY22" fmla="*/ 85725 h 207169"/>
                  <a:gd name="connsiteX23" fmla="*/ 1054894 w 1121416"/>
                  <a:gd name="connsiteY23" fmla="*/ 61912 h 207169"/>
                  <a:gd name="connsiteX24" fmla="*/ 966788 w 1121416"/>
                  <a:gd name="connsiteY24" fmla="*/ 35719 h 207169"/>
                  <a:gd name="connsiteX25" fmla="*/ 857250 w 1121416"/>
                  <a:gd name="connsiteY25" fmla="*/ 21431 h 207169"/>
                  <a:gd name="connsiteX26" fmla="*/ 790575 w 1121416"/>
                  <a:gd name="connsiteY26" fmla="*/ 9525 h 207169"/>
                  <a:gd name="connsiteX27" fmla="*/ 702469 w 1121416"/>
                  <a:gd name="connsiteY27" fmla="*/ 7144 h 207169"/>
                  <a:gd name="connsiteX28" fmla="*/ 559594 w 1121416"/>
                  <a:gd name="connsiteY28" fmla="*/ 0 h 207169"/>
                  <a:gd name="connsiteX29" fmla="*/ 338138 w 1121416"/>
                  <a:gd name="connsiteY29" fmla="*/ 2381 h 207169"/>
                  <a:gd name="connsiteX30" fmla="*/ 295275 w 1121416"/>
                  <a:gd name="connsiteY30" fmla="*/ 7144 h 207169"/>
                  <a:gd name="connsiteX31" fmla="*/ 278607 w 1121416"/>
                  <a:gd name="connsiteY31" fmla="*/ 9525 h 207169"/>
                  <a:gd name="connsiteX32" fmla="*/ 269082 w 1121416"/>
                  <a:gd name="connsiteY32" fmla="*/ 11906 h 207169"/>
                  <a:gd name="connsiteX33" fmla="*/ 238125 w 1121416"/>
                  <a:gd name="connsiteY33" fmla="*/ 14287 h 207169"/>
                  <a:gd name="connsiteX34" fmla="*/ 216694 w 1121416"/>
                  <a:gd name="connsiteY34" fmla="*/ 21431 h 207169"/>
                  <a:gd name="connsiteX35" fmla="*/ 195263 w 1121416"/>
                  <a:gd name="connsiteY35" fmla="*/ 26194 h 207169"/>
                  <a:gd name="connsiteX36" fmla="*/ 183357 w 1121416"/>
                  <a:gd name="connsiteY36" fmla="*/ 28575 h 207169"/>
                  <a:gd name="connsiteX37" fmla="*/ 147638 w 1121416"/>
                  <a:gd name="connsiteY37" fmla="*/ 38100 h 207169"/>
                  <a:gd name="connsiteX38" fmla="*/ 128588 w 1121416"/>
                  <a:gd name="connsiteY38" fmla="*/ 45244 h 207169"/>
                  <a:gd name="connsiteX39" fmla="*/ 109538 w 1121416"/>
                  <a:gd name="connsiteY39" fmla="*/ 50006 h 207169"/>
                  <a:gd name="connsiteX40" fmla="*/ 97632 w 1121416"/>
                  <a:gd name="connsiteY40" fmla="*/ 54769 h 207169"/>
                  <a:gd name="connsiteX41" fmla="*/ 80963 w 1121416"/>
                  <a:gd name="connsiteY41" fmla="*/ 57150 h 207169"/>
                  <a:gd name="connsiteX42" fmla="*/ 54769 w 1121416"/>
                  <a:gd name="connsiteY42" fmla="*/ 61912 h 207169"/>
                  <a:gd name="connsiteX43" fmla="*/ 47625 w 1121416"/>
                  <a:gd name="connsiteY43" fmla="*/ 64294 h 207169"/>
                  <a:gd name="connsiteX44" fmla="*/ 23813 w 1121416"/>
                  <a:gd name="connsiteY44" fmla="*/ 71437 h 207169"/>
                  <a:gd name="connsiteX45" fmla="*/ 9525 w 1121416"/>
                  <a:gd name="connsiteY45" fmla="*/ 80962 h 207169"/>
                  <a:gd name="connsiteX46" fmla="*/ 0 w 1121416"/>
                  <a:gd name="connsiteY46" fmla="*/ 104775 h 207169"/>
                  <a:gd name="connsiteX47" fmla="*/ 11907 w 1121416"/>
                  <a:gd name="connsiteY4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1443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121443 w 1121416"/>
                  <a:gd name="connsiteY6" fmla="*/ 152400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02407 w 1121416"/>
                  <a:gd name="connsiteY6" fmla="*/ 169069 h 207169"/>
                  <a:gd name="connsiteX7" fmla="*/ 238125 w 1121416"/>
                  <a:gd name="connsiteY7" fmla="*/ 178594 h 207169"/>
                  <a:gd name="connsiteX8" fmla="*/ 285750 w 1121416"/>
                  <a:gd name="connsiteY8" fmla="*/ 192881 h 207169"/>
                  <a:gd name="connsiteX9" fmla="*/ 457200 w 1121416"/>
                  <a:gd name="connsiteY9" fmla="*/ 207169 h 207169"/>
                  <a:gd name="connsiteX10" fmla="*/ 604838 w 1121416"/>
                  <a:gd name="connsiteY10" fmla="*/ 204787 h 207169"/>
                  <a:gd name="connsiteX11" fmla="*/ 623888 w 1121416"/>
                  <a:gd name="connsiteY11" fmla="*/ 200025 h 207169"/>
                  <a:gd name="connsiteX12" fmla="*/ 676275 w 1121416"/>
                  <a:gd name="connsiteY12" fmla="*/ 197644 h 207169"/>
                  <a:gd name="connsiteX13" fmla="*/ 797719 w 1121416"/>
                  <a:gd name="connsiteY13" fmla="*/ 188119 h 207169"/>
                  <a:gd name="connsiteX14" fmla="*/ 866775 w 1121416"/>
                  <a:gd name="connsiteY14" fmla="*/ 173831 h 207169"/>
                  <a:gd name="connsiteX15" fmla="*/ 940594 w 1121416"/>
                  <a:gd name="connsiteY15" fmla="*/ 169069 h 207169"/>
                  <a:gd name="connsiteX16" fmla="*/ 971550 w 1121416"/>
                  <a:gd name="connsiteY16" fmla="*/ 166687 h 207169"/>
                  <a:gd name="connsiteX17" fmla="*/ 1052513 w 1121416"/>
                  <a:gd name="connsiteY17" fmla="*/ 142875 h 207169"/>
                  <a:gd name="connsiteX18" fmla="*/ 1116807 w 1121416"/>
                  <a:gd name="connsiteY18" fmla="*/ 95250 h 207169"/>
                  <a:gd name="connsiteX19" fmla="*/ 1114425 w 1121416"/>
                  <a:gd name="connsiteY19" fmla="*/ 85725 h 207169"/>
                  <a:gd name="connsiteX20" fmla="*/ 1054894 w 1121416"/>
                  <a:gd name="connsiteY20" fmla="*/ 61912 h 207169"/>
                  <a:gd name="connsiteX21" fmla="*/ 966788 w 1121416"/>
                  <a:gd name="connsiteY21" fmla="*/ 35719 h 207169"/>
                  <a:gd name="connsiteX22" fmla="*/ 857250 w 1121416"/>
                  <a:gd name="connsiteY22" fmla="*/ 21431 h 207169"/>
                  <a:gd name="connsiteX23" fmla="*/ 790575 w 1121416"/>
                  <a:gd name="connsiteY23" fmla="*/ 9525 h 207169"/>
                  <a:gd name="connsiteX24" fmla="*/ 702469 w 1121416"/>
                  <a:gd name="connsiteY24" fmla="*/ 7144 h 207169"/>
                  <a:gd name="connsiteX25" fmla="*/ 559594 w 1121416"/>
                  <a:gd name="connsiteY25" fmla="*/ 0 h 207169"/>
                  <a:gd name="connsiteX26" fmla="*/ 338138 w 1121416"/>
                  <a:gd name="connsiteY26" fmla="*/ 2381 h 207169"/>
                  <a:gd name="connsiteX27" fmla="*/ 295275 w 1121416"/>
                  <a:gd name="connsiteY27" fmla="*/ 7144 h 207169"/>
                  <a:gd name="connsiteX28" fmla="*/ 278607 w 1121416"/>
                  <a:gd name="connsiteY28" fmla="*/ 9525 h 207169"/>
                  <a:gd name="connsiteX29" fmla="*/ 269082 w 1121416"/>
                  <a:gd name="connsiteY29" fmla="*/ 11906 h 207169"/>
                  <a:gd name="connsiteX30" fmla="*/ 238125 w 1121416"/>
                  <a:gd name="connsiteY30" fmla="*/ 14287 h 207169"/>
                  <a:gd name="connsiteX31" fmla="*/ 216694 w 1121416"/>
                  <a:gd name="connsiteY31" fmla="*/ 21431 h 207169"/>
                  <a:gd name="connsiteX32" fmla="*/ 195263 w 1121416"/>
                  <a:gd name="connsiteY32" fmla="*/ 26194 h 207169"/>
                  <a:gd name="connsiteX33" fmla="*/ 183357 w 1121416"/>
                  <a:gd name="connsiteY33" fmla="*/ 28575 h 207169"/>
                  <a:gd name="connsiteX34" fmla="*/ 147638 w 1121416"/>
                  <a:gd name="connsiteY34" fmla="*/ 38100 h 207169"/>
                  <a:gd name="connsiteX35" fmla="*/ 128588 w 1121416"/>
                  <a:gd name="connsiteY35" fmla="*/ 45244 h 207169"/>
                  <a:gd name="connsiteX36" fmla="*/ 109538 w 1121416"/>
                  <a:gd name="connsiteY36" fmla="*/ 50006 h 207169"/>
                  <a:gd name="connsiteX37" fmla="*/ 97632 w 1121416"/>
                  <a:gd name="connsiteY37" fmla="*/ 54769 h 207169"/>
                  <a:gd name="connsiteX38" fmla="*/ 80963 w 1121416"/>
                  <a:gd name="connsiteY38" fmla="*/ 57150 h 207169"/>
                  <a:gd name="connsiteX39" fmla="*/ 54769 w 1121416"/>
                  <a:gd name="connsiteY39" fmla="*/ 61912 h 207169"/>
                  <a:gd name="connsiteX40" fmla="*/ 47625 w 1121416"/>
                  <a:gd name="connsiteY40" fmla="*/ 64294 h 207169"/>
                  <a:gd name="connsiteX41" fmla="*/ 23813 w 1121416"/>
                  <a:gd name="connsiteY41" fmla="*/ 71437 h 207169"/>
                  <a:gd name="connsiteX42" fmla="*/ 9525 w 1121416"/>
                  <a:gd name="connsiteY42" fmla="*/ 80962 h 207169"/>
                  <a:gd name="connsiteX43" fmla="*/ 0 w 1121416"/>
                  <a:gd name="connsiteY43" fmla="*/ 104775 h 207169"/>
                  <a:gd name="connsiteX44" fmla="*/ 11907 w 1121416"/>
                  <a:gd name="connsiteY4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43" fmla="*/ 11907 w 1121416"/>
                  <a:gd name="connsiteY43" fmla="*/ 111919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23813 w 1121416"/>
                  <a:gd name="connsiteY39" fmla="*/ 71437 h 207169"/>
                  <a:gd name="connsiteX40" fmla="*/ 9525 w 1121416"/>
                  <a:gd name="connsiteY40" fmla="*/ 80962 h 207169"/>
                  <a:gd name="connsiteX41" fmla="*/ 0 w 1121416"/>
                  <a:gd name="connsiteY4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9525 w 1121416"/>
                  <a:gd name="connsiteY39" fmla="*/ 80962 h 207169"/>
                  <a:gd name="connsiteX40" fmla="*/ 0 w 1121416"/>
                  <a:gd name="connsiteY4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9525 w 1121416"/>
                  <a:gd name="connsiteY38" fmla="*/ 80962 h 207169"/>
                  <a:gd name="connsiteX39" fmla="*/ 0 w 1121416"/>
                  <a:gd name="connsiteY3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54769 w 1121416"/>
                  <a:gd name="connsiteY36" fmla="*/ 61912 h 207169"/>
                  <a:gd name="connsiteX37" fmla="*/ 9525 w 1121416"/>
                  <a:gd name="connsiteY37" fmla="*/ 80962 h 207169"/>
                  <a:gd name="connsiteX38" fmla="*/ 0 w 1121416"/>
                  <a:gd name="connsiteY38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54769 w 1121416"/>
                  <a:gd name="connsiteY35" fmla="*/ 61912 h 207169"/>
                  <a:gd name="connsiteX36" fmla="*/ 9525 w 1121416"/>
                  <a:gd name="connsiteY36" fmla="*/ 80962 h 207169"/>
                  <a:gd name="connsiteX37" fmla="*/ 0 w 1121416"/>
                  <a:gd name="connsiteY37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54769 w 1121416"/>
                  <a:gd name="connsiteY34" fmla="*/ 61912 h 207169"/>
                  <a:gd name="connsiteX35" fmla="*/ 9525 w 1121416"/>
                  <a:gd name="connsiteY35" fmla="*/ 80962 h 207169"/>
                  <a:gd name="connsiteX36" fmla="*/ 0 w 1121416"/>
                  <a:gd name="connsiteY36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54769 w 1121416"/>
                  <a:gd name="connsiteY33" fmla="*/ 61912 h 207169"/>
                  <a:gd name="connsiteX34" fmla="*/ 9525 w 1121416"/>
                  <a:gd name="connsiteY34" fmla="*/ 80962 h 207169"/>
                  <a:gd name="connsiteX35" fmla="*/ 0 w 1121416"/>
                  <a:gd name="connsiteY35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54769 w 1121416"/>
                  <a:gd name="connsiteY32" fmla="*/ 61912 h 207169"/>
                  <a:gd name="connsiteX33" fmla="*/ 9525 w 1121416"/>
                  <a:gd name="connsiteY33" fmla="*/ 80962 h 207169"/>
                  <a:gd name="connsiteX34" fmla="*/ 0 w 1121416"/>
                  <a:gd name="connsiteY34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54769 w 1121416"/>
                  <a:gd name="connsiteY31" fmla="*/ 61912 h 207169"/>
                  <a:gd name="connsiteX32" fmla="*/ 9525 w 1121416"/>
                  <a:gd name="connsiteY32" fmla="*/ 80962 h 207169"/>
                  <a:gd name="connsiteX33" fmla="*/ 0 w 1121416"/>
                  <a:gd name="connsiteY33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54769 w 1121416"/>
                  <a:gd name="connsiteY30" fmla="*/ 61912 h 207169"/>
                  <a:gd name="connsiteX31" fmla="*/ 9525 w 1121416"/>
                  <a:gd name="connsiteY31" fmla="*/ 80962 h 207169"/>
                  <a:gd name="connsiteX32" fmla="*/ 0 w 1121416"/>
                  <a:gd name="connsiteY3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54769 w 1121416"/>
                  <a:gd name="connsiteY29" fmla="*/ 61912 h 207169"/>
                  <a:gd name="connsiteX30" fmla="*/ 9525 w 1121416"/>
                  <a:gd name="connsiteY30" fmla="*/ 80962 h 207169"/>
                  <a:gd name="connsiteX31" fmla="*/ 0 w 1121416"/>
                  <a:gd name="connsiteY3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38125 w 1121416"/>
                  <a:gd name="connsiteY27" fmla="*/ 14287 h 207169"/>
                  <a:gd name="connsiteX28" fmla="*/ 54769 w 1121416"/>
                  <a:gd name="connsiteY28" fmla="*/ 61912 h 207169"/>
                  <a:gd name="connsiteX29" fmla="*/ 9525 w 1121416"/>
                  <a:gd name="connsiteY29" fmla="*/ 80962 h 207169"/>
                  <a:gd name="connsiteX30" fmla="*/ 0 w 1121416"/>
                  <a:gd name="connsiteY3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78607 w 1121416"/>
                  <a:gd name="connsiteY25" fmla="*/ 9525 h 207169"/>
                  <a:gd name="connsiteX26" fmla="*/ 238125 w 1121416"/>
                  <a:gd name="connsiteY26" fmla="*/ 14287 h 207169"/>
                  <a:gd name="connsiteX27" fmla="*/ 54769 w 1121416"/>
                  <a:gd name="connsiteY27" fmla="*/ 61912 h 207169"/>
                  <a:gd name="connsiteX28" fmla="*/ 9525 w 1121416"/>
                  <a:gd name="connsiteY28" fmla="*/ 80962 h 207169"/>
                  <a:gd name="connsiteX29" fmla="*/ 0 w 1121416"/>
                  <a:gd name="connsiteY2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85750 w 1121416"/>
                  <a:gd name="connsiteY5" fmla="*/ 192881 h 207169"/>
                  <a:gd name="connsiteX6" fmla="*/ 457200 w 1121416"/>
                  <a:gd name="connsiteY6" fmla="*/ 207169 h 207169"/>
                  <a:gd name="connsiteX7" fmla="*/ 604838 w 1121416"/>
                  <a:gd name="connsiteY7" fmla="*/ 204787 h 207169"/>
                  <a:gd name="connsiteX8" fmla="*/ 623888 w 1121416"/>
                  <a:gd name="connsiteY8" fmla="*/ 200025 h 207169"/>
                  <a:gd name="connsiteX9" fmla="*/ 676275 w 1121416"/>
                  <a:gd name="connsiteY9" fmla="*/ 197644 h 207169"/>
                  <a:gd name="connsiteX10" fmla="*/ 797719 w 1121416"/>
                  <a:gd name="connsiteY10" fmla="*/ 188119 h 207169"/>
                  <a:gd name="connsiteX11" fmla="*/ 866775 w 1121416"/>
                  <a:gd name="connsiteY11" fmla="*/ 173831 h 207169"/>
                  <a:gd name="connsiteX12" fmla="*/ 940594 w 1121416"/>
                  <a:gd name="connsiteY12" fmla="*/ 169069 h 207169"/>
                  <a:gd name="connsiteX13" fmla="*/ 971550 w 1121416"/>
                  <a:gd name="connsiteY13" fmla="*/ 166687 h 207169"/>
                  <a:gd name="connsiteX14" fmla="*/ 1052513 w 1121416"/>
                  <a:gd name="connsiteY14" fmla="*/ 142875 h 207169"/>
                  <a:gd name="connsiteX15" fmla="*/ 1116807 w 1121416"/>
                  <a:gd name="connsiteY15" fmla="*/ 95250 h 207169"/>
                  <a:gd name="connsiteX16" fmla="*/ 1114425 w 1121416"/>
                  <a:gd name="connsiteY16" fmla="*/ 85725 h 207169"/>
                  <a:gd name="connsiteX17" fmla="*/ 1054894 w 1121416"/>
                  <a:gd name="connsiteY17" fmla="*/ 61912 h 207169"/>
                  <a:gd name="connsiteX18" fmla="*/ 966788 w 1121416"/>
                  <a:gd name="connsiteY18" fmla="*/ 35719 h 207169"/>
                  <a:gd name="connsiteX19" fmla="*/ 857250 w 1121416"/>
                  <a:gd name="connsiteY19" fmla="*/ 21431 h 207169"/>
                  <a:gd name="connsiteX20" fmla="*/ 790575 w 1121416"/>
                  <a:gd name="connsiteY20" fmla="*/ 9525 h 207169"/>
                  <a:gd name="connsiteX21" fmla="*/ 702469 w 1121416"/>
                  <a:gd name="connsiteY21" fmla="*/ 7144 h 207169"/>
                  <a:gd name="connsiteX22" fmla="*/ 559594 w 1121416"/>
                  <a:gd name="connsiteY22" fmla="*/ 0 h 207169"/>
                  <a:gd name="connsiteX23" fmla="*/ 338138 w 1121416"/>
                  <a:gd name="connsiteY23" fmla="*/ 2381 h 207169"/>
                  <a:gd name="connsiteX24" fmla="*/ 278607 w 1121416"/>
                  <a:gd name="connsiteY24" fmla="*/ 9525 h 207169"/>
                  <a:gd name="connsiteX25" fmla="*/ 238125 w 1121416"/>
                  <a:gd name="connsiteY25" fmla="*/ 14287 h 207169"/>
                  <a:gd name="connsiteX26" fmla="*/ 54769 w 1121416"/>
                  <a:gd name="connsiteY26" fmla="*/ 61912 h 207169"/>
                  <a:gd name="connsiteX27" fmla="*/ 9525 w 1121416"/>
                  <a:gd name="connsiteY27" fmla="*/ 80962 h 207169"/>
                  <a:gd name="connsiteX28" fmla="*/ 0 w 1121416"/>
                  <a:gd name="connsiteY28" fmla="*/ 104775 h 207169"/>
                  <a:gd name="connsiteX0" fmla="*/ 0 w 1129985"/>
                  <a:gd name="connsiteY0" fmla="*/ 104775 h 207169"/>
                  <a:gd name="connsiteX1" fmla="*/ 23813 w 1129985"/>
                  <a:gd name="connsiteY1" fmla="*/ 121444 h 207169"/>
                  <a:gd name="connsiteX2" fmla="*/ 28575 w 1129985"/>
                  <a:gd name="connsiteY2" fmla="*/ 128587 h 207169"/>
                  <a:gd name="connsiteX3" fmla="*/ 47625 w 1129985"/>
                  <a:gd name="connsiteY3" fmla="*/ 140494 h 207169"/>
                  <a:gd name="connsiteX4" fmla="*/ 104775 w 1129985"/>
                  <a:gd name="connsiteY4" fmla="*/ 150019 h 207169"/>
                  <a:gd name="connsiteX5" fmla="*/ 285750 w 1129985"/>
                  <a:gd name="connsiteY5" fmla="*/ 192881 h 207169"/>
                  <a:gd name="connsiteX6" fmla="*/ 457200 w 1129985"/>
                  <a:gd name="connsiteY6" fmla="*/ 207169 h 207169"/>
                  <a:gd name="connsiteX7" fmla="*/ 604838 w 1129985"/>
                  <a:gd name="connsiteY7" fmla="*/ 204787 h 207169"/>
                  <a:gd name="connsiteX8" fmla="*/ 623888 w 1129985"/>
                  <a:gd name="connsiteY8" fmla="*/ 200025 h 207169"/>
                  <a:gd name="connsiteX9" fmla="*/ 676275 w 1129985"/>
                  <a:gd name="connsiteY9" fmla="*/ 197644 h 207169"/>
                  <a:gd name="connsiteX10" fmla="*/ 797719 w 1129985"/>
                  <a:gd name="connsiteY10" fmla="*/ 188119 h 207169"/>
                  <a:gd name="connsiteX11" fmla="*/ 866775 w 1129985"/>
                  <a:gd name="connsiteY11" fmla="*/ 173831 h 207169"/>
                  <a:gd name="connsiteX12" fmla="*/ 940594 w 1129985"/>
                  <a:gd name="connsiteY12" fmla="*/ 169069 h 207169"/>
                  <a:gd name="connsiteX13" fmla="*/ 971550 w 1129985"/>
                  <a:gd name="connsiteY13" fmla="*/ 166687 h 207169"/>
                  <a:gd name="connsiteX14" fmla="*/ 1052513 w 1129985"/>
                  <a:gd name="connsiteY14" fmla="*/ 142875 h 207169"/>
                  <a:gd name="connsiteX15" fmla="*/ 1125625 w 1129985"/>
                  <a:gd name="connsiteY15" fmla="*/ 102808 h 207169"/>
                  <a:gd name="connsiteX16" fmla="*/ 1114425 w 1129985"/>
                  <a:gd name="connsiteY16" fmla="*/ 85725 h 207169"/>
                  <a:gd name="connsiteX17" fmla="*/ 1054894 w 1129985"/>
                  <a:gd name="connsiteY17" fmla="*/ 61912 h 207169"/>
                  <a:gd name="connsiteX18" fmla="*/ 966788 w 1129985"/>
                  <a:gd name="connsiteY18" fmla="*/ 35719 h 207169"/>
                  <a:gd name="connsiteX19" fmla="*/ 857250 w 1129985"/>
                  <a:gd name="connsiteY19" fmla="*/ 21431 h 207169"/>
                  <a:gd name="connsiteX20" fmla="*/ 790575 w 1129985"/>
                  <a:gd name="connsiteY20" fmla="*/ 9525 h 207169"/>
                  <a:gd name="connsiteX21" fmla="*/ 702469 w 1129985"/>
                  <a:gd name="connsiteY21" fmla="*/ 7144 h 207169"/>
                  <a:gd name="connsiteX22" fmla="*/ 559594 w 1129985"/>
                  <a:gd name="connsiteY22" fmla="*/ 0 h 207169"/>
                  <a:gd name="connsiteX23" fmla="*/ 338138 w 1129985"/>
                  <a:gd name="connsiteY23" fmla="*/ 2381 h 207169"/>
                  <a:gd name="connsiteX24" fmla="*/ 278607 w 1129985"/>
                  <a:gd name="connsiteY24" fmla="*/ 9525 h 207169"/>
                  <a:gd name="connsiteX25" fmla="*/ 238125 w 1129985"/>
                  <a:gd name="connsiteY25" fmla="*/ 14287 h 207169"/>
                  <a:gd name="connsiteX26" fmla="*/ 54769 w 1129985"/>
                  <a:gd name="connsiteY26" fmla="*/ 61912 h 207169"/>
                  <a:gd name="connsiteX27" fmla="*/ 9525 w 1129985"/>
                  <a:gd name="connsiteY27" fmla="*/ 80962 h 207169"/>
                  <a:gd name="connsiteX28" fmla="*/ 0 w 1129985"/>
                  <a:gd name="connsiteY28" fmla="*/ 104775 h 207169"/>
                  <a:gd name="connsiteX0" fmla="*/ 0 w 1128285"/>
                  <a:gd name="connsiteY0" fmla="*/ 104775 h 207169"/>
                  <a:gd name="connsiteX1" fmla="*/ 23813 w 1128285"/>
                  <a:gd name="connsiteY1" fmla="*/ 121444 h 207169"/>
                  <a:gd name="connsiteX2" fmla="*/ 28575 w 1128285"/>
                  <a:gd name="connsiteY2" fmla="*/ 128587 h 207169"/>
                  <a:gd name="connsiteX3" fmla="*/ 47625 w 1128285"/>
                  <a:gd name="connsiteY3" fmla="*/ 140494 h 207169"/>
                  <a:gd name="connsiteX4" fmla="*/ 104775 w 1128285"/>
                  <a:gd name="connsiteY4" fmla="*/ 150019 h 207169"/>
                  <a:gd name="connsiteX5" fmla="*/ 285750 w 1128285"/>
                  <a:gd name="connsiteY5" fmla="*/ 192881 h 207169"/>
                  <a:gd name="connsiteX6" fmla="*/ 457200 w 1128285"/>
                  <a:gd name="connsiteY6" fmla="*/ 207169 h 207169"/>
                  <a:gd name="connsiteX7" fmla="*/ 604838 w 1128285"/>
                  <a:gd name="connsiteY7" fmla="*/ 204787 h 207169"/>
                  <a:gd name="connsiteX8" fmla="*/ 623888 w 1128285"/>
                  <a:gd name="connsiteY8" fmla="*/ 200025 h 207169"/>
                  <a:gd name="connsiteX9" fmla="*/ 676275 w 1128285"/>
                  <a:gd name="connsiteY9" fmla="*/ 197644 h 207169"/>
                  <a:gd name="connsiteX10" fmla="*/ 797719 w 1128285"/>
                  <a:gd name="connsiteY10" fmla="*/ 188119 h 207169"/>
                  <a:gd name="connsiteX11" fmla="*/ 866775 w 1128285"/>
                  <a:gd name="connsiteY11" fmla="*/ 173831 h 207169"/>
                  <a:gd name="connsiteX12" fmla="*/ 940594 w 1128285"/>
                  <a:gd name="connsiteY12" fmla="*/ 169069 h 207169"/>
                  <a:gd name="connsiteX13" fmla="*/ 971550 w 1128285"/>
                  <a:gd name="connsiteY13" fmla="*/ 166687 h 207169"/>
                  <a:gd name="connsiteX14" fmla="*/ 1052513 w 1128285"/>
                  <a:gd name="connsiteY14" fmla="*/ 142875 h 207169"/>
                  <a:gd name="connsiteX15" fmla="*/ 1125625 w 1128285"/>
                  <a:gd name="connsiteY15" fmla="*/ 102808 h 207169"/>
                  <a:gd name="connsiteX16" fmla="*/ 1106866 w 1128285"/>
                  <a:gd name="connsiteY16" fmla="*/ 74387 h 207169"/>
                  <a:gd name="connsiteX17" fmla="*/ 1054894 w 1128285"/>
                  <a:gd name="connsiteY17" fmla="*/ 61912 h 207169"/>
                  <a:gd name="connsiteX18" fmla="*/ 966788 w 1128285"/>
                  <a:gd name="connsiteY18" fmla="*/ 35719 h 207169"/>
                  <a:gd name="connsiteX19" fmla="*/ 857250 w 1128285"/>
                  <a:gd name="connsiteY19" fmla="*/ 21431 h 207169"/>
                  <a:gd name="connsiteX20" fmla="*/ 790575 w 1128285"/>
                  <a:gd name="connsiteY20" fmla="*/ 9525 h 207169"/>
                  <a:gd name="connsiteX21" fmla="*/ 702469 w 1128285"/>
                  <a:gd name="connsiteY21" fmla="*/ 7144 h 207169"/>
                  <a:gd name="connsiteX22" fmla="*/ 559594 w 1128285"/>
                  <a:gd name="connsiteY22" fmla="*/ 0 h 207169"/>
                  <a:gd name="connsiteX23" fmla="*/ 338138 w 1128285"/>
                  <a:gd name="connsiteY23" fmla="*/ 2381 h 207169"/>
                  <a:gd name="connsiteX24" fmla="*/ 278607 w 1128285"/>
                  <a:gd name="connsiteY24" fmla="*/ 9525 h 207169"/>
                  <a:gd name="connsiteX25" fmla="*/ 238125 w 1128285"/>
                  <a:gd name="connsiteY25" fmla="*/ 14287 h 207169"/>
                  <a:gd name="connsiteX26" fmla="*/ 54769 w 1128285"/>
                  <a:gd name="connsiteY26" fmla="*/ 61912 h 207169"/>
                  <a:gd name="connsiteX27" fmla="*/ 9525 w 1128285"/>
                  <a:gd name="connsiteY27" fmla="*/ 80962 h 207169"/>
                  <a:gd name="connsiteX28" fmla="*/ 0 w 1128285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66788 w 1128511"/>
                  <a:gd name="connsiteY18" fmla="*/ 35719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8055 w 1128511"/>
                  <a:gd name="connsiteY20" fmla="*/ 448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47625 w 1128511"/>
                  <a:gd name="connsiteY2" fmla="*/ 140494 h 207169"/>
                  <a:gd name="connsiteX3" fmla="*/ 104775 w 1128511"/>
                  <a:gd name="connsiteY3" fmla="*/ 150019 h 207169"/>
                  <a:gd name="connsiteX4" fmla="*/ 285750 w 1128511"/>
                  <a:gd name="connsiteY4" fmla="*/ 192881 h 207169"/>
                  <a:gd name="connsiteX5" fmla="*/ 457200 w 1128511"/>
                  <a:gd name="connsiteY5" fmla="*/ 207169 h 207169"/>
                  <a:gd name="connsiteX6" fmla="*/ 604838 w 1128511"/>
                  <a:gd name="connsiteY6" fmla="*/ 204787 h 207169"/>
                  <a:gd name="connsiteX7" fmla="*/ 623888 w 1128511"/>
                  <a:gd name="connsiteY7" fmla="*/ 200025 h 207169"/>
                  <a:gd name="connsiteX8" fmla="*/ 676275 w 1128511"/>
                  <a:gd name="connsiteY8" fmla="*/ 197644 h 207169"/>
                  <a:gd name="connsiteX9" fmla="*/ 797719 w 1128511"/>
                  <a:gd name="connsiteY9" fmla="*/ 188119 h 207169"/>
                  <a:gd name="connsiteX10" fmla="*/ 866775 w 1128511"/>
                  <a:gd name="connsiteY10" fmla="*/ 173831 h 207169"/>
                  <a:gd name="connsiteX11" fmla="*/ 940594 w 1128511"/>
                  <a:gd name="connsiteY11" fmla="*/ 169069 h 207169"/>
                  <a:gd name="connsiteX12" fmla="*/ 971550 w 1128511"/>
                  <a:gd name="connsiteY12" fmla="*/ 166687 h 207169"/>
                  <a:gd name="connsiteX13" fmla="*/ 1052513 w 1128511"/>
                  <a:gd name="connsiteY13" fmla="*/ 142875 h 207169"/>
                  <a:gd name="connsiteX14" fmla="*/ 1125625 w 1128511"/>
                  <a:gd name="connsiteY14" fmla="*/ 102808 h 207169"/>
                  <a:gd name="connsiteX15" fmla="*/ 1106866 w 1128511"/>
                  <a:gd name="connsiteY15" fmla="*/ 74387 h 207169"/>
                  <a:gd name="connsiteX16" fmla="*/ 1042296 w 1128511"/>
                  <a:gd name="connsiteY16" fmla="*/ 44275 h 207169"/>
                  <a:gd name="connsiteX17" fmla="*/ 941593 w 1128511"/>
                  <a:gd name="connsiteY17" fmla="*/ 25641 h 207169"/>
                  <a:gd name="connsiteX18" fmla="*/ 858510 w 1128511"/>
                  <a:gd name="connsiteY18" fmla="*/ 13873 h 207169"/>
                  <a:gd name="connsiteX19" fmla="*/ 783016 w 1128511"/>
                  <a:gd name="connsiteY19" fmla="*/ 3226 h 207169"/>
                  <a:gd name="connsiteX20" fmla="*/ 693651 w 1128511"/>
                  <a:gd name="connsiteY20" fmla="*/ 2105 h 207169"/>
                  <a:gd name="connsiteX21" fmla="*/ 559594 w 1128511"/>
                  <a:gd name="connsiteY21" fmla="*/ 0 h 207169"/>
                  <a:gd name="connsiteX22" fmla="*/ 348216 w 1128511"/>
                  <a:gd name="connsiteY22" fmla="*/ 4901 h 207169"/>
                  <a:gd name="connsiteX23" fmla="*/ 221748 w 1128511"/>
                  <a:gd name="connsiteY23" fmla="*/ 15547 h 207169"/>
                  <a:gd name="connsiteX24" fmla="*/ 63587 w 1128511"/>
                  <a:gd name="connsiteY24" fmla="*/ 53093 h 207169"/>
                  <a:gd name="connsiteX25" fmla="*/ 9525 w 1128511"/>
                  <a:gd name="connsiteY25" fmla="*/ 80962 h 207169"/>
                  <a:gd name="connsiteX26" fmla="*/ 0 w 1128511"/>
                  <a:gd name="connsiteY26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104775 w 1128511"/>
                  <a:gd name="connsiteY2" fmla="*/ 150019 h 207169"/>
                  <a:gd name="connsiteX3" fmla="*/ 285750 w 1128511"/>
                  <a:gd name="connsiteY3" fmla="*/ 192881 h 207169"/>
                  <a:gd name="connsiteX4" fmla="*/ 457200 w 1128511"/>
                  <a:gd name="connsiteY4" fmla="*/ 207169 h 207169"/>
                  <a:gd name="connsiteX5" fmla="*/ 604838 w 1128511"/>
                  <a:gd name="connsiteY5" fmla="*/ 204787 h 207169"/>
                  <a:gd name="connsiteX6" fmla="*/ 623888 w 1128511"/>
                  <a:gd name="connsiteY6" fmla="*/ 200025 h 207169"/>
                  <a:gd name="connsiteX7" fmla="*/ 676275 w 1128511"/>
                  <a:gd name="connsiteY7" fmla="*/ 197644 h 207169"/>
                  <a:gd name="connsiteX8" fmla="*/ 797719 w 1128511"/>
                  <a:gd name="connsiteY8" fmla="*/ 188119 h 207169"/>
                  <a:gd name="connsiteX9" fmla="*/ 866775 w 1128511"/>
                  <a:gd name="connsiteY9" fmla="*/ 173831 h 207169"/>
                  <a:gd name="connsiteX10" fmla="*/ 940594 w 1128511"/>
                  <a:gd name="connsiteY10" fmla="*/ 169069 h 207169"/>
                  <a:gd name="connsiteX11" fmla="*/ 971550 w 1128511"/>
                  <a:gd name="connsiteY11" fmla="*/ 166687 h 207169"/>
                  <a:gd name="connsiteX12" fmla="*/ 1052513 w 1128511"/>
                  <a:gd name="connsiteY12" fmla="*/ 142875 h 207169"/>
                  <a:gd name="connsiteX13" fmla="*/ 1125625 w 1128511"/>
                  <a:gd name="connsiteY13" fmla="*/ 102808 h 207169"/>
                  <a:gd name="connsiteX14" fmla="*/ 1106866 w 1128511"/>
                  <a:gd name="connsiteY14" fmla="*/ 74387 h 207169"/>
                  <a:gd name="connsiteX15" fmla="*/ 1042296 w 1128511"/>
                  <a:gd name="connsiteY15" fmla="*/ 44275 h 207169"/>
                  <a:gd name="connsiteX16" fmla="*/ 941593 w 1128511"/>
                  <a:gd name="connsiteY16" fmla="*/ 25641 h 207169"/>
                  <a:gd name="connsiteX17" fmla="*/ 858510 w 1128511"/>
                  <a:gd name="connsiteY17" fmla="*/ 13873 h 207169"/>
                  <a:gd name="connsiteX18" fmla="*/ 783016 w 1128511"/>
                  <a:gd name="connsiteY18" fmla="*/ 3226 h 207169"/>
                  <a:gd name="connsiteX19" fmla="*/ 693651 w 1128511"/>
                  <a:gd name="connsiteY19" fmla="*/ 2105 h 207169"/>
                  <a:gd name="connsiteX20" fmla="*/ 559594 w 1128511"/>
                  <a:gd name="connsiteY20" fmla="*/ 0 h 207169"/>
                  <a:gd name="connsiteX21" fmla="*/ 348216 w 1128511"/>
                  <a:gd name="connsiteY21" fmla="*/ 4901 h 207169"/>
                  <a:gd name="connsiteX22" fmla="*/ 221748 w 1128511"/>
                  <a:gd name="connsiteY22" fmla="*/ 15547 h 207169"/>
                  <a:gd name="connsiteX23" fmla="*/ 63587 w 1128511"/>
                  <a:gd name="connsiteY23" fmla="*/ 53093 h 207169"/>
                  <a:gd name="connsiteX24" fmla="*/ 9525 w 1128511"/>
                  <a:gd name="connsiteY24" fmla="*/ 80962 h 207169"/>
                  <a:gd name="connsiteX25" fmla="*/ 0 w 1128511"/>
                  <a:gd name="connsiteY25" fmla="*/ 104775 h 207169"/>
                  <a:gd name="connsiteX0" fmla="*/ 1574 w 1130085"/>
                  <a:gd name="connsiteY0" fmla="*/ 104775 h 207169"/>
                  <a:gd name="connsiteX1" fmla="*/ 46803 w 1130085"/>
                  <a:gd name="connsiteY1" fmla="*/ 135301 h 207169"/>
                  <a:gd name="connsiteX2" fmla="*/ 106349 w 1130085"/>
                  <a:gd name="connsiteY2" fmla="*/ 150019 h 207169"/>
                  <a:gd name="connsiteX3" fmla="*/ 287324 w 1130085"/>
                  <a:gd name="connsiteY3" fmla="*/ 192881 h 207169"/>
                  <a:gd name="connsiteX4" fmla="*/ 458774 w 1130085"/>
                  <a:gd name="connsiteY4" fmla="*/ 207169 h 207169"/>
                  <a:gd name="connsiteX5" fmla="*/ 606412 w 1130085"/>
                  <a:gd name="connsiteY5" fmla="*/ 204787 h 207169"/>
                  <a:gd name="connsiteX6" fmla="*/ 625462 w 1130085"/>
                  <a:gd name="connsiteY6" fmla="*/ 200025 h 207169"/>
                  <a:gd name="connsiteX7" fmla="*/ 677849 w 1130085"/>
                  <a:gd name="connsiteY7" fmla="*/ 197644 h 207169"/>
                  <a:gd name="connsiteX8" fmla="*/ 799293 w 1130085"/>
                  <a:gd name="connsiteY8" fmla="*/ 188119 h 207169"/>
                  <a:gd name="connsiteX9" fmla="*/ 868349 w 1130085"/>
                  <a:gd name="connsiteY9" fmla="*/ 173831 h 207169"/>
                  <a:gd name="connsiteX10" fmla="*/ 942168 w 1130085"/>
                  <a:gd name="connsiteY10" fmla="*/ 169069 h 207169"/>
                  <a:gd name="connsiteX11" fmla="*/ 973124 w 1130085"/>
                  <a:gd name="connsiteY11" fmla="*/ 166687 h 207169"/>
                  <a:gd name="connsiteX12" fmla="*/ 1054087 w 1130085"/>
                  <a:gd name="connsiteY12" fmla="*/ 142875 h 207169"/>
                  <a:gd name="connsiteX13" fmla="*/ 1127199 w 1130085"/>
                  <a:gd name="connsiteY13" fmla="*/ 102808 h 207169"/>
                  <a:gd name="connsiteX14" fmla="*/ 1108440 w 1130085"/>
                  <a:gd name="connsiteY14" fmla="*/ 74387 h 207169"/>
                  <a:gd name="connsiteX15" fmla="*/ 1043870 w 1130085"/>
                  <a:gd name="connsiteY15" fmla="*/ 44275 h 207169"/>
                  <a:gd name="connsiteX16" fmla="*/ 943167 w 1130085"/>
                  <a:gd name="connsiteY16" fmla="*/ 25641 h 207169"/>
                  <a:gd name="connsiteX17" fmla="*/ 860084 w 1130085"/>
                  <a:gd name="connsiteY17" fmla="*/ 13873 h 207169"/>
                  <a:gd name="connsiteX18" fmla="*/ 784590 w 1130085"/>
                  <a:gd name="connsiteY18" fmla="*/ 3226 h 207169"/>
                  <a:gd name="connsiteX19" fmla="*/ 695225 w 1130085"/>
                  <a:gd name="connsiteY19" fmla="*/ 2105 h 207169"/>
                  <a:gd name="connsiteX20" fmla="*/ 561168 w 1130085"/>
                  <a:gd name="connsiteY20" fmla="*/ 0 h 207169"/>
                  <a:gd name="connsiteX21" fmla="*/ 349790 w 1130085"/>
                  <a:gd name="connsiteY21" fmla="*/ 4901 h 207169"/>
                  <a:gd name="connsiteX22" fmla="*/ 223322 w 1130085"/>
                  <a:gd name="connsiteY22" fmla="*/ 15547 h 207169"/>
                  <a:gd name="connsiteX23" fmla="*/ 65161 w 1130085"/>
                  <a:gd name="connsiteY23" fmla="*/ 53093 h 207169"/>
                  <a:gd name="connsiteX24" fmla="*/ 11099 w 1130085"/>
                  <a:gd name="connsiteY24" fmla="*/ 80962 h 207169"/>
                  <a:gd name="connsiteX25" fmla="*/ 1574 w 1130085"/>
                  <a:gd name="connsiteY25" fmla="*/ 104775 h 207169"/>
                  <a:gd name="connsiteX0" fmla="*/ 2544 w 1131055"/>
                  <a:gd name="connsiteY0" fmla="*/ 104775 h 207169"/>
                  <a:gd name="connsiteX1" fmla="*/ 47773 w 1131055"/>
                  <a:gd name="connsiteY1" fmla="*/ 135301 h 207169"/>
                  <a:gd name="connsiteX2" fmla="*/ 107319 w 1131055"/>
                  <a:gd name="connsiteY2" fmla="*/ 150019 h 207169"/>
                  <a:gd name="connsiteX3" fmla="*/ 288294 w 1131055"/>
                  <a:gd name="connsiteY3" fmla="*/ 192881 h 207169"/>
                  <a:gd name="connsiteX4" fmla="*/ 459744 w 1131055"/>
                  <a:gd name="connsiteY4" fmla="*/ 207169 h 207169"/>
                  <a:gd name="connsiteX5" fmla="*/ 607382 w 1131055"/>
                  <a:gd name="connsiteY5" fmla="*/ 204787 h 207169"/>
                  <a:gd name="connsiteX6" fmla="*/ 626432 w 1131055"/>
                  <a:gd name="connsiteY6" fmla="*/ 200025 h 207169"/>
                  <a:gd name="connsiteX7" fmla="*/ 678819 w 1131055"/>
                  <a:gd name="connsiteY7" fmla="*/ 197644 h 207169"/>
                  <a:gd name="connsiteX8" fmla="*/ 800263 w 1131055"/>
                  <a:gd name="connsiteY8" fmla="*/ 188119 h 207169"/>
                  <a:gd name="connsiteX9" fmla="*/ 869319 w 1131055"/>
                  <a:gd name="connsiteY9" fmla="*/ 173831 h 207169"/>
                  <a:gd name="connsiteX10" fmla="*/ 943138 w 1131055"/>
                  <a:gd name="connsiteY10" fmla="*/ 169069 h 207169"/>
                  <a:gd name="connsiteX11" fmla="*/ 974094 w 1131055"/>
                  <a:gd name="connsiteY11" fmla="*/ 166687 h 207169"/>
                  <a:gd name="connsiteX12" fmla="*/ 1055057 w 1131055"/>
                  <a:gd name="connsiteY12" fmla="*/ 142875 h 207169"/>
                  <a:gd name="connsiteX13" fmla="*/ 1128169 w 1131055"/>
                  <a:gd name="connsiteY13" fmla="*/ 102808 h 207169"/>
                  <a:gd name="connsiteX14" fmla="*/ 1109410 w 1131055"/>
                  <a:gd name="connsiteY14" fmla="*/ 74387 h 207169"/>
                  <a:gd name="connsiteX15" fmla="*/ 1044840 w 1131055"/>
                  <a:gd name="connsiteY15" fmla="*/ 44275 h 207169"/>
                  <a:gd name="connsiteX16" fmla="*/ 944137 w 1131055"/>
                  <a:gd name="connsiteY16" fmla="*/ 25641 h 207169"/>
                  <a:gd name="connsiteX17" fmla="*/ 861054 w 1131055"/>
                  <a:gd name="connsiteY17" fmla="*/ 13873 h 207169"/>
                  <a:gd name="connsiteX18" fmla="*/ 785560 w 1131055"/>
                  <a:gd name="connsiteY18" fmla="*/ 3226 h 207169"/>
                  <a:gd name="connsiteX19" fmla="*/ 696195 w 1131055"/>
                  <a:gd name="connsiteY19" fmla="*/ 2105 h 207169"/>
                  <a:gd name="connsiteX20" fmla="*/ 562138 w 1131055"/>
                  <a:gd name="connsiteY20" fmla="*/ 0 h 207169"/>
                  <a:gd name="connsiteX21" fmla="*/ 350760 w 1131055"/>
                  <a:gd name="connsiteY21" fmla="*/ 4901 h 207169"/>
                  <a:gd name="connsiteX22" fmla="*/ 224292 w 1131055"/>
                  <a:gd name="connsiteY22" fmla="*/ 15547 h 207169"/>
                  <a:gd name="connsiteX23" fmla="*/ 66131 w 1131055"/>
                  <a:gd name="connsiteY23" fmla="*/ 53093 h 207169"/>
                  <a:gd name="connsiteX24" fmla="*/ 12069 w 1131055"/>
                  <a:gd name="connsiteY24" fmla="*/ 80962 h 207169"/>
                  <a:gd name="connsiteX25" fmla="*/ 2544 w 1131055"/>
                  <a:gd name="connsiteY25" fmla="*/ 104775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1104 w 1124840"/>
                  <a:gd name="connsiteY2" fmla="*/ 150019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9922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83757 w 1126518"/>
                  <a:gd name="connsiteY3" fmla="*/ 192881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9354"/>
                  <a:gd name="connsiteX1" fmla="*/ 43236 w 1126518"/>
                  <a:gd name="connsiteY1" fmla="*/ 135301 h 209354"/>
                  <a:gd name="connsiteX2" fmla="*/ 124198 w 1126518"/>
                  <a:gd name="connsiteY2" fmla="*/ 160097 h 209354"/>
                  <a:gd name="connsiteX3" fmla="*/ 290056 w 1126518"/>
                  <a:gd name="connsiteY3" fmla="*/ 190362 h 209354"/>
                  <a:gd name="connsiteX4" fmla="*/ 455207 w 1126518"/>
                  <a:gd name="connsiteY4" fmla="*/ 207169 h 209354"/>
                  <a:gd name="connsiteX5" fmla="*/ 602845 w 1126518"/>
                  <a:gd name="connsiteY5" fmla="*/ 204787 h 209354"/>
                  <a:gd name="connsiteX6" fmla="*/ 621895 w 1126518"/>
                  <a:gd name="connsiteY6" fmla="*/ 200025 h 209354"/>
                  <a:gd name="connsiteX7" fmla="*/ 674282 w 1126518"/>
                  <a:gd name="connsiteY7" fmla="*/ 197644 h 209354"/>
                  <a:gd name="connsiteX8" fmla="*/ 795726 w 1126518"/>
                  <a:gd name="connsiteY8" fmla="*/ 188119 h 209354"/>
                  <a:gd name="connsiteX9" fmla="*/ 864782 w 1126518"/>
                  <a:gd name="connsiteY9" fmla="*/ 173831 h 209354"/>
                  <a:gd name="connsiteX10" fmla="*/ 938601 w 1126518"/>
                  <a:gd name="connsiteY10" fmla="*/ 169069 h 209354"/>
                  <a:gd name="connsiteX11" fmla="*/ 969557 w 1126518"/>
                  <a:gd name="connsiteY11" fmla="*/ 166687 h 209354"/>
                  <a:gd name="connsiteX12" fmla="*/ 1050520 w 1126518"/>
                  <a:gd name="connsiteY12" fmla="*/ 142875 h 209354"/>
                  <a:gd name="connsiteX13" fmla="*/ 1123632 w 1126518"/>
                  <a:gd name="connsiteY13" fmla="*/ 102808 h 209354"/>
                  <a:gd name="connsiteX14" fmla="*/ 1104873 w 1126518"/>
                  <a:gd name="connsiteY14" fmla="*/ 74387 h 209354"/>
                  <a:gd name="connsiteX15" fmla="*/ 1040303 w 1126518"/>
                  <a:gd name="connsiteY15" fmla="*/ 44275 h 209354"/>
                  <a:gd name="connsiteX16" fmla="*/ 939600 w 1126518"/>
                  <a:gd name="connsiteY16" fmla="*/ 25641 h 209354"/>
                  <a:gd name="connsiteX17" fmla="*/ 856517 w 1126518"/>
                  <a:gd name="connsiteY17" fmla="*/ 13873 h 209354"/>
                  <a:gd name="connsiteX18" fmla="*/ 781023 w 1126518"/>
                  <a:gd name="connsiteY18" fmla="*/ 3226 h 209354"/>
                  <a:gd name="connsiteX19" fmla="*/ 691658 w 1126518"/>
                  <a:gd name="connsiteY19" fmla="*/ 2105 h 209354"/>
                  <a:gd name="connsiteX20" fmla="*/ 557601 w 1126518"/>
                  <a:gd name="connsiteY20" fmla="*/ 0 h 209354"/>
                  <a:gd name="connsiteX21" fmla="*/ 346223 w 1126518"/>
                  <a:gd name="connsiteY21" fmla="*/ 4901 h 209354"/>
                  <a:gd name="connsiteX22" fmla="*/ 219755 w 1126518"/>
                  <a:gd name="connsiteY22" fmla="*/ 15547 h 209354"/>
                  <a:gd name="connsiteX23" fmla="*/ 61594 w 1126518"/>
                  <a:gd name="connsiteY23" fmla="*/ 53093 h 209354"/>
                  <a:gd name="connsiteX24" fmla="*/ 7532 w 1126518"/>
                  <a:gd name="connsiteY24" fmla="*/ 80962 h 209354"/>
                  <a:gd name="connsiteX25" fmla="*/ 5566 w 1126518"/>
                  <a:gd name="connsiteY25" fmla="*/ 111074 h 209354"/>
                  <a:gd name="connsiteX0" fmla="*/ 5566 w 1126518"/>
                  <a:gd name="connsiteY0" fmla="*/ 111074 h 205690"/>
                  <a:gd name="connsiteX1" fmla="*/ 43236 w 1126518"/>
                  <a:gd name="connsiteY1" fmla="*/ 135301 h 205690"/>
                  <a:gd name="connsiteX2" fmla="*/ 124198 w 1126518"/>
                  <a:gd name="connsiteY2" fmla="*/ 160097 h 205690"/>
                  <a:gd name="connsiteX3" fmla="*/ 290056 w 1126518"/>
                  <a:gd name="connsiteY3" fmla="*/ 190362 h 205690"/>
                  <a:gd name="connsiteX4" fmla="*/ 438830 w 1126518"/>
                  <a:gd name="connsiteY4" fmla="*/ 202130 h 205690"/>
                  <a:gd name="connsiteX5" fmla="*/ 602845 w 1126518"/>
                  <a:gd name="connsiteY5" fmla="*/ 204787 h 205690"/>
                  <a:gd name="connsiteX6" fmla="*/ 621895 w 1126518"/>
                  <a:gd name="connsiteY6" fmla="*/ 200025 h 205690"/>
                  <a:gd name="connsiteX7" fmla="*/ 674282 w 1126518"/>
                  <a:gd name="connsiteY7" fmla="*/ 197644 h 205690"/>
                  <a:gd name="connsiteX8" fmla="*/ 795726 w 1126518"/>
                  <a:gd name="connsiteY8" fmla="*/ 188119 h 205690"/>
                  <a:gd name="connsiteX9" fmla="*/ 864782 w 1126518"/>
                  <a:gd name="connsiteY9" fmla="*/ 173831 h 205690"/>
                  <a:gd name="connsiteX10" fmla="*/ 938601 w 1126518"/>
                  <a:gd name="connsiteY10" fmla="*/ 169069 h 205690"/>
                  <a:gd name="connsiteX11" fmla="*/ 969557 w 1126518"/>
                  <a:gd name="connsiteY11" fmla="*/ 166687 h 205690"/>
                  <a:gd name="connsiteX12" fmla="*/ 1050520 w 1126518"/>
                  <a:gd name="connsiteY12" fmla="*/ 142875 h 205690"/>
                  <a:gd name="connsiteX13" fmla="*/ 1123632 w 1126518"/>
                  <a:gd name="connsiteY13" fmla="*/ 102808 h 205690"/>
                  <a:gd name="connsiteX14" fmla="*/ 1104873 w 1126518"/>
                  <a:gd name="connsiteY14" fmla="*/ 74387 h 205690"/>
                  <a:gd name="connsiteX15" fmla="*/ 1040303 w 1126518"/>
                  <a:gd name="connsiteY15" fmla="*/ 44275 h 205690"/>
                  <a:gd name="connsiteX16" fmla="*/ 939600 w 1126518"/>
                  <a:gd name="connsiteY16" fmla="*/ 25641 h 205690"/>
                  <a:gd name="connsiteX17" fmla="*/ 856517 w 1126518"/>
                  <a:gd name="connsiteY17" fmla="*/ 13873 h 205690"/>
                  <a:gd name="connsiteX18" fmla="*/ 781023 w 1126518"/>
                  <a:gd name="connsiteY18" fmla="*/ 3226 h 205690"/>
                  <a:gd name="connsiteX19" fmla="*/ 691658 w 1126518"/>
                  <a:gd name="connsiteY19" fmla="*/ 2105 h 205690"/>
                  <a:gd name="connsiteX20" fmla="*/ 557601 w 1126518"/>
                  <a:gd name="connsiteY20" fmla="*/ 0 h 205690"/>
                  <a:gd name="connsiteX21" fmla="*/ 346223 w 1126518"/>
                  <a:gd name="connsiteY21" fmla="*/ 4901 h 205690"/>
                  <a:gd name="connsiteX22" fmla="*/ 219755 w 1126518"/>
                  <a:gd name="connsiteY22" fmla="*/ 15547 h 205690"/>
                  <a:gd name="connsiteX23" fmla="*/ 61594 w 1126518"/>
                  <a:gd name="connsiteY23" fmla="*/ 53093 h 205690"/>
                  <a:gd name="connsiteX24" fmla="*/ 7532 w 1126518"/>
                  <a:gd name="connsiteY24" fmla="*/ 80962 h 205690"/>
                  <a:gd name="connsiteX25" fmla="*/ 5566 w 1126518"/>
                  <a:gd name="connsiteY25" fmla="*/ 111074 h 205690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864782 w 1126518"/>
                  <a:gd name="connsiteY8" fmla="*/ 173831 h 202601"/>
                  <a:gd name="connsiteX9" fmla="*/ 938601 w 1126518"/>
                  <a:gd name="connsiteY9" fmla="*/ 169069 h 202601"/>
                  <a:gd name="connsiteX10" fmla="*/ 969557 w 1126518"/>
                  <a:gd name="connsiteY10" fmla="*/ 166687 h 202601"/>
                  <a:gd name="connsiteX11" fmla="*/ 1050520 w 1126518"/>
                  <a:gd name="connsiteY11" fmla="*/ 142875 h 202601"/>
                  <a:gd name="connsiteX12" fmla="*/ 1123632 w 1126518"/>
                  <a:gd name="connsiteY12" fmla="*/ 102808 h 202601"/>
                  <a:gd name="connsiteX13" fmla="*/ 1104873 w 1126518"/>
                  <a:gd name="connsiteY13" fmla="*/ 74387 h 202601"/>
                  <a:gd name="connsiteX14" fmla="*/ 1040303 w 1126518"/>
                  <a:gd name="connsiteY14" fmla="*/ 44275 h 202601"/>
                  <a:gd name="connsiteX15" fmla="*/ 939600 w 1126518"/>
                  <a:gd name="connsiteY15" fmla="*/ 25641 h 202601"/>
                  <a:gd name="connsiteX16" fmla="*/ 856517 w 1126518"/>
                  <a:gd name="connsiteY16" fmla="*/ 13873 h 202601"/>
                  <a:gd name="connsiteX17" fmla="*/ 781023 w 1126518"/>
                  <a:gd name="connsiteY17" fmla="*/ 3226 h 202601"/>
                  <a:gd name="connsiteX18" fmla="*/ 691658 w 1126518"/>
                  <a:gd name="connsiteY18" fmla="*/ 2105 h 202601"/>
                  <a:gd name="connsiteX19" fmla="*/ 557601 w 1126518"/>
                  <a:gd name="connsiteY19" fmla="*/ 0 h 202601"/>
                  <a:gd name="connsiteX20" fmla="*/ 346223 w 1126518"/>
                  <a:gd name="connsiteY20" fmla="*/ 4901 h 202601"/>
                  <a:gd name="connsiteX21" fmla="*/ 219755 w 1126518"/>
                  <a:gd name="connsiteY21" fmla="*/ 15547 h 202601"/>
                  <a:gd name="connsiteX22" fmla="*/ 61594 w 1126518"/>
                  <a:gd name="connsiteY22" fmla="*/ 53093 h 202601"/>
                  <a:gd name="connsiteX23" fmla="*/ 7532 w 1126518"/>
                  <a:gd name="connsiteY23" fmla="*/ 80962 h 202601"/>
                  <a:gd name="connsiteX24" fmla="*/ 5566 w 1126518"/>
                  <a:gd name="connsiteY24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5883 w 1126518"/>
                  <a:gd name="connsiteY7" fmla="*/ 18811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7143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29741 w 1126518"/>
                  <a:gd name="connsiteY7" fmla="*/ 18685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939600 w 1125768"/>
                  <a:gd name="connsiteY13" fmla="*/ 25641 h 202601"/>
                  <a:gd name="connsiteX14" fmla="*/ 856517 w 1125768"/>
                  <a:gd name="connsiteY14" fmla="*/ 13873 h 202601"/>
                  <a:gd name="connsiteX15" fmla="*/ 781023 w 1125768"/>
                  <a:gd name="connsiteY15" fmla="*/ 3226 h 202601"/>
                  <a:gd name="connsiteX16" fmla="*/ 691658 w 1125768"/>
                  <a:gd name="connsiteY16" fmla="*/ 2105 h 202601"/>
                  <a:gd name="connsiteX17" fmla="*/ 557601 w 1125768"/>
                  <a:gd name="connsiteY17" fmla="*/ 0 h 202601"/>
                  <a:gd name="connsiteX18" fmla="*/ 346223 w 1125768"/>
                  <a:gd name="connsiteY18" fmla="*/ 4901 h 202601"/>
                  <a:gd name="connsiteX19" fmla="*/ 219755 w 1125768"/>
                  <a:gd name="connsiteY19" fmla="*/ 15547 h 202601"/>
                  <a:gd name="connsiteX20" fmla="*/ 61594 w 1125768"/>
                  <a:gd name="connsiteY20" fmla="*/ 53093 h 202601"/>
                  <a:gd name="connsiteX21" fmla="*/ 7532 w 1125768"/>
                  <a:gd name="connsiteY21" fmla="*/ 80962 h 202601"/>
                  <a:gd name="connsiteX22" fmla="*/ 5566 w 112576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856517 w 1125768"/>
                  <a:gd name="connsiteY13" fmla="*/ 13873 h 202601"/>
                  <a:gd name="connsiteX14" fmla="*/ 781023 w 1125768"/>
                  <a:gd name="connsiteY14" fmla="*/ 3226 h 202601"/>
                  <a:gd name="connsiteX15" fmla="*/ 691658 w 1125768"/>
                  <a:gd name="connsiteY15" fmla="*/ 2105 h 202601"/>
                  <a:gd name="connsiteX16" fmla="*/ 557601 w 1125768"/>
                  <a:gd name="connsiteY16" fmla="*/ 0 h 202601"/>
                  <a:gd name="connsiteX17" fmla="*/ 346223 w 1125768"/>
                  <a:gd name="connsiteY17" fmla="*/ 4901 h 202601"/>
                  <a:gd name="connsiteX18" fmla="*/ 219755 w 1125768"/>
                  <a:gd name="connsiteY18" fmla="*/ 15547 h 202601"/>
                  <a:gd name="connsiteX19" fmla="*/ 61594 w 1125768"/>
                  <a:gd name="connsiteY19" fmla="*/ 53093 h 202601"/>
                  <a:gd name="connsiteX20" fmla="*/ 7532 w 1125768"/>
                  <a:gd name="connsiteY20" fmla="*/ 80962 h 202601"/>
                  <a:gd name="connsiteX21" fmla="*/ 5566 w 112576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56517 w 1125998"/>
                  <a:gd name="connsiteY13" fmla="*/ 1387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80453 w 1125998"/>
                  <a:gd name="connsiteY13" fmla="*/ 1261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4635 w 1125067"/>
                  <a:gd name="connsiteY0" fmla="*/ 111074 h 202601"/>
                  <a:gd name="connsiteX1" fmla="*/ 67500 w 1125067"/>
                  <a:gd name="connsiteY1" fmla="*/ 145379 h 202601"/>
                  <a:gd name="connsiteX2" fmla="*/ 123267 w 1125067"/>
                  <a:gd name="connsiteY2" fmla="*/ 160097 h 202601"/>
                  <a:gd name="connsiteX3" fmla="*/ 289125 w 1125067"/>
                  <a:gd name="connsiteY3" fmla="*/ 190362 h 202601"/>
                  <a:gd name="connsiteX4" fmla="*/ 437899 w 1125067"/>
                  <a:gd name="connsiteY4" fmla="*/ 202130 h 202601"/>
                  <a:gd name="connsiteX5" fmla="*/ 620964 w 1125067"/>
                  <a:gd name="connsiteY5" fmla="*/ 200025 h 202601"/>
                  <a:gd name="connsiteX6" fmla="*/ 673351 w 1125067"/>
                  <a:gd name="connsiteY6" fmla="*/ 197644 h 202601"/>
                  <a:gd name="connsiteX7" fmla="*/ 828810 w 1125067"/>
                  <a:gd name="connsiteY7" fmla="*/ 186859 h 202601"/>
                  <a:gd name="connsiteX8" fmla="*/ 968626 w 1125067"/>
                  <a:gd name="connsiteY8" fmla="*/ 166687 h 202601"/>
                  <a:gd name="connsiteX9" fmla="*/ 1060927 w 1125067"/>
                  <a:gd name="connsiteY9" fmla="*/ 144135 h 202601"/>
                  <a:gd name="connsiteX10" fmla="*/ 1122701 w 1125067"/>
                  <a:gd name="connsiteY10" fmla="*/ 102808 h 202601"/>
                  <a:gd name="connsiteX11" fmla="*/ 1103942 w 1125067"/>
                  <a:gd name="connsiteY11" fmla="*/ 74387 h 202601"/>
                  <a:gd name="connsiteX12" fmla="*/ 1026774 w 1125067"/>
                  <a:gd name="connsiteY12" fmla="*/ 40496 h 202601"/>
                  <a:gd name="connsiteX13" fmla="*/ 879522 w 1125067"/>
                  <a:gd name="connsiteY13" fmla="*/ 12613 h 202601"/>
                  <a:gd name="connsiteX14" fmla="*/ 780092 w 1125067"/>
                  <a:gd name="connsiteY14" fmla="*/ 3226 h 202601"/>
                  <a:gd name="connsiteX15" fmla="*/ 690727 w 1125067"/>
                  <a:gd name="connsiteY15" fmla="*/ 2105 h 202601"/>
                  <a:gd name="connsiteX16" fmla="*/ 556670 w 1125067"/>
                  <a:gd name="connsiteY16" fmla="*/ 0 h 202601"/>
                  <a:gd name="connsiteX17" fmla="*/ 345292 w 1125067"/>
                  <a:gd name="connsiteY17" fmla="*/ 4901 h 202601"/>
                  <a:gd name="connsiteX18" fmla="*/ 218824 w 1125067"/>
                  <a:gd name="connsiteY18" fmla="*/ 15547 h 202601"/>
                  <a:gd name="connsiteX19" fmla="*/ 60663 w 1125067"/>
                  <a:gd name="connsiteY19" fmla="*/ 53093 h 202601"/>
                  <a:gd name="connsiteX20" fmla="*/ 6601 w 1125067"/>
                  <a:gd name="connsiteY20" fmla="*/ 80962 h 202601"/>
                  <a:gd name="connsiteX21" fmla="*/ 4635 w 1125067"/>
                  <a:gd name="connsiteY21" fmla="*/ 111074 h 202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25067" h="202601">
                    <a:moveTo>
                      <a:pt x="4635" y="111074"/>
                    </a:moveTo>
                    <a:cubicBezTo>
                      <a:pt x="14785" y="121810"/>
                      <a:pt x="47288" y="138367"/>
                      <a:pt x="67500" y="145379"/>
                    </a:cubicBezTo>
                    <a:cubicBezTo>
                      <a:pt x="91051" y="153549"/>
                      <a:pt x="86330" y="152600"/>
                      <a:pt x="123267" y="160097"/>
                    </a:cubicBezTo>
                    <a:cubicBezTo>
                      <a:pt x="160204" y="167594"/>
                      <a:pt x="236686" y="183356"/>
                      <a:pt x="289125" y="190362"/>
                    </a:cubicBezTo>
                    <a:cubicBezTo>
                      <a:pt x="341564" y="197368"/>
                      <a:pt x="388308" y="198207"/>
                      <a:pt x="437899" y="202130"/>
                    </a:cubicBezTo>
                    <a:cubicBezTo>
                      <a:pt x="493205" y="203740"/>
                      <a:pt x="581722" y="200773"/>
                      <a:pt x="620964" y="200025"/>
                    </a:cubicBezTo>
                    <a:cubicBezTo>
                      <a:pt x="660206" y="199277"/>
                      <a:pt x="655889" y="198438"/>
                      <a:pt x="673351" y="197644"/>
                    </a:cubicBezTo>
                    <a:cubicBezTo>
                      <a:pt x="718032" y="195729"/>
                      <a:pt x="770272" y="192553"/>
                      <a:pt x="828810" y="186859"/>
                    </a:cubicBezTo>
                    <a:cubicBezTo>
                      <a:pt x="887348" y="181165"/>
                      <a:pt x="928260" y="174858"/>
                      <a:pt x="968626" y="166687"/>
                    </a:cubicBezTo>
                    <a:cubicBezTo>
                      <a:pt x="1008992" y="158517"/>
                      <a:pt x="1035248" y="154782"/>
                      <a:pt x="1060927" y="144135"/>
                    </a:cubicBezTo>
                    <a:cubicBezTo>
                      <a:pt x="1086606" y="133489"/>
                      <a:pt x="1115532" y="114433"/>
                      <a:pt x="1122701" y="102808"/>
                    </a:cubicBezTo>
                    <a:cubicBezTo>
                      <a:pt x="1129870" y="91183"/>
                      <a:pt x="1119930" y="84772"/>
                      <a:pt x="1103942" y="74387"/>
                    </a:cubicBezTo>
                    <a:cubicBezTo>
                      <a:pt x="1087954" y="64002"/>
                      <a:pt x="1064177" y="50792"/>
                      <a:pt x="1026774" y="40496"/>
                    </a:cubicBezTo>
                    <a:cubicBezTo>
                      <a:pt x="989371" y="30200"/>
                      <a:pt x="922735" y="19454"/>
                      <a:pt x="879522" y="12613"/>
                    </a:cubicBezTo>
                    <a:cubicBezTo>
                      <a:pt x="836309" y="5772"/>
                      <a:pt x="811558" y="4977"/>
                      <a:pt x="780092" y="3226"/>
                    </a:cubicBezTo>
                    <a:cubicBezTo>
                      <a:pt x="748626" y="1475"/>
                      <a:pt x="727964" y="2643"/>
                      <a:pt x="690727" y="2105"/>
                    </a:cubicBezTo>
                    <a:cubicBezTo>
                      <a:pt x="653490" y="1567"/>
                      <a:pt x="604294" y="2506"/>
                      <a:pt x="556670" y="0"/>
                    </a:cubicBezTo>
                    <a:cubicBezTo>
                      <a:pt x="482851" y="794"/>
                      <a:pt x="401600" y="2310"/>
                      <a:pt x="345292" y="4901"/>
                    </a:cubicBezTo>
                    <a:cubicBezTo>
                      <a:pt x="288984" y="7492"/>
                      <a:pt x="271091" y="6885"/>
                      <a:pt x="218824" y="15547"/>
                    </a:cubicBezTo>
                    <a:cubicBezTo>
                      <a:pt x="183105" y="23881"/>
                      <a:pt x="101072" y="33372"/>
                      <a:pt x="60663" y="53093"/>
                    </a:cubicBezTo>
                    <a:cubicBezTo>
                      <a:pt x="27401" y="69326"/>
                      <a:pt x="15729" y="73818"/>
                      <a:pt x="6601" y="80962"/>
                    </a:cubicBezTo>
                    <a:cubicBezTo>
                      <a:pt x="3756" y="86654"/>
                      <a:pt x="-5515" y="100338"/>
                      <a:pt x="4635" y="111074"/>
                    </a:cubicBezTo>
                    <a:close/>
                  </a:path>
                </a:pathLst>
              </a:custGeom>
              <a:solidFill>
                <a:srgbClr val="E1EBE5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865DB2F2-337C-B2A9-B0FF-31596E14EB63}"/>
                  </a:ext>
                </a:extLst>
              </p:cNvPr>
              <p:cNvSpPr/>
              <p:nvPr/>
            </p:nvSpPr>
            <p:spPr>
              <a:xfrm>
                <a:off x="3395346" y="2639947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solidFill>
                <a:srgbClr val="E1EBE5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da-DK" sz="1400">
                    <a:latin typeface="Verdana" panose="020B0604030504040204" pitchFamily="34" charset="0"/>
                    <a:ea typeface="Verdana" panose="020B0604030504040204" pitchFamily="34" charset="0"/>
                  </a:rPr>
                  <a:t>…</a:t>
                </a: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DA8937B0-F846-746D-584D-9F9BAF55BDB8}"/>
                  </a:ext>
                </a:extLst>
              </p:cNvPr>
              <p:cNvSpPr/>
              <p:nvPr/>
            </p:nvSpPr>
            <p:spPr>
              <a:xfrm>
                <a:off x="3397293" y="1880433"/>
                <a:ext cx="1624532" cy="292545"/>
              </a:xfrm>
              <a:custGeom>
                <a:avLst/>
                <a:gdLst>
                  <a:gd name="connsiteX0" fmla="*/ 11907 w 1116840"/>
                  <a:gd name="connsiteY0" fmla="*/ 124159 h 219409"/>
                  <a:gd name="connsiteX1" fmla="*/ 23813 w 1116840"/>
                  <a:gd name="connsiteY1" fmla="*/ 133684 h 219409"/>
                  <a:gd name="connsiteX2" fmla="*/ 28575 w 1116840"/>
                  <a:gd name="connsiteY2" fmla="*/ 140827 h 219409"/>
                  <a:gd name="connsiteX3" fmla="*/ 40482 w 1116840"/>
                  <a:gd name="connsiteY3" fmla="*/ 147971 h 219409"/>
                  <a:gd name="connsiteX4" fmla="*/ 47625 w 1116840"/>
                  <a:gd name="connsiteY4" fmla="*/ 152734 h 219409"/>
                  <a:gd name="connsiteX5" fmla="*/ 78582 w 1116840"/>
                  <a:gd name="connsiteY5" fmla="*/ 157496 h 219409"/>
                  <a:gd name="connsiteX6" fmla="*/ 104775 w 1116840"/>
                  <a:gd name="connsiteY6" fmla="*/ 162259 h 219409"/>
                  <a:gd name="connsiteX7" fmla="*/ 128588 w 1116840"/>
                  <a:gd name="connsiteY7" fmla="*/ 164640 h 219409"/>
                  <a:gd name="connsiteX8" fmla="*/ 161925 w 1116840"/>
                  <a:gd name="connsiteY8" fmla="*/ 174165 h 219409"/>
                  <a:gd name="connsiteX9" fmla="*/ 178594 w 1116840"/>
                  <a:gd name="connsiteY9" fmla="*/ 176546 h 219409"/>
                  <a:gd name="connsiteX10" fmla="*/ 202407 w 1116840"/>
                  <a:gd name="connsiteY10" fmla="*/ 181309 h 219409"/>
                  <a:gd name="connsiteX11" fmla="*/ 209550 w 1116840"/>
                  <a:gd name="connsiteY11" fmla="*/ 183690 h 219409"/>
                  <a:gd name="connsiteX12" fmla="*/ 238125 w 1116840"/>
                  <a:gd name="connsiteY12" fmla="*/ 190834 h 219409"/>
                  <a:gd name="connsiteX13" fmla="*/ 285750 w 1116840"/>
                  <a:gd name="connsiteY13" fmla="*/ 205121 h 219409"/>
                  <a:gd name="connsiteX14" fmla="*/ 378619 w 1116840"/>
                  <a:gd name="connsiteY14" fmla="*/ 207502 h 219409"/>
                  <a:gd name="connsiteX15" fmla="*/ 402432 w 1116840"/>
                  <a:gd name="connsiteY15" fmla="*/ 212265 h 219409"/>
                  <a:gd name="connsiteX16" fmla="*/ 457200 w 1116840"/>
                  <a:gd name="connsiteY16" fmla="*/ 219409 h 219409"/>
                  <a:gd name="connsiteX17" fmla="*/ 604838 w 1116840"/>
                  <a:gd name="connsiteY17" fmla="*/ 217027 h 219409"/>
                  <a:gd name="connsiteX18" fmla="*/ 623888 w 1116840"/>
                  <a:gd name="connsiteY18" fmla="*/ 212265 h 219409"/>
                  <a:gd name="connsiteX19" fmla="*/ 676275 w 1116840"/>
                  <a:gd name="connsiteY19" fmla="*/ 209884 h 219409"/>
                  <a:gd name="connsiteX20" fmla="*/ 697707 w 1116840"/>
                  <a:gd name="connsiteY20" fmla="*/ 205121 h 219409"/>
                  <a:gd name="connsiteX21" fmla="*/ 707232 w 1116840"/>
                  <a:gd name="connsiteY21" fmla="*/ 202740 h 219409"/>
                  <a:gd name="connsiteX22" fmla="*/ 797719 w 1116840"/>
                  <a:gd name="connsiteY22" fmla="*/ 200359 h 219409"/>
                  <a:gd name="connsiteX23" fmla="*/ 823913 w 1116840"/>
                  <a:gd name="connsiteY23" fmla="*/ 193215 h 219409"/>
                  <a:gd name="connsiteX24" fmla="*/ 842963 w 1116840"/>
                  <a:gd name="connsiteY24" fmla="*/ 188452 h 219409"/>
                  <a:gd name="connsiteX25" fmla="*/ 866775 w 1116840"/>
                  <a:gd name="connsiteY25" fmla="*/ 186071 h 219409"/>
                  <a:gd name="connsiteX26" fmla="*/ 940594 w 1116840"/>
                  <a:gd name="connsiteY26" fmla="*/ 181309 h 219409"/>
                  <a:gd name="connsiteX27" fmla="*/ 971550 w 1116840"/>
                  <a:gd name="connsiteY27" fmla="*/ 178927 h 219409"/>
                  <a:gd name="connsiteX28" fmla="*/ 992982 w 1116840"/>
                  <a:gd name="connsiteY28" fmla="*/ 174165 h 219409"/>
                  <a:gd name="connsiteX29" fmla="*/ 1007269 w 1116840"/>
                  <a:gd name="connsiteY29" fmla="*/ 171784 h 219409"/>
                  <a:gd name="connsiteX30" fmla="*/ 1035844 w 1116840"/>
                  <a:gd name="connsiteY30" fmla="*/ 164640 h 219409"/>
                  <a:gd name="connsiteX31" fmla="*/ 1052513 w 1116840"/>
                  <a:gd name="connsiteY31" fmla="*/ 155115 h 219409"/>
                  <a:gd name="connsiteX32" fmla="*/ 1083469 w 1116840"/>
                  <a:gd name="connsiteY32" fmla="*/ 143209 h 219409"/>
                  <a:gd name="connsiteX33" fmla="*/ 1090613 w 1116840"/>
                  <a:gd name="connsiteY33" fmla="*/ 136065 h 219409"/>
                  <a:gd name="connsiteX34" fmla="*/ 1100138 w 1116840"/>
                  <a:gd name="connsiteY34" fmla="*/ 131302 h 219409"/>
                  <a:gd name="connsiteX35" fmla="*/ 1107282 w 1116840"/>
                  <a:gd name="connsiteY35" fmla="*/ 126540 h 219409"/>
                  <a:gd name="connsiteX36" fmla="*/ 1116807 w 1116840"/>
                  <a:gd name="connsiteY36" fmla="*/ 107490 h 219409"/>
                  <a:gd name="connsiteX37" fmla="*/ 1114425 w 1116840"/>
                  <a:gd name="connsiteY37" fmla="*/ 97965 h 219409"/>
                  <a:gd name="connsiteX38" fmla="*/ 1054894 w 1116840"/>
                  <a:gd name="connsiteY38" fmla="*/ 74152 h 219409"/>
                  <a:gd name="connsiteX39" fmla="*/ 1047750 w 1116840"/>
                  <a:gd name="connsiteY39" fmla="*/ 71771 h 219409"/>
                  <a:gd name="connsiteX40" fmla="*/ 1038225 w 1116840"/>
                  <a:gd name="connsiteY40" fmla="*/ 67009 h 219409"/>
                  <a:gd name="connsiteX41" fmla="*/ 1026319 w 1116840"/>
                  <a:gd name="connsiteY41" fmla="*/ 62246 h 219409"/>
                  <a:gd name="connsiteX42" fmla="*/ 995363 w 1116840"/>
                  <a:gd name="connsiteY42" fmla="*/ 57484 h 219409"/>
                  <a:gd name="connsiteX43" fmla="*/ 966788 w 1116840"/>
                  <a:gd name="connsiteY43" fmla="*/ 47959 h 219409"/>
                  <a:gd name="connsiteX44" fmla="*/ 947738 w 1116840"/>
                  <a:gd name="connsiteY44" fmla="*/ 40815 h 219409"/>
                  <a:gd name="connsiteX45" fmla="*/ 857250 w 1116840"/>
                  <a:gd name="connsiteY45" fmla="*/ 33671 h 219409"/>
                  <a:gd name="connsiteX46" fmla="*/ 812007 w 1116840"/>
                  <a:gd name="connsiteY46" fmla="*/ 26527 h 219409"/>
                  <a:gd name="connsiteX47" fmla="*/ 800100 w 1116840"/>
                  <a:gd name="connsiteY47" fmla="*/ 24146 h 219409"/>
                  <a:gd name="connsiteX48" fmla="*/ 790575 w 1116840"/>
                  <a:gd name="connsiteY48" fmla="*/ 21765 h 219409"/>
                  <a:gd name="connsiteX49" fmla="*/ 702469 w 1116840"/>
                  <a:gd name="connsiteY49" fmla="*/ 19384 h 219409"/>
                  <a:gd name="connsiteX50" fmla="*/ 559594 w 1116840"/>
                  <a:gd name="connsiteY50" fmla="*/ 12240 h 219409"/>
                  <a:gd name="connsiteX51" fmla="*/ 350044 w 1116840"/>
                  <a:gd name="connsiteY51" fmla="*/ 9859 h 219409"/>
                  <a:gd name="connsiteX52" fmla="*/ 338138 w 1116840"/>
                  <a:gd name="connsiteY52" fmla="*/ 14621 h 219409"/>
                  <a:gd name="connsiteX53" fmla="*/ 295275 w 1116840"/>
                  <a:gd name="connsiteY53" fmla="*/ 19384 h 219409"/>
                  <a:gd name="connsiteX54" fmla="*/ 278607 w 1116840"/>
                  <a:gd name="connsiteY54" fmla="*/ 21765 h 219409"/>
                  <a:gd name="connsiteX55" fmla="*/ 269082 w 1116840"/>
                  <a:gd name="connsiteY55" fmla="*/ 24146 h 219409"/>
                  <a:gd name="connsiteX56" fmla="*/ 238125 w 1116840"/>
                  <a:gd name="connsiteY56" fmla="*/ 26527 h 219409"/>
                  <a:gd name="connsiteX57" fmla="*/ 216694 w 1116840"/>
                  <a:gd name="connsiteY57" fmla="*/ 33671 h 219409"/>
                  <a:gd name="connsiteX58" fmla="*/ 195263 w 1116840"/>
                  <a:gd name="connsiteY58" fmla="*/ 38434 h 219409"/>
                  <a:gd name="connsiteX59" fmla="*/ 183357 w 1116840"/>
                  <a:gd name="connsiteY59" fmla="*/ 40815 h 219409"/>
                  <a:gd name="connsiteX60" fmla="*/ 147638 w 1116840"/>
                  <a:gd name="connsiteY60" fmla="*/ 50340 h 219409"/>
                  <a:gd name="connsiteX61" fmla="*/ 128588 w 1116840"/>
                  <a:gd name="connsiteY61" fmla="*/ 57484 h 219409"/>
                  <a:gd name="connsiteX62" fmla="*/ 109538 w 1116840"/>
                  <a:gd name="connsiteY62" fmla="*/ 62246 h 219409"/>
                  <a:gd name="connsiteX63" fmla="*/ 97632 w 1116840"/>
                  <a:gd name="connsiteY63" fmla="*/ 67009 h 219409"/>
                  <a:gd name="connsiteX64" fmla="*/ 80963 w 1116840"/>
                  <a:gd name="connsiteY64" fmla="*/ 69390 h 219409"/>
                  <a:gd name="connsiteX65" fmla="*/ 54769 w 1116840"/>
                  <a:gd name="connsiteY65" fmla="*/ 74152 h 219409"/>
                  <a:gd name="connsiteX66" fmla="*/ 47625 w 1116840"/>
                  <a:gd name="connsiteY66" fmla="*/ 76534 h 219409"/>
                  <a:gd name="connsiteX67" fmla="*/ 23813 w 1116840"/>
                  <a:gd name="connsiteY67" fmla="*/ 83677 h 219409"/>
                  <a:gd name="connsiteX68" fmla="*/ 9525 w 1116840"/>
                  <a:gd name="connsiteY68" fmla="*/ 93202 h 219409"/>
                  <a:gd name="connsiteX69" fmla="*/ 0 w 1116840"/>
                  <a:gd name="connsiteY69" fmla="*/ 117015 h 219409"/>
                  <a:gd name="connsiteX70" fmla="*/ 11907 w 1116840"/>
                  <a:gd name="connsiteY70" fmla="*/ 124159 h 21940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800100 w 1116840"/>
                  <a:gd name="connsiteY47" fmla="*/ 11906 h 207169"/>
                  <a:gd name="connsiteX48" fmla="*/ 790575 w 1116840"/>
                  <a:gd name="connsiteY48" fmla="*/ 9525 h 207169"/>
                  <a:gd name="connsiteX49" fmla="*/ 702469 w 1116840"/>
                  <a:gd name="connsiteY49" fmla="*/ 7144 h 207169"/>
                  <a:gd name="connsiteX50" fmla="*/ 559594 w 1116840"/>
                  <a:gd name="connsiteY50" fmla="*/ 0 h 207169"/>
                  <a:gd name="connsiteX51" fmla="*/ 338138 w 1116840"/>
                  <a:gd name="connsiteY51" fmla="*/ 2381 h 207169"/>
                  <a:gd name="connsiteX52" fmla="*/ 295275 w 1116840"/>
                  <a:gd name="connsiteY52" fmla="*/ 7144 h 207169"/>
                  <a:gd name="connsiteX53" fmla="*/ 278607 w 1116840"/>
                  <a:gd name="connsiteY53" fmla="*/ 9525 h 207169"/>
                  <a:gd name="connsiteX54" fmla="*/ 269082 w 1116840"/>
                  <a:gd name="connsiteY54" fmla="*/ 11906 h 207169"/>
                  <a:gd name="connsiteX55" fmla="*/ 238125 w 1116840"/>
                  <a:gd name="connsiteY55" fmla="*/ 14287 h 207169"/>
                  <a:gd name="connsiteX56" fmla="*/ 216694 w 1116840"/>
                  <a:gd name="connsiteY56" fmla="*/ 21431 h 207169"/>
                  <a:gd name="connsiteX57" fmla="*/ 195263 w 1116840"/>
                  <a:gd name="connsiteY57" fmla="*/ 26194 h 207169"/>
                  <a:gd name="connsiteX58" fmla="*/ 183357 w 1116840"/>
                  <a:gd name="connsiteY58" fmla="*/ 28575 h 207169"/>
                  <a:gd name="connsiteX59" fmla="*/ 147638 w 1116840"/>
                  <a:gd name="connsiteY59" fmla="*/ 38100 h 207169"/>
                  <a:gd name="connsiteX60" fmla="*/ 128588 w 1116840"/>
                  <a:gd name="connsiteY60" fmla="*/ 45244 h 207169"/>
                  <a:gd name="connsiteX61" fmla="*/ 109538 w 1116840"/>
                  <a:gd name="connsiteY61" fmla="*/ 50006 h 207169"/>
                  <a:gd name="connsiteX62" fmla="*/ 97632 w 1116840"/>
                  <a:gd name="connsiteY62" fmla="*/ 54769 h 207169"/>
                  <a:gd name="connsiteX63" fmla="*/ 80963 w 1116840"/>
                  <a:gd name="connsiteY63" fmla="*/ 57150 h 207169"/>
                  <a:gd name="connsiteX64" fmla="*/ 54769 w 1116840"/>
                  <a:gd name="connsiteY64" fmla="*/ 61912 h 207169"/>
                  <a:gd name="connsiteX65" fmla="*/ 47625 w 1116840"/>
                  <a:gd name="connsiteY65" fmla="*/ 64294 h 207169"/>
                  <a:gd name="connsiteX66" fmla="*/ 23813 w 1116840"/>
                  <a:gd name="connsiteY66" fmla="*/ 71437 h 207169"/>
                  <a:gd name="connsiteX67" fmla="*/ 9525 w 1116840"/>
                  <a:gd name="connsiteY67" fmla="*/ 80962 h 207169"/>
                  <a:gd name="connsiteX68" fmla="*/ 0 w 1116840"/>
                  <a:gd name="connsiteY68" fmla="*/ 104775 h 207169"/>
                  <a:gd name="connsiteX69" fmla="*/ 11907 w 1116840"/>
                  <a:gd name="connsiteY69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790575 w 1116840"/>
                  <a:gd name="connsiteY47" fmla="*/ 9525 h 207169"/>
                  <a:gd name="connsiteX48" fmla="*/ 702469 w 1116840"/>
                  <a:gd name="connsiteY48" fmla="*/ 7144 h 207169"/>
                  <a:gd name="connsiteX49" fmla="*/ 559594 w 1116840"/>
                  <a:gd name="connsiteY49" fmla="*/ 0 h 207169"/>
                  <a:gd name="connsiteX50" fmla="*/ 338138 w 1116840"/>
                  <a:gd name="connsiteY50" fmla="*/ 2381 h 207169"/>
                  <a:gd name="connsiteX51" fmla="*/ 295275 w 1116840"/>
                  <a:gd name="connsiteY51" fmla="*/ 7144 h 207169"/>
                  <a:gd name="connsiteX52" fmla="*/ 278607 w 1116840"/>
                  <a:gd name="connsiteY52" fmla="*/ 9525 h 207169"/>
                  <a:gd name="connsiteX53" fmla="*/ 269082 w 1116840"/>
                  <a:gd name="connsiteY53" fmla="*/ 11906 h 207169"/>
                  <a:gd name="connsiteX54" fmla="*/ 238125 w 1116840"/>
                  <a:gd name="connsiteY54" fmla="*/ 14287 h 207169"/>
                  <a:gd name="connsiteX55" fmla="*/ 216694 w 1116840"/>
                  <a:gd name="connsiteY55" fmla="*/ 21431 h 207169"/>
                  <a:gd name="connsiteX56" fmla="*/ 195263 w 1116840"/>
                  <a:gd name="connsiteY56" fmla="*/ 26194 h 207169"/>
                  <a:gd name="connsiteX57" fmla="*/ 183357 w 1116840"/>
                  <a:gd name="connsiteY57" fmla="*/ 28575 h 207169"/>
                  <a:gd name="connsiteX58" fmla="*/ 147638 w 1116840"/>
                  <a:gd name="connsiteY58" fmla="*/ 38100 h 207169"/>
                  <a:gd name="connsiteX59" fmla="*/ 128588 w 1116840"/>
                  <a:gd name="connsiteY59" fmla="*/ 45244 h 207169"/>
                  <a:gd name="connsiteX60" fmla="*/ 109538 w 1116840"/>
                  <a:gd name="connsiteY60" fmla="*/ 50006 h 207169"/>
                  <a:gd name="connsiteX61" fmla="*/ 97632 w 1116840"/>
                  <a:gd name="connsiteY61" fmla="*/ 54769 h 207169"/>
                  <a:gd name="connsiteX62" fmla="*/ 80963 w 1116840"/>
                  <a:gd name="connsiteY62" fmla="*/ 57150 h 207169"/>
                  <a:gd name="connsiteX63" fmla="*/ 54769 w 1116840"/>
                  <a:gd name="connsiteY63" fmla="*/ 61912 h 207169"/>
                  <a:gd name="connsiteX64" fmla="*/ 47625 w 1116840"/>
                  <a:gd name="connsiteY64" fmla="*/ 64294 h 207169"/>
                  <a:gd name="connsiteX65" fmla="*/ 23813 w 1116840"/>
                  <a:gd name="connsiteY65" fmla="*/ 71437 h 207169"/>
                  <a:gd name="connsiteX66" fmla="*/ 9525 w 1116840"/>
                  <a:gd name="connsiteY66" fmla="*/ 80962 h 207169"/>
                  <a:gd name="connsiteX67" fmla="*/ 0 w 1116840"/>
                  <a:gd name="connsiteY67" fmla="*/ 104775 h 207169"/>
                  <a:gd name="connsiteX68" fmla="*/ 11907 w 1116840"/>
                  <a:gd name="connsiteY68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790575 w 1116840"/>
                  <a:gd name="connsiteY46" fmla="*/ 9525 h 207169"/>
                  <a:gd name="connsiteX47" fmla="*/ 702469 w 1116840"/>
                  <a:gd name="connsiteY47" fmla="*/ 7144 h 207169"/>
                  <a:gd name="connsiteX48" fmla="*/ 559594 w 1116840"/>
                  <a:gd name="connsiteY48" fmla="*/ 0 h 207169"/>
                  <a:gd name="connsiteX49" fmla="*/ 338138 w 1116840"/>
                  <a:gd name="connsiteY49" fmla="*/ 2381 h 207169"/>
                  <a:gd name="connsiteX50" fmla="*/ 295275 w 1116840"/>
                  <a:gd name="connsiteY50" fmla="*/ 7144 h 207169"/>
                  <a:gd name="connsiteX51" fmla="*/ 278607 w 1116840"/>
                  <a:gd name="connsiteY51" fmla="*/ 9525 h 207169"/>
                  <a:gd name="connsiteX52" fmla="*/ 269082 w 1116840"/>
                  <a:gd name="connsiteY52" fmla="*/ 11906 h 207169"/>
                  <a:gd name="connsiteX53" fmla="*/ 238125 w 1116840"/>
                  <a:gd name="connsiteY53" fmla="*/ 14287 h 207169"/>
                  <a:gd name="connsiteX54" fmla="*/ 216694 w 1116840"/>
                  <a:gd name="connsiteY54" fmla="*/ 21431 h 207169"/>
                  <a:gd name="connsiteX55" fmla="*/ 195263 w 1116840"/>
                  <a:gd name="connsiteY55" fmla="*/ 26194 h 207169"/>
                  <a:gd name="connsiteX56" fmla="*/ 183357 w 1116840"/>
                  <a:gd name="connsiteY56" fmla="*/ 28575 h 207169"/>
                  <a:gd name="connsiteX57" fmla="*/ 147638 w 1116840"/>
                  <a:gd name="connsiteY57" fmla="*/ 38100 h 207169"/>
                  <a:gd name="connsiteX58" fmla="*/ 128588 w 1116840"/>
                  <a:gd name="connsiteY58" fmla="*/ 45244 h 207169"/>
                  <a:gd name="connsiteX59" fmla="*/ 109538 w 1116840"/>
                  <a:gd name="connsiteY59" fmla="*/ 50006 h 207169"/>
                  <a:gd name="connsiteX60" fmla="*/ 97632 w 1116840"/>
                  <a:gd name="connsiteY60" fmla="*/ 54769 h 207169"/>
                  <a:gd name="connsiteX61" fmla="*/ 80963 w 1116840"/>
                  <a:gd name="connsiteY61" fmla="*/ 57150 h 207169"/>
                  <a:gd name="connsiteX62" fmla="*/ 54769 w 1116840"/>
                  <a:gd name="connsiteY62" fmla="*/ 61912 h 207169"/>
                  <a:gd name="connsiteX63" fmla="*/ 47625 w 1116840"/>
                  <a:gd name="connsiteY63" fmla="*/ 64294 h 207169"/>
                  <a:gd name="connsiteX64" fmla="*/ 23813 w 1116840"/>
                  <a:gd name="connsiteY64" fmla="*/ 71437 h 207169"/>
                  <a:gd name="connsiteX65" fmla="*/ 9525 w 1116840"/>
                  <a:gd name="connsiteY65" fmla="*/ 80962 h 207169"/>
                  <a:gd name="connsiteX66" fmla="*/ 0 w 1116840"/>
                  <a:gd name="connsiteY66" fmla="*/ 104775 h 207169"/>
                  <a:gd name="connsiteX67" fmla="*/ 11907 w 1116840"/>
                  <a:gd name="connsiteY67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857250 w 1116840"/>
                  <a:gd name="connsiteY44" fmla="*/ 21431 h 207169"/>
                  <a:gd name="connsiteX45" fmla="*/ 790575 w 1116840"/>
                  <a:gd name="connsiteY45" fmla="*/ 9525 h 207169"/>
                  <a:gd name="connsiteX46" fmla="*/ 702469 w 1116840"/>
                  <a:gd name="connsiteY46" fmla="*/ 7144 h 207169"/>
                  <a:gd name="connsiteX47" fmla="*/ 559594 w 1116840"/>
                  <a:gd name="connsiteY47" fmla="*/ 0 h 207169"/>
                  <a:gd name="connsiteX48" fmla="*/ 338138 w 1116840"/>
                  <a:gd name="connsiteY48" fmla="*/ 2381 h 207169"/>
                  <a:gd name="connsiteX49" fmla="*/ 295275 w 1116840"/>
                  <a:gd name="connsiteY49" fmla="*/ 7144 h 207169"/>
                  <a:gd name="connsiteX50" fmla="*/ 278607 w 1116840"/>
                  <a:gd name="connsiteY50" fmla="*/ 9525 h 207169"/>
                  <a:gd name="connsiteX51" fmla="*/ 269082 w 1116840"/>
                  <a:gd name="connsiteY51" fmla="*/ 11906 h 207169"/>
                  <a:gd name="connsiteX52" fmla="*/ 238125 w 1116840"/>
                  <a:gd name="connsiteY52" fmla="*/ 14287 h 207169"/>
                  <a:gd name="connsiteX53" fmla="*/ 216694 w 1116840"/>
                  <a:gd name="connsiteY53" fmla="*/ 21431 h 207169"/>
                  <a:gd name="connsiteX54" fmla="*/ 195263 w 1116840"/>
                  <a:gd name="connsiteY54" fmla="*/ 26194 h 207169"/>
                  <a:gd name="connsiteX55" fmla="*/ 183357 w 1116840"/>
                  <a:gd name="connsiteY55" fmla="*/ 28575 h 207169"/>
                  <a:gd name="connsiteX56" fmla="*/ 147638 w 1116840"/>
                  <a:gd name="connsiteY56" fmla="*/ 38100 h 207169"/>
                  <a:gd name="connsiteX57" fmla="*/ 128588 w 1116840"/>
                  <a:gd name="connsiteY57" fmla="*/ 45244 h 207169"/>
                  <a:gd name="connsiteX58" fmla="*/ 109538 w 1116840"/>
                  <a:gd name="connsiteY58" fmla="*/ 50006 h 207169"/>
                  <a:gd name="connsiteX59" fmla="*/ 97632 w 1116840"/>
                  <a:gd name="connsiteY59" fmla="*/ 54769 h 207169"/>
                  <a:gd name="connsiteX60" fmla="*/ 80963 w 1116840"/>
                  <a:gd name="connsiteY60" fmla="*/ 57150 h 207169"/>
                  <a:gd name="connsiteX61" fmla="*/ 54769 w 1116840"/>
                  <a:gd name="connsiteY61" fmla="*/ 61912 h 207169"/>
                  <a:gd name="connsiteX62" fmla="*/ 47625 w 1116840"/>
                  <a:gd name="connsiteY62" fmla="*/ 64294 h 207169"/>
                  <a:gd name="connsiteX63" fmla="*/ 23813 w 1116840"/>
                  <a:gd name="connsiteY63" fmla="*/ 71437 h 207169"/>
                  <a:gd name="connsiteX64" fmla="*/ 9525 w 1116840"/>
                  <a:gd name="connsiteY64" fmla="*/ 80962 h 207169"/>
                  <a:gd name="connsiteX65" fmla="*/ 0 w 1116840"/>
                  <a:gd name="connsiteY65" fmla="*/ 104775 h 207169"/>
                  <a:gd name="connsiteX66" fmla="*/ 11907 w 1116840"/>
                  <a:gd name="connsiteY66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66788 w 1116840"/>
                  <a:gd name="connsiteY42" fmla="*/ 35719 h 207169"/>
                  <a:gd name="connsiteX43" fmla="*/ 857250 w 1116840"/>
                  <a:gd name="connsiteY43" fmla="*/ 21431 h 207169"/>
                  <a:gd name="connsiteX44" fmla="*/ 790575 w 1116840"/>
                  <a:gd name="connsiteY44" fmla="*/ 9525 h 207169"/>
                  <a:gd name="connsiteX45" fmla="*/ 702469 w 1116840"/>
                  <a:gd name="connsiteY45" fmla="*/ 7144 h 207169"/>
                  <a:gd name="connsiteX46" fmla="*/ 559594 w 1116840"/>
                  <a:gd name="connsiteY46" fmla="*/ 0 h 207169"/>
                  <a:gd name="connsiteX47" fmla="*/ 338138 w 1116840"/>
                  <a:gd name="connsiteY47" fmla="*/ 2381 h 207169"/>
                  <a:gd name="connsiteX48" fmla="*/ 295275 w 1116840"/>
                  <a:gd name="connsiteY48" fmla="*/ 7144 h 207169"/>
                  <a:gd name="connsiteX49" fmla="*/ 278607 w 1116840"/>
                  <a:gd name="connsiteY49" fmla="*/ 9525 h 207169"/>
                  <a:gd name="connsiteX50" fmla="*/ 269082 w 1116840"/>
                  <a:gd name="connsiteY50" fmla="*/ 11906 h 207169"/>
                  <a:gd name="connsiteX51" fmla="*/ 238125 w 1116840"/>
                  <a:gd name="connsiteY51" fmla="*/ 14287 h 207169"/>
                  <a:gd name="connsiteX52" fmla="*/ 216694 w 1116840"/>
                  <a:gd name="connsiteY52" fmla="*/ 21431 h 207169"/>
                  <a:gd name="connsiteX53" fmla="*/ 195263 w 1116840"/>
                  <a:gd name="connsiteY53" fmla="*/ 26194 h 207169"/>
                  <a:gd name="connsiteX54" fmla="*/ 183357 w 1116840"/>
                  <a:gd name="connsiteY54" fmla="*/ 28575 h 207169"/>
                  <a:gd name="connsiteX55" fmla="*/ 147638 w 1116840"/>
                  <a:gd name="connsiteY55" fmla="*/ 38100 h 207169"/>
                  <a:gd name="connsiteX56" fmla="*/ 128588 w 1116840"/>
                  <a:gd name="connsiteY56" fmla="*/ 45244 h 207169"/>
                  <a:gd name="connsiteX57" fmla="*/ 109538 w 1116840"/>
                  <a:gd name="connsiteY57" fmla="*/ 50006 h 207169"/>
                  <a:gd name="connsiteX58" fmla="*/ 97632 w 1116840"/>
                  <a:gd name="connsiteY58" fmla="*/ 54769 h 207169"/>
                  <a:gd name="connsiteX59" fmla="*/ 80963 w 1116840"/>
                  <a:gd name="connsiteY59" fmla="*/ 57150 h 207169"/>
                  <a:gd name="connsiteX60" fmla="*/ 54769 w 1116840"/>
                  <a:gd name="connsiteY60" fmla="*/ 61912 h 207169"/>
                  <a:gd name="connsiteX61" fmla="*/ 47625 w 1116840"/>
                  <a:gd name="connsiteY61" fmla="*/ 64294 h 207169"/>
                  <a:gd name="connsiteX62" fmla="*/ 23813 w 1116840"/>
                  <a:gd name="connsiteY62" fmla="*/ 71437 h 207169"/>
                  <a:gd name="connsiteX63" fmla="*/ 9525 w 1116840"/>
                  <a:gd name="connsiteY63" fmla="*/ 80962 h 207169"/>
                  <a:gd name="connsiteX64" fmla="*/ 0 w 1116840"/>
                  <a:gd name="connsiteY64" fmla="*/ 104775 h 207169"/>
                  <a:gd name="connsiteX65" fmla="*/ 11907 w 1116840"/>
                  <a:gd name="connsiteY65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966788 w 1116840"/>
                  <a:gd name="connsiteY41" fmla="*/ 35719 h 207169"/>
                  <a:gd name="connsiteX42" fmla="*/ 857250 w 1116840"/>
                  <a:gd name="connsiteY42" fmla="*/ 21431 h 207169"/>
                  <a:gd name="connsiteX43" fmla="*/ 790575 w 1116840"/>
                  <a:gd name="connsiteY43" fmla="*/ 9525 h 207169"/>
                  <a:gd name="connsiteX44" fmla="*/ 702469 w 1116840"/>
                  <a:gd name="connsiteY44" fmla="*/ 7144 h 207169"/>
                  <a:gd name="connsiteX45" fmla="*/ 559594 w 1116840"/>
                  <a:gd name="connsiteY45" fmla="*/ 0 h 207169"/>
                  <a:gd name="connsiteX46" fmla="*/ 338138 w 1116840"/>
                  <a:gd name="connsiteY46" fmla="*/ 2381 h 207169"/>
                  <a:gd name="connsiteX47" fmla="*/ 295275 w 1116840"/>
                  <a:gd name="connsiteY47" fmla="*/ 7144 h 207169"/>
                  <a:gd name="connsiteX48" fmla="*/ 278607 w 1116840"/>
                  <a:gd name="connsiteY48" fmla="*/ 9525 h 207169"/>
                  <a:gd name="connsiteX49" fmla="*/ 269082 w 1116840"/>
                  <a:gd name="connsiteY49" fmla="*/ 11906 h 207169"/>
                  <a:gd name="connsiteX50" fmla="*/ 238125 w 1116840"/>
                  <a:gd name="connsiteY50" fmla="*/ 14287 h 207169"/>
                  <a:gd name="connsiteX51" fmla="*/ 216694 w 1116840"/>
                  <a:gd name="connsiteY51" fmla="*/ 21431 h 207169"/>
                  <a:gd name="connsiteX52" fmla="*/ 195263 w 1116840"/>
                  <a:gd name="connsiteY52" fmla="*/ 26194 h 207169"/>
                  <a:gd name="connsiteX53" fmla="*/ 183357 w 1116840"/>
                  <a:gd name="connsiteY53" fmla="*/ 28575 h 207169"/>
                  <a:gd name="connsiteX54" fmla="*/ 147638 w 1116840"/>
                  <a:gd name="connsiteY54" fmla="*/ 38100 h 207169"/>
                  <a:gd name="connsiteX55" fmla="*/ 128588 w 1116840"/>
                  <a:gd name="connsiteY55" fmla="*/ 45244 h 207169"/>
                  <a:gd name="connsiteX56" fmla="*/ 109538 w 1116840"/>
                  <a:gd name="connsiteY56" fmla="*/ 50006 h 207169"/>
                  <a:gd name="connsiteX57" fmla="*/ 97632 w 1116840"/>
                  <a:gd name="connsiteY57" fmla="*/ 54769 h 207169"/>
                  <a:gd name="connsiteX58" fmla="*/ 80963 w 1116840"/>
                  <a:gd name="connsiteY58" fmla="*/ 57150 h 207169"/>
                  <a:gd name="connsiteX59" fmla="*/ 54769 w 1116840"/>
                  <a:gd name="connsiteY59" fmla="*/ 61912 h 207169"/>
                  <a:gd name="connsiteX60" fmla="*/ 47625 w 1116840"/>
                  <a:gd name="connsiteY60" fmla="*/ 64294 h 207169"/>
                  <a:gd name="connsiteX61" fmla="*/ 23813 w 1116840"/>
                  <a:gd name="connsiteY61" fmla="*/ 71437 h 207169"/>
                  <a:gd name="connsiteX62" fmla="*/ 9525 w 1116840"/>
                  <a:gd name="connsiteY62" fmla="*/ 80962 h 207169"/>
                  <a:gd name="connsiteX63" fmla="*/ 0 w 1116840"/>
                  <a:gd name="connsiteY63" fmla="*/ 104775 h 207169"/>
                  <a:gd name="connsiteX64" fmla="*/ 11907 w 1116840"/>
                  <a:gd name="connsiteY64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966788 w 1116840"/>
                  <a:gd name="connsiteY40" fmla="*/ 35719 h 207169"/>
                  <a:gd name="connsiteX41" fmla="*/ 857250 w 1116840"/>
                  <a:gd name="connsiteY41" fmla="*/ 21431 h 207169"/>
                  <a:gd name="connsiteX42" fmla="*/ 790575 w 1116840"/>
                  <a:gd name="connsiteY42" fmla="*/ 9525 h 207169"/>
                  <a:gd name="connsiteX43" fmla="*/ 702469 w 1116840"/>
                  <a:gd name="connsiteY43" fmla="*/ 7144 h 207169"/>
                  <a:gd name="connsiteX44" fmla="*/ 559594 w 1116840"/>
                  <a:gd name="connsiteY44" fmla="*/ 0 h 207169"/>
                  <a:gd name="connsiteX45" fmla="*/ 338138 w 1116840"/>
                  <a:gd name="connsiteY45" fmla="*/ 2381 h 207169"/>
                  <a:gd name="connsiteX46" fmla="*/ 295275 w 1116840"/>
                  <a:gd name="connsiteY46" fmla="*/ 7144 h 207169"/>
                  <a:gd name="connsiteX47" fmla="*/ 278607 w 1116840"/>
                  <a:gd name="connsiteY47" fmla="*/ 9525 h 207169"/>
                  <a:gd name="connsiteX48" fmla="*/ 269082 w 1116840"/>
                  <a:gd name="connsiteY48" fmla="*/ 11906 h 207169"/>
                  <a:gd name="connsiteX49" fmla="*/ 238125 w 1116840"/>
                  <a:gd name="connsiteY49" fmla="*/ 14287 h 207169"/>
                  <a:gd name="connsiteX50" fmla="*/ 216694 w 1116840"/>
                  <a:gd name="connsiteY50" fmla="*/ 21431 h 207169"/>
                  <a:gd name="connsiteX51" fmla="*/ 195263 w 1116840"/>
                  <a:gd name="connsiteY51" fmla="*/ 26194 h 207169"/>
                  <a:gd name="connsiteX52" fmla="*/ 183357 w 1116840"/>
                  <a:gd name="connsiteY52" fmla="*/ 28575 h 207169"/>
                  <a:gd name="connsiteX53" fmla="*/ 147638 w 1116840"/>
                  <a:gd name="connsiteY53" fmla="*/ 38100 h 207169"/>
                  <a:gd name="connsiteX54" fmla="*/ 128588 w 1116840"/>
                  <a:gd name="connsiteY54" fmla="*/ 45244 h 207169"/>
                  <a:gd name="connsiteX55" fmla="*/ 109538 w 1116840"/>
                  <a:gd name="connsiteY55" fmla="*/ 50006 h 207169"/>
                  <a:gd name="connsiteX56" fmla="*/ 97632 w 1116840"/>
                  <a:gd name="connsiteY56" fmla="*/ 54769 h 207169"/>
                  <a:gd name="connsiteX57" fmla="*/ 80963 w 1116840"/>
                  <a:gd name="connsiteY57" fmla="*/ 57150 h 207169"/>
                  <a:gd name="connsiteX58" fmla="*/ 54769 w 1116840"/>
                  <a:gd name="connsiteY58" fmla="*/ 61912 h 207169"/>
                  <a:gd name="connsiteX59" fmla="*/ 47625 w 1116840"/>
                  <a:gd name="connsiteY59" fmla="*/ 64294 h 207169"/>
                  <a:gd name="connsiteX60" fmla="*/ 23813 w 1116840"/>
                  <a:gd name="connsiteY60" fmla="*/ 71437 h 207169"/>
                  <a:gd name="connsiteX61" fmla="*/ 9525 w 1116840"/>
                  <a:gd name="connsiteY61" fmla="*/ 80962 h 207169"/>
                  <a:gd name="connsiteX62" fmla="*/ 0 w 1116840"/>
                  <a:gd name="connsiteY62" fmla="*/ 104775 h 207169"/>
                  <a:gd name="connsiteX63" fmla="*/ 11907 w 1116840"/>
                  <a:gd name="connsiteY63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966788 w 1116840"/>
                  <a:gd name="connsiteY39" fmla="*/ 35719 h 207169"/>
                  <a:gd name="connsiteX40" fmla="*/ 857250 w 1116840"/>
                  <a:gd name="connsiteY40" fmla="*/ 21431 h 207169"/>
                  <a:gd name="connsiteX41" fmla="*/ 790575 w 1116840"/>
                  <a:gd name="connsiteY41" fmla="*/ 9525 h 207169"/>
                  <a:gd name="connsiteX42" fmla="*/ 702469 w 1116840"/>
                  <a:gd name="connsiteY42" fmla="*/ 7144 h 207169"/>
                  <a:gd name="connsiteX43" fmla="*/ 559594 w 1116840"/>
                  <a:gd name="connsiteY43" fmla="*/ 0 h 207169"/>
                  <a:gd name="connsiteX44" fmla="*/ 338138 w 1116840"/>
                  <a:gd name="connsiteY44" fmla="*/ 2381 h 207169"/>
                  <a:gd name="connsiteX45" fmla="*/ 295275 w 1116840"/>
                  <a:gd name="connsiteY45" fmla="*/ 7144 h 207169"/>
                  <a:gd name="connsiteX46" fmla="*/ 278607 w 1116840"/>
                  <a:gd name="connsiteY46" fmla="*/ 9525 h 207169"/>
                  <a:gd name="connsiteX47" fmla="*/ 269082 w 1116840"/>
                  <a:gd name="connsiteY47" fmla="*/ 11906 h 207169"/>
                  <a:gd name="connsiteX48" fmla="*/ 238125 w 1116840"/>
                  <a:gd name="connsiteY48" fmla="*/ 14287 h 207169"/>
                  <a:gd name="connsiteX49" fmla="*/ 216694 w 1116840"/>
                  <a:gd name="connsiteY49" fmla="*/ 21431 h 207169"/>
                  <a:gd name="connsiteX50" fmla="*/ 195263 w 1116840"/>
                  <a:gd name="connsiteY50" fmla="*/ 26194 h 207169"/>
                  <a:gd name="connsiteX51" fmla="*/ 183357 w 1116840"/>
                  <a:gd name="connsiteY51" fmla="*/ 28575 h 207169"/>
                  <a:gd name="connsiteX52" fmla="*/ 147638 w 1116840"/>
                  <a:gd name="connsiteY52" fmla="*/ 38100 h 207169"/>
                  <a:gd name="connsiteX53" fmla="*/ 128588 w 1116840"/>
                  <a:gd name="connsiteY53" fmla="*/ 45244 h 207169"/>
                  <a:gd name="connsiteX54" fmla="*/ 109538 w 1116840"/>
                  <a:gd name="connsiteY54" fmla="*/ 50006 h 207169"/>
                  <a:gd name="connsiteX55" fmla="*/ 97632 w 1116840"/>
                  <a:gd name="connsiteY55" fmla="*/ 54769 h 207169"/>
                  <a:gd name="connsiteX56" fmla="*/ 80963 w 1116840"/>
                  <a:gd name="connsiteY56" fmla="*/ 57150 h 207169"/>
                  <a:gd name="connsiteX57" fmla="*/ 54769 w 1116840"/>
                  <a:gd name="connsiteY57" fmla="*/ 61912 h 207169"/>
                  <a:gd name="connsiteX58" fmla="*/ 47625 w 1116840"/>
                  <a:gd name="connsiteY58" fmla="*/ 64294 h 207169"/>
                  <a:gd name="connsiteX59" fmla="*/ 23813 w 1116840"/>
                  <a:gd name="connsiteY59" fmla="*/ 71437 h 207169"/>
                  <a:gd name="connsiteX60" fmla="*/ 9525 w 1116840"/>
                  <a:gd name="connsiteY60" fmla="*/ 80962 h 207169"/>
                  <a:gd name="connsiteX61" fmla="*/ 0 w 1116840"/>
                  <a:gd name="connsiteY61" fmla="*/ 104775 h 207169"/>
                  <a:gd name="connsiteX62" fmla="*/ 11907 w 1116840"/>
                  <a:gd name="connsiteY62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83469 w 1117890"/>
                  <a:gd name="connsiteY32" fmla="*/ 130969 h 207169"/>
                  <a:gd name="connsiteX33" fmla="*/ 1090613 w 1117890"/>
                  <a:gd name="connsiteY33" fmla="*/ 123825 h 207169"/>
                  <a:gd name="connsiteX34" fmla="*/ 1100138 w 1117890"/>
                  <a:gd name="connsiteY34" fmla="*/ 119062 h 207169"/>
                  <a:gd name="connsiteX35" fmla="*/ 1116807 w 1117890"/>
                  <a:gd name="connsiteY35" fmla="*/ 95250 h 207169"/>
                  <a:gd name="connsiteX36" fmla="*/ 1114425 w 1117890"/>
                  <a:gd name="connsiteY36" fmla="*/ 85725 h 207169"/>
                  <a:gd name="connsiteX37" fmla="*/ 1054894 w 1117890"/>
                  <a:gd name="connsiteY37" fmla="*/ 61912 h 207169"/>
                  <a:gd name="connsiteX38" fmla="*/ 966788 w 1117890"/>
                  <a:gd name="connsiteY38" fmla="*/ 35719 h 207169"/>
                  <a:gd name="connsiteX39" fmla="*/ 857250 w 1117890"/>
                  <a:gd name="connsiteY39" fmla="*/ 21431 h 207169"/>
                  <a:gd name="connsiteX40" fmla="*/ 790575 w 1117890"/>
                  <a:gd name="connsiteY40" fmla="*/ 9525 h 207169"/>
                  <a:gd name="connsiteX41" fmla="*/ 702469 w 1117890"/>
                  <a:gd name="connsiteY41" fmla="*/ 7144 h 207169"/>
                  <a:gd name="connsiteX42" fmla="*/ 559594 w 1117890"/>
                  <a:gd name="connsiteY42" fmla="*/ 0 h 207169"/>
                  <a:gd name="connsiteX43" fmla="*/ 338138 w 1117890"/>
                  <a:gd name="connsiteY43" fmla="*/ 2381 h 207169"/>
                  <a:gd name="connsiteX44" fmla="*/ 295275 w 1117890"/>
                  <a:gd name="connsiteY44" fmla="*/ 7144 h 207169"/>
                  <a:gd name="connsiteX45" fmla="*/ 278607 w 1117890"/>
                  <a:gd name="connsiteY45" fmla="*/ 9525 h 207169"/>
                  <a:gd name="connsiteX46" fmla="*/ 269082 w 1117890"/>
                  <a:gd name="connsiteY46" fmla="*/ 11906 h 207169"/>
                  <a:gd name="connsiteX47" fmla="*/ 238125 w 1117890"/>
                  <a:gd name="connsiteY47" fmla="*/ 14287 h 207169"/>
                  <a:gd name="connsiteX48" fmla="*/ 216694 w 1117890"/>
                  <a:gd name="connsiteY48" fmla="*/ 21431 h 207169"/>
                  <a:gd name="connsiteX49" fmla="*/ 195263 w 1117890"/>
                  <a:gd name="connsiteY49" fmla="*/ 26194 h 207169"/>
                  <a:gd name="connsiteX50" fmla="*/ 183357 w 1117890"/>
                  <a:gd name="connsiteY50" fmla="*/ 28575 h 207169"/>
                  <a:gd name="connsiteX51" fmla="*/ 147638 w 1117890"/>
                  <a:gd name="connsiteY51" fmla="*/ 38100 h 207169"/>
                  <a:gd name="connsiteX52" fmla="*/ 128588 w 1117890"/>
                  <a:gd name="connsiteY52" fmla="*/ 45244 h 207169"/>
                  <a:gd name="connsiteX53" fmla="*/ 109538 w 1117890"/>
                  <a:gd name="connsiteY53" fmla="*/ 50006 h 207169"/>
                  <a:gd name="connsiteX54" fmla="*/ 97632 w 1117890"/>
                  <a:gd name="connsiteY54" fmla="*/ 54769 h 207169"/>
                  <a:gd name="connsiteX55" fmla="*/ 80963 w 1117890"/>
                  <a:gd name="connsiteY55" fmla="*/ 57150 h 207169"/>
                  <a:gd name="connsiteX56" fmla="*/ 54769 w 1117890"/>
                  <a:gd name="connsiteY56" fmla="*/ 61912 h 207169"/>
                  <a:gd name="connsiteX57" fmla="*/ 47625 w 1117890"/>
                  <a:gd name="connsiteY57" fmla="*/ 64294 h 207169"/>
                  <a:gd name="connsiteX58" fmla="*/ 23813 w 1117890"/>
                  <a:gd name="connsiteY58" fmla="*/ 71437 h 207169"/>
                  <a:gd name="connsiteX59" fmla="*/ 9525 w 1117890"/>
                  <a:gd name="connsiteY59" fmla="*/ 80962 h 207169"/>
                  <a:gd name="connsiteX60" fmla="*/ 0 w 1117890"/>
                  <a:gd name="connsiteY60" fmla="*/ 104775 h 207169"/>
                  <a:gd name="connsiteX61" fmla="*/ 11907 w 1117890"/>
                  <a:gd name="connsiteY61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90613 w 1117890"/>
                  <a:gd name="connsiteY32" fmla="*/ 123825 h 207169"/>
                  <a:gd name="connsiteX33" fmla="*/ 1100138 w 1117890"/>
                  <a:gd name="connsiteY33" fmla="*/ 119062 h 207169"/>
                  <a:gd name="connsiteX34" fmla="*/ 1116807 w 1117890"/>
                  <a:gd name="connsiteY34" fmla="*/ 95250 h 207169"/>
                  <a:gd name="connsiteX35" fmla="*/ 1114425 w 1117890"/>
                  <a:gd name="connsiteY35" fmla="*/ 85725 h 207169"/>
                  <a:gd name="connsiteX36" fmla="*/ 1054894 w 1117890"/>
                  <a:gd name="connsiteY36" fmla="*/ 61912 h 207169"/>
                  <a:gd name="connsiteX37" fmla="*/ 966788 w 1117890"/>
                  <a:gd name="connsiteY37" fmla="*/ 35719 h 207169"/>
                  <a:gd name="connsiteX38" fmla="*/ 857250 w 1117890"/>
                  <a:gd name="connsiteY38" fmla="*/ 21431 h 207169"/>
                  <a:gd name="connsiteX39" fmla="*/ 790575 w 1117890"/>
                  <a:gd name="connsiteY39" fmla="*/ 9525 h 207169"/>
                  <a:gd name="connsiteX40" fmla="*/ 702469 w 1117890"/>
                  <a:gd name="connsiteY40" fmla="*/ 7144 h 207169"/>
                  <a:gd name="connsiteX41" fmla="*/ 559594 w 1117890"/>
                  <a:gd name="connsiteY41" fmla="*/ 0 h 207169"/>
                  <a:gd name="connsiteX42" fmla="*/ 338138 w 1117890"/>
                  <a:gd name="connsiteY42" fmla="*/ 2381 h 207169"/>
                  <a:gd name="connsiteX43" fmla="*/ 295275 w 1117890"/>
                  <a:gd name="connsiteY43" fmla="*/ 7144 h 207169"/>
                  <a:gd name="connsiteX44" fmla="*/ 278607 w 1117890"/>
                  <a:gd name="connsiteY44" fmla="*/ 9525 h 207169"/>
                  <a:gd name="connsiteX45" fmla="*/ 269082 w 1117890"/>
                  <a:gd name="connsiteY45" fmla="*/ 11906 h 207169"/>
                  <a:gd name="connsiteX46" fmla="*/ 238125 w 1117890"/>
                  <a:gd name="connsiteY46" fmla="*/ 14287 h 207169"/>
                  <a:gd name="connsiteX47" fmla="*/ 216694 w 1117890"/>
                  <a:gd name="connsiteY47" fmla="*/ 21431 h 207169"/>
                  <a:gd name="connsiteX48" fmla="*/ 195263 w 1117890"/>
                  <a:gd name="connsiteY48" fmla="*/ 26194 h 207169"/>
                  <a:gd name="connsiteX49" fmla="*/ 183357 w 1117890"/>
                  <a:gd name="connsiteY49" fmla="*/ 28575 h 207169"/>
                  <a:gd name="connsiteX50" fmla="*/ 147638 w 1117890"/>
                  <a:gd name="connsiteY50" fmla="*/ 38100 h 207169"/>
                  <a:gd name="connsiteX51" fmla="*/ 128588 w 1117890"/>
                  <a:gd name="connsiteY51" fmla="*/ 45244 h 207169"/>
                  <a:gd name="connsiteX52" fmla="*/ 109538 w 1117890"/>
                  <a:gd name="connsiteY52" fmla="*/ 50006 h 207169"/>
                  <a:gd name="connsiteX53" fmla="*/ 97632 w 1117890"/>
                  <a:gd name="connsiteY53" fmla="*/ 54769 h 207169"/>
                  <a:gd name="connsiteX54" fmla="*/ 80963 w 1117890"/>
                  <a:gd name="connsiteY54" fmla="*/ 57150 h 207169"/>
                  <a:gd name="connsiteX55" fmla="*/ 54769 w 1117890"/>
                  <a:gd name="connsiteY55" fmla="*/ 61912 h 207169"/>
                  <a:gd name="connsiteX56" fmla="*/ 47625 w 1117890"/>
                  <a:gd name="connsiteY56" fmla="*/ 64294 h 207169"/>
                  <a:gd name="connsiteX57" fmla="*/ 23813 w 1117890"/>
                  <a:gd name="connsiteY57" fmla="*/ 71437 h 207169"/>
                  <a:gd name="connsiteX58" fmla="*/ 9525 w 1117890"/>
                  <a:gd name="connsiteY58" fmla="*/ 80962 h 207169"/>
                  <a:gd name="connsiteX59" fmla="*/ 0 w 1117890"/>
                  <a:gd name="connsiteY59" fmla="*/ 104775 h 207169"/>
                  <a:gd name="connsiteX60" fmla="*/ 11907 w 1117890"/>
                  <a:gd name="connsiteY60" fmla="*/ 111919 h 207169"/>
                  <a:gd name="connsiteX0" fmla="*/ 11907 w 1118595"/>
                  <a:gd name="connsiteY0" fmla="*/ 111919 h 207169"/>
                  <a:gd name="connsiteX1" fmla="*/ 23813 w 1118595"/>
                  <a:gd name="connsiteY1" fmla="*/ 121444 h 207169"/>
                  <a:gd name="connsiteX2" fmla="*/ 28575 w 1118595"/>
                  <a:gd name="connsiteY2" fmla="*/ 128587 h 207169"/>
                  <a:gd name="connsiteX3" fmla="*/ 40482 w 1118595"/>
                  <a:gd name="connsiteY3" fmla="*/ 135731 h 207169"/>
                  <a:gd name="connsiteX4" fmla="*/ 47625 w 1118595"/>
                  <a:gd name="connsiteY4" fmla="*/ 140494 h 207169"/>
                  <a:gd name="connsiteX5" fmla="*/ 78582 w 1118595"/>
                  <a:gd name="connsiteY5" fmla="*/ 145256 h 207169"/>
                  <a:gd name="connsiteX6" fmla="*/ 104775 w 1118595"/>
                  <a:gd name="connsiteY6" fmla="*/ 150019 h 207169"/>
                  <a:gd name="connsiteX7" fmla="*/ 128588 w 1118595"/>
                  <a:gd name="connsiteY7" fmla="*/ 152400 h 207169"/>
                  <a:gd name="connsiteX8" fmla="*/ 161925 w 1118595"/>
                  <a:gd name="connsiteY8" fmla="*/ 161925 h 207169"/>
                  <a:gd name="connsiteX9" fmla="*/ 178594 w 1118595"/>
                  <a:gd name="connsiteY9" fmla="*/ 164306 h 207169"/>
                  <a:gd name="connsiteX10" fmla="*/ 202407 w 1118595"/>
                  <a:gd name="connsiteY10" fmla="*/ 169069 h 207169"/>
                  <a:gd name="connsiteX11" fmla="*/ 209550 w 1118595"/>
                  <a:gd name="connsiteY11" fmla="*/ 171450 h 207169"/>
                  <a:gd name="connsiteX12" fmla="*/ 238125 w 1118595"/>
                  <a:gd name="connsiteY12" fmla="*/ 178594 h 207169"/>
                  <a:gd name="connsiteX13" fmla="*/ 285750 w 1118595"/>
                  <a:gd name="connsiteY13" fmla="*/ 192881 h 207169"/>
                  <a:gd name="connsiteX14" fmla="*/ 378619 w 1118595"/>
                  <a:gd name="connsiteY14" fmla="*/ 195262 h 207169"/>
                  <a:gd name="connsiteX15" fmla="*/ 402432 w 1118595"/>
                  <a:gd name="connsiteY15" fmla="*/ 200025 h 207169"/>
                  <a:gd name="connsiteX16" fmla="*/ 457200 w 1118595"/>
                  <a:gd name="connsiteY16" fmla="*/ 207169 h 207169"/>
                  <a:gd name="connsiteX17" fmla="*/ 604838 w 1118595"/>
                  <a:gd name="connsiteY17" fmla="*/ 204787 h 207169"/>
                  <a:gd name="connsiteX18" fmla="*/ 623888 w 1118595"/>
                  <a:gd name="connsiteY18" fmla="*/ 200025 h 207169"/>
                  <a:gd name="connsiteX19" fmla="*/ 676275 w 1118595"/>
                  <a:gd name="connsiteY19" fmla="*/ 197644 h 207169"/>
                  <a:gd name="connsiteX20" fmla="*/ 697707 w 1118595"/>
                  <a:gd name="connsiteY20" fmla="*/ 192881 h 207169"/>
                  <a:gd name="connsiteX21" fmla="*/ 707232 w 1118595"/>
                  <a:gd name="connsiteY21" fmla="*/ 190500 h 207169"/>
                  <a:gd name="connsiteX22" fmla="*/ 797719 w 1118595"/>
                  <a:gd name="connsiteY22" fmla="*/ 188119 h 207169"/>
                  <a:gd name="connsiteX23" fmla="*/ 823913 w 1118595"/>
                  <a:gd name="connsiteY23" fmla="*/ 180975 h 207169"/>
                  <a:gd name="connsiteX24" fmla="*/ 842963 w 1118595"/>
                  <a:gd name="connsiteY24" fmla="*/ 176212 h 207169"/>
                  <a:gd name="connsiteX25" fmla="*/ 866775 w 1118595"/>
                  <a:gd name="connsiteY25" fmla="*/ 173831 h 207169"/>
                  <a:gd name="connsiteX26" fmla="*/ 940594 w 1118595"/>
                  <a:gd name="connsiteY26" fmla="*/ 169069 h 207169"/>
                  <a:gd name="connsiteX27" fmla="*/ 971550 w 1118595"/>
                  <a:gd name="connsiteY27" fmla="*/ 166687 h 207169"/>
                  <a:gd name="connsiteX28" fmla="*/ 992982 w 1118595"/>
                  <a:gd name="connsiteY28" fmla="*/ 161925 h 207169"/>
                  <a:gd name="connsiteX29" fmla="*/ 1007269 w 1118595"/>
                  <a:gd name="connsiteY29" fmla="*/ 159544 h 207169"/>
                  <a:gd name="connsiteX30" fmla="*/ 1035844 w 1118595"/>
                  <a:gd name="connsiteY30" fmla="*/ 152400 h 207169"/>
                  <a:gd name="connsiteX31" fmla="*/ 1052513 w 1118595"/>
                  <a:gd name="connsiteY31" fmla="*/ 142875 h 207169"/>
                  <a:gd name="connsiteX32" fmla="*/ 1090613 w 1118595"/>
                  <a:gd name="connsiteY32" fmla="*/ 123825 h 207169"/>
                  <a:gd name="connsiteX33" fmla="*/ 1116807 w 1118595"/>
                  <a:gd name="connsiteY33" fmla="*/ 95250 h 207169"/>
                  <a:gd name="connsiteX34" fmla="*/ 1114425 w 1118595"/>
                  <a:gd name="connsiteY34" fmla="*/ 85725 h 207169"/>
                  <a:gd name="connsiteX35" fmla="*/ 1054894 w 1118595"/>
                  <a:gd name="connsiteY35" fmla="*/ 61912 h 207169"/>
                  <a:gd name="connsiteX36" fmla="*/ 966788 w 1118595"/>
                  <a:gd name="connsiteY36" fmla="*/ 35719 h 207169"/>
                  <a:gd name="connsiteX37" fmla="*/ 857250 w 1118595"/>
                  <a:gd name="connsiteY37" fmla="*/ 21431 h 207169"/>
                  <a:gd name="connsiteX38" fmla="*/ 790575 w 1118595"/>
                  <a:gd name="connsiteY38" fmla="*/ 9525 h 207169"/>
                  <a:gd name="connsiteX39" fmla="*/ 702469 w 1118595"/>
                  <a:gd name="connsiteY39" fmla="*/ 7144 h 207169"/>
                  <a:gd name="connsiteX40" fmla="*/ 559594 w 1118595"/>
                  <a:gd name="connsiteY40" fmla="*/ 0 h 207169"/>
                  <a:gd name="connsiteX41" fmla="*/ 338138 w 1118595"/>
                  <a:gd name="connsiteY41" fmla="*/ 2381 h 207169"/>
                  <a:gd name="connsiteX42" fmla="*/ 295275 w 1118595"/>
                  <a:gd name="connsiteY42" fmla="*/ 7144 h 207169"/>
                  <a:gd name="connsiteX43" fmla="*/ 278607 w 1118595"/>
                  <a:gd name="connsiteY43" fmla="*/ 9525 h 207169"/>
                  <a:gd name="connsiteX44" fmla="*/ 269082 w 1118595"/>
                  <a:gd name="connsiteY44" fmla="*/ 11906 h 207169"/>
                  <a:gd name="connsiteX45" fmla="*/ 238125 w 1118595"/>
                  <a:gd name="connsiteY45" fmla="*/ 14287 h 207169"/>
                  <a:gd name="connsiteX46" fmla="*/ 216694 w 1118595"/>
                  <a:gd name="connsiteY46" fmla="*/ 21431 h 207169"/>
                  <a:gd name="connsiteX47" fmla="*/ 195263 w 1118595"/>
                  <a:gd name="connsiteY47" fmla="*/ 26194 h 207169"/>
                  <a:gd name="connsiteX48" fmla="*/ 183357 w 1118595"/>
                  <a:gd name="connsiteY48" fmla="*/ 28575 h 207169"/>
                  <a:gd name="connsiteX49" fmla="*/ 147638 w 1118595"/>
                  <a:gd name="connsiteY49" fmla="*/ 38100 h 207169"/>
                  <a:gd name="connsiteX50" fmla="*/ 128588 w 1118595"/>
                  <a:gd name="connsiteY50" fmla="*/ 45244 h 207169"/>
                  <a:gd name="connsiteX51" fmla="*/ 109538 w 1118595"/>
                  <a:gd name="connsiteY51" fmla="*/ 50006 h 207169"/>
                  <a:gd name="connsiteX52" fmla="*/ 97632 w 1118595"/>
                  <a:gd name="connsiteY52" fmla="*/ 54769 h 207169"/>
                  <a:gd name="connsiteX53" fmla="*/ 80963 w 1118595"/>
                  <a:gd name="connsiteY53" fmla="*/ 57150 h 207169"/>
                  <a:gd name="connsiteX54" fmla="*/ 54769 w 1118595"/>
                  <a:gd name="connsiteY54" fmla="*/ 61912 h 207169"/>
                  <a:gd name="connsiteX55" fmla="*/ 47625 w 1118595"/>
                  <a:gd name="connsiteY55" fmla="*/ 64294 h 207169"/>
                  <a:gd name="connsiteX56" fmla="*/ 23813 w 1118595"/>
                  <a:gd name="connsiteY56" fmla="*/ 71437 h 207169"/>
                  <a:gd name="connsiteX57" fmla="*/ 9525 w 1118595"/>
                  <a:gd name="connsiteY57" fmla="*/ 80962 h 207169"/>
                  <a:gd name="connsiteX58" fmla="*/ 0 w 1118595"/>
                  <a:gd name="connsiteY58" fmla="*/ 104775 h 207169"/>
                  <a:gd name="connsiteX59" fmla="*/ 11907 w 1118595"/>
                  <a:gd name="connsiteY5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992982 w 1121416"/>
                  <a:gd name="connsiteY28" fmla="*/ 161925 h 207169"/>
                  <a:gd name="connsiteX29" fmla="*/ 1007269 w 1121416"/>
                  <a:gd name="connsiteY29" fmla="*/ 159544 h 207169"/>
                  <a:gd name="connsiteX30" fmla="*/ 1035844 w 1121416"/>
                  <a:gd name="connsiteY30" fmla="*/ 152400 h 207169"/>
                  <a:gd name="connsiteX31" fmla="*/ 1052513 w 1121416"/>
                  <a:gd name="connsiteY31" fmla="*/ 142875 h 207169"/>
                  <a:gd name="connsiteX32" fmla="*/ 1116807 w 1121416"/>
                  <a:gd name="connsiteY32" fmla="*/ 95250 h 207169"/>
                  <a:gd name="connsiteX33" fmla="*/ 1114425 w 1121416"/>
                  <a:gd name="connsiteY33" fmla="*/ 85725 h 207169"/>
                  <a:gd name="connsiteX34" fmla="*/ 1054894 w 1121416"/>
                  <a:gd name="connsiteY34" fmla="*/ 61912 h 207169"/>
                  <a:gd name="connsiteX35" fmla="*/ 966788 w 1121416"/>
                  <a:gd name="connsiteY35" fmla="*/ 35719 h 207169"/>
                  <a:gd name="connsiteX36" fmla="*/ 857250 w 1121416"/>
                  <a:gd name="connsiteY36" fmla="*/ 21431 h 207169"/>
                  <a:gd name="connsiteX37" fmla="*/ 790575 w 1121416"/>
                  <a:gd name="connsiteY37" fmla="*/ 9525 h 207169"/>
                  <a:gd name="connsiteX38" fmla="*/ 702469 w 1121416"/>
                  <a:gd name="connsiteY38" fmla="*/ 7144 h 207169"/>
                  <a:gd name="connsiteX39" fmla="*/ 559594 w 1121416"/>
                  <a:gd name="connsiteY39" fmla="*/ 0 h 207169"/>
                  <a:gd name="connsiteX40" fmla="*/ 338138 w 1121416"/>
                  <a:gd name="connsiteY40" fmla="*/ 2381 h 207169"/>
                  <a:gd name="connsiteX41" fmla="*/ 295275 w 1121416"/>
                  <a:gd name="connsiteY41" fmla="*/ 7144 h 207169"/>
                  <a:gd name="connsiteX42" fmla="*/ 278607 w 1121416"/>
                  <a:gd name="connsiteY42" fmla="*/ 9525 h 207169"/>
                  <a:gd name="connsiteX43" fmla="*/ 269082 w 1121416"/>
                  <a:gd name="connsiteY43" fmla="*/ 11906 h 207169"/>
                  <a:gd name="connsiteX44" fmla="*/ 238125 w 1121416"/>
                  <a:gd name="connsiteY44" fmla="*/ 14287 h 207169"/>
                  <a:gd name="connsiteX45" fmla="*/ 216694 w 1121416"/>
                  <a:gd name="connsiteY45" fmla="*/ 21431 h 207169"/>
                  <a:gd name="connsiteX46" fmla="*/ 195263 w 1121416"/>
                  <a:gd name="connsiteY46" fmla="*/ 26194 h 207169"/>
                  <a:gd name="connsiteX47" fmla="*/ 183357 w 1121416"/>
                  <a:gd name="connsiteY47" fmla="*/ 28575 h 207169"/>
                  <a:gd name="connsiteX48" fmla="*/ 147638 w 1121416"/>
                  <a:gd name="connsiteY48" fmla="*/ 38100 h 207169"/>
                  <a:gd name="connsiteX49" fmla="*/ 128588 w 1121416"/>
                  <a:gd name="connsiteY49" fmla="*/ 45244 h 207169"/>
                  <a:gd name="connsiteX50" fmla="*/ 109538 w 1121416"/>
                  <a:gd name="connsiteY50" fmla="*/ 50006 h 207169"/>
                  <a:gd name="connsiteX51" fmla="*/ 97632 w 1121416"/>
                  <a:gd name="connsiteY51" fmla="*/ 54769 h 207169"/>
                  <a:gd name="connsiteX52" fmla="*/ 80963 w 1121416"/>
                  <a:gd name="connsiteY52" fmla="*/ 57150 h 207169"/>
                  <a:gd name="connsiteX53" fmla="*/ 54769 w 1121416"/>
                  <a:gd name="connsiteY53" fmla="*/ 61912 h 207169"/>
                  <a:gd name="connsiteX54" fmla="*/ 47625 w 1121416"/>
                  <a:gd name="connsiteY54" fmla="*/ 64294 h 207169"/>
                  <a:gd name="connsiteX55" fmla="*/ 23813 w 1121416"/>
                  <a:gd name="connsiteY55" fmla="*/ 71437 h 207169"/>
                  <a:gd name="connsiteX56" fmla="*/ 9525 w 1121416"/>
                  <a:gd name="connsiteY56" fmla="*/ 80962 h 207169"/>
                  <a:gd name="connsiteX57" fmla="*/ 0 w 1121416"/>
                  <a:gd name="connsiteY57" fmla="*/ 104775 h 207169"/>
                  <a:gd name="connsiteX58" fmla="*/ 11907 w 1121416"/>
                  <a:gd name="connsiteY5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07269 w 1121416"/>
                  <a:gd name="connsiteY28" fmla="*/ 159544 h 207169"/>
                  <a:gd name="connsiteX29" fmla="*/ 1035844 w 1121416"/>
                  <a:gd name="connsiteY29" fmla="*/ 152400 h 207169"/>
                  <a:gd name="connsiteX30" fmla="*/ 1052513 w 1121416"/>
                  <a:gd name="connsiteY30" fmla="*/ 142875 h 207169"/>
                  <a:gd name="connsiteX31" fmla="*/ 1116807 w 1121416"/>
                  <a:gd name="connsiteY31" fmla="*/ 95250 h 207169"/>
                  <a:gd name="connsiteX32" fmla="*/ 1114425 w 1121416"/>
                  <a:gd name="connsiteY32" fmla="*/ 85725 h 207169"/>
                  <a:gd name="connsiteX33" fmla="*/ 1054894 w 1121416"/>
                  <a:gd name="connsiteY33" fmla="*/ 61912 h 207169"/>
                  <a:gd name="connsiteX34" fmla="*/ 966788 w 1121416"/>
                  <a:gd name="connsiteY34" fmla="*/ 35719 h 207169"/>
                  <a:gd name="connsiteX35" fmla="*/ 857250 w 1121416"/>
                  <a:gd name="connsiteY35" fmla="*/ 21431 h 207169"/>
                  <a:gd name="connsiteX36" fmla="*/ 790575 w 1121416"/>
                  <a:gd name="connsiteY36" fmla="*/ 9525 h 207169"/>
                  <a:gd name="connsiteX37" fmla="*/ 702469 w 1121416"/>
                  <a:gd name="connsiteY37" fmla="*/ 7144 h 207169"/>
                  <a:gd name="connsiteX38" fmla="*/ 559594 w 1121416"/>
                  <a:gd name="connsiteY38" fmla="*/ 0 h 207169"/>
                  <a:gd name="connsiteX39" fmla="*/ 338138 w 1121416"/>
                  <a:gd name="connsiteY39" fmla="*/ 2381 h 207169"/>
                  <a:gd name="connsiteX40" fmla="*/ 295275 w 1121416"/>
                  <a:gd name="connsiteY40" fmla="*/ 7144 h 207169"/>
                  <a:gd name="connsiteX41" fmla="*/ 278607 w 1121416"/>
                  <a:gd name="connsiteY41" fmla="*/ 9525 h 207169"/>
                  <a:gd name="connsiteX42" fmla="*/ 269082 w 1121416"/>
                  <a:gd name="connsiteY42" fmla="*/ 11906 h 207169"/>
                  <a:gd name="connsiteX43" fmla="*/ 238125 w 1121416"/>
                  <a:gd name="connsiteY43" fmla="*/ 14287 h 207169"/>
                  <a:gd name="connsiteX44" fmla="*/ 216694 w 1121416"/>
                  <a:gd name="connsiteY44" fmla="*/ 21431 h 207169"/>
                  <a:gd name="connsiteX45" fmla="*/ 195263 w 1121416"/>
                  <a:gd name="connsiteY45" fmla="*/ 26194 h 207169"/>
                  <a:gd name="connsiteX46" fmla="*/ 183357 w 1121416"/>
                  <a:gd name="connsiteY46" fmla="*/ 28575 h 207169"/>
                  <a:gd name="connsiteX47" fmla="*/ 147638 w 1121416"/>
                  <a:gd name="connsiteY47" fmla="*/ 38100 h 207169"/>
                  <a:gd name="connsiteX48" fmla="*/ 128588 w 1121416"/>
                  <a:gd name="connsiteY48" fmla="*/ 45244 h 207169"/>
                  <a:gd name="connsiteX49" fmla="*/ 109538 w 1121416"/>
                  <a:gd name="connsiteY49" fmla="*/ 50006 h 207169"/>
                  <a:gd name="connsiteX50" fmla="*/ 97632 w 1121416"/>
                  <a:gd name="connsiteY50" fmla="*/ 54769 h 207169"/>
                  <a:gd name="connsiteX51" fmla="*/ 80963 w 1121416"/>
                  <a:gd name="connsiteY51" fmla="*/ 57150 h 207169"/>
                  <a:gd name="connsiteX52" fmla="*/ 54769 w 1121416"/>
                  <a:gd name="connsiteY52" fmla="*/ 61912 h 207169"/>
                  <a:gd name="connsiteX53" fmla="*/ 47625 w 1121416"/>
                  <a:gd name="connsiteY53" fmla="*/ 64294 h 207169"/>
                  <a:gd name="connsiteX54" fmla="*/ 23813 w 1121416"/>
                  <a:gd name="connsiteY54" fmla="*/ 71437 h 207169"/>
                  <a:gd name="connsiteX55" fmla="*/ 9525 w 1121416"/>
                  <a:gd name="connsiteY55" fmla="*/ 80962 h 207169"/>
                  <a:gd name="connsiteX56" fmla="*/ 0 w 1121416"/>
                  <a:gd name="connsiteY56" fmla="*/ 104775 h 207169"/>
                  <a:gd name="connsiteX57" fmla="*/ 11907 w 1121416"/>
                  <a:gd name="connsiteY5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35844 w 1121416"/>
                  <a:gd name="connsiteY28" fmla="*/ 152400 h 207169"/>
                  <a:gd name="connsiteX29" fmla="*/ 1052513 w 1121416"/>
                  <a:gd name="connsiteY29" fmla="*/ 142875 h 207169"/>
                  <a:gd name="connsiteX30" fmla="*/ 1116807 w 1121416"/>
                  <a:gd name="connsiteY30" fmla="*/ 95250 h 207169"/>
                  <a:gd name="connsiteX31" fmla="*/ 1114425 w 1121416"/>
                  <a:gd name="connsiteY31" fmla="*/ 85725 h 207169"/>
                  <a:gd name="connsiteX32" fmla="*/ 1054894 w 1121416"/>
                  <a:gd name="connsiteY32" fmla="*/ 61912 h 207169"/>
                  <a:gd name="connsiteX33" fmla="*/ 966788 w 1121416"/>
                  <a:gd name="connsiteY33" fmla="*/ 35719 h 207169"/>
                  <a:gd name="connsiteX34" fmla="*/ 857250 w 1121416"/>
                  <a:gd name="connsiteY34" fmla="*/ 21431 h 207169"/>
                  <a:gd name="connsiteX35" fmla="*/ 790575 w 1121416"/>
                  <a:gd name="connsiteY35" fmla="*/ 9525 h 207169"/>
                  <a:gd name="connsiteX36" fmla="*/ 702469 w 1121416"/>
                  <a:gd name="connsiteY36" fmla="*/ 7144 h 207169"/>
                  <a:gd name="connsiteX37" fmla="*/ 559594 w 1121416"/>
                  <a:gd name="connsiteY37" fmla="*/ 0 h 207169"/>
                  <a:gd name="connsiteX38" fmla="*/ 338138 w 1121416"/>
                  <a:gd name="connsiteY38" fmla="*/ 2381 h 207169"/>
                  <a:gd name="connsiteX39" fmla="*/ 295275 w 1121416"/>
                  <a:gd name="connsiteY39" fmla="*/ 7144 h 207169"/>
                  <a:gd name="connsiteX40" fmla="*/ 278607 w 1121416"/>
                  <a:gd name="connsiteY40" fmla="*/ 9525 h 207169"/>
                  <a:gd name="connsiteX41" fmla="*/ 269082 w 1121416"/>
                  <a:gd name="connsiteY41" fmla="*/ 11906 h 207169"/>
                  <a:gd name="connsiteX42" fmla="*/ 238125 w 1121416"/>
                  <a:gd name="connsiteY42" fmla="*/ 14287 h 207169"/>
                  <a:gd name="connsiteX43" fmla="*/ 216694 w 1121416"/>
                  <a:gd name="connsiteY43" fmla="*/ 21431 h 207169"/>
                  <a:gd name="connsiteX44" fmla="*/ 195263 w 1121416"/>
                  <a:gd name="connsiteY44" fmla="*/ 26194 h 207169"/>
                  <a:gd name="connsiteX45" fmla="*/ 183357 w 1121416"/>
                  <a:gd name="connsiteY45" fmla="*/ 28575 h 207169"/>
                  <a:gd name="connsiteX46" fmla="*/ 147638 w 1121416"/>
                  <a:gd name="connsiteY46" fmla="*/ 38100 h 207169"/>
                  <a:gd name="connsiteX47" fmla="*/ 128588 w 1121416"/>
                  <a:gd name="connsiteY47" fmla="*/ 45244 h 207169"/>
                  <a:gd name="connsiteX48" fmla="*/ 109538 w 1121416"/>
                  <a:gd name="connsiteY48" fmla="*/ 50006 h 207169"/>
                  <a:gd name="connsiteX49" fmla="*/ 97632 w 1121416"/>
                  <a:gd name="connsiteY49" fmla="*/ 54769 h 207169"/>
                  <a:gd name="connsiteX50" fmla="*/ 80963 w 1121416"/>
                  <a:gd name="connsiteY50" fmla="*/ 57150 h 207169"/>
                  <a:gd name="connsiteX51" fmla="*/ 54769 w 1121416"/>
                  <a:gd name="connsiteY51" fmla="*/ 61912 h 207169"/>
                  <a:gd name="connsiteX52" fmla="*/ 47625 w 1121416"/>
                  <a:gd name="connsiteY52" fmla="*/ 64294 h 207169"/>
                  <a:gd name="connsiteX53" fmla="*/ 23813 w 1121416"/>
                  <a:gd name="connsiteY53" fmla="*/ 71437 h 207169"/>
                  <a:gd name="connsiteX54" fmla="*/ 9525 w 1121416"/>
                  <a:gd name="connsiteY54" fmla="*/ 80962 h 207169"/>
                  <a:gd name="connsiteX55" fmla="*/ 0 w 1121416"/>
                  <a:gd name="connsiteY55" fmla="*/ 104775 h 207169"/>
                  <a:gd name="connsiteX56" fmla="*/ 11907 w 1121416"/>
                  <a:gd name="connsiteY5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52513 w 1121416"/>
                  <a:gd name="connsiteY28" fmla="*/ 142875 h 207169"/>
                  <a:gd name="connsiteX29" fmla="*/ 1116807 w 1121416"/>
                  <a:gd name="connsiteY29" fmla="*/ 95250 h 207169"/>
                  <a:gd name="connsiteX30" fmla="*/ 1114425 w 1121416"/>
                  <a:gd name="connsiteY30" fmla="*/ 85725 h 207169"/>
                  <a:gd name="connsiteX31" fmla="*/ 1054894 w 1121416"/>
                  <a:gd name="connsiteY31" fmla="*/ 61912 h 207169"/>
                  <a:gd name="connsiteX32" fmla="*/ 966788 w 1121416"/>
                  <a:gd name="connsiteY32" fmla="*/ 35719 h 207169"/>
                  <a:gd name="connsiteX33" fmla="*/ 857250 w 1121416"/>
                  <a:gd name="connsiteY33" fmla="*/ 21431 h 207169"/>
                  <a:gd name="connsiteX34" fmla="*/ 790575 w 1121416"/>
                  <a:gd name="connsiteY34" fmla="*/ 9525 h 207169"/>
                  <a:gd name="connsiteX35" fmla="*/ 702469 w 1121416"/>
                  <a:gd name="connsiteY35" fmla="*/ 7144 h 207169"/>
                  <a:gd name="connsiteX36" fmla="*/ 559594 w 1121416"/>
                  <a:gd name="connsiteY36" fmla="*/ 0 h 207169"/>
                  <a:gd name="connsiteX37" fmla="*/ 338138 w 1121416"/>
                  <a:gd name="connsiteY37" fmla="*/ 2381 h 207169"/>
                  <a:gd name="connsiteX38" fmla="*/ 295275 w 1121416"/>
                  <a:gd name="connsiteY38" fmla="*/ 7144 h 207169"/>
                  <a:gd name="connsiteX39" fmla="*/ 278607 w 1121416"/>
                  <a:gd name="connsiteY39" fmla="*/ 9525 h 207169"/>
                  <a:gd name="connsiteX40" fmla="*/ 269082 w 1121416"/>
                  <a:gd name="connsiteY40" fmla="*/ 11906 h 207169"/>
                  <a:gd name="connsiteX41" fmla="*/ 238125 w 1121416"/>
                  <a:gd name="connsiteY41" fmla="*/ 14287 h 207169"/>
                  <a:gd name="connsiteX42" fmla="*/ 216694 w 1121416"/>
                  <a:gd name="connsiteY42" fmla="*/ 21431 h 207169"/>
                  <a:gd name="connsiteX43" fmla="*/ 195263 w 1121416"/>
                  <a:gd name="connsiteY43" fmla="*/ 26194 h 207169"/>
                  <a:gd name="connsiteX44" fmla="*/ 183357 w 1121416"/>
                  <a:gd name="connsiteY44" fmla="*/ 28575 h 207169"/>
                  <a:gd name="connsiteX45" fmla="*/ 147638 w 1121416"/>
                  <a:gd name="connsiteY45" fmla="*/ 38100 h 207169"/>
                  <a:gd name="connsiteX46" fmla="*/ 128588 w 1121416"/>
                  <a:gd name="connsiteY46" fmla="*/ 45244 h 207169"/>
                  <a:gd name="connsiteX47" fmla="*/ 109538 w 1121416"/>
                  <a:gd name="connsiteY47" fmla="*/ 50006 h 207169"/>
                  <a:gd name="connsiteX48" fmla="*/ 97632 w 1121416"/>
                  <a:gd name="connsiteY48" fmla="*/ 54769 h 207169"/>
                  <a:gd name="connsiteX49" fmla="*/ 80963 w 1121416"/>
                  <a:gd name="connsiteY49" fmla="*/ 57150 h 207169"/>
                  <a:gd name="connsiteX50" fmla="*/ 54769 w 1121416"/>
                  <a:gd name="connsiteY50" fmla="*/ 61912 h 207169"/>
                  <a:gd name="connsiteX51" fmla="*/ 47625 w 1121416"/>
                  <a:gd name="connsiteY51" fmla="*/ 64294 h 207169"/>
                  <a:gd name="connsiteX52" fmla="*/ 23813 w 1121416"/>
                  <a:gd name="connsiteY52" fmla="*/ 71437 h 207169"/>
                  <a:gd name="connsiteX53" fmla="*/ 9525 w 1121416"/>
                  <a:gd name="connsiteY53" fmla="*/ 80962 h 207169"/>
                  <a:gd name="connsiteX54" fmla="*/ 0 w 1121416"/>
                  <a:gd name="connsiteY54" fmla="*/ 104775 h 207169"/>
                  <a:gd name="connsiteX55" fmla="*/ 11907 w 1121416"/>
                  <a:gd name="connsiteY5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66775 w 1121416"/>
                  <a:gd name="connsiteY24" fmla="*/ 173831 h 207169"/>
                  <a:gd name="connsiteX25" fmla="*/ 940594 w 1121416"/>
                  <a:gd name="connsiteY25" fmla="*/ 169069 h 207169"/>
                  <a:gd name="connsiteX26" fmla="*/ 971550 w 1121416"/>
                  <a:gd name="connsiteY26" fmla="*/ 166687 h 207169"/>
                  <a:gd name="connsiteX27" fmla="*/ 1052513 w 1121416"/>
                  <a:gd name="connsiteY27" fmla="*/ 142875 h 207169"/>
                  <a:gd name="connsiteX28" fmla="*/ 1116807 w 1121416"/>
                  <a:gd name="connsiteY28" fmla="*/ 95250 h 207169"/>
                  <a:gd name="connsiteX29" fmla="*/ 1114425 w 1121416"/>
                  <a:gd name="connsiteY29" fmla="*/ 85725 h 207169"/>
                  <a:gd name="connsiteX30" fmla="*/ 1054894 w 1121416"/>
                  <a:gd name="connsiteY30" fmla="*/ 61912 h 207169"/>
                  <a:gd name="connsiteX31" fmla="*/ 966788 w 1121416"/>
                  <a:gd name="connsiteY31" fmla="*/ 35719 h 207169"/>
                  <a:gd name="connsiteX32" fmla="*/ 857250 w 1121416"/>
                  <a:gd name="connsiteY32" fmla="*/ 21431 h 207169"/>
                  <a:gd name="connsiteX33" fmla="*/ 790575 w 1121416"/>
                  <a:gd name="connsiteY33" fmla="*/ 9525 h 207169"/>
                  <a:gd name="connsiteX34" fmla="*/ 702469 w 1121416"/>
                  <a:gd name="connsiteY34" fmla="*/ 7144 h 207169"/>
                  <a:gd name="connsiteX35" fmla="*/ 559594 w 1121416"/>
                  <a:gd name="connsiteY35" fmla="*/ 0 h 207169"/>
                  <a:gd name="connsiteX36" fmla="*/ 338138 w 1121416"/>
                  <a:gd name="connsiteY36" fmla="*/ 2381 h 207169"/>
                  <a:gd name="connsiteX37" fmla="*/ 295275 w 1121416"/>
                  <a:gd name="connsiteY37" fmla="*/ 7144 h 207169"/>
                  <a:gd name="connsiteX38" fmla="*/ 278607 w 1121416"/>
                  <a:gd name="connsiteY38" fmla="*/ 9525 h 207169"/>
                  <a:gd name="connsiteX39" fmla="*/ 269082 w 1121416"/>
                  <a:gd name="connsiteY39" fmla="*/ 11906 h 207169"/>
                  <a:gd name="connsiteX40" fmla="*/ 238125 w 1121416"/>
                  <a:gd name="connsiteY40" fmla="*/ 14287 h 207169"/>
                  <a:gd name="connsiteX41" fmla="*/ 216694 w 1121416"/>
                  <a:gd name="connsiteY41" fmla="*/ 21431 h 207169"/>
                  <a:gd name="connsiteX42" fmla="*/ 195263 w 1121416"/>
                  <a:gd name="connsiteY42" fmla="*/ 26194 h 207169"/>
                  <a:gd name="connsiteX43" fmla="*/ 183357 w 1121416"/>
                  <a:gd name="connsiteY43" fmla="*/ 28575 h 207169"/>
                  <a:gd name="connsiteX44" fmla="*/ 147638 w 1121416"/>
                  <a:gd name="connsiteY44" fmla="*/ 38100 h 207169"/>
                  <a:gd name="connsiteX45" fmla="*/ 128588 w 1121416"/>
                  <a:gd name="connsiteY45" fmla="*/ 45244 h 207169"/>
                  <a:gd name="connsiteX46" fmla="*/ 109538 w 1121416"/>
                  <a:gd name="connsiteY46" fmla="*/ 50006 h 207169"/>
                  <a:gd name="connsiteX47" fmla="*/ 97632 w 1121416"/>
                  <a:gd name="connsiteY47" fmla="*/ 54769 h 207169"/>
                  <a:gd name="connsiteX48" fmla="*/ 80963 w 1121416"/>
                  <a:gd name="connsiteY48" fmla="*/ 57150 h 207169"/>
                  <a:gd name="connsiteX49" fmla="*/ 54769 w 1121416"/>
                  <a:gd name="connsiteY49" fmla="*/ 61912 h 207169"/>
                  <a:gd name="connsiteX50" fmla="*/ 47625 w 1121416"/>
                  <a:gd name="connsiteY50" fmla="*/ 64294 h 207169"/>
                  <a:gd name="connsiteX51" fmla="*/ 23813 w 1121416"/>
                  <a:gd name="connsiteY51" fmla="*/ 71437 h 207169"/>
                  <a:gd name="connsiteX52" fmla="*/ 9525 w 1121416"/>
                  <a:gd name="connsiteY52" fmla="*/ 80962 h 207169"/>
                  <a:gd name="connsiteX53" fmla="*/ 0 w 1121416"/>
                  <a:gd name="connsiteY53" fmla="*/ 104775 h 207169"/>
                  <a:gd name="connsiteX54" fmla="*/ 11907 w 1121416"/>
                  <a:gd name="connsiteY5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66775 w 1121416"/>
                  <a:gd name="connsiteY23" fmla="*/ 173831 h 207169"/>
                  <a:gd name="connsiteX24" fmla="*/ 940594 w 1121416"/>
                  <a:gd name="connsiteY24" fmla="*/ 169069 h 207169"/>
                  <a:gd name="connsiteX25" fmla="*/ 971550 w 1121416"/>
                  <a:gd name="connsiteY25" fmla="*/ 166687 h 207169"/>
                  <a:gd name="connsiteX26" fmla="*/ 1052513 w 1121416"/>
                  <a:gd name="connsiteY26" fmla="*/ 142875 h 207169"/>
                  <a:gd name="connsiteX27" fmla="*/ 1116807 w 1121416"/>
                  <a:gd name="connsiteY27" fmla="*/ 95250 h 207169"/>
                  <a:gd name="connsiteX28" fmla="*/ 1114425 w 1121416"/>
                  <a:gd name="connsiteY28" fmla="*/ 85725 h 207169"/>
                  <a:gd name="connsiteX29" fmla="*/ 1054894 w 1121416"/>
                  <a:gd name="connsiteY29" fmla="*/ 61912 h 207169"/>
                  <a:gd name="connsiteX30" fmla="*/ 966788 w 1121416"/>
                  <a:gd name="connsiteY30" fmla="*/ 35719 h 207169"/>
                  <a:gd name="connsiteX31" fmla="*/ 857250 w 1121416"/>
                  <a:gd name="connsiteY31" fmla="*/ 21431 h 207169"/>
                  <a:gd name="connsiteX32" fmla="*/ 790575 w 1121416"/>
                  <a:gd name="connsiteY32" fmla="*/ 9525 h 207169"/>
                  <a:gd name="connsiteX33" fmla="*/ 702469 w 1121416"/>
                  <a:gd name="connsiteY33" fmla="*/ 7144 h 207169"/>
                  <a:gd name="connsiteX34" fmla="*/ 559594 w 1121416"/>
                  <a:gd name="connsiteY34" fmla="*/ 0 h 207169"/>
                  <a:gd name="connsiteX35" fmla="*/ 338138 w 1121416"/>
                  <a:gd name="connsiteY35" fmla="*/ 2381 h 207169"/>
                  <a:gd name="connsiteX36" fmla="*/ 295275 w 1121416"/>
                  <a:gd name="connsiteY36" fmla="*/ 7144 h 207169"/>
                  <a:gd name="connsiteX37" fmla="*/ 278607 w 1121416"/>
                  <a:gd name="connsiteY37" fmla="*/ 9525 h 207169"/>
                  <a:gd name="connsiteX38" fmla="*/ 269082 w 1121416"/>
                  <a:gd name="connsiteY38" fmla="*/ 11906 h 207169"/>
                  <a:gd name="connsiteX39" fmla="*/ 238125 w 1121416"/>
                  <a:gd name="connsiteY39" fmla="*/ 14287 h 207169"/>
                  <a:gd name="connsiteX40" fmla="*/ 216694 w 1121416"/>
                  <a:gd name="connsiteY40" fmla="*/ 21431 h 207169"/>
                  <a:gd name="connsiteX41" fmla="*/ 195263 w 1121416"/>
                  <a:gd name="connsiteY41" fmla="*/ 26194 h 207169"/>
                  <a:gd name="connsiteX42" fmla="*/ 183357 w 1121416"/>
                  <a:gd name="connsiteY42" fmla="*/ 28575 h 207169"/>
                  <a:gd name="connsiteX43" fmla="*/ 147638 w 1121416"/>
                  <a:gd name="connsiteY43" fmla="*/ 38100 h 207169"/>
                  <a:gd name="connsiteX44" fmla="*/ 128588 w 1121416"/>
                  <a:gd name="connsiteY44" fmla="*/ 45244 h 207169"/>
                  <a:gd name="connsiteX45" fmla="*/ 109538 w 1121416"/>
                  <a:gd name="connsiteY45" fmla="*/ 50006 h 207169"/>
                  <a:gd name="connsiteX46" fmla="*/ 97632 w 1121416"/>
                  <a:gd name="connsiteY46" fmla="*/ 54769 h 207169"/>
                  <a:gd name="connsiteX47" fmla="*/ 80963 w 1121416"/>
                  <a:gd name="connsiteY47" fmla="*/ 57150 h 207169"/>
                  <a:gd name="connsiteX48" fmla="*/ 54769 w 1121416"/>
                  <a:gd name="connsiteY48" fmla="*/ 61912 h 207169"/>
                  <a:gd name="connsiteX49" fmla="*/ 47625 w 1121416"/>
                  <a:gd name="connsiteY49" fmla="*/ 64294 h 207169"/>
                  <a:gd name="connsiteX50" fmla="*/ 23813 w 1121416"/>
                  <a:gd name="connsiteY50" fmla="*/ 71437 h 207169"/>
                  <a:gd name="connsiteX51" fmla="*/ 9525 w 1121416"/>
                  <a:gd name="connsiteY51" fmla="*/ 80962 h 207169"/>
                  <a:gd name="connsiteX52" fmla="*/ 0 w 1121416"/>
                  <a:gd name="connsiteY52" fmla="*/ 104775 h 207169"/>
                  <a:gd name="connsiteX53" fmla="*/ 11907 w 1121416"/>
                  <a:gd name="connsiteY53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97719 w 1121416"/>
                  <a:gd name="connsiteY21" fmla="*/ 188119 h 207169"/>
                  <a:gd name="connsiteX22" fmla="*/ 866775 w 1121416"/>
                  <a:gd name="connsiteY22" fmla="*/ 173831 h 207169"/>
                  <a:gd name="connsiteX23" fmla="*/ 940594 w 1121416"/>
                  <a:gd name="connsiteY23" fmla="*/ 169069 h 207169"/>
                  <a:gd name="connsiteX24" fmla="*/ 971550 w 1121416"/>
                  <a:gd name="connsiteY24" fmla="*/ 166687 h 207169"/>
                  <a:gd name="connsiteX25" fmla="*/ 1052513 w 1121416"/>
                  <a:gd name="connsiteY25" fmla="*/ 142875 h 207169"/>
                  <a:gd name="connsiteX26" fmla="*/ 1116807 w 1121416"/>
                  <a:gd name="connsiteY26" fmla="*/ 95250 h 207169"/>
                  <a:gd name="connsiteX27" fmla="*/ 1114425 w 1121416"/>
                  <a:gd name="connsiteY27" fmla="*/ 85725 h 207169"/>
                  <a:gd name="connsiteX28" fmla="*/ 1054894 w 1121416"/>
                  <a:gd name="connsiteY28" fmla="*/ 61912 h 207169"/>
                  <a:gd name="connsiteX29" fmla="*/ 966788 w 1121416"/>
                  <a:gd name="connsiteY29" fmla="*/ 35719 h 207169"/>
                  <a:gd name="connsiteX30" fmla="*/ 857250 w 1121416"/>
                  <a:gd name="connsiteY30" fmla="*/ 21431 h 207169"/>
                  <a:gd name="connsiteX31" fmla="*/ 790575 w 1121416"/>
                  <a:gd name="connsiteY31" fmla="*/ 9525 h 207169"/>
                  <a:gd name="connsiteX32" fmla="*/ 702469 w 1121416"/>
                  <a:gd name="connsiteY32" fmla="*/ 7144 h 207169"/>
                  <a:gd name="connsiteX33" fmla="*/ 559594 w 1121416"/>
                  <a:gd name="connsiteY33" fmla="*/ 0 h 207169"/>
                  <a:gd name="connsiteX34" fmla="*/ 338138 w 1121416"/>
                  <a:gd name="connsiteY34" fmla="*/ 2381 h 207169"/>
                  <a:gd name="connsiteX35" fmla="*/ 295275 w 1121416"/>
                  <a:gd name="connsiteY35" fmla="*/ 7144 h 207169"/>
                  <a:gd name="connsiteX36" fmla="*/ 278607 w 1121416"/>
                  <a:gd name="connsiteY36" fmla="*/ 9525 h 207169"/>
                  <a:gd name="connsiteX37" fmla="*/ 269082 w 1121416"/>
                  <a:gd name="connsiteY37" fmla="*/ 11906 h 207169"/>
                  <a:gd name="connsiteX38" fmla="*/ 238125 w 1121416"/>
                  <a:gd name="connsiteY38" fmla="*/ 14287 h 207169"/>
                  <a:gd name="connsiteX39" fmla="*/ 216694 w 1121416"/>
                  <a:gd name="connsiteY39" fmla="*/ 21431 h 207169"/>
                  <a:gd name="connsiteX40" fmla="*/ 195263 w 1121416"/>
                  <a:gd name="connsiteY40" fmla="*/ 26194 h 207169"/>
                  <a:gd name="connsiteX41" fmla="*/ 183357 w 1121416"/>
                  <a:gd name="connsiteY41" fmla="*/ 28575 h 207169"/>
                  <a:gd name="connsiteX42" fmla="*/ 147638 w 1121416"/>
                  <a:gd name="connsiteY42" fmla="*/ 38100 h 207169"/>
                  <a:gd name="connsiteX43" fmla="*/ 128588 w 1121416"/>
                  <a:gd name="connsiteY43" fmla="*/ 45244 h 207169"/>
                  <a:gd name="connsiteX44" fmla="*/ 109538 w 1121416"/>
                  <a:gd name="connsiteY44" fmla="*/ 50006 h 207169"/>
                  <a:gd name="connsiteX45" fmla="*/ 97632 w 1121416"/>
                  <a:gd name="connsiteY45" fmla="*/ 54769 h 207169"/>
                  <a:gd name="connsiteX46" fmla="*/ 80963 w 1121416"/>
                  <a:gd name="connsiteY46" fmla="*/ 57150 h 207169"/>
                  <a:gd name="connsiteX47" fmla="*/ 54769 w 1121416"/>
                  <a:gd name="connsiteY47" fmla="*/ 61912 h 207169"/>
                  <a:gd name="connsiteX48" fmla="*/ 47625 w 1121416"/>
                  <a:gd name="connsiteY48" fmla="*/ 64294 h 207169"/>
                  <a:gd name="connsiteX49" fmla="*/ 23813 w 1121416"/>
                  <a:gd name="connsiteY49" fmla="*/ 71437 h 207169"/>
                  <a:gd name="connsiteX50" fmla="*/ 9525 w 1121416"/>
                  <a:gd name="connsiteY50" fmla="*/ 80962 h 207169"/>
                  <a:gd name="connsiteX51" fmla="*/ 0 w 1121416"/>
                  <a:gd name="connsiteY51" fmla="*/ 104775 h 207169"/>
                  <a:gd name="connsiteX52" fmla="*/ 11907 w 1121416"/>
                  <a:gd name="connsiteY52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797719 w 1121416"/>
                  <a:gd name="connsiteY20" fmla="*/ 188119 h 207169"/>
                  <a:gd name="connsiteX21" fmla="*/ 866775 w 1121416"/>
                  <a:gd name="connsiteY21" fmla="*/ 173831 h 207169"/>
                  <a:gd name="connsiteX22" fmla="*/ 940594 w 1121416"/>
                  <a:gd name="connsiteY22" fmla="*/ 169069 h 207169"/>
                  <a:gd name="connsiteX23" fmla="*/ 971550 w 1121416"/>
                  <a:gd name="connsiteY23" fmla="*/ 166687 h 207169"/>
                  <a:gd name="connsiteX24" fmla="*/ 1052513 w 1121416"/>
                  <a:gd name="connsiteY24" fmla="*/ 142875 h 207169"/>
                  <a:gd name="connsiteX25" fmla="*/ 1116807 w 1121416"/>
                  <a:gd name="connsiteY25" fmla="*/ 95250 h 207169"/>
                  <a:gd name="connsiteX26" fmla="*/ 1114425 w 1121416"/>
                  <a:gd name="connsiteY26" fmla="*/ 85725 h 207169"/>
                  <a:gd name="connsiteX27" fmla="*/ 1054894 w 1121416"/>
                  <a:gd name="connsiteY27" fmla="*/ 61912 h 207169"/>
                  <a:gd name="connsiteX28" fmla="*/ 966788 w 1121416"/>
                  <a:gd name="connsiteY28" fmla="*/ 35719 h 207169"/>
                  <a:gd name="connsiteX29" fmla="*/ 857250 w 1121416"/>
                  <a:gd name="connsiteY29" fmla="*/ 21431 h 207169"/>
                  <a:gd name="connsiteX30" fmla="*/ 790575 w 1121416"/>
                  <a:gd name="connsiteY30" fmla="*/ 9525 h 207169"/>
                  <a:gd name="connsiteX31" fmla="*/ 702469 w 1121416"/>
                  <a:gd name="connsiteY31" fmla="*/ 7144 h 207169"/>
                  <a:gd name="connsiteX32" fmla="*/ 559594 w 1121416"/>
                  <a:gd name="connsiteY32" fmla="*/ 0 h 207169"/>
                  <a:gd name="connsiteX33" fmla="*/ 338138 w 1121416"/>
                  <a:gd name="connsiteY33" fmla="*/ 2381 h 207169"/>
                  <a:gd name="connsiteX34" fmla="*/ 295275 w 1121416"/>
                  <a:gd name="connsiteY34" fmla="*/ 7144 h 207169"/>
                  <a:gd name="connsiteX35" fmla="*/ 278607 w 1121416"/>
                  <a:gd name="connsiteY35" fmla="*/ 9525 h 207169"/>
                  <a:gd name="connsiteX36" fmla="*/ 269082 w 1121416"/>
                  <a:gd name="connsiteY36" fmla="*/ 11906 h 207169"/>
                  <a:gd name="connsiteX37" fmla="*/ 238125 w 1121416"/>
                  <a:gd name="connsiteY37" fmla="*/ 14287 h 207169"/>
                  <a:gd name="connsiteX38" fmla="*/ 216694 w 1121416"/>
                  <a:gd name="connsiteY38" fmla="*/ 21431 h 207169"/>
                  <a:gd name="connsiteX39" fmla="*/ 195263 w 1121416"/>
                  <a:gd name="connsiteY39" fmla="*/ 26194 h 207169"/>
                  <a:gd name="connsiteX40" fmla="*/ 183357 w 1121416"/>
                  <a:gd name="connsiteY40" fmla="*/ 28575 h 207169"/>
                  <a:gd name="connsiteX41" fmla="*/ 147638 w 1121416"/>
                  <a:gd name="connsiteY41" fmla="*/ 38100 h 207169"/>
                  <a:gd name="connsiteX42" fmla="*/ 128588 w 1121416"/>
                  <a:gd name="connsiteY42" fmla="*/ 45244 h 207169"/>
                  <a:gd name="connsiteX43" fmla="*/ 109538 w 1121416"/>
                  <a:gd name="connsiteY43" fmla="*/ 50006 h 207169"/>
                  <a:gd name="connsiteX44" fmla="*/ 97632 w 1121416"/>
                  <a:gd name="connsiteY44" fmla="*/ 54769 h 207169"/>
                  <a:gd name="connsiteX45" fmla="*/ 80963 w 1121416"/>
                  <a:gd name="connsiteY45" fmla="*/ 57150 h 207169"/>
                  <a:gd name="connsiteX46" fmla="*/ 54769 w 1121416"/>
                  <a:gd name="connsiteY46" fmla="*/ 61912 h 207169"/>
                  <a:gd name="connsiteX47" fmla="*/ 47625 w 1121416"/>
                  <a:gd name="connsiteY47" fmla="*/ 64294 h 207169"/>
                  <a:gd name="connsiteX48" fmla="*/ 23813 w 1121416"/>
                  <a:gd name="connsiteY48" fmla="*/ 71437 h 207169"/>
                  <a:gd name="connsiteX49" fmla="*/ 9525 w 1121416"/>
                  <a:gd name="connsiteY49" fmla="*/ 80962 h 207169"/>
                  <a:gd name="connsiteX50" fmla="*/ 0 w 1121416"/>
                  <a:gd name="connsiteY50" fmla="*/ 104775 h 207169"/>
                  <a:gd name="connsiteX51" fmla="*/ 11907 w 1121416"/>
                  <a:gd name="connsiteY51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57200 w 1121416"/>
                  <a:gd name="connsiteY15" fmla="*/ 207169 h 207169"/>
                  <a:gd name="connsiteX16" fmla="*/ 604838 w 1121416"/>
                  <a:gd name="connsiteY16" fmla="*/ 204787 h 207169"/>
                  <a:gd name="connsiteX17" fmla="*/ 623888 w 1121416"/>
                  <a:gd name="connsiteY17" fmla="*/ 200025 h 207169"/>
                  <a:gd name="connsiteX18" fmla="*/ 676275 w 1121416"/>
                  <a:gd name="connsiteY18" fmla="*/ 197644 h 207169"/>
                  <a:gd name="connsiteX19" fmla="*/ 797719 w 1121416"/>
                  <a:gd name="connsiteY19" fmla="*/ 188119 h 207169"/>
                  <a:gd name="connsiteX20" fmla="*/ 866775 w 1121416"/>
                  <a:gd name="connsiteY20" fmla="*/ 173831 h 207169"/>
                  <a:gd name="connsiteX21" fmla="*/ 940594 w 1121416"/>
                  <a:gd name="connsiteY21" fmla="*/ 169069 h 207169"/>
                  <a:gd name="connsiteX22" fmla="*/ 971550 w 1121416"/>
                  <a:gd name="connsiteY22" fmla="*/ 166687 h 207169"/>
                  <a:gd name="connsiteX23" fmla="*/ 1052513 w 1121416"/>
                  <a:gd name="connsiteY23" fmla="*/ 142875 h 207169"/>
                  <a:gd name="connsiteX24" fmla="*/ 1116807 w 1121416"/>
                  <a:gd name="connsiteY24" fmla="*/ 95250 h 207169"/>
                  <a:gd name="connsiteX25" fmla="*/ 1114425 w 1121416"/>
                  <a:gd name="connsiteY25" fmla="*/ 85725 h 207169"/>
                  <a:gd name="connsiteX26" fmla="*/ 1054894 w 1121416"/>
                  <a:gd name="connsiteY26" fmla="*/ 61912 h 207169"/>
                  <a:gd name="connsiteX27" fmla="*/ 966788 w 1121416"/>
                  <a:gd name="connsiteY27" fmla="*/ 35719 h 207169"/>
                  <a:gd name="connsiteX28" fmla="*/ 857250 w 1121416"/>
                  <a:gd name="connsiteY28" fmla="*/ 21431 h 207169"/>
                  <a:gd name="connsiteX29" fmla="*/ 790575 w 1121416"/>
                  <a:gd name="connsiteY29" fmla="*/ 9525 h 207169"/>
                  <a:gd name="connsiteX30" fmla="*/ 702469 w 1121416"/>
                  <a:gd name="connsiteY30" fmla="*/ 7144 h 207169"/>
                  <a:gd name="connsiteX31" fmla="*/ 559594 w 1121416"/>
                  <a:gd name="connsiteY31" fmla="*/ 0 h 207169"/>
                  <a:gd name="connsiteX32" fmla="*/ 338138 w 1121416"/>
                  <a:gd name="connsiteY32" fmla="*/ 2381 h 207169"/>
                  <a:gd name="connsiteX33" fmla="*/ 295275 w 1121416"/>
                  <a:gd name="connsiteY33" fmla="*/ 7144 h 207169"/>
                  <a:gd name="connsiteX34" fmla="*/ 278607 w 1121416"/>
                  <a:gd name="connsiteY34" fmla="*/ 9525 h 207169"/>
                  <a:gd name="connsiteX35" fmla="*/ 269082 w 1121416"/>
                  <a:gd name="connsiteY35" fmla="*/ 11906 h 207169"/>
                  <a:gd name="connsiteX36" fmla="*/ 238125 w 1121416"/>
                  <a:gd name="connsiteY36" fmla="*/ 14287 h 207169"/>
                  <a:gd name="connsiteX37" fmla="*/ 216694 w 1121416"/>
                  <a:gd name="connsiteY37" fmla="*/ 21431 h 207169"/>
                  <a:gd name="connsiteX38" fmla="*/ 195263 w 1121416"/>
                  <a:gd name="connsiteY38" fmla="*/ 26194 h 207169"/>
                  <a:gd name="connsiteX39" fmla="*/ 183357 w 1121416"/>
                  <a:gd name="connsiteY39" fmla="*/ 28575 h 207169"/>
                  <a:gd name="connsiteX40" fmla="*/ 147638 w 1121416"/>
                  <a:gd name="connsiteY40" fmla="*/ 38100 h 207169"/>
                  <a:gd name="connsiteX41" fmla="*/ 128588 w 1121416"/>
                  <a:gd name="connsiteY41" fmla="*/ 45244 h 207169"/>
                  <a:gd name="connsiteX42" fmla="*/ 109538 w 1121416"/>
                  <a:gd name="connsiteY42" fmla="*/ 50006 h 207169"/>
                  <a:gd name="connsiteX43" fmla="*/ 97632 w 1121416"/>
                  <a:gd name="connsiteY43" fmla="*/ 54769 h 207169"/>
                  <a:gd name="connsiteX44" fmla="*/ 80963 w 1121416"/>
                  <a:gd name="connsiteY44" fmla="*/ 57150 h 207169"/>
                  <a:gd name="connsiteX45" fmla="*/ 54769 w 1121416"/>
                  <a:gd name="connsiteY45" fmla="*/ 61912 h 207169"/>
                  <a:gd name="connsiteX46" fmla="*/ 47625 w 1121416"/>
                  <a:gd name="connsiteY46" fmla="*/ 64294 h 207169"/>
                  <a:gd name="connsiteX47" fmla="*/ 23813 w 1121416"/>
                  <a:gd name="connsiteY47" fmla="*/ 71437 h 207169"/>
                  <a:gd name="connsiteX48" fmla="*/ 9525 w 1121416"/>
                  <a:gd name="connsiteY48" fmla="*/ 80962 h 207169"/>
                  <a:gd name="connsiteX49" fmla="*/ 0 w 1121416"/>
                  <a:gd name="connsiteY49" fmla="*/ 104775 h 207169"/>
                  <a:gd name="connsiteX50" fmla="*/ 11907 w 1121416"/>
                  <a:gd name="connsiteY50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457200 w 1121416"/>
                  <a:gd name="connsiteY14" fmla="*/ 207169 h 207169"/>
                  <a:gd name="connsiteX15" fmla="*/ 604838 w 1121416"/>
                  <a:gd name="connsiteY15" fmla="*/ 204787 h 207169"/>
                  <a:gd name="connsiteX16" fmla="*/ 623888 w 1121416"/>
                  <a:gd name="connsiteY16" fmla="*/ 200025 h 207169"/>
                  <a:gd name="connsiteX17" fmla="*/ 676275 w 1121416"/>
                  <a:gd name="connsiteY17" fmla="*/ 197644 h 207169"/>
                  <a:gd name="connsiteX18" fmla="*/ 797719 w 1121416"/>
                  <a:gd name="connsiteY18" fmla="*/ 188119 h 207169"/>
                  <a:gd name="connsiteX19" fmla="*/ 866775 w 1121416"/>
                  <a:gd name="connsiteY19" fmla="*/ 173831 h 207169"/>
                  <a:gd name="connsiteX20" fmla="*/ 940594 w 1121416"/>
                  <a:gd name="connsiteY20" fmla="*/ 169069 h 207169"/>
                  <a:gd name="connsiteX21" fmla="*/ 971550 w 1121416"/>
                  <a:gd name="connsiteY21" fmla="*/ 166687 h 207169"/>
                  <a:gd name="connsiteX22" fmla="*/ 1052513 w 1121416"/>
                  <a:gd name="connsiteY22" fmla="*/ 142875 h 207169"/>
                  <a:gd name="connsiteX23" fmla="*/ 1116807 w 1121416"/>
                  <a:gd name="connsiteY23" fmla="*/ 95250 h 207169"/>
                  <a:gd name="connsiteX24" fmla="*/ 1114425 w 1121416"/>
                  <a:gd name="connsiteY24" fmla="*/ 85725 h 207169"/>
                  <a:gd name="connsiteX25" fmla="*/ 1054894 w 1121416"/>
                  <a:gd name="connsiteY25" fmla="*/ 61912 h 207169"/>
                  <a:gd name="connsiteX26" fmla="*/ 966788 w 1121416"/>
                  <a:gd name="connsiteY26" fmla="*/ 35719 h 207169"/>
                  <a:gd name="connsiteX27" fmla="*/ 857250 w 1121416"/>
                  <a:gd name="connsiteY27" fmla="*/ 21431 h 207169"/>
                  <a:gd name="connsiteX28" fmla="*/ 790575 w 1121416"/>
                  <a:gd name="connsiteY28" fmla="*/ 9525 h 207169"/>
                  <a:gd name="connsiteX29" fmla="*/ 702469 w 1121416"/>
                  <a:gd name="connsiteY29" fmla="*/ 7144 h 207169"/>
                  <a:gd name="connsiteX30" fmla="*/ 559594 w 1121416"/>
                  <a:gd name="connsiteY30" fmla="*/ 0 h 207169"/>
                  <a:gd name="connsiteX31" fmla="*/ 338138 w 1121416"/>
                  <a:gd name="connsiteY31" fmla="*/ 2381 h 207169"/>
                  <a:gd name="connsiteX32" fmla="*/ 295275 w 1121416"/>
                  <a:gd name="connsiteY32" fmla="*/ 7144 h 207169"/>
                  <a:gd name="connsiteX33" fmla="*/ 278607 w 1121416"/>
                  <a:gd name="connsiteY33" fmla="*/ 9525 h 207169"/>
                  <a:gd name="connsiteX34" fmla="*/ 269082 w 1121416"/>
                  <a:gd name="connsiteY34" fmla="*/ 11906 h 207169"/>
                  <a:gd name="connsiteX35" fmla="*/ 238125 w 1121416"/>
                  <a:gd name="connsiteY35" fmla="*/ 14287 h 207169"/>
                  <a:gd name="connsiteX36" fmla="*/ 216694 w 1121416"/>
                  <a:gd name="connsiteY36" fmla="*/ 21431 h 207169"/>
                  <a:gd name="connsiteX37" fmla="*/ 195263 w 1121416"/>
                  <a:gd name="connsiteY37" fmla="*/ 26194 h 207169"/>
                  <a:gd name="connsiteX38" fmla="*/ 183357 w 1121416"/>
                  <a:gd name="connsiteY38" fmla="*/ 28575 h 207169"/>
                  <a:gd name="connsiteX39" fmla="*/ 147638 w 1121416"/>
                  <a:gd name="connsiteY39" fmla="*/ 38100 h 207169"/>
                  <a:gd name="connsiteX40" fmla="*/ 128588 w 1121416"/>
                  <a:gd name="connsiteY40" fmla="*/ 45244 h 207169"/>
                  <a:gd name="connsiteX41" fmla="*/ 109538 w 1121416"/>
                  <a:gd name="connsiteY41" fmla="*/ 50006 h 207169"/>
                  <a:gd name="connsiteX42" fmla="*/ 97632 w 1121416"/>
                  <a:gd name="connsiteY42" fmla="*/ 54769 h 207169"/>
                  <a:gd name="connsiteX43" fmla="*/ 80963 w 1121416"/>
                  <a:gd name="connsiteY43" fmla="*/ 57150 h 207169"/>
                  <a:gd name="connsiteX44" fmla="*/ 54769 w 1121416"/>
                  <a:gd name="connsiteY44" fmla="*/ 61912 h 207169"/>
                  <a:gd name="connsiteX45" fmla="*/ 47625 w 1121416"/>
                  <a:gd name="connsiteY45" fmla="*/ 64294 h 207169"/>
                  <a:gd name="connsiteX46" fmla="*/ 23813 w 1121416"/>
                  <a:gd name="connsiteY46" fmla="*/ 71437 h 207169"/>
                  <a:gd name="connsiteX47" fmla="*/ 9525 w 1121416"/>
                  <a:gd name="connsiteY47" fmla="*/ 80962 h 207169"/>
                  <a:gd name="connsiteX48" fmla="*/ 0 w 1121416"/>
                  <a:gd name="connsiteY48" fmla="*/ 104775 h 207169"/>
                  <a:gd name="connsiteX49" fmla="*/ 11907 w 1121416"/>
                  <a:gd name="connsiteY4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38125 w 1121416"/>
                  <a:gd name="connsiteY11" fmla="*/ 178594 h 207169"/>
                  <a:gd name="connsiteX12" fmla="*/ 285750 w 1121416"/>
                  <a:gd name="connsiteY12" fmla="*/ 192881 h 207169"/>
                  <a:gd name="connsiteX13" fmla="*/ 457200 w 1121416"/>
                  <a:gd name="connsiteY13" fmla="*/ 207169 h 207169"/>
                  <a:gd name="connsiteX14" fmla="*/ 604838 w 1121416"/>
                  <a:gd name="connsiteY14" fmla="*/ 204787 h 207169"/>
                  <a:gd name="connsiteX15" fmla="*/ 623888 w 1121416"/>
                  <a:gd name="connsiteY15" fmla="*/ 200025 h 207169"/>
                  <a:gd name="connsiteX16" fmla="*/ 676275 w 1121416"/>
                  <a:gd name="connsiteY16" fmla="*/ 197644 h 207169"/>
                  <a:gd name="connsiteX17" fmla="*/ 797719 w 1121416"/>
                  <a:gd name="connsiteY17" fmla="*/ 188119 h 207169"/>
                  <a:gd name="connsiteX18" fmla="*/ 866775 w 1121416"/>
                  <a:gd name="connsiteY18" fmla="*/ 173831 h 207169"/>
                  <a:gd name="connsiteX19" fmla="*/ 940594 w 1121416"/>
                  <a:gd name="connsiteY19" fmla="*/ 169069 h 207169"/>
                  <a:gd name="connsiteX20" fmla="*/ 971550 w 1121416"/>
                  <a:gd name="connsiteY20" fmla="*/ 166687 h 207169"/>
                  <a:gd name="connsiteX21" fmla="*/ 1052513 w 1121416"/>
                  <a:gd name="connsiteY21" fmla="*/ 142875 h 207169"/>
                  <a:gd name="connsiteX22" fmla="*/ 1116807 w 1121416"/>
                  <a:gd name="connsiteY22" fmla="*/ 95250 h 207169"/>
                  <a:gd name="connsiteX23" fmla="*/ 1114425 w 1121416"/>
                  <a:gd name="connsiteY23" fmla="*/ 85725 h 207169"/>
                  <a:gd name="connsiteX24" fmla="*/ 1054894 w 1121416"/>
                  <a:gd name="connsiteY24" fmla="*/ 61912 h 207169"/>
                  <a:gd name="connsiteX25" fmla="*/ 966788 w 1121416"/>
                  <a:gd name="connsiteY25" fmla="*/ 35719 h 207169"/>
                  <a:gd name="connsiteX26" fmla="*/ 857250 w 1121416"/>
                  <a:gd name="connsiteY26" fmla="*/ 21431 h 207169"/>
                  <a:gd name="connsiteX27" fmla="*/ 790575 w 1121416"/>
                  <a:gd name="connsiteY27" fmla="*/ 9525 h 207169"/>
                  <a:gd name="connsiteX28" fmla="*/ 702469 w 1121416"/>
                  <a:gd name="connsiteY28" fmla="*/ 7144 h 207169"/>
                  <a:gd name="connsiteX29" fmla="*/ 559594 w 1121416"/>
                  <a:gd name="connsiteY29" fmla="*/ 0 h 207169"/>
                  <a:gd name="connsiteX30" fmla="*/ 338138 w 1121416"/>
                  <a:gd name="connsiteY30" fmla="*/ 2381 h 207169"/>
                  <a:gd name="connsiteX31" fmla="*/ 295275 w 1121416"/>
                  <a:gd name="connsiteY31" fmla="*/ 7144 h 207169"/>
                  <a:gd name="connsiteX32" fmla="*/ 278607 w 1121416"/>
                  <a:gd name="connsiteY32" fmla="*/ 9525 h 207169"/>
                  <a:gd name="connsiteX33" fmla="*/ 269082 w 1121416"/>
                  <a:gd name="connsiteY33" fmla="*/ 11906 h 207169"/>
                  <a:gd name="connsiteX34" fmla="*/ 238125 w 1121416"/>
                  <a:gd name="connsiteY34" fmla="*/ 14287 h 207169"/>
                  <a:gd name="connsiteX35" fmla="*/ 216694 w 1121416"/>
                  <a:gd name="connsiteY35" fmla="*/ 21431 h 207169"/>
                  <a:gd name="connsiteX36" fmla="*/ 195263 w 1121416"/>
                  <a:gd name="connsiteY36" fmla="*/ 26194 h 207169"/>
                  <a:gd name="connsiteX37" fmla="*/ 183357 w 1121416"/>
                  <a:gd name="connsiteY37" fmla="*/ 28575 h 207169"/>
                  <a:gd name="connsiteX38" fmla="*/ 147638 w 1121416"/>
                  <a:gd name="connsiteY38" fmla="*/ 38100 h 207169"/>
                  <a:gd name="connsiteX39" fmla="*/ 128588 w 1121416"/>
                  <a:gd name="connsiteY39" fmla="*/ 45244 h 207169"/>
                  <a:gd name="connsiteX40" fmla="*/ 109538 w 1121416"/>
                  <a:gd name="connsiteY40" fmla="*/ 50006 h 207169"/>
                  <a:gd name="connsiteX41" fmla="*/ 97632 w 1121416"/>
                  <a:gd name="connsiteY41" fmla="*/ 54769 h 207169"/>
                  <a:gd name="connsiteX42" fmla="*/ 80963 w 1121416"/>
                  <a:gd name="connsiteY42" fmla="*/ 57150 h 207169"/>
                  <a:gd name="connsiteX43" fmla="*/ 54769 w 1121416"/>
                  <a:gd name="connsiteY43" fmla="*/ 61912 h 207169"/>
                  <a:gd name="connsiteX44" fmla="*/ 47625 w 1121416"/>
                  <a:gd name="connsiteY44" fmla="*/ 64294 h 207169"/>
                  <a:gd name="connsiteX45" fmla="*/ 23813 w 1121416"/>
                  <a:gd name="connsiteY45" fmla="*/ 71437 h 207169"/>
                  <a:gd name="connsiteX46" fmla="*/ 9525 w 1121416"/>
                  <a:gd name="connsiteY46" fmla="*/ 80962 h 207169"/>
                  <a:gd name="connsiteX47" fmla="*/ 0 w 1121416"/>
                  <a:gd name="connsiteY47" fmla="*/ 104775 h 207169"/>
                  <a:gd name="connsiteX48" fmla="*/ 11907 w 1121416"/>
                  <a:gd name="connsiteY4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202407 w 1121416"/>
                  <a:gd name="connsiteY9" fmla="*/ 169069 h 207169"/>
                  <a:gd name="connsiteX10" fmla="*/ 238125 w 1121416"/>
                  <a:gd name="connsiteY10" fmla="*/ 178594 h 207169"/>
                  <a:gd name="connsiteX11" fmla="*/ 285750 w 1121416"/>
                  <a:gd name="connsiteY11" fmla="*/ 192881 h 207169"/>
                  <a:gd name="connsiteX12" fmla="*/ 457200 w 1121416"/>
                  <a:gd name="connsiteY12" fmla="*/ 207169 h 207169"/>
                  <a:gd name="connsiteX13" fmla="*/ 604838 w 1121416"/>
                  <a:gd name="connsiteY13" fmla="*/ 204787 h 207169"/>
                  <a:gd name="connsiteX14" fmla="*/ 623888 w 1121416"/>
                  <a:gd name="connsiteY14" fmla="*/ 200025 h 207169"/>
                  <a:gd name="connsiteX15" fmla="*/ 676275 w 1121416"/>
                  <a:gd name="connsiteY15" fmla="*/ 197644 h 207169"/>
                  <a:gd name="connsiteX16" fmla="*/ 797719 w 1121416"/>
                  <a:gd name="connsiteY16" fmla="*/ 188119 h 207169"/>
                  <a:gd name="connsiteX17" fmla="*/ 866775 w 1121416"/>
                  <a:gd name="connsiteY17" fmla="*/ 173831 h 207169"/>
                  <a:gd name="connsiteX18" fmla="*/ 940594 w 1121416"/>
                  <a:gd name="connsiteY18" fmla="*/ 169069 h 207169"/>
                  <a:gd name="connsiteX19" fmla="*/ 971550 w 1121416"/>
                  <a:gd name="connsiteY19" fmla="*/ 166687 h 207169"/>
                  <a:gd name="connsiteX20" fmla="*/ 1052513 w 1121416"/>
                  <a:gd name="connsiteY20" fmla="*/ 142875 h 207169"/>
                  <a:gd name="connsiteX21" fmla="*/ 1116807 w 1121416"/>
                  <a:gd name="connsiteY21" fmla="*/ 95250 h 207169"/>
                  <a:gd name="connsiteX22" fmla="*/ 1114425 w 1121416"/>
                  <a:gd name="connsiteY22" fmla="*/ 85725 h 207169"/>
                  <a:gd name="connsiteX23" fmla="*/ 1054894 w 1121416"/>
                  <a:gd name="connsiteY23" fmla="*/ 61912 h 207169"/>
                  <a:gd name="connsiteX24" fmla="*/ 966788 w 1121416"/>
                  <a:gd name="connsiteY24" fmla="*/ 35719 h 207169"/>
                  <a:gd name="connsiteX25" fmla="*/ 857250 w 1121416"/>
                  <a:gd name="connsiteY25" fmla="*/ 21431 h 207169"/>
                  <a:gd name="connsiteX26" fmla="*/ 790575 w 1121416"/>
                  <a:gd name="connsiteY26" fmla="*/ 9525 h 207169"/>
                  <a:gd name="connsiteX27" fmla="*/ 702469 w 1121416"/>
                  <a:gd name="connsiteY27" fmla="*/ 7144 h 207169"/>
                  <a:gd name="connsiteX28" fmla="*/ 559594 w 1121416"/>
                  <a:gd name="connsiteY28" fmla="*/ 0 h 207169"/>
                  <a:gd name="connsiteX29" fmla="*/ 338138 w 1121416"/>
                  <a:gd name="connsiteY29" fmla="*/ 2381 h 207169"/>
                  <a:gd name="connsiteX30" fmla="*/ 295275 w 1121416"/>
                  <a:gd name="connsiteY30" fmla="*/ 7144 h 207169"/>
                  <a:gd name="connsiteX31" fmla="*/ 278607 w 1121416"/>
                  <a:gd name="connsiteY31" fmla="*/ 9525 h 207169"/>
                  <a:gd name="connsiteX32" fmla="*/ 269082 w 1121416"/>
                  <a:gd name="connsiteY32" fmla="*/ 11906 h 207169"/>
                  <a:gd name="connsiteX33" fmla="*/ 238125 w 1121416"/>
                  <a:gd name="connsiteY33" fmla="*/ 14287 h 207169"/>
                  <a:gd name="connsiteX34" fmla="*/ 216694 w 1121416"/>
                  <a:gd name="connsiteY34" fmla="*/ 21431 h 207169"/>
                  <a:gd name="connsiteX35" fmla="*/ 195263 w 1121416"/>
                  <a:gd name="connsiteY35" fmla="*/ 26194 h 207169"/>
                  <a:gd name="connsiteX36" fmla="*/ 183357 w 1121416"/>
                  <a:gd name="connsiteY36" fmla="*/ 28575 h 207169"/>
                  <a:gd name="connsiteX37" fmla="*/ 147638 w 1121416"/>
                  <a:gd name="connsiteY37" fmla="*/ 38100 h 207169"/>
                  <a:gd name="connsiteX38" fmla="*/ 128588 w 1121416"/>
                  <a:gd name="connsiteY38" fmla="*/ 45244 h 207169"/>
                  <a:gd name="connsiteX39" fmla="*/ 109538 w 1121416"/>
                  <a:gd name="connsiteY39" fmla="*/ 50006 h 207169"/>
                  <a:gd name="connsiteX40" fmla="*/ 97632 w 1121416"/>
                  <a:gd name="connsiteY40" fmla="*/ 54769 h 207169"/>
                  <a:gd name="connsiteX41" fmla="*/ 80963 w 1121416"/>
                  <a:gd name="connsiteY41" fmla="*/ 57150 h 207169"/>
                  <a:gd name="connsiteX42" fmla="*/ 54769 w 1121416"/>
                  <a:gd name="connsiteY42" fmla="*/ 61912 h 207169"/>
                  <a:gd name="connsiteX43" fmla="*/ 47625 w 1121416"/>
                  <a:gd name="connsiteY43" fmla="*/ 64294 h 207169"/>
                  <a:gd name="connsiteX44" fmla="*/ 23813 w 1121416"/>
                  <a:gd name="connsiteY44" fmla="*/ 71437 h 207169"/>
                  <a:gd name="connsiteX45" fmla="*/ 9525 w 1121416"/>
                  <a:gd name="connsiteY45" fmla="*/ 80962 h 207169"/>
                  <a:gd name="connsiteX46" fmla="*/ 0 w 1121416"/>
                  <a:gd name="connsiteY46" fmla="*/ 104775 h 207169"/>
                  <a:gd name="connsiteX47" fmla="*/ 11907 w 1121416"/>
                  <a:gd name="connsiteY4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1443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121443 w 1121416"/>
                  <a:gd name="connsiteY6" fmla="*/ 152400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02407 w 1121416"/>
                  <a:gd name="connsiteY6" fmla="*/ 169069 h 207169"/>
                  <a:gd name="connsiteX7" fmla="*/ 238125 w 1121416"/>
                  <a:gd name="connsiteY7" fmla="*/ 178594 h 207169"/>
                  <a:gd name="connsiteX8" fmla="*/ 285750 w 1121416"/>
                  <a:gd name="connsiteY8" fmla="*/ 192881 h 207169"/>
                  <a:gd name="connsiteX9" fmla="*/ 457200 w 1121416"/>
                  <a:gd name="connsiteY9" fmla="*/ 207169 h 207169"/>
                  <a:gd name="connsiteX10" fmla="*/ 604838 w 1121416"/>
                  <a:gd name="connsiteY10" fmla="*/ 204787 h 207169"/>
                  <a:gd name="connsiteX11" fmla="*/ 623888 w 1121416"/>
                  <a:gd name="connsiteY11" fmla="*/ 200025 h 207169"/>
                  <a:gd name="connsiteX12" fmla="*/ 676275 w 1121416"/>
                  <a:gd name="connsiteY12" fmla="*/ 197644 h 207169"/>
                  <a:gd name="connsiteX13" fmla="*/ 797719 w 1121416"/>
                  <a:gd name="connsiteY13" fmla="*/ 188119 h 207169"/>
                  <a:gd name="connsiteX14" fmla="*/ 866775 w 1121416"/>
                  <a:gd name="connsiteY14" fmla="*/ 173831 h 207169"/>
                  <a:gd name="connsiteX15" fmla="*/ 940594 w 1121416"/>
                  <a:gd name="connsiteY15" fmla="*/ 169069 h 207169"/>
                  <a:gd name="connsiteX16" fmla="*/ 971550 w 1121416"/>
                  <a:gd name="connsiteY16" fmla="*/ 166687 h 207169"/>
                  <a:gd name="connsiteX17" fmla="*/ 1052513 w 1121416"/>
                  <a:gd name="connsiteY17" fmla="*/ 142875 h 207169"/>
                  <a:gd name="connsiteX18" fmla="*/ 1116807 w 1121416"/>
                  <a:gd name="connsiteY18" fmla="*/ 95250 h 207169"/>
                  <a:gd name="connsiteX19" fmla="*/ 1114425 w 1121416"/>
                  <a:gd name="connsiteY19" fmla="*/ 85725 h 207169"/>
                  <a:gd name="connsiteX20" fmla="*/ 1054894 w 1121416"/>
                  <a:gd name="connsiteY20" fmla="*/ 61912 h 207169"/>
                  <a:gd name="connsiteX21" fmla="*/ 966788 w 1121416"/>
                  <a:gd name="connsiteY21" fmla="*/ 35719 h 207169"/>
                  <a:gd name="connsiteX22" fmla="*/ 857250 w 1121416"/>
                  <a:gd name="connsiteY22" fmla="*/ 21431 h 207169"/>
                  <a:gd name="connsiteX23" fmla="*/ 790575 w 1121416"/>
                  <a:gd name="connsiteY23" fmla="*/ 9525 h 207169"/>
                  <a:gd name="connsiteX24" fmla="*/ 702469 w 1121416"/>
                  <a:gd name="connsiteY24" fmla="*/ 7144 h 207169"/>
                  <a:gd name="connsiteX25" fmla="*/ 559594 w 1121416"/>
                  <a:gd name="connsiteY25" fmla="*/ 0 h 207169"/>
                  <a:gd name="connsiteX26" fmla="*/ 338138 w 1121416"/>
                  <a:gd name="connsiteY26" fmla="*/ 2381 h 207169"/>
                  <a:gd name="connsiteX27" fmla="*/ 295275 w 1121416"/>
                  <a:gd name="connsiteY27" fmla="*/ 7144 h 207169"/>
                  <a:gd name="connsiteX28" fmla="*/ 278607 w 1121416"/>
                  <a:gd name="connsiteY28" fmla="*/ 9525 h 207169"/>
                  <a:gd name="connsiteX29" fmla="*/ 269082 w 1121416"/>
                  <a:gd name="connsiteY29" fmla="*/ 11906 h 207169"/>
                  <a:gd name="connsiteX30" fmla="*/ 238125 w 1121416"/>
                  <a:gd name="connsiteY30" fmla="*/ 14287 h 207169"/>
                  <a:gd name="connsiteX31" fmla="*/ 216694 w 1121416"/>
                  <a:gd name="connsiteY31" fmla="*/ 21431 h 207169"/>
                  <a:gd name="connsiteX32" fmla="*/ 195263 w 1121416"/>
                  <a:gd name="connsiteY32" fmla="*/ 26194 h 207169"/>
                  <a:gd name="connsiteX33" fmla="*/ 183357 w 1121416"/>
                  <a:gd name="connsiteY33" fmla="*/ 28575 h 207169"/>
                  <a:gd name="connsiteX34" fmla="*/ 147638 w 1121416"/>
                  <a:gd name="connsiteY34" fmla="*/ 38100 h 207169"/>
                  <a:gd name="connsiteX35" fmla="*/ 128588 w 1121416"/>
                  <a:gd name="connsiteY35" fmla="*/ 45244 h 207169"/>
                  <a:gd name="connsiteX36" fmla="*/ 109538 w 1121416"/>
                  <a:gd name="connsiteY36" fmla="*/ 50006 h 207169"/>
                  <a:gd name="connsiteX37" fmla="*/ 97632 w 1121416"/>
                  <a:gd name="connsiteY37" fmla="*/ 54769 h 207169"/>
                  <a:gd name="connsiteX38" fmla="*/ 80963 w 1121416"/>
                  <a:gd name="connsiteY38" fmla="*/ 57150 h 207169"/>
                  <a:gd name="connsiteX39" fmla="*/ 54769 w 1121416"/>
                  <a:gd name="connsiteY39" fmla="*/ 61912 h 207169"/>
                  <a:gd name="connsiteX40" fmla="*/ 47625 w 1121416"/>
                  <a:gd name="connsiteY40" fmla="*/ 64294 h 207169"/>
                  <a:gd name="connsiteX41" fmla="*/ 23813 w 1121416"/>
                  <a:gd name="connsiteY41" fmla="*/ 71437 h 207169"/>
                  <a:gd name="connsiteX42" fmla="*/ 9525 w 1121416"/>
                  <a:gd name="connsiteY42" fmla="*/ 80962 h 207169"/>
                  <a:gd name="connsiteX43" fmla="*/ 0 w 1121416"/>
                  <a:gd name="connsiteY43" fmla="*/ 104775 h 207169"/>
                  <a:gd name="connsiteX44" fmla="*/ 11907 w 1121416"/>
                  <a:gd name="connsiteY4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43" fmla="*/ 11907 w 1121416"/>
                  <a:gd name="connsiteY43" fmla="*/ 111919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23813 w 1121416"/>
                  <a:gd name="connsiteY39" fmla="*/ 71437 h 207169"/>
                  <a:gd name="connsiteX40" fmla="*/ 9525 w 1121416"/>
                  <a:gd name="connsiteY40" fmla="*/ 80962 h 207169"/>
                  <a:gd name="connsiteX41" fmla="*/ 0 w 1121416"/>
                  <a:gd name="connsiteY4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9525 w 1121416"/>
                  <a:gd name="connsiteY39" fmla="*/ 80962 h 207169"/>
                  <a:gd name="connsiteX40" fmla="*/ 0 w 1121416"/>
                  <a:gd name="connsiteY4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9525 w 1121416"/>
                  <a:gd name="connsiteY38" fmla="*/ 80962 h 207169"/>
                  <a:gd name="connsiteX39" fmla="*/ 0 w 1121416"/>
                  <a:gd name="connsiteY3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54769 w 1121416"/>
                  <a:gd name="connsiteY36" fmla="*/ 61912 h 207169"/>
                  <a:gd name="connsiteX37" fmla="*/ 9525 w 1121416"/>
                  <a:gd name="connsiteY37" fmla="*/ 80962 h 207169"/>
                  <a:gd name="connsiteX38" fmla="*/ 0 w 1121416"/>
                  <a:gd name="connsiteY38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54769 w 1121416"/>
                  <a:gd name="connsiteY35" fmla="*/ 61912 h 207169"/>
                  <a:gd name="connsiteX36" fmla="*/ 9525 w 1121416"/>
                  <a:gd name="connsiteY36" fmla="*/ 80962 h 207169"/>
                  <a:gd name="connsiteX37" fmla="*/ 0 w 1121416"/>
                  <a:gd name="connsiteY37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54769 w 1121416"/>
                  <a:gd name="connsiteY34" fmla="*/ 61912 h 207169"/>
                  <a:gd name="connsiteX35" fmla="*/ 9525 w 1121416"/>
                  <a:gd name="connsiteY35" fmla="*/ 80962 h 207169"/>
                  <a:gd name="connsiteX36" fmla="*/ 0 w 1121416"/>
                  <a:gd name="connsiteY36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54769 w 1121416"/>
                  <a:gd name="connsiteY33" fmla="*/ 61912 h 207169"/>
                  <a:gd name="connsiteX34" fmla="*/ 9525 w 1121416"/>
                  <a:gd name="connsiteY34" fmla="*/ 80962 h 207169"/>
                  <a:gd name="connsiteX35" fmla="*/ 0 w 1121416"/>
                  <a:gd name="connsiteY35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54769 w 1121416"/>
                  <a:gd name="connsiteY32" fmla="*/ 61912 h 207169"/>
                  <a:gd name="connsiteX33" fmla="*/ 9525 w 1121416"/>
                  <a:gd name="connsiteY33" fmla="*/ 80962 h 207169"/>
                  <a:gd name="connsiteX34" fmla="*/ 0 w 1121416"/>
                  <a:gd name="connsiteY34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54769 w 1121416"/>
                  <a:gd name="connsiteY31" fmla="*/ 61912 h 207169"/>
                  <a:gd name="connsiteX32" fmla="*/ 9525 w 1121416"/>
                  <a:gd name="connsiteY32" fmla="*/ 80962 h 207169"/>
                  <a:gd name="connsiteX33" fmla="*/ 0 w 1121416"/>
                  <a:gd name="connsiteY33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54769 w 1121416"/>
                  <a:gd name="connsiteY30" fmla="*/ 61912 h 207169"/>
                  <a:gd name="connsiteX31" fmla="*/ 9525 w 1121416"/>
                  <a:gd name="connsiteY31" fmla="*/ 80962 h 207169"/>
                  <a:gd name="connsiteX32" fmla="*/ 0 w 1121416"/>
                  <a:gd name="connsiteY3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54769 w 1121416"/>
                  <a:gd name="connsiteY29" fmla="*/ 61912 h 207169"/>
                  <a:gd name="connsiteX30" fmla="*/ 9525 w 1121416"/>
                  <a:gd name="connsiteY30" fmla="*/ 80962 h 207169"/>
                  <a:gd name="connsiteX31" fmla="*/ 0 w 1121416"/>
                  <a:gd name="connsiteY3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38125 w 1121416"/>
                  <a:gd name="connsiteY27" fmla="*/ 14287 h 207169"/>
                  <a:gd name="connsiteX28" fmla="*/ 54769 w 1121416"/>
                  <a:gd name="connsiteY28" fmla="*/ 61912 h 207169"/>
                  <a:gd name="connsiteX29" fmla="*/ 9525 w 1121416"/>
                  <a:gd name="connsiteY29" fmla="*/ 80962 h 207169"/>
                  <a:gd name="connsiteX30" fmla="*/ 0 w 1121416"/>
                  <a:gd name="connsiteY3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78607 w 1121416"/>
                  <a:gd name="connsiteY25" fmla="*/ 9525 h 207169"/>
                  <a:gd name="connsiteX26" fmla="*/ 238125 w 1121416"/>
                  <a:gd name="connsiteY26" fmla="*/ 14287 h 207169"/>
                  <a:gd name="connsiteX27" fmla="*/ 54769 w 1121416"/>
                  <a:gd name="connsiteY27" fmla="*/ 61912 h 207169"/>
                  <a:gd name="connsiteX28" fmla="*/ 9525 w 1121416"/>
                  <a:gd name="connsiteY28" fmla="*/ 80962 h 207169"/>
                  <a:gd name="connsiteX29" fmla="*/ 0 w 1121416"/>
                  <a:gd name="connsiteY2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85750 w 1121416"/>
                  <a:gd name="connsiteY5" fmla="*/ 192881 h 207169"/>
                  <a:gd name="connsiteX6" fmla="*/ 457200 w 1121416"/>
                  <a:gd name="connsiteY6" fmla="*/ 207169 h 207169"/>
                  <a:gd name="connsiteX7" fmla="*/ 604838 w 1121416"/>
                  <a:gd name="connsiteY7" fmla="*/ 204787 h 207169"/>
                  <a:gd name="connsiteX8" fmla="*/ 623888 w 1121416"/>
                  <a:gd name="connsiteY8" fmla="*/ 200025 h 207169"/>
                  <a:gd name="connsiteX9" fmla="*/ 676275 w 1121416"/>
                  <a:gd name="connsiteY9" fmla="*/ 197644 h 207169"/>
                  <a:gd name="connsiteX10" fmla="*/ 797719 w 1121416"/>
                  <a:gd name="connsiteY10" fmla="*/ 188119 h 207169"/>
                  <a:gd name="connsiteX11" fmla="*/ 866775 w 1121416"/>
                  <a:gd name="connsiteY11" fmla="*/ 173831 h 207169"/>
                  <a:gd name="connsiteX12" fmla="*/ 940594 w 1121416"/>
                  <a:gd name="connsiteY12" fmla="*/ 169069 h 207169"/>
                  <a:gd name="connsiteX13" fmla="*/ 971550 w 1121416"/>
                  <a:gd name="connsiteY13" fmla="*/ 166687 h 207169"/>
                  <a:gd name="connsiteX14" fmla="*/ 1052513 w 1121416"/>
                  <a:gd name="connsiteY14" fmla="*/ 142875 h 207169"/>
                  <a:gd name="connsiteX15" fmla="*/ 1116807 w 1121416"/>
                  <a:gd name="connsiteY15" fmla="*/ 95250 h 207169"/>
                  <a:gd name="connsiteX16" fmla="*/ 1114425 w 1121416"/>
                  <a:gd name="connsiteY16" fmla="*/ 85725 h 207169"/>
                  <a:gd name="connsiteX17" fmla="*/ 1054894 w 1121416"/>
                  <a:gd name="connsiteY17" fmla="*/ 61912 h 207169"/>
                  <a:gd name="connsiteX18" fmla="*/ 966788 w 1121416"/>
                  <a:gd name="connsiteY18" fmla="*/ 35719 h 207169"/>
                  <a:gd name="connsiteX19" fmla="*/ 857250 w 1121416"/>
                  <a:gd name="connsiteY19" fmla="*/ 21431 h 207169"/>
                  <a:gd name="connsiteX20" fmla="*/ 790575 w 1121416"/>
                  <a:gd name="connsiteY20" fmla="*/ 9525 h 207169"/>
                  <a:gd name="connsiteX21" fmla="*/ 702469 w 1121416"/>
                  <a:gd name="connsiteY21" fmla="*/ 7144 h 207169"/>
                  <a:gd name="connsiteX22" fmla="*/ 559594 w 1121416"/>
                  <a:gd name="connsiteY22" fmla="*/ 0 h 207169"/>
                  <a:gd name="connsiteX23" fmla="*/ 338138 w 1121416"/>
                  <a:gd name="connsiteY23" fmla="*/ 2381 h 207169"/>
                  <a:gd name="connsiteX24" fmla="*/ 278607 w 1121416"/>
                  <a:gd name="connsiteY24" fmla="*/ 9525 h 207169"/>
                  <a:gd name="connsiteX25" fmla="*/ 238125 w 1121416"/>
                  <a:gd name="connsiteY25" fmla="*/ 14287 h 207169"/>
                  <a:gd name="connsiteX26" fmla="*/ 54769 w 1121416"/>
                  <a:gd name="connsiteY26" fmla="*/ 61912 h 207169"/>
                  <a:gd name="connsiteX27" fmla="*/ 9525 w 1121416"/>
                  <a:gd name="connsiteY27" fmla="*/ 80962 h 207169"/>
                  <a:gd name="connsiteX28" fmla="*/ 0 w 1121416"/>
                  <a:gd name="connsiteY28" fmla="*/ 104775 h 207169"/>
                  <a:gd name="connsiteX0" fmla="*/ 0 w 1129985"/>
                  <a:gd name="connsiteY0" fmla="*/ 104775 h 207169"/>
                  <a:gd name="connsiteX1" fmla="*/ 23813 w 1129985"/>
                  <a:gd name="connsiteY1" fmla="*/ 121444 h 207169"/>
                  <a:gd name="connsiteX2" fmla="*/ 28575 w 1129985"/>
                  <a:gd name="connsiteY2" fmla="*/ 128587 h 207169"/>
                  <a:gd name="connsiteX3" fmla="*/ 47625 w 1129985"/>
                  <a:gd name="connsiteY3" fmla="*/ 140494 h 207169"/>
                  <a:gd name="connsiteX4" fmla="*/ 104775 w 1129985"/>
                  <a:gd name="connsiteY4" fmla="*/ 150019 h 207169"/>
                  <a:gd name="connsiteX5" fmla="*/ 285750 w 1129985"/>
                  <a:gd name="connsiteY5" fmla="*/ 192881 h 207169"/>
                  <a:gd name="connsiteX6" fmla="*/ 457200 w 1129985"/>
                  <a:gd name="connsiteY6" fmla="*/ 207169 h 207169"/>
                  <a:gd name="connsiteX7" fmla="*/ 604838 w 1129985"/>
                  <a:gd name="connsiteY7" fmla="*/ 204787 h 207169"/>
                  <a:gd name="connsiteX8" fmla="*/ 623888 w 1129985"/>
                  <a:gd name="connsiteY8" fmla="*/ 200025 h 207169"/>
                  <a:gd name="connsiteX9" fmla="*/ 676275 w 1129985"/>
                  <a:gd name="connsiteY9" fmla="*/ 197644 h 207169"/>
                  <a:gd name="connsiteX10" fmla="*/ 797719 w 1129985"/>
                  <a:gd name="connsiteY10" fmla="*/ 188119 h 207169"/>
                  <a:gd name="connsiteX11" fmla="*/ 866775 w 1129985"/>
                  <a:gd name="connsiteY11" fmla="*/ 173831 h 207169"/>
                  <a:gd name="connsiteX12" fmla="*/ 940594 w 1129985"/>
                  <a:gd name="connsiteY12" fmla="*/ 169069 h 207169"/>
                  <a:gd name="connsiteX13" fmla="*/ 971550 w 1129985"/>
                  <a:gd name="connsiteY13" fmla="*/ 166687 h 207169"/>
                  <a:gd name="connsiteX14" fmla="*/ 1052513 w 1129985"/>
                  <a:gd name="connsiteY14" fmla="*/ 142875 h 207169"/>
                  <a:gd name="connsiteX15" fmla="*/ 1125625 w 1129985"/>
                  <a:gd name="connsiteY15" fmla="*/ 102808 h 207169"/>
                  <a:gd name="connsiteX16" fmla="*/ 1114425 w 1129985"/>
                  <a:gd name="connsiteY16" fmla="*/ 85725 h 207169"/>
                  <a:gd name="connsiteX17" fmla="*/ 1054894 w 1129985"/>
                  <a:gd name="connsiteY17" fmla="*/ 61912 h 207169"/>
                  <a:gd name="connsiteX18" fmla="*/ 966788 w 1129985"/>
                  <a:gd name="connsiteY18" fmla="*/ 35719 h 207169"/>
                  <a:gd name="connsiteX19" fmla="*/ 857250 w 1129985"/>
                  <a:gd name="connsiteY19" fmla="*/ 21431 h 207169"/>
                  <a:gd name="connsiteX20" fmla="*/ 790575 w 1129985"/>
                  <a:gd name="connsiteY20" fmla="*/ 9525 h 207169"/>
                  <a:gd name="connsiteX21" fmla="*/ 702469 w 1129985"/>
                  <a:gd name="connsiteY21" fmla="*/ 7144 h 207169"/>
                  <a:gd name="connsiteX22" fmla="*/ 559594 w 1129985"/>
                  <a:gd name="connsiteY22" fmla="*/ 0 h 207169"/>
                  <a:gd name="connsiteX23" fmla="*/ 338138 w 1129985"/>
                  <a:gd name="connsiteY23" fmla="*/ 2381 h 207169"/>
                  <a:gd name="connsiteX24" fmla="*/ 278607 w 1129985"/>
                  <a:gd name="connsiteY24" fmla="*/ 9525 h 207169"/>
                  <a:gd name="connsiteX25" fmla="*/ 238125 w 1129985"/>
                  <a:gd name="connsiteY25" fmla="*/ 14287 h 207169"/>
                  <a:gd name="connsiteX26" fmla="*/ 54769 w 1129985"/>
                  <a:gd name="connsiteY26" fmla="*/ 61912 h 207169"/>
                  <a:gd name="connsiteX27" fmla="*/ 9525 w 1129985"/>
                  <a:gd name="connsiteY27" fmla="*/ 80962 h 207169"/>
                  <a:gd name="connsiteX28" fmla="*/ 0 w 1129985"/>
                  <a:gd name="connsiteY28" fmla="*/ 104775 h 207169"/>
                  <a:gd name="connsiteX0" fmla="*/ 0 w 1128285"/>
                  <a:gd name="connsiteY0" fmla="*/ 104775 h 207169"/>
                  <a:gd name="connsiteX1" fmla="*/ 23813 w 1128285"/>
                  <a:gd name="connsiteY1" fmla="*/ 121444 h 207169"/>
                  <a:gd name="connsiteX2" fmla="*/ 28575 w 1128285"/>
                  <a:gd name="connsiteY2" fmla="*/ 128587 h 207169"/>
                  <a:gd name="connsiteX3" fmla="*/ 47625 w 1128285"/>
                  <a:gd name="connsiteY3" fmla="*/ 140494 h 207169"/>
                  <a:gd name="connsiteX4" fmla="*/ 104775 w 1128285"/>
                  <a:gd name="connsiteY4" fmla="*/ 150019 h 207169"/>
                  <a:gd name="connsiteX5" fmla="*/ 285750 w 1128285"/>
                  <a:gd name="connsiteY5" fmla="*/ 192881 h 207169"/>
                  <a:gd name="connsiteX6" fmla="*/ 457200 w 1128285"/>
                  <a:gd name="connsiteY6" fmla="*/ 207169 h 207169"/>
                  <a:gd name="connsiteX7" fmla="*/ 604838 w 1128285"/>
                  <a:gd name="connsiteY7" fmla="*/ 204787 h 207169"/>
                  <a:gd name="connsiteX8" fmla="*/ 623888 w 1128285"/>
                  <a:gd name="connsiteY8" fmla="*/ 200025 h 207169"/>
                  <a:gd name="connsiteX9" fmla="*/ 676275 w 1128285"/>
                  <a:gd name="connsiteY9" fmla="*/ 197644 h 207169"/>
                  <a:gd name="connsiteX10" fmla="*/ 797719 w 1128285"/>
                  <a:gd name="connsiteY10" fmla="*/ 188119 h 207169"/>
                  <a:gd name="connsiteX11" fmla="*/ 866775 w 1128285"/>
                  <a:gd name="connsiteY11" fmla="*/ 173831 h 207169"/>
                  <a:gd name="connsiteX12" fmla="*/ 940594 w 1128285"/>
                  <a:gd name="connsiteY12" fmla="*/ 169069 h 207169"/>
                  <a:gd name="connsiteX13" fmla="*/ 971550 w 1128285"/>
                  <a:gd name="connsiteY13" fmla="*/ 166687 h 207169"/>
                  <a:gd name="connsiteX14" fmla="*/ 1052513 w 1128285"/>
                  <a:gd name="connsiteY14" fmla="*/ 142875 h 207169"/>
                  <a:gd name="connsiteX15" fmla="*/ 1125625 w 1128285"/>
                  <a:gd name="connsiteY15" fmla="*/ 102808 h 207169"/>
                  <a:gd name="connsiteX16" fmla="*/ 1106866 w 1128285"/>
                  <a:gd name="connsiteY16" fmla="*/ 74387 h 207169"/>
                  <a:gd name="connsiteX17" fmla="*/ 1054894 w 1128285"/>
                  <a:gd name="connsiteY17" fmla="*/ 61912 h 207169"/>
                  <a:gd name="connsiteX18" fmla="*/ 966788 w 1128285"/>
                  <a:gd name="connsiteY18" fmla="*/ 35719 h 207169"/>
                  <a:gd name="connsiteX19" fmla="*/ 857250 w 1128285"/>
                  <a:gd name="connsiteY19" fmla="*/ 21431 h 207169"/>
                  <a:gd name="connsiteX20" fmla="*/ 790575 w 1128285"/>
                  <a:gd name="connsiteY20" fmla="*/ 9525 h 207169"/>
                  <a:gd name="connsiteX21" fmla="*/ 702469 w 1128285"/>
                  <a:gd name="connsiteY21" fmla="*/ 7144 h 207169"/>
                  <a:gd name="connsiteX22" fmla="*/ 559594 w 1128285"/>
                  <a:gd name="connsiteY22" fmla="*/ 0 h 207169"/>
                  <a:gd name="connsiteX23" fmla="*/ 338138 w 1128285"/>
                  <a:gd name="connsiteY23" fmla="*/ 2381 h 207169"/>
                  <a:gd name="connsiteX24" fmla="*/ 278607 w 1128285"/>
                  <a:gd name="connsiteY24" fmla="*/ 9525 h 207169"/>
                  <a:gd name="connsiteX25" fmla="*/ 238125 w 1128285"/>
                  <a:gd name="connsiteY25" fmla="*/ 14287 h 207169"/>
                  <a:gd name="connsiteX26" fmla="*/ 54769 w 1128285"/>
                  <a:gd name="connsiteY26" fmla="*/ 61912 h 207169"/>
                  <a:gd name="connsiteX27" fmla="*/ 9525 w 1128285"/>
                  <a:gd name="connsiteY27" fmla="*/ 80962 h 207169"/>
                  <a:gd name="connsiteX28" fmla="*/ 0 w 1128285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66788 w 1128511"/>
                  <a:gd name="connsiteY18" fmla="*/ 35719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8055 w 1128511"/>
                  <a:gd name="connsiteY20" fmla="*/ 448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47625 w 1128511"/>
                  <a:gd name="connsiteY2" fmla="*/ 140494 h 207169"/>
                  <a:gd name="connsiteX3" fmla="*/ 104775 w 1128511"/>
                  <a:gd name="connsiteY3" fmla="*/ 150019 h 207169"/>
                  <a:gd name="connsiteX4" fmla="*/ 285750 w 1128511"/>
                  <a:gd name="connsiteY4" fmla="*/ 192881 h 207169"/>
                  <a:gd name="connsiteX5" fmla="*/ 457200 w 1128511"/>
                  <a:gd name="connsiteY5" fmla="*/ 207169 h 207169"/>
                  <a:gd name="connsiteX6" fmla="*/ 604838 w 1128511"/>
                  <a:gd name="connsiteY6" fmla="*/ 204787 h 207169"/>
                  <a:gd name="connsiteX7" fmla="*/ 623888 w 1128511"/>
                  <a:gd name="connsiteY7" fmla="*/ 200025 h 207169"/>
                  <a:gd name="connsiteX8" fmla="*/ 676275 w 1128511"/>
                  <a:gd name="connsiteY8" fmla="*/ 197644 h 207169"/>
                  <a:gd name="connsiteX9" fmla="*/ 797719 w 1128511"/>
                  <a:gd name="connsiteY9" fmla="*/ 188119 h 207169"/>
                  <a:gd name="connsiteX10" fmla="*/ 866775 w 1128511"/>
                  <a:gd name="connsiteY10" fmla="*/ 173831 h 207169"/>
                  <a:gd name="connsiteX11" fmla="*/ 940594 w 1128511"/>
                  <a:gd name="connsiteY11" fmla="*/ 169069 h 207169"/>
                  <a:gd name="connsiteX12" fmla="*/ 971550 w 1128511"/>
                  <a:gd name="connsiteY12" fmla="*/ 166687 h 207169"/>
                  <a:gd name="connsiteX13" fmla="*/ 1052513 w 1128511"/>
                  <a:gd name="connsiteY13" fmla="*/ 142875 h 207169"/>
                  <a:gd name="connsiteX14" fmla="*/ 1125625 w 1128511"/>
                  <a:gd name="connsiteY14" fmla="*/ 102808 h 207169"/>
                  <a:gd name="connsiteX15" fmla="*/ 1106866 w 1128511"/>
                  <a:gd name="connsiteY15" fmla="*/ 74387 h 207169"/>
                  <a:gd name="connsiteX16" fmla="*/ 1042296 w 1128511"/>
                  <a:gd name="connsiteY16" fmla="*/ 44275 h 207169"/>
                  <a:gd name="connsiteX17" fmla="*/ 941593 w 1128511"/>
                  <a:gd name="connsiteY17" fmla="*/ 25641 h 207169"/>
                  <a:gd name="connsiteX18" fmla="*/ 858510 w 1128511"/>
                  <a:gd name="connsiteY18" fmla="*/ 13873 h 207169"/>
                  <a:gd name="connsiteX19" fmla="*/ 783016 w 1128511"/>
                  <a:gd name="connsiteY19" fmla="*/ 3226 h 207169"/>
                  <a:gd name="connsiteX20" fmla="*/ 693651 w 1128511"/>
                  <a:gd name="connsiteY20" fmla="*/ 2105 h 207169"/>
                  <a:gd name="connsiteX21" fmla="*/ 559594 w 1128511"/>
                  <a:gd name="connsiteY21" fmla="*/ 0 h 207169"/>
                  <a:gd name="connsiteX22" fmla="*/ 348216 w 1128511"/>
                  <a:gd name="connsiteY22" fmla="*/ 4901 h 207169"/>
                  <a:gd name="connsiteX23" fmla="*/ 221748 w 1128511"/>
                  <a:gd name="connsiteY23" fmla="*/ 15547 h 207169"/>
                  <a:gd name="connsiteX24" fmla="*/ 63587 w 1128511"/>
                  <a:gd name="connsiteY24" fmla="*/ 53093 h 207169"/>
                  <a:gd name="connsiteX25" fmla="*/ 9525 w 1128511"/>
                  <a:gd name="connsiteY25" fmla="*/ 80962 h 207169"/>
                  <a:gd name="connsiteX26" fmla="*/ 0 w 1128511"/>
                  <a:gd name="connsiteY26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104775 w 1128511"/>
                  <a:gd name="connsiteY2" fmla="*/ 150019 h 207169"/>
                  <a:gd name="connsiteX3" fmla="*/ 285750 w 1128511"/>
                  <a:gd name="connsiteY3" fmla="*/ 192881 h 207169"/>
                  <a:gd name="connsiteX4" fmla="*/ 457200 w 1128511"/>
                  <a:gd name="connsiteY4" fmla="*/ 207169 h 207169"/>
                  <a:gd name="connsiteX5" fmla="*/ 604838 w 1128511"/>
                  <a:gd name="connsiteY5" fmla="*/ 204787 h 207169"/>
                  <a:gd name="connsiteX6" fmla="*/ 623888 w 1128511"/>
                  <a:gd name="connsiteY6" fmla="*/ 200025 h 207169"/>
                  <a:gd name="connsiteX7" fmla="*/ 676275 w 1128511"/>
                  <a:gd name="connsiteY7" fmla="*/ 197644 h 207169"/>
                  <a:gd name="connsiteX8" fmla="*/ 797719 w 1128511"/>
                  <a:gd name="connsiteY8" fmla="*/ 188119 h 207169"/>
                  <a:gd name="connsiteX9" fmla="*/ 866775 w 1128511"/>
                  <a:gd name="connsiteY9" fmla="*/ 173831 h 207169"/>
                  <a:gd name="connsiteX10" fmla="*/ 940594 w 1128511"/>
                  <a:gd name="connsiteY10" fmla="*/ 169069 h 207169"/>
                  <a:gd name="connsiteX11" fmla="*/ 971550 w 1128511"/>
                  <a:gd name="connsiteY11" fmla="*/ 166687 h 207169"/>
                  <a:gd name="connsiteX12" fmla="*/ 1052513 w 1128511"/>
                  <a:gd name="connsiteY12" fmla="*/ 142875 h 207169"/>
                  <a:gd name="connsiteX13" fmla="*/ 1125625 w 1128511"/>
                  <a:gd name="connsiteY13" fmla="*/ 102808 h 207169"/>
                  <a:gd name="connsiteX14" fmla="*/ 1106866 w 1128511"/>
                  <a:gd name="connsiteY14" fmla="*/ 74387 h 207169"/>
                  <a:gd name="connsiteX15" fmla="*/ 1042296 w 1128511"/>
                  <a:gd name="connsiteY15" fmla="*/ 44275 h 207169"/>
                  <a:gd name="connsiteX16" fmla="*/ 941593 w 1128511"/>
                  <a:gd name="connsiteY16" fmla="*/ 25641 h 207169"/>
                  <a:gd name="connsiteX17" fmla="*/ 858510 w 1128511"/>
                  <a:gd name="connsiteY17" fmla="*/ 13873 h 207169"/>
                  <a:gd name="connsiteX18" fmla="*/ 783016 w 1128511"/>
                  <a:gd name="connsiteY18" fmla="*/ 3226 h 207169"/>
                  <a:gd name="connsiteX19" fmla="*/ 693651 w 1128511"/>
                  <a:gd name="connsiteY19" fmla="*/ 2105 h 207169"/>
                  <a:gd name="connsiteX20" fmla="*/ 559594 w 1128511"/>
                  <a:gd name="connsiteY20" fmla="*/ 0 h 207169"/>
                  <a:gd name="connsiteX21" fmla="*/ 348216 w 1128511"/>
                  <a:gd name="connsiteY21" fmla="*/ 4901 h 207169"/>
                  <a:gd name="connsiteX22" fmla="*/ 221748 w 1128511"/>
                  <a:gd name="connsiteY22" fmla="*/ 15547 h 207169"/>
                  <a:gd name="connsiteX23" fmla="*/ 63587 w 1128511"/>
                  <a:gd name="connsiteY23" fmla="*/ 53093 h 207169"/>
                  <a:gd name="connsiteX24" fmla="*/ 9525 w 1128511"/>
                  <a:gd name="connsiteY24" fmla="*/ 80962 h 207169"/>
                  <a:gd name="connsiteX25" fmla="*/ 0 w 1128511"/>
                  <a:gd name="connsiteY25" fmla="*/ 104775 h 207169"/>
                  <a:gd name="connsiteX0" fmla="*/ 1574 w 1130085"/>
                  <a:gd name="connsiteY0" fmla="*/ 104775 h 207169"/>
                  <a:gd name="connsiteX1" fmla="*/ 46803 w 1130085"/>
                  <a:gd name="connsiteY1" fmla="*/ 135301 h 207169"/>
                  <a:gd name="connsiteX2" fmla="*/ 106349 w 1130085"/>
                  <a:gd name="connsiteY2" fmla="*/ 150019 h 207169"/>
                  <a:gd name="connsiteX3" fmla="*/ 287324 w 1130085"/>
                  <a:gd name="connsiteY3" fmla="*/ 192881 h 207169"/>
                  <a:gd name="connsiteX4" fmla="*/ 458774 w 1130085"/>
                  <a:gd name="connsiteY4" fmla="*/ 207169 h 207169"/>
                  <a:gd name="connsiteX5" fmla="*/ 606412 w 1130085"/>
                  <a:gd name="connsiteY5" fmla="*/ 204787 h 207169"/>
                  <a:gd name="connsiteX6" fmla="*/ 625462 w 1130085"/>
                  <a:gd name="connsiteY6" fmla="*/ 200025 h 207169"/>
                  <a:gd name="connsiteX7" fmla="*/ 677849 w 1130085"/>
                  <a:gd name="connsiteY7" fmla="*/ 197644 h 207169"/>
                  <a:gd name="connsiteX8" fmla="*/ 799293 w 1130085"/>
                  <a:gd name="connsiteY8" fmla="*/ 188119 h 207169"/>
                  <a:gd name="connsiteX9" fmla="*/ 868349 w 1130085"/>
                  <a:gd name="connsiteY9" fmla="*/ 173831 h 207169"/>
                  <a:gd name="connsiteX10" fmla="*/ 942168 w 1130085"/>
                  <a:gd name="connsiteY10" fmla="*/ 169069 h 207169"/>
                  <a:gd name="connsiteX11" fmla="*/ 973124 w 1130085"/>
                  <a:gd name="connsiteY11" fmla="*/ 166687 h 207169"/>
                  <a:gd name="connsiteX12" fmla="*/ 1054087 w 1130085"/>
                  <a:gd name="connsiteY12" fmla="*/ 142875 h 207169"/>
                  <a:gd name="connsiteX13" fmla="*/ 1127199 w 1130085"/>
                  <a:gd name="connsiteY13" fmla="*/ 102808 h 207169"/>
                  <a:gd name="connsiteX14" fmla="*/ 1108440 w 1130085"/>
                  <a:gd name="connsiteY14" fmla="*/ 74387 h 207169"/>
                  <a:gd name="connsiteX15" fmla="*/ 1043870 w 1130085"/>
                  <a:gd name="connsiteY15" fmla="*/ 44275 h 207169"/>
                  <a:gd name="connsiteX16" fmla="*/ 943167 w 1130085"/>
                  <a:gd name="connsiteY16" fmla="*/ 25641 h 207169"/>
                  <a:gd name="connsiteX17" fmla="*/ 860084 w 1130085"/>
                  <a:gd name="connsiteY17" fmla="*/ 13873 h 207169"/>
                  <a:gd name="connsiteX18" fmla="*/ 784590 w 1130085"/>
                  <a:gd name="connsiteY18" fmla="*/ 3226 h 207169"/>
                  <a:gd name="connsiteX19" fmla="*/ 695225 w 1130085"/>
                  <a:gd name="connsiteY19" fmla="*/ 2105 h 207169"/>
                  <a:gd name="connsiteX20" fmla="*/ 561168 w 1130085"/>
                  <a:gd name="connsiteY20" fmla="*/ 0 h 207169"/>
                  <a:gd name="connsiteX21" fmla="*/ 349790 w 1130085"/>
                  <a:gd name="connsiteY21" fmla="*/ 4901 h 207169"/>
                  <a:gd name="connsiteX22" fmla="*/ 223322 w 1130085"/>
                  <a:gd name="connsiteY22" fmla="*/ 15547 h 207169"/>
                  <a:gd name="connsiteX23" fmla="*/ 65161 w 1130085"/>
                  <a:gd name="connsiteY23" fmla="*/ 53093 h 207169"/>
                  <a:gd name="connsiteX24" fmla="*/ 11099 w 1130085"/>
                  <a:gd name="connsiteY24" fmla="*/ 80962 h 207169"/>
                  <a:gd name="connsiteX25" fmla="*/ 1574 w 1130085"/>
                  <a:gd name="connsiteY25" fmla="*/ 104775 h 207169"/>
                  <a:gd name="connsiteX0" fmla="*/ 2544 w 1131055"/>
                  <a:gd name="connsiteY0" fmla="*/ 104775 h 207169"/>
                  <a:gd name="connsiteX1" fmla="*/ 47773 w 1131055"/>
                  <a:gd name="connsiteY1" fmla="*/ 135301 h 207169"/>
                  <a:gd name="connsiteX2" fmla="*/ 107319 w 1131055"/>
                  <a:gd name="connsiteY2" fmla="*/ 150019 h 207169"/>
                  <a:gd name="connsiteX3" fmla="*/ 288294 w 1131055"/>
                  <a:gd name="connsiteY3" fmla="*/ 192881 h 207169"/>
                  <a:gd name="connsiteX4" fmla="*/ 459744 w 1131055"/>
                  <a:gd name="connsiteY4" fmla="*/ 207169 h 207169"/>
                  <a:gd name="connsiteX5" fmla="*/ 607382 w 1131055"/>
                  <a:gd name="connsiteY5" fmla="*/ 204787 h 207169"/>
                  <a:gd name="connsiteX6" fmla="*/ 626432 w 1131055"/>
                  <a:gd name="connsiteY6" fmla="*/ 200025 h 207169"/>
                  <a:gd name="connsiteX7" fmla="*/ 678819 w 1131055"/>
                  <a:gd name="connsiteY7" fmla="*/ 197644 h 207169"/>
                  <a:gd name="connsiteX8" fmla="*/ 800263 w 1131055"/>
                  <a:gd name="connsiteY8" fmla="*/ 188119 h 207169"/>
                  <a:gd name="connsiteX9" fmla="*/ 869319 w 1131055"/>
                  <a:gd name="connsiteY9" fmla="*/ 173831 h 207169"/>
                  <a:gd name="connsiteX10" fmla="*/ 943138 w 1131055"/>
                  <a:gd name="connsiteY10" fmla="*/ 169069 h 207169"/>
                  <a:gd name="connsiteX11" fmla="*/ 974094 w 1131055"/>
                  <a:gd name="connsiteY11" fmla="*/ 166687 h 207169"/>
                  <a:gd name="connsiteX12" fmla="*/ 1055057 w 1131055"/>
                  <a:gd name="connsiteY12" fmla="*/ 142875 h 207169"/>
                  <a:gd name="connsiteX13" fmla="*/ 1128169 w 1131055"/>
                  <a:gd name="connsiteY13" fmla="*/ 102808 h 207169"/>
                  <a:gd name="connsiteX14" fmla="*/ 1109410 w 1131055"/>
                  <a:gd name="connsiteY14" fmla="*/ 74387 h 207169"/>
                  <a:gd name="connsiteX15" fmla="*/ 1044840 w 1131055"/>
                  <a:gd name="connsiteY15" fmla="*/ 44275 h 207169"/>
                  <a:gd name="connsiteX16" fmla="*/ 944137 w 1131055"/>
                  <a:gd name="connsiteY16" fmla="*/ 25641 h 207169"/>
                  <a:gd name="connsiteX17" fmla="*/ 861054 w 1131055"/>
                  <a:gd name="connsiteY17" fmla="*/ 13873 h 207169"/>
                  <a:gd name="connsiteX18" fmla="*/ 785560 w 1131055"/>
                  <a:gd name="connsiteY18" fmla="*/ 3226 h 207169"/>
                  <a:gd name="connsiteX19" fmla="*/ 696195 w 1131055"/>
                  <a:gd name="connsiteY19" fmla="*/ 2105 h 207169"/>
                  <a:gd name="connsiteX20" fmla="*/ 562138 w 1131055"/>
                  <a:gd name="connsiteY20" fmla="*/ 0 h 207169"/>
                  <a:gd name="connsiteX21" fmla="*/ 350760 w 1131055"/>
                  <a:gd name="connsiteY21" fmla="*/ 4901 h 207169"/>
                  <a:gd name="connsiteX22" fmla="*/ 224292 w 1131055"/>
                  <a:gd name="connsiteY22" fmla="*/ 15547 h 207169"/>
                  <a:gd name="connsiteX23" fmla="*/ 66131 w 1131055"/>
                  <a:gd name="connsiteY23" fmla="*/ 53093 h 207169"/>
                  <a:gd name="connsiteX24" fmla="*/ 12069 w 1131055"/>
                  <a:gd name="connsiteY24" fmla="*/ 80962 h 207169"/>
                  <a:gd name="connsiteX25" fmla="*/ 2544 w 1131055"/>
                  <a:gd name="connsiteY25" fmla="*/ 104775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1104 w 1124840"/>
                  <a:gd name="connsiteY2" fmla="*/ 150019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9922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83757 w 1126518"/>
                  <a:gd name="connsiteY3" fmla="*/ 192881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9354"/>
                  <a:gd name="connsiteX1" fmla="*/ 43236 w 1126518"/>
                  <a:gd name="connsiteY1" fmla="*/ 135301 h 209354"/>
                  <a:gd name="connsiteX2" fmla="*/ 124198 w 1126518"/>
                  <a:gd name="connsiteY2" fmla="*/ 160097 h 209354"/>
                  <a:gd name="connsiteX3" fmla="*/ 290056 w 1126518"/>
                  <a:gd name="connsiteY3" fmla="*/ 190362 h 209354"/>
                  <a:gd name="connsiteX4" fmla="*/ 455207 w 1126518"/>
                  <a:gd name="connsiteY4" fmla="*/ 207169 h 209354"/>
                  <a:gd name="connsiteX5" fmla="*/ 602845 w 1126518"/>
                  <a:gd name="connsiteY5" fmla="*/ 204787 h 209354"/>
                  <a:gd name="connsiteX6" fmla="*/ 621895 w 1126518"/>
                  <a:gd name="connsiteY6" fmla="*/ 200025 h 209354"/>
                  <a:gd name="connsiteX7" fmla="*/ 674282 w 1126518"/>
                  <a:gd name="connsiteY7" fmla="*/ 197644 h 209354"/>
                  <a:gd name="connsiteX8" fmla="*/ 795726 w 1126518"/>
                  <a:gd name="connsiteY8" fmla="*/ 188119 h 209354"/>
                  <a:gd name="connsiteX9" fmla="*/ 864782 w 1126518"/>
                  <a:gd name="connsiteY9" fmla="*/ 173831 h 209354"/>
                  <a:gd name="connsiteX10" fmla="*/ 938601 w 1126518"/>
                  <a:gd name="connsiteY10" fmla="*/ 169069 h 209354"/>
                  <a:gd name="connsiteX11" fmla="*/ 969557 w 1126518"/>
                  <a:gd name="connsiteY11" fmla="*/ 166687 h 209354"/>
                  <a:gd name="connsiteX12" fmla="*/ 1050520 w 1126518"/>
                  <a:gd name="connsiteY12" fmla="*/ 142875 h 209354"/>
                  <a:gd name="connsiteX13" fmla="*/ 1123632 w 1126518"/>
                  <a:gd name="connsiteY13" fmla="*/ 102808 h 209354"/>
                  <a:gd name="connsiteX14" fmla="*/ 1104873 w 1126518"/>
                  <a:gd name="connsiteY14" fmla="*/ 74387 h 209354"/>
                  <a:gd name="connsiteX15" fmla="*/ 1040303 w 1126518"/>
                  <a:gd name="connsiteY15" fmla="*/ 44275 h 209354"/>
                  <a:gd name="connsiteX16" fmla="*/ 939600 w 1126518"/>
                  <a:gd name="connsiteY16" fmla="*/ 25641 h 209354"/>
                  <a:gd name="connsiteX17" fmla="*/ 856517 w 1126518"/>
                  <a:gd name="connsiteY17" fmla="*/ 13873 h 209354"/>
                  <a:gd name="connsiteX18" fmla="*/ 781023 w 1126518"/>
                  <a:gd name="connsiteY18" fmla="*/ 3226 h 209354"/>
                  <a:gd name="connsiteX19" fmla="*/ 691658 w 1126518"/>
                  <a:gd name="connsiteY19" fmla="*/ 2105 h 209354"/>
                  <a:gd name="connsiteX20" fmla="*/ 557601 w 1126518"/>
                  <a:gd name="connsiteY20" fmla="*/ 0 h 209354"/>
                  <a:gd name="connsiteX21" fmla="*/ 346223 w 1126518"/>
                  <a:gd name="connsiteY21" fmla="*/ 4901 h 209354"/>
                  <a:gd name="connsiteX22" fmla="*/ 219755 w 1126518"/>
                  <a:gd name="connsiteY22" fmla="*/ 15547 h 209354"/>
                  <a:gd name="connsiteX23" fmla="*/ 61594 w 1126518"/>
                  <a:gd name="connsiteY23" fmla="*/ 53093 h 209354"/>
                  <a:gd name="connsiteX24" fmla="*/ 7532 w 1126518"/>
                  <a:gd name="connsiteY24" fmla="*/ 80962 h 209354"/>
                  <a:gd name="connsiteX25" fmla="*/ 5566 w 1126518"/>
                  <a:gd name="connsiteY25" fmla="*/ 111074 h 209354"/>
                  <a:gd name="connsiteX0" fmla="*/ 5566 w 1126518"/>
                  <a:gd name="connsiteY0" fmla="*/ 111074 h 205690"/>
                  <a:gd name="connsiteX1" fmla="*/ 43236 w 1126518"/>
                  <a:gd name="connsiteY1" fmla="*/ 135301 h 205690"/>
                  <a:gd name="connsiteX2" fmla="*/ 124198 w 1126518"/>
                  <a:gd name="connsiteY2" fmla="*/ 160097 h 205690"/>
                  <a:gd name="connsiteX3" fmla="*/ 290056 w 1126518"/>
                  <a:gd name="connsiteY3" fmla="*/ 190362 h 205690"/>
                  <a:gd name="connsiteX4" fmla="*/ 438830 w 1126518"/>
                  <a:gd name="connsiteY4" fmla="*/ 202130 h 205690"/>
                  <a:gd name="connsiteX5" fmla="*/ 602845 w 1126518"/>
                  <a:gd name="connsiteY5" fmla="*/ 204787 h 205690"/>
                  <a:gd name="connsiteX6" fmla="*/ 621895 w 1126518"/>
                  <a:gd name="connsiteY6" fmla="*/ 200025 h 205690"/>
                  <a:gd name="connsiteX7" fmla="*/ 674282 w 1126518"/>
                  <a:gd name="connsiteY7" fmla="*/ 197644 h 205690"/>
                  <a:gd name="connsiteX8" fmla="*/ 795726 w 1126518"/>
                  <a:gd name="connsiteY8" fmla="*/ 188119 h 205690"/>
                  <a:gd name="connsiteX9" fmla="*/ 864782 w 1126518"/>
                  <a:gd name="connsiteY9" fmla="*/ 173831 h 205690"/>
                  <a:gd name="connsiteX10" fmla="*/ 938601 w 1126518"/>
                  <a:gd name="connsiteY10" fmla="*/ 169069 h 205690"/>
                  <a:gd name="connsiteX11" fmla="*/ 969557 w 1126518"/>
                  <a:gd name="connsiteY11" fmla="*/ 166687 h 205690"/>
                  <a:gd name="connsiteX12" fmla="*/ 1050520 w 1126518"/>
                  <a:gd name="connsiteY12" fmla="*/ 142875 h 205690"/>
                  <a:gd name="connsiteX13" fmla="*/ 1123632 w 1126518"/>
                  <a:gd name="connsiteY13" fmla="*/ 102808 h 205690"/>
                  <a:gd name="connsiteX14" fmla="*/ 1104873 w 1126518"/>
                  <a:gd name="connsiteY14" fmla="*/ 74387 h 205690"/>
                  <a:gd name="connsiteX15" fmla="*/ 1040303 w 1126518"/>
                  <a:gd name="connsiteY15" fmla="*/ 44275 h 205690"/>
                  <a:gd name="connsiteX16" fmla="*/ 939600 w 1126518"/>
                  <a:gd name="connsiteY16" fmla="*/ 25641 h 205690"/>
                  <a:gd name="connsiteX17" fmla="*/ 856517 w 1126518"/>
                  <a:gd name="connsiteY17" fmla="*/ 13873 h 205690"/>
                  <a:gd name="connsiteX18" fmla="*/ 781023 w 1126518"/>
                  <a:gd name="connsiteY18" fmla="*/ 3226 h 205690"/>
                  <a:gd name="connsiteX19" fmla="*/ 691658 w 1126518"/>
                  <a:gd name="connsiteY19" fmla="*/ 2105 h 205690"/>
                  <a:gd name="connsiteX20" fmla="*/ 557601 w 1126518"/>
                  <a:gd name="connsiteY20" fmla="*/ 0 h 205690"/>
                  <a:gd name="connsiteX21" fmla="*/ 346223 w 1126518"/>
                  <a:gd name="connsiteY21" fmla="*/ 4901 h 205690"/>
                  <a:gd name="connsiteX22" fmla="*/ 219755 w 1126518"/>
                  <a:gd name="connsiteY22" fmla="*/ 15547 h 205690"/>
                  <a:gd name="connsiteX23" fmla="*/ 61594 w 1126518"/>
                  <a:gd name="connsiteY23" fmla="*/ 53093 h 205690"/>
                  <a:gd name="connsiteX24" fmla="*/ 7532 w 1126518"/>
                  <a:gd name="connsiteY24" fmla="*/ 80962 h 205690"/>
                  <a:gd name="connsiteX25" fmla="*/ 5566 w 1126518"/>
                  <a:gd name="connsiteY25" fmla="*/ 111074 h 205690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864782 w 1126518"/>
                  <a:gd name="connsiteY8" fmla="*/ 173831 h 202601"/>
                  <a:gd name="connsiteX9" fmla="*/ 938601 w 1126518"/>
                  <a:gd name="connsiteY9" fmla="*/ 169069 h 202601"/>
                  <a:gd name="connsiteX10" fmla="*/ 969557 w 1126518"/>
                  <a:gd name="connsiteY10" fmla="*/ 166687 h 202601"/>
                  <a:gd name="connsiteX11" fmla="*/ 1050520 w 1126518"/>
                  <a:gd name="connsiteY11" fmla="*/ 142875 h 202601"/>
                  <a:gd name="connsiteX12" fmla="*/ 1123632 w 1126518"/>
                  <a:gd name="connsiteY12" fmla="*/ 102808 h 202601"/>
                  <a:gd name="connsiteX13" fmla="*/ 1104873 w 1126518"/>
                  <a:gd name="connsiteY13" fmla="*/ 74387 h 202601"/>
                  <a:gd name="connsiteX14" fmla="*/ 1040303 w 1126518"/>
                  <a:gd name="connsiteY14" fmla="*/ 44275 h 202601"/>
                  <a:gd name="connsiteX15" fmla="*/ 939600 w 1126518"/>
                  <a:gd name="connsiteY15" fmla="*/ 25641 h 202601"/>
                  <a:gd name="connsiteX16" fmla="*/ 856517 w 1126518"/>
                  <a:gd name="connsiteY16" fmla="*/ 13873 h 202601"/>
                  <a:gd name="connsiteX17" fmla="*/ 781023 w 1126518"/>
                  <a:gd name="connsiteY17" fmla="*/ 3226 h 202601"/>
                  <a:gd name="connsiteX18" fmla="*/ 691658 w 1126518"/>
                  <a:gd name="connsiteY18" fmla="*/ 2105 h 202601"/>
                  <a:gd name="connsiteX19" fmla="*/ 557601 w 1126518"/>
                  <a:gd name="connsiteY19" fmla="*/ 0 h 202601"/>
                  <a:gd name="connsiteX20" fmla="*/ 346223 w 1126518"/>
                  <a:gd name="connsiteY20" fmla="*/ 4901 h 202601"/>
                  <a:gd name="connsiteX21" fmla="*/ 219755 w 1126518"/>
                  <a:gd name="connsiteY21" fmla="*/ 15547 h 202601"/>
                  <a:gd name="connsiteX22" fmla="*/ 61594 w 1126518"/>
                  <a:gd name="connsiteY22" fmla="*/ 53093 h 202601"/>
                  <a:gd name="connsiteX23" fmla="*/ 7532 w 1126518"/>
                  <a:gd name="connsiteY23" fmla="*/ 80962 h 202601"/>
                  <a:gd name="connsiteX24" fmla="*/ 5566 w 1126518"/>
                  <a:gd name="connsiteY24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5883 w 1126518"/>
                  <a:gd name="connsiteY7" fmla="*/ 18811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7143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29741 w 1126518"/>
                  <a:gd name="connsiteY7" fmla="*/ 18685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939600 w 1125768"/>
                  <a:gd name="connsiteY13" fmla="*/ 25641 h 202601"/>
                  <a:gd name="connsiteX14" fmla="*/ 856517 w 1125768"/>
                  <a:gd name="connsiteY14" fmla="*/ 13873 h 202601"/>
                  <a:gd name="connsiteX15" fmla="*/ 781023 w 1125768"/>
                  <a:gd name="connsiteY15" fmla="*/ 3226 h 202601"/>
                  <a:gd name="connsiteX16" fmla="*/ 691658 w 1125768"/>
                  <a:gd name="connsiteY16" fmla="*/ 2105 h 202601"/>
                  <a:gd name="connsiteX17" fmla="*/ 557601 w 1125768"/>
                  <a:gd name="connsiteY17" fmla="*/ 0 h 202601"/>
                  <a:gd name="connsiteX18" fmla="*/ 346223 w 1125768"/>
                  <a:gd name="connsiteY18" fmla="*/ 4901 h 202601"/>
                  <a:gd name="connsiteX19" fmla="*/ 219755 w 1125768"/>
                  <a:gd name="connsiteY19" fmla="*/ 15547 h 202601"/>
                  <a:gd name="connsiteX20" fmla="*/ 61594 w 1125768"/>
                  <a:gd name="connsiteY20" fmla="*/ 53093 h 202601"/>
                  <a:gd name="connsiteX21" fmla="*/ 7532 w 1125768"/>
                  <a:gd name="connsiteY21" fmla="*/ 80962 h 202601"/>
                  <a:gd name="connsiteX22" fmla="*/ 5566 w 112576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856517 w 1125768"/>
                  <a:gd name="connsiteY13" fmla="*/ 13873 h 202601"/>
                  <a:gd name="connsiteX14" fmla="*/ 781023 w 1125768"/>
                  <a:gd name="connsiteY14" fmla="*/ 3226 h 202601"/>
                  <a:gd name="connsiteX15" fmla="*/ 691658 w 1125768"/>
                  <a:gd name="connsiteY15" fmla="*/ 2105 h 202601"/>
                  <a:gd name="connsiteX16" fmla="*/ 557601 w 1125768"/>
                  <a:gd name="connsiteY16" fmla="*/ 0 h 202601"/>
                  <a:gd name="connsiteX17" fmla="*/ 346223 w 1125768"/>
                  <a:gd name="connsiteY17" fmla="*/ 4901 h 202601"/>
                  <a:gd name="connsiteX18" fmla="*/ 219755 w 1125768"/>
                  <a:gd name="connsiteY18" fmla="*/ 15547 h 202601"/>
                  <a:gd name="connsiteX19" fmla="*/ 61594 w 1125768"/>
                  <a:gd name="connsiteY19" fmla="*/ 53093 h 202601"/>
                  <a:gd name="connsiteX20" fmla="*/ 7532 w 1125768"/>
                  <a:gd name="connsiteY20" fmla="*/ 80962 h 202601"/>
                  <a:gd name="connsiteX21" fmla="*/ 5566 w 112576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56517 w 1125998"/>
                  <a:gd name="connsiteY13" fmla="*/ 1387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80453 w 1125998"/>
                  <a:gd name="connsiteY13" fmla="*/ 1261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4635 w 1125067"/>
                  <a:gd name="connsiteY0" fmla="*/ 111074 h 202601"/>
                  <a:gd name="connsiteX1" fmla="*/ 67500 w 1125067"/>
                  <a:gd name="connsiteY1" fmla="*/ 145379 h 202601"/>
                  <a:gd name="connsiteX2" fmla="*/ 123267 w 1125067"/>
                  <a:gd name="connsiteY2" fmla="*/ 160097 h 202601"/>
                  <a:gd name="connsiteX3" fmla="*/ 289125 w 1125067"/>
                  <a:gd name="connsiteY3" fmla="*/ 190362 h 202601"/>
                  <a:gd name="connsiteX4" fmla="*/ 437899 w 1125067"/>
                  <a:gd name="connsiteY4" fmla="*/ 202130 h 202601"/>
                  <a:gd name="connsiteX5" fmla="*/ 620964 w 1125067"/>
                  <a:gd name="connsiteY5" fmla="*/ 200025 h 202601"/>
                  <a:gd name="connsiteX6" fmla="*/ 673351 w 1125067"/>
                  <a:gd name="connsiteY6" fmla="*/ 197644 h 202601"/>
                  <a:gd name="connsiteX7" fmla="*/ 828810 w 1125067"/>
                  <a:gd name="connsiteY7" fmla="*/ 186859 h 202601"/>
                  <a:gd name="connsiteX8" fmla="*/ 968626 w 1125067"/>
                  <a:gd name="connsiteY8" fmla="*/ 166687 h 202601"/>
                  <a:gd name="connsiteX9" fmla="*/ 1060927 w 1125067"/>
                  <a:gd name="connsiteY9" fmla="*/ 144135 h 202601"/>
                  <a:gd name="connsiteX10" fmla="*/ 1122701 w 1125067"/>
                  <a:gd name="connsiteY10" fmla="*/ 102808 h 202601"/>
                  <a:gd name="connsiteX11" fmla="*/ 1103942 w 1125067"/>
                  <a:gd name="connsiteY11" fmla="*/ 74387 h 202601"/>
                  <a:gd name="connsiteX12" fmla="*/ 1026774 w 1125067"/>
                  <a:gd name="connsiteY12" fmla="*/ 40496 h 202601"/>
                  <a:gd name="connsiteX13" fmla="*/ 879522 w 1125067"/>
                  <a:gd name="connsiteY13" fmla="*/ 12613 h 202601"/>
                  <a:gd name="connsiteX14" fmla="*/ 780092 w 1125067"/>
                  <a:gd name="connsiteY14" fmla="*/ 3226 h 202601"/>
                  <a:gd name="connsiteX15" fmla="*/ 690727 w 1125067"/>
                  <a:gd name="connsiteY15" fmla="*/ 2105 h 202601"/>
                  <a:gd name="connsiteX16" fmla="*/ 556670 w 1125067"/>
                  <a:gd name="connsiteY16" fmla="*/ 0 h 202601"/>
                  <a:gd name="connsiteX17" fmla="*/ 345292 w 1125067"/>
                  <a:gd name="connsiteY17" fmla="*/ 4901 h 202601"/>
                  <a:gd name="connsiteX18" fmla="*/ 218824 w 1125067"/>
                  <a:gd name="connsiteY18" fmla="*/ 15547 h 202601"/>
                  <a:gd name="connsiteX19" fmla="*/ 60663 w 1125067"/>
                  <a:gd name="connsiteY19" fmla="*/ 53093 h 202601"/>
                  <a:gd name="connsiteX20" fmla="*/ 6601 w 1125067"/>
                  <a:gd name="connsiteY20" fmla="*/ 80962 h 202601"/>
                  <a:gd name="connsiteX21" fmla="*/ 4635 w 1125067"/>
                  <a:gd name="connsiteY21" fmla="*/ 111074 h 202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25067" h="202601">
                    <a:moveTo>
                      <a:pt x="4635" y="111074"/>
                    </a:moveTo>
                    <a:cubicBezTo>
                      <a:pt x="14785" y="121810"/>
                      <a:pt x="47288" y="138367"/>
                      <a:pt x="67500" y="145379"/>
                    </a:cubicBezTo>
                    <a:cubicBezTo>
                      <a:pt x="91051" y="153549"/>
                      <a:pt x="86330" y="152600"/>
                      <a:pt x="123267" y="160097"/>
                    </a:cubicBezTo>
                    <a:cubicBezTo>
                      <a:pt x="160204" y="167594"/>
                      <a:pt x="236686" y="183356"/>
                      <a:pt x="289125" y="190362"/>
                    </a:cubicBezTo>
                    <a:cubicBezTo>
                      <a:pt x="341564" y="197368"/>
                      <a:pt x="388308" y="198207"/>
                      <a:pt x="437899" y="202130"/>
                    </a:cubicBezTo>
                    <a:cubicBezTo>
                      <a:pt x="493205" y="203740"/>
                      <a:pt x="581722" y="200773"/>
                      <a:pt x="620964" y="200025"/>
                    </a:cubicBezTo>
                    <a:cubicBezTo>
                      <a:pt x="660206" y="199277"/>
                      <a:pt x="655889" y="198438"/>
                      <a:pt x="673351" y="197644"/>
                    </a:cubicBezTo>
                    <a:cubicBezTo>
                      <a:pt x="718032" y="195729"/>
                      <a:pt x="770272" y="192553"/>
                      <a:pt x="828810" y="186859"/>
                    </a:cubicBezTo>
                    <a:cubicBezTo>
                      <a:pt x="887348" y="181165"/>
                      <a:pt x="928260" y="174858"/>
                      <a:pt x="968626" y="166687"/>
                    </a:cubicBezTo>
                    <a:cubicBezTo>
                      <a:pt x="1008992" y="158517"/>
                      <a:pt x="1035248" y="154782"/>
                      <a:pt x="1060927" y="144135"/>
                    </a:cubicBezTo>
                    <a:cubicBezTo>
                      <a:pt x="1086606" y="133489"/>
                      <a:pt x="1115532" y="114433"/>
                      <a:pt x="1122701" y="102808"/>
                    </a:cubicBezTo>
                    <a:cubicBezTo>
                      <a:pt x="1129870" y="91183"/>
                      <a:pt x="1119930" y="84772"/>
                      <a:pt x="1103942" y="74387"/>
                    </a:cubicBezTo>
                    <a:cubicBezTo>
                      <a:pt x="1087954" y="64002"/>
                      <a:pt x="1064177" y="50792"/>
                      <a:pt x="1026774" y="40496"/>
                    </a:cubicBezTo>
                    <a:cubicBezTo>
                      <a:pt x="989371" y="30200"/>
                      <a:pt x="922735" y="19454"/>
                      <a:pt x="879522" y="12613"/>
                    </a:cubicBezTo>
                    <a:cubicBezTo>
                      <a:pt x="836309" y="5772"/>
                      <a:pt x="811558" y="4977"/>
                      <a:pt x="780092" y="3226"/>
                    </a:cubicBezTo>
                    <a:cubicBezTo>
                      <a:pt x="748626" y="1475"/>
                      <a:pt x="727964" y="2643"/>
                      <a:pt x="690727" y="2105"/>
                    </a:cubicBezTo>
                    <a:cubicBezTo>
                      <a:pt x="653490" y="1567"/>
                      <a:pt x="604294" y="2506"/>
                      <a:pt x="556670" y="0"/>
                    </a:cubicBezTo>
                    <a:cubicBezTo>
                      <a:pt x="482851" y="794"/>
                      <a:pt x="401600" y="2310"/>
                      <a:pt x="345292" y="4901"/>
                    </a:cubicBezTo>
                    <a:cubicBezTo>
                      <a:pt x="288984" y="7492"/>
                      <a:pt x="271091" y="6885"/>
                      <a:pt x="218824" y="15547"/>
                    </a:cubicBezTo>
                    <a:cubicBezTo>
                      <a:pt x="183105" y="23881"/>
                      <a:pt x="101072" y="33372"/>
                      <a:pt x="60663" y="53093"/>
                    </a:cubicBezTo>
                    <a:cubicBezTo>
                      <a:pt x="27401" y="69326"/>
                      <a:pt x="15729" y="73818"/>
                      <a:pt x="6601" y="80962"/>
                    </a:cubicBezTo>
                    <a:cubicBezTo>
                      <a:pt x="3756" y="86654"/>
                      <a:pt x="-5515" y="100338"/>
                      <a:pt x="4635" y="111074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F79B48A1-CBE4-113C-6A7F-A2CE1DD71715}"/>
                  </a:ext>
                </a:extLst>
              </p:cNvPr>
              <p:cNvSpPr/>
              <p:nvPr/>
            </p:nvSpPr>
            <p:spPr>
              <a:xfrm>
                <a:off x="3395346" y="2639947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A6D930D1-0938-EC8F-408B-610E7105AB53}"/>
                  </a:ext>
                </a:extLst>
              </p:cNvPr>
              <p:cNvSpPr/>
              <p:nvPr/>
            </p:nvSpPr>
            <p:spPr>
              <a:xfrm>
                <a:off x="3395346" y="3242409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D121B0E1-7D82-A8C8-F5F7-7339FAE58439}"/>
                  </a:ext>
                </a:extLst>
              </p:cNvPr>
              <p:cNvSpPr/>
              <p:nvPr/>
            </p:nvSpPr>
            <p:spPr>
              <a:xfrm>
                <a:off x="3395346" y="2041850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3BD780A-DADC-A6D2-3FBE-AA26F2804778}"/>
                </a:ext>
              </a:extLst>
            </p:cNvPr>
            <p:cNvGrpSpPr/>
            <p:nvPr/>
          </p:nvGrpSpPr>
          <p:grpSpPr>
            <a:xfrm>
              <a:off x="676332" y="3893419"/>
              <a:ext cx="634300" cy="811212"/>
              <a:chOff x="3395346" y="1880433"/>
              <a:chExt cx="1633885" cy="2089588"/>
            </a:xfrm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CFF1024-6D2F-8745-C676-8281DA99D435}"/>
                  </a:ext>
                </a:extLst>
              </p:cNvPr>
              <p:cNvSpPr/>
              <p:nvPr/>
            </p:nvSpPr>
            <p:spPr>
              <a:xfrm>
                <a:off x="3395346" y="2041850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D78AA93-3CCB-7FD9-6052-936585E87ECD}"/>
                  </a:ext>
                </a:extLst>
              </p:cNvPr>
              <p:cNvSpPr/>
              <p:nvPr/>
            </p:nvSpPr>
            <p:spPr>
              <a:xfrm>
                <a:off x="3395346" y="3242409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4C02FD6E-953D-BA96-B14E-D1B573D215FC}"/>
                  </a:ext>
                </a:extLst>
              </p:cNvPr>
              <p:cNvSpPr/>
              <p:nvPr/>
            </p:nvSpPr>
            <p:spPr>
              <a:xfrm>
                <a:off x="3397293" y="1880433"/>
                <a:ext cx="1624532" cy="292545"/>
              </a:xfrm>
              <a:custGeom>
                <a:avLst/>
                <a:gdLst>
                  <a:gd name="connsiteX0" fmla="*/ 11907 w 1116840"/>
                  <a:gd name="connsiteY0" fmla="*/ 124159 h 219409"/>
                  <a:gd name="connsiteX1" fmla="*/ 23813 w 1116840"/>
                  <a:gd name="connsiteY1" fmla="*/ 133684 h 219409"/>
                  <a:gd name="connsiteX2" fmla="*/ 28575 w 1116840"/>
                  <a:gd name="connsiteY2" fmla="*/ 140827 h 219409"/>
                  <a:gd name="connsiteX3" fmla="*/ 40482 w 1116840"/>
                  <a:gd name="connsiteY3" fmla="*/ 147971 h 219409"/>
                  <a:gd name="connsiteX4" fmla="*/ 47625 w 1116840"/>
                  <a:gd name="connsiteY4" fmla="*/ 152734 h 219409"/>
                  <a:gd name="connsiteX5" fmla="*/ 78582 w 1116840"/>
                  <a:gd name="connsiteY5" fmla="*/ 157496 h 219409"/>
                  <a:gd name="connsiteX6" fmla="*/ 104775 w 1116840"/>
                  <a:gd name="connsiteY6" fmla="*/ 162259 h 219409"/>
                  <a:gd name="connsiteX7" fmla="*/ 128588 w 1116840"/>
                  <a:gd name="connsiteY7" fmla="*/ 164640 h 219409"/>
                  <a:gd name="connsiteX8" fmla="*/ 161925 w 1116840"/>
                  <a:gd name="connsiteY8" fmla="*/ 174165 h 219409"/>
                  <a:gd name="connsiteX9" fmla="*/ 178594 w 1116840"/>
                  <a:gd name="connsiteY9" fmla="*/ 176546 h 219409"/>
                  <a:gd name="connsiteX10" fmla="*/ 202407 w 1116840"/>
                  <a:gd name="connsiteY10" fmla="*/ 181309 h 219409"/>
                  <a:gd name="connsiteX11" fmla="*/ 209550 w 1116840"/>
                  <a:gd name="connsiteY11" fmla="*/ 183690 h 219409"/>
                  <a:gd name="connsiteX12" fmla="*/ 238125 w 1116840"/>
                  <a:gd name="connsiteY12" fmla="*/ 190834 h 219409"/>
                  <a:gd name="connsiteX13" fmla="*/ 285750 w 1116840"/>
                  <a:gd name="connsiteY13" fmla="*/ 205121 h 219409"/>
                  <a:gd name="connsiteX14" fmla="*/ 378619 w 1116840"/>
                  <a:gd name="connsiteY14" fmla="*/ 207502 h 219409"/>
                  <a:gd name="connsiteX15" fmla="*/ 402432 w 1116840"/>
                  <a:gd name="connsiteY15" fmla="*/ 212265 h 219409"/>
                  <a:gd name="connsiteX16" fmla="*/ 457200 w 1116840"/>
                  <a:gd name="connsiteY16" fmla="*/ 219409 h 219409"/>
                  <a:gd name="connsiteX17" fmla="*/ 604838 w 1116840"/>
                  <a:gd name="connsiteY17" fmla="*/ 217027 h 219409"/>
                  <a:gd name="connsiteX18" fmla="*/ 623888 w 1116840"/>
                  <a:gd name="connsiteY18" fmla="*/ 212265 h 219409"/>
                  <a:gd name="connsiteX19" fmla="*/ 676275 w 1116840"/>
                  <a:gd name="connsiteY19" fmla="*/ 209884 h 219409"/>
                  <a:gd name="connsiteX20" fmla="*/ 697707 w 1116840"/>
                  <a:gd name="connsiteY20" fmla="*/ 205121 h 219409"/>
                  <a:gd name="connsiteX21" fmla="*/ 707232 w 1116840"/>
                  <a:gd name="connsiteY21" fmla="*/ 202740 h 219409"/>
                  <a:gd name="connsiteX22" fmla="*/ 797719 w 1116840"/>
                  <a:gd name="connsiteY22" fmla="*/ 200359 h 219409"/>
                  <a:gd name="connsiteX23" fmla="*/ 823913 w 1116840"/>
                  <a:gd name="connsiteY23" fmla="*/ 193215 h 219409"/>
                  <a:gd name="connsiteX24" fmla="*/ 842963 w 1116840"/>
                  <a:gd name="connsiteY24" fmla="*/ 188452 h 219409"/>
                  <a:gd name="connsiteX25" fmla="*/ 866775 w 1116840"/>
                  <a:gd name="connsiteY25" fmla="*/ 186071 h 219409"/>
                  <a:gd name="connsiteX26" fmla="*/ 940594 w 1116840"/>
                  <a:gd name="connsiteY26" fmla="*/ 181309 h 219409"/>
                  <a:gd name="connsiteX27" fmla="*/ 971550 w 1116840"/>
                  <a:gd name="connsiteY27" fmla="*/ 178927 h 219409"/>
                  <a:gd name="connsiteX28" fmla="*/ 992982 w 1116840"/>
                  <a:gd name="connsiteY28" fmla="*/ 174165 h 219409"/>
                  <a:gd name="connsiteX29" fmla="*/ 1007269 w 1116840"/>
                  <a:gd name="connsiteY29" fmla="*/ 171784 h 219409"/>
                  <a:gd name="connsiteX30" fmla="*/ 1035844 w 1116840"/>
                  <a:gd name="connsiteY30" fmla="*/ 164640 h 219409"/>
                  <a:gd name="connsiteX31" fmla="*/ 1052513 w 1116840"/>
                  <a:gd name="connsiteY31" fmla="*/ 155115 h 219409"/>
                  <a:gd name="connsiteX32" fmla="*/ 1083469 w 1116840"/>
                  <a:gd name="connsiteY32" fmla="*/ 143209 h 219409"/>
                  <a:gd name="connsiteX33" fmla="*/ 1090613 w 1116840"/>
                  <a:gd name="connsiteY33" fmla="*/ 136065 h 219409"/>
                  <a:gd name="connsiteX34" fmla="*/ 1100138 w 1116840"/>
                  <a:gd name="connsiteY34" fmla="*/ 131302 h 219409"/>
                  <a:gd name="connsiteX35" fmla="*/ 1107282 w 1116840"/>
                  <a:gd name="connsiteY35" fmla="*/ 126540 h 219409"/>
                  <a:gd name="connsiteX36" fmla="*/ 1116807 w 1116840"/>
                  <a:gd name="connsiteY36" fmla="*/ 107490 h 219409"/>
                  <a:gd name="connsiteX37" fmla="*/ 1114425 w 1116840"/>
                  <a:gd name="connsiteY37" fmla="*/ 97965 h 219409"/>
                  <a:gd name="connsiteX38" fmla="*/ 1054894 w 1116840"/>
                  <a:gd name="connsiteY38" fmla="*/ 74152 h 219409"/>
                  <a:gd name="connsiteX39" fmla="*/ 1047750 w 1116840"/>
                  <a:gd name="connsiteY39" fmla="*/ 71771 h 219409"/>
                  <a:gd name="connsiteX40" fmla="*/ 1038225 w 1116840"/>
                  <a:gd name="connsiteY40" fmla="*/ 67009 h 219409"/>
                  <a:gd name="connsiteX41" fmla="*/ 1026319 w 1116840"/>
                  <a:gd name="connsiteY41" fmla="*/ 62246 h 219409"/>
                  <a:gd name="connsiteX42" fmla="*/ 995363 w 1116840"/>
                  <a:gd name="connsiteY42" fmla="*/ 57484 h 219409"/>
                  <a:gd name="connsiteX43" fmla="*/ 966788 w 1116840"/>
                  <a:gd name="connsiteY43" fmla="*/ 47959 h 219409"/>
                  <a:gd name="connsiteX44" fmla="*/ 947738 w 1116840"/>
                  <a:gd name="connsiteY44" fmla="*/ 40815 h 219409"/>
                  <a:gd name="connsiteX45" fmla="*/ 857250 w 1116840"/>
                  <a:gd name="connsiteY45" fmla="*/ 33671 h 219409"/>
                  <a:gd name="connsiteX46" fmla="*/ 812007 w 1116840"/>
                  <a:gd name="connsiteY46" fmla="*/ 26527 h 219409"/>
                  <a:gd name="connsiteX47" fmla="*/ 800100 w 1116840"/>
                  <a:gd name="connsiteY47" fmla="*/ 24146 h 219409"/>
                  <a:gd name="connsiteX48" fmla="*/ 790575 w 1116840"/>
                  <a:gd name="connsiteY48" fmla="*/ 21765 h 219409"/>
                  <a:gd name="connsiteX49" fmla="*/ 702469 w 1116840"/>
                  <a:gd name="connsiteY49" fmla="*/ 19384 h 219409"/>
                  <a:gd name="connsiteX50" fmla="*/ 559594 w 1116840"/>
                  <a:gd name="connsiteY50" fmla="*/ 12240 h 219409"/>
                  <a:gd name="connsiteX51" fmla="*/ 350044 w 1116840"/>
                  <a:gd name="connsiteY51" fmla="*/ 9859 h 219409"/>
                  <a:gd name="connsiteX52" fmla="*/ 338138 w 1116840"/>
                  <a:gd name="connsiteY52" fmla="*/ 14621 h 219409"/>
                  <a:gd name="connsiteX53" fmla="*/ 295275 w 1116840"/>
                  <a:gd name="connsiteY53" fmla="*/ 19384 h 219409"/>
                  <a:gd name="connsiteX54" fmla="*/ 278607 w 1116840"/>
                  <a:gd name="connsiteY54" fmla="*/ 21765 h 219409"/>
                  <a:gd name="connsiteX55" fmla="*/ 269082 w 1116840"/>
                  <a:gd name="connsiteY55" fmla="*/ 24146 h 219409"/>
                  <a:gd name="connsiteX56" fmla="*/ 238125 w 1116840"/>
                  <a:gd name="connsiteY56" fmla="*/ 26527 h 219409"/>
                  <a:gd name="connsiteX57" fmla="*/ 216694 w 1116840"/>
                  <a:gd name="connsiteY57" fmla="*/ 33671 h 219409"/>
                  <a:gd name="connsiteX58" fmla="*/ 195263 w 1116840"/>
                  <a:gd name="connsiteY58" fmla="*/ 38434 h 219409"/>
                  <a:gd name="connsiteX59" fmla="*/ 183357 w 1116840"/>
                  <a:gd name="connsiteY59" fmla="*/ 40815 h 219409"/>
                  <a:gd name="connsiteX60" fmla="*/ 147638 w 1116840"/>
                  <a:gd name="connsiteY60" fmla="*/ 50340 h 219409"/>
                  <a:gd name="connsiteX61" fmla="*/ 128588 w 1116840"/>
                  <a:gd name="connsiteY61" fmla="*/ 57484 h 219409"/>
                  <a:gd name="connsiteX62" fmla="*/ 109538 w 1116840"/>
                  <a:gd name="connsiteY62" fmla="*/ 62246 h 219409"/>
                  <a:gd name="connsiteX63" fmla="*/ 97632 w 1116840"/>
                  <a:gd name="connsiteY63" fmla="*/ 67009 h 219409"/>
                  <a:gd name="connsiteX64" fmla="*/ 80963 w 1116840"/>
                  <a:gd name="connsiteY64" fmla="*/ 69390 h 219409"/>
                  <a:gd name="connsiteX65" fmla="*/ 54769 w 1116840"/>
                  <a:gd name="connsiteY65" fmla="*/ 74152 h 219409"/>
                  <a:gd name="connsiteX66" fmla="*/ 47625 w 1116840"/>
                  <a:gd name="connsiteY66" fmla="*/ 76534 h 219409"/>
                  <a:gd name="connsiteX67" fmla="*/ 23813 w 1116840"/>
                  <a:gd name="connsiteY67" fmla="*/ 83677 h 219409"/>
                  <a:gd name="connsiteX68" fmla="*/ 9525 w 1116840"/>
                  <a:gd name="connsiteY68" fmla="*/ 93202 h 219409"/>
                  <a:gd name="connsiteX69" fmla="*/ 0 w 1116840"/>
                  <a:gd name="connsiteY69" fmla="*/ 117015 h 219409"/>
                  <a:gd name="connsiteX70" fmla="*/ 11907 w 1116840"/>
                  <a:gd name="connsiteY70" fmla="*/ 124159 h 21940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800100 w 1116840"/>
                  <a:gd name="connsiteY47" fmla="*/ 11906 h 207169"/>
                  <a:gd name="connsiteX48" fmla="*/ 790575 w 1116840"/>
                  <a:gd name="connsiteY48" fmla="*/ 9525 h 207169"/>
                  <a:gd name="connsiteX49" fmla="*/ 702469 w 1116840"/>
                  <a:gd name="connsiteY49" fmla="*/ 7144 h 207169"/>
                  <a:gd name="connsiteX50" fmla="*/ 559594 w 1116840"/>
                  <a:gd name="connsiteY50" fmla="*/ 0 h 207169"/>
                  <a:gd name="connsiteX51" fmla="*/ 338138 w 1116840"/>
                  <a:gd name="connsiteY51" fmla="*/ 2381 h 207169"/>
                  <a:gd name="connsiteX52" fmla="*/ 295275 w 1116840"/>
                  <a:gd name="connsiteY52" fmla="*/ 7144 h 207169"/>
                  <a:gd name="connsiteX53" fmla="*/ 278607 w 1116840"/>
                  <a:gd name="connsiteY53" fmla="*/ 9525 h 207169"/>
                  <a:gd name="connsiteX54" fmla="*/ 269082 w 1116840"/>
                  <a:gd name="connsiteY54" fmla="*/ 11906 h 207169"/>
                  <a:gd name="connsiteX55" fmla="*/ 238125 w 1116840"/>
                  <a:gd name="connsiteY55" fmla="*/ 14287 h 207169"/>
                  <a:gd name="connsiteX56" fmla="*/ 216694 w 1116840"/>
                  <a:gd name="connsiteY56" fmla="*/ 21431 h 207169"/>
                  <a:gd name="connsiteX57" fmla="*/ 195263 w 1116840"/>
                  <a:gd name="connsiteY57" fmla="*/ 26194 h 207169"/>
                  <a:gd name="connsiteX58" fmla="*/ 183357 w 1116840"/>
                  <a:gd name="connsiteY58" fmla="*/ 28575 h 207169"/>
                  <a:gd name="connsiteX59" fmla="*/ 147638 w 1116840"/>
                  <a:gd name="connsiteY59" fmla="*/ 38100 h 207169"/>
                  <a:gd name="connsiteX60" fmla="*/ 128588 w 1116840"/>
                  <a:gd name="connsiteY60" fmla="*/ 45244 h 207169"/>
                  <a:gd name="connsiteX61" fmla="*/ 109538 w 1116840"/>
                  <a:gd name="connsiteY61" fmla="*/ 50006 h 207169"/>
                  <a:gd name="connsiteX62" fmla="*/ 97632 w 1116840"/>
                  <a:gd name="connsiteY62" fmla="*/ 54769 h 207169"/>
                  <a:gd name="connsiteX63" fmla="*/ 80963 w 1116840"/>
                  <a:gd name="connsiteY63" fmla="*/ 57150 h 207169"/>
                  <a:gd name="connsiteX64" fmla="*/ 54769 w 1116840"/>
                  <a:gd name="connsiteY64" fmla="*/ 61912 h 207169"/>
                  <a:gd name="connsiteX65" fmla="*/ 47625 w 1116840"/>
                  <a:gd name="connsiteY65" fmla="*/ 64294 h 207169"/>
                  <a:gd name="connsiteX66" fmla="*/ 23813 w 1116840"/>
                  <a:gd name="connsiteY66" fmla="*/ 71437 h 207169"/>
                  <a:gd name="connsiteX67" fmla="*/ 9525 w 1116840"/>
                  <a:gd name="connsiteY67" fmla="*/ 80962 h 207169"/>
                  <a:gd name="connsiteX68" fmla="*/ 0 w 1116840"/>
                  <a:gd name="connsiteY68" fmla="*/ 104775 h 207169"/>
                  <a:gd name="connsiteX69" fmla="*/ 11907 w 1116840"/>
                  <a:gd name="connsiteY69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790575 w 1116840"/>
                  <a:gd name="connsiteY47" fmla="*/ 9525 h 207169"/>
                  <a:gd name="connsiteX48" fmla="*/ 702469 w 1116840"/>
                  <a:gd name="connsiteY48" fmla="*/ 7144 h 207169"/>
                  <a:gd name="connsiteX49" fmla="*/ 559594 w 1116840"/>
                  <a:gd name="connsiteY49" fmla="*/ 0 h 207169"/>
                  <a:gd name="connsiteX50" fmla="*/ 338138 w 1116840"/>
                  <a:gd name="connsiteY50" fmla="*/ 2381 h 207169"/>
                  <a:gd name="connsiteX51" fmla="*/ 295275 w 1116840"/>
                  <a:gd name="connsiteY51" fmla="*/ 7144 h 207169"/>
                  <a:gd name="connsiteX52" fmla="*/ 278607 w 1116840"/>
                  <a:gd name="connsiteY52" fmla="*/ 9525 h 207169"/>
                  <a:gd name="connsiteX53" fmla="*/ 269082 w 1116840"/>
                  <a:gd name="connsiteY53" fmla="*/ 11906 h 207169"/>
                  <a:gd name="connsiteX54" fmla="*/ 238125 w 1116840"/>
                  <a:gd name="connsiteY54" fmla="*/ 14287 h 207169"/>
                  <a:gd name="connsiteX55" fmla="*/ 216694 w 1116840"/>
                  <a:gd name="connsiteY55" fmla="*/ 21431 h 207169"/>
                  <a:gd name="connsiteX56" fmla="*/ 195263 w 1116840"/>
                  <a:gd name="connsiteY56" fmla="*/ 26194 h 207169"/>
                  <a:gd name="connsiteX57" fmla="*/ 183357 w 1116840"/>
                  <a:gd name="connsiteY57" fmla="*/ 28575 h 207169"/>
                  <a:gd name="connsiteX58" fmla="*/ 147638 w 1116840"/>
                  <a:gd name="connsiteY58" fmla="*/ 38100 h 207169"/>
                  <a:gd name="connsiteX59" fmla="*/ 128588 w 1116840"/>
                  <a:gd name="connsiteY59" fmla="*/ 45244 h 207169"/>
                  <a:gd name="connsiteX60" fmla="*/ 109538 w 1116840"/>
                  <a:gd name="connsiteY60" fmla="*/ 50006 h 207169"/>
                  <a:gd name="connsiteX61" fmla="*/ 97632 w 1116840"/>
                  <a:gd name="connsiteY61" fmla="*/ 54769 h 207169"/>
                  <a:gd name="connsiteX62" fmla="*/ 80963 w 1116840"/>
                  <a:gd name="connsiteY62" fmla="*/ 57150 h 207169"/>
                  <a:gd name="connsiteX63" fmla="*/ 54769 w 1116840"/>
                  <a:gd name="connsiteY63" fmla="*/ 61912 h 207169"/>
                  <a:gd name="connsiteX64" fmla="*/ 47625 w 1116840"/>
                  <a:gd name="connsiteY64" fmla="*/ 64294 h 207169"/>
                  <a:gd name="connsiteX65" fmla="*/ 23813 w 1116840"/>
                  <a:gd name="connsiteY65" fmla="*/ 71437 h 207169"/>
                  <a:gd name="connsiteX66" fmla="*/ 9525 w 1116840"/>
                  <a:gd name="connsiteY66" fmla="*/ 80962 h 207169"/>
                  <a:gd name="connsiteX67" fmla="*/ 0 w 1116840"/>
                  <a:gd name="connsiteY67" fmla="*/ 104775 h 207169"/>
                  <a:gd name="connsiteX68" fmla="*/ 11907 w 1116840"/>
                  <a:gd name="connsiteY68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790575 w 1116840"/>
                  <a:gd name="connsiteY46" fmla="*/ 9525 h 207169"/>
                  <a:gd name="connsiteX47" fmla="*/ 702469 w 1116840"/>
                  <a:gd name="connsiteY47" fmla="*/ 7144 h 207169"/>
                  <a:gd name="connsiteX48" fmla="*/ 559594 w 1116840"/>
                  <a:gd name="connsiteY48" fmla="*/ 0 h 207169"/>
                  <a:gd name="connsiteX49" fmla="*/ 338138 w 1116840"/>
                  <a:gd name="connsiteY49" fmla="*/ 2381 h 207169"/>
                  <a:gd name="connsiteX50" fmla="*/ 295275 w 1116840"/>
                  <a:gd name="connsiteY50" fmla="*/ 7144 h 207169"/>
                  <a:gd name="connsiteX51" fmla="*/ 278607 w 1116840"/>
                  <a:gd name="connsiteY51" fmla="*/ 9525 h 207169"/>
                  <a:gd name="connsiteX52" fmla="*/ 269082 w 1116840"/>
                  <a:gd name="connsiteY52" fmla="*/ 11906 h 207169"/>
                  <a:gd name="connsiteX53" fmla="*/ 238125 w 1116840"/>
                  <a:gd name="connsiteY53" fmla="*/ 14287 h 207169"/>
                  <a:gd name="connsiteX54" fmla="*/ 216694 w 1116840"/>
                  <a:gd name="connsiteY54" fmla="*/ 21431 h 207169"/>
                  <a:gd name="connsiteX55" fmla="*/ 195263 w 1116840"/>
                  <a:gd name="connsiteY55" fmla="*/ 26194 h 207169"/>
                  <a:gd name="connsiteX56" fmla="*/ 183357 w 1116840"/>
                  <a:gd name="connsiteY56" fmla="*/ 28575 h 207169"/>
                  <a:gd name="connsiteX57" fmla="*/ 147638 w 1116840"/>
                  <a:gd name="connsiteY57" fmla="*/ 38100 h 207169"/>
                  <a:gd name="connsiteX58" fmla="*/ 128588 w 1116840"/>
                  <a:gd name="connsiteY58" fmla="*/ 45244 h 207169"/>
                  <a:gd name="connsiteX59" fmla="*/ 109538 w 1116840"/>
                  <a:gd name="connsiteY59" fmla="*/ 50006 h 207169"/>
                  <a:gd name="connsiteX60" fmla="*/ 97632 w 1116840"/>
                  <a:gd name="connsiteY60" fmla="*/ 54769 h 207169"/>
                  <a:gd name="connsiteX61" fmla="*/ 80963 w 1116840"/>
                  <a:gd name="connsiteY61" fmla="*/ 57150 h 207169"/>
                  <a:gd name="connsiteX62" fmla="*/ 54769 w 1116840"/>
                  <a:gd name="connsiteY62" fmla="*/ 61912 h 207169"/>
                  <a:gd name="connsiteX63" fmla="*/ 47625 w 1116840"/>
                  <a:gd name="connsiteY63" fmla="*/ 64294 h 207169"/>
                  <a:gd name="connsiteX64" fmla="*/ 23813 w 1116840"/>
                  <a:gd name="connsiteY64" fmla="*/ 71437 h 207169"/>
                  <a:gd name="connsiteX65" fmla="*/ 9525 w 1116840"/>
                  <a:gd name="connsiteY65" fmla="*/ 80962 h 207169"/>
                  <a:gd name="connsiteX66" fmla="*/ 0 w 1116840"/>
                  <a:gd name="connsiteY66" fmla="*/ 104775 h 207169"/>
                  <a:gd name="connsiteX67" fmla="*/ 11907 w 1116840"/>
                  <a:gd name="connsiteY67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857250 w 1116840"/>
                  <a:gd name="connsiteY44" fmla="*/ 21431 h 207169"/>
                  <a:gd name="connsiteX45" fmla="*/ 790575 w 1116840"/>
                  <a:gd name="connsiteY45" fmla="*/ 9525 h 207169"/>
                  <a:gd name="connsiteX46" fmla="*/ 702469 w 1116840"/>
                  <a:gd name="connsiteY46" fmla="*/ 7144 h 207169"/>
                  <a:gd name="connsiteX47" fmla="*/ 559594 w 1116840"/>
                  <a:gd name="connsiteY47" fmla="*/ 0 h 207169"/>
                  <a:gd name="connsiteX48" fmla="*/ 338138 w 1116840"/>
                  <a:gd name="connsiteY48" fmla="*/ 2381 h 207169"/>
                  <a:gd name="connsiteX49" fmla="*/ 295275 w 1116840"/>
                  <a:gd name="connsiteY49" fmla="*/ 7144 h 207169"/>
                  <a:gd name="connsiteX50" fmla="*/ 278607 w 1116840"/>
                  <a:gd name="connsiteY50" fmla="*/ 9525 h 207169"/>
                  <a:gd name="connsiteX51" fmla="*/ 269082 w 1116840"/>
                  <a:gd name="connsiteY51" fmla="*/ 11906 h 207169"/>
                  <a:gd name="connsiteX52" fmla="*/ 238125 w 1116840"/>
                  <a:gd name="connsiteY52" fmla="*/ 14287 h 207169"/>
                  <a:gd name="connsiteX53" fmla="*/ 216694 w 1116840"/>
                  <a:gd name="connsiteY53" fmla="*/ 21431 h 207169"/>
                  <a:gd name="connsiteX54" fmla="*/ 195263 w 1116840"/>
                  <a:gd name="connsiteY54" fmla="*/ 26194 h 207169"/>
                  <a:gd name="connsiteX55" fmla="*/ 183357 w 1116840"/>
                  <a:gd name="connsiteY55" fmla="*/ 28575 h 207169"/>
                  <a:gd name="connsiteX56" fmla="*/ 147638 w 1116840"/>
                  <a:gd name="connsiteY56" fmla="*/ 38100 h 207169"/>
                  <a:gd name="connsiteX57" fmla="*/ 128588 w 1116840"/>
                  <a:gd name="connsiteY57" fmla="*/ 45244 h 207169"/>
                  <a:gd name="connsiteX58" fmla="*/ 109538 w 1116840"/>
                  <a:gd name="connsiteY58" fmla="*/ 50006 h 207169"/>
                  <a:gd name="connsiteX59" fmla="*/ 97632 w 1116840"/>
                  <a:gd name="connsiteY59" fmla="*/ 54769 h 207169"/>
                  <a:gd name="connsiteX60" fmla="*/ 80963 w 1116840"/>
                  <a:gd name="connsiteY60" fmla="*/ 57150 h 207169"/>
                  <a:gd name="connsiteX61" fmla="*/ 54769 w 1116840"/>
                  <a:gd name="connsiteY61" fmla="*/ 61912 h 207169"/>
                  <a:gd name="connsiteX62" fmla="*/ 47625 w 1116840"/>
                  <a:gd name="connsiteY62" fmla="*/ 64294 h 207169"/>
                  <a:gd name="connsiteX63" fmla="*/ 23813 w 1116840"/>
                  <a:gd name="connsiteY63" fmla="*/ 71437 h 207169"/>
                  <a:gd name="connsiteX64" fmla="*/ 9525 w 1116840"/>
                  <a:gd name="connsiteY64" fmla="*/ 80962 h 207169"/>
                  <a:gd name="connsiteX65" fmla="*/ 0 w 1116840"/>
                  <a:gd name="connsiteY65" fmla="*/ 104775 h 207169"/>
                  <a:gd name="connsiteX66" fmla="*/ 11907 w 1116840"/>
                  <a:gd name="connsiteY66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66788 w 1116840"/>
                  <a:gd name="connsiteY42" fmla="*/ 35719 h 207169"/>
                  <a:gd name="connsiteX43" fmla="*/ 857250 w 1116840"/>
                  <a:gd name="connsiteY43" fmla="*/ 21431 h 207169"/>
                  <a:gd name="connsiteX44" fmla="*/ 790575 w 1116840"/>
                  <a:gd name="connsiteY44" fmla="*/ 9525 h 207169"/>
                  <a:gd name="connsiteX45" fmla="*/ 702469 w 1116840"/>
                  <a:gd name="connsiteY45" fmla="*/ 7144 h 207169"/>
                  <a:gd name="connsiteX46" fmla="*/ 559594 w 1116840"/>
                  <a:gd name="connsiteY46" fmla="*/ 0 h 207169"/>
                  <a:gd name="connsiteX47" fmla="*/ 338138 w 1116840"/>
                  <a:gd name="connsiteY47" fmla="*/ 2381 h 207169"/>
                  <a:gd name="connsiteX48" fmla="*/ 295275 w 1116840"/>
                  <a:gd name="connsiteY48" fmla="*/ 7144 h 207169"/>
                  <a:gd name="connsiteX49" fmla="*/ 278607 w 1116840"/>
                  <a:gd name="connsiteY49" fmla="*/ 9525 h 207169"/>
                  <a:gd name="connsiteX50" fmla="*/ 269082 w 1116840"/>
                  <a:gd name="connsiteY50" fmla="*/ 11906 h 207169"/>
                  <a:gd name="connsiteX51" fmla="*/ 238125 w 1116840"/>
                  <a:gd name="connsiteY51" fmla="*/ 14287 h 207169"/>
                  <a:gd name="connsiteX52" fmla="*/ 216694 w 1116840"/>
                  <a:gd name="connsiteY52" fmla="*/ 21431 h 207169"/>
                  <a:gd name="connsiteX53" fmla="*/ 195263 w 1116840"/>
                  <a:gd name="connsiteY53" fmla="*/ 26194 h 207169"/>
                  <a:gd name="connsiteX54" fmla="*/ 183357 w 1116840"/>
                  <a:gd name="connsiteY54" fmla="*/ 28575 h 207169"/>
                  <a:gd name="connsiteX55" fmla="*/ 147638 w 1116840"/>
                  <a:gd name="connsiteY55" fmla="*/ 38100 h 207169"/>
                  <a:gd name="connsiteX56" fmla="*/ 128588 w 1116840"/>
                  <a:gd name="connsiteY56" fmla="*/ 45244 h 207169"/>
                  <a:gd name="connsiteX57" fmla="*/ 109538 w 1116840"/>
                  <a:gd name="connsiteY57" fmla="*/ 50006 h 207169"/>
                  <a:gd name="connsiteX58" fmla="*/ 97632 w 1116840"/>
                  <a:gd name="connsiteY58" fmla="*/ 54769 h 207169"/>
                  <a:gd name="connsiteX59" fmla="*/ 80963 w 1116840"/>
                  <a:gd name="connsiteY59" fmla="*/ 57150 h 207169"/>
                  <a:gd name="connsiteX60" fmla="*/ 54769 w 1116840"/>
                  <a:gd name="connsiteY60" fmla="*/ 61912 h 207169"/>
                  <a:gd name="connsiteX61" fmla="*/ 47625 w 1116840"/>
                  <a:gd name="connsiteY61" fmla="*/ 64294 h 207169"/>
                  <a:gd name="connsiteX62" fmla="*/ 23813 w 1116840"/>
                  <a:gd name="connsiteY62" fmla="*/ 71437 h 207169"/>
                  <a:gd name="connsiteX63" fmla="*/ 9525 w 1116840"/>
                  <a:gd name="connsiteY63" fmla="*/ 80962 h 207169"/>
                  <a:gd name="connsiteX64" fmla="*/ 0 w 1116840"/>
                  <a:gd name="connsiteY64" fmla="*/ 104775 h 207169"/>
                  <a:gd name="connsiteX65" fmla="*/ 11907 w 1116840"/>
                  <a:gd name="connsiteY65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966788 w 1116840"/>
                  <a:gd name="connsiteY41" fmla="*/ 35719 h 207169"/>
                  <a:gd name="connsiteX42" fmla="*/ 857250 w 1116840"/>
                  <a:gd name="connsiteY42" fmla="*/ 21431 h 207169"/>
                  <a:gd name="connsiteX43" fmla="*/ 790575 w 1116840"/>
                  <a:gd name="connsiteY43" fmla="*/ 9525 h 207169"/>
                  <a:gd name="connsiteX44" fmla="*/ 702469 w 1116840"/>
                  <a:gd name="connsiteY44" fmla="*/ 7144 h 207169"/>
                  <a:gd name="connsiteX45" fmla="*/ 559594 w 1116840"/>
                  <a:gd name="connsiteY45" fmla="*/ 0 h 207169"/>
                  <a:gd name="connsiteX46" fmla="*/ 338138 w 1116840"/>
                  <a:gd name="connsiteY46" fmla="*/ 2381 h 207169"/>
                  <a:gd name="connsiteX47" fmla="*/ 295275 w 1116840"/>
                  <a:gd name="connsiteY47" fmla="*/ 7144 h 207169"/>
                  <a:gd name="connsiteX48" fmla="*/ 278607 w 1116840"/>
                  <a:gd name="connsiteY48" fmla="*/ 9525 h 207169"/>
                  <a:gd name="connsiteX49" fmla="*/ 269082 w 1116840"/>
                  <a:gd name="connsiteY49" fmla="*/ 11906 h 207169"/>
                  <a:gd name="connsiteX50" fmla="*/ 238125 w 1116840"/>
                  <a:gd name="connsiteY50" fmla="*/ 14287 h 207169"/>
                  <a:gd name="connsiteX51" fmla="*/ 216694 w 1116840"/>
                  <a:gd name="connsiteY51" fmla="*/ 21431 h 207169"/>
                  <a:gd name="connsiteX52" fmla="*/ 195263 w 1116840"/>
                  <a:gd name="connsiteY52" fmla="*/ 26194 h 207169"/>
                  <a:gd name="connsiteX53" fmla="*/ 183357 w 1116840"/>
                  <a:gd name="connsiteY53" fmla="*/ 28575 h 207169"/>
                  <a:gd name="connsiteX54" fmla="*/ 147638 w 1116840"/>
                  <a:gd name="connsiteY54" fmla="*/ 38100 h 207169"/>
                  <a:gd name="connsiteX55" fmla="*/ 128588 w 1116840"/>
                  <a:gd name="connsiteY55" fmla="*/ 45244 h 207169"/>
                  <a:gd name="connsiteX56" fmla="*/ 109538 w 1116840"/>
                  <a:gd name="connsiteY56" fmla="*/ 50006 h 207169"/>
                  <a:gd name="connsiteX57" fmla="*/ 97632 w 1116840"/>
                  <a:gd name="connsiteY57" fmla="*/ 54769 h 207169"/>
                  <a:gd name="connsiteX58" fmla="*/ 80963 w 1116840"/>
                  <a:gd name="connsiteY58" fmla="*/ 57150 h 207169"/>
                  <a:gd name="connsiteX59" fmla="*/ 54769 w 1116840"/>
                  <a:gd name="connsiteY59" fmla="*/ 61912 h 207169"/>
                  <a:gd name="connsiteX60" fmla="*/ 47625 w 1116840"/>
                  <a:gd name="connsiteY60" fmla="*/ 64294 h 207169"/>
                  <a:gd name="connsiteX61" fmla="*/ 23813 w 1116840"/>
                  <a:gd name="connsiteY61" fmla="*/ 71437 h 207169"/>
                  <a:gd name="connsiteX62" fmla="*/ 9525 w 1116840"/>
                  <a:gd name="connsiteY62" fmla="*/ 80962 h 207169"/>
                  <a:gd name="connsiteX63" fmla="*/ 0 w 1116840"/>
                  <a:gd name="connsiteY63" fmla="*/ 104775 h 207169"/>
                  <a:gd name="connsiteX64" fmla="*/ 11907 w 1116840"/>
                  <a:gd name="connsiteY64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966788 w 1116840"/>
                  <a:gd name="connsiteY40" fmla="*/ 35719 h 207169"/>
                  <a:gd name="connsiteX41" fmla="*/ 857250 w 1116840"/>
                  <a:gd name="connsiteY41" fmla="*/ 21431 h 207169"/>
                  <a:gd name="connsiteX42" fmla="*/ 790575 w 1116840"/>
                  <a:gd name="connsiteY42" fmla="*/ 9525 h 207169"/>
                  <a:gd name="connsiteX43" fmla="*/ 702469 w 1116840"/>
                  <a:gd name="connsiteY43" fmla="*/ 7144 h 207169"/>
                  <a:gd name="connsiteX44" fmla="*/ 559594 w 1116840"/>
                  <a:gd name="connsiteY44" fmla="*/ 0 h 207169"/>
                  <a:gd name="connsiteX45" fmla="*/ 338138 w 1116840"/>
                  <a:gd name="connsiteY45" fmla="*/ 2381 h 207169"/>
                  <a:gd name="connsiteX46" fmla="*/ 295275 w 1116840"/>
                  <a:gd name="connsiteY46" fmla="*/ 7144 h 207169"/>
                  <a:gd name="connsiteX47" fmla="*/ 278607 w 1116840"/>
                  <a:gd name="connsiteY47" fmla="*/ 9525 h 207169"/>
                  <a:gd name="connsiteX48" fmla="*/ 269082 w 1116840"/>
                  <a:gd name="connsiteY48" fmla="*/ 11906 h 207169"/>
                  <a:gd name="connsiteX49" fmla="*/ 238125 w 1116840"/>
                  <a:gd name="connsiteY49" fmla="*/ 14287 h 207169"/>
                  <a:gd name="connsiteX50" fmla="*/ 216694 w 1116840"/>
                  <a:gd name="connsiteY50" fmla="*/ 21431 h 207169"/>
                  <a:gd name="connsiteX51" fmla="*/ 195263 w 1116840"/>
                  <a:gd name="connsiteY51" fmla="*/ 26194 h 207169"/>
                  <a:gd name="connsiteX52" fmla="*/ 183357 w 1116840"/>
                  <a:gd name="connsiteY52" fmla="*/ 28575 h 207169"/>
                  <a:gd name="connsiteX53" fmla="*/ 147638 w 1116840"/>
                  <a:gd name="connsiteY53" fmla="*/ 38100 h 207169"/>
                  <a:gd name="connsiteX54" fmla="*/ 128588 w 1116840"/>
                  <a:gd name="connsiteY54" fmla="*/ 45244 h 207169"/>
                  <a:gd name="connsiteX55" fmla="*/ 109538 w 1116840"/>
                  <a:gd name="connsiteY55" fmla="*/ 50006 h 207169"/>
                  <a:gd name="connsiteX56" fmla="*/ 97632 w 1116840"/>
                  <a:gd name="connsiteY56" fmla="*/ 54769 h 207169"/>
                  <a:gd name="connsiteX57" fmla="*/ 80963 w 1116840"/>
                  <a:gd name="connsiteY57" fmla="*/ 57150 h 207169"/>
                  <a:gd name="connsiteX58" fmla="*/ 54769 w 1116840"/>
                  <a:gd name="connsiteY58" fmla="*/ 61912 h 207169"/>
                  <a:gd name="connsiteX59" fmla="*/ 47625 w 1116840"/>
                  <a:gd name="connsiteY59" fmla="*/ 64294 h 207169"/>
                  <a:gd name="connsiteX60" fmla="*/ 23813 w 1116840"/>
                  <a:gd name="connsiteY60" fmla="*/ 71437 h 207169"/>
                  <a:gd name="connsiteX61" fmla="*/ 9525 w 1116840"/>
                  <a:gd name="connsiteY61" fmla="*/ 80962 h 207169"/>
                  <a:gd name="connsiteX62" fmla="*/ 0 w 1116840"/>
                  <a:gd name="connsiteY62" fmla="*/ 104775 h 207169"/>
                  <a:gd name="connsiteX63" fmla="*/ 11907 w 1116840"/>
                  <a:gd name="connsiteY63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966788 w 1116840"/>
                  <a:gd name="connsiteY39" fmla="*/ 35719 h 207169"/>
                  <a:gd name="connsiteX40" fmla="*/ 857250 w 1116840"/>
                  <a:gd name="connsiteY40" fmla="*/ 21431 h 207169"/>
                  <a:gd name="connsiteX41" fmla="*/ 790575 w 1116840"/>
                  <a:gd name="connsiteY41" fmla="*/ 9525 h 207169"/>
                  <a:gd name="connsiteX42" fmla="*/ 702469 w 1116840"/>
                  <a:gd name="connsiteY42" fmla="*/ 7144 h 207169"/>
                  <a:gd name="connsiteX43" fmla="*/ 559594 w 1116840"/>
                  <a:gd name="connsiteY43" fmla="*/ 0 h 207169"/>
                  <a:gd name="connsiteX44" fmla="*/ 338138 w 1116840"/>
                  <a:gd name="connsiteY44" fmla="*/ 2381 h 207169"/>
                  <a:gd name="connsiteX45" fmla="*/ 295275 w 1116840"/>
                  <a:gd name="connsiteY45" fmla="*/ 7144 h 207169"/>
                  <a:gd name="connsiteX46" fmla="*/ 278607 w 1116840"/>
                  <a:gd name="connsiteY46" fmla="*/ 9525 h 207169"/>
                  <a:gd name="connsiteX47" fmla="*/ 269082 w 1116840"/>
                  <a:gd name="connsiteY47" fmla="*/ 11906 h 207169"/>
                  <a:gd name="connsiteX48" fmla="*/ 238125 w 1116840"/>
                  <a:gd name="connsiteY48" fmla="*/ 14287 h 207169"/>
                  <a:gd name="connsiteX49" fmla="*/ 216694 w 1116840"/>
                  <a:gd name="connsiteY49" fmla="*/ 21431 h 207169"/>
                  <a:gd name="connsiteX50" fmla="*/ 195263 w 1116840"/>
                  <a:gd name="connsiteY50" fmla="*/ 26194 h 207169"/>
                  <a:gd name="connsiteX51" fmla="*/ 183357 w 1116840"/>
                  <a:gd name="connsiteY51" fmla="*/ 28575 h 207169"/>
                  <a:gd name="connsiteX52" fmla="*/ 147638 w 1116840"/>
                  <a:gd name="connsiteY52" fmla="*/ 38100 h 207169"/>
                  <a:gd name="connsiteX53" fmla="*/ 128588 w 1116840"/>
                  <a:gd name="connsiteY53" fmla="*/ 45244 h 207169"/>
                  <a:gd name="connsiteX54" fmla="*/ 109538 w 1116840"/>
                  <a:gd name="connsiteY54" fmla="*/ 50006 h 207169"/>
                  <a:gd name="connsiteX55" fmla="*/ 97632 w 1116840"/>
                  <a:gd name="connsiteY55" fmla="*/ 54769 h 207169"/>
                  <a:gd name="connsiteX56" fmla="*/ 80963 w 1116840"/>
                  <a:gd name="connsiteY56" fmla="*/ 57150 h 207169"/>
                  <a:gd name="connsiteX57" fmla="*/ 54769 w 1116840"/>
                  <a:gd name="connsiteY57" fmla="*/ 61912 h 207169"/>
                  <a:gd name="connsiteX58" fmla="*/ 47625 w 1116840"/>
                  <a:gd name="connsiteY58" fmla="*/ 64294 h 207169"/>
                  <a:gd name="connsiteX59" fmla="*/ 23813 w 1116840"/>
                  <a:gd name="connsiteY59" fmla="*/ 71437 h 207169"/>
                  <a:gd name="connsiteX60" fmla="*/ 9525 w 1116840"/>
                  <a:gd name="connsiteY60" fmla="*/ 80962 h 207169"/>
                  <a:gd name="connsiteX61" fmla="*/ 0 w 1116840"/>
                  <a:gd name="connsiteY61" fmla="*/ 104775 h 207169"/>
                  <a:gd name="connsiteX62" fmla="*/ 11907 w 1116840"/>
                  <a:gd name="connsiteY62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83469 w 1117890"/>
                  <a:gd name="connsiteY32" fmla="*/ 130969 h 207169"/>
                  <a:gd name="connsiteX33" fmla="*/ 1090613 w 1117890"/>
                  <a:gd name="connsiteY33" fmla="*/ 123825 h 207169"/>
                  <a:gd name="connsiteX34" fmla="*/ 1100138 w 1117890"/>
                  <a:gd name="connsiteY34" fmla="*/ 119062 h 207169"/>
                  <a:gd name="connsiteX35" fmla="*/ 1116807 w 1117890"/>
                  <a:gd name="connsiteY35" fmla="*/ 95250 h 207169"/>
                  <a:gd name="connsiteX36" fmla="*/ 1114425 w 1117890"/>
                  <a:gd name="connsiteY36" fmla="*/ 85725 h 207169"/>
                  <a:gd name="connsiteX37" fmla="*/ 1054894 w 1117890"/>
                  <a:gd name="connsiteY37" fmla="*/ 61912 h 207169"/>
                  <a:gd name="connsiteX38" fmla="*/ 966788 w 1117890"/>
                  <a:gd name="connsiteY38" fmla="*/ 35719 h 207169"/>
                  <a:gd name="connsiteX39" fmla="*/ 857250 w 1117890"/>
                  <a:gd name="connsiteY39" fmla="*/ 21431 h 207169"/>
                  <a:gd name="connsiteX40" fmla="*/ 790575 w 1117890"/>
                  <a:gd name="connsiteY40" fmla="*/ 9525 h 207169"/>
                  <a:gd name="connsiteX41" fmla="*/ 702469 w 1117890"/>
                  <a:gd name="connsiteY41" fmla="*/ 7144 h 207169"/>
                  <a:gd name="connsiteX42" fmla="*/ 559594 w 1117890"/>
                  <a:gd name="connsiteY42" fmla="*/ 0 h 207169"/>
                  <a:gd name="connsiteX43" fmla="*/ 338138 w 1117890"/>
                  <a:gd name="connsiteY43" fmla="*/ 2381 h 207169"/>
                  <a:gd name="connsiteX44" fmla="*/ 295275 w 1117890"/>
                  <a:gd name="connsiteY44" fmla="*/ 7144 h 207169"/>
                  <a:gd name="connsiteX45" fmla="*/ 278607 w 1117890"/>
                  <a:gd name="connsiteY45" fmla="*/ 9525 h 207169"/>
                  <a:gd name="connsiteX46" fmla="*/ 269082 w 1117890"/>
                  <a:gd name="connsiteY46" fmla="*/ 11906 h 207169"/>
                  <a:gd name="connsiteX47" fmla="*/ 238125 w 1117890"/>
                  <a:gd name="connsiteY47" fmla="*/ 14287 h 207169"/>
                  <a:gd name="connsiteX48" fmla="*/ 216694 w 1117890"/>
                  <a:gd name="connsiteY48" fmla="*/ 21431 h 207169"/>
                  <a:gd name="connsiteX49" fmla="*/ 195263 w 1117890"/>
                  <a:gd name="connsiteY49" fmla="*/ 26194 h 207169"/>
                  <a:gd name="connsiteX50" fmla="*/ 183357 w 1117890"/>
                  <a:gd name="connsiteY50" fmla="*/ 28575 h 207169"/>
                  <a:gd name="connsiteX51" fmla="*/ 147638 w 1117890"/>
                  <a:gd name="connsiteY51" fmla="*/ 38100 h 207169"/>
                  <a:gd name="connsiteX52" fmla="*/ 128588 w 1117890"/>
                  <a:gd name="connsiteY52" fmla="*/ 45244 h 207169"/>
                  <a:gd name="connsiteX53" fmla="*/ 109538 w 1117890"/>
                  <a:gd name="connsiteY53" fmla="*/ 50006 h 207169"/>
                  <a:gd name="connsiteX54" fmla="*/ 97632 w 1117890"/>
                  <a:gd name="connsiteY54" fmla="*/ 54769 h 207169"/>
                  <a:gd name="connsiteX55" fmla="*/ 80963 w 1117890"/>
                  <a:gd name="connsiteY55" fmla="*/ 57150 h 207169"/>
                  <a:gd name="connsiteX56" fmla="*/ 54769 w 1117890"/>
                  <a:gd name="connsiteY56" fmla="*/ 61912 h 207169"/>
                  <a:gd name="connsiteX57" fmla="*/ 47625 w 1117890"/>
                  <a:gd name="connsiteY57" fmla="*/ 64294 h 207169"/>
                  <a:gd name="connsiteX58" fmla="*/ 23813 w 1117890"/>
                  <a:gd name="connsiteY58" fmla="*/ 71437 h 207169"/>
                  <a:gd name="connsiteX59" fmla="*/ 9525 w 1117890"/>
                  <a:gd name="connsiteY59" fmla="*/ 80962 h 207169"/>
                  <a:gd name="connsiteX60" fmla="*/ 0 w 1117890"/>
                  <a:gd name="connsiteY60" fmla="*/ 104775 h 207169"/>
                  <a:gd name="connsiteX61" fmla="*/ 11907 w 1117890"/>
                  <a:gd name="connsiteY61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90613 w 1117890"/>
                  <a:gd name="connsiteY32" fmla="*/ 123825 h 207169"/>
                  <a:gd name="connsiteX33" fmla="*/ 1100138 w 1117890"/>
                  <a:gd name="connsiteY33" fmla="*/ 119062 h 207169"/>
                  <a:gd name="connsiteX34" fmla="*/ 1116807 w 1117890"/>
                  <a:gd name="connsiteY34" fmla="*/ 95250 h 207169"/>
                  <a:gd name="connsiteX35" fmla="*/ 1114425 w 1117890"/>
                  <a:gd name="connsiteY35" fmla="*/ 85725 h 207169"/>
                  <a:gd name="connsiteX36" fmla="*/ 1054894 w 1117890"/>
                  <a:gd name="connsiteY36" fmla="*/ 61912 h 207169"/>
                  <a:gd name="connsiteX37" fmla="*/ 966788 w 1117890"/>
                  <a:gd name="connsiteY37" fmla="*/ 35719 h 207169"/>
                  <a:gd name="connsiteX38" fmla="*/ 857250 w 1117890"/>
                  <a:gd name="connsiteY38" fmla="*/ 21431 h 207169"/>
                  <a:gd name="connsiteX39" fmla="*/ 790575 w 1117890"/>
                  <a:gd name="connsiteY39" fmla="*/ 9525 h 207169"/>
                  <a:gd name="connsiteX40" fmla="*/ 702469 w 1117890"/>
                  <a:gd name="connsiteY40" fmla="*/ 7144 h 207169"/>
                  <a:gd name="connsiteX41" fmla="*/ 559594 w 1117890"/>
                  <a:gd name="connsiteY41" fmla="*/ 0 h 207169"/>
                  <a:gd name="connsiteX42" fmla="*/ 338138 w 1117890"/>
                  <a:gd name="connsiteY42" fmla="*/ 2381 h 207169"/>
                  <a:gd name="connsiteX43" fmla="*/ 295275 w 1117890"/>
                  <a:gd name="connsiteY43" fmla="*/ 7144 h 207169"/>
                  <a:gd name="connsiteX44" fmla="*/ 278607 w 1117890"/>
                  <a:gd name="connsiteY44" fmla="*/ 9525 h 207169"/>
                  <a:gd name="connsiteX45" fmla="*/ 269082 w 1117890"/>
                  <a:gd name="connsiteY45" fmla="*/ 11906 h 207169"/>
                  <a:gd name="connsiteX46" fmla="*/ 238125 w 1117890"/>
                  <a:gd name="connsiteY46" fmla="*/ 14287 h 207169"/>
                  <a:gd name="connsiteX47" fmla="*/ 216694 w 1117890"/>
                  <a:gd name="connsiteY47" fmla="*/ 21431 h 207169"/>
                  <a:gd name="connsiteX48" fmla="*/ 195263 w 1117890"/>
                  <a:gd name="connsiteY48" fmla="*/ 26194 h 207169"/>
                  <a:gd name="connsiteX49" fmla="*/ 183357 w 1117890"/>
                  <a:gd name="connsiteY49" fmla="*/ 28575 h 207169"/>
                  <a:gd name="connsiteX50" fmla="*/ 147638 w 1117890"/>
                  <a:gd name="connsiteY50" fmla="*/ 38100 h 207169"/>
                  <a:gd name="connsiteX51" fmla="*/ 128588 w 1117890"/>
                  <a:gd name="connsiteY51" fmla="*/ 45244 h 207169"/>
                  <a:gd name="connsiteX52" fmla="*/ 109538 w 1117890"/>
                  <a:gd name="connsiteY52" fmla="*/ 50006 h 207169"/>
                  <a:gd name="connsiteX53" fmla="*/ 97632 w 1117890"/>
                  <a:gd name="connsiteY53" fmla="*/ 54769 h 207169"/>
                  <a:gd name="connsiteX54" fmla="*/ 80963 w 1117890"/>
                  <a:gd name="connsiteY54" fmla="*/ 57150 h 207169"/>
                  <a:gd name="connsiteX55" fmla="*/ 54769 w 1117890"/>
                  <a:gd name="connsiteY55" fmla="*/ 61912 h 207169"/>
                  <a:gd name="connsiteX56" fmla="*/ 47625 w 1117890"/>
                  <a:gd name="connsiteY56" fmla="*/ 64294 h 207169"/>
                  <a:gd name="connsiteX57" fmla="*/ 23813 w 1117890"/>
                  <a:gd name="connsiteY57" fmla="*/ 71437 h 207169"/>
                  <a:gd name="connsiteX58" fmla="*/ 9525 w 1117890"/>
                  <a:gd name="connsiteY58" fmla="*/ 80962 h 207169"/>
                  <a:gd name="connsiteX59" fmla="*/ 0 w 1117890"/>
                  <a:gd name="connsiteY59" fmla="*/ 104775 h 207169"/>
                  <a:gd name="connsiteX60" fmla="*/ 11907 w 1117890"/>
                  <a:gd name="connsiteY60" fmla="*/ 111919 h 207169"/>
                  <a:gd name="connsiteX0" fmla="*/ 11907 w 1118595"/>
                  <a:gd name="connsiteY0" fmla="*/ 111919 h 207169"/>
                  <a:gd name="connsiteX1" fmla="*/ 23813 w 1118595"/>
                  <a:gd name="connsiteY1" fmla="*/ 121444 h 207169"/>
                  <a:gd name="connsiteX2" fmla="*/ 28575 w 1118595"/>
                  <a:gd name="connsiteY2" fmla="*/ 128587 h 207169"/>
                  <a:gd name="connsiteX3" fmla="*/ 40482 w 1118595"/>
                  <a:gd name="connsiteY3" fmla="*/ 135731 h 207169"/>
                  <a:gd name="connsiteX4" fmla="*/ 47625 w 1118595"/>
                  <a:gd name="connsiteY4" fmla="*/ 140494 h 207169"/>
                  <a:gd name="connsiteX5" fmla="*/ 78582 w 1118595"/>
                  <a:gd name="connsiteY5" fmla="*/ 145256 h 207169"/>
                  <a:gd name="connsiteX6" fmla="*/ 104775 w 1118595"/>
                  <a:gd name="connsiteY6" fmla="*/ 150019 h 207169"/>
                  <a:gd name="connsiteX7" fmla="*/ 128588 w 1118595"/>
                  <a:gd name="connsiteY7" fmla="*/ 152400 h 207169"/>
                  <a:gd name="connsiteX8" fmla="*/ 161925 w 1118595"/>
                  <a:gd name="connsiteY8" fmla="*/ 161925 h 207169"/>
                  <a:gd name="connsiteX9" fmla="*/ 178594 w 1118595"/>
                  <a:gd name="connsiteY9" fmla="*/ 164306 h 207169"/>
                  <a:gd name="connsiteX10" fmla="*/ 202407 w 1118595"/>
                  <a:gd name="connsiteY10" fmla="*/ 169069 h 207169"/>
                  <a:gd name="connsiteX11" fmla="*/ 209550 w 1118595"/>
                  <a:gd name="connsiteY11" fmla="*/ 171450 h 207169"/>
                  <a:gd name="connsiteX12" fmla="*/ 238125 w 1118595"/>
                  <a:gd name="connsiteY12" fmla="*/ 178594 h 207169"/>
                  <a:gd name="connsiteX13" fmla="*/ 285750 w 1118595"/>
                  <a:gd name="connsiteY13" fmla="*/ 192881 h 207169"/>
                  <a:gd name="connsiteX14" fmla="*/ 378619 w 1118595"/>
                  <a:gd name="connsiteY14" fmla="*/ 195262 h 207169"/>
                  <a:gd name="connsiteX15" fmla="*/ 402432 w 1118595"/>
                  <a:gd name="connsiteY15" fmla="*/ 200025 h 207169"/>
                  <a:gd name="connsiteX16" fmla="*/ 457200 w 1118595"/>
                  <a:gd name="connsiteY16" fmla="*/ 207169 h 207169"/>
                  <a:gd name="connsiteX17" fmla="*/ 604838 w 1118595"/>
                  <a:gd name="connsiteY17" fmla="*/ 204787 h 207169"/>
                  <a:gd name="connsiteX18" fmla="*/ 623888 w 1118595"/>
                  <a:gd name="connsiteY18" fmla="*/ 200025 h 207169"/>
                  <a:gd name="connsiteX19" fmla="*/ 676275 w 1118595"/>
                  <a:gd name="connsiteY19" fmla="*/ 197644 h 207169"/>
                  <a:gd name="connsiteX20" fmla="*/ 697707 w 1118595"/>
                  <a:gd name="connsiteY20" fmla="*/ 192881 h 207169"/>
                  <a:gd name="connsiteX21" fmla="*/ 707232 w 1118595"/>
                  <a:gd name="connsiteY21" fmla="*/ 190500 h 207169"/>
                  <a:gd name="connsiteX22" fmla="*/ 797719 w 1118595"/>
                  <a:gd name="connsiteY22" fmla="*/ 188119 h 207169"/>
                  <a:gd name="connsiteX23" fmla="*/ 823913 w 1118595"/>
                  <a:gd name="connsiteY23" fmla="*/ 180975 h 207169"/>
                  <a:gd name="connsiteX24" fmla="*/ 842963 w 1118595"/>
                  <a:gd name="connsiteY24" fmla="*/ 176212 h 207169"/>
                  <a:gd name="connsiteX25" fmla="*/ 866775 w 1118595"/>
                  <a:gd name="connsiteY25" fmla="*/ 173831 h 207169"/>
                  <a:gd name="connsiteX26" fmla="*/ 940594 w 1118595"/>
                  <a:gd name="connsiteY26" fmla="*/ 169069 h 207169"/>
                  <a:gd name="connsiteX27" fmla="*/ 971550 w 1118595"/>
                  <a:gd name="connsiteY27" fmla="*/ 166687 h 207169"/>
                  <a:gd name="connsiteX28" fmla="*/ 992982 w 1118595"/>
                  <a:gd name="connsiteY28" fmla="*/ 161925 h 207169"/>
                  <a:gd name="connsiteX29" fmla="*/ 1007269 w 1118595"/>
                  <a:gd name="connsiteY29" fmla="*/ 159544 h 207169"/>
                  <a:gd name="connsiteX30" fmla="*/ 1035844 w 1118595"/>
                  <a:gd name="connsiteY30" fmla="*/ 152400 h 207169"/>
                  <a:gd name="connsiteX31" fmla="*/ 1052513 w 1118595"/>
                  <a:gd name="connsiteY31" fmla="*/ 142875 h 207169"/>
                  <a:gd name="connsiteX32" fmla="*/ 1090613 w 1118595"/>
                  <a:gd name="connsiteY32" fmla="*/ 123825 h 207169"/>
                  <a:gd name="connsiteX33" fmla="*/ 1116807 w 1118595"/>
                  <a:gd name="connsiteY33" fmla="*/ 95250 h 207169"/>
                  <a:gd name="connsiteX34" fmla="*/ 1114425 w 1118595"/>
                  <a:gd name="connsiteY34" fmla="*/ 85725 h 207169"/>
                  <a:gd name="connsiteX35" fmla="*/ 1054894 w 1118595"/>
                  <a:gd name="connsiteY35" fmla="*/ 61912 h 207169"/>
                  <a:gd name="connsiteX36" fmla="*/ 966788 w 1118595"/>
                  <a:gd name="connsiteY36" fmla="*/ 35719 h 207169"/>
                  <a:gd name="connsiteX37" fmla="*/ 857250 w 1118595"/>
                  <a:gd name="connsiteY37" fmla="*/ 21431 h 207169"/>
                  <a:gd name="connsiteX38" fmla="*/ 790575 w 1118595"/>
                  <a:gd name="connsiteY38" fmla="*/ 9525 h 207169"/>
                  <a:gd name="connsiteX39" fmla="*/ 702469 w 1118595"/>
                  <a:gd name="connsiteY39" fmla="*/ 7144 h 207169"/>
                  <a:gd name="connsiteX40" fmla="*/ 559594 w 1118595"/>
                  <a:gd name="connsiteY40" fmla="*/ 0 h 207169"/>
                  <a:gd name="connsiteX41" fmla="*/ 338138 w 1118595"/>
                  <a:gd name="connsiteY41" fmla="*/ 2381 h 207169"/>
                  <a:gd name="connsiteX42" fmla="*/ 295275 w 1118595"/>
                  <a:gd name="connsiteY42" fmla="*/ 7144 h 207169"/>
                  <a:gd name="connsiteX43" fmla="*/ 278607 w 1118595"/>
                  <a:gd name="connsiteY43" fmla="*/ 9525 h 207169"/>
                  <a:gd name="connsiteX44" fmla="*/ 269082 w 1118595"/>
                  <a:gd name="connsiteY44" fmla="*/ 11906 h 207169"/>
                  <a:gd name="connsiteX45" fmla="*/ 238125 w 1118595"/>
                  <a:gd name="connsiteY45" fmla="*/ 14287 h 207169"/>
                  <a:gd name="connsiteX46" fmla="*/ 216694 w 1118595"/>
                  <a:gd name="connsiteY46" fmla="*/ 21431 h 207169"/>
                  <a:gd name="connsiteX47" fmla="*/ 195263 w 1118595"/>
                  <a:gd name="connsiteY47" fmla="*/ 26194 h 207169"/>
                  <a:gd name="connsiteX48" fmla="*/ 183357 w 1118595"/>
                  <a:gd name="connsiteY48" fmla="*/ 28575 h 207169"/>
                  <a:gd name="connsiteX49" fmla="*/ 147638 w 1118595"/>
                  <a:gd name="connsiteY49" fmla="*/ 38100 h 207169"/>
                  <a:gd name="connsiteX50" fmla="*/ 128588 w 1118595"/>
                  <a:gd name="connsiteY50" fmla="*/ 45244 h 207169"/>
                  <a:gd name="connsiteX51" fmla="*/ 109538 w 1118595"/>
                  <a:gd name="connsiteY51" fmla="*/ 50006 h 207169"/>
                  <a:gd name="connsiteX52" fmla="*/ 97632 w 1118595"/>
                  <a:gd name="connsiteY52" fmla="*/ 54769 h 207169"/>
                  <a:gd name="connsiteX53" fmla="*/ 80963 w 1118595"/>
                  <a:gd name="connsiteY53" fmla="*/ 57150 h 207169"/>
                  <a:gd name="connsiteX54" fmla="*/ 54769 w 1118595"/>
                  <a:gd name="connsiteY54" fmla="*/ 61912 h 207169"/>
                  <a:gd name="connsiteX55" fmla="*/ 47625 w 1118595"/>
                  <a:gd name="connsiteY55" fmla="*/ 64294 h 207169"/>
                  <a:gd name="connsiteX56" fmla="*/ 23813 w 1118595"/>
                  <a:gd name="connsiteY56" fmla="*/ 71437 h 207169"/>
                  <a:gd name="connsiteX57" fmla="*/ 9525 w 1118595"/>
                  <a:gd name="connsiteY57" fmla="*/ 80962 h 207169"/>
                  <a:gd name="connsiteX58" fmla="*/ 0 w 1118595"/>
                  <a:gd name="connsiteY58" fmla="*/ 104775 h 207169"/>
                  <a:gd name="connsiteX59" fmla="*/ 11907 w 1118595"/>
                  <a:gd name="connsiteY5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992982 w 1121416"/>
                  <a:gd name="connsiteY28" fmla="*/ 161925 h 207169"/>
                  <a:gd name="connsiteX29" fmla="*/ 1007269 w 1121416"/>
                  <a:gd name="connsiteY29" fmla="*/ 159544 h 207169"/>
                  <a:gd name="connsiteX30" fmla="*/ 1035844 w 1121416"/>
                  <a:gd name="connsiteY30" fmla="*/ 152400 h 207169"/>
                  <a:gd name="connsiteX31" fmla="*/ 1052513 w 1121416"/>
                  <a:gd name="connsiteY31" fmla="*/ 142875 h 207169"/>
                  <a:gd name="connsiteX32" fmla="*/ 1116807 w 1121416"/>
                  <a:gd name="connsiteY32" fmla="*/ 95250 h 207169"/>
                  <a:gd name="connsiteX33" fmla="*/ 1114425 w 1121416"/>
                  <a:gd name="connsiteY33" fmla="*/ 85725 h 207169"/>
                  <a:gd name="connsiteX34" fmla="*/ 1054894 w 1121416"/>
                  <a:gd name="connsiteY34" fmla="*/ 61912 h 207169"/>
                  <a:gd name="connsiteX35" fmla="*/ 966788 w 1121416"/>
                  <a:gd name="connsiteY35" fmla="*/ 35719 h 207169"/>
                  <a:gd name="connsiteX36" fmla="*/ 857250 w 1121416"/>
                  <a:gd name="connsiteY36" fmla="*/ 21431 h 207169"/>
                  <a:gd name="connsiteX37" fmla="*/ 790575 w 1121416"/>
                  <a:gd name="connsiteY37" fmla="*/ 9525 h 207169"/>
                  <a:gd name="connsiteX38" fmla="*/ 702469 w 1121416"/>
                  <a:gd name="connsiteY38" fmla="*/ 7144 h 207169"/>
                  <a:gd name="connsiteX39" fmla="*/ 559594 w 1121416"/>
                  <a:gd name="connsiteY39" fmla="*/ 0 h 207169"/>
                  <a:gd name="connsiteX40" fmla="*/ 338138 w 1121416"/>
                  <a:gd name="connsiteY40" fmla="*/ 2381 h 207169"/>
                  <a:gd name="connsiteX41" fmla="*/ 295275 w 1121416"/>
                  <a:gd name="connsiteY41" fmla="*/ 7144 h 207169"/>
                  <a:gd name="connsiteX42" fmla="*/ 278607 w 1121416"/>
                  <a:gd name="connsiteY42" fmla="*/ 9525 h 207169"/>
                  <a:gd name="connsiteX43" fmla="*/ 269082 w 1121416"/>
                  <a:gd name="connsiteY43" fmla="*/ 11906 h 207169"/>
                  <a:gd name="connsiteX44" fmla="*/ 238125 w 1121416"/>
                  <a:gd name="connsiteY44" fmla="*/ 14287 h 207169"/>
                  <a:gd name="connsiteX45" fmla="*/ 216694 w 1121416"/>
                  <a:gd name="connsiteY45" fmla="*/ 21431 h 207169"/>
                  <a:gd name="connsiteX46" fmla="*/ 195263 w 1121416"/>
                  <a:gd name="connsiteY46" fmla="*/ 26194 h 207169"/>
                  <a:gd name="connsiteX47" fmla="*/ 183357 w 1121416"/>
                  <a:gd name="connsiteY47" fmla="*/ 28575 h 207169"/>
                  <a:gd name="connsiteX48" fmla="*/ 147638 w 1121416"/>
                  <a:gd name="connsiteY48" fmla="*/ 38100 h 207169"/>
                  <a:gd name="connsiteX49" fmla="*/ 128588 w 1121416"/>
                  <a:gd name="connsiteY49" fmla="*/ 45244 h 207169"/>
                  <a:gd name="connsiteX50" fmla="*/ 109538 w 1121416"/>
                  <a:gd name="connsiteY50" fmla="*/ 50006 h 207169"/>
                  <a:gd name="connsiteX51" fmla="*/ 97632 w 1121416"/>
                  <a:gd name="connsiteY51" fmla="*/ 54769 h 207169"/>
                  <a:gd name="connsiteX52" fmla="*/ 80963 w 1121416"/>
                  <a:gd name="connsiteY52" fmla="*/ 57150 h 207169"/>
                  <a:gd name="connsiteX53" fmla="*/ 54769 w 1121416"/>
                  <a:gd name="connsiteY53" fmla="*/ 61912 h 207169"/>
                  <a:gd name="connsiteX54" fmla="*/ 47625 w 1121416"/>
                  <a:gd name="connsiteY54" fmla="*/ 64294 h 207169"/>
                  <a:gd name="connsiteX55" fmla="*/ 23813 w 1121416"/>
                  <a:gd name="connsiteY55" fmla="*/ 71437 h 207169"/>
                  <a:gd name="connsiteX56" fmla="*/ 9525 w 1121416"/>
                  <a:gd name="connsiteY56" fmla="*/ 80962 h 207169"/>
                  <a:gd name="connsiteX57" fmla="*/ 0 w 1121416"/>
                  <a:gd name="connsiteY57" fmla="*/ 104775 h 207169"/>
                  <a:gd name="connsiteX58" fmla="*/ 11907 w 1121416"/>
                  <a:gd name="connsiteY5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07269 w 1121416"/>
                  <a:gd name="connsiteY28" fmla="*/ 159544 h 207169"/>
                  <a:gd name="connsiteX29" fmla="*/ 1035844 w 1121416"/>
                  <a:gd name="connsiteY29" fmla="*/ 152400 h 207169"/>
                  <a:gd name="connsiteX30" fmla="*/ 1052513 w 1121416"/>
                  <a:gd name="connsiteY30" fmla="*/ 142875 h 207169"/>
                  <a:gd name="connsiteX31" fmla="*/ 1116807 w 1121416"/>
                  <a:gd name="connsiteY31" fmla="*/ 95250 h 207169"/>
                  <a:gd name="connsiteX32" fmla="*/ 1114425 w 1121416"/>
                  <a:gd name="connsiteY32" fmla="*/ 85725 h 207169"/>
                  <a:gd name="connsiteX33" fmla="*/ 1054894 w 1121416"/>
                  <a:gd name="connsiteY33" fmla="*/ 61912 h 207169"/>
                  <a:gd name="connsiteX34" fmla="*/ 966788 w 1121416"/>
                  <a:gd name="connsiteY34" fmla="*/ 35719 h 207169"/>
                  <a:gd name="connsiteX35" fmla="*/ 857250 w 1121416"/>
                  <a:gd name="connsiteY35" fmla="*/ 21431 h 207169"/>
                  <a:gd name="connsiteX36" fmla="*/ 790575 w 1121416"/>
                  <a:gd name="connsiteY36" fmla="*/ 9525 h 207169"/>
                  <a:gd name="connsiteX37" fmla="*/ 702469 w 1121416"/>
                  <a:gd name="connsiteY37" fmla="*/ 7144 h 207169"/>
                  <a:gd name="connsiteX38" fmla="*/ 559594 w 1121416"/>
                  <a:gd name="connsiteY38" fmla="*/ 0 h 207169"/>
                  <a:gd name="connsiteX39" fmla="*/ 338138 w 1121416"/>
                  <a:gd name="connsiteY39" fmla="*/ 2381 h 207169"/>
                  <a:gd name="connsiteX40" fmla="*/ 295275 w 1121416"/>
                  <a:gd name="connsiteY40" fmla="*/ 7144 h 207169"/>
                  <a:gd name="connsiteX41" fmla="*/ 278607 w 1121416"/>
                  <a:gd name="connsiteY41" fmla="*/ 9525 h 207169"/>
                  <a:gd name="connsiteX42" fmla="*/ 269082 w 1121416"/>
                  <a:gd name="connsiteY42" fmla="*/ 11906 h 207169"/>
                  <a:gd name="connsiteX43" fmla="*/ 238125 w 1121416"/>
                  <a:gd name="connsiteY43" fmla="*/ 14287 h 207169"/>
                  <a:gd name="connsiteX44" fmla="*/ 216694 w 1121416"/>
                  <a:gd name="connsiteY44" fmla="*/ 21431 h 207169"/>
                  <a:gd name="connsiteX45" fmla="*/ 195263 w 1121416"/>
                  <a:gd name="connsiteY45" fmla="*/ 26194 h 207169"/>
                  <a:gd name="connsiteX46" fmla="*/ 183357 w 1121416"/>
                  <a:gd name="connsiteY46" fmla="*/ 28575 h 207169"/>
                  <a:gd name="connsiteX47" fmla="*/ 147638 w 1121416"/>
                  <a:gd name="connsiteY47" fmla="*/ 38100 h 207169"/>
                  <a:gd name="connsiteX48" fmla="*/ 128588 w 1121416"/>
                  <a:gd name="connsiteY48" fmla="*/ 45244 h 207169"/>
                  <a:gd name="connsiteX49" fmla="*/ 109538 w 1121416"/>
                  <a:gd name="connsiteY49" fmla="*/ 50006 h 207169"/>
                  <a:gd name="connsiteX50" fmla="*/ 97632 w 1121416"/>
                  <a:gd name="connsiteY50" fmla="*/ 54769 h 207169"/>
                  <a:gd name="connsiteX51" fmla="*/ 80963 w 1121416"/>
                  <a:gd name="connsiteY51" fmla="*/ 57150 h 207169"/>
                  <a:gd name="connsiteX52" fmla="*/ 54769 w 1121416"/>
                  <a:gd name="connsiteY52" fmla="*/ 61912 h 207169"/>
                  <a:gd name="connsiteX53" fmla="*/ 47625 w 1121416"/>
                  <a:gd name="connsiteY53" fmla="*/ 64294 h 207169"/>
                  <a:gd name="connsiteX54" fmla="*/ 23813 w 1121416"/>
                  <a:gd name="connsiteY54" fmla="*/ 71437 h 207169"/>
                  <a:gd name="connsiteX55" fmla="*/ 9525 w 1121416"/>
                  <a:gd name="connsiteY55" fmla="*/ 80962 h 207169"/>
                  <a:gd name="connsiteX56" fmla="*/ 0 w 1121416"/>
                  <a:gd name="connsiteY56" fmla="*/ 104775 h 207169"/>
                  <a:gd name="connsiteX57" fmla="*/ 11907 w 1121416"/>
                  <a:gd name="connsiteY5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35844 w 1121416"/>
                  <a:gd name="connsiteY28" fmla="*/ 152400 h 207169"/>
                  <a:gd name="connsiteX29" fmla="*/ 1052513 w 1121416"/>
                  <a:gd name="connsiteY29" fmla="*/ 142875 h 207169"/>
                  <a:gd name="connsiteX30" fmla="*/ 1116807 w 1121416"/>
                  <a:gd name="connsiteY30" fmla="*/ 95250 h 207169"/>
                  <a:gd name="connsiteX31" fmla="*/ 1114425 w 1121416"/>
                  <a:gd name="connsiteY31" fmla="*/ 85725 h 207169"/>
                  <a:gd name="connsiteX32" fmla="*/ 1054894 w 1121416"/>
                  <a:gd name="connsiteY32" fmla="*/ 61912 h 207169"/>
                  <a:gd name="connsiteX33" fmla="*/ 966788 w 1121416"/>
                  <a:gd name="connsiteY33" fmla="*/ 35719 h 207169"/>
                  <a:gd name="connsiteX34" fmla="*/ 857250 w 1121416"/>
                  <a:gd name="connsiteY34" fmla="*/ 21431 h 207169"/>
                  <a:gd name="connsiteX35" fmla="*/ 790575 w 1121416"/>
                  <a:gd name="connsiteY35" fmla="*/ 9525 h 207169"/>
                  <a:gd name="connsiteX36" fmla="*/ 702469 w 1121416"/>
                  <a:gd name="connsiteY36" fmla="*/ 7144 h 207169"/>
                  <a:gd name="connsiteX37" fmla="*/ 559594 w 1121416"/>
                  <a:gd name="connsiteY37" fmla="*/ 0 h 207169"/>
                  <a:gd name="connsiteX38" fmla="*/ 338138 w 1121416"/>
                  <a:gd name="connsiteY38" fmla="*/ 2381 h 207169"/>
                  <a:gd name="connsiteX39" fmla="*/ 295275 w 1121416"/>
                  <a:gd name="connsiteY39" fmla="*/ 7144 h 207169"/>
                  <a:gd name="connsiteX40" fmla="*/ 278607 w 1121416"/>
                  <a:gd name="connsiteY40" fmla="*/ 9525 h 207169"/>
                  <a:gd name="connsiteX41" fmla="*/ 269082 w 1121416"/>
                  <a:gd name="connsiteY41" fmla="*/ 11906 h 207169"/>
                  <a:gd name="connsiteX42" fmla="*/ 238125 w 1121416"/>
                  <a:gd name="connsiteY42" fmla="*/ 14287 h 207169"/>
                  <a:gd name="connsiteX43" fmla="*/ 216694 w 1121416"/>
                  <a:gd name="connsiteY43" fmla="*/ 21431 h 207169"/>
                  <a:gd name="connsiteX44" fmla="*/ 195263 w 1121416"/>
                  <a:gd name="connsiteY44" fmla="*/ 26194 h 207169"/>
                  <a:gd name="connsiteX45" fmla="*/ 183357 w 1121416"/>
                  <a:gd name="connsiteY45" fmla="*/ 28575 h 207169"/>
                  <a:gd name="connsiteX46" fmla="*/ 147638 w 1121416"/>
                  <a:gd name="connsiteY46" fmla="*/ 38100 h 207169"/>
                  <a:gd name="connsiteX47" fmla="*/ 128588 w 1121416"/>
                  <a:gd name="connsiteY47" fmla="*/ 45244 h 207169"/>
                  <a:gd name="connsiteX48" fmla="*/ 109538 w 1121416"/>
                  <a:gd name="connsiteY48" fmla="*/ 50006 h 207169"/>
                  <a:gd name="connsiteX49" fmla="*/ 97632 w 1121416"/>
                  <a:gd name="connsiteY49" fmla="*/ 54769 h 207169"/>
                  <a:gd name="connsiteX50" fmla="*/ 80963 w 1121416"/>
                  <a:gd name="connsiteY50" fmla="*/ 57150 h 207169"/>
                  <a:gd name="connsiteX51" fmla="*/ 54769 w 1121416"/>
                  <a:gd name="connsiteY51" fmla="*/ 61912 h 207169"/>
                  <a:gd name="connsiteX52" fmla="*/ 47625 w 1121416"/>
                  <a:gd name="connsiteY52" fmla="*/ 64294 h 207169"/>
                  <a:gd name="connsiteX53" fmla="*/ 23813 w 1121416"/>
                  <a:gd name="connsiteY53" fmla="*/ 71437 h 207169"/>
                  <a:gd name="connsiteX54" fmla="*/ 9525 w 1121416"/>
                  <a:gd name="connsiteY54" fmla="*/ 80962 h 207169"/>
                  <a:gd name="connsiteX55" fmla="*/ 0 w 1121416"/>
                  <a:gd name="connsiteY55" fmla="*/ 104775 h 207169"/>
                  <a:gd name="connsiteX56" fmla="*/ 11907 w 1121416"/>
                  <a:gd name="connsiteY5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52513 w 1121416"/>
                  <a:gd name="connsiteY28" fmla="*/ 142875 h 207169"/>
                  <a:gd name="connsiteX29" fmla="*/ 1116807 w 1121416"/>
                  <a:gd name="connsiteY29" fmla="*/ 95250 h 207169"/>
                  <a:gd name="connsiteX30" fmla="*/ 1114425 w 1121416"/>
                  <a:gd name="connsiteY30" fmla="*/ 85725 h 207169"/>
                  <a:gd name="connsiteX31" fmla="*/ 1054894 w 1121416"/>
                  <a:gd name="connsiteY31" fmla="*/ 61912 h 207169"/>
                  <a:gd name="connsiteX32" fmla="*/ 966788 w 1121416"/>
                  <a:gd name="connsiteY32" fmla="*/ 35719 h 207169"/>
                  <a:gd name="connsiteX33" fmla="*/ 857250 w 1121416"/>
                  <a:gd name="connsiteY33" fmla="*/ 21431 h 207169"/>
                  <a:gd name="connsiteX34" fmla="*/ 790575 w 1121416"/>
                  <a:gd name="connsiteY34" fmla="*/ 9525 h 207169"/>
                  <a:gd name="connsiteX35" fmla="*/ 702469 w 1121416"/>
                  <a:gd name="connsiteY35" fmla="*/ 7144 h 207169"/>
                  <a:gd name="connsiteX36" fmla="*/ 559594 w 1121416"/>
                  <a:gd name="connsiteY36" fmla="*/ 0 h 207169"/>
                  <a:gd name="connsiteX37" fmla="*/ 338138 w 1121416"/>
                  <a:gd name="connsiteY37" fmla="*/ 2381 h 207169"/>
                  <a:gd name="connsiteX38" fmla="*/ 295275 w 1121416"/>
                  <a:gd name="connsiteY38" fmla="*/ 7144 h 207169"/>
                  <a:gd name="connsiteX39" fmla="*/ 278607 w 1121416"/>
                  <a:gd name="connsiteY39" fmla="*/ 9525 h 207169"/>
                  <a:gd name="connsiteX40" fmla="*/ 269082 w 1121416"/>
                  <a:gd name="connsiteY40" fmla="*/ 11906 h 207169"/>
                  <a:gd name="connsiteX41" fmla="*/ 238125 w 1121416"/>
                  <a:gd name="connsiteY41" fmla="*/ 14287 h 207169"/>
                  <a:gd name="connsiteX42" fmla="*/ 216694 w 1121416"/>
                  <a:gd name="connsiteY42" fmla="*/ 21431 h 207169"/>
                  <a:gd name="connsiteX43" fmla="*/ 195263 w 1121416"/>
                  <a:gd name="connsiteY43" fmla="*/ 26194 h 207169"/>
                  <a:gd name="connsiteX44" fmla="*/ 183357 w 1121416"/>
                  <a:gd name="connsiteY44" fmla="*/ 28575 h 207169"/>
                  <a:gd name="connsiteX45" fmla="*/ 147638 w 1121416"/>
                  <a:gd name="connsiteY45" fmla="*/ 38100 h 207169"/>
                  <a:gd name="connsiteX46" fmla="*/ 128588 w 1121416"/>
                  <a:gd name="connsiteY46" fmla="*/ 45244 h 207169"/>
                  <a:gd name="connsiteX47" fmla="*/ 109538 w 1121416"/>
                  <a:gd name="connsiteY47" fmla="*/ 50006 h 207169"/>
                  <a:gd name="connsiteX48" fmla="*/ 97632 w 1121416"/>
                  <a:gd name="connsiteY48" fmla="*/ 54769 h 207169"/>
                  <a:gd name="connsiteX49" fmla="*/ 80963 w 1121416"/>
                  <a:gd name="connsiteY49" fmla="*/ 57150 h 207169"/>
                  <a:gd name="connsiteX50" fmla="*/ 54769 w 1121416"/>
                  <a:gd name="connsiteY50" fmla="*/ 61912 h 207169"/>
                  <a:gd name="connsiteX51" fmla="*/ 47625 w 1121416"/>
                  <a:gd name="connsiteY51" fmla="*/ 64294 h 207169"/>
                  <a:gd name="connsiteX52" fmla="*/ 23813 w 1121416"/>
                  <a:gd name="connsiteY52" fmla="*/ 71437 h 207169"/>
                  <a:gd name="connsiteX53" fmla="*/ 9525 w 1121416"/>
                  <a:gd name="connsiteY53" fmla="*/ 80962 h 207169"/>
                  <a:gd name="connsiteX54" fmla="*/ 0 w 1121416"/>
                  <a:gd name="connsiteY54" fmla="*/ 104775 h 207169"/>
                  <a:gd name="connsiteX55" fmla="*/ 11907 w 1121416"/>
                  <a:gd name="connsiteY5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66775 w 1121416"/>
                  <a:gd name="connsiteY24" fmla="*/ 173831 h 207169"/>
                  <a:gd name="connsiteX25" fmla="*/ 940594 w 1121416"/>
                  <a:gd name="connsiteY25" fmla="*/ 169069 h 207169"/>
                  <a:gd name="connsiteX26" fmla="*/ 971550 w 1121416"/>
                  <a:gd name="connsiteY26" fmla="*/ 166687 h 207169"/>
                  <a:gd name="connsiteX27" fmla="*/ 1052513 w 1121416"/>
                  <a:gd name="connsiteY27" fmla="*/ 142875 h 207169"/>
                  <a:gd name="connsiteX28" fmla="*/ 1116807 w 1121416"/>
                  <a:gd name="connsiteY28" fmla="*/ 95250 h 207169"/>
                  <a:gd name="connsiteX29" fmla="*/ 1114425 w 1121416"/>
                  <a:gd name="connsiteY29" fmla="*/ 85725 h 207169"/>
                  <a:gd name="connsiteX30" fmla="*/ 1054894 w 1121416"/>
                  <a:gd name="connsiteY30" fmla="*/ 61912 h 207169"/>
                  <a:gd name="connsiteX31" fmla="*/ 966788 w 1121416"/>
                  <a:gd name="connsiteY31" fmla="*/ 35719 h 207169"/>
                  <a:gd name="connsiteX32" fmla="*/ 857250 w 1121416"/>
                  <a:gd name="connsiteY32" fmla="*/ 21431 h 207169"/>
                  <a:gd name="connsiteX33" fmla="*/ 790575 w 1121416"/>
                  <a:gd name="connsiteY33" fmla="*/ 9525 h 207169"/>
                  <a:gd name="connsiteX34" fmla="*/ 702469 w 1121416"/>
                  <a:gd name="connsiteY34" fmla="*/ 7144 h 207169"/>
                  <a:gd name="connsiteX35" fmla="*/ 559594 w 1121416"/>
                  <a:gd name="connsiteY35" fmla="*/ 0 h 207169"/>
                  <a:gd name="connsiteX36" fmla="*/ 338138 w 1121416"/>
                  <a:gd name="connsiteY36" fmla="*/ 2381 h 207169"/>
                  <a:gd name="connsiteX37" fmla="*/ 295275 w 1121416"/>
                  <a:gd name="connsiteY37" fmla="*/ 7144 h 207169"/>
                  <a:gd name="connsiteX38" fmla="*/ 278607 w 1121416"/>
                  <a:gd name="connsiteY38" fmla="*/ 9525 h 207169"/>
                  <a:gd name="connsiteX39" fmla="*/ 269082 w 1121416"/>
                  <a:gd name="connsiteY39" fmla="*/ 11906 h 207169"/>
                  <a:gd name="connsiteX40" fmla="*/ 238125 w 1121416"/>
                  <a:gd name="connsiteY40" fmla="*/ 14287 h 207169"/>
                  <a:gd name="connsiteX41" fmla="*/ 216694 w 1121416"/>
                  <a:gd name="connsiteY41" fmla="*/ 21431 h 207169"/>
                  <a:gd name="connsiteX42" fmla="*/ 195263 w 1121416"/>
                  <a:gd name="connsiteY42" fmla="*/ 26194 h 207169"/>
                  <a:gd name="connsiteX43" fmla="*/ 183357 w 1121416"/>
                  <a:gd name="connsiteY43" fmla="*/ 28575 h 207169"/>
                  <a:gd name="connsiteX44" fmla="*/ 147638 w 1121416"/>
                  <a:gd name="connsiteY44" fmla="*/ 38100 h 207169"/>
                  <a:gd name="connsiteX45" fmla="*/ 128588 w 1121416"/>
                  <a:gd name="connsiteY45" fmla="*/ 45244 h 207169"/>
                  <a:gd name="connsiteX46" fmla="*/ 109538 w 1121416"/>
                  <a:gd name="connsiteY46" fmla="*/ 50006 h 207169"/>
                  <a:gd name="connsiteX47" fmla="*/ 97632 w 1121416"/>
                  <a:gd name="connsiteY47" fmla="*/ 54769 h 207169"/>
                  <a:gd name="connsiteX48" fmla="*/ 80963 w 1121416"/>
                  <a:gd name="connsiteY48" fmla="*/ 57150 h 207169"/>
                  <a:gd name="connsiteX49" fmla="*/ 54769 w 1121416"/>
                  <a:gd name="connsiteY49" fmla="*/ 61912 h 207169"/>
                  <a:gd name="connsiteX50" fmla="*/ 47625 w 1121416"/>
                  <a:gd name="connsiteY50" fmla="*/ 64294 h 207169"/>
                  <a:gd name="connsiteX51" fmla="*/ 23813 w 1121416"/>
                  <a:gd name="connsiteY51" fmla="*/ 71437 h 207169"/>
                  <a:gd name="connsiteX52" fmla="*/ 9525 w 1121416"/>
                  <a:gd name="connsiteY52" fmla="*/ 80962 h 207169"/>
                  <a:gd name="connsiteX53" fmla="*/ 0 w 1121416"/>
                  <a:gd name="connsiteY53" fmla="*/ 104775 h 207169"/>
                  <a:gd name="connsiteX54" fmla="*/ 11907 w 1121416"/>
                  <a:gd name="connsiteY5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66775 w 1121416"/>
                  <a:gd name="connsiteY23" fmla="*/ 173831 h 207169"/>
                  <a:gd name="connsiteX24" fmla="*/ 940594 w 1121416"/>
                  <a:gd name="connsiteY24" fmla="*/ 169069 h 207169"/>
                  <a:gd name="connsiteX25" fmla="*/ 971550 w 1121416"/>
                  <a:gd name="connsiteY25" fmla="*/ 166687 h 207169"/>
                  <a:gd name="connsiteX26" fmla="*/ 1052513 w 1121416"/>
                  <a:gd name="connsiteY26" fmla="*/ 142875 h 207169"/>
                  <a:gd name="connsiteX27" fmla="*/ 1116807 w 1121416"/>
                  <a:gd name="connsiteY27" fmla="*/ 95250 h 207169"/>
                  <a:gd name="connsiteX28" fmla="*/ 1114425 w 1121416"/>
                  <a:gd name="connsiteY28" fmla="*/ 85725 h 207169"/>
                  <a:gd name="connsiteX29" fmla="*/ 1054894 w 1121416"/>
                  <a:gd name="connsiteY29" fmla="*/ 61912 h 207169"/>
                  <a:gd name="connsiteX30" fmla="*/ 966788 w 1121416"/>
                  <a:gd name="connsiteY30" fmla="*/ 35719 h 207169"/>
                  <a:gd name="connsiteX31" fmla="*/ 857250 w 1121416"/>
                  <a:gd name="connsiteY31" fmla="*/ 21431 h 207169"/>
                  <a:gd name="connsiteX32" fmla="*/ 790575 w 1121416"/>
                  <a:gd name="connsiteY32" fmla="*/ 9525 h 207169"/>
                  <a:gd name="connsiteX33" fmla="*/ 702469 w 1121416"/>
                  <a:gd name="connsiteY33" fmla="*/ 7144 h 207169"/>
                  <a:gd name="connsiteX34" fmla="*/ 559594 w 1121416"/>
                  <a:gd name="connsiteY34" fmla="*/ 0 h 207169"/>
                  <a:gd name="connsiteX35" fmla="*/ 338138 w 1121416"/>
                  <a:gd name="connsiteY35" fmla="*/ 2381 h 207169"/>
                  <a:gd name="connsiteX36" fmla="*/ 295275 w 1121416"/>
                  <a:gd name="connsiteY36" fmla="*/ 7144 h 207169"/>
                  <a:gd name="connsiteX37" fmla="*/ 278607 w 1121416"/>
                  <a:gd name="connsiteY37" fmla="*/ 9525 h 207169"/>
                  <a:gd name="connsiteX38" fmla="*/ 269082 w 1121416"/>
                  <a:gd name="connsiteY38" fmla="*/ 11906 h 207169"/>
                  <a:gd name="connsiteX39" fmla="*/ 238125 w 1121416"/>
                  <a:gd name="connsiteY39" fmla="*/ 14287 h 207169"/>
                  <a:gd name="connsiteX40" fmla="*/ 216694 w 1121416"/>
                  <a:gd name="connsiteY40" fmla="*/ 21431 h 207169"/>
                  <a:gd name="connsiteX41" fmla="*/ 195263 w 1121416"/>
                  <a:gd name="connsiteY41" fmla="*/ 26194 h 207169"/>
                  <a:gd name="connsiteX42" fmla="*/ 183357 w 1121416"/>
                  <a:gd name="connsiteY42" fmla="*/ 28575 h 207169"/>
                  <a:gd name="connsiteX43" fmla="*/ 147638 w 1121416"/>
                  <a:gd name="connsiteY43" fmla="*/ 38100 h 207169"/>
                  <a:gd name="connsiteX44" fmla="*/ 128588 w 1121416"/>
                  <a:gd name="connsiteY44" fmla="*/ 45244 h 207169"/>
                  <a:gd name="connsiteX45" fmla="*/ 109538 w 1121416"/>
                  <a:gd name="connsiteY45" fmla="*/ 50006 h 207169"/>
                  <a:gd name="connsiteX46" fmla="*/ 97632 w 1121416"/>
                  <a:gd name="connsiteY46" fmla="*/ 54769 h 207169"/>
                  <a:gd name="connsiteX47" fmla="*/ 80963 w 1121416"/>
                  <a:gd name="connsiteY47" fmla="*/ 57150 h 207169"/>
                  <a:gd name="connsiteX48" fmla="*/ 54769 w 1121416"/>
                  <a:gd name="connsiteY48" fmla="*/ 61912 h 207169"/>
                  <a:gd name="connsiteX49" fmla="*/ 47625 w 1121416"/>
                  <a:gd name="connsiteY49" fmla="*/ 64294 h 207169"/>
                  <a:gd name="connsiteX50" fmla="*/ 23813 w 1121416"/>
                  <a:gd name="connsiteY50" fmla="*/ 71437 h 207169"/>
                  <a:gd name="connsiteX51" fmla="*/ 9525 w 1121416"/>
                  <a:gd name="connsiteY51" fmla="*/ 80962 h 207169"/>
                  <a:gd name="connsiteX52" fmla="*/ 0 w 1121416"/>
                  <a:gd name="connsiteY52" fmla="*/ 104775 h 207169"/>
                  <a:gd name="connsiteX53" fmla="*/ 11907 w 1121416"/>
                  <a:gd name="connsiteY53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97719 w 1121416"/>
                  <a:gd name="connsiteY21" fmla="*/ 188119 h 207169"/>
                  <a:gd name="connsiteX22" fmla="*/ 866775 w 1121416"/>
                  <a:gd name="connsiteY22" fmla="*/ 173831 h 207169"/>
                  <a:gd name="connsiteX23" fmla="*/ 940594 w 1121416"/>
                  <a:gd name="connsiteY23" fmla="*/ 169069 h 207169"/>
                  <a:gd name="connsiteX24" fmla="*/ 971550 w 1121416"/>
                  <a:gd name="connsiteY24" fmla="*/ 166687 h 207169"/>
                  <a:gd name="connsiteX25" fmla="*/ 1052513 w 1121416"/>
                  <a:gd name="connsiteY25" fmla="*/ 142875 h 207169"/>
                  <a:gd name="connsiteX26" fmla="*/ 1116807 w 1121416"/>
                  <a:gd name="connsiteY26" fmla="*/ 95250 h 207169"/>
                  <a:gd name="connsiteX27" fmla="*/ 1114425 w 1121416"/>
                  <a:gd name="connsiteY27" fmla="*/ 85725 h 207169"/>
                  <a:gd name="connsiteX28" fmla="*/ 1054894 w 1121416"/>
                  <a:gd name="connsiteY28" fmla="*/ 61912 h 207169"/>
                  <a:gd name="connsiteX29" fmla="*/ 966788 w 1121416"/>
                  <a:gd name="connsiteY29" fmla="*/ 35719 h 207169"/>
                  <a:gd name="connsiteX30" fmla="*/ 857250 w 1121416"/>
                  <a:gd name="connsiteY30" fmla="*/ 21431 h 207169"/>
                  <a:gd name="connsiteX31" fmla="*/ 790575 w 1121416"/>
                  <a:gd name="connsiteY31" fmla="*/ 9525 h 207169"/>
                  <a:gd name="connsiteX32" fmla="*/ 702469 w 1121416"/>
                  <a:gd name="connsiteY32" fmla="*/ 7144 h 207169"/>
                  <a:gd name="connsiteX33" fmla="*/ 559594 w 1121416"/>
                  <a:gd name="connsiteY33" fmla="*/ 0 h 207169"/>
                  <a:gd name="connsiteX34" fmla="*/ 338138 w 1121416"/>
                  <a:gd name="connsiteY34" fmla="*/ 2381 h 207169"/>
                  <a:gd name="connsiteX35" fmla="*/ 295275 w 1121416"/>
                  <a:gd name="connsiteY35" fmla="*/ 7144 h 207169"/>
                  <a:gd name="connsiteX36" fmla="*/ 278607 w 1121416"/>
                  <a:gd name="connsiteY36" fmla="*/ 9525 h 207169"/>
                  <a:gd name="connsiteX37" fmla="*/ 269082 w 1121416"/>
                  <a:gd name="connsiteY37" fmla="*/ 11906 h 207169"/>
                  <a:gd name="connsiteX38" fmla="*/ 238125 w 1121416"/>
                  <a:gd name="connsiteY38" fmla="*/ 14287 h 207169"/>
                  <a:gd name="connsiteX39" fmla="*/ 216694 w 1121416"/>
                  <a:gd name="connsiteY39" fmla="*/ 21431 h 207169"/>
                  <a:gd name="connsiteX40" fmla="*/ 195263 w 1121416"/>
                  <a:gd name="connsiteY40" fmla="*/ 26194 h 207169"/>
                  <a:gd name="connsiteX41" fmla="*/ 183357 w 1121416"/>
                  <a:gd name="connsiteY41" fmla="*/ 28575 h 207169"/>
                  <a:gd name="connsiteX42" fmla="*/ 147638 w 1121416"/>
                  <a:gd name="connsiteY42" fmla="*/ 38100 h 207169"/>
                  <a:gd name="connsiteX43" fmla="*/ 128588 w 1121416"/>
                  <a:gd name="connsiteY43" fmla="*/ 45244 h 207169"/>
                  <a:gd name="connsiteX44" fmla="*/ 109538 w 1121416"/>
                  <a:gd name="connsiteY44" fmla="*/ 50006 h 207169"/>
                  <a:gd name="connsiteX45" fmla="*/ 97632 w 1121416"/>
                  <a:gd name="connsiteY45" fmla="*/ 54769 h 207169"/>
                  <a:gd name="connsiteX46" fmla="*/ 80963 w 1121416"/>
                  <a:gd name="connsiteY46" fmla="*/ 57150 h 207169"/>
                  <a:gd name="connsiteX47" fmla="*/ 54769 w 1121416"/>
                  <a:gd name="connsiteY47" fmla="*/ 61912 h 207169"/>
                  <a:gd name="connsiteX48" fmla="*/ 47625 w 1121416"/>
                  <a:gd name="connsiteY48" fmla="*/ 64294 h 207169"/>
                  <a:gd name="connsiteX49" fmla="*/ 23813 w 1121416"/>
                  <a:gd name="connsiteY49" fmla="*/ 71437 h 207169"/>
                  <a:gd name="connsiteX50" fmla="*/ 9525 w 1121416"/>
                  <a:gd name="connsiteY50" fmla="*/ 80962 h 207169"/>
                  <a:gd name="connsiteX51" fmla="*/ 0 w 1121416"/>
                  <a:gd name="connsiteY51" fmla="*/ 104775 h 207169"/>
                  <a:gd name="connsiteX52" fmla="*/ 11907 w 1121416"/>
                  <a:gd name="connsiteY52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797719 w 1121416"/>
                  <a:gd name="connsiteY20" fmla="*/ 188119 h 207169"/>
                  <a:gd name="connsiteX21" fmla="*/ 866775 w 1121416"/>
                  <a:gd name="connsiteY21" fmla="*/ 173831 h 207169"/>
                  <a:gd name="connsiteX22" fmla="*/ 940594 w 1121416"/>
                  <a:gd name="connsiteY22" fmla="*/ 169069 h 207169"/>
                  <a:gd name="connsiteX23" fmla="*/ 971550 w 1121416"/>
                  <a:gd name="connsiteY23" fmla="*/ 166687 h 207169"/>
                  <a:gd name="connsiteX24" fmla="*/ 1052513 w 1121416"/>
                  <a:gd name="connsiteY24" fmla="*/ 142875 h 207169"/>
                  <a:gd name="connsiteX25" fmla="*/ 1116807 w 1121416"/>
                  <a:gd name="connsiteY25" fmla="*/ 95250 h 207169"/>
                  <a:gd name="connsiteX26" fmla="*/ 1114425 w 1121416"/>
                  <a:gd name="connsiteY26" fmla="*/ 85725 h 207169"/>
                  <a:gd name="connsiteX27" fmla="*/ 1054894 w 1121416"/>
                  <a:gd name="connsiteY27" fmla="*/ 61912 h 207169"/>
                  <a:gd name="connsiteX28" fmla="*/ 966788 w 1121416"/>
                  <a:gd name="connsiteY28" fmla="*/ 35719 h 207169"/>
                  <a:gd name="connsiteX29" fmla="*/ 857250 w 1121416"/>
                  <a:gd name="connsiteY29" fmla="*/ 21431 h 207169"/>
                  <a:gd name="connsiteX30" fmla="*/ 790575 w 1121416"/>
                  <a:gd name="connsiteY30" fmla="*/ 9525 h 207169"/>
                  <a:gd name="connsiteX31" fmla="*/ 702469 w 1121416"/>
                  <a:gd name="connsiteY31" fmla="*/ 7144 h 207169"/>
                  <a:gd name="connsiteX32" fmla="*/ 559594 w 1121416"/>
                  <a:gd name="connsiteY32" fmla="*/ 0 h 207169"/>
                  <a:gd name="connsiteX33" fmla="*/ 338138 w 1121416"/>
                  <a:gd name="connsiteY33" fmla="*/ 2381 h 207169"/>
                  <a:gd name="connsiteX34" fmla="*/ 295275 w 1121416"/>
                  <a:gd name="connsiteY34" fmla="*/ 7144 h 207169"/>
                  <a:gd name="connsiteX35" fmla="*/ 278607 w 1121416"/>
                  <a:gd name="connsiteY35" fmla="*/ 9525 h 207169"/>
                  <a:gd name="connsiteX36" fmla="*/ 269082 w 1121416"/>
                  <a:gd name="connsiteY36" fmla="*/ 11906 h 207169"/>
                  <a:gd name="connsiteX37" fmla="*/ 238125 w 1121416"/>
                  <a:gd name="connsiteY37" fmla="*/ 14287 h 207169"/>
                  <a:gd name="connsiteX38" fmla="*/ 216694 w 1121416"/>
                  <a:gd name="connsiteY38" fmla="*/ 21431 h 207169"/>
                  <a:gd name="connsiteX39" fmla="*/ 195263 w 1121416"/>
                  <a:gd name="connsiteY39" fmla="*/ 26194 h 207169"/>
                  <a:gd name="connsiteX40" fmla="*/ 183357 w 1121416"/>
                  <a:gd name="connsiteY40" fmla="*/ 28575 h 207169"/>
                  <a:gd name="connsiteX41" fmla="*/ 147638 w 1121416"/>
                  <a:gd name="connsiteY41" fmla="*/ 38100 h 207169"/>
                  <a:gd name="connsiteX42" fmla="*/ 128588 w 1121416"/>
                  <a:gd name="connsiteY42" fmla="*/ 45244 h 207169"/>
                  <a:gd name="connsiteX43" fmla="*/ 109538 w 1121416"/>
                  <a:gd name="connsiteY43" fmla="*/ 50006 h 207169"/>
                  <a:gd name="connsiteX44" fmla="*/ 97632 w 1121416"/>
                  <a:gd name="connsiteY44" fmla="*/ 54769 h 207169"/>
                  <a:gd name="connsiteX45" fmla="*/ 80963 w 1121416"/>
                  <a:gd name="connsiteY45" fmla="*/ 57150 h 207169"/>
                  <a:gd name="connsiteX46" fmla="*/ 54769 w 1121416"/>
                  <a:gd name="connsiteY46" fmla="*/ 61912 h 207169"/>
                  <a:gd name="connsiteX47" fmla="*/ 47625 w 1121416"/>
                  <a:gd name="connsiteY47" fmla="*/ 64294 h 207169"/>
                  <a:gd name="connsiteX48" fmla="*/ 23813 w 1121416"/>
                  <a:gd name="connsiteY48" fmla="*/ 71437 h 207169"/>
                  <a:gd name="connsiteX49" fmla="*/ 9525 w 1121416"/>
                  <a:gd name="connsiteY49" fmla="*/ 80962 h 207169"/>
                  <a:gd name="connsiteX50" fmla="*/ 0 w 1121416"/>
                  <a:gd name="connsiteY50" fmla="*/ 104775 h 207169"/>
                  <a:gd name="connsiteX51" fmla="*/ 11907 w 1121416"/>
                  <a:gd name="connsiteY51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57200 w 1121416"/>
                  <a:gd name="connsiteY15" fmla="*/ 207169 h 207169"/>
                  <a:gd name="connsiteX16" fmla="*/ 604838 w 1121416"/>
                  <a:gd name="connsiteY16" fmla="*/ 204787 h 207169"/>
                  <a:gd name="connsiteX17" fmla="*/ 623888 w 1121416"/>
                  <a:gd name="connsiteY17" fmla="*/ 200025 h 207169"/>
                  <a:gd name="connsiteX18" fmla="*/ 676275 w 1121416"/>
                  <a:gd name="connsiteY18" fmla="*/ 197644 h 207169"/>
                  <a:gd name="connsiteX19" fmla="*/ 797719 w 1121416"/>
                  <a:gd name="connsiteY19" fmla="*/ 188119 h 207169"/>
                  <a:gd name="connsiteX20" fmla="*/ 866775 w 1121416"/>
                  <a:gd name="connsiteY20" fmla="*/ 173831 h 207169"/>
                  <a:gd name="connsiteX21" fmla="*/ 940594 w 1121416"/>
                  <a:gd name="connsiteY21" fmla="*/ 169069 h 207169"/>
                  <a:gd name="connsiteX22" fmla="*/ 971550 w 1121416"/>
                  <a:gd name="connsiteY22" fmla="*/ 166687 h 207169"/>
                  <a:gd name="connsiteX23" fmla="*/ 1052513 w 1121416"/>
                  <a:gd name="connsiteY23" fmla="*/ 142875 h 207169"/>
                  <a:gd name="connsiteX24" fmla="*/ 1116807 w 1121416"/>
                  <a:gd name="connsiteY24" fmla="*/ 95250 h 207169"/>
                  <a:gd name="connsiteX25" fmla="*/ 1114425 w 1121416"/>
                  <a:gd name="connsiteY25" fmla="*/ 85725 h 207169"/>
                  <a:gd name="connsiteX26" fmla="*/ 1054894 w 1121416"/>
                  <a:gd name="connsiteY26" fmla="*/ 61912 h 207169"/>
                  <a:gd name="connsiteX27" fmla="*/ 966788 w 1121416"/>
                  <a:gd name="connsiteY27" fmla="*/ 35719 h 207169"/>
                  <a:gd name="connsiteX28" fmla="*/ 857250 w 1121416"/>
                  <a:gd name="connsiteY28" fmla="*/ 21431 h 207169"/>
                  <a:gd name="connsiteX29" fmla="*/ 790575 w 1121416"/>
                  <a:gd name="connsiteY29" fmla="*/ 9525 h 207169"/>
                  <a:gd name="connsiteX30" fmla="*/ 702469 w 1121416"/>
                  <a:gd name="connsiteY30" fmla="*/ 7144 h 207169"/>
                  <a:gd name="connsiteX31" fmla="*/ 559594 w 1121416"/>
                  <a:gd name="connsiteY31" fmla="*/ 0 h 207169"/>
                  <a:gd name="connsiteX32" fmla="*/ 338138 w 1121416"/>
                  <a:gd name="connsiteY32" fmla="*/ 2381 h 207169"/>
                  <a:gd name="connsiteX33" fmla="*/ 295275 w 1121416"/>
                  <a:gd name="connsiteY33" fmla="*/ 7144 h 207169"/>
                  <a:gd name="connsiteX34" fmla="*/ 278607 w 1121416"/>
                  <a:gd name="connsiteY34" fmla="*/ 9525 h 207169"/>
                  <a:gd name="connsiteX35" fmla="*/ 269082 w 1121416"/>
                  <a:gd name="connsiteY35" fmla="*/ 11906 h 207169"/>
                  <a:gd name="connsiteX36" fmla="*/ 238125 w 1121416"/>
                  <a:gd name="connsiteY36" fmla="*/ 14287 h 207169"/>
                  <a:gd name="connsiteX37" fmla="*/ 216694 w 1121416"/>
                  <a:gd name="connsiteY37" fmla="*/ 21431 h 207169"/>
                  <a:gd name="connsiteX38" fmla="*/ 195263 w 1121416"/>
                  <a:gd name="connsiteY38" fmla="*/ 26194 h 207169"/>
                  <a:gd name="connsiteX39" fmla="*/ 183357 w 1121416"/>
                  <a:gd name="connsiteY39" fmla="*/ 28575 h 207169"/>
                  <a:gd name="connsiteX40" fmla="*/ 147638 w 1121416"/>
                  <a:gd name="connsiteY40" fmla="*/ 38100 h 207169"/>
                  <a:gd name="connsiteX41" fmla="*/ 128588 w 1121416"/>
                  <a:gd name="connsiteY41" fmla="*/ 45244 h 207169"/>
                  <a:gd name="connsiteX42" fmla="*/ 109538 w 1121416"/>
                  <a:gd name="connsiteY42" fmla="*/ 50006 h 207169"/>
                  <a:gd name="connsiteX43" fmla="*/ 97632 w 1121416"/>
                  <a:gd name="connsiteY43" fmla="*/ 54769 h 207169"/>
                  <a:gd name="connsiteX44" fmla="*/ 80963 w 1121416"/>
                  <a:gd name="connsiteY44" fmla="*/ 57150 h 207169"/>
                  <a:gd name="connsiteX45" fmla="*/ 54769 w 1121416"/>
                  <a:gd name="connsiteY45" fmla="*/ 61912 h 207169"/>
                  <a:gd name="connsiteX46" fmla="*/ 47625 w 1121416"/>
                  <a:gd name="connsiteY46" fmla="*/ 64294 h 207169"/>
                  <a:gd name="connsiteX47" fmla="*/ 23813 w 1121416"/>
                  <a:gd name="connsiteY47" fmla="*/ 71437 h 207169"/>
                  <a:gd name="connsiteX48" fmla="*/ 9525 w 1121416"/>
                  <a:gd name="connsiteY48" fmla="*/ 80962 h 207169"/>
                  <a:gd name="connsiteX49" fmla="*/ 0 w 1121416"/>
                  <a:gd name="connsiteY49" fmla="*/ 104775 h 207169"/>
                  <a:gd name="connsiteX50" fmla="*/ 11907 w 1121416"/>
                  <a:gd name="connsiteY50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457200 w 1121416"/>
                  <a:gd name="connsiteY14" fmla="*/ 207169 h 207169"/>
                  <a:gd name="connsiteX15" fmla="*/ 604838 w 1121416"/>
                  <a:gd name="connsiteY15" fmla="*/ 204787 h 207169"/>
                  <a:gd name="connsiteX16" fmla="*/ 623888 w 1121416"/>
                  <a:gd name="connsiteY16" fmla="*/ 200025 h 207169"/>
                  <a:gd name="connsiteX17" fmla="*/ 676275 w 1121416"/>
                  <a:gd name="connsiteY17" fmla="*/ 197644 h 207169"/>
                  <a:gd name="connsiteX18" fmla="*/ 797719 w 1121416"/>
                  <a:gd name="connsiteY18" fmla="*/ 188119 h 207169"/>
                  <a:gd name="connsiteX19" fmla="*/ 866775 w 1121416"/>
                  <a:gd name="connsiteY19" fmla="*/ 173831 h 207169"/>
                  <a:gd name="connsiteX20" fmla="*/ 940594 w 1121416"/>
                  <a:gd name="connsiteY20" fmla="*/ 169069 h 207169"/>
                  <a:gd name="connsiteX21" fmla="*/ 971550 w 1121416"/>
                  <a:gd name="connsiteY21" fmla="*/ 166687 h 207169"/>
                  <a:gd name="connsiteX22" fmla="*/ 1052513 w 1121416"/>
                  <a:gd name="connsiteY22" fmla="*/ 142875 h 207169"/>
                  <a:gd name="connsiteX23" fmla="*/ 1116807 w 1121416"/>
                  <a:gd name="connsiteY23" fmla="*/ 95250 h 207169"/>
                  <a:gd name="connsiteX24" fmla="*/ 1114425 w 1121416"/>
                  <a:gd name="connsiteY24" fmla="*/ 85725 h 207169"/>
                  <a:gd name="connsiteX25" fmla="*/ 1054894 w 1121416"/>
                  <a:gd name="connsiteY25" fmla="*/ 61912 h 207169"/>
                  <a:gd name="connsiteX26" fmla="*/ 966788 w 1121416"/>
                  <a:gd name="connsiteY26" fmla="*/ 35719 h 207169"/>
                  <a:gd name="connsiteX27" fmla="*/ 857250 w 1121416"/>
                  <a:gd name="connsiteY27" fmla="*/ 21431 h 207169"/>
                  <a:gd name="connsiteX28" fmla="*/ 790575 w 1121416"/>
                  <a:gd name="connsiteY28" fmla="*/ 9525 h 207169"/>
                  <a:gd name="connsiteX29" fmla="*/ 702469 w 1121416"/>
                  <a:gd name="connsiteY29" fmla="*/ 7144 h 207169"/>
                  <a:gd name="connsiteX30" fmla="*/ 559594 w 1121416"/>
                  <a:gd name="connsiteY30" fmla="*/ 0 h 207169"/>
                  <a:gd name="connsiteX31" fmla="*/ 338138 w 1121416"/>
                  <a:gd name="connsiteY31" fmla="*/ 2381 h 207169"/>
                  <a:gd name="connsiteX32" fmla="*/ 295275 w 1121416"/>
                  <a:gd name="connsiteY32" fmla="*/ 7144 h 207169"/>
                  <a:gd name="connsiteX33" fmla="*/ 278607 w 1121416"/>
                  <a:gd name="connsiteY33" fmla="*/ 9525 h 207169"/>
                  <a:gd name="connsiteX34" fmla="*/ 269082 w 1121416"/>
                  <a:gd name="connsiteY34" fmla="*/ 11906 h 207169"/>
                  <a:gd name="connsiteX35" fmla="*/ 238125 w 1121416"/>
                  <a:gd name="connsiteY35" fmla="*/ 14287 h 207169"/>
                  <a:gd name="connsiteX36" fmla="*/ 216694 w 1121416"/>
                  <a:gd name="connsiteY36" fmla="*/ 21431 h 207169"/>
                  <a:gd name="connsiteX37" fmla="*/ 195263 w 1121416"/>
                  <a:gd name="connsiteY37" fmla="*/ 26194 h 207169"/>
                  <a:gd name="connsiteX38" fmla="*/ 183357 w 1121416"/>
                  <a:gd name="connsiteY38" fmla="*/ 28575 h 207169"/>
                  <a:gd name="connsiteX39" fmla="*/ 147638 w 1121416"/>
                  <a:gd name="connsiteY39" fmla="*/ 38100 h 207169"/>
                  <a:gd name="connsiteX40" fmla="*/ 128588 w 1121416"/>
                  <a:gd name="connsiteY40" fmla="*/ 45244 h 207169"/>
                  <a:gd name="connsiteX41" fmla="*/ 109538 w 1121416"/>
                  <a:gd name="connsiteY41" fmla="*/ 50006 h 207169"/>
                  <a:gd name="connsiteX42" fmla="*/ 97632 w 1121416"/>
                  <a:gd name="connsiteY42" fmla="*/ 54769 h 207169"/>
                  <a:gd name="connsiteX43" fmla="*/ 80963 w 1121416"/>
                  <a:gd name="connsiteY43" fmla="*/ 57150 h 207169"/>
                  <a:gd name="connsiteX44" fmla="*/ 54769 w 1121416"/>
                  <a:gd name="connsiteY44" fmla="*/ 61912 h 207169"/>
                  <a:gd name="connsiteX45" fmla="*/ 47625 w 1121416"/>
                  <a:gd name="connsiteY45" fmla="*/ 64294 h 207169"/>
                  <a:gd name="connsiteX46" fmla="*/ 23813 w 1121416"/>
                  <a:gd name="connsiteY46" fmla="*/ 71437 h 207169"/>
                  <a:gd name="connsiteX47" fmla="*/ 9525 w 1121416"/>
                  <a:gd name="connsiteY47" fmla="*/ 80962 h 207169"/>
                  <a:gd name="connsiteX48" fmla="*/ 0 w 1121416"/>
                  <a:gd name="connsiteY48" fmla="*/ 104775 h 207169"/>
                  <a:gd name="connsiteX49" fmla="*/ 11907 w 1121416"/>
                  <a:gd name="connsiteY4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38125 w 1121416"/>
                  <a:gd name="connsiteY11" fmla="*/ 178594 h 207169"/>
                  <a:gd name="connsiteX12" fmla="*/ 285750 w 1121416"/>
                  <a:gd name="connsiteY12" fmla="*/ 192881 h 207169"/>
                  <a:gd name="connsiteX13" fmla="*/ 457200 w 1121416"/>
                  <a:gd name="connsiteY13" fmla="*/ 207169 h 207169"/>
                  <a:gd name="connsiteX14" fmla="*/ 604838 w 1121416"/>
                  <a:gd name="connsiteY14" fmla="*/ 204787 h 207169"/>
                  <a:gd name="connsiteX15" fmla="*/ 623888 w 1121416"/>
                  <a:gd name="connsiteY15" fmla="*/ 200025 h 207169"/>
                  <a:gd name="connsiteX16" fmla="*/ 676275 w 1121416"/>
                  <a:gd name="connsiteY16" fmla="*/ 197644 h 207169"/>
                  <a:gd name="connsiteX17" fmla="*/ 797719 w 1121416"/>
                  <a:gd name="connsiteY17" fmla="*/ 188119 h 207169"/>
                  <a:gd name="connsiteX18" fmla="*/ 866775 w 1121416"/>
                  <a:gd name="connsiteY18" fmla="*/ 173831 h 207169"/>
                  <a:gd name="connsiteX19" fmla="*/ 940594 w 1121416"/>
                  <a:gd name="connsiteY19" fmla="*/ 169069 h 207169"/>
                  <a:gd name="connsiteX20" fmla="*/ 971550 w 1121416"/>
                  <a:gd name="connsiteY20" fmla="*/ 166687 h 207169"/>
                  <a:gd name="connsiteX21" fmla="*/ 1052513 w 1121416"/>
                  <a:gd name="connsiteY21" fmla="*/ 142875 h 207169"/>
                  <a:gd name="connsiteX22" fmla="*/ 1116807 w 1121416"/>
                  <a:gd name="connsiteY22" fmla="*/ 95250 h 207169"/>
                  <a:gd name="connsiteX23" fmla="*/ 1114425 w 1121416"/>
                  <a:gd name="connsiteY23" fmla="*/ 85725 h 207169"/>
                  <a:gd name="connsiteX24" fmla="*/ 1054894 w 1121416"/>
                  <a:gd name="connsiteY24" fmla="*/ 61912 h 207169"/>
                  <a:gd name="connsiteX25" fmla="*/ 966788 w 1121416"/>
                  <a:gd name="connsiteY25" fmla="*/ 35719 h 207169"/>
                  <a:gd name="connsiteX26" fmla="*/ 857250 w 1121416"/>
                  <a:gd name="connsiteY26" fmla="*/ 21431 h 207169"/>
                  <a:gd name="connsiteX27" fmla="*/ 790575 w 1121416"/>
                  <a:gd name="connsiteY27" fmla="*/ 9525 h 207169"/>
                  <a:gd name="connsiteX28" fmla="*/ 702469 w 1121416"/>
                  <a:gd name="connsiteY28" fmla="*/ 7144 h 207169"/>
                  <a:gd name="connsiteX29" fmla="*/ 559594 w 1121416"/>
                  <a:gd name="connsiteY29" fmla="*/ 0 h 207169"/>
                  <a:gd name="connsiteX30" fmla="*/ 338138 w 1121416"/>
                  <a:gd name="connsiteY30" fmla="*/ 2381 h 207169"/>
                  <a:gd name="connsiteX31" fmla="*/ 295275 w 1121416"/>
                  <a:gd name="connsiteY31" fmla="*/ 7144 h 207169"/>
                  <a:gd name="connsiteX32" fmla="*/ 278607 w 1121416"/>
                  <a:gd name="connsiteY32" fmla="*/ 9525 h 207169"/>
                  <a:gd name="connsiteX33" fmla="*/ 269082 w 1121416"/>
                  <a:gd name="connsiteY33" fmla="*/ 11906 h 207169"/>
                  <a:gd name="connsiteX34" fmla="*/ 238125 w 1121416"/>
                  <a:gd name="connsiteY34" fmla="*/ 14287 h 207169"/>
                  <a:gd name="connsiteX35" fmla="*/ 216694 w 1121416"/>
                  <a:gd name="connsiteY35" fmla="*/ 21431 h 207169"/>
                  <a:gd name="connsiteX36" fmla="*/ 195263 w 1121416"/>
                  <a:gd name="connsiteY36" fmla="*/ 26194 h 207169"/>
                  <a:gd name="connsiteX37" fmla="*/ 183357 w 1121416"/>
                  <a:gd name="connsiteY37" fmla="*/ 28575 h 207169"/>
                  <a:gd name="connsiteX38" fmla="*/ 147638 w 1121416"/>
                  <a:gd name="connsiteY38" fmla="*/ 38100 h 207169"/>
                  <a:gd name="connsiteX39" fmla="*/ 128588 w 1121416"/>
                  <a:gd name="connsiteY39" fmla="*/ 45244 h 207169"/>
                  <a:gd name="connsiteX40" fmla="*/ 109538 w 1121416"/>
                  <a:gd name="connsiteY40" fmla="*/ 50006 h 207169"/>
                  <a:gd name="connsiteX41" fmla="*/ 97632 w 1121416"/>
                  <a:gd name="connsiteY41" fmla="*/ 54769 h 207169"/>
                  <a:gd name="connsiteX42" fmla="*/ 80963 w 1121416"/>
                  <a:gd name="connsiteY42" fmla="*/ 57150 h 207169"/>
                  <a:gd name="connsiteX43" fmla="*/ 54769 w 1121416"/>
                  <a:gd name="connsiteY43" fmla="*/ 61912 h 207169"/>
                  <a:gd name="connsiteX44" fmla="*/ 47625 w 1121416"/>
                  <a:gd name="connsiteY44" fmla="*/ 64294 h 207169"/>
                  <a:gd name="connsiteX45" fmla="*/ 23813 w 1121416"/>
                  <a:gd name="connsiteY45" fmla="*/ 71437 h 207169"/>
                  <a:gd name="connsiteX46" fmla="*/ 9525 w 1121416"/>
                  <a:gd name="connsiteY46" fmla="*/ 80962 h 207169"/>
                  <a:gd name="connsiteX47" fmla="*/ 0 w 1121416"/>
                  <a:gd name="connsiteY47" fmla="*/ 104775 h 207169"/>
                  <a:gd name="connsiteX48" fmla="*/ 11907 w 1121416"/>
                  <a:gd name="connsiteY4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202407 w 1121416"/>
                  <a:gd name="connsiteY9" fmla="*/ 169069 h 207169"/>
                  <a:gd name="connsiteX10" fmla="*/ 238125 w 1121416"/>
                  <a:gd name="connsiteY10" fmla="*/ 178594 h 207169"/>
                  <a:gd name="connsiteX11" fmla="*/ 285750 w 1121416"/>
                  <a:gd name="connsiteY11" fmla="*/ 192881 h 207169"/>
                  <a:gd name="connsiteX12" fmla="*/ 457200 w 1121416"/>
                  <a:gd name="connsiteY12" fmla="*/ 207169 h 207169"/>
                  <a:gd name="connsiteX13" fmla="*/ 604838 w 1121416"/>
                  <a:gd name="connsiteY13" fmla="*/ 204787 h 207169"/>
                  <a:gd name="connsiteX14" fmla="*/ 623888 w 1121416"/>
                  <a:gd name="connsiteY14" fmla="*/ 200025 h 207169"/>
                  <a:gd name="connsiteX15" fmla="*/ 676275 w 1121416"/>
                  <a:gd name="connsiteY15" fmla="*/ 197644 h 207169"/>
                  <a:gd name="connsiteX16" fmla="*/ 797719 w 1121416"/>
                  <a:gd name="connsiteY16" fmla="*/ 188119 h 207169"/>
                  <a:gd name="connsiteX17" fmla="*/ 866775 w 1121416"/>
                  <a:gd name="connsiteY17" fmla="*/ 173831 h 207169"/>
                  <a:gd name="connsiteX18" fmla="*/ 940594 w 1121416"/>
                  <a:gd name="connsiteY18" fmla="*/ 169069 h 207169"/>
                  <a:gd name="connsiteX19" fmla="*/ 971550 w 1121416"/>
                  <a:gd name="connsiteY19" fmla="*/ 166687 h 207169"/>
                  <a:gd name="connsiteX20" fmla="*/ 1052513 w 1121416"/>
                  <a:gd name="connsiteY20" fmla="*/ 142875 h 207169"/>
                  <a:gd name="connsiteX21" fmla="*/ 1116807 w 1121416"/>
                  <a:gd name="connsiteY21" fmla="*/ 95250 h 207169"/>
                  <a:gd name="connsiteX22" fmla="*/ 1114425 w 1121416"/>
                  <a:gd name="connsiteY22" fmla="*/ 85725 h 207169"/>
                  <a:gd name="connsiteX23" fmla="*/ 1054894 w 1121416"/>
                  <a:gd name="connsiteY23" fmla="*/ 61912 h 207169"/>
                  <a:gd name="connsiteX24" fmla="*/ 966788 w 1121416"/>
                  <a:gd name="connsiteY24" fmla="*/ 35719 h 207169"/>
                  <a:gd name="connsiteX25" fmla="*/ 857250 w 1121416"/>
                  <a:gd name="connsiteY25" fmla="*/ 21431 h 207169"/>
                  <a:gd name="connsiteX26" fmla="*/ 790575 w 1121416"/>
                  <a:gd name="connsiteY26" fmla="*/ 9525 h 207169"/>
                  <a:gd name="connsiteX27" fmla="*/ 702469 w 1121416"/>
                  <a:gd name="connsiteY27" fmla="*/ 7144 h 207169"/>
                  <a:gd name="connsiteX28" fmla="*/ 559594 w 1121416"/>
                  <a:gd name="connsiteY28" fmla="*/ 0 h 207169"/>
                  <a:gd name="connsiteX29" fmla="*/ 338138 w 1121416"/>
                  <a:gd name="connsiteY29" fmla="*/ 2381 h 207169"/>
                  <a:gd name="connsiteX30" fmla="*/ 295275 w 1121416"/>
                  <a:gd name="connsiteY30" fmla="*/ 7144 h 207169"/>
                  <a:gd name="connsiteX31" fmla="*/ 278607 w 1121416"/>
                  <a:gd name="connsiteY31" fmla="*/ 9525 h 207169"/>
                  <a:gd name="connsiteX32" fmla="*/ 269082 w 1121416"/>
                  <a:gd name="connsiteY32" fmla="*/ 11906 h 207169"/>
                  <a:gd name="connsiteX33" fmla="*/ 238125 w 1121416"/>
                  <a:gd name="connsiteY33" fmla="*/ 14287 h 207169"/>
                  <a:gd name="connsiteX34" fmla="*/ 216694 w 1121416"/>
                  <a:gd name="connsiteY34" fmla="*/ 21431 h 207169"/>
                  <a:gd name="connsiteX35" fmla="*/ 195263 w 1121416"/>
                  <a:gd name="connsiteY35" fmla="*/ 26194 h 207169"/>
                  <a:gd name="connsiteX36" fmla="*/ 183357 w 1121416"/>
                  <a:gd name="connsiteY36" fmla="*/ 28575 h 207169"/>
                  <a:gd name="connsiteX37" fmla="*/ 147638 w 1121416"/>
                  <a:gd name="connsiteY37" fmla="*/ 38100 h 207169"/>
                  <a:gd name="connsiteX38" fmla="*/ 128588 w 1121416"/>
                  <a:gd name="connsiteY38" fmla="*/ 45244 h 207169"/>
                  <a:gd name="connsiteX39" fmla="*/ 109538 w 1121416"/>
                  <a:gd name="connsiteY39" fmla="*/ 50006 h 207169"/>
                  <a:gd name="connsiteX40" fmla="*/ 97632 w 1121416"/>
                  <a:gd name="connsiteY40" fmla="*/ 54769 h 207169"/>
                  <a:gd name="connsiteX41" fmla="*/ 80963 w 1121416"/>
                  <a:gd name="connsiteY41" fmla="*/ 57150 h 207169"/>
                  <a:gd name="connsiteX42" fmla="*/ 54769 w 1121416"/>
                  <a:gd name="connsiteY42" fmla="*/ 61912 h 207169"/>
                  <a:gd name="connsiteX43" fmla="*/ 47625 w 1121416"/>
                  <a:gd name="connsiteY43" fmla="*/ 64294 h 207169"/>
                  <a:gd name="connsiteX44" fmla="*/ 23813 w 1121416"/>
                  <a:gd name="connsiteY44" fmla="*/ 71437 h 207169"/>
                  <a:gd name="connsiteX45" fmla="*/ 9525 w 1121416"/>
                  <a:gd name="connsiteY45" fmla="*/ 80962 h 207169"/>
                  <a:gd name="connsiteX46" fmla="*/ 0 w 1121416"/>
                  <a:gd name="connsiteY46" fmla="*/ 104775 h 207169"/>
                  <a:gd name="connsiteX47" fmla="*/ 11907 w 1121416"/>
                  <a:gd name="connsiteY4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1443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121443 w 1121416"/>
                  <a:gd name="connsiteY6" fmla="*/ 152400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02407 w 1121416"/>
                  <a:gd name="connsiteY6" fmla="*/ 169069 h 207169"/>
                  <a:gd name="connsiteX7" fmla="*/ 238125 w 1121416"/>
                  <a:gd name="connsiteY7" fmla="*/ 178594 h 207169"/>
                  <a:gd name="connsiteX8" fmla="*/ 285750 w 1121416"/>
                  <a:gd name="connsiteY8" fmla="*/ 192881 h 207169"/>
                  <a:gd name="connsiteX9" fmla="*/ 457200 w 1121416"/>
                  <a:gd name="connsiteY9" fmla="*/ 207169 h 207169"/>
                  <a:gd name="connsiteX10" fmla="*/ 604838 w 1121416"/>
                  <a:gd name="connsiteY10" fmla="*/ 204787 h 207169"/>
                  <a:gd name="connsiteX11" fmla="*/ 623888 w 1121416"/>
                  <a:gd name="connsiteY11" fmla="*/ 200025 h 207169"/>
                  <a:gd name="connsiteX12" fmla="*/ 676275 w 1121416"/>
                  <a:gd name="connsiteY12" fmla="*/ 197644 h 207169"/>
                  <a:gd name="connsiteX13" fmla="*/ 797719 w 1121416"/>
                  <a:gd name="connsiteY13" fmla="*/ 188119 h 207169"/>
                  <a:gd name="connsiteX14" fmla="*/ 866775 w 1121416"/>
                  <a:gd name="connsiteY14" fmla="*/ 173831 h 207169"/>
                  <a:gd name="connsiteX15" fmla="*/ 940594 w 1121416"/>
                  <a:gd name="connsiteY15" fmla="*/ 169069 h 207169"/>
                  <a:gd name="connsiteX16" fmla="*/ 971550 w 1121416"/>
                  <a:gd name="connsiteY16" fmla="*/ 166687 h 207169"/>
                  <a:gd name="connsiteX17" fmla="*/ 1052513 w 1121416"/>
                  <a:gd name="connsiteY17" fmla="*/ 142875 h 207169"/>
                  <a:gd name="connsiteX18" fmla="*/ 1116807 w 1121416"/>
                  <a:gd name="connsiteY18" fmla="*/ 95250 h 207169"/>
                  <a:gd name="connsiteX19" fmla="*/ 1114425 w 1121416"/>
                  <a:gd name="connsiteY19" fmla="*/ 85725 h 207169"/>
                  <a:gd name="connsiteX20" fmla="*/ 1054894 w 1121416"/>
                  <a:gd name="connsiteY20" fmla="*/ 61912 h 207169"/>
                  <a:gd name="connsiteX21" fmla="*/ 966788 w 1121416"/>
                  <a:gd name="connsiteY21" fmla="*/ 35719 h 207169"/>
                  <a:gd name="connsiteX22" fmla="*/ 857250 w 1121416"/>
                  <a:gd name="connsiteY22" fmla="*/ 21431 h 207169"/>
                  <a:gd name="connsiteX23" fmla="*/ 790575 w 1121416"/>
                  <a:gd name="connsiteY23" fmla="*/ 9525 h 207169"/>
                  <a:gd name="connsiteX24" fmla="*/ 702469 w 1121416"/>
                  <a:gd name="connsiteY24" fmla="*/ 7144 h 207169"/>
                  <a:gd name="connsiteX25" fmla="*/ 559594 w 1121416"/>
                  <a:gd name="connsiteY25" fmla="*/ 0 h 207169"/>
                  <a:gd name="connsiteX26" fmla="*/ 338138 w 1121416"/>
                  <a:gd name="connsiteY26" fmla="*/ 2381 h 207169"/>
                  <a:gd name="connsiteX27" fmla="*/ 295275 w 1121416"/>
                  <a:gd name="connsiteY27" fmla="*/ 7144 h 207169"/>
                  <a:gd name="connsiteX28" fmla="*/ 278607 w 1121416"/>
                  <a:gd name="connsiteY28" fmla="*/ 9525 h 207169"/>
                  <a:gd name="connsiteX29" fmla="*/ 269082 w 1121416"/>
                  <a:gd name="connsiteY29" fmla="*/ 11906 h 207169"/>
                  <a:gd name="connsiteX30" fmla="*/ 238125 w 1121416"/>
                  <a:gd name="connsiteY30" fmla="*/ 14287 h 207169"/>
                  <a:gd name="connsiteX31" fmla="*/ 216694 w 1121416"/>
                  <a:gd name="connsiteY31" fmla="*/ 21431 h 207169"/>
                  <a:gd name="connsiteX32" fmla="*/ 195263 w 1121416"/>
                  <a:gd name="connsiteY32" fmla="*/ 26194 h 207169"/>
                  <a:gd name="connsiteX33" fmla="*/ 183357 w 1121416"/>
                  <a:gd name="connsiteY33" fmla="*/ 28575 h 207169"/>
                  <a:gd name="connsiteX34" fmla="*/ 147638 w 1121416"/>
                  <a:gd name="connsiteY34" fmla="*/ 38100 h 207169"/>
                  <a:gd name="connsiteX35" fmla="*/ 128588 w 1121416"/>
                  <a:gd name="connsiteY35" fmla="*/ 45244 h 207169"/>
                  <a:gd name="connsiteX36" fmla="*/ 109538 w 1121416"/>
                  <a:gd name="connsiteY36" fmla="*/ 50006 h 207169"/>
                  <a:gd name="connsiteX37" fmla="*/ 97632 w 1121416"/>
                  <a:gd name="connsiteY37" fmla="*/ 54769 h 207169"/>
                  <a:gd name="connsiteX38" fmla="*/ 80963 w 1121416"/>
                  <a:gd name="connsiteY38" fmla="*/ 57150 h 207169"/>
                  <a:gd name="connsiteX39" fmla="*/ 54769 w 1121416"/>
                  <a:gd name="connsiteY39" fmla="*/ 61912 h 207169"/>
                  <a:gd name="connsiteX40" fmla="*/ 47625 w 1121416"/>
                  <a:gd name="connsiteY40" fmla="*/ 64294 h 207169"/>
                  <a:gd name="connsiteX41" fmla="*/ 23813 w 1121416"/>
                  <a:gd name="connsiteY41" fmla="*/ 71437 h 207169"/>
                  <a:gd name="connsiteX42" fmla="*/ 9525 w 1121416"/>
                  <a:gd name="connsiteY42" fmla="*/ 80962 h 207169"/>
                  <a:gd name="connsiteX43" fmla="*/ 0 w 1121416"/>
                  <a:gd name="connsiteY43" fmla="*/ 104775 h 207169"/>
                  <a:gd name="connsiteX44" fmla="*/ 11907 w 1121416"/>
                  <a:gd name="connsiteY4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43" fmla="*/ 11907 w 1121416"/>
                  <a:gd name="connsiteY43" fmla="*/ 111919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23813 w 1121416"/>
                  <a:gd name="connsiteY39" fmla="*/ 71437 h 207169"/>
                  <a:gd name="connsiteX40" fmla="*/ 9525 w 1121416"/>
                  <a:gd name="connsiteY40" fmla="*/ 80962 h 207169"/>
                  <a:gd name="connsiteX41" fmla="*/ 0 w 1121416"/>
                  <a:gd name="connsiteY4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9525 w 1121416"/>
                  <a:gd name="connsiteY39" fmla="*/ 80962 h 207169"/>
                  <a:gd name="connsiteX40" fmla="*/ 0 w 1121416"/>
                  <a:gd name="connsiteY4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9525 w 1121416"/>
                  <a:gd name="connsiteY38" fmla="*/ 80962 h 207169"/>
                  <a:gd name="connsiteX39" fmla="*/ 0 w 1121416"/>
                  <a:gd name="connsiteY3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54769 w 1121416"/>
                  <a:gd name="connsiteY36" fmla="*/ 61912 h 207169"/>
                  <a:gd name="connsiteX37" fmla="*/ 9525 w 1121416"/>
                  <a:gd name="connsiteY37" fmla="*/ 80962 h 207169"/>
                  <a:gd name="connsiteX38" fmla="*/ 0 w 1121416"/>
                  <a:gd name="connsiteY38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54769 w 1121416"/>
                  <a:gd name="connsiteY35" fmla="*/ 61912 h 207169"/>
                  <a:gd name="connsiteX36" fmla="*/ 9525 w 1121416"/>
                  <a:gd name="connsiteY36" fmla="*/ 80962 h 207169"/>
                  <a:gd name="connsiteX37" fmla="*/ 0 w 1121416"/>
                  <a:gd name="connsiteY37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54769 w 1121416"/>
                  <a:gd name="connsiteY34" fmla="*/ 61912 h 207169"/>
                  <a:gd name="connsiteX35" fmla="*/ 9525 w 1121416"/>
                  <a:gd name="connsiteY35" fmla="*/ 80962 h 207169"/>
                  <a:gd name="connsiteX36" fmla="*/ 0 w 1121416"/>
                  <a:gd name="connsiteY36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54769 w 1121416"/>
                  <a:gd name="connsiteY33" fmla="*/ 61912 h 207169"/>
                  <a:gd name="connsiteX34" fmla="*/ 9525 w 1121416"/>
                  <a:gd name="connsiteY34" fmla="*/ 80962 h 207169"/>
                  <a:gd name="connsiteX35" fmla="*/ 0 w 1121416"/>
                  <a:gd name="connsiteY35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54769 w 1121416"/>
                  <a:gd name="connsiteY32" fmla="*/ 61912 h 207169"/>
                  <a:gd name="connsiteX33" fmla="*/ 9525 w 1121416"/>
                  <a:gd name="connsiteY33" fmla="*/ 80962 h 207169"/>
                  <a:gd name="connsiteX34" fmla="*/ 0 w 1121416"/>
                  <a:gd name="connsiteY34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54769 w 1121416"/>
                  <a:gd name="connsiteY31" fmla="*/ 61912 h 207169"/>
                  <a:gd name="connsiteX32" fmla="*/ 9525 w 1121416"/>
                  <a:gd name="connsiteY32" fmla="*/ 80962 h 207169"/>
                  <a:gd name="connsiteX33" fmla="*/ 0 w 1121416"/>
                  <a:gd name="connsiteY33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54769 w 1121416"/>
                  <a:gd name="connsiteY30" fmla="*/ 61912 h 207169"/>
                  <a:gd name="connsiteX31" fmla="*/ 9525 w 1121416"/>
                  <a:gd name="connsiteY31" fmla="*/ 80962 h 207169"/>
                  <a:gd name="connsiteX32" fmla="*/ 0 w 1121416"/>
                  <a:gd name="connsiteY3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54769 w 1121416"/>
                  <a:gd name="connsiteY29" fmla="*/ 61912 h 207169"/>
                  <a:gd name="connsiteX30" fmla="*/ 9525 w 1121416"/>
                  <a:gd name="connsiteY30" fmla="*/ 80962 h 207169"/>
                  <a:gd name="connsiteX31" fmla="*/ 0 w 1121416"/>
                  <a:gd name="connsiteY3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38125 w 1121416"/>
                  <a:gd name="connsiteY27" fmla="*/ 14287 h 207169"/>
                  <a:gd name="connsiteX28" fmla="*/ 54769 w 1121416"/>
                  <a:gd name="connsiteY28" fmla="*/ 61912 h 207169"/>
                  <a:gd name="connsiteX29" fmla="*/ 9525 w 1121416"/>
                  <a:gd name="connsiteY29" fmla="*/ 80962 h 207169"/>
                  <a:gd name="connsiteX30" fmla="*/ 0 w 1121416"/>
                  <a:gd name="connsiteY3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78607 w 1121416"/>
                  <a:gd name="connsiteY25" fmla="*/ 9525 h 207169"/>
                  <a:gd name="connsiteX26" fmla="*/ 238125 w 1121416"/>
                  <a:gd name="connsiteY26" fmla="*/ 14287 h 207169"/>
                  <a:gd name="connsiteX27" fmla="*/ 54769 w 1121416"/>
                  <a:gd name="connsiteY27" fmla="*/ 61912 h 207169"/>
                  <a:gd name="connsiteX28" fmla="*/ 9525 w 1121416"/>
                  <a:gd name="connsiteY28" fmla="*/ 80962 h 207169"/>
                  <a:gd name="connsiteX29" fmla="*/ 0 w 1121416"/>
                  <a:gd name="connsiteY2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85750 w 1121416"/>
                  <a:gd name="connsiteY5" fmla="*/ 192881 h 207169"/>
                  <a:gd name="connsiteX6" fmla="*/ 457200 w 1121416"/>
                  <a:gd name="connsiteY6" fmla="*/ 207169 h 207169"/>
                  <a:gd name="connsiteX7" fmla="*/ 604838 w 1121416"/>
                  <a:gd name="connsiteY7" fmla="*/ 204787 h 207169"/>
                  <a:gd name="connsiteX8" fmla="*/ 623888 w 1121416"/>
                  <a:gd name="connsiteY8" fmla="*/ 200025 h 207169"/>
                  <a:gd name="connsiteX9" fmla="*/ 676275 w 1121416"/>
                  <a:gd name="connsiteY9" fmla="*/ 197644 h 207169"/>
                  <a:gd name="connsiteX10" fmla="*/ 797719 w 1121416"/>
                  <a:gd name="connsiteY10" fmla="*/ 188119 h 207169"/>
                  <a:gd name="connsiteX11" fmla="*/ 866775 w 1121416"/>
                  <a:gd name="connsiteY11" fmla="*/ 173831 h 207169"/>
                  <a:gd name="connsiteX12" fmla="*/ 940594 w 1121416"/>
                  <a:gd name="connsiteY12" fmla="*/ 169069 h 207169"/>
                  <a:gd name="connsiteX13" fmla="*/ 971550 w 1121416"/>
                  <a:gd name="connsiteY13" fmla="*/ 166687 h 207169"/>
                  <a:gd name="connsiteX14" fmla="*/ 1052513 w 1121416"/>
                  <a:gd name="connsiteY14" fmla="*/ 142875 h 207169"/>
                  <a:gd name="connsiteX15" fmla="*/ 1116807 w 1121416"/>
                  <a:gd name="connsiteY15" fmla="*/ 95250 h 207169"/>
                  <a:gd name="connsiteX16" fmla="*/ 1114425 w 1121416"/>
                  <a:gd name="connsiteY16" fmla="*/ 85725 h 207169"/>
                  <a:gd name="connsiteX17" fmla="*/ 1054894 w 1121416"/>
                  <a:gd name="connsiteY17" fmla="*/ 61912 h 207169"/>
                  <a:gd name="connsiteX18" fmla="*/ 966788 w 1121416"/>
                  <a:gd name="connsiteY18" fmla="*/ 35719 h 207169"/>
                  <a:gd name="connsiteX19" fmla="*/ 857250 w 1121416"/>
                  <a:gd name="connsiteY19" fmla="*/ 21431 h 207169"/>
                  <a:gd name="connsiteX20" fmla="*/ 790575 w 1121416"/>
                  <a:gd name="connsiteY20" fmla="*/ 9525 h 207169"/>
                  <a:gd name="connsiteX21" fmla="*/ 702469 w 1121416"/>
                  <a:gd name="connsiteY21" fmla="*/ 7144 h 207169"/>
                  <a:gd name="connsiteX22" fmla="*/ 559594 w 1121416"/>
                  <a:gd name="connsiteY22" fmla="*/ 0 h 207169"/>
                  <a:gd name="connsiteX23" fmla="*/ 338138 w 1121416"/>
                  <a:gd name="connsiteY23" fmla="*/ 2381 h 207169"/>
                  <a:gd name="connsiteX24" fmla="*/ 278607 w 1121416"/>
                  <a:gd name="connsiteY24" fmla="*/ 9525 h 207169"/>
                  <a:gd name="connsiteX25" fmla="*/ 238125 w 1121416"/>
                  <a:gd name="connsiteY25" fmla="*/ 14287 h 207169"/>
                  <a:gd name="connsiteX26" fmla="*/ 54769 w 1121416"/>
                  <a:gd name="connsiteY26" fmla="*/ 61912 h 207169"/>
                  <a:gd name="connsiteX27" fmla="*/ 9525 w 1121416"/>
                  <a:gd name="connsiteY27" fmla="*/ 80962 h 207169"/>
                  <a:gd name="connsiteX28" fmla="*/ 0 w 1121416"/>
                  <a:gd name="connsiteY28" fmla="*/ 104775 h 207169"/>
                  <a:gd name="connsiteX0" fmla="*/ 0 w 1129985"/>
                  <a:gd name="connsiteY0" fmla="*/ 104775 h 207169"/>
                  <a:gd name="connsiteX1" fmla="*/ 23813 w 1129985"/>
                  <a:gd name="connsiteY1" fmla="*/ 121444 h 207169"/>
                  <a:gd name="connsiteX2" fmla="*/ 28575 w 1129985"/>
                  <a:gd name="connsiteY2" fmla="*/ 128587 h 207169"/>
                  <a:gd name="connsiteX3" fmla="*/ 47625 w 1129985"/>
                  <a:gd name="connsiteY3" fmla="*/ 140494 h 207169"/>
                  <a:gd name="connsiteX4" fmla="*/ 104775 w 1129985"/>
                  <a:gd name="connsiteY4" fmla="*/ 150019 h 207169"/>
                  <a:gd name="connsiteX5" fmla="*/ 285750 w 1129985"/>
                  <a:gd name="connsiteY5" fmla="*/ 192881 h 207169"/>
                  <a:gd name="connsiteX6" fmla="*/ 457200 w 1129985"/>
                  <a:gd name="connsiteY6" fmla="*/ 207169 h 207169"/>
                  <a:gd name="connsiteX7" fmla="*/ 604838 w 1129985"/>
                  <a:gd name="connsiteY7" fmla="*/ 204787 h 207169"/>
                  <a:gd name="connsiteX8" fmla="*/ 623888 w 1129985"/>
                  <a:gd name="connsiteY8" fmla="*/ 200025 h 207169"/>
                  <a:gd name="connsiteX9" fmla="*/ 676275 w 1129985"/>
                  <a:gd name="connsiteY9" fmla="*/ 197644 h 207169"/>
                  <a:gd name="connsiteX10" fmla="*/ 797719 w 1129985"/>
                  <a:gd name="connsiteY10" fmla="*/ 188119 h 207169"/>
                  <a:gd name="connsiteX11" fmla="*/ 866775 w 1129985"/>
                  <a:gd name="connsiteY11" fmla="*/ 173831 h 207169"/>
                  <a:gd name="connsiteX12" fmla="*/ 940594 w 1129985"/>
                  <a:gd name="connsiteY12" fmla="*/ 169069 h 207169"/>
                  <a:gd name="connsiteX13" fmla="*/ 971550 w 1129985"/>
                  <a:gd name="connsiteY13" fmla="*/ 166687 h 207169"/>
                  <a:gd name="connsiteX14" fmla="*/ 1052513 w 1129985"/>
                  <a:gd name="connsiteY14" fmla="*/ 142875 h 207169"/>
                  <a:gd name="connsiteX15" fmla="*/ 1125625 w 1129985"/>
                  <a:gd name="connsiteY15" fmla="*/ 102808 h 207169"/>
                  <a:gd name="connsiteX16" fmla="*/ 1114425 w 1129985"/>
                  <a:gd name="connsiteY16" fmla="*/ 85725 h 207169"/>
                  <a:gd name="connsiteX17" fmla="*/ 1054894 w 1129985"/>
                  <a:gd name="connsiteY17" fmla="*/ 61912 h 207169"/>
                  <a:gd name="connsiteX18" fmla="*/ 966788 w 1129985"/>
                  <a:gd name="connsiteY18" fmla="*/ 35719 h 207169"/>
                  <a:gd name="connsiteX19" fmla="*/ 857250 w 1129985"/>
                  <a:gd name="connsiteY19" fmla="*/ 21431 h 207169"/>
                  <a:gd name="connsiteX20" fmla="*/ 790575 w 1129985"/>
                  <a:gd name="connsiteY20" fmla="*/ 9525 h 207169"/>
                  <a:gd name="connsiteX21" fmla="*/ 702469 w 1129985"/>
                  <a:gd name="connsiteY21" fmla="*/ 7144 h 207169"/>
                  <a:gd name="connsiteX22" fmla="*/ 559594 w 1129985"/>
                  <a:gd name="connsiteY22" fmla="*/ 0 h 207169"/>
                  <a:gd name="connsiteX23" fmla="*/ 338138 w 1129985"/>
                  <a:gd name="connsiteY23" fmla="*/ 2381 h 207169"/>
                  <a:gd name="connsiteX24" fmla="*/ 278607 w 1129985"/>
                  <a:gd name="connsiteY24" fmla="*/ 9525 h 207169"/>
                  <a:gd name="connsiteX25" fmla="*/ 238125 w 1129985"/>
                  <a:gd name="connsiteY25" fmla="*/ 14287 h 207169"/>
                  <a:gd name="connsiteX26" fmla="*/ 54769 w 1129985"/>
                  <a:gd name="connsiteY26" fmla="*/ 61912 h 207169"/>
                  <a:gd name="connsiteX27" fmla="*/ 9525 w 1129985"/>
                  <a:gd name="connsiteY27" fmla="*/ 80962 h 207169"/>
                  <a:gd name="connsiteX28" fmla="*/ 0 w 1129985"/>
                  <a:gd name="connsiteY28" fmla="*/ 104775 h 207169"/>
                  <a:gd name="connsiteX0" fmla="*/ 0 w 1128285"/>
                  <a:gd name="connsiteY0" fmla="*/ 104775 h 207169"/>
                  <a:gd name="connsiteX1" fmla="*/ 23813 w 1128285"/>
                  <a:gd name="connsiteY1" fmla="*/ 121444 h 207169"/>
                  <a:gd name="connsiteX2" fmla="*/ 28575 w 1128285"/>
                  <a:gd name="connsiteY2" fmla="*/ 128587 h 207169"/>
                  <a:gd name="connsiteX3" fmla="*/ 47625 w 1128285"/>
                  <a:gd name="connsiteY3" fmla="*/ 140494 h 207169"/>
                  <a:gd name="connsiteX4" fmla="*/ 104775 w 1128285"/>
                  <a:gd name="connsiteY4" fmla="*/ 150019 h 207169"/>
                  <a:gd name="connsiteX5" fmla="*/ 285750 w 1128285"/>
                  <a:gd name="connsiteY5" fmla="*/ 192881 h 207169"/>
                  <a:gd name="connsiteX6" fmla="*/ 457200 w 1128285"/>
                  <a:gd name="connsiteY6" fmla="*/ 207169 h 207169"/>
                  <a:gd name="connsiteX7" fmla="*/ 604838 w 1128285"/>
                  <a:gd name="connsiteY7" fmla="*/ 204787 h 207169"/>
                  <a:gd name="connsiteX8" fmla="*/ 623888 w 1128285"/>
                  <a:gd name="connsiteY8" fmla="*/ 200025 h 207169"/>
                  <a:gd name="connsiteX9" fmla="*/ 676275 w 1128285"/>
                  <a:gd name="connsiteY9" fmla="*/ 197644 h 207169"/>
                  <a:gd name="connsiteX10" fmla="*/ 797719 w 1128285"/>
                  <a:gd name="connsiteY10" fmla="*/ 188119 h 207169"/>
                  <a:gd name="connsiteX11" fmla="*/ 866775 w 1128285"/>
                  <a:gd name="connsiteY11" fmla="*/ 173831 h 207169"/>
                  <a:gd name="connsiteX12" fmla="*/ 940594 w 1128285"/>
                  <a:gd name="connsiteY12" fmla="*/ 169069 h 207169"/>
                  <a:gd name="connsiteX13" fmla="*/ 971550 w 1128285"/>
                  <a:gd name="connsiteY13" fmla="*/ 166687 h 207169"/>
                  <a:gd name="connsiteX14" fmla="*/ 1052513 w 1128285"/>
                  <a:gd name="connsiteY14" fmla="*/ 142875 h 207169"/>
                  <a:gd name="connsiteX15" fmla="*/ 1125625 w 1128285"/>
                  <a:gd name="connsiteY15" fmla="*/ 102808 h 207169"/>
                  <a:gd name="connsiteX16" fmla="*/ 1106866 w 1128285"/>
                  <a:gd name="connsiteY16" fmla="*/ 74387 h 207169"/>
                  <a:gd name="connsiteX17" fmla="*/ 1054894 w 1128285"/>
                  <a:gd name="connsiteY17" fmla="*/ 61912 h 207169"/>
                  <a:gd name="connsiteX18" fmla="*/ 966788 w 1128285"/>
                  <a:gd name="connsiteY18" fmla="*/ 35719 h 207169"/>
                  <a:gd name="connsiteX19" fmla="*/ 857250 w 1128285"/>
                  <a:gd name="connsiteY19" fmla="*/ 21431 h 207169"/>
                  <a:gd name="connsiteX20" fmla="*/ 790575 w 1128285"/>
                  <a:gd name="connsiteY20" fmla="*/ 9525 h 207169"/>
                  <a:gd name="connsiteX21" fmla="*/ 702469 w 1128285"/>
                  <a:gd name="connsiteY21" fmla="*/ 7144 h 207169"/>
                  <a:gd name="connsiteX22" fmla="*/ 559594 w 1128285"/>
                  <a:gd name="connsiteY22" fmla="*/ 0 h 207169"/>
                  <a:gd name="connsiteX23" fmla="*/ 338138 w 1128285"/>
                  <a:gd name="connsiteY23" fmla="*/ 2381 h 207169"/>
                  <a:gd name="connsiteX24" fmla="*/ 278607 w 1128285"/>
                  <a:gd name="connsiteY24" fmla="*/ 9525 h 207169"/>
                  <a:gd name="connsiteX25" fmla="*/ 238125 w 1128285"/>
                  <a:gd name="connsiteY25" fmla="*/ 14287 h 207169"/>
                  <a:gd name="connsiteX26" fmla="*/ 54769 w 1128285"/>
                  <a:gd name="connsiteY26" fmla="*/ 61912 h 207169"/>
                  <a:gd name="connsiteX27" fmla="*/ 9525 w 1128285"/>
                  <a:gd name="connsiteY27" fmla="*/ 80962 h 207169"/>
                  <a:gd name="connsiteX28" fmla="*/ 0 w 1128285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66788 w 1128511"/>
                  <a:gd name="connsiteY18" fmla="*/ 35719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8055 w 1128511"/>
                  <a:gd name="connsiteY20" fmla="*/ 448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47625 w 1128511"/>
                  <a:gd name="connsiteY2" fmla="*/ 140494 h 207169"/>
                  <a:gd name="connsiteX3" fmla="*/ 104775 w 1128511"/>
                  <a:gd name="connsiteY3" fmla="*/ 150019 h 207169"/>
                  <a:gd name="connsiteX4" fmla="*/ 285750 w 1128511"/>
                  <a:gd name="connsiteY4" fmla="*/ 192881 h 207169"/>
                  <a:gd name="connsiteX5" fmla="*/ 457200 w 1128511"/>
                  <a:gd name="connsiteY5" fmla="*/ 207169 h 207169"/>
                  <a:gd name="connsiteX6" fmla="*/ 604838 w 1128511"/>
                  <a:gd name="connsiteY6" fmla="*/ 204787 h 207169"/>
                  <a:gd name="connsiteX7" fmla="*/ 623888 w 1128511"/>
                  <a:gd name="connsiteY7" fmla="*/ 200025 h 207169"/>
                  <a:gd name="connsiteX8" fmla="*/ 676275 w 1128511"/>
                  <a:gd name="connsiteY8" fmla="*/ 197644 h 207169"/>
                  <a:gd name="connsiteX9" fmla="*/ 797719 w 1128511"/>
                  <a:gd name="connsiteY9" fmla="*/ 188119 h 207169"/>
                  <a:gd name="connsiteX10" fmla="*/ 866775 w 1128511"/>
                  <a:gd name="connsiteY10" fmla="*/ 173831 h 207169"/>
                  <a:gd name="connsiteX11" fmla="*/ 940594 w 1128511"/>
                  <a:gd name="connsiteY11" fmla="*/ 169069 h 207169"/>
                  <a:gd name="connsiteX12" fmla="*/ 971550 w 1128511"/>
                  <a:gd name="connsiteY12" fmla="*/ 166687 h 207169"/>
                  <a:gd name="connsiteX13" fmla="*/ 1052513 w 1128511"/>
                  <a:gd name="connsiteY13" fmla="*/ 142875 h 207169"/>
                  <a:gd name="connsiteX14" fmla="*/ 1125625 w 1128511"/>
                  <a:gd name="connsiteY14" fmla="*/ 102808 h 207169"/>
                  <a:gd name="connsiteX15" fmla="*/ 1106866 w 1128511"/>
                  <a:gd name="connsiteY15" fmla="*/ 74387 h 207169"/>
                  <a:gd name="connsiteX16" fmla="*/ 1042296 w 1128511"/>
                  <a:gd name="connsiteY16" fmla="*/ 44275 h 207169"/>
                  <a:gd name="connsiteX17" fmla="*/ 941593 w 1128511"/>
                  <a:gd name="connsiteY17" fmla="*/ 25641 h 207169"/>
                  <a:gd name="connsiteX18" fmla="*/ 858510 w 1128511"/>
                  <a:gd name="connsiteY18" fmla="*/ 13873 h 207169"/>
                  <a:gd name="connsiteX19" fmla="*/ 783016 w 1128511"/>
                  <a:gd name="connsiteY19" fmla="*/ 3226 h 207169"/>
                  <a:gd name="connsiteX20" fmla="*/ 693651 w 1128511"/>
                  <a:gd name="connsiteY20" fmla="*/ 2105 h 207169"/>
                  <a:gd name="connsiteX21" fmla="*/ 559594 w 1128511"/>
                  <a:gd name="connsiteY21" fmla="*/ 0 h 207169"/>
                  <a:gd name="connsiteX22" fmla="*/ 348216 w 1128511"/>
                  <a:gd name="connsiteY22" fmla="*/ 4901 h 207169"/>
                  <a:gd name="connsiteX23" fmla="*/ 221748 w 1128511"/>
                  <a:gd name="connsiteY23" fmla="*/ 15547 h 207169"/>
                  <a:gd name="connsiteX24" fmla="*/ 63587 w 1128511"/>
                  <a:gd name="connsiteY24" fmla="*/ 53093 h 207169"/>
                  <a:gd name="connsiteX25" fmla="*/ 9525 w 1128511"/>
                  <a:gd name="connsiteY25" fmla="*/ 80962 h 207169"/>
                  <a:gd name="connsiteX26" fmla="*/ 0 w 1128511"/>
                  <a:gd name="connsiteY26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104775 w 1128511"/>
                  <a:gd name="connsiteY2" fmla="*/ 150019 h 207169"/>
                  <a:gd name="connsiteX3" fmla="*/ 285750 w 1128511"/>
                  <a:gd name="connsiteY3" fmla="*/ 192881 h 207169"/>
                  <a:gd name="connsiteX4" fmla="*/ 457200 w 1128511"/>
                  <a:gd name="connsiteY4" fmla="*/ 207169 h 207169"/>
                  <a:gd name="connsiteX5" fmla="*/ 604838 w 1128511"/>
                  <a:gd name="connsiteY5" fmla="*/ 204787 h 207169"/>
                  <a:gd name="connsiteX6" fmla="*/ 623888 w 1128511"/>
                  <a:gd name="connsiteY6" fmla="*/ 200025 h 207169"/>
                  <a:gd name="connsiteX7" fmla="*/ 676275 w 1128511"/>
                  <a:gd name="connsiteY7" fmla="*/ 197644 h 207169"/>
                  <a:gd name="connsiteX8" fmla="*/ 797719 w 1128511"/>
                  <a:gd name="connsiteY8" fmla="*/ 188119 h 207169"/>
                  <a:gd name="connsiteX9" fmla="*/ 866775 w 1128511"/>
                  <a:gd name="connsiteY9" fmla="*/ 173831 h 207169"/>
                  <a:gd name="connsiteX10" fmla="*/ 940594 w 1128511"/>
                  <a:gd name="connsiteY10" fmla="*/ 169069 h 207169"/>
                  <a:gd name="connsiteX11" fmla="*/ 971550 w 1128511"/>
                  <a:gd name="connsiteY11" fmla="*/ 166687 h 207169"/>
                  <a:gd name="connsiteX12" fmla="*/ 1052513 w 1128511"/>
                  <a:gd name="connsiteY12" fmla="*/ 142875 h 207169"/>
                  <a:gd name="connsiteX13" fmla="*/ 1125625 w 1128511"/>
                  <a:gd name="connsiteY13" fmla="*/ 102808 h 207169"/>
                  <a:gd name="connsiteX14" fmla="*/ 1106866 w 1128511"/>
                  <a:gd name="connsiteY14" fmla="*/ 74387 h 207169"/>
                  <a:gd name="connsiteX15" fmla="*/ 1042296 w 1128511"/>
                  <a:gd name="connsiteY15" fmla="*/ 44275 h 207169"/>
                  <a:gd name="connsiteX16" fmla="*/ 941593 w 1128511"/>
                  <a:gd name="connsiteY16" fmla="*/ 25641 h 207169"/>
                  <a:gd name="connsiteX17" fmla="*/ 858510 w 1128511"/>
                  <a:gd name="connsiteY17" fmla="*/ 13873 h 207169"/>
                  <a:gd name="connsiteX18" fmla="*/ 783016 w 1128511"/>
                  <a:gd name="connsiteY18" fmla="*/ 3226 h 207169"/>
                  <a:gd name="connsiteX19" fmla="*/ 693651 w 1128511"/>
                  <a:gd name="connsiteY19" fmla="*/ 2105 h 207169"/>
                  <a:gd name="connsiteX20" fmla="*/ 559594 w 1128511"/>
                  <a:gd name="connsiteY20" fmla="*/ 0 h 207169"/>
                  <a:gd name="connsiteX21" fmla="*/ 348216 w 1128511"/>
                  <a:gd name="connsiteY21" fmla="*/ 4901 h 207169"/>
                  <a:gd name="connsiteX22" fmla="*/ 221748 w 1128511"/>
                  <a:gd name="connsiteY22" fmla="*/ 15547 h 207169"/>
                  <a:gd name="connsiteX23" fmla="*/ 63587 w 1128511"/>
                  <a:gd name="connsiteY23" fmla="*/ 53093 h 207169"/>
                  <a:gd name="connsiteX24" fmla="*/ 9525 w 1128511"/>
                  <a:gd name="connsiteY24" fmla="*/ 80962 h 207169"/>
                  <a:gd name="connsiteX25" fmla="*/ 0 w 1128511"/>
                  <a:gd name="connsiteY25" fmla="*/ 104775 h 207169"/>
                  <a:gd name="connsiteX0" fmla="*/ 1574 w 1130085"/>
                  <a:gd name="connsiteY0" fmla="*/ 104775 h 207169"/>
                  <a:gd name="connsiteX1" fmla="*/ 46803 w 1130085"/>
                  <a:gd name="connsiteY1" fmla="*/ 135301 h 207169"/>
                  <a:gd name="connsiteX2" fmla="*/ 106349 w 1130085"/>
                  <a:gd name="connsiteY2" fmla="*/ 150019 h 207169"/>
                  <a:gd name="connsiteX3" fmla="*/ 287324 w 1130085"/>
                  <a:gd name="connsiteY3" fmla="*/ 192881 h 207169"/>
                  <a:gd name="connsiteX4" fmla="*/ 458774 w 1130085"/>
                  <a:gd name="connsiteY4" fmla="*/ 207169 h 207169"/>
                  <a:gd name="connsiteX5" fmla="*/ 606412 w 1130085"/>
                  <a:gd name="connsiteY5" fmla="*/ 204787 h 207169"/>
                  <a:gd name="connsiteX6" fmla="*/ 625462 w 1130085"/>
                  <a:gd name="connsiteY6" fmla="*/ 200025 h 207169"/>
                  <a:gd name="connsiteX7" fmla="*/ 677849 w 1130085"/>
                  <a:gd name="connsiteY7" fmla="*/ 197644 h 207169"/>
                  <a:gd name="connsiteX8" fmla="*/ 799293 w 1130085"/>
                  <a:gd name="connsiteY8" fmla="*/ 188119 h 207169"/>
                  <a:gd name="connsiteX9" fmla="*/ 868349 w 1130085"/>
                  <a:gd name="connsiteY9" fmla="*/ 173831 h 207169"/>
                  <a:gd name="connsiteX10" fmla="*/ 942168 w 1130085"/>
                  <a:gd name="connsiteY10" fmla="*/ 169069 h 207169"/>
                  <a:gd name="connsiteX11" fmla="*/ 973124 w 1130085"/>
                  <a:gd name="connsiteY11" fmla="*/ 166687 h 207169"/>
                  <a:gd name="connsiteX12" fmla="*/ 1054087 w 1130085"/>
                  <a:gd name="connsiteY12" fmla="*/ 142875 h 207169"/>
                  <a:gd name="connsiteX13" fmla="*/ 1127199 w 1130085"/>
                  <a:gd name="connsiteY13" fmla="*/ 102808 h 207169"/>
                  <a:gd name="connsiteX14" fmla="*/ 1108440 w 1130085"/>
                  <a:gd name="connsiteY14" fmla="*/ 74387 h 207169"/>
                  <a:gd name="connsiteX15" fmla="*/ 1043870 w 1130085"/>
                  <a:gd name="connsiteY15" fmla="*/ 44275 h 207169"/>
                  <a:gd name="connsiteX16" fmla="*/ 943167 w 1130085"/>
                  <a:gd name="connsiteY16" fmla="*/ 25641 h 207169"/>
                  <a:gd name="connsiteX17" fmla="*/ 860084 w 1130085"/>
                  <a:gd name="connsiteY17" fmla="*/ 13873 h 207169"/>
                  <a:gd name="connsiteX18" fmla="*/ 784590 w 1130085"/>
                  <a:gd name="connsiteY18" fmla="*/ 3226 h 207169"/>
                  <a:gd name="connsiteX19" fmla="*/ 695225 w 1130085"/>
                  <a:gd name="connsiteY19" fmla="*/ 2105 h 207169"/>
                  <a:gd name="connsiteX20" fmla="*/ 561168 w 1130085"/>
                  <a:gd name="connsiteY20" fmla="*/ 0 h 207169"/>
                  <a:gd name="connsiteX21" fmla="*/ 349790 w 1130085"/>
                  <a:gd name="connsiteY21" fmla="*/ 4901 h 207169"/>
                  <a:gd name="connsiteX22" fmla="*/ 223322 w 1130085"/>
                  <a:gd name="connsiteY22" fmla="*/ 15547 h 207169"/>
                  <a:gd name="connsiteX23" fmla="*/ 65161 w 1130085"/>
                  <a:gd name="connsiteY23" fmla="*/ 53093 h 207169"/>
                  <a:gd name="connsiteX24" fmla="*/ 11099 w 1130085"/>
                  <a:gd name="connsiteY24" fmla="*/ 80962 h 207169"/>
                  <a:gd name="connsiteX25" fmla="*/ 1574 w 1130085"/>
                  <a:gd name="connsiteY25" fmla="*/ 104775 h 207169"/>
                  <a:gd name="connsiteX0" fmla="*/ 2544 w 1131055"/>
                  <a:gd name="connsiteY0" fmla="*/ 104775 h 207169"/>
                  <a:gd name="connsiteX1" fmla="*/ 47773 w 1131055"/>
                  <a:gd name="connsiteY1" fmla="*/ 135301 h 207169"/>
                  <a:gd name="connsiteX2" fmla="*/ 107319 w 1131055"/>
                  <a:gd name="connsiteY2" fmla="*/ 150019 h 207169"/>
                  <a:gd name="connsiteX3" fmla="*/ 288294 w 1131055"/>
                  <a:gd name="connsiteY3" fmla="*/ 192881 h 207169"/>
                  <a:gd name="connsiteX4" fmla="*/ 459744 w 1131055"/>
                  <a:gd name="connsiteY4" fmla="*/ 207169 h 207169"/>
                  <a:gd name="connsiteX5" fmla="*/ 607382 w 1131055"/>
                  <a:gd name="connsiteY5" fmla="*/ 204787 h 207169"/>
                  <a:gd name="connsiteX6" fmla="*/ 626432 w 1131055"/>
                  <a:gd name="connsiteY6" fmla="*/ 200025 h 207169"/>
                  <a:gd name="connsiteX7" fmla="*/ 678819 w 1131055"/>
                  <a:gd name="connsiteY7" fmla="*/ 197644 h 207169"/>
                  <a:gd name="connsiteX8" fmla="*/ 800263 w 1131055"/>
                  <a:gd name="connsiteY8" fmla="*/ 188119 h 207169"/>
                  <a:gd name="connsiteX9" fmla="*/ 869319 w 1131055"/>
                  <a:gd name="connsiteY9" fmla="*/ 173831 h 207169"/>
                  <a:gd name="connsiteX10" fmla="*/ 943138 w 1131055"/>
                  <a:gd name="connsiteY10" fmla="*/ 169069 h 207169"/>
                  <a:gd name="connsiteX11" fmla="*/ 974094 w 1131055"/>
                  <a:gd name="connsiteY11" fmla="*/ 166687 h 207169"/>
                  <a:gd name="connsiteX12" fmla="*/ 1055057 w 1131055"/>
                  <a:gd name="connsiteY12" fmla="*/ 142875 h 207169"/>
                  <a:gd name="connsiteX13" fmla="*/ 1128169 w 1131055"/>
                  <a:gd name="connsiteY13" fmla="*/ 102808 h 207169"/>
                  <a:gd name="connsiteX14" fmla="*/ 1109410 w 1131055"/>
                  <a:gd name="connsiteY14" fmla="*/ 74387 h 207169"/>
                  <a:gd name="connsiteX15" fmla="*/ 1044840 w 1131055"/>
                  <a:gd name="connsiteY15" fmla="*/ 44275 h 207169"/>
                  <a:gd name="connsiteX16" fmla="*/ 944137 w 1131055"/>
                  <a:gd name="connsiteY16" fmla="*/ 25641 h 207169"/>
                  <a:gd name="connsiteX17" fmla="*/ 861054 w 1131055"/>
                  <a:gd name="connsiteY17" fmla="*/ 13873 h 207169"/>
                  <a:gd name="connsiteX18" fmla="*/ 785560 w 1131055"/>
                  <a:gd name="connsiteY18" fmla="*/ 3226 h 207169"/>
                  <a:gd name="connsiteX19" fmla="*/ 696195 w 1131055"/>
                  <a:gd name="connsiteY19" fmla="*/ 2105 h 207169"/>
                  <a:gd name="connsiteX20" fmla="*/ 562138 w 1131055"/>
                  <a:gd name="connsiteY20" fmla="*/ 0 h 207169"/>
                  <a:gd name="connsiteX21" fmla="*/ 350760 w 1131055"/>
                  <a:gd name="connsiteY21" fmla="*/ 4901 h 207169"/>
                  <a:gd name="connsiteX22" fmla="*/ 224292 w 1131055"/>
                  <a:gd name="connsiteY22" fmla="*/ 15547 h 207169"/>
                  <a:gd name="connsiteX23" fmla="*/ 66131 w 1131055"/>
                  <a:gd name="connsiteY23" fmla="*/ 53093 h 207169"/>
                  <a:gd name="connsiteX24" fmla="*/ 12069 w 1131055"/>
                  <a:gd name="connsiteY24" fmla="*/ 80962 h 207169"/>
                  <a:gd name="connsiteX25" fmla="*/ 2544 w 1131055"/>
                  <a:gd name="connsiteY25" fmla="*/ 104775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1104 w 1124840"/>
                  <a:gd name="connsiteY2" fmla="*/ 150019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9922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83757 w 1126518"/>
                  <a:gd name="connsiteY3" fmla="*/ 192881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9354"/>
                  <a:gd name="connsiteX1" fmla="*/ 43236 w 1126518"/>
                  <a:gd name="connsiteY1" fmla="*/ 135301 h 209354"/>
                  <a:gd name="connsiteX2" fmla="*/ 124198 w 1126518"/>
                  <a:gd name="connsiteY2" fmla="*/ 160097 h 209354"/>
                  <a:gd name="connsiteX3" fmla="*/ 290056 w 1126518"/>
                  <a:gd name="connsiteY3" fmla="*/ 190362 h 209354"/>
                  <a:gd name="connsiteX4" fmla="*/ 455207 w 1126518"/>
                  <a:gd name="connsiteY4" fmla="*/ 207169 h 209354"/>
                  <a:gd name="connsiteX5" fmla="*/ 602845 w 1126518"/>
                  <a:gd name="connsiteY5" fmla="*/ 204787 h 209354"/>
                  <a:gd name="connsiteX6" fmla="*/ 621895 w 1126518"/>
                  <a:gd name="connsiteY6" fmla="*/ 200025 h 209354"/>
                  <a:gd name="connsiteX7" fmla="*/ 674282 w 1126518"/>
                  <a:gd name="connsiteY7" fmla="*/ 197644 h 209354"/>
                  <a:gd name="connsiteX8" fmla="*/ 795726 w 1126518"/>
                  <a:gd name="connsiteY8" fmla="*/ 188119 h 209354"/>
                  <a:gd name="connsiteX9" fmla="*/ 864782 w 1126518"/>
                  <a:gd name="connsiteY9" fmla="*/ 173831 h 209354"/>
                  <a:gd name="connsiteX10" fmla="*/ 938601 w 1126518"/>
                  <a:gd name="connsiteY10" fmla="*/ 169069 h 209354"/>
                  <a:gd name="connsiteX11" fmla="*/ 969557 w 1126518"/>
                  <a:gd name="connsiteY11" fmla="*/ 166687 h 209354"/>
                  <a:gd name="connsiteX12" fmla="*/ 1050520 w 1126518"/>
                  <a:gd name="connsiteY12" fmla="*/ 142875 h 209354"/>
                  <a:gd name="connsiteX13" fmla="*/ 1123632 w 1126518"/>
                  <a:gd name="connsiteY13" fmla="*/ 102808 h 209354"/>
                  <a:gd name="connsiteX14" fmla="*/ 1104873 w 1126518"/>
                  <a:gd name="connsiteY14" fmla="*/ 74387 h 209354"/>
                  <a:gd name="connsiteX15" fmla="*/ 1040303 w 1126518"/>
                  <a:gd name="connsiteY15" fmla="*/ 44275 h 209354"/>
                  <a:gd name="connsiteX16" fmla="*/ 939600 w 1126518"/>
                  <a:gd name="connsiteY16" fmla="*/ 25641 h 209354"/>
                  <a:gd name="connsiteX17" fmla="*/ 856517 w 1126518"/>
                  <a:gd name="connsiteY17" fmla="*/ 13873 h 209354"/>
                  <a:gd name="connsiteX18" fmla="*/ 781023 w 1126518"/>
                  <a:gd name="connsiteY18" fmla="*/ 3226 h 209354"/>
                  <a:gd name="connsiteX19" fmla="*/ 691658 w 1126518"/>
                  <a:gd name="connsiteY19" fmla="*/ 2105 h 209354"/>
                  <a:gd name="connsiteX20" fmla="*/ 557601 w 1126518"/>
                  <a:gd name="connsiteY20" fmla="*/ 0 h 209354"/>
                  <a:gd name="connsiteX21" fmla="*/ 346223 w 1126518"/>
                  <a:gd name="connsiteY21" fmla="*/ 4901 h 209354"/>
                  <a:gd name="connsiteX22" fmla="*/ 219755 w 1126518"/>
                  <a:gd name="connsiteY22" fmla="*/ 15547 h 209354"/>
                  <a:gd name="connsiteX23" fmla="*/ 61594 w 1126518"/>
                  <a:gd name="connsiteY23" fmla="*/ 53093 h 209354"/>
                  <a:gd name="connsiteX24" fmla="*/ 7532 w 1126518"/>
                  <a:gd name="connsiteY24" fmla="*/ 80962 h 209354"/>
                  <a:gd name="connsiteX25" fmla="*/ 5566 w 1126518"/>
                  <a:gd name="connsiteY25" fmla="*/ 111074 h 209354"/>
                  <a:gd name="connsiteX0" fmla="*/ 5566 w 1126518"/>
                  <a:gd name="connsiteY0" fmla="*/ 111074 h 205690"/>
                  <a:gd name="connsiteX1" fmla="*/ 43236 w 1126518"/>
                  <a:gd name="connsiteY1" fmla="*/ 135301 h 205690"/>
                  <a:gd name="connsiteX2" fmla="*/ 124198 w 1126518"/>
                  <a:gd name="connsiteY2" fmla="*/ 160097 h 205690"/>
                  <a:gd name="connsiteX3" fmla="*/ 290056 w 1126518"/>
                  <a:gd name="connsiteY3" fmla="*/ 190362 h 205690"/>
                  <a:gd name="connsiteX4" fmla="*/ 438830 w 1126518"/>
                  <a:gd name="connsiteY4" fmla="*/ 202130 h 205690"/>
                  <a:gd name="connsiteX5" fmla="*/ 602845 w 1126518"/>
                  <a:gd name="connsiteY5" fmla="*/ 204787 h 205690"/>
                  <a:gd name="connsiteX6" fmla="*/ 621895 w 1126518"/>
                  <a:gd name="connsiteY6" fmla="*/ 200025 h 205690"/>
                  <a:gd name="connsiteX7" fmla="*/ 674282 w 1126518"/>
                  <a:gd name="connsiteY7" fmla="*/ 197644 h 205690"/>
                  <a:gd name="connsiteX8" fmla="*/ 795726 w 1126518"/>
                  <a:gd name="connsiteY8" fmla="*/ 188119 h 205690"/>
                  <a:gd name="connsiteX9" fmla="*/ 864782 w 1126518"/>
                  <a:gd name="connsiteY9" fmla="*/ 173831 h 205690"/>
                  <a:gd name="connsiteX10" fmla="*/ 938601 w 1126518"/>
                  <a:gd name="connsiteY10" fmla="*/ 169069 h 205690"/>
                  <a:gd name="connsiteX11" fmla="*/ 969557 w 1126518"/>
                  <a:gd name="connsiteY11" fmla="*/ 166687 h 205690"/>
                  <a:gd name="connsiteX12" fmla="*/ 1050520 w 1126518"/>
                  <a:gd name="connsiteY12" fmla="*/ 142875 h 205690"/>
                  <a:gd name="connsiteX13" fmla="*/ 1123632 w 1126518"/>
                  <a:gd name="connsiteY13" fmla="*/ 102808 h 205690"/>
                  <a:gd name="connsiteX14" fmla="*/ 1104873 w 1126518"/>
                  <a:gd name="connsiteY14" fmla="*/ 74387 h 205690"/>
                  <a:gd name="connsiteX15" fmla="*/ 1040303 w 1126518"/>
                  <a:gd name="connsiteY15" fmla="*/ 44275 h 205690"/>
                  <a:gd name="connsiteX16" fmla="*/ 939600 w 1126518"/>
                  <a:gd name="connsiteY16" fmla="*/ 25641 h 205690"/>
                  <a:gd name="connsiteX17" fmla="*/ 856517 w 1126518"/>
                  <a:gd name="connsiteY17" fmla="*/ 13873 h 205690"/>
                  <a:gd name="connsiteX18" fmla="*/ 781023 w 1126518"/>
                  <a:gd name="connsiteY18" fmla="*/ 3226 h 205690"/>
                  <a:gd name="connsiteX19" fmla="*/ 691658 w 1126518"/>
                  <a:gd name="connsiteY19" fmla="*/ 2105 h 205690"/>
                  <a:gd name="connsiteX20" fmla="*/ 557601 w 1126518"/>
                  <a:gd name="connsiteY20" fmla="*/ 0 h 205690"/>
                  <a:gd name="connsiteX21" fmla="*/ 346223 w 1126518"/>
                  <a:gd name="connsiteY21" fmla="*/ 4901 h 205690"/>
                  <a:gd name="connsiteX22" fmla="*/ 219755 w 1126518"/>
                  <a:gd name="connsiteY22" fmla="*/ 15547 h 205690"/>
                  <a:gd name="connsiteX23" fmla="*/ 61594 w 1126518"/>
                  <a:gd name="connsiteY23" fmla="*/ 53093 h 205690"/>
                  <a:gd name="connsiteX24" fmla="*/ 7532 w 1126518"/>
                  <a:gd name="connsiteY24" fmla="*/ 80962 h 205690"/>
                  <a:gd name="connsiteX25" fmla="*/ 5566 w 1126518"/>
                  <a:gd name="connsiteY25" fmla="*/ 111074 h 205690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864782 w 1126518"/>
                  <a:gd name="connsiteY8" fmla="*/ 173831 h 202601"/>
                  <a:gd name="connsiteX9" fmla="*/ 938601 w 1126518"/>
                  <a:gd name="connsiteY9" fmla="*/ 169069 h 202601"/>
                  <a:gd name="connsiteX10" fmla="*/ 969557 w 1126518"/>
                  <a:gd name="connsiteY10" fmla="*/ 166687 h 202601"/>
                  <a:gd name="connsiteX11" fmla="*/ 1050520 w 1126518"/>
                  <a:gd name="connsiteY11" fmla="*/ 142875 h 202601"/>
                  <a:gd name="connsiteX12" fmla="*/ 1123632 w 1126518"/>
                  <a:gd name="connsiteY12" fmla="*/ 102808 h 202601"/>
                  <a:gd name="connsiteX13" fmla="*/ 1104873 w 1126518"/>
                  <a:gd name="connsiteY13" fmla="*/ 74387 h 202601"/>
                  <a:gd name="connsiteX14" fmla="*/ 1040303 w 1126518"/>
                  <a:gd name="connsiteY14" fmla="*/ 44275 h 202601"/>
                  <a:gd name="connsiteX15" fmla="*/ 939600 w 1126518"/>
                  <a:gd name="connsiteY15" fmla="*/ 25641 h 202601"/>
                  <a:gd name="connsiteX16" fmla="*/ 856517 w 1126518"/>
                  <a:gd name="connsiteY16" fmla="*/ 13873 h 202601"/>
                  <a:gd name="connsiteX17" fmla="*/ 781023 w 1126518"/>
                  <a:gd name="connsiteY17" fmla="*/ 3226 h 202601"/>
                  <a:gd name="connsiteX18" fmla="*/ 691658 w 1126518"/>
                  <a:gd name="connsiteY18" fmla="*/ 2105 h 202601"/>
                  <a:gd name="connsiteX19" fmla="*/ 557601 w 1126518"/>
                  <a:gd name="connsiteY19" fmla="*/ 0 h 202601"/>
                  <a:gd name="connsiteX20" fmla="*/ 346223 w 1126518"/>
                  <a:gd name="connsiteY20" fmla="*/ 4901 h 202601"/>
                  <a:gd name="connsiteX21" fmla="*/ 219755 w 1126518"/>
                  <a:gd name="connsiteY21" fmla="*/ 15547 h 202601"/>
                  <a:gd name="connsiteX22" fmla="*/ 61594 w 1126518"/>
                  <a:gd name="connsiteY22" fmla="*/ 53093 h 202601"/>
                  <a:gd name="connsiteX23" fmla="*/ 7532 w 1126518"/>
                  <a:gd name="connsiteY23" fmla="*/ 80962 h 202601"/>
                  <a:gd name="connsiteX24" fmla="*/ 5566 w 1126518"/>
                  <a:gd name="connsiteY24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5883 w 1126518"/>
                  <a:gd name="connsiteY7" fmla="*/ 18811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7143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29741 w 1126518"/>
                  <a:gd name="connsiteY7" fmla="*/ 18685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939600 w 1125768"/>
                  <a:gd name="connsiteY13" fmla="*/ 25641 h 202601"/>
                  <a:gd name="connsiteX14" fmla="*/ 856517 w 1125768"/>
                  <a:gd name="connsiteY14" fmla="*/ 13873 h 202601"/>
                  <a:gd name="connsiteX15" fmla="*/ 781023 w 1125768"/>
                  <a:gd name="connsiteY15" fmla="*/ 3226 h 202601"/>
                  <a:gd name="connsiteX16" fmla="*/ 691658 w 1125768"/>
                  <a:gd name="connsiteY16" fmla="*/ 2105 h 202601"/>
                  <a:gd name="connsiteX17" fmla="*/ 557601 w 1125768"/>
                  <a:gd name="connsiteY17" fmla="*/ 0 h 202601"/>
                  <a:gd name="connsiteX18" fmla="*/ 346223 w 1125768"/>
                  <a:gd name="connsiteY18" fmla="*/ 4901 h 202601"/>
                  <a:gd name="connsiteX19" fmla="*/ 219755 w 1125768"/>
                  <a:gd name="connsiteY19" fmla="*/ 15547 h 202601"/>
                  <a:gd name="connsiteX20" fmla="*/ 61594 w 1125768"/>
                  <a:gd name="connsiteY20" fmla="*/ 53093 h 202601"/>
                  <a:gd name="connsiteX21" fmla="*/ 7532 w 1125768"/>
                  <a:gd name="connsiteY21" fmla="*/ 80962 h 202601"/>
                  <a:gd name="connsiteX22" fmla="*/ 5566 w 112576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856517 w 1125768"/>
                  <a:gd name="connsiteY13" fmla="*/ 13873 h 202601"/>
                  <a:gd name="connsiteX14" fmla="*/ 781023 w 1125768"/>
                  <a:gd name="connsiteY14" fmla="*/ 3226 h 202601"/>
                  <a:gd name="connsiteX15" fmla="*/ 691658 w 1125768"/>
                  <a:gd name="connsiteY15" fmla="*/ 2105 h 202601"/>
                  <a:gd name="connsiteX16" fmla="*/ 557601 w 1125768"/>
                  <a:gd name="connsiteY16" fmla="*/ 0 h 202601"/>
                  <a:gd name="connsiteX17" fmla="*/ 346223 w 1125768"/>
                  <a:gd name="connsiteY17" fmla="*/ 4901 h 202601"/>
                  <a:gd name="connsiteX18" fmla="*/ 219755 w 1125768"/>
                  <a:gd name="connsiteY18" fmla="*/ 15547 h 202601"/>
                  <a:gd name="connsiteX19" fmla="*/ 61594 w 1125768"/>
                  <a:gd name="connsiteY19" fmla="*/ 53093 h 202601"/>
                  <a:gd name="connsiteX20" fmla="*/ 7532 w 1125768"/>
                  <a:gd name="connsiteY20" fmla="*/ 80962 h 202601"/>
                  <a:gd name="connsiteX21" fmla="*/ 5566 w 112576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56517 w 1125998"/>
                  <a:gd name="connsiteY13" fmla="*/ 1387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80453 w 1125998"/>
                  <a:gd name="connsiteY13" fmla="*/ 1261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4635 w 1125067"/>
                  <a:gd name="connsiteY0" fmla="*/ 111074 h 202601"/>
                  <a:gd name="connsiteX1" fmla="*/ 67500 w 1125067"/>
                  <a:gd name="connsiteY1" fmla="*/ 145379 h 202601"/>
                  <a:gd name="connsiteX2" fmla="*/ 123267 w 1125067"/>
                  <a:gd name="connsiteY2" fmla="*/ 160097 h 202601"/>
                  <a:gd name="connsiteX3" fmla="*/ 289125 w 1125067"/>
                  <a:gd name="connsiteY3" fmla="*/ 190362 h 202601"/>
                  <a:gd name="connsiteX4" fmla="*/ 437899 w 1125067"/>
                  <a:gd name="connsiteY4" fmla="*/ 202130 h 202601"/>
                  <a:gd name="connsiteX5" fmla="*/ 620964 w 1125067"/>
                  <a:gd name="connsiteY5" fmla="*/ 200025 h 202601"/>
                  <a:gd name="connsiteX6" fmla="*/ 673351 w 1125067"/>
                  <a:gd name="connsiteY6" fmla="*/ 197644 h 202601"/>
                  <a:gd name="connsiteX7" fmla="*/ 828810 w 1125067"/>
                  <a:gd name="connsiteY7" fmla="*/ 186859 h 202601"/>
                  <a:gd name="connsiteX8" fmla="*/ 968626 w 1125067"/>
                  <a:gd name="connsiteY8" fmla="*/ 166687 h 202601"/>
                  <a:gd name="connsiteX9" fmla="*/ 1060927 w 1125067"/>
                  <a:gd name="connsiteY9" fmla="*/ 144135 h 202601"/>
                  <a:gd name="connsiteX10" fmla="*/ 1122701 w 1125067"/>
                  <a:gd name="connsiteY10" fmla="*/ 102808 h 202601"/>
                  <a:gd name="connsiteX11" fmla="*/ 1103942 w 1125067"/>
                  <a:gd name="connsiteY11" fmla="*/ 74387 h 202601"/>
                  <a:gd name="connsiteX12" fmla="*/ 1026774 w 1125067"/>
                  <a:gd name="connsiteY12" fmla="*/ 40496 h 202601"/>
                  <a:gd name="connsiteX13" fmla="*/ 879522 w 1125067"/>
                  <a:gd name="connsiteY13" fmla="*/ 12613 h 202601"/>
                  <a:gd name="connsiteX14" fmla="*/ 780092 w 1125067"/>
                  <a:gd name="connsiteY14" fmla="*/ 3226 h 202601"/>
                  <a:gd name="connsiteX15" fmla="*/ 690727 w 1125067"/>
                  <a:gd name="connsiteY15" fmla="*/ 2105 h 202601"/>
                  <a:gd name="connsiteX16" fmla="*/ 556670 w 1125067"/>
                  <a:gd name="connsiteY16" fmla="*/ 0 h 202601"/>
                  <a:gd name="connsiteX17" fmla="*/ 345292 w 1125067"/>
                  <a:gd name="connsiteY17" fmla="*/ 4901 h 202601"/>
                  <a:gd name="connsiteX18" fmla="*/ 218824 w 1125067"/>
                  <a:gd name="connsiteY18" fmla="*/ 15547 h 202601"/>
                  <a:gd name="connsiteX19" fmla="*/ 60663 w 1125067"/>
                  <a:gd name="connsiteY19" fmla="*/ 53093 h 202601"/>
                  <a:gd name="connsiteX20" fmla="*/ 6601 w 1125067"/>
                  <a:gd name="connsiteY20" fmla="*/ 80962 h 202601"/>
                  <a:gd name="connsiteX21" fmla="*/ 4635 w 1125067"/>
                  <a:gd name="connsiteY21" fmla="*/ 111074 h 202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25067" h="202601">
                    <a:moveTo>
                      <a:pt x="4635" y="111074"/>
                    </a:moveTo>
                    <a:cubicBezTo>
                      <a:pt x="14785" y="121810"/>
                      <a:pt x="47288" y="138367"/>
                      <a:pt x="67500" y="145379"/>
                    </a:cubicBezTo>
                    <a:cubicBezTo>
                      <a:pt x="91051" y="153549"/>
                      <a:pt x="86330" y="152600"/>
                      <a:pt x="123267" y="160097"/>
                    </a:cubicBezTo>
                    <a:cubicBezTo>
                      <a:pt x="160204" y="167594"/>
                      <a:pt x="236686" y="183356"/>
                      <a:pt x="289125" y="190362"/>
                    </a:cubicBezTo>
                    <a:cubicBezTo>
                      <a:pt x="341564" y="197368"/>
                      <a:pt x="388308" y="198207"/>
                      <a:pt x="437899" y="202130"/>
                    </a:cubicBezTo>
                    <a:cubicBezTo>
                      <a:pt x="493205" y="203740"/>
                      <a:pt x="581722" y="200773"/>
                      <a:pt x="620964" y="200025"/>
                    </a:cubicBezTo>
                    <a:cubicBezTo>
                      <a:pt x="660206" y="199277"/>
                      <a:pt x="655889" y="198438"/>
                      <a:pt x="673351" y="197644"/>
                    </a:cubicBezTo>
                    <a:cubicBezTo>
                      <a:pt x="718032" y="195729"/>
                      <a:pt x="770272" y="192553"/>
                      <a:pt x="828810" y="186859"/>
                    </a:cubicBezTo>
                    <a:cubicBezTo>
                      <a:pt x="887348" y="181165"/>
                      <a:pt x="928260" y="174858"/>
                      <a:pt x="968626" y="166687"/>
                    </a:cubicBezTo>
                    <a:cubicBezTo>
                      <a:pt x="1008992" y="158517"/>
                      <a:pt x="1035248" y="154782"/>
                      <a:pt x="1060927" y="144135"/>
                    </a:cubicBezTo>
                    <a:cubicBezTo>
                      <a:pt x="1086606" y="133489"/>
                      <a:pt x="1115532" y="114433"/>
                      <a:pt x="1122701" y="102808"/>
                    </a:cubicBezTo>
                    <a:cubicBezTo>
                      <a:pt x="1129870" y="91183"/>
                      <a:pt x="1119930" y="84772"/>
                      <a:pt x="1103942" y="74387"/>
                    </a:cubicBezTo>
                    <a:cubicBezTo>
                      <a:pt x="1087954" y="64002"/>
                      <a:pt x="1064177" y="50792"/>
                      <a:pt x="1026774" y="40496"/>
                    </a:cubicBezTo>
                    <a:cubicBezTo>
                      <a:pt x="989371" y="30200"/>
                      <a:pt x="922735" y="19454"/>
                      <a:pt x="879522" y="12613"/>
                    </a:cubicBezTo>
                    <a:cubicBezTo>
                      <a:pt x="836309" y="5772"/>
                      <a:pt x="811558" y="4977"/>
                      <a:pt x="780092" y="3226"/>
                    </a:cubicBezTo>
                    <a:cubicBezTo>
                      <a:pt x="748626" y="1475"/>
                      <a:pt x="727964" y="2643"/>
                      <a:pt x="690727" y="2105"/>
                    </a:cubicBezTo>
                    <a:cubicBezTo>
                      <a:pt x="653490" y="1567"/>
                      <a:pt x="604294" y="2506"/>
                      <a:pt x="556670" y="0"/>
                    </a:cubicBezTo>
                    <a:cubicBezTo>
                      <a:pt x="482851" y="794"/>
                      <a:pt x="401600" y="2310"/>
                      <a:pt x="345292" y="4901"/>
                    </a:cubicBezTo>
                    <a:cubicBezTo>
                      <a:pt x="288984" y="7492"/>
                      <a:pt x="271091" y="6885"/>
                      <a:pt x="218824" y="15547"/>
                    </a:cubicBezTo>
                    <a:cubicBezTo>
                      <a:pt x="183105" y="23881"/>
                      <a:pt x="101072" y="33372"/>
                      <a:pt x="60663" y="53093"/>
                    </a:cubicBezTo>
                    <a:cubicBezTo>
                      <a:pt x="27401" y="69326"/>
                      <a:pt x="15729" y="73818"/>
                      <a:pt x="6601" y="80962"/>
                    </a:cubicBezTo>
                    <a:cubicBezTo>
                      <a:pt x="3756" y="86654"/>
                      <a:pt x="-5515" y="100338"/>
                      <a:pt x="4635" y="111074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F6EBC24-3FC8-D47F-DF0B-CC485D7DAE16}"/>
                  </a:ext>
                </a:extLst>
              </p:cNvPr>
              <p:cNvSpPr/>
              <p:nvPr/>
            </p:nvSpPr>
            <p:spPr>
              <a:xfrm>
                <a:off x="3395346" y="2639947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solidFill>
                <a:schemeClr val="accent4">
                  <a:lumMod val="20000"/>
                  <a:lumOff val="8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da-DK" sz="1400">
                    <a:latin typeface="Verdana" panose="020B0604030504040204" pitchFamily="34" charset="0"/>
                    <a:ea typeface="Verdana" panose="020B0604030504040204" pitchFamily="34" charset="0"/>
                  </a:rPr>
                  <a:t>…</a:t>
                </a: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CC80ECE1-D7E0-DFC7-B20A-1DDD3C630F88}"/>
                  </a:ext>
                </a:extLst>
              </p:cNvPr>
              <p:cNvSpPr/>
              <p:nvPr/>
            </p:nvSpPr>
            <p:spPr>
              <a:xfrm>
                <a:off x="3397293" y="1880433"/>
                <a:ext cx="1624532" cy="292545"/>
              </a:xfrm>
              <a:custGeom>
                <a:avLst/>
                <a:gdLst>
                  <a:gd name="connsiteX0" fmla="*/ 11907 w 1116840"/>
                  <a:gd name="connsiteY0" fmla="*/ 124159 h 219409"/>
                  <a:gd name="connsiteX1" fmla="*/ 23813 w 1116840"/>
                  <a:gd name="connsiteY1" fmla="*/ 133684 h 219409"/>
                  <a:gd name="connsiteX2" fmla="*/ 28575 w 1116840"/>
                  <a:gd name="connsiteY2" fmla="*/ 140827 h 219409"/>
                  <a:gd name="connsiteX3" fmla="*/ 40482 w 1116840"/>
                  <a:gd name="connsiteY3" fmla="*/ 147971 h 219409"/>
                  <a:gd name="connsiteX4" fmla="*/ 47625 w 1116840"/>
                  <a:gd name="connsiteY4" fmla="*/ 152734 h 219409"/>
                  <a:gd name="connsiteX5" fmla="*/ 78582 w 1116840"/>
                  <a:gd name="connsiteY5" fmla="*/ 157496 h 219409"/>
                  <a:gd name="connsiteX6" fmla="*/ 104775 w 1116840"/>
                  <a:gd name="connsiteY6" fmla="*/ 162259 h 219409"/>
                  <a:gd name="connsiteX7" fmla="*/ 128588 w 1116840"/>
                  <a:gd name="connsiteY7" fmla="*/ 164640 h 219409"/>
                  <a:gd name="connsiteX8" fmla="*/ 161925 w 1116840"/>
                  <a:gd name="connsiteY8" fmla="*/ 174165 h 219409"/>
                  <a:gd name="connsiteX9" fmla="*/ 178594 w 1116840"/>
                  <a:gd name="connsiteY9" fmla="*/ 176546 h 219409"/>
                  <a:gd name="connsiteX10" fmla="*/ 202407 w 1116840"/>
                  <a:gd name="connsiteY10" fmla="*/ 181309 h 219409"/>
                  <a:gd name="connsiteX11" fmla="*/ 209550 w 1116840"/>
                  <a:gd name="connsiteY11" fmla="*/ 183690 h 219409"/>
                  <a:gd name="connsiteX12" fmla="*/ 238125 w 1116840"/>
                  <a:gd name="connsiteY12" fmla="*/ 190834 h 219409"/>
                  <a:gd name="connsiteX13" fmla="*/ 285750 w 1116840"/>
                  <a:gd name="connsiteY13" fmla="*/ 205121 h 219409"/>
                  <a:gd name="connsiteX14" fmla="*/ 378619 w 1116840"/>
                  <a:gd name="connsiteY14" fmla="*/ 207502 h 219409"/>
                  <a:gd name="connsiteX15" fmla="*/ 402432 w 1116840"/>
                  <a:gd name="connsiteY15" fmla="*/ 212265 h 219409"/>
                  <a:gd name="connsiteX16" fmla="*/ 457200 w 1116840"/>
                  <a:gd name="connsiteY16" fmla="*/ 219409 h 219409"/>
                  <a:gd name="connsiteX17" fmla="*/ 604838 w 1116840"/>
                  <a:gd name="connsiteY17" fmla="*/ 217027 h 219409"/>
                  <a:gd name="connsiteX18" fmla="*/ 623888 w 1116840"/>
                  <a:gd name="connsiteY18" fmla="*/ 212265 h 219409"/>
                  <a:gd name="connsiteX19" fmla="*/ 676275 w 1116840"/>
                  <a:gd name="connsiteY19" fmla="*/ 209884 h 219409"/>
                  <a:gd name="connsiteX20" fmla="*/ 697707 w 1116840"/>
                  <a:gd name="connsiteY20" fmla="*/ 205121 h 219409"/>
                  <a:gd name="connsiteX21" fmla="*/ 707232 w 1116840"/>
                  <a:gd name="connsiteY21" fmla="*/ 202740 h 219409"/>
                  <a:gd name="connsiteX22" fmla="*/ 797719 w 1116840"/>
                  <a:gd name="connsiteY22" fmla="*/ 200359 h 219409"/>
                  <a:gd name="connsiteX23" fmla="*/ 823913 w 1116840"/>
                  <a:gd name="connsiteY23" fmla="*/ 193215 h 219409"/>
                  <a:gd name="connsiteX24" fmla="*/ 842963 w 1116840"/>
                  <a:gd name="connsiteY24" fmla="*/ 188452 h 219409"/>
                  <a:gd name="connsiteX25" fmla="*/ 866775 w 1116840"/>
                  <a:gd name="connsiteY25" fmla="*/ 186071 h 219409"/>
                  <a:gd name="connsiteX26" fmla="*/ 940594 w 1116840"/>
                  <a:gd name="connsiteY26" fmla="*/ 181309 h 219409"/>
                  <a:gd name="connsiteX27" fmla="*/ 971550 w 1116840"/>
                  <a:gd name="connsiteY27" fmla="*/ 178927 h 219409"/>
                  <a:gd name="connsiteX28" fmla="*/ 992982 w 1116840"/>
                  <a:gd name="connsiteY28" fmla="*/ 174165 h 219409"/>
                  <a:gd name="connsiteX29" fmla="*/ 1007269 w 1116840"/>
                  <a:gd name="connsiteY29" fmla="*/ 171784 h 219409"/>
                  <a:gd name="connsiteX30" fmla="*/ 1035844 w 1116840"/>
                  <a:gd name="connsiteY30" fmla="*/ 164640 h 219409"/>
                  <a:gd name="connsiteX31" fmla="*/ 1052513 w 1116840"/>
                  <a:gd name="connsiteY31" fmla="*/ 155115 h 219409"/>
                  <a:gd name="connsiteX32" fmla="*/ 1083469 w 1116840"/>
                  <a:gd name="connsiteY32" fmla="*/ 143209 h 219409"/>
                  <a:gd name="connsiteX33" fmla="*/ 1090613 w 1116840"/>
                  <a:gd name="connsiteY33" fmla="*/ 136065 h 219409"/>
                  <a:gd name="connsiteX34" fmla="*/ 1100138 w 1116840"/>
                  <a:gd name="connsiteY34" fmla="*/ 131302 h 219409"/>
                  <a:gd name="connsiteX35" fmla="*/ 1107282 w 1116840"/>
                  <a:gd name="connsiteY35" fmla="*/ 126540 h 219409"/>
                  <a:gd name="connsiteX36" fmla="*/ 1116807 w 1116840"/>
                  <a:gd name="connsiteY36" fmla="*/ 107490 h 219409"/>
                  <a:gd name="connsiteX37" fmla="*/ 1114425 w 1116840"/>
                  <a:gd name="connsiteY37" fmla="*/ 97965 h 219409"/>
                  <a:gd name="connsiteX38" fmla="*/ 1054894 w 1116840"/>
                  <a:gd name="connsiteY38" fmla="*/ 74152 h 219409"/>
                  <a:gd name="connsiteX39" fmla="*/ 1047750 w 1116840"/>
                  <a:gd name="connsiteY39" fmla="*/ 71771 h 219409"/>
                  <a:gd name="connsiteX40" fmla="*/ 1038225 w 1116840"/>
                  <a:gd name="connsiteY40" fmla="*/ 67009 h 219409"/>
                  <a:gd name="connsiteX41" fmla="*/ 1026319 w 1116840"/>
                  <a:gd name="connsiteY41" fmla="*/ 62246 h 219409"/>
                  <a:gd name="connsiteX42" fmla="*/ 995363 w 1116840"/>
                  <a:gd name="connsiteY42" fmla="*/ 57484 h 219409"/>
                  <a:gd name="connsiteX43" fmla="*/ 966788 w 1116840"/>
                  <a:gd name="connsiteY43" fmla="*/ 47959 h 219409"/>
                  <a:gd name="connsiteX44" fmla="*/ 947738 w 1116840"/>
                  <a:gd name="connsiteY44" fmla="*/ 40815 h 219409"/>
                  <a:gd name="connsiteX45" fmla="*/ 857250 w 1116840"/>
                  <a:gd name="connsiteY45" fmla="*/ 33671 h 219409"/>
                  <a:gd name="connsiteX46" fmla="*/ 812007 w 1116840"/>
                  <a:gd name="connsiteY46" fmla="*/ 26527 h 219409"/>
                  <a:gd name="connsiteX47" fmla="*/ 800100 w 1116840"/>
                  <a:gd name="connsiteY47" fmla="*/ 24146 h 219409"/>
                  <a:gd name="connsiteX48" fmla="*/ 790575 w 1116840"/>
                  <a:gd name="connsiteY48" fmla="*/ 21765 h 219409"/>
                  <a:gd name="connsiteX49" fmla="*/ 702469 w 1116840"/>
                  <a:gd name="connsiteY49" fmla="*/ 19384 h 219409"/>
                  <a:gd name="connsiteX50" fmla="*/ 559594 w 1116840"/>
                  <a:gd name="connsiteY50" fmla="*/ 12240 h 219409"/>
                  <a:gd name="connsiteX51" fmla="*/ 350044 w 1116840"/>
                  <a:gd name="connsiteY51" fmla="*/ 9859 h 219409"/>
                  <a:gd name="connsiteX52" fmla="*/ 338138 w 1116840"/>
                  <a:gd name="connsiteY52" fmla="*/ 14621 h 219409"/>
                  <a:gd name="connsiteX53" fmla="*/ 295275 w 1116840"/>
                  <a:gd name="connsiteY53" fmla="*/ 19384 h 219409"/>
                  <a:gd name="connsiteX54" fmla="*/ 278607 w 1116840"/>
                  <a:gd name="connsiteY54" fmla="*/ 21765 h 219409"/>
                  <a:gd name="connsiteX55" fmla="*/ 269082 w 1116840"/>
                  <a:gd name="connsiteY55" fmla="*/ 24146 h 219409"/>
                  <a:gd name="connsiteX56" fmla="*/ 238125 w 1116840"/>
                  <a:gd name="connsiteY56" fmla="*/ 26527 h 219409"/>
                  <a:gd name="connsiteX57" fmla="*/ 216694 w 1116840"/>
                  <a:gd name="connsiteY57" fmla="*/ 33671 h 219409"/>
                  <a:gd name="connsiteX58" fmla="*/ 195263 w 1116840"/>
                  <a:gd name="connsiteY58" fmla="*/ 38434 h 219409"/>
                  <a:gd name="connsiteX59" fmla="*/ 183357 w 1116840"/>
                  <a:gd name="connsiteY59" fmla="*/ 40815 h 219409"/>
                  <a:gd name="connsiteX60" fmla="*/ 147638 w 1116840"/>
                  <a:gd name="connsiteY60" fmla="*/ 50340 h 219409"/>
                  <a:gd name="connsiteX61" fmla="*/ 128588 w 1116840"/>
                  <a:gd name="connsiteY61" fmla="*/ 57484 h 219409"/>
                  <a:gd name="connsiteX62" fmla="*/ 109538 w 1116840"/>
                  <a:gd name="connsiteY62" fmla="*/ 62246 h 219409"/>
                  <a:gd name="connsiteX63" fmla="*/ 97632 w 1116840"/>
                  <a:gd name="connsiteY63" fmla="*/ 67009 h 219409"/>
                  <a:gd name="connsiteX64" fmla="*/ 80963 w 1116840"/>
                  <a:gd name="connsiteY64" fmla="*/ 69390 h 219409"/>
                  <a:gd name="connsiteX65" fmla="*/ 54769 w 1116840"/>
                  <a:gd name="connsiteY65" fmla="*/ 74152 h 219409"/>
                  <a:gd name="connsiteX66" fmla="*/ 47625 w 1116840"/>
                  <a:gd name="connsiteY66" fmla="*/ 76534 h 219409"/>
                  <a:gd name="connsiteX67" fmla="*/ 23813 w 1116840"/>
                  <a:gd name="connsiteY67" fmla="*/ 83677 h 219409"/>
                  <a:gd name="connsiteX68" fmla="*/ 9525 w 1116840"/>
                  <a:gd name="connsiteY68" fmla="*/ 93202 h 219409"/>
                  <a:gd name="connsiteX69" fmla="*/ 0 w 1116840"/>
                  <a:gd name="connsiteY69" fmla="*/ 117015 h 219409"/>
                  <a:gd name="connsiteX70" fmla="*/ 11907 w 1116840"/>
                  <a:gd name="connsiteY70" fmla="*/ 124159 h 21940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800100 w 1116840"/>
                  <a:gd name="connsiteY47" fmla="*/ 11906 h 207169"/>
                  <a:gd name="connsiteX48" fmla="*/ 790575 w 1116840"/>
                  <a:gd name="connsiteY48" fmla="*/ 9525 h 207169"/>
                  <a:gd name="connsiteX49" fmla="*/ 702469 w 1116840"/>
                  <a:gd name="connsiteY49" fmla="*/ 7144 h 207169"/>
                  <a:gd name="connsiteX50" fmla="*/ 559594 w 1116840"/>
                  <a:gd name="connsiteY50" fmla="*/ 0 h 207169"/>
                  <a:gd name="connsiteX51" fmla="*/ 338138 w 1116840"/>
                  <a:gd name="connsiteY51" fmla="*/ 2381 h 207169"/>
                  <a:gd name="connsiteX52" fmla="*/ 295275 w 1116840"/>
                  <a:gd name="connsiteY52" fmla="*/ 7144 h 207169"/>
                  <a:gd name="connsiteX53" fmla="*/ 278607 w 1116840"/>
                  <a:gd name="connsiteY53" fmla="*/ 9525 h 207169"/>
                  <a:gd name="connsiteX54" fmla="*/ 269082 w 1116840"/>
                  <a:gd name="connsiteY54" fmla="*/ 11906 h 207169"/>
                  <a:gd name="connsiteX55" fmla="*/ 238125 w 1116840"/>
                  <a:gd name="connsiteY55" fmla="*/ 14287 h 207169"/>
                  <a:gd name="connsiteX56" fmla="*/ 216694 w 1116840"/>
                  <a:gd name="connsiteY56" fmla="*/ 21431 h 207169"/>
                  <a:gd name="connsiteX57" fmla="*/ 195263 w 1116840"/>
                  <a:gd name="connsiteY57" fmla="*/ 26194 h 207169"/>
                  <a:gd name="connsiteX58" fmla="*/ 183357 w 1116840"/>
                  <a:gd name="connsiteY58" fmla="*/ 28575 h 207169"/>
                  <a:gd name="connsiteX59" fmla="*/ 147638 w 1116840"/>
                  <a:gd name="connsiteY59" fmla="*/ 38100 h 207169"/>
                  <a:gd name="connsiteX60" fmla="*/ 128588 w 1116840"/>
                  <a:gd name="connsiteY60" fmla="*/ 45244 h 207169"/>
                  <a:gd name="connsiteX61" fmla="*/ 109538 w 1116840"/>
                  <a:gd name="connsiteY61" fmla="*/ 50006 h 207169"/>
                  <a:gd name="connsiteX62" fmla="*/ 97632 w 1116840"/>
                  <a:gd name="connsiteY62" fmla="*/ 54769 h 207169"/>
                  <a:gd name="connsiteX63" fmla="*/ 80963 w 1116840"/>
                  <a:gd name="connsiteY63" fmla="*/ 57150 h 207169"/>
                  <a:gd name="connsiteX64" fmla="*/ 54769 w 1116840"/>
                  <a:gd name="connsiteY64" fmla="*/ 61912 h 207169"/>
                  <a:gd name="connsiteX65" fmla="*/ 47625 w 1116840"/>
                  <a:gd name="connsiteY65" fmla="*/ 64294 h 207169"/>
                  <a:gd name="connsiteX66" fmla="*/ 23813 w 1116840"/>
                  <a:gd name="connsiteY66" fmla="*/ 71437 h 207169"/>
                  <a:gd name="connsiteX67" fmla="*/ 9525 w 1116840"/>
                  <a:gd name="connsiteY67" fmla="*/ 80962 h 207169"/>
                  <a:gd name="connsiteX68" fmla="*/ 0 w 1116840"/>
                  <a:gd name="connsiteY68" fmla="*/ 104775 h 207169"/>
                  <a:gd name="connsiteX69" fmla="*/ 11907 w 1116840"/>
                  <a:gd name="connsiteY69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790575 w 1116840"/>
                  <a:gd name="connsiteY47" fmla="*/ 9525 h 207169"/>
                  <a:gd name="connsiteX48" fmla="*/ 702469 w 1116840"/>
                  <a:gd name="connsiteY48" fmla="*/ 7144 h 207169"/>
                  <a:gd name="connsiteX49" fmla="*/ 559594 w 1116840"/>
                  <a:gd name="connsiteY49" fmla="*/ 0 h 207169"/>
                  <a:gd name="connsiteX50" fmla="*/ 338138 w 1116840"/>
                  <a:gd name="connsiteY50" fmla="*/ 2381 h 207169"/>
                  <a:gd name="connsiteX51" fmla="*/ 295275 w 1116840"/>
                  <a:gd name="connsiteY51" fmla="*/ 7144 h 207169"/>
                  <a:gd name="connsiteX52" fmla="*/ 278607 w 1116840"/>
                  <a:gd name="connsiteY52" fmla="*/ 9525 h 207169"/>
                  <a:gd name="connsiteX53" fmla="*/ 269082 w 1116840"/>
                  <a:gd name="connsiteY53" fmla="*/ 11906 h 207169"/>
                  <a:gd name="connsiteX54" fmla="*/ 238125 w 1116840"/>
                  <a:gd name="connsiteY54" fmla="*/ 14287 h 207169"/>
                  <a:gd name="connsiteX55" fmla="*/ 216694 w 1116840"/>
                  <a:gd name="connsiteY55" fmla="*/ 21431 h 207169"/>
                  <a:gd name="connsiteX56" fmla="*/ 195263 w 1116840"/>
                  <a:gd name="connsiteY56" fmla="*/ 26194 h 207169"/>
                  <a:gd name="connsiteX57" fmla="*/ 183357 w 1116840"/>
                  <a:gd name="connsiteY57" fmla="*/ 28575 h 207169"/>
                  <a:gd name="connsiteX58" fmla="*/ 147638 w 1116840"/>
                  <a:gd name="connsiteY58" fmla="*/ 38100 h 207169"/>
                  <a:gd name="connsiteX59" fmla="*/ 128588 w 1116840"/>
                  <a:gd name="connsiteY59" fmla="*/ 45244 h 207169"/>
                  <a:gd name="connsiteX60" fmla="*/ 109538 w 1116840"/>
                  <a:gd name="connsiteY60" fmla="*/ 50006 h 207169"/>
                  <a:gd name="connsiteX61" fmla="*/ 97632 w 1116840"/>
                  <a:gd name="connsiteY61" fmla="*/ 54769 h 207169"/>
                  <a:gd name="connsiteX62" fmla="*/ 80963 w 1116840"/>
                  <a:gd name="connsiteY62" fmla="*/ 57150 h 207169"/>
                  <a:gd name="connsiteX63" fmla="*/ 54769 w 1116840"/>
                  <a:gd name="connsiteY63" fmla="*/ 61912 h 207169"/>
                  <a:gd name="connsiteX64" fmla="*/ 47625 w 1116840"/>
                  <a:gd name="connsiteY64" fmla="*/ 64294 h 207169"/>
                  <a:gd name="connsiteX65" fmla="*/ 23813 w 1116840"/>
                  <a:gd name="connsiteY65" fmla="*/ 71437 h 207169"/>
                  <a:gd name="connsiteX66" fmla="*/ 9525 w 1116840"/>
                  <a:gd name="connsiteY66" fmla="*/ 80962 h 207169"/>
                  <a:gd name="connsiteX67" fmla="*/ 0 w 1116840"/>
                  <a:gd name="connsiteY67" fmla="*/ 104775 h 207169"/>
                  <a:gd name="connsiteX68" fmla="*/ 11907 w 1116840"/>
                  <a:gd name="connsiteY68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790575 w 1116840"/>
                  <a:gd name="connsiteY46" fmla="*/ 9525 h 207169"/>
                  <a:gd name="connsiteX47" fmla="*/ 702469 w 1116840"/>
                  <a:gd name="connsiteY47" fmla="*/ 7144 h 207169"/>
                  <a:gd name="connsiteX48" fmla="*/ 559594 w 1116840"/>
                  <a:gd name="connsiteY48" fmla="*/ 0 h 207169"/>
                  <a:gd name="connsiteX49" fmla="*/ 338138 w 1116840"/>
                  <a:gd name="connsiteY49" fmla="*/ 2381 h 207169"/>
                  <a:gd name="connsiteX50" fmla="*/ 295275 w 1116840"/>
                  <a:gd name="connsiteY50" fmla="*/ 7144 h 207169"/>
                  <a:gd name="connsiteX51" fmla="*/ 278607 w 1116840"/>
                  <a:gd name="connsiteY51" fmla="*/ 9525 h 207169"/>
                  <a:gd name="connsiteX52" fmla="*/ 269082 w 1116840"/>
                  <a:gd name="connsiteY52" fmla="*/ 11906 h 207169"/>
                  <a:gd name="connsiteX53" fmla="*/ 238125 w 1116840"/>
                  <a:gd name="connsiteY53" fmla="*/ 14287 h 207169"/>
                  <a:gd name="connsiteX54" fmla="*/ 216694 w 1116840"/>
                  <a:gd name="connsiteY54" fmla="*/ 21431 h 207169"/>
                  <a:gd name="connsiteX55" fmla="*/ 195263 w 1116840"/>
                  <a:gd name="connsiteY55" fmla="*/ 26194 h 207169"/>
                  <a:gd name="connsiteX56" fmla="*/ 183357 w 1116840"/>
                  <a:gd name="connsiteY56" fmla="*/ 28575 h 207169"/>
                  <a:gd name="connsiteX57" fmla="*/ 147638 w 1116840"/>
                  <a:gd name="connsiteY57" fmla="*/ 38100 h 207169"/>
                  <a:gd name="connsiteX58" fmla="*/ 128588 w 1116840"/>
                  <a:gd name="connsiteY58" fmla="*/ 45244 h 207169"/>
                  <a:gd name="connsiteX59" fmla="*/ 109538 w 1116840"/>
                  <a:gd name="connsiteY59" fmla="*/ 50006 h 207169"/>
                  <a:gd name="connsiteX60" fmla="*/ 97632 w 1116840"/>
                  <a:gd name="connsiteY60" fmla="*/ 54769 h 207169"/>
                  <a:gd name="connsiteX61" fmla="*/ 80963 w 1116840"/>
                  <a:gd name="connsiteY61" fmla="*/ 57150 h 207169"/>
                  <a:gd name="connsiteX62" fmla="*/ 54769 w 1116840"/>
                  <a:gd name="connsiteY62" fmla="*/ 61912 h 207169"/>
                  <a:gd name="connsiteX63" fmla="*/ 47625 w 1116840"/>
                  <a:gd name="connsiteY63" fmla="*/ 64294 h 207169"/>
                  <a:gd name="connsiteX64" fmla="*/ 23813 w 1116840"/>
                  <a:gd name="connsiteY64" fmla="*/ 71437 h 207169"/>
                  <a:gd name="connsiteX65" fmla="*/ 9525 w 1116840"/>
                  <a:gd name="connsiteY65" fmla="*/ 80962 h 207169"/>
                  <a:gd name="connsiteX66" fmla="*/ 0 w 1116840"/>
                  <a:gd name="connsiteY66" fmla="*/ 104775 h 207169"/>
                  <a:gd name="connsiteX67" fmla="*/ 11907 w 1116840"/>
                  <a:gd name="connsiteY67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857250 w 1116840"/>
                  <a:gd name="connsiteY44" fmla="*/ 21431 h 207169"/>
                  <a:gd name="connsiteX45" fmla="*/ 790575 w 1116840"/>
                  <a:gd name="connsiteY45" fmla="*/ 9525 h 207169"/>
                  <a:gd name="connsiteX46" fmla="*/ 702469 w 1116840"/>
                  <a:gd name="connsiteY46" fmla="*/ 7144 h 207169"/>
                  <a:gd name="connsiteX47" fmla="*/ 559594 w 1116840"/>
                  <a:gd name="connsiteY47" fmla="*/ 0 h 207169"/>
                  <a:gd name="connsiteX48" fmla="*/ 338138 w 1116840"/>
                  <a:gd name="connsiteY48" fmla="*/ 2381 h 207169"/>
                  <a:gd name="connsiteX49" fmla="*/ 295275 w 1116840"/>
                  <a:gd name="connsiteY49" fmla="*/ 7144 h 207169"/>
                  <a:gd name="connsiteX50" fmla="*/ 278607 w 1116840"/>
                  <a:gd name="connsiteY50" fmla="*/ 9525 h 207169"/>
                  <a:gd name="connsiteX51" fmla="*/ 269082 w 1116840"/>
                  <a:gd name="connsiteY51" fmla="*/ 11906 h 207169"/>
                  <a:gd name="connsiteX52" fmla="*/ 238125 w 1116840"/>
                  <a:gd name="connsiteY52" fmla="*/ 14287 h 207169"/>
                  <a:gd name="connsiteX53" fmla="*/ 216694 w 1116840"/>
                  <a:gd name="connsiteY53" fmla="*/ 21431 h 207169"/>
                  <a:gd name="connsiteX54" fmla="*/ 195263 w 1116840"/>
                  <a:gd name="connsiteY54" fmla="*/ 26194 h 207169"/>
                  <a:gd name="connsiteX55" fmla="*/ 183357 w 1116840"/>
                  <a:gd name="connsiteY55" fmla="*/ 28575 h 207169"/>
                  <a:gd name="connsiteX56" fmla="*/ 147638 w 1116840"/>
                  <a:gd name="connsiteY56" fmla="*/ 38100 h 207169"/>
                  <a:gd name="connsiteX57" fmla="*/ 128588 w 1116840"/>
                  <a:gd name="connsiteY57" fmla="*/ 45244 h 207169"/>
                  <a:gd name="connsiteX58" fmla="*/ 109538 w 1116840"/>
                  <a:gd name="connsiteY58" fmla="*/ 50006 h 207169"/>
                  <a:gd name="connsiteX59" fmla="*/ 97632 w 1116840"/>
                  <a:gd name="connsiteY59" fmla="*/ 54769 h 207169"/>
                  <a:gd name="connsiteX60" fmla="*/ 80963 w 1116840"/>
                  <a:gd name="connsiteY60" fmla="*/ 57150 h 207169"/>
                  <a:gd name="connsiteX61" fmla="*/ 54769 w 1116840"/>
                  <a:gd name="connsiteY61" fmla="*/ 61912 h 207169"/>
                  <a:gd name="connsiteX62" fmla="*/ 47625 w 1116840"/>
                  <a:gd name="connsiteY62" fmla="*/ 64294 h 207169"/>
                  <a:gd name="connsiteX63" fmla="*/ 23813 w 1116840"/>
                  <a:gd name="connsiteY63" fmla="*/ 71437 h 207169"/>
                  <a:gd name="connsiteX64" fmla="*/ 9525 w 1116840"/>
                  <a:gd name="connsiteY64" fmla="*/ 80962 h 207169"/>
                  <a:gd name="connsiteX65" fmla="*/ 0 w 1116840"/>
                  <a:gd name="connsiteY65" fmla="*/ 104775 h 207169"/>
                  <a:gd name="connsiteX66" fmla="*/ 11907 w 1116840"/>
                  <a:gd name="connsiteY66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66788 w 1116840"/>
                  <a:gd name="connsiteY42" fmla="*/ 35719 h 207169"/>
                  <a:gd name="connsiteX43" fmla="*/ 857250 w 1116840"/>
                  <a:gd name="connsiteY43" fmla="*/ 21431 h 207169"/>
                  <a:gd name="connsiteX44" fmla="*/ 790575 w 1116840"/>
                  <a:gd name="connsiteY44" fmla="*/ 9525 h 207169"/>
                  <a:gd name="connsiteX45" fmla="*/ 702469 w 1116840"/>
                  <a:gd name="connsiteY45" fmla="*/ 7144 h 207169"/>
                  <a:gd name="connsiteX46" fmla="*/ 559594 w 1116840"/>
                  <a:gd name="connsiteY46" fmla="*/ 0 h 207169"/>
                  <a:gd name="connsiteX47" fmla="*/ 338138 w 1116840"/>
                  <a:gd name="connsiteY47" fmla="*/ 2381 h 207169"/>
                  <a:gd name="connsiteX48" fmla="*/ 295275 w 1116840"/>
                  <a:gd name="connsiteY48" fmla="*/ 7144 h 207169"/>
                  <a:gd name="connsiteX49" fmla="*/ 278607 w 1116840"/>
                  <a:gd name="connsiteY49" fmla="*/ 9525 h 207169"/>
                  <a:gd name="connsiteX50" fmla="*/ 269082 w 1116840"/>
                  <a:gd name="connsiteY50" fmla="*/ 11906 h 207169"/>
                  <a:gd name="connsiteX51" fmla="*/ 238125 w 1116840"/>
                  <a:gd name="connsiteY51" fmla="*/ 14287 h 207169"/>
                  <a:gd name="connsiteX52" fmla="*/ 216694 w 1116840"/>
                  <a:gd name="connsiteY52" fmla="*/ 21431 h 207169"/>
                  <a:gd name="connsiteX53" fmla="*/ 195263 w 1116840"/>
                  <a:gd name="connsiteY53" fmla="*/ 26194 h 207169"/>
                  <a:gd name="connsiteX54" fmla="*/ 183357 w 1116840"/>
                  <a:gd name="connsiteY54" fmla="*/ 28575 h 207169"/>
                  <a:gd name="connsiteX55" fmla="*/ 147638 w 1116840"/>
                  <a:gd name="connsiteY55" fmla="*/ 38100 h 207169"/>
                  <a:gd name="connsiteX56" fmla="*/ 128588 w 1116840"/>
                  <a:gd name="connsiteY56" fmla="*/ 45244 h 207169"/>
                  <a:gd name="connsiteX57" fmla="*/ 109538 w 1116840"/>
                  <a:gd name="connsiteY57" fmla="*/ 50006 h 207169"/>
                  <a:gd name="connsiteX58" fmla="*/ 97632 w 1116840"/>
                  <a:gd name="connsiteY58" fmla="*/ 54769 h 207169"/>
                  <a:gd name="connsiteX59" fmla="*/ 80963 w 1116840"/>
                  <a:gd name="connsiteY59" fmla="*/ 57150 h 207169"/>
                  <a:gd name="connsiteX60" fmla="*/ 54769 w 1116840"/>
                  <a:gd name="connsiteY60" fmla="*/ 61912 h 207169"/>
                  <a:gd name="connsiteX61" fmla="*/ 47625 w 1116840"/>
                  <a:gd name="connsiteY61" fmla="*/ 64294 h 207169"/>
                  <a:gd name="connsiteX62" fmla="*/ 23813 w 1116840"/>
                  <a:gd name="connsiteY62" fmla="*/ 71437 h 207169"/>
                  <a:gd name="connsiteX63" fmla="*/ 9525 w 1116840"/>
                  <a:gd name="connsiteY63" fmla="*/ 80962 h 207169"/>
                  <a:gd name="connsiteX64" fmla="*/ 0 w 1116840"/>
                  <a:gd name="connsiteY64" fmla="*/ 104775 h 207169"/>
                  <a:gd name="connsiteX65" fmla="*/ 11907 w 1116840"/>
                  <a:gd name="connsiteY65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966788 w 1116840"/>
                  <a:gd name="connsiteY41" fmla="*/ 35719 h 207169"/>
                  <a:gd name="connsiteX42" fmla="*/ 857250 w 1116840"/>
                  <a:gd name="connsiteY42" fmla="*/ 21431 h 207169"/>
                  <a:gd name="connsiteX43" fmla="*/ 790575 w 1116840"/>
                  <a:gd name="connsiteY43" fmla="*/ 9525 h 207169"/>
                  <a:gd name="connsiteX44" fmla="*/ 702469 w 1116840"/>
                  <a:gd name="connsiteY44" fmla="*/ 7144 h 207169"/>
                  <a:gd name="connsiteX45" fmla="*/ 559594 w 1116840"/>
                  <a:gd name="connsiteY45" fmla="*/ 0 h 207169"/>
                  <a:gd name="connsiteX46" fmla="*/ 338138 w 1116840"/>
                  <a:gd name="connsiteY46" fmla="*/ 2381 h 207169"/>
                  <a:gd name="connsiteX47" fmla="*/ 295275 w 1116840"/>
                  <a:gd name="connsiteY47" fmla="*/ 7144 h 207169"/>
                  <a:gd name="connsiteX48" fmla="*/ 278607 w 1116840"/>
                  <a:gd name="connsiteY48" fmla="*/ 9525 h 207169"/>
                  <a:gd name="connsiteX49" fmla="*/ 269082 w 1116840"/>
                  <a:gd name="connsiteY49" fmla="*/ 11906 h 207169"/>
                  <a:gd name="connsiteX50" fmla="*/ 238125 w 1116840"/>
                  <a:gd name="connsiteY50" fmla="*/ 14287 h 207169"/>
                  <a:gd name="connsiteX51" fmla="*/ 216694 w 1116840"/>
                  <a:gd name="connsiteY51" fmla="*/ 21431 h 207169"/>
                  <a:gd name="connsiteX52" fmla="*/ 195263 w 1116840"/>
                  <a:gd name="connsiteY52" fmla="*/ 26194 h 207169"/>
                  <a:gd name="connsiteX53" fmla="*/ 183357 w 1116840"/>
                  <a:gd name="connsiteY53" fmla="*/ 28575 h 207169"/>
                  <a:gd name="connsiteX54" fmla="*/ 147638 w 1116840"/>
                  <a:gd name="connsiteY54" fmla="*/ 38100 h 207169"/>
                  <a:gd name="connsiteX55" fmla="*/ 128588 w 1116840"/>
                  <a:gd name="connsiteY55" fmla="*/ 45244 h 207169"/>
                  <a:gd name="connsiteX56" fmla="*/ 109538 w 1116840"/>
                  <a:gd name="connsiteY56" fmla="*/ 50006 h 207169"/>
                  <a:gd name="connsiteX57" fmla="*/ 97632 w 1116840"/>
                  <a:gd name="connsiteY57" fmla="*/ 54769 h 207169"/>
                  <a:gd name="connsiteX58" fmla="*/ 80963 w 1116840"/>
                  <a:gd name="connsiteY58" fmla="*/ 57150 h 207169"/>
                  <a:gd name="connsiteX59" fmla="*/ 54769 w 1116840"/>
                  <a:gd name="connsiteY59" fmla="*/ 61912 h 207169"/>
                  <a:gd name="connsiteX60" fmla="*/ 47625 w 1116840"/>
                  <a:gd name="connsiteY60" fmla="*/ 64294 h 207169"/>
                  <a:gd name="connsiteX61" fmla="*/ 23813 w 1116840"/>
                  <a:gd name="connsiteY61" fmla="*/ 71437 h 207169"/>
                  <a:gd name="connsiteX62" fmla="*/ 9525 w 1116840"/>
                  <a:gd name="connsiteY62" fmla="*/ 80962 h 207169"/>
                  <a:gd name="connsiteX63" fmla="*/ 0 w 1116840"/>
                  <a:gd name="connsiteY63" fmla="*/ 104775 h 207169"/>
                  <a:gd name="connsiteX64" fmla="*/ 11907 w 1116840"/>
                  <a:gd name="connsiteY64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966788 w 1116840"/>
                  <a:gd name="connsiteY40" fmla="*/ 35719 h 207169"/>
                  <a:gd name="connsiteX41" fmla="*/ 857250 w 1116840"/>
                  <a:gd name="connsiteY41" fmla="*/ 21431 h 207169"/>
                  <a:gd name="connsiteX42" fmla="*/ 790575 w 1116840"/>
                  <a:gd name="connsiteY42" fmla="*/ 9525 h 207169"/>
                  <a:gd name="connsiteX43" fmla="*/ 702469 w 1116840"/>
                  <a:gd name="connsiteY43" fmla="*/ 7144 h 207169"/>
                  <a:gd name="connsiteX44" fmla="*/ 559594 w 1116840"/>
                  <a:gd name="connsiteY44" fmla="*/ 0 h 207169"/>
                  <a:gd name="connsiteX45" fmla="*/ 338138 w 1116840"/>
                  <a:gd name="connsiteY45" fmla="*/ 2381 h 207169"/>
                  <a:gd name="connsiteX46" fmla="*/ 295275 w 1116840"/>
                  <a:gd name="connsiteY46" fmla="*/ 7144 h 207169"/>
                  <a:gd name="connsiteX47" fmla="*/ 278607 w 1116840"/>
                  <a:gd name="connsiteY47" fmla="*/ 9525 h 207169"/>
                  <a:gd name="connsiteX48" fmla="*/ 269082 w 1116840"/>
                  <a:gd name="connsiteY48" fmla="*/ 11906 h 207169"/>
                  <a:gd name="connsiteX49" fmla="*/ 238125 w 1116840"/>
                  <a:gd name="connsiteY49" fmla="*/ 14287 h 207169"/>
                  <a:gd name="connsiteX50" fmla="*/ 216694 w 1116840"/>
                  <a:gd name="connsiteY50" fmla="*/ 21431 h 207169"/>
                  <a:gd name="connsiteX51" fmla="*/ 195263 w 1116840"/>
                  <a:gd name="connsiteY51" fmla="*/ 26194 h 207169"/>
                  <a:gd name="connsiteX52" fmla="*/ 183357 w 1116840"/>
                  <a:gd name="connsiteY52" fmla="*/ 28575 h 207169"/>
                  <a:gd name="connsiteX53" fmla="*/ 147638 w 1116840"/>
                  <a:gd name="connsiteY53" fmla="*/ 38100 h 207169"/>
                  <a:gd name="connsiteX54" fmla="*/ 128588 w 1116840"/>
                  <a:gd name="connsiteY54" fmla="*/ 45244 h 207169"/>
                  <a:gd name="connsiteX55" fmla="*/ 109538 w 1116840"/>
                  <a:gd name="connsiteY55" fmla="*/ 50006 h 207169"/>
                  <a:gd name="connsiteX56" fmla="*/ 97632 w 1116840"/>
                  <a:gd name="connsiteY56" fmla="*/ 54769 h 207169"/>
                  <a:gd name="connsiteX57" fmla="*/ 80963 w 1116840"/>
                  <a:gd name="connsiteY57" fmla="*/ 57150 h 207169"/>
                  <a:gd name="connsiteX58" fmla="*/ 54769 w 1116840"/>
                  <a:gd name="connsiteY58" fmla="*/ 61912 h 207169"/>
                  <a:gd name="connsiteX59" fmla="*/ 47625 w 1116840"/>
                  <a:gd name="connsiteY59" fmla="*/ 64294 h 207169"/>
                  <a:gd name="connsiteX60" fmla="*/ 23813 w 1116840"/>
                  <a:gd name="connsiteY60" fmla="*/ 71437 h 207169"/>
                  <a:gd name="connsiteX61" fmla="*/ 9525 w 1116840"/>
                  <a:gd name="connsiteY61" fmla="*/ 80962 h 207169"/>
                  <a:gd name="connsiteX62" fmla="*/ 0 w 1116840"/>
                  <a:gd name="connsiteY62" fmla="*/ 104775 h 207169"/>
                  <a:gd name="connsiteX63" fmla="*/ 11907 w 1116840"/>
                  <a:gd name="connsiteY63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966788 w 1116840"/>
                  <a:gd name="connsiteY39" fmla="*/ 35719 h 207169"/>
                  <a:gd name="connsiteX40" fmla="*/ 857250 w 1116840"/>
                  <a:gd name="connsiteY40" fmla="*/ 21431 h 207169"/>
                  <a:gd name="connsiteX41" fmla="*/ 790575 w 1116840"/>
                  <a:gd name="connsiteY41" fmla="*/ 9525 h 207169"/>
                  <a:gd name="connsiteX42" fmla="*/ 702469 w 1116840"/>
                  <a:gd name="connsiteY42" fmla="*/ 7144 h 207169"/>
                  <a:gd name="connsiteX43" fmla="*/ 559594 w 1116840"/>
                  <a:gd name="connsiteY43" fmla="*/ 0 h 207169"/>
                  <a:gd name="connsiteX44" fmla="*/ 338138 w 1116840"/>
                  <a:gd name="connsiteY44" fmla="*/ 2381 h 207169"/>
                  <a:gd name="connsiteX45" fmla="*/ 295275 w 1116840"/>
                  <a:gd name="connsiteY45" fmla="*/ 7144 h 207169"/>
                  <a:gd name="connsiteX46" fmla="*/ 278607 w 1116840"/>
                  <a:gd name="connsiteY46" fmla="*/ 9525 h 207169"/>
                  <a:gd name="connsiteX47" fmla="*/ 269082 w 1116840"/>
                  <a:gd name="connsiteY47" fmla="*/ 11906 h 207169"/>
                  <a:gd name="connsiteX48" fmla="*/ 238125 w 1116840"/>
                  <a:gd name="connsiteY48" fmla="*/ 14287 h 207169"/>
                  <a:gd name="connsiteX49" fmla="*/ 216694 w 1116840"/>
                  <a:gd name="connsiteY49" fmla="*/ 21431 h 207169"/>
                  <a:gd name="connsiteX50" fmla="*/ 195263 w 1116840"/>
                  <a:gd name="connsiteY50" fmla="*/ 26194 h 207169"/>
                  <a:gd name="connsiteX51" fmla="*/ 183357 w 1116840"/>
                  <a:gd name="connsiteY51" fmla="*/ 28575 h 207169"/>
                  <a:gd name="connsiteX52" fmla="*/ 147638 w 1116840"/>
                  <a:gd name="connsiteY52" fmla="*/ 38100 h 207169"/>
                  <a:gd name="connsiteX53" fmla="*/ 128588 w 1116840"/>
                  <a:gd name="connsiteY53" fmla="*/ 45244 h 207169"/>
                  <a:gd name="connsiteX54" fmla="*/ 109538 w 1116840"/>
                  <a:gd name="connsiteY54" fmla="*/ 50006 h 207169"/>
                  <a:gd name="connsiteX55" fmla="*/ 97632 w 1116840"/>
                  <a:gd name="connsiteY55" fmla="*/ 54769 h 207169"/>
                  <a:gd name="connsiteX56" fmla="*/ 80963 w 1116840"/>
                  <a:gd name="connsiteY56" fmla="*/ 57150 h 207169"/>
                  <a:gd name="connsiteX57" fmla="*/ 54769 w 1116840"/>
                  <a:gd name="connsiteY57" fmla="*/ 61912 h 207169"/>
                  <a:gd name="connsiteX58" fmla="*/ 47625 w 1116840"/>
                  <a:gd name="connsiteY58" fmla="*/ 64294 h 207169"/>
                  <a:gd name="connsiteX59" fmla="*/ 23813 w 1116840"/>
                  <a:gd name="connsiteY59" fmla="*/ 71437 h 207169"/>
                  <a:gd name="connsiteX60" fmla="*/ 9525 w 1116840"/>
                  <a:gd name="connsiteY60" fmla="*/ 80962 h 207169"/>
                  <a:gd name="connsiteX61" fmla="*/ 0 w 1116840"/>
                  <a:gd name="connsiteY61" fmla="*/ 104775 h 207169"/>
                  <a:gd name="connsiteX62" fmla="*/ 11907 w 1116840"/>
                  <a:gd name="connsiteY62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83469 w 1117890"/>
                  <a:gd name="connsiteY32" fmla="*/ 130969 h 207169"/>
                  <a:gd name="connsiteX33" fmla="*/ 1090613 w 1117890"/>
                  <a:gd name="connsiteY33" fmla="*/ 123825 h 207169"/>
                  <a:gd name="connsiteX34" fmla="*/ 1100138 w 1117890"/>
                  <a:gd name="connsiteY34" fmla="*/ 119062 h 207169"/>
                  <a:gd name="connsiteX35" fmla="*/ 1116807 w 1117890"/>
                  <a:gd name="connsiteY35" fmla="*/ 95250 h 207169"/>
                  <a:gd name="connsiteX36" fmla="*/ 1114425 w 1117890"/>
                  <a:gd name="connsiteY36" fmla="*/ 85725 h 207169"/>
                  <a:gd name="connsiteX37" fmla="*/ 1054894 w 1117890"/>
                  <a:gd name="connsiteY37" fmla="*/ 61912 h 207169"/>
                  <a:gd name="connsiteX38" fmla="*/ 966788 w 1117890"/>
                  <a:gd name="connsiteY38" fmla="*/ 35719 h 207169"/>
                  <a:gd name="connsiteX39" fmla="*/ 857250 w 1117890"/>
                  <a:gd name="connsiteY39" fmla="*/ 21431 h 207169"/>
                  <a:gd name="connsiteX40" fmla="*/ 790575 w 1117890"/>
                  <a:gd name="connsiteY40" fmla="*/ 9525 h 207169"/>
                  <a:gd name="connsiteX41" fmla="*/ 702469 w 1117890"/>
                  <a:gd name="connsiteY41" fmla="*/ 7144 h 207169"/>
                  <a:gd name="connsiteX42" fmla="*/ 559594 w 1117890"/>
                  <a:gd name="connsiteY42" fmla="*/ 0 h 207169"/>
                  <a:gd name="connsiteX43" fmla="*/ 338138 w 1117890"/>
                  <a:gd name="connsiteY43" fmla="*/ 2381 h 207169"/>
                  <a:gd name="connsiteX44" fmla="*/ 295275 w 1117890"/>
                  <a:gd name="connsiteY44" fmla="*/ 7144 h 207169"/>
                  <a:gd name="connsiteX45" fmla="*/ 278607 w 1117890"/>
                  <a:gd name="connsiteY45" fmla="*/ 9525 h 207169"/>
                  <a:gd name="connsiteX46" fmla="*/ 269082 w 1117890"/>
                  <a:gd name="connsiteY46" fmla="*/ 11906 h 207169"/>
                  <a:gd name="connsiteX47" fmla="*/ 238125 w 1117890"/>
                  <a:gd name="connsiteY47" fmla="*/ 14287 h 207169"/>
                  <a:gd name="connsiteX48" fmla="*/ 216694 w 1117890"/>
                  <a:gd name="connsiteY48" fmla="*/ 21431 h 207169"/>
                  <a:gd name="connsiteX49" fmla="*/ 195263 w 1117890"/>
                  <a:gd name="connsiteY49" fmla="*/ 26194 h 207169"/>
                  <a:gd name="connsiteX50" fmla="*/ 183357 w 1117890"/>
                  <a:gd name="connsiteY50" fmla="*/ 28575 h 207169"/>
                  <a:gd name="connsiteX51" fmla="*/ 147638 w 1117890"/>
                  <a:gd name="connsiteY51" fmla="*/ 38100 h 207169"/>
                  <a:gd name="connsiteX52" fmla="*/ 128588 w 1117890"/>
                  <a:gd name="connsiteY52" fmla="*/ 45244 h 207169"/>
                  <a:gd name="connsiteX53" fmla="*/ 109538 w 1117890"/>
                  <a:gd name="connsiteY53" fmla="*/ 50006 h 207169"/>
                  <a:gd name="connsiteX54" fmla="*/ 97632 w 1117890"/>
                  <a:gd name="connsiteY54" fmla="*/ 54769 h 207169"/>
                  <a:gd name="connsiteX55" fmla="*/ 80963 w 1117890"/>
                  <a:gd name="connsiteY55" fmla="*/ 57150 h 207169"/>
                  <a:gd name="connsiteX56" fmla="*/ 54769 w 1117890"/>
                  <a:gd name="connsiteY56" fmla="*/ 61912 h 207169"/>
                  <a:gd name="connsiteX57" fmla="*/ 47625 w 1117890"/>
                  <a:gd name="connsiteY57" fmla="*/ 64294 h 207169"/>
                  <a:gd name="connsiteX58" fmla="*/ 23813 w 1117890"/>
                  <a:gd name="connsiteY58" fmla="*/ 71437 h 207169"/>
                  <a:gd name="connsiteX59" fmla="*/ 9525 w 1117890"/>
                  <a:gd name="connsiteY59" fmla="*/ 80962 h 207169"/>
                  <a:gd name="connsiteX60" fmla="*/ 0 w 1117890"/>
                  <a:gd name="connsiteY60" fmla="*/ 104775 h 207169"/>
                  <a:gd name="connsiteX61" fmla="*/ 11907 w 1117890"/>
                  <a:gd name="connsiteY61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90613 w 1117890"/>
                  <a:gd name="connsiteY32" fmla="*/ 123825 h 207169"/>
                  <a:gd name="connsiteX33" fmla="*/ 1100138 w 1117890"/>
                  <a:gd name="connsiteY33" fmla="*/ 119062 h 207169"/>
                  <a:gd name="connsiteX34" fmla="*/ 1116807 w 1117890"/>
                  <a:gd name="connsiteY34" fmla="*/ 95250 h 207169"/>
                  <a:gd name="connsiteX35" fmla="*/ 1114425 w 1117890"/>
                  <a:gd name="connsiteY35" fmla="*/ 85725 h 207169"/>
                  <a:gd name="connsiteX36" fmla="*/ 1054894 w 1117890"/>
                  <a:gd name="connsiteY36" fmla="*/ 61912 h 207169"/>
                  <a:gd name="connsiteX37" fmla="*/ 966788 w 1117890"/>
                  <a:gd name="connsiteY37" fmla="*/ 35719 h 207169"/>
                  <a:gd name="connsiteX38" fmla="*/ 857250 w 1117890"/>
                  <a:gd name="connsiteY38" fmla="*/ 21431 h 207169"/>
                  <a:gd name="connsiteX39" fmla="*/ 790575 w 1117890"/>
                  <a:gd name="connsiteY39" fmla="*/ 9525 h 207169"/>
                  <a:gd name="connsiteX40" fmla="*/ 702469 w 1117890"/>
                  <a:gd name="connsiteY40" fmla="*/ 7144 h 207169"/>
                  <a:gd name="connsiteX41" fmla="*/ 559594 w 1117890"/>
                  <a:gd name="connsiteY41" fmla="*/ 0 h 207169"/>
                  <a:gd name="connsiteX42" fmla="*/ 338138 w 1117890"/>
                  <a:gd name="connsiteY42" fmla="*/ 2381 h 207169"/>
                  <a:gd name="connsiteX43" fmla="*/ 295275 w 1117890"/>
                  <a:gd name="connsiteY43" fmla="*/ 7144 h 207169"/>
                  <a:gd name="connsiteX44" fmla="*/ 278607 w 1117890"/>
                  <a:gd name="connsiteY44" fmla="*/ 9525 h 207169"/>
                  <a:gd name="connsiteX45" fmla="*/ 269082 w 1117890"/>
                  <a:gd name="connsiteY45" fmla="*/ 11906 h 207169"/>
                  <a:gd name="connsiteX46" fmla="*/ 238125 w 1117890"/>
                  <a:gd name="connsiteY46" fmla="*/ 14287 h 207169"/>
                  <a:gd name="connsiteX47" fmla="*/ 216694 w 1117890"/>
                  <a:gd name="connsiteY47" fmla="*/ 21431 h 207169"/>
                  <a:gd name="connsiteX48" fmla="*/ 195263 w 1117890"/>
                  <a:gd name="connsiteY48" fmla="*/ 26194 h 207169"/>
                  <a:gd name="connsiteX49" fmla="*/ 183357 w 1117890"/>
                  <a:gd name="connsiteY49" fmla="*/ 28575 h 207169"/>
                  <a:gd name="connsiteX50" fmla="*/ 147638 w 1117890"/>
                  <a:gd name="connsiteY50" fmla="*/ 38100 h 207169"/>
                  <a:gd name="connsiteX51" fmla="*/ 128588 w 1117890"/>
                  <a:gd name="connsiteY51" fmla="*/ 45244 h 207169"/>
                  <a:gd name="connsiteX52" fmla="*/ 109538 w 1117890"/>
                  <a:gd name="connsiteY52" fmla="*/ 50006 h 207169"/>
                  <a:gd name="connsiteX53" fmla="*/ 97632 w 1117890"/>
                  <a:gd name="connsiteY53" fmla="*/ 54769 h 207169"/>
                  <a:gd name="connsiteX54" fmla="*/ 80963 w 1117890"/>
                  <a:gd name="connsiteY54" fmla="*/ 57150 h 207169"/>
                  <a:gd name="connsiteX55" fmla="*/ 54769 w 1117890"/>
                  <a:gd name="connsiteY55" fmla="*/ 61912 h 207169"/>
                  <a:gd name="connsiteX56" fmla="*/ 47625 w 1117890"/>
                  <a:gd name="connsiteY56" fmla="*/ 64294 h 207169"/>
                  <a:gd name="connsiteX57" fmla="*/ 23813 w 1117890"/>
                  <a:gd name="connsiteY57" fmla="*/ 71437 h 207169"/>
                  <a:gd name="connsiteX58" fmla="*/ 9525 w 1117890"/>
                  <a:gd name="connsiteY58" fmla="*/ 80962 h 207169"/>
                  <a:gd name="connsiteX59" fmla="*/ 0 w 1117890"/>
                  <a:gd name="connsiteY59" fmla="*/ 104775 h 207169"/>
                  <a:gd name="connsiteX60" fmla="*/ 11907 w 1117890"/>
                  <a:gd name="connsiteY60" fmla="*/ 111919 h 207169"/>
                  <a:gd name="connsiteX0" fmla="*/ 11907 w 1118595"/>
                  <a:gd name="connsiteY0" fmla="*/ 111919 h 207169"/>
                  <a:gd name="connsiteX1" fmla="*/ 23813 w 1118595"/>
                  <a:gd name="connsiteY1" fmla="*/ 121444 h 207169"/>
                  <a:gd name="connsiteX2" fmla="*/ 28575 w 1118595"/>
                  <a:gd name="connsiteY2" fmla="*/ 128587 h 207169"/>
                  <a:gd name="connsiteX3" fmla="*/ 40482 w 1118595"/>
                  <a:gd name="connsiteY3" fmla="*/ 135731 h 207169"/>
                  <a:gd name="connsiteX4" fmla="*/ 47625 w 1118595"/>
                  <a:gd name="connsiteY4" fmla="*/ 140494 h 207169"/>
                  <a:gd name="connsiteX5" fmla="*/ 78582 w 1118595"/>
                  <a:gd name="connsiteY5" fmla="*/ 145256 h 207169"/>
                  <a:gd name="connsiteX6" fmla="*/ 104775 w 1118595"/>
                  <a:gd name="connsiteY6" fmla="*/ 150019 h 207169"/>
                  <a:gd name="connsiteX7" fmla="*/ 128588 w 1118595"/>
                  <a:gd name="connsiteY7" fmla="*/ 152400 h 207169"/>
                  <a:gd name="connsiteX8" fmla="*/ 161925 w 1118595"/>
                  <a:gd name="connsiteY8" fmla="*/ 161925 h 207169"/>
                  <a:gd name="connsiteX9" fmla="*/ 178594 w 1118595"/>
                  <a:gd name="connsiteY9" fmla="*/ 164306 h 207169"/>
                  <a:gd name="connsiteX10" fmla="*/ 202407 w 1118595"/>
                  <a:gd name="connsiteY10" fmla="*/ 169069 h 207169"/>
                  <a:gd name="connsiteX11" fmla="*/ 209550 w 1118595"/>
                  <a:gd name="connsiteY11" fmla="*/ 171450 h 207169"/>
                  <a:gd name="connsiteX12" fmla="*/ 238125 w 1118595"/>
                  <a:gd name="connsiteY12" fmla="*/ 178594 h 207169"/>
                  <a:gd name="connsiteX13" fmla="*/ 285750 w 1118595"/>
                  <a:gd name="connsiteY13" fmla="*/ 192881 h 207169"/>
                  <a:gd name="connsiteX14" fmla="*/ 378619 w 1118595"/>
                  <a:gd name="connsiteY14" fmla="*/ 195262 h 207169"/>
                  <a:gd name="connsiteX15" fmla="*/ 402432 w 1118595"/>
                  <a:gd name="connsiteY15" fmla="*/ 200025 h 207169"/>
                  <a:gd name="connsiteX16" fmla="*/ 457200 w 1118595"/>
                  <a:gd name="connsiteY16" fmla="*/ 207169 h 207169"/>
                  <a:gd name="connsiteX17" fmla="*/ 604838 w 1118595"/>
                  <a:gd name="connsiteY17" fmla="*/ 204787 h 207169"/>
                  <a:gd name="connsiteX18" fmla="*/ 623888 w 1118595"/>
                  <a:gd name="connsiteY18" fmla="*/ 200025 h 207169"/>
                  <a:gd name="connsiteX19" fmla="*/ 676275 w 1118595"/>
                  <a:gd name="connsiteY19" fmla="*/ 197644 h 207169"/>
                  <a:gd name="connsiteX20" fmla="*/ 697707 w 1118595"/>
                  <a:gd name="connsiteY20" fmla="*/ 192881 h 207169"/>
                  <a:gd name="connsiteX21" fmla="*/ 707232 w 1118595"/>
                  <a:gd name="connsiteY21" fmla="*/ 190500 h 207169"/>
                  <a:gd name="connsiteX22" fmla="*/ 797719 w 1118595"/>
                  <a:gd name="connsiteY22" fmla="*/ 188119 h 207169"/>
                  <a:gd name="connsiteX23" fmla="*/ 823913 w 1118595"/>
                  <a:gd name="connsiteY23" fmla="*/ 180975 h 207169"/>
                  <a:gd name="connsiteX24" fmla="*/ 842963 w 1118595"/>
                  <a:gd name="connsiteY24" fmla="*/ 176212 h 207169"/>
                  <a:gd name="connsiteX25" fmla="*/ 866775 w 1118595"/>
                  <a:gd name="connsiteY25" fmla="*/ 173831 h 207169"/>
                  <a:gd name="connsiteX26" fmla="*/ 940594 w 1118595"/>
                  <a:gd name="connsiteY26" fmla="*/ 169069 h 207169"/>
                  <a:gd name="connsiteX27" fmla="*/ 971550 w 1118595"/>
                  <a:gd name="connsiteY27" fmla="*/ 166687 h 207169"/>
                  <a:gd name="connsiteX28" fmla="*/ 992982 w 1118595"/>
                  <a:gd name="connsiteY28" fmla="*/ 161925 h 207169"/>
                  <a:gd name="connsiteX29" fmla="*/ 1007269 w 1118595"/>
                  <a:gd name="connsiteY29" fmla="*/ 159544 h 207169"/>
                  <a:gd name="connsiteX30" fmla="*/ 1035844 w 1118595"/>
                  <a:gd name="connsiteY30" fmla="*/ 152400 h 207169"/>
                  <a:gd name="connsiteX31" fmla="*/ 1052513 w 1118595"/>
                  <a:gd name="connsiteY31" fmla="*/ 142875 h 207169"/>
                  <a:gd name="connsiteX32" fmla="*/ 1090613 w 1118595"/>
                  <a:gd name="connsiteY32" fmla="*/ 123825 h 207169"/>
                  <a:gd name="connsiteX33" fmla="*/ 1116807 w 1118595"/>
                  <a:gd name="connsiteY33" fmla="*/ 95250 h 207169"/>
                  <a:gd name="connsiteX34" fmla="*/ 1114425 w 1118595"/>
                  <a:gd name="connsiteY34" fmla="*/ 85725 h 207169"/>
                  <a:gd name="connsiteX35" fmla="*/ 1054894 w 1118595"/>
                  <a:gd name="connsiteY35" fmla="*/ 61912 h 207169"/>
                  <a:gd name="connsiteX36" fmla="*/ 966788 w 1118595"/>
                  <a:gd name="connsiteY36" fmla="*/ 35719 h 207169"/>
                  <a:gd name="connsiteX37" fmla="*/ 857250 w 1118595"/>
                  <a:gd name="connsiteY37" fmla="*/ 21431 h 207169"/>
                  <a:gd name="connsiteX38" fmla="*/ 790575 w 1118595"/>
                  <a:gd name="connsiteY38" fmla="*/ 9525 h 207169"/>
                  <a:gd name="connsiteX39" fmla="*/ 702469 w 1118595"/>
                  <a:gd name="connsiteY39" fmla="*/ 7144 h 207169"/>
                  <a:gd name="connsiteX40" fmla="*/ 559594 w 1118595"/>
                  <a:gd name="connsiteY40" fmla="*/ 0 h 207169"/>
                  <a:gd name="connsiteX41" fmla="*/ 338138 w 1118595"/>
                  <a:gd name="connsiteY41" fmla="*/ 2381 h 207169"/>
                  <a:gd name="connsiteX42" fmla="*/ 295275 w 1118595"/>
                  <a:gd name="connsiteY42" fmla="*/ 7144 h 207169"/>
                  <a:gd name="connsiteX43" fmla="*/ 278607 w 1118595"/>
                  <a:gd name="connsiteY43" fmla="*/ 9525 h 207169"/>
                  <a:gd name="connsiteX44" fmla="*/ 269082 w 1118595"/>
                  <a:gd name="connsiteY44" fmla="*/ 11906 h 207169"/>
                  <a:gd name="connsiteX45" fmla="*/ 238125 w 1118595"/>
                  <a:gd name="connsiteY45" fmla="*/ 14287 h 207169"/>
                  <a:gd name="connsiteX46" fmla="*/ 216694 w 1118595"/>
                  <a:gd name="connsiteY46" fmla="*/ 21431 h 207169"/>
                  <a:gd name="connsiteX47" fmla="*/ 195263 w 1118595"/>
                  <a:gd name="connsiteY47" fmla="*/ 26194 h 207169"/>
                  <a:gd name="connsiteX48" fmla="*/ 183357 w 1118595"/>
                  <a:gd name="connsiteY48" fmla="*/ 28575 h 207169"/>
                  <a:gd name="connsiteX49" fmla="*/ 147638 w 1118595"/>
                  <a:gd name="connsiteY49" fmla="*/ 38100 h 207169"/>
                  <a:gd name="connsiteX50" fmla="*/ 128588 w 1118595"/>
                  <a:gd name="connsiteY50" fmla="*/ 45244 h 207169"/>
                  <a:gd name="connsiteX51" fmla="*/ 109538 w 1118595"/>
                  <a:gd name="connsiteY51" fmla="*/ 50006 h 207169"/>
                  <a:gd name="connsiteX52" fmla="*/ 97632 w 1118595"/>
                  <a:gd name="connsiteY52" fmla="*/ 54769 h 207169"/>
                  <a:gd name="connsiteX53" fmla="*/ 80963 w 1118595"/>
                  <a:gd name="connsiteY53" fmla="*/ 57150 h 207169"/>
                  <a:gd name="connsiteX54" fmla="*/ 54769 w 1118595"/>
                  <a:gd name="connsiteY54" fmla="*/ 61912 h 207169"/>
                  <a:gd name="connsiteX55" fmla="*/ 47625 w 1118595"/>
                  <a:gd name="connsiteY55" fmla="*/ 64294 h 207169"/>
                  <a:gd name="connsiteX56" fmla="*/ 23813 w 1118595"/>
                  <a:gd name="connsiteY56" fmla="*/ 71437 h 207169"/>
                  <a:gd name="connsiteX57" fmla="*/ 9525 w 1118595"/>
                  <a:gd name="connsiteY57" fmla="*/ 80962 h 207169"/>
                  <a:gd name="connsiteX58" fmla="*/ 0 w 1118595"/>
                  <a:gd name="connsiteY58" fmla="*/ 104775 h 207169"/>
                  <a:gd name="connsiteX59" fmla="*/ 11907 w 1118595"/>
                  <a:gd name="connsiteY5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992982 w 1121416"/>
                  <a:gd name="connsiteY28" fmla="*/ 161925 h 207169"/>
                  <a:gd name="connsiteX29" fmla="*/ 1007269 w 1121416"/>
                  <a:gd name="connsiteY29" fmla="*/ 159544 h 207169"/>
                  <a:gd name="connsiteX30" fmla="*/ 1035844 w 1121416"/>
                  <a:gd name="connsiteY30" fmla="*/ 152400 h 207169"/>
                  <a:gd name="connsiteX31" fmla="*/ 1052513 w 1121416"/>
                  <a:gd name="connsiteY31" fmla="*/ 142875 h 207169"/>
                  <a:gd name="connsiteX32" fmla="*/ 1116807 w 1121416"/>
                  <a:gd name="connsiteY32" fmla="*/ 95250 h 207169"/>
                  <a:gd name="connsiteX33" fmla="*/ 1114425 w 1121416"/>
                  <a:gd name="connsiteY33" fmla="*/ 85725 h 207169"/>
                  <a:gd name="connsiteX34" fmla="*/ 1054894 w 1121416"/>
                  <a:gd name="connsiteY34" fmla="*/ 61912 h 207169"/>
                  <a:gd name="connsiteX35" fmla="*/ 966788 w 1121416"/>
                  <a:gd name="connsiteY35" fmla="*/ 35719 h 207169"/>
                  <a:gd name="connsiteX36" fmla="*/ 857250 w 1121416"/>
                  <a:gd name="connsiteY36" fmla="*/ 21431 h 207169"/>
                  <a:gd name="connsiteX37" fmla="*/ 790575 w 1121416"/>
                  <a:gd name="connsiteY37" fmla="*/ 9525 h 207169"/>
                  <a:gd name="connsiteX38" fmla="*/ 702469 w 1121416"/>
                  <a:gd name="connsiteY38" fmla="*/ 7144 h 207169"/>
                  <a:gd name="connsiteX39" fmla="*/ 559594 w 1121416"/>
                  <a:gd name="connsiteY39" fmla="*/ 0 h 207169"/>
                  <a:gd name="connsiteX40" fmla="*/ 338138 w 1121416"/>
                  <a:gd name="connsiteY40" fmla="*/ 2381 h 207169"/>
                  <a:gd name="connsiteX41" fmla="*/ 295275 w 1121416"/>
                  <a:gd name="connsiteY41" fmla="*/ 7144 h 207169"/>
                  <a:gd name="connsiteX42" fmla="*/ 278607 w 1121416"/>
                  <a:gd name="connsiteY42" fmla="*/ 9525 h 207169"/>
                  <a:gd name="connsiteX43" fmla="*/ 269082 w 1121416"/>
                  <a:gd name="connsiteY43" fmla="*/ 11906 h 207169"/>
                  <a:gd name="connsiteX44" fmla="*/ 238125 w 1121416"/>
                  <a:gd name="connsiteY44" fmla="*/ 14287 h 207169"/>
                  <a:gd name="connsiteX45" fmla="*/ 216694 w 1121416"/>
                  <a:gd name="connsiteY45" fmla="*/ 21431 h 207169"/>
                  <a:gd name="connsiteX46" fmla="*/ 195263 w 1121416"/>
                  <a:gd name="connsiteY46" fmla="*/ 26194 h 207169"/>
                  <a:gd name="connsiteX47" fmla="*/ 183357 w 1121416"/>
                  <a:gd name="connsiteY47" fmla="*/ 28575 h 207169"/>
                  <a:gd name="connsiteX48" fmla="*/ 147638 w 1121416"/>
                  <a:gd name="connsiteY48" fmla="*/ 38100 h 207169"/>
                  <a:gd name="connsiteX49" fmla="*/ 128588 w 1121416"/>
                  <a:gd name="connsiteY49" fmla="*/ 45244 h 207169"/>
                  <a:gd name="connsiteX50" fmla="*/ 109538 w 1121416"/>
                  <a:gd name="connsiteY50" fmla="*/ 50006 h 207169"/>
                  <a:gd name="connsiteX51" fmla="*/ 97632 w 1121416"/>
                  <a:gd name="connsiteY51" fmla="*/ 54769 h 207169"/>
                  <a:gd name="connsiteX52" fmla="*/ 80963 w 1121416"/>
                  <a:gd name="connsiteY52" fmla="*/ 57150 h 207169"/>
                  <a:gd name="connsiteX53" fmla="*/ 54769 w 1121416"/>
                  <a:gd name="connsiteY53" fmla="*/ 61912 h 207169"/>
                  <a:gd name="connsiteX54" fmla="*/ 47625 w 1121416"/>
                  <a:gd name="connsiteY54" fmla="*/ 64294 h 207169"/>
                  <a:gd name="connsiteX55" fmla="*/ 23813 w 1121416"/>
                  <a:gd name="connsiteY55" fmla="*/ 71437 h 207169"/>
                  <a:gd name="connsiteX56" fmla="*/ 9525 w 1121416"/>
                  <a:gd name="connsiteY56" fmla="*/ 80962 h 207169"/>
                  <a:gd name="connsiteX57" fmla="*/ 0 w 1121416"/>
                  <a:gd name="connsiteY57" fmla="*/ 104775 h 207169"/>
                  <a:gd name="connsiteX58" fmla="*/ 11907 w 1121416"/>
                  <a:gd name="connsiteY5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07269 w 1121416"/>
                  <a:gd name="connsiteY28" fmla="*/ 159544 h 207169"/>
                  <a:gd name="connsiteX29" fmla="*/ 1035844 w 1121416"/>
                  <a:gd name="connsiteY29" fmla="*/ 152400 h 207169"/>
                  <a:gd name="connsiteX30" fmla="*/ 1052513 w 1121416"/>
                  <a:gd name="connsiteY30" fmla="*/ 142875 h 207169"/>
                  <a:gd name="connsiteX31" fmla="*/ 1116807 w 1121416"/>
                  <a:gd name="connsiteY31" fmla="*/ 95250 h 207169"/>
                  <a:gd name="connsiteX32" fmla="*/ 1114425 w 1121416"/>
                  <a:gd name="connsiteY32" fmla="*/ 85725 h 207169"/>
                  <a:gd name="connsiteX33" fmla="*/ 1054894 w 1121416"/>
                  <a:gd name="connsiteY33" fmla="*/ 61912 h 207169"/>
                  <a:gd name="connsiteX34" fmla="*/ 966788 w 1121416"/>
                  <a:gd name="connsiteY34" fmla="*/ 35719 h 207169"/>
                  <a:gd name="connsiteX35" fmla="*/ 857250 w 1121416"/>
                  <a:gd name="connsiteY35" fmla="*/ 21431 h 207169"/>
                  <a:gd name="connsiteX36" fmla="*/ 790575 w 1121416"/>
                  <a:gd name="connsiteY36" fmla="*/ 9525 h 207169"/>
                  <a:gd name="connsiteX37" fmla="*/ 702469 w 1121416"/>
                  <a:gd name="connsiteY37" fmla="*/ 7144 h 207169"/>
                  <a:gd name="connsiteX38" fmla="*/ 559594 w 1121416"/>
                  <a:gd name="connsiteY38" fmla="*/ 0 h 207169"/>
                  <a:gd name="connsiteX39" fmla="*/ 338138 w 1121416"/>
                  <a:gd name="connsiteY39" fmla="*/ 2381 h 207169"/>
                  <a:gd name="connsiteX40" fmla="*/ 295275 w 1121416"/>
                  <a:gd name="connsiteY40" fmla="*/ 7144 h 207169"/>
                  <a:gd name="connsiteX41" fmla="*/ 278607 w 1121416"/>
                  <a:gd name="connsiteY41" fmla="*/ 9525 h 207169"/>
                  <a:gd name="connsiteX42" fmla="*/ 269082 w 1121416"/>
                  <a:gd name="connsiteY42" fmla="*/ 11906 h 207169"/>
                  <a:gd name="connsiteX43" fmla="*/ 238125 w 1121416"/>
                  <a:gd name="connsiteY43" fmla="*/ 14287 h 207169"/>
                  <a:gd name="connsiteX44" fmla="*/ 216694 w 1121416"/>
                  <a:gd name="connsiteY44" fmla="*/ 21431 h 207169"/>
                  <a:gd name="connsiteX45" fmla="*/ 195263 w 1121416"/>
                  <a:gd name="connsiteY45" fmla="*/ 26194 h 207169"/>
                  <a:gd name="connsiteX46" fmla="*/ 183357 w 1121416"/>
                  <a:gd name="connsiteY46" fmla="*/ 28575 h 207169"/>
                  <a:gd name="connsiteX47" fmla="*/ 147638 w 1121416"/>
                  <a:gd name="connsiteY47" fmla="*/ 38100 h 207169"/>
                  <a:gd name="connsiteX48" fmla="*/ 128588 w 1121416"/>
                  <a:gd name="connsiteY48" fmla="*/ 45244 h 207169"/>
                  <a:gd name="connsiteX49" fmla="*/ 109538 w 1121416"/>
                  <a:gd name="connsiteY49" fmla="*/ 50006 h 207169"/>
                  <a:gd name="connsiteX50" fmla="*/ 97632 w 1121416"/>
                  <a:gd name="connsiteY50" fmla="*/ 54769 h 207169"/>
                  <a:gd name="connsiteX51" fmla="*/ 80963 w 1121416"/>
                  <a:gd name="connsiteY51" fmla="*/ 57150 h 207169"/>
                  <a:gd name="connsiteX52" fmla="*/ 54769 w 1121416"/>
                  <a:gd name="connsiteY52" fmla="*/ 61912 h 207169"/>
                  <a:gd name="connsiteX53" fmla="*/ 47625 w 1121416"/>
                  <a:gd name="connsiteY53" fmla="*/ 64294 h 207169"/>
                  <a:gd name="connsiteX54" fmla="*/ 23813 w 1121416"/>
                  <a:gd name="connsiteY54" fmla="*/ 71437 h 207169"/>
                  <a:gd name="connsiteX55" fmla="*/ 9525 w 1121416"/>
                  <a:gd name="connsiteY55" fmla="*/ 80962 h 207169"/>
                  <a:gd name="connsiteX56" fmla="*/ 0 w 1121416"/>
                  <a:gd name="connsiteY56" fmla="*/ 104775 h 207169"/>
                  <a:gd name="connsiteX57" fmla="*/ 11907 w 1121416"/>
                  <a:gd name="connsiteY5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35844 w 1121416"/>
                  <a:gd name="connsiteY28" fmla="*/ 152400 h 207169"/>
                  <a:gd name="connsiteX29" fmla="*/ 1052513 w 1121416"/>
                  <a:gd name="connsiteY29" fmla="*/ 142875 h 207169"/>
                  <a:gd name="connsiteX30" fmla="*/ 1116807 w 1121416"/>
                  <a:gd name="connsiteY30" fmla="*/ 95250 h 207169"/>
                  <a:gd name="connsiteX31" fmla="*/ 1114425 w 1121416"/>
                  <a:gd name="connsiteY31" fmla="*/ 85725 h 207169"/>
                  <a:gd name="connsiteX32" fmla="*/ 1054894 w 1121416"/>
                  <a:gd name="connsiteY32" fmla="*/ 61912 h 207169"/>
                  <a:gd name="connsiteX33" fmla="*/ 966788 w 1121416"/>
                  <a:gd name="connsiteY33" fmla="*/ 35719 h 207169"/>
                  <a:gd name="connsiteX34" fmla="*/ 857250 w 1121416"/>
                  <a:gd name="connsiteY34" fmla="*/ 21431 h 207169"/>
                  <a:gd name="connsiteX35" fmla="*/ 790575 w 1121416"/>
                  <a:gd name="connsiteY35" fmla="*/ 9525 h 207169"/>
                  <a:gd name="connsiteX36" fmla="*/ 702469 w 1121416"/>
                  <a:gd name="connsiteY36" fmla="*/ 7144 h 207169"/>
                  <a:gd name="connsiteX37" fmla="*/ 559594 w 1121416"/>
                  <a:gd name="connsiteY37" fmla="*/ 0 h 207169"/>
                  <a:gd name="connsiteX38" fmla="*/ 338138 w 1121416"/>
                  <a:gd name="connsiteY38" fmla="*/ 2381 h 207169"/>
                  <a:gd name="connsiteX39" fmla="*/ 295275 w 1121416"/>
                  <a:gd name="connsiteY39" fmla="*/ 7144 h 207169"/>
                  <a:gd name="connsiteX40" fmla="*/ 278607 w 1121416"/>
                  <a:gd name="connsiteY40" fmla="*/ 9525 h 207169"/>
                  <a:gd name="connsiteX41" fmla="*/ 269082 w 1121416"/>
                  <a:gd name="connsiteY41" fmla="*/ 11906 h 207169"/>
                  <a:gd name="connsiteX42" fmla="*/ 238125 w 1121416"/>
                  <a:gd name="connsiteY42" fmla="*/ 14287 h 207169"/>
                  <a:gd name="connsiteX43" fmla="*/ 216694 w 1121416"/>
                  <a:gd name="connsiteY43" fmla="*/ 21431 h 207169"/>
                  <a:gd name="connsiteX44" fmla="*/ 195263 w 1121416"/>
                  <a:gd name="connsiteY44" fmla="*/ 26194 h 207169"/>
                  <a:gd name="connsiteX45" fmla="*/ 183357 w 1121416"/>
                  <a:gd name="connsiteY45" fmla="*/ 28575 h 207169"/>
                  <a:gd name="connsiteX46" fmla="*/ 147638 w 1121416"/>
                  <a:gd name="connsiteY46" fmla="*/ 38100 h 207169"/>
                  <a:gd name="connsiteX47" fmla="*/ 128588 w 1121416"/>
                  <a:gd name="connsiteY47" fmla="*/ 45244 h 207169"/>
                  <a:gd name="connsiteX48" fmla="*/ 109538 w 1121416"/>
                  <a:gd name="connsiteY48" fmla="*/ 50006 h 207169"/>
                  <a:gd name="connsiteX49" fmla="*/ 97632 w 1121416"/>
                  <a:gd name="connsiteY49" fmla="*/ 54769 h 207169"/>
                  <a:gd name="connsiteX50" fmla="*/ 80963 w 1121416"/>
                  <a:gd name="connsiteY50" fmla="*/ 57150 h 207169"/>
                  <a:gd name="connsiteX51" fmla="*/ 54769 w 1121416"/>
                  <a:gd name="connsiteY51" fmla="*/ 61912 h 207169"/>
                  <a:gd name="connsiteX52" fmla="*/ 47625 w 1121416"/>
                  <a:gd name="connsiteY52" fmla="*/ 64294 h 207169"/>
                  <a:gd name="connsiteX53" fmla="*/ 23813 w 1121416"/>
                  <a:gd name="connsiteY53" fmla="*/ 71437 h 207169"/>
                  <a:gd name="connsiteX54" fmla="*/ 9525 w 1121416"/>
                  <a:gd name="connsiteY54" fmla="*/ 80962 h 207169"/>
                  <a:gd name="connsiteX55" fmla="*/ 0 w 1121416"/>
                  <a:gd name="connsiteY55" fmla="*/ 104775 h 207169"/>
                  <a:gd name="connsiteX56" fmla="*/ 11907 w 1121416"/>
                  <a:gd name="connsiteY5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52513 w 1121416"/>
                  <a:gd name="connsiteY28" fmla="*/ 142875 h 207169"/>
                  <a:gd name="connsiteX29" fmla="*/ 1116807 w 1121416"/>
                  <a:gd name="connsiteY29" fmla="*/ 95250 h 207169"/>
                  <a:gd name="connsiteX30" fmla="*/ 1114425 w 1121416"/>
                  <a:gd name="connsiteY30" fmla="*/ 85725 h 207169"/>
                  <a:gd name="connsiteX31" fmla="*/ 1054894 w 1121416"/>
                  <a:gd name="connsiteY31" fmla="*/ 61912 h 207169"/>
                  <a:gd name="connsiteX32" fmla="*/ 966788 w 1121416"/>
                  <a:gd name="connsiteY32" fmla="*/ 35719 h 207169"/>
                  <a:gd name="connsiteX33" fmla="*/ 857250 w 1121416"/>
                  <a:gd name="connsiteY33" fmla="*/ 21431 h 207169"/>
                  <a:gd name="connsiteX34" fmla="*/ 790575 w 1121416"/>
                  <a:gd name="connsiteY34" fmla="*/ 9525 h 207169"/>
                  <a:gd name="connsiteX35" fmla="*/ 702469 w 1121416"/>
                  <a:gd name="connsiteY35" fmla="*/ 7144 h 207169"/>
                  <a:gd name="connsiteX36" fmla="*/ 559594 w 1121416"/>
                  <a:gd name="connsiteY36" fmla="*/ 0 h 207169"/>
                  <a:gd name="connsiteX37" fmla="*/ 338138 w 1121416"/>
                  <a:gd name="connsiteY37" fmla="*/ 2381 h 207169"/>
                  <a:gd name="connsiteX38" fmla="*/ 295275 w 1121416"/>
                  <a:gd name="connsiteY38" fmla="*/ 7144 h 207169"/>
                  <a:gd name="connsiteX39" fmla="*/ 278607 w 1121416"/>
                  <a:gd name="connsiteY39" fmla="*/ 9525 h 207169"/>
                  <a:gd name="connsiteX40" fmla="*/ 269082 w 1121416"/>
                  <a:gd name="connsiteY40" fmla="*/ 11906 h 207169"/>
                  <a:gd name="connsiteX41" fmla="*/ 238125 w 1121416"/>
                  <a:gd name="connsiteY41" fmla="*/ 14287 h 207169"/>
                  <a:gd name="connsiteX42" fmla="*/ 216694 w 1121416"/>
                  <a:gd name="connsiteY42" fmla="*/ 21431 h 207169"/>
                  <a:gd name="connsiteX43" fmla="*/ 195263 w 1121416"/>
                  <a:gd name="connsiteY43" fmla="*/ 26194 h 207169"/>
                  <a:gd name="connsiteX44" fmla="*/ 183357 w 1121416"/>
                  <a:gd name="connsiteY44" fmla="*/ 28575 h 207169"/>
                  <a:gd name="connsiteX45" fmla="*/ 147638 w 1121416"/>
                  <a:gd name="connsiteY45" fmla="*/ 38100 h 207169"/>
                  <a:gd name="connsiteX46" fmla="*/ 128588 w 1121416"/>
                  <a:gd name="connsiteY46" fmla="*/ 45244 h 207169"/>
                  <a:gd name="connsiteX47" fmla="*/ 109538 w 1121416"/>
                  <a:gd name="connsiteY47" fmla="*/ 50006 h 207169"/>
                  <a:gd name="connsiteX48" fmla="*/ 97632 w 1121416"/>
                  <a:gd name="connsiteY48" fmla="*/ 54769 h 207169"/>
                  <a:gd name="connsiteX49" fmla="*/ 80963 w 1121416"/>
                  <a:gd name="connsiteY49" fmla="*/ 57150 h 207169"/>
                  <a:gd name="connsiteX50" fmla="*/ 54769 w 1121416"/>
                  <a:gd name="connsiteY50" fmla="*/ 61912 h 207169"/>
                  <a:gd name="connsiteX51" fmla="*/ 47625 w 1121416"/>
                  <a:gd name="connsiteY51" fmla="*/ 64294 h 207169"/>
                  <a:gd name="connsiteX52" fmla="*/ 23813 w 1121416"/>
                  <a:gd name="connsiteY52" fmla="*/ 71437 h 207169"/>
                  <a:gd name="connsiteX53" fmla="*/ 9525 w 1121416"/>
                  <a:gd name="connsiteY53" fmla="*/ 80962 h 207169"/>
                  <a:gd name="connsiteX54" fmla="*/ 0 w 1121416"/>
                  <a:gd name="connsiteY54" fmla="*/ 104775 h 207169"/>
                  <a:gd name="connsiteX55" fmla="*/ 11907 w 1121416"/>
                  <a:gd name="connsiteY5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66775 w 1121416"/>
                  <a:gd name="connsiteY24" fmla="*/ 173831 h 207169"/>
                  <a:gd name="connsiteX25" fmla="*/ 940594 w 1121416"/>
                  <a:gd name="connsiteY25" fmla="*/ 169069 h 207169"/>
                  <a:gd name="connsiteX26" fmla="*/ 971550 w 1121416"/>
                  <a:gd name="connsiteY26" fmla="*/ 166687 h 207169"/>
                  <a:gd name="connsiteX27" fmla="*/ 1052513 w 1121416"/>
                  <a:gd name="connsiteY27" fmla="*/ 142875 h 207169"/>
                  <a:gd name="connsiteX28" fmla="*/ 1116807 w 1121416"/>
                  <a:gd name="connsiteY28" fmla="*/ 95250 h 207169"/>
                  <a:gd name="connsiteX29" fmla="*/ 1114425 w 1121416"/>
                  <a:gd name="connsiteY29" fmla="*/ 85725 h 207169"/>
                  <a:gd name="connsiteX30" fmla="*/ 1054894 w 1121416"/>
                  <a:gd name="connsiteY30" fmla="*/ 61912 h 207169"/>
                  <a:gd name="connsiteX31" fmla="*/ 966788 w 1121416"/>
                  <a:gd name="connsiteY31" fmla="*/ 35719 h 207169"/>
                  <a:gd name="connsiteX32" fmla="*/ 857250 w 1121416"/>
                  <a:gd name="connsiteY32" fmla="*/ 21431 h 207169"/>
                  <a:gd name="connsiteX33" fmla="*/ 790575 w 1121416"/>
                  <a:gd name="connsiteY33" fmla="*/ 9525 h 207169"/>
                  <a:gd name="connsiteX34" fmla="*/ 702469 w 1121416"/>
                  <a:gd name="connsiteY34" fmla="*/ 7144 h 207169"/>
                  <a:gd name="connsiteX35" fmla="*/ 559594 w 1121416"/>
                  <a:gd name="connsiteY35" fmla="*/ 0 h 207169"/>
                  <a:gd name="connsiteX36" fmla="*/ 338138 w 1121416"/>
                  <a:gd name="connsiteY36" fmla="*/ 2381 h 207169"/>
                  <a:gd name="connsiteX37" fmla="*/ 295275 w 1121416"/>
                  <a:gd name="connsiteY37" fmla="*/ 7144 h 207169"/>
                  <a:gd name="connsiteX38" fmla="*/ 278607 w 1121416"/>
                  <a:gd name="connsiteY38" fmla="*/ 9525 h 207169"/>
                  <a:gd name="connsiteX39" fmla="*/ 269082 w 1121416"/>
                  <a:gd name="connsiteY39" fmla="*/ 11906 h 207169"/>
                  <a:gd name="connsiteX40" fmla="*/ 238125 w 1121416"/>
                  <a:gd name="connsiteY40" fmla="*/ 14287 h 207169"/>
                  <a:gd name="connsiteX41" fmla="*/ 216694 w 1121416"/>
                  <a:gd name="connsiteY41" fmla="*/ 21431 h 207169"/>
                  <a:gd name="connsiteX42" fmla="*/ 195263 w 1121416"/>
                  <a:gd name="connsiteY42" fmla="*/ 26194 h 207169"/>
                  <a:gd name="connsiteX43" fmla="*/ 183357 w 1121416"/>
                  <a:gd name="connsiteY43" fmla="*/ 28575 h 207169"/>
                  <a:gd name="connsiteX44" fmla="*/ 147638 w 1121416"/>
                  <a:gd name="connsiteY44" fmla="*/ 38100 h 207169"/>
                  <a:gd name="connsiteX45" fmla="*/ 128588 w 1121416"/>
                  <a:gd name="connsiteY45" fmla="*/ 45244 h 207169"/>
                  <a:gd name="connsiteX46" fmla="*/ 109538 w 1121416"/>
                  <a:gd name="connsiteY46" fmla="*/ 50006 h 207169"/>
                  <a:gd name="connsiteX47" fmla="*/ 97632 w 1121416"/>
                  <a:gd name="connsiteY47" fmla="*/ 54769 h 207169"/>
                  <a:gd name="connsiteX48" fmla="*/ 80963 w 1121416"/>
                  <a:gd name="connsiteY48" fmla="*/ 57150 h 207169"/>
                  <a:gd name="connsiteX49" fmla="*/ 54769 w 1121416"/>
                  <a:gd name="connsiteY49" fmla="*/ 61912 h 207169"/>
                  <a:gd name="connsiteX50" fmla="*/ 47625 w 1121416"/>
                  <a:gd name="connsiteY50" fmla="*/ 64294 h 207169"/>
                  <a:gd name="connsiteX51" fmla="*/ 23813 w 1121416"/>
                  <a:gd name="connsiteY51" fmla="*/ 71437 h 207169"/>
                  <a:gd name="connsiteX52" fmla="*/ 9525 w 1121416"/>
                  <a:gd name="connsiteY52" fmla="*/ 80962 h 207169"/>
                  <a:gd name="connsiteX53" fmla="*/ 0 w 1121416"/>
                  <a:gd name="connsiteY53" fmla="*/ 104775 h 207169"/>
                  <a:gd name="connsiteX54" fmla="*/ 11907 w 1121416"/>
                  <a:gd name="connsiteY5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66775 w 1121416"/>
                  <a:gd name="connsiteY23" fmla="*/ 173831 h 207169"/>
                  <a:gd name="connsiteX24" fmla="*/ 940594 w 1121416"/>
                  <a:gd name="connsiteY24" fmla="*/ 169069 h 207169"/>
                  <a:gd name="connsiteX25" fmla="*/ 971550 w 1121416"/>
                  <a:gd name="connsiteY25" fmla="*/ 166687 h 207169"/>
                  <a:gd name="connsiteX26" fmla="*/ 1052513 w 1121416"/>
                  <a:gd name="connsiteY26" fmla="*/ 142875 h 207169"/>
                  <a:gd name="connsiteX27" fmla="*/ 1116807 w 1121416"/>
                  <a:gd name="connsiteY27" fmla="*/ 95250 h 207169"/>
                  <a:gd name="connsiteX28" fmla="*/ 1114425 w 1121416"/>
                  <a:gd name="connsiteY28" fmla="*/ 85725 h 207169"/>
                  <a:gd name="connsiteX29" fmla="*/ 1054894 w 1121416"/>
                  <a:gd name="connsiteY29" fmla="*/ 61912 h 207169"/>
                  <a:gd name="connsiteX30" fmla="*/ 966788 w 1121416"/>
                  <a:gd name="connsiteY30" fmla="*/ 35719 h 207169"/>
                  <a:gd name="connsiteX31" fmla="*/ 857250 w 1121416"/>
                  <a:gd name="connsiteY31" fmla="*/ 21431 h 207169"/>
                  <a:gd name="connsiteX32" fmla="*/ 790575 w 1121416"/>
                  <a:gd name="connsiteY32" fmla="*/ 9525 h 207169"/>
                  <a:gd name="connsiteX33" fmla="*/ 702469 w 1121416"/>
                  <a:gd name="connsiteY33" fmla="*/ 7144 h 207169"/>
                  <a:gd name="connsiteX34" fmla="*/ 559594 w 1121416"/>
                  <a:gd name="connsiteY34" fmla="*/ 0 h 207169"/>
                  <a:gd name="connsiteX35" fmla="*/ 338138 w 1121416"/>
                  <a:gd name="connsiteY35" fmla="*/ 2381 h 207169"/>
                  <a:gd name="connsiteX36" fmla="*/ 295275 w 1121416"/>
                  <a:gd name="connsiteY36" fmla="*/ 7144 h 207169"/>
                  <a:gd name="connsiteX37" fmla="*/ 278607 w 1121416"/>
                  <a:gd name="connsiteY37" fmla="*/ 9525 h 207169"/>
                  <a:gd name="connsiteX38" fmla="*/ 269082 w 1121416"/>
                  <a:gd name="connsiteY38" fmla="*/ 11906 h 207169"/>
                  <a:gd name="connsiteX39" fmla="*/ 238125 w 1121416"/>
                  <a:gd name="connsiteY39" fmla="*/ 14287 h 207169"/>
                  <a:gd name="connsiteX40" fmla="*/ 216694 w 1121416"/>
                  <a:gd name="connsiteY40" fmla="*/ 21431 h 207169"/>
                  <a:gd name="connsiteX41" fmla="*/ 195263 w 1121416"/>
                  <a:gd name="connsiteY41" fmla="*/ 26194 h 207169"/>
                  <a:gd name="connsiteX42" fmla="*/ 183357 w 1121416"/>
                  <a:gd name="connsiteY42" fmla="*/ 28575 h 207169"/>
                  <a:gd name="connsiteX43" fmla="*/ 147638 w 1121416"/>
                  <a:gd name="connsiteY43" fmla="*/ 38100 h 207169"/>
                  <a:gd name="connsiteX44" fmla="*/ 128588 w 1121416"/>
                  <a:gd name="connsiteY44" fmla="*/ 45244 h 207169"/>
                  <a:gd name="connsiteX45" fmla="*/ 109538 w 1121416"/>
                  <a:gd name="connsiteY45" fmla="*/ 50006 h 207169"/>
                  <a:gd name="connsiteX46" fmla="*/ 97632 w 1121416"/>
                  <a:gd name="connsiteY46" fmla="*/ 54769 h 207169"/>
                  <a:gd name="connsiteX47" fmla="*/ 80963 w 1121416"/>
                  <a:gd name="connsiteY47" fmla="*/ 57150 h 207169"/>
                  <a:gd name="connsiteX48" fmla="*/ 54769 w 1121416"/>
                  <a:gd name="connsiteY48" fmla="*/ 61912 h 207169"/>
                  <a:gd name="connsiteX49" fmla="*/ 47625 w 1121416"/>
                  <a:gd name="connsiteY49" fmla="*/ 64294 h 207169"/>
                  <a:gd name="connsiteX50" fmla="*/ 23813 w 1121416"/>
                  <a:gd name="connsiteY50" fmla="*/ 71437 h 207169"/>
                  <a:gd name="connsiteX51" fmla="*/ 9525 w 1121416"/>
                  <a:gd name="connsiteY51" fmla="*/ 80962 h 207169"/>
                  <a:gd name="connsiteX52" fmla="*/ 0 w 1121416"/>
                  <a:gd name="connsiteY52" fmla="*/ 104775 h 207169"/>
                  <a:gd name="connsiteX53" fmla="*/ 11907 w 1121416"/>
                  <a:gd name="connsiteY53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97719 w 1121416"/>
                  <a:gd name="connsiteY21" fmla="*/ 188119 h 207169"/>
                  <a:gd name="connsiteX22" fmla="*/ 866775 w 1121416"/>
                  <a:gd name="connsiteY22" fmla="*/ 173831 h 207169"/>
                  <a:gd name="connsiteX23" fmla="*/ 940594 w 1121416"/>
                  <a:gd name="connsiteY23" fmla="*/ 169069 h 207169"/>
                  <a:gd name="connsiteX24" fmla="*/ 971550 w 1121416"/>
                  <a:gd name="connsiteY24" fmla="*/ 166687 h 207169"/>
                  <a:gd name="connsiteX25" fmla="*/ 1052513 w 1121416"/>
                  <a:gd name="connsiteY25" fmla="*/ 142875 h 207169"/>
                  <a:gd name="connsiteX26" fmla="*/ 1116807 w 1121416"/>
                  <a:gd name="connsiteY26" fmla="*/ 95250 h 207169"/>
                  <a:gd name="connsiteX27" fmla="*/ 1114425 w 1121416"/>
                  <a:gd name="connsiteY27" fmla="*/ 85725 h 207169"/>
                  <a:gd name="connsiteX28" fmla="*/ 1054894 w 1121416"/>
                  <a:gd name="connsiteY28" fmla="*/ 61912 h 207169"/>
                  <a:gd name="connsiteX29" fmla="*/ 966788 w 1121416"/>
                  <a:gd name="connsiteY29" fmla="*/ 35719 h 207169"/>
                  <a:gd name="connsiteX30" fmla="*/ 857250 w 1121416"/>
                  <a:gd name="connsiteY30" fmla="*/ 21431 h 207169"/>
                  <a:gd name="connsiteX31" fmla="*/ 790575 w 1121416"/>
                  <a:gd name="connsiteY31" fmla="*/ 9525 h 207169"/>
                  <a:gd name="connsiteX32" fmla="*/ 702469 w 1121416"/>
                  <a:gd name="connsiteY32" fmla="*/ 7144 h 207169"/>
                  <a:gd name="connsiteX33" fmla="*/ 559594 w 1121416"/>
                  <a:gd name="connsiteY33" fmla="*/ 0 h 207169"/>
                  <a:gd name="connsiteX34" fmla="*/ 338138 w 1121416"/>
                  <a:gd name="connsiteY34" fmla="*/ 2381 h 207169"/>
                  <a:gd name="connsiteX35" fmla="*/ 295275 w 1121416"/>
                  <a:gd name="connsiteY35" fmla="*/ 7144 h 207169"/>
                  <a:gd name="connsiteX36" fmla="*/ 278607 w 1121416"/>
                  <a:gd name="connsiteY36" fmla="*/ 9525 h 207169"/>
                  <a:gd name="connsiteX37" fmla="*/ 269082 w 1121416"/>
                  <a:gd name="connsiteY37" fmla="*/ 11906 h 207169"/>
                  <a:gd name="connsiteX38" fmla="*/ 238125 w 1121416"/>
                  <a:gd name="connsiteY38" fmla="*/ 14287 h 207169"/>
                  <a:gd name="connsiteX39" fmla="*/ 216694 w 1121416"/>
                  <a:gd name="connsiteY39" fmla="*/ 21431 h 207169"/>
                  <a:gd name="connsiteX40" fmla="*/ 195263 w 1121416"/>
                  <a:gd name="connsiteY40" fmla="*/ 26194 h 207169"/>
                  <a:gd name="connsiteX41" fmla="*/ 183357 w 1121416"/>
                  <a:gd name="connsiteY41" fmla="*/ 28575 h 207169"/>
                  <a:gd name="connsiteX42" fmla="*/ 147638 w 1121416"/>
                  <a:gd name="connsiteY42" fmla="*/ 38100 h 207169"/>
                  <a:gd name="connsiteX43" fmla="*/ 128588 w 1121416"/>
                  <a:gd name="connsiteY43" fmla="*/ 45244 h 207169"/>
                  <a:gd name="connsiteX44" fmla="*/ 109538 w 1121416"/>
                  <a:gd name="connsiteY44" fmla="*/ 50006 h 207169"/>
                  <a:gd name="connsiteX45" fmla="*/ 97632 w 1121416"/>
                  <a:gd name="connsiteY45" fmla="*/ 54769 h 207169"/>
                  <a:gd name="connsiteX46" fmla="*/ 80963 w 1121416"/>
                  <a:gd name="connsiteY46" fmla="*/ 57150 h 207169"/>
                  <a:gd name="connsiteX47" fmla="*/ 54769 w 1121416"/>
                  <a:gd name="connsiteY47" fmla="*/ 61912 h 207169"/>
                  <a:gd name="connsiteX48" fmla="*/ 47625 w 1121416"/>
                  <a:gd name="connsiteY48" fmla="*/ 64294 h 207169"/>
                  <a:gd name="connsiteX49" fmla="*/ 23813 w 1121416"/>
                  <a:gd name="connsiteY49" fmla="*/ 71437 h 207169"/>
                  <a:gd name="connsiteX50" fmla="*/ 9525 w 1121416"/>
                  <a:gd name="connsiteY50" fmla="*/ 80962 h 207169"/>
                  <a:gd name="connsiteX51" fmla="*/ 0 w 1121416"/>
                  <a:gd name="connsiteY51" fmla="*/ 104775 h 207169"/>
                  <a:gd name="connsiteX52" fmla="*/ 11907 w 1121416"/>
                  <a:gd name="connsiteY52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797719 w 1121416"/>
                  <a:gd name="connsiteY20" fmla="*/ 188119 h 207169"/>
                  <a:gd name="connsiteX21" fmla="*/ 866775 w 1121416"/>
                  <a:gd name="connsiteY21" fmla="*/ 173831 h 207169"/>
                  <a:gd name="connsiteX22" fmla="*/ 940594 w 1121416"/>
                  <a:gd name="connsiteY22" fmla="*/ 169069 h 207169"/>
                  <a:gd name="connsiteX23" fmla="*/ 971550 w 1121416"/>
                  <a:gd name="connsiteY23" fmla="*/ 166687 h 207169"/>
                  <a:gd name="connsiteX24" fmla="*/ 1052513 w 1121416"/>
                  <a:gd name="connsiteY24" fmla="*/ 142875 h 207169"/>
                  <a:gd name="connsiteX25" fmla="*/ 1116807 w 1121416"/>
                  <a:gd name="connsiteY25" fmla="*/ 95250 h 207169"/>
                  <a:gd name="connsiteX26" fmla="*/ 1114425 w 1121416"/>
                  <a:gd name="connsiteY26" fmla="*/ 85725 h 207169"/>
                  <a:gd name="connsiteX27" fmla="*/ 1054894 w 1121416"/>
                  <a:gd name="connsiteY27" fmla="*/ 61912 h 207169"/>
                  <a:gd name="connsiteX28" fmla="*/ 966788 w 1121416"/>
                  <a:gd name="connsiteY28" fmla="*/ 35719 h 207169"/>
                  <a:gd name="connsiteX29" fmla="*/ 857250 w 1121416"/>
                  <a:gd name="connsiteY29" fmla="*/ 21431 h 207169"/>
                  <a:gd name="connsiteX30" fmla="*/ 790575 w 1121416"/>
                  <a:gd name="connsiteY30" fmla="*/ 9525 h 207169"/>
                  <a:gd name="connsiteX31" fmla="*/ 702469 w 1121416"/>
                  <a:gd name="connsiteY31" fmla="*/ 7144 h 207169"/>
                  <a:gd name="connsiteX32" fmla="*/ 559594 w 1121416"/>
                  <a:gd name="connsiteY32" fmla="*/ 0 h 207169"/>
                  <a:gd name="connsiteX33" fmla="*/ 338138 w 1121416"/>
                  <a:gd name="connsiteY33" fmla="*/ 2381 h 207169"/>
                  <a:gd name="connsiteX34" fmla="*/ 295275 w 1121416"/>
                  <a:gd name="connsiteY34" fmla="*/ 7144 h 207169"/>
                  <a:gd name="connsiteX35" fmla="*/ 278607 w 1121416"/>
                  <a:gd name="connsiteY35" fmla="*/ 9525 h 207169"/>
                  <a:gd name="connsiteX36" fmla="*/ 269082 w 1121416"/>
                  <a:gd name="connsiteY36" fmla="*/ 11906 h 207169"/>
                  <a:gd name="connsiteX37" fmla="*/ 238125 w 1121416"/>
                  <a:gd name="connsiteY37" fmla="*/ 14287 h 207169"/>
                  <a:gd name="connsiteX38" fmla="*/ 216694 w 1121416"/>
                  <a:gd name="connsiteY38" fmla="*/ 21431 h 207169"/>
                  <a:gd name="connsiteX39" fmla="*/ 195263 w 1121416"/>
                  <a:gd name="connsiteY39" fmla="*/ 26194 h 207169"/>
                  <a:gd name="connsiteX40" fmla="*/ 183357 w 1121416"/>
                  <a:gd name="connsiteY40" fmla="*/ 28575 h 207169"/>
                  <a:gd name="connsiteX41" fmla="*/ 147638 w 1121416"/>
                  <a:gd name="connsiteY41" fmla="*/ 38100 h 207169"/>
                  <a:gd name="connsiteX42" fmla="*/ 128588 w 1121416"/>
                  <a:gd name="connsiteY42" fmla="*/ 45244 h 207169"/>
                  <a:gd name="connsiteX43" fmla="*/ 109538 w 1121416"/>
                  <a:gd name="connsiteY43" fmla="*/ 50006 h 207169"/>
                  <a:gd name="connsiteX44" fmla="*/ 97632 w 1121416"/>
                  <a:gd name="connsiteY44" fmla="*/ 54769 h 207169"/>
                  <a:gd name="connsiteX45" fmla="*/ 80963 w 1121416"/>
                  <a:gd name="connsiteY45" fmla="*/ 57150 h 207169"/>
                  <a:gd name="connsiteX46" fmla="*/ 54769 w 1121416"/>
                  <a:gd name="connsiteY46" fmla="*/ 61912 h 207169"/>
                  <a:gd name="connsiteX47" fmla="*/ 47625 w 1121416"/>
                  <a:gd name="connsiteY47" fmla="*/ 64294 h 207169"/>
                  <a:gd name="connsiteX48" fmla="*/ 23813 w 1121416"/>
                  <a:gd name="connsiteY48" fmla="*/ 71437 h 207169"/>
                  <a:gd name="connsiteX49" fmla="*/ 9525 w 1121416"/>
                  <a:gd name="connsiteY49" fmla="*/ 80962 h 207169"/>
                  <a:gd name="connsiteX50" fmla="*/ 0 w 1121416"/>
                  <a:gd name="connsiteY50" fmla="*/ 104775 h 207169"/>
                  <a:gd name="connsiteX51" fmla="*/ 11907 w 1121416"/>
                  <a:gd name="connsiteY51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57200 w 1121416"/>
                  <a:gd name="connsiteY15" fmla="*/ 207169 h 207169"/>
                  <a:gd name="connsiteX16" fmla="*/ 604838 w 1121416"/>
                  <a:gd name="connsiteY16" fmla="*/ 204787 h 207169"/>
                  <a:gd name="connsiteX17" fmla="*/ 623888 w 1121416"/>
                  <a:gd name="connsiteY17" fmla="*/ 200025 h 207169"/>
                  <a:gd name="connsiteX18" fmla="*/ 676275 w 1121416"/>
                  <a:gd name="connsiteY18" fmla="*/ 197644 h 207169"/>
                  <a:gd name="connsiteX19" fmla="*/ 797719 w 1121416"/>
                  <a:gd name="connsiteY19" fmla="*/ 188119 h 207169"/>
                  <a:gd name="connsiteX20" fmla="*/ 866775 w 1121416"/>
                  <a:gd name="connsiteY20" fmla="*/ 173831 h 207169"/>
                  <a:gd name="connsiteX21" fmla="*/ 940594 w 1121416"/>
                  <a:gd name="connsiteY21" fmla="*/ 169069 h 207169"/>
                  <a:gd name="connsiteX22" fmla="*/ 971550 w 1121416"/>
                  <a:gd name="connsiteY22" fmla="*/ 166687 h 207169"/>
                  <a:gd name="connsiteX23" fmla="*/ 1052513 w 1121416"/>
                  <a:gd name="connsiteY23" fmla="*/ 142875 h 207169"/>
                  <a:gd name="connsiteX24" fmla="*/ 1116807 w 1121416"/>
                  <a:gd name="connsiteY24" fmla="*/ 95250 h 207169"/>
                  <a:gd name="connsiteX25" fmla="*/ 1114425 w 1121416"/>
                  <a:gd name="connsiteY25" fmla="*/ 85725 h 207169"/>
                  <a:gd name="connsiteX26" fmla="*/ 1054894 w 1121416"/>
                  <a:gd name="connsiteY26" fmla="*/ 61912 h 207169"/>
                  <a:gd name="connsiteX27" fmla="*/ 966788 w 1121416"/>
                  <a:gd name="connsiteY27" fmla="*/ 35719 h 207169"/>
                  <a:gd name="connsiteX28" fmla="*/ 857250 w 1121416"/>
                  <a:gd name="connsiteY28" fmla="*/ 21431 h 207169"/>
                  <a:gd name="connsiteX29" fmla="*/ 790575 w 1121416"/>
                  <a:gd name="connsiteY29" fmla="*/ 9525 h 207169"/>
                  <a:gd name="connsiteX30" fmla="*/ 702469 w 1121416"/>
                  <a:gd name="connsiteY30" fmla="*/ 7144 h 207169"/>
                  <a:gd name="connsiteX31" fmla="*/ 559594 w 1121416"/>
                  <a:gd name="connsiteY31" fmla="*/ 0 h 207169"/>
                  <a:gd name="connsiteX32" fmla="*/ 338138 w 1121416"/>
                  <a:gd name="connsiteY32" fmla="*/ 2381 h 207169"/>
                  <a:gd name="connsiteX33" fmla="*/ 295275 w 1121416"/>
                  <a:gd name="connsiteY33" fmla="*/ 7144 h 207169"/>
                  <a:gd name="connsiteX34" fmla="*/ 278607 w 1121416"/>
                  <a:gd name="connsiteY34" fmla="*/ 9525 h 207169"/>
                  <a:gd name="connsiteX35" fmla="*/ 269082 w 1121416"/>
                  <a:gd name="connsiteY35" fmla="*/ 11906 h 207169"/>
                  <a:gd name="connsiteX36" fmla="*/ 238125 w 1121416"/>
                  <a:gd name="connsiteY36" fmla="*/ 14287 h 207169"/>
                  <a:gd name="connsiteX37" fmla="*/ 216694 w 1121416"/>
                  <a:gd name="connsiteY37" fmla="*/ 21431 h 207169"/>
                  <a:gd name="connsiteX38" fmla="*/ 195263 w 1121416"/>
                  <a:gd name="connsiteY38" fmla="*/ 26194 h 207169"/>
                  <a:gd name="connsiteX39" fmla="*/ 183357 w 1121416"/>
                  <a:gd name="connsiteY39" fmla="*/ 28575 h 207169"/>
                  <a:gd name="connsiteX40" fmla="*/ 147638 w 1121416"/>
                  <a:gd name="connsiteY40" fmla="*/ 38100 h 207169"/>
                  <a:gd name="connsiteX41" fmla="*/ 128588 w 1121416"/>
                  <a:gd name="connsiteY41" fmla="*/ 45244 h 207169"/>
                  <a:gd name="connsiteX42" fmla="*/ 109538 w 1121416"/>
                  <a:gd name="connsiteY42" fmla="*/ 50006 h 207169"/>
                  <a:gd name="connsiteX43" fmla="*/ 97632 w 1121416"/>
                  <a:gd name="connsiteY43" fmla="*/ 54769 h 207169"/>
                  <a:gd name="connsiteX44" fmla="*/ 80963 w 1121416"/>
                  <a:gd name="connsiteY44" fmla="*/ 57150 h 207169"/>
                  <a:gd name="connsiteX45" fmla="*/ 54769 w 1121416"/>
                  <a:gd name="connsiteY45" fmla="*/ 61912 h 207169"/>
                  <a:gd name="connsiteX46" fmla="*/ 47625 w 1121416"/>
                  <a:gd name="connsiteY46" fmla="*/ 64294 h 207169"/>
                  <a:gd name="connsiteX47" fmla="*/ 23813 w 1121416"/>
                  <a:gd name="connsiteY47" fmla="*/ 71437 h 207169"/>
                  <a:gd name="connsiteX48" fmla="*/ 9525 w 1121416"/>
                  <a:gd name="connsiteY48" fmla="*/ 80962 h 207169"/>
                  <a:gd name="connsiteX49" fmla="*/ 0 w 1121416"/>
                  <a:gd name="connsiteY49" fmla="*/ 104775 h 207169"/>
                  <a:gd name="connsiteX50" fmla="*/ 11907 w 1121416"/>
                  <a:gd name="connsiteY50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457200 w 1121416"/>
                  <a:gd name="connsiteY14" fmla="*/ 207169 h 207169"/>
                  <a:gd name="connsiteX15" fmla="*/ 604838 w 1121416"/>
                  <a:gd name="connsiteY15" fmla="*/ 204787 h 207169"/>
                  <a:gd name="connsiteX16" fmla="*/ 623888 w 1121416"/>
                  <a:gd name="connsiteY16" fmla="*/ 200025 h 207169"/>
                  <a:gd name="connsiteX17" fmla="*/ 676275 w 1121416"/>
                  <a:gd name="connsiteY17" fmla="*/ 197644 h 207169"/>
                  <a:gd name="connsiteX18" fmla="*/ 797719 w 1121416"/>
                  <a:gd name="connsiteY18" fmla="*/ 188119 h 207169"/>
                  <a:gd name="connsiteX19" fmla="*/ 866775 w 1121416"/>
                  <a:gd name="connsiteY19" fmla="*/ 173831 h 207169"/>
                  <a:gd name="connsiteX20" fmla="*/ 940594 w 1121416"/>
                  <a:gd name="connsiteY20" fmla="*/ 169069 h 207169"/>
                  <a:gd name="connsiteX21" fmla="*/ 971550 w 1121416"/>
                  <a:gd name="connsiteY21" fmla="*/ 166687 h 207169"/>
                  <a:gd name="connsiteX22" fmla="*/ 1052513 w 1121416"/>
                  <a:gd name="connsiteY22" fmla="*/ 142875 h 207169"/>
                  <a:gd name="connsiteX23" fmla="*/ 1116807 w 1121416"/>
                  <a:gd name="connsiteY23" fmla="*/ 95250 h 207169"/>
                  <a:gd name="connsiteX24" fmla="*/ 1114425 w 1121416"/>
                  <a:gd name="connsiteY24" fmla="*/ 85725 h 207169"/>
                  <a:gd name="connsiteX25" fmla="*/ 1054894 w 1121416"/>
                  <a:gd name="connsiteY25" fmla="*/ 61912 h 207169"/>
                  <a:gd name="connsiteX26" fmla="*/ 966788 w 1121416"/>
                  <a:gd name="connsiteY26" fmla="*/ 35719 h 207169"/>
                  <a:gd name="connsiteX27" fmla="*/ 857250 w 1121416"/>
                  <a:gd name="connsiteY27" fmla="*/ 21431 h 207169"/>
                  <a:gd name="connsiteX28" fmla="*/ 790575 w 1121416"/>
                  <a:gd name="connsiteY28" fmla="*/ 9525 h 207169"/>
                  <a:gd name="connsiteX29" fmla="*/ 702469 w 1121416"/>
                  <a:gd name="connsiteY29" fmla="*/ 7144 h 207169"/>
                  <a:gd name="connsiteX30" fmla="*/ 559594 w 1121416"/>
                  <a:gd name="connsiteY30" fmla="*/ 0 h 207169"/>
                  <a:gd name="connsiteX31" fmla="*/ 338138 w 1121416"/>
                  <a:gd name="connsiteY31" fmla="*/ 2381 h 207169"/>
                  <a:gd name="connsiteX32" fmla="*/ 295275 w 1121416"/>
                  <a:gd name="connsiteY32" fmla="*/ 7144 h 207169"/>
                  <a:gd name="connsiteX33" fmla="*/ 278607 w 1121416"/>
                  <a:gd name="connsiteY33" fmla="*/ 9525 h 207169"/>
                  <a:gd name="connsiteX34" fmla="*/ 269082 w 1121416"/>
                  <a:gd name="connsiteY34" fmla="*/ 11906 h 207169"/>
                  <a:gd name="connsiteX35" fmla="*/ 238125 w 1121416"/>
                  <a:gd name="connsiteY35" fmla="*/ 14287 h 207169"/>
                  <a:gd name="connsiteX36" fmla="*/ 216694 w 1121416"/>
                  <a:gd name="connsiteY36" fmla="*/ 21431 h 207169"/>
                  <a:gd name="connsiteX37" fmla="*/ 195263 w 1121416"/>
                  <a:gd name="connsiteY37" fmla="*/ 26194 h 207169"/>
                  <a:gd name="connsiteX38" fmla="*/ 183357 w 1121416"/>
                  <a:gd name="connsiteY38" fmla="*/ 28575 h 207169"/>
                  <a:gd name="connsiteX39" fmla="*/ 147638 w 1121416"/>
                  <a:gd name="connsiteY39" fmla="*/ 38100 h 207169"/>
                  <a:gd name="connsiteX40" fmla="*/ 128588 w 1121416"/>
                  <a:gd name="connsiteY40" fmla="*/ 45244 h 207169"/>
                  <a:gd name="connsiteX41" fmla="*/ 109538 w 1121416"/>
                  <a:gd name="connsiteY41" fmla="*/ 50006 h 207169"/>
                  <a:gd name="connsiteX42" fmla="*/ 97632 w 1121416"/>
                  <a:gd name="connsiteY42" fmla="*/ 54769 h 207169"/>
                  <a:gd name="connsiteX43" fmla="*/ 80963 w 1121416"/>
                  <a:gd name="connsiteY43" fmla="*/ 57150 h 207169"/>
                  <a:gd name="connsiteX44" fmla="*/ 54769 w 1121416"/>
                  <a:gd name="connsiteY44" fmla="*/ 61912 h 207169"/>
                  <a:gd name="connsiteX45" fmla="*/ 47625 w 1121416"/>
                  <a:gd name="connsiteY45" fmla="*/ 64294 h 207169"/>
                  <a:gd name="connsiteX46" fmla="*/ 23813 w 1121416"/>
                  <a:gd name="connsiteY46" fmla="*/ 71437 h 207169"/>
                  <a:gd name="connsiteX47" fmla="*/ 9525 w 1121416"/>
                  <a:gd name="connsiteY47" fmla="*/ 80962 h 207169"/>
                  <a:gd name="connsiteX48" fmla="*/ 0 w 1121416"/>
                  <a:gd name="connsiteY48" fmla="*/ 104775 h 207169"/>
                  <a:gd name="connsiteX49" fmla="*/ 11907 w 1121416"/>
                  <a:gd name="connsiteY4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38125 w 1121416"/>
                  <a:gd name="connsiteY11" fmla="*/ 178594 h 207169"/>
                  <a:gd name="connsiteX12" fmla="*/ 285750 w 1121416"/>
                  <a:gd name="connsiteY12" fmla="*/ 192881 h 207169"/>
                  <a:gd name="connsiteX13" fmla="*/ 457200 w 1121416"/>
                  <a:gd name="connsiteY13" fmla="*/ 207169 h 207169"/>
                  <a:gd name="connsiteX14" fmla="*/ 604838 w 1121416"/>
                  <a:gd name="connsiteY14" fmla="*/ 204787 h 207169"/>
                  <a:gd name="connsiteX15" fmla="*/ 623888 w 1121416"/>
                  <a:gd name="connsiteY15" fmla="*/ 200025 h 207169"/>
                  <a:gd name="connsiteX16" fmla="*/ 676275 w 1121416"/>
                  <a:gd name="connsiteY16" fmla="*/ 197644 h 207169"/>
                  <a:gd name="connsiteX17" fmla="*/ 797719 w 1121416"/>
                  <a:gd name="connsiteY17" fmla="*/ 188119 h 207169"/>
                  <a:gd name="connsiteX18" fmla="*/ 866775 w 1121416"/>
                  <a:gd name="connsiteY18" fmla="*/ 173831 h 207169"/>
                  <a:gd name="connsiteX19" fmla="*/ 940594 w 1121416"/>
                  <a:gd name="connsiteY19" fmla="*/ 169069 h 207169"/>
                  <a:gd name="connsiteX20" fmla="*/ 971550 w 1121416"/>
                  <a:gd name="connsiteY20" fmla="*/ 166687 h 207169"/>
                  <a:gd name="connsiteX21" fmla="*/ 1052513 w 1121416"/>
                  <a:gd name="connsiteY21" fmla="*/ 142875 h 207169"/>
                  <a:gd name="connsiteX22" fmla="*/ 1116807 w 1121416"/>
                  <a:gd name="connsiteY22" fmla="*/ 95250 h 207169"/>
                  <a:gd name="connsiteX23" fmla="*/ 1114425 w 1121416"/>
                  <a:gd name="connsiteY23" fmla="*/ 85725 h 207169"/>
                  <a:gd name="connsiteX24" fmla="*/ 1054894 w 1121416"/>
                  <a:gd name="connsiteY24" fmla="*/ 61912 h 207169"/>
                  <a:gd name="connsiteX25" fmla="*/ 966788 w 1121416"/>
                  <a:gd name="connsiteY25" fmla="*/ 35719 h 207169"/>
                  <a:gd name="connsiteX26" fmla="*/ 857250 w 1121416"/>
                  <a:gd name="connsiteY26" fmla="*/ 21431 h 207169"/>
                  <a:gd name="connsiteX27" fmla="*/ 790575 w 1121416"/>
                  <a:gd name="connsiteY27" fmla="*/ 9525 h 207169"/>
                  <a:gd name="connsiteX28" fmla="*/ 702469 w 1121416"/>
                  <a:gd name="connsiteY28" fmla="*/ 7144 h 207169"/>
                  <a:gd name="connsiteX29" fmla="*/ 559594 w 1121416"/>
                  <a:gd name="connsiteY29" fmla="*/ 0 h 207169"/>
                  <a:gd name="connsiteX30" fmla="*/ 338138 w 1121416"/>
                  <a:gd name="connsiteY30" fmla="*/ 2381 h 207169"/>
                  <a:gd name="connsiteX31" fmla="*/ 295275 w 1121416"/>
                  <a:gd name="connsiteY31" fmla="*/ 7144 h 207169"/>
                  <a:gd name="connsiteX32" fmla="*/ 278607 w 1121416"/>
                  <a:gd name="connsiteY32" fmla="*/ 9525 h 207169"/>
                  <a:gd name="connsiteX33" fmla="*/ 269082 w 1121416"/>
                  <a:gd name="connsiteY33" fmla="*/ 11906 h 207169"/>
                  <a:gd name="connsiteX34" fmla="*/ 238125 w 1121416"/>
                  <a:gd name="connsiteY34" fmla="*/ 14287 h 207169"/>
                  <a:gd name="connsiteX35" fmla="*/ 216694 w 1121416"/>
                  <a:gd name="connsiteY35" fmla="*/ 21431 h 207169"/>
                  <a:gd name="connsiteX36" fmla="*/ 195263 w 1121416"/>
                  <a:gd name="connsiteY36" fmla="*/ 26194 h 207169"/>
                  <a:gd name="connsiteX37" fmla="*/ 183357 w 1121416"/>
                  <a:gd name="connsiteY37" fmla="*/ 28575 h 207169"/>
                  <a:gd name="connsiteX38" fmla="*/ 147638 w 1121416"/>
                  <a:gd name="connsiteY38" fmla="*/ 38100 h 207169"/>
                  <a:gd name="connsiteX39" fmla="*/ 128588 w 1121416"/>
                  <a:gd name="connsiteY39" fmla="*/ 45244 h 207169"/>
                  <a:gd name="connsiteX40" fmla="*/ 109538 w 1121416"/>
                  <a:gd name="connsiteY40" fmla="*/ 50006 h 207169"/>
                  <a:gd name="connsiteX41" fmla="*/ 97632 w 1121416"/>
                  <a:gd name="connsiteY41" fmla="*/ 54769 h 207169"/>
                  <a:gd name="connsiteX42" fmla="*/ 80963 w 1121416"/>
                  <a:gd name="connsiteY42" fmla="*/ 57150 h 207169"/>
                  <a:gd name="connsiteX43" fmla="*/ 54769 w 1121416"/>
                  <a:gd name="connsiteY43" fmla="*/ 61912 h 207169"/>
                  <a:gd name="connsiteX44" fmla="*/ 47625 w 1121416"/>
                  <a:gd name="connsiteY44" fmla="*/ 64294 h 207169"/>
                  <a:gd name="connsiteX45" fmla="*/ 23813 w 1121416"/>
                  <a:gd name="connsiteY45" fmla="*/ 71437 h 207169"/>
                  <a:gd name="connsiteX46" fmla="*/ 9525 w 1121416"/>
                  <a:gd name="connsiteY46" fmla="*/ 80962 h 207169"/>
                  <a:gd name="connsiteX47" fmla="*/ 0 w 1121416"/>
                  <a:gd name="connsiteY47" fmla="*/ 104775 h 207169"/>
                  <a:gd name="connsiteX48" fmla="*/ 11907 w 1121416"/>
                  <a:gd name="connsiteY4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202407 w 1121416"/>
                  <a:gd name="connsiteY9" fmla="*/ 169069 h 207169"/>
                  <a:gd name="connsiteX10" fmla="*/ 238125 w 1121416"/>
                  <a:gd name="connsiteY10" fmla="*/ 178594 h 207169"/>
                  <a:gd name="connsiteX11" fmla="*/ 285750 w 1121416"/>
                  <a:gd name="connsiteY11" fmla="*/ 192881 h 207169"/>
                  <a:gd name="connsiteX12" fmla="*/ 457200 w 1121416"/>
                  <a:gd name="connsiteY12" fmla="*/ 207169 h 207169"/>
                  <a:gd name="connsiteX13" fmla="*/ 604838 w 1121416"/>
                  <a:gd name="connsiteY13" fmla="*/ 204787 h 207169"/>
                  <a:gd name="connsiteX14" fmla="*/ 623888 w 1121416"/>
                  <a:gd name="connsiteY14" fmla="*/ 200025 h 207169"/>
                  <a:gd name="connsiteX15" fmla="*/ 676275 w 1121416"/>
                  <a:gd name="connsiteY15" fmla="*/ 197644 h 207169"/>
                  <a:gd name="connsiteX16" fmla="*/ 797719 w 1121416"/>
                  <a:gd name="connsiteY16" fmla="*/ 188119 h 207169"/>
                  <a:gd name="connsiteX17" fmla="*/ 866775 w 1121416"/>
                  <a:gd name="connsiteY17" fmla="*/ 173831 h 207169"/>
                  <a:gd name="connsiteX18" fmla="*/ 940594 w 1121416"/>
                  <a:gd name="connsiteY18" fmla="*/ 169069 h 207169"/>
                  <a:gd name="connsiteX19" fmla="*/ 971550 w 1121416"/>
                  <a:gd name="connsiteY19" fmla="*/ 166687 h 207169"/>
                  <a:gd name="connsiteX20" fmla="*/ 1052513 w 1121416"/>
                  <a:gd name="connsiteY20" fmla="*/ 142875 h 207169"/>
                  <a:gd name="connsiteX21" fmla="*/ 1116807 w 1121416"/>
                  <a:gd name="connsiteY21" fmla="*/ 95250 h 207169"/>
                  <a:gd name="connsiteX22" fmla="*/ 1114425 w 1121416"/>
                  <a:gd name="connsiteY22" fmla="*/ 85725 h 207169"/>
                  <a:gd name="connsiteX23" fmla="*/ 1054894 w 1121416"/>
                  <a:gd name="connsiteY23" fmla="*/ 61912 h 207169"/>
                  <a:gd name="connsiteX24" fmla="*/ 966788 w 1121416"/>
                  <a:gd name="connsiteY24" fmla="*/ 35719 h 207169"/>
                  <a:gd name="connsiteX25" fmla="*/ 857250 w 1121416"/>
                  <a:gd name="connsiteY25" fmla="*/ 21431 h 207169"/>
                  <a:gd name="connsiteX26" fmla="*/ 790575 w 1121416"/>
                  <a:gd name="connsiteY26" fmla="*/ 9525 h 207169"/>
                  <a:gd name="connsiteX27" fmla="*/ 702469 w 1121416"/>
                  <a:gd name="connsiteY27" fmla="*/ 7144 h 207169"/>
                  <a:gd name="connsiteX28" fmla="*/ 559594 w 1121416"/>
                  <a:gd name="connsiteY28" fmla="*/ 0 h 207169"/>
                  <a:gd name="connsiteX29" fmla="*/ 338138 w 1121416"/>
                  <a:gd name="connsiteY29" fmla="*/ 2381 h 207169"/>
                  <a:gd name="connsiteX30" fmla="*/ 295275 w 1121416"/>
                  <a:gd name="connsiteY30" fmla="*/ 7144 h 207169"/>
                  <a:gd name="connsiteX31" fmla="*/ 278607 w 1121416"/>
                  <a:gd name="connsiteY31" fmla="*/ 9525 h 207169"/>
                  <a:gd name="connsiteX32" fmla="*/ 269082 w 1121416"/>
                  <a:gd name="connsiteY32" fmla="*/ 11906 h 207169"/>
                  <a:gd name="connsiteX33" fmla="*/ 238125 w 1121416"/>
                  <a:gd name="connsiteY33" fmla="*/ 14287 h 207169"/>
                  <a:gd name="connsiteX34" fmla="*/ 216694 w 1121416"/>
                  <a:gd name="connsiteY34" fmla="*/ 21431 h 207169"/>
                  <a:gd name="connsiteX35" fmla="*/ 195263 w 1121416"/>
                  <a:gd name="connsiteY35" fmla="*/ 26194 h 207169"/>
                  <a:gd name="connsiteX36" fmla="*/ 183357 w 1121416"/>
                  <a:gd name="connsiteY36" fmla="*/ 28575 h 207169"/>
                  <a:gd name="connsiteX37" fmla="*/ 147638 w 1121416"/>
                  <a:gd name="connsiteY37" fmla="*/ 38100 h 207169"/>
                  <a:gd name="connsiteX38" fmla="*/ 128588 w 1121416"/>
                  <a:gd name="connsiteY38" fmla="*/ 45244 h 207169"/>
                  <a:gd name="connsiteX39" fmla="*/ 109538 w 1121416"/>
                  <a:gd name="connsiteY39" fmla="*/ 50006 h 207169"/>
                  <a:gd name="connsiteX40" fmla="*/ 97632 w 1121416"/>
                  <a:gd name="connsiteY40" fmla="*/ 54769 h 207169"/>
                  <a:gd name="connsiteX41" fmla="*/ 80963 w 1121416"/>
                  <a:gd name="connsiteY41" fmla="*/ 57150 h 207169"/>
                  <a:gd name="connsiteX42" fmla="*/ 54769 w 1121416"/>
                  <a:gd name="connsiteY42" fmla="*/ 61912 h 207169"/>
                  <a:gd name="connsiteX43" fmla="*/ 47625 w 1121416"/>
                  <a:gd name="connsiteY43" fmla="*/ 64294 h 207169"/>
                  <a:gd name="connsiteX44" fmla="*/ 23813 w 1121416"/>
                  <a:gd name="connsiteY44" fmla="*/ 71437 h 207169"/>
                  <a:gd name="connsiteX45" fmla="*/ 9525 w 1121416"/>
                  <a:gd name="connsiteY45" fmla="*/ 80962 h 207169"/>
                  <a:gd name="connsiteX46" fmla="*/ 0 w 1121416"/>
                  <a:gd name="connsiteY46" fmla="*/ 104775 h 207169"/>
                  <a:gd name="connsiteX47" fmla="*/ 11907 w 1121416"/>
                  <a:gd name="connsiteY4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1443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121443 w 1121416"/>
                  <a:gd name="connsiteY6" fmla="*/ 152400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02407 w 1121416"/>
                  <a:gd name="connsiteY6" fmla="*/ 169069 h 207169"/>
                  <a:gd name="connsiteX7" fmla="*/ 238125 w 1121416"/>
                  <a:gd name="connsiteY7" fmla="*/ 178594 h 207169"/>
                  <a:gd name="connsiteX8" fmla="*/ 285750 w 1121416"/>
                  <a:gd name="connsiteY8" fmla="*/ 192881 h 207169"/>
                  <a:gd name="connsiteX9" fmla="*/ 457200 w 1121416"/>
                  <a:gd name="connsiteY9" fmla="*/ 207169 h 207169"/>
                  <a:gd name="connsiteX10" fmla="*/ 604838 w 1121416"/>
                  <a:gd name="connsiteY10" fmla="*/ 204787 h 207169"/>
                  <a:gd name="connsiteX11" fmla="*/ 623888 w 1121416"/>
                  <a:gd name="connsiteY11" fmla="*/ 200025 h 207169"/>
                  <a:gd name="connsiteX12" fmla="*/ 676275 w 1121416"/>
                  <a:gd name="connsiteY12" fmla="*/ 197644 h 207169"/>
                  <a:gd name="connsiteX13" fmla="*/ 797719 w 1121416"/>
                  <a:gd name="connsiteY13" fmla="*/ 188119 h 207169"/>
                  <a:gd name="connsiteX14" fmla="*/ 866775 w 1121416"/>
                  <a:gd name="connsiteY14" fmla="*/ 173831 h 207169"/>
                  <a:gd name="connsiteX15" fmla="*/ 940594 w 1121416"/>
                  <a:gd name="connsiteY15" fmla="*/ 169069 h 207169"/>
                  <a:gd name="connsiteX16" fmla="*/ 971550 w 1121416"/>
                  <a:gd name="connsiteY16" fmla="*/ 166687 h 207169"/>
                  <a:gd name="connsiteX17" fmla="*/ 1052513 w 1121416"/>
                  <a:gd name="connsiteY17" fmla="*/ 142875 h 207169"/>
                  <a:gd name="connsiteX18" fmla="*/ 1116807 w 1121416"/>
                  <a:gd name="connsiteY18" fmla="*/ 95250 h 207169"/>
                  <a:gd name="connsiteX19" fmla="*/ 1114425 w 1121416"/>
                  <a:gd name="connsiteY19" fmla="*/ 85725 h 207169"/>
                  <a:gd name="connsiteX20" fmla="*/ 1054894 w 1121416"/>
                  <a:gd name="connsiteY20" fmla="*/ 61912 h 207169"/>
                  <a:gd name="connsiteX21" fmla="*/ 966788 w 1121416"/>
                  <a:gd name="connsiteY21" fmla="*/ 35719 h 207169"/>
                  <a:gd name="connsiteX22" fmla="*/ 857250 w 1121416"/>
                  <a:gd name="connsiteY22" fmla="*/ 21431 h 207169"/>
                  <a:gd name="connsiteX23" fmla="*/ 790575 w 1121416"/>
                  <a:gd name="connsiteY23" fmla="*/ 9525 h 207169"/>
                  <a:gd name="connsiteX24" fmla="*/ 702469 w 1121416"/>
                  <a:gd name="connsiteY24" fmla="*/ 7144 h 207169"/>
                  <a:gd name="connsiteX25" fmla="*/ 559594 w 1121416"/>
                  <a:gd name="connsiteY25" fmla="*/ 0 h 207169"/>
                  <a:gd name="connsiteX26" fmla="*/ 338138 w 1121416"/>
                  <a:gd name="connsiteY26" fmla="*/ 2381 h 207169"/>
                  <a:gd name="connsiteX27" fmla="*/ 295275 w 1121416"/>
                  <a:gd name="connsiteY27" fmla="*/ 7144 h 207169"/>
                  <a:gd name="connsiteX28" fmla="*/ 278607 w 1121416"/>
                  <a:gd name="connsiteY28" fmla="*/ 9525 h 207169"/>
                  <a:gd name="connsiteX29" fmla="*/ 269082 w 1121416"/>
                  <a:gd name="connsiteY29" fmla="*/ 11906 h 207169"/>
                  <a:gd name="connsiteX30" fmla="*/ 238125 w 1121416"/>
                  <a:gd name="connsiteY30" fmla="*/ 14287 h 207169"/>
                  <a:gd name="connsiteX31" fmla="*/ 216694 w 1121416"/>
                  <a:gd name="connsiteY31" fmla="*/ 21431 h 207169"/>
                  <a:gd name="connsiteX32" fmla="*/ 195263 w 1121416"/>
                  <a:gd name="connsiteY32" fmla="*/ 26194 h 207169"/>
                  <a:gd name="connsiteX33" fmla="*/ 183357 w 1121416"/>
                  <a:gd name="connsiteY33" fmla="*/ 28575 h 207169"/>
                  <a:gd name="connsiteX34" fmla="*/ 147638 w 1121416"/>
                  <a:gd name="connsiteY34" fmla="*/ 38100 h 207169"/>
                  <a:gd name="connsiteX35" fmla="*/ 128588 w 1121416"/>
                  <a:gd name="connsiteY35" fmla="*/ 45244 h 207169"/>
                  <a:gd name="connsiteX36" fmla="*/ 109538 w 1121416"/>
                  <a:gd name="connsiteY36" fmla="*/ 50006 h 207169"/>
                  <a:gd name="connsiteX37" fmla="*/ 97632 w 1121416"/>
                  <a:gd name="connsiteY37" fmla="*/ 54769 h 207169"/>
                  <a:gd name="connsiteX38" fmla="*/ 80963 w 1121416"/>
                  <a:gd name="connsiteY38" fmla="*/ 57150 h 207169"/>
                  <a:gd name="connsiteX39" fmla="*/ 54769 w 1121416"/>
                  <a:gd name="connsiteY39" fmla="*/ 61912 h 207169"/>
                  <a:gd name="connsiteX40" fmla="*/ 47625 w 1121416"/>
                  <a:gd name="connsiteY40" fmla="*/ 64294 h 207169"/>
                  <a:gd name="connsiteX41" fmla="*/ 23813 w 1121416"/>
                  <a:gd name="connsiteY41" fmla="*/ 71437 h 207169"/>
                  <a:gd name="connsiteX42" fmla="*/ 9525 w 1121416"/>
                  <a:gd name="connsiteY42" fmla="*/ 80962 h 207169"/>
                  <a:gd name="connsiteX43" fmla="*/ 0 w 1121416"/>
                  <a:gd name="connsiteY43" fmla="*/ 104775 h 207169"/>
                  <a:gd name="connsiteX44" fmla="*/ 11907 w 1121416"/>
                  <a:gd name="connsiteY4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43" fmla="*/ 11907 w 1121416"/>
                  <a:gd name="connsiteY43" fmla="*/ 111919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23813 w 1121416"/>
                  <a:gd name="connsiteY39" fmla="*/ 71437 h 207169"/>
                  <a:gd name="connsiteX40" fmla="*/ 9525 w 1121416"/>
                  <a:gd name="connsiteY40" fmla="*/ 80962 h 207169"/>
                  <a:gd name="connsiteX41" fmla="*/ 0 w 1121416"/>
                  <a:gd name="connsiteY4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9525 w 1121416"/>
                  <a:gd name="connsiteY39" fmla="*/ 80962 h 207169"/>
                  <a:gd name="connsiteX40" fmla="*/ 0 w 1121416"/>
                  <a:gd name="connsiteY4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9525 w 1121416"/>
                  <a:gd name="connsiteY38" fmla="*/ 80962 h 207169"/>
                  <a:gd name="connsiteX39" fmla="*/ 0 w 1121416"/>
                  <a:gd name="connsiteY3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54769 w 1121416"/>
                  <a:gd name="connsiteY36" fmla="*/ 61912 h 207169"/>
                  <a:gd name="connsiteX37" fmla="*/ 9525 w 1121416"/>
                  <a:gd name="connsiteY37" fmla="*/ 80962 h 207169"/>
                  <a:gd name="connsiteX38" fmla="*/ 0 w 1121416"/>
                  <a:gd name="connsiteY38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54769 w 1121416"/>
                  <a:gd name="connsiteY35" fmla="*/ 61912 h 207169"/>
                  <a:gd name="connsiteX36" fmla="*/ 9525 w 1121416"/>
                  <a:gd name="connsiteY36" fmla="*/ 80962 h 207169"/>
                  <a:gd name="connsiteX37" fmla="*/ 0 w 1121416"/>
                  <a:gd name="connsiteY37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54769 w 1121416"/>
                  <a:gd name="connsiteY34" fmla="*/ 61912 h 207169"/>
                  <a:gd name="connsiteX35" fmla="*/ 9525 w 1121416"/>
                  <a:gd name="connsiteY35" fmla="*/ 80962 h 207169"/>
                  <a:gd name="connsiteX36" fmla="*/ 0 w 1121416"/>
                  <a:gd name="connsiteY36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54769 w 1121416"/>
                  <a:gd name="connsiteY33" fmla="*/ 61912 h 207169"/>
                  <a:gd name="connsiteX34" fmla="*/ 9525 w 1121416"/>
                  <a:gd name="connsiteY34" fmla="*/ 80962 h 207169"/>
                  <a:gd name="connsiteX35" fmla="*/ 0 w 1121416"/>
                  <a:gd name="connsiteY35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54769 w 1121416"/>
                  <a:gd name="connsiteY32" fmla="*/ 61912 h 207169"/>
                  <a:gd name="connsiteX33" fmla="*/ 9525 w 1121416"/>
                  <a:gd name="connsiteY33" fmla="*/ 80962 h 207169"/>
                  <a:gd name="connsiteX34" fmla="*/ 0 w 1121416"/>
                  <a:gd name="connsiteY34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54769 w 1121416"/>
                  <a:gd name="connsiteY31" fmla="*/ 61912 h 207169"/>
                  <a:gd name="connsiteX32" fmla="*/ 9525 w 1121416"/>
                  <a:gd name="connsiteY32" fmla="*/ 80962 h 207169"/>
                  <a:gd name="connsiteX33" fmla="*/ 0 w 1121416"/>
                  <a:gd name="connsiteY33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54769 w 1121416"/>
                  <a:gd name="connsiteY30" fmla="*/ 61912 h 207169"/>
                  <a:gd name="connsiteX31" fmla="*/ 9525 w 1121416"/>
                  <a:gd name="connsiteY31" fmla="*/ 80962 h 207169"/>
                  <a:gd name="connsiteX32" fmla="*/ 0 w 1121416"/>
                  <a:gd name="connsiteY3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54769 w 1121416"/>
                  <a:gd name="connsiteY29" fmla="*/ 61912 h 207169"/>
                  <a:gd name="connsiteX30" fmla="*/ 9525 w 1121416"/>
                  <a:gd name="connsiteY30" fmla="*/ 80962 h 207169"/>
                  <a:gd name="connsiteX31" fmla="*/ 0 w 1121416"/>
                  <a:gd name="connsiteY3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38125 w 1121416"/>
                  <a:gd name="connsiteY27" fmla="*/ 14287 h 207169"/>
                  <a:gd name="connsiteX28" fmla="*/ 54769 w 1121416"/>
                  <a:gd name="connsiteY28" fmla="*/ 61912 h 207169"/>
                  <a:gd name="connsiteX29" fmla="*/ 9525 w 1121416"/>
                  <a:gd name="connsiteY29" fmla="*/ 80962 h 207169"/>
                  <a:gd name="connsiteX30" fmla="*/ 0 w 1121416"/>
                  <a:gd name="connsiteY3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78607 w 1121416"/>
                  <a:gd name="connsiteY25" fmla="*/ 9525 h 207169"/>
                  <a:gd name="connsiteX26" fmla="*/ 238125 w 1121416"/>
                  <a:gd name="connsiteY26" fmla="*/ 14287 h 207169"/>
                  <a:gd name="connsiteX27" fmla="*/ 54769 w 1121416"/>
                  <a:gd name="connsiteY27" fmla="*/ 61912 h 207169"/>
                  <a:gd name="connsiteX28" fmla="*/ 9525 w 1121416"/>
                  <a:gd name="connsiteY28" fmla="*/ 80962 h 207169"/>
                  <a:gd name="connsiteX29" fmla="*/ 0 w 1121416"/>
                  <a:gd name="connsiteY2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85750 w 1121416"/>
                  <a:gd name="connsiteY5" fmla="*/ 192881 h 207169"/>
                  <a:gd name="connsiteX6" fmla="*/ 457200 w 1121416"/>
                  <a:gd name="connsiteY6" fmla="*/ 207169 h 207169"/>
                  <a:gd name="connsiteX7" fmla="*/ 604838 w 1121416"/>
                  <a:gd name="connsiteY7" fmla="*/ 204787 h 207169"/>
                  <a:gd name="connsiteX8" fmla="*/ 623888 w 1121416"/>
                  <a:gd name="connsiteY8" fmla="*/ 200025 h 207169"/>
                  <a:gd name="connsiteX9" fmla="*/ 676275 w 1121416"/>
                  <a:gd name="connsiteY9" fmla="*/ 197644 h 207169"/>
                  <a:gd name="connsiteX10" fmla="*/ 797719 w 1121416"/>
                  <a:gd name="connsiteY10" fmla="*/ 188119 h 207169"/>
                  <a:gd name="connsiteX11" fmla="*/ 866775 w 1121416"/>
                  <a:gd name="connsiteY11" fmla="*/ 173831 h 207169"/>
                  <a:gd name="connsiteX12" fmla="*/ 940594 w 1121416"/>
                  <a:gd name="connsiteY12" fmla="*/ 169069 h 207169"/>
                  <a:gd name="connsiteX13" fmla="*/ 971550 w 1121416"/>
                  <a:gd name="connsiteY13" fmla="*/ 166687 h 207169"/>
                  <a:gd name="connsiteX14" fmla="*/ 1052513 w 1121416"/>
                  <a:gd name="connsiteY14" fmla="*/ 142875 h 207169"/>
                  <a:gd name="connsiteX15" fmla="*/ 1116807 w 1121416"/>
                  <a:gd name="connsiteY15" fmla="*/ 95250 h 207169"/>
                  <a:gd name="connsiteX16" fmla="*/ 1114425 w 1121416"/>
                  <a:gd name="connsiteY16" fmla="*/ 85725 h 207169"/>
                  <a:gd name="connsiteX17" fmla="*/ 1054894 w 1121416"/>
                  <a:gd name="connsiteY17" fmla="*/ 61912 h 207169"/>
                  <a:gd name="connsiteX18" fmla="*/ 966788 w 1121416"/>
                  <a:gd name="connsiteY18" fmla="*/ 35719 h 207169"/>
                  <a:gd name="connsiteX19" fmla="*/ 857250 w 1121416"/>
                  <a:gd name="connsiteY19" fmla="*/ 21431 h 207169"/>
                  <a:gd name="connsiteX20" fmla="*/ 790575 w 1121416"/>
                  <a:gd name="connsiteY20" fmla="*/ 9525 h 207169"/>
                  <a:gd name="connsiteX21" fmla="*/ 702469 w 1121416"/>
                  <a:gd name="connsiteY21" fmla="*/ 7144 h 207169"/>
                  <a:gd name="connsiteX22" fmla="*/ 559594 w 1121416"/>
                  <a:gd name="connsiteY22" fmla="*/ 0 h 207169"/>
                  <a:gd name="connsiteX23" fmla="*/ 338138 w 1121416"/>
                  <a:gd name="connsiteY23" fmla="*/ 2381 h 207169"/>
                  <a:gd name="connsiteX24" fmla="*/ 278607 w 1121416"/>
                  <a:gd name="connsiteY24" fmla="*/ 9525 h 207169"/>
                  <a:gd name="connsiteX25" fmla="*/ 238125 w 1121416"/>
                  <a:gd name="connsiteY25" fmla="*/ 14287 h 207169"/>
                  <a:gd name="connsiteX26" fmla="*/ 54769 w 1121416"/>
                  <a:gd name="connsiteY26" fmla="*/ 61912 h 207169"/>
                  <a:gd name="connsiteX27" fmla="*/ 9525 w 1121416"/>
                  <a:gd name="connsiteY27" fmla="*/ 80962 h 207169"/>
                  <a:gd name="connsiteX28" fmla="*/ 0 w 1121416"/>
                  <a:gd name="connsiteY28" fmla="*/ 104775 h 207169"/>
                  <a:gd name="connsiteX0" fmla="*/ 0 w 1129985"/>
                  <a:gd name="connsiteY0" fmla="*/ 104775 h 207169"/>
                  <a:gd name="connsiteX1" fmla="*/ 23813 w 1129985"/>
                  <a:gd name="connsiteY1" fmla="*/ 121444 h 207169"/>
                  <a:gd name="connsiteX2" fmla="*/ 28575 w 1129985"/>
                  <a:gd name="connsiteY2" fmla="*/ 128587 h 207169"/>
                  <a:gd name="connsiteX3" fmla="*/ 47625 w 1129985"/>
                  <a:gd name="connsiteY3" fmla="*/ 140494 h 207169"/>
                  <a:gd name="connsiteX4" fmla="*/ 104775 w 1129985"/>
                  <a:gd name="connsiteY4" fmla="*/ 150019 h 207169"/>
                  <a:gd name="connsiteX5" fmla="*/ 285750 w 1129985"/>
                  <a:gd name="connsiteY5" fmla="*/ 192881 h 207169"/>
                  <a:gd name="connsiteX6" fmla="*/ 457200 w 1129985"/>
                  <a:gd name="connsiteY6" fmla="*/ 207169 h 207169"/>
                  <a:gd name="connsiteX7" fmla="*/ 604838 w 1129985"/>
                  <a:gd name="connsiteY7" fmla="*/ 204787 h 207169"/>
                  <a:gd name="connsiteX8" fmla="*/ 623888 w 1129985"/>
                  <a:gd name="connsiteY8" fmla="*/ 200025 h 207169"/>
                  <a:gd name="connsiteX9" fmla="*/ 676275 w 1129985"/>
                  <a:gd name="connsiteY9" fmla="*/ 197644 h 207169"/>
                  <a:gd name="connsiteX10" fmla="*/ 797719 w 1129985"/>
                  <a:gd name="connsiteY10" fmla="*/ 188119 h 207169"/>
                  <a:gd name="connsiteX11" fmla="*/ 866775 w 1129985"/>
                  <a:gd name="connsiteY11" fmla="*/ 173831 h 207169"/>
                  <a:gd name="connsiteX12" fmla="*/ 940594 w 1129985"/>
                  <a:gd name="connsiteY12" fmla="*/ 169069 h 207169"/>
                  <a:gd name="connsiteX13" fmla="*/ 971550 w 1129985"/>
                  <a:gd name="connsiteY13" fmla="*/ 166687 h 207169"/>
                  <a:gd name="connsiteX14" fmla="*/ 1052513 w 1129985"/>
                  <a:gd name="connsiteY14" fmla="*/ 142875 h 207169"/>
                  <a:gd name="connsiteX15" fmla="*/ 1125625 w 1129985"/>
                  <a:gd name="connsiteY15" fmla="*/ 102808 h 207169"/>
                  <a:gd name="connsiteX16" fmla="*/ 1114425 w 1129985"/>
                  <a:gd name="connsiteY16" fmla="*/ 85725 h 207169"/>
                  <a:gd name="connsiteX17" fmla="*/ 1054894 w 1129985"/>
                  <a:gd name="connsiteY17" fmla="*/ 61912 h 207169"/>
                  <a:gd name="connsiteX18" fmla="*/ 966788 w 1129985"/>
                  <a:gd name="connsiteY18" fmla="*/ 35719 h 207169"/>
                  <a:gd name="connsiteX19" fmla="*/ 857250 w 1129985"/>
                  <a:gd name="connsiteY19" fmla="*/ 21431 h 207169"/>
                  <a:gd name="connsiteX20" fmla="*/ 790575 w 1129985"/>
                  <a:gd name="connsiteY20" fmla="*/ 9525 h 207169"/>
                  <a:gd name="connsiteX21" fmla="*/ 702469 w 1129985"/>
                  <a:gd name="connsiteY21" fmla="*/ 7144 h 207169"/>
                  <a:gd name="connsiteX22" fmla="*/ 559594 w 1129985"/>
                  <a:gd name="connsiteY22" fmla="*/ 0 h 207169"/>
                  <a:gd name="connsiteX23" fmla="*/ 338138 w 1129985"/>
                  <a:gd name="connsiteY23" fmla="*/ 2381 h 207169"/>
                  <a:gd name="connsiteX24" fmla="*/ 278607 w 1129985"/>
                  <a:gd name="connsiteY24" fmla="*/ 9525 h 207169"/>
                  <a:gd name="connsiteX25" fmla="*/ 238125 w 1129985"/>
                  <a:gd name="connsiteY25" fmla="*/ 14287 h 207169"/>
                  <a:gd name="connsiteX26" fmla="*/ 54769 w 1129985"/>
                  <a:gd name="connsiteY26" fmla="*/ 61912 h 207169"/>
                  <a:gd name="connsiteX27" fmla="*/ 9525 w 1129985"/>
                  <a:gd name="connsiteY27" fmla="*/ 80962 h 207169"/>
                  <a:gd name="connsiteX28" fmla="*/ 0 w 1129985"/>
                  <a:gd name="connsiteY28" fmla="*/ 104775 h 207169"/>
                  <a:gd name="connsiteX0" fmla="*/ 0 w 1128285"/>
                  <a:gd name="connsiteY0" fmla="*/ 104775 h 207169"/>
                  <a:gd name="connsiteX1" fmla="*/ 23813 w 1128285"/>
                  <a:gd name="connsiteY1" fmla="*/ 121444 h 207169"/>
                  <a:gd name="connsiteX2" fmla="*/ 28575 w 1128285"/>
                  <a:gd name="connsiteY2" fmla="*/ 128587 h 207169"/>
                  <a:gd name="connsiteX3" fmla="*/ 47625 w 1128285"/>
                  <a:gd name="connsiteY3" fmla="*/ 140494 h 207169"/>
                  <a:gd name="connsiteX4" fmla="*/ 104775 w 1128285"/>
                  <a:gd name="connsiteY4" fmla="*/ 150019 h 207169"/>
                  <a:gd name="connsiteX5" fmla="*/ 285750 w 1128285"/>
                  <a:gd name="connsiteY5" fmla="*/ 192881 h 207169"/>
                  <a:gd name="connsiteX6" fmla="*/ 457200 w 1128285"/>
                  <a:gd name="connsiteY6" fmla="*/ 207169 h 207169"/>
                  <a:gd name="connsiteX7" fmla="*/ 604838 w 1128285"/>
                  <a:gd name="connsiteY7" fmla="*/ 204787 h 207169"/>
                  <a:gd name="connsiteX8" fmla="*/ 623888 w 1128285"/>
                  <a:gd name="connsiteY8" fmla="*/ 200025 h 207169"/>
                  <a:gd name="connsiteX9" fmla="*/ 676275 w 1128285"/>
                  <a:gd name="connsiteY9" fmla="*/ 197644 h 207169"/>
                  <a:gd name="connsiteX10" fmla="*/ 797719 w 1128285"/>
                  <a:gd name="connsiteY10" fmla="*/ 188119 h 207169"/>
                  <a:gd name="connsiteX11" fmla="*/ 866775 w 1128285"/>
                  <a:gd name="connsiteY11" fmla="*/ 173831 h 207169"/>
                  <a:gd name="connsiteX12" fmla="*/ 940594 w 1128285"/>
                  <a:gd name="connsiteY12" fmla="*/ 169069 h 207169"/>
                  <a:gd name="connsiteX13" fmla="*/ 971550 w 1128285"/>
                  <a:gd name="connsiteY13" fmla="*/ 166687 h 207169"/>
                  <a:gd name="connsiteX14" fmla="*/ 1052513 w 1128285"/>
                  <a:gd name="connsiteY14" fmla="*/ 142875 h 207169"/>
                  <a:gd name="connsiteX15" fmla="*/ 1125625 w 1128285"/>
                  <a:gd name="connsiteY15" fmla="*/ 102808 h 207169"/>
                  <a:gd name="connsiteX16" fmla="*/ 1106866 w 1128285"/>
                  <a:gd name="connsiteY16" fmla="*/ 74387 h 207169"/>
                  <a:gd name="connsiteX17" fmla="*/ 1054894 w 1128285"/>
                  <a:gd name="connsiteY17" fmla="*/ 61912 h 207169"/>
                  <a:gd name="connsiteX18" fmla="*/ 966788 w 1128285"/>
                  <a:gd name="connsiteY18" fmla="*/ 35719 h 207169"/>
                  <a:gd name="connsiteX19" fmla="*/ 857250 w 1128285"/>
                  <a:gd name="connsiteY19" fmla="*/ 21431 h 207169"/>
                  <a:gd name="connsiteX20" fmla="*/ 790575 w 1128285"/>
                  <a:gd name="connsiteY20" fmla="*/ 9525 h 207169"/>
                  <a:gd name="connsiteX21" fmla="*/ 702469 w 1128285"/>
                  <a:gd name="connsiteY21" fmla="*/ 7144 h 207169"/>
                  <a:gd name="connsiteX22" fmla="*/ 559594 w 1128285"/>
                  <a:gd name="connsiteY22" fmla="*/ 0 h 207169"/>
                  <a:gd name="connsiteX23" fmla="*/ 338138 w 1128285"/>
                  <a:gd name="connsiteY23" fmla="*/ 2381 h 207169"/>
                  <a:gd name="connsiteX24" fmla="*/ 278607 w 1128285"/>
                  <a:gd name="connsiteY24" fmla="*/ 9525 h 207169"/>
                  <a:gd name="connsiteX25" fmla="*/ 238125 w 1128285"/>
                  <a:gd name="connsiteY25" fmla="*/ 14287 h 207169"/>
                  <a:gd name="connsiteX26" fmla="*/ 54769 w 1128285"/>
                  <a:gd name="connsiteY26" fmla="*/ 61912 h 207169"/>
                  <a:gd name="connsiteX27" fmla="*/ 9525 w 1128285"/>
                  <a:gd name="connsiteY27" fmla="*/ 80962 h 207169"/>
                  <a:gd name="connsiteX28" fmla="*/ 0 w 1128285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66788 w 1128511"/>
                  <a:gd name="connsiteY18" fmla="*/ 35719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8055 w 1128511"/>
                  <a:gd name="connsiteY20" fmla="*/ 448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47625 w 1128511"/>
                  <a:gd name="connsiteY2" fmla="*/ 140494 h 207169"/>
                  <a:gd name="connsiteX3" fmla="*/ 104775 w 1128511"/>
                  <a:gd name="connsiteY3" fmla="*/ 150019 h 207169"/>
                  <a:gd name="connsiteX4" fmla="*/ 285750 w 1128511"/>
                  <a:gd name="connsiteY4" fmla="*/ 192881 h 207169"/>
                  <a:gd name="connsiteX5" fmla="*/ 457200 w 1128511"/>
                  <a:gd name="connsiteY5" fmla="*/ 207169 h 207169"/>
                  <a:gd name="connsiteX6" fmla="*/ 604838 w 1128511"/>
                  <a:gd name="connsiteY6" fmla="*/ 204787 h 207169"/>
                  <a:gd name="connsiteX7" fmla="*/ 623888 w 1128511"/>
                  <a:gd name="connsiteY7" fmla="*/ 200025 h 207169"/>
                  <a:gd name="connsiteX8" fmla="*/ 676275 w 1128511"/>
                  <a:gd name="connsiteY8" fmla="*/ 197644 h 207169"/>
                  <a:gd name="connsiteX9" fmla="*/ 797719 w 1128511"/>
                  <a:gd name="connsiteY9" fmla="*/ 188119 h 207169"/>
                  <a:gd name="connsiteX10" fmla="*/ 866775 w 1128511"/>
                  <a:gd name="connsiteY10" fmla="*/ 173831 h 207169"/>
                  <a:gd name="connsiteX11" fmla="*/ 940594 w 1128511"/>
                  <a:gd name="connsiteY11" fmla="*/ 169069 h 207169"/>
                  <a:gd name="connsiteX12" fmla="*/ 971550 w 1128511"/>
                  <a:gd name="connsiteY12" fmla="*/ 166687 h 207169"/>
                  <a:gd name="connsiteX13" fmla="*/ 1052513 w 1128511"/>
                  <a:gd name="connsiteY13" fmla="*/ 142875 h 207169"/>
                  <a:gd name="connsiteX14" fmla="*/ 1125625 w 1128511"/>
                  <a:gd name="connsiteY14" fmla="*/ 102808 h 207169"/>
                  <a:gd name="connsiteX15" fmla="*/ 1106866 w 1128511"/>
                  <a:gd name="connsiteY15" fmla="*/ 74387 h 207169"/>
                  <a:gd name="connsiteX16" fmla="*/ 1042296 w 1128511"/>
                  <a:gd name="connsiteY16" fmla="*/ 44275 h 207169"/>
                  <a:gd name="connsiteX17" fmla="*/ 941593 w 1128511"/>
                  <a:gd name="connsiteY17" fmla="*/ 25641 h 207169"/>
                  <a:gd name="connsiteX18" fmla="*/ 858510 w 1128511"/>
                  <a:gd name="connsiteY18" fmla="*/ 13873 h 207169"/>
                  <a:gd name="connsiteX19" fmla="*/ 783016 w 1128511"/>
                  <a:gd name="connsiteY19" fmla="*/ 3226 h 207169"/>
                  <a:gd name="connsiteX20" fmla="*/ 693651 w 1128511"/>
                  <a:gd name="connsiteY20" fmla="*/ 2105 h 207169"/>
                  <a:gd name="connsiteX21" fmla="*/ 559594 w 1128511"/>
                  <a:gd name="connsiteY21" fmla="*/ 0 h 207169"/>
                  <a:gd name="connsiteX22" fmla="*/ 348216 w 1128511"/>
                  <a:gd name="connsiteY22" fmla="*/ 4901 h 207169"/>
                  <a:gd name="connsiteX23" fmla="*/ 221748 w 1128511"/>
                  <a:gd name="connsiteY23" fmla="*/ 15547 h 207169"/>
                  <a:gd name="connsiteX24" fmla="*/ 63587 w 1128511"/>
                  <a:gd name="connsiteY24" fmla="*/ 53093 h 207169"/>
                  <a:gd name="connsiteX25" fmla="*/ 9525 w 1128511"/>
                  <a:gd name="connsiteY25" fmla="*/ 80962 h 207169"/>
                  <a:gd name="connsiteX26" fmla="*/ 0 w 1128511"/>
                  <a:gd name="connsiteY26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104775 w 1128511"/>
                  <a:gd name="connsiteY2" fmla="*/ 150019 h 207169"/>
                  <a:gd name="connsiteX3" fmla="*/ 285750 w 1128511"/>
                  <a:gd name="connsiteY3" fmla="*/ 192881 h 207169"/>
                  <a:gd name="connsiteX4" fmla="*/ 457200 w 1128511"/>
                  <a:gd name="connsiteY4" fmla="*/ 207169 h 207169"/>
                  <a:gd name="connsiteX5" fmla="*/ 604838 w 1128511"/>
                  <a:gd name="connsiteY5" fmla="*/ 204787 h 207169"/>
                  <a:gd name="connsiteX6" fmla="*/ 623888 w 1128511"/>
                  <a:gd name="connsiteY6" fmla="*/ 200025 h 207169"/>
                  <a:gd name="connsiteX7" fmla="*/ 676275 w 1128511"/>
                  <a:gd name="connsiteY7" fmla="*/ 197644 h 207169"/>
                  <a:gd name="connsiteX8" fmla="*/ 797719 w 1128511"/>
                  <a:gd name="connsiteY8" fmla="*/ 188119 h 207169"/>
                  <a:gd name="connsiteX9" fmla="*/ 866775 w 1128511"/>
                  <a:gd name="connsiteY9" fmla="*/ 173831 h 207169"/>
                  <a:gd name="connsiteX10" fmla="*/ 940594 w 1128511"/>
                  <a:gd name="connsiteY10" fmla="*/ 169069 h 207169"/>
                  <a:gd name="connsiteX11" fmla="*/ 971550 w 1128511"/>
                  <a:gd name="connsiteY11" fmla="*/ 166687 h 207169"/>
                  <a:gd name="connsiteX12" fmla="*/ 1052513 w 1128511"/>
                  <a:gd name="connsiteY12" fmla="*/ 142875 h 207169"/>
                  <a:gd name="connsiteX13" fmla="*/ 1125625 w 1128511"/>
                  <a:gd name="connsiteY13" fmla="*/ 102808 h 207169"/>
                  <a:gd name="connsiteX14" fmla="*/ 1106866 w 1128511"/>
                  <a:gd name="connsiteY14" fmla="*/ 74387 h 207169"/>
                  <a:gd name="connsiteX15" fmla="*/ 1042296 w 1128511"/>
                  <a:gd name="connsiteY15" fmla="*/ 44275 h 207169"/>
                  <a:gd name="connsiteX16" fmla="*/ 941593 w 1128511"/>
                  <a:gd name="connsiteY16" fmla="*/ 25641 h 207169"/>
                  <a:gd name="connsiteX17" fmla="*/ 858510 w 1128511"/>
                  <a:gd name="connsiteY17" fmla="*/ 13873 h 207169"/>
                  <a:gd name="connsiteX18" fmla="*/ 783016 w 1128511"/>
                  <a:gd name="connsiteY18" fmla="*/ 3226 h 207169"/>
                  <a:gd name="connsiteX19" fmla="*/ 693651 w 1128511"/>
                  <a:gd name="connsiteY19" fmla="*/ 2105 h 207169"/>
                  <a:gd name="connsiteX20" fmla="*/ 559594 w 1128511"/>
                  <a:gd name="connsiteY20" fmla="*/ 0 h 207169"/>
                  <a:gd name="connsiteX21" fmla="*/ 348216 w 1128511"/>
                  <a:gd name="connsiteY21" fmla="*/ 4901 h 207169"/>
                  <a:gd name="connsiteX22" fmla="*/ 221748 w 1128511"/>
                  <a:gd name="connsiteY22" fmla="*/ 15547 h 207169"/>
                  <a:gd name="connsiteX23" fmla="*/ 63587 w 1128511"/>
                  <a:gd name="connsiteY23" fmla="*/ 53093 h 207169"/>
                  <a:gd name="connsiteX24" fmla="*/ 9525 w 1128511"/>
                  <a:gd name="connsiteY24" fmla="*/ 80962 h 207169"/>
                  <a:gd name="connsiteX25" fmla="*/ 0 w 1128511"/>
                  <a:gd name="connsiteY25" fmla="*/ 104775 h 207169"/>
                  <a:gd name="connsiteX0" fmla="*/ 1574 w 1130085"/>
                  <a:gd name="connsiteY0" fmla="*/ 104775 h 207169"/>
                  <a:gd name="connsiteX1" fmla="*/ 46803 w 1130085"/>
                  <a:gd name="connsiteY1" fmla="*/ 135301 h 207169"/>
                  <a:gd name="connsiteX2" fmla="*/ 106349 w 1130085"/>
                  <a:gd name="connsiteY2" fmla="*/ 150019 h 207169"/>
                  <a:gd name="connsiteX3" fmla="*/ 287324 w 1130085"/>
                  <a:gd name="connsiteY3" fmla="*/ 192881 h 207169"/>
                  <a:gd name="connsiteX4" fmla="*/ 458774 w 1130085"/>
                  <a:gd name="connsiteY4" fmla="*/ 207169 h 207169"/>
                  <a:gd name="connsiteX5" fmla="*/ 606412 w 1130085"/>
                  <a:gd name="connsiteY5" fmla="*/ 204787 h 207169"/>
                  <a:gd name="connsiteX6" fmla="*/ 625462 w 1130085"/>
                  <a:gd name="connsiteY6" fmla="*/ 200025 h 207169"/>
                  <a:gd name="connsiteX7" fmla="*/ 677849 w 1130085"/>
                  <a:gd name="connsiteY7" fmla="*/ 197644 h 207169"/>
                  <a:gd name="connsiteX8" fmla="*/ 799293 w 1130085"/>
                  <a:gd name="connsiteY8" fmla="*/ 188119 h 207169"/>
                  <a:gd name="connsiteX9" fmla="*/ 868349 w 1130085"/>
                  <a:gd name="connsiteY9" fmla="*/ 173831 h 207169"/>
                  <a:gd name="connsiteX10" fmla="*/ 942168 w 1130085"/>
                  <a:gd name="connsiteY10" fmla="*/ 169069 h 207169"/>
                  <a:gd name="connsiteX11" fmla="*/ 973124 w 1130085"/>
                  <a:gd name="connsiteY11" fmla="*/ 166687 h 207169"/>
                  <a:gd name="connsiteX12" fmla="*/ 1054087 w 1130085"/>
                  <a:gd name="connsiteY12" fmla="*/ 142875 h 207169"/>
                  <a:gd name="connsiteX13" fmla="*/ 1127199 w 1130085"/>
                  <a:gd name="connsiteY13" fmla="*/ 102808 h 207169"/>
                  <a:gd name="connsiteX14" fmla="*/ 1108440 w 1130085"/>
                  <a:gd name="connsiteY14" fmla="*/ 74387 h 207169"/>
                  <a:gd name="connsiteX15" fmla="*/ 1043870 w 1130085"/>
                  <a:gd name="connsiteY15" fmla="*/ 44275 h 207169"/>
                  <a:gd name="connsiteX16" fmla="*/ 943167 w 1130085"/>
                  <a:gd name="connsiteY16" fmla="*/ 25641 h 207169"/>
                  <a:gd name="connsiteX17" fmla="*/ 860084 w 1130085"/>
                  <a:gd name="connsiteY17" fmla="*/ 13873 h 207169"/>
                  <a:gd name="connsiteX18" fmla="*/ 784590 w 1130085"/>
                  <a:gd name="connsiteY18" fmla="*/ 3226 h 207169"/>
                  <a:gd name="connsiteX19" fmla="*/ 695225 w 1130085"/>
                  <a:gd name="connsiteY19" fmla="*/ 2105 h 207169"/>
                  <a:gd name="connsiteX20" fmla="*/ 561168 w 1130085"/>
                  <a:gd name="connsiteY20" fmla="*/ 0 h 207169"/>
                  <a:gd name="connsiteX21" fmla="*/ 349790 w 1130085"/>
                  <a:gd name="connsiteY21" fmla="*/ 4901 h 207169"/>
                  <a:gd name="connsiteX22" fmla="*/ 223322 w 1130085"/>
                  <a:gd name="connsiteY22" fmla="*/ 15547 h 207169"/>
                  <a:gd name="connsiteX23" fmla="*/ 65161 w 1130085"/>
                  <a:gd name="connsiteY23" fmla="*/ 53093 h 207169"/>
                  <a:gd name="connsiteX24" fmla="*/ 11099 w 1130085"/>
                  <a:gd name="connsiteY24" fmla="*/ 80962 h 207169"/>
                  <a:gd name="connsiteX25" fmla="*/ 1574 w 1130085"/>
                  <a:gd name="connsiteY25" fmla="*/ 104775 h 207169"/>
                  <a:gd name="connsiteX0" fmla="*/ 2544 w 1131055"/>
                  <a:gd name="connsiteY0" fmla="*/ 104775 h 207169"/>
                  <a:gd name="connsiteX1" fmla="*/ 47773 w 1131055"/>
                  <a:gd name="connsiteY1" fmla="*/ 135301 h 207169"/>
                  <a:gd name="connsiteX2" fmla="*/ 107319 w 1131055"/>
                  <a:gd name="connsiteY2" fmla="*/ 150019 h 207169"/>
                  <a:gd name="connsiteX3" fmla="*/ 288294 w 1131055"/>
                  <a:gd name="connsiteY3" fmla="*/ 192881 h 207169"/>
                  <a:gd name="connsiteX4" fmla="*/ 459744 w 1131055"/>
                  <a:gd name="connsiteY4" fmla="*/ 207169 h 207169"/>
                  <a:gd name="connsiteX5" fmla="*/ 607382 w 1131055"/>
                  <a:gd name="connsiteY5" fmla="*/ 204787 h 207169"/>
                  <a:gd name="connsiteX6" fmla="*/ 626432 w 1131055"/>
                  <a:gd name="connsiteY6" fmla="*/ 200025 h 207169"/>
                  <a:gd name="connsiteX7" fmla="*/ 678819 w 1131055"/>
                  <a:gd name="connsiteY7" fmla="*/ 197644 h 207169"/>
                  <a:gd name="connsiteX8" fmla="*/ 800263 w 1131055"/>
                  <a:gd name="connsiteY8" fmla="*/ 188119 h 207169"/>
                  <a:gd name="connsiteX9" fmla="*/ 869319 w 1131055"/>
                  <a:gd name="connsiteY9" fmla="*/ 173831 h 207169"/>
                  <a:gd name="connsiteX10" fmla="*/ 943138 w 1131055"/>
                  <a:gd name="connsiteY10" fmla="*/ 169069 h 207169"/>
                  <a:gd name="connsiteX11" fmla="*/ 974094 w 1131055"/>
                  <a:gd name="connsiteY11" fmla="*/ 166687 h 207169"/>
                  <a:gd name="connsiteX12" fmla="*/ 1055057 w 1131055"/>
                  <a:gd name="connsiteY12" fmla="*/ 142875 h 207169"/>
                  <a:gd name="connsiteX13" fmla="*/ 1128169 w 1131055"/>
                  <a:gd name="connsiteY13" fmla="*/ 102808 h 207169"/>
                  <a:gd name="connsiteX14" fmla="*/ 1109410 w 1131055"/>
                  <a:gd name="connsiteY14" fmla="*/ 74387 h 207169"/>
                  <a:gd name="connsiteX15" fmla="*/ 1044840 w 1131055"/>
                  <a:gd name="connsiteY15" fmla="*/ 44275 h 207169"/>
                  <a:gd name="connsiteX16" fmla="*/ 944137 w 1131055"/>
                  <a:gd name="connsiteY16" fmla="*/ 25641 h 207169"/>
                  <a:gd name="connsiteX17" fmla="*/ 861054 w 1131055"/>
                  <a:gd name="connsiteY17" fmla="*/ 13873 h 207169"/>
                  <a:gd name="connsiteX18" fmla="*/ 785560 w 1131055"/>
                  <a:gd name="connsiteY18" fmla="*/ 3226 h 207169"/>
                  <a:gd name="connsiteX19" fmla="*/ 696195 w 1131055"/>
                  <a:gd name="connsiteY19" fmla="*/ 2105 h 207169"/>
                  <a:gd name="connsiteX20" fmla="*/ 562138 w 1131055"/>
                  <a:gd name="connsiteY20" fmla="*/ 0 h 207169"/>
                  <a:gd name="connsiteX21" fmla="*/ 350760 w 1131055"/>
                  <a:gd name="connsiteY21" fmla="*/ 4901 h 207169"/>
                  <a:gd name="connsiteX22" fmla="*/ 224292 w 1131055"/>
                  <a:gd name="connsiteY22" fmla="*/ 15547 h 207169"/>
                  <a:gd name="connsiteX23" fmla="*/ 66131 w 1131055"/>
                  <a:gd name="connsiteY23" fmla="*/ 53093 h 207169"/>
                  <a:gd name="connsiteX24" fmla="*/ 12069 w 1131055"/>
                  <a:gd name="connsiteY24" fmla="*/ 80962 h 207169"/>
                  <a:gd name="connsiteX25" fmla="*/ 2544 w 1131055"/>
                  <a:gd name="connsiteY25" fmla="*/ 104775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1104 w 1124840"/>
                  <a:gd name="connsiteY2" fmla="*/ 150019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9922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83757 w 1126518"/>
                  <a:gd name="connsiteY3" fmla="*/ 192881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9354"/>
                  <a:gd name="connsiteX1" fmla="*/ 43236 w 1126518"/>
                  <a:gd name="connsiteY1" fmla="*/ 135301 h 209354"/>
                  <a:gd name="connsiteX2" fmla="*/ 124198 w 1126518"/>
                  <a:gd name="connsiteY2" fmla="*/ 160097 h 209354"/>
                  <a:gd name="connsiteX3" fmla="*/ 290056 w 1126518"/>
                  <a:gd name="connsiteY3" fmla="*/ 190362 h 209354"/>
                  <a:gd name="connsiteX4" fmla="*/ 455207 w 1126518"/>
                  <a:gd name="connsiteY4" fmla="*/ 207169 h 209354"/>
                  <a:gd name="connsiteX5" fmla="*/ 602845 w 1126518"/>
                  <a:gd name="connsiteY5" fmla="*/ 204787 h 209354"/>
                  <a:gd name="connsiteX6" fmla="*/ 621895 w 1126518"/>
                  <a:gd name="connsiteY6" fmla="*/ 200025 h 209354"/>
                  <a:gd name="connsiteX7" fmla="*/ 674282 w 1126518"/>
                  <a:gd name="connsiteY7" fmla="*/ 197644 h 209354"/>
                  <a:gd name="connsiteX8" fmla="*/ 795726 w 1126518"/>
                  <a:gd name="connsiteY8" fmla="*/ 188119 h 209354"/>
                  <a:gd name="connsiteX9" fmla="*/ 864782 w 1126518"/>
                  <a:gd name="connsiteY9" fmla="*/ 173831 h 209354"/>
                  <a:gd name="connsiteX10" fmla="*/ 938601 w 1126518"/>
                  <a:gd name="connsiteY10" fmla="*/ 169069 h 209354"/>
                  <a:gd name="connsiteX11" fmla="*/ 969557 w 1126518"/>
                  <a:gd name="connsiteY11" fmla="*/ 166687 h 209354"/>
                  <a:gd name="connsiteX12" fmla="*/ 1050520 w 1126518"/>
                  <a:gd name="connsiteY12" fmla="*/ 142875 h 209354"/>
                  <a:gd name="connsiteX13" fmla="*/ 1123632 w 1126518"/>
                  <a:gd name="connsiteY13" fmla="*/ 102808 h 209354"/>
                  <a:gd name="connsiteX14" fmla="*/ 1104873 w 1126518"/>
                  <a:gd name="connsiteY14" fmla="*/ 74387 h 209354"/>
                  <a:gd name="connsiteX15" fmla="*/ 1040303 w 1126518"/>
                  <a:gd name="connsiteY15" fmla="*/ 44275 h 209354"/>
                  <a:gd name="connsiteX16" fmla="*/ 939600 w 1126518"/>
                  <a:gd name="connsiteY16" fmla="*/ 25641 h 209354"/>
                  <a:gd name="connsiteX17" fmla="*/ 856517 w 1126518"/>
                  <a:gd name="connsiteY17" fmla="*/ 13873 h 209354"/>
                  <a:gd name="connsiteX18" fmla="*/ 781023 w 1126518"/>
                  <a:gd name="connsiteY18" fmla="*/ 3226 h 209354"/>
                  <a:gd name="connsiteX19" fmla="*/ 691658 w 1126518"/>
                  <a:gd name="connsiteY19" fmla="*/ 2105 h 209354"/>
                  <a:gd name="connsiteX20" fmla="*/ 557601 w 1126518"/>
                  <a:gd name="connsiteY20" fmla="*/ 0 h 209354"/>
                  <a:gd name="connsiteX21" fmla="*/ 346223 w 1126518"/>
                  <a:gd name="connsiteY21" fmla="*/ 4901 h 209354"/>
                  <a:gd name="connsiteX22" fmla="*/ 219755 w 1126518"/>
                  <a:gd name="connsiteY22" fmla="*/ 15547 h 209354"/>
                  <a:gd name="connsiteX23" fmla="*/ 61594 w 1126518"/>
                  <a:gd name="connsiteY23" fmla="*/ 53093 h 209354"/>
                  <a:gd name="connsiteX24" fmla="*/ 7532 w 1126518"/>
                  <a:gd name="connsiteY24" fmla="*/ 80962 h 209354"/>
                  <a:gd name="connsiteX25" fmla="*/ 5566 w 1126518"/>
                  <a:gd name="connsiteY25" fmla="*/ 111074 h 209354"/>
                  <a:gd name="connsiteX0" fmla="*/ 5566 w 1126518"/>
                  <a:gd name="connsiteY0" fmla="*/ 111074 h 205690"/>
                  <a:gd name="connsiteX1" fmla="*/ 43236 w 1126518"/>
                  <a:gd name="connsiteY1" fmla="*/ 135301 h 205690"/>
                  <a:gd name="connsiteX2" fmla="*/ 124198 w 1126518"/>
                  <a:gd name="connsiteY2" fmla="*/ 160097 h 205690"/>
                  <a:gd name="connsiteX3" fmla="*/ 290056 w 1126518"/>
                  <a:gd name="connsiteY3" fmla="*/ 190362 h 205690"/>
                  <a:gd name="connsiteX4" fmla="*/ 438830 w 1126518"/>
                  <a:gd name="connsiteY4" fmla="*/ 202130 h 205690"/>
                  <a:gd name="connsiteX5" fmla="*/ 602845 w 1126518"/>
                  <a:gd name="connsiteY5" fmla="*/ 204787 h 205690"/>
                  <a:gd name="connsiteX6" fmla="*/ 621895 w 1126518"/>
                  <a:gd name="connsiteY6" fmla="*/ 200025 h 205690"/>
                  <a:gd name="connsiteX7" fmla="*/ 674282 w 1126518"/>
                  <a:gd name="connsiteY7" fmla="*/ 197644 h 205690"/>
                  <a:gd name="connsiteX8" fmla="*/ 795726 w 1126518"/>
                  <a:gd name="connsiteY8" fmla="*/ 188119 h 205690"/>
                  <a:gd name="connsiteX9" fmla="*/ 864782 w 1126518"/>
                  <a:gd name="connsiteY9" fmla="*/ 173831 h 205690"/>
                  <a:gd name="connsiteX10" fmla="*/ 938601 w 1126518"/>
                  <a:gd name="connsiteY10" fmla="*/ 169069 h 205690"/>
                  <a:gd name="connsiteX11" fmla="*/ 969557 w 1126518"/>
                  <a:gd name="connsiteY11" fmla="*/ 166687 h 205690"/>
                  <a:gd name="connsiteX12" fmla="*/ 1050520 w 1126518"/>
                  <a:gd name="connsiteY12" fmla="*/ 142875 h 205690"/>
                  <a:gd name="connsiteX13" fmla="*/ 1123632 w 1126518"/>
                  <a:gd name="connsiteY13" fmla="*/ 102808 h 205690"/>
                  <a:gd name="connsiteX14" fmla="*/ 1104873 w 1126518"/>
                  <a:gd name="connsiteY14" fmla="*/ 74387 h 205690"/>
                  <a:gd name="connsiteX15" fmla="*/ 1040303 w 1126518"/>
                  <a:gd name="connsiteY15" fmla="*/ 44275 h 205690"/>
                  <a:gd name="connsiteX16" fmla="*/ 939600 w 1126518"/>
                  <a:gd name="connsiteY16" fmla="*/ 25641 h 205690"/>
                  <a:gd name="connsiteX17" fmla="*/ 856517 w 1126518"/>
                  <a:gd name="connsiteY17" fmla="*/ 13873 h 205690"/>
                  <a:gd name="connsiteX18" fmla="*/ 781023 w 1126518"/>
                  <a:gd name="connsiteY18" fmla="*/ 3226 h 205690"/>
                  <a:gd name="connsiteX19" fmla="*/ 691658 w 1126518"/>
                  <a:gd name="connsiteY19" fmla="*/ 2105 h 205690"/>
                  <a:gd name="connsiteX20" fmla="*/ 557601 w 1126518"/>
                  <a:gd name="connsiteY20" fmla="*/ 0 h 205690"/>
                  <a:gd name="connsiteX21" fmla="*/ 346223 w 1126518"/>
                  <a:gd name="connsiteY21" fmla="*/ 4901 h 205690"/>
                  <a:gd name="connsiteX22" fmla="*/ 219755 w 1126518"/>
                  <a:gd name="connsiteY22" fmla="*/ 15547 h 205690"/>
                  <a:gd name="connsiteX23" fmla="*/ 61594 w 1126518"/>
                  <a:gd name="connsiteY23" fmla="*/ 53093 h 205690"/>
                  <a:gd name="connsiteX24" fmla="*/ 7532 w 1126518"/>
                  <a:gd name="connsiteY24" fmla="*/ 80962 h 205690"/>
                  <a:gd name="connsiteX25" fmla="*/ 5566 w 1126518"/>
                  <a:gd name="connsiteY25" fmla="*/ 111074 h 205690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864782 w 1126518"/>
                  <a:gd name="connsiteY8" fmla="*/ 173831 h 202601"/>
                  <a:gd name="connsiteX9" fmla="*/ 938601 w 1126518"/>
                  <a:gd name="connsiteY9" fmla="*/ 169069 h 202601"/>
                  <a:gd name="connsiteX10" fmla="*/ 969557 w 1126518"/>
                  <a:gd name="connsiteY10" fmla="*/ 166687 h 202601"/>
                  <a:gd name="connsiteX11" fmla="*/ 1050520 w 1126518"/>
                  <a:gd name="connsiteY11" fmla="*/ 142875 h 202601"/>
                  <a:gd name="connsiteX12" fmla="*/ 1123632 w 1126518"/>
                  <a:gd name="connsiteY12" fmla="*/ 102808 h 202601"/>
                  <a:gd name="connsiteX13" fmla="*/ 1104873 w 1126518"/>
                  <a:gd name="connsiteY13" fmla="*/ 74387 h 202601"/>
                  <a:gd name="connsiteX14" fmla="*/ 1040303 w 1126518"/>
                  <a:gd name="connsiteY14" fmla="*/ 44275 h 202601"/>
                  <a:gd name="connsiteX15" fmla="*/ 939600 w 1126518"/>
                  <a:gd name="connsiteY15" fmla="*/ 25641 h 202601"/>
                  <a:gd name="connsiteX16" fmla="*/ 856517 w 1126518"/>
                  <a:gd name="connsiteY16" fmla="*/ 13873 h 202601"/>
                  <a:gd name="connsiteX17" fmla="*/ 781023 w 1126518"/>
                  <a:gd name="connsiteY17" fmla="*/ 3226 h 202601"/>
                  <a:gd name="connsiteX18" fmla="*/ 691658 w 1126518"/>
                  <a:gd name="connsiteY18" fmla="*/ 2105 h 202601"/>
                  <a:gd name="connsiteX19" fmla="*/ 557601 w 1126518"/>
                  <a:gd name="connsiteY19" fmla="*/ 0 h 202601"/>
                  <a:gd name="connsiteX20" fmla="*/ 346223 w 1126518"/>
                  <a:gd name="connsiteY20" fmla="*/ 4901 h 202601"/>
                  <a:gd name="connsiteX21" fmla="*/ 219755 w 1126518"/>
                  <a:gd name="connsiteY21" fmla="*/ 15547 h 202601"/>
                  <a:gd name="connsiteX22" fmla="*/ 61594 w 1126518"/>
                  <a:gd name="connsiteY22" fmla="*/ 53093 h 202601"/>
                  <a:gd name="connsiteX23" fmla="*/ 7532 w 1126518"/>
                  <a:gd name="connsiteY23" fmla="*/ 80962 h 202601"/>
                  <a:gd name="connsiteX24" fmla="*/ 5566 w 1126518"/>
                  <a:gd name="connsiteY24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5883 w 1126518"/>
                  <a:gd name="connsiteY7" fmla="*/ 18811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7143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29741 w 1126518"/>
                  <a:gd name="connsiteY7" fmla="*/ 18685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939600 w 1125768"/>
                  <a:gd name="connsiteY13" fmla="*/ 25641 h 202601"/>
                  <a:gd name="connsiteX14" fmla="*/ 856517 w 1125768"/>
                  <a:gd name="connsiteY14" fmla="*/ 13873 h 202601"/>
                  <a:gd name="connsiteX15" fmla="*/ 781023 w 1125768"/>
                  <a:gd name="connsiteY15" fmla="*/ 3226 h 202601"/>
                  <a:gd name="connsiteX16" fmla="*/ 691658 w 1125768"/>
                  <a:gd name="connsiteY16" fmla="*/ 2105 h 202601"/>
                  <a:gd name="connsiteX17" fmla="*/ 557601 w 1125768"/>
                  <a:gd name="connsiteY17" fmla="*/ 0 h 202601"/>
                  <a:gd name="connsiteX18" fmla="*/ 346223 w 1125768"/>
                  <a:gd name="connsiteY18" fmla="*/ 4901 h 202601"/>
                  <a:gd name="connsiteX19" fmla="*/ 219755 w 1125768"/>
                  <a:gd name="connsiteY19" fmla="*/ 15547 h 202601"/>
                  <a:gd name="connsiteX20" fmla="*/ 61594 w 1125768"/>
                  <a:gd name="connsiteY20" fmla="*/ 53093 h 202601"/>
                  <a:gd name="connsiteX21" fmla="*/ 7532 w 1125768"/>
                  <a:gd name="connsiteY21" fmla="*/ 80962 h 202601"/>
                  <a:gd name="connsiteX22" fmla="*/ 5566 w 112576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856517 w 1125768"/>
                  <a:gd name="connsiteY13" fmla="*/ 13873 h 202601"/>
                  <a:gd name="connsiteX14" fmla="*/ 781023 w 1125768"/>
                  <a:gd name="connsiteY14" fmla="*/ 3226 h 202601"/>
                  <a:gd name="connsiteX15" fmla="*/ 691658 w 1125768"/>
                  <a:gd name="connsiteY15" fmla="*/ 2105 h 202601"/>
                  <a:gd name="connsiteX16" fmla="*/ 557601 w 1125768"/>
                  <a:gd name="connsiteY16" fmla="*/ 0 h 202601"/>
                  <a:gd name="connsiteX17" fmla="*/ 346223 w 1125768"/>
                  <a:gd name="connsiteY17" fmla="*/ 4901 h 202601"/>
                  <a:gd name="connsiteX18" fmla="*/ 219755 w 1125768"/>
                  <a:gd name="connsiteY18" fmla="*/ 15547 h 202601"/>
                  <a:gd name="connsiteX19" fmla="*/ 61594 w 1125768"/>
                  <a:gd name="connsiteY19" fmla="*/ 53093 h 202601"/>
                  <a:gd name="connsiteX20" fmla="*/ 7532 w 1125768"/>
                  <a:gd name="connsiteY20" fmla="*/ 80962 h 202601"/>
                  <a:gd name="connsiteX21" fmla="*/ 5566 w 112576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56517 w 1125998"/>
                  <a:gd name="connsiteY13" fmla="*/ 1387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80453 w 1125998"/>
                  <a:gd name="connsiteY13" fmla="*/ 1261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4635 w 1125067"/>
                  <a:gd name="connsiteY0" fmla="*/ 111074 h 202601"/>
                  <a:gd name="connsiteX1" fmla="*/ 67500 w 1125067"/>
                  <a:gd name="connsiteY1" fmla="*/ 145379 h 202601"/>
                  <a:gd name="connsiteX2" fmla="*/ 123267 w 1125067"/>
                  <a:gd name="connsiteY2" fmla="*/ 160097 h 202601"/>
                  <a:gd name="connsiteX3" fmla="*/ 289125 w 1125067"/>
                  <a:gd name="connsiteY3" fmla="*/ 190362 h 202601"/>
                  <a:gd name="connsiteX4" fmla="*/ 437899 w 1125067"/>
                  <a:gd name="connsiteY4" fmla="*/ 202130 h 202601"/>
                  <a:gd name="connsiteX5" fmla="*/ 620964 w 1125067"/>
                  <a:gd name="connsiteY5" fmla="*/ 200025 h 202601"/>
                  <a:gd name="connsiteX6" fmla="*/ 673351 w 1125067"/>
                  <a:gd name="connsiteY6" fmla="*/ 197644 h 202601"/>
                  <a:gd name="connsiteX7" fmla="*/ 828810 w 1125067"/>
                  <a:gd name="connsiteY7" fmla="*/ 186859 h 202601"/>
                  <a:gd name="connsiteX8" fmla="*/ 968626 w 1125067"/>
                  <a:gd name="connsiteY8" fmla="*/ 166687 h 202601"/>
                  <a:gd name="connsiteX9" fmla="*/ 1060927 w 1125067"/>
                  <a:gd name="connsiteY9" fmla="*/ 144135 h 202601"/>
                  <a:gd name="connsiteX10" fmla="*/ 1122701 w 1125067"/>
                  <a:gd name="connsiteY10" fmla="*/ 102808 h 202601"/>
                  <a:gd name="connsiteX11" fmla="*/ 1103942 w 1125067"/>
                  <a:gd name="connsiteY11" fmla="*/ 74387 h 202601"/>
                  <a:gd name="connsiteX12" fmla="*/ 1026774 w 1125067"/>
                  <a:gd name="connsiteY12" fmla="*/ 40496 h 202601"/>
                  <a:gd name="connsiteX13" fmla="*/ 879522 w 1125067"/>
                  <a:gd name="connsiteY13" fmla="*/ 12613 h 202601"/>
                  <a:gd name="connsiteX14" fmla="*/ 780092 w 1125067"/>
                  <a:gd name="connsiteY14" fmla="*/ 3226 h 202601"/>
                  <a:gd name="connsiteX15" fmla="*/ 690727 w 1125067"/>
                  <a:gd name="connsiteY15" fmla="*/ 2105 h 202601"/>
                  <a:gd name="connsiteX16" fmla="*/ 556670 w 1125067"/>
                  <a:gd name="connsiteY16" fmla="*/ 0 h 202601"/>
                  <a:gd name="connsiteX17" fmla="*/ 345292 w 1125067"/>
                  <a:gd name="connsiteY17" fmla="*/ 4901 h 202601"/>
                  <a:gd name="connsiteX18" fmla="*/ 218824 w 1125067"/>
                  <a:gd name="connsiteY18" fmla="*/ 15547 h 202601"/>
                  <a:gd name="connsiteX19" fmla="*/ 60663 w 1125067"/>
                  <a:gd name="connsiteY19" fmla="*/ 53093 h 202601"/>
                  <a:gd name="connsiteX20" fmla="*/ 6601 w 1125067"/>
                  <a:gd name="connsiteY20" fmla="*/ 80962 h 202601"/>
                  <a:gd name="connsiteX21" fmla="*/ 4635 w 1125067"/>
                  <a:gd name="connsiteY21" fmla="*/ 111074 h 202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25067" h="202601">
                    <a:moveTo>
                      <a:pt x="4635" y="111074"/>
                    </a:moveTo>
                    <a:cubicBezTo>
                      <a:pt x="14785" y="121810"/>
                      <a:pt x="47288" y="138367"/>
                      <a:pt x="67500" y="145379"/>
                    </a:cubicBezTo>
                    <a:cubicBezTo>
                      <a:pt x="91051" y="153549"/>
                      <a:pt x="86330" y="152600"/>
                      <a:pt x="123267" y="160097"/>
                    </a:cubicBezTo>
                    <a:cubicBezTo>
                      <a:pt x="160204" y="167594"/>
                      <a:pt x="236686" y="183356"/>
                      <a:pt x="289125" y="190362"/>
                    </a:cubicBezTo>
                    <a:cubicBezTo>
                      <a:pt x="341564" y="197368"/>
                      <a:pt x="388308" y="198207"/>
                      <a:pt x="437899" y="202130"/>
                    </a:cubicBezTo>
                    <a:cubicBezTo>
                      <a:pt x="493205" y="203740"/>
                      <a:pt x="581722" y="200773"/>
                      <a:pt x="620964" y="200025"/>
                    </a:cubicBezTo>
                    <a:cubicBezTo>
                      <a:pt x="660206" y="199277"/>
                      <a:pt x="655889" y="198438"/>
                      <a:pt x="673351" y="197644"/>
                    </a:cubicBezTo>
                    <a:cubicBezTo>
                      <a:pt x="718032" y="195729"/>
                      <a:pt x="770272" y="192553"/>
                      <a:pt x="828810" y="186859"/>
                    </a:cubicBezTo>
                    <a:cubicBezTo>
                      <a:pt x="887348" y="181165"/>
                      <a:pt x="928260" y="174858"/>
                      <a:pt x="968626" y="166687"/>
                    </a:cubicBezTo>
                    <a:cubicBezTo>
                      <a:pt x="1008992" y="158517"/>
                      <a:pt x="1035248" y="154782"/>
                      <a:pt x="1060927" y="144135"/>
                    </a:cubicBezTo>
                    <a:cubicBezTo>
                      <a:pt x="1086606" y="133489"/>
                      <a:pt x="1115532" y="114433"/>
                      <a:pt x="1122701" y="102808"/>
                    </a:cubicBezTo>
                    <a:cubicBezTo>
                      <a:pt x="1129870" y="91183"/>
                      <a:pt x="1119930" y="84772"/>
                      <a:pt x="1103942" y="74387"/>
                    </a:cubicBezTo>
                    <a:cubicBezTo>
                      <a:pt x="1087954" y="64002"/>
                      <a:pt x="1064177" y="50792"/>
                      <a:pt x="1026774" y="40496"/>
                    </a:cubicBezTo>
                    <a:cubicBezTo>
                      <a:pt x="989371" y="30200"/>
                      <a:pt x="922735" y="19454"/>
                      <a:pt x="879522" y="12613"/>
                    </a:cubicBezTo>
                    <a:cubicBezTo>
                      <a:pt x="836309" y="5772"/>
                      <a:pt x="811558" y="4977"/>
                      <a:pt x="780092" y="3226"/>
                    </a:cubicBezTo>
                    <a:cubicBezTo>
                      <a:pt x="748626" y="1475"/>
                      <a:pt x="727964" y="2643"/>
                      <a:pt x="690727" y="2105"/>
                    </a:cubicBezTo>
                    <a:cubicBezTo>
                      <a:pt x="653490" y="1567"/>
                      <a:pt x="604294" y="2506"/>
                      <a:pt x="556670" y="0"/>
                    </a:cubicBezTo>
                    <a:cubicBezTo>
                      <a:pt x="482851" y="794"/>
                      <a:pt x="401600" y="2310"/>
                      <a:pt x="345292" y="4901"/>
                    </a:cubicBezTo>
                    <a:cubicBezTo>
                      <a:pt x="288984" y="7492"/>
                      <a:pt x="271091" y="6885"/>
                      <a:pt x="218824" y="15547"/>
                    </a:cubicBezTo>
                    <a:cubicBezTo>
                      <a:pt x="183105" y="23881"/>
                      <a:pt x="101072" y="33372"/>
                      <a:pt x="60663" y="53093"/>
                    </a:cubicBezTo>
                    <a:cubicBezTo>
                      <a:pt x="27401" y="69326"/>
                      <a:pt x="15729" y="73818"/>
                      <a:pt x="6601" y="80962"/>
                    </a:cubicBezTo>
                    <a:cubicBezTo>
                      <a:pt x="3756" y="86654"/>
                      <a:pt x="-5515" y="100338"/>
                      <a:pt x="4635" y="111074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D42FB940-E604-60EA-C043-CB683255B9B1}"/>
                  </a:ext>
                </a:extLst>
              </p:cNvPr>
              <p:cNvSpPr/>
              <p:nvPr/>
            </p:nvSpPr>
            <p:spPr>
              <a:xfrm>
                <a:off x="3395346" y="2639947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3169B747-121D-1B6A-BF74-37A020547666}"/>
                  </a:ext>
                </a:extLst>
              </p:cNvPr>
              <p:cNvSpPr/>
              <p:nvPr/>
            </p:nvSpPr>
            <p:spPr>
              <a:xfrm>
                <a:off x="3395346" y="3242409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CE59472-73B5-67EE-9F7A-ABBF79796755}"/>
                  </a:ext>
                </a:extLst>
              </p:cNvPr>
              <p:cNvSpPr/>
              <p:nvPr/>
            </p:nvSpPr>
            <p:spPr>
              <a:xfrm>
                <a:off x="3395346" y="2041850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FE36BAFB-B119-D8BD-77C8-3A780AEC89AA}"/>
                </a:ext>
              </a:extLst>
            </p:cNvPr>
            <p:cNvGrpSpPr/>
            <p:nvPr/>
          </p:nvGrpSpPr>
          <p:grpSpPr>
            <a:xfrm>
              <a:off x="676332" y="5231664"/>
              <a:ext cx="634300" cy="811212"/>
              <a:chOff x="3395346" y="1880433"/>
              <a:chExt cx="1633885" cy="2089588"/>
            </a:xfrm>
          </p:grpSpPr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FB48AE2A-23EB-3BF9-DFB5-BA8B06530639}"/>
                  </a:ext>
                </a:extLst>
              </p:cNvPr>
              <p:cNvSpPr/>
              <p:nvPr/>
            </p:nvSpPr>
            <p:spPr>
              <a:xfrm>
                <a:off x="3395346" y="2041850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B82B63C-B46F-7260-3EFF-32BC3D29180D}"/>
                  </a:ext>
                </a:extLst>
              </p:cNvPr>
              <p:cNvSpPr/>
              <p:nvPr/>
            </p:nvSpPr>
            <p:spPr>
              <a:xfrm>
                <a:off x="3395346" y="3242409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77A18E4A-484D-E9A8-F426-555A1C549F87}"/>
                  </a:ext>
                </a:extLst>
              </p:cNvPr>
              <p:cNvSpPr/>
              <p:nvPr/>
            </p:nvSpPr>
            <p:spPr>
              <a:xfrm>
                <a:off x="3397293" y="1880433"/>
                <a:ext cx="1624532" cy="292545"/>
              </a:xfrm>
              <a:custGeom>
                <a:avLst/>
                <a:gdLst>
                  <a:gd name="connsiteX0" fmla="*/ 11907 w 1116840"/>
                  <a:gd name="connsiteY0" fmla="*/ 124159 h 219409"/>
                  <a:gd name="connsiteX1" fmla="*/ 23813 w 1116840"/>
                  <a:gd name="connsiteY1" fmla="*/ 133684 h 219409"/>
                  <a:gd name="connsiteX2" fmla="*/ 28575 w 1116840"/>
                  <a:gd name="connsiteY2" fmla="*/ 140827 h 219409"/>
                  <a:gd name="connsiteX3" fmla="*/ 40482 w 1116840"/>
                  <a:gd name="connsiteY3" fmla="*/ 147971 h 219409"/>
                  <a:gd name="connsiteX4" fmla="*/ 47625 w 1116840"/>
                  <a:gd name="connsiteY4" fmla="*/ 152734 h 219409"/>
                  <a:gd name="connsiteX5" fmla="*/ 78582 w 1116840"/>
                  <a:gd name="connsiteY5" fmla="*/ 157496 h 219409"/>
                  <a:gd name="connsiteX6" fmla="*/ 104775 w 1116840"/>
                  <a:gd name="connsiteY6" fmla="*/ 162259 h 219409"/>
                  <a:gd name="connsiteX7" fmla="*/ 128588 w 1116840"/>
                  <a:gd name="connsiteY7" fmla="*/ 164640 h 219409"/>
                  <a:gd name="connsiteX8" fmla="*/ 161925 w 1116840"/>
                  <a:gd name="connsiteY8" fmla="*/ 174165 h 219409"/>
                  <a:gd name="connsiteX9" fmla="*/ 178594 w 1116840"/>
                  <a:gd name="connsiteY9" fmla="*/ 176546 h 219409"/>
                  <a:gd name="connsiteX10" fmla="*/ 202407 w 1116840"/>
                  <a:gd name="connsiteY10" fmla="*/ 181309 h 219409"/>
                  <a:gd name="connsiteX11" fmla="*/ 209550 w 1116840"/>
                  <a:gd name="connsiteY11" fmla="*/ 183690 h 219409"/>
                  <a:gd name="connsiteX12" fmla="*/ 238125 w 1116840"/>
                  <a:gd name="connsiteY12" fmla="*/ 190834 h 219409"/>
                  <a:gd name="connsiteX13" fmla="*/ 285750 w 1116840"/>
                  <a:gd name="connsiteY13" fmla="*/ 205121 h 219409"/>
                  <a:gd name="connsiteX14" fmla="*/ 378619 w 1116840"/>
                  <a:gd name="connsiteY14" fmla="*/ 207502 h 219409"/>
                  <a:gd name="connsiteX15" fmla="*/ 402432 w 1116840"/>
                  <a:gd name="connsiteY15" fmla="*/ 212265 h 219409"/>
                  <a:gd name="connsiteX16" fmla="*/ 457200 w 1116840"/>
                  <a:gd name="connsiteY16" fmla="*/ 219409 h 219409"/>
                  <a:gd name="connsiteX17" fmla="*/ 604838 w 1116840"/>
                  <a:gd name="connsiteY17" fmla="*/ 217027 h 219409"/>
                  <a:gd name="connsiteX18" fmla="*/ 623888 w 1116840"/>
                  <a:gd name="connsiteY18" fmla="*/ 212265 h 219409"/>
                  <a:gd name="connsiteX19" fmla="*/ 676275 w 1116840"/>
                  <a:gd name="connsiteY19" fmla="*/ 209884 h 219409"/>
                  <a:gd name="connsiteX20" fmla="*/ 697707 w 1116840"/>
                  <a:gd name="connsiteY20" fmla="*/ 205121 h 219409"/>
                  <a:gd name="connsiteX21" fmla="*/ 707232 w 1116840"/>
                  <a:gd name="connsiteY21" fmla="*/ 202740 h 219409"/>
                  <a:gd name="connsiteX22" fmla="*/ 797719 w 1116840"/>
                  <a:gd name="connsiteY22" fmla="*/ 200359 h 219409"/>
                  <a:gd name="connsiteX23" fmla="*/ 823913 w 1116840"/>
                  <a:gd name="connsiteY23" fmla="*/ 193215 h 219409"/>
                  <a:gd name="connsiteX24" fmla="*/ 842963 w 1116840"/>
                  <a:gd name="connsiteY24" fmla="*/ 188452 h 219409"/>
                  <a:gd name="connsiteX25" fmla="*/ 866775 w 1116840"/>
                  <a:gd name="connsiteY25" fmla="*/ 186071 h 219409"/>
                  <a:gd name="connsiteX26" fmla="*/ 940594 w 1116840"/>
                  <a:gd name="connsiteY26" fmla="*/ 181309 h 219409"/>
                  <a:gd name="connsiteX27" fmla="*/ 971550 w 1116840"/>
                  <a:gd name="connsiteY27" fmla="*/ 178927 h 219409"/>
                  <a:gd name="connsiteX28" fmla="*/ 992982 w 1116840"/>
                  <a:gd name="connsiteY28" fmla="*/ 174165 h 219409"/>
                  <a:gd name="connsiteX29" fmla="*/ 1007269 w 1116840"/>
                  <a:gd name="connsiteY29" fmla="*/ 171784 h 219409"/>
                  <a:gd name="connsiteX30" fmla="*/ 1035844 w 1116840"/>
                  <a:gd name="connsiteY30" fmla="*/ 164640 h 219409"/>
                  <a:gd name="connsiteX31" fmla="*/ 1052513 w 1116840"/>
                  <a:gd name="connsiteY31" fmla="*/ 155115 h 219409"/>
                  <a:gd name="connsiteX32" fmla="*/ 1083469 w 1116840"/>
                  <a:gd name="connsiteY32" fmla="*/ 143209 h 219409"/>
                  <a:gd name="connsiteX33" fmla="*/ 1090613 w 1116840"/>
                  <a:gd name="connsiteY33" fmla="*/ 136065 h 219409"/>
                  <a:gd name="connsiteX34" fmla="*/ 1100138 w 1116840"/>
                  <a:gd name="connsiteY34" fmla="*/ 131302 h 219409"/>
                  <a:gd name="connsiteX35" fmla="*/ 1107282 w 1116840"/>
                  <a:gd name="connsiteY35" fmla="*/ 126540 h 219409"/>
                  <a:gd name="connsiteX36" fmla="*/ 1116807 w 1116840"/>
                  <a:gd name="connsiteY36" fmla="*/ 107490 h 219409"/>
                  <a:gd name="connsiteX37" fmla="*/ 1114425 w 1116840"/>
                  <a:gd name="connsiteY37" fmla="*/ 97965 h 219409"/>
                  <a:gd name="connsiteX38" fmla="*/ 1054894 w 1116840"/>
                  <a:gd name="connsiteY38" fmla="*/ 74152 h 219409"/>
                  <a:gd name="connsiteX39" fmla="*/ 1047750 w 1116840"/>
                  <a:gd name="connsiteY39" fmla="*/ 71771 h 219409"/>
                  <a:gd name="connsiteX40" fmla="*/ 1038225 w 1116840"/>
                  <a:gd name="connsiteY40" fmla="*/ 67009 h 219409"/>
                  <a:gd name="connsiteX41" fmla="*/ 1026319 w 1116840"/>
                  <a:gd name="connsiteY41" fmla="*/ 62246 h 219409"/>
                  <a:gd name="connsiteX42" fmla="*/ 995363 w 1116840"/>
                  <a:gd name="connsiteY42" fmla="*/ 57484 h 219409"/>
                  <a:gd name="connsiteX43" fmla="*/ 966788 w 1116840"/>
                  <a:gd name="connsiteY43" fmla="*/ 47959 h 219409"/>
                  <a:gd name="connsiteX44" fmla="*/ 947738 w 1116840"/>
                  <a:gd name="connsiteY44" fmla="*/ 40815 h 219409"/>
                  <a:gd name="connsiteX45" fmla="*/ 857250 w 1116840"/>
                  <a:gd name="connsiteY45" fmla="*/ 33671 h 219409"/>
                  <a:gd name="connsiteX46" fmla="*/ 812007 w 1116840"/>
                  <a:gd name="connsiteY46" fmla="*/ 26527 h 219409"/>
                  <a:gd name="connsiteX47" fmla="*/ 800100 w 1116840"/>
                  <a:gd name="connsiteY47" fmla="*/ 24146 h 219409"/>
                  <a:gd name="connsiteX48" fmla="*/ 790575 w 1116840"/>
                  <a:gd name="connsiteY48" fmla="*/ 21765 h 219409"/>
                  <a:gd name="connsiteX49" fmla="*/ 702469 w 1116840"/>
                  <a:gd name="connsiteY49" fmla="*/ 19384 h 219409"/>
                  <a:gd name="connsiteX50" fmla="*/ 559594 w 1116840"/>
                  <a:gd name="connsiteY50" fmla="*/ 12240 h 219409"/>
                  <a:gd name="connsiteX51" fmla="*/ 350044 w 1116840"/>
                  <a:gd name="connsiteY51" fmla="*/ 9859 h 219409"/>
                  <a:gd name="connsiteX52" fmla="*/ 338138 w 1116840"/>
                  <a:gd name="connsiteY52" fmla="*/ 14621 h 219409"/>
                  <a:gd name="connsiteX53" fmla="*/ 295275 w 1116840"/>
                  <a:gd name="connsiteY53" fmla="*/ 19384 h 219409"/>
                  <a:gd name="connsiteX54" fmla="*/ 278607 w 1116840"/>
                  <a:gd name="connsiteY54" fmla="*/ 21765 h 219409"/>
                  <a:gd name="connsiteX55" fmla="*/ 269082 w 1116840"/>
                  <a:gd name="connsiteY55" fmla="*/ 24146 h 219409"/>
                  <a:gd name="connsiteX56" fmla="*/ 238125 w 1116840"/>
                  <a:gd name="connsiteY56" fmla="*/ 26527 h 219409"/>
                  <a:gd name="connsiteX57" fmla="*/ 216694 w 1116840"/>
                  <a:gd name="connsiteY57" fmla="*/ 33671 h 219409"/>
                  <a:gd name="connsiteX58" fmla="*/ 195263 w 1116840"/>
                  <a:gd name="connsiteY58" fmla="*/ 38434 h 219409"/>
                  <a:gd name="connsiteX59" fmla="*/ 183357 w 1116840"/>
                  <a:gd name="connsiteY59" fmla="*/ 40815 h 219409"/>
                  <a:gd name="connsiteX60" fmla="*/ 147638 w 1116840"/>
                  <a:gd name="connsiteY60" fmla="*/ 50340 h 219409"/>
                  <a:gd name="connsiteX61" fmla="*/ 128588 w 1116840"/>
                  <a:gd name="connsiteY61" fmla="*/ 57484 h 219409"/>
                  <a:gd name="connsiteX62" fmla="*/ 109538 w 1116840"/>
                  <a:gd name="connsiteY62" fmla="*/ 62246 h 219409"/>
                  <a:gd name="connsiteX63" fmla="*/ 97632 w 1116840"/>
                  <a:gd name="connsiteY63" fmla="*/ 67009 h 219409"/>
                  <a:gd name="connsiteX64" fmla="*/ 80963 w 1116840"/>
                  <a:gd name="connsiteY64" fmla="*/ 69390 h 219409"/>
                  <a:gd name="connsiteX65" fmla="*/ 54769 w 1116840"/>
                  <a:gd name="connsiteY65" fmla="*/ 74152 h 219409"/>
                  <a:gd name="connsiteX66" fmla="*/ 47625 w 1116840"/>
                  <a:gd name="connsiteY66" fmla="*/ 76534 h 219409"/>
                  <a:gd name="connsiteX67" fmla="*/ 23813 w 1116840"/>
                  <a:gd name="connsiteY67" fmla="*/ 83677 h 219409"/>
                  <a:gd name="connsiteX68" fmla="*/ 9525 w 1116840"/>
                  <a:gd name="connsiteY68" fmla="*/ 93202 h 219409"/>
                  <a:gd name="connsiteX69" fmla="*/ 0 w 1116840"/>
                  <a:gd name="connsiteY69" fmla="*/ 117015 h 219409"/>
                  <a:gd name="connsiteX70" fmla="*/ 11907 w 1116840"/>
                  <a:gd name="connsiteY70" fmla="*/ 124159 h 21940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800100 w 1116840"/>
                  <a:gd name="connsiteY47" fmla="*/ 11906 h 207169"/>
                  <a:gd name="connsiteX48" fmla="*/ 790575 w 1116840"/>
                  <a:gd name="connsiteY48" fmla="*/ 9525 h 207169"/>
                  <a:gd name="connsiteX49" fmla="*/ 702469 w 1116840"/>
                  <a:gd name="connsiteY49" fmla="*/ 7144 h 207169"/>
                  <a:gd name="connsiteX50" fmla="*/ 559594 w 1116840"/>
                  <a:gd name="connsiteY50" fmla="*/ 0 h 207169"/>
                  <a:gd name="connsiteX51" fmla="*/ 338138 w 1116840"/>
                  <a:gd name="connsiteY51" fmla="*/ 2381 h 207169"/>
                  <a:gd name="connsiteX52" fmla="*/ 295275 w 1116840"/>
                  <a:gd name="connsiteY52" fmla="*/ 7144 h 207169"/>
                  <a:gd name="connsiteX53" fmla="*/ 278607 w 1116840"/>
                  <a:gd name="connsiteY53" fmla="*/ 9525 h 207169"/>
                  <a:gd name="connsiteX54" fmla="*/ 269082 w 1116840"/>
                  <a:gd name="connsiteY54" fmla="*/ 11906 h 207169"/>
                  <a:gd name="connsiteX55" fmla="*/ 238125 w 1116840"/>
                  <a:gd name="connsiteY55" fmla="*/ 14287 h 207169"/>
                  <a:gd name="connsiteX56" fmla="*/ 216694 w 1116840"/>
                  <a:gd name="connsiteY56" fmla="*/ 21431 h 207169"/>
                  <a:gd name="connsiteX57" fmla="*/ 195263 w 1116840"/>
                  <a:gd name="connsiteY57" fmla="*/ 26194 h 207169"/>
                  <a:gd name="connsiteX58" fmla="*/ 183357 w 1116840"/>
                  <a:gd name="connsiteY58" fmla="*/ 28575 h 207169"/>
                  <a:gd name="connsiteX59" fmla="*/ 147638 w 1116840"/>
                  <a:gd name="connsiteY59" fmla="*/ 38100 h 207169"/>
                  <a:gd name="connsiteX60" fmla="*/ 128588 w 1116840"/>
                  <a:gd name="connsiteY60" fmla="*/ 45244 h 207169"/>
                  <a:gd name="connsiteX61" fmla="*/ 109538 w 1116840"/>
                  <a:gd name="connsiteY61" fmla="*/ 50006 h 207169"/>
                  <a:gd name="connsiteX62" fmla="*/ 97632 w 1116840"/>
                  <a:gd name="connsiteY62" fmla="*/ 54769 h 207169"/>
                  <a:gd name="connsiteX63" fmla="*/ 80963 w 1116840"/>
                  <a:gd name="connsiteY63" fmla="*/ 57150 h 207169"/>
                  <a:gd name="connsiteX64" fmla="*/ 54769 w 1116840"/>
                  <a:gd name="connsiteY64" fmla="*/ 61912 h 207169"/>
                  <a:gd name="connsiteX65" fmla="*/ 47625 w 1116840"/>
                  <a:gd name="connsiteY65" fmla="*/ 64294 h 207169"/>
                  <a:gd name="connsiteX66" fmla="*/ 23813 w 1116840"/>
                  <a:gd name="connsiteY66" fmla="*/ 71437 h 207169"/>
                  <a:gd name="connsiteX67" fmla="*/ 9525 w 1116840"/>
                  <a:gd name="connsiteY67" fmla="*/ 80962 h 207169"/>
                  <a:gd name="connsiteX68" fmla="*/ 0 w 1116840"/>
                  <a:gd name="connsiteY68" fmla="*/ 104775 h 207169"/>
                  <a:gd name="connsiteX69" fmla="*/ 11907 w 1116840"/>
                  <a:gd name="connsiteY69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790575 w 1116840"/>
                  <a:gd name="connsiteY47" fmla="*/ 9525 h 207169"/>
                  <a:gd name="connsiteX48" fmla="*/ 702469 w 1116840"/>
                  <a:gd name="connsiteY48" fmla="*/ 7144 h 207169"/>
                  <a:gd name="connsiteX49" fmla="*/ 559594 w 1116840"/>
                  <a:gd name="connsiteY49" fmla="*/ 0 h 207169"/>
                  <a:gd name="connsiteX50" fmla="*/ 338138 w 1116840"/>
                  <a:gd name="connsiteY50" fmla="*/ 2381 h 207169"/>
                  <a:gd name="connsiteX51" fmla="*/ 295275 w 1116840"/>
                  <a:gd name="connsiteY51" fmla="*/ 7144 h 207169"/>
                  <a:gd name="connsiteX52" fmla="*/ 278607 w 1116840"/>
                  <a:gd name="connsiteY52" fmla="*/ 9525 h 207169"/>
                  <a:gd name="connsiteX53" fmla="*/ 269082 w 1116840"/>
                  <a:gd name="connsiteY53" fmla="*/ 11906 h 207169"/>
                  <a:gd name="connsiteX54" fmla="*/ 238125 w 1116840"/>
                  <a:gd name="connsiteY54" fmla="*/ 14287 h 207169"/>
                  <a:gd name="connsiteX55" fmla="*/ 216694 w 1116840"/>
                  <a:gd name="connsiteY55" fmla="*/ 21431 h 207169"/>
                  <a:gd name="connsiteX56" fmla="*/ 195263 w 1116840"/>
                  <a:gd name="connsiteY56" fmla="*/ 26194 h 207169"/>
                  <a:gd name="connsiteX57" fmla="*/ 183357 w 1116840"/>
                  <a:gd name="connsiteY57" fmla="*/ 28575 h 207169"/>
                  <a:gd name="connsiteX58" fmla="*/ 147638 w 1116840"/>
                  <a:gd name="connsiteY58" fmla="*/ 38100 h 207169"/>
                  <a:gd name="connsiteX59" fmla="*/ 128588 w 1116840"/>
                  <a:gd name="connsiteY59" fmla="*/ 45244 h 207169"/>
                  <a:gd name="connsiteX60" fmla="*/ 109538 w 1116840"/>
                  <a:gd name="connsiteY60" fmla="*/ 50006 h 207169"/>
                  <a:gd name="connsiteX61" fmla="*/ 97632 w 1116840"/>
                  <a:gd name="connsiteY61" fmla="*/ 54769 h 207169"/>
                  <a:gd name="connsiteX62" fmla="*/ 80963 w 1116840"/>
                  <a:gd name="connsiteY62" fmla="*/ 57150 h 207169"/>
                  <a:gd name="connsiteX63" fmla="*/ 54769 w 1116840"/>
                  <a:gd name="connsiteY63" fmla="*/ 61912 h 207169"/>
                  <a:gd name="connsiteX64" fmla="*/ 47625 w 1116840"/>
                  <a:gd name="connsiteY64" fmla="*/ 64294 h 207169"/>
                  <a:gd name="connsiteX65" fmla="*/ 23813 w 1116840"/>
                  <a:gd name="connsiteY65" fmla="*/ 71437 h 207169"/>
                  <a:gd name="connsiteX66" fmla="*/ 9525 w 1116840"/>
                  <a:gd name="connsiteY66" fmla="*/ 80962 h 207169"/>
                  <a:gd name="connsiteX67" fmla="*/ 0 w 1116840"/>
                  <a:gd name="connsiteY67" fmla="*/ 104775 h 207169"/>
                  <a:gd name="connsiteX68" fmla="*/ 11907 w 1116840"/>
                  <a:gd name="connsiteY68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790575 w 1116840"/>
                  <a:gd name="connsiteY46" fmla="*/ 9525 h 207169"/>
                  <a:gd name="connsiteX47" fmla="*/ 702469 w 1116840"/>
                  <a:gd name="connsiteY47" fmla="*/ 7144 h 207169"/>
                  <a:gd name="connsiteX48" fmla="*/ 559594 w 1116840"/>
                  <a:gd name="connsiteY48" fmla="*/ 0 h 207169"/>
                  <a:gd name="connsiteX49" fmla="*/ 338138 w 1116840"/>
                  <a:gd name="connsiteY49" fmla="*/ 2381 h 207169"/>
                  <a:gd name="connsiteX50" fmla="*/ 295275 w 1116840"/>
                  <a:gd name="connsiteY50" fmla="*/ 7144 h 207169"/>
                  <a:gd name="connsiteX51" fmla="*/ 278607 w 1116840"/>
                  <a:gd name="connsiteY51" fmla="*/ 9525 h 207169"/>
                  <a:gd name="connsiteX52" fmla="*/ 269082 w 1116840"/>
                  <a:gd name="connsiteY52" fmla="*/ 11906 h 207169"/>
                  <a:gd name="connsiteX53" fmla="*/ 238125 w 1116840"/>
                  <a:gd name="connsiteY53" fmla="*/ 14287 h 207169"/>
                  <a:gd name="connsiteX54" fmla="*/ 216694 w 1116840"/>
                  <a:gd name="connsiteY54" fmla="*/ 21431 h 207169"/>
                  <a:gd name="connsiteX55" fmla="*/ 195263 w 1116840"/>
                  <a:gd name="connsiteY55" fmla="*/ 26194 h 207169"/>
                  <a:gd name="connsiteX56" fmla="*/ 183357 w 1116840"/>
                  <a:gd name="connsiteY56" fmla="*/ 28575 h 207169"/>
                  <a:gd name="connsiteX57" fmla="*/ 147638 w 1116840"/>
                  <a:gd name="connsiteY57" fmla="*/ 38100 h 207169"/>
                  <a:gd name="connsiteX58" fmla="*/ 128588 w 1116840"/>
                  <a:gd name="connsiteY58" fmla="*/ 45244 h 207169"/>
                  <a:gd name="connsiteX59" fmla="*/ 109538 w 1116840"/>
                  <a:gd name="connsiteY59" fmla="*/ 50006 h 207169"/>
                  <a:gd name="connsiteX60" fmla="*/ 97632 w 1116840"/>
                  <a:gd name="connsiteY60" fmla="*/ 54769 h 207169"/>
                  <a:gd name="connsiteX61" fmla="*/ 80963 w 1116840"/>
                  <a:gd name="connsiteY61" fmla="*/ 57150 h 207169"/>
                  <a:gd name="connsiteX62" fmla="*/ 54769 w 1116840"/>
                  <a:gd name="connsiteY62" fmla="*/ 61912 h 207169"/>
                  <a:gd name="connsiteX63" fmla="*/ 47625 w 1116840"/>
                  <a:gd name="connsiteY63" fmla="*/ 64294 h 207169"/>
                  <a:gd name="connsiteX64" fmla="*/ 23813 w 1116840"/>
                  <a:gd name="connsiteY64" fmla="*/ 71437 h 207169"/>
                  <a:gd name="connsiteX65" fmla="*/ 9525 w 1116840"/>
                  <a:gd name="connsiteY65" fmla="*/ 80962 h 207169"/>
                  <a:gd name="connsiteX66" fmla="*/ 0 w 1116840"/>
                  <a:gd name="connsiteY66" fmla="*/ 104775 h 207169"/>
                  <a:gd name="connsiteX67" fmla="*/ 11907 w 1116840"/>
                  <a:gd name="connsiteY67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857250 w 1116840"/>
                  <a:gd name="connsiteY44" fmla="*/ 21431 h 207169"/>
                  <a:gd name="connsiteX45" fmla="*/ 790575 w 1116840"/>
                  <a:gd name="connsiteY45" fmla="*/ 9525 h 207169"/>
                  <a:gd name="connsiteX46" fmla="*/ 702469 w 1116840"/>
                  <a:gd name="connsiteY46" fmla="*/ 7144 h 207169"/>
                  <a:gd name="connsiteX47" fmla="*/ 559594 w 1116840"/>
                  <a:gd name="connsiteY47" fmla="*/ 0 h 207169"/>
                  <a:gd name="connsiteX48" fmla="*/ 338138 w 1116840"/>
                  <a:gd name="connsiteY48" fmla="*/ 2381 h 207169"/>
                  <a:gd name="connsiteX49" fmla="*/ 295275 w 1116840"/>
                  <a:gd name="connsiteY49" fmla="*/ 7144 h 207169"/>
                  <a:gd name="connsiteX50" fmla="*/ 278607 w 1116840"/>
                  <a:gd name="connsiteY50" fmla="*/ 9525 h 207169"/>
                  <a:gd name="connsiteX51" fmla="*/ 269082 w 1116840"/>
                  <a:gd name="connsiteY51" fmla="*/ 11906 h 207169"/>
                  <a:gd name="connsiteX52" fmla="*/ 238125 w 1116840"/>
                  <a:gd name="connsiteY52" fmla="*/ 14287 h 207169"/>
                  <a:gd name="connsiteX53" fmla="*/ 216694 w 1116840"/>
                  <a:gd name="connsiteY53" fmla="*/ 21431 h 207169"/>
                  <a:gd name="connsiteX54" fmla="*/ 195263 w 1116840"/>
                  <a:gd name="connsiteY54" fmla="*/ 26194 h 207169"/>
                  <a:gd name="connsiteX55" fmla="*/ 183357 w 1116840"/>
                  <a:gd name="connsiteY55" fmla="*/ 28575 h 207169"/>
                  <a:gd name="connsiteX56" fmla="*/ 147638 w 1116840"/>
                  <a:gd name="connsiteY56" fmla="*/ 38100 h 207169"/>
                  <a:gd name="connsiteX57" fmla="*/ 128588 w 1116840"/>
                  <a:gd name="connsiteY57" fmla="*/ 45244 h 207169"/>
                  <a:gd name="connsiteX58" fmla="*/ 109538 w 1116840"/>
                  <a:gd name="connsiteY58" fmla="*/ 50006 h 207169"/>
                  <a:gd name="connsiteX59" fmla="*/ 97632 w 1116840"/>
                  <a:gd name="connsiteY59" fmla="*/ 54769 h 207169"/>
                  <a:gd name="connsiteX60" fmla="*/ 80963 w 1116840"/>
                  <a:gd name="connsiteY60" fmla="*/ 57150 h 207169"/>
                  <a:gd name="connsiteX61" fmla="*/ 54769 w 1116840"/>
                  <a:gd name="connsiteY61" fmla="*/ 61912 h 207169"/>
                  <a:gd name="connsiteX62" fmla="*/ 47625 w 1116840"/>
                  <a:gd name="connsiteY62" fmla="*/ 64294 h 207169"/>
                  <a:gd name="connsiteX63" fmla="*/ 23813 w 1116840"/>
                  <a:gd name="connsiteY63" fmla="*/ 71437 h 207169"/>
                  <a:gd name="connsiteX64" fmla="*/ 9525 w 1116840"/>
                  <a:gd name="connsiteY64" fmla="*/ 80962 h 207169"/>
                  <a:gd name="connsiteX65" fmla="*/ 0 w 1116840"/>
                  <a:gd name="connsiteY65" fmla="*/ 104775 h 207169"/>
                  <a:gd name="connsiteX66" fmla="*/ 11907 w 1116840"/>
                  <a:gd name="connsiteY66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66788 w 1116840"/>
                  <a:gd name="connsiteY42" fmla="*/ 35719 h 207169"/>
                  <a:gd name="connsiteX43" fmla="*/ 857250 w 1116840"/>
                  <a:gd name="connsiteY43" fmla="*/ 21431 h 207169"/>
                  <a:gd name="connsiteX44" fmla="*/ 790575 w 1116840"/>
                  <a:gd name="connsiteY44" fmla="*/ 9525 h 207169"/>
                  <a:gd name="connsiteX45" fmla="*/ 702469 w 1116840"/>
                  <a:gd name="connsiteY45" fmla="*/ 7144 h 207169"/>
                  <a:gd name="connsiteX46" fmla="*/ 559594 w 1116840"/>
                  <a:gd name="connsiteY46" fmla="*/ 0 h 207169"/>
                  <a:gd name="connsiteX47" fmla="*/ 338138 w 1116840"/>
                  <a:gd name="connsiteY47" fmla="*/ 2381 h 207169"/>
                  <a:gd name="connsiteX48" fmla="*/ 295275 w 1116840"/>
                  <a:gd name="connsiteY48" fmla="*/ 7144 h 207169"/>
                  <a:gd name="connsiteX49" fmla="*/ 278607 w 1116840"/>
                  <a:gd name="connsiteY49" fmla="*/ 9525 h 207169"/>
                  <a:gd name="connsiteX50" fmla="*/ 269082 w 1116840"/>
                  <a:gd name="connsiteY50" fmla="*/ 11906 h 207169"/>
                  <a:gd name="connsiteX51" fmla="*/ 238125 w 1116840"/>
                  <a:gd name="connsiteY51" fmla="*/ 14287 h 207169"/>
                  <a:gd name="connsiteX52" fmla="*/ 216694 w 1116840"/>
                  <a:gd name="connsiteY52" fmla="*/ 21431 h 207169"/>
                  <a:gd name="connsiteX53" fmla="*/ 195263 w 1116840"/>
                  <a:gd name="connsiteY53" fmla="*/ 26194 h 207169"/>
                  <a:gd name="connsiteX54" fmla="*/ 183357 w 1116840"/>
                  <a:gd name="connsiteY54" fmla="*/ 28575 h 207169"/>
                  <a:gd name="connsiteX55" fmla="*/ 147638 w 1116840"/>
                  <a:gd name="connsiteY55" fmla="*/ 38100 h 207169"/>
                  <a:gd name="connsiteX56" fmla="*/ 128588 w 1116840"/>
                  <a:gd name="connsiteY56" fmla="*/ 45244 h 207169"/>
                  <a:gd name="connsiteX57" fmla="*/ 109538 w 1116840"/>
                  <a:gd name="connsiteY57" fmla="*/ 50006 h 207169"/>
                  <a:gd name="connsiteX58" fmla="*/ 97632 w 1116840"/>
                  <a:gd name="connsiteY58" fmla="*/ 54769 h 207169"/>
                  <a:gd name="connsiteX59" fmla="*/ 80963 w 1116840"/>
                  <a:gd name="connsiteY59" fmla="*/ 57150 h 207169"/>
                  <a:gd name="connsiteX60" fmla="*/ 54769 w 1116840"/>
                  <a:gd name="connsiteY60" fmla="*/ 61912 h 207169"/>
                  <a:gd name="connsiteX61" fmla="*/ 47625 w 1116840"/>
                  <a:gd name="connsiteY61" fmla="*/ 64294 h 207169"/>
                  <a:gd name="connsiteX62" fmla="*/ 23813 w 1116840"/>
                  <a:gd name="connsiteY62" fmla="*/ 71437 h 207169"/>
                  <a:gd name="connsiteX63" fmla="*/ 9525 w 1116840"/>
                  <a:gd name="connsiteY63" fmla="*/ 80962 h 207169"/>
                  <a:gd name="connsiteX64" fmla="*/ 0 w 1116840"/>
                  <a:gd name="connsiteY64" fmla="*/ 104775 h 207169"/>
                  <a:gd name="connsiteX65" fmla="*/ 11907 w 1116840"/>
                  <a:gd name="connsiteY65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966788 w 1116840"/>
                  <a:gd name="connsiteY41" fmla="*/ 35719 h 207169"/>
                  <a:gd name="connsiteX42" fmla="*/ 857250 w 1116840"/>
                  <a:gd name="connsiteY42" fmla="*/ 21431 h 207169"/>
                  <a:gd name="connsiteX43" fmla="*/ 790575 w 1116840"/>
                  <a:gd name="connsiteY43" fmla="*/ 9525 h 207169"/>
                  <a:gd name="connsiteX44" fmla="*/ 702469 w 1116840"/>
                  <a:gd name="connsiteY44" fmla="*/ 7144 h 207169"/>
                  <a:gd name="connsiteX45" fmla="*/ 559594 w 1116840"/>
                  <a:gd name="connsiteY45" fmla="*/ 0 h 207169"/>
                  <a:gd name="connsiteX46" fmla="*/ 338138 w 1116840"/>
                  <a:gd name="connsiteY46" fmla="*/ 2381 h 207169"/>
                  <a:gd name="connsiteX47" fmla="*/ 295275 w 1116840"/>
                  <a:gd name="connsiteY47" fmla="*/ 7144 h 207169"/>
                  <a:gd name="connsiteX48" fmla="*/ 278607 w 1116840"/>
                  <a:gd name="connsiteY48" fmla="*/ 9525 h 207169"/>
                  <a:gd name="connsiteX49" fmla="*/ 269082 w 1116840"/>
                  <a:gd name="connsiteY49" fmla="*/ 11906 h 207169"/>
                  <a:gd name="connsiteX50" fmla="*/ 238125 w 1116840"/>
                  <a:gd name="connsiteY50" fmla="*/ 14287 h 207169"/>
                  <a:gd name="connsiteX51" fmla="*/ 216694 w 1116840"/>
                  <a:gd name="connsiteY51" fmla="*/ 21431 h 207169"/>
                  <a:gd name="connsiteX52" fmla="*/ 195263 w 1116840"/>
                  <a:gd name="connsiteY52" fmla="*/ 26194 h 207169"/>
                  <a:gd name="connsiteX53" fmla="*/ 183357 w 1116840"/>
                  <a:gd name="connsiteY53" fmla="*/ 28575 h 207169"/>
                  <a:gd name="connsiteX54" fmla="*/ 147638 w 1116840"/>
                  <a:gd name="connsiteY54" fmla="*/ 38100 h 207169"/>
                  <a:gd name="connsiteX55" fmla="*/ 128588 w 1116840"/>
                  <a:gd name="connsiteY55" fmla="*/ 45244 h 207169"/>
                  <a:gd name="connsiteX56" fmla="*/ 109538 w 1116840"/>
                  <a:gd name="connsiteY56" fmla="*/ 50006 h 207169"/>
                  <a:gd name="connsiteX57" fmla="*/ 97632 w 1116840"/>
                  <a:gd name="connsiteY57" fmla="*/ 54769 h 207169"/>
                  <a:gd name="connsiteX58" fmla="*/ 80963 w 1116840"/>
                  <a:gd name="connsiteY58" fmla="*/ 57150 h 207169"/>
                  <a:gd name="connsiteX59" fmla="*/ 54769 w 1116840"/>
                  <a:gd name="connsiteY59" fmla="*/ 61912 h 207169"/>
                  <a:gd name="connsiteX60" fmla="*/ 47625 w 1116840"/>
                  <a:gd name="connsiteY60" fmla="*/ 64294 h 207169"/>
                  <a:gd name="connsiteX61" fmla="*/ 23813 w 1116840"/>
                  <a:gd name="connsiteY61" fmla="*/ 71437 h 207169"/>
                  <a:gd name="connsiteX62" fmla="*/ 9525 w 1116840"/>
                  <a:gd name="connsiteY62" fmla="*/ 80962 h 207169"/>
                  <a:gd name="connsiteX63" fmla="*/ 0 w 1116840"/>
                  <a:gd name="connsiteY63" fmla="*/ 104775 h 207169"/>
                  <a:gd name="connsiteX64" fmla="*/ 11907 w 1116840"/>
                  <a:gd name="connsiteY64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966788 w 1116840"/>
                  <a:gd name="connsiteY40" fmla="*/ 35719 h 207169"/>
                  <a:gd name="connsiteX41" fmla="*/ 857250 w 1116840"/>
                  <a:gd name="connsiteY41" fmla="*/ 21431 h 207169"/>
                  <a:gd name="connsiteX42" fmla="*/ 790575 w 1116840"/>
                  <a:gd name="connsiteY42" fmla="*/ 9525 h 207169"/>
                  <a:gd name="connsiteX43" fmla="*/ 702469 w 1116840"/>
                  <a:gd name="connsiteY43" fmla="*/ 7144 h 207169"/>
                  <a:gd name="connsiteX44" fmla="*/ 559594 w 1116840"/>
                  <a:gd name="connsiteY44" fmla="*/ 0 h 207169"/>
                  <a:gd name="connsiteX45" fmla="*/ 338138 w 1116840"/>
                  <a:gd name="connsiteY45" fmla="*/ 2381 h 207169"/>
                  <a:gd name="connsiteX46" fmla="*/ 295275 w 1116840"/>
                  <a:gd name="connsiteY46" fmla="*/ 7144 h 207169"/>
                  <a:gd name="connsiteX47" fmla="*/ 278607 w 1116840"/>
                  <a:gd name="connsiteY47" fmla="*/ 9525 h 207169"/>
                  <a:gd name="connsiteX48" fmla="*/ 269082 w 1116840"/>
                  <a:gd name="connsiteY48" fmla="*/ 11906 h 207169"/>
                  <a:gd name="connsiteX49" fmla="*/ 238125 w 1116840"/>
                  <a:gd name="connsiteY49" fmla="*/ 14287 h 207169"/>
                  <a:gd name="connsiteX50" fmla="*/ 216694 w 1116840"/>
                  <a:gd name="connsiteY50" fmla="*/ 21431 h 207169"/>
                  <a:gd name="connsiteX51" fmla="*/ 195263 w 1116840"/>
                  <a:gd name="connsiteY51" fmla="*/ 26194 h 207169"/>
                  <a:gd name="connsiteX52" fmla="*/ 183357 w 1116840"/>
                  <a:gd name="connsiteY52" fmla="*/ 28575 h 207169"/>
                  <a:gd name="connsiteX53" fmla="*/ 147638 w 1116840"/>
                  <a:gd name="connsiteY53" fmla="*/ 38100 h 207169"/>
                  <a:gd name="connsiteX54" fmla="*/ 128588 w 1116840"/>
                  <a:gd name="connsiteY54" fmla="*/ 45244 h 207169"/>
                  <a:gd name="connsiteX55" fmla="*/ 109538 w 1116840"/>
                  <a:gd name="connsiteY55" fmla="*/ 50006 h 207169"/>
                  <a:gd name="connsiteX56" fmla="*/ 97632 w 1116840"/>
                  <a:gd name="connsiteY56" fmla="*/ 54769 h 207169"/>
                  <a:gd name="connsiteX57" fmla="*/ 80963 w 1116840"/>
                  <a:gd name="connsiteY57" fmla="*/ 57150 h 207169"/>
                  <a:gd name="connsiteX58" fmla="*/ 54769 w 1116840"/>
                  <a:gd name="connsiteY58" fmla="*/ 61912 h 207169"/>
                  <a:gd name="connsiteX59" fmla="*/ 47625 w 1116840"/>
                  <a:gd name="connsiteY59" fmla="*/ 64294 h 207169"/>
                  <a:gd name="connsiteX60" fmla="*/ 23813 w 1116840"/>
                  <a:gd name="connsiteY60" fmla="*/ 71437 h 207169"/>
                  <a:gd name="connsiteX61" fmla="*/ 9525 w 1116840"/>
                  <a:gd name="connsiteY61" fmla="*/ 80962 h 207169"/>
                  <a:gd name="connsiteX62" fmla="*/ 0 w 1116840"/>
                  <a:gd name="connsiteY62" fmla="*/ 104775 h 207169"/>
                  <a:gd name="connsiteX63" fmla="*/ 11907 w 1116840"/>
                  <a:gd name="connsiteY63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966788 w 1116840"/>
                  <a:gd name="connsiteY39" fmla="*/ 35719 h 207169"/>
                  <a:gd name="connsiteX40" fmla="*/ 857250 w 1116840"/>
                  <a:gd name="connsiteY40" fmla="*/ 21431 h 207169"/>
                  <a:gd name="connsiteX41" fmla="*/ 790575 w 1116840"/>
                  <a:gd name="connsiteY41" fmla="*/ 9525 h 207169"/>
                  <a:gd name="connsiteX42" fmla="*/ 702469 w 1116840"/>
                  <a:gd name="connsiteY42" fmla="*/ 7144 h 207169"/>
                  <a:gd name="connsiteX43" fmla="*/ 559594 w 1116840"/>
                  <a:gd name="connsiteY43" fmla="*/ 0 h 207169"/>
                  <a:gd name="connsiteX44" fmla="*/ 338138 w 1116840"/>
                  <a:gd name="connsiteY44" fmla="*/ 2381 h 207169"/>
                  <a:gd name="connsiteX45" fmla="*/ 295275 w 1116840"/>
                  <a:gd name="connsiteY45" fmla="*/ 7144 h 207169"/>
                  <a:gd name="connsiteX46" fmla="*/ 278607 w 1116840"/>
                  <a:gd name="connsiteY46" fmla="*/ 9525 h 207169"/>
                  <a:gd name="connsiteX47" fmla="*/ 269082 w 1116840"/>
                  <a:gd name="connsiteY47" fmla="*/ 11906 h 207169"/>
                  <a:gd name="connsiteX48" fmla="*/ 238125 w 1116840"/>
                  <a:gd name="connsiteY48" fmla="*/ 14287 h 207169"/>
                  <a:gd name="connsiteX49" fmla="*/ 216694 w 1116840"/>
                  <a:gd name="connsiteY49" fmla="*/ 21431 h 207169"/>
                  <a:gd name="connsiteX50" fmla="*/ 195263 w 1116840"/>
                  <a:gd name="connsiteY50" fmla="*/ 26194 h 207169"/>
                  <a:gd name="connsiteX51" fmla="*/ 183357 w 1116840"/>
                  <a:gd name="connsiteY51" fmla="*/ 28575 h 207169"/>
                  <a:gd name="connsiteX52" fmla="*/ 147638 w 1116840"/>
                  <a:gd name="connsiteY52" fmla="*/ 38100 h 207169"/>
                  <a:gd name="connsiteX53" fmla="*/ 128588 w 1116840"/>
                  <a:gd name="connsiteY53" fmla="*/ 45244 h 207169"/>
                  <a:gd name="connsiteX54" fmla="*/ 109538 w 1116840"/>
                  <a:gd name="connsiteY54" fmla="*/ 50006 h 207169"/>
                  <a:gd name="connsiteX55" fmla="*/ 97632 w 1116840"/>
                  <a:gd name="connsiteY55" fmla="*/ 54769 h 207169"/>
                  <a:gd name="connsiteX56" fmla="*/ 80963 w 1116840"/>
                  <a:gd name="connsiteY56" fmla="*/ 57150 h 207169"/>
                  <a:gd name="connsiteX57" fmla="*/ 54769 w 1116840"/>
                  <a:gd name="connsiteY57" fmla="*/ 61912 h 207169"/>
                  <a:gd name="connsiteX58" fmla="*/ 47625 w 1116840"/>
                  <a:gd name="connsiteY58" fmla="*/ 64294 h 207169"/>
                  <a:gd name="connsiteX59" fmla="*/ 23813 w 1116840"/>
                  <a:gd name="connsiteY59" fmla="*/ 71437 h 207169"/>
                  <a:gd name="connsiteX60" fmla="*/ 9525 w 1116840"/>
                  <a:gd name="connsiteY60" fmla="*/ 80962 h 207169"/>
                  <a:gd name="connsiteX61" fmla="*/ 0 w 1116840"/>
                  <a:gd name="connsiteY61" fmla="*/ 104775 h 207169"/>
                  <a:gd name="connsiteX62" fmla="*/ 11907 w 1116840"/>
                  <a:gd name="connsiteY62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83469 w 1117890"/>
                  <a:gd name="connsiteY32" fmla="*/ 130969 h 207169"/>
                  <a:gd name="connsiteX33" fmla="*/ 1090613 w 1117890"/>
                  <a:gd name="connsiteY33" fmla="*/ 123825 h 207169"/>
                  <a:gd name="connsiteX34" fmla="*/ 1100138 w 1117890"/>
                  <a:gd name="connsiteY34" fmla="*/ 119062 h 207169"/>
                  <a:gd name="connsiteX35" fmla="*/ 1116807 w 1117890"/>
                  <a:gd name="connsiteY35" fmla="*/ 95250 h 207169"/>
                  <a:gd name="connsiteX36" fmla="*/ 1114425 w 1117890"/>
                  <a:gd name="connsiteY36" fmla="*/ 85725 h 207169"/>
                  <a:gd name="connsiteX37" fmla="*/ 1054894 w 1117890"/>
                  <a:gd name="connsiteY37" fmla="*/ 61912 h 207169"/>
                  <a:gd name="connsiteX38" fmla="*/ 966788 w 1117890"/>
                  <a:gd name="connsiteY38" fmla="*/ 35719 h 207169"/>
                  <a:gd name="connsiteX39" fmla="*/ 857250 w 1117890"/>
                  <a:gd name="connsiteY39" fmla="*/ 21431 h 207169"/>
                  <a:gd name="connsiteX40" fmla="*/ 790575 w 1117890"/>
                  <a:gd name="connsiteY40" fmla="*/ 9525 h 207169"/>
                  <a:gd name="connsiteX41" fmla="*/ 702469 w 1117890"/>
                  <a:gd name="connsiteY41" fmla="*/ 7144 h 207169"/>
                  <a:gd name="connsiteX42" fmla="*/ 559594 w 1117890"/>
                  <a:gd name="connsiteY42" fmla="*/ 0 h 207169"/>
                  <a:gd name="connsiteX43" fmla="*/ 338138 w 1117890"/>
                  <a:gd name="connsiteY43" fmla="*/ 2381 h 207169"/>
                  <a:gd name="connsiteX44" fmla="*/ 295275 w 1117890"/>
                  <a:gd name="connsiteY44" fmla="*/ 7144 h 207169"/>
                  <a:gd name="connsiteX45" fmla="*/ 278607 w 1117890"/>
                  <a:gd name="connsiteY45" fmla="*/ 9525 h 207169"/>
                  <a:gd name="connsiteX46" fmla="*/ 269082 w 1117890"/>
                  <a:gd name="connsiteY46" fmla="*/ 11906 h 207169"/>
                  <a:gd name="connsiteX47" fmla="*/ 238125 w 1117890"/>
                  <a:gd name="connsiteY47" fmla="*/ 14287 h 207169"/>
                  <a:gd name="connsiteX48" fmla="*/ 216694 w 1117890"/>
                  <a:gd name="connsiteY48" fmla="*/ 21431 h 207169"/>
                  <a:gd name="connsiteX49" fmla="*/ 195263 w 1117890"/>
                  <a:gd name="connsiteY49" fmla="*/ 26194 h 207169"/>
                  <a:gd name="connsiteX50" fmla="*/ 183357 w 1117890"/>
                  <a:gd name="connsiteY50" fmla="*/ 28575 h 207169"/>
                  <a:gd name="connsiteX51" fmla="*/ 147638 w 1117890"/>
                  <a:gd name="connsiteY51" fmla="*/ 38100 h 207169"/>
                  <a:gd name="connsiteX52" fmla="*/ 128588 w 1117890"/>
                  <a:gd name="connsiteY52" fmla="*/ 45244 h 207169"/>
                  <a:gd name="connsiteX53" fmla="*/ 109538 w 1117890"/>
                  <a:gd name="connsiteY53" fmla="*/ 50006 h 207169"/>
                  <a:gd name="connsiteX54" fmla="*/ 97632 w 1117890"/>
                  <a:gd name="connsiteY54" fmla="*/ 54769 h 207169"/>
                  <a:gd name="connsiteX55" fmla="*/ 80963 w 1117890"/>
                  <a:gd name="connsiteY55" fmla="*/ 57150 h 207169"/>
                  <a:gd name="connsiteX56" fmla="*/ 54769 w 1117890"/>
                  <a:gd name="connsiteY56" fmla="*/ 61912 h 207169"/>
                  <a:gd name="connsiteX57" fmla="*/ 47625 w 1117890"/>
                  <a:gd name="connsiteY57" fmla="*/ 64294 h 207169"/>
                  <a:gd name="connsiteX58" fmla="*/ 23813 w 1117890"/>
                  <a:gd name="connsiteY58" fmla="*/ 71437 h 207169"/>
                  <a:gd name="connsiteX59" fmla="*/ 9525 w 1117890"/>
                  <a:gd name="connsiteY59" fmla="*/ 80962 h 207169"/>
                  <a:gd name="connsiteX60" fmla="*/ 0 w 1117890"/>
                  <a:gd name="connsiteY60" fmla="*/ 104775 h 207169"/>
                  <a:gd name="connsiteX61" fmla="*/ 11907 w 1117890"/>
                  <a:gd name="connsiteY61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90613 w 1117890"/>
                  <a:gd name="connsiteY32" fmla="*/ 123825 h 207169"/>
                  <a:gd name="connsiteX33" fmla="*/ 1100138 w 1117890"/>
                  <a:gd name="connsiteY33" fmla="*/ 119062 h 207169"/>
                  <a:gd name="connsiteX34" fmla="*/ 1116807 w 1117890"/>
                  <a:gd name="connsiteY34" fmla="*/ 95250 h 207169"/>
                  <a:gd name="connsiteX35" fmla="*/ 1114425 w 1117890"/>
                  <a:gd name="connsiteY35" fmla="*/ 85725 h 207169"/>
                  <a:gd name="connsiteX36" fmla="*/ 1054894 w 1117890"/>
                  <a:gd name="connsiteY36" fmla="*/ 61912 h 207169"/>
                  <a:gd name="connsiteX37" fmla="*/ 966788 w 1117890"/>
                  <a:gd name="connsiteY37" fmla="*/ 35719 h 207169"/>
                  <a:gd name="connsiteX38" fmla="*/ 857250 w 1117890"/>
                  <a:gd name="connsiteY38" fmla="*/ 21431 h 207169"/>
                  <a:gd name="connsiteX39" fmla="*/ 790575 w 1117890"/>
                  <a:gd name="connsiteY39" fmla="*/ 9525 h 207169"/>
                  <a:gd name="connsiteX40" fmla="*/ 702469 w 1117890"/>
                  <a:gd name="connsiteY40" fmla="*/ 7144 h 207169"/>
                  <a:gd name="connsiteX41" fmla="*/ 559594 w 1117890"/>
                  <a:gd name="connsiteY41" fmla="*/ 0 h 207169"/>
                  <a:gd name="connsiteX42" fmla="*/ 338138 w 1117890"/>
                  <a:gd name="connsiteY42" fmla="*/ 2381 h 207169"/>
                  <a:gd name="connsiteX43" fmla="*/ 295275 w 1117890"/>
                  <a:gd name="connsiteY43" fmla="*/ 7144 h 207169"/>
                  <a:gd name="connsiteX44" fmla="*/ 278607 w 1117890"/>
                  <a:gd name="connsiteY44" fmla="*/ 9525 h 207169"/>
                  <a:gd name="connsiteX45" fmla="*/ 269082 w 1117890"/>
                  <a:gd name="connsiteY45" fmla="*/ 11906 h 207169"/>
                  <a:gd name="connsiteX46" fmla="*/ 238125 w 1117890"/>
                  <a:gd name="connsiteY46" fmla="*/ 14287 h 207169"/>
                  <a:gd name="connsiteX47" fmla="*/ 216694 w 1117890"/>
                  <a:gd name="connsiteY47" fmla="*/ 21431 h 207169"/>
                  <a:gd name="connsiteX48" fmla="*/ 195263 w 1117890"/>
                  <a:gd name="connsiteY48" fmla="*/ 26194 h 207169"/>
                  <a:gd name="connsiteX49" fmla="*/ 183357 w 1117890"/>
                  <a:gd name="connsiteY49" fmla="*/ 28575 h 207169"/>
                  <a:gd name="connsiteX50" fmla="*/ 147638 w 1117890"/>
                  <a:gd name="connsiteY50" fmla="*/ 38100 h 207169"/>
                  <a:gd name="connsiteX51" fmla="*/ 128588 w 1117890"/>
                  <a:gd name="connsiteY51" fmla="*/ 45244 h 207169"/>
                  <a:gd name="connsiteX52" fmla="*/ 109538 w 1117890"/>
                  <a:gd name="connsiteY52" fmla="*/ 50006 h 207169"/>
                  <a:gd name="connsiteX53" fmla="*/ 97632 w 1117890"/>
                  <a:gd name="connsiteY53" fmla="*/ 54769 h 207169"/>
                  <a:gd name="connsiteX54" fmla="*/ 80963 w 1117890"/>
                  <a:gd name="connsiteY54" fmla="*/ 57150 h 207169"/>
                  <a:gd name="connsiteX55" fmla="*/ 54769 w 1117890"/>
                  <a:gd name="connsiteY55" fmla="*/ 61912 h 207169"/>
                  <a:gd name="connsiteX56" fmla="*/ 47625 w 1117890"/>
                  <a:gd name="connsiteY56" fmla="*/ 64294 h 207169"/>
                  <a:gd name="connsiteX57" fmla="*/ 23813 w 1117890"/>
                  <a:gd name="connsiteY57" fmla="*/ 71437 h 207169"/>
                  <a:gd name="connsiteX58" fmla="*/ 9525 w 1117890"/>
                  <a:gd name="connsiteY58" fmla="*/ 80962 h 207169"/>
                  <a:gd name="connsiteX59" fmla="*/ 0 w 1117890"/>
                  <a:gd name="connsiteY59" fmla="*/ 104775 h 207169"/>
                  <a:gd name="connsiteX60" fmla="*/ 11907 w 1117890"/>
                  <a:gd name="connsiteY60" fmla="*/ 111919 h 207169"/>
                  <a:gd name="connsiteX0" fmla="*/ 11907 w 1118595"/>
                  <a:gd name="connsiteY0" fmla="*/ 111919 h 207169"/>
                  <a:gd name="connsiteX1" fmla="*/ 23813 w 1118595"/>
                  <a:gd name="connsiteY1" fmla="*/ 121444 h 207169"/>
                  <a:gd name="connsiteX2" fmla="*/ 28575 w 1118595"/>
                  <a:gd name="connsiteY2" fmla="*/ 128587 h 207169"/>
                  <a:gd name="connsiteX3" fmla="*/ 40482 w 1118595"/>
                  <a:gd name="connsiteY3" fmla="*/ 135731 h 207169"/>
                  <a:gd name="connsiteX4" fmla="*/ 47625 w 1118595"/>
                  <a:gd name="connsiteY4" fmla="*/ 140494 h 207169"/>
                  <a:gd name="connsiteX5" fmla="*/ 78582 w 1118595"/>
                  <a:gd name="connsiteY5" fmla="*/ 145256 h 207169"/>
                  <a:gd name="connsiteX6" fmla="*/ 104775 w 1118595"/>
                  <a:gd name="connsiteY6" fmla="*/ 150019 h 207169"/>
                  <a:gd name="connsiteX7" fmla="*/ 128588 w 1118595"/>
                  <a:gd name="connsiteY7" fmla="*/ 152400 h 207169"/>
                  <a:gd name="connsiteX8" fmla="*/ 161925 w 1118595"/>
                  <a:gd name="connsiteY8" fmla="*/ 161925 h 207169"/>
                  <a:gd name="connsiteX9" fmla="*/ 178594 w 1118595"/>
                  <a:gd name="connsiteY9" fmla="*/ 164306 h 207169"/>
                  <a:gd name="connsiteX10" fmla="*/ 202407 w 1118595"/>
                  <a:gd name="connsiteY10" fmla="*/ 169069 h 207169"/>
                  <a:gd name="connsiteX11" fmla="*/ 209550 w 1118595"/>
                  <a:gd name="connsiteY11" fmla="*/ 171450 h 207169"/>
                  <a:gd name="connsiteX12" fmla="*/ 238125 w 1118595"/>
                  <a:gd name="connsiteY12" fmla="*/ 178594 h 207169"/>
                  <a:gd name="connsiteX13" fmla="*/ 285750 w 1118595"/>
                  <a:gd name="connsiteY13" fmla="*/ 192881 h 207169"/>
                  <a:gd name="connsiteX14" fmla="*/ 378619 w 1118595"/>
                  <a:gd name="connsiteY14" fmla="*/ 195262 h 207169"/>
                  <a:gd name="connsiteX15" fmla="*/ 402432 w 1118595"/>
                  <a:gd name="connsiteY15" fmla="*/ 200025 h 207169"/>
                  <a:gd name="connsiteX16" fmla="*/ 457200 w 1118595"/>
                  <a:gd name="connsiteY16" fmla="*/ 207169 h 207169"/>
                  <a:gd name="connsiteX17" fmla="*/ 604838 w 1118595"/>
                  <a:gd name="connsiteY17" fmla="*/ 204787 h 207169"/>
                  <a:gd name="connsiteX18" fmla="*/ 623888 w 1118595"/>
                  <a:gd name="connsiteY18" fmla="*/ 200025 h 207169"/>
                  <a:gd name="connsiteX19" fmla="*/ 676275 w 1118595"/>
                  <a:gd name="connsiteY19" fmla="*/ 197644 h 207169"/>
                  <a:gd name="connsiteX20" fmla="*/ 697707 w 1118595"/>
                  <a:gd name="connsiteY20" fmla="*/ 192881 h 207169"/>
                  <a:gd name="connsiteX21" fmla="*/ 707232 w 1118595"/>
                  <a:gd name="connsiteY21" fmla="*/ 190500 h 207169"/>
                  <a:gd name="connsiteX22" fmla="*/ 797719 w 1118595"/>
                  <a:gd name="connsiteY22" fmla="*/ 188119 h 207169"/>
                  <a:gd name="connsiteX23" fmla="*/ 823913 w 1118595"/>
                  <a:gd name="connsiteY23" fmla="*/ 180975 h 207169"/>
                  <a:gd name="connsiteX24" fmla="*/ 842963 w 1118595"/>
                  <a:gd name="connsiteY24" fmla="*/ 176212 h 207169"/>
                  <a:gd name="connsiteX25" fmla="*/ 866775 w 1118595"/>
                  <a:gd name="connsiteY25" fmla="*/ 173831 h 207169"/>
                  <a:gd name="connsiteX26" fmla="*/ 940594 w 1118595"/>
                  <a:gd name="connsiteY26" fmla="*/ 169069 h 207169"/>
                  <a:gd name="connsiteX27" fmla="*/ 971550 w 1118595"/>
                  <a:gd name="connsiteY27" fmla="*/ 166687 h 207169"/>
                  <a:gd name="connsiteX28" fmla="*/ 992982 w 1118595"/>
                  <a:gd name="connsiteY28" fmla="*/ 161925 h 207169"/>
                  <a:gd name="connsiteX29" fmla="*/ 1007269 w 1118595"/>
                  <a:gd name="connsiteY29" fmla="*/ 159544 h 207169"/>
                  <a:gd name="connsiteX30" fmla="*/ 1035844 w 1118595"/>
                  <a:gd name="connsiteY30" fmla="*/ 152400 h 207169"/>
                  <a:gd name="connsiteX31" fmla="*/ 1052513 w 1118595"/>
                  <a:gd name="connsiteY31" fmla="*/ 142875 h 207169"/>
                  <a:gd name="connsiteX32" fmla="*/ 1090613 w 1118595"/>
                  <a:gd name="connsiteY32" fmla="*/ 123825 h 207169"/>
                  <a:gd name="connsiteX33" fmla="*/ 1116807 w 1118595"/>
                  <a:gd name="connsiteY33" fmla="*/ 95250 h 207169"/>
                  <a:gd name="connsiteX34" fmla="*/ 1114425 w 1118595"/>
                  <a:gd name="connsiteY34" fmla="*/ 85725 h 207169"/>
                  <a:gd name="connsiteX35" fmla="*/ 1054894 w 1118595"/>
                  <a:gd name="connsiteY35" fmla="*/ 61912 h 207169"/>
                  <a:gd name="connsiteX36" fmla="*/ 966788 w 1118595"/>
                  <a:gd name="connsiteY36" fmla="*/ 35719 h 207169"/>
                  <a:gd name="connsiteX37" fmla="*/ 857250 w 1118595"/>
                  <a:gd name="connsiteY37" fmla="*/ 21431 h 207169"/>
                  <a:gd name="connsiteX38" fmla="*/ 790575 w 1118595"/>
                  <a:gd name="connsiteY38" fmla="*/ 9525 h 207169"/>
                  <a:gd name="connsiteX39" fmla="*/ 702469 w 1118595"/>
                  <a:gd name="connsiteY39" fmla="*/ 7144 h 207169"/>
                  <a:gd name="connsiteX40" fmla="*/ 559594 w 1118595"/>
                  <a:gd name="connsiteY40" fmla="*/ 0 h 207169"/>
                  <a:gd name="connsiteX41" fmla="*/ 338138 w 1118595"/>
                  <a:gd name="connsiteY41" fmla="*/ 2381 h 207169"/>
                  <a:gd name="connsiteX42" fmla="*/ 295275 w 1118595"/>
                  <a:gd name="connsiteY42" fmla="*/ 7144 h 207169"/>
                  <a:gd name="connsiteX43" fmla="*/ 278607 w 1118595"/>
                  <a:gd name="connsiteY43" fmla="*/ 9525 h 207169"/>
                  <a:gd name="connsiteX44" fmla="*/ 269082 w 1118595"/>
                  <a:gd name="connsiteY44" fmla="*/ 11906 h 207169"/>
                  <a:gd name="connsiteX45" fmla="*/ 238125 w 1118595"/>
                  <a:gd name="connsiteY45" fmla="*/ 14287 h 207169"/>
                  <a:gd name="connsiteX46" fmla="*/ 216694 w 1118595"/>
                  <a:gd name="connsiteY46" fmla="*/ 21431 h 207169"/>
                  <a:gd name="connsiteX47" fmla="*/ 195263 w 1118595"/>
                  <a:gd name="connsiteY47" fmla="*/ 26194 h 207169"/>
                  <a:gd name="connsiteX48" fmla="*/ 183357 w 1118595"/>
                  <a:gd name="connsiteY48" fmla="*/ 28575 h 207169"/>
                  <a:gd name="connsiteX49" fmla="*/ 147638 w 1118595"/>
                  <a:gd name="connsiteY49" fmla="*/ 38100 h 207169"/>
                  <a:gd name="connsiteX50" fmla="*/ 128588 w 1118595"/>
                  <a:gd name="connsiteY50" fmla="*/ 45244 h 207169"/>
                  <a:gd name="connsiteX51" fmla="*/ 109538 w 1118595"/>
                  <a:gd name="connsiteY51" fmla="*/ 50006 h 207169"/>
                  <a:gd name="connsiteX52" fmla="*/ 97632 w 1118595"/>
                  <a:gd name="connsiteY52" fmla="*/ 54769 h 207169"/>
                  <a:gd name="connsiteX53" fmla="*/ 80963 w 1118595"/>
                  <a:gd name="connsiteY53" fmla="*/ 57150 h 207169"/>
                  <a:gd name="connsiteX54" fmla="*/ 54769 w 1118595"/>
                  <a:gd name="connsiteY54" fmla="*/ 61912 h 207169"/>
                  <a:gd name="connsiteX55" fmla="*/ 47625 w 1118595"/>
                  <a:gd name="connsiteY55" fmla="*/ 64294 h 207169"/>
                  <a:gd name="connsiteX56" fmla="*/ 23813 w 1118595"/>
                  <a:gd name="connsiteY56" fmla="*/ 71437 h 207169"/>
                  <a:gd name="connsiteX57" fmla="*/ 9525 w 1118595"/>
                  <a:gd name="connsiteY57" fmla="*/ 80962 h 207169"/>
                  <a:gd name="connsiteX58" fmla="*/ 0 w 1118595"/>
                  <a:gd name="connsiteY58" fmla="*/ 104775 h 207169"/>
                  <a:gd name="connsiteX59" fmla="*/ 11907 w 1118595"/>
                  <a:gd name="connsiteY5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992982 w 1121416"/>
                  <a:gd name="connsiteY28" fmla="*/ 161925 h 207169"/>
                  <a:gd name="connsiteX29" fmla="*/ 1007269 w 1121416"/>
                  <a:gd name="connsiteY29" fmla="*/ 159544 h 207169"/>
                  <a:gd name="connsiteX30" fmla="*/ 1035844 w 1121416"/>
                  <a:gd name="connsiteY30" fmla="*/ 152400 h 207169"/>
                  <a:gd name="connsiteX31" fmla="*/ 1052513 w 1121416"/>
                  <a:gd name="connsiteY31" fmla="*/ 142875 h 207169"/>
                  <a:gd name="connsiteX32" fmla="*/ 1116807 w 1121416"/>
                  <a:gd name="connsiteY32" fmla="*/ 95250 h 207169"/>
                  <a:gd name="connsiteX33" fmla="*/ 1114425 w 1121416"/>
                  <a:gd name="connsiteY33" fmla="*/ 85725 h 207169"/>
                  <a:gd name="connsiteX34" fmla="*/ 1054894 w 1121416"/>
                  <a:gd name="connsiteY34" fmla="*/ 61912 h 207169"/>
                  <a:gd name="connsiteX35" fmla="*/ 966788 w 1121416"/>
                  <a:gd name="connsiteY35" fmla="*/ 35719 h 207169"/>
                  <a:gd name="connsiteX36" fmla="*/ 857250 w 1121416"/>
                  <a:gd name="connsiteY36" fmla="*/ 21431 h 207169"/>
                  <a:gd name="connsiteX37" fmla="*/ 790575 w 1121416"/>
                  <a:gd name="connsiteY37" fmla="*/ 9525 h 207169"/>
                  <a:gd name="connsiteX38" fmla="*/ 702469 w 1121416"/>
                  <a:gd name="connsiteY38" fmla="*/ 7144 h 207169"/>
                  <a:gd name="connsiteX39" fmla="*/ 559594 w 1121416"/>
                  <a:gd name="connsiteY39" fmla="*/ 0 h 207169"/>
                  <a:gd name="connsiteX40" fmla="*/ 338138 w 1121416"/>
                  <a:gd name="connsiteY40" fmla="*/ 2381 h 207169"/>
                  <a:gd name="connsiteX41" fmla="*/ 295275 w 1121416"/>
                  <a:gd name="connsiteY41" fmla="*/ 7144 h 207169"/>
                  <a:gd name="connsiteX42" fmla="*/ 278607 w 1121416"/>
                  <a:gd name="connsiteY42" fmla="*/ 9525 h 207169"/>
                  <a:gd name="connsiteX43" fmla="*/ 269082 w 1121416"/>
                  <a:gd name="connsiteY43" fmla="*/ 11906 h 207169"/>
                  <a:gd name="connsiteX44" fmla="*/ 238125 w 1121416"/>
                  <a:gd name="connsiteY44" fmla="*/ 14287 h 207169"/>
                  <a:gd name="connsiteX45" fmla="*/ 216694 w 1121416"/>
                  <a:gd name="connsiteY45" fmla="*/ 21431 h 207169"/>
                  <a:gd name="connsiteX46" fmla="*/ 195263 w 1121416"/>
                  <a:gd name="connsiteY46" fmla="*/ 26194 h 207169"/>
                  <a:gd name="connsiteX47" fmla="*/ 183357 w 1121416"/>
                  <a:gd name="connsiteY47" fmla="*/ 28575 h 207169"/>
                  <a:gd name="connsiteX48" fmla="*/ 147638 w 1121416"/>
                  <a:gd name="connsiteY48" fmla="*/ 38100 h 207169"/>
                  <a:gd name="connsiteX49" fmla="*/ 128588 w 1121416"/>
                  <a:gd name="connsiteY49" fmla="*/ 45244 h 207169"/>
                  <a:gd name="connsiteX50" fmla="*/ 109538 w 1121416"/>
                  <a:gd name="connsiteY50" fmla="*/ 50006 h 207169"/>
                  <a:gd name="connsiteX51" fmla="*/ 97632 w 1121416"/>
                  <a:gd name="connsiteY51" fmla="*/ 54769 h 207169"/>
                  <a:gd name="connsiteX52" fmla="*/ 80963 w 1121416"/>
                  <a:gd name="connsiteY52" fmla="*/ 57150 h 207169"/>
                  <a:gd name="connsiteX53" fmla="*/ 54769 w 1121416"/>
                  <a:gd name="connsiteY53" fmla="*/ 61912 h 207169"/>
                  <a:gd name="connsiteX54" fmla="*/ 47625 w 1121416"/>
                  <a:gd name="connsiteY54" fmla="*/ 64294 h 207169"/>
                  <a:gd name="connsiteX55" fmla="*/ 23813 w 1121416"/>
                  <a:gd name="connsiteY55" fmla="*/ 71437 h 207169"/>
                  <a:gd name="connsiteX56" fmla="*/ 9525 w 1121416"/>
                  <a:gd name="connsiteY56" fmla="*/ 80962 h 207169"/>
                  <a:gd name="connsiteX57" fmla="*/ 0 w 1121416"/>
                  <a:gd name="connsiteY57" fmla="*/ 104775 h 207169"/>
                  <a:gd name="connsiteX58" fmla="*/ 11907 w 1121416"/>
                  <a:gd name="connsiteY5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07269 w 1121416"/>
                  <a:gd name="connsiteY28" fmla="*/ 159544 h 207169"/>
                  <a:gd name="connsiteX29" fmla="*/ 1035844 w 1121416"/>
                  <a:gd name="connsiteY29" fmla="*/ 152400 h 207169"/>
                  <a:gd name="connsiteX30" fmla="*/ 1052513 w 1121416"/>
                  <a:gd name="connsiteY30" fmla="*/ 142875 h 207169"/>
                  <a:gd name="connsiteX31" fmla="*/ 1116807 w 1121416"/>
                  <a:gd name="connsiteY31" fmla="*/ 95250 h 207169"/>
                  <a:gd name="connsiteX32" fmla="*/ 1114425 w 1121416"/>
                  <a:gd name="connsiteY32" fmla="*/ 85725 h 207169"/>
                  <a:gd name="connsiteX33" fmla="*/ 1054894 w 1121416"/>
                  <a:gd name="connsiteY33" fmla="*/ 61912 h 207169"/>
                  <a:gd name="connsiteX34" fmla="*/ 966788 w 1121416"/>
                  <a:gd name="connsiteY34" fmla="*/ 35719 h 207169"/>
                  <a:gd name="connsiteX35" fmla="*/ 857250 w 1121416"/>
                  <a:gd name="connsiteY35" fmla="*/ 21431 h 207169"/>
                  <a:gd name="connsiteX36" fmla="*/ 790575 w 1121416"/>
                  <a:gd name="connsiteY36" fmla="*/ 9525 h 207169"/>
                  <a:gd name="connsiteX37" fmla="*/ 702469 w 1121416"/>
                  <a:gd name="connsiteY37" fmla="*/ 7144 h 207169"/>
                  <a:gd name="connsiteX38" fmla="*/ 559594 w 1121416"/>
                  <a:gd name="connsiteY38" fmla="*/ 0 h 207169"/>
                  <a:gd name="connsiteX39" fmla="*/ 338138 w 1121416"/>
                  <a:gd name="connsiteY39" fmla="*/ 2381 h 207169"/>
                  <a:gd name="connsiteX40" fmla="*/ 295275 w 1121416"/>
                  <a:gd name="connsiteY40" fmla="*/ 7144 h 207169"/>
                  <a:gd name="connsiteX41" fmla="*/ 278607 w 1121416"/>
                  <a:gd name="connsiteY41" fmla="*/ 9525 h 207169"/>
                  <a:gd name="connsiteX42" fmla="*/ 269082 w 1121416"/>
                  <a:gd name="connsiteY42" fmla="*/ 11906 h 207169"/>
                  <a:gd name="connsiteX43" fmla="*/ 238125 w 1121416"/>
                  <a:gd name="connsiteY43" fmla="*/ 14287 h 207169"/>
                  <a:gd name="connsiteX44" fmla="*/ 216694 w 1121416"/>
                  <a:gd name="connsiteY44" fmla="*/ 21431 h 207169"/>
                  <a:gd name="connsiteX45" fmla="*/ 195263 w 1121416"/>
                  <a:gd name="connsiteY45" fmla="*/ 26194 h 207169"/>
                  <a:gd name="connsiteX46" fmla="*/ 183357 w 1121416"/>
                  <a:gd name="connsiteY46" fmla="*/ 28575 h 207169"/>
                  <a:gd name="connsiteX47" fmla="*/ 147638 w 1121416"/>
                  <a:gd name="connsiteY47" fmla="*/ 38100 h 207169"/>
                  <a:gd name="connsiteX48" fmla="*/ 128588 w 1121416"/>
                  <a:gd name="connsiteY48" fmla="*/ 45244 h 207169"/>
                  <a:gd name="connsiteX49" fmla="*/ 109538 w 1121416"/>
                  <a:gd name="connsiteY49" fmla="*/ 50006 h 207169"/>
                  <a:gd name="connsiteX50" fmla="*/ 97632 w 1121416"/>
                  <a:gd name="connsiteY50" fmla="*/ 54769 h 207169"/>
                  <a:gd name="connsiteX51" fmla="*/ 80963 w 1121416"/>
                  <a:gd name="connsiteY51" fmla="*/ 57150 h 207169"/>
                  <a:gd name="connsiteX52" fmla="*/ 54769 w 1121416"/>
                  <a:gd name="connsiteY52" fmla="*/ 61912 h 207169"/>
                  <a:gd name="connsiteX53" fmla="*/ 47625 w 1121416"/>
                  <a:gd name="connsiteY53" fmla="*/ 64294 h 207169"/>
                  <a:gd name="connsiteX54" fmla="*/ 23813 w 1121416"/>
                  <a:gd name="connsiteY54" fmla="*/ 71437 h 207169"/>
                  <a:gd name="connsiteX55" fmla="*/ 9525 w 1121416"/>
                  <a:gd name="connsiteY55" fmla="*/ 80962 h 207169"/>
                  <a:gd name="connsiteX56" fmla="*/ 0 w 1121416"/>
                  <a:gd name="connsiteY56" fmla="*/ 104775 h 207169"/>
                  <a:gd name="connsiteX57" fmla="*/ 11907 w 1121416"/>
                  <a:gd name="connsiteY5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35844 w 1121416"/>
                  <a:gd name="connsiteY28" fmla="*/ 152400 h 207169"/>
                  <a:gd name="connsiteX29" fmla="*/ 1052513 w 1121416"/>
                  <a:gd name="connsiteY29" fmla="*/ 142875 h 207169"/>
                  <a:gd name="connsiteX30" fmla="*/ 1116807 w 1121416"/>
                  <a:gd name="connsiteY30" fmla="*/ 95250 h 207169"/>
                  <a:gd name="connsiteX31" fmla="*/ 1114425 w 1121416"/>
                  <a:gd name="connsiteY31" fmla="*/ 85725 h 207169"/>
                  <a:gd name="connsiteX32" fmla="*/ 1054894 w 1121416"/>
                  <a:gd name="connsiteY32" fmla="*/ 61912 h 207169"/>
                  <a:gd name="connsiteX33" fmla="*/ 966788 w 1121416"/>
                  <a:gd name="connsiteY33" fmla="*/ 35719 h 207169"/>
                  <a:gd name="connsiteX34" fmla="*/ 857250 w 1121416"/>
                  <a:gd name="connsiteY34" fmla="*/ 21431 h 207169"/>
                  <a:gd name="connsiteX35" fmla="*/ 790575 w 1121416"/>
                  <a:gd name="connsiteY35" fmla="*/ 9525 h 207169"/>
                  <a:gd name="connsiteX36" fmla="*/ 702469 w 1121416"/>
                  <a:gd name="connsiteY36" fmla="*/ 7144 h 207169"/>
                  <a:gd name="connsiteX37" fmla="*/ 559594 w 1121416"/>
                  <a:gd name="connsiteY37" fmla="*/ 0 h 207169"/>
                  <a:gd name="connsiteX38" fmla="*/ 338138 w 1121416"/>
                  <a:gd name="connsiteY38" fmla="*/ 2381 h 207169"/>
                  <a:gd name="connsiteX39" fmla="*/ 295275 w 1121416"/>
                  <a:gd name="connsiteY39" fmla="*/ 7144 h 207169"/>
                  <a:gd name="connsiteX40" fmla="*/ 278607 w 1121416"/>
                  <a:gd name="connsiteY40" fmla="*/ 9525 h 207169"/>
                  <a:gd name="connsiteX41" fmla="*/ 269082 w 1121416"/>
                  <a:gd name="connsiteY41" fmla="*/ 11906 h 207169"/>
                  <a:gd name="connsiteX42" fmla="*/ 238125 w 1121416"/>
                  <a:gd name="connsiteY42" fmla="*/ 14287 h 207169"/>
                  <a:gd name="connsiteX43" fmla="*/ 216694 w 1121416"/>
                  <a:gd name="connsiteY43" fmla="*/ 21431 h 207169"/>
                  <a:gd name="connsiteX44" fmla="*/ 195263 w 1121416"/>
                  <a:gd name="connsiteY44" fmla="*/ 26194 h 207169"/>
                  <a:gd name="connsiteX45" fmla="*/ 183357 w 1121416"/>
                  <a:gd name="connsiteY45" fmla="*/ 28575 h 207169"/>
                  <a:gd name="connsiteX46" fmla="*/ 147638 w 1121416"/>
                  <a:gd name="connsiteY46" fmla="*/ 38100 h 207169"/>
                  <a:gd name="connsiteX47" fmla="*/ 128588 w 1121416"/>
                  <a:gd name="connsiteY47" fmla="*/ 45244 h 207169"/>
                  <a:gd name="connsiteX48" fmla="*/ 109538 w 1121416"/>
                  <a:gd name="connsiteY48" fmla="*/ 50006 h 207169"/>
                  <a:gd name="connsiteX49" fmla="*/ 97632 w 1121416"/>
                  <a:gd name="connsiteY49" fmla="*/ 54769 h 207169"/>
                  <a:gd name="connsiteX50" fmla="*/ 80963 w 1121416"/>
                  <a:gd name="connsiteY50" fmla="*/ 57150 h 207169"/>
                  <a:gd name="connsiteX51" fmla="*/ 54769 w 1121416"/>
                  <a:gd name="connsiteY51" fmla="*/ 61912 h 207169"/>
                  <a:gd name="connsiteX52" fmla="*/ 47625 w 1121416"/>
                  <a:gd name="connsiteY52" fmla="*/ 64294 h 207169"/>
                  <a:gd name="connsiteX53" fmla="*/ 23813 w 1121416"/>
                  <a:gd name="connsiteY53" fmla="*/ 71437 h 207169"/>
                  <a:gd name="connsiteX54" fmla="*/ 9525 w 1121416"/>
                  <a:gd name="connsiteY54" fmla="*/ 80962 h 207169"/>
                  <a:gd name="connsiteX55" fmla="*/ 0 w 1121416"/>
                  <a:gd name="connsiteY55" fmla="*/ 104775 h 207169"/>
                  <a:gd name="connsiteX56" fmla="*/ 11907 w 1121416"/>
                  <a:gd name="connsiteY5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52513 w 1121416"/>
                  <a:gd name="connsiteY28" fmla="*/ 142875 h 207169"/>
                  <a:gd name="connsiteX29" fmla="*/ 1116807 w 1121416"/>
                  <a:gd name="connsiteY29" fmla="*/ 95250 h 207169"/>
                  <a:gd name="connsiteX30" fmla="*/ 1114425 w 1121416"/>
                  <a:gd name="connsiteY30" fmla="*/ 85725 h 207169"/>
                  <a:gd name="connsiteX31" fmla="*/ 1054894 w 1121416"/>
                  <a:gd name="connsiteY31" fmla="*/ 61912 h 207169"/>
                  <a:gd name="connsiteX32" fmla="*/ 966788 w 1121416"/>
                  <a:gd name="connsiteY32" fmla="*/ 35719 h 207169"/>
                  <a:gd name="connsiteX33" fmla="*/ 857250 w 1121416"/>
                  <a:gd name="connsiteY33" fmla="*/ 21431 h 207169"/>
                  <a:gd name="connsiteX34" fmla="*/ 790575 w 1121416"/>
                  <a:gd name="connsiteY34" fmla="*/ 9525 h 207169"/>
                  <a:gd name="connsiteX35" fmla="*/ 702469 w 1121416"/>
                  <a:gd name="connsiteY35" fmla="*/ 7144 h 207169"/>
                  <a:gd name="connsiteX36" fmla="*/ 559594 w 1121416"/>
                  <a:gd name="connsiteY36" fmla="*/ 0 h 207169"/>
                  <a:gd name="connsiteX37" fmla="*/ 338138 w 1121416"/>
                  <a:gd name="connsiteY37" fmla="*/ 2381 h 207169"/>
                  <a:gd name="connsiteX38" fmla="*/ 295275 w 1121416"/>
                  <a:gd name="connsiteY38" fmla="*/ 7144 h 207169"/>
                  <a:gd name="connsiteX39" fmla="*/ 278607 w 1121416"/>
                  <a:gd name="connsiteY39" fmla="*/ 9525 h 207169"/>
                  <a:gd name="connsiteX40" fmla="*/ 269082 w 1121416"/>
                  <a:gd name="connsiteY40" fmla="*/ 11906 h 207169"/>
                  <a:gd name="connsiteX41" fmla="*/ 238125 w 1121416"/>
                  <a:gd name="connsiteY41" fmla="*/ 14287 h 207169"/>
                  <a:gd name="connsiteX42" fmla="*/ 216694 w 1121416"/>
                  <a:gd name="connsiteY42" fmla="*/ 21431 h 207169"/>
                  <a:gd name="connsiteX43" fmla="*/ 195263 w 1121416"/>
                  <a:gd name="connsiteY43" fmla="*/ 26194 h 207169"/>
                  <a:gd name="connsiteX44" fmla="*/ 183357 w 1121416"/>
                  <a:gd name="connsiteY44" fmla="*/ 28575 h 207169"/>
                  <a:gd name="connsiteX45" fmla="*/ 147638 w 1121416"/>
                  <a:gd name="connsiteY45" fmla="*/ 38100 h 207169"/>
                  <a:gd name="connsiteX46" fmla="*/ 128588 w 1121416"/>
                  <a:gd name="connsiteY46" fmla="*/ 45244 h 207169"/>
                  <a:gd name="connsiteX47" fmla="*/ 109538 w 1121416"/>
                  <a:gd name="connsiteY47" fmla="*/ 50006 h 207169"/>
                  <a:gd name="connsiteX48" fmla="*/ 97632 w 1121416"/>
                  <a:gd name="connsiteY48" fmla="*/ 54769 h 207169"/>
                  <a:gd name="connsiteX49" fmla="*/ 80963 w 1121416"/>
                  <a:gd name="connsiteY49" fmla="*/ 57150 h 207169"/>
                  <a:gd name="connsiteX50" fmla="*/ 54769 w 1121416"/>
                  <a:gd name="connsiteY50" fmla="*/ 61912 h 207169"/>
                  <a:gd name="connsiteX51" fmla="*/ 47625 w 1121416"/>
                  <a:gd name="connsiteY51" fmla="*/ 64294 h 207169"/>
                  <a:gd name="connsiteX52" fmla="*/ 23813 w 1121416"/>
                  <a:gd name="connsiteY52" fmla="*/ 71437 h 207169"/>
                  <a:gd name="connsiteX53" fmla="*/ 9525 w 1121416"/>
                  <a:gd name="connsiteY53" fmla="*/ 80962 h 207169"/>
                  <a:gd name="connsiteX54" fmla="*/ 0 w 1121416"/>
                  <a:gd name="connsiteY54" fmla="*/ 104775 h 207169"/>
                  <a:gd name="connsiteX55" fmla="*/ 11907 w 1121416"/>
                  <a:gd name="connsiteY5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66775 w 1121416"/>
                  <a:gd name="connsiteY24" fmla="*/ 173831 h 207169"/>
                  <a:gd name="connsiteX25" fmla="*/ 940594 w 1121416"/>
                  <a:gd name="connsiteY25" fmla="*/ 169069 h 207169"/>
                  <a:gd name="connsiteX26" fmla="*/ 971550 w 1121416"/>
                  <a:gd name="connsiteY26" fmla="*/ 166687 h 207169"/>
                  <a:gd name="connsiteX27" fmla="*/ 1052513 w 1121416"/>
                  <a:gd name="connsiteY27" fmla="*/ 142875 h 207169"/>
                  <a:gd name="connsiteX28" fmla="*/ 1116807 w 1121416"/>
                  <a:gd name="connsiteY28" fmla="*/ 95250 h 207169"/>
                  <a:gd name="connsiteX29" fmla="*/ 1114425 w 1121416"/>
                  <a:gd name="connsiteY29" fmla="*/ 85725 h 207169"/>
                  <a:gd name="connsiteX30" fmla="*/ 1054894 w 1121416"/>
                  <a:gd name="connsiteY30" fmla="*/ 61912 h 207169"/>
                  <a:gd name="connsiteX31" fmla="*/ 966788 w 1121416"/>
                  <a:gd name="connsiteY31" fmla="*/ 35719 h 207169"/>
                  <a:gd name="connsiteX32" fmla="*/ 857250 w 1121416"/>
                  <a:gd name="connsiteY32" fmla="*/ 21431 h 207169"/>
                  <a:gd name="connsiteX33" fmla="*/ 790575 w 1121416"/>
                  <a:gd name="connsiteY33" fmla="*/ 9525 h 207169"/>
                  <a:gd name="connsiteX34" fmla="*/ 702469 w 1121416"/>
                  <a:gd name="connsiteY34" fmla="*/ 7144 h 207169"/>
                  <a:gd name="connsiteX35" fmla="*/ 559594 w 1121416"/>
                  <a:gd name="connsiteY35" fmla="*/ 0 h 207169"/>
                  <a:gd name="connsiteX36" fmla="*/ 338138 w 1121416"/>
                  <a:gd name="connsiteY36" fmla="*/ 2381 h 207169"/>
                  <a:gd name="connsiteX37" fmla="*/ 295275 w 1121416"/>
                  <a:gd name="connsiteY37" fmla="*/ 7144 h 207169"/>
                  <a:gd name="connsiteX38" fmla="*/ 278607 w 1121416"/>
                  <a:gd name="connsiteY38" fmla="*/ 9525 h 207169"/>
                  <a:gd name="connsiteX39" fmla="*/ 269082 w 1121416"/>
                  <a:gd name="connsiteY39" fmla="*/ 11906 h 207169"/>
                  <a:gd name="connsiteX40" fmla="*/ 238125 w 1121416"/>
                  <a:gd name="connsiteY40" fmla="*/ 14287 h 207169"/>
                  <a:gd name="connsiteX41" fmla="*/ 216694 w 1121416"/>
                  <a:gd name="connsiteY41" fmla="*/ 21431 h 207169"/>
                  <a:gd name="connsiteX42" fmla="*/ 195263 w 1121416"/>
                  <a:gd name="connsiteY42" fmla="*/ 26194 h 207169"/>
                  <a:gd name="connsiteX43" fmla="*/ 183357 w 1121416"/>
                  <a:gd name="connsiteY43" fmla="*/ 28575 h 207169"/>
                  <a:gd name="connsiteX44" fmla="*/ 147638 w 1121416"/>
                  <a:gd name="connsiteY44" fmla="*/ 38100 h 207169"/>
                  <a:gd name="connsiteX45" fmla="*/ 128588 w 1121416"/>
                  <a:gd name="connsiteY45" fmla="*/ 45244 h 207169"/>
                  <a:gd name="connsiteX46" fmla="*/ 109538 w 1121416"/>
                  <a:gd name="connsiteY46" fmla="*/ 50006 h 207169"/>
                  <a:gd name="connsiteX47" fmla="*/ 97632 w 1121416"/>
                  <a:gd name="connsiteY47" fmla="*/ 54769 h 207169"/>
                  <a:gd name="connsiteX48" fmla="*/ 80963 w 1121416"/>
                  <a:gd name="connsiteY48" fmla="*/ 57150 h 207169"/>
                  <a:gd name="connsiteX49" fmla="*/ 54769 w 1121416"/>
                  <a:gd name="connsiteY49" fmla="*/ 61912 h 207169"/>
                  <a:gd name="connsiteX50" fmla="*/ 47625 w 1121416"/>
                  <a:gd name="connsiteY50" fmla="*/ 64294 h 207169"/>
                  <a:gd name="connsiteX51" fmla="*/ 23813 w 1121416"/>
                  <a:gd name="connsiteY51" fmla="*/ 71437 h 207169"/>
                  <a:gd name="connsiteX52" fmla="*/ 9525 w 1121416"/>
                  <a:gd name="connsiteY52" fmla="*/ 80962 h 207169"/>
                  <a:gd name="connsiteX53" fmla="*/ 0 w 1121416"/>
                  <a:gd name="connsiteY53" fmla="*/ 104775 h 207169"/>
                  <a:gd name="connsiteX54" fmla="*/ 11907 w 1121416"/>
                  <a:gd name="connsiteY5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66775 w 1121416"/>
                  <a:gd name="connsiteY23" fmla="*/ 173831 h 207169"/>
                  <a:gd name="connsiteX24" fmla="*/ 940594 w 1121416"/>
                  <a:gd name="connsiteY24" fmla="*/ 169069 h 207169"/>
                  <a:gd name="connsiteX25" fmla="*/ 971550 w 1121416"/>
                  <a:gd name="connsiteY25" fmla="*/ 166687 h 207169"/>
                  <a:gd name="connsiteX26" fmla="*/ 1052513 w 1121416"/>
                  <a:gd name="connsiteY26" fmla="*/ 142875 h 207169"/>
                  <a:gd name="connsiteX27" fmla="*/ 1116807 w 1121416"/>
                  <a:gd name="connsiteY27" fmla="*/ 95250 h 207169"/>
                  <a:gd name="connsiteX28" fmla="*/ 1114425 w 1121416"/>
                  <a:gd name="connsiteY28" fmla="*/ 85725 h 207169"/>
                  <a:gd name="connsiteX29" fmla="*/ 1054894 w 1121416"/>
                  <a:gd name="connsiteY29" fmla="*/ 61912 h 207169"/>
                  <a:gd name="connsiteX30" fmla="*/ 966788 w 1121416"/>
                  <a:gd name="connsiteY30" fmla="*/ 35719 h 207169"/>
                  <a:gd name="connsiteX31" fmla="*/ 857250 w 1121416"/>
                  <a:gd name="connsiteY31" fmla="*/ 21431 h 207169"/>
                  <a:gd name="connsiteX32" fmla="*/ 790575 w 1121416"/>
                  <a:gd name="connsiteY32" fmla="*/ 9525 h 207169"/>
                  <a:gd name="connsiteX33" fmla="*/ 702469 w 1121416"/>
                  <a:gd name="connsiteY33" fmla="*/ 7144 h 207169"/>
                  <a:gd name="connsiteX34" fmla="*/ 559594 w 1121416"/>
                  <a:gd name="connsiteY34" fmla="*/ 0 h 207169"/>
                  <a:gd name="connsiteX35" fmla="*/ 338138 w 1121416"/>
                  <a:gd name="connsiteY35" fmla="*/ 2381 h 207169"/>
                  <a:gd name="connsiteX36" fmla="*/ 295275 w 1121416"/>
                  <a:gd name="connsiteY36" fmla="*/ 7144 h 207169"/>
                  <a:gd name="connsiteX37" fmla="*/ 278607 w 1121416"/>
                  <a:gd name="connsiteY37" fmla="*/ 9525 h 207169"/>
                  <a:gd name="connsiteX38" fmla="*/ 269082 w 1121416"/>
                  <a:gd name="connsiteY38" fmla="*/ 11906 h 207169"/>
                  <a:gd name="connsiteX39" fmla="*/ 238125 w 1121416"/>
                  <a:gd name="connsiteY39" fmla="*/ 14287 h 207169"/>
                  <a:gd name="connsiteX40" fmla="*/ 216694 w 1121416"/>
                  <a:gd name="connsiteY40" fmla="*/ 21431 h 207169"/>
                  <a:gd name="connsiteX41" fmla="*/ 195263 w 1121416"/>
                  <a:gd name="connsiteY41" fmla="*/ 26194 h 207169"/>
                  <a:gd name="connsiteX42" fmla="*/ 183357 w 1121416"/>
                  <a:gd name="connsiteY42" fmla="*/ 28575 h 207169"/>
                  <a:gd name="connsiteX43" fmla="*/ 147638 w 1121416"/>
                  <a:gd name="connsiteY43" fmla="*/ 38100 h 207169"/>
                  <a:gd name="connsiteX44" fmla="*/ 128588 w 1121416"/>
                  <a:gd name="connsiteY44" fmla="*/ 45244 h 207169"/>
                  <a:gd name="connsiteX45" fmla="*/ 109538 w 1121416"/>
                  <a:gd name="connsiteY45" fmla="*/ 50006 h 207169"/>
                  <a:gd name="connsiteX46" fmla="*/ 97632 w 1121416"/>
                  <a:gd name="connsiteY46" fmla="*/ 54769 h 207169"/>
                  <a:gd name="connsiteX47" fmla="*/ 80963 w 1121416"/>
                  <a:gd name="connsiteY47" fmla="*/ 57150 h 207169"/>
                  <a:gd name="connsiteX48" fmla="*/ 54769 w 1121416"/>
                  <a:gd name="connsiteY48" fmla="*/ 61912 h 207169"/>
                  <a:gd name="connsiteX49" fmla="*/ 47625 w 1121416"/>
                  <a:gd name="connsiteY49" fmla="*/ 64294 h 207169"/>
                  <a:gd name="connsiteX50" fmla="*/ 23813 w 1121416"/>
                  <a:gd name="connsiteY50" fmla="*/ 71437 h 207169"/>
                  <a:gd name="connsiteX51" fmla="*/ 9525 w 1121416"/>
                  <a:gd name="connsiteY51" fmla="*/ 80962 h 207169"/>
                  <a:gd name="connsiteX52" fmla="*/ 0 w 1121416"/>
                  <a:gd name="connsiteY52" fmla="*/ 104775 h 207169"/>
                  <a:gd name="connsiteX53" fmla="*/ 11907 w 1121416"/>
                  <a:gd name="connsiteY53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97719 w 1121416"/>
                  <a:gd name="connsiteY21" fmla="*/ 188119 h 207169"/>
                  <a:gd name="connsiteX22" fmla="*/ 866775 w 1121416"/>
                  <a:gd name="connsiteY22" fmla="*/ 173831 h 207169"/>
                  <a:gd name="connsiteX23" fmla="*/ 940594 w 1121416"/>
                  <a:gd name="connsiteY23" fmla="*/ 169069 h 207169"/>
                  <a:gd name="connsiteX24" fmla="*/ 971550 w 1121416"/>
                  <a:gd name="connsiteY24" fmla="*/ 166687 h 207169"/>
                  <a:gd name="connsiteX25" fmla="*/ 1052513 w 1121416"/>
                  <a:gd name="connsiteY25" fmla="*/ 142875 h 207169"/>
                  <a:gd name="connsiteX26" fmla="*/ 1116807 w 1121416"/>
                  <a:gd name="connsiteY26" fmla="*/ 95250 h 207169"/>
                  <a:gd name="connsiteX27" fmla="*/ 1114425 w 1121416"/>
                  <a:gd name="connsiteY27" fmla="*/ 85725 h 207169"/>
                  <a:gd name="connsiteX28" fmla="*/ 1054894 w 1121416"/>
                  <a:gd name="connsiteY28" fmla="*/ 61912 h 207169"/>
                  <a:gd name="connsiteX29" fmla="*/ 966788 w 1121416"/>
                  <a:gd name="connsiteY29" fmla="*/ 35719 h 207169"/>
                  <a:gd name="connsiteX30" fmla="*/ 857250 w 1121416"/>
                  <a:gd name="connsiteY30" fmla="*/ 21431 h 207169"/>
                  <a:gd name="connsiteX31" fmla="*/ 790575 w 1121416"/>
                  <a:gd name="connsiteY31" fmla="*/ 9525 h 207169"/>
                  <a:gd name="connsiteX32" fmla="*/ 702469 w 1121416"/>
                  <a:gd name="connsiteY32" fmla="*/ 7144 h 207169"/>
                  <a:gd name="connsiteX33" fmla="*/ 559594 w 1121416"/>
                  <a:gd name="connsiteY33" fmla="*/ 0 h 207169"/>
                  <a:gd name="connsiteX34" fmla="*/ 338138 w 1121416"/>
                  <a:gd name="connsiteY34" fmla="*/ 2381 h 207169"/>
                  <a:gd name="connsiteX35" fmla="*/ 295275 w 1121416"/>
                  <a:gd name="connsiteY35" fmla="*/ 7144 h 207169"/>
                  <a:gd name="connsiteX36" fmla="*/ 278607 w 1121416"/>
                  <a:gd name="connsiteY36" fmla="*/ 9525 h 207169"/>
                  <a:gd name="connsiteX37" fmla="*/ 269082 w 1121416"/>
                  <a:gd name="connsiteY37" fmla="*/ 11906 h 207169"/>
                  <a:gd name="connsiteX38" fmla="*/ 238125 w 1121416"/>
                  <a:gd name="connsiteY38" fmla="*/ 14287 h 207169"/>
                  <a:gd name="connsiteX39" fmla="*/ 216694 w 1121416"/>
                  <a:gd name="connsiteY39" fmla="*/ 21431 h 207169"/>
                  <a:gd name="connsiteX40" fmla="*/ 195263 w 1121416"/>
                  <a:gd name="connsiteY40" fmla="*/ 26194 h 207169"/>
                  <a:gd name="connsiteX41" fmla="*/ 183357 w 1121416"/>
                  <a:gd name="connsiteY41" fmla="*/ 28575 h 207169"/>
                  <a:gd name="connsiteX42" fmla="*/ 147638 w 1121416"/>
                  <a:gd name="connsiteY42" fmla="*/ 38100 h 207169"/>
                  <a:gd name="connsiteX43" fmla="*/ 128588 w 1121416"/>
                  <a:gd name="connsiteY43" fmla="*/ 45244 h 207169"/>
                  <a:gd name="connsiteX44" fmla="*/ 109538 w 1121416"/>
                  <a:gd name="connsiteY44" fmla="*/ 50006 h 207169"/>
                  <a:gd name="connsiteX45" fmla="*/ 97632 w 1121416"/>
                  <a:gd name="connsiteY45" fmla="*/ 54769 h 207169"/>
                  <a:gd name="connsiteX46" fmla="*/ 80963 w 1121416"/>
                  <a:gd name="connsiteY46" fmla="*/ 57150 h 207169"/>
                  <a:gd name="connsiteX47" fmla="*/ 54769 w 1121416"/>
                  <a:gd name="connsiteY47" fmla="*/ 61912 h 207169"/>
                  <a:gd name="connsiteX48" fmla="*/ 47625 w 1121416"/>
                  <a:gd name="connsiteY48" fmla="*/ 64294 h 207169"/>
                  <a:gd name="connsiteX49" fmla="*/ 23813 w 1121416"/>
                  <a:gd name="connsiteY49" fmla="*/ 71437 h 207169"/>
                  <a:gd name="connsiteX50" fmla="*/ 9525 w 1121416"/>
                  <a:gd name="connsiteY50" fmla="*/ 80962 h 207169"/>
                  <a:gd name="connsiteX51" fmla="*/ 0 w 1121416"/>
                  <a:gd name="connsiteY51" fmla="*/ 104775 h 207169"/>
                  <a:gd name="connsiteX52" fmla="*/ 11907 w 1121416"/>
                  <a:gd name="connsiteY52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797719 w 1121416"/>
                  <a:gd name="connsiteY20" fmla="*/ 188119 h 207169"/>
                  <a:gd name="connsiteX21" fmla="*/ 866775 w 1121416"/>
                  <a:gd name="connsiteY21" fmla="*/ 173831 h 207169"/>
                  <a:gd name="connsiteX22" fmla="*/ 940594 w 1121416"/>
                  <a:gd name="connsiteY22" fmla="*/ 169069 h 207169"/>
                  <a:gd name="connsiteX23" fmla="*/ 971550 w 1121416"/>
                  <a:gd name="connsiteY23" fmla="*/ 166687 h 207169"/>
                  <a:gd name="connsiteX24" fmla="*/ 1052513 w 1121416"/>
                  <a:gd name="connsiteY24" fmla="*/ 142875 h 207169"/>
                  <a:gd name="connsiteX25" fmla="*/ 1116807 w 1121416"/>
                  <a:gd name="connsiteY25" fmla="*/ 95250 h 207169"/>
                  <a:gd name="connsiteX26" fmla="*/ 1114425 w 1121416"/>
                  <a:gd name="connsiteY26" fmla="*/ 85725 h 207169"/>
                  <a:gd name="connsiteX27" fmla="*/ 1054894 w 1121416"/>
                  <a:gd name="connsiteY27" fmla="*/ 61912 h 207169"/>
                  <a:gd name="connsiteX28" fmla="*/ 966788 w 1121416"/>
                  <a:gd name="connsiteY28" fmla="*/ 35719 h 207169"/>
                  <a:gd name="connsiteX29" fmla="*/ 857250 w 1121416"/>
                  <a:gd name="connsiteY29" fmla="*/ 21431 h 207169"/>
                  <a:gd name="connsiteX30" fmla="*/ 790575 w 1121416"/>
                  <a:gd name="connsiteY30" fmla="*/ 9525 h 207169"/>
                  <a:gd name="connsiteX31" fmla="*/ 702469 w 1121416"/>
                  <a:gd name="connsiteY31" fmla="*/ 7144 h 207169"/>
                  <a:gd name="connsiteX32" fmla="*/ 559594 w 1121416"/>
                  <a:gd name="connsiteY32" fmla="*/ 0 h 207169"/>
                  <a:gd name="connsiteX33" fmla="*/ 338138 w 1121416"/>
                  <a:gd name="connsiteY33" fmla="*/ 2381 h 207169"/>
                  <a:gd name="connsiteX34" fmla="*/ 295275 w 1121416"/>
                  <a:gd name="connsiteY34" fmla="*/ 7144 h 207169"/>
                  <a:gd name="connsiteX35" fmla="*/ 278607 w 1121416"/>
                  <a:gd name="connsiteY35" fmla="*/ 9525 h 207169"/>
                  <a:gd name="connsiteX36" fmla="*/ 269082 w 1121416"/>
                  <a:gd name="connsiteY36" fmla="*/ 11906 h 207169"/>
                  <a:gd name="connsiteX37" fmla="*/ 238125 w 1121416"/>
                  <a:gd name="connsiteY37" fmla="*/ 14287 h 207169"/>
                  <a:gd name="connsiteX38" fmla="*/ 216694 w 1121416"/>
                  <a:gd name="connsiteY38" fmla="*/ 21431 h 207169"/>
                  <a:gd name="connsiteX39" fmla="*/ 195263 w 1121416"/>
                  <a:gd name="connsiteY39" fmla="*/ 26194 h 207169"/>
                  <a:gd name="connsiteX40" fmla="*/ 183357 w 1121416"/>
                  <a:gd name="connsiteY40" fmla="*/ 28575 h 207169"/>
                  <a:gd name="connsiteX41" fmla="*/ 147638 w 1121416"/>
                  <a:gd name="connsiteY41" fmla="*/ 38100 h 207169"/>
                  <a:gd name="connsiteX42" fmla="*/ 128588 w 1121416"/>
                  <a:gd name="connsiteY42" fmla="*/ 45244 h 207169"/>
                  <a:gd name="connsiteX43" fmla="*/ 109538 w 1121416"/>
                  <a:gd name="connsiteY43" fmla="*/ 50006 h 207169"/>
                  <a:gd name="connsiteX44" fmla="*/ 97632 w 1121416"/>
                  <a:gd name="connsiteY44" fmla="*/ 54769 h 207169"/>
                  <a:gd name="connsiteX45" fmla="*/ 80963 w 1121416"/>
                  <a:gd name="connsiteY45" fmla="*/ 57150 h 207169"/>
                  <a:gd name="connsiteX46" fmla="*/ 54769 w 1121416"/>
                  <a:gd name="connsiteY46" fmla="*/ 61912 h 207169"/>
                  <a:gd name="connsiteX47" fmla="*/ 47625 w 1121416"/>
                  <a:gd name="connsiteY47" fmla="*/ 64294 h 207169"/>
                  <a:gd name="connsiteX48" fmla="*/ 23813 w 1121416"/>
                  <a:gd name="connsiteY48" fmla="*/ 71437 h 207169"/>
                  <a:gd name="connsiteX49" fmla="*/ 9525 w 1121416"/>
                  <a:gd name="connsiteY49" fmla="*/ 80962 h 207169"/>
                  <a:gd name="connsiteX50" fmla="*/ 0 w 1121416"/>
                  <a:gd name="connsiteY50" fmla="*/ 104775 h 207169"/>
                  <a:gd name="connsiteX51" fmla="*/ 11907 w 1121416"/>
                  <a:gd name="connsiteY51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57200 w 1121416"/>
                  <a:gd name="connsiteY15" fmla="*/ 207169 h 207169"/>
                  <a:gd name="connsiteX16" fmla="*/ 604838 w 1121416"/>
                  <a:gd name="connsiteY16" fmla="*/ 204787 h 207169"/>
                  <a:gd name="connsiteX17" fmla="*/ 623888 w 1121416"/>
                  <a:gd name="connsiteY17" fmla="*/ 200025 h 207169"/>
                  <a:gd name="connsiteX18" fmla="*/ 676275 w 1121416"/>
                  <a:gd name="connsiteY18" fmla="*/ 197644 h 207169"/>
                  <a:gd name="connsiteX19" fmla="*/ 797719 w 1121416"/>
                  <a:gd name="connsiteY19" fmla="*/ 188119 h 207169"/>
                  <a:gd name="connsiteX20" fmla="*/ 866775 w 1121416"/>
                  <a:gd name="connsiteY20" fmla="*/ 173831 h 207169"/>
                  <a:gd name="connsiteX21" fmla="*/ 940594 w 1121416"/>
                  <a:gd name="connsiteY21" fmla="*/ 169069 h 207169"/>
                  <a:gd name="connsiteX22" fmla="*/ 971550 w 1121416"/>
                  <a:gd name="connsiteY22" fmla="*/ 166687 h 207169"/>
                  <a:gd name="connsiteX23" fmla="*/ 1052513 w 1121416"/>
                  <a:gd name="connsiteY23" fmla="*/ 142875 h 207169"/>
                  <a:gd name="connsiteX24" fmla="*/ 1116807 w 1121416"/>
                  <a:gd name="connsiteY24" fmla="*/ 95250 h 207169"/>
                  <a:gd name="connsiteX25" fmla="*/ 1114425 w 1121416"/>
                  <a:gd name="connsiteY25" fmla="*/ 85725 h 207169"/>
                  <a:gd name="connsiteX26" fmla="*/ 1054894 w 1121416"/>
                  <a:gd name="connsiteY26" fmla="*/ 61912 h 207169"/>
                  <a:gd name="connsiteX27" fmla="*/ 966788 w 1121416"/>
                  <a:gd name="connsiteY27" fmla="*/ 35719 h 207169"/>
                  <a:gd name="connsiteX28" fmla="*/ 857250 w 1121416"/>
                  <a:gd name="connsiteY28" fmla="*/ 21431 h 207169"/>
                  <a:gd name="connsiteX29" fmla="*/ 790575 w 1121416"/>
                  <a:gd name="connsiteY29" fmla="*/ 9525 h 207169"/>
                  <a:gd name="connsiteX30" fmla="*/ 702469 w 1121416"/>
                  <a:gd name="connsiteY30" fmla="*/ 7144 h 207169"/>
                  <a:gd name="connsiteX31" fmla="*/ 559594 w 1121416"/>
                  <a:gd name="connsiteY31" fmla="*/ 0 h 207169"/>
                  <a:gd name="connsiteX32" fmla="*/ 338138 w 1121416"/>
                  <a:gd name="connsiteY32" fmla="*/ 2381 h 207169"/>
                  <a:gd name="connsiteX33" fmla="*/ 295275 w 1121416"/>
                  <a:gd name="connsiteY33" fmla="*/ 7144 h 207169"/>
                  <a:gd name="connsiteX34" fmla="*/ 278607 w 1121416"/>
                  <a:gd name="connsiteY34" fmla="*/ 9525 h 207169"/>
                  <a:gd name="connsiteX35" fmla="*/ 269082 w 1121416"/>
                  <a:gd name="connsiteY35" fmla="*/ 11906 h 207169"/>
                  <a:gd name="connsiteX36" fmla="*/ 238125 w 1121416"/>
                  <a:gd name="connsiteY36" fmla="*/ 14287 h 207169"/>
                  <a:gd name="connsiteX37" fmla="*/ 216694 w 1121416"/>
                  <a:gd name="connsiteY37" fmla="*/ 21431 h 207169"/>
                  <a:gd name="connsiteX38" fmla="*/ 195263 w 1121416"/>
                  <a:gd name="connsiteY38" fmla="*/ 26194 h 207169"/>
                  <a:gd name="connsiteX39" fmla="*/ 183357 w 1121416"/>
                  <a:gd name="connsiteY39" fmla="*/ 28575 h 207169"/>
                  <a:gd name="connsiteX40" fmla="*/ 147638 w 1121416"/>
                  <a:gd name="connsiteY40" fmla="*/ 38100 h 207169"/>
                  <a:gd name="connsiteX41" fmla="*/ 128588 w 1121416"/>
                  <a:gd name="connsiteY41" fmla="*/ 45244 h 207169"/>
                  <a:gd name="connsiteX42" fmla="*/ 109538 w 1121416"/>
                  <a:gd name="connsiteY42" fmla="*/ 50006 h 207169"/>
                  <a:gd name="connsiteX43" fmla="*/ 97632 w 1121416"/>
                  <a:gd name="connsiteY43" fmla="*/ 54769 h 207169"/>
                  <a:gd name="connsiteX44" fmla="*/ 80963 w 1121416"/>
                  <a:gd name="connsiteY44" fmla="*/ 57150 h 207169"/>
                  <a:gd name="connsiteX45" fmla="*/ 54769 w 1121416"/>
                  <a:gd name="connsiteY45" fmla="*/ 61912 h 207169"/>
                  <a:gd name="connsiteX46" fmla="*/ 47625 w 1121416"/>
                  <a:gd name="connsiteY46" fmla="*/ 64294 h 207169"/>
                  <a:gd name="connsiteX47" fmla="*/ 23813 w 1121416"/>
                  <a:gd name="connsiteY47" fmla="*/ 71437 h 207169"/>
                  <a:gd name="connsiteX48" fmla="*/ 9525 w 1121416"/>
                  <a:gd name="connsiteY48" fmla="*/ 80962 h 207169"/>
                  <a:gd name="connsiteX49" fmla="*/ 0 w 1121416"/>
                  <a:gd name="connsiteY49" fmla="*/ 104775 h 207169"/>
                  <a:gd name="connsiteX50" fmla="*/ 11907 w 1121416"/>
                  <a:gd name="connsiteY50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457200 w 1121416"/>
                  <a:gd name="connsiteY14" fmla="*/ 207169 h 207169"/>
                  <a:gd name="connsiteX15" fmla="*/ 604838 w 1121416"/>
                  <a:gd name="connsiteY15" fmla="*/ 204787 h 207169"/>
                  <a:gd name="connsiteX16" fmla="*/ 623888 w 1121416"/>
                  <a:gd name="connsiteY16" fmla="*/ 200025 h 207169"/>
                  <a:gd name="connsiteX17" fmla="*/ 676275 w 1121416"/>
                  <a:gd name="connsiteY17" fmla="*/ 197644 h 207169"/>
                  <a:gd name="connsiteX18" fmla="*/ 797719 w 1121416"/>
                  <a:gd name="connsiteY18" fmla="*/ 188119 h 207169"/>
                  <a:gd name="connsiteX19" fmla="*/ 866775 w 1121416"/>
                  <a:gd name="connsiteY19" fmla="*/ 173831 h 207169"/>
                  <a:gd name="connsiteX20" fmla="*/ 940594 w 1121416"/>
                  <a:gd name="connsiteY20" fmla="*/ 169069 h 207169"/>
                  <a:gd name="connsiteX21" fmla="*/ 971550 w 1121416"/>
                  <a:gd name="connsiteY21" fmla="*/ 166687 h 207169"/>
                  <a:gd name="connsiteX22" fmla="*/ 1052513 w 1121416"/>
                  <a:gd name="connsiteY22" fmla="*/ 142875 h 207169"/>
                  <a:gd name="connsiteX23" fmla="*/ 1116807 w 1121416"/>
                  <a:gd name="connsiteY23" fmla="*/ 95250 h 207169"/>
                  <a:gd name="connsiteX24" fmla="*/ 1114425 w 1121416"/>
                  <a:gd name="connsiteY24" fmla="*/ 85725 h 207169"/>
                  <a:gd name="connsiteX25" fmla="*/ 1054894 w 1121416"/>
                  <a:gd name="connsiteY25" fmla="*/ 61912 h 207169"/>
                  <a:gd name="connsiteX26" fmla="*/ 966788 w 1121416"/>
                  <a:gd name="connsiteY26" fmla="*/ 35719 h 207169"/>
                  <a:gd name="connsiteX27" fmla="*/ 857250 w 1121416"/>
                  <a:gd name="connsiteY27" fmla="*/ 21431 h 207169"/>
                  <a:gd name="connsiteX28" fmla="*/ 790575 w 1121416"/>
                  <a:gd name="connsiteY28" fmla="*/ 9525 h 207169"/>
                  <a:gd name="connsiteX29" fmla="*/ 702469 w 1121416"/>
                  <a:gd name="connsiteY29" fmla="*/ 7144 h 207169"/>
                  <a:gd name="connsiteX30" fmla="*/ 559594 w 1121416"/>
                  <a:gd name="connsiteY30" fmla="*/ 0 h 207169"/>
                  <a:gd name="connsiteX31" fmla="*/ 338138 w 1121416"/>
                  <a:gd name="connsiteY31" fmla="*/ 2381 h 207169"/>
                  <a:gd name="connsiteX32" fmla="*/ 295275 w 1121416"/>
                  <a:gd name="connsiteY32" fmla="*/ 7144 h 207169"/>
                  <a:gd name="connsiteX33" fmla="*/ 278607 w 1121416"/>
                  <a:gd name="connsiteY33" fmla="*/ 9525 h 207169"/>
                  <a:gd name="connsiteX34" fmla="*/ 269082 w 1121416"/>
                  <a:gd name="connsiteY34" fmla="*/ 11906 h 207169"/>
                  <a:gd name="connsiteX35" fmla="*/ 238125 w 1121416"/>
                  <a:gd name="connsiteY35" fmla="*/ 14287 h 207169"/>
                  <a:gd name="connsiteX36" fmla="*/ 216694 w 1121416"/>
                  <a:gd name="connsiteY36" fmla="*/ 21431 h 207169"/>
                  <a:gd name="connsiteX37" fmla="*/ 195263 w 1121416"/>
                  <a:gd name="connsiteY37" fmla="*/ 26194 h 207169"/>
                  <a:gd name="connsiteX38" fmla="*/ 183357 w 1121416"/>
                  <a:gd name="connsiteY38" fmla="*/ 28575 h 207169"/>
                  <a:gd name="connsiteX39" fmla="*/ 147638 w 1121416"/>
                  <a:gd name="connsiteY39" fmla="*/ 38100 h 207169"/>
                  <a:gd name="connsiteX40" fmla="*/ 128588 w 1121416"/>
                  <a:gd name="connsiteY40" fmla="*/ 45244 h 207169"/>
                  <a:gd name="connsiteX41" fmla="*/ 109538 w 1121416"/>
                  <a:gd name="connsiteY41" fmla="*/ 50006 h 207169"/>
                  <a:gd name="connsiteX42" fmla="*/ 97632 w 1121416"/>
                  <a:gd name="connsiteY42" fmla="*/ 54769 h 207169"/>
                  <a:gd name="connsiteX43" fmla="*/ 80963 w 1121416"/>
                  <a:gd name="connsiteY43" fmla="*/ 57150 h 207169"/>
                  <a:gd name="connsiteX44" fmla="*/ 54769 w 1121416"/>
                  <a:gd name="connsiteY44" fmla="*/ 61912 h 207169"/>
                  <a:gd name="connsiteX45" fmla="*/ 47625 w 1121416"/>
                  <a:gd name="connsiteY45" fmla="*/ 64294 h 207169"/>
                  <a:gd name="connsiteX46" fmla="*/ 23813 w 1121416"/>
                  <a:gd name="connsiteY46" fmla="*/ 71437 h 207169"/>
                  <a:gd name="connsiteX47" fmla="*/ 9525 w 1121416"/>
                  <a:gd name="connsiteY47" fmla="*/ 80962 h 207169"/>
                  <a:gd name="connsiteX48" fmla="*/ 0 w 1121416"/>
                  <a:gd name="connsiteY48" fmla="*/ 104775 h 207169"/>
                  <a:gd name="connsiteX49" fmla="*/ 11907 w 1121416"/>
                  <a:gd name="connsiteY4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38125 w 1121416"/>
                  <a:gd name="connsiteY11" fmla="*/ 178594 h 207169"/>
                  <a:gd name="connsiteX12" fmla="*/ 285750 w 1121416"/>
                  <a:gd name="connsiteY12" fmla="*/ 192881 h 207169"/>
                  <a:gd name="connsiteX13" fmla="*/ 457200 w 1121416"/>
                  <a:gd name="connsiteY13" fmla="*/ 207169 h 207169"/>
                  <a:gd name="connsiteX14" fmla="*/ 604838 w 1121416"/>
                  <a:gd name="connsiteY14" fmla="*/ 204787 h 207169"/>
                  <a:gd name="connsiteX15" fmla="*/ 623888 w 1121416"/>
                  <a:gd name="connsiteY15" fmla="*/ 200025 h 207169"/>
                  <a:gd name="connsiteX16" fmla="*/ 676275 w 1121416"/>
                  <a:gd name="connsiteY16" fmla="*/ 197644 h 207169"/>
                  <a:gd name="connsiteX17" fmla="*/ 797719 w 1121416"/>
                  <a:gd name="connsiteY17" fmla="*/ 188119 h 207169"/>
                  <a:gd name="connsiteX18" fmla="*/ 866775 w 1121416"/>
                  <a:gd name="connsiteY18" fmla="*/ 173831 h 207169"/>
                  <a:gd name="connsiteX19" fmla="*/ 940594 w 1121416"/>
                  <a:gd name="connsiteY19" fmla="*/ 169069 h 207169"/>
                  <a:gd name="connsiteX20" fmla="*/ 971550 w 1121416"/>
                  <a:gd name="connsiteY20" fmla="*/ 166687 h 207169"/>
                  <a:gd name="connsiteX21" fmla="*/ 1052513 w 1121416"/>
                  <a:gd name="connsiteY21" fmla="*/ 142875 h 207169"/>
                  <a:gd name="connsiteX22" fmla="*/ 1116807 w 1121416"/>
                  <a:gd name="connsiteY22" fmla="*/ 95250 h 207169"/>
                  <a:gd name="connsiteX23" fmla="*/ 1114425 w 1121416"/>
                  <a:gd name="connsiteY23" fmla="*/ 85725 h 207169"/>
                  <a:gd name="connsiteX24" fmla="*/ 1054894 w 1121416"/>
                  <a:gd name="connsiteY24" fmla="*/ 61912 h 207169"/>
                  <a:gd name="connsiteX25" fmla="*/ 966788 w 1121416"/>
                  <a:gd name="connsiteY25" fmla="*/ 35719 h 207169"/>
                  <a:gd name="connsiteX26" fmla="*/ 857250 w 1121416"/>
                  <a:gd name="connsiteY26" fmla="*/ 21431 h 207169"/>
                  <a:gd name="connsiteX27" fmla="*/ 790575 w 1121416"/>
                  <a:gd name="connsiteY27" fmla="*/ 9525 h 207169"/>
                  <a:gd name="connsiteX28" fmla="*/ 702469 w 1121416"/>
                  <a:gd name="connsiteY28" fmla="*/ 7144 h 207169"/>
                  <a:gd name="connsiteX29" fmla="*/ 559594 w 1121416"/>
                  <a:gd name="connsiteY29" fmla="*/ 0 h 207169"/>
                  <a:gd name="connsiteX30" fmla="*/ 338138 w 1121416"/>
                  <a:gd name="connsiteY30" fmla="*/ 2381 h 207169"/>
                  <a:gd name="connsiteX31" fmla="*/ 295275 w 1121416"/>
                  <a:gd name="connsiteY31" fmla="*/ 7144 h 207169"/>
                  <a:gd name="connsiteX32" fmla="*/ 278607 w 1121416"/>
                  <a:gd name="connsiteY32" fmla="*/ 9525 h 207169"/>
                  <a:gd name="connsiteX33" fmla="*/ 269082 w 1121416"/>
                  <a:gd name="connsiteY33" fmla="*/ 11906 h 207169"/>
                  <a:gd name="connsiteX34" fmla="*/ 238125 w 1121416"/>
                  <a:gd name="connsiteY34" fmla="*/ 14287 h 207169"/>
                  <a:gd name="connsiteX35" fmla="*/ 216694 w 1121416"/>
                  <a:gd name="connsiteY35" fmla="*/ 21431 h 207169"/>
                  <a:gd name="connsiteX36" fmla="*/ 195263 w 1121416"/>
                  <a:gd name="connsiteY36" fmla="*/ 26194 h 207169"/>
                  <a:gd name="connsiteX37" fmla="*/ 183357 w 1121416"/>
                  <a:gd name="connsiteY37" fmla="*/ 28575 h 207169"/>
                  <a:gd name="connsiteX38" fmla="*/ 147638 w 1121416"/>
                  <a:gd name="connsiteY38" fmla="*/ 38100 h 207169"/>
                  <a:gd name="connsiteX39" fmla="*/ 128588 w 1121416"/>
                  <a:gd name="connsiteY39" fmla="*/ 45244 h 207169"/>
                  <a:gd name="connsiteX40" fmla="*/ 109538 w 1121416"/>
                  <a:gd name="connsiteY40" fmla="*/ 50006 h 207169"/>
                  <a:gd name="connsiteX41" fmla="*/ 97632 w 1121416"/>
                  <a:gd name="connsiteY41" fmla="*/ 54769 h 207169"/>
                  <a:gd name="connsiteX42" fmla="*/ 80963 w 1121416"/>
                  <a:gd name="connsiteY42" fmla="*/ 57150 h 207169"/>
                  <a:gd name="connsiteX43" fmla="*/ 54769 w 1121416"/>
                  <a:gd name="connsiteY43" fmla="*/ 61912 h 207169"/>
                  <a:gd name="connsiteX44" fmla="*/ 47625 w 1121416"/>
                  <a:gd name="connsiteY44" fmla="*/ 64294 h 207169"/>
                  <a:gd name="connsiteX45" fmla="*/ 23813 w 1121416"/>
                  <a:gd name="connsiteY45" fmla="*/ 71437 h 207169"/>
                  <a:gd name="connsiteX46" fmla="*/ 9525 w 1121416"/>
                  <a:gd name="connsiteY46" fmla="*/ 80962 h 207169"/>
                  <a:gd name="connsiteX47" fmla="*/ 0 w 1121416"/>
                  <a:gd name="connsiteY47" fmla="*/ 104775 h 207169"/>
                  <a:gd name="connsiteX48" fmla="*/ 11907 w 1121416"/>
                  <a:gd name="connsiteY4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202407 w 1121416"/>
                  <a:gd name="connsiteY9" fmla="*/ 169069 h 207169"/>
                  <a:gd name="connsiteX10" fmla="*/ 238125 w 1121416"/>
                  <a:gd name="connsiteY10" fmla="*/ 178594 h 207169"/>
                  <a:gd name="connsiteX11" fmla="*/ 285750 w 1121416"/>
                  <a:gd name="connsiteY11" fmla="*/ 192881 h 207169"/>
                  <a:gd name="connsiteX12" fmla="*/ 457200 w 1121416"/>
                  <a:gd name="connsiteY12" fmla="*/ 207169 h 207169"/>
                  <a:gd name="connsiteX13" fmla="*/ 604838 w 1121416"/>
                  <a:gd name="connsiteY13" fmla="*/ 204787 h 207169"/>
                  <a:gd name="connsiteX14" fmla="*/ 623888 w 1121416"/>
                  <a:gd name="connsiteY14" fmla="*/ 200025 h 207169"/>
                  <a:gd name="connsiteX15" fmla="*/ 676275 w 1121416"/>
                  <a:gd name="connsiteY15" fmla="*/ 197644 h 207169"/>
                  <a:gd name="connsiteX16" fmla="*/ 797719 w 1121416"/>
                  <a:gd name="connsiteY16" fmla="*/ 188119 h 207169"/>
                  <a:gd name="connsiteX17" fmla="*/ 866775 w 1121416"/>
                  <a:gd name="connsiteY17" fmla="*/ 173831 h 207169"/>
                  <a:gd name="connsiteX18" fmla="*/ 940594 w 1121416"/>
                  <a:gd name="connsiteY18" fmla="*/ 169069 h 207169"/>
                  <a:gd name="connsiteX19" fmla="*/ 971550 w 1121416"/>
                  <a:gd name="connsiteY19" fmla="*/ 166687 h 207169"/>
                  <a:gd name="connsiteX20" fmla="*/ 1052513 w 1121416"/>
                  <a:gd name="connsiteY20" fmla="*/ 142875 h 207169"/>
                  <a:gd name="connsiteX21" fmla="*/ 1116807 w 1121416"/>
                  <a:gd name="connsiteY21" fmla="*/ 95250 h 207169"/>
                  <a:gd name="connsiteX22" fmla="*/ 1114425 w 1121416"/>
                  <a:gd name="connsiteY22" fmla="*/ 85725 h 207169"/>
                  <a:gd name="connsiteX23" fmla="*/ 1054894 w 1121416"/>
                  <a:gd name="connsiteY23" fmla="*/ 61912 h 207169"/>
                  <a:gd name="connsiteX24" fmla="*/ 966788 w 1121416"/>
                  <a:gd name="connsiteY24" fmla="*/ 35719 h 207169"/>
                  <a:gd name="connsiteX25" fmla="*/ 857250 w 1121416"/>
                  <a:gd name="connsiteY25" fmla="*/ 21431 h 207169"/>
                  <a:gd name="connsiteX26" fmla="*/ 790575 w 1121416"/>
                  <a:gd name="connsiteY26" fmla="*/ 9525 h 207169"/>
                  <a:gd name="connsiteX27" fmla="*/ 702469 w 1121416"/>
                  <a:gd name="connsiteY27" fmla="*/ 7144 h 207169"/>
                  <a:gd name="connsiteX28" fmla="*/ 559594 w 1121416"/>
                  <a:gd name="connsiteY28" fmla="*/ 0 h 207169"/>
                  <a:gd name="connsiteX29" fmla="*/ 338138 w 1121416"/>
                  <a:gd name="connsiteY29" fmla="*/ 2381 h 207169"/>
                  <a:gd name="connsiteX30" fmla="*/ 295275 w 1121416"/>
                  <a:gd name="connsiteY30" fmla="*/ 7144 h 207169"/>
                  <a:gd name="connsiteX31" fmla="*/ 278607 w 1121416"/>
                  <a:gd name="connsiteY31" fmla="*/ 9525 h 207169"/>
                  <a:gd name="connsiteX32" fmla="*/ 269082 w 1121416"/>
                  <a:gd name="connsiteY32" fmla="*/ 11906 h 207169"/>
                  <a:gd name="connsiteX33" fmla="*/ 238125 w 1121416"/>
                  <a:gd name="connsiteY33" fmla="*/ 14287 h 207169"/>
                  <a:gd name="connsiteX34" fmla="*/ 216694 w 1121416"/>
                  <a:gd name="connsiteY34" fmla="*/ 21431 h 207169"/>
                  <a:gd name="connsiteX35" fmla="*/ 195263 w 1121416"/>
                  <a:gd name="connsiteY35" fmla="*/ 26194 h 207169"/>
                  <a:gd name="connsiteX36" fmla="*/ 183357 w 1121416"/>
                  <a:gd name="connsiteY36" fmla="*/ 28575 h 207169"/>
                  <a:gd name="connsiteX37" fmla="*/ 147638 w 1121416"/>
                  <a:gd name="connsiteY37" fmla="*/ 38100 h 207169"/>
                  <a:gd name="connsiteX38" fmla="*/ 128588 w 1121416"/>
                  <a:gd name="connsiteY38" fmla="*/ 45244 h 207169"/>
                  <a:gd name="connsiteX39" fmla="*/ 109538 w 1121416"/>
                  <a:gd name="connsiteY39" fmla="*/ 50006 h 207169"/>
                  <a:gd name="connsiteX40" fmla="*/ 97632 w 1121416"/>
                  <a:gd name="connsiteY40" fmla="*/ 54769 h 207169"/>
                  <a:gd name="connsiteX41" fmla="*/ 80963 w 1121416"/>
                  <a:gd name="connsiteY41" fmla="*/ 57150 h 207169"/>
                  <a:gd name="connsiteX42" fmla="*/ 54769 w 1121416"/>
                  <a:gd name="connsiteY42" fmla="*/ 61912 h 207169"/>
                  <a:gd name="connsiteX43" fmla="*/ 47625 w 1121416"/>
                  <a:gd name="connsiteY43" fmla="*/ 64294 h 207169"/>
                  <a:gd name="connsiteX44" fmla="*/ 23813 w 1121416"/>
                  <a:gd name="connsiteY44" fmla="*/ 71437 h 207169"/>
                  <a:gd name="connsiteX45" fmla="*/ 9525 w 1121416"/>
                  <a:gd name="connsiteY45" fmla="*/ 80962 h 207169"/>
                  <a:gd name="connsiteX46" fmla="*/ 0 w 1121416"/>
                  <a:gd name="connsiteY46" fmla="*/ 104775 h 207169"/>
                  <a:gd name="connsiteX47" fmla="*/ 11907 w 1121416"/>
                  <a:gd name="connsiteY4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1443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121443 w 1121416"/>
                  <a:gd name="connsiteY6" fmla="*/ 152400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02407 w 1121416"/>
                  <a:gd name="connsiteY6" fmla="*/ 169069 h 207169"/>
                  <a:gd name="connsiteX7" fmla="*/ 238125 w 1121416"/>
                  <a:gd name="connsiteY7" fmla="*/ 178594 h 207169"/>
                  <a:gd name="connsiteX8" fmla="*/ 285750 w 1121416"/>
                  <a:gd name="connsiteY8" fmla="*/ 192881 h 207169"/>
                  <a:gd name="connsiteX9" fmla="*/ 457200 w 1121416"/>
                  <a:gd name="connsiteY9" fmla="*/ 207169 h 207169"/>
                  <a:gd name="connsiteX10" fmla="*/ 604838 w 1121416"/>
                  <a:gd name="connsiteY10" fmla="*/ 204787 h 207169"/>
                  <a:gd name="connsiteX11" fmla="*/ 623888 w 1121416"/>
                  <a:gd name="connsiteY11" fmla="*/ 200025 h 207169"/>
                  <a:gd name="connsiteX12" fmla="*/ 676275 w 1121416"/>
                  <a:gd name="connsiteY12" fmla="*/ 197644 h 207169"/>
                  <a:gd name="connsiteX13" fmla="*/ 797719 w 1121416"/>
                  <a:gd name="connsiteY13" fmla="*/ 188119 h 207169"/>
                  <a:gd name="connsiteX14" fmla="*/ 866775 w 1121416"/>
                  <a:gd name="connsiteY14" fmla="*/ 173831 h 207169"/>
                  <a:gd name="connsiteX15" fmla="*/ 940594 w 1121416"/>
                  <a:gd name="connsiteY15" fmla="*/ 169069 h 207169"/>
                  <a:gd name="connsiteX16" fmla="*/ 971550 w 1121416"/>
                  <a:gd name="connsiteY16" fmla="*/ 166687 h 207169"/>
                  <a:gd name="connsiteX17" fmla="*/ 1052513 w 1121416"/>
                  <a:gd name="connsiteY17" fmla="*/ 142875 h 207169"/>
                  <a:gd name="connsiteX18" fmla="*/ 1116807 w 1121416"/>
                  <a:gd name="connsiteY18" fmla="*/ 95250 h 207169"/>
                  <a:gd name="connsiteX19" fmla="*/ 1114425 w 1121416"/>
                  <a:gd name="connsiteY19" fmla="*/ 85725 h 207169"/>
                  <a:gd name="connsiteX20" fmla="*/ 1054894 w 1121416"/>
                  <a:gd name="connsiteY20" fmla="*/ 61912 h 207169"/>
                  <a:gd name="connsiteX21" fmla="*/ 966788 w 1121416"/>
                  <a:gd name="connsiteY21" fmla="*/ 35719 h 207169"/>
                  <a:gd name="connsiteX22" fmla="*/ 857250 w 1121416"/>
                  <a:gd name="connsiteY22" fmla="*/ 21431 h 207169"/>
                  <a:gd name="connsiteX23" fmla="*/ 790575 w 1121416"/>
                  <a:gd name="connsiteY23" fmla="*/ 9525 h 207169"/>
                  <a:gd name="connsiteX24" fmla="*/ 702469 w 1121416"/>
                  <a:gd name="connsiteY24" fmla="*/ 7144 h 207169"/>
                  <a:gd name="connsiteX25" fmla="*/ 559594 w 1121416"/>
                  <a:gd name="connsiteY25" fmla="*/ 0 h 207169"/>
                  <a:gd name="connsiteX26" fmla="*/ 338138 w 1121416"/>
                  <a:gd name="connsiteY26" fmla="*/ 2381 h 207169"/>
                  <a:gd name="connsiteX27" fmla="*/ 295275 w 1121416"/>
                  <a:gd name="connsiteY27" fmla="*/ 7144 h 207169"/>
                  <a:gd name="connsiteX28" fmla="*/ 278607 w 1121416"/>
                  <a:gd name="connsiteY28" fmla="*/ 9525 h 207169"/>
                  <a:gd name="connsiteX29" fmla="*/ 269082 w 1121416"/>
                  <a:gd name="connsiteY29" fmla="*/ 11906 h 207169"/>
                  <a:gd name="connsiteX30" fmla="*/ 238125 w 1121416"/>
                  <a:gd name="connsiteY30" fmla="*/ 14287 h 207169"/>
                  <a:gd name="connsiteX31" fmla="*/ 216694 w 1121416"/>
                  <a:gd name="connsiteY31" fmla="*/ 21431 h 207169"/>
                  <a:gd name="connsiteX32" fmla="*/ 195263 w 1121416"/>
                  <a:gd name="connsiteY32" fmla="*/ 26194 h 207169"/>
                  <a:gd name="connsiteX33" fmla="*/ 183357 w 1121416"/>
                  <a:gd name="connsiteY33" fmla="*/ 28575 h 207169"/>
                  <a:gd name="connsiteX34" fmla="*/ 147638 w 1121416"/>
                  <a:gd name="connsiteY34" fmla="*/ 38100 h 207169"/>
                  <a:gd name="connsiteX35" fmla="*/ 128588 w 1121416"/>
                  <a:gd name="connsiteY35" fmla="*/ 45244 h 207169"/>
                  <a:gd name="connsiteX36" fmla="*/ 109538 w 1121416"/>
                  <a:gd name="connsiteY36" fmla="*/ 50006 h 207169"/>
                  <a:gd name="connsiteX37" fmla="*/ 97632 w 1121416"/>
                  <a:gd name="connsiteY37" fmla="*/ 54769 h 207169"/>
                  <a:gd name="connsiteX38" fmla="*/ 80963 w 1121416"/>
                  <a:gd name="connsiteY38" fmla="*/ 57150 h 207169"/>
                  <a:gd name="connsiteX39" fmla="*/ 54769 w 1121416"/>
                  <a:gd name="connsiteY39" fmla="*/ 61912 h 207169"/>
                  <a:gd name="connsiteX40" fmla="*/ 47625 w 1121416"/>
                  <a:gd name="connsiteY40" fmla="*/ 64294 h 207169"/>
                  <a:gd name="connsiteX41" fmla="*/ 23813 w 1121416"/>
                  <a:gd name="connsiteY41" fmla="*/ 71437 h 207169"/>
                  <a:gd name="connsiteX42" fmla="*/ 9525 w 1121416"/>
                  <a:gd name="connsiteY42" fmla="*/ 80962 h 207169"/>
                  <a:gd name="connsiteX43" fmla="*/ 0 w 1121416"/>
                  <a:gd name="connsiteY43" fmla="*/ 104775 h 207169"/>
                  <a:gd name="connsiteX44" fmla="*/ 11907 w 1121416"/>
                  <a:gd name="connsiteY4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43" fmla="*/ 11907 w 1121416"/>
                  <a:gd name="connsiteY43" fmla="*/ 111919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23813 w 1121416"/>
                  <a:gd name="connsiteY39" fmla="*/ 71437 h 207169"/>
                  <a:gd name="connsiteX40" fmla="*/ 9525 w 1121416"/>
                  <a:gd name="connsiteY40" fmla="*/ 80962 h 207169"/>
                  <a:gd name="connsiteX41" fmla="*/ 0 w 1121416"/>
                  <a:gd name="connsiteY4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9525 w 1121416"/>
                  <a:gd name="connsiteY39" fmla="*/ 80962 h 207169"/>
                  <a:gd name="connsiteX40" fmla="*/ 0 w 1121416"/>
                  <a:gd name="connsiteY4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9525 w 1121416"/>
                  <a:gd name="connsiteY38" fmla="*/ 80962 h 207169"/>
                  <a:gd name="connsiteX39" fmla="*/ 0 w 1121416"/>
                  <a:gd name="connsiteY3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54769 w 1121416"/>
                  <a:gd name="connsiteY36" fmla="*/ 61912 h 207169"/>
                  <a:gd name="connsiteX37" fmla="*/ 9525 w 1121416"/>
                  <a:gd name="connsiteY37" fmla="*/ 80962 h 207169"/>
                  <a:gd name="connsiteX38" fmla="*/ 0 w 1121416"/>
                  <a:gd name="connsiteY38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54769 w 1121416"/>
                  <a:gd name="connsiteY35" fmla="*/ 61912 h 207169"/>
                  <a:gd name="connsiteX36" fmla="*/ 9525 w 1121416"/>
                  <a:gd name="connsiteY36" fmla="*/ 80962 h 207169"/>
                  <a:gd name="connsiteX37" fmla="*/ 0 w 1121416"/>
                  <a:gd name="connsiteY37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54769 w 1121416"/>
                  <a:gd name="connsiteY34" fmla="*/ 61912 h 207169"/>
                  <a:gd name="connsiteX35" fmla="*/ 9525 w 1121416"/>
                  <a:gd name="connsiteY35" fmla="*/ 80962 h 207169"/>
                  <a:gd name="connsiteX36" fmla="*/ 0 w 1121416"/>
                  <a:gd name="connsiteY36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54769 w 1121416"/>
                  <a:gd name="connsiteY33" fmla="*/ 61912 h 207169"/>
                  <a:gd name="connsiteX34" fmla="*/ 9525 w 1121416"/>
                  <a:gd name="connsiteY34" fmla="*/ 80962 h 207169"/>
                  <a:gd name="connsiteX35" fmla="*/ 0 w 1121416"/>
                  <a:gd name="connsiteY35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54769 w 1121416"/>
                  <a:gd name="connsiteY32" fmla="*/ 61912 h 207169"/>
                  <a:gd name="connsiteX33" fmla="*/ 9525 w 1121416"/>
                  <a:gd name="connsiteY33" fmla="*/ 80962 h 207169"/>
                  <a:gd name="connsiteX34" fmla="*/ 0 w 1121416"/>
                  <a:gd name="connsiteY34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54769 w 1121416"/>
                  <a:gd name="connsiteY31" fmla="*/ 61912 h 207169"/>
                  <a:gd name="connsiteX32" fmla="*/ 9525 w 1121416"/>
                  <a:gd name="connsiteY32" fmla="*/ 80962 h 207169"/>
                  <a:gd name="connsiteX33" fmla="*/ 0 w 1121416"/>
                  <a:gd name="connsiteY33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54769 w 1121416"/>
                  <a:gd name="connsiteY30" fmla="*/ 61912 h 207169"/>
                  <a:gd name="connsiteX31" fmla="*/ 9525 w 1121416"/>
                  <a:gd name="connsiteY31" fmla="*/ 80962 h 207169"/>
                  <a:gd name="connsiteX32" fmla="*/ 0 w 1121416"/>
                  <a:gd name="connsiteY3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54769 w 1121416"/>
                  <a:gd name="connsiteY29" fmla="*/ 61912 h 207169"/>
                  <a:gd name="connsiteX30" fmla="*/ 9525 w 1121416"/>
                  <a:gd name="connsiteY30" fmla="*/ 80962 h 207169"/>
                  <a:gd name="connsiteX31" fmla="*/ 0 w 1121416"/>
                  <a:gd name="connsiteY3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38125 w 1121416"/>
                  <a:gd name="connsiteY27" fmla="*/ 14287 h 207169"/>
                  <a:gd name="connsiteX28" fmla="*/ 54769 w 1121416"/>
                  <a:gd name="connsiteY28" fmla="*/ 61912 h 207169"/>
                  <a:gd name="connsiteX29" fmla="*/ 9525 w 1121416"/>
                  <a:gd name="connsiteY29" fmla="*/ 80962 h 207169"/>
                  <a:gd name="connsiteX30" fmla="*/ 0 w 1121416"/>
                  <a:gd name="connsiteY3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78607 w 1121416"/>
                  <a:gd name="connsiteY25" fmla="*/ 9525 h 207169"/>
                  <a:gd name="connsiteX26" fmla="*/ 238125 w 1121416"/>
                  <a:gd name="connsiteY26" fmla="*/ 14287 h 207169"/>
                  <a:gd name="connsiteX27" fmla="*/ 54769 w 1121416"/>
                  <a:gd name="connsiteY27" fmla="*/ 61912 h 207169"/>
                  <a:gd name="connsiteX28" fmla="*/ 9525 w 1121416"/>
                  <a:gd name="connsiteY28" fmla="*/ 80962 h 207169"/>
                  <a:gd name="connsiteX29" fmla="*/ 0 w 1121416"/>
                  <a:gd name="connsiteY2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85750 w 1121416"/>
                  <a:gd name="connsiteY5" fmla="*/ 192881 h 207169"/>
                  <a:gd name="connsiteX6" fmla="*/ 457200 w 1121416"/>
                  <a:gd name="connsiteY6" fmla="*/ 207169 h 207169"/>
                  <a:gd name="connsiteX7" fmla="*/ 604838 w 1121416"/>
                  <a:gd name="connsiteY7" fmla="*/ 204787 h 207169"/>
                  <a:gd name="connsiteX8" fmla="*/ 623888 w 1121416"/>
                  <a:gd name="connsiteY8" fmla="*/ 200025 h 207169"/>
                  <a:gd name="connsiteX9" fmla="*/ 676275 w 1121416"/>
                  <a:gd name="connsiteY9" fmla="*/ 197644 h 207169"/>
                  <a:gd name="connsiteX10" fmla="*/ 797719 w 1121416"/>
                  <a:gd name="connsiteY10" fmla="*/ 188119 h 207169"/>
                  <a:gd name="connsiteX11" fmla="*/ 866775 w 1121416"/>
                  <a:gd name="connsiteY11" fmla="*/ 173831 h 207169"/>
                  <a:gd name="connsiteX12" fmla="*/ 940594 w 1121416"/>
                  <a:gd name="connsiteY12" fmla="*/ 169069 h 207169"/>
                  <a:gd name="connsiteX13" fmla="*/ 971550 w 1121416"/>
                  <a:gd name="connsiteY13" fmla="*/ 166687 h 207169"/>
                  <a:gd name="connsiteX14" fmla="*/ 1052513 w 1121416"/>
                  <a:gd name="connsiteY14" fmla="*/ 142875 h 207169"/>
                  <a:gd name="connsiteX15" fmla="*/ 1116807 w 1121416"/>
                  <a:gd name="connsiteY15" fmla="*/ 95250 h 207169"/>
                  <a:gd name="connsiteX16" fmla="*/ 1114425 w 1121416"/>
                  <a:gd name="connsiteY16" fmla="*/ 85725 h 207169"/>
                  <a:gd name="connsiteX17" fmla="*/ 1054894 w 1121416"/>
                  <a:gd name="connsiteY17" fmla="*/ 61912 h 207169"/>
                  <a:gd name="connsiteX18" fmla="*/ 966788 w 1121416"/>
                  <a:gd name="connsiteY18" fmla="*/ 35719 h 207169"/>
                  <a:gd name="connsiteX19" fmla="*/ 857250 w 1121416"/>
                  <a:gd name="connsiteY19" fmla="*/ 21431 h 207169"/>
                  <a:gd name="connsiteX20" fmla="*/ 790575 w 1121416"/>
                  <a:gd name="connsiteY20" fmla="*/ 9525 h 207169"/>
                  <a:gd name="connsiteX21" fmla="*/ 702469 w 1121416"/>
                  <a:gd name="connsiteY21" fmla="*/ 7144 h 207169"/>
                  <a:gd name="connsiteX22" fmla="*/ 559594 w 1121416"/>
                  <a:gd name="connsiteY22" fmla="*/ 0 h 207169"/>
                  <a:gd name="connsiteX23" fmla="*/ 338138 w 1121416"/>
                  <a:gd name="connsiteY23" fmla="*/ 2381 h 207169"/>
                  <a:gd name="connsiteX24" fmla="*/ 278607 w 1121416"/>
                  <a:gd name="connsiteY24" fmla="*/ 9525 h 207169"/>
                  <a:gd name="connsiteX25" fmla="*/ 238125 w 1121416"/>
                  <a:gd name="connsiteY25" fmla="*/ 14287 h 207169"/>
                  <a:gd name="connsiteX26" fmla="*/ 54769 w 1121416"/>
                  <a:gd name="connsiteY26" fmla="*/ 61912 h 207169"/>
                  <a:gd name="connsiteX27" fmla="*/ 9525 w 1121416"/>
                  <a:gd name="connsiteY27" fmla="*/ 80962 h 207169"/>
                  <a:gd name="connsiteX28" fmla="*/ 0 w 1121416"/>
                  <a:gd name="connsiteY28" fmla="*/ 104775 h 207169"/>
                  <a:gd name="connsiteX0" fmla="*/ 0 w 1129985"/>
                  <a:gd name="connsiteY0" fmla="*/ 104775 h 207169"/>
                  <a:gd name="connsiteX1" fmla="*/ 23813 w 1129985"/>
                  <a:gd name="connsiteY1" fmla="*/ 121444 h 207169"/>
                  <a:gd name="connsiteX2" fmla="*/ 28575 w 1129985"/>
                  <a:gd name="connsiteY2" fmla="*/ 128587 h 207169"/>
                  <a:gd name="connsiteX3" fmla="*/ 47625 w 1129985"/>
                  <a:gd name="connsiteY3" fmla="*/ 140494 h 207169"/>
                  <a:gd name="connsiteX4" fmla="*/ 104775 w 1129985"/>
                  <a:gd name="connsiteY4" fmla="*/ 150019 h 207169"/>
                  <a:gd name="connsiteX5" fmla="*/ 285750 w 1129985"/>
                  <a:gd name="connsiteY5" fmla="*/ 192881 h 207169"/>
                  <a:gd name="connsiteX6" fmla="*/ 457200 w 1129985"/>
                  <a:gd name="connsiteY6" fmla="*/ 207169 h 207169"/>
                  <a:gd name="connsiteX7" fmla="*/ 604838 w 1129985"/>
                  <a:gd name="connsiteY7" fmla="*/ 204787 h 207169"/>
                  <a:gd name="connsiteX8" fmla="*/ 623888 w 1129985"/>
                  <a:gd name="connsiteY8" fmla="*/ 200025 h 207169"/>
                  <a:gd name="connsiteX9" fmla="*/ 676275 w 1129985"/>
                  <a:gd name="connsiteY9" fmla="*/ 197644 h 207169"/>
                  <a:gd name="connsiteX10" fmla="*/ 797719 w 1129985"/>
                  <a:gd name="connsiteY10" fmla="*/ 188119 h 207169"/>
                  <a:gd name="connsiteX11" fmla="*/ 866775 w 1129985"/>
                  <a:gd name="connsiteY11" fmla="*/ 173831 h 207169"/>
                  <a:gd name="connsiteX12" fmla="*/ 940594 w 1129985"/>
                  <a:gd name="connsiteY12" fmla="*/ 169069 h 207169"/>
                  <a:gd name="connsiteX13" fmla="*/ 971550 w 1129985"/>
                  <a:gd name="connsiteY13" fmla="*/ 166687 h 207169"/>
                  <a:gd name="connsiteX14" fmla="*/ 1052513 w 1129985"/>
                  <a:gd name="connsiteY14" fmla="*/ 142875 h 207169"/>
                  <a:gd name="connsiteX15" fmla="*/ 1125625 w 1129985"/>
                  <a:gd name="connsiteY15" fmla="*/ 102808 h 207169"/>
                  <a:gd name="connsiteX16" fmla="*/ 1114425 w 1129985"/>
                  <a:gd name="connsiteY16" fmla="*/ 85725 h 207169"/>
                  <a:gd name="connsiteX17" fmla="*/ 1054894 w 1129985"/>
                  <a:gd name="connsiteY17" fmla="*/ 61912 h 207169"/>
                  <a:gd name="connsiteX18" fmla="*/ 966788 w 1129985"/>
                  <a:gd name="connsiteY18" fmla="*/ 35719 h 207169"/>
                  <a:gd name="connsiteX19" fmla="*/ 857250 w 1129985"/>
                  <a:gd name="connsiteY19" fmla="*/ 21431 h 207169"/>
                  <a:gd name="connsiteX20" fmla="*/ 790575 w 1129985"/>
                  <a:gd name="connsiteY20" fmla="*/ 9525 h 207169"/>
                  <a:gd name="connsiteX21" fmla="*/ 702469 w 1129985"/>
                  <a:gd name="connsiteY21" fmla="*/ 7144 h 207169"/>
                  <a:gd name="connsiteX22" fmla="*/ 559594 w 1129985"/>
                  <a:gd name="connsiteY22" fmla="*/ 0 h 207169"/>
                  <a:gd name="connsiteX23" fmla="*/ 338138 w 1129985"/>
                  <a:gd name="connsiteY23" fmla="*/ 2381 h 207169"/>
                  <a:gd name="connsiteX24" fmla="*/ 278607 w 1129985"/>
                  <a:gd name="connsiteY24" fmla="*/ 9525 h 207169"/>
                  <a:gd name="connsiteX25" fmla="*/ 238125 w 1129985"/>
                  <a:gd name="connsiteY25" fmla="*/ 14287 h 207169"/>
                  <a:gd name="connsiteX26" fmla="*/ 54769 w 1129985"/>
                  <a:gd name="connsiteY26" fmla="*/ 61912 h 207169"/>
                  <a:gd name="connsiteX27" fmla="*/ 9525 w 1129985"/>
                  <a:gd name="connsiteY27" fmla="*/ 80962 h 207169"/>
                  <a:gd name="connsiteX28" fmla="*/ 0 w 1129985"/>
                  <a:gd name="connsiteY28" fmla="*/ 104775 h 207169"/>
                  <a:gd name="connsiteX0" fmla="*/ 0 w 1128285"/>
                  <a:gd name="connsiteY0" fmla="*/ 104775 h 207169"/>
                  <a:gd name="connsiteX1" fmla="*/ 23813 w 1128285"/>
                  <a:gd name="connsiteY1" fmla="*/ 121444 h 207169"/>
                  <a:gd name="connsiteX2" fmla="*/ 28575 w 1128285"/>
                  <a:gd name="connsiteY2" fmla="*/ 128587 h 207169"/>
                  <a:gd name="connsiteX3" fmla="*/ 47625 w 1128285"/>
                  <a:gd name="connsiteY3" fmla="*/ 140494 h 207169"/>
                  <a:gd name="connsiteX4" fmla="*/ 104775 w 1128285"/>
                  <a:gd name="connsiteY4" fmla="*/ 150019 h 207169"/>
                  <a:gd name="connsiteX5" fmla="*/ 285750 w 1128285"/>
                  <a:gd name="connsiteY5" fmla="*/ 192881 h 207169"/>
                  <a:gd name="connsiteX6" fmla="*/ 457200 w 1128285"/>
                  <a:gd name="connsiteY6" fmla="*/ 207169 h 207169"/>
                  <a:gd name="connsiteX7" fmla="*/ 604838 w 1128285"/>
                  <a:gd name="connsiteY7" fmla="*/ 204787 h 207169"/>
                  <a:gd name="connsiteX8" fmla="*/ 623888 w 1128285"/>
                  <a:gd name="connsiteY8" fmla="*/ 200025 h 207169"/>
                  <a:gd name="connsiteX9" fmla="*/ 676275 w 1128285"/>
                  <a:gd name="connsiteY9" fmla="*/ 197644 h 207169"/>
                  <a:gd name="connsiteX10" fmla="*/ 797719 w 1128285"/>
                  <a:gd name="connsiteY10" fmla="*/ 188119 h 207169"/>
                  <a:gd name="connsiteX11" fmla="*/ 866775 w 1128285"/>
                  <a:gd name="connsiteY11" fmla="*/ 173831 h 207169"/>
                  <a:gd name="connsiteX12" fmla="*/ 940594 w 1128285"/>
                  <a:gd name="connsiteY12" fmla="*/ 169069 h 207169"/>
                  <a:gd name="connsiteX13" fmla="*/ 971550 w 1128285"/>
                  <a:gd name="connsiteY13" fmla="*/ 166687 h 207169"/>
                  <a:gd name="connsiteX14" fmla="*/ 1052513 w 1128285"/>
                  <a:gd name="connsiteY14" fmla="*/ 142875 h 207169"/>
                  <a:gd name="connsiteX15" fmla="*/ 1125625 w 1128285"/>
                  <a:gd name="connsiteY15" fmla="*/ 102808 h 207169"/>
                  <a:gd name="connsiteX16" fmla="*/ 1106866 w 1128285"/>
                  <a:gd name="connsiteY16" fmla="*/ 74387 h 207169"/>
                  <a:gd name="connsiteX17" fmla="*/ 1054894 w 1128285"/>
                  <a:gd name="connsiteY17" fmla="*/ 61912 h 207169"/>
                  <a:gd name="connsiteX18" fmla="*/ 966788 w 1128285"/>
                  <a:gd name="connsiteY18" fmla="*/ 35719 h 207169"/>
                  <a:gd name="connsiteX19" fmla="*/ 857250 w 1128285"/>
                  <a:gd name="connsiteY19" fmla="*/ 21431 h 207169"/>
                  <a:gd name="connsiteX20" fmla="*/ 790575 w 1128285"/>
                  <a:gd name="connsiteY20" fmla="*/ 9525 h 207169"/>
                  <a:gd name="connsiteX21" fmla="*/ 702469 w 1128285"/>
                  <a:gd name="connsiteY21" fmla="*/ 7144 h 207169"/>
                  <a:gd name="connsiteX22" fmla="*/ 559594 w 1128285"/>
                  <a:gd name="connsiteY22" fmla="*/ 0 h 207169"/>
                  <a:gd name="connsiteX23" fmla="*/ 338138 w 1128285"/>
                  <a:gd name="connsiteY23" fmla="*/ 2381 h 207169"/>
                  <a:gd name="connsiteX24" fmla="*/ 278607 w 1128285"/>
                  <a:gd name="connsiteY24" fmla="*/ 9525 h 207169"/>
                  <a:gd name="connsiteX25" fmla="*/ 238125 w 1128285"/>
                  <a:gd name="connsiteY25" fmla="*/ 14287 h 207169"/>
                  <a:gd name="connsiteX26" fmla="*/ 54769 w 1128285"/>
                  <a:gd name="connsiteY26" fmla="*/ 61912 h 207169"/>
                  <a:gd name="connsiteX27" fmla="*/ 9525 w 1128285"/>
                  <a:gd name="connsiteY27" fmla="*/ 80962 h 207169"/>
                  <a:gd name="connsiteX28" fmla="*/ 0 w 1128285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66788 w 1128511"/>
                  <a:gd name="connsiteY18" fmla="*/ 35719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8055 w 1128511"/>
                  <a:gd name="connsiteY20" fmla="*/ 448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47625 w 1128511"/>
                  <a:gd name="connsiteY2" fmla="*/ 140494 h 207169"/>
                  <a:gd name="connsiteX3" fmla="*/ 104775 w 1128511"/>
                  <a:gd name="connsiteY3" fmla="*/ 150019 h 207169"/>
                  <a:gd name="connsiteX4" fmla="*/ 285750 w 1128511"/>
                  <a:gd name="connsiteY4" fmla="*/ 192881 h 207169"/>
                  <a:gd name="connsiteX5" fmla="*/ 457200 w 1128511"/>
                  <a:gd name="connsiteY5" fmla="*/ 207169 h 207169"/>
                  <a:gd name="connsiteX6" fmla="*/ 604838 w 1128511"/>
                  <a:gd name="connsiteY6" fmla="*/ 204787 h 207169"/>
                  <a:gd name="connsiteX7" fmla="*/ 623888 w 1128511"/>
                  <a:gd name="connsiteY7" fmla="*/ 200025 h 207169"/>
                  <a:gd name="connsiteX8" fmla="*/ 676275 w 1128511"/>
                  <a:gd name="connsiteY8" fmla="*/ 197644 h 207169"/>
                  <a:gd name="connsiteX9" fmla="*/ 797719 w 1128511"/>
                  <a:gd name="connsiteY9" fmla="*/ 188119 h 207169"/>
                  <a:gd name="connsiteX10" fmla="*/ 866775 w 1128511"/>
                  <a:gd name="connsiteY10" fmla="*/ 173831 h 207169"/>
                  <a:gd name="connsiteX11" fmla="*/ 940594 w 1128511"/>
                  <a:gd name="connsiteY11" fmla="*/ 169069 h 207169"/>
                  <a:gd name="connsiteX12" fmla="*/ 971550 w 1128511"/>
                  <a:gd name="connsiteY12" fmla="*/ 166687 h 207169"/>
                  <a:gd name="connsiteX13" fmla="*/ 1052513 w 1128511"/>
                  <a:gd name="connsiteY13" fmla="*/ 142875 h 207169"/>
                  <a:gd name="connsiteX14" fmla="*/ 1125625 w 1128511"/>
                  <a:gd name="connsiteY14" fmla="*/ 102808 h 207169"/>
                  <a:gd name="connsiteX15" fmla="*/ 1106866 w 1128511"/>
                  <a:gd name="connsiteY15" fmla="*/ 74387 h 207169"/>
                  <a:gd name="connsiteX16" fmla="*/ 1042296 w 1128511"/>
                  <a:gd name="connsiteY16" fmla="*/ 44275 h 207169"/>
                  <a:gd name="connsiteX17" fmla="*/ 941593 w 1128511"/>
                  <a:gd name="connsiteY17" fmla="*/ 25641 h 207169"/>
                  <a:gd name="connsiteX18" fmla="*/ 858510 w 1128511"/>
                  <a:gd name="connsiteY18" fmla="*/ 13873 h 207169"/>
                  <a:gd name="connsiteX19" fmla="*/ 783016 w 1128511"/>
                  <a:gd name="connsiteY19" fmla="*/ 3226 h 207169"/>
                  <a:gd name="connsiteX20" fmla="*/ 693651 w 1128511"/>
                  <a:gd name="connsiteY20" fmla="*/ 2105 h 207169"/>
                  <a:gd name="connsiteX21" fmla="*/ 559594 w 1128511"/>
                  <a:gd name="connsiteY21" fmla="*/ 0 h 207169"/>
                  <a:gd name="connsiteX22" fmla="*/ 348216 w 1128511"/>
                  <a:gd name="connsiteY22" fmla="*/ 4901 h 207169"/>
                  <a:gd name="connsiteX23" fmla="*/ 221748 w 1128511"/>
                  <a:gd name="connsiteY23" fmla="*/ 15547 h 207169"/>
                  <a:gd name="connsiteX24" fmla="*/ 63587 w 1128511"/>
                  <a:gd name="connsiteY24" fmla="*/ 53093 h 207169"/>
                  <a:gd name="connsiteX25" fmla="*/ 9525 w 1128511"/>
                  <a:gd name="connsiteY25" fmla="*/ 80962 h 207169"/>
                  <a:gd name="connsiteX26" fmla="*/ 0 w 1128511"/>
                  <a:gd name="connsiteY26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104775 w 1128511"/>
                  <a:gd name="connsiteY2" fmla="*/ 150019 h 207169"/>
                  <a:gd name="connsiteX3" fmla="*/ 285750 w 1128511"/>
                  <a:gd name="connsiteY3" fmla="*/ 192881 h 207169"/>
                  <a:gd name="connsiteX4" fmla="*/ 457200 w 1128511"/>
                  <a:gd name="connsiteY4" fmla="*/ 207169 h 207169"/>
                  <a:gd name="connsiteX5" fmla="*/ 604838 w 1128511"/>
                  <a:gd name="connsiteY5" fmla="*/ 204787 h 207169"/>
                  <a:gd name="connsiteX6" fmla="*/ 623888 w 1128511"/>
                  <a:gd name="connsiteY6" fmla="*/ 200025 h 207169"/>
                  <a:gd name="connsiteX7" fmla="*/ 676275 w 1128511"/>
                  <a:gd name="connsiteY7" fmla="*/ 197644 h 207169"/>
                  <a:gd name="connsiteX8" fmla="*/ 797719 w 1128511"/>
                  <a:gd name="connsiteY8" fmla="*/ 188119 h 207169"/>
                  <a:gd name="connsiteX9" fmla="*/ 866775 w 1128511"/>
                  <a:gd name="connsiteY9" fmla="*/ 173831 h 207169"/>
                  <a:gd name="connsiteX10" fmla="*/ 940594 w 1128511"/>
                  <a:gd name="connsiteY10" fmla="*/ 169069 h 207169"/>
                  <a:gd name="connsiteX11" fmla="*/ 971550 w 1128511"/>
                  <a:gd name="connsiteY11" fmla="*/ 166687 h 207169"/>
                  <a:gd name="connsiteX12" fmla="*/ 1052513 w 1128511"/>
                  <a:gd name="connsiteY12" fmla="*/ 142875 h 207169"/>
                  <a:gd name="connsiteX13" fmla="*/ 1125625 w 1128511"/>
                  <a:gd name="connsiteY13" fmla="*/ 102808 h 207169"/>
                  <a:gd name="connsiteX14" fmla="*/ 1106866 w 1128511"/>
                  <a:gd name="connsiteY14" fmla="*/ 74387 h 207169"/>
                  <a:gd name="connsiteX15" fmla="*/ 1042296 w 1128511"/>
                  <a:gd name="connsiteY15" fmla="*/ 44275 h 207169"/>
                  <a:gd name="connsiteX16" fmla="*/ 941593 w 1128511"/>
                  <a:gd name="connsiteY16" fmla="*/ 25641 h 207169"/>
                  <a:gd name="connsiteX17" fmla="*/ 858510 w 1128511"/>
                  <a:gd name="connsiteY17" fmla="*/ 13873 h 207169"/>
                  <a:gd name="connsiteX18" fmla="*/ 783016 w 1128511"/>
                  <a:gd name="connsiteY18" fmla="*/ 3226 h 207169"/>
                  <a:gd name="connsiteX19" fmla="*/ 693651 w 1128511"/>
                  <a:gd name="connsiteY19" fmla="*/ 2105 h 207169"/>
                  <a:gd name="connsiteX20" fmla="*/ 559594 w 1128511"/>
                  <a:gd name="connsiteY20" fmla="*/ 0 h 207169"/>
                  <a:gd name="connsiteX21" fmla="*/ 348216 w 1128511"/>
                  <a:gd name="connsiteY21" fmla="*/ 4901 h 207169"/>
                  <a:gd name="connsiteX22" fmla="*/ 221748 w 1128511"/>
                  <a:gd name="connsiteY22" fmla="*/ 15547 h 207169"/>
                  <a:gd name="connsiteX23" fmla="*/ 63587 w 1128511"/>
                  <a:gd name="connsiteY23" fmla="*/ 53093 h 207169"/>
                  <a:gd name="connsiteX24" fmla="*/ 9525 w 1128511"/>
                  <a:gd name="connsiteY24" fmla="*/ 80962 h 207169"/>
                  <a:gd name="connsiteX25" fmla="*/ 0 w 1128511"/>
                  <a:gd name="connsiteY25" fmla="*/ 104775 h 207169"/>
                  <a:gd name="connsiteX0" fmla="*/ 1574 w 1130085"/>
                  <a:gd name="connsiteY0" fmla="*/ 104775 h 207169"/>
                  <a:gd name="connsiteX1" fmla="*/ 46803 w 1130085"/>
                  <a:gd name="connsiteY1" fmla="*/ 135301 h 207169"/>
                  <a:gd name="connsiteX2" fmla="*/ 106349 w 1130085"/>
                  <a:gd name="connsiteY2" fmla="*/ 150019 h 207169"/>
                  <a:gd name="connsiteX3" fmla="*/ 287324 w 1130085"/>
                  <a:gd name="connsiteY3" fmla="*/ 192881 h 207169"/>
                  <a:gd name="connsiteX4" fmla="*/ 458774 w 1130085"/>
                  <a:gd name="connsiteY4" fmla="*/ 207169 h 207169"/>
                  <a:gd name="connsiteX5" fmla="*/ 606412 w 1130085"/>
                  <a:gd name="connsiteY5" fmla="*/ 204787 h 207169"/>
                  <a:gd name="connsiteX6" fmla="*/ 625462 w 1130085"/>
                  <a:gd name="connsiteY6" fmla="*/ 200025 h 207169"/>
                  <a:gd name="connsiteX7" fmla="*/ 677849 w 1130085"/>
                  <a:gd name="connsiteY7" fmla="*/ 197644 h 207169"/>
                  <a:gd name="connsiteX8" fmla="*/ 799293 w 1130085"/>
                  <a:gd name="connsiteY8" fmla="*/ 188119 h 207169"/>
                  <a:gd name="connsiteX9" fmla="*/ 868349 w 1130085"/>
                  <a:gd name="connsiteY9" fmla="*/ 173831 h 207169"/>
                  <a:gd name="connsiteX10" fmla="*/ 942168 w 1130085"/>
                  <a:gd name="connsiteY10" fmla="*/ 169069 h 207169"/>
                  <a:gd name="connsiteX11" fmla="*/ 973124 w 1130085"/>
                  <a:gd name="connsiteY11" fmla="*/ 166687 h 207169"/>
                  <a:gd name="connsiteX12" fmla="*/ 1054087 w 1130085"/>
                  <a:gd name="connsiteY12" fmla="*/ 142875 h 207169"/>
                  <a:gd name="connsiteX13" fmla="*/ 1127199 w 1130085"/>
                  <a:gd name="connsiteY13" fmla="*/ 102808 h 207169"/>
                  <a:gd name="connsiteX14" fmla="*/ 1108440 w 1130085"/>
                  <a:gd name="connsiteY14" fmla="*/ 74387 h 207169"/>
                  <a:gd name="connsiteX15" fmla="*/ 1043870 w 1130085"/>
                  <a:gd name="connsiteY15" fmla="*/ 44275 h 207169"/>
                  <a:gd name="connsiteX16" fmla="*/ 943167 w 1130085"/>
                  <a:gd name="connsiteY16" fmla="*/ 25641 h 207169"/>
                  <a:gd name="connsiteX17" fmla="*/ 860084 w 1130085"/>
                  <a:gd name="connsiteY17" fmla="*/ 13873 h 207169"/>
                  <a:gd name="connsiteX18" fmla="*/ 784590 w 1130085"/>
                  <a:gd name="connsiteY18" fmla="*/ 3226 h 207169"/>
                  <a:gd name="connsiteX19" fmla="*/ 695225 w 1130085"/>
                  <a:gd name="connsiteY19" fmla="*/ 2105 h 207169"/>
                  <a:gd name="connsiteX20" fmla="*/ 561168 w 1130085"/>
                  <a:gd name="connsiteY20" fmla="*/ 0 h 207169"/>
                  <a:gd name="connsiteX21" fmla="*/ 349790 w 1130085"/>
                  <a:gd name="connsiteY21" fmla="*/ 4901 h 207169"/>
                  <a:gd name="connsiteX22" fmla="*/ 223322 w 1130085"/>
                  <a:gd name="connsiteY22" fmla="*/ 15547 h 207169"/>
                  <a:gd name="connsiteX23" fmla="*/ 65161 w 1130085"/>
                  <a:gd name="connsiteY23" fmla="*/ 53093 h 207169"/>
                  <a:gd name="connsiteX24" fmla="*/ 11099 w 1130085"/>
                  <a:gd name="connsiteY24" fmla="*/ 80962 h 207169"/>
                  <a:gd name="connsiteX25" fmla="*/ 1574 w 1130085"/>
                  <a:gd name="connsiteY25" fmla="*/ 104775 h 207169"/>
                  <a:gd name="connsiteX0" fmla="*/ 2544 w 1131055"/>
                  <a:gd name="connsiteY0" fmla="*/ 104775 h 207169"/>
                  <a:gd name="connsiteX1" fmla="*/ 47773 w 1131055"/>
                  <a:gd name="connsiteY1" fmla="*/ 135301 h 207169"/>
                  <a:gd name="connsiteX2" fmla="*/ 107319 w 1131055"/>
                  <a:gd name="connsiteY2" fmla="*/ 150019 h 207169"/>
                  <a:gd name="connsiteX3" fmla="*/ 288294 w 1131055"/>
                  <a:gd name="connsiteY3" fmla="*/ 192881 h 207169"/>
                  <a:gd name="connsiteX4" fmla="*/ 459744 w 1131055"/>
                  <a:gd name="connsiteY4" fmla="*/ 207169 h 207169"/>
                  <a:gd name="connsiteX5" fmla="*/ 607382 w 1131055"/>
                  <a:gd name="connsiteY5" fmla="*/ 204787 h 207169"/>
                  <a:gd name="connsiteX6" fmla="*/ 626432 w 1131055"/>
                  <a:gd name="connsiteY6" fmla="*/ 200025 h 207169"/>
                  <a:gd name="connsiteX7" fmla="*/ 678819 w 1131055"/>
                  <a:gd name="connsiteY7" fmla="*/ 197644 h 207169"/>
                  <a:gd name="connsiteX8" fmla="*/ 800263 w 1131055"/>
                  <a:gd name="connsiteY8" fmla="*/ 188119 h 207169"/>
                  <a:gd name="connsiteX9" fmla="*/ 869319 w 1131055"/>
                  <a:gd name="connsiteY9" fmla="*/ 173831 h 207169"/>
                  <a:gd name="connsiteX10" fmla="*/ 943138 w 1131055"/>
                  <a:gd name="connsiteY10" fmla="*/ 169069 h 207169"/>
                  <a:gd name="connsiteX11" fmla="*/ 974094 w 1131055"/>
                  <a:gd name="connsiteY11" fmla="*/ 166687 h 207169"/>
                  <a:gd name="connsiteX12" fmla="*/ 1055057 w 1131055"/>
                  <a:gd name="connsiteY12" fmla="*/ 142875 h 207169"/>
                  <a:gd name="connsiteX13" fmla="*/ 1128169 w 1131055"/>
                  <a:gd name="connsiteY13" fmla="*/ 102808 h 207169"/>
                  <a:gd name="connsiteX14" fmla="*/ 1109410 w 1131055"/>
                  <a:gd name="connsiteY14" fmla="*/ 74387 h 207169"/>
                  <a:gd name="connsiteX15" fmla="*/ 1044840 w 1131055"/>
                  <a:gd name="connsiteY15" fmla="*/ 44275 h 207169"/>
                  <a:gd name="connsiteX16" fmla="*/ 944137 w 1131055"/>
                  <a:gd name="connsiteY16" fmla="*/ 25641 h 207169"/>
                  <a:gd name="connsiteX17" fmla="*/ 861054 w 1131055"/>
                  <a:gd name="connsiteY17" fmla="*/ 13873 h 207169"/>
                  <a:gd name="connsiteX18" fmla="*/ 785560 w 1131055"/>
                  <a:gd name="connsiteY18" fmla="*/ 3226 h 207169"/>
                  <a:gd name="connsiteX19" fmla="*/ 696195 w 1131055"/>
                  <a:gd name="connsiteY19" fmla="*/ 2105 h 207169"/>
                  <a:gd name="connsiteX20" fmla="*/ 562138 w 1131055"/>
                  <a:gd name="connsiteY20" fmla="*/ 0 h 207169"/>
                  <a:gd name="connsiteX21" fmla="*/ 350760 w 1131055"/>
                  <a:gd name="connsiteY21" fmla="*/ 4901 h 207169"/>
                  <a:gd name="connsiteX22" fmla="*/ 224292 w 1131055"/>
                  <a:gd name="connsiteY22" fmla="*/ 15547 h 207169"/>
                  <a:gd name="connsiteX23" fmla="*/ 66131 w 1131055"/>
                  <a:gd name="connsiteY23" fmla="*/ 53093 h 207169"/>
                  <a:gd name="connsiteX24" fmla="*/ 12069 w 1131055"/>
                  <a:gd name="connsiteY24" fmla="*/ 80962 h 207169"/>
                  <a:gd name="connsiteX25" fmla="*/ 2544 w 1131055"/>
                  <a:gd name="connsiteY25" fmla="*/ 104775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1104 w 1124840"/>
                  <a:gd name="connsiteY2" fmla="*/ 150019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9922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83757 w 1126518"/>
                  <a:gd name="connsiteY3" fmla="*/ 192881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9354"/>
                  <a:gd name="connsiteX1" fmla="*/ 43236 w 1126518"/>
                  <a:gd name="connsiteY1" fmla="*/ 135301 h 209354"/>
                  <a:gd name="connsiteX2" fmla="*/ 124198 w 1126518"/>
                  <a:gd name="connsiteY2" fmla="*/ 160097 h 209354"/>
                  <a:gd name="connsiteX3" fmla="*/ 290056 w 1126518"/>
                  <a:gd name="connsiteY3" fmla="*/ 190362 h 209354"/>
                  <a:gd name="connsiteX4" fmla="*/ 455207 w 1126518"/>
                  <a:gd name="connsiteY4" fmla="*/ 207169 h 209354"/>
                  <a:gd name="connsiteX5" fmla="*/ 602845 w 1126518"/>
                  <a:gd name="connsiteY5" fmla="*/ 204787 h 209354"/>
                  <a:gd name="connsiteX6" fmla="*/ 621895 w 1126518"/>
                  <a:gd name="connsiteY6" fmla="*/ 200025 h 209354"/>
                  <a:gd name="connsiteX7" fmla="*/ 674282 w 1126518"/>
                  <a:gd name="connsiteY7" fmla="*/ 197644 h 209354"/>
                  <a:gd name="connsiteX8" fmla="*/ 795726 w 1126518"/>
                  <a:gd name="connsiteY8" fmla="*/ 188119 h 209354"/>
                  <a:gd name="connsiteX9" fmla="*/ 864782 w 1126518"/>
                  <a:gd name="connsiteY9" fmla="*/ 173831 h 209354"/>
                  <a:gd name="connsiteX10" fmla="*/ 938601 w 1126518"/>
                  <a:gd name="connsiteY10" fmla="*/ 169069 h 209354"/>
                  <a:gd name="connsiteX11" fmla="*/ 969557 w 1126518"/>
                  <a:gd name="connsiteY11" fmla="*/ 166687 h 209354"/>
                  <a:gd name="connsiteX12" fmla="*/ 1050520 w 1126518"/>
                  <a:gd name="connsiteY12" fmla="*/ 142875 h 209354"/>
                  <a:gd name="connsiteX13" fmla="*/ 1123632 w 1126518"/>
                  <a:gd name="connsiteY13" fmla="*/ 102808 h 209354"/>
                  <a:gd name="connsiteX14" fmla="*/ 1104873 w 1126518"/>
                  <a:gd name="connsiteY14" fmla="*/ 74387 h 209354"/>
                  <a:gd name="connsiteX15" fmla="*/ 1040303 w 1126518"/>
                  <a:gd name="connsiteY15" fmla="*/ 44275 h 209354"/>
                  <a:gd name="connsiteX16" fmla="*/ 939600 w 1126518"/>
                  <a:gd name="connsiteY16" fmla="*/ 25641 h 209354"/>
                  <a:gd name="connsiteX17" fmla="*/ 856517 w 1126518"/>
                  <a:gd name="connsiteY17" fmla="*/ 13873 h 209354"/>
                  <a:gd name="connsiteX18" fmla="*/ 781023 w 1126518"/>
                  <a:gd name="connsiteY18" fmla="*/ 3226 h 209354"/>
                  <a:gd name="connsiteX19" fmla="*/ 691658 w 1126518"/>
                  <a:gd name="connsiteY19" fmla="*/ 2105 h 209354"/>
                  <a:gd name="connsiteX20" fmla="*/ 557601 w 1126518"/>
                  <a:gd name="connsiteY20" fmla="*/ 0 h 209354"/>
                  <a:gd name="connsiteX21" fmla="*/ 346223 w 1126518"/>
                  <a:gd name="connsiteY21" fmla="*/ 4901 h 209354"/>
                  <a:gd name="connsiteX22" fmla="*/ 219755 w 1126518"/>
                  <a:gd name="connsiteY22" fmla="*/ 15547 h 209354"/>
                  <a:gd name="connsiteX23" fmla="*/ 61594 w 1126518"/>
                  <a:gd name="connsiteY23" fmla="*/ 53093 h 209354"/>
                  <a:gd name="connsiteX24" fmla="*/ 7532 w 1126518"/>
                  <a:gd name="connsiteY24" fmla="*/ 80962 h 209354"/>
                  <a:gd name="connsiteX25" fmla="*/ 5566 w 1126518"/>
                  <a:gd name="connsiteY25" fmla="*/ 111074 h 209354"/>
                  <a:gd name="connsiteX0" fmla="*/ 5566 w 1126518"/>
                  <a:gd name="connsiteY0" fmla="*/ 111074 h 205690"/>
                  <a:gd name="connsiteX1" fmla="*/ 43236 w 1126518"/>
                  <a:gd name="connsiteY1" fmla="*/ 135301 h 205690"/>
                  <a:gd name="connsiteX2" fmla="*/ 124198 w 1126518"/>
                  <a:gd name="connsiteY2" fmla="*/ 160097 h 205690"/>
                  <a:gd name="connsiteX3" fmla="*/ 290056 w 1126518"/>
                  <a:gd name="connsiteY3" fmla="*/ 190362 h 205690"/>
                  <a:gd name="connsiteX4" fmla="*/ 438830 w 1126518"/>
                  <a:gd name="connsiteY4" fmla="*/ 202130 h 205690"/>
                  <a:gd name="connsiteX5" fmla="*/ 602845 w 1126518"/>
                  <a:gd name="connsiteY5" fmla="*/ 204787 h 205690"/>
                  <a:gd name="connsiteX6" fmla="*/ 621895 w 1126518"/>
                  <a:gd name="connsiteY6" fmla="*/ 200025 h 205690"/>
                  <a:gd name="connsiteX7" fmla="*/ 674282 w 1126518"/>
                  <a:gd name="connsiteY7" fmla="*/ 197644 h 205690"/>
                  <a:gd name="connsiteX8" fmla="*/ 795726 w 1126518"/>
                  <a:gd name="connsiteY8" fmla="*/ 188119 h 205690"/>
                  <a:gd name="connsiteX9" fmla="*/ 864782 w 1126518"/>
                  <a:gd name="connsiteY9" fmla="*/ 173831 h 205690"/>
                  <a:gd name="connsiteX10" fmla="*/ 938601 w 1126518"/>
                  <a:gd name="connsiteY10" fmla="*/ 169069 h 205690"/>
                  <a:gd name="connsiteX11" fmla="*/ 969557 w 1126518"/>
                  <a:gd name="connsiteY11" fmla="*/ 166687 h 205690"/>
                  <a:gd name="connsiteX12" fmla="*/ 1050520 w 1126518"/>
                  <a:gd name="connsiteY12" fmla="*/ 142875 h 205690"/>
                  <a:gd name="connsiteX13" fmla="*/ 1123632 w 1126518"/>
                  <a:gd name="connsiteY13" fmla="*/ 102808 h 205690"/>
                  <a:gd name="connsiteX14" fmla="*/ 1104873 w 1126518"/>
                  <a:gd name="connsiteY14" fmla="*/ 74387 h 205690"/>
                  <a:gd name="connsiteX15" fmla="*/ 1040303 w 1126518"/>
                  <a:gd name="connsiteY15" fmla="*/ 44275 h 205690"/>
                  <a:gd name="connsiteX16" fmla="*/ 939600 w 1126518"/>
                  <a:gd name="connsiteY16" fmla="*/ 25641 h 205690"/>
                  <a:gd name="connsiteX17" fmla="*/ 856517 w 1126518"/>
                  <a:gd name="connsiteY17" fmla="*/ 13873 h 205690"/>
                  <a:gd name="connsiteX18" fmla="*/ 781023 w 1126518"/>
                  <a:gd name="connsiteY18" fmla="*/ 3226 h 205690"/>
                  <a:gd name="connsiteX19" fmla="*/ 691658 w 1126518"/>
                  <a:gd name="connsiteY19" fmla="*/ 2105 h 205690"/>
                  <a:gd name="connsiteX20" fmla="*/ 557601 w 1126518"/>
                  <a:gd name="connsiteY20" fmla="*/ 0 h 205690"/>
                  <a:gd name="connsiteX21" fmla="*/ 346223 w 1126518"/>
                  <a:gd name="connsiteY21" fmla="*/ 4901 h 205690"/>
                  <a:gd name="connsiteX22" fmla="*/ 219755 w 1126518"/>
                  <a:gd name="connsiteY22" fmla="*/ 15547 h 205690"/>
                  <a:gd name="connsiteX23" fmla="*/ 61594 w 1126518"/>
                  <a:gd name="connsiteY23" fmla="*/ 53093 h 205690"/>
                  <a:gd name="connsiteX24" fmla="*/ 7532 w 1126518"/>
                  <a:gd name="connsiteY24" fmla="*/ 80962 h 205690"/>
                  <a:gd name="connsiteX25" fmla="*/ 5566 w 1126518"/>
                  <a:gd name="connsiteY25" fmla="*/ 111074 h 205690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864782 w 1126518"/>
                  <a:gd name="connsiteY8" fmla="*/ 173831 h 202601"/>
                  <a:gd name="connsiteX9" fmla="*/ 938601 w 1126518"/>
                  <a:gd name="connsiteY9" fmla="*/ 169069 h 202601"/>
                  <a:gd name="connsiteX10" fmla="*/ 969557 w 1126518"/>
                  <a:gd name="connsiteY10" fmla="*/ 166687 h 202601"/>
                  <a:gd name="connsiteX11" fmla="*/ 1050520 w 1126518"/>
                  <a:gd name="connsiteY11" fmla="*/ 142875 h 202601"/>
                  <a:gd name="connsiteX12" fmla="*/ 1123632 w 1126518"/>
                  <a:gd name="connsiteY12" fmla="*/ 102808 h 202601"/>
                  <a:gd name="connsiteX13" fmla="*/ 1104873 w 1126518"/>
                  <a:gd name="connsiteY13" fmla="*/ 74387 h 202601"/>
                  <a:gd name="connsiteX14" fmla="*/ 1040303 w 1126518"/>
                  <a:gd name="connsiteY14" fmla="*/ 44275 h 202601"/>
                  <a:gd name="connsiteX15" fmla="*/ 939600 w 1126518"/>
                  <a:gd name="connsiteY15" fmla="*/ 25641 h 202601"/>
                  <a:gd name="connsiteX16" fmla="*/ 856517 w 1126518"/>
                  <a:gd name="connsiteY16" fmla="*/ 13873 h 202601"/>
                  <a:gd name="connsiteX17" fmla="*/ 781023 w 1126518"/>
                  <a:gd name="connsiteY17" fmla="*/ 3226 h 202601"/>
                  <a:gd name="connsiteX18" fmla="*/ 691658 w 1126518"/>
                  <a:gd name="connsiteY18" fmla="*/ 2105 h 202601"/>
                  <a:gd name="connsiteX19" fmla="*/ 557601 w 1126518"/>
                  <a:gd name="connsiteY19" fmla="*/ 0 h 202601"/>
                  <a:gd name="connsiteX20" fmla="*/ 346223 w 1126518"/>
                  <a:gd name="connsiteY20" fmla="*/ 4901 h 202601"/>
                  <a:gd name="connsiteX21" fmla="*/ 219755 w 1126518"/>
                  <a:gd name="connsiteY21" fmla="*/ 15547 h 202601"/>
                  <a:gd name="connsiteX22" fmla="*/ 61594 w 1126518"/>
                  <a:gd name="connsiteY22" fmla="*/ 53093 h 202601"/>
                  <a:gd name="connsiteX23" fmla="*/ 7532 w 1126518"/>
                  <a:gd name="connsiteY23" fmla="*/ 80962 h 202601"/>
                  <a:gd name="connsiteX24" fmla="*/ 5566 w 1126518"/>
                  <a:gd name="connsiteY24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5883 w 1126518"/>
                  <a:gd name="connsiteY7" fmla="*/ 18811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7143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29741 w 1126518"/>
                  <a:gd name="connsiteY7" fmla="*/ 18685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939600 w 1125768"/>
                  <a:gd name="connsiteY13" fmla="*/ 25641 h 202601"/>
                  <a:gd name="connsiteX14" fmla="*/ 856517 w 1125768"/>
                  <a:gd name="connsiteY14" fmla="*/ 13873 h 202601"/>
                  <a:gd name="connsiteX15" fmla="*/ 781023 w 1125768"/>
                  <a:gd name="connsiteY15" fmla="*/ 3226 h 202601"/>
                  <a:gd name="connsiteX16" fmla="*/ 691658 w 1125768"/>
                  <a:gd name="connsiteY16" fmla="*/ 2105 h 202601"/>
                  <a:gd name="connsiteX17" fmla="*/ 557601 w 1125768"/>
                  <a:gd name="connsiteY17" fmla="*/ 0 h 202601"/>
                  <a:gd name="connsiteX18" fmla="*/ 346223 w 1125768"/>
                  <a:gd name="connsiteY18" fmla="*/ 4901 h 202601"/>
                  <a:gd name="connsiteX19" fmla="*/ 219755 w 1125768"/>
                  <a:gd name="connsiteY19" fmla="*/ 15547 h 202601"/>
                  <a:gd name="connsiteX20" fmla="*/ 61594 w 1125768"/>
                  <a:gd name="connsiteY20" fmla="*/ 53093 h 202601"/>
                  <a:gd name="connsiteX21" fmla="*/ 7532 w 1125768"/>
                  <a:gd name="connsiteY21" fmla="*/ 80962 h 202601"/>
                  <a:gd name="connsiteX22" fmla="*/ 5566 w 112576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856517 w 1125768"/>
                  <a:gd name="connsiteY13" fmla="*/ 13873 h 202601"/>
                  <a:gd name="connsiteX14" fmla="*/ 781023 w 1125768"/>
                  <a:gd name="connsiteY14" fmla="*/ 3226 h 202601"/>
                  <a:gd name="connsiteX15" fmla="*/ 691658 w 1125768"/>
                  <a:gd name="connsiteY15" fmla="*/ 2105 h 202601"/>
                  <a:gd name="connsiteX16" fmla="*/ 557601 w 1125768"/>
                  <a:gd name="connsiteY16" fmla="*/ 0 h 202601"/>
                  <a:gd name="connsiteX17" fmla="*/ 346223 w 1125768"/>
                  <a:gd name="connsiteY17" fmla="*/ 4901 h 202601"/>
                  <a:gd name="connsiteX18" fmla="*/ 219755 w 1125768"/>
                  <a:gd name="connsiteY18" fmla="*/ 15547 h 202601"/>
                  <a:gd name="connsiteX19" fmla="*/ 61594 w 1125768"/>
                  <a:gd name="connsiteY19" fmla="*/ 53093 h 202601"/>
                  <a:gd name="connsiteX20" fmla="*/ 7532 w 1125768"/>
                  <a:gd name="connsiteY20" fmla="*/ 80962 h 202601"/>
                  <a:gd name="connsiteX21" fmla="*/ 5566 w 112576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56517 w 1125998"/>
                  <a:gd name="connsiteY13" fmla="*/ 1387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80453 w 1125998"/>
                  <a:gd name="connsiteY13" fmla="*/ 1261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4635 w 1125067"/>
                  <a:gd name="connsiteY0" fmla="*/ 111074 h 202601"/>
                  <a:gd name="connsiteX1" fmla="*/ 67500 w 1125067"/>
                  <a:gd name="connsiteY1" fmla="*/ 145379 h 202601"/>
                  <a:gd name="connsiteX2" fmla="*/ 123267 w 1125067"/>
                  <a:gd name="connsiteY2" fmla="*/ 160097 h 202601"/>
                  <a:gd name="connsiteX3" fmla="*/ 289125 w 1125067"/>
                  <a:gd name="connsiteY3" fmla="*/ 190362 h 202601"/>
                  <a:gd name="connsiteX4" fmla="*/ 437899 w 1125067"/>
                  <a:gd name="connsiteY4" fmla="*/ 202130 h 202601"/>
                  <a:gd name="connsiteX5" fmla="*/ 620964 w 1125067"/>
                  <a:gd name="connsiteY5" fmla="*/ 200025 h 202601"/>
                  <a:gd name="connsiteX6" fmla="*/ 673351 w 1125067"/>
                  <a:gd name="connsiteY6" fmla="*/ 197644 h 202601"/>
                  <a:gd name="connsiteX7" fmla="*/ 828810 w 1125067"/>
                  <a:gd name="connsiteY7" fmla="*/ 186859 h 202601"/>
                  <a:gd name="connsiteX8" fmla="*/ 968626 w 1125067"/>
                  <a:gd name="connsiteY8" fmla="*/ 166687 h 202601"/>
                  <a:gd name="connsiteX9" fmla="*/ 1060927 w 1125067"/>
                  <a:gd name="connsiteY9" fmla="*/ 144135 h 202601"/>
                  <a:gd name="connsiteX10" fmla="*/ 1122701 w 1125067"/>
                  <a:gd name="connsiteY10" fmla="*/ 102808 h 202601"/>
                  <a:gd name="connsiteX11" fmla="*/ 1103942 w 1125067"/>
                  <a:gd name="connsiteY11" fmla="*/ 74387 h 202601"/>
                  <a:gd name="connsiteX12" fmla="*/ 1026774 w 1125067"/>
                  <a:gd name="connsiteY12" fmla="*/ 40496 h 202601"/>
                  <a:gd name="connsiteX13" fmla="*/ 879522 w 1125067"/>
                  <a:gd name="connsiteY13" fmla="*/ 12613 h 202601"/>
                  <a:gd name="connsiteX14" fmla="*/ 780092 w 1125067"/>
                  <a:gd name="connsiteY14" fmla="*/ 3226 h 202601"/>
                  <a:gd name="connsiteX15" fmla="*/ 690727 w 1125067"/>
                  <a:gd name="connsiteY15" fmla="*/ 2105 h 202601"/>
                  <a:gd name="connsiteX16" fmla="*/ 556670 w 1125067"/>
                  <a:gd name="connsiteY16" fmla="*/ 0 h 202601"/>
                  <a:gd name="connsiteX17" fmla="*/ 345292 w 1125067"/>
                  <a:gd name="connsiteY17" fmla="*/ 4901 h 202601"/>
                  <a:gd name="connsiteX18" fmla="*/ 218824 w 1125067"/>
                  <a:gd name="connsiteY18" fmla="*/ 15547 h 202601"/>
                  <a:gd name="connsiteX19" fmla="*/ 60663 w 1125067"/>
                  <a:gd name="connsiteY19" fmla="*/ 53093 h 202601"/>
                  <a:gd name="connsiteX20" fmla="*/ 6601 w 1125067"/>
                  <a:gd name="connsiteY20" fmla="*/ 80962 h 202601"/>
                  <a:gd name="connsiteX21" fmla="*/ 4635 w 1125067"/>
                  <a:gd name="connsiteY21" fmla="*/ 111074 h 202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25067" h="202601">
                    <a:moveTo>
                      <a:pt x="4635" y="111074"/>
                    </a:moveTo>
                    <a:cubicBezTo>
                      <a:pt x="14785" y="121810"/>
                      <a:pt x="47288" y="138367"/>
                      <a:pt x="67500" y="145379"/>
                    </a:cubicBezTo>
                    <a:cubicBezTo>
                      <a:pt x="91051" y="153549"/>
                      <a:pt x="86330" y="152600"/>
                      <a:pt x="123267" y="160097"/>
                    </a:cubicBezTo>
                    <a:cubicBezTo>
                      <a:pt x="160204" y="167594"/>
                      <a:pt x="236686" y="183356"/>
                      <a:pt x="289125" y="190362"/>
                    </a:cubicBezTo>
                    <a:cubicBezTo>
                      <a:pt x="341564" y="197368"/>
                      <a:pt x="388308" y="198207"/>
                      <a:pt x="437899" y="202130"/>
                    </a:cubicBezTo>
                    <a:cubicBezTo>
                      <a:pt x="493205" y="203740"/>
                      <a:pt x="581722" y="200773"/>
                      <a:pt x="620964" y="200025"/>
                    </a:cubicBezTo>
                    <a:cubicBezTo>
                      <a:pt x="660206" y="199277"/>
                      <a:pt x="655889" y="198438"/>
                      <a:pt x="673351" y="197644"/>
                    </a:cubicBezTo>
                    <a:cubicBezTo>
                      <a:pt x="718032" y="195729"/>
                      <a:pt x="770272" y="192553"/>
                      <a:pt x="828810" y="186859"/>
                    </a:cubicBezTo>
                    <a:cubicBezTo>
                      <a:pt x="887348" y="181165"/>
                      <a:pt x="928260" y="174858"/>
                      <a:pt x="968626" y="166687"/>
                    </a:cubicBezTo>
                    <a:cubicBezTo>
                      <a:pt x="1008992" y="158517"/>
                      <a:pt x="1035248" y="154782"/>
                      <a:pt x="1060927" y="144135"/>
                    </a:cubicBezTo>
                    <a:cubicBezTo>
                      <a:pt x="1086606" y="133489"/>
                      <a:pt x="1115532" y="114433"/>
                      <a:pt x="1122701" y="102808"/>
                    </a:cubicBezTo>
                    <a:cubicBezTo>
                      <a:pt x="1129870" y="91183"/>
                      <a:pt x="1119930" y="84772"/>
                      <a:pt x="1103942" y="74387"/>
                    </a:cubicBezTo>
                    <a:cubicBezTo>
                      <a:pt x="1087954" y="64002"/>
                      <a:pt x="1064177" y="50792"/>
                      <a:pt x="1026774" y="40496"/>
                    </a:cubicBezTo>
                    <a:cubicBezTo>
                      <a:pt x="989371" y="30200"/>
                      <a:pt x="922735" y="19454"/>
                      <a:pt x="879522" y="12613"/>
                    </a:cubicBezTo>
                    <a:cubicBezTo>
                      <a:pt x="836309" y="5772"/>
                      <a:pt x="811558" y="4977"/>
                      <a:pt x="780092" y="3226"/>
                    </a:cubicBezTo>
                    <a:cubicBezTo>
                      <a:pt x="748626" y="1475"/>
                      <a:pt x="727964" y="2643"/>
                      <a:pt x="690727" y="2105"/>
                    </a:cubicBezTo>
                    <a:cubicBezTo>
                      <a:pt x="653490" y="1567"/>
                      <a:pt x="604294" y="2506"/>
                      <a:pt x="556670" y="0"/>
                    </a:cubicBezTo>
                    <a:cubicBezTo>
                      <a:pt x="482851" y="794"/>
                      <a:pt x="401600" y="2310"/>
                      <a:pt x="345292" y="4901"/>
                    </a:cubicBezTo>
                    <a:cubicBezTo>
                      <a:pt x="288984" y="7492"/>
                      <a:pt x="271091" y="6885"/>
                      <a:pt x="218824" y="15547"/>
                    </a:cubicBezTo>
                    <a:cubicBezTo>
                      <a:pt x="183105" y="23881"/>
                      <a:pt x="101072" y="33372"/>
                      <a:pt x="60663" y="53093"/>
                    </a:cubicBezTo>
                    <a:cubicBezTo>
                      <a:pt x="27401" y="69326"/>
                      <a:pt x="15729" y="73818"/>
                      <a:pt x="6601" y="80962"/>
                    </a:cubicBezTo>
                    <a:cubicBezTo>
                      <a:pt x="3756" y="86654"/>
                      <a:pt x="-5515" y="100338"/>
                      <a:pt x="4635" y="11107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38DF371E-79C6-430A-ED01-E5EDDB619691}"/>
                  </a:ext>
                </a:extLst>
              </p:cNvPr>
              <p:cNvSpPr/>
              <p:nvPr/>
            </p:nvSpPr>
            <p:spPr>
              <a:xfrm>
                <a:off x="3395346" y="2639947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solidFill>
                <a:srgbClr val="FACCD0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da-DK" sz="1400">
                    <a:latin typeface="Verdana" panose="020B0604030504040204" pitchFamily="34" charset="0"/>
                    <a:ea typeface="Verdana" panose="020B0604030504040204" pitchFamily="34" charset="0"/>
                  </a:rPr>
                  <a:t>…</a:t>
                </a: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754A7189-7263-5ECC-1E1C-443927A14149}"/>
                  </a:ext>
                </a:extLst>
              </p:cNvPr>
              <p:cNvSpPr/>
              <p:nvPr/>
            </p:nvSpPr>
            <p:spPr>
              <a:xfrm>
                <a:off x="3397293" y="1880433"/>
                <a:ext cx="1624532" cy="292545"/>
              </a:xfrm>
              <a:custGeom>
                <a:avLst/>
                <a:gdLst>
                  <a:gd name="connsiteX0" fmla="*/ 11907 w 1116840"/>
                  <a:gd name="connsiteY0" fmla="*/ 124159 h 219409"/>
                  <a:gd name="connsiteX1" fmla="*/ 23813 w 1116840"/>
                  <a:gd name="connsiteY1" fmla="*/ 133684 h 219409"/>
                  <a:gd name="connsiteX2" fmla="*/ 28575 w 1116840"/>
                  <a:gd name="connsiteY2" fmla="*/ 140827 h 219409"/>
                  <a:gd name="connsiteX3" fmla="*/ 40482 w 1116840"/>
                  <a:gd name="connsiteY3" fmla="*/ 147971 h 219409"/>
                  <a:gd name="connsiteX4" fmla="*/ 47625 w 1116840"/>
                  <a:gd name="connsiteY4" fmla="*/ 152734 h 219409"/>
                  <a:gd name="connsiteX5" fmla="*/ 78582 w 1116840"/>
                  <a:gd name="connsiteY5" fmla="*/ 157496 h 219409"/>
                  <a:gd name="connsiteX6" fmla="*/ 104775 w 1116840"/>
                  <a:gd name="connsiteY6" fmla="*/ 162259 h 219409"/>
                  <a:gd name="connsiteX7" fmla="*/ 128588 w 1116840"/>
                  <a:gd name="connsiteY7" fmla="*/ 164640 h 219409"/>
                  <a:gd name="connsiteX8" fmla="*/ 161925 w 1116840"/>
                  <a:gd name="connsiteY8" fmla="*/ 174165 h 219409"/>
                  <a:gd name="connsiteX9" fmla="*/ 178594 w 1116840"/>
                  <a:gd name="connsiteY9" fmla="*/ 176546 h 219409"/>
                  <a:gd name="connsiteX10" fmla="*/ 202407 w 1116840"/>
                  <a:gd name="connsiteY10" fmla="*/ 181309 h 219409"/>
                  <a:gd name="connsiteX11" fmla="*/ 209550 w 1116840"/>
                  <a:gd name="connsiteY11" fmla="*/ 183690 h 219409"/>
                  <a:gd name="connsiteX12" fmla="*/ 238125 w 1116840"/>
                  <a:gd name="connsiteY12" fmla="*/ 190834 h 219409"/>
                  <a:gd name="connsiteX13" fmla="*/ 285750 w 1116840"/>
                  <a:gd name="connsiteY13" fmla="*/ 205121 h 219409"/>
                  <a:gd name="connsiteX14" fmla="*/ 378619 w 1116840"/>
                  <a:gd name="connsiteY14" fmla="*/ 207502 h 219409"/>
                  <a:gd name="connsiteX15" fmla="*/ 402432 w 1116840"/>
                  <a:gd name="connsiteY15" fmla="*/ 212265 h 219409"/>
                  <a:gd name="connsiteX16" fmla="*/ 457200 w 1116840"/>
                  <a:gd name="connsiteY16" fmla="*/ 219409 h 219409"/>
                  <a:gd name="connsiteX17" fmla="*/ 604838 w 1116840"/>
                  <a:gd name="connsiteY17" fmla="*/ 217027 h 219409"/>
                  <a:gd name="connsiteX18" fmla="*/ 623888 w 1116840"/>
                  <a:gd name="connsiteY18" fmla="*/ 212265 h 219409"/>
                  <a:gd name="connsiteX19" fmla="*/ 676275 w 1116840"/>
                  <a:gd name="connsiteY19" fmla="*/ 209884 h 219409"/>
                  <a:gd name="connsiteX20" fmla="*/ 697707 w 1116840"/>
                  <a:gd name="connsiteY20" fmla="*/ 205121 h 219409"/>
                  <a:gd name="connsiteX21" fmla="*/ 707232 w 1116840"/>
                  <a:gd name="connsiteY21" fmla="*/ 202740 h 219409"/>
                  <a:gd name="connsiteX22" fmla="*/ 797719 w 1116840"/>
                  <a:gd name="connsiteY22" fmla="*/ 200359 h 219409"/>
                  <a:gd name="connsiteX23" fmla="*/ 823913 w 1116840"/>
                  <a:gd name="connsiteY23" fmla="*/ 193215 h 219409"/>
                  <a:gd name="connsiteX24" fmla="*/ 842963 w 1116840"/>
                  <a:gd name="connsiteY24" fmla="*/ 188452 h 219409"/>
                  <a:gd name="connsiteX25" fmla="*/ 866775 w 1116840"/>
                  <a:gd name="connsiteY25" fmla="*/ 186071 h 219409"/>
                  <a:gd name="connsiteX26" fmla="*/ 940594 w 1116840"/>
                  <a:gd name="connsiteY26" fmla="*/ 181309 h 219409"/>
                  <a:gd name="connsiteX27" fmla="*/ 971550 w 1116840"/>
                  <a:gd name="connsiteY27" fmla="*/ 178927 h 219409"/>
                  <a:gd name="connsiteX28" fmla="*/ 992982 w 1116840"/>
                  <a:gd name="connsiteY28" fmla="*/ 174165 h 219409"/>
                  <a:gd name="connsiteX29" fmla="*/ 1007269 w 1116840"/>
                  <a:gd name="connsiteY29" fmla="*/ 171784 h 219409"/>
                  <a:gd name="connsiteX30" fmla="*/ 1035844 w 1116840"/>
                  <a:gd name="connsiteY30" fmla="*/ 164640 h 219409"/>
                  <a:gd name="connsiteX31" fmla="*/ 1052513 w 1116840"/>
                  <a:gd name="connsiteY31" fmla="*/ 155115 h 219409"/>
                  <a:gd name="connsiteX32" fmla="*/ 1083469 w 1116840"/>
                  <a:gd name="connsiteY32" fmla="*/ 143209 h 219409"/>
                  <a:gd name="connsiteX33" fmla="*/ 1090613 w 1116840"/>
                  <a:gd name="connsiteY33" fmla="*/ 136065 h 219409"/>
                  <a:gd name="connsiteX34" fmla="*/ 1100138 w 1116840"/>
                  <a:gd name="connsiteY34" fmla="*/ 131302 h 219409"/>
                  <a:gd name="connsiteX35" fmla="*/ 1107282 w 1116840"/>
                  <a:gd name="connsiteY35" fmla="*/ 126540 h 219409"/>
                  <a:gd name="connsiteX36" fmla="*/ 1116807 w 1116840"/>
                  <a:gd name="connsiteY36" fmla="*/ 107490 h 219409"/>
                  <a:gd name="connsiteX37" fmla="*/ 1114425 w 1116840"/>
                  <a:gd name="connsiteY37" fmla="*/ 97965 h 219409"/>
                  <a:gd name="connsiteX38" fmla="*/ 1054894 w 1116840"/>
                  <a:gd name="connsiteY38" fmla="*/ 74152 h 219409"/>
                  <a:gd name="connsiteX39" fmla="*/ 1047750 w 1116840"/>
                  <a:gd name="connsiteY39" fmla="*/ 71771 h 219409"/>
                  <a:gd name="connsiteX40" fmla="*/ 1038225 w 1116840"/>
                  <a:gd name="connsiteY40" fmla="*/ 67009 h 219409"/>
                  <a:gd name="connsiteX41" fmla="*/ 1026319 w 1116840"/>
                  <a:gd name="connsiteY41" fmla="*/ 62246 h 219409"/>
                  <a:gd name="connsiteX42" fmla="*/ 995363 w 1116840"/>
                  <a:gd name="connsiteY42" fmla="*/ 57484 h 219409"/>
                  <a:gd name="connsiteX43" fmla="*/ 966788 w 1116840"/>
                  <a:gd name="connsiteY43" fmla="*/ 47959 h 219409"/>
                  <a:gd name="connsiteX44" fmla="*/ 947738 w 1116840"/>
                  <a:gd name="connsiteY44" fmla="*/ 40815 h 219409"/>
                  <a:gd name="connsiteX45" fmla="*/ 857250 w 1116840"/>
                  <a:gd name="connsiteY45" fmla="*/ 33671 h 219409"/>
                  <a:gd name="connsiteX46" fmla="*/ 812007 w 1116840"/>
                  <a:gd name="connsiteY46" fmla="*/ 26527 h 219409"/>
                  <a:gd name="connsiteX47" fmla="*/ 800100 w 1116840"/>
                  <a:gd name="connsiteY47" fmla="*/ 24146 h 219409"/>
                  <a:gd name="connsiteX48" fmla="*/ 790575 w 1116840"/>
                  <a:gd name="connsiteY48" fmla="*/ 21765 h 219409"/>
                  <a:gd name="connsiteX49" fmla="*/ 702469 w 1116840"/>
                  <a:gd name="connsiteY49" fmla="*/ 19384 h 219409"/>
                  <a:gd name="connsiteX50" fmla="*/ 559594 w 1116840"/>
                  <a:gd name="connsiteY50" fmla="*/ 12240 h 219409"/>
                  <a:gd name="connsiteX51" fmla="*/ 350044 w 1116840"/>
                  <a:gd name="connsiteY51" fmla="*/ 9859 h 219409"/>
                  <a:gd name="connsiteX52" fmla="*/ 338138 w 1116840"/>
                  <a:gd name="connsiteY52" fmla="*/ 14621 h 219409"/>
                  <a:gd name="connsiteX53" fmla="*/ 295275 w 1116840"/>
                  <a:gd name="connsiteY53" fmla="*/ 19384 h 219409"/>
                  <a:gd name="connsiteX54" fmla="*/ 278607 w 1116840"/>
                  <a:gd name="connsiteY54" fmla="*/ 21765 h 219409"/>
                  <a:gd name="connsiteX55" fmla="*/ 269082 w 1116840"/>
                  <a:gd name="connsiteY55" fmla="*/ 24146 h 219409"/>
                  <a:gd name="connsiteX56" fmla="*/ 238125 w 1116840"/>
                  <a:gd name="connsiteY56" fmla="*/ 26527 h 219409"/>
                  <a:gd name="connsiteX57" fmla="*/ 216694 w 1116840"/>
                  <a:gd name="connsiteY57" fmla="*/ 33671 h 219409"/>
                  <a:gd name="connsiteX58" fmla="*/ 195263 w 1116840"/>
                  <a:gd name="connsiteY58" fmla="*/ 38434 h 219409"/>
                  <a:gd name="connsiteX59" fmla="*/ 183357 w 1116840"/>
                  <a:gd name="connsiteY59" fmla="*/ 40815 h 219409"/>
                  <a:gd name="connsiteX60" fmla="*/ 147638 w 1116840"/>
                  <a:gd name="connsiteY60" fmla="*/ 50340 h 219409"/>
                  <a:gd name="connsiteX61" fmla="*/ 128588 w 1116840"/>
                  <a:gd name="connsiteY61" fmla="*/ 57484 h 219409"/>
                  <a:gd name="connsiteX62" fmla="*/ 109538 w 1116840"/>
                  <a:gd name="connsiteY62" fmla="*/ 62246 h 219409"/>
                  <a:gd name="connsiteX63" fmla="*/ 97632 w 1116840"/>
                  <a:gd name="connsiteY63" fmla="*/ 67009 h 219409"/>
                  <a:gd name="connsiteX64" fmla="*/ 80963 w 1116840"/>
                  <a:gd name="connsiteY64" fmla="*/ 69390 h 219409"/>
                  <a:gd name="connsiteX65" fmla="*/ 54769 w 1116840"/>
                  <a:gd name="connsiteY65" fmla="*/ 74152 h 219409"/>
                  <a:gd name="connsiteX66" fmla="*/ 47625 w 1116840"/>
                  <a:gd name="connsiteY66" fmla="*/ 76534 h 219409"/>
                  <a:gd name="connsiteX67" fmla="*/ 23813 w 1116840"/>
                  <a:gd name="connsiteY67" fmla="*/ 83677 h 219409"/>
                  <a:gd name="connsiteX68" fmla="*/ 9525 w 1116840"/>
                  <a:gd name="connsiteY68" fmla="*/ 93202 h 219409"/>
                  <a:gd name="connsiteX69" fmla="*/ 0 w 1116840"/>
                  <a:gd name="connsiteY69" fmla="*/ 117015 h 219409"/>
                  <a:gd name="connsiteX70" fmla="*/ 11907 w 1116840"/>
                  <a:gd name="connsiteY70" fmla="*/ 124159 h 21940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800100 w 1116840"/>
                  <a:gd name="connsiteY47" fmla="*/ 11906 h 207169"/>
                  <a:gd name="connsiteX48" fmla="*/ 790575 w 1116840"/>
                  <a:gd name="connsiteY48" fmla="*/ 9525 h 207169"/>
                  <a:gd name="connsiteX49" fmla="*/ 702469 w 1116840"/>
                  <a:gd name="connsiteY49" fmla="*/ 7144 h 207169"/>
                  <a:gd name="connsiteX50" fmla="*/ 559594 w 1116840"/>
                  <a:gd name="connsiteY50" fmla="*/ 0 h 207169"/>
                  <a:gd name="connsiteX51" fmla="*/ 338138 w 1116840"/>
                  <a:gd name="connsiteY51" fmla="*/ 2381 h 207169"/>
                  <a:gd name="connsiteX52" fmla="*/ 295275 w 1116840"/>
                  <a:gd name="connsiteY52" fmla="*/ 7144 h 207169"/>
                  <a:gd name="connsiteX53" fmla="*/ 278607 w 1116840"/>
                  <a:gd name="connsiteY53" fmla="*/ 9525 h 207169"/>
                  <a:gd name="connsiteX54" fmla="*/ 269082 w 1116840"/>
                  <a:gd name="connsiteY54" fmla="*/ 11906 h 207169"/>
                  <a:gd name="connsiteX55" fmla="*/ 238125 w 1116840"/>
                  <a:gd name="connsiteY55" fmla="*/ 14287 h 207169"/>
                  <a:gd name="connsiteX56" fmla="*/ 216694 w 1116840"/>
                  <a:gd name="connsiteY56" fmla="*/ 21431 h 207169"/>
                  <a:gd name="connsiteX57" fmla="*/ 195263 w 1116840"/>
                  <a:gd name="connsiteY57" fmla="*/ 26194 h 207169"/>
                  <a:gd name="connsiteX58" fmla="*/ 183357 w 1116840"/>
                  <a:gd name="connsiteY58" fmla="*/ 28575 h 207169"/>
                  <a:gd name="connsiteX59" fmla="*/ 147638 w 1116840"/>
                  <a:gd name="connsiteY59" fmla="*/ 38100 h 207169"/>
                  <a:gd name="connsiteX60" fmla="*/ 128588 w 1116840"/>
                  <a:gd name="connsiteY60" fmla="*/ 45244 h 207169"/>
                  <a:gd name="connsiteX61" fmla="*/ 109538 w 1116840"/>
                  <a:gd name="connsiteY61" fmla="*/ 50006 h 207169"/>
                  <a:gd name="connsiteX62" fmla="*/ 97632 w 1116840"/>
                  <a:gd name="connsiteY62" fmla="*/ 54769 h 207169"/>
                  <a:gd name="connsiteX63" fmla="*/ 80963 w 1116840"/>
                  <a:gd name="connsiteY63" fmla="*/ 57150 h 207169"/>
                  <a:gd name="connsiteX64" fmla="*/ 54769 w 1116840"/>
                  <a:gd name="connsiteY64" fmla="*/ 61912 h 207169"/>
                  <a:gd name="connsiteX65" fmla="*/ 47625 w 1116840"/>
                  <a:gd name="connsiteY65" fmla="*/ 64294 h 207169"/>
                  <a:gd name="connsiteX66" fmla="*/ 23813 w 1116840"/>
                  <a:gd name="connsiteY66" fmla="*/ 71437 h 207169"/>
                  <a:gd name="connsiteX67" fmla="*/ 9525 w 1116840"/>
                  <a:gd name="connsiteY67" fmla="*/ 80962 h 207169"/>
                  <a:gd name="connsiteX68" fmla="*/ 0 w 1116840"/>
                  <a:gd name="connsiteY68" fmla="*/ 104775 h 207169"/>
                  <a:gd name="connsiteX69" fmla="*/ 11907 w 1116840"/>
                  <a:gd name="connsiteY69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790575 w 1116840"/>
                  <a:gd name="connsiteY47" fmla="*/ 9525 h 207169"/>
                  <a:gd name="connsiteX48" fmla="*/ 702469 w 1116840"/>
                  <a:gd name="connsiteY48" fmla="*/ 7144 h 207169"/>
                  <a:gd name="connsiteX49" fmla="*/ 559594 w 1116840"/>
                  <a:gd name="connsiteY49" fmla="*/ 0 h 207169"/>
                  <a:gd name="connsiteX50" fmla="*/ 338138 w 1116840"/>
                  <a:gd name="connsiteY50" fmla="*/ 2381 h 207169"/>
                  <a:gd name="connsiteX51" fmla="*/ 295275 w 1116840"/>
                  <a:gd name="connsiteY51" fmla="*/ 7144 h 207169"/>
                  <a:gd name="connsiteX52" fmla="*/ 278607 w 1116840"/>
                  <a:gd name="connsiteY52" fmla="*/ 9525 h 207169"/>
                  <a:gd name="connsiteX53" fmla="*/ 269082 w 1116840"/>
                  <a:gd name="connsiteY53" fmla="*/ 11906 h 207169"/>
                  <a:gd name="connsiteX54" fmla="*/ 238125 w 1116840"/>
                  <a:gd name="connsiteY54" fmla="*/ 14287 h 207169"/>
                  <a:gd name="connsiteX55" fmla="*/ 216694 w 1116840"/>
                  <a:gd name="connsiteY55" fmla="*/ 21431 h 207169"/>
                  <a:gd name="connsiteX56" fmla="*/ 195263 w 1116840"/>
                  <a:gd name="connsiteY56" fmla="*/ 26194 h 207169"/>
                  <a:gd name="connsiteX57" fmla="*/ 183357 w 1116840"/>
                  <a:gd name="connsiteY57" fmla="*/ 28575 h 207169"/>
                  <a:gd name="connsiteX58" fmla="*/ 147638 w 1116840"/>
                  <a:gd name="connsiteY58" fmla="*/ 38100 h 207169"/>
                  <a:gd name="connsiteX59" fmla="*/ 128588 w 1116840"/>
                  <a:gd name="connsiteY59" fmla="*/ 45244 h 207169"/>
                  <a:gd name="connsiteX60" fmla="*/ 109538 w 1116840"/>
                  <a:gd name="connsiteY60" fmla="*/ 50006 h 207169"/>
                  <a:gd name="connsiteX61" fmla="*/ 97632 w 1116840"/>
                  <a:gd name="connsiteY61" fmla="*/ 54769 h 207169"/>
                  <a:gd name="connsiteX62" fmla="*/ 80963 w 1116840"/>
                  <a:gd name="connsiteY62" fmla="*/ 57150 h 207169"/>
                  <a:gd name="connsiteX63" fmla="*/ 54769 w 1116840"/>
                  <a:gd name="connsiteY63" fmla="*/ 61912 h 207169"/>
                  <a:gd name="connsiteX64" fmla="*/ 47625 w 1116840"/>
                  <a:gd name="connsiteY64" fmla="*/ 64294 h 207169"/>
                  <a:gd name="connsiteX65" fmla="*/ 23813 w 1116840"/>
                  <a:gd name="connsiteY65" fmla="*/ 71437 h 207169"/>
                  <a:gd name="connsiteX66" fmla="*/ 9525 w 1116840"/>
                  <a:gd name="connsiteY66" fmla="*/ 80962 h 207169"/>
                  <a:gd name="connsiteX67" fmla="*/ 0 w 1116840"/>
                  <a:gd name="connsiteY67" fmla="*/ 104775 h 207169"/>
                  <a:gd name="connsiteX68" fmla="*/ 11907 w 1116840"/>
                  <a:gd name="connsiteY68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790575 w 1116840"/>
                  <a:gd name="connsiteY46" fmla="*/ 9525 h 207169"/>
                  <a:gd name="connsiteX47" fmla="*/ 702469 w 1116840"/>
                  <a:gd name="connsiteY47" fmla="*/ 7144 h 207169"/>
                  <a:gd name="connsiteX48" fmla="*/ 559594 w 1116840"/>
                  <a:gd name="connsiteY48" fmla="*/ 0 h 207169"/>
                  <a:gd name="connsiteX49" fmla="*/ 338138 w 1116840"/>
                  <a:gd name="connsiteY49" fmla="*/ 2381 h 207169"/>
                  <a:gd name="connsiteX50" fmla="*/ 295275 w 1116840"/>
                  <a:gd name="connsiteY50" fmla="*/ 7144 h 207169"/>
                  <a:gd name="connsiteX51" fmla="*/ 278607 w 1116840"/>
                  <a:gd name="connsiteY51" fmla="*/ 9525 h 207169"/>
                  <a:gd name="connsiteX52" fmla="*/ 269082 w 1116840"/>
                  <a:gd name="connsiteY52" fmla="*/ 11906 h 207169"/>
                  <a:gd name="connsiteX53" fmla="*/ 238125 w 1116840"/>
                  <a:gd name="connsiteY53" fmla="*/ 14287 h 207169"/>
                  <a:gd name="connsiteX54" fmla="*/ 216694 w 1116840"/>
                  <a:gd name="connsiteY54" fmla="*/ 21431 h 207169"/>
                  <a:gd name="connsiteX55" fmla="*/ 195263 w 1116840"/>
                  <a:gd name="connsiteY55" fmla="*/ 26194 h 207169"/>
                  <a:gd name="connsiteX56" fmla="*/ 183357 w 1116840"/>
                  <a:gd name="connsiteY56" fmla="*/ 28575 h 207169"/>
                  <a:gd name="connsiteX57" fmla="*/ 147638 w 1116840"/>
                  <a:gd name="connsiteY57" fmla="*/ 38100 h 207169"/>
                  <a:gd name="connsiteX58" fmla="*/ 128588 w 1116840"/>
                  <a:gd name="connsiteY58" fmla="*/ 45244 h 207169"/>
                  <a:gd name="connsiteX59" fmla="*/ 109538 w 1116840"/>
                  <a:gd name="connsiteY59" fmla="*/ 50006 h 207169"/>
                  <a:gd name="connsiteX60" fmla="*/ 97632 w 1116840"/>
                  <a:gd name="connsiteY60" fmla="*/ 54769 h 207169"/>
                  <a:gd name="connsiteX61" fmla="*/ 80963 w 1116840"/>
                  <a:gd name="connsiteY61" fmla="*/ 57150 h 207169"/>
                  <a:gd name="connsiteX62" fmla="*/ 54769 w 1116840"/>
                  <a:gd name="connsiteY62" fmla="*/ 61912 h 207169"/>
                  <a:gd name="connsiteX63" fmla="*/ 47625 w 1116840"/>
                  <a:gd name="connsiteY63" fmla="*/ 64294 h 207169"/>
                  <a:gd name="connsiteX64" fmla="*/ 23813 w 1116840"/>
                  <a:gd name="connsiteY64" fmla="*/ 71437 h 207169"/>
                  <a:gd name="connsiteX65" fmla="*/ 9525 w 1116840"/>
                  <a:gd name="connsiteY65" fmla="*/ 80962 h 207169"/>
                  <a:gd name="connsiteX66" fmla="*/ 0 w 1116840"/>
                  <a:gd name="connsiteY66" fmla="*/ 104775 h 207169"/>
                  <a:gd name="connsiteX67" fmla="*/ 11907 w 1116840"/>
                  <a:gd name="connsiteY67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857250 w 1116840"/>
                  <a:gd name="connsiteY44" fmla="*/ 21431 h 207169"/>
                  <a:gd name="connsiteX45" fmla="*/ 790575 w 1116840"/>
                  <a:gd name="connsiteY45" fmla="*/ 9525 h 207169"/>
                  <a:gd name="connsiteX46" fmla="*/ 702469 w 1116840"/>
                  <a:gd name="connsiteY46" fmla="*/ 7144 h 207169"/>
                  <a:gd name="connsiteX47" fmla="*/ 559594 w 1116840"/>
                  <a:gd name="connsiteY47" fmla="*/ 0 h 207169"/>
                  <a:gd name="connsiteX48" fmla="*/ 338138 w 1116840"/>
                  <a:gd name="connsiteY48" fmla="*/ 2381 h 207169"/>
                  <a:gd name="connsiteX49" fmla="*/ 295275 w 1116840"/>
                  <a:gd name="connsiteY49" fmla="*/ 7144 h 207169"/>
                  <a:gd name="connsiteX50" fmla="*/ 278607 w 1116840"/>
                  <a:gd name="connsiteY50" fmla="*/ 9525 h 207169"/>
                  <a:gd name="connsiteX51" fmla="*/ 269082 w 1116840"/>
                  <a:gd name="connsiteY51" fmla="*/ 11906 h 207169"/>
                  <a:gd name="connsiteX52" fmla="*/ 238125 w 1116840"/>
                  <a:gd name="connsiteY52" fmla="*/ 14287 h 207169"/>
                  <a:gd name="connsiteX53" fmla="*/ 216694 w 1116840"/>
                  <a:gd name="connsiteY53" fmla="*/ 21431 h 207169"/>
                  <a:gd name="connsiteX54" fmla="*/ 195263 w 1116840"/>
                  <a:gd name="connsiteY54" fmla="*/ 26194 h 207169"/>
                  <a:gd name="connsiteX55" fmla="*/ 183357 w 1116840"/>
                  <a:gd name="connsiteY55" fmla="*/ 28575 h 207169"/>
                  <a:gd name="connsiteX56" fmla="*/ 147638 w 1116840"/>
                  <a:gd name="connsiteY56" fmla="*/ 38100 h 207169"/>
                  <a:gd name="connsiteX57" fmla="*/ 128588 w 1116840"/>
                  <a:gd name="connsiteY57" fmla="*/ 45244 h 207169"/>
                  <a:gd name="connsiteX58" fmla="*/ 109538 w 1116840"/>
                  <a:gd name="connsiteY58" fmla="*/ 50006 h 207169"/>
                  <a:gd name="connsiteX59" fmla="*/ 97632 w 1116840"/>
                  <a:gd name="connsiteY59" fmla="*/ 54769 h 207169"/>
                  <a:gd name="connsiteX60" fmla="*/ 80963 w 1116840"/>
                  <a:gd name="connsiteY60" fmla="*/ 57150 h 207169"/>
                  <a:gd name="connsiteX61" fmla="*/ 54769 w 1116840"/>
                  <a:gd name="connsiteY61" fmla="*/ 61912 h 207169"/>
                  <a:gd name="connsiteX62" fmla="*/ 47625 w 1116840"/>
                  <a:gd name="connsiteY62" fmla="*/ 64294 h 207169"/>
                  <a:gd name="connsiteX63" fmla="*/ 23813 w 1116840"/>
                  <a:gd name="connsiteY63" fmla="*/ 71437 h 207169"/>
                  <a:gd name="connsiteX64" fmla="*/ 9525 w 1116840"/>
                  <a:gd name="connsiteY64" fmla="*/ 80962 h 207169"/>
                  <a:gd name="connsiteX65" fmla="*/ 0 w 1116840"/>
                  <a:gd name="connsiteY65" fmla="*/ 104775 h 207169"/>
                  <a:gd name="connsiteX66" fmla="*/ 11907 w 1116840"/>
                  <a:gd name="connsiteY66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66788 w 1116840"/>
                  <a:gd name="connsiteY42" fmla="*/ 35719 h 207169"/>
                  <a:gd name="connsiteX43" fmla="*/ 857250 w 1116840"/>
                  <a:gd name="connsiteY43" fmla="*/ 21431 h 207169"/>
                  <a:gd name="connsiteX44" fmla="*/ 790575 w 1116840"/>
                  <a:gd name="connsiteY44" fmla="*/ 9525 h 207169"/>
                  <a:gd name="connsiteX45" fmla="*/ 702469 w 1116840"/>
                  <a:gd name="connsiteY45" fmla="*/ 7144 h 207169"/>
                  <a:gd name="connsiteX46" fmla="*/ 559594 w 1116840"/>
                  <a:gd name="connsiteY46" fmla="*/ 0 h 207169"/>
                  <a:gd name="connsiteX47" fmla="*/ 338138 w 1116840"/>
                  <a:gd name="connsiteY47" fmla="*/ 2381 h 207169"/>
                  <a:gd name="connsiteX48" fmla="*/ 295275 w 1116840"/>
                  <a:gd name="connsiteY48" fmla="*/ 7144 h 207169"/>
                  <a:gd name="connsiteX49" fmla="*/ 278607 w 1116840"/>
                  <a:gd name="connsiteY49" fmla="*/ 9525 h 207169"/>
                  <a:gd name="connsiteX50" fmla="*/ 269082 w 1116840"/>
                  <a:gd name="connsiteY50" fmla="*/ 11906 h 207169"/>
                  <a:gd name="connsiteX51" fmla="*/ 238125 w 1116840"/>
                  <a:gd name="connsiteY51" fmla="*/ 14287 h 207169"/>
                  <a:gd name="connsiteX52" fmla="*/ 216694 w 1116840"/>
                  <a:gd name="connsiteY52" fmla="*/ 21431 h 207169"/>
                  <a:gd name="connsiteX53" fmla="*/ 195263 w 1116840"/>
                  <a:gd name="connsiteY53" fmla="*/ 26194 h 207169"/>
                  <a:gd name="connsiteX54" fmla="*/ 183357 w 1116840"/>
                  <a:gd name="connsiteY54" fmla="*/ 28575 h 207169"/>
                  <a:gd name="connsiteX55" fmla="*/ 147638 w 1116840"/>
                  <a:gd name="connsiteY55" fmla="*/ 38100 h 207169"/>
                  <a:gd name="connsiteX56" fmla="*/ 128588 w 1116840"/>
                  <a:gd name="connsiteY56" fmla="*/ 45244 h 207169"/>
                  <a:gd name="connsiteX57" fmla="*/ 109538 w 1116840"/>
                  <a:gd name="connsiteY57" fmla="*/ 50006 h 207169"/>
                  <a:gd name="connsiteX58" fmla="*/ 97632 w 1116840"/>
                  <a:gd name="connsiteY58" fmla="*/ 54769 h 207169"/>
                  <a:gd name="connsiteX59" fmla="*/ 80963 w 1116840"/>
                  <a:gd name="connsiteY59" fmla="*/ 57150 h 207169"/>
                  <a:gd name="connsiteX60" fmla="*/ 54769 w 1116840"/>
                  <a:gd name="connsiteY60" fmla="*/ 61912 h 207169"/>
                  <a:gd name="connsiteX61" fmla="*/ 47625 w 1116840"/>
                  <a:gd name="connsiteY61" fmla="*/ 64294 h 207169"/>
                  <a:gd name="connsiteX62" fmla="*/ 23813 w 1116840"/>
                  <a:gd name="connsiteY62" fmla="*/ 71437 h 207169"/>
                  <a:gd name="connsiteX63" fmla="*/ 9525 w 1116840"/>
                  <a:gd name="connsiteY63" fmla="*/ 80962 h 207169"/>
                  <a:gd name="connsiteX64" fmla="*/ 0 w 1116840"/>
                  <a:gd name="connsiteY64" fmla="*/ 104775 h 207169"/>
                  <a:gd name="connsiteX65" fmla="*/ 11907 w 1116840"/>
                  <a:gd name="connsiteY65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966788 w 1116840"/>
                  <a:gd name="connsiteY41" fmla="*/ 35719 h 207169"/>
                  <a:gd name="connsiteX42" fmla="*/ 857250 w 1116840"/>
                  <a:gd name="connsiteY42" fmla="*/ 21431 h 207169"/>
                  <a:gd name="connsiteX43" fmla="*/ 790575 w 1116840"/>
                  <a:gd name="connsiteY43" fmla="*/ 9525 h 207169"/>
                  <a:gd name="connsiteX44" fmla="*/ 702469 w 1116840"/>
                  <a:gd name="connsiteY44" fmla="*/ 7144 h 207169"/>
                  <a:gd name="connsiteX45" fmla="*/ 559594 w 1116840"/>
                  <a:gd name="connsiteY45" fmla="*/ 0 h 207169"/>
                  <a:gd name="connsiteX46" fmla="*/ 338138 w 1116840"/>
                  <a:gd name="connsiteY46" fmla="*/ 2381 h 207169"/>
                  <a:gd name="connsiteX47" fmla="*/ 295275 w 1116840"/>
                  <a:gd name="connsiteY47" fmla="*/ 7144 h 207169"/>
                  <a:gd name="connsiteX48" fmla="*/ 278607 w 1116840"/>
                  <a:gd name="connsiteY48" fmla="*/ 9525 h 207169"/>
                  <a:gd name="connsiteX49" fmla="*/ 269082 w 1116840"/>
                  <a:gd name="connsiteY49" fmla="*/ 11906 h 207169"/>
                  <a:gd name="connsiteX50" fmla="*/ 238125 w 1116840"/>
                  <a:gd name="connsiteY50" fmla="*/ 14287 h 207169"/>
                  <a:gd name="connsiteX51" fmla="*/ 216694 w 1116840"/>
                  <a:gd name="connsiteY51" fmla="*/ 21431 h 207169"/>
                  <a:gd name="connsiteX52" fmla="*/ 195263 w 1116840"/>
                  <a:gd name="connsiteY52" fmla="*/ 26194 h 207169"/>
                  <a:gd name="connsiteX53" fmla="*/ 183357 w 1116840"/>
                  <a:gd name="connsiteY53" fmla="*/ 28575 h 207169"/>
                  <a:gd name="connsiteX54" fmla="*/ 147638 w 1116840"/>
                  <a:gd name="connsiteY54" fmla="*/ 38100 h 207169"/>
                  <a:gd name="connsiteX55" fmla="*/ 128588 w 1116840"/>
                  <a:gd name="connsiteY55" fmla="*/ 45244 h 207169"/>
                  <a:gd name="connsiteX56" fmla="*/ 109538 w 1116840"/>
                  <a:gd name="connsiteY56" fmla="*/ 50006 h 207169"/>
                  <a:gd name="connsiteX57" fmla="*/ 97632 w 1116840"/>
                  <a:gd name="connsiteY57" fmla="*/ 54769 h 207169"/>
                  <a:gd name="connsiteX58" fmla="*/ 80963 w 1116840"/>
                  <a:gd name="connsiteY58" fmla="*/ 57150 h 207169"/>
                  <a:gd name="connsiteX59" fmla="*/ 54769 w 1116840"/>
                  <a:gd name="connsiteY59" fmla="*/ 61912 h 207169"/>
                  <a:gd name="connsiteX60" fmla="*/ 47625 w 1116840"/>
                  <a:gd name="connsiteY60" fmla="*/ 64294 h 207169"/>
                  <a:gd name="connsiteX61" fmla="*/ 23813 w 1116840"/>
                  <a:gd name="connsiteY61" fmla="*/ 71437 h 207169"/>
                  <a:gd name="connsiteX62" fmla="*/ 9525 w 1116840"/>
                  <a:gd name="connsiteY62" fmla="*/ 80962 h 207169"/>
                  <a:gd name="connsiteX63" fmla="*/ 0 w 1116840"/>
                  <a:gd name="connsiteY63" fmla="*/ 104775 h 207169"/>
                  <a:gd name="connsiteX64" fmla="*/ 11907 w 1116840"/>
                  <a:gd name="connsiteY64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966788 w 1116840"/>
                  <a:gd name="connsiteY40" fmla="*/ 35719 h 207169"/>
                  <a:gd name="connsiteX41" fmla="*/ 857250 w 1116840"/>
                  <a:gd name="connsiteY41" fmla="*/ 21431 h 207169"/>
                  <a:gd name="connsiteX42" fmla="*/ 790575 w 1116840"/>
                  <a:gd name="connsiteY42" fmla="*/ 9525 h 207169"/>
                  <a:gd name="connsiteX43" fmla="*/ 702469 w 1116840"/>
                  <a:gd name="connsiteY43" fmla="*/ 7144 h 207169"/>
                  <a:gd name="connsiteX44" fmla="*/ 559594 w 1116840"/>
                  <a:gd name="connsiteY44" fmla="*/ 0 h 207169"/>
                  <a:gd name="connsiteX45" fmla="*/ 338138 w 1116840"/>
                  <a:gd name="connsiteY45" fmla="*/ 2381 h 207169"/>
                  <a:gd name="connsiteX46" fmla="*/ 295275 w 1116840"/>
                  <a:gd name="connsiteY46" fmla="*/ 7144 h 207169"/>
                  <a:gd name="connsiteX47" fmla="*/ 278607 w 1116840"/>
                  <a:gd name="connsiteY47" fmla="*/ 9525 h 207169"/>
                  <a:gd name="connsiteX48" fmla="*/ 269082 w 1116840"/>
                  <a:gd name="connsiteY48" fmla="*/ 11906 h 207169"/>
                  <a:gd name="connsiteX49" fmla="*/ 238125 w 1116840"/>
                  <a:gd name="connsiteY49" fmla="*/ 14287 h 207169"/>
                  <a:gd name="connsiteX50" fmla="*/ 216694 w 1116840"/>
                  <a:gd name="connsiteY50" fmla="*/ 21431 h 207169"/>
                  <a:gd name="connsiteX51" fmla="*/ 195263 w 1116840"/>
                  <a:gd name="connsiteY51" fmla="*/ 26194 h 207169"/>
                  <a:gd name="connsiteX52" fmla="*/ 183357 w 1116840"/>
                  <a:gd name="connsiteY52" fmla="*/ 28575 h 207169"/>
                  <a:gd name="connsiteX53" fmla="*/ 147638 w 1116840"/>
                  <a:gd name="connsiteY53" fmla="*/ 38100 h 207169"/>
                  <a:gd name="connsiteX54" fmla="*/ 128588 w 1116840"/>
                  <a:gd name="connsiteY54" fmla="*/ 45244 h 207169"/>
                  <a:gd name="connsiteX55" fmla="*/ 109538 w 1116840"/>
                  <a:gd name="connsiteY55" fmla="*/ 50006 h 207169"/>
                  <a:gd name="connsiteX56" fmla="*/ 97632 w 1116840"/>
                  <a:gd name="connsiteY56" fmla="*/ 54769 h 207169"/>
                  <a:gd name="connsiteX57" fmla="*/ 80963 w 1116840"/>
                  <a:gd name="connsiteY57" fmla="*/ 57150 h 207169"/>
                  <a:gd name="connsiteX58" fmla="*/ 54769 w 1116840"/>
                  <a:gd name="connsiteY58" fmla="*/ 61912 h 207169"/>
                  <a:gd name="connsiteX59" fmla="*/ 47625 w 1116840"/>
                  <a:gd name="connsiteY59" fmla="*/ 64294 h 207169"/>
                  <a:gd name="connsiteX60" fmla="*/ 23813 w 1116840"/>
                  <a:gd name="connsiteY60" fmla="*/ 71437 h 207169"/>
                  <a:gd name="connsiteX61" fmla="*/ 9525 w 1116840"/>
                  <a:gd name="connsiteY61" fmla="*/ 80962 h 207169"/>
                  <a:gd name="connsiteX62" fmla="*/ 0 w 1116840"/>
                  <a:gd name="connsiteY62" fmla="*/ 104775 h 207169"/>
                  <a:gd name="connsiteX63" fmla="*/ 11907 w 1116840"/>
                  <a:gd name="connsiteY63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966788 w 1116840"/>
                  <a:gd name="connsiteY39" fmla="*/ 35719 h 207169"/>
                  <a:gd name="connsiteX40" fmla="*/ 857250 w 1116840"/>
                  <a:gd name="connsiteY40" fmla="*/ 21431 h 207169"/>
                  <a:gd name="connsiteX41" fmla="*/ 790575 w 1116840"/>
                  <a:gd name="connsiteY41" fmla="*/ 9525 h 207169"/>
                  <a:gd name="connsiteX42" fmla="*/ 702469 w 1116840"/>
                  <a:gd name="connsiteY42" fmla="*/ 7144 h 207169"/>
                  <a:gd name="connsiteX43" fmla="*/ 559594 w 1116840"/>
                  <a:gd name="connsiteY43" fmla="*/ 0 h 207169"/>
                  <a:gd name="connsiteX44" fmla="*/ 338138 w 1116840"/>
                  <a:gd name="connsiteY44" fmla="*/ 2381 h 207169"/>
                  <a:gd name="connsiteX45" fmla="*/ 295275 w 1116840"/>
                  <a:gd name="connsiteY45" fmla="*/ 7144 h 207169"/>
                  <a:gd name="connsiteX46" fmla="*/ 278607 w 1116840"/>
                  <a:gd name="connsiteY46" fmla="*/ 9525 h 207169"/>
                  <a:gd name="connsiteX47" fmla="*/ 269082 w 1116840"/>
                  <a:gd name="connsiteY47" fmla="*/ 11906 h 207169"/>
                  <a:gd name="connsiteX48" fmla="*/ 238125 w 1116840"/>
                  <a:gd name="connsiteY48" fmla="*/ 14287 h 207169"/>
                  <a:gd name="connsiteX49" fmla="*/ 216694 w 1116840"/>
                  <a:gd name="connsiteY49" fmla="*/ 21431 h 207169"/>
                  <a:gd name="connsiteX50" fmla="*/ 195263 w 1116840"/>
                  <a:gd name="connsiteY50" fmla="*/ 26194 h 207169"/>
                  <a:gd name="connsiteX51" fmla="*/ 183357 w 1116840"/>
                  <a:gd name="connsiteY51" fmla="*/ 28575 h 207169"/>
                  <a:gd name="connsiteX52" fmla="*/ 147638 w 1116840"/>
                  <a:gd name="connsiteY52" fmla="*/ 38100 h 207169"/>
                  <a:gd name="connsiteX53" fmla="*/ 128588 w 1116840"/>
                  <a:gd name="connsiteY53" fmla="*/ 45244 h 207169"/>
                  <a:gd name="connsiteX54" fmla="*/ 109538 w 1116840"/>
                  <a:gd name="connsiteY54" fmla="*/ 50006 h 207169"/>
                  <a:gd name="connsiteX55" fmla="*/ 97632 w 1116840"/>
                  <a:gd name="connsiteY55" fmla="*/ 54769 h 207169"/>
                  <a:gd name="connsiteX56" fmla="*/ 80963 w 1116840"/>
                  <a:gd name="connsiteY56" fmla="*/ 57150 h 207169"/>
                  <a:gd name="connsiteX57" fmla="*/ 54769 w 1116840"/>
                  <a:gd name="connsiteY57" fmla="*/ 61912 h 207169"/>
                  <a:gd name="connsiteX58" fmla="*/ 47625 w 1116840"/>
                  <a:gd name="connsiteY58" fmla="*/ 64294 h 207169"/>
                  <a:gd name="connsiteX59" fmla="*/ 23813 w 1116840"/>
                  <a:gd name="connsiteY59" fmla="*/ 71437 h 207169"/>
                  <a:gd name="connsiteX60" fmla="*/ 9525 w 1116840"/>
                  <a:gd name="connsiteY60" fmla="*/ 80962 h 207169"/>
                  <a:gd name="connsiteX61" fmla="*/ 0 w 1116840"/>
                  <a:gd name="connsiteY61" fmla="*/ 104775 h 207169"/>
                  <a:gd name="connsiteX62" fmla="*/ 11907 w 1116840"/>
                  <a:gd name="connsiteY62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83469 w 1117890"/>
                  <a:gd name="connsiteY32" fmla="*/ 130969 h 207169"/>
                  <a:gd name="connsiteX33" fmla="*/ 1090613 w 1117890"/>
                  <a:gd name="connsiteY33" fmla="*/ 123825 h 207169"/>
                  <a:gd name="connsiteX34" fmla="*/ 1100138 w 1117890"/>
                  <a:gd name="connsiteY34" fmla="*/ 119062 h 207169"/>
                  <a:gd name="connsiteX35" fmla="*/ 1116807 w 1117890"/>
                  <a:gd name="connsiteY35" fmla="*/ 95250 h 207169"/>
                  <a:gd name="connsiteX36" fmla="*/ 1114425 w 1117890"/>
                  <a:gd name="connsiteY36" fmla="*/ 85725 h 207169"/>
                  <a:gd name="connsiteX37" fmla="*/ 1054894 w 1117890"/>
                  <a:gd name="connsiteY37" fmla="*/ 61912 h 207169"/>
                  <a:gd name="connsiteX38" fmla="*/ 966788 w 1117890"/>
                  <a:gd name="connsiteY38" fmla="*/ 35719 h 207169"/>
                  <a:gd name="connsiteX39" fmla="*/ 857250 w 1117890"/>
                  <a:gd name="connsiteY39" fmla="*/ 21431 h 207169"/>
                  <a:gd name="connsiteX40" fmla="*/ 790575 w 1117890"/>
                  <a:gd name="connsiteY40" fmla="*/ 9525 h 207169"/>
                  <a:gd name="connsiteX41" fmla="*/ 702469 w 1117890"/>
                  <a:gd name="connsiteY41" fmla="*/ 7144 h 207169"/>
                  <a:gd name="connsiteX42" fmla="*/ 559594 w 1117890"/>
                  <a:gd name="connsiteY42" fmla="*/ 0 h 207169"/>
                  <a:gd name="connsiteX43" fmla="*/ 338138 w 1117890"/>
                  <a:gd name="connsiteY43" fmla="*/ 2381 h 207169"/>
                  <a:gd name="connsiteX44" fmla="*/ 295275 w 1117890"/>
                  <a:gd name="connsiteY44" fmla="*/ 7144 h 207169"/>
                  <a:gd name="connsiteX45" fmla="*/ 278607 w 1117890"/>
                  <a:gd name="connsiteY45" fmla="*/ 9525 h 207169"/>
                  <a:gd name="connsiteX46" fmla="*/ 269082 w 1117890"/>
                  <a:gd name="connsiteY46" fmla="*/ 11906 h 207169"/>
                  <a:gd name="connsiteX47" fmla="*/ 238125 w 1117890"/>
                  <a:gd name="connsiteY47" fmla="*/ 14287 h 207169"/>
                  <a:gd name="connsiteX48" fmla="*/ 216694 w 1117890"/>
                  <a:gd name="connsiteY48" fmla="*/ 21431 h 207169"/>
                  <a:gd name="connsiteX49" fmla="*/ 195263 w 1117890"/>
                  <a:gd name="connsiteY49" fmla="*/ 26194 h 207169"/>
                  <a:gd name="connsiteX50" fmla="*/ 183357 w 1117890"/>
                  <a:gd name="connsiteY50" fmla="*/ 28575 h 207169"/>
                  <a:gd name="connsiteX51" fmla="*/ 147638 w 1117890"/>
                  <a:gd name="connsiteY51" fmla="*/ 38100 h 207169"/>
                  <a:gd name="connsiteX52" fmla="*/ 128588 w 1117890"/>
                  <a:gd name="connsiteY52" fmla="*/ 45244 h 207169"/>
                  <a:gd name="connsiteX53" fmla="*/ 109538 w 1117890"/>
                  <a:gd name="connsiteY53" fmla="*/ 50006 h 207169"/>
                  <a:gd name="connsiteX54" fmla="*/ 97632 w 1117890"/>
                  <a:gd name="connsiteY54" fmla="*/ 54769 h 207169"/>
                  <a:gd name="connsiteX55" fmla="*/ 80963 w 1117890"/>
                  <a:gd name="connsiteY55" fmla="*/ 57150 h 207169"/>
                  <a:gd name="connsiteX56" fmla="*/ 54769 w 1117890"/>
                  <a:gd name="connsiteY56" fmla="*/ 61912 h 207169"/>
                  <a:gd name="connsiteX57" fmla="*/ 47625 w 1117890"/>
                  <a:gd name="connsiteY57" fmla="*/ 64294 h 207169"/>
                  <a:gd name="connsiteX58" fmla="*/ 23813 w 1117890"/>
                  <a:gd name="connsiteY58" fmla="*/ 71437 h 207169"/>
                  <a:gd name="connsiteX59" fmla="*/ 9525 w 1117890"/>
                  <a:gd name="connsiteY59" fmla="*/ 80962 h 207169"/>
                  <a:gd name="connsiteX60" fmla="*/ 0 w 1117890"/>
                  <a:gd name="connsiteY60" fmla="*/ 104775 h 207169"/>
                  <a:gd name="connsiteX61" fmla="*/ 11907 w 1117890"/>
                  <a:gd name="connsiteY61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90613 w 1117890"/>
                  <a:gd name="connsiteY32" fmla="*/ 123825 h 207169"/>
                  <a:gd name="connsiteX33" fmla="*/ 1100138 w 1117890"/>
                  <a:gd name="connsiteY33" fmla="*/ 119062 h 207169"/>
                  <a:gd name="connsiteX34" fmla="*/ 1116807 w 1117890"/>
                  <a:gd name="connsiteY34" fmla="*/ 95250 h 207169"/>
                  <a:gd name="connsiteX35" fmla="*/ 1114425 w 1117890"/>
                  <a:gd name="connsiteY35" fmla="*/ 85725 h 207169"/>
                  <a:gd name="connsiteX36" fmla="*/ 1054894 w 1117890"/>
                  <a:gd name="connsiteY36" fmla="*/ 61912 h 207169"/>
                  <a:gd name="connsiteX37" fmla="*/ 966788 w 1117890"/>
                  <a:gd name="connsiteY37" fmla="*/ 35719 h 207169"/>
                  <a:gd name="connsiteX38" fmla="*/ 857250 w 1117890"/>
                  <a:gd name="connsiteY38" fmla="*/ 21431 h 207169"/>
                  <a:gd name="connsiteX39" fmla="*/ 790575 w 1117890"/>
                  <a:gd name="connsiteY39" fmla="*/ 9525 h 207169"/>
                  <a:gd name="connsiteX40" fmla="*/ 702469 w 1117890"/>
                  <a:gd name="connsiteY40" fmla="*/ 7144 h 207169"/>
                  <a:gd name="connsiteX41" fmla="*/ 559594 w 1117890"/>
                  <a:gd name="connsiteY41" fmla="*/ 0 h 207169"/>
                  <a:gd name="connsiteX42" fmla="*/ 338138 w 1117890"/>
                  <a:gd name="connsiteY42" fmla="*/ 2381 h 207169"/>
                  <a:gd name="connsiteX43" fmla="*/ 295275 w 1117890"/>
                  <a:gd name="connsiteY43" fmla="*/ 7144 h 207169"/>
                  <a:gd name="connsiteX44" fmla="*/ 278607 w 1117890"/>
                  <a:gd name="connsiteY44" fmla="*/ 9525 h 207169"/>
                  <a:gd name="connsiteX45" fmla="*/ 269082 w 1117890"/>
                  <a:gd name="connsiteY45" fmla="*/ 11906 h 207169"/>
                  <a:gd name="connsiteX46" fmla="*/ 238125 w 1117890"/>
                  <a:gd name="connsiteY46" fmla="*/ 14287 h 207169"/>
                  <a:gd name="connsiteX47" fmla="*/ 216694 w 1117890"/>
                  <a:gd name="connsiteY47" fmla="*/ 21431 h 207169"/>
                  <a:gd name="connsiteX48" fmla="*/ 195263 w 1117890"/>
                  <a:gd name="connsiteY48" fmla="*/ 26194 h 207169"/>
                  <a:gd name="connsiteX49" fmla="*/ 183357 w 1117890"/>
                  <a:gd name="connsiteY49" fmla="*/ 28575 h 207169"/>
                  <a:gd name="connsiteX50" fmla="*/ 147638 w 1117890"/>
                  <a:gd name="connsiteY50" fmla="*/ 38100 h 207169"/>
                  <a:gd name="connsiteX51" fmla="*/ 128588 w 1117890"/>
                  <a:gd name="connsiteY51" fmla="*/ 45244 h 207169"/>
                  <a:gd name="connsiteX52" fmla="*/ 109538 w 1117890"/>
                  <a:gd name="connsiteY52" fmla="*/ 50006 h 207169"/>
                  <a:gd name="connsiteX53" fmla="*/ 97632 w 1117890"/>
                  <a:gd name="connsiteY53" fmla="*/ 54769 h 207169"/>
                  <a:gd name="connsiteX54" fmla="*/ 80963 w 1117890"/>
                  <a:gd name="connsiteY54" fmla="*/ 57150 h 207169"/>
                  <a:gd name="connsiteX55" fmla="*/ 54769 w 1117890"/>
                  <a:gd name="connsiteY55" fmla="*/ 61912 h 207169"/>
                  <a:gd name="connsiteX56" fmla="*/ 47625 w 1117890"/>
                  <a:gd name="connsiteY56" fmla="*/ 64294 h 207169"/>
                  <a:gd name="connsiteX57" fmla="*/ 23813 w 1117890"/>
                  <a:gd name="connsiteY57" fmla="*/ 71437 h 207169"/>
                  <a:gd name="connsiteX58" fmla="*/ 9525 w 1117890"/>
                  <a:gd name="connsiteY58" fmla="*/ 80962 h 207169"/>
                  <a:gd name="connsiteX59" fmla="*/ 0 w 1117890"/>
                  <a:gd name="connsiteY59" fmla="*/ 104775 h 207169"/>
                  <a:gd name="connsiteX60" fmla="*/ 11907 w 1117890"/>
                  <a:gd name="connsiteY60" fmla="*/ 111919 h 207169"/>
                  <a:gd name="connsiteX0" fmla="*/ 11907 w 1118595"/>
                  <a:gd name="connsiteY0" fmla="*/ 111919 h 207169"/>
                  <a:gd name="connsiteX1" fmla="*/ 23813 w 1118595"/>
                  <a:gd name="connsiteY1" fmla="*/ 121444 h 207169"/>
                  <a:gd name="connsiteX2" fmla="*/ 28575 w 1118595"/>
                  <a:gd name="connsiteY2" fmla="*/ 128587 h 207169"/>
                  <a:gd name="connsiteX3" fmla="*/ 40482 w 1118595"/>
                  <a:gd name="connsiteY3" fmla="*/ 135731 h 207169"/>
                  <a:gd name="connsiteX4" fmla="*/ 47625 w 1118595"/>
                  <a:gd name="connsiteY4" fmla="*/ 140494 h 207169"/>
                  <a:gd name="connsiteX5" fmla="*/ 78582 w 1118595"/>
                  <a:gd name="connsiteY5" fmla="*/ 145256 h 207169"/>
                  <a:gd name="connsiteX6" fmla="*/ 104775 w 1118595"/>
                  <a:gd name="connsiteY6" fmla="*/ 150019 h 207169"/>
                  <a:gd name="connsiteX7" fmla="*/ 128588 w 1118595"/>
                  <a:gd name="connsiteY7" fmla="*/ 152400 h 207169"/>
                  <a:gd name="connsiteX8" fmla="*/ 161925 w 1118595"/>
                  <a:gd name="connsiteY8" fmla="*/ 161925 h 207169"/>
                  <a:gd name="connsiteX9" fmla="*/ 178594 w 1118595"/>
                  <a:gd name="connsiteY9" fmla="*/ 164306 h 207169"/>
                  <a:gd name="connsiteX10" fmla="*/ 202407 w 1118595"/>
                  <a:gd name="connsiteY10" fmla="*/ 169069 h 207169"/>
                  <a:gd name="connsiteX11" fmla="*/ 209550 w 1118595"/>
                  <a:gd name="connsiteY11" fmla="*/ 171450 h 207169"/>
                  <a:gd name="connsiteX12" fmla="*/ 238125 w 1118595"/>
                  <a:gd name="connsiteY12" fmla="*/ 178594 h 207169"/>
                  <a:gd name="connsiteX13" fmla="*/ 285750 w 1118595"/>
                  <a:gd name="connsiteY13" fmla="*/ 192881 h 207169"/>
                  <a:gd name="connsiteX14" fmla="*/ 378619 w 1118595"/>
                  <a:gd name="connsiteY14" fmla="*/ 195262 h 207169"/>
                  <a:gd name="connsiteX15" fmla="*/ 402432 w 1118595"/>
                  <a:gd name="connsiteY15" fmla="*/ 200025 h 207169"/>
                  <a:gd name="connsiteX16" fmla="*/ 457200 w 1118595"/>
                  <a:gd name="connsiteY16" fmla="*/ 207169 h 207169"/>
                  <a:gd name="connsiteX17" fmla="*/ 604838 w 1118595"/>
                  <a:gd name="connsiteY17" fmla="*/ 204787 h 207169"/>
                  <a:gd name="connsiteX18" fmla="*/ 623888 w 1118595"/>
                  <a:gd name="connsiteY18" fmla="*/ 200025 h 207169"/>
                  <a:gd name="connsiteX19" fmla="*/ 676275 w 1118595"/>
                  <a:gd name="connsiteY19" fmla="*/ 197644 h 207169"/>
                  <a:gd name="connsiteX20" fmla="*/ 697707 w 1118595"/>
                  <a:gd name="connsiteY20" fmla="*/ 192881 h 207169"/>
                  <a:gd name="connsiteX21" fmla="*/ 707232 w 1118595"/>
                  <a:gd name="connsiteY21" fmla="*/ 190500 h 207169"/>
                  <a:gd name="connsiteX22" fmla="*/ 797719 w 1118595"/>
                  <a:gd name="connsiteY22" fmla="*/ 188119 h 207169"/>
                  <a:gd name="connsiteX23" fmla="*/ 823913 w 1118595"/>
                  <a:gd name="connsiteY23" fmla="*/ 180975 h 207169"/>
                  <a:gd name="connsiteX24" fmla="*/ 842963 w 1118595"/>
                  <a:gd name="connsiteY24" fmla="*/ 176212 h 207169"/>
                  <a:gd name="connsiteX25" fmla="*/ 866775 w 1118595"/>
                  <a:gd name="connsiteY25" fmla="*/ 173831 h 207169"/>
                  <a:gd name="connsiteX26" fmla="*/ 940594 w 1118595"/>
                  <a:gd name="connsiteY26" fmla="*/ 169069 h 207169"/>
                  <a:gd name="connsiteX27" fmla="*/ 971550 w 1118595"/>
                  <a:gd name="connsiteY27" fmla="*/ 166687 h 207169"/>
                  <a:gd name="connsiteX28" fmla="*/ 992982 w 1118595"/>
                  <a:gd name="connsiteY28" fmla="*/ 161925 h 207169"/>
                  <a:gd name="connsiteX29" fmla="*/ 1007269 w 1118595"/>
                  <a:gd name="connsiteY29" fmla="*/ 159544 h 207169"/>
                  <a:gd name="connsiteX30" fmla="*/ 1035844 w 1118595"/>
                  <a:gd name="connsiteY30" fmla="*/ 152400 h 207169"/>
                  <a:gd name="connsiteX31" fmla="*/ 1052513 w 1118595"/>
                  <a:gd name="connsiteY31" fmla="*/ 142875 h 207169"/>
                  <a:gd name="connsiteX32" fmla="*/ 1090613 w 1118595"/>
                  <a:gd name="connsiteY32" fmla="*/ 123825 h 207169"/>
                  <a:gd name="connsiteX33" fmla="*/ 1116807 w 1118595"/>
                  <a:gd name="connsiteY33" fmla="*/ 95250 h 207169"/>
                  <a:gd name="connsiteX34" fmla="*/ 1114425 w 1118595"/>
                  <a:gd name="connsiteY34" fmla="*/ 85725 h 207169"/>
                  <a:gd name="connsiteX35" fmla="*/ 1054894 w 1118595"/>
                  <a:gd name="connsiteY35" fmla="*/ 61912 h 207169"/>
                  <a:gd name="connsiteX36" fmla="*/ 966788 w 1118595"/>
                  <a:gd name="connsiteY36" fmla="*/ 35719 h 207169"/>
                  <a:gd name="connsiteX37" fmla="*/ 857250 w 1118595"/>
                  <a:gd name="connsiteY37" fmla="*/ 21431 h 207169"/>
                  <a:gd name="connsiteX38" fmla="*/ 790575 w 1118595"/>
                  <a:gd name="connsiteY38" fmla="*/ 9525 h 207169"/>
                  <a:gd name="connsiteX39" fmla="*/ 702469 w 1118595"/>
                  <a:gd name="connsiteY39" fmla="*/ 7144 h 207169"/>
                  <a:gd name="connsiteX40" fmla="*/ 559594 w 1118595"/>
                  <a:gd name="connsiteY40" fmla="*/ 0 h 207169"/>
                  <a:gd name="connsiteX41" fmla="*/ 338138 w 1118595"/>
                  <a:gd name="connsiteY41" fmla="*/ 2381 h 207169"/>
                  <a:gd name="connsiteX42" fmla="*/ 295275 w 1118595"/>
                  <a:gd name="connsiteY42" fmla="*/ 7144 h 207169"/>
                  <a:gd name="connsiteX43" fmla="*/ 278607 w 1118595"/>
                  <a:gd name="connsiteY43" fmla="*/ 9525 h 207169"/>
                  <a:gd name="connsiteX44" fmla="*/ 269082 w 1118595"/>
                  <a:gd name="connsiteY44" fmla="*/ 11906 h 207169"/>
                  <a:gd name="connsiteX45" fmla="*/ 238125 w 1118595"/>
                  <a:gd name="connsiteY45" fmla="*/ 14287 h 207169"/>
                  <a:gd name="connsiteX46" fmla="*/ 216694 w 1118595"/>
                  <a:gd name="connsiteY46" fmla="*/ 21431 h 207169"/>
                  <a:gd name="connsiteX47" fmla="*/ 195263 w 1118595"/>
                  <a:gd name="connsiteY47" fmla="*/ 26194 h 207169"/>
                  <a:gd name="connsiteX48" fmla="*/ 183357 w 1118595"/>
                  <a:gd name="connsiteY48" fmla="*/ 28575 h 207169"/>
                  <a:gd name="connsiteX49" fmla="*/ 147638 w 1118595"/>
                  <a:gd name="connsiteY49" fmla="*/ 38100 h 207169"/>
                  <a:gd name="connsiteX50" fmla="*/ 128588 w 1118595"/>
                  <a:gd name="connsiteY50" fmla="*/ 45244 h 207169"/>
                  <a:gd name="connsiteX51" fmla="*/ 109538 w 1118595"/>
                  <a:gd name="connsiteY51" fmla="*/ 50006 h 207169"/>
                  <a:gd name="connsiteX52" fmla="*/ 97632 w 1118595"/>
                  <a:gd name="connsiteY52" fmla="*/ 54769 h 207169"/>
                  <a:gd name="connsiteX53" fmla="*/ 80963 w 1118595"/>
                  <a:gd name="connsiteY53" fmla="*/ 57150 h 207169"/>
                  <a:gd name="connsiteX54" fmla="*/ 54769 w 1118595"/>
                  <a:gd name="connsiteY54" fmla="*/ 61912 h 207169"/>
                  <a:gd name="connsiteX55" fmla="*/ 47625 w 1118595"/>
                  <a:gd name="connsiteY55" fmla="*/ 64294 h 207169"/>
                  <a:gd name="connsiteX56" fmla="*/ 23813 w 1118595"/>
                  <a:gd name="connsiteY56" fmla="*/ 71437 h 207169"/>
                  <a:gd name="connsiteX57" fmla="*/ 9525 w 1118595"/>
                  <a:gd name="connsiteY57" fmla="*/ 80962 h 207169"/>
                  <a:gd name="connsiteX58" fmla="*/ 0 w 1118595"/>
                  <a:gd name="connsiteY58" fmla="*/ 104775 h 207169"/>
                  <a:gd name="connsiteX59" fmla="*/ 11907 w 1118595"/>
                  <a:gd name="connsiteY5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992982 w 1121416"/>
                  <a:gd name="connsiteY28" fmla="*/ 161925 h 207169"/>
                  <a:gd name="connsiteX29" fmla="*/ 1007269 w 1121416"/>
                  <a:gd name="connsiteY29" fmla="*/ 159544 h 207169"/>
                  <a:gd name="connsiteX30" fmla="*/ 1035844 w 1121416"/>
                  <a:gd name="connsiteY30" fmla="*/ 152400 h 207169"/>
                  <a:gd name="connsiteX31" fmla="*/ 1052513 w 1121416"/>
                  <a:gd name="connsiteY31" fmla="*/ 142875 h 207169"/>
                  <a:gd name="connsiteX32" fmla="*/ 1116807 w 1121416"/>
                  <a:gd name="connsiteY32" fmla="*/ 95250 h 207169"/>
                  <a:gd name="connsiteX33" fmla="*/ 1114425 w 1121416"/>
                  <a:gd name="connsiteY33" fmla="*/ 85725 h 207169"/>
                  <a:gd name="connsiteX34" fmla="*/ 1054894 w 1121416"/>
                  <a:gd name="connsiteY34" fmla="*/ 61912 h 207169"/>
                  <a:gd name="connsiteX35" fmla="*/ 966788 w 1121416"/>
                  <a:gd name="connsiteY35" fmla="*/ 35719 h 207169"/>
                  <a:gd name="connsiteX36" fmla="*/ 857250 w 1121416"/>
                  <a:gd name="connsiteY36" fmla="*/ 21431 h 207169"/>
                  <a:gd name="connsiteX37" fmla="*/ 790575 w 1121416"/>
                  <a:gd name="connsiteY37" fmla="*/ 9525 h 207169"/>
                  <a:gd name="connsiteX38" fmla="*/ 702469 w 1121416"/>
                  <a:gd name="connsiteY38" fmla="*/ 7144 h 207169"/>
                  <a:gd name="connsiteX39" fmla="*/ 559594 w 1121416"/>
                  <a:gd name="connsiteY39" fmla="*/ 0 h 207169"/>
                  <a:gd name="connsiteX40" fmla="*/ 338138 w 1121416"/>
                  <a:gd name="connsiteY40" fmla="*/ 2381 h 207169"/>
                  <a:gd name="connsiteX41" fmla="*/ 295275 w 1121416"/>
                  <a:gd name="connsiteY41" fmla="*/ 7144 h 207169"/>
                  <a:gd name="connsiteX42" fmla="*/ 278607 w 1121416"/>
                  <a:gd name="connsiteY42" fmla="*/ 9525 h 207169"/>
                  <a:gd name="connsiteX43" fmla="*/ 269082 w 1121416"/>
                  <a:gd name="connsiteY43" fmla="*/ 11906 h 207169"/>
                  <a:gd name="connsiteX44" fmla="*/ 238125 w 1121416"/>
                  <a:gd name="connsiteY44" fmla="*/ 14287 h 207169"/>
                  <a:gd name="connsiteX45" fmla="*/ 216694 w 1121416"/>
                  <a:gd name="connsiteY45" fmla="*/ 21431 h 207169"/>
                  <a:gd name="connsiteX46" fmla="*/ 195263 w 1121416"/>
                  <a:gd name="connsiteY46" fmla="*/ 26194 h 207169"/>
                  <a:gd name="connsiteX47" fmla="*/ 183357 w 1121416"/>
                  <a:gd name="connsiteY47" fmla="*/ 28575 h 207169"/>
                  <a:gd name="connsiteX48" fmla="*/ 147638 w 1121416"/>
                  <a:gd name="connsiteY48" fmla="*/ 38100 h 207169"/>
                  <a:gd name="connsiteX49" fmla="*/ 128588 w 1121416"/>
                  <a:gd name="connsiteY49" fmla="*/ 45244 h 207169"/>
                  <a:gd name="connsiteX50" fmla="*/ 109538 w 1121416"/>
                  <a:gd name="connsiteY50" fmla="*/ 50006 h 207169"/>
                  <a:gd name="connsiteX51" fmla="*/ 97632 w 1121416"/>
                  <a:gd name="connsiteY51" fmla="*/ 54769 h 207169"/>
                  <a:gd name="connsiteX52" fmla="*/ 80963 w 1121416"/>
                  <a:gd name="connsiteY52" fmla="*/ 57150 h 207169"/>
                  <a:gd name="connsiteX53" fmla="*/ 54769 w 1121416"/>
                  <a:gd name="connsiteY53" fmla="*/ 61912 h 207169"/>
                  <a:gd name="connsiteX54" fmla="*/ 47625 w 1121416"/>
                  <a:gd name="connsiteY54" fmla="*/ 64294 h 207169"/>
                  <a:gd name="connsiteX55" fmla="*/ 23813 w 1121416"/>
                  <a:gd name="connsiteY55" fmla="*/ 71437 h 207169"/>
                  <a:gd name="connsiteX56" fmla="*/ 9525 w 1121416"/>
                  <a:gd name="connsiteY56" fmla="*/ 80962 h 207169"/>
                  <a:gd name="connsiteX57" fmla="*/ 0 w 1121416"/>
                  <a:gd name="connsiteY57" fmla="*/ 104775 h 207169"/>
                  <a:gd name="connsiteX58" fmla="*/ 11907 w 1121416"/>
                  <a:gd name="connsiteY5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07269 w 1121416"/>
                  <a:gd name="connsiteY28" fmla="*/ 159544 h 207169"/>
                  <a:gd name="connsiteX29" fmla="*/ 1035844 w 1121416"/>
                  <a:gd name="connsiteY29" fmla="*/ 152400 h 207169"/>
                  <a:gd name="connsiteX30" fmla="*/ 1052513 w 1121416"/>
                  <a:gd name="connsiteY30" fmla="*/ 142875 h 207169"/>
                  <a:gd name="connsiteX31" fmla="*/ 1116807 w 1121416"/>
                  <a:gd name="connsiteY31" fmla="*/ 95250 h 207169"/>
                  <a:gd name="connsiteX32" fmla="*/ 1114425 w 1121416"/>
                  <a:gd name="connsiteY32" fmla="*/ 85725 h 207169"/>
                  <a:gd name="connsiteX33" fmla="*/ 1054894 w 1121416"/>
                  <a:gd name="connsiteY33" fmla="*/ 61912 h 207169"/>
                  <a:gd name="connsiteX34" fmla="*/ 966788 w 1121416"/>
                  <a:gd name="connsiteY34" fmla="*/ 35719 h 207169"/>
                  <a:gd name="connsiteX35" fmla="*/ 857250 w 1121416"/>
                  <a:gd name="connsiteY35" fmla="*/ 21431 h 207169"/>
                  <a:gd name="connsiteX36" fmla="*/ 790575 w 1121416"/>
                  <a:gd name="connsiteY36" fmla="*/ 9525 h 207169"/>
                  <a:gd name="connsiteX37" fmla="*/ 702469 w 1121416"/>
                  <a:gd name="connsiteY37" fmla="*/ 7144 h 207169"/>
                  <a:gd name="connsiteX38" fmla="*/ 559594 w 1121416"/>
                  <a:gd name="connsiteY38" fmla="*/ 0 h 207169"/>
                  <a:gd name="connsiteX39" fmla="*/ 338138 w 1121416"/>
                  <a:gd name="connsiteY39" fmla="*/ 2381 h 207169"/>
                  <a:gd name="connsiteX40" fmla="*/ 295275 w 1121416"/>
                  <a:gd name="connsiteY40" fmla="*/ 7144 h 207169"/>
                  <a:gd name="connsiteX41" fmla="*/ 278607 w 1121416"/>
                  <a:gd name="connsiteY41" fmla="*/ 9525 h 207169"/>
                  <a:gd name="connsiteX42" fmla="*/ 269082 w 1121416"/>
                  <a:gd name="connsiteY42" fmla="*/ 11906 h 207169"/>
                  <a:gd name="connsiteX43" fmla="*/ 238125 w 1121416"/>
                  <a:gd name="connsiteY43" fmla="*/ 14287 h 207169"/>
                  <a:gd name="connsiteX44" fmla="*/ 216694 w 1121416"/>
                  <a:gd name="connsiteY44" fmla="*/ 21431 h 207169"/>
                  <a:gd name="connsiteX45" fmla="*/ 195263 w 1121416"/>
                  <a:gd name="connsiteY45" fmla="*/ 26194 h 207169"/>
                  <a:gd name="connsiteX46" fmla="*/ 183357 w 1121416"/>
                  <a:gd name="connsiteY46" fmla="*/ 28575 h 207169"/>
                  <a:gd name="connsiteX47" fmla="*/ 147638 w 1121416"/>
                  <a:gd name="connsiteY47" fmla="*/ 38100 h 207169"/>
                  <a:gd name="connsiteX48" fmla="*/ 128588 w 1121416"/>
                  <a:gd name="connsiteY48" fmla="*/ 45244 h 207169"/>
                  <a:gd name="connsiteX49" fmla="*/ 109538 w 1121416"/>
                  <a:gd name="connsiteY49" fmla="*/ 50006 h 207169"/>
                  <a:gd name="connsiteX50" fmla="*/ 97632 w 1121416"/>
                  <a:gd name="connsiteY50" fmla="*/ 54769 h 207169"/>
                  <a:gd name="connsiteX51" fmla="*/ 80963 w 1121416"/>
                  <a:gd name="connsiteY51" fmla="*/ 57150 h 207169"/>
                  <a:gd name="connsiteX52" fmla="*/ 54769 w 1121416"/>
                  <a:gd name="connsiteY52" fmla="*/ 61912 h 207169"/>
                  <a:gd name="connsiteX53" fmla="*/ 47625 w 1121416"/>
                  <a:gd name="connsiteY53" fmla="*/ 64294 h 207169"/>
                  <a:gd name="connsiteX54" fmla="*/ 23813 w 1121416"/>
                  <a:gd name="connsiteY54" fmla="*/ 71437 h 207169"/>
                  <a:gd name="connsiteX55" fmla="*/ 9525 w 1121416"/>
                  <a:gd name="connsiteY55" fmla="*/ 80962 h 207169"/>
                  <a:gd name="connsiteX56" fmla="*/ 0 w 1121416"/>
                  <a:gd name="connsiteY56" fmla="*/ 104775 h 207169"/>
                  <a:gd name="connsiteX57" fmla="*/ 11907 w 1121416"/>
                  <a:gd name="connsiteY5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35844 w 1121416"/>
                  <a:gd name="connsiteY28" fmla="*/ 152400 h 207169"/>
                  <a:gd name="connsiteX29" fmla="*/ 1052513 w 1121416"/>
                  <a:gd name="connsiteY29" fmla="*/ 142875 h 207169"/>
                  <a:gd name="connsiteX30" fmla="*/ 1116807 w 1121416"/>
                  <a:gd name="connsiteY30" fmla="*/ 95250 h 207169"/>
                  <a:gd name="connsiteX31" fmla="*/ 1114425 w 1121416"/>
                  <a:gd name="connsiteY31" fmla="*/ 85725 h 207169"/>
                  <a:gd name="connsiteX32" fmla="*/ 1054894 w 1121416"/>
                  <a:gd name="connsiteY32" fmla="*/ 61912 h 207169"/>
                  <a:gd name="connsiteX33" fmla="*/ 966788 w 1121416"/>
                  <a:gd name="connsiteY33" fmla="*/ 35719 h 207169"/>
                  <a:gd name="connsiteX34" fmla="*/ 857250 w 1121416"/>
                  <a:gd name="connsiteY34" fmla="*/ 21431 h 207169"/>
                  <a:gd name="connsiteX35" fmla="*/ 790575 w 1121416"/>
                  <a:gd name="connsiteY35" fmla="*/ 9525 h 207169"/>
                  <a:gd name="connsiteX36" fmla="*/ 702469 w 1121416"/>
                  <a:gd name="connsiteY36" fmla="*/ 7144 h 207169"/>
                  <a:gd name="connsiteX37" fmla="*/ 559594 w 1121416"/>
                  <a:gd name="connsiteY37" fmla="*/ 0 h 207169"/>
                  <a:gd name="connsiteX38" fmla="*/ 338138 w 1121416"/>
                  <a:gd name="connsiteY38" fmla="*/ 2381 h 207169"/>
                  <a:gd name="connsiteX39" fmla="*/ 295275 w 1121416"/>
                  <a:gd name="connsiteY39" fmla="*/ 7144 h 207169"/>
                  <a:gd name="connsiteX40" fmla="*/ 278607 w 1121416"/>
                  <a:gd name="connsiteY40" fmla="*/ 9525 h 207169"/>
                  <a:gd name="connsiteX41" fmla="*/ 269082 w 1121416"/>
                  <a:gd name="connsiteY41" fmla="*/ 11906 h 207169"/>
                  <a:gd name="connsiteX42" fmla="*/ 238125 w 1121416"/>
                  <a:gd name="connsiteY42" fmla="*/ 14287 h 207169"/>
                  <a:gd name="connsiteX43" fmla="*/ 216694 w 1121416"/>
                  <a:gd name="connsiteY43" fmla="*/ 21431 h 207169"/>
                  <a:gd name="connsiteX44" fmla="*/ 195263 w 1121416"/>
                  <a:gd name="connsiteY44" fmla="*/ 26194 h 207169"/>
                  <a:gd name="connsiteX45" fmla="*/ 183357 w 1121416"/>
                  <a:gd name="connsiteY45" fmla="*/ 28575 h 207169"/>
                  <a:gd name="connsiteX46" fmla="*/ 147638 w 1121416"/>
                  <a:gd name="connsiteY46" fmla="*/ 38100 h 207169"/>
                  <a:gd name="connsiteX47" fmla="*/ 128588 w 1121416"/>
                  <a:gd name="connsiteY47" fmla="*/ 45244 h 207169"/>
                  <a:gd name="connsiteX48" fmla="*/ 109538 w 1121416"/>
                  <a:gd name="connsiteY48" fmla="*/ 50006 h 207169"/>
                  <a:gd name="connsiteX49" fmla="*/ 97632 w 1121416"/>
                  <a:gd name="connsiteY49" fmla="*/ 54769 h 207169"/>
                  <a:gd name="connsiteX50" fmla="*/ 80963 w 1121416"/>
                  <a:gd name="connsiteY50" fmla="*/ 57150 h 207169"/>
                  <a:gd name="connsiteX51" fmla="*/ 54769 w 1121416"/>
                  <a:gd name="connsiteY51" fmla="*/ 61912 h 207169"/>
                  <a:gd name="connsiteX52" fmla="*/ 47625 w 1121416"/>
                  <a:gd name="connsiteY52" fmla="*/ 64294 h 207169"/>
                  <a:gd name="connsiteX53" fmla="*/ 23813 w 1121416"/>
                  <a:gd name="connsiteY53" fmla="*/ 71437 h 207169"/>
                  <a:gd name="connsiteX54" fmla="*/ 9525 w 1121416"/>
                  <a:gd name="connsiteY54" fmla="*/ 80962 h 207169"/>
                  <a:gd name="connsiteX55" fmla="*/ 0 w 1121416"/>
                  <a:gd name="connsiteY55" fmla="*/ 104775 h 207169"/>
                  <a:gd name="connsiteX56" fmla="*/ 11907 w 1121416"/>
                  <a:gd name="connsiteY5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52513 w 1121416"/>
                  <a:gd name="connsiteY28" fmla="*/ 142875 h 207169"/>
                  <a:gd name="connsiteX29" fmla="*/ 1116807 w 1121416"/>
                  <a:gd name="connsiteY29" fmla="*/ 95250 h 207169"/>
                  <a:gd name="connsiteX30" fmla="*/ 1114425 w 1121416"/>
                  <a:gd name="connsiteY30" fmla="*/ 85725 h 207169"/>
                  <a:gd name="connsiteX31" fmla="*/ 1054894 w 1121416"/>
                  <a:gd name="connsiteY31" fmla="*/ 61912 h 207169"/>
                  <a:gd name="connsiteX32" fmla="*/ 966788 w 1121416"/>
                  <a:gd name="connsiteY32" fmla="*/ 35719 h 207169"/>
                  <a:gd name="connsiteX33" fmla="*/ 857250 w 1121416"/>
                  <a:gd name="connsiteY33" fmla="*/ 21431 h 207169"/>
                  <a:gd name="connsiteX34" fmla="*/ 790575 w 1121416"/>
                  <a:gd name="connsiteY34" fmla="*/ 9525 h 207169"/>
                  <a:gd name="connsiteX35" fmla="*/ 702469 w 1121416"/>
                  <a:gd name="connsiteY35" fmla="*/ 7144 h 207169"/>
                  <a:gd name="connsiteX36" fmla="*/ 559594 w 1121416"/>
                  <a:gd name="connsiteY36" fmla="*/ 0 h 207169"/>
                  <a:gd name="connsiteX37" fmla="*/ 338138 w 1121416"/>
                  <a:gd name="connsiteY37" fmla="*/ 2381 h 207169"/>
                  <a:gd name="connsiteX38" fmla="*/ 295275 w 1121416"/>
                  <a:gd name="connsiteY38" fmla="*/ 7144 h 207169"/>
                  <a:gd name="connsiteX39" fmla="*/ 278607 w 1121416"/>
                  <a:gd name="connsiteY39" fmla="*/ 9525 h 207169"/>
                  <a:gd name="connsiteX40" fmla="*/ 269082 w 1121416"/>
                  <a:gd name="connsiteY40" fmla="*/ 11906 h 207169"/>
                  <a:gd name="connsiteX41" fmla="*/ 238125 w 1121416"/>
                  <a:gd name="connsiteY41" fmla="*/ 14287 h 207169"/>
                  <a:gd name="connsiteX42" fmla="*/ 216694 w 1121416"/>
                  <a:gd name="connsiteY42" fmla="*/ 21431 h 207169"/>
                  <a:gd name="connsiteX43" fmla="*/ 195263 w 1121416"/>
                  <a:gd name="connsiteY43" fmla="*/ 26194 h 207169"/>
                  <a:gd name="connsiteX44" fmla="*/ 183357 w 1121416"/>
                  <a:gd name="connsiteY44" fmla="*/ 28575 h 207169"/>
                  <a:gd name="connsiteX45" fmla="*/ 147638 w 1121416"/>
                  <a:gd name="connsiteY45" fmla="*/ 38100 h 207169"/>
                  <a:gd name="connsiteX46" fmla="*/ 128588 w 1121416"/>
                  <a:gd name="connsiteY46" fmla="*/ 45244 h 207169"/>
                  <a:gd name="connsiteX47" fmla="*/ 109538 w 1121416"/>
                  <a:gd name="connsiteY47" fmla="*/ 50006 h 207169"/>
                  <a:gd name="connsiteX48" fmla="*/ 97632 w 1121416"/>
                  <a:gd name="connsiteY48" fmla="*/ 54769 h 207169"/>
                  <a:gd name="connsiteX49" fmla="*/ 80963 w 1121416"/>
                  <a:gd name="connsiteY49" fmla="*/ 57150 h 207169"/>
                  <a:gd name="connsiteX50" fmla="*/ 54769 w 1121416"/>
                  <a:gd name="connsiteY50" fmla="*/ 61912 h 207169"/>
                  <a:gd name="connsiteX51" fmla="*/ 47625 w 1121416"/>
                  <a:gd name="connsiteY51" fmla="*/ 64294 h 207169"/>
                  <a:gd name="connsiteX52" fmla="*/ 23813 w 1121416"/>
                  <a:gd name="connsiteY52" fmla="*/ 71437 h 207169"/>
                  <a:gd name="connsiteX53" fmla="*/ 9525 w 1121416"/>
                  <a:gd name="connsiteY53" fmla="*/ 80962 h 207169"/>
                  <a:gd name="connsiteX54" fmla="*/ 0 w 1121416"/>
                  <a:gd name="connsiteY54" fmla="*/ 104775 h 207169"/>
                  <a:gd name="connsiteX55" fmla="*/ 11907 w 1121416"/>
                  <a:gd name="connsiteY5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66775 w 1121416"/>
                  <a:gd name="connsiteY24" fmla="*/ 173831 h 207169"/>
                  <a:gd name="connsiteX25" fmla="*/ 940594 w 1121416"/>
                  <a:gd name="connsiteY25" fmla="*/ 169069 h 207169"/>
                  <a:gd name="connsiteX26" fmla="*/ 971550 w 1121416"/>
                  <a:gd name="connsiteY26" fmla="*/ 166687 h 207169"/>
                  <a:gd name="connsiteX27" fmla="*/ 1052513 w 1121416"/>
                  <a:gd name="connsiteY27" fmla="*/ 142875 h 207169"/>
                  <a:gd name="connsiteX28" fmla="*/ 1116807 w 1121416"/>
                  <a:gd name="connsiteY28" fmla="*/ 95250 h 207169"/>
                  <a:gd name="connsiteX29" fmla="*/ 1114425 w 1121416"/>
                  <a:gd name="connsiteY29" fmla="*/ 85725 h 207169"/>
                  <a:gd name="connsiteX30" fmla="*/ 1054894 w 1121416"/>
                  <a:gd name="connsiteY30" fmla="*/ 61912 h 207169"/>
                  <a:gd name="connsiteX31" fmla="*/ 966788 w 1121416"/>
                  <a:gd name="connsiteY31" fmla="*/ 35719 h 207169"/>
                  <a:gd name="connsiteX32" fmla="*/ 857250 w 1121416"/>
                  <a:gd name="connsiteY32" fmla="*/ 21431 h 207169"/>
                  <a:gd name="connsiteX33" fmla="*/ 790575 w 1121416"/>
                  <a:gd name="connsiteY33" fmla="*/ 9525 h 207169"/>
                  <a:gd name="connsiteX34" fmla="*/ 702469 w 1121416"/>
                  <a:gd name="connsiteY34" fmla="*/ 7144 h 207169"/>
                  <a:gd name="connsiteX35" fmla="*/ 559594 w 1121416"/>
                  <a:gd name="connsiteY35" fmla="*/ 0 h 207169"/>
                  <a:gd name="connsiteX36" fmla="*/ 338138 w 1121416"/>
                  <a:gd name="connsiteY36" fmla="*/ 2381 h 207169"/>
                  <a:gd name="connsiteX37" fmla="*/ 295275 w 1121416"/>
                  <a:gd name="connsiteY37" fmla="*/ 7144 h 207169"/>
                  <a:gd name="connsiteX38" fmla="*/ 278607 w 1121416"/>
                  <a:gd name="connsiteY38" fmla="*/ 9525 h 207169"/>
                  <a:gd name="connsiteX39" fmla="*/ 269082 w 1121416"/>
                  <a:gd name="connsiteY39" fmla="*/ 11906 h 207169"/>
                  <a:gd name="connsiteX40" fmla="*/ 238125 w 1121416"/>
                  <a:gd name="connsiteY40" fmla="*/ 14287 h 207169"/>
                  <a:gd name="connsiteX41" fmla="*/ 216694 w 1121416"/>
                  <a:gd name="connsiteY41" fmla="*/ 21431 h 207169"/>
                  <a:gd name="connsiteX42" fmla="*/ 195263 w 1121416"/>
                  <a:gd name="connsiteY42" fmla="*/ 26194 h 207169"/>
                  <a:gd name="connsiteX43" fmla="*/ 183357 w 1121416"/>
                  <a:gd name="connsiteY43" fmla="*/ 28575 h 207169"/>
                  <a:gd name="connsiteX44" fmla="*/ 147638 w 1121416"/>
                  <a:gd name="connsiteY44" fmla="*/ 38100 h 207169"/>
                  <a:gd name="connsiteX45" fmla="*/ 128588 w 1121416"/>
                  <a:gd name="connsiteY45" fmla="*/ 45244 h 207169"/>
                  <a:gd name="connsiteX46" fmla="*/ 109538 w 1121416"/>
                  <a:gd name="connsiteY46" fmla="*/ 50006 h 207169"/>
                  <a:gd name="connsiteX47" fmla="*/ 97632 w 1121416"/>
                  <a:gd name="connsiteY47" fmla="*/ 54769 h 207169"/>
                  <a:gd name="connsiteX48" fmla="*/ 80963 w 1121416"/>
                  <a:gd name="connsiteY48" fmla="*/ 57150 h 207169"/>
                  <a:gd name="connsiteX49" fmla="*/ 54769 w 1121416"/>
                  <a:gd name="connsiteY49" fmla="*/ 61912 h 207169"/>
                  <a:gd name="connsiteX50" fmla="*/ 47625 w 1121416"/>
                  <a:gd name="connsiteY50" fmla="*/ 64294 h 207169"/>
                  <a:gd name="connsiteX51" fmla="*/ 23813 w 1121416"/>
                  <a:gd name="connsiteY51" fmla="*/ 71437 h 207169"/>
                  <a:gd name="connsiteX52" fmla="*/ 9525 w 1121416"/>
                  <a:gd name="connsiteY52" fmla="*/ 80962 h 207169"/>
                  <a:gd name="connsiteX53" fmla="*/ 0 w 1121416"/>
                  <a:gd name="connsiteY53" fmla="*/ 104775 h 207169"/>
                  <a:gd name="connsiteX54" fmla="*/ 11907 w 1121416"/>
                  <a:gd name="connsiteY5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66775 w 1121416"/>
                  <a:gd name="connsiteY23" fmla="*/ 173831 h 207169"/>
                  <a:gd name="connsiteX24" fmla="*/ 940594 w 1121416"/>
                  <a:gd name="connsiteY24" fmla="*/ 169069 h 207169"/>
                  <a:gd name="connsiteX25" fmla="*/ 971550 w 1121416"/>
                  <a:gd name="connsiteY25" fmla="*/ 166687 h 207169"/>
                  <a:gd name="connsiteX26" fmla="*/ 1052513 w 1121416"/>
                  <a:gd name="connsiteY26" fmla="*/ 142875 h 207169"/>
                  <a:gd name="connsiteX27" fmla="*/ 1116807 w 1121416"/>
                  <a:gd name="connsiteY27" fmla="*/ 95250 h 207169"/>
                  <a:gd name="connsiteX28" fmla="*/ 1114425 w 1121416"/>
                  <a:gd name="connsiteY28" fmla="*/ 85725 h 207169"/>
                  <a:gd name="connsiteX29" fmla="*/ 1054894 w 1121416"/>
                  <a:gd name="connsiteY29" fmla="*/ 61912 h 207169"/>
                  <a:gd name="connsiteX30" fmla="*/ 966788 w 1121416"/>
                  <a:gd name="connsiteY30" fmla="*/ 35719 h 207169"/>
                  <a:gd name="connsiteX31" fmla="*/ 857250 w 1121416"/>
                  <a:gd name="connsiteY31" fmla="*/ 21431 h 207169"/>
                  <a:gd name="connsiteX32" fmla="*/ 790575 w 1121416"/>
                  <a:gd name="connsiteY32" fmla="*/ 9525 h 207169"/>
                  <a:gd name="connsiteX33" fmla="*/ 702469 w 1121416"/>
                  <a:gd name="connsiteY33" fmla="*/ 7144 h 207169"/>
                  <a:gd name="connsiteX34" fmla="*/ 559594 w 1121416"/>
                  <a:gd name="connsiteY34" fmla="*/ 0 h 207169"/>
                  <a:gd name="connsiteX35" fmla="*/ 338138 w 1121416"/>
                  <a:gd name="connsiteY35" fmla="*/ 2381 h 207169"/>
                  <a:gd name="connsiteX36" fmla="*/ 295275 w 1121416"/>
                  <a:gd name="connsiteY36" fmla="*/ 7144 h 207169"/>
                  <a:gd name="connsiteX37" fmla="*/ 278607 w 1121416"/>
                  <a:gd name="connsiteY37" fmla="*/ 9525 h 207169"/>
                  <a:gd name="connsiteX38" fmla="*/ 269082 w 1121416"/>
                  <a:gd name="connsiteY38" fmla="*/ 11906 h 207169"/>
                  <a:gd name="connsiteX39" fmla="*/ 238125 w 1121416"/>
                  <a:gd name="connsiteY39" fmla="*/ 14287 h 207169"/>
                  <a:gd name="connsiteX40" fmla="*/ 216694 w 1121416"/>
                  <a:gd name="connsiteY40" fmla="*/ 21431 h 207169"/>
                  <a:gd name="connsiteX41" fmla="*/ 195263 w 1121416"/>
                  <a:gd name="connsiteY41" fmla="*/ 26194 h 207169"/>
                  <a:gd name="connsiteX42" fmla="*/ 183357 w 1121416"/>
                  <a:gd name="connsiteY42" fmla="*/ 28575 h 207169"/>
                  <a:gd name="connsiteX43" fmla="*/ 147638 w 1121416"/>
                  <a:gd name="connsiteY43" fmla="*/ 38100 h 207169"/>
                  <a:gd name="connsiteX44" fmla="*/ 128588 w 1121416"/>
                  <a:gd name="connsiteY44" fmla="*/ 45244 h 207169"/>
                  <a:gd name="connsiteX45" fmla="*/ 109538 w 1121416"/>
                  <a:gd name="connsiteY45" fmla="*/ 50006 h 207169"/>
                  <a:gd name="connsiteX46" fmla="*/ 97632 w 1121416"/>
                  <a:gd name="connsiteY46" fmla="*/ 54769 h 207169"/>
                  <a:gd name="connsiteX47" fmla="*/ 80963 w 1121416"/>
                  <a:gd name="connsiteY47" fmla="*/ 57150 h 207169"/>
                  <a:gd name="connsiteX48" fmla="*/ 54769 w 1121416"/>
                  <a:gd name="connsiteY48" fmla="*/ 61912 h 207169"/>
                  <a:gd name="connsiteX49" fmla="*/ 47625 w 1121416"/>
                  <a:gd name="connsiteY49" fmla="*/ 64294 h 207169"/>
                  <a:gd name="connsiteX50" fmla="*/ 23813 w 1121416"/>
                  <a:gd name="connsiteY50" fmla="*/ 71437 h 207169"/>
                  <a:gd name="connsiteX51" fmla="*/ 9525 w 1121416"/>
                  <a:gd name="connsiteY51" fmla="*/ 80962 h 207169"/>
                  <a:gd name="connsiteX52" fmla="*/ 0 w 1121416"/>
                  <a:gd name="connsiteY52" fmla="*/ 104775 h 207169"/>
                  <a:gd name="connsiteX53" fmla="*/ 11907 w 1121416"/>
                  <a:gd name="connsiteY53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97719 w 1121416"/>
                  <a:gd name="connsiteY21" fmla="*/ 188119 h 207169"/>
                  <a:gd name="connsiteX22" fmla="*/ 866775 w 1121416"/>
                  <a:gd name="connsiteY22" fmla="*/ 173831 h 207169"/>
                  <a:gd name="connsiteX23" fmla="*/ 940594 w 1121416"/>
                  <a:gd name="connsiteY23" fmla="*/ 169069 h 207169"/>
                  <a:gd name="connsiteX24" fmla="*/ 971550 w 1121416"/>
                  <a:gd name="connsiteY24" fmla="*/ 166687 h 207169"/>
                  <a:gd name="connsiteX25" fmla="*/ 1052513 w 1121416"/>
                  <a:gd name="connsiteY25" fmla="*/ 142875 h 207169"/>
                  <a:gd name="connsiteX26" fmla="*/ 1116807 w 1121416"/>
                  <a:gd name="connsiteY26" fmla="*/ 95250 h 207169"/>
                  <a:gd name="connsiteX27" fmla="*/ 1114425 w 1121416"/>
                  <a:gd name="connsiteY27" fmla="*/ 85725 h 207169"/>
                  <a:gd name="connsiteX28" fmla="*/ 1054894 w 1121416"/>
                  <a:gd name="connsiteY28" fmla="*/ 61912 h 207169"/>
                  <a:gd name="connsiteX29" fmla="*/ 966788 w 1121416"/>
                  <a:gd name="connsiteY29" fmla="*/ 35719 h 207169"/>
                  <a:gd name="connsiteX30" fmla="*/ 857250 w 1121416"/>
                  <a:gd name="connsiteY30" fmla="*/ 21431 h 207169"/>
                  <a:gd name="connsiteX31" fmla="*/ 790575 w 1121416"/>
                  <a:gd name="connsiteY31" fmla="*/ 9525 h 207169"/>
                  <a:gd name="connsiteX32" fmla="*/ 702469 w 1121416"/>
                  <a:gd name="connsiteY32" fmla="*/ 7144 h 207169"/>
                  <a:gd name="connsiteX33" fmla="*/ 559594 w 1121416"/>
                  <a:gd name="connsiteY33" fmla="*/ 0 h 207169"/>
                  <a:gd name="connsiteX34" fmla="*/ 338138 w 1121416"/>
                  <a:gd name="connsiteY34" fmla="*/ 2381 h 207169"/>
                  <a:gd name="connsiteX35" fmla="*/ 295275 w 1121416"/>
                  <a:gd name="connsiteY35" fmla="*/ 7144 h 207169"/>
                  <a:gd name="connsiteX36" fmla="*/ 278607 w 1121416"/>
                  <a:gd name="connsiteY36" fmla="*/ 9525 h 207169"/>
                  <a:gd name="connsiteX37" fmla="*/ 269082 w 1121416"/>
                  <a:gd name="connsiteY37" fmla="*/ 11906 h 207169"/>
                  <a:gd name="connsiteX38" fmla="*/ 238125 w 1121416"/>
                  <a:gd name="connsiteY38" fmla="*/ 14287 h 207169"/>
                  <a:gd name="connsiteX39" fmla="*/ 216694 w 1121416"/>
                  <a:gd name="connsiteY39" fmla="*/ 21431 h 207169"/>
                  <a:gd name="connsiteX40" fmla="*/ 195263 w 1121416"/>
                  <a:gd name="connsiteY40" fmla="*/ 26194 h 207169"/>
                  <a:gd name="connsiteX41" fmla="*/ 183357 w 1121416"/>
                  <a:gd name="connsiteY41" fmla="*/ 28575 h 207169"/>
                  <a:gd name="connsiteX42" fmla="*/ 147638 w 1121416"/>
                  <a:gd name="connsiteY42" fmla="*/ 38100 h 207169"/>
                  <a:gd name="connsiteX43" fmla="*/ 128588 w 1121416"/>
                  <a:gd name="connsiteY43" fmla="*/ 45244 h 207169"/>
                  <a:gd name="connsiteX44" fmla="*/ 109538 w 1121416"/>
                  <a:gd name="connsiteY44" fmla="*/ 50006 h 207169"/>
                  <a:gd name="connsiteX45" fmla="*/ 97632 w 1121416"/>
                  <a:gd name="connsiteY45" fmla="*/ 54769 h 207169"/>
                  <a:gd name="connsiteX46" fmla="*/ 80963 w 1121416"/>
                  <a:gd name="connsiteY46" fmla="*/ 57150 h 207169"/>
                  <a:gd name="connsiteX47" fmla="*/ 54769 w 1121416"/>
                  <a:gd name="connsiteY47" fmla="*/ 61912 h 207169"/>
                  <a:gd name="connsiteX48" fmla="*/ 47625 w 1121416"/>
                  <a:gd name="connsiteY48" fmla="*/ 64294 h 207169"/>
                  <a:gd name="connsiteX49" fmla="*/ 23813 w 1121416"/>
                  <a:gd name="connsiteY49" fmla="*/ 71437 h 207169"/>
                  <a:gd name="connsiteX50" fmla="*/ 9525 w 1121416"/>
                  <a:gd name="connsiteY50" fmla="*/ 80962 h 207169"/>
                  <a:gd name="connsiteX51" fmla="*/ 0 w 1121416"/>
                  <a:gd name="connsiteY51" fmla="*/ 104775 h 207169"/>
                  <a:gd name="connsiteX52" fmla="*/ 11907 w 1121416"/>
                  <a:gd name="connsiteY52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797719 w 1121416"/>
                  <a:gd name="connsiteY20" fmla="*/ 188119 h 207169"/>
                  <a:gd name="connsiteX21" fmla="*/ 866775 w 1121416"/>
                  <a:gd name="connsiteY21" fmla="*/ 173831 h 207169"/>
                  <a:gd name="connsiteX22" fmla="*/ 940594 w 1121416"/>
                  <a:gd name="connsiteY22" fmla="*/ 169069 h 207169"/>
                  <a:gd name="connsiteX23" fmla="*/ 971550 w 1121416"/>
                  <a:gd name="connsiteY23" fmla="*/ 166687 h 207169"/>
                  <a:gd name="connsiteX24" fmla="*/ 1052513 w 1121416"/>
                  <a:gd name="connsiteY24" fmla="*/ 142875 h 207169"/>
                  <a:gd name="connsiteX25" fmla="*/ 1116807 w 1121416"/>
                  <a:gd name="connsiteY25" fmla="*/ 95250 h 207169"/>
                  <a:gd name="connsiteX26" fmla="*/ 1114425 w 1121416"/>
                  <a:gd name="connsiteY26" fmla="*/ 85725 h 207169"/>
                  <a:gd name="connsiteX27" fmla="*/ 1054894 w 1121416"/>
                  <a:gd name="connsiteY27" fmla="*/ 61912 h 207169"/>
                  <a:gd name="connsiteX28" fmla="*/ 966788 w 1121416"/>
                  <a:gd name="connsiteY28" fmla="*/ 35719 h 207169"/>
                  <a:gd name="connsiteX29" fmla="*/ 857250 w 1121416"/>
                  <a:gd name="connsiteY29" fmla="*/ 21431 h 207169"/>
                  <a:gd name="connsiteX30" fmla="*/ 790575 w 1121416"/>
                  <a:gd name="connsiteY30" fmla="*/ 9525 h 207169"/>
                  <a:gd name="connsiteX31" fmla="*/ 702469 w 1121416"/>
                  <a:gd name="connsiteY31" fmla="*/ 7144 h 207169"/>
                  <a:gd name="connsiteX32" fmla="*/ 559594 w 1121416"/>
                  <a:gd name="connsiteY32" fmla="*/ 0 h 207169"/>
                  <a:gd name="connsiteX33" fmla="*/ 338138 w 1121416"/>
                  <a:gd name="connsiteY33" fmla="*/ 2381 h 207169"/>
                  <a:gd name="connsiteX34" fmla="*/ 295275 w 1121416"/>
                  <a:gd name="connsiteY34" fmla="*/ 7144 h 207169"/>
                  <a:gd name="connsiteX35" fmla="*/ 278607 w 1121416"/>
                  <a:gd name="connsiteY35" fmla="*/ 9525 h 207169"/>
                  <a:gd name="connsiteX36" fmla="*/ 269082 w 1121416"/>
                  <a:gd name="connsiteY36" fmla="*/ 11906 h 207169"/>
                  <a:gd name="connsiteX37" fmla="*/ 238125 w 1121416"/>
                  <a:gd name="connsiteY37" fmla="*/ 14287 h 207169"/>
                  <a:gd name="connsiteX38" fmla="*/ 216694 w 1121416"/>
                  <a:gd name="connsiteY38" fmla="*/ 21431 h 207169"/>
                  <a:gd name="connsiteX39" fmla="*/ 195263 w 1121416"/>
                  <a:gd name="connsiteY39" fmla="*/ 26194 h 207169"/>
                  <a:gd name="connsiteX40" fmla="*/ 183357 w 1121416"/>
                  <a:gd name="connsiteY40" fmla="*/ 28575 h 207169"/>
                  <a:gd name="connsiteX41" fmla="*/ 147638 w 1121416"/>
                  <a:gd name="connsiteY41" fmla="*/ 38100 h 207169"/>
                  <a:gd name="connsiteX42" fmla="*/ 128588 w 1121416"/>
                  <a:gd name="connsiteY42" fmla="*/ 45244 h 207169"/>
                  <a:gd name="connsiteX43" fmla="*/ 109538 w 1121416"/>
                  <a:gd name="connsiteY43" fmla="*/ 50006 h 207169"/>
                  <a:gd name="connsiteX44" fmla="*/ 97632 w 1121416"/>
                  <a:gd name="connsiteY44" fmla="*/ 54769 h 207169"/>
                  <a:gd name="connsiteX45" fmla="*/ 80963 w 1121416"/>
                  <a:gd name="connsiteY45" fmla="*/ 57150 h 207169"/>
                  <a:gd name="connsiteX46" fmla="*/ 54769 w 1121416"/>
                  <a:gd name="connsiteY46" fmla="*/ 61912 h 207169"/>
                  <a:gd name="connsiteX47" fmla="*/ 47625 w 1121416"/>
                  <a:gd name="connsiteY47" fmla="*/ 64294 h 207169"/>
                  <a:gd name="connsiteX48" fmla="*/ 23813 w 1121416"/>
                  <a:gd name="connsiteY48" fmla="*/ 71437 h 207169"/>
                  <a:gd name="connsiteX49" fmla="*/ 9525 w 1121416"/>
                  <a:gd name="connsiteY49" fmla="*/ 80962 h 207169"/>
                  <a:gd name="connsiteX50" fmla="*/ 0 w 1121416"/>
                  <a:gd name="connsiteY50" fmla="*/ 104775 h 207169"/>
                  <a:gd name="connsiteX51" fmla="*/ 11907 w 1121416"/>
                  <a:gd name="connsiteY51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57200 w 1121416"/>
                  <a:gd name="connsiteY15" fmla="*/ 207169 h 207169"/>
                  <a:gd name="connsiteX16" fmla="*/ 604838 w 1121416"/>
                  <a:gd name="connsiteY16" fmla="*/ 204787 h 207169"/>
                  <a:gd name="connsiteX17" fmla="*/ 623888 w 1121416"/>
                  <a:gd name="connsiteY17" fmla="*/ 200025 h 207169"/>
                  <a:gd name="connsiteX18" fmla="*/ 676275 w 1121416"/>
                  <a:gd name="connsiteY18" fmla="*/ 197644 h 207169"/>
                  <a:gd name="connsiteX19" fmla="*/ 797719 w 1121416"/>
                  <a:gd name="connsiteY19" fmla="*/ 188119 h 207169"/>
                  <a:gd name="connsiteX20" fmla="*/ 866775 w 1121416"/>
                  <a:gd name="connsiteY20" fmla="*/ 173831 h 207169"/>
                  <a:gd name="connsiteX21" fmla="*/ 940594 w 1121416"/>
                  <a:gd name="connsiteY21" fmla="*/ 169069 h 207169"/>
                  <a:gd name="connsiteX22" fmla="*/ 971550 w 1121416"/>
                  <a:gd name="connsiteY22" fmla="*/ 166687 h 207169"/>
                  <a:gd name="connsiteX23" fmla="*/ 1052513 w 1121416"/>
                  <a:gd name="connsiteY23" fmla="*/ 142875 h 207169"/>
                  <a:gd name="connsiteX24" fmla="*/ 1116807 w 1121416"/>
                  <a:gd name="connsiteY24" fmla="*/ 95250 h 207169"/>
                  <a:gd name="connsiteX25" fmla="*/ 1114425 w 1121416"/>
                  <a:gd name="connsiteY25" fmla="*/ 85725 h 207169"/>
                  <a:gd name="connsiteX26" fmla="*/ 1054894 w 1121416"/>
                  <a:gd name="connsiteY26" fmla="*/ 61912 h 207169"/>
                  <a:gd name="connsiteX27" fmla="*/ 966788 w 1121416"/>
                  <a:gd name="connsiteY27" fmla="*/ 35719 h 207169"/>
                  <a:gd name="connsiteX28" fmla="*/ 857250 w 1121416"/>
                  <a:gd name="connsiteY28" fmla="*/ 21431 h 207169"/>
                  <a:gd name="connsiteX29" fmla="*/ 790575 w 1121416"/>
                  <a:gd name="connsiteY29" fmla="*/ 9525 h 207169"/>
                  <a:gd name="connsiteX30" fmla="*/ 702469 w 1121416"/>
                  <a:gd name="connsiteY30" fmla="*/ 7144 h 207169"/>
                  <a:gd name="connsiteX31" fmla="*/ 559594 w 1121416"/>
                  <a:gd name="connsiteY31" fmla="*/ 0 h 207169"/>
                  <a:gd name="connsiteX32" fmla="*/ 338138 w 1121416"/>
                  <a:gd name="connsiteY32" fmla="*/ 2381 h 207169"/>
                  <a:gd name="connsiteX33" fmla="*/ 295275 w 1121416"/>
                  <a:gd name="connsiteY33" fmla="*/ 7144 h 207169"/>
                  <a:gd name="connsiteX34" fmla="*/ 278607 w 1121416"/>
                  <a:gd name="connsiteY34" fmla="*/ 9525 h 207169"/>
                  <a:gd name="connsiteX35" fmla="*/ 269082 w 1121416"/>
                  <a:gd name="connsiteY35" fmla="*/ 11906 h 207169"/>
                  <a:gd name="connsiteX36" fmla="*/ 238125 w 1121416"/>
                  <a:gd name="connsiteY36" fmla="*/ 14287 h 207169"/>
                  <a:gd name="connsiteX37" fmla="*/ 216694 w 1121416"/>
                  <a:gd name="connsiteY37" fmla="*/ 21431 h 207169"/>
                  <a:gd name="connsiteX38" fmla="*/ 195263 w 1121416"/>
                  <a:gd name="connsiteY38" fmla="*/ 26194 h 207169"/>
                  <a:gd name="connsiteX39" fmla="*/ 183357 w 1121416"/>
                  <a:gd name="connsiteY39" fmla="*/ 28575 h 207169"/>
                  <a:gd name="connsiteX40" fmla="*/ 147638 w 1121416"/>
                  <a:gd name="connsiteY40" fmla="*/ 38100 h 207169"/>
                  <a:gd name="connsiteX41" fmla="*/ 128588 w 1121416"/>
                  <a:gd name="connsiteY41" fmla="*/ 45244 h 207169"/>
                  <a:gd name="connsiteX42" fmla="*/ 109538 w 1121416"/>
                  <a:gd name="connsiteY42" fmla="*/ 50006 h 207169"/>
                  <a:gd name="connsiteX43" fmla="*/ 97632 w 1121416"/>
                  <a:gd name="connsiteY43" fmla="*/ 54769 h 207169"/>
                  <a:gd name="connsiteX44" fmla="*/ 80963 w 1121416"/>
                  <a:gd name="connsiteY44" fmla="*/ 57150 h 207169"/>
                  <a:gd name="connsiteX45" fmla="*/ 54769 w 1121416"/>
                  <a:gd name="connsiteY45" fmla="*/ 61912 h 207169"/>
                  <a:gd name="connsiteX46" fmla="*/ 47625 w 1121416"/>
                  <a:gd name="connsiteY46" fmla="*/ 64294 h 207169"/>
                  <a:gd name="connsiteX47" fmla="*/ 23813 w 1121416"/>
                  <a:gd name="connsiteY47" fmla="*/ 71437 h 207169"/>
                  <a:gd name="connsiteX48" fmla="*/ 9525 w 1121416"/>
                  <a:gd name="connsiteY48" fmla="*/ 80962 h 207169"/>
                  <a:gd name="connsiteX49" fmla="*/ 0 w 1121416"/>
                  <a:gd name="connsiteY49" fmla="*/ 104775 h 207169"/>
                  <a:gd name="connsiteX50" fmla="*/ 11907 w 1121416"/>
                  <a:gd name="connsiteY50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457200 w 1121416"/>
                  <a:gd name="connsiteY14" fmla="*/ 207169 h 207169"/>
                  <a:gd name="connsiteX15" fmla="*/ 604838 w 1121416"/>
                  <a:gd name="connsiteY15" fmla="*/ 204787 h 207169"/>
                  <a:gd name="connsiteX16" fmla="*/ 623888 w 1121416"/>
                  <a:gd name="connsiteY16" fmla="*/ 200025 h 207169"/>
                  <a:gd name="connsiteX17" fmla="*/ 676275 w 1121416"/>
                  <a:gd name="connsiteY17" fmla="*/ 197644 h 207169"/>
                  <a:gd name="connsiteX18" fmla="*/ 797719 w 1121416"/>
                  <a:gd name="connsiteY18" fmla="*/ 188119 h 207169"/>
                  <a:gd name="connsiteX19" fmla="*/ 866775 w 1121416"/>
                  <a:gd name="connsiteY19" fmla="*/ 173831 h 207169"/>
                  <a:gd name="connsiteX20" fmla="*/ 940594 w 1121416"/>
                  <a:gd name="connsiteY20" fmla="*/ 169069 h 207169"/>
                  <a:gd name="connsiteX21" fmla="*/ 971550 w 1121416"/>
                  <a:gd name="connsiteY21" fmla="*/ 166687 h 207169"/>
                  <a:gd name="connsiteX22" fmla="*/ 1052513 w 1121416"/>
                  <a:gd name="connsiteY22" fmla="*/ 142875 h 207169"/>
                  <a:gd name="connsiteX23" fmla="*/ 1116807 w 1121416"/>
                  <a:gd name="connsiteY23" fmla="*/ 95250 h 207169"/>
                  <a:gd name="connsiteX24" fmla="*/ 1114425 w 1121416"/>
                  <a:gd name="connsiteY24" fmla="*/ 85725 h 207169"/>
                  <a:gd name="connsiteX25" fmla="*/ 1054894 w 1121416"/>
                  <a:gd name="connsiteY25" fmla="*/ 61912 h 207169"/>
                  <a:gd name="connsiteX26" fmla="*/ 966788 w 1121416"/>
                  <a:gd name="connsiteY26" fmla="*/ 35719 h 207169"/>
                  <a:gd name="connsiteX27" fmla="*/ 857250 w 1121416"/>
                  <a:gd name="connsiteY27" fmla="*/ 21431 h 207169"/>
                  <a:gd name="connsiteX28" fmla="*/ 790575 w 1121416"/>
                  <a:gd name="connsiteY28" fmla="*/ 9525 h 207169"/>
                  <a:gd name="connsiteX29" fmla="*/ 702469 w 1121416"/>
                  <a:gd name="connsiteY29" fmla="*/ 7144 h 207169"/>
                  <a:gd name="connsiteX30" fmla="*/ 559594 w 1121416"/>
                  <a:gd name="connsiteY30" fmla="*/ 0 h 207169"/>
                  <a:gd name="connsiteX31" fmla="*/ 338138 w 1121416"/>
                  <a:gd name="connsiteY31" fmla="*/ 2381 h 207169"/>
                  <a:gd name="connsiteX32" fmla="*/ 295275 w 1121416"/>
                  <a:gd name="connsiteY32" fmla="*/ 7144 h 207169"/>
                  <a:gd name="connsiteX33" fmla="*/ 278607 w 1121416"/>
                  <a:gd name="connsiteY33" fmla="*/ 9525 h 207169"/>
                  <a:gd name="connsiteX34" fmla="*/ 269082 w 1121416"/>
                  <a:gd name="connsiteY34" fmla="*/ 11906 h 207169"/>
                  <a:gd name="connsiteX35" fmla="*/ 238125 w 1121416"/>
                  <a:gd name="connsiteY35" fmla="*/ 14287 h 207169"/>
                  <a:gd name="connsiteX36" fmla="*/ 216694 w 1121416"/>
                  <a:gd name="connsiteY36" fmla="*/ 21431 h 207169"/>
                  <a:gd name="connsiteX37" fmla="*/ 195263 w 1121416"/>
                  <a:gd name="connsiteY37" fmla="*/ 26194 h 207169"/>
                  <a:gd name="connsiteX38" fmla="*/ 183357 w 1121416"/>
                  <a:gd name="connsiteY38" fmla="*/ 28575 h 207169"/>
                  <a:gd name="connsiteX39" fmla="*/ 147638 w 1121416"/>
                  <a:gd name="connsiteY39" fmla="*/ 38100 h 207169"/>
                  <a:gd name="connsiteX40" fmla="*/ 128588 w 1121416"/>
                  <a:gd name="connsiteY40" fmla="*/ 45244 h 207169"/>
                  <a:gd name="connsiteX41" fmla="*/ 109538 w 1121416"/>
                  <a:gd name="connsiteY41" fmla="*/ 50006 h 207169"/>
                  <a:gd name="connsiteX42" fmla="*/ 97632 w 1121416"/>
                  <a:gd name="connsiteY42" fmla="*/ 54769 h 207169"/>
                  <a:gd name="connsiteX43" fmla="*/ 80963 w 1121416"/>
                  <a:gd name="connsiteY43" fmla="*/ 57150 h 207169"/>
                  <a:gd name="connsiteX44" fmla="*/ 54769 w 1121416"/>
                  <a:gd name="connsiteY44" fmla="*/ 61912 h 207169"/>
                  <a:gd name="connsiteX45" fmla="*/ 47625 w 1121416"/>
                  <a:gd name="connsiteY45" fmla="*/ 64294 h 207169"/>
                  <a:gd name="connsiteX46" fmla="*/ 23813 w 1121416"/>
                  <a:gd name="connsiteY46" fmla="*/ 71437 h 207169"/>
                  <a:gd name="connsiteX47" fmla="*/ 9525 w 1121416"/>
                  <a:gd name="connsiteY47" fmla="*/ 80962 h 207169"/>
                  <a:gd name="connsiteX48" fmla="*/ 0 w 1121416"/>
                  <a:gd name="connsiteY48" fmla="*/ 104775 h 207169"/>
                  <a:gd name="connsiteX49" fmla="*/ 11907 w 1121416"/>
                  <a:gd name="connsiteY4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38125 w 1121416"/>
                  <a:gd name="connsiteY11" fmla="*/ 178594 h 207169"/>
                  <a:gd name="connsiteX12" fmla="*/ 285750 w 1121416"/>
                  <a:gd name="connsiteY12" fmla="*/ 192881 h 207169"/>
                  <a:gd name="connsiteX13" fmla="*/ 457200 w 1121416"/>
                  <a:gd name="connsiteY13" fmla="*/ 207169 h 207169"/>
                  <a:gd name="connsiteX14" fmla="*/ 604838 w 1121416"/>
                  <a:gd name="connsiteY14" fmla="*/ 204787 h 207169"/>
                  <a:gd name="connsiteX15" fmla="*/ 623888 w 1121416"/>
                  <a:gd name="connsiteY15" fmla="*/ 200025 h 207169"/>
                  <a:gd name="connsiteX16" fmla="*/ 676275 w 1121416"/>
                  <a:gd name="connsiteY16" fmla="*/ 197644 h 207169"/>
                  <a:gd name="connsiteX17" fmla="*/ 797719 w 1121416"/>
                  <a:gd name="connsiteY17" fmla="*/ 188119 h 207169"/>
                  <a:gd name="connsiteX18" fmla="*/ 866775 w 1121416"/>
                  <a:gd name="connsiteY18" fmla="*/ 173831 h 207169"/>
                  <a:gd name="connsiteX19" fmla="*/ 940594 w 1121416"/>
                  <a:gd name="connsiteY19" fmla="*/ 169069 h 207169"/>
                  <a:gd name="connsiteX20" fmla="*/ 971550 w 1121416"/>
                  <a:gd name="connsiteY20" fmla="*/ 166687 h 207169"/>
                  <a:gd name="connsiteX21" fmla="*/ 1052513 w 1121416"/>
                  <a:gd name="connsiteY21" fmla="*/ 142875 h 207169"/>
                  <a:gd name="connsiteX22" fmla="*/ 1116807 w 1121416"/>
                  <a:gd name="connsiteY22" fmla="*/ 95250 h 207169"/>
                  <a:gd name="connsiteX23" fmla="*/ 1114425 w 1121416"/>
                  <a:gd name="connsiteY23" fmla="*/ 85725 h 207169"/>
                  <a:gd name="connsiteX24" fmla="*/ 1054894 w 1121416"/>
                  <a:gd name="connsiteY24" fmla="*/ 61912 h 207169"/>
                  <a:gd name="connsiteX25" fmla="*/ 966788 w 1121416"/>
                  <a:gd name="connsiteY25" fmla="*/ 35719 h 207169"/>
                  <a:gd name="connsiteX26" fmla="*/ 857250 w 1121416"/>
                  <a:gd name="connsiteY26" fmla="*/ 21431 h 207169"/>
                  <a:gd name="connsiteX27" fmla="*/ 790575 w 1121416"/>
                  <a:gd name="connsiteY27" fmla="*/ 9525 h 207169"/>
                  <a:gd name="connsiteX28" fmla="*/ 702469 w 1121416"/>
                  <a:gd name="connsiteY28" fmla="*/ 7144 h 207169"/>
                  <a:gd name="connsiteX29" fmla="*/ 559594 w 1121416"/>
                  <a:gd name="connsiteY29" fmla="*/ 0 h 207169"/>
                  <a:gd name="connsiteX30" fmla="*/ 338138 w 1121416"/>
                  <a:gd name="connsiteY30" fmla="*/ 2381 h 207169"/>
                  <a:gd name="connsiteX31" fmla="*/ 295275 w 1121416"/>
                  <a:gd name="connsiteY31" fmla="*/ 7144 h 207169"/>
                  <a:gd name="connsiteX32" fmla="*/ 278607 w 1121416"/>
                  <a:gd name="connsiteY32" fmla="*/ 9525 h 207169"/>
                  <a:gd name="connsiteX33" fmla="*/ 269082 w 1121416"/>
                  <a:gd name="connsiteY33" fmla="*/ 11906 h 207169"/>
                  <a:gd name="connsiteX34" fmla="*/ 238125 w 1121416"/>
                  <a:gd name="connsiteY34" fmla="*/ 14287 h 207169"/>
                  <a:gd name="connsiteX35" fmla="*/ 216694 w 1121416"/>
                  <a:gd name="connsiteY35" fmla="*/ 21431 h 207169"/>
                  <a:gd name="connsiteX36" fmla="*/ 195263 w 1121416"/>
                  <a:gd name="connsiteY36" fmla="*/ 26194 h 207169"/>
                  <a:gd name="connsiteX37" fmla="*/ 183357 w 1121416"/>
                  <a:gd name="connsiteY37" fmla="*/ 28575 h 207169"/>
                  <a:gd name="connsiteX38" fmla="*/ 147638 w 1121416"/>
                  <a:gd name="connsiteY38" fmla="*/ 38100 h 207169"/>
                  <a:gd name="connsiteX39" fmla="*/ 128588 w 1121416"/>
                  <a:gd name="connsiteY39" fmla="*/ 45244 h 207169"/>
                  <a:gd name="connsiteX40" fmla="*/ 109538 w 1121416"/>
                  <a:gd name="connsiteY40" fmla="*/ 50006 h 207169"/>
                  <a:gd name="connsiteX41" fmla="*/ 97632 w 1121416"/>
                  <a:gd name="connsiteY41" fmla="*/ 54769 h 207169"/>
                  <a:gd name="connsiteX42" fmla="*/ 80963 w 1121416"/>
                  <a:gd name="connsiteY42" fmla="*/ 57150 h 207169"/>
                  <a:gd name="connsiteX43" fmla="*/ 54769 w 1121416"/>
                  <a:gd name="connsiteY43" fmla="*/ 61912 h 207169"/>
                  <a:gd name="connsiteX44" fmla="*/ 47625 w 1121416"/>
                  <a:gd name="connsiteY44" fmla="*/ 64294 h 207169"/>
                  <a:gd name="connsiteX45" fmla="*/ 23813 w 1121416"/>
                  <a:gd name="connsiteY45" fmla="*/ 71437 h 207169"/>
                  <a:gd name="connsiteX46" fmla="*/ 9525 w 1121416"/>
                  <a:gd name="connsiteY46" fmla="*/ 80962 h 207169"/>
                  <a:gd name="connsiteX47" fmla="*/ 0 w 1121416"/>
                  <a:gd name="connsiteY47" fmla="*/ 104775 h 207169"/>
                  <a:gd name="connsiteX48" fmla="*/ 11907 w 1121416"/>
                  <a:gd name="connsiteY4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202407 w 1121416"/>
                  <a:gd name="connsiteY9" fmla="*/ 169069 h 207169"/>
                  <a:gd name="connsiteX10" fmla="*/ 238125 w 1121416"/>
                  <a:gd name="connsiteY10" fmla="*/ 178594 h 207169"/>
                  <a:gd name="connsiteX11" fmla="*/ 285750 w 1121416"/>
                  <a:gd name="connsiteY11" fmla="*/ 192881 h 207169"/>
                  <a:gd name="connsiteX12" fmla="*/ 457200 w 1121416"/>
                  <a:gd name="connsiteY12" fmla="*/ 207169 h 207169"/>
                  <a:gd name="connsiteX13" fmla="*/ 604838 w 1121416"/>
                  <a:gd name="connsiteY13" fmla="*/ 204787 h 207169"/>
                  <a:gd name="connsiteX14" fmla="*/ 623888 w 1121416"/>
                  <a:gd name="connsiteY14" fmla="*/ 200025 h 207169"/>
                  <a:gd name="connsiteX15" fmla="*/ 676275 w 1121416"/>
                  <a:gd name="connsiteY15" fmla="*/ 197644 h 207169"/>
                  <a:gd name="connsiteX16" fmla="*/ 797719 w 1121416"/>
                  <a:gd name="connsiteY16" fmla="*/ 188119 h 207169"/>
                  <a:gd name="connsiteX17" fmla="*/ 866775 w 1121416"/>
                  <a:gd name="connsiteY17" fmla="*/ 173831 h 207169"/>
                  <a:gd name="connsiteX18" fmla="*/ 940594 w 1121416"/>
                  <a:gd name="connsiteY18" fmla="*/ 169069 h 207169"/>
                  <a:gd name="connsiteX19" fmla="*/ 971550 w 1121416"/>
                  <a:gd name="connsiteY19" fmla="*/ 166687 h 207169"/>
                  <a:gd name="connsiteX20" fmla="*/ 1052513 w 1121416"/>
                  <a:gd name="connsiteY20" fmla="*/ 142875 h 207169"/>
                  <a:gd name="connsiteX21" fmla="*/ 1116807 w 1121416"/>
                  <a:gd name="connsiteY21" fmla="*/ 95250 h 207169"/>
                  <a:gd name="connsiteX22" fmla="*/ 1114425 w 1121416"/>
                  <a:gd name="connsiteY22" fmla="*/ 85725 h 207169"/>
                  <a:gd name="connsiteX23" fmla="*/ 1054894 w 1121416"/>
                  <a:gd name="connsiteY23" fmla="*/ 61912 h 207169"/>
                  <a:gd name="connsiteX24" fmla="*/ 966788 w 1121416"/>
                  <a:gd name="connsiteY24" fmla="*/ 35719 h 207169"/>
                  <a:gd name="connsiteX25" fmla="*/ 857250 w 1121416"/>
                  <a:gd name="connsiteY25" fmla="*/ 21431 h 207169"/>
                  <a:gd name="connsiteX26" fmla="*/ 790575 w 1121416"/>
                  <a:gd name="connsiteY26" fmla="*/ 9525 h 207169"/>
                  <a:gd name="connsiteX27" fmla="*/ 702469 w 1121416"/>
                  <a:gd name="connsiteY27" fmla="*/ 7144 h 207169"/>
                  <a:gd name="connsiteX28" fmla="*/ 559594 w 1121416"/>
                  <a:gd name="connsiteY28" fmla="*/ 0 h 207169"/>
                  <a:gd name="connsiteX29" fmla="*/ 338138 w 1121416"/>
                  <a:gd name="connsiteY29" fmla="*/ 2381 h 207169"/>
                  <a:gd name="connsiteX30" fmla="*/ 295275 w 1121416"/>
                  <a:gd name="connsiteY30" fmla="*/ 7144 h 207169"/>
                  <a:gd name="connsiteX31" fmla="*/ 278607 w 1121416"/>
                  <a:gd name="connsiteY31" fmla="*/ 9525 h 207169"/>
                  <a:gd name="connsiteX32" fmla="*/ 269082 w 1121416"/>
                  <a:gd name="connsiteY32" fmla="*/ 11906 h 207169"/>
                  <a:gd name="connsiteX33" fmla="*/ 238125 w 1121416"/>
                  <a:gd name="connsiteY33" fmla="*/ 14287 h 207169"/>
                  <a:gd name="connsiteX34" fmla="*/ 216694 w 1121416"/>
                  <a:gd name="connsiteY34" fmla="*/ 21431 h 207169"/>
                  <a:gd name="connsiteX35" fmla="*/ 195263 w 1121416"/>
                  <a:gd name="connsiteY35" fmla="*/ 26194 h 207169"/>
                  <a:gd name="connsiteX36" fmla="*/ 183357 w 1121416"/>
                  <a:gd name="connsiteY36" fmla="*/ 28575 h 207169"/>
                  <a:gd name="connsiteX37" fmla="*/ 147638 w 1121416"/>
                  <a:gd name="connsiteY37" fmla="*/ 38100 h 207169"/>
                  <a:gd name="connsiteX38" fmla="*/ 128588 w 1121416"/>
                  <a:gd name="connsiteY38" fmla="*/ 45244 h 207169"/>
                  <a:gd name="connsiteX39" fmla="*/ 109538 w 1121416"/>
                  <a:gd name="connsiteY39" fmla="*/ 50006 h 207169"/>
                  <a:gd name="connsiteX40" fmla="*/ 97632 w 1121416"/>
                  <a:gd name="connsiteY40" fmla="*/ 54769 h 207169"/>
                  <a:gd name="connsiteX41" fmla="*/ 80963 w 1121416"/>
                  <a:gd name="connsiteY41" fmla="*/ 57150 h 207169"/>
                  <a:gd name="connsiteX42" fmla="*/ 54769 w 1121416"/>
                  <a:gd name="connsiteY42" fmla="*/ 61912 h 207169"/>
                  <a:gd name="connsiteX43" fmla="*/ 47625 w 1121416"/>
                  <a:gd name="connsiteY43" fmla="*/ 64294 h 207169"/>
                  <a:gd name="connsiteX44" fmla="*/ 23813 w 1121416"/>
                  <a:gd name="connsiteY44" fmla="*/ 71437 h 207169"/>
                  <a:gd name="connsiteX45" fmla="*/ 9525 w 1121416"/>
                  <a:gd name="connsiteY45" fmla="*/ 80962 h 207169"/>
                  <a:gd name="connsiteX46" fmla="*/ 0 w 1121416"/>
                  <a:gd name="connsiteY46" fmla="*/ 104775 h 207169"/>
                  <a:gd name="connsiteX47" fmla="*/ 11907 w 1121416"/>
                  <a:gd name="connsiteY4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1443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121443 w 1121416"/>
                  <a:gd name="connsiteY6" fmla="*/ 152400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02407 w 1121416"/>
                  <a:gd name="connsiteY6" fmla="*/ 169069 h 207169"/>
                  <a:gd name="connsiteX7" fmla="*/ 238125 w 1121416"/>
                  <a:gd name="connsiteY7" fmla="*/ 178594 h 207169"/>
                  <a:gd name="connsiteX8" fmla="*/ 285750 w 1121416"/>
                  <a:gd name="connsiteY8" fmla="*/ 192881 h 207169"/>
                  <a:gd name="connsiteX9" fmla="*/ 457200 w 1121416"/>
                  <a:gd name="connsiteY9" fmla="*/ 207169 h 207169"/>
                  <a:gd name="connsiteX10" fmla="*/ 604838 w 1121416"/>
                  <a:gd name="connsiteY10" fmla="*/ 204787 h 207169"/>
                  <a:gd name="connsiteX11" fmla="*/ 623888 w 1121416"/>
                  <a:gd name="connsiteY11" fmla="*/ 200025 h 207169"/>
                  <a:gd name="connsiteX12" fmla="*/ 676275 w 1121416"/>
                  <a:gd name="connsiteY12" fmla="*/ 197644 h 207169"/>
                  <a:gd name="connsiteX13" fmla="*/ 797719 w 1121416"/>
                  <a:gd name="connsiteY13" fmla="*/ 188119 h 207169"/>
                  <a:gd name="connsiteX14" fmla="*/ 866775 w 1121416"/>
                  <a:gd name="connsiteY14" fmla="*/ 173831 h 207169"/>
                  <a:gd name="connsiteX15" fmla="*/ 940594 w 1121416"/>
                  <a:gd name="connsiteY15" fmla="*/ 169069 h 207169"/>
                  <a:gd name="connsiteX16" fmla="*/ 971550 w 1121416"/>
                  <a:gd name="connsiteY16" fmla="*/ 166687 h 207169"/>
                  <a:gd name="connsiteX17" fmla="*/ 1052513 w 1121416"/>
                  <a:gd name="connsiteY17" fmla="*/ 142875 h 207169"/>
                  <a:gd name="connsiteX18" fmla="*/ 1116807 w 1121416"/>
                  <a:gd name="connsiteY18" fmla="*/ 95250 h 207169"/>
                  <a:gd name="connsiteX19" fmla="*/ 1114425 w 1121416"/>
                  <a:gd name="connsiteY19" fmla="*/ 85725 h 207169"/>
                  <a:gd name="connsiteX20" fmla="*/ 1054894 w 1121416"/>
                  <a:gd name="connsiteY20" fmla="*/ 61912 h 207169"/>
                  <a:gd name="connsiteX21" fmla="*/ 966788 w 1121416"/>
                  <a:gd name="connsiteY21" fmla="*/ 35719 h 207169"/>
                  <a:gd name="connsiteX22" fmla="*/ 857250 w 1121416"/>
                  <a:gd name="connsiteY22" fmla="*/ 21431 h 207169"/>
                  <a:gd name="connsiteX23" fmla="*/ 790575 w 1121416"/>
                  <a:gd name="connsiteY23" fmla="*/ 9525 h 207169"/>
                  <a:gd name="connsiteX24" fmla="*/ 702469 w 1121416"/>
                  <a:gd name="connsiteY24" fmla="*/ 7144 h 207169"/>
                  <a:gd name="connsiteX25" fmla="*/ 559594 w 1121416"/>
                  <a:gd name="connsiteY25" fmla="*/ 0 h 207169"/>
                  <a:gd name="connsiteX26" fmla="*/ 338138 w 1121416"/>
                  <a:gd name="connsiteY26" fmla="*/ 2381 h 207169"/>
                  <a:gd name="connsiteX27" fmla="*/ 295275 w 1121416"/>
                  <a:gd name="connsiteY27" fmla="*/ 7144 h 207169"/>
                  <a:gd name="connsiteX28" fmla="*/ 278607 w 1121416"/>
                  <a:gd name="connsiteY28" fmla="*/ 9525 h 207169"/>
                  <a:gd name="connsiteX29" fmla="*/ 269082 w 1121416"/>
                  <a:gd name="connsiteY29" fmla="*/ 11906 h 207169"/>
                  <a:gd name="connsiteX30" fmla="*/ 238125 w 1121416"/>
                  <a:gd name="connsiteY30" fmla="*/ 14287 h 207169"/>
                  <a:gd name="connsiteX31" fmla="*/ 216694 w 1121416"/>
                  <a:gd name="connsiteY31" fmla="*/ 21431 h 207169"/>
                  <a:gd name="connsiteX32" fmla="*/ 195263 w 1121416"/>
                  <a:gd name="connsiteY32" fmla="*/ 26194 h 207169"/>
                  <a:gd name="connsiteX33" fmla="*/ 183357 w 1121416"/>
                  <a:gd name="connsiteY33" fmla="*/ 28575 h 207169"/>
                  <a:gd name="connsiteX34" fmla="*/ 147638 w 1121416"/>
                  <a:gd name="connsiteY34" fmla="*/ 38100 h 207169"/>
                  <a:gd name="connsiteX35" fmla="*/ 128588 w 1121416"/>
                  <a:gd name="connsiteY35" fmla="*/ 45244 h 207169"/>
                  <a:gd name="connsiteX36" fmla="*/ 109538 w 1121416"/>
                  <a:gd name="connsiteY36" fmla="*/ 50006 h 207169"/>
                  <a:gd name="connsiteX37" fmla="*/ 97632 w 1121416"/>
                  <a:gd name="connsiteY37" fmla="*/ 54769 h 207169"/>
                  <a:gd name="connsiteX38" fmla="*/ 80963 w 1121416"/>
                  <a:gd name="connsiteY38" fmla="*/ 57150 h 207169"/>
                  <a:gd name="connsiteX39" fmla="*/ 54769 w 1121416"/>
                  <a:gd name="connsiteY39" fmla="*/ 61912 h 207169"/>
                  <a:gd name="connsiteX40" fmla="*/ 47625 w 1121416"/>
                  <a:gd name="connsiteY40" fmla="*/ 64294 h 207169"/>
                  <a:gd name="connsiteX41" fmla="*/ 23813 w 1121416"/>
                  <a:gd name="connsiteY41" fmla="*/ 71437 h 207169"/>
                  <a:gd name="connsiteX42" fmla="*/ 9525 w 1121416"/>
                  <a:gd name="connsiteY42" fmla="*/ 80962 h 207169"/>
                  <a:gd name="connsiteX43" fmla="*/ 0 w 1121416"/>
                  <a:gd name="connsiteY43" fmla="*/ 104775 h 207169"/>
                  <a:gd name="connsiteX44" fmla="*/ 11907 w 1121416"/>
                  <a:gd name="connsiteY4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43" fmla="*/ 11907 w 1121416"/>
                  <a:gd name="connsiteY43" fmla="*/ 111919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23813 w 1121416"/>
                  <a:gd name="connsiteY39" fmla="*/ 71437 h 207169"/>
                  <a:gd name="connsiteX40" fmla="*/ 9525 w 1121416"/>
                  <a:gd name="connsiteY40" fmla="*/ 80962 h 207169"/>
                  <a:gd name="connsiteX41" fmla="*/ 0 w 1121416"/>
                  <a:gd name="connsiteY4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9525 w 1121416"/>
                  <a:gd name="connsiteY39" fmla="*/ 80962 h 207169"/>
                  <a:gd name="connsiteX40" fmla="*/ 0 w 1121416"/>
                  <a:gd name="connsiteY4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9525 w 1121416"/>
                  <a:gd name="connsiteY38" fmla="*/ 80962 h 207169"/>
                  <a:gd name="connsiteX39" fmla="*/ 0 w 1121416"/>
                  <a:gd name="connsiteY3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54769 w 1121416"/>
                  <a:gd name="connsiteY36" fmla="*/ 61912 h 207169"/>
                  <a:gd name="connsiteX37" fmla="*/ 9525 w 1121416"/>
                  <a:gd name="connsiteY37" fmla="*/ 80962 h 207169"/>
                  <a:gd name="connsiteX38" fmla="*/ 0 w 1121416"/>
                  <a:gd name="connsiteY38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54769 w 1121416"/>
                  <a:gd name="connsiteY35" fmla="*/ 61912 h 207169"/>
                  <a:gd name="connsiteX36" fmla="*/ 9525 w 1121416"/>
                  <a:gd name="connsiteY36" fmla="*/ 80962 h 207169"/>
                  <a:gd name="connsiteX37" fmla="*/ 0 w 1121416"/>
                  <a:gd name="connsiteY37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54769 w 1121416"/>
                  <a:gd name="connsiteY34" fmla="*/ 61912 h 207169"/>
                  <a:gd name="connsiteX35" fmla="*/ 9525 w 1121416"/>
                  <a:gd name="connsiteY35" fmla="*/ 80962 h 207169"/>
                  <a:gd name="connsiteX36" fmla="*/ 0 w 1121416"/>
                  <a:gd name="connsiteY36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54769 w 1121416"/>
                  <a:gd name="connsiteY33" fmla="*/ 61912 h 207169"/>
                  <a:gd name="connsiteX34" fmla="*/ 9525 w 1121416"/>
                  <a:gd name="connsiteY34" fmla="*/ 80962 h 207169"/>
                  <a:gd name="connsiteX35" fmla="*/ 0 w 1121416"/>
                  <a:gd name="connsiteY35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54769 w 1121416"/>
                  <a:gd name="connsiteY32" fmla="*/ 61912 h 207169"/>
                  <a:gd name="connsiteX33" fmla="*/ 9525 w 1121416"/>
                  <a:gd name="connsiteY33" fmla="*/ 80962 h 207169"/>
                  <a:gd name="connsiteX34" fmla="*/ 0 w 1121416"/>
                  <a:gd name="connsiteY34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54769 w 1121416"/>
                  <a:gd name="connsiteY31" fmla="*/ 61912 h 207169"/>
                  <a:gd name="connsiteX32" fmla="*/ 9525 w 1121416"/>
                  <a:gd name="connsiteY32" fmla="*/ 80962 h 207169"/>
                  <a:gd name="connsiteX33" fmla="*/ 0 w 1121416"/>
                  <a:gd name="connsiteY33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54769 w 1121416"/>
                  <a:gd name="connsiteY30" fmla="*/ 61912 h 207169"/>
                  <a:gd name="connsiteX31" fmla="*/ 9525 w 1121416"/>
                  <a:gd name="connsiteY31" fmla="*/ 80962 h 207169"/>
                  <a:gd name="connsiteX32" fmla="*/ 0 w 1121416"/>
                  <a:gd name="connsiteY3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54769 w 1121416"/>
                  <a:gd name="connsiteY29" fmla="*/ 61912 h 207169"/>
                  <a:gd name="connsiteX30" fmla="*/ 9525 w 1121416"/>
                  <a:gd name="connsiteY30" fmla="*/ 80962 h 207169"/>
                  <a:gd name="connsiteX31" fmla="*/ 0 w 1121416"/>
                  <a:gd name="connsiteY3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38125 w 1121416"/>
                  <a:gd name="connsiteY27" fmla="*/ 14287 h 207169"/>
                  <a:gd name="connsiteX28" fmla="*/ 54769 w 1121416"/>
                  <a:gd name="connsiteY28" fmla="*/ 61912 h 207169"/>
                  <a:gd name="connsiteX29" fmla="*/ 9525 w 1121416"/>
                  <a:gd name="connsiteY29" fmla="*/ 80962 h 207169"/>
                  <a:gd name="connsiteX30" fmla="*/ 0 w 1121416"/>
                  <a:gd name="connsiteY3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78607 w 1121416"/>
                  <a:gd name="connsiteY25" fmla="*/ 9525 h 207169"/>
                  <a:gd name="connsiteX26" fmla="*/ 238125 w 1121416"/>
                  <a:gd name="connsiteY26" fmla="*/ 14287 h 207169"/>
                  <a:gd name="connsiteX27" fmla="*/ 54769 w 1121416"/>
                  <a:gd name="connsiteY27" fmla="*/ 61912 h 207169"/>
                  <a:gd name="connsiteX28" fmla="*/ 9525 w 1121416"/>
                  <a:gd name="connsiteY28" fmla="*/ 80962 h 207169"/>
                  <a:gd name="connsiteX29" fmla="*/ 0 w 1121416"/>
                  <a:gd name="connsiteY2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85750 w 1121416"/>
                  <a:gd name="connsiteY5" fmla="*/ 192881 h 207169"/>
                  <a:gd name="connsiteX6" fmla="*/ 457200 w 1121416"/>
                  <a:gd name="connsiteY6" fmla="*/ 207169 h 207169"/>
                  <a:gd name="connsiteX7" fmla="*/ 604838 w 1121416"/>
                  <a:gd name="connsiteY7" fmla="*/ 204787 h 207169"/>
                  <a:gd name="connsiteX8" fmla="*/ 623888 w 1121416"/>
                  <a:gd name="connsiteY8" fmla="*/ 200025 h 207169"/>
                  <a:gd name="connsiteX9" fmla="*/ 676275 w 1121416"/>
                  <a:gd name="connsiteY9" fmla="*/ 197644 h 207169"/>
                  <a:gd name="connsiteX10" fmla="*/ 797719 w 1121416"/>
                  <a:gd name="connsiteY10" fmla="*/ 188119 h 207169"/>
                  <a:gd name="connsiteX11" fmla="*/ 866775 w 1121416"/>
                  <a:gd name="connsiteY11" fmla="*/ 173831 h 207169"/>
                  <a:gd name="connsiteX12" fmla="*/ 940594 w 1121416"/>
                  <a:gd name="connsiteY12" fmla="*/ 169069 h 207169"/>
                  <a:gd name="connsiteX13" fmla="*/ 971550 w 1121416"/>
                  <a:gd name="connsiteY13" fmla="*/ 166687 h 207169"/>
                  <a:gd name="connsiteX14" fmla="*/ 1052513 w 1121416"/>
                  <a:gd name="connsiteY14" fmla="*/ 142875 h 207169"/>
                  <a:gd name="connsiteX15" fmla="*/ 1116807 w 1121416"/>
                  <a:gd name="connsiteY15" fmla="*/ 95250 h 207169"/>
                  <a:gd name="connsiteX16" fmla="*/ 1114425 w 1121416"/>
                  <a:gd name="connsiteY16" fmla="*/ 85725 h 207169"/>
                  <a:gd name="connsiteX17" fmla="*/ 1054894 w 1121416"/>
                  <a:gd name="connsiteY17" fmla="*/ 61912 h 207169"/>
                  <a:gd name="connsiteX18" fmla="*/ 966788 w 1121416"/>
                  <a:gd name="connsiteY18" fmla="*/ 35719 h 207169"/>
                  <a:gd name="connsiteX19" fmla="*/ 857250 w 1121416"/>
                  <a:gd name="connsiteY19" fmla="*/ 21431 h 207169"/>
                  <a:gd name="connsiteX20" fmla="*/ 790575 w 1121416"/>
                  <a:gd name="connsiteY20" fmla="*/ 9525 h 207169"/>
                  <a:gd name="connsiteX21" fmla="*/ 702469 w 1121416"/>
                  <a:gd name="connsiteY21" fmla="*/ 7144 h 207169"/>
                  <a:gd name="connsiteX22" fmla="*/ 559594 w 1121416"/>
                  <a:gd name="connsiteY22" fmla="*/ 0 h 207169"/>
                  <a:gd name="connsiteX23" fmla="*/ 338138 w 1121416"/>
                  <a:gd name="connsiteY23" fmla="*/ 2381 h 207169"/>
                  <a:gd name="connsiteX24" fmla="*/ 278607 w 1121416"/>
                  <a:gd name="connsiteY24" fmla="*/ 9525 h 207169"/>
                  <a:gd name="connsiteX25" fmla="*/ 238125 w 1121416"/>
                  <a:gd name="connsiteY25" fmla="*/ 14287 h 207169"/>
                  <a:gd name="connsiteX26" fmla="*/ 54769 w 1121416"/>
                  <a:gd name="connsiteY26" fmla="*/ 61912 h 207169"/>
                  <a:gd name="connsiteX27" fmla="*/ 9525 w 1121416"/>
                  <a:gd name="connsiteY27" fmla="*/ 80962 h 207169"/>
                  <a:gd name="connsiteX28" fmla="*/ 0 w 1121416"/>
                  <a:gd name="connsiteY28" fmla="*/ 104775 h 207169"/>
                  <a:gd name="connsiteX0" fmla="*/ 0 w 1129985"/>
                  <a:gd name="connsiteY0" fmla="*/ 104775 h 207169"/>
                  <a:gd name="connsiteX1" fmla="*/ 23813 w 1129985"/>
                  <a:gd name="connsiteY1" fmla="*/ 121444 h 207169"/>
                  <a:gd name="connsiteX2" fmla="*/ 28575 w 1129985"/>
                  <a:gd name="connsiteY2" fmla="*/ 128587 h 207169"/>
                  <a:gd name="connsiteX3" fmla="*/ 47625 w 1129985"/>
                  <a:gd name="connsiteY3" fmla="*/ 140494 h 207169"/>
                  <a:gd name="connsiteX4" fmla="*/ 104775 w 1129985"/>
                  <a:gd name="connsiteY4" fmla="*/ 150019 h 207169"/>
                  <a:gd name="connsiteX5" fmla="*/ 285750 w 1129985"/>
                  <a:gd name="connsiteY5" fmla="*/ 192881 h 207169"/>
                  <a:gd name="connsiteX6" fmla="*/ 457200 w 1129985"/>
                  <a:gd name="connsiteY6" fmla="*/ 207169 h 207169"/>
                  <a:gd name="connsiteX7" fmla="*/ 604838 w 1129985"/>
                  <a:gd name="connsiteY7" fmla="*/ 204787 h 207169"/>
                  <a:gd name="connsiteX8" fmla="*/ 623888 w 1129985"/>
                  <a:gd name="connsiteY8" fmla="*/ 200025 h 207169"/>
                  <a:gd name="connsiteX9" fmla="*/ 676275 w 1129985"/>
                  <a:gd name="connsiteY9" fmla="*/ 197644 h 207169"/>
                  <a:gd name="connsiteX10" fmla="*/ 797719 w 1129985"/>
                  <a:gd name="connsiteY10" fmla="*/ 188119 h 207169"/>
                  <a:gd name="connsiteX11" fmla="*/ 866775 w 1129985"/>
                  <a:gd name="connsiteY11" fmla="*/ 173831 h 207169"/>
                  <a:gd name="connsiteX12" fmla="*/ 940594 w 1129985"/>
                  <a:gd name="connsiteY12" fmla="*/ 169069 h 207169"/>
                  <a:gd name="connsiteX13" fmla="*/ 971550 w 1129985"/>
                  <a:gd name="connsiteY13" fmla="*/ 166687 h 207169"/>
                  <a:gd name="connsiteX14" fmla="*/ 1052513 w 1129985"/>
                  <a:gd name="connsiteY14" fmla="*/ 142875 h 207169"/>
                  <a:gd name="connsiteX15" fmla="*/ 1125625 w 1129985"/>
                  <a:gd name="connsiteY15" fmla="*/ 102808 h 207169"/>
                  <a:gd name="connsiteX16" fmla="*/ 1114425 w 1129985"/>
                  <a:gd name="connsiteY16" fmla="*/ 85725 h 207169"/>
                  <a:gd name="connsiteX17" fmla="*/ 1054894 w 1129985"/>
                  <a:gd name="connsiteY17" fmla="*/ 61912 h 207169"/>
                  <a:gd name="connsiteX18" fmla="*/ 966788 w 1129985"/>
                  <a:gd name="connsiteY18" fmla="*/ 35719 h 207169"/>
                  <a:gd name="connsiteX19" fmla="*/ 857250 w 1129985"/>
                  <a:gd name="connsiteY19" fmla="*/ 21431 h 207169"/>
                  <a:gd name="connsiteX20" fmla="*/ 790575 w 1129985"/>
                  <a:gd name="connsiteY20" fmla="*/ 9525 h 207169"/>
                  <a:gd name="connsiteX21" fmla="*/ 702469 w 1129985"/>
                  <a:gd name="connsiteY21" fmla="*/ 7144 h 207169"/>
                  <a:gd name="connsiteX22" fmla="*/ 559594 w 1129985"/>
                  <a:gd name="connsiteY22" fmla="*/ 0 h 207169"/>
                  <a:gd name="connsiteX23" fmla="*/ 338138 w 1129985"/>
                  <a:gd name="connsiteY23" fmla="*/ 2381 h 207169"/>
                  <a:gd name="connsiteX24" fmla="*/ 278607 w 1129985"/>
                  <a:gd name="connsiteY24" fmla="*/ 9525 h 207169"/>
                  <a:gd name="connsiteX25" fmla="*/ 238125 w 1129985"/>
                  <a:gd name="connsiteY25" fmla="*/ 14287 h 207169"/>
                  <a:gd name="connsiteX26" fmla="*/ 54769 w 1129985"/>
                  <a:gd name="connsiteY26" fmla="*/ 61912 h 207169"/>
                  <a:gd name="connsiteX27" fmla="*/ 9525 w 1129985"/>
                  <a:gd name="connsiteY27" fmla="*/ 80962 h 207169"/>
                  <a:gd name="connsiteX28" fmla="*/ 0 w 1129985"/>
                  <a:gd name="connsiteY28" fmla="*/ 104775 h 207169"/>
                  <a:gd name="connsiteX0" fmla="*/ 0 w 1128285"/>
                  <a:gd name="connsiteY0" fmla="*/ 104775 h 207169"/>
                  <a:gd name="connsiteX1" fmla="*/ 23813 w 1128285"/>
                  <a:gd name="connsiteY1" fmla="*/ 121444 h 207169"/>
                  <a:gd name="connsiteX2" fmla="*/ 28575 w 1128285"/>
                  <a:gd name="connsiteY2" fmla="*/ 128587 h 207169"/>
                  <a:gd name="connsiteX3" fmla="*/ 47625 w 1128285"/>
                  <a:gd name="connsiteY3" fmla="*/ 140494 h 207169"/>
                  <a:gd name="connsiteX4" fmla="*/ 104775 w 1128285"/>
                  <a:gd name="connsiteY4" fmla="*/ 150019 h 207169"/>
                  <a:gd name="connsiteX5" fmla="*/ 285750 w 1128285"/>
                  <a:gd name="connsiteY5" fmla="*/ 192881 h 207169"/>
                  <a:gd name="connsiteX6" fmla="*/ 457200 w 1128285"/>
                  <a:gd name="connsiteY6" fmla="*/ 207169 h 207169"/>
                  <a:gd name="connsiteX7" fmla="*/ 604838 w 1128285"/>
                  <a:gd name="connsiteY7" fmla="*/ 204787 h 207169"/>
                  <a:gd name="connsiteX8" fmla="*/ 623888 w 1128285"/>
                  <a:gd name="connsiteY8" fmla="*/ 200025 h 207169"/>
                  <a:gd name="connsiteX9" fmla="*/ 676275 w 1128285"/>
                  <a:gd name="connsiteY9" fmla="*/ 197644 h 207169"/>
                  <a:gd name="connsiteX10" fmla="*/ 797719 w 1128285"/>
                  <a:gd name="connsiteY10" fmla="*/ 188119 h 207169"/>
                  <a:gd name="connsiteX11" fmla="*/ 866775 w 1128285"/>
                  <a:gd name="connsiteY11" fmla="*/ 173831 h 207169"/>
                  <a:gd name="connsiteX12" fmla="*/ 940594 w 1128285"/>
                  <a:gd name="connsiteY12" fmla="*/ 169069 h 207169"/>
                  <a:gd name="connsiteX13" fmla="*/ 971550 w 1128285"/>
                  <a:gd name="connsiteY13" fmla="*/ 166687 h 207169"/>
                  <a:gd name="connsiteX14" fmla="*/ 1052513 w 1128285"/>
                  <a:gd name="connsiteY14" fmla="*/ 142875 h 207169"/>
                  <a:gd name="connsiteX15" fmla="*/ 1125625 w 1128285"/>
                  <a:gd name="connsiteY15" fmla="*/ 102808 h 207169"/>
                  <a:gd name="connsiteX16" fmla="*/ 1106866 w 1128285"/>
                  <a:gd name="connsiteY16" fmla="*/ 74387 h 207169"/>
                  <a:gd name="connsiteX17" fmla="*/ 1054894 w 1128285"/>
                  <a:gd name="connsiteY17" fmla="*/ 61912 h 207169"/>
                  <a:gd name="connsiteX18" fmla="*/ 966788 w 1128285"/>
                  <a:gd name="connsiteY18" fmla="*/ 35719 h 207169"/>
                  <a:gd name="connsiteX19" fmla="*/ 857250 w 1128285"/>
                  <a:gd name="connsiteY19" fmla="*/ 21431 h 207169"/>
                  <a:gd name="connsiteX20" fmla="*/ 790575 w 1128285"/>
                  <a:gd name="connsiteY20" fmla="*/ 9525 h 207169"/>
                  <a:gd name="connsiteX21" fmla="*/ 702469 w 1128285"/>
                  <a:gd name="connsiteY21" fmla="*/ 7144 h 207169"/>
                  <a:gd name="connsiteX22" fmla="*/ 559594 w 1128285"/>
                  <a:gd name="connsiteY22" fmla="*/ 0 h 207169"/>
                  <a:gd name="connsiteX23" fmla="*/ 338138 w 1128285"/>
                  <a:gd name="connsiteY23" fmla="*/ 2381 h 207169"/>
                  <a:gd name="connsiteX24" fmla="*/ 278607 w 1128285"/>
                  <a:gd name="connsiteY24" fmla="*/ 9525 h 207169"/>
                  <a:gd name="connsiteX25" fmla="*/ 238125 w 1128285"/>
                  <a:gd name="connsiteY25" fmla="*/ 14287 h 207169"/>
                  <a:gd name="connsiteX26" fmla="*/ 54769 w 1128285"/>
                  <a:gd name="connsiteY26" fmla="*/ 61912 h 207169"/>
                  <a:gd name="connsiteX27" fmla="*/ 9525 w 1128285"/>
                  <a:gd name="connsiteY27" fmla="*/ 80962 h 207169"/>
                  <a:gd name="connsiteX28" fmla="*/ 0 w 1128285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66788 w 1128511"/>
                  <a:gd name="connsiteY18" fmla="*/ 35719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8055 w 1128511"/>
                  <a:gd name="connsiteY20" fmla="*/ 448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47625 w 1128511"/>
                  <a:gd name="connsiteY2" fmla="*/ 140494 h 207169"/>
                  <a:gd name="connsiteX3" fmla="*/ 104775 w 1128511"/>
                  <a:gd name="connsiteY3" fmla="*/ 150019 h 207169"/>
                  <a:gd name="connsiteX4" fmla="*/ 285750 w 1128511"/>
                  <a:gd name="connsiteY4" fmla="*/ 192881 h 207169"/>
                  <a:gd name="connsiteX5" fmla="*/ 457200 w 1128511"/>
                  <a:gd name="connsiteY5" fmla="*/ 207169 h 207169"/>
                  <a:gd name="connsiteX6" fmla="*/ 604838 w 1128511"/>
                  <a:gd name="connsiteY6" fmla="*/ 204787 h 207169"/>
                  <a:gd name="connsiteX7" fmla="*/ 623888 w 1128511"/>
                  <a:gd name="connsiteY7" fmla="*/ 200025 h 207169"/>
                  <a:gd name="connsiteX8" fmla="*/ 676275 w 1128511"/>
                  <a:gd name="connsiteY8" fmla="*/ 197644 h 207169"/>
                  <a:gd name="connsiteX9" fmla="*/ 797719 w 1128511"/>
                  <a:gd name="connsiteY9" fmla="*/ 188119 h 207169"/>
                  <a:gd name="connsiteX10" fmla="*/ 866775 w 1128511"/>
                  <a:gd name="connsiteY10" fmla="*/ 173831 h 207169"/>
                  <a:gd name="connsiteX11" fmla="*/ 940594 w 1128511"/>
                  <a:gd name="connsiteY11" fmla="*/ 169069 h 207169"/>
                  <a:gd name="connsiteX12" fmla="*/ 971550 w 1128511"/>
                  <a:gd name="connsiteY12" fmla="*/ 166687 h 207169"/>
                  <a:gd name="connsiteX13" fmla="*/ 1052513 w 1128511"/>
                  <a:gd name="connsiteY13" fmla="*/ 142875 h 207169"/>
                  <a:gd name="connsiteX14" fmla="*/ 1125625 w 1128511"/>
                  <a:gd name="connsiteY14" fmla="*/ 102808 h 207169"/>
                  <a:gd name="connsiteX15" fmla="*/ 1106866 w 1128511"/>
                  <a:gd name="connsiteY15" fmla="*/ 74387 h 207169"/>
                  <a:gd name="connsiteX16" fmla="*/ 1042296 w 1128511"/>
                  <a:gd name="connsiteY16" fmla="*/ 44275 h 207169"/>
                  <a:gd name="connsiteX17" fmla="*/ 941593 w 1128511"/>
                  <a:gd name="connsiteY17" fmla="*/ 25641 h 207169"/>
                  <a:gd name="connsiteX18" fmla="*/ 858510 w 1128511"/>
                  <a:gd name="connsiteY18" fmla="*/ 13873 h 207169"/>
                  <a:gd name="connsiteX19" fmla="*/ 783016 w 1128511"/>
                  <a:gd name="connsiteY19" fmla="*/ 3226 h 207169"/>
                  <a:gd name="connsiteX20" fmla="*/ 693651 w 1128511"/>
                  <a:gd name="connsiteY20" fmla="*/ 2105 h 207169"/>
                  <a:gd name="connsiteX21" fmla="*/ 559594 w 1128511"/>
                  <a:gd name="connsiteY21" fmla="*/ 0 h 207169"/>
                  <a:gd name="connsiteX22" fmla="*/ 348216 w 1128511"/>
                  <a:gd name="connsiteY22" fmla="*/ 4901 h 207169"/>
                  <a:gd name="connsiteX23" fmla="*/ 221748 w 1128511"/>
                  <a:gd name="connsiteY23" fmla="*/ 15547 h 207169"/>
                  <a:gd name="connsiteX24" fmla="*/ 63587 w 1128511"/>
                  <a:gd name="connsiteY24" fmla="*/ 53093 h 207169"/>
                  <a:gd name="connsiteX25" fmla="*/ 9525 w 1128511"/>
                  <a:gd name="connsiteY25" fmla="*/ 80962 h 207169"/>
                  <a:gd name="connsiteX26" fmla="*/ 0 w 1128511"/>
                  <a:gd name="connsiteY26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104775 w 1128511"/>
                  <a:gd name="connsiteY2" fmla="*/ 150019 h 207169"/>
                  <a:gd name="connsiteX3" fmla="*/ 285750 w 1128511"/>
                  <a:gd name="connsiteY3" fmla="*/ 192881 h 207169"/>
                  <a:gd name="connsiteX4" fmla="*/ 457200 w 1128511"/>
                  <a:gd name="connsiteY4" fmla="*/ 207169 h 207169"/>
                  <a:gd name="connsiteX5" fmla="*/ 604838 w 1128511"/>
                  <a:gd name="connsiteY5" fmla="*/ 204787 h 207169"/>
                  <a:gd name="connsiteX6" fmla="*/ 623888 w 1128511"/>
                  <a:gd name="connsiteY6" fmla="*/ 200025 h 207169"/>
                  <a:gd name="connsiteX7" fmla="*/ 676275 w 1128511"/>
                  <a:gd name="connsiteY7" fmla="*/ 197644 h 207169"/>
                  <a:gd name="connsiteX8" fmla="*/ 797719 w 1128511"/>
                  <a:gd name="connsiteY8" fmla="*/ 188119 h 207169"/>
                  <a:gd name="connsiteX9" fmla="*/ 866775 w 1128511"/>
                  <a:gd name="connsiteY9" fmla="*/ 173831 h 207169"/>
                  <a:gd name="connsiteX10" fmla="*/ 940594 w 1128511"/>
                  <a:gd name="connsiteY10" fmla="*/ 169069 h 207169"/>
                  <a:gd name="connsiteX11" fmla="*/ 971550 w 1128511"/>
                  <a:gd name="connsiteY11" fmla="*/ 166687 h 207169"/>
                  <a:gd name="connsiteX12" fmla="*/ 1052513 w 1128511"/>
                  <a:gd name="connsiteY12" fmla="*/ 142875 h 207169"/>
                  <a:gd name="connsiteX13" fmla="*/ 1125625 w 1128511"/>
                  <a:gd name="connsiteY13" fmla="*/ 102808 h 207169"/>
                  <a:gd name="connsiteX14" fmla="*/ 1106866 w 1128511"/>
                  <a:gd name="connsiteY14" fmla="*/ 74387 h 207169"/>
                  <a:gd name="connsiteX15" fmla="*/ 1042296 w 1128511"/>
                  <a:gd name="connsiteY15" fmla="*/ 44275 h 207169"/>
                  <a:gd name="connsiteX16" fmla="*/ 941593 w 1128511"/>
                  <a:gd name="connsiteY16" fmla="*/ 25641 h 207169"/>
                  <a:gd name="connsiteX17" fmla="*/ 858510 w 1128511"/>
                  <a:gd name="connsiteY17" fmla="*/ 13873 h 207169"/>
                  <a:gd name="connsiteX18" fmla="*/ 783016 w 1128511"/>
                  <a:gd name="connsiteY18" fmla="*/ 3226 h 207169"/>
                  <a:gd name="connsiteX19" fmla="*/ 693651 w 1128511"/>
                  <a:gd name="connsiteY19" fmla="*/ 2105 h 207169"/>
                  <a:gd name="connsiteX20" fmla="*/ 559594 w 1128511"/>
                  <a:gd name="connsiteY20" fmla="*/ 0 h 207169"/>
                  <a:gd name="connsiteX21" fmla="*/ 348216 w 1128511"/>
                  <a:gd name="connsiteY21" fmla="*/ 4901 h 207169"/>
                  <a:gd name="connsiteX22" fmla="*/ 221748 w 1128511"/>
                  <a:gd name="connsiteY22" fmla="*/ 15547 h 207169"/>
                  <a:gd name="connsiteX23" fmla="*/ 63587 w 1128511"/>
                  <a:gd name="connsiteY23" fmla="*/ 53093 h 207169"/>
                  <a:gd name="connsiteX24" fmla="*/ 9525 w 1128511"/>
                  <a:gd name="connsiteY24" fmla="*/ 80962 h 207169"/>
                  <a:gd name="connsiteX25" fmla="*/ 0 w 1128511"/>
                  <a:gd name="connsiteY25" fmla="*/ 104775 h 207169"/>
                  <a:gd name="connsiteX0" fmla="*/ 1574 w 1130085"/>
                  <a:gd name="connsiteY0" fmla="*/ 104775 h 207169"/>
                  <a:gd name="connsiteX1" fmla="*/ 46803 w 1130085"/>
                  <a:gd name="connsiteY1" fmla="*/ 135301 h 207169"/>
                  <a:gd name="connsiteX2" fmla="*/ 106349 w 1130085"/>
                  <a:gd name="connsiteY2" fmla="*/ 150019 h 207169"/>
                  <a:gd name="connsiteX3" fmla="*/ 287324 w 1130085"/>
                  <a:gd name="connsiteY3" fmla="*/ 192881 h 207169"/>
                  <a:gd name="connsiteX4" fmla="*/ 458774 w 1130085"/>
                  <a:gd name="connsiteY4" fmla="*/ 207169 h 207169"/>
                  <a:gd name="connsiteX5" fmla="*/ 606412 w 1130085"/>
                  <a:gd name="connsiteY5" fmla="*/ 204787 h 207169"/>
                  <a:gd name="connsiteX6" fmla="*/ 625462 w 1130085"/>
                  <a:gd name="connsiteY6" fmla="*/ 200025 h 207169"/>
                  <a:gd name="connsiteX7" fmla="*/ 677849 w 1130085"/>
                  <a:gd name="connsiteY7" fmla="*/ 197644 h 207169"/>
                  <a:gd name="connsiteX8" fmla="*/ 799293 w 1130085"/>
                  <a:gd name="connsiteY8" fmla="*/ 188119 h 207169"/>
                  <a:gd name="connsiteX9" fmla="*/ 868349 w 1130085"/>
                  <a:gd name="connsiteY9" fmla="*/ 173831 h 207169"/>
                  <a:gd name="connsiteX10" fmla="*/ 942168 w 1130085"/>
                  <a:gd name="connsiteY10" fmla="*/ 169069 h 207169"/>
                  <a:gd name="connsiteX11" fmla="*/ 973124 w 1130085"/>
                  <a:gd name="connsiteY11" fmla="*/ 166687 h 207169"/>
                  <a:gd name="connsiteX12" fmla="*/ 1054087 w 1130085"/>
                  <a:gd name="connsiteY12" fmla="*/ 142875 h 207169"/>
                  <a:gd name="connsiteX13" fmla="*/ 1127199 w 1130085"/>
                  <a:gd name="connsiteY13" fmla="*/ 102808 h 207169"/>
                  <a:gd name="connsiteX14" fmla="*/ 1108440 w 1130085"/>
                  <a:gd name="connsiteY14" fmla="*/ 74387 h 207169"/>
                  <a:gd name="connsiteX15" fmla="*/ 1043870 w 1130085"/>
                  <a:gd name="connsiteY15" fmla="*/ 44275 h 207169"/>
                  <a:gd name="connsiteX16" fmla="*/ 943167 w 1130085"/>
                  <a:gd name="connsiteY16" fmla="*/ 25641 h 207169"/>
                  <a:gd name="connsiteX17" fmla="*/ 860084 w 1130085"/>
                  <a:gd name="connsiteY17" fmla="*/ 13873 h 207169"/>
                  <a:gd name="connsiteX18" fmla="*/ 784590 w 1130085"/>
                  <a:gd name="connsiteY18" fmla="*/ 3226 h 207169"/>
                  <a:gd name="connsiteX19" fmla="*/ 695225 w 1130085"/>
                  <a:gd name="connsiteY19" fmla="*/ 2105 h 207169"/>
                  <a:gd name="connsiteX20" fmla="*/ 561168 w 1130085"/>
                  <a:gd name="connsiteY20" fmla="*/ 0 h 207169"/>
                  <a:gd name="connsiteX21" fmla="*/ 349790 w 1130085"/>
                  <a:gd name="connsiteY21" fmla="*/ 4901 h 207169"/>
                  <a:gd name="connsiteX22" fmla="*/ 223322 w 1130085"/>
                  <a:gd name="connsiteY22" fmla="*/ 15547 h 207169"/>
                  <a:gd name="connsiteX23" fmla="*/ 65161 w 1130085"/>
                  <a:gd name="connsiteY23" fmla="*/ 53093 h 207169"/>
                  <a:gd name="connsiteX24" fmla="*/ 11099 w 1130085"/>
                  <a:gd name="connsiteY24" fmla="*/ 80962 h 207169"/>
                  <a:gd name="connsiteX25" fmla="*/ 1574 w 1130085"/>
                  <a:gd name="connsiteY25" fmla="*/ 104775 h 207169"/>
                  <a:gd name="connsiteX0" fmla="*/ 2544 w 1131055"/>
                  <a:gd name="connsiteY0" fmla="*/ 104775 h 207169"/>
                  <a:gd name="connsiteX1" fmla="*/ 47773 w 1131055"/>
                  <a:gd name="connsiteY1" fmla="*/ 135301 h 207169"/>
                  <a:gd name="connsiteX2" fmla="*/ 107319 w 1131055"/>
                  <a:gd name="connsiteY2" fmla="*/ 150019 h 207169"/>
                  <a:gd name="connsiteX3" fmla="*/ 288294 w 1131055"/>
                  <a:gd name="connsiteY3" fmla="*/ 192881 h 207169"/>
                  <a:gd name="connsiteX4" fmla="*/ 459744 w 1131055"/>
                  <a:gd name="connsiteY4" fmla="*/ 207169 h 207169"/>
                  <a:gd name="connsiteX5" fmla="*/ 607382 w 1131055"/>
                  <a:gd name="connsiteY5" fmla="*/ 204787 h 207169"/>
                  <a:gd name="connsiteX6" fmla="*/ 626432 w 1131055"/>
                  <a:gd name="connsiteY6" fmla="*/ 200025 h 207169"/>
                  <a:gd name="connsiteX7" fmla="*/ 678819 w 1131055"/>
                  <a:gd name="connsiteY7" fmla="*/ 197644 h 207169"/>
                  <a:gd name="connsiteX8" fmla="*/ 800263 w 1131055"/>
                  <a:gd name="connsiteY8" fmla="*/ 188119 h 207169"/>
                  <a:gd name="connsiteX9" fmla="*/ 869319 w 1131055"/>
                  <a:gd name="connsiteY9" fmla="*/ 173831 h 207169"/>
                  <a:gd name="connsiteX10" fmla="*/ 943138 w 1131055"/>
                  <a:gd name="connsiteY10" fmla="*/ 169069 h 207169"/>
                  <a:gd name="connsiteX11" fmla="*/ 974094 w 1131055"/>
                  <a:gd name="connsiteY11" fmla="*/ 166687 h 207169"/>
                  <a:gd name="connsiteX12" fmla="*/ 1055057 w 1131055"/>
                  <a:gd name="connsiteY12" fmla="*/ 142875 h 207169"/>
                  <a:gd name="connsiteX13" fmla="*/ 1128169 w 1131055"/>
                  <a:gd name="connsiteY13" fmla="*/ 102808 h 207169"/>
                  <a:gd name="connsiteX14" fmla="*/ 1109410 w 1131055"/>
                  <a:gd name="connsiteY14" fmla="*/ 74387 h 207169"/>
                  <a:gd name="connsiteX15" fmla="*/ 1044840 w 1131055"/>
                  <a:gd name="connsiteY15" fmla="*/ 44275 h 207169"/>
                  <a:gd name="connsiteX16" fmla="*/ 944137 w 1131055"/>
                  <a:gd name="connsiteY16" fmla="*/ 25641 h 207169"/>
                  <a:gd name="connsiteX17" fmla="*/ 861054 w 1131055"/>
                  <a:gd name="connsiteY17" fmla="*/ 13873 h 207169"/>
                  <a:gd name="connsiteX18" fmla="*/ 785560 w 1131055"/>
                  <a:gd name="connsiteY18" fmla="*/ 3226 h 207169"/>
                  <a:gd name="connsiteX19" fmla="*/ 696195 w 1131055"/>
                  <a:gd name="connsiteY19" fmla="*/ 2105 h 207169"/>
                  <a:gd name="connsiteX20" fmla="*/ 562138 w 1131055"/>
                  <a:gd name="connsiteY20" fmla="*/ 0 h 207169"/>
                  <a:gd name="connsiteX21" fmla="*/ 350760 w 1131055"/>
                  <a:gd name="connsiteY21" fmla="*/ 4901 h 207169"/>
                  <a:gd name="connsiteX22" fmla="*/ 224292 w 1131055"/>
                  <a:gd name="connsiteY22" fmla="*/ 15547 h 207169"/>
                  <a:gd name="connsiteX23" fmla="*/ 66131 w 1131055"/>
                  <a:gd name="connsiteY23" fmla="*/ 53093 h 207169"/>
                  <a:gd name="connsiteX24" fmla="*/ 12069 w 1131055"/>
                  <a:gd name="connsiteY24" fmla="*/ 80962 h 207169"/>
                  <a:gd name="connsiteX25" fmla="*/ 2544 w 1131055"/>
                  <a:gd name="connsiteY25" fmla="*/ 104775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1104 w 1124840"/>
                  <a:gd name="connsiteY2" fmla="*/ 150019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9922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83757 w 1126518"/>
                  <a:gd name="connsiteY3" fmla="*/ 192881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9354"/>
                  <a:gd name="connsiteX1" fmla="*/ 43236 w 1126518"/>
                  <a:gd name="connsiteY1" fmla="*/ 135301 h 209354"/>
                  <a:gd name="connsiteX2" fmla="*/ 124198 w 1126518"/>
                  <a:gd name="connsiteY2" fmla="*/ 160097 h 209354"/>
                  <a:gd name="connsiteX3" fmla="*/ 290056 w 1126518"/>
                  <a:gd name="connsiteY3" fmla="*/ 190362 h 209354"/>
                  <a:gd name="connsiteX4" fmla="*/ 455207 w 1126518"/>
                  <a:gd name="connsiteY4" fmla="*/ 207169 h 209354"/>
                  <a:gd name="connsiteX5" fmla="*/ 602845 w 1126518"/>
                  <a:gd name="connsiteY5" fmla="*/ 204787 h 209354"/>
                  <a:gd name="connsiteX6" fmla="*/ 621895 w 1126518"/>
                  <a:gd name="connsiteY6" fmla="*/ 200025 h 209354"/>
                  <a:gd name="connsiteX7" fmla="*/ 674282 w 1126518"/>
                  <a:gd name="connsiteY7" fmla="*/ 197644 h 209354"/>
                  <a:gd name="connsiteX8" fmla="*/ 795726 w 1126518"/>
                  <a:gd name="connsiteY8" fmla="*/ 188119 h 209354"/>
                  <a:gd name="connsiteX9" fmla="*/ 864782 w 1126518"/>
                  <a:gd name="connsiteY9" fmla="*/ 173831 h 209354"/>
                  <a:gd name="connsiteX10" fmla="*/ 938601 w 1126518"/>
                  <a:gd name="connsiteY10" fmla="*/ 169069 h 209354"/>
                  <a:gd name="connsiteX11" fmla="*/ 969557 w 1126518"/>
                  <a:gd name="connsiteY11" fmla="*/ 166687 h 209354"/>
                  <a:gd name="connsiteX12" fmla="*/ 1050520 w 1126518"/>
                  <a:gd name="connsiteY12" fmla="*/ 142875 h 209354"/>
                  <a:gd name="connsiteX13" fmla="*/ 1123632 w 1126518"/>
                  <a:gd name="connsiteY13" fmla="*/ 102808 h 209354"/>
                  <a:gd name="connsiteX14" fmla="*/ 1104873 w 1126518"/>
                  <a:gd name="connsiteY14" fmla="*/ 74387 h 209354"/>
                  <a:gd name="connsiteX15" fmla="*/ 1040303 w 1126518"/>
                  <a:gd name="connsiteY15" fmla="*/ 44275 h 209354"/>
                  <a:gd name="connsiteX16" fmla="*/ 939600 w 1126518"/>
                  <a:gd name="connsiteY16" fmla="*/ 25641 h 209354"/>
                  <a:gd name="connsiteX17" fmla="*/ 856517 w 1126518"/>
                  <a:gd name="connsiteY17" fmla="*/ 13873 h 209354"/>
                  <a:gd name="connsiteX18" fmla="*/ 781023 w 1126518"/>
                  <a:gd name="connsiteY18" fmla="*/ 3226 h 209354"/>
                  <a:gd name="connsiteX19" fmla="*/ 691658 w 1126518"/>
                  <a:gd name="connsiteY19" fmla="*/ 2105 h 209354"/>
                  <a:gd name="connsiteX20" fmla="*/ 557601 w 1126518"/>
                  <a:gd name="connsiteY20" fmla="*/ 0 h 209354"/>
                  <a:gd name="connsiteX21" fmla="*/ 346223 w 1126518"/>
                  <a:gd name="connsiteY21" fmla="*/ 4901 h 209354"/>
                  <a:gd name="connsiteX22" fmla="*/ 219755 w 1126518"/>
                  <a:gd name="connsiteY22" fmla="*/ 15547 h 209354"/>
                  <a:gd name="connsiteX23" fmla="*/ 61594 w 1126518"/>
                  <a:gd name="connsiteY23" fmla="*/ 53093 h 209354"/>
                  <a:gd name="connsiteX24" fmla="*/ 7532 w 1126518"/>
                  <a:gd name="connsiteY24" fmla="*/ 80962 h 209354"/>
                  <a:gd name="connsiteX25" fmla="*/ 5566 w 1126518"/>
                  <a:gd name="connsiteY25" fmla="*/ 111074 h 209354"/>
                  <a:gd name="connsiteX0" fmla="*/ 5566 w 1126518"/>
                  <a:gd name="connsiteY0" fmla="*/ 111074 h 205690"/>
                  <a:gd name="connsiteX1" fmla="*/ 43236 w 1126518"/>
                  <a:gd name="connsiteY1" fmla="*/ 135301 h 205690"/>
                  <a:gd name="connsiteX2" fmla="*/ 124198 w 1126518"/>
                  <a:gd name="connsiteY2" fmla="*/ 160097 h 205690"/>
                  <a:gd name="connsiteX3" fmla="*/ 290056 w 1126518"/>
                  <a:gd name="connsiteY3" fmla="*/ 190362 h 205690"/>
                  <a:gd name="connsiteX4" fmla="*/ 438830 w 1126518"/>
                  <a:gd name="connsiteY4" fmla="*/ 202130 h 205690"/>
                  <a:gd name="connsiteX5" fmla="*/ 602845 w 1126518"/>
                  <a:gd name="connsiteY5" fmla="*/ 204787 h 205690"/>
                  <a:gd name="connsiteX6" fmla="*/ 621895 w 1126518"/>
                  <a:gd name="connsiteY6" fmla="*/ 200025 h 205690"/>
                  <a:gd name="connsiteX7" fmla="*/ 674282 w 1126518"/>
                  <a:gd name="connsiteY7" fmla="*/ 197644 h 205690"/>
                  <a:gd name="connsiteX8" fmla="*/ 795726 w 1126518"/>
                  <a:gd name="connsiteY8" fmla="*/ 188119 h 205690"/>
                  <a:gd name="connsiteX9" fmla="*/ 864782 w 1126518"/>
                  <a:gd name="connsiteY9" fmla="*/ 173831 h 205690"/>
                  <a:gd name="connsiteX10" fmla="*/ 938601 w 1126518"/>
                  <a:gd name="connsiteY10" fmla="*/ 169069 h 205690"/>
                  <a:gd name="connsiteX11" fmla="*/ 969557 w 1126518"/>
                  <a:gd name="connsiteY11" fmla="*/ 166687 h 205690"/>
                  <a:gd name="connsiteX12" fmla="*/ 1050520 w 1126518"/>
                  <a:gd name="connsiteY12" fmla="*/ 142875 h 205690"/>
                  <a:gd name="connsiteX13" fmla="*/ 1123632 w 1126518"/>
                  <a:gd name="connsiteY13" fmla="*/ 102808 h 205690"/>
                  <a:gd name="connsiteX14" fmla="*/ 1104873 w 1126518"/>
                  <a:gd name="connsiteY14" fmla="*/ 74387 h 205690"/>
                  <a:gd name="connsiteX15" fmla="*/ 1040303 w 1126518"/>
                  <a:gd name="connsiteY15" fmla="*/ 44275 h 205690"/>
                  <a:gd name="connsiteX16" fmla="*/ 939600 w 1126518"/>
                  <a:gd name="connsiteY16" fmla="*/ 25641 h 205690"/>
                  <a:gd name="connsiteX17" fmla="*/ 856517 w 1126518"/>
                  <a:gd name="connsiteY17" fmla="*/ 13873 h 205690"/>
                  <a:gd name="connsiteX18" fmla="*/ 781023 w 1126518"/>
                  <a:gd name="connsiteY18" fmla="*/ 3226 h 205690"/>
                  <a:gd name="connsiteX19" fmla="*/ 691658 w 1126518"/>
                  <a:gd name="connsiteY19" fmla="*/ 2105 h 205690"/>
                  <a:gd name="connsiteX20" fmla="*/ 557601 w 1126518"/>
                  <a:gd name="connsiteY20" fmla="*/ 0 h 205690"/>
                  <a:gd name="connsiteX21" fmla="*/ 346223 w 1126518"/>
                  <a:gd name="connsiteY21" fmla="*/ 4901 h 205690"/>
                  <a:gd name="connsiteX22" fmla="*/ 219755 w 1126518"/>
                  <a:gd name="connsiteY22" fmla="*/ 15547 h 205690"/>
                  <a:gd name="connsiteX23" fmla="*/ 61594 w 1126518"/>
                  <a:gd name="connsiteY23" fmla="*/ 53093 h 205690"/>
                  <a:gd name="connsiteX24" fmla="*/ 7532 w 1126518"/>
                  <a:gd name="connsiteY24" fmla="*/ 80962 h 205690"/>
                  <a:gd name="connsiteX25" fmla="*/ 5566 w 1126518"/>
                  <a:gd name="connsiteY25" fmla="*/ 111074 h 205690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864782 w 1126518"/>
                  <a:gd name="connsiteY8" fmla="*/ 173831 h 202601"/>
                  <a:gd name="connsiteX9" fmla="*/ 938601 w 1126518"/>
                  <a:gd name="connsiteY9" fmla="*/ 169069 h 202601"/>
                  <a:gd name="connsiteX10" fmla="*/ 969557 w 1126518"/>
                  <a:gd name="connsiteY10" fmla="*/ 166687 h 202601"/>
                  <a:gd name="connsiteX11" fmla="*/ 1050520 w 1126518"/>
                  <a:gd name="connsiteY11" fmla="*/ 142875 h 202601"/>
                  <a:gd name="connsiteX12" fmla="*/ 1123632 w 1126518"/>
                  <a:gd name="connsiteY12" fmla="*/ 102808 h 202601"/>
                  <a:gd name="connsiteX13" fmla="*/ 1104873 w 1126518"/>
                  <a:gd name="connsiteY13" fmla="*/ 74387 h 202601"/>
                  <a:gd name="connsiteX14" fmla="*/ 1040303 w 1126518"/>
                  <a:gd name="connsiteY14" fmla="*/ 44275 h 202601"/>
                  <a:gd name="connsiteX15" fmla="*/ 939600 w 1126518"/>
                  <a:gd name="connsiteY15" fmla="*/ 25641 h 202601"/>
                  <a:gd name="connsiteX16" fmla="*/ 856517 w 1126518"/>
                  <a:gd name="connsiteY16" fmla="*/ 13873 h 202601"/>
                  <a:gd name="connsiteX17" fmla="*/ 781023 w 1126518"/>
                  <a:gd name="connsiteY17" fmla="*/ 3226 h 202601"/>
                  <a:gd name="connsiteX18" fmla="*/ 691658 w 1126518"/>
                  <a:gd name="connsiteY18" fmla="*/ 2105 h 202601"/>
                  <a:gd name="connsiteX19" fmla="*/ 557601 w 1126518"/>
                  <a:gd name="connsiteY19" fmla="*/ 0 h 202601"/>
                  <a:gd name="connsiteX20" fmla="*/ 346223 w 1126518"/>
                  <a:gd name="connsiteY20" fmla="*/ 4901 h 202601"/>
                  <a:gd name="connsiteX21" fmla="*/ 219755 w 1126518"/>
                  <a:gd name="connsiteY21" fmla="*/ 15547 h 202601"/>
                  <a:gd name="connsiteX22" fmla="*/ 61594 w 1126518"/>
                  <a:gd name="connsiteY22" fmla="*/ 53093 h 202601"/>
                  <a:gd name="connsiteX23" fmla="*/ 7532 w 1126518"/>
                  <a:gd name="connsiteY23" fmla="*/ 80962 h 202601"/>
                  <a:gd name="connsiteX24" fmla="*/ 5566 w 1126518"/>
                  <a:gd name="connsiteY24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5883 w 1126518"/>
                  <a:gd name="connsiteY7" fmla="*/ 18811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7143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29741 w 1126518"/>
                  <a:gd name="connsiteY7" fmla="*/ 18685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939600 w 1125768"/>
                  <a:gd name="connsiteY13" fmla="*/ 25641 h 202601"/>
                  <a:gd name="connsiteX14" fmla="*/ 856517 w 1125768"/>
                  <a:gd name="connsiteY14" fmla="*/ 13873 h 202601"/>
                  <a:gd name="connsiteX15" fmla="*/ 781023 w 1125768"/>
                  <a:gd name="connsiteY15" fmla="*/ 3226 h 202601"/>
                  <a:gd name="connsiteX16" fmla="*/ 691658 w 1125768"/>
                  <a:gd name="connsiteY16" fmla="*/ 2105 h 202601"/>
                  <a:gd name="connsiteX17" fmla="*/ 557601 w 1125768"/>
                  <a:gd name="connsiteY17" fmla="*/ 0 h 202601"/>
                  <a:gd name="connsiteX18" fmla="*/ 346223 w 1125768"/>
                  <a:gd name="connsiteY18" fmla="*/ 4901 h 202601"/>
                  <a:gd name="connsiteX19" fmla="*/ 219755 w 1125768"/>
                  <a:gd name="connsiteY19" fmla="*/ 15547 h 202601"/>
                  <a:gd name="connsiteX20" fmla="*/ 61594 w 1125768"/>
                  <a:gd name="connsiteY20" fmla="*/ 53093 h 202601"/>
                  <a:gd name="connsiteX21" fmla="*/ 7532 w 1125768"/>
                  <a:gd name="connsiteY21" fmla="*/ 80962 h 202601"/>
                  <a:gd name="connsiteX22" fmla="*/ 5566 w 112576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856517 w 1125768"/>
                  <a:gd name="connsiteY13" fmla="*/ 13873 h 202601"/>
                  <a:gd name="connsiteX14" fmla="*/ 781023 w 1125768"/>
                  <a:gd name="connsiteY14" fmla="*/ 3226 h 202601"/>
                  <a:gd name="connsiteX15" fmla="*/ 691658 w 1125768"/>
                  <a:gd name="connsiteY15" fmla="*/ 2105 h 202601"/>
                  <a:gd name="connsiteX16" fmla="*/ 557601 w 1125768"/>
                  <a:gd name="connsiteY16" fmla="*/ 0 h 202601"/>
                  <a:gd name="connsiteX17" fmla="*/ 346223 w 1125768"/>
                  <a:gd name="connsiteY17" fmla="*/ 4901 h 202601"/>
                  <a:gd name="connsiteX18" fmla="*/ 219755 w 1125768"/>
                  <a:gd name="connsiteY18" fmla="*/ 15547 h 202601"/>
                  <a:gd name="connsiteX19" fmla="*/ 61594 w 1125768"/>
                  <a:gd name="connsiteY19" fmla="*/ 53093 h 202601"/>
                  <a:gd name="connsiteX20" fmla="*/ 7532 w 1125768"/>
                  <a:gd name="connsiteY20" fmla="*/ 80962 h 202601"/>
                  <a:gd name="connsiteX21" fmla="*/ 5566 w 112576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56517 w 1125998"/>
                  <a:gd name="connsiteY13" fmla="*/ 1387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80453 w 1125998"/>
                  <a:gd name="connsiteY13" fmla="*/ 1261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4635 w 1125067"/>
                  <a:gd name="connsiteY0" fmla="*/ 111074 h 202601"/>
                  <a:gd name="connsiteX1" fmla="*/ 67500 w 1125067"/>
                  <a:gd name="connsiteY1" fmla="*/ 145379 h 202601"/>
                  <a:gd name="connsiteX2" fmla="*/ 123267 w 1125067"/>
                  <a:gd name="connsiteY2" fmla="*/ 160097 h 202601"/>
                  <a:gd name="connsiteX3" fmla="*/ 289125 w 1125067"/>
                  <a:gd name="connsiteY3" fmla="*/ 190362 h 202601"/>
                  <a:gd name="connsiteX4" fmla="*/ 437899 w 1125067"/>
                  <a:gd name="connsiteY4" fmla="*/ 202130 h 202601"/>
                  <a:gd name="connsiteX5" fmla="*/ 620964 w 1125067"/>
                  <a:gd name="connsiteY5" fmla="*/ 200025 h 202601"/>
                  <a:gd name="connsiteX6" fmla="*/ 673351 w 1125067"/>
                  <a:gd name="connsiteY6" fmla="*/ 197644 h 202601"/>
                  <a:gd name="connsiteX7" fmla="*/ 828810 w 1125067"/>
                  <a:gd name="connsiteY7" fmla="*/ 186859 h 202601"/>
                  <a:gd name="connsiteX8" fmla="*/ 968626 w 1125067"/>
                  <a:gd name="connsiteY8" fmla="*/ 166687 h 202601"/>
                  <a:gd name="connsiteX9" fmla="*/ 1060927 w 1125067"/>
                  <a:gd name="connsiteY9" fmla="*/ 144135 h 202601"/>
                  <a:gd name="connsiteX10" fmla="*/ 1122701 w 1125067"/>
                  <a:gd name="connsiteY10" fmla="*/ 102808 h 202601"/>
                  <a:gd name="connsiteX11" fmla="*/ 1103942 w 1125067"/>
                  <a:gd name="connsiteY11" fmla="*/ 74387 h 202601"/>
                  <a:gd name="connsiteX12" fmla="*/ 1026774 w 1125067"/>
                  <a:gd name="connsiteY12" fmla="*/ 40496 h 202601"/>
                  <a:gd name="connsiteX13" fmla="*/ 879522 w 1125067"/>
                  <a:gd name="connsiteY13" fmla="*/ 12613 h 202601"/>
                  <a:gd name="connsiteX14" fmla="*/ 780092 w 1125067"/>
                  <a:gd name="connsiteY14" fmla="*/ 3226 h 202601"/>
                  <a:gd name="connsiteX15" fmla="*/ 690727 w 1125067"/>
                  <a:gd name="connsiteY15" fmla="*/ 2105 h 202601"/>
                  <a:gd name="connsiteX16" fmla="*/ 556670 w 1125067"/>
                  <a:gd name="connsiteY16" fmla="*/ 0 h 202601"/>
                  <a:gd name="connsiteX17" fmla="*/ 345292 w 1125067"/>
                  <a:gd name="connsiteY17" fmla="*/ 4901 h 202601"/>
                  <a:gd name="connsiteX18" fmla="*/ 218824 w 1125067"/>
                  <a:gd name="connsiteY18" fmla="*/ 15547 h 202601"/>
                  <a:gd name="connsiteX19" fmla="*/ 60663 w 1125067"/>
                  <a:gd name="connsiteY19" fmla="*/ 53093 h 202601"/>
                  <a:gd name="connsiteX20" fmla="*/ 6601 w 1125067"/>
                  <a:gd name="connsiteY20" fmla="*/ 80962 h 202601"/>
                  <a:gd name="connsiteX21" fmla="*/ 4635 w 1125067"/>
                  <a:gd name="connsiteY21" fmla="*/ 111074 h 202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25067" h="202601">
                    <a:moveTo>
                      <a:pt x="4635" y="111074"/>
                    </a:moveTo>
                    <a:cubicBezTo>
                      <a:pt x="14785" y="121810"/>
                      <a:pt x="47288" y="138367"/>
                      <a:pt x="67500" y="145379"/>
                    </a:cubicBezTo>
                    <a:cubicBezTo>
                      <a:pt x="91051" y="153549"/>
                      <a:pt x="86330" y="152600"/>
                      <a:pt x="123267" y="160097"/>
                    </a:cubicBezTo>
                    <a:cubicBezTo>
                      <a:pt x="160204" y="167594"/>
                      <a:pt x="236686" y="183356"/>
                      <a:pt x="289125" y="190362"/>
                    </a:cubicBezTo>
                    <a:cubicBezTo>
                      <a:pt x="341564" y="197368"/>
                      <a:pt x="388308" y="198207"/>
                      <a:pt x="437899" y="202130"/>
                    </a:cubicBezTo>
                    <a:cubicBezTo>
                      <a:pt x="493205" y="203740"/>
                      <a:pt x="581722" y="200773"/>
                      <a:pt x="620964" y="200025"/>
                    </a:cubicBezTo>
                    <a:cubicBezTo>
                      <a:pt x="660206" y="199277"/>
                      <a:pt x="655889" y="198438"/>
                      <a:pt x="673351" y="197644"/>
                    </a:cubicBezTo>
                    <a:cubicBezTo>
                      <a:pt x="718032" y="195729"/>
                      <a:pt x="770272" y="192553"/>
                      <a:pt x="828810" y="186859"/>
                    </a:cubicBezTo>
                    <a:cubicBezTo>
                      <a:pt x="887348" y="181165"/>
                      <a:pt x="928260" y="174858"/>
                      <a:pt x="968626" y="166687"/>
                    </a:cubicBezTo>
                    <a:cubicBezTo>
                      <a:pt x="1008992" y="158517"/>
                      <a:pt x="1035248" y="154782"/>
                      <a:pt x="1060927" y="144135"/>
                    </a:cubicBezTo>
                    <a:cubicBezTo>
                      <a:pt x="1086606" y="133489"/>
                      <a:pt x="1115532" y="114433"/>
                      <a:pt x="1122701" y="102808"/>
                    </a:cubicBezTo>
                    <a:cubicBezTo>
                      <a:pt x="1129870" y="91183"/>
                      <a:pt x="1119930" y="84772"/>
                      <a:pt x="1103942" y="74387"/>
                    </a:cubicBezTo>
                    <a:cubicBezTo>
                      <a:pt x="1087954" y="64002"/>
                      <a:pt x="1064177" y="50792"/>
                      <a:pt x="1026774" y="40496"/>
                    </a:cubicBezTo>
                    <a:cubicBezTo>
                      <a:pt x="989371" y="30200"/>
                      <a:pt x="922735" y="19454"/>
                      <a:pt x="879522" y="12613"/>
                    </a:cubicBezTo>
                    <a:cubicBezTo>
                      <a:pt x="836309" y="5772"/>
                      <a:pt x="811558" y="4977"/>
                      <a:pt x="780092" y="3226"/>
                    </a:cubicBezTo>
                    <a:cubicBezTo>
                      <a:pt x="748626" y="1475"/>
                      <a:pt x="727964" y="2643"/>
                      <a:pt x="690727" y="2105"/>
                    </a:cubicBezTo>
                    <a:cubicBezTo>
                      <a:pt x="653490" y="1567"/>
                      <a:pt x="604294" y="2506"/>
                      <a:pt x="556670" y="0"/>
                    </a:cubicBezTo>
                    <a:cubicBezTo>
                      <a:pt x="482851" y="794"/>
                      <a:pt x="401600" y="2310"/>
                      <a:pt x="345292" y="4901"/>
                    </a:cubicBezTo>
                    <a:cubicBezTo>
                      <a:pt x="288984" y="7492"/>
                      <a:pt x="271091" y="6885"/>
                      <a:pt x="218824" y="15547"/>
                    </a:cubicBezTo>
                    <a:cubicBezTo>
                      <a:pt x="183105" y="23881"/>
                      <a:pt x="101072" y="33372"/>
                      <a:pt x="60663" y="53093"/>
                    </a:cubicBezTo>
                    <a:cubicBezTo>
                      <a:pt x="27401" y="69326"/>
                      <a:pt x="15729" y="73818"/>
                      <a:pt x="6601" y="80962"/>
                    </a:cubicBezTo>
                    <a:cubicBezTo>
                      <a:pt x="3756" y="86654"/>
                      <a:pt x="-5515" y="100338"/>
                      <a:pt x="4635" y="111074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EFB4177B-42E4-B676-7D72-F1A4FA775127}"/>
                  </a:ext>
                </a:extLst>
              </p:cNvPr>
              <p:cNvSpPr/>
              <p:nvPr/>
            </p:nvSpPr>
            <p:spPr>
              <a:xfrm>
                <a:off x="3395346" y="2639947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550A6A4D-BA49-BE45-4D57-81948F257FD6}"/>
                  </a:ext>
                </a:extLst>
              </p:cNvPr>
              <p:cNvSpPr/>
              <p:nvPr/>
            </p:nvSpPr>
            <p:spPr>
              <a:xfrm>
                <a:off x="3395346" y="3242409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8C2044E4-F8EF-98D1-3792-54EC1B66B3AB}"/>
                  </a:ext>
                </a:extLst>
              </p:cNvPr>
              <p:cNvSpPr/>
              <p:nvPr/>
            </p:nvSpPr>
            <p:spPr>
              <a:xfrm>
                <a:off x="3395346" y="2041850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52" name="Freeform: Shape 151">
            <a:extLst>
              <a:ext uri="{FF2B5EF4-FFF2-40B4-BE49-F238E27FC236}">
                <a16:creationId xmlns:a16="http://schemas.microsoft.com/office/drawing/2014/main" id="{FE1D3356-2028-5246-7584-4D82CD614852}"/>
              </a:ext>
            </a:extLst>
          </p:cNvPr>
          <p:cNvSpPr/>
          <p:nvPr/>
        </p:nvSpPr>
        <p:spPr>
          <a:xfrm flipV="1">
            <a:off x="6518114" y="4380027"/>
            <a:ext cx="1198715" cy="393126"/>
          </a:xfrm>
          <a:custGeom>
            <a:avLst/>
            <a:gdLst>
              <a:gd name="connsiteX0" fmla="*/ 0 w 754380"/>
              <a:gd name="connsiteY0" fmla="*/ 22860 h 579120"/>
              <a:gd name="connsiteX1" fmla="*/ 45720 w 754380"/>
              <a:gd name="connsiteY1" fmla="*/ 15240 h 579120"/>
              <a:gd name="connsiteX2" fmla="*/ 121920 w 754380"/>
              <a:gd name="connsiteY2" fmla="*/ 0 h 579120"/>
              <a:gd name="connsiteX3" fmla="*/ 228600 w 754380"/>
              <a:gd name="connsiteY3" fmla="*/ 15240 h 579120"/>
              <a:gd name="connsiteX4" fmla="*/ 266700 w 754380"/>
              <a:gd name="connsiteY4" fmla="*/ 38100 h 579120"/>
              <a:gd name="connsiteX5" fmla="*/ 312420 w 754380"/>
              <a:gd name="connsiteY5" fmla="*/ 60960 h 579120"/>
              <a:gd name="connsiteX6" fmla="*/ 335280 w 754380"/>
              <a:gd name="connsiteY6" fmla="*/ 91440 h 579120"/>
              <a:gd name="connsiteX7" fmla="*/ 358140 w 754380"/>
              <a:gd name="connsiteY7" fmla="*/ 106680 h 579120"/>
              <a:gd name="connsiteX8" fmla="*/ 396240 w 754380"/>
              <a:gd name="connsiteY8" fmla="*/ 175260 h 579120"/>
              <a:gd name="connsiteX9" fmla="*/ 411480 w 754380"/>
              <a:gd name="connsiteY9" fmla="*/ 236220 h 579120"/>
              <a:gd name="connsiteX10" fmla="*/ 403860 w 754380"/>
              <a:gd name="connsiteY10" fmla="*/ 419100 h 579120"/>
              <a:gd name="connsiteX11" fmla="*/ 396240 w 754380"/>
              <a:gd name="connsiteY11" fmla="*/ 480060 h 579120"/>
              <a:gd name="connsiteX12" fmla="*/ 381000 w 754380"/>
              <a:gd name="connsiteY12" fmla="*/ 510540 h 579120"/>
              <a:gd name="connsiteX13" fmla="*/ 365760 w 754380"/>
              <a:gd name="connsiteY13" fmla="*/ 548640 h 579120"/>
              <a:gd name="connsiteX14" fmla="*/ 335280 w 754380"/>
              <a:gd name="connsiteY14" fmla="*/ 579120 h 579120"/>
              <a:gd name="connsiteX15" fmla="*/ 259080 w 754380"/>
              <a:gd name="connsiteY15" fmla="*/ 556260 h 579120"/>
              <a:gd name="connsiteX16" fmla="*/ 228600 w 754380"/>
              <a:gd name="connsiteY16" fmla="*/ 480060 h 579120"/>
              <a:gd name="connsiteX17" fmla="*/ 236220 w 754380"/>
              <a:gd name="connsiteY17" fmla="*/ 320040 h 579120"/>
              <a:gd name="connsiteX18" fmla="*/ 259080 w 754380"/>
              <a:gd name="connsiteY18" fmla="*/ 304800 h 579120"/>
              <a:gd name="connsiteX19" fmla="*/ 396240 w 754380"/>
              <a:gd name="connsiteY19" fmla="*/ 281940 h 579120"/>
              <a:gd name="connsiteX20" fmla="*/ 487680 w 754380"/>
              <a:gd name="connsiteY20" fmla="*/ 304800 h 579120"/>
              <a:gd name="connsiteX21" fmla="*/ 510540 w 754380"/>
              <a:gd name="connsiteY21" fmla="*/ 327660 h 579120"/>
              <a:gd name="connsiteX22" fmla="*/ 533400 w 754380"/>
              <a:gd name="connsiteY22" fmla="*/ 381000 h 579120"/>
              <a:gd name="connsiteX23" fmla="*/ 556260 w 754380"/>
              <a:gd name="connsiteY23" fmla="*/ 419100 h 579120"/>
              <a:gd name="connsiteX24" fmla="*/ 601980 w 754380"/>
              <a:gd name="connsiteY24" fmla="*/ 434340 h 579120"/>
              <a:gd name="connsiteX25" fmla="*/ 754380 w 754380"/>
              <a:gd name="connsiteY25" fmla="*/ 441960 h 579120"/>
              <a:gd name="connsiteX0" fmla="*/ 0 w 754380"/>
              <a:gd name="connsiteY0" fmla="*/ 22860 h 579120"/>
              <a:gd name="connsiteX1" fmla="*/ 45720 w 754380"/>
              <a:gd name="connsiteY1" fmla="*/ 15240 h 579120"/>
              <a:gd name="connsiteX2" fmla="*/ 121920 w 754380"/>
              <a:gd name="connsiteY2" fmla="*/ 0 h 579120"/>
              <a:gd name="connsiteX3" fmla="*/ 228600 w 754380"/>
              <a:gd name="connsiteY3" fmla="*/ 15240 h 579120"/>
              <a:gd name="connsiteX4" fmla="*/ 266700 w 754380"/>
              <a:gd name="connsiteY4" fmla="*/ 38100 h 579120"/>
              <a:gd name="connsiteX5" fmla="*/ 312420 w 754380"/>
              <a:gd name="connsiteY5" fmla="*/ 60960 h 579120"/>
              <a:gd name="connsiteX6" fmla="*/ 335280 w 754380"/>
              <a:gd name="connsiteY6" fmla="*/ 91440 h 579120"/>
              <a:gd name="connsiteX7" fmla="*/ 358140 w 754380"/>
              <a:gd name="connsiteY7" fmla="*/ 106680 h 579120"/>
              <a:gd name="connsiteX8" fmla="*/ 396240 w 754380"/>
              <a:gd name="connsiteY8" fmla="*/ 175260 h 579120"/>
              <a:gd name="connsiteX9" fmla="*/ 411480 w 754380"/>
              <a:gd name="connsiteY9" fmla="*/ 236220 h 579120"/>
              <a:gd name="connsiteX10" fmla="*/ 403860 w 754380"/>
              <a:gd name="connsiteY10" fmla="*/ 419100 h 579120"/>
              <a:gd name="connsiteX11" fmla="*/ 396240 w 754380"/>
              <a:gd name="connsiteY11" fmla="*/ 480060 h 579120"/>
              <a:gd name="connsiteX12" fmla="*/ 381000 w 754380"/>
              <a:gd name="connsiteY12" fmla="*/ 510540 h 579120"/>
              <a:gd name="connsiteX13" fmla="*/ 365760 w 754380"/>
              <a:gd name="connsiteY13" fmla="*/ 548640 h 579120"/>
              <a:gd name="connsiteX14" fmla="*/ 335280 w 754380"/>
              <a:gd name="connsiteY14" fmla="*/ 579120 h 579120"/>
              <a:gd name="connsiteX15" fmla="*/ 259080 w 754380"/>
              <a:gd name="connsiteY15" fmla="*/ 556260 h 579120"/>
              <a:gd name="connsiteX16" fmla="*/ 228600 w 754380"/>
              <a:gd name="connsiteY16" fmla="*/ 480060 h 579120"/>
              <a:gd name="connsiteX17" fmla="*/ 236220 w 754380"/>
              <a:gd name="connsiteY17" fmla="*/ 320040 h 579120"/>
              <a:gd name="connsiteX18" fmla="*/ 396240 w 754380"/>
              <a:gd name="connsiteY18" fmla="*/ 281940 h 579120"/>
              <a:gd name="connsiteX19" fmla="*/ 487680 w 754380"/>
              <a:gd name="connsiteY19" fmla="*/ 304800 h 579120"/>
              <a:gd name="connsiteX20" fmla="*/ 510540 w 754380"/>
              <a:gd name="connsiteY20" fmla="*/ 327660 h 579120"/>
              <a:gd name="connsiteX21" fmla="*/ 533400 w 754380"/>
              <a:gd name="connsiteY21" fmla="*/ 381000 h 579120"/>
              <a:gd name="connsiteX22" fmla="*/ 556260 w 754380"/>
              <a:gd name="connsiteY22" fmla="*/ 419100 h 579120"/>
              <a:gd name="connsiteX23" fmla="*/ 601980 w 754380"/>
              <a:gd name="connsiteY23" fmla="*/ 434340 h 579120"/>
              <a:gd name="connsiteX24" fmla="*/ 754380 w 754380"/>
              <a:gd name="connsiteY24" fmla="*/ 441960 h 579120"/>
              <a:gd name="connsiteX0" fmla="*/ 0 w 754380"/>
              <a:gd name="connsiteY0" fmla="*/ 22860 h 579120"/>
              <a:gd name="connsiteX1" fmla="*/ 45720 w 754380"/>
              <a:gd name="connsiteY1" fmla="*/ 15240 h 579120"/>
              <a:gd name="connsiteX2" fmla="*/ 121920 w 754380"/>
              <a:gd name="connsiteY2" fmla="*/ 0 h 579120"/>
              <a:gd name="connsiteX3" fmla="*/ 228600 w 754380"/>
              <a:gd name="connsiteY3" fmla="*/ 15240 h 579120"/>
              <a:gd name="connsiteX4" fmla="*/ 266700 w 754380"/>
              <a:gd name="connsiteY4" fmla="*/ 38100 h 579120"/>
              <a:gd name="connsiteX5" fmla="*/ 312420 w 754380"/>
              <a:gd name="connsiteY5" fmla="*/ 60960 h 579120"/>
              <a:gd name="connsiteX6" fmla="*/ 335280 w 754380"/>
              <a:gd name="connsiteY6" fmla="*/ 91440 h 579120"/>
              <a:gd name="connsiteX7" fmla="*/ 358140 w 754380"/>
              <a:gd name="connsiteY7" fmla="*/ 106680 h 579120"/>
              <a:gd name="connsiteX8" fmla="*/ 396240 w 754380"/>
              <a:gd name="connsiteY8" fmla="*/ 175260 h 579120"/>
              <a:gd name="connsiteX9" fmla="*/ 411480 w 754380"/>
              <a:gd name="connsiteY9" fmla="*/ 236220 h 579120"/>
              <a:gd name="connsiteX10" fmla="*/ 403860 w 754380"/>
              <a:gd name="connsiteY10" fmla="*/ 419100 h 579120"/>
              <a:gd name="connsiteX11" fmla="*/ 396240 w 754380"/>
              <a:gd name="connsiteY11" fmla="*/ 480060 h 579120"/>
              <a:gd name="connsiteX12" fmla="*/ 381000 w 754380"/>
              <a:gd name="connsiteY12" fmla="*/ 510540 h 579120"/>
              <a:gd name="connsiteX13" fmla="*/ 365760 w 754380"/>
              <a:gd name="connsiteY13" fmla="*/ 548640 h 579120"/>
              <a:gd name="connsiteX14" fmla="*/ 335280 w 754380"/>
              <a:gd name="connsiteY14" fmla="*/ 579120 h 579120"/>
              <a:gd name="connsiteX15" fmla="*/ 228600 w 754380"/>
              <a:gd name="connsiteY15" fmla="*/ 480060 h 579120"/>
              <a:gd name="connsiteX16" fmla="*/ 236220 w 754380"/>
              <a:gd name="connsiteY16" fmla="*/ 320040 h 579120"/>
              <a:gd name="connsiteX17" fmla="*/ 396240 w 754380"/>
              <a:gd name="connsiteY17" fmla="*/ 281940 h 579120"/>
              <a:gd name="connsiteX18" fmla="*/ 487680 w 754380"/>
              <a:gd name="connsiteY18" fmla="*/ 304800 h 579120"/>
              <a:gd name="connsiteX19" fmla="*/ 510540 w 754380"/>
              <a:gd name="connsiteY19" fmla="*/ 327660 h 579120"/>
              <a:gd name="connsiteX20" fmla="*/ 533400 w 754380"/>
              <a:gd name="connsiteY20" fmla="*/ 381000 h 579120"/>
              <a:gd name="connsiteX21" fmla="*/ 556260 w 754380"/>
              <a:gd name="connsiteY21" fmla="*/ 419100 h 579120"/>
              <a:gd name="connsiteX22" fmla="*/ 601980 w 754380"/>
              <a:gd name="connsiteY22" fmla="*/ 434340 h 579120"/>
              <a:gd name="connsiteX23" fmla="*/ 754380 w 754380"/>
              <a:gd name="connsiteY23" fmla="*/ 441960 h 579120"/>
              <a:gd name="connsiteX0" fmla="*/ 0 w 754380"/>
              <a:gd name="connsiteY0" fmla="*/ 22860 h 588645"/>
              <a:gd name="connsiteX1" fmla="*/ 45720 w 754380"/>
              <a:gd name="connsiteY1" fmla="*/ 15240 h 588645"/>
              <a:gd name="connsiteX2" fmla="*/ 121920 w 754380"/>
              <a:gd name="connsiteY2" fmla="*/ 0 h 588645"/>
              <a:gd name="connsiteX3" fmla="*/ 228600 w 754380"/>
              <a:gd name="connsiteY3" fmla="*/ 15240 h 588645"/>
              <a:gd name="connsiteX4" fmla="*/ 266700 w 754380"/>
              <a:gd name="connsiteY4" fmla="*/ 38100 h 588645"/>
              <a:gd name="connsiteX5" fmla="*/ 312420 w 754380"/>
              <a:gd name="connsiteY5" fmla="*/ 60960 h 588645"/>
              <a:gd name="connsiteX6" fmla="*/ 335280 w 754380"/>
              <a:gd name="connsiteY6" fmla="*/ 91440 h 588645"/>
              <a:gd name="connsiteX7" fmla="*/ 358140 w 754380"/>
              <a:gd name="connsiteY7" fmla="*/ 106680 h 588645"/>
              <a:gd name="connsiteX8" fmla="*/ 396240 w 754380"/>
              <a:gd name="connsiteY8" fmla="*/ 175260 h 588645"/>
              <a:gd name="connsiteX9" fmla="*/ 411480 w 754380"/>
              <a:gd name="connsiteY9" fmla="*/ 236220 h 588645"/>
              <a:gd name="connsiteX10" fmla="*/ 403860 w 754380"/>
              <a:gd name="connsiteY10" fmla="*/ 419100 h 588645"/>
              <a:gd name="connsiteX11" fmla="*/ 396240 w 754380"/>
              <a:gd name="connsiteY11" fmla="*/ 480060 h 588645"/>
              <a:gd name="connsiteX12" fmla="*/ 381000 w 754380"/>
              <a:gd name="connsiteY12" fmla="*/ 510540 h 588645"/>
              <a:gd name="connsiteX13" fmla="*/ 365760 w 754380"/>
              <a:gd name="connsiteY13" fmla="*/ 548640 h 588645"/>
              <a:gd name="connsiteX14" fmla="*/ 259080 w 754380"/>
              <a:gd name="connsiteY14" fmla="*/ 588645 h 588645"/>
              <a:gd name="connsiteX15" fmla="*/ 228600 w 754380"/>
              <a:gd name="connsiteY15" fmla="*/ 480060 h 588645"/>
              <a:gd name="connsiteX16" fmla="*/ 236220 w 754380"/>
              <a:gd name="connsiteY16" fmla="*/ 320040 h 588645"/>
              <a:gd name="connsiteX17" fmla="*/ 396240 w 754380"/>
              <a:gd name="connsiteY17" fmla="*/ 281940 h 588645"/>
              <a:gd name="connsiteX18" fmla="*/ 487680 w 754380"/>
              <a:gd name="connsiteY18" fmla="*/ 304800 h 588645"/>
              <a:gd name="connsiteX19" fmla="*/ 510540 w 754380"/>
              <a:gd name="connsiteY19" fmla="*/ 327660 h 588645"/>
              <a:gd name="connsiteX20" fmla="*/ 533400 w 754380"/>
              <a:gd name="connsiteY20" fmla="*/ 381000 h 588645"/>
              <a:gd name="connsiteX21" fmla="*/ 556260 w 754380"/>
              <a:gd name="connsiteY21" fmla="*/ 419100 h 588645"/>
              <a:gd name="connsiteX22" fmla="*/ 601980 w 754380"/>
              <a:gd name="connsiteY22" fmla="*/ 434340 h 588645"/>
              <a:gd name="connsiteX23" fmla="*/ 754380 w 754380"/>
              <a:gd name="connsiteY23" fmla="*/ 441960 h 588645"/>
              <a:gd name="connsiteX0" fmla="*/ 0 w 754380"/>
              <a:gd name="connsiteY0" fmla="*/ 22860 h 588645"/>
              <a:gd name="connsiteX1" fmla="*/ 45720 w 754380"/>
              <a:gd name="connsiteY1" fmla="*/ 15240 h 588645"/>
              <a:gd name="connsiteX2" fmla="*/ 121920 w 754380"/>
              <a:gd name="connsiteY2" fmla="*/ 0 h 588645"/>
              <a:gd name="connsiteX3" fmla="*/ 228600 w 754380"/>
              <a:gd name="connsiteY3" fmla="*/ 15240 h 588645"/>
              <a:gd name="connsiteX4" fmla="*/ 266700 w 754380"/>
              <a:gd name="connsiteY4" fmla="*/ 38100 h 588645"/>
              <a:gd name="connsiteX5" fmla="*/ 312420 w 754380"/>
              <a:gd name="connsiteY5" fmla="*/ 60960 h 588645"/>
              <a:gd name="connsiteX6" fmla="*/ 335280 w 754380"/>
              <a:gd name="connsiteY6" fmla="*/ 91440 h 588645"/>
              <a:gd name="connsiteX7" fmla="*/ 358140 w 754380"/>
              <a:gd name="connsiteY7" fmla="*/ 106680 h 588645"/>
              <a:gd name="connsiteX8" fmla="*/ 396240 w 754380"/>
              <a:gd name="connsiteY8" fmla="*/ 175260 h 588645"/>
              <a:gd name="connsiteX9" fmla="*/ 411480 w 754380"/>
              <a:gd name="connsiteY9" fmla="*/ 236220 h 588645"/>
              <a:gd name="connsiteX10" fmla="*/ 403860 w 754380"/>
              <a:gd name="connsiteY10" fmla="*/ 419100 h 588645"/>
              <a:gd name="connsiteX11" fmla="*/ 396240 w 754380"/>
              <a:gd name="connsiteY11" fmla="*/ 480060 h 588645"/>
              <a:gd name="connsiteX12" fmla="*/ 365760 w 754380"/>
              <a:gd name="connsiteY12" fmla="*/ 548640 h 588645"/>
              <a:gd name="connsiteX13" fmla="*/ 259080 w 754380"/>
              <a:gd name="connsiteY13" fmla="*/ 588645 h 588645"/>
              <a:gd name="connsiteX14" fmla="*/ 228600 w 754380"/>
              <a:gd name="connsiteY14" fmla="*/ 480060 h 588645"/>
              <a:gd name="connsiteX15" fmla="*/ 236220 w 754380"/>
              <a:gd name="connsiteY15" fmla="*/ 320040 h 588645"/>
              <a:gd name="connsiteX16" fmla="*/ 396240 w 754380"/>
              <a:gd name="connsiteY16" fmla="*/ 281940 h 588645"/>
              <a:gd name="connsiteX17" fmla="*/ 487680 w 754380"/>
              <a:gd name="connsiteY17" fmla="*/ 304800 h 588645"/>
              <a:gd name="connsiteX18" fmla="*/ 510540 w 754380"/>
              <a:gd name="connsiteY18" fmla="*/ 327660 h 588645"/>
              <a:gd name="connsiteX19" fmla="*/ 533400 w 754380"/>
              <a:gd name="connsiteY19" fmla="*/ 381000 h 588645"/>
              <a:gd name="connsiteX20" fmla="*/ 556260 w 754380"/>
              <a:gd name="connsiteY20" fmla="*/ 419100 h 588645"/>
              <a:gd name="connsiteX21" fmla="*/ 601980 w 754380"/>
              <a:gd name="connsiteY21" fmla="*/ 434340 h 588645"/>
              <a:gd name="connsiteX22" fmla="*/ 754380 w 754380"/>
              <a:gd name="connsiteY22" fmla="*/ 441960 h 588645"/>
              <a:gd name="connsiteX0" fmla="*/ 0 w 754380"/>
              <a:gd name="connsiteY0" fmla="*/ 22860 h 588645"/>
              <a:gd name="connsiteX1" fmla="*/ 45720 w 754380"/>
              <a:gd name="connsiteY1" fmla="*/ 15240 h 588645"/>
              <a:gd name="connsiteX2" fmla="*/ 121920 w 754380"/>
              <a:gd name="connsiteY2" fmla="*/ 0 h 588645"/>
              <a:gd name="connsiteX3" fmla="*/ 228600 w 754380"/>
              <a:gd name="connsiteY3" fmla="*/ 15240 h 588645"/>
              <a:gd name="connsiteX4" fmla="*/ 266700 w 754380"/>
              <a:gd name="connsiteY4" fmla="*/ 38100 h 588645"/>
              <a:gd name="connsiteX5" fmla="*/ 312420 w 754380"/>
              <a:gd name="connsiteY5" fmla="*/ 60960 h 588645"/>
              <a:gd name="connsiteX6" fmla="*/ 335280 w 754380"/>
              <a:gd name="connsiteY6" fmla="*/ 91440 h 588645"/>
              <a:gd name="connsiteX7" fmla="*/ 358140 w 754380"/>
              <a:gd name="connsiteY7" fmla="*/ 106680 h 588645"/>
              <a:gd name="connsiteX8" fmla="*/ 396240 w 754380"/>
              <a:gd name="connsiteY8" fmla="*/ 175260 h 588645"/>
              <a:gd name="connsiteX9" fmla="*/ 411480 w 754380"/>
              <a:gd name="connsiteY9" fmla="*/ 236220 h 588645"/>
              <a:gd name="connsiteX10" fmla="*/ 403860 w 754380"/>
              <a:gd name="connsiteY10" fmla="*/ 419100 h 588645"/>
              <a:gd name="connsiteX11" fmla="*/ 365760 w 754380"/>
              <a:gd name="connsiteY11" fmla="*/ 548640 h 588645"/>
              <a:gd name="connsiteX12" fmla="*/ 259080 w 754380"/>
              <a:gd name="connsiteY12" fmla="*/ 588645 h 588645"/>
              <a:gd name="connsiteX13" fmla="*/ 228600 w 754380"/>
              <a:gd name="connsiteY13" fmla="*/ 480060 h 588645"/>
              <a:gd name="connsiteX14" fmla="*/ 236220 w 754380"/>
              <a:gd name="connsiteY14" fmla="*/ 320040 h 588645"/>
              <a:gd name="connsiteX15" fmla="*/ 396240 w 754380"/>
              <a:gd name="connsiteY15" fmla="*/ 281940 h 588645"/>
              <a:gd name="connsiteX16" fmla="*/ 487680 w 754380"/>
              <a:gd name="connsiteY16" fmla="*/ 304800 h 588645"/>
              <a:gd name="connsiteX17" fmla="*/ 510540 w 754380"/>
              <a:gd name="connsiteY17" fmla="*/ 327660 h 588645"/>
              <a:gd name="connsiteX18" fmla="*/ 533400 w 754380"/>
              <a:gd name="connsiteY18" fmla="*/ 381000 h 588645"/>
              <a:gd name="connsiteX19" fmla="*/ 556260 w 754380"/>
              <a:gd name="connsiteY19" fmla="*/ 419100 h 588645"/>
              <a:gd name="connsiteX20" fmla="*/ 601980 w 754380"/>
              <a:gd name="connsiteY20" fmla="*/ 434340 h 588645"/>
              <a:gd name="connsiteX21" fmla="*/ 754380 w 754380"/>
              <a:gd name="connsiteY21" fmla="*/ 441960 h 588645"/>
              <a:gd name="connsiteX0" fmla="*/ 0 w 754380"/>
              <a:gd name="connsiteY0" fmla="*/ 9633 h 575418"/>
              <a:gd name="connsiteX1" fmla="*/ 45720 w 754380"/>
              <a:gd name="connsiteY1" fmla="*/ 2013 h 575418"/>
              <a:gd name="connsiteX2" fmla="*/ 228600 w 754380"/>
              <a:gd name="connsiteY2" fmla="*/ 2013 h 575418"/>
              <a:gd name="connsiteX3" fmla="*/ 266700 w 754380"/>
              <a:gd name="connsiteY3" fmla="*/ 24873 h 575418"/>
              <a:gd name="connsiteX4" fmla="*/ 312420 w 754380"/>
              <a:gd name="connsiteY4" fmla="*/ 47733 h 575418"/>
              <a:gd name="connsiteX5" fmla="*/ 335280 w 754380"/>
              <a:gd name="connsiteY5" fmla="*/ 78213 h 575418"/>
              <a:gd name="connsiteX6" fmla="*/ 358140 w 754380"/>
              <a:gd name="connsiteY6" fmla="*/ 93453 h 575418"/>
              <a:gd name="connsiteX7" fmla="*/ 396240 w 754380"/>
              <a:gd name="connsiteY7" fmla="*/ 162033 h 575418"/>
              <a:gd name="connsiteX8" fmla="*/ 411480 w 754380"/>
              <a:gd name="connsiteY8" fmla="*/ 222993 h 575418"/>
              <a:gd name="connsiteX9" fmla="*/ 403860 w 754380"/>
              <a:gd name="connsiteY9" fmla="*/ 405873 h 575418"/>
              <a:gd name="connsiteX10" fmla="*/ 365760 w 754380"/>
              <a:gd name="connsiteY10" fmla="*/ 535413 h 575418"/>
              <a:gd name="connsiteX11" fmla="*/ 259080 w 754380"/>
              <a:gd name="connsiteY11" fmla="*/ 575418 h 575418"/>
              <a:gd name="connsiteX12" fmla="*/ 228600 w 754380"/>
              <a:gd name="connsiteY12" fmla="*/ 466833 h 575418"/>
              <a:gd name="connsiteX13" fmla="*/ 236220 w 754380"/>
              <a:gd name="connsiteY13" fmla="*/ 306813 h 575418"/>
              <a:gd name="connsiteX14" fmla="*/ 396240 w 754380"/>
              <a:gd name="connsiteY14" fmla="*/ 268713 h 575418"/>
              <a:gd name="connsiteX15" fmla="*/ 487680 w 754380"/>
              <a:gd name="connsiteY15" fmla="*/ 291573 h 575418"/>
              <a:gd name="connsiteX16" fmla="*/ 510540 w 754380"/>
              <a:gd name="connsiteY16" fmla="*/ 314433 h 575418"/>
              <a:gd name="connsiteX17" fmla="*/ 533400 w 754380"/>
              <a:gd name="connsiteY17" fmla="*/ 367773 h 575418"/>
              <a:gd name="connsiteX18" fmla="*/ 556260 w 754380"/>
              <a:gd name="connsiteY18" fmla="*/ 405873 h 575418"/>
              <a:gd name="connsiteX19" fmla="*/ 601980 w 754380"/>
              <a:gd name="connsiteY19" fmla="*/ 421113 h 575418"/>
              <a:gd name="connsiteX20" fmla="*/ 754380 w 754380"/>
              <a:gd name="connsiteY20" fmla="*/ 428733 h 575418"/>
              <a:gd name="connsiteX0" fmla="*/ 0 w 754380"/>
              <a:gd name="connsiteY0" fmla="*/ 9633 h 575418"/>
              <a:gd name="connsiteX1" fmla="*/ 45720 w 754380"/>
              <a:gd name="connsiteY1" fmla="*/ 2013 h 575418"/>
              <a:gd name="connsiteX2" fmla="*/ 228600 w 754380"/>
              <a:gd name="connsiteY2" fmla="*/ 2013 h 575418"/>
              <a:gd name="connsiteX3" fmla="*/ 266700 w 754380"/>
              <a:gd name="connsiteY3" fmla="*/ 24873 h 575418"/>
              <a:gd name="connsiteX4" fmla="*/ 312420 w 754380"/>
              <a:gd name="connsiteY4" fmla="*/ 47733 h 575418"/>
              <a:gd name="connsiteX5" fmla="*/ 358140 w 754380"/>
              <a:gd name="connsiteY5" fmla="*/ 93453 h 575418"/>
              <a:gd name="connsiteX6" fmla="*/ 396240 w 754380"/>
              <a:gd name="connsiteY6" fmla="*/ 162033 h 575418"/>
              <a:gd name="connsiteX7" fmla="*/ 411480 w 754380"/>
              <a:gd name="connsiteY7" fmla="*/ 222993 h 575418"/>
              <a:gd name="connsiteX8" fmla="*/ 403860 w 754380"/>
              <a:gd name="connsiteY8" fmla="*/ 405873 h 575418"/>
              <a:gd name="connsiteX9" fmla="*/ 365760 w 754380"/>
              <a:gd name="connsiteY9" fmla="*/ 535413 h 575418"/>
              <a:gd name="connsiteX10" fmla="*/ 259080 w 754380"/>
              <a:gd name="connsiteY10" fmla="*/ 575418 h 575418"/>
              <a:gd name="connsiteX11" fmla="*/ 228600 w 754380"/>
              <a:gd name="connsiteY11" fmla="*/ 466833 h 575418"/>
              <a:gd name="connsiteX12" fmla="*/ 236220 w 754380"/>
              <a:gd name="connsiteY12" fmla="*/ 306813 h 575418"/>
              <a:gd name="connsiteX13" fmla="*/ 396240 w 754380"/>
              <a:gd name="connsiteY13" fmla="*/ 268713 h 575418"/>
              <a:gd name="connsiteX14" fmla="*/ 487680 w 754380"/>
              <a:gd name="connsiteY14" fmla="*/ 291573 h 575418"/>
              <a:gd name="connsiteX15" fmla="*/ 510540 w 754380"/>
              <a:gd name="connsiteY15" fmla="*/ 314433 h 575418"/>
              <a:gd name="connsiteX16" fmla="*/ 533400 w 754380"/>
              <a:gd name="connsiteY16" fmla="*/ 367773 h 575418"/>
              <a:gd name="connsiteX17" fmla="*/ 556260 w 754380"/>
              <a:gd name="connsiteY17" fmla="*/ 405873 h 575418"/>
              <a:gd name="connsiteX18" fmla="*/ 601980 w 754380"/>
              <a:gd name="connsiteY18" fmla="*/ 421113 h 575418"/>
              <a:gd name="connsiteX19" fmla="*/ 754380 w 754380"/>
              <a:gd name="connsiteY19" fmla="*/ 428733 h 575418"/>
              <a:gd name="connsiteX0" fmla="*/ 0 w 754380"/>
              <a:gd name="connsiteY0" fmla="*/ 11306 h 577091"/>
              <a:gd name="connsiteX1" fmla="*/ 45720 w 754380"/>
              <a:gd name="connsiteY1" fmla="*/ 3686 h 577091"/>
              <a:gd name="connsiteX2" fmla="*/ 228600 w 754380"/>
              <a:gd name="connsiteY2" fmla="*/ 3686 h 577091"/>
              <a:gd name="connsiteX3" fmla="*/ 312420 w 754380"/>
              <a:gd name="connsiteY3" fmla="*/ 49406 h 577091"/>
              <a:gd name="connsiteX4" fmla="*/ 358140 w 754380"/>
              <a:gd name="connsiteY4" fmla="*/ 95126 h 577091"/>
              <a:gd name="connsiteX5" fmla="*/ 396240 w 754380"/>
              <a:gd name="connsiteY5" fmla="*/ 163706 h 577091"/>
              <a:gd name="connsiteX6" fmla="*/ 411480 w 754380"/>
              <a:gd name="connsiteY6" fmla="*/ 224666 h 577091"/>
              <a:gd name="connsiteX7" fmla="*/ 403860 w 754380"/>
              <a:gd name="connsiteY7" fmla="*/ 407546 h 577091"/>
              <a:gd name="connsiteX8" fmla="*/ 365760 w 754380"/>
              <a:gd name="connsiteY8" fmla="*/ 537086 h 577091"/>
              <a:gd name="connsiteX9" fmla="*/ 259080 w 754380"/>
              <a:gd name="connsiteY9" fmla="*/ 577091 h 577091"/>
              <a:gd name="connsiteX10" fmla="*/ 228600 w 754380"/>
              <a:gd name="connsiteY10" fmla="*/ 468506 h 577091"/>
              <a:gd name="connsiteX11" fmla="*/ 236220 w 754380"/>
              <a:gd name="connsiteY11" fmla="*/ 308486 h 577091"/>
              <a:gd name="connsiteX12" fmla="*/ 396240 w 754380"/>
              <a:gd name="connsiteY12" fmla="*/ 270386 h 577091"/>
              <a:gd name="connsiteX13" fmla="*/ 487680 w 754380"/>
              <a:gd name="connsiteY13" fmla="*/ 293246 h 577091"/>
              <a:gd name="connsiteX14" fmla="*/ 510540 w 754380"/>
              <a:gd name="connsiteY14" fmla="*/ 316106 h 577091"/>
              <a:gd name="connsiteX15" fmla="*/ 533400 w 754380"/>
              <a:gd name="connsiteY15" fmla="*/ 369446 h 577091"/>
              <a:gd name="connsiteX16" fmla="*/ 556260 w 754380"/>
              <a:gd name="connsiteY16" fmla="*/ 407546 h 577091"/>
              <a:gd name="connsiteX17" fmla="*/ 601980 w 754380"/>
              <a:gd name="connsiteY17" fmla="*/ 422786 h 577091"/>
              <a:gd name="connsiteX18" fmla="*/ 754380 w 754380"/>
              <a:gd name="connsiteY18" fmla="*/ 430406 h 577091"/>
              <a:gd name="connsiteX0" fmla="*/ 0 w 754380"/>
              <a:gd name="connsiteY0" fmla="*/ 11306 h 577091"/>
              <a:gd name="connsiteX1" fmla="*/ 45720 w 754380"/>
              <a:gd name="connsiteY1" fmla="*/ 3686 h 577091"/>
              <a:gd name="connsiteX2" fmla="*/ 228600 w 754380"/>
              <a:gd name="connsiteY2" fmla="*/ 3686 h 577091"/>
              <a:gd name="connsiteX3" fmla="*/ 312420 w 754380"/>
              <a:gd name="connsiteY3" fmla="*/ 49406 h 577091"/>
              <a:gd name="connsiteX4" fmla="*/ 358140 w 754380"/>
              <a:gd name="connsiteY4" fmla="*/ 95126 h 577091"/>
              <a:gd name="connsiteX5" fmla="*/ 411480 w 754380"/>
              <a:gd name="connsiteY5" fmla="*/ 224666 h 577091"/>
              <a:gd name="connsiteX6" fmla="*/ 403860 w 754380"/>
              <a:gd name="connsiteY6" fmla="*/ 407546 h 577091"/>
              <a:gd name="connsiteX7" fmla="*/ 365760 w 754380"/>
              <a:gd name="connsiteY7" fmla="*/ 537086 h 577091"/>
              <a:gd name="connsiteX8" fmla="*/ 259080 w 754380"/>
              <a:gd name="connsiteY8" fmla="*/ 577091 h 577091"/>
              <a:gd name="connsiteX9" fmla="*/ 228600 w 754380"/>
              <a:gd name="connsiteY9" fmla="*/ 468506 h 577091"/>
              <a:gd name="connsiteX10" fmla="*/ 236220 w 754380"/>
              <a:gd name="connsiteY10" fmla="*/ 308486 h 577091"/>
              <a:gd name="connsiteX11" fmla="*/ 396240 w 754380"/>
              <a:gd name="connsiteY11" fmla="*/ 270386 h 577091"/>
              <a:gd name="connsiteX12" fmla="*/ 487680 w 754380"/>
              <a:gd name="connsiteY12" fmla="*/ 293246 h 577091"/>
              <a:gd name="connsiteX13" fmla="*/ 510540 w 754380"/>
              <a:gd name="connsiteY13" fmla="*/ 316106 h 577091"/>
              <a:gd name="connsiteX14" fmla="*/ 533400 w 754380"/>
              <a:gd name="connsiteY14" fmla="*/ 369446 h 577091"/>
              <a:gd name="connsiteX15" fmla="*/ 556260 w 754380"/>
              <a:gd name="connsiteY15" fmla="*/ 407546 h 577091"/>
              <a:gd name="connsiteX16" fmla="*/ 601980 w 754380"/>
              <a:gd name="connsiteY16" fmla="*/ 422786 h 577091"/>
              <a:gd name="connsiteX17" fmla="*/ 754380 w 754380"/>
              <a:gd name="connsiteY17" fmla="*/ 430406 h 577091"/>
              <a:gd name="connsiteX0" fmla="*/ 0 w 754380"/>
              <a:gd name="connsiteY0" fmla="*/ 11306 h 577091"/>
              <a:gd name="connsiteX1" fmla="*/ 45720 w 754380"/>
              <a:gd name="connsiteY1" fmla="*/ 3686 h 577091"/>
              <a:gd name="connsiteX2" fmla="*/ 228600 w 754380"/>
              <a:gd name="connsiteY2" fmla="*/ 3686 h 577091"/>
              <a:gd name="connsiteX3" fmla="*/ 312420 w 754380"/>
              <a:gd name="connsiteY3" fmla="*/ 49406 h 577091"/>
              <a:gd name="connsiteX4" fmla="*/ 411480 w 754380"/>
              <a:gd name="connsiteY4" fmla="*/ 224666 h 577091"/>
              <a:gd name="connsiteX5" fmla="*/ 403860 w 754380"/>
              <a:gd name="connsiteY5" fmla="*/ 407546 h 577091"/>
              <a:gd name="connsiteX6" fmla="*/ 365760 w 754380"/>
              <a:gd name="connsiteY6" fmla="*/ 537086 h 577091"/>
              <a:gd name="connsiteX7" fmla="*/ 259080 w 754380"/>
              <a:gd name="connsiteY7" fmla="*/ 577091 h 577091"/>
              <a:gd name="connsiteX8" fmla="*/ 228600 w 754380"/>
              <a:gd name="connsiteY8" fmla="*/ 468506 h 577091"/>
              <a:gd name="connsiteX9" fmla="*/ 236220 w 754380"/>
              <a:gd name="connsiteY9" fmla="*/ 308486 h 577091"/>
              <a:gd name="connsiteX10" fmla="*/ 396240 w 754380"/>
              <a:gd name="connsiteY10" fmla="*/ 270386 h 577091"/>
              <a:gd name="connsiteX11" fmla="*/ 487680 w 754380"/>
              <a:gd name="connsiteY11" fmla="*/ 293246 h 577091"/>
              <a:gd name="connsiteX12" fmla="*/ 510540 w 754380"/>
              <a:gd name="connsiteY12" fmla="*/ 316106 h 577091"/>
              <a:gd name="connsiteX13" fmla="*/ 533400 w 754380"/>
              <a:gd name="connsiteY13" fmla="*/ 369446 h 577091"/>
              <a:gd name="connsiteX14" fmla="*/ 556260 w 754380"/>
              <a:gd name="connsiteY14" fmla="*/ 407546 h 577091"/>
              <a:gd name="connsiteX15" fmla="*/ 601980 w 754380"/>
              <a:gd name="connsiteY15" fmla="*/ 422786 h 577091"/>
              <a:gd name="connsiteX16" fmla="*/ 754380 w 754380"/>
              <a:gd name="connsiteY16" fmla="*/ 430406 h 577091"/>
              <a:gd name="connsiteX0" fmla="*/ 0 w 754380"/>
              <a:gd name="connsiteY0" fmla="*/ 11306 h 577091"/>
              <a:gd name="connsiteX1" fmla="*/ 45720 w 754380"/>
              <a:gd name="connsiteY1" fmla="*/ 3686 h 577091"/>
              <a:gd name="connsiteX2" fmla="*/ 228600 w 754380"/>
              <a:gd name="connsiteY2" fmla="*/ 3686 h 577091"/>
              <a:gd name="connsiteX3" fmla="*/ 312420 w 754380"/>
              <a:gd name="connsiteY3" fmla="*/ 49406 h 577091"/>
              <a:gd name="connsiteX4" fmla="*/ 411480 w 754380"/>
              <a:gd name="connsiteY4" fmla="*/ 224666 h 577091"/>
              <a:gd name="connsiteX5" fmla="*/ 403860 w 754380"/>
              <a:gd name="connsiteY5" fmla="*/ 407546 h 577091"/>
              <a:gd name="connsiteX6" fmla="*/ 365760 w 754380"/>
              <a:gd name="connsiteY6" fmla="*/ 537086 h 577091"/>
              <a:gd name="connsiteX7" fmla="*/ 259080 w 754380"/>
              <a:gd name="connsiteY7" fmla="*/ 577091 h 577091"/>
              <a:gd name="connsiteX8" fmla="*/ 228600 w 754380"/>
              <a:gd name="connsiteY8" fmla="*/ 468506 h 577091"/>
              <a:gd name="connsiteX9" fmla="*/ 236220 w 754380"/>
              <a:gd name="connsiteY9" fmla="*/ 308486 h 577091"/>
              <a:gd name="connsiteX10" fmla="*/ 396240 w 754380"/>
              <a:gd name="connsiteY10" fmla="*/ 270386 h 577091"/>
              <a:gd name="connsiteX11" fmla="*/ 487680 w 754380"/>
              <a:gd name="connsiteY11" fmla="*/ 293246 h 577091"/>
              <a:gd name="connsiteX12" fmla="*/ 533400 w 754380"/>
              <a:gd name="connsiteY12" fmla="*/ 369446 h 577091"/>
              <a:gd name="connsiteX13" fmla="*/ 556260 w 754380"/>
              <a:gd name="connsiteY13" fmla="*/ 407546 h 577091"/>
              <a:gd name="connsiteX14" fmla="*/ 601980 w 754380"/>
              <a:gd name="connsiteY14" fmla="*/ 422786 h 577091"/>
              <a:gd name="connsiteX15" fmla="*/ 754380 w 754380"/>
              <a:gd name="connsiteY15" fmla="*/ 430406 h 577091"/>
              <a:gd name="connsiteX0" fmla="*/ 0 w 754380"/>
              <a:gd name="connsiteY0" fmla="*/ 11306 h 577091"/>
              <a:gd name="connsiteX1" fmla="*/ 45720 w 754380"/>
              <a:gd name="connsiteY1" fmla="*/ 3686 h 577091"/>
              <a:gd name="connsiteX2" fmla="*/ 228600 w 754380"/>
              <a:gd name="connsiteY2" fmla="*/ 3686 h 577091"/>
              <a:gd name="connsiteX3" fmla="*/ 312420 w 754380"/>
              <a:gd name="connsiteY3" fmla="*/ 49406 h 577091"/>
              <a:gd name="connsiteX4" fmla="*/ 411480 w 754380"/>
              <a:gd name="connsiteY4" fmla="*/ 224666 h 577091"/>
              <a:gd name="connsiteX5" fmla="*/ 403860 w 754380"/>
              <a:gd name="connsiteY5" fmla="*/ 407546 h 577091"/>
              <a:gd name="connsiteX6" fmla="*/ 365760 w 754380"/>
              <a:gd name="connsiteY6" fmla="*/ 537086 h 577091"/>
              <a:gd name="connsiteX7" fmla="*/ 259080 w 754380"/>
              <a:gd name="connsiteY7" fmla="*/ 577091 h 577091"/>
              <a:gd name="connsiteX8" fmla="*/ 228600 w 754380"/>
              <a:gd name="connsiteY8" fmla="*/ 468506 h 577091"/>
              <a:gd name="connsiteX9" fmla="*/ 236220 w 754380"/>
              <a:gd name="connsiteY9" fmla="*/ 308486 h 577091"/>
              <a:gd name="connsiteX10" fmla="*/ 396240 w 754380"/>
              <a:gd name="connsiteY10" fmla="*/ 270386 h 577091"/>
              <a:gd name="connsiteX11" fmla="*/ 487680 w 754380"/>
              <a:gd name="connsiteY11" fmla="*/ 293246 h 577091"/>
              <a:gd name="connsiteX12" fmla="*/ 533400 w 754380"/>
              <a:gd name="connsiteY12" fmla="*/ 369446 h 577091"/>
              <a:gd name="connsiteX13" fmla="*/ 601980 w 754380"/>
              <a:gd name="connsiteY13" fmla="*/ 422786 h 577091"/>
              <a:gd name="connsiteX14" fmla="*/ 754380 w 754380"/>
              <a:gd name="connsiteY14" fmla="*/ 430406 h 577091"/>
              <a:gd name="connsiteX0" fmla="*/ 0 w 754380"/>
              <a:gd name="connsiteY0" fmla="*/ 11306 h 596141"/>
              <a:gd name="connsiteX1" fmla="*/ 45720 w 754380"/>
              <a:gd name="connsiteY1" fmla="*/ 3686 h 596141"/>
              <a:gd name="connsiteX2" fmla="*/ 228600 w 754380"/>
              <a:gd name="connsiteY2" fmla="*/ 3686 h 596141"/>
              <a:gd name="connsiteX3" fmla="*/ 312420 w 754380"/>
              <a:gd name="connsiteY3" fmla="*/ 49406 h 596141"/>
              <a:gd name="connsiteX4" fmla="*/ 411480 w 754380"/>
              <a:gd name="connsiteY4" fmla="*/ 224666 h 596141"/>
              <a:gd name="connsiteX5" fmla="*/ 403860 w 754380"/>
              <a:gd name="connsiteY5" fmla="*/ 407546 h 596141"/>
              <a:gd name="connsiteX6" fmla="*/ 365760 w 754380"/>
              <a:gd name="connsiteY6" fmla="*/ 537086 h 596141"/>
              <a:gd name="connsiteX7" fmla="*/ 270986 w 754380"/>
              <a:gd name="connsiteY7" fmla="*/ 596141 h 596141"/>
              <a:gd name="connsiteX8" fmla="*/ 228600 w 754380"/>
              <a:gd name="connsiteY8" fmla="*/ 468506 h 596141"/>
              <a:gd name="connsiteX9" fmla="*/ 236220 w 754380"/>
              <a:gd name="connsiteY9" fmla="*/ 308486 h 596141"/>
              <a:gd name="connsiteX10" fmla="*/ 396240 w 754380"/>
              <a:gd name="connsiteY10" fmla="*/ 270386 h 596141"/>
              <a:gd name="connsiteX11" fmla="*/ 487680 w 754380"/>
              <a:gd name="connsiteY11" fmla="*/ 293246 h 596141"/>
              <a:gd name="connsiteX12" fmla="*/ 533400 w 754380"/>
              <a:gd name="connsiteY12" fmla="*/ 369446 h 596141"/>
              <a:gd name="connsiteX13" fmla="*/ 601980 w 754380"/>
              <a:gd name="connsiteY13" fmla="*/ 422786 h 596141"/>
              <a:gd name="connsiteX14" fmla="*/ 754380 w 754380"/>
              <a:gd name="connsiteY14" fmla="*/ 430406 h 596141"/>
              <a:gd name="connsiteX0" fmla="*/ 0 w 754380"/>
              <a:gd name="connsiteY0" fmla="*/ 11306 h 605575"/>
              <a:gd name="connsiteX1" fmla="*/ 45720 w 754380"/>
              <a:gd name="connsiteY1" fmla="*/ 3686 h 605575"/>
              <a:gd name="connsiteX2" fmla="*/ 228600 w 754380"/>
              <a:gd name="connsiteY2" fmla="*/ 3686 h 605575"/>
              <a:gd name="connsiteX3" fmla="*/ 312420 w 754380"/>
              <a:gd name="connsiteY3" fmla="*/ 49406 h 605575"/>
              <a:gd name="connsiteX4" fmla="*/ 411480 w 754380"/>
              <a:gd name="connsiteY4" fmla="*/ 224666 h 605575"/>
              <a:gd name="connsiteX5" fmla="*/ 403860 w 754380"/>
              <a:gd name="connsiteY5" fmla="*/ 407546 h 605575"/>
              <a:gd name="connsiteX6" fmla="*/ 365760 w 754380"/>
              <a:gd name="connsiteY6" fmla="*/ 537086 h 605575"/>
              <a:gd name="connsiteX7" fmla="*/ 270986 w 754380"/>
              <a:gd name="connsiteY7" fmla="*/ 596141 h 605575"/>
              <a:gd name="connsiteX8" fmla="*/ 228600 w 754380"/>
              <a:gd name="connsiteY8" fmla="*/ 468506 h 605575"/>
              <a:gd name="connsiteX9" fmla="*/ 236220 w 754380"/>
              <a:gd name="connsiteY9" fmla="*/ 308486 h 605575"/>
              <a:gd name="connsiteX10" fmla="*/ 396240 w 754380"/>
              <a:gd name="connsiteY10" fmla="*/ 270386 h 605575"/>
              <a:gd name="connsiteX11" fmla="*/ 487680 w 754380"/>
              <a:gd name="connsiteY11" fmla="*/ 293246 h 605575"/>
              <a:gd name="connsiteX12" fmla="*/ 533400 w 754380"/>
              <a:gd name="connsiteY12" fmla="*/ 369446 h 605575"/>
              <a:gd name="connsiteX13" fmla="*/ 601980 w 754380"/>
              <a:gd name="connsiteY13" fmla="*/ 422786 h 605575"/>
              <a:gd name="connsiteX14" fmla="*/ 754380 w 754380"/>
              <a:gd name="connsiteY14" fmla="*/ 430406 h 605575"/>
              <a:gd name="connsiteX0" fmla="*/ 0 w 754380"/>
              <a:gd name="connsiteY0" fmla="*/ 11306 h 607371"/>
              <a:gd name="connsiteX1" fmla="*/ 45720 w 754380"/>
              <a:gd name="connsiteY1" fmla="*/ 3686 h 607371"/>
              <a:gd name="connsiteX2" fmla="*/ 228600 w 754380"/>
              <a:gd name="connsiteY2" fmla="*/ 3686 h 607371"/>
              <a:gd name="connsiteX3" fmla="*/ 312420 w 754380"/>
              <a:gd name="connsiteY3" fmla="*/ 49406 h 607371"/>
              <a:gd name="connsiteX4" fmla="*/ 411480 w 754380"/>
              <a:gd name="connsiteY4" fmla="*/ 224666 h 607371"/>
              <a:gd name="connsiteX5" fmla="*/ 403860 w 754380"/>
              <a:gd name="connsiteY5" fmla="*/ 407546 h 607371"/>
              <a:gd name="connsiteX6" fmla="*/ 408622 w 754380"/>
              <a:gd name="connsiteY6" fmla="*/ 551373 h 607371"/>
              <a:gd name="connsiteX7" fmla="*/ 270986 w 754380"/>
              <a:gd name="connsiteY7" fmla="*/ 596141 h 607371"/>
              <a:gd name="connsiteX8" fmla="*/ 228600 w 754380"/>
              <a:gd name="connsiteY8" fmla="*/ 468506 h 607371"/>
              <a:gd name="connsiteX9" fmla="*/ 236220 w 754380"/>
              <a:gd name="connsiteY9" fmla="*/ 308486 h 607371"/>
              <a:gd name="connsiteX10" fmla="*/ 396240 w 754380"/>
              <a:gd name="connsiteY10" fmla="*/ 270386 h 607371"/>
              <a:gd name="connsiteX11" fmla="*/ 487680 w 754380"/>
              <a:gd name="connsiteY11" fmla="*/ 293246 h 607371"/>
              <a:gd name="connsiteX12" fmla="*/ 533400 w 754380"/>
              <a:gd name="connsiteY12" fmla="*/ 369446 h 607371"/>
              <a:gd name="connsiteX13" fmla="*/ 601980 w 754380"/>
              <a:gd name="connsiteY13" fmla="*/ 422786 h 607371"/>
              <a:gd name="connsiteX14" fmla="*/ 754380 w 754380"/>
              <a:gd name="connsiteY14" fmla="*/ 430406 h 607371"/>
              <a:gd name="connsiteX0" fmla="*/ 0 w 754380"/>
              <a:gd name="connsiteY0" fmla="*/ 11306 h 607111"/>
              <a:gd name="connsiteX1" fmla="*/ 45720 w 754380"/>
              <a:gd name="connsiteY1" fmla="*/ 3686 h 607111"/>
              <a:gd name="connsiteX2" fmla="*/ 228600 w 754380"/>
              <a:gd name="connsiteY2" fmla="*/ 3686 h 607111"/>
              <a:gd name="connsiteX3" fmla="*/ 312420 w 754380"/>
              <a:gd name="connsiteY3" fmla="*/ 49406 h 607111"/>
              <a:gd name="connsiteX4" fmla="*/ 411480 w 754380"/>
              <a:gd name="connsiteY4" fmla="*/ 224666 h 607111"/>
              <a:gd name="connsiteX5" fmla="*/ 444341 w 754380"/>
              <a:gd name="connsiteY5" fmla="*/ 419452 h 607111"/>
              <a:gd name="connsiteX6" fmla="*/ 408622 w 754380"/>
              <a:gd name="connsiteY6" fmla="*/ 551373 h 607111"/>
              <a:gd name="connsiteX7" fmla="*/ 270986 w 754380"/>
              <a:gd name="connsiteY7" fmla="*/ 596141 h 607111"/>
              <a:gd name="connsiteX8" fmla="*/ 228600 w 754380"/>
              <a:gd name="connsiteY8" fmla="*/ 468506 h 607111"/>
              <a:gd name="connsiteX9" fmla="*/ 236220 w 754380"/>
              <a:gd name="connsiteY9" fmla="*/ 308486 h 607111"/>
              <a:gd name="connsiteX10" fmla="*/ 396240 w 754380"/>
              <a:gd name="connsiteY10" fmla="*/ 270386 h 607111"/>
              <a:gd name="connsiteX11" fmla="*/ 487680 w 754380"/>
              <a:gd name="connsiteY11" fmla="*/ 293246 h 607111"/>
              <a:gd name="connsiteX12" fmla="*/ 533400 w 754380"/>
              <a:gd name="connsiteY12" fmla="*/ 369446 h 607111"/>
              <a:gd name="connsiteX13" fmla="*/ 601980 w 754380"/>
              <a:gd name="connsiteY13" fmla="*/ 422786 h 607111"/>
              <a:gd name="connsiteX14" fmla="*/ 754380 w 754380"/>
              <a:gd name="connsiteY14" fmla="*/ 430406 h 607111"/>
              <a:gd name="connsiteX0" fmla="*/ 0 w 754380"/>
              <a:gd name="connsiteY0" fmla="*/ 11306 h 615593"/>
              <a:gd name="connsiteX1" fmla="*/ 45720 w 754380"/>
              <a:gd name="connsiteY1" fmla="*/ 3686 h 615593"/>
              <a:gd name="connsiteX2" fmla="*/ 228600 w 754380"/>
              <a:gd name="connsiteY2" fmla="*/ 3686 h 615593"/>
              <a:gd name="connsiteX3" fmla="*/ 312420 w 754380"/>
              <a:gd name="connsiteY3" fmla="*/ 49406 h 615593"/>
              <a:gd name="connsiteX4" fmla="*/ 411480 w 754380"/>
              <a:gd name="connsiteY4" fmla="*/ 224666 h 615593"/>
              <a:gd name="connsiteX5" fmla="*/ 444341 w 754380"/>
              <a:gd name="connsiteY5" fmla="*/ 419452 h 615593"/>
              <a:gd name="connsiteX6" fmla="*/ 422910 w 754380"/>
              <a:gd name="connsiteY6" fmla="*/ 587091 h 615593"/>
              <a:gd name="connsiteX7" fmla="*/ 270986 w 754380"/>
              <a:gd name="connsiteY7" fmla="*/ 596141 h 615593"/>
              <a:gd name="connsiteX8" fmla="*/ 228600 w 754380"/>
              <a:gd name="connsiteY8" fmla="*/ 468506 h 615593"/>
              <a:gd name="connsiteX9" fmla="*/ 236220 w 754380"/>
              <a:gd name="connsiteY9" fmla="*/ 308486 h 615593"/>
              <a:gd name="connsiteX10" fmla="*/ 396240 w 754380"/>
              <a:gd name="connsiteY10" fmla="*/ 270386 h 615593"/>
              <a:gd name="connsiteX11" fmla="*/ 487680 w 754380"/>
              <a:gd name="connsiteY11" fmla="*/ 293246 h 615593"/>
              <a:gd name="connsiteX12" fmla="*/ 533400 w 754380"/>
              <a:gd name="connsiteY12" fmla="*/ 369446 h 615593"/>
              <a:gd name="connsiteX13" fmla="*/ 601980 w 754380"/>
              <a:gd name="connsiteY13" fmla="*/ 422786 h 615593"/>
              <a:gd name="connsiteX14" fmla="*/ 754380 w 754380"/>
              <a:gd name="connsiteY14" fmla="*/ 430406 h 615593"/>
              <a:gd name="connsiteX0" fmla="*/ 0 w 754380"/>
              <a:gd name="connsiteY0" fmla="*/ 11306 h 615593"/>
              <a:gd name="connsiteX1" fmla="*/ 45720 w 754380"/>
              <a:gd name="connsiteY1" fmla="*/ 3686 h 615593"/>
              <a:gd name="connsiteX2" fmla="*/ 169069 w 754380"/>
              <a:gd name="connsiteY2" fmla="*/ 3686 h 615593"/>
              <a:gd name="connsiteX3" fmla="*/ 312420 w 754380"/>
              <a:gd name="connsiteY3" fmla="*/ 49406 h 615593"/>
              <a:gd name="connsiteX4" fmla="*/ 411480 w 754380"/>
              <a:gd name="connsiteY4" fmla="*/ 224666 h 615593"/>
              <a:gd name="connsiteX5" fmla="*/ 444341 w 754380"/>
              <a:gd name="connsiteY5" fmla="*/ 419452 h 615593"/>
              <a:gd name="connsiteX6" fmla="*/ 422910 w 754380"/>
              <a:gd name="connsiteY6" fmla="*/ 587091 h 615593"/>
              <a:gd name="connsiteX7" fmla="*/ 270986 w 754380"/>
              <a:gd name="connsiteY7" fmla="*/ 596141 h 615593"/>
              <a:gd name="connsiteX8" fmla="*/ 228600 w 754380"/>
              <a:gd name="connsiteY8" fmla="*/ 468506 h 615593"/>
              <a:gd name="connsiteX9" fmla="*/ 236220 w 754380"/>
              <a:gd name="connsiteY9" fmla="*/ 308486 h 615593"/>
              <a:gd name="connsiteX10" fmla="*/ 396240 w 754380"/>
              <a:gd name="connsiteY10" fmla="*/ 270386 h 615593"/>
              <a:gd name="connsiteX11" fmla="*/ 487680 w 754380"/>
              <a:gd name="connsiteY11" fmla="*/ 293246 h 615593"/>
              <a:gd name="connsiteX12" fmla="*/ 533400 w 754380"/>
              <a:gd name="connsiteY12" fmla="*/ 369446 h 615593"/>
              <a:gd name="connsiteX13" fmla="*/ 601980 w 754380"/>
              <a:gd name="connsiteY13" fmla="*/ 422786 h 615593"/>
              <a:gd name="connsiteX14" fmla="*/ 754380 w 754380"/>
              <a:gd name="connsiteY14" fmla="*/ 430406 h 615593"/>
              <a:gd name="connsiteX0" fmla="*/ 0 w 754380"/>
              <a:gd name="connsiteY0" fmla="*/ 23748 h 628035"/>
              <a:gd name="connsiteX1" fmla="*/ 45720 w 754380"/>
              <a:gd name="connsiteY1" fmla="*/ 16128 h 628035"/>
              <a:gd name="connsiteX2" fmla="*/ 202406 w 754380"/>
              <a:gd name="connsiteY2" fmla="*/ 1841 h 628035"/>
              <a:gd name="connsiteX3" fmla="*/ 312420 w 754380"/>
              <a:gd name="connsiteY3" fmla="*/ 61848 h 628035"/>
              <a:gd name="connsiteX4" fmla="*/ 411480 w 754380"/>
              <a:gd name="connsiteY4" fmla="*/ 237108 h 628035"/>
              <a:gd name="connsiteX5" fmla="*/ 444341 w 754380"/>
              <a:gd name="connsiteY5" fmla="*/ 431894 h 628035"/>
              <a:gd name="connsiteX6" fmla="*/ 422910 w 754380"/>
              <a:gd name="connsiteY6" fmla="*/ 599533 h 628035"/>
              <a:gd name="connsiteX7" fmla="*/ 270986 w 754380"/>
              <a:gd name="connsiteY7" fmla="*/ 608583 h 628035"/>
              <a:gd name="connsiteX8" fmla="*/ 228600 w 754380"/>
              <a:gd name="connsiteY8" fmla="*/ 480948 h 628035"/>
              <a:gd name="connsiteX9" fmla="*/ 236220 w 754380"/>
              <a:gd name="connsiteY9" fmla="*/ 320928 h 628035"/>
              <a:gd name="connsiteX10" fmla="*/ 396240 w 754380"/>
              <a:gd name="connsiteY10" fmla="*/ 282828 h 628035"/>
              <a:gd name="connsiteX11" fmla="*/ 487680 w 754380"/>
              <a:gd name="connsiteY11" fmla="*/ 305688 h 628035"/>
              <a:gd name="connsiteX12" fmla="*/ 533400 w 754380"/>
              <a:gd name="connsiteY12" fmla="*/ 381888 h 628035"/>
              <a:gd name="connsiteX13" fmla="*/ 601980 w 754380"/>
              <a:gd name="connsiteY13" fmla="*/ 435228 h 628035"/>
              <a:gd name="connsiteX14" fmla="*/ 754380 w 754380"/>
              <a:gd name="connsiteY14" fmla="*/ 442848 h 628035"/>
              <a:gd name="connsiteX0" fmla="*/ 0 w 1032694"/>
              <a:gd name="connsiteY0" fmla="*/ 23748 h 628035"/>
              <a:gd name="connsiteX1" fmla="*/ 45720 w 1032694"/>
              <a:gd name="connsiteY1" fmla="*/ 16128 h 628035"/>
              <a:gd name="connsiteX2" fmla="*/ 202406 w 1032694"/>
              <a:gd name="connsiteY2" fmla="*/ 1841 h 628035"/>
              <a:gd name="connsiteX3" fmla="*/ 312420 w 1032694"/>
              <a:gd name="connsiteY3" fmla="*/ 61848 h 628035"/>
              <a:gd name="connsiteX4" fmla="*/ 411480 w 1032694"/>
              <a:gd name="connsiteY4" fmla="*/ 237108 h 628035"/>
              <a:gd name="connsiteX5" fmla="*/ 444341 w 1032694"/>
              <a:gd name="connsiteY5" fmla="*/ 431894 h 628035"/>
              <a:gd name="connsiteX6" fmla="*/ 422910 w 1032694"/>
              <a:gd name="connsiteY6" fmla="*/ 599533 h 628035"/>
              <a:gd name="connsiteX7" fmla="*/ 270986 w 1032694"/>
              <a:gd name="connsiteY7" fmla="*/ 608583 h 628035"/>
              <a:gd name="connsiteX8" fmla="*/ 228600 w 1032694"/>
              <a:gd name="connsiteY8" fmla="*/ 480948 h 628035"/>
              <a:gd name="connsiteX9" fmla="*/ 236220 w 1032694"/>
              <a:gd name="connsiteY9" fmla="*/ 320928 h 628035"/>
              <a:gd name="connsiteX10" fmla="*/ 396240 w 1032694"/>
              <a:gd name="connsiteY10" fmla="*/ 282828 h 628035"/>
              <a:gd name="connsiteX11" fmla="*/ 487680 w 1032694"/>
              <a:gd name="connsiteY11" fmla="*/ 305688 h 628035"/>
              <a:gd name="connsiteX12" fmla="*/ 533400 w 1032694"/>
              <a:gd name="connsiteY12" fmla="*/ 381888 h 628035"/>
              <a:gd name="connsiteX13" fmla="*/ 601980 w 1032694"/>
              <a:gd name="connsiteY13" fmla="*/ 435228 h 628035"/>
              <a:gd name="connsiteX14" fmla="*/ 1032694 w 1032694"/>
              <a:gd name="connsiteY14" fmla="*/ 523188 h 628035"/>
              <a:gd name="connsiteX0" fmla="*/ 0 w 1032694"/>
              <a:gd name="connsiteY0" fmla="*/ 23748 h 628035"/>
              <a:gd name="connsiteX1" fmla="*/ 45720 w 1032694"/>
              <a:gd name="connsiteY1" fmla="*/ 16128 h 628035"/>
              <a:gd name="connsiteX2" fmla="*/ 202406 w 1032694"/>
              <a:gd name="connsiteY2" fmla="*/ 1841 h 628035"/>
              <a:gd name="connsiteX3" fmla="*/ 312420 w 1032694"/>
              <a:gd name="connsiteY3" fmla="*/ 61848 h 628035"/>
              <a:gd name="connsiteX4" fmla="*/ 411480 w 1032694"/>
              <a:gd name="connsiteY4" fmla="*/ 237108 h 628035"/>
              <a:gd name="connsiteX5" fmla="*/ 444341 w 1032694"/>
              <a:gd name="connsiteY5" fmla="*/ 431894 h 628035"/>
              <a:gd name="connsiteX6" fmla="*/ 422910 w 1032694"/>
              <a:gd name="connsiteY6" fmla="*/ 599533 h 628035"/>
              <a:gd name="connsiteX7" fmla="*/ 270986 w 1032694"/>
              <a:gd name="connsiteY7" fmla="*/ 608583 h 628035"/>
              <a:gd name="connsiteX8" fmla="*/ 228600 w 1032694"/>
              <a:gd name="connsiteY8" fmla="*/ 480948 h 628035"/>
              <a:gd name="connsiteX9" fmla="*/ 236220 w 1032694"/>
              <a:gd name="connsiteY9" fmla="*/ 320928 h 628035"/>
              <a:gd name="connsiteX10" fmla="*/ 396240 w 1032694"/>
              <a:gd name="connsiteY10" fmla="*/ 282828 h 628035"/>
              <a:gd name="connsiteX11" fmla="*/ 487680 w 1032694"/>
              <a:gd name="connsiteY11" fmla="*/ 305688 h 628035"/>
              <a:gd name="connsiteX12" fmla="*/ 533400 w 1032694"/>
              <a:gd name="connsiteY12" fmla="*/ 381888 h 628035"/>
              <a:gd name="connsiteX13" fmla="*/ 793708 w 1032694"/>
              <a:gd name="connsiteY13" fmla="*/ 530175 h 628035"/>
              <a:gd name="connsiteX14" fmla="*/ 1032694 w 1032694"/>
              <a:gd name="connsiteY14" fmla="*/ 523188 h 628035"/>
              <a:gd name="connsiteX0" fmla="*/ 0 w 1032694"/>
              <a:gd name="connsiteY0" fmla="*/ 23748 h 628035"/>
              <a:gd name="connsiteX1" fmla="*/ 45720 w 1032694"/>
              <a:gd name="connsiteY1" fmla="*/ 16128 h 628035"/>
              <a:gd name="connsiteX2" fmla="*/ 202406 w 1032694"/>
              <a:gd name="connsiteY2" fmla="*/ 1841 h 628035"/>
              <a:gd name="connsiteX3" fmla="*/ 312420 w 1032694"/>
              <a:gd name="connsiteY3" fmla="*/ 61848 h 628035"/>
              <a:gd name="connsiteX4" fmla="*/ 411480 w 1032694"/>
              <a:gd name="connsiteY4" fmla="*/ 237108 h 628035"/>
              <a:gd name="connsiteX5" fmla="*/ 444341 w 1032694"/>
              <a:gd name="connsiteY5" fmla="*/ 431894 h 628035"/>
              <a:gd name="connsiteX6" fmla="*/ 422910 w 1032694"/>
              <a:gd name="connsiteY6" fmla="*/ 599533 h 628035"/>
              <a:gd name="connsiteX7" fmla="*/ 270986 w 1032694"/>
              <a:gd name="connsiteY7" fmla="*/ 608583 h 628035"/>
              <a:gd name="connsiteX8" fmla="*/ 228600 w 1032694"/>
              <a:gd name="connsiteY8" fmla="*/ 480948 h 628035"/>
              <a:gd name="connsiteX9" fmla="*/ 236220 w 1032694"/>
              <a:gd name="connsiteY9" fmla="*/ 320928 h 628035"/>
              <a:gd name="connsiteX10" fmla="*/ 396240 w 1032694"/>
              <a:gd name="connsiteY10" fmla="*/ 282828 h 628035"/>
              <a:gd name="connsiteX11" fmla="*/ 487680 w 1032694"/>
              <a:gd name="connsiteY11" fmla="*/ 305688 h 628035"/>
              <a:gd name="connsiteX12" fmla="*/ 576693 w 1032694"/>
              <a:gd name="connsiteY12" fmla="*/ 440317 h 628035"/>
              <a:gd name="connsiteX13" fmla="*/ 793708 w 1032694"/>
              <a:gd name="connsiteY13" fmla="*/ 530175 h 628035"/>
              <a:gd name="connsiteX14" fmla="*/ 1032694 w 1032694"/>
              <a:gd name="connsiteY14" fmla="*/ 523188 h 6280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032694" h="628035">
                <a:moveTo>
                  <a:pt x="0" y="23748"/>
                </a:moveTo>
                <a:cubicBezTo>
                  <a:pt x="15240" y="21208"/>
                  <a:pt x="11986" y="19779"/>
                  <a:pt x="45720" y="16128"/>
                </a:cubicBezTo>
                <a:cubicBezTo>
                  <a:pt x="79454" y="12477"/>
                  <a:pt x="157956" y="-5779"/>
                  <a:pt x="202406" y="1841"/>
                </a:cubicBezTo>
                <a:cubicBezTo>
                  <a:pt x="246856" y="9461"/>
                  <a:pt x="281940" y="25018"/>
                  <a:pt x="312420" y="61848"/>
                </a:cubicBezTo>
                <a:cubicBezTo>
                  <a:pt x="342900" y="98678"/>
                  <a:pt x="389493" y="175434"/>
                  <a:pt x="411480" y="237108"/>
                </a:cubicBezTo>
                <a:cubicBezTo>
                  <a:pt x="433467" y="298782"/>
                  <a:pt x="442436" y="371490"/>
                  <a:pt x="444341" y="431894"/>
                </a:cubicBezTo>
                <a:cubicBezTo>
                  <a:pt x="446246" y="492298"/>
                  <a:pt x="451802" y="570085"/>
                  <a:pt x="422910" y="599533"/>
                </a:cubicBezTo>
                <a:cubicBezTo>
                  <a:pt x="394018" y="628981"/>
                  <a:pt x="316865" y="641285"/>
                  <a:pt x="270986" y="608583"/>
                </a:cubicBezTo>
                <a:cubicBezTo>
                  <a:pt x="248126" y="597153"/>
                  <a:pt x="234394" y="528890"/>
                  <a:pt x="228600" y="480948"/>
                </a:cubicBezTo>
                <a:cubicBezTo>
                  <a:pt x="222806" y="433006"/>
                  <a:pt x="208280" y="353948"/>
                  <a:pt x="236220" y="320928"/>
                </a:cubicBezTo>
                <a:cubicBezTo>
                  <a:pt x="264160" y="287908"/>
                  <a:pt x="354330" y="285368"/>
                  <a:pt x="396240" y="282828"/>
                </a:cubicBezTo>
                <a:cubicBezTo>
                  <a:pt x="438150" y="280288"/>
                  <a:pt x="457605" y="279440"/>
                  <a:pt x="487680" y="305688"/>
                </a:cubicBezTo>
                <a:cubicBezTo>
                  <a:pt x="517756" y="331936"/>
                  <a:pt x="525688" y="402903"/>
                  <a:pt x="576693" y="440317"/>
                </a:cubicBezTo>
                <a:cubicBezTo>
                  <a:pt x="627698" y="477731"/>
                  <a:pt x="756878" y="520015"/>
                  <a:pt x="793708" y="530175"/>
                </a:cubicBezTo>
                <a:cubicBezTo>
                  <a:pt x="858320" y="537928"/>
                  <a:pt x="981094" y="523188"/>
                  <a:pt x="1032694" y="523188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53" name="Freeform: Shape 152">
            <a:extLst>
              <a:ext uri="{FF2B5EF4-FFF2-40B4-BE49-F238E27FC236}">
                <a16:creationId xmlns:a16="http://schemas.microsoft.com/office/drawing/2014/main" id="{492DD8F7-FE0B-55A8-340D-746D39BCA23C}"/>
              </a:ext>
            </a:extLst>
          </p:cNvPr>
          <p:cNvSpPr/>
          <p:nvPr/>
        </p:nvSpPr>
        <p:spPr>
          <a:xfrm rot="645858">
            <a:off x="7699232" y="4384079"/>
            <a:ext cx="91326" cy="160700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9F7424B8-C4EB-25D5-4965-9FA3106A97FA}"/>
              </a:ext>
            </a:extLst>
          </p:cNvPr>
          <p:cNvSpPr/>
          <p:nvPr/>
        </p:nvSpPr>
        <p:spPr>
          <a:xfrm>
            <a:off x="549939" y="1718408"/>
            <a:ext cx="3427842" cy="697076"/>
          </a:xfrm>
          <a:prstGeom prst="roundRect">
            <a:avLst/>
          </a:prstGeom>
          <a:solidFill>
            <a:srgbClr val="F2F6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a-DK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-data kommer fra en bred vifte af interne og eksterne </a:t>
            </a:r>
            <a:r>
              <a:rPr lang="da-DK" sz="12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takilder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7EAC2FEC-CBD0-DB65-83C6-8EDC6B8842EA}"/>
              </a:ext>
            </a:extLst>
          </p:cNvPr>
          <p:cNvSpPr/>
          <p:nvPr/>
        </p:nvSpPr>
        <p:spPr>
          <a:xfrm>
            <a:off x="4257186" y="1735611"/>
            <a:ext cx="3427842" cy="672928"/>
          </a:xfrm>
          <a:prstGeom prst="roundRect">
            <a:avLst/>
          </a:prstGeom>
          <a:solidFill>
            <a:srgbClr val="F2F6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a-DK" sz="12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t Almene Datavarehus </a:t>
            </a:r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r en central platform, der samler og strukturerer data til vores målepunkter</a:t>
            </a:r>
            <a:endParaRPr lang="da-DK" sz="1200" b="0" i="0" u="none" strike="noStrike">
              <a:solidFill>
                <a:schemeClr val="tx1"/>
              </a:solidFill>
              <a:effectLst/>
              <a:highlight>
                <a:srgbClr val="FFFF00"/>
              </a:highlight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61F000FD-1A63-DA5B-4969-B3C4C514154C}"/>
              </a:ext>
            </a:extLst>
          </p:cNvPr>
          <p:cNvSpPr/>
          <p:nvPr/>
        </p:nvSpPr>
        <p:spPr>
          <a:xfrm>
            <a:off x="7935759" y="1720732"/>
            <a:ext cx="3662481" cy="675676"/>
          </a:xfrm>
          <a:prstGeom prst="roundRect">
            <a:avLst/>
          </a:prstGeom>
          <a:solidFill>
            <a:srgbClr val="F2F6F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 designer et brugervenligt </a:t>
            </a:r>
            <a:r>
              <a:rPr lang="da-DK" sz="12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ashboard </a:t>
            </a:r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ammen med branchen </a:t>
            </a:r>
            <a:endParaRPr lang="da-DK" sz="1200">
              <a:solidFill>
                <a:schemeClr val="tx1"/>
              </a:solidFill>
              <a:highlight>
                <a:srgbClr val="FFFF00"/>
              </a:highlight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7" name="Freeform: Shape 166">
            <a:extLst>
              <a:ext uri="{FF2B5EF4-FFF2-40B4-BE49-F238E27FC236}">
                <a16:creationId xmlns:a16="http://schemas.microsoft.com/office/drawing/2014/main" id="{CAA3EFD7-D074-4820-2B72-C95E89F99C6F}"/>
              </a:ext>
            </a:extLst>
          </p:cNvPr>
          <p:cNvSpPr/>
          <p:nvPr/>
        </p:nvSpPr>
        <p:spPr>
          <a:xfrm>
            <a:off x="2590977" y="3128263"/>
            <a:ext cx="1731658" cy="991638"/>
          </a:xfrm>
          <a:custGeom>
            <a:avLst/>
            <a:gdLst>
              <a:gd name="connsiteX0" fmla="*/ 0 w 844062"/>
              <a:gd name="connsiteY0" fmla="*/ 0 h 964779"/>
              <a:gd name="connsiteX1" fmla="*/ 60290 w 844062"/>
              <a:gd name="connsiteY1" fmla="*/ 30145 h 964779"/>
              <a:gd name="connsiteX2" fmla="*/ 90435 w 844062"/>
              <a:gd name="connsiteY2" fmla="*/ 40194 h 964779"/>
              <a:gd name="connsiteX3" fmla="*/ 130629 w 844062"/>
              <a:gd name="connsiteY3" fmla="*/ 60290 h 964779"/>
              <a:gd name="connsiteX4" fmla="*/ 190919 w 844062"/>
              <a:gd name="connsiteY4" fmla="*/ 120580 h 964779"/>
              <a:gd name="connsiteX5" fmla="*/ 231112 w 844062"/>
              <a:gd name="connsiteY5" fmla="*/ 180871 h 964779"/>
              <a:gd name="connsiteX6" fmla="*/ 251209 w 844062"/>
              <a:gd name="connsiteY6" fmla="*/ 271306 h 964779"/>
              <a:gd name="connsiteX7" fmla="*/ 301451 w 844062"/>
              <a:gd name="connsiteY7" fmla="*/ 401934 h 964779"/>
              <a:gd name="connsiteX8" fmla="*/ 311499 w 844062"/>
              <a:gd name="connsiteY8" fmla="*/ 472273 h 964779"/>
              <a:gd name="connsiteX9" fmla="*/ 331596 w 844062"/>
              <a:gd name="connsiteY9" fmla="*/ 552660 h 964779"/>
              <a:gd name="connsiteX10" fmla="*/ 341644 w 844062"/>
              <a:gd name="connsiteY10" fmla="*/ 703385 h 964779"/>
              <a:gd name="connsiteX11" fmla="*/ 351693 w 844062"/>
              <a:gd name="connsiteY11" fmla="*/ 733530 h 964779"/>
              <a:gd name="connsiteX12" fmla="*/ 361741 w 844062"/>
              <a:gd name="connsiteY12" fmla="*/ 773723 h 964779"/>
              <a:gd name="connsiteX13" fmla="*/ 411983 w 844062"/>
              <a:gd name="connsiteY13" fmla="*/ 864158 h 964779"/>
              <a:gd name="connsiteX14" fmla="*/ 462224 w 844062"/>
              <a:gd name="connsiteY14" fmla="*/ 934497 h 964779"/>
              <a:gd name="connsiteX15" fmla="*/ 542611 w 844062"/>
              <a:gd name="connsiteY15" fmla="*/ 944545 h 964779"/>
              <a:gd name="connsiteX16" fmla="*/ 844062 w 844062"/>
              <a:gd name="connsiteY16" fmla="*/ 954594 h 964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844062" h="964779">
                <a:moveTo>
                  <a:pt x="0" y="0"/>
                </a:moveTo>
                <a:cubicBezTo>
                  <a:pt x="20097" y="10048"/>
                  <a:pt x="39758" y="21019"/>
                  <a:pt x="60290" y="30145"/>
                </a:cubicBezTo>
                <a:cubicBezTo>
                  <a:pt x="69969" y="34447"/>
                  <a:pt x="80699" y="36022"/>
                  <a:pt x="90435" y="40194"/>
                </a:cubicBezTo>
                <a:cubicBezTo>
                  <a:pt x="104203" y="46095"/>
                  <a:pt x="117231" y="53591"/>
                  <a:pt x="130629" y="60290"/>
                </a:cubicBezTo>
                <a:cubicBezTo>
                  <a:pt x="150726" y="80387"/>
                  <a:pt x="175154" y="96932"/>
                  <a:pt x="190919" y="120580"/>
                </a:cubicBezTo>
                <a:lnTo>
                  <a:pt x="231112" y="180871"/>
                </a:lnTo>
                <a:cubicBezTo>
                  <a:pt x="237811" y="211016"/>
                  <a:pt x="243252" y="241468"/>
                  <a:pt x="251209" y="271306"/>
                </a:cubicBezTo>
                <a:cubicBezTo>
                  <a:pt x="264462" y="321005"/>
                  <a:pt x="280916" y="354019"/>
                  <a:pt x="301451" y="401934"/>
                </a:cubicBezTo>
                <a:cubicBezTo>
                  <a:pt x="304800" y="425380"/>
                  <a:pt x="306854" y="449049"/>
                  <a:pt x="311499" y="472273"/>
                </a:cubicBezTo>
                <a:cubicBezTo>
                  <a:pt x="316916" y="499357"/>
                  <a:pt x="328024" y="525272"/>
                  <a:pt x="331596" y="552660"/>
                </a:cubicBezTo>
                <a:cubicBezTo>
                  <a:pt x="338109" y="602590"/>
                  <a:pt x="336083" y="653340"/>
                  <a:pt x="341644" y="703385"/>
                </a:cubicBezTo>
                <a:cubicBezTo>
                  <a:pt x="342814" y="713912"/>
                  <a:pt x="348783" y="723346"/>
                  <a:pt x="351693" y="733530"/>
                </a:cubicBezTo>
                <a:cubicBezTo>
                  <a:pt x="355487" y="746809"/>
                  <a:pt x="356892" y="760792"/>
                  <a:pt x="361741" y="773723"/>
                </a:cubicBezTo>
                <a:cubicBezTo>
                  <a:pt x="372862" y="803378"/>
                  <a:pt x="397222" y="837588"/>
                  <a:pt x="411983" y="864158"/>
                </a:cubicBezTo>
                <a:cubicBezTo>
                  <a:pt x="423094" y="884158"/>
                  <a:pt x="436040" y="924975"/>
                  <a:pt x="462224" y="934497"/>
                </a:cubicBezTo>
                <a:cubicBezTo>
                  <a:pt x="487602" y="943725"/>
                  <a:pt x="515815" y="941196"/>
                  <a:pt x="542611" y="944545"/>
                </a:cubicBezTo>
                <a:cubicBezTo>
                  <a:pt x="658550" y="983194"/>
                  <a:pt x="562164" y="954594"/>
                  <a:pt x="844062" y="954594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68" name="Freeform: Shape 167">
            <a:extLst>
              <a:ext uri="{FF2B5EF4-FFF2-40B4-BE49-F238E27FC236}">
                <a16:creationId xmlns:a16="http://schemas.microsoft.com/office/drawing/2014/main" id="{1836EE9E-2125-60D1-A117-32424B3DFF44}"/>
              </a:ext>
            </a:extLst>
          </p:cNvPr>
          <p:cNvSpPr/>
          <p:nvPr/>
        </p:nvSpPr>
        <p:spPr>
          <a:xfrm flipH="1">
            <a:off x="2581942" y="4648408"/>
            <a:ext cx="1598039" cy="942225"/>
          </a:xfrm>
          <a:custGeom>
            <a:avLst/>
            <a:gdLst>
              <a:gd name="connsiteX0" fmla="*/ 0 w 844062"/>
              <a:gd name="connsiteY0" fmla="*/ 0 h 964779"/>
              <a:gd name="connsiteX1" fmla="*/ 60290 w 844062"/>
              <a:gd name="connsiteY1" fmla="*/ 30145 h 964779"/>
              <a:gd name="connsiteX2" fmla="*/ 90435 w 844062"/>
              <a:gd name="connsiteY2" fmla="*/ 40194 h 964779"/>
              <a:gd name="connsiteX3" fmla="*/ 130629 w 844062"/>
              <a:gd name="connsiteY3" fmla="*/ 60290 h 964779"/>
              <a:gd name="connsiteX4" fmla="*/ 190919 w 844062"/>
              <a:gd name="connsiteY4" fmla="*/ 120580 h 964779"/>
              <a:gd name="connsiteX5" fmla="*/ 231112 w 844062"/>
              <a:gd name="connsiteY5" fmla="*/ 180871 h 964779"/>
              <a:gd name="connsiteX6" fmla="*/ 251209 w 844062"/>
              <a:gd name="connsiteY6" fmla="*/ 271306 h 964779"/>
              <a:gd name="connsiteX7" fmla="*/ 301451 w 844062"/>
              <a:gd name="connsiteY7" fmla="*/ 401934 h 964779"/>
              <a:gd name="connsiteX8" fmla="*/ 311499 w 844062"/>
              <a:gd name="connsiteY8" fmla="*/ 472273 h 964779"/>
              <a:gd name="connsiteX9" fmla="*/ 331596 w 844062"/>
              <a:gd name="connsiteY9" fmla="*/ 552660 h 964779"/>
              <a:gd name="connsiteX10" fmla="*/ 341644 w 844062"/>
              <a:gd name="connsiteY10" fmla="*/ 703385 h 964779"/>
              <a:gd name="connsiteX11" fmla="*/ 351693 w 844062"/>
              <a:gd name="connsiteY11" fmla="*/ 733530 h 964779"/>
              <a:gd name="connsiteX12" fmla="*/ 361741 w 844062"/>
              <a:gd name="connsiteY12" fmla="*/ 773723 h 964779"/>
              <a:gd name="connsiteX13" fmla="*/ 411983 w 844062"/>
              <a:gd name="connsiteY13" fmla="*/ 864158 h 964779"/>
              <a:gd name="connsiteX14" fmla="*/ 462224 w 844062"/>
              <a:gd name="connsiteY14" fmla="*/ 934497 h 964779"/>
              <a:gd name="connsiteX15" fmla="*/ 542611 w 844062"/>
              <a:gd name="connsiteY15" fmla="*/ 944545 h 964779"/>
              <a:gd name="connsiteX16" fmla="*/ 844062 w 844062"/>
              <a:gd name="connsiteY16" fmla="*/ 954594 h 964779"/>
              <a:gd name="connsiteX0" fmla="*/ 0 w 844062"/>
              <a:gd name="connsiteY0" fmla="*/ 0 h 964779"/>
              <a:gd name="connsiteX1" fmla="*/ 60290 w 844062"/>
              <a:gd name="connsiteY1" fmla="*/ 30145 h 964779"/>
              <a:gd name="connsiteX2" fmla="*/ 90435 w 844062"/>
              <a:gd name="connsiteY2" fmla="*/ 40194 h 964779"/>
              <a:gd name="connsiteX3" fmla="*/ 130629 w 844062"/>
              <a:gd name="connsiteY3" fmla="*/ 60290 h 964779"/>
              <a:gd name="connsiteX4" fmla="*/ 231112 w 844062"/>
              <a:gd name="connsiteY4" fmla="*/ 180871 h 964779"/>
              <a:gd name="connsiteX5" fmla="*/ 251209 w 844062"/>
              <a:gd name="connsiteY5" fmla="*/ 271306 h 964779"/>
              <a:gd name="connsiteX6" fmla="*/ 301451 w 844062"/>
              <a:gd name="connsiteY6" fmla="*/ 401934 h 964779"/>
              <a:gd name="connsiteX7" fmla="*/ 311499 w 844062"/>
              <a:gd name="connsiteY7" fmla="*/ 472273 h 964779"/>
              <a:gd name="connsiteX8" fmla="*/ 331596 w 844062"/>
              <a:gd name="connsiteY8" fmla="*/ 552660 h 964779"/>
              <a:gd name="connsiteX9" fmla="*/ 341644 w 844062"/>
              <a:gd name="connsiteY9" fmla="*/ 703385 h 964779"/>
              <a:gd name="connsiteX10" fmla="*/ 351693 w 844062"/>
              <a:gd name="connsiteY10" fmla="*/ 733530 h 964779"/>
              <a:gd name="connsiteX11" fmla="*/ 361741 w 844062"/>
              <a:gd name="connsiteY11" fmla="*/ 773723 h 964779"/>
              <a:gd name="connsiteX12" fmla="*/ 411983 w 844062"/>
              <a:gd name="connsiteY12" fmla="*/ 864158 h 964779"/>
              <a:gd name="connsiteX13" fmla="*/ 462224 w 844062"/>
              <a:gd name="connsiteY13" fmla="*/ 934497 h 964779"/>
              <a:gd name="connsiteX14" fmla="*/ 542611 w 844062"/>
              <a:gd name="connsiteY14" fmla="*/ 944545 h 964779"/>
              <a:gd name="connsiteX15" fmla="*/ 844062 w 844062"/>
              <a:gd name="connsiteY15" fmla="*/ 954594 h 964779"/>
              <a:gd name="connsiteX0" fmla="*/ 0 w 844062"/>
              <a:gd name="connsiteY0" fmla="*/ 0 h 964779"/>
              <a:gd name="connsiteX1" fmla="*/ 60290 w 844062"/>
              <a:gd name="connsiteY1" fmla="*/ 30145 h 964779"/>
              <a:gd name="connsiteX2" fmla="*/ 90435 w 844062"/>
              <a:gd name="connsiteY2" fmla="*/ 40194 h 964779"/>
              <a:gd name="connsiteX3" fmla="*/ 130629 w 844062"/>
              <a:gd name="connsiteY3" fmla="*/ 60290 h 964779"/>
              <a:gd name="connsiteX4" fmla="*/ 269212 w 844062"/>
              <a:gd name="connsiteY4" fmla="*/ 142771 h 964779"/>
              <a:gd name="connsiteX5" fmla="*/ 251209 w 844062"/>
              <a:gd name="connsiteY5" fmla="*/ 271306 h 964779"/>
              <a:gd name="connsiteX6" fmla="*/ 301451 w 844062"/>
              <a:gd name="connsiteY6" fmla="*/ 401934 h 964779"/>
              <a:gd name="connsiteX7" fmla="*/ 311499 w 844062"/>
              <a:gd name="connsiteY7" fmla="*/ 472273 h 964779"/>
              <a:gd name="connsiteX8" fmla="*/ 331596 w 844062"/>
              <a:gd name="connsiteY8" fmla="*/ 552660 h 964779"/>
              <a:gd name="connsiteX9" fmla="*/ 341644 w 844062"/>
              <a:gd name="connsiteY9" fmla="*/ 703385 h 964779"/>
              <a:gd name="connsiteX10" fmla="*/ 351693 w 844062"/>
              <a:gd name="connsiteY10" fmla="*/ 733530 h 964779"/>
              <a:gd name="connsiteX11" fmla="*/ 361741 w 844062"/>
              <a:gd name="connsiteY11" fmla="*/ 773723 h 964779"/>
              <a:gd name="connsiteX12" fmla="*/ 411983 w 844062"/>
              <a:gd name="connsiteY12" fmla="*/ 864158 h 964779"/>
              <a:gd name="connsiteX13" fmla="*/ 462224 w 844062"/>
              <a:gd name="connsiteY13" fmla="*/ 934497 h 964779"/>
              <a:gd name="connsiteX14" fmla="*/ 542611 w 844062"/>
              <a:gd name="connsiteY14" fmla="*/ 944545 h 964779"/>
              <a:gd name="connsiteX15" fmla="*/ 844062 w 844062"/>
              <a:gd name="connsiteY15" fmla="*/ 954594 h 964779"/>
              <a:gd name="connsiteX0" fmla="*/ 0 w 844062"/>
              <a:gd name="connsiteY0" fmla="*/ 0 h 964779"/>
              <a:gd name="connsiteX1" fmla="*/ 60290 w 844062"/>
              <a:gd name="connsiteY1" fmla="*/ 30145 h 964779"/>
              <a:gd name="connsiteX2" fmla="*/ 90435 w 844062"/>
              <a:gd name="connsiteY2" fmla="*/ 40194 h 964779"/>
              <a:gd name="connsiteX3" fmla="*/ 130629 w 844062"/>
              <a:gd name="connsiteY3" fmla="*/ 60290 h 964779"/>
              <a:gd name="connsiteX4" fmla="*/ 269212 w 844062"/>
              <a:gd name="connsiteY4" fmla="*/ 142771 h 964779"/>
              <a:gd name="connsiteX5" fmla="*/ 301451 w 844062"/>
              <a:gd name="connsiteY5" fmla="*/ 401934 h 964779"/>
              <a:gd name="connsiteX6" fmla="*/ 311499 w 844062"/>
              <a:gd name="connsiteY6" fmla="*/ 472273 h 964779"/>
              <a:gd name="connsiteX7" fmla="*/ 331596 w 844062"/>
              <a:gd name="connsiteY7" fmla="*/ 552660 h 964779"/>
              <a:gd name="connsiteX8" fmla="*/ 341644 w 844062"/>
              <a:gd name="connsiteY8" fmla="*/ 703385 h 964779"/>
              <a:gd name="connsiteX9" fmla="*/ 351693 w 844062"/>
              <a:gd name="connsiteY9" fmla="*/ 733530 h 964779"/>
              <a:gd name="connsiteX10" fmla="*/ 361741 w 844062"/>
              <a:gd name="connsiteY10" fmla="*/ 773723 h 964779"/>
              <a:gd name="connsiteX11" fmla="*/ 411983 w 844062"/>
              <a:gd name="connsiteY11" fmla="*/ 864158 h 964779"/>
              <a:gd name="connsiteX12" fmla="*/ 462224 w 844062"/>
              <a:gd name="connsiteY12" fmla="*/ 934497 h 964779"/>
              <a:gd name="connsiteX13" fmla="*/ 542611 w 844062"/>
              <a:gd name="connsiteY13" fmla="*/ 944545 h 964779"/>
              <a:gd name="connsiteX14" fmla="*/ 844062 w 844062"/>
              <a:gd name="connsiteY14" fmla="*/ 954594 h 964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44062" h="964779">
                <a:moveTo>
                  <a:pt x="0" y="0"/>
                </a:moveTo>
                <a:cubicBezTo>
                  <a:pt x="20097" y="10048"/>
                  <a:pt x="39758" y="21019"/>
                  <a:pt x="60290" y="30145"/>
                </a:cubicBezTo>
                <a:cubicBezTo>
                  <a:pt x="69969" y="34447"/>
                  <a:pt x="80699" y="36022"/>
                  <a:pt x="90435" y="40194"/>
                </a:cubicBezTo>
                <a:cubicBezTo>
                  <a:pt x="104203" y="46095"/>
                  <a:pt x="117231" y="53591"/>
                  <a:pt x="130629" y="60290"/>
                </a:cubicBezTo>
                <a:cubicBezTo>
                  <a:pt x="154075" y="83736"/>
                  <a:pt x="249115" y="107602"/>
                  <a:pt x="269212" y="142771"/>
                </a:cubicBezTo>
                <a:cubicBezTo>
                  <a:pt x="297682" y="199712"/>
                  <a:pt x="294403" y="347017"/>
                  <a:pt x="301451" y="401934"/>
                </a:cubicBezTo>
                <a:cubicBezTo>
                  <a:pt x="304800" y="425380"/>
                  <a:pt x="306854" y="449049"/>
                  <a:pt x="311499" y="472273"/>
                </a:cubicBezTo>
                <a:cubicBezTo>
                  <a:pt x="316916" y="499357"/>
                  <a:pt x="328024" y="525272"/>
                  <a:pt x="331596" y="552660"/>
                </a:cubicBezTo>
                <a:cubicBezTo>
                  <a:pt x="338109" y="602590"/>
                  <a:pt x="336083" y="653340"/>
                  <a:pt x="341644" y="703385"/>
                </a:cubicBezTo>
                <a:cubicBezTo>
                  <a:pt x="342814" y="713912"/>
                  <a:pt x="348783" y="723346"/>
                  <a:pt x="351693" y="733530"/>
                </a:cubicBezTo>
                <a:cubicBezTo>
                  <a:pt x="355487" y="746809"/>
                  <a:pt x="356892" y="760792"/>
                  <a:pt x="361741" y="773723"/>
                </a:cubicBezTo>
                <a:cubicBezTo>
                  <a:pt x="372862" y="803378"/>
                  <a:pt x="397222" y="837588"/>
                  <a:pt x="411983" y="864158"/>
                </a:cubicBezTo>
                <a:cubicBezTo>
                  <a:pt x="423094" y="884158"/>
                  <a:pt x="436040" y="924975"/>
                  <a:pt x="462224" y="934497"/>
                </a:cubicBezTo>
                <a:cubicBezTo>
                  <a:pt x="487602" y="943725"/>
                  <a:pt x="515815" y="941196"/>
                  <a:pt x="542611" y="944545"/>
                </a:cubicBezTo>
                <a:cubicBezTo>
                  <a:pt x="658550" y="983194"/>
                  <a:pt x="562164" y="954594"/>
                  <a:pt x="844062" y="954594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69" name="Freeform: Shape 168">
            <a:extLst>
              <a:ext uri="{FF2B5EF4-FFF2-40B4-BE49-F238E27FC236}">
                <a16:creationId xmlns:a16="http://schemas.microsoft.com/office/drawing/2014/main" id="{6B38FA14-A85D-FF1C-79AF-8C598FE3CA7F}"/>
              </a:ext>
            </a:extLst>
          </p:cNvPr>
          <p:cNvSpPr/>
          <p:nvPr/>
        </p:nvSpPr>
        <p:spPr>
          <a:xfrm>
            <a:off x="2580929" y="4364210"/>
            <a:ext cx="1650951" cy="45719"/>
          </a:xfrm>
          <a:custGeom>
            <a:avLst/>
            <a:gdLst>
              <a:gd name="connsiteX0" fmla="*/ 0 w 844061"/>
              <a:gd name="connsiteY0" fmla="*/ 0 h 20097"/>
              <a:gd name="connsiteX1" fmla="*/ 301450 w 844061"/>
              <a:gd name="connsiteY1" fmla="*/ 10049 h 20097"/>
              <a:gd name="connsiteX2" fmla="*/ 331595 w 844061"/>
              <a:gd name="connsiteY2" fmla="*/ 20097 h 20097"/>
              <a:gd name="connsiteX3" fmla="*/ 844061 w 844061"/>
              <a:gd name="connsiteY3" fmla="*/ 10049 h 20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4061" h="20097">
                <a:moveTo>
                  <a:pt x="0" y="0"/>
                </a:moveTo>
                <a:cubicBezTo>
                  <a:pt x="100483" y="3350"/>
                  <a:pt x="201095" y="3967"/>
                  <a:pt x="301450" y="10049"/>
                </a:cubicBezTo>
                <a:cubicBezTo>
                  <a:pt x="312022" y="10690"/>
                  <a:pt x="321003" y="20097"/>
                  <a:pt x="331595" y="20097"/>
                </a:cubicBezTo>
                <a:cubicBezTo>
                  <a:pt x="502450" y="20097"/>
                  <a:pt x="673206" y="10049"/>
                  <a:pt x="844061" y="10049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70" name="Freeform: Shape 169">
            <a:extLst>
              <a:ext uri="{FF2B5EF4-FFF2-40B4-BE49-F238E27FC236}">
                <a16:creationId xmlns:a16="http://schemas.microsoft.com/office/drawing/2014/main" id="{77149023-FC6D-A496-477B-C92940DF76A1}"/>
              </a:ext>
            </a:extLst>
          </p:cNvPr>
          <p:cNvSpPr/>
          <p:nvPr/>
        </p:nvSpPr>
        <p:spPr>
          <a:xfrm rot="645858">
            <a:off x="4301441" y="4309535"/>
            <a:ext cx="91326" cy="160700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71" name="Freeform: Shape 170">
            <a:extLst>
              <a:ext uri="{FF2B5EF4-FFF2-40B4-BE49-F238E27FC236}">
                <a16:creationId xmlns:a16="http://schemas.microsoft.com/office/drawing/2014/main" id="{F096F53C-9E76-3757-A8D7-3DD24398B7B7}"/>
              </a:ext>
            </a:extLst>
          </p:cNvPr>
          <p:cNvSpPr/>
          <p:nvPr/>
        </p:nvSpPr>
        <p:spPr>
          <a:xfrm rot="645858">
            <a:off x="4291844" y="4036931"/>
            <a:ext cx="91326" cy="160700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72" name="Freeform: Shape 171">
            <a:extLst>
              <a:ext uri="{FF2B5EF4-FFF2-40B4-BE49-F238E27FC236}">
                <a16:creationId xmlns:a16="http://schemas.microsoft.com/office/drawing/2014/main" id="{D9D0140D-324F-555F-F773-A82B3F7AAE72}"/>
              </a:ext>
            </a:extLst>
          </p:cNvPr>
          <p:cNvSpPr/>
          <p:nvPr/>
        </p:nvSpPr>
        <p:spPr>
          <a:xfrm rot="645858">
            <a:off x="4301338" y="4577273"/>
            <a:ext cx="91326" cy="160700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accent1">
                <a:lumMod val="90000"/>
                <a:lumOff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DCDF4F9-2C26-03CC-4175-AB69971A1F32}"/>
              </a:ext>
            </a:extLst>
          </p:cNvPr>
          <p:cNvSpPr/>
          <p:nvPr/>
        </p:nvSpPr>
        <p:spPr>
          <a:xfrm>
            <a:off x="4519812" y="3420826"/>
            <a:ext cx="1967739" cy="272012"/>
          </a:xfrm>
          <a:custGeom>
            <a:avLst/>
            <a:gdLst>
              <a:gd name="connsiteX0" fmla="*/ 0 w 2889264"/>
              <a:gd name="connsiteY0" fmla="*/ 720725 h 733425"/>
              <a:gd name="connsiteX1" fmla="*/ 15875 w 2889264"/>
              <a:gd name="connsiteY1" fmla="*/ 711200 h 733425"/>
              <a:gd name="connsiteX2" fmla="*/ 34925 w 2889264"/>
              <a:gd name="connsiteY2" fmla="*/ 698500 h 733425"/>
              <a:gd name="connsiteX3" fmla="*/ 50800 w 2889264"/>
              <a:gd name="connsiteY3" fmla="*/ 695325 h 733425"/>
              <a:gd name="connsiteX4" fmla="*/ 63500 w 2889264"/>
              <a:gd name="connsiteY4" fmla="*/ 685800 h 733425"/>
              <a:gd name="connsiteX5" fmla="*/ 82550 w 2889264"/>
              <a:gd name="connsiteY5" fmla="*/ 679450 h 733425"/>
              <a:gd name="connsiteX6" fmla="*/ 111125 w 2889264"/>
              <a:gd name="connsiteY6" fmla="*/ 657225 h 733425"/>
              <a:gd name="connsiteX7" fmla="*/ 127000 w 2889264"/>
              <a:gd name="connsiteY7" fmla="*/ 647700 h 733425"/>
              <a:gd name="connsiteX8" fmla="*/ 136525 w 2889264"/>
              <a:gd name="connsiteY8" fmla="*/ 641350 h 733425"/>
              <a:gd name="connsiteX9" fmla="*/ 146050 w 2889264"/>
              <a:gd name="connsiteY9" fmla="*/ 638175 h 733425"/>
              <a:gd name="connsiteX10" fmla="*/ 171450 w 2889264"/>
              <a:gd name="connsiteY10" fmla="*/ 628650 h 733425"/>
              <a:gd name="connsiteX11" fmla="*/ 203200 w 2889264"/>
              <a:gd name="connsiteY11" fmla="*/ 609600 h 733425"/>
              <a:gd name="connsiteX12" fmla="*/ 222250 w 2889264"/>
              <a:gd name="connsiteY12" fmla="*/ 603250 h 733425"/>
              <a:gd name="connsiteX13" fmla="*/ 247650 w 2889264"/>
              <a:gd name="connsiteY13" fmla="*/ 593725 h 733425"/>
              <a:gd name="connsiteX14" fmla="*/ 260350 w 2889264"/>
              <a:gd name="connsiteY14" fmla="*/ 587375 h 733425"/>
              <a:gd name="connsiteX15" fmla="*/ 285750 w 2889264"/>
              <a:gd name="connsiteY15" fmla="*/ 581025 h 733425"/>
              <a:gd name="connsiteX16" fmla="*/ 317500 w 2889264"/>
              <a:gd name="connsiteY16" fmla="*/ 571500 h 733425"/>
              <a:gd name="connsiteX17" fmla="*/ 352425 w 2889264"/>
              <a:gd name="connsiteY17" fmla="*/ 555625 h 733425"/>
              <a:gd name="connsiteX18" fmla="*/ 381000 w 2889264"/>
              <a:gd name="connsiteY18" fmla="*/ 539750 h 733425"/>
              <a:gd name="connsiteX19" fmla="*/ 390525 w 2889264"/>
              <a:gd name="connsiteY19" fmla="*/ 536575 h 733425"/>
              <a:gd name="connsiteX20" fmla="*/ 406400 w 2889264"/>
              <a:gd name="connsiteY20" fmla="*/ 530225 h 733425"/>
              <a:gd name="connsiteX21" fmla="*/ 434975 w 2889264"/>
              <a:gd name="connsiteY21" fmla="*/ 514350 h 733425"/>
              <a:gd name="connsiteX22" fmla="*/ 454025 w 2889264"/>
              <a:gd name="connsiteY22" fmla="*/ 504825 h 733425"/>
              <a:gd name="connsiteX23" fmla="*/ 463550 w 2889264"/>
              <a:gd name="connsiteY23" fmla="*/ 498475 h 733425"/>
              <a:gd name="connsiteX24" fmla="*/ 476250 w 2889264"/>
              <a:gd name="connsiteY24" fmla="*/ 495300 h 733425"/>
              <a:gd name="connsiteX25" fmla="*/ 492125 w 2889264"/>
              <a:gd name="connsiteY25" fmla="*/ 488950 h 733425"/>
              <a:gd name="connsiteX26" fmla="*/ 501650 w 2889264"/>
              <a:gd name="connsiteY26" fmla="*/ 485775 h 733425"/>
              <a:gd name="connsiteX27" fmla="*/ 523875 w 2889264"/>
              <a:gd name="connsiteY27" fmla="*/ 469900 h 733425"/>
              <a:gd name="connsiteX28" fmla="*/ 552450 w 2889264"/>
              <a:gd name="connsiteY28" fmla="*/ 450850 h 733425"/>
              <a:gd name="connsiteX29" fmla="*/ 568325 w 2889264"/>
              <a:gd name="connsiteY29" fmla="*/ 447675 h 733425"/>
              <a:gd name="connsiteX30" fmla="*/ 584200 w 2889264"/>
              <a:gd name="connsiteY30" fmla="*/ 441325 h 733425"/>
              <a:gd name="connsiteX31" fmla="*/ 593725 w 2889264"/>
              <a:gd name="connsiteY31" fmla="*/ 438150 h 733425"/>
              <a:gd name="connsiteX32" fmla="*/ 612775 w 2889264"/>
              <a:gd name="connsiteY32" fmla="*/ 428625 h 733425"/>
              <a:gd name="connsiteX33" fmla="*/ 628650 w 2889264"/>
              <a:gd name="connsiteY33" fmla="*/ 422275 h 733425"/>
              <a:gd name="connsiteX34" fmla="*/ 641350 w 2889264"/>
              <a:gd name="connsiteY34" fmla="*/ 415925 h 733425"/>
              <a:gd name="connsiteX35" fmla="*/ 657225 w 2889264"/>
              <a:gd name="connsiteY35" fmla="*/ 406400 h 733425"/>
              <a:gd name="connsiteX36" fmla="*/ 676275 w 2889264"/>
              <a:gd name="connsiteY36" fmla="*/ 400050 h 733425"/>
              <a:gd name="connsiteX37" fmla="*/ 708025 w 2889264"/>
              <a:gd name="connsiteY37" fmla="*/ 381000 h 733425"/>
              <a:gd name="connsiteX38" fmla="*/ 736600 w 2889264"/>
              <a:gd name="connsiteY38" fmla="*/ 368300 h 733425"/>
              <a:gd name="connsiteX39" fmla="*/ 742950 w 2889264"/>
              <a:gd name="connsiteY39" fmla="*/ 358775 h 733425"/>
              <a:gd name="connsiteX40" fmla="*/ 790575 w 2889264"/>
              <a:gd name="connsiteY40" fmla="*/ 339725 h 733425"/>
              <a:gd name="connsiteX41" fmla="*/ 800100 w 2889264"/>
              <a:gd name="connsiteY41" fmla="*/ 336550 h 733425"/>
              <a:gd name="connsiteX42" fmla="*/ 812800 w 2889264"/>
              <a:gd name="connsiteY42" fmla="*/ 330200 h 733425"/>
              <a:gd name="connsiteX43" fmla="*/ 828675 w 2889264"/>
              <a:gd name="connsiteY43" fmla="*/ 327025 h 733425"/>
              <a:gd name="connsiteX44" fmla="*/ 898525 w 2889264"/>
              <a:gd name="connsiteY44" fmla="*/ 288925 h 733425"/>
              <a:gd name="connsiteX45" fmla="*/ 923925 w 2889264"/>
              <a:gd name="connsiteY45" fmla="*/ 269875 h 733425"/>
              <a:gd name="connsiteX46" fmla="*/ 933450 w 2889264"/>
              <a:gd name="connsiteY46" fmla="*/ 260350 h 733425"/>
              <a:gd name="connsiteX47" fmla="*/ 958850 w 2889264"/>
              <a:gd name="connsiteY47" fmla="*/ 247650 h 733425"/>
              <a:gd name="connsiteX48" fmla="*/ 968375 w 2889264"/>
              <a:gd name="connsiteY48" fmla="*/ 241300 h 733425"/>
              <a:gd name="connsiteX49" fmla="*/ 984250 w 2889264"/>
              <a:gd name="connsiteY49" fmla="*/ 234950 h 733425"/>
              <a:gd name="connsiteX50" fmla="*/ 1006475 w 2889264"/>
              <a:gd name="connsiteY50" fmla="*/ 225425 h 733425"/>
              <a:gd name="connsiteX51" fmla="*/ 1050925 w 2889264"/>
              <a:gd name="connsiteY51" fmla="*/ 212725 h 733425"/>
              <a:gd name="connsiteX52" fmla="*/ 1079500 w 2889264"/>
              <a:gd name="connsiteY52" fmla="*/ 200025 h 733425"/>
              <a:gd name="connsiteX53" fmla="*/ 1098550 w 2889264"/>
              <a:gd name="connsiteY53" fmla="*/ 193675 h 733425"/>
              <a:gd name="connsiteX54" fmla="*/ 1111250 w 2889264"/>
              <a:gd name="connsiteY54" fmla="*/ 187325 h 733425"/>
              <a:gd name="connsiteX55" fmla="*/ 1136650 w 2889264"/>
              <a:gd name="connsiteY55" fmla="*/ 177800 h 733425"/>
              <a:gd name="connsiteX56" fmla="*/ 1181100 w 2889264"/>
              <a:gd name="connsiteY56" fmla="*/ 152400 h 733425"/>
              <a:gd name="connsiteX57" fmla="*/ 1203325 w 2889264"/>
              <a:gd name="connsiteY57" fmla="*/ 130175 h 733425"/>
              <a:gd name="connsiteX58" fmla="*/ 1219200 w 2889264"/>
              <a:gd name="connsiteY58" fmla="*/ 117475 h 733425"/>
              <a:gd name="connsiteX59" fmla="*/ 1276350 w 2889264"/>
              <a:gd name="connsiteY59" fmla="*/ 85725 h 733425"/>
              <a:gd name="connsiteX60" fmla="*/ 1289050 w 2889264"/>
              <a:gd name="connsiteY60" fmla="*/ 79375 h 733425"/>
              <a:gd name="connsiteX61" fmla="*/ 1327150 w 2889264"/>
              <a:gd name="connsiteY61" fmla="*/ 66675 h 733425"/>
              <a:gd name="connsiteX62" fmla="*/ 1343025 w 2889264"/>
              <a:gd name="connsiteY62" fmla="*/ 57150 h 733425"/>
              <a:gd name="connsiteX63" fmla="*/ 1355725 w 2889264"/>
              <a:gd name="connsiteY63" fmla="*/ 47625 h 733425"/>
              <a:gd name="connsiteX64" fmla="*/ 1377950 w 2889264"/>
              <a:gd name="connsiteY64" fmla="*/ 38100 h 733425"/>
              <a:gd name="connsiteX65" fmla="*/ 1416050 w 2889264"/>
              <a:gd name="connsiteY65" fmla="*/ 12700 h 733425"/>
              <a:gd name="connsiteX66" fmla="*/ 1428750 w 2889264"/>
              <a:gd name="connsiteY66" fmla="*/ 0 h 733425"/>
              <a:gd name="connsiteX67" fmla="*/ 1470025 w 2889264"/>
              <a:gd name="connsiteY67" fmla="*/ 28575 h 733425"/>
              <a:gd name="connsiteX68" fmla="*/ 1504950 w 2889264"/>
              <a:gd name="connsiteY68" fmla="*/ 41275 h 733425"/>
              <a:gd name="connsiteX69" fmla="*/ 1517650 w 2889264"/>
              <a:gd name="connsiteY69" fmla="*/ 50800 h 733425"/>
              <a:gd name="connsiteX70" fmla="*/ 1549400 w 2889264"/>
              <a:gd name="connsiteY70" fmla="*/ 60325 h 733425"/>
              <a:gd name="connsiteX71" fmla="*/ 1562100 w 2889264"/>
              <a:gd name="connsiteY71" fmla="*/ 69850 h 733425"/>
              <a:gd name="connsiteX72" fmla="*/ 1574800 w 2889264"/>
              <a:gd name="connsiteY72" fmla="*/ 73025 h 733425"/>
              <a:gd name="connsiteX73" fmla="*/ 1590675 w 2889264"/>
              <a:gd name="connsiteY73" fmla="*/ 79375 h 733425"/>
              <a:gd name="connsiteX74" fmla="*/ 1600200 w 2889264"/>
              <a:gd name="connsiteY74" fmla="*/ 85725 h 733425"/>
              <a:gd name="connsiteX75" fmla="*/ 1612900 w 2889264"/>
              <a:gd name="connsiteY75" fmla="*/ 92075 h 733425"/>
              <a:gd name="connsiteX76" fmla="*/ 1625600 w 2889264"/>
              <a:gd name="connsiteY76" fmla="*/ 101600 h 733425"/>
              <a:gd name="connsiteX77" fmla="*/ 1635125 w 2889264"/>
              <a:gd name="connsiteY77" fmla="*/ 104775 h 733425"/>
              <a:gd name="connsiteX78" fmla="*/ 1654175 w 2889264"/>
              <a:gd name="connsiteY78" fmla="*/ 114300 h 733425"/>
              <a:gd name="connsiteX79" fmla="*/ 1676400 w 2889264"/>
              <a:gd name="connsiteY79" fmla="*/ 130175 h 733425"/>
              <a:gd name="connsiteX80" fmla="*/ 1689100 w 2889264"/>
              <a:gd name="connsiteY80" fmla="*/ 136525 h 733425"/>
              <a:gd name="connsiteX81" fmla="*/ 1714500 w 2889264"/>
              <a:gd name="connsiteY81" fmla="*/ 146050 h 733425"/>
              <a:gd name="connsiteX82" fmla="*/ 1727200 w 2889264"/>
              <a:gd name="connsiteY82" fmla="*/ 155575 h 733425"/>
              <a:gd name="connsiteX83" fmla="*/ 1758950 w 2889264"/>
              <a:gd name="connsiteY83" fmla="*/ 165100 h 733425"/>
              <a:gd name="connsiteX84" fmla="*/ 1768475 w 2889264"/>
              <a:gd name="connsiteY84" fmla="*/ 171450 h 733425"/>
              <a:gd name="connsiteX85" fmla="*/ 1781175 w 2889264"/>
              <a:gd name="connsiteY85" fmla="*/ 180975 h 733425"/>
              <a:gd name="connsiteX86" fmla="*/ 1793875 w 2889264"/>
              <a:gd name="connsiteY86" fmla="*/ 187325 h 733425"/>
              <a:gd name="connsiteX87" fmla="*/ 1838325 w 2889264"/>
              <a:gd name="connsiteY87" fmla="*/ 212725 h 733425"/>
              <a:gd name="connsiteX88" fmla="*/ 1847850 w 2889264"/>
              <a:gd name="connsiteY88" fmla="*/ 222250 h 733425"/>
              <a:gd name="connsiteX89" fmla="*/ 1885950 w 2889264"/>
              <a:gd name="connsiteY89" fmla="*/ 241300 h 733425"/>
              <a:gd name="connsiteX90" fmla="*/ 1901825 w 2889264"/>
              <a:gd name="connsiteY90" fmla="*/ 250825 h 733425"/>
              <a:gd name="connsiteX91" fmla="*/ 1933575 w 2889264"/>
              <a:gd name="connsiteY91" fmla="*/ 263525 h 733425"/>
              <a:gd name="connsiteX92" fmla="*/ 1962150 w 2889264"/>
              <a:gd name="connsiteY92" fmla="*/ 276225 h 733425"/>
              <a:gd name="connsiteX93" fmla="*/ 1971675 w 2889264"/>
              <a:gd name="connsiteY93" fmla="*/ 282575 h 733425"/>
              <a:gd name="connsiteX94" fmla="*/ 1987550 w 2889264"/>
              <a:gd name="connsiteY94" fmla="*/ 288925 h 733425"/>
              <a:gd name="connsiteX95" fmla="*/ 2022475 w 2889264"/>
              <a:gd name="connsiteY95" fmla="*/ 301625 h 733425"/>
              <a:gd name="connsiteX96" fmla="*/ 2047875 w 2889264"/>
              <a:gd name="connsiteY96" fmla="*/ 314325 h 733425"/>
              <a:gd name="connsiteX97" fmla="*/ 2063750 w 2889264"/>
              <a:gd name="connsiteY97" fmla="*/ 320675 h 733425"/>
              <a:gd name="connsiteX98" fmla="*/ 2082800 w 2889264"/>
              <a:gd name="connsiteY98" fmla="*/ 330200 h 733425"/>
              <a:gd name="connsiteX99" fmla="*/ 2095500 w 2889264"/>
              <a:gd name="connsiteY99" fmla="*/ 333375 h 733425"/>
              <a:gd name="connsiteX100" fmla="*/ 2124075 w 2889264"/>
              <a:gd name="connsiteY100" fmla="*/ 342900 h 733425"/>
              <a:gd name="connsiteX101" fmla="*/ 2159000 w 2889264"/>
              <a:gd name="connsiteY101" fmla="*/ 358775 h 733425"/>
              <a:gd name="connsiteX102" fmla="*/ 2187575 w 2889264"/>
              <a:gd name="connsiteY102" fmla="*/ 377825 h 733425"/>
              <a:gd name="connsiteX103" fmla="*/ 2209800 w 2889264"/>
              <a:gd name="connsiteY103" fmla="*/ 393700 h 733425"/>
              <a:gd name="connsiteX104" fmla="*/ 2247900 w 2889264"/>
              <a:gd name="connsiteY104" fmla="*/ 419100 h 733425"/>
              <a:gd name="connsiteX105" fmla="*/ 2276475 w 2889264"/>
              <a:gd name="connsiteY105" fmla="*/ 434975 h 733425"/>
              <a:gd name="connsiteX106" fmla="*/ 2289175 w 2889264"/>
              <a:gd name="connsiteY106" fmla="*/ 444500 h 733425"/>
              <a:gd name="connsiteX107" fmla="*/ 2308225 w 2889264"/>
              <a:gd name="connsiteY107" fmla="*/ 447675 h 733425"/>
              <a:gd name="connsiteX108" fmla="*/ 2333625 w 2889264"/>
              <a:gd name="connsiteY108" fmla="*/ 460375 h 733425"/>
              <a:gd name="connsiteX109" fmla="*/ 2352675 w 2889264"/>
              <a:gd name="connsiteY109" fmla="*/ 466725 h 733425"/>
              <a:gd name="connsiteX110" fmla="*/ 2397125 w 2889264"/>
              <a:gd name="connsiteY110" fmla="*/ 488950 h 733425"/>
              <a:gd name="connsiteX111" fmla="*/ 2422525 w 2889264"/>
              <a:gd name="connsiteY111" fmla="*/ 495300 h 733425"/>
              <a:gd name="connsiteX112" fmla="*/ 2432050 w 2889264"/>
              <a:gd name="connsiteY112" fmla="*/ 498475 h 733425"/>
              <a:gd name="connsiteX113" fmla="*/ 2454275 w 2889264"/>
              <a:gd name="connsiteY113" fmla="*/ 511175 h 733425"/>
              <a:gd name="connsiteX114" fmla="*/ 2470150 w 2889264"/>
              <a:gd name="connsiteY114" fmla="*/ 523875 h 733425"/>
              <a:gd name="connsiteX115" fmla="*/ 2495550 w 2889264"/>
              <a:gd name="connsiteY115" fmla="*/ 533400 h 733425"/>
              <a:gd name="connsiteX116" fmla="*/ 2546350 w 2889264"/>
              <a:gd name="connsiteY116" fmla="*/ 558800 h 733425"/>
              <a:gd name="connsiteX117" fmla="*/ 2574925 w 2889264"/>
              <a:gd name="connsiteY117" fmla="*/ 565150 h 733425"/>
              <a:gd name="connsiteX118" fmla="*/ 2600325 w 2889264"/>
              <a:gd name="connsiteY118" fmla="*/ 577850 h 733425"/>
              <a:gd name="connsiteX119" fmla="*/ 2616200 w 2889264"/>
              <a:gd name="connsiteY119" fmla="*/ 581025 h 733425"/>
              <a:gd name="connsiteX120" fmla="*/ 2638425 w 2889264"/>
              <a:gd name="connsiteY120" fmla="*/ 587375 h 733425"/>
              <a:gd name="connsiteX121" fmla="*/ 2654300 w 2889264"/>
              <a:gd name="connsiteY121" fmla="*/ 596900 h 733425"/>
              <a:gd name="connsiteX122" fmla="*/ 2673350 w 2889264"/>
              <a:gd name="connsiteY122" fmla="*/ 603250 h 733425"/>
              <a:gd name="connsiteX123" fmla="*/ 2708275 w 2889264"/>
              <a:gd name="connsiteY123" fmla="*/ 625475 h 733425"/>
              <a:gd name="connsiteX124" fmla="*/ 2730500 w 2889264"/>
              <a:gd name="connsiteY124" fmla="*/ 635000 h 733425"/>
              <a:gd name="connsiteX125" fmla="*/ 2749550 w 2889264"/>
              <a:gd name="connsiteY125" fmla="*/ 650875 h 733425"/>
              <a:gd name="connsiteX126" fmla="*/ 2774950 w 2889264"/>
              <a:gd name="connsiteY126" fmla="*/ 663575 h 733425"/>
              <a:gd name="connsiteX127" fmla="*/ 2803525 w 2889264"/>
              <a:gd name="connsiteY127" fmla="*/ 676275 h 733425"/>
              <a:gd name="connsiteX128" fmla="*/ 2816225 w 2889264"/>
              <a:gd name="connsiteY128" fmla="*/ 685800 h 733425"/>
              <a:gd name="connsiteX129" fmla="*/ 2832100 w 2889264"/>
              <a:gd name="connsiteY129" fmla="*/ 692150 h 733425"/>
              <a:gd name="connsiteX130" fmla="*/ 2876550 w 2889264"/>
              <a:gd name="connsiteY130" fmla="*/ 723900 h 733425"/>
              <a:gd name="connsiteX131" fmla="*/ 2889250 w 2889264"/>
              <a:gd name="connsiteY131" fmla="*/ 733425 h 733425"/>
              <a:gd name="connsiteX0" fmla="*/ 0 w 2889264"/>
              <a:gd name="connsiteY0" fmla="*/ 720725 h 733425"/>
              <a:gd name="connsiteX1" fmla="*/ 15875 w 2889264"/>
              <a:gd name="connsiteY1" fmla="*/ 711200 h 733425"/>
              <a:gd name="connsiteX2" fmla="*/ 34925 w 2889264"/>
              <a:gd name="connsiteY2" fmla="*/ 698500 h 733425"/>
              <a:gd name="connsiteX3" fmla="*/ 50800 w 2889264"/>
              <a:gd name="connsiteY3" fmla="*/ 695325 h 733425"/>
              <a:gd name="connsiteX4" fmla="*/ 63500 w 2889264"/>
              <a:gd name="connsiteY4" fmla="*/ 685800 h 733425"/>
              <a:gd name="connsiteX5" fmla="*/ 111125 w 2889264"/>
              <a:gd name="connsiteY5" fmla="*/ 657225 h 733425"/>
              <a:gd name="connsiteX6" fmla="*/ 127000 w 2889264"/>
              <a:gd name="connsiteY6" fmla="*/ 647700 h 733425"/>
              <a:gd name="connsiteX7" fmla="*/ 136525 w 2889264"/>
              <a:gd name="connsiteY7" fmla="*/ 641350 h 733425"/>
              <a:gd name="connsiteX8" fmla="*/ 146050 w 2889264"/>
              <a:gd name="connsiteY8" fmla="*/ 638175 h 733425"/>
              <a:gd name="connsiteX9" fmla="*/ 171450 w 2889264"/>
              <a:gd name="connsiteY9" fmla="*/ 628650 h 733425"/>
              <a:gd name="connsiteX10" fmla="*/ 203200 w 2889264"/>
              <a:gd name="connsiteY10" fmla="*/ 609600 h 733425"/>
              <a:gd name="connsiteX11" fmla="*/ 222250 w 2889264"/>
              <a:gd name="connsiteY11" fmla="*/ 603250 h 733425"/>
              <a:gd name="connsiteX12" fmla="*/ 247650 w 2889264"/>
              <a:gd name="connsiteY12" fmla="*/ 593725 h 733425"/>
              <a:gd name="connsiteX13" fmla="*/ 260350 w 2889264"/>
              <a:gd name="connsiteY13" fmla="*/ 587375 h 733425"/>
              <a:gd name="connsiteX14" fmla="*/ 285750 w 2889264"/>
              <a:gd name="connsiteY14" fmla="*/ 581025 h 733425"/>
              <a:gd name="connsiteX15" fmla="*/ 317500 w 2889264"/>
              <a:gd name="connsiteY15" fmla="*/ 571500 h 733425"/>
              <a:gd name="connsiteX16" fmla="*/ 352425 w 2889264"/>
              <a:gd name="connsiteY16" fmla="*/ 555625 h 733425"/>
              <a:gd name="connsiteX17" fmla="*/ 381000 w 2889264"/>
              <a:gd name="connsiteY17" fmla="*/ 539750 h 733425"/>
              <a:gd name="connsiteX18" fmla="*/ 390525 w 2889264"/>
              <a:gd name="connsiteY18" fmla="*/ 536575 h 733425"/>
              <a:gd name="connsiteX19" fmla="*/ 406400 w 2889264"/>
              <a:gd name="connsiteY19" fmla="*/ 530225 h 733425"/>
              <a:gd name="connsiteX20" fmla="*/ 434975 w 2889264"/>
              <a:gd name="connsiteY20" fmla="*/ 514350 h 733425"/>
              <a:gd name="connsiteX21" fmla="*/ 454025 w 2889264"/>
              <a:gd name="connsiteY21" fmla="*/ 504825 h 733425"/>
              <a:gd name="connsiteX22" fmla="*/ 463550 w 2889264"/>
              <a:gd name="connsiteY22" fmla="*/ 498475 h 733425"/>
              <a:gd name="connsiteX23" fmla="*/ 476250 w 2889264"/>
              <a:gd name="connsiteY23" fmla="*/ 495300 h 733425"/>
              <a:gd name="connsiteX24" fmla="*/ 492125 w 2889264"/>
              <a:gd name="connsiteY24" fmla="*/ 488950 h 733425"/>
              <a:gd name="connsiteX25" fmla="*/ 501650 w 2889264"/>
              <a:gd name="connsiteY25" fmla="*/ 485775 h 733425"/>
              <a:gd name="connsiteX26" fmla="*/ 523875 w 2889264"/>
              <a:gd name="connsiteY26" fmla="*/ 469900 h 733425"/>
              <a:gd name="connsiteX27" fmla="*/ 552450 w 2889264"/>
              <a:gd name="connsiteY27" fmla="*/ 450850 h 733425"/>
              <a:gd name="connsiteX28" fmla="*/ 568325 w 2889264"/>
              <a:gd name="connsiteY28" fmla="*/ 447675 h 733425"/>
              <a:gd name="connsiteX29" fmla="*/ 584200 w 2889264"/>
              <a:gd name="connsiteY29" fmla="*/ 441325 h 733425"/>
              <a:gd name="connsiteX30" fmla="*/ 593725 w 2889264"/>
              <a:gd name="connsiteY30" fmla="*/ 438150 h 733425"/>
              <a:gd name="connsiteX31" fmla="*/ 612775 w 2889264"/>
              <a:gd name="connsiteY31" fmla="*/ 428625 h 733425"/>
              <a:gd name="connsiteX32" fmla="*/ 628650 w 2889264"/>
              <a:gd name="connsiteY32" fmla="*/ 422275 h 733425"/>
              <a:gd name="connsiteX33" fmla="*/ 641350 w 2889264"/>
              <a:gd name="connsiteY33" fmla="*/ 415925 h 733425"/>
              <a:gd name="connsiteX34" fmla="*/ 657225 w 2889264"/>
              <a:gd name="connsiteY34" fmla="*/ 406400 h 733425"/>
              <a:gd name="connsiteX35" fmla="*/ 676275 w 2889264"/>
              <a:gd name="connsiteY35" fmla="*/ 400050 h 733425"/>
              <a:gd name="connsiteX36" fmla="*/ 708025 w 2889264"/>
              <a:gd name="connsiteY36" fmla="*/ 381000 h 733425"/>
              <a:gd name="connsiteX37" fmla="*/ 736600 w 2889264"/>
              <a:gd name="connsiteY37" fmla="*/ 368300 h 733425"/>
              <a:gd name="connsiteX38" fmla="*/ 742950 w 2889264"/>
              <a:gd name="connsiteY38" fmla="*/ 358775 h 733425"/>
              <a:gd name="connsiteX39" fmla="*/ 790575 w 2889264"/>
              <a:gd name="connsiteY39" fmla="*/ 339725 h 733425"/>
              <a:gd name="connsiteX40" fmla="*/ 800100 w 2889264"/>
              <a:gd name="connsiteY40" fmla="*/ 336550 h 733425"/>
              <a:gd name="connsiteX41" fmla="*/ 812800 w 2889264"/>
              <a:gd name="connsiteY41" fmla="*/ 330200 h 733425"/>
              <a:gd name="connsiteX42" fmla="*/ 828675 w 2889264"/>
              <a:gd name="connsiteY42" fmla="*/ 327025 h 733425"/>
              <a:gd name="connsiteX43" fmla="*/ 898525 w 2889264"/>
              <a:gd name="connsiteY43" fmla="*/ 288925 h 733425"/>
              <a:gd name="connsiteX44" fmla="*/ 923925 w 2889264"/>
              <a:gd name="connsiteY44" fmla="*/ 269875 h 733425"/>
              <a:gd name="connsiteX45" fmla="*/ 933450 w 2889264"/>
              <a:gd name="connsiteY45" fmla="*/ 260350 h 733425"/>
              <a:gd name="connsiteX46" fmla="*/ 958850 w 2889264"/>
              <a:gd name="connsiteY46" fmla="*/ 247650 h 733425"/>
              <a:gd name="connsiteX47" fmla="*/ 968375 w 2889264"/>
              <a:gd name="connsiteY47" fmla="*/ 241300 h 733425"/>
              <a:gd name="connsiteX48" fmla="*/ 984250 w 2889264"/>
              <a:gd name="connsiteY48" fmla="*/ 234950 h 733425"/>
              <a:gd name="connsiteX49" fmla="*/ 1006475 w 2889264"/>
              <a:gd name="connsiteY49" fmla="*/ 225425 h 733425"/>
              <a:gd name="connsiteX50" fmla="*/ 1050925 w 2889264"/>
              <a:gd name="connsiteY50" fmla="*/ 212725 h 733425"/>
              <a:gd name="connsiteX51" fmla="*/ 1079500 w 2889264"/>
              <a:gd name="connsiteY51" fmla="*/ 200025 h 733425"/>
              <a:gd name="connsiteX52" fmla="*/ 1098550 w 2889264"/>
              <a:gd name="connsiteY52" fmla="*/ 193675 h 733425"/>
              <a:gd name="connsiteX53" fmla="*/ 1111250 w 2889264"/>
              <a:gd name="connsiteY53" fmla="*/ 187325 h 733425"/>
              <a:gd name="connsiteX54" fmla="*/ 1136650 w 2889264"/>
              <a:gd name="connsiteY54" fmla="*/ 177800 h 733425"/>
              <a:gd name="connsiteX55" fmla="*/ 1181100 w 2889264"/>
              <a:gd name="connsiteY55" fmla="*/ 152400 h 733425"/>
              <a:gd name="connsiteX56" fmla="*/ 1203325 w 2889264"/>
              <a:gd name="connsiteY56" fmla="*/ 130175 h 733425"/>
              <a:gd name="connsiteX57" fmla="*/ 1219200 w 2889264"/>
              <a:gd name="connsiteY57" fmla="*/ 117475 h 733425"/>
              <a:gd name="connsiteX58" fmla="*/ 1276350 w 2889264"/>
              <a:gd name="connsiteY58" fmla="*/ 85725 h 733425"/>
              <a:gd name="connsiteX59" fmla="*/ 1289050 w 2889264"/>
              <a:gd name="connsiteY59" fmla="*/ 79375 h 733425"/>
              <a:gd name="connsiteX60" fmla="*/ 1327150 w 2889264"/>
              <a:gd name="connsiteY60" fmla="*/ 66675 h 733425"/>
              <a:gd name="connsiteX61" fmla="*/ 1343025 w 2889264"/>
              <a:gd name="connsiteY61" fmla="*/ 57150 h 733425"/>
              <a:gd name="connsiteX62" fmla="*/ 1355725 w 2889264"/>
              <a:gd name="connsiteY62" fmla="*/ 47625 h 733425"/>
              <a:gd name="connsiteX63" fmla="*/ 1377950 w 2889264"/>
              <a:gd name="connsiteY63" fmla="*/ 38100 h 733425"/>
              <a:gd name="connsiteX64" fmla="*/ 1416050 w 2889264"/>
              <a:gd name="connsiteY64" fmla="*/ 12700 h 733425"/>
              <a:gd name="connsiteX65" fmla="*/ 1428750 w 2889264"/>
              <a:gd name="connsiteY65" fmla="*/ 0 h 733425"/>
              <a:gd name="connsiteX66" fmla="*/ 1470025 w 2889264"/>
              <a:gd name="connsiteY66" fmla="*/ 28575 h 733425"/>
              <a:gd name="connsiteX67" fmla="*/ 1504950 w 2889264"/>
              <a:gd name="connsiteY67" fmla="*/ 41275 h 733425"/>
              <a:gd name="connsiteX68" fmla="*/ 1517650 w 2889264"/>
              <a:gd name="connsiteY68" fmla="*/ 50800 h 733425"/>
              <a:gd name="connsiteX69" fmla="*/ 1549400 w 2889264"/>
              <a:gd name="connsiteY69" fmla="*/ 60325 h 733425"/>
              <a:gd name="connsiteX70" fmla="*/ 1562100 w 2889264"/>
              <a:gd name="connsiteY70" fmla="*/ 69850 h 733425"/>
              <a:gd name="connsiteX71" fmla="*/ 1574800 w 2889264"/>
              <a:gd name="connsiteY71" fmla="*/ 73025 h 733425"/>
              <a:gd name="connsiteX72" fmla="*/ 1590675 w 2889264"/>
              <a:gd name="connsiteY72" fmla="*/ 79375 h 733425"/>
              <a:gd name="connsiteX73" fmla="*/ 1600200 w 2889264"/>
              <a:gd name="connsiteY73" fmla="*/ 85725 h 733425"/>
              <a:gd name="connsiteX74" fmla="*/ 1612900 w 2889264"/>
              <a:gd name="connsiteY74" fmla="*/ 92075 h 733425"/>
              <a:gd name="connsiteX75" fmla="*/ 1625600 w 2889264"/>
              <a:gd name="connsiteY75" fmla="*/ 101600 h 733425"/>
              <a:gd name="connsiteX76" fmla="*/ 1635125 w 2889264"/>
              <a:gd name="connsiteY76" fmla="*/ 104775 h 733425"/>
              <a:gd name="connsiteX77" fmla="*/ 1654175 w 2889264"/>
              <a:gd name="connsiteY77" fmla="*/ 114300 h 733425"/>
              <a:gd name="connsiteX78" fmla="*/ 1676400 w 2889264"/>
              <a:gd name="connsiteY78" fmla="*/ 130175 h 733425"/>
              <a:gd name="connsiteX79" fmla="*/ 1689100 w 2889264"/>
              <a:gd name="connsiteY79" fmla="*/ 136525 h 733425"/>
              <a:gd name="connsiteX80" fmla="*/ 1714500 w 2889264"/>
              <a:gd name="connsiteY80" fmla="*/ 146050 h 733425"/>
              <a:gd name="connsiteX81" fmla="*/ 1727200 w 2889264"/>
              <a:gd name="connsiteY81" fmla="*/ 155575 h 733425"/>
              <a:gd name="connsiteX82" fmla="*/ 1758950 w 2889264"/>
              <a:gd name="connsiteY82" fmla="*/ 165100 h 733425"/>
              <a:gd name="connsiteX83" fmla="*/ 1768475 w 2889264"/>
              <a:gd name="connsiteY83" fmla="*/ 171450 h 733425"/>
              <a:gd name="connsiteX84" fmla="*/ 1781175 w 2889264"/>
              <a:gd name="connsiteY84" fmla="*/ 180975 h 733425"/>
              <a:gd name="connsiteX85" fmla="*/ 1793875 w 2889264"/>
              <a:gd name="connsiteY85" fmla="*/ 187325 h 733425"/>
              <a:gd name="connsiteX86" fmla="*/ 1838325 w 2889264"/>
              <a:gd name="connsiteY86" fmla="*/ 212725 h 733425"/>
              <a:gd name="connsiteX87" fmla="*/ 1847850 w 2889264"/>
              <a:gd name="connsiteY87" fmla="*/ 222250 h 733425"/>
              <a:gd name="connsiteX88" fmla="*/ 1885950 w 2889264"/>
              <a:gd name="connsiteY88" fmla="*/ 241300 h 733425"/>
              <a:gd name="connsiteX89" fmla="*/ 1901825 w 2889264"/>
              <a:gd name="connsiteY89" fmla="*/ 250825 h 733425"/>
              <a:gd name="connsiteX90" fmla="*/ 1933575 w 2889264"/>
              <a:gd name="connsiteY90" fmla="*/ 263525 h 733425"/>
              <a:gd name="connsiteX91" fmla="*/ 1962150 w 2889264"/>
              <a:gd name="connsiteY91" fmla="*/ 276225 h 733425"/>
              <a:gd name="connsiteX92" fmla="*/ 1971675 w 2889264"/>
              <a:gd name="connsiteY92" fmla="*/ 282575 h 733425"/>
              <a:gd name="connsiteX93" fmla="*/ 1987550 w 2889264"/>
              <a:gd name="connsiteY93" fmla="*/ 288925 h 733425"/>
              <a:gd name="connsiteX94" fmla="*/ 2022475 w 2889264"/>
              <a:gd name="connsiteY94" fmla="*/ 301625 h 733425"/>
              <a:gd name="connsiteX95" fmla="*/ 2047875 w 2889264"/>
              <a:gd name="connsiteY95" fmla="*/ 314325 h 733425"/>
              <a:gd name="connsiteX96" fmla="*/ 2063750 w 2889264"/>
              <a:gd name="connsiteY96" fmla="*/ 320675 h 733425"/>
              <a:gd name="connsiteX97" fmla="*/ 2082800 w 2889264"/>
              <a:gd name="connsiteY97" fmla="*/ 330200 h 733425"/>
              <a:gd name="connsiteX98" fmla="*/ 2095500 w 2889264"/>
              <a:gd name="connsiteY98" fmla="*/ 333375 h 733425"/>
              <a:gd name="connsiteX99" fmla="*/ 2124075 w 2889264"/>
              <a:gd name="connsiteY99" fmla="*/ 342900 h 733425"/>
              <a:gd name="connsiteX100" fmla="*/ 2159000 w 2889264"/>
              <a:gd name="connsiteY100" fmla="*/ 358775 h 733425"/>
              <a:gd name="connsiteX101" fmla="*/ 2187575 w 2889264"/>
              <a:gd name="connsiteY101" fmla="*/ 377825 h 733425"/>
              <a:gd name="connsiteX102" fmla="*/ 2209800 w 2889264"/>
              <a:gd name="connsiteY102" fmla="*/ 393700 h 733425"/>
              <a:gd name="connsiteX103" fmla="*/ 2247900 w 2889264"/>
              <a:gd name="connsiteY103" fmla="*/ 419100 h 733425"/>
              <a:gd name="connsiteX104" fmla="*/ 2276475 w 2889264"/>
              <a:gd name="connsiteY104" fmla="*/ 434975 h 733425"/>
              <a:gd name="connsiteX105" fmla="*/ 2289175 w 2889264"/>
              <a:gd name="connsiteY105" fmla="*/ 444500 h 733425"/>
              <a:gd name="connsiteX106" fmla="*/ 2308225 w 2889264"/>
              <a:gd name="connsiteY106" fmla="*/ 447675 h 733425"/>
              <a:gd name="connsiteX107" fmla="*/ 2333625 w 2889264"/>
              <a:gd name="connsiteY107" fmla="*/ 460375 h 733425"/>
              <a:gd name="connsiteX108" fmla="*/ 2352675 w 2889264"/>
              <a:gd name="connsiteY108" fmla="*/ 466725 h 733425"/>
              <a:gd name="connsiteX109" fmla="*/ 2397125 w 2889264"/>
              <a:gd name="connsiteY109" fmla="*/ 488950 h 733425"/>
              <a:gd name="connsiteX110" fmla="*/ 2422525 w 2889264"/>
              <a:gd name="connsiteY110" fmla="*/ 495300 h 733425"/>
              <a:gd name="connsiteX111" fmla="*/ 2432050 w 2889264"/>
              <a:gd name="connsiteY111" fmla="*/ 498475 h 733425"/>
              <a:gd name="connsiteX112" fmla="*/ 2454275 w 2889264"/>
              <a:gd name="connsiteY112" fmla="*/ 511175 h 733425"/>
              <a:gd name="connsiteX113" fmla="*/ 2470150 w 2889264"/>
              <a:gd name="connsiteY113" fmla="*/ 523875 h 733425"/>
              <a:gd name="connsiteX114" fmla="*/ 2495550 w 2889264"/>
              <a:gd name="connsiteY114" fmla="*/ 533400 h 733425"/>
              <a:gd name="connsiteX115" fmla="*/ 2546350 w 2889264"/>
              <a:gd name="connsiteY115" fmla="*/ 558800 h 733425"/>
              <a:gd name="connsiteX116" fmla="*/ 2574925 w 2889264"/>
              <a:gd name="connsiteY116" fmla="*/ 565150 h 733425"/>
              <a:gd name="connsiteX117" fmla="*/ 2600325 w 2889264"/>
              <a:gd name="connsiteY117" fmla="*/ 577850 h 733425"/>
              <a:gd name="connsiteX118" fmla="*/ 2616200 w 2889264"/>
              <a:gd name="connsiteY118" fmla="*/ 581025 h 733425"/>
              <a:gd name="connsiteX119" fmla="*/ 2638425 w 2889264"/>
              <a:gd name="connsiteY119" fmla="*/ 587375 h 733425"/>
              <a:gd name="connsiteX120" fmla="*/ 2654300 w 2889264"/>
              <a:gd name="connsiteY120" fmla="*/ 596900 h 733425"/>
              <a:gd name="connsiteX121" fmla="*/ 2673350 w 2889264"/>
              <a:gd name="connsiteY121" fmla="*/ 603250 h 733425"/>
              <a:gd name="connsiteX122" fmla="*/ 2708275 w 2889264"/>
              <a:gd name="connsiteY122" fmla="*/ 625475 h 733425"/>
              <a:gd name="connsiteX123" fmla="*/ 2730500 w 2889264"/>
              <a:gd name="connsiteY123" fmla="*/ 635000 h 733425"/>
              <a:gd name="connsiteX124" fmla="*/ 2749550 w 2889264"/>
              <a:gd name="connsiteY124" fmla="*/ 650875 h 733425"/>
              <a:gd name="connsiteX125" fmla="*/ 2774950 w 2889264"/>
              <a:gd name="connsiteY125" fmla="*/ 663575 h 733425"/>
              <a:gd name="connsiteX126" fmla="*/ 2803525 w 2889264"/>
              <a:gd name="connsiteY126" fmla="*/ 676275 h 733425"/>
              <a:gd name="connsiteX127" fmla="*/ 2816225 w 2889264"/>
              <a:gd name="connsiteY127" fmla="*/ 685800 h 733425"/>
              <a:gd name="connsiteX128" fmla="*/ 2832100 w 2889264"/>
              <a:gd name="connsiteY128" fmla="*/ 692150 h 733425"/>
              <a:gd name="connsiteX129" fmla="*/ 2876550 w 2889264"/>
              <a:gd name="connsiteY129" fmla="*/ 723900 h 733425"/>
              <a:gd name="connsiteX130" fmla="*/ 2889250 w 2889264"/>
              <a:gd name="connsiteY130" fmla="*/ 733425 h 733425"/>
              <a:gd name="connsiteX0" fmla="*/ 0 w 2889264"/>
              <a:gd name="connsiteY0" fmla="*/ 720725 h 733425"/>
              <a:gd name="connsiteX1" fmla="*/ 34925 w 2889264"/>
              <a:gd name="connsiteY1" fmla="*/ 698500 h 733425"/>
              <a:gd name="connsiteX2" fmla="*/ 50800 w 2889264"/>
              <a:gd name="connsiteY2" fmla="*/ 695325 h 733425"/>
              <a:gd name="connsiteX3" fmla="*/ 63500 w 2889264"/>
              <a:gd name="connsiteY3" fmla="*/ 685800 h 733425"/>
              <a:gd name="connsiteX4" fmla="*/ 111125 w 2889264"/>
              <a:gd name="connsiteY4" fmla="*/ 657225 h 733425"/>
              <a:gd name="connsiteX5" fmla="*/ 127000 w 2889264"/>
              <a:gd name="connsiteY5" fmla="*/ 647700 h 733425"/>
              <a:gd name="connsiteX6" fmla="*/ 136525 w 2889264"/>
              <a:gd name="connsiteY6" fmla="*/ 641350 h 733425"/>
              <a:gd name="connsiteX7" fmla="*/ 146050 w 2889264"/>
              <a:gd name="connsiteY7" fmla="*/ 638175 h 733425"/>
              <a:gd name="connsiteX8" fmla="*/ 171450 w 2889264"/>
              <a:gd name="connsiteY8" fmla="*/ 628650 h 733425"/>
              <a:gd name="connsiteX9" fmla="*/ 203200 w 2889264"/>
              <a:gd name="connsiteY9" fmla="*/ 609600 h 733425"/>
              <a:gd name="connsiteX10" fmla="*/ 222250 w 2889264"/>
              <a:gd name="connsiteY10" fmla="*/ 603250 h 733425"/>
              <a:gd name="connsiteX11" fmla="*/ 247650 w 2889264"/>
              <a:gd name="connsiteY11" fmla="*/ 593725 h 733425"/>
              <a:gd name="connsiteX12" fmla="*/ 260350 w 2889264"/>
              <a:gd name="connsiteY12" fmla="*/ 587375 h 733425"/>
              <a:gd name="connsiteX13" fmla="*/ 285750 w 2889264"/>
              <a:gd name="connsiteY13" fmla="*/ 581025 h 733425"/>
              <a:gd name="connsiteX14" fmla="*/ 317500 w 2889264"/>
              <a:gd name="connsiteY14" fmla="*/ 571500 h 733425"/>
              <a:gd name="connsiteX15" fmla="*/ 352425 w 2889264"/>
              <a:gd name="connsiteY15" fmla="*/ 555625 h 733425"/>
              <a:gd name="connsiteX16" fmla="*/ 381000 w 2889264"/>
              <a:gd name="connsiteY16" fmla="*/ 539750 h 733425"/>
              <a:gd name="connsiteX17" fmla="*/ 390525 w 2889264"/>
              <a:gd name="connsiteY17" fmla="*/ 536575 h 733425"/>
              <a:gd name="connsiteX18" fmla="*/ 406400 w 2889264"/>
              <a:gd name="connsiteY18" fmla="*/ 530225 h 733425"/>
              <a:gd name="connsiteX19" fmla="*/ 434975 w 2889264"/>
              <a:gd name="connsiteY19" fmla="*/ 514350 h 733425"/>
              <a:gd name="connsiteX20" fmla="*/ 454025 w 2889264"/>
              <a:gd name="connsiteY20" fmla="*/ 504825 h 733425"/>
              <a:gd name="connsiteX21" fmla="*/ 463550 w 2889264"/>
              <a:gd name="connsiteY21" fmla="*/ 498475 h 733425"/>
              <a:gd name="connsiteX22" fmla="*/ 476250 w 2889264"/>
              <a:gd name="connsiteY22" fmla="*/ 495300 h 733425"/>
              <a:gd name="connsiteX23" fmla="*/ 492125 w 2889264"/>
              <a:gd name="connsiteY23" fmla="*/ 488950 h 733425"/>
              <a:gd name="connsiteX24" fmla="*/ 501650 w 2889264"/>
              <a:gd name="connsiteY24" fmla="*/ 485775 h 733425"/>
              <a:gd name="connsiteX25" fmla="*/ 523875 w 2889264"/>
              <a:gd name="connsiteY25" fmla="*/ 469900 h 733425"/>
              <a:gd name="connsiteX26" fmla="*/ 552450 w 2889264"/>
              <a:gd name="connsiteY26" fmla="*/ 450850 h 733425"/>
              <a:gd name="connsiteX27" fmla="*/ 568325 w 2889264"/>
              <a:gd name="connsiteY27" fmla="*/ 447675 h 733425"/>
              <a:gd name="connsiteX28" fmla="*/ 584200 w 2889264"/>
              <a:gd name="connsiteY28" fmla="*/ 441325 h 733425"/>
              <a:gd name="connsiteX29" fmla="*/ 593725 w 2889264"/>
              <a:gd name="connsiteY29" fmla="*/ 438150 h 733425"/>
              <a:gd name="connsiteX30" fmla="*/ 612775 w 2889264"/>
              <a:gd name="connsiteY30" fmla="*/ 428625 h 733425"/>
              <a:gd name="connsiteX31" fmla="*/ 628650 w 2889264"/>
              <a:gd name="connsiteY31" fmla="*/ 422275 h 733425"/>
              <a:gd name="connsiteX32" fmla="*/ 641350 w 2889264"/>
              <a:gd name="connsiteY32" fmla="*/ 415925 h 733425"/>
              <a:gd name="connsiteX33" fmla="*/ 657225 w 2889264"/>
              <a:gd name="connsiteY33" fmla="*/ 406400 h 733425"/>
              <a:gd name="connsiteX34" fmla="*/ 676275 w 2889264"/>
              <a:gd name="connsiteY34" fmla="*/ 400050 h 733425"/>
              <a:gd name="connsiteX35" fmla="*/ 708025 w 2889264"/>
              <a:gd name="connsiteY35" fmla="*/ 381000 h 733425"/>
              <a:gd name="connsiteX36" fmla="*/ 736600 w 2889264"/>
              <a:gd name="connsiteY36" fmla="*/ 368300 h 733425"/>
              <a:gd name="connsiteX37" fmla="*/ 742950 w 2889264"/>
              <a:gd name="connsiteY37" fmla="*/ 358775 h 733425"/>
              <a:gd name="connsiteX38" fmla="*/ 790575 w 2889264"/>
              <a:gd name="connsiteY38" fmla="*/ 339725 h 733425"/>
              <a:gd name="connsiteX39" fmla="*/ 800100 w 2889264"/>
              <a:gd name="connsiteY39" fmla="*/ 336550 h 733425"/>
              <a:gd name="connsiteX40" fmla="*/ 812800 w 2889264"/>
              <a:gd name="connsiteY40" fmla="*/ 330200 h 733425"/>
              <a:gd name="connsiteX41" fmla="*/ 828675 w 2889264"/>
              <a:gd name="connsiteY41" fmla="*/ 327025 h 733425"/>
              <a:gd name="connsiteX42" fmla="*/ 898525 w 2889264"/>
              <a:gd name="connsiteY42" fmla="*/ 288925 h 733425"/>
              <a:gd name="connsiteX43" fmla="*/ 923925 w 2889264"/>
              <a:gd name="connsiteY43" fmla="*/ 269875 h 733425"/>
              <a:gd name="connsiteX44" fmla="*/ 933450 w 2889264"/>
              <a:gd name="connsiteY44" fmla="*/ 260350 h 733425"/>
              <a:gd name="connsiteX45" fmla="*/ 958850 w 2889264"/>
              <a:gd name="connsiteY45" fmla="*/ 247650 h 733425"/>
              <a:gd name="connsiteX46" fmla="*/ 968375 w 2889264"/>
              <a:gd name="connsiteY46" fmla="*/ 241300 h 733425"/>
              <a:gd name="connsiteX47" fmla="*/ 984250 w 2889264"/>
              <a:gd name="connsiteY47" fmla="*/ 234950 h 733425"/>
              <a:gd name="connsiteX48" fmla="*/ 1006475 w 2889264"/>
              <a:gd name="connsiteY48" fmla="*/ 225425 h 733425"/>
              <a:gd name="connsiteX49" fmla="*/ 1050925 w 2889264"/>
              <a:gd name="connsiteY49" fmla="*/ 212725 h 733425"/>
              <a:gd name="connsiteX50" fmla="*/ 1079500 w 2889264"/>
              <a:gd name="connsiteY50" fmla="*/ 200025 h 733425"/>
              <a:gd name="connsiteX51" fmla="*/ 1098550 w 2889264"/>
              <a:gd name="connsiteY51" fmla="*/ 193675 h 733425"/>
              <a:gd name="connsiteX52" fmla="*/ 1111250 w 2889264"/>
              <a:gd name="connsiteY52" fmla="*/ 187325 h 733425"/>
              <a:gd name="connsiteX53" fmla="*/ 1136650 w 2889264"/>
              <a:gd name="connsiteY53" fmla="*/ 177800 h 733425"/>
              <a:gd name="connsiteX54" fmla="*/ 1181100 w 2889264"/>
              <a:gd name="connsiteY54" fmla="*/ 152400 h 733425"/>
              <a:gd name="connsiteX55" fmla="*/ 1203325 w 2889264"/>
              <a:gd name="connsiteY55" fmla="*/ 130175 h 733425"/>
              <a:gd name="connsiteX56" fmla="*/ 1219200 w 2889264"/>
              <a:gd name="connsiteY56" fmla="*/ 117475 h 733425"/>
              <a:gd name="connsiteX57" fmla="*/ 1276350 w 2889264"/>
              <a:gd name="connsiteY57" fmla="*/ 85725 h 733425"/>
              <a:gd name="connsiteX58" fmla="*/ 1289050 w 2889264"/>
              <a:gd name="connsiteY58" fmla="*/ 79375 h 733425"/>
              <a:gd name="connsiteX59" fmla="*/ 1327150 w 2889264"/>
              <a:gd name="connsiteY59" fmla="*/ 66675 h 733425"/>
              <a:gd name="connsiteX60" fmla="*/ 1343025 w 2889264"/>
              <a:gd name="connsiteY60" fmla="*/ 57150 h 733425"/>
              <a:gd name="connsiteX61" fmla="*/ 1355725 w 2889264"/>
              <a:gd name="connsiteY61" fmla="*/ 47625 h 733425"/>
              <a:gd name="connsiteX62" fmla="*/ 1377950 w 2889264"/>
              <a:gd name="connsiteY62" fmla="*/ 38100 h 733425"/>
              <a:gd name="connsiteX63" fmla="*/ 1416050 w 2889264"/>
              <a:gd name="connsiteY63" fmla="*/ 12700 h 733425"/>
              <a:gd name="connsiteX64" fmla="*/ 1428750 w 2889264"/>
              <a:gd name="connsiteY64" fmla="*/ 0 h 733425"/>
              <a:gd name="connsiteX65" fmla="*/ 1470025 w 2889264"/>
              <a:gd name="connsiteY65" fmla="*/ 28575 h 733425"/>
              <a:gd name="connsiteX66" fmla="*/ 1504950 w 2889264"/>
              <a:gd name="connsiteY66" fmla="*/ 41275 h 733425"/>
              <a:gd name="connsiteX67" fmla="*/ 1517650 w 2889264"/>
              <a:gd name="connsiteY67" fmla="*/ 50800 h 733425"/>
              <a:gd name="connsiteX68" fmla="*/ 1549400 w 2889264"/>
              <a:gd name="connsiteY68" fmla="*/ 60325 h 733425"/>
              <a:gd name="connsiteX69" fmla="*/ 1562100 w 2889264"/>
              <a:gd name="connsiteY69" fmla="*/ 69850 h 733425"/>
              <a:gd name="connsiteX70" fmla="*/ 1574800 w 2889264"/>
              <a:gd name="connsiteY70" fmla="*/ 73025 h 733425"/>
              <a:gd name="connsiteX71" fmla="*/ 1590675 w 2889264"/>
              <a:gd name="connsiteY71" fmla="*/ 79375 h 733425"/>
              <a:gd name="connsiteX72" fmla="*/ 1600200 w 2889264"/>
              <a:gd name="connsiteY72" fmla="*/ 85725 h 733425"/>
              <a:gd name="connsiteX73" fmla="*/ 1612900 w 2889264"/>
              <a:gd name="connsiteY73" fmla="*/ 92075 h 733425"/>
              <a:gd name="connsiteX74" fmla="*/ 1625600 w 2889264"/>
              <a:gd name="connsiteY74" fmla="*/ 101600 h 733425"/>
              <a:gd name="connsiteX75" fmla="*/ 1635125 w 2889264"/>
              <a:gd name="connsiteY75" fmla="*/ 104775 h 733425"/>
              <a:gd name="connsiteX76" fmla="*/ 1654175 w 2889264"/>
              <a:gd name="connsiteY76" fmla="*/ 114300 h 733425"/>
              <a:gd name="connsiteX77" fmla="*/ 1676400 w 2889264"/>
              <a:gd name="connsiteY77" fmla="*/ 130175 h 733425"/>
              <a:gd name="connsiteX78" fmla="*/ 1689100 w 2889264"/>
              <a:gd name="connsiteY78" fmla="*/ 136525 h 733425"/>
              <a:gd name="connsiteX79" fmla="*/ 1714500 w 2889264"/>
              <a:gd name="connsiteY79" fmla="*/ 146050 h 733425"/>
              <a:gd name="connsiteX80" fmla="*/ 1727200 w 2889264"/>
              <a:gd name="connsiteY80" fmla="*/ 155575 h 733425"/>
              <a:gd name="connsiteX81" fmla="*/ 1758950 w 2889264"/>
              <a:gd name="connsiteY81" fmla="*/ 165100 h 733425"/>
              <a:gd name="connsiteX82" fmla="*/ 1768475 w 2889264"/>
              <a:gd name="connsiteY82" fmla="*/ 171450 h 733425"/>
              <a:gd name="connsiteX83" fmla="*/ 1781175 w 2889264"/>
              <a:gd name="connsiteY83" fmla="*/ 180975 h 733425"/>
              <a:gd name="connsiteX84" fmla="*/ 1793875 w 2889264"/>
              <a:gd name="connsiteY84" fmla="*/ 187325 h 733425"/>
              <a:gd name="connsiteX85" fmla="*/ 1838325 w 2889264"/>
              <a:gd name="connsiteY85" fmla="*/ 212725 h 733425"/>
              <a:gd name="connsiteX86" fmla="*/ 1847850 w 2889264"/>
              <a:gd name="connsiteY86" fmla="*/ 222250 h 733425"/>
              <a:gd name="connsiteX87" fmla="*/ 1885950 w 2889264"/>
              <a:gd name="connsiteY87" fmla="*/ 241300 h 733425"/>
              <a:gd name="connsiteX88" fmla="*/ 1901825 w 2889264"/>
              <a:gd name="connsiteY88" fmla="*/ 250825 h 733425"/>
              <a:gd name="connsiteX89" fmla="*/ 1933575 w 2889264"/>
              <a:gd name="connsiteY89" fmla="*/ 263525 h 733425"/>
              <a:gd name="connsiteX90" fmla="*/ 1962150 w 2889264"/>
              <a:gd name="connsiteY90" fmla="*/ 276225 h 733425"/>
              <a:gd name="connsiteX91" fmla="*/ 1971675 w 2889264"/>
              <a:gd name="connsiteY91" fmla="*/ 282575 h 733425"/>
              <a:gd name="connsiteX92" fmla="*/ 1987550 w 2889264"/>
              <a:gd name="connsiteY92" fmla="*/ 288925 h 733425"/>
              <a:gd name="connsiteX93" fmla="*/ 2022475 w 2889264"/>
              <a:gd name="connsiteY93" fmla="*/ 301625 h 733425"/>
              <a:gd name="connsiteX94" fmla="*/ 2047875 w 2889264"/>
              <a:gd name="connsiteY94" fmla="*/ 314325 h 733425"/>
              <a:gd name="connsiteX95" fmla="*/ 2063750 w 2889264"/>
              <a:gd name="connsiteY95" fmla="*/ 320675 h 733425"/>
              <a:gd name="connsiteX96" fmla="*/ 2082800 w 2889264"/>
              <a:gd name="connsiteY96" fmla="*/ 330200 h 733425"/>
              <a:gd name="connsiteX97" fmla="*/ 2095500 w 2889264"/>
              <a:gd name="connsiteY97" fmla="*/ 333375 h 733425"/>
              <a:gd name="connsiteX98" fmla="*/ 2124075 w 2889264"/>
              <a:gd name="connsiteY98" fmla="*/ 342900 h 733425"/>
              <a:gd name="connsiteX99" fmla="*/ 2159000 w 2889264"/>
              <a:gd name="connsiteY99" fmla="*/ 358775 h 733425"/>
              <a:gd name="connsiteX100" fmla="*/ 2187575 w 2889264"/>
              <a:gd name="connsiteY100" fmla="*/ 377825 h 733425"/>
              <a:gd name="connsiteX101" fmla="*/ 2209800 w 2889264"/>
              <a:gd name="connsiteY101" fmla="*/ 393700 h 733425"/>
              <a:gd name="connsiteX102" fmla="*/ 2247900 w 2889264"/>
              <a:gd name="connsiteY102" fmla="*/ 419100 h 733425"/>
              <a:gd name="connsiteX103" fmla="*/ 2276475 w 2889264"/>
              <a:gd name="connsiteY103" fmla="*/ 434975 h 733425"/>
              <a:gd name="connsiteX104" fmla="*/ 2289175 w 2889264"/>
              <a:gd name="connsiteY104" fmla="*/ 444500 h 733425"/>
              <a:gd name="connsiteX105" fmla="*/ 2308225 w 2889264"/>
              <a:gd name="connsiteY105" fmla="*/ 447675 h 733425"/>
              <a:gd name="connsiteX106" fmla="*/ 2333625 w 2889264"/>
              <a:gd name="connsiteY106" fmla="*/ 460375 h 733425"/>
              <a:gd name="connsiteX107" fmla="*/ 2352675 w 2889264"/>
              <a:gd name="connsiteY107" fmla="*/ 466725 h 733425"/>
              <a:gd name="connsiteX108" fmla="*/ 2397125 w 2889264"/>
              <a:gd name="connsiteY108" fmla="*/ 488950 h 733425"/>
              <a:gd name="connsiteX109" fmla="*/ 2422525 w 2889264"/>
              <a:gd name="connsiteY109" fmla="*/ 495300 h 733425"/>
              <a:gd name="connsiteX110" fmla="*/ 2432050 w 2889264"/>
              <a:gd name="connsiteY110" fmla="*/ 498475 h 733425"/>
              <a:gd name="connsiteX111" fmla="*/ 2454275 w 2889264"/>
              <a:gd name="connsiteY111" fmla="*/ 511175 h 733425"/>
              <a:gd name="connsiteX112" fmla="*/ 2470150 w 2889264"/>
              <a:gd name="connsiteY112" fmla="*/ 523875 h 733425"/>
              <a:gd name="connsiteX113" fmla="*/ 2495550 w 2889264"/>
              <a:gd name="connsiteY113" fmla="*/ 533400 h 733425"/>
              <a:gd name="connsiteX114" fmla="*/ 2546350 w 2889264"/>
              <a:gd name="connsiteY114" fmla="*/ 558800 h 733425"/>
              <a:gd name="connsiteX115" fmla="*/ 2574925 w 2889264"/>
              <a:gd name="connsiteY115" fmla="*/ 565150 h 733425"/>
              <a:gd name="connsiteX116" fmla="*/ 2600325 w 2889264"/>
              <a:gd name="connsiteY116" fmla="*/ 577850 h 733425"/>
              <a:gd name="connsiteX117" fmla="*/ 2616200 w 2889264"/>
              <a:gd name="connsiteY117" fmla="*/ 581025 h 733425"/>
              <a:gd name="connsiteX118" fmla="*/ 2638425 w 2889264"/>
              <a:gd name="connsiteY118" fmla="*/ 587375 h 733425"/>
              <a:gd name="connsiteX119" fmla="*/ 2654300 w 2889264"/>
              <a:gd name="connsiteY119" fmla="*/ 596900 h 733425"/>
              <a:gd name="connsiteX120" fmla="*/ 2673350 w 2889264"/>
              <a:gd name="connsiteY120" fmla="*/ 603250 h 733425"/>
              <a:gd name="connsiteX121" fmla="*/ 2708275 w 2889264"/>
              <a:gd name="connsiteY121" fmla="*/ 625475 h 733425"/>
              <a:gd name="connsiteX122" fmla="*/ 2730500 w 2889264"/>
              <a:gd name="connsiteY122" fmla="*/ 635000 h 733425"/>
              <a:gd name="connsiteX123" fmla="*/ 2749550 w 2889264"/>
              <a:gd name="connsiteY123" fmla="*/ 650875 h 733425"/>
              <a:gd name="connsiteX124" fmla="*/ 2774950 w 2889264"/>
              <a:gd name="connsiteY124" fmla="*/ 663575 h 733425"/>
              <a:gd name="connsiteX125" fmla="*/ 2803525 w 2889264"/>
              <a:gd name="connsiteY125" fmla="*/ 676275 h 733425"/>
              <a:gd name="connsiteX126" fmla="*/ 2816225 w 2889264"/>
              <a:gd name="connsiteY126" fmla="*/ 685800 h 733425"/>
              <a:gd name="connsiteX127" fmla="*/ 2832100 w 2889264"/>
              <a:gd name="connsiteY127" fmla="*/ 692150 h 733425"/>
              <a:gd name="connsiteX128" fmla="*/ 2876550 w 2889264"/>
              <a:gd name="connsiteY128" fmla="*/ 723900 h 733425"/>
              <a:gd name="connsiteX129" fmla="*/ 2889250 w 2889264"/>
              <a:gd name="connsiteY129" fmla="*/ 733425 h 733425"/>
              <a:gd name="connsiteX0" fmla="*/ 0 w 2889264"/>
              <a:gd name="connsiteY0" fmla="*/ 720725 h 733425"/>
              <a:gd name="connsiteX1" fmla="*/ 34925 w 2889264"/>
              <a:gd name="connsiteY1" fmla="*/ 698500 h 733425"/>
              <a:gd name="connsiteX2" fmla="*/ 50800 w 2889264"/>
              <a:gd name="connsiteY2" fmla="*/ 695325 h 733425"/>
              <a:gd name="connsiteX3" fmla="*/ 111125 w 2889264"/>
              <a:gd name="connsiteY3" fmla="*/ 657225 h 733425"/>
              <a:gd name="connsiteX4" fmla="*/ 127000 w 2889264"/>
              <a:gd name="connsiteY4" fmla="*/ 647700 h 733425"/>
              <a:gd name="connsiteX5" fmla="*/ 136525 w 2889264"/>
              <a:gd name="connsiteY5" fmla="*/ 641350 h 733425"/>
              <a:gd name="connsiteX6" fmla="*/ 146050 w 2889264"/>
              <a:gd name="connsiteY6" fmla="*/ 638175 h 733425"/>
              <a:gd name="connsiteX7" fmla="*/ 171450 w 2889264"/>
              <a:gd name="connsiteY7" fmla="*/ 628650 h 733425"/>
              <a:gd name="connsiteX8" fmla="*/ 203200 w 2889264"/>
              <a:gd name="connsiteY8" fmla="*/ 609600 h 733425"/>
              <a:gd name="connsiteX9" fmla="*/ 222250 w 2889264"/>
              <a:gd name="connsiteY9" fmla="*/ 603250 h 733425"/>
              <a:gd name="connsiteX10" fmla="*/ 247650 w 2889264"/>
              <a:gd name="connsiteY10" fmla="*/ 593725 h 733425"/>
              <a:gd name="connsiteX11" fmla="*/ 260350 w 2889264"/>
              <a:gd name="connsiteY11" fmla="*/ 587375 h 733425"/>
              <a:gd name="connsiteX12" fmla="*/ 285750 w 2889264"/>
              <a:gd name="connsiteY12" fmla="*/ 581025 h 733425"/>
              <a:gd name="connsiteX13" fmla="*/ 317500 w 2889264"/>
              <a:gd name="connsiteY13" fmla="*/ 571500 h 733425"/>
              <a:gd name="connsiteX14" fmla="*/ 352425 w 2889264"/>
              <a:gd name="connsiteY14" fmla="*/ 555625 h 733425"/>
              <a:gd name="connsiteX15" fmla="*/ 381000 w 2889264"/>
              <a:gd name="connsiteY15" fmla="*/ 539750 h 733425"/>
              <a:gd name="connsiteX16" fmla="*/ 390525 w 2889264"/>
              <a:gd name="connsiteY16" fmla="*/ 536575 h 733425"/>
              <a:gd name="connsiteX17" fmla="*/ 406400 w 2889264"/>
              <a:gd name="connsiteY17" fmla="*/ 530225 h 733425"/>
              <a:gd name="connsiteX18" fmla="*/ 434975 w 2889264"/>
              <a:gd name="connsiteY18" fmla="*/ 514350 h 733425"/>
              <a:gd name="connsiteX19" fmla="*/ 454025 w 2889264"/>
              <a:gd name="connsiteY19" fmla="*/ 504825 h 733425"/>
              <a:gd name="connsiteX20" fmla="*/ 463550 w 2889264"/>
              <a:gd name="connsiteY20" fmla="*/ 498475 h 733425"/>
              <a:gd name="connsiteX21" fmla="*/ 476250 w 2889264"/>
              <a:gd name="connsiteY21" fmla="*/ 495300 h 733425"/>
              <a:gd name="connsiteX22" fmla="*/ 492125 w 2889264"/>
              <a:gd name="connsiteY22" fmla="*/ 488950 h 733425"/>
              <a:gd name="connsiteX23" fmla="*/ 501650 w 2889264"/>
              <a:gd name="connsiteY23" fmla="*/ 485775 h 733425"/>
              <a:gd name="connsiteX24" fmla="*/ 523875 w 2889264"/>
              <a:gd name="connsiteY24" fmla="*/ 469900 h 733425"/>
              <a:gd name="connsiteX25" fmla="*/ 552450 w 2889264"/>
              <a:gd name="connsiteY25" fmla="*/ 450850 h 733425"/>
              <a:gd name="connsiteX26" fmla="*/ 568325 w 2889264"/>
              <a:gd name="connsiteY26" fmla="*/ 447675 h 733425"/>
              <a:gd name="connsiteX27" fmla="*/ 584200 w 2889264"/>
              <a:gd name="connsiteY27" fmla="*/ 441325 h 733425"/>
              <a:gd name="connsiteX28" fmla="*/ 593725 w 2889264"/>
              <a:gd name="connsiteY28" fmla="*/ 438150 h 733425"/>
              <a:gd name="connsiteX29" fmla="*/ 612775 w 2889264"/>
              <a:gd name="connsiteY29" fmla="*/ 428625 h 733425"/>
              <a:gd name="connsiteX30" fmla="*/ 628650 w 2889264"/>
              <a:gd name="connsiteY30" fmla="*/ 422275 h 733425"/>
              <a:gd name="connsiteX31" fmla="*/ 641350 w 2889264"/>
              <a:gd name="connsiteY31" fmla="*/ 415925 h 733425"/>
              <a:gd name="connsiteX32" fmla="*/ 657225 w 2889264"/>
              <a:gd name="connsiteY32" fmla="*/ 406400 h 733425"/>
              <a:gd name="connsiteX33" fmla="*/ 676275 w 2889264"/>
              <a:gd name="connsiteY33" fmla="*/ 400050 h 733425"/>
              <a:gd name="connsiteX34" fmla="*/ 708025 w 2889264"/>
              <a:gd name="connsiteY34" fmla="*/ 381000 h 733425"/>
              <a:gd name="connsiteX35" fmla="*/ 736600 w 2889264"/>
              <a:gd name="connsiteY35" fmla="*/ 368300 h 733425"/>
              <a:gd name="connsiteX36" fmla="*/ 742950 w 2889264"/>
              <a:gd name="connsiteY36" fmla="*/ 358775 h 733425"/>
              <a:gd name="connsiteX37" fmla="*/ 790575 w 2889264"/>
              <a:gd name="connsiteY37" fmla="*/ 339725 h 733425"/>
              <a:gd name="connsiteX38" fmla="*/ 800100 w 2889264"/>
              <a:gd name="connsiteY38" fmla="*/ 336550 h 733425"/>
              <a:gd name="connsiteX39" fmla="*/ 812800 w 2889264"/>
              <a:gd name="connsiteY39" fmla="*/ 330200 h 733425"/>
              <a:gd name="connsiteX40" fmla="*/ 828675 w 2889264"/>
              <a:gd name="connsiteY40" fmla="*/ 327025 h 733425"/>
              <a:gd name="connsiteX41" fmla="*/ 898525 w 2889264"/>
              <a:gd name="connsiteY41" fmla="*/ 288925 h 733425"/>
              <a:gd name="connsiteX42" fmla="*/ 923925 w 2889264"/>
              <a:gd name="connsiteY42" fmla="*/ 269875 h 733425"/>
              <a:gd name="connsiteX43" fmla="*/ 933450 w 2889264"/>
              <a:gd name="connsiteY43" fmla="*/ 260350 h 733425"/>
              <a:gd name="connsiteX44" fmla="*/ 958850 w 2889264"/>
              <a:gd name="connsiteY44" fmla="*/ 247650 h 733425"/>
              <a:gd name="connsiteX45" fmla="*/ 968375 w 2889264"/>
              <a:gd name="connsiteY45" fmla="*/ 241300 h 733425"/>
              <a:gd name="connsiteX46" fmla="*/ 984250 w 2889264"/>
              <a:gd name="connsiteY46" fmla="*/ 234950 h 733425"/>
              <a:gd name="connsiteX47" fmla="*/ 1006475 w 2889264"/>
              <a:gd name="connsiteY47" fmla="*/ 225425 h 733425"/>
              <a:gd name="connsiteX48" fmla="*/ 1050925 w 2889264"/>
              <a:gd name="connsiteY48" fmla="*/ 212725 h 733425"/>
              <a:gd name="connsiteX49" fmla="*/ 1079500 w 2889264"/>
              <a:gd name="connsiteY49" fmla="*/ 200025 h 733425"/>
              <a:gd name="connsiteX50" fmla="*/ 1098550 w 2889264"/>
              <a:gd name="connsiteY50" fmla="*/ 193675 h 733425"/>
              <a:gd name="connsiteX51" fmla="*/ 1111250 w 2889264"/>
              <a:gd name="connsiteY51" fmla="*/ 187325 h 733425"/>
              <a:gd name="connsiteX52" fmla="*/ 1136650 w 2889264"/>
              <a:gd name="connsiteY52" fmla="*/ 177800 h 733425"/>
              <a:gd name="connsiteX53" fmla="*/ 1181100 w 2889264"/>
              <a:gd name="connsiteY53" fmla="*/ 152400 h 733425"/>
              <a:gd name="connsiteX54" fmla="*/ 1203325 w 2889264"/>
              <a:gd name="connsiteY54" fmla="*/ 130175 h 733425"/>
              <a:gd name="connsiteX55" fmla="*/ 1219200 w 2889264"/>
              <a:gd name="connsiteY55" fmla="*/ 117475 h 733425"/>
              <a:gd name="connsiteX56" fmla="*/ 1276350 w 2889264"/>
              <a:gd name="connsiteY56" fmla="*/ 85725 h 733425"/>
              <a:gd name="connsiteX57" fmla="*/ 1289050 w 2889264"/>
              <a:gd name="connsiteY57" fmla="*/ 79375 h 733425"/>
              <a:gd name="connsiteX58" fmla="*/ 1327150 w 2889264"/>
              <a:gd name="connsiteY58" fmla="*/ 66675 h 733425"/>
              <a:gd name="connsiteX59" fmla="*/ 1343025 w 2889264"/>
              <a:gd name="connsiteY59" fmla="*/ 57150 h 733425"/>
              <a:gd name="connsiteX60" fmla="*/ 1355725 w 2889264"/>
              <a:gd name="connsiteY60" fmla="*/ 47625 h 733425"/>
              <a:gd name="connsiteX61" fmla="*/ 1377950 w 2889264"/>
              <a:gd name="connsiteY61" fmla="*/ 38100 h 733425"/>
              <a:gd name="connsiteX62" fmla="*/ 1416050 w 2889264"/>
              <a:gd name="connsiteY62" fmla="*/ 12700 h 733425"/>
              <a:gd name="connsiteX63" fmla="*/ 1428750 w 2889264"/>
              <a:gd name="connsiteY63" fmla="*/ 0 h 733425"/>
              <a:gd name="connsiteX64" fmla="*/ 1470025 w 2889264"/>
              <a:gd name="connsiteY64" fmla="*/ 28575 h 733425"/>
              <a:gd name="connsiteX65" fmla="*/ 1504950 w 2889264"/>
              <a:gd name="connsiteY65" fmla="*/ 41275 h 733425"/>
              <a:gd name="connsiteX66" fmla="*/ 1517650 w 2889264"/>
              <a:gd name="connsiteY66" fmla="*/ 50800 h 733425"/>
              <a:gd name="connsiteX67" fmla="*/ 1549400 w 2889264"/>
              <a:gd name="connsiteY67" fmla="*/ 60325 h 733425"/>
              <a:gd name="connsiteX68" fmla="*/ 1562100 w 2889264"/>
              <a:gd name="connsiteY68" fmla="*/ 69850 h 733425"/>
              <a:gd name="connsiteX69" fmla="*/ 1574800 w 2889264"/>
              <a:gd name="connsiteY69" fmla="*/ 73025 h 733425"/>
              <a:gd name="connsiteX70" fmla="*/ 1590675 w 2889264"/>
              <a:gd name="connsiteY70" fmla="*/ 79375 h 733425"/>
              <a:gd name="connsiteX71" fmla="*/ 1600200 w 2889264"/>
              <a:gd name="connsiteY71" fmla="*/ 85725 h 733425"/>
              <a:gd name="connsiteX72" fmla="*/ 1612900 w 2889264"/>
              <a:gd name="connsiteY72" fmla="*/ 92075 h 733425"/>
              <a:gd name="connsiteX73" fmla="*/ 1625600 w 2889264"/>
              <a:gd name="connsiteY73" fmla="*/ 101600 h 733425"/>
              <a:gd name="connsiteX74" fmla="*/ 1635125 w 2889264"/>
              <a:gd name="connsiteY74" fmla="*/ 104775 h 733425"/>
              <a:gd name="connsiteX75" fmla="*/ 1654175 w 2889264"/>
              <a:gd name="connsiteY75" fmla="*/ 114300 h 733425"/>
              <a:gd name="connsiteX76" fmla="*/ 1676400 w 2889264"/>
              <a:gd name="connsiteY76" fmla="*/ 130175 h 733425"/>
              <a:gd name="connsiteX77" fmla="*/ 1689100 w 2889264"/>
              <a:gd name="connsiteY77" fmla="*/ 136525 h 733425"/>
              <a:gd name="connsiteX78" fmla="*/ 1714500 w 2889264"/>
              <a:gd name="connsiteY78" fmla="*/ 146050 h 733425"/>
              <a:gd name="connsiteX79" fmla="*/ 1727200 w 2889264"/>
              <a:gd name="connsiteY79" fmla="*/ 155575 h 733425"/>
              <a:gd name="connsiteX80" fmla="*/ 1758950 w 2889264"/>
              <a:gd name="connsiteY80" fmla="*/ 165100 h 733425"/>
              <a:gd name="connsiteX81" fmla="*/ 1768475 w 2889264"/>
              <a:gd name="connsiteY81" fmla="*/ 171450 h 733425"/>
              <a:gd name="connsiteX82" fmla="*/ 1781175 w 2889264"/>
              <a:gd name="connsiteY82" fmla="*/ 180975 h 733425"/>
              <a:gd name="connsiteX83" fmla="*/ 1793875 w 2889264"/>
              <a:gd name="connsiteY83" fmla="*/ 187325 h 733425"/>
              <a:gd name="connsiteX84" fmla="*/ 1838325 w 2889264"/>
              <a:gd name="connsiteY84" fmla="*/ 212725 h 733425"/>
              <a:gd name="connsiteX85" fmla="*/ 1847850 w 2889264"/>
              <a:gd name="connsiteY85" fmla="*/ 222250 h 733425"/>
              <a:gd name="connsiteX86" fmla="*/ 1885950 w 2889264"/>
              <a:gd name="connsiteY86" fmla="*/ 241300 h 733425"/>
              <a:gd name="connsiteX87" fmla="*/ 1901825 w 2889264"/>
              <a:gd name="connsiteY87" fmla="*/ 250825 h 733425"/>
              <a:gd name="connsiteX88" fmla="*/ 1933575 w 2889264"/>
              <a:gd name="connsiteY88" fmla="*/ 263525 h 733425"/>
              <a:gd name="connsiteX89" fmla="*/ 1962150 w 2889264"/>
              <a:gd name="connsiteY89" fmla="*/ 276225 h 733425"/>
              <a:gd name="connsiteX90" fmla="*/ 1971675 w 2889264"/>
              <a:gd name="connsiteY90" fmla="*/ 282575 h 733425"/>
              <a:gd name="connsiteX91" fmla="*/ 1987550 w 2889264"/>
              <a:gd name="connsiteY91" fmla="*/ 288925 h 733425"/>
              <a:gd name="connsiteX92" fmla="*/ 2022475 w 2889264"/>
              <a:gd name="connsiteY92" fmla="*/ 301625 h 733425"/>
              <a:gd name="connsiteX93" fmla="*/ 2047875 w 2889264"/>
              <a:gd name="connsiteY93" fmla="*/ 314325 h 733425"/>
              <a:gd name="connsiteX94" fmla="*/ 2063750 w 2889264"/>
              <a:gd name="connsiteY94" fmla="*/ 320675 h 733425"/>
              <a:gd name="connsiteX95" fmla="*/ 2082800 w 2889264"/>
              <a:gd name="connsiteY95" fmla="*/ 330200 h 733425"/>
              <a:gd name="connsiteX96" fmla="*/ 2095500 w 2889264"/>
              <a:gd name="connsiteY96" fmla="*/ 333375 h 733425"/>
              <a:gd name="connsiteX97" fmla="*/ 2124075 w 2889264"/>
              <a:gd name="connsiteY97" fmla="*/ 342900 h 733425"/>
              <a:gd name="connsiteX98" fmla="*/ 2159000 w 2889264"/>
              <a:gd name="connsiteY98" fmla="*/ 358775 h 733425"/>
              <a:gd name="connsiteX99" fmla="*/ 2187575 w 2889264"/>
              <a:gd name="connsiteY99" fmla="*/ 377825 h 733425"/>
              <a:gd name="connsiteX100" fmla="*/ 2209800 w 2889264"/>
              <a:gd name="connsiteY100" fmla="*/ 393700 h 733425"/>
              <a:gd name="connsiteX101" fmla="*/ 2247900 w 2889264"/>
              <a:gd name="connsiteY101" fmla="*/ 419100 h 733425"/>
              <a:gd name="connsiteX102" fmla="*/ 2276475 w 2889264"/>
              <a:gd name="connsiteY102" fmla="*/ 434975 h 733425"/>
              <a:gd name="connsiteX103" fmla="*/ 2289175 w 2889264"/>
              <a:gd name="connsiteY103" fmla="*/ 444500 h 733425"/>
              <a:gd name="connsiteX104" fmla="*/ 2308225 w 2889264"/>
              <a:gd name="connsiteY104" fmla="*/ 447675 h 733425"/>
              <a:gd name="connsiteX105" fmla="*/ 2333625 w 2889264"/>
              <a:gd name="connsiteY105" fmla="*/ 460375 h 733425"/>
              <a:gd name="connsiteX106" fmla="*/ 2352675 w 2889264"/>
              <a:gd name="connsiteY106" fmla="*/ 466725 h 733425"/>
              <a:gd name="connsiteX107" fmla="*/ 2397125 w 2889264"/>
              <a:gd name="connsiteY107" fmla="*/ 488950 h 733425"/>
              <a:gd name="connsiteX108" fmla="*/ 2422525 w 2889264"/>
              <a:gd name="connsiteY108" fmla="*/ 495300 h 733425"/>
              <a:gd name="connsiteX109" fmla="*/ 2432050 w 2889264"/>
              <a:gd name="connsiteY109" fmla="*/ 498475 h 733425"/>
              <a:gd name="connsiteX110" fmla="*/ 2454275 w 2889264"/>
              <a:gd name="connsiteY110" fmla="*/ 511175 h 733425"/>
              <a:gd name="connsiteX111" fmla="*/ 2470150 w 2889264"/>
              <a:gd name="connsiteY111" fmla="*/ 523875 h 733425"/>
              <a:gd name="connsiteX112" fmla="*/ 2495550 w 2889264"/>
              <a:gd name="connsiteY112" fmla="*/ 533400 h 733425"/>
              <a:gd name="connsiteX113" fmla="*/ 2546350 w 2889264"/>
              <a:gd name="connsiteY113" fmla="*/ 558800 h 733425"/>
              <a:gd name="connsiteX114" fmla="*/ 2574925 w 2889264"/>
              <a:gd name="connsiteY114" fmla="*/ 565150 h 733425"/>
              <a:gd name="connsiteX115" fmla="*/ 2600325 w 2889264"/>
              <a:gd name="connsiteY115" fmla="*/ 577850 h 733425"/>
              <a:gd name="connsiteX116" fmla="*/ 2616200 w 2889264"/>
              <a:gd name="connsiteY116" fmla="*/ 581025 h 733425"/>
              <a:gd name="connsiteX117" fmla="*/ 2638425 w 2889264"/>
              <a:gd name="connsiteY117" fmla="*/ 587375 h 733425"/>
              <a:gd name="connsiteX118" fmla="*/ 2654300 w 2889264"/>
              <a:gd name="connsiteY118" fmla="*/ 596900 h 733425"/>
              <a:gd name="connsiteX119" fmla="*/ 2673350 w 2889264"/>
              <a:gd name="connsiteY119" fmla="*/ 603250 h 733425"/>
              <a:gd name="connsiteX120" fmla="*/ 2708275 w 2889264"/>
              <a:gd name="connsiteY120" fmla="*/ 625475 h 733425"/>
              <a:gd name="connsiteX121" fmla="*/ 2730500 w 2889264"/>
              <a:gd name="connsiteY121" fmla="*/ 635000 h 733425"/>
              <a:gd name="connsiteX122" fmla="*/ 2749550 w 2889264"/>
              <a:gd name="connsiteY122" fmla="*/ 650875 h 733425"/>
              <a:gd name="connsiteX123" fmla="*/ 2774950 w 2889264"/>
              <a:gd name="connsiteY123" fmla="*/ 663575 h 733425"/>
              <a:gd name="connsiteX124" fmla="*/ 2803525 w 2889264"/>
              <a:gd name="connsiteY124" fmla="*/ 676275 h 733425"/>
              <a:gd name="connsiteX125" fmla="*/ 2816225 w 2889264"/>
              <a:gd name="connsiteY125" fmla="*/ 685800 h 733425"/>
              <a:gd name="connsiteX126" fmla="*/ 2832100 w 2889264"/>
              <a:gd name="connsiteY126" fmla="*/ 692150 h 733425"/>
              <a:gd name="connsiteX127" fmla="*/ 2876550 w 2889264"/>
              <a:gd name="connsiteY127" fmla="*/ 723900 h 733425"/>
              <a:gd name="connsiteX128" fmla="*/ 2889250 w 2889264"/>
              <a:gd name="connsiteY128" fmla="*/ 733425 h 733425"/>
              <a:gd name="connsiteX0" fmla="*/ 0 w 2889264"/>
              <a:gd name="connsiteY0" fmla="*/ 720725 h 733425"/>
              <a:gd name="connsiteX1" fmla="*/ 34925 w 2889264"/>
              <a:gd name="connsiteY1" fmla="*/ 698500 h 733425"/>
              <a:gd name="connsiteX2" fmla="*/ 50800 w 2889264"/>
              <a:gd name="connsiteY2" fmla="*/ 695325 h 733425"/>
              <a:gd name="connsiteX3" fmla="*/ 111125 w 2889264"/>
              <a:gd name="connsiteY3" fmla="*/ 657225 h 733425"/>
              <a:gd name="connsiteX4" fmla="*/ 127000 w 2889264"/>
              <a:gd name="connsiteY4" fmla="*/ 647700 h 733425"/>
              <a:gd name="connsiteX5" fmla="*/ 136525 w 2889264"/>
              <a:gd name="connsiteY5" fmla="*/ 641350 h 733425"/>
              <a:gd name="connsiteX6" fmla="*/ 171450 w 2889264"/>
              <a:gd name="connsiteY6" fmla="*/ 628650 h 733425"/>
              <a:gd name="connsiteX7" fmla="*/ 203200 w 2889264"/>
              <a:gd name="connsiteY7" fmla="*/ 609600 h 733425"/>
              <a:gd name="connsiteX8" fmla="*/ 222250 w 2889264"/>
              <a:gd name="connsiteY8" fmla="*/ 603250 h 733425"/>
              <a:gd name="connsiteX9" fmla="*/ 247650 w 2889264"/>
              <a:gd name="connsiteY9" fmla="*/ 593725 h 733425"/>
              <a:gd name="connsiteX10" fmla="*/ 260350 w 2889264"/>
              <a:gd name="connsiteY10" fmla="*/ 587375 h 733425"/>
              <a:gd name="connsiteX11" fmla="*/ 285750 w 2889264"/>
              <a:gd name="connsiteY11" fmla="*/ 581025 h 733425"/>
              <a:gd name="connsiteX12" fmla="*/ 317500 w 2889264"/>
              <a:gd name="connsiteY12" fmla="*/ 571500 h 733425"/>
              <a:gd name="connsiteX13" fmla="*/ 352425 w 2889264"/>
              <a:gd name="connsiteY13" fmla="*/ 555625 h 733425"/>
              <a:gd name="connsiteX14" fmla="*/ 381000 w 2889264"/>
              <a:gd name="connsiteY14" fmla="*/ 539750 h 733425"/>
              <a:gd name="connsiteX15" fmla="*/ 390525 w 2889264"/>
              <a:gd name="connsiteY15" fmla="*/ 536575 h 733425"/>
              <a:gd name="connsiteX16" fmla="*/ 406400 w 2889264"/>
              <a:gd name="connsiteY16" fmla="*/ 530225 h 733425"/>
              <a:gd name="connsiteX17" fmla="*/ 434975 w 2889264"/>
              <a:gd name="connsiteY17" fmla="*/ 514350 h 733425"/>
              <a:gd name="connsiteX18" fmla="*/ 454025 w 2889264"/>
              <a:gd name="connsiteY18" fmla="*/ 504825 h 733425"/>
              <a:gd name="connsiteX19" fmla="*/ 463550 w 2889264"/>
              <a:gd name="connsiteY19" fmla="*/ 498475 h 733425"/>
              <a:gd name="connsiteX20" fmla="*/ 476250 w 2889264"/>
              <a:gd name="connsiteY20" fmla="*/ 495300 h 733425"/>
              <a:gd name="connsiteX21" fmla="*/ 492125 w 2889264"/>
              <a:gd name="connsiteY21" fmla="*/ 488950 h 733425"/>
              <a:gd name="connsiteX22" fmla="*/ 501650 w 2889264"/>
              <a:gd name="connsiteY22" fmla="*/ 485775 h 733425"/>
              <a:gd name="connsiteX23" fmla="*/ 523875 w 2889264"/>
              <a:gd name="connsiteY23" fmla="*/ 469900 h 733425"/>
              <a:gd name="connsiteX24" fmla="*/ 552450 w 2889264"/>
              <a:gd name="connsiteY24" fmla="*/ 450850 h 733425"/>
              <a:gd name="connsiteX25" fmla="*/ 568325 w 2889264"/>
              <a:gd name="connsiteY25" fmla="*/ 447675 h 733425"/>
              <a:gd name="connsiteX26" fmla="*/ 584200 w 2889264"/>
              <a:gd name="connsiteY26" fmla="*/ 441325 h 733425"/>
              <a:gd name="connsiteX27" fmla="*/ 593725 w 2889264"/>
              <a:gd name="connsiteY27" fmla="*/ 438150 h 733425"/>
              <a:gd name="connsiteX28" fmla="*/ 612775 w 2889264"/>
              <a:gd name="connsiteY28" fmla="*/ 428625 h 733425"/>
              <a:gd name="connsiteX29" fmla="*/ 628650 w 2889264"/>
              <a:gd name="connsiteY29" fmla="*/ 422275 h 733425"/>
              <a:gd name="connsiteX30" fmla="*/ 641350 w 2889264"/>
              <a:gd name="connsiteY30" fmla="*/ 415925 h 733425"/>
              <a:gd name="connsiteX31" fmla="*/ 657225 w 2889264"/>
              <a:gd name="connsiteY31" fmla="*/ 406400 h 733425"/>
              <a:gd name="connsiteX32" fmla="*/ 676275 w 2889264"/>
              <a:gd name="connsiteY32" fmla="*/ 400050 h 733425"/>
              <a:gd name="connsiteX33" fmla="*/ 708025 w 2889264"/>
              <a:gd name="connsiteY33" fmla="*/ 381000 h 733425"/>
              <a:gd name="connsiteX34" fmla="*/ 736600 w 2889264"/>
              <a:gd name="connsiteY34" fmla="*/ 368300 h 733425"/>
              <a:gd name="connsiteX35" fmla="*/ 742950 w 2889264"/>
              <a:gd name="connsiteY35" fmla="*/ 358775 h 733425"/>
              <a:gd name="connsiteX36" fmla="*/ 790575 w 2889264"/>
              <a:gd name="connsiteY36" fmla="*/ 339725 h 733425"/>
              <a:gd name="connsiteX37" fmla="*/ 800100 w 2889264"/>
              <a:gd name="connsiteY37" fmla="*/ 336550 h 733425"/>
              <a:gd name="connsiteX38" fmla="*/ 812800 w 2889264"/>
              <a:gd name="connsiteY38" fmla="*/ 330200 h 733425"/>
              <a:gd name="connsiteX39" fmla="*/ 828675 w 2889264"/>
              <a:gd name="connsiteY39" fmla="*/ 327025 h 733425"/>
              <a:gd name="connsiteX40" fmla="*/ 898525 w 2889264"/>
              <a:gd name="connsiteY40" fmla="*/ 288925 h 733425"/>
              <a:gd name="connsiteX41" fmla="*/ 923925 w 2889264"/>
              <a:gd name="connsiteY41" fmla="*/ 269875 h 733425"/>
              <a:gd name="connsiteX42" fmla="*/ 933450 w 2889264"/>
              <a:gd name="connsiteY42" fmla="*/ 260350 h 733425"/>
              <a:gd name="connsiteX43" fmla="*/ 958850 w 2889264"/>
              <a:gd name="connsiteY43" fmla="*/ 247650 h 733425"/>
              <a:gd name="connsiteX44" fmla="*/ 968375 w 2889264"/>
              <a:gd name="connsiteY44" fmla="*/ 241300 h 733425"/>
              <a:gd name="connsiteX45" fmla="*/ 984250 w 2889264"/>
              <a:gd name="connsiteY45" fmla="*/ 234950 h 733425"/>
              <a:gd name="connsiteX46" fmla="*/ 1006475 w 2889264"/>
              <a:gd name="connsiteY46" fmla="*/ 225425 h 733425"/>
              <a:gd name="connsiteX47" fmla="*/ 1050925 w 2889264"/>
              <a:gd name="connsiteY47" fmla="*/ 212725 h 733425"/>
              <a:gd name="connsiteX48" fmla="*/ 1079500 w 2889264"/>
              <a:gd name="connsiteY48" fmla="*/ 200025 h 733425"/>
              <a:gd name="connsiteX49" fmla="*/ 1098550 w 2889264"/>
              <a:gd name="connsiteY49" fmla="*/ 193675 h 733425"/>
              <a:gd name="connsiteX50" fmla="*/ 1111250 w 2889264"/>
              <a:gd name="connsiteY50" fmla="*/ 187325 h 733425"/>
              <a:gd name="connsiteX51" fmla="*/ 1136650 w 2889264"/>
              <a:gd name="connsiteY51" fmla="*/ 177800 h 733425"/>
              <a:gd name="connsiteX52" fmla="*/ 1181100 w 2889264"/>
              <a:gd name="connsiteY52" fmla="*/ 152400 h 733425"/>
              <a:gd name="connsiteX53" fmla="*/ 1203325 w 2889264"/>
              <a:gd name="connsiteY53" fmla="*/ 130175 h 733425"/>
              <a:gd name="connsiteX54" fmla="*/ 1219200 w 2889264"/>
              <a:gd name="connsiteY54" fmla="*/ 117475 h 733425"/>
              <a:gd name="connsiteX55" fmla="*/ 1276350 w 2889264"/>
              <a:gd name="connsiteY55" fmla="*/ 85725 h 733425"/>
              <a:gd name="connsiteX56" fmla="*/ 1289050 w 2889264"/>
              <a:gd name="connsiteY56" fmla="*/ 79375 h 733425"/>
              <a:gd name="connsiteX57" fmla="*/ 1327150 w 2889264"/>
              <a:gd name="connsiteY57" fmla="*/ 66675 h 733425"/>
              <a:gd name="connsiteX58" fmla="*/ 1343025 w 2889264"/>
              <a:gd name="connsiteY58" fmla="*/ 57150 h 733425"/>
              <a:gd name="connsiteX59" fmla="*/ 1355725 w 2889264"/>
              <a:gd name="connsiteY59" fmla="*/ 47625 h 733425"/>
              <a:gd name="connsiteX60" fmla="*/ 1377950 w 2889264"/>
              <a:gd name="connsiteY60" fmla="*/ 38100 h 733425"/>
              <a:gd name="connsiteX61" fmla="*/ 1416050 w 2889264"/>
              <a:gd name="connsiteY61" fmla="*/ 12700 h 733425"/>
              <a:gd name="connsiteX62" fmla="*/ 1428750 w 2889264"/>
              <a:gd name="connsiteY62" fmla="*/ 0 h 733425"/>
              <a:gd name="connsiteX63" fmla="*/ 1470025 w 2889264"/>
              <a:gd name="connsiteY63" fmla="*/ 28575 h 733425"/>
              <a:gd name="connsiteX64" fmla="*/ 1504950 w 2889264"/>
              <a:gd name="connsiteY64" fmla="*/ 41275 h 733425"/>
              <a:gd name="connsiteX65" fmla="*/ 1517650 w 2889264"/>
              <a:gd name="connsiteY65" fmla="*/ 50800 h 733425"/>
              <a:gd name="connsiteX66" fmla="*/ 1549400 w 2889264"/>
              <a:gd name="connsiteY66" fmla="*/ 60325 h 733425"/>
              <a:gd name="connsiteX67" fmla="*/ 1562100 w 2889264"/>
              <a:gd name="connsiteY67" fmla="*/ 69850 h 733425"/>
              <a:gd name="connsiteX68" fmla="*/ 1574800 w 2889264"/>
              <a:gd name="connsiteY68" fmla="*/ 73025 h 733425"/>
              <a:gd name="connsiteX69" fmla="*/ 1590675 w 2889264"/>
              <a:gd name="connsiteY69" fmla="*/ 79375 h 733425"/>
              <a:gd name="connsiteX70" fmla="*/ 1600200 w 2889264"/>
              <a:gd name="connsiteY70" fmla="*/ 85725 h 733425"/>
              <a:gd name="connsiteX71" fmla="*/ 1612900 w 2889264"/>
              <a:gd name="connsiteY71" fmla="*/ 92075 h 733425"/>
              <a:gd name="connsiteX72" fmla="*/ 1625600 w 2889264"/>
              <a:gd name="connsiteY72" fmla="*/ 101600 h 733425"/>
              <a:gd name="connsiteX73" fmla="*/ 1635125 w 2889264"/>
              <a:gd name="connsiteY73" fmla="*/ 104775 h 733425"/>
              <a:gd name="connsiteX74" fmla="*/ 1654175 w 2889264"/>
              <a:gd name="connsiteY74" fmla="*/ 114300 h 733425"/>
              <a:gd name="connsiteX75" fmla="*/ 1676400 w 2889264"/>
              <a:gd name="connsiteY75" fmla="*/ 130175 h 733425"/>
              <a:gd name="connsiteX76" fmla="*/ 1689100 w 2889264"/>
              <a:gd name="connsiteY76" fmla="*/ 136525 h 733425"/>
              <a:gd name="connsiteX77" fmla="*/ 1714500 w 2889264"/>
              <a:gd name="connsiteY77" fmla="*/ 146050 h 733425"/>
              <a:gd name="connsiteX78" fmla="*/ 1727200 w 2889264"/>
              <a:gd name="connsiteY78" fmla="*/ 155575 h 733425"/>
              <a:gd name="connsiteX79" fmla="*/ 1758950 w 2889264"/>
              <a:gd name="connsiteY79" fmla="*/ 165100 h 733425"/>
              <a:gd name="connsiteX80" fmla="*/ 1768475 w 2889264"/>
              <a:gd name="connsiteY80" fmla="*/ 171450 h 733425"/>
              <a:gd name="connsiteX81" fmla="*/ 1781175 w 2889264"/>
              <a:gd name="connsiteY81" fmla="*/ 180975 h 733425"/>
              <a:gd name="connsiteX82" fmla="*/ 1793875 w 2889264"/>
              <a:gd name="connsiteY82" fmla="*/ 187325 h 733425"/>
              <a:gd name="connsiteX83" fmla="*/ 1838325 w 2889264"/>
              <a:gd name="connsiteY83" fmla="*/ 212725 h 733425"/>
              <a:gd name="connsiteX84" fmla="*/ 1847850 w 2889264"/>
              <a:gd name="connsiteY84" fmla="*/ 222250 h 733425"/>
              <a:gd name="connsiteX85" fmla="*/ 1885950 w 2889264"/>
              <a:gd name="connsiteY85" fmla="*/ 241300 h 733425"/>
              <a:gd name="connsiteX86" fmla="*/ 1901825 w 2889264"/>
              <a:gd name="connsiteY86" fmla="*/ 250825 h 733425"/>
              <a:gd name="connsiteX87" fmla="*/ 1933575 w 2889264"/>
              <a:gd name="connsiteY87" fmla="*/ 263525 h 733425"/>
              <a:gd name="connsiteX88" fmla="*/ 1962150 w 2889264"/>
              <a:gd name="connsiteY88" fmla="*/ 276225 h 733425"/>
              <a:gd name="connsiteX89" fmla="*/ 1971675 w 2889264"/>
              <a:gd name="connsiteY89" fmla="*/ 282575 h 733425"/>
              <a:gd name="connsiteX90" fmla="*/ 1987550 w 2889264"/>
              <a:gd name="connsiteY90" fmla="*/ 288925 h 733425"/>
              <a:gd name="connsiteX91" fmla="*/ 2022475 w 2889264"/>
              <a:gd name="connsiteY91" fmla="*/ 301625 h 733425"/>
              <a:gd name="connsiteX92" fmla="*/ 2047875 w 2889264"/>
              <a:gd name="connsiteY92" fmla="*/ 314325 h 733425"/>
              <a:gd name="connsiteX93" fmla="*/ 2063750 w 2889264"/>
              <a:gd name="connsiteY93" fmla="*/ 320675 h 733425"/>
              <a:gd name="connsiteX94" fmla="*/ 2082800 w 2889264"/>
              <a:gd name="connsiteY94" fmla="*/ 330200 h 733425"/>
              <a:gd name="connsiteX95" fmla="*/ 2095500 w 2889264"/>
              <a:gd name="connsiteY95" fmla="*/ 333375 h 733425"/>
              <a:gd name="connsiteX96" fmla="*/ 2124075 w 2889264"/>
              <a:gd name="connsiteY96" fmla="*/ 342900 h 733425"/>
              <a:gd name="connsiteX97" fmla="*/ 2159000 w 2889264"/>
              <a:gd name="connsiteY97" fmla="*/ 358775 h 733425"/>
              <a:gd name="connsiteX98" fmla="*/ 2187575 w 2889264"/>
              <a:gd name="connsiteY98" fmla="*/ 377825 h 733425"/>
              <a:gd name="connsiteX99" fmla="*/ 2209800 w 2889264"/>
              <a:gd name="connsiteY99" fmla="*/ 393700 h 733425"/>
              <a:gd name="connsiteX100" fmla="*/ 2247900 w 2889264"/>
              <a:gd name="connsiteY100" fmla="*/ 419100 h 733425"/>
              <a:gd name="connsiteX101" fmla="*/ 2276475 w 2889264"/>
              <a:gd name="connsiteY101" fmla="*/ 434975 h 733425"/>
              <a:gd name="connsiteX102" fmla="*/ 2289175 w 2889264"/>
              <a:gd name="connsiteY102" fmla="*/ 444500 h 733425"/>
              <a:gd name="connsiteX103" fmla="*/ 2308225 w 2889264"/>
              <a:gd name="connsiteY103" fmla="*/ 447675 h 733425"/>
              <a:gd name="connsiteX104" fmla="*/ 2333625 w 2889264"/>
              <a:gd name="connsiteY104" fmla="*/ 460375 h 733425"/>
              <a:gd name="connsiteX105" fmla="*/ 2352675 w 2889264"/>
              <a:gd name="connsiteY105" fmla="*/ 466725 h 733425"/>
              <a:gd name="connsiteX106" fmla="*/ 2397125 w 2889264"/>
              <a:gd name="connsiteY106" fmla="*/ 488950 h 733425"/>
              <a:gd name="connsiteX107" fmla="*/ 2422525 w 2889264"/>
              <a:gd name="connsiteY107" fmla="*/ 495300 h 733425"/>
              <a:gd name="connsiteX108" fmla="*/ 2432050 w 2889264"/>
              <a:gd name="connsiteY108" fmla="*/ 498475 h 733425"/>
              <a:gd name="connsiteX109" fmla="*/ 2454275 w 2889264"/>
              <a:gd name="connsiteY109" fmla="*/ 511175 h 733425"/>
              <a:gd name="connsiteX110" fmla="*/ 2470150 w 2889264"/>
              <a:gd name="connsiteY110" fmla="*/ 523875 h 733425"/>
              <a:gd name="connsiteX111" fmla="*/ 2495550 w 2889264"/>
              <a:gd name="connsiteY111" fmla="*/ 533400 h 733425"/>
              <a:gd name="connsiteX112" fmla="*/ 2546350 w 2889264"/>
              <a:gd name="connsiteY112" fmla="*/ 558800 h 733425"/>
              <a:gd name="connsiteX113" fmla="*/ 2574925 w 2889264"/>
              <a:gd name="connsiteY113" fmla="*/ 565150 h 733425"/>
              <a:gd name="connsiteX114" fmla="*/ 2600325 w 2889264"/>
              <a:gd name="connsiteY114" fmla="*/ 577850 h 733425"/>
              <a:gd name="connsiteX115" fmla="*/ 2616200 w 2889264"/>
              <a:gd name="connsiteY115" fmla="*/ 581025 h 733425"/>
              <a:gd name="connsiteX116" fmla="*/ 2638425 w 2889264"/>
              <a:gd name="connsiteY116" fmla="*/ 587375 h 733425"/>
              <a:gd name="connsiteX117" fmla="*/ 2654300 w 2889264"/>
              <a:gd name="connsiteY117" fmla="*/ 596900 h 733425"/>
              <a:gd name="connsiteX118" fmla="*/ 2673350 w 2889264"/>
              <a:gd name="connsiteY118" fmla="*/ 603250 h 733425"/>
              <a:gd name="connsiteX119" fmla="*/ 2708275 w 2889264"/>
              <a:gd name="connsiteY119" fmla="*/ 625475 h 733425"/>
              <a:gd name="connsiteX120" fmla="*/ 2730500 w 2889264"/>
              <a:gd name="connsiteY120" fmla="*/ 635000 h 733425"/>
              <a:gd name="connsiteX121" fmla="*/ 2749550 w 2889264"/>
              <a:gd name="connsiteY121" fmla="*/ 650875 h 733425"/>
              <a:gd name="connsiteX122" fmla="*/ 2774950 w 2889264"/>
              <a:gd name="connsiteY122" fmla="*/ 663575 h 733425"/>
              <a:gd name="connsiteX123" fmla="*/ 2803525 w 2889264"/>
              <a:gd name="connsiteY123" fmla="*/ 676275 h 733425"/>
              <a:gd name="connsiteX124" fmla="*/ 2816225 w 2889264"/>
              <a:gd name="connsiteY124" fmla="*/ 685800 h 733425"/>
              <a:gd name="connsiteX125" fmla="*/ 2832100 w 2889264"/>
              <a:gd name="connsiteY125" fmla="*/ 692150 h 733425"/>
              <a:gd name="connsiteX126" fmla="*/ 2876550 w 2889264"/>
              <a:gd name="connsiteY126" fmla="*/ 723900 h 733425"/>
              <a:gd name="connsiteX127" fmla="*/ 2889250 w 2889264"/>
              <a:gd name="connsiteY127" fmla="*/ 733425 h 733425"/>
              <a:gd name="connsiteX0" fmla="*/ 0 w 2889264"/>
              <a:gd name="connsiteY0" fmla="*/ 720725 h 733425"/>
              <a:gd name="connsiteX1" fmla="*/ 34925 w 2889264"/>
              <a:gd name="connsiteY1" fmla="*/ 698500 h 733425"/>
              <a:gd name="connsiteX2" fmla="*/ 50800 w 2889264"/>
              <a:gd name="connsiteY2" fmla="*/ 695325 h 733425"/>
              <a:gd name="connsiteX3" fmla="*/ 111125 w 2889264"/>
              <a:gd name="connsiteY3" fmla="*/ 657225 h 733425"/>
              <a:gd name="connsiteX4" fmla="*/ 127000 w 2889264"/>
              <a:gd name="connsiteY4" fmla="*/ 647700 h 733425"/>
              <a:gd name="connsiteX5" fmla="*/ 136525 w 2889264"/>
              <a:gd name="connsiteY5" fmla="*/ 641350 h 733425"/>
              <a:gd name="connsiteX6" fmla="*/ 171450 w 2889264"/>
              <a:gd name="connsiteY6" fmla="*/ 628650 h 733425"/>
              <a:gd name="connsiteX7" fmla="*/ 203200 w 2889264"/>
              <a:gd name="connsiteY7" fmla="*/ 609600 h 733425"/>
              <a:gd name="connsiteX8" fmla="*/ 247650 w 2889264"/>
              <a:gd name="connsiteY8" fmla="*/ 593725 h 733425"/>
              <a:gd name="connsiteX9" fmla="*/ 260350 w 2889264"/>
              <a:gd name="connsiteY9" fmla="*/ 587375 h 733425"/>
              <a:gd name="connsiteX10" fmla="*/ 285750 w 2889264"/>
              <a:gd name="connsiteY10" fmla="*/ 581025 h 733425"/>
              <a:gd name="connsiteX11" fmla="*/ 317500 w 2889264"/>
              <a:gd name="connsiteY11" fmla="*/ 571500 h 733425"/>
              <a:gd name="connsiteX12" fmla="*/ 352425 w 2889264"/>
              <a:gd name="connsiteY12" fmla="*/ 555625 h 733425"/>
              <a:gd name="connsiteX13" fmla="*/ 381000 w 2889264"/>
              <a:gd name="connsiteY13" fmla="*/ 539750 h 733425"/>
              <a:gd name="connsiteX14" fmla="*/ 390525 w 2889264"/>
              <a:gd name="connsiteY14" fmla="*/ 536575 h 733425"/>
              <a:gd name="connsiteX15" fmla="*/ 406400 w 2889264"/>
              <a:gd name="connsiteY15" fmla="*/ 530225 h 733425"/>
              <a:gd name="connsiteX16" fmla="*/ 434975 w 2889264"/>
              <a:gd name="connsiteY16" fmla="*/ 514350 h 733425"/>
              <a:gd name="connsiteX17" fmla="*/ 454025 w 2889264"/>
              <a:gd name="connsiteY17" fmla="*/ 504825 h 733425"/>
              <a:gd name="connsiteX18" fmla="*/ 463550 w 2889264"/>
              <a:gd name="connsiteY18" fmla="*/ 498475 h 733425"/>
              <a:gd name="connsiteX19" fmla="*/ 476250 w 2889264"/>
              <a:gd name="connsiteY19" fmla="*/ 495300 h 733425"/>
              <a:gd name="connsiteX20" fmla="*/ 492125 w 2889264"/>
              <a:gd name="connsiteY20" fmla="*/ 488950 h 733425"/>
              <a:gd name="connsiteX21" fmla="*/ 501650 w 2889264"/>
              <a:gd name="connsiteY21" fmla="*/ 485775 h 733425"/>
              <a:gd name="connsiteX22" fmla="*/ 523875 w 2889264"/>
              <a:gd name="connsiteY22" fmla="*/ 469900 h 733425"/>
              <a:gd name="connsiteX23" fmla="*/ 552450 w 2889264"/>
              <a:gd name="connsiteY23" fmla="*/ 450850 h 733425"/>
              <a:gd name="connsiteX24" fmla="*/ 568325 w 2889264"/>
              <a:gd name="connsiteY24" fmla="*/ 447675 h 733425"/>
              <a:gd name="connsiteX25" fmla="*/ 584200 w 2889264"/>
              <a:gd name="connsiteY25" fmla="*/ 441325 h 733425"/>
              <a:gd name="connsiteX26" fmla="*/ 593725 w 2889264"/>
              <a:gd name="connsiteY26" fmla="*/ 438150 h 733425"/>
              <a:gd name="connsiteX27" fmla="*/ 612775 w 2889264"/>
              <a:gd name="connsiteY27" fmla="*/ 428625 h 733425"/>
              <a:gd name="connsiteX28" fmla="*/ 628650 w 2889264"/>
              <a:gd name="connsiteY28" fmla="*/ 422275 h 733425"/>
              <a:gd name="connsiteX29" fmla="*/ 641350 w 2889264"/>
              <a:gd name="connsiteY29" fmla="*/ 415925 h 733425"/>
              <a:gd name="connsiteX30" fmla="*/ 657225 w 2889264"/>
              <a:gd name="connsiteY30" fmla="*/ 406400 h 733425"/>
              <a:gd name="connsiteX31" fmla="*/ 676275 w 2889264"/>
              <a:gd name="connsiteY31" fmla="*/ 400050 h 733425"/>
              <a:gd name="connsiteX32" fmla="*/ 708025 w 2889264"/>
              <a:gd name="connsiteY32" fmla="*/ 381000 h 733425"/>
              <a:gd name="connsiteX33" fmla="*/ 736600 w 2889264"/>
              <a:gd name="connsiteY33" fmla="*/ 368300 h 733425"/>
              <a:gd name="connsiteX34" fmla="*/ 742950 w 2889264"/>
              <a:gd name="connsiteY34" fmla="*/ 358775 h 733425"/>
              <a:gd name="connsiteX35" fmla="*/ 790575 w 2889264"/>
              <a:gd name="connsiteY35" fmla="*/ 339725 h 733425"/>
              <a:gd name="connsiteX36" fmla="*/ 800100 w 2889264"/>
              <a:gd name="connsiteY36" fmla="*/ 336550 h 733425"/>
              <a:gd name="connsiteX37" fmla="*/ 812800 w 2889264"/>
              <a:gd name="connsiteY37" fmla="*/ 330200 h 733425"/>
              <a:gd name="connsiteX38" fmla="*/ 828675 w 2889264"/>
              <a:gd name="connsiteY38" fmla="*/ 327025 h 733425"/>
              <a:gd name="connsiteX39" fmla="*/ 898525 w 2889264"/>
              <a:gd name="connsiteY39" fmla="*/ 288925 h 733425"/>
              <a:gd name="connsiteX40" fmla="*/ 923925 w 2889264"/>
              <a:gd name="connsiteY40" fmla="*/ 269875 h 733425"/>
              <a:gd name="connsiteX41" fmla="*/ 933450 w 2889264"/>
              <a:gd name="connsiteY41" fmla="*/ 260350 h 733425"/>
              <a:gd name="connsiteX42" fmla="*/ 958850 w 2889264"/>
              <a:gd name="connsiteY42" fmla="*/ 247650 h 733425"/>
              <a:gd name="connsiteX43" fmla="*/ 968375 w 2889264"/>
              <a:gd name="connsiteY43" fmla="*/ 241300 h 733425"/>
              <a:gd name="connsiteX44" fmla="*/ 984250 w 2889264"/>
              <a:gd name="connsiteY44" fmla="*/ 234950 h 733425"/>
              <a:gd name="connsiteX45" fmla="*/ 1006475 w 2889264"/>
              <a:gd name="connsiteY45" fmla="*/ 225425 h 733425"/>
              <a:gd name="connsiteX46" fmla="*/ 1050925 w 2889264"/>
              <a:gd name="connsiteY46" fmla="*/ 212725 h 733425"/>
              <a:gd name="connsiteX47" fmla="*/ 1079500 w 2889264"/>
              <a:gd name="connsiteY47" fmla="*/ 200025 h 733425"/>
              <a:gd name="connsiteX48" fmla="*/ 1098550 w 2889264"/>
              <a:gd name="connsiteY48" fmla="*/ 193675 h 733425"/>
              <a:gd name="connsiteX49" fmla="*/ 1111250 w 2889264"/>
              <a:gd name="connsiteY49" fmla="*/ 187325 h 733425"/>
              <a:gd name="connsiteX50" fmla="*/ 1136650 w 2889264"/>
              <a:gd name="connsiteY50" fmla="*/ 177800 h 733425"/>
              <a:gd name="connsiteX51" fmla="*/ 1181100 w 2889264"/>
              <a:gd name="connsiteY51" fmla="*/ 152400 h 733425"/>
              <a:gd name="connsiteX52" fmla="*/ 1203325 w 2889264"/>
              <a:gd name="connsiteY52" fmla="*/ 130175 h 733425"/>
              <a:gd name="connsiteX53" fmla="*/ 1219200 w 2889264"/>
              <a:gd name="connsiteY53" fmla="*/ 117475 h 733425"/>
              <a:gd name="connsiteX54" fmla="*/ 1276350 w 2889264"/>
              <a:gd name="connsiteY54" fmla="*/ 85725 h 733425"/>
              <a:gd name="connsiteX55" fmla="*/ 1289050 w 2889264"/>
              <a:gd name="connsiteY55" fmla="*/ 79375 h 733425"/>
              <a:gd name="connsiteX56" fmla="*/ 1327150 w 2889264"/>
              <a:gd name="connsiteY56" fmla="*/ 66675 h 733425"/>
              <a:gd name="connsiteX57" fmla="*/ 1343025 w 2889264"/>
              <a:gd name="connsiteY57" fmla="*/ 57150 h 733425"/>
              <a:gd name="connsiteX58" fmla="*/ 1355725 w 2889264"/>
              <a:gd name="connsiteY58" fmla="*/ 47625 h 733425"/>
              <a:gd name="connsiteX59" fmla="*/ 1377950 w 2889264"/>
              <a:gd name="connsiteY59" fmla="*/ 38100 h 733425"/>
              <a:gd name="connsiteX60" fmla="*/ 1416050 w 2889264"/>
              <a:gd name="connsiteY60" fmla="*/ 12700 h 733425"/>
              <a:gd name="connsiteX61" fmla="*/ 1428750 w 2889264"/>
              <a:gd name="connsiteY61" fmla="*/ 0 h 733425"/>
              <a:gd name="connsiteX62" fmla="*/ 1470025 w 2889264"/>
              <a:gd name="connsiteY62" fmla="*/ 28575 h 733425"/>
              <a:gd name="connsiteX63" fmla="*/ 1504950 w 2889264"/>
              <a:gd name="connsiteY63" fmla="*/ 41275 h 733425"/>
              <a:gd name="connsiteX64" fmla="*/ 1517650 w 2889264"/>
              <a:gd name="connsiteY64" fmla="*/ 50800 h 733425"/>
              <a:gd name="connsiteX65" fmla="*/ 1549400 w 2889264"/>
              <a:gd name="connsiteY65" fmla="*/ 60325 h 733425"/>
              <a:gd name="connsiteX66" fmla="*/ 1562100 w 2889264"/>
              <a:gd name="connsiteY66" fmla="*/ 69850 h 733425"/>
              <a:gd name="connsiteX67" fmla="*/ 1574800 w 2889264"/>
              <a:gd name="connsiteY67" fmla="*/ 73025 h 733425"/>
              <a:gd name="connsiteX68" fmla="*/ 1590675 w 2889264"/>
              <a:gd name="connsiteY68" fmla="*/ 79375 h 733425"/>
              <a:gd name="connsiteX69" fmla="*/ 1600200 w 2889264"/>
              <a:gd name="connsiteY69" fmla="*/ 85725 h 733425"/>
              <a:gd name="connsiteX70" fmla="*/ 1612900 w 2889264"/>
              <a:gd name="connsiteY70" fmla="*/ 92075 h 733425"/>
              <a:gd name="connsiteX71" fmla="*/ 1625600 w 2889264"/>
              <a:gd name="connsiteY71" fmla="*/ 101600 h 733425"/>
              <a:gd name="connsiteX72" fmla="*/ 1635125 w 2889264"/>
              <a:gd name="connsiteY72" fmla="*/ 104775 h 733425"/>
              <a:gd name="connsiteX73" fmla="*/ 1654175 w 2889264"/>
              <a:gd name="connsiteY73" fmla="*/ 114300 h 733425"/>
              <a:gd name="connsiteX74" fmla="*/ 1676400 w 2889264"/>
              <a:gd name="connsiteY74" fmla="*/ 130175 h 733425"/>
              <a:gd name="connsiteX75" fmla="*/ 1689100 w 2889264"/>
              <a:gd name="connsiteY75" fmla="*/ 136525 h 733425"/>
              <a:gd name="connsiteX76" fmla="*/ 1714500 w 2889264"/>
              <a:gd name="connsiteY76" fmla="*/ 146050 h 733425"/>
              <a:gd name="connsiteX77" fmla="*/ 1727200 w 2889264"/>
              <a:gd name="connsiteY77" fmla="*/ 155575 h 733425"/>
              <a:gd name="connsiteX78" fmla="*/ 1758950 w 2889264"/>
              <a:gd name="connsiteY78" fmla="*/ 165100 h 733425"/>
              <a:gd name="connsiteX79" fmla="*/ 1768475 w 2889264"/>
              <a:gd name="connsiteY79" fmla="*/ 171450 h 733425"/>
              <a:gd name="connsiteX80" fmla="*/ 1781175 w 2889264"/>
              <a:gd name="connsiteY80" fmla="*/ 180975 h 733425"/>
              <a:gd name="connsiteX81" fmla="*/ 1793875 w 2889264"/>
              <a:gd name="connsiteY81" fmla="*/ 187325 h 733425"/>
              <a:gd name="connsiteX82" fmla="*/ 1838325 w 2889264"/>
              <a:gd name="connsiteY82" fmla="*/ 212725 h 733425"/>
              <a:gd name="connsiteX83" fmla="*/ 1847850 w 2889264"/>
              <a:gd name="connsiteY83" fmla="*/ 222250 h 733425"/>
              <a:gd name="connsiteX84" fmla="*/ 1885950 w 2889264"/>
              <a:gd name="connsiteY84" fmla="*/ 241300 h 733425"/>
              <a:gd name="connsiteX85" fmla="*/ 1901825 w 2889264"/>
              <a:gd name="connsiteY85" fmla="*/ 250825 h 733425"/>
              <a:gd name="connsiteX86" fmla="*/ 1933575 w 2889264"/>
              <a:gd name="connsiteY86" fmla="*/ 263525 h 733425"/>
              <a:gd name="connsiteX87" fmla="*/ 1962150 w 2889264"/>
              <a:gd name="connsiteY87" fmla="*/ 276225 h 733425"/>
              <a:gd name="connsiteX88" fmla="*/ 1971675 w 2889264"/>
              <a:gd name="connsiteY88" fmla="*/ 282575 h 733425"/>
              <a:gd name="connsiteX89" fmla="*/ 1987550 w 2889264"/>
              <a:gd name="connsiteY89" fmla="*/ 288925 h 733425"/>
              <a:gd name="connsiteX90" fmla="*/ 2022475 w 2889264"/>
              <a:gd name="connsiteY90" fmla="*/ 301625 h 733425"/>
              <a:gd name="connsiteX91" fmla="*/ 2047875 w 2889264"/>
              <a:gd name="connsiteY91" fmla="*/ 314325 h 733425"/>
              <a:gd name="connsiteX92" fmla="*/ 2063750 w 2889264"/>
              <a:gd name="connsiteY92" fmla="*/ 320675 h 733425"/>
              <a:gd name="connsiteX93" fmla="*/ 2082800 w 2889264"/>
              <a:gd name="connsiteY93" fmla="*/ 330200 h 733425"/>
              <a:gd name="connsiteX94" fmla="*/ 2095500 w 2889264"/>
              <a:gd name="connsiteY94" fmla="*/ 333375 h 733425"/>
              <a:gd name="connsiteX95" fmla="*/ 2124075 w 2889264"/>
              <a:gd name="connsiteY95" fmla="*/ 342900 h 733425"/>
              <a:gd name="connsiteX96" fmla="*/ 2159000 w 2889264"/>
              <a:gd name="connsiteY96" fmla="*/ 358775 h 733425"/>
              <a:gd name="connsiteX97" fmla="*/ 2187575 w 2889264"/>
              <a:gd name="connsiteY97" fmla="*/ 377825 h 733425"/>
              <a:gd name="connsiteX98" fmla="*/ 2209800 w 2889264"/>
              <a:gd name="connsiteY98" fmla="*/ 393700 h 733425"/>
              <a:gd name="connsiteX99" fmla="*/ 2247900 w 2889264"/>
              <a:gd name="connsiteY99" fmla="*/ 419100 h 733425"/>
              <a:gd name="connsiteX100" fmla="*/ 2276475 w 2889264"/>
              <a:gd name="connsiteY100" fmla="*/ 434975 h 733425"/>
              <a:gd name="connsiteX101" fmla="*/ 2289175 w 2889264"/>
              <a:gd name="connsiteY101" fmla="*/ 444500 h 733425"/>
              <a:gd name="connsiteX102" fmla="*/ 2308225 w 2889264"/>
              <a:gd name="connsiteY102" fmla="*/ 447675 h 733425"/>
              <a:gd name="connsiteX103" fmla="*/ 2333625 w 2889264"/>
              <a:gd name="connsiteY103" fmla="*/ 460375 h 733425"/>
              <a:gd name="connsiteX104" fmla="*/ 2352675 w 2889264"/>
              <a:gd name="connsiteY104" fmla="*/ 466725 h 733425"/>
              <a:gd name="connsiteX105" fmla="*/ 2397125 w 2889264"/>
              <a:gd name="connsiteY105" fmla="*/ 488950 h 733425"/>
              <a:gd name="connsiteX106" fmla="*/ 2422525 w 2889264"/>
              <a:gd name="connsiteY106" fmla="*/ 495300 h 733425"/>
              <a:gd name="connsiteX107" fmla="*/ 2432050 w 2889264"/>
              <a:gd name="connsiteY107" fmla="*/ 498475 h 733425"/>
              <a:gd name="connsiteX108" fmla="*/ 2454275 w 2889264"/>
              <a:gd name="connsiteY108" fmla="*/ 511175 h 733425"/>
              <a:gd name="connsiteX109" fmla="*/ 2470150 w 2889264"/>
              <a:gd name="connsiteY109" fmla="*/ 523875 h 733425"/>
              <a:gd name="connsiteX110" fmla="*/ 2495550 w 2889264"/>
              <a:gd name="connsiteY110" fmla="*/ 533400 h 733425"/>
              <a:gd name="connsiteX111" fmla="*/ 2546350 w 2889264"/>
              <a:gd name="connsiteY111" fmla="*/ 558800 h 733425"/>
              <a:gd name="connsiteX112" fmla="*/ 2574925 w 2889264"/>
              <a:gd name="connsiteY112" fmla="*/ 565150 h 733425"/>
              <a:gd name="connsiteX113" fmla="*/ 2600325 w 2889264"/>
              <a:gd name="connsiteY113" fmla="*/ 577850 h 733425"/>
              <a:gd name="connsiteX114" fmla="*/ 2616200 w 2889264"/>
              <a:gd name="connsiteY114" fmla="*/ 581025 h 733425"/>
              <a:gd name="connsiteX115" fmla="*/ 2638425 w 2889264"/>
              <a:gd name="connsiteY115" fmla="*/ 587375 h 733425"/>
              <a:gd name="connsiteX116" fmla="*/ 2654300 w 2889264"/>
              <a:gd name="connsiteY116" fmla="*/ 596900 h 733425"/>
              <a:gd name="connsiteX117" fmla="*/ 2673350 w 2889264"/>
              <a:gd name="connsiteY117" fmla="*/ 603250 h 733425"/>
              <a:gd name="connsiteX118" fmla="*/ 2708275 w 2889264"/>
              <a:gd name="connsiteY118" fmla="*/ 625475 h 733425"/>
              <a:gd name="connsiteX119" fmla="*/ 2730500 w 2889264"/>
              <a:gd name="connsiteY119" fmla="*/ 635000 h 733425"/>
              <a:gd name="connsiteX120" fmla="*/ 2749550 w 2889264"/>
              <a:gd name="connsiteY120" fmla="*/ 650875 h 733425"/>
              <a:gd name="connsiteX121" fmla="*/ 2774950 w 2889264"/>
              <a:gd name="connsiteY121" fmla="*/ 663575 h 733425"/>
              <a:gd name="connsiteX122" fmla="*/ 2803525 w 2889264"/>
              <a:gd name="connsiteY122" fmla="*/ 676275 h 733425"/>
              <a:gd name="connsiteX123" fmla="*/ 2816225 w 2889264"/>
              <a:gd name="connsiteY123" fmla="*/ 685800 h 733425"/>
              <a:gd name="connsiteX124" fmla="*/ 2832100 w 2889264"/>
              <a:gd name="connsiteY124" fmla="*/ 692150 h 733425"/>
              <a:gd name="connsiteX125" fmla="*/ 2876550 w 2889264"/>
              <a:gd name="connsiteY125" fmla="*/ 723900 h 733425"/>
              <a:gd name="connsiteX126" fmla="*/ 2889250 w 2889264"/>
              <a:gd name="connsiteY126" fmla="*/ 733425 h 733425"/>
              <a:gd name="connsiteX0" fmla="*/ 0 w 2889264"/>
              <a:gd name="connsiteY0" fmla="*/ 720725 h 733425"/>
              <a:gd name="connsiteX1" fmla="*/ 34925 w 2889264"/>
              <a:gd name="connsiteY1" fmla="*/ 698500 h 733425"/>
              <a:gd name="connsiteX2" fmla="*/ 50800 w 2889264"/>
              <a:gd name="connsiteY2" fmla="*/ 695325 h 733425"/>
              <a:gd name="connsiteX3" fmla="*/ 111125 w 2889264"/>
              <a:gd name="connsiteY3" fmla="*/ 657225 h 733425"/>
              <a:gd name="connsiteX4" fmla="*/ 127000 w 2889264"/>
              <a:gd name="connsiteY4" fmla="*/ 647700 h 733425"/>
              <a:gd name="connsiteX5" fmla="*/ 136525 w 2889264"/>
              <a:gd name="connsiteY5" fmla="*/ 641350 h 733425"/>
              <a:gd name="connsiteX6" fmla="*/ 171450 w 2889264"/>
              <a:gd name="connsiteY6" fmla="*/ 628650 h 733425"/>
              <a:gd name="connsiteX7" fmla="*/ 203200 w 2889264"/>
              <a:gd name="connsiteY7" fmla="*/ 609600 h 733425"/>
              <a:gd name="connsiteX8" fmla="*/ 247650 w 2889264"/>
              <a:gd name="connsiteY8" fmla="*/ 593725 h 733425"/>
              <a:gd name="connsiteX9" fmla="*/ 285750 w 2889264"/>
              <a:gd name="connsiteY9" fmla="*/ 581025 h 733425"/>
              <a:gd name="connsiteX10" fmla="*/ 317500 w 2889264"/>
              <a:gd name="connsiteY10" fmla="*/ 571500 h 733425"/>
              <a:gd name="connsiteX11" fmla="*/ 352425 w 2889264"/>
              <a:gd name="connsiteY11" fmla="*/ 555625 h 733425"/>
              <a:gd name="connsiteX12" fmla="*/ 381000 w 2889264"/>
              <a:gd name="connsiteY12" fmla="*/ 539750 h 733425"/>
              <a:gd name="connsiteX13" fmla="*/ 390525 w 2889264"/>
              <a:gd name="connsiteY13" fmla="*/ 536575 h 733425"/>
              <a:gd name="connsiteX14" fmla="*/ 406400 w 2889264"/>
              <a:gd name="connsiteY14" fmla="*/ 530225 h 733425"/>
              <a:gd name="connsiteX15" fmla="*/ 434975 w 2889264"/>
              <a:gd name="connsiteY15" fmla="*/ 514350 h 733425"/>
              <a:gd name="connsiteX16" fmla="*/ 454025 w 2889264"/>
              <a:gd name="connsiteY16" fmla="*/ 504825 h 733425"/>
              <a:gd name="connsiteX17" fmla="*/ 463550 w 2889264"/>
              <a:gd name="connsiteY17" fmla="*/ 498475 h 733425"/>
              <a:gd name="connsiteX18" fmla="*/ 476250 w 2889264"/>
              <a:gd name="connsiteY18" fmla="*/ 495300 h 733425"/>
              <a:gd name="connsiteX19" fmla="*/ 492125 w 2889264"/>
              <a:gd name="connsiteY19" fmla="*/ 488950 h 733425"/>
              <a:gd name="connsiteX20" fmla="*/ 501650 w 2889264"/>
              <a:gd name="connsiteY20" fmla="*/ 485775 h 733425"/>
              <a:gd name="connsiteX21" fmla="*/ 523875 w 2889264"/>
              <a:gd name="connsiteY21" fmla="*/ 469900 h 733425"/>
              <a:gd name="connsiteX22" fmla="*/ 552450 w 2889264"/>
              <a:gd name="connsiteY22" fmla="*/ 450850 h 733425"/>
              <a:gd name="connsiteX23" fmla="*/ 568325 w 2889264"/>
              <a:gd name="connsiteY23" fmla="*/ 447675 h 733425"/>
              <a:gd name="connsiteX24" fmla="*/ 584200 w 2889264"/>
              <a:gd name="connsiteY24" fmla="*/ 441325 h 733425"/>
              <a:gd name="connsiteX25" fmla="*/ 593725 w 2889264"/>
              <a:gd name="connsiteY25" fmla="*/ 438150 h 733425"/>
              <a:gd name="connsiteX26" fmla="*/ 612775 w 2889264"/>
              <a:gd name="connsiteY26" fmla="*/ 428625 h 733425"/>
              <a:gd name="connsiteX27" fmla="*/ 628650 w 2889264"/>
              <a:gd name="connsiteY27" fmla="*/ 422275 h 733425"/>
              <a:gd name="connsiteX28" fmla="*/ 641350 w 2889264"/>
              <a:gd name="connsiteY28" fmla="*/ 415925 h 733425"/>
              <a:gd name="connsiteX29" fmla="*/ 657225 w 2889264"/>
              <a:gd name="connsiteY29" fmla="*/ 406400 h 733425"/>
              <a:gd name="connsiteX30" fmla="*/ 676275 w 2889264"/>
              <a:gd name="connsiteY30" fmla="*/ 400050 h 733425"/>
              <a:gd name="connsiteX31" fmla="*/ 708025 w 2889264"/>
              <a:gd name="connsiteY31" fmla="*/ 381000 h 733425"/>
              <a:gd name="connsiteX32" fmla="*/ 736600 w 2889264"/>
              <a:gd name="connsiteY32" fmla="*/ 368300 h 733425"/>
              <a:gd name="connsiteX33" fmla="*/ 742950 w 2889264"/>
              <a:gd name="connsiteY33" fmla="*/ 358775 h 733425"/>
              <a:gd name="connsiteX34" fmla="*/ 790575 w 2889264"/>
              <a:gd name="connsiteY34" fmla="*/ 339725 h 733425"/>
              <a:gd name="connsiteX35" fmla="*/ 800100 w 2889264"/>
              <a:gd name="connsiteY35" fmla="*/ 336550 h 733425"/>
              <a:gd name="connsiteX36" fmla="*/ 812800 w 2889264"/>
              <a:gd name="connsiteY36" fmla="*/ 330200 h 733425"/>
              <a:gd name="connsiteX37" fmla="*/ 828675 w 2889264"/>
              <a:gd name="connsiteY37" fmla="*/ 327025 h 733425"/>
              <a:gd name="connsiteX38" fmla="*/ 898525 w 2889264"/>
              <a:gd name="connsiteY38" fmla="*/ 288925 h 733425"/>
              <a:gd name="connsiteX39" fmla="*/ 923925 w 2889264"/>
              <a:gd name="connsiteY39" fmla="*/ 269875 h 733425"/>
              <a:gd name="connsiteX40" fmla="*/ 933450 w 2889264"/>
              <a:gd name="connsiteY40" fmla="*/ 260350 h 733425"/>
              <a:gd name="connsiteX41" fmla="*/ 958850 w 2889264"/>
              <a:gd name="connsiteY41" fmla="*/ 247650 h 733425"/>
              <a:gd name="connsiteX42" fmla="*/ 968375 w 2889264"/>
              <a:gd name="connsiteY42" fmla="*/ 241300 h 733425"/>
              <a:gd name="connsiteX43" fmla="*/ 984250 w 2889264"/>
              <a:gd name="connsiteY43" fmla="*/ 234950 h 733425"/>
              <a:gd name="connsiteX44" fmla="*/ 1006475 w 2889264"/>
              <a:gd name="connsiteY44" fmla="*/ 225425 h 733425"/>
              <a:gd name="connsiteX45" fmla="*/ 1050925 w 2889264"/>
              <a:gd name="connsiteY45" fmla="*/ 212725 h 733425"/>
              <a:gd name="connsiteX46" fmla="*/ 1079500 w 2889264"/>
              <a:gd name="connsiteY46" fmla="*/ 200025 h 733425"/>
              <a:gd name="connsiteX47" fmla="*/ 1098550 w 2889264"/>
              <a:gd name="connsiteY47" fmla="*/ 193675 h 733425"/>
              <a:gd name="connsiteX48" fmla="*/ 1111250 w 2889264"/>
              <a:gd name="connsiteY48" fmla="*/ 187325 h 733425"/>
              <a:gd name="connsiteX49" fmla="*/ 1136650 w 2889264"/>
              <a:gd name="connsiteY49" fmla="*/ 177800 h 733425"/>
              <a:gd name="connsiteX50" fmla="*/ 1181100 w 2889264"/>
              <a:gd name="connsiteY50" fmla="*/ 152400 h 733425"/>
              <a:gd name="connsiteX51" fmla="*/ 1203325 w 2889264"/>
              <a:gd name="connsiteY51" fmla="*/ 130175 h 733425"/>
              <a:gd name="connsiteX52" fmla="*/ 1219200 w 2889264"/>
              <a:gd name="connsiteY52" fmla="*/ 117475 h 733425"/>
              <a:gd name="connsiteX53" fmla="*/ 1276350 w 2889264"/>
              <a:gd name="connsiteY53" fmla="*/ 85725 h 733425"/>
              <a:gd name="connsiteX54" fmla="*/ 1289050 w 2889264"/>
              <a:gd name="connsiteY54" fmla="*/ 79375 h 733425"/>
              <a:gd name="connsiteX55" fmla="*/ 1327150 w 2889264"/>
              <a:gd name="connsiteY55" fmla="*/ 66675 h 733425"/>
              <a:gd name="connsiteX56" fmla="*/ 1343025 w 2889264"/>
              <a:gd name="connsiteY56" fmla="*/ 57150 h 733425"/>
              <a:gd name="connsiteX57" fmla="*/ 1355725 w 2889264"/>
              <a:gd name="connsiteY57" fmla="*/ 47625 h 733425"/>
              <a:gd name="connsiteX58" fmla="*/ 1377950 w 2889264"/>
              <a:gd name="connsiteY58" fmla="*/ 38100 h 733425"/>
              <a:gd name="connsiteX59" fmla="*/ 1416050 w 2889264"/>
              <a:gd name="connsiteY59" fmla="*/ 12700 h 733425"/>
              <a:gd name="connsiteX60" fmla="*/ 1428750 w 2889264"/>
              <a:gd name="connsiteY60" fmla="*/ 0 h 733425"/>
              <a:gd name="connsiteX61" fmla="*/ 1470025 w 2889264"/>
              <a:gd name="connsiteY61" fmla="*/ 28575 h 733425"/>
              <a:gd name="connsiteX62" fmla="*/ 1504950 w 2889264"/>
              <a:gd name="connsiteY62" fmla="*/ 41275 h 733425"/>
              <a:gd name="connsiteX63" fmla="*/ 1517650 w 2889264"/>
              <a:gd name="connsiteY63" fmla="*/ 50800 h 733425"/>
              <a:gd name="connsiteX64" fmla="*/ 1549400 w 2889264"/>
              <a:gd name="connsiteY64" fmla="*/ 60325 h 733425"/>
              <a:gd name="connsiteX65" fmla="*/ 1562100 w 2889264"/>
              <a:gd name="connsiteY65" fmla="*/ 69850 h 733425"/>
              <a:gd name="connsiteX66" fmla="*/ 1574800 w 2889264"/>
              <a:gd name="connsiteY66" fmla="*/ 73025 h 733425"/>
              <a:gd name="connsiteX67" fmla="*/ 1590675 w 2889264"/>
              <a:gd name="connsiteY67" fmla="*/ 79375 h 733425"/>
              <a:gd name="connsiteX68" fmla="*/ 1600200 w 2889264"/>
              <a:gd name="connsiteY68" fmla="*/ 85725 h 733425"/>
              <a:gd name="connsiteX69" fmla="*/ 1612900 w 2889264"/>
              <a:gd name="connsiteY69" fmla="*/ 92075 h 733425"/>
              <a:gd name="connsiteX70" fmla="*/ 1625600 w 2889264"/>
              <a:gd name="connsiteY70" fmla="*/ 101600 h 733425"/>
              <a:gd name="connsiteX71" fmla="*/ 1635125 w 2889264"/>
              <a:gd name="connsiteY71" fmla="*/ 104775 h 733425"/>
              <a:gd name="connsiteX72" fmla="*/ 1654175 w 2889264"/>
              <a:gd name="connsiteY72" fmla="*/ 114300 h 733425"/>
              <a:gd name="connsiteX73" fmla="*/ 1676400 w 2889264"/>
              <a:gd name="connsiteY73" fmla="*/ 130175 h 733425"/>
              <a:gd name="connsiteX74" fmla="*/ 1689100 w 2889264"/>
              <a:gd name="connsiteY74" fmla="*/ 136525 h 733425"/>
              <a:gd name="connsiteX75" fmla="*/ 1714500 w 2889264"/>
              <a:gd name="connsiteY75" fmla="*/ 146050 h 733425"/>
              <a:gd name="connsiteX76" fmla="*/ 1727200 w 2889264"/>
              <a:gd name="connsiteY76" fmla="*/ 155575 h 733425"/>
              <a:gd name="connsiteX77" fmla="*/ 1758950 w 2889264"/>
              <a:gd name="connsiteY77" fmla="*/ 165100 h 733425"/>
              <a:gd name="connsiteX78" fmla="*/ 1768475 w 2889264"/>
              <a:gd name="connsiteY78" fmla="*/ 171450 h 733425"/>
              <a:gd name="connsiteX79" fmla="*/ 1781175 w 2889264"/>
              <a:gd name="connsiteY79" fmla="*/ 180975 h 733425"/>
              <a:gd name="connsiteX80" fmla="*/ 1793875 w 2889264"/>
              <a:gd name="connsiteY80" fmla="*/ 187325 h 733425"/>
              <a:gd name="connsiteX81" fmla="*/ 1838325 w 2889264"/>
              <a:gd name="connsiteY81" fmla="*/ 212725 h 733425"/>
              <a:gd name="connsiteX82" fmla="*/ 1847850 w 2889264"/>
              <a:gd name="connsiteY82" fmla="*/ 222250 h 733425"/>
              <a:gd name="connsiteX83" fmla="*/ 1885950 w 2889264"/>
              <a:gd name="connsiteY83" fmla="*/ 241300 h 733425"/>
              <a:gd name="connsiteX84" fmla="*/ 1901825 w 2889264"/>
              <a:gd name="connsiteY84" fmla="*/ 250825 h 733425"/>
              <a:gd name="connsiteX85" fmla="*/ 1933575 w 2889264"/>
              <a:gd name="connsiteY85" fmla="*/ 263525 h 733425"/>
              <a:gd name="connsiteX86" fmla="*/ 1962150 w 2889264"/>
              <a:gd name="connsiteY86" fmla="*/ 276225 h 733425"/>
              <a:gd name="connsiteX87" fmla="*/ 1971675 w 2889264"/>
              <a:gd name="connsiteY87" fmla="*/ 282575 h 733425"/>
              <a:gd name="connsiteX88" fmla="*/ 1987550 w 2889264"/>
              <a:gd name="connsiteY88" fmla="*/ 288925 h 733425"/>
              <a:gd name="connsiteX89" fmla="*/ 2022475 w 2889264"/>
              <a:gd name="connsiteY89" fmla="*/ 301625 h 733425"/>
              <a:gd name="connsiteX90" fmla="*/ 2047875 w 2889264"/>
              <a:gd name="connsiteY90" fmla="*/ 314325 h 733425"/>
              <a:gd name="connsiteX91" fmla="*/ 2063750 w 2889264"/>
              <a:gd name="connsiteY91" fmla="*/ 320675 h 733425"/>
              <a:gd name="connsiteX92" fmla="*/ 2082800 w 2889264"/>
              <a:gd name="connsiteY92" fmla="*/ 330200 h 733425"/>
              <a:gd name="connsiteX93" fmla="*/ 2095500 w 2889264"/>
              <a:gd name="connsiteY93" fmla="*/ 333375 h 733425"/>
              <a:gd name="connsiteX94" fmla="*/ 2124075 w 2889264"/>
              <a:gd name="connsiteY94" fmla="*/ 342900 h 733425"/>
              <a:gd name="connsiteX95" fmla="*/ 2159000 w 2889264"/>
              <a:gd name="connsiteY95" fmla="*/ 358775 h 733425"/>
              <a:gd name="connsiteX96" fmla="*/ 2187575 w 2889264"/>
              <a:gd name="connsiteY96" fmla="*/ 377825 h 733425"/>
              <a:gd name="connsiteX97" fmla="*/ 2209800 w 2889264"/>
              <a:gd name="connsiteY97" fmla="*/ 393700 h 733425"/>
              <a:gd name="connsiteX98" fmla="*/ 2247900 w 2889264"/>
              <a:gd name="connsiteY98" fmla="*/ 419100 h 733425"/>
              <a:gd name="connsiteX99" fmla="*/ 2276475 w 2889264"/>
              <a:gd name="connsiteY99" fmla="*/ 434975 h 733425"/>
              <a:gd name="connsiteX100" fmla="*/ 2289175 w 2889264"/>
              <a:gd name="connsiteY100" fmla="*/ 444500 h 733425"/>
              <a:gd name="connsiteX101" fmla="*/ 2308225 w 2889264"/>
              <a:gd name="connsiteY101" fmla="*/ 447675 h 733425"/>
              <a:gd name="connsiteX102" fmla="*/ 2333625 w 2889264"/>
              <a:gd name="connsiteY102" fmla="*/ 460375 h 733425"/>
              <a:gd name="connsiteX103" fmla="*/ 2352675 w 2889264"/>
              <a:gd name="connsiteY103" fmla="*/ 466725 h 733425"/>
              <a:gd name="connsiteX104" fmla="*/ 2397125 w 2889264"/>
              <a:gd name="connsiteY104" fmla="*/ 488950 h 733425"/>
              <a:gd name="connsiteX105" fmla="*/ 2422525 w 2889264"/>
              <a:gd name="connsiteY105" fmla="*/ 495300 h 733425"/>
              <a:gd name="connsiteX106" fmla="*/ 2432050 w 2889264"/>
              <a:gd name="connsiteY106" fmla="*/ 498475 h 733425"/>
              <a:gd name="connsiteX107" fmla="*/ 2454275 w 2889264"/>
              <a:gd name="connsiteY107" fmla="*/ 511175 h 733425"/>
              <a:gd name="connsiteX108" fmla="*/ 2470150 w 2889264"/>
              <a:gd name="connsiteY108" fmla="*/ 523875 h 733425"/>
              <a:gd name="connsiteX109" fmla="*/ 2495550 w 2889264"/>
              <a:gd name="connsiteY109" fmla="*/ 533400 h 733425"/>
              <a:gd name="connsiteX110" fmla="*/ 2546350 w 2889264"/>
              <a:gd name="connsiteY110" fmla="*/ 558800 h 733425"/>
              <a:gd name="connsiteX111" fmla="*/ 2574925 w 2889264"/>
              <a:gd name="connsiteY111" fmla="*/ 565150 h 733425"/>
              <a:gd name="connsiteX112" fmla="*/ 2600325 w 2889264"/>
              <a:gd name="connsiteY112" fmla="*/ 577850 h 733425"/>
              <a:gd name="connsiteX113" fmla="*/ 2616200 w 2889264"/>
              <a:gd name="connsiteY113" fmla="*/ 581025 h 733425"/>
              <a:gd name="connsiteX114" fmla="*/ 2638425 w 2889264"/>
              <a:gd name="connsiteY114" fmla="*/ 587375 h 733425"/>
              <a:gd name="connsiteX115" fmla="*/ 2654300 w 2889264"/>
              <a:gd name="connsiteY115" fmla="*/ 596900 h 733425"/>
              <a:gd name="connsiteX116" fmla="*/ 2673350 w 2889264"/>
              <a:gd name="connsiteY116" fmla="*/ 603250 h 733425"/>
              <a:gd name="connsiteX117" fmla="*/ 2708275 w 2889264"/>
              <a:gd name="connsiteY117" fmla="*/ 625475 h 733425"/>
              <a:gd name="connsiteX118" fmla="*/ 2730500 w 2889264"/>
              <a:gd name="connsiteY118" fmla="*/ 635000 h 733425"/>
              <a:gd name="connsiteX119" fmla="*/ 2749550 w 2889264"/>
              <a:gd name="connsiteY119" fmla="*/ 650875 h 733425"/>
              <a:gd name="connsiteX120" fmla="*/ 2774950 w 2889264"/>
              <a:gd name="connsiteY120" fmla="*/ 663575 h 733425"/>
              <a:gd name="connsiteX121" fmla="*/ 2803525 w 2889264"/>
              <a:gd name="connsiteY121" fmla="*/ 676275 h 733425"/>
              <a:gd name="connsiteX122" fmla="*/ 2816225 w 2889264"/>
              <a:gd name="connsiteY122" fmla="*/ 685800 h 733425"/>
              <a:gd name="connsiteX123" fmla="*/ 2832100 w 2889264"/>
              <a:gd name="connsiteY123" fmla="*/ 692150 h 733425"/>
              <a:gd name="connsiteX124" fmla="*/ 2876550 w 2889264"/>
              <a:gd name="connsiteY124" fmla="*/ 723900 h 733425"/>
              <a:gd name="connsiteX125" fmla="*/ 2889250 w 2889264"/>
              <a:gd name="connsiteY125" fmla="*/ 733425 h 733425"/>
              <a:gd name="connsiteX0" fmla="*/ 0 w 2889264"/>
              <a:gd name="connsiteY0" fmla="*/ 720725 h 733425"/>
              <a:gd name="connsiteX1" fmla="*/ 34925 w 2889264"/>
              <a:gd name="connsiteY1" fmla="*/ 698500 h 733425"/>
              <a:gd name="connsiteX2" fmla="*/ 50800 w 2889264"/>
              <a:gd name="connsiteY2" fmla="*/ 695325 h 733425"/>
              <a:gd name="connsiteX3" fmla="*/ 111125 w 2889264"/>
              <a:gd name="connsiteY3" fmla="*/ 657225 h 733425"/>
              <a:gd name="connsiteX4" fmla="*/ 127000 w 2889264"/>
              <a:gd name="connsiteY4" fmla="*/ 647700 h 733425"/>
              <a:gd name="connsiteX5" fmla="*/ 171450 w 2889264"/>
              <a:gd name="connsiteY5" fmla="*/ 628650 h 733425"/>
              <a:gd name="connsiteX6" fmla="*/ 203200 w 2889264"/>
              <a:gd name="connsiteY6" fmla="*/ 609600 h 733425"/>
              <a:gd name="connsiteX7" fmla="*/ 247650 w 2889264"/>
              <a:gd name="connsiteY7" fmla="*/ 593725 h 733425"/>
              <a:gd name="connsiteX8" fmla="*/ 285750 w 2889264"/>
              <a:gd name="connsiteY8" fmla="*/ 581025 h 733425"/>
              <a:gd name="connsiteX9" fmla="*/ 317500 w 2889264"/>
              <a:gd name="connsiteY9" fmla="*/ 571500 h 733425"/>
              <a:gd name="connsiteX10" fmla="*/ 352425 w 2889264"/>
              <a:gd name="connsiteY10" fmla="*/ 555625 h 733425"/>
              <a:gd name="connsiteX11" fmla="*/ 381000 w 2889264"/>
              <a:gd name="connsiteY11" fmla="*/ 539750 h 733425"/>
              <a:gd name="connsiteX12" fmla="*/ 390525 w 2889264"/>
              <a:gd name="connsiteY12" fmla="*/ 536575 h 733425"/>
              <a:gd name="connsiteX13" fmla="*/ 406400 w 2889264"/>
              <a:gd name="connsiteY13" fmla="*/ 530225 h 733425"/>
              <a:gd name="connsiteX14" fmla="*/ 434975 w 2889264"/>
              <a:gd name="connsiteY14" fmla="*/ 514350 h 733425"/>
              <a:gd name="connsiteX15" fmla="*/ 454025 w 2889264"/>
              <a:gd name="connsiteY15" fmla="*/ 504825 h 733425"/>
              <a:gd name="connsiteX16" fmla="*/ 463550 w 2889264"/>
              <a:gd name="connsiteY16" fmla="*/ 498475 h 733425"/>
              <a:gd name="connsiteX17" fmla="*/ 476250 w 2889264"/>
              <a:gd name="connsiteY17" fmla="*/ 495300 h 733425"/>
              <a:gd name="connsiteX18" fmla="*/ 492125 w 2889264"/>
              <a:gd name="connsiteY18" fmla="*/ 488950 h 733425"/>
              <a:gd name="connsiteX19" fmla="*/ 501650 w 2889264"/>
              <a:gd name="connsiteY19" fmla="*/ 485775 h 733425"/>
              <a:gd name="connsiteX20" fmla="*/ 523875 w 2889264"/>
              <a:gd name="connsiteY20" fmla="*/ 469900 h 733425"/>
              <a:gd name="connsiteX21" fmla="*/ 552450 w 2889264"/>
              <a:gd name="connsiteY21" fmla="*/ 450850 h 733425"/>
              <a:gd name="connsiteX22" fmla="*/ 568325 w 2889264"/>
              <a:gd name="connsiteY22" fmla="*/ 447675 h 733425"/>
              <a:gd name="connsiteX23" fmla="*/ 584200 w 2889264"/>
              <a:gd name="connsiteY23" fmla="*/ 441325 h 733425"/>
              <a:gd name="connsiteX24" fmla="*/ 593725 w 2889264"/>
              <a:gd name="connsiteY24" fmla="*/ 438150 h 733425"/>
              <a:gd name="connsiteX25" fmla="*/ 612775 w 2889264"/>
              <a:gd name="connsiteY25" fmla="*/ 428625 h 733425"/>
              <a:gd name="connsiteX26" fmla="*/ 628650 w 2889264"/>
              <a:gd name="connsiteY26" fmla="*/ 422275 h 733425"/>
              <a:gd name="connsiteX27" fmla="*/ 641350 w 2889264"/>
              <a:gd name="connsiteY27" fmla="*/ 415925 h 733425"/>
              <a:gd name="connsiteX28" fmla="*/ 657225 w 2889264"/>
              <a:gd name="connsiteY28" fmla="*/ 406400 h 733425"/>
              <a:gd name="connsiteX29" fmla="*/ 676275 w 2889264"/>
              <a:gd name="connsiteY29" fmla="*/ 400050 h 733425"/>
              <a:gd name="connsiteX30" fmla="*/ 708025 w 2889264"/>
              <a:gd name="connsiteY30" fmla="*/ 381000 h 733425"/>
              <a:gd name="connsiteX31" fmla="*/ 736600 w 2889264"/>
              <a:gd name="connsiteY31" fmla="*/ 368300 h 733425"/>
              <a:gd name="connsiteX32" fmla="*/ 742950 w 2889264"/>
              <a:gd name="connsiteY32" fmla="*/ 358775 h 733425"/>
              <a:gd name="connsiteX33" fmla="*/ 790575 w 2889264"/>
              <a:gd name="connsiteY33" fmla="*/ 339725 h 733425"/>
              <a:gd name="connsiteX34" fmla="*/ 800100 w 2889264"/>
              <a:gd name="connsiteY34" fmla="*/ 336550 h 733425"/>
              <a:gd name="connsiteX35" fmla="*/ 812800 w 2889264"/>
              <a:gd name="connsiteY35" fmla="*/ 330200 h 733425"/>
              <a:gd name="connsiteX36" fmla="*/ 828675 w 2889264"/>
              <a:gd name="connsiteY36" fmla="*/ 327025 h 733425"/>
              <a:gd name="connsiteX37" fmla="*/ 898525 w 2889264"/>
              <a:gd name="connsiteY37" fmla="*/ 288925 h 733425"/>
              <a:gd name="connsiteX38" fmla="*/ 923925 w 2889264"/>
              <a:gd name="connsiteY38" fmla="*/ 269875 h 733425"/>
              <a:gd name="connsiteX39" fmla="*/ 933450 w 2889264"/>
              <a:gd name="connsiteY39" fmla="*/ 260350 h 733425"/>
              <a:gd name="connsiteX40" fmla="*/ 958850 w 2889264"/>
              <a:gd name="connsiteY40" fmla="*/ 247650 h 733425"/>
              <a:gd name="connsiteX41" fmla="*/ 968375 w 2889264"/>
              <a:gd name="connsiteY41" fmla="*/ 241300 h 733425"/>
              <a:gd name="connsiteX42" fmla="*/ 984250 w 2889264"/>
              <a:gd name="connsiteY42" fmla="*/ 234950 h 733425"/>
              <a:gd name="connsiteX43" fmla="*/ 1006475 w 2889264"/>
              <a:gd name="connsiteY43" fmla="*/ 225425 h 733425"/>
              <a:gd name="connsiteX44" fmla="*/ 1050925 w 2889264"/>
              <a:gd name="connsiteY44" fmla="*/ 212725 h 733425"/>
              <a:gd name="connsiteX45" fmla="*/ 1079500 w 2889264"/>
              <a:gd name="connsiteY45" fmla="*/ 200025 h 733425"/>
              <a:gd name="connsiteX46" fmla="*/ 1098550 w 2889264"/>
              <a:gd name="connsiteY46" fmla="*/ 193675 h 733425"/>
              <a:gd name="connsiteX47" fmla="*/ 1111250 w 2889264"/>
              <a:gd name="connsiteY47" fmla="*/ 187325 h 733425"/>
              <a:gd name="connsiteX48" fmla="*/ 1136650 w 2889264"/>
              <a:gd name="connsiteY48" fmla="*/ 177800 h 733425"/>
              <a:gd name="connsiteX49" fmla="*/ 1181100 w 2889264"/>
              <a:gd name="connsiteY49" fmla="*/ 152400 h 733425"/>
              <a:gd name="connsiteX50" fmla="*/ 1203325 w 2889264"/>
              <a:gd name="connsiteY50" fmla="*/ 130175 h 733425"/>
              <a:gd name="connsiteX51" fmla="*/ 1219200 w 2889264"/>
              <a:gd name="connsiteY51" fmla="*/ 117475 h 733425"/>
              <a:gd name="connsiteX52" fmla="*/ 1276350 w 2889264"/>
              <a:gd name="connsiteY52" fmla="*/ 85725 h 733425"/>
              <a:gd name="connsiteX53" fmla="*/ 1289050 w 2889264"/>
              <a:gd name="connsiteY53" fmla="*/ 79375 h 733425"/>
              <a:gd name="connsiteX54" fmla="*/ 1327150 w 2889264"/>
              <a:gd name="connsiteY54" fmla="*/ 66675 h 733425"/>
              <a:gd name="connsiteX55" fmla="*/ 1343025 w 2889264"/>
              <a:gd name="connsiteY55" fmla="*/ 57150 h 733425"/>
              <a:gd name="connsiteX56" fmla="*/ 1355725 w 2889264"/>
              <a:gd name="connsiteY56" fmla="*/ 47625 h 733425"/>
              <a:gd name="connsiteX57" fmla="*/ 1377950 w 2889264"/>
              <a:gd name="connsiteY57" fmla="*/ 38100 h 733425"/>
              <a:gd name="connsiteX58" fmla="*/ 1416050 w 2889264"/>
              <a:gd name="connsiteY58" fmla="*/ 12700 h 733425"/>
              <a:gd name="connsiteX59" fmla="*/ 1428750 w 2889264"/>
              <a:gd name="connsiteY59" fmla="*/ 0 h 733425"/>
              <a:gd name="connsiteX60" fmla="*/ 1470025 w 2889264"/>
              <a:gd name="connsiteY60" fmla="*/ 28575 h 733425"/>
              <a:gd name="connsiteX61" fmla="*/ 1504950 w 2889264"/>
              <a:gd name="connsiteY61" fmla="*/ 41275 h 733425"/>
              <a:gd name="connsiteX62" fmla="*/ 1517650 w 2889264"/>
              <a:gd name="connsiteY62" fmla="*/ 50800 h 733425"/>
              <a:gd name="connsiteX63" fmla="*/ 1549400 w 2889264"/>
              <a:gd name="connsiteY63" fmla="*/ 60325 h 733425"/>
              <a:gd name="connsiteX64" fmla="*/ 1562100 w 2889264"/>
              <a:gd name="connsiteY64" fmla="*/ 69850 h 733425"/>
              <a:gd name="connsiteX65" fmla="*/ 1574800 w 2889264"/>
              <a:gd name="connsiteY65" fmla="*/ 73025 h 733425"/>
              <a:gd name="connsiteX66" fmla="*/ 1590675 w 2889264"/>
              <a:gd name="connsiteY66" fmla="*/ 79375 h 733425"/>
              <a:gd name="connsiteX67" fmla="*/ 1600200 w 2889264"/>
              <a:gd name="connsiteY67" fmla="*/ 85725 h 733425"/>
              <a:gd name="connsiteX68" fmla="*/ 1612900 w 2889264"/>
              <a:gd name="connsiteY68" fmla="*/ 92075 h 733425"/>
              <a:gd name="connsiteX69" fmla="*/ 1625600 w 2889264"/>
              <a:gd name="connsiteY69" fmla="*/ 101600 h 733425"/>
              <a:gd name="connsiteX70" fmla="*/ 1635125 w 2889264"/>
              <a:gd name="connsiteY70" fmla="*/ 104775 h 733425"/>
              <a:gd name="connsiteX71" fmla="*/ 1654175 w 2889264"/>
              <a:gd name="connsiteY71" fmla="*/ 114300 h 733425"/>
              <a:gd name="connsiteX72" fmla="*/ 1676400 w 2889264"/>
              <a:gd name="connsiteY72" fmla="*/ 130175 h 733425"/>
              <a:gd name="connsiteX73" fmla="*/ 1689100 w 2889264"/>
              <a:gd name="connsiteY73" fmla="*/ 136525 h 733425"/>
              <a:gd name="connsiteX74" fmla="*/ 1714500 w 2889264"/>
              <a:gd name="connsiteY74" fmla="*/ 146050 h 733425"/>
              <a:gd name="connsiteX75" fmla="*/ 1727200 w 2889264"/>
              <a:gd name="connsiteY75" fmla="*/ 155575 h 733425"/>
              <a:gd name="connsiteX76" fmla="*/ 1758950 w 2889264"/>
              <a:gd name="connsiteY76" fmla="*/ 165100 h 733425"/>
              <a:gd name="connsiteX77" fmla="*/ 1768475 w 2889264"/>
              <a:gd name="connsiteY77" fmla="*/ 171450 h 733425"/>
              <a:gd name="connsiteX78" fmla="*/ 1781175 w 2889264"/>
              <a:gd name="connsiteY78" fmla="*/ 180975 h 733425"/>
              <a:gd name="connsiteX79" fmla="*/ 1793875 w 2889264"/>
              <a:gd name="connsiteY79" fmla="*/ 187325 h 733425"/>
              <a:gd name="connsiteX80" fmla="*/ 1838325 w 2889264"/>
              <a:gd name="connsiteY80" fmla="*/ 212725 h 733425"/>
              <a:gd name="connsiteX81" fmla="*/ 1847850 w 2889264"/>
              <a:gd name="connsiteY81" fmla="*/ 222250 h 733425"/>
              <a:gd name="connsiteX82" fmla="*/ 1885950 w 2889264"/>
              <a:gd name="connsiteY82" fmla="*/ 241300 h 733425"/>
              <a:gd name="connsiteX83" fmla="*/ 1901825 w 2889264"/>
              <a:gd name="connsiteY83" fmla="*/ 250825 h 733425"/>
              <a:gd name="connsiteX84" fmla="*/ 1933575 w 2889264"/>
              <a:gd name="connsiteY84" fmla="*/ 263525 h 733425"/>
              <a:gd name="connsiteX85" fmla="*/ 1962150 w 2889264"/>
              <a:gd name="connsiteY85" fmla="*/ 276225 h 733425"/>
              <a:gd name="connsiteX86" fmla="*/ 1971675 w 2889264"/>
              <a:gd name="connsiteY86" fmla="*/ 282575 h 733425"/>
              <a:gd name="connsiteX87" fmla="*/ 1987550 w 2889264"/>
              <a:gd name="connsiteY87" fmla="*/ 288925 h 733425"/>
              <a:gd name="connsiteX88" fmla="*/ 2022475 w 2889264"/>
              <a:gd name="connsiteY88" fmla="*/ 301625 h 733425"/>
              <a:gd name="connsiteX89" fmla="*/ 2047875 w 2889264"/>
              <a:gd name="connsiteY89" fmla="*/ 314325 h 733425"/>
              <a:gd name="connsiteX90" fmla="*/ 2063750 w 2889264"/>
              <a:gd name="connsiteY90" fmla="*/ 320675 h 733425"/>
              <a:gd name="connsiteX91" fmla="*/ 2082800 w 2889264"/>
              <a:gd name="connsiteY91" fmla="*/ 330200 h 733425"/>
              <a:gd name="connsiteX92" fmla="*/ 2095500 w 2889264"/>
              <a:gd name="connsiteY92" fmla="*/ 333375 h 733425"/>
              <a:gd name="connsiteX93" fmla="*/ 2124075 w 2889264"/>
              <a:gd name="connsiteY93" fmla="*/ 342900 h 733425"/>
              <a:gd name="connsiteX94" fmla="*/ 2159000 w 2889264"/>
              <a:gd name="connsiteY94" fmla="*/ 358775 h 733425"/>
              <a:gd name="connsiteX95" fmla="*/ 2187575 w 2889264"/>
              <a:gd name="connsiteY95" fmla="*/ 377825 h 733425"/>
              <a:gd name="connsiteX96" fmla="*/ 2209800 w 2889264"/>
              <a:gd name="connsiteY96" fmla="*/ 393700 h 733425"/>
              <a:gd name="connsiteX97" fmla="*/ 2247900 w 2889264"/>
              <a:gd name="connsiteY97" fmla="*/ 419100 h 733425"/>
              <a:gd name="connsiteX98" fmla="*/ 2276475 w 2889264"/>
              <a:gd name="connsiteY98" fmla="*/ 434975 h 733425"/>
              <a:gd name="connsiteX99" fmla="*/ 2289175 w 2889264"/>
              <a:gd name="connsiteY99" fmla="*/ 444500 h 733425"/>
              <a:gd name="connsiteX100" fmla="*/ 2308225 w 2889264"/>
              <a:gd name="connsiteY100" fmla="*/ 447675 h 733425"/>
              <a:gd name="connsiteX101" fmla="*/ 2333625 w 2889264"/>
              <a:gd name="connsiteY101" fmla="*/ 460375 h 733425"/>
              <a:gd name="connsiteX102" fmla="*/ 2352675 w 2889264"/>
              <a:gd name="connsiteY102" fmla="*/ 466725 h 733425"/>
              <a:gd name="connsiteX103" fmla="*/ 2397125 w 2889264"/>
              <a:gd name="connsiteY103" fmla="*/ 488950 h 733425"/>
              <a:gd name="connsiteX104" fmla="*/ 2422525 w 2889264"/>
              <a:gd name="connsiteY104" fmla="*/ 495300 h 733425"/>
              <a:gd name="connsiteX105" fmla="*/ 2432050 w 2889264"/>
              <a:gd name="connsiteY105" fmla="*/ 498475 h 733425"/>
              <a:gd name="connsiteX106" fmla="*/ 2454275 w 2889264"/>
              <a:gd name="connsiteY106" fmla="*/ 511175 h 733425"/>
              <a:gd name="connsiteX107" fmla="*/ 2470150 w 2889264"/>
              <a:gd name="connsiteY107" fmla="*/ 523875 h 733425"/>
              <a:gd name="connsiteX108" fmla="*/ 2495550 w 2889264"/>
              <a:gd name="connsiteY108" fmla="*/ 533400 h 733425"/>
              <a:gd name="connsiteX109" fmla="*/ 2546350 w 2889264"/>
              <a:gd name="connsiteY109" fmla="*/ 558800 h 733425"/>
              <a:gd name="connsiteX110" fmla="*/ 2574925 w 2889264"/>
              <a:gd name="connsiteY110" fmla="*/ 565150 h 733425"/>
              <a:gd name="connsiteX111" fmla="*/ 2600325 w 2889264"/>
              <a:gd name="connsiteY111" fmla="*/ 577850 h 733425"/>
              <a:gd name="connsiteX112" fmla="*/ 2616200 w 2889264"/>
              <a:gd name="connsiteY112" fmla="*/ 581025 h 733425"/>
              <a:gd name="connsiteX113" fmla="*/ 2638425 w 2889264"/>
              <a:gd name="connsiteY113" fmla="*/ 587375 h 733425"/>
              <a:gd name="connsiteX114" fmla="*/ 2654300 w 2889264"/>
              <a:gd name="connsiteY114" fmla="*/ 596900 h 733425"/>
              <a:gd name="connsiteX115" fmla="*/ 2673350 w 2889264"/>
              <a:gd name="connsiteY115" fmla="*/ 603250 h 733425"/>
              <a:gd name="connsiteX116" fmla="*/ 2708275 w 2889264"/>
              <a:gd name="connsiteY116" fmla="*/ 625475 h 733425"/>
              <a:gd name="connsiteX117" fmla="*/ 2730500 w 2889264"/>
              <a:gd name="connsiteY117" fmla="*/ 635000 h 733425"/>
              <a:gd name="connsiteX118" fmla="*/ 2749550 w 2889264"/>
              <a:gd name="connsiteY118" fmla="*/ 650875 h 733425"/>
              <a:gd name="connsiteX119" fmla="*/ 2774950 w 2889264"/>
              <a:gd name="connsiteY119" fmla="*/ 663575 h 733425"/>
              <a:gd name="connsiteX120" fmla="*/ 2803525 w 2889264"/>
              <a:gd name="connsiteY120" fmla="*/ 676275 h 733425"/>
              <a:gd name="connsiteX121" fmla="*/ 2816225 w 2889264"/>
              <a:gd name="connsiteY121" fmla="*/ 685800 h 733425"/>
              <a:gd name="connsiteX122" fmla="*/ 2832100 w 2889264"/>
              <a:gd name="connsiteY122" fmla="*/ 692150 h 733425"/>
              <a:gd name="connsiteX123" fmla="*/ 2876550 w 2889264"/>
              <a:gd name="connsiteY123" fmla="*/ 723900 h 733425"/>
              <a:gd name="connsiteX124" fmla="*/ 2889250 w 2889264"/>
              <a:gd name="connsiteY124" fmla="*/ 733425 h 733425"/>
              <a:gd name="connsiteX0" fmla="*/ 0 w 2889264"/>
              <a:gd name="connsiteY0" fmla="*/ 720725 h 733425"/>
              <a:gd name="connsiteX1" fmla="*/ 34925 w 2889264"/>
              <a:gd name="connsiteY1" fmla="*/ 698500 h 733425"/>
              <a:gd name="connsiteX2" fmla="*/ 50800 w 2889264"/>
              <a:gd name="connsiteY2" fmla="*/ 695325 h 733425"/>
              <a:gd name="connsiteX3" fmla="*/ 111125 w 2889264"/>
              <a:gd name="connsiteY3" fmla="*/ 657225 h 733425"/>
              <a:gd name="connsiteX4" fmla="*/ 171450 w 2889264"/>
              <a:gd name="connsiteY4" fmla="*/ 628650 h 733425"/>
              <a:gd name="connsiteX5" fmla="*/ 203200 w 2889264"/>
              <a:gd name="connsiteY5" fmla="*/ 609600 h 733425"/>
              <a:gd name="connsiteX6" fmla="*/ 247650 w 2889264"/>
              <a:gd name="connsiteY6" fmla="*/ 593725 h 733425"/>
              <a:gd name="connsiteX7" fmla="*/ 285750 w 2889264"/>
              <a:gd name="connsiteY7" fmla="*/ 581025 h 733425"/>
              <a:gd name="connsiteX8" fmla="*/ 317500 w 2889264"/>
              <a:gd name="connsiteY8" fmla="*/ 571500 h 733425"/>
              <a:gd name="connsiteX9" fmla="*/ 352425 w 2889264"/>
              <a:gd name="connsiteY9" fmla="*/ 555625 h 733425"/>
              <a:gd name="connsiteX10" fmla="*/ 381000 w 2889264"/>
              <a:gd name="connsiteY10" fmla="*/ 539750 h 733425"/>
              <a:gd name="connsiteX11" fmla="*/ 390525 w 2889264"/>
              <a:gd name="connsiteY11" fmla="*/ 536575 h 733425"/>
              <a:gd name="connsiteX12" fmla="*/ 406400 w 2889264"/>
              <a:gd name="connsiteY12" fmla="*/ 530225 h 733425"/>
              <a:gd name="connsiteX13" fmla="*/ 434975 w 2889264"/>
              <a:gd name="connsiteY13" fmla="*/ 514350 h 733425"/>
              <a:gd name="connsiteX14" fmla="*/ 454025 w 2889264"/>
              <a:gd name="connsiteY14" fmla="*/ 504825 h 733425"/>
              <a:gd name="connsiteX15" fmla="*/ 463550 w 2889264"/>
              <a:gd name="connsiteY15" fmla="*/ 498475 h 733425"/>
              <a:gd name="connsiteX16" fmla="*/ 476250 w 2889264"/>
              <a:gd name="connsiteY16" fmla="*/ 495300 h 733425"/>
              <a:gd name="connsiteX17" fmla="*/ 492125 w 2889264"/>
              <a:gd name="connsiteY17" fmla="*/ 488950 h 733425"/>
              <a:gd name="connsiteX18" fmla="*/ 501650 w 2889264"/>
              <a:gd name="connsiteY18" fmla="*/ 485775 h 733425"/>
              <a:gd name="connsiteX19" fmla="*/ 523875 w 2889264"/>
              <a:gd name="connsiteY19" fmla="*/ 469900 h 733425"/>
              <a:gd name="connsiteX20" fmla="*/ 552450 w 2889264"/>
              <a:gd name="connsiteY20" fmla="*/ 450850 h 733425"/>
              <a:gd name="connsiteX21" fmla="*/ 568325 w 2889264"/>
              <a:gd name="connsiteY21" fmla="*/ 447675 h 733425"/>
              <a:gd name="connsiteX22" fmla="*/ 584200 w 2889264"/>
              <a:gd name="connsiteY22" fmla="*/ 441325 h 733425"/>
              <a:gd name="connsiteX23" fmla="*/ 593725 w 2889264"/>
              <a:gd name="connsiteY23" fmla="*/ 438150 h 733425"/>
              <a:gd name="connsiteX24" fmla="*/ 612775 w 2889264"/>
              <a:gd name="connsiteY24" fmla="*/ 428625 h 733425"/>
              <a:gd name="connsiteX25" fmla="*/ 628650 w 2889264"/>
              <a:gd name="connsiteY25" fmla="*/ 422275 h 733425"/>
              <a:gd name="connsiteX26" fmla="*/ 641350 w 2889264"/>
              <a:gd name="connsiteY26" fmla="*/ 415925 h 733425"/>
              <a:gd name="connsiteX27" fmla="*/ 657225 w 2889264"/>
              <a:gd name="connsiteY27" fmla="*/ 406400 h 733425"/>
              <a:gd name="connsiteX28" fmla="*/ 676275 w 2889264"/>
              <a:gd name="connsiteY28" fmla="*/ 400050 h 733425"/>
              <a:gd name="connsiteX29" fmla="*/ 708025 w 2889264"/>
              <a:gd name="connsiteY29" fmla="*/ 381000 h 733425"/>
              <a:gd name="connsiteX30" fmla="*/ 736600 w 2889264"/>
              <a:gd name="connsiteY30" fmla="*/ 368300 h 733425"/>
              <a:gd name="connsiteX31" fmla="*/ 742950 w 2889264"/>
              <a:gd name="connsiteY31" fmla="*/ 358775 h 733425"/>
              <a:gd name="connsiteX32" fmla="*/ 790575 w 2889264"/>
              <a:gd name="connsiteY32" fmla="*/ 339725 h 733425"/>
              <a:gd name="connsiteX33" fmla="*/ 800100 w 2889264"/>
              <a:gd name="connsiteY33" fmla="*/ 336550 h 733425"/>
              <a:gd name="connsiteX34" fmla="*/ 812800 w 2889264"/>
              <a:gd name="connsiteY34" fmla="*/ 330200 h 733425"/>
              <a:gd name="connsiteX35" fmla="*/ 828675 w 2889264"/>
              <a:gd name="connsiteY35" fmla="*/ 327025 h 733425"/>
              <a:gd name="connsiteX36" fmla="*/ 898525 w 2889264"/>
              <a:gd name="connsiteY36" fmla="*/ 288925 h 733425"/>
              <a:gd name="connsiteX37" fmla="*/ 923925 w 2889264"/>
              <a:gd name="connsiteY37" fmla="*/ 269875 h 733425"/>
              <a:gd name="connsiteX38" fmla="*/ 933450 w 2889264"/>
              <a:gd name="connsiteY38" fmla="*/ 260350 h 733425"/>
              <a:gd name="connsiteX39" fmla="*/ 958850 w 2889264"/>
              <a:gd name="connsiteY39" fmla="*/ 247650 h 733425"/>
              <a:gd name="connsiteX40" fmla="*/ 968375 w 2889264"/>
              <a:gd name="connsiteY40" fmla="*/ 241300 h 733425"/>
              <a:gd name="connsiteX41" fmla="*/ 984250 w 2889264"/>
              <a:gd name="connsiteY41" fmla="*/ 234950 h 733425"/>
              <a:gd name="connsiteX42" fmla="*/ 1006475 w 2889264"/>
              <a:gd name="connsiteY42" fmla="*/ 225425 h 733425"/>
              <a:gd name="connsiteX43" fmla="*/ 1050925 w 2889264"/>
              <a:gd name="connsiteY43" fmla="*/ 212725 h 733425"/>
              <a:gd name="connsiteX44" fmla="*/ 1079500 w 2889264"/>
              <a:gd name="connsiteY44" fmla="*/ 200025 h 733425"/>
              <a:gd name="connsiteX45" fmla="*/ 1098550 w 2889264"/>
              <a:gd name="connsiteY45" fmla="*/ 193675 h 733425"/>
              <a:gd name="connsiteX46" fmla="*/ 1111250 w 2889264"/>
              <a:gd name="connsiteY46" fmla="*/ 187325 h 733425"/>
              <a:gd name="connsiteX47" fmla="*/ 1136650 w 2889264"/>
              <a:gd name="connsiteY47" fmla="*/ 177800 h 733425"/>
              <a:gd name="connsiteX48" fmla="*/ 1181100 w 2889264"/>
              <a:gd name="connsiteY48" fmla="*/ 152400 h 733425"/>
              <a:gd name="connsiteX49" fmla="*/ 1203325 w 2889264"/>
              <a:gd name="connsiteY49" fmla="*/ 130175 h 733425"/>
              <a:gd name="connsiteX50" fmla="*/ 1219200 w 2889264"/>
              <a:gd name="connsiteY50" fmla="*/ 117475 h 733425"/>
              <a:gd name="connsiteX51" fmla="*/ 1276350 w 2889264"/>
              <a:gd name="connsiteY51" fmla="*/ 85725 h 733425"/>
              <a:gd name="connsiteX52" fmla="*/ 1289050 w 2889264"/>
              <a:gd name="connsiteY52" fmla="*/ 79375 h 733425"/>
              <a:gd name="connsiteX53" fmla="*/ 1327150 w 2889264"/>
              <a:gd name="connsiteY53" fmla="*/ 66675 h 733425"/>
              <a:gd name="connsiteX54" fmla="*/ 1343025 w 2889264"/>
              <a:gd name="connsiteY54" fmla="*/ 57150 h 733425"/>
              <a:gd name="connsiteX55" fmla="*/ 1355725 w 2889264"/>
              <a:gd name="connsiteY55" fmla="*/ 47625 h 733425"/>
              <a:gd name="connsiteX56" fmla="*/ 1377950 w 2889264"/>
              <a:gd name="connsiteY56" fmla="*/ 38100 h 733425"/>
              <a:gd name="connsiteX57" fmla="*/ 1416050 w 2889264"/>
              <a:gd name="connsiteY57" fmla="*/ 12700 h 733425"/>
              <a:gd name="connsiteX58" fmla="*/ 1428750 w 2889264"/>
              <a:gd name="connsiteY58" fmla="*/ 0 h 733425"/>
              <a:gd name="connsiteX59" fmla="*/ 1470025 w 2889264"/>
              <a:gd name="connsiteY59" fmla="*/ 28575 h 733425"/>
              <a:gd name="connsiteX60" fmla="*/ 1504950 w 2889264"/>
              <a:gd name="connsiteY60" fmla="*/ 41275 h 733425"/>
              <a:gd name="connsiteX61" fmla="*/ 1517650 w 2889264"/>
              <a:gd name="connsiteY61" fmla="*/ 50800 h 733425"/>
              <a:gd name="connsiteX62" fmla="*/ 1549400 w 2889264"/>
              <a:gd name="connsiteY62" fmla="*/ 60325 h 733425"/>
              <a:gd name="connsiteX63" fmla="*/ 1562100 w 2889264"/>
              <a:gd name="connsiteY63" fmla="*/ 69850 h 733425"/>
              <a:gd name="connsiteX64" fmla="*/ 1574800 w 2889264"/>
              <a:gd name="connsiteY64" fmla="*/ 73025 h 733425"/>
              <a:gd name="connsiteX65" fmla="*/ 1590675 w 2889264"/>
              <a:gd name="connsiteY65" fmla="*/ 79375 h 733425"/>
              <a:gd name="connsiteX66" fmla="*/ 1600200 w 2889264"/>
              <a:gd name="connsiteY66" fmla="*/ 85725 h 733425"/>
              <a:gd name="connsiteX67" fmla="*/ 1612900 w 2889264"/>
              <a:gd name="connsiteY67" fmla="*/ 92075 h 733425"/>
              <a:gd name="connsiteX68" fmla="*/ 1625600 w 2889264"/>
              <a:gd name="connsiteY68" fmla="*/ 101600 h 733425"/>
              <a:gd name="connsiteX69" fmla="*/ 1635125 w 2889264"/>
              <a:gd name="connsiteY69" fmla="*/ 104775 h 733425"/>
              <a:gd name="connsiteX70" fmla="*/ 1654175 w 2889264"/>
              <a:gd name="connsiteY70" fmla="*/ 114300 h 733425"/>
              <a:gd name="connsiteX71" fmla="*/ 1676400 w 2889264"/>
              <a:gd name="connsiteY71" fmla="*/ 130175 h 733425"/>
              <a:gd name="connsiteX72" fmla="*/ 1689100 w 2889264"/>
              <a:gd name="connsiteY72" fmla="*/ 136525 h 733425"/>
              <a:gd name="connsiteX73" fmla="*/ 1714500 w 2889264"/>
              <a:gd name="connsiteY73" fmla="*/ 146050 h 733425"/>
              <a:gd name="connsiteX74" fmla="*/ 1727200 w 2889264"/>
              <a:gd name="connsiteY74" fmla="*/ 155575 h 733425"/>
              <a:gd name="connsiteX75" fmla="*/ 1758950 w 2889264"/>
              <a:gd name="connsiteY75" fmla="*/ 165100 h 733425"/>
              <a:gd name="connsiteX76" fmla="*/ 1768475 w 2889264"/>
              <a:gd name="connsiteY76" fmla="*/ 171450 h 733425"/>
              <a:gd name="connsiteX77" fmla="*/ 1781175 w 2889264"/>
              <a:gd name="connsiteY77" fmla="*/ 180975 h 733425"/>
              <a:gd name="connsiteX78" fmla="*/ 1793875 w 2889264"/>
              <a:gd name="connsiteY78" fmla="*/ 187325 h 733425"/>
              <a:gd name="connsiteX79" fmla="*/ 1838325 w 2889264"/>
              <a:gd name="connsiteY79" fmla="*/ 212725 h 733425"/>
              <a:gd name="connsiteX80" fmla="*/ 1847850 w 2889264"/>
              <a:gd name="connsiteY80" fmla="*/ 222250 h 733425"/>
              <a:gd name="connsiteX81" fmla="*/ 1885950 w 2889264"/>
              <a:gd name="connsiteY81" fmla="*/ 241300 h 733425"/>
              <a:gd name="connsiteX82" fmla="*/ 1901825 w 2889264"/>
              <a:gd name="connsiteY82" fmla="*/ 250825 h 733425"/>
              <a:gd name="connsiteX83" fmla="*/ 1933575 w 2889264"/>
              <a:gd name="connsiteY83" fmla="*/ 263525 h 733425"/>
              <a:gd name="connsiteX84" fmla="*/ 1962150 w 2889264"/>
              <a:gd name="connsiteY84" fmla="*/ 276225 h 733425"/>
              <a:gd name="connsiteX85" fmla="*/ 1971675 w 2889264"/>
              <a:gd name="connsiteY85" fmla="*/ 282575 h 733425"/>
              <a:gd name="connsiteX86" fmla="*/ 1987550 w 2889264"/>
              <a:gd name="connsiteY86" fmla="*/ 288925 h 733425"/>
              <a:gd name="connsiteX87" fmla="*/ 2022475 w 2889264"/>
              <a:gd name="connsiteY87" fmla="*/ 301625 h 733425"/>
              <a:gd name="connsiteX88" fmla="*/ 2047875 w 2889264"/>
              <a:gd name="connsiteY88" fmla="*/ 314325 h 733425"/>
              <a:gd name="connsiteX89" fmla="*/ 2063750 w 2889264"/>
              <a:gd name="connsiteY89" fmla="*/ 320675 h 733425"/>
              <a:gd name="connsiteX90" fmla="*/ 2082800 w 2889264"/>
              <a:gd name="connsiteY90" fmla="*/ 330200 h 733425"/>
              <a:gd name="connsiteX91" fmla="*/ 2095500 w 2889264"/>
              <a:gd name="connsiteY91" fmla="*/ 333375 h 733425"/>
              <a:gd name="connsiteX92" fmla="*/ 2124075 w 2889264"/>
              <a:gd name="connsiteY92" fmla="*/ 342900 h 733425"/>
              <a:gd name="connsiteX93" fmla="*/ 2159000 w 2889264"/>
              <a:gd name="connsiteY93" fmla="*/ 358775 h 733425"/>
              <a:gd name="connsiteX94" fmla="*/ 2187575 w 2889264"/>
              <a:gd name="connsiteY94" fmla="*/ 377825 h 733425"/>
              <a:gd name="connsiteX95" fmla="*/ 2209800 w 2889264"/>
              <a:gd name="connsiteY95" fmla="*/ 393700 h 733425"/>
              <a:gd name="connsiteX96" fmla="*/ 2247900 w 2889264"/>
              <a:gd name="connsiteY96" fmla="*/ 419100 h 733425"/>
              <a:gd name="connsiteX97" fmla="*/ 2276475 w 2889264"/>
              <a:gd name="connsiteY97" fmla="*/ 434975 h 733425"/>
              <a:gd name="connsiteX98" fmla="*/ 2289175 w 2889264"/>
              <a:gd name="connsiteY98" fmla="*/ 444500 h 733425"/>
              <a:gd name="connsiteX99" fmla="*/ 2308225 w 2889264"/>
              <a:gd name="connsiteY99" fmla="*/ 447675 h 733425"/>
              <a:gd name="connsiteX100" fmla="*/ 2333625 w 2889264"/>
              <a:gd name="connsiteY100" fmla="*/ 460375 h 733425"/>
              <a:gd name="connsiteX101" fmla="*/ 2352675 w 2889264"/>
              <a:gd name="connsiteY101" fmla="*/ 466725 h 733425"/>
              <a:gd name="connsiteX102" fmla="*/ 2397125 w 2889264"/>
              <a:gd name="connsiteY102" fmla="*/ 488950 h 733425"/>
              <a:gd name="connsiteX103" fmla="*/ 2422525 w 2889264"/>
              <a:gd name="connsiteY103" fmla="*/ 495300 h 733425"/>
              <a:gd name="connsiteX104" fmla="*/ 2432050 w 2889264"/>
              <a:gd name="connsiteY104" fmla="*/ 498475 h 733425"/>
              <a:gd name="connsiteX105" fmla="*/ 2454275 w 2889264"/>
              <a:gd name="connsiteY105" fmla="*/ 511175 h 733425"/>
              <a:gd name="connsiteX106" fmla="*/ 2470150 w 2889264"/>
              <a:gd name="connsiteY106" fmla="*/ 523875 h 733425"/>
              <a:gd name="connsiteX107" fmla="*/ 2495550 w 2889264"/>
              <a:gd name="connsiteY107" fmla="*/ 533400 h 733425"/>
              <a:gd name="connsiteX108" fmla="*/ 2546350 w 2889264"/>
              <a:gd name="connsiteY108" fmla="*/ 558800 h 733425"/>
              <a:gd name="connsiteX109" fmla="*/ 2574925 w 2889264"/>
              <a:gd name="connsiteY109" fmla="*/ 565150 h 733425"/>
              <a:gd name="connsiteX110" fmla="*/ 2600325 w 2889264"/>
              <a:gd name="connsiteY110" fmla="*/ 577850 h 733425"/>
              <a:gd name="connsiteX111" fmla="*/ 2616200 w 2889264"/>
              <a:gd name="connsiteY111" fmla="*/ 581025 h 733425"/>
              <a:gd name="connsiteX112" fmla="*/ 2638425 w 2889264"/>
              <a:gd name="connsiteY112" fmla="*/ 587375 h 733425"/>
              <a:gd name="connsiteX113" fmla="*/ 2654300 w 2889264"/>
              <a:gd name="connsiteY113" fmla="*/ 596900 h 733425"/>
              <a:gd name="connsiteX114" fmla="*/ 2673350 w 2889264"/>
              <a:gd name="connsiteY114" fmla="*/ 603250 h 733425"/>
              <a:gd name="connsiteX115" fmla="*/ 2708275 w 2889264"/>
              <a:gd name="connsiteY115" fmla="*/ 625475 h 733425"/>
              <a:gd name="connsiteX116" fmla="*/ 2730500 w 2889264"/>
              <a:gd name="connsiteY116" fmla="*/ 635000 h 733425"/>
              <a:gd name="connsiteX117" fmla="*/ 2749550 w 2889264"/>
              <a:gd name="connsiteY117" fmla="*/ 650875 h 733425"/>
              <a:gd name="connsiteX118" fmla="*/ 2774950 w 2889264"/>
              <a:gd name="connsiteY118" fmla="*/ 663575 h 733425"/>
              <a:gd name="connsiteX119" fmla="*/ 2803525 w 2889264"/>
              <a:gd name="connsiteY119" fmla="*/ 676275 h 733425"/>
              <a:gd name="connsiteX120" fmla="*/ 2816225 w 2889264"/>
              <a:gd name="connsiteY120" fmla="*/ 685800 h 733425"/>
              <a:gd name="connsiteX121" fmla="*/ 2832100 w 2889264"/>
              <a:gd name="connsiteY121" fmla="*/ 692150 h 733425"/>
              <a:gd name="connsiteX122" fmla="*/ 2876550 w 2889264"/>
              <a:gd name="connsiteY122" fmla="*/ 723900 h 733425"/>
              <a:gd name="connsiteX123" fmla="*/ 2889250 w 2889264"/>
              <a:gd name="connsiteY123" fmla="*/ 733425 h 733425"/>
              <a:gd name="connsiteX0" fmla="*/ 0 w 2889264"/>
              <a:gd name="connsiteY0" fmla="*/ 720725 h 733425"/>
              <a:gd name="connsiteX1" fmla="*/ 34925 w 2889264"/>
              <a:gd name="connsiteY1" fmla="*/ 698500 h 733425"/>
              <a:gd name="connsiteX2" fmla="*/ 111125 w 2889264"/>
              <a:gd name="connsiteY2" fmla="*/ 657225 h 733425"/>
              <a:gd name="connsiteX3" fmla="*/ 171450 w 2889264"/>
              <a:gd name="connsiteY3" fmla="*/ 628650 h 733425"/>
              <a:gd name="connsiteX4" fmla="*/ 203200 w 2889264"/>
              <a:gd name="connsiteY4" fmla="*/ 609600 h 733425"/>
              <a:gd name="connsiteX5" fmla="*/ 247650 w 2889264"/>
              <a:gd name="connsiteY5" fmla="*/ 593725 h 733425"/>
              <a:gd name="connsiteX6" fmla="*/ 285750 w 2889264"/>
              <a:gd name="connsiteY6" fmla="*/ 581025 h 733425"/>
              <a:gd name="connsiteX7" fmla="*/ 317500 w 2889264"/>
              <a:gd name="connsiteY7" fmla="*/ 571500 h 733425"/>
              <a:gd name="connsiteX8" fmla="*/ 352425 w 2889264"/>
              <a:gd name="connsiteY8" fmla="*/ 555625 h 733425"/>
              <a:gd name="connsiteX9" fmla="*/ 381000 w 2889264"/>
              <a:gd name="connsiteY9" fmla="*/ 539750 h 733425"/>
              <a:gd name="connsiteX10" fmla="*/ 390525 w 2889264"/>
              <a:gd name="connsiteY10" fmla="*/ 536575 h 733425"/>
              <a:gd name="connsiteX11" fmla="*/ 406400 w 2889264"/>
              <a:gd name="connsiteY11" fmla="*/ 530225 h 733425"/>
              <a:gd name="connsiteX12" fmla="*/ 434975 w 2889264"/>
              <a:gd name="connsiteY12" fmla="*/ 514350 h 733425"/>
              <a:gd name="connsiteX13" fmla="*/ 454025 w 2889264"/>
              <a:gd name="connsiteY13" fmla="*/ 504825 h 733425"/>
              <a:gd name="connsiteX14" fmla="*/ 463550 w 2889264"/>
              <a:gd name="connsiteY14" fmla="*/ 498475 h 733425"/>
              <a:gd name="connsiteX15" fmla="*/ 476250 w 2889264"/>
              <a:gd name="connsiteY15" fmla="*/ 495300 h 733425"/>
              <a:gd name="connsiteX16" fmla="*/ 492125 w 2889264"/>
              <a:gd name="connsiteY16" fmla="*/ 488950 h 733425"/>
              <a:gd name="connsiteX17" fmla="*/ 501650 w 2889264"/>
              <a:gd name="connsiteY17" fmla="*/ 485775 h 733425"/>
              <a:gd name="connsiteX18" fmla="*/ 523875 w 2889264"/>
              <a:gd name="connsiteY18" fmla="*/ 469900 h 733425"/>
              <a:gd name="connsiteX19" fmla="*/ 552450 w 2889264"/>
              <a:gd name="connsiteY19" fmla="*/ 450850 h 733425"/>
              <a:gd name="connsiteX20" fmla="*/ 568325 w 2889264"/>
              <a:gd name="connsiteY20" fmla="*/ 447675 h 733425"/>
              <a:gd name="connsiteX21" fmla="*/ 584200 w 2889264"/>
              <a:gd name="connsiteY21" fmla="*/ 441325 h 733425"/>
              <a:gd name="connsiteX22" fmla="*/ 593725 w 2889264"/>
              <a:gd name="connsiteY22" fmla="*/ 438150 h 733425"/>
              <a:gd name="connsiteX23" fmla="*/ 612775 w 2889264"/>
              <a:gd name="connsiteY23" fmla="*/ 428625 h 733425"/>
              <a:gd name="connsiteX24" fmla="*/ 628650 w 2889264"/>
              <a:gd name="connsiteY24" fmla="*/ 422275 h 733425"/>
              <a:gd name="connsiteX25" fmla="*/ 641350 w 2889264"/>
              <a:gd name="connsiteY25" fmla="*/ 415925 h 733425"/>
              <a:gd name="connsiteX26" fmla="*/ 657225 w 2889264"/>
              <a:gd name="connsiteY26" fmla="*/ 406400 h 733425"/>
              <a:gd name="connsiteX27" fmla="*/ 676275 w 2889264"/>
              <a:gd name="connsiteY27" fmla="*/ 400050 h 733425"/>
              <a:gd name="connsiteX28" fmla="*/ 708025 w 2889264"/>
              <a:gd name="connsiteY28" fmla="*/ 381000 h 733425"/>
              <a:gd name="connsiteX29" fmla="*/ 736600 w 2889264"/>
              <a:gd name="connsiteY29" fmla="*/ 368300 h 733425"/>
              <a:gd name="connsiteX30" fmla="*/ 742950 w 2889264"/>
              <a:gd name="connsiteY30" fmla="*/ 358775 h 733425"/>
              <a:gd name="connsiteX31" fmla="*/ 790575 w 2889264"/>
              <a:gd name="connsiteY31" fmla="*/ 339725 h 733425"/>
              <a:gd name="connsiteX32" fmla="*/ 800100 w 2889264"/>
              <a:gd name="connsiteY32" fmla="*/ 336550 h 733425"/>
              <a:gd name="connsiteX33" fmla="*/ 812800 w 2889264"/>
              <a:gd name="connsiteY33" fmla="*/ 330200 h 733425"/>
              <a:gd name="connsiteX34" fmla="*/ 828675 w 2889264"/>
              <a:gd name="connsiteY34" fmla="*/ 327025 h 733425"/>
              <a:gd name="connsiteX35" fmla="*/ 898525 w 2889264"/>
              <a:gd name="connsiteY35" fmla="*/ 288925 h 733425"/>
              <a:gd name="connsiteX36" fmla="*/ 923925 w 2889264"/>
              <a:gd name="connsiteY36" fmla="*/ 269875 h 733425"/>
              <a:gd name="connsiteX37" fmla="*/ 933450 w 2889264"/>
              <a:gd name="connsiteY37" fmla="*/ 260350 h 733425"/>
              <a:gd name="connsiteX38" fmla="*/ 958850 w 2889264"/>
              <a:gd name="connsiteY38" fmla="*/ 247650 h 733425"/>
              <a:gd name="connsiteX39" fmla="*/ 968375 w 2889264"/>
              <a:gd name="connsiteY39" fmla="*/ 241300 h 733425"/>
              <a:gd name="connsiteX40" fmla="*/ 984250 w 2889264"/>
              <a:gd name="connsiteY40" fmla="*/ 234950 h 733425"/>
              <a:gd name="connsiteX41" fmla="*/ 1006475 w 2889264"/>
              <a:gd name="connsiteY41" fmla="*/ 225425 h 733425"/>
              <a:gd name="connsiteX42" fmla="*/ 1050925 w 2889264"/>
              <a:gd name="connsiteY42" fmla="*/ 212725 h 733425"/>
              <a:gd name="connsiteX43" fmla="*/ 1079500 w 2889264"/>
              <a:gd name="connsiteY43" fmla="*/ 200025 h 733425"/>
              <a:gd name="connsiteX44" fmla="*/ 1098550 w 2889264"/>
              <a:gd name="connsiteY44" fmla="*/ 193675 h 733425"/>
              <a:gd name="connsiteX45" fmla="*/ 1111250 w 2889264"/>
              <a:gd name="connsiteY45" fmla="*/ 187325 h 733425"/>
              <a:gd name="connsiteX46" fmla="*/ 1136650 w 2889264"/>
              <a:gd name="connsiteY46" fmla="*/ 177800 h 733425"/>
              <a:gd name="connsiteX47" fmla="*/ 1181100 w 2889264"/>
              <a:gd name="connsiteY47" fmla="*/ 152400 h 733425"/>
              <a:gd name="connsiteX48" fmla="*/ 1203325 w 2889264"/>
              <a:gd name="connsiteY48" fmla="*/ 130175 h 733425"/>
              <a:gd name="connsiteX49" fmla="*/ 1219200 w 2889264"/>
              <a:gd name="connsiteY49" fmla="*/ 117475 h 733425"/>
              <a:gd name="connsiteX50" fmla="*/ 1276350 w 2889264"/>
              <a:gd name="connsiteY50" fmla="*/ 85725 h 733425"/>
              <a:gd name="connsiteX51" fmla="*/ 1289050 w 2889264"/>
              <a:gd name="connsiteY51" fmla="*/ 79375 h 733425"/>
              <a:gd name="connsiteX52" fmla="*/ 1327150 w 2889264"/>
              <a:gd name="connsiteY52" fmla="*/ 66675 h 733425"/>
              <a:gd name="connsiteX53" fmla="*/ 1343025 w 2889264"/>
              <a:gd name="connsiteY53" fmla="*/ 57150 h 733425"/>
              <a:gd name="connsiteX54" fmla="*/ 1355725 w 2889264"/>
              <a:gd name="connsiteY54" fmla="*/ 47625 h 733425"/>
              <a:gd name="connsiteX55" fmla="*/ 1377950 w 2889264"/>
              <a:gd name="connsiteY55" fmla="*/ 38100 h 733425"/>
              <a:gd name="connsiteX56" fmla="*/ 1416050 w 2889264"/>
              <a:gd name="connsiteY56" fmla="*/ 12700 h 733425"/>
              <a:gd name="connsiteX57" fmla="*/ 1428750 w 2889264"/>
              <a:gd name="connsiteY57" fmla="*/ 0 h 733425"/>
              <a:gd name="connsiteX58" fmla="*/ 1470025 w 2889264"/>
              <a:gd name="connsiteY58" fmla="*/ 28575 h 733425"/>
              <a:gd name="connsiteX59" fmla="*/ 1504950 w 2889264"/>
              <a:gd name="connsiteY59" fmla="*/ 41275 h 733425"/>
              <a:gd name="connsiteX60" fmla="*/ 1517650 w 2889264"/>
              <a:gd name="connsiteY60" fmla="*/ 50800 h 733425"/>
              <a:gd name="connsiteX61" fmla="*/ 1549400 w 2889264"/>
              <a:gd name="connsiteY61" fmla="*/ 60325 h 733425"/>
              <a:gd name="connsiteX62" fmla="*/ 1562100 w 2889264"/>
              <a:gd name="connsiteY62" fmla="*/ 69850 h 733425"/>
              <a:gd name="connsiteX63" fmla="*/ 1574800 w 2889264"/>
              <a:gd name="connsiteY63" fmla="*/ 73025 h 733425"/>
              <a:gd name="connsiteX64" fmla="*/ 1590675 w 2889264"/>
              <a:gd name="connsiteY64" fmla="*/ 79375 h 733425"/>
              <a:gd name="connsiteX65" fmla="*/ 1600200 w 2889264"/>
              <a:gd name="connsiteY65" fmla="*/ 85725 h 733425"/>
              <a:gd name="connsiteX66" fmla="*/ 1612900 w 2889264"/>
              <a:gd name="connsiteY66" fmla="*/ 92075 h 733425"/>
              <a:gd name="connsiteX67" fmla="*/ 1625600 w 2889264"/>
              <a:gd name="connsiteY67" fmla="*/ 101600 h 733425"/>
              <a:gd name="connsiteX68" fmla="*/ 1635125 w 2889264"/>
              <a:gd name="connsiteY68" fmla="*/ 104775 h 733425"/>
              <a:gd name="connsiteX69" fmla="*/ 1654175 w 2889264"/>
              <a:gd name="connsiteY69" fmla="*/ 114300 h 733425"/>
              <a:gd name="connsiteX70" fmla="*/ 1676400 w 2889264"/>
              <a:gd name="connsiteY70" fmla="*/ 130175 h 733425"/>
              <a:gd name="connsiteX71" fmla="*/ 1689100 w 2889264"/>
              <a:gd name="connsiteY71" fmla="*/ 136525 h 733425"/>
              <a:gd name="connsiteX72" fmla="*/ 1714500 w 2889264"/>
              <a:gd name="connsiteY72" fmla="*/ 146050 h 733425"/>
              <a:gd name="connsiteX73" fmla="*/ 1727200 w 2889264"/>
              <a:gd name="connsiteY73" fmla="*/ 155575 h 733425"/>
              <a:gd name="connsiteX74" fmla="*/ 1758950 w 2889264"/>
              <a:gd name="connsiteY74" fmla="*/ 165100 h 733425"/>
              <a:gd name="connsiteX75" fmla="*/ 1768475 w 2889264"/>
              <a:gd name="connsiteY75" fmla="*/ 171450 h 733425"/>
              <a:gd name="connsiteX76" fmla="*/ 1781175 w 2889264"/>
              <a:gd name="connsiteY76" fmla="*/ 180975 h 733425"/>
              <a:gd name="connsiteX77" fmla="*/ 1793875 w 2889264"/>
              <a:gd name="connsiteY77" fmla="*/ 187325 h 733425"/>
              <a:gd name="connsiteX78" fmla="*/ 1838325 w 2889264"/>
              <a:gd name="connsiteY78" fmla="*/ 212725 h 733425"/>
              <a:gd name="connsiteX79" fmla="*/ 1847850 w 2889264"/>
              <a:gd name="connsiteY79" fmla="*/ 222250 h 733425"/>
              <a:gd name="connsiteX80" fmla="*/ 1885950 w 2889264"/>
              <a:gd name="connsiteY80" fmla="*/ 241300 h 733425"/>
              <a:gd name="connsiteX81" fmla="*/ 1901825 w 2889264"/>
              <a:gd name="connsiteY81" fmla="*/ 250825 h 733425"/>
              <a:gd name="connsiteX82" fmla="*/ 1933575 w 2889264"/>
              <a:gd name="connsiteY82" fmla="*/ 263525 h 733425"/>
              <a:gd name="connsiteX83" fmla="*/ 1962150 w 2889264"/>
              <a:gd name="connsiteY83" fmla="*/ 276225 h 733425"/>
              <a:gd name="connsiteX84" fmla="*/ 1971675 w 2889264"/>
              <a:gd name="connsiteY84" fmla="*/ 282575 h 733425"/>
              <a:gd name="connsiteX85" fmla="*/ 1987550 w 2889264"/>
              <a:gd name="connsiteY85" fmla="*/ 288925 h 733425"/>
              <a:gd name="connsiteX86" fmla="*/ 2022475 w 2889264"/>
              <a:gd name="connsiteY86" fmla="*/ 301625 h 733425"/>
              <a:gd name="connsiteX87" fmla="*/ 2047875 w 2889264"/>
              <a:gd name="connsiteY87" fmla="*/ 314325 h 733425"/>
              <a:gd name="connsiteX88" fmla="*/ 2063750 w 2889264"/>
              <a:gd name="connsiteY88" fmla="*/ 320675 h 733425"/>
              <a:gd name="connsiteX89" fmla="*/ 2082800 w 2889264"/>
              <a:gd name="connsiteY89" fmla="*/ 330200 h 733425"/>
              <a:gd name="connsiteX90" fmla="*/ 2095500 w 2889264"/>
              <a:gd name="connsiteY90" fmla="*/ 333375 h 733425"/>
              <a:gd name="connsiteX91" fmla="*/ 2124075 w 2889264"/>
              <a:gd name="connsiteY91" fmla="*/ 342900 h 733425"/>
              <a:gd name="connsiteX92" fmla="*/ 2159000 w 2889264"/>
              <a:gd name="connsiteY92" fmla="*/ 358775 h 733425"/>
              <a:gd name="connsiteX93" fmla="*/ 2187575 w 2889264"/>
              <a:gd name="connsiteY93" fmla="*/ 377825 h 733425"/>
              <a:gd name="connsiteX94" fmla="*/ 2209800 w 2889264"/>
              <a:gd name="connsiteY94" fmla="*/ 393700 h 733425"/>
              <a:gd name="connsiteX95" fmla="*/ 2247900 w 2889264"/>
              <a:gd name="connsiteY95" fmla="*/ 419100 h 733425"/>
              <a:gd name="connsiteX96" fmla="*/ 2276475 w 2889264"/>
              <a:gd name="connsiteY96" fmla="*/ 434975 h 733425"/>
              <a:gd name="connsiteX97" fmla="*/ 2289175 w 2889264"/>
              <a:gd name="connsiteY97" fmla="*/ 444500 h 733425"/>
              <a:gd name="connsiteX98" fmla="*/ 2308225 w 2889264"/>
              <a:gd name="connsiteY98" fmla="*/ 447675 h 733425"/>
              <a:gd name="connsiteX99" fmla="*/ 2333625 w 2889264"/>
              <a:gd name="connsiteY99" fmla="*/ 460375 h 733425"/>
              <a:gd name="connsiteX100" fmla="*/ 2352675 w 2889264"/>
              <a:gd name="connsiteY100" fmla="*/ 466725 h 733425"/>
              <a:gd name="connsiteX101" fmla="*/ 2397125 w 2889264"/>
              <a:gd name="connsiteY101" fmla="*/ 488950 h 733425"/>
              <a:gd name="connsiteX102" fmla="*/ 2422525 w 2889264"/>
              <a:gd name="connsiteY102" fmla="*/ 495300 h 733425"/>
              <a:gd name="connsiteX103" fmla="*/ 2432050 w 2889264"/>
              <a:gd name="connsiteY103" fmla="*/ 498475 h 733425"/>
              <a:gd name="connsiteX104" fmla="*/ 2454275 w 2889264"/>
              <a:gd name="connsiteY104" fmla="*/ 511175 h 733425"/>
              <a:gd name="connsiteX105" fmla="*/ 2470150 w 2889264"/>
              <a:gd name="connsiteY105" fmla="*/ 523875 h 733425"/>
              <a:gd name="connsiteX106" fmla="*/ 2495550 w 2889264"/>
              <a:gd name="connsiteY106" fmla="*/ 533400 h 733425"/>
              <a:gd name="connsiteX107" fmla="*/ 2546350 w 2889264"/>
              <a:gd name="connsiteY107" fmla="*/ 558800 h 733425"/>
              <a:gd name="connsiteX108" fmla="*/ 2574925 w 2889264"/>
              <a:gd name="connsiteY108" fmla="*/ 565150 h 733425"/>
              <a:gd name="connsiteX109" fmla="*/ 2600325 w 2889264"/>
              <a:gd name="connsiteY109" fmla="*/ 577850 h 733425"/>
              <a:gd name="connsiteX110" fmla="*/ 2616200 w 2889264"/>
              <a:gd name="connsiteY110" fmla="*/ 581025 h 733425"/>
              <a:gd name="connsiteX111" fmla="*/ 2638425 w 2889264"/>
              <a:gd name="connsiteY111" fmla="*/ 587375 h 733425"/>
              <a:gd name="connsiteX112" fmla="*/ 2654300 w 2889264"/>
              <a:gd name="connsiteY112" fmla="*/ 596900 h 733425"/>
              <a:gd name="connsiteX113" fmla="*/ 2673350 w 2889264"/>
              <a:gd name="connsiteY113" fmla="*/ 603250 h 733425"/>
              <a:gd name="connsiteX114" fmla="*/ 2708275 w 2889264"/>
              <a:gd name="connsiteY114" fmla="*/ 625475 h 733425"/>
              <a:gd name="connsiteX115" fmla="*/ 2730500 w 2889264"/>
              <a:gd name="connsiteY115" fmla="*/ 635000 h 733425"/>
              <a:gd name="connsiteX116" fmla="*/ 2749550 w 2889264"/>
              <a:gd name="connsiteY116" fmla="*/ 650875 h 733425"/>
              <a:gd name="connsiteX117" fmla="*/ 2774950 w 2889264"/>
              <a:gd name="connsiteY117" fmla="*/ 663575 h 733425"/>
              <a:gd name="connsiteX118" fmla="*/ 2803525 w 2889264"/>
              <a:gd name="connsiteY118" fmla="*/ 676275 h 733425"/>
              <a:gd name="connsiteX119" fmla="*/ 2816225 w 2889264"/>
              <a:gd name="connsiteY119" fmla="*/ 685800 h 733425"/>
              <a:gd name="connsiteX120" fmla="*/ 2832100 w 2889264"/>
              <a:gd name="connsiteY120" fmla="*/ 692150 h 733425"/>
              <a:gd name="connsiteX121" fmla="*/ 2876550 w 2889264"/>
              <a:gd name="connsiteY121" fmla="*/ 723900 h 733425"/>
              <a:gd name="connsiteX122" fmla="*/ 2889250 w 2889264"/>
              <a:gd name="connsiteY122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285750 w 2889264"/>
              <a:gd name="connsiteY5" fmla="*/ 581025 h 733425"/>
              <a:gd name="connsiteX6" fmla="*/ 317500 w 2889264"/>
              <a:gd name="connsiteY6" fmla="*/ 571500 h 733425"/>
              <a:gd name="connsiteX7" fmla="*/ 352425 w 2889264"/>
              <a:gd name="connsiteY7" fmla="*/ 555625 h 733425"/>
              <a:gd name="connsiteX8" fmla="*/ 381000 w 2889264"/>
              <a:gd name="connsiteY8" fmla="*/ 539750 h 733425"/>
              <a:gd name="connsiteX9" fmla="*/ 390525 w 2889264"/>
              <a:gd name="connsiteY9" fmla="*/ 536575 h 733425"/>
              <a:gd name="connsiteX10" fmla="*/ 406400 w 2889264"/>
              <a:gd name="connsiteY10" fmla="*/ 530225 h 733425"/>
              <a:gd name="connsiteX11" fmla="*/ 434975 w 2889264"/>
              <a:gd name="connsiteY11" fmla="*/ 514350 h 733425"/>
              <a:gd name="connsiteX12" fmla="*/ 454025 w 2889264"/>
              <a:gd name="connsiteY12" fmla="*/ 504825 h 733425"/>
              <a:gd name="connsiteX13" fmla="*/ 463550 w 2889264"/>
              <a:gd name="connsiteY13" fmla="*/ 498475 h 733425"/>
              <a:gd name="connsiteX14" fmla="*/ 476250 w 2889264"/>
              <a:gd name="connsiteY14" fmla="*/ 495300 h 733425"/>
              <a:gd name="connsiteX15" fmla="*/ 492125 w 2889264"/>
              <a:gd name="connsiteY15" fmla="*/ 488950 h 733425"/>
              <a:gd name="connsiteX16" fmla="*/ 501650 w 2889264"/>
              <a:gd name="connsiteY16" fmla="*/ 485775 h 733425"/>
              <a:gd name="connsiteX17" fmla="*/ 523875 w 2889264"/>
              <a:gd name="connsiteY17" fmla="*/ 469900 h 733425"/>
              <a:gd name="connsiteX18" fmla="*/ 552450 w 2889264"/>
              <a:gd name="connsiteY18" fmla="*/ 450850 h 733425"/>
              <a:gd name="connsiteX19" fmla="*/ 568325 w 2889264"/>
              <a:gd name="connsiteY19" fmla="*/ 447675 h 733425"/>
              <a:gd name="connsiteX20" fmla="*/ 584200 w 2889264"/>
              <a:gd name="connsiteY20" fmla="*/ 441325 h 733425"/>
              <a:gd name="connsiteX21" fmla="*/ 593725 w 2889264"/>
              <a:gd name="connsiteY21" fmla="*/ 438150 h 733425"/>
              <a:gd name="connsiteX22" fmla="*/ 612775 w 2889264"/>
              <a:gd name="connsiteY22" fmla="*/ 428625 h 733425"/>
              <a:gd name="connsiteX23" fmla="*/ 628650 w 2889264"/>
              <a:gd name="connsiteY23" fmla="*/ 422275 h 733425"/>
              <a:gd name="connsiteX24" fmla="*/ 641350 w 2889264"/>
              <a:gd name="connsiteY24" fmla="*/ 415925 h 733425"/>
              <a:gd name="connsiteX25" fmla="*/ 657225 w 2889264"/>
              <a:gd name="connsiteY25" fmla="*/ 406400 h 733425"/>
              <a:gd name="connsiteX26" fmla="*/ 676275 w 2889264"/>
              <a:gd name="connsiteY26" fmla="*/ 400050 h 733425"/>
              <a:gd name="connsiteX27" fmla="*/ 708025 w 2889264"/>
              <a:gd name="connsiteY27" fmla="*/ 381000 h 733425"/>
              <a:gd name="connsiteX28" fmla="*/ 736600 w 2889264"/>
              <a:gd name="connsiteY28" fmla="*/ 368300 h 733425"/>
              <a:gd name="connsiteX29" fmla="*/ 742950 w 2889264"/>
              <a:gd name="connsiteY29" fmla="*/ 358775 h 733425"/>
              <a:gd name="connsiteX30" fmla="*/ 790575 w 2889264"/>
              <a:gd name="connsiteY30" fmla="*/ 339725 h 733425"/>
              <a:gd name="connsiteX31" fmla="*/ 800100 w 2889264"/>
              <a:gd name="connsiteY31" fmla="*/ 336550 h 733425"/>
              <a:gd name="connsiteX32" fmla="*/ 812800 w 2889264"/>
              <a:gd name="connsiteY32" fmla="*/ 330200 h 733425"/>
              <a:gd name="connsiteX33" fmla="*/ 828675 w 2889264"/>
              <a:gd name="connsiteY33" fmla="*/ 327025 h 733425"/>
              <a:gd name="connsiteX34" fmla="*/ 898525 w 2889264"/>
              <a:gd name="connsiteY34" fmla="*/ 288925 h 733425"/>
              <a:gd name="connsiteX35" fmla="*/ 923925 w 2889264"/>
              <a:gd name="connsiteY35" fmla="*/ 269875 h 733425"/>
              <a:gd name="connsiteX36" fmla="*/ 933450 w 2889264"/>
              <a:gd name="connsiteY36" fmla="*/ 260350 h 733425"/>
              <a:gd name="connsiteX37" fmla="*/ 958850 w 2889264"/>
              <a:gd name="connsiteY37" fmla="*/ 247650 h 733425"/>
              <a:gd name="connsiteX38" fmla="*/ 968375 w 2889264"/>
              <a:gd name="connsiteY38" fmla="*/ 241300 h 733425"/>
              <a:gd name="connsiteX39" fmla="*/ 984250 w 2889264"/>
              <a:gd name="connsiteY39" fmla="*/ 234950 h 733425"/>
              <a:gd name="connsiteX40" fmla="*/ 1006475 w 2889264"/>
              <a:gd name="connsiteY40" fmla="*/ 225425 h 733425"/>
              <a:gd name="connsiteX41" fmla="*/ 1050925 w 2889264"/>
              <a:gd name="connsiteY41" fmla="*/ 212725 h 733425"/>
              <a:gd name="connsiteX42" fmla="*/ 1079500 w 2889264"/>
              <a:gd name="connsiteY42" fmla="*/ 200025 h 733425"/>
              <a:gd name="connsiteX43" fmla="*/ 1098550 w 2889264"/>
              <a:gd name="connsiteY43" fmla="*/ 193675 h 733425"/>
              <a:gd name="connsiteX44" fmla="*/ 1111250 w 2889264"/>
              <a:gd name="connsiteY44" fmla="*/ 187325 h 733425"/>
              <a:gd name="connsiteX45" fmla="*/ 1136650 w 2889264"/>
              <a:gd name="connsiteY45" fmla="*/ 177800 h 733425"/>
              <a:gd name="connsiteX46" fmla="*/ 1181100 w 2889264"/>
              <a:gd name="connsiteY46" fmla="*/ 152400 h 733425"/>
              <a:gd name="connsiteX47" fmla="*/ 1203325 w 2889264"/>
              <a:gd name="connsiteY47" fmla="*/ 130175 h 733425"/>
              <a:gd name="connsiteX48" fmla="*/ 1219200 w 2889264"/>
              <a:gd name="connsiteY48" fmla="*/ 117475 h 733425"/>
              <a:gd name="connsiteX49" fmla="*/ 1276350 w 2889264"/>
              <a:gd name="connsiteY49" fmla="*/ 85725 h 733425"/>
              <a:gd name="connsiteX50" fmla="*/ 1289050 w 2889264"/>
              <a:gd name="connsiteY50" fmla="*/ 79375 h 733425"/>
              <a:gd name="connsiteX51" fmla="*/ 1327150 w 2889264"/>
              <a:gd name="connsiteY51" fmla="*/ 66675 h 733425"/>
              <a:gd name="connsiteX52" fmla="*/ 1343025 w 2889264"/>
              <a:gd name="connsiteY52" fmla="*/ 57150 h 733425"/>
              <a:gd name="connsiteX53" fmla="*/ 1355725 w 2889264"/>
              <a:gd name="connsiteY53" fmla="*/ 47625 h 733425"/>
              <a:gd name="connsiteX54" fmla="*/ 1377950 w 2889264"/>
              <a:gd name="connsiteY54" fmla="*/ 38100 h 733425"/>
              <a:gd name="connsiteX55" fmla="*/ 1416050 w 2889264"/>
              <a:gd name="connsiteY55" fmla="*/ 12700 h 733425"/>
              <a:gd name="connsiteX56" fmla="*/ 1428750 w 2889264"/>
              <a:gd name="connsiteY56" fmla="*/ 0 h 733425"/>
              <a:gd name="connsiteX57" fmla="*/ 1470025 w 2889264"/>
              <a:gd name="connsiteY57" fmla="*/ 28575 h 733425"/>
              <a:gd name="connsiteX58" fmla="*/ 1504950 w 2889264"/>
              <a:gd name="connsiteY58" fmla="*/ 41275 h 733425"/>
              <a:gd name="connsiteX59" fmla="*/ 1517650 w 2889264"/>
              <a:gd name="connsiteY59" fmla="*/ 50800 h 733425"/>
              <a:gd name="connsiteX60" fmla="*/ 1549400 w 2889264"/>
              <a:gd name="connsiteY60" fmla="*/ 60325 h 733425"/>
              <a:gd name="connsiteX61" fmla="*/ 1562100 w 2889264"/>
              <a:gd name="connsiteY61" fmla="*/ 69850 h 733425"/>
              <a:gd name="connsiteX62" fmla="*/ 1574800 w 2889264"/>
              <a:gd name="connsiteY62" fmla="*/ 73025 h 733425"/>
              <a:gd name="connsiteX63" fmla="*/ 1590675 w 2889264"/>
              <a:gd name="connsiteY63" fmla="*/ 79375 h 733425"/>
              <a:gd name="connsiteX64" fmla="*/ 1600200 w 2889264"/>
              <a:gd name="connsiteY64" fmla="*/ 85725 h 733425"/>
              <a:gd name="connsiteX65" fmla="*/ 1612900 w 2889264"/>
              <a:gd name="connsiteY65" fmla="*/ 92075 h 733425"/>
              <a:gd name="connsiteX66" fmla="*/ 1625600 w 2889264"/>
              <a:gd name="connsiteY66" fmla="*/ 101600 h 733425"/>
              <a:gd name="connsiteX67" fmla="*/ 1635125 w 2889264"/>
              <a:gd name="connsiteY67" fmla="*/ 104775 h 733425"/>
              <a:gd name="connsiteX68" fmla="*/ 1654175 w 2889264"/>
              <a:gd name="connsiteY68" fmla="*/ 114300 h 733425"/>
              <a:gd name="connsiteX69" fmla="*/ 1676400 w 2889264"/>
              <a:gd name="connsiteY69" fmla="*/ 130175 h 733425"/>
              <a:gd name="connsiteX70" fmla="*/ 1689100 w 2889264"/>
              <a:gd name="connsiteY70" fmla="*/ 136525 h 733425"/>
              <a:gd name="connsiteX71" fmla="*/ 1714500 w 2889264"/>
              <a:gd name="connsiteY71" fmla="*/ 146050 h 733425"/>
              <a:gd name="connsiteX72" fmla="*/ 1727200 w 2889264"/>
              <a:gd name="connsiteY72" fmla="*/ 155575 h 733425"/>
              <a:gd name="connsiteX73" fmla="*/ 1758950 w 2889264"/>
              <a:gd name="connsiteY73" fmla="*/ 165100 h 733425"/>
              <a:gd name="connsiteX74" fmla="*/ 1768475 w 2889264"/>
              <a:gd name="connsiteY74" fmla="*/ 171450 h 733425"/>
              <a:gd name="connsiteX75" fmla="*/ 1781175 w 2889264"/>
              <a:gd name="connsiteY75" fmla="*/ 180975 h 733425"/>
              <a:gd name="connsiteX76" fmla="*/ 1793875 w 2889264"/>
              <a:gd name="connsiteY76" fmla="*/ 187325 h 733425"/>
              <a:gd name="connsiteX77" fmla="*/ 1838325 w 2889264"/>
              <a:gd name="connsiteY77" fmla="*/ 212725 h 733425"/>
              <a:gd name="connsiteX78" fmla="*/ 1847850 w 2889264"/>
              <a:gd name="connsiteY78" fmla="*/ 222250 h 733425"/>
              <a:gd name="connsiteX79" fmla="*/ 1885950 w 2889264"/>
              <a:gd name="connsiteY79" fmla="*/ 241300 h 733425"/>
              <a:gd name="connsiteX80" fmla="*/ 1901825 w 2889264"/>
              <a:gd name="connsiteY80" fmla="*/ 250825 h 733425"/>
              <a:gd name="connsiteX81" fmla="*/ 1933575 w 2889264"/>
              <a:gd name="connsiteY81" fmla="*/ 263525 h 733425"/>
              <a:gd name="connsiteX82" fmla="*/ 1962150 w 2889264"/>
              <a:gd name="connsiteY82" fmla="*/ 276225 h 733425"/>
              <a:gd name="connsiteX83" fmla="*/ 1971675 w 2889264"/>
              <a:gd name="connsiteY83" fmla="*/ 282575 h 733425"/>
              <a:gd name="connsiteX84" fmla="*/ 1987550 w 2889264"/>
              <a:gd name="connsiteY84" fmla="*/ 288925 h 733425"/>
              <a:gd name="connsiteX85" fmla="*/ 2022475 w 2889264"/>
              <a:gd name="connsiteY85" fmla="*/ 301625 h 733425"/>
              <a:gd name="connsiteX86" fmla="*/ 2047875 w 2889264"/>
              <a:gd name="connsiteY86" fmla="*/ 314325 h 733425"/>
              <a:gd name="connsiteX87" fmla="*/ 2063750 w 2889264"/>
              <a:gd name="connsiteY87" fmla="*/ 320675 h 733425"/>
              <a:gd name="connsiteX88" fmla="*/ 2082800 w 2889264"/>
              <a:gd name="connsiteY88" fmla="*/ 330200 h 733425"/>
              <a:gd name="connsiteX89" fmla="*/ 2095500 w 2889264"/>
              <a:gd name="connsiteY89" fmla="*/ 333375 h 733425"/>
              <a:gd name="connsiteX90" fmla="*/ 2124075 w 2889264"/>
              <a:gd name="connsiteY90" fmla="*/ 342900 h 733425"/>
              <a:gd name="connsiteX91" fmla="*/ 2159000 w 2889264"/>
              <a:gd name="connsiteY91" fmla="*/ 358775 h 733425"/>
              <a:gd name="connsiteX92" fmla="*/ 2187575 w 2889264"/>
              <a:gd name="connsiteY92" fmla="*/ 377825 h 733425"/>
              <a:gd name="connsiteX93" fmla="*/ 2209800 w 2889264"/>
              <a:gd name="connsiteY93" fmla="*/ 393700 h 733425"/>
              <a:gd name="connsiteX94" fmla="*/ 2247900 w 2889264"/>
              <a:gd name="connsiteY94" fmla="*/ 419100 h 733425"/>
              <a:gd name="connsiteX95" fmla="*/ 2276475 w 2889264"/>
              <a:gd name="connsiteY95" fmla="*/ 434975 h 733425"/>
              <a:gd name="connsiteX96" fmla="*/ 2289175 w 2889264"/>
              <a:gd name="connsiteY96" fmla="*/ 444500 h 733425"/>
              <a:gd name="connsiteX97" fmla="*/ 2308225 w 2889264"/>
              <a:gd name="connsiteY97" fmla="*/ 447675 h 733425"/>
              <a:gd name="connsiteX98" fmla="*/ 2333625 w 2889264"/>
              <a:gd name="connsiteY98" fmla="*/ 460375 h 733425"/>
              <a:gd name="connsiteX99" fmla="*/ 2352675 w 2889264"/>
              <a:gd name="connsiteY99" fmla="*/ 466725 h 733425"/>
              <a:gd name="connsiteX100" fmla="*/ 2397125 w 2889264"/>
              <a:gd name="connsiteY100" fmla="*/ 488950 h 733425"/>
              <a:gd name="connsiteX101" fmla="*/ 2422525 w 2889264"/>
              <a:gd name="connsiteY101" fmla="*/ 495300 h 733425"/>
              <a:gd name="connsiteX102" fmla="*/ 2432050 w 2889264"/>
              <a:gd name="connsiteY102" fmla="*/ 498475 h 733425"/>
              <a:gd name="connsiteX103" fmla="*/ 2454275 w 2889264"/>
              <a:gd name="connsiteY103" fmla="*/ 511175 h 733425"/>
              <a:gd name="connsiteX104" fmla="*/ 2470150 w 2889264"/>
              <a:gd name="connsiteY104" fmla="*/ 523875 h 733425"/>
              <a:gd name="connsiteX105" fmla="*/ 2495550 w 2889264"/>
              <a:gd name="connsiteY105" fmla="*/ 533400 h 733425"/>
              <a:gd name="connsiteX106" fmla="*/ 2546350 w 2889264"/>
              <a:gd name="connsiteY106" fmla="*/ 558800 h 733425"/>
              <a:gd name="connsiteX107" fmla="*/ 2574925 w 2889264"/>
              <a:gd name="connsiteY107" fmla="*/ 565150 h 733425"/>
              <a:gd name="connsiteX108" fmla="*/ 2600325 w 2889264"/>
              <a:gd name="connsiteY108" fmla="*/ 577850 h 733425"/>
              <a:gd name="connsiteX109" fmla="*/ 2616200 w 2889264"/>
              <a:gd name="connsiteY109" fmla="*/ 581025 h 733425"/>
              <a:gd name="connsiteX110" fmla="*/ 2638425 w 2889264"/>
              <a:gd name="connsiteY110" fmla="*/ 587375 h 733425"/>
              <a:gd name="connsiteX111" fmla="*/ 2654300 w 2889264"/>
              <a:gd name="connsiteY111" fmla="*/ 596900 h 733425"/>
              <a:gd name="connsiteX112" fmla="*/ 2673350 w 2889264"/>
              <a:gd name="connsiteY112" fmla="*/ 603250 h 733425"/>
              <a:gd name="connsiteX113" fmla="*/ 2708275 w 2889264"/>
              <a:gd name="connsiteY113" fmla="*/ 625475 h 733425"/>
              <a:gd name="connsiteX114" fmla="*/ 2730500 w 2889264"/>
              <a:gd name="connsiteY114" fmla="*/ 635000 h 733425"/>
              <a:gd name="connsiteX115" fmla="*/ 2749550 w 2889264"/>
              <a:gd name="connsiteY115" fmla="*/ 650875 h 733425"/>
              <a:gd name="connsiteX116" fmla="*/ 2774950 w 2889264"/>
              <a:gd name="connsiteY116" fmla="*/ 663575 h 733425"/>
              <a:gd name="connsiteX117" fmla="*/ 2803525 w 2889264"/>
              <a:gd name="connsiteY117" fmla="*/ 676275 h 733425"/>
              <a:gd name="connsiteX118" fmla="*/ 2816225 w 2889264"/>
              <a:gd name="connsiteY118" fmla="*/ 685800 h 733425"/>
              <a:gd name="connsiteX119" fmla="*/ 2832100 w 2889264"/>
              <a:gd name="connsiteY119" fmla="*/ 692150 h 733425"/>
              <a:gd name="connsiteX120" fmla="*/ 2876550 w 2889264"/>
              <a:gd name="connsiteY120" fmla="*/ 723900 h 733425"/>
              <a:gd name="connsiteX121" fmla="*/ 2889250 w 2889264"/>
              <a:gd name="connsiteY121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17500 w 2889264"/>
              <a:gd name="connsiteY5" fmla="*/ 571500 h 733425"/>
              <a:gd name="connsiteX6" fmla="*/ 352425 w 2889264"/>
              <a:gd name="connsiteY6" fmla="*/ 555625 h 733425"/>
              <a:gd name="connsiteX7" fmla="*/ 381000 w 2889264"/>
              <a:gd name="connsiteY7" fmla="*/ 539750 h 733425"/>
              <a:gd name="connsiteX8" fmla="*/ 390525 w 2889264"/>
              <a:gd name="connsiteY8" fmla="*/ 536575 h 733425"/>
              <a:gd name="connsiteX9" fmla="*/ 406400 w 2889264"/>
              <a:gd name="connsiteY9" fmla="*/ 530225 h 733425"/>
              <a:gd name="connsiteX10" fmla="*/ 434975 w 2889264"/>
              <a:gd name="connsiteY10" fmla="*/ 514350 h 733425"/>
              <a:gd name="connsiteX11" fmla="*/ 454025 w 2889264"/>
              <a:gd name="connsiteY11" fmla="*/ 504825 h 733425"/>
              <a:gd name="connsiteX12" fmla="*/ 463550 w 2889264"/>
              <a:gd name="connsiteY12" fmla="*/ 498475 h 733425"/>
              <a:gd name="connsiteX13" fmla="*/ 476250 w 2889264"/>
              <a:gd name="connsiteY13" fmla="*/ 495300 h 733425"/>
              <a:gd name="connsiteX14" fmla="*/ 492125 w 2889264"/>
              <a:gd name="connsiteY14" fmla="*/ 488950 h 733425"/>
              <a:gd name="connsiteX15" fmla="*/ 501650 w 2889264"/>
              <a:gd name="connsiteY15" fmla="*/ 485775 h 733425"/>
              <a:gd name="connsiteX16" fmla="*/ 523875 w 2889264"/>
              <a:gd name="connsiteY16" fmla="*/ 469900 h 733425"/>
              <a:gd name="connsiteX17" fmla="*/ 552450 w 2889264"/>
              <a:gd name="connsiteY17" fmla="*/ 450850 h 733425"/>
              <a:gd name="connsiteX18" fmla="*/ 568325 w 2889264"/>
              <a:gd name="connsiteY18" fmla="*/ 447675 h 733425"/>
              <a:gd name="connsiteX19" fmla="*/ 584200 w 2889264"/>
              <a:gd name="connsiteY19" fmla="*/ 441325 h 733425"/>
              <a:gd name="connsiteX20" fmla="*/ 593725 w 2889264"/>
              <a:gd name="connsiteY20" fmla="*/ 438150 h 733425"/>
              <a:gd name="connsiteX21" fmla="*/ 612775 w 2889264"/>
              <a:gd name="connsiteY21" fmla="*/ 428625 h 733425"/>
              <a:gd name="connsiteX22" fmla="*/ 628650 w 2889264"/>
              <a:gd name="connsiteY22" fmla="*/ 422275 h 733425"/>
              <a:gd name="connsiteX23" fmla="*/ 641350 w 2889264"/>
              <a:gd name="connsiteY23" fmla="*/ 415925 h 733425"/>
              <a:gd name="connsiteX24" fmla="*/ 657225 w 2889264"/>
              <a:gd name="connsiteY24" fmla="*/ 406400 h 733425"/>
              <a:gd name="connsiteX25" fmla="*/ 676275 w 2889264"/>
              <a:gd name="connsiteY25" fmla="*/ 400050 h 733425"/>
              <a:gd name="connsiteX26" fmla="*/ 708025 w 2889264"/>
              <a:gd name="connsiteY26" fmla="*/ 381000 h 733425"/>
              <a:gd name="connsiteX27" fmla="*/ 736600 w 2889264"/>
              <a:gd name="connsiteY27" fmla="*/ 368300 h 733425"/>
              <a:gd name="connsiteX28" fmla="*/ 742950 w 2889264"/>
              <a:gd name="connsiteY28" fmla="*/ 358775 h 733425"/>
              <a:gd name="connsiteX29" fmla="*/ 790575 w 2889264"/>
              <a:gd name="connsiteY29" fmla="*/ 339725 h 733425"/>
              <a:gd name="connsiteX30" fmla="*/ 800100 w 2889264"/>
              <a:gd name="connsiteY30" fmla="*/ 336550 h 733425"/>
              <a:gd name="connsiteX31" fmla="*/ 812800 w 2889264"/>
              <a:gd name="connsiteY31" fmla="*/ 330200 h 733425"/>
              <a:gd name="connsiteX32" fmla="*/ 828675 w 2889264"/>
              <a:gd name="connsiteY32" fmla="*/ 327025 h 733425"/>
              <a:gd name="connsiteX33" fmla="*/ 898525 w 2889264"/>
              <a:gd name="connsiteY33" fmla="*/ 288925 h 733425"/>
              <a:gd name="connsiteX34" fmla="*/ 923925 w 2889264"/>
              <a:gd name="connsiteY34" fmla="*/ 269875 h 733425"/>
              <a:gd name="connsiteX35" fmla="*/ 933450 w 2889264"/>
              <a:gd name="connsiteY35" fmla="*/ 260350 h 733425"/>
              <a:gd name="connsiteX36" fmla="*/ 958850 w 2889264"/>
              <a:gd name="connsiteY36" fmla="*/ 247650 h 733425"/>
              <a:gd name="connsiteX37" fmla="*/ 968375 w 2889264"/>
              <a:gd name="connsiteY37" fmla="*/ 241300 h 733425"/>
              <a:gd name="connsiteX38" fmla="*/ 984250 w 2889264"/>
              <a:gd name="connsiteY38" fmla="*/ 234950 h 733425"/>
              <a:gd name="connsiteX39" fmla="*/ 1006475 w 2889264"/>
              <a:gd name="connsiteY39" fmla="*/ 225425 h 733425"/>
              <a:gd name="connsiteX40" fmla="*/ 1050925 w 2889264"/>
              <a:gd name="connsiteY40" fmla="*/ 212725 h 733425"/>
              <a:gd name="connsiteX41" fmla="*/ 1079500 w 2889264"/>
              <a:gd name="connsiteY41" fmla="*/ 200025 h 733425"/>
              <a:gd name="connsiteX42" fmla="*/ 1098550 w 2889264"/>
              <a:gd name="connsiteY42" fmla="*/ 193675 h 733425"/>
              <a:gd name="connsiteX43" fmla="*/ 1111250 w 2889264"/>
              <a:gd name="connsiteY43" fmla="*/ 187325 h 733425"/>
              <a:gd name="connsiteX44" fmla="*/ 1136650 w 2889264"/>
              <a:gd name="connsiteY44" fmla="*/ 177800 h 733425"/>
              <a:gd name="connsiteX45" fmla="*/ 1181100 w 2889264"/>
              <a:gd name="connsiteY45" fmla="*/ 152400 h 733425"/>
              <a:gd name="connsiteX46" fmla="*/ 1203325 w 2889264"/>
              <a:gd name="connsiteY46" fmla="*/ 130175 h 733425"/>
              <a:gd name="connsiteX47" fmla="*/ 1219200 w 2889264"/>
              <a:gd name="connsiteY47" fmla="*/ 117475 h 733425"/>
              <a:gd name="connsiteX48" fmla="*/ 1276350 w 2889264"/>
              <a:gd name="connsiteY48" fmla="*/ 85725 h 733425"/>
              <a:gd name="connsiteX49" fmla="*/ 1289050 w 2889264"/>
              <a:gd name="connsiteY49" fmla="*/ 79375 h 733425"/>
              <a:gd name="connsiteX50" fmla="*/ 1327150 w 2889264"/>
              <a:gd name="connsiteY50" fmla="*/ 66675 h 733425"/>
              <a:gd name="connsiteX51" fmla="*/ 1343025 w 2889264"/>
              <a:gd name="connsiteY51" fmla="*/ 57150 h 733425"/>
              <a:gd name="connsiteX52" fmla="*/ 1355725 w 2889264"/>
              <a:gd name="connsiteY52" fmla="*/ 47625 h 733425"/>
              <a:gd name="connsiteX53" fmla="*/ 1377950 w 2889264"/>
              <a:gd name="connsiteY53" fmla="*/ 38100 h 733425"/>
              <a:gd name="connsiteX54" fmla="*/ 1416050 w 2889264"/>
              <a:gd name="connsiteY54" fmla="*/ 12700 h 733425"/>
              <a:gd name="connsiteX55" fmla="*/ 1428750 w 2889264"/>
              <a:gd name="connsiteY55" fmla="*/ 0 h 733425"/>
              <a:gd name="connsiteX56" fmla="*/ 1470025 w 2889264"/>
              <a:gd name="connsiteY56" fmla="*/ 28575 h 733425"/>
              <a:gd name="connsiteX57" fmla="*/ 1504950 w 2889264"/>
              <a:gd name="connsiteY57" fmla="*/ 41275 h 733425"/>
              <a:gd name="connsiteX58" fmla="*/ 1517650 w 2889264"/>
              <a:gd name="connsiteY58" fmla="*/ 50800 h 733425"/>
              <a:gd name="connsiteX59" fmla="*/ 1549400 w 2889264"/>
              <a:gd name="connsiteY59" fmla="*/ 60325 h 733425"/>
              <a:gd name="connsiteX60" fmla="*/ 1562100 w 2889264"/>
              <a:gd name="connsiteY60" fmla="*/ 69850 h 733425"/>
              <a:gd name="connsiteX61" fmla="*/ 1574800 w 2889264"/>
              <a:gd name="connsiteY61" fmla="*/ 73025 h 733425"/>
              <a:gd name="connsiteX62" fmla="*/ 1590675 w 2889264"/>
              <a:gd name="connsiteY62" fmla="*/ 79375 h 733425"/>
              <a:gd name="connsiteX63" fmla="*/ 1600200 w 2889264"/>
              <a:gd name="connsiteY63" fmla="*/ 85725 h 733425"/>
              <a:gd name="connsiteX64" fmla="*/ 1612900 w 2889264"/>
              <a:gd name="connsiteY64" fmla="*/ 92075 h 733425"/>
              <a:gd name="connsiteX65" fmla="*/ 1625600 w 2889264"/>
              <a:gd name="connsiteY65" fmla="*/ 101600 h 733425"/>
              <a:gd name="connsiteX66" fmla="*/ 1635125 w 2889264"/>
              <a:gd name="connsiteY66" fmla="*/ 104775 h 733425"/>
              <a:gd name="connsiteX67" fmla="*/ 1654175 w 2889264"/>
              <a:gd name="connsiteY67" fmla="*/ 114300 h 733425"/>
              <a:gd name="connsiteX68" fmla="*/ 1676400 w 2889264"/>
              <a:gd name="connsiteY68" fmla="*/ 130175 h 733425"/>
              <a:gd name="connsiteX69" fmla="*/ 1689100 w 2889264"/>
              <a:gd name="connsiteY69" fmla="*/ 136525 h 733425"/>
              <a:gd name="connsiteX70" fmla="*/ 1714500 w 2889264"/>
              <a:gd name="connsiteY70" fmla="*/ 146050 h 733425"/>
              <a:gd name="connsiteX71" fmla="*/ 1727200 w 2889264"/>
              <a:gd name="connsiteY71" fmla="*/ 155575 h 733425"/>
              <a:gd name="connsiteX72" fmla="*/ 1758950 w 2889264"/>
              <a:gd name="connsiteY72" fmla="*/ 165100 h 733425"/>
              <a:gd name="connsiteX73" fmla="*/ 1768475 w 2889264"/>
              <a:gd name="connsiteY73" fmla="*/ 171450 h 733425"/>
              <a:gd name="connsiteX74" fmla="*/ 1781175 w 2889264"/>
              <a:gd name="connsiteY74" fmla="*/ 180975 h 733425"/>
              <a:gd name="connsiteX75" fmla="*/ 1793875 w 2889264"/>
              <a:gd name="connsiteY75" fmla="*/ 187325 h 733425"/>
              <a:gd name="connsiteX76" fmla="*/ 1838325 w 2889264"/>
              <a:gd name="connsiteY76" fmla="*/ 212725 h 733425"/>
              <a:gd name="connsiteX77" fmla="*/ 1847850 w 2889264"/>
              <a:gd name="connsiteY77" fmla="*/ 222250 h 733425"/>
              <a:gd name="connsiteX78" fmla="*/ 1885950 w 2889264"/>
              <a:gd name="connsiteY78" fmla="*/ 241300 h 733425"/>
              <a:gd name="connsiteX79" fmla="*/ 1901825 w 2889264"/>
              <a:gd name="connsiteY79" fmla="*/ 250825 h 733425"/>
              <a:gd name="connsiteX80" fmla="*/ 1933575 w 2889264"/>
              <a:gd name="connsiteY80" fmla="*/ 263525 h 733425"/>
              <a:gd name="connsiteX81" fmla="*/ 1962150 w 2889264"/>
              <a:gd name="connsiteY81" fmla="*/ 276225 h 733425"/>
              <a:gd name="connsiteX82" fmla="*/ 1971675 w 2889264"/>
              <a:gd name="connsiteY82" fmla="*/ 282575 h 733425"/>
              <a:gd name="connsiteX83" fmla="*/ 1987550 w 2889264"/>
              <a:gd name="connsiteY83" fmla="*/ 288925 h 733425"/>
              <a:gd name="connsiteX84" fmla="*/ 2022475 w 2889264"/>
              <a:gd name="connsiteY84" fmla="*/ 301625 h 733425"/>
              <a:gd name="connsiteX85" fmla="*/ 2047875 w 2889264"/>
              <a:gd name="connsiteY85" fmla="*/ 314325 h 733425"/>
              <a:gd name="connsiteX86" fmla="*/ 2063750 w 2889264"/>
              <a:gd name="connsiteY86" fmla="*/ 320675 h 733425"/>
              <a:gd name="connsiteX87" fmla="*/ 2082800 w 2889264"/>
              <a:gd name="connsiteY87" fmla="*/ 330200 h 733425"/>
              <a:gd name="connsiteX88" fmla="*/ 2095500 w 2889264"/>
              <a:gd name="connsiteY88" fmla="*/ 333375 h 733425"/>
              <a:gd name="connsiteX89" fmla="*/ 2124075 w 2889264"/>
              <a:gd name="connsiteY89" fmla="*/ 342900 h 733425"/>
              <a:gd name="connsiteX90" fmla="*/ 2159000 w 2889264"/>
              <a:gd name="connsiteY90" fmla="*/ 358775 h 733425"/>
              <a:gd name="connsiteX91" fmla="*/ 2187575 w 2889264"/>
              <a:gd name="connsiteY91" fmla="*/ 377825 h 733425"/>
              <a:gd name="connsiteX92" fmla="*/ 2209800 w 2889264"/>
              <a:gd name="connsiteY92" fmla="*/ 393700 h 733425"/>
              <a:gd name="connsiteX93" fmla="*/ 2247900 w 2889264"/>
              <a:gd name="connsiteY93" fmla="*/ 419100 h 733425"/>
              <a:gd name="connsiteX94" fmla="*/ 2276475 w 2889264"/>
              <a:gd name="connsiteY94" fmla="*/ 434975 h 733425"/>
              <a:gd name="connsiteX95" fmla="*/ 2289175 w 2889264"/>
              <a:gd name="connsiteY95" fmla="*/ 444500 h 733425"/>
              <a:gd name="connsiteX96" fmla="*/ 2308225 w 2889264"/>
              <a:gd name="connsiteY96" fmla="*/ 447675 h 733425"/>
              <a:gd name="connsiteX97" fmla="*/ 2333625 w 2889264"/>
              <a:gd name="connsiteY97" fmla="*/ 460375 h 733425"/>
              <a:gd name="connsiteX98" fmla="*/ 2352675 w 2889264"/>
              <a:gd name="connsiteY98" fmla="*/ 466725 h 733425"/>
              <a:gd name="connsiteX99" fmla="*/ 2397125 w 2889264"/>
              <a:gd name="connsiteY99" fmla="*/ 488950 h 733425"/>
              <a:gd name="connsiteX100" fmla="*/ 2422525 w 2889264"/>
              <a:gd name="connsiteY100" fmla="*/ 495300 h 733425"/>
              <a:gd name="connsiteX101" fmla="*/ 2432050 w 2889264"/>
              <a:gd name="connsiteY101" fmla="*/ 498475 h 733425"/>
              <a:gd name="connsiteX102" fmla="*/ 2454275 w 2889264"/>
              <a:gd name="connsiteY102" fmla="*/ 511175 h 733425"/>
              <a:gd name="connsiteX103" fmla="*/ 2470150 w 2889264"/>
              <a:gd name="connsiteY103" fmla="*/ 523875 h 733425"/>
              <a:gd name="connsiteX104" fmla="*/ 2495550 w 2889264"/>
              <a:gd name="connsiteY104" fmla="*/ 533400 h 733425"/>
              <a:gd name="connsiteX105" fmla="*/ 2546350 w 2889264"/>
              <a:gd name="connsiteY105" fmla="*/ 558800 h 733425"/>
              <a:gd name="connsiteX106" fmla="*/ 2574925 w 2889264"/>
              <a:gd name="connsiteY106" fmla="*/ 565150 h 733425"/>
              <a:gd name="connsiteX107" fmla="*/ 2600325 w 2889264"/>
              <a:gd name="connsiteY107" fmla="*/ 577850 h 733425"/>
              <a:gd name="connsiteX108" fmla="*/ 2616200 w 2889264"/>
              <a:gd name="connsiteY108" fmla="*/ 581025 h 733425"/>
              <a:gd name="connsiteX109" fmla="*/ 2638425 w 2889264"/>
              <a:gd name="connsiteY109" fmla="*/ 587375 h 733425"/>
              <a:gd name="connsiteX110" fmla="*/ 2654300 w 2889264"/>
              <a:gd name="connsiteY110" fmla="*/ 596900 h 733425"/>
              <a:gd name="connsiteX111" fmla="*/ 2673350 w 2889264"/>
              <a:gd name="connsiteY111" fmla="*/ 603250 h 733425"/>
              <a:gd name="connsiteX112" fmla="*/ 2708275 w 2889264"/>
              <a:gd name="connsiteY112" fmla="*/ 625475 h 733425"/>
              <a:gd name="connsiteX113" fmla="*/ 2730500 w 2889264"/>
              <a:gd name="connsiteY113" fmla="*/ 635000 h 733425"/>
              <a:gd name="connsiteX114" fmla="*/ 2749550 w 2889264"/>
              <a:gd name="connsiteY114" fmla="*/ 650875 h 733425"/>
              <a:gd name="connsiteX115" fmla="*/ 2774950 w 2889264"/>
              <a:gd name="connsiteY115" fmla="*/ 663575 h 733425"/>
              <a:gd name="connsiteX116" fmla="*/ 2803525 w 2889264"/>
              <a:gd name="connsiteY116" fmla="*/ 676275 h 733425"/>
              <a:gd name="connsiteX117" fmla="*/ 2816225 w 2889264"/>
              <a:gd name="connsiteY117" fmla="*/ 685800 h 733425"/>
              <a:gd name="connsiteX118" fmla="*/ 2832100 w 2889264"/>
              <a:gd name="connsiteY118" fmla="*/ 692150 h 733425"/>
              <a:gd name="connsiteX119" fmla="*/ 2876550 w 2889264"/>
              <a:gd name="connsiteY119" fmla="*/ 723900 h 733425"/>
              <a:gd name="connsiteX120" fmla="*/ 2889250 w 2889264"/>
              <a:gd name="connsiteY120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381000 w 2889264"/>
              <a:gd name="connsiteY6" fmla="*/ 539750 h 733425"/>
              <a:gd name="connsiteX7" fmla="*/ 390525 w 2889264"/>
              <a:gd name="connsiteY7" fmla="*/ 536575 h 733425"/>
              <a:gd name="connsiteX8" fmla="*/ 406400 w 2889264"/>
              <a:gd name="connsiteY8" fmla="*/ 530225 h 733425"/>
              <a:gd name="connsiteX9" fmla="*/ 434975 w 2889264"/>
              <a:gd name="connsiteY9" fmla="*/ 514350 h 733425"/>
              <a:gd name="connsiteX10" fmla="*/ 454025 w 2889264"/>
              <a:gd name="connsiteY10" fmla="*/ 504825 h 733425"/>
              <a:gd name="connsiteX11" fmla="*/ 463550 w 2889264"/>
              <a:gd name="connsiteY11" fmla="*/ 498475 h 733425"/>
              <a:gd name="connsiteX12" fmla="*/ 476250 w 2889264"/>
              <a:gd name="connsiteY12" fmla="*/ 495300 h 733425"/>
              <a:gd name="connsiteX13" fmla="*/ 492125 w 2889264"/>
              <a:gd name="connsiteY13" fmla="*/ 488950 h 733425"/>
              <a:gd name="connsiteX14" fmla="*/ 501650 w 2889264"/>
              <a:gd name="connsiteY14" fmla="*/ 485775 h 733425"/>
              <a:gd name="connsiteX15" fmla="*/ 523875 w 2889264"/>
              <a:gd name="connsiteY15" fmla="*/ 469900 h 733425"/>
              <a:gd name="connsiteX16" fmla="*/ 552450 w 2889264"/>
              <a:gd name="connsiteY16" fmla="*/ 450850 h 733425"/>
              <a:gd name="connsiteX17" fmla="*/ 568325 w 2889264"/>
              <a:gd name="connsiteY17" fmla="*/ 447675 h 733425"/>
              <a:gd name="connsiteX18" fmla="*/ 584200 w 2889264"/>
              <a:gd name="connsiteY18" fmla="*/ 441325 h 733425"/>
              <a:gd name="connsiteX19" fmla="*/ 593725 w 2889264"/>
              <a:gd name="connsiteY19" fmla="*/ 438150 h 733425"/>
              <a:gd name="connsiteX20" fmla="*/ 612775 w 2889264"/>
              <a:gd name="connsiteY20" fmla="*/ 428625 h 733425"/>
              <a:gd name="connsiteX21" fmla="*/ 628650 w 2889264"/>
              <a:gd name="connsiteY21" fmla="*/ 422275 h 733425"/>
              <a:gd name="connsiteX22" fmla="*/ 641350 w 2889264"/>
              <a:gd name="connsiteY22" fmla="*/ 415925 h 733425"/>
              <a:gd name="connsiteX23" fmla="*/ 657225 w 2889264"/>
              <a:gd name="connsiteY23" fmla="*/ 406400 h 733425"/>
              <a:gd name="connsiteX24" fmla="*/ 676275 w 2889264"/>
              <a:gd name="connsiteY24" fmla="*/ 400050 h 733425"/>
              <a:gd name="connsiteX25" fmla="*/ 708025 w 2889264"/>
              <a:gd name="connsiteY25" fmla="*/ 381000 h 733425"/>
              <a:gd name="connsiteX26" fmla="*/ 736600 w 2889264"/>
              <a:gd name="connsiteY26" fmla="*/ 368300 h 733425"/>
              <a:gd name="connsiteX27" fmla="*/ 742950 w 2889264"/>
              <a:gd name="connsiteY27" fmla="*/ 358775 h 733425"/>
              <a:gd name="connsiteX28" fmla="*/ 790575 w 2889264"/>
              <a:gd name="connsiteY28" fmla="*/ 339725 h 733425"/>
              <a:gd name="connsiteX29" fmla="*/ 800100 w 2889264"/>
              <a:gd name="connsiteY29" fmla="*/ 336550 h 733425"/>
              <a:gd name="connsiteX30" fmla="*/ 812800 w 2889264"/>
              <a:gd name="connsiteY30" fmla="*/ 330200 h 733425"/>
              <a:gd name="connsiteX31" fmla="*/ 828675 w 2889264"/>
              <a:gd name="connsiteY31" fmla="*/ 327025 h 733425"/>
              <a:gd name="connsiteX32" fmla="*/ 898525 w 2889264"/>
              <a:gd name="connsiteY32" fmla="*/ 288925 h 733425"/>
              <a:gd name="connsiteX33" fmla="*/ 923925 w 2889264"/>
              <a:gd name="connsiteY33" fmla="*/ 269875 h 733425"/>
              <a:gd name="connsiteX34" fmla="*/ 933450 w 2889264"/>
              <a:gd name="connsiteY34" fmla="*/ 260350 h 733425"/>
              <a:gd name="connsiteX35" fmla="*/ 958850 w 2889264"/>
              <a:gd name="connsiteY35" fmla="*/ 247650 h 733425"/>
              <a:gd name="connsiteX36" fmla="*/ 968375 w 2889264"/>
              <a:gd name="connsiteY36" fmla="*/ 241300 h 733425"/>
              <a:gd name="connsiteX37" fmla="*/ 984250 w 2889264"/>
              <a:gd name="connsiteY37" fmla="*/ 234950 h 733425"/>
              <a:gd name="connsiteX38" fmla="*/ 1006475 w 2889264"/>
              <a:gd name="connsiteY38" fmla="*/ 225425 h 733425"/>
              <a:gd name="connsiteX39" fmla="*/ 1050925 w 2889264"/>
              <a:gd name="connsiteY39" fmla="*/ 212725 h 733425"/>
              <a:gd name="connsiteX40" fmla="*/ 1079500 w 2889264"/>
              <a:gd name="connsiteY40" fmla="*/ 200025 h 733425"/>
              <a:gd name="connsiteX41" fmla="*/ 1098550 w 2889264"/>
              <a:gd name="connsiteY41" fmla="*/ 193675 h 733425"/>
              <a:gd name="connsiteX42" fmla="*/ 1111250 w 2889264"/>
              <a:gd name="connsiteY42" fmla="*/ 187325 h 733425"/>
              <a:gd name="connsiteX43" fmla="*/ 1136650 w 2889264"/>
              <a:gd name="connsiteY43" fmla="*/ 177800 h 733425"/>
              <a:gd name="connsiteX44" fmla="*/ 1181100 w 2889264"/>
              <a:gd name="connsiteY44" fmla="*/ 152400 h 733425"/>
              <a:gd name="connsiteX45" fmla="*/ 1203325 w 2889264"/>
              <a:gd name="connsiteY45" fmla="*/ 130175 h 733425"/>
              <a:gd name="connsiteX46" fmla="*/ 1219200 w 2889264"/>
              <a:gd name="connsiteY46" fmla="*/ 117475 h 733425"/>
              <a:gd name="connsiteX47" fmla="*/ 1276350 w 2889264"/>
              <a:gd name="connsiteY47" fmla="*/ 85725 h 733425"/>
              <a:gd name="connsiteX48" fmla="*/ 1289050 w 2889264"/>
              <a:gd name="connsiteY48" fmla="*/ 79375 h 733425"/>
              <a:gd name="connsiteX49" fmla="*/ 1327150 w 2889264"/>
              <a:gd name="connsiteY49" fmla="*/ 66675 h 733425"/>
              <a:gd name="connsiteX50" fmla="*/ 1343025 w 2889264"/>
              <a:gd name="connsiteY50" fmla="*/ 57150 h 733425"/>
              <a:gd name="connsiteX51" fmla="*/ 1355725 w 2889264"/>
              <a:gd name="connsiteY51" fmla="*/ 47625 h 733425"/>
              <a:gd name="connsiteX52" fmla="*/ 1377950 w 2889264"/>
              <a:gd name="connsiteY52" fmla="*/ 38100 h 733425"/>
              <a:gd name="connsiteX53" fmla="*/ 1416050 w 2889264"/>
              <a:gd name="connsiteY53" fmla="*/ 12700 h 733425"/>
              <a:gd name="connsiteX54" fmla="*/ 1428750 w 2889264"/>
              <a:gd name="connsiteY54" fmla="*/ 0 h 733425"/>
              <a:gd name="connsiteX55" fmla="*/ 1470025 w 2889264"/>
              <a:gd name="connsiteY55" fmla="*/ 28575 h 733425"/>
              <a:gd name="connsiteX56" fmla="*/ 1504950 w 2889264"/>
              <a:gd name="connsiteY56" fmla="*/ 41275 h 733425"/>
              <a:gd name="connsiteX57" fmla="*/ 1517650 w 2889264"/>
              <a:gd name="connsiteY57" fmla="*/ 50800 h 733425"/>
              <a:gd name="connsiteX58" fmla="*/ 1549400 w 2889264"/>
              <a:gd name="connsiteY58" fmla="*/ 60325 h 733425"/>
              <a:gd name="connsiteX59" fmla="*/ 1562100 w 2889264"/>
              <a:gd name="connsiteY59" fmla="*/ 69850 h 733425"/>
              <a:gd name="connsiteX60" fmla="*/ 1574800 w 2889264"/>
              <a:gd name="connsiteY60" fmla="*/ 73025 h 733425"/>
              <a:gd name="connsiteX61" fmla="*/ 1590675 w 2889264"/>
              <a:gd name="connsiteY61" fmla="*/ 79375 h 733425"/>
              <a:gd name="connsiteX62" fmla="*/ 1600200 w 2889264"/>
              <a:gd name="connsiteY62" fmla="*/ 85725 h 733425"/>
              <a:gd name="connsiteX63" fmla="*/ 1612900 w 2889264"/>
              <a:gd name="connsiteY63" fmla="*/ 92075 h 733425"/>
              <a:gd name="connsiteX64" fmla="*/ 1625600 w 2889264"/>
              <a:gd name="connsiteY64" fmla="*/ 101600 h 733425"/>
              <a:gd name="connsiteX65" fmla="*/ 1635125 w 2889264"/>
              <a:gd name="connsiteY65" fmla="*/ 104775 h 733425"/>
              <a:gd name="connsiteX66" fmla="*/ 1654175 w 2889264"/>
              <a:gd name="connsiteY66" fmla="*/ 114300 h 733425"/>
              <a:gd name="connsiteX67" fmla="*/ 1676400 w 2889264"/>
              <a:gd name="connsiteY67" fmla="*/ 130175 h 733425"/>
              <a:gd name="connsiteX68" fmla="*/ 1689100 w 2889264"/>
              <a:gd name="connsiteY68" fmla="*/ 136525 h 733425"/>
              <a:gd name="connsiteX69" fmla="*/ 1714500 w 2889264"/>
              <a:gd name="connsiteY69" fmla="*/ 146050 h 733425"/>
              <a:gd name="connsiteX70" fmla="*/ 1727200 w 2889264"/>
              <a:gd name="connsiteY70" fmla="*/ 155575 h 733425"/>
              <a:gd name="connsiteX71" fmla="*/ 1758950 w 2889264"/>
              <a:gd name="connsiteY71" fmla="*/ 165100 h 733425"/>
              <a:gd name="connsiteX72" fmla="*/ 1768475 w 2889264"/>
              <a:gd name="connsiteY72" fmla="*/ 171450 h 733425"/>
              <a:gd name="connsiteX73" fmla="*/ 1781175 w 2889264"/>
              <a:gd name="connsiteY73" fmla="*/ 180975 h 733425"/>
              <a:gd name="connsiteX74" fmla="*/ 1793875 w 2889264"/>
              <a:gd name="connsiteY74" fmla="*/ 187325 h 733425"/>
              <a:gd name="connsiteX75" fmla="*/ 1838325 w 2889264"/>
              <a:gd name="connsiteY75" fmla="*/ 212725 h 733425"/>
              <a:gd name="connsiteX76" fmla="*/ 1847850 w 2889264"/>
              <a:gd name="connsiteY76" fmla="*/ 222250 h 733425"/>
              <a:gd name="connsiteX77" fmla="*/ 1885950 w 2889264"/>
              <a:gd name="connsiteY77" fmla="*/ 241300 h 733425"/>
              <a:gd name="connsiteX78" fmla="*/ 1901825 w 2889264"/>
              <a:gd name="connsiteY78" fmla="*/ 250825 h 733425"/>
              <a:gd name="connsiteX79" fmla="*/ 1933575 w 2889264"/>
              <a:gd name="connsiteY79" fmla="*/ 263525 h 733425"/>
              <a:gd name="connsiteX80" fmla="*/ 1962150 w 2889264"/>
              <a:gd name="connsiteY80" fmla="*/ 276225 h 733425"/>
              <a:gd name="connsiteX81" fmla="*/ 1971675 w 2889264"/>
              <a:gd name="connsiteY81" fmla="*/ 282575 h 733425"/>
              <a:gd name="connsiteX82" fmla="*/ 1987550 w 2889264"/>
              <a:gd name="connsiteY82" fmla="*/ 288925 h 733425"/>
              <a:gd name="connsiteX83" fmla="*/ 2022475 w 2889264"/>
              <a:gd name="connsiteY83" fmla="*/ 301625 h 733425"/>
              <a:gd name="connsiteX84" fmla="*/ 2047875 w 2889264"/>
              <a:gd name="connsiteY84" fmla="*/ 314325 h 733425"/>
              <a:gd name="connsiteX85" fmla="*/ 2063750 w 2889264"/>
              <a:gd name="connsiteY85" fmla="*/ 320675 h 733425"/>
              <a:gd name="connsiteX86" fmla="*/ 2082800 w 2889264"/>
              <a:gd name="connsiteY86" fmla="*/ 330200 h 733425"/>
              <a:gd name="connsiteX87" fmla="*/ 2095500 w 2889264"/>
              <a:gd name="connsiteY87" fmla="*/ 333375 h 733425"/>
              <a:gd name="connsiteX88" fmla="*/ 2124075 w 2889264"/>
              <a:gd name="connsiteY88" fmla="*/ 342900 h 733425"/>
              <a:gd name="connsiteX89" fmla="*/ 2159000 w 2889264"/>
              <a:gd name="connsiteY89" fmla="*/ 358775 h 733425"/>
              <a:gd name="connsiteX90" fmla="*/ 2187575 w 2889264"/>
              <a:gd name="connsiteY90" fmla="*/ 377825 h 733425"/>
              <a:gd name="connsiteX91" fmla="*/ 2209800 w 2889264"/>
              <a:gd name="connsiteY91" fmla="*/ 393700 h 733425"/>
              <a:gd name="connsiteX92" fmla="*/ 2247900 w 2889264"/>
              <a:gd name="connsiteY92" fmla="*/ 419100 h 733425"/>
              <a:gd name="connsiteX93" fmla="*/ 2276475 w 2889264"/>
              <a:gd name="connsiteY93" fmla="*/ 434975 h 733425"/>
              <a:gd name="connsiteX94" fmla="*/ 2289175 w 2889264"/>
              <a:gd name="connsiteY94" fmla="*/ 444500 h 733425"/>
              <a:gd name="connsiteX95" fmla="*/ 2308225 w 2889264"/>
              <a:gd name="connsiteY95" fmla="*/ 447675 h 733425"/>
              <a:gd name="connsiteX96" fmla="*/ 2333625 w 2889264"/>
              <a:gd name="connsiteY96" fmla="*/ 460375 h 733425"/>
              <a:gd name="connsiteX97" fmla="*/ 2352675 w 2889264"/>
              <a:gd name="connsiteY97" fmla="*/ 466725 h 733425"/>
              <a:gd name="connsiteX98" fmla="*/ 2397125 w 2889264"/>
              <a:gd name="connsiteY98" fmla="*/ 488950 h 733425"/>
              <a:gd name="connsiteX99" fmla="*/ 2422525 w 2889264"/>
              <a:gd name="connsiteY99" fmla="*/ 495300 h 733425"/>
              <a:gd name="connsiteX100" fmla="*/ 2432050 w 2889264"/>
              <a:gd name="connsiteY100" fmla="*/ 498475 h 733425"/>
              <a:gd name="connsiteX101" fmla="*/ 2454275 w 2889264"/>
              <a:gd name="connsiteY101" fmla="*/ 511175 h 733425"/>
              <a:gd name="connsiteX102" fmla="*/ 2470150 w 2889264"/>
              <a:gd name="connsiteY102" fmla="*/ 523875 h 733425"/>
              <a:gd name="connsiteX103" fmla="*/ 2495550 w 2889264"/>
              <a:gd name="connsiteY103" fmla="*/ 533400 h 733425"/>
              <a:gd name="connsiteX104" fmla="*/ 2546350 w 2889264"/>
              <a:gd name="connsiteY104" fmla="*/ 558800 h 733425"/>
              <a:gd name="connsiteX105" fmla="*/ 2574925 w 2889264"/>
              <a:gd name="connsiteY105" fmla="*/ 565150 h 733425"/>
              <a:gd name="connsiteX106" fmla="*/ 2600325 w 2889264"/>
              <a:gd name="connsiteY106" fmla="*/ 577850 h 733425"/>
              <a:gd name="connsiteX107" fmla="*/ 2616200 w 2889264"/>
              <a:gd name="connsiteY107" fmla="*/ 581025 h 733425"/>
              <a:gd name="connsiteX108" fmla="*/ 2638425 w 2889264"/>
              <a:gd name="connsiteY108" fmla="*/ 587375 h 733425"/>
              <a:gd name="connsiteX109" fmla="*/ 2654300 w 2889264"/>
              <a:gd name="connsiteY109" fmla="*/ 596900 h 733425"/>
              <a:gd name="connsiteX110" fmla="*/ 2673350 w 2889264"/>
              <a:gd name="connsiteY110" fmla="*/ 603250 h 733425"/>
              <a:gd name="connsiteX111" fmla="*/ 2708275 w 2889264"/>
              <a:gd name="connsiteY111" fmla="*/ 625475 h 733425"/>
              <a:gd name="connsiteX112" fmla="*/ 2730500 w 2889264"/>
              <a:gd name="connsiteY112" fmla="*/ 635000 h 733425"/>
              <a:gd name="connsiteX113" fmla="*/ 2749550 w 2889264"/>
              <a:gd name="connsiteY113" fmla="*/ 650875 h 733425"/>
              <a:gd name="connsiteX114" fmla="*/ 2774950 w 2889264"/>
              <a:gd name="connsiteY114" fmla="*/ 663575 h 733425"/>
              <a:gd name="connsiteX115" fmla="*/ 2803525 w 2889264"/>
              <a:gd name="connsiteY115" fmla="*/ 676275 h 733425"/>
              <a:gd name="connsiteX116" fmla="*/ 2816225 w 2889264"/>
              <a:gd name="connsiteY116" fmla="*/ 685800 h 733425"/>
              <a:gd name="connsiteX117" fmla="*/ 2832100 w 2889264"/>
              <a:gd name="connsiteY117" fmla="*/ 692150 h 733425"/>
              <a:gd name="connsiteX118" fmla="*/ 2876550 w 2889264"/>
              <a:gd name="connsiteY118" fmla="*/ 723900 h 733425"/>
              <a:gd name="connsiteX119" fmla="*/ 2889250 w 2889264"/>
              <a:gd name="connsiteY119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381000 w 2889264"/>
              <a:gd name="connsiteY6" fmla="*/ 539750 h 733425"/>
              <a:gd name="connsiteX7" fmla="*/ 406400 w 2889264"/>
              <a:gd name="connsiteY7" fmla="*/ 530225 h 733425"/>
              <a:gd name="connsiteX8" fmla="*/ 434975 w 2889264"/>
              <a:gd name="connsiteY8" fmla="*/ 514350 h 733425"/>
              <a:gd name="connsiteX9" fmla="*/ 454025 w 2889264"/>
              <a:gd name="connsiteY9" fmla="*/ 504825 h 733425"/>
              <a:gd name="connsiteX10" fmla="*/ 463550 w 2889264"/>
              <a:gd name="connsiteY10" fmla="*/ 498475 h 733425"/>
              <a:gd name="connsiteX11" fmla="*/ 476250 w 2889264"/>
              <a:gd name="connsiteY11" fmla="*/ 495300 h 733425"/>
              <a:gd name="connsiteX12" fmla="*/ 492125 w 2889264"/>
              <a:gd name="connsiteY12" fmla="*/ 488950 h 733425"/>
              <a:gd name="connsiteX13" fmla="*/ 501650 w 2889264"/>
              <a:gd name="connsiteY13" fmla="*/ 485775 h 733425"/>
              <a:gd name="connsiteX14" fmla="*/ 523875 w 2889264"/>
              <a:gd name="connsiteY14" fmla="*/ 469900 h 733425"/>
              <a:gd name="connsiteX15" fmla="*/ 552450 w 2889264"/>
              <a:gd name="connsiteY15" fmla="*/ 450850 h 733425"/>
              <a:gd name="connsiteX16" fmla="*/ 568325 w 2889264"/>
              <a:gd name="connsiteY16" fmla="*/ 447675 h 733425"/>
              <a:gd name="connsiteX17" fmla="*/ 584200 w 2889264"/>
              <a:gd name="connsiteY17" fmla="*/ 441325 h 733425"/>
              <a:gd name="connsiteX18" fmla="*/ 593725 w 2889264"/>
              <a:gd name="connsiteY18" fmla="*/ 438150 h 733425"/>
              <a:gd name="connsiteX19" fmla="*/ 612775 w 2889264"/>
              <a:gd name="connsiteY19" fmla="*/ 428625 h 733425"/>
              <a:gd name="connsiteX20" fmla="*/ 628650 w 2889264"/>
              <a:gd name="connsiteY20" fmla="*/ 422275 h 733425"/>
              <a:gd name="connsiteX21" fmla="*/ 641350 w 2889264"/>
              <a:gd name="connsiteY21" fmla="*/ 415925 h 733425"/>
              <a:gd name="connsiteX22" fmla="*/ 657225 w 2889264"/>
              <a:gd name="connsiteY22" fmla="*/ 406400 h 733425"/>
              <a:gd name="connsiteX23" fmla="*/ 676275 w 2889264"/>
              <a:gd name="connsiteY23" fmla="*/ 400050 h 733425"/>
              <a:gd name="connsiteX24" fmla="*/ 708025 w 2889264"/>
              <a:gd name="connsiteY24" fmla="*/ 381000 h 733425"/>
              <a:gd name="connsiteX25" fmla="*/ 736600 w 2889264"/>
              <a:gd name="connsiteY25" fmla="*/ 368300 h 733425"/>
              <a:gd name="connsiteX26" fmla="*/ 742950 w 2889264"/>
              <a:gd name="connsiteY26" fmla="*/ 358775 h 733425"/>
              <a:gd name="connsiteX27" fmla="*/ 790575 w 2889264"/>
              <a:gd name="connsiteY27" fmla="*/ 339725 h 733425"/>
              <a:gd name="connsiteX28" fmla="*/ 800100 w 2889264"/>
              <a:gd name="connsiteY28" fmla="*/ 336550 h 733425"/>
              <a:gd name="connsiteX29" fmla="*/ 812800 w 2889264"/>
              <a:gd name="connsiteY29" fmla="*/ 330200 h 733425"/>
              <a:gd name="connsiteX30" fmla="*/ 828675 w 2889264"/>
              <a:gd name="connsiteY30" fmla="*/ 327025 h 733425"/>
              <a:gd name="connsiteX31" fmla="*/ 898525 w 2889264"/>
              <a:gd name="connsiteY31" fmla="*/ 288925 h 733425"/>
              <a:gd name="connsiteX32" fmla="*/ 923925 w 2889264"/>
              <a:gd name="connsiteY32" fmla="*/ 269875 h 733425"/>
              <a:gd name="connsiteX33" fmla="*/ 933450 w 2889264"/>
              <a:gd name="connsiteY33" fmla="*/ 260350 h 733425"/>
              <a:gd name="connsiteX34" fmla="*/ 958850 w 2889264"/>
              <a:gd name="connsiteY34" fmla="*/ 247650 h 733425"/>
              <a:gd name="connsiteX35" fmla="*/ 968375 w 2889264"/>
              <a:gd name="connsiteY35" fmla="*/ 241300 h 733425"/>
              <a:gd name="connsiteX36" fmla="*/ 984250 w 2889264"/>
              <a:gd name="connsiteY36" fmla="*/ 234950 h 733425"/>
              <a:gd name="connsiteX37" fmla="*/ 1006475 w 2889264"/>
              <a:gd name="connsiteY37" fmla="*/ 225425 h 733425"/>
              <a:gd name="connsiteX38" fmla="*/ 1050925 w 2889264"/>
              <a:gd name="connsiteY38" fmla="*/ 212725 h 733425"/>
              <a:gd name="connsiteX39" fmla="*/ 1079500 w 2889264"/>
              <a:gd name="connsiteY39" fmla="*/ 200025 h 733425"/>
              <a:gd name="connsiteX40" fmla="*/ 1098550 w 2889264"/>
              <a:gd name="connsiteY40" fmla="*/ 193675 h 733425"/>
              <a:gd name="connsiteX41" fmla="*/ 1111250 w 2889264"/>
              <a:gd name="connsiteY41" fmla="*/ 187325 h 733425"/>
              <a:gd name="connsiteX42" fmla="*/ 1136650 w 2889264"/>
              <a:gd name="connsiteY42" fmla="*/ 177800 h 733425"/>
              <a:gd name="connsiteX43" fmla="*/ 1181100 w 2889264"/>
              <a:gd name="connsiteY43" fmla="*/ 152400 h 733425"/>
              <a:gd name="connsiteX44" fmla="*/ 1203325 w 2889264"/>
              <a:gd name="connsiteY44" fmla="*/ 130175 h 733425"/>
              <a:gd name="connsiteX45" fmla="*/ 1219200 w 2889264"/>
              <a:gd name="connsiteY45" fmla="*/ 117475 h 733425"/>
              <a:gd name="connsiteX46" fmla="*/ 1276350 w 2889264"/>
              <a:gd name="connsiteY46" fmla="*/ 85725 h 733425"/>
              <a:gd name="connsiteX47" fmla="*/ 1289050 w 2889264"/>
              <a:gd name="connsiteY47" fmla="*/ 79375 h 733425"/>
              <a:gd name="connsiteX48" fmla="*/ 1327150 w 2889264"/>
              <a:gd name="connsiteY48" fmla="*/ 66675 h 733425"/>
              <a:gd name="connsiteX49" fmla="*/ 1343025 w 2889264"/>
              <a:gd name="connsiteY49" fmla="*/ 57150 h 733425"/>
              <a:gd name="connsiteX50" fmla="*/ 1355725 w 2889264"/>
              <a:gd name="connsiteY50" fmla="*/ 47625 h 733425"/>
              <a:gd name="connsiteX51" fmla="*/ 1377950 w 2889264"/>
              <a:gd name="connsiteY51" fmla="*/ 38100 h 733425"/>
              <a:gd name="connsiteX52" fmla="*/ 1416050 w 2889264"/>
              <a:gd name="connsiteY52" fmla="*/ 12700 h 733425"/>
              <a:gd name="connsiteX53" fmla="*/ 1428750 w 2889264"/>
              <a:gd name="connsiteY53" fmla="*/ 0 h 733425"/>
              <a:gd name="connsiteX54" fmla="*/ 1470025 w 2889264"/>
              <a:gd name="connsiteY54" fmla="*/ 28575 h 733425"/>
              <a:gd name="connsiteX55" fmla="*/ 1504950 w 2889264"/>
              <a:gd name="connsiteY55" fmla="*/ 41275 h 733425"/>
              <a:gd name="connsiteX56" fmla="*/ 1517650 w 2889264"/>
              <a:gd name="connsiteY56" fmla="*/ 50800 h 733425"/>
              <a:gd name="connsiteX57" fmla="*/ 1549400 w 2889264"/>
              <a:gd name="connsiteY57" fmla="*/ 60325 h 733425"/>
              <a:gd name="connsiteX58" fmla="*/ 1562100 w 2889264"/>
              <a:gd name="connsiteY58" fmla="*/ 69850 h 733425"/>
              <a:gd name="connsiteX59" fmla="*/ 1574800 w 2889264"/>
              <a:gd name="connsiteY59" fmla="*/ 73025 h 733425"/>
              <a:gd name="connsiteX60" fmla="*/ 1590675 w 2889264"/>
              <a:gd name="connsiteY60" fmla="*/ 79375 h 733425"/>
              <a:gd name="connsiteX61" fmla="*/ 1600200 w 2889264"/>
              <a:gd name="connsiteY61" fmla="*/ 85725 h 733425"/>
              <a:gd name="connsiteX62" fmla="*/ 1612900 w 2889264"/>
              <a:gd name="connsiteY62" fmla="*/ 92075 h 733425"/>
              <a:gd name="connsiteX63" fmla="*/ 1625600 w 2889264"/>
              <a:gd name="connsiteY63" fmla="*/ 101600 h 733425"/>
              <a:gd name="connsiteX64" fmla="*/ 1635125 w 2889264"/>
              <a:gd name="connsiteY64" fmla="*/ 104775 h 733425"/>
              <a:gd name="connsiteX65" fmla="*/ 1654175 w 2889264"/>
              <a:gd name="connsiteY65" fmla="*/ 114300 h 733425"/>
              <a:gd name="connsiteX66" fmla="*/ 1676400 w 2889264"/>
              <a:gd name="connsiteY66" fmla="*/ 130175 h 733425"/>
              <a:gd name="connsiteX67" fmla="*/ 1689100 w 2889264"/>
              <a:gd name="connsiteY67" fmla="*/ 136525 h 733425"/>
              <a:gd name="connsiteX68" fmla="*/ 1714500 w 2889264"/>
              <a:gd name="connsiteY68" fmla="*/ 146050 h 733425"/>
              <a:gd name="connsiteX69" fmla="*/ 1727200 w 2889264"/>
              <a:gd name="connsiteY69" fmla="*/ 155575 h 733425"/>
              <a:gd name="connsiteX70" fmla="*/ 1758950 w 2889264"/>
              <a:gd name="connsiteY70" fmla="*/ 165100 h 733425"/>
              <a:gd name="connsiteX71" fmla="*/ 1768475 w 2889264"/>
              <a:gd name="connsiteY71" fmla="*/ 171450 h 733425"/>
              <a:gd name="connsiteX72" fmla="*/ 1781175 w 2889264"/>
              <a:gd name="connsiteY72" fmla="*/ 180975 h 733425"/>
              <a:gd name="connsiteX73" fmla="*/ 1793875 w 2889264"/>
              <a:gd name="connsiteY73" fmla="*/ 187325 h 733425"/>
              <a:gd name="connsiteX74" fmla="*/ 1838325 w 2889264"/>
              <a:gd name="connsiteY74" fmla="*/ 212725 h 733425"/>
              <a:gd name="connsiteX75" fmla="*/ 1847850 w 2889264"/>
              <a:gd name="connsiteY75" fmla="*/ 222250 h 733425"/>
              <a:gd name="connsiteX76" fmla="*/ 1885950 w 2889264"/>
              <a:gd name="connsiteY76" fmla="*/ 241300 h 733425"/>
              <a:gd name="connsiteX77" fmla="*/ 1901825 w 2889264"/>
              <a:gd name="connsiteY77" fmla="*/ 250825 h 733425"/>
              <a:gd name="connsiteX78" fmla="*/ 1933575 w 2889264"/>
              <a:gd name="connsiteY78" fmla="*/ 263525 h 733425"/>
              <a:gd name="connsiteX79" fmla="*/ 1962150 w 2889264"/>
              <a:gd name="connsiteY79" fmla="*/ 276225 h 733425"/>
              <a:gd name="connsiteX80" fmla="*/ 1971675 w 2889264"/>
              <a:gd name="connsiteY80" fmla="*/ 282575 h 733425"/>
              <a:gd name="connsiteX81" fmla="*/ 1987550 w 2889264"/>
              <a:gd name="connsiteY81" fmla="*/ 288925 h 733425"/>
              <a:gd name="connsiteX82" fmla="*/ 2022475 w 2889264"/>
              <a:gd name="connsiteY82" fmla="*/ 301625 h 733425"/>
              <a:gd name="connsiteX83" fmla="*/ 2047875 w 2889264"/>
              <a:gd name="connsiteY83" fmla="*/ 314325 h 733425"/>
              <a:gd name="connsiteX84" fmla="*/ 2063750 w 2889264"/>
              <a:gd name="connsiteY84" fmla="*/ 320675 h 733425"/>
              <a:gd name="connsiteX85" fmla="*/ 2082800 w 2889264"/>
              <a:gd name="connsiteY85" fmla="*/ 330200 h 733425"/>
              <a:gd name="connsiteX86" fmla="*/ 2095500 w 2889264"/>
              <a:gd name="connsiteY86" fmla="*/ 333375 h 733425"/>
              <a:gd name="connsiteX87" fmla="*/ 2124075 w 2889264"/>
              <a:gd name="connsiteY87" fmla="*/ 342900 h 733425"/>
              <a:gd name="connsiteX88" fmla="*/ 2159000 w 2889264"/>
              <a:gd name="connsiteY88" fmla="*/ 358775 h 733425"/>
              <a:gd name="connsiteX89" fmla="*/ 2187575 w 2889264"/>
              <a:gd name="connsiteY89" fmla="*/ 377825 h 733425"/>
              <a:gd name="connsiteX90" fmla="*/ 2209800 w 2889264"/>
              <a:gd name="connsiteY90" fmla="*/ 393700 h 733425"/>
              <a:gd name="connsiteX91" fmla="*/ 2247900 w 2889264"/>
              <a:gd name="connsiteY91" fmla="*/ 419100 h 733425"/>
              <a:gd name="connsiteX92" fmla="*/ 2276475 w 2889264"/>
              <a:gd name="connsiteY92" fmla="*/ 434975 h 733425"/>
              <a:gd name="connsiteX93" fmla="*/ 2289175 w 2889264"/>
              <a:gd name="connsiteY93" fmla="*/ 444500 h 733425"/>
              <a:gd name="connsiteX94" fmla="*/ 2308225 w 2889264"/>
              <a:gd name="connsiteY94" fmla="*/ 447675 h 733425"/>
              <a:gd name="connsiteX95" fmla="*/ 2333625 w 2889264"/>
              <a:gd name="connsiteY95" fmla="*/ 460375 h 733425"/>
              <a:gd name="connsiteX96" fmla="*/ 2352675 w 2889264"/>
              <a:gd name="connsiteY96" fmla="*/ 466725 h 733425"/>
              <a:gd name="connsiteX97" fmla="*/ 2397125 w 2889264"/>
              <a:gd name="connsiteY97" fmla="*/ 488950 h 733425"/>
              <a:gd name="connsiteX98" fmla="*/ 2422525 w 2889264"/>
              <a:gd name="connsiteY98" fmla="*/ 495300 h 733425"/>
              <a:gd name="connsiteX99" fmla="*/ 2432050 w 2889264"/>
              <a:gd name="connsiteY99" fmla="*/ 498475 h 733425"/>
              <a:gd name="connsiteX100" fmla="*/ 2454275 w 2889264"/>
              <a:gd name="connsiteY100" fmla="*/ 511175 h 733425"/>
              <a:gd name="connsiteX101" fmla="*/ 2470150 w 2889264"/>
              <a:gd name="connsiteY101" fmla="*/ 523875 h 733425"/>
              <a:gd name="connsiteX102" fmla="*/ 2495550 w 2889264"/>
              <a:gd name="connsiteY102" fmla="*/ 533400 h 733425"/>
              <a:gd name="connsiteX103" fmla="*/ 2546350 w 2889264"/>
              <a:gd name="connsiteY103" fmla="*/ 558800 h 733425"/>
              <a:gd name="connsiteX104" fmla="*/ 2574925 w 2889264"/>
              <a:gd name="connsiteY104" fmla="*/ 565150 h 733425"/>
              <a:gd name="connsiteX105" fmla="*/ 2600325 w 2889264"/>
              <a:gd name="connsiteY105" fmla="*/ 577850 h 733425"/>
              <a:gd name="connsiteX106" fmla="*/ 2616200 w 2889264"/>
              <a:gd name="connsiteY106" fmla="*/ 581025 h 733425"/>
              <a:gd name="connsiteX107" fmla="*/ 2638425 w 2889264"/>
              <a:gd name="connsiteY107" fmla="*/ 587375 h 733425"/>
              <a:gd name="connsiteX108" fmla="*/ 2654300 w 2889264"/>
              <a:gd name="connsiteY108" fmla="*/ 596900 h 733425"/>
              <a:gd name="connsiteX109" fmla="*/ 2673350 w 2889264"/>
              <a:gd name="connsiteY109" fmla="*/ 603250 h 733425"/>
              <a:gd name="connsiteX110" fmla="*/ 2708275 w 2889264"/>
              <a:gd name="connsiteY110" fmla="*/ 625475 h 733425"/>
              <a:gd name="connsiteX111" fmla="*/ 2730500 w 2889264"/>
              <a:gd name="connsiteY111" fmla="*/ 635000 h 733425"/>
              <a:gd name="connsiteX112" fmla="*/ 2749550 w 2889264"/>
              <a:gd name="connsiteY112" fmla="*/ 650875 h 733425"/>
              <a:gd name="connsiteX113" fmla="*/ 2774950 w 2889264"/>
              <a:gd name="connsiteY113" fmla="*/ 663575 h 733425"/>
              <a:gd name="connsiteX114" fmla="*/ 2803525 w 2889264"/>
              <a:gd name="connsiteY114" fmla="*/ 676275 h 733425"/>
              <a:gd name="connsiteX115" fmla="*/ 2816225 w 2889264"/>
              <a:gd name="connsiteY115" fmla="*/ 685800 h 733425"/>
              <a:gd name="connsiteX116" fmla="*/ 2832100 w 2889264"/>
              <a:gd name="connsiteY116" fmla="*/ 692150 h 733425"/>
              <a:gd name="connsiteX117" fmla="*/ 2876550 w 2889264"/>
              <a:gd name="connsiteY117" fmla="*/ 723900 h 733425"/>
              <a:gd name="connsiteX118" fmla="*/ 2889250 w 2889264"/>
              <a:gd name="connsiteY118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381000 w 2889264"/>
              <a:gd name="connsiteY6" fmla="*/ 539750 h 733425"/>
              <a:gd name="connsiteX7" fmla="*/ 406400 w 2889264"/>
              <a:gd name="connsiteY7" fmla="*/ 530225 h 733425"/>
              <a:gd name="connsiteX8" fmla="*/ 434975 w 2889264"/>
              <a:gd name="connsiteY8" fmla="*/ 514350 h 733425"/>
              <a:gd name="connsiteX9" fmla="*/ 463550 w 2889264"/>
              <a:gd name="connsiteY9" fmla="*/ 498475 h 733425"/>
              <a:gd name="connsiteX10" fmla="*/ 476250 w 2889264"/>
              <a:gd name="connsiteY10" fmla="*/ 495300 h 733425"/>
              <a:gd name="connsiteX11" fmla="*/ 492125 w 2889264"/>
              <a:gd name="connsiteY11" fmla="*/ 488950 h 733425"/>
              <a:gd name="connsiteX12" fmla="*/ 501650 w 2889264"/>
              <a:gd name="connsiteY12" fmla="*/ 485775 h 733425"/>
              <a:gd name="connsiteX13" fmla="*/ 523875 w 2889264"/>
              <a:gd name="connsiteY13" fmla="*/ 469900 h 733425"/>
              <a:gd name="connsiteX14" fmla="*/ 552450 w 2889264"/>
              <a:gd name="connsiteY14" fmla="*/ 450850 h 733425"/>
              <a:gd name="connsiteX15" fmla="*/ 568325 w 2889264"/>
              <a:gd name="connsiteY15" fmla="*/ 447675 h 733425"/>
              <a:gd name="connsiteX16" fmla="*/ 584200 w 2889264"/>
              <a:gd name="connsiteY16" fmla="*/ 441325 h 733425"/>
              <a:gd name="connsiteX17" fmla="*/ 593725 w 2889264"/>
              <a:gd name="connsiteY17" fmla="*/ 438150 h 733425"/>
              <a:gd name="connsiteX18" fmla="*/ 612775 w 2889264"/>
              <a:gd name="connsiteY18" fmla="*/ 428625 h 733425"/>
              <a:gd name="connsiteX19" fmla="*/ 628650 w 2889264"/>
              <a:gd name="connsiteY19" fmla="*/ 422275 h 733425"/>
              <a:gd name="connsiteX20" fmla="*/ 641350 w 2889264"/>
              <a:gd name="connsiteY20" fmla="*/ 415925 h 733425"/>
              <a:gd name="connsiteX21" fmla="*/ 657225 w 2889264"/>
              <a:gd name="connsiteY21" fmla="*/ 406400 h 733425"/>
              <a:gd name="connsiteX22" fmla="*/ 676275 w 2889264"/>
              <a:gd name="connsiteY22" fmla="*/ 400050 h 733425"/>
              <a:gd name="connsiteX23" fmla="*/ 708025 w 2889264"/>
              <a:gd name="connsiteY23" fmla="*/ 381000 h 733425"/>
              <a:gd name="connsiteX24" fmla="*/ 736600 w 2889264"/>
              <a:gd name="connsiteY24" fmla="*/ 368300 h 733425"/>
              <a:gd name="connsiteX25" fmla="*/ 742950 w 2889264"/>
              <a:gd name="connsiteY25" fmla="*/ 358775 h 733425"/>
              <a:gd name="connsiteX26" fmla="*/ 790575 w 2889264"/>
              <a:gd name="connsiteY26" fmla="*/ 339725 h 733425"/>
              <a:gd name="connsiteX27" fmla="*/ 800100 w 2889264"/>
              <a:gd name="connsiteY27" fmla="*/ 336550 h 733425"/>
              <a:gd name="connsiteX28" fmla="*/ 812800 w 2889264"/>
              <a:gd name="connsiteY28" fmla="*/ 330200 h 733425"/>
              <a:gd name="connsiteX29" fmla="*/ 828675 w 2889264"/>
              <a:gd name="connsiteY29" fmla="*/ 327025 h 733425"/>
              <a:gd name="connsiteX30" fmla="*/ 898525 w 2889264"/>
              <a:gd name="connsiteY30" fmla="*/ 288925 h 733425"/>
              <a:gd name="connsiteX31" fmla="*/ 923925 w 2889264"/>
              <a:gd name="connsiteY31" fmla="*/ 269875 h 733425"/>
              <a:gd name="connsiteX32" fmla="*/ 933450 w 2889264"/>
              <a:gd name="connsiteY32" fmla="*/ 260350 h 733425"/>
              <a:gd name="connsiteX33" fmla="*/ 958850 w 2889264"/>
              <a:gd name="connsiteY33" fmla="*/ 247650 h 733425"/>
              <a:gd name="connsiteX34" fmla="*/ 968375 w 2889264"/>
              <a:gd name="connsiteY34" fmla="*/ 241300 h 733425"/>
              <a:gd name="connsiteX35" fmla="*/ 984250 w 2889264"/>
              <a:gd name="connsiteY35" fmla="*/ 234950 h 733425"/>
              <a:gd name="connsiteX36" fmla="*/ 1006475 w 2889264"/>
              <a:gd name="connsiteY36" fmla="*/ 225425 h 733425"/>
              <a:gd name="connsiteX37" fmla="*/ 1050925 w 2889264"/>
              <a:gd name="connsiteY37" fmla="*/ 212725 h 733425"/>
              <a:gd name="connsiteX38" fmla="*/ 1079500 w 2889264"/>
              <a:gd name="connsiteY38" fmla="*/ 200025 h 733425"/>
              <a:gd name="connsiteX39" fmla="*/ 1098550 w 2889264"/>
              <a:gd name="connsiteY39" fmla="*/ 193675 h 733425"/>
              <a:gd name="connsiteX40" fmla="*/ 1111250 w 2889264"/>
              <a:gd name="connsiteY40" fmla="*/ 187325 h 733425"/>
              <a:gd name="connsiteX41" fmla="*/ 1136650 w 2889264"/>
              <a:gd name="connsiteY41" fmla="*/ 177800 h 733425"/>
              <a:gd name="connsiteX42" fmla="*/ 1181100 w 2889264"/>
              <a:gd name="connsiteY42" fmla="*/ 152400 h 733425"/>
              <a:gd name="connsiteX43" fmla="*/ 1203325 w 2889264"/>
              <a:gd name="connsiteY43" fmla="*/ 130175 h 733425"/>
              <a:gd name="connsiteX44" fmla="*/ 1219200 w 2889264"/>
              <a:gd name="connsiteY44" fmla="*/ 117475 h 733425"/>
              <a:gd name="connsiteX45" fmla="*/ 1276350 w 2889264"/>
              <a:gd name="connsiteY45" fmla="*/ 85725 h 733425"/>
              <a:gd name="connsiteX46" fmla="*/ 1289050 w 2889264"/>
              <a:gd name="connsiteY46" fmla="*/ 79375 h 733425"/>
              <a:gd name="connsiteX47" fmla="*/ 1327150 w 2889264"/>
              <a:gd name="connsiteY47" fmla="*/ 66675 h 733425"/>
              <a:gd name="connsiteX48" fmla="*/ 1343025 w 2889264"/>
              <a:gd name="connsiteY48" fmla="*/ 57150 h 733425"/>
              <a:gd name="connsiteX49" fmla="*/ 1355725 w 2889264"/>
              <a:gd name="connsiteY49" fmla="*/ 47625 h 733425"/>
              <a:gd name="connsiteX50" fmla="*/ 1377950 w 2889264"/>
              <a:gd name="connsiteY50" fmla="*/ 38100 h 733425"/>
              <a:gd name="connsiteX51" fmla="*/ 1416050 w 2889264"/>
              <a:gd name="connsiteY51" fmla="*/ 12700 h 733425"/>
              <a:gd name="connsiteX52" fmla="*/ 1428750 w 2889264"/>
              <a:gd name="connsiteY52" fmla="*/ 0 h 733425"/>
              <a:gd name="connsiteX53" fmla="*/ 1470025 w 2889264"/>
              <a:gd name="connsiteY53" fmla="*/ 28575 h 733425"/>
              <a:gd name="connsiteX54" fmla="*/ 1504950 w 2889264"/>
              <a:gd name="connsiteY54" fmla="*/ 41275 h 733425"/>
              <a:gd name="connsiteX55" fmla="*/ 1517650 w 2889264"/>
              <a:gd name="connsiteY55" fmla="*/ 50800 h 733425"/>
              <a:gd name="connsiteX56" fmla="*/ 1549400 w 2889264"/>
              <a:gd name="connsiteY56" fmla="*/ 60325 h 733425"/>
              <a:gd name="connsiteX57" fmla="*/ 1562100 w 2889264"/>
              <a:gd name="connsiteY57" fmla="*/ 69850 h 733425"/>
              <a:gd name="connsiteX58" fmla="*/ 1574800 w 2889264"/>
              <a:gd name="connsiteY58" fmla="*/ 73025 h 733425"/>
              <a:gd name="connsiteX59" fmla="*/ 1590675 w 2889264"/>
              <a:gd name="connsiteY59" fmla="*/ 79375 h 733425"/>
              <a:gd name="connsiteX60" fmla="*/ 1600200 w 2889264"/>
              <a:gd name="connsiteY60" fmla="*/ 85725 h 733425"/>
              <a:gd name="connsiteX61" fmla="*/ 1612900 w 2889264"/>
              <a:gd name="connsiteY61" fmla="*/ 92075 h 733425"/>
              <a:gd name="connsiteX62" fmla="*/ 1625600 w 2889264"/>
              <a:gd name="connsiteY62" fmla="*/ 101600 h 733425"/>
              <a:gd name="connsiteX63" fmla="*/ 1635125 w 2889264"/>
              <a:gd name="connsiteY63" fmla="*/ 104775 h 733425"/>
              <a:gd name="connsiteX64" fmla="*/ 1654175 w 2889264"/>
              <a:gd name="connsiteY64" fmla="*/ 114300 h 733425"/>
              <a:gd name="connsiteX65" fmla="*/ 1676400 w 2889264"/>
              <a:gd name="connsiteY65" fmla="*/ 130175 h 733425"/>
              <a:gd name="connsiteX66" fmla="*/ 1689100 w 2889264"/>
              <a:gd name="connsiteY66" fmla="*/ 136525 h 733425"/>
              <a:gd name="connsiteX67" fmla="*/ 1714500 w 2889264"/>
              <a:gd name="connsiteY67" fmla="*/ 146050 h 733425"/>
              <a:gd name="connsiteX68" fmla="*/ 1727200 w 2889264"/>
              <a:gd name="connsiteY68" fmla="*/ 155575 h 733425"/>
              <a:gd name="connsiteX69" fmla="*/ 1758950 w 2889264"/>
              <a:gd name="connsiteY69" fmla="*/ 165100 h 733425"/>
              <a:gd name="connsiteX70" fmla="*/ 1768475 w 2889264"/>
              <a:gd name="connsiteY70" fmla="*/ 171450 h 733425"/>
              <a:gd name="connsiteX71" fmla="*/ 1781175 w 2889264"/>
              <a:gd name="connsiteY71" fmla="*/ 180975 h 733425"/>
              <a:gd name="connsiteX72" fmla="*/ 1793875 w 2889264"/>
              <a:gd name="connsiteY72" fmla="*/ 187325 h 733425"/>
              <a:gd name="connsiteX73" fmla="*/ 1838325 w 2889264"/>
              <a:gd name="connsiteY73" fmla="*/ 212725 h 733425"/>
              <a:gd name="connsiteX74" fmla="*/ 1847850 w 2889264"/>
              <a:gd name="connsiteY74" fmla="*/ 222250 h 733425"/>
              <a:gd name="connsiteX75" fmla="*/ 1885950 w 2889264"/>
              <a:gd name="connsiteY75" fmla="*/ 241300 h 733425"/>
              <a:gd name="connsiteX76" fmla="*/ 1901825 w 2889264"/>
              <a:gd name="connsiteY76" fmla="*/ 250825 h 733425"/>
              <a:gd name="connsiteX77" fmla="*/ 1933575 w 2889264"/>
              <a:gd name="connsiteY77" fmla="*/ 263525 h 733425"/>
              <a:gd name="connsiteX78" fmla="*/ 1962150 w 2889264"/>
              <a:gd name="connsiteY78" fmla="*/ 276225 h 733425"/>
              <a:gd name="connsiteX79" fmla="*/ 1971675 w 2889264"/>
              <a:gd name="connsiteY79" fmla="*/ 282575 h 733425"/>
              <a:gd name="connsiteX80" fmla="*/ 1987550 w 2889264"/>
              <a:gd name="connsiteY80" fmla="*/ 288925 h 733425"/>
              <a:gd name="connsiteX81" fmla="*/ 2022475 w 2889264"/>
              <a:gd name="connsiteY81" fmla="*/ 301625 h 733425"/>
              <a:gd name="connsiteX82" fmla="*/ 2047875 w 2889264"/>
              <a:gd name="connsiteY82" fmla="*/ 314325 h 733425"/>
              <a:gd name="connsiteX83" fmla="*/ 2063750 w 2889264"/>
              <a:gd name="connsiteY83" fmla="*/ 320675 h 733425"/>
              <a:gd name="connsiteX84" fmla="*/ 2082800 w 2889264"/>
              <a:gd name="connsiteY84" fmla="*/ 330200 h 733425"/>
              <a:gd name="connsiteX85" fmla="*/ 2095500 w 2889264"/>
              <a:gd name="connsiteY85" fmla="*/ 333375 h 733425"/>
              <a:gd name="connsiteX86" fmla="*/ 2124075 w 2889264"/>
              <a:gd name="connsiteY86" fmla="*/ 342900 h 733425"/>
              <a:gd name="connsiteX87" fmla="*/ 2159000 w 2889264"/>
              <a:gd name="connsiteY87" fmla="*/ 358775 h 733425"/>
              <a:gd name="connsiteX88" fmla="*/ 2187575 w 2889264"/>
              <a:gd name="connsiteY88" fmla="*/ 377825 h 733425"/>
              <a:gd name="connsiteX89" fmla="*/ 2209800 w 2889264"/>
              <a:gd name="connsiteY89" fmla="*/ 393700 h 733425"/>
              <a:gd name="connsiteX90" fmla="*/ 2247900 w 2889264"/>
              <a:gd name="connsiteY90" fmla="*/ 419100 h 733425"/>
              <a:gd name="connsiteX91" fmla="*/ 2276475 w 2889264"/>
              <a:gd name="connsiteY91" fmla="*/ 434975 h 733425"/>
              <a:gd name="connsiteX92" fmla="*/ 2289175 w 2889264"/>
              <a:gd name="connsiteY92" fmla="*/ 444500 h 733425"/>
              <a:gd name="connsiteX93" fmla="*/ 2308225 w 2889264"/>
              <a:gd name="connsiteY93" fmla="*/ 447675 h 733425"/>
              <a:gd name="connsiteX94" fmla="*/ 2333625 w 2889264"/>
              <a:gd name="connsiteY94" fmla="*/ 460375 h 733425"/>
              <a:gd name="connsiteX95" fmla="*/ 2352675 w 2889264"/>
              <a:gd name="connsiteY95" fmla="*/ 466725 h 733425"/>
              <a:gd name="connsiteX96" fmla="*/ 2397125 w 2889264"/>
              <a:gd name="connsiteY96" fmla="*/ 488950 h 733425"/>
              <a:gd name="connsiteX97" fmla="*/ 2422525 w 2889264"/>
              <a:gd name="connsiteY97" fmla="*/ 495300 h 733425"/>
              <a:gd name="connsiteX98" fmla="*/ 2432050 w 2889264"/>
              <a:gd name="connsiteY98" fmla="*/ 498475 h 733425"/>
              <a:gd name="connsiteX99" fmla="*/ 2454275 w 2889264"/>
              <a:gd name="connsiteY99" fmla="*/ 511175 h 733425"/>
              <a:gd name="connsiteX100" fmla="*/ 2470150 w 2889264"/>
              <a:gd name="connsiteY100" fmla="*/ 523875 h 733425"/>
              <a:gd name="connsiteX101" fmla="*/ 2495550 w 2889264"/>
              <a:gd name="connsiteY101" fmla="*/ 533400 h 733425"/>
              <a:gd name="connsiteX102" fmla="*/ 2546350 w 2889264"/>
              <a:gd name="connsiteY102" fmla="*/ 558800 h 733425"/>
              <a:gd name="connsiteX103" fmla="*/ 2574925 w 2889264"/>
              <a:gd name="connsiteY103" fmla="*/ 565150 h 733425"/>
              <a:gd name="connsiteX104" fmla="*/ 2600325 w 2889264"/>
              <a:gd name="connsiteY104" fmla="*/ 577850 h 733425"/>
              <a:gd name="connsiteX105" fmla="*/ 2616200 w 2889264"/>
              <a:gd name="connsiteY105" fmla="*/ 581025 h 733425"/>
              <a:gd name="connsiteX106" fmla="*/ 2638425 w 2889264"/>
              <a:gd name="connsiteY106" fmla="*/ 587375 h 733425"/>
              <a:gd name="connsiteX107" fmla="*/ 2654300 w 2889264"/>
              <a:gd name="connsiteY107" fmla="*/ 596900 h 733425"/>
              <a:gd name="connsiteX108" fmla="*/ 2673350 w 2889264"/>
              <a:gd name="connsiteY108" fmla="*/ 603250 h 733425"/>
              <a:gd name="connsiteX109" fmla="*/ 2708275 w 2889264"/>
              <a:gd name="connsiteY109" fmla="*/ 625475 h 733425"/>
              <a:gd name="connsiteX110" fmla="*/ 2730500 w 2889264"/>
              <a:gd name="connsiteY110" fmla="*/ 635000 h 733425"/>
              <a:gd name="connsiteX111" fmla="*/ 2749550 w 2889264"/>
              <a:gd name="connsiteY111" fmla="*/ 650875 h 733425"/>
              <a:gd name="connsiteX112" fmla="*/ 2774950 w 2889264"/>
              <a:gd name="connsiteY112" fmla="*/ 663575 h 733425"/>
              <a:gd name="connsiteX113" fmla="*/ 2803525 w 2889264"/>
              <a:gd name="connsiteY113" fmla="*/ 676275 h 733425"/>
              <a:gd name="connsiteX114" fmla="*/ 2816225 w 2889264"/>
              <a:gd name="connsiteY114" fmla="*/ 685800 h 733425"/>
              <a:gd name="connsiteX115" fmla="*/ 2832100 w 2889264"/>
              <a:gd name="connsiteY115" fmla="*/ 692150 h 733425"/>
              <a:gd name="connsiteX116" fmla="*/ 2876550 w 2889264"/>
              <a:gd name="connsiteY116" fmla="*/ 723900 h 733425"/>
              <a:gd name="connsiteX117" fmla="*/ 2889250 w 2889264"/>
              <a:gd name="connsiteY117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381000 w 2889264"/>
              <a:gd name="connsiteY6" fmla="*/ 539750 h 733425"/>
              <a:gd name="connsiteX7" fmla="*/ 406400 w 2889264"/>
              <a:gd name="connsiteY7" fmla="*/ 530225 h 733425"/>
              <a:gd name="connsiteX8" fmla="*/ 434975 w 2889264"/>
              <a:gd name="connsiteY8" fmla="*/ 514350 h 733425"/>
              <a:gd name="connsiteX9" fmla="*/ 463550 w 2889264"/>
              <a:gd name="connsiteY9" fmla="*/ 498475 h 733425"/>
              <a:gd name="connsiteX10" fmla="*/ 476250 w 2889264"/>
              <a:gd name="connsiteY10" fmla="*/ 495300 h 733425"/>
              <a:gd name="connsiteX11" fmla="*/ 501650 w 2889264"/>
              <a:gd name="connsiteY11" fmla="*/ 485775 h 733425"/>
              <a:gd name="connsiteX12" fmla="*/ 523875 w 2889264"/>
              <a:gd name="connsiteY12" fmla="*/ 469900 h 733425"/>
              <a:gd name="connsiteX13" fmla="*/ 552450 w 2889264"/>
              <a:gd name="connsiteY13" fmla="*/ 450850 h 733425"/>
              <a:gd name="connsiteX14" fmla="*/ 568325 w 2889264"/>
              <a:gd name="connsiteY14" fmla="*/ 447675 h 733425"/>
              <a:gd name="connsiteX15" fmla="*/ 584200 w 2889264"/>
              <a:gd name="connsiteY15" fmla="*/ 441325 h 733425"/>
              <a:gd name="connsiteX16" fmla="*/ 593725 w 2889264"/>
              <a:gd name="connsiteY16" fmla="*/ 438150 h 733425"/>
              <a:gd name="connsiteX17" fmla="*/ 612775 w 2889264"/>
              <a:gd name="connsiteY17" fmla="*/ 428625 h 733425"/>
              <a:gd name="connsiteX18" fmla="*/ 628650 w 2889264"/>
              <a:gd name="connsiteY18" fmla="*/ 422275 h 733425"/>
              <a:gd name="connsiteX19" fmla="*/ 641350 w 2889264"/>
              <a:gd name="connsiteY19" fmla="*/ 415925 h 733425"/>
              <a:gd name="connsiteX20" fmla="*/ 657225 w 2889264"/>
              <a:gd name="connsiteY20" fmla="*/ 406400 h 733425"/>
              <a:gd name="connsiteX21" fmla="*/ 676275 w 2889264"/>
              <a:gd name="connsiteY21" fmla="*/ 400050 h 733425"/>
              <a:gd name="connsiteX22" fmla="*/ 708025 w 2889264"/>
              <a:gd name="connsiteY22" fmla="*/ 381000 h 733425"/>
              <a:gd name="connsiteX23" fmla="*/ 736600 w 2889264"/>
              <a:gd name="connsiteY23" fmla="*/ 368300 h 733425"/>
              <a:gd name="connsiteX24" fmla="*/ 742950 w 2889264"/>
              <a:gd name="connsiteY24" fmla="*/ 358775 h 733425"/>
              <a:gd name="connsiteX25" fmla="*/ 790575 w 2889264"/>
              <a:gd name="connsiteY25" fmla="*/ 339725 h 733425"/>
              <a:gd name="connsiteX26" fmla="*/ 800100 w 2889264"/>
              <a:gd name="connsiteY26" fmla="*/ 336550 h 733425"/>
              <a:gd name="connsiteX27" fmla="*/ 812800 w 2889264"/>
              <a:gd name="connsiteY27" fmla="*/ 330200 h 733425"/>
              <a:gd name="connsiteX28" fmla="*/ 828675 w 2889264"/>
              <a:gd name="connsiteY28" fmla="*/ 327025 h 733425"/>
              <a:gd name="connsiteX29" fmla="*/ 898525 w 2889264"/>
              <a:gd name="connsiteY29" fmla="*/ 288925 h 733425"/>
              <a:gd name="connsiteX30" fmla="*/ 923925 w 2889264"/>
              <a:gd name="connsiteY30" fmla="*/ 269875 h 733425"/>
              <a:gd name="connsiteX31" fmla="*/ 933450 w 2889264"/>
              <a:gd name="connsiteY31" fmla="*/ 260350 h 733425"/>
              <a:gd name="connsiteX32" fmla="*/ 958850 w 2889264"/>
              <a:gd name="connsiteY32" fmla="*/ 247650 h 733425"/>
              <a:gd name="connsiteX33" fmla="*/ 968375 w 2889264"/>
              <a:gd name="connsiteY33" fmla="*/ 241300 h 733425"/>
              <a:gd name="connsiteX34" fmla="*/ 984250 w 2889264"/>
              <a:gd name="connsiteY34" fmla="*/ 234950 h 733425"/>
              <a:gd name="connsiteX35" fmla="*/ 1006475 w 2889264"/>
              <a:gd name="connsiteY35" fmla="*/ 225425 h 733425"/>
              <a:gd name="connsiteX36" fmla="*/ 1050925 w 2889264"/>
              <a:gd name="connsiteY36" fmla="*/ 212725 h 733425"/>
              <a:gd name="connsiteX37" fmla="*/ 1079500 w 2889264"/>
              <a:gd name="connsiteY37" fmla="*/ 200025 h 733425"/>
              <a:gd name="connsiteX38" fmla="*/ 1098550 w 2889264"/>
              <a:gd name="connsiteY38" fmla="*/ 193675 h 733425"/>
              <a:gd name="connsiteX39" fmla="*/ 1111250 w 2889264"/>
              <a:gd name="connsiteY39" fmla="*/ 187325 h 733425"/>
              <a:gd name="connsiteX40" fmla="*/ 1136650 w 2889264"/>
              <a:gd name="connsiteY40" fmla="*/ 177800 h 733425"/>
              <a:gd name="connsiteX41" fmla="*/ 1181100 w 2889264"/>
              <a:gd name="connsiteY41" fmla="*/ 152400 h 733425"/>
              <a:gd name="connsiteX42" fmla="*/ 1203325 w 2889264"/>
              <a:gd name="connsiteY42" fmla="*/ 130175 h 733425"/>
              <a:gd name="connsiteX43" fmla="*/ 1219200 w 2889264"/>
              <a:gd name="connsiteY43" fmla="*/ 117475 h 733425"/>
              <a:gd name="connsiteX44" fmla="*/ 1276350 w 2889264"/>
              <a:gd name="connsiteY44" fmla="*/ 85725 h 733425"/>
              <a:gd name="connsiteX45" fmla="*/ 1289050 w 2889264"/>
              <a:gd name="connsiteY45" fmla="*/ 79375 h 733425"/>
              <a:gd name="connsiteX46" fmla="*/ 1327150 w 2889264"/>
              <a:gd name="connsiteY46" fmla="*/ 66675 h 733425"/>
              <a:gd name="connsiteX47" fmla="*/ 1343025 w 2889264"/>
              <a:gd name="connsiteY47" fmla="*/ 57150 h 733425"/>
              <a:gd name="connsiteX48" fmla="*/ 1355725 w 2889264"/>
              <a:gd name="connsiteY48" fmla="*/ 47625 h 733425"/>
              <a:gd name="connsiteX49" fmla="*/ 1377950 w 2889264"/>
              <a:gd name="connsiteY49" fmla="*/ 38100 h 733425"/>
              <a:gd name="connsiteX50" fmla="*/ 1416050 w 2889264"/>
              <a:gd name="connsiteY50" fmla="*/ 12700 h 733425"/>
              <a:gd name="connsiteX51" fmla="*/ 1428750 w 2889264"/>
              <a:gd name="connsiteY51" fmla="*/ 0 h 733425"/>
              <a:gd name="connsiteX52" fmla="*/ 1470025 w 2889264"/>
              <a:gd name="connsiteY52" fmla="*/ 28575 h 733425"/>
              <a:gd name="connsiteX53" fmla="*/ 1504950 w 2889264"/>
              <a:gd name="connsiteY53" fmla="*/ 41275 h 733425"/>
              <a:gd name="connsiteX54" fmla="*/ 1517650 w 2889264"/>
              <a:gd name="connsiteY54" fmla="*/ 50800 h 733425"/>
              <a:gd name="connsiteX55" fmla="*/ 1549400 w 2889264"/>
              <a:gd name="connsiteY55" fmla="*/ 60325 h 733425"/>
              <a:gd name="connsiteX56" fmla="*/ 1562100 w 2889264"/>
              <a:gd name="connsiteY56" fmla="*/ 69850 h 733425"/>
              <a:gd name="connsiteX57" fmla="*/ 1574800 w 2889264"/>
              <a:gd name="connsiteY57" fmla="*/ 73025 h 733425"/>
              <a:gd name="connsiteX58" fmla="*/ 1590675 w 2889264"/>
              <a:gd name="connsiteY58" fmla="*/ 79375 h 733425"/>
              <a:gd name="connsiteX59" fmla="*/ 1600200 w 2889264"/>
              <a:gd name="connsiteY59" fmla="*/ 85725 h 733425"/>
              <a:gd name="connsiteX60" fmla="*/ 1612900 w 2889264"/>
              <a:gd name="connsiteY60" fmla="*/ 92075 h 733425"/>
              <a:gd name="connsiteX61" fmla="*/ 1625600 w 2889264"/>
              <a:gd name="connsiteY61" fmla="*/ 101600 h 733425"/>
              <a:gd name="connsiteX62" fmla="*/ 1635125 w 2889264"/>
              <a:gd name="connsiteY62" fmla="*/ 104775 h 733425"/>
              <a:gd name="connsiteX63" fmla="*/ 1654175 w 2889264"/>
              <a:gd name="connsiteY63" fmla="*/ 114300 h 733425"/>
              <a:gd name="connsiteX64" fmla="*/ 1676400 w 2889264"/>
              <a:gd name="connsiteY64" fmla="*/ 130175 h 733425"/>
              <a:gd name="connsiteX65" fmla="*/ 1689100 w 2889264"/>
              <a:gd name="connsiteY65" fmla="*/ 136525 h 733425"/>
              <a:gd name="connsiteX66" fmla="*/ 1714500 w 2889264"/>
              <a:gd name="connsiteY66" fmla="*/ 146050 h 733425"/>
              <a:gd name="connsiteX67" fmla="*/ 1727200 w 2889264"/>
              <a:gd name="connsiteY67" fmla="*/ 155575 h 733425"/>
              <a:gd name="connsiteX68" fmla="*/ 1758950 w 2889264"/>
              <a:gd name="connsiteY68" fmla="*/ 165100 h 733425"/>
              <a:gd name="connsiteX69" fmla="*/ 1768475 w 2889264"/>
              <a:gd name="connsiteY69" fmla="*/ 171450 h 733425"/>
              <a:gd name="connsiteX70" fmla="*/ 1781175 w 2889264"/>
              <a:gd name="connsiteY70" fmla="*/ 180975 h 733425"/>
              <a:gd name="connsiteX71" fmla="*/ 1793875 w 2889264"/>
              <a:gd name="connsiteY71" fmla="*/ 187325 h 733425"/>
              <a:gd name="connsiteX72" fmla="*/ 1838325 w 2889264"/>
              <a:gd name="connsiteY72" fmla="*/ 212725 h 733425"/>
              <a:gd name="connsiteX73" fmla="*/ 1847850 w 2889264"/>
              <a:gd name="connsiteY73" fmla="*/ 222250 h 733425"/>
              <a:gd name="connsiteX74" fmla="*/ 1885950 w 2889264"/>
              <a:gd name="connsiteY74" fmla="*/ 241300 h 733425"/>
              <a:gd name="connsiteX75" fmla="*/ 1901825 w 2889264"/>
              <a:gd name="connsiteY75" fmla="*/ 250825 h 733425"/>
              <a:gd name="connsiteX76" fmla="*/ 1933575 w 2889264"/>
              <a:gd name="connsiteY76" fmla="*/ 263525 h 733425"/>
              <a:gd name="connsiteX77" fmla="*/ 1962150 w 2889264"/>
              <a:gd name="connsiteY77" fmla="*/ 276225 h 733425"/>
              <a:gd name="connsiteX78" fmla="*/ 1971675 w 2889264"/>
              <a:gd name="connsiteY78" fmla="*/ 282575 h 733425"/>
              <a:gd name="connsiteX79" fmla="*/ 1987550 w 2889264"/>
              <a:gd name="connsiteY79" fmla="*/ 288925 h 733425"/>
              <a:gd name="connsiteX80" fmla="*/ 2022475 w 2889264"/>
              <a:gd name="connsiteY80" fmla="*/ 301625 h 733425"/>
              <a:gd name="connsiteX81" fmla="*/ 2047875 w 2889264"/>
              <a:gd name="connsiteY81" fmla="*/ 314325 h 733425"/>
              <a:gd name="connsiteX82" fmla="*/ 2063750 w 2889264"/>
              <a:gd name="connsiteY82" fmla="*/ 320675 h 733425"/>
              <a:gd name="connsiteX83" fmla="*/ 2082800 w 2889264"/>
              <a:gd name="connsiteY83" fmla="*/ 330200 h 733425"/>
              <a:gd name="connsiteX84" fmla="*/ 2095500 w 2889264"/>
              <a:gd name="connsiteY84" fmla="*/ 333375 h 733425"/>
              <a:gd name="connsiteX85" fmla="*/ 2124075 w 2889264"/>
              <a:gd name="connsiteY85" fmla="*/ 342900 h 733425"/>
              <a:gd name="connsiteX86" fmla="*/ 2159000 w 2889264"/>
              <a:gd name="connsiteY86" fmla="*/ 358775 h 733425"/>
              <a:gd name="connsiteX87" fmla="*/ 2187575 w 2889264"/>
              <a:gd name="connsiteY87" fmla="*/ 377825 h 733425"/>
              <a:gd name="connsiteX88" fmla="*/ 2209800 w 2889264"/>
              <a:gd name="connsiteY88" fmla="*/ 393700 h 733425"/>
              <a:gd name="connsiteX89" fmla="*/ 2247900 w 2889264"/>
              <a:gd name="connsiteY89" fmla="*/ 419100 h 733425"/>
              <a:gd name="connsiteX90" fmla="*/ 2276475 w 2889264"/>
              <a:gd name="connsiteY90" fmla="*/ 434975 h 733425"/>
              <a:gd name="connsiteX91" fmla="*/ 2289175 w 2889264"/>
              <a:gd name="connsiteY91" fmla="*/ 444500 h 733425"/>
              <a:gd name="connsiteX92" fmla="*/ 2308225 w 2889264"/>
              <a:gd name="connsiteY92" fmla="*/ 447675 h 733425"/>
              <a:gd name="connsiteX93" fmla="*/ 2333625 w 2889264"/>
              <a:gd name="connsiteY93" fmla="*/ 460375 h 733425"/>
              <a:gd name="connsiteX94" fmla="*/ 2352675 w 2889264"/>
              <a:gd name="connsiteY94" fmla="*/ 466725 h 733425"/>
              <a:gd name="connsiteX95" fmla="*/ 2397125 w 2889264"/>
              <a:gd name="connsiteY95" fmla="*/ 488950 h 733425"/>
              <a:gd name="connsiteX96" fmla="*/ 2422525 w 2889264"/>
              <a:gd name="connsiteY96" fmla="*/ 495300 h 733425"/>
              <a:gd name="connsiteX97" fmla="*/ 2432050 w 2889264"/>
              <a:gd name="connsiteY97" fmla="*/ 498475 h 733425"/>
              <a:gd name="connsiteX98" fmla="*/ 2454275 w 2889264"/>
              <a:gd name="connsiteY98" fmla="*/ 511175 h 733425"/>
              <a:gd name="connsiteX99" fmla="*/ 2470150 w 2889264"/>
              <a:gd name="connsiteY99" fmla="*/ 523875 h 733425"/>
              <a:gd name="connsiteX100" fmla="*/ 2495550 w 2889264"/>
              <a:gd name="connsiteY100" fmla="*/ 533400 h 733425"/>
              <a:gd name="connsiteX101" fmla="*/ 2546350 w 2889264"/>
              <a:gd name="connsiteY101" fmla="*/ 558800 h 733425"/>
              <a:gd name="connsiteX102" fmla="*/ 2574925 w 2889264"/>
              <a:gd name="connsiteY102" fmla="*/ 565150 h 733425"/>
              <a:gd name="connsiteX103" fmla="*/ 2600325 w 2889264"/>
              <a:gd name="connsiteY103" fmla="*/ 577850 h 733425"/>
              <a:gd name="connsiteX104" fmla="*/ 2616200 w 2889264"/>
              <a:gd name="connsiteY104" fmla="*/ 581025 h 733425"/>
              <a:gd name="connsiteX105" fmla="*/ 2638425 w 2889264"/>
              <a:gd name="connsiteY105" fmla="*/ 587375 h 733425"/>
              <a:gd name="connsiteX106" fmla="*/ 2654300 w 2889264"/>
              <a:gd name="connsiteY106" fmla="*/ 596900 h 733425"/>
              <a:gd name="connsiteX107" fmla="*/ 2673350 w 2889264"/>
              <a:gd name="connsiteY107" fmla="*/ 603250 h 733425"/>
              <a:gd name="connsiteX108" fmla="*/ 2708275 w 2889264"/>
              <a:gd name="connsiteY108" fmla="*/ 625475 h 733425"/>
              <a:gd name="connsiteX109" fmla="*/ 2730500 w 2889264"/>
              <a:gd name="connsiteY109" fmla="*/ 635000 h 733425"/>
              <a:gd name="connsiteX110" fmla="*/ 2749550 w 2889264"/>
              <a:gd name="connsiteY110" fmla="*/ 650875 h 733425"/>
              <a:gd name="connsiteX111" fmla="*/ 2774950 w 2889264"/>
              <a:gd name="connsiteY111" fmla="*/ 663575 h 733425"/>
              <a:gd name="connsiteX112" fmla="*/ 2803525 w 2889264"/>
              <a:gd name="connsiteY112" fmla="*/ 676275 h 733425"/>
              <a:gd name="connsiteX113" fmla="*/ 2816225 w 2889264"/>
              <a:gd name="connsiteY113" fmla="*/ 685800 h 733425"/>
              <a:gd name="connsiteX114" fmla="*/ 2832100 w 2889264"/>
              <a:gd name="connsiteY114" fmla="*/ 692150 h 733425"/>
              <a:gd name="connsiteX115" fmla="*/ 2876550 w 2889264"/>
              <a:gd name="connsiteY115" fmla="*/ 723900 h 733425"/>
              <a:gd name="connsiteX116" fmla="*/ 2889250 w 2889264"/>
              <a:gd name="connsiteY116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381000 w 2889264"/>
              <a:gd name="connsiteY6" fmla="*/ 539750 h 733425"/>
              <a:gd name="connsiteX7" fmla="*/ 406400 w 2889264"/>
              <a:gd name="connsiteY7" fmla="*/ 530225 h 733425"/>
              <a:gd name="connsiteX8" fmla="*/ 434975 w 2889264"/>
              <a:gd name="connsiteY8" fmla="*/ 514350 h 733425"/>
              <a:gd name="connsiteX9" fmla="*/ 463550 w 2889264"/>
              <a:gd name="connsiteY9" fmla="*/ 498475 h 733425"/>
              <a:gd name="connsiteX10" fmla="*/ 476250 w 2889264"/>
              <a:gd name="connsiteY10" fmla="*/ 495300 h 733425"/>
              <a:gd name="connsiteX11" fmla="*/ 501650 w 2889264"/>
              <a:gd name="connsiteY11" fmla="*/ 485775 h 733425"/>
              <a:gd name="connsiteX12" fmla="*/ 523875 w 2889264"/>
              <a:gd name="connsiteY12" fmla="*/ 469900 h 733425"/>
              <a:gd name="connsiteX13" fmla="*/ 568325 w 2889264"/>
              <a:gd name="connsiteY13" fmla="*/ 447675 h 733425"/>
              <a:gd name="connsiteX14" fmla="*/ 584200 w 2889264"/>
              <a:gd name="connsiteY14" fmla="*/ 441325 h 733425"/>
              <a:gd name="connsiteX15" fmla="*/ 593725 w 2889264"/>
              <a:gd name="connsiteY15" fmla="*/ 438150 h 733425"/>
              <a:gd name="connsiteX16" fmla="*/ 612775 w 2889264"/>
              <a:gd name="connsiteY16" fmla="*/ 428625 h 733425"/>
              <a:gd name="connsiteX17" fmla="*/ 628650 w 2889264"/>
              <a:gd name="connsiteY17" fmla="*/ 422275 h 733425"/>
              <a:gd name="connsiteX18" fmla="*/ 641350 w 2889264"/>
              <a:gd name="connsiteY18" fmla="*/ 415925 h 733425"/>
              <a:gd name="connsiteX19" fmla="*/ 657225 w 2889264"/>
              <a:gd name="connsiteY19" fmla="*/ 406400 h 733425"/>
              <a:gd name="connsiteX20" fmla="*/ 676275 w 2889264"/>
              <a:gd name="connsiteY20" fmla="*/ 400050 h 733425"/>
              <a:gd name="connsiteX21" fmla="*/ 708025 w 2889264"/>
              <a:gd name="connsiteY21" fmla="*/ 381000 h 733425"/>
              <a:gd name="connsiteX22" fmla="*/ 736600 w 2889264"/>
              <a:gd name="connsiteY22" fmla="*/ 368300 h 733425"/>
              <a:gd name="connsiteX23" fmla="*/ 742950 w 2889264"/>
              <a:gd name="connsiteY23" fmla="*/ 358775 h 733425"/>
              <a:gd name="connsiteX24" fmla="*/ 790575 w 2889264"/>
              <a:gd name="connsiteY24" fmla="*/ 339725 h 733425"/>
              <a:gd name="connsiteX25" fmla="*/ 800100 w 2889264"/>
              <a:gd name="connsiteY25" fmla="*/ 336550 h 733425"/>
              <a:gd name="connsiteX26" fmla="*/ 812800 w 2889264"/>
              <a:gd name="connsiteY26" fmla="*/ 330200 h 733425"/>
              <a:gd name="connsiteX27" fmla="*/ 828675 w 2889264"/>
              <a:gd name="connsiteY27" fmla="*/ 327025 h 733425"/>
              <a:gd name="connsiteX28" fmla="*/ 898525 w 2889264"/>
              <a:gd name="connsiteY28" fmla="*/ 288925 h 733425"/>
              <a:gd name="connsiteX29" fmla="*/ 923925 w 2889264"/>
              <a:gd name="connsiteY29" fmla="*/ 269875 h 733425"/>
              <a:gd name="connsiteX30" fmla="*/ 933450 w 2889264"/>
              <a:gd name="connsiteY30" fmla="*/ 260350 h 733425"/>
              <a:gd name="connsiteX31" fmla="*/ 958850 w 2889264"/>
              <a:gd name="connsiteY31" fmla="*/ 247650 h 733425"/>
              <a:gd name="connsiteX32" fmla="*/ 968375 w 2889264"/>
              <a:gd name="connsiteY32" fmla="*/ 241300 h 733425"/>
              <a:gd name="connsiteX33" fmla="*/ 984250 w 2889264"/>
              <a:gd name="connsiteY33" fmla="*/ 234950 h 733425"/>
              <a:gd name="connsiteX34" fmla="*/ 1006475 w 2889264"/>
              <a:gd name="connsiteY34" fmla="*/ 225425 h 733425"/>
              <a:gd name="connsiteX35" fmla="*/ 1050925 w 2889264"/>
              <a:gd name="connsiteY35" fmla="*/ 212725 h 733425"/>
              <a:gd name="connsiteX36" fmla="*/ 1079500 w 2889264"/>
              <a:gd name="connsiteY36" fmla="*/ 200025 h 733425"/>
              <a:gd name="connsiteX37" fmla="*/ 1098550 w 2889264"/>
              <a:gd name="connsiteY37" fmla="*/ 193675 h 733425"/>
              <a:gd name="connsiteX38" fmla="*/ 1111250 w 2889264"/>
              <a:gd name="connsiteY38" fmla="*/ 187325 h 733425"/>
              <a:gd name="connsiteX39" fmla="*/ 1136650 w 2889264"/>
              <a:gd name="connsiteY39" fmla="*/ 177800 h 733425"/>
              <a:gd name="connsiteX40" fmla="*/ 1181100 w 2889264"/>
              <a:gd name="connsiteY40" fmla="*/ 152400 h 733425"/>
              <a:gd name="connsiteX41" fmla="*/ 1203325 w 2889264"/>
              <a:gd name="connsiteY41" fmla="*/ 130175 h 733425"/>
              <a:gd name="connsiteX42" fmla="*/ 1219200 w 2889264"/>
              <a:gd name="connsiteY42" fmla="*/ 117475 h 733425"/>
              <a:gd name="connsiteX43" fmla="*/ 1276350 w 2889264"/>
              <a:gd name="connsiteY43" fmla="*/ 85725 h 733425"/>
              <a:gd name="connsiteX44" fmla="*/ 1289050 w 2889264"/>
              <a:gd name="connsiteY44" fmla="*/ 79375 h 733425"/>
              <a:gd name="connsiteX45" fmla="*/ 1327150 w 2889264"/>
              <a:gd name="connsiteY45" fmla="*/ 66675 h 733425"/>
              <a:gd name="connsiteX46" fmla="*/ 1343025 w 2889264"/>
              <a:gd name="connsiteY46" fmla="*/ 57150 h 733425"/>
              <a:gd name="connsiteX47" fmla="*/ 1355725 w 2889264"/>
              <a:gd name="connsiteY47" fmla="*/ 47625 h 733425"/>
              <a:gd name="connsiteX48" fmla="*/ 1377950 w 2889264"/>
              <a:gd name="connsiteY48" fmla="*/ 38100 h 733425"/>
              <a:gd name="connsiteX49" fmla="*/ 1416050 w 2889264"/>
              <a:gd name="connsiteY49" fmla="*/ 12700 h 733425"/>
              <a:gd name="connsiteX50" fmla="*/ 1428750 w 2889264"/>
              <a:gd name="connsiteY50" fmla="*/ 0 h 733425"/>
              <a:gd name="connsiteX51" fmla="*/ 1470025 w 2889264"/>
              <a:gd name="connsiteY51" fmla="*/ 28575 h 733425"/>
              <a:gd name="connsiteX52" fmla="*/ 1504950 w 2889264"/>
              <a:gd name="connsiteY52" fmla="*/ 41275 h 733425"/>
              <a:gd name="connsiteX53" fmla="*/ 1517650 w 2889264"/>
              <a:gd name="connsiteY53" fmla="*/ 50800 h 733425"/>
              <a:gd name="connsiteX54" fmla="*/ 1549400 w 2889264"/>
              <a:gd name="connsiteY54" fmla="*/ 60325 h 733425"/>
              <a:gd name="connsiteX55" fmla="*/ 1562100 w 2889264"/>
              <a:gd name="connsiteY55" fmla="*/ 69850 h 733425"/>
              <a:gd name="connsiteX56" fmla="*/ 1574800 w 2889264"/>
              <a:gd name="connsiteY56" fmla="*/ 73025 h 733425"/>
              <a:gd name="connsiteX57" fmla="*/ 1590675 w 2889264"/>
              <a:gd name="connsiteY57" fmla="*/ 79375 h 733425"/>
              <a:gd name="connsiteX58" fmla="*/ 1600200 w 2889264"/>
              <a:gd name="connsiteY58" fmla="*/ 85725 h 733425"/>
              <a:gd name="connsiteX59" fmla="*/ 1612900 w 2889264"/>
              <a:gd name="connsiteY59" fmla="*/ 92075 h 733425"/>
              <a:gd name="connsiteX60" fmla="*/ 1625600 w 2889264"/>
              <a:gd name="connsiteY60" fmla="*/ 101600 h 733425"/>
              <a:gd name="connsiteX61" fmla="*/ 1635125 w 2889264"/>
              <a:gd name="connsiteY61" fmla="*/ 104775 h 733425"/>
              <a:gd name="connsiteX62" fmla="*/ 1654175 w 2889264"/>
              <a:gd name="connsiteY62" fmla="*/ 114300 h 733425"/>
              <a:gd name="connsiteX63" fmla="*/ 1676400 w 2889264"/>
              <a:gd name="connsiteY63" fmla="*/ 130175 h 733425"/>
              <a:gd name="connsiteX64" fmla="*/ 1689100 w 2889264"/>
              <a:gd name="connsiteY64" fmla="*/ 136525 h 733425"/>
              <a:gd name="connsiteX65" fmla="*/ 1714500 w 2889264"/>
              <a:gd name="connsiteY65" fmla="*/ 146050 h 733425"/>
              <a:gd name="connsiteX66" fmla="*/ 1727200 w 2889264"/>
              <a:gd name="connsiteY66" fmla="*/ 155575 h 733425"/>
              <a:gd name="connsiteX67" fmla="*/ 1758950 w 2889264"/>
              <a:gd name="connsiteY67" fmla="*/ 165100 h 733425"/>
              <a:gd name="connsiteX68" fmla="*/ 1768475 w 2889264"/>
              <a:gd name="connsiteY68" fmla="*/ 171450 h 733425"/>
              <a:gd name="connsiteX69" fmla="*/ 1781175 w 2889264"/>
              <a:gd name="connsiteY69" fmla="*/ 180975 h 733425"/>
              <a:gd name="connsiteX70" fmla="*/ 1793875 w 2889264"/>
              <a:gd name="connsiteY70" fmla="*/ 187325 h 733425"/>
              <a:gd name="connsiteX71" fmla="*/ 1838325 w 2889264"/>
              <a:gd name="connsiteY71" fmla="*/ 212725 h 733425"/>
              <a:gd name="connsiteX72" fmla="*/ 1847850 w 2889264"/>
              <a:gd name="connsiteY72" fmla="*/ 222250 h 733425"/>
              <a:gd name="connsiteX73" fmla="*/ 1885950 w 2889264"/>
              <a:gd name="connsiteY73" fmla="*/ 241300 h 733425"/>
              <a:gd name="connsiteX74" fmla="*/ 1901825 w 2889264"/>
              <a:gd name="connsiteY74" fmla="*/ 250825 h 733425"/>
              <a:gd name="connsiteX75" fmla="*/ 1933575 w 2889264"/>
              <a:gd name="connsiteY75" fmla="*/ 263525 h 733425"/>
              <a:gd name="connsiteX76" fmla="*/ 1962150 w 2889264"/>
              <a:gd name="connsiteY76" fmla="*/ 276225 h 733425"/>
              <a:gd name="connsiteX77" fmla="*/ 1971675 w 2889264"/>
              <a:gd name="connsiteY77" fmla="*/ 282575 h 733425"/>
              <a:gd name="connsiteX78" fmla="*/ 1987550 w 2889264"/>
              <a:gd name="connsiteY78" fmla="*/ 288925 h 733425"/>
              <a:gd name="connsiteX79" fmla="*/ 2022475 w 2889264"/>
              <a:gd name="connsiteY79" fmla="*/ 301625 h 733425"/>
              <a:gd name="connsiteX80" fmla="*/ 2047875 w 2889264"/>
              <a:gd name="connsiteY80" fmla="*/ 314325 h 733425"/>
              <a:gd name="connsiteX81" fmla="*/ 2063750 w 2889264"/>
              <a:gd name="connsiteY81" fmla="*/ 320675 h 733425"/>
              <a:gd name="connsiteX82" fmla="*/ 2082800 w 2889264"/>
              <a:gd name="connsiteY82" fmla="*/ 330200 h 733425"/>
              <a:gd name="connsiteX83" fmla="*/ 2095500 w 2889264"/>
              <a:gd name="connsiteY83" fmla="*/ 333375 h 733425"/>
              <a:gd name="connsiteX84" fmla="*/ 2124075 w 2889264"/>
              <a:gd name="connsiteY84" fmla="*/ 342900 h 733425"/>
              <a:gd name="connsiteX85" fmla="*/ 2159000 w 2889264"/>
              <a:gd name="connsiteY85" fmla="*/ 358775 h 733425"/>
              <a:gd name="connsiteX86" fmla="*/ 2187575 w 2889264"/>
              <a:gd name="connsiteY86" fmla="*/ 377825 h 733425"/>
              <a:gd name="connsiteX87" fmla="*/ 2209800 w 2889264"/>
              <a:gd name="connsiteY87" fmla="*/ 393700 h 733425"/>
              <a:gd name="connsiteX88" fmla="*/ 2247900 w 2889264"/>
              <a:gd name="connsiteY88" fmla="*/ 419100 h 733425"/>
              <a:gd name="connsiteX89" fmla="*/ 2276475 w 2889264"/>
              <a:gd name="connsiteY89" fmla="*/ 434975 h 733425"/>
              <a:gd name="connsiteX90" fmla="*/ 2289175 w 2889264"/>
              <a:gd name="connsiteY90" fmla="*/ 444500 h 733425"/>
              <a:gd name="connsiteX91" fmla="*/ 2308225 w 2889264"/>
              <a:gd name="connsiteY91" fmla="*/ 447675 h 733425"/>
              <a:gd name="connsiteX92" fmla="*/ 2333625 w 2889264"/>
              <a:gd name="connsiteY92" fmla="*/ 460375 h 733425"/>
              <a:gd name="connsiteX93" fmla="*/ 2352675 w 2889264"/>
              <a:gd name="connsiteY93" fmla="*/ 466725 h 733425"/>
              <a:gd name="connsiteX94" fmla="*/ 2397125 w 2889264"/>
              <a:gd name="connsiteY94" fmla="*/ 488950 h 733425"/>
              <a:gd name="connsiteX95" fmla="*/ 2422525 w 2889264"/>
              <a:gd name="connsiteY95" fmla="*/ 495300 h 733425"/>
              <a:gd name="connsiteX96" fmla="*/ 2432050 w 2889264"/>
              <a:gd name="connsiteY96" fmla="*/ 498475 h 733425"/>
              <a:gd name="connsiteX97" fmla="*/ 2454275 w 2889264"/>
              <a:gd name="connsiteY97" fmla="*/ 511175 h 733425"/>
              <a:gd name="connsiteX98" fmla="*/ 2470150 w 2889264"/>
              <a:gd name="connsiteY98" fmla="*/ 523875 h 733425"/>
              <a:gd name="connsiteX99" fmla="*/ 2495550 w 2889264"/>
              <a:gd name="connsiteY99" fmla="*/ 533400 h 733425"/>
              <a:gd name="connsiteX100" fmla="*/ 2546350 w 2889264"/>
              <a:gd name="connsiteY100" fmla="*/ 558800 h 733425"/>
              <a:gd name="connsiteX101" fmla="*/ 2574925 w 2889264"/>
              <a:gd name="connsiteY101" fmla="*/ 565150 h 733425"/>
              <a:gd name="connsiteX102" fmla="*/ 2600325 w 2889264"/>
              <a:gd name="connsiteY102" fmla="*/ 577850 h 733425"/>
              <a:gd name="connsiteX103" fmla="*/ 2616200 w 2889264"/>
              <a:gd name="connsiteY103" fmla="*/ 581025 h 733425"/>
              <a:gd name="connsiteX104" fmla="*/ 2638425 w 2889264"/>
              <a:gd name="connsiteY104" fmla="*/ 587375 h 733425"/>
              <a:gd name="connsiteX105" fmla="*/ 2654300 w 2889264"/>
              <a:gd name="connsiteY105" fmla="*/ 596900 h 733425"/>
              <a:gd name="connsiteX106" fmla="*/ 2673350 w 2889264"/>
              <a:gd name="connsiteY106" fmla="*/ 603250 h 733425"/>
              <a:gd name="connsiteX107" fmla="*/ 2708275 w 2889264"/>
              <a:gd name="connsiteY107" fmla="*/ 625475 h 733425"/>
              <a:gd name="connsiteX108" fmla="*/ 2730500 w 2889264"/>
              <a:gd name="connsiteY108" fmla="*/ 635000 h 733425"/>
              <a:gd name="connsiteX109" fmla="*/ 2749550 w 2889264"/>
              <a:gd name="connsiteY109" fmla="*/ 650875 h 733425"/>
              <a:gd name="connsiteX110" fmla="*/ 2774950 w 2889264"/>
              <a:gd name="connsiteY110" fmla="*/ 663575 h 733425"/>
              <a:gd name="connsiteX111" fmla="*/ 2803525 w 2889264"/>
              <a:gd name="connsiteY111" fmla="*/ 676275 h 733425"/>
              <a:gd name="connsiteX112" fmla="*/ 2816225 w 2889264"/>
              <a:gd name="connsiteY112" fmla="*/ 685800 h 733425"/>
              <a:gd name="connsiteX113" fmla="*/ 2832100 w 2889264"/>
              <a:gd name="connsiteY113" fmla="*/ 692150 h 733425"/>
              <a:gd name="connsiteX114" fmla="*/ 2876550 w 2889264"/>
              <a:gd name="connsiteY114" fmla="*/ 723900 h 733425"/>
              <a:gd name="connsiteX115" fmla="*/ 2889250 w 2889264"/>
              <a:gd name="connsiteY115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381000 w 2889264"/>
              <a:gd name="connsiteY6" fmla="*/ 539750 h 733425"/>
              <a:gd name="connsiteX7" fmla="*/ 406400 w 2889264"/>
              <a:gd name="connsiteY7" fmla="*/ 530225 h 733425"/>
              <a:gd name="connsiteX8" fmla="*/ 434975 w 2889264"/>
              <a:gd name="connsiteY8" fmla="*/ 514350 h 733425"/>
              <a:gd name="connsiteX9" fmla="*/ 463550 w 2889264"/>
              <a:gd name="connsiteY9" fmla="*/ 498475 h 733425"/>
              <a:gd name="connsiteX10" fmla="*/ 476250 w 2889264"/>
              <a:gd name="connsiteY10" fmla="*/ 495300 h 733425"/>
              <a:gd name="connsiteX11" fmla="*/ 501650 w 2889264"/>
              <a:gd name="connsiteY11" fmla="*/ 485775 h 733425"/>
              <a:gd name="connsiteX12" fmla="*/ 523875 w 2889264"/>
              <a:gd name="connsiteY12" fmla="*/ 469900 h 733425"/>
              <a:gd name="connsiteX13" fmla="*/ 568325 w 2889264"/>
              <a:gd name="connsiteY13" fmla="*/ 447675 h 733425"/>
              <a:gd name="connsiteX14" fmla="*/ 584200 w 2889264"/>
              <a:gd name="connsiteY14" fmla="*/ 441325 h 733425"/>
              <a:gd name="connsiteX15" fmla="*/ 612775 w 2889264"/>
              <a:gd name="connsiteY15" fmla="*/ 428625 h 733425"/>
              <a:gd name="connsiteX16" fmla="*/ 628650 w 2889264"/>
              <a:gd name="connsiteY16" fmla="*/ 422275 h 733425"/>
              <a:gd name="connsiteX17" fmla="*/ 641350 w 2889264"/>
              <a:gd name="connsiteY17" fmla="*/ 415925 h 733425"/>
              <a:gd name="connsiteX18" fmla="*/ 657225 w 2889264"/>
              <a:gd name="connsiteY18" fmla="*/ 406400 h 733425"/>
              <a:gd name="connsiteX19" fmla="*/ 676275 w 2889264"/>
              <a:gd name="connsiteY19" fmla="*/ 400050 h 733425"/>
              <a:gd name="connsiteX20" fmla="*/ 708025 w 2889264"/>
              <a:gd name="connsiteY20" fmla="*/ 381000 h 733425"/>
              <a:gd name="connsiteX21" fmla="*/ 736600 w 2889264"/>
              <a:gd name="connsiteY21" fmla="*/ 368300 h 733425"/>
              <a:gd name="connsiteX22" fmla="*/ 742950 w 2889264"/>
              <a:gd name="connsiteY22" fmla="*/ 358775 h 733425"/>
              <a:gd name="connsiteX23" fmla="*/ 790575 w 2889264"/>
              <a:gd name="connsiteY23" fmla="*/ 339725 h 733425"/>
              <a:gd name="connsiteX24" fmla="*/ 800100 w 2889264"/>
              <a:gd name="connsiteY24" fmla="*/ 336550 h 733425"/>
              <a:gd name="connsiteX25" fmla="*/ 812800 w 2889264"/>
              <a:gd name="connsiteY25" fmla="*/ 330200 h 733425"/>
              <a:gd name="connsiteX26" fmla="*/ 828675 w 2889264"/>
              <a:gd name="connsiteY26" fmla="*/ 327025 h 733425"/>
              <a:gd name="connsiteX27" fmla="*/ 898525 w 2889264"/>
              <a:gd name="connsiteY27" fmla="*/ 288925 h 733425"/>
              <a:gd name="connsiteX28" fmla="*/ 923925 w 2889264"/>
              <a:gd name="connsiteY28" fmla="*/ 269875 h 733425"/>
              <a:gd name="connsiteX29" fmla="*/ 933450 w 2889264"/>
              <a:gd name="connsiteY29" fmla="*/ 260350 h 733425"/>
              <a:gd name="connsiteX30" fmla="*/ 958850 w 2889264"/>
              <a:gd name="connsiteY30" fmla="*/ 247650 h 733425"/>
              <a:gd name="connsiteX31" fmla="*/ 968375 w 2889264"/>
              <a:gd name="connsiteY31" fmla="*/ 241300 h 733425"/>
              <a:gd name="connsiteX32" fmla="*/ 984250 w 2889264"/>
              <a:gd name="connsiteY32" fmla="*/ 234950 h 733425"/>
              <a:gd name="connsiteX33" fmla="*/ 1006475 w 2889264"/>
              <a:gd name="connsiteY33" fmla="*/ 225425 h 733425"/>
              <a:gd name="connsiteX34" fmla="*/ 1050925 w 2889264"/>
              <a:gd name="connsiteY34" fmla="*/ 212725 h 733425"/>
              <a:gd name="connsiteX35" fmla="*/ 1079500 w 2889264"/>
              <a:gd name="connsiteY35" fmla="*/ 200025 h 733425"/>
              <a:gd name="connsiteX36" fmla="*/ 1098550 w 2889264"/>
              <a:gd name="connsiteY36" fmla="*/ 193675 h 733425"/>
              <a:gd name="connsiteX37" fmla="*/ 1111250 w 2889264"/>
              <a:gd name="connsiteY37" fmla="*/ 187325 h 733425"/>
              <a:gd name="connsiteX38" fmla="*/ 1136650 w 2889264"/>
              <a:gd name="connsiteY38" fmla="*/ 177800 h 733425"/>
              <a:gd name="connsiteX39" fmla="*/ 1181100 w 2889264"/>
              <a:gd name="connsiteY39" fmla="*/ 152400 h 733425"/>
              <a:gd name="connsiteX40" fmla="*/ 1203325 w 2889264"/>
              <a:gd name="connsiteY40" fmla="*/ 130175 h 733425"/>
              <a:gd name="connsiteX41" fmla="*/ 1219200 w 2889264"/>
              <a:gd name="connsiteY41" fmla="*/ 117475 h 733425"/>
              <a:gd name="connsiteX42" fmla="*/ 1276350 w 2889264"/>
              <a:gd name="connsiteY42" fmla="*/ 85725 h 733425"/>
              <a:gd name="connsiteX43" fmla="*/ 1289050 w 2889264"/>
              <a:gd name="connsiteY43" fmla="*/ 79375 h 733425"/>
              <a:gd name="connsiteX44" fmla="*/ 1327150 w 2889264"/>
              <a:gd name="connsiteY44" fmla="*/ 66675 h 733425"/>
              <a:gd name="connsiteX45" fmla="*/ 1343025 w 2889264"/>
              <a:gd name="connsiteY45" fmla="*/ 57150 h 733425"/>
              <a:gd name="connsiteX46" fmla="*/ 1355725 w 2889264"/>
              <a:gd name="connsiteY46" fmla="*/ 47625 h 733425"/>
              <a:gd name="connsiteX47" fmla="*/ 1377950 w 2889264"/>
              <a:gd name="connsiteY47" fmla="*/ 38100 h 733425"/>
              <a:gd name="connsiteX48" fmla="*/ 1416050 w 2889264"/>
              <a:gd name="connsiteY48" fmla="*/ 12700 h 733425"/>
              <a:gd name="connsiteX49" fmla="*/ 1428750 w 2889264"/>
              <a:gd name="connsiteY49" fmla="*/ 0 h 733425"/>
              <a:gd name="connsiteX50" fmla="*/ 1470025 w 2889264"/>
              <a:gd name="connsiteY50" fmla="*/ 28575 h 733425"/>
              <a:gd name="connsiteX51" fmla="*/ 1504950 w 2889264"/>
              <a:gd name="connsiteY51" fmla="*/ 41275 h 733425"/>
              <a:gd name="connsiteX52" fmla="*/ 1517650 w 2889264"/>
              <a:gd name="connsiteY52" fmla="*/ 50800 h 733425"/>
              <a:gd name="connsiteX53" fmla="*/ 1549400 w 2889264"/>
              <a:gd name="connsiteY53" fmla="*/ 60325 h 733425"/>
              <a:gd name="connsiteX54" fmla="*/ 1562100 w 2889264"/>
              <a:gd name="connsiteY54" fmla="*/ 69850 h 733425"/>
              <a:gd name="connsiteX55" fmla="*/ 1574800 w 2889264"/>
              <a:gd name="connsiteY55" fmla="*/ 73025 h 733425"/>
              <a:gd name="connsiteX56" fmla="*/ 1590675 w 2889264"/>
              <a:gd name="connsiteY56" fmla="*/ 79375 h 733425"/>
              <a:gd name="connsiteX57" fmla="*/ 1600200 w 2889264"/>
              <a:gd name="connsiteY57" fmla="*/ 85725 h 733425"/>
              <a:gd name="connsiteX58" fmla="*/ 1612900 w 2889264"/>
              <a:gd name="connsiteY58" fmla="*/ 92075 h 733425"/>
              <a:gd name="connsiteX59" fmla="*/ 1625600 w 2889264"/>
              <a:gd name="connsiteY59" fmla="*/ 101600 h 733425"/>
              <a:gd name="connsiteX60" fmla="*/ 1635125 w 2889264"/>
              <a:gd name="connsiteY60" fmla="*/ 104775 h 733425"/>
              <a:gd name="connsiteX61" fmla="*/ 1654175 w 2889264"/>
              <a:gd name="connsiteY61" fmla="*/ 114300 h 733425"/>
              <a:gd name="connsiteX62" fmla="*/ 1676400 w 2889264"/>
              <a:gd name="connsiteY62" fmla="*/ 130175 h 733425"/>
              <a:gd name="connsiteX63" fmla="*/ 1689100 w 2889264"/>
              <a:gd name="connsiteY63" fmla="*/ 136525 h 733425"/>
              <a:gd name="connsiteX64" fmla="*/ 1714500 w 2889264"/>
              <a:gd name="connsiteY64" fmla="*/ 146050 h 733425"/>
              <a:gd name="connsiteX65" fmla="*/ 1727200 w 2889264"/>
              <a:gd name="connsiteY65" fmla="*/ 155575 h 733425"/>
              <a:gd name="connsiteX66" fmla="*/ 1758950 w 2889264"/>
              <a:gd name="connsiteY66" fmla="*/ 165100 h 733425"/>
              <a:gd name="connsiteX67" fmla="*/ 1768475 w 2889264"/>
              <a:gd name="connsiteY67" fmla="*/ 171450 h 733425"/>
              <a:gd name="connsiteX68" fmla="*/ 1781175 w 2889264"/>
              <a:gd name="connsiteY68" fmla="*/ 180975 h 733425"/>
              <a:gd name="connsiteX69" fmla="*/ 1793875 w 2889264"/>
              <a:gd name="connsiteY69" fmla="*/ 187325 h 733425"/>
              <a:gd name="connsiteX70" fmla="*/ 1838325 w 2889264"/>
              <a:gd name="connsiteY70" fmla="*/ 212725 h 733425"/>
              <a:gd name="connsiteX71" fmla="*/ 1847850 w 2889264"/>
              <a:gd name="connsiteY71" fmla="*/ 222250 h 733425"/>
              <a:gd name="connsiteX72" fmla="*/ 1885950 w 2889264"/>
              <a:gd name="connsiteY72" fmla="*/ 241300 h 733425"/>
              <a:gd name="connsiteX73" fmla="*/ 1901825 w 2889264"/>
              <a:gd name="connsiteY73" fmla="*/ 250825 h 733425"/>
              <a:gd name="connsiteX74" fmla="*/ 1933575 w 2889264"/>
              <a:gd name="connsiteY74" fmla="*/ 263525 h 733425"/>
              <a:gd name="connsiteX75" fmla="*/ 1962150 w 2889264"/>
              <a:gd name="connsiteY75" fmla="*/ 276225 h 733425"/>
              <a:gd name="connsiteX76" fmla="*/ 1971675 w 2889264"/>
              <a:gd name="connsiteY76" fmla="*/ 282575 h 733425"/>
              <a:gd name="connsiteX77" fmla="*/ 1987550 w 2889264"/>
              <a:gd name="connsiteY77" fmla="*/ 288925 h 733425"/>
              <a:gd name="connsiteX78" fmla="*/ 2022475 w 2889264"/>
              <a:gd name="connsiteY78" fmla="*/ 301625 h 733425"/>
              <a:gd name="connsiteX79" fmla="*/ 2047875 w 2889264"/>
              <a:gd name="connsiteY79" fmla="*/ 314325 h 733425"/>
              <a:gd name="connsiteX80" fmla="*/ 2063750 w 2889264"/>
              <a:gd name="connsiteY80" fmla="*/ 320675 h 733425"/>
              <a:gd name="connsiteX81" fmla="*/ 2082800 w 2889264"/>
              <a:gd name="connsiteY81" fmla="*/ 330200 h 733425"/>
              <a:gd name="connsiteX82" fmla="*/ 2095500 w 2889264"/>
              <a:gd name="connsiteY82" fmla="*/ 333375 h 733425"/>
              <a:gd name="connsiteX83" fmla="*/ 2124075 w 2889264"/>
              <a:gd name="connsiteY83" fmla="*/ 342900 h 733425"/>
              <a:gd name="connsiteX84" fmla="*/ 2159000 w 2889264"/>
              <a:gd name="connsiteY84" fmla="*/ 358775 h 733425"/>
              <a:gd name="connsiteX85" fmla="*/ 2187575 w 2889264"/>
              <a:gd name="connsiteY85" fmla="*/ 377825 h 733425"/>
              <a:gd name="connsiteX86" fmla="*/ 2209800 w 2889264"/>
              <a:gd name="connsiteY86" fmla="*/ 393700 h 733425"/>
              <a:gd name="connsiteX87" fmla="*/ 2247900 w 2889264"/>
              <a:gd name="connsiteY87" fmla="*/ 419100 h 733425"/>
              <a:gd name="connsiteX88" fmla="*/ 2276475 w 2889264"/>
              <a:gd name="connsiteY88" fmla="*/ 434975 h 733425"/>
              <a:gd name="connsiteX89" fmla="*/ 2289175 w 2889264"/>
              <a:gd name="connsiteY89" fmla="*/ 444500 h 733425"/>
              <a:gd name="connsiteX90" fmla="*/ 2308225 w 2889264"/>
              <a:gd name="connsiteY90" fmla="*/ 447675 h 733425"/>
              <a:gd name="connsiteX91" fmla="*/ 2333625 w 2889264"/>
              <a:gd name="connsiteY91" fmla="*/ 460375 h 733425"/>
              <a:gd name="connsiteX92" fmla="*/ 2352675 w 2889264"/>
              <a:gd name="connsiteY92" fmla="*/ 466725 h 733425"/>
              <a:gd name="connsiteX93" fmla="*/ 2397125 w 2889264"/>
              <a:gd name="connsiteY93" fmla="*/ 488950 h 733425"/>
              <a:gd name="connsiteX94" fmla="*/ 2422525 w 2889264"/>
              <a:gd name="connsiteY94" fmla="*/ 495300 h 733425"/>
              <a:gd name="connsiteX95" fmla="*/ 2432050 w 2889264"/>
              <a:gd name="connsiteY95" fmla="*/ 498475 h 733425"/>
              <a:gd name="connsiteX96" fmla="*/ 2454275 w 2889264"/>
              <a:gd name="connsiteY96" fmla="*/ 511175 h 733425"/>
              <a:gd name="connsiteX97" fmla="*/ 2470150 w 2889264"/>
              <a:gd name="connsiteY97" fmla="*/ 523875 h 733425"/>
              <a:gd name="connsiteX98" fmla="*/ 2495550 w 2889264"/>
              <a:gd name="connsiteY98" fmla="*/ 533400 h 733425"/>
              <a:gd name="connsiteX99" fmla="*/ 2546350 w 2889264"/>
              <a:gd name="connsiteY99" fmla="*/ 558800 h 733425"/>
              <a:gd name="connsiteX100" fmla="*/ 2574925 w 2889264"/>
              <a:gd name="connsiteY100" fmla="*/ 565150 h 733425"/>
              <a:gd name="connsiteX101" fmla="*/ 2600325 w 2889264"/>
              <a:gd name="connsiteY101" fmla="*/ 577850 h 733425"/>
              <a:gd name="connsiteX102" fmla="*/ 2616200 w 2889264"/>
              <a:gd name="connsiteY102" fmla="*/ 581025 h 733425"/>
              <a:gd name="connsiteX103" fmla="*/ 2638425 w 2889264"/>
              <a:gd name="connsiteY103" fmla="*/ 587375 h 733425"/>
              <a:gd name="connsiteX104" fmla="*/ 2654300 w 2889264"/>
              <a:gd name="connsiteY104" fmla="*/ 596900 h 733425"/>
              <a:gd name="connsiteX105" fmla="*/ 2673350 w 2889264"/>
              <a:gd name="connsiteY105" fmla="*/ 603250 h 733425"/>
              <a:gd name="connsiteX106" fmla="*/ 2708275 w 2889264"/>
              <a:gd name="connsiteY106" fmla="*/ 625475 h 733425"/>
              <a:gd name="connsiteX107" fmla="*/ 2730500 w 2889264"/>
              <a:gd name="connsiteY107" fmla="*/ 635000 h 733425"/>
              <a:gd name="connsiteX108" fmla="*/ 2749550 w 2889264"/>
              <a:gd name="connsiteY108" fmla="*/ 650875 h 733425"/>
              <a:gd name="connsiteX109" fmla="*/ 2774950 w 2889264"/>
              <a:gd name="connsiteY109" fmla="*/ 663575 h 733425"/>
              <a:gd name="connsiteX110" fmla="*/ 2803525 w 2889264"/>
              <a:gd name="connsiteY110" fmla="*/ 676275 h 733425"/>
              <a:gd name="connsiteX111" fmla="*/ 2816225 w 2889264"/>
              <a:gd name="connsiteY111" fmla="*/ 685800 h 733425"/>
              <a:gd name="connsiteX112" fmla="*/ 2832100 w 2889264"/>
              <a:gd name="connsiteY112" fmla="*/ 692150 h 733425"/>
              <a:gd name="connsiteX113" fmla="*/ 2876550 w 2889264"/>
              <a:gd name="connsiteY113" fmla="*/ 723900 h 733425"/>
              <a:gd name="connsiteX114" fmla="*/ 2889250 w 2889264"/>
              <a:gd name="connsiteY114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381000 w 2889264"/>
              <a:gd name="connsiteY6" fmla="*/ 539750 h 733425"/>
              <a:gd name="connsiteX7" fmla="*/ 406400 w 2889264"/>
              <a:gd name="connsiteY7" fmla="*/ 530225 h 733425"/>
              <a:gd name="connsiteX8" fmla="*/ 434975 w 2889264"/>
              <a:gd name="connsiteY8" fmla="*/ 514350 h 733425"/>
              <a:gd name="connsiteX9" fmla="*/ 463550 w 2889264"/>
              <a:gd name="connsiteY9" fmla="*/ 498475 h 733425"/>
              <a:gd name="connsiteX10" fmla="*/ 476250 w 2889264"/>
              <a:gd name="connsiteY10" fmla="*/ 495300 h 733425"/>
              <a:gd name="connsiteX11" fmla="*/ 523875 w 2889264"/>
              <a:gd name="connsiteY11" fmla="*/ 469900 h 733425"/>
              <a:gd name="connsiteX12" fmla="*/ 568325 w 2889264"/>
              <a:gd name="connsiteY12" fmla="*/ 447675 h 733425"/>
              <a:gd name="connsiteX13" fmla="*/ 584200 w 2889264"/>
              <a:gd name="connsiteY13" fmla="*/ 441325 h 733425"/>
              <a:gd name="connsiteX14" fmla="*/ 612775 w 2889264"/>
              <a:gd name="connsiteY14" fmla="*/ 428625 h 733425"/>
              <a:gd name="connsiteX15" fmla="*/ 628650 w 2889264"/>
              <a:gd name="connsiteY15" fmla="*/ 422275 h 733425"/>
              <a:gd name="connsiteX16" fmla="*/ 641350 w 2889264"/>
              <a:gd name="connsiteY16" fmla="*/ 415925 h 733425"/>
              <a:gd name="connsiteX17" fmla="*/ 657225 w 2889264"/>
              <a:gd name="connsiteY17" fmla="*/ 406400 h 733425"/>
              <a:gd name="connsiteX18" fmla="*/ 676275 w 2889264"/>
              <a:gd name="connsiteY18" fmla="*/ 400050 h 733425"/>
              <a:gd name="connsiteX19" fmla="*/ 708025 w 2889264"/>
              <a:gd name="connsiteY19" fmla="*/ 381000 h 733425"/>
              <a:gd name="connsiteX20" fmla="*/ 736600 w 2889264"/>
              <a:gd name="connsiteY20" fmla="*/ 368300 h 733425"/>
              <a:gd name="connsiteX21" fmla="*/ 742950 w 2889264"/>
              <a:gd name="connsiteY21" fmla="*/ 358775 h 733425"/>
              <a:gd name="connsiteX22" fmla="*/ 790575 w 2889264"/>
              <a:gd name="connsiteY22" fmla="*/ 339725 h 733425"/>
              <a:gd name="connsiteX23" fmla="*/ 800100 w 2889264"/>
              <a:gd name="connsiteY23" fmla="*/ 336550 h 733425"/>
              <a:gd name="connsiteX24" fmla="*/ 812800 w 2889264"/>
              <a:gd name="connsiteY24" fmla="*/ 330200 h 733425"/>
              <a:gd name="connsiteX25" fmla="*/ 828675 w 2889264"/>
              <a:gd name="connsiteY25" fmla="*/ 327025 h 733425"/>
              <a:gd name="connsiteX26" fmla="*/ 898525 w 2889264"/>
              <a:gd name="connsiteY26" fmla="*/ 288925 h 733425"/>
              <a:gd name="connsiteX27" fmla="*/ 923925 w 2889264"/>
              <a:gd name="connsiteY27" fmla="*/ 269875 h 733425"/>
              <a:gd name="connsiteX28" fmla="*/ 933450 w 2889264"/>
              <a:gd name="connsiteY28" fmla="*/ 260350 h 733425"/>
              <a:gd name="connsiteX29" fmla="*/ 958850 w 2889264"/>
              <a:gd name="connsiteY29" fmla="*/ 247650 h 733425"/>
              <a:gd name="connsiteX30" fmla="*/ 968375 w 2889264"/>
              <a:gd name="connsiteY30" fmla="*/ 241300 h 733425"/>
              <a:gd name="connsiteX31" fmla="*/ 984250 w 2889264"/>
              <a:gd name="connsiteY31" fmla="*/ 234950 h 733425"/>
              <a:gd name="connsiteX32" fmla="*/ 1006475 w 2889264"/>
              <a:gd name="connsiteY32" fmla="*/ 225425 h 733425"/>
              <a:gd name="connsiteX33" fmla="*/ 1050925 w 2889264"/>
              <a:gd name="connsiteY33" fmla="*/ 212725 h 733425"/>
              <a:gd name="connsiteX34" fmla="*/ 1079500 w 2889264"/>
              <a:gd name="connsiteY34" fmla="*/ 200025 h 733425"/>
              <a:gd name="connsiteX35" fmla="*/ 1098550 w 2889264"/>
              <a:gd name="connsiteY35" fmla="*/ 193675 h 733425"/>
              <a:gd name="connsiteX36" fmla="*/ 1111250 w 2889264"/>
              <a:gd name="connsiteY36" fmla="*/ 187325 h 733425"/>
              <a:gd name="connsiteX37" fmla="*/ 1136650 w 2889264"/>
              <a:gd name="connsiteY37" fmla="*/ 177800 h 733425"/>
              <a:gd name="connsiteX38" fmla="*/ 1181100 w 2889264"/>
              <a:gd name="connsiteY38" fmla="*/ 152400 h 733425"/>
              <a:gd name="connsiteX39" fmla="*/ 1203325 w 2889264"/>
              <a:gd name="connsiteY39" fmla="*/ 130175 h 733425"/>
              <a:gd name="connsiteX40" fmla="*/ 1219200 w 2889264"/>
              <a:gd name="connsiteY40" fmla="*/ 117475 h 733425"/>
              <a:gd name="connsiteX41" fmla="*/ 1276350 w 2889264"/>
              <a:gd name="connsiteY41" fmla="*/ 85725 h 733425"/>
              <a:gd name="connsiteX42" fmla="*/ 1289050 w 2889264"/>
              <a:gd name="connsiteY42" fmla="*/ 79375 h 733425"/>
              <a:gd name="connsiteX43" fmla="*/ 1327150 w 2889264"/>
              <a:gd name="connsiteY43" fmla="*/ 66675 h 733425"/>
              <a:gd name="connsiteX44" fmla="*/ 1343025 w 2889264"/>
              <a:gd name="connsiteY44" fmla="*/ 57150 h 733425"/>
              <a:gd name="connsiteX45" fmla="*/ 1355725 w 2889264"/>
              <a:gd name="connsiteY45" fmla="*/ 47625 h 733425"/>
              <a:gd name="connsiteX46" fmla="*/ 1377950 w 2889264"/>
              <a:gd name="connsiteY46" fmla="*/ 38100 h 733425"/>
              <a:gd name="connsiteX47" fmla="*/ 1416050 w 2889264"/>
              <a:gd name="connsiteY47" fmla="*/ 12700 h 733425"/>
              <a:gd name="connsiteX48" fmla="*/ 1428750 w 2889264"/>
              <a:gd name="connsiteY48" fmla="*/ 0 h 733425"/>
              <a:gd name="connsiteX49" fmla="*/ 1470025 w 2889264"/>
              <a:gd name="connsiteY49" fmla="*/ 28575 h 733425"/>
              <a:gd name="connsiteX50" fmla="*/ 1504950 w 2889264"/>
              <a:gd name="connsiteY50" fmla="*/ 41275 h 733425"/>
              <a:gd name="connsiteX51" fmla="*/ 1517650 w 2889264"/>
              <a:gd name="connsiteY51" fmla="*/ 50800 h 733425"/>
              <a:gd name="connsiteX52" fmla="*/ 1549400 w 2889264"/>
              <a:gd name="connsiteY52" fmla="*/ 60325 h 733425"/>
              <a:gd name="connsiteX53" fmla="*/ 1562100 w 2889264"/>
              <a:gd name="connsiteY53" fmla="*/ 69850 h 733425"/>
              <a:gd name="connsiteX54" fmla="*/ 1574800 w 2889264"/>
              <a:gd name="connsiteY54" fmla="*/ 73025 h 733425"/>
              <a:gd name="connsiteX55" fmla="*/ 1590675 w 2889264"/>
              <a:gd name="connsiteY55" fmla="*/ 79375 h 733425"/>
              <a:gd name="connsiteX56" fmla="*/ 1600200 w 2889264"/>
              <a:gd name="connsiteY56" fmla="*/ 85725 h 733425"/>
              <a:gd name="connsiteX57" fmla="*/ 1612900 w 2889264"/>
              <a:gd name="connsiteY57" fmla="*/ 92075 h 733425"/>
              <a:gd name="connsiteX58" fmla="*/ 1625600 w 2889264"/>
              <a:gd name="connsiteY58" fmla="*/ 101600 h 733425"/>
              <a:gd name="connsiteX59" fmla="*/ 1635125 w 2889264"/>
              <a:gd name="connsiteY59" fmla="*/ 104775 h 733425"/>
              <a:gd name="connsiteX60" fmla="*/ 1654175 w 2889264"/>
              <a:gd name="connsiteY60" fmla="*/ 114300 h 733425"/>
              <a:gd name="connsiteX61" fmla="*/ 1676400 w 2889264"/>
              <a:gd name="connsiteY61" fmla="*/ 130175 h 733425"/>
              <a:gd name="connsiteX62" fmla="*/ 1689100 w 2889264"/>
              <a:gd name="connsiteY62" fmla="*/ 136525 h 733425"/>
              <a:gd name="connsiteX63" fmla="*/ 1714500 w 2889264"/>
              <a:gd name="connsiteY63" fmla="*/ 146050 h 733425"/>
              <a:gd name="connsiteX64" fmla="*/ 1727200 w 2889264"/>
              <a:gd name="connsiteY64" fmla="*/ 155575 h 733425"/>
              <a:gd name="connsiteX65" fmla="*/ 1758950 w 2889264"/>
              <a:gd name="connsiteY65" fmla="*/ 165100 h 733425"/>
              <a:gd name="connsiteX66" fmla="*/ 1768475 w 2889264"/>
              <a:gd name="connsiteY66" fmla="*/ 171450 h 733425"/>
              <a:gd name="connsiteX67" fmla="*/ 1781175 w 2889264"/>
              <a:gd name="connsiteY67" fmla="*/ 180975 h 733425"/>
              <a:gd name="connsiteX68" fmla="*/ 1793875 w 2889264"/>
              <a:gd name="connsiteY68" fmla="*/ 187325 h 733425"/>
              <a:gd name="connsiteX69" fmla="*/ 1838325 w 2889264"/>
              <a:gd name="connsiteY69" fmla="*/ 212725 h 733425"/>
              <a:gd name="connsiteX70" fmla="*/ 1847850 w 2889264"/>
              <a:gd name="connsiteY70" fmla="*/ 222250 h 733425"/>
              <a:gd name="connsiteX71" fmla="*/ 1885950 w 2889264"/>
              <a:gd name="connsiteY71" fmla="*/ 241300 h 733425"/>
              <a:gd name="connsiteX72" fmla="*/ 1901825 w 2889264"/>
              <a:gd name="connsiteY72" fmla="*/ 250825 h 733425"/>
              <a:gd name="connsiteX73" fmla="*/ 1933575 w 2889264"/>
              <a:gd name="connsiteY73" fmla="*/ 263525 h 733425"/>
              <a:gd name="connsiteX74" fmla="*/ 1962150 w 2889264"/>
              <a:gd name="connsiteY74" fmla="*/ 276225 h 733425"/>
              <a:gd name="connsiteX75" fmla="*/ 1971675 w 2889264"/>
              <a:gd name="connsiteY75" fmla="*/ 282575 h 733425"/>
              <a:gd name="connsiteX76" fmla="*/ 1987550 w 2889264"/>
              <a:gd name="connsiteY76" fmla="*/ 288925 h 733425"/>
              <a:gd name="connsiteX77" fmla="*/ 2022475 w 2889264"/>
              <a:gd name="connsiteY77" fmla="*/ 301625 h 733425"/>
              <a:gd name="connsiteX78" fmla="*/ 2047875 w 2889264"/>
              <a:gd name="connsiteY78" fmla="*/ 314325 h 733425"/>
              <a:gd name="connsiteX79" fmla="*/ 2063750 w 2889264"/>
              <a:gd name="connsiteY79" fmla="*/ 320675 h 733425"/>
              <a:gd name="connsiteX80" fmla="*/ 2082800 w 2889264"/>
              <a:gd name="connsiteY80" fmla="*/ 330200 h 733425"/>
              <a:gd name="connsiteX81" fmla="*/ 2095500 w 2889264"/>
              <a:gd name="connsiteY81" fmla="*/ 333375 h 733425"/>
              <a:gd name="connsiteX82" fmla="*/ 2124075 w 2889264"/>
              <a:gd name="connsiteY82" fmla="*/ 342900 h 733425"/>
              <a:gd name="connsiteX83" fmla="*/ 2159000 w 2889264"/>
              <a:gd name="connsiteY83" fmla="*/ 358775 h 733425"/>
              <a:gd name="connsiteX84" fmla="*/ 2187575 w 2889264"/>
              <a:gd name="connsiteY84" fmla="*/ 377825 h 733425"/>
              <a:gd name="connsiteX85" fmla="*/ 2209800 w 2889264"/>
              <a:gd name="connsiteY85" fmla="*/ 393700 h 733425"/>
              <a:gd name="connsiteX86" fmla="*/ 2247900 w 2889264"/>
              <a:gd name="connsiteY86" fmla="*/ 419100 h 733425"/>
              <a:gd name="connsiteX87" fmla="*/ 2276475 w 2889264"/>
              <a:gd name="connsiteY87" fmla="*/ 434975 h 733425"/>
              <a:gd name="connsiteX88" fmla="*/ 2289175 w 2889264"/>
              <a:gd name="connsiteY88" fmla="*/ 444500 h 733425"/>
              <a:gd name="connsiteX89" fmla="*/ 2308225 w 2889264"/>
              <a:gd name="connsiteY89" fmla="*/ 447675 h 733425"/>
              <a:gd name="connsiteX90" fmla="*/ 2333625 w 2889264"/>
              <a:gd name="connsiteY90" fmla="*/ 460375 h 733425"/>
              <a:gd name="connsiteX91" fmla="*/ 2352675 w 2889264"/>
              <a:gd name="connsiteY91" fmla="*/ 466725 h 733425"/>
              <a:gd name="connsiteX92" fmla="*/ 2397125 w 2889264"/>
              <a:gd name="connsiteY92" fmla="*/ 488950 h 733425"/>
              <a:gd name="connsiteX93" fmla="*/ 2422525 w 2889264"/>
              <a:gd name="connsiteY93" fmla="*/ 495300 h 733425"/>
              <a:gd name="connsiteX94" fmla="*/ 2432050 w 2889264"/>
              <a:gd name="connsiteY94" fmla="*/ 498475 h 733425"/>
              <a:gd name="connsiteX95" fmla="*/ 2454275 w 2889264"/>
              <a:gd name="connsiteY95" fmla="*/ 511175 h 733425"/>
              <a:gd name="connsiteX96" fmla="*/ 2470150 w 2889264"/>
              <a:gd name="connsiteY96" fmla="*/ 523875 h 733425"/>
              <a:gd name="connsiteX97" fmla="*/ 2495550 w 2889264"/>
              <a:gd name="connsiteY97" fmla="*/ 533400 h 733425"/>
              <a:gd name="connsiteX98" fmla="*/ 2546350 w 2889264"/>
              <a:gd name="connsiteY98" fmla="*/ 558800 h 733425"/>
              <a:gd name="connsiteX99" fmla="*/ 2574925 w 2889264"/>
              <a:gd name="connsiteY99" fmla="*/ 565150 h 733425"/>
              <a:gd name="connsiteX100" fmla="*/ 2600325 w 2889264"/>
              <a:gd name="connsiteY100" fmla="*/ 577850 h 733425"/>
              <a:gd name="connsiteX101" fmla="*/ 2616200 w 2889264"/>
              <a:gd name="connsiteY101" fmla="*/ 581025 h 733425"/>
              <a:gd name="connsiteX102" fmla="*/ 2638425 w 2889264"/>
              <a:gd name="connsiteY102" fmla="*/ 587375 h 733425"/>
              <a:gd name="connsiteX103" fmla="*/ 2654300 w 2889264"/>
              <a:gd name="connsiteY103" fmla="*/ 596900 h 733425"/>
              <a:gd name="connsiteX104" fmla="*/ 2673350 w 2889264"/>
              <a:gd name="connsiteY104" fmla="*/ 603250 h 733425"/>
              <a:gd name="connsiteX105" fmla="*/ 2708275 w 2889264"/>
              <a:gd name="connsiteY105" fmla="*/ 625475 h 733425"/>
              <a:gd name="connsiteX106" fmla="*/ 2730500 w 2889264"/>
              <a:gd name="connsiteY106" fmla="*/ 635000 h 733425"/>
              <a:gd name="connsiteX107" fmla="*/ 2749550 w 2889264"/>
              <a:gd name="connsiteY107" fmla="*/ 650875 h 733425"/>
              <a:gd name="connsiteX108" fmla="*/ 2774950 w 2889264"/>
              <a:gd name="connsiteY108" fmla="*/ 663575 h 733425"/>
              <a:gd name="connsiteX109" fmla="*/ 2803525 w 2889264"/>
              <a:gd name="connsiteY109" fmla="*/ 676275 h 733425"/>
              <a:gd name="connsiteX110" fmla="*/ 2816225 w 2889264"/>
              <a:gd name="connsiteY110" fmla="*/ 685800 h 733425"/>
              <a:gd name="connsiteX111" fmla="*/ 2832100 w 2889264"/>
              <a:gd name="connsiteY111" fmla="*/ 692150 h 733425"/>
              <a:gd name="connsiteX112" fmla="*/ 2876550 w 2889264"/>
              <a:gd name="connsiteY112" fmla="*/ 723900 h 733425"/>
              <a:gd name="connsiteX113" fmla="*/ 2889250 w 2889264"/>
              <a:gd name="connsiteY113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381000 w 2889264"/>
              <a:gd name="connsiteY6" fmla="*/ 539750 h 733425"/>
              <a:gd name="connsiteX7" fmla="*/ 406400 w 2889264"/>
              <a:gd name="connsiteY7" fmla="*/ 530225 h 733425"/>
              <a:gd name="connsiteX8" fmla="*/ 463550 w 2889264"/>
              <a:gd name="connsiteY8" fmla="*/ 498475 h 733425"/>
              <a:gd name="connsiteX9" fmla="*/ 476250 w 2889264"/>
              <a:gd name="connsiteY9" fmla="*/ 495300 h 733425"/>
              <a:gd name="connsiteX10" fmla="*/ 523875 w 2889264"/>
              <a:gd name="connsiteY10" fmla="*/ 469900 h 733425"/>
              <a:gd name="connsiteX11" fmla="*/ 568325 w 2889264"/>
              <a:gd name="connsiteY11" fmla="*/ 447675 h 733425"/>
              <a:gd name="connsiteX12" fmla="*/ 584200 w 2889264"/>
              <a:gd name="connsiteY12" fmla="*/ 441325 h 733425"/>
              <a:gd name="connsiteX13" fmla="*/ 612775 w 2889264"/>
              <a:gd name="connsiteY13" fmla="*/ 428625 h 733425"/>
              <a:gd name="connsiteX14" fmla="*/ 628650 w 2889264"/>
              <a:gd name="connsiteY14" fmla="*/ 422275 h 733425"/>
              <a:gd name="connsiteX15" fmla="*/ 641350 w 2889264"/>
              <a:gd name="connsiteY15" fmla="*/ 415925 h 733425"/>
              <a:gd name="connsiteX16" fmla="*/ 657225 w 2889264"/>
              <a:gd name="connsiteY16" fmla="*/ 406400 h 733425"/>
              <a:gd name="connsiteX17" fmla="*/ 676275 w 2889264"/>
              <a:gd name="connsiteY17" fmla="*/ 400050 h 733425"/>
              <a:gd name="connsiteX18" fmla="*/ 708025 w 2889264"/>
              <a:gd name="connsiteY18" fmla="*/ 381000 h 733425"/>
              <a:gd name="connsiteX19" fmla="*/ 736600 w 2889264"/>
              <a:gd name="connsiteY19" fmla="*/ 368300 h 733425"/>
              <a:gd name="connsiteX20" fmla="*/ 742950 w 2889264"/>
              <a:gd name="connsiteY20" fmla="*/ 358775 h 733425"/>
              <a:gd name="connsiteX21" fmla="*/ 790575 w 2889264"/>
              <a:gd name="connsiteY21" fmla="*/ 339725 h 733425"/>
              <a:gd name="connsiteX22" fmla="*/ 800100 w 2889264"/>
              <a:gd name="connsiteY22" fmla="*/ 336550 h 733425"/>
              <a:gd name="connsiteX23" fmla="*/ 812800 w 2889264"/>
              <a:gd name="connsiteY23" fmla="*/ 330200 h 733425"/>
              <a:gd name="connsiteX24" fmla="*/ 828675 w 2889264"/>
              <a:gd name="connsiteY24" fmla="*/ 327025 h 733425"/>
              <a:gd name="connsiteX25" fmla="*/ 898525 w 2889264"/>
              <a:gd name="connsiteY25" fmla="*/ 288925 h 733425"/>
              <a:gd name="connsiteX26" fmla="*/ 923925 w 2889264"/>
              <a:gd name="connsiteY26" fmla="*/ 269875 h 733425"/>
              <a:gd name="connsiteX27" fmla="*/ 933450 w 2889264"/>
              <a:gd name="connsiteY27" fmla="*/ 260350 h 733425"/>
              <a:gd name="connsiteX28" fmla="*/ 958850 w 2889264"/>
              <a:gd name="connsiteY28" fmla="*/ 247650 h 733425"/>
              <a:gd name="connsiteX29" fmla="*/ 968375 w 2889264"/>
              <a:gd name="connsiteY29" fmla="*/ 241300 h 733425"/>
              <a:gd name="connsiteX30" fmla="*/ 984250 w 2889264"/>
              <a:gd name="connsiteY30" fmla="*/ 234950 h 733425"/>
              <a:gd name="connsiteX31" fmla="*/ 1006475 w 2889264"/>
              <a:gd name="connsiteY31" fmla="*/ 225425 h 733425"/>
              <a:gd name="connsiteX32" fmla="*/ 1050925 w 2889264"/>
              <a:gd name="connsiteY32" fmla="*/ 212725 h 733425"/>
              <a:gd name="connsiteX33" fmla="*/ 1079500 w 2889264"/>
              <a:gd name="connsiteY33" fmla="*/ 200025 h 733425"/>
              <a:gd name="connsiteX34" fmla="*/ 1098550 w 2889264"/>
              <a:gd name="connsiteY34" fmla="*/ 193675 h 733425"/>
              <a:gd name="connsiteX35" fmla="*/ 1111250 w 2889264"/>
              <a:gd name="connsiteY35" fmla="*/ 187325 h 733425"/>
              <a:gd name="connsiteX36" fmla="*/ 1136650 w 2889264"/>
              <a:gd name="connsiteY36" fmla="*/ 177800 h 733425"/>
              <a:gd name="connsiteX37" fmla="*/ 1181100 w 2889264"/>
              <a:gd name="connsiteY37" fmla="*/ 152400 h 733425"/>
              <a:gd name="connsiteX38" fmla="*/ 1203325 w 2889264"/>
              <a:gd name="connsiteY38" fmla="*/ 130175 h 733425"/>
              <a:gd name="connsiteX39" fmla="*/ 1219200 w 2889264"/>
              <a:gd name="connsiteY39" fmla="*/ 117475 h 733425"/>
              <a:gd name="connsiteX40" fmla="*/ 1276350 w 2889264"/>
              <a:gd name="connsiteY40" fmla="*/ 85725 h 733425"/>
              <a:gd name="connsiteX41" fmla="*/ 1289050 w 2889264"/>
              <a:gd name="connsiteY41" fmla="*/ 79375 h 733425"/>
              <a:gd name="connsiteX42" fmla="*/ 1327150 w 2889264"/>
              <a:gd name="connsiteY42" fmla="*/ 66675 h 733425"/>
              <a:gd name="connsiteX43" fmla="*/ 1343025 w 2889264"/>
              <a:gd name="connsiteY43" fmla="*/ 57150 h 733425"/>
              <a:gd name="connsiteX44" fmla="*/ 1355725 w 2889264"/>
              <a:gd name="connsiteY44" fmla="*/ 47625 h 733425"/>
              <a:gd name="connsiteX45" fmla="*/ 1377950 w 2889264"/>
              <a:gd name="connsiteY45" fmla="*/ 38100 h 733425"/>
              <a:gd name="connsiteX46" fmla="*/ 1416050 w 2889264"/>
              <a:gd name="connsiteY46" fmla="*/ 12700 h 733425"/>
              <a:gd name="connsiteX47" fmla="*/ 1428750 w 2889264"/>
              <a:gd name="connsiteY47" fmla="*/ 0 h 733425"/>
              <a:gd name="connsiteX48" fmla="*/ 1470025 w 2889264"/>
              <a:gd name="connsiteY48" fmla="*/ 28575 h 733425"/>
              <a:gd name="connsiteX49" fmla="*/ 1504950 w 2889264"/>
              <a:gd name="connsiteY49" fmla="*/ 41275 h 733425"/>
              <a:gd name="connsiteX50" fmla="*/ 1517650 w 2889264"/>
              <a:gd name="connsiteY50" fmla="*/ 50800 h 733425"/>
              <a:gd name="connsiteX51" fmla="*/ 1549400 w 2889264"/>
              <a:gd name="connsiteY51" fmla="*/ 60325 h 733425"/>
              <a:gd name="connsiteX52" fmla="*/ 1562100 w 2889264"/>
              <a:gd name="connsiteY52" fmla="*/ 69850 h 733425"/>
              <a:gd name="connsiteX53" fmla="*/ 1574800 w 2889264"/>
              <a:gd name="connsiteY53" fmla="*/ 73025 h 733425"/>
              <a:gd name="connsiteX54" fmla="*/ 1590675 w 2889264"/>
              <a:gd name="connsiteY54" fmla="*/ 79375 h 733425"/>
              <a:gd name="connsiteX55" fmla="*/ 1600200 w 2889264"/>
              <a:gd name="connsiteY55" fmla="*/ 85725 h 733425"/>
              <a:gd name="connsiteX56" fmla="*/ 1612900 w 2889264"/>
              <a:gd name="connsiteY56" fmla="*/ 92075 h 733425"/>
              <a:gd name="connsiteX57" fmla="*/ 1625600 w 2889264"/>
              <a:gd name="connsiteY57" fmla="*/ 101600 h 733425"/>
              <a:gd name="connsiteX58" fmla="*/ 1635125 w 2889264"/>
              <a:gd name="connsiteY58" fmla="*/ 104775 h 733425"/>
              <a:gd name="connsiteX59" fmla="*/ 1654175 w 2889264"/>
              <a:gd name="connsiteY59" fmla="*/ 114300 h 733425"/>
              <a:gd name="connsiteX60" fmla="*/ 1676400 w 2889264"/>
              <a:gd name="connsiteY60" fmla="*/ 130175 h 733425"/>
              <a:gd name="connsiteX61" fmla="*/ 1689100 w 2889264"/>
              <a:gd name="connsiteY61" fmla="*/ 136525 h 733425"/>
              <a:gd name="connsiteX62" fmla="*/ 1714500 w 2889264"/>
              <a:gd name="connsiteY62" fmla="*/ 146050 h 733425"/>
              <a:gd name="connsiteX63" fmla="*/ 1727200 w 2889264"/>
              <a:gd name="connsiteY63" fmla="*/ 155575 h 733425"/>
              <a:gd name="connsiteX64" fmla="*/ 1758950 w 2889264"/>
              <a:gd name="connsiteY64" fmla="*/ 165100 h 733425"/>
              <a:gd name="connsiteX65" fmla="*/ 1768475 w 2889264"/>
              <a:gd name="connsiteY65" fmla="*/ 171450 h 733425"/>
              <a:gd name="connsiteX66" fmla="*/ 1781175 w 2889264"/>
              <a:gd name="connsiteY66" fmla="*/ 180975 h 733425"/>
              <a:gd name="connsiteX67" fmla="*/ 1793875 w 2889264"/>
              <a:gd name="connsiteY67" fmla="*/ 187325 h 733425"/>
              <a:gd name="connsiteX68" fmla="*/ 1838325 w 2889264"/>
              <a:gd name="connsiteY68" fmla="*/ 212725 h 733425"/>
              <a:gd name="connsiteX69" fmla="*/ 1847850 w 2889264"/>
              <a:gd name="connsiteY69" fmla="*/ 222250 h 733425"/>
              <a:gd name="connsiteX70" fmla="*/ 1885950 w 2889264"/>
              <a:gd name="connsiteY70" fmla="*/ 241300 h 733425"/>
              <a:gd name="connsiteX71" fmla="*/ 1901825 w 2889264"/>
              <a:gd name="connsiteY71" fmla="*/ 250825 h 733425"/>
              <a:gd name="connsiteX72" fmla="*/ 1933575 w 2889264"/>
              <a:gd name="connsiteY72" fmla="*/ 263525 h 733425"/>
              <a:gd name="connsiteX73" fmla="*/ 1962150 w 2889264"/>
              <a:gd name="connsiteY73" fmla="*/ 276225 h 733425"/>
              <a:gd name="connsiteX74" fmla="*/ 1971675 w 2889264"/>
              <a:gd name="connsiteY74" fmla="*/ 282575 h 733425"/>
              <a:gd name="connsiteX75" fmla="*/ 1987550 w 2889264"/>
              <a:gd name="connsiteY75" fmla="*/ 288925 h 733425"/>
              <a:gd name="connsiteX76" fmla="*/ 2022475 w 2889264"/>
              <a:gd name="connsiteY76" fmla="*/ 301625 h 733425"/>
              <a:gd name="connsiteX77" fmla="*/ 2047875 w 2889264"/>
              <a:gd name="connsiteY77" fmla="*/ 314325 h 733425"/>
              <a:gd name="connsiteX78" fmla="*/ 2063750 w 2889264"/>
              <a:gd name="connsiteY78" fmla="*/ 320675 h 733425"/>
              <a:gd name="connsiteX79" fmla="*/ 2082800 w 2889264"/>
              <a:gd name="connsiteY79" fmla="*/ 330200 h 733425"/>
              <a:gd name="connsiteX80" fmla="*/ 2095500 w 2889264"/>
              <a:gd name="connsiteY80" fmla="*/ 333375 h 733425"/>
              <a:gd name="connsiteX81" fmla="*/ 2124075 w 2889264"/>
              <a:gd name="connsiteY81" fmla="*/ 342900 h 733425"/>
              <a:gd name="connsiteX82" fmla="*/ 2159000 w 2889264"/>
              <a:gd name="connsiteY82" fmla="*/ 358775 h 733425"/>
              <a:gd name="connsiteX83" fmla="*/ 2187575 w 2889264"/>
              <a:gd name="connsiteY83" fmla="*/ 377825 h 733425"/>
              <a:gd name="connsiteX84" fmla="*/ 2209800 w 2889264"/>
              <a:gd name="connsiteY84" fmla="*/ 393700 h 733425"/>
              <a:gd name="connsiteX85" fmla="*/ 2247900 w 2889264"/>
              <a:gd name="connsiteY85" fmla="*/ 419100 h 733425"/>
              <a:gd name="connsiteX86" fmla="*/ 2276475 w 2889264"/>
              <a:gd name="connsiteY86" fmla="*/ 434975 h 733425"/>
              <a:gd name="connsiteX87" fmla="*/ 2289175 w 2889264"/>
              <a:gd name="connsiteY87" fmla="*/ 444500 h 733425"/>
              <a:gd name="connsiteX88" fmla="*/ 2308225 w 2889264"/>
              <a:gd name="connsiteY88" fmla="*/ 447675 h 733425"/>
              <a:gd name="connsiteX89" fmla="*/ 2333625 w 2889264"/>
              <a:gd name="connsiteY89" fmla="*/ 460375 h 733425"/>
              <a:gd name="connsiteX90" fmla="*/ 2352675 w 2889264"/>
              <a:gd name="connsiteY90" fmla="*/ 466725 h 733425"/>
              <a:gd name="connsiteX91" fmla="*/ 2397125 w 2889264"/>
              <a:gd name="connsiteY91" fmla="*/ 488950 h 733425"/>
              <a:gd name="connsiteX92" fmla="*/ 2422525 w 2889264"/>
              <a:gd name="connsiteY92" fmla="*/ 495300 h 733425"/>
              <a:gd name="connsiteX93" fmla="*/ 2432050 w 2889264"/>
              <a:gd name="connsiteY93" fmla="*/ 498475 h 733425"/>
              <a:gd name="connsiteX94" fmla="*/ 2454275 w 2889264"/>
              <a:gd name="connsiteY94" fmla="*/ 511175 h 733425"/>
              <a:gd name="connsiteX95" fmla="*/ 2470150 w 2889264"/>
              <a:gd name="connsiteY95" fmla="*/ 523875 h 733425"/>
              <a:gd name="connsiteX96" fmla="*/ 2495550 w 2889264"/>
              <a:gd name="connsiteY96" fmla="*/ 533400 h 733425"/>
              <a:gd name="connsiteX97" fmla="*/ 2546350 w 2889264"/>
              <a:gd name="connsiteY97" fmla="*/ 558800 h 733425"/>
              <a:gd name="connsiteX98" fmla="*/ 2574925 w 2889264"/>
              <a:gd name="connsiteY98" fmla="*/ 565150 h 733425"/>
              <a:gd name="connsiteX99" fmla="*/ 2600325 w 2889264"/>
              <a:gd name="connsiteY99" fmla="*/ 577850 h 733425"/>
              <a:gd name="connsiteX100" fmla="*/ 2616200 w 2889264"/>
              <a:gd name="connsiteY100" fmla="*/ 581025 h 733425"/>
              <a:gd name="connsiteX101" fmla="*/ 2638425 w 2889264"/>
              <a:gd name="connsiteY101" fmla="*/ 587375 h 733425"/>
              <a:gd name="connsiteX102" fmla="*/ 2654300 w 2889264"/>
              <a:gd name="connsiteY102" fmla="*/ 596900 h 733425"/>
              <a:gd name="connsiteX103" fmla="*/ 2673350 w 2889264"/>
              <a:gd name="connsiteY103" fmla="*/ 603250 h 733425"/>
              <a:gd name="connsiteX104" fmla="*/ 2708275 w 2889264"/>
              <a:gd name="connsiteY104" fmla="*/ 625475 h 733425"/>
              <a:gd name="connsiteX105" fmla="*/ 2730500 w 2889264"/>
              <a:gd name="connsiteY105" fmla="*/ 635000 h 733425"/>
              <a:gd name="connsiteX106" fmla="*/ 2749550 w 2889264"/>
              <a:gd name="connsiteY106" fmla="*/ 650875 h 733425"/>
              <a:gd name="connsiteX107" fmla="*/ 2774950 w 2889264"/>
              <a:gd name="connsiteY107" fmla="*/ 663575 h 733425"/>
              <a:gd name="connsiteX108" fmla="*/ 2803525 w 2889264"/>
              <a:gd name="connsiteY108" fmla="*/ 676275 h 733425"/>
              <a:gd name="connsiteX109" fmla="*/ 2816225 w 2889264"/>
              <a:gd name="connsiteY109" fmla="*/ 685800 h 733425"/>
              <a:gd name="connsiteX110" fmla="*/ 2832100 w 2889264"/>
              <a:gd name="connsiteY110" fmla="*/ 692150 h 733425"/>
              <a:gd name="connsiteX111" fmla="*/ 2876550 w 2889264"/>
              <a:gd name="connsiteY111" fmla="*/ 723900 h 733425"/>
              <a:gd name="connsiteX112" fmla="*/ 2889250 w 2889264"/>
              <a:gd name="connsiteY112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06400 w 2889264"/>
              <a:gd name="connsiteY6" fmla="*/ 530225 h 733425"/>
              <a:gd name="connsiteX7" fmla="*/ 463550 w 2889264"/>
              <a:gd name="connsiteY7" fmla="*/ 498475 h 733425"/>
              <a:gd name="connsiteX8" fmla="*/ 476250 w 2889264"/>
              <a:gd name="connsiteY8" fmla="*/ 495300 h 733425"/>
              <a:gd name="connsiteX9" fmla="*/ 523875 w 2889264"/>
              <a:gd name="connsiteY9" fmla="*/ 469900 h 733425"/>
              <a:gd name="connsiteX10" fmla="*/ 568325 w 2889264"/>
              <a:gd name="connsiteY10" fmla="*/ 447675 h 733425"/>
              <a:gd name="connsiteX11" fmla="*/ 584200 w 2889264"/>
              <a:gd name="connsiteY11" fmla="*/ 441325 h 733425"/>
              <a:gd name="connsiteX12" fmla="*/ 612775 w 2889264"/>
              <a:gd name="connsiteY12" fmla="*/ 428625 h 733425"/>
              <a:gd name="connsiteX13" fmla="*/ 628650 w 2889264"/>
              <a:gd name="connsiteY13" fmla="*/ 422275 h 733425"/>
              <a:gd name="connsiteX14" fmla="*/ 641350 w 2889264"/>
              <a:gd name="connsiteY14" fmla="*/ 415925 h 733425"/>
              <a:gd name="connsiteX15" fmla="*/ 657225 w 2889264"/>
              <a:gd name="connsiteY15" fmla="*/ 406400 h 733425"/>
              <a:gd name="connsiteX16" fmla="*/ 676275 w 2889264"/>
              <a:gd name="connsiteY16" fmla="*/ 400050 h 733425"/>
              <a:gd name="connsiteX17" fmla="*/ 708025 w 2889264"/>
              <a:gd name="connsiteY17" fmla="*/ 381000 h 733425"/>
              <a:gd name="connsiteX18" fmla="*/ 736600 w 2889264"/>
              <a:gd name="connsiteY18" fmla="*/ 368300 h 733425"/>
              <a:gd name="connsiteX19" fmla="*/ 742950 w 2889264"/>
              <a:gd name="connsiteY19" fmla="*/ 358775 h 733425"/>
              <a:gd name="connsiteX20" fmla="*/ 790575 w 2889264"/>
              <a:gd name="connsiteY20" fmla="*/ 339725 h 733425"/>
              <a:gd name="connsiteX21" fmla="*/ 800100 w 2889264"/>
              <a:gd name="connsiteY21" fmla="*/ 336550 h 733425"/>
              <a:gd name="connsiteX22" fmla="*/ 812800 w 2889264"/>
              <a:gd name="connsiteY22" fmla="*/ 330200 h 733425"/>
              <a:gd name="connsiteX23" fmla="*/ 828675 w 2889264"/>
              <a:gd name="connsiteY23" fmla="*/ 327025 h 733425"/>
              <a:gd name="connsiteX24" fmla="*/ 898525 w 2889264"/>
              <a:gd name="connsiteY24" fmla="*/ 288925 h 733425"/>
              <a:gd name="connsiteX25" fmla="*/ 923925 w 2889264"/>
              <a:gd name="connsiteY25" fmla="*/ 269875 h 733425"/>
              <a:gd name="connsiteX26" fmla="*/ 933450 w 2889264"/>
              <a:gd name="connsiteY26" fmla="*/ 260350 h 733425"/>
              <a:gd name="connsiteX27" fmla="*/ 958850 w 2889264"/>
              <a:gd name="connsiteY27" fmla="*/ 247650 h 733425"/>
              <a:gd name="connsiteX28" fmla="*/ 968375 w 2889264"/>
              <a:gd name="connsiteY28" fmla="*/ 241300 h 733425"/>
              <a:gd name="connsiteX29" fmla="*/ 984250 w 2889264"/>
              <a:gd name="connsiteY29" fmla="*/ 234950 h 733425"/>
              <a:gd name="connsiteX30" fmla="*/ 1006475 w 2889264"/>
              <a:gd name="connsiteY30" fmla="*/ 225425 h 733425"/>
              <a:gd name="connsiteX31" fmla="*/ 1050925 w 2889264"/>
              <a:gd name="connsiteY31" fmla="*/ 212725 h 733425"/>
              <a:gd name="connsiteX32" fmla="*/ 1079500 w 2889264"/>
              <a:gd name="connsiteY32" fmla="*/ 200025 h 733425"/>
              <a:gd name="connsiteX33" fmla="*/ 1098550 w 2889264"/>
              <a:gd name="connsiteY33" fmla="*/ 193675 h 733425"/>
              <a:gd name="connsiteX34" fmla="*/ 1111250 w 2889264"/>
              <a:gd name="connsiteY34" fmla="*/ 187325 h 733425"/>
              <a:gd name="connsiteX35" fmla="*/ 1136650 w 2889264"/>
              <a:gd name="connsiteY35" fmla="*/ 177800 h 733425"/>
              <a:gd name="connsiteX36" fmla="*/ 1181100 w 2889264"/>
              <a:gd name="connsiteY36" fmla="*/ 152400 h 733425"/>
              <a:gd name="connsiteX37" fmla="*/ 1203325 w 2889264"/>
              <a:gd name="connsiteY37" fmla="*/ 130175 h 733425"/>
              <a:gd name="connsiteX38" fmla="*/ 1219200 w 2889264"/>
              <a:gd name="connsiteY38" fmla="*/ 117475 h 733425"/>
              <a:gd name="connsiteX39" fmla="*/ 1276350 w 2889264"/>
              <a:gd name="connsiteY39" fmla="*/ 85725 h 733425"/>
              <a:gd name="connsiteX40" fmla="*/ 1289050 w 2889264"/>
              <a:gd name="connsiteY40" fmla="*/ 79375 h 733425"/>
              <a:gd name="connsiteX41" fmla="*/ 1327150 w 2889264"/>
              <a:gd name="connsiteY41" fmla="*/ 66675 h 733425"/>
              <a:gd name="connsiteX42" fmla="*/ 1343025 w 2889264"/>
              <a:gd name="connsiteY42" fmla="*/ 57150 h 733425"/>
              <a:gd name="connsiteX43" fmla="*/ 1355725 w 2889264"/>
              <a:gd name="connsiteY43" fmla="*/ 47625 h 733425"/>
              <a:gd name="connsiteX44" fmla="*/ 1377950 w 2889264"/>
              <a:gd name="connsiteY44" fmla="*/ 38100 h 733425"/>
              <a:gd name="connsiteX45" fmla="*/ 1416050 w 2889264"/>
              <a:gd name="connsiteY45" fmla="*/ 12700 h 733425"/>
              <a:gd name="connsiteX46" fmla="*/ 1428750 w 2889264"/>
              <a:gd name="connsiteY46" fmla="*/ 0 h 733425"/>
              <a:gd name="connsiteX47" fmla="*/ 1470025 w 2889264"/>
              <a:gd name="connsiteY47" fmla="*/ 28575 h 733425"/>
              <a:gd name="connsiteX48" fmla="*/ 1504950 w 2889264"/>
              <a:gd name="connsiteY48" fmla="*/ 41275 h 733425"/>
              <a:gd name="connsiteX49" fmla="*/ 1517650 w 2889264"/>
              <a:gd name="connsiteY49" fmla="*/ 50800 h 733425"/>
              <a:gd name="connsiteX50" fmla="*/ 1549400 w 2889264"/>
              <a:gd name="connsiteY50" fmla="*/ 60325 h 733425"/>
              <a:gd name="connsiteX51" fmla="*/ 1562100 w 2889264"/>
              <a:gd name="connsiteY51" fmla="*/ 69850 h 733425"/>
              <a:gd name="connsiteX52" fmla="*/ 1574800 w 2889264"/>
              <a:gd name="connsiteY52" fmla="*/ 73025 h 733425"/>
              <a:gd name="connsiteX53" fmla="*/ 1590675 w 2889264"/>
              <a:gd name="connsiteY53" fmla="*/ 79375 h 733425"/>
              <a:gd name="connsiteX54" fmla="*/ 1600200 w 2889264"/>
              <a:gd name="connsiteY54" fmla="*/ 85725 h 733425"/>
              <a:gd name="connsiteX55" fmla="*/ 1612900 w 2889264"/>
              <a:gd name="connsiteY55" fmla="*/ 92075 h 733425"/>
              <a:gd name="connsiteX56" fmla="*/ 1625600 w 2889264"/>
              <a:gd name="connsiteY56" fmla="*/ 101600 h 733425"/>
              <a:gd name="connsiteX57" fmla="*/ 1635125 w 2889264"/>
              <a:gd name="connsiteY57" fmla="*/ 104775 h 733425"/>
              <a:gd name="connsiteX58" fmla="*/ 1654175 w 2889264"/>
              <a:gd name="connsiteY58" fmla="*/ 114300 h 733425"/>
              <a:gd name="connsiteX59" fmla="*/ 1676400 w 2889264"/>
              <a:gd name="connsiteY59" fmla="*/ 130175 h 733425"/>
              <a:gd name="connsiteX60" fmla="*/ 1689100 w 2889264"/>
              <a:gd name="connsiteY60" fmla="*/ 136525 h 733425"/>
              <a:gd name="connsiteX61" fmla="*/ 1714500 w 2889264"/>
              <a:gd name="connsiteY61" fmla="*/ 146050 h 733425"/>
              <a:gd name="connsiteX62" fmla="*/ 1727200 w 2889264"/>
              <a:gd name="connsiteY62" fmla="*/ 155575 h 733425"/>
              <a:gd name="connsiteX63" fmla="*/ 1758950 w 2889264"/>
              <a:gd name="connsiteY63" fmla="*/ 165100 h 733425"/>
              <a:gd name="connsiteX64" fmla="*/ 1768475 w 2889264"/>
              <a:gd name="connsiteY64" fmla="*/ 171450 h 733425"/>
              <a:gd name="connsiteX65" fmla="*/ 1781175 w 2889264"/>
              <a:gd name="connsiteY65" fmla="*/ 180975 h 733425"/>
              <a:gd name="connsiteX66" fmla="*/ 1793875 w 2889264"/>
              <a:gd name="connsiteY66" fmla="*/ 187325 h 733425"/>
              <a:gd name="connsiteX67" fmla="*/ 1838325 w 2889264"/>
              <a:gd name="connsiteY67" fmla="*/ 212725 h 733425"/>
              <a:gd name="connsiteX68" fmla="*/ 1847850 w 2889264"/>
              <a:gd name="connsiteY68" fmla="*/ 222250 h 733425"/>
              <a:gd name="connsiteX69" fmla="*/ 1885950 w 2889264"/>
              <a:gd name="connsiteY69" fmla="*/ 241300 h 733425"/>
              <a:gd name="connsiteX70" fmla="*/ 1901825 w 2889264"/>
              <a:gd name="connsiteY70" fmla="*/ 250825 h 733425"/>
              <a:gd name="connsiteX71" fmla="*/ 1933575 w 2889264"/>
              <a:gd name="connsiteY71" fmla="*/ 263525 h 733425"/>
              <a:gd name="connsiteX72" fmla="*/ 1962150 w 2889264"/>
              <a:gd name="connsiteY72" fmla="*/ 276225 h 733425"/>
              <a:gd name="connsiteX73" fmla="*/ 1971675 w 2889264"/>
              <a:gd name="connsiteY73" fmla="*/ 282575 h 733425"/>
              <a:gd name="connsiteX74" fmla="*/ 1987550 w 2889264"/>
              <a:gd name="connsiteY74" fmla="*/ 288925 h 733425"/>
              <a:gd name="connsiteX75" fmla="*/ 2022475 w 2889264"/>
              <a:gd name="connsiteY75" fmla="*/ 301625 h 733425"/>
              <a:gd name="connsiteX76" fmla="*/ 2047875 w 2889264"/>
              <a:gd name="connsiteY76" fmla="*/ 314325 h 733425"/>
              <a:gd name="connsiteX77" fmla="*/ 2063750 w 2889264"/>
              <a:gd name="connsiteY77" fmla="*/ 320675 h 733425"/>
              <a:gd name="connsiteX78" fmla="*/ 2082800 w 2889264"/>
              <a:gd name="connsiteY78" fmla="*/ 330200 h 733425"/>
              <a:gd name="connsiteX79" fmla="*/ 2095500 w 2889264"/>
              <a:gd name="connsiteY79" fmla="*/ 333375 h 733425"/>
              <a:gd name="connsiteX80" fmla="*/ 2124075 w 2889264"/>
              <a:gd name="connsiteY80" fmla="*/ 342900 h 733425"/>
              <a:gd name="connsiteX81" fmla="*/ 2159000 w 2889264"/>
              <a:gd name="connsiteY81" fmla="*/ 358775 h 733425"/>
              <a:gd name="connsiteX82" fmla="*/ 2187575 w 2889264"/>
              <a:gd name="connsiteY82" fmla="*/ 377825 h 733425"/>
              <a:gd name="connsiteX83" fmla="*/ 2209800 w 2889264"/>
              <a:gd name="connsiteY83" fmla="*/ 393700 h 733425"/>
              <a:gd name="connsiteX84" fmla="*/ 2247900 w 2889264"/>
              <a:gd name="connsiteY84" fmla="*/ 419100 h 733425"/>
              <a:gd name="connsiteX85" fmla="*/ 2276475 w 2889264"/>
              <a:gd name="connsiteY85" fmla="*/ 434975 h 733425"/>
              <a:gd name="connsiteX86" fmla="*/ 2289175 w 2889264"/>
              <a:gd name="connsiteY86" fmla="*/ 444500 h 733425"/>
              <a:gd name="connsiteX87" fmla="*/ 2308225 w 2889264"/>
              <a:gd name="connsiteY87" fmla="*/ 447675 h 733425"/>
              <a:gd name="connsiteX88" fmla="*/ 2333625 w 2889264"/>
              <a:gd name="connsiteY88" fmla="*/ 460375 h 733425"/>
              <a:gd name="connsiteX89" fmla="*/ 2352675 w 2889264"/>
              <a:gd name="connsiteY89" fmla="*/ 466725 h 733425"/>
              <a:gd name="connsiteX90" fmla="*/ 2397125 w 2889264"/>
              <a:gd name="connsiteY90" fmla="*/ 488950 h 733425"/>
              <a:gd name="connsiteX91" fmla="*/ 2422525 w 2889264"/>
              <a:gd name="connsiteY91" fmla="*/ 495300 h 733425"/>
              <a:gd name="connsiteX92" fmla="*/ 2432050 w 2889264"/>
              <a:gd name="connsiteY92" fmla="*/ 498475 h 733425"/>
              <a:gd name="connsiteX93" fmla="*/ 2454275 w 2889264"/>
              <a:gd name="connsiteY93" fmla="*/ 511175 h 733425"/>
              <a:gd name="connsiteX94" fmla="*/ 2470150 w 2889264"/>
              <a:gd name="connsiteY94" fmla="*/ 523875 h 733425"/>
              <a:gd name="connsiteX95" fmla="*/ 2495550 w 2889264"/>
              <a:gd name="connsiteY95" fmla="*/ 533400 h 733425"/>
              <a:gd name="connsiteX96" fmla="*/ 2546350 w 2889264"/>
              <a:gd name="connsiteY96" fmla="*/ 558800 h 733425"/>
              <a:gd name="connsiteX97" fmla="*/ 2574925 w 2889264"/>
              <a:gd name="connsiteY97" fmla="*/ 565150 h 733425"/>
              <a:gd name="connsiteX98" fmla="*/ 2600325 w 2889264"/>
              <a:gd name="connsiteY98" fmla="*/ 577850 h 733425"/>
              <a:gd name="connsiteX99" fmla="*/ 2616200 w 2889264"/>
              <a:gd name="connsiteY99" fmla="*/ 581025 h 733425"/>
              <a:gd name="connsiteX100" fmla="*/ 2638425 w 2889264"/>
              <a:gd name="connsiteY100" fmla="*/ 587375 h 733425"/>
              <a:gd name="connsiteX101" fmla="*/ 2654300 w 2889264"/>
              <a:gd name="connsiteY101" fmla="*/ 596900 h 733425"/>
              <a:gd name="connsiteX102" fmla="*/ 2673350 w 2889264"/>
              <a:gd name="connsiteY102" fmla="*/ 603250 h 733425"/>
              <a:gd name="connsiteX103" fmla="*/ 2708275 w 2889264"/>
              <a:gd name="connsiteY103" fmla="*/ 625475 h 733425"/>
              <a:gd name="connsiteX104" fmla="*/ 2730500 w 2889264"/>
              <a:gd name="connsiteY104" fmla="*/ 635000 h 733425"/>
              <a:gd name="connsiteX105" fmla="*/ 2749550 w 2889264"/>
              <a:gd name="connsiteY105" fmla="*/ 650875 h 733425"/>
              <a:gd name="connsiteX106" fmla="*/ 2774950 w 2889264"/>
              <a:gd name="connsiteY106" fmla="*/ 663575 h 733425"/>
              <a:gd name="connsiteX107" fmla="*/ 2803525 w 2889264"/>
              <a:gd name="connsiteY107" fmla="*/ 676275 h 733425"/>
              <a:gd name="connsiteX108" fmla="*/ 2816225 w 2889264"/>
              <a:gd name="connsiteY108" fmla="*/ 685800 h 733425"/>
              <a:gd name="connsiteX109" fmla="*/ 2832100 w 2889264"/>
              <a:gd name="connsiteY109" fmla="*/ 692150 h 733425"/>
              <a:gd name="connsiteX110" fmla="*/ 2876550 w 2889264"/>
              <a:gd name="connsiteY110" fmla="*/ 723900 h 733425"/>
              <a:gd name="connsiteX111" fmla="*/ 2889250 w 2889264"/>
              <a:gd name="connsiteY111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584200 w 2889264"/>
              <a:gd name="connsiteY10" fmla="*/ 441325 h 733425"/>
              <a:gd name="connsiteX11" fmla="*/ 612775 w 2889264"/>
              <a:gd name="connsiteY11" fmla="*/ 428625 h 733425"/>
              <a:gd name="connsiteX12" fmla="*/ 628650 w 2889264"/>
              <a:gd name="connsiteY12" fmla="*/ 422275 h 733425"/>
              <a:gd name="connsiteX13" fmla="*/ 641350 w 2889264"/>
              <a:gd name="connsiteY13" fmla="*/ 415925 h 733425"/>
              <a:gd name="connsiteX14" fmla="*/ 657225 w 2889264"/>
              <a:gd name="connsiteY14" fmla="*/ 406400 h 733425"/>
              <a:gd name="connsiteX15" fmla="*/ 676275 w 2889264"/>
              <a:gd name="connsiteY15" fmla="*/ 400050 h 733425"/>
              <a:gd name="connsiteX16" fmla="*/ 708025 w 2889264"/>
              <a:gd name="connsiteY16" fmla="*/ 381000 h 733425"/>
              <a:gd name="connsiteX17" fmla="*/ 736600 w 2889264"/>
              <a:gd name="connsiteY17" fmla="*/ 368300 h 733425"/>
              <a:gd name="connsiteX18" fmla="*/ 742950 w 2889264"/>
              <a:gd name="connsiteY18" fmla="*/ 358775 h 733425"/>
              <a:gd name="connsiteX19" fmla="*/ 790575 w 2889264"/>
              <a:gd name="connsiteY19" fmla="*/ 339725 h 733425"/>
              <a:gd name="connsiteX20" fmla="*/ 800100 w 2889264"/>
              <a:gd name="connsiteY20" fmla="*/ 336550 h 733425"/>
              <a:gd name="connsiteX21" fmla="*/ 812800 w 2889264"/>
              <a:gd name="connsiteY21" fmla="*/ 330200 h 733425"/>
              <a:gd name="connsiteX22" fmla="*/ 828675 w 2889264"/>
              <a:gd name="connsiteY22" fmla="*/ 327025 h 733425"/>
              <a:gd name="connsiteX23" fmla="*/ 898525 w 2889264"/>
              <a:gd name="connsiteY23" fmla="*/ 288925 h 733425"/>
              <a:gd name="connsiteX24" fmla="*/ 923925 w 2889264"/>
              <a:gd name="connsiteY24" fmla="*/ 269875 h 733425"/>
              <a:gd name="connsiteX25" fmla="*/ 933450 w 2889264"/>
              <a:gd name="connsiteY25" fmla="*/ 260350 h 733425"/>
              <a:gd name="connsiteX26" fmla="*/ 958850 w 2889264"/>
              <a:gd name="connsiteY26" fmla="*/ 247650 h 733425"/>
              <a:gd name="connsiteX27" fmla="*/ 968375 w 2889264"/>
              <a:gd name="connsiteY27" fmla="*/ 241300 h 733425"/>
              <a:gd name="connsiteX28" fmla="*/ 984250 w 2889264"/>
              <a:gd name="connsiteY28" fmla="*/ 234950 h 733425"/>
              <a:gd name="connsiteX29" fmla="*/ 1006475 w 2889264"/>
              <a:gd name="connsiteY29" fmla="*/ 225425 h 733425"/>
              <a:gd name="connsiteX30" fmla="*/ 1050925 w 2889264"/>
              <a:gd name="connsiteY30" fmla="*/ 212725 h 733425"/>
              <a:gd name="connsiteX31" fmla="*/ 1079500 w 2889264"/>
              <a:gd name="connsiteY31" fmla="*/ 200025 h 733425"/>
              <a:gd name="connsiteX32" fmla="*/ 1098550 w 2889264"/>
              <a:gd name="connsiteY32" fmla="*/ 193675 h 733425"/>
              <a:gd name="connsiteX33" fmla="*/ 1111250 w 2889264"/>
              <a:gd name="connsiteY33" fmla="*/ 187325 h 733425"/>
              <a:gd name="connsiteX34" fmla="*/ 1136650 w 2889264"/>
              <a:gd name="connsiteY34" fmla="*/ 177800 h 733425"/>
              <a:gd name="connsiteX35" fmla="*/ 1181100 w 2889264"/>
              <a:gd name="connsiteY35" fmla="*/ 152400 h 733425"/>
              <a:gd name="connsiteX36" fmla="*/ 1203325 w 2889264"/>
              <a:gd name="connsiteY36" fmla="*/ 130175 h 733425"/>
              <a:gd name="connsiteX37" fmla="*/ 1219200 w 2889264"/>
              <a:gd name="connsiteY37" fmla="*/ 117475 h 733425"/>
              <a:gd name="connsiteX38" fmla="*/ 1276350 w 2889264"/>
              <a:gd name="connsiteY38" fmla="*/ 85725 h 733425"/>
              <a:gd name="connsiteX39" fmla="*/ 1289050 w 2889264"/>
              <a:gd name="connsiteY39" fmla="*/ 79375 h 733425"/>
              <a:gd name="connsiteX40" fmla="*/ 1327150 w 2889264"/>
              <a:gd name="connsiteY40" fmla="*/ 66675 h 733425"/>
              <a:gd name="connsiteX41" fmla="*/ 1343025 w 2889264"/>
              <a:gd name="connsiteY41" fmla="*/ 57150 h 733425"/>
              <a:gd name="connsiteX42" fmla="*/ 1355725 w 2889264"/>
              <a:gd name="connsiteY42" fmla="*/ 47625 h 733425"/>
              <a:gd name="connsiteX43" fmla="*/ 1377950 w 2889264"/>
              <a:gd name="connsiteY43" fmla="*/ 38100 h 733425"/>
              <a:gd name="connsiteX44" fmla="*/ 1416050 w 2889264"/>
              <a:gd name="connsiteY44" fmla="*/ 12700 h 733425"/>
              <a:gd name="connsiteX45" fmla="*/ 1428750 w 2889264"/>
              <a:gd name="connsiteY45" fmla="*/ 0 h 733425"/>
              <a:gd name="connsiteX46" fmla="*/ 1470025 w 2889264"/>
              <a:gd name="connsiteY46" fmla="*/ 28575 h 733425"/>
              <a:gd name="connsiteX47" fmla="*/ 1504950 w 2889264"/>
              <a:gd name="connsiteY47" fmla="*/ 41275 h 733425"/>
              <a:gd name="connsiteX48" fmla="*/ 1517650 w 2889264"/>
              <a:gd name="connsiteY48" fmla="*/ 50800 h 733425"/>
              <a:gd name="connsiteX49" fmla="*/ 1549400 w 2889264"/>
              <a:gd name="connsiteY49" fmla="*/ 60325 h 733425"/>
              <a:gd name="connsiteX50" fmla="*/ 1562100 w 2889264"/>
              <a:gd name="connsiteY50" fmla="*/ 69850 h 733425"/>
              <a:gd name="connsiteX51" fmla="*/ 1574800 w 2889264"/>
              <a:gd name="connsiteY51" fmla="*/ 73025 h 733425"/>
              <a:gd name="connsiteX52" fmla="*/ 1590675 w 2889264"/>
              <a:gd name="connsiteY52" fmla="*/ 79375 h 733425"/>
              <a:gd name="connsiteX53" fmla="*/ 1600200 w 2889264"/>
              <a:gd name="connsiteY53" fmla="*/ 85725 h 733425"/>
              <a:gd name="connsiteX54" fmla="*/ 1612900 w 2889264"/>
              <a:gd name="connsiteY54" fmla="*/ 92075 h 733425"/>
              <a:gd name="connsiteX55" fmla="*/ 1625600 w 2889264"/>
              <a:gd name="connsiteY55" fmla="*/ 101600 h 733425"/>
              <a:gd name="connsiteX56" fmla="*/ 1635125 w 2889264"/>
              <a:gd name="connsiteY56" fmla="*/ 104775 h 733425"/>
              <a:gd name="connsiteX57" fmla="*/ 1654175 w 2889264"/>
              <a:gd name="connsiteY57" fmla="*/ 114300 h 733425"/>
              <a:gd name="connsiteX58" fmla="*/ 1676400 w 2889264"/>
              <a:gd name="connsiteY58" fmla="*/ 130175 h 733425"/>
              <a:gd name="connsiteX59" fmla="*/ 1689100 w 2889264"/>
              <a:gd name="connsiteY59" fmla="*/ 136525 h 733425"/>
              <a:gd name="connsiteX60" fmla="*/ 1714500 w 2889264"/>
              <a:gd name="connsiteY60" fmla="*/ 146050 h 733425"/>
              <a:gd name="connsiteX61" fmla="*/ 1727200 w 2889264"/>
              <a:gd name="connsiteY61" fmla="*/ 155575 h 733425"/>
              <a:gd name="connsiteX62" fmla="*/ 1758950 w 2889264"/>
              <a:gd name="connsiteY62" fmla="*/ 165100 h 733425"/>
              <a:gd name="connsiteX63" fmla="*/ 1768475 w 2889264"/>
              <a:gd name="connsiteY63" fmla="*/ 171450 h 733425"/>
              <a:gd name="connsiteX64" fmla="*/ 1781175 w 2889264"/>
              <a:gd name="connsiteY64" fmla="*/ 180975 h 733425"/>
              <a:gd name="connsiteX65" fmla="*/ 1793875 w 2889264"/>
              <a:gd name="connsiteY65" fmla="*/ 187325 h 733425"/>
              <a:gd name="connsiteX66" fmla="*/ 1838325 w 2889264"/>
              <a:gd name="connsiteY66" fmla="*/ 212725 h 733425"/>
              <a:gd name="connsiteX67" fmla="*/ 1847850 w 2889264"/>
              <a:gd name="connsiteY67" fmla="*/ 222250 h 733425"/>
              <a:gd name="connsiteX68" fmla="*/ 1885950 w 2889264"/>
              <a:gd name="connsiteY68" fmla="*/ 241300 h 733425"/>
              <a:gd name="connsiteX69" fmla="*/ 1901825 w 2889264"/>
              <a:gd name="connsiteY69" fmla="*/ 250825 h 733425"/>
              <a:gd name="connsiteX70" fmla="*/ 1933575 w 2889264"/>
              <a:gd name="connsiteY70" fmla="*/ 263525 h 733425"/>
              <a:gd name="connsiteX71" fmla="*/ 1962150 w 2889264"/>
              <a:gd name="connsiteY71" fmla="*/ 276225 h 733425"/>
              <a:gd name="connsiteX72" fmla="*/ 1971675 w 2889264"/>
              <a:gd name="connsiteY72" fmla="*/ 282575 h 733425"/>
              <a:gd name="connsiteX73" fmla="*/ 1987550 w 2889264"/>
              <a:gd name="connsiteY73" fmla="*/ 288925 h 733425"/>
              <a:gd name="connsiteX74" fmla="*/ 2022475 w 2889264"/>
              <a:gd name="connsiteY74" fmla="*/ 301625 h 733425"/>
              <a:gd name="connsiteX75" fmla="*/ 2047875 w 2889264"/>
              <a:gd name="connsiteY75" fmla="*/ 314325 h 733425"/>
              <a:gd name="connsiteX76" fmla="*/ 2063750 w 2889264"/>
              <a:gd name="connsiteY76" fmla="*/ 320675 h 733425"/>
              <a:gd name="connsiteX77" fmla="*/ 2082800 w 2889264"/>
              <a:gd name="connsiteY77" fmla="*/ 330200 h 733425"/>
              <a:gd name="connsiteX78" fmla="*/ 2095500 w 2889264"/>
              <a:gd name="connsiteY78" fmla="*/ 333375 h 733425"/>
              <a:gd name="connsiteX79" fmla="*/ 2124075 w 2889264"/>
              <a:gd name="connsiteY79" fmla="*/ 342900 h 733425"/>
              <a:gd name="connsiteX80" fmla="*/ 2159000 w 2889264"/>
              <a:gd name="connsiteY80" fmla="*/ 358775 h 733425"/>
              <a:gd name="connsiteX81" fmla="*/ 2187575 w 2889264"/>
              <a:gd name="connsiteY81" fmla="*/ 377825 h 733425"/>
              <a:gd name="connsiteX82" fmla="*/ 2209800 w 2889264"/>
              <a:gd name="connsiteY82" fmla="*/ 393700 h 733425"/>
              <a:gd name="connsiteX83" fmla="*/ 2247900 w 2889264"/>
              <a:gd name="connsiteY83" fmla="*/ 419100 h 733425"/>
              <a:gd name="connsiteX84" fmla="*/ 2276475 w 2889264"/>
              <a:gd name="connsiteY84" fmla="*/ 434975 h 733425"/>
              <a:gd name="connsiteX85" fmla="*/ 2289175 w 2889264"/>
              <a:gd name="connsiteY85" fmla="*/ 444500 h 733425"/>
              <a:gd name="connsiteX86" fmla="*/ 2308225 w 2889264"/>
              <a:gd name="connsiteY86" fmla="*/ 447675 h 733425"/>
              <a:gd name="connsiteX87" fmla="*/ 2333625 w 2889264"/>
              <a:gd name="connsiteY87" fmla="*/ 460375 h 733425"/>
              <a:gd name="connsiteX88" fmla="*/ 2352675 w 2889264"/>
              <a:gd name="connsiteY88" fmla="*/ 466725 h 733425"/>
              <a:gd name="connsiteX89" fmla="*/ 2397125 w 2889264"/>
              <a:gd name="connsiteY89" fmla="*/ 488950 h 733425"/>
              <a:gd name="connsiteX90" fmla="*/ 2422525 w 2889264"/>
              <a:gd name="connsiteY90" fmla="*/ 495300 h 733425"/>
              <a:gd name="connsiteX91" fmla="*/ 2432050 w 2889264"/>
              <a:gd name="connsiteY91" fmla="*/ 498475 h 733425"/>
              <a:gd name="connsiteX92" fmla="*/ 2454275 w 2889264"/>
              <a:gd name="connsiteY92" fmla="*/ 511175 h 733425"/>
              <a:gd name="connsiteX93" fmla="*/ 2470150 w 2889264"/>
              <a:gd name="connsiteY93" fmla="*/ 523875 h 733425"/>
              <a:gd name="connsiteX94" fmla="*/ 2495550 w 2889264"/>
              <a:gd name="connsiteY94" fmla="*/ 533400 h 733425"/>
              <a:gd name="connsiteX95" fmla="*/ 2546350 w 2889264"/>
              <a:gd name="connsiteY95" fmla="*/ 558800 h 733425"/>
              <a:gd name="connsiteX96" fmla="*/ 2574925 w 2889264"/>
              <a:gd name="connsiteY96" fmla="*/ 565150 h 733425"/>
              <a:gd name="connsiteX97" fmla="*/ 2600325 w 2889264"/>
              <a:gd name="connsiteY97" fmla="*/ 577850 h 733425"/>
              <a:gd name="connsiteX98" fmla="*/ 2616200 w 2889264"/>
              <a:gd name="connsiteY98" fmla="*/ 581025 h 733425"/>
              <a:gd name="connsiteX99" fmla="*/ 2638425 w 2889264"/>
              <a:gd name="connsiteY99" fmla="*/ 587375 h 733425"/>
              <a:gd name="connsiteX100" fmla="*/ 2654300 w 2889264"/>
              <a:gd name="connsiteY100" fmla="*/ 596900 h 733425"/>
              <a:gd name="connsiteX101" fmla="*/ 2673350 w 2889264"/>
              <a:gd name="connsiteY101" fmla="*/ 603250 h 733425"/>
              <a:gd name="connsiteX102" fmla="*/ 2708275 w 2889264"/>
              <a:gd name="connsiteY102" fmla="*/ 625475 h 733425"/>
              <a:gd name="connsiteX103" fmla="*/ 2730500 w 2889264"/>
              <a:gd name="connsiteY103" fmla="*/ 635000 h 733425"/>
              <a:gd name="connsiteX104" fmla="*/ 2749550 w 2889264"/>
              <a:gd name="connsiteY104" fmla="*/ 650875 h 733425"/>
              <a:gd name="connsiteX105" fmla="*/ 2774950 w 2889264"/>
              <a:gd name="connsiteY105" fmla="*/ 663575 h 733425"/>
              <a:gd name="connsiteX106" fmla="*/ 2803525 w 2889264"/>
              <a:gd name="connsiteY106" fmla="*/ 676275 h 733425"/>
              <a:gd name="connsiteX107" fmla="*/ 2816225 w 2889264"/>
              <a:gd name="connsiteY107" fmla="*/ 685800 h 733425"/>
              <a:gd name="connsiteX108" fmla="*/ 2832100 w 2889264"/>
              <a:gd name="connsiteY108" fmla="*/ 692150 h 733425"/>
              <a:gd name="connsiteX109" fmla="*/ 2876550 w 2889264"/>
              <a:gd name="connsiteY109" fmla="*/ 723900 h 733425"/>
              <a:gd name="connsiteX110" fmla="*/ 2889250 w 2889264"/>
              <a:gd name="connsiteY110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584200 w 2889264"/>
              <a:gd name="connsiteY10" fmla="*/ 441325 h 733425"/>
              <a:gd name="connsiteX11" fmla="*/ 612775 w 2889264"/>
              <a:gd name="connsiteY11" fmla="*/ 428625 h 733425"/>
              <a:gd name="connsiteX12" fmla="*/ 628650 w 2889264"/>
              <a:gd name="connsiteY12" fmla="*/ 422275 h 733425"/>
              <a:gd name="connsiteX13" fmla="*/ 657225 w 2889264"/>
              <a:gd name="connsiteY13" fmla="*/ 406400 h 733425"/>
              <a:gd name="connsiteX14" fmla="*/ 676275 w 2889264"/>
              <a:gd name="connsiteY14" fmla="*/ 400050 h 733425"/>
              <a:gd name="connsiteX15" fmla="*/ 708025 w 2889264"/>
              <a:gd name="connsiteY15" fmla="*/ 381000 h 733425"/>
              <a:gd name="connsiteX16" fmla="*/ 736600 w 2889264"/>
              <a:gd name="connsiteY16" fmla="*/ 368300 h 733425"/>
              <a:gd name="connsiteX17" fmla="*/ 742950 w 2889264"/>
              <a:gd name="connsiteY17" fmla="*/ 358775 h 733425"/>
              <a:gd name="connsiteX18" fmla="*/ 790575 w 2889264"/>
              <a:gd name="connsiteY18" fmla="*/ 339725 h 733425"/>
              <a:gd name="connsiteX19" fmla="*/ 800100 w 2889264"/>
              <a:gd name="connsiteY19" fmla="*/ 336550 h 733425"/>
              <a:gd name="connsiteX20" fmla="*/ 812800 w 2889264"/>
              <a:gd name="connsiteY20" fmla="*/ 330200 h 733425"/>
              <a:gd name="connsiteX21" fmla="*/ 828675 w 2889264"/>
              <a:gd name="connsiteY21" fmla="*/ 327025 h 733425"/>
              <a:gd name="connsiteX22" fmla="*/ 898525 w 2889264"/>
              <a:gd name="connsiteY22" fmla="*/ 288925 h 733425"/>
              <a:gd name="connsiteX23" fmla="*/ 923925 w 2889264"/>
              <a:gd name="connsiteY23" fmla="*/ 269875 h 733425"/>
              <a:gd name="connsiteX24" fmla="*/ 933450 w 2889264"/>
              <a:gd name="connsiteY24" fmla="*/ 260350 h 733425"/>
              <a:gd name="connsiteX25" fmla="*/ 958850 w 2889264"/>
              <a:gd name="connsiteY25" fmla="*/ 247650 h 733425"/>
              <a:gd name="connsiteX26" fmla="*/ 968375 w 2889264"/>
              <a:gd name="connsiteY26" fmla="*/ 241300 h 733425"/>
              <a:gd name="connsiteX27" fmla="*/ 984250 w 2889264"/>
              <a:gd name="connsiteY27" fmla="*/ 234950 h 733425"/>
              <a:gd name="connsiteX28" fmla="*/ 1006475 w 2889264"/>
              <a:gd name="connsiteY28" fmla="*/ 225425 h 733425"/>
              <a:gd name="connsiteX29" fmla="*/ 1050925 w 2889264"/>
              <a:gd name="connsiteY29" fmla="*/ 212725 h 733425"/>
              <a:gd name="connsiteX30" fmla="*/ 1079500 w 2889264"/>
              <a:gd name="connsiteY30" fmla="*/ 200025 h 733425"/>
              <a:gd name="connsiteX31" fmla="*/ 1098550 w 2889264"/>
              <a:gd name="connsiteY31" fmla="*/ 193675 h 733425"/>
              <a:gd name="connsiteX32" fmla="*/ 1111250 w 2889264"/>
              <a:gd name="connsiteY32" fmla="*/ 187325 h 733425"/>
              <a:gd name="connsiteX33" fmla="*/ 1136650 w 2889264"/>
              <a:gd name="connsiteY33" fmla="*/ 177800 h 733425"/>
              <a:gd name="connsiteX34" fmla="*/ 1181100 w 2889264"/>
              <a:gd name="connsiteY34" fmla="*/ 152400 h 733425"/>
              <a:gd name="connsiteX35" fmla="*/ 1203325 w 2889264"/>
              <a:gd name="connsiteY35" fmla="*/ 130175 h 733425"/>
              <a:gd name="connsiteX36" fmla="*/ 1219200 w 2889264"/>
              <a:gd name="connsiteY36" fmla="*/ 117475 h 733425"/>
              <a:gd name="connsiteX37" fmla="*/ 1276350 w 2889264"/>
              <a:gd name="connsiteY37" fmla="*/ 85725 h 733425"/>
              <a:gd name="connsiteX38" fmla="*/ 1289050 w 2889264"/>
              <a:gd name="connsiteY38" fmla="*/ 79375 h 733425"/>
              <a:gd name="connsiteX39" fmla="*/ 1327150 w 2889264"/>
              <a:gd name="connsiteY39" fmla="*/ 66675 h 733425"/>
              <a:gd name="connsiteX40" fmla="*/ 1343025 w 2889264"/>
              <a:gd name="connsiteY40" fmla="*/ 57150 h 733425"/>
              <a:gd name="connsiteX41" fmla="*/ 1355725 w 2889264"/>
              <a:gd name="connsiteY41" fmla="*/ 47625 h 733425"/>
              <a:gd name="connsiteX42" fmla="*/ 1377950 w 2889264"/>
              <a:gd name="connsiteY42" fmla="*/ 38100 h 733425"/>
              <a:gd name="connsiteX43" fmla="*/ 1416050 w 2889264"/>
              <a:gd name="connsiteY43" fmla="*/ 12700 h 733425"/>
              <a:gd name="connsiteX44" fmla="*/ 1428750 w 2889264"/>
              <a:gd name="connsiteY44" fmla="*/ 0 h 733425"/>
              <a:gd name="connsiteX45" fmla="*/ 1470025 w 2889264"/>
              <a:gd name="connsiteY45" fmla="*/ 28575 h 733425"/>
              <a:gd name="connsiteX46" fmla="*/ 1504950 w 2889264"/>
              <a:gd name="connsiteY46" fmla="*/ 41275 h 733425"/>
              <a:gd name="connsiteX47" fmla="*/ 1517650 w 2889264"/>
              <a:gd name="connsiteY47" fmla="*/ 50800 h 733425"/>
              <a:gd name="connsiteX48" fmla="*/ 1549400 w 2889264"/>
              <a:gd name="connsiteY48" fmla="*/ 60325 h 733425"/>
              <a:gd name="connsiteX49" fmla="*/ 1562100 w 2889264"/>
              <a:gd name="connsiteY49" fmla="*/ 69850 h 733425"/>
              <a:gd name="connsiteX50" fmla="*/ 1574800 w 2889264"/>
              <a:gd name="connsiteY50" fmla="*/ 73025 h 733425"/>
              <a:gd name="connsiteX51" fmla="*/ 1590675 w 2889264"/>
              <a:gd name="connsiteY51" fmla="*/ 79375 h 733425"/>
              <a:gd name="connsiteX52" fmla="*/ 1600200 w 2889264"/>
              <a:gd name="connsiteY52" fmla="*/ 85725 h 733425"/>
              <a:gd name="connsiteX53" fmla="*/ 1612900 w 2889264"/>
              <a:gd name="connsiteY53" fmla="*/ 92075 h 733425"/>
              <a:gd name="connsiteX54" fmla="*/ 1625600 w 2889264"/>
              <a:gd name="connsiteY54" fmla="*/ 101600 h 733425"/>
              <a:gd name="connsiteX55" fmla="*/ 1635125 w 2889264"/>
              <a:gd name="connsiteY55" fmla="*/ 104775 h 733425"/>
              <a:gd name="connsiteX56" fmla="*/ 1654175 w 2889264"/>
              <a:gd name="connsiteY56" fmla="*/ 114300 h 733425"/>
              <a:gd name="connsiteX57" fmla="*/ 1676400 w 2889264"/>
              <a:gd name="connsiteY57" fmla="*/ 130175 h 733425"/>
              <a:gd name="connsiteX58" fmla="*/ 1689100 w 2889264"/>
              <a:gd name="connsiteY58" fmla="*/ 136525 h 733425"/>
              <a:gd name="connsiteX59" fmla="*/ 1714500 w 2889264"/>
              <a:gd name="connsiteY59" fmla="*/ 146050 h 733425"/>
              <a:gd name="connsiteX60" fmla="*/ 1727200 w 2889264"/>
              <a:gd name="connsiteY60" fmla="*/ 155575 h 733425"/>
              <a:gd name="connsiteX61" fmla="*/ 1758950 w 2889264"/>
              <a:gd name="connsiteY61" fmla="*/ 165100 h 733425"/>
              <a:gd name="connsiteX62" fmla="*/ 1768475 w 2889264"/>
              <a:gd name="connsiteY62" fmla="*/ 171450 h 733425"/>
              <a:gd name="connsiteX63" fmla="*/ 1781175 w 2889264"/>
              <a:gd name="connsiteY63" fmla="*/ 180975 h 733425"/>
              <a:gd name="connsiteX64" fmla="*/ 1793875 w 2889264"/>
              <a:gd name="connsiteY64" fmla="*/ 187325 h 733425"/>
              <a:gd name="connsiteX65" fmla="*/ 1838325 w 2889264"/>
              <a:gd name="connsiteY65" fmla="*/ 212725 h 733425"/>
              <a:gd name="connsiteX66" fmla="*/ 1847850 w 2889264"/>
              <a:gd name="connsiteY66" fmla="*/ 222250 h 733425"/>
              <a:gd name="connsiteX67" fmla="*/ 1885950 w 2889264"/>
              <a:gd name="connsiteY67" fmla="*/ 241300 h 733425"/>
              <a:gd name="connsiteX68" fmla="*/ 1901825 w 2889264"/>
              <a:gd name="connsiteY68" fmla="*/ 250825 h 733425"/>
              <a:gd name="connsiteX69" fmla="*/ 1933575 w 2889264"/>
              <a:gd name="connsiteY69" fmla="*/ 263525 h 733425"/>
              <a:gd name="connsiteX70" fmla="*/ 1962150 w 2889264"/>
              <a:gd name="connsiteY70" fmla="*/ 276225 h 733425"/>
              <a:gd name="connsiteX71" fmla="*/ 1971675 w 2889264"/>
              <a:gd name="connsiteY71" fmla="*/ 282575 h 733425"/>
              <a:gd name="connsiteX72" fmla="*/ 1987550 w 2889264"/>
              <a:gd name="connsiteY72" fmla="*/ 288925 h 733425"/>
              <a:gd name="connsiteX73" fmla="*/ 2022475 w 2889264"/>
              <a:gd name="connsiteY73" fmla="*/ 301625 h 733425"/>
              <a:gd name="connsiteX74" fmla="*/ 2047875 w 2889264"/>
              <a:gd name="connsiteY74" fmla="*/ 314325 h 733425"/>
              <a:gd name="connsiteX75" fmla="*/ 2063750 w 2889264"/>
              <a:gd name="connsiteY75" fmla="*/ 320675 h 733425"/>
              <a:gd name="connsiteX76" fmla="*/ 2082800 w 2889264"/>
              <a:gd name="connsiteY76" fmla="*/ 330200 h 733425"/>
              <a:gd name="connsiteX77" fmla="*/ 2095500 w 2889264"/>
              <a:gd name="connsiteY77" fmla="*/ 333375 h 733425"/>
              <a:gd name="connsiteX78" fmla="*/ 2124075 w 2889264"/>
              <a:gd name="connsiteY78" fmla="*/ 342900 h 733425"/>
              <a:gd name="connsiteX79" fmla="*/ 2159000 w 2889264"/>
              <a:gd name="connsiteY79" fmla="*/ 358775 h 733425"/>
              <a:gd name="connsiteX80" fmla="*/ 2187575 w 2889264"/>
              <a:gd name="connsiteY80" fmla="*/ 377825 h 733425"/>
              <a:gd name="connsiteX81" fmla="*/ 2209800 w 2889264"/>
              <a:gd name="connsiteY81" fmla="*/ 393700 h 733425"/>
              <a:gd name="connsiteX82" fmla="*/ 2247900 w 2889264"/>
              <a:gd name="connsiteY82" fmla="*/ 419100 h 733425"/>
              <a:gd name="connsiteX83" fmla="*/ 2276475 w 2889264"/>
              <a:gd name="connsiteY83" fmla="*/ 434975 h 733425"/>
              <a:gd name="connsiteX84" fmla="*/ 2289175 w 2889264"/>
              <a:gd name="connsiteY84" fmla="*/ 444500 h 733425"/>
              <a:gd name="connsiteX85" fmla="*/ 2308225 w 2889264"/>
              <a:gd name="connsiteY85" fmla="*/ 447675 h 733425"/>
              <a:gd name="connsiteX86" fmla="*/ 2333625 w 2889264"/>
              <a:gd name="connsiteY86" fmla="*/ 460375 h 733425"/>
              <a:gd name="connsiteX87" fmla="*/ 2352675 w 2889264"/>
              <a:gd name="connsiteY87" fmla="*/ 466725 h 733425"/>
              <a:gd name="connsiteX88" fmla="*/ 2397125 w 2889264"/>
              <a:gd name="connsiteY88" fmla="*/ 488950 h 733425"/>
              <a:gd name="connsiteX89" fmla="*/ 2422525 w 2889264"/>
              <a:gd name="connsiteY89" fmla="*/ 495300 h 733425"/>
              <a:gd name="connsiteX90" fmla="*/ 2432050 w 2889264"/>
              <a:gd name="connsiteY90" fmla="*/ 498475 h 733425"/>
              <a:gd name="connsiteX91" fmla="*/ 2454275 w 2889264"/>
              <a:gd name="connsiteY91" fmla="*/ 511175 h 733425"/>
              <a:gd name="connsiteX92" fmla="*/ 2470150 w 2889264"/>
              <a:gd name="connsiteY92" fmla="*/ 523875 h 733425"/>
              <a:gd name="connsiteX93" fmla="*/ 2495550 w 2889264"/>
              <a:gd name="connsiteY93" fmla="*/ 533400 h 733425"/>
              <a:gd name="connsiteX94" fmla="*/ 2546350 w 2889264"/>
              <a:gd name="connsiteY94" fmla="*/ 558800 h 733425"/>
              <a:gd name="connsiteX95" fmla="*/ 2574925 w 2889264"/>
              <a:gd name="connsiteY95" fmla="*/ 565150 h 733425"/>
              <a:gd name="connsiteX96" fmla="*/ 2600325 w 2889264"/>
              <a:gd name="connsiteY96" fmla="*/ 577850 h 733425"/>
              <a:gd name="connsiteX97" fmla="*/ 2616200 w 2889264"/>
              <a:gd name="connsiteY97" fmla="*/ 581025 h 733425"/>
              <a:gd name="connsiteX98" fmla="*/ 2638425 w 2889264"/>
              <a:gd name="connsiteY98" fmla="*/ 587375 h 733425"/>
              <a:gd name="connsiteX99" fmla="*/ 2654300 w 2889264"/>
              <a:gd name="connsiteY99" fmla="*/ 596900 h 733425"/>
              <a:gd name="connsiteX100" fmla="*/ 2673350 w 2889264"/>
              <a:gd name="connsiteY100" fmla="*/ 603250 h 733425"/>
              <a:gd name="connsiteX101" fmla="*/ 2708275 w 2889264"/>
              <a:gd name="connsiteY101" fmla="*/ 625475 h 733425"/>
              <a:gd name="connsiteX102" fmla="*/ 2730500 w 2889264"/>
              <a:gd name="connsiteY102" fmla="*/ 635000 h 733425"/>
              <a:gd name="connsiteX103" fmla="*/ 2749550 w 2889264"/>
              <a:gd name="connsiteY103" fmla="*/ 650875 h 733425"/>
              <a:gd name="connsiteX104" fmla="*/ 2774950 w 2889264"/>
              <a:gd name="connsiteY104" fmla="*/ 663575 h 733425"/>
              <a:gd name="connsiteX105" fmla="*/ 2803525 w 2889264"/>
              <a:gd name="connsiteY105" fmla="*/ 676275 h 733425"/>
              <a:gd name="connsiteX106" fmla="*/ 2816225 w 2889264"/>
              <a:gd name="connsiteY106" fmla="*/ 685800 h 733425"/>
              <a:gd name="connsiteX107" fmla="*/ 2832100 w 2889264"/>
              <a:gd name="connsiteY107" fmla="*/ 692150 h 733425"/>
              <a:gd name="connsiteX108" fmla="*/ 2876550 w 2889264"/>
              <a:gd name="connsiteY108" fmla="*/ 723900 h 733425"/>
              <a:gd name="connsiteX109" fmla="*/ 2889250 w 2889264"/>
              <a:gd name="connsiteY109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584200 w 2889264"/>
              <a:gd name="connsiteY10" fmla="*/ 441325 h 733425"/>
              <a:gd name="connsiteX11" fmla="*/ 612775 w 2889264"/>
              <a:gd name="connsiteY11" fmla="*/ 428625 h 733425"/>
              <a:gd name="connsiteX12" fmla="*/ 628650 w 2889264"/>
              <a:gd name="connsiteY12" fmla="*/ 422275 h 733425"/>
              <a:gd name="connsiteX13" fmla="*/ 657225 w 2889264"/>
              <a:gd name="connsiteY13" fmla="*/ 406400 h 733425"/>
              <a:gd name="connsiteX14" fmla="*/ 708025 w 2889264"/>
              <a:gd name="connsiteY14" fmla="*/ 381000 h 733425"/>
              <a:gd name="connsiteX15" fmla="*/ 736600 w 2889264"/>
              <a:gd name="connsiteY15" fmla="*/ 368300 h 733425"/>
              <a:gd name="connsiteX16" fmla="*/ 742950 w 2889264"/>
              <a:gd name="connsiteY16" fmla="*/ 358775 h 733425"/>
              <a:gd name="connsiteX17" fmla="*/ 790575 w 2889264"/>
              <a:gd name="connsiteY17" fmla="*/ 339725 h 733425"/>
              <a:gd name="connsiteX18" fmla="*/ 800100 w 2889264"/>
              <a:gd name="connsiteY18" fmla="*/ 336550 h 733425"/>
              <a:gd name="connsiteX19" fmla="*/ 812800 w 2889264"/>
              <a:gd name="connsiteY19" fmla="*/ 330200 h 733425"/>
              <a:gd name="connsiteX20" fmla="*/ 828675 w 2889264"/>
              <a:gd name="connsiteY20" fmla="*/ 327025 h 733425"/>
              <a:gd name="connsiteX21" fmla="*/ 898525 w 2889264"/>
              <a:gd name="connsiteY21" fmla="*/ 288925 h 733425"/>
              <a:gd name="connsiteX22" fmla="*/ 923925 w 2889264"/>
              <a:gd name="connsiteY22" fmla="*/ 269875 h 733425"/>
              <a:gd name="connsiteX23" fmla="*/ 933450 w 2889264"/>
              <a:gd name="connsiteY23" fmla="*/ 260350 h 733425"/>
              <a:gd name="connsiteX24" fmla="*/ 958850 w 2889264"/>
              <a:gd name="connsiteY24" fmla="*/ 247650 h 733425"/>
              <a:gd name="connsiteX25" fmla="*/ 968375 w 2889264"/>
              <a:gd name="connsiteY25" fmla="*/ 241300 h 733425"/>
              <a:gd name="connsiteX26" fmla="*/ 984250 w 2889264"/>
              <a:gd name="connsiteY26" fmla="*/ 234950 h 733425"/>
              <a:gd name="connsiteX27" fmla="*/ 1006475 w 2889264"/>
              <a:gd name="connsiteY27" fmla="*/ 225425 h 733425"/>
              <a:gd name="connsiteX28" fmla="*/ 1050925 w 2889264"/>
              <a:gd name="connsiteY28" fmla="*/ 212725 h 733425"/>
              <a:gd name="connsiteX29" fmla="*/ 1079500 w 2889264"/>
              <a:gd name="connsiteY29" fmla="*/ 200025 h 733425"/>
              <a:gd name="connsiteX30" fmla="*/ 1098550 w 2889264"/>
              <a:gd name="connsiteY30" fmla="*/ 193675 h 733425"/>
              <a:gd name="connsiteX31" fmla="*/ 1111250 w 2889264"/>
              <a:gd name="connsiteY31" fmla="*/ 187325 h 733425"/>
              <a:gd name="connsiteX32" fmla="*/ 1136650 w 2889264"/>
              <a:gd name="connsiteY32" fmla="*/ 177800 h 733425"/>
              <a:gd name="connsiteX33" fmla="*/ 1181100 w 2889264"/>
              <a:gd name="connsiteY33" fmla="*/ 152400 h 733425"/>
              <a:gd name="connsiteX34" fmla="*/ 1203325 w 2889264"/>
              <a:gd name="connsiteY34" fmla="*/ 130175 h 733425"/>
              <a:gd name="connsiteX35" fmla="*/ 1219200 w 2889264"/>
              <a:gd name="connsiteY35" fmla="*/ 117475 h 733425"/>
              <a:gd name="connsiteX36" fmla="*/ 1276350 w 2889264"/>
              <a:gd name="connsiteY36" fmla="*/ 85725 h 733425"/>
              <a:gd name="connsiteX37" fmla="*/ 1289050 w 2889264"/>
              <a:gd name="connsiteY37" fmla="*/ 79375 h 733425"/>
              <a:gd name="connsiteX38" fmla="*/ 1327150 w 2889264"/>
              <a:gd name="connsiteY38" fmla="*/ 66675 h 733425"/>
              <a:gd name="connsiteX39" fmla="*/ 1343025 w 2889264"/>
              <a:gd name="connsiteY39" fmla="*/ 57150 h 733425"/>
              <a:gd name="connsiteX40" fmla="*/ 1355725 w 2889264"/>
              <a:gd name="connsiteY40" fmla="*/ 47625 h 733425"/>
              <a:gd name="connsiteX41" fmla="*/ 1377950 w 2889264"/>
              <a:gd name="connsiteY41" fmla="*/ 38100 h 733425"/>
              <a:gd name="connsiteX42" fmla="*/ 1416050 w 2889264"/>
              <a:gd name="connsiteY42" fmla="*/ 12700 h 733425"/>
              <a:gd name="connsiteX43" fmla="*/ 1428750 w 2889264"/>
              <a:gd name="connsiteY43" fmla="*/ 0 h 733425"/>
              <a:gd name="connsiteX44" fmla="*/ 1470025 w 2889264"/>
              <a:gd name="connsiteY44" fmla="*/ 28575 h 733425"/>
              <a:gd name="connsiteX45" fmla="*/ 1504950 w 2889264"/>
              <a:gd name="connsiteY45" fmla="*/ 41275 h 733425"/>
              <a:gd name="connsiteX46" fmla="*/ 1517650 w 2889264"/>
              <a:gd name="connsiteY46" fmla="*/ 50800 h 733425"/>
              <a:gd name="connsiteX47" fmla="*/ 1549400 w 2889264"/>
              <a:gd name="connsiteY47" fmla="*/ 60325 h 733425"/>
              <a:gd name="connsiteX48" fmla="*/ 1562100 w 2889264"/>
              <a:gd name="connsiteY48" fmla="*/ 69850 h 733425"/>
              <a:gd name="connsiteX49" fmla="*/ 1574800 w 2889264"/>
              <a:gd name="connsiteY49" fmla="*/ 73025 h 733425"/>
              <a:gd name="connsiteX50" fmla="*/ 1590675 w 2889264"/>
              <a:gd name="connsiteY50" fmla="*/ 79375 h 733425"/>
              <a:gd name="connsiteX51" fmla="*/ 1600200 w 2889264"/>
              <a:gd name="connsiteY51" fmla="*/ 85725 h 733425"/>
              <a:gd name="connsiteX52" fmla="*/ 1612900 w 2889264"/>
              <a:gd name="connsiteY52" fmla="*/ 92075 h 733425"/>
              <a:gd name="connsiteX53" fmla="*/ 1625600 w 2889264"/>
              <a:gd name="connsiteY53" fmla="*/ 101600 h 733425"/>
              <a:gd name="connsiteX54" fmla="*/ 1635125 w 2889264"/>
              <a:gd name="connsiteY54" fmla="*/ 104775 h 733425"/>
              <a:gd name="connsiteX55" fmla="*/ 1654175 w 2889264"/>
              <a:gd name="connsiteY55" fmla="*/ 114300 h 733425"/>
              <a:gd name="connsiteX56" fmla="*/ 1676400 w 2889264"/>
              <a:gd name="connsiteY56" fmla="*/ 130175 h 733425"/>
              <a:gd name="connsiteX57" fmla="*/ 1689100 w 2889264"/>
              <a:gd name="connsiteY57" fmla="*/ 136525 h 733425"/>
              <a:gd name="connsiteX58" fmla="*/ 1714500 w 2889264"/>
              <a:gd name="connsiteY58" fmla="*/ 146050 h 733425"/>
              <a:gd name="connsiteX59" fmla="*/ 1727200 w 2889264"/>
              <a:gd name="connsiteY59" fmla="*/ 155575 h 733425"/>
              <a:gd name="connsiteX60" fmla="*/ 1758950 w 2889264"/>
              <a:gd name="connsiteY60" fmla="*/ 165100 h 733425"/>
              <a:gd name="connsiteX61" fmla="*/ 1768475 w 2889264"/>
              <a:gd name="connsiteY61" fmla="*/ 171450 h 733425"/>
              <a:gd name="connsiteX62" fmla="*/ 1781175 w 2889264"/>
              <a:gd name="connsiteY62" fmla="*/ 180975 h 733425"/>
              <a:gd name="connsiteX63" fmla="*/ 1793875 w 2889264"/>
              <a:gd name="connsiteY63" fmla="*/ 187325 h 733425"/>
              <a:gd name="connsiteX64" fmla="*/ 1838325 w 2889264"/>
              <a:gd name="connsiteY64" fmla="*/ 212725 h 733425"/>
              <a:gd name="connsiteX65" fmla="*/ 1847850 w 2889264"/>
              <a:gd name="connsiteY65" fmla="*/ 222250 h 733425"/>
              <a:gd name="connsiteX66" fmla="*/ 1885950 w 2889264"/>
              <a:gd name="connsiteY66" fmla="*/ 241300 h 733425"/>
              <a:gd name="connsiteX67" fmla="*/ 1901825 w 2889264"/>
              <a:gd name="connsiteY67" fmla="*/ 250825 h 733425"/>
              <a:gd name="connsiteX68" fmla="*/ 1933575 w 2889264"/>
              <a:gd name="connsiteY68" fmla="*/ 263525 h 733425"/>
              <a:gd name="connsiteX69" fmla="*/ 1962150 w 2889264"/>
              <a:gd name="connsiteY69" fmla="*/ 276225 h 733425"/>
              <a:gd name="connsiteX70" fmla="*/ 1971675 w 2889264"/>
              <a:gd name="connsiteY70" fmla="*/ 282575 h 733425"/>
              <a:gd name="connsiteX71" fmla="*/ 1987550 w 2889264"/>
              <a:gd name="connsiteY71" fmla="*/ 288925 h 733425"/>
              <a:gd name="connsiteX72" fmla="*/ 2022475 w 2889264"/>
              <a:gd name="connsiteY72" fmla="*/ 301625 h 733425"/>
              <a:gd name="connsiteX73" fmla="*/ 2047875 w 2889264"/>
              <a:gd name="connsiteY73" fmla="*/ 314325 h 733425"/>
              <a:gd name="connsiteX74" fmla="*/ 2063750 w 2889264"/>
              <a:gd name="connsiteY74" fmla="*/ 320675 h 733425"/>
              <a:gd name="connsiteX75" fmla="*/ 2082800 w 2889264"/>
              <a:gd name="connsiteY75" fmla="*/ 330200 h 733425"/>
              <a:gd name="connsiteX76" fmla="*/ 2095500 w 2889264"/>
              <a:gd name="connsiteY76" fmla="*/ 333375 h 733425"/>
              <a:gd name="connsiteX77" fmla="*/ 2124075 w 2889264"/>
              <a:gd name="connsiteY77" fmla="*/ 342900 h 733425"/>
              <a:gd name="connsiteX78" fmla="*/ 2159000 w 2889264"/>
              <a:gd name="connsiteY78" fmla="*/ 358775 h 733425"/>
              <a:gd name="connsiteX79" fmla="*/ 2187575 w 2889264"/>
              <a:gd name="connsiteY79" fmla="*/ 377825 h 733425"/>
              <a:gd name="connsiteX80" fmla="*/ 2209800 w 2889264"/>
              <a:gd name="connsiteY80" fmla="*/ 393700 h 733425"/>
              <a:gd name="connsiteX81" fmla="*/ 2247900 w 2889264"/>
              <a:gd name="connsiteY81" fmla="*/ 419100 h 733425"/>
              <a:gd name="connsiteX82" fmla="*/ 2276475 w 2889264"/>
              <a:gd name="connsiteY82" fmla="*/ 434975 h 733425"/>
              <a:gd name="connsiteX83" fmla="*/ 2289175 w 2889264"/>
              <a:gd name="connsiteY83" fmla="*/ 444500 h 733425"/>
              <a:gd name="connsiteX84" fmla="*/ 2308225 w 2889264"/>
              <a:gd name="connsiteY84" fmla="*/ 447675 h 733425"/>
              <a:gd name="connsiteX85" fmla="*/ 2333625 w 2889264"/>
              <a:gd name="connsiteY85" fmla="*/ 460375 h 733425"/>
              <a:gd name="connsiteX86" fmla="*/ 2352675 w 2889264"/>
              <a:gd name="connsiteY86" fmla="*/ 466725 h 733425"/>
              <a:gd name="connsiteX87" fmla="*/ 2397125 w 2889264"/>
              <a:gd name="connsiteY87" fmla="*/ 488950 h 733425"/>
              <a:gd name="connsiteX88" fmla="*/ 2422525 w 2889264"/>
              <a:gd name="connsiteY88" fmla="*/ 495300 h 733425"/>
              <a:gd name="connsiteX89" fmla="*/ 2432050 w 2889264"/>
              <a:gd name="connsiteY89" fmla="*/ 498475 h 733425"/>
              <a:gd name="connsiteX90" fmla="*/ 2454275 w 2889264"/>
              <a:gd name="connsiteY90" fmla="*/ 511175 h 733425"/>
              <a:gd name="connsiteX91" fmla="*/ 2470150 w 2889264"/>
              <a:gd name="connsiteY91" fmla="*/ 523875 h 733425"/>
              <a:gd name="connsiteX92" fmla="*/ 2495550 w 2889264"/>
              <a:gd name="connsiteY92" fmla="*/ 533400 h 733425"/>
              <a:gd name="connsiteX93" fmla="*/ 2546350 w 2889264"/>
              <a:gd name="connsiteY93" fmla="*/ 558800 h 733425"/>
              <a:gd name="connsiteX94" fmla="*/ 2574925 w 2889264"/>
              <a:gd name="connsiteY94" fmla="*/ 565150 h 733425"/>
              <a:gd name="connsiteX95" fmla="*/ 2600325 w 2889264"/>
              <a:gd name="connsiteY95" fmla="*/ 577850 h 733425"/>
              <a:gd name="connsiteX96" fmla="*/ 2616200 w 2889264"/>
              <a:gd name="connsiteY96" fmla="*/ 581025 h 733425"/>
              <a:gd name="connsiteX97" fmla="*/ 2638425 w 2889264"/>
              <a:gd name="connsiteY97" fmla="*/ 587375 h 733425"/>
              <a:gd name="connsiteX98" fmla="*/ 2654300 w 2889264"/>
              <a:gd name="connsiteY98" fmla="*/ 596900 h 733425"/>
              <a:gd name="connsiteX99" fmla="*/ 2673350 w 2889264"/>
              <a:gd name="connsiteY99" fmla="*/ 603250 h 733425"/>
              <a:gd name="connsiteX100" fmla="*/ 2708275 w 2889264"/>
              <a:gd name="connsiteY100" fmla="*/ 625475 h 733425"/>
              <a:gd name="connsiteX101" fmla="*/ 2730500 w 2889264"/>
              <a:gd name="connsiteY101" fmla="*/ 635000 h 733425"/>
              <a:gd name="connsiteX102" fmla="*/ 2749550 w 2889264"/>
              <a:gd name="connsiteY102" fmla="*/ 650875 h 733425"/>
              <a:gd name="connsiteX103" fmla="*/ 2774950 w 2889264"/>
              <a:gd name="connsiteY103" fmla="*/ 663575 h 733425"/>
              <a:gd name="connsiteX104" fmla="*/ 2803525 w 2889264"/>
              <a:gd name="connsiteY104" fmla="*/ 676275 h 733425"/>
              <a:gd name="connsiteX105" fmla="*/ 2816225 w 2889264"/>
              <a:gd name="connsiteY105" fmla="*/ 685800 h 733425"/>
              <a:gd name="connsiteX106" fmla="*/ 2832100 w 2889264"/>
              <a:gd name="connsiteY106" fmla="*/ 692150 h 733425"/>
              <a:gd name="connsiteX107" fmla="*/ 2876550 w 2889264"/>
              <a:gd name="connsiteY107" fmla="*/ 723900 h 733425"/>
              <a:gd name="connsiteX108" fmla="*/ 2889250 w 2889264"/>
              <a:gd name="connsiteY108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584200 w 2889264"/>
              <a:gd name="connsiteY10" fmla="*/ 441325 h 733425"/>
              <a:gd name="connsiteX11" fmla="*/ 612775 w 2889264"/>
              <a:gd name="connsiteY11" fmla="*/ 428625 h 733425"/>
              <a:gd name="connsiteX12" fmla="*/ 628650 w 2889264"/>
              <a:gd name="connsiteY12" fmla="*/ 422275 h 733425"/>
              <a:gd name="connsiteX13" fmla="*/ 657225 w 2889264"/>
              <a:gd name="connsiteY13" fmla="*/ 406400 h 733425"/>
              <a:gd name="connsiteX14" fmla="*/ 736600 w 2889264"/>
              <a:gd name="connsiteY14" fmla="*/ 368300 h 733425"/>
              <a:gd name="connsiteX15" fmla="*/ 742950 w 2889264"/>
              <a:gd name="connsiteY15" fmla="*/ 358775 h 733425"/>
              <a:gd name="connsiteX16" fmla="*/ 790575 w 2889264"/>
              <a:gd name="connsiteY16" fmla="*/ 339725 h 733425"/>
              <a:gd name="connsiteX17" fmla="*/ 800100 w 2889264"/>
              <a:gd name="connsiteY17" fmla="*/ 336550 h 733425"/>
              <a:gd name="connsiteX18" fmla="*/ 812800 w 2889264"/>
              <a:gd name="connsiteY18" fmla="*/ 330200 h 733425"/>
              <a:gd name="connsiteX19" fmla="*/ 828675 w 2889264"/>
              <a:gd name="connsiteY19" fmla="*/ 327025 h 733425"/>
              <a:gd name="connsiteX20" fmla="*/ 898525 w 2889264"/>
              <a:gd name="connsiteY20" fmla="*/ 288925 h 733425"/>
              <a:gd name="connsiteX21" fmla="*/ 923925 w 2889264"/>
              <a:gd name="connsiteY21" fmla="*/ 269875 h 733425"/>
              <a:gd name="connsiteX22" fmla="*/ 933450 w 2889264"/>
              <a:gd name="connsiteY22" fmla="*/ 260350 h 733425"/>
              <a:gd name="connsiteX23" fmla="*/ 958850 w 2889264"/>
              <a:gd name="connsiteY23" fmla="*/ 247650 h 733425"/>
              <a:gd name="connsiteX24" fmla="*/ 968375 w 2889264"/>
              <a:gd name="connsiteY24" fmla="*/ 241300 h 733425"/>
              <a:gd name="connsiteX25" fmla="*/ 984250 w 2889264"/>
              <a:gd name="connsiteY25" fmla="*/ 234950 h 733425"/>
              <a:gd name="connsiteX26" fmla="*/ 1006475 w 2889264"/>
              <a:gd name="connsiteY26" fmla="*/ 225425 h 733425"/>
              <a:gd name="connsiteX27" fmla="*/ 1050925 w 2889264"/>
              <a:gd name="connsiteY27" fmla="*/ 212725 h 733425"/>
              <a:gd name="connsiteX28" fmla="*/ 1079500 w 2889264"/>
              <a:gd name="connsiteY28" fmla="*/ 200025 h 733425"/>
              <a:gd name="connsiteX29" fmla="*/ 1098550 w 2889264"/>
              <a:gd name="connsiteY29" fmla="*/ 193675 h 733425"/>
              <a:gd name="connsiteX30" fmla="*/ 1111250 w 2889264"/>
              <a:gd name="connsiteY30" fmla="*/ 187325 h 733425"/>
              <a:gd name="connsiteX31" fmla="*/ 1136650 w 2889264"/>
              <a:gd name="connsiteY31" fmla="*/ 177800 h 733425"/>
              <a:gd name="connsiteX32" fmla="*/ 1181100 w 2889264"/>
              <a:gd name="connsiteY32" fmla="*/ 152400 h 733425"/>
              <a:gd name="connsiteX33" fmla="*/ 1203325 w 2889264"/>
              <a:gd name="connsiteY33" fmla="*/ 130175 h 733425"/>
              <a:gd name="connsiteX34" fmla="*/ 1219200 w 2889264"/>
              <a:gd name="connsiteY34" fmla="*/ 117475 h 733425"/>
              <a:gd name="connsiteX35" fmla="*/ 1276350 w 2889264"/>
              <a:gd name="connsiteY35" fmla="*/ 85725 h 733425"/>
              <a:gd name="connsiteX36" fmla="*/ 1289050 w 2889264"/>
              <a:gd name="connsiteY36" fmla="*/ 79375 h 733425"/>
              <a:gd name="connsiteX37" fmla="*/ 1327150 w 2889264"/>
              <a:gd name="connsiteY37" fmla="*/ 66675 h 733425"/>
              <a:gd name="connsiteX38" fmla="*/ 1343025 w 2889264"/>
              <a:gd name="connsiteY38" fmla="*/ 57150 h 733425"/>
              <a:gd name="connsiteX39" fmla="*/ 1355725 w 2889264"/>
              <a:gd name="connsiteY39" fmla="*/ 47625 h 733425"/>
              <a:gd name="connsiteX40" fmla="*/ 1377950 w 2889264"/>
              <a:gd name="connsiteY40" fmla="*/ 38100 h 733425"/>
              <a:gd name="connsiteX41" fmla="*/ 1416050 w 2889264"/>
              <a:gd name="connsiteY41" fmla="*/ 12700 h 733425"/>
              <a:gd name="connsiteX42" fmla="*/ 1428750 w 2889264"/>
              <a:gd name="connsiteY42" fmla="*/ 0 h 733425"/>
              <a:gd name="connsiteX43" fmla="*/ 1470025 w 2889264"/>
              <a:gd name="connsiteY43" fmla="*/ 28575 h 733425"/>
              <a:gd name="connsiteX44" fmla="*/ 1504950 w 2889264"/>
              <a:gd name="connsiteY44" fmla="*/ 41275 h 733425"/>
              <a:gd name="connsiteX45" fmla="*/ 1517650 w 2889264"/>
              <a:gd name="connsiteY45" fmla="*/ 50800 h 733425"/>
              <a:gd name="connsiteX46" fmla="*/ 1549400 w 2889264"/>
              <a:gd name="connsiteY46" fmla="*/ 60325 h 733425"/>
              <a:gd name="connsiteX47" fmla="*/ 1562100 w 2889264"/>
              <a:gd name="connsiteY47" fmla="*/ 69850 h 733425"/>
              <a:gd name="connsiteX48" fmla="*/ 1574800 w 2889264"/>
              <a:gd name="connsiteY48" fmla="*/ 73025 h 733425"/>
              <a:gd name="connsiteX49" fmla="*/ 1590675 w 2889264"/>
              <a:gd name="connsiteY49" fmla="*/ 79375 h 733425"/>
              <a:gd name="connsiteX50" fmla="*/ 1600200 w 2889264"/>
              <a:gd name="connsiteY50" fmla="*/ 85725 h 733425"/>
              <a:gd name="connsiteX51" fmla="*/ 1612900 w 2889264"/>
              <a:gd name="connsiteY51" fmla="*/ 92075 h 733425"/>
              <a:gd name="connsiteX52" fmla="*/ 1625600 w 2889264"/>
              <a:gd name="connsiteY52" fmla="*/ 101600 h 733425"/>
              <a:gd name="connsiteX53" fmla="*/ 1635125 w 2889264"/>
              <a:gd name="connsiteY53" fmla="*/ 104775 h 733425"/>
              <a:gd name="connsiteX54" fmla="*/ 1654175 w 2889264"/>
              <a:gd name="connsiteY54" fmla="*/ 114300 h 733425"/>
              <a:gd name="connsiteX55" fmla="*/ 1676400 w 2889264"/>
              <a:gd name="connsiteY55" fmla="*/ 130175 h 733425"/>
              <a:gd name="connsiteX56" fmla="*/ 1689100 w 2889264"/>
              <a:gd name="connsiteY56" fmla="*/ 136525 h 733425"/>
              <a:gd name="connsiteX57" fmla="*/ 1714500 w 2889264"/>
              <a:gd name="connsiteY57" fmla="*/ 146050 h 733425"/>
              <a:gd name="connsiteX58" fmla="*/ 1727200 w 2889264"/>
              <a:gd name="connsiteY58" fmla="*/ 155575 h 733425"/>
              <a:gd name="connsiteX59" fmla="*/ 1758950 w 2889264"/>
              <a:gd name="connsiteY59" fmla="*/ 165100 h 733425"/>
              <a:gd name="connsiteX60" fmla="*/ 1768475 w 2889264"/>
              <a:gd name="connsiteY60" fmla="*/ 171450 h 733425"/>
              <a:gd name="connsiteX61" fmla="*/ 1781175 w 2889264"/>
              <a:gd name="connsiteY61" fmla="*/ 180975 h 733425"/>
              <a:gd name="connsiteX62" fmla="*/ 1793875 w 2889264"/>
              <a:gd name="connsiteY62" fmla="*/ 187325 h 733425"/>
              <a:gd name="connsiteX63" fmla="*/ 1838325 w 2889264"/>
              <a:gd name="connsiteY63" fmla="*/ 212725 h 733425"/>
              <a:gd name="connsiteX64" fmla="*/ 1847850 w 2889264"/>
              <a:gd name="connsiteY64" fmla="*/ 222250 h 733425"/>
              <a:gd name="connsiteX65" fmla="*/ 1885950 w 2889264"/>
              <a:gd name="connsiteY65" fmla="*/ 241300 h 733425"/>
              <a:gd name="connsiteX66" fmla="*/ 1901825 w 2889264"/>
              <a:gd name="connsiteY66" fmla="*/ 250825 h 733425"/>
              <a:gd name="connsiteX67" fmla="*/ 1933575 w 2889264"/>
              <a:gd name="connsiteY67" fmla="*/ 263525 h 733425"/>
              <a:gd name="connsiteX68" fmla="*/ 1962150 w 2889264"/>
              <a:gd name="connsiteY68" fmla="*/ 276225 h 733425"/>
              <a:gd name="connsiteX69" fmla="*/ 1971675 w 2889264"/>
              <a:gd name="connsiteY69" fmla="*/ 282575 h 733425"/>
              <a:gd name="connsiteX70" fmla="*/ 1987550 w 2889264"/>
              <a:gd name="connsiteY70" fmla="*/ 288925 h 733425"/>
              <a:gd name="connsiteX71" fmla="*/ 2022475 w 2889264"/>
              <a:gd name="connsiteY71" fmla="*/ 301625 h 733425"/>
              <a:gd name="connsiteX72" fmla="*/ 2047875 w 2889264"/>
              <a:gd name="connsiteY72" fmla="*/ 314325 h 733425"/>
              <a:gd name="connsiteX73" fmla="*/ 2063750 w 2889264"/>
              <a:gd name="connsiteY73" fmla="*/ 320675 h 733425"/>
              <a:gd name="connsiteX74" fmla="*/ 2082800 w 2889264"/>
              <a:gd name="connsiteY74" fmla="*/ 330200 h 733425"/>
              <a:gd name="connsiteX75" fmla="*/ 2095500 w 2889264"/>
              <a:gd name="connsiteY75" fmla="*/ 333375 h 733425"/>
              <a:gd name="connsiteX76" fmla="*/ 2124075 w 2889264"/>
              <a:gd name="connsiteY76" fmla="*/ 342900 h 733425"/>
              <a:gd name="connsiteX77" fmla="*/ 2159000 w 2889264"/>
              <a:gd name="connsiteY77" fmla="*/ 358775 h 733425"/>
              <a:gd name="connsiteX78" fmla="*/ 2187575 w 2889264"/>
              <a:gd name="connsiteY78" fmla="*/ 377825 h 733425"/>
              <a:gd name="connsiteX79" fmla="*/ 2209800 w 2889264"/>
              <a:gd name="connsiteY79" fmla="*/ 393700 h 733425"/>
              <a:gd name="connsiteX80" fmla="*/ 2247900 w 2889264"/>
              <a:gd name="connsiteY80" fmla="*/ 419100 h 733425"/>
              <a:gd name="connsiteX81" fmla="*/ 2276475 w 2889264"/>
              <a:gd name="connsiteY81" fmla="*/ 434975 h 733425"/>
              <a:gd name="connsiteX82" fmla="*/ 2289175 w 2889264"/>
              <a:gd name="connsiteY82" fmla="*/ 444500 h 733425"/>
              <a:gd name="connsiteX83" fmla="*/ 2308225 w 2889264"/>
              <a:gd name="connsiteY83" fmla="*/ 447675 h 733425"/>
              <a:gd name="connsiteX84" fmla="*/ 2333625 w 2889264"/>
              <a:gd name="connsiteY84" fmla="*/ 460375 h 733425"/>
              <a:gd name="connsiteX85" fmla="*/ 2352675 w 2889264"/>
              <a:gd name="connsiteY85" fmla="*/ 466725 h 733425"/>
              <a:gd name="connsiteX86" fmla="*/ 2397125 w 2889264"/>
              <a:gd name="connsiteY86" fmla="*/ 488950 h 733425"/>
              <a:gd name="connsiteX87" fmla="*/ 2422525 w 2889264"/>
              <a:gd name="connsiteY87" fmla="*/ 495300 h 733425"/>
              <a:gd name="connsiteX88" fmla="*/ 2432050 w 2889264"/>
              <a:gd name="connsiteY88" fmla="*/ 498475 h 733425"/>
              <a:gd name="connsiteX89" fmla="*/ 2454275 w 2889264"/>
              <a:gd name="connsiteY89" fmla="*/ 511175 h 733425"/>
              <a:gd name="connsiteX90" fmla="*/ 2470150 w 2889264"/>
              <a:gd name="connsiteY90" fmla="*/ 523875 h 733425"/>
              <a:gd name="connsiteX91" fmla="*/ 2495550 w 2889264"/>
              <a:gd name="connsiteY91" fmla="*/ 533400 h 733425"/>
              <a:gd name="connsiteX92" fmla="*/ 2546350 w 2889264"/>
              <a:gd name="connsiteY92" fmla="*/ 558800 h 733425"/>
              <a:gd name="connsiteX93" fmla="*/ 2574925 w 2889264"/>
              <a:gd name="connsiteY93" fmla="*/ 565150 h 733425"/>
              <a:gd name="connsiteX94" fmla="*/ 2600325 w 2889264"/>
              <a:gd name="connsiteY94" fmla="*/ 577850 h 733425"/>
              <a:gd name="connsiteX95" fmla="*/ 2616200 w 2889264"/>
              <a:gd name="connsiteY95" fmla="*/ 581025 h 733425"/>
              <a:gd name="connsiteX96" fmla="*/ 2638425 w 2889264"/>
              <a:gd name="connsiteY96" fmla="*/ 587375 h 733425"/>
              <a:gd name="connsiteX97" fmla="*/ 2654300 w 2889264"/>
              <a:gd name="connsiteY97" fmla="*/ 596900 h 733425"/>
              <a:gd name="connsiteX98" fmla="*/ 2673350 w 2889264"/>
              <a:gd name="connsiteY98" fmla="*/ 603250 h 733425"/>
              <a:gd name="connsiteX99" fmla="*/ 2708275 w 2889264"/>
              <a:gd name="connsiteY99" fmla="*/ 625475 h 733425"/>
              <a:gd name="connsiteX100" fmla="*/ 2730500 w 2889264"/>
              <a:gd name="connsiteY100" fmla="*/ 635000 h 733425"/>
              <a:gd name="connsiteX101" fmla="*/ 2749550 w 2889264"/>
              <a:gd name="connsiteY101" fmla="*/ 650875 h 733425"/>
              <a:gd name="connsiteX102" fmla="*/ 2774950 w 2889264"/>
              <a:gd name="connsiteY102" fmla="*/ 663575 h 733425"/>
              <a:gd name="connsiteX103" fmla="*/ 2803525 w 2889264"/>
              <a:gd name="connsiteY103" fmla="*/ 676275 h 733425"/>
              <a:gd name="connsiteX104" fmla="*/ 2816225 w 2889264"/>
              <a:gd name="connsiteY104" fmla="*/ 685800 h 733425"/>
              <a:gd name="connsiteX105" fmla="*/ 2832100 w 2889264"/>
              <a:gd name="connsiteY105" fmla="*/ 692150 h 733425"/>
              <a:gd name="connsiteX106" fmla="*/ 2876550 w 2889264"/>
              <a:gd name="connsiteY106" fmla="*/ 723900 h 733425"/>
              <a:gd name="connsiteX107" fmla="*/ 2889250 w 2889264"/>
              <a:gd name="connsiteY107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584200 w 2889264"/>
              <a:gd name="connsiteY10" fmla="*/ 441325 h 733425"/>
              <a:gd name="connsiteX11" fmla="*/ 612775 w 2889264"/>
              <a:gd name="connsiteY11" fmla="*/ 428625 h 733425"/>
              <a:gd name="connsiteX12" fmla="*/ 628650 w 2889264"/>
              <a:gd name="connsiteY12" fmla="*/ 422275 h 733425"/>
              <a:gd name="connsiteX13" fmla="*/ 657225 w 2889264"/>
              <a:gd name="connsiteY13" fmla="*/ 406400 h 733425"/>
              <a:gd name="connsiteX14" fmla="*/ 736600 w 2889264"/>
              <a:gd name="connsiteY14" fmla="*/ 368300 h 733425"/>
              <a:gd name="connsiteX15" fmla="*/ 790575 w 2889264"/>
              <a:gd name="connsiteY15" fmla="*/ 339725 h 733425"/>
              <a:gd name="connsiteX16" fmla="*/ 800100 w 2889264"/>
              <a:gd name="connsiteY16" fmla="*/ 336550 h 733425"/>
              <a:gd name="connsiteX17" fmla="*/ 812800 w 2889264"/>
              <a:gd name="connsiteY17" fmla="*/ 330200 h 733425"/>
              <a:gd name="connsiteX18" fmla="*/ 828675 w 2889264"/>
              <a:gd name="connsiteY18" fmla="*/ 327025 h 733425"/>
              <a:gd name="connsiteX19" fmla="*/ 898525 w 2889264"/>
              <a:gd name="connsiteY19" fmla="*/ 288925 h 733425"/>
              <a:gd name="connsiteX20" fmla="*/ 923925 w 2889264"/>
              <a:gd name="connsiteY20" fmla="*/ 269875 h 733425"/>
              <a:gd name="connsiteX21" fmla="*/ 933450 w 2889264"/>
              <a:gd name="connsiteY21" fmla="*/ 260350 h 733425"/>
              <a:gd name="connsiteX22" fmla="*/ 958850 w 2889264"/>
              <a:gd name="connsiteY22" fmla="*/ 247650 h 733425"/>
              <a:gd name="connsiteX23" fmla="*/ 968375 w 2889264"/>
              <a:gd name="connsiteY23" fmla="*/ 241300 h 733425"/>
              <a:gd name="connsiteX24" fmla="*/ 984250 w 2889264"/>
              <a:gd name="connsiteY24" fmla="*/ 234950 h 733425"/>
              <a:gd name="connsiteX25" fmla="*/ 1006475 w 2889264"/>
              <a:gd name="connsiteY25" fmla="*/ 225425 h 733425"/>
              <a:gd name="connsiteX26" fmla="*/ 1050925 w 2889264"/>
              <a:gd name="connsiteY26" fmla="*/ 212725 h 733425"/>
              <a:gd name="connsiteX27" fmla="*/ 1079500 w 2889264"/>
              <a:gd name="connsiteY27" fmla="*/ 200025 h 733425"/>
              <a:gd name="connsiteX28" fmla="*/ 1098550 w 2889264"/>
              <a:gd name="connsiteY28" fmla="*/ 193675 h 733425"/>
              <a:gd name="connsiteX29" fmla="*/ 1111250 w 2889264"/>
              <a:gd name="connsiteY29" fmla="*/ 187325 h 733425"/>
              <a:gd name="connsiteX30" fmla="*/ 1136650 w 2889264"/>
              <a:gd name="connsiteY30" fmla="*/ 177800 h 733425"/>
              <a:gd name="connsiteX31" fmla="*/ 1181100 w 2889264"/>
              <a:gd name="connsiteY31" fmla="*/ 152400 h 733425"/>
              <a:gd name="connsiteX32" fmla="*/ 1203325 w 2889264"/>
              <a:gd name="connsiteY32" fmla="*/ 130175 h 733425"/>
              <a:gd name="connsiteX33" fmla="*/ 1219200 w 2889264"/>
              <a:gd name="connsiteY33" fmla="*/ 117475 h 733425"/>
              <a:gd name="connsiteX34" fmla="*/ 1276350 w 2889264"/>
              <a:gd name="connsiteY34" fmla="*/ 85725 h 733425"/>
              <a:gd name="connsiteX35" fmla="*/ 1289050 w 2889264"/>
              <a:gd name="connsiteY35" fmla="*/ 79375 h 733425"/>
              <a:gd name="connsiteX36" fmla="*/ 1327150 w 2889264"/>
              <a:gd name="connsiteY36" fmla="*/ 66675 h 733425"/>
              <a:gd name="connsiteX37" fmla="*/ 1343025 w 2889264"/>
              <a:gd name="connsiteY37" fmla="*/ 57150 h 733425"/>
              <a:gd name="connsiteX38" fmla="*/ 1355725 w 2889264"/>
              <a:gd name="connsiteY38" fmla="*/ 47625 h 733425"/>
              <a:gd name="connsiteX39" fmla="*/ 1377950 w 2889264"/>
              <a:gd name="connsiteY39" fmla="*/ 38100 h 733425"/>
              <a:gd name="connsiteX40" fmla="*/ 1416050 w 2889264"/>
              <a:gd name="connsiteY40" fmla="*/ 12700 h 733425"/>
              <a:gd name="connsiteX41" fmla="*/ 1428750 w 2889264"/>
              <a:gd name="connsiteY41" fmla="*/ 0 h 733425"/>
              <a:gd name="connsiteX42" fmla="*/ 1470025 w 2889264"/>
              <a:gd name="connsiteY42" fmla="*/ 28575 h 733425"/>
              <a:gd name="connsiteX43" fmla="*/ 1504950 w 2889264"/>
              <a:gd name="connsiteY43" fmla="*/ 41275 h 733425"/>
              <a:gd name="connsiteX44" fmla="*/ 1517650 w 2889264"/>
              <a:gd name="connsiteY44" fmla="*/ 50800 h 733425"/>
              <a:gd name="connsiteX45" fmla="*/ 1549400 w 2889264"/>
              <a:gd name="connsiteY45" fmla="*/ 60325 h 733425"/>
              <a:gd name="connsiteX46" fmla="*/ 1562100 w 2889264"/>
              <a:gd name="connsiteY46" fmla="*/ 69850 h 733425"/>
              <a:gd name="connsiteX47" fmla="*/ 1574800 w 2889264"/>
              <a:gd name="connsiteY47" fmla="*/ 73025 h 733425"/>
              <a:gd name="connsiteX48" fmla="*/ 1590675 w 2889264"/>
              <a:gd name="connsiteY48" fmla="*/ 79375 h 733425"/>
              <a:gd name="connsiteX49" fmla="*/ 1600200 w 2889264"/>
              <a:gd name="connsiteY49" fmla="*/ 85725 h 733425"/>
              <a:gd name="connsiteX50" fmla="*/ 1612900 w 2889264"/>
              <a:gd name="connsiteY50" fmla="*/ 92075 h 733425"/>
              <a:gd name="connsiteX51" fmla="*/ 1625600 w 2889264"/>
              <a:gd name="connsiteY51" fmla="*/ 101600 h 733425"/>
              <a:gd name="connsiteX52" fmla="*/ 1635125 w 2889264"/>
              <a:gd name="connsiteY52" fmla="*/ 104775 h 733425"/>
              <a:gd name="connsiteX53" fmla="*/ 1654175 w 2889264"/>
              <a:gd name="connsiteY53" fmla="*/ 114300 h 733425"/>
              <a:gd name="connsiteX54" fmla="*/ 1676400 w 2889264"/>
              <a:gd name="connsiteY54" fmla="*/ 130175 h 733425"/>
              <a:gd name="connsiteX55" fmla="*/ 1689100 w 2889264"/>
              <a:gd name="connsiteY55" fmla="*/ 136525 h 733425"/>
              <a:gd name="connsiteX56" fmla="*/ 1714500 w 2889264"/>
              <a:gd name="connsiteY56" fmla="*/ 146050 h 733425"/>
              <a:gd name="connsiteX57" fmla="*/ 1727200 w 2889264"/>
              <a:gd name="connsiteY57" fmla="*/ 155575 h 733425"/>
              <a:gd name="connsiteX58" fmla="*/ 1758950 w 2889264"/>
              <a:gd name="connsiteY58" fmla="*/ 165100 h 733425"/>
              <a:gd name="connsiteX59" fmla="*/ 1768475 w 2889264"/>
              <a:gd name="connsiteY59" fmla="*/ 171450 h 733425"/>
              <a:gd name="connsiteX60" fmla="*/ 1781175 w 2889264"/>
              <a:gd name="connsiteY60" fmla="*/ 180975 h 733425"/>
              <a:gd name="connsiteX61" fmla="*/ 1793875 w 2889264"/>
              <a:gd name="connsiteY61" fmla="*/ 187325 h 733425"/>
              <a:gd name="connsiteX62" fmla="*/ 1838325 w 2889264"/>
              <a:gd name="connsiteY62" fmla="*/ 212725 h 733425"/>
              <a:gd name="connsiteX63" fmla="*/ 1847850 w 2889264"/>
              <a:gd name="connsiteY63" fmla="*/ 222250 h 733425"/>
              <a:gd name="connsiteX64" fmla="*/ 1885950 w 2889264"/>
              <a:gd name="connsiteY64" fmla="*/ 241300 h 733425"/>
              <a:gd name="connsiteX65" fmla="*/ 1901825 w 2889264"/>
              <a:gd name="connsiteY65" fmla="*/ 250825 h 733425"/>
              <a:gd name="connsiteX66" fmla="*/ 1933575 w 2889264"/>
              <a:gd name="connsiteY66" fmla="*/ 263525 h 733425"/>
              <a:gd name="connsiteX67" fmla="*/ 1962150 w 2889264"/>
              <a:gd name="connsiteY67" fmla="*/ 276225 h 733425"/>
              <a:gd name="connsiteX68" fmla="*/ 1971675 w 2889264"/>
              <a:gd name="connsiteY68" fmla="*/ 282575 h 733425"/>
              <a:gd name="connsiteX69" fmla="*/ 1987550 w 2889264"/>
              <a:gd name="connsiteY69" fmla="*/ 288925 h 733425"/>
              <a:gd name="connsiteX70" fmla="*/ 2022475 w 2889264"/>
              <a:gd name="connsiteY70" fmla="*/ 301625 h 733425"/>
              <a:gd name="connsiteX71" fmla="*/ 2047875 w 2889264"/>
              <a:gd name="connsiteY71" fmla="*/ 314325 h 733425"/>
              <a:gd name="connsiteX72" fmla="*/ 2063750 w 2889264"/>
              <a:gd name="connsiteY72" fmla="*/ 320675 h 733425"/>
              <a:gd name="connsiteX73" fmla="*/ 2082800 w 2889264"/>
              <a:gd name="connsiteY73" fmla="*/ 330200 h 733425"/>
              <a:gd name="connsiteX74" fmla="*/ 2095500 w 2889264"/>
              <a:gd name="connsiteY74" fmla="*/ 333375 h 733425"/>
              <a:gd name="connsiteX75" fmla="*/ 2124075 w 2889264"/>
              <a:gd name="connsiteY75" fmla="*/ 342900 h 733425"/>
              <a:gd name="connsiteX76" fmla="*/ 2159000 w 2889264"/>
              <a:gd name="connsiteY76" fmla="*/ 358775 h 733425"/>
              <a:gd name="connsiteX77" fmla="*/ 2187575 w 2889264"/>
              <a:gd name="connsiteY77" fmla="*/ 377825 h 733425"/>
              <a:gd name="connsiteX78" fmla="*/ 2209800 w 2889264"/>
              <a:gd name="connsiteY78" fmla="*/ 393700 h 733425"/>
              <a:gd name="connsiteX79" fmla="*/ 2247900 w 2889264"/>
              <a:gd name="connsiteY79" fmla="*/ 419100 h 733425"/>
              <a:gd name="connsiteX80" fmla="*/ 2276475 w 2889264"/>
              <a:gd name="connsiteY80" fmla="*/ 434975 h 733425"/>
              <a:gd name="connsiteX81" fmla="*/ 2289175 w 2889264"/>
              <a:gd name="connsiteY81" fmla="*/ 444500 h 733425"/>
              <a:gd name="connsiteX82" fmla="*/ 2308225 w 2889264"/>
              <a:gd name="connsiteY82" fmla="*/ 447675 h 733425"/>
              <a:gd name="connsiteX83" fmla="*/ 2333625 w 2889264"/>
              <a:gd name="connsiteY83" fmla="*/ 460375 h 733425"/>
              <a:gd name="connsiteX84" fmla="*/ 2352675 w 2889264"/>
              <a:gd name="connsiteY84" fmla="*/ 466725 h 733425"/>
              <a:gd name="connsiteX85" fmla="*/ 2397125 w 2889264"/>
              <a:gd name="connsiteY85" fmla="*/ 488950 h 733425"/>
              <a:gd name="connsiteX86" fmla="*/ 2422525 w 2889264"/>
              <a:gd name="connsiteY86" fmla="*/ 495300 h 733425"/>
              <a:gd name="connsiteX87" fmla="*/ 2432050 w 2889264"/>
              <a:gd name="connsiteY87" fmla="*/ 498475 h 733425"/>
              <a:gd name="connsiteX88" fmla="*/ 2454275 w 2889264"/>
              <a:gd name="connsiteY88" fmla="*/ 511175 h 733425"/>
              <a:gd name="connsiteX89" fmla="*/ 2470150 w 2889264"/>
              <a:gd name="connsiteY89" fmla="*/ 523875 h 733425"/>
              <a:gd name="connsiteX90" fmla="*/ 2495550 w 2889264"/>
              <a:gd name="connsiteY90" fmla="*/ 533400 h 733425"/>
              <a:gd name="connsiteX91" fmla="*/ 2546350 w 2889264"/>
              <a:gd name="connsiteY91" fmla="*/ 558800 h 733425"/>
              <a:gd name="connsiteX92" fmla="*/ 2574925 w 2889264"/>
              <a:gd name="connsiteY92" fmla="*/ 565150 h 733425"/>
              <a:gd name="connsiteX93" fmla="*/ 2600325 w 2889264"/>
              <a:gd name="connsiteY93" fmla="*/ 577850 h 733425"/>
              <a:gd name="connsiteX94" fmla="*/ 2616200 w 2889264"/>
              <a:gd name="connsiteY94" fmla="*/ 581025 h 733425"/>
              <a:gd name="connsiteX95" fmla="*/ 2638425 w 2889264"/>
              <a:gd name="connsiteY95" fmla="*/ 587375 h 733425"/>
              <a:gd name="connsiteX96" fmla="*/ 2654300 w 2889264"/>
              <a:gd name="connsiteY96" fmla="*/ 596900 h 733425"/>
              <a:gd name="connsiteX97" fmla="*/ 2673350 w 2889264"/>
              <a:gd name="connsiteY97" fmla="*/ 603250 h 733425"/>
              <a:gd name="connsiteX98" fmla="*/ 2708275 w 2889264"/>
              <a:gd name="connsiteY98" fmla="*/ 625475 h 733425"/>
              <a:gd name="connsiteX99" fmla="*/ 2730500 w 2889264"/>
              <a:gd name="connsiteY99" fmla="*/ 635000 h 733425"/>
              <a:gd name="connsiteX100" fmla="*/ 2749550 w 2889264"/>
              <a:gd name="connsiteY100" fmla="*/ 650875 h 733425"/>
              <a:gd name="connsiteX101" fmla="*/ 2774950 w 2889264"/>
              <a:gd name="connsiteY101" fmla="*/ 663575 h 733425"/>
              <a:gd name="connsiteX102" fmla="*/ 2803525 w 2889264"/>
              <a:gd name="connsiteY102" fmla="*/ 676275 h 733425"/>
              <a:gd name="connsiteX103" fmla="*/ 2816225 w 2889264"/>
              <a:gd name="connsiteY103" fmla="*/ 685800 h 733425"/>
              <a:gd name="connsiteX104" fmla="*/ 2832100 w 2889264"/>
              <a:gd name="connsiteY104" fmla="*/ 692150 h 733425"/>
              <a:gd name="connsiteX105" fmla="*/ 2876550 w 2889264"/>
              <a:gd name="connsiteY105" fmla="*/ 723900 h 733425"/>
              <a:gd name="connsiteX106" fmla="*/ 2889250 w 2889264"/>
              <a:gd name="connsiteY106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584200 w 2889264"/>
              <a:gd name="connsiteY10" fmla="*/ 441325 h 733425"/>
              <a:gd name="connsiteX11" fmla="*/ 612775 w 2889264"/>
              <a:gd name="connsiteY11" fmla="*/ 428625 h 733425"/>
              <a:gd name="connsiteX12" fmla="*/ 628650 w 2889264"/>
              <a:gd name="connsiteY12" fmla="*/ 422275 h 733425"/>
              <a:gd name="connsiteX13" fmla="*/ 657225 w 2889264"/>
              <a:gd name="connsiteY13" fmla="*/ 406400 h 733425"/>
              <a:gd name="connsiteX14" fmla="*/ 736600 w 2889264"/>
              <a:gd name="connsiteY14" fmla="*/ 368300 h 733425"/>
              <a:gd name="connsiteX15" fmla="*/ 800100 w 2889264"/>
              <a:gd name="connsiteY15" fmla="*/ 336550 h 733425"/>
              <a:gd name="connsiteX16" fmla="*/ 812800 w 2889264"/>
              <a:gd name="connsiteY16" fmla="*/ 330200 h 733425"/>
              <a:gd name="connsiteX17" fmla="*/ 828675 w 2889264"/>
              <a:gd name="connsiteY17" fmla="*/ 327025 h 733425"/>
              <a:gd name="connsiteX18" fmla="*/ 898525 w 2889264"/>
              <a:gd name="connsiteY18" fmla="*/ 288925 h 733425"/>
              <a:gd name="connsiteX19" fmla="*/ 923925 w 2889264"/>
              <a:gd name="connsiteY19" fmla="*/ 269875 h 733425"/>
              <a:gd name="connsiteX20" fmla="*/ 933450 w 2889264"/>
              <a:gd name="connsiteY20" fmla="*/ 260350 h 733425"/>
              <a:gd name="connsiteX21" fmla="*/ 958850 w 2889264"/>
              <a:gd name="connsiteY21" fmla="*/ 247650 h 733425"/>
              <a:gd name="connsiteX22" fmla="*/ 968375 w 2889264"/>
              <a:gd name="connsiteY22" fmla="*/ 241300 h 733425"/>
              <a:gd name="connsiteX23" fmla="*/ 984250 w 2889264"/>
              <a:gd name="connsiteY23" fmla="*/ 234950 h 733425"/>
              <a:gd name="connsiteX24" fmla="*/ 1006475 w 2889264"/>
              <a:gd name="connsiteY24" fmla="*/ 225425 h 733425"/>
              <a:gd name="connsiteX25" fmla="*/ 1050925 w 2889264"/>
              <a:gd name="connsiteY25" fmla="*/ 212725 h 733425"/>
              <a:gd name="connsiteX26" fmla="*/ 1079500 w 2889264"/>
              <a:gd name="connsiteY26" fmla="*/ 200025 h 733425"/>
              <a:gd name="connsiteX27" fmla="*/ 1098550 w 2889264"/>
              <a:gd name="connsiteY27" fmla="*/ 193675 h 733425"/>
              <a:gd name="connsiteX28" fmla="*/ 1111250 w 2889264"/>
              <a:gd name="connsiteY28" fmla="*/ 187325 h 733425"/>
              <a:gd name="connsiteX29" fmla="*/ 1136650 w 2889264"/>
              <a:gd name="connsiteY29" fmla="*/ 177800 h 733425"/>
              <a:gd name="connsiteX30" fmla="*/ 1181100 w 2889264"/>
              <a:gd name="connsiteY30" fmla="*/ 152400 h 733425"/>
              <a:gd name="connsiteX31" fmla="*/ 1203325 w 2889264"/>
              <a:gd name="connsiteY31" fmla="*/ 130175 h 733425"/>
              <a:gd name="connsiteX32" fmla="*/ 1219200 w 2889264"/>
              <a:gd name="connsiteY32" fmla="*/ 117475 h 733425"/>
              <a:gd name="connsiteX33" fmla="*/ 1276350 w 2889264"/>
              <a:gd name="connsiteY33" fmla="*/ 85725 h 733425"/>
              <a:gd name="connsiteX34" fmla="*/ 1289050 w 2889264"/>
              <a:gd name="connsiteY34" fmla="*/ 79375 h 733425"/>
              <a:gd name="connsiteX35" fmla="*/ 1327150 w 2889264"/>
              <a:gd name="connsiteY35" fmla="*/ 66675 h 733425"/>
              <a:gd name="connsiteX36" fmla="*/ 1343025 w 2889264"/>
              <a:gd name="connsiteY36" fmla="*/ 57150 h 733425"/>
              <a:gd name="connsiteX37" fmla="*/ 1355725 w 2889264"/>
              <a:gd name="connsiteY37" fmla="*/ 47625 h 733425"/>
              <a:gd name="connsiteX38" fmla="*/ 1377950 w 2889264"/>
              <a:gd name="connsiteY38" fmla="*/ 38100 h 733425"/>
              <a:gd name="connsiteX39" fmla="*/ 1416050 w 2889264"/>
              <a:gd name="connsiteY39" fmla="*/ 12700 h 733425"/>
              <a:gd name="connsiteX40" fmla="*/ 1428750 w 2889264"/>
              <a:gd name="connsiteY40" fmla="*/ 0 h 733425"/>
              <a:gd name="connsiteX41" fmla="*/ 1470025 w 2889264"/>
              <a:gd name="connsiteY41" fmla="*/ 28575 h 733425"/>
              <a:gd name="connsiteX42" fmla="*/ 1504950 w 2889264"/>
              <a:gd name="connsiteY42" fmla="*/ 41275 h 733425"/>
              <a:gd name="connsiteX43" fmla="*/ 1517650 w 2889264"/>
              <a:gd name="connsiteY43" fmla="*/ 50800 h 733425"/>
              <a:gd name="connsiteX44" fmla="*/ 1549400 w 2889264"/>
              <a:gd name="connsiteY44" fmla="*/ 60325 h 733425"/>
              <a:gd name="connsiteX45" fmla="*/ 1562100 w 2889264"/>
              <a:gd name="connsiteY45" fmla="*/ 69850 h 733425"/>
              <a:gd name="connsiteX46" fmla="*/ 1574800 w 2889264"/>
              <a:gd name="connsiteY46" fmla="*/ 73025 h 733425"/>
              <a:gd name="connsiteX47" fmla="*/ 1590675 w 2889264"/>
              <a:gd name="connsiteY47" fmla="*/ 79375 h 733425"/>
              <a:gd name="connsiteX48" fmla="*/ 1600200 w 2889264"/>
              <a:gd name="connsiteY48" fmla="*/ 85725 h 733425"/>
              <a:gd name="connsiteX49" fmla="*/ 1612900 w 2889264"/>
              <a:gd name="connsiteY49" fmla="*/ 92075 h 733425"/>
              <a:gd name="connsiteX50" fmla="*/ 1625600 w 2889264"/>
              <a:gd name="connsiteY50" fmla="*/ 101600 h 733425"/>
              <a:gd name="connsiteX51" fmla="*/ 1635125 w 2889264"/>
              <a:gd name="connsiteY51" fmla="*/ 104775 h 733425"/>
              <a:gd name="connsiteX52" fmla="*/ 1654175 w 2889264"/>
              <a:gd name="connsiteY52" fmla="*/ 114300 h 733425"/>
              <a:gd name="connsiteX53" fmla="*/ 1676400 w 2889264"/>
              <a:gd name="connsiteY53" fmla="*/ 130175 h 733425"/>
              <a:gd name="connsiteX54" fmla="*/ 1689100 w 2889264"/>
              <a:gd name="connsiteY54" fmla="*/ 136525 h 733425"/>
              <a:gd name="connsiteX55" fmla="*/ 1714500 w 2889264"/>
              <a:gd name="connsiteY55" fmla="*/ 146050 h 733425"/>
              <a:gd name="connsiteX56" fmla="*/ 1727200 w 2889264"/>
              <a:gd name="connsiteY56" fmla="*/ 155575 h 733425"/>
              <a:gd name="connsiteX57" fmla="*/ 1758950 w 2889264"/>
              <a:gd name="connsiteY57" fmla="*/ 165100 h 733425"/>
              <a:gd name="connsiteX58" fmla="*/ 1768475 w 2889264"/>
              <a:gd name="connsiteY58" fmla="*/ 171450 h 733425"/>
              <a:gd name="connsiteX59" fmla="*/ 1781175 w 2889264"/>
              <a:gd name="connsiteY59" fmla="*/ 180975 h 733425"/>
              <a:gd name="connsiteX60" fmla="*/ 1793875 w 2889264"/>
              <a:gd name="connsiteY60" fmla="*/ 187325 h 733425"/>
              <a:gd name="connsiteX61" fmla="*/ 1838325 w 2889264"/>
              <a:gd name="connsiteY61" fmla="*/ 212725 h 733425"/>
              <a:gd name="connsiteX62" fmla="*/ 1847850 w 2889264"/>
              <a:gd name="connsiteY62" fmla="*/ 222250 h 733425"/>
              <a:gd name="connsiteX63" fmla="*/ 1885950 w 2889264"/>
              <a:gd name="connsiteY63" fmla="*/ 241300 h 733425"/>
              <a:gd name="connsiteX64" fmla="*/ 1901825 w 2889264"/>
              <a:gd name="connsiteY64" fmla="*/ 250825 h 733425"/>
              <a:gd name="connsiteX65" fmla="*/ 1933575 w 2889264"/>
              <a:gd name="connsiteY65" fmla="*/ 263525 h 733425"/>
              <a:gd name="connsiteX66" fmla="*/ 1962150 w 2889264"/>
              <a:gd name="connsiteY66" fmla="*/ 276225 h 733425"/>
              <a:gd name="connsiteX67" fmla="*/ 1971675 w 2889264"/>
              <a:gd name="connsiteY67" fmla="*/ 282575 h 733425"/>
              <a:gd name="connsiteX68" fmla="*/ 1987550 w 2889264"/>
              <a:gd name="connsiteY68" fmla="*/ 288925 h 733425"/>
              <a:gd name="connsiteX69" fmla="*/ 2022475 w 2889264"/>
              <a:gd name="connsiteY69" fmla="*/ 301625 h 733425"/>
              <a:gd name="connsiteX70" fmla="*/ 2047875 w 2889264"/>
              <a:gd name="connsiteY70" fmla="*/ 314325 h 733425"/>
              <a:gd name="connsiteX71" fmla="*/ 2063750 w 2889264"/>
              <a:gd name="connsiteY71" fmla="*/ 320675 h 733425"/>
              <a:gd name="connsiteX72" fmla="*/ 2082800 w 2889264"/>
              <a:gd name="connsiteY72" fmla="*/ 330200 h 733425"/>
              <a:gd name="connsiteX73" fmla="*/ 2095500 w 2889264"/>
              <a:gd name="connsiteY73" fmla="*/ 333375 h 733425"/>
              <a:gd name="connsiteX74" fmla="*/ 2124075 w 2889264"/>
              <a:gd name="connsiteY74" fmla="*/ 342900 h 733425"/>
              <a:gd name="connsiteX75" fmla="*/ 2159000 w 2889264"/>
              <a:gd name="connsiteY75" fmla="*/ 358775 h 733425"/>
              <a:gd name="connsiteX76" fmla="*/ 2187575 w 2889264"/>
              <a:gd name="connsiteY76" fmla="*/ 377825 h 733425"/>
              <a:gd name="connsiteX77" fmla="*/ 2209800 w 2889264"/>
              <a:gd name="connsiteY77" fmla="*/ 393700 h 733425"/>
              <a:gd name="connsiteX78" fmla="*/ 2247900 w 2889264"/>
              <a:gd name="connsiteY78" fmla="*/ 419100 h 733425"/>
              <a:gd name="connsiteX79" fmla="*/ 2276475 w 2889264"/>
              <a:gd name="connsiteY79" fmla="*/ 434975 h 733425"/>
              <a:gd name="connsiteX80" fmla="*/ 2289175 w 2889264"/>
              <a:gd name="connsiteY80" fmla="*/ 444500 h 733425"/>
              <a:gd name="connsiteX81" fmla="*/ 2308225 w 2889264"/>
              <a:gd name="connsiteY81" fmla="*/ 447675 h 733425"/>
              <a:gd name="connsiteX82" fmla="*/ 2333625 w 2889264"/>
              <a:gd name="connsiteY82" fmla="*/ 460375 h 733425"/>
              <a:gd name="connsiteX83" fmla="*/ 2352675 w 2889264"/>
              <a:gd name="connsiteY83" fmla="*/ 466725 h 733425"/>
              <a:gd name="connsiteX84" fmla="*/ 2397125 w 2889264"/>
              <a:gd name="connsiteY84" fmla="*/ 488950 h 733425"/>
              <a:gd name="connsiteX85" fmla="*/ 2422525 w 2889264"/>
              <a:gd name="connsiteY85" fmla="*/ 495300 h 733425"/>
              <a:gd name="connsiteX86" fmla="*/ 2432050 w 2889264"/>
              <a:gd name="connsiteY86" fmla="*/ 498475 h 733425"/>
              <a:gd name="connsiteX87" fmla="*/ 2454275 w 2889264"/>
              <a:gd name="connsiteY87" fmla="*/ 511175 h 733425"/>
              <a:gd name="connsiteX88" fmla="*/ 2470150 w 2889264"/>
              <a:gd name="connsiteY88" fmla="*/ 523875 h 733425"/>
              <a:gd name="connsiteX89" fmla="*/ 2495550 w 2889264"/>
              <a:gd name="connsiteY89" fmla="*/ 533400 h 733425"/>
              <a:gd name="connsiteX90" fmla="*/ 2546350 w 2889264"/>
              <a:gd name="connsiteY90" fmla="*/ 558800 h 733425"/>
              <a:gd name="connsiteX91" fmla="*/ 2574925 w 2889264"/>
              <a:gd name="connsiteY91" fmla="*/ 565150 h 733425"/>
              <a:gd name="connsiteX92" fmla="*/ 2600325 w 2889264"/>
              <a:gd name="connsiteY92" fmla="*/ 577850 h 733425"/>
              <a:gd name="connsiteX93" fmla="*/ 2616200 w 2889264"/>
              <a:gd name="connsiteY93" fmla="*/ 581025 h 733425"/>
              <a:gd name="connsiteX94" fmla="*/ 2638425 w 2889264"/>
              <a:gd name="connsiteY94" fmla="*/ 587375 h 733425"/>
              <a:gd name="connsiteX95" fmla="*/ 2654300 w 2889264"/>
              <a:gd name="connsiteY95" fmla="*/ 596900 h 733425"/>
              <a:gd name="connsiteX96" fmla="*/ 2673350 w 2889264"/>
              <a:gd name="connsiteY96" fmla="*/ 603250 h 733425"/>
              <a:gd name="connsiteX97" fmla="*/ 2708275 w 2889264"/>
              <a:gd name="connsiteY97" fmla="*/ 625475 h 733425"/>
              <a:gd name="connsiteX98" fmla="*/ 2730500 w 2889264"/>
              <a:gd name="connsiteY98" fmla="*/ 635000 h 733425"/>
              <a:gd name="connsiteX99" fmla="*/ 2749550 w 2889264"/>
              <a:gd name="connsiteY99" fmla="*/ 650875 h 733425"/>
              <a:gd name="connsiteX100" fmla="*/ 2774950 w 2889264"/>
              <a:gd name="connsiteY100" fmla="*/ 663575 h 733425"/>
              <a:gd name="connsiteX101" fmla="*/ 2803525 w 2889264"/>
              <a:gd name="connsiteY101" fmla="*/ 676275 h 733425"/>
              <a:gd name="connsiteX102" fmla="*/ 2816225 w 2889264"/>
              <a:gd name="connsiteY102" fmla="*/ 685800 h 733425"/>
              <a:gd name="connsiteX103" fmla="*/ 2832100 w 2889264"/>
              <a:gd name="connsiteY103" fmla="*/ 692150 h 733425"/>
              <a:gd name="connsiteX104" fmla="*/ 2876550 w 2889264"/>
              <a:gd name="connsiteY104" fmla="*/ 723900 h 733425"/>
              <a:gd name="connsiteX105" fmla="*/ 2889250 w 2889264"/>
              <a:gd name="connsiteY105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584200 w 2889264"/>
              <a:gd name="connsiteY10" fmla="*/ 441325 h 733425"/>
              <a:gd name="connsiteX11" fmla="*/ 612775 w 2889264"/>
              <a:gd name="connsiteY11" fmla="*/ 428625 h 733425"/>
              <a:gd name="connsiteX12" fmla="*/ 628650 w 2889264"/>
              <a:gd name="connsiteY12" fmla="*/ 422275 h 733425"/>
              <a:gd name="connsiteX13" fmla="*/ 657225 w 2889264"/>
              <a:gd name="connsiteY13" fmla="*/ 406400 h 733425"/>
              <a:gd name="connsiteX14" fmla="*/ 736600 w 2889264"/>
              <a:gd name="connsiteY14" fmla="*/ 368300 h 733425"/>
              <a:gd name="connsiteX15" fmla="*/ 800100 w 2889264"/>
              <a:gd name="connsiteY15" fmla="*/ 336550 h 733425"/>
              <a:gd name="connsiteX16" fmla="*/ 828675 w 2889264"/>
              <a:gd name="connsiteY16" fmla="*/ 327025 h 733425"/>
              <a:gd name="connsiteX17" fmla="*/ 898525 w 2889264"/>
              <a:gd name="connsiteY17" fmla="*/ 288925 h 733425"/>
              <a:gd name="connsiteX18" fmla="*/ 923925 w 2889264"/>
              <a:gd name="connsiteY18" fmla="*/ 269875 h 733425"/>
              <a:gd name="connsiteX19" fmla="*/ 933450 w 2889264"/>
              <a:gd name="connsiteY19" fmla="*/ 260350 h 733425"/>
              <a:gd name="connsiteX20" fmla="*/ 958850 w 2889264"/>
              <a:gd name="connsiteY20" fmla="*/ 247650 h 733425"/>
              <a:gd name="connsiteX21" fmla="*/ 968375 w 2889264"/>
              <a:gd name="connsiteY21" fmla="*/ 241300 h 733425"/>
              <a:gd name="connsiteX22" fmla="*/ 984250 w 2889264"/>
              <a:gd name="connsiteY22" fmla="*/ 234950 h 733425"/>
              <a:gd name="connsiteX23" fmla="*/ 1006475 w 2889264"/>
              <a:gd name="connsiteY23" fmla="*/ 225425 h 733425"/>
              <a:gd name="connsiteX24" fmla="*/ 1050925 w 2889264"/>
              <a:gd name="connsiteY24" fmla="*/ 212725 h 733425"/>
              <a:gd name="connsiteX25" fmla="*/ 1079500 w 2889264"/>
              <a:gd name="connsiteY25" fmla="*/ 200025 h 733425"/>
              <a:gd name="connsiteX26" fmla="*/ 1098550 w 2889264"/>
              <a:gd name="connsiteY26" fmla="*/ 193675 h 733425"/>
              <a:gd name="connsiteX27" fmla="*/ 1111250 w 2889264"/>
              <a:gd name="connsiteY27" fmla="*/ 187325 h 733425"/>
              <a:gd name="connsiteX28" fmla="*/ 1136650 w 2889264"/>
              <a:gd name="connsiteY28" fmla="*/ 177800 h 733425"/>
              <a:gd name="connsiteX29" fmla="*/ 1181100 w 2889264"/>
              <a:gd name="connsiteY29" fmla="*/ 152400 h 733425"/>
              <a:gd name="connsiteX30" fmla="*/ 1203325 w 2889264"/>
              <a:gd name="connsiteY30" fmla="*/ 130175 h 733425"/>
              <a:gd name="connsiteX31" fmla="*/ 1219200 w 2889264"/>
              <a:gd name="connsiteY31" fmla="*/ 117475 h 733425"/>
              <a:gd name="connsiteX32" fmla="*/ 1276350 w 2889264"/>
              <a:gd name="connsiteY32" fmla="*/ 85725 h 733425"/>
              <a:gd name="connsiteX33" fmla="*/ 1289050 w 2889264"/>
              <a:gd name="connsiteY33" fmla="*/ 79375 h 733425"/>
              <a:gd name="connsiteX34" fmla="*/ 1327150 w 2889264"/>
              <a:gd name="connsiteY34" fmla="*/ 66675 h 733425"/>
              <a:gd name="connsiteX35" fmla="*/ 1343025 w 2889264"/>
              <a:gd name="connsiteY35" fmla="*/ 57150 h 733425"/>
              <a:gd name="connsiteX36" fmla="*/ 1355725 w 2889264"/>
              <a:gd name="connsiteY36" fmla="*/ 47625 h 733425"/>
              <a:gd name="connsiteX37" fmla="*/ 1377950 w 2889264"/>
              <a:gd name="connsiteY37" fmla="*/ 38100 h 733425"/>
              <a:gd name="connsiteX38" fmla="*/ 1416050 w 2889264"/>
              <a:gd name="connsiteY38" fmla="*/ 12700 h 733425"/>
              <a:gd name="connsiteX39" fmla="*/ 1428750 w 2889264"/>
              <a:gd name="connsiteY39" fmla="*/ 0 h 733425"/>
              <a:gd name="connsiteX40" fmla="*/ 1470025 w 2889264"/>
              <a:gd name="connsiteY40" fmla="*/ 28575 h 733425"/>
              <a:gd name="connsiteX41" fmla="*/ 1504950 w 2889264"/>
              <a:gd name="connsiteY41" fmla="*/ 41275 h 733425"/>
              <a:gd name="connsiteX42" fmla="*/ 1517650 w 2889264"/>
              <a:gd name="connsiteY42" fmla="*/ 50800 h 733425"/>
              <a:gd name="connsiteX43" fmla="*/ 1549400 w 2889264"/>
              <a:gd name="connsiteY43" fmla="*/ 60325 h 733425"/>
              <a:gd name="connsiteX44" fmla="*/ 1562100 w 2889264"/>
              <a:gd name="connsiteY44" fmla="*/ 69850 h 733425"/>
              <a:gd name="connsiteX45" fmla="*/ 1574800 w 2889264"/>
              <a:gd name="connsiteY45" fmla="*/ 73025 h 733425"/>
              <a:gd name="connsiteX46" fmla="*/ 1590675 w 2889264"/>
              <a:gd name="connsiteY46" fmla="*/ 79375 h 733425"/>
              <a:gd name="connsiteX47" fmla="*/ 1600200 w 2889264"/>
              <a:gd name="connsiteY47" fmla="*/ 85725 h 733425"/>
              <a:gd name="connsiteX48" fmla="*/ 1612900 w 2889264"/>
              <a:gd name="connsiteY48" fmla="*/ 92075 h 733425"/>
              <a:gd name="connsiteX49" fmla="*/ 1625600 w 2889264"/>
              <a:gd name="connsiteY49" fmla="*/ 101600 h 733425"/>
              <a:gd name="connsiteX50" fmla="*/ 1635125 w 2889264"/>
              <a:gd name="connsiteY50" fmla="*/ 104775 h 733425"/>
              <a:gd name="connsiteX51" fmla="*/ 1654175 w 2889264"/>
              <a:gd name="connsiteY51" fmla="*/ 114300 h 733425"/>
              <a:gd name="connsiteX52" fmla="*/ 1676400 w 2889264"/>
              <a:gd name="connsiteY52" fmla="*/ 130175 h 733425"/>
              <a:gd name="connsiteX53" fmla="*/ 1689100 w 2889264"/>
              <a:gd name="connsiteY53" fmla="*/ 136525 h 733425"/>
              <a:gd name="connsiteX54" fmla="*/ 1714500 w 2889264"/>
              <a:gd name="connsiteY54" fmla="*/ 146050 h 733425"/>
              <a:gd name="connsiteX55" fmla="*/ 1727200 w 2889264"/>
              <a:gd name="connsiteY55" fmla="*/ 155575 h 733425"/>
              <a:gd name="connsiteX56" fmla="*/ 1758950 w 2889264"/>
              <a:gd name="connsiteY56" fmla="*/ 165100 h 733425"/>
              <a:gd name="connsiteX57" fmla="*/ 1768475 w 2889264"/>
              <a:gd name="connsiteY57" fmla="*/ 171450 h 733425"/>
              <a:gd name="connsiteX58" fmla="*/ 1781175 w 2889264"/>
              <a:gd name="connsiteY58" fmla="*/ 180975 h 733425"/>
              <a:gd name="connsiteX59" fmla="*/ 1793875 w 2889264"/>
              <a:gd name="connsiteY59" fmla="*/ 187325 h 733425"/>
              <a:gd name="connsiteX60" fmla="*/ 1838325 w 2889264"/>
              <a:gd name="connsiteY60" fmla="*/ 212725 h 733425"/>
              <a:gd name="connsiteX61" fmla="*/ 1847850 w 2889264"/>
              <a:gd name="connsiteY61" fmla="*/ 222250 h 733425"/>
              <a:gd name="connsiteX62" fmla="*/ 1885950 w 2889264"/>
              <a:gd name="connsiteY62" fmla="*/ 241300 h 733425"/>
              <a:gd name="connsiteX63" fmla="*/ 1901825 w 2889264"/>
              <a:gd name="connsiteY63" fmla="*/ 250825 h 733425"/>
              <a:gd name="connsiteX64" fmla="*/ 1933575 w 2889264"/>
              <a:gd name="connsiteY64" fmla="*/ 263525 h 733425"/>
              <a:gd name="connsiteX65" fmla="*/ 1962150 w 2889264"/>
              <a:gd name="connsiteY65" fmla="*/ 276225 h 733425"/>
              <a:gd name="connsiteX66" fmla="*/ 1971675 w 2889264"/>
              <a:gd name="connsiteY66" fmla="*/ 282575 h 733425"/>
              <a:gd name="connsiteX67" fmla="*/ 1987550 w 2889264"/>
              <a:gd name="connsiteY67" fmla="*/ 288925 h 733425"/>
              <a:gd name="connsiteX68" fmla="*/ 2022475 w 2889264"/>
              <a:gd name="connsiteY68" fmla="*/ 301625 h 733425"/>
              <a:gd name="connsiteX69" fmla="*/ 2047875 w 2889264"/>
              <a:gd name="connsiteY69" fmla="*/ 314325 h 733425"/>
              <a:gd name="connsiteX70" fmla="*/ 2063750 w 2889264"/>
              <a:gd name="connsiteY70" fmla="*/ 320675 h 733425"/>
              <a:gd name="connsiteX71" fmla="*/ 2082800 w 2889264"/>
              <a:gd name="connsiteY71" fmla="*/ 330200 h 733425"/>
              <a:gd name="connsiteX72" fmla="*/ 2095500 w 2889264"/>
              <a:gd name="connsiteY72" fmla="*/ 333375 h 733425"/>
              <a:gd name="connsiteX73" fmla="*/ 2124075 w 2889264"/>
              <a:gd name="connsiteY73" fmla="*/ 342900 h 733425"/>
              <a:gd name="connsiteX74" fmla="*/ 2159000 w 2889264"/>
              <a:gd name="connsiteY74" fmla="*/ 358775 h 733425"/>
              <a:gd name="connsiteX75" fmla="*/ 2187575 w 2889264"/>
              <a:gd name="connsiteY75" fmla="*/ 377825 h 733425"/>
              <a:gd name="connsiteX76" fmla="*/ 2209800 w 2889264"/>
              <a:gd name="connsiteY76" fmla="*/ 393700 h 733425"/>
              <a:gd name="connsiteX77" fmla="*/ 2247900 w 2889264"/>
              <a:gd name="connsiteY77" fmla="*/ 419100 h 733425"/>
              <a:gd name="connsiteX78" fmla="*/ 2276475 w 2889264"/>
              <a:gd name="connsiteY78" fmla="*/ 434975 h 733425"/>
              <a:gd name="connsiteX79" fmla="*/ 2289175 w 2889264"/>
              <a:gd name="connsiteY79" fmla="*/ 444500 h 733425"/>
              <a:gd name="connsiteX80" fmla="*/ 2308225 w 2889264"/>
              <a:gd name="connsiteY80" fmla="*/ 447675 h 733425"/>
              <a:gd name="connsiteX81" fmla="*/ 2333625 w 2889264"/>
              <a:gd name="connsiteY81" fmla="*/ 460375 h 733425"/>
              <a:gd name="connsiteX82" fmla="*/ 2352675 w 2889264"/>
              <a:gd name="connsiteY82" fmla="*/ 466725 h 733425"/>
              <a:gd name="connsiteX83" fmla="*/ 2397125 w 2889264"/>
              <a:gd name="connsiteY83" fmla="*/ 488950 h 733425"/>
              <a:gd name="connsiteX84" fmla="*/ 2422525 w 2889264"/>
              <a:gd name="connsiteY84" fmla="*/ 495300 h 733425"/>
              <a:gd name="connsiteX85" fmla="*/ 2432050 w 2889264"/>
              <a:gd name="connsiteY85" fmla="*/ 498475 h 733425"/>
              <a:gd name="connsiteX86" fmla="*/ 2454275 w 2889264"/>
              <a:gd name="connsiteY86" fmla="*/ 511175 h 733425"/>
              <a:gd name="connsiteX87" fmla="*/ 2470150 w 2889264"/>
              <a:gd name="connsiteY87" fmla="*/ 523875 h 733425"/>
              <a:gd name="connsiteX88" fmla="*/ 2495550 w 2889264"/>
              <a:gd name="connsiteY88" fmla="*/ 533400 h 733425"/>
              <a:gd name="connsiteX89" fmla="*/ 2546350 w 2889264"/>
              <a:gd name="connsiteY89" fmla="*/ 558800 h 733425"/>
              <a:gd name="connsiteX90" fmla="*/ 2574925 w 2889264"/>
              <a:gd name="connsiteY90" fmla="*/ 565150 h 733425"/>
              <a:gd name="connsiteX91" fmla="*/ 2600325 w 2889264"/>
              <a:gd name="connsiteY91" fmla="*/ 577850 h 733425"/>
              <a:gd name="connsiteX92" fmla="*/ 2616200 w 2889264"/>
              <a:gd name="connsiteY92" fmla="*/ 581025 h 733425"/>
              <a:gd name="connsiteX93" fmla="*/ 2638425 w 2889264"/>
              <a:gd name="connsiteY93" fmla="*/ 587375 h 733425"/>
              <a:gd name="connsiteX94" fmla="*/ 2654300 w 2889264"/>
              <a:gd name="connsiteY94" fmla="*/ 596900 h 733425"/>
              <a:gd name="connsiteX95" fmla="*/ 2673350 w 2889264"/>
              <a:gd name="connsiteY95" fmla="*/ 603250 h 733425"/>
              <a:gd name="connsiteX96" fmla="*/ 2708275 w 2889264"/>
              <a:gd name="connsiteY96" fmla="*/ 625475 h 733425"/>
              <a:gd name="connsiteX97" fmla="*/ 2730500 w 2889264"/>
              <a:gd name="connsiteY97" fmla="*/ 635000 h 733425"/>
              <a:gd name="connsiteX98" fmla="*/ 2749550 w 2889264"/>
              <a:gd name="connsiteY98" fmla="*/ 650875 h 733425"/>
              <a:gd name="connsiteX99" fmla="*/ 2774950 w 2889264"/>
              <a:gd name="connsiteY99" fmla="*/ 663575 h 733425"/>
              <a:gd name="connsiteX100" fmla="*/ 2803525 w 2889264"/>
              <a:gd name="connsiteY100" fmla="*/ 676275 h 733425"/>
              <a:gd name="connsiteX101" fmla="*/ 2816225 w 2889264"/>
              <a:gd name="connsiteY101" fmla="*/ 685800 h 733425"/>
              <a:gd name="connsiteX102" fmla="*/ 2832100 w 2889264"/>
              <a:gd name="connsiteY102" fmla="*/ 692150 h 733425"/>
              <a:gd name="connsiteX103" fmla="*/ 2876550 w 2889264"/>
              <a:gd name="connsiteY103" fmla="*/ 723900 h 733425"/>
              <a:gd name="connsiteX104" fmla="*/ 2889250 w 2889264"/>
              <a:gd name="connsiteY104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584200 w 2889264"/>
              <a:gd name="connsiteY10" fmla="*/ 441325 h 733425"/>
              <a:gd name="connsiteX11" fmla="*/ 612775 w 2889264"/>
              <a:gd name="connsiteY11" fmla="*/ 428625 h 733425"/>
              <a:gd name="connsiteX12" fmla="*/ 628650 w 2889264"/>
              <a:gd name="connsiteY12" fmla="*/ 422275 h 733425"/>
              <a:gd name="connsiteX13" fmla="*/ 657225 w 2889264"/>
              <a:gd name="connsiteY13" fmla="*/ 406400 h 733425"/>
              <a:gd name="connsiteX14" fmla="*/ 736600 w 2889264"/>
              <a:gd name="connsiteY14" fmla="*/ 368300 h 733425"/>
              <a:gd name="connsiteX15" fmla="*/ 800100 w 2889264"/>
              <a:gd name="connsiteY15" fmla="*/ 336550 h 733425"/>
              <a:gd name="connsiteX16" fmla="*/ 898525 w 2889264"/>
              <a:gd name="connsiteY16" fmla="*/ 288925 h 733425"/>
              <a:gd name="connsiteX17" fmla="*/ 923925 w 2889264"/>
              <a:gd name="connsiteY17" fmla="*/ 269875 h 733425"/>
              <a:gd name="connsiteX18" fmla="*/ 933450 w 2889264"/>
              <a:gd name="connsiteY18" fmla="*/ 260350 h 733425"/>
              <a:gd name="connsiteX19" fmla="*/ 958850 w 2889264"/>
              <a:gd name="connsiteY19" fmla="*/ 247650 h 733425"/>
              <a:gd name="connsiteX20" fmla="*/ 968375 w 2889264"/>
              <a:gd name="connsiteY20" fmla="*/ 241300 h 733425"/>
              <a:gd name="connsiteX21" fmla="*/ 984250 w 2889264"/>
              <a:gd name="connsiteY21" fmla="*/ 234950 h 733425"/>
              <a:gd name="connsiteX22" fmla="*/ 1006475 w 2889264"/>
              <a:gd name="connsiteY22" fmla="*/ 225425 h 733425"/>
              <a:gd name="connsiteX23" fmla="*/ 1050925 w 2889264"/>
              <a:gd name="connsiteY23" fmla="*/ 212725 h 733425"/>
              <a:gd name="connsiteX24" fmla="*/ 1079500 w 2889264"/>
              <a:gd name="connsiteY24" fmla="*/ 200025 h 733425"/>
              <a:gd name="connsiteX25" fmla="*/ 1098550 w 2889264"/>
              <a:gd name="connsiteY25" fmla="*/ 193675 h 733425"/>
              <a:gd name="connsiteX26" fmla="*/ 1111250 w 2889264"/>
              <a:gd name="connsiteY26" fmla="*/ 187325 h 733425"/>
              <a:gd name="connsiteX27" fmla="*/ 1136650 w 2889264"/>
              <a:gd name="connsiteY27" fmla="*/ 177800 h 733425"/>
              <a:gd name="connsiteX28" fmla="*/ 1181100 w 2889264"/>
              <a:gd name="connsiteY28" fmla="*/ 152400 h 733425"/>
              <a:gd name="connsiteX29" fmla="*/ 1203325 w 2889264"/>
              <a:gd name="connsiteY29" fmla="*/ 130175 h 733425"/>
              <a:gd name="connsiteX30" fmla="*/ 1219200 w 2889264"/>
              <a:gd name="connsiteY30" fmla="*/ 117475 h 733425"/>
              <a:gd name="connsiteX31" fmla="*/ 1276350 w 2889264"/>
              <a:gd name="connsiteY31" fmla="*/ 85725 h 733425"/>
              <a:gd name="connsiteX32" fmla="*/ 1289050 w 2889264"/>
              <a:gd name="connsiteY32" fmla="*/ 79375 h 733425"/>
              <a:gd name="connsiteX33" fmla="*/ 1327150 w 2889264"/>
              <a:gd name="connsiteY33" fmla="*/ 66675 h 733425"/>
              <a:gd name="connsiteX34" fmla="*/ 1343025 w 2889264"/>
              <a:gd name="connsiteY34" fmla="*/ 57150 h 733425"/>
              <a:gd name="connsiteX35" fmla="*/ 1355725 w 2889264"/>
              <a:gd name="connsiteY35" fmla="*/ 47625 h 733425"/>
              <a:gd name="connsiteX36" fmla="*/ 1377950 w 2889264"/>
              <a:gd name="connsiteY36" fmla="*/ 38100 h 733425"/>
              <a:gd name="connsiteX37" fmla="*/ 1416050 w 2889264"/>
              <a:gd name="connsiteY37" fmla="*/ 12700 h 733425"/>
              <a:gd name="connsiteX38" fmla="*/ 1428750 w 2889264"/>
              <a:gd name="connsiteY38" fmla="*/ 0 h 733425"/>
              <a:gd name="connsiteX39" fmla="*/ 1470025 w 2889264"/>
              <a:gd name="connsiteY39" fmla="*/ 28575 h 733425"/>
              <a:gd name="connsiteX40" fmla="*/ 1504950 w 2889264"/>
              <a:gd name="connsiteY40" fmla="*/ 41275 h 733425"/>
              <a:gd name="connsiteX41" fmla="*/ 1517650 w 2889264"/>
              <a:gd name="connsiteY41" fmla="*/ 50800 h 733425"/>
              <a:gd name="connsiteX42" fmla="*/ 1549400 w 2889264"/>
              <a:gd name="connsiteY42" fmla="*/ 60325 h 733425"/>
              <a:gd name="connsiteX43" fmla="*/ 1562100 w 2889264"/>
              <a:gd name="connsiteY43" fmla="*/ 69850 h 733425"/>
              <a:gd name="connsiteX44" fmla="*/ 1574800 w 2889264"/>
              <a:gd name="connsiteY44" fmla="*/ 73025 h 733425"/>
              <a:gd name="connsiteX45" fmla="*/ 1590675 w 2889264"/>
              <a:gd name="connsiteY45" fmla="*/ 79375 h 733425"/>
              <a:gd name="connsiteX46" fmla="*/ 1600200 w 2889264"/>
              <a:gd name="connsiteY46" fmla="*/ 85725 h 733425"/>
              <a:gd name="connsiteX47" fmla="*/ 1612900 w 2889264"/>
              <a:gd name="connsiteY47" fmla="*/ 92075 h 733425"/>
              <a:gd name="connsiteX48" fmla="*/ 1625600 w 2889264"/>
              <a:gd name="connsiteY48" fmla="*/ 101600 h 733425"/>
              <a:gd name="connsiteX49" fmla="*/ 1635125 w 2889264"/>
              <a:gd name="connsiteY49" fmla="*/ 104775 h 733425"/>
              <a:gd name="connsiteX50" fmla="*/ 1654175 w 2889264"/>
              <a:gd name="connsiteY50" fmla="*/ 114300 h 733425"/>
              <a:gd name="connsiteX51" fmla="*/ 1676400 w 2889264"/>
              <a:gd name="connsiteY51" fmla="*/ 130175 h 733425"/>
              <a:gd name="connsiteX52" fmla="*/ 1689100 w 2889264"/>
              <a:gd name="connsiteY52" fmla="*/ 136525 h 733425"/>
              <a:gd name="connsiteX53" fmla="*/ 1714500 w 2889264"/>
              <a:gd name="connsiteY53" fmla="*/ 146050 h 733425"/>
              <a:gd name="connsiteX54" fmla="*/ 1727200 w 2889264"/>
              <a:gd name="connsiteY54" fmla="*/ 155575 h 733425"/>
              <a:gd name="connsiteX55" fmla="*/ 1758950 w 2889264"/>
              <a:gd name="connsiteY55" fmla="*/ 165100 h 733425"/>
              <a:gd name="connsiteX56" fmla="*/ 1768475 w 2889264"/>
              <a:gd name="connsiteY56" fmla="*/ 171450 h 733425"/>
              <a:gd name="connsiteX57" fmla="*/ 1781175 w 2889264"/>
              <a:gd name="connsiteY57" fmla="*/ 180975 h 733425"/>
              <a:gd name="connsiteX58" fmla="*/ 1793875 w 2889264"/>
              <a:gd name="connsiteY58" fmla="*/ 187325 h 733425"/>
              <a:gd name="connsiteX59" fmla="*/ 1838325 w 2889264"/>
              <a:gd name="connsiteY59" fmla="*/ 212725 h 733425"/>
              <a:gd name="connsiteX60" fmla="*/ 1847850 w 2889264"/>
              <a:gd name="connsiteY60" fmla="*/ 222250 h 733425"/>
              <a:gd name="connsiteX61" fmla="*/ 1885950 w 2889264"/>
              <a:gd name="connsiteY61" fmla="*/ 241300 h 733425"/>
              <a:gd name="connsiteX62" fmla="*/ 1901825 w 2889264"/>
              <a:gd name="connsiteY62" fmla="*/ 250825 h 733425"/>
              <a:gd name="connsiteX63" fmla="*/ 1933575 w 2889264"/>
              <a:gd name="connsiteY63" fmla="*/ 263525 h 733425"/>
              <a:gd name="connsiteX64" fmla="*/ 1962150 w 2889264"/>
              <a:gd name="connsiteY64" fmla="*/ 276225 h 733425"/>
              <a:gd name="connsiteX65" fmla="*/ 1971675 w 2889264"/>
              <a:gd name="connsiteY65" fmla="*/ 282575 h 733425"/>
              <a:gd name="connsiteX66" fmla="*/ 1987550 w 2889264"/>
              <a:gd name="connsiteY66" fmla="*/ 288925 h 733425"/>
              <a:gd name="connsiteX67" fmla="*/ 2022475 w 2889264"/>
              <a:gd name="connsiteY67" fmla="*/ 301625 h 733425"/>
              <a:gd name="connsiteX68" fmla="*/ 2047875 w 2889264"/>
              <a:gd name="connsiteY68" fmla="*/ 314325 h 733425"/>
              <a:gd name="connsiteX69" fmla="*/ 2063750 w 2889264"/>
              <a:gd name="connsiteY69" fmla="*/ 320675 h 733425"/>
              <a:gd name="connsiteX70" fmla="*/ 2082800 w 2889264"/>
              <a:gd name="connsiteY70" fmla="*/ 330200 h 733425"/>
              <a:gd name="connsiteX71" fmla="*/ 2095500 w 2889264"/>
              <a:gd name="connsiteY71" fmla="*/ 333375 h 733425"/>
              <a:gd name="connsiteX72" fmla="*/ 2124075 w 2889264"/>
              <a:gd name="connsiteY72" fmla="*/ 342900 h 733425"/>
              <a:gd name="connsiteX73" fmla="*/ 2159000 w 2889264"/>
              <a:gd name="connsiteY73" fmla="*/ 358775 h 733425"/>
              <a:gd name="connsiteX74" fmla="*/ 2187575 w 2889264"/>
              <a:gd name="connsiteY74" fmla="*/ 377825 h 733425"/>
              <a:gd name="connsiteX75" fmla="*/ 2209800 w 2889264"/>
              <a:gd name="connsiteY75" fmla="*/ 393700 h 733425"/>
              <a:gd name="connsiteX76" fmla="*/ 2247900 w 2889264"/>
              <a:gd name="connsiteY76" fmla="*/ 419100 h 733425"/>
              <a:gd name="connsiteX77" fmla="*/ 2276475 w 2889264"/>
              <a:gd name="connsiteY77" fmla="*/ 434975 h 733425"/>
              <a:gd name="connsiteX78" fmla="*/ 2289175 w 2889264"/>
              <a:gd name="connsiteY78" fmla="*/ 444500 h 733425"/>
              <a:gd name="connsiteX79" fmla="*/ 2308225 w 2889264"/>
              <a:gd name="connsiteY79" fmla="*/ 447675 h 733425"/>
              <a:gd name="connsiteX80" fmla="*/ 2333625 w 2889264"/>
              <a:gd name="connsiteY80" fmla="*/ 460375 h 733425"/>
              <a:gd name="connsiteX81" fmla="*/ 2352675 w 2889264"/>
              <a:gd name="connsiteY81" fmla="*/ 466725 h 733425"/>
              <a:gd name="connsiteX82" fmla="*/ 2397125 w 2889264"/>
              <a:gd name="connsiteY82" fmla="*/ 488950 h 733425"/>
              <a:gd name="connsiteX83" fmla="*/ 2422525 w 2889264"/>
              <a:gd name="connsiteY83" fmla="*/ 495300 h 733425"/>
              <a:gd name="connsiteX84" fmla="*/ 2432050 w 2889264"/>
              <a:gd name="connsiteY84" fmla="*/ 498475 h 733425"/>
              <a:gd name="connsiteX85" fmla="*/ 2454275 w 2889264"/>
              <a:gd name="connsiteY85" fmla="*/ 511175 h 733425"/>
              <a:gd name="connsiteX86" fmla="*/ 2470150 w 2889264"/>
              <a:gd name="connsiteY86" fmla="*/ 523875 h 733425"/>
              <a:gd name="connsiteX87" fmla="*/ 2495550 w 2889264"/>
              <a:gd name="connsiteY87" fmla="*/ 533400 h 733425"/>
              <a:gd name="connsiteX88" fmla="*/ 2546350 w 2889264"/>
              <a:gd name="connsiteY88" fmla="*/ 558800 h 733425"/>
              <a:gd name="connsiteX89" fmla="*/ 2574925 w 2889264"/>
              <a:gd name="connsiteY89" fmla="*/ 565150 h 733425"/>
              <a:gd name="connsiteX90" fmla="*/ 2600325 w 2889264"/>
              <a:gd name="connsiteY90" fmla="*/ 577850 h 733425"/>
              <a:gd name="connsiteX91" fmla="*/ 2616200 w 2889264"/>
              <a:gd name="connsiteY91" fmla="*/ 581025 h 733425"/>
              <a:gd name="connsiteX92" fmla="*/ 2638425 w 2889264"/>
              <a:gd name="connsiteY92" fmla="*/ 587375 h 733425"/>
              <a:gd name="connsiteX93" fmla="*/ 2654300 w 2889264"/>
              <a:gd name="connsiteY93" fmla="*/ 596900 h 733425"/>
              <a:gd name="connsiteX94" fmla="*/ 2673350 w 2889264"/>
              <a:gd name="connsiteY94" fmla="*/ 603250 h 733425"/>
              <a:gd name="connsiteX95" fmla="*/ 2708275 w 2889264"/>
              <a:gd name="connsiteY95" fmla="*/ 625475 h 733425"/>
              <a:gd name="connsiteX96" fmla="*/ 2730500 w 2889264"/>
              <a:gd name="connsiteY96" fmla="*/ 635000 h 733425"/>
              <a:gd name="connsiteX97" fmla="*/ 2749550 w 2889264"/>
              <a:gd name="connsiteY97" fmla="*/ 650875 h 733425"/>
              <a:gd name="connsiteX98" fmla="*/ 2774950 w 2889264"/>
              <a:gd name="connsiteY98" fmla="*/ 663575 h 733425"/>
              <a:gd name="connsiteX99" fmla="*/ 2803525 w 2889264"/>
              <a:gd name="connsiteY99" fmla="*/ 676275 h 733425"/>
              <a:gd name="connsiteX100" fmla="*/ 2816225 w 2889264"/>
              <a:gd name="connsiteY100" fmla="*/ 685800 h 733425"/>
              <a:gd name="connsiteX101" fmla="*/ 2832100 w 2889264"/>
              <a:gd name="connsiteY101" fmla="*/ 692150 h 733425"/>
              <a:gd name="connsiteX102" fmla="*/ 2876550 w 2889264"/>
              <a:gd name="connsiteY102" fmla="*/ 723900 h 733425"/>
              <a:gd name="connsiteX103" fmla="*/ 2889250 w 2889264"/>
              <a:gd name="connsiteY103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584200 w 2889264"/>
              <a:gd name="connsiteY10" fmla="*/ 441325 h 733425"/>
              <a:gd name="connsiteX11" fmla="*/ 612775 w 2889264"/>
              <a:gd name="connsiteY11" fmla="*/ 428625 h 733425"/>
              <a:gd name="connsiteX12" fmla="*/ 657225 w 2889264"/>
              <a:gd name="connsiteY12" fmla="*/ 406400 h 733425"/>
              <a:gd name="connsiteX13" fmla="*/ 736600 w 2889264"/>
              <a:gd name="connsiteY13" fmla="*/ 368300 h 733425"/>
              <a:gd name="connsiteX14" fmla="*/ 800100 w 2889264"/>
              <a:gd name="connsiteY14" fmla="*/ 336550 h 733425"/>
              <a:gd name="connsiteX15" fmla="*/ 898525 w 2889264"/>
              <a:gd name="connsiteY15" fmla="*/ 288925 h 733425"/>
              <a:gd name="connsiteX16" fmla="*/ 923925 w 2889264"/>
              <a:gd name="connsiteY16" fmla="*/ 269875 h 733425"/>
              <a:gd name="connsiteX17" fmla="*/ 933450 w 2889264"/>
              <a:gd name="connsiteY17" fmla="*/ 260350 h 733425"/>
              <a:gd name="connsiteX18" fmla="*/ 958850 w 2889264"/>
              <a:gd name="connsiteY18" fmla="*/ 247650 h 733425"/>
              <a:gd name="connsiteX19" fmla="*/ 968375 w 2889264"/>
              <a:gd name="connsiteY19" fmla="*/ 241300 h 733425"/>
              <a:gd name="connsiteX20" fmla="*/ 984250 w 2889264"/>
              <a:gd name="connsiteY20" fmla="*/ 234950 h 733425"/>
              <a:gd name="connsiteX21" fmla="*/ 1006475 w 2889264"/>
              <a:gd name="connsiteY21" fmla="*/ 225425 h 733425"/>
              <a:gd name="connsiteX22" fmla="*/ 1050925 w 2889264"/>
              <a:gd name="connsiteY22" fmla="*/ 212725 h 733425"/>
              <a:gd name="connsiteX23" fmla="*/ 1079500 w 2889264"/>
              <a:gd name="connsiteY23" fmla="*/ 200025 h 733425"/>
              <a:gd name="connsiteX24" fmla="*/ 1098550 w 2889264"/>
              <a:gd name="connsiteY24" fmla="*/ 193675 h 733425"/>
              <a:gd name="connsiteX25" fmla="*/ 1111250 w 2889264"/>
              <a:gd name="connsiteY25" fmla="*/ 187325 h 733425"/>
              <a:gd name="connsiteX26" fmla="*/ 1136650 w 2889264"/>
              <a:gd name="connsiteY26" fmla="*/ 177800 h 733425"/>
              <a:gd name="connsiteX27" fmla="*/ 1181100 w 2889264"/>
              <a:gd name="connsiteY27" fmla="*/ 152400 h 733425"/>
              <a:gd name="connsiteX28" fmla="*/ 1203325 w 2889264"/>
              <a:gd name="connsiteY28" fmla="*/ 130175 h 733425"/>
              <a:gd name="connsiteX29" fmla="*/ 1219200 w 2889264"/>
              <a:gd name="connsiteY29" fmla="*/ 117475 h 733425"/>
              <a:gd name="connsiteX30" fmla="*/ 1276350 w 2889264"/>
              <a:gd name="connsiteY30" fmla="*/ 85725 h 733425"/>
              <a:gd name="connsiteX31" fmla="*/ 1289050 w 2889264"/>
              <a:gd name="connsiteY31" fmla="*/ 79375 h 733425"/>
              <a:gd name="connsiteX32" fmla="*/ 1327150 w 2889264"/>
              <a:gd name="connsiteY32" fmla="*/ 66675 h 733425"/>
              <a:gd name="connsiteX33" fmla="*/ 1343025 w 2889264"/>
              <a:gd name="connsiteY33" fmla="*/ 57150 h 733425"/>
              <a:gd name="connsiteX34" fmla="*/ 1355725 w 2889264"/>
              <a:gd name="connsiteY34" fmla="*/ 47625 h 733425"/>
              <a:gd name="connsiteX35" fmla="*/ 1377950 w 2889264"/>
              <a:gd name="connsiteY35" fmla="*/ 38100 h 733425"/>
              <a:gd name="connsiteX36" fmla="*/ 1416050 w 2889264"/>
              <a:gd name="connsiteY36" fmla="*/ 12700 h 733425"/>
              <a:gd name="connsiteX37" fmla="*/ 1428750 w 2889264"/>
              <a:gd name="connsiteY37" fmla="*/ 0 h 733425"/>
              <a:gd name="connsiteX38" fmla="*/ 1470025 w 2889264"/>
              <a:gd name="connsiteY38" fmla="*/ 28575 h 733425"/>
              <a:gd name="connsiteX39" fmla="*/ 1504950 w 2889264"/>
              <a:gd name="connsiteY39" fmla="*/ 41275 h 733425"/>
              <a:gd name="connsiteX40" fmla="*/ 1517650 w 2889264"/>
              <a:gd name="connsiteY40" fmla="*/ 50800 h 733425"/>
              <a:gd name="connsiteX41" fmla="*/ 1549400 w 2889264"/>
              <a:gd name="connsiteY41" fmla="*/ 60325 h 733425"/>
              <a:gd name="connsiteX42" fmla="*/ 1562100 w 2889264"/>
              <a:gd name="connsiteY42" fmla="*/ 69850 h 733425"/>
              <a:gd name="connsiteX43" fmla="*/ 1574800 w 2889264"/>
              <a:gd name="connsiteY43" fmla="*/ 73025 h 733425"/>
              <a:gd name="connsiteX44" fmla="*/ 1590675 w 2889264"/>
              <a:gd name="connsiteY44" fmla="*/ 79375 h 733425"/>
              <a:gd name="connsiteX45" fmla="*/ 1600200 w 2889264"/>
              <a:gd name="connsiteY45" fmla="*/ 85725 h 733425"/>
              <a:gd name="connsiteX46" fmla="*/ 1612900 w 2889264"/>
              <a:gd name="connsiteY46" fmla="*/ 92075 h 733425"/>
              <a:gd name="connsiteX47" fmla="*/ 1625600 w 2889264"/>
              <a:gd name="connsiteY47" fmla="*/ 101600 h 733425"/>
              <a:gd name="connsiteX48" fmla="*/ 1635125 w 2889264"/>
              <a:gd name="connsiteY48" fmla="*/ 104775 h 733425"/>
              <a:gd name="connsiteX49" fmla="*/ 1654175 w 2889264"/>
              <a:gd name="connsiteY49" fmla="*/ 114300 h 733425"/>
              <a:gd name="connsiteX50" fmla="*/ 1676400 w 2889264"/>
              <a:gd name="connsiteY50" fmla="*/ 130175 h 733425"/>
              <a:gd name="connsiteX51" fmla="*/ 1689100 w 2889264"/>
              <a:gd name="connsiteY51" fmla="*/ 136525 h 733425"/>
              <a:gd name="connsiteX52" fmla="*/ 1714500 w 2889264"/>
              <a:gd name="connsiteY52" fmla="*/ 146050 h 733425"/>
              <a:gd name="connsiteX53" fmla="*/ 1727200 w 2889264"/>
              <a:gd name="connsiteY53" fmla="*/ 155575 h 733425"/>
              <a:gd name="connsiteX54" fmla="*/ 1758950 w 2889264"/>
              <a:gd name="connsiteY54" fmla="*/ 165100 h 733425"/>
              <a:gd name="connsiteX55" fmla="*/ 1768475 w 2889264"/>
              <a:gd name="connsiteY55" fmla="*/ 171450 h 733425"/>
              <a:gd name="connsiteX56" fmla="*/ 1781175 w 2889264"/>
              <a:gd name="connsiteY56" fmla="*/ 180975 h 733425"/>
              <a:gd name="connsiteX57" fmla="*/ 1793875 w 2889264"/>
              <a:gd name="connsiteY57" fmla="*/ 187325 h 733425"/>
              <a:gd name="connsiteX58" fmla="*/ 1838325 w 2889264"/>
              <a:gd name="connsiteY58" fmla="*/ 212725 h 733425"/>
              <a:gd name="connsiteX59" fmla="*/ 1847850 w 2889264"/>
              <a:gd name="connsiteY59" fmla="*/ 222250 h 733425"/>
              <a:gd name="connsiteX60" fmla="*/ 1885950 w 2889264"/>
              <a:gd name="connsiteY60" fmla="*/ 241300 h 733425"/>
              <a:gd name="connsiteX61" fmla="*/ 1901825 w 2889264"/>
              <a:gd name="connsiteY61" fmla="*/ 250825 h 733425"/>
              <a:gd name="connsiteX62" fmla="*/ 1933575 w 2889264"/>
              <a:gd name="connsiteY62" fmla="*/ 263525 h 733425"/>
              <a:gd name="connsiteX63" fmla="*/ 1962150 w 2889264"/>
              <a:gd name="connsiteY63" fmla="*/ 276225 h 733425"/>
              <a:gd name="connsiteX64" fmla="*/ 1971675 w 2889264"/>
              <a:gd name="connsiteY64" fmla="*/ 282575 h 733425"/>
              <a:gd name="connsiteX65" fmla="*/ 1987550 w 2889264"/>
              <a:gd name="connsiteY65" fmla="*/ 288925 h 733425"/>
              <a:gd name="connsiteX66" fmla="*/ 2022475 w 2889264"/>
              <a:gd name="connsiteY66" fmla="*/ 301625 h 733425"/>
              <a:gd name="connsiteX67" fmla="*/ 2047875 w 2889264"/>
              <a:gd name="connsiteY67" fmla="*/ 314325 h 733425"/>
              <a:gd name="connsiteX68" fmla="*/ 2063750 w 2889264"/>
              <a:gd name="connsiteY68" fmla="*/ 320675 h 733425"/>
              <a:gd name="connsiteX69" fmla="*/ 2082800 w 2889264"/>
              <a:gd name="connsiteY69" fmla="*/ 330200 h 733425"/>
              <a:gd name="connsiteX70" fmla="*/ 2095500 w 2889264"/>
              <a:gd name="connsiteY70" fmla="*/ 333375 h 733425"/>
              <a:gd name="connsiteX71" fmla="*/ 2124075 w 2889264"/>
              <a:gd name="connsiteY71" fmla="*/ 342900 h 733425"/>
              <a:gd name="connsiteX72" fmla="*/ 2159000 w 2889264"/>
              <a:gd name="connsiteY72" fmla="*/ 358775 h 733425"/>
              <a:gd name="connsiteX73" fmla="*/ 2187575 w 2889264"/>
              <a:gd name="connsiteY73" fmla="*/ 377825 h 733425"/>
              <a:gd name="connsiteX74" fmla="*/ 2209800 w 2889264"/>
              <a:gd name="connsiteY74" fmla="*/ 393700 h 733425"/>
              <a:gd name="connsiteX75" fmla="*/ 2247900 w 2889264"/>
              <a:gd name="connsiteY75" fmla="*/ 419100 h 733425"/>
              <a:gd name="connsiteX76" fmla="*/ 2276475 w 2889264"/>
              <a:gd name="connsiteY76" fmla="*/ 434975 h 733425"/>
              <a:gd name="connsiteX77" fmla="*/ 2289175 w 2889264"/>
              <a:gd name="connsiteY77" fmla="*/ 444500 h 733425"/>
              <a:gd name="connsiteX78" fmla="*/ 2308225 w 2889264"/>
              <a:gd name="connsiteY78" fmla="*/ 447675 h 733425"/>
              <a:gd name="connsiteX79" fmla="*/ 2333625 w 2889264"/>
              <a:gd name="connsiteY79" fmla="*/ 460375 h 733425"/>
              <a:gd name="connsiteX80" fmla="*/ 2352675 w 2889264"/>
              <a:gd name="connsiteY80" fmla="*/ 466725 h 733425"/>
              <a:gd name="connsiteX81" fmla="*/ 2397125 w 2889264"/>
              <a:gd name="connsiteY81" fmla="*/ 488950 h 733425"/>
              <a:gd name="connsiteX82" fmla="*/ 2422525 w 2889264"/>
              <a:gd name="connsiteY82" fmla="*/ 495300 h 733425"/>
              <a:gd name="connsiteX83" fmla="*/ 2432050 w 2889264"/>
              <a:gd name="connsiteY83" fmla="*/ 498475 h 733425"/>
              <a:gd name="connsiteX84" fmla="*/ 2454275 w 2889264"/>
              <a:gd name="connsiteY84" fmla="*/ 511175 h 733425"/>
              <a:gd name="connsiteX85" fmla="*/ 2470150 w 2889264"/>
              <a:gd name="connsiteY85" fmla="*/ 523875 h 733425"/>
              <a:gd name="connsiteX86" fmla="*/ 2495550 w 2889264"/>
              <a:gd name="connsiteY86" fmla="*/ 533400 h 733425"/>
              <a:gd name="connsiteX87" fmla="*/ 2546350 w 2889264"/>
              <a:gd name="connsiteY87" fmla="*/ 558800 h 733425"/>
              <a:gd name="connsiteX88" fmla="*/ 2574925 w 2889264"/>
              <a:gd name="connsiteY88" fmla="*/ 565150 h 733425"/>
              <a:gd name="connsiteX89" fmla="*/ 2600325 w 2889264"/>
              <a:gd name="connsiteY89" fmla="*/ 577850 h 733425"/>
              <a:gd name="connsiteX90" fmla="*/ 2616200 w 2889264"/>
              <a:gd name="connsiteY90" fmla="*/ 581025 h 733425"/>
              <a:gd name="connsiteX91" fmla="*/ 2638425 w 2889264"/>
              <a:gd name="connsiteY91" fmla="*/ 587375 h 733425"/>
              <a:gd name="connsiteX92" fmla="*/ 2654300 w 2889264"/>
              <a:gd name="connsiteY92" fmla="*/ 596900 h 733425"/>
              <a:gd name="connsiteX93" fmla="*/ 2673350 w 2889264"/>
              <a:gd name="connsiteY93" fmla="*/ 603250 h 733425"/>
              <a:gd name="connsiteX94" fmla="*/ 2708275 w 2889264"/>
              <a:gd name="connsiteY94" fmla="*/ 625475 h 733425"/>
              <a:gd name="connsiteX95" fmla="*/ 2730500 w 2889264"/>
              <a:gd name="connsiteY95" fmla="*/ 635000 h 733425"/>
              <a:gd name="connsiteX96" fmla="*/ 2749550 w 2889264"/>
              <a:gd name="connsiteY96" fmla="*/ 650875 h 733425"/>
              <a:gd name="connsiteX97" fmla="*/ 2774950 w 2889264"/>
              <a:gd name="connsiteY97" fmla="*/ 663575 h 733425"/>
              <a:gd name="connsiteX98" fmla="*/ 2803525 w 2889264"/>
              <a:gd name="connsiteY98" fmla="*/ 676275 h 733425"/>
              <a:gd name="connsiteX99" fmla="*/ 2816225 w 2889264"/>
              <a:gd name="connsiteY99" fmla="*/ 685800 h 733425"/>
              <a:gd name="connsiteX100" fmla="*/ 2832100 w 2889264"/>
              <a:gd name="connsiteY100" fmla="*/ 692150 h 733425"/>
              <a:gd name="connsiteX101" fmla="*/ 2876550 w 2889264"/>
              <a:gd name="connsiteY101" fmla="*/ 723900 h 733425"/>
              <a:gd name="connsiteX102" fmla="*/ 2889250 w 2889264"/>
              <a:gd name="connsiteY102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612775 w 2889264"/>
              <a:gd name="connsiteY10" fmla="*/ 428625 h 733425"/>
              <a:gd name="connsiteX11" fmla="*/ 657225 w 2889264"/>
              <a:gd name="connsiteY11" fmla="*/ 406400 h 733425"/>
              <a:gd name="connsiteX12" fmla="*/ 736600 w 2889264"/>
              <a:gd name="connsiteY12" fmla="*/ 368300 h 733425"/>
              <a:gd name="connsiteX13" fmla="*/ 800100 w 2889264"/>
              <a:gd name="connsiteY13" fmla="*/ 336550 h 733425"/>
              <a:gd name="connsiteX14" fmla="*/ 898525 w 2889264"/>
              <a:gd name="connsiteY14" fmla="*/ 288925 h 733425"/>
              <a:gd name="connsiteX15" fmla="*/ 923925 w 2889264"/>
              <a:gd name="connsiteY15" fmla="*/ 269875 h 733425"/>
              <a:gd name="connsiteX16" fmla="*/ 933450 w 2889264"/>
              <a:gd name="connsiteY16" fmla="*/ 260350 h 733425"/>
              <a:gd name="connsiteX17" fmla="*/ 958850 w 2889264"/>
              <a:gd name="connsiteY17" fmla="*/ 247650 h 733425"/>
              <a:gd name="connsiteX18" fmla="*/ 968375 w 2889264"/>
              <a:gd name="connsiteY18" fmla="*/ 241300 h 733425"/>
              <a:gd name="connsiteX19" fmla="*/ 984250 w 2889264"/>
              <a:gd name="connsiteY19" fmla="*/ 234950 h 733425"/>
              <a:gd name="connsiteX20" fmla="*/ 1006475 w 2889264"/>
              <a:gd name="connsiteY20" fmla="*/ 225425 h 733425"/>
              <a:gd name="connsiteX21" fmla="*/ 1050925 w 2889264"/>
              <a:gd name="connsiteY21" fmla="*/ 212725 h 733425"/>
              <a:gd name="connsiteX22" fmla="*/ 1079500 w 2889264"/>
              <a:gd name="connsiteY22" fmla="*/ 200025 h 733425"/>
              <a:gd name="connsiteX23" fmla="*/ 1098550 w 2889264"/>
              <a:gd name="connsiteY23" fmla="*/ 193675 h 733425"/>
              <a:gd name="connsiteX24" fmla="*/ 1111250 w 2889264"/>
              <a:gd name="connsiteY24" fmla="*/ 187325 h 733425"/>
              <a:gd name="connsiteX25" fmla="*/ 1136650 w 2889264"/>
              <a:gd name="connsiteY25" fmla="*/ 177800 h 733425"/>
              <a:gd name="connsiteX26" fmla="*/ 1181100 w 2889264"/>
              <a:gd name="connsiteY26" fmla="*/ 152400 h 733425"/>
              <a:gd name="connsiteX27" fmla="*/ 1203325 w 2889264"/>
              <a:gd name="connsiteY27" fmla="*/ 130175 h 733425"/>
              <a:gd name="connsiteX28" fmla="*/ 1219200 w 2889264"/>
              <a:gd name="connsiteY28" fmla="*/ 117475 h 733425"/>
              <a:gd name="connsiteX29" fmla="*/ 1276350 w 2889264"/>
              <a:gd name="connsiteY29" fmla="*/ 85725 h 733425"/>
              <a:gd name="connsiteX30" fmla="*/ 1289050 w 2889264"/>
              <a:gd name="connsiteY30" fmla="*/ 79375 h 733425"/>
              <a:gd name="connsiteX31" fmla="*/ 1327150 w 2889264"/>
              <a:gd name="connsiteY31" fmla="*/ 66675 h 733425"/>
              <a:gd name="connsiteX32" fmla="*/ 1343025 w 2889264"/>
              <a:gd name="connsiteY32" fmla="*/ 57150 h 733425"/>
              <a:gd name="connsiteX33" fmla="*/ 1355725 w 2889264"/>
              <a:gd name="connsiteY33" fmla="*/ 47625 h 733425"/>
              <a:gd name="connsiteX34" fmla="*/ 1377950 w 2889264"/>
              <a:gd name="connsiteY34" fmla="*/ 38100 h 733425"/>
              <a:gd name="connsiteX35" fmla="*/ 1416050 w 2889264"/>
              <a:gd name="connsiteY35" fmla="*/ 12700 h 733425"/>
              <a:gd name="connsiteX36" fmla="*/ 1428750 w 2889264"/>
              <a:gd name="connsiteY36" fmla="*/ 0 h 733425"/>
              <a:gd name="connsiteX37" fmla="*/ 1470025 w 2889264"/>
              <a:gd name="connsiteY37" fmla="*/ 28575 h 733425"/>
              <a:gd name="connsiteX38" fmla="*/ 1504950 w 2889264"/>
              <a:gd name="connsiteY38" fmla="*/ 41275 h 733425"/>
              <a:gd name="connsiteX39" fmla="*/ 1517650 w 2889264"/>
              <a:gd name="connsiteY39" fmla="*/ 50800 h 733425"/>
              <a:gd name="connsiteX40" fmla="*/ 1549400 w 2889264"/>
              <a:gd name="connsiteY40" fmla="*/ 60325 h 733425"/>
              <a:gd name="connsiteX41" fmla="*/ 1562100 w 2889264"/>
              <a:gd name="connsiteY41" fmla="*/ 69850 h 733425"/>
              <a:gd name="connsiteX42" fmla="*/ 1574800 w 2889264"/>
              <a:gd name="connsiteY42" fmla="*/ 73025 h 733425"/>
              <a:gd name="connsiteX43" fmla="*/ 1590675 w 2889264"/>
              <a:gd name="connsiteY43" fmla="*/ 79375 h 733425"/>
              <a:gd name="connsiteX44" fmla="*/ 1600200 w 2889264"/>
              <a:gd name="connsiteY44" fmla="*/ 85725 h 733425"/>
              <a:gd name="connsiteX45" fmla="*/ 1612900 w 2889264"/>
              <a:gd name="connsiteY45" fmla="*/ 92075 h 733425"/>
              <a:gd name="connsiteX46" fmla="*/ 1625600 w 2889264"/>
              <a:gd name="connsiteY46" fmla="*/ 101600 h 733425"/>
              <a:gd name="connsiteX47" fmla="*/ 1635125 w 2889264"/>
              <a:gd name="connsiteY47" fmla="*/ 104775 h 733425"/>
              <a:gd name="connsiteX48" fmla="*/ 1654175 w 2889264"/>
              <a:gd name="connsiteY48" fmla="*/ 114300 h 733425"/>
              <a:gd name="connsiteX49" fmla="*/ 1676400 w 2889264"/>
              <a:gd name="connsiteY49" fmla="*/ 130175 h 733425"/>
              <a:gd name="connsiteX50" fmla="*/ 1689100 w 2889264"/>
              <a:gd name="connsiteY50" fmla="*/ 136525 h 733425"/>
              <a:gd name="connsiteX51" fmla="*/ 1714500 w 2889264"/>
              <a:gd name="connsiteY51" fmla="*/ 146050 h 733425"/>
              <a:gd name="connsiteX52" fmla="*/ 1727200 w 2889264"/>
              <a:gd name="connsiteY52" fmla="*/ 155575 h 733425"/>
              <a:gd name="connsiteX53" fmla="*/ 1758950 w 2889264"/>
              <a:gd name="connsiteY53" fmla="*/ 165100 h 733425"/>
              <a:gd name="connsiteX54" fmla="*/ 1768475 w 2889264"/>
              <a:gd name="connsiteY54" fmla="*/ 171450 h 733425"/>
              <a:gd name="connsiteX55" fmla="*/ 1781175 w 2889264"/>
              <a:gd name="connsiteY55" fmla="*/ 180975 h 733425"/>
              <a:gd name="connsiteX56" fmla="*/ 1793875 w 2889264"/>
              <a:gd name="connsiteY56" fmla="*/ 187325 h 733425"/>
              <a:gd name="connsiteX57" fmla="*/ 1838325 w 2889264"/>
              <a:gd name="connsiteY57" fmla="*/ 212725 h 733425"/>
              <a:gd name="connsiteX58" fmla="*/ 1847850 w 2889264"/>
              <a:gd name="connsiteY58" fmla="*/ 222250 h 733425"/>
              <a:gd name="connsiteX59" fmla="*/ 1885950 w 2889264"/>
              <a:gd name="connsiteY59" fmla="*/ 241300 h 733425"/>
              <a:gd name="connsiteX60" fmla="*/ 1901825 w 2889264"/>
              <a:gd name="connsiteY60" fmla="*/ 250825 h 733425"/>
              <a:gd name="connsiteX61" fmla="*/ 1933575 w 2889264"/>
              <a:gd name="connsiteY61" fmla="*/ 263525 h 733425"/>
              <a:gd name="connsiteX62" fmla="*/ 1962150 w 2889264"/>
              <a:gd name="connsiteY62" fmla="*/ 276225 h 733425"/>
              <a:gd name="connsiteX63" fmla="*/ 1971675 w 2889264"/>
              <a:gd name="connsiteY63" fmla="*/ 282575 h 733425"/>
              <a:gd name="connsiteX64" fmla="*/ 1987550 w 2889264"/>
              <a:gd name="connsiteY64" fmla="*/ 288925 h 733425"/>
              <a:gd name="connsiteX65" fmla="*/ 2022475 w 2889264"/>
              <a:gd name="connsiteY65" fmla="*/ 301625 h 733425"/>
              <a:gd name="connsiteX66" fmla="*/ 2047875 w 2889264"/>
              <a:gd name="connsiteY66" fmla="*/ 314325 h 733425"/>
              <a:gd name="connsiteX67" fmla="*/ 2063750 w 2889264"/>
              <a:gd name="connsiteY67" fmla="*/ 320675 h 733425"/>
              <a:gd name="connsiteX68" fmla="*/ 2082800 w 2889264"/>
              <a:gd name="connsiteY68" fmla="*/ 330200 h 733425"/>
              <a:gd name="connsiteX69" fmla="*/ 2095500 w 2889264"/>
              <a:gd name="connsiteY69" fmla="*/ 333375 h 733425"/>
              <a:gd name="connsiteX70" fmla="*/ 2124075 w 2889264"/>
              <a:gd name="connsiteY70" fmla="*/ 342900 h 733425"/>
              <a:gd name="connsiteX71" fmla="*/ 2159000 w 2889264"/>
              <a:gd name="connsiteY71" fmla="*/ 358775 h 733425"/>
              <a:gd name="connsiteX72" fmla="*/ 2187575 w 2889264"/>
              <a:gd name="connsiteY72" fmla="*/ 377825 h 733425"/>
              <a:gd name="connsiteX73" fmla="*/ 2209800 w 2889264"/>
              <a:gd name="connsiteY73" fmla="*/ 393700 h 733425"/>
              <a:gd name="connsiteX74" fmla="*/ 2247900 w 2889264"/>
              <a:gd name="connsiteY74" fmla="*/ 419100 h 733425"/>
              <a:gd name="connsiteX75" fmla="*/ 2276475 w 2889264"/>
              <a:gd name="connsiteY75" fmla="*/ 434975 h 733425"/>
              <a:gd name="connsiteX76" fmla="*/ 2289175 w 2889264"/>
              <a:gd name="connsiteY76" fmla="*/ 444500 h 733425"/>
              <a:gd name="connsiteX77" fmla="*/ 2308225 w 2889264"/>
              <a:gd name="connsiteY77" fmla="*/ 447675 h 733425"/>
              <a:gd name="connsiteX78" fmla="*/ 2333625 w 2889264"/>
              <a:gd name="connsiteY78" fmla="*/ 460375 h 733425"/>
              <a:gd name="connsiteX79" fmla="*/ 2352675 w 2889264"/>
              <a:gd name="connsiteY79" fmla="*/ 466725 h 733425"/>
              <a:gd name="connsiteX80" fmla="*/ 2397125 w 2889264"/>
              <a:gd name="connsiteY80" fmla="*/ 488950 h 733425"/>
              <a:gd name="connsiteX81" fmla="*/ 2422525 w 2889264"/>
              <a:gd name="connsiteY81" fmla="*/ 495300 h 733425"/>
              <a:gd name="connsiteX82" fmla="*/ 2432050 w 2889264"/>
              <a:gd name="connsiteY82" fmla="*/ 498475 h 733425"/>
              <a:gd name="connsiteX83" fmla="*/ 2454275 w 2889264"/>
              <a:gd name="connsiteY83" fmla="*/ 511175 h 733425"/>
              <a:gd name="connsiteX84" fmla="*/ 2470150 w 2889264"/>
              <a:gd name="connsiteY84" fmla="*/ 523875 h 733425"/>
              <a:gd name="connsiteX85" fmla="*/ 2495550 w 2889264"/>
              <a:gd name="connsiteY85" fmla="*/ 533400 h 733425"/>
              <a:gd name="connsiteX86" fmla="*/ 2546350 w 2889264"/>
              <a:gd name="connsiteY86" fmla="*/ 558800 h 733425"/>
              <a:gd name="connsiteX87" fmla="*/ 2574925 w 2889264"/>
              <a:gd name="connsiteY87" fmla="*/ 565150 h 733425"/>
              <a:gd name="connsiteX88" fmla="*/ 2600325 w 2889264"/>
              <a:gd name="connsiteY88" fmla="*/ 577850 h 733425"/>
              <a:gd name="connsiteX89" fmla="*/ 2616200 w 2889264"/>
              <a:gd name="connsiteY89" fmla="*/ 581025 h 733425"/>
              <a:gd name="connsiteX90" fmla="*/ 2638425 w 2889264"/>
              <a:gd name="connsiteY90" fmla="*/ 587375 h 733425"/>
              <a:gd name="connsiteX91" fmla="*/ 2654300 w 2889264"/>
              <a:gd name="connsiteY91" fmla="*/ 596900 h 733425"/>
              <a:gd name="connsiteX92" fmla="*/ 2673350 w 2889264"/>
              <a:gd name="connsiteY92" fmla="*/ 603250 h 733425"/>
              <a:gd name="connsiteX93" fmla="*/ 2708275 w 2889264"/>
              <a:gd name="connsiteY93" fmla="*/ 625475 h 733425"/>
              <a:gd name="connsiteX94" fmla="*/ 2730500 w 2889264"/>
              <a:gd name="connsiteY94" fmla="*/ 635000 h 733425"/>
              <a:gd name="connsiteX95" fmla="*/ 2749550 w 2889264"/>
              <a:gd name="connsiteY95" fmla="*/ 650875 h 733425"/>
              <a:gd name="connsiteX96" fmla="*/ 2774950 w 2889264"/>
              <a:gd name="connsiteY96" fmla="*/ 663575 h 733425"/>
              <a:gd name="connsiteX97" fmla="*/ 2803525 w 2889264"/>
              <a:gd name="connsiteY97" fmla="*/ 676275 h 733425"/>
              <a:gd name="connsiteX98" fmla="*/ 2816225 w 2889264"/>
              <a:gd name="connsiteY98" fmla="*/ 685800 h 733425"/>
              <a:gd name="connsiteX99" fmla="*/ 2832100 w 2889264"/>
              <a:gd name="connsiteY99" fmla="*/ 692150 h 733425"/>
              <a:gd name="connsiteX100" fmla="*/ 2876550 w 2889264"/>
              <a:gd name="connsiteY100" fmla="*/ 723900 h 733425"/>
              <a:gd name="connsiteX101" fmla="*/ 2889250 w 2889264"/>
              <a:gd name="connsiteY101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612775 w 2889264"/>
              <a:gd name="connsiteY9" fmla="*/ 428625 h 733425"/>
              <a:gd name="connsiteX10" fmla="*/ 657225 w 2889264"/>
              <a:gd name="connsiteY10" fmla="*/ 406400 h 733425"/>
              <a:gd name="connsiteX11" fmla="*/ 736600 w 2889264"/>
              <a:gd name="connsiteY11" fmla="*/ 368300 h 733425"/>
              <a:gd name="connsiteX12" fmla="*/ 800100 w 2889264"/>
              <a:gd name="connsiteY12" fmla="*/ 336550 h 733425"/>
              <a:gd name="connsiteX13" fmla="*/ 898525 w 2889264"/>
              <a:gd name="connsiteY13" fmla="*/ 288925 h 733425"/>
              <a:gd name="connsiteX14" fmla="*/ 923925 w 2889264"/>
              <a:gd name="connsiteY14" fmla="*/ 269875 h 733425"/>
              <a:gd name="connsiteX15" fmla="*/ 933450 w 2889264"/>
              <a:gd name="connsiteY15" fmla="*/ 260350 h 733425"/>
              <a:gd name="connsiteX16" fmla="*/ 958850 w 2889264"/>
              <a:gd name="connsiteY16" fmla="*/ 247650 h 733425"/>
              <a:gd name="connsiteX17" fmla="*/ 968375 w 2889264"/>
              <a:gd name="connsiteY17" fmla="*/ 241300 h 733425"/>
              <a:gd name="connsiteX18" fmla="*/ 984250 w 2889264"/>
              <a:gd name="connsiteY18" fmla="*/ 234950 h 733425"/>
              <a:gd name="connsiteX19" fmla="*/ 1006475 w 2889264"/>
              <a:gd name="connsiteY19" fmla="*/ 225425 h 733425"/>
              <a:gd name="connsiteX20" fmla="*/ 1050925 w 2889264"/>
              <a:gd name="connsiteY20" fmla="*/ 212725 h 733425"/>
              <a:gd name="connsiteX21" fmla="*/ 1079500 w 2889264"/>
              <a:gd name="connsiteY21" fmla="*/ 200025 h 733425"/>
              <a:gd name="connsiteX22" fmla="*/ 1098550 w 2889264"/>
              <a:gd name="connsiteY22" fmla="*/ 193675 h 733425"/>
              <a:gd name="connsiteX23" fmla="*/ 1111250 w 2889264"/>
              <a:gd name="connsiteY23" fmla="*/ 187325 h 733425"/>
              <a:gd name="connsiteX24" fmla="*/ 1136650 w 2889264"/>
              <a:gd name="connsiteY24" fmla="*/ 177800 h 733425"/>
              <a:gd name="connsiteX25" fmla="*/ 1181100 w 2889264"/>
              <a:gd name="connsiteY25" fmla="*/ 152400 h 733425"/>
              <a:gd name="connsiteX26" fmla="*/ 1203325 w 2889264"/>
              <a:gd name="connsiteY26" fmla="*/ 130175 h 733425"/>
              <a:gd name="connsiteX27" fmla="*/ 1219200 w 2889264"/>
              <a:gd name="connsiteY27" fmla="*/ 117475 h 733425"/>
              <a:gd name="connsiteX28" fmla="*/ 1276350 w 2889264"/>
              <a:gd name="connsiteY28" fmla="*/ 85725 h 733425"/>
              <a:gd name="connsiteX29" fmla="*/ 1289050 w 2889264"/>
              <a:gd name="connsiteY29" fmla="*/ 79375 h 733425"/>
              <a:gd name="connsiteX30" fmla="*/ 1327150 w 2889264"/>
              <a:gd name="connsiteY30" fmla="*/ 66675 h 733425"/>
              <a:gd name="connsiteX31" fmla="*/ 1343025 w 2889264"/>
              <a:gd name="connsiteY31" fmla="*/ 57150 h 733425"/>
              <a:gd name="connsiteX32" fmla="*/ 1355725 w 2889264"/>
              <a:gd name="connsiteY32" fmla="*/ 47625 h 733425"/>
              <a:gd name="connsiteX33" fmla="*/ 1377950 w 2889264"/>
              <a:gd name="connsiteY33" fmla="*/ 38100 h 733425"/>
              <a:gd name="connsiteX34" fmla="*/ 1416050 w 2889264"/>
              <a:gd name="connsiteY34" fmla="*/ 12700 h 733425"/>
              <a:gd name="connsiteX35" fmla="*/ 1428750 w 2889264"/>
              <a:gd name="connsiteY35" fmla="*/ 0 h 733425"/>
              <a:gd name="connsiteX36" fmla="*/ 1470025 w 2889264"/>
              <a:gd name="connsiteY36" fmla="*/ 28575 h 733425"/>
              <a:gd name="connsiteX37" fmla="*/ 1504950 w 2889264"/>
              <a:gd name="connsiteY37" fmla="*/ 41275 h 733425"/>
              <a:gd name="connsiteX38" fmla="*/ 1517650 w 2889264"/>
              <a:gd name="connsiteY38" fmla="*/ 50800 h 733425"/>
              <a:gd name="connsiteX39" fmla="*/ 1549400 w 2889264"/>
              <a:gd name="connsiteY39" fmla="*/ 60325 h 733425"/>
              <a:gd name="connsiteX40" fmla="*/ 1562100 w 2889264"/>
              <a:gd name="connsiteY40" fmla="*/ 69850 h 733425"/>
              <a:gd name="connsiteX41" fmla="*/ 1574800 w 2889264"/>
              <a:gd name="connsiteY41" fmla="*/ 73025 h 733425"/>
              <a:gd name="connsiteX42" fmla="*/ 1590675 w 2889264"/>
              <a:gd name="connsiteY42" fmla="*/ 79375 h 733425"/>
              <a:gd name="connsiteX43" fmla="*/ 1600200 w 2889264"/>
              <a:gd name="connsiteY43" fmla="*/ 85725 h 733425"/>
              <a:gd name="connsiteX44" fmla="*/ 1612900 w 2889264"/>
              <a:gd name="connsiteY44" fmla="*/ 92075 h 733425"/>
              <a:gd name="connsiteX45" fmla="*/ 1625600 w 2889264"/>
              <a:gd name="connsiteY45" fmla="*/ 101600 h 733425"/>
              <a:gd name="connsiteX46" fmla="*/ 1635125 w 2889264"/>
              <a:gd name="connsiteY46" fmla="*/ 104775 h 733425"/>
              <a:gd name="connsiteX47" fmla="*/ 1654175 w 2889264"/>
              <a:gd name="connsiteY47" fmla="*/ 114300 h 733425"/>
              <a:gd name="connsiteX48" fmla="*/ 1676400 w 2889264"/>
              <a:gd name="connsiteY48" fmla="*/ 130175 h 733425"/>
              <a:gd name="connsiteX49" fmla="*/ 1689100 w 2889264"/>
              <a:gd name="connsiteY49" fmla="*/ 136525 h 733425"/>
              <a:gd name="connsiteX50" fmla="*/ 1714500 w 2889264"/>
              <a:gd name="connsiteY50" fmla="*/ 146050 h 733425"/>
              <a:gd name="connsiteX51" fmla="*/ 1727200 w 2889264"/>
              <a:gd name="connsiteY51" fmla="*/ 155575 h 733425"/>
              <a:gd name="connsiteX52" fmla="*/ 1758950 w 2889264"/>
              <a:gd name="connsiteY52" fmla="*/ 165100 h 733425"/>
              <a:gd name="connsiteX53" fmla="*/ 1768475 w 2889264"/>
              <a:gd name="connsiteY53" fmla="*/ 171450 h 733425"/>
              <a:gd name="connsiteX54" fmla="*/ 1781175 w 2889264"/>
              <a:gd name="connsiteY54" fmla="*/ 180975 h 733425"/>
              <a:gd name="connsiteX55" fmla="*/ 1793875 w 2889264"/>
              <a:gd name="connsiteY55" fmla="*/ 187325 h 733425"/>
              <a:gd name="connsiteX56" fmla="*/ 1838325 w 2889264"/>
              <a:gd name="connsiteY56" fmla="*/ 212725 h 733425"/>
              <a:gd name="connsiteX57" fmla="*/ 1847850 w 2889264"/>
              <a:gd name="connsiteY57" fmla="*/ 222250 h 733425"/>
              <a:gd name="connsiteX58" fmla="*/ 1885950 w 2889264"/>
              <a:gd name="connsiteY58" fmla="*/ 241300 h 733425"/>
              <a:gd name="connsiteX59" fmla="*/ 1901825 w 2889264"/>
              <a:gd name="connsiteY59" fmla="*/ 250825 h 733425"/>
              <a:gd name="connsiteX60" fmla="*/ 1933575 w 2889264"/>
              <a:gd name="connsiteY60" fmla="*/ 263525 h 733425"/>
              <a:gd name="connsiteX61" fmla="*/ 1962150 w 2889264"/>
              <a:gd name="connsiteY61" fmla="*/ 276225 h 733425"/>
              <a:gd name="connsiteX62" fmla="*/ 1971675 w 2889264"/>
              <a:gd name="connsiteY62" fmla="*/ 282575 h 733425"/>
              <a:gd name="connsiteX63" fmla="*/ 1987550 w 2889264"/>
              <a:gd name="connsiteY63" fmla="*/ 288925 h 733425"/>
              <a:gd name="connsiteX64" fmla="*/ 2022475 w 2889264"/>
              <a:gd name="connsiteY64" fmla="*/ 301625 h 733425"/>
              <a:gd name="connsiteX65" fmla="*/ 2047875 w 2889264"/>
              <a:gd name="connsiteY65" fmla="*/ 314325 h 733425"/>
              <a:gd name="connsiteX66" fmla="*/ 2063750 w 2889264"/>
              <a:gd name="connsiteY66" fmla="*/ 320675 h 733425"/>
              <a:gd name="connsiteX67" fmla="*/ 2082800 w 2889264"/>
              <a:gd name="connsiteY67" fmla="*/ 330200 h 733425"/>
              <a:gd name="connsiteX68" fmla="*/ 2095500 w 2889264"/>
              <a:gd name="connsiteY68" fmla="*/ 333375 h 733425"/>
              <a:gd name="connsiteX69" fmla="*/ 2124075 w 2889264"/>
              <a:gd name="connsiteY69" fmla="*/ 342900 h 733425"/>
              <a:gd name="connsiteX70" fmla="*/ 2159000 w 2889264"/>
              <a:gd name="connsiteY70" fmla="*/ 358775 h 733425"/>
              <a:gd name="connsiteX71" fmla="*/ 2187575 w 2889264"/>
              <a:gd name="connsiteY71" fmla="*/ 377825 h 733425"/>
              <a:gd name="connsiteX72" fmla="*/ 2209800 w 2889264"/>
              <a:gd name="connsiteY72" fmla="*/ 393700 h 733425"/>
              <a:gd name="connsiteX73" fmla="*/ 2247900 w 2889264"/>
              <a:gd name="connsiteY73" fmla="*/ 419100 h 733425"/>
              <a:gd name="connsiteX74" fmla="*/ 2276475 w 2889264"/>
              <a:gd name="connsiteY74" fmla="*/ 434975 h 733425"/>
              <a:gd name="connsiteX75" fmla="*/ 2289175 w 2889264"/>
              <a:gd name="connsiteY75" fmla="*/ 444500 h 733425"/>
              <a:gd name="connsiteX76" fmla="*/ 2308225 w 2889264"/>
              <a:gd name="connsiteY76" fmla="*/ 447675 h 733425"/>
              <a:gd name="connsiteX77" fmla="*/ 2333625 w 2889264"/>
              <a:gd name="connsiteY77" fmla="*/ 460375 h 733425"/>
              <a:gd name="connsiteX78" fmla="*/ 2352675 w 2889264"/>
              <a:gd name="connsiteY78" fmla="*/ 466725 h 733425"/>
              <a:gd name="connsiteX79" fmla="*/ 2397125 w 2889264"/>
              <a:gd name="connsiteY79" fmla="*/ 488950 h 733425"/>
              <a:gd name="connsiteX80" fmla="*/ 2422525 w 2889264"/>
              <a:gd name="connsiteY80" fmla="*/ 495300 h 733425"/>
              <a:gd name="connsiteX81" fmla="*/ 2432050 w 2889264"/>
              <a:gd name="connsiteY81" fmla="*/ 498475 h 733425"/>
              <a:gd name="connsiteX82" fmla="*/ 2454275 w 2889264"/>
              <a:gd name="connsiteY82" fmla="*/ 511175 h 733425"/>
              <a:gd name="connsiteX83" fmla="*/ 2470150 w 2889264"/>
              <a:gd name="connsiteY83" fmla="*/ 523875 h 733425"/>
              <a:gd name="connsiteX84" fmla="*/ 2495550 w 2889264"/>
              <a:gd name="connsiteY84" fmla="*/ 533400 h 733425"/>
              <a:gd name="connsiteX85" fmla="*/ 2546350 w 2889264"/>
              <a:gd name="connsiteY85" fmla="*/ 558800 h 733425"/>
              <a:gd name="connsiteX86" fmla="*/ 2574925 w 2889264"/>
              <a:gd name="connsiteY86" fmla="*/ 565150 h 733425"/>
              <a:gd name="connsiteX87" fmla="*/ 2600325 w 2889264"/>
              <a:gd name="connsiteY87" fmla="*/ 577850 h 733425"/>
              <a:gd name="connsiteX88" fmla="*/ 2616200 w 2889264"/>
              <a:gd name="connsiteY88" fmla="*/ 581025 h 733425"/>
              <a:gd name="connsiteX89" fmla="*/ 2638425 w 2889264"/>
              <a:gd name="connsiteY89" fmla="*/ 587375 h 733425"/>
              <a:gd name="connsiteX90" fmla="*/ 2654300 w 2889264"/>
              <a:gd name="connsiteY90" fmla="*/ 596900 h 733425"/>
              <a:gd name="connsiteX91" fmla="*/ 2673350 w 2889264"/>
              <a:gd name="connsiteY91" fmla="*/ 603250 h 733425"/>
              <a:gd name="connsiteX92" fmla="*/ 2708275 w 2889264"/>
              <a:gd name="connsiteY92" fmla="*/ 625475 h 733425"/>
              <a:gd name="connsiteX93" fmla="*/ 2730500 w 2889264"/>
              <a:gd name="connsiteY93" fmla="*/ 635000 h 733425"/>
              <a:gd name="connsiteX94" fmla="*/ 2749550 w 2889264"/>
              <a:gd name="connsiteY94" fmla="*/ 650875 h 733425"/>
              <a:gd name="connsiteX95" fmla="*/ 2774950 w 2889264"/>
              <a:gd name="connsiteY95" fmla="*/ 663575 h 733425"/>
              <a:gd name="connsiteX96" fmla="*/ 2803525 w 2889264"/>
              <a:gd name="connsiteY96" fmla="*/ 676275 h 733425"/>
              <a:gd name="connsiteX97" fmla="*/ 2816225 w 2889264"/>
              <a:gd name="connsiteY97" fmla="*/ 685800 h 733425"/>
              <a:gd name="connsiteX98" fmla="*/ 2832100 w 2889264"/>
              <a:gd name="connsiteY98" fmla="*/ 692150 h 733425"/>
              <a:gd name="connsiteX99" fmla="*/ 2876550 w 2889264"/>
              <a:gd name="connsiteY99" fmla="*/ 723900 h 733425"/>
              <a:gd name="connsiteX100" fmla="*/ 2889250 w 2889264"/>
              <a:gd name="connsiteY100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523875 w 2889264"/>
              <a:gd name="connsiteY7" fmla="*/ 469900 h 733425"/>
              <a:gd name="connsiteX8" fmla="*/ 612775 w 2889264"/>
              <a:gd name="connsiteY8" fmla="*/ 428625 h 733425"/>
              <a:gd name="connsiteX9" fmla="*/ 657225 w 2889264"/>
              <a:gd name="connsiteY9" fmla="*/ 406400 h 733425"/>
              <a:gd name="connsiteX10" fmla="*/ 736600 w 2889264"/>
              <a:gd name="connsiteY10" fmla="*/ 368300 h 733425"/>
              <a:gd name="connsiteX11" fmla="*/ 800100 w 2889264"/>
              <a:gd name="connsiteY11" fmla="*/ 336550 h 733425"/>
              <a:gd name="connsiteX12" fmla="*/ 898525 w 2889264"/>
              <a:gd name="connsiteY12" fmla="*/ 288925 h 733425"/>
              <a:gd name="connsiteX13" fmla="*/ 923925 w 2889264"/>
              <a:gd name="connsiteY13" fmla="*/ 269875 h 733425"/>
              <a:gd name="connsiteX14" fmla="*/ 933450 w 2889264"/>
              <a:gd name="connsiteY14" fmla="*/ 260350 h 733425"/>
              <a:gd name="connsiteX15" fmla="*/ 958850 w 2889264"/>
              <a:gd name="connsiteY15" fmla="*/ 247650 h 733425"/>
              <a:gd name="connsiteX16" fmla="*/ 968375 w 2889264"/>
              <a:gd name="connsiteY16" fmla="*/ 241300 h 733425"/>
              <a:gd name="connsiteX17" fmla="*/ 984250 w 2889264"/>
              <a:gd name="connsiteY17" fmla="*/ 234950 h 733425"/>
              <a:gd name="connsiteX18" fmla="*/ 1006475 w 2889264"/>
              <a:gd name="connsiteY18" fmla="*/ 225425 h 733425"/>
              <a:gd name="connsiteX19" fmla="*/ 1050925 w 2889264"/>
              <a:gd name="connsiteY19" fmla="*/ 212725 h 733425"/>
              <a:gd name="connsiteX20" fmla="*/ 1079500 w 2889264"/>
              <a:gd name="connsiteY20" fmla="*/ 200025 h 733425"/>
              <a:gd name="connsiteX21" fmla="*/ 1098550 w 2889264"/>
              <a:gd name="connsiteY21" fmla="*/ 193675 h 733425"/>
              <a:gd name="connsiteX22" fmla="*/ 1111250 w 2889264"/>
              <a:gd name="connsiteY22" fmla="*/ 187325 h 733425"/>
              <a:gd name="connsiteX23" fmla="*/ 1136650 w 2889264"/>
              <a:gd name="connsiteY23" fmla="*/ 177800 h 733425"/>
              <a:gd name="connsiteX24" fmla="*/ 1181100 w 2889264"/>
              <a:gd name="connsiteY24" fmla="*/ 152400 h 733425"/>
              <a:gd name="connsiteX25" fmla="*/ 1203325 w 2889264"/>
              <a:gd name="connsiteY25" fmla="*/ 130175 h 733425"/>
              <a:gd name="connsiteX26" fmla="*/ 1219200 w 2889264"/>
              <a:gd name="connsiteY26" fmla="*/ 117475 h 733425"/>
              <a:gd name="connsiteX27" fmla="*/ 1276350 w 2889264"/>
              <a:gd name="connsiteY27" fmla="*/ 85725 h 733425"/>
              <a:gd name="connsiteX28" fmla="*/ 1289050 w 2889264"/>
              <a:gd name="connsiteY28" fmla="*/ 79375 h 733425"/>
              <a:gd name="connsiteX29" fmla="*/ 1327150 w 2889264"/>
              <a:gd name="connsiteY29" fmla="*/ 66675 h 733425"/>
              <a:gd name="connsiteX30" fmla="*/ 1343025 w 2889264"/>
              <a:gd name="connsiteY30" fmla="*/ 57150 h 733425"/>
              <a:gd name="connsiteX31" fmla="*/ 1355725 w 2889264"/>
              <a:gd name="connsiteY31" fmla="*/ 47625 h 733425"/>
              <a:gd name="connsiteX32" fmla="*/ 1377950 w 2889264"/>
              <a:gd name="connsiteY32" fmla="*/ 38100 h 733425"/>
              <a:gd name="connsiteX33" fmla="*/ 1416050 w 2889264"/>
              <a:gd name="connsiteY33" fmla="*/ 12700 h 733425"/>
              <a:gd name="connsiteX34" fmla="*/ 1428750 w 2889264"/>
              <a:gd name="connsiteY34" fmla="*/ 0 h 733425"/>
              <a:gd name="connsiteX35" fmla="*/ 1470025 w 2889264"/>
              <a:gd name="connsiteY35" fmla="*/ 28575 h 733425"/>
              <a:gd name="connsiteX36" fmla="*/ 1504950 w 2889264"/>
              <a:gd name="connsiteY36" fmla="*/ 41275 h 733425"/>
              <a:gd name="connsiteX37" fmla="*/ 1517650 w 2889264"/>
              <a:gd name="connsiteY37" fmla="*/ 50800 h 733425"/>
              <a:gd name="connsiteX38" fmla="*/ 1549400 w 2889264"/>
              <a:gd name="connsiteY38" fmla="*/ 60325 h 733425"/>
              <a:gd name="connsiteX39" fmla="*/ 1562100 w 2889264"/>
              <a:gd name="connsiteY39" fmla="*/ 69850 h 733425"/>
              <a:gd name="connsiteX40" fmla="*/ 1574800 w 2889264"/>
              <a:gd name="connsiteY40" fmla="*/ 73025 h 733425"/>
              <a:gd name="connsiteX41" fmla="*/ 1590675 w 2889264"/>
              <a:gd name="connsiteY41" fmla="*/ 79375 h 733425"/>
              <a:gd name="connsiteX42" fmla="*/ 1600200 w 2889264"/>
              <a:gd name="connsiteY42" fmla="*/ 85725 h 733425"/>
              <a:gd name="connsiteX43" fmla="*/ 1612900 w 2889264"/>
              <a:gd name="connsiteY43" fmla="*/ 92075 h 733425"/>
              <a:gd name="connsiteX44" fmla="*/ 1625600 w 2889264"/>
              <a:gd name="connsiteY44" fmla="*/ 101600 h 733425"/>
              <a:gd name="connsiteX45" fmla="*/ 1635125 w 2889264"/>
              <a:gd name="connsiteY45" fmla="*/ 104775 h 733425"/>
              <a:gd name="connsiteX46" fmla="*/ 1654175 w 2889264"/>
              <a:gd name="connsiteY46" fmla="*/ 114300 h 733425"/>
              <a:gd name="connsiteX47" fmla="*/ 1676400 w 2889264"/>
              <a:gd name="connsiteY47" fmla="*/ 130175 h 733425"/>
              <a:gd name="connsiteX48" fmla="*/ 1689100 w 2889264"/>
              <a:gd name="connsiteY48" fmla="*/ 136525 h 733425"/>
              <a:gd name="connsiteX49" fmla="*/ 1714500 w 2889264"/>
              <a:gd name="connsiteY49" fmla="*/ 146050 h 733425"/>
              <a:gd name="connsiteX50" fmla="*/ 1727200 w 2889264"/>
              <a:gd name="connsiteY50" fmla="*/ 155575 h 733425"/>
              <a:gd name="connsiteX51" fmla="*/ 1758950 w 2889264"/>
              <a:gd name="connsiteY51" fmla="*/ 165100 h 733425"/>
              <a:gd name="connsiteX52" fmla="*/ 1768475 w 2889264"/>
              <a:gd name="connsiteY52" fmla="*/ 171450 h 733425"/>
              <a:gd name="connsiteX53" fmla="*/ 1781175 w 2889264"/>
              <a:gd name="connsiteY53" fmla="*/ 180975 h 733425"/>
              <a:gd name="connsiteX54" fmla="*/ 1793875 w 2889264"/>
              <a:gd name="connsiteY54" fmla="*/ 187325 h 733425"/>
              <a:gd name="connsiteX55" fmla="*/ 1838325 w 2889264"/>
              <a:gd name="connsiteY55" fmla="*/ 212725 h 733425"/>
              <a:gd name="connsiteX56" fmla="*/ 1847850 w 2889264"/>
              <a:gd name="connsiteY56" fmla="*/ 222250 h 733425"/>
              <a:gd name="connsiteX57" fmla="*/ 1885950 w 2889264"/>
              <a:gd name="connsiteY57" fmla="*/ 241300 h 733425"/>
              <a:gd name="connsiteX58" fmla="*/ 1901825 w 2889264"/>
              <a:gd name="connsiteY58" fmla="*/ 250825 h 733425"/>
              <a:gd name="connsiteX59" fmla="*/ 1933575 w 2889264"/>
              <a:gd name="connsiteY59" fmla="*/ 263525 h 733425"/>
              <a:gd name="connsiteX60" fmla="*/ 1962150 w 2889264"/>
              <a:gd name="connsiteY60" fmla="*/ 276225 h 733425"/>
              <a:gd name="connsiteX61" fmla="*/ 1971675 w 2889264"/>
              <a:gd name="connsiteY61" fmla="*/ 282575 h 733425"/>
              <a:gd name="connsiteX62" fmla="*/ 1987550 w 2889264"/>
              <a:gd name="connsiteY62" fmla="*/ 288925 h 733425"/>
              <a:gd name="connsiteX63" fmla="*/ 2022475 w 2889264"/>
              <a:gd name="connsiteY63" fmla="*/ 301625 h 733425"/>
              <a:gd name="connsiteX64" fmla="*/ 2047875 w 2889264"/>
              <a:gd name="connsiteY64" fmla="*/ 314325 h 733425"/>
              <a:gd name="connsiteX65" fmla="*/ 2063750 w 2889264"/>
              <a:gd name="connsiteY65" fmla="*/ 320675 h 733425"/>
              <a:gd name="connsiteX66" fmla="*/ 2082800 w 2889264"/>
              <a:gd name="connsiteY66" fmla="*/ 330200 h 733425"/>
              <a:gd name="connsiteX67" fmla="*/ 2095500 w 2889264"/>
              <a:gd name="connsiteY67" fmla="*/ 333375 h 733425"/>
              <a:gd name="connsiteX68" fmla="*/ 2124075 w 2889264"/>
              <a:gd name="connsiteY68" fmla="*/ 342900 h 733425"/>
              <a:gd name="connsiteX69" fmla="*/ 2159000 w 2889264"/>
              <a:gd name="connsiteY69" fmla="*/ 358775 h 733425"/>
              <a:gd name="connsiteX70" fmla="*/ 2187575 w 2889264"/>
              <a:gd name="connsiteY70" fmla="*/ 377825 h 733425"/>
              <a:gd name="connsiteX71" fmla="*/ 2209800 w 2889264"/>
              <a:gd name="connsiteY71" fmla="*/ 393700 h 733425"/>
              <a:gd name="connsiteX72" fmla="*/ 2247900 w 2889264"/>
              <a:gd name="connsiteY72" fmla="*/ 419100 h 733425"/>
              <a:gd name="connsiteX73" fmla="*/ 2276475 w 2889264"/>
              <a:gd name="connsiteY73" fmla="*/ 434975 h 733425"/>
              <a:gd name="connsiteX74" fmla="*/ 2289175 w 2889264"/>
              <a:gd name="connsiteY74" fmla="*/ 444500 h 733425"/>
              <a:gd name="connsiteX75" fmla="*/ 2308225 w 2889264"/>
              <a:gd name="connsiteY75" fmla="*/ 447675 h 733425"/>
              <a:gd name="connsiteX76" fmla="*/ 2333625 w 2889264"/>
              <a:gd name="connsiteY76" fmla="*/ 460375 h 733425"/>
              <a:gd name="connsiteX77" fmla="*/ 2352675 w 2889264"/>
              <a:gd name="connsiteY77" fmla="*/ 466725 h 733425"/>
              <a:gd name="connsiteX78" fmla="*/ 2397125 w 2889264"/>
              <a:gd name="connsiteY78" fmla="*/ 488950 h 733425"/>
              <a:gd name="connsiteX79" fmla="*/ 2422525 w 2889264"/>
              <a:gd name="connsiteY79" fmla="*/ 495300 h 733425"/>
              <a:gd name="connsiteX80" fmla="*/ 2432050 w 2889264"/>
              <a:gd name="connsiteY80" fmla="*/ 498475 h 733425"/>
              <a:gd name="connsiteX81" fmla="*/ 2454275 w 2889264"/>
              <a:gd name="connsiteY81" fmla="*/ 511175 h 733425"/>
              <a:gd name="connsiteX82" fmla="*/ 2470150 w 2889264"/>
              <a:gd name="connsiteY82" fmla="*/ 523875 h 733425"/>
              <a:gd name="connsiteX83" fmla="*/ 2495550 w 2889264"/>
              <a:gd name="connsiteY83" fmla="*/ 533400 h 733425"/>
              <a:gd name="connsiteX84" fmla="*/ 2546350 w 2889264"/>
              <a:gd name="connsiteY84" fmla="*/ 558800 h 733425"/>
              <a:gd name="connsiteX85" fmla="*/ 2574925 w 2889264"/>
              <a:gd name="connsiteY85" fmla="*/ 565150 h 733425"/>
              <a:gd name="connsiteX86" fmla="*/ 2600325 w 2889264"/>
              <a:gd name="connsiteY86" fmla="*/ 577850 h 733425"/>
              <a:gd name="connsiteX87" fmla="*/ 2616200 w 2889264"/>
              <a:gd name="connsiteY87" fmla="*/ 581025 h 733425"/>
              <a:gd name="connsiteX88" fmla="*/ 2638425 w 2889264"/>
              <a:gd name="connsiteY88" fmla="*/ 587375 h 733425"/>
              <a:gd name="connsiteX89" fmla="*/ 2654300 w 2889264"/>
              <a:gd name="connsiteY89" fmla="*/ 596900 h 733425"/>
              <a:gd name="connsiteX90" fmla="*/ 2673350 w 2889264"/>
              <a:gd name="connsiteY90" fmla="*/ 603250 h 733425"/>
              <a:gd name="connsiteX91" fmla="*/ 2708275 w 2889264"/>
              <a:gd name="connsiteY91" fmla="*/ 625475 h 733425"/>
              <a:gd name="connsiteX92" fmla="*/ 2730500 w 2889264"/>
              <a:gd name="connsiteY92" fmla="*/ 635000 h 733425"/>
              <a:gd name="connsiteX93" fmla="*/ 2749550 w 2889264"/>
              <a:gd name="connsiteY93" fmla="*/ 650875 h 733425"/>
              <a:gd name="connsiteX94" fmla="*/ 2774950 w 2889264"/>
              <a:gd name="connsiteY94" fmla="*/ 663575 h 733425"/>
              <a:gd name="connsiteX95" fmla="*/ 2803525 w 2889264"/>
              <a:gd name="connsiteY95" fmla="*/ 676275 h 733425"/>
              <a:gd name="connsiteX96" fmla="*/ 2816225 w 2889264"/>
              <a:gd name="connsiteY96" fmla="*/ 685800 h 733425"/>
              <a:gd name="connsiteX97" fmla="*/ 2832100 w 2889264"/>
              <a:gd name="connsiteY97" fmla="*/ 692150 h 733425"/>
              <a:gd name="connsiteX98" fmla="*/ 2876550 w 2889264"/>
              <a:gd name="connsiteY98" fmla="*/ 723900 h 733425"/>
              <a:gd name="connsiteX99" fmla="*/ 2889250 w 2889264"/>
              <a:gd name="connsiteY99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23925 w 2889264"/>
              <a:gd name="connsiteY12" fmla="*/ 269875 h 733425"/>
              <a:gd name="connsiteX13" fmla="*/ 933450 w 2889264"/>
              <a:gd name="connsiteY13" fmla="*/ 260350 h 733425"/>
              <a:gd name="connsiteX14" fmla="*/ 958850 w 2889264"/>
              <a:gd name="connsiteY14" fmla="*/ 247650 h 733425"/>
              <a:gd name="connsiteX15" fmla="*/ 968375 w 2889264"/>
              <a:gd name="connsiteY15" fmla="*/ 241300 h 733425"/>
              <a:gd name="connsiteX16" fmla="*/ 984250 w 2889264"/>
              <a:gd name="connsiteY16" fmla="*/ 234950 h 733425"/>
              <a:gd name="connsiteX17" fmla="*/ 1006475 w 2889264"/>
              <a:gd name="connsiteY17" fmla="*/ 225425 h 733425"/>
              <a:gd name="connsiteX18" fmla="*/ 1050925 w 2889264"/>
              <a:gd name="connsiteY18" fmla="*/ 212725 h 733425"/>
              <a:gd name="connsiteX19" fmla="*/ 1079500 w 2889264"/>
              <a:gd name="connsiteY19" fmla="*/ 200025 h 733425"/>
              <a:gd name="connsiteX20" fmla="*/ 1098550 w 2889264"/>
              <a:gd name="connsiteY20" fmla="*/ 193675 h 733425"/>
              <a:gd name="connsiteX21" fmla="*/ 1111250 w 2889264"/>
              <a:gd name="connsiteY21" fmla="*/ 187325 h 733425"/>
              <a:gd name="connsiteX22" fmla="*/ 1136650 w 2889264"/>
              <a:gd name="connsiteY22" fmla="*/ 177800 h 733425"/>
              <a:gd name="connsiteX23" fmla="*/ 1181100 w 2889264"/>
              <a:gd name="connsiteY23" fmla="*/ 152400 h 733425"/>
              <a:gd name="connsiteX24" fmla="*/ 1203325 w 2889264"/>
              <a:gd name="connsiteY24" fmla="*/ 130175 h 733425"/>
              <a:gd name="connsiteX25" fmla="*/ 1219200 w 2889264"/>
              <a:gd name="connsiteY25" fmla="*/ 117475 h 733425"/>
              <a:gd name="connsiteX26" fmla="*/ 1276350 w 2889264"/>
              <a:gd name="connsiteY26" fmla="*/ 85725 h 733425"/>
              <a:gd name="connsiteX27" fmla="*/ 1289050 w 2889264"/>
              <a:gd name="connsiteY27" fmla="*/ 79375 h 733425"/>
              <a:gd name="connsiteX28" fmla="*/ 1327150 w 2889264"/>
              <a:gd name="connsiteY28" fmla="*/ 66675 h 733425"/>
              <a:gd name="connsiteX29" fmla="*/ 1343025 w 2889264"/>
              <a:gd name="connsiteY29" fmla="*/ 57150 h 733425"/>
              <a:gd name="connsiteX30" fmla="*/ 1355725 w 2889264"/>
              <a:gd name="connsiteY30" fmla="*/ 47625 h 733425"/>
              <a:gd name="connsiteX31" fmla="*/ 1377950 w 2889264"/>
              <a:gd name="connsiteY31" fmla="*/ 38100 h 733425"/>
              <a:gd name="connsiteX32" fmla="*/ 1416050 w 2889264"/>
              <a:gd name="connsiteY32" fmla="*/ 12700 h 733425"/>
              <a:gd name="connsiteX33" fmla="*/ 1428750 w 2889264"/>
              <a:gd name="connsiteY33" fmla="*/ 0 h 733425"/>
              <a:gd name="connsiteX34" fmla="*/ 1470025 w 2889264"/>
              <a:gd name="connsiteY34" fmla="*/ 28575 h 733425"/>
              <a:gd name="connsiteX35" fmla="*/ 1504950 w 2889264"/>
              <a:gd name="connsiteY35" fmla="*/ 41275 h 733425"/>
              <a:gd name="connsiteX36" fmla="*/ 1517650 w 2889264"/>
              <a:gd name="connsiteY36" fmla="*/ 50800 h 733425"/>
              <a:gd name="connsiteX37" fmla="*/ 1549400 w 2889264"/>
              <a:gd name="connsiteY37" fmla="*/ 60325 h 733425"/>
              <a:gd name="connsiteX38" fmla="*/ 1562100 w 2889264"/>
              <a:gd name="connsiteY38" fmla="*/ 69850 h 733425"/>
              <a:gd name="connsiteX39" fmla="*/ 1574800 w 2889264"/>
              <a:gd name="connsiteY39" fmla="*/ 73025 h 733425"/>
              <a:gd name="connsiteX40" fmla="*/ 1590675 w 2889264"/>
              <a:gd name="connsiteY40" fmla="*/ 79375 h 733425"/>
              <a:gd name="connsiteX41" fmla="*/ 1600200 w 2889264"/>
              <a:gd name="connsiteY41" fmla="*/ 85725 h 733425"/>
              <a:gd name="connsiteX42" fmla="*/ 1612900 w 2889264"/>
              <a:gd name="connsiteY42" fmla="*/ 92075 h 733425"/>
              <a:gd name="connsiteX43" fmla="*/ 1625600 w 2889264"/>
              <a:gd name="connsiteY43" fmla="*/ 101600 h 733425"/>
              <a:gd name="connsiteX44" fmla="*/ 1635125 w 2889264"/>
              <a:gd name="connsiteY44" fmla="*/ 104775 h 733425"/>
              <a:gd name="connsiteX45" fmla="*/ 1654175 w 2889264"/>
              <a:gd name="connsiteY45" fmla="*/ 114300 h 733425"/>
              <a:gd name="connsiteX46" fmla="*/ 1676400 w 2889264"/>
              <a:gd name="connsiteY46" fmla="*/ 130175 h 733425"/>
              <a:gd name="connsiteX47" fmla="*/ 1689100 w 2889264"/>
              <a:gd name="connsiteY47" fmla="*/ 136525 h 733425"/>
              <a:gd name="connsiteX48" fmla="*/ 1714500 w 2889264"/>
              <a:gd name="connsiteY48" fmla="*/ 146050 h 733425"/>
              <a:gd name="connsiteX49" fmla="*/ 1727200 w 2889264"/>
              <a:gd name="connsiteY49" fmla="*/ 155575 h 733425"/>
              <a:gd name="connsiteX50" fmla="*/ 1758950 w 2889264"/>
              <a:gd name="connsiteY50" fmla="*/ 165100 h 733425"/>
              <a:gd name="connsiteX51" fmla="*/ 1768475 w 2889264"/>
              <a:gd name="connsiteY51" fmla="*/ 171450 h 733425"/>
              <a:gd name="connsiteX52" fmla="*/ 1781175 w 2889264"/>
              <a:gd name="connsiteY52" fmla="*/ 180975 h 733425"/>
              <a:gd name="connsiteX53" fmla="*/ 1793875 w 2889264"/>
              <a:gd name="connsiteY53" fmla="*/ 187325 h 733425"/>
              <a:gd name="connsiteX54" fmla="*/ 1838325 w 2889264"/>
              <a:gd name="connsiteY54" fmla="*/ 212725 h 733425"/>
              <a:gd name="connsiteX55" fmla="*/ 1847850 w 2889264"/>
              <a:gd name="connsiteY55" fmla="*/ 222250 h 733425"/>
              <a:gd name="connsiteX56" fmla="*/ 1885950 w 2889264"/>
              <a:gd name="connsiteY56" fmla="*/ 241300 h 733425"/>
              <a:gd name="connsiteX57" fmla="*/ 1901825 w 2889264"/>
              <a:gd name="connsiteY57" fmla="*/ 250825 h 733425"/>
              <a:gd name="connsiteX58" fmla="*/ 1933575 w 2889264"/>
              <a:gd name="connsiteY58" fmla="*/ 263525 h 733425"/>
              <a:gd name="connsiteX59" fmla="*/ 1962150 w 2889264"/>
              <a:gd name="connsiteY59" fmla="*/ 276225 h 733425"/>
              <a:gd name="connsiteX60" fmla="*/ 1971675 w 2889264"/>
              <a:gd name="connsiteY60" fmla="*/ 282575 h 733425"/>
              <a:gd name="connsiteX61" fmla="*/ 1987550 w 2889264"/>
              <a:gd name="connsiteY61" fmla="*/ 288925 h 733425"/>
              <a:gd name="connsiteX62" fmla="*/ 2022475 w 2889264"/>
              <a:gd name="connsiteY62" fmla="*/ 301625 h 733425"/>
              <a:gd name="connsiteX63" fmla="*/ 2047875 w 2889264"/>
              <a:gd name="connsiteY63" fmla="*/ 314325 h 733425"/>
              <a:gd name="connsiteX64" fmla="*/ 2063750 w 2889264"/>
              <a:gd name="connsiteY64" fmla="*/ 320675 h 733425"/>
              <a:gd name="connsiteX65" fmla="*/ 2082800 w 2889264"/>
              <a:gd name="connsiteY65" fmla="*/ 330200 h 733425"/>
              <a:gd name="connsiteX66" fmla="*/ 2095500 w 2889264"/>
              <a:gd name="connsiteY66" fmla="*/ 333375 h 733425"/>
              <a:gd name="connsiteX67" fmla="*/ 2124075 w 2889264"/>
              <a:gd name="connsiteY67" fmla="*/ 342900 h 733425"/>
              <a:gd name="connsiteX68" fmla="*/ 2159000 w 2889264"/>
              <a:gd name="connsiteY68" fmla="*/ 358775 h 733425"/>
              <a:gd name="connsiteX69" fmla="*/ 2187575 w 2889264"/>
              <a:gd name="connsiteY69" fmla="*/ 377825 h 733425"/>
              <a:gd name="connsiteX70" fmla="*/ 2209800 w 2889264"/>
              <a:gd name="connsiteY70" fmla="*/ 393700 h 733425"/>
              <a:gd name="connsiteX71" fmla="*/ 2247900 w 2889264"/>
              <a:gd name="connsiteY71" fmla="*/ 419100 h 733425"/>
              <a:gd name="connsiteX72" fmla="*/ 2276475 w 2889264"/>
              <a:gd name="connsiteY72" fmla="*/ 434975 h 733425"/>
              <a:gd name="connsiteX73" fmla="*/ 2289175 w 2889264"/>
              <a:gd name="connsiteY73" fmla="*/ 444500 h 733425"/>
              <a:gd name="connsiteX74" fmla="*/ 2308225 w 2889264"/>
              <a:gd name="connsiteY74" fmla="*/ 447675 h 733425"/>
              <a:gd name="connsiteX75" fmla="*/ 2333625 w 2889264"/>
              <a:gd name="connsiteY75" fmla="*/ 460375 h 733425"/>
              <a:gd name="connsiteX76" fmla="*/ 2352675 w 2889264"/>
              <a:gd name="connsiteY76" fmla="*/ 466725 h 733425"/>
              <a:gd name="connsiteX77" fmla="*/ 2397125 w 2889264"/>
              <a:gd name="connsiteY77" fmla="*/ 488950 h 733425"/>
              <a:gd name="connsiteX78" fmla="*/ 2422525 w 2889264"/>
              <a:gd name="connsiteY78" fmla="*/ 495300 h 733425"/>
              <a:gd name="connsiteX79" fmla="*/ 2432050 w 2889264"/>
              <a:gd name="connsiteY79" fmla="*/ 498475 h 733425"/>
              <a:gd name="connsiteX80" fmla="*/ 2454275 w 2889264"/>
              <a:gd name="connsiteY80" fmla="*/ 511175 h 733425"/>
              <a:gd name="connsiteX81" fmla="*/ 2470150 w 2889264"/>
              <a:gd name="connsiteY81" fmla="*/ 523875 h 733425"/>
              <a:gd name="connsiteX82" fmla="*/ 2495550 w 2889264"/>
              <a:gd name="connsiteY82" fmla="*/ 533400 h 733425"/>
              <a:gd name="connsiteX83" fmla="*/ 2546350 w 2889264"/>
              <a:gd name="connsiteY83" fmla="*/ 558800 h 733425"/>
              <a:gd name="connsiteX84" fmla="*/ 2574925 w 2889264"/>
              <a:gd name="connsiteY84" fmla="*/ 565150 h 733425"/>
              <a:gd name="connsiteX85" fmla="*/ 2600325 w 2889264"/>
              <a:gd name="connsiteY85" fmla="*/ 577850 h 733425"/>
              <a:gd name="connsiteX86" fmla="*/ 2616200 w 2889264"/>
              <a:gd name="connsiteY86" fmla="*/ 581025 h 733425"/>
              <a:gd name="connsiteX87" fmla="*/ 2638425 w 2889264"/>
              <a:gd name="connsiteY87" fmla="*/ 587375 h 733425"/>
              <a:gd name="connsiteX88" fmla="*/ 2654300 w 2889264"/>
              <a:gd name="connsiteY88" fmla="*/ 596900 h 733425"/>
              <a:gd name="connsiteX89" fmla="*/ 2673350 w 2889264"/>
              <a:gd name="connsiteY89" fmla="*/ 603250 h 733425"/>
              <a:gd name="connsiteX90" fmla="*/ 2708275 w 2889264"/>
              <a:gd name="connsiteY90" fmla="*/ 625475 h 733425"/>
              <a:gd name="connsiteX91" fmla="*/ 2730500 w 2889264"/>
              <a:gd name="connsiteY91" fmla="*/ 635000 h 733425"/>
              <a:gd name="connsiteX92" fmla="*/ 2749550 w 2889264"/>
              <a:gd name="connsiteY92" fmla="*/ 650875 h 733425"/>
              <a:gd name="connsiteX93" fmla="*/ 2774950 w 2889264"/>
              <a:gd name="connsiteY93" fmla="*/ 663575 h 733425"/>
              <a:gd name="connsiteX94" fmla="*/ 2803525 w 2889264"/>
              <a:gd name="connsiteY94" fmla="*/ 676275 h 733425"/>
              <a:gd name="connsiteX95" fmla="*/ 2816225 w 2889264"/>
              <a:gd name="connsiteY95" fmla="*/ 685800 h 733425"/>
              <a:gd name="connsiteX96" fmla="*/ 2832100 w 2889264"/>
              <a:gd name="connsiteY96" fmla="*/ 692150 h 733425"/>
              <a:gd name="connsiteX97" fmla="*/ 2876550 w 2889264"/>
              <a:gd name="connsiteY97" fmla="*/ 723900 h 733425"/>
              <a:gd name="connsiteX98" fmla="*/ 2889250 w 2889264"/>
              <a:gd name="connsiteY98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23925 w 2889264"/>
              <a:gd name="connsiteY12" fmla="*/ 269875 h 733425"/>
              <a:gd name="connsiteX13" fmla="*/ 958850 w 2889264"/>
              <a:gd name="connsiteY13" fmla="*/ 247650 h 733425"/>
              <a:gd name="connsiteX14" fmla="*/ 968375 w 2889264"/>
              <a:gd name="connsiteY14" fmla="*/ 241300 h 733425"/>
              <a:gd name="connsiteX15" fmla="*/ 984250 w 2889264"/>
              <a:gd name="connsiteY15" fmla="*/ 234950 h 733425"/>
              <a:gd name="connsiteX16" fmla="*/ 1006475 w 2889264"/>
              <a:gd name="connsiteY16" fmla="*/ 225425 h 733425"/>
              <a:gd name="connsiteX17" fmla="*/ 1050925 w 2889264"/>
              <a:gd name="connsiteY17" fmla="*/ 212725 h 733425"/>
              <a:gd name="connsiteX18" fmla="*/ 1079500 w 2889264"/>
              <a:gd name="connsiteY18" fmla="*/ 200025 h 733425"/>
              <a:gd name="connsiteX19" fmla="*/ 1098550 w 2889264"/>
              <a:gd name="connsiteY19" fmla="*/ 193675 h 733425"/>
              <a:gd name="connsiteX20" fmla="*/ 1111250 w 2889264"/>
              <a:gd name="connsiteY20" fmla="*/ 187325 h 733425"/>
              <a:gd name="connsiteX21" fmla="*/ 1136650 w 2889264"/>
              <a:gd name="connsiteY21" fmla="*/ 177800 h 733425"/>
              <a:gd name="connsiteX22" fmla="*/ 1181100 w 2889264"/>
              <a:gd name="connsiteY22" fmla="*/ 152400 h 733425"/>
              <a:gd name="connsiteX23" fmla="*/ 1203325 w 2889264"/>
              <a:gd name="connsiteY23" fmla="*/ 130175 h 733425"/>
              <a:gd name="connsiteX24" fmla="*/ 1219200 w 2889264"/>
              <a:gd name="connsiteY24" fmla="*/ 117475 h 733425"/>
              <a:gd name="connsiteX25" fmla="*/ 1276350 w 2889264"/>
              <a:gd name="connsiteY25" fmla="*/ 85725 h 733425"/>
              <a:gd name="connsiteX26" fmla="*/ 1289050 w 2889264"/>
              <a:gd name="connsiteY26" fmla="*/ 79375 h 733425"/>
              <a:gd name="connsiteX27" fmla="*/ 1327150 w 2889264"/>
              <a:gd name="connsiteY27" fmla="*/ 66675 h 733425"/>
              <a:gd name="connsiteX28" fmla="*/ 1343025 w 2889264"/>
              <a:gd name="connsiteY28" fmla="*/ 57150 h 733425"/>
              <a:gd name="connsiteX29" fmla="*/ 1355725 w 2889264"/>
              <a:gd name="connsiteY29" fmla="*/ 47625 h 733425"/>
              <a:gd name="connsiteX30" fmla="*/ 1377950 w 2889264"/>
              <a:gd name="connsiteY30" fmla="*/ 38100 h 733425"/>
              <a:gd name="connsiteX31" fmla="*/ 1416050 w 2889264"/>
              <a:gd name="connsiteY31" fmla="*/ 12700 h 733425"/>
              <a:gd name="connsiteX32" fmla="*/ 1428750 w 2889264"/>
              <a:gd name="connsiteY32" fmla="*/ 0 h 733425"/>
              <a:gd name="connsiteX33" fmla="*/ 1470025 w 2889264"/>
              <a:gd name="connsiteY33" fmla="*/ 28575 h 733425"/>
              <a:gd name="connsiteX34" fmla="*/ 1504950 w 2889264"/>
              <a:gd name="connsiteY34" fmla="*/ 41275 h 733425"/>
              <a:gd name="connsiteX35" fmla="*/ 1517650 w 2889264"/>
              <a:gd name="connsiteY35" fmla="*/ 50800 h 733425"/>
              <a:gd name="connsiteX36" fmla="*/ 1549400 w 2889264"/>
              <a:gd name="connsiteY36" fmla="*/ 60325 h 733425"/>
              <a:gd name="connsiteX37" fmla="*/ 1562100 w 2889264"/>
              <a:gd name="connsiteY37" fmla="*/ 69850 h 733425"/>
              <a:gd name="connsiteX38" fmla="*/ 1574800 w 2889264"/>
              <a:gd name="connsiteY38" fmla="*/ 73025 h 733425"/>
              <a:gd name="connsiteX39" fmla="*/ 1590675 w 2889264"/>
              <a:gd name="connsiteY39" fmla="*/ 79375 h 733425"/>
              <a:gd name="connsiteX40" fmla="*/ 1600200 w 2889264"/>
              <a:gd name="connsiteY40" fmla="*/ 85725 h 733425"/>
              <a:gd name="connsiteX41" fmla="*/ 1612900 w 2889264"/>
              <a:gd name="connsiteY41" fmla="*/ 92075 h 733425"/>
              <a:gd name="connsiteX42" fmla="*/ 1625600 w 2889264"/>
              <a:gd name="connsiteY42" fmla="*/ 101600 h 733425"/>
              <a:gd name="connsiteX43" fmla="*/ 1635125 w 2889264"/>
              <a:gd name="connsiteY43" fmla="*/ 104775 h 733425"/>
              <a:gd name="connsiteX44" fmla="*/ 1654175 w 2889264"/>
              <a:gd name="connsiteY44" fmla="*/ 114300 h 733425"/>
              <a:gd name="connsiteX45" fmla="*/ 1676400 w 2889264"/>
              <a:gd name="connsiteY45" fmla="*/ 130175 h 733425"/>
              <a:gd name="connsiteX46" fmla="*/ 1689100 w 2889264"/>
              <a:gd name="connsiteY46" fmla="*/ 136525 h 733425"/>
              <a:gd name="connsiteX47" fmla="*/ 1714500 w 2889264"/>
              <a:gd name="connsiteY47" fmla="*/ 146050 h 733425"/>
              <a:gd name="connsiteX48" fmla="*/ 1727200 w 2889264"/>
              <a:gd name="connsiteY48" fmla="*/ 155575 h 733425"/>
              <a:gd name="connsiteX49" fmla="*/ 1758950 w 2889264"/>
              <a:gd name="connsiteY49" fmla="*/ 165100 h 733425"/>
              <a:gd name="connsiteX50" fmla="*/ 1768475 w 2889264"/>
              <a:gd name="connsiteY50" fmla="*/ 171450 h 733425"/>
              <a:gd name="connsiteX51" fmla="*/ 1781175 w 2889264"/>
              <a:gd name="connsiteY51" fmla="*/ 180975 h 733425"/>
              <a:gd name="connsiteX52" fmla="*/ 1793875 w 2889264"/>
              <a:gd name="connsiteY52" fmla="*/ 187325 h 733425"/>
              <a:gd name="connsiteX53" fmla="*/ 1838325 w 2889264"/>
              <a:gd name="connsiteY53" fmla="*/ 212725 h 733425"/>
              <a:gd name="connsiteX54" fmla="*/ 1847850 w 2889264"/>
              <a:gd name="connsiteY54" fmla="*/ 222250 h 733425"/>
              <a:gd name="connsiteX55" fmla="*/ 1885950 w 2889264"/>
              <a:gd name="connsiteY55" fmla="*/ 241300 h 733425"/>
              <a:gd name="connsiteX56" fmla="*/ 1901825 w 2889264"/>
              <a:gd name="connsiteY56" fmla="*/ 250825 h 733425"/>
              <a:gd name="connsiteX57" fmla="*/ 1933575 w 2889264"/>
              <a:gd name="connsiteY57" fmla="*/ 263525 h 733425"/>
              <a:gd name="connsiteX58" fmla="*/ 1962150 w 2889264"/>
              <a:gd name="connsiteY58" fmla="*/ 276225 h 733425"/>
              <a:gd name="connsiteX59" fmla="*/ 1971675 w 2889264"/>
              <a:gd name="connsiteY59" fmla="*/ 282575 h 733425"/>
              <a:gd name="connsiteX60" fmla="*/ 1987550 w 2889264"/>
              <a:gd name="connsiteY60" fmla="*/ 288925 h 733425"/>
              <a:gd name="connsiteX61" fmla="*/ 2022475 w 2889264"/>
              <a:gd name="connsiteY61" fmla="*/ 301625 h 733425"/>
              <a:gd name="connsiteX62" fmla="*/ 2047875 w 2889264"/>
              <a:gd name="connsiteY62" fmla="*/ 314325 h 733425"/>
              <a:gd name="connsiteX63" fmla="*/ 2063750 w 2889264"/>
              <a:gd name="connsiteY63" fmla="*/ 320675 h 733425"/>
              <a:gd name="connsiteX64" fmla="*/ 2082800 w 2889264"/>
              <a:gd name="connsiteY64" fmla="*/ 330200 h 733425"/>
              <a:gd name="connsiteX65" fmla="*/ 2095500 w 2889264"/>
              <a:gd name="connsiteY65" fmla="*/ 333375 h 733425"/>
              <a:gd name="connsiteX66" fmla="*/ 2124075 w 2889264"/>
              <a:gd name="connsiteY66" fmla="*/ 342900 h 733425"/>
              <a:gd name="connsiteX67" fmla="*/ 2159000 w 2889264"/>
              <a:gd name="connsiteY67" fmla="*/ 358775 h 733425"/>
              <a:gd name="connsiteX68" fmla="*/ 2187575 w 2889264"/>
              <a:gd name="connsiteY68" fmla="*/ 377825 h 733425"/>
              <a:gd name="connsiteX69" fmla="*/ 2209800 w 2889264"/>
              <a:gd name="connsiteY69" fmla="*/ 393700 h 733425"/>
              <a:gd name="connsiteX70" fmla="*/ 2247900 w 2889264"/>
              <a:gd name="connsiteY70" fmla="*/ 419100 h 733425"/>
              <a:gd name="connsiteX71" fmla="*/ 2276475 w 2889264"/>
              <a:gd name="connsiteY71" fmla="*/ 434975 h 733425"/>
              <a:gd name="connsiteX72" fmla="*/ 2289175 w 2889264"/>
              <a:gd name="connsiteY72" fmla="*/ 444500 h 733425"/>
              <a:gd name="connsiteX73" fmla="*/ 2308225 w 2889264"/>
              <a:gd name="connsiteY73" fmla="*/ 447675 h 733425"/>
              <a:gd name="connsiteX74" fmla="*/ 2333625 w 2889264"/>
              <a:gd name="connsiteY74" fmla="*/ 460375 h 733425"/>
              <a:gd name="connsiteX75" fmla="*/ 2352675 w 2889264"/>
              <a:gd name="connsiteY75" fmla="*/ 466725 h 733425"/>
              <a:gd name="connsiteX76" fmla="*/ 2397125 w 2889264"/>
              <a:gd name="connsiteY76" fmla="*/ 488950 h 733425"/>
              <a:gd name="connsiteX77" fmla="*/ 2422525 w 2889264"/>
              <a:gd name="connsiteY77" fmla="*/ 495300 h 733425"/>
              <a:gd name="connsiteX78" fmla="*/ 2432050 w 2889264"/>
              <a:gd name="connsiteY78" fmla="*/ 498475 h 733425"/>
              <a:gd name="connsiteX79" fmla="*/ 2454275 w 2889264"/>
              <a:gd name="connsiteY79" fmla="*/ 511175 h 733425"/>
              <a:gd name="connsiteX80" fmla="*/ 2470150 w 2889264"/>
              <a:gd name="connsiteY80" fmla="*/ 523875 h 733425"/>
              <a:gd name="connsiteX81" fmla="*/ 2495550 w 2889264"/>
              <a:gd name="connsiteY81" fmla="*/ 533400 h 733425"/>
              <a:gd name="connsiteX82" fmla="*/ 2546350 w 2889264"/>
              <a:gd name="connsiteY82" fmla="*/ 558800 h 733425"/>
              <a:gd name="connsiteX83" fmla="*/ 2574925 w 2889264"/>
              <a:gd name="connsiteY83" fmla="*/ 565150 h 733425"/>
              <a:gd name="connsiteX84" fmla="*/ 2600325 w 2889264"/>
              <a:gd name="connsiteY84" fmla="*/ 577850 h 733425"/>
              <a:gd name="connsiteX85" fmla="*/ 2616200 w 2889264"/>
              <a:gd name="connsiteY85" fmla="*/ 581025 h 733425"/>
              <a:gd name="connsiteX86" fmla="*/ 2638425 w 2889264"/>
              <a:gd name="connsiteY86" fmla="*/ 587375 h 733425"/>
              <a:gd name="connsiteX87" fmla="*/ 2654300 w 2889264"/>
              <a:gd name="connsiteY87" fmla="*/ 596900 h 733425"/>
              <a:gd name="connsiteX88" fmla="*/ 2673350 w 2889264"/>
              <a:gd name="connsiteY88" fmla="*/ 603250 h 733425"/>
              <a:gd name="connsiteX89" fmla="*/ 2708275 w 2889264"/>
              <a:gd name="connsiteY89" fmla="*/ 625475 h 733425"/>
              <a:gd name="connsiteX90" fmla="*/ 2730500 w 2889264"/>
              <a:gd name="connsiteY90" fmla="*/ 635000 h 733425"/>
              <a:gd name="connsiteX91" fmla="*/ 2749550 w 2889264"/>
              <a:gd name="connsiteY91" fmla="*/ 650875 h 733425"/>
              <a:gd name="connsiteX92" fmla="*/ 2774950 w 2889264"/>
              <a:gd name="connsiteY92" fmla="*/ 663575 h 733425"/>
              <a:gd name="connsiteX93" fmla="*/ 2803525 w 2889264"/>
              <a:gd name="connsiteY93" fmla="*/ 676275 h 733425"/>
              <a:gd name="connsiteX94" fmla="*/ 2816225 w 2889264"/>
              <a:gd name="connsiteY94" fmla="*/ 685800 h 733425"/>
              <a:gd name="connsiteX95" fmla="*/ 2832100 w 2889264"/>
              <a:gd name="connsiteY95" fmla="*/ 692150 h 733425"/>
              <a:gd name="connsiteX96" fmla="*/ 2876550 w 2889264"/>
              <a:gd name="connsiteY96" fmla="*/ 723900 h 733425"/>
              <a:gd name="connsiteX97" fmla="*/ 2889250 w 2889264"/>
              <a:gd name="connsiteY97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23925 w 2889264"/>
              <a:gd name="connsiteY12" fmla="*/ 269875 h 733425"/>
              <a:gd name="connsiteX13" fmla="*/ 958850 w 2889264"/>
              <a:gd name="connsiteY13" fmla="*/ 247650 h 733425"/>
              <a:gd name="connsiteX14" fmla="*/ 984250 w 2889264"/>
              <a:gd name="connsiteY14" fmla="*/ 234950 h 733425"/>
              <a:gd name="connsiteX15" fmla="*/ 1006475 w 2889264"/>
              <a:gd name="connsiteY15" fmla="*/ 225425 h 733425"/>
              <a:gd name="connsiteX16" fmla="*/ 1050925 w 2889264"/>
              <a:gd name="connsiteY16" fmla="*/ 212725 h 733425"/>
              <a:gd name="connsiteX17" fmla="*/ 1079500 w 2889264"/>
              <a:gd name="connsiteY17" fmla="*/ 200025 h 733425"/>
              <a:gd name="connsiteX18" fmla="*/ 1098550 w 2889264"/>
              <a:gd name="connsiteY18" fmla="*/ 193675 h 733425"/>
              <a:gd name="connsiteX19" fmla="*/ 1111250 w 2889264"/>
              <a:gd name="connsiteY19" fmla="*/ 187325 h 733425"/>
              <a:gd name="connsiteX20" fmla="*/ 1136650 w 2889264"/>
              <a:gd name="connsiteY20" fmla="*/ 177800 h 733425"/>
              <a:gd name="connsiteX21" fmla="*/ 1181100 w 2889264"/>
              <a:gd name="connsiteY21" fmla="*/ 152400 h 733425"/>
              <a:gd name="connsiteX22" fmla="*/ 1203325 w 2889264"/>
              <a:gd name="connsiteY22" fmla="*/ 130175 h 733425"/>
              <a:gd name="connsiteX23" fmla="*/ 1219200 w 2889264"/>
              <a:gd name="connsiteY23" fmla="*/ 117475 h 733425"/>
              <a:gd name="connsiteX24" fmla="*/ 1276350 w 2889264"/>
              <a:gd name="connsiteY24" fmla="*/ 85725 h 733425"/>
              <a:gd name="connsiteX25" fmla="*/ 1289050 w 2889264"/>
              <a:gd name="connsiteY25" fmla="*/ 79375 h 733425"/>
              <a:gd name="connsiteX26" fmla="*/ 1327150 w 2889264"/>
              <a:gd name="connsiteY26" fmla="*/ 66675 h 733425"/>
              <a:gd name="connsiteX27" fmla="*/ 1343025 w 2889264"/>
              <a:gd name="connsiteY27" fmla="*/ 57150 h 733425"/>
              <a:gd name="connsiteX28" fmla="*/ 1355725 w 2889264"/>
              <a:gd name="connsiteY28" fmla="*/ 47625 h 733425"/>
              <a:gd name="connsiteX29" fmla="*/ 1377950 w 2889264"/>
              <a:gd name="connsiteY29" fmla="*/ 38100 h 733425"/>
              <a:gd name="connsiteX30" fmla="*/ 1416050 w 2889264"/>
              <a:gd name="connsiteY30" fmla="*/ 12700 h 733425"/>
              <a:gd name="connsiteX31" fmla="*/ 1428750 w 2889264"/>
              <a:gd name="connsiteY31" fmla="*/ 0 h 733425"/>
              <a:gd name="connsiteX32" fmla="*/ 1470025 w 2889264"/>
              <a:gd name="connsiteY32" fmla="*/ 28575 h 733425"/>
              <a:gd name="connsiteX33" fmla="*/ 1504950 w 2889264"/>
              <a:gd name="connsiteY33" fmla="*/ 41275 h 733425"/>
              <a:gd name="connsiteX34" fmla="*/ 1517650 w 2889264"/>
              <a:gd name="connsiteY34" fmla="*/ 50800 h 733425"/>
              <a:gd name="connsiteX35" fmla="*/ 1549400 w 2889264"/>
              <a:gd name="connsiteY35" fmla="*/ 60325 h 733425"/>
              <a:gd name="connsiteX36" fmla="*/ 1562100 w 2889264"/>
              <a:gd name="connsiteY36" fmla="*/ 69850 h 733425"/>
              <a:gd name="connsiteX37" fmla="*/ 1574800 w 2889264"/>
              <a:gd name="connsiteY37" fmla="*/ 73025 h 733425"/>
              <a:gd name="connsiteX38" fmla="*/ 1590675 w 2889264"/>
              <a:gd name="connsiteY38" fmla="*/ 79375 h 733425"/>
              <a:gd name="connsiteX39" fmla="*/ 1600200 w 2889264"/>
              <a:gd name="connsiteY39" fmla="*/ 85725 h 733425"/>
              <a:gd name="connsiteX40" fmla="*/ 1612900 w 2889264"/>
              <a:gd name="connsiteY40" fmla="*/ 92075 h 733425"/>
              <a:gd name="connsiteX41" fmla="*/ 1625600 w 2889264"/>
              <a:gd name="connsiteY41" fmla="*/ 101600 h 733425"/>
              <a:gd name="connsiteX42" fmla="*/ 1635125 w 2889264"/>
              <a:gd name="connsiteY42" fmla="*/ 104775 h 733425"/>
              <a:gd name="connsiteX43" fmla="*/ 1654175 w 2889264"/>
              <a:gd name="connsiteY43" fmla="*/ 114300 h 733425"/>
              <a:gd name="connsiteX44" fmla="*/ 1676400 w 2889264"/>
              <a:gd name="connsiteY44" fmla="*/ 130175 h 733425"/>
              <a:gd name="connsiteX45" fmla="*/ 1689100 w 2889264"/>
              <a:gd name="connsiteY45" fmla="*/ 136525 h 733425"/>
              <a:gd name="connsiteX46" fmla="*/ 1714500 w 2889264"/>
              <a:gd name="connsiteY46" fmla="*/ 146050 h 733425"/>
              <a:gd name="connsiteX47" fmla="*/ 1727200 w 2889264"/>
              <a:gd name="connsiteY47" fmla="*/ 155575 h 733425"/>
              <a:gd name="connsiteX48" fmla="*/ 1758950 w 2889264"/>
              <a:gd name="connsiteY48" fmla="*/ 165100 h 733425"/>
              <a:gd name="connsiteX49" fmla="*/ 1768475 w 2889264"/>
              <a:gd name="connsiteY49" fmla="*/ 171450 h 733425"/>
              <a:gd name="connsiteX50" fmla="*/ 1781175 w 2889264"/>
              <a:gd name="connsiteY50" fmla="*/ 180975 h 733425"/>
              <a:gd name="connsiteX51" fmla="*/ 1793875 w 2889264"/>
              <a:gd name="connsiteY51" fmla="*/ 187325 h 733425"/>
              <a:gd name="connsiteX52" fmla="*/ 1838325 w 2889264"/>
              <a:gd name="connsiteY52" fmla="*/ 212725 h 733425"/>
              <a:gd name="connsiteX53" fmla="*/ 1847850 w 2889264"/>
              <a:gd name="connsiteY53" fmla="*/ 222250 h 733425"/>
              <a:gd name="connsiteX54" fmla="*/ 1885950 w 2889264"/>
              <a:gd name="connsiteY54" fmla="*/ 241300 h 733425"/>
              <a:gd name="connsiteX55" fmla="*/ 1901825 w 2889264"/>
              <a:gd name="connsiteY55" fmla="*/ 250825 h 733425"/>
              <a:gd name="connsiteX56" fmla="*/ 1933575 w 2889264"/>
              <a:gd name="connsiteY56" fmla="*/ 263525 h 733425"/>
              <a:gd name="connsiteX57" fmla="*/ 1962150 w 2889264"/>
              <a:gd name="connsiteY57" fmla="*/ 276225 h 733425"/>
              <a:gd name="connsiteX58" fmla="*/ 1971675 w 2889264"/>
              <a:gd name="connsiteY58" fmla="*/ 282575 h 733425"/>
              <a:gd name="connsiteX59" fmla="*/ 1987550 w 2889264"/>
              <a:gd name="connsiteY59" fmla="*/ 288925 h 733425"/>
              <a:gd name="connsiteX60" fmla="*/ 2022475 w 2889264"/>
              <a:gd name="connsiteY60" fmla="*/ 301625 h 733425"/>
              <a:gd name="connsiteX61" fmla="*/ 2047875 w 2889264"/>
              <a:gd name="connsiteY61" fmla="*/ 314325 h 733425"/>
              <a:gd name="connsiteX62" fmla="*/ 2063750 w 2889264"/>
              <a:gd name="connsiteY62" fmla="*/ 320675 h 733425"/>
              <a:gd name="connsiteX63" fmla="*/ 2082800 w 2889264"/>
              <a:gd name="connsiteY63" fmla="*/ 330200 h 733425"/>
              <a:gd name="connsiteX64" fmla="*/ 2095500 w 2889264"/>
              <a:gd name="connsiteY64" fmla="*/ 333375 h 733425"/>
              <a:gd name="connsiteX65" fmla="*/ 2124075 w 2889264"/>
              <a:gd name="connsiteY65" fmla="*/ 342900 h 733425"/>
              <a:gd name="connsiteX66" fmla="*/ 2159000 w 2889264"/>
              <a:gd name="connsiteY66" fmla="*/ 358775 h 733425"/>
              <a:gd name="connsiteX67" fmla="*/ 2187575 w 2889264"/>
              <a:gd name="connsiteY67" fmla="*/ 377825 h 733425"/>
              <a:gd name="connsiteX68" fmla="*/ 2209800 w 2889264"/>
              <a:gd name="connsiteY68" fmla="*/ 393700 h 733425"/>
              <a:gd name="connsiteX69" fmla="*/ 2247900 w 2889264"/>
              <a:gd name="connsiteY69" fmla="*/ 419100 h 733425"/>
              <a:gd name="connsiteX70" fmla="*/ 2276475 w 2889264"/>
              <a:gd name="connsiteY70" fmla="*/ 434975 h 733425"/>
              <a:gd name="connsiteX71" fmla="*/ 2289175 w 2889264"/>
              <a:gd name="connsiteY71" fmla="*/ 444500 h 733425"/>
              <a:gd name="connsiteX72" fmla="*/ 2308225 w 2889264"/>
              <a:gd name="connsiteY72" fmla="*/ 447675 h 733425"/>
              <a:gd name="connsiteX73" fmla="*/ 2333625 w 2889264"/>
              <a:gd name="connsiteY73" fmla="*/ 460375 h 733425"/>
              <a:gd name="connsiteX74" fmla="*/ 2352675 w 2889264"/>
              <a:gd name="connsiteY74" fmla="*/ 466725 h 733425"/>
              <a:gd name="connsiteX75" fmla="*/ 2397125 w 2889264"/>
              <a:gd name="connsiteY75" fmla="*/ 488950 h 733425"/>
              <a:gd name="connsiteX76" fmla="*/ 2422525 w 2889264"/>
              <a:gd name="connsiteY76" fmla="*/ 495300 h 733425"/>
              <a:gd name="connsiteX77" fmla="*/ 2432050 w 2889264"/>
              <a:gd name="connsiteY77" fmla="*/ 498475 h 733425"/>
              <a:gd name="connsiteX78" fmla="*/ 2454275 w 2889264"/>
              <a:gd name="connsiteY78" fmla="*/ 511175 h 733425"/>
              <a:gd name="connsiteX79" fmla="*/ 2470150 w 2889264"/>
              <a:gd name="connsiteY79" fmla="*/ 523875 h 733425"/>
              <a:gd name="connsiteX80" fmla="*/ 2495550 w 2889264"/>
              <a:gd name="connsiteY80" fmla="*/ 533400 h 733425"/>
              <a:gd name="connsiteX81" fmla="*/ 2546350 w 2889264"/>
              <a:gd name="connsiteY81" fmla="*/ 558800 h 733425"/>
              <a:gd name="connsiteX82" fmla="*/ 2574925 w 2889264"/>
              <a:gd name="connsiteY82" fmla="*/ 565150 h 733425"/>
              <a:gd name="connsiteX83" fmla="*/ 2600325 w 2889264"/>
              <a:gd name="connsiteY83" fmla="*/ 577850 h 733425"/>
              <a:gd name="connsiteX84" fmla="*/ 2616200 w 2889264"/>
              <a:gd name="connsiteY84" fmla="*/ 581025 h 733425"/>
              <a:gd name="connsiteX85" fmla="*/ 2638425 w 2889264"/>
              <a:gd name="connsiteY85" fmla="*/ 587375 h 733425"/>
              <a:gd name="connsiteX86" fmla="*/ 2654300 w 2889264"/>
              <a:gd name="connsiteY86" fmla="*/ 596900 h 733425"/>
              <a:gd name="connsiteX87" fmla="*/ 2673350 w 2889264"/>
              <a:gd name="connsiteY87" fmla="*/ 603250 h 733425"/>
              <a:gd name="connsiteX88" fmla="*/ 2708275 w 2889264"/>
              <a:gd name="connsiteY88" fmla="*/ 625475 h 733425"/>
              <a:gd name="connsiteX89" fmla="*/ 2730500 w 2889264"/>
              <a:gd name="connsiteY89" fmla="*/ 635000 h 733425"/>
              <a:gd name="connsiteX90" fmla="*/ 2749550 w 2889264"/>
              <a:gd name="connsiteY90" fmla="*/ 650875 h 733425"/>
              <a:gd name="connsiteX91" fmla="*/ 2774950 w 2889264"/>
              <a:gd name="connsiteY91" fmla="*/ 663575 h 733425"/>
              <a:gd name="connsiteX92" fmla="*/ 2803525 w 2889264"/>
              <a:gd name="connsiteY92" fmla="*/ 676275 h 733425"/>
              <a:gd name="connsiteX93" fmla="*/ 2816225 w 2889264"/>
              <a:gd name="connsiteY93" fmla="*/ 685800 h 733425"/>
              <a:gd name="connsiteX94" fmla="*/ 2832100 w 2889264"/>
              <a:gd name="connsiteY94" fmla="*/ 692150 h 733425"/>
              <a:gd name="connsiteX95" fmla="*/ 2876550 w 2889264"/>
              <a:gd name="connsiteY95" fmla="*/ 723900 h 733425"/>
              <a:gd name="connsiteX96" fmla="*/ 2889250 w 2889264"/>
              <a:gd name="connsiteY96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23925 w 2889264"/>
              <a:gd name="connsiteY12" fmla="*/ 269875 h 733425"/>
              <a:gd name="connsiteX13" fmla="*/ 958850 w 2889264"/>
              <a:gd name="connsiteY13" fmla="*/ 247650 h 733425"/>
              <a:gd name="connsiteX14" fmla="*/ 1006475 w 2889264"/>
              <a:gd name="connsiteY14" fmla="*/ 225425 h 733425"/>
              <a:gd name="connsiteX15" fmla="*/ 1050925 w 2889264"/>
              <a:gd name="connsiteY15" fmla="*/ 212725 h 733425"/>
              <a:gd name="connsiteX16" fmla="*/ 1079500 w 2889264"/>
              <a:gd name="connsiteY16" fmla="*/ 200025 h 733425"/>
              <a:gd name="connsiteX17" fmla="*/ 1098550 w 2889264"/>
              <a:gd name="connsiteY17" fmla="*/ 193675 h 733425"/>
              <a:gd name="connsiteX18" fmla="*/ 1111250 w 2889264"/>
              <a:gd name="connsiteY18" fmla="*/ 187325 h 733425"/>
              <a:gd name="connsiteX19" fmla="*/ 1136650 w 2889264"/>
              <a:gd name="connsiteY19" fmla="*/ 177800 h 733425"/>
              <a:gd name="connsiteX20" fmla="*/ 1181100 w 2889264"/>
              <a:gd name="connsiteY20" fmla="*/ 152400 h 733425"/>
              <a:gd name="connsiteX21" fmla="*/ 1203325 w 2889264"/>
              <a:gd name="connsiteY21" fmla="*/ 130175 h 733425"/>
              <a:gd name="connsiteX22" fmla="*/ 1219200 w 2889264"/>
              <a:gd name="connsiteY22" fmla="*/ 117475 h 733425"/>
              <a:gd name="connsiteX23" fmla="*/ 1276350 w 2889264"/>
              <a:gd name="connsiteY23" fmla="*/ 85725 h 733425"/>
              <a:gd name="connsiteX24" fmla="*/ 1289050 w 2889264"/>
              <a:gd name="connsiteY24" fmla="*/ 79375 h 733425"/>
              <a:gd name="connsiteX25" fmla="*/ 1327150 w 2889264"/>
              <a:gd name="connsiteY25" fmla="*/ 66675 h 733425"/>
              <a:gd name="connsiteX26" fmla="*/ 1343025 w 2889264"/>
              <a:gd name="connsiteY26" fmla="*/ 57150 h 733425"/>
              <a:gd name="connsiteX27" fmla="*/ 1355725 w 2889264"/>
              <a:gd name="connsiteY27" fmla="*/ 47625 h 733425"/>
              <a:gd name="connsiteX28" fmla="*/ 1377950 w 2889264"/>
              <a:gd name="connsiteY28" fmla="*/ 38100 h 733425"/>
              <a:gd name="connsiteX29" fmla="*/ 1416050 w 2889264"/>
              <a:gd name="connsiteY29" fmla="*/ 12700 h 733425"/>
              <a:gd name="connsiteX30" fmla="*/ 1428750 w 2889264"/>
              <a:gd name="connsiteY30" fmla="*/ 0 h 733425"/>
              <a:gd name="connsiteX31" fmla="*/ 1470025 w 2889264"/>
              <a:gd name="connsiteY31" fmla="*/ 28575 h 733425"/>
              <a:gd name="connsiteX32" fmla="*/ 1504950 w 2889264"/>
              <a:gd name="connsiteY32" fmla="*/ 41275 h 733425"/>
              <a:gd name="connsiteX33" fmla="*/ 1517650 w 2889264"/>
              <a:gd name="connsiteY33" fmla="*/ 50800 h 733425"/>
              <a:gd name="connsiteX34" fmla="*/ 1549400 w 2889264"/>
              <a:gd name="connsiteY34" fmla="*/ 60325 h 733425"/>
              <a:gd name="connsiteX35" fmla="*/ 1562100 w 2889264"/>
              <a:gd name="connsiteY35" fmla="*/ 69850 h 733425"/>
              <a:gd name="connsiteX36" fmla="*/ 1574800 w 2889264"/>
              <a:gd name="connsiteY36" fmla="*/ 73025 h 733425"/>
              <a:gd name="connsiteX37" fmla="*/ 1590675 w 2889264"/>
              <a:gd name="connsiteY37" fmla="*/ 79375 h 733425"/>
              <a:gd name="connsiteX38" fmla="*/ 1600200 w 2889264"/>
              <a:gd name="connsiteY38" fmla="*/ 85725 h 733425"/>
              <a:gd name="connsiteX39" fmla="*/ 1612900 w 2889264"/>
              <a:gd name="connsiteY39" fmla="*/ 92075 h 733425"/>
              <a:gd name="connsiteX40" fmla="*/ 1625600 w 2889264"/>
              <a:gd name="connsiteY40" fmla="*/ 101600 h 733425"/>
              <a:gd name="connsiteX41" fmla="*/ 1635125 w 2889264"/>
              <a:gd name="connsiteY41" fmla="*/ 104775 h 733425"/>
              <a:gd name="connsiteX42" fmla="*/ 1654175 w 2889264"/>
              <a:gd name="connsiteY42" fmla="*/ 114300 h 733425"/>
              <a:gd name="connsiteX43" fmla="*/ 1676400 w 2889264"/>
              <a:gd name="connsiteY43" fmla="*/ 130175 h 733425"/>
              <a:gd name="connsiteX44" fmla="*/ 1689100 w 2889264"/>
              <a:gd name="connsiteY44" fmla="*/ 136525 h 733425"/>
              <a:gd name="connsiteX45" fmla="*/ 1714500 w 2889264"/>
              <a:gd name="connsiteY45" fmla="*/ 146050 h 733425"/>
              <a:gd name="connsiteX46" fmla="*/ 1727200 w 2889264"/>
              <a:gd name="connsiteY46" fmla="*/ 155575 h 733425"/>
              <a:gd name="connsiteX47" fmla="*/ 1758950 w 2889264"/>
              <a:gd name="connsiteY47" fmla="*/ 165100 h 733425"/>
              <a:gd name="connsiteX48" fmla="*/ 1768475 w 2889264"/>
              <a:gd name="connsiteY48" fmla="*/ 171450 h 733425"/>
              <a:gd name="connsiteX49" fmla="*/ 1781175 w 2889264"/>
              <a:gd name="connsiteY49" fmla="*/ 180975 h 733425"/>
              <a:gd name="connsiteX50" fmla="*/ 1793875 w 2889264"/>
              <a:gd name="connsiteY50" fmla="*/ 187325 h 733425"/>
              <a:gd name="connsiteX51" fmla="*/ 1838325 w 2889264"/>
              <a:gd name="connsiteY51" fmla="*/ 212725 h 733425"/>
              <a:gd name="connsiteX52" fmla="*/ 1847850 w 2889264"/>
              <a:gd name="connsiteY52" fmla="*/ 222250 h 733425"/>
              <a:gd name="connsiteX53" fmla="*/ 1885950 w 2889264"/>
              <a:gd name="connsiteY53" fmla="*/ 241300 h 733425"/>
              <a:gd name="connsiteX54" fmla="*/ 1901825 w 2889264"/>
              <a:gd name="connsiteY54" fmla="*/ 250825 h 733425"/>
              <a:gd name="connsiteX55" fmla="*/ 1933575 w 2889264"/>
              <a:gd name="connsiteY55" fmla="*/ 263525 h 733425"/>
              <a:gd name="connsiteX56" fmla="*/ 1962150 w 2889264"/>
              <a:gd name="connsiteY56" fmla="*/ 276225 h 733425"/>
              <a:gd name="connsiteX57" fmla="*/ 1971675 w 2889264"/>
              <a:gd name="connsiteY57" fmla="*/ 282575 h 733425"/>
              <a:gd name="connsiteX58" fmla="*/ 1987550 w 2889264"/>
              <a:gd name="connsiteY58" fmla="*/ 288925 h 733425"/>
              <a:gd name="connsiteX59" fmla="*/ 2022475 w 2889264"/>
              <a:gd name="connsiteY59" fmla="*/ 301625 h 733425"/>
              <a:gd name="connsiteX60" fmla="*/ 2047875 w 2889264"/>
              <a:gd name="connsiteY60" fmla="*/ 314325 h 733425"/>
              <a:gd name="connsiteX61" fmla="*/ 2063750 w 2889264"/>
              <a:gd name="connsiteY61" fmla="*/ 320675 h 733425"/>
              <a:gd name="connsiteX62" fmla="*/ 2082800 w 2889264"/>
              <a:gd name="connsiteY62" fmla="*/ 330200 h 733425"/>
              <a:gd name="connsiteX63" fmla="*/ 2095500 w 2889264"/>
              <a:gd name="connsiteY63" fmla="*/ 333375 h 733425"/>
              <a:gd name="connsiteX64" fmla="*/ 2124075 w 2889264"/>
              <a:gd name="connsiteY64" fmla="*/ 342900 h 733425"/>
              <a:gd name="connsiteX65" fmla="*/ 2159000 w 2889264"/>
              <a:gd name="connsiteY65" fmla="*/ 358775 h 733425"/>
              <a:gd name="connsiteX66" fmla="*/ 2187575 w 2889264"/>
              <a:gd name="connsiteY66" fmla="*/ 377825 h 733425"/>
              <a:gd name="connsiteX67" fmla="*/ 2209800 w 2889264"/>
              <a:gd name="connsiteY67" fmla="*/ 393700 h 733425"/>
              <a:gd name="connsiteX68" fmla="*/ 2247900 w 2889264"/>
              <a:gd name="connsiteY68" fmla="*/ 419100 h 733425"/>
              <a:gd name="connsiteX69" fmla="*/ 2276475 w 2889264"/>
              <a:gd name="connsiteY69" fmla="*/ 434975 h 733425"/>
              <a:gd name="connsiteX70" fmla="*/ 2289175 w 2889264"/>
              <a:gd name="connsiteY70" fmla="*/ 444500 h 733425"/>
              <a:gd name="connsiteX71" fmla="*/ 2308225 w 2889264"/>
              <a:gd name="connsiteY71" fmla="*/ 447675 h 733425"/>
              <a:gd name="connsiteX72" fmla="*/ 2333625 w 2889264"/>
              <a:gd name="connsiteY72" fmla="*/ 460375 h 733425"/>
              <a:gd name="connsiteX73" fmla="*/ 2352675 w 2889264"/>
              <a:gd name="connsiteY73" fmla="*/ 466725 h 733425"/>
              <a:gd name="connsiteX74" fmla="*/ 2397125 w 2889264"/>
              <a:gd name="connsiteY74" fmla="*/ 488950 h 733425"/>
              <a:gd name="connsiteX75" fmla="*/ 2422525 w 2889264"/>
              <a:gd name="connsiteY75" fmla="*/ 495300 h 733425"/>
              <a:gd name="connsiteX76" fmla="*/ 2432050 w 2889264"/>
              <a:gd name="connsiteY76" fmla="*/ 498475 h 733425"/>
              <a:gd name="connsiteX77" fmla="*/ 2454275 w 2889264"/>
              <a:gd name="connsiteY77" fmla="*/ 511175 h 733425"/>
              <a:gd name="connsiteX78" fmla="*/ 2470150 w 2889264"/>
              <a:gd name="connsiteY78" fmla="*/ 523875 h 733425"/>
              <a:gd name="connsiteX79" fmla="*/ 2495550 w 2889264"/>
              <a:gd name="connsiteY79" fmla="*/ 533400 h 733425"/>
              <a:gd name="connsiteX80" fmla="*/ 2546350 w 2889264"/>
              <a:gd name="connsiteY80" fmla="*/ 558800 h 733425"/>
              <a:gd name="connsiteX81" fmla="*/ 2574925 w 2889264"/>
              <a:gd name="connsiteY81" fmla="*/ 565150 h 733425"/>
              <a:gd name="connsiteX82" fmla="*/ 2600325 w 2889264"/>
              <a:gd name="connsiteY82" fmla="*/ 577850 h 733425"/>
              <a:gd name="connsiteX83" fmla="*/ 2616200 w 2889264"/>
              <a:gd name="connsiteY83" fmla="*/ 581025 h 733425"/>
              <a:gd name="connsiteX84" fmla="*/ 2638425 w 2889264"/>
              <a:gd name="connsiteY84" fmla="*/ 587375 h 733425"/>
              <a:gd name="connsiteX85" fmla="*/ 2654300 w 2889264"/>
              <a:gd name="connsiteY85" fmla="*/ 596900 h 733425"/>
              <a:gd name="connsiteX86" fmla="*/ 2673350 w 2889264"/>
              <a:gd name="connsiteY86" fmla="*/ 603250 h 733425"/>
              <a:gd name="connsiteX87" fmla="*/ 2708275 w 2889264"/>
              <a:gd name="connsiteY87" fmla="*/ 625475 h 733425"/>
              <a:gd name="connsiteX88" fmla="*/ 2730500 w 2889264"/>
              <a:gd name="connsiteY88" fmla="*/ 635000 h 733425"/>
              <a:gd name="connsiteX89" fmla="*/ 2749550 w 2889264"/>
              <a:gd name="connsiteY89" fmla="*/ 650875 h 733425"/>
              <a:gd name="connsiteX90" fmla="*/ 2774950 w 2889264"/>
              <a:gd name="connsiteY90" fmla="*/ 663575 h 733425"/>
              <a:gd name="connsiteX91" fmla="*/ 2803525 w 2889264"/>
              <a:gd name="connsiteY91" fmla="*/ 676275 h 733425"/>
              <a:gd name="connsiteX92" fmla="*/ 2816225 w 2889264"/>
              <a:gd name="connsiteY92" fmla="*/ 685800 h 733425"/>
              <a:gd name="connsiteX93" fmla="*/ 2832100 w 2889264"/>
              <a:gd name="connsiteY93" fmla="*/ 692150 h 733425"/>
              <a:gd name="connsiteX94" fmla="*/ 2876550 w 2889264"/>
              <a:gd name="connsiteY94" fmla="*/ 723900 h 733425"/>
              <a:gd name="connsiteX95" fmla="*/ 2889250 w 2889264"/>
              <a:gd name="connsiteY95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23925 w 2889264"/>
              <a:gd name="connsiteY12" fmla="*/ 269875 h 733425"/>
              <a:gd name="connsiteX13" fmla="*/ 958850 w 2889264"/>
              <a:gd name="connsiteY13" fmla="*/ 247650 h 733425"/>
              <a:gd name="connsiteX14" fmla="*/ 1050925 w 2889264"/>
              <a:gd name="connsiteY14" fmla="*/ 212725 h 733425"/>
              <a:gd name="connsiteX15" fmla="*/ 1079500 w 2889264"/>
              <a:gd name="connsiteY15" fmla="*/ 200025 h 733425"/>
              <a:gd name="connsiteX16" fmla="*/ 1098550 w 2889264"/>
              <a:gd name="connsiteY16" fmla="*/ 193675 h 733425"/>
              <a:gd name="connsiteX17" fmla="*/ 1111250 w 2889264"/>
              <a:gd name="connsiteY17" fmla="*/ 187325 h 733425"/>
              <a:gd name="connsiteX18" fmla="*/ 1136650 w 2889264"/>
              <a:gd name="connsiteY18" fmla="*/ 177800 h 733425"/>
              <a:gd name="connsiteX19" fmla="*/ 1181100 w 2889264"/>
              <a:gd name="connsiteY19" fmla="*/ 152400 h 733425"/>
              <a:gd name="connsiteX20" fmla="*/ 1203325 w 2889264"/>
              <a:gd name="connsiteY20" fmla="*/ 130175 h 733425"/>
              <a:gd name="connsiteX21" fmla="*/ 1219200 w 2889264"/>
              <a:gd name="connsiteY21" fmla="*/ 117475 h 733425"/>
              <a:gd name="connsiteX22" fmla="*/ 1276350 w 2889264"/>
              <a:gd name="connsiteY22" fmla="*/ 85725 h 733425"/>
              <a:gd name="connsiteX23" fmla="*/ 1289050 w 2889264"/>
              <a:gd name="connsiteY23" fmla="*/ 79375 h 733425"/>
              <a:gd name="connsiteX24" fmla="*/ 1327150 w 2889264"/>
              <a:gd name="connsiteY24" fmla="*/ 66675 h 733425"/>
              <a:gd name="connsiteX25" fmla="*/ 1343025 w 2889264"/>
              <a:gd name="connsiteY25" fmla="*/ 57150 h 733425"/>
              <a:gd name="connsiteX26" fmla="*/ 1355725 w 2889264"/>
              <a:gd name="connsiteY26" fmla="*/ 47625 h 733425"/>
              <a:gd name="connsiteX27" fmla="*/ 1377950 w 2889264"/>
              <a:gd name="connsiteY27" fmla="*/ 38100 h 733425"/>
              <a:gd name="connsiteX28" fmla="*/ 1416050 w 2889264"/>
              <a:gd name="connsiteY28" fmla="*/ 12700 h 733425"/>
              <a:gd name="connsiteX29" fmla="*/ 1428750 w 2889264"/>
              <a:gd name="connsiteY29" fmla="*/ 0 h 733425"/>
              <a:gd name="connsiteX30" fmla="*/ 1470025 w 2889264"/>
              <a:gd name="connsiteY30" fmla="*/ 28575 h 733425"/>
              <a:gd name="connsiteX31" fmla="*/ 1504950 w 2889264"/>
              <a:gd name="connsiteY31" fmla="*/ 41275 h 733425"/>
              <a:gd name="connsiteX32" fmla="*/ 1517650 w 2889264"/>
              <a:gd name="connsiteY32" fmla="*/ 50800 h 733425"/>
              <a:gd name="connsiteX33" fmla="*/ 1549400 w 2889264"/>
              <a:gd name="connsiteY33" fmla="*/ 60325 h 733425"/>
              <a:gd name="connsiteX34" fmla="*/ 1562100 w 2889264"/>
              <a:gd name="connsiteY34" fmla="*/ 69850 h 733425"/>
              <a:gd name="connsiteX35" fmla="*/ 1574800 w 2889264"/>
              <a:gd name="connsiteY35" fmla="*/ 73025 h 733425"/>
              <a:gd name="connsiteX36" fmla="*/ 1590675 w 2889264"/>
              <a:gd name="connsiteY36" fmla="*/ 79375 h 733425"/>
              <a:gd name="connsiteX37" fmla="*/ 1600200 w 2889264"/>
              <a:gd name="connsiteY37" fmla="*/ 85725 h 733425"/>
              <a:gd name="connsiteX38" fmla="*/ 1612900 w 2889264"/>
              <a:gd name="connsiteY38" fmla="*/ 92075 h 733425"/>
              <a:gd name="connsiteX39" fmla="*/ 1625600 w 2889264"/>
              <a:gd name="connsiteY39" fmla="*/ 101600 h 733425"/>
              <a:gd name="connsiteX40" fmla="*/ 1635125 w 2889264"/>
              <a:gd name="connsiteY40" fmla="*/ 104775 h 733425"/>
              <a:gd name="connsiteX41" fmla="*/ 1654175 w 2889264"/>
              <a:gd name="connsiteY41" fmla="*/ 114300 h 733425"/>
              <a:gd name="connsiteX42" fmla="*/ 1676400 w 2889264"/>
              <a:gd name="connsiteY42" fmla="*/ 130175 h 733425"/>
              <a:gd name="connsiteX43" fmla="*/ 1689100 w 2889264"/>
              <a:gd name="connsiteY43" fmla="*/ 136525 h 733425"/>
              <a:gd name="connsiteX44" fmla="*/ 1714500 w 2889264"/>
              <a:gd name="connsiteY44" fmla="*/ 146050 h 733425"/>
              <a:gd name="connsiteX45" fmla="*/ 1727200 w 2889264"/>
              <a:gd name="connsiteY45" fmla="*/ 155575 h 733425"/>
              <a:gd name="connsiteX46" fmla="*/ 1758950 w 2889264"/>
              <a:gd name="connsiteY46" fmla="*/ 165100 h 733425"/>
              <a:gd name="connsiteX47" fmla="*/ 1768475 w 2889264"/>
              <a:gd name="connsiteY47" fmla="*/ 171450 h 733425"/>
              <a:gd name="connsiteX48" fmla="*/ 1781175 w 2889264"/>
              <a:gd name="connsiteY48" fmla="*/ 180975 h 733425"/>
              <a:gd name="connsiteX49" fmla="*/ 1793875 w 2889264"/>
              <a:gd name="connsiteY49" fmla="*/ 187325 h 733425"/>
              <a:gd name="connsiteX50" fmla="*/ 1838325 w 2889264"/>
              <a:gd name="connsiteY50" fmla="*/ 212725 h 733425"/>
              <a:gd name="connsiteX51" fmla="*/ 1847850 w 2889264"/>
              <a:gd name="connsiteY51" fmla="*/ 222250 h 733425"/>
              <a:gd name="connsiteX52" fmla="*/ 1885950 w 2889264"/>
              <a:gd name="connsiteY52" fmla="*/ 241300 h 733425"/>
              <a:gd name="connsiteX53" fmla="*/ 1901825 w 2889264"/>
              <a:gd name="connsiteY53" fmla="*/ 250825 h 733425"/>
              <a:gd name="connsiteX54" fmla="*/ 1933575 w 2889264"/>
              <a:gd name="connsiteY54" fmla="*/ 263525 h 733425"/>
              <a:gd name="connsiteX55" fmla="*/ 1962150 w 2889264"/>
              <a:gd name="connsiteY55" fmla="*/ 276225 h 733425"/>
              <a:gd name="connsiteX56" fmla="*/ 1971675 w 2889264"/>
              <a:gd name="connsiteY56" fmla="*/ 282575 h 733425"/>
              <a:gd name="connsiteX57" fmla="*/ 1987550 w 2889264"/>
              <a:gd name="connsiteY57" fmla="*/ 288925 h 733425"/>
              <a:gd name="connsiteX58" fmla="*/ 2022475 w 2889264"/>
              <a:gd name="connsiteY58" fmla="*/ 301625 h 733425"/>
              <a:gd name="connsiteX59" fmla="*/ 2047875 w 2889264"/>
              <a:gd name="connsiteY59" fmla="*/ 314325 h 733425"/>
              <a:gd name="connsiteX60" fmla="*/ 2063750 w 2889264"/>
              <a:gd name="connsiteY60" fmla="*/ 320675 h 733425"/>
              <a:gd name="connsiteX61" fmla="*/ 2082800 w 2889264"/>
              <a:gd name="connsiteY61" fmla="*/ 330200 h 733425"/>
              <a:gd name="connsiteX62" fmla="*/ 2095500 w 2889264"/>
              <a:gd name="connsiteY62" fmla="*/ 333375 h 733425"/>
              <a:gd name="connsiteX63" fmla="*/ 2124075 w 2889264"/>
              <a:gd name="connsiteY63" fmla="*/ 342900 h 733425"/>
              <a:gd name="connsiteX64" fmla="*/ 2159000 w 2889264"/>
              <a:gd name="connsiteY64" fmla="*/ 358775 h 733425"/>
              <a:gd name="connsiteX65" fmla="*/ 2187575 w 2889264"/>
              <a:gd name="connsiteY65" fmla="*/ 377825 h 733425"/>
              <a:gd name="connsiteX66" fmla="*/ 2209800 w 2889264"/>
              <a:gd name="connsiteY66" fmla="*/ 393700 h 733425"/>
              <a:gd name="connsiteX67" fmla="*/ 2247900 w 2889264"/>
              <a:gd name="connsiteY67" fmla="*/ 419100 h 733425"/>
              <a:gd name="connsiteX68" fmla="*/ 2276475 w 2889264"/>
              <a:gd name="connsiteY68" fmla="*/ 434975 h 733425"/>
              <a:gd name="connsiteX69" fmla="*/ 2289175 w 2889264"/>
              <a:gd name="connsiteY69" fmla="*/ 444500 h 733425"/>
              <a:gd name="connsiteX70" fmla="*/ 2308225 w 2889264"/>
              <a:gd name="connsiteY70" fmla="*/ 447675 h 733425"/>
              <a:gd name="connsiteX71" fmla="*/ 2333625 w 2889264"/>
              <a:gd name="connsiteY71" fmla="*/ 460375 h 733425"/>
              <a:gd name="connsiteX72" fmla="*/ 2352675 w 2889264"/>
              <a:gd name="connsiteY72" fmla="*/ 466725 h 733425"/>
              <a:gd name="connsiteX73" fmla="*/ 2397125 w 2889264"/>
              <a:gd name="connsiteY73" fmla="*/ 488950 h 733425"/>
              <a:gd name="connsiteX74" fmla="*/ 2422525 w 2889264"/>
              <a:gd name="connsiteY74" fmla="*/ 495300 h 733425"/>
              <a:gd name="connsiteX75" fmla="*/ 2432050 w 2889264"/>
              <a:gd name="connsiteY75" fmla="*/ 498475 h 733425"/>
              <a:gd name="connsiteX76" fmla="*/ 2454275 w 2889264"/>
              <a:gd name="connsiteY76" fmla="*/ 511175 h 733425"/>
              <a:gd name="connsiteX77" fmla="*/ 2470150 w 2889264"/>
              <a:gd name="connsiteY77" fmla="*/ 523875 h 733425"/>
              <a:gd name="connsiteX78" fmla="*/ 2495550 w 2889264"/>
              <a:gd name="connsiteY78" fmla="*/ 533400 h 733425"/>
              <a:gd name="connsiteX79" fmla="*/ 2546350 w 2889264"/>
              <a:gd name="connsiteY79" fmla="*/ 558800 h 733425"/>
              <a:gd name="connsiteX80" fmla="*/ 2574925 w 2889264"/>
              <a:gd name="connsiteY80" fmla="*/ 565150 h 733425"/>
              <a:gd name="connsiteX81" fmla="*/ 2600325 w 2889264"/>
              <a:gd name="connsiteY81" fmla="*/ 577850 h 733425"/>
              <a:gd name="connsiteX82" fmla="*/ 2616200 w 2889264"/>
              <a:gd name="connsiteY82" fmla="*/ 581025 h 733425"/>
              <a:gd name="connsiteX83" fmla="*/ 2638425 w 2889264"/>
              <a:gd name="connsiteY83" fmla="*/ 587375 h 733425"/>
              <a:gd name="connsiteX84" fmla="*/ 2654300 w 2889264"/>
              <a:gd name="connsiteY84" fmla="*/ 596900 h 733425"/>
              <a:gd name="connsiteX85" fmla="*/ 2673350 w 2889264"/>
              <a:gd name="connsiteY85" fmla="*/ 603250 h 733425"/>
              <a:gd name="connsiteX86" fmla="*/ 2708275 w 2889264"/>
              <a:gd name="connsiteY86" fmla="*/ 625475 h 733425"/>
              <a:gd name="connsiteX87" fmla="*/ 2730500 w 2889264"/>
              <a:gd name="connsiteY87" fmla="*/ 635000 h 733425"/>
              <a:gd name="connsiteX88" fmla="*/ 2749550 w 2889264"/>
              <a:gd name="connsiteY88" fmla="*/ 650875 h 733425"/>
              <a:gd name="connsiteX89" fmla="*/ 2774950 w 2889264"/>
              <a:gd name="connsiteY89" fmla="*/ 663575 h 733425"/>
              <a:gd name="connsiteX90" fmla="*/ 2803525 w 2889264"/>
              <a:gd name="connsiteY90" fmla="*/ 676275 h 733425"/>
              <a:gd name="connsiteX91" fmla="*/ 2816225 w 2889264"/>
              <a:gd name="connsiteY91" fmla="*/ 685800 h 733425"/>
              <a:gd name="connsiteX92" fmla="*/ 2832100 w 2889264"/>
              <a:gd name="connsiteY92" fmla="*/ 692150 h 733425"/>
              <a:gd name="connsiteX93" fmla="*/ 2876550 w 2889264"/>
              <a:gd name="connsiteY93" fmla="*/ 723900 h 733425"/>
              <a:gd name="connsiteX94" fmla="*/ 2889250 w 2889264"/>
              <a:gd name="connsiteY94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098550 w 2889264"/>
              <a:gd name="connsiteY15" fmla="*/ 193675 h 733425"/>
              <a:gd name="connsiteX16" fmla="*/ 1111250 w 2889264"/>
              <a:gd name="connsiteY16" fmla="*/ 187325 h 733425"/>
              <a:gd name="connsiteX17" fmla="*/ 1136650 w 2889264"/>
              <a:gd name="connsiteY17" fmla="*/ 177800 h 733425"/>
              <a:gd name="connsiteX18" fmla="*/ 1181100 w 2889264"/>
              <a:gd name="connsiteY18" fmla="*/ 152400 h 733425"/>
              <a:gd name="connsiteX19" fmla="*/ 1203325 w 2889264"/>
              <a:gd name="connsiteY19" fmla="*/ 130175 h 733425"/>
              <a:gd name="connsiteX20" fmla="*/ 1219200 w 2889264"/>
              <a:gd name="connsiteY20" fmla="*/ 117475 h 733425"/>
              <a:gd name="connsiteX21" fmla="*/ 1276350 w 2889264"/>
              <a:gd name="connsiteY21" fmla="*/ 85725 h 733425"/>
              <a:gd name="connsiteX22" fmla="*/ 1289050 w 2889264"/>
              <a:gd name="connsiteY22" fmla="*/ 79375 h 733425"/>
              <a:gd name="connsiteX23" fmla="*/ 1327150 w 2889264"/>
              <a:gd name="connsiteY23" fmla="*/ 66675 h 733425"/>
              <a:gd name="connsiteX24" fmla="*/ 1343025 w 2889264"/>
              <a:gd name="connsiteY24" fmla="*/ 57150 h 733425"/>
              <a:gd name="connsiteX25" fmla="*/ 1355725 w 2889264"/>
              <a:gd name="connsiteY25" fmla="*/ 47625 h 733425"/>
              <a:gd name="connsiteX26" fmla="*/ 1377950 w 2889264"/>
              <a:gd name="connsiteY26" fmla="*/ 38100 h 733425"/>
              <a:gd name="connsiteX27" fmla="*/ 1416050 w 2889264"/>
              <a:gd name="connsiteY27" fmla="*/ 12700 h 733425"/>
              <a:gd name="connsiteX28" fmla="*/ 1428750 w 2889264"/>
              <a:gd name="connsiteY28" fmla="*/ 0 h 733425"/>
              <a:gd name="connsiteX29" fmla="*/ 1470025 w 2889264"/>
              <a:gd name="connsiteY29" fmla="*/ 28575 h 733425"/>
              <a:gd name="connsiteX30" fmla="*/ 1504950 w 2889264"/>
              <a:gd name="connsiteY30" fmla="*/ 41275 h 733425"/>
              <a:gd name="connsiteX31" fmla="*/ 1517650 w 2889264"/>
              <a:gd name="connsiteY31" fmla="*/ 50800 h 733425"/>
              <a:gd name="connsiteX32" fmla="*/ 1549400 w 2889264"/>
              <a:gd name="connsiteY32" fmla="*/ 60325 h 733425"/>
              <a:gd name="connsiteX33" fmla="*/ 1562100 w 2889264"/>
              <a:gd name="connsiteY33" fmla="*/ 69850 h 733425"/>
              <a:gd name="connsiteX34" fmla="*/ 1574800 w 2889264"/>
              <a:gd name="connsiteY34" fmla="*/ 73025 h 733425"/>
              <a:gd name="connsiteX35" fmla="*/ 1590675 w 2889264"/>
              <a:gd name="connsiteY35" fmla="*/ 79375 h 733425"/>
              <a:gd name="connsiteX36" fmla="*/ 1600200 w 2889264"/>
              <a:gd name="connsiteY36" fmla="*/ 85725 h 733425"/>
              <a:gd name="connsiteX37" fmla="*/ 1612900 w 2889264"/>
              <a:gd name="connsiteY37" fmla="*/ 92075 h 733425"/>
              <a:gd name="connsiteX38" fmla="*/ 1625600 w 2889264"/>
              <a:gd name="connsiteY38" fmla="*/ 101600 h 733425"/>
              <a:gd name="connsiteX39" fmla="*/ 1635125 w 2889264"/>
              <a:gd name="connsiteY39" fmla="*/ 104775 h 733425"/>
              <a:gd name="connsiteX40" fmla="*/ 1654175 w 2889264"/>
              <a:gd name="connsiteY40" fmla="*/ 114300 h 733425"/>
              <a:gd name="connsiteX41" fmla="*/ 1676400 w 2889264"/>
              <a:gd name="connsiteY41" fmla="*/ 130175 h 733425"/>
              <a:gd name="connsiteX42" fmla="*/ 1689100 w 2889264"/>
              <a:gd name="connsiteY42" fmla="*/ 136525 h 733425"/>
              <a:gd name="connsiteX43" fmla="*/ 1714500 w 2889264"/>
              <a:gd name="connsiteY43" fmla="*/ 146050 h 733425"/>
              <a:gd name="connsiteX44" fmla="*/ 1727200 w 2889264"/>
              <a:gd name="connsiteY44" fmla="*/ 155575 h 733425"/>
              <a:gd name="connsiteX45" fmla="*/ 1758950 w 2889264"/>
              <a:gd name="connsiteY45" fmla="*/ 165100 h 733425"/>
              <a:gd name="connsiteX46" fmla="*/ 1768475 w 2889264"/>
              <a:gd name="connsiteY46" fmla="*/ 171450 h 733425"/>
              <a:gd name="connsiteX47" fmla="*/ 1781175 w 2889264"/>
              <a:gd name="connsiteY47" fmla="*/ 180975 h 733425"/>
              <a:gd name="connsiteX48" fmla="*/ 1793875 w 2889264"/>
              <a:gd name="connsiteY48" fmla="*/ 187325 h 733425"/>
              <a:gd name="connsiteX49" fmla="*/ 1838325 w 2889264"/>
              <a:gd name="connsiteY49" fmla="*/ 212725 h 733425"/>
              <a:gd name="connsiteX50" fmla="*/ 1847850 w 2889264"/>
              <a:gd name="connsiteY50" fmla="*/ 222250 h 733425"/>
              <a:gd name="connsiteX51" fmla="*/ 1885950 w 2889264"/>
              <a:gd name="connsiteY51" fmla="*/ 241300 h 733425"/>
              <a:gd name="connsiteX52" fmla="*/ 1901825 w 2889264"/>
              <a:gd name="connsiteY52" fmla="*/ 250825 h 733425"/>
              <a:gd name="connsiteX53" fmla="*/ 1933575 w 2889264"/>
              <a:gd name="connsiteY53" fmla="*/ 263525 h 733425"/>
              <a:gd name="connsiteX54" fmla="*/ 1962150 w 2889264"/>
              <a:gd name="connsiteY54" fmla="*/ 276225 h 733425"/>
              <a:gd name="connsiteX55" fmla="*/ 1971675 w 2889264"/>
              <a:gd name="connsiteY55" fmla="*/ 282575 h 733425"/>
              <a:gd name="connsiteX56" fmla="*/ 1987550 w 2889264"/>
              <a:gd name="connsiteY56" fmla="*/ 288925 h 733425"/>
              <a:gd name="connsiteX57" fmla="*/ 2022475 w 2889264"/>
              <a:gd name="connsiteY57" fmla="*/ 301625 h 733425"/>
              <a:gd name="connsiteX58" fmla="*/ 2047875 w 2889264"/>
              <a:gd name="connsiteY58" fmla="*/ 314325 h 733425"/>
              <a:gd name="connsiteX59" fmla="*/ 2063750 w 2889264"/>
              <a:gd name="connsiteY59" fmla="*/ 320675 h 733425"/>
              <a:gd name="connsiteX60" fmla="*/ 2082800 w 2889264"/>
              <a:gd name="connsiteY60" fmla="*/ 330200 h 733425"/>
              <a:gd name="connsiteX61" fmla="*/ 2095500 w 2889264"/>
              <a:gd name="connsiteY61" fmla="*/ 333375 h 733425"/>
              <a:gd name="connsiteX62" fmla="*/ 2124075 w 2889264"/>
              <a:gd name="connsiteY62" fmla="*/ 342900 h 733425"/>
              <a:gd name="connsiteX63" fmla="*/ 2159000 w 2889264"/>
              <a:gd name="connsiteY63" fmla="*/ 358775 h 733425"/>
              <a:gd name="connsiteX64" fmla="*/ 2187575 w 2889264"/>
              <a:gd name="connsiteY64" fmla="*/ 377825 h 733425"/>
              <a:gd name="connsiteX65" fmla="*/ 2209800 w 2889264"/>
              <a:gd name="connsiteY65" fmla="*/ 393700 h 733425"/>
              <a:gd name="connsiteX66" fmla="*/ 2247900 w 2889264"/>
              <a:gd name="connsiteY66" fmla="*/ 419100 h 733425"/>
              <a:gd name="connsiteX67" fmla="*/ 2276475 w 2889264"/>
              <a:gd name="connsiteY67" fmla="*/ 434975 h 733425"/>
              <a:gd name="connsiteX68" fmla="*/ 2289175 w 2889264"/>
              <a:gd name="connsiteY68" fmla="*/ 444500 h 733425"/>
              <a:gd name="connsiteX69" fmla="*/ 2308225 w 2889264"/>
              <a:gd name="connsiteY69" fmla="*/ 447675 h 733425"/>
              <a:gd name="connsiteX70" fmla="*/ 2333625 w 2889264"/>
              <a:gd name="connsiteY70" fmla="*/ 460375 h 733425"/>
              <a:gd name="connsiteX71" fmla="*/ 2352675 w 2889264"/>
              <a:gd name="connsiteY71" fmla="*/ 466725 h 733425"/>
              <a:gd name="connsiteX72" fmla="*/ 2397125 w 2889264"/>
              <a:gd name="connsiteY72" fmla="*/ 488950 h 733425"/>
              <a:gd name="connsiteX73" fmla="*/ 2422525 w 2889264"/>
              <a:gd name="connsiteY73" fmla="*/ 495300 h 733425"/>
              <a:gd name="connsiteX74" fmla="*/ 2432050 w 2889264"/>
              <a:gd name="connsiteY74" fmla="*/ 498475 h 733425"/>
              <a:gd name="connsiteX75" fmla="*/ 2454275 w 2889264"/>
              <a:gd name="connsiteY75" fmla="*/ 511175 h 733425"/>
              <a:gd name="connsiteX76" fmla="*/ 2470150 w 2889264"/>
              <a:gd name="connsiteY76" fmla="*/ 523875 h 733425"/>
              <a:gd name="connsiteX77" fmla="*/ 2495550 w 2889264"/>
              <a:gd name="connsiteY77" fmla="*/ 533400 h 733425"/>
              <a:gd name="connsiteX78" fmla="*/ 2546350 w 2889264"/>
              <a:gd name="connsiteY78" fmla="*/ 558800 h 733425"/>
              <a:gd name="connsiteX79" fmla="*/ 2574925 w 2889264"/>
              <a:gd name="connsiteY79" fmla="*/ 565150 h 733425"/>
              <a:gd name="connsiteX80" fmla="*/ 2600325 w 2889264"/>
              <a:gd name="connsiteY80" fmla="*/ 577850 h 733425"/>
              <a:gd name="connsiteX81" fmla="*/ 2616200 w 2889264"/>
              <a:gd name="connsiteY81" fmla="*/ 581025 h 733425"/>
              <a:gd name="connsiteX82" fmla="*/ 2638425 w 2889264"/>
              <a:gd name="connsiteY82" fmla="*/ 587375 h 733425"/>
              <a:gd name="connsiteX83" fmla="*/ 2654300 w 2889264"/>
              <a:gd name="connsiteY83" fmla="*/ 596900 h 733425"/>
              <a:gd name="connsiteX84" fmla="*/ 2673350 w 2889264"/>
              <a:gd name="connsiteY84" fmla="*/ 603250 h 733425"/>
              <a:gd name="connsiteX85" fmla="*/ 2708275 w 2889264"/>
              <a:gd name="connsiteY85" fmla="*/ 625475 h 733425"/>
              <a:gd name="connsiteX86" fmla="*/ 2730500 w 2889264"/>
              <a:gd name="connsiteY86" fmla="*/ 635000 h 733425"/>
              <a:gd name="connsiteX87" fmla="*/ 2749550 w 2889264"/>
              <a:gd name="connsiteY87" fmla="*/ 650875 h 733425"/>
              <a:gd name="connsiteX88" fmla="*/ 2774950 w 2889264"/>
              <a:gd name="connsiteY88" fmla="*/ 663575 h 733425"/>
              <a:gd name="connsiteX89" fmla="*/ 2803525 w 2889264"/>
              <a:gd name="connsiteY89" fmla="*/ 676275 h 733425"/>
              <a:gd name="connsiteX90" fmla="*/ 2816225 w 2889264"/>
              <a:gd name="connsiteY90" fmla="*/ 685800 h 733425"/>
              <a:gd name="connsiteX91" fmla="*/ 2832100 w 2889264"/>
              <a:gd name="connsiteY91" fmla="*/ 692150 h 733425"/>
              <a:gd name="connsiteX92" fmla="*/ 2876550 w 2889264"/>
              <a:gd name="connsiteY92" fmla="*/ 723900 h 733425"/>
              <a:gd name="connsiteX93" fmla="*/ 2889250 w 2889264"/>
              <a:gd name="connsiteY93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11250 w 2889264"/>
              <a:gd name="connsiteY15" fmla="*/ 187325 h 733425"/>
              <a:gd name="connsiteX16" fmla="*/ 1136650 w 2889264"/>
              <a:gd name="connsiteY16" fmla="*/ 177800 h 733425"/>
              <a:gd name="connsiteX17" fmla="*/ 1181100 w 2889264"/>
              <a:gd name="connsiteY17" fmla="*/ 152400 h 733425"/>
              <a:gd name="connsiteX18" fmla="*/ 1203325 w 2889264"/>
              <a:gd name="connsiteY18" fmla="*/ 130175 h 733425"/>
              <a:gd name="connsiteX19" fmla="*/ 1219200 w 2889264"/>
              <a:gd name="connsiteY19" fmla="*/ 117475 h 733425"/>
              <a:gd name="connsiteX20" fmla="*/ 1276350 w 2889264"/>
              <a:gd name="connsiteY20" fmla="*/ 85725 h 733425"/>
              <a:gd name="connsiteX21" fmla="*/ 1289050 w 2889264"/>
              <a:gd name="connsiteY21" fmla="*/ 79375 h 733425"/>
              <a:gd name="connsiteX22" fmla="*/ 1327150 w 2889264"/>
              <a:gd name="connsiteY22" fmla="*/ 66675 h 733425"/>
              <a:gd name="connsiteX23" fmla="*/ 1343025 w 2889264"/>
              <a:gd name="connsiteY23" fmla="*/ 57150 h 733425"/>
              <a:gd name="connsiteX24" fmla="*/ 1355725 w 2889264"/>
              <a:gd name="connsiteY24" fmla="*/ 47625 h 733425"/>
              <a:gd name="connsiteX25" fmla="*/ 1377950 w 2889264"/>
              <a:gd name="connsiteY25" fmla="*/ 38100 h 733425"/>
              <a:gd name="connsiteX26" fmla="*/ 1416050 w 2889264"/>
              <a:gd name="connsiteY26" fmla="*/ 12700 h 733425"/>
              <a:gd name="connsiteX27" fmla="*/ 1428750 w 2889264"/>
              <a:gd name="connsiteY27" fmla="*/ 0 h 733425"/>
              <a:gd name="connsiteX28" fmla="*/ 1470025 w 2889264"/>
              <a:gd name="connsiteY28" fmla="*/ 28575 h 733425"/>
              <a:gd name="connsiteX29" fmla="*/ 1504950 w 2889264"/>
              <a:gd name="connsiteY29" fmla="*/ 41275 h 733425"/>
              <a:gd name="connsiteX30" fmla="*/ 1517650 w 2889264"/>
              <a:gd name="connsiteY30" fmla="*/ 50800 h 733425"/>
              <a:gd name="connsiteX31" fmla="*/ 1549400 w 2889264"/>
              <a:gd name="connsiteY31" fmla="*/ 60325 h 733425"/>
              <a:gd name="connsiteX32" fmla="*/ 1562100 w 2889264"/>
              <a:gd name="connsiteY32" fmla="*/ 69850 h 733425"/>
              <a:gd name="connsiteX33" fmla="*/ 1574800 w 2889264"/>
              <a:gd name="connsiteY33" fmla="*/ 73025 h 733425"/>
              <a:gd name="connsiteX34" fmla="*/ 1590675 w 2889264"/>
              <a:gd name="connsiteY34" fmla="*/ 79375 h 733425"/>
              <a:gd name="connsiteX35" fmla="*/ 1600200 w 2889264"/>
              <a:gd name="connsiteY35" fmla="*/ 85725 h 733425"/>
              <a:gd name="connsiteX36" fmla="*/ 1612900 w 2889264"/>
              <a:gd name="connsiteY36" fmla="*/ 92075 h 733425"/>
              <a:gd name="connsiteX37" fmla="*/ 1625600 w 2889264"/>
              <a:gd name="connsiteY37" fmla="*/ 101600 h 733425"/>
              <a:gd name="connsiteX38" fmla="*/ 1635125 w 2889264"/>
              <a:gd name="connsiteY38" fmla="*/ 104775 h 733425"/>
              <a:gd name="connsiteX39" fmla="*/ 1654175 w 2889264"/>
              <a:gd name="connsiteY39" fmla="*/ 114300 h 733425"/>
              <a:gd name="connsiteX40" fmla="*/ 1676400 w 2889264"/>
              <a:gd name="connsiteY40" fmla="*/ 130175 h 733425"/>
              <a:gd name="connsiteX41" fmla="*/ 1689100 w 2889264"/>
              <a:gd name="connsiteY41" fmla="*/ 136525 h 733425"/>
              <a:gd name="connsiteX42" fmla="*/ 1714500 w 2889264"/>
              <a:gd name="connsiteY42" fmla="*/ 146050 h 733425"/>
              <a:gd name="connsiteX43" fmla="*/ 1727200 w 2889264"/>
              <a:gd name="connsiteY43" fmla="*/ 155575 h 733425"/>
              <a:gd name="connsiteX44" fmla="*/ 1758950 w 2889264"/>
              <a:gd name="connsiteY44" fmla="*/ 165100 h 733425"/>
              <a:gd name="connsiteX45" fmla="*/ 1768475 w 2889264"/>
              <a:gd name="connsiteY45" fmla="*/ 171450 h 733425"/>
              <a:gd name="connsiteX46" fmla="*/ 1781175 w 2889264"/>
              <a:gd name="connsiteY46" fmla="*/ 180975 h 733425"/>
              <a:gd name="connsiteX47" fmla="*/ 1793875 w 2889264"/>
              <a:gd name="connsiteY47" fmla="*/ 187325 h 733425"/>
              <a:gd name="connsiteX48" fmla="*/ 1838325 w 2889264"/>
              <a:gd name="connsiteY48" fmla="*/ 212725 h 733425"/>
              <a:gd name="connsiteX49" fmla="*/ 1847850 w 2889264"/>
              <a:gd name="connsiteY49" fmla="*/ 222250 h 733425"/>
              <a:gd name="connsiteX50" fmla="*/ 1885950 w 2889264"/>
              <a:gd name="connsiteY50" fmla="*/ 241300 h 733425"/>
              <a:gd name="connsiteX51" fmla="*/ 1901825 w 2889264"/>
              <a:gd name="connsiteY51" fmla="*/ 250825 h 733425"/>
              <a:gd name="connsiteX52" fmla="*/ 1933575 w 2889264"/>
              <a:gd name="connsiteY52" fmla="*/ 263525 h 733425"/>
              <a:gd name="connsiteX53" fmla="*/ 1962150 w 2889264"/>
              <a:gd name="connsiteY53" fmla="*/ 276225 h 733425"/>
              <a:gd name="connsiteX54" fmla="*/ 1971675 w 2889264"/>
              <a:gd name="connsiteY54" fmla="*/ 282575 h 733425"/>
              <a:gd name="connsiteX55" fmla="*/ 1987550 w 2889264"/>
              <a:gd name="connsiteY55" fmla="*/ 288925 h 733425"/>
              <a:gd name="connsiteX56" fmla="*/ 2022475 w 2889264"/>
              <a:gd name="connsiteY56" fmla="*/ 301625 h 733425"/>
              <a:gd name="connsiteX57" fmla="*/ 2047875 w 2889264"/>
              <a:gd name="connsiteY57" fmla="*/ 314325 h 733425"/>
              <a:gd name="connsiteX58" fmla="*/ 2063750 w 2889264"/>
              <a:gd name="connsiteY58" fmla="*/ 320675 h 733425"/>
              <a:gd name="connsiteX59" fmla="*/ 2082800 w 2889264"/>
              <a:gd name="connsiteY59" fmla="*/ 330200 h 733425"/>
              <a:gd name="connsiteX60" fmla="*/ 2095500 w 2889264"/>
              <a:gd name="connsiteY60" fmla="*/ 333375 h 733425"/>
              <a:gd name="connsiteX61" fmla="*/ 2124075 w 2889264"/>
              <a:gd name="connsiteY61" fmla="*/ 342900 h 733425"/>
              <a:gd name="connsiteX62" fmla="*/ 2159000 w 2889264"/>
              <a:gd name="connsiteY62" fmla="*/ 358775 h 733425"/>
              <a:gd name="connsiteX63" fmla="*/ 2187575 w 2889264"/>
              <a:gd name="connsiteY63" fmla="*/ 377825 h 733425"/>
              <a:gd name="connsiteX64" fmla="*/ 2209800 w 2889264"/>
              <a:gd name="connsiteY64" fmla="*/ 393700 h 733425"/>
              <a:gd name="connsiteX65" fmla="*/ 2247900 w 2889264"/>
              <a:gd name="connsiteY65" fmla="*/ 419100 h 733425"/>
              <a:gd name="connsiteX66" fmla="*/ 2276475 w 2889264"/>
              <a:gd name="connsiteY66" fmla="*/ 434975 h 733425"/>
              <a:gd name="connsiteX67" fmla="*/ 2289175 w 2889264"/>
              <a:gd name="connsiteY67" fmla="*/ 444500 h 733425"/>
              <a:gd name="connsiteX68" fmla="*/ 2308225 w 2889264"/>
              <a:gd name="connsiteY68" fmla="*/ 447675 h 733425"/>
              <a:gd name="connsiteX69" fmla="*/ 2333625 w 2889264"/>
              <a:gd name="connsiteY69" fmla="*/ 460375 h 733425"/>
              <a:gd name="connsiteX70" fmla="*/ 2352675 w 2889264"/>
              <a:gd name="connsiteY70" fmla="*/ 466725 h 733425"/>
              <a:gd name="connsiteX71" fmla="*/ 2397125 w 2889264"/>
              <a:gd name="connsiteY71" fmla="*/ 488950 h 733425"/>
              <a:gd name="connsiteX72" fmla="*/ 2422525 w 2889264"/>
              <a:gd name="connsiteY72" fmla="*/ 495300 h 733425"/>
              <a:gd name="connsiteX73" fmla="*/ 2432050 w 2889264"/>
              <a:gd name="connsiteY73" fmla="*/ 498475 h 733425"/>
              <a:gd name="connsiteX74" fmla="*/ 2454275 w 2889264"/>
              <a:gd name="connsiteY74" fmla="*/ 511175 h 733425"/>
              <a:gd name="connsiteX75" fmla="*/ 2470150 w 2889264"/>
              <a:gd name="connsiteY75" fmla="*/ 523875 h 733425"/>
              <a:gd name="connsiteX76" fmla="*/ 2495550 w 2889264"/>
              <a:gd name="connsiteY76" fmla="*/ 533400 h 733425"/>
              <a:gd name="connsiteX77" fmla="*/ 2546350 w 2889264"/>
              <a:gd name="connsiteY77" fmla="*/ 558800 h 733425"/>
              <a:gd name="connsiteX78" fmla="*/ 2574925 w 2889264"/>
              <a:gd name="connsiteY78" fmla="*/ 565150 h 733425"/>
              <a:gd name="connsiteX79" fmla="*/ 2600325 w 2889264"/>
              <a:gd name="connsiteY79" fmla="*/ 577850 h 733425"/>
              <a:gd name="connsiteX80" fmla="*/ 2616200 w 2889264"/>
              <a:gd name="connsiteY80" fmla="*/ 581025 h 733425"/>
              <a:gd name="connsiteX81" fmla="*/ 2638425 w 2889264"/>
              <a:gd name="connsiteY81" fmla="*/ 587375 h 733425"/>
              <a:gd name="connsiteX82" fmla="*/ 2654300 w 2889264"/>
              <a:gd name="connsiteY82" fmla="*/ 596900 h 733425"/>
              <a:gd name="connsiteX83" fmla="*/ 2673350 w 2889264"/>
              <a:gd name="connsiteY83" fmla="*/ 603250 h 733425"/>
              <a:gd name="connsiteX84" fmla="*/ 2708275 w 2889264"/>
              <a:gd name="connsiteY84" fmla="*/ 625475 h 733425"/>
              <a:gd name="connsiteX85" fmla="*/ 2730500 w 2889264"/>
              <a:gd name="connsiteY85" fmla="*/ 635000 h 733425"/>
              <a:gd name="connsiteX86" fmla="*/ 2749550 w 2889264"/>
              <a:gd name="connsiteY86" fmla="*/ 650875 h 733425"/>
              <a:gd name="connsiteX87" fmla="*/ 2774950 w 2889264"/>
              <a:gd name="connsiteY87" fmla="*/ 663575 h 733425"/>
              <a:gd name="connsiteX88" fmla="*/ 2803525 w 2889264"/>
              <a:gd name="connsiteY88" fmla="*/ 676275 h 733425"/>
              <a:gd name="connsiteX89" fmla="*/ 2816225 w 2889264"/>
              <a:gd name="connsiteY89" fmla="*/ 685800 h 733425"/>
              <a:gd name="connsiteX90" fmla="*/ 2832100 w 2889264"/>
              <a:gd name="connsiteY90" fmla="*/ 692150 h 733425"/>
              <a:gd name="connsiteX91" fmla="*/ 2876550 w 2889264"/>
              <a:gd name="connsiteY91" fmla="*/ 723900 h 733425"/>
              <a:gd name="connsiteX92" fmla="*/ 2889250 w 2889264"/>
              <a:gd name="connsiteY92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36650 w 2889264"/>
              <a:gd name="connsiteY15" fmla="*/ 177800 h 733425"/>
              <a:gd name="connsiteX16" fmla="*/ 1181100 w 2889264"/>
              <a:gd name="connsiteY16" fmla="*/ 152400 h 733425"/>
              <a:gd name="connsiteX17" fmla="*/ 1203325 w 2889264"/>
              <a:gd name="connsiteY17" fmla="*/ 130175 h 733425"/>
              <a:gd name="connsiteX18" fmla="*/ 1219200 w 2889264"/>
              <a:gd name="connsiteY18" fmla="*/ 117475 h 733425"/>
              <a:gd name="connsiteX19" fmla="*/ 1276350 w 2889264"/>
              <a:gd name="connsiteY19" fmla="*/ 85725 h 733425"/>
              <a:gd name="connsiteX20" fmla="*/ 1289050 w 2889264"/>
              <a:gd name="connsiteY20" fmla="*/ 79375 h 733425"/>
              <a:gd name="connsiteX21" fmla="*/ 1327150 w 2889264"/>
              <a:gd name="connsiteY21" fmla="*/ 66675 h 733425"/>
              <a:gd name="connsiteX22" fmla="*/ 1343025 w 2889264"/>
              <a:gd name="connsiteY22" fmla="*/ 57150 h 733425"/>
              <a:gd name="connsiteX23" fmla="*/ 1355725 w 2889264"/>
              <a:gd name="connsiteY23" fmla="*/ 47625 h 733425"/>
              <a:gd name="connsiteX24" fmla="*/ 1377950 w 2889264"/>
              <a:gd name="connsiteY24" fmla="*/ 38100 h 733425"/>
              <a:gd name="connsiteX25" fmla="*/ 1416050 w 2889264"/>
              <a:gd name="connsiteY25" fmla="*/ 12700 h 733425"/>
              <a:gd name="connsiteX26" fmla="*/ 1428750 w 2889264"/>
              <a:gd name="connsiteY26" fmla="*/ 0 h 733425"/>
              <a:gd name="connsiteX27" fmla="*/ 1470025 w 2889264"/>
              <a:gd name="connsiteY27" fmla="*/ 28575 h 733425"/>
              <a:gd name="connsiteX28" fmla="*/ 1504950 w 2889264"/>
              <a:gd name="connsiteY28" fmla="*/ 41275 h 733425"/>
              <a:gd name="connsiteX29" fmla="*/ 1517650 w 2889264"/>
              <a:gd name="connsiteY29" fmla="*/ 50800 h 733425"/>
              <a:gd name="connsiteX30" fmla="*/ 1549400 w 2889264"/>
              <a:gd name="connsiteY30" fmla="*/ 60325 h 733425"/>
              <a:gd name="connsiteX31" fmla="*/ 1562100 w 2889264"/>
              <a:gd name="connsiteY31" fmla="*/ 69850 h 733425"/>
              <a:gd name="connsiteX32" fmla="*/ 1574800 w 2889264"/>
              <a:gd name="connsiteY32" fmla="*/ 73025 h 733425"/>
              <a:gd name="connsiteX33" fmla="*/ 1590675 w 2889264"/>
              <a:gd name="connsiteY33" fmla="*/ 79375 h 733425"/>
              <a:gd name="connsiteX34" fmla="*/ 1600200 w 2889264"/>
              <a:gd name="connsiteY34" fmla="*/ 85725 h 733425"/>
              <a:gd name="connsiteX35" fmla="*/ 1612900 w 2889264"/>
              <a:gd name="connsiteY35" fmla="*/ 92075 h 733425"/>
              <a:gd name="connsiteX36" fmla="*/ 1625600 w 2889264"/>
              <a:gd name="connsiteY36" fmla="*/ 101600 h 733425"/>
              <a:gd name="connsiteX37" fmla="*/ 1635125 w 2889264"/>
              <a:gd name="connsiteY37" fmla="*/ 104775 h 733425"/>
              <a:gd name="connsiteX38" fmla="*/ 1654175 w 2889264"/>
              <a:gd name="connsiteY38" fmla="*/ 114300 h 733425"/>
              <a:gd name="connsiteX39" fmla="*/ 1676400 w 2889264"/>
              <a:gd name="connsiteY39" fmla="*/ 130175 h 733425"/>
              <a:gd name="connsiteX40" fmla="*/ 1689100 w 2889264"/>
              <a:gd name="connsiteY40" fmla="*/ 136525 h 733425"/>
              <a:gd name="connsiteX41" fmla="*/ 1714500 w 2889264"/>
              <a:gd name="connsiteY41" fmla="*/ 146050 h 733425"/>
              <a:gd name="connsiteX42" fmla="*/ 1727200 w 2889264"/>
              <a:gd name="connsiteY42" fmla="*/ 155575 h 733425"/>
              <a:gd name="connsiteX43" fmla="*/ 1758950 w 2889264"/>
              <a:gd name="connsiteY43" fmla="*/ 165100 h 733425"/>
              <a:gd name="connsiteX44" fmla="*/ 1768475 w 2889264"/>
              <a:gd name="connsiteY44" fmla="*/ 171450 h 733425"/>
              <a:gd name="connsiteX45" fmla="*/ 1781175 w 2889264"/>
              <a:gd name="connsiteY45" fmla="*/ 180975 h 733425"/>
              <a:gd name="connsiteX46" fmla="*/ 1793875 w 2889264"/>
              <a:gd name="connsiteY46" fmla="*/ 187325 h 733425"/>
              <a:gd name="connsiteX47" fmla="*/ 1838325 w 2889264"/>
              <a:gd name="connsiteY47" fmla="*/ 212725 h 733425"/>
              <a:gd name="connsiteX48" fmla="*/ 1847850 w 2889264"/>
              <a:gd name="connsiteY48" fmla="*/ 222250 h 733425"/>
              <a:gd name="connsiteX49" fmla="*/ 1885950 w 2889264"/>
              <a:gd name="connsiteY49" fmla="*/ 241300 h 733425"/>
              <a:gd name="connsiteX50" fmla="*/ 1901825 w 2889264"/>
              <a:gd name="connsiteY50" fmla="*/ 250825 h 733425"/>
              <a:gd name="connsiteX51" fmla="*/ 1933575 w 2889264"/>
              <a:gd name="connsiteY51" fmla="*/ 263525 h 733425"/>
              <a:gd name="connsiteX52" fmla="*/ 1962150 w 2889264"/>
              <a:gd name="connsiteY52" fmla="*/ 276225 h 733425"/>
              <a:gd name="connsiteX53" fmla="*/ 1971675 w 2889264"/>
              <a:gd name="connsiteY53" fmla="*/ 282575 h 733425"/>
              <a:gd name="connsiteX54" fmla="*/ 1987550 w 2889264"/>
              <a:gd name="connsiteY54" fmla="*/ 288925 h 733425"/>
              <a:gd name="connsiteX55" fmla="*/ 2022475 w 2889264"/>
              <a:gd name="connsiteY55" fmla="*/ 301625 h 733425"/>
              <a:gd name="connsiteX56" fmla="*/ 2047875 w 2889264"/>
              <a:gd name="connsiteY56" fmla="*/ 314325 h 733425"/>
              <a:gd name="connsiteX57" fmla="*/ 2063750 w 2889264"/>
              <a:gd name="connsiteY57" fmla="*/ 320675 h 733425"/>
              <a:gd name="connsiteX58" fmla="*/ 2082800 w 2889264"/>
              <a:gd name="connsiteY58" fmla="*/ 330200 h 733425"/>
              <a:gd name="connsiteX59" fmla="*/ 2095500 w 2889264"/>
              <a:gd name="connsiteY59" fmla="*/ 333375 h 733425"/>
              <a:gd name="connsiteX60" fmla="*/ 2124075 w 2889264"/>
              <a:gd name="connsiteY60" fmla="*/ 342900 h 733425"/>
              <a:gd name="connsiteX61" fmla="*/ 2159000 w 2889264"/>
              <a:gd name="connsiteY61" fmla="*/ 358775 h 733425"/>
              <a:gd name="connsiteX62" fmla="*/ 2187575 w 2889264"/>
              <a:gd name="connsiteY62" fmla="*/ 377825 h 733425"/>
              <a:gd name="connsiteX63" fmla="*/ 2209800 w 2889264"/>
              <a:gd name="connsiteY63" fmla="*/ 393700 h 733425"/>
              <a:gd name="connsiteX64" fmla="*/ 2247900 w 2889264"/>
              <a:gd name="connsiteY64" fmla="*/ 419100 h 733425"/>
              <a:gd name="connsiteX65" fmla="*/ 2276475 w 2889264"/>
              <a:gd name="connsiteY65" fmla="*/ 434975 h 733425"/>
              <a:gd name="connsiteX66" fmla="*/ 2289175 w 2889264"/>
              <a:gd name="connsiteY66" fmla="*/ 444500 h 733425"/>
              <a:gd name="connsiteX67" fmla="*/ 2308225 w 2889264"/>
              <a:gd name="connsiteY67" fmla="*/ 447675 h 733425"/>
              <a:gd name="connsiteX68" fmla="*/ 2333625 w 2889264"/>
              <a:gd name="connsiteY68" fmla="*/ 460375 h 733425"/>
              <a:gd name="connsiteX69" fmla="*/ 2352675 w 2889264"/>
              <a:gd name="connsiteY69" fmla="*/ 466725 h 733425"/>
              <a:gd name="connsiteX70" fmla="*/ 2397125 w 2889264"/>
              <a:gd name="connsiteY70" fmla="*/ 488950 h 733425"/>
              <a:gd name="connsiteX71" fmla="*/ 2422525 w 2889264"/>
              <a:gd name="connsiteY71" fmla="*/ 495300 h 733425"/>
              <a:gd name="connsiteX72" fmla="*/ 2432050 w 2889264"/>
              <a:gd name="connsiteY72" fmla="*/ 498475 h 733425"/>
              <a:gd name="connsiteX73" fmla="*/ 2454275 w 2889264"/>
              <a:gd name="connsiteY73" fmla="*/ 511175 h 733425"/>
              <a:gd name="connsiteX74" fmla="*/ 2470150 w 2889264"/>
              <a:gd name="connsiteY74" fmla="*/ 523875 h 733425"/>
              <a:gd name="connsiteX75" fmla="*/ 2495550 w 2889264"/>
              <a:gd name="connsiteY75" fmla="*/ 533400 h 733425"/>
              <a:gd name="connsiteX76" fmla="*/ 2546350 w 2889264"/>
              <a:gd name="connsiteY76" fmla="*/ 558800 h 733425"/>
              <a:gd name="connsiteX77" fmla="*/ 2574925 w 2889264"/>
              <a:gd name="connsiteY77" fmla="*/ 565150 h 733425"/>
              <a:gd name="connsiteX78" fmla="*/ 2600325 w 2889264"/>
              <a:gd name="connsiteY78" fmla="*/ 577850 h 733425"/>
              <a:gd name="connsiteX79" fmla="*/ 2616200 w 2889264"/>
              <a:gd name="connsiteY79" fmla="*/ 581025 h 733425"/>
              <a:gd name="connsiteX80" fmla="*/ 2638425 w 2889264"/>
              <a:gd name="connsiteY80" fmla="*/ 587375 h 733425"/>
              <a:gd name="connsiteX81" fmla="*/ 2654300 w 2889264"/>
              <a:gd name="connsiteY81" fmla="*/ 596900 h 733425"/>
              <a:gd name="connsiteX82" fmla="*/ 2673350 w 2889264"/>
              <a:gd name="connsiteY82" fmla="*/ 603250 h 733425"/>
              <a:gd name="connsiteX83" fmla="*/ 2708275 w 2889264"/>
              <a:gd name="connsiteY83" fmla="*/ 625475 h 733425"/>
              <a:gd name="connsiteX84" fmla="*/ 2730500 w 2889264"/>
              <a:gd name="connsiteY84" fmla="*/ 635000 h 733425"/>
              <a:gd name="connsiteX85" fmla="*/ 2749550 w 2889264"/>
              <a:gd name="connsiteY85" fmla="*/ 650875 h 733425"/>
              <a:gd name="connsiteX86" fmla="*/ 2774950 w 2889264"/>
              <a:gd name="connsiteY86" fmla="*/ 663575 h 733425"/>
              <a:gd name="connsiteX87" fmla="*/ 2803525 w 2889264"/>
              <a:gd name="connsiteY87" fmla="*/ 676275 h 733425"/>
              <a:gd name="connsiteX88" fmla="*/ 2816225 w 2889264"/>
              <a:gd name="connsiteY88" fmla="*/ 685800 h 733425"/>
              <a:gd name="connsiteX89" fmla="*/ 2832100 w 2889264"/>
              <a:gd name="connsiteY89" fmla="*/ 692150 h 733425"/>
              <a:gd name="connsiteX90" fmla="*/ 2876550 w 2889264"/>
              <a:gd name="connsiteY90" fmla="*/ 723900 h 733425"/>
              <a:gd name="connsiteX91" fmla="*/ 2889250 w 2889264"/>
              <a:gd name="connsiteY91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203325 w 2889264"/>
              <a:gd name="connsiteY16" fmla="*/ 130175 h 733425"/>
              <a:gd name="connsiteX17" fmla="*/ 1219200 w 2889264"/>
              <a:gd name="connsiteY17" fmla="*/ 117475 h 733425"/>
              <a:gd name="connsiteX18" fmla="*/ 1276350 w 2889264"/>
              <a:gd name="connsiteY18" fmla="*/ 85725 h 733425"/>
              <a:gd name="connsiteX19" fmla="*/ 1289050 w 2889264"/>
              <a:gd name="connsiteY19" fmla="*/ 79375 h 733425"/>
              <a:gd name="connsiteX20" fmla="*/ 1327150 w 2889264"/>
              <a:gd name="connsiteY20" fmla="*/ 66675 h 733425"/>
              <a:gd name="connsiteX21" fmla="*/ 1343025 w 2889264"/>
              <a:gd name="connsiteY21" fmla="*/ 57150 h 733425"/>
              <a:gd name="connsiteX22" fmla="*/ 1355725 w 2889264"/>
              <a:gd name="connsiteY22" fmla="*/ 47625 h 733425"/>
              <a:gd name="connsiteX23" fmla="*/ 1377950 w 2889264"/>
              <a:gd name="connsiteY23" fmla="*/ 38100 h 733425"/>
              <a:gd name="connsiteX24" fmla="*/ 1416050 w 2889264"/>
              <a:gd name="connsiteY24" fmla="*/ 12700 h 733425"/>
              <a:gd name="connsiteX25" fmla="*/ 1428750 w 2889264"/>
              <a:gd name="connsiteY25" fmla="*/ 0 h 733425"/>
              <a:gd name="connsiteX26" fmla="*/ 1470025 w 2889264"/>
              <a:gd name="connsiteY26" fmla="*/ 28575 h 733425"/>
              <a:gd name="connsiteX27" fmla="*/ 1504950 w 2889264"/>
              <a:gd name="connsiteY27" fmla="*/ 41275 h 733425"/>
              <a:gd name="connsiteX28" fmla="*/ 1517650 w 2889264"/>
              <a:gd name="connsiteY28" fmla="*/ 50800 h 733425"/>
              <a:gd name="connsiteX29" fmla="*/ 1549400 w 2889264"/>
              <a:gd name="connsiteY29" fmla="*/ 60325 h 733425"/>
              <a:gd name="connsiteX30" fmla="*/ 1562100 w 2889264"/>
              <a:gd name="connsiteY30" fmla="*/ 69850 h 733425"/>
              <a:gd name="connsiteX31" fmla="*/ 1574800 w 2889264"/>
              <a:gd name="connsiteY31" fmla="*/ 73025 h 733425"/>
              <a:gd name="connsiteX32" fmla="*/ 1590675 w 2889264"/>
              <a:gd name="connsiteY32" fmla="*/ 79375 h 733425"/>
              <a:gd name="connsiteX33" fmla="*/ 1600200 w 2889264"/>
              <a:gd name="connsiteY33" fmla="*/ 85725 h 733425"/>
              <a:gd name="connsiteX34" fmla="*/ 1612900 w 2889264"/>
              <a:gd name="connsiteY34" fmla="*/ 92075 h 733425"/>
              <a:gd name="connsiteX35" fmla="*/ 1625600 w 2889264"/>
              <a:gd name="connsiteY35" fmla="*/ 101600 h 733425"/>
              <a:gd name="connsiteX36" fmla="*/ 1635125 w 2889264"/>
              <a:gd name="connsiteY36" fmla="*/ 104775 h 733425"/>
              <a:gd name="connsiteX37" fmla="*/ 1654175 w 2889264"/>
              <a:gd name="connsiteY37" fmla="*/ 114300 h 733425"/>
              <a:gd name="connsiteX38" fmla="*/ 1676400 w 2889264"/>
              <a:gd name="connsiteY38" fmla="*/ 130175 h 733425"/>
              <a:gd name="connsiteX39" fmla="*/ 1689100 w 2889264"/>
              <a:gd name="connsiteY39" fmla="*/ 136525 h 733425"/>
              <a:gd name="connsiteX40" fmla="*/ 1714500 w 2889264"/>
              <a:gd name="connsiteY40" fmla="*/ 146050 h 733425"/>
              <a:gd name="connsiteX41" fmla="*/ 1727200 w 2889264"/>
              <a:gd name="connsiteY41" fmla="*/ 155575 h 733425"/>
              <a:gd name="connsiteX42" fmla="*/ 1758950 w 2889264"/>
              <a:gd name="connsiteY42" fmla="*/ 165100 h 733425"/>
              <a:gd name="connsiteX43" fmla="*/ 1768475 w 2889264"/>
              <a:gd name="connsiteY43" fmla="*/ 171450 h 733425"/>
              <a:gd name="connsiteX44" fmla="*/ 1781175 w 2889264"/>
              <a:gd name="connsiteY44" fmla="*/ 180975 h 733425"/>
              <a:gd name="connsiteX45" fmla="*/ 1793875 w 2889264"/>
              <a:gd name="connsiteY45" fmla="*/ 187325 h 733425"/>
              <a:gd name="connsiteX46" fmla="*/ 1838325 w 2889264"/>
              <a:gd name="connsiteY46" fmla="*/ 212725 h 733425"/>
              <a:gd name="connsiteX47" fmla="*/ 1847850 w 2889264"/>
              <a:gd name="connsiteY47" fmla="*/ 222250 h 733425"/>
              <a:gd name="connsiteX48" fmla="*/ 1885950 w 2889264"/>
              <a:gd name="connsiteY48" fmla="*/ 241300 h 733425"/>
              <a:gd name="connsiteX49" fmla="*/ 1901825 w 2889264"/>
              <a:gd name="connsiteY49" fmla="*/ 250825 h 733425"/>
              <a:gd name="connsiteX50" fmla="*/ 1933575 w 2889264"/>
              <a:gd name="connsiteY50" fmla="*/ 263525 h 733425"/>
              <a:gd name="connsiteX51" fmla="*/ 1962150 w 2889264"/>
              <a:gd name="connsiteY51" fmla="*/ 276225 h 733425"/>
              <a:gd name="connsiteX52" fmla="*/ 1971675 w 2889264"/>
              <a:gd name="connsiteY52" fmla="*/ 282575 h 733425"/>
              <a:gd name="connsiteX53" fmla="*/ 1987550 w 2889264"/>
              <a:gd name="connsiteY53" fmla="*/ 288925 h 733425"/>
              <a:gd name="connsiteX54" fmla="*/ 2022475 w 2889264"/>
              <a:gd name="connsiteY54" fmla="*/ 301625 h 733425"/>
              <a:gd name="connsiteX55" fmla="*/ 2047875 w 2889264"/>
              <a:gd name="connsiteY55" fmla="*/ 314325 h 733425"/>
              <a:gd name="connsiteX56" fmla="*/ 2063750 w 2889264"/>
              <a:gd name="connsiteY56" fmla="*/ 320675 h 733425"/>
              <a:gd name="connsiteX57" fmla="*/ 2082800 w 2889264"/>
              <a:gd name="connsiteY57" fmla="*/ 330200 h 733425"/>
              <a:gd name="connsiteX58" fmla="*/ 2095500 w 2889264"/>
              <a:gd name="connsiteY58" fmla="*/ 333375 h 733425"/>
              <a:gd name="connsiteX59" fmla="*/ 2124075 w 2889264"/>
              <a:gd name="connsiteY59" fmla="*/ 342900 h 733425"/>
              <a:gd name="connsiteX60" fmla="*/ 2159000 w 2889264"/>
              <a:gd name="connsiteY60" fmla="*/ 358775 h 733425"/>
              <a:gd name="connsiteX61" fmla="*/ 2187575 w 2889264"/>
              <a:gd name="connsiteY61" fmla="*/ 377825 h 733425"/>
              <a:gd name="connsiteX62" fmla="*/ 2209800 w 2889264"/>
              <a:gd name="connsiteY62" fmla="*/ 393700 h 733425"/>
              <a:gd name="connsiteX63" fmla="*/ 2247900 w 2889264"/>
              <a:gd name="connsiteY63" fmla="*/ 419100 h 733425"/>
              <a:gd name="connsiteX64" fmla="*/ 2276475 w 2889264"/>
              <a:gd name="connsiteY64" fmla="*/ 434975 h 733425"/>
              <a:gd name="connsiteX65" fmla="*/ 2289175 w 2889264"/>
              <a:gd name="connsiteY65" fmla="*/ 444500 h 733425"/>
              <a:gd name="connsiteX66" fmla="*/ 2308225 w 2889264"/>
              <a:gd name="connsiteY66" fmla="*/ 447675 h 733425"/>
              <a:gd name="connsiteX67" fmla="*/ 2333625 w 2889264"/>
              <a:gd name="connsiteY67" fmla="*/ 460375 h 733425"/>
              <a:gd name="connsiteX68" fmla="*/ 2352675 w 2889264"/>
              <a:gd name="connsiteY68" fmla="*/ 466725 h 733425"/>
              <a:gd name="connsiteX69" fmla="*/ 2397125 w 2889264"/>
              <a:gd name="connsiteY69" fmla="*/ 488950 h 733425"/>
              <a:gd name="connsiteX70" fmla="*/ 2422525 w 2889264"/>
              <a:gd name="connsiteY70" fmla="*/ 495300 h 733425"/>
              <a:gd name="connsiteX71" fmla="*/ 2432050 w 2889264"/>
              <a:gd name="connsiteY71" fmla="*/ 498475 h 733425"/>
              <a:gd name="connsiteX72" fmla="*/ 2454275 w 2889264"/>
              <a:gd name="connsiteY72" fmla="*/ 511175 h 733425"/>
              <a:gd name="connsiteX73" fmla="*/ 2470150 w 2889264"/>
              <a:gd name="connsiteY73" fmla="*/ 523875 h 733425"/>
              <a:gd name="connsiteX74" fmla="*/ 2495550 w 2889264"/>
              <a:gd name="connsiteY74" fmla="*/ 533400 h 733425"/>
              <a:gd name="connsiteX75" fmla="*/ 2546350 w 2889264"/>
              <a:gd name="connsiteY75" fmla="*/ 558800 h 733425"/>
              <a:gd name="connsiteX76" fmla="*/ 2574925 w 2889264"/>
              <a:gd name="connsiteY76" fmla="*/ 565150 h 733425"/>
              <a:gd name="connsiteX77" fmla="*/ 2600325 w 2889264"/>
              <a:gd name="connsiteY77" fmla="*/ 577850 h 733425"/>
              <a:gd name="connsiteX78" fmla="*/ 2616200 w 2889264"/>
              <a:gd name="connsiteY78" fmla="*/ 581025 h 733425"/>
              <a:gd name="connsiteX79" fmla="*/ 2638425 w 2889264"/>
              <a:gd name="connsiteY79" fmla="*/ 587375 h 733425"/>
              <a:gd name="connsiteX80" fmla="*/ 2654300 w 2889264"/>
              <a:gd name="connsiteY80" fmla="*/ 596900 h 733425"/>
              <a:gd name="connsiteX81" fmla="*/ 2673350 w 2889264"/>
              <a:gd name="connsiteY81" fmla="*/ 603250 h 733425"/>
              <a:gd name="connsiteX82" fmla="*/ 2708275 w 2889264"/>
              <a:gd name="connsiteY82" fmla="*/ 625475 h 733425"/>
              <a:gd name="connsiteX83" fmla="*/ 2730500 w 2889264"/>
              <a:gd name="connsiteY83" fmla="*/ 635000 h 733425"/>
              <a:gd name="connsiteX84" fmla="*/ 2749550 w 2889264"/>
              <a:gd name="connsiteY84" fmla="*/ 650875 h 733425"/>
              <a:gd name="connsiteX85" fmla="*/ 2774950 w 2889264"/>
              <a:gd name="connsiteY85" fmla="*/ 663575 h 733425"/>
              <a:gd name="connsiteX86" fmla="*/ 2803525 w 2889264"/>
              <a:gd name="connsiteY86" fmla="*/ 676275 h 733425"/>
              <a:gd name="connsiteX87" fmla="*/ 2816225 w 2889264"/>
              <a:gd name="connsiteY87" fmla="*/ 685800 h 733425"/>
              <a:gd name="connsiteX88" fmla="*/ 2832100 w 2889264"/>
              <a:gd name="connsiteY88" fmla="*/ 692150 h 733425"/>
              <a:gd name="connsiteX89" fmla="*/ 2876550 w 2889264"/>
              <a:gd name="connsiteY89" fmla="*/ 723900 h 733425"/>
              <a:gd name="connsiteX90" fmla="*/ 2889250 w 2889264"/>
              <a:gd name="connsiteY90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219200 w 2889264"/>
              <a:gd name="connsiteY16" fmla="*/ 117475 h 733425"/>
              <a:gd name="connsiteX17" fmla="*/ 1276350 w 2889264"/>
              <a:gd name="connsiteY17" fmla="*/ 85725 h 733425"/>
              <a:gd name="connsiteX18" fmla="*/ 1289050 w 2889264"/>
              <a:gd name="connsiteY18" fmla="*/ 79375 h 733425"/>
              <a:gd name="connsiteX19" fmla="*/ 1327150 w 2889264"/>
              <a:gd name="connsiteY19" fmla="*/ 66675 h 733425"/>
              <a:gd name="connsiteX20" fmla="*/ 1343025 w 2889264"/>
              <a:gd name="connsiteY20" fmla="*/ 57150 h 733425"/>
              <a:gd name="connsiteX21" fmla="*/ 1355725 w 2889264"/>
              <a:gd name="connsiteY21" fmla="*/ 47625 h 733425"/>
              <a:gd name="connsiteX22" fmla="*/ 1377950 w 2889264"/>
              <a:gd name="connsiteY22" fmla="*/ 38100 h 733425"/>
              <a:gd name="connsiteX23" fmla="*/ 1416050 w 2889264"/>
              <a:gd name="connsiteY23" fmla="*/ 12700 h 733425"/>
              <a:gd name="connsiteX24" fmla="*/ 1428750 w 2889264"/>
              <a:gd name="connsiteY24" fmla="*/ 0 h 733425"/>
              <a:gd name="connsiteX25" fmla="*/ 1470025 w 2889264"/>
              <a:gd name="connsiteY25" fmla="*/ 28575 h 733425"/>
              <a:gd name="connsiteX26" fmla="*/ 1504950 w 2889264"/>
              <a:gd name="connsiteY26" fmla="*/ 41275 h 733425"/>
              <a:gd name="connsiteX27" fmla="*/ 1517650 w 2889264"/>
              <a:gd name="connsiteY27" fmla="*/ 50800 h 733425"/>
              <a:gd name="connsiteX28" fmla="*/ 1549400 w 2889264"/>
              <a:gd name="connsiteY28" fmla="*/ 60325 h 733425"/>
              <a:gd name="connsiteX29" fmla="*/ 1562100 w 2889264"/>
              <a:gd name="connsiteY29" fmla="*/ 69850 h 733425"/>
              <a:gd name="connsiteX30" fmla="*/ 1574800 w 2889264"/>
              <a:gd name="connsiteY30" fmla="*/ 73025 h 733425"/>
              <a:gd name="connsiteX31" fmla="*/ 1590675 w 2889264"/>
              <a:gd name="connsiteY31" fmla="*/ 79375 h 733425"/>
              <a:gd name="connsiteX32" fmla="*/ 1600200 w 2889264"/>
              <a:gd name="connsiteY32" fmla="*/ 85725 h 733425"/>
              <a:gd name="connsiteX33" fmla="*/ 1612900 w 2889264"/>
              <a:gd name="connsiteY33" fmla="*/ 92075 h 733425"/>
              <a:gd name="connsiteX34" fmla="*/ 1625600 w 2889264"/>
              <a:gd name="connsiteY34" fmla="*/ 101600 h 733425"/>
              <a:gd name="connsiteX35" fmla="*/ 1635125 w 2889264"/>
              <a:gd name="connsiteY35" fmla="*/ 104775 h 733425"/>
              <a:gd name="connsiteX36" fmla="*/ 1654175 w 2889264"/>
              <a:gd name="connsiteY36" fmla="*/ 114300 h 733425"/>
              <a:gd name="connsiteX37" fmla="*/ 1676400 w 2889264"/>
              <a:gd name="connsiteY37" fmla="*/ 130175 h 733425"/>
              <a:gd name="connsiteX38" fmla="*/ 1689100 w 2889264"/>
              <a:gd name="connsiteY38" fmla="*/ 136525 h 733425"/>
              <a:gd name="connsiteX39" fmla="*/ 1714500 w 2889264"/>
              <a:gd name="connsiteY39" fmla="*/ 146050 h 733425"/>
              <a:gd name="connsiteX40" fmla="*/ 1727200 w 2889264"/>
              <a:gd name="connsiteY40" fmla="*/ 155575 h 733425"/>
              <a:gd name="connsiteX41" fmla="*/ 1758950 w 2889264"/>
              <a:gd name="connsiteY41" fmla="*/ 165100 h 733425"/>
              <a:gd name="connsiteX42" fmla="*/ 1768475 w 2889264"/>
              <a:gd name="connsiteY42" fmla="*/ 171450 h 733425"/>
              <a:gd name="connsiteX43" fmla="*/ 1781175 w 2889264"/>
              <a:gd name="connsiteY43" fmla="*/ 180975 h 733425"/>
              <a:gd name="connsiteX44" fmla="*/ 1793875 w 2889264"/>
              <a:gd name="connsiteY44" fmla="*/ 187325 h 733425"/>
              <a:gd name="connsiteX45" fmla="*/ 1838325 w 2889264"/>
              <a:gd name="connsiteY45" fmla="*/ 212725 h 733425"/>
              <a:gd name="connsiteX46" fmla="*/ 1847850 w 2889264"/>
              <a:gd name="connsiteY46" fmla="*/ 222250 h 733425"/>
              <a:gd name="connsiteX47" fmla="*/ 1885950 w 2889264"/>
              <a:gd name="connsiteY47" fmla="*/ 241300 h 733425"/>
              <a:gd name="connsiteX48" fmla="*/ 1901825 w 2889264"/>
              <a:gd name="connsiteY48" fmla="*/ 250825 h 733425"/>
              <a:gd name="connsiteX49" fmla="*/ 1933575 w 2889264"/>
              <a:gd name="connsiteY49" fmla="*/ 263525 h 733425"/>
              <a:gd name="connsiteX50" fmla="*/ 1962150 w 2889264"/>
              <a:gd name="connsiteY50" fmla="*/ 276225 h 733425"/>
              <a:gd name="connsiteX51" fmla="*/ 1971675 w 2889264"/>
              <a:gd name="connsiteY51" fmla="*/ 282575 h 733425"/>
              <a:gd name="connsiteX52" fmla="*/ 1987550 w 2889264"/>
              <a:gd name="connsiteY52" fmla="*/ 288925 h 733425"/>
              <a:gd name="connsiteX53" fmla="*/ 2022475 w 2889264"/>
              <a:gd name="connsiteY53" fmla="*/ 301625 h 733425"/>
              <a:gd name="connsiteX54" fmla="*/ 2047875 w 2889264"/>
              <a:gd name="connsiteY54" fmla="*/ 314325 h 733425"/>
              <a:gd name="connsiteX55" fmla="*/ 2063750 w 2889264"/>
              <a:gd name="connsiteY55" fmla="*/ 320675 h 733425"/>
              <a:gd name="connsiteX56" fmla="*/ 2082800 w 2889264"/>
              <a:gd name="connsiteY56" fmla="*/ 330200 h 733425"/>
              <a:gd name="connsiteX57" fmla="*/ 2095500 w 2889264"/>
              <a:gd name="connsiteY57" fmla="*/ 333375 h 733425"/>
              <a:gd name="connsiteX58" fmla="*/ 2124075 w 2889264"/>
              <a:gd name="connsiteY58" fmla="*/ 342900 h 733425"/>
              <a:gd name="connsiteX59" fmla="*/ 2159000 w 2889264"/>
              <a:gd name="connsiteY59" fmla="*/ 358775 h 733425"/>
              <a:gd name="connsiteX60" fmla="*/ 2187575 w 2889264"/>
              <a:gd name="connsiteY60" fmla="*/ 377825 h 733425"/>
              <a:gd name="connsiteX61" fmla="*/ 2209800 w 2889264"/>
              <a:gd name="connsiteY61" fmla="*/ 393700 h 733425"/>
              <a:gd name="connsiteX62" fmla="*/ 2247900 w 2889264"/>
              <a:gd name="connsiteY62" fmla="*/ 419100 h 733425"/>
              <a:gd name="connsiteX63" fmla="*/ 2276475 w 2889264"/>
              <a:gd name="connsiteY63" fmla="*/ 434975 h 733425"/>
              <a:gd name="connsiteX64" fmla="*/ 2289175 w 2889264"/>
              <a:gd name="connsiteY64" fmla="*/ 444500 h 733425"/>
              <a:gd name="connsiteX65" fmla="*/ 2308225 w 2889264"/>
              <a:gd name="connsiteY65" fmla="*/ 447675 h 733425"/>
              <a:gd name="connsiteX66" fmla="*/ 2333625 w 2889264"/>
              <a:gd name="connsiteY66" fmla="*/ 460375 h 733425"/>
              <a:gd name="connsiteX67" fmla="*/ 2352675 w 2889264"/>
              <a:gd name="connsiteY67" fmla="*/ 466725 h 733425"/>
              <a:gd name="connsiteX68" fmla="*/ 2397125 w 2889264"/>
              <a:gd name="connsiteY68" fmla="*/ 488950 h 733425"/>
              <a:gd name="connsiteX69" fmla="*/ 2422525 w 2889264"/>
              <a:gd name="connsiteY69" fmla="*/ 495300 h 733425"/>
              <a:gd name="connsiteX70" fmla="*/ 2432050 w 2889264"/>
              <a:gd name="connsiteY70" fmla="*/ 498475 h 733425"/>
              <a:gd name="connsiteX71" fmla="*/ 2454275 w 2889264"/>
              <a:gd name="connsiteY71" fmla="*/ 511175 h 733425"/>
              <a:gd name="connsiteX72" fmla="*/ 2470150 w 2889264"/>
              <a:gd name="connsiteY72" fmla="*/ 523875 h 733425"/>
              <a:gd name="connsiteX73" fmla="*/ 2495550 w 2889264"/>
              <a:gd name="connsiteY73" fmla="*/ 533400 h 733425"/>
              <a:gd name="connsiteX74" fmla="*/ 2546350 w 2889264"/>
              <a:gd name="connsiteY74" fmla="*/ 558800 h 733425"/>
              <a:gd name="connsiteX75" fmla="*/ 2574925 w 2889264"/>
              <a:gd name="connsiteY75" fmla="*/ 565150 h 733425"/>
              <a:gd name="connsiteX76" fmla="*/ 2600325 w 2889264"/>
              <a:gd name="connsiteY76" fmla="*/ 577850 h 733425"/>
              <a:gd name="connsiteX77" fmla="*/ 2616200 w 2889264"/>
              <a:gd name="connsiteY77" fmla="*/ 581025 h 733425"/>
              <a:gd name="connsiteX78" fmla="*/ 2638425 w 2889264"/>
              <a:gd name="connsiteY78" fmla="*/ 587375 h 733425"/>
              <a:gd name="connsiteX79" fmla="*/ 2654300 w 2889264"/>
              <a:gd name="connsiteY79" fmla="*/ 596900 h 733425"/>
              <a:gd name="connsiteX80" fmla="*/ 2673350 w 2889264"/>
              <a:gd name="connsiteY80" fmla="*/ 603250 h 733425"/>
              <a:gd name="connsiteX81" fmla="*/ 2708275 w 2889264"/>
              <a:gd name="connsiteY81" fmla="*/ 625475 h 733425"/>
              <a:gd name="connsiteX82" fmla="*/ 2730500 w 2889264"/>
              <a:gd name="connsiteY82" fmla="*/ 635000 h 733425"/>
              <a:gd name="connsiteX83" fmla="*/ 2749550 w 2889264"/>
              <a:gd name="connsiteY83" fmla="*/ 650875 h 733425"/>
              <a:gd name="connsiteX84" fmla="*/ 2774950 w 2889264"/>
              <a:gd name="connsiteY84" fmla="*/ 663575 h 733425"/>
              <a:gd name="connsiteX85" fmla="*/ 2803525 w 2889264"/>
              <a:gd name="connsiteY85" fmla="*/ 676275 h 733425"/>
              <a:gd name="connsiteX86" fmla="*/ 2816225 w 2889264"/>
              <a:gd name="connsiteY86" fmla="*/ 685800 h 733425"/>
              <a:gd name="connsiteX87" fmla="*/ 2832100 w 2889264"/>
              <a:gd name="connsiteY87" fmla="*/ 692150 h 733425"/>
              <a:gd name="connsiteX88" fmla="*/ 2876550 w 2889264"/>
              <a:gd name="connsiteY88" fmla="*/ 723900 h 733425"/>
              <a:gd name="connsiteX89" fmla="*/ 2889250 w 2889264"/>
              <a:gd name="connsiteY89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276350 w 2889264"/>
              <a:gd name="connsiteY16" fmla="*/ 85725 h 733425"/>
              <a:gd name="connsiteX17" fmla="*/ 1289050 w 2889264"/>
              <a:gd name="connsiteY17" fmla="*/ 79375 h 733425"/>
              <a:gd name="connsiteX18" fmla="*/ 1327150 w 2889264"/>
              <a:gd name="connsiteY18" fmla="*/ 66675 h 733425"/>
              <a:gd name="connsiteX19" fmla="*/ 1343025 w 2889264"/>
              <a:gd name="connsiteY19" fmla="*/ 57150 h 733425"/>
              <a:gd name="connsiteX20" fmla="*/ 1355725 w 2889264"/>
              <a:gd name="connsiteY20" fmla="*/ 47625 h 733425"/>
              <a:gd name="connsiteX21" fmla="*/ 1377950 w 2889264"/>
              <a:gd name="connsiteY21" fmla="*/ 38100 h 733425"/>
              <a:gd name="connsiteX22" fmla="*/ 1416050 w 2889264"/>
              <a:gd name="connsiteY22" fmla="*/ 12700 h 733425"/>
              <a:gd name="connsiteX23" fmla="*/ 1428750 w 2889264"/>
              <a:gd name="connsiteY23" fmla="*/ 0 h 733425"/>
              <a:gd name="connsiteX24" fmla="*/ 1470025 w 2889264"/>
              <a:gd name="connsiteY24" fmla="*/ 28575 h 733425"/>
              <a:gd name="connsiteX25" fmla="*/ 1504950 w 2889264"/>
              <a:gd name="connsiteY25" fmla="*/ 41275 h 733425"/>
              <a:gd name="connsiteX26" fmla="*/ 1517650 w 2889264"/>
              <a:gd name="connsiteY26" fmla="*/ 50800 h 733425"/>
              <a:gd name="connsiteX27" fmla="*/ 1549400 w 2889264"/>
              <a:gd name="connsiteY27" fmla="*/ 60325 h 733425"/>
              <a:gd name="connsiteX28" fmla="*/ 1562100 w 2889264"/>
              <a:gd name="connsiteY28" fmla="*/ 69850 h 733425"/>
              <a:gd name="connsiteX29" fmla="*/ 1574800 w 2889264"/>
              <a:gd name="connsiteY29" fmla="*/ 73025 h 733425"/>
              <a:gd name="connsiteX30" fmla="*/ 1590675 w 2889264"/>
              <a:gd name="connsiteY30" fmla="*/ 79375 h 733425"/>
              <a:gd name="connsiteX31" fmla="*/ 1600200 w 2889264"/>
              <a:gd name="connsiteY31" fmla="*/ 85725 h 733425"/>
              <a:gd name="connsiteX32" fmla="*/ 1612900 w 2889264"/>
              <a:gd name="connsiteY32" fmla="*/ 92075 h 733425"/>
              <a:gd name="connsiteX33" fmla="*/ 1625600 w 2889264"/>
              <a:gd name="connsiteY33" fmla="*/ 101600 h 733425"/>
              <a:gd name="connsiteX34" fmla="*/ 1635125 w 2889264"/>
              <a:gd name="connsiteY34" fmla="*/ 104775 h 733425"/>
              <a:gd name="connsiteX35" fmla="*/ 1654175 w 2889264"/>
              <a:gd name="connsiteY35" fmla="*/ 114300 h 733425"/>
              <a:gd name="connsiteX36" fmla="*/ 1676400 w 2889264"/>
              <a:gd name="connsiteY36" fmla="*/ 130175 h 733425"/>
              <a:gd name="connsiteX37" fmla="*/ 1689100 w 2889264"/>
              <a:gd name="connsiteY37" fmla="*/ 136525 h 733425"/>
              <a:gd name="connsiteX38" fmla="*/ 1714500 w 2889264"/>
              <a:gd name="connsiteY38" fmla="*/ 146050 h 733425"/>
              <a:gd name="connsiteX39" fmla="*/ 1727200 w 2889264"/>
              <a:gd name="connsiteY39" fmla="*/ 155575 h 733425"/>
              <a:gd name="connsiteX40" fmla="*/ 1758950 w 2889264"/>
              <a:gd name="connsiteY40" fmla="*/ 165100 h 733425"/>
              <a:gd name="connsiteX41" fmla="*/ 1768475 w 2889264"/>
              <a:gd name="connsiteY41" fmla="*/ 171450 h 733425"/>
              <a:gd name="connsiteX42" fmla="*/ 1781175 w 2889264"/>
              <a:gd name="connsiteY42" fmla="*/ 180975 h 733425"/>
              <a:gd name="connsiteX43" fmla="*/ 1793875 w 2889264"/>
              <a:gd name="connsiteY43" fmla="*/ 187325 h 733425"/>
              <a:gd name="connsiteX44" fmla="*/ 1838325 w 2889264"/>
              <a:gd name="connsiteY44" fmla="*/ 212725 h 733425"/>
              <a:gd name="connsiteX45" fmla="*/ 1847850 w 2889264"/>
              <a:gd name="connsiteY45" fmla="*/ 222250 h 733425"/>
              <a:gd name="connsiteX46" fmla="*/ 1885950 w 2889264"/>
              <a:gd name="connsiteY46" fmla="*/ 241300 h 733425"/>
              <a:gd name="connsiteX47" fmla="*/ 1901825 w 2889264"/>
              <a:gd name="connsiteY47" fmla="*/ 250825 h 733425"/>
              <a:gd name="connsiteX48" fmla="*/ 1933575 w 2889264"/>
              <a:gd name="connsiteY48" fmla="*/ 263525 h 733425"/>
              <a:gd name="connsiteX49" fmla="*/ 1962150 w 2889264"/>
              <a:gd name="connsiteY49" fmla="*/ 276225 h 733425"/>
              <a:gd name="connsiteX50" fmla="*/ 1971675 w 2889264"/>
              <a:gd name="connsiteY50" fmla="*/ 282575 h 733425"/>
              <a:gd name="connsiteX51" fmla="*/ 1987550 w 2889264"/>
              <a:gd name="connsiteY51" fmla="*/ 288925 h 733425"/>
              <a:gd name="connsiteX52" fmla="*/ 2022475 w 2889264"/>
              <a:gd name="connsiteY52" fmla="*/ 301625 h 733425"/>
              <a:gd name="connsiteX53" fmla="*/ 2047875 w 2889264"/>
              <a:gd name="connsiteY53" fmla="*/ 314325 h 733425"/>
              <a:gd name="connsiteX54" fmla="*/ 2063750 w 2889264"/>
              <a:gd name="connsiteY54" fmla="*/ 320675 h 733425"/>
              <a:gd name="connsiteX55" fmla="*/ 2082800 w 2889264"/>
              <a:gd name="connsiteY55" fmla="*/ 330200 h 733425"/>
              <a:gd name="connsiteX56" fmla="*/ 2095500 w 2889264"/>
              <a:gd name="connsiteY56" fmla="*/ 333375 h 733425"/>
              <a:gd name="connsiteX57" fmla="*/ 2124075 w 2889264"/>
              <a:gd name="connsiteY57" fmla="*/ 342900 h 733425"/>
              <a:gd name="connsiteX58" fmla="*/ 2159000 w 2889264"/>
              <a:gd name="connsiteY58" fmla="*/ 358775 h 733425"/>
              <a:gd name="connsiteX59" fmla="*/ 2187575 w 2889264"/>
              <a:gd name="connsiteY59" fmla="*/ 377825 h 733425"/>
              <a:gd name="connsiteX60" fmla="*/ 2209800 w 2889264"/>
              <a:gd name="connsiteY60" fmla="*/ 393700 h 733425"/>
              <a:gd name="connsiteX61" fmla="*/ 2247900 w 2889264"/>
              <a:gd name="connsiteY61" fmla="*/ 419100 h 733425"/>
              <a:gd name="connsiteX62" fmla="*/ 2276475 w 2889264"/>
              <a:gd name="connsiteY62" fmla="*/ 434975 h 733425"/>
              <a:gd name="connsiteX63" fmla="*/ 2289175 w 2889264"/>
              <a:gd name="connsiteY63" fmla="*/ 444500 h 733425"/>
              <a:gd name="connsiteX64" fmla="*/ 2308225 w 2889264"/>
              <a:gd name="connsiteY64" fmla="*/ 447675 h 733425"/>
              <a:gd name="connsiteX65" fmla="*/ 2333625 w 2889264"/>
              <a:gd name="connsiteY65" fmla="*/ 460375 h 733425"/>
              <a:gd name="connsiteX66" fmla="*/ 2352675 w 2889264"/>
              <a:gd name="connsiteY66" fmla="*/ 466725 h 733425"/>
              <a:gd name="connsiteX67" fmla="*/ 2397125 w 2889264"/>
              <a:gd name="connsiteY67" fmla="*/ 488950 h 733425"/>
              <a:gd name="connsiteX68" fmla="*/ 2422525 w 2889264"/>
              <a:gd name="connsiteY68" fmla="*/ 495300 h 733425"/>
              <a:gd name="connsiteX69" fmla="*/ 2432050 w 2889264"/>
              <a:gd name="connsiteY69" fmla="*/ 498475 h 733425"/>
              <a:gd name="connsiteX70" fmla="*/ 2454275 w 2889264"/>
              <a:gd name="connsiteY70" fmla="*/ 511175 h 733425"/>
              <a:gd name="connsiteX71" fmla="*/ 2470150 w 2889264"/>
              <a:gd name="connsiteY71" fmla="*/ 523875 h 733425"/>
              <a:gd name="connsiteX72" fmla="*/ 2495550 w 2889264"/>
              <a:gd name="connsiteY72" fmla="*/ 533400 h 733425"/>
              <a:gd name="connsiteX73" fmla="*/ 2546350 w 2889264"/>
              <a:gd name="connsiteY73" fmla="*/ 558800 h 733425"/>
              <a:gd name="connsiteX74" fmla="*/ 2574925 w 2889264"/>
              <a:gd name="connsiteY74" fmla="*/ 565150 h 733425"/>
              <a:gd name="connsiteX75" fmla="*/ 2600325 w 2889264"/>
              <a:gd name="connsiteY75" fmla="*/ 577850 h 733425"/>
              <a:gd name="connsiteX76" fmla="*/ 2616200 w 2889264"/>
              <a:gd name="connsiteY76" fmla="*/ 581025 h 733425"/>
              <a:gd name="connsiteX77" fmla="*/ 2638425 w 2889264"/>
              <a:gd name="connsiteY77" fmla="*/ 587375 h 733425"/>
              <a:gd name="connsiteX78" fmla="*/ 2654300 w 2889264"/>
              <a:gd name="connsiteY78" fmla="*/ 596900 h 733425"/>
              <a:gd name="connsiteX79" fmla="*/ 2673350 w 2889264"/>
              <a:gd name="connsiteY79" fmla="*/ 603250 h 733425"/>
              <a:gd name="connsiteX80" fmla="*/ 2708275 w 2889264"/>
              <a:gd name="connsiteY80" fmla="*/ 625475 h 733425"/>
              <a:gd name="connsiteX81" fmla="*/ 2730500 w 2889264"/>
              <a:gd name="connsiteY81" fmla="*/ 635000 h 733425"/>
              <a:gd name="connsiteX82" fmla="*/ 2749550 w 2889264"/>
              <a:gd name="connsiteY82" fmla="*/ 650875 h 733425"/>
              <a:gd name="connsiteX83" fmla="*/ 2774950 w 2889264"/>
              <a:gd name="connsiteY83" fmla="*/ 663575 h 733425"/>
              <a:gd name="connsiteX84" fmla="*/ 2803525 w 2889264"/>
              <a:gd name="connsiteY84" fmla="*/ 676275 h 733425"/>
              <a:gd name="connsiteX85" fmla="*/ 2816225 w 2889264"/>
              <a:gd name="connsiteY85" fmla="*/ 685800 h 733425"/>
              <a:gd name="connsiteX86" fmla="*/ 2832100 w 2889264"/>
              <a:gd name="connsiteY86" fmla="*/ 692150 h 733425"/>
              <a:gd name="connsiteX87" fmla="*/ 2876550 w 2889264"/>
              <a:gd name="connsiteY87" fmla="*/ 723900 h 733425"/>
              <a:gd name="connsiteX88" fmla="*/ 2889250 w 2889264"/>
              <a:gd name="connsiteY88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289050 w 2889264"/>
              <a:gd name="connsiteY16" fmla="*/ 79375 h 733425"/>
              <a:gd name="connsiteX17" fmla="*/ 1327150 w 2889264"/>
              <a:gd name="connsiteY17" fmla="*/ 66675 h 733425"/>
              <a:gd name="connsiteX18" fmla="*/ 1343025 w 2889264"/>
              <a:gd name="connsiteY18" fmla="*/ 57150 h 733425"/>
              <a:gd name="connsiteX19" fmla="*/ 1355725 w 2889264"/>
              <a:gd name="connsiteY19" fmla="*/ 47625 h 733425"/>
              <a:gd name="connsiteX20" fmla="*/ 1377950 w 2889264"/>
              <a:gd name="connsiteY20" fmla="*/ 38100 h 733425"/>
              <a:gd name="connsiteX21" fmla="*/ 1416050 w 2889264"/>
              <a:gd name="connsiteY21" fmla="*/ 12700 h 733425"/>
              <a:gd name="connsiteX22" fmla="*/ 1428750 w 2889264"/>
              <a:gd name="connsiteY22" fmla="*/ 0 h 733425"/>
              <a:gd name="connsiteX23" fmla="*/ 1470025 w 2889264"/>
              <a:gd name="connsiteY23" fmla="*/ 28575 h 733425"/>
              <a:gd name="connsiteX24" fmla="*/ 1504950 w 2889264"/>
              <a:gd name="connsiteY24" fmla="*/ 41275 h 733425"/>
              <a:gd name="connsiteX25" fmla="*/ 1517650 w 2889264"/>
              <a:gd name="connsiteY25" fmla="*/ 50800 h 733425"/>
              <a:gd name="connsiteX26" fmla="*/ 1549400 w 2889264"/>
              <a:gd name="connsiteY26" fmla="*/ 60325 h 733425"/>
              <a:gd name="connsiteX27" fmla="*/ 1562100 w 2889264"/>
              <a:gd name="connsiteY27" fmla="*/ 69850 h 733425"/>
              <a:gd name="connsiteX28" fmla="*/ 1574800 w 2889264"/>
              <a:gd name="connsiteY28" fmla="*/ 73025 h 733425"/>
              <a:gd name="connsiteX29" fmla="*/ 1590675 w 2889264"/>
              <a:gd name="connsiteY29" fmla="*/ 79375 h 733425"/>
              <a:gd name="connsiteX30" fmla="*/ 1600200 w 2889264"/>
              <a:gd name="connsiteY30" fmla="*/ 85725 h 733425"/>
              <a:gd name="connsiteX31" fmla="*/ 1612900 w 2889264"/>
              <a:gd name="connsiteY31" fmla="*/ 92075 h 733425"/>
              <a:gd name="connsiteX32" fmla="*/ 1625600 w 2889264"/>
              <a:gd name="connsiteY32" fmla="*/ 101600 h 733425"/>
              <a:gd name="connsiteX33" fmla="*/ 1635125 w 2889264"/>
              <a:gd name="connsiteY33" fmla="*/ 104775 h 733425"/>
              <a:gd name="connsiteX34" fmla="*/ 1654175 w 2889264"/>
              <a:gd name="connsiteY34" fmla="*/ 114300 h 733425"/>
              <a:gd name="connsiteX35" fmla="*/ 1676400 w 2889264"/>
              <a:gd name="connsiteY35" fmla="*/ 130175 h 733425"/>
              <a:gd name="connsiteX36" fmla="*/ 1689100 w 2889264"/>
              <a:gd name="connsiteY36" fmla="*/ 136525 h 733425"/>
              <a:gd name="connsiteX37" fmla="*/ 1714500 w 2889264"/>
              <a:gd name="connsiteY37" fmla="*/ 146050 h 733425"/>
              <a:gd name="connsiteX38" fmla="*/ 1727200 w 2889264"/>
              <a:gd name="connsiteY38" fmla="*/ 155575 h 733425"/>
              <a:gd name="connsiteX39" fmla="*/ 1758950 w 2889264"/>
              <a:gd name="connsiteY39" fmla="*/ 165100 h 733425"/>
              <a:gd name="connsiteX40" fmla="*/ 1768475 w 2889264"/>
              <a:gd name="connsiteY40" fmla="*/ 171450 h 733425"/>
              <a:gd name="connsiteX41" fmla="*/ 1781175 w 2889264"/>
              <a:gd name="connsiteY41" fmla="*/ 180975 h 733425"/>
              <a:gd name="connsiteX42" fmla="*/ 1793875 w 2889264"/>
              <a:gd name="connsiteY42" fmla="*/ 187325 h 733425"/>
              <a:gd name="connsiteX43" fmla="*/ 1838325 w 2889264"/>
              <a:gd name="connsiteY43" fmla="*/ 212725 h 733425"/>
              <a:gd name="connsiteX44" fmla="*/ 1847850 w 2889264"/>
              <a:gd name="connsiteY44" fmla="*/ 222250 h 733425"/>
              <a:gd name="connsiteX45" fmla="*/ 1885950 w 2889264"/>
              <a:gd name="connsiteY45" fmla="*/ 241300 h 733425"/>
              <a:gd name="connsiteX46" fmla="*/ 1901825 w 2889264"/>
              <a:gd name="connsiteY46" fmla="*/ 250825 h 733425"/>
              <a:gd name="connsiteX47" fmla="*/ 1933575 w 2889264"/>
              <a:gd name="connsiteY47" fmla="*/ 263525 h 733425"/>
              <a:gd name="connsiteX48" fmla="*/ 1962150 w 2889264"/>
              <a:gd name="connsiteY48" fmla="*/ 276225 h 733425"/>
              <a:gd name="connsiteX49" fmla="*/ 1971675 w 2889264"/>
              <a:gd name="connsiteY49" fmla="*/ 282575 h 733425"/>
              <a:gd name="connsiteX50" fmla="*/ 1987550 w 2889264"/>
              <a:gd name="connsiteY50" fmla="*/ 288925 h 733425"/>
              <a:gd name="connsiteX51" fmla="*/ 2022475 w 2889264"/>
              <a:gd name="connsiteY51" fmla="*/ 301625 h 733425"/>
              <a:gd name="connsiteX52" fmla="*/ 2047875 w 2889264"/>
              <a:gd name="connsiteY52" fmla="*/ 314325 h 733425"/>
              <a:gd name="connsiteX53" fmla="*/ 2063750 w 2889264"/>
              <a:gd name="connsiteY53" fmla="*/ 320675 h 733425"/>
              <a:gd name="connsiteX54" fmla="*/ 2082800 w 2889264"/>
              <a:gd name="connsiteY54" fmla="*/ 330200 h 733425"/>
              <a:gd name="connsiteX55" fmla="*/ 2095500 w 2889264"/>
              <a:gd name="connsiteY55" fmla="*/ 333375 h 733425"/>
              <a:gd name="connsiteX56" fmla="*/ 2124075 w 2889264"/>
              <a:gd name="connsiteY56" fmla="*/ 342900 h 733425"/>
              <a:gd name="connsiteX57" fmla="*/ 2159000 w 2889264"/>
              <a:gd name="connsiteY57" fmla="*/ 358775 h 733425"/>
              <a:gd name="connsiteX58" fmla="*/ 2187575 w 2889264"/>
              <a:gd name="connsiteY58" fmla="*/ 377825 h 733425"/>
              <a:gd name="connsiteX59" fmla="*/ 2209800 w 2889264"/>
              <a:gd name="connsiteY59" fmla="*/ 393700 h 733425"/>
              <a:gd name="connsiteX60" fmla="*/ 2247900 w 2889264"/>
              <a:gd name="connsiteY60" fmla="*/ 419100 h 733425"/>
              <a:gd name="connsiteX61" fmla="*/ 2276475 w 2889264"/>
              <a:gd name="connsiteY61" fmla="*/ 434975 h 733425"/>
              <a:gd name="connsiteX62" fmla="*/ 2289175 w 2889264"/>
              <a:gd name="connsiteY62" fmla="*/ 444500 h 733425"/>
              <a:gd name="connsiteX63" fmla="*/ 2308225 w 2889264"/>
              <a:gd name="connsiteY63" fmla="*/ 447675 h 733425"/>
              <a:gd name="connsiteX64" fmla="*/ 2333625 w 2889264"/>
              <a:gd name="connsiteY64" fmla="*/ 460375 h 733425"/>
              <a:gd name="connsiteX65" fmla="*/ 2352675 w 2889264"/>
              <a:gd name="connsiteY65" fmla="*/ 466725 h 733425"/>
              <a:gd name="connsiteX66" fmla="*/ 2397125 w 2889264"/>
              <a:gd name="connsiteY66" fmla="*/ 488950 h 733425"/>
              <a:gd name="connsiteX67" fmla="*/ 2422525 w 2889264"/>
              <a:gd name="connsiteY67" fmla="*/ 495300 h 733425"/>
              <a:gd name="connsiteX68" fmla="*/ 2432050 w 2889264"/>
              <a:gd name="connsiteY68" fmla="*/ 498475 h 733425"/>
              <a:gd name="connsiteX69" fmla="*/ 2454275 w 2889264"/>
              <a:gd name="connsiteY69" fmla="*/ 511175 h 733425"/>
              <a:gd name="connsiteX70" fmla="*/ 2470150 w 2889264"/>
              <a:gd name="connsiteY70" fmla="*/ 523875 h 733425"/>
              <a:gd name="connsiteX71" fmla="*/ 2495550 w 2889264"/>
              <a:gd name="connsiteY71" fmla="*/ 533400 h 733425"/>
              <a:gd name="connsiteX72" fmla="*/ 2546350 w 2889264"/>
              <a:gd name="connsiteY72" fmla="*/ 558800 h 733425"/>
              <a:gd name="connsiteX73" fmla="*/ 2574925 w 2889264"/>
              <a:gd name="connsiteY73" fmla="*/ 565150 h 733425"/>
              <a:gd name="connsiteX74" fmla="*/ 2600325 w 2889264"/>
              <a:gd name="connsiteY74" fmla="*/ 577850 h 733425"/>
              <a:gd name="connsiteX75" fmla="*/ 2616200 w 2889264"/>
              <a:gd name="connsiteY75" fmla="*/ 581025 h 733425"/>
              <a:gd name="connsiteX76" fmla="*/ 2638425 w 2889264"/>
              <a:gd name="connsiteY76" fmla="*/ 587375 h 733425"/>
              <a:gd name="connsiteX77" fmla="*/ 2654300 w 2889264"/>
              <a:gd name="connsiteY77" fmla="*/ 596900 h 733425"/>
              <a:gd name="connsiteX78" fmla="*/ 2673350 w 2889264"/>
              <a:gd name="connsiteY78" fmla="*/ 603250 h 733425"/>
              <a:gd name="connsiteX79" fmla="*/ 2708275 w 2889264"/>
              <a:gd name="connsiteY79" fmla="*/ 625475 h 733425"/>
              <a:gd name="connsiteX80" fmla="*/ 2730500 w 2889264"/>
              <a:gd name="connsiteY80" fmla="*/ 635000 h 733425"/>
              <a:gd name="connsiteX81" fmla="*/ 2749550 w 2889264"/>
              <a:gd name="connsiteY81" fmla="*/ 650875 h 733425"/>
              <a:gd name="connsiteX82" fmla="*/ 2774950 w 2889264"/>
              <a:gd name="connsiteY82" fmla="*/ 663575 h 733425"/>
              <a:gd name="connsiteX83" fmla="*/ 2803525 w 2889264"/>
              <a:gd name="connsiteY83" fmla="*/ 676275 h 733425"/>
              <a:gd name="connsiteX84" fmla="*/ 2816225 w 2889264"/>
              <a:gd name="connsiteY84" fmla="*/ 685800 h 733425"/>
              <a:gd name="connsiteX85" fmla="*/ 2832100 w 2889264"/>
              <a:gd name="connsiteY85" fmla="*/ 692150 h 733425"/>
              <a:gd name="connsiteX86" fmla="*/ 2876550 w 2889264"/>
              <a:gd name="connsiteY86" fmla="*/ 723900 h 733425"/>
              <a:gd name="connsiteX87" fmla="*/ 2889250 w 2889264"/>
              <a:gd name="connsiteY87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327150 w 2889264"/>
              <a:gd name="connsiteY16" fmla="*/ 66675 h 733425"/>
              <a:gd name="connsiteX17" fmla="*/ 1343025 w 2889264"/>
              <a:gd name="connsiteY17" fmla="*/ 57150 h 733425"/>
              <a:gd name="connsiteX18" fmla="*/ 1355725 w 2889264"/>
              <a:gd name="connsiteY18" fmla="*/ 47625 h 733425"/>
              <a:gd name="connsiteX19" fmla="*/ 1377950 w 2889264"/>
              <a:gd name="connsiteY19" fmla="*/ 38100 h 733425"/>
              <a:gd name="connsiteX20" fmla="*/ 1416050 w 2889264"/>
              <a:gd name="connsiteY20" fmla="*/ 12700 h 733425"/>
              <a:gd name="connsiteX21" fmla="*/ 1428750 w 2889264"/>
              <a:gd name="connsiteY21" fmla="*/ 0 h 733425"/>
              <a:gd name="connsiteX22" fmla="*/ 1470025 w 2889264"/>
              <a:gd name="connsiteY22" fmla="*/ 28575 h 733425"/>
              <a:gd name="connsiteX23" fmla="*/ 1504950 w 2889264"/>
              <a:gd name="connsiteY23" fmla="*/ 41275 h 733425"/>
              <a:gd name="connsiteX24" fmla="*/ 1517650 w 2889264"/>
              <a:gd name="connsiteY24" fmla="*/ 50800 h 733425"/>
              <a:gd name="connsiteX25" fmla="*/ 1549400 w 2889264"/>
              <a:gd name="connsiteY25" fmla="*/ 60325 h 733425"/>
              <a:gd name="connsiteX26" fmla="*/ 1562100 w 2889264"/>
              <a:gd name="connsiteY26" fmla="*/ 69850 h 733425"/>
              <a:gd name="connsiteX27" fmla="*/ 1574800 w 2889264"/>
              <a:gd name="connsiteY27" fmla="*/ 73025 h 733425"/>
              <a:gd name="connsiteX28" fmla="*/ 1590675 w 2889264"/>
              <a:gd name="connsiteY28" fmla="*/ 79375 h 733425"/>
              <a:gd name="connsiteX29" fmla="*/ 1600200 w 2889264"/>
              <a:gd name="connsiteY29" fmla="*/ 85725 h 733425"/>
              <a:gd name="connsiteX30" fmla="*/ 1612900 w 2889264"/>
              <a:gd name="connsiteY30" fmla="*/ 92075 h 733425"/>
              <a:gd name="connsiteX31" fmla="*/ 1625600 w 2889264"/>
              <a:gd name="connsiteY31" fmla="*/ 101600 h 733425"/>
              <a:gd name="connsiteX32" fmla="*/ 1635125 w 2889264"/>
              <a:gd name="connsiteY32" fmla="*/ 104775 h 733425"/>
              <a:gd name="connsiteX33" fmla="*/ 1654175 w 2889264"/>
              <a:gd name="connsiteY33" fmla="*/ 114300 h 733425"/>
              <a:gd name="connsiteX34" fmla="*/ 1676400 w 2889264"/>
              <a:gd name="connsiteY34" fmla="*/ 130175 h 733425"/>
              <a:gd name="connsiteX35" fmla="*/ 1689100 w 2889264"/>
              <a:gd name="connsiteY35" fmla="*/ 136525 h 733425"/>
              <a:gd name="connsiteX36" fmla="*/ 1714500 w 2889264"/>
              <a:gd name="connsiteY36" fmla="*/ 146050 h 733425"/>
              <a:gd name="connsiteX37" fmla="*/ 1727200 w 2889264"/>
              <a:gd name="connsiteY37" fmla="*/ 155575 h 733425"/>
              <a:gd name="connsiteX38" fmla="*/ 1758950 w 2889264"/>
              <a:gd name="connsiteY38" fmla="*/ 165100 h 733425"/>
              <a:gd name="connsiteX39" fmla="*/ 1768475 w 2889264"/>
              <a:gd name="connsiteY39" fmla="*/ 171450 h 733425"/>
              <a:gd name="connsiteX40" fmla="*/ 1781175 w 2889264"/>
              <a:gd name="connsiteY40" fmla="*/ 180975 h 733425"/>
              <a:gd name="connsiteX41" fmla="*/ 1793875 w 2889264"/>
              <a:gd name="connsiteY41" fmla="*/ 187325 h 733425"/>
              <a:gd name="connsiteX42" fmla="*/ 1838325 w 2889264"/>
              <a:gd name="connsiteY42" fmla="*/ 212725 h 733425"/>
              <a:gd name="connsiteX43" fmla="*/ 1847850 w 2889264"/>
              <a:gd name="connsiteY43" fmla="*/ 222250 h 733425"/>
              <a:gd name="connsiteX44" fmla="*/ 1885950 w 2889264"/>
              <a:gd name="connsiteY44" fmla="*/ 241300 h 733425"/>
              <a:gd name="connsiteX45" fmla="*/ 1901825 w 2889264"/>
              <a:gd name="connsiteY45" fmla="*/ 250825 h 733425"/>
              <a:gd name="connsiteX46" fmla="*/ 1933575 w 2889264"/>
              <a:gd name="connsiteY46" fmla="*/ 263525 h 733425"/>
              <a:gd name="connsiteX47" fmla="*/ 1962150 w 2889264"/>
              <a:gd name="connsiteY47" fmla="*/ 276225 h 733425"/>
              <a:gd name="connsiteX48" fmla="*/ 1971675 w 2889264"/>
              <a:gd name="connsiteY48" fmla="*/ 282575 h 733425"/>
              <a:gd name="connsiteX49" fmla="*/ 1987550 w 2889264"/>
              <a:gd name="connsiteY49" fmla="*/ 288925 h 733425"/>
              <a:gd name="connsiteX50" fmla="*/ 2022475 w 2889264"/>
              <a:gd name="connsiteY50" fmla="*/ 301625 h 733425"/>
              <a:gd name="connsiteX51" fmla="*/ 2047875 w 2889264"/>
              <a:gd name="connsiteY51" fmla="*/ 314325 h 733425"/>
              <a:gd name="connsiteX52" fmla="*/ 2063750 w 2889264"/>
              <a:gd name="connsiteY52" fmla="*/ 320675 h 733425"/>
              <a:gd name="connsiteX53" fmla="*/ 2082800 w 2889264"/>
              <a:gd name="connsiteY53" fmla="*/ 330200 h 733425"/>
              <a:gd name="connsiteX54" fmla="*/ 2095500 w 2889264"/>
              <a:gd name="connsiteY54" fmla="*/ 333375 h 733425"/>
              <a:gd name="connsiteX55" fmla="*/ 2124075 w 2889264"/>
              <a:gd name="connsiteY55" fmla="*/ 342900 h 733425"/>
              <a:gd name="connsiteX56" fmla="*/ 2159000 w 2889264"/>
              <a:gd name="connsiteY56" fmla="*/ 358775 h 733425"/>
              <a:gd name="connsiteX57" fmla="*/ 2187575 w 2889264"/>
              <a:gd name="connsiteY57" fmla="*/ 377825 h 733425"/>
              <a:gd name="connsiteX58" fmla="*/ 2209800 w 2889264"/>
              <a:gd name="connsiteY58" fmla="*/ 393700 h 733425"/>
              <a:gd name="connsiteX59" fmla="*/ 2247900 w 2889264"/>
              <a:gd name="connsiteY59" fmla="*/ 419100 h 733425"/>
              <a:gd name="connsiteX60" fmla="*/ 2276475 w 2889264"/>
              <a:gd name="connsiteY60" fmla="*/ 434975 h 733425"/>
              <a:gd name="connsiteX61" fmla="*/ 2289175 w 2889264"/>
              <a:gd name="connsiteY61" fmla="*/ 444500 h 733425"/>
              <a:gd name="connsiteX62" fmla="*/ 2308225 w 2889264"/>
              <a:gd name="connsiteY62" fmla="*/ 447675 h 733425"/>
              <a:gd name="connsiteX63" fmla="*/ 2333625 w 2889264"/>
              <a:gd name="connsiteY63" fmla="*/ 460375 h 733425"/>
              <a:gd name="connsiteX64" fmla="*/ 2352675 w 2889264"/>
              <a:gd name="connsiteY64" fmla="*/ 466725 h 733425"/>
              <a:gd name="connsiteX65" fmla="*/ 2397125 w 2889264"/>
              <a:gd name="connsiteY65" fmla="*/ 488950 h 733425"/>
              <a:gd name="connsiteX66" fmla="*/ 2422525 w 2889264"/>
              <a:gd name="connsiteY66" fmla="*/ 495300 h 733425"/>
              <a:gd name="connsiteX67" fmla="*/ 2432050 w 2889264"/>
              <a:gd name="connsiteY67" fmla="*/ 498475 h 733425"/>
              <a:gd name="connsiteX68" fmla="*/ 2454275 w 2889264"/>
              <a:gd name="connsiteY68" fmla="*/ 511175 h 733425"/>
              <a:gd name="connsiteX69" fmla="*/ 2470150 w 2889264"/>
              <a:gd name="connsiteY69" fmla="*/ 523875 h 733425"/>
              <a:gd name="connsiteX70" fmla="*/ 2495550 w 2889264"/>
              <a:gd name="connsiteY70" fmla="*/ 533400 h 733425"/>
              <a:gd name="connsiteX71" fmla="*/ 2546350 w 2889264"/>
              <a:gd name="connsiteY71" fmla="*/ 558800 h 733425"/>
              <a:gd name="connsiteX72" fmla="*/ 2574925 w 2889264"/>
              <a:gd name="connsiteY72" fmla="*/ 565150 h 733425"/>
              <a:gd name="connsiteX73" fmla="*/ 2600325 w 2889264"/>
              <a:gd name="connsiteY73" fmla="*/ 577850 h 733425"/>
              <a:gd name="connsiteX74" fmla="*/ 2616200 w 2889264"/>
              <a:gd name="connsiteY74" fmla="*/ 581025 h 733425"/>
              <a:gd name="connsiteX75" fmla="*/ 2638425 w 2889264"/>
              <a:gd name="connsiteY75" fmla="*/ 587375 h 733425"/>
              <a:gd name="connsiteX76" fmla="*/ 2654300 w 2889264"/>
              <a:gd name="connsiteY76" fmla="*/ 596900 h 733425"/>
              <a:gd name="connsiteX77" fmla="*/ 2673350 w 2889264"/>
              <a:gd name="connsiteY77" fmla="*/ 603250 h 733425"/>
              <a:gd name="connsiteX78" fmla="*/ 2708275 w 2889264"/>
              <a:gd name="connsiteY78" fmla="*/ 625475 h 733425"/>
              <a:gd name="connsiteX79" fmla="*/ 2730500 w 2889264"/>
              <a:gd name="connsiteY79" fmla="*/ 635000 h 733425"/>
              <a:gd name="connsiteX80" fmla="*/ 2749550 w 2889264"/>
              <a:gd name="connsiteY80" fmla="*/ 650875 h 733425"/>
              <a:gd name="connsiteX81" fmla="*/ 2774950 w 2889264"/>
              <a:gd name="connsiteY81" fmla="*/ 663575 h 733425"/>
              <a:gd name="connsiteX82" fmla="*/ 2803525 w 2889264"/>
              <a:gd name="connsiteY82" fmla="*/ 676275 h 733425"/>
              <a:gd name="connsiteX83" fmla="*/ 2816225 w 2889264"/>
              <a:gd name="connsiteY83" fmla="*/ 685800 h 733425"/>
              <a:gd name="connsiteX84" fmla="*/ 2832100 w 2889264"/>
              <a:gd name="connsiteY84" fmla="*/ 692150 h 733425"/>
              <a:gd name="connsiteX85" fmla="*/ 2876550 w 2889264"/>
              <a:gd name="connsiteY85" fmla="*/ 723900 h 733425"/>
              <a:gd name="connsiteX86" fmla="*/ 2889250 w 2889264"/>
              <a:gd name="connsiteY86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327150 w 2889264"/>
              <a:gd name="connsiteY16" fmla="*/ 66675 h 733425"/>
              <a:gd name="connsiteX17" fmla="*/ 1355725 w 2889264"/>
              <a:gd name="connsiteY17" fmla="*/ 47625 h 733425"/>
              <a:gd name="connsiteX18" fmla="*/ 1377950 w 2889264"/>
              <a:gd name="connsiteY18" fmla="*/ 38100 h 733425"/>
              <a:gd name="connsiteX19" fmla="*/ 1416050 w 2889264"/>
              <a:gd name="connsiteY19" fmla="*/ 12700 h 733425"/>
              <a:gd name="connsiteX20" fmla="*/ 1428750 w 2889264"/>
              <a:gd name="connsiteY20" fmla="*/ 0 h 733425"/>
              <a:gd name="connsiteX21" fmla="*/ 1470025 w 2889264"/>
              <a:gd name="connsiteY21" fmla="*/ 28575 h 733425"/>
              <a:gd name="connsiteX22" fmla="*/ 1504950 w 2889264"/>
              <a:gd name="connsiteY22" fmla="*/ 41275 h 733425"/>
              <a:gd name="connsiteX23" fmla="*/ 1517650 w 2889264"/>
              <a:gd name="connsiteY23" fmla="*/ 50800 h 733425"/>
              <a:gd name="connsiteX24" fmla="*/ 1549400 w 2889264"/>
              <a:gd name="connsiteY24" fmla="*/ 60325 h 733425"/>
              <a:gd name="connsiteX25" fmla="*/ 1562100 w 2889264"/>
              <a:gd name="connsiteY25" fmla="*/ 69850 h 733425"/>
              <a:gd name="connsiteX26" fmla="*/ 1574800 w 2889264"/>
              <a:gd name="connsiteY26" fmla="*/ 73025 h 733425"/>
              <a:gd name="connsiteX27" fmla="*/ 1590675 w 2889264"/>
              <a:gd name="connsiteY27" fmla="*/ 79375 h 733425"/>
              <a:gd name="connsiteX28" fmla="*/ 1600200 w 2889264"/>
              <a:gd name="connsiteY28" fmla="*/ 85725 h 733425"/>
              <a:gd name="connsiteX29" fmla="*/ 1612900 w 2889264"/>
              <a:gd name="connsiteY29" fmla="*/ 92075 h 733425"/>
              <a:gd name="connsiteX30" fmla="*/ 1625600 w 2889264"/>
              <a:gd name="connsiteY30" fmla="*/ 101600 h 733425"/>
              <a:gd name="connsiteX31" fmla="*/ 1635125 w 2889264"/>
              <a:gd name="connsiteY31" fmla="*/ 104775 h 733425"/>
              <a:gd name="connsiteX32" fmla="*/ 1654175 w 2889264"/>
              <a:gd name="connsiteY32" fmla="*/ 114300 h 733425"/>
              <a:gd name="connsiteX33" fmla="*/ 1676400 w 2889264"/>
              <a:gd name="connsiteY33" fmla="*/ 130175 h 733425"/>
              <a:gd name="connsiteX34" fmla="*/ 1689100 w 2889264"/>
              <a:gd name="connsiteY34" fmla="*/ 136525 h 733425"/>
              <a:gd name="connsiteX35" fmla="*/ 1714500 w 2889264"/>
              <a:gd name="connsiteY35" fmla="*/ 146050 h 733425"/>
              <a:gd name="connsiteX36" fmla="*/ 1727200 w 2889264"/>
              <a:gd name="connsiteY36" fmla="*/ 155575 h 733425"/>
              <a:gd name="connsiteX37" fmla="*/ 1758950 w 2889264"/>
              <a:gd name="connsiteY37" fmla="*/ 165100 h 733425"/>
              <a:gd name="connsiteX38" fmla="*/ 1768475 w 2889264"/>
              <a:gd name="connsiteY38" fmla="*/ 171450 h 733425"/>
              <a:gd name="connsiteX39" fmla="*/ 1781175 w 2889264"/>
              <a:gd name="connsiteY39" fmla="*/ 180975 h 733425"/>
              <a:gd name="connsiteX40" fmla="*/ 1793875 w 2889264"/>
              <a:gd name="connsiteY40" fmla="*/ 187325 h 733425"/>
              <a:gd name="connsiteX41" fmla="*/ 1838325 w 2889264"/>
              <a:gd name="connsiteY41" fmla="*/ 212725 h 733425"/>
              <a:gd name="connsiteX42" fmla="*/ 1847850 w 2889264"/>
              <a:gd name="connsiteY42" fmla="*/ 222250 h 733425"/>
              <a:gd name="connsiteX43" fmla="*/ 1885950 w 2889264"/>
              <a:gd name="connsiteY43" fmla="*/ 241300 h 733425"/>
              <a:gd name="connsiteX44" fmla="*/ 1901825 w 2889264"/>
              <a:gd name="connsiteY44" fmla="*/ 250825 h 733425"/>
              <a:gd name="connsiteX45" fmla="*/ 1933575 w 2889264"/>
              <a:gd name="connsiteY45" fmla="*/ 263525 h 733425"/>
              <a:gd name="connsiteX46" fmla="*/ 1962150 w 2889264"/>
              <a:gd name="connsiteY46" fmla="*/ 276225 h 733425"/>
              <a:gd name="connsiteX47" fmla="*/ 1971675 w 2889264"/>
              <a:gd name="connsiteY47" fmla="*/ 282575 h 733425"/>
              <a:gd name="connsiteX48" fmla="*/ 1987550 w 2889264"/>
              <a:gd name="connsiteY48" fmla="*/ 288925 h 733425"/>
              <a:gd name="connsiteX49" fmla="*/ 2022475 w 2889264"/>
              <a:gd name="connsiteY49" fmla="*/ 301625 h 733425"/>
              <a:gd name="connsiteX50" fmla="*/ 2047875 w 2889264"/>
              <a:gd name="connsiteY50" fmla="*/ 314325 h 733425"/>
              <a:gd name="connsiteX51" fmla="*/ 2063750 w 2889264"/>
              <a:gd name="connsiteY51" fmla="*/ 320675 h 733425"/>
              <a:gd name="connsiteX52" fmla="*/ 2082800 w 2889264"/>
              <a:gd name="connsiteY52" fmla="*/ 330200 h 733425"/>
              <a:gd name="connsiteX53" fmla="*/ 2095500 w 2889264"/>
              <a:gd name="connsiteY53" fmla="*/ 333375 h 733425"/>
              <a:gd name="connsiteX54" fmla="*/ 2124075 w 2889264"/>
              <a:gd name="connsiteY54" fmla="*/ 342900 h 733425"/>
              <a:gd name="connsiteX55" fmla="*/ 2159000 w 2889264"/>
              <a:gd name="connsiteY55" fmla="*/ 358775 h 733425"/>
              <a:gd name="connsiteX56" fmla="*/ 2187575 w 2889264"/>
              <a:gd name="connsiteY56" fmla="*/ 377825 h 733425"/>
              <a:gd name="connsiteX57" fmla="*/ 2209800 w 2889264"/>
              <a:gd name="connsiteY57" fmla="*/ 393700 h 733425"/>
              <a:gd name="connsiteX58" fmla="*/ 2247900 w 2889264"/>
              <a:gd name="connsiteY58" fmla="*/ 419100 h 733425"/>
              <a:gd name="connsiteX59" fmla="*/ 2276475 w 2889264"/>
              <a:gd name="connsiteY59" fmla="*/ 434975 h 733425"/>
              <a:gd name="connsiteX60" fmla="*/ 2289175 w 2889264"/>
              <a:gd name="connsiteY60" fmla="*/ 444500 h 733425"/>
              <a:gd name="connsiteX61" fmla="*/ 2308225 w 2889264"/>
              <a:gd name="connsiteY61" fmla="*/ 447675 h 733425"/>
              <a:gd name="connsiteX62" fmla="*/ 2333625 w 2889264"/>
              <a:gd name="connsiteY62" fmla="*/ 460375 h 733425"/>
              <a:gd name="connsiteX63" fmla="*/ 2352675 w 2889264"/>
              <a:gd name="connsiteY63" fmla="*/ 466725 h 733425"/>
              <a:gd name="connsiteX64" fmla="*/ 2397125 w 2889264"/>
              <a:gd name="connsiteY64" fmla="*/ 488950 h 733425"/>
              <a:gd name="connsiteX65" fmla="*/ 2422525 w 2889264"/>
              <a:gd name="connsiteY65" fmla="*/ 495300 h 733425"/>
              <a:gd name="connsiteX66" fmla="*/ 2432050 w 2889264"/>
              <a:gd name="connsiteY66" fmla="*/ 498475 h 733425"/>
              <a:gd name="connsiteX67" fmla="*/ 2454275 w 2889264"/>
              <a:gd name="connsiteY67" fmla="*/ 511175 h 733425"/>
              <a:gd name="connsiteX68" fmla="*/ 2470150 w 2889264"/>
              <a:gd name="connsiteY68" fmla="*/ 523875 h 733425"/>
              <a:gd name="connsiteX69" fmla="*/ 2495550 w 2889264"/>
              <a:gd name="connsiteY69" fmla="*/ 533400 h 733425"/>
              <a:gd name="connsiteX70" fmla="*/ 2546350 w 2889264"/>
              <a:gd name="connsiteY70" fmla="*/ 558800 h 733425"/>
              <a:gd name="connsiteX71" fmla="*/ 2574925 w 2889264"/>
              <a:gd name="connsiteY71" fmla="*/ 565150 h 733425"/>
              <a:gd name="connsiteX72" fmla="*/ 2600325 w 2889264"/>
              <a:gd name="connsiteY72" fmla="*/ 577850 h 733425"/>
              <a:gd name="connsiteX73" fmla="*/ 2616200 w 2889264"/>
              <a:gd name="connsiteY73" fmla="*/ 581025 h 733425"/>
              <a:gd name="connsiteX74" fmla="*/ 2638425 w 2889264"/>
              <a:gd name="connsiteY74" fmla="*/ 587375 h 733425"/>
              <a:gd name="connsiteX75" fmla="*/ 2654300 w 2889264"/>
              <a:gd name="connsiteY75" fmla="*/ 596900 h 733425"/>
              <a:gd name="connsiteX76" fmla="*/ 2673350 w 2889264"/>
              <a:gd name="connsiteY76" fmla="*/ 603250 h 733425"/>
              <a:gd name="connsiteX77" fmla="*/ 2708275 w 2889264"/>
              <a:gd name="connsiteY77" fmla="*/ 625475 h 733425"/>
              <a:gd name="connsiteX78" fmla="*/ 2730500 w 2889264"/>
              <a:gd name="connsiteY78" fmla="*/ 635000 h 733425"/>
              <a:gd name="connsiteX79" fmla="*/ 2749550 w 2889264"/>
              <a:gd name="connsiteY79" fmla="*/ 650875 h 733425"/>
              <a:gd name="connsiteX80" fmla="*/ 2774950 w 2889264"/>
              <a:gd name="connsiteY80" fmla="*/ 663575 h 733425"/>
              <a:gd name="connsiteX81" fmla="*/ 2803525 w 2889264"/>
              <a:gd name="connsiteY81" fmla="*/ 676275 h 733425"/>
              <a:gd name="connsiteX82" fmla="*/ 2816225 w 2889264"/>
              <a:gd name="connsiteY82" fmla="*/ 685800 h 733425"/>
              <a:gd name="connsiteX83" fmla="*/ 2832100 w 2889264"/>
              <a:gd name="connsiteY83" fmla="*/ 692150 h 733425"/>
              <a:gd name="connsiteX84" fmla="*/ 2876550 w 2889264"/>
              <a:gd name="connsiteY84" fmla="*/ 723900 h 733425"/>
              <a:gd name="connsiteX85" fmla="*/ 2889250 w 2889264"/>
              <a:gd name="connsiteY85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327150 w 2889264"/>
              <a:gd name="connsiteY16" fmla="*/ 66675 h 733425"/>
              <a:gd name="connsiteX17" fmla="*/ 1377950 w 2889264"/>
              <a:gd name="connsiteY17" fmla="*/ 38100 h 733425"/>
              <a:gd name="connsiteX18" fmla="*/ 1416050 w 2889264"/>
              <a:gd name="connsiteY18" fmla="*/ 12700 h 733425"/>
              <a:gd name="connsiteX19" fmla="*/ 1428750 w 2889264"/>
              <a:gd name="connsiteY19" fmla="*/ 0 h 733425"/>
              <a:gd name="connsiteX20" fmla="*/ 1470025 w 2889264"/>
              <a:gd name="connsiteY20" fmla="*/ 28575 h 733425"/>
              <a:gd name="connsiteX21" fmla="*/ 1504950 w 2889264"/>
              <a:gd name="connsiteY21" fmla="*/ 41275 h 733425"/>
              <a:gd name="connsiteX22" fmla="*/ 1517650 w 2889264"/>
              <a:gd name="connsiteY22" fmla="*/ 50800 h 733425"/>
              <a:gd name="connsiteX23" fmla="*/ 1549400 w 2889264"/>
              <a:gd name="connsiteY23" fmla="*/ 60325 h 733425"/>
              <a:gd name="connsiteX24" fmla="*/ 1562100 w 2889264"/>
              <a:gd name="connsiteY24" fmla="*/ 69850 h 733425"/>
              <a:gd name="connsiteX25" fmla="*/ 1574800 w 2889264"/>
              <a:gd name="connsiteY25" fmla="*/ 73025 h 733425"/>
              <a:gd name="connsiteX26" fmla="*/ 1590675 w 2889264"/>
              <a:gd name="connsiteY26" fmla="*/ 79375 h 733425"/>
              <a:gd name="connsiteX27" fmla="*/ 1600200 w 2889264"/>
              <a:gd name="connsiteY27" fmla="*/ 85725 h 733425"/>
              <a:gd name="connsiteX28" fmla="*/ 1612900 w 2889264"/>
              <a:gd name="connsiteY28" fmla="*/ 92075 h 733425"/>
              <a:gd name="connsiteX29" fmla="*/ 1625600 w 2889264"/>
              <a:gd name="connsiteY29" fmla="*/ 101600 h 733425"/>
              <a:gd name="connsiteX30" fmla="*/ 1635125 w 2889264"/>
              <a:gd name="connsiteY30" fmla="*/ 104775 h 733425"/>
              <a:gd name="connsiteX31" fmla="*/ 1654175 w 2889264"/>
              <a:gd name="connsiteY31" fmla="*/ 114300 h 733425"/>
              <a:gd name="connsiteX32" fmla="*/ 1676400 w 2889264"/>
              <a:gd name="connsiteY32" fmla="*/ 130175 h 733425"/>
              <a:gd name="connsiteX33" fmla="*/ 1689100 w 2889264"/>
              <a:gd name="connsiteY33" fmla="*/ 136525 h 733425"/>
              <a:gd name="connsiteX34" fmla="*/ 1714500 w 2889264"/>
              <a:gd name="connsiteY34" fmla="*/ 146050 h 733425"/>
              <a:gd name="connsiteX35" fmla="*/ 1727200 w 2889264"/>
              <a:gd name="connsiteY35" fmla="*/ 155575 h 733425"/>
              <a:gd name="connsiteX36" fmla="*/ 1758950 w 2889264"/>
              <a:gd name="connsiteY36" fmla="*/ 165100 h 733425"/>
              <a:gd name="connsiteX37" fmla="*/ 1768475 w 2889264"/>
              <a:gd name="connsiteY37" fmla="*/ 171450 h 733425"/>
              <a:gd name="connsiteX38" fmla="*/ 1781175 w 2889264"/>
              <a:gd name="connsiteY38" fmla="*/ 180975 h 733425"/>
              <a:gd name="connsiteX39" fmla="*/ 1793875 w 2889264"/>
              <a:gd name="connsiteY39" fmla="*/ 187325 h 733425"/>
              <a:gd name="connsiteX40" fmla="*/ 1838325 w 2889264"/>
              <a:gd name="connsiteY40" fmla="*/ 212725 h 733425"/>
              <a:gd name="connsiteX41" fmla="*/ 1847850 w 2889264"/>
              <a:gd name="connsiteY41" fmla="*/ 222250 h 733425"/>
              <a:gd name="connsiteX42" fmla="*/ 1885950 w 2889264"/>
              <a:gd name="connsiteY42" fmla="*/ 241300 h 733425"/>
              <a:gd name="connsiteX43" fmla="*/ 1901825 w 2889264"/>
              <a:gd name="connsiteY43" fmla="*/ 250825 h 733425"/>
              <a:gd name="connsiteX44" fmla="*/ 1933575 w 2889264"/>
              <a:gd name="connsiteY44" fmla="*/ 263525 h 733425"/>
              <a:gd name="connsiteX45" fmla="*/ 1962150 w 2889264"/>
              <a:gd name="connsiteY45" fmla="*/ 276225 h 733425"/>
              <a:gd name="connsiteX46" fmla="*/ 1971675 w 2889264"/>
              <a:gd name="connsiteY46" fmla="*/ 282575 h 733425"/>
              <a:gd name="connsiteX47" fmla="*/ 1987550 w 2889264"/>
              <a:gd name="connsiteY47" fmla="*/ 288925 h 733425"/>
              <a:gd name="connsiteX48" fmla="*/ 2022475 w 2889264"/>
              <a:gd name="connsiteY48" fmla="*/ 301625 h 733425"/>
              <a:gd name="connsiteX49" fmla="*/ 2047875 w 2889264"/>
              <a:gd name="connsiteY49" fmla="*/ 314325 h 733425"/>
              <a:gd name="connsiteX50" fmla="*/ 2063750 w 2889264"/>
              <a:gd name="connsiteY50" fmla="*/ 320675 h 733425"/>
              <a:gd name="connsiteX51" fmla="*/ 2082800 w 2889264"/>
              <a:gd name="connsiteY51" fmla="*/ 330200 h 733425"/>
              <a:gd name="connsiteX52" fmla="*/ 2095500 w 2889264"/>
              <a:gd name="connsiteY52" fmla="*/ 333375 h 733425"/>
              <a:gd name="connsiteX53" fmla="*/ 2124075 w 2889264"/>
              <a:gd name="connsiteY53" fmla="*/ 342900 h 733425"/>
              <a:gd name="connsiteX54" fmla="*/ 2159000 w 2889264"/>
              <a:gd name="connsiteY54" fmla="*/ 358775 h 733425"/>
              <a:gd name="connsiteX55" fmla="*/ 2187575 w 2889264"/>
              <a:gd name="connsiteY55" fmla="*/ 377825 h 733425"/>
              <a:gd name="connsiteX56" fmla="*/ 2209800 w 2889264"/>
              <a:gd name="connsiteY56" fmla="*/ 393700 h 733425"/>
              <a:gd name="connsiteX57" fmla="*/ 2247900 w 2889264"/>
              <a:gd name="connsiteY57" fmla="*/ 419100 h 733425"/>
              <a:gd name="connsiteX58" fmla="*/ 2276475 w 2889264"/>
              <a:gd name="connsiteY58" fmla="*/ 434975 h 733425"/>
              <a:gd name="connsiteX59" fmla="*/ 2289175 w 2889264"/>
              <a:gd name="connsiteY59" fmla="*/ 444500 h 733425"/>
              <a:gd name="connsiteX60" fmla="*/ 2308225 w 2889264"/>
              <a:gd name="connsiteY60" fmla="*/ 447675 h 733425"/>
              <a:gd name="connsiteX61" fmla="*/ 2333625 w 2889264"/>
              <a:gd name="connsiteY61" fmla="*/ 460375 h 733425"/>
              <a:gd name="connsiteX62" fmla="*/ 2352675 w 2889264"/>
              <a:gd name="connsiteY62" fmla="*/ 466725 h 733425"/>
              <a:gd name="connsiteX63" fmla="*/ 2397125 w 2889264"/>
              <a:gd name="connsiteY63" fmla="*/ 488950 h 733425"/>
              <a:gd name="connsiteX64" fmla="*/ 2422525 w 2889264"/>
              <a:gd name="connsiteY64" fmla="*/ 495300 h 733425"/>
              <a:gd name="connsiteX65" fmla="*/ 2432050 w 2889264"/>
              <a:gd name="connsiteY65" fmla="*/ 498475 h 733425"/>
              <a:gd name="connsiteX66" fmla="*/ 2454275 w 2889264"/>
              <a:gd name="connsiteY66" fmla="*/ 511175 h 733425"/>
              <a:gd name="connsiteX67" fmla="*/ 2470150 w 2889264"/>
              <a:gd name="connsiteY67" fmla="*/ 523875 h 733425"/>
              <a:gd name="connsiteX68" fmla="*/ 2495550 w 2889264"/>
              <a:gd name="connsiteY68" fmla="*/ 533400 h 733425"/>
              <a:gd name="connsiteX69" fmla="*/ 2546350 w 2889264"/>
              <a:gd name="connsiteY69" fmla="*/ 558800 h 733425"/>
              <a:gd name="connsiteX70" fmla="*/ 2574925 w 2889264"/>
              <a:gd name="connsiteY70" fmla="*/ 565150 h 733425"/>
              <a:gd name="connsiteX71" fmla="*/ 2600325 w 2889264"/>
              <a:gd name="connsiteY71" fmla="*/ 577850 h 733425"/>
              <a:gd name="connsiteX72" fmla="*/ 2616200 w 2889264"/>
              <a:gd name="connsiteY72" fmla="*/ 581025 h 733425"/>
              <a:gd name="connsiteX73" fmla="*/ 2638425 w 2889264"/>
              <a:gd name="connsiteY73" fmla="*/ 587375 h 733425"/>
              <a:gd name="connsiteX74" fmla="*/ 2654300 w 2889264"/>
              <a:gd name="connsiteY74" fmla="*/ 596900 h 733425"/>
              <a:gd name="connsiteX75" fmla="*/ 2673350 w 2889264"/>
              <a:gd name="connsiteY75" fmla="*/ 603250 h 733425"/>
              <a:gd name="connsiteX76" fmla="*/ 2708275 w 2889264"/>
              <a:gd name="connsiteY76" fmla="*/ 625475 h 733425"/>
              <a:gd name="connsiteX77" fmla="*/ 2730500 w 2889264"/>
              <a:gd name="connsiteY77" fmla="*/ 635000 h 733425"/>
              <a:gd name="connsiteX78" fmla="*/ 2749550 w 2889264"/>
              <a:gd name="connsiteY78" fmla="*/ 650875 h 733425"/>
              <a:gd name="connsiteX79" fmla="*/ 2774950 w 2889264"/>
              <a:gd name="connsiteY79" fmla="*/ 663575 h 733425"/>
              <a:gd name="connsiteX80" fmla="*/ 2803525 w 2889264"/>
              <a:gd name="connsiteY80" fmla="*/ 676275 h 733425"/>
              <a:gd name="connsiteX81" fmla="*/ 2816225 w 2889264"/>
              <a:gd name="connsiteY81" fmla="*/ 685800 h 733425"/>
              <a:gd name="connsiteX82" fmla="*/ 2832100 w 2889264"/>
              <a:gd name="connsiteY82" fmla="*/ 692150 h 733425"/>
              <a:gd name="connsiteX83" fmla="*/ 2876550 w 2889264"/>
              <a:gd name="connsiteY83" fmla="*/ 723900 h 733425"/>
              <a:gd name="connsiteX84" fmla="*/ 2889250 w 2889264"/>
              <a:gd name="connsiteY84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327150 w 2889264"/>
              <a:gd name="connsiteY16" fmla="*/ 66675 h 733425"/>
              <a:gd name="connsiteX17" fmla="*/ 1416050 w 2889264"/>
              <a:gd name="connsiteY17" fmla="*/ 12700 h 733425"/>
              <a:gd name="connsiteX18" fmla="*/ 1428750 w 2889264"/>
              <a:gd name="connsiteY18" fmla="*/ 0 h 733425"/>
              <a:gd name="connsiteX19" fmla="*/ 1470025 w 2889264"/>
              <a:gd name="connsiteY19" fmla="*/ 28575 h 733425"/>
              <a:gd name="connsiteX20" fmla="*/ 1504950 w 2889264"/>
              <a:gd name="connsiteY20" fmla="*/ 41275 h 733425"/>
              <a:gd name="connsiteX21" fmla="*/ 1517650 w 2889264"/>
              <a:gd name="connsiteY21" fmla="*/ 50800 h 733425"/>
              <a:gd name="connsiteX22" fmla="*/ 1549400 w 2889264"/>
              <a:gd name="connsiteY22" fmla="*/ 60325 h 733425"/>
              <a:gd name="connsiteX23" fmla="*/ 1562100 w 2889264"/>
              <a:gd name="connsiteY23" fmla="*/ 69850 h 733425"/>
              <a:gd name="connsiteX24" fmla="*/ 1574800 w 2889264"/>
              <a:gd name="connsiteY24" fmla="*/ 73025 h 733425"/>
              <a:gd name="connsiteX25" fmla="*/ 1590675 w 2889264"/>
              <a:gd name="connsiteY25" fmla="*/ 79375 h 733425"/>
              <a:gd name="connsiteX26" fmla="*/ 1600200 w 2889264"/>
              <a:gd name="connsiteY26" fmla="*/ 85725 h 733425"/>
              <a:gd name="connsiteX27" fmla="*/ 1612900 w 2889264"/>
              <a:gd name="connsiteY27" fmla="*/ 92075 h 733425"/>
              <a:gd name="connsiteX28" fmla="*/ 1625600 w 2889264"/>
              <a:gd name="connsiteY28" fmla="*/ 101600 h 733425"/>
              <a:gd name="connsiteX29" fmla="*/ 1635125 w 2889264"/>
              <a:gd name="connsiteY29" fmla="*/ 104775 h 733425"/>
              <a:gd name="connsiteX30" fmla="*/ 1654175 w 2889264"/>
              <a:gd name="connsiteY30" fmla="*/ 114300 h 733425"/>
              <a:gd name="connsiteX31" fmla="*/ 1676400 w 2889264"/>
              <a:gd name="connsiteY31" fmla="*/ 130175 h 733425"/>
              <a:gd name="connsiteX32" fmla="*/ 1689100 w 2889264"/>
              <a:gd name="connsiteY32" fmla="*/ 136525 h 733425"/>
              <a:gd name="connsiteX33" fmla="*/ 1714500 w 2889264"/>
              <a:gd name="connsiteY33" fmla="*/ 146050 h 733425"/>
              <a:gd name="connsiteX34" fmla="*/ 1727200 w 2889264"/>
              <a:gd name="connsiteY34" fmla="*/ 155575 h 733425"/>
              <a:gd name="connsiteX35" fmla="*/ 1758950 w 2889264"/>
              <a:gd name="connsiteY35" fmla="*/ 165100 h 733425"/>
              <a:gd name="connsiteX36" fmla="*/ 1768475 w 2889264"/>
              <a:gd name="connsiteY36" fmla="*/ 171450 h 733425"/>
              <a:gd name="connsiteX37" fmla="*/ 1781175 w 2889264"/>
              <a:gd name="connsiteY37" fmla="*/ 180975 h 733425"/>
              <a:gd name="connsiteX38" fmla="*/ 1793875 w 2889264"/>
              <a:gd name="connsiteY38" fmla="*/ 187325 h 733425"/>
              <a:gd name="connsiteX39" fmla="*/ 1838325 w 2889264"/>
              <a:gd name="connsiteY39" fmla="*/ 212725 h 733425"/>
              <a:gd name="connsiteX40" fmla="*/ 1847850 w 2889264"/>
              <a:gd name="connsiteY40" fmla="*/ 222250 h 733425"/>
              <a:gd name="connsiteX41" fmla="*/ 1885950 w 2889264"/>
              <a:gd name="connsiteY41" fmla="*/ 241300 h 733425"/>
              <a:gd name="connsiteX42" fmla="*/ 1901825 w 2889264"/>
              <a:gd name="connsiteY42" fmla="*/ 250825 h 733425"/>
              <a:gd name="connsiteX43" fmla="*/ 1933575 w 2889264"/>
              <a:gd name="connsiteY43" fmla="*/ 263525 h 733425"/>
              <a:gd name="connsiteX44" fmla="*/ 1962150 w 2889264"/>
              <a:gd name="connsiteY44" fmla="*/ 276225 h 733425"/>
              <a:gd name="connsiteX45" fmla="*/ 1971675 w 2889264"/>
              <a:gd name="connsiteY45" fmla="*/ 282575 h 733425"/>
              <a:gd name="connsiteX46" fmla="*/ 1987550 w 2889264"/>
              <a:gd name="connsiteY46" fmla="*/ 288925 h 733425"/>
              <a:gd name="connsiteX47" fmla="*/ 2022475 w 2889264"/>
              <a:gd name="connsiteY47" fmla="*/ 301625 h 733425"/>
              <a:gd name="connsiteX48" fmla="*/ 2047875 w 2889264"/>
              <a:gd name="connsiteY48" fmla="*/ 314325 h 733425"/>
              <a:gd name="connsiteX49" fmla="*/ 2063750 w 2889264"/>
              <a:gd name="connsiteY49" fmla="*/ 320675 h 733425"/>
              <a:gd name="connsiteX50" fmla="*/ 2082800 w 2889264"/>
              <a:gd name="connsiteY50" fmla="*/ 330200 h 733425"/>
              <a:gd name="connsiteX51" fmla="*/ 2095500 w 2889264"/>
              <a:gd name="connsiteY51" fmla="*/ 333375 h 733425"/>
              <a:gd name="connsiteX52" fmla="*/ 2124075 w 2889264"/>
              <a:gd name="connsiteY52" fmla="*/ 342900 h 733425"/>
              <a:gd name="connsiteX53" fmla="*/ 2159000 w 2889264"/>
              <a:gd name="connsiteY53" fmla="*/ 358775 h 733425"/>
              <a:gd name="connsiteX54" fmla="*/ 2187575 w 2889264"/>
              <a:gd name="connsiteY54" fmla="*/ 377825 h 733425"/>
              <a:gd name="connsiteX55" fmla="*/ 2209800 w 2889264"/>
              <a:gd name="connsiteY55" fmla="*/ 393700 h 733425"/>
              <a:gd name="connsiteX56" fmla="*/ 2247900 w 2889264"/>
              <a:gd name="connsiteY56" fmla="*/ 419100 h 733425"/>
              <a:gd name="connsiteX57" fmla="*/ 2276475 w 2889264"/>
              <a:gd name="connsiteY57" fmla="*/ 434975 h 733425"/>
              <a:gd name="connsiteX58" fmla="*/ 2289175 w 2889264"/>
              <a:gd name="connsiteY58" fmla="*/ 444500 h 733425"/>
              <a:gd name="connsiteX59" fmla="*/ 2308225 w 2889264"/>
              <a:gd name="connsiteY59" fmla="*/ 447675 h 733425"/>
              <a:gd name="connsiteX60" fmla="*/ 2333625 w 2889264"/>
              <a:gd name="connsiteY60" fmla="*/ 460375 h 733425"/>
              <a:gd name="connsiteX61" fmla="*/ 2352675 w 2889264"/>
              <a:gd name="connsiteY61" fmla="*/ 466725 h 733425"/>
              <a:gd name="connsiteX62" fmla="*/ 2397125 w 2889264"/>
              <a:gd name="connsiteY62" fmla="*/ 488950 h 733425"/>
              <a:gd name="connsiteX63" fmla="*/ 2422525 w 2889264"/>
              <a:gd name="connsiteY63" fmla="*/ 495300 h 733425"/>
              <a:gd name="connsiteX64" fmla="*/ 2432050 w 2889264"/>
              <a:gd name="connsiteY64" fmla="*/ 498475 h 733425"/>
              <a:gd name="connsiteX65" fmla="*/ 2454275 w 2889264"/>
              <a:gd name="connsiteY65" fmla="*/ 511175 h 733425"/>
              <a:gd name="connsiteX66" fmla="*/ 2470150 w 2889264"/>
              <a:gd name="connsiteY66" fmla="*/ 523875 h 733425"/>
              <a:gd name="connsiteX67" fmla="*/ 2495550 w 2889264"/>
              <a:gd name="connsiteY67" fmla="*/ 533400 h 733425"/>
              <a:gd name="connsiteX68" fmla="*/ 2546350 w 2889264"/>
              <a:gd name="connsiteY68" fmla="*/ 558800 h 733425"/>
              <a:gd name="connsiteX69" fmla="*/ 2574925 w 2889264"/>
              <a:gd name="connsiteY69" fmla="*/ 565150 h 733425"/>
              <a:gd name="connsiteX70" fmla="*/ 2600325 w 2889264"/>
              <a:gd name="connsiteY70" fmla="*/ 577850 h 733425"/>
              <a:gd name="connsiteX71" fmla="*/ 2616200 w 2889264"/>
              <a:gd name="connsiteY71" fmla="*/ 581025 h 733425"/>
              <a:gd name="connsiteX72" fmla="*/ 2638425 w 2889264"/>
              <a:gd name="connsiteY72" fmla="*/ 587375 h 733425"/>
              <a:gd name="connsiteX73" fmla="*/ 2654300 w 2889264"/>
              <a:gd name="connsiteY73" fmla="*/ 596900 h 733425"/>
              <a:gd name="connsiteX74" fmla="*/ 2673350 w 2889264"/>
              <a:gd name="connsiteY74" fmla="*/ 603250 h 733425"/>
              <a:gd name="connsiteX75" fmla="*/ 2708275 w 2889264"/>
              <a:gd name="connsiteY75" fmla="*/ 625475 h 733425"/>
              <a:gd name="connsiteX76" fmla="*/ 2730500 w 2889264"/>
              <a:gd name="connsiteY76" fmla="*/ 635000 h 733425"/>
              <a:gd name="connsiteX77" fmla="*/ 2749550 w 2889264"/>
              <a:gd name="connsiteY77" fmla="*/ 650875 h 733425"/>
              <a:gd name="connsiteX78" fmla="*/ 2774950 w 2889264"/>
              <a:gd name="connsiteY78" fmla="*/ 663575 h 733425"/>
              <a:gd name="connsiteX79" fmla="*/ 2803525 w 2889264"/>
              <a:gd name="connsiteY79" fmla="*/ 676275 h 733425"/>
              <a:gd name="connsiteX80" fmla="*/ 2816225 w 2889264"/>
              <a:gd name="connsiteY80" fmla="*/ 685800 h 733425"/>
              <a:gd name="connsiteX81" fmla="*/ 2832100 w 2889264"/>
              <a:gd name="connsiteY81" fmla="*/ 692150 h 733425"/>
              <a:gd name="connsiteX82" fmla="*/ 2876550 w 2889264"/>
              <a:gd name="connsiteY82" fmla="*/ 723900 h 733425"/>
              <a:gd name="connsiteX83" fmla="*/ 2889250 w 2889264"/>
              <a:gd name="connsiteY83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327150 w 2889264"/>
              <a:gd name="connsiteY16" fmla="*/ 66675 h 733425"/>
              <a:gd name="connsiteX17" fmla="*/ 1390650 w 2889264"/>
              <a:gd name="connsiteY17" fmla="*/ 19050 h 733425"/>
              <a:gd name="connsiteX18" fmla="*/ 1416050 w 2889264"/>
              <a:gd name="connsiteY18" fmla="*/ 12700 h 733425"/>
              <a:gd name="connsiteX19" fmla="*/ 1428750 w 2889264"/>
              <a:gd name="connsiteY19" fmla="*/ 0 h 733425"/>
              <a:gd name="connsiteX20" fmla="*/ 1470025 w 2889264"/>
              <a:gd name="connsiteY20" fmla="*/ 28575 h 733425"/>
              <a:gd name="connsiteX21" fmla="*/ 1504950 w 2889264"/>
              <a:gd name="connsiteY21" fmla="*/ 41275 h 733425"/>
              <a:gd name="connsiteX22" fmla="*/ 1517650 w 2889264"/>
              <a:gd name="connsiteY22" fmla="*/ 50800 h 733425"/>
              <a:gd name="connsiteX23" fmla="*/ 1549400 w 2889264"/>
              <a:gd name="connsiteY23" fmla="*/ 60325 h 733425"/>
              <a:gd name="connsiteX24" fmla="*/ 1562100 w 2889264"/>
              <a:gd name="connsiteY24" fmla="*/ 69850 h 733425"/>
              <a:gd name="connsiteX25" fmla="*/ 1574800 w 2889264"/>
              <a:gd name="connsiteY25" fmla="*/ 73025 h 733425"/>
              <a:gd name="connsiteX26" fmla="*/ 1590675 w 2889264"/>
              <a:gd name="connsiteY26" fmla="*/ 79375 h 733425"/>
              <a:gd name="connsiteX27" fmla="*/ 1600200 w 2889264"/>
              <a:gd name="connsiteY27" fmla="*/ 85725 h 733425"/>
              <a:gd name="connsiteX28" fmla="*/ 1612900 w 2889264"/>
              <a:gd name="connsiteY28" fmla="*/ 92075 h 733425"/>
              <a:gd name="connsiteX29" fmla="*/ 1625600 w 2889264"/>
              <a:gd name="connsiteY29" fmla="*/ 101600 h 733425"/>
              <a:gd name="connsiteX30" fmla="*/ 1635125 w 2889264"/>
              <a:gd name="connsiteY30" fmla="*/ 104775 h 733425"/>
              <a:gd name="connsiteX31" fmla="*/ 1654175 w 2889264"/>
              <a:gd name="connsiteY31" fmla="*/ 114300 h 733425"/>
              <a:gd name="connsiteX32" fmla="*/ 1676400 w 2889264"/>
              <a:gd name="connsiteY32" fmla="*/ 130175 h 733425"/>
              <a:gd name="connsiteX33" fmla="*/ 1689100 w 2889264"/>
              <a:gd name="connsiteY33" fmla="*/ 136525 h 733425"/>
              <a:gd name="connsiteX34" fmla="*/ 1714500 w 2889264"/>
              <a:gd name="connsiteY34" fmla="*/ 146050 h 733425"/>
              <a:gd name="connsiteX35" fmla="*/ 1727200 w 2889264"/>
              <a:gd name="connsiteY35" fmla="*/ 155575 h 733425"/>
              <a:gd name="connsiteX36" fmla="*/ 1758950 w 2889264"/>
              <a:gd name="connsiteY36" fmla="*/ 165100 h 733425"/>
              <a:gd name="connsiteX37" fmla="*/ 1768475 w 2889264"/>
              <a:gd name="connsiteY37" fmla="*/ 171450 h 733425"/>
              <a:gd name="connsiteX38" fmla="*/ 1781175 w 2889264"/>
              <a:gd name="connsiteY38" fmla="*/ 180975 h 733425"/>
              <a:gd name="connsiteX39" fmla="*/ 1793875 w 2889264"/>
              <a:gd name="connsiteY39" fmla="*/ 187325 h 733425"/>
              <a:gd name="connsiteX40" fmla="*/ 1838325 w 2889264"/>
              <a:gd name="connsiteY40" fmla="*/ 212725 h 733425"/>
              <a:gd name="connsiteX41" fmla="*/ 1847850 w 2889264"/>
              <a:gd name="connsiteY41" fmla="*/ 222250 h 733425"/>
              <a:gd name="connsiteX42" fmla="*/ 1885950 w 2889264"/>
              <a:gd name="connsiteY42" fmla="*/ 241300 h 733425"/>
              <a:gd name="connsiteX43" fmla="*/ 1901825 w 2889264"/>
              <a:gd name="connsiteY43" fmla="*/ 250825 h 733425"/>
              <a:gd name="connsiteX44" fmla="*/ 1933575 w 2889264"/>
              <a:gd name="connsiteY44" fmla="*/ 263525 h 733425"/>
              <a:gd name="connsiteX45" fmla="*/ 1962150 w 2889264"/>
              <a:gd name="connsiteY45" fmla="*/ 276225 h 733425"/>
              <a:gd name="connsiteX46" fmla="*/ 1971675 w 2889264"/>
              <a:gd name="connsiteY46" fmla="*/ 282575 h 733425"/>
              <a:gd name="connsiteX47" fmla="*/ 1987550 w 2889264"/>
              <a:gd name="connsiteY47" fmla="*/ 288925 h 733425"/>
              <a:gd name="connsiteX48" fmla="*/ 2022475 w 2889264"/>
              <a:gd name="connsiteY48" fmla="*/ 301625 h 733425"/>
              <a:gd name="connsiteX49" fmla="*/ 2047875 w 2889264"/>
              <a:gd name="connsiteY49" fmla="*/ 314325 h 733425"/>
              <a:gd name="connsiteX50" fmla="*/ 2063750 w 2889264"/>
              <a:gd name="connsiteY50" fmla="*/ 320675 h 733425"/>
              <a:gd name="connsiteX51" fmla="*/ 2082800 w 2889264"/>
              <a:gd name="connsiteY51" fmla="*/ 330200 h 733425"/>
              <a:gd name="connsiteX52" fmla="*/ 2095500 w 2889264"/>
              <a:gd name="connsiteY52" fmla="*/ 333375 h 733425"/>
              <a:gd name="connsiteX53" fmla="*/ 2124075 w 2889264"/>
              <a:gd name="connsiteY53" fmla="*/ 342900 h 733425"/>
              <a:gd name="connsiteX54" fmla="*/ 2159000 w 2889264"/>
              <a:gd name="connsiteY54" fmla="*/ 358775 h 733425"/>
              <a:gd name="connsiteX55" fmla="*/ 2187575 w 2889264"/>
              <a:gd name="connsiteY55" fmla="*/ 377825 h 733425"/>
              <a:gd name="connsiteX56" fmla="*/ 2209800 w 2889264"/>
              <a:gd name="connsiteY56" fmla="*/ 393700 h 733425"/>
              <a:gd name="connsiteX57" fmla="*/ 2247900 w 2889264"/>
              <a:gd name="connsiteY57" fmla="*/ 419100 h 733425"/>
              <a:gd name="connsiteX58" fmla="*/ 2276475 w 2889264"/>
              <a:gd name="connsiteY58" fmla="*/ 434975 h 733425"/>
              <a:gd name="connsiteX59" fmla="*/ 2289175 w 2889264"/>
              <a:gd name="connsiteY59" fmla="*/ 444500 h 733425"/>
              <a:gd name="connsiteX60" fmla="*/ 2308225 w 2889264"/>
              <a:gd name="connsiteY60" fmla="*/ 447675 h 733425"/>
              <a:gd name="connsiteX61" fmla="*/ 2333625 w 2889264"/>
              <a:gd name="connsiteY61" fmla="*/ 460375 h 733425"/>
              <a:gd name="connsiteX62" fmla="*/ 2352675 w 2889264"/>
              <a:gd name="connsiteY62" fmla="*/ 466725 h 733425"/>
              <a:gd name="connsiteX63" fmla="*/ 2397125 w 2889264"/>
              <a:gd name="connsiteY63" fmla="*/ 488950 h 733425"/>
              <a:gd name="connsiteX64" fmla="*/ 2422525 w 2889264"/>
              <a:gd name="connsiteY64" fmla="*/ 495300 h 733425"/>
              <a:gd name="connsiteX65" fmla="*/ 2432050 w 2889264"/>
              <a:gd name="connsiteY65" fmla="*/ 498475 h 733425"/>
              <a:gd name="connsiteX66" fmla="*/ 2454275 w 2889264"/>
              <a:gd name="connsiteY66" fmla="*/ 511175 h 733425"/>
              <a:gd name="connsiteX67" fmla="*/ 2470150 w 2889264"/>
              <a:gd name="connsiteY67" fmla="*/ 523875 h 733425"/>
              <a:gd name="connsiteX68" fmla="*/ 2495550 w 2889264"/>
              <a:gd name="connsiteY68" fmla="*/ 533400 h 733425"/>
              <a:gd name="connsiteX69" fmla="*/ 2546350 w 2889264"/>
              <a:gd name="connsiteY69" fmla="*/ 558800 h 733425"/>
              <a:gd name="connsiteX70" fmla="*/ 2574925 w 2889264"/>
              <a:gd name="connsiteY70" fmla="*/ 565150 h 733425"/>
              <a:gd name="connsiteX71" fmla="*/ 2600325 w 2889264"/>
              <a:gd name="connsiteY71" fmla="*/ 577850 h 733425"/>
              <a:gd name="connsiteX72" fmla="*/ 2616200 w 2889264"/>
              <a:gd name="connsiteY72" fmla="*/ 581025 h 733425"/>
              <a:gd name="connsiteX73" fmla="*/ 2638425 w 2889264"/>
              <a:gd name="connsiteY73" fmla="*/ 587375 h 733425"/>
              <a:gd name="connsiteX74" fmla="*/ 2654300 w 2889264"/>
              <a:gd name="connsiteY74" fmla="*/ 596900 h 733425"/>
              <a:gd name="connsiteX75" fmla="*/ 2673350 w 2889264"/>
              <a:gd name="connsiteY75" fmla="*/ 603250 h 733425"/>
              <a:gd name="connsiteX76" fmla="*/ 2708275 w 2889264"/>
              <a:gd name="connsiteY76" fmla="*/ 625475 h 733425"/>
              <a:gd name="connsiteX77" fmla="*/ 2730500 w 2889264"/>
              <a:gd name="connsiteY77" fmla="*/ 635000 h 733425"/>
              <a:gd name="connsiteX78" fmla="*/ 2749550 w 2889264"/>
              <a:gd name="connsiteY78" fmla="*/ 650875 h 733425"/>
              <a:gd name="connsiteX79" fmla="*/ 2774950 w 2889264"/>
              <a:gd name="connsiteY79" fmla="*/ 663575 h 733425"/>
              <a:gd name="connsiteX80" fmla="*/ 2803525 w 2889264"/>
              <a:gd name="connsiteY80" fmla="*/ 676275 h 733425"/>
              <a:gd name="connsiteX81" fmla="*/ 2816225 w 2889264"/>
              <a:gd name="connsiteY81" fmla="*/ 685800 h 733425"/>
              <a:gd name="connsiteX82" fmla="*/ 2832100 w 2889264"/>
              <a:gd name="connsiteY82" fmla="*/ 692150 h 733425"/>
              <a:gd name="connsiteX83" fmla="*/ 2876550 w 2889264"/>
              <a:gd name="connsiteY83" fmla="*/ 723900 h 733425"/>
              <a:gd name="connsiteX84" fmla="*/ 2889250 w 2889264"/>
              <a:gd name="connsiteY84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327150 w 2889264"/>
              <a:gd name="connsiteY16" fmla="*/ 66675 h 733425"/>
              <a:gd name="connsiteX17" fmla="*/ 1390650 w 2889264"/>
              <a:gd name="connsiteY17" fmla="*/ 19050 h 733425"/>
              <a:gd name="connsiteX18" fmla="*/ 1416050 w 2889264"/>
              <a:gd name="connsiteY18" fmla="*/ 12700 h 733425"/>
              <a:gd name="connsiteX19" fmla="*/ 1428750 w 2889264"/>
              <a:gd name="connsiteY19" fmla="*/ 0 h 733425"/>
              <a:gd name="connsiteX20" fmla="*/ 1470025 w 2889264"/>
              <a:gd name="connsiteY20" fmla="*/ 28575 h 733425"/>
              <a:gd name="connsiteX21" fmla="*/ 1504950 w 2889264"/>
              <a:gd name="connsiteY21" fmla="*/ 41275 h 733425"/>
              <a:gd name="connsiteX22" fmla="*/ 1549400 w 2889264"/>
              <a:gd name="connsiteY22" fmla="*/ 60325 h 733425"/>
              <a:gd name="connsiteX23" fmla="*/ 1562100 w 2889264"/>
              <a:gd name="connsiteY23" fmla="*/ 69850 h 733425"/>
              <a:gd name="connsiteX24" fmla="*/ 1574800 w 2889264"/>
              <a:gd name="connsiteY24" fmla="*/ 73025 h 733425"/>
              <a:gd name="connsiteX25" fmla="*/ 1590675 w 2889264"/>
              <a:gd name="connsiteY25" fmla="*/ 79375 h 733425"/>
              <a:gd name="connsiteX26" fmla="*/ 1600200 w 2889264"/>
              <a:gd name="connsiteY26" fmla="*/ 85725 h 733425"/>
              <a:gd name="connsiteX27" fmla="*/ 1612900 w 2889264"/>
              <a:gd name="connsiteY27" fmla="*/ 92075 h 733425"/>
              <a:gd name="connsiteX28" fmla="*/ 1625600 w 2889264"/>
              <a:gd name="connsiteY28" fmla="*/ 101600 h 733425"/>
              <a:gd name="connsiteX29" fmla="*/ 1635125 w 2889264"/>
              <a:gd name="connsiteY29" fmla="*/ 104775 h 733425"/>
              <a:gd name="connsiteX30" fmla="*/ 1654175 w 2889264"/>
              <a:gd name="connsiteY30" fmla="*/ 114300 h 733425"/>
              <a:gd name="connsiteX31" fmla="*/ 1676400 w 2889264"/>
              <a:gd name="connsiteY31" fmla="*/ 130175 h 733425"/>
              <a:gd name="connsiteX32" fmla="*/ 1689100 w 2889264"/>
              <a:gd name="connsiteY32" fmla="*/ 136525 h 733425"/>
              <a:gd name="connsiteX33" fmla="*/ 1714500 w 2889264"/>
              <a:gd name="connsiteY33" fmla="*/ 146050 h 733425"/>
              <a:gd name="connsiteX34" fmla="*/ 1727200 w 2889264"/>
              <a:gd name="connsiteY34" fmla="*/ 155575 h 733425"/>
              <a:gd name="connsiteX35" fmla="*/ 1758950 w 2889264"/>
              <a:gd name="connsiteY35" fmla="*/ 165100 h 733425"/>
              <a:gd name="connsiteX36" fmla="*/ 1768475 w 2889264"/>
              <a:gd name="connsiteY36" fmla="*/ 171450 h 733425"/>
              <a:gd name="connsiteX37" fmla="*/ 1781175 w 2889264"/>
              <a:gd name="connsiteY37" fmla="*/ 180975 h 733425"/>
              <a:gd name="connsiteX38" fmla="*/ 1793875 w 2889264"/>
              <a:gd name="connsiteY38" fmla="*/ 187325 h 733425"/>
              <a:gd name="connsiteX39" fmla="*/ 1838325 w 2889264"/>
              <a:gd name="connsiteY39" fmla="*/ 212725 h 733425"/>
              <a:gd name="connsiteX40" fmla="*/ 1847850 w 2889264"/>
              <a:gd name="connsiteY40" fmla="*/ 222250 h 733425"/>
              <a:gd name="connsiteX41" fmla="*/ 1885950 w 2889264"/>
              <a:gd name="connsiteY41" fmla="*/ 241300 h 733425"/>
              <a:gd name="connsiteX42" fmla="*/ 1901825 w 2889264"/>
              <a:gd name="connsiteY42" fmla="*/ 250825 h 733425"/>
              <a:gd name="connsiteX43" fmla="*/ 1933575 w 2889264"/>
              <a:gd name="connsiteY43" fmla="*/ 263525 h 733425"/>
              <a:gd name="connsiteX44" fmla="*/ 1962150 w 2889264"/>
              <a:gd name="connsiteY44" fmla="*/ 276225 h 733425"/>
              <a:gd name="connsiteX45" fmla="*/ 1971675 w 2889264"/>
              <a:gd name="connsiteY45" fmla="*/ 282575 h 733425"/>
              <a:gd name="connsiteX46" fmla="*/ 1987550 w 2889264"/>
              <a:gd name="connsiteY46" fmla="*/ 288925 h 733425"/>
              <a:gd name="connsiteX47" fmla="*/ 2022475 w 2889264"/>
              <a:gd name="connsiteY47" fmla="*/ 301625 h 733425"/>
              <a:gd name="connsiteX48" fmla="*/ 2047875 w 2889264"/>
              <a:gd name="connsiteY48" fmla="*/ 314325 h 733425"/>
              <a:gd name="connsiteX49" fmla="*/ 2063750 w 2889264"/>
              <a:gd name="connsiteY49" fmla="*/ 320675 h 733425"/>
              <a:gd name="connsiteX50" fmla="*/ 2082800 w 2889264"/>
              <a:gd name="connsiteY50" fmla="*/ 330200 h 733425"/>
              <a:gd name="connsiteX51" fmla="*/ 2095500 w 2889264"/>
              <a:gd name="connsiteY51" fmla="*/ 333375 h 733425"/>
              <a:gd name="connsiteX52" fmla="*/ 2124075 w 2889264"/>
              <a:gd name="connsiteY52" fmla="*/ 342900 h 733425"/>
              <a:gd name="connsiteX53" fmla="*/ 2159000 w 2889264"/>
              <a:gd name="connsiteY53" fmla="*/ 358775 h 733425"/>
              <a:gd name="connsiteX54" fmla="*/ 2187575 w 2889264"/>
              <a:gd name="connsiteY54" fmla="*/ 377825 h 733425"/>
              <a:gd name="connsiteX55" fmla="*/ 2209800 w 2889264"/>
              <a:gd name="connsiteY55" fmla="*/ 393700 h 733425"/>
              <a:gd name="connsiteX56" fmla="*/ 2247900 w 2889264"/>
              <a:gd name="connsiteY56" fmla="*/ 419100 h 733425"/>
              <a:gd name="connsiteX57" fmla="*/ 2276475 w 2889264"/>
              <a:gd name="connsiteY57" fmla="*/ 434975 h 733425"/>
              <a:gd name="connsiteX58" fmla="*/ 2289175 w 2889264"/>
              <a:gd name="connsiteY58" fmla="*/ 444500 h 733425"/>
              <a:gd name="connsiteX59" fmla="*/ 2308225 w 2889264"/>
              <a:gd name="connsiteY59" fmla="*/ 447675 h 733425"/>
              <a:gd name="connsiteX60" fmla="*/ 2333625 w 2889264"/>
              <a:gd name="connsiteY60" fmla="*/ 460375 h 733425"/>
              <a:gd name="connsiteX61" fmla="*/ 2352675 w 2889264"/>
              <a:gd name="connsiteY61" fmla="*/ 466725 h 733425"/>
              <a:gd name="connsiteX62" fmla="*/ 2397125 w 2889264"/>
              <a:gd name="connsiteY62" fmla="*/ 488950 h 733425"/>
              <a:gd name="connsiteX63" fmla="*/ 2422525 w 2889264"/>
              <a:gd name="connsiteY63" fmla="*/ 495300 h 733425"/>
              <a:gd name="connsiteX64" fmla="*/ 2432050 w 2889264"/>
              <a:gd name="connsiteY64" fmla="*/ 498475 h 733425"/>
              <a:gd name="connsiteX65" fmla="*/ 2454275 w 2889264"/>
              <a:gd name="connsiteY65" fmla="*/ 511175 h 733425"/>
              <a:gd name="connsiteX66" fmla="*/ 2470150 w 2889264"/>
              <a:gd name="connsiteY66" fmla="*/ 523875 h 733425"/>
              <a:gd name="connsiteX67" fmla="*/ 2495550 w 2889264"/>
              <a:gd name="connsiteY67" fmla="*/ 533400 h 733425"/>
              <a:gd name="connsiteX68" fmla="*/ 2546350 w 2889264"/>
              <a:gd name="connsiteY68" fmla="*/ 558800 h 733425"/>
              <a:gd name="connsiteX69" fmla="*/ 2574925 w 2889264"/>
              <a:gd name="connsiteY69" fmla="*/ 565150 h 733425"/>
              <a:gd name="connsiteX70" fmla="*/ 2600325 w 2889264"/>
              <a:gd name="connsiteY70" fmla="*/ 577850 h 733425"/>
              <a:gd name="connsiteX71" fmla="*/ 2616200 w 2889264"/>
              <a:gd name="connsiteY71" fmla="*/ 581025 h 733425"/>
              <a:gd name="connsiteX72" fmla="*/ 2638425 w 2889264"/>
              <a:gd name="connsiteY72" fmla="*/ 587375 h 733425"/>
              <a:gd name="connsiteX73" fmla="*/ 2654300 w 2889264"/>
              <a:gd name="connsiteY73" fmla="*/ 596900 h 733425"/>
              <a:gd name="connsiteX74" fmla="*/ 2673350 w 2889264"/>
              <a:gd name="connsiteY74" fmla="*/ 603250 h 733425"/>
              <a:gd name="connsiteX75" fmla="*/ 2708275 w 2889264"/>
              <a:gd name="connsiteY75" fmla="*/ 625475 h 733425"/>
              <a:gd name="connsiteX76" fmla="*/ 2730500 w 2889264"/>
              <a:gd name="connsiteY76" fmla="*/ 635000 h 733425"/>
              <a:gd name="connsiteX77" fmla="*/ 2749550 w 2889264"/>
              <a:gd name="connsiteY77" fmla="*/ 650875 h 733425"/>
              <a:gd name="connsiteX78" fmla="*/ 2774950 w 2889264"/>
              <a:gd name="connsiteY78" fmla="*/ 663575 h 733425"/>
              <a:gd name="connsiteX79" fmla="*/ 2803525 w 2889264"/>
              <a:gd name="connsiteY79" fmla="*/ 676275 h 733425"/>
              <a:gd name="connsiteX80" fmla="*/ 2816225 w 2889264"/>
              <a:gd name="connsiteY80" fmla="*/ 685800 h 733425"/>
              <a:gd name="connsiteX81" fmla="*/ 2832100 w 2889264"/>
              <a:gd name="connsiteY81" fmla="*/ 692150 h 733425"/>
              <a:gd name="connsiteX82" fmla="*/ 2876550 w 2889264"/>
              <a:gd name="connsiteY82" fmla="*/ 723900 h 733425"/>
              <a:gd name="connsiteX83" fmla="*/ 2889250 w 2889264"/>
              <a:gd name="connsiteY83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327150 w 2889264"/>
              <a:gd name="connsiteY16" fmla="*/ 66675 h 733425"/>
              <a:gd name="connsiteX17" fmla="*/ 1390650 w 2889264"/>
              <a:gd name="connsiteY17" fmla="*/ 19050 h 733425"/>
              <a:gd name="connsiteX18" fmla="*/ 1416050 w 2889264"/>
              <a:gd name="connsiteY18" fmla="*/ 12700 h 733425"/>
              <a:gd name="connsiteX19" fmla="*/ 1428750 w 2889264"/>
              <a:gd name="connsiteY19" fmla="*/ 0 h 733425"/>
              <a:gd name="connsiteX20" fmla="*/ 1470025 w 2889264"/>
              <a:gd name="connsiteY20" fmla="*/ 28575 h 733425"/>
              <a:gd name="connsiteX21" fmla="*/ 1504950 w 2889264"/>
              <a:gd name="connsiteY21" fmla="*/ 41275 h 733425"/>
              <a:gd name="connsiteX22" fmla="*/ 1549400 w 2889264"/>
              <a:gd name="connsiteY22" fmla="*/ 60325 h 733425"/>
              <a:gd name="connsiteX23" fmla="*/ 1562100 w 2889264"/>
              <a:gd name="connsiteY23" fmla="*/ 69850 h 733425"/>
              <a:gd name="connsiteX24" fmla="*/ 1574800 w 2889264"/>
              <a:gd name="connsiteY24" fmla="*/ 73025 h 733425"/>
              <a:gd name="connsiteX25" fmla="*/ 1590675 w 2889264"/>
              <a:gd name="connsiteY25" fmla="*/ 79375 h 733425"/>
              <a:gd name="connsiteX26" fmla="*/ 1600200 w 2889264"/>
              <a:gd name="connsiteY26" fmla="*/ 85725 h 733425"/>
              <a:gd name="connsiteX27" fmla="*/ 1612900 w 2889264"/>
              <a:gd name="connsiteY27" fmla="*/ 92075 h 733425"/>
              <a:gd name="connsiteX28" fmla="*/ 1635125 w 2889264"/>
              <a:gd name="connsiteY28" fmla="*/ 104775 h 733425"/>
              <a:gd name="connsiteX29" fmla="*/ 1654175 w 2889264"/>
              <a:gd name="connsiteY29" fmla="*/ 114300 h 733425"/>
              <a:gd name="connsiteX30" fmla="*/ 1676400 w 2889264"/>
              <a:gd name="connsiteY30" fmla="*/ 130175 h 733425"/>
              <a:gd name="connsiteX31" fmla="*/ 1689100 w 2889264"/>
              <a:gd name="connsiteY31" fmla="*/ 136525 h 733425"/>
              <a:gd name="connsiteX32" fmla="*/ 1714500 w 2889264"/>
              <a:gd name="connsiteY32" fmla="*/ 146050 h 733425"/>
              <a:gd name="connsiteX33" fmla="*/ 1727200 w 2889264"/>
              <a:gd name="connsiteY33" fmla="*/ 155575 h 733425"/>
              <a:gd name="connsiteX34" fmla="*/ 1758950 w 2889264"/>
              <a:gd name="connsiteY34" fmla="*/ 165100 h 733425"/>
              <a:gd name="connsiteX35" fmla="*/ 1768475 w 2889264"/>
              <a:gd name="connsiteY35" fmla="*/ 171450 h 733425"/>
              <a:gd name="connsiteX36" fmla="*/ 1781175 w 2889264"/>
              <a:gd name="connsiteY36" fmla="*/ 180975 h 733425"/>
              <a:gd name="connsiteX37" fmla="*/ 1793875 w 2889264"/>
              <a:gd name="connsiteY37" fmla="*/ 187325 h 733425"/>
              <a:gd name="connsiteX38" fmla="*/ 1838325 w 2889264"/>
              <a:gd name="connsiteY38" fmla="*/ 212725 h 733425"/>
              <a:gd name="connsiteX39" fmla="*/ 1847850 w 2889264"/>
              <a:gd name="connsiteY39" fmla="*/ 222250 h 733425"/>
              <a:gd name="connsiteX40" fmla="*/ 1885950 w 2889264"/>
              <a:gd name="connsiteY40" fmla="*/ 241300 h 733425"/>
              <a:gd name="connsiteX41" fmla="*/ 1901825 w 2889264"/>
              <a:gd name="connsiteY41" fmla="*/ 250825 h 733425"/>
              <a:gd name="connsiteX42" fmla="*/ 1933575 w 2889264"/>
              <a:gd name="connsiteY42" fmla="*/ 263525 h 733425"/>
              <a:gd name="connsiteX43" fmla="*/ 1962150 w 2889264"/>
              <a:gd name="connsiteY43" fmla="*/ 276225 h 733425"/>
              <a:gd name="connsiteX44" fmla="*/ 1971675 w 2889264"/>
              <a:gd name="connsiteY44" fmla="*/ 282575 h 733425"/>
              <a:gd name="connsiteX45" fmla="*/ 1987550 w 2889264"/>
              <a:gd name="connsiteY45" fmla="*/ 288925 h 733425"/>
              <a:gd name="connsiteX46" fmla="*/ 2022475 w 2889264"/>
              <a:gd name="connsiteY46" fmla="*/ 301625 h 733425"/>
              <a:gd name="connsiteX47" fmla="*/ 2047875 w 2889264"/>
              <a:gd name="connsiteY47" fmla="*/ 314325 h 733425"/>
              <a:gd name="connsiteX48" fmla="*/ 2063750 w 2889264"/>
              <a:gd name="connsiteY48" fmla="*/ 320675 h 733425"/>
              <a:gd name="connsiteX49" fmla="*/ 2082800 w 2889264"/>
              <a:gd name="connsiteY49" fmla="*/ 330200 h 733425"/>
              <a:gd name="connsiteX50" fmla="*/ 2095500 w 2889264"/>
              <a:gd name="connsiteY50" fmla="*/ 333375 h 733425"/>
              <a:gd name="connsiteX51" fmla="*/ 2124075 w 2889264"/>
              <a:gd name="connsiteY51" fmla="*/ 342900 h 733425"/>
              <a:gd name="connsiteX52" fmla="*/ 2159000 w 2889264"/>
              <a:gd name="connsiteY52" fmla="*/ 358775 h 733425"/>
              <a:gd name="connsiteX53" fmla="*/ 2187575 w 2889264"/>
              <a:gd name="connsiteY53" fmla="*/ 377825 h 733425"/>
              <a:gd name="connsiteX54" fmla="*/ 2209800 w 2889264"/>
              <a:gd name="connsiteY54" fmla="*/ 393700 h 733425"/>
              <a:gd name="connsiteX55" fmla="*/ 2247900 w 2889264"/>
              <a:gd name="connsiteY55" fmla="*/ 419100 h 733425"/>
              <a:gd name="connsiteX56" fmla="*/ 2276475 w 2889264"/>
              <a:gd name="connsiteY56" fmla="*/ 434975 h 733425"/>
              <a:gd name="connsiteX57" fmla="*/ 2289175 w 2889264"/>
              <a:gd name="connsiteY57" fmla="*/ 444500 h 733425"/>
              <a:gd name="connsiteX58" fmla="*/ 2308225 w 2889264"/>
              <a:gd name="connsiteY58" fmla="*/ 447675 h 733425"/>
              <a:gd name="connsiteX59" fmla="*/ 2333625 w 2889264"/>
              <a:gd name="connsiteY59" fmla="*/ 460375 h 733425"/>
              <a:gd name="connsiteX60" fmla="*/ 2352675 w 2889264"/>
              <a:gd name="connsiteY60" fmla="*/ 466725 h 733425"/>
              <a:gd name="connsiteX61" fmla="*/ 2397125 w 2889264"/>
              <a:gd name="connsiteY61" fmla="*/ 488950 h 733425"/>
              <a:gd name="connsiteX62" fmla="*/ 2422525 w 2889264"/>
              <a:gd name="connsiteY62" fmla="*/ 495300 h 733425"/>
              <a:gd name="connsiteX63" fmla="*/ 2432050 w 2889264"/>
              <a:gd name="connsiteY63" fmla="*/ 498475 h 733425"/>
              <a:gd name="connsiteX64" fmla="*/ 2454275 w 2889264"/>
              <a:gd name="connsiteY64" fmla="*/ 511175 h 733425"/>
              <a:gd name="connsiteX65" fmla="*/ 2470150 w 2889264"/>
              <a:gd name="connsiteY65" fmla="*/ 523875 h 733425"/>
              <a:gd name="connsiteX66" fmla="*/ 2495550 w 2889264"/>
              <a:gd name="connsiteY66" fmla="*/ 533400 h 733425"/>
              <a:gd name="connsiteX67" fmla="*/ 2546350 w 2889264"/>
              <a:gd name="connsiteY67" fmla="*/ 558800 h 733425"/>
              <a:gd name="connsiteX68" fmla="*/ 2574925 w 2889264"/>
              <a:gd name="connsiteY68" fmla="*/ 565150 h 733425"/>
              <a:gd name="connsiteX69" fmla="*/ 2600325 w 2889264"/>
              <a:gd name="connsiteY69" fmla="*/ 577850 h 733425"/>
              <a:gd name="connsiteX70" fmla="*/ 2616200 w 2889264"/>
              <a:gd name="connsiteY70" fmla="*/ 581025 h 733425"/>
              <a:gd name="connsiteX71" fmla="*/ 2638425 w 2889264"/>
              <a:gd name="connsiteY71" fmla="*/ 587375 h 733425"/>
              <a:gd name="connsiteX72" fmla="*/ 2654300 w 2889264"/>
              <a:gd name="connsiteY72" fmla="*/ 596900 h 733425"/>
              <a:gd name="connsiteX73" fmla="*/ 2673350 w 2889264"/>
              <a:gd name="connsiteY73" fmla="*/ 603250 h 733425"/>
              <a:gd name="connsiteX74" fmla="*/ 2708275 w 2889264"/>
              <a:gd name="connsiteY74" fmla="*/ 625475 h 733425"/>
              <a:gd name="connsiteX75" fmla="*/ 2730500 w 2889264"/>
              <a:gd name="connsiteY75" fmla="*/ 635000 h 733425"/>
              <a:gd name="connsiteX76" fmla="*/ 2749550 w 2889264"/>
              <a:gd name="connsiteY76" fmla="*/ 650875 h 733425"/>
              <a:gd name="connsiteX77" fmla="*/ 2774950 w 2889264"/>
              <a:gd name="connsiteY77" fmla="*/ 663575 h 733425"/>
              <a:gd name="connsiteX78" fmla="*/ 2803525 w 2889264"/>
              <a:gd name="connsiteY78" fmla="*/ 676275 h 733425"/>
              <a:gd name="connsiteX79" fmla="*/ 2816225 w 2889264"/>
              <a:gd name="connsiteY79" fmla="*/ 685800 h 733425"/>
              <a:gd name="connsiteX80" fmla="*/ 2832100 w 2889264"/>
              <a:gd name="connsiteY80" fmla="*/ 692150 h 733425"/>
              <a:gd name="connsiteX81" fmla="*/ 2876550 w 2889264"/>
              <a:gd name="connsiteY81" fmla="*/ 723900 h 733425"/>
              <a:gd name="connsiteX82" fmla="*/ 2889250 w 2889264"/>
              <a:gd name="connsiteY82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327150 w 2889264"/>
              <a:gd name="connsiteY16" fmla="*/ 66675 h 733425"/>
              <a:gd name="connsiteX17" fmla="*/ 1390650 w 2889264"/>
              <a:gd name="connsiteY17" fmla="*/ 19050 h 733425"/>
              <a:gd name="connsiteX18" fmla="*/ 1416050 w 2889264"/>
              <a:gd name="connsiteY18" fmla="*/ 12700 h 733425"/>
              <a:gd name="connsiteX19" fmla="*/ 1428750 w 2889264"/>
              <a:gd name="connsiteY19" fmla="*/ 0 h 733425"/>
              <a:gd name="connsiteX20" fmla="*/ 1504950 w 2889264"/>
              <a:gd name="connsiteY20" fmla="*/ 41275 h 733425"/>
              <a:gd name="connsiteX21" fmla="*/ 1549400 w 2889264"/>
              <a:gd name="connsiteY21" fmla="*/ 60325 h 733425"/>
              <a:gd name="connsiteX22" fmla="*/ 1562100 w 2889264"/>
              <a:gd name="connsiteY22" fmla="*/ 69850 h 733425"/>
              <a:gd name="connsiteX23" fmla="*/ 1574800 w 2889264"/>
              <a:gd name="connsiteY23" fmla="*/ 73025 h 733425"/>
              <a:gd name="connsiteX24" fmla="*/ 1590675 w 2889264"/>
              <a:gd name="connsiteY24" fmla="*/ 79375 h 733425"/>
              <a:gd name="connsiteX25" fmla="*/ 1600200 w 2889264"/>
              <a:gd name="connsiteY25" fmla="*/ 85725 h 733425"/>
              <a:gd name="connsiteX26" fmla="*/ 1612900 w 2889264"/>
              <a:gd name="connsiteY26" fmla="*/ 92075 h 733425"/>
              <a:gd name="connsiteX27" fmla="*/ 1635125 w 2889264"/>
              <a:gd name="connsiteY27" fmla="*/ 104775 h 733425"/>
              <a:gd name="connsiteX28" fmla="*/ 1654175 w 2889264"/>
              <a:gd name="connsiteY28" fmla="*/ 114300 h 733425"/>
              <a:gd name="connsiteX29" fmla="*/ 1676400 w 2889264"/>
              <a:gd name="connsiteY29" fmla="*/ 130175 h 733425"/>
              <a:gd name="connsiteX30" fmla="*/ 1689100 w 2889264"/>
              <a:gd name="connsiteY30" fmla="*/ 136525 h 733425"/>
              <a:gd name="connsiteX31" fmla="*/ 1714500 w 2889264"/>
              <a:gd name="connsiteY31" fmla="*/ 146050 h 733425"/>
              <a:gd name="connsiteX32" fmla="*/ 1727200 w 2889264"/>
              <a:gd name="connsiteY32" fmla="*/ 155575 h 733425"/>
              <a:gd name="connsiteX33" fmla="*/ 1758950 w 2889264"/>
              <a:gd name="connsiteY33" fmla="*/ 165100 h 733425"/>
              <a:gd name="connsiteX34" fmla="*/ 1768475 w 2889264"/>
              <a:gd name="connsiteY34" fmla="*/ 171450 h 733425"/>
              <a:gd name="connsiteX35" fmla="*/ 1781175 w 2889264"/>
              <a:gd name="connsiteY35" fmla="*/ 180975 h 733425"/>
              <a:gd name="connsiteX36" fmla="*/ 1793875 w 2889264"/>
              <a:gd name="connsiteY36" fmla="*/ 187325 h 733425"/>
              <a:gd name="connsiteX37" fmla="*/ 1838325 w 2889264"/>
              <a:gd name="connsiteY37" fmla="*/ 212725 h 733425"/>
              <a:gd name="connsiteX38" fmla="*/ 1847850 w 2889264"/>
              <a:gd name="connsiteY38" fmla="*/ 222250 h 733425"/>
              <a:gd name="connsiteX39" fmla="*/ 1885950 w 2889264"/>
              <a:gd name="connsiteY39" fmla="*/ 241300 h 733425"/>
              <a:gd name="connsiteX40" fmla="*/ 1901825 w 2889264"/>
              <a:gd name="connsiteY40" fmla="*/ 250825 h 733425"/>
              <a:gd name="connsiteX41" fmla="*/ 1933575 w 2889264"/>
              <a:gd name="connsiteY41" fmla="*/ 263525 h 733425"/>
              <a:gd name="connsiteX42" fmla="*/ 1962150 w 2889264"/>
              <a:gd name="connsiteY42" fmla="*/ 276225 h 733425"/>
              <a:gd name="connsiteX43" fmla="*/ 1971675 w 2889264"/>
              <a:gd name="connsiteY43" fmla="*/ 282575 h 733425"/>
              <a:gd name="connsiteX44" fmla="*/ 1987550 w 2889264"/>
              <a:gd name="connsiteY44" fmla="*/ 288925 h 733425"/>
              <a:gd name="connsiteX45" fmla="*/ 2022475 w 2889264"/>
              <a:gd name="connsiteY45" fmla="*/ 301625 h 733425"/>
              <a:gd name="connsiteX46" fmla="*/ 2047875 w 2889264"/>
              <a:gd name="connsiteY46" fmla="*/ 314325 h 733425"/>
              <a:gd name="connsiteX47" fmla="*/ 2063750 w 2889264"/>
              <a:gd name="connsiteY47" fmla="*/ 320675 h 733425"/>
              <a:gd name="connsiteX48" fmla="*/ 2082800 w 2889264"/>
              <a:gd name="connsiteY48" fmla="*/ 330200 h 733425"/>
              <a:gd name="connsiteX49" fmla="*/ 2095500 w 2889264"/>
              <a:gd name="connsiteY49" fmla="*/ 333375 h 733425"/>
              <a:gd name="connsiteX50" fmla="*/ 2124075 w 2889264"/>
              <a:gd name="connsiteY50" fmla="*/ 342900 h 733425"/>
              <a:gd name="connsiteX51" fmla="*/ 2159000 w 2889264"/>
              <a:gd name="connsiteY51" fmla="*/ 358775 h 733425"/>
              <a:gd name="connsiteX52" fmla="*/ 2187575 w 2889264"/>
              <a:gd name="connsiteY52" fmla="*/ 377825 h 733425"/>
              <a:gd name="connsiteX53" fmla="*/ 2209800 w 2889264"/>
              <a:gd name="connsiteY53" fmla="*/ 393700 h 733425"/>
              <a:gd name="connsiteX54" fmla="*/ 2247900 w 2889264"/>
              <a:gd name="connsiteY54" fmla="*/ 419100 h 733425"/>
              <a:gd name="connsiteX55" fmla="*/ 2276475 w 2889264"/>
              <a:gd name="connsiteY55" fmla="*/ 434975 h 733425"/>
              <a:gd name="connsiteX56" fmla="*/ 2289175 w 2889264"/>
              <a:gd name="connsiteY56" fmla="*/ 444500 h 733425"/>
              <a:gd name="connsiteX57" fmla="*/ 2308225 w 2889264"/>
              <a:gd name="connsiteY57" fmla="*/ 447675 h 733425"/>
              <a:gd name="connsiteX58" fmla="*/ 2333625 w 2889264"/>
              <a:gd name="connsiteY58" fmla="*/ 460375 h 733425"/>
              <a:gd name="connsiteX59" fmla="*/ 2352675 w 2889264"/>
              <a:gd name="connsiteY59" fmla="*/ 466725 h 733425"/>
              <a:gd name="connsiteX60" fmla="*/ 2397125 w 2889264"/>
              <a:gd name="connsiteY60" fmla="*/ 488950 h 733425"/>
              <a:gd name="connsiteX61" fmla="*/ 2422525 w 2889264"/>
              <a:gd name="connsiteY61" fmla="*/ 495300 h 733425"/>
              <a:gd name="connsiteX62" fmla="*/ 2432050 w 2889264"/>
              <a:gd name="connsiteY62" fmla="*/ 498475 h 733425"/>
              <a:gd name="connsiteX63" fmla="*/ 2454275 w 2889264"/>
              <a:gd name="connsiteY63" fmla="*/ 511175 h 733425"/>
              <a:gd name="connsiteX64" fmla="*/ 2470150 w 2889264"/>
              <a:gd name="connsiteY64" fmla="*/ 523875 h 733425"/>
              <a:gd name="connsiteX65" fmla="*/ 2495550 w 2889264"/>
              <a:gd name="connsiteY65" fmla="*/ 533400 h 733425"/>
              <a:gd name="connsiteX66" fmla="*/ 2546350 w 2889264"/>
              <a:gd name="connsiteY66" fmla="*/ 558800 h 733425"/>
              <a:gd name="connsiteX67" fmla="*/ 2574925 w 2889264"/>
              <a:gd name="connsiteY67" fmla="*/ 565150 h 733425"/>
              <a:gd name="connsiteX68" fmla="*/ 2600325 w 2889264"/>
              <a:gd name="connsiteY68" fmla="*/ 577850 h 733425"/>
              <a:gd name="connsiteX69" fmla="*/ 2616200 w 2889264"/>
              <a:gd name="connsiteY69" fmla="*/ 581025 h 733425"/>
              <a:gd name="connsiteX70" fmla="*/ 2638425 w 2889264"/>
              <a:gd name="connsiteY70" fmla="*/ 587375 h 733425"/>
              <a:gd name="connsiteX71" fmla="*/ 2654300 w 2889264"/>
              <a:gd name="connsiteY71" fmla="*/ 596900 h 733425"/>
              <a:gd name="connsiteX72" fmla="*/ 2673350 w 2889264"/>
              <a:gd name="connsiteY72" fmla="*/ 603250 h 733425"/>
              <a:gd name="connsiteX73" fmla="*/ 2708275 w 2889264"/>
              <a:gd name="connsiteY73" fmla="*/ 625475 h 733425"/>
              <a:gd name="connsiteX74" fmla="*/ 2730500 w 2889264"/>
              <a:gd name="connsiteY74" fmla="*/ 635000 h 733425"/>
              <a:gd name="connsiteX75" fmla="*/ 2749550 w 2889264"/>
              <a:gd name="connsiteY75" fmla="*/ 650875 h 733425"/>
              <a:gd name="connsiteX76" fmla="*/ 2774950 w 2889264"/>
              <a:gd name="connsiteY76" fmla="*/ 663575 h 733425"/>
              <a:gd name="connsiteX77" fmla="*/ 2803525 w 2889264"/>
              <a:gd name="connsiteY77" fmla="*/ 676275 h 733425"/>
              <a:gd name="connsiteX78" fmla="*/ 2816225 w 2889264"/>
              <a:gd name="connsiteY78" fmla="*/ 685800 h 733425"/>
              <a:gd name="connsiteX79" fmla="*/ 2832100 w 2889264"/>
              <a:gd name="connsiteY79" fmla="*/ 692150 h 733425"/>
              <a:gd name="connsiteX80" fmla="*/ 2876550 w 2889264"/>
              <a:gd name="connsiteY80" fmla="*/ 723900 h 733425"/>
              <a:gd name="connsiteX81" fmla="*/ 2889250 w 2889264"/>
              <a:gd name="connsiteY81" fmla="*/ 733425 h 733425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562100 w 2889264"/>
              <a:gd name="connsiteY21" fmla="*/ 59154 h 722729"/>
              <a:gd name="connsiteX22" fmla="*/ 1574800 w 2889264"/>
              <a:gd name="connsiteY22" fmla="*/ 62329 h 722729"/>
              <a:gd name="connsiteX23" fmla="*/ 1590675 w 2889264"/>
              <a:gd name="connsiteY23" fmla="*/ 68679 h 722729"/>
              <a:gd name="connsiteX24" fmla="*/ 1600200 w 2889264"/>
              <a:gd name="connsiteY24" fmla="*/ 75029 h 722729"/>
              <a:gd name="connsiteX25" fmla="*/ 1612900 w 2889264"/>
              <a:gd name="connsiteY25" fmla="*/ 81379 h 722729"/>
              <a:gd name="connsiteX26" fmla="*/ 1635125 w 2889264"/>
              <a:gd name="connsiteY26" fmla="*/ 94079 h 722729"/>
              <a:gd name="connsiteX27" fmla="*/ 1654175 w 2889264"/>
              <a:gd name="connsiteY27" fmla="*/ 103604 h 722729"/>
              <a:gd name="connsiteX28" fmla="*/ 1676400 w 2889264"/>
              <a:gd name="connsiteY28" fmla="*/ 119479 h 722729"/>
              <a:gd name="connsiteX29" fmla="*/ 1689100 w 2889264"/>
              <a:gd name="connsiteY29" fmla="*/ 125829 h 722729"/>
              <a:gd name="connsiteX30" fmla="*/ 1714500 w 2889264"/>
              <a:gd name="connsiteY30" fmla="*/ 135354 h 722729"/>
              <a:gd name="connsiteX31" fmla="*/ 1727200 w 2889264"/>
              <a:gd name="connsiteY31" fmla="*/ 144879 h 722729"/>
              <a:gd name="connsiteX32" fmla="*/ 1758950 w 2889264"/>
              <a:gd name="connsiteY32" fmla="*/ 154404 h 722729"/>
              <a:gd name="connsiteX33" fmla="*/ 1768475 w 2889264"/>
              <a:gd name="connsiteY33" fmla="*/ 160754 h 722729"/>
              <a:gd name="connsiteX34" fmla="*/ 1781175 w 2889264"/>
              <a:gd name="connsiteY34" fmla="*/ 170279 h 722729"/>
              <a:gd name="connsiteX35" fmla="*/ 1793875 w 2889264"/>
              <a:gd name="connsiteY35" fmla="*/ 176629 h 722729"/>
              <a:gd name="connsiteX36" fmla="*/ 1838325 w 2889264"/>
              <a:gd name="connsiteY36" fmla="*/ 202029 h 722729"/>
              <a:gd name="connsiteX37" fmla="*/ 1847850 w 2889264"/>
              <a:gd name="connsiteY37" fmla="*/ 211554 h 722729"/>
              <a:gd name="connsiteX38" fmla="*/ 1885950 w 2889264"/>
              <a:gd name="connsiteY38" fmla="*/ 230604 h 722729"/>
              <a:gd name="connsiteX39" fmla="*/ 1901825 w 2889264"/>
              <a:gd name="connsiteY39" fmla="*/ 240129 h 722729"/>
              <a:gd name="connsiteX40" fmla="*/ 1933575 w 2889264"/>
              <a:gd name="connsiteY40" fmla="*/ 252829 h 722729"/>
              <a:gd name="connsiteX41" fmla="*/ 1962150 w 2889264"/>
              <a:gd name="connsiteY41" fmla="*/ 265529 h 722729"/>
              <a:gd name="connsiteX42" fmla="*/ 1971675 w 2889264"/>
              <a:gd name="connsiteY42" fmla="*/ 271879 h 722729"/>
              <a:gd name="connsiteX43" fmla="*/ 1987550 w 2889264"/>
              <a:gd name="connsiteY43" fmla="*/ 278229 h 722729"/>
              <a:gd name="connsiteX44" fmla="*/ 2022475 w 2889264"/>
              <a:gd name="connsiteY44" fmla="*/ 290929 h 722729"/>
              <a:gd name="connsiteX45" fmla="*/ 2047875 w 2889264"/>
              <a:gd name="connsiteY45" fmla="*/ 303629 h 722729"/>
              <a:gd name="connsiteX46" fmla="*/ 2063750 w 2889264"/>
              <a:gd name="connsiteY46" fmla="*/ 309979 h 722729"/>
              <a:gd name="connsiteX47" fmla="*/ 2082800 w 2889264"/>
              <a:gd name="connsiteY47" fmla="*/ 319504 h 722729"/>
              <a:gd name="connsiteX48" fmla="*/ 2095500 w 2889264"/>
              <a:gd name="connsiteY48" fmla="*/ 322679 h 722729"/>
              <a:gd name="connsiteX49" fmla="*/ 2124075 w 2889264"/>
              <a:gd name="connsiteY49" fmla="*/ 332204 h 722729"/>
              <a:gd name="connsiteX50" fmla="*/ 2159000 w 2889264"/>
              <a:gd name="connsiteY50" fmla="*/ 348079 h 722729"/>
              <a:gd name="connsiteX51" fmla="*/ 2187575 w 2889264"/>
              <a:gd name="connsiteY51" fmla="*/ 367129 h 722729"/>
              <a:gd name="connsiteX52" fmla="*/ 2209800 w 2889264"/>
              <a:gd name="connsiteY52" fmla="*/ 383004 h 722729"/>
              <a:gd name="connsiteX53" fmla="*/ 2247900 w 2889264"/>
              <a:gd name="connsiteY53" fmla="*/ 408404 h 722729"/>
              <a:gd name="connsiteX54" fmla="*/ 2276475 w 2889264"/>
              <a:gd name="connsiteY54" fmla="*/ 424279 h 722729"/>
              <a:gd name="connsiteX55" fmla="*/ 2289175 w 2889264"/>
              <a:gd name="connsiteY55" fmla="*/ 433804 h 722729"/>
              <a:gd name="connsiteX56" fmla="*/ 2308225 w 2889264"/>
              <a:gd name="connsiteY56" fmla="*/ 436979 h 722729"/>
              <a:gd name="connsiteX57" fmla="*/ 2333625 w 2889264"/>
              <a:gd name="connsiteY57" fmla="*/ 449679 h 722729"/>
              <a:gd name="connsiteX58" fmla="*/ 2352675 w 2889264"/>
              <a:gd name="connsiteY58" fmla="*/ 456029 h 722729"/>
              <a:gd name="connsiteX59" fmla="*/ 2397125 w 2889264"/>
              <a:gd name="connsiteY59" fmla="*/ 478254 h 722729"/>
              <a:gd name="connsiteX60" fmla="*/ 2422525 w 2889264"/>
              <a:gd name="connsiteY60" fmla="*/ 484604 h 722729"/>
              <a:gd name="connsiteX61" fmla="*/ 2432050 w 2889264"/>
              <a:gd name="connsiteY61" fmla="*/ 487779 h 722729"/>
              <a:gd name="connsiteX62" fmla="*/ 2454275 w 2889264"/>
              <a:gd name="connsiteY62" fmla="*/ 500479 h 722729"/>
              <a:gd name="connsiteX63" fmla="*/ 2470150 w 2889264"/>
              <a:gd name="connsiteY63" fmla="*/ 513179 h 722729"/>
              <a:gd name="connsiteX64" fmla="*/ 2495550 w 2889264"/>
              <a:gd name="connsiteY64" fmla="*/ 522704 h 722729"/>
              <a:gd name="connsiteX65" fmla="*/ 2546350 w 2889264"/>
              <a:gd name="connsiteY65" fmla="*/ 548104 h 722729"/>
              <a:gd name="connsiteX66" fmla="*/ 2574925 w 2889264"/>
              <a:gd name="connsiteY66" fmla="*/ 554454 h 722729"/>
              <a:gd name="connsiteX67" fmla="*/ 2600325 w 2889264"/>
              <a:gd name="connsiteY67" fmla="*/ 567154 h 722729"/>
              <a:gd name="connsiteX68" fmla="*/ 2616200 w 2889264"/>
              <a:gd name="connsiteY68" fmla="*/ 570329 h 722729"/>
              <a:gd name="connsiteX69" fmla="*/ 2638425 w 2889264"/>
              <a:gd name="connsiteY69" fmla="*/ 576679 h 722729"/>
              <a:gd name="connsiteX70" fmla="*/ 2654300 w 2889264"/>
              <a:gd name="connsiteY70" fmla="*/ 586204 h 722729"/>
              <a:gd name="connsiteX71" fmla="*/ 2673350 w 2889264"/>
              <a:gd name="connsiteY71" fmla="*/ 592554 h 722729"/>
              <a:gd name="connsiteX72" fmla="*/ 2708275 w 2889264"/>
              <a:gd name="connsiteY72" fmla="*/ 614779 h 722729"/>
              <a:gd name="connsiteX73" fmla="*/ 2730500 w 2889264"/>
              <a:gd name="connsiteY73" fmla="*/ 624304 h 722729"/>
              <a:gd name="connsiteX74" fmla="*/ 2749550 w 2889264"/>
              <a:gd name="connsiteY74" fmla="*/ 640179 h 722729"/>
              <a:gd name="connsiteX75" fmla="*/ 2774950 w 2889264"/>
              <a:gd name="connsiteY75" fmla="*/ 652879 h 722729"/>
              <a:gd name="connsiteX76" fmla="*/ 2803525 w 2889264"/>
              <a:gd name="connsiteY76" fmla="*/ 665579 h 722729"/>
              <a:gd name="connsiteX77" fmla="*/ 2816225 w 2889264"/>
              <a:gd name="connsiteY77" fmla="*/ 675104 h 722729"/>
              <a:gd name="connsiteX78" fmla="*/ 2832100 w 2889264"/>
              <a:gd name="connsiteY78" fmla="*/ 681454 h 722729"/>
              <a:gd name="connsiteX79" fmla="*/ 2876550 w 2889264"/>
              <a:gd name="connsiteY79" fmla="*/ 713204 h 722729"/>
              <a:gd name="connsiteX80" fmla="*/ 2889250 w 2889264"/>
              <a:gd name="connsiteY80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562100 w 2889264"/>
              <a:gd name="connsiteY21" fmla="*/ 59154 h 722729"/>
              <a:gd name="connsiteX22" fmla="*/ 1574800 w 2889264"/>
              <a:gd name="connsiteY22" fmla="*/ 62329 h 722729"/>
              <a:gd name="connsiteX23" fmla="*/ 1590675 w 2889264"/>
              <a:gd name="connsiteY23" fmla="*/ 68679 h 722729"/>
              <a:gd name="connsiteX24" fmla="*/ 1600200 w 2889264"/>
              <a:gd name="connsiteY24" fmla="*/ 75029 h 722729"/>
              <a:gd name="connsiteX25" fmla="*/ 1612900 w 2889264"/>
              <a:gd name="connsiteY25" fmla="*/ 81379 h 722729"/>
              <a:gd name="connsiteX26" fmla="*/ 1635125 w 2889264"/>
              <a:gd name="connsiteY26" fmla="*/ 94079 h 722729"/>
              <a:gd name="connsiteX27" fmla="*/ 1676400 w 2889264"/>
              <a:gd name="connsiteY27" fmla="*/ 119479 h 722729"/>
              <a:gd name="connsiteX28" fmla="*/ 1689100 w 2889264"/>
              <a:gd name="connsiteY28" fmla="*/ 125829 h 722729"/>
              <a:gd name="connsiteX29" fmla="*/ 1714500 w 2889264"/>
              <a:gd name="connsiteY29" fmla="*/ 135354 h 722729"/>
              <a:gd name="connsiteX30" fmla="*/ 1727200 w 2889264"/>
              <a:gd name="connsiteY30" fmla="*/ 144879 h 722729"/>
              <a:gd name="connsiteX31" fmla="*/ 1758950 w 2889264"/>
              <a:gd name="connsiteY31" fmla="*/ 154404 h 722729"/>
              <a:gd name="connsiteX32" fmla="*/ 1768475 w 2889264"/>
              <a:gd name="connsiteY32" fmla="*/ 160754 h 722729"/>
              <a:gd name="connsiteX33" fmla="*/ 1781175 w 2889264"/>
              <a:gd name="connsiteY33" fmla="*/ 170279 h 722729"/>
              <a:gd name="connsiteX34" fmla="*/ 1793875 w 2889264"/>
              <a:gd name="connsiteY34" fmla="*/ 176629 h 722729"/>
              <a:gd name="connsiteX35" fmla="*/ 1838325 w 2889264"/>
              <a:gd name="connsiteY35" fmla="*/ 202029 h 722729"/>
              <a:gd name="connsiteX36" fmla="*/ 1847850 w 2889264"/>
              <a:gd name="connsiteY36" fmla="*/ 211554 h 722729"/>
              <a:gd name="connsiteX37" fmla="*/ 1885950 w 2889264"/>
              <a:gd name="connsiteY37" fmla="*/ 230604 h 722729"/>
              <a:gd name="connsiteX38" fmla="*/ 1901825 w 2889264"/>
              <a:gd name="connsiteY38" fmla="*/ 240129 h 722729"/>
              <a:gd name="connsiteX39" fmla="*/ 1933575 w 2889264"/>
              <a:gd name="connsiteY39" fmla="*/ 252829 h 722729"/>
              <a:gd name="connsiteX40" fmla="*/ 1962150 w 2889264"/>
              <a:gd name="connsiteY40" fmla="*/ 265529 h 722729"/>
              <a:gd name="connsiteX41" fmla="*/ 1971675 w 2889264"/>
              <a:gd name="connsiteY41" fmla="*/ 271879 h 722729"/>
              <a:gd name="connsiteX42" fmla="*/ 1987550 w 2889264"/>
              <a:gd name="connsiteY42" fmla="*/ 278229 h 722729"/>
              <a:gd name="connsiteX43" fmla="*/ 2022475 w 2889264"/>
              <a:gd name="connsiteY43" fmla="*/ 290929 h 722729"/>
              <a:gd name="connsiteX44" fmla="*/ 2047875 w 2889264"/>
              <a:gd name="connsiteY44" fmla="*/ 303629 h 722729"/>
              <a:gd name="connsiteX45" fmla="*/ 2063750 w 2889264"/>
              <a:gd name="connsiteY45" fmla="*/ 309979 h 722729"/>
              <a:gd name="connsiteX46" fmla="*/ 2082800 w 2889264"/>
              <a:gd name="connsiteY46" fmla="*/ 319504 h 722729"/>
              <a:gd name="connsiteX47" fmla="*/ 2095500 w 2889264"/>
              <a:gd name="connsiteY47" fmla="*/ 322679 h 722729"/>
              <a:gd name="connsiteX48" fmla="*/ 2124075 w 2889264"/>
              <a:gd name="connsiteY48" fmla="*/ 332204 h 722729"/>
              <a:gd name="connsiteX49" fmla="*/ 2159000 w 2889264"/>
              <a:gd name="connsiteY49" fmla="*/ 348079 h 722729"/>
              <a:gd name="connsiteX50" fmla="*/ 2187575 w 2889264"/>
              <a:gd name="connsiteY50" fmla="*/ 367129 h 722729"/>
              <a:gd name="connsiteX51" fmla="*/ 2209800 w 2889264"/>
              <a:gd name="connsiteY51" fmla="*/ 383004 h 722729"/>
              <a:gd name="connsiteX52" fmla="*/ 2247900 w 2889264"/>
              <a:gd name="connsiteY52" fmla="*/ 408404 h 722729"/>
              <a:gd name="connsiteX53" fmla="*/ 2276475 w 2889264"/>
              <a:gd name="connsiteY53" fmla="*/ 424279 h 722729"/>
              <a:gd name="connsiteX54" fmla="*/ 2289175 w 2889264"/>
              <a:gd name="connsiteY54" fmla="*/ 433804 h 722729"/>
              <a:gd name="connsiteX55" fmla="*/ 2308225 w 2889264"/>
              <a:gd name="connsiteY55" fmla="*/ 436979 h 722729"/>
              <a:gd name="connsiteX56" fmla="*/ 2333625 w 2889264"/>
              <a:gd name="connsiteY56" fmla="*/ 449679 h 722729"/>
              <a:gd name="connsiteX57" fmla="*/ 2352675 w 2889264"/>
              <a:gd name="connsiteY57" fmla="*/ 456029 h 722729"/>
              <a:gd name="connsiteX58" fmla="*/ 2397125 w 2889264"/>
              <a:gd name="connsiteY58" fmla="*/ 478254 h 722729"/>
              <a:gd name="connsiteX59" fmla="*/ 2422525 w 2889264"/>
              <a:gd name="connsiteY59" fmla="*/ 484604 h 722729"/>
              <a:gd name="connsiteX60" fmla="*/ 2432050 w 2889264"/>
              <a:gd name="connsiteY60" fmla="*/ 487779 h 722729"/>
              <a:gd name="connsiteX61" fmla="*/ 2454275 w 2889264"/>
              <a:gd name="connsiteY61" fmla="*/ 500479 h 722729"/>
              <a:gd name="connsiteX62" fmla="*/ 2470150 w 2889264"/>
              <a:gd name="connsiteY62" fmla="*/ 513179 h 722729"/>
              <a:gd name="connsiteX63" fmla="*/ 2495550 w 2889264"/>
              <a:gd name="connsiteY63" fmla="*/ 522704 h 722729"/>
              <a:gd name="connsiteX64" fmla="*/ 2546350 w 2889264"/>
              <a:gd name="connsiteY64" fmla="*/ 548104 h 722729"/>
              <a:gd name="connsiteX65" fmla="*/ 2574925 w 2889264"/>
              <a:gd name="connsiteY65" fmla="*/ 554454 h 722729"/>
              <a:gd name="connsiteX66" fmla="*/ 2600325 w 2889264"/>
              <a:gd name="connsiteY66" fmla="*/ 567154 h 722729"/>
              <a:gd name="connsiteX67" fmla="*/ 2616200 w 2889264"/>
              <a:gd name="connsiteY67" fmla="*/ 570329 h 722729"/>
              <a:gd name="connsiteX68" fmla="*/ 2638425 w 2889264"/>
              <a:gd name="connsiteY68" fmla="*/ 576679 h 722729"/>
              <a:gd name="connsiteX69" fmla="*/ 2654300 w 2889264"/>
              <a:gd name="connsiteY69" fmla="*/ 586204 h 722729"/>
              <a:gd name="connsiteX70" fmla="*/ 2673350 w 2889264"/>
              <a:gd name="connsiteY70" fmla="*/ 592554 h 722729"/>
              <a:gd name="connsiteX71" fmla="*/ 2708275 w 2889264"/>
              <a:gd name="connsiteY71" fmla="*/ 614779 h 722729"/>
              <a:gd name="connsiteX72" fmla="*/ 2730500 w 2889264"/>
              <a:gd name="connsiteY72" fmla="*/ 624304 h 722729"/>
              <a:gd name="connsiteX73" fmla="*/ 2749550 w 2889264"/>
              <a:gd name="connsiteY73" fmla="*/ 640179 h 722729"/>
              <a:gd name="connsiteX74" fmla="*/ 2774950 w 2889264"/>
              <a:gd name="connsiteY74" fmla="*/ 652879 h 722729"/>
              <a:gd name="connsiteX75" fmla="*/ 2803525 w 2889264"/>
              <a:gd name="connsiteY75" fmla="*/ 665579 h 722729"/>
              <a:gd name="connsiteX76" fmla="*/ 2816225 w 2889264"/>
              <a:gd name="connsiteY76" fmla="*/ 675104 h 722729"/>
              <a:gd name="connsiteX77" fmla="*/ 2832100 w 2889264"/>
              <a:gd name="connsiteY77" fmla="*/ 681454 h 722729"/>
              <a:gd name="connsiteX78" fmla="*/ 2876550 w 2889264"/>
              <a:gd name="connsiteY78" fmla="*/ 713204 h 722729"/>
              <a:gd name="connsiteX79" fmla="*/ 2889250 w 2889264"/>
              <a:gd name="connsiteY79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562100 w 2889264"/>
              <a:gd name="connsiteY21" fmla="*/ 59154 h 722729"/>
              <a:gd name="connsiteX22" fmla="*/ 1574800 w 2889264"/>
              <a:gd name="connsiteY22" fmla="*/ 62329 h 722729"/>
              <a:gd name="connsiteX23" fmla="*/ 1590675 w 2889264"/>
              <a:gd name="connsiteY23" fmla="*/ 68679 h 722729"/>
              <a:gd name="connsiteX24" fmla="*/ 1600200 w 2889264"/>
              <a:gd name="connsiteY24" fmla="*/ 75029 h 722729"/>
              <a:gd name="connsiteX25" fmla="*/ 1612900 w 2889264"/>
              <a:gd name="connsiteY25" fmla="*/ 81379 h 722729"/>
              <a:gd name="connsiteX26" fmla="*/ 1635125 w 2889264"/>
              <a:gd name="connsiteY26" fmla="*/ 94079 h 722729"/>
              <a:gd name="connsiteX27" fmla="*/ 1676400 w 2889264"/>
              <a:gd name="connsiteY27" fmla="*/ 119479 h 722729"/>
              <a:gd name="connsiteX28" fmla="*/ 1714500 w 2889264"/>
              <a:gd name="connsiteY28" fmla="*/ 135354 h 722729"/>
              <a:gd name="connsiteX29" fmla="*/ 1727200 w 2889264"/>
              <a:gd name="connsiteY29" fmla="*/ 144879 h 722729"/>
              <a:gd name="connsiteX30" fmla="*/ 1758950 w 2889264"/>
              <a:gd name="connsiteY30" fmla="*/ 154404 h 722729"/>
              <a:gd name="connsiteX31" fmla="*/ 1768475 w 2889264"/>
              <a:gd name="connsiteY31" fmla="*/ 160754 h 722729"/>
              <a:gd name="connsiteX32" fmla="*/ 1781175 w 2889264"/>
              <a:gd name="connsiteY32" fmla="*/ 170279 h 722729"/>
              <a:gd name="connsiteX33" fmla="*/ 1793875 w 2889264"/>
              <a:gd name="connsiteY33" fmla="*/ 176629 h 722729"/>
              <a:gd name="connsiteX34" fmla="*/ 1838325 w 2889264"/>
              <a:gd name="connsiteY34" fmla="*/ 202029 h 722729"/>
              <a:gd name="connsiteX35" fmla="*/ 1847850 w 2889264"/>
              <a:gd name="connsiteY35" fmla="*/ 211554 h 722729"/>
              <a:gd name="connsiteX36" fmla="*/ 1885950 w 2889264"/>
              <a:gd name="connsiteY36" fmla="*/ 230604 h 722729"/>
              <a:gd name="connsiteX37" fmla="*/ 1901825 w 2889264"/>
              <a:gd name="connsiteY37" fmla="*/ 240129 h 722729"/>
              <a:gd name="connsiteX38" fmla="*/ 1933575 w 2889264"/>
              <a:gd name="connsiteY38" fmla="*/ 252829 h 722729"/>
              <a:gd name="connsiteX39" fmla="*/ 1962150 w 2889264"/>
              <a:gd name="connsiteY39" fmla="*/ 265529 h 722729"/>
              <a:gd name="connsiteX40" fmla="*/ 1971675 w 2889264"/>
              <a:gd name="connsiteY40" fmla="*/ 271879 h 722729"/>
              <a:gd name="connsiteX41" fmla="*/ 1987550 w 2889264"/>
              <a:gd name="connsiteY41" fmla="*/ 278229 h 722729"/>
              <a:gd name="connsiteX42" fmla="*/ 2022475 w 2889264"/>
              <a:gd name="connsiteY42" fmla="*/ 290929 h 722729"/>
              <a:gd name="connsiteX43" fmla="*/ 2047875 w 2889264"/>
              <a:gd name="connsiteY43" fmla="*/ 303629 h 722729"/>
              <a:gd name="connsiteX44" fmla="*/ 2063750 w 2889264"/>
              <a:gd name="connsiteY44" fmla="*/ 309979 h 722729"/>
              <a:gd name="connsiteX45" fmla="*/ 2082800 w 2889264"/>
              <a:gd name="connsiteY45" fmla="*/ 319504 h 722729"/>
              <a:gd name="connsiteX46" fmla="*/ 2095500 w 2889264"/>
              <a:gd name="connsiteY46" fmla="*/ 322679 h 722729"/>
              <a:gd name="connsiteX47" fmla="*/ 2124075 w 2889264"/>
              <a:gd name="connsiteY47" fmla="*/ 332204 h 722729"/>
              <a:gd name="connsiteX48" fmla="*/ 2159000 w 2889264"/>
              <a:gd name="connsiteY48" fmla="*/ 348079 h 722729"/>
              <a:gd name="connsiteX49" fmla="*/ 2187575 w 2889264"/>
              <a:gd name="connsiteY49" fmla="*/ 367129 h 722729"/>
              <a:gd name="connsiteX50" fmla="*/ 2209800 w 2889264"/>
              <a:gd name="connsiteY50" fmla="*/ 383004 h 722729"/>
              <a:gd name="connsiteX51" fmla="*/ 2247900 w 2889264"/>
              <a:gd name="connsiteY51" fmla="*/ 408404 h 722729"/>
              <a:gd name="connsiteX52" fmla="*/ 2276475 w 2889264"/>
              <a:gd name="connsiteY52" fmla="*/ 424279 h 722729"/>
              <a:gd name="connsiteX53" fmla="*/ 2289175 w 2889264"/>
              <a:gd name="connsiteY53" fmla="*/ 433804 h 722729"/>
              <a:gd name="connsiteX54" fmla="*/ 2308225 w 2889264"/>
              <a:gd name="connsiteY54" fmla="*/ 436979 h 722729"/>
              <a:gd name="connsiteX55" fmla="*/ 2333625 w 2889264"/>
              <a:gd name="connsiteY55" fmla="*/ 449679 h 722729"/>
              <a:gd name="connsiteX56" fmla="*/ 2352675 w 2889264"/>
              <a:gd name="connsiteY56" fmla="*/ 456029 h 722729"/>
              <a:gd name="connsiteX57" fmla="*/ 2397125 w 2889264"/>
              <a:gd name="connsiteY57" fmla="*/ 478254 h 722729"/>
              <a:gd name="connsiteX58" fmla="*/ 2422525 w 2889264"/>
              <a:gd name="connsiteY58" fmla="*/ 484604 h 722729"/>
              <a:gd name="connsiteX59" fmla="*/ 2432050 w 2889264"/>
              <a:gd name="connsiteY59" fmla="*/ 487779 h 722729"/>
              <a:gd name="connsiteX60" fmla="*/ 2454275 w 2889264"/>
              <a:gd name="connsiteY60" fmla="*/ 500479 h 722729"/>
              <a:gd name="connsiteX61" fmla="*/ 2470150 w 2889264"/>
              <a:gd name="connsiteY61" fmla="*/ 513179 h 722729"/>
              <a:gd name="connsiteX62" fmla="*/ 2495550 w 2889264"/>
              <a:gd name="connsiteY62" fmla="*/ 522704 h 722729"/>
              <a:gd name="connsiteX63" fmla="*/ 2546350 w 2889264"/>
              <a:gd name="connsiteY63" fmla="*/ 548104 h 722729"/>
              <a:gd name="connsiteX64" fmla="*/ 2574925 w 2889264"/>
              <a:gd name="connsiteY64" fmla="*/ 554454 h 722729"/>
              <a:gd name="connsiteX65" fmla="*/ 2600325 w 2889264"/>
              <a:gd name="connsiteY65" fmla="*/ 567154 h 722729"/>
              <a:gd name="connsiteX66" fmla="*/ 2616200 w 2889264"/>
              <a:gd name="connsiteY66" fmla="*/ 570329 h 722729"/>
              <a:gd name="connsiteX67" fmla="*/ 2638425 w 2889264"/>
              <a:gd name="connsiteY67" fmla="*/ 576679 h 722729"/>
              <a:gd name="connsiteX68" fmla="*/ 2654300 w 2889264"/>
              <a:gd name="connsiteY68" fmla="*/ 586204 h 722729"/>
              <a:gd name="connsiteX69" fmla="*/ 2673350 w 2889264"/>
              <a:gd name="connsiteY69" fmla="*/ 592554 h 722729"/>
              <a:gd name="connsiteX70" fmla="*/ 2708275 w 2889264"/>
              <a:gd name="connsiteY70" fmla="*/ 614779 h 722729"/>
              <a:gd name="connsiteX71" fmla="*/ 2730500 w 2889264"/>
              <a:gd name="connsiteY71" fmla="*/ 624304 h 722729"/>
              <a:gd name="connsiteX72" fmla="*/ 2749550 w 2889264"/>
              <a:gd name="connsiteY72" fmla="*/ 640179 h 722729"/>
              <a:gd name="connsiteX73" fmla="*/ 2774950 w 2889264"/>
              <a:gd name="connsiteY73" fmla="*/ 652879 h 722729"/>
              <a:gd name="connsiteX74" fmla="*/ 2803525 w 2889264"/>
              <a:gd name="connsiteY74" fmla="*/ 665579 h 722729"/>
              <a:gd name="connsiteX75" fmla="*/ 2816225 w 2889264"/>
              <a:gd name="connsiteY75" fmla="*/ 675104 h 722729"/>
              <a:gd name="connsiteX76" fmla="*/ 2832100 w 2889264"/>
              <a:gd name="connsiteY76" fmla="*/ 681454 h 722729"/>
              <a:gd name="connsiteX77" fmla="*/ 2876550 w 2889264"/>
              <a:gd name="connsiteY77" fmla="*/ 713204 h 722729"/>
              <a:gd name="connsiteX78" fmla="*/ 2889250 w 2889264"/>
              <a:gd name="connsiteY78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574800 w 2889264"/>
              <a:gd name="connsiteY21" fmla="*/ 62329 h 722729"/>
              <a:gd name="connsiteX22" fmla="*/ 1590675 w 2889264"/>
              <a:gd name="connsiteY22" fmla="*/ 68679 h 722729"/>
              <a:gd name="connsiteX23" fmla="*/ 1600200 w 2889264"/>
              <a:gd name="connsiteY23" fmla="*/ 75029 h 722729"/>
              <a:gd name="connsiteX24" fmla="*/ 1612900 w 2889264"/>
              <a:gd name="connsiteY24" fmla="*/ 81379 h 722729"/>
              <a:gd name="connsiteX25" fmla="*/ 1635125 w 2889264"/>
              <a:gd name="connsiteY25" fmla="*/ 94079 h 722729"/>
              <a:gd name="connsiteX26" fmla="*/ 1676400 w 2889264"/>
              <a:gd name="connsiteY26" fmla="*/ 119479 h 722729"/>
              <a:gd name="connsiteX27" fmla="*/ 1714500 w 2889264"/>
              <a:gd name="connsiteY27" fmla="*/ 135354 h 722729"/>
              <a:gd name="connsiteX28" fmla="*/ 1727200 w 2889264"/>
              <a:gd name="connsiteY28" fmla="*/ 144879 h 722729"/>
              <a:gd name="connsiteX29" fmla="*/ 1758950 w 2889264"/>
              <a:gd name="connsiteY29" fmla="*/ 154404 h 722729"/>
              <a:gd name="connsiteX30" fmla="*/ 1768475 w 2889264"/>
              <a:gd name="connsiteY30" fmla="*/ 160754 h 722729"/>
              <a:gd name="connsiteX31" fmla="*/ 1781175 w 2889264"/>
              <a:gd name="connsiteY31" fmla="*/ 170279 h 722729"/>
              <a:gd name="connsiteX32" fmla="*/ 1793875 w 2889264"/>
              <a:gd name="connsiteY32" fmla="*/ 176629 h 722729"/>
              <a:gd name="connsiteX33" fmla="*/ 1838325 w 2889264"/>
              <a:gd name="connsiteY33" fmla="*/ 202029 h 722729"/>
              <a:gd name="connsiteX34" fmla="*/ 1847850 w 2889264"/>
              <a:gd name="connsiteY34" fmla="*/ 211554 h 722729"/>
              <a:gd name="connsiteX35" fmla="*/ 1885950 w 2889264"/>
              <a:gd name="connsiteY35" fmla="*/ 230604 h 722729"/>
              <a:gd name="connsiteX36" fmla="*/ 1901825 w 2889264"/>
              <a:gd name="connsiteY36" fmla="*/ 240129 h 722729"/>
              <a:gd name="connsiteX37" fmla="*/ 1933575 w 2889264"/>
              <a:gd name="connsiteY37" fmla="*/ 252829 h 722729"/>
              <a:gd name="connsiteX38" fmla="*/ 1962150 w 2889264"/>
              <a:gd name="connsiteY38" fmla="*/ 265529 h 722729"/>
              <a:gd name="connsiteX39" fmla="*/ 1971675 w 2889264"/>
              <a:gd name="connsiteY39" fmla="*/ 271879 h 722729"/>
              <a:gd name="connsiteX40" fmla="*/ 1987550 w 2889264"/>
              <a:gd name="connsiteY40" fmla="*/ 278229 h 722729"/>
              <a:gd name="connsiteX41" fmla="*/ 2022475 w 2889264"/>
              <a:gd name="connsiteY41" fmla="*/ 290929 h 722729"/>
              <a:gd name="connsiteX42" fmla="*/ 2047875 w 2889264"/>
              <a:gd name="connsiteY42" fmla="*/ 303629 h 722729"/>
              <a:gd name="connsiteX43" fmla="*/ 2063750 w 2889264"/>
              <a:gd name="connsiteY43" fmla="*/ 309979 h 722729"/>
              <a:gd name="connsiteX44" fmla="*/ 2082800 w 2889264"/>
              <a:gd name="connsiteY44" fmla="*/ 319504 h 722729"/>
              <a:gd name="connsiteX45" fmla="*/ 2095500 w 2889264"/>
              <a:gd name="connsiteY45" fmla="*/ 322679 h 722729"/>
              <a:gd name="connsiteX46" fmla="*/ 2124075 w 2889264"/>
              <a:gd name="connsiteY46" fmla="*/ 332204 h 722729"/>
              <a:gd name="connsiteX47" fmla="*/ 2159000 w 2889264"/>
              <a:gd name="connsiteY47" fmla="*/ 348079 h 722729"/>
              <a:gd name="connsiteX48" fmla="*/ 2187575 w 2889264"/>
              <a:gd name="connsiteY48" fmla="*/ 367129 h 722729"/>
              <a:gd name="connsiteX49" fmla="*/ 2209800 w 2889264"/>
              <a:gd name="connsiteY49" fmla="*/ 383004 h 722729"/>
              <a:gd name="connsiteX50" fmla="*/ 2247900 w 2889264"/>
              <a:gd name="connsiteY50" fmla="*/ 408404 h 722729"/>
              <a:gd name="connsiteX51" fmla="*/ 2276475 w 2889264"/>
              <a:gd name="connsiteY51" fmla="*/ 424279 h 722729"/>
              <a:gd name="connsiteX52" fmla="*/ 2289175 w 2889264"/>
              <a:gd name="connsiteY52" fmla="*/ 433804 h 722729"/>
              <a:gd name="connsiteX53" fmla="*/ 2308225 w 2889264"/>
              <a:gd name="connsiteY53" fmla="*/ 436979 h 722729"/>
              <a:gd name="connsiteX54" fmla="*/ 2333625 w 2889264"/>
              <a:gd name="connsiteY54" fmla="*/ 449679 h 722729"/>
              <a:gd name="connsiteX55" fmla="*/ 2352675 w 2889264"/>
              <a:gd name="connsiteY55" fmla="*/ 456029 h 722729"/>
              <a:gd name="connsiteX56" fmla="*/ 2397125 w 2889264"/>
              <a:gd name="connsiteY56" fmla="*/ 478254 h 722729"/>
              <a:gd name="connsiteX57" fmla="*/ 2422525 w 2889264"/>
              <a:gd name="connsiteY57" fmla="*/ 484604 h 722729"/>
              <a:gd name="connsiteX58" fmla="*/ 2432050 w 2889264"/>
              <a:gd name="connsiteY58" fmla="*/ 487779 h 722729"/>
              <a:gd name="connsiteX59" fmla="*/ 2454275 w 2889264"/>
              <a:gd name="connsiteY59" fmla="*/ 500479 h 722729"/>
              <a:gd name="connsiteX60" fmla="*/ 2470150 w 2889264"/>
              <a:gd name="connsiteY60" fmla="*/ 513179 h 722729"/>
              <a:gd name="connsiteX61" fmla="*/ 2495550 w 2889264"/>
              <a:gd name="connsiteY61" fmla="*/ 522704 h 722729"/>
              <a:gd name="connsiteX62" fmla="*/ 2546350 w 2889264"/>
              <a:gd name="connsiteY62" fmla="*/ 548104 h 722729"/>
              <a:gd name="connsiteX63" fmla="*/ 2574925 w 2889264"/>
              <a:gd name="connsiteY63" fmla="*/ 554454 h 722729"/>
              <a:gd name="connsiteX64" fmla="*/ 2600325 w 2889264"/>
              <a:gd name="connsiteY64" fmla="*/ 567154 h 722729"/>
              <a:gd name="connsiteX65" fmla="*/ 2616200 w 2889264"/>
              <a:gd name="connsiteY65" fmla="*/ 570329 h 722729"/>
              <a:gd name="connsiteX66" fmla="*/ 2638425 w 2889264"/>
              <a:gd name="connsiteY66" fmla="*/ 576679 h 722729"/>
              <a:gd name="connsiteX67" fmla="*/ 2654300 w 2889264"/>
              <a:gd name="connsiteY67" fmla="*/ 586204 h 722729"/>
              <a:gd name="connsiteX68" fmla="*/ 2673350 w 2889264"/>
              <a:gd name="connsiteY68" fmla="*/ 592554 h 722729"/>
              <a:gd name="connsiteX69" fmla="*/ 2708275 w 2889264"/>
              <a:gd name="connsiteY69" fmla="*/ 614779 h 722729"/>
              <a:gd name="connsiteX70" fmla="*/ 2730500 w 2889264"/>
              <a:gd name="connsiteY70" fmla="*/ 624304 h 722729"/>
              <a:gd name="connsiteX71" fmla="*/ 2749550 w 2889264"/>
              <a:gd name="connsiteY71" fmla="*/ 640179 h 722729"/>
              <a:gd name="connsiteX72" fmla="*/ 2774950 w 2889264"/>
              <a:gd name="connsiteY72" fmla="*/ 652879 h 722729"/>
              <a:gd name="connsiteX73" fmla="*/ 2803525 w 2889264"/>
              <a:gd name="connsiteY73" fmla="*/ 665579 h 722729"/>
              <a:gd name="connsiteX74" fmla="*/ 2816225 w 2889264"/>
              <a:gd name="connsiteY74" fmla="*/ 675104 h 722729"/>
              <a:gd name="connsiteX75" fmla="*/ 2832100 w 2889264"/>
              <a:gd name="connsiteY75" fmla="*/ 681454 h 722729"/>
              <a:gd name="connsiteX76" fmla="*/ 2876550 w 2889264"/>
              <a:gd name="connsiteY76" fmla="*/ 713204 h 722729"/>
              <a:gd name="connsiteX77" fmla="*/ 2889250 w 2889264"/>
              <a:gd name="connsiteY77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574800 w 2889264"/>
              <a:gd name="connsiteY21" fmla="*/ 62329 h 722729"/>
              <a:gd name="connsiteX22" fmla="*/ 1600200 w 2889264"/>
              <a:gd name="connsiteY22" fmla="*/ 75029 h 722729"/>
              <a:gd name="connsiteX23" fmla="*/ 1612900 w 2889264"/>
              <a:gd name="connsiteY23" fmla="*/ 81379 h 722729"/>
              <a:gd name="connsiteX24" fmla="*/ 1635125 w 2889264"/>
              <a:gd name="connsiteY24" fmla="*/ 94079 h 722729"/>
              <a:gd name="connsiteX25" fmla="*/ 1676400 w 2889264"/>
              <a:gd name="connsiteY25" fmla="*/ 119479 h 722729"/>
              <a:gd name="connsiteX26" fmla="*/ 1714500 w 2889264"/>
              <a:gd name="connsiteY26" fmla="*/ 135354 h 722729"/>
              <a:gd name="connsiteX27" fmla="*/ 1727200 w 2889264"/>
              <a:gd name="connsiteY27" fmla="*/ 144879 h 722729"/>
              <a:gd name="connsiteX28" fmla="*/ 1758950 w 2889264"/>
              <a:gd name="connsiteY28" fmla="*/ 154404 h 722729"/>
              <a:gd name="connsiteX29" fmla="*/ 1768475 w 2889264"/>
              <a:gd name="connsiteY29" fmla="*/ 160754 h 722729"/>
              <a:gd name="connsiteX30" fmla="*/ 1781175 w 2889264"/>
              <a:gd name="connsiteY30" fmla="*/ 170279 h 722729"/>
              <a:gd name="connsiteX31" fmla="*/ 1793875 w 2889264"/>
              <a:gd name="connsiteY31" fmla="*/ 176629 h 722729"/>
              <a:gd name="connsiteX32" fmla="*/ 1838325 w 2889264"/>
              <a:gd name="connsiteY32" fmla="*/ 202029 h 722729"/>
              <a:gd name="connsiteX33" fmla="*/ 1847850 w 2889264"/>
              <a:gd name="connsiteY33" fmla="*/ 211554 h 722729"/>
              <a:gd name="connsiteX34" fmla="*/ 1885950 w 2889264"/>
              <a:gd name="connsiteY34" fmla="*/ 230604 h 722729"/>
              <a:gd name="connsiteX35" fmla="*/ 1901825 w 2889264"/>
              <a:gd name="connsiteY35" fmla="*/ 240129 h 722729"/>
              <a:gd name="connsiteX36" fmla="*/ 1933575 w 2889264"/>
              <a:gd name="connsiteY36" fmla="*/ 252829 h 722729"/>
              <a:gd name="connsiteX37" fmla="*/ 1962150 w 2889264"/>
              <a:gd name="connsiteY37" fmla="*/ 265529 h 722729"/>
              <a:gd name="connsiteX38" fmla="*/ 1971675 w 2889264"/>
              <a:gd name="connsiteY38" fmla="*/ 271879 h 722729"/>
              <a:gd name="connsiteX39" fmla="*/ 1987550 w 2889264"/>
              <a:gd name="connsiteY39" fmla="*/ 278229 h 722729"/>
              <a:gd name="connsiteX40" fmla="*/ 2022475 w 2889264"/>
              <a:gd name="connsiteY40" fmla="*/ 290929 h 722729"/>
              <a:gd name="connsiteX41" fmla="*/ 2047875 w 2889264"/>
              <a:gd name="connsiteY41" fmla="*/ 303629 h 722729"/>
              <a:gd name="connsiteX42" fmla="*/ 2063750 w 2889264"/>
              <a:gd name="connsiteY42" fmla="*/ 309979 h 722729"/>
              <a:gd name="connsiteX43" fmla="*/ 2082800 w 2889264"/>
              <a:gd name="connsiteY43" fmla="*/ 319504 h 722729"/>
              <a:gd name="connsiteX44" fmla="*/ 2095500 w 2889264"/>
              <a:gd name="connsiteY44" fmla="*/ 322679 h 722729"/>
              <a:gd name="connsiteX45" fmla="*/ 2124075 w 2889264"/>
              <a:gd name="connsiteY45" fmla="*/ 332204 h 722729"/>
              <a:gd name="connsiteX46" fmla="*/ 2159000 w 2889264"/>
              <a:gd name="connsiteY46" fmla="*/ 348079 h 722729"/>
              <a:gd name="connsiteX47" fmla="*/ 2187575 w 2889264"/>
              <a:gd name="connsiteY47" fmla="*/ 367129 h 722729"/>
              <a:gd name="connsiteX48" fmla="*/ 2209800 w 2889264"/>
              <a:gd name="connsiteY48" fmla="*/ 383004 h 722729"/>
              <a:gd name="connsiteX49" fmla="*/ 2247900 w 2889264"/>
              <a:gd name="connsiteY49" fmla="*/ 408404 h 722729"/>
              <a:gd name="connsiteX50" fmla="*/ 2276475 w 2889264"/>
              <a:gd name="connsiteY50" fmla="*/ 424279 h 722729"/>
              <a:gd name="connsiteX51" fmla="*/ 2289175 w 2889264"/>
              <a:gd name="connsiteY51" fmla="*/ 433804 h 722729"/>
              <a:gd name="connsiteX52" fmla="*/ 2308225 w 2889264"/>
              <a:gd name="connsiteY52" fmla="*/ 436979 h 722729"/>
              <a:gd name="connsiteX53" fmla="*/ 2333625 w 2889264"/>
              <a:gd name="connsiteY53" fmla="*/ 449679 h 722729"/>
              <a:gd name="connsiteX54" fmla="*/ 2352675 w 2889264"/>
              <a:gd name="connsiteY54" fmla="*/ 456029 h 722729"/>
              <a:gd name="connsiteX55" fmla="*/ 2397125 w 2889264"/>
              <a:gd name="connsiteY55" fmla="*/ 478254 h 722729"/>
              <a:gd name="connsiteX56" fmla="*/ 2422525 w 2889264"/>
              <a:gd name="connsiteY56" fmla="*/ 484604 h 722729"/>
              <a:gd name="connsiteX57" fmla="*/ 2432050 w 2889264"/>
              <a:gd name="connsiteY57" fmla="*/ 487779 h 722729"/>
              <a:gd name="connsiteX58" fmla="*/ 2454275 w 2889264"/>
              <a:gd name="connsiteY58" fmla="*/ 500479 h 722729"/>
              <a:gd name="connsiteX59" fmla="*/ 2470150 w 2889264"/>
              <a:gd name="connsiteY59" fmla="*/ 513179 h 722729"/>
              <a:gd name="connsiteX60" fmla="*/ 2495550 w 2889264"/>
              <a:gd name="connsiteY60" fmla="*/ 522704 h 722729"/>
              <a:gd name="connsiteX61" fmla="*/ 2546350 w 2889264"/>
              <a:gd name="connsiteY61" fmla="*/ 548104 h 722729"/>
              <a:gd name="connsiteX62" fmla="*/ 2574925 w 2889264"/>
              <a:gd name="connsiteY62" fmla="*/ 554454 h 722729"/>
              <a:gd name="connsiteX63" fmla="*/ 2600325 w 2889264"/>
              <a:gd name="connsiteY63" fmla="*/ 567154 h 722729"/>
              <a:gd name="connsiteX64" fmla="*/ 2616200 w 2889264"/>
              <a:gd name="connsiteY64" fmla="*/ 570329 h 722729"/>
              <a:gd name="connsiteX65" fmla="*/ 2638425 w 2889264"/>
              <a:gd name="connsiteY65" fmla="*/ 576679 h 722729"/>
              <a:gd name="connsiteX66" fmla="*/ 2654300 w 2889264"/>
              <a:gd name="connsiteY66" fmla="*/ 586204 h 722729"/>
              <a:gd name="connsiteX67" fmla="*/ 2673350 w 2889264"/>
              <a:gd name="connsiteY67" fmla="*/ 592554 h 722729"/>
              <a:gd name="connsiteX68" fmla="*/ 2708275 w 2889264"/>
              <a:gd name="connsiteY68" fmla="*/ 614779 h 722729"/>
              <a:gd name="connsiteX69" fmla="*/ 2730500 w 2889264"/>
              <a:gd name="connsiteY69" fmla="*/ 624304 h 722729"/>
              <a:gd name="connsiteX70" fmla="*/ 2749550 w 2889264"/>
              <a:gd name="connsiteY70" fmla="*/ 640179 h 722729"/>
              <a:gd name="connsiteX71" fmla="*/ 2774950 w 2889264"/>
              <a:gd name="connsiteY71" fmla="*/ 652879 h 722729"/>
              <a:gd name="connsiteX72" fmla="*/ 2803525 w 2889264"/>
              <a:gd name="connsiteY72" fmla="*/ 665579 h 722729"/>
              <a:gd name="connsiteX73" fmla="*/ 2816225 w 2889264"/>
              <a:gd name="connsiteY73" fmla="*/ 675104 h 722729"/>
              <a:gd name="connsiteX74" fmla="*/ 2832100 w 2889264"/>
              <a:gd name="connsiteY74" fmla="*/ 681454 h 722729"/>
              <a:gd name="connsiteX75" fmla="*/ 2876550 w 2889264"/>
              <a:gd name="connsiteY75" fmla="*/ 713204 h 722729"/>
              <a:gd name="connsiteX76" fmla="*/ 2889250 w 2889264"/>
              <a:gd name="connsiteY76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574800 w 2889264"/>
              <a:gd name="connsiteY21" fmla="*/ 62329 h 722729"/>
              <a:gd name="connsiteX22" fmla="*/ 1600200 w 2889264"/>
              <a:gd name="connsiteY22" fmla="*/ 75029 h 722729"/>
              <a:gd name="connsiteX23" fmla="*/ 1635125 w 2889264"/>
              <a:gd name="connsiteY23" fmla="*/ 94079 h 722729"/>
              <a:gd name="connsiteX24" fmla="*/ 1676400 w 2889264"/>
              <a:gd name="connsiteY24" fmla="*/ 119479 h 722729"/>
              <a:gd name="connsiteX25" fmla="*/ 1714500 w 2889264"/>
              <a:gd name="connsiteY25" fmla="*/ 135354 h 722729"/>
              <a:gd name="connsiteX26" fmla="*/ 1727200 w 2889264"/>
              <a:gd name="connsiteY26" fmla="*/ 144879 h 722729"/>
              <a:gd name="connsiteX27" fmla="*/ 1758950 w 2889264"/>
              <a:gd name="connsiteY27" fmla="*/ 154404 h 722729"/>
              <a:gd name="connsiteX28" fmla="*/ 1768475 w 2889264"/>
              <a:gd name="connsiteY28" fmla="*/ 160754 h 722729"/>
              <a:gd name="connsiteX29" fmla="*/ 1781175 w 2889264"/>
              <a:gd name="connsiteY29" fmla="*/ 170279 h 722729"/>
              <a:gd name="connsiteX30" fmla="*/ 1793875 w 2889264"/>
              <a:gd name="connsiteY30" fmla="*/ 176629 h 722729"/>
              <a:gd name="connsiteX31" fmla="*/ 1838325 w 2889264"/>
              <a:gd name="connsiteY31" fmla="*/ 202029 h 722729"/>
              <a:gd name="connsiteX32" fmla="*/ 1847850 w 2889264"/>
              <a:gd name="connsiteY32" fmla="*/ 211554 h 722729"/>
              <a:gd name="connsiteX33" fmla="*/ 1885950 w 2889264"/>
              <a:gd name="connsiteY33" fmla="*/ 230604 h 722729"/>
              <a:gd name="connsiteX34" fmla="*/ 1901825 w 2889264"/>
              <a:gd name="connsiteY34" fmla="*/ 240129 h 722729"/>
              <a:gd name="connsiteX35" fmla="*/ 1933575 w 2889264"/>
              <a:gd name="connsiteY35" fmla="*/ 252829 h 722729"/>
              <a:gd name="connsiteX36" fmla="*/ 1962150 w 2889264"/>
              <a:gd name="connsiteY36" fmla="*/ 265529 h 722729"/>
              <a:gd name="connsiteX37" fmla="*/ 1971675 w 2889264"/>
              <a:gd name="connsiteY37" fmla="*/ 271879 h 722729"/>
              <a:gd name="connsiteX38" fmla="*/ 1987550 w 2889264"/>
              <a:gd name="connsiteY38" fmla="*/ 278229 h 722729"/>
              <a:gd name="connsiteX39" fmla="*/ 2022475 w 2889264"/>
              <a:gd name="connsiteY39" fmla="*/ 290929 h 722729"/>
              <a:gd name="connsiteX40" fmla="*/ 2047875 w 2889264"/>
              <a:gd name="connsiteY40" fmla="*/ 303629 h 722729"/>
              <a:gd name="connsiteX41" fmla="*/ 2063750 w 2889264"/>
              <a:gd name="connsiteY41" fmla="*/ 309979 h 722729"/>
              <a:gd name="connsiteX42" fmla="*/ 2082800 w 2889264"/>
              <a:gd name="connsiteY42" fmla="*/ 319504 h 722729"/>
              <a:gd name="connsiteX43" fmla="*/ 2095500 w 2889264"/>
              <a:gd name="connsiteY43" fmla="*/ 322679 h 722729"/>
              <a:gd name="connsiteX44" fmla="*/ 2124075 w 2889264"/>
              <a:gd name="connsiteY44" fmla="*/ 332204 h 722729"/>
              <a:gd name="connsiteX45" fmla="*/ 2159000 w 2889264"/>
              <a:gd name="connsiteY45" fmla="*/ 348079 h 722729"/>
              <a:gd name="connsiteX46" fmla="*/ 2187575 w 2889264"/>
              <a:gd name="connsiteY46" fmla="*/ 367129 h 722729"/>
              <a:gd name="connsiteX47" fmla="*/ 2209800 w 2889264"/>
              <a:gd name="connsiteY47" fmla="*/ 383004 h 722729"/>
              <a:gd name="connsiteX48" fmla="*/ 2247900 w 2889264"/>
              <a:gd name="connsiteY48" fmla="*/ 408404 h 722729"/>
              <a:gd name="connsiteX49" fmla="*/ 2276475 w 2889264"/>
              <a:gd name="connsiteY49" fmla="*/ 424279 h 722729"/>
              <a:gd name="connsiteX50" fmla="*/ 2289175 w 2889264"/>
              <a:gd name="connsiteY50" fmla="*/ 433804 h 722729"/>
              <a:gd name="connsiteX51" fmla="*/ 2308225 w 2889264"/>
              <a:gd name="connsiteY51" fmla="*/ 436979 h 722729"/>
              <a:gd name="connsiteX52" fmla="*/ 2333625 w 2889264"/>
              <a:gd name="connsiteY52" fmla="*/ 449679 h 722729"/>
              <a:gd name="connsiteX53" fmla="*/ 2352675 w 2889264"/>
              <a:gd name="connsiteY53" fmla="*/ 456029 h 722729"/>
              <a:gd name="connsiteX54" fmla="*/ 2397125 w 2889264"/>
              <a:gd name="connsiteY54" fmla="*/ 478254 h 722729"/>
              <a:gd name="connsiteX55" fmla="*/ 2422525 w 2889264"/>
              <a:gd name="connsiteY55" fmla="*/ 484604 h 722729"/>
              <a:gd name="connsiteX56" fmla="*/ 2432050 w 2889264"/>
              <a:gd name="connsiteY56" fmla="*/ 487779 h 722729"/>
              <a:gd name="connsiteX57" fmla="*/ 2454275 w 2889264"/>
              <a:gd name="connsiteY57" fmla="*/ 500479 h 722729"/>
              <a:gd name="connsiteX58" fmla="*/ 2470150 w 2889264"/>
              <a:gd name="connsiteY58" fmla="*/ 513179 h 722729"/>
              <a:gd name="connsiteX59" fmla="*/ 2495550 w 2889264"/>
              <a:gd name="connsiteY59" fmla="*/ 522704 h 722729"/>
              <a:gd name="connsiteX60" fmla="*/ 2546350 w 2889264"/>
              <a:gd name="connsiteY60" fmla="*/ 548104 h 722729"/>
              <a:gd name="connsiteX61" fmla="*/ 2574925 w 2889264"/>
              <a:gd name="connsiteY61" fmla="*/ 554454 h 722729"/>
              <a:gd name="connsiteX62" fmla="*/ 2600325 w 2889264"/>
              <a:gd name="connsiteY62" fmla="*/ 567154 h 722729"/>
              <a:gd name="connsiteX63" fmla="*/ 2616200 w 2889264"/>
              <a:gd name="connsiteY63" fmla="*/ 570329 h 722729"/>
              <a:gd name="connsiteX64" fmla="*/ 2638425 w 2889264"/>
              <a:gd name="connsiteY64" fmla="*/ 576679 h 722729"/>
              <a:gd name="connsiteX65" fmla="*/ 2654300 w 2889264"/>
              <a:gd name="connsiteY65" fmla="*/ 586204 h 722729"/>
              <a:gd name="connsiteX66" fmla="*/ 2673350 w 2889264"/>
              <a:gd name="connsiteY66" fmla="*/ 592554 h 722729"/>
              <a:gd name="connsiteX67" fmla="*/ 2708275 w 2889264"/>
              <a:gd name="connsiteY67" fmla="*/ 614779 h 722729"/>
              <a:gd name="connsiteX68" fmla="*/ 2730500 w 2889264"/>
              <a:gd name="connsiteY68" fmla="*/ 624304 h 722729"/>
              <a:gd name="connsiteX69" fmla="*/ 2749550 w 2889264"/>
              <a:gd name="connsiteY69" fmla="*/ 640179 h 722729"/>
              <a:gd name="connsiteX70" fmla="*/ 2774950 w 2889264"/>
              <a:gd name="connsiteY70" fmla="*/ 652879 h 722729"/>
              <a:gd name="connsiteX71" fmla="*/ 2803525 w 2889264"/>
              <a:gd name="connsiteY71" fmla="*/ 665579 h 722729"/>
              <a:gd name="connsiteX72" fmla="*/ 2816225 w 2889264"/>
              <a:gd name="connsiteY72" fmla="*/ 675104 h 722729"/>
              <a:gd name="connsiteX73" fmla="*/ 2832100 w 2889264"/>
              <a:gd name="connsiteY73" fmla="*/ 681454 h 722729"/>
              <a:gd name="connsiteX74" fmla="*/ 2876550 w 2889264"/>
              <a:gd name="connsiteY74" fmla="*/ 713204 h 722729"/>
              <a:gd name="connsiteX75" fmla="*/ 2889250 w 2889264"/>
              <a:gd name="connsiteY75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574800 w 2889264"/>
              <a:gd name="connsiteY21" fmla="*/ 62329 h 722729"/>
              <a:gd name="connsiteX22" fmla="*/ 1600200 w 2889264"/>
              <a:gd name="connsiteY22" fmla="*/ 75029 h 722729"/>
              <a:gd name="connsiteX23" fmla="*/ 1676400 w 2889264"/>
              <a:gd name="connsiteY23" fmla="*/ 119479 h 722729"/>
              <a:gd name="connsiteX24" fmla="*/ 1714500 w 2889264"/>
              <a:gd name="connsiteY24" fmla="*/ 135354 h 722729"/>
              <a:gd name="connsiteX25" fmla="*/ 1727200 w 2889264"/>
              <a:gd name="connsiteY25" fmla="*/ 144879 h 722729"/>
              <a:gd name="connsiteX26" fmla="*/ 1758950 w 2889264"/>
              <a:gd name="connsiteY26" fmla="*/ 154404 h 722729"/>
              <a:gd name="connsiteX27" fmla="*/ 1768475 w 2889264"/>
              <a:gd name="connsiteY27" fmla="*/ 160754 h 722729"/>
              <a:gd name="connsiteX28" fmla="*/ 1781175 w 2889264"/>
              <a:gd name="connsiteY28" fmla="*/ 170279 h 722729"/>
              <a:gd name="connsiteX29" fmla="*/ 1793875 w 2889264"/>
              <a:gd name="connsiteY29" fmla="*/ 176629 h 722729"/>
              <a:gd name="connsiteX30" fmla="*/ 1838325 w 2889264"/>
              <a:gd name="connsiteY30" fmla="*/ 202029 h 722729"/>
              <a:gd name="connsiteX31" fmla="*/ 1847850 w 2889264"/>
              <a:gd name="connsiteY31" fmla="*/ 211554 h 722729"/>
              <a:gd name="connsiteX32" fmla="*/ 1885950 w 2889264"/>
              <a:gd name="connsiteY32" fmla="*/ 230604 h 722729"/>
              <a:gd name="connsiteX33" fmla="*/ 1901825 w 2889264"/>
              <a:gd name="connsiteY33" fmla="*/ 240129 h 722729"/>
              <a:gd name="connsiteX34" fmla="*/ 1933575 w 2889264"/>
              <a:gd name="connsiteY34" fmla="*/ 252829 h 722729"/>
              <a:gd name="connsiteX35" fmla="*/ 1962150 w 2889264"/>
              <a:gd name="connsiteY35" fmla="*/ 265529 h 722729"/>
              <a:gd name="connsiteX36" fmla="*/ 1971675 w 2889264"/>
              <a:gd name="connsiteY36" fmla="*/ 271879 h 722729"/>
              <a:gd name="connsiteX37" fmla="*/ 1987550 w 2889264"/>
              <a:gd name="connsiteY37" fmla="*/ 278229 h 722729"/>
              <a:gd name="connsiteX38" fmla="*/ 2022475 w 2889264"/>
              <a:gd name="connsiteY38" fmla="*/ 290929 h 722729"/>
              <a:gd name="connsiteX39" fmla="*/ 2047875 w 2889264"/>
              <a:gd name="connsiteY39" fmla="*/ 303629 h 722729"/>
              <a:gd name="connsiteX40" fmla="*/ 2063750 w 2889264"/>
              <a:gd name="connsiteY40" fmla="*/ 309979 h 722729"/>
              <a:gd name="connsiteX41" fmla="*/ 2082800 w 2889264"/>
              <a:gd name="connsiteY41" fmla="*/ 319504 h 722729"/>
              <a:gd name="connsiteX42" fmla="*/ 2095500 w 2889264"/>
              <a:gd name="connsiteY42" fmla="*/ 322679 h 722729"/>
              <a:gd name="connsiteX43" fmla="*/ 2124075 w 2889264"/>
              <a:gd name="connsiteY43" fmla="*/ 332204 h 722729"/>
              <a:gd name="connsiteX44" fmla="*/ 2159000 w 2889264"/>
              <a:gd name="connsiteY44" fmla="*/ 348079 h 722729"/>
              <a:gd name="connsiteX45" fmla="*/ 2187575 w 2889264"/>
              <a:gd name="connsiteY45" fmla="*/ 367129 h 722729"/>
              <a:gd name="connsiteX46" fmla="*/ 2209800 w 2889264"/>
              <a:gd name="connsiteY46" fmla="*/ 383004 h 722729"/>
              <a:gd name="connsiteX47" fmla="*/ 2247900 w 2889264"/>
              <a:gd name="connsiteY47" fmla="*/ 408404 h 722729"/>
              <a:gd name="connsiteX48" fmla="*/ 2276475 w 2889264"/>
              <a:gd name="connsiteY48" fmla="*/ 424279 h 722729"/>
              <a:gd name="connsiteX49" fmla="*/ 2289175 w 2889264"/>
              <a:gd name="connsiteY49" fmla="*/ 433804 h 722729"/>
              <a:gd name="connsiteX50" fmla="*/ 2308225 w 2889264"/>
              <a:gd name="connsiteY50" fmla="*/ 436979 h 722729"/>
              <a:gd name="connsiteX51" fmla="*/ 2333625 w 2889264"/>
              <a:gd name="connsiteY51" fmla="*/ 449679 h 722729"/>
              <a:gd name="connsiteX52" fmla="*/ 2352675 w 2889264"/>
              <a:gd name="connsiteY52" fmla="*/ 456029 h 722729"/>
              <a:gd name="connsiteX53" fmla="*/ 2397125 w 2889264"/>
              <a:gd name="connsiteY53" fmla="*/ 478254 h 722729"/>
              <a:gd name="connsiteX54" fmla="*/ 2422525 w 2889264"/>
              <a:gd name="connsiteY54" fmla="*/ 484604 h 722729"/>
              <a:gd name="connsiteX55" fmla="*/ 2432050 w 2889264"/>
              <a:gd name="connsiteY55" fmla="*/ 487779 h 722729"/>
              <a:gd name="connsiteX56" fmla="*/ 2454275 w 2889264"/>
              <a:gd name="connsiteY56" fmla="*/ 500479 h 722729"/>
              <a:gd name="connsiteX57" fmla="*/ 2470150 w 2889264"/>
              <a:gd name="connsiteY57" fmla="*/ 513179 h 722729"/>
              <a:gd name="connsiteX58" fmla="*/ 2495550 w 2889264"/>
              <a:gd name="connsiteY58" fmla="*/ 522704 h 722729"/>
              <a:gd name="connsiteX59" fmla="*/ 2546350 w 2889264"/>
              <a:gd name="connsiteY59" fmla="*/ 548104 h 722729"/>
              <a:gd name="connsiteX60" fmla="*/ 2574925 w 2889264"/>
              <a:gd name="connsiteY60" fmla="*/ 554454 h 722729"/>
              <a:gd name="connsiteX61" fmla="*/ 2600325 w 2889264"/>
              <a:gd name="connsiteY61" fmla="*/ 567154 h 722729"/>
              <a:gd name="connsiteX62" fmla="*/ 2616200 w 2889264"/>
              <a:gd name="connsiteY62" fmla="*/ 570329 h 722729"/>
              <a:gd name="connsiteX63" fmla="*/ 2638425 w 2889264"/>
              <a:gd name="connsiteY63" fmla="*/ 576679 h 722729"/>
              <a:gd name="connsiteX64" fmla="*/ 2654300 w 2889264"/>
              <a:gd name="connsiteY64" fmla="*/ 586204 h 722729"/>
              <a:gd name="connsiteX65" fmla="*/ 2673350 w 2889264"/>
              <a:gd name="connsiteY65" fmla="*/ 592554 h 722729"/>
              <a:gd name="connsiteX66" fmla="*/ 2708275 w 2889264"/>
              <a:gd name="connsiteY66" fmla="*/ 614779 h 722729"/>
              <a:gd name="connsiteX67" fmla="*/ 2730500 w 2889264"/>
              <a:gd name="connsiteY67" fmla="*/ 624304 h 722729"/>
              <a:gd name="connsiteX68" fmla="*/ 2749550 w 2889264"/>
              <a:gd name="connsiteY68" fmla="*/ 640179 h 722729"/>
              <a:gd name="connsiteX69" fmla="*/ 2774950 w 2889264"/>
              <a:gd name="connsiteY69" fmla="*/ 652879 h 722729"/>
              <a:gd name="connsiteX70" fmla="*/ 2803525 w 2889264"/>
              <a:gd name="connsiteY70" fmla="*/ 665579 h 722729"/>
              <a:gd name="connsiteX71" fmla="*/ 2816225 w 2889264"/>
              <a:gd name="connsiteY71" fmla="*/ 675104 h 722729"/>
              <a:gd name="connsiteX72" fmla="*/ 2832100 w 2889264"/>
              <a:gd name="connsiteY72" fmla="*/ 681454 h 722729"/>
              <a:gd name="connsiteX73" fmla="*/ 2876550 w 2889264"/>
              <a:gd name="connsiteY73" fmla="*/ 713204 h 722729"/>
              <a:gd name="connsiteX74" fmla="*/ 2889250 w 2889264"/>
              <a:gd name="connsiteY74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00200 w 2889264"/>
              <a:gd name="connsiteY21" fmla="*/ 75029 h 722729"/>
              <a:gd name="connsiteX22" fmla="*/ 1676400 w 2889264"/>
              <a:gd name="connsiteY22" fmla="*/ 119479 h 722729"/>
              <a:gd name="connsiteX23" fmla="*/ 1714500 w 2889264"/>
              <a:gd name="connsiteY23" fmla="*/ 135354 h 722729"/>
              <a:gd name="connsiteX24" fmla="*/ 1727200 w 2889264"/>
              <a:gd name="connsiteY24" fmla="*/ 144879 h 722729"/>
              <a:gd name="connsiteX25" fmla="*/ 1758950 w 2889264"/>
              <a:gd name="connsiteY25" fmla="*/ 154404 h 722729"/>
              <a:gd name="connsiteX26" fmla="*/ 1768475 w 2889264"/>
              <a:gd name="connsiteY26" fmla="*/ 160754 h 722729"/>
              <a:gd name="connsiteX27" fmla="*/ 1781175 w 2889264"/>
              <a:gd name="connsiteY27" fmla="*/ 170279 h 722729"/>
              <a:gd name="connsiteX28" fmla="*/ 1793875 w 2889264"/>
              <a:gd name="connsiteY28" fmla="*/ 176629 h 722729"/>
              <a:gd name="connsiteX29" fmla="*/ 1838325 w 2889264"/>
              <a:gd name="connsiteY29" fmla="*/ 202029 h 722729"/>
              <a:gd name="connsiteX30" fmla="*/ 1847850 w 2889264"/>
              <a:gd name="connsiteY30" fmla="*/ 211554 h 722729"/>
              <a:gd name="connsiteX31" fmla="*/ 1885950 w 2889264"/>
              <a:gd name="connsiteY31" fmla="*/ 230604 h 722729"/>
              <a:gd name="connsiteX32" fmla="*/ 1901825 w 2889264"/>
              <a:gd name="connsiteY32" fmla="*/ 240129 h 722729"/>
              <a:gd name="connsiteX33" fmla="*/ 1933575 w 2889264"/>
              <a:gd name="connsiteY33" fmla="*/ 252829 h 722729"/>
              <a:gd name="connsiteX34" fmla="*/ 1962150 w 2889264"/>
              <a:gd name="connsiteY34" fmla="*/ 265529 h 722729"/>
              <a:gd name="connsiteX35" fmla="*/ 1971675 w 2889264"/>
              <a:gd name="connsiteY35" fmla="*/ 271879 h 722729"/>
              <a:gd name="connsiteX36" fmla="*/ 1987550 w 2889264"/>
              <a:gd name="connsiteY36" fmla="*/ 278229 h 722729"/>
              <a:gd name="connsiteX37" fmla="*/ 2022475 w 2889264"/>
              <a:gd name="connsiteY37" fmla="*/ 290929 h 722729"/>
              <a:gd name="connsiteX38" fmla="*/ 2047875 w 2889264"/>
              <a:gd name="connsiteY38" fmla="*/ 303629 h 722729"/>
              <a:gd name="connsiteX39" fmla="*/ 2063750 w 2889264"/>
              <a:gd name="connsiteY39" fmla="*/ 309979 h 722729"/>
              <a:gd name="connsiteX40" fmla="*/ 2082800 w 2889264"/>
              <a:gd name="connsiteY40" fmla="*/ 319504 h 722729"/>
              <a:gd name="connsiteX41" fmla="*/ 2095500 w 2889264"/>
              <a:gd name="connsiteY41" fmla="*/ 322679 h 722729"/>
              <a:gd name="connsiteX42" fmla="*/ 2124075 w 2889264"/>
              <a:gd name="connsiteY42" fmla="*/ 332204 h 722729"/>
              <a:gd name="connsiteX43" fmla="*/ 2159000 w 2889264"/>
              <a:gd name="connsiteY43" fmla="*/ 348079 h 722729"/>
              <a:gd name="connsiteX44" fmla="*/ 2187575 w 2889264"/>
              <a:gd name="connsiteY44" fmla="*/ 367129 h 722729"/>
              <a:gd name="connsiteX45" fmla="*/ 2209800 w 2889264"/>
              <a:gd name="connsiteY45" fmla="*/ 383004 h 722729"/>
              <a:gd name="connsiteX46" fmla="*/ 2247900 w 2889264"/>
              <a:gd name="connsiteY46" fmla="*/ 408404 h 722729"/>
              <a:gd name="connsiteX47" fmla="*/ 2276475 w 2889264"/>
              <a:gd name="connsiteY47" fmla="*/ 424279 h 722729"/>
              <a:gd name="connsiteX48" fmla="*/ 2289175 w 2889264"/>
              <a:gd name="connsiteY48" fmla="*/ 433804 h 722729"/>
              <a:gd name="connsiteX49" fmla="*/ 2308225 w 2889264"/>
              <a:gd name="connsiteY49" fmla="*/ 436979 h 722729"/>
              <a:gd name="connsiteX50" fmla="*/ 2333625 w 2889264"/>
              <a:gd name="connsiteY50" fmla="*/ 449679 h 722729"/>
              <a:gd name="connsiteX51" fmla="*/ 2352675 w 2889264"/>
              <a:gd name="connsiteY51" fmla="*/ 456029 h 722729"/>
              <a:gd name="connsiteX52" fmla="*/ 2397125 w 2889264"/>
              <a:gd name="connsiteY52" fmla="*/ 478254 h 722729"/>
              <a:gd name="connsiteX53" fmla="*/ 2422525 w 2889264"/>
              <a:gd name="connsiteY53" fmla="*/ 484604 h 722729"/>
              <a:gd name="connsiteX54" fmla="*/ 2432050 w 2889264"/>
              <a:gd name="connsiteY54" fmla="*/ 487779 h 722729"/>
              <a:gd name="connsiteX55" fmla="*/ 2454275 w 2889264"/>
              <a:gd name="connsiteY55" fmla="*/ 500479 h 722729"/>
              <a:gd name="connsiteX56" fmla="*/ 2470150 w 2889264"/>
              <a:gd name="connsiteY56" fmla="*/ 513179 h 722729"/>
              <a:gd name="connsiteX57" fmla="*/ 2495550 w 2889264"/>
              <a:gd name="connsiteY57" fmla="*/ 522704 h 722729"/>
              <a:gd name="connsiteX58" fmla="*/ 2546350 w 2889264"/>
              <a:gd name="connsiteY58" fmla="*/ 548104 h 722729"/>
              <a:gd name="connsiteX59" fmla="*/ 2574925 w 2889264"/>
              <a:gd name="connsiteY59" fmla="*/ 554454 h 722729"/>
              <a:gd name="connsiteX60" fmla="*/ 2600325 w 2889264"/>
              <a:gd name="connsiteY60" fmla="*/ 567154 h 722729"/>
              <a:gd name="connsiteX61" fmla="*/ 2616200 w 2889264"/>
              <a:gd name="connsiteY61" fmla="*/ 570329 h 722729"/>
              <a:gd name="connsiteX62" fmla="*/ 2638425 w 2889264"/>
              <a:gd name="connsiteY62" fmla="*/ 576679 h 722729"/>
              <a:gd name="connsiteX63" fmla="*/ 2654300 w 2889264"/>
              <a:gd name="connsiteY63" fmla="*/ 586204 h 722729"/>
              <a:gd name="connsiteX64" fmla="*/ 2673350 w 2889264"/>
              <a:gd name="connsiteY64" fmla="*/ 592554 h 722729"/>
              <a:gd name="connsiteX65" fmla="*/ 2708275 w 2889264"/>
              <a:gd name="connsiteY65" fmla="*/ 614779 h 722729"/>
              <a:gd name="connsiteX66" fmla="*/ 2730500 w 2889264"/>
              <a:gd name="connsiteY66" fmla="*/ 624304 h 722729"/>
              <a:gd name="connsiteX67" fmla="*/ 2749550 w 2889264"/>
              <a:gd name="connsiteY67" fmla="*/ 640179 h 722729"/>
              <a:gd name="connsiteX68" fmla="*/ 2774950 w 2889264"/>
              <a:gd name="connsiteY68" fmla="*/ 652879 h 722729"/>
              <a:gd name="connsiteX69" fmla="*/ 2803525 w 2889264"/>
              <a:gd name="connsiteY69" fmla="*/ 665579 h 722729"/>
              <a:gd name="connsiteX70" fmla="*/ 2816225 w 2889264"/>
              <a:gd name="connsiteY70" fmla="*/ 675104 h 722729"/>
              <a:gd name="connsiteX71" fmla="*/ 2832100 w 2889264"/>
              <a:gd name="connsiteY71" fmla="*/ 681454 h 722729"/>
              <a:gd name="connsiteX72" fmla="*/ 2876550 w 2889264"/>
              <a:gd name="connsiteY72" fmla="*/ 713204 h 722729"/>
              <a:gd name="connsiteX73" fmla="*/ 2889250 w 2889264"/>
              <a:gd name="connsiteY73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14500 w 2889264"/>
              <a:gd name="connsiteY22" fmla="*/ 135354 h 722729"/>
              <a:gd name="connsiteX23" fmla="*/ 1727200 w 2889264"/>
              <a:gd name="connsiteY23" fmla="*/ 144879 h 722729"/>
              <a:gd name="connsiteX24" fmla="*/ 1758950 w 2889264"/>
              <a:gd name="connsiteY24" fmla="*/ 154404 h 722729"/>
              <a:gd name="connsiteX25" fmla="*/ 1768475 w 2889264"/>
              <a:gd name="connsiteY25" fmla="*/ 160754 h 722729"/>
              <a:gd name="connsiteX26" fmla="*/ 1781175 w 2889264"/>
              <a:gd name="connsiteY26" fmla="*/ 170279 h 722729"/>
              <a:gd name="connsiteX27" fmla="*/ 1793875 w 2889264"/>
              <a:gd name="connsiteY27" fmla="*/ 176629 h 722729"/>
              <a:gd name="connsiteX28" fmla="*/ 1838325 w 2889264"/>
              <a:gd name="connsiteY28" fmla="*/ 202029 h 722729"/>
              <a:gd name="connsiteX29" fmla="*/ 1847850 w 2889264"/>
              <a:gd name="connsiteY29" fmla="*/ 211554 h 722729"/>
              <a:gd name="connsiteX30" fmla="*/ 1885950 w 2889264"/>
              <a:gd name="connsiteY30" fmla="*/ 230604 h 722729"/>
              <a:gd name="connsiteX31" fmla="*/ 1901825 w 2889264"/>
              <a:gd name="connsiteY31" fmla="*/ 240129 h 722729"/>
              <a:gd name="connsiteX32" fmla="*/ 1933575 w 2889264"/>
              <a:gd name="connsiteY32" fmla="*/ 252829 h 722729"/>
              <a:gd name="connsiteX33" fmla="*/ 1962150 w 2889264"/>
              <a:gd name="connsiteY33" fmla="*/ 265529 h 722729"/>
              <a:gd name="connsiteX34" fmla="*/ 1971675 w 2889264"/>
              <a:gd name="connsiteY34" fmla="*/ 271879 h 722729"/>
              <a:gd name="connsiteX35" fmla="*/ 1987550 w 2889264"/>
              <a:gd name="connsiteY35" fmla="*/ 278229 h 722729"/>
              <a:gd name="connsiteX36" fmla="*/ 2022475 w 2889264"/>
              <a:gd name="connsiteY36" fmla="*/ 290929 h 722729"/>
              <a:gd name="connsiteX37" fmla="*/ 2047875 w 2889264"/>
              <a:gd name="connsiteY37" fmla="*/ 303629 h 722729"/>
              <a:gd name="connsiteX38" fmla="*/ 2063750 w 2889264"/>
              <a:gd name="connsiteY38" fmla="*/ 309979 h 722729"/>
              <a:gd name="connsiteX39" fmla="*/ 2082800 w 2889264"/>
              <a:gd name="connsiteY39" fmla="*/ 319504 h 722729"/>
              <a:gd name="connsiteX40" fmla="*/ 2095500 w 2889264"/>
              <a:gd name="connsiteY40" fmla="*/ 322679 h 722729"/>
              <a:gd name="connsiteX41" fmla="*/ 2124075 w 2889264"/>
              <a:gd name="connsiteY41" fmla="*/ 332204 h 722729"/>
              <a:gd name="connsiteX42" fmla="*/ 2159000 w 2889264"/>
              <a:gd name="connsiteY42" fmla="*/ 348079 h 722729"/>
              <a:gd name="connsiteX43" fmla="*/ 2187575 w 2889264"/>
              <a:gd name="connsiteY43" fmla="*/ 367129 h 722729"/>
              <a:gd name="connsiteX44" fmla="*/ 2209800 w 2889264"/>
              <a:gd name="connsiteY44" fmla="*/ 383004 h 722729"/>
              <a:gd name="connsiteX45" fmla="*/ 2247900 w 2889264"/>
              <a:gd name="connsiteY45" fmla="*/ 408404 h 722729"/>
              <a:gd name="connsiteX46" fmla="*/ 2276475 w 2889264"/>
              <a:gd name="connsiteY46" fmla="*/ 424279 h 722729"/>
              <a:gd name="connsiteX47" fmla="*/ 2289175 w 2889264"/>
              <a:gd name="connsiteY47" fmla="*/ 433804 h 722729"/>
              <a:gd name="connsiteX48" fmla="*/ 2308225 w 2889264"/>
              <a:gd name="connsiteY48" fmla="*/ 436979 h 722729"/>
              <a:gd name="connsiteX49" fmla="*/ 2333625 w 2889264"/>
              <a:gd name="connsiteY49" fmla="*/ 449679 h 722729"/>
              <a:gd name="connsiteX50" fmla="*/ 2352675 w 2889264"/>
              <a:gd name="connsiteY50" fmla="*/ 456029 h 722729"/>
              <a:gd name="connsiteX51" fmla="*/ 2397125 w 2889264"/>
              <a:gd name="connsiteY51" fmla="*/ 478254 h 722729"/>
              <a:gd name="connsiteX52" fmla="*/ 2422525 w 2889264"/>
              <a:gd name="connsiteY52" fmla="*/ 484604 h 722729"/>
              <a:gd name="connsiteX53" fmla="*/ 2432050 w 2889264"/>
              <a:gd name="connsiteY53" fmla="*/ 487779 h 722729"/>
              <a:gd name="connsiteX54" fmla="*/ 2454275 w 2889264"/>
              <a:gd name="connsiteY54" fmla="*/ 500479 h 722729"/>
              <a:gd name="connsiteX55" fmla="*/ 2470150 w 2889264"/>
              <a:gd name="connsiteY55" fmla="*/ 513179 h 722729"/>
              <a:gd name="connsiteX56" fmla="*/ 2495550 w 2889264"/>
              <a:gd name="connsiteY56" fmla="*/ 522704 h 722729"/>
              <a:gd name="connsiteX57" fmla="*/ 2546350 w 2889264"/>
              <a:gd name="connsiteY57" fmla="*/ 548104 h 722729"/>
              <a:gd name="connsiteX58" fmla="*/ 2574925 w 2889264"/>
              <a:gd name="connsiteY58" fmla="*/ 554454 h 722729"/>
              <a:gd name="connsiteX59" fmla="*/ 2600325 w 2889264"/>
              <a:gd name="connsiteY59" fmla="*/ 567154 h 722729"/>
              <a:gd name="connsiteX60" fmla="*/ 2616200 w 2889264"/>
              <a:gd name="connsiteY60" fmla="*/ 570329 h 722729"/>
              <a:gd name="connsiteX61" fmla="*/ 2638425 w 2889264"/>
              <a:gd name="connsiteY61" fmla="*/ 576679 h 722729"/>
              <a:gd name="connsiteX62" fmla="*/ 2654300 w 2889264"/>
              <a:gd name="connsiteY62" fmla="*/ 586204 h 722729"/>
              <a:gd name="connsiteX63" fmla="*/ 2673350 w 2889264"/>
              <a:gd name="connsiteY63" fmla="*/ 592554 h 722729"/>
              <a:gd name="connsiteX64" fmla="*/ 2708275 w 2889264"/>
              <a:gd name="connsiteY64" fmla="*/ 614779 h 722729"/>
              <a:gd name="connsiteX65" fmla="*/ 2730500 w 2889264"/>
              <a:gd name="connsiteY65" fmla="*/ 624304 h 722729"/>
              <a:gd name="connsiteX66" fmla="*/ 2749550 w 2889264"/>
              <a:gd name="connsiteY66" fmla="*/ 640179 h 722729"/>
              <a:gd name="connsiteX67" fmla="*/ 2774950 w 2889264"/>
              <a:gd name="connsiteY67" fmla="*/ 652879 h 722729"/>
              <a:gd name="connsiteX68" fmla="*/ 2803525 w 2889264"/>
              <a:gd name="connsiteY68" fmla="*/ 665579 h 722729"/>
              <a:gd name="connsiteX69" fmla="*/ 2816225 w 2889264"/>
              <a:gd name="connsiteY69" fmla="*/ 675104 h 722729"/>
              <a:gd name="connsiteX70" fmla="*/ 2832100 w 2889264"/>
              <a:gd name="connsiteY70" fmla="*/ 681454 h 722729"/>
              <a:gd name="connsiteX71" fmla="*/ 2876550 w 2889264"/>
              <a:gd name="connsiteY71" fmla="*/ 713204 h 722729"/>
              <a:gd name="connsiteX72" fmla="*/ 2889250 w 2889264"/>
              <a:gd name="connsiteY72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14500 w 2889264"/>
              <a:gd name="connsiteY22" fmla="*/ 135354 h 722729"/>
              <a:gd name="connsiteX23" fmla="*/ 1727200 w 2889264"/>
              <a:gd name="connsiteY23" fmla="*/ 144879 h 722729"/>
              <a:gd name="connsiteX24" fmla="*/ 1758950 w 2889264"/>
              <a:gd name="connsiteY24" fmla="*/ 154404 h 722729"/>
              <a:gd name="connsiteX25" fmla="*/ 1768475 w 2889264"/>
              <a:gd name="connsiteY25" fmla="*/ 160754 h 722729"/>
              <a:gd name="connsiteX26" fmla="*/ 1793875 w 2889264"/>
              <a:gd name="connsiteY26" fmla="*/ 176629 h 722729"/>
              <a:gd name="connsiteX27" fmla="*/ 1838325 w 2889264"/>
              <a:gd name="connsiteY27" fmla="*/ 202029 h 722729"/>
              <a:gd name="connsiteX28" fmla="*/ 1847850 w 2889264"/>
              <a:gd name="connsiteY28" fmla="*/ 211554 h 722729"/>
              <a:gd name="connsiteX29" fmla="*/ 1885950 w 2889264"/>
              <a:gd name="connsiteY29" fmla="*/ 230604 h 722729"/>
              <a:gd name="connsiteX30" fmla="*/ 1901825 w 2889264"/>
              <a:gd name="connsiteY30" fmla="*/ 240129 h 722729"/>
              <a:gd name="connsiteX31" fmla="*/ 1933575 w 2889264"/>
              <a:gd name="connsiteY31" fmla="*/ 252829 h 722729"/>
              <a:gd name="connsiteX32" fmla="*/ 1962150 w 2889264"/>
              <a:gd name="connsiteY32" fmla="*/ 265529 h 722729"/>
              <a:gd name="connsiteX33" fmla="*/ 1971675 w 2889264"/>
              <a:gd name="connsiteY33" fmla="*/ 271879 h 722729"/>
              <a:gd name="connsiteX34" fmla="*/ 1987550 w 2889264"/>
              <a:gd name="connsiteY34" fmla="*/ 278229 h 722729"/>
              <a:gd name="connsiteX35" fmla="*/ 2022475 w 2889264"/>
              <a:gd name="connsiteY35" fmla="*/ 290929 h 722729"/>
              <a:gd name="connsiteX36" fmla="*/ 2047875 w 2889264"/>
              <a:gd name="connsiteY36" fmla="*/ 303629 h 722729"/>
              <a:gd name="connsiteX37" fmla="*/ 2063750 w 2889264"/>
              <a:gd name="connsiteY37" fmla="*/ 309979 h 722729"/>
              <a:gd name="connsiteX38" fmla="*/ 2082800 w 2889264"/>
              <a:gd name="connsiteY38" fmla="*/ 319504 h 722729"/>
              <a:gd name="connsiteX39" fmla="*/ 2095500 w 2889264"/>
              <a:gd name="connsiteY39" fmla="*/ 322679 h 722729"/>
              <a:gd name="connsiteX40" fmla="*/ 2124075 w 2889264"/>
              <a:gd name="connsiteY40" fmla="*/ 332204 h 722729"/>
              <a:gd name="connsiteX41" fmla="*/ 2159000 w 2889264"/>
              <a:gd name="connsiteY41" fmla="*/ 348079 h 722729"/>
              <a:gd name="connsiteX42" fmla="*/ 2187575 w 2889264"/>
              <a:gd name="connsiteY42" fmla="*/ 367129 h 722729"/>
              <a:gd name="connsiteX43" fmla="*/ 2209800 w 2889264"/>
              <a:gd name="connsiteY43" fmla="*/ 383004 h 722729"/>
              <a:gd name="connsiteX44" fmla="*/ 2247900 w 2889264"/>
              <a:gd name="connsiteY44" fmla="*/ 408404 h 722729"/>
              <a:gd name="connsiteX45" fmla="*/ 2276475 w 2889264"/>
              <a:gd name="connsiteY45" fmla="*/ 424279 h 722729"/>
              <a:gd name="connsiteX46" fmla="*/ 2289175 w 2889264"/>
              <a:gd name="connsiteY46" fmla="*/ 433804 h 722729"/>
              <a:gd name="connsiteX47" fmla="*/ 2308225 w 2889264"/>
              <a:gd name="connsiteY47" fmla="*/ 436979 h 722729"/>
              <a:gd name="connsiteX48" fmla="*/ 2333625 w 2889264"/>
              <a:gd name="connsiteY48" fmla="*/ 449679 h 722729"/>
              <a:gd name="connsiteX49" fmla="*/ 2352675 w 2889264"/>
              <a:gd name="connsiteY49" fmla="*/ 456029 h 722729"/>
              <a:gd name="connsiteX50" fmla="*/ 2397125 w 2889264"/>
              <a:gd name="connsiteY50" fmla="*/ 478254 h 722729"/>
              <a:gd name="connsiteX51" fmla="*/ 2422525 w 2889264"/>
              <a:gd name="connsiteY51" fmla="*/ 484604 h 722729"/>
              <a:gd name="connsiteX52" fmla="*/ 2432050 w 2889264"/>
              <a:gd name="connsiteY52" fmla="*/ 487779 h 722729"/>
              <a:gd name="connsiteX53" fmla="*/ 2454275 w 2889264"/>
              <a:gd name="connsiteY53" fmla="*/ 500479 h 722729"/>
              <a:gd name="connsiteX54" fmla="*/ 2470150 w 2889264"/>
              <a:gd name="connsiteY54" fmla="*/ 513179 h 722729"/>
              <a:gd name="connsiteX55" fmla="*/ 2495550 w 2889264"/>
              <a:gd name="connsiteY55" fmla="*/ 522704 h 722729"/>
              <a:gd name="connsiteX56" fmla="*/ 2546350 w 2889264"/>
              <a:gd name="connsiteY56" fmla="*/ 548104 h 722729"/>
              <a:gd name="connsiteX57" fmla="*/ 2574925 w 2889264"/>
              <a:gd name="connsiteY57" fmla="*/ 554454 h 722729"/>
              <a:gd name="connsiteX58" fmla="*/ 2600325 w 2889264"/>
              <a:gd name="connsiteY58" fmla="*/ 567154 h 722729"/>
              <a:gd name="connsiteX59" fmla="*/ 2616200 w 2889264"/>
              <a:gd name="connsiteY59" fmla="*/ 570329 h 722729"/>
              <a:gd name="connsiteX60" fmla="*/ 2638425 w 2889264"/>
              <a:gd name="connsiteY60" fmla="*/ 576679 h 722729"/>
              <a:gd name="connsiteX61" fmla="*/ 2654300 w 2889264"/>
              <a:gd name="connsiteY61" fmla="*/ 586204 h 722729"/>
              <a:gd name="connsiteX62" fmla="*/ 2673350 w 2889264"/>
              <a:gd name="connsiteY62" fmla="*/ 592554 h 722729"/>
              <a:gd name="connsiteX63" fmla="*/ 2708275 w 2889264"/>
              <a:gd name="connsiteY63" fmla="*/ 614779 h 722729"/>
              <a:gd name="connsiteX64" fmla="*/ 2730500 w 2889264"/>
              <a:gd name="connsiteY64" fmla="*/ 624304 h 722729"/>
              <a:gd name="connsiteX65" fmla="*/ 2749550 w 2889264"/>
              <a:gd name="connsiteY65" fmla="*/ 640179 h 722729"/>
              <a:gd name="connsiteX66" fmla="*/ 2774950 w 2889264"/>
              <a:gd name="connsiteY66" fmla="*/ 652879 h 722729"/>
              <a:gd name="connsiteX67" fmla="*/ 2803525 w 2889264"/>
              <a:gd name="connsiteY67" fmla="*/ 665579 h 722729"/>
              <a:gd name="connsiteX68" fmla="*/ 2816225 w 2889264"/>
              <a:gd name="connsiteY68" fmla="*/ 675104 h 722729"/>
              <a:gd name="connsiteX69" fmla="*/ 2832100 w 2889264"/>
              <a:gd name="connsiteY69" fmla="*/ 681454 h 722729"/>
              <a:gd name="connsiteX70" fmla="*/ 2876550 w 2889264"/>
              <a:gd name="connsiteY70" fmla="*/ 713204 h 722729"/>
              <a:gd name="connsiteX71" fmla="*/ 2889250 w 2889264"/>
              <a:gd name="connsiteY71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14500 w 2889264"/>
              <a:gd name="connsiteY22" fmla="*/ 135354 h 722729"/>
              <a:gd name="connsiteX23" fmla="*/ 1758950 w 2889264"/>
              <a:gd name="connsiteY23" fmla="*/ 154404 h 722729"/>
              <a:gd name="connsiteX24" fmla="*/ 1768475 w 2889264"/>
              <a:gd name="connsiteY24" fmla="*/ 160754 h 722729"/>
              <a:gd name="connsiteX25" fmla="*/ 1793875 w 2889264"/>
              <a:gd name="connsiteY25" fmla="*/ 176629 h 722729"/>
              <a:gd name="connsiteX26" fmla="*/ 1838325 w 2889264"/>
              <a:gd name="connsiteY26" fmla="*/ 202029 h 722729"/>
              <a:gd name="connsiteX27" fmla="*/ 1847850 w 2889264"/>
              <a:gd name="connsiteY27" fmla="*/ 211554 h 722729"/>
              <a:gd name="connsiteX28" fmla="*/ 1885950 w 2889264"/>
              <a:gd name="connsiteY28" fmla="*/ 230604 h 722729"/>
              <a:gd name="connsiteX29" fmla="*/ 1901825 w 2889264"/>
              <a:gd name="connsiteY29" fmla="*/ 240129 h 722729"/>
              <a:gd name="connsiteX30" fmla="*/ 1933575 w 2889264"/>
              <a:gd name="connsiteY30" fmla="*/ 252829 h 722729"/>
              <a:gd name="connsiteX31" fmla="*/ 1962150 w 2889264"/>
              <a:gd name="connsiteY31" fmla="*/ 265529 h 722729"/>
              <a:gd name="connsiteX32" fmla="*/ 1971675 w 2889264"/>
              <a:gd name="connsiteY32" fmla="*/ 271879 h 722729"/>
              <a:gd name="connsiteX33" fmla="*/ 1987550 w 2889264"/>
              <a:gd name="connsiteY33" fmla="*/ 278229 h 722729"/>
              <a:gd name="connsiteX34" fmla="*/ 2022475 w 2889264"/>
              <a:gd name="connsiteY34" fmla="*/ 290929 h 722729"/>
              <a:gd name="connsiteX35" fmla="*/ 2047875 w 2889264"/>
              <a:gd name="connsiteY35" fmla="*/ 303629 h 722729"/>
              <a:gd name="connsiteX36" fmla="*/ 2063750 w 2889264"/>
              <a:gd name="connsiteY36" fmla="*/ 309979 h 722729"/>
              <a:gd name="connsiteX37" fmla="*/ 2082800 w 2889264"/>
              <a:gd name="connsiteY37" fmla="*/ 319504 h 722729"/>
              <a:gd name="connsiteX38" fmla="*/ 2095500 w 2889264"/>
              <a:gd name="connsiteY38" fmla="*/ 322679 h 722729"/>
              <a:gd name="connsiteX39" fmla="*/ 2124075 w 2889264"/>
              <a:gd name="connsiteY39" fmla="*/ 332204 h 722729"/>
              <a:gd name="connsiteX40" fmla="*/ 2159000 w 2889264"/>
              <a:gd name="connsiteY40" fmla="*/ 348079 h 722729"/>
              <a:gd name="connsiteX41" fmla="*/ 2187575 w 2889264"/>
              <a:gd name="connsiteY41" fmla="*/ 367129 h 722729"/>
              <a:gd name="connsiteX42" fmla="*/ 2209800 w 2889264"/>
              <a:gd name="connsiteY42" fmla="*/ 383004 h 722729"/>
              <a:gd name="connsiteX43" fmla="*/ 2247900 w 2889264"/>
              <a:gd name="connsiteY43" fmla="*/ 408404 h 722729"/>
              <a:gd name="connsiteX44" fmla="*/ 2276475 w 2889264"/>
              <a:gd name="connsiteY44" fmla="*/ 424279 h 722729"/>
              <a:gd name="connsiteX45" fmla="*/ 2289175 w 2889264"/>
              <a:gd name="connsiteY45" fmla="*/ 433804 h 722729"/>
              <a:gd name="connsiteX46" fmla="*/ 2308225 w 2889264"/>
              <a:gd name="connsiteY46" fmla="*/ 436979 h 722729"/>
              <a:gd name="connsiteX47" fmla="*/ 2333625 w 2889264"/>
              <a:gd name="connsiteY47" fmla="*/ 449679 h 722729"/>
              <a:gd name="connsiteX48" fmla="*/ 2352675 w 2889264"/>
              <a:gd name="connsiteY48" fmla="*/ 456029 h 722729"/>
              <a:gd name="connsiteX49" fmla="*/ 2397125 w 2889264"/>
              <a:gd name="connsiteY49" fmla="*/ 478254 h 722729"/>
              <a:gd name="connsiteX50" fmla="*/ 2422525 w 2889264"/>
              <a:gd name="connsiteY50" fmla="*/ 484604 h 722729"/>
              <a:gd name="connsiteX51" fmla="*/ 2432050 w 2889264"/>
              <a:gd name="connsiteY51" fmla="*/ 487779 h 722729"/>
              <a:gd name="connsiteX52" fmla="*/ 2454275 w 2889264"/>
              <a:gd name="connsiteY52" fmla="*/ 500479 h 722729"/>
              <a:gd name="connsiteX53" fmla="*/ 2470150 w 2889264"/>
              <a:gd name="connsiteY53" fmla="*/ 513179 h 722729"/>
              <a:gd name="connsiteX54" fmla="*/ 2495550 w 2889264"/>
              <a:gd name="connsiteY54" fmla="*/ 522704 h 722729"/>
              <a:gd name="connsiteX55" fmla="*/ 2546350 w 2889264"/>
              <a:gd name="connsiteY55" fmla="*/ 548104 h 722729"/>
              <a:gd name="connsiteX56" fmla="*/ 2574925 w 2889264"/>
              <a:gd name="connsiteY56" fmla="*/ 554454 h 722729"/>
              <a:gd name="connsiteX57" fmla="*/ 2600325 w 2889264"/>
              <a:gd name="connsiteY57" fmla="*/ 567154 h 722729"/>
              <a:gd name="connsiteX58" fmla="*/ 2616200 w 2889264"/>
              <a:gd name="connsiteY58" fmla="*/ 570329 h 722729"/>
              <a:gd name="connsiteX59" fmla="*/ 2638425 w 2889264"/>
              <a:gd name="connsiteY59" fmla="*/ 576679 h 722729"/>
              <a:gd name="connsiteX60" fmla="*/ 2654300 w 2889264"/>
              <a:gd name="connsiteY60" fmla="*/ 586204 h 722729"/>
              <a:gd name="connsiteX61" fmla="*/ 2673350 w 2889264"/>
              <a:gd name="connsiteY61" fmla="*/ 592554 h 722729"/>
              <a:gd name="connsiteX62" fmla="*/ 2708275 w 2889264"/>
              <a:gd name="connsiteY62" fmla="*/ 614779 h 722729"/>
              <a:gd name="connsiteX63" fmla="*/ 2730500 w 2889264"/>
              <a:gd name="connsiteY63" fmla="*/ 624304 h 722729"/>
              <a:gd name="connsiteX64" fmla="*/ 2749550 w 2889264"/>
              <a:gd name="connsiteY64" fmla="*/ 640179 h 722729"/>
              <a:gd name="connsiteX65" fmla="*/ 2774950 w 2889264"/>
              <a:gd name="connsiteY65" fmla="*/ 652879 h 722729"/>
              <a:gd name="connsiteX66" fmla="*/ 2803525 w 2889264"/>
              <a:gd name="connsiteY66" fmla="*/ 665579 h 722729"/>
              <a:gd name="connsiteX67" fmla="*/ 2816225 w 2889264"/>
              <a:gd name="connsiteY67" fmla="*/ 675104 h 722729"/>
              <a:gd name="connsiteX68" fmla="*/ 2832100 w 2889264"/>
              <a:gd name="connsiteY68" fmla="*/ 681454 h 722729"/>
              <a:gd name="connsiteX69" fmla="*/ 2876550 w 2889264"/>
              <a:gd name="connsiteY69" fmla="*/ 713204 h 722729"/>
              <a:gd name="connsiteX70" fmla="*/ 2889250 w 2889264"/>
              <a:gd name="connsiteY70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793875 w 2889264"/>
              <a:gd name="connsiteY24" fmla="*/ 176629 h 722729"/>
              <a:gd name="connsiteX25" fmla="*/ 1838325 w 2889264"/>
              <a:gd name="connsiteY25" fmla="*/ 202029 h 722729"/>
              <a:gd name="connsiteX26" fmla="*/ 1847850 w 2889264"/>
              <a:gd name="connsiteY26" fmla="*/ 211554 h 722729"/>
              <a:gd name="connsiteX27" fmla="*/ 1885950 w 2889264"/>
              <a:gd name="connsiteY27" fmla="*/ 230604 h 722729"/>
              <a:gd name="connsiteX28" fmla="*/ 1901825 w 2889264"/>
              <a:gd name="connsiteY28" fmla="*/ 240129 h 722729"/>
              <a:gd name="connsiteX29" fmla="*/ 1933575 w 2889264"/>
              <a:gd name="connsiteY29" fmla="*/ 252829 h 722729"/>
              <a:gd name="connsiteX30" fmla="*/ 1962150 w 2889264"/>
              <a:gd name="connsiteY30" fmla="*/ 265529 h 722729"/>
              <a:gd name="connsiteX31" fmla="*/ 1971675 w 2889264"/>
              <a:gd name="connsiteY31" fmla="*/ 271879 h 722729"/>
              <a:gd name="connsiteX32" fmla="*/ 1987550 w 2889264"/>
              <a:gd name="connsiteY32" fmla="*/ 278229 h 722729"/>
              <a:gd name="connsiteX33" fmla="*/ 2022475 w 2889264"/>
              <a:gd name="connsiteY33" fmla="*/ 290929 h 722729"/>
              <a:gd name="connsiteX34" fmla="*/ 2047875 w 2889264"/>
              <a:gd name="connsiteY34" fmla="*/ 303629 h 722729"/>
              <a:gd name="connsiteX35" fmla="*/ 2063750 w 2889264"/>
              <a:gd name="connsiteY35" fmla="*/ 309979 h 722729"/>
              <a:gd name="connsiteX36" fmla="*/ 2082800 w 2889264"/>
              <a:gd name="connsiteY36" fmla="*/ 319504 h 722729"/>
              <a:gd name="connsiteX37" fmla="*/ 2095500 w 2889264"/>
              <a:gd name="connsiteY37" fmla="*/ 322679 h 722729"/>
              <a:gd name="connsiteX38" fmla="*/ 2124075 w 2889264"/>
              <a:gd name="connsiteY38" fmla="*/ 332204 h 722729"/>
              <a:gd name="connsiteX39" fmla="*/ 2159000 w 2889264"/>
              <a:gd name="connsiteY39" fmla="*/ 348079 h 722729"/>
              <a:gd name="connsiteX40" fmla="*/ 2187575 w 2889264"/>
              <a:gd name="connsiteY40" fmla="*/ 367129 h 722729"/>
              <a:gd name="connsiteX41" fmla="*/ 2209800 w 2889264"/>
              <a:gd name="connsiteY41" fmla="*/ 383004 h 722729"/>
              <a:gd name="connsiteX42" fmla="*/ 2247900 w 2889264"/>
              <a:gd name="connsiteY42" fmla="*/ 408404 h 722729"/>
              <a:gd name="connsiteX43" fmla="*/ 2276475 w 2889264"/>
              <a:gd name="connsiteY43" fmla="*/ 424279 h 722729"/>
              <a:gd name="connsiteX44" fmla="*/ 2289175 w 2889264"/>
              <a:gd name="connsiteY44" fmla="*/ 433804 h 722729"/>
              <a:gd name="connsiteX45" fmla="*/ 2308225 w 2889264"/>
              <a:gd name="connsiteY45" fmla="*/ 436979 h 722729"/>
              <a:gd name="connsiteX46" fmla="*/ 2333625 w 2889264"/>
              <a:gd name="connsiteY46" fmla="*/ 449679 h 722729"/>
              <a:gd name="connsiteX47" fmla="*/ 2352675 w 2889264"/>
              <a:gd name="connsiteY47" fmla="*/ 456029 h 722729"/>
              <a:gd name="connsiteX48" fmla="*/ 2397125 w 2889264"/>
              <a:gd name="connsiteY48" fmla="*/ 478254 h 722729"/>
              <a:gd name="connsiteX49" fmla="*/ 2422525 w 2889264"/>
              <a:gd name="connsiteY49" fmla="*/ 484604 h 722729"/>
              <a:gd name="connsiteX50" fmla="*/ 2432050 w 2889264"/>
              <a:gd name="connsiteY50" fmla="*/ 487779 h 722729"/>
              <a:gd name="connsiteX51" fmla="*/ 2454275 w 2889264"/>
              <a:gd name="connsiteY51" fmla="*/ 500479 h 722729"/>
              <a:gd name="connsiteX52" fmla="*/ 2470150 w 2889264"/>
              <a:gd name="connsiteY52" fmla="*/ 513179 h 722729"/>
              <a:gd name="connsiteX53" fmla="*/ 2495550 w 2889264"/>
              <a:gd name="connsiteY53" fmla="*/ 522704 h 722729"/>
              <a:gd name="connsiteX54" fmla="*/ 2546350 w 2889264"/>
              <a:gd name="connsiteY54" fmla="*/ 548104 h 722729"/>
              <a:gd name="connsiteX55" fmla="*/ 2574925 w 2889264"/>
              <a:gd name="connsiteY55" fmla="*/ 554454 h 722729"/>
              <a:gd name="connsiteX56" fmla="*/ 2600325 w 2889264"/>
              <a:gd name="connsiteY56" fmla="*/ 567154 h 722729"/>
              <a:gd name="connsiteX57" fmla="*/ 2616200 w 2889264"/>
              <a:gd name="connsiteY57" fmla="*/ 570329 h 722729"/>
              <a:gd name="connsiteX58" fmla="*/ 2638425 w 2889264"/>
              <a:gd name="connsiteY58" fmla="*/ 576679 h 722729"/>
              <a:gd name="connsiteX59" fmla="*/ 2654300 w 2889264"/>
              <a:gd name="connsiteY59" fmla="*/ 586204 h 722729"/>
              <a:gd name="connsiteX60" fmla="*/ 2673350 w 2889264"/>
              <a:gd name="connsiteY60" fmla="*/ 592554 h 722729"/>
              <a:gd name="connsiteX61" fmla="*/ 2708275 w 2889264"/>
              <a:gd name="connsiteY61" fmla="*/ 614779 h 722729"/>
              <a:gd name="connsiteX62" fmla="*/ 2730500 w 2889264"/>
              <a:gd name="connsiteY62" fmla="*/ 624304 h 722729"/>
              <a:gd name="connsiteX63" fmla="*/ 2749550 w 2889264"/>
              <a:gd name="connsiteY63" fmla="*/ 640179 h 722729"/>
              <a:gd name="connsiteX64" fmla="*/ 2774950 w 2889264"/>
              <a:gd name="connsiteY64" fmla="*/ 652879 h 722729"/>
              <a:gd name="connsiteX65" fmla="*/ 2803525 w 2889264"/>
              <a:gd name="connsiteY65" fmla="*/ 665579 h 722729"/>
              <a:gd name="connsiteX66" fmla="*/ 2816225 w 2889264"/>
              <a:gd name="connsiteY66" fmla="*/ 675104 h 722729"/>
              <a:gd name="connsiteX67" fmla="*/ 2832100 w 2889264"/>
              <a:gd name="connsiteY67" fmla="*/ 681454 h 722729"/>
              <a:gd name="connsiteX68" fmla="*/ 2876550 w 2889264"/>
              <a:gd name="connsiteY68" fmla="*/ 713204 h 722729"/>
              <a:gd name="connsiteX69" fmla="*/ 2889250 w 2889264"/>
              <a:gd name="connsiteY69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47850 w 2889264"/>
              <a:gd name="connsiteY25" fmla="*/ 211554 h 722729"/>
              <a:gd name="connsiteX26" fmla="*/ 1885950 w 2889264"/>
              <a:gd name="connsiteY26" fmla="*/ 230604 h 722729"/>
              <a:gd name="connsiteX27" fmla="*/ 1901825 w 2889264"/>
              <a:gd name="connsiteY27" fmla="*/ 240129 h 722729"/>
              <a:gd name="connsiteX28" fmla="*/ 1933575 w 2889264"/>
              <a:gd name="connsiteY28" fmla="*/ 252829 h 722729"/>
              <a:gd name="connsiteX29" fmla="*/ 1962150 w 2889264"/>
              <a:gd name="connsiteY29" fmla="*/ 265529 h 722729"/>
              <a:gd name="connsiteX30" fmla="*/ 1971675 w 2889264"/>
              <a:gd name="connsiteY30" fmla="*/ 271879 h 722729"/>
              <a:gd name="connsiteX31" fmla="*/ 1987550 w 2889264"/>
              <a:gd name="connsiteY31" fmla="*/ 278229 h 722729"/>
              <a:gd name="connsiteX32" fmla="*/ 2022475 w 2889264"/>
              <a:gd name="connsiteY32" fmla="*/ 290929 h 722729"/>
              <a:gd name="connsiteX33" fmla="*/ 2047875 w 2889264"/>
              <a:gd name="connsiteY33" fmla="*/ 303629 h 722729"/>
              <a:gd name="connsiteX34" fmla="*/ 2063750 w 2889264"/>
              <a:gd name="connsiteY34" fmla="*/ 309979 h 722729"/>
              <a:gd name="connsiteX35" fmla="*/ 2082800 w 2889264"/>
              <a:gd name="connsiteY35" fmla="*/ 319504 h 722729"/>
              <a:gd name="connsiteX36" fmla="*/ 2095500 w 2889264"/>
              <a:gd name="connsiteY36" fmla="*/ 322679 h 722729"/>
              <a:gd name="connsiteX37" fmla="*/ 2124075 w 2889264"/>
              <a:gd name="connsiteY37" fmla="*/ 332204 h 722729"/>
              <a:gd name="connsiteX38" fmla="*/ 2159000 w 2889264"/>
              <a:gd name="connsiteY38" fmla="*/ 348079 h 722729"/>
              <a:gd name="connsiteX39" fmla="*/ 2187575 w 2889264"/>
              <a:gd name="connsiteY39" fmla="*/ 367129 h 722729"/>
              <a:gd name="connsiteX40" fmla="*/ 2209800 w 2889264"/>
              <a:gd name="connsiteY40" fmla="*/ 383004 h 722729"/>
              <a:gd name="connsiteX41" fmla="*/ 2247900 w 2889264"/>
              <a:gd name="connsiteY41" fmla="*/ 408404 h 722729"/>
              <a:gd name="connsiteX42" fmla="*/ 2276475 w 2889264"/>
              <a:gd name="connsiteY42" fmla="*/ 424279 h 722729"/>
              <a:gd name="connsiteX43" fmla="*/ 2289175 w 2889264"/>
              <a:gd name="connsiteY43" fmla="*/ 433804 h 722729"/>
              <a:gd name="connsiteX44" fmla="*/ 2308225 w 2889264"/>
              <a:gd name="connsiteY44" fmla="*/ 436979 h 722729"/>
              <a:gd name="connsiteX45" fmla="*/ 2333625 w 2889264"/>
              <a:gd name="connsiteY45" fmla="*/ 449679 h 722729"/>
              <a:gd name="connsiteX46" fmla="*/ 2352675 w 2889264"/>
              <a:gd name="connsiteY46" fmla="*/ 456029 h 722729"/>
              <a:gd name="connsiteX47" fmla="*/ 2397125 w 2889264"/>
              <a:gd name="connsiteY47" fmla="*/ 478254 h 722729"/>
              <a:gd name="connsiteX48" fmla="*/ 2422525 w 2889264"/>
              <a:gd name="connsiteY48" fmla="*/ 484604 h 722729"/>
              <a:gd name="connsiteX49" fmla="*/ 2432050 w 2889264"/>
              <a:gd name="connsiteY49" fmla="*/ 487779 h 722729"/>
              <a:gd name="connsiteX50" fmla="*/ 2454275 w 2889264"/>
              <a:gd name="connsiteY50" fmla="*/ 500479 h 722729"/>
              <a:gd name="connsiteX51" fmla="*/ 2470150 w 2889264"/>
              <a:gd name="connsiteY51" fmla="*/ 513179 h 722729"/>
              <a:gd name="connsiteX52" fmla="*/ 2495550 w 2889264"/>
              <a:gd name="connsiteY52" fmla="*/ 522704 h 722729"/>
              <a:gd name="connsiteX53" fmla="*/ 2546350 w 2889264"/>
              <a:gd name="connsiteY53" fmla="*/ 548104 h 722729"/>
              <a:gd name="connsiteX54" fmla="*/ 2574925 w 2889264"/>
              <a:gd name="connsiteY54" fmla="*/ 554454 h 722729"/>
              <a:gd name="connsiteX55" fmla="*/ 2600325 w 2889264"/>
              <a:gd name="connsiteY55" fmla="*/ 567154 h 722729"/>
              <a:gd name="connsiteX56" fmla="*/ 2616200 w 2889264"/>
              <a:gd name="connsiteY56" fmla="*/ 570329 h 722729"/>
              <a:gd name="connsiteX57" fmla="*/ 2638425 w 2889264"/>
              <a:gd name="connsiteY57" fmla="*/ 576679 h 722729"/>
              <a:gd name="connsiteX58" fmla="*/ 2654300 w 2889264"/>
              <a:gd name="connsiteY58" fmla="*/ 586204 h 722729"/>
              <a:gd name="connsiteX59" fmla="*/ 2673350 w 2889264"/>
              <a:gd name="connsiteY59" fmla="*/ 592554 h 722729"/>
              <a:gd name="connsiteX60" fmla="*/ 2708275 w 2889264"/>
              <a:gd name="connsiteY60" fmla="*/ 614779 h 722729"/>
              <a:gd name="connsiteX61" fmla="*/ 2730500 w 2889264"/>
              <a:gd name="connsiteY61" fmla="*/ 624304 h 722729"/>
              <a:gd name="connsiteX62" fmla="*/ 2749550 w 2889264"/>
              <a:gd name="connsiteY62" fmla="*/ 640179 h 722729"/>
              <a:gd name="connsiteX63" fmla="*/ 2774950 w 2889264"/>
              <a:gd name="connsiteY63" fmla="*/ 652879 h 722729"/>
              <a:gd name="connsiteX64" fmla="*/ 2803525 w 2889264"/>
              <a:gd name="connsiteY64" fmla="*/ 665579 h 722729"/>
              <a:gd name="connsiteX65" fmla="*/ 2816225 w 2889264"/>
              <a:gd name="connsiteY65" fmla="*/ 675104 h 722729"/>
              <a:gd name="connsiteX66" fmla="*/ 2832100 w 2889264"/>
              <a:gd name="connsiteY66" fmla="*/ 681454 h 722729"/>
              <a:gd name="connsiteX67" fmla="*/ 2876550 w 2889264"/>
              <a:gd name="connsiteY67" fmla="*/ 713204 h 722729"/>
              <a:gd name="connsiteX68" fmla="*/ 2889250 w 2889264"/>
              <a:gd name="connsiteY68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01825 w 2889264"/>
              <a:gd name="connsiteY26" fmla="*/ 240129 h 722729"/>
              <a:gd name="connsiteX27" fmla="*/ 1933575 w 2889264"/>
              <a:gd name="connsiteY27" fmla="*/ 252829 h 722729"/>
              <a:gd name="connsiteX28" fmla="*/ 1962150 w 2889264"/>
              <a:gd name="connsiteY28" fmla="*/ 265529 h 722729"/>
              <a:gd name="connsiteX29" fmla="*/ 1971675 w 2889264"/>
              <a:gd name="connsiteY29" fmla="*/ 271879 h 722729"/>
              <a:gd name="connsiteX30" fmla="*/ 1987550 w 2889264"/>
              <a:gd name="connsiteY30" fmla="*/ 278229 h 722729"/>
              <a:gd name="connsiteX31" fmla="*/ 2022475 w 2889264"/>
              <a:gd name="connsiteY31" fmla="*/ 290929 h 722729"/>
              <a:gd name="connsiteX32" fmla="*/ 2047875 w 2889264"/>
              <a:gd name="connsiteY32" fmla="*/ 303629 h 722729"/>
              <a:gd name="connsiteX33" fmla="*/ 2063750 w 2889264"/>
              <a:gd name="connsiteY33" fmla="*/ 309979 h 722729"/>
              <a:gd name="connsiteX34" fmla="*/ 2082800 w 2889264"/>
              <a:gd name="connsiteY34" fmla="*/ 319504 h 722729"/>
              <a:gd name="connsiteX35" fmla="*/ 2095500 w 2889264"/>
              <a:gd name="connsiteY35" fmla="*/ 322679 h 722729"/>
              <a:gd name="connsiteX36" fmla="*/ 2124075 w 2889264"/>
              <a:gd name="connsiteY36" fmla="*/ 332204 h 722729"/>
              <a:gd name="connsiteX37" fmla="*/ 2159000 w 2889264"/>
              <a:gd name="connsiteY37" fmla="*/ 348079 h 722729"/>
              <a:gd name="connsiteX38" fmla="*/ 2187575 w 2889264"/>
              <a:gd name="connsiteY38" fmla="*/ 367129 h 722729"/>
              <a:gd name="connsiteX39" fmla="*/ 2209800 w 2889264"/>
              <a:gd name="connsiteY39" fmla="*/ 383004 h 722729"/>
              <a:gd name="connsiteX40" fmla="*/ 2247900 w 2889264"/>
              <a:gd name="connsiteY40" fmla="*/ 408404 h 722729"/>
              <a:gd name="connsiteX41" fmla="*/ 2276475 w 2889264"/>
              <a:gd name="connsiteY41" fmla="*/ 424279 h 722729"/>
              <a:gd name="connsiteX42" fmla="*/ 2289175 w 2889264"/>
              <a:gd name="connsiteY42" fmla="*/ 433804 h 722729"/>
              <a:gd name="connsiteX43" fmla="*/ 2308225 w 2889264"/>
              <a:gd name="connsiteY43" fmla="*/ 436979 h 722729"/>
              <a:gd name="connsiteX44" fmla="*/ 2333625 w 2889264"/>
              <a:gd name="connsiteY44" fmla="*/ 449679 h 722729"/>
              <a:gd name="connsiteX45" fmla="*/ 2352675 w 2889264"/>
              <a:gd name="connsiteY45" fmla="*/ 456029 h 722729"/>
              <a:gd name="connsiteX46" fmla="*/ 2397125 w 2889264"/>
              <a:gd name="connsiteY46" fmla="*/ 478254 h 722729"/>
              <a:gd name="connsiteX47" fmla="*/ 2422525 w 2889264"/>
              <a:gd name="connsiteY47" fmla="*/ 484604 h 722729"/>
              <a:gd name="connsiteX48" fmla="*/ 2432050 w 2889264"/>
              <a:gd name="connsiteY48" fmla="*/ 487779 h 722729"/>
              <a:gd name="connsiteX49" fmla="*/ 2454275 w 2889264"/>
              <a:gd name="connsiteY49" fmla="*/ 500479 h 722729"/>
              <a:gd name="connsiteX50" fmla="*/ 2470150 w 2889264"/>
              <a:gd name="connsiteY50" fmla="*/ 513179 h 722729"/>
              <a:gd name="connsiteX51" fmla="*/ 2495550 w 2889264"/>
              <a:gd name="connsiteY51" fmla="*/ 522704 h 722729"/>
              <a:gd name="connsiteX52" fmla="*/ 2546350 w 2889264"/>
              <a:gd name="connsiteY52" fmla="*/ 548104 h 722729"/>
              <a:gd name="connsiteX53" fmla="*/ 2574925 w 2889264"/>
              <a:gd name="connsiteY53" fmla="*/ 554454 h 722729"/>
              <a:gd name="connsiteX54" fmla="*/ 2600325 w 2889264"/>
              <a:gd name="connsiteY54" fmla="*/ 567154 h 722729"/>
              <a:gd name="connsiteX55" fmla="*/ 2616200 w 2889264"/>
              <a:gd name="connsiteY55" fmla="*/ 570329 h 722729"/>
              <a:gd name="connsiteX56" fmla="*/ 2638425 w 2889264"/>
              <a:gd name="connsiteY56" fmla="*/ 576679 h 722729"/>
              <a:gd name="connsiteX57" fmla="*/ 2654300 w 2889264"/>
              <a:gd name="connsiteY57" fmla="*/ 586204 h 722729"/>
              <a:gd name="connsiteX58" fmla="*/ 2673350 w 2889264"/>
              <a:gd name="connsiteY58" fmla="*/ 592554 h 722729"/>
              <a:gd name="connsiteX59" fmla="*/ 2708275 w 2889264"/>
              <a:gd name="connsiteY59" fmla="*/ 614779 h 722729"/>
              <a:gd name="connsiteX60" fmla="*/ 2730500 w 2889264"/>
              <a:gd name="connsiteY60" fmla="*/ 624304 h 722729"/>
              <a:gd name="connsiteX61" fmla="*/ 2749550 w 2889264"/>
              <a:gd name="connsiteY61" fmla="*/ 640179 h 722729"/>
              <a:gd name="connsiteX62" fmla="*/ 2774950 w 2889264"/>
              <a:gd name="connsiteY62" fmla="*/ 652879 h 722729"/>
              <a:gd name="connsiteX63" fmla="*/ 2803525 w 2889264"/>
              <a:gd name="connsiteY63" fmla="*/ 665579 h 722729"/>
              <a:gd name="connsiteX64" fmla="*/ 2816225 w 2889264"/>
              <a:gd name="connsiteY64" fmla="*/ 675104 h 722729"/>
              <a:gd name="connsiteX65" fmla="*/ 2832100 w 2889264"/>
              <a:gd name="connsiteY65" fmla="*/ 681454 h 722729"/>
              <a:gd name="connsiteX66" fmla="*/ 2876550 w 2889264"/>
              <a:gd name="connsiteY66" fmla="*/ 713204 h 722729"/>
              <a:gd name="connsiteX67" fmla="*/ 2889250 w 2889264"/>
              <a:gd name="connsiteY67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01825 w 2889264"/>
              <a:gd name="connsiteY26" fmla="*/ 240129 h 722729"/>
              <a:gd name="connsiteX27" fmla="*/ 1962150 w 2889264"/>
              <a:gd name="connsiteY27" fmla="*/ 265529 h 722729"/>
              <a:gd name="connsiteX28" fmla="*/ 1971675 w 2889264"/>
              <a:gd name="connsiteY28" fmla="*/ 271879 h 722729"/>
              <a:gd name="connsiteX29" fmla="*/ 1987550 w 2889264"/>
              <a:gd name="connsiteY29" fmla="*/ 278229 h 722729"/>
              <a:gd name="connsiteX30" fmla="*/ 2022475 w 2889264"/>
              <a:gd name="connsiteY30" fmla="*/ 290929 h 722729"/>
              <a:gd name="connsiteX31" fmla="*/ 2047875 w 2889264"/>
              <a:gd name="connsiteY31" fmla="*/ 303629 h 722729"/>
              <a:gd name="connsiteX32" fmla="*/ 2063750 w 2889264"/>
              <a:gd name="connsiteY32" fmla="*/ 309979 h 722729"/>
              <a:gd name="connsiteX33" fmla="*/ 2082800 w 2889264"/>
              <a:gd name="connsiteY33" fmla="*/ 319504 h 722729"/>
              <a:gd name="connsiteX34" fmla="*/ 2095500 w 2889264"/>
              <a:gd name="connsiteY34" fmla="*/ 322679 h 722729"/>
              <a:gd name="connsiteX35" fmla="*/ 2124075 w 2889264"/>
              <a:gd name="connsiteY35" fmla="*/ 332204 h 722729"/>
              <a:gd name="connsiteX36" fmla="*/ 2159000 w 2889264"/>
              <a:gd name="connsiteY36" fmla="*/ 348079 h 722729"/>
              <a:gd name="connsiteX37" fmla="*/ 2187575 w 2889264"/>
              <a:gd name="connsiteY37" fmla="*/ 367129 h 722729"/>
              <a:gd name="connsiteX38" fmla="*/ 2209800 w 2889264"/>
              <a:gd name="connsiteY38" fmla="*/ 383004 h 722729"/>
              <a:gd name="connsiteX39" fmla="*/ 2247900 w 2889264"/>
              <a:gd name="connsiteY39" fmla="*/ 408404 h 722729"/>
              <a:gd name="connsiteX40" fmla="*/ 2276475 w 2889264"/>
              <a:gd name="connsiteY40" fmla="*/ 424279 h 722729"/>
              <a:gd name="connsiteX41" fmla="*/ 2289175 w 2889264"/>
              <a:gd name="connsiteY41" fmla="*/ 433804 h 722729"/>
              <a:gd name="connsiteX42" fmla="*/ 2308225 w 2889264"/>
              <a:gd name="connsiteY42" fmla="*/ 436979 h 722729"/>
              <a:gd name="connsiteX43" fmla="*/ 2333625 w 2889264"/>
              <a:gd name="connsiteY43" fmla="*/ 449679 h 722729"/>
              <a:gd name="connsiteX44" fmla="*/ 2352675 w 2889264"/>
              <a:gd name="connsiteY44" fmla="*/ 456029 h 722729"/>
              <a:gd name="connsiteX45" fmla="*/ 2397125 w 2889264"/>
              <a:gd name="connsiteY45" fmla="*/ 478254 h 722729"/>
              <a:gd name="connsiteX46" fmla="*/ 2422525 w 2889264"/>
              <a:gd name="connsiteY46" fmla="*/ 484604 h 722729"/>
              <a:gd name="connsiteX47" fmla="*/ 2432050 w 2889264"/>
              <a:gd name="connsiteY47" fmla="*/ 487779 h 722729"/>
              <a:gd name="connsiteX48" fmla="*/ 2454275 w 2889264"/>
              <a:gd name="connsiteY48" fmla="*/ 500479 h 722729"/>
              <a:gd name="connsiteX49" fmla="*/ 2470150 w 2889264"/>
              <a:gd name="connsiteY49" fmla="*/ 513179 h 722729"/>
              <a:gd name="connsiteX50" fmla="*/ 2495550 w 2889264"/>
              <a:gd name="connsiteY50" fmla="*/ 522704 h 722729"/>
              <a:gd name="connsiteX51" fmla="*/ 2546350 w 2889264"/>
              <a:gd name="connsiteY51" fmla="*/ 548104 h 722729"/>
              <a:gd name="connsiteX52" fmla="*/ 2574925 w 2889264"/>
              <a:gd name="connsiteY52" fmla="*/ 554454 h 722729"/>
              <a:gd name="connsiteX53" fmla="*/ 2600325 w 2889264"/>
              <a:gd name="connsiteY53" fmla="*/ 567154 h 722729"/>
              <a:gd name="connsiteX54" fmla="*/ 2616200 w 2889264"/>
              <a:gd name="connsiteY54" fmla="*/ 570329 h 722729"/>
              <a:gd name="connsiteX55" fmla="*/ 2638425 w 2889264"/>
              <a:gd name="connsiteY55" fmla="*/ 576679 h 722729"/>
              <a:gd name="connsiteX56" fmla="*/ 2654300 w 2889264"/>
              <a:gd name="connsiteY56" fmla="*/ 586204 h 722729"/>
              <a:gd name="connsiteX57" fmla="*/ 2673350 w 2889264"/>
              <a:gd name="connsiteY57" fmla="*/ 592554 h 722729"/>
              <a:gd name="connsiteX58" fmla="*/ 2708275 w 2889264"/>
              <a:gd name="connsiteY58" fmla="*/ 614779 h 722729"/>
              <a:gd name="connsiteX59" fmla="*/ 2730500 w 2889264"/>
              <a:gd name="connsiteY59" fmla="*/ 624304 h 722729"/>
              <a:gd name="connsiteX60" fmla="*/ 2749550 w 2889264"/>
              <a:gd name="connsiteY60" fmla="*/ 640179 h 722729"/>
              <a:gd name="connsiteX61" fmla="*/ 2774950 w 2889264"/>
              <a:gd name="connsiteY61" fmla="*/ 652879 h 722729"/>
              <a:gd name="connsiteX62" fmla="*/ 2803525 w 2889264"/>
              <a:gd name="connsiteY62" fmla="*/ 665579 h 722729"/>
              <a:gd name="connsiteX63" fmla="*/ 2816225 w 2889264"/>
              <a:gd name="connsiteY63" fmla="*/ 675104 h 722729"/>
              <a:gd name="connsiteX64" fmla="*/ 2832100 w 2889264"/>
              <a:gd name="connsiteY64" fmla="*/ 681454 h 722729"/>
              <a:gd name="connsiteX65" fmla="*/ 2876550 w 2889264"/>
              <a:gd name="connsiteY65" fmla="*/ 713204 h 722729"/>
              <a:gd name="connsiteX66" fmla="*/ 2889250 w 2889264"/>
              <a:gd name="connsiteY66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01825 w 2889264"/>
              <a:gd name="connsiteY26" fmla="*/ 240129 h 722729"/>
              <a:gd name="connsiteX27" fmla="*/ 1962150 w 2889264"/>
              <a:gd name="connsiteY27" fmla="*/ 265529 h 722729"/>
              <a:gd name="connsiteX28" fmla="*/ 1971675 w 2889264"/>
              <a:gd name="connsiteY28" fmla="*/ 271879 h 722729"/>
              <a:gd name="connsiteX29" fmla="*/ 1987550 w 2889264"/>
              <a:gd name="connsiteY29" fmla="*/ 278229 h 722729"/>
              <a:gd name="connsiteX30" fmla="*/ 2047875 w 2889264"/>
              <a:gd name="connsiteY30" fmla="*/ 303629 h 722729"/>
              <a:gd name="connsiteX31" fmla="*/ 2063750 w 2889264"/>
              <a:gd name="connsiteY31" fmla="*/ 309979 h 722729"/>
              <a:gd name="connsiteX32" fmla="*/ 2082800 w 2889264"/>
              <a:gd name="connsiteY32" fmla="*/ 319504 h 722729"/>
              <a:gd name="connsiteX33" fmla="*/ 2095500 w 2889264"/>
              <a:gd name="connsiteY33" fmla="*/ 322679 h 722729"/>
              <a:gd name="connsiteX34" fmla="*/ 2124075 w 2889264"/>
              <a:gd name="connsiteY34" fmla="*/ 332204 h 722729"/>
              <a:gd name="connsiteX35" fmla="*/ 2159000 w 2889264"/>
              <a:gd name="connsiteY35" fmla="*/ 348079 h 722729"/>
              <a:gd name="connsiteX36" fmla="*/ 2187575 w 2889264"/>
              <a:gd name="connsiteY36" fmla="*/ 367129 h 722729"/>
              <a:gd name="connsiteX37" fmla="*/ 2209800 w 2889264"/>
              <a:gd name="connsiteY37" fmla="*/ 383004 h 722729"/>
              <a:gd name="connsiteX38" fmla="*/ 2247900 w 2889264"/>
              <a:gd name="connsiteY38" fmla="*/ 408404 h 722729"/>
              <a:gd name="connsiteX39" fmla="*/ 2276475 w 2889264"/>
              <a:gd name="connsiteY39" fmla="*/ 424279 h 722729"/>
              <a:gd name="connsiteX40" fmla="*/ 2289175 w 2889264"/>
              <a:gd name="connsiteY40" fmla="*/ 433804 h 722729"/>
              <a:gd name="connsiteX41" fmla="*/ 2308225 w 2889264"/>
              <a:gd name="connsiteY41" fmla="*/ 436979 h 722729"/>
              <a:gd name="connsiteX42" fmla="*/ 2333625 w 2889264"/>
              <a:gd name="connsiteY42" fmla="*/ 449679 h 722729"/>
              <a:gd name="connsiteX43" fmla="*/ 2352675 w 2889264"/>
              <a:gd name="connsiteY43" fmla="*/ 456029 h 722729"/>
              <a:gd name="connsiteX44" fmla="*/ 2397125 w 2889264"/>
              <a:gd name="connsiteY44" fmla="*/ 478254 h 722729"/>
              <a:gd name="connsiteX45" fmla="*/ 2422525 w 2889264"/>
              <a:gd name="connsiteY45" fmla="*/ 484604 h 722729"/>
              <a:gd name="connsiteX46" fmla="*/ 2432050 w 2889264"/>
              <a:gd name="connsiteY46" fmla="*/ 487779 h 722729"/>
              <a:gd name="connsiteX47" fmla="*/ 2454275 w 2889264"/>
              <a:gd name="connsiteY47" fmla="*/ 500479 h 722729"/>
              <a:gd name="connsiteX48" fmla="*/ 2470150 w 2889264"/>
              <a:gd name="connsiteY48" fmla="*/ 513179 h 722729"/>
              <a:gd name="connsiteX49" fmla="*/ 2495550 w 2889264"/>
              <a:gd name="connsiteY49" fmla="*/ 522704 h 722729"/>
              <a:gd name="connsiteX50" fmla="*/ 2546350 w 2889264"/>
              <a:gd name="connsiteY50" fmla="*/ 548104 h 722729"/>
              <a:gd name="connsiteX51" fmla="*/ 2574925 w 2889264"/>
              <a:gd name="connsiteY51" fmla="*/ 554454 h 722729"/>
              <a:gd name="connsiteX52" fmla="*/ 2600325 w 2889264"/>
              <a:gd name="connsiteY52" fmla="*/ 567154 h 722729"/>
              <a:gd name="connsiteX53" fmla="*/ 2616200 w 2889264"/>
              <a:gd name="connsiteY53" fmla="*/ 570329 h 722729"/>
              <a:gd name="connsiteX54" fmla="*/ 2638425 w 2889264"/>
              <a:gd name="connsiteY54" fmla="*/ 576679 h 722729"/>
              <a:gd name="connsiteX55" fmla="*/ 2654300 w 2889264"/>
              <a:gd name="connsiteY55" fmla="*/ 586204 h 722729"/>
              <a:gd name="connsiteX56" fmla="*/ 2673350 w 2889264"/>
              <a:gd name="connsiteY56" fmla="*/ 592554 h 722729"/>
              <a:gd name="connsiteX57" fmla="*/ 2708275 w 2889264"/>
              <a:gd name="connsiteY57" fmla="*/ 614779 h 722729"/>
              <a:gd name="connsiteX58" fmla="*/ 2730500 w 2889264"/>
              <a:gd name="connsiteY58" fmla="*/ 624304 h 722729"/>
              <a:gd name="connsiteX59" fmla="*/ 2749550 w 2889264"/>
              <a:gd name="connsiteY59" fmla="*/ 640179 h 722729"/>
              <a:gd name="connsiteX60" fmla="*/ 2774950 w 2889264"/>
              <a:gd name="connsiteY60" fmla="*/ 652879 h 722729"/>
              <a:gd name="connsiteX61" fmla="*/ 2803525 w 2889264"/>
              <a:gd name="connsiteY61" fmla="*/ 665579 h 722729"/>
              <a:gd name="connsiteX62" fmla="*/ 2816225 w 2889264"/>
              <a:gd name="connsiteY62" fmla="*/ 675104 h 722729"/>
              <a:gd name="connsiteX63" fmla="*/ 2832100 w 2889264"/>
              <a:gd name="connsiteY63" fmla="*/ 681454 h 722729"/>
              <a:gd name="connsiteX64" fmla="*/ 2876550 w 2889264"/>
              <a:gd name="connsiteY64" fmla="*/ 713204 h 722729"/>
              <a:gd name="connsiteX65" fmla="*/ 2889250 w 2889264"/>
              <a:gd name="connsiteY65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1987550 w 2889264"/>
              <a:gd name="connsiteY28" fmla="*/ 278229 h 722729"/>
              <a:gd name="connsiteX29" fmla="*/ 2047875 w 2889264"/>
              <a:gd name="connsiteY29" fmla="*/ 303629 h 722729"/>
              <a:gd name="connsiteX30" fmla="*/ 2063750 w 2889264"/>
              <a:gd name="connsiteY30" fmla="*/ 309979 h 722729"/>
              <a:gd name="connsiteX31" fmla="*/ 2082800 w 2889264"/>
              <a:gd name="connsiteY31" fmla="*/ 319504 h 722729"/>
              <a:gd name="connsiteX32" fmla="*/ 2095500 w 2889264"/>
              <a:gd name="connsiteY32" fmla="*/ 322679 h 722729"/>
              <a:gd name="connsiteX33" fmla="*/ 2124075 w 2889264"/>
              <a:gd name="connsiteY33" fmla="*/ 332204 h 722729"/>
              <a:gd name="connsiteX34" fmla="*/ 2159000 w 2889264"/>
              <a:gd name="connsiteY34" fmla="*/ 348079 h 722729"/>
              <a:gd name="connsiteX35" fmla="*/ 2187575 w 2889264"/>
              <a:gd name="connsiteY35" fmla="*/ 367129 h 722729"/>
              <a:gd name="connsiteX36" fmla="*/ 2209800 w 2889264"/>
              <a:gd name="connsiteY36" fmla="*/ 383004 h 722729"/>
              <a:gd name="connsiteX37" fmla="*/ 2247900 w 2889264"/>
              <a:gd name="connsiteY37" fmla="*/ 408404 h 722729"/>
              <a:gd name="connsiteX38" fmla="*/ 2276475 w 2889264"/>
              <a:gd name="connsiteY38" fmla="*/ 424279 h 722729"/>
              <a:gd name="connsiteX39" fmla="*/ 2289175 w 2889264"/>
              <a:gd name="connsiteY39" fmla="*/ 433804 h 722729"/>
              <a:gd name="connsiteX40" fmla="*/ 2308225 w 2889264"/>
              <a:gd name="connsiteY40" fmla="*/ 436979 h 722729"/>
              <a:gd name="connsiteX41" fmla="*/ 2333625 w 2889264"/>
              <a:gd name="connsiteY41" fmla="*/ 449679 h 722729"/>
              <a:gd name="connsiteX42" fmla="*/ 2352675 w 2889264"/>
              <a:gd name="connsiteY42" fmla="*/ 456029 h 722729"/>
              <a:gd name="connsiteX43" fmla="*/ 2397125 w 2889264"/>
              <a:gd name="connsiteY43" fmla="*/ 478254 h 722729"/>
              <a:gd name="connsiteX44" fmla="*/ 2422525 w 2889264"/>
              <a:gd name="connsiteY44" fmla="*/ 484604 h 722729"/>
              <a:gd name="connsiteX45" fmla="*/ 2432050 w 2889264"/>
              <a:gd name="connsiteY45" fmla="*/ 487779 h 722729"/>
              <a:gd name="connsiteX46" fmla="*/ 2454275 w 2889264"/>
              <a:gd name="connsiteY46" fmla="*/ 500479 h 722729"/>
              <a:gd name="connsiteX47" fmla="*/ 2470150 w 2889264"/>
              <a:gd name="connsiteY47" fmla="*/ 513179 h 722729"/>
              <a:gd name="connsiteX48" fmla="*/ 2495550 w 2889264"/>
              <a:gd name="connsiteY48" fmla="*/ 522704 h 722729"/>
              <a:gd name="connsiteX49" fmla="*/ 2546350 w 2889264"/>
              <a:gd name="connsiteY49" fmla="*/ 548104 h 722729"/>
              <a:gd name="connsiteX50" fmla="*/ 2574925 w 2889264"/>
              <a:gd name="connsiteY50" fmla="*/ 554454 h 722729"/>
              <a:gd name="connsiteX51" fmla="*/ 2600325 w 2889264"/>
              <a:gd name="connsiteY51" fmla="*/ 567154 h 722729"/>
              <a:gd name="connsiteX52" fmla="*/ 2616200 w 2889264"/>
              <a:gd name="connsiteY52" fmla="*/ 570329 h 722729"/>
              <a:gd name="connsiteX53" fmla="*/ 2638425 w 2889264"/>
              <a:gd name="connsiteY53" fmla="*/ 576679 h 722729"/>
              <a:gd name="connsiteX54" fmla="*/ 2654300 w 2889264"/>
              <a:gd name="connsiteY54" fmla="*/ 586204 h 722729"/>
              <a:gd name="connsiteX55" fmla="*/ 2673350 w 2889264"/>
              <a:gd name="connsiteY55" fmla="*/ 592554 h 722729"/>
              <a:gd name="connsiteX56" fmla="*/ 2708275 w 2889264"/>
              <a:gd name="connsiteY56" fmla="*/ 614779 h 722729"/>
              <a:gd name="connsiteX57" fmla="*/ 2730500 w 2889264"/>
              <a:gd name="connsiteY57" fmla="*/ 624304 h 722729"/>
              <a:gd name="connsiteX58" fmla="*/ 2749550 w 2889264"/>
              <a:gd name="connsiteY58" fmla="*/ 640179 h 722729"/>
              <a:gd name="connsiteX59" fmla="*/ 2774950 w 2889264"/>
              <a:gd name="connsiteY59" fmla="*/ 652879 h 722729"/>
              <a:gd name="connsiteX60" fmla="*/ 2803525 w 2889264"/>
              <a:gd name="connsiteY60" fmla="*/ 665579 h 722729"/>
              <a:gd name="connsiteX61" fmla="*/ 2816225 w 2889264"/>
              <a:gd name="connsiteY61" fmla="*/ 675104 h 722729"/>
              <a:gd name="connsiteX62" fmla="*/ 2832100 w 2889264"/>
              <a:gd name="connsiteY62" fmla="*/ 681454 h 722729"/>
              <a:gd name="connsiteX63" fmla="*/ 2876550 w 2889264"/>
              <a:gd name="connsiteY63" fmla="*/ 713204 h 722729"/>
              <a:gd name="connsiteX64" fmla="*/ 2889250 w 2889264"/>
              <a:gd name="connsiteY64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063750 w 2889264"/>
              <a:gd name="connsiteY29" fmla="*/ 309979 h 722729"/>
              <a:gd name="connsiteX30" fmla="*/ 2082800 w 2889264"/>
              <a:gd name="connsiteY30" fmla="*/ 319504 h 722729"/>
              <a:gd name="connsiteX31" fmla="*/ 2095500 w 2889264"/>
              <a:gd name="connsiteY31" fmla="*/ 322679 h 722729"/>
              <a:gd name="connsiteX32" fmla="*/ 2124075 w 2889264"/>
              <a:gd name="connsiteY32" fmla="*/ 332204 h 722729"/>
              <a:gd name="connsiteX33" fmla="*/ 2159000 w 2889264"/>
              <a:gd name="connsiteY33" fmla="*/ 348079 h 722729"/>
              <a:gd name="connsiteX34" fmla="*/ 2187575 w 2889264"/>
              <a:gd name="connsiteY34" fmla="*/ 367129 h 722729"/>
              <a:gd name="connsiteX35" fmla="*/ 2209800 w 2889264"/>
              <a:gd name="connsiteY35" fmla="*/ 383004 h 722729"/>
              <a:gd name="connsiteX36" fmla="*/ 2247900 w 2889264"/>
              <a:gd name="connsiteY36" fmla="*/ 408404 h 722729"/>
              <a:gd name="connsiteX37" fmla="*/ 2276475 w 2889264"/>
              <a:gd name="connsiteY37" fmla="*/ 424279 h 722729"/>
              <a:gd name="connsiteX38" fmla="*/ 2289175 w 2889264"/>
              <a:gd name="connsiteY38" fmla="*/ 433804 h 722729"/>
              <a:gd name="connsiteX39" fmla="*/ 2308225 w 2889264"/>
              <a:gd name="connsiteY39" fmla="*/ 436979 h 722729"/>
              <a:gd name="connsiteX40" fmla="*/ 2333625 w 2889264"/>
              <a:gd name="connsiteY40" fmla="*/ 449679 h 722729"/>
              <a:gd name="connsiteX41" fmla="*/ 2352675 w 2889264"/>
              <a:gd name="connsiteY41" fmla="*/ 456029 h 722729"/>
              <a:gd name="connsiteX42" fmla="*/ 2397125 w 2889264"/>
              <a:gd name="connsiteY42" fmla="*/ 478254 h 722729"/>
              <a:gd name="connsiteX43" fmla="*/ 2422525 w 2889264"/>
              <a:gd name="connsiteY43" fmla="*/ 484604 h 722729"/>
              <a:gd name="connsiteX44" fmla="*/ 2432050 w 2889264"/>
              <a:gd name="connsiteY44" fmla="*/ 487779 h 722729"/>
              <a:gd name="connsiteX45" fmla="*/ 2454275 w 2889264"/>
              <a:gd name="connsiteY45" fmla="*/ 500479 h 722729"/>
              <a:gd name="connsiteX46" fmla="*/ 2470150 w 2889264"/>
              <a:gd name="connsiteY46" fmla="*/ 513179 h 722729"/>
              <a:gd name="connsiteX47" fmla="*/ 2495550 w 2889264"/>
              <a:gd name="connsiteY47" fmla="*/ 522704 h 722729"/>
              <a:gd name="connsiteX48" fmla="*/ 2546350 w 2889264"/>
              <a:gd name="connsiteY48" fmla="*/ 548104 h 722729"/>
              <a:gd name="connsiteX49" fmla="*/ 2574925 w 2889264"/>
              <a:gd name="connsiteY49" fmla="*/ 554454 h 722729"/>
              <a:gd name="connsiteX50" fmla="*/ 2600325 w 2889264"/>
              <a:gd name="connsiteY50" fmla="*/ 567154 h 722729"/>
              <a:gd name="connsiteX51" fmla="*/ 2616200 w 2889264"/>
              <a:gd name="connsiteY51" fmla="*/ 570329 h 722729"/>
              <a:gd name="connsiteX52" fmla="*/ 2638425 w 2889264"/>
              <a:gd name="connsiteY52" fmla="*/ 576679 h 722729"/>
              <a:gd name="connsiteX53" fmla="*/ 2654300 w 2889264"/>
              <a:gd name="connsiteY53" fmla="*/ 586204 h 722729"/>
              <a:gd name="connsiteX54" fmla="*/ 2673350 w 2889264"/>
              <a:gd name="connsiteY54" fmla="*/ 592554 h 722729"/>
              <a:gd name="connsiteX55" fmla="*/ 2708275 w 2889264"/>
              <a:gd name="connsiteY55" fmla="*/ 614779 h 722729"/>
              <a:gd name="connsiteX56" fmla="*/ 2730500 w 2889264"/>
              <a:gd name="connsiteY56" fmla="*/ 624304 h 722729"/>
              <a:gd name="connsiteX57" fmla="*/ 2749550 w 2889264"/>
              <a:gd name="connsiteY57" fmla="*/ 640179 h 722729"/>
              <a:gd name="connsiteX58" fmla="*/ 2774950 w 2889264"/>
              <a:gd name="connsiteY58" fmla="*/ 652879 h 722729"/>
              <a:gd name="connsiteX59" fmla="*/ 2803525 w 2889264"/>
              <a:gd name="connsiteY59" fmla="*/ 665579 h 722729"/>
              <a:gd name="connsiteX60" fmla="*/ 2816225 w 2889264"/>
              <a:gd name="connsiteY60" fmla="*/ 675104 h 722729"/>
              <a:gd name="connsiteX61" fmla="*/ 2832100 w 2889264"/>
              <a:gd name="connsiteY61" fmla="*/ 681454 h 722729"/>
              <a:gd name="connsiteX62" fmla="*/ 2876550 w 2889264"/>
              <a:gd name="connsiteY62" fmla="*/ 713204 h 722729"/>
              <a:gd name="connsiteX63" fmla="*/ 2889250 w 2889264"/>
              <a:gd name="connsiteY63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063750 w 2889264"/>
              <a:gd name="connsiteY29" fmla="*/ 309979 h 722729"/>
              <a:gd name="connsiteX30" fmla="*/ 2082800 w 2889264"/>
              <a:gd name="connsiteY30" fmla="*/ 319504 h 722729"/>
              <a:gd name="connsiteX31" fmla="*/ 2095500 w 2889264"/>
              <a:gd name="connsiteY31" fmla="*/ 322679 h 722729"/>
              <a:gd name="connsiteX32" fmla="*/ 2159000 w 2889264"/>
              <a:gd name="connsiteY32" fmla="*/ 348079 h 722729"/>
              <a:gd name="connsiteX33" fmla="*/ 2187575 w 2889264"/>
              <a:gd name="connsiteY33" fmla="*/ 367129 h 722729"/>
              <a:gd name="connsiteX34" fmla="*/ 2209800 w 2889264"/>
              <a:gd name="connsiteY34" fmla="*/ 383004 h 722729"/>
              <a:gd name="connsiteX35" fmla="*/ 2247900 w 2889264"/>
              <a:gd name="connsiteY35" fmla="*/ 408404 h 722729"/>
              <a:gd name="connsiteX36" fmla="*/ 2276475 w 2889264"/>
              <a:gd name="connsiteY36" fmla="*/ 424279 h 722729"/>
              <a:gd name="connsiteX37" fmla="*/ 2289175 w 2889264"/>
              <a:gd name="connsiteY37" fmla="*/ 433804 h 722729"/>
              <a:gd name="connsiteX38" fmla="*/ 2308225 w 2889264"/>
              <a:gd name="connsiteY38" fmla="*/ 436979 h 722729"/>
              <a:gd name="connsiteX39" fmla="*/ 2333625 w 2889264"/>
              <a:gd name="connsiteY39" fmla="*/ 449679 h 722729"/>
              <a:gd name="connsiteX40" fmla="*/ 2352675 w 2889264"/>
              <a:gd name="connsiteY40" fmla="*/ 456029 h 722729"/>
              <a:gd name="connsiteX41" fmla="*/ 2397125 w 2889264"/>
              <a:gd name="connsiteY41" fmla="*/ 478254 h 722729"/>
              <a:gd name="connsiteX42" fmla="*/ 2422525 w 2889264"/>
              <a:gd name="connsiteY42" fmla="*/ 484604 h 722729"/>
              <a:gd name="connsiteX43" fmla="*/ 2432050 w 2889264"/>
              <a:gd name="connsiteY43" fmla="*/ 487779 h 722729"/>
              <a:gd name="connsiteX44" fmla="*/ 2454275 w 2889264"/>
              <a:gd name="connsiteY44" fmla="*/ 500479 h 722729"/>
              <a:gd name="connsiteX45" fmla="*/ 2470150 w 2889264"/>
              <a:gd name="connsiteY45" fmla="*/ 513179 h 722729"/>
              <a:gd name="connsiteX46" fmla="*/ 2495550 w 2889264"/>
              <a:gd name="connsiteY46" fmla="*/ 522704 h 722729"/>
              <a:gd name="connsiteX47" fmla="*/ 2546350 w 2889264"/>
              <a:gd name="connsiteY47" fmla="*/ 548104 h 722729"/>
              <a:gd name="connsiteX48" fmla="*/ 2574925 w 2889264"/>
              <a:gd name="connsiteY48" fmla="*/ 554454 h 722729"/>
              <a:gd name="connsiteX49" fmla="*/ 2600325 w 2889264"/>
              <a:gd name="connsiteY49" fmla="*/ 567154 h 722729"/>
              <a:gd name="connsiteX50" fmla="*/ 2616200 w 2889264"/>
              <a:gd name="connsiteY50" fmla="*/ 570329 h 722729"/>
              <a:gd name="connsiteX51" fmla="*/ 2638425 w 2889264"/>
              <a:gd name="connsiteY51" fmla="*/ 576679 h 722729"/>
              <a:gd name="connsiteX52" fmla="*/ 2654300 w 2889264"/>
              <a:gd name="connsiteY52" fmla="*/ 586204 h 722729"/>
              <a:gd name="connsiteX53" fmla="*/ 2673350 w 2889264"/>
              <a:gd name="connsiteY53" fmla="*/ 592554 h 722729"/>
              <a:gd name="connsiteX54" fmla="*/ 2708275 w 2889264"/>
              <a:gd name="connsiteY54" fmla="*/ 614779 h 722729"/>
              <a:gd name="connsiteX55" fmla="*/ 2730500 w 2889264"/>
              <a:gd name="connsiteY55" fmla="*/ 624304 h 722729"/>
              <a:gd name="connsiteX56" fmla="*/ 2749550 w 2889264"/>
              <a:gd name="connsiteY56" fmla="*/ 640179 h 722729"/>
              <a:gd name="connsiteX57" fmla="*/ 2774950 w 2889264"/>
              <a:gd name="connsiteY57" fmla="*/ 652879 h 722729"/>
              <a:gd name="connsiteX58" fmla="*/ 2803525 w 2889264"/>
              <a:gd name="connsiteY58" fmla="*/ 665579 h 722729"/>
              <a:gd name="connsiteX59" fmla="*/ 2816225 w 2889264"/>
              <a:gd name="connsiteY59" fmla="*/ 675104 h 722729"/>
              <a:gd name="connsiteX60" fmla="*/ 2832100 w 2889264"/>
              <a:gd name="connsiteY60" fmla="*/ 681454 h 722729"/>
              <a:gd name="connsiteX61" fmla="*/ 2876550 w 2889264"/>
              <a:gd name="connsiteY61" fmla="*/ 713204 h 722729"/>
              <a:gd name="connsiteX62" fmla="*/ 2889250 w 2889264"/>
              <a:gd name="connsiteY62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063750 w 2889264"/>
              <a:gd name="connsiteY29" fmla="*/ 309979 h 722729"/>
              <a:gd name="connsiteX30" fmla="*/ 2082800 w 2889264"/>
              <a:gd name="connsiteY30" fmla="*/ 319504 h 722729"/>
              <a:gd name="connsiteX31" fmla="*/ 2159000 w 2889264"/>
              <a:gd name="connsiteY31" fmla="*/ 348079 h 722729"/>
              <a:gd name="connsiteX32" fmla="*/ 2187575 w 2889264"/>
              <a:gd name="connsiteY32" fmla="*/ 367129 h 722729"/>
              <a:gd name="connsiteX33" fmla="*/ 2209800 w 2889264"/>
              <a:gd name="connsiteY33" fmla="*/ 383004 h 722729"/>
              <a:gd name="connsiteX34" fmla="*/ 2247900 w 2889264"/>
              <a:gd name="connsiteY34" fmla="*/ 408404 h 722729"/>
              <a:gd name="connsiteX35" fmla="*/ 2276475 w 2889264"/>
              <a:gd name="connsiteY35" fmla="*/ 424279 h 722729"/>
              <a:gd name="connsiteX36" fmla="*/ 2289175 w 2889264"/>
              <a:gd name="connsiteY36" fmla="*/ 433804 h 722729"/>
              <a:gd name="connsiteX37" fmla="*/ 2308225 w 2889264"/>
              <a:gd name="connsiteY37" fmla="*/ 436979 h 722729"/>
              <a:gd name="connsiteX38" fmla="*/ 2333625 w 2889264"/>
              <a:gd name="connsiteY38" fmla="*/ 449679 h 722729"/>
              <a:gd name="connsiteX39" fmla="*/ 2352675 w 2889264"/>
              <a:gd name="connsiteY39" fmla="*/ 456029 h 722729"/>
              <a:gd name="connsiteX40" fmla="*/ 2397125 w 2889264"/>
              <a:gd name="connsiteY40" fmla="*/ 478254 h 722729"/>
              <a:gd name="connsiteX41" fmla="*/ 2422525 w 2889264"/>
              <a:gd name="connsiteY41" fmla="*/ 484604 h 722729"/>
              <a:gd name="connsiteX42" fmla="*/ 2432050 w 2889264"/>
              <a:gd name="connsiteY42" fmla="*/ 487779 h 722729"/>
              <a:gd name="connsiteX43" fmla="*/ 2454275 w 2889264"/>
              <a:gd name="connsiteY43" fmla="*/ 500479 h 722729"/>
              <a:gd name="connsiteX44" fmla="*/ 2470150 w 2889264"/>
              <a:gd name="connsiteY44" fmla="*/ 513179 h 722729"/>
              <a:gd name="connsiteX45" fmla="*/ 2495550 w 2889264"/>
              <a:gd name="connsiteY45" fmla="*/ 522704 h 722729"/>
              <a:gd name="connsiteX46" fmla="*/ 2546350 w 2889264"/>
              <a:gd name="connsiteY46" fmla="*/ 548104 h 722729"/>
              <a:gd name="connsiteX47" fmla="*/ 2574925 w 2889264"/>
              <a:gd name="connsiteY47" fmla="*/ 554454 h 722729"/>
              <a:gd name="connsiteX48" fmla="*/ 2600325 w 2889264"/>
              <a:gd name="connsiteY48" fmla="*/ 567154 h 722729"/>
              <a:gd name="connsiteX49" fmla="*/ 2616200 w 2889264"/>
              <a:gd name="connsiteY49" fmla="*/ 570329 h 722729"/>
              <a:gd name="connsiteX50" fmla="*/ 2638425 w 2889264"/>
              <a:gd name="connsiteY50" fmla="*/ 576679 h 722729"/>
              <a:gd name="connsiteX51" fmla="*/ 2654300 w 2889264"/>
              <a:gd name="connsiteY51" fmla="*/ 586204 h 722729"/>
              <a:gd name="connsiteX52" fmla="*/ 2673350 w 2889264"/>
              <a:gd name="connsiteY52" fmla="*/ 592554 h 722729"/>
              <a:gd name="connsiteX53" fmla="*/ 2708275 w 2889264"/>
              <a:gd name="connsiteY53" fmla="*/ 614779 h 722729"/>
              <a:gd name="connsiteX54" fmla="*/ 2730500 w 2889264"/>
              <a:gd name="connsiteY54" fmla="*/ 624304 h 722729"/>
              <a:gd name="connsiteX55" fmla="*/ 2749550 w 2889264"/>
              <a:gd name="connsiteY55" fmla="*/ 640179 h 722729"/>
              <a:gd name="connsiteX56" fmla="*/ 2774950 w 2889264"/>
              <a:gd name="connsiteY56" fmla="*/ 652879 h 722729"/>
              <a:gd name="connsiteX57" fmla="*/ 2803525 w 2889264"/>
              <a:gd name="connsiteY57" fmla="*/ 665579 h 722729"/>
              <a:gd name="connsiteX58" fmla="*/ 2816225 w 2889264"/>
              <a:gd name="connsiteY58" fmla="*/ 675104 h 722729"/>
              <a:gd name="connsiteX59" fmla="*/ 2832100 w 2889264"/>
              <a:gd name="connsiteY59" fmla="*/ 681454 h 722729"/>
              <a:gd name="connsiteX60" fmla="*/ 2876550 w 2889264"/>
              <a:gd name="connsiteY60" fmla="*/ 713204 h 722729"/>
              <a:gd name="connsiteX61" fmla="*/ 2889250 w 2889264"/>
              <a:gd name="connsiteY61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063750 w 2889264"/>
              <a:gd name="connsiteY29" fmla="*/ 309979 h 722729"/>
              <a:gd name="connsiteX30" fmla="*/ 2159000 w 2889264"/>
              <a:gd name="connsiteY30" fmla="*/ 348079 h 722729"/>
              <a:gd name="connsiteX31" fmla="*/ 2187575 w 2889264"/>
              <a:gd name="connsiteY31" fmla="*/ 367129 h 722729"/>
              <a:gd name="connsiteX32" fmla="*/ 2209800 w 2889264"/>
              <a:gd name="connsiteY32" fmla="*/ 383004 h 722729"/>
              <a:gd name="connsiteX33" fmla="*/ 2247900 w 2889264"/>
              <a:gd name="connsiteY33" fmla="*/ 408404 h 722729"/>
              <a:gd name="connsiteX34" fmla="*/ 2276475 w 2889264"/>
              <a:gd name="connsiteY34" fmla="*/ 424279 h 722729"/>
              <a:gd name="connsiteX35" fmla="*/ 2289175 w 2889264"/>
              <a:gd name="connsiteY35" fmla="*/ 433804 h 722729"/>
              <a:gd name="connsiteX36" fmla="*/ 2308225 w 2889264"/>
              <a:gd name="connsiteY36" fmla="*/ 436979 h 722729"/>
              <a:gd name="connsiteX37" fmla="*/ 2333625 w 2889264"/>
              <a:gd name="connsiteY37" fmla="*/ 449679 h 722729"/>
              <a:gd name="connsiteX38" fmla="*/ 2352675 w 2889264"/>
              <a:gd name="connsiteY38" fmla="*/ 456029 h 722729"/>
              <a:gd name="connsiteX39" fmla="*/ 2397125 w 2889264"/>
              <a:gd name="connsiteY39" fmla="*/ 478254 h 722729"/>
              <a:gd name="connsiteX40" fmla="*/ 2422525 w 2889264"/>
              <a:gd name="connsiteY40" fmla="*/ 484604 h 722729"/>
              <a:gd name="connsiteX41" fmla="*/ 2432050 w 2889264"/>
              <a:gd name="connsiteY41" fmla="*/ 487779 h 722729"/>
              <a:gd name="connsiteX42" fmla="*/ 2454275 w 2889264"/>
              <a:gd name="connsiteY42" fmla="*/ 500479 h 722729"/>
              <a:gd name="connsiteX43" fmla="*/ 2470150 w 2889264"/>
              <a:gd name="connsiteY43" fmla="*/ 513179 h 722729"/>
              <a:gd name="connsiteX44" fmla="*/ 2495550 w 2889264"/>
              <a:gd name="connsiteY44" fmla="*/ 522704 h 722729"/>
              <a:gd name="connsiteX45" fmla="*/ 2546350 w 2889264"/>
              <a:gd name="connsiteY45" fmla="*/ 548104 h 722729"/>
              <a:gd name="connsiteX46" fmla="*/ 2574925 w 2889264"/>
              <a:gd name="connsiteY46" fmla="*/ 554454 h 722729"/>
              <a:gd name="connsiteX47" fmla="*/ 2600325 w 2889264"/>
              <a:gd name="connsiteY47" fmla="*/ 567154 h 722729"/>
              <a:gd name="connsiteX48" fmla="*/ 2616200 w 2889264"/>
              <a:gd name="connsiteY48" fmla="*/ 570329 h 722729"/>
              <a:gd name="connsiteX49" fmla="*/ 2638425 w 2889264"/>
              <a:gd name="connsiteY49" fmla="*/ 576679 h 722729"/>
              <a:gd name="connsiteX50" fmla="*/ 2654300 w 2889264"/>
              <a:gd name="connsiteY50" fmla="*/ 586204 h 722729"/>
              <a:gd name="connsiteX51" fmla="*/ 2673350 w 2889264"/>
              <a:gd name="connsiteY51" fmla="*/ 592554 h 722729"/>
              <a:gd name="connsiteX52" fmla="*/ 2708275 w 2889264"/>
              <a:gd name="connsiteY52" fmla="*/ 614779 h 722729"/>
              <a:gd name="connsiteX53" fmla="*/ 2730500 w 2889264"/>
              <a:gd name="connsiteY53" fmla="*/ 624304 h 722729"/>
              <a:gd name="connsiteX54" fmla="*/ 2749550 w 2889264"/>
              <a:gd name="connsiteY54" fmla="*/ 640179 h 722729"/>
              <a:gd name="connsiteX55" fmla="*/ 2774950 w 2889264"/>
              <a:gd name="connsiteY55" fmla="*/ 652879 h 722729"/>
              <a:gd name="connsiteX56" fmla="*/ 2803525 w 2889264"/>
              <a:gd name="connsiteY56" fmla="*/ 665579 h 722729"/>
              <a:gd name="connsiteX57" fmla="*/ 2816225 w 2889264"/>
              <a:gd name="connsiteY57" fmla="*/ 675104 h 722729"/>
              <a:gd name="connsiteX58" fmla="*/ 2832100 w 2889264"/>
              <a:gd name="connsiteY58" fmla="*/ 681454 h 722729"/>
              <a:gd name="connsiteX59" fmla="*/ 2876550 w 2889264"/>
              <a:gd name="connsiteY59" fmla="*/ 713204 h 722729"/>
              <a:gd name="connsiteX60" fmla="*/ 2889250 w 2889264"/>
              <a:gd name="connsiteY60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063750 w 2889264"/>
              <a:gd name="connsiteY29" fmla="*/ 309979 h 722729"/>
              <a:gd name="connsiteX30" fmla="*/ 2159000 w 2889264"/>
              <a:gd name="connsiteY30" fmla="*/ 348079 h 722729"/>
              <a:gd name="connsiteX31" fmla="*/ 2187575 w 2889264"/>
              <a:gd name="connsiteY31" fmla="*/ 367129 h 722729"/>
              <a:gd name="connsiteX32" fmla="*/ 2247900 w 2889264"/>
              <a:gd name="connsiteY32" fmla="*/ 408404 h 722729"/>
              <a:gd name="connsiteX33" fmla="*/ 2276475 w 2889264"/>
              <a:gd name="connsiteY33" fmla="*/ 424279 h 722729"/>
              <a:gd name="connsiteX34" fmla="*/ 2289175 w 2889264"/>
              <a:gd name="connsiteY34" fmla="*/ 433804 h 722729"/>
              <a:gd name="connsiteX35" fmla="*/ 2308225 w 2889264"/>
              <a:gd name="connsiteY35" fmla="*/ 436979 h 722729"/>
              <a:gd name="connsiteX36" fmla="*/ 2333625 w 2889264"/>
              <a:gd name="connsiteY36" fmla="*/ 449679 h 722729"/>
              <a:gd name="connsiteX37" fmla="*/ 2352675 w 2889264"/>
              <a:gd name="connsiteY37" fmla="*/ 456029 h 722729"/>
              <a:gd name="connsiteX38" fmla="*/ 2397125 w 2889264"/>
              <a:gd name="connsiteY38" fmla="*/ 478254 h 722729"/>
              <a:gd name="connsiteX39" fmla="*/ 2422525 w 2889264"/>
              <a:gd name="connsiteY39" fmla="*/ 484604 h 722729"/>
              <a:gd name="connsiteX40" fmla="*/ 2432050 w 2889264"/>
              <a:gd name="connsiteY40" fmla="*/ 487779 h 722729"/>
              <a:gd name="connsiteX41" fmla="*/ 2454275 w 2889264"/>
              <a:gd name="connsiteY41" fmla="*/ 500479 h 722729"/>
              <a:gd name="connsiteX42" fmla="*/ 2470150 w 2889264"/>
              <a:gd name="connsiteY42" fmla="*/ 513179 h 722729"/>
              <a:gd name="connsiteX43" fmla="*/ 2495550 w 2889264"/>
              <a:gd name="connsiteY43" fmla="*/ 522704 h 722729"/>
              <a:gd name="connsiteX44" fmla="*/ 2546350 w 2889264"/>
              <a:gd name="connsiteY44" fmla="*/ 548104 h 722729"/>
              <a:gd name="connsiteX45" fmla="*/ 2574925 w 2889264"/>
              <a:gd name="connsiteY45" fmla="*/ 554454 h 722729"/>
              <a:gd name="connsiteX46" fmla="*/ 2600325 w 2889264"/>
              <a:gd name="connsiteY46" fmla="*/ 567154 h 722729"/>
              <a:gd name="connsiteX47" fmla="*/ 2616200 w 2889264"/>
              <a:gd name="connsiteY47" fmla="*/ 570329 h 722729"/>
              <a:gd name="connsiteX48" fmla="*/ 2638425 w 2889264"/>
              <a:gd name="connsiteY48" fmla="*/ 576679 h 722729"/>
              <a:gd name="connsiteX49" fmla="*/ 2654300 w 2889264"/>
              <a:gd name="connsiteY49" fmla="*/ 586204 h 722729"/>
              <a:gd name="connsiteX50" fmla="*/ 2673350 w 2889264"/>
              <a:gd name="connsiteY50" fmla="*/ 592554 h 722729"/>
              <a:gd name="connsiteX51" fmla="*/ 2708275 w 2889264"/>
              <a:gd name="connsiteY51" fmla="*/ 614779 h 722729"/>
              <a:gd name="connsiteX52" fmla="*/ 2730500 w 2889264"/>
              <a:gd name="connsiteY52" fmla="*/ 624304 h 722729"/>
              <a:gd name="connsiteX53" fmla="*/ 2749550 w 2889264"/>
              <a:gd name="connsiteY53" fmla="*/ 640179 h 722729"/>
              <a:gd name="connsiteX54" fmla="*/ 2774950 w 2889264"/>
              <a:gd name="connsiteY54" fmla="*/ 652879 h 722729"/>
              <a:gd name="connsiteX55" fmla="*/ 2803525 w 2889264"/>
              <a:gd name="connsiteY55" fmla="*/ 665579 h 722729"/>
              <a:gd name="connsiteX56" fmla="*/ 2816225 w 2889264"/>
              <a:gd name="connsiteY56" fmla="*/ 675104 h 722729"/>
              <a:gd name="connsiteX57" fmla="*/ 2832100 w 2889264"/>
              <a:gd name="connsiteY57" fmla="*/ 681454 h 722729"/>
              <a:gd name="connsiteX58" fmla="*/ 2876550 w 2889264"/>
              <a:gd name="connsiteY58" fmla="*/ 713204 h 722729"/>
              <a:gd name="connsiteX59" fmla="*/ 2889250 w 2889264"/>
              <a:gd name="connsiteY59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063750 w 2889264"/>
              <a:gd name="connsiteY29" fmla="*/ 309979 h 722729"/>
              <a:gd name="connsiteX30" fmla="*/ 2159000 w 2889264"/>
              <a:gd name="connsiteY30" fmla="*/ 348079 h 722729"/>
              <a:gd name="connsiteX31" fmla="*/ 2247900 w 2889264"/>
              <a:gd name="connsiteY31" fmla="*/ 408404 h 722729"/>
              <a:gd name="connsiteX32" fmla="*/ 2276475 w 2889264"/>
              <a:gd name="connsiteY32" fmla="*/ 424279 h 722729"/>
              <a:gd name="connsiteX33" fmla="*/ 2289175 w 2889264"/>
              <a:gd name="connsiteY33" fmla="*/ 433804 h 722729"/>
              <a:gd name="connsiteX34" fmla="*/ 2308225 w 2889264"/>
              <a:gd name="connsiteY34" fmla="*/ 436979 h 722729"/>
              <a:gd name="connsiteX35" fmla="*/ 2333625 w 2889264"/>
              <a:gd name="connsiteY35" fmla="*/ 449679 h 722729"/>
              <a:gd name="connsiteX36" fmla="*/ 2352675 w 2889264"/>
              <a:gd name="connsiteY36" fmla="*/ 456029 h 722729"/>
              <a:gd name="connsiteX37" fmla="*/ 2397125 w 2889264"/>
              <a:gd name="connsiteY37" fmla="*/ 478254 h 722729"/>
              <a:gd name="connsiteX38" fmla="*/ 2422525 w 2889264"/>
              <a:gd name="connsiteY38" fmla="*/ 484604 h 722729"/>
              <a:gd name="connsiteX39" fmla="*/ 2432050 w 2889264"/>
              <a:gd name="connsiteY39" fmla="*/ 487779 h 722729"/>
              <a:gd name="connsiteX40" fmla="*/ 2454275 w 2889264"/>
              <a:gd name="connsiteY40" fmla="*/ 500479 h 722729"/>
              <a:gd name="connsiteX41" fmla="*/ 2470150 w 2889264"/>
              <a:gd name="connsiteY41" fmla="*/ 513179 h 722729"/>
              <a:gd name="connsiteX42" fmla="*/ 2495550 w 2889264"/>
              <a:gd name="connsiteY42" fmla="*/ 522704 h 722729"/>
              <a:gd name="connsiteX43" fmla="*/ 2546350 w 2889264"/>
              <a:gd name="connsiteY43" fmla="*/ 548104 h 722729"/>
              <a:gd name="connsiteX44" fmla="*/ 2574925 w 2889264"/>
              <a:gd name="connsiteY44" fmla="*/ 554454 h 722729"/>
              <a:gd name="connsiteX45" fmla="*/ 2600325 w 2889264"/>
              <a:gd name="connsiteY45" fmla="*/ 567154 h 722729"/>
              <a:gd name="connsiteX46" fmla="*/ 2616200 w 2889264"/>
              <a:gd name="connsiteY46" fmla="*/ 570329 h 722729"/>
              <a:gd name="connsiteX47" fmla="*/ 2638425 w 2889264"/>
              <a:gd name="connsiteY47" fmla="*/ 576679 h 722729"/>
              <a:gd name="connsiteX48" fmla="*/ 2654300 w 2889264"/>
              <a:gd name="connsiteY48" fmla="*/ 586204 h 722729"/>
              <a:gd name="connsiteX49" fmla="*/ 2673350 w 2889264"/>
              <a:gd name="connsiteY49" fmla="*/ 592554 h 722729"/>
              <a:gd name="connsiteX50" fmla="*/ 2708275 w 2889264"/>
              <a:gd name="connsiteY50" fmla="*/ 614779 h 722729"/>
              <a:gd name="connsiteX51" fmla="*/ 2730500 w 2889264"/>
              <a:gd name="connsiteY51" fmla="*/ 624304 h 722729"/>
              <a:gd name="connsiteX52" fmla="*/ 2749550 w 2889264"/>
              <a:gd name="connsiteY52" fmla="*/ 640179 h 722729"/>
              <a:gd name="connsiteX53" fmla="*/ 2774950 w 2889264"/>
              <a:gd name="connsiteY53" fmla="*/ 652879 h 722729"/>
              <a:gd name="connsiteX54" fmla="*/ 2803525 w 2889264"/>
              <a:gd name="connsiteY54" fmla="*/ 665579 h 722729"/>
              <a:gd name="connsiteX55" fmla="*/ 2816225 w 2889264"/>
              <a:gd name="connsiteY55" fmla="*/ 675104 h 722729"/>
              <a:gd name="connsiteX56" fmla="*/ 2832100 w 2889264"/>
              <a:gd name="connsiteY56" fmla="*/ 681454 h 722729"/>
              <a:gd name="connsiteX57" fmla="*/ 2876550 w 2889264"/>
              <a:gd name="connsiteY57" fmla="*/ 713204 h 722729"/>
              <a:gd name="connsiteX58" fmla="*/ 2889250 w 2889264"/>
              <a:gd name="connsiteY58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276475 w 2889264"/>
              <a:gd name="connsiteY31" fmla="*/ 424279 h 722729"/>
              <a:gd name="connsiteX32" fmla="*/ 2289175 w 2889264"/>
              <a:gd name="connsiteY32" fmla="*/ 433804 h 722729"/>
              <a:gd name="connsiteX33" fmla="*/ 2308225 w 2889264"/>
              <a:gd name="connsiteY33" fmla="*/ 436979 h 722729"/>
              <a:gd name="connsiteX34" fmla="*/ 2333625 w 2889264"/>
              <a:gd name="connsiteY34" fmla="*/ 449679 h 722729"/>
              <a:gd name="connsiteX35" fmla="*/ 2352675 w 2889264"/>
              <a:gd name="connsiteY35" fmla="*/ 456029 h 722729"/>
              <a:gd name="connsiteX36" fmla="*/ 2397125 w 2889264"/>
              <a:gd name="connsiteY36" fmla="*/ 478254 h 722729"/>
              <a:gd name="connsiteX37" fmla="*/ 2422525 w 2889264"/>
              <a:gd name="connsiteY37" fmla="*/ 484604 h 722729"/>
              <a:gd name="connsiteX38" fmla="*/ 2432050 w 2889264"/>
              <a:gd name="connsiteY38" fmla="*/ 487779 h 722729"/>
              <a:gd name="connsiteX39" fmla="*/ 2454275 w 2889264"/>
              <a:gd name="connsiteY39" fmla="*/ 500479 h 722729"/>
              <a:gd name="connsiteX40" fmla="*/ 2470150 w 2889264"/>
              <a:gd name="connsiteY40" fmla="*/ 513179 h 722729"/>
              <a:gd name="connsiteX41" fmla="*/ 2495550 w 2889264"/>
              <a:gd name="connsiteY41" fmla="*/ 522704 h 722729"/>
              <a:gd name="connsiteX42" fmla="*/ 2546350 w 2889264"/>
              <a:gd name="connsiteY42" fmla="*/ 548104 h 722729"/>
              <a:gd name="connsiteX43" fmla="*/ 2574925 w 2889264"/>
              <a:gd name="connsiteY43" fmla="*/ 554454 h 722729"/>
              <a:gd name="connsiteX44" fmla="*/ 2600325 w 2889264"/>
              <a:gd name="connsiteY44" fmla="*/ 567154 h 722729"/>
              <a:gd name="connsiteX45" fmla="*/ 2616200 w 2889264"/>
              <a:gd name="connsiteY45" fmla="*/ 570329 h 722729"/>
              <a:gd name="connsiteX46" fmla="*/ 2638425 w 2889264"/>
              <a:gd name="connsiteY46" fmla="*/ 576679 h 722729"/>
              <a:gd name="connsiteX47" fmla="*/ 2654300 w 2889264"/>
              <a:gd name="connsiteY47" fmla="*/ 586204 h 722729"/>
              <a:gd name="connsiteX48" fmla="*/ 2673350 w 2889264"/>
              <a:gd name="connsiteY48" fmla="*/ 592554 h 722729"/>
              <a:gd name="connsiteX49" fmla="*/ 2708275 w 2889264"/>
              <a:gd name="connsiteY49" fmla="*/ 614779 h 722729"/>
              <a:gd name="connsiteX50" fmla="*/ 2730500 w 2889264"/>
              <a:gd name="connsiteY50" fmla="*/ 624304 h 722729"/>
              <a:gd name="connsiteX51" fmla="*/ 2749550 w 2889264"/>
              <a:gd name="connsiteY51" fmla="*/ 640179 h 722729"/>
              <a:gd name="connsiteX52" fmla="*/ 2774950 w 2889264"/>
              <a:gd name="connsiteY52" fmla="*/ 652879 h 722729"/>
              <a:gd name="connsiteX53" fmla="*/ 2803525 w 2889264"/>
              <a:gd name="connsiteY53" fmla="*/ 665579 h 722729"/>
              <a:gd name="connsiteX54" fmla="*/ 2816225 w 2889264"/>
              <a:gd name="connsiteY54" fmla="*/ 675104 h 722729"/>
              <a:gd name="connsiteX55" fmla="*/ 2832100 w 2889264"/>
              <a:gd name="connsiteY55" fmla="*/ 681454 h 722729"/>
              <a:gd name="connsiteX56" fmla="*/ 2876550 w 2889264"/>
              <a:gd name="connsiteY56" fmla="*/ 713204 h 722729"/>
              <a:gd name="connsiteX57" fmla="*/ 2889250 w 2889264"/>
              <a:gd name="connsiteY57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276475 w 2889264"/>
              <a:gd name="connsiteY31" fmla="*/ 424279 h 722729"/>
              <a:gd name="connsiteX32" fmla="*/ 2308225 w 2889264"/>
              <a:gd name="connsiteY32" fmla="*/ 436979 h 722729"/>
              <a:gd name="connsiteX33" fmla="*/ 2333625 w 2889264"/>
              <a:gd name="connsiteY33" fmla="*/ 449679 h 722729"/>
              <a:gd name="connsiteX34" fmla="*/ 2352675 w 2889264"/>
              <a:gd name="connsiteY34" fmla="*/ 456029 h 722729"/>
              <a:gd name="connsiteX35" fmla="*/ 2397125 w 2889264"/>
              <a:gd name="connsiteY35" fmla="*/ 478254 h 722729"/>
              <a:gd name="connsiteX36" fmla="*/ 2422525 w 2889264"/>
              <a:gd name="connsiteY36" fmla="*/ 484604 h 722729"/>
              <a:gd name="connsiteX37" fmla="*/ 2432050 w 2889264"/>
              <a:gd name="connsiteY37" fmla="*/ 487779 h 722729"/>
              <a:gd name="connsiteX38" fmla="*/ 2454275 w 2889264"/>
              <a:gd name="connsiteY38" fmla="*/ 500479 h 722729"/>
              <a:gd name="connsiteX39" fmla="*/ 2470150 w 2889264"/>
              <a:gd name="connsiteY39" fmla="*/ 513179 h 722729"/>
              <a:gd name="connsiteX40" fmla="*/ 2495550 w 2889264"/>
              <a:gd name="connsiteY40" fmla="*/ 522704 h 722729"/>
              <a:gd name="connsiteX41" fmla="*/ 2546350 w 2889264"/>
              <a:gd name="connsiteY41" fmla="*/ 548104 h 722729"/>
              <a:gd name="connsiteX42" fmla="*/ 2574925 w 2889264"/>
              <a:gd name="connsiteY42" fmla="*/ 554454 h 722729"/>
              <a:gd name="connsiteX43" fmla="*/ 2600325 w 2889264"/>
              <a:gd name="connsiteY43" fmla="*/ 567154 h 722729"/>
              <a:gd name="connsiteX44" fmla="*/ 2616200 w 2889264"/>
              <a:gd name="connsiteY44" fmla="*/ 570329 h 722729"/>
              <a:gd name="connsiteX45" fmla="*/ 2638425 w 2889264"/>
              <a:gd name="connsiteY45" fmla="*/ 576679 h 722729"/>
              <a:gd name="connsiteX46" fmla="*/ 2654300 w 2889264"/>
              <a:gd name="connsiteY46" fmla="*/ 586204 h 722729"/>
              <a:gd name="connsiteX47" fmla="*/ 2673350 w 2889264"/>
              <a:gd name="connsiteY47" fmla="*/ 592554 h 722729"/>
              <a:gd name="connsiteX48" fmla="*/ 2708275 w 2889264"/>
              <a:gd name="connsiteY48" fmla="*/ 614779 h 722729"/>
              <a:gd name="connsiteX49" fmla="*/ 2730500 w 2889264"/>
              <a:gd name="connsiteY49" fmla="*/ 624304 h 722729"/>
              <a:gd name="connsiteX50" fmla="*/ 2749550 w 2889264"/>
              <a:gd name="connsiteY50" fmla="*/ 640179 h 722729"/>
              <a:gd name="connsiteX51" fmla="*/ 2774950 w 2889264"/>
              <a:gd name="connsiteY51" fmla="*/ 652879 h 722729"/>
              <a:gd name="connsiteX52" fmla="*/ 2803525 w 2889264"/>
              <a:gd name="connsiteY52" fmla="*/ 665579 h 722729"/>
              <a:gd name="connsiteX53" fmla="*/ 2816225 w 2889264"/>
              <a:gd name="connsiteY53" fmla="*/ 675104 h 722729"/>
              <a:gd name="connsiteX54" fmla="*/ 2832100 w 2889264"/>
              <a:gd name="connsiteY54" fmla="*/ 681454 h 722729"/>
              <a:gd name="connsiteX55" fmla="*/ 2876550 w 2889264"/>
              <a:gd name="connsiteY55" fmla="*/ 713204 h 722729"/>
              <a:gd name="connsiteX56" fmla="*/ 2889250 w 2889264"/>
              <a:gd name="connsiteY56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276475 w 2889264"/>
              <a:gd name="connsiteY31" fmla="*/ 424279 h 722729"/>
              <a:gd name="connsiteX32" fmla="*/ 2308225 w 2889264"/>
              <a:gd name="connsiteY32" fmla="*/ 436979 h 722729"/>
              <a:gd name="connsiteX33" fmla="*/ 2333625 w 2889264"/>
              <a:gd name="connsiteY33" fmla="*/ 449679 h 722729"/>
              <a:gd name="connsiteX34" fmla="*/ 2397125 w 2889264"/>
              <a:gd name="connsiteY34" fmla="*/ 478254 h 722729"/>
              <a:gd name="connsiteX35" fmla="*/ 2422525 w 2889264"/>
              <a:gd name="connsiteY35" fmla="*/ 484604 h 722729"/>
              <a:gd name="connsiteX36" fmla="*/ 2432050 w 2889264"/>
              <a:gd name="connsiteY36" fmla="*/ 487779 h 722729"/>
              <a:gd name="connsiteX37" fmla="*/ 2454275 w 2889264"/>
              <a:gd name="connsiteY37" fmla="*/ 500479 h 722729"/>
              <a:gd name="connsiteX38" fmla="*/ 2470150 w 2889264"/>
              <a:gd name="connsiteY38" fmla="*/ 513179 h 722729"/>
              <a:gd name="connsiteX39" fmla="*/ 2495550 w 2889264"/>
              <a:gd name="connsiteY39" fmla="*/ 522704 h 722729"/>
              <a:gd name="connsiteX40" fmla="*/ 2546350 w 2889264"/>
              <a:gd name="connsiteY40" fmla="*/ 548104 h 722729"/>
              <a:gd name="connsiteX41" fmla="*/ 2574925 w 2889264"/>
              <a:gd name="connsiteY41" fmla="*/ 554454 h 722729"/>
              <a:gd name="connsiteX42" fmla="*/ 2600325 w 2889264"/>
              <a:gd name="connsiteY42" fmla="*/ 567154 h 722729"/>
              <a:gd name="connsiteX43" fmla="*/ 2616200 w 2889264"/>
              <a:gd name="connsiteY43" fmla="*/ 570329 h 722729"/>
              <a:gd name="connsiteX44" fmla="*/ 2638425 w 2889264"/>
              <a:gd name="connsiteY44" fmla="*/ 576679 h 722729"/>
              <a:gd name="connsiteX45" fmla="*/ 2654300 w 2889264"/>
              <a:gd name="connsiteY45" fmla="*/ 586204 h 722729"/>
              <a:gd name="connsiteX46" fmla="*/ 2673350 w 2889264"/>
              <a:gd name="connsiteY46" fmla="*/ 592554 h 722729"/>
              <a:gd name="connsiteX47" fmla="*/ 2708275 w 2889264"/>
              <a:gd name="connsiteY47" fmla="*/ 614779 h 722729"/>
              <a:gd name="connsiteX48" fmla="*/ 2730500 w 2889264"/>
              <a:gd name="connsiteY48" fmla="*/ 624304 h 722729"/>
              <a:gd name="connsiteX49" fmla="*/ 2749550 w 2889264"/>
              <a:gd name="connsiteY49" fmla="*/ 640179 h 722729"/>
              <a:gd name="connsiteX50" fmla="*/ 2774950 w 2889264"/>
              <a:gd name="connsiteY50" fmla="*/ 652879 h 722729"/>
              <a:gd name="connsiteX51" fmla="*/ 2803525 w 2889264"/>
              <a:gd name="connsiteY51" fmla="*/ 665579 h 722729"/>
              <a:gd name="connsiteX52" fmla="*/ 2816225 w 2889264"/>
              <a:gd name="connsiteY52" fmla="*/ 675104 h 722729"/>
              <a:gd name="connsiteX53" fmla="*/ 2832100 w 2889264"/>
              <a:gd name="connsiteY53" fmla="*/ 681454 h 722729"/>
              <a:gd name="connsiteX54" fmla="*/ 2876550 w 2889264"/>
              <a:gd name="connsiteY54" fmla="*/ 713204 h 722729"/>
              <a:gd name="connsiteX55" fmla="*/ 2889250 w 2889264"/>
              <a:gd name="connsiteY55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276475 w 2889264"/>
              <a:gd name="connsiteY31" fmla="*/ 424279 h 722729"/>
              <a:gd name="connsiteX32" fmla="*/ 2333625 w 2889264"/>
              <a:gd name="connsiteY32" fmla="*/ 449679 h 722729"/>
              <a:gd name="connsiteX33" fmla="*/ 2397125 w 2889264"/>
              <a:gd name="connsiteY33" fmla="*/ 478254 h 722729"/>
              <a:gd name="connsiteX34" fmla="*/ 2422525 w 2889264"/>
              <a:gd name="connsiteY34" fmla="*/ 484604 h 722729"/>
              <a:gd name="connsiteX35" fmla="*/ 2432050 w 2889264"/>
              <a:gd name="connsiteY35" fmla="*/ 487779 h 722729"/>
              <a:gd name="connsiteX36" fmla="*/ 2454275 w 2889264"/>
              <a:gd name="connsiteY36" fmla="*/ 500479 h 722729"/>
              <a:gd name="connsiteX37" fmla="*/ 2470150 w 2889264"/>
              <a:gd name="connsiteY37" fmla="*/ 513179 h 722729"/>
              <a:gd name="connsiteX38" fmla="*/ 2495550 w 2889264"/>
              <a:gd name="connsiteY38" fmla="*/ 522704 h 722729"/>
              <a:gd name="connsiteX39" fmla="*/ 2546350 w 2889264"/>
              <a:gd name="connsiteY39" fmla="*/ 548104 h 722729"/>
              <a:gd name="connsiteX40" fmla="*/ 2574925 w 2889264"/>
              <a:gd name="connsiteY40" fmla="*/ 554454 h 722729"/>
              <a:gd name="connsiteX41" fmla="*/ 2600325 w 2889264"/>
              <a:gd name="connsiteY41" fmla="*/ 567154 h 722729"/>
              <a:gd name="connsiteX42" fmla="*/ 2616200 w 2889264"/>
              <a:gd name="connsiteY42" fmla="*/ 570329 h 722729"/>
              <a:gd name="connsiteX43" fmla="*/ 2638425 w 2889264"/>
              <a:gd name="connsiteY43" fmla="*/ 576679 h 722729"/>
              <a:gd name="connsiteX44" fmla="*/ 2654300 w 2889264"/>
              <a:gd name="connsiteY44" fmla="*/ 586204 h 722729"/>
              <a:gd name="connsiteX45" fmla="*/ 2673350 w 2889264"/>
              <a:gd name="connsiteY45" fmla="*/ 592554 h 722729"/>
              <a:gd name="connsiteX46" fmla="*/ 2708275 w 2889264"/>
              <a:gd name="connsiteY46" fmla="*/ 614779 h 722729"/>
              <a:gd name="connsiteX47" fmla="*/ 2730500 w 2889264"/>
              <a:gd name="connsiteY47" fmla="*/ 624304 h 722729"/>
              <a:gd name="connsiteX48" fmla="*/ 2749550 w 2889264"/>
              <a:gd name="connsiteY48" fmla="*/ 640179 h 722729"/>
              <a:gd name="connsiteX49" fmla="*/ 2774950 w 2889264"/>
              <a:gd name="connsiteY49" fmla="*/ 652879 h 722729"/>
              <a:gd name="connsiteX50" fmla="*/ 2803525 w 2889264"/>
              <a:gd name="connsiteY50" fmla="*/ 665579 h 722729"/>
              <a:gd name="connsiteX51" fmla="*/ 2816225 w 2889264"/>
              <a:gd name="connsiteY51" fmla="*/ 675104 h 722729"/>
              <a:gd name="connsiteX52" fmla="*/ 2832100 w 2889264"/>
              <a:gd name="connsiteY52" fmla="*/ 681454 h 722729"/>
              <a:gd name="connsiteX53" fmla="*/ 2876550 w 2889264"/>
              <a:gd name="connsiteY53" fmla="*/ 713204 h 722729"/>
              <a:gd name="connsiteX54" fmla="*/ 2889250 w 2889264"/>
              <a:gd name="connsiteY54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22525 w 2889264"/>
              <a:gd name="connsiteY33" fmla="*/ 484604 h 722729"/>
              <a:gd name="connsiteX34" fmla="*/ 2432050 w 2889264"/>
              <a:gd name="connsiteY34" fmla="*/ 487779 h 722729"/>
              <a:gd name="connsiteX35" fmla="*/ 2454275 w 2889264"/>
              <a:gd name="connsiteY35" fmla="*/ 500479 h 722729"/>
              <a:gd name="connsiteX36" fmla="*/ 2470150 w 2889264"/>
              <a:gd name="connsiteY36" fmla="*/ 513179 h 722729"/>
              <a:gd name="connsiteX37" fmla="*/ 2495550 w 2889264"/>
              <a:gd name="connsiteY37" fmla="*/ 522704 h 722729"/>
              <a:gd name="connsiteX38" fmla="*/ 2546350 w 2889264"/>
              <a:gd name="connsiteY38" fmla="*/ 548104 h 722729"/>
              <a:gd name="connsiteX39" fmla="*/ 2574925 w 2889264"/>
              <a:gd name="connsiteY39" fmla="*/ 554454 h 722729"/>
              <a:gd name="connsiteX40" fmla="*/ 2600325 w 2889264"/>
              <a:gd name="connsiteY40" fmla="*/ 567154 h 722729"/>
              <a:gd name="connsiteX41" fmla="*/ 2616200 w 2889264"/>
              <a:gd name="connsiteY41" fmla="*/ 570329 h 722729"/>
              <a:gd name="connsiteX42" fmla="*/ 2638425 w 2889264"/>
              <a:gd name="connsiteY42" fmla="*/ 576679 h 722729"/>
              <a:gd name="connsiteX43" fmla="*/ 2654300 w 2889264"/>
              <a:gd name="connsiteY43" fmla="*/ 586204 h 722729"/>
              <a:gd name="connsiteX44" fmla="*/ 2673350 w 2889264"/>
              <a:gd name="connsiteY44" fmla="*/ 592554 h 722729"/>
              <a:gd name="connsiteX45" fmla="*/ 2708275 w 2889264"/>
              <a:gd name="connsiteY45" fmla="*/ 614779 h 722729"/>
              <a:gd name="connsiteX46" fmla="*/ 2730500 w 2889264"/>
              <a:gd name="connsiteY46" fmla="*/ 624304 h 722729"/>
              <a:gd name="connsiteX47" fmla="*/ 2749550 w 2889264"/>
              <a:gd name="connsiteY47" fmla="*/ 640179 h 722729"/>
              <a:gd name="connsiteX48" fmla="*/ 2774950 w 2889264"/>
              <a:gd name="connsiteY48" fmla="*/ 652879 h 722729"/>
              <a:gd name="connsiteX49" fmla="*/ 2803525 w 2889264"/>
              <a:gd name="connsiteY49" fmla="*/ 665579 h 722729"/>
              <a:gd name="connsiteX50" fmla="*/ 2816225 w 2889264"/>
              <a:gd name="connsiteY50" fmla="*/ 675104 h 722729"/>
              <a:gd name="connsiteX51" fmla="*/ 2832100 w 2889264"/>
              <a:gd name="connsiteY51" fmla="*/ 681454 h 722729"/>
              <a:gd name="connsiteX52" fmla="*/ 2876550 w 2889264"/>
              <a:gd name="connsiteY52" fmla="*/ 713204 h 722729"/>
              <a:gd name="connsiteX53" fmla="*/ 2889250 w 2889264"/>
              <a:gd name="connsiteY53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22525 w 2889264"/>
              <a:gd name="connsiteY33" fmla="*/ 484604 h 722729"/>
              <a:gd name="connsiteX34" fmla="*/ 2432050 w 2889264"/>
              <a:gd name="connsiteY34" fmla="*/ 487779 h 722729"/>
              <a:gd name="connsiteX35" fmla="*/ 2470150 w 2889264"/>
              <a:gd name="connsiteY35" fmla="*/ 513179 h 722729"/>
              <a:gd name="connsiteX36" fmla="*/ 2495550 w 2889264"/>
              <a:gd name="connsiteY36" fmla="*/ 522704 h 722729"/>
              <a:gd name="connsiteX37" fmla="*/ 2546350 w 2889264"/>
              <a:gd name="connsiteY37" fmla="*/ 548104 h 722729"/>
              <a:gd name="connsiteX38" fmla="*/ 2574925 w 2889264"/>
              <a:gd name="connsiteY38" fmla="*/ 554454 h 722729"/>
              <a:gd name="connsiteX39" fmla="*/ 2600325 w 2889264"/>
              <a:gd name="connsiteY39" fmla="*/ 567154 h 722729"/>
              <a:gd name="connsiteX40" fmla="*/ 2616200 w 2889264"/>
              <a:gd name="connsiteY40" fmla="*/ 570329 h 722729"/>
              <a:gd name="connsiteX41" fmla="*/ 2638425 w 2889264"/>
              <a:gd name="connsiteY41" fmla="*/ 576679 h 722729"/>
              <a:gd name="connsiteX42" fmla="*/ 2654300 w 2889264"/>
              <a:gd name="connsiteY42" fmla="*/ 586204 h 722729"/>
              <a:gd name="connsiteX43" fmla="*/ 2673350 w 2889264"/>
              <a:gd name="connsiteY43" fmla="*/ 592554 h 722729"/>
              <a:gd name="connsiteX44" fmla="*/ 2708275 w 2889264"/>
              <a:gd name="connsiteY44" fmla="*/ 614779 h 722729"/>
              <a:gd name="connsiteX45" fmla="*/ 2730500 w 2889264"/>
              <a:gd name="connsiteY45" fmla="*/ 624304 h 722729"/>
              <a:gd name="connsiteX46" fmla="*/ 2749550 w 2889264"/>
              <a:gd name="connsiteY46" fmla="*/ 640179 h 722729"/>
              <a:gd name="connsiteX47" fmla="*/ 2774950 w 2889264"/>
              <a:gd name="connsiteY47" fmla="*/ 652879 h 722729"/>
              <a:gd name="connsiteX48" fmla="*/ 2803525 w 2889264"/>
              <a:gd name="connsiteY48" fmla="*/ 665579 h 722729"/>
              <a:gd name="connsiteX49" fmla="*/ 2816225 w 2889264"/>
              <a:gd name="connsiteY49" fmla="*/ 675104 h 722729"/>
              <a:gd name="connsiteX50" fmla="*/ 2832100 w 2889264"/>
              <a:gd name="connsiteY50" fmla="*/ 681454 h 722729"/>
              <a:gd name="connsiteX51" fmla="*/ 2876550 w 2889264"/>
              <a:gd name="connsiteY51" fmla="*/ 713204 h 722729"/>
              <a:gd name="connsiteX52" fmla="*/ 2889250 w 2889264"/>
              <a:gd name="connsiteY52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22525 w 2889264"/>
              <a:gd name="connsiteY33" fmla="*/ 484604 h 722729"/>
              <a:gd name="connsiteX34" fmla="*/ 2432050 w 2889264"/>
              <a:gd name="connsiteY34" fmla="*/ 487779 h 722729"/>
              <a:gd name="connsiteX35" fmla="*/ 2495550 w 2889264"/>
              <a:gd name="connsiteY35" fmla="*/ 522704 h 722729"/>
              <a:gd name="connsiteX36" fmla="*/ 2546350 w 2889264"/>
              <a:gd name="connsiteY36" fmla="*/ 548104 h 722729"/>
              <a:gd name="connsiteX37" fmla="*/ 2574925 w 2889264"/>
              <a:gd name="connsiteY37" fmla="*/ 554454 h 722729"/>
              <a:gd name="connsiteX38" fmla="*/ 2600325 w 2889264"/>
              <a:gd name="connsiteY38" fmla="*/ 567154 h 722729"/>
              <a:gd name="connsiteX39" fmla="*/ 2616200 w 2889264"/>
              <a:gd name="connsiteY39" fmla="*/ 570329 h 722729"/>
              <a:gd name="connsiteX40" fmla="*/ 2638425 w 2889264"/>
              <a:gd name="connsiteY40" fmla="*/ 576679 h 722729"/>
              <a:gd name="connsiteX41" fmla="*/ 2654300 w 2889264"/>
              <a:gd name="connsiteY41" fmla="*/ 586204 h 722729"/>
              <a:gd name="connsiteX42" fmla="*/ 2673350 w 2889264"/>
              <a:gd name="connsiteY42" fmla="*/ 592554 h 722729"/>
              <a:gd name="connsiteX43" fmla="*/ 2708275 w 2889264"/>
              <a:gd name="connsiteY43" fmla="*/ 614779 h 722729"/>
              <a:gd name="connsiteX44" fmla="*/ 2730500 w 2889264"/>
              <a:gd name="connsiteY44" fmla="*/ 624304 h 722729"/>
              <a:gd name="connsiteX45" fmla="*/ 2749550 w 2889264"/>
              <a:gd name="connsiteY45" fmla="*/ 640179 h 722729"/>
              <a:gd name="connsiteX46" fmla="*/ 2774950 w 2889264"/>
              <a:gd name="connsiteY46" fmla="*/ 652879 h 722729"/>
              <a:gd name="connsiteX47" fmla="*/ 2803525 w 2889264"/>
              <a:gd name="connsiteY47" fmla="*/ 665579 h 722729"/>
              <a:gd name="connsiteX48" fmla="*/ 2816225 w 2889264"/>
              <a:gd name="connsiteY48" fmla="*/ 675104 h 722729"/>
              <a:gd name="connsiteX49" fmla="*/ 2832100 w 2889264"/>
              <a:gd name="connsiteY49" fmla="*/ 681454 h 722729"/>
              <a:gd name="connsiteX50" fmla="*/ 2876550 w 2889264"/>
              <a:gd name="connsiteY50" fmla="*/ 713204 h 722729"/>
              <a:gd name="connsiteX51" fmla="*/ 2889250 w 2889264"/>
              <a:gd name="connsiteY51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22525 w 2889264"/>
              <a:gd name="connsiteY33" fmla="*/ 484604 h 722729"/>
              <a:gd name="connsiteX34" fmla="*/ 2495550 w 2889264"/>
              <a:gd name="connsiteY34" fmla="*/ 522704 h 722729"/>
              <a:gd name="connsiteX35" fmla="*/ 2546350 w 2889264"/>
              <a:gd name="connsiteY35" fmla="*/ 548104 h 722729"/>
              <a:gd name="connsiteX36" fmla="*/ 2574925 w 2889264"/>
              <a:gd name="connsiteY36" fmla="*/ 554454 h 722729"/>
              <a:gd name="connsiteX37" fmla="*/ 2600325 w 2889264"/>
              <a:gd name="connsiteY37" fmla="*/ 567154 h 722729"/>
              <a:gd name="connsiteX38" fmla="*/ 2616200 w 2889264"/>
              <a:gd name="connsiteY38" fmla="*/ 570329 h 722729"/>
              <a:gd name="connsiteX39" fmla="*/ 2638425 w 2889264"/>
              <a:gd name="connsiteY39" fmla="*/ 576679 h 722729"/>
              <a:gd name="connsiteX40" fmla="*/ 2654300 w 2889264"/>
              <a:gd name="connsiteY40" fmla="*/ 586204 h 722729"/>
              <a:gd name="connsiteX41" fmla="*/ 2673350 w 2889264"/>
              <a:gd name="connsiteY41" fmla="*/ 592554 h 722729"/>
              <a:gd name="connsiteX42" fmla="*/ 2708275 w 2889264"/>
              <a:gd name="connsiteY42" fmla="*/ 614779 h 722729"/>
              <a:gd name="connsiteX43" fmla="*/ 2730500 w 2889264"/>
              <a:gd name="connsiteY43" fmla="*/ 624304 h 722729"/>
              <a:gd name="connsiteX44" fmla="*/ 2749550 w 2889264"/>
              <a:gd name="connsiteY44" fmla="*/ 640179 h 722729"/>
              <a:gd name="connsiteX45" fmla="*/ 2774950 w 2889264"/>
              <a:gd name="connsiteY45" fmla="*/ 652879 h 722729"/>
              <a:gd name="connsiteX46" fmla="*/ 2803525 w 2889264"/>
              <a:gd name="connsiteY46" fmla="*/ 665579 h 722729"/>
              <a:gd name="connsiteX47" fmla="*/ 2816225 w 2889264"/>
              <a:gd name="connsiteY47" fmla="*/ 675104 h 722729"/>
              <a:gd name="connsiteX48" fmla="*/ 2832100 w 2889264"/>
              <a:gd name="connsiteY48" fmla="*/ 681454 h 722729"/>
              <a:gd name="connsiteX49" fmla="*/ 2876550 w 2889264"/>
              <a:gd name="connsiteY49" fmla="*/ 713204 h 722729"/>
              <a:gd name="connsiteX50" fmla="*/ 2889250 w 2889264"/>
              <a:gd name="connsiteY50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574925 w 2889264"/>
              <a:gd name="connsiteY35" fmla="*/ 554454 h 722729"/>
              <a:gd name="connsiteX36" fmla="*/ 2600325 w 2889264"/>
              <a:gd name="connsiteY36" fmla="*/ 567154 h 722729"/>
              <a:gd name="connsiteX37" fmla="*/ 2616200 w 2889264"/>
              <a:gd name="connsiteY37" fmla="*/ 570329 h 722729"/>
              <a:gd name="connsiteX38" fmla="*/ 2638425 w 2889264"/>
              <a:gd name="connsiteY38" fmla="*/ 576679 h 722729"/>
              <a:gd name="connsiteX39" fmla="*/ 2654300 w 2889264"/>
              <a:gd name="connsiteY39" fmla="*/ 586204 h 722729"/>
              <a:gd name="connsiteX40" fmla="*/ 2673350 w 2889264"/>
              <a:gd name="connsiteY40" fmla="*/ 592554 h 722729"/>
              <a:gd name="connsiteX41" fmla="*/ 2708275 w 2889264"/>
              <a:gd name="connsiteY41" fmla="*/ 614779 h 722729"/>
              <a:gd name="connsiteX42" fmla="*/ 2730500 w 2889264"/>
              <a:gd name="connsiteY42" fmla="*/ 624304 h 722729"/>
              <a:gd name="connsiteX43" fmla="*/ 2749550 w 2889264"/>
              <a:gd name="connsiteY43" fmla="*/ 640179 h 722729"/>
              <a:gd name="connsiteX44" fmla="*/ 2774950 w 2889264"/>
              <a:gd name="connsiteY44" fmla="*/ 652879 h 722729"/>
              <a:gd name="connsiteX45" fmla="*/ 2803525 w 2889264"/>
              <a:gd name="connsiteY45" fmla="*/ 665579 h 722729"/>
              <a:gd name="connsiteX46" fmla="*/ 2816225 w 2889264"/>
              <a:gd name="connsiteY46" fmla="*/ 675104 h 722729"/>
              <a:gd name="connsiteX47" fmla="*/ 2832100 w 2889264"/>
              <a:gd name="connsiteY47" fmla="*/ 681454 h 722729"/>
              <a:gd name="connsiteX48" fmla="*/ 2876550 w 2889264"/>
              <a:gd name="connsiteY48" fmla="*/ 713204 h 722729"/>
              <a:gd name="connsiteX49" fmla="*/ 2889250 w 2889264"/>
              <a:gd name="connsiteY49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574925 w 2889264"/>
              <a:gd name="connsiteY35" fmla="*/ 554454 h 722729"/>
              <a:gd name="connsiteX36" fmla="*/ 2616200 w 2889264"/>
              <a:gd name="connsiteY36" fmla="*/ 570329 h 722729"/>
              <a:gd name="connsiteX37" fmla="*/ 2638425 w 2889264"/>
              <a:gd name="connsiteY37" fmla="*/ 576679 h 722729"/>
              <a:gd name="connsiteX38" fmla="*/ 2654300 w 2889264"/>
              <a:gd name="connsiteY38" fmla="*/ 586204 h 722729"/>
              <a:gd name="connsiteX39" fmla="*/ 2673350 w 2889264"/>
              <a:gd name="connsiteY39" fmla="*/ 592554 h 722729"/>
              <a:gd name="connsiteX40" fmla="*/ 2708275 w 2889264"/>
              <a:gd name="connsiteY40" fmla="*/ 614779 h 722729"/>
              <a:gd name="connsiteX41" fmla="*/ 2730500 w 2889264"/>
              <a:gd name="connsiteY41" fmla="*/ 624304 h 722729"/>
              <a:gd name="connsiteX42" fmla="*/ 2749550 w 2889264"/>
              <a:gd name="connsiteY42" fmla="*/ 640179 h 722729"/>
              <a:gd name="connsiteX43" fmla="*/ 2774950 w 2889264"/>
              <a:gd name="connsiteY43" fmla="*/ 652879 h 722729"/>
              <a:gd name="connsiteX44" fmla="*/ 2803525 w 2889264"/>
              <a:gd name="connsiteY44" fmla="*/ 665579 h 722729"/>
              <a:gd name="connsiteX45" fmla="*/ 2816225 w 2889264"/>
              <a:gd name="connsiteY45" fmla="*/ 675104 h 722729"/>
              <a:gd name="connsiteX46" fmla="*/ 2832100 w 2889264"/>
              <a:gd name="connsiteY46" fmla="*/ 681454 h 722729"/>
              <a:gd name="connsiteX47" fmla="*/ 2876550 w 2889264"/>
              <a:gd name="connsiteY47" fmla="*/ 713204 h 722729"/>
              <a:gd name="connsiteX48" fmla="*/ 2889250 w 2889264"/>
              <a:gd name="connsiteY48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574925 w 2889264"/>
              <a:gd name="connsiteY35" fmla="*/ 554454 h 722729"/>
              <a:gd name="connsiteX36" fmla="*/ 2616200 w 2889264"/>
              <a:gd name="connsiteY36" fmla="*/ 570329 h 722729"/>
              <a:gd name="connsiteX37" fmla="*/ 2654300 w 2889264"/>
              <a:gd name="connsiteY37" fmla="*/ 586204 h 722729"/>
              <a:gd name="connsiteX38" fmla="*/ 2673350 w 2889264"/>
              <a:gd name="connsiteY38" fmla="*/ 592554 h 722729"/>
              <a:gd name="connsiteX39" fmla="*/ 2708275 w 2889264"/>
              <a:gd name="connsiteY39" fmla="*/ 614779 h 722729"/>
              <a:gd name="connsiteX40" fmla="*/ 2730500 w 2889264"/>
              <a:gd name="connsiteY40" fmla="*/ 624304 h 722729"/>
              <a:gd name="connsiteX41" fmla="*/ 2749550 w 2889264"/>
              <a:gd name="connsiteY41" fmla="*/ 640179 h 722729"/>
              <a:gd name="connsiteX42" fmla="*/ 2774950 w 2889264"/>
              <a:gd name="connsiteY42" fmla="*/ 652879 h 722729"/>
              <a:gd name="connsiteX43" fmla="*/ 2803525 w 2889264"/>
              <a:gd name="connsiteY43" fmla="*/ 665579 h 722729"/>
              <a:gd name="connsiteX44" fmla="*/ 2816225 w 2889264"/>
              <a:gd name="connsiteY44" fmla="*/ 675104 h 722729"/>
              <a:gd name="connsiteX45" fmla="*/ 2832100 w 2889264"/>
              <a:gd name="connsiteY45" fmla="*/ 681454 h 722729"/>
              <a:gd name="connsiteX46" fmla="*/ 2876550 w 2889264"/>
              <a:gd name="connsiteY46" fmla="*/ 713204 h 722729"/>
              <a:gd name="connsiteX47" fmla="*/ 2889250 w 2889264"/>
              <a:gd name="connsiteY47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574925 w 2889264"/>
              <a:gd name="connsiteY35" fmla="*/ 554454 h 722729"/>
              <a:gd name="connsiteX36" fmla="*/ 2616200 w 2889264"/>
              <a:gd name="connsiteY36" fmla="*/ 570329 h 722729"/>
              <a:gd name="connsiteX37" fmla="*/ 2673350 w 2889264"/>
              <a:gd name="connsiteY37" fmla="*/ 592554 h 722729"/>
              <a:gd name="connsiteX38" fmla="*/ 2708275 w 2889264"/>
              <a:gd name="connsiteY38" fmla="*/ 614779 h 722729"/>
              <a:gd name="connsiteX39" fmla="*/ 2730500 w 2889264"/>
              <a:gd name="connsiteY39" fmla="*/ 624304 h 722729"/>
              <a:gd name="connsiteX40" fmla="*/ 2749550 w 2889264"/>
              <a:gd name="connsiteY40" fmla="*/ 640179 h 722729"/>
              <a:gd name="connsiteX41" fmla="*/ 2774950 w 2889264"/>
              <a:gd name="connsiteY41" fmla="*/ 652879 h 722729"/>
              <a:gd name="connsiteX42" fmla="*/ 2803525 w 2889264"/>
              <a:gd name="connsiteY42" fmla="*/ 665579 h 722729"/>
              <a:gd name="connsiteX43" fmla="*/ 2816225 w 2889264"/>
              <a:gd name="connsiteY43" fmla="*/ 675104 h 722729"/>
              <a:gd name="connsiteX44" fmla="*/ 2832100 w 2889264"/>
              <a:gd name="connsiteY44" fmla="*/ 681454 h 722729"/>
              <a:gd name="connsiteX45" fmla="*/ 2876550 w 2889264"/>
              <a:gd name="connsiteY45" fmla="*/ 713204 h 722729"/>
              <a:gd name="connsiteX46" fmla="*/ 2889250 w 2889264"/>
              <a:gd name="connsiteY46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616200 w 2889264"/>
              <a:gd name="connsiteY35" fmla="*/ 570329 h 722729"/>
              <a:gd name="connsiteX36" fmla="*/ 2673350 w 2889264"/>
              <a:gd name="connsiteY36" fmla="*/ 592554 h 722729"/>
              <a:gd name="connsiteX37" fmla="*/ 2708275 w 2889264"/>
              <a:gd name="connsiteY37" fmla="*/ 614779 h 722729"/>
              <a:gd name="connsiteX38" fmla="*/ 2730500 w 2889264"/>
              <a:gd name="connsiteY38" fmla="*/ 624304 h 722729"/>
              <a:gd name="connsiteX39" fmla="*/ 2749550 w 2889264"/>
              <a:gd name="connsiteY39" fmla="*/ 640179 h 722729"/>
              <a:gd name="connsiteX40" fmla="*/ 2774950 w 2889264"/>
              <a:gd name="connsiteY40" fmla="*/ 652879 h 722729"/>
              <a:gd name="connsiteX41" fmla="*/ 2803525 w 2889264"/>
              <a:gd name="connsiteY41" fmla="*/ 665579 h 722729"/>
              <a:gd name="connsiteX42" fmla="*/ 2816225 w 2889264"/>
              <a:gd name="connsiteY42" fmla="*/ 675104 h 722729"/>
              <a:gd name="connsiteX43" fmla="*/ 2832100 w 2889264"/>
              <a:gd name="connsiteY43" fmla="*/ 681454 h 722729"/>
              <a:gd name="connsiteX44" fmla="*/ 2876550 w 2889264"/>
              <a:gd name="connsiteY44" fmla="*/ 713204 h 722729"/>
              <a:gd name="connsiteX45" fmla="*/ 2889250 w 2889264"/>
              <a:gd name="connsiteY45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616200 w 2889264"/>
              <a:gd name="connsiteY35" fmla="*/ 570329 h 722729"/>
              <a:gd name="connsiteX36" fmla="*/ 2673350 w 2889264"/>
              <a:gd name="connsiteY36" fmla="*/ 592554 h 722729"/>
              <a:gd name="connsiteX37" fmla="*/ 2730500 w 2889264"/>
              <a:gd name="connsiteY37" fmla="*/ 624304 h 722729"/>
              <a:gd name="connsiteX38" fmla="*/ 2749550 w 2889264"/>
              <a:gd name="connsiteY38" fmla="*/ 640179 h 722729"/>
              <a:gd name="connsiteX39" fmla="*/ 2774950 w 2889264"/>
              <a:gd name="connsiteY39" fmla="*/ 652879 h 722729"/>
              <a:gd name="connsiteX40" fmla="*/ 2803525 w 2889264"/>
              <a:gd name="connsiteY40" fmla="*/ 665579 h 722729"/>
              <a:gd name="connsiteX41" fmla="*/ 2816225 w 2889264"/>
              <a:gd name="connsiteY41" fmla="*/ 675104 h 722729"/>
              <a:gd name="connsiteX42" fmla="*/ 2832100 w 2889264"/>
              <a:gd name="connsiteY42" fmla="*/ 681454 h 722729"/>
              <a:gd name="connsiteX43" fmla="*/ 2876550 w 2889264"/>
              <a:gd name="connsiteY43" fmla="*/ 713204 h 722729"/>
              <a:gd name="connsiteX44" fmla="*/ 2889250 w 2889264"/>
              <a:gd name="connsiteY44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616200 w 2889264"/>
              <a:gd name="connsiteY35" fmla="*/ 570329 h 722729"/>
              <a:gd name="connsiteX36" fmla="*/ 2673350 w 2889264"/>
              <a:gd name="connsiteY36" fmla="*/ 592554 h 722729"/>
              <a:gd name="connsiteX37" fmla="*/ 2749550 w 2889264"/>
              <a:gd name="connsiteY37" fmla="*/ 640179 h 722729"/>
              <a:gd name="connsiteX38" fmla="*/ 2774950 w 2889264"/>
              <a:gd name="connsiteY38" fmla="*/ 652879 h 722729"/>
              <a:gd name="connsiteX39" fmla="*/ 2803525 w 2889264"/>
              <a:gd name="connsiteY39" fmla="*/ 665579 h 722729"/>
              <a:gd name="connsiteX40" fmla="*/ 2816225 w 2889264"/>
              <a:gd name="connsiteY40" fmla="*/ 675104 h 722729"/>
              <a:gd name="connsiteX41" fmla="*/ 2832100 w 2889264"/>
              <a:gd name="connsiteY41" fmla="*/ 681454 h 722729"/>
              <a:gd name="connsiteX42" fmla="*/ 2876550 w 2889264"/>
              <a:gd name="connsiteY42" fmla="*/ 713204 h 722729"/>
              <a:gd name="connsiteX43" fmla="*/ 2889250 w 2889264"/>
              <a:gd name="connsiteY43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616200 w 2889264"/>
              <a:gd name="connsiteY35" fmla="*/ 570329 h 722729"/>
              <a:gd name="connsiteX36" fmla="*/ 2673350 w 2889264"/>
              <a:gd name="connsiteY36" fmla="*/ 592554 h 722729"/>
              <a:gd name="connsiteX37" fmla="*/ 2749550 w 2889264"/>
              <a:gd name="connsiteY37" fmla="*/ 640179 h 722729"/>
              <a:gd name="connsiteX38" fmla="*/ 2803525 w 2889264"/>
              <a:gd name="connsiteY38" fmla="*/ 665579 h 722729"/>
              <a:gd name="connsiteX39" fmla="*/ 2816225 w 2889264"/>
              <a:gd name="connsiteY39" fmla="*/ 675104 h 722729"/>
              <a:gd name="connsiteX40" fmla="*/ 2832100 w 2889264"/>
              <a:gd name="connsiteY40" fmla="*/ 681454 h 722729"/>
              <a:gd name="connsiteX41" fmla="*/ 2876550 w 2889264"/>
              <a:gd name="connsiteY41" fmla="*/ 713204 h 722729"/>
              <a:gd name="connsiteX42" fmla="*/ 2889250 w 2889264"/>
              <a:gd name="connsiteY42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616200 w 2889264"/>
              <a:gd name="connsiteY35" fmla="*/ 570329 h 722729"/>
              <a:gd name="connsiteX36" fmla="*/ 2673350 w 2889264"/>
              <a:gd name="connsiteY36" fmla="*/ 592554 h 722729"/>
              <a:gd name="connsiteX37" fmla="*/ 2749550 w 2889264"/>
              <a:gd name="connsiteY37" fmla="*/ 640179 h 722729"/>
              <a:gd name="connsiteX38" fmla="*/ 2778125 w 2889264"/>
              <a:gd name="connsiteY38" fmla="*/ 659229 h 722729"/>
              <a:gd name="connsiteX39" fmla="*/ 2803525 w 2889264"/>
              <a:gd name="connsiteY39" fmla="*/ 665579 h 722729"/>
              <a:gd name="connsiteX40" fmla="*/ 2816225 w 2889264"/>
              <a:gd name="connsiteY40" fmla="*/ 675104 h 722729"/>
              <a:gd name="connsiteX41" fmla="*/ 2832100 w 2889264"/>
              <a:gd name="connsiteY41" fmla="*/ 681454 h 722729"/>
              <a:gd name="connsiteX42" fmla="*/ 2876550 w 2889264"/>
              <a:gd name="connsiteY42" fmla="*/ 713204 h 722729"/>
              <a:gd name="connsiteX43" fmla="*/ 2889250 w 2889264"/>
              <a:gd name="connsiteY43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616200 w 2889264"/>
              <a:gd name="connsiteY35" fmla="*/ 570329 h 722729"/>
              <a:gd name="connsiteX36" fmla="*/ 2673350 w 2889264"/>
              <a:gd name="connsiteY36" fmla="*/ 592554 h 722729"/>
              <a:gd name="connsiteX37" fmla="*/ 2749550 w 2889264"/>
              <a:gd name="connsiteY37" fmla="*/ 640179 h 722729"/>
              <a:gd name="connsiteX38" fmla="*/ 2778125 w 2889264"/>
              <a:gd name="connsiteY38" fmla="*/ 659229 h 722729"/>
              <a:gd name="connsiteX39" fmla="*/ 2803525 w 2889264"/>
              <a:gd name="connsiteY39" fmla="*/ 665579 h 722729"/>
              <a:gd name="connsiteX40" fmla="*/ 2816225 w 2889264"/>
              <a:gd name="connsiteY40" fmla="*/ 675104 h 722729"/>
              <a:gd name="connsiteX41" fmla="*/ 2876550 w 2889264"/>
              <a:gd name="connsiteY41" fmla="*/ 713204 h 722729"/>
              <a:gd name="connsiteX42" fmla="*/ 2889250 w 2889264"/>
              <a:gd name="connsiteY42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616200 w 2889264"/>
              <a:gd name="connsiteY35" fmla="*/ 570329 h 722729"/>
              <a:gd name="connsiteX36" fmla="*/ 2673350 w 2889264"/>
              <a:gd name="connsiteY36" fmla="*/ 592554 h 722729"/>
              <a:gd name="connsiteX37" fmla="*/ 2749550 w 2889264"/>
              <a:gd name="connsiteY37" fmla="*/ 640179 h 722729"/>
              <a:gd name="connsiteX38" fmla="*/ 2778125 w 2889264"/>
              <a:gd name="connsiteY38" fmla="*/ 659229 h 722729"/>
              <a:gd name="connsiteX39" fmla="*/ 2803525 w 2889264"/>
              <a:gd name="connsiteY39" fmla="*/ 665579 h 722729"/>
              <a:gd name="connsiteX40" fmla="*/ 2876550 w 2889264"/>
              <a:gd name="connsiteY40" fmla="*/ 713204 h 722729"/>
              <a:gd name="connsiteX41" fmla="*/ 2889250 w 2889264"/>
              <a:gd name="connsiteY41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616200 w 2889264"/>
              <a:gd name="connsiteY35" fmla="*/ 570329 h 722729"/>
              <a:gd name="connsiteX36" fmla="*/ 2673350 w 2889264"/>
              <a:gd name="connsiteY36" fmla="*/ 592554 h 722729"/>
              <a:gd name="connsiteX37" fmla="*/ 2749550 w 2889264"/>
              <a:gd name="connsiteY37" fmla="*/ 640179 h 722729"/>
              <a:gd name="connsiteX38" fmla="*/ 2803525 w 2889264"/>
              <a:gd name="connsiteY38" fmla="*/ 665579 h 722729"/>
              <a:gd name="connsiteX39" fmla="*/ 2876550 w 2889264"/>
              <a:gd name="connsiteY39" fmla="*/ 713204 h 722729"/>
              <a:gd name="connsiteX40" fmla="*/ 2889250 w 2889264"/>
              <a:gd name="connsiteY40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616200 w 2889264"/>
              <a:gd name="connsiteY35" fmla="*/ 570329 h 722729"/>
              <a:gd name="connsiteX36" fmla="*/ 2673350 w 2889264"/>
              <a:gd name="connsiteY36" fmla="*/ 592554 h 722729"/>
              <a:gd name="connsiteX37" fmla="*/ 2749550 w 2889264"/>
              <a:gd name="connsiteY37" fmla="*/ 640179 h 722729"/>
              <a:gd name="connsiteX38" fmla="*/ 2876550 w 2889264"/>
              <a:gd name="connsiteY38" fmla="*/ 713204 h 722729"/>
              <a:gd name="connsiteX39" fmla="*/ 2889250 w 2889264"/>
              <a:gd name="connsiteY39" fmla="*/ 722729 h 722729"/>
              <a:gd name="connsiteX0" fmla="*/ 0 w 2889250"/>
              <a:gd name="connsiteY0" fmla="*/ 710029 h 722729"/>
              <a:gd name="connsiteX1" fmla="*/ 111125 w 2889250"/>
              <a:gd name="connsiteY1" fmla="*/ 646529 h 722729"/>
              <a:gd name="connsiteX2" fmla="*/ 171450 w 2889250"/>
              <a:gd name="connsiteY2" fmla="*/ 617954 h 722729"/>
              <a:gd name="connsiteX3" fmla="*/ 247650 w 2889250"/>
              <a:gd name="connsiteY3" fmla="*/ 583029 h 722729"/>
              <a:gd name="connsiteX4" fmla="*/ 352425 w 2889250"/>
              <a:gd name="connsiteY4" fmla="*/ 544929 h 722729"/>
              <a:gd name="connsiteX5" fmla="*/ 463550 w 2889250"/>
              <a:gd name="connsiteY5" fmla="*/ 487779 h 722729"/>
              <a:gd name="connsiteX6" fmla="*/ 523875 w 2889250"/>
              <a:gd name="connsiteY6" fmla="*/ 459204 h 722729"/>
              <a:gd name="connsiteX7" fmla="*/ 612775 w 2889250"/>
              <a:gd name="connsiteY7" fmla="*/ 417929 h 722729"/>
              <a:gd name="connsiteX8" fmla="*/ 657225 w 2889250"/>
              <a:gd name="connsiteY8" fmla="*/ 395704 h 722729"/>
              <a:gd name="connsiteX9" fmla="*/ 736600 w 2889250"/>
              <a:gd name="connsiteY9" fmla="*/ 357604 h 722729"/>
              <a:gd name="connsiteX10" fmla="*/ 800100 w 2889250"/>
              <a:gd name="connsiteY10" fmla="*/ 325854 h 722729"/>
              <a:gd name="connsiteX11" fmla="*/ 898525 w 2889250"/>
              <a:gd name="connsiteY11" fmla="*/ 278229 h 722729"/>
              <a:gd name="connsiteX12" fmla="*/ 958850 w 2889250"/>
              <a:gd name="connsiteY12" fmla="*/ 236954 h 722729"/>
              <a:gd name="connsiteX13" fmla="*/ 1050925 w 2889250"/>
              <a:gd name="connsiteY13" fmla="*/ 202029 h 722729"/>
              <a:gd name="connsiteX14" fmla="*/ 1079500 w 2889250"/>
              <a:gd name="connsiteY14" fmla="*/ 189329 h 722729"/>
              <a:gd name="connsiteX15" fmla="*/ 1181100 w 2889250"/>
              <a:gd name="connsiteY15" fmla="*/ 141704 h 722729"/>
              <a:gd name="connsiteX16" fmla="*/ 1327150 w 2889250"/>
              <a:gd name="connsiteY16" fmla="*/ 55979 h 722729"/>
              <a:gd name="connsiteX17" fmla="*/ 1390650 w 2889250"/>
              <a:gd name="connsiteY17" fmla="*/ 8354 h 722729"/>
              <a:gd name="connsiteX18" fmla="*/ 1416050 w 2889250"/>
              <a:gd name="connsiteY18" fmla="*/ 2004 h 722729"/>
              <a:gd name="connsiteX19" fmla="*/ 1504950 w 2889250"/>
              <a:gd name="connsiteY19" fmla="*/ 30579 h 722729"/>
              <a:gd name="connsiteX20" fmla="*/ 1549400 w 2889250"/>
              <a:gd name="connsiteY20" fmla="*/ 49629 h 722729"/>
              <a:gd name="connsiteX21" fmla="*/ 1676400 w 2889250"/>
              <a:gd name="connsiteY21" fmla="*/ 119479 h 722729"/>
              <a:gd name="connsiteX22" fmla="*/ 1758950 w 2889250"/>
              <a:gd name="connsiteY22" fmla="*/ 154404 h 722729"/>
              <a:gd name="connsiteX23" fmla="*/ 1768475 w 2889250"/>
              <a:gd name="connsiteY23" fmla="*/ 160754 h 722729"/>
              <a:gd name="connsiteX24" fmla="*/ 1838325 w 2889250"/>
              <a:gd name="connsiteY24" fmla="*/ 202029 h 722729"/>
              <a:gd name="connsiteX25" fmla="*/ 1885950 w 2889250"/>
              <a:gd name="connsiteY25" fmla="*/ 230604 h 722729"/>
              <a:gd name="connsiteX26" fmla="*/ 1962150 w 2889250"/>
              <a:gd name="connsiteY26" fmla="*/ 265529 h 722729"/>
              <a:gd name="connsiteX27" fmla="*/ 1971675 w 2889250"/>
              <a:gd name="connsiteY27" fmla="*/ 271879 h 722729"/>
              <a:gd name="connsiteX28" fmla="*/ 2047875 w 2889250"/>
              <a:gd name="connsiteY28" fmla="*/ 303629 h 722729"/>
              <a:gd name="connsiteX29" fmla="*/ 2159000 w 2889250"/>
              <a:gd name="connsiteY29" fmla="*/ 348079 h 722729"/>
              <a:gd name="connsiteX30" fmla="*/ 2247900 w 2889250"/>
              <a:gd name="connsiteY30" fmla="*/ 408404 h 722729"/>
              <a:gd name="connsiteX31" fmla="*/ 2333625 w 2889250"/>
              <a:gd name="connsiteY31" fmla="*/ 449679 h 722729"/>
              <a:gd name="connsiteX32" fmla="*/ 2397125 w 2889250"/>
              <a:gd name="connsiteY32" fmla="*/ 478254 h 722729"/>
              <a:gd name="connsiteX33" fmla="*/ 2495550 w 2889250"/>
              <a:gd name="connsiteY33" fmla="*/ 522704 h 722729"/>
              <a:gd name="connsiteX34" fmla="*/ 2546350 w 2889250"/>
              <a:gd name="connsiteY34" fmla="*/ 548104 h 722729"/>
              <a:gd name="connsiteX35" fmla="*/ 2616200 w 2889250"/>
              <a:gd name="connsiteY35" fmla="*/ 570329 h 722729"/>
              <a:gd name="connsiteX36" fmla="*/ 2673350 w 2889250"/>
              <a:gd name="connsiteY36" fmla="*/ 592554 h 722729"/>
              <a:gd name="connsiteX37" fmla="*/ 2749550 w 2889250"/>
              <a:gd name="connsiteY37" fmla="*/ 640179 h 722729"/>
              <a:gd name="connsiteX38" fmla="*/ 2889250 w 2889250"/>
              <a:gd name="connsiteY38" fmla="*/ 722729 h 722729"/>
              <a:gd name="connsiteX0" fmla="*/ 0 w 2889250"/>
              <a:gd name="connsiteY0" fmla="*/ 710029 h 722729"/>
              <a:gd name="connsiteX1" fmla="*/ 111125 w 2889250"/>
              <a:gd name="connsiteY1" fmla="*/ 646529 h 722729"/>
              <a:gd name="connsiteX2" fmla="*/ 171450 w 2889250"/>
              <a:gd name="connsiteY2" fmla="*/ 617954 h 722729"/>
              <a:gd name="connsiteX3" fmla="*/ 247650 w 2889250"/>
              <a:gd name="connsiteY3" fmla="*/ 583029 h 722729"/>
              <a:gd name="connsiteX4" fmla="*/ 352425 w 2889250"/>
              <a:gd name="connsiteY4" fmla="*/ 544929 h 722729"/>
              <a:gd name="connsiteX5" fmla="*/ 463550 w 2889250"/>
              <a:gd name="connsiteY5" fmla="*/ 487779 h 722729"/>
              <a:gd name="connsiteX6" fmla="*/ 523875 w 2889250"/>
              <a:gd name="connsiteY6" fmla="*/ 459204 h 722729"/>
              <a:gd name="connsiteX7" fmla="*/ 612775 w 2889250"/>
              <a:gd name="connsiteY7" fmla="*/ 417929 h 722729"/>
              <a:gd name="connsiteX8" fmla="*/ 657225 w 2889250"/>
              <a:gd name="connsiteY8" fmla="*/ 395704 h 722729"/>
              <a:gd name="connsiteX9" fmla="*/ 736600 w 2889250"/>
              <a:gd name="connsiteY9" fmla="*/ 357604 h 722729"/>
              <a:gd name="connsiteX10" fmla="*/ 800100 w 2889250"/>
              <a:gd name="connsiteY10" fmla="*/ 325854 h 722729"/>
              <a:gd name="connsiteX11" fmla="*/ 898525 w 2889250"/>
              <a:gd name="connsiteY11" fmla="*/ 278229 h 722729"/>
              <a:gd name="connsiteX12" fmla="*/ 958850 w 2889250"/>
              <a:gd name="connsiteY12" fmla="*/ 236954 h 722729"/>
              <a:gd name="connsiteX13" fmla="*/ 1050925 w 2889250"/>
              <a:gd name="connsiteY13" fmla="*/ 202029 h 722729"/>
              <a:gd name="connsiteX14" fmla="*/ 1079500 w 2889250"/>
              <a:gd name="connsiteY14" fmla="*/ 189329 h 722729"/>
              <a:gd name="connsiteX15" fmla="*/ 1181100 w 2889250"/>
              <a:gd name="connsiteY15" fmla="*/ 141704 h 722729"/>
              <a:gd name="connsiteX16" fmla="*/ 1327150 w 2889250"/>
              <a:gd name="connsiteY16" fmla="*/ 55979 h 722729"/>
              <a:gd name="connsiteX17" fmla="*/ 1390650 w 2889250"/>
              <a:gd name="connsiteY17" fmla="*/ 8354 h 722729"/>
              <a:gd name="connsiteX18" fmla="*/ 1416050 w 2889250"/>
              <a:gd name="connsiteY18" fmla="*/ 2004 h 722729"/>
              <a:gd name="connsiteX19" fmla="*/ 1504950 w 2889250"/>
              <a:gd name="connsiteY19" fmla="*/ 30579 h 722729"/>
              <a:gd name="connsiteX20" fmla="*/ 1549400 w 2889250"/>
              <a:gd name="connsiteY20" fmla="*/ 49629 h 722729"/>
              <a:gd name="connsiteX21" fmla="*/ 1676400 w 2889250"/>
              <a:gd name="connsiteY21" fmla="*/ 119479 h 722729"/>
              <a:gd name="connsiteX22" fmla="*/ 1758950 w 2889250"/>
              <a:gd name="connsiteY22" fmla="*/ 154404 h 722729"/>
              <a:gd name="connsiteX23" fmla="*/ 1768475 w 2889250"/>
              <a:gd name="connsiteY23" fmla="*/ 160754 h 722729"/>
              <a:gd name="connsiteX24" fmla="*/ 1838325 w 2889250"/>
              <a:gd name="connsiteY24" fmla="*/ 202029 h 722729"/>
              <a:gd name="connsiteX25" fmla="*/ 1885950 w 2889250"/>
              <a:gd name="connsiteY25" fmla="*/ 230604 h 722729"/>
              <a:gd name="connsiteX26" fmla="*/ 1962150 w 2889250"/>
              <a:gd name="connsiteY26" fmla="*/ 265529 h 722729"/>
              <a:gd name="connsiteX27" fmla="*/ 1971675 w 2889250"/>
              <a:gd name="connsiteY27" fmla="*/ 271879 h 722729"/>
              <a:gd name="connsiteX28" fmla="*/ 2047875 w 2889250"/>
              <a:gd name="connsiteY28" fmla="*/ 303629 h 722729"/>
              <a:gd name="connsiteX29" fmla="*/ 2159000 w 2889250"/>
              <a:gd name="connsiteY29" fmla="*/ 348079 h 722729"/>
              <a:gd name="connsiteX30" fmla="*/ 2247900 w 2889250"/>
              <a:gd name="connsiteY30" fmla="*/ 408404 h 722729"/>
              <a:gd name="connsiteX31" fmla="*/ 2333625 w 2889250"/>
              <a:gd name="connsiteY31" fmla="*/ 449679 h 722729"/>
              <a:gd name="connsiteX32" fmla="*/ 2397125 w 2889250"/>
              <a:gd name="connsiteY32" fmla="*/ 478254 h 722729"/>
              <a:gd name="connsiteX33" fmla="*/ 2495550 w 2889250"/>
              <a:gd name="connsiteY33" fmla="*/ 522704 h 722729"/>
              <a:gd name="connsiteX34" fmla="*/ 2546350 w 2889250"/>
              <a:gd name="connsiteY34" fmla="*/ 548104 h 722729"/>
              <a:gd name="connsiteX35" fmla="*/ 2673350 w 2889250"/>
              <a:gd name="connsiteY35" fmla="*/ 592554 h 722729"/>
              <a:gd name="connsiteX36" fmla="*/ 2749550 w 2889250"/>
              <a:gd name="connsiteY36" fmla="*/ 640179 h 722729"/>
              <a:gd name="connsiteX37" fmla="*/ 2889250 w 2889250"/>
              <a:gd name="connsiteY37" fmla="*/ 722729 h 722729"/>
              <a:gd name="connsiteX0" fmla="*/ 0 w 2889250"/>
              <a:gd name="connsiteY0" fmla="*/ 710029 h 722729"/>
              <a:gd name="connsiteX1" fmla="*/ 111125 w 2889250"/>
              <a:gd name="connsiteY1" fmla="*/ 646529 h 722729"/>
              <a:gd name="connsiteX2" fmla="*/ 171450 w 2889250"/>
              <a:gd name="connsiteY2" fmla="*/ 617954 h 722729"/>
              <a:gd name="connsiteX3" fmla="*/ 247650 w 2889250"/>
              <a:gd name="connsiteY3" fmla="*/ 583029 h 722729"/>
              <a:gd name="connsiteX4" fmla="*/ 352425 w 2889250"/>
              <a:gd name="connsiteY4" fmla="*/ 544929 h 722729"/>
              <a:gd name="connsiteX5" fmla="*/ 463550 w 2889250"/>
              <a:gd name="connsiteY5" fmla="*/ 487779 h 722729"/>
              <a:gd name="connsiteX6" fmla="*/ 523875 w 2889250"/>
              <a:gd name="connsiteY6" fmla="*/ 459204 h 722729"/>
              <a:gd name="connsiteX7" fmla="*/ 612775 w 2889250"/>
              <a:gd name="connsiteY7" fmla="*/ 417929 h 722729"/>
              <a:gd name="connsiteX8" fmla="*/ 657225 w 2889250"/>
              <a:gd name="connsiteY8" fmla="*/ 395704 h 722729"/>
              <a:gd name="connsiteX9" fmla="*/ 736600 w 2889250"/>
              <a:gd name="connsiteY9" fmla="*/ 357604 h 722729"/>
              <a:gd name="connsiteX10" fmla="*/ 800100 w 2889250"/>
              <a:gd name="connsiteY10" fmla="*/ 325854 h 722729"/>
              <a:gd name="connsiteX11" fmla="*/ 898525 w 2889250"/>
              <a:gd name="connsiteY11" fmla="*/ 278229 h 722729"/>
              <a:gd name="connsiteX12" fmla="*/ 958850 w 2889250"/>
              <a:gd name="connsiteY12" fmla="*/ 236954 h 722729"/>
              <a:gd name="connsiteX13" fmla="*/ 1050925 w 2889250"/>
              <a:gd name="connsiteY13" fmla="*/ 202029 h 722729"/>
              <a:gd name="connsiteX14" fmla="*/ 1079500 w 2889250"/>
              <a:gd name="connsiteY14" fmla="*/ 189329 h 722729"/>
              <a:gd name="connsiteX15" fmla="*/ 1181100 w 2889250"/>
              <a:gd name="connsiteY15" fmla="*/ 141704 h 722729"/>
              <a:gd name="connsiteX16" fmla="*/ 1327150 w 2889250"/>
              <a:gd name="connsiteY16" fmla="*/ 55979 h 722729"/>
              <a:gd name="connsiteX17" fmla="*/ 1390650 w 2889250"/>
              <a:gd name="connsiteY17" fmla="*/ 8354 h 722729"/>
              <a:gd name="connsiteX18" fmla="*/ 1416050 w 2889250"/>
              <a:gd name="connsiteY18" fmla="*/ 2004 h 722729"/>
              <a:gd name="connsiteX19" fmla="*/ 1504950 w 2889250"/>
              <a:gd name="connsiteY19" fmla="*/ 30579 h 722729"/>
              <a:gd name="connsiteX20" fmla="*/ 1549400 w 2889250"/>
              <a:gd name="connsiteY20" fmla="*/ 49629 h 722729"/>
              <a:gd name="connsiteX21" fmla="*/ 1676400 w 2889250"/>
              <a:gd name="connsiteY21" fmla="*/ 119479 h 722729"/>
              <a:gd name="connsiteX22" fmla="*/ 1758950 w 2889250"/>
              <a:gd name="connsiteY22" fmla="*/ 154404 h 722729"/>
              <a:gd name="connsiteX23" fmla="*/ 1768475 w 2889250"/>
              <a:gd name="connsiteY23" fmla="*/ 160754 h 722729"/>
              <a:gd name="connsiteX24" fmla="*/ 1838325 w 2889250"/>
              <a:gd name="connsiteY24" fmla="*/ 202029 h 722729"/>
              <a:gd name="connsiteX25" fmla="*/ 1885950 w 2889250"/>
              <a:gd name="connsiteY25" fmla="*/ 230604 h 722729"/>
              <a:gd name="connsiteX26" fmla="*/ 1962150 w 2889250"/>
              <a:gd name="connsiteY26" fmla="*/ 265529 h 722729"/>
              <a:gd name="connsiteX27" fmla="*/ 1971675 w 2889250"/>
              <a:gd name="connsiteY27" fmla="*/ 271879 h 722729"/>
              <a:gd name="connsiteX28" fmla="*/ 2047875 w 2889250"/>
              <a:gd name="connsiteY28" fmla="*/ 303629 h 722729"/>
              <a:gd name="connsiteX29" fmla="*/ 2159000 w 2889250"/>
              <a:gd name="connsiteY29" fmla="*/ 348079 h 722729"/>
              <a:gd name="connsiteX30" fmla="*/ 2247900 w 2889250"/>
              <a:gd name="connsiteY30" fmla="*/ 408404 h 722729"/>
              <a:gd name="connsiteX31" fmla="*/ 2333625 w 2889250"/>
              <a:gd name="connsiteY31" fmla="*/ 449679 h 722729"/>
              <a:gd name="connsiteX32" fmla="*/ 2397125 w 2889250"/>
              <a:gd name="connsiteY32" fmla="*/ 478254 h 722729"/>
              <a:gd name="connsiteX33" fmla="*/ 2495550 w 2889250"/>
              <a:gd name="connsiteY33" fmla="*/ 522704 h 722729"/>
              <a:gd name="connsiteX34" fmla="*/ 2673350 w 2889250"/>
              <a:gd name="connsiteY34" fmla="*/ 592554 h 722729"/>
              <a:gd name="connsiteX35" fmla="*/ 2749550 w 2889250"/>
              <a:gd name="connsiteY35" fmla="*/ 640179 h 722729"/>
              <a:gd name="connsiteX36" fmla="*/ 2889250 w 2889250"/>
              <a:gd name="connsiteY36" fmla="*/ 722729 h 722729"/>
              <a:gd name="connsiteX0" fmla="*/ 0 w 2889250"/>
              <a:gd name="connsiteY0" fmla="*/ 710029 h 722729"/>
              <a:gd name="connsiteX1" fmla="*/ 111125 w 2889250"/>
              <a:gd name="connsiteY1" fmla="*/ 646529 h 722729"/>
              <a:gd name="connsiteX2" fmla="*/ 171450 w 2889250"/>
              <a:gd name="connsiteY2" fmla="*/ 617954 h 722729"/>
              <a:gd name="connsiteX3" fmla="*/ 247650 w 2889250"/>
              <a:gd name="connsiteY3" fmla="*/ 583029 h 722729"/>
              <a:gd name="connsiteX4" fmla="*/ 352425 w 2889250"/>
              <a:gd name="connsiteY4" fmla="*/ 544929 h 722729"/>
              <a:gd name="connsiteX5" fmla="*/ 463550 w 2889250"/>
              <a:gd name="connsiteY5" fmla="*/ 487779 h 722729"/>
              <a:gd name="connsiteX6" fmla="*/ 523875 w 2889250"/>
              <a:gd name="connsiteY6" fmla="*/ 459204 h 722729"/>
              <a:gd name="connsiteX7" fmla="*/ 612775 w 2889250"/>
              <a:gd name="connsiteY7" fmla="*/ 417929 h 722729"/>
              <a:gd name="connsiteX8" fmla="*/ 657225 w 2889250"/>
              <a:gd name="connsiteY8" fmla="*/ 395704 h 722729"/>
              <a:gd name="connsiteX9" fmla="*/ 736600 w 2889250"/>
              <a:gd name="connsiteY9" fmla="*/ 357604 h 722729"/>
              <a:gd name="connsiteX10" fmla="*/ 800100 w 2889250"/>
              <a:gd name="connsiteY10" fmla="*/ 325854 h 722729"/>
              <a:gd name="connsiteX11" fmla="*/ 898525 w 2889250"/>
              <a:gd name="connsiteY11" fmla="*/ 278229 h 722729"/>
              <a:gd name="connsiteX12" fmla="*/ 958850 w 2889250"/>
              <a:gd name="connsiteY12" fmla="*/ 236954 h 722729"/>
              <a:gd name="connsiteX13" fmla="*/ 1050925 w 2889250"/>
              <a:gd name="connsiteY13" fmla="*/ 202029 h 722729"/>
              <a:gd name="connsiteX14" fmla="*/ 1079500 w 2889250"/>
              <a:gd name="connsiteY14" fmla="*/ 189329 h 722729"/>
              <a:gd name="connsiteX15" fmla="*/ 1181100 w 2889250"/>
              <a:gd name="connsiteY15" fmla="*/ 141704 h 722729"/>
              <a:gd name="connsiteX16" fmla="*/ 1327150 w 2889250"/>
              <a:gd name="connsiteY16" fmla="*/ 55979 h 722729"/>
              <a:gd name="connsiteX17" fmla="*/ 1390650 w 2889250"/>
              <a:gd name="connsiteY17" fmla="*/ 8354 h 722729"/>
              <a:gd name="connsiteX18" fmla="*/ 1416050 w 2889250"/>
              <a:gd name="connsiteY18" fmla="*/ 2004 h 722729"/>
              <a:gd name="connsiteX19" fmla="*/ 1504950 w 2889250"/>
              <a:gd name="connsiteY19" fmla="*/ 30579 h 722729"/>
              <a:gd name="connsiteX20" fmla="*/ 1549400 w 2889250"/>
              <a:gd name="connsiteY20" fmla="*/ 49629 h 722729"/>
              <a:gd name="connsiteX21" fmla="*/ 1676400 w 2889250"/>
              <a:gd name="connsiteY21" fmla="*/ 119479 h 722729"/>
              <a:gd name="connsiteX22" fmla="*/ 1758950 w 2889250"/>
              <a:gd name="connsiteY22" fmla="*/ 154404 h 722729"/>
              <a:gd name="connsiteX23" fmla="*/ 1768475 w 2889250"/>
              <a:gd name="connsiteY23" fmla="*/ 160754 h 722729"/>
              <a:gd name="connsiteX24" fmla="*/ 1838325 w 2889250"/>
              <a:gd name="connsiteY24" fmla="*/ 202029 h 722729"/>
              <a:gd name="connsiteX25" fmla="*/ 1885950 w 2889250"/>
              <a:gd name="connsiteY25" fmla="*/ 230604 h 722729"/>
              <a:gd name="connsiteX26" fmla="*/ 1962150 w 2889250"/>
              <a:gd name="connsiteY26" fmla="*/ 265529 h 722729"/>
              <a:gd name="connsiteX27" fmla="*/ 1971675 w 2889250"/>
              <a:gd name="connsiteY27" fmla="*/ 271879 h 722729"/>
              <a:gd name="connsiteX28" fmla="*/ 2047875 w 2889250"/>
              <a:gd name="connsiteY28" fmla="*/ 303629 h 722729"/>
              <a:gd name="connsiteX29" fmla="*/ 2159000 w 2889250"/>
              <a:gd name="connsiteY29" fmla="*/ 348079 h 722729"/>
              <a:gd name="connsiteX30" fmla="*/ 2247900 w 2889250"/>
              <a:gd name="connsiteY30" fmla="*/ 408404 h 722729"/>
              <a:gd name="connsiteX31" fmla="*/ 2397125 w 2889250"/>
              <a:gd name="connsiteY31" fmla="*/ 478254 h 722729"/>
              <a:gd name="connsiteX32" fmla="*/ 2495550 w 2889250"/>
              <a:gd name="connsiteY32" fmla="*/ 522704 h 722729"/>
              <a:gd name="connsiteX33" fmla="*/ 2673350 w 2889250"/>
              <a:gd name="connsiteY33" fmla="*/ 592554 h 722729"/>
              <a:gd name="connsiteX34" fmla="*/ 2749550 w 2889250"/>
              <a:gd name="connsiteY34" fmla="*/ 640179 h 722729"/>
              <a:gd name="connsiteX35" fmla="*/ 2889250 w 2889250"/>
              <a:gd name="connsiteY35" fmla="*/ 722729 h 722729"/>
              <a:gd name="connsiteX0" fmla="*/ 0 w 2889250"/>
              <a:gd name="connsiteY0" fmla="*/ 710029 h 722729"/>
              <a:gd name="connsiteX1" fmla="*/ 111125 w 2889250"/>
              <a:gd name="connsiteY1" fmla="*/ 646529 h 722729"/>
              <a:gd name="connsiteX2" fmla="*/ 171450 w 2889250"/>
              <a:gd name="connsiteY2" fmla="*/ 617954 h 722729"/>
              <a:gd name="connsiteX3" fmla="*/ 247650 w 2889250"/>
              <a:gd name="connsiteY3" fmla="*/ 583029 h 722729"/>
              <a:gd name="connsiteX4" fmla="*/ 352425 w 2889250"/>
              <a:gd name="connsiteY4" fmla="*/ 544929 h 722729"/>
              <a:gd name="connsiteX5" fmla="*/ 463550 w 2889250"/>
              <a:gd name="connsiteY5" fmla="*/ 487779 h 722729"/>
              <a:gd name="connsiteX6" fmla="*/ 523875 w 2889250"/>
              <a:gd name="connsiteY6" fmla="*/ 459204 h 722729"/>
              <a:gd name="connsiteX7" fmla="*/ 612775 w 2889250"/>
              <a:gd name="connsiteY7" fmla="*/ 417929 h 722729"/>
              <a:gd name="connsiteX8" fmla="*/ 657225 w 2889250"/>
              <a:gd name="connsiteY8" fmla="*/ 395704 h 722729"/>
              <a:gd name="connsiteX9" fmla="*/ 736600 w 2889250"/>
              <a:gd name="connsiteY9" fmla="*/ 357604 h 722729"/>
              <a:gd name="connsiteX10" fmla="*/ 800100 w 2889250"/>
              <a:gd name="connsiteY10" fmla="*/ 325854 h 722729"/>
              <a:gd name="connsiteX11" fmla="*/ 898525 w 2889250"/>
              <a:gd name="connsiteY11" fmla="*/ 278229 h 722729"/>
              <a:gd name="connsiteX12" fmla="*/ 958850 w 2889250"/>
              <a:gd name="connsiteY12" fmla="*/ 236954 h 722729"/>
              <a:gd name="connsiteX13" fmla="*/ 1050925 w 2889250"/>
              <a:gd name="connsiteY13" fmla="*/ 202029 h 722729"/>
              <a:gd name="connsiteX14" fmla="*/ 1079500 w 2889250"/>
              <a:gd name="connsiteY14" fmla="*/ 189329 h 722729"/>
              <a:gd name="connsiteX15" fmla="*/ 1181100 w 2889250"/>
              <a:gd name="connsiteY15" fmla="*/ 141704 h 722729"/>
              <a:gd name="connsiteX16" fmla="*/ 1327150 w 2889250"/>
              <a:gd name="connsiteY16" fmla="*/ 55979 h 722729"/>
              <a:gd name="connsiteX17" fmla="*/ 1390650 w 2889250"/>
              <a:gd name="connsiteY17" fmla="*/ 8354 h 722729"/>
              <a:gd name="connsiteX18" fmla="*/ 1416050 w 2889250"/>
              <a:gd name="connsiteY18" fmla="*/ 2004 h 722729"/>
              <a:gd name="connsiteX19" fmla="*/ 1504950 w 2889250"/>
              <a:gd name="connsiteY19" fmla="*/ 30579 h 722729"/>
              <a:gd name="connsiteX20" fmla="*/ 1549400 w 2889250"/>
              <a:gd name="connsiteY20" fmla="*/ 49629 h 722729"/>
              <a:gd name="connsiteX21" fmla="*/ 1676400 w 2889250"/>
              <a:gd name="connsiteY21" fmla="*/ 119479 h 722729"/>
              <a:gd name="connsiteX22" fmla="*/ 1758950 w 2889250"/>
              <a:gd name="connsiteY22" fmla="*/ 154404 h 722729"/>
              <a:gd name="connsiteX23" fmla="*/ 1838325 w 2889250"/>
              <a:gd name="connsiteY23" fmla="*/ 202029 h 722729"/>
              <a:gd name="connsiteX24" fmla="*/ 1885950 w 2889250"/>
              <a:gd name="connsiteY24" fmla="*/ 230604 h 722729"/>
              <a:gd name="connsiteX25" fmla="*/ 1962150 w 2889250"/>
              <a:gd name="connsiteY25" fmla="*/ 265529 h 722729"/>
              <a:gd name="connsiteX26" fmla="*/ 1971675 w 2889250"/>
              <a:gd name="connsiteY26" fmla="*/ 271879 h 722729"/>
              <a:gd name="connsiteX27" fmla="*/ 2047875 w 2889250"/>
              <a:gd name="connsiteY27" fmla="*/ 303629 h 722729"/>
              <a:gd name="connsiteX28" fmla="*/ 2159000 w 2889250"/>
              <a:gd name="connsiteY28" fmla="*/ 348079 h 722729"/>
              <a:gd name="connsiteX29" fmla="*/ 2247900 w 2889250"/>
              <a:gd name="connsiteY29" fmla="*/ 408404 h 722729"/>
              <a:gd name="connsiteX30" fmla="*/ 2397125 w 2889250"/>
              <a:gd name="connsiteY30" fmla="*/ 478254 h 722729"/>
              <a:gd name="connsiteX31" fmla="*/ 2495550 w 2889250"/>
              <a:gd name="connsiteY31" fmla="*/ 522704 h 722729"/>
              <a:gd name="connsiteX32" fmla="*/ 2673350 w 2889250"/>
              <a:gd name="connsiteY32" fmla="*/ 592554 h 722729"/>
              <a:gd name="connsiteX33" fmla="*/ 2749550 w 2889250"/>
              <a:gd name="connsiteY33" fmla="*/ 640179 h 722729"/>
              <a:gd name="connsiteX34" fmla="*/ 2889250 w 2889250"/>
              <a:gd name="connsiteY34" fmla="*/ 722729 h 722729"/>
              <a:gd name="connsiteX0" fmla="*/ 0 w 2889250"/>
              <a:gd name="connsiteY0" fmla="*/ 710029 h 722729"/>
              <a:gd name="connsiteX1" fmla="*/ 111125 w 2889250"/>
              <a:gd name="connsiteY1" fmla="*/ 646529 h 722729"/>
              <a:gd name="connsiteX2" fmla="*/ 171450 w 2889250"/>
              <a:gd name="connsiteY2" fmla="*/ 617954 h 722729"/>
              <a:gd name="connsiteX3" fmla="*/ 247650 w 2889250"/>
              <a:gd name="connsiteY3" fmla="*/ 583029 h 722729"/>
              <a:gd name="connsiteX4" fmla="*/ 352425 w 2889250"/>
              <a:gd name="connsiteY4" fmla="*/ 544929 h 722729"/>
              <a:gd name="connsiteX5" fmla="*/ 463550 w 2889250"/>
              <a:gd name="connsiteY5" fmla="*/ 487779 h 722729"/>
              <a:gd name="connsiteX6" fmla="*/ 523875 w 2889250"/>
              <a:gd name="connsiteY6" fmla="*/ 459204 h 722729"/>
              <a:gd name="connsiteX7" fmla="*/ 612775 w 2889250"/>
              <a:gd name="connsiteY7" fmla="*/ 417929 h 722729"/>
              <a:gd name="connsiteX8" fmla="*/ 657225 w 2889250"/>
              <a:gd name="connsiteY8" fmla="*/ 395704 h 722729"/>
              <a:gd name="connsiteX9" fmla="*/ 736600 w 2889250"/>
              <a:gd name="connsiteY9" fmla="*/ 357604 h 722729"/>
              <a:gd name="connsiteX10" fmla="*/ 800100 w 2889250"/>
              <a:gd name="connsiteY10" fmla="*/ 325854 h 722729"/>
              <a:gd name="connsiteX11" fmla="*/ 898525 w 2889250"/>
              <a:gd name="connsiteY11" fmla="*/ 278229 h 722729"/>
              <a:gd name="connsiteX12" fmla="*/ 958850 w 2889250"/>
              <a:gd name="connsiteY12" fmla="*/ 236954 h 722729"/>
              <a:gd name="connsiteX13" fmla="*/ 1050925 w 2889250"/>
              <a:gd name="connsiteY13" fmla="*/ 202029 h 722729"/>
              <a:gd name="connsiteX14" fmla="*/ 1079500 w 2889250"/>
              <a:gd name="connsiteY14" fmla="*/ 189329 h 722729"/>
              <a:gd name="connsiteX15" fmla="*/ 1181100 w 2889250"/>
              <a:gd name="connsiteY15" fmla="*/ 141704 h 722729"/>
              <a:gd name="connsiteX16" fmla="*/ 1327150 w 2889250"/>
              <a:gd name="connsiteY16" fmla="*/ 55979 h 722729"/>
              <a:gd name="connsiteX17" fmla="*/ 1390650 w 2889250"/>
              <a:gd name="connsiteY17" fmla="*/ 8354 h 722729"/>
              <a:gd name="connsiteX18" fmla="*/ 1416050 w 2889250"/>
              <a:gd name="connsiteY18" fmla="*/ 2004 h 722729"/>
              <a:gd name="connsiteX19" fmla="*/ 1504950 w 2889250"/>
              <a:gd name="connsiteY19" fmla="*/ 30579 h 722729"/>
              <a:gd name="connsiteX20" fmla="*/ 1549400 w 2889250"/>
              <a:gd name="connsiteY20" fmla="*/ 49629 h 722729"/>
              <a:gd name="connsiteX21" fmla="*/ 1676400 w 2889250"/>
              <a:gd name="connsiteY21" fmla="*/ 119479 h 722729"/>
              <a:gd name="connsiteX22" fmla="*/ 1758950 w 2889250"/>
              <a:gd name="connsiteY22" fmla="*/ 154404 h 722729"/>
              <a:gd name="connsiteX23" fmla="*/ 1838325 w 2889250"/>
              <a:gd name="connsiteY23" fmla="*/ 202029 h 722729"/>
              <a:gd name="connsiteX24" fmla="*/ 1885950 w 2889250"/>
              <a:gd name="connsiteY24" fmla="*/ 230604 h 722729"/>
              <a:gd name="connsiteX25" fmla="*/ 1962150 w 2889250"/>
              <a:gd name="connsiteY25" fmla="*/ 265529 h 722729"/>
              <a:gd name="connsiteX26" fmla="*/ 2047875 w 2889250"/>
              <a:gd name="connsiteY26" fmla="*/ 303629 h 722729"/>
              <a:gd name="connsiteX27" fmla="*/ 2159000 w 2889250"/>
              <a:gd name="connsiteY27" fmla="*/ 348079 h 722729"/>
              <a:gd name="connsiteX28" fmla="*/ 2247900 w 2889250"/>
              <a:gd name="connsiteY28" fmla="*/ 408404 h 722729"/>
              <a:gd name="connsiteX29" fmla="*/ 2397125 w 2889250"/>
              <a:gd name="connsiteY29" fmla="*/ 478254 h 722729"/>
              <a:gd name="connsiteX30" fmla="*/ 2495550 w 2889250"/>
              <a:gd name="connsiteY30" fmla="*/ 522704 h 722729"/>
              <a:gd name="connsiteX31" fmla="*/ 2673350 w 2889250"/>
              <a:gd name="connsiteY31" fmla="*/ 592554 h 722729"/>
              <a:gd name="connsiteX32" fmla="*/ 2749550 w 2889250"/>
              <a:gd name="connsiteY32" fmla="*/ 640179 h 722729"/>
              <a:gd name="connsiteX33" fmla="*/ 2889250 w 2889250"/>
              <a:gd name="connsiteY33" fmla="*/ 722729 h 722729"/>
              <a:gd name="connsiteX0" fmla="*/ 0 w 2889250"/>
              <a:gd name="connsiteY0" fmla="*/ 710029 h 722729"/>
              <a:gd name="connsiteX1" fmla="*/ 111125 w 2889250"/>
              <a:gd name="connsiteY1" fmla="*/ 646529 h 722729"/>
              <a:gd name="connsiteX2" fmla="*/ 171450 w 2889250"/>
              <a:gd name="connsiteY2" fmla="*/ 617954 h 722729"/>
              <a:gd name="connsiteX3" fmla="*/ 247650 w 2889250"/>
              <a:gd name="connsiteY3" fmla="*/ 583029 h 722729"/>
              <a:gd name="connsiteX4" fmla="*/ 352425 w 2889250"/>
              <a:gd name="connsiteY4" fmla="*/ 544929 h 722729"/>
              <a:gd name="connsiteX5" fmla="*/ 463550 w 2889250"/>
              <a:gd name="connsiteY5" fmla="*/ 487779 h 722729"/>
              <a:gd name="connsiteX6" fmla="*/ 523875 w 2889250"/>
              <a:gd name="connsiteY6" fmla="*/ 459204 h 722729"/>
              <a:gd name="connsiteX7" fmla="*/ 612775 w 2889250"/>
              <a:gd name="connsiteY7" fmla="*/ 417929 h 722729"/>
              <a:gd name="connsiteX8" fmla="*/ 657225 w 2889250"/>
              <a:gd name="connsiteY8" fmla="*/ 395704 h 722729"/>
              <a:gd name="connsiteX9" fmla="*/ 736600 w 2889250"/>
              <a:gd name="connsiteY9" fmla="*/ 357604 h 722729"/>
              <a:gd name="connsiteX10" fmla="*/ 800100 w 2889250"/>
              <a:gd name="connsiteY10" fmla="*/ 325854 h 722729"/>
              <a:gd name="connsiteX11" fmla="*/ 898525 w 2889250"/>
              <a:gd name="connsiteY11" fmla="*/ 278229 h 722729"/>
              <a:gd name="connsiteX12" fmla="*/ 958850 w 2889250"/>
              <a:gd name="connsiteY12" fmla="*/ 236954 h 722729"/>
              <a:gd name="connsiteX13" fmla="*/ 1050925 w 2889250"/>
              <a:gd name="connsiteY13" fmla="*/ 202029 h 722729"/>
              <a:gd name="connsiteX14" fmla="*/ 1079500 w 2889250"/>
              <a:gd name="connsiteY14" fmla="*/ 189329 h 722729"/>
              <a:gd name="connsiteX15" fmla="*/ 1181100 w 2889250"/>
              <a:gd name="connsiteY15" fmla="*/ 141704 h 722729"/>
              <a:gd name="connsiteX16" fmla="*/ 1327150 w 2889250"/>
              <a:gd name="connsiteY16" fmla="*/ 55979 h 722729"/>
              <a:gd name="connsiteX17" fmla="*/ 1390650 w 2889250"/>
              <a:gd name="connsiteY17" fmla="*/ 8354 h 722729"/>
              <a:gd name="connsiteX18" fmla="*/ 1416050 w 2889250"/>
              <a:gd name="connsiteY18" fmla="*/ 2004 h 722729"/>
              <a:gd name="connsiteX19" fmla="*/ 1504950 w 2889250"/>
              <a:gd name="connsiteY19" fmla="*/ 30579 h 722729"/>
              <a:gd name="connsiteX20" fmla="*/ 1549400 w 2889250"/>
              <a:gd name="connsiteY20" fmla="*/ 49629 h 722729"/>
              <a:gd name="connsiteX21" fmla="*/ 1676400 w 2889250"/>
              <a:gd name="connsiteY21" fmla="*/ 119479 h 722729"/>
              <a:gd name="connsiteX22" fmla="*/ 1758950 w 2889250"/>
              <a:gd name="connsiteY22" fmla="*/ 154404 h 722729"/>
              <a:gd name="connsiteX23" fmla="*/ 1885950 w 2889250"/>
              <a:gd name="connsiteY23" fmla="*/ 230604 h 722729"/>
              <a:gd name="connsiteX24" fmla="*/ 1962150 w 2889250"/>
              <a:gd name="connsiteY24" fmla="*/ 265529 h 722729"/>
              <a:gd name="connsiteX25" fmla="*/ 2047875 w 2889250"/>
              <a:gd name="connsiteY25" fmla="*/ 303629 h 722729"/>
              <a:gd name="connsiteX26" fmla="*/ 2159000 w 2889250"/>
              <a:gd name="connsiteY26" fmla="*/ 348079 h 722729"/>
              <a:gd name="connsiteX27" fmla="*/ 2247900 w 2889250"/>
              <a:gd name="connsiteY27" fmla="*/ 408404 h 722729"/>
              <a:gd name="connsiteX28" fmla="*/ 2397125 w 2889250"/>
              <a:gd name="connsiteY28" fmla="*/ 478254 h 722729"/>
              <a:gd name="connsiteX29" fmla="*/ 2495550 w 2889250"/>
              <a:gd name="connsiteY29" fmla="*/ 522704 h 722729"/>
              <a:gd name="connsiteX30" fmla="*/ 2673350 w 2889250"/>
              <a:gd name="connsiteY30" fmla="*/ 592554 h 722729"/>
              <a:gd name="connsiteX31" fmla="*/ 2749550 w 2889250"/>
              <a:gd name="connsiteY31" fmla="*/ 640179 h 722729"/>
              <a:gd name="connsiteX32" fmla="*/ 2889250 w 2889250"/>
              <a:gd name="connsiteY32" fmla="*/ 722729 h 722729"/>
              <a:gd name="connsiteX0" fmla="*/ 0 w 2889250"/>
              <a:gd name="connsiteY0" fmla="*/ 708507 h 721207"/>
              <a:gd name="connsiteX1" fmla="*/ 111125 w 2889250"/>
              <a:gd name="connsiteY1" fmla="*/ 645007 h 721207"/>
              <a:gd name="connsiteX2" fmla="*/ 171450 w 2889250"/>
              <a:gd name="connsiteY2" fmla="*/ 616432 h 721207"/>
              <a:gd name="connsiteX3" fmla="*/ 247650 w 2889250"/>
              <a:gd name="connsiteY3" fmla="*/ 581507 h 721207"/>
              <a:gd name="connsiteX4" fmla="*/ 352425 w 2889250"/>
              <a:gd name="connsiteY4" fmla="*/ 543407 h 721207"/>
              <a:gd name="connsiteX5" fmla="*/ 463550 w 2889250"/>
              <a:gd name="connsiteY5" fmla="*/ 486257 h 721207"/>
              <a:gd name="connsiteX6" fmla="*/ 523875 w 2889250"/>
              <a:gd name="connsiteY6" fmla="*/ 457682 h 721207"/>
              <a:gd name="connsiteX7" fmla="*/ 612775 w 2889250"/>
              <a:gd name="connsiteY7" fmla="*/ 416407 h 721207"/>
              <a:gd name="connsiteX8" fmla="*/ 657225 w 2889250"/>
              <a:gd name="connsiteY8" fmla="*/ 394182 h 721207"/>
              <a:gd name="connsiteX9" fmla="*/ 736600 w 2889250"/>
              <a:gd name="connsiteY9" fmla="*/ 356082 h 721207"/>
              <a:gd name="connsiteX10" fmla="*/ 800100 w 2889250"/>
              <a:gd name="connsiteY10" fmla="*/ 324332 h 721207"/>
              <a:gd name="connsiteX11" fmla="*/ 898525 w 2889250"/>
              <a:gd name="connsiteY11" fmla="*/ 276707 h 721207"/>
              <a:gd name="connsiteX12" fmla="*/ 958850 w 2889250"/>
              <a:gd name="connsiteY12" fmla="*/ 235432 h 721207"/>
              <a:gd name="connsiteX13" fmla="*/ 1050925 w 2889250"/>
              <a:gd name="connsiteY13" fmla="*/ 200507 h 721207"/>
              <a:gd name="connsiteX14" fmla="*/ 1079500 w 2889250"/>
              <a:gd name="connsiteY14" fmla="*/ 187807 h 721207"/>
              <a:gd name="connsiteX15" fmla="*/ 1181100 w 2889250"/>
              <a:gd name="connsiteY15" fmla="*/ 140182 h 721207"/>
              <a:gd name="connsiteX16" fmla="*/ 1327150 w 2889250"/>
              <a:gd name="connsiteY16" fmla="*/ 54457 h 721207"/>
              <a:gd name="connsiteX17" fmla="*/ 1416050 w 2889250"/>
              <a:gd name="connsiteY17" fmla="*/ 482 h 721207"/>
              <a:gd name="connsiteX18" fmla="*/ 1504950 w 2889250"/>
              <a:gd name="connsiteY18" fmla="*/ 29057 h 721207"/>
              <a:gd name="connsiteX19" fmla="*/ 1549400 w 2889250"/>
              <a:gd name="connsiteY19" fmla="*/ 48107 h 721207"/>
              <a:gd name="connsiteX20" fmla="*/ 1676400 w 2889250"/>
              <a:gd name="connsiteY20" fmla="*/ 117957 h 721207"/>
              <a:gd name="connsiteX21" fmla="*/ 1758950 w 2889250"/>
              <a:gd name="connsiteY21" fmla="*/ 152882 h 721207"/>
              <a:gd name="connsiteX22" fmla="*/ 1885950 w 2889250"/>
              <a:gd name="connsiteY22" fmla="*/ 229082 h 721207"/>
              <a:gd name="connsiteX23" fmla="*/ 1962150 w 2889250"/>
              <a:gd name="connsiteY23" fmla="*/ 264007 h 721207"/>
              <a:gd name="connsiteX24" fmla="*/ 2047875 w 2889250"/>
              <a:gd name="connsiteY24" fmla="*/ 302107 h 721207"/>
              <a:gd name="connsiteX25" fmla="*/ 2159000 w 2889250"/>
              <a:gd name="connsiteY25" fmla="*/ 346557 h 721207"/>
              <a:gd name="connsiteX26" fmla="*/ 2247900 w 2889250"/>
              <a:gd name="connsiteY26" fmla="*/ 406882 h 721207"/>
              <a:gd name="connsiteX27" fmla="*/ 2397125 w 2889250"/>
              <a:gd name="connsiteY27" fmla="*/ 476732 h 721207"/>
              <a:gd name="connsiteX28" fmla="*/ 2495550 w 2889250"/>
              <a:gd name="connsiteY28" fmla="*/ 521182 h 721207"/>
              <a:gd name="connsiteX29" fmla="*/ 2673350 w 2889250"/>
              <a:gd name="connsiteY29" fmla="*/ 591032 h 721207"/>
              <a:gd name="connsiteX30" fmla="*/ 2749550 w 2889250"/>
              <a:gd name="connsiteY30" fmla="*/ 638657 h 721207"/>
              <a:gd name="connsiteX31" fmla="*/ 2889250 w 2889250"/>
              <a:gd name="connsiteY31" fmla="*/ 721207 h 721207"/>
              <a:gd name="connsiteX0" fmla="*/ 0 w 2889250"/>
              <a:gd name="connsiteY0" fmla="*/ 708507 h 721207"/>
              <a:gd name="connsiteX1" fmla="*/ 111125 w 2889250"/>
              <a:gd name="connsiteY1" fmla="*/ 645007 h 721207"/>
              <a:gd name="connsiteX2" fmla="*/ 171450 w 2889250"/>
              <a:gd name="connsiteY2" fmla="*/ 616432 h 721207"/>
              <a:gd name="connsiteX3" fmla="*/ 247650 w 2889250"/>
              <a:gd name="connsiteY3" fmla="*/ 581507 h 721207"/>
              <a:gd name="connsiteX4" fmla="*/ 352425 w 2889250"/>
              <a:gd name="connsiteY4" fmla="*/ 543407 h 721207"/>
              <a:gd name="connsiteX5" fmla="*/ 463550 w 2889250"/>
              <a:gd name="connsiteY5" fmla="*/ 486257 h 721207"/>
              <a:gd name="connsiteX6" fmla="*/ 523875 w 2889250"/>
              <a:gd name="connsiteY6" fmla="*/ 457682 h 721207"/>
              <a:gd name="connsiteX7" fmla="*/ 612775 w 2889250"/>
              <a:gd name="connsiteY7" fmla="*/ 416407 h 721207"/>
              <a:gd name="connsiteX8" fmla="*/ 657225 w 2889250"/>
              <a:gd name="connsiteY8" fmla="*/ 394182 h 721207"/>
              <a:gd name="connsiteX9" fmla="*/ 800100 w 2889250"/>
              <a:gd name="connsiteY9" fmla="*/ 324332 h 721207"/>
              <a:gd name="connsiteX10" fmla="*/ 898525 w 2889250"/>
              <a:gd name="connsiteY10" fmla="*/ 276707 h 721207"/>
              <a:gd name="connsiteX11" fmla="*/ 958850 w 2889250"/>
              <a:gd name="connsiteY11" fmla="*/ 235432 h 721207"/>
              <a:gd name="connsiteX12" fmla="*/ 1050925 w 2889250"/>
              <a:gd name="connsiteY12" fmla="*/ 200507 h 721207"/>
              <a:gd name="connsiteX13" fmla="*/ 1079500 w 2889250"/>
              <a:gd name="connsiteY13" fmla="*/ 187807 h 721207"/>
              <a:gd name="connsiteX14" fmla="*/ 1181100 w 2889250"/>
              <a:gd name="connsiteY14" fmla="*/ 140182 h 721207"/>
              <a:gd name="connsiteX15" fmla="*/ 1327150 w 2889250"/>
              <a:gd name="connsiteY15" fmla="*/ 54457 h 721207"/>
              <a:gd name="connsiteX16" fmla="*/ 1416050 w 2889250"/>
              <a:gd name="connsiteY16" fmla="*/ 482 h 721207"/>
              <a:gd name="connsiteX17" fmla="*/ 1504950 w 2889250"/>
              <a:gd name="connsiteY17" fmla="*/ 29057 h 721207"/>
              <a:gd name="connsiteX18" fmla="*/ 1549400 w 2889250"/>
              <a:gd name="connsiteY18" fmla="*/ 48107 h 721207"/>
              <a:gd name="connsiteX19" fmla="*/ 1676400 w 2889250"/>
              <a:gd name="connsiteY19" fmla="*/ 117957 h 721207"/>
              <a:gd name="connsiteX20" fmla="*/ 1758950 w 2889250"/>
              <a:gd name="connsiteY20" fmla="*/ 152882 h 721207"/>
              <a:gd name="connsiteX21" fmla="*/ 1885950 w 2889250"/>
              <a:gd name="connsiteY21" fmla="*/ 229082 h 721207"/>
              <a:gd name="connsiteX22" fmla="*/ 1962150 w 2889250"/>
              <a:gd name="connsiteY22" fmla="*/ 264007 h 721207"/>
              <a:gd name="connsiteX23" fmla="*/ 2047875 w 2889250"/>
              <a:gd name="connsiteY23" fmla="*/ 302107 h 721207"/>
              <a:gd name="connsiteX24" fmla="*/ 2159000 w 2889250"/>
              <a:gd name="connsiteY24" fmla="*/ 346557 h 721207"/>
              <a:gd name="connsiteX25" fmla="*/ 2247900 w 2889250"/>
              <a:gd name="connsiteY25" fmla="*/ 406882 h 721207"/>
              <a:gd name="connsiteX26" fmla="*/ 2397125 w 2889250"/>
              <a:gd name="connsiteY26" fmla="*/ 476732 h 721207"/>
              <a:gd name="connsiteX27" fmla="*/ 2495550 w 2889250"/>
              <a:gd name="connsiteY27" fmla="*/ 521182 h 721207"/>
              <a:gd name="connsiteX28" fmla="*/ 2673350 w 2889250"/>
              <a:gd name="connsiteY28" fmla="*/ 591032 h 721207"/>
              <a:gd name="connsiteX29" fmla="*/ 2749550 w 2889250"/>
              <a:gd name="connsiteY29" fmla="*/ 638657 h 721207"/>
              <a:gd name="connsiteX30" fmla="*/ 2889250 w 2889250"/>
              <a:gd name="connsiteY30" fmla="*/ 721207 h 721207"/>
              <a:gd name="connsiteX0" fmla="*/ 0 w 2889250"/>
              <a:gd name="connsiteY0" fmla="*/ 708507 h 721207"/>
              <a:gd name="connsiteX1" fmla="*/ 111125 w 2889250"/>
              <a:gd name="connsiteY1" fmla="*/ 645007 h 721207"/>
              <a:gd name="connsiteX2" fmla="*/ 171450 w 2889250"/>
              <a:gd name="connsiteY2" fmla="*/ 616432 h 721207"/>
              <a:gd name="connsiteX3" fmla="*/ 247650 w 2889250"/>
              <a:gd name="connsiteY3" fmla="*/ 581507 h 721207"/>
              <a:gd name="connsiteX4" fmla="*/ 352425 w 2889250"/>
              <a:gd name="connsiteY4" fmla="*/ 543407 h 721207"/>
              <a:gd name="connsiteX5" fmla="*/ 463550 w 2889250"/>
              <a:gd name="connsiteY5" fmla="*/ 486257 h 721207"/>
              <a:gd name="connsiteX6" fmla="*/ 523875 w 2889250"/>
              <a:gd name="connsiteY6" fmla="*/ 457682 h 721207"/>
              <a:gd name="connsiteX7" fmla="*/ 612775 w 2889250"/>
              <a:gd name="connsiteY7" fmla="*/ 416407 h 721207"/>
              <a:gd name="connsiteX8" fmla="*/ 800100 w 2889250"/>
              <a:gd name="connsiteY8" fmla="*/ 324332 h 721207"/>
              <a:gd name="connsiteX9" fmla="*/ 898525 w 2889250"/>
              <a:gd name="connsiteY9" fmla="*/ 276707 h 721207"/>
              <a:gd name="connsiteX10" fmla="*/ 958850 w 2889250"/>
              <a:gd name="connsiteY10" fmla="*/ 235432 h 721207"/>
              <a:gd name="connsiteX11" fmla="*/ 1050925 w 2889250"/>
              <a:gd name="connsiteY11" fmla="*/ 200507 h 721207"/>
              <a:gd name="connsiteX12" fmla="*/ 1079500 w 2889250"/>
              <a:gd name="connsiteY12" fmla="*/ 187807 h 721207"/>
              <a:gd name="connsiteX13" fmla="*/ 1181100 w 2889250"/>
              <a:gd name="connsiteY13" fmla="*/ 140182 h 721207"/>
              <a:gd name="connsiteX14" fmla="*/ 1327150 w 2889250"/>
              <a:gd name="connsiteY14" fmla="*/ 54457 h 721207"/>
              <a:gd name="connsiteX15" fmla="*/ 1416050 w 2889250"/>
              <a:gd name="connsiteY15" fmla="*/ 482 h 721207"/>
              <a:gd name="connsiteX16" fmla="*/ 1504950 w 2889250"/>
              <a:gd name="connsiteY16" fmla="*/ 29057 h 721207"/>
              <a:gd name="connsiteX17" fmla="*/ 1549400 w 2889250"/>
              <a:gd name="connsiteY17" fmla="*/ 48107 h 721207"/>
              <a:gd name="connsiteX18" fmla="*/ 1676400 w 2889250"/>
              <a:gd name="connsiteY18" fmla="*/ 117957 h 721207"/>
              <a:gd name="connsiteX19" fmla="*/ 1758950 w 2889250"/>
              <a:gd name="connsiteY19" fmla="*/ 152882 h 721207"/>
              <a:gd name="connsiteX20" fmla="*/ 1885950 w 2889250"/>
              <a:gd name="connsiteY20" fmla="*/ 229082 h 721207"/>
              <a:gd name="connsiteX21" fmla="*/ 1962150 w 2889250"/>
              <a:gd name="connsiteY21" fmla="*/ 264007 h 721207"/>
              <a:gd name="connsiteX22" fmla="*/ 2047875 w 2889250"/>
              <a:gd name="connsiteY22" fmla="*/ 302107 h 721207"/>
              <a:gd name="connsiteX23" fmla="*/ 2159000 w 2889250"/>
              <a:gd name="connsiteY23" fmla="*/ 346557 h 721207"/>
              <a:gd name="connsiteX24" fmla="*/ 2247900 w 2889250"/>
              <a:gd name="connsiteY24" fmla="*/ 406882 h 721207"/>
              <a:gd name="connsiteX25" fmla="*/ 2397125 w 2889250"/>
              <a:gd name="connsiteY25" fmla="*/ 476732 h 721207"/>
              <a:gd name="connsiteX26" fmla="*/ 2495550 w 2889250"/>
              <a:gd name="connsiteY26" fmla="*/ 521182 h 721207"/>
              <a:gd name="connsiteX27" fmla="*/ 2673350 w 2889250"/>
              <a:gd name="connsiteY27" fmla="*/ 591032 h 721207"/>
              <a:gd name="connsiteX28" fmla="*/ 2749550 w 2889250"/>
              <a:gd name="connsiteY28" fmla="*/ 638657 h 721207"/>
              <a:gd name="connsiteX29" fmla="*/ 2889250 w 2889250"/>
              <a:gd name="connsiteY29" fmla="*/ 721207 h 721207"/>
              <a:gd name="connsiteX0" fmla="*/ 0 w 2889250"/>
              <a:gd name="connsiteY0" fmla="*/ 708507 h 721207"/>
              <a:gd name="connsiteX1" fmla="*/ 111125 w 2889250"/>
              <a:gd name="connsiteY1" fmla="*/ 645007 h 721207"/>
              <a:gd name="connsiteX2" fmla="*/ 171450 w 2889250"/>
              <a:gd name="connsiteY2" fmla="*/ 616432 h 721207"/>
              <a:gd name="connsiteX3" fmla="*/ 352425 w 2889250"/>
              <a:gd name="connsiteY3" fmla="*/ 543407 h 721207"/>
              <a:gd name="connsiteX4" fmla="*/ 463550 w 2889250"/>
              <a:gd name="connsiteY4" fmla="*/ 486257 h 721207"/>
              <a:gd name="connsiteX5" fmla="*/ 523875 w 2889250"/>
              <a:gd name="connsiteY5" fmla="*/ 457682 h 721207"/>
              <a:gd name="connsiteX6" fmla="*/ 612775 w 2889250"/>
              <a:gd name="connsiteY6" fmla="*/ 416407 h 721207"/>
              <a:gd name="connsiteX7" fmla="*/ 800100 w 2889250"/>
              <a:gd name="connsiteY7" fmla="*/ 324332 h 721207"/>
              <a:gd name="connsiteX8" fmla="*/ 898525 w 2889250"/>
              <a:gd name="connsiteY8" fmla="*/ 276707 h 721207"/>
              <a:gd name="connsiteX9" fmla="*/ 958850 w 2889250"/>
              <a:gd name="connsiteY9" fmla="*/ 235432 h 721207"/>
              <a:gd name="connsiteX10" fmla="*/ 1050925 w 2889250"/>
              <a:gd name="connsiteY10" fmla="*/ 200507 h 721207"/>
              <a:gd name="connsiteX11" fmla="*/ 1079500 w 2889250"/>
              <a:gd name="connsiteY11" fmla="*/ 187807 h 721207"/>
              <a:gd name="connsiteX12" fmla="*/ 1181100 w 2889250"/>
              <a:gd name="connsiteY12" fmla="*/ 140182 h 721207"/>
              <a:gd name="connsiteX13" fmla="*/ 1327150 w 2889250"/>
              <a:gd name="connsiteY13" fmla="*/ 54457 h 721207"/>
              <a:gd name="connsiteX14" fmla="*/ 1416050 w 2889250"/>
              <a:gd name="connsiteY14" fmla="*/ 482 h 721207"/>
              <a:gd name="connsiteX15" fmla="*/ 1504950 w 2889250"/>
              <a:gd name="connsiteY15" fmla="*/ 29057 h 721207"/>
              <a:gd name="connsiteX16" fmla="*/ 1549400 w 2889250"/>
              <a:gd name="connsiteY16" fmla="*/ 48107 h 721207"/>
              <a:gd name="connsiteX17" fmla="*/ 1676400 w 2889250"/>
              <a:gd name="connsiteY17" fmla="*/ 117957 h 721207"/>
              <a:gd name="connsiteX18" fmla="*/ 1758950 w 2889250"/>
              <a:gd name="connsiteY18" fmla="*/ 152882 h 721207"/>
              <a:gd name="connsiteX19" fmla="*/ 1885950 w 2889250"/>
              <a:gd name="connsiteY19" fmla="*/ 229082 h 721207"/>
              <a:gd name="connsiteX20" fmla="*/ 1962150 w 2889250"/>
              <a:gd name="connsiteY20" fmla="*/ 264007 h 721207"/>
              <a:gd name="connsiteX21" fmla="*/ 2047875 w 2889250"/>
              <a:gd name="connsiteY21" fmla="*/ 302107 h 721207"/>
              <a:gd name="connsiteX22" fmla="*/ 2159000 w 2889250"/>
              <a:gd name="connsiteY22" fmla="*/ 346557 h 721207"/>
              <a:gd name="connsiteX23" fmla="*/ 2247900 w 2889250"/>
              <a:gd name="connsiteY23" fmla="*/ 406882 h 721207"/>
              <a:gd name="connsiteX24" fmla="*/ 2397125 w 2889250"/>
              <a:gd name="connsiteY24" fmla="*/ 476732 h 721207"/>
              <a:gd name="connsiteX25" fmla="*/ 2495550 w 2889250"/>
              <a:gd name="connsiteY25" fmla="*/ 521182 h 721207"/>
              <a:gd name="connsiteX26" fmla="*/ 2673350 w 2889250"/>
              <a:gd name="connsiteY26" fmla="*/ 591032 h 721207"/>
              <a:gd name="connsiteX27" fmla="*/ 2749550 w 2889250"/>
              <a:gd name="connsiteY27" fmla="*/ 638657 h 721207"/>
              <a:gd name="connsiteX28" fmla="*/ 2889250 w 2889250"/>
              <a:gd name="connsiteY28" fmla="*/ 721207 h 721207"/>
              <a:gd name="connsiteX0" fmla="*/ 0 w 2889250"/>
              <a:gd name="connsiteY0" fmla="*/ 708507 h 721207"/>
              <a:gd name="connsiteX1" fmla="*/ 111125 w 2889250"/>
              <a:gd name="connsiteY1" fmla="*/ 645007 h 721207"/>
              <a:gd name="connsiteX2" fmla="*/ 352425 w 2889250"/>
              <a:gd name="connsiteY2" fmla="*/ 543407 h 721207"/>
              <a:gd name="connsiteX3" fmla="*/ 463550 w 2889250"/>
              <a:gd name="connsiteY3" fmla="*/ 486257 h 721207"/>
              <a:gd name="connsiteX4" fmla="*/ 523875 w 2889250"/>
              <a:gd name="connsiteY4" fmla="*/ 457682 h 721207"/>
              <a:gd name="connsiteX5" fmla="*/ 612775 w 2889250"/>
              <a:gd name="connsiteY5" fmla="*/ 416407 h 721207"/>
              <a:gd name="connsiteX6" fmla="*/ 800100 w 2889250"/>
              <a:gd name="connsiteY6" fmla="*/ 324332 h 721207"/>
              <a:gd name="connsiteX7" fmla="*/ 898525 w 2889250"/>
              <a:gd name="connsiteY7" fmla="*/ 276707 h 721207"/>
              <a:gd name="connsiteX8" fmla="*/ 958850 w 2889250"/>
              <a:gd name="connsiteY8" fmla="*/ 235432 h 721207"/>
              <a:gd name="connsiteX9" fmla="*/ 1050925 w 2889250"/>
              <a:gd name="connsiteY9" fmla="*/ 200507 h 721207"/>
              <a:gd name="connsiteX10" fmla="*/ 1079500 w 2889250"/>
              <a:gd name="connsiteY10" fmla="*/ 187807 h 721207"/>
              <a:gd name="connsiteX11" fmla="*/ 1181100 w 2889250"/>
              <a:gd name="connsiteY11" fmla="*/ 140182 h 721207"/>
              <a:gd name="connsiteX12" fmla="*/ 1327150 w 2889250"/>
              <a:gd name="connsiteY12" fmla="*/ 54457 h 721207"/>
              <a:gd name="connsiteX13" fmla="*/ 1416050 w 2889250"/>
              <a:gd name="connsiteY13" fmla="*/ 482 h 721207"/>
              <a:gd name="connsiteX14" fmla="*/ 1504950 w 2889250"/>
              <a:gd name="connsiteY14" fmla="*/ 29057 h 721207"/>
              <a:gd name="connsiteX15" fmla="*/ 1549400 w 2889250"/>
              <a:gd name="connsiteY15" fmla="*/ 48107 h 721207"/>
              <a:gd name="connsiteX16" fmla="*/ 1676400 w 2889250"/>
              <a:gd name="connsiteY16" fmla="*/ 117957 h 721207"/>
              <a:gd name="connsiteX17" fmla="*/ 1758950 w 2889250"/>
              <a:gd name="connsiteY17" fmla="*/ 152882 h 721207"/>
              <a:gd name="connsiteX18" fmla="*/ 1885950 w 2889250"/>
              <a:gd name="connsiteY18" fmla="*/ 229082 h 721207"/>
              <a:gd name="connsiteX19" fmla="*/ 1962150 w 2889250"/>
              <a:gd name="connsiteY19" fmla="*/ 264007 h 721207"/>
              <a:gd name="connsiteX20" fmla="*/ 2047875 w 2889250"/>
              <a:gd name="connsiteY20" fmla="*/ 302107 h 721207"/>
              <a:gd name="connsiteX21" fmla="*/ 2159000 w 2889250"/>
              <a:gd name="connsiteY21" fmla="*/ 346557 h 721207"/>
              <a:gd name="connsiteX22" fmla="*/ 2247900 w 2889250"/>
              <a:gd name="connsiteY22" fmla="*/ 406882 h 721207"/>
              <a:gd name="connsiteX23" fmla="*/ 2397125 w 2889250"/>
              <a:gd name="connsiteY23" fmla="*/ 476732 h 721207"/>
              <a:gd name="connsiteX24" fmla="*/ 2495550 w 2889250"/>
              <a:gd name="connsiteY24" fmla="*/ 521182 h 721207"/>
              <a:gd name="connsiteX25" fmla="*/ 2673350 w 2889250"/>
              <a:gd name="connsiteY25" fmla="*/ 591032 h 721207"/>
              <a:gd name="connsiteX26" fmla="*/ 2749550 w 2889250"/>
              <a:gd name="connsiteY26" fmla="*/ 638657 h 721207"/>
              <a:gd name="connsiteX27" fmla="*/ 2889250 w 2889250"/>
              <a:gd name="connsiteY27" fmla="*/ 721207 h 721207"/>
              <a:gd name="connsiteX0" fmla="*/ 0 w 2889250"/>
              <a:gd name="connsiteY0" fmla="*/ 708507 h 721207"/>
              <a:gd name="connsiteX1" fmla="*/ 111125 w 2889250"/>
              <a:gd name="connsiteY1" fmla="*/ 645007 h 721207"/>
              <a:gd name="connsiteX2" fmla="*/ 352425 w 2889250"/>
              <a:gd name="connsiteY2" fmla="*/ 543407 h 721207"/>
              <a:gd name="connsiteX3" fmla="*/ 463550 w 2889250"/>
              <a:gd name="connsiteY3" fmla="*/ 486257 h 721207"/>
              <a:gd name="connsiteX4" fmla="*/ 612775 w 2889250"/>
              <a:gd name="connsiteY4" fmla="*/ 416407 h 721207"/>
              <a:gd name="connsiteX5" fmla="*/ 800100 w 2889250"/>
              <a:gd name="connsiteY5" fmla="*/ 324332 h 721207"/>
              <a:gd name="connsiteX6" fmla="*/ 898525 w 2889250"/>
              <a:gd name="connsiteY6" fmla="*/ 276707 h 721207"/>
              <a:gd name="connsiteX7" fmla="*/ 958850 w 2889250"/>
              <a:gd name="connsiteY7" fmla="*/ 235432 h 721207"/>
              <a:gd name="connsiteX8" fmla="*/ 1050925 w 2889250"/>
              <a:gd name="connsiteY8" fmla="*/ 200507 h 721207"/>
              <a:gd name="connsiteX9" fmla="*/ 1079500 w 2889250"/>
              <a:gd name="connsiteY9" fmla="*/ 187807 h 721207"/>
              <a:gd name="connsiteX10" fmla="*/ 1181100 w 2889250"/>
              <a:gd name="connsiteY10" fmla="*/ 140182 h 721207"/>
              <a:gd name="connsiteX11" fmla="*/ 1327150 w 2889250"/>
              <a:gd name="connsiteY11" fmla="*/ 54457 h 721207"/>
              <a:gd name="connsiteX12" fmla="*/ 1416050 w 2889250"/>
              <a:gd name="connsiteY12" fmla="*/ 482 h 721207"/>
              <a:gd name="connsiteX13" fmla="*/ 1504950 w 2889250"/>
              <a:gd name="connsiteY13" fmla="*/ 29057 h 721207"/>
              <a:gd name="connsiteX14" fmla="*/ 1549400 w 2889250"/>
              <a:gd name="connsiteY14" fmla="*/ 48107 h 721207"/>
              <a:gd name="connsiteX15" fmla="*/ 1676400 w 2889250"/>
              <a:gd name="connsiteY15" fmla="*/ 117957 h 721207"/>
              <a:gd name="connsiteX16" fmla="*/ 1758950 w 2889250"/>
              <a:gd name="connsiteY16" fmla="*/ 152882 h 721207"/>
              <a:gd name="connsiteX17" fmla="*/ 1885950 w 2889250"/>
              <a:gd name="connsiteY17" fmla="*/ 229082 h 721207"/>
              <a:gd name="connsiteX18" fmla="*/ 1962150 w 2889250"/>
              <a:gd name="connsiteY18" fmla="*/ 264007 h 721207"/>
              <a:gd name="connsiteX19" fmla="*/ 2047875 w 2889250"/>
              <a:gd name="connsiteY19" fmla="*/ 302107 h 721207"/>
              <a:gd name="connsiteX20" fmla="*/ 2159000 w 2889250"/>
              <a:gd name="connsiteY20" fmla="*/ 346557 h 721207"/>
              <a:gd name="connsiteX21" fmla="*/ 2247900 w 2889250"/>
              <a:gd name="connsiteY21" fmla="*/ 406882 h 721207"/>
              <a:gd name="connsiteX22" fmla="*/ 2397125 w 2889250"/>
              <a:gd name="connsiteY22" fmla="*/ 476732 h 721207"/>
              <a:gd name="connsiteX23" fmla="*/ 2495550 w 2889250"/>
              <a:gd name="connsiteY23" fmla="*/ 521182 h 721207"/>
              <a:gd name="connsiteX24" fmla="*/ 2673350 w 2889250"/>
              <a:gd name="connsiteY24" fmla="*/ 591032 h 721207"/>
              <a:gd name="connsiteX25" fmla="*/ 2749550 w 2889250"/>
              <a:gd name="connsiteY25" fmla="*/ 638657 h 721207"/>
              <a:gd name="connsiteX26" fmla="*/ 2889250 w 2889250"/>
              <a:gd name="connsiteY26" fmla="*/ 721207 h 721207"/>
              <a:gd name="connsiteX0" fmla="*/ 0 w 2889250"/>
              <a:gd name="connsiteY0" fmla="*/ 708507 h 721207"/>
              <a:gd name="connsiteX1" fmla="*/ 111125 w 2889250"/>
              <a:gd name="connsiteY1" fmla="*/ 645007 h 721207"/>
              <a:gd name="connsiteX2" fmla="*/ 352425 w 2889250"/>
              <a:gd name="connsiteY2" fmla="*/ 543407 h 721207"/>
              <a:gd name="connsiteX3" fmla="*/ 463550 w 2889250"/>
              <a:gd name="connsiteY3" fmla="*/ 486257 h 721207"/>
              <a:gd name="connsiteX4" fmla="*/ 612775 w 2889250"/>
              <a:gd name="connsiteY4" fmla="*/ 416407 h 721207"/>
              <a:gd name="connsiteX5" fmla="*/ 800100 w 2889250"/>
              <a:gd name="connsiteY5" fmla="*/ 324332 h 721207"/>
              <a:gd name="connsiteX6" fmla="*/ 898525 w 2889250"/>
              <a:gd name="connsiteY6" fmla="*/ 276707 h 721207"/>
              <a:gd name="connsiteX7" fmla="*/ 1050925 w 2889250"/>
              <a:gd name="connsiteY7" fmla="*/ 200507 h 721207"/>
              <a:gd name="connsiteX8" fmla="*/ 1079500 w 2889250"/>
              <a:gd name="connsiteY8" fmla="*/ 187807 h 721207"/>
              <a:gd name="connsiteX9" fmla="*/ 1181100 w 2889250"/>
              <a:gd name="connsiteY9" fmla="*/ 140182 h 721207"/>
              <a:gd name="connsiteX10" fmla="*/ 1327150 w 2889250"/>
              <a:gd name="connsiteY10" fmla="*/ 54457 h 721207"/>
              <a:gd name="connsiteX11" fmla="*/ 1416050 w 2889250"/>
              <a:gd name="connsiteY11" fmla="*/ 482 h 721207"/>
              <a:gd name="connsiteX12" fmla="*/ 1504950 w 2889250"/>
              <a:gd name="connsiteY12" fmla="*/ 29057 h 721207"/>
              <a:gd name="connsiteX13" fmla="*/ 1549400 w 2889250"/>
              <a:gd name="connsiteY13" fmla="*/ 48107 h 721207"/>
              <a:gd name="connsiteX14" fmla="*/ 1676400 w 2889250"/>
              <a:gd name="connsiteY14" fmla="*/ 117957 h 721207"/>
              <a:gd name="connsiteX15" fmla="*/ 1758950 w 2889250"/>
              <a:gd name="connsiteY15" fmla="*/ 152882 h 721207"/>
              <a:gd name="connsiteX16" fmla="*/ 1885950 w 2889250"/>
              <a:gd name="connsiteY16" fmla="*/ 229082 h 721207"/>
              <a:gd name="connsiteX17" fmla="*/ 1962150 w 2889250"/>
              <a:gd name="connsiteY17" fmla="*/ 264007 h 721207"/>
              <a:gd name="connsiteX18" fmla="*/ 2047875 w 2889250"/>
              <a:gd name="connsiteY18" fmla="*/ 302107 h 721207"/>
              <a:gd name="connsiteX19" fmla="*/ 2159000 w 2889250"/>
              <a:gd name="connsiteY19" fmla="*/ 346557 h 721207"/>
              <a:gd name="connsiteX20" fmla="*/ 2247900 w 2889250"/>
              <a:gd name="connsiteY20" fmla="*/ 406882 h 721207"/>
              <a:gd name="connsiteX21" fmla="*/ 2397125 w 2889250"/>
              <a:gd name="connsiteY21" fmla="*/ 476732 h 721207"/>
              <a:gd name="connsiteX22" fmla="*/ 2495550 w 2889250"/>
              <a:gd name="connsiteY22" fmla="*/ 521182 h 721207"/>
              <a:gd name="connsiteX23" fmla="*/ 2673350 w 2889250"/>
              <a:gd name="connsiteY23" fmla="*/ 591032 h 721207"/>
              <a:gd name="connsiteX24" fmla="*/ 2749550 w 2889250"/>
              <a:gd name="connsiteY24" fmla="*/ 638657 h 721207"/>
              <a:gd name="connsiteX25" fmla="*/ 2889250 w 2889250"/>
              <a:gd name="connsiteY25" fmla="*/ 721207 h 721207"/>
              <a:gd name="connsiteX0" fmla="*/ 0 w 2889250"/>
              <a:gd name="connsiteY0" fmla="*/ 708507 h 721207"/>
              <a:gd name="connsiteX1" fmla="*/ 111125 w 2889250"/>
              <a:gd name="connsiteY1" fmla="*/ 645007 h 721207"/>
              <a:gd name="connsiteX2" fmla="*/ 352425 w 2889250"/>
              <a:gd name="connsiteY2" fmla="*/ 543407 h 721207"/>
              <a:gd name="connsiteX3" fmla="*/ 463550 w 2889250"/>
              <a:gd name="connsiteY3" fmla="*/ 486257 h 721207"/>
              <a:gd name="connsiteX4" fmla="*/ 612775 w 2889250"/>
              <a:gd name="connsiteY4" fmla="*/ 416407 h 721207"/>
              <a:gd name="connsiteX5" fmla="*/ 800100 w 2889250"/>
              <a:gd name="connsiteY5" fmla="*/ 324332 h 721207"/>
              <a:gd name="connsiteX6" fmla="*/ 898525 w 2889250"/>
              <a:gd name="connsiteY6" fmla="*/ 276707 h 721207"/>
              <a:gd name="connsiteX7" fmla="*/ 1079500 w 2889250"/>
              <a:gd name="connsiteY7" fmla="*/ 187807 h 721207"/>
              <a:gd name="connsiteX8" fmla="*/ 1181100 w 2889250"/>
              <a:gd name="connsiteY8" fmla="*/ 140182 h 721207"/>
              <a:gd name="connsiteX9" fmla="*/ 1327150 w 2889250"/>
              <a:gd name="connsiteY9" fmla="*/ 54457 h 721207"/>
              <a:gd name="connsiteX10" fmla="*/ 1416050 w 2889250"/>
              <a:gd name="connsiteY10" fmla="*/ 482 h 721207"/>
              <a:gd name="connsiteX11" fmla="*/ 1504950 w 2889250"/>
              <a:gd name="connsiteY11" fmla="*/ 29057 h 721207"/>
              <a:gd name="connsiteX12" fmla="*/ 1549400 w 2889250"/>
              <a:gd name="connsiteY12" fmla="*/ 48107 h 721207"/>
              <a:gd name="connsiteX13" fmla="*/ 1676400 w 2889250"/>
              <a:gd name="connsiteY13" fmla="*/ 117957 h 721207"/>
              <a:gd name="connsiteX14" fmla="*/ 1758950 w 2889250"/>
              <a:gd name="connsiteY14" fmla="*/ 152882 h 721207"/>
              <a:gd name="connsiteX15" fmla="*/ 1885950 w 2889250"/>
              <a:gd name="connsiteY15" fmla="*/ 229082 h 721207"/>
              <a:gd name="connsiteX16" fmla="*/ 1962150 w 2889250"/>
              <a:gd name="connsiteY16" fmla="*/ 264007 h 721207"/>
              <a:gd name="connsiteX17" fmla="*/ 2047875 w 2889250"/>
              <a:gd name="connsiteY17" fmla="*/ 302107 h 721207"/>
              <a:gd name="connsiteX18" fmla="*/ 2159000 w 2889250"/>
              <a:gd name="connsiteY18" fmla="*/ 346557 h 721207"/>
              <a:gd name="connsiteX19" fmla="*/ 2247900 w 2889250"/>
              <a:gd name="connsiteY19" fmla="*/ 406882 h 721207"/>
              <a:gd name="connsiteX20" fmla="*/ 2397125 w 2889250"/>
              <a:gd name="connsiteY20" fmla="*/ 476732 h 721207"/>
              <a:gd name="connsiteX21" fmla="*/ 2495550 w 2889250"/>
              <a:gd name="connsiteY21" fmla="*/ 521182 h 721207"/>
              <a:gd name="connsiteX22" fmla="*/ 2673350 w 2889250"/>
              <a:gd name="connsiteY22" fmla="*/ 591032 h 721207"/>
              <a:gd name="connsiteX23" fmla="*/ 2749550 w 2889250"/>
              <a:gd name="connsiteY23" fmla="*/ 638657 h 721207"/>
              <a:gd name="connsiteX24" fmla="*/ 2889250 w 2889250"/>
              <a:gd name="connsiteY24" fmla="*/ 721207 h 721207"/>
              <a:gd name="connsiteX0" fmla="*/ 0 w 2889250"/>
              <a:gd name="connsiteY0" fmla="*/ 708815 h 721515"/>
              <a:gd name="connsiteX1" fmla="*/ 111125 w 2889250"/>
              <a:gd name="connsiteY1" fmla="*/ 645315 h 721515"/>
              <a:gd name="connsiteX2" fmla="*/ 352425 w 2889250"/>
              <a:gd name="connsiteY2" fmla="*/ 543715 h 721515"/>
              <a:gd name="connsiteX3" fmla="*/ 463550 w 2889250"/>
              <a:gd name="connsiteY3" fmla="*/ 486565 h 721515"/>
              <a:gd name="connsiteX4" fmla="*/ 612775 w 2889250"/>
              <a:gd name="connsiteY4" fmla="*/ 416715 h 721515"/>
              <a:gd name="connsiteX5" fmla="*/ 800100 w 2889250"/>
              <a:gd name="connsiteY5" fmla="*/ 324640 h 721515"/>
              <a:gd name="connsiteX6" fmla="*/ 898525 w 2889250"/>
              <a:gd name="connsiteY6" fmla="*/ 277015 h 721515"/>
              <a:gd name="connsiteX7" fmla="*/ 1079500 w 2889250"/>
              <a:gd name="connsiteY7" fmla="*/ 188115 h 721515"/>
              <a:gd name="connsiteX8" fmla="*/ 1181100 w 2889250"/>
              <a:gd name="connsiteY8" fmla="*/ 140490 h 721515"/>
              <a:gd name="connsiteX9" fmla="*/ 1327150 w 2889250"/>
              <a:gd name="connsiteY9" fmla="*/ 54765 h 721515"/>
              <a:gd name="connsiteX10" fmla="*/ 1416050 w 2889250"/>
              <a:gd name="connsiteY10" fmla="*/ 790 h 721515"/>
              <a:gd name="connsiteX11" fmla="*/ 1504950 w 2889250"/>
              <a:gd name="connsiteY11" fmla="*/ 29365 h 721515"/>
              <a:gd name="connsiteX12" fmla="*/ 1676400 w 2889250"/>
              <a:gd name="connsiteY12" fmla="*/ 118265 h 721515"/>
              <a:gd name="connsiteX13" fmla="*/ 1758950 w 2889250"/>
              <a:gd name="connsiteY13" fmla="*/ 153190 h 721515"/>
              <a:gd name="connsiteX14" fmla="*/ 1885950 w 2889250"/>
              <a:gd name="connsiteY14" fmla="*/ 229390 h 721515"/>
              <a:gd name="connsiteX15" fmla="*/ 1962150 w 2889250"/>
              <a:gd name="connsiteY15" fmla="*/ 264315 h 721515"/>
              <a:gd name="connsiteX16" fmla="*/ 2047875 w 2889250"/>
              <a:gd name="connsiteY16" fmla="*/ 302415 h 721515"/>
              <a:gd name="connsiteX17" fmla="*/ 2159000 w 2889250"/>
              <a:gd name="connsiteY17" fmla="*/ 346865 h 721515"/>
              <a:gd name="connsiteX18" fmla="*/ 2247900 w 2889250"/>
              <a:gd name="connsiteY18" fmla="*/ 407190 h 721515"/>
              <a:gd name="connsiteX19" fmla="*/ 2397125 w 2889250"/>
              <a:gd name="connsiteY19" fmla="*/ 477040 h 721515"/>
              <a:gd name="connsiteX20" fmla="*/ 2495550 w 2889250"/>
              <a:gd name="connsiteY20" fmla="*/ 521490 h 721515"/>
              <a:gd name="connsiteX21" fmla="*/ 2673350 w 2889250"/>
              <a:gd name="connsiteY21" fmla="*/ 591340 h 721515"/>
              <a:gd name="connsiteX22" fmla="*/ 2749550 w 2889250"/>
              <a:gd name="connsiteY22" fmla="*/ 638965 h 721515"/>
              <a:gd name="connsiteX23" fmla="*/ 2889250 w 2889250"/>
              <a:gd name="connsiteY23" fmla="*/ 721515 h 721515"/>
              <a:gd name="connsiteX0" fmla="*/ 0 w 2889250"/>
              <a:gd name="connsiteY0" fmla="*/ 708815 h 721515"/>
              <a:gd name="connsiteX1" fmla="*/ 111125 w 2889250"/>
              <a:gd name="connsiteY1" fmla="*/ 645315 h 721515"/>
              <a:gd name="connsiteX2" fmla="*/ 352425 w 2889250"/>
              <a:gd name="connsiteY2" fmla="*/ 543715 h 721515"/>
              <a:gd name="connsiteX3" fmla="*/ 463550 w 2889250"/>
              <a:gd name="connsiteY3" fmla="*/ 486565 h 721515"/>
              <a:gd name="connsiteX4" fmla="*/ 612775 w 2889250"/>
              <a:gd name="connsiteY4" fmla="*/ 416715 h 721515"/>
              <a:gd name="connsiteX5" fmla="*/ 800100 w 2889250"/>
              <a:gd name="connsiteY5" fmla="*/ 324640 h 721515"/>
              <a:gd name="connsiteX6" fmla="*/ 898525 w 2889250"/>
              <a:gd name="connsiteY6" fmla="*/ 277015 h 721515"/>
              <a:gd name="connsiteX7" fmla="*/ 1079500 w 2889250"/>
              <a:gd name="connsiteY7" fmla="*/ 188115 h 721515"/>
              <a:gd name="connsiteX8" fmla="*/ 1181100 w 2889250"/>
              <a:gd name="connsiteY8" fmla="*/ 140490 h 721515"/>
              <a:gd name="connsiteX9" fmla="*/ 1327150 w 2889250"/>
              <a:gd name="connsiteY9" fmla="*/ 54765 h 721515"/>
              <a:gd name="connsiteX10" fmla="*/ 1416050 w 2889250"/>
              <a:gd name="connsiteY10" fmla="*/ 790 h 721515"/>
              <a:gd name="connsiteX11" fmla="*/ 1504950 w 2889250"/>
              <a:gd name="connsiteY11" fmla="*/ 29365 h 721515"/>
              <a:gd name="connsiteX12" fmla="*/ 1676400 w 2889250"/>
              <a:gd name="connsiteY12" fmla="*/ 118265 h 721515"/>
              <a:gd name="connsiteX13" fmla="*/ 1758950 w 2889250"/>
              <a:gd name="connsiteY13" fmla="*/ 153190 h 721515"/>
              <a:gd name="connsiteX14" fmla="*/ 1885950 w 2889250"/>
              <a:gd name="connsiteY14" fmla="*/ 229390 h 721515"/>
              <a:gd name="connsiteX15" fmla="*/ 1962150 w 2889250"/>
              <a:gd name="connsiteY15" fmla="*/ 264315 h 721515"/>
              <a:gd name="connsiteX16" fmla="*/ 2047875 w 2889250"/>
              <a:gd name="connsiteY16" fmla="*/ 302415 h 721515"/>
              <a:gd name="connsiteX17" fmla="*/ 2247900 w 2889250"/>
              <a:gd name="connsiteY17" fmla="*/ 407190 h 721515"/>
              <a:gd name="connsiteX18" fmla="*/ 2397125 w 2889250"/>
              <a:gd name="connsiteY18" fmla="*/ 477040 h 721515"/>
              <a:gd name="connsiteX19" fmla="*/ 2495550 w 2889250"/>
              <a:gd name="connsiteY19" fmla="*/ 521490 h 721515"/>
              <a:gd name="connsiteX20" fmla="*/ 2673350 w 2889250"/>
              <a:gd name="connsiteY20" fmla="*/ 591340 h 721515"/>
              <a:gd name="connsiteX21" fmla="*/ 2749550 w 2889250"/>
              <a:gd name="connsiteY21" fmla="*/ 638965 h 721515"/>
              <a:gd name="connsiteX22" fmla="*/ 2889250 w 2889250"/>
              <a:gd name="connsiteY22" fmla="*/ 721515 h 721515"/>
              <a:gd name="connsiteX0" fmla="*/ 0 w 2889250"/>
              <a:gd name="connsiteY0" fmla="*/ 708815 h 721515"/>
              <a:gd name="connsiteX1" fmla="*/ 111125 w 2889250"/>
              <a:gd name="connsiteY1" fmla="*/ 645315 h 721515"/>
              <a:gd name="connsiteX2" fmla="*/ 352425 w 2889250"/>
              <a:gd name="connsiteY2" fmla="*/ 543715 h 721515"/>
              <a:gd name="connsiteX3" fmla="*/ 463550 w 2889250"/>
              <a:gd name="connsiteY3" fmla="*/ 486565 h 721515"/>
              <a:gd name="connsiteX4" fmla="*/ 612775 w 2889250"/>
              <a:gd name="connsiteY4" fmla="*/ 416715 h 721515"/>
              <a:gd name="connsiteX5" fmla="*/ 800100 w 2889250"/>
              <a:gd name="connsiteY5" fmla="*/ 324640 h 721515"/>
              <a:gd name="connsiteX6" fmla="*/ 898525 w 2889250"/>
              <a:gd name="connsiteY6" fmla="*/ 277015 h 721515"/>
              <a:gd name="connsiteX7" fmla="*/ 1079500 w 2889250"/>
              <a:gd name="connsiteY7" fmla="*/ 188115 h 721515"/>
              <a:gd name="connsiteX8" fmla="*/ 1181100 w 2889250"/>
              <a:gd name="connsiteY8" fmla="*/ 140490 h 721515"/>
              <a:gd name="connsiteX9" fmla="*/ 1327150 w 2889250"/>
              <a:gd name="connsiteY9" fmla="*/ 54765 h 721515"/>
              <a:gd name="connsiteX10" fmla="*/ 1416050 w 2889250"/>
              <a:gd name="connsiteY10" fmla="*/ 790 h 721515"/>
              <a:gd name="connsiteX11" fmla="*/ 1504950 w 2889250"/>
              <a:gd name="connsiteY11" fmla="*/ 29365 h 721515"/>
              <a:gd name="connsiteX12" fmla="*/ 1676400 w 2889250"/>
              <a:gd name="connsiteY12" fmla="*/ 118265 h 721515"/>
              <a:gd name="connsiteX13" fmla="*/ 1758950 w 2889250"/>
              <a:gd name="connsiteY13" fmla="*/ 153190 h 721515"/>
              <a:gd name="connsiteX14" fmla="*/ 1885950 w 2889250"/>
              <a:gd name="connsiteY14" fmla="*/ 229390 h 721515"/>
              <a:gd name="connsiteX15" fmla="*/ 1962150 w 2889250"/>
              <a:gd name="connsiteY15" fmla="*/ 264315 h 721515"/>
              <a:gd name="connsiteX16" fmla="*/ 2047875 w 2889250"/>
              <a:gd name="connsiteY16" fmla="*/ 302415 h 721515"/>
              <a:gd name="connsiteX17" fmla="*/ 2247900 w 2889250"/>
              <a:gd name="connsiteY17" fmla="*/ 407190 h 721515"/>
              <a:gd name="connsiteX18" fmla="*/ 2397125 w 2889250"/>
              <a:gd name="connsiteY18" fmla="*/ 477040 h 721515"/>
              <a:gd name="connsiteX19" fmla="*/ 2495550 w 2889250"/>
              <a:gd name="connsiteY19" fmla="*/ 521490 h 721515"/>
              <a:gd name="connsiteX20" fmla="*/ 2673350 w 2889250"/>
              <a:gd name="connsiteY20" fmla="*/ 604040 h 721515"/>
              <a:gd name="connsiteX21" fmla="*/ 2749550 w 2889250"/>
              <a:gd name="connsiteY21" fmla="*/ 638965 h 721515"/>
              <a:gd name="connsiteX22" fmla="*/ 2889250 w 2889250"/>
              <a:gd name="connsiteY22" fmla="*/ 721515 h 721515"/>
              <a:gd name="connsiteX0" fmla="*/ 0 w 2889250"/>
              <a:gd name="connsiteY0" fmla="*/ 708815 h 721515"/>
              <a:gd name="connsiteX1" fmla="*/ 111125 w 2889250"/>
              <a:gd name="connsiteY1" fmla="*/ 645315 h 721515"/>
              <a:gd name="connsiteX2" fmla="*/ 352425 w 2889250"/>
              <a:gd name="connsiteY2" fmla="*/ 543715 h 721515"/>
              <a:gd name="connsiteX3" fmla="*/ 463550 w 2889250"/>
              <a:gd name="connsiteY3" fmla="*/ 486565 h 721515"/>
              <a:gd name="connsiteX4" fmla="*/ 612775 w 2889250"/>
              <a:gd name="connsiteY4" fmla="*/ 416715 h 721515"/>
              <a:gd name="connsiteX5" fmla="*/ 800100 w 2889250"/>
              <a:gd name="connsiteY5" fmla="*/ 324640 h 721515"/>
              <a:gd name="connsiteX6" fmla="*/ 898525 w 2889250"/>
              <a:gd name="connsiteY6" fmla="*/ 277015 h 721515"/>
              <a:gd name="connsiteX7" fmla="*/ 1079500 w 2889250"/>
              <a:gd name="connsiteY7" fmla="*/ 188115 h 721515"/>
              <a:gd name="connsiteX8" fmla="*/ 1181100 w 2889250"/>
              <a:gd name="connsiteY8" fmla="*/ 140490 h 721515"/>
              <a:gd name="connsiteX9" fmla="*/ 1327150 w 2889250"/>
              <a:gd name="connsiteY9" fmla="*/ 54765 h 721515"/>
              <a:gd name="connsiteX10" fmla="*/ 1416050 w 2889250"/>
              <a:gd name="connsiteY10" fmla="*/ 790 h 721515"/>
              <a:gd name="connsiteX11" fmla="*/ 1504950 w 2889250"/>
              <a:gd name="connsiteY11" fmla="*/ 29365 h 721515"/>
              <a:gd name="connsiteX12" fmla="*/ 1676400 w 2889250"/>
              <a:gd name="connsiteY12" fmla="*/ 118265 h 721515"/>
              <a:gd name="connsiteX13" fmla="*/ 1758950 w 2889250"/>
              <a:gd name="connsiteY13" fmla="*/ 153190 h 721515"/>
              <a:gd name="connsiteX14" fmla="*/ 1885950 w 2889250"/>
              <a:gd name="connsiteY14" fmla="*/ 229390 h 721515"/>
              <a:gd name="connsiteX15" fmla="*/ 1962150 w 2889250"/>
              <a:gd name="connsiteY15" fmla="*/ 264315 h 721515"/>
              <a:gd name="connsiteX16" fmla="*/ 2047875 w 2889250"/>
              <a:gd name="connsiteY16" fmla="*/ 302415 h 721515"/>
              <a:gd name="connsiteX17" fmla="*/ 2247900 w 2889250"/>
              <a:gd name="connsiteY17" fmla="*/ 407190 h 721515"/>
              <a:gd name="connsiteX18" fmla="*/ 2397125 w 2889250"/>
              <a:gd name="connsiteY18" fmla="*/ 477040 h 721515"/>
              <a:gd name="connsiteX19" fmla="*/ 2495550 w 2889250"/>
              <a:gd name="connsiteY19" fmla="*/ 521490 h 721515"/>
              <a:gd name="connsiteX20" fmla="*/ 2673350 w 2889250"/>
              <a:gd name="connsiteY20" fmla="*/ 604040 h 721515"/>
              <a:gd name="connsiteX21" fmla="*/ 2749550 w 2889250"/>
              <a:gd name="connsiteY21" fmla="*/ 638965 h 721515"/>
              <a:gd name="connsiteX22" fmla="*/ 2889250 w 2889250"/>
              <a:gd name="connsiteY22" fmla="*/ 721515 h 721515"/>
              <a:gd name="connsiteX23" fmla="*/ 0 w 2889250"/>
              <a:gd name="connsiteY23" fmla="*/ 708815 h 721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2889250" h="721515">
                <a:moveTo>
                  <a:pt x="0" y="708815"/>
                </a:moveTo>
                <a:cubicBezTo>
                  <a:pt x="23151" y="695586"/>
                  <a:pt x="52388" y="672832"/>
                  <a:pt x="111125" y="645315"/>
                </a:cubicBezTo>
                <a:cubicBezTo>
                  <a:pt x="169863" y="617798"/>
                  <a:pt x="293688" y="570173"/>
                  <a:pt x="352425" y="543715"/>
                </a:cubicBezTo>
                <a:cubicBezTo>
                  <a:pt x="411162" y="517257"/>
                  <a:pt x="420158" y="507732"/>
                  <a:pt x="463550" y="486565"/>
                </a:cubicBezTo>
                <a:cubicBezTo>
                  <a:pt x="506942" y="465398"/>
                  <a:pt x="556683" y="443703"/>
                  <a:pt x="612775" y="416715"/>
                </a:cubicBezTo>
                <a:cubicBezTo>
                  <a:pt x="668867" y="389727"/>
                  <a:pt x="737658" y="355332"/>
                  <a:pt x="800100" y="324640"/>
                </a:cubicBezTo>
                <a:lnTo>
                  <a:pt x="898525" y="277015"/>
                </a:lnTo>
                <a:lnTo>
                  <a:pt x="1079500" y="188115"/>
                </a:lnTo>
                <a:cubicBezTo>
                  <a:pt x="1101196" y="178061"/>
                  <a:pt x="1139825" y="162715"/>
                  <a:pt x="1181100" y="140490"/>
                </a:cubicBezTo>
                <a:cubicBezTo>
                  <a:pt x="1222375" y="118265"/>
                  <a:pt x="1287992" y="78048"/>
                  <a:pt x="1327150" y="54765"/>
                </a:cubicBezTo>
                <a:cubicBezTo>
                  <a:pt x="1366308" y="31482"/>
                  <a:pt x="1386417" y="5023"/>
                  <a:pt x="1416050" y="790"/>
                </a:cubicBezTo>
                <a:cubicBezTo>
                  <a:pt x="1445683" y="-3443"/>
                  <a:pt x="1461558" y="9786"/>
                  <a:pt x="1504950" y="29365"/>
                </a:cubicBezTo>
                <a:cubicBezTo>
                  <a:pt x="1548342" y="48944"/>
                  <a:pt x="1634067" y="97627"/>
                  <a:pt x="1676400" y="118265"/>
                </a:cubicBezTo>
                <a:cubicBezTo>
                  <a:pt x="1718733" y="138903"/>
                  <a:pt x="1724025" y="134669"/>
                  <a:pt x="1758950" y="153190"/>
                </a:cubicBezTo>
                <a:cubicBezTo>
                  <a:pt x="1793875" y="171711"/>
                  <a:pt x="1852083" y="210869"/>
                  <a:pt x="1885950" y="229390"/>
                </a:cubicBezTo>
                <a:cubicBezTo>
                  <a:pt x="1919817" y="247911"/>
                  <a:pt x="1935163" y="252144"/>
                  <a:pt x="1962150" y="264315"/>
                </a:cubicBezTo>
                <a:cubicBezTo>
                  <a:pt x="1989138" y="276486"/>
                  <a:pt x="2000250" y="278603"/>
                  <a:pt x="2047875" y="302415"/>
                </a:cubicBezTo>
                <a:cubicBezTo>
                  <a:pt x="2095500" y="326228"/>
                  <a:pt x="2189692" y="378086"/>
                  <a:pt x="2247900" y="407190"/>
                </a:cubicBezTo>
                <a:cubicBezTo>
                  <a:pt x="2306108" y="436294"/>
                  <a:pt x="2355850" y="457990"/>
                  <a:pt x="2397125" y="477040"/>
                </a:cubicBezTo>
                <a:lnTo>
                  <a:pt x="2495550" y="521490"/>
                </a:lnTo>
                <a:lnTo>
                  <a:pt x="2673350" y="604040"/>
                </a:lnTo>
                <a:cubicBezTo>
                  <a:pt x="2715683" y="623619"/>
                  <a:pt x="2713567" y="619386"/>
                  <a:pt x="2749550" y="638965"/>
                </a:cubicBezTo>
                <a:cubicBezTo>
                  <a:pt x="2785533" y="658544"/>
                  <a:pt x="2860146" y="704317"/>
                  <a:pt x="2889250" y="721515"/>
                </a:cubicBezTo>
                <a:lnTo>
                  <a:pt x="0" y="708815"/>
                </a:lnTo>
                <a:close/>
              </a:path>
            </a:pathLst>
          </a:custGeom>
          <a:solidFill>
            <a:srgbClr val="97A2BB"/>
          </a:solidFill>
          <a:ln w="12700">
            <a:noFill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5DD8A3F9-874D-4CF9-D74A-B9B5847DF08B}"/>
              </a:ext>
            </a:extLst>
          </p:cNvPr>
          <p:cNvSpPr/>
          <p:nvPr/>
        </p:nvSpPr>
        <p:spPr>
          <a:xfrm>
            <a:off x="4497087" y="3686239"/>
            <a:ext cx="2017150" cy="2139692"/>
          </a:xfrm>
          <a:custGeom>
            <a:avLst/>
            <a:gdLst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33700 w 2963138"/>
              <a:gd name="connsiteY66" fmla="*/ 995362 h 2313680"/>
              <a:gd name="connsiteX67" fmla="*/ 2928937 w 2963138"/>
              <a:gd name="connsiteY67" fmla="*/ 938212 h 2313680"/>
              <a:gd name="connsiteX68" fmla="*/ 2933700 w 2963138"/>
              <a:gd name="connsiteY68" fmla="*/ 719137 h 2313680"/>
              <a:gd name="connsiteX69" fmla="*/ 2943225 w 2963138"/>
              <a:gd name="connsiteY69" fmla="*/ 647700 h 2313680"/>
              <a:gd name="connsiteX70" fmla="*/ 2952750 w 2963138"/>
              <a:gd name="connsiteY70" fmla="*/ 571500 h 2313680"/>
              <a:gd name="connsiteX71" fmla="*/ 2947987 w 2963138"/>
              <a:gd name="connsiteY71" fmla="*/ 471487 h 2313680"/>
              <a:gd name="connsiteX72" fmla="*/ 2928937 w 2963138"/>
              <a:gd name="connsiteY72" fmla="*/ 381000 h 2313680"/>
              <a:gd name="connsiteX73" fmla="*/ 2919412 w 2963138"/>
              <a:gd name="connsiteY73" fmla="*/ 209550 h 2313680"/>
              <a:gd name="connsiteX74" fmla="*/ 2914650 w 2963138"/>
              <a:gd name="connsiteY74" fmla="*/ 152400 h 2313680"/>
              <a:gd name="connsiteX75" fmla="*/ 2919412 w 2963138"/>
              <a:gd name="connsiteY75" fmla="*/ 47625 h 2313680"/>
              <a:gd name="connsiteX76" fmla="*/ 2909887 w 2963138"/>
              <a:gd name="connsiteY76" fmla="*/ 23812 h 2313680"/>
              <a:gd name="connsiteX77" fmla="*/ 2867025 w 2963138"/>
              <a:gd name="connsiteY77" fmla="*/ 19050 h 2313680"/>
              <a:gd name="connsiteX78" fmla="*/ 2724150 w 2963138"/>
              <a:gd name="connsiteY78" fmla="*/ 9525 h 2313680"/>
              <a:gd name="connsiteX79" fmla="*/ 2381250 w 2963138"/>
              <a:gd name="connsiteY79" fmla="*/ 14287 h 2313680"/>
              <a:gd name="connsiteX80" fmla="*/ 2324100 w 2963138"/>
              <a:gd name="connsiteY80" fmla="*/ 23812 h 2313680"/>
              <a:gd name="connsiteX81" fmla="*/ 1909762 w 2963138"/>
              <a:gd name="connsiteY81" fmla="*/ 19050 h 2313680"/>
              <a:gd name="connsiteX82" fmla="*/ 1804987 w 2963138"/>
              <a:gd name="connsiteY82" fmla="*/ 9525 h 2313680"/>
              <a:gd name="connsiteX83" fmla="*/ 1776412 w 2963138"/>
              <a:gd name="connsiteY83" fmla="*/ 0 h 2313680"/>
              <a:gd name="connsiteX84" fmla="*/ 1528762 w 2963138"/>
              <a:gd name="connsiteY84" fmla="*/ 4762 h 2313680"/>
              <a:gd name="connsiteX85" fmla="*/ 1143000 w 2963138"/>
              <a:gd name="connsiteY85" fmla="*/ 38100 h 2313680"/>
              <a:gd name="connsiteX86" fmla="*/ 309562 w 2963138"/>
              <a:gd name="connsiteY86" fmla="*/ 23812 h 2313680"/>
              <a:gd name="connsiteX87" fmla="*/ 247650 w 2963138"/>
              <a:gd name="connsiteY87" fmla="*/ 14287 h 2313680"/>
              <a:gd name="connsiteX88" fmla="*/ 185737 w 2963138"/>
              <a:gd name="connsiteY88" fmla="*/ 9525 h 2313680"/>
              <a:gd name="connsiteX89" fmla="*/ 19050 w 2963138"/>
              <a:gd name="connsiteY89" fmla="*/ 14287 h 2313680"/>
              <a:gd name="connsiteX90" fmla="*/ 4762 w 2963138"/>
              <a:gd name="connsiteY90" fmla="*/ 19050 h 2313680"/>
              <a:gd name="connsiteX91" fmla="*/ 9525 w 2963138"/>
              <a:gd name="connsiteY91" fmla="*/ 85725 h 2313680"/>
              <a:gd name="connsiteX92" fmla="*/ 23812 w 2963138"/>
              <a:gd name="connsiteY92" fmla="*/ 171450 h 2313680"/>
              <a:gd name="connsiteX93" fmla="*/ 14287 w 2963138"/>
              <a:gd name="connsiteY93" fmla="*/ 390525 h 2313680"/>
              <a:gd name="connsiteX94" fmla="*/ 0 w 2963138"/>
              <a:gd name="connsiteY94" fmla="*/ 466725 h 2313680"/>
              <a:gd name="connsiteX95" fmla="*/ 9525 w 2963138"/>
              <a:gd name="connsiteY95" fmla="*/ 800100 h 2313680"/>
              <a:gd name="connsiteX96" fmla="*/ 9525 w 2963138"/>
              <a:gd name="connsiteY96" fmla="*/ 871537 h 2313680"/>
              <a:gd name="connsiteX97" fmla="*/ 14287 w 2963138"/>
              <a:gd name="connsiteY97" fmla="*/ 1157287 h 2313680"/>
              <a:gd name="connsiteX98" fmla="*/ 19050 w 2963138"/>
              <a:gd name="connsiteY98" fmla="*/ 1204912 h 2313680"/>
              <a:gd name="connsiteX99" fmla="*/ 28575 w 2963138"/>
              <a:gd name="connsiteY99" fmla="*/ 1243012 h 2313680"/>
              <a:gd name="connsiteX100" fmla="*/ 33337 w 2963138"/>
              <a:gd name="connsiteY100" fmla="*/ 1328737 h 2313680"/>
              <a:gd name="connsiteX101" fmla="*/ 23812 w 2963138"/>
              <a:gd name="connsiteY101" fmla="*/ 1476375 h 2313680"/>
              <a:gd name="connsiteX102" fmla="*/ 14287 w 2963138"/>
              <a:gd name="connsiteY102" fmla="*/ 1562100 h 2313680"/>
              <a:gd name="connsiteX103" fmla="*/ 9525 w 2963138"/>
              <a:gd name="connsiteY103" fmla="*/ 1819275 h 2313680"/>
              <a:gd name="connsiteX104" fmla="*/ 14287 w 2963138"/>
              <a:gd name="connsiteY104" fmla="*/ 2014537 h 2313680"/>
              <a:gd name="connsiteX105" fmla="*/ 23812 w 2963138"/>
              <a:gd name="connsiteY105" fmla="*/ 2066925 h 2313680"/>
              <a:gd name="connsiteX106" fmla="*/ 28575 w 2963138"/>
              <a:gd name="connsiteY106" fmla="*/ 2152650 h 2313680"/>
              <a:gd name="connsiteX107" fmla="*/ 23812 w 2963138"/>
              <a:gd name="connsiteY107" fmla="*/ 2238375 h 2313680"/>
              <a:gd name="connsiteX108" fmla="*/ 14287 w 2963138"/>
              <a:gd name="connsiteY108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33700 w 2963138"/>
              <a:gd name="connsiteY66" fmla="*/ 995362 h 2313680"/>
              <a:gd name="connsiteX67" fmla="*/ 2928937 w 2963138"/>
              <a:gd name="connsiteY67" fmla="*/ 938212 h 2313680"/>
              <a:gd name="connsiteX68" fmla="*/ 2933700 w 2963138"/>
              <a:gd name="connsiteY68" fmla="*/ 719137 h 2313680"/>
              <a:gd name="connsiteX69" fmla="*/ 2943225 w 2963138"/>
              <a:gd name="connsiteY69" fmla="*/ 647700 h 2313680"/>
              <a:gd name="connsiteX70" fmla="*/ 2952750 w 2963138"/>
              <a:gd name="connsiteY70" fmla="*/ 571500 h 2313680"/>
              <a:gd name="connsiteX71" fmla="*/ 2947987 w 2963138"/>
              <a:gd name="connsiteY71" fmla="*/ 471487 h 2313680"/>
              <a:gd name="connsiteX72" fmla="*/ 2928937 w 2963138"/>
              <a:gd name="connsiteY72" fmla="*/ 381000 h 2313680"/>
              <a:gd name="connsiteX73" fmla="*/ 2919412 w 2963138"/>
              <a:gd name="connsiteY73" fmla="*/ 209550 h 2313680"/>
              <a:gd name="connsiteX74" fmla="*/ 2919412 w 2963138"/>
              <a:gd name="connsiteY74" fmla="*/ 47625 h 2313680"/>
              <a:gd name="connsiteX75" fmla="*/ 2909887 w 2963138"/>
              <a:gd name="connsiteY75" fmla="*/ 23812 h 2313680"/>
              <a:gd name="connsiteX76" fmla="*/ 2867025 w 2963138"/>
              <a:gd name="connsiteY76" fmla="*/ 19050 h 2313680"/>
              <a:gd name="connsiteX77" fmla="*/ 2724150 w 2963138"/>
              <a:gd name="connsiteY77" fmla="*/ 9525 h 2313680"/>
              <a:gd name="connsiteX78" fmla="*/ 2381250 w 2963138"/>
              <a:gd name="connsiteY78" fmla="*/ 14287 h 2313680"/>
              <a:gd name="connsiteX79" fmla="*/ 2324100 w 2963138"/>
              <a:gd name="connsiteY79" fmla="*/ 23812 h 2313680"/>
              <a:gd name="connsiteX80" fmla="*/ 1909762 w 2963138"/>
              <a:gd name="connsiteY80" fmla="*/ 19050 h 2313680"/>
              <a:gd name="connsiteX81" fmla="*/ 1804987 w 2963138"/>
              <a:gd name="connsiteY81" fmla="*/ 9525 h 2313680"/>
              <a:gd name="connsiteX82" fmla="*/ 1776412 w 2963138"/>
              <a:gd name="connsiteY82" fmla="*/ 0 h 2313680"/>
              <a:gd name="connsiteX83" fmla="*/ 1528762 w 2963138"/>
              <a:gd name="connsiteY83" fmla="*/ 4762 h 2313680"/>
              <a:gd name="connsiteX84" fmla="*/ 1143000 w 2963138"/>
              <a:gd name="connsiteY84" fmla="*/ 38100 h 2313680"/>
              <a:gd name="connsiteX85" fmla="*/ 309562 w 2963138"/>
              <a:gd name="connsiteY85" fmla="*/ 23812 h 2313680"/>
              <a:gd name="connsiteX86" fmla="*/ 247650 w 2963138"/>
              <a:gd name="connsiteY86" fmla="*/ 14287 h 2313680"/>
              <a:gd name="connsiteX87" fmla="*/ 185737 w 2963138"/>
              <a:gd name="connsiteY87" fmla="*/ 9525 h 2313680"/>
              <a:gd name="connsiteX88" fmla="*/ 19050 w 2963138"/>
              <a:gd name="connsiteY88" fmla="*/ 14287 h 2313680"/>
              <a:gd name="connsiteX89" fmla="*/ 4762 w 2963138"/>
              <a:gd name="connsiteY89" fmla="*/ 19050 h 2313680"/>
              <a:gd name="connsiteX90" fmla="*/ 9525 w 2963138"/>
              <a:gd name="connsiteY90" fmla="*/ 85725 h 2313680"/>
              <a:gd name="connsiteX91" fmla="*/ 23812 w 2963138"/>
              <a:gd name="connsiteY91" fmla="*/ 171450 h 2313680"/>
              <a:gd name="connsiteX92" fmla="*/ 14287 w 2963138"/>
              <a:gd name="connsiteY92" fmla="*/ 390525 h 2313680"/>
              <a:gd name="connsiteX93" fmla="*/ 0 w 2963138"/>
              <a:gd name="connsiteY93" fmla="*/ 466725 h 2313680"/>
              <a:gd name="connsiteX94" fmla="*/ 9525 w 2963138"/>
              <a:gd name="connsiteY94" fmla="*/ 800100 h 2313680"/>
              <a:gd name="connsiteX95" fmla="*/ 9525 w 2963138"/>
              <a:gd name="connsiteY95" fmla="*/ 871537 h 2313680"/>
              <a:gd name="connsiteX96" fmla="*/ 14287 w 2963138"/>
              <a:gd name="connsiteY96" fmla="*/ 1157287 h 2313680"/>
              <a:gd name="connsiteX97" fmla="*/ 19050 w 2963138"/>
              <a:gd name="connsiteY97" fmla="*/ 1204912 h 2313680"/>
              <a:gd name="connsiteX98" fmla="*/ 28575 w 2963138"/>
              <a:gd name="connsiteY98" fmla="*/ 1243012 h 2313680"/>
              <a:gd name="connsiteX99" fmla="*/ 33337 w 2963138"/>
              <a:gd name="connsiteY99" fmla="*/ 1328737 h 2313680"/>
              <a:gd name="connsiteX100" fmla="*/ 23812 w 2963138"/>
              <a:gd name="connsiteY100" fmla="*/ 1476375 h 2313680"/>
              <a:gd name="connsiteX101" fmla="*/ 14287 w 2963138"/>
              <a:gd name="connsiteY101" fmla="*/ 1562100 h 2313680"/>
              <a:gd name="connsiteX102" fmla="*/ 9525 w 2963138"/>
              <a:gd name="connsiteY102" fmla="*/ 1819275 h 2313680"/>
              <a:gd name="connsiteX103" fmla="*/ 14287 w 2963138"/>
              <a:gd name="connsiteY103" fmla="*/ 2014537 h 2313680"/>
              <a:gd name="connsiteX104" fmla="*/ 23812 w 2963138"/>
              <a:gd name="connsiteY104" fmla="*/ 2066925 h 2313680"/>
              <a:gd name="connsiteX105" fmla="*/ 28575 w 2963138"/>
              <a:gd name="connsiteY105" fmla="*/ 2152650 h 2313680"/>
              <a:gd name="connsiteX106" fmla="*/ 23812 w 2963138"/>
              <a:gd name="connsiteY106" fmla="*/ 2238375 h 2313680"/>
              <a:gd name="connsiteX107" fmla="*/ 14287 w 2963138"/>
              <a:gd name="connsiteY107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33700 w 2963138"/>
              <a:gd name="connsiteY66" fmla="*/ 995362 h 2313680"/>
              <a:gd name="connsiteX67" fmla="*/ 2928937 w 2963138"/>
              <a:gd name="connsiteY67" fmla="*/ 938212 h 2313680"/>
              <a:gd name="connsiteX68" fmla="*/ 2933700 w 2963138"/>
              <a:gd name="connsiteY68" fmla="*/ 719137 h 2313680"/>
              <a:gd name="connsiteX69" fmla="*/ 2943225 w 2963138"/>
              <a:gd name="connsiteY69" fmla="*/ 647700 h 2313680"/>
              <a:gd name="connsiteX70" fmla="*/ 2952750 w 2963138"/>
              <a:gd name="connsiteY70" fmla="*/ 571500 h 2313680"/>
              <a:gd name="connsiteX71" fmla="*/ 2947987 w 2963138"/>
              <a:gd name="connsiteY71" fmla="*/ 471487 h 2313680"/>
              <a:gd name="connsiteX72" fmla="*/ 2928937 w 2963138"/>
              <a:gd name="connsiteY72" fmla="*/ 381000 h 2313680"/>
              <a:gd name="connsiteX73" fmla="*/ 2919412 w 2963138"/>
              <a:gd name="connsiteY73" fmla="*/ 47625 h 2313680"/>
              <a:gd name="connsiteX74" fmla="*/ 2909887 w 2963138"/>
              <a:gd name="connsiteY74" fmla="*/ 23812 h 2313680"/>
              <a:gd name="connsiteX75" fmla="*/ 2867025 w 2963138"/>
              <a:gd name="connsiteY75" fmla="*/ 19050 h 2313680"/>
              <a:gd name="connsiteX76" fmla="*/ 2724150 w 2963138"/>
              <a:gd name="connsiteY76" fmla="*/ 9525 h 2313680"/>
              <a:gd name="connsiteX77" fmla="*/ 2381250 w 2963138"/>
              <a:gd name="connsiteY77" fmla="*/ 14287 h 2313680"/>
              <a:gd name="connsiteX78" fmla="*/ 2324100 w 2963138"/>
              <a:gd name="connsiteY78" fmla="*/ 23812 h 2313680"/>
              <a:gd name="connsiteX79" fmla="*/ 1909762 w 2963138"/>
              <a:gd name="connsiteY79" fmla="*/ 19050 h 2313680"/>
              <a:gd name="connsiteX80" fmla="*/ 1804987 w 2963138"/>
              <a:gd name="connsiteY80" fmla="*/ 9525 h 2313680"/>
              <a:gd name="connsiteX81" fmla="*/ 1776412 w 2963138"/>
              <a:gd name="connsiteY81" fmla="*/ 0 h 2313680"/>
              <a:gd name="connsiteX82" fmla="*/ 1528762 w 2963138"/>
              <a:gd name="connsiteY82" fmla="*/ 4762 h 2313680"/>
              <a:gd name="connsiteX83" fmla="*/ 1143000 w 2963138"/>
              <a:gd name="connsiteY83" fmla="*/ 38100 h 2313680"/>
              <a:gd name="connsiteX84" fmla="*/ 309562 w 2963138"/>
              <a:gd name="connsiteY84" fmla="*/ 23812 h 2313680"/>
              <a:gd name="connsiteX85" fmla="*/ 247650 w 2963138"/>
              <a:gd name="connsiteY85" fmla="*/ 14287 h 2313680"/>
              <a:gd name="connsiteX86" fmla="*/ 185737 w 2963138"/>
              <a:gd name="connsiteY86" fmla="*/ 9525 h 2313680"/>
              <a:gd name="connsiteX87" fmla="*/ 19050 w 2963138"/>
              <a:gd name="connsiteY87" fmla="*/ 14287 h 2313680"/>
              <a:gd name="connsiteX88" fmla="*/ 4762 w 2963138"/>
              <a:gd name="connsiteY88" fmla="*/ 19050 h 2313680"/>
              <a:gd name="connsiteX89" fmla="*/ 9525 w 2963138"/>
              <a:gd name="connsiteY89" fmla="*/ 85725 h 2313680"/>
              <a:gd name="connsiteX90" fmla="*/ 23812 w 2963138"/>
              <a:gd name="connsiteY90" fmla="*/ 171450 h 2313680"/>
              <a:gd name="connsiteX91" fmla="*/ 14287 w 2963138"/>
              <a:gd name="connsiteY91" fmla="*/ 390525 h 2313680"/>
              <a:gd name="connsiteX92" fmla="*/ 0 w 2963138"/>
              <a:gd name="connsiteY92" fmla="*/ 466725 h 2313680"/>
              <a:gd name="connsiteX93" fmla="*/ 9525 w 2963138"/>
              <a:gd name="connsiteY93" fmla="*/ 800100 h 2313680"/>
              <a:gd name="connsiteX94" fmla="*/ 9525 w 2963138"/>
              <a:gd name="connsiteY94" fmla="*/ 871537 h 2313680"/>
              <a:gd name="connsiteX95" fmla="*/ 14287 w 2963138"/>
              <a:gd name="connsiteY95" fmla="*/ 1157287 h 2313680"/>
              <a:gd name="connsiteX96" fmla="*/ 19050 w 2963138"/>
              <a:gd name="connsiteY96" fmla="*/ 1204912 h 2313680"/>
              <a:gd name="connsiteX97" fmla="*/ 28575 w 2963138"/>
              <a:gd name="connsiteY97" fmla="*/ 1243012 h 2313680"/>
              <a:gd name="connsiteX98" fmla="*/ 33337 w 2963138"/>
              <a:gd name="connsiteY98" fmla="*/ 1328737 h 2313680"/>
              <a:gd name="connsiteX99" fmla="*/ 23812 w 2963138"/>
              <a:gd name="connsiteY99" fmla="*/ 1476375 h 2313680"/>
              <a:gd name="connsiteX100" fmla="*/ 14287 w 2963138"/>
              <a:gd name="connsiteY100" fmla="*/ 1562100 h 2313680"/>
              <a:gd name="connsiteX101" fmla="*/ 9525 w 2963138"/>
              <a:gd name="connsiteY101" fmla="*/ 1819275 h 2313680"/>
              <a:gd name="connsiteX102" fmla="*/ 14287 w 2963138"/>
              <a:gd name="connsiteY102" fmla="*/ 2014537 h 2313680"/>
              <a:gd name="connsiteX103" fmla="*/ 23812 w 2963138"/>
              <a:gd name="connsiteY103" fmla="*/ 2066925 h 2313680"/>
              <a:gd name="connsiteX104" fmla="*/ 28575 w 2963138"/>
              <a:gd name="connsiteY104" fmla="*/ 2152650 h 2313680"/>
              <a:gd name="connsiteX105" fmla="*/ 23812 w 2963138"/>
              <a:gd name="connsiteY105" fmla="*/ 2238375 h 2313680"/>
              <a:gd name="connsiteX106" fmla="*/ 14287 w 2963138"/>
              <a:gd name="connsiteY106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33700 w 2963138"/>
              <a:gd name="connsiteY66" fmla="*/ 995362 h 2313680"/>
              <a:gd name="connsiteX67" fmla="*/ 2928937 w 2963138"/>
              <a:gd name="connsiteY67" fmla="*/ 938212 h 2313680"/>
              <a:gd name="connsiteX68" fmla="*/ 2933700 w 2963138"/>
              <a:gd name="connsiteY68" fmla="*/ 719137 h 2313680"/>
              <a:gd name="connsiteX69" fmla="*/ 2943225 w 2963138"/>
              <a:gd name="connsiteY69" fmla="*/ 647700 h 2313680"/>
              <a:gd name="connsiteX70" fmla="*/ 2952750 w 2963138"/>
              <a:gd name="connsiteY70" fmla="*/ 571500 h 2313680"/>
              <a:gd name="connsiteX71" fmla="*/ 2947987 w 2963138"/>
              <a:gd name="connsiteY71" fmla="*/ 471487 h 2313680"/>
              <a:gd name="connsiteX72" fmla="*/ 2928937 w 2963138"/>
              <a:gd name="connsiteY72" fmla="*/ 381000 h 2313680"/>
              <a:gd name="connsiteX73" fmla="*/ 2919412 w 2963138"/>
              <a:gd name="connsiteY73" fmla="*/ 47625 h 2313680"/>
              <a:gd name="connsiteX74" fmla="*/ 2867025 w 2963138"/>
              <a:gd name="connsiteY74" fmla="*/ 19050 h 2313680"/>
              <a:gd name="connsiteX75" fmla="*/ 2724150 w 2963138"/>
              <a:gd name="connsiteY75" fmla="*/ 9525 h 2313680"/>
              <a:gd name="connsiteX76" fmla="*/ 2381250 w 2963138"/>
              <a:gd name="connsiteY76" fmla="*/ 14287 h 2313680"/>
              <a:gd name="connsiteX77" fmla="*/ 2324100 w 2963138"/>
              <a:gd name="connsiteY77" fmla="*/ 23812 h 2313680"/>
              <a:gd name="connsiteX78" fmla="*/ 1909762 w 2963138"/>
              <a:gd name="connsiteY78" fmla="*/ 19050 h 2313680"/>
              <a:gd name="connsiteX79" fmla="*/ 1804987 w 2963138"/>
              <a:gd name="connsiteY79" fmla="*/ 9525 h 2313680"/>
              <a:gd name="connsiteX80" fmla="*/ 1776412 w 2963138"/>
              <a:gd name="connsiteY80" fmla="*/ 0 h 2313680"/>
              <a:gd name="connsiteX81" fmla="*/ 1528762 w 2963138"/>
              <a:gd name="connsiteY81" fmla="*/ 4762 h 2313680"/>
              <a:gd name="connsiteX82" fmla="*/ 1143000 w 2963138"/>
              <a:gd name="connsiteY82" fmla="*/ 38100 h 2313680"/>
              <a:gd name="connsiteX83" fmla="*/ 309562 w 2963138"/>
              <a:gd name="connsiteY83" fmla="*/ 23812 h 2313680"/>
              <a:gd name="connsiteX84" fmla="*/ 247650 w 2963138"/>
              <a:gd name="connsiteY84" fmla="*/ 14287 h 2313680"/>
              <a:gd name="connsiteX85" fmla="*/ 185737 w 2963138"/>
              <a:gd name="connsiteY85" fmla="*/ 9525 h 2313680"/>
              <a:gd name="connsiteX86" fmla="*/ 19050 w 2963138"/>
              <a:gd name="connsiteY86" fmla="*/ 14287 h 2313680"/>
              <a:gd name="connsiteX87" fmla="*/ 4762 w 2963138"/>
              <a:gd name="connsiteY87" fmla="*/ 19050 h 2313680"/>
              <a:gd name="connsiteX88" fmla="*/ 9525 w 2963138"/>
              <a:gd name="connsiteY88" fmla="*/ 85725 h 2313680"/>
              <a:gd name="connsiteX89" fmla="*/ 23812 w 2963138"/>
              <a:gd name="connsiteY89" fmla="*/ 171450 h 2313680"/>
              <a:gd name="connsiteX90" fmla="*/ 14287 w 2963138"/>
              <a:gd name="connsiteY90" fmla="*/ 390525 h 2313680"/>
              <a:gd name="connsiteX91" fmla="*/ 0 w 2963138"/>
              <a:gd name="connsiteY91" fmla="*/ 466725 h 2313680"/>
              <a:gd name="connsiteX92" fmla="*/ 9525 w 2963138"/>
              <a:gd name="connsiteY92" fmla="*/ 800100 h 2313680"/>
              <a:gd name="connsiteX93" fmla="*/ 9525 w 2963138"/>
              <a:gd name="connsiteY93" fmla="*/ 871537 h 2313680"/>
              <a:gd name="connsiteX94" fmla="*/ 14287 w 2963138"/>
              <a:gd name="connsiteY94" fmla="*/ 1157287 h 2313680"/>
              <a:gd name="connsiteX95" fmla="*/ 19050 w 2963138"/>
              <a:gd name="connsiteY95" fmla="*/ 1204912 h 2313680"/>
              <a:gd name="connsiteX96" fmla="*/ 28575 w 2963138"/>
              <a:gd name="connsiteY96" fmla="*/ 1243012 h 2313680"/>
              <a:gd name="connsiteX97" fmla="*/ 33337 w 2963138"/>
              <a:gd name="connsiteY97" fmla="*/ 1328737 h 2313680"/>
              <a:gd name="connsiteX98" fmla="*/ 23812 w 2963138"/>
              <a:gd name="connsiteY98" fmla="*/ 1476375 h 2313680"/>
              <a:gd name="connsiteX99" fmla="*/ 14287 w 2963138"/>
              <a:gd name="connsiteY99" fmla="*/ 1562100 h 2313680"/>
              <a:gd name="connsiteX100" fmla="*/ 9525 w 2963138"/>
              <a:gd name="connsiteY100" fmla="*/ 1819275 h 2313680"/>
              <a:gd name="connsiteX101" fmla="*/ 14287 w 2963138"/>
              <a:gd name="connsiteY101" fmla="*/ 2014537 h 2313680"/>
              <a:gd name="connsiteX102" fmla="*/ 23812 w 2963138"/>
              <a:gd name="connsiteY102" fmla="*/ 2066925 h 2313680"/>
              <a:gd name="connsiteX103" fmla="*/ 28575 w 2963138"/>
              <a:gd name="connsiteY103" fmla="*/ 2152650 h 2313680"/>
              <a:gd name="connsiteX104" fmla="*/ 23812 w 2963138"/>
              <a:gd name="connsiteY104" fmla="*/ 2238375 h 2313680"/>
              <a:gd name="connsiteX105" fmla="*/ 14287 w 2963138"/>
              <a:gd name="connsiteY105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33700 w 2963138"/>
              <a:gd name="connsiteY66" fmla="*/ 995362 h 2313680"/>
              <a:gd name="connsiteX67" fmla="*/ 2928937 w 2963138"/>
              <a:gd name="connsiteY67" fmla="*/ 938212 h 2313680"/>
              <a:gd name="connsiteX68" fmla="*/ 2933700 w 2963138"/>
              <a:gd name="connsiteY68" fmla="*/ 719137 h 2313680"/>
              <a:gd name="connsiteX69" fmla="*/ 2943225 w 2963138"/>
              <a:gd name="connsiteY69" fmla="*/ 647700 h 2313680"/>
              <a:gd name="connsiteX70" fmla="*/ 2952750 w 2963138"/>
              <a:gd name="connsiteY70" fmla="*/ 571500 h 2313680"/>
              <a:gd name="connsiteX71" fmla="*/ 2947987 w 2963138"/>
              <a:gd name="connsiteY71" fmla="*/ 471487 h 2313680"/>
              <a:gd name="connsiteX72" fmla="*/ 2928937 w 2963138"/>
              <a:gd name="connsiteY72" fmla="*/ 381000 h 2313680"/>
              <a:gd name="connsiteX73" fmla="*/ 2957512 w 2963138"/>
              <a:gd name="connsiteY73" fmla="*/ 34925 h 2313680"/>
              <a:gd name="connsiteX74" fmla="*/ 2867025 w 2963138"/>
              <a:gd name="connsiteY74" fmla="*/ 19050 h 2313680"/>
              <a:gd name="connsiteX75" fmla="*/ 2724150 w 2963138"/>
              <a:gd name="connsiteY75" fmla="*/ 9525 h 2313680"/>
              <a:gd name="connsiteX76" fmla="*/ 2381250 w 2963138"/>
              <a:gd name="connsiteY76" fmla="*/ 14287 h 2313680"/>
              <a:gd name="connsiteX77" fmla="*/ 2324100 w 2963138"/>
              <a:gd name="connsiteY77" fmla="*/ 23812 h 2313680"/>
              <a:gd name="connsiteX78" fmla="*/ 1909762 w 2963138"/>
              <a:gd name="connsiteY78" fmla="*/ 19050 h 2313680"/>
              <a:gd name="connsiteX79" fmla="*/ 1804987 w 2963138"/>
              <a:gd name="connsiteY79" fmla="*/ 9525 h 2313680"/>
              <a:gd name="connsiteX80" fmla="*/ 1776412 w 2963138"/>
              <a:gd name="connsiteY80" fmla="*/ 0 h 2313680"/>
              <a:gd name="connsiteX81" fmla="*/ 1528762 w 2963138"/>
              <a:gd name="connsiteY81" fmla="*/ 4762 h 2313680"/>
              <a:gd name="connsiteX82" fmla="*/ 1143000 w 2963138"/>
              <a:gd name="connsiteY82" fmla="*/ 38100 h 2313680"/>
              <a:gd name="connsiteX83" fmla="*/ 309562 w 2963138"/>
              <a:gd name="connsiteY83" fmla="*/ 23812 h 2313680"/>
              <a:gd name="connsiteX84" fmla="*/ 247650 w 2963138"/>
              <a:gd name="connsiteY84" fmla="*/ 14287 h 2313680"/>
              <a:gd name="connsiteX85" fmla="*/ 185737 w 2963138"/>
              <a:gd name="connsiteY85" fmla="*/ 9525 h 2313680"/>
              <a:gd name="connsiteX86" fmla="*/ 19050 w 2963138"/>
              <a:gd name="connsiteY86" fmla="*/ 14287 h 2313680"/>
              <a:gd name="connsiteX87" fmla="*/ 4762 w 2963138"/>
              <a:gd name="connsiteY87" fmla="*/ 19050 h 2313680"/>
              <a:gd name="connsiteX88" fmla="*/ 9525 w 2963138"/>
              <a:gd name="connsiteY88" fmla="*/ 85725 h 2313680"/>
              <a:gd name="connsiteX89" fmla="*/ 23812 w 2963138"/>
              <a:gd name="connsiteY89" fmla="*/ 171450 h 2313680"/>
              <a:gd name="connsiteX90" fmla="*/ 14287 w 2963138"/>
              <a:gd name="connsiteY90" fmla="*/ 390525 h 2313680"/>
              <a:gd name="connsiteX91" fmla="*/ 0 w 2963138"/>
              <a:gd name="connsiteY91" fmla="*/ 466725 h 2313680"/>
              <a:gd name="connsiteX92" fmla="*/ 9525 w 2963138"/>
              <a:gd name="connsiteY92" fmla="*/ 800100 h 2313680"/>
              <a:gd name="connsiteX93" fmla="*/ 9525 w 2963138"/>
              <a:gd name="connsiteY93" fmla="*/ 871537 h 2313680"/>
              <a:gd name="connsiteX94" fmla="*/ 14287 w 2963138"/>
              <a:gd name="connsiteY94" fmla="*/ 1157287 h 2313680"/>
              <a:gd name="connsiteX95" fmla="*/ 19050 w 2963138"/>
              <a:gd name="connsiteY95" fmla="*/ 1204912 h 2313680"/>
              <a:gd name="connsiteX96" fmla="*/ 28575 w 2963138"/>
              <a:gd name="connsiteY96" fmla="*/ 1243012 h 2313680"/>
              <a:gd name="connsiteX97" fmla="*/ 33337 w 2963138"/>
              <a:gd name="connsiteY97" fmla="*/ 1328737 h 2313680"/>
              <a:gd name="connsiteX98" fmla="*/ 23812 w 2963138"/>
              <a:gd name="connsiteY98" fmla="*/ 1476375 h 2313680"/>
              <a:gd name="connsiteX99" fmla="*/ 14287 w 2963138"/>
              <a:gd name="connsiteY99" fmla="*/ 1562100 h 2313680"/>
              <a:gd name="connsiteX100" fmla="*/ 9525 w 2963138"/>
              <a:gd name="connsiteY100" fmla="*/ 1819275 h 2313680"/>
              <a:gd name="connsiteX101" fmla="*/ 14287 w 2963138"/>
              <a:gd name="connsiteY101" fmla="*/ 2014537 h 2313680"/>
              <a:gd name="connsiteX102" fmla="*/ 23812 w 2963138"/>
              <a:gd name="connsiteY102" fmla="*/ 2066925 h 2313680"/>
              <a:gd name="connsiteX103" fmla="*/ 28575 w 2963138"/>
              <a:gd name="connsiteY103" fmla="*/ 2152650 h 2313680"/>
              <a:gd name="connsiteX104" fmla="*/ 23812 w 2963138"/>
              <a:gd name="connsiteY104" fmla="*/ 2238375 h 2313680"/>
              <a:gd name="connsiteX105" fmla="*/ 14287 w 2963138"/>
              <a:gd name="connsiteY105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33700 w 2963138"/>
              <a:gd name="connsiteY66" fmla="*/ 995362 h 2313680"/>
              <a:gd name="connsiteX67" fmla="*/ 2928937 w 2963138"/>
              <a:gd name="connsiteY67" fmla="*/ 938212 h 2313680"/>
              <a:gd name="connsiteX68" fmla="*/ 2933700 w 2963138"/>
              <a:gd name="connsiteY68" fmla="*/ 719137 h 2313680"/>
              <a:gd name="connsiteX69" fmla="*/ 2943225 w 2963138"/>
              <a:gd name="connsiteY69" fmla="*/ 647700 h 2313680"/>
              <a:gd name="connsiteX70" fmla="*/ 2952750 w 2963138"/>
              <a:gd name="connsiteY70" fmla="*/ 571500 h 2313680"/>
              <a:gd name="connsiteX71" fmla="*/ 2947987 w 2963138"/>
              <a:gd name="connsiteY71" fmla="*/ 471487 h 2313680"/>
              <a:gd name="connsiteX72" fmla="*/ 2957512 w 2963138"/>
              <a:gd name="connsiteY72" fmla="*/ 342900 h 2313680"/>
              <a:gd name="connsiteX73" fmla="*/ 2957512 w 2963138"/>
              <a:gd name="connsiteY73" fmla="*/ 34925 h 2313680"/>
              <a:gd name="connsiteX74" fmla="*/ 2867025 w 2963138"/>
              <a:gd name="connsiteY74" fmla="*/ 19050 h 2313680"/>
              <a:gd name="connsiteX75" fmla="*/ 2724150 w 2963138"/>
              <a:gd name="connsiteY75" fmla="*/ 9525 h 2313680"/>
              <a:gd name="connsiteX76" fmla="*/ 2381250 w 2963138"/>
              <a:gd name="connsiteY76" fmla="*/ 14287 h 2313680"/>
              <a:gd name="connsiteX77" fmla="*/ 2324100 w 2963138"/>
              <a:gd name="connsiteY77" fmla="*/ 23812 h 2313680"/>
              <a:gd name="connsiteX78" fmla="*/ 1909762 w 2963138"/>
              <a:gd name="connsiteY78" fmla="*/ 19050 h 2313680"/>
              <a:gd name="connsiteX79" fmla="*/ 1804987 w 2963138"/>
              <a:gd name="connsiteY79" fmla="*/ 9525 h 2313680"/>
              <a:gd name="connsiteX80" fmla="*/ 1776412 w 2963138"/>
              <a:gd name="connsiteY80" fmla="*/ 0 h 2313680"/>
              <a:gd name="connsiteX81" fmla="*/ 1528762 w 2963138"/>
              <a:gd name="connsiteY81" fmla="*/ 4762 h 2313680"/>
              <a:gd name="connsiteX82" fmla="*/ 1143000 w 2963138"/>
              <a:gd name="connsiteY82" fmla="*/ 38100 h 2313680"/>
              <a:gd name="connsiteX83" fmla="*/ 309562 w 2963138"/>
              <a:gd name="connsiteY83" fmla="*/ 23812 h 2313680"/>
              <a:gd name="connsiteX84" fmla="*/ 247650 w 2963138"/>
              <a:gd name="connsiteY84" fmla="*/ 14287 h 2313680"/>
              <a:gd name="connsiteX85" fmla="*/ 185737 w 2963138"/>
              <a:gd name="connsiteY85" fmla="*/ 9525 h 2313680"/>
              <a:gd name="connsiteX86" fmla="*/ 19050 w 2963138"/>
              <a:gd name="connsiteY86" fmla="*/ 14287 h 2313680"/>
              <a:gd name="connsiteX87" fmla="*/ 4762 w 2963138"/>
              <a:gd name="connsiteY87" fmla="*/ 19050 h 2313680"/>
              <a:gd name="connsiteX88" fmla="*/ 9525 w 2963138"/>
              <a:gd name="connsiteY88" fmla="*/ 85725 h 2313680"/>
              <a:gd name="connsiteX89" fmla="*/ 23812 w 2963138"/>
              <a:gd name="connsiteY89" fmla="*/ 171450 h 2313680"/>
              <a:gd name="connsiteX90" fmla="*/ 14287 w 2963138"/>
              <a:gd name="connsiteY90" fmla="*/ 390525 h 2313680"/>
              <a:gd name="connsiteX91" fmla="*/ 0 w 2963138"/>
              <a:gd name="connsiteY91" fmla="*/ 466725 h 2313680"/>
              <a:gd name="connsiteX92" fmla="*/ 9525 w 2963138"/>
              <a:gd name="connsiteY92" fmla="*/ 800100 h 2313680"/>
              <a:gd name="connsiteX93" fmla="*/ 9525 w 2963138"/>
              <a:gd name="connsiteY93" fmla="*/ 871537 h 2313680"/>
              <a:gd name="connsiteX94" fmla="*/ 14287 w 2963138"/>
              <a:gd name="connsiteY94" fmla="*/ 1157287 h 2313680"/>
              <a:gd name="connsiteX95" fmla="*/ 19050 w 2963138"/>
              <a:gd name="connsiteY95" fmla="*/ 1204912 h 2313680"/>
              <a:gd name="connsiteX96" fmla="*/ 28575 w 2963138"/>
              <a:gd name="connsiteY96" fmla="*/ 1243012 h 2313680"/>
              <a:gd name="connsiteX97" fmla="*/ 33337 w 2963138"/>
              <a:gd name="connsiteY97" fmla="*/ 1328737 h 2313680"/>
              <a:gd name="connsiteX98" fmla="*/ 23812 w 2963138"/>
              <a:gd name="connsiteY98" fmla="*/ 1476375 h 2313680"/>
              <a:gd name="connsiteX99" fmla="*/ 14287 w 2963138"/>
              <a:gd name="connsiteY99" fmla="*/ 1562100 h 2313680"/>
              <a:gd name="connsiteX100" fmla="*/ 9525 w 2963138"/>
              <a:gd name="connsiteY100" fmla="*/ 1819275 h 2313680"/>
              <a:gd name="connsiteX101" fmla="*/ 14287 w 2963138"/>
              <a:gd name="connsiteY101" fmla="*/ 2014537 h 2313680"/>
              <a:gd name="connsiteX102" fmla="*/ 23812 w 2963138"/>
              <a:gd name="connsiteY102" fmla="*/ 2066925 h 2313680"/>
              <a:gd name="connsiteX103" fmla="*/ 28575 w 2963138"/>
              <a:gd name="connsiteY103" fmla="*/ 2152650 h 2313680"/>
              <a:gd name="connsiteX104" fmla="*/ 23812 w 2963138"/>
              <a:gd name="connsiteY104" fmla="*/ 2238375 h 2313680"/>
              <a:gd name="connsiteX105" fmla="*/ 14287 w 2963138"/>
              <a:gd name="connsiteY105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33700 w 2963138"/>
              <a:gd name="connsiteY66" fmla="*/ 995362 h 2313680"/>
              <a:gd name="connsiteX67" fmla="*/ 2928937 w 2963138"/>
              <a:gd name="connsiteY67" fmla="*/ 938212 h 2313680"/>
              <a:gd name="connsiteX68" fmla="*/ 2933700 w 2963138"/>
              <a:gd name="connsiteY68" fmla="*/ 719137 h 2313680"/>
              <a:gd name="connsiteX69" fmla="*/ 2943225 w 2963138"/>
              <a:gd name="connsiteY69" fmla="*/ 647700 h 2313680"/>
              <a:gd name="connsiteX70" fmla="*/ 2952750 w 2963138"/>
              <a:gd name="connsiteY70" fmla="*/ 571500 h 2313680"/>
              <a:gd name="connsiteX71" fmla="*/ 2957512 w 2963138"/>
              <a:gd name="connsiteY71" fmla="*/ 342900 h 2313680"/>
              <a:gd name="connsiteX72" fmla="*/ 2957512 w 2963138"/>
              <a:gd name="connsiteY72" fmla="*/ 34925 h 2313680"/>
              <a:gd name="connsiteX73" fmla="*/ 2867025 w 2963138"/>
              <a:gd name="connsiteY73" fmla="*/ 19050 h 2313680"/>
              <a:gd name="connsiteX74" fmla="*/ 2724150 w 2963138"/>
              <a:gd name="connsiteY74" fmla="*/ 9525 h 2313680"/>
              <a:gd name="connsiteX75" fmla="*/ 2381250 w 2963138"/>
              <a:gd name="connsiteY75" fmla="*/ 14287 h 2313680"/>
              <a:gd name="connsiteX76" fmla="*/ 2324100 w 2963138"/>
              <a:gd name="connsiteY76" fmla="*/ 23812 h 2313680"/>
              <a:gd name="connsiteX77" fmla="*/ 1909762 w 2963138"/>
              <a:gd name="connsiteY77" fmla="*/ 19050 h 2313680"/>
              <a:gd name="connsiteX78" fmla="*/ 1804987 w 2963138"/>
              <a:gd name="connsiteY78" fmla="*/ 9525 h 2313680"/>
              <a:gd name="connsiteX79" fmla="*/ 1776412 w 2963138"/>
              <a:gd name="connsiteY79" fmla="*/ 0 h 2313680"/>
              <a:gd name="connsiteX80" fmla="*/ 1528762 w 2963138"/>
              <a:gd name="connsiteY80" fmla="*/ 4762 h 2313680"/>
              <a:gd name="connsiteX81" fmla="*/ 1143000 w 2963138"/>
              <a:gd name="connsiteY81" fmla="*/ 38100 h 2313680"/>
              <a:gd name="connsiteX82" fmla="*/ 309562 w 2963138"/>
              <a:gd name="connsiteY82" fmla="*/ 23812 h 2313680"/>
              <a:gd name="connsiteX83" fmla="*/ 247650 w 2963138"/>
              <a:gd name="connsiteY83" fmla="*/ 14287 h 2313680"/>
              <a:gd name="connsiteX84" fmla="*/ 185737 w 2963138"/>
              <a:gd name="connsiteY84" fmla="*/ 9525 h 2313680"/>
              <a:gd name="connsiteX85" fmla="*/ 19050 w 2963138"/>
              <a:gd name="connsiteY85" fmla="*/ 14287 h 2313680"/>
              <a:gd name="connsiteX86" fmla="*/ 4762 w 2963138"/>
              <a:gd name="connsiteY86" fmla="*/ 19050 h 2313680"/>
              <a:gd name="connsiteX87" fmla="*/ 9525 w 2963138"/>
              <a:gd name="connsiteY87" fmla="*/ 85725 h 2313680"/>
              <a:gd name="connsiteX88" fmla="*/ 23812 w 2963138"/>
              <a:gd name="connsiteY88" fmla="*/ 171450 h 2313680"/>
              <a:gd name="connsiteX89" fmla="*/ 14287 w 2963138"/>
              <a:gd name="connsiteY89" fmla="*/ 390525 h 2313680"/>
              <a:gd name="connsiteX90" fmla="*/ 0 w 2963138"/>
              <a:gd name="connsiteY90" fmla="*/ 466725 h 2313680"/>
              <a:gd name="connsiteX91" fmla="*/ 9525 w 2963138"/>
              <a:gd name="connsiteY91" fmla="*/ 800100 h 2313680"/>
              <a:gd name="connsiteX92" fmla="*/ 9525 w 2963138"/>
              <a:gd name="connsiteY92" fmla="*/ 871537 h 2313680"/>
              <a:gd name="connsiteX93" fmla="*/ 14287 w 2963138"/>
              <a:gd name="connsiteY93" fmla="*/ 1157287 h 2313680"/>
              <a:gd name="connsiteX94" fmla="*/ 19050 w 2963138"/>
              <a:gd name="connsiteY94" fmla="*/ 1204912 h 2313680"/>
              <a:gd name="connsiteX95" fmla="*/ 28575 w 2963138"/>
              <a:gd name="connsiteY95" fmla="*/ 1243012 h 2313680"/>
              <a:gd name="connsiteX96" fmla="*/ 33337 w 2963138"/>
              <a:gd name="connsiteY96" fmla="*/ 1328737 h 2313680"/>
              <a:gd name="connsiteX97" fmla="*/ 23812 w 2963138"/>
              <a:gd name="connsiteY97" fmla="*/ 1476375 h 2313680"/>
              <a:gd name="connsiteX98" fmla="*/ 14287 w 2963138"/>
              <a:gd name="connsiteY98" fmla="*/ 1562100 h 2313680"/>
              <a:gd name="connsiteX99" fmla="*/ 9525 w 2963138"/>
              <a:gd name="connsiteY99" fmla="*/ 1819275 h 2313680"/>
              <a:gd name="connsiteX100" fmla="*/ 14287 w 2963138"/>
              <a:gd name="connsiteY100" fmla="*/ 2014537 h 2313680"/>
              <a:gd name="connsiteX101" fmla="*/ 23812 w 2963138"/>
              <a:gd name="connsiteY101" fmla="*/ 2066925 h 2313680"/>
              <a:gd name="connsiteX102" fmla="*/ 28575 w 2963138"/>
              <a:gd name="connsiteY102" fmla="*/ 2152650 h 2313680"/>
              <a:gd name="connsiteX103" fmla="*/ 23812 w 2963138"/>
              <a:gd name="connsiteY103" fmla="*/ 2238375 h 2313680"/>
              <a:gd name="connsiteX104" fmla="*/ 14287 w 2963138"/>
              <a:gd name="connsiteY104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33700 w 2963138"/>
              <a:gd name="connsiteY66" fmla="*/ 995362 h 2313680"/>
              <a:gd name="connsiteX67" fmla="*/ 2928937 w 2963138"/>
              <a:gd name="connsiteY67" fmla="*/ 938212 h 2313680"/>
              <a:gd name="connsiteX68" fmla="*/ 2933700 w 2963138"/>
              <a:gd name="connsiteY68" fmla="*/ 719137 h 2313680"/>
              <a:gd name="connsiteX69" fmla="*/ 2952750 w 2963138"/>
              <a:gd name="connsiteY69" fmla="*/ 571500 h 2313680"/>
              <a:gd name="connsiteX70" fmla="*/ 2957512 w 2963138"/>
              <a:gd name="connsiteY70" fmla="*/ 342900 h 2313680"/>
              <a:gd name="connsiteX71" fmla="*/ 2957512 w 2963138"/>
              <a:gd name="connsiteY71" fmla="*/ 34925 h 2313680"/>
              <a:gd name="connsiteX72" fmla="*/ 2867025 w 2963138"/>
              <a:gd name="connsiteY72" fmla="*/ 19050 h 2313680"/>
              <a:gd name="connsiteX73" fmla="*/ 2724150 w 2963138"/>
              <a:gd name="connsiteY73" fmla="*/ 9525 h 2313680"/>
              <a:gd name="connsiteX74" fmla="*/ 2381250 w 2963138"/>
              <a:gd name="connsiteY74" fmla="*/ 14287 h 2313680"/>
              <a:gd name="connsiteX75" fmla="*/ 2324100 w 2963138"/>
              <a:gd name="connsiteY75" fmla="*/ 23812 h 2313680"/>
              <a:gd name="connsiteX76" fmla="*/ 1909762 w 2963138"/>
              <a:gd name="connsiteY76" fmla="*/ 19050 h 2313680"/>
              <a:gd name="connsiteX77" fmla="*/ 1804987 w 2963138"/>
              <a:gd name="connsiteY77" fmla="*/ 9525 h 2313680"/>
              <a:gd name="connsiteX78" fmla="*/ 1776412 w 2963138"/>
              <a:gd name="connsiteY78" fmla="*/ 0 h 2313680"/>
              <a:gd name="connsiteX79" fmla="*/ 1528762 w 2963138"/>
              <a:gd name="connsiteY79" fmla="*/ 4762 h 2313680"/>
              <a:gd name="connsiteX80" fmla="*/ 1143000 w 2963138"/>
              <a:gd name="connsiteY80" fmla="*/ 38100 h 2313680"/>
              <a:gd name="connsiteX81" fmla="*/ 309562 w 2963138"/>
              <a:gd name="connsiteY81" fmla="*/ 23812 h 2313680"/>
              <a:gd name="connsiteX82" fmla="*/ 247650 w 2963138"/>
              <a:gd name="connsiteY82" fmla="*/ 14287 h 2313680"/>
              <a:gd name="connsiteX83" fmla="*/ 185737 w 2963138"/>
              <a:gd name="connsiteY83" fmla="*/ 9525 h 2313680"/>
              <a:gd name="connsiteX84" fmla="*/ 19050 w 2963138"/>
              <a:gd name="connsiteY84" fmla="*/ 14287 h 2313680"/>
              <a:gd name="connsiteX85" fmla="*/ 4762 w 2963138"/>
              <a:gd name="connsiteY85" fmla="*/ 19050 h 2313680"/>
              <a:gd name="connsiteX86" fmla="*/ 9525 w 2963138"/>
              <a:gd name="connsiteY86" fmla="*/ 85725 h 2313680"/>
              <a:gd name="connsiteX87" fmla="*/ 23812 w 2963138"/>
              <a:gd name="connsiteY87" fmla="*/ 171450 h 2313680"/>
              <a:gd name="connsiteX88" fmla="*/ 14287 w 2963138"/>
              <a:gd name="connsiteY88" fmla="*/ 390525 h 2313680"/>
              <a:gd name="connsiteX89" fmla="*/ 0 w 2963138"/>
              <a:gd name="connsiteY89" fmla="*/ 466725 h 2313680"/>
              <a:gd name="connsiteX90" fmla="*/ 9525 w 2963138"/>
              <a:gd name="connsiteY90" fmla="*/ 800100 h 2313680"/>
              <a:gd name="connsiteX91" fmla="*/ 9525 w 2963138"/>
              <a:gd name="connsiteY91" fmla="*/ 871537 h 2313680"/>
              <a:gd name="connsiteX92" fmla="*/ 14287 w 2963138"/>
              <a:gd name="connsiteY92" fmla="*/ 1157287 h 2313680"/>
              <a:gd name="connsiteX93" fmla="*/ 19050 w 2963138"/>
              <a:gd name="connsiteY93" fmla="*/ 1204912 h 2313680"/>
              <a:gd name="connsiteX94" fmla="*/ 28575 w 2963138"/>
              <a:gd name="connsiteY94" fmla="*/ 1243012 h 2313680"/>
              <a:gd name="connsiteX95" fmla="*/ 33337 w 2963138"/>
              <a:gd name="connsiteY95" fmla="*/ 1328737 h 2313680"/>
              <a:gd name="connsiteX96" fmla="*/ 23812 w 2963138"/>
              <a:gd name="connsiteY96" fmla="*/ 1476375 h 2313680"/>
              <a:gd name="connsiteX97" fmla="*/ 14287 w 2963138"/>
              <a:gd name="connsiteY97" fmla="*/ 1562100 h 2313680"/>
              <a:gd name="connsiteX98" fmla="*/ 9525 w 2963138"/>
              <a:gd name="connsiteY98" fmla="*/ 1819275 h 2313680"/>
              <a:gd name="connsiteX99" fmla="*/ 14287 w 2963138"/>
              <a:gd name="connsiteY99" fmla="*/ 2014537 h 2313680"/>
              <a:gd name="connsiteX100" fmla="*/ 23812 w 2963138"/>
              <a:gd name="connsiteY100" fmla="*/ 2066925 h 2313680"/>
              <a:gd name="connsiteX101" fmla="*/ 28575 w 2963138"/>
              <a:gd name="connsiteY101" fmla="*/ 2152650 h 2313680"/>
              <a:gd name="connsiteX102" fmla="*/ 23812 w 2963138"/>
              <a:gd name="connsiteY102" fmla="*/ 2238375 h 2313680"/>
              <a:gd name="connsiteX103" fmla="*/ 14287 w 2963138"/>
              <a:gd name="connsiteY103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33700 w 2963138"/>
              <a:gd name="connsiteY66" fmla="*/ 995362 h 2313680"/>
              <a:gd name="connsiteX67" fmla="*/ 2928937 w 2963138"/>
              <a:gd name="connsiteY67" fmla="*/ 938212 h 2313680"/>
              <a:gd name="connsiteX68" fmla="*/ 2952750 w 2963138"/>
              <a:gd name="connsiteY68" fmla="*/ 571500 h 2313680"/>
              <a:gd name="connsiteX69" fmla="*/ 2957512 w 2963138"/>
              <a:gd name="connsiteY69" fmla="*/ 342900 h 2313680"/>
              <a:gd name="connsiteX70" fmla="*/ 2957512 w 2963138"/>
              <a:gd name="connsiteY70" fmla="*/ 34925 h 2313680"/>
              <a:gd name="connsiteX71" fmla="*/ 2867025 w 2963138"/>
              <a:gd name="connsiteY71" fmla="*/ 19050 h 2313680"/>
              <a:gd name="connsiteX72" fmla="*/ 2724150 w 2963138"/>
              <a:gd name="connsiteY72" fmla="*/ 9525 h 2313680"/>
              <a:gd name="connsiteX73" fmla="*/ 2381250 w 2963138"/>
              <a:gd name="connsiteY73" fmla="*/ 14287 h 2313680"/>
              <a:gd name="connsiteX74" fmla="*/ 2324100 w 2963138"/>
              <a:gd name="connsiteY74" fmla="*/ 23812 h 2313680"/>
              <a:gd name="connsiteX75" fmla="*/ 1909762 w 2963138"/>
              <a:gd name="connsiteY75" fmla="*/ 19050 h 2313680"/>
              <a:gd name="connsiteX76" fmla="*/ 1804987 w 2963138"/>
              <a:gd name="connsiteY76" fmla="*/ 9525 h 2313680"/>
              <a:gd name="connsiteX77" fmla="*/ 1776412 w 2963138"/>
              <a:gd name="connsiteY77" fmla="*/ 0 h 2313680"/>
              <a:gd name="connsiteX78" fmla="*/ 1528762 w 2963138"/>
              <a:gd name="connsiteY78" fmla="*/ 4762 h 2313680"/>
              <a:gd name="connsiteX79" fmla="*/ 1143000 w 2963138"/>
              <a:gd name="connsiteY79" fmla="*/ 38100 h 2313680"/>
              <a:gd name="connsiteX80" fmla="*/ 309562 w 2963138"/>
              <a:gd name="connsiteY80" fmla="*/ 23812 h 2313680"/>
              <a:gd name="connsiteX81" fmla="*/ 247650 w 2963138"/>
              <a:gd name="connsiteY81" fmla="*/ 14287 h 2313680"/>
              <a:gd name="connsiteX82" fmla="*/ 185737 w 2963138"/>
              <a:gd name="connsiteY82" fmla="*/ 9525 h 2313680"/>
              <a:gd name="connsiteX83" fmla="*/ 19050 w 2963138"/>
              <a:gd name="connsiteY83" fmla="*/ 14287 h 2313680"/>
              <a:gd name="connsiteX84" fmla="*/ 4762 w 2963138"/>
              <a:gd name="connsiteY84" fmla="*/ 19050 h 2313680"/>
              <a:gd name="connsiteX85" fmla="*/ 9525 w 2963138"/>
              <a:gd name="connsiteY85" fmla="*/ 85725 h 2313680"/>
              <a:gd name="connsiteX86" fmla="*/ 23812 w 2963138"/>
              <a:gd name="connsiteY86" fmla="*/ 171450 h 2313680"/>
              <a:gd name="connsiteX87" fmla="*/ 14287 w 2963138"/>
              <a:gd name="connsiteY87" fmla="*/ 390525 h 2313680"/>
              <a:gd name="connsiteX88" fmla="*/ 0 w 2963138"/>
              <a:gd name="connsiteY88" fmla="*/ 466725 h 2313680"/>
              <a:gd name="connsiteX89" fmla="*/ 9525 w 2963138"/>
              <a:gd name="connsiteY89" fmla="*/ 800100 h 2313680"/>
              <a:gd name="connsiteX90" fmla="*/ 9525 w 2963138"/>
              <a:gd name="connsiteY90" fmla="*/ 871537 h 2313680"/>
              <a:gd name="connsiteX91" fmla="*/ 14287 w 2963138"/>
              <a:gd name="connsiteY91" fmla="*/ 1157287 h 2313680"/>
              <a:gd name="connsiteX92" fmla="*/ 19050 w 2963138"/>
              <a:gd name="connsiteY92" fmla="*/ 1204912 h 2313680"/>
              <a:gd name="connsiteX93" fmla="*/ 28575 w 2963138"/>
              <a:gd name="connsiteY93" fmla="*/ 1243012 h 2313680"/>
              <a:gd name="connsiteX94" fmla="*/ 33337 w 2963138"/>
              <a:gd name="connsiteY94" fmla="*/ 1328737 h 2313680"/>
              <a:gd name="connsiteX95" fmla="*/ 23812 w 2963138"/>
              <a:gd name="connsiteY95" fmla="*/ 1476375 h 2313680"/>
              <a:gd name="connsiteX96" fmla="*/ 14287 w 2963138"/>
              <a:gd name="connsiteY96" fmla="*/ 1562100 h 2313680"/>
              <a:gd name="connsiteX97" fmla="*/ 9525 w 2963138"/>
              <a:gd name="connsiteY97" fmla="*/ 1819275 h 2313680"/>
              <a:gd name="connsiteX98" fmla="*/ 14287 w 2963138"/>
              <a:gd name="connsiteY98" fmla="*/ 2014537 h 2313680"/>
              <a:gd name="connsiteX99" fmla="*/ 23812 w 2963138"/>
              <a:gd name="connsiteY99" fmla="*/ 2066925 h 2313680"/>
              <a:gd name="connsiteX100" fmla="*/ 28575 w 2963138"/>
              <a:gd name="connsiteY100" fmla="*/ 2152650 h 2313680"/>
              <a:gd name="connsiteX101" fmla="*/ 23812 w 2963138"/>
              <a:gd name="connsiteY101" fmla="*/ 2238375 h 2313680"/>
              <a:gd name="connsiteX102" fmla="*/ 14287 w 2963138"/>
              <a:gd name="connsiteY102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28937 w 2963138"/>
              <a:gd name="connsiteY66" fmla="*/ 938212 h 2313680"/>
              <a:gd name="connsiteX67" fmla="*/ 2952750 w 2963138"/>
              <a:gd name="connsiteY67" fmla="*/ 571500 h 2313680"/>
              <a:gd name="connsiteX68" fmla="*/ 2957512 w 2963138"/>
              <a:gd name="connsiteY68" fmla="*/ 342900 h 2313680"/>
              <a:gd name="connsiteX69" fmla="*/ 2957512 w 2963138"/>
              <a:gd name="connsiteY69" fmla="*/ 34925 h 2313680"/>
              <a:gd name="connsiteX70" fmla="*/ 2867025 w 2963138"/>
              <a:gd name="connsiteY70" fmla="*/ 19050 h 2313680"/>
              <a:gd name="connsiteX71" fmla="*/ 2724150 w 2963138"/>
              <a:gd name="connsiteY71" fmla="*/ 9525 h 2313680"/>
              <a:gd name="connsiteX72" fmla="*/ 2381250 w 2963138"/>
              <a:gd name="connsiteY72" fmla="*/ 14287 h 2313680"/>
              <a:gd name="connsiteX73" fmla="*/ 2324100 w 2963138"/>
              <a:gd name="connsiteY73" fmla="*/ 23812 h 2313680"/>
              <a:gd name="connsiteX74" fmla="*/ 1909762 w 2963138"/>
              <a:gd name="connsiteY74" fmla="*/ 19050 h 2313680"/>
              <a:gd name="connsiteX75" fmla="*/ 1804987 w 2963138"/>
              <a:gd name="connsiteY75" fmla="*/ 9525 h 2313680"/>
              <a:gd name="connsiteX76" fmla="*/ 1776412 w 2963138"/>
              <a:gd name="connsiteY76" fmla="*/ 0 h 2313680"/>
              <a:gd name="connsiteX77" fmla="*/ 1528762 w 2963138"/>
              <a:gd name="connsiteY77" fmla="*/ 4762 h 2313680"/>
              <a:gd name="connsiteX78" fmla="*/ 1143000 w 2963138"/>
              <a:gd name="connsiteY78" fmla="*/ 38100 h 2313680"/>
              <a:gd name="connsiteX79" fmla="*/ 309562 w 2963138"/>
              <a:gd name="connsiteY79" fmla="*/ 23812 h 2313680"/>
              <a:gd name="connsiteX80" fmla="*/ 247650 w 2963138"/>
              <a:gd name="connsiteY80" fmla="*/ 14287 h 2313680"/>
              <a:gd name="connsiteX81" fmla="*/ 185737 w 2963138"/>
              <a:gd name="connsiteY81" fmla="*/ 9525 h 2313680"/>
              <a:gd name="connsiteX82" fmla="*/ 19050 w 2963138"/>
              <a:gd name="connsiteY82" fmla="*/ 14287 h 2313680"/>
              <a:gd name="connsiteX83" fmla="*/ 4762 w 2963138"/>
              <a:gd name="connsiteY83" fmla="*/ 19050 h 2313680"/>
              <a:gd name="connsiteX84" fmla="*/ 9525 w 2963138"/>
              <a:gd name="connsiteY84" fmla="*/ 85725 h 2313680"/>
              <a:gd name="connsiteX85" fmla="*/ 23812 w 2963138"/>
              <a:gd name="connsiteY85" fmla="*/ 171450 h 2313680"/>
              <a:gd name="connsiteX86" fmla="*/ 14287 w 2963138"/>
              <a:gd name="connsiteY86" fmla="*/ 390525 h 2313680"/>
              <a:gd name="connsiteX87" fmla="*/ 0 w 2963138"/>
              <a:gd name="connsiteY87" fmla="*/ 466725 h 2313680"/>
              <a:gd name="connsiteX88" fmla="*/ 9525 w 2963138"/>
              <a:gd name="connsiteY88" fmla="*/ 800100 h 2313680"/>
              <a:gd name="connsiteX89" fmla="*/ 9525 w 2963138"/>
              <a:gd name="connsiteY89" fmla="*/ 871537 h 2313680"/>
              <a:gd name="connsiteX90" fmla="*/ 14287 w 2963138"/>
              <a:gd name="connsiteY90" fmla="*/ 1157287 h 2313680"/>
              <a:gd name="connsiteX91" fmla="*/ 19050 w 2963138"/>
              <a:gd name="connsiteY91" fmla="*/ 1204912 h 2313680"/>
              <a:gd name="connsiteX92" fmla="*/ 28575 w 2963138"/>
              <a:gd name="connsiteY92" fmla="*/ 1243012 h 2313680"/>
              <a:gd name="connsiteX93" fmla="*/ 33337 w 2963138"/>
              <a:gd name="connsiteY93" fmla="*/ 1328737 h 2313680"/>
              <a:gd name="connsiteX94" fmla="*/ 23812 w 2963138"/>
              <a:gd name="connsiteY94" fmla="*/ 1476375 h 2313680"/>
              <a:gd name="connsiteX95" fmla="*/ 14287 w 2963138"/>
              <a:gd name="connsiteY95" fmla="*/ 1562100 h 2313680"/>
              <a:gd name="connsiteX96" fmla="*/ 9525 w 2963138"/>
              <a:gd name="connsiteY96" fmla="*/ 1819275 h 2313680"/>
              <a:gd name="connsiteX97" fmla="*/ 14287 w 2963138"/>
              <a:gd name="connsiteY97" fmla="*/ 2014537 h 2313680"/>
              <a:gd name="connsiteX98" fmla="*/ 23812 w 2963138"/>
              <a:gd name="connsiteY98" fmla="*/ 2066925 h 2313680"/>
              <a:gd name="connsiteX99" fmla="*/ 28575 w 2963138"/>
              <a:gd name="connsiteY99" fmla="*/ 2152650 h 2313680"/>
              <a:gd name="connsiteX100" fmla="*/ 23812 w 2963138"/>
              <a:gd name="connsiteY100" fmla="*/ 2238375 h 2313680"/>
              <a:gd name="connsiteX101" fmla="*/ 14287 w 2963138"/>
              <a:gd name="connsiteY101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47987 w 2963138"/>
              <a:gd name="connsiteY66" fmla="*/ 922337 h 2313680"/>
              <a:gd name="connsiteX67" fmla="*/ 2952750 w 2963138"/>
              <a:gd name="connsiteY67" fmla="*/ 571500 h 2313680"/>
              <a:gd name="connsiteX68" fmla="*/ 2957512 w 2963138"/>
              <a:gd name="connsiteY68" fmla="*/ 342900 h 2313680"/>
              <a:gd name="connsiteX69" fmla="*/ 2957512 w 2963138"/>
              <a:gd name="connsiteY69" fmla="*/ 34925 h 2313680"/>
              <a:gd name="connsiteX70" fmla="*/ 2867025 w 2963138"/>
              <a:gd name="connsiteY70" fmla="*/ 19050 h 2313680"/>
              <a:gd name="connsiteX71" fmla="*/ 2724150 w 2963138"/>
              <a:gd name="connsiteY71" fmla="*/ 9525 h 2313680"/>
              <a:gd name="connsiteX72" fmla="*/ 2381250 w 2963138"/>
              <a:gd name="connsiteY72" fmla="*/ 14287 h 2313680"/>
              <a:gd name="connsiteX73" fmla="*/ 2324100 w 2963138"/>
              <a:gd name="connsiteY73" fmla="*/ 23812 h 2313680"/>
              <a:gd name="connsiteX74" fmla="*/ 1909762 w 2963138"/>
              <a:gd name="connsiteY74" fmla="*/ 19050 h 2313680"/>
              <a:gd name="connsiteX75" fmla="*/ 1804987 w 2963138"/>
              <a:gd name="connsiteY75" fmla="*/ 9525 h 2313680"/>
              <a:gd name="connsiteX76" fmla="*/ 1776412 w 2963138"/>
              <a:gd name="connsiteY76" fmla="*/ 0 h 2313680"/>
              <a:gd name="connsiteX77" fmla="*/ 1528762 w 2963138"/>
              <a:gd name="connsiteY77" fmla="*/ 4762 h 2313680"/>
              <a:gd name="connsiteX78" fmla="*/ 1143000 w 2963138"/>
              <a:gd name="connsiteY78" fmla="*/ 38100 h 2313680"/>
              <a:gd name="connsiteX79" fmla="*/ 309562 w 2963138"/>
              <a:gd name="connsiteY79" fmla="*/ 23812 h 2313680"/>
              <a:gd name="connsiteX80" fmla="*/ 247650 w 2963138"/>
              <a:gd name="connsiteY80" fmla="*/ 14287 h 2313680"/>
              <a:gd name="connsiteX81" fmla="*/ 185737 w 2963138"/>
              <a:gd name="connsiteY81" fmla="*/ 9525 h 2313680"/>
              <a:gd name="connsiteX82" fmla="*/ 19050 w 2963138"/>
              <a:gd name="connsiteY82" fmla="*/ 14287 h 2313680"/>
              <a:gd name="connsiteX83" fmla="*/ 4762 w 2963138"/>
              <a:gd name="connsiteY83" fmla="*/ 19050 h 2313680"/>
              <a:gd name="connsiteX84" fmla="*/ 9525 w 2963138"/>
              <a:gd name="connsiteY84" fmla="*/ 85725 h 2313680"/>
              <a:gd name="connsiteX85" fmla="*/ 23812 w 2963138"/>
              <a:gd name="connsiteY85" fmla="*/ 171450 h 2313680"/>
              <a:gd name="connsiteX86" fmla="*/ 14287 w 2963138"/>
              <a:gd name="connsiteY86" fmla="*/ 390525 h 2313680"/>
              <a:gd name="connsiteX87" fmla="*/ 0 w 2963138"/>
              <a:gd name="connsiteY87" fmla="*/ 466725 h 2313680"/>
              <a:gd name="connsiteX88" fmla="*/ 9525 w 2963138"/>
              <a:gd name="connsiteY88" fmla="*/ 800100 h 2313680"/>
              <a:gd name="connsiteX89" fmla="*/ 9525 w 2963138"/>
              <a:gd name="connsiteY89" fmla="*/ 871537 h 2313680"/>
              <a:gd name="connsiteX90" fmla="*/ 14287 w 2963138"/>
              <a:gd name="connsiteY90" fmla="*/ 1157287 h 2313680"/>
              <a:gd name="connsiteX91" fmla="*/ 19050 w 2963138"/>
              <a:gd name="connsiteY91" fmla="*/ 1204912 h 2313680"/>
              <a:gd name="connsiteX92" fmla="*/ 28575 w 2963138"/>
              <a:gd name="connsiteY92" fmla="*/ 1243012 h 2313680"/>
              <a:gd name="connsiteX93" fmla="*/ 33337 w 2963138"/>
              <a:gd name="connsiteY93" fmla="*/ 1328737 h 2313680"/>
              <a:gd name="connsiteX94" fmla="*/ 23812 w 2963138"/>
              <a:gd name="connsiteY94" fmla="*/ 1476375 h 2313680"/>
              <a:gd name="connsiteX95" fmla="*/ 14287 w 2963138"/>
              <a:gd name="connsiteY95" fmla="*/ 1562100 h 2313680"/>
              <a:gd name="connsiteX96" fmla="*/ 9525 w 2963138"/>
              <a:gd name="connsiteY96" fmla="*/ 1819275 h 2313680"/>
              <a:gd name="connsiteX97" fmla="*/ 14287 w 2963138"/>
              <a:gd name="connsiteY97" fmla="*/ 2014537 h 2313680"/>
              <a:gd name="connsiteX98" fmla="*/ 23812 w 2963138"/>
              <a:gd name="connsiteY98" fmla="*/ 2066925 h 2313680"/>
              <a:gd name="connsiteX99" fmla="*/ 28575 w 2963138"/>
              <a:gd name="connsiteY99" fmla="*/ 2152650 h 2313680"/>
              <a:gd name="connsiteX100" fmla="*/ 23812 w 2963138"/>
              <a:gd name="connsiteY100" fmla="*/ 2238375 h 2313680"/>
              <a:gd name="connsiteX101" fmla="*/ 14287 w 2963138"/>
              <a:gd name="connsiteY101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62275 w 2963138"/>
              <a:gd name="connsiteY62" fmla="*/ 1804987 h 2313680"/>
              <a:gd name="connsiteX63" fmla="*/ 2952750 w 2963138"/>
              <a:gd name="connsiteY63" fmla="*/ 1366837 h 2313680"/>
              <a:gd name="connsiteX64" fmla="*/ 2947987 w 2963138"/>
              <a:gd name="connsiteY64" fmla="*/ 1081087 h 2313680"/>
              <a:gd name="connsiteX65" fmla="*/ 2947987 w 2963138"/>
              <a:gd name="connsiteY65" fmla="*/ 922337 h 2313680"/>
              <a:gd name="connsiteX66" fmla="*/ 2952750 w 2963138"/>
              <a:gd name="connsiteY66" fmla="*/ 571500 h 2313680"/>
              <a:gd name="connsiteX67" fmla="*/ 2957512 w 2963138"/>
              <a:gd name="connsiteY67" fmla="*/ 342900 h 2313680"/>
              <a:gd name="connsiteX68" fmla="*/ 2957512 w 2963138"/>
              <a:gd name="connsiteY68" fmla="*/ 34925 h 2313680"/>
              <a:gd name="connsiteX69" fmla="*/ 2867025 w 2963138"/>
              <a:gd name="connsiteY69" fmla="*/ 19050 h 2313680"/>
              <a:gd name="connsiteX70" fmla="*/ 2724150 w 2963138"/>
              <a:gd name="connsiteY70" fmla="*/ 9525 h 2313680"/>
              <a:gd name="connsiteX71" fmla="*/ 2381250 w 2963138"/>
              <a:gd name="connsiteY71" fmla="*/ 14287 h 2313680"/>
              <a:gd name="connsiteX72" fmla="*/ 2324100 w 2963138"/>
              <a:gd name="connsiteY72" fmla="*/ 23812 h 2313680"/>
              <a:gd name="connsiteX73" fmla="*/ 1909762 w 2963138"/>
              <a:gd name="connsiteY73" fmla="*/ 19050 h 2313680"/>
              <a:gd name="connsiteX74" fmla="*/ 1804987 w 2963138"/>
              <a:gd name="connsiteY74" fmla="*/ 9525 h 2313680"/>
              <a:gd name="connsiteX75" fmla="*/ 1776412 w 2963138"/>
              <a:gd name="connsiteY75" fmla="*/ 0 h 2313680"/>
              <a:gd name="connsiteX76" fmla="*/ 1528762 w 2963138"/>
              <a:gd name="connsiteY76" fmla="*/ 4762 h 2313680"/>
              <a:gd name="connsiteX77" fmla="*/ 1143000 w 2963138"/>
              <a:gd name="connsiteY77" fmla="*/ 38100 h 2313680"/>
              <a:gd name="connsiteX78" fmla="*/ 309562 w 2963138"/>
              <a:gd name="connsiteY78" fmla="*/ 23812 h 2313680"/>
              <a:gd name="connsiteX79" fmla="*/ 247650 w 2963138"/>
              <a:gd name="connsiteY79" fmla="*/ 14287 h 2313680"/>
              <a:gd name="connsiteX80" fmla="*/ 185737 w 2963138"/>
              <a:gd name="connsiteY80" fmla="*/ 9525 h 2313680"/>
              <a:gd name="connsiteX81" fmla="*/ 19050 w 2963138"/>
              <a:gd name="connsiteY81" fmla="*/ 14287 h 2313680"/>
              <a:gd name="connsiteX82" fmla="*/ 4762 w 2963138"/>
              <a:gd name="connsiteY82" fmla="*/ 19050 h 2313680"/>
              <a:gd name="connsiteX83" fmla="*/ 9525 w 2963138"/>
              <a:gd name="connsiteY83" fmla="*/ 85725 h 2313680"/>
              <a:gd name="connsiteX84" fmla="*/ 23812 w 2963138"/>
              <a:gd name="connsiteY84" fmla="*/ 171450 h 2313680"/>
              <a:gd name="connsiteX85" fmla="*/ 14287 w 2963138"/>
              <a:gd name="connsiteY85" fmla="*/ 390525 h 2313680"/>
              <a:gd name="connsiteX86" fmla="*/ 0 w 2963138"/>
              <a:gd name="connsiteY86" fmla="*/ 466725 h 2313680"/>
              <a:gd name="connsiteX87" fmla="*/ 9525 w 2963138"/>
              <a:gd name="connsiteY87" fmla="*/ 800100 h 2313680"/>
              <a:gd name="connsiteX88" fmla="*/ 9525 w 2963138"/>
              <a:gd name="connsiteY88" fmla="*/ 871537 h 2313680"/>
              <a:gd name="connsiteX89" fmla="*/ 14287 w 2963138"/>
              <a:gd name="connsiteY89" fmla="*/ 1157287 h 2313680"/>
              <a:gd name="connsiteX90" fmla="*/ 19050 w 2963138"/>
              <a:gd name="connsiteY90" fmla="*/ 1204912 h 2313680"/>
              <a:gd name="connsiteX91" fmla="*/ 28575 w 2963138"/>
              <a:gd name="connsiteY91" fmla="*/ 1243012 h 2313680"/>
              <a:gd name="connsiteX92" fmla="*/ 33337 w 2963138"/>
              <a:gd name="connsiteY92" fmla="*/ 1328737 h 2313680"/>
              <a:gd name="connsiteX93" fmla="*/ 23812 w 2963138"/>
              <a:gd name="connsiteY93" fmla="*/ 1476375 h 2313680"/>
              <a:gd name="connsiteX94" fmla="*/ 14287 w 2963138"/>
              <a:gd name="connsiteY94" fmla="*/ 1562100 h 2313680"/>
              <a:gd name="connsiteX95" fmla="*/ 9525 w 2963138"/>
              <a:gd name="connsiteY95" fmla="*/ 1819275 h 2313680"/>
              <a:gd name="connsiteX96" fmla="*/ 14287 w 2963138"/>
              <a:gd name="connsiteY96" fmla="*/ 2014537 h 2313680"/>
              <a:gd name="connsiteX97" fmla="*/ 23812 w 2963138"/>
              <a:gd name="connsiteY97" fmla="*/ 2066925 h 2313680"/>
              <a:gd name="connsiteX98" fmla="*/ 28575 w 2963138"/>
              <a:gd name="connsiteY98" fmla="*/ 2152650 h 2313680"/>
              <a:gd name="connsiteX99" fmla="*/ 23812 w 2963138"/>
              <a:gd name="connsiteY99" fmla="*/ 2238375 h 2313680"/>
              <a:gd name="connsiteX100" fmla="*/ 14287 w 2963138"/>
              <a:gd name="connsiteY100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62275 w 2963138"/>
              <a:gd name="connsiteY61" fmla="*/ 1804987 h 2313680"/>
              <a:gd name="connsiteX62" fmla="*/ 2952750 w 2963138"/>
              <a:gd name="connsiteY62" fmla="*/ 1366837 h 2313680"/>
              <a:gd name="connsiteX63" fmla="*/ 2947987 w 2963138"/>
              <a:gd name="connsiteY63" fmla="*/ 1081087 h 2313680"/>
              <a:gd name="connsiteX64" fmla="*/ 2947987 w 2963138"/>
              <a:gd name="connsiteY64" fmla="*/ 922337 h 2313680"/>
              <a:gd name="connsiteX65" fmla="*/ 2952750 w 2963138"/>
              <a:gd name="connsiteY65" fmla="*/ 571500 h 2313680"/>
              <a:gd name="connsiteX66" fmla="*/ 2957512 w 2963138"/>
              <a:gd name="connsiteY66" fmla="*/ 342900 h 2313680"/>
              <a:gd name="connsiteX67" fmla="*/ 2957512 w 2963138"/>
              <a:gd name="connsiteY67" fmla="*/ 34925 h 2313680"/>
              <a:gd name="connsiteX68" fmla="*/ 2867025 w 2963138"/>
              <a:gd name="connsiteY68" fmla="*/ 19050 h 2313680"/>
              <a:gd name="connsiteX69" fmla="*/ 2724150 w 2963138"/>
              <a:gd name="connsiteY69" fmla="*/ 9525 h 2313680"/>
              <a:gd name="connsiteX70" fmla="*/ 2381250 w 2963138"/>
              <a:gd name="connsiteY70" fmla="*/ 14287 h 2313680"/>
              <a:gd name="connsiteX71" fmla="*/ 2324100 w 2963138"/>
              <a:gd name="connsiteY71" fmla="*/ 23812 h 2313680"/>
              <a:gd name="connsiteX72" fmla="*/ 1909762 w 2963138"/>
              <a:gd name="connsiteY72" fmla="*/ 19050 h 2313680"/>
              <a:gd name="connsiteX73" fmla="*/ 1804987 w 2963138"/>
              <a:gd name="connsiteY73" fmla="*/ 9525 h 2313680"/>
              <a:gd name="connsiteX74" fmla="*/ 1776412 w 2963138"/>
              <a:gd name="connsiteY74" fmla="*/ 0 h 2313680"/>
              <a:gd name="connsiteX75" fmla="*/ 1528762 w 2963138"/>
              <a:gd name="connsiteY75" fmla="*/ 4762 h 2313680"/>
              <a:gd name="connsiteX76" fmla="*/ 1143000 w 2963138"/>
              <a:gd name="connsiteY76" fmla="*/ 38100 h 2313680"/>
              <a:gd name="connsiteX77" fmla="*/ 309562 w 2963138"/>
              <a:gd name="connsiteY77" fmla="*/ 23812 h 2313680"/>
              <a:gd name="connsiteX78" fmla="*/ 247650 w 2963138"/>
              <a:gd name="connsiteY78" fmla="*/ 14287 h 2313680"/>
              <a:gd name="connsiteX79" fmla="*/ 185737 w 2963138"/>
              <a:gd name="connsiteY79" fmla="*/ 9525 h 2313680"/>
              <a:gd name="connsiteX80" fmla="*/ 19050 w 2963138"/>
              <a:gd name="connsiteY80" fmla="*/ 14287 h 2313680"/>
              <a:gd name="connsiteX81" fmla="*/ 4762 w 2963138"/>
              <a:gd name="connsiteY81" fmla="*/ 19050 h 2313680"/>
              <a:gd name="connsiteX82" fmla="*/ 9525 w 2963138"/>
              <a:gd name="connsiteY82" fmla="*/ 85725 h 2313680"/>
              <a:gd name="connsiteX83" fmla="*/ 23812 w 2963138"/>
              <a:gd name="connsiteY83" fmla="*/ 171450 h 2313680"/>
              <a:gd name="connsiteX84" fmla="*/ 14287 w 2963138"/>
              <a:gd name="connsiteY84" fmla="*/ 390525 h 2313680"/>
              <a:gd name="connsiteX85" fmla="*/ 0 w 2963138"/>
              <a:gd name="connsiteY85" fmla="*/ 466725 h 2313680"/>
              <a:gd name="connsiteX86" fmla="*/ 9525 w 2963138"/>
              <a:gd name="connsiteY86" fmla="*/ 800100 h 2313680"/>
              <a:gd name="connsiteX87" fmla="*/ 9525 w 2963138"/>
              <a:gd name="connsiteY87" fmla="*/ 871537 h 2313680"/>
              <a:gd name="connsiteX88" fmla="*/ 14287 w 2963138"/>
              <a:gd name="connsiteY88" fmla="*/ 1157287 h 2313680"/>
              <a:gd name="connsiteX89" fmla="*/ 19050 w 2963138"/>
              <a:gd name="connsiteY89" fmla="*/ 1204912 h 2313680"/>
              <a:gd name="connsiteX90" fmla="*/ 28575 w 2963138"/>
              <a:gd name="connsiteY90" fmla="*/ 1243012 h 2313680"/>
              <a:gd name="connsiteX91" fmla="*/ 33337 w 2963138"/>
              <a:gd name="connsiteY91" fmla="*/ 1328737 h 2313680"/>
              <a:gd name="connsiteX92" fmla="*/ 23812 w 2963138"/>
              <a:gd name="connsiteY92" fmla="*/ 1476375 h 2313680"/>
              <a:gd name="connsiteX93" fmla="*/ 14287 w 2963138"/>
              <a:gd name="connsiteY93" fmla="*/ 1562100 h 2313680"/>
              <a:gd name="connsiteX94" fmla="*/ 9525 w 2963138"/>
              <a:gd name="connsiteY94" fmla="*/ 1819275 h 2313680"/>
              <a:gd name="connsiteX95" fmla="*/ 14287 w 2963138"/>
              <a:gd name="connsiteY95" fmla="*/ 2014537 h 2313680"/>
              <a:gd name="connsiteX96" fmla="*/ 23812 w 2963138"/>
              <a:gd name="connsiteY96" fmla="*/ 2066925 h 2313680"/>
              <a:gd name="connsiteX97" fmla="*/ 28575 w 2963138"/>
              <a:gd name="connsiteY97" fmla="*/ 2152650 h 2313680"/>
              <a:gd name="connsiteX98" fmla="*/ 23812 w 2963138"/>
              <a:gd name="connsiteY98" fmla="*/ 2238375 h 2313680"/>
              <a:gd name="connsiteX99" fmla="*/ 14287 w 2963138"/>
              <a:gd name="connsiteY99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38462 w 2963138"/>
              <a:gd name="connsiteY58" fmla="*/ 2109787 h 2313680"/>
              <a:gd name="connsiteX59" fmla="*/ 2943225 w 2963138"/>
              <a:gd name="connsiteY59" fmla="*/ 1966912 h 2313680"/>
              <a:gd name="connsiteX60" fmla="*/ 2962275 w 2963138"/>
              <a:gd name="connsiteY60" fmla="*/ 1804987 h 2313680"/>
              <a:gd name="connsiteX61" fmla="*/ 2952750 w 2963138"/>
              <a:gd name="connsiteY61" fmla="*/ 1366837 h 2313680"/>
              <a:gd name="connsiteX62" fmla="*/ 2947987 w 2963138"/>
              <a:gd name="connsiteY62" fmla="*/ 1081087 h 2313680"/>
              <a:gd name="connsiteX63" fmla="*/ 2947987 w 2963138"/>
              <a:gd name="connsiteY63" fmla="*/ 922337 h 2313680"/>
              <a:gd name="connsiteX64" fmla="*/ 2952750 w 2963138"/>
              <a:gd name="connsiteY64" fmla="*/ 571500 h 2313680"/>
              <a:gd name="connsiteX65" fmla="*/ 2957512 w 2963138"/>
              <a:gd name="connsiteY65" fmla="*/ 342900 h 2313680"/>
              <a:gd name="connsiteX66" fmla="*/ 2957512 w 2963138"/>
              <a:gd name="connsiteY66" fmla="*/ 34925 h 2313680"/>
              <a:gd name="connsiteX67" fmla="*/ 2867025 w 2963138"/>
              <a:gd name="connsiteY67" fmla="*/ 19050 h 2313680"/>
              <a:gd name="connsiteX68" fmla="*/ 2724150 w 2963138"/>
              <a:gd name="connsiteY68" fmla="*/ 9525 h 2313680"/>
              <a:gd name="connsiteX69" fmla="*/ 2381250 w 2963138"/>
              <a:gd name="connsiteY69" fmla="*/ 14287 h 2313680"/>
              <a:gd name="connsiteX70" fmla="*/ 2324100 w 2963138"/>
              <a:gd name="connsiteY70" fmla="*/ 23812 h 2313680"/>
              <a:gd name="connsiteX71" fmla="*/ 1909762 w 2963138"/>
              <a:gd name="connsiteY71" fmla="*/ 19050 h 2313680"/>
              <a:gd name="connsiteX72" fmla="*/ 1804987 w 2963138"/>
              <a:gd name="connsiteY72" fmla="*/ 9525 h 2313680"/>
              <a:gd name="connsiteX73" fmla="*/ 1776412 w 2963138"/>
              <a:gd name="connsiteY73" fmla="*/ 0 h 2313680"/>
              <a:gd name="connsiteX74" fmla="*/ 1528762 w 2963138"/>
              <a:gd name="connsiteY74" fmla="*/ 4762 h 2313680"/>
              <a:gd name="connsiteX75" fmla="*/ 1143000 w 2963138"/>
              <a:gd name="connsiteY75" fmla="*/ 38100 h 2313680"/>
              <a:gd name="connsiteX76" fmla="*/ 309562 w 2963138"/>
              <a:gd name="connsiteY76" fmla="*/ 23812 h 2313680"/>
              <a:gd name="connsiteX77" fmla="*/ 247650 w 2963138"/>
              <a:gd name="connsiteY77" fmla="*/ 14287 h 2313680"/>
              <a:gd name="connsiteX78" fmla="*/ 185737 w 2963138"/>
              <a:gd name="connsiteY78" fmla="*/ 9525 h 2313680"/>
              <a:gd name="connsiteX79" fmla="*/ 19050 w 2963138"/>
              <a:gd name="connsiteY79" fmla="*/ 14287 h 2313680"/>
              <a:gd name="connsiteX80" fmla="*/ 4762 w 2963138"/>
              <a:gd name="connsiteY80" fmla="*/ 19050 h 2313680"/>
              <a:gd name="connsiteX81" fmla="*/ 9525 w 2963138"/>
              <a:gd name="connsiteY81" fmla="*/ 85725 h 2313680"/>
              <a:gd name="connsiteX82" fmla="*/ 23812 w 2963138"/>
              <a:gd name="connsiteY82" fmla="*/ 171450 h 2313680"/>
              <a:gd name="connsiteX83" fmla="*/ 14287 w 2963138"/>
              <a:gd name="connsiteY83" fmla="*/ 390525 h 2313680"/>
              <a:gd name="connsiteX84" fmla="*/ 0 w 2963138"/>
              <a:gd name="connsiteY84" fmla="*/ 466725 h 2313680"/>
              <a:gd name="connsiteX85" fmla="*/ 9525 w 2963138"/>
              <a:gd name="connsiteY85" fmla="*/ 800100 h 2313680"/>
              <a:gd name="connsiteX86" fmla="*/ 9525 w 2963138"/>
              <a:gd name="connsiteY86" fmla="*/ 871537 h 2313680"/>
              <a:gd name="connsiteX87" fmla="*/ 14287 w 2963138"/>
              <a:gd name="connsiteY87" fmla="*/ 1157287 h 2313680"/>
              <a:gd name="connsiteX88" fmla="*/ 19050 w 2963138"/>
              <a:gd name="connsiteY88" fmla="*/ 1204912 h 2313680"/>
              <a:gd name="connsiteX89" fmla="*/ 28575 w 2963138"/>
              <a:gd name="connsiteY89" fmla="*/ 1243012 h 2313680"/>
              <a:gd name="connsiteX90" fmla="*/ 33337 w 2963138"/>
              <a:gd name="connsiteY90" fmla="*/ 1328737 h 2313680"/>
              <a:gd name="connsiteX91" fmla="*/ 23812 w 2963138"/>
              <a:gd name="connsiteY91" fmla="*/ 1476375 h 2313680"/>
              <a:gd name="connsiteX92" fmla="*/ 14287 w 2963138"/>
              <a:gd name="connsiteY92" fmla="*/ 1562100 h 2313680"/>
              <a:gd name="connsiteX93" fmla="*/ 9525 w 2963138"/>
              <a:gd name="connsiteY93" fmla="*/ 1819275 h 2313680"/>
              <a:gd name="connsiteX94" fmla="*/ 14287 w 2963138"/>
              <a:gd name="connsiteY94" fmla="*/ 2014537 h 2313680"/>
              <a:gd name="connsiteX95" fmla="*/ 23812 w 2963138"/>
              <a:gd name="connsiteY95" fmla="*/ 2066925 h 2313680"/>
              <a:gd name="connsiteX96" fmla="*/ 28575 w 2963138"/>
              <a:gd name="connsiteY96" fmla="*/ 2152650 h 2313680"/>
              <a:gd name="connsiteX97" fmla="*/ 23812 w 2963138"/>
              <a:gd name="connsiteY97" fmla="*/ 2238375 h 2313680"/>
              <a:gd name="connsiteX98" fmla="*/ 14287 w 2963138"/>
              <a:gd name="connsiteY98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1966912 h 2313680"/>
              <a:gd name="connsiteX59" fmla="*/ 2962275 w 2963138"/>
              <a:gd name="connsiteY59" fmla="*/ 1804987 h 2313680"/>
              <a:gd name="connsiteX60" fmla="*/ 2952750 w 2963138"/>
              <a:gd name="connsiteY60" fmla="*/ 1366837 h 2313680"/>
              <a:gd name="connsiteX61" fmla="*/ 2947987 w 2963138"/>
              <a:gd name="connsiteY61" fmla="*/ 1081087 h 2313680"/>
              <a:gd name="connsiteX62" fmla="*/ 2947987 w 2963138"/>
              <a:gd name="connsiteY62" fmla="*/ 922337 h 2313680"/>
              <a:gd name="connsiteX63" fmla="*/ 2952750 w 2963138"/>
              <a:gd name="connsiteY63" fmla="*/ 571500 h 2313680"/>
              <a:gd name="connsiteX64" fmla="*/ 2957512 w 2963138"/>
              <a:gd name="connsiteY64" fmla="*/ 342900 h 2313680"/>
              <a:gd name="connsiteX65" fmla="*/ 2957512 w 2963138"/>
              <a:gd name="connsiteY65" fmla="*/ 34925 h 2313680"/>
              <a:gd name="connsiteX66" fmla="*/ 2867025 w 2963138"/>
              <a:gd name="connsiteY66" fmla="*/ 19050 h 2313680"/>
              <a:gd name="connsiteX67" fmla="*/ 2724150 w 2963138"/>
              <a:gd name="connsiteY67" fmla="*/ 9525 h 2313680"/>
              <a:gd name="connsiteX68" fmla="*/ 2381250 w 2963138"/>
              <a:gd name="connsiteY68" fmla="*/ 14287 h 2313680"/>
              <a:gd name="connsiteX69" fmla="*/ 2324100 w 2963138"/>
              <a:gd name="connsiteY69" fmla="*/ 23812 h 2313680"/>
              <a:gd name="connsiteX70" fmla="*/ 1909762 w 2963138"/>
              <a:gd name="connsiteY70" fmla="*/ 19050 h 2313680"/>
              <a:gd name="connsiteX71" fmla="*/ 1804987 w 2963138"/>
              <a:gd name="connsiteY71" fmla="*/ 9525 h 2313680"/>
              <a:gd name="connsiteX72" fmla="*/ 1776412 w 2963138"/>
              <a:gd name="connsiteY72" fmla="*/ 0 h 2313680"/>
              <a:gd name="connsiteX73" fmla="*/ 1528762 w 2963138"/>
              <a:gd name="connsiteY73" fmla="*/ 4762 h 2313680"/>
              <a:gd name="connsiteX74" fmla="*/ 1143000 w 2963138"/>
              <a:gd name="connsiteY74" fmla="*/ 38100 h 2313680"/>
              <a:gd name="connsiteX75" fmla="*/ 309562 w 2963138"/>
              <a:gd name="connsiteY75" fmla="*/ 23812 h 2313680"/>
              <a:gd name="connsiteX76" fmla="*/ 247650 w 2963138"/>
              <a:gd name="connsiteY76" fmla="*/ 14287 h 2313680"/>
              <a:gd name="connsiteX77" fmla="*/ 185737 w 2963138"/>
              <a:gd name="connsiteY77" fmla="*/ 9525 h 2313680"/>
              <a:gd name="connsiteX78" fmla="*/ 19050 w 2963138"/>
              <a:gd name="connsiteY78" fmla="*/ 14287 h 2313680"/>
              <a:gd name="connsiteX79" fmla="*/ 4762 w 2963138"/>
              <a:gd name="connsiteY79" fmla="*/ 19050 h 2313680"/>
              <a:gd name="connsiteX80" fmla="*/ 9525 w 2963138"/>
              <a:gd name="connsiteY80" fmla="*/ 85725 h 2313680"/>
              <a:gd name="connsiteX81" fmla="*/ 23812 w 2963138"/>
              <a:gd name="connsiteY81" fmla="*/ 171450 h 2313680"/>
              <a:gd name="connsiteX82" fmla="*/ 14287 w 2963138"/>
              <a:gd name="connsiteY82" fmla="*/ 390525 h 2313680"/>
              <a:gd name="connsiteX83" fmla="*/ 0 w 2963138"/>
              <a:gd name="connsiteY83" fmla="*/ 466725 h 2313680"/>
              <a:gd name="connsiteX84" fmla="*/ 9525 w 2963138"/>
              <a:gd name="connsiteY84" fmla="*/ 800100 h 2313680"/>
              <a:gd name="connsiteX85" fmla="*/ 9525 w 2963138"/>
              <a:gd name="connsiteY85" fmla="*/ 871537 h 2313680"/>
              <a:gd name="connsiteX86" fmla="*/ 14287 w 2963138"/>
              <a:gd name="connsiteY86" fmla="*/ 1157287 h 2313680"/>
              <a:gd name="connsiteX87" fmla="*/ 19050 w 2963138"/>
              <a:gd name="connsiteY87" fmla="*/ 1204912 h 2313680"/>
              <a:gd name="connsiteX88" fmla="*/ 28575 w 2963138"/>
              <a:gd name="connsiteY88" fmla="*/ 1243012 h 2313680"/>
              <a:gd name="connsiteX89" fmla="*/ 33337 w 2963138"/>
              <a:gd name="connsiteY89" fmla="*/ 1328737 h 2313680"/>
              <a:gd name="connsiteX90" fmla="*/ 23812 w 2963138"/>
              <a:gd name="connsiteY90" fmla="*/ 1476375 h 2313680"/>
              <a:gd name="connsiteX91" fmla="*/ 14287 w 2963138"/>
              <a:gd name="connsiteY91" fmla="*/ 1562100 h 2313680"/>
              <a:gd name="connsiteX92" fmla="*/ 9525 w 2963138"/>
              <a:gd name="connsiteY92" fmla="*/ 1819275 h 2313680"/>
              <a:gd name="connsiteX93" fmla="*/ 14287 w 2963138"/>
              <a:gd name="connsiteY93" fmla="*/ 2014537 h 2313680"/>
              <a:gd name="connsiteX94" fmla="*/ 23812 w 2963138"/>
              <a:gd name="connsiteY94" fmla="*/ 2066925 h 2313680"/>
              <a:gd name="connsiteX95" fmla="*/ 28575 w 2963138"/>
              <a:gd name="connsiteY95" fmla="*/ 2152650 h 2313680"/>
              <a:gd name="connsiteX96" fmla="*/ 23812 w 2963138"/>
              <a:gd name="connsiteY96" fmla="*/ 2238375 h 2313680"/>
              <a:gd name="connsiteX97" fmla="*/ 14287 w 2963138"/>
              <a:gd name="connsiteY97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55925 w 2963138"/>
              <a:gd name="connsiteY58" fmla="*/ 2008187 h 2313680"/>
              <a:gd name="connsiteX59" fmla="*/ 2962275 w 2963138"/>
              <a:gd name="connsiteY59" fmla="*/ 1804987 h 2313680"/>
              <a:gd name="connsiteX60" fmla="*/ 2952750 w 2963138"/>
              <a:gd name="connsiteY60" fmla="*/ 1366837 h 2313680"/>
              <a:gd name="connsiteX61" fmla="*/ 2947987 w 2963138"/>
              <a:gd name="connsiteY61" fmla="*/ 1081087 h 2313680"/>
              <a:gd name="connsiteX62" fmla="*/ 2947987 w 2963138"/>
              <a:gd name="connsiteY62" fmla="*/ 922337 h 2313680"/>
              <a:gd name="connsiteX63" fmla="*/ 2952750 w 2963138"/>
              <a:gd name="connsiteY63" fmla="*/ 571500 h 2313680"/>
              <a:gd name="connsiteX64" fmla="*/ 2957512 w 2963138"/>
              <a:gd name="connsiteY64" fmla="*/ 342900 h 2313680"/>
              <a:gd name="connsiteX65" fmla="*/ 2957512 w 2963138"/>
              <a:gd name="connsiteY65" fmla="*/ 34925 h 2313680"/>
              <a:gd name="connsiteX66" fmla="*/ 2867025 w 2963138"/>
              <a:gd name="connsiteY66" fmla="*/ 19050 h 2313680"/>
              <a:gd name="connsiteX67" fmla="*/ 2724150 w 2963138"/>
              <a:gd name="connsiteY67" fmla="*/ 9525 h 2313680"/>
              <a:gd name="connsiteX68" fmla="*/ 2381250 w 2963138"/>
              <a:gd name="connsiteY68" fmla="*/ 14287 h 2313680"/>
              <a:gd name="connsiteX69" fmla="*/ 2324100 w 2963138"/>
              <a:gd name="connsiteY69" fmla="*/ 23812 h 2313680"/>
              <a:gd name="connsiteX70" fmla="*/ 1909762 w 2963138"/>
              <a:gd name="connsiteY70" fmla="*/ 19050 h 2313680"/>
              <a:gd name="connsiteX71" fmla="*/ 1804987 w 2963138"/>
              <a:gd name="connsiteY71" fmla="*/ 9525 h 2313680"/>
              <a:gd name="connsiteX72" fmla="*/ 1776412 w 2963138"/>
              <a:gd name="connsiteY72" fmla="*/ 0 h 2313680"/>
              <a:gd name="connsiteX73" fmla="*/ 1528762 w 2963138"/>
              <a:gd name="connsiteY73" fmla="*/ 4762 h 2313680"/>
              <a:gd name="connsiteX74" fmla="*/ 1143000 w 2963138"/>
              <a:gd name="connsiteY74" fmla="*/ 38100 h 2313680"/>
              <a:gd name="connsiteX75" fmla="*/ 309562 w 2963138"/>
              <a:gd name="connsiteY75" fmla="*/ 23812 h 2313680"/>
              <a:gd name="connsiteX76" fmla="*/ 247650 w 2963138"/>
              <a:gd name="connsiteY76" fmla="*/ 14287 h 2313680"/>
              <a:gd name="connsiteX77" fmla="*/ 185737 w 2963138"/>
              <a:gd name="connsiteY77" fmla="*/ 9525 h 2313680"/>
              <a:gd name="connsiteX78" fmla="*/ 19050 w 2963138"/>
              <a:gd name="connsiteY78" fmla="*/ 14287 h 2313680"/>
              <a:gd name="connsiteX79" fmla="*/ 4762 w 2963138"/>
              <a:gd name="connsiteY79" fmla="*/ 19050 h 2313680"/>
              <a:gd name="connsiteX80" fmla="*/ 9525 w 2963138"/>
              <a:gd name="connsiteY80" fmla="*/ 85725 h 2313680"/>
              <a:gd name="connsiteX81" fmla="*/ 23812 w 2963138"/>
              <a:gd name="connsiteY81" fmla="*/ 171450 h 2313680"/>
              <a:gd name="connsiteX82" fmla="*/ 14287 w 2963138"/>
              <a:gd name="connsiteY82" fmla="*/ 390525 h 2313680"/>
              <a:gd name="connsiteX83" fmla="*/ 0 w 2963138"/>
              <a:gd name="connsiteY83" fmla="*/ 466725 h 2313680"/>
              <a:gd name="connsiteX84" fmla="*/ 9525 w 2963138"/>
              <a:gd name="connsiteY84" fmla="*/ 800100 h 2313680"/>
              <a:gd name="connsiteX85" fmla="*/ 9525 w 2963138"/>
              <a:gd name="connsiteY85" fmla="*/ 871537 h 2313680"/>
              <a:gd name="connsiteX86" fmla="*/ 14287 w 2963138"/>
              <a:gd name="connsiteY86" fmla="*/ 1157287 h 2313680"/>
              <a:gd name="connsiteX87" fmla="*/ 19050 w 2963138"/>
              <a:gd name="connsiteY87" fmla="*/ 1204912 h 2313680"/>
              <a:gd name="connsiteX88" fmla="*/ 28575 w 2963138"/>
              <a:gd name="connsiteY88" fmla="*/ 1243012 h 2313680"/>
              <a:gd name="connsiteX89" fmla="*/ 33337 w 2963138"/>
              <a:gd name="connsiteY89" fmla="*/ 1328737 h 2313680"/>
              <a:gd name="connsiteX90" fmla="*/ 23812 w 2963138"/>
              <a:gd name="connsiteY90" fmla="*/ 1476375 h 2313680"/>
              <a:gd name="connsiteX91" fmla="*/ 14287 w 2963138"/>
              <a:gd name="connsiteY91" fmla="*/ 1562100 h 2313680"/>
              <a:gd name="connsiteX92" fmla="*/ 9525 w 2963138"/>
              <a:gd name="connsiteY92" fmla="*/ 1819275 h 2313680"/>
              <a:gd name="connsiteX93" fmla="*/ 14287 w 2963138"/>
              <a:gd name="connsiteY93" fmla="*/ 2014537 h 2313680"/>
              <a:gd name="connsiteX94" fmla="*/ 23812 w 2963138"/>
              <a:gd name="connsiteY94" fmla="*/ 2066925 h 2313680"/>
              <a:gd name="connsiteX95" fmla="*/ 28575 w 2963138"/>
              <a:gd name="connsiteY95" fmla="*/ 2152650 h 2313680"/>
              <a:gd name="connsiteX96" fmla="*/ 23812 w 2963138"/>
              <a:gd name="connsiteY96" fmla="*/ 2238375 h 2313680"/>
              <a:gd name="connsiteX97" fmla="*/ 14287 w 2963138"/>
              <a:gd name="connsiteY97" fmla="*/ 2300287 h 2313680"/>
              <a:gd name="connsiteX0" fmla="*/ 14287 w 2962317"/>
              <a:gd name="connsiteY0" fmla="*/ 2300287 h 2315988"/>
              <a:gd name="connsiteX1" fmla="*/ 61912 w 2962317"/>
              <a:gd name="connsiteY1" fmla="*/ 2295525 h 2315988"/>
              <a:gd name="connsiteX2" fmla="*/ 95250 w 2962317"/>
              <a:gd name="connsiteY2" fmla="*/ 2286000 h 2315988"/>
              <a:gd name="connsiteX3" fmla="*/ 366712 w 2962317"/>
              <a:gd name="connsiteY3" fmla="*/ 2271712 h 2315988"/>
              <a:gd name="connsiteX4" fmla="*/ 361950 w 2962317"/>
              <a:gd name="connsiteY4" fmla="*/ 2214562 h 2315988"/>
              <a:gd name="connsiteX5" fmla="*/ 381000 w 2962317"/>
              <a:gd name="connsiteY5" fmla="*/ 1985962 h 2315988"/>
              <a:gd name="connsiteX6" fmla="*/ 376237 w 2962317"/>
              <a:gd name="connsiteY6" fmla="*/ 1671637 h 2315988"/>
              <a:gd name="connsiteX7" fmla="*/ 371475 w 2962317"/>
              <a:gd name="connsiteY7" fmla="*/ 1643062 h 2315988"/>
              <a:gd name="connsiteX8" fmla="*/ 366712 w 2962317"/>
              <a:gd name="connsiteY8" fmla="*/ 1585912 h 2315988"/>
              <a:gd name="connsiteX9" fmla="*/ 376237 w 2962317"/>
              <a:gd name="connsiteY9" fmla="*/ 1123950 h 2315988"/>
              <a:gd name="connsiteX10" fmla="*/ 381000 w 2962317"/>
              <a:gd name="connsiteY10" fmla="*/ 1095375 h 2315988"/>
              <a:gd name="connsiteX11" fmla="*/ 385762 w 2962317"/>
              <a:gd name="connsiteY11" fmla="*/ 1062037 h 2315988"/>
              <a:gd name="connsiteX12" fmla="*/ 381000 w 2962317"/>
              <a:gd name="connsiteY12" fmla="*/ 561975 h 2315988"/>
              <a:gd name="connsiteX13" fmla="*/ 376237 w 2962317"/>
              <a:gd name="connsiteY13" fmla="*/ 519112 h 2315988"/>
              <a:gd name="connsiteX14" fmla="*/ 371475 w 2962317"/>
              <a:gd name="connsiteY14" fmla="*/ 471487 h 2315988"/>
              <a:gd name="connsiteX15" fmla="*/ 376237 w 2962317"/>
              <a:gd name="connsiteY15" fmla="*/ 414337 h 2315988"/>
              <a:gd name="connsiteX16" fmla="*/ 433387 w 2962317"/>
              <a:gd name="connsiteY16" fmla="*/ 419100 h 2315988"/>
              <a:gd name="connsiteX17" fmla="*/ 523875 w 2962317"/>
              <a:gd name="connsiteY17" fmla="*/ 414337 h 2315988"/>
              <a:gd name="connsiteX18" fmla="*/ 881062 w 2962317"/>
              <a:gd name="connsiteY18" fmla="*/ 414337 h 2315988"/>
              <a:gd name="connsiteX19" fmla="*/ 914400 w 2962317"/>
              <a:gd name="connsiteY19" fmla="*/ 423862 h 2315988"/>
              <a:gd name="connsiteX20" fmla="*/ 962025 w 2962317"/>
              <a:gd name="connsiteY20" fmla="*/ 428625 h 2315988"/>
              <a:gd name="connsiteX21" fmla="*/ 985837 w 2962317"/>
              <a:gd name="connsiteY21" fmla="*/ 433387 h 2315988"/>
              <a:gd name="connsiteX22" fmla="*/ 1147762 w 2962317"/>
              <a:gd name="connsiteY22" fmla="*/ 423862 h 2315988"/>
              <a:gd name="connsiteX23" fmla="*/ 1166812 w 2962317"/>
              <a:gd name="connsiteY23" fmla="*/ 419100 h 2315988"/>
              <a:gd name="connsiteX24" fmla="*/ 1209675 w 2962317"/>
              <a:gd name="connsiteY24" fmla="*/ 414337 h 2315988"/>
              <a:gd name="connsiteX25" fmla="*/ 1238250 w 2962317"/>
              <a:gd name="connsiteY25" fmla="*/ 409575 h 2315988"/>
              <a:gd name="connsiteX26" fmla="*/ 2433637 w 2962317"/>
              <a:gd name="connsiteY26" fmla="*/ 404812 h 2315988"/>
              <a:gd name="connsiteX27" fmla="*/ 2571750 w 2962317"/>
              <a:gd name="connsiteY27" fmla="*/ 404812 h 2315988"/>
              <a:gd name="connsiteX28" fmla="*/ 2609850 w 2962317"/>
              <a:gd name="connsiteY28" fmla="*/ 423862 h 2315988"/>
              <a:gd name="connsiteX29" fmla="*/ 2619375 w 2962317"/>
              <a:gd name="connsiteY29" fmla="*/ 457200 h 2315988"/>
              <a:gd name="connsiteX30" fmla="*/ 2609850 w 2962317"/>
              <a:gd name="connsiteY30" fmla="*/ 614362 h 2315988"/>
              <a:gd name="connsiteX31" fmla="*/ 2600325 w 2962317"/>
              <a:gd name="connsiteY31" fmla="*/ 652462 h 2315988"/>
              <a:gd name="connsiteX32" fmla="*/ 2595562 w 2962317"/>
              <a:gd name="connsiteY32" fmla="*/ 676275 h 2315988"/>
              <a:gd name="connsiteX33" fmla="*/ 2586037 w 2962317"/>
              <a:gd name="connsiteY33" fmla="*/ 714375 h 2315988"/>
              <a:gd name="connsiteX34" fmla="*/ 2586037 w 2962317"/>
              <a:gd name="connsiteY34" fmla="*/ 1071562 h 2315988"/>
              <a:gd name="connsiteX35" fmla="*/ 2590800 w 2962317"/>
              <a:gd name="connsiteY35" fmla="*/ 1104900 h 2315988"/>
              <a:gd name="connsiteX36" fmla="*/ 2600325 w 2962317"/>
              <a:gd name="connsiteY36" fmla="*/ 1176337 h 2315988"/>
              <a:gd name="connsiteX37" fmla="*/ 2605087 w 2962317"/>
              <a:gd name="connsiteY37" fmla="*/ 1209675 h 2315988"/>
              <a:gd name="connsiteX38" fmla="*/ 2624137 w 2962317"/>
              <a:gd name="connsiteY38" fmla="*/ 1314450 h 2315988"/>
              <a:gd name="connsiteX39" fmla="*/ 2619375 w 2962317"/>
              <a:gd name="connsiteY39" fmla="*/ 1371600 h 2315988"/>
              <a:gd name="connsiteX40" fmla="*/ 2614612 w 2962317"/>
              <a:gd name="connsiteY40" fmla="*/ 1443037 h 2315988"/>
              <a:gd name="connsiteX41" fmla="*/ 2600325 w 2962317"/>
              <a:gd name="connsiteY41" fmla="*/ 1485900 h 2315988"/>
              <a:gd name="connsiteX42" fmla="*/ 2595562 w 2962317"/>
              <a:gd name="connsiteY42" fmla="*/ 1514475 h 2315988"/>
              <a:gd name="connsiteX43" fmla="*/ 2581275 w 2962317"/>
              <a:gd name="connsiteY43" fmla="*/ 1652587 h 2315988"/>
              <a:gd name="connsiteX44" fmla="*/ 2586037 w 2962317"/>
              <a:gd name="connsiteY44" fmla="*/ 1933575 h 2315988"/>
              <a:gd name="connsiteX45" fmla="*/ 2590800 w 2962317"/>
              <a:gd name="connsiteY45" fmla="*/ 1966912 h 2315988"/>
              <a:gd name="connsiteX46" fmla="*/ 2605087 w 2962317"/>
              <a:gd name="connsiteY46" fmla="*/ 2005012 h 2315988"/>
              <a:gd name="connsiteX47" fmla="*/ 2614612 w 2962317"/>
              <a:gd name="connsiteY47" fmla="*/ 2066925 h 2315988"/>
              <a:gd name="connsiteX48" fmla="*/ 2628900 w 2962317"/>
              <a:gd name="connsiteY48" fmla="*/ 2152650 h 2315988"/>
              <a:gd name="connsiteX49" fmla="*/ 2643187 w 2962317"/>
              <a:gd name="connsiteY49" fmla="*/ 2171700 h 2315988"/>
              <a:gd name="connsiteX50" fmla="*/ 2638425 w 2962317"/>
              <a:gd name="connsiteY50" fmla="*/ 2276475 h 2315988"/>
              <a:gd name="connsiteX51" fmla="*/ 2643187 w 2962317"/>
              <a:gd name="connsiteY51" fmla="*/ 2295525 h 2315988"/>
              <a:gd name="connsiteX52" fmla="*/ 2662237 w 2962317"/>
              <a:gd name="connsiteY52" fmla="*/ 2300287 h 2315988"/>
              <a:gd name="connsiteX53" fmla="*/ 2843212 w 2962317"/>
              <a:gd name="connsiteY53" fmla="*/ 2305050 h 2315988"/>
              <a:gd name="connsiteX54" fmla="*/ 2905125 w 2962317"/>
              <a:gd name="connsiteY54" fmla="*/ 2309812 h 2315988"/>
              <a:gd name="connsiteX55" fmla="*/ 2957512 w 2962317"/>
              <a:gd name="connsiteY55" fmla="*/ 2305050 h 2315988"/>
              <a:gd name="connsiteX56" fmla="*/ 2947987 w 2962317"/>
              <a:gd name="connsiteY56" fmla="*/ 2181225 h 2315988"/>
              <a:gd name="connsiteX57" fmla="*/ 2955925 w 2962317"/>
              <a:gd name="connsiteY57" fmla="*/ 2008187 h 2315988"/>
              <a:gd name="connsiteX58" fmla="*/ 2962275 w 2962317"/>
              <a:gd name="connsiteY58" fmla="*/ 1804987 h 2315988"/>
              <a:gd name="connsiteX59" fmla="*/ 2952750 w 2962317"/>
              <a:gd name="connsiteY59" fmla="*/ 1366837 h 2315988"/>
              <a:gd name="connsiteX60" fmla="*/ 2947987 w 2962317"/>
              <a:gd name="connsiteY60" fmla="*/ 1081087 h 2315988"/>
              <a:gd name="connsiteX61" fmla="*/ 2947987 w 2962317"/>
              <a:gd name="connsiteY61" fmla="*/ 922337 h 2315988"/>
              <a:gd name="connsiteX62" fmla="*/ 2952750 w 2962317"/>
              <a:gd name="connsiteY62" fmla="*/ 571500 h 2315988"/>
              <a:gd name="connsiteX63" fmla="*/ 2957512 w 2962317"/>
              <a:gd name="connsiteY63" fmla="*/ 342900 h 2315988"/>
              <a:gd name="connsiteX64" fmla="*/ 2957512 w 2962317"/>
              <a:gd name="connsiteY64" fmla="*/ 34925 h 2315988"/>
              <a:gd name="connsiteX65" fmla="*/ 2867025 w 2962317"/>
              <a:gd name="connsiteY65" fmla="*/ 19050 h 2315988"/>
              <a:gd name="connsiteX66" fmla="*/ 2724150 w 2962317"/>
              <a:gd name="connsiteY66" fmla="*/ 9525 h 2315988"/>
              <a:gd name="connsiteX67" fmla="*/ 2381250 w 2962317"/>
              <a:gd name="connsiteY67" fmla="*/ 14287 h 2315988"/>
              <a:gd name="connsiteX68" fmla="*/ 2324100 w 2962317"/>
              <a:gd name="connsiteY68" fmla="*/ 23812 h 2315988"/>
              <a:gd name="connsiteX69" fmla="*/ 1909762 w 2962317"/>
              <a:gd name="connsiteY69" fmla="*/ 19050 h 2315988"/>
              <a:gd name="connsiteX70" fmla="*/ 1804987 w 2962317"/>
              <a:gd name="connsiteY70" fmla="*/ 9525 h 2315988"/>
              <a:gd name="connsiteX71" fmla="*/ 1776412 w 2962317"/>
              <a:gd name="connsiteY71" fmla="*/ 0 h 2315988"/>
              <a:gd name="connsiteX72" fmla="*/ 1528762 w 2962317"/>
              <a:gd name="connsiteY72" fmla="*/ 4762 h 2315988"/>
              <a:gd name="connsiteX73" fmla="*/ 1143000 w 2962317"/>
              <a:gd name="connsiteY73" fmla="*/ 38100 h 2315988"/>
              <a:gd name="connsiteX74" fmla="*/ 309562 w 2962317"/>
              <a:gd name="connsiteY74" fmla="*/ 23812 h 2315988"/>
              <a:gd name="connsiteX75" fmla="*/ 247650 w 2962317"/>
              <a:gd name="connsiteY75" fmla="*/ 14287 h 2315988"/>
              <a:gd name="connsiteX76" fmla="*/ 185737 w 2962317"/>
              <a:gd name="connsiteY76" fmla="*/ 9525 h 2315988"/>
              <a:gd name="connsiteX77" fmla="*/ 19050 w 2962317"/>
              <a:gd name="connsiteY77" fmla="*/ 14287 h 2315988"/>
              <a:gd name="connsiteX78" fmla="*/ 4762 w 2962317"/>
              <a:gd name="connsiteY78" fmla="*/ 19050 h 2315988"/>
              <a:gd name="connsiteX79" fmla="*/ 9525 w 2962317"/>
              <a:gd name="connsiteY79" fmla="*/ 85725 h 2315988"/>
              <a:gd name="connsiteX80" fmla="*/ 23812 w 2962317"/>
              <a:gd name="connsiteY80" fmla="*/ 171450 h 2315988"/>
              <a:gd name="connsiteX81" fmla="*/ 14287 w 2962317"/>
              <a:gd name="connsiteY81" fmla="*/ 390525 h 2315988"/>
              <a:gd name="connsiteX82" fmla="*/ 0 w 2962317"/>
              <a:gd name="connsiteY82" fmla="*/ 466725 h 2315988"/>
              <a:gd name="connsiteX83" fmla="*/ 9525 w 2962317"/>
              <a:gd name="connsiteY83" fmla="*/ 800100 h 2315988"/>
              <a:gd name="connsiteX84" fmla="*/ 9525 w 2962317"/>
              <a:gd name="connsiteY84" fmla="*/ 871537 h 2315988"/>
              <a:gd name="connsiteX85" fmla="*/ 14287 w 2962317"/>
              <a:gd name="connsiteY85" fmla="*/ 1157287 h 2315988"/>
              <a:gd name="connsiteX86" fmla="*/ 19050 w 2962317"/>
              <a:gd name="connsiteY86" fmla="*/ 1204912 h 2315988"/>
              <a:gd name="connsiteX87" fmla="*/ 28575 w 2962317"/>
              <a:gd name="connsiteY87" fmla="*/ 1243012 h 2315988"/>
              <a:gd name="connsiteX88" fmla="*/ 33337 w 2962317"/>
              <a:gd name="connsiteY88" fmla="*/ 1328737 h 2315988"/>
              <a:gd name="connsiteX89" fmla="*/ 23812 w 2962317"/>
              <a:gd name="connsiteY89" fmla="*/ 1476375 h 2315988"/>
              <a:gd name="connsiteX90" fmla="*/ 14287 w 2962317"/>
              <a:gd name="connsiteY90" fmla="*/ 1562100 h 2315988"/>
              <a:gd name="connsiteX91" fmla="*/ 9525 w 2962317"/>
              <a:gd name="connsiteY91" fmla="*/ 1819275 h 2315988"/>
              <a:gd name="connsiteX92" fmla="*/ 14287 w 2962317"/>
              <a:gd name="connsiteY92" fmla="*/ 2014537 h 2315988"/>
              <a:gd name="connsiteX93" fmla="*/ 23812 w 2962317"/>
              <a:gd name="connsiteY93" fmla="*/ 2066925 h 2315988"/>
              <a:gd name="connsiteX94" fmla="*/ 28575 w 2962317"/>
              <a:gd name="connsiteY94" fmla="*/ 2152650 h 2315988"/>
              <a:gd name="connsiteX95" fmla="*/ 23812 w 2962317"/>
              <a:gd name="connsiteY95" fmla="*/ 2238375 h 2315988"/>
              <a:gd name="connsiteX96" fmla="*/ 14287 w 2962317"/>
              <a:gd name="connsiteY96" fmla="*/ 2300287 h 2315988"/>
              <a:gd name="connsiteX0" fmla="*/ 14287 w 2962317"/>
              <a:gd name="connsiteY0" fmla="*/ 2300287 h 2316213"/>
              <a:gd name="connsiteX1" fmla="*/ 61912 w 2962317"/>
              <a:gd name="connsiteY1" fmla="*/ 2295525 h 2316213"/>
              <a:gd name="connsiteX2" fmla="*/ 95250 w 2962317"/>
              <a:gd name="connsiteY2" fmla="*/ 2286000 h 2316213"/>
              <a:gd name="connsiteX3" fmla="*/ 366712 w 2962317"/>
              <a:gd name="connsiteY3" fmla="*/ 2271712 h 2316213"/>
              <a:gd name="connsiteX4" fmla="*/ 361950 w 2962317"/>
              <a:gd name="connsiteY4" fmla="*/ 2214562 h 2316213"/>
              <a:gd name="connsiteX5" fmla="*/ 381000 w 2962317"/>
              <a:gd name="connsiteY5" fmla="*/ 1985962 h 2316213"/>
              <a:gd name="connsiteX6" fmla="*/ 376237 w 2962317"/>
              <a:gd name="connsiteY6" fmla="*/ 1671637 h 2316213"/>
              <a:gd name="connsiteX7" fmla="*/ 371475 w 2962317"/>
              <a:gd name="connsiteY7" fmla="*/ 1643062 h 2316213"/>
              <a:gd name="connsiteX8" fmla="*/ 366712 w 2962317"/>
              <a:gd name="connsiteY8" fmla="*/ 1585912 h 2316213"/>
              <a:gd name="connsiteX9" fmla="*/ 376237 w 2962317"/>
              <a:gd name="connsiteY9" fmla="*/ 1123950 h 2316213"/>
              <a:gd name="connsiteX10" fmla="*/ 381000 w 2962317"/>
              <a:gd name="connsiteY10" fmla="*/ 1095375 h 2316213"/>
              <a:gd name="connsiteX11" fmla="*/ 385762 w 2962317"/>
              <a:gd name="connsiteY11" fmla="*/ 1062037 h 2316213"/>
              <a:gd name="connsiteX12" fmla="*/ 381000 w 2962317"/>
              <a:gd name="connsiteY12" fmla="*/ 561975 h 2316213"/>
              <a:gd name="connsiteX13" fmla="*/ 376237 w 2962317"/>
              <a:gd name="connsiteY13" fmla="*/ 519112 h 2316213"/>
              <a:gd name="connsiteX14" fmla="*/ 371475 w 2962317"/>
              <a:gd name="connsiteY14" fmla="*/ 471487 h 2316213"/>
              <a:gd name="connsiteX15" fmla="*/ 376237 w 2962317"/>
              <a:gd name="connsiteY15" fmla="*/ 414337 h 2316213"/>
              <a:gd name="connsiteX16" fmla="*/ 433387 w 2962317"/>
              <a:gd name="connsiteY16" fmla="*/ 419100 h 2316213"/>
              <a:gd name="connsiteX17" fmla="*/ 523875 w 2962317"/>
              <a:gd name="connsiteY17" fmla="*/ 414337 h 2316213"/>
              <a:gd name="connsiteX18" fmla="*/ 881062 w 2962317"/>
              <a:gd name="connsiteY18" fmla="*/ 414337 h 2316213"/>
              <a:gd name="connsiteX19" fmla="*/ 914400 w 2962317"/>
              <a:gd name="connsiteY19" fmla="*/ 423862 h 2316213"/>
              <a:gd name="connsiteX20" fmla="*/ 962025 w 2962317"/>
              <a:gd name="connsiteY20" fmla="*/ 428625 h 2316213"/>
              <a:gd name="connsiteX21" fmla="*/ 985837 w 2962317"/>
              <a:gd name="connsiteY21" fmla="*/ 433387 h 2316213"/>
              <a:gd name="connsiteX22" fmla="*/ 1147762 w 2962317"/>
              <a:gd name="connsiteY22" fmla="*/ 423862 h 2316213"/>
              <a:gd name="connsiteX23" fmla="*/ 1166812 w 2962317"/>
              <a:gd name="connsiteY23" fmla="*/ 419100 h 2316213"/>
              <a:gd name="connsiteX24" fmla="*/ 1209675 w 2962317"/>
              <a:gd name="connsiteY24" fmla="*/ 414337 h 2316213"/>
              <a:gd name="connsiteX25" fmla="*/ 1238250 w 2962317"/>
              <a:gd name="connsiteY25" fmla="*/ 409575 h 2316213"/>
              <a:gd name="connsiteX26" fmla="*/ 2433637 w 2962317"/>
              <a:gd name="connsiteY26" fmla="*/ 404812 h 2316213"/>
              <a:gd name="connsiteX27" fmla="*/ 2571750 w 2962317"/>
              <a:gd name="connsiteY27" fmla="*/ 404812 h 2316213"/>
              <a:gd name="connsiteX28" fmla="*/ 2609850 w 2962317"/>
              <a:gd name="connsiteY28" fmla="*/ 423862 h 2316213"/>
              <a:gd name="connsiteX29" fmla="*/ 2619375 w 2962317"/>
              <a:gd name="connsiteY29" fmla="*/ 457200 h 2316213"/>
              <a:gd name="connsiteX30" fmla="*/ 2609850 w 2962317"/>
              <a:gd name="connsiteY30" fmla="*/ 614362 h 2316213"/>
              <a:gd name="connsiteX31" fmla="*/ 2600325 w 2962317"/>
              <a:gd name="connsiteY31" fmla="*/ 652462 h 2316213"/>
              <a:gd name="connsiteX32" fmla="*/ 2595562 w 2962317"/>
              <a:gd name="connsiteY32" fmla="*/ 676275 h 2316213"/>
              <a:gd name="connsiteX33" fmla="*/ 2586037 w 2962317"/>
              <a:gd name="connsiteY33" fmla="*/ 714375 h 2316213"/>
              <a:gd name="connsiteX34" fmla="*/ 2586037 w 2962317"/>
              <a:gd name="connsiteY34" fmla="*/ 1071562 h 2316213"/>
              <a:gd name="connsiteX35" fmla="*/ 2590800 w 2962317"/>
              <a:gd name="connsiteY35" fmla="*/ 1104900 h 2316213"/>
              <a:gd name="connsiteX36" fmla="*/ 2600325 w 2962317"/>
              <a:gd name="connsiteY36" fmla="*/ 1176337 h 2316213"/>
              <a:gd name="connsiteX37" fmla="*/ 2605087 w 2962317"/>
              <a:gd name="connsiteY37" fmla="*/ 1209675 h 2316213"/>
              <a:gd name="connsiteX38" fmla="*/ 2624137 w 2962317"/>
              <a:gd name="connsiteY38" fmla="*/ 1314450 h 2316213"/>
              <a:gd name="connsiteX39" fmla="*/ 2619375 w 2962317"/>
              <a:gd name="connsiteY39" fmla="*/ 1371600 h 2316213"/>
              <a:gd name="connsiteX40" fmla="*/ 2614612 w 2962317"/>
              <a:gd name="connsiteY40" fmla="*/ 1443037 h 2316213"/>
              <a:gd name="connsiteX41" fmla="*/ 2600325 w 2962317"/>
              <a:gd name="connsiteY41" fmla="*/ 1485900 h 2316213"/>
              <a:gd name="connsiteX42" fmla="*/ 2595562 w 2962317"/>
              <a:gd name="connsiteY42" fmla="*/ 1514475 h 2316213"/>
              <a:gd name="connsiteX43" fmla="*/ 2581275 w 2962317"/>
              <a:gd name="connsiteY43" fmla="*/ 1652587 h 2316213"/>
              <a:gd name="connsiteX44" fmla="*/ 2586037 w 2962317"/>
              <a:gd name="connsiteY44" fmla="*/ 1933575 h 2316213"/>
              <a:gd name="connsiteX45" fmla="*/ 2590800 w 2962317"/>
              <a:gd name="connsiteY45" fmla="*/ 1966912 h 2316213"/>
              <a:gd name="connsiteX46" fmla="*/ 2605087 w 2962317"/>
              <a:gd name="connsiteY46" fmla="*/ 2005012 h 2316213"/>
              <a:gd name="connsiteX47" fmla="*/ 2614612 w 2962317"/>
              <a:gd name="connsiteY47" fmla="*/ 2066925 h 2316213"/>
              <a:gd name="connsiteX48" fmla="*/ 2628900 w 2962317"/>
              <a:gd name="connsiteY48" fmla="*/ 2152650 h 2316213"/>
              <a:gd name="connsiteX49" fmla="*/ 2643187 w 2962317"/>
              <a:gd name="connsiteY49" fmla="*/ 2171700 h 2316213"/>
              <a:gd name="connsiteX50" fmla="*/ 2638425 w 2962317"/>
              <a:gd name="connsiteY50" fmla="*/ 2276475 h 2316213"/>
              <a:gd name="connsiteX51" fmla="*/ 2643187 w 2962317"/>
              <a:gd name="connsiteY51" fmla="*/ 2295525 h 2316213"/>
              <a:gd name="connsiteX52" fmla="*/ 2662237 w 2962317"/>
              <a:gd name="connsiteY52" fmla="*/ 2300287 h 2316213"/>
              <a:gd name="connsiteX53" fmla="*/ 2905125 w 2962317"/>
              <a:gd name="connsiteY53" fmla="*/ 2309812 h 2316213"/>
              <a:gd name="connsiteX54" fmla="*/ 2957512 w 2962317"/>
              <a:gd name="connsiteY54" fmla="*/ 2305050 h 2316213"/>
              <a:gd name="connsiteX55" fmla="*/ 2947987 w 2962317"/>
              <a:gd name="connsiteY55" fmla="*/ 2181225 h 2316213"/>
              <a:gd name="connsiteX56" fmla="*/ 2955925 w 2962317"/>
              <a:gd name="connsiteY56" fmla="*/ 2008187 h 2316213"/>
              <a:gd name="connsiteX57" fmla="*/ 2962275 w 2962317"/>
              <a:gd name="connsiteY57" fmla="*/ 1804987 h 2316213"/>
              <a:gd name="connsiteX58" fmla="*/ 2952750 w 2962317"/>
              <a:gd name="connsiteY58" fmla="*/ 1366837 h 2316213"/>
              <a:gd name="connsiteX59" fmla="*/ 2947987 w 2962317"/>
              <a:gd name="connsiteY59" fmla="*/ 1081087 h 2316213"/>
              <a:gd name="connsiteX60" fmla="*/ 2947987 w 2962317"/>
              <a:gd name="connsiteY60" fmla="*/ 922337 h 2316213"/>
              <a:gd name="connsiteX61" fmla="*/ 2952750 w 2962317"/>
              <a:gd name="connsiteY61" fmla="*/ 571500 h 2316213"/>
              <a:gd name="connsiteX62" fmla="*/ 2957512 w 2962317"/>
              <a:gd name="connsiteY62" fmla="*/ 342900 h 2316213"/>
              <a:gd name="connsiteX63" fmla="*/ 2957512 w 2962317"/>
              <a:gd name="connsiteY63" fmla="*/ 34925 h 2316213"/>
              <a:gd name="connsiteX64" fmla="*/ 2867025 w 2962317"/>
              <a:gd name="connsiteY64" fmla="*/ 19050 h 2316213"/>
              <a:gd name="connsiteX65" fmla="*/ 2724150 w 2962317"/>
              <a:gd name="connsiteY65" fmla="*/ 9525 h 2316213"/>
              <a:gd name="connsiteX66" fmla="*/ 2381250 w 2962317"/>
              <a:gd name="connsiteY66" fmla="*/ 14287 h 2316213"/>
              <a:gd name="connsiteX67" fmla="*/ 2324100 w 2962317"/>
              <a:gd name="connsiteY67" fmla="*/ 23812 h 2316213"/>
              <a:gd name="connsiteX68" fmla="*/ 1909762 w 2962317"/>
              <a:gd name="connsiteY68" fmla="*/ 19050 h 2316213"/>
              <a:gd name="connsiteX69" fmla="*/ 1804987 w 2962317"/>
              <a:gd name="connsiteY69" fmla="*/ 9525 h 2316213"/>
              <a:gd name="connsiteX70" fmla="*/ 1776412 w 2962317"/>
              <a:gd name="connsiteY70" fmla="*/ 0 h 2316213"/>
              <a:gd name="connsiteX71" fmla="*/ 1528762 w 2962317"/>
              <a:gd name="connsiteY71" fmla="*/ 4762 h 2316213"/>
              <a:gd name="connsiteX72" fmla="*/ 1143000 w 2962317"/>
              <a:gd name="connsiteY72" fmla="*/ 38100 h 2316213"/>
              <a:gd name="connsiteX73" fmla="*/ 309562 w 2962317"/>
              <a:gd name="connsiteY73" fmla="*/ 23812 h 2316213"/>
              <a:gd name="connsiteX74" fmla="*/ 247650 w 2962317"/>
              <a:gd name="connsiteY74" fmla="*/ 14287 h 2316213"/>
              <a:gd name="connsiteX75" fmla="*/ 185737 w 2962317"/>
              <a:gd name="connsiteY75" fmla="*/ 9525 h 2316213"/>
              <a:gd name="connsiteX76" fmla="*/ 19050 w 2962317"/>
              <a:gd name="connsiteY76" fmla="*/ 14287 h 2316213"/>
              <a:gd name="connsiteX77" fmla="*/ 4762 w 2962317"/>
              <a:gd name="connsiteY77" fmla="*/ 19050 h 2316213"/>
              <a:gd name="connsiteX78" fmla="*/ 9525 w 2962317"/>
              <a:gd name="connsiteY78" fmla="*/ 85725 h 2316213"/>
              <a:gd name="connsiteX79" fmla="*/ 23812 w 2962317"/>
              <a:gd name="connsiteY79" fmla="*/ 171450 h 2316213"/>
              <a:gd name="connsiteX80" fmla="*/ 14287 w 2962317"/>
              <a:gd name="connsiteY80" fmla="*/ 390525 h 2316213"/>
              <a:gd name="connsiteX81" fmla="*/ 0 w 2962317"/>
              <a:gd name="connsiteY81" fmla="*/ 466725 h 2316213"/>
              <a:gd name="connsiteX82" fmla="*/ 9525 w 2962317"/>
              <a:gd name="connsiteY82" fmla="*/ 800100 h 2316213"/>
              <a:gd name="connsiteX83" fmla="*/ 9525 w 2962317"/>
              <a:gd name="connsiteY83" fmla="*/ 871537 h 2316213"/>
              <a:gd name="connsiteX84" fmla="*/ 14287 w 2962317"/>
              <a:gd name="connsiteY84" fmla="*/ 1157287 h 2316213"/>
              <a:gd name="connsiteX85" fmla="*/ 19050 w 2962317"/>
              <a:gd name="connsiteY85" fmla="*/ 1204912 h 2316213"/>
              <a:gd name="connsiteX86" fmla="*/ 28575 w 2962317"/>
              <a:gd name="connsiteY86" fmla="*/ 1243012 h 2316213"/>
              <a:gd name="connsiteX87" fmla="*/ 33337 w 2962317"/>
              <a:gd name="connsiteY87" fmla="*/ 1328737 h 2316213"/>
              <a:gd name="connsiteX88" fmla="*/ 23812 w 2962317"/>
              <a:gd name="connsiteY88" fmla="*/ 1476375 h 2316213"/>
              <a:gd name="connsiteX89" fmla="*/ 14287 w 2962317"/>
              <a:gd name="connsiteY89" fmla="*/ 1562100 h 2316213"/>
              <a:gd name="connsiteX90" fmla="*/ 9525 w 2962317"/>
              <a:gd name="connsiteY90" fmla="*/ 1819275 h 2316213"/>
              <a:gd name="connsiteX91" fmla="*/ 14287 w 2962317"/>
              <a:gd name="connsiteY91" fmla="*/ 2014537 h 2316213"/>
              <a:gd name="connsiteX92" fmla="*/ 23812 w 2962317"/>
              <a:gd name="connsiteY92" fmla="*/ 2066925 h 2316213"/>
              <a:gd name="connsiteX93" fmla="*/ 28575 w 2962317"/>
              <a:gd name="connsiteY93" fmla="*/ 2152650 h 2316213"/>
              <a:gd name="connsiteX94" fmla="*/ 23812 w 2962317"/>
              <a:gd name="connsiteY94" fmla="*/ 2238375 h 2316213"/>
              <a:gd name="connsiteX95" fmla="*/ 14287 w 2962317"/>
              <a:gd name="connsiteY95" fmla="*/ 2300287 h 2316213"/>
              <a:gd name="connsiteX0" fmla="*/ 14287 w 2962875"/>
              <a:gd name="connsiteY0" fmla="*/ 2300287 h 2313876"/>
              <a:gd name="connsiteX1" fmla="*/ 61912 w 2962875"/>
              <a:gd name="connsiteY1" fmla="*/ 2295525 h 2313876"/>
              <a:gd name="connsiteX2" fmla="*/ 95250 w 2962875"/>
              <a:gd name="connsiteY2" fmla="*/ 2286000 h 2313876"/>
              <a:gd name="connsiteX3" fmla="*/ 366712 w 2962875"/>
              <a:gd name="connsiteY3" fmla="*/ 2271712 h 2313876"/>
              <a:gd name="connsiteX4" fmla="*/ 361950 w 2962875"/>
              <a:gd name="connsiteY4" fmla="*/ 2214562 h 2313876"/>
              <a:gd name="connsiteX5" fmla="*/ 381000 w 2962875"/>
              <a:gd name="connsiteY5" fmla="*/ 1985962 h 2313876"/>
              <a:gd name="connsiteX6" fmla="*/ 376237 w 2962875"/>
              <a:gd name="connsiteY6" fmla="*/ 1671637 h 2313876"/>
              <a:gd name="connsiteX7" fmla="*/ 371475 w 2962875"/>
              <a:gd name="connsiteY7" fmla="*/ 1643062 h 2313876"/>
              <a:gd name="connsiteX8" fmla="*/ 366712 w 2962875"/>
              <a:gd name="connsiteY8" fmla="*/ 1585912 h 2313876"/>
              <a:gd name="connsiteX9" fmla="*/ 376237 w 2962875"/>
              <a:gd name="connsiteY9" fmla="*/ 1123950 h 2313876"/>
              <a:gd name="connsiteX10" fmla="*/ 381000 w 2962875"/>
              <a:gd name="connsiteY10" fmla="*/ 1095375 h 2313876"/>
              <a:gd name="connsiteX11" fmla="*/ 385762 w 2962875"/>
              <a:gd name="connsiteY11" fmla="*/ 1062037 h 2313876"/>
              <a:gd name="connsiteX12" fmla="*/ 381000 w 2962875"/>
              <a:gd name="connsiteY12" fmla="*/ 561975 h 2313876"/>
              <a:gd name="connsiteX13" fmla="*/ 376237 w 2962875"/>
              <a:gd name="connsiteY13" fmla="*/ 519112 h 2313876"/>
              <a:gd name="connsiteX14" fmla="*/ 371475 w 2962875"/>
              <a:gd name="connsiteY14" fmla="*/ 471487 h 2313876"/>
              <a:gd name="connsiteX15" fmla="*/ 376237 w 2962875"/>
              <a:gd name="connsiteY15" fmla="*/ 414337 h 2313876"/>
              <a:gd name="connsiteX16" fmla="*/ 433387 w 2962875"/>
              <a:gd name="connsiteY16" fmla="*/ 419100 h 2313876"/>
              <a:gd name="connsiteX17" fmla="*/ 523875 w 2962875"/>
              <a:gd name="connsiteY17" fmla="*/ 414337 h 2313876"/>
              <a:gd name="connsiteX18" fmla="*/ 881062 w 2962875"/>
              <a:gd name="connsiteY18" fmla="*/ 414337 h 2313876"/>
              <a:gd name="connsiteX19" fmla="*/ 914400 w 2962875"/>
              <a:gd name="connsiteY19" fmla="*/ 423862 h 2313876"/>
              <a:gd name="connsiteX20" fmla="*/ 962025 w 2962875"/>
              <a:gd name="connsiteY20" fmla="*/ 428625 h 2313876"/>
              <a:gd name="connsiteX21" fmla="*/ 985837 w 2962875"/>
              <a:gd name="connsiteY21" fmla="*/ 433387 h 2313876"/>
              <a:gd name="connsiteX22" fmla="*/ 1147762 w 2962875"/>
              <a:gd name="connsiteY22" fmla="*/ 423862 h 2313876"/>
              <a:gd name="connsiteX23" fmla="*/ 1166812 w 2962875"/>
              <a:gd name="connsiteY23" fmla="*/ 419100 h 2313876"/>
              <a:gd name="connsiteX24" fmla="*/ 1209675 w 2962875"/>
              <a:gd name="connsiteY24" fmla="*/ 414337 h 2313876"/>
              <a:gd name="connsiteX25" fmla="*/ 1238250 w 2962875"/>
              <a:gd name="connsiteY25" fmla="*/ 409575 h 2313876"/>
              <a:gd name="connsiteX26" fmla="*/ 2433637 w 2962875"/>
              <a:gd name="connsiteY26" fmla="*/ 404812 h 2313876"/>
              <a:gd name="connsiteX27" fmla="*/ 2571750 w 2962875"/>
              <a:gd name="connsiteY27" fmla="*/ 404812 h 2313876"/>
              <a:gd name="connsiteX28" fmla="*/ 2609850 w 2962875"/>
              <a:gd name="connsiteY28" fmla="*/ 423862 h 2313876"/>
              <a:gd name="connsiteX29" fmla="*/ 2619375 w 2962875"/>
              <a:gd name="connsiteY29" fmla="*/ 457200 h 2313876"/>
              <a:gd name="connsiteX30" fmla="*/ 2609850 w 2962875"/>
              <a:gd name="connsiteY30" fmla="*/ 614362 h 2313876"/>
              <a:gd name="connsiteX31" fmla="*/ 2600325 w 2962875"/>
              <a:gd name="connsiteY31" fmla="*/ 652462 h 2313876"/>
              <a:gd name="connsiteX32" fmla="*/ 2595562 w 2962875"/>
              <a:gd name="connsiteY32" fmla="*/ 676275 h 2313876"/>
              <a:gd name="connsiteX33" fmla="*/ 2586037 w 2962875"/>
              <a:gd name="connsiteY33" fmla="*/ 714375 h 2313876"/>
              <a:gd name="connsiteX34" fmla="*/ 2586037 w 2962875"/>
              <a:gd name="connsiteY34" fmla="*/ 1071562 h 2313876"/>
              <a:gd name="connsiteX35" fmla="*/ 2590800 w 2962875"/>
              <a:gd name="connsiteY35" fmla="*/ 1104900 h 2313876"/>
              <a:gd name="connsiteX36" fmla="*/ 2600325 w 2962875"/>
              <a:gd name="connsiteY36" fmla="*/ 1176337 h 2313876"/>
              <a:gd name="connsiteX37" fmla="*/ 2605087 w 2962875"/>
              <a:gd name="connsiteY37" fmla="*/ 1209675 h 2313876"/>
              <a:gd name="connsiteX38" fmla="*/ 2624137 w 2962875"/>
              <a:gd name="connsiteY38" fmla="*/ 1314450 h 2313876"/>
              <a:gd name="connsiteX39" fmla="*/ 2619375 w 2962875"/>
              <a:gd name="connsiteY39" fmla="*/ 1371600 h 2313876"/>
              <a:gd name="connsiteX40" fmla="*/ 2614612 w 2962875"/>
              <a:gd name="connsiteY40" fmla="*/ 1443037 h 2313876"/>
              <a:gd name="connsiteX41" fmla="*/ 2600325 w 2962875"/>
              <a:gd name="connsiteY41" fmla="*/ 1485900 h 2313876"/>
              <a:gd name="connsiteX42" fmla="*/ 2595562 w 2962875"/>
              <a:gd name="connsiteY42" fmla="*/ 1514475 h 2313876"/>
              <a:gd name="connsiteX43" fmla="*/ 2581275 w 2962875"/>
              <a:gd name="connsiteY43" fmla="*/ 1652587 h 2313876"/>
              <a:gd name="connsiteX44" fmla="*/ 2586037 w 2962875"/>
              <a:gd name="connsiteY44" fmla="*/ 1933575 h 2313876"/>
              <a:gd name="connsiteX45" fmla="*/ 2590800 w 2962875"/>
              <a:gd name="connsiteY45" fmla="*/ 1966912 h 2313876"/>
              <a:gd name="connsiteX46" fmla="*/ 2605087 w 2962875"/>
              <a:gd name="connsiteY46" fmla="*/ 2005012 h 2313876"/>
              <a:gd name="connsiteX47" fmla="*/ 2614612 w 2962875"/>
              <a:gd name="connsiteY47" fmla="*/ 2066925 h 2313876"/>
              <a:gd name="connsiteX48" fmla="*/ 2628900 w 2962875"/>
              <a:gd name="connsiteY48" fmla="*/ 2152650 h 2313876"/>
              <a:gd name="connsiteX49" fmla="*/ 2643187 w 2962875"/>
              <a:gd name="connsiteY49" fmla="*/ 2171700 h 2313876"/>
              <a:gd name="connsiteX50" fmla="*/ 2638425 w 2962875"/>
              <a:gd name="connsiteY50" fmla="*/ 2276475 h 2313876"/>
              <a:gd name="connsiteX51" fmla="*/ 2643187 w 2962875"/>
              <a:gd name="connsiteY51" fmla="*/ 2295525 h 2313876"/>
              <a:gd name="connsiteX52" fmla="*/ 2662237 w 2962875"/>
              <a:gd name="connsiteY52" fmla="*/ 2300287 h 2313876"/>
              <a:gd name="connsiteX53" fmla="*/ 2851150 w 2962875"/>
              <a:gd name="connsiteY53" fmla="*/ 2303462 h 2313876"/>
              <a:gd name="connsiteX54" fmla="*/ 2957512 w 2962875"/>
              <a:gd name="connsiteY54" fmla="*/ 2305050 h 2313876"/>
              <a:gd name="connsiteX55" fmla="*/ 2947987 w 2962875"/>
              <a:gd name="connsiteY55" fmla="*/ 2181225 h 2313876"/>
              <a:gd name="connsiteX56" fmla="*/ 2955925 w 2962875"/>
              <a:gd name="connsiteY56" fmla="*/ 2008187 h 2313876"/>
              <a:gd name="connsiteX57" fmla="*/ 2962275 w 2962875"/>
              <a:gd name="connsiteY57" fmla="*/ 1804987 h 2313876"/>
              <a:gd name="connsiteX58" fmla="*/ 2952750 w 2962875"/>
              <a:gd name="connsiteY58" fmla="*/ 1366837 h 2313876"/>
              <a:gd name="connsiteX59" fmla="*/ 2947987 w 2962875"/>
              <a:gd name="connsiteY59" fmla="*/ 1081087 h 2313876"/>
              <a:gd name="connsiteX60" fmla="*/ 2947987 w 2962875"/>
              <a:gd name="connsiteY60" fmla="*/ 922337 h 2313876"/>
              <a:gd name="connsiteX61" fmla="*/ 2952750 w 2962875"/>
              <a:gd name="connsiteY61" fmla="*/ 571500 h 2313876"/>
              <a:gd name="connsiteX62" fmla="*/ 2957512 w 2962875"/>
              <a:gd name="connsiteY62" fmla="*/ 342900 h 2313876"/>
              <a:gd name="connsiteX63" fmla="*/ 2957512 w 2962875"/>
              <a:gd name="connsiteY63" fmla="*/ 34925 h 2313876"/>
              <a:gd name="connsiteX64" fmla="*/ 2867025 w 2962875"/>
              <a:gd name="connsiteY64" fmla="*/ 19050 h 2313876"/>
              <a:gd name="connsiteX65" fmla="*/ 2724150 w 2962875"/>
              <a:gd name="connsiteY65" fmla="*/ 9525 h 2313876"/>
              <a:gd name="connsiteX66" fmla="*/ 2381250 w 2962875"/>
              <a:gd name="connsiteY66" fmla="*/ 14287 h 2313876"/>
              <a:gd name="connsiteX67" fmla="*/ 2324100 w 2962875"/>
              <a:gd name="connsiteY67" fmla="*/ 23812 h 2313876"/>
              <a:gd name="connsiteX68" fmla="*/ 1909762 w 2962875"/>
              <a:gd name="connsiteY68" fmla="*/ 19050 h 2313876"/>
              <a:gd name="connsiteX69" fmla="*/ 1804987 w 2962875"/>
              <a:gd name="connsiteY69" fmla="*/ 9525 h 2313876"/>
              <a:gd name="connsiteX70" fmla="*/ 1776412 w 2962875"/>
              <a:gd name="connsiteY70" fmla="*/ 0 h 2313876"/>
              <a:gd name="connsiteX71" fmla="*/ 1528762 w 2962875"/>
              <a:gd name="connsiteY71" fmla="*/ 4762 h 2313876"/>
              <a:gd name="connsiteX72" fmla="*/ 1143000 w 2962875"/>
              <a:gd name="connsiteY72" fmla="*/ 38100 h 2313876"/>
              <a:gd name="connsiteX73" fmla="*/ 309562 w 2962875"/>
              <a:gd name="connsiteY73" fmla="*/ 23812 h 2313876"/>
              <a:gd name="connsiteX74" fmla="*/ 247650 w 2962875"/>
              <a:gd name="connsiteY74" fmla="*/ 14287 h 2313876"/>
              <a:gd name="connsiteX75" fmla="*/ 185737 w 2962875"/>
              <a:gd name="connsiteY75" fmla="*/ 9525 h 2313876"/>
              <a:gd name="connsiteX76" fmla="*/ 19050 w 2962875"/>
              <a:gd name="connsiteY76" fmla="*/ 14287 h 2313876"/>
              <a:gd name="connsiteX77" fmla="*/ 4762 w 2962875"/>
              <a:gd name="connsiteY77" fmla="*/ 19050 h 2313876"/>
              <a:gd name="connsiteX78" fmla="*/ 9525 w 2962875"/>
              <a:gd name="connsiteY78" fmla="*/ 85725 h 2313876"/>
              <a:gd name="connsiteX79" fmla="*/ 23812 w 2962875"/>
              <a:gd name="connsiteY79" fmla="*/ 171450 h 2313876"/>
              <a:gd name="connsiteX80" fmla="*/ 14287 w 2962875"/>
              <a:gd name="connsiteY80" fmla="*/ 390525 h 2313876"/>
              <a:gd name="connsiteX81" fmla="*/ 0 w 2962875"/>
              <a:gd name="connsiteY81" fmla="*/ 466725 h 2313876"/>
              <a:gd name="connsiteX82" fmla="*/ 9525 w 2962875"/>
              <a:gd name="connsiteY82" fmla="*/ 800100 h 2313876"/>
              <a:gd name="connsiteX83" fmla="*/ 9525 w 2962875"/>
              <a:gd name="connsiteY83" fmla="*/ 871537 h 2313876"/>
              <a:gd name="connsiteX84" fmla="*/ 14287 w 2962875"/>
              <a:gd name="connsiteY84" fmla="*/ 1157287 h 2313876"/>
              <a:gd name="connsiteX85" fmla="*/ 19050 w 2962875"/>
              <a:gd name="connsiteY85" fmla="*/ 1204912 h 2313876"/>
              <a:gd name="connsiteX86" fmla="*/ 28575 w 2962875"/>
              <a:gd name="connsiteY86" fmla="*/ 1243012 h 2313876"/>
              <a:gd name="connsiteX87" fmla="*/ 33337 w 2962875"/>
              <a:gd name="connsiteY87" fmla="*/ 1328737 h 2313876"/>
              <a:gd name="connsiteX88" fmla="*/ 23812 w 2962875"/>
              <a:gd name="connsiteY88" fmla="*/ 1476375 h 2313876"/>
              <a:gd name="connsiteX89" fmla="*/ 14287 w 2962875"/>
              <a:gd name="connsiteY89" fmla="*/ 1562100 h 2313876"/>
              <a:gd name="connsiteX90" fmla="*/ 9525 w 2962875"/>
              <a:gd name="connsiteY90" fmla="*/ 1819275 h 2313876"/>
              <a:gd name="connsiteX91" fmla="*/ 14287 w 2962875"/>
              <a:gd name="connsiteY91" fmla="*/ 2014537 h 2313876"/>
              <a:gd name="connsiteX92" fmla="*/ 23812 w 2962875"/>
              <a:gd name="connsiteY92" fmla="*/ 2066925 h 2313876"/>
              <a:gd name="connsiteX93" fmla="*/ 28575 w 2962875"/>
              <a:gd name="connsiteY93" fmla="*/ 2152650 h 2313876"/>
              <a:gd name="connsiteX94" fmla="*/ 23812 w 2962875"/>
              <a:gd name="connsiteY94" fmla="*/ 2238375 h 2313876"/>
              <a:gd name="connsiteX95" fmla="*/ 14287 w 2962875"/>
              <a:gd name="connsiteY95" fmla="*/ 2300287 h 2313876"/>
              <a:gd name="connsiteX0" fmla="*/ 14287 w 2962875"/>
              <a:gd name="connsiteY0" fmla="*/ 2300287 h 2314046"/>
              <a:gd name="connsiteX1" fmla="*/ 61912 w 2962875"/>
              <a:gd name="connsiteY1" fmla="*/ 2295525 h 2314046"/>
              <a:gd name="connsiteX2" fmla="*/ 95250 w 2962875"/>
              <a:gd name="connsiteY2" fmla="*/ 2286000 h 2314046"/>
              <a:gd name="connsiteX3" fmla="*/ 366712 w 2962875"/>
              <a:gd name="connsiteY3" fmla="*/ 2271712 h 2314046"/>
              <a:gd name="connsiteX4" fmla="*/ 361950 w 2962875"/>
              <a:gd name="connsiteY4" fmla="*/ 2214562 h 2314046"/>
              <a:gd name="connsiteX5" fmla="*/ 381000 w 2962875"/>
              <a:gd name="connsiteY5" fmla="*/ 1985962 h 2314046"/>
              <a:gd name="connsiteX6" fmla="*/ 376237 w 2962875"/>
              <a:gd name="connsiteY6" fmla="*/ 1671637 h 2314046"/>
              <a:gd name="connsiteX7" fmla="*/ 371475 w 2962875"/>
              <a:gd name="connsiteY7" fmla="*/ 1643062 h 2314046"/>
              <a:gd name="connsiteX8" fmla="*/ 366712 w 2962875"/>
              <a:gd name="connsiteY8" fmla="*/ 1585912 h 2314046"/>
              <a:gd name="connsiteX9" fmla="*/ 376237 w 2962875"/>
              <a:gd name="connsiteY9" fmla="*/ 1123950 h 2314046"/>
              <a:gd name="connsiteX10" fmla="*/ 381000 w 2962875"/>
              <a:gd name="connsiteY10" fmla="*/ 1095375 h 2314046"/>
              <a:gd name="connsiteX11" fmla="*/ 385762 w 2962875"/>
              <a:gd name="connsiteY11" fmla="*/ 1062037 h 2314046"/>
              <a:gd name="connsiteX12" fmla="*/ 381000 w 2962875"/>
              <a:gd name="connsiteY12" fmla="*/ 561975 h 2314046"/>
              <a:gd name="connsiteX13" fmla="*/ 376237 w 2962875"/>
              <a:gd name="connsiteY13" fmla="*/ 519112 h 2314046"/>
              <a:gd name="connsiteX14" fmla="*/ 371475 w 2962875"/>
              <a:gd name="connsiteY14" fmla="*/ 471487 h 2314046"/>
              <a:gd name="connsiteX15" fmla="*/ 376237 w 2962875"/>
              <a:gd name="connsiteY15" fmla="*/ 414337 h 2314046"/>
              <a:gd name="connsiteX16" fmla="*/ 433387 w 2962875"/>
              <a:gd name="connsiteY16" fmla="*/ 419100 h 2314046"/>
              <a:gd name="connsiteX17" fmla="*/ 523875 w 2962875"/>
              <a:gd name="connsiteY17" fmla="*/ 414337 h 2314046"/>
              <a:gd name="connsiteX18" fmla="*/ 881062 w 2962875"/>
              <a:gd name="connsiteY18" fmla="*/ 414337 h 2314046"/>
              <a:gd name="connsiteX19" fmla="*/ 914400 w 2962875"/>
              <a:gd name="connsiteY19" fmla="*/ 423862 h 2314046"/>
              <a:gd name="connsiteX20" fmla="*/ 962025 w 2962875"/>
              <a:gd name="connsiteY20" fmla="*/ 428625 h 2314046"/>
              <a:gd name="connsiteX21" fmla="*/ 985837 w 2962875"/>
              <a:gd name="connsiteY21" fmla="*/ 433387 h 2314046"/>
              <a:gd name="connsiteX22" fmla="*/ 1147762 w 2962875"/>
              <a:gd name="connsiteY22" fmla="*/ 423862 h 2314046"/>
              <a:gd name="connsiteX23" fmla="*/ 1166812 w 2962875"/>
              <a:gd name="connsiteY23" fmla="*/ 419100 h 2314046"/>
              <a:gd name="connsiteX24" fmla="*/ 1209675 w 2962875"/>
              <a:gd name="connsiteY24" fmla="*/ 414337 h 2314046"/>
              <a:gd name="connsiteX25" fmla="*/ 1238250 w 2962875"/>
              <a:gd name="connsiteY25" fmla="*/ 409575 h 2314046"/>
              <a:gd name="connsiteX26" fmla="*/ 2433637 w 2962875"/>
              <a:gd name="connsiteY26" fmla="*/ 404812 h 2314046"/>
              <a:gd name="connsiteX27" fmla="*/ 2571750 w 2962875"/>
              <a:gd name="connsiteY27" fmla="*/ 404812 h 2314046"/>
              <a:gd name="connsiteX28" fmla="*/ 2609850 w 2962875"/>
              <a:gd name="connsiteY28" fmla="*/ 423862 h 2314046"/>
              <a:gd name="connsiteX29" fmla="*/ 2619375 w 2962875"/>
              <a:gd name="connsiteY29" fmla="*/ 457200 h 2314046"/>
              <a:gd name="connsiteX30" fmla="*/ 2609850 w 2962875"/>
              <a:gd name="connsiteY30" fmla="*/ 614362 h 2314046"/>
              <a:gd name="connsiteX31" fmla="*/ 2600325 w 2962875"/>
              <a:gd name="connsiteY31" fmla="*/ 652462 h 2314046"/>
              <a:gd name="connsiteX32" fmla="*/ 2595562 w 2962875"/>
              <a:gd name="connsiteY32" fmla="*/ 676275 h 2314046"/>
              <a:gd name="connsiteX33" fmla="*/ 2586037 w 2962875"/>
              <a:gd name="connsiteY33" fmla="*/ 714375 h 2314046"/>
              <a:gd name="connsiteX34" fmla="*/ 2586037 w 2962875"/>
              <a:gd name="connsiteY34" fmla="*/ 1071562 h 2314046"/>
              <a:gd name="connsiteX35" fmla="*/ 2590800 w 2962875"/>
              <a:gd name="connsiteY35" fmla="*/ 1104900 h 2314046"/>
              <a:gd name="connsiteX36" fmla="*/ 2600325 w 2962875"/>
              <a:gd name="connsiteY36" fmla="*/ 1176337 h 2314046"/>
              <a:gd name="connsiteX37" fmla="*/ 2605087 w 2962875"/>
              <a:gd name="connsiteY37" fmla="*/ 1209675 h 2314046"/>
              <a:gd name="connsiteX38" fmla="*/ 2624137 w 2962875"/>
              <a:gd name="connsiteY38" fmla="*/ 1314450 h 2314046"/>
              <a:gd name="connsiteX39" fmla="*/ 2619375 w 2962875"/>
              <a:gd name="connsiteY39" fmla="*/ 1371600 h 2314046"/>
              <a:gd name="connsiteX40" fmla="*/ 2614612 w 2962875"/>
              <a:gd name="connsiteY40" fmla="*/ 1443037 h 2314046"/>
              <a:gd name="connsiteX41" fmla="*/ 2600325 w 2962875"/>
              <a:gd name="connsiteY41" fmla="*/ 1485900 h 2314046"/>
              <a:gd name="connsiteX42" fmla="*/ 2595562 w 2962875"/>
              <a:gd name="connsiteY42" fmla="*/ 1514475 h 2314046"/>
              <a:gd name="connsiteX43" fmla="*/ 2581275 w 2962875"/>
              <a:gd name="connsiteY43" fmla="*/ 1652587 h 2314046"/>
              <a:gd name="connsiteX44" fmla="*/ 2586037 w 2962875"/>
              <a:gd name="connsiteY44" fmla="*/ 1933575 h 2314046"/>
              <a:gd name="connsiteX45" fmla="*/ 2590800 w 2962875"/>
              <a:gd name="connsiteY45" fmla="*/ 1966912 h 2314046"/>
              <a:gd name="connsiteX46" fmla="*/ 2605087 w 2962875"/>
              <a:gd name="connsiteY46" fmla="*/ 2005012 h 2314046"/>
              <a:gd name="connsiteX47" fmla="*/ 2614612 w 2962875"/>
              <a:gd name="connsiteY47" fmla="*/ 2066925 h 2314046"/>
              <a:gd name="connsiteX48" fmla="*/ 2628900 w 2962875"/>
              <a:gd name="connsiteY48" fmla="*/ 2152650 h 2314046"/>
              <a:gd name="connsiteX49" fmla="*/ 2643187 w 2962875"/>
              <a:gd name="connsiteY49" fmla="*/ 2171700 h 2314046"/>
              <a:gd name="connsiteX50" fmla="*/ 2638425 w 2962875"/>
              <a:gd name="connsiteY50" fmla="*/ 2276475 h 2314046"/>
              <a:gd name="connsiteX51" fmla="*/ 2643187 w 2962875"/>
              <a:gd name="connsiteY51" fmla="*/ 2295525 h 2314046"/>
              <a:gd name="connsiteX52" fmla="*/ 2851150 w 2962875"/>
              <a:gd name="connsiteY52" fmla="*/ 2303462 h 2314046"/>
              <a:gd name="connsiteX53" fmla="*/ 2957512 w 2962875"/>
              <a:gd name="connsiteY53" fmla="*/ 2305050 h 2314046"/>
              <a:gd name="connsiteX54" fmla="*/ 2947987 w 2962875"/>
              <a:gd name="connsiteY54" fmla="*/ 2181225 h 2314046"/>
              <a:gd name="connsiteX55" fmla="*/ 2955925 w 2962875"/>
              <a:gd name="connsiteY55" fmla="*/ 2008187 h 2314046"/>
              <a:gd name="connsiteX56" fmla="*/ 2962275 w 2962875"/>
              <a:gd name="connsiteY56" fmla="*/ 1804987 h 2314046"/>
              <a:gd name="connsiteX57" fmla="*/ 2952750 w 2962875"/>
              <a:gd name="connsiteY57" fmla="*/ 1366837 h 2314046"/>
              <a:gd name="connsiteX58" fmla="*/ 2947987 w 2962875"/>
              <a:gd name="connsiteY58" fmla="*/ 1081087 h 2314046"/>
              <a:gd name="connsiteX59" fmla="*/ 2947987 w 2962875"/>
              <a:gd name="connsiteY59" fmla="*/ 922337 h 2314046"/>
              <a:gd name="connsiteX60" fmla="*/ 2952750 w 2962875"/>
              <a:gd name="connsiteY60" fmla="*/ 571500 h 2314046"/>
              <a:gd name="connsiteX61" fmla="*/ 2957512 w 2962875"/>
              <a:gd name="connsiteY61" fmla="*/ 342900 h 2314046"/>
              <a:gd name="connsiteX62" fmla="*/ 2957512 w 2962875"/>
              <a:gd name="connsiteY62" fmla="*/ 34925 h 2314046"/>
              <a:gd name="connsiteX63" fmla="*/ 2867025 w 2962875"/>
              <a:gd name="connsiteY63" fmla="*/ 19050 h 2314046"/>
              <a:gd name="connsiteX64" fmla="*/ 2724150 w 2962875"/>
              <a:gd name="connsiteY64" fmla="*/ 9525 h 2314046"/>
              <a:gd name="connsiteX65" fmla="*/ 2381250 w 2962875"/>
              <a:gd name="connsiteY65" fmla="*/ 14287 h 2314046"/>
              <a:gd name="connsiteX66" fmla="*/ 2324100 w 2962875"/>
              <a:gd name="connsiteY66" fmla="*/ 23812 h 2314046"/>
              <a:gd name="connsiteX67" fmla="*/ 1909762 w 2962875"/>
              <a:gd name="connsiteY67" fmla="*/ 19050 h 2314046"/>
              <a:gd name="connsiteX68" fmla="*/ 1804987 w 2962875"/>
              <a:gd name="connsiteY68" fmla="*/ 9525 h 2314046"/>
              <a:gd name="connsiteX69" fmla="*/ 1776412 w 2962875"/>
              <a:gd name="connsiteY69" fmla="*/ 0 h 2314046"/>
              <a:gd name="connsiteX70" fmla="*/ 1528762 w 2962875"/>
              <a:gd name="connsiteY70" fmla="*/ 4762 h 2314046"/>
              <a:gd name="connsiteX71" fmla="*/ 1143000 w 2962875"/>
              <a:gd name="connsiteY71" fmla="*/ 38100 h 2314046"/>
              <a:gd name="connsiteX72" fmla="*/ 309562 w 2962875"/>
              <a:gd name="connsiteY72" fmla="*/ 23812 h 2314046"/>
              <a:gd name="connsiteX73" fmla="*/ 247650 w 2962875"/>
              <a:gd name="connsiteY73" fmla="*/ 14287 h 2314046"/>
              <a:gd name="connsiteX74" fmla="*/ 185737 w 2962875"/>
              <a:gd name="connsiteY74" fmla="*/ 9525 h 2314046"/>
              <a:gd name="connsiteX75" fmla="*/ 19050 w 2962875"/>
              <a:gd name="connsiteY75" fmla="*/ 14287 h 2314046"/>
              <a:gd name="connsiteX76" fmla="*/ 4762 w 2962875"/>
              <a:gd name="connsiteY76" fmla="*/ 19050 h 2314046"/>
              <a:gd name="connsiteX77" fmla="*/ 9525 w 2962875"/>
              <a:gd name="connsiteY77" fmla="*/ 85725 h 2314046"/>
              <a:gd name="connsiteX78" fmla="*/ 23812 w 2962875"/>
              <a:gd name="connsiteY78" fmla="*/ 171450 h 2314046"/>
              <a:gd name="connsiteX79" fmla="*/ 14287 w 2962875"/>
              <a:gd name="connsiteY79" fmla="*/ 390525 h 2314046"/>
              <a:gd name="connsiteX80" fmla="*/ 0 w 2962875"/>
              <a:gd name="connsiteY80" fmla="*/ 466725 h 2314046"/>
              <a:gd name="connsiteX81" fmla="*/ 9525 w 2962875"/>
              <a:gd name="connsiteY81" fmla="*/ 800100 h 2314046"/>
              <a:gd name="connsiteX82" fmla="*/ 9525 w 2962875"/>
              <a:gd name="connsiteY82" fmla="*/ 871537 h 2314046"/>
              <a:gd name="connsiteX83" fmla="*/ 14287 w 2962875"/>
              <a:gd name="connsiteY83" fmla="*/ 1157287 h 2314046"/>
              <a:gd name="connsiteX84" fmla="*/ 19050 w 2962875"/>
              <a:gd name="connsiteY84" fmla="*/ 1204912 h 2314046"/>
              <a:gd name="connsiteX85" fmla="*/ 28575 w 2962875"/>
              <a:gd name="connsiteY85" fmla="*/ 1243012 h 2314046"/>
              <a:gd name="connsiteX86" fmla="*/ 33337 w 2962875"/>
              <a:gd name="connsiteY86" fmla="*/ 1328737 h 2314046"/>
              <a:gd name="connsiteX87" fmla="*/ 23812 w 2962875"/>
              <a:gd name="connsiteY87" fmla="*/ 1476375 h 2314046"/>
              <a:gd name="connsiteX88" fmla="*/ 14287 w 2962875"/>
              <a:gd name="connsiteY88" fmla="*/ 1562100 h 2314046"/>
              <a:gd name="connsiteX89" fmla="*/ 9525 w 2962875"/>
              <a:gd name="connsiteY89" fmla="*/ 1819275 h 2314046"/>
              <a:gd name="connsiteX90" fmla="*/ 14287 w 2962875"/>
              <a:gd name="connsiteY90" fmla="*/ 2014537 h 2314046"/>
              <a:gd name="connsiteX91" fmla="*/ 23812 w 2962875"/>
              <a:gd name="connsiteY91" fmla="*/ 2066925 h 2314046"/>
              <a:gd name="connsiteX92" fmla="*/ 28575 w 2962875"/>
              <a:gd name="connsiteY92" fmla="*/ 2152650 h 2314046"/>
              <a:gd name="connsiteX93" fmla="*/ 23812 w 2962875"/>
              <a:gd name="connsiteY93" fmla="*/ 2238375 h 2314046"/>
              <a:gd name="connsiteX94" fmla="*/ 14287 w 2962875"/>
              <a:gd name="connsiteY94" fmla="*/ 2300287 h 2314046"/>
              <a:gd name="connsiteX0" fmla="*/ 14287 w 2962875"/>
              <a:gd name="connsiteY0" fmla="*/ 2300287 h 2314046"/>
              <a:gd name="connsiteX1" fmla="*/ 61912 w 2962875"/>
              <a:gd name="connsiteY1" fmla="*/ 2295525 h 2314046"/>
              <a:gd name="connsiteX2" fmla="*/ 95250 w 2962875"/>
              <a:gd name="connsiteY2" fmla="*/ 2286000 h 2314046"/>
              <a:gd name="connsiteX3" fmla="*/ 366712 w 2962875"/>
              <a:gd name="connsiteY3" fmla="*/ 2271712 h 2314046"/>
              <a:gd name="connsiteX4" fmla="*/ 361950 w 2962875"/>
              <a:gd name="connsiteY4" fmla="*/ 2214562 h 2314046"/>
              <a:gd name="connsiteX5" fmla="*/ 381000 w 2962875"/>
              <a:gd name="connsiteY5" fmla="*/ 1985962 h 2314046"/>
              <a:gd name="connsiteX6" fmla="*/ 376237 w 2962875"/>
              <a:gd name="connsiteY6" fmla="*/ 1671637 h 2314046"/>
              <a:gd name="connsiteX7" fmla="*/ 371475 w 2962875"/>
              <a:gd name="connsiteY7" fmla="*/ 1643062 h 2314046"/>
              <a:gd name="connsiteX8" fmla="*/ 366712 w 2962875"/>
              <a:gd name="connsiteY8" fmla="*/ 1585912 h 2314046"/>
              <a:gd name="connsiteX9" fmla="*/ 376237 w 2962875"/>
              <a:gd name="connsiteY9" fmla="*/ 1123950 h 2314046"/>
              <a:gd name="connsiteX10" fmla="*/ 381000 w 2962875"/>
              <a:gd name="connsiteY10" fmla="*/ 1095375 h 2314046"/>
              <a:gd name="connsiteX11" fmla="*/ 385762 w 2962875"/>
              <a:gd name="connsiteY11" fmla="*/ 1062037 h 2314046"/>
              <a:gd name="connsiteX12" fmla="*/ 381000 w 2962875"/>
              <a:gd name="connsiteY12" fmla="*/ 561975 h 2314046"/>
              <a:gd name="connsiteX13" fmla="*/ 376237 w 2962875"/>
              <a:gd name="connsiteY13" fmla="*/ 519112 h 2314046"/>
              <a:gd name="connsiteX14" fmla="*/ 371475 w 2962875"/>
              <a:gd name="connsiteY14" fmla="*/ 471487 h 2314046"/>
              <a:gd name="connsiteX15" fmla="*/ 376237 w 2962875"/>
              <a:gd name="connsiteY15" fmla="*/ 414337 h 2314046"/>
              <a:gd name="connsiteX16" fmla="*/ 433387 w 2962875"/>
              <a:gd name="connsiteY16" fmla="*/ 419100 h 2314046"/>
              <a:gd name="connsiteX17" fmla="*/ 523875 w 2962875"/>
              <a:gd name="connsiteY17" fmla="*/ 414337 h 2314046"/>
              <a:gd name="connsiteX18" fmla="*/ 881062 w 2962875"/>
              <a:gd name="connsiteY18" fmla="*/ 414337 h 2314046"/>
              <a:gd name="connsiteX19" fmla="*/ 914400 w 2962875"/>
              <a:gd name="connsiteY19" fmla="*/ 423862 h 2314046"/>
              <a:gd name="connsiteX20" fmla="*/ 962025 w 2962875"/>
              <a:gd name="connsiteY20" fmla="*/ 428625 h 2314046"/>
              <a:gd name="connsiteX21" fmla="*/ 985837 w 2962875"/>
              <a:gd name="connsiteY21" fmla="*/ 433387 h 2314046"/>
              <a:gd name="connsiteX22" fmla="*/ 1147762 w 2962875"/>
              <a:gd name="connsiteY22" fmla="*/ 423862 h 2314046"/>
              <a:gd name="connsiteX23" fmla="*/ 1166812 w 2962875"/>
              <a:gd name="connsiteY23" fmla="*/ 419100 h 2314046"/>
              <a:gd name="connsiteX24" fmla="*/ 1209675 w 2962875"/>
              <a:gd name="connsiteY24" fmla="*/ 414337 h 2314046"/>
              <a:gd name="connsiteX25" fmla="*/ 1238250 w 2962875"/>
              <a:gd name="connsiteY25" fmla="*/ 409575 h 2314046"/>
              <a:gd name="connsiteX26" fmla="*/ 2433637 w 2962875"/>
              <a:gd name="connsiteY26" fmla="*/ 404812 h 2314046"/>
              <a:gd name="connsiteX27" fmla="*/ 2571750 w 2962875"/>
              <a:gd name="connsiteY27" fmla="*/ 404812 h 2314046"/>
              <a:gd name="connsiteX28" fmla="*/ 2609850 w 2962875"/>
              <a:gd name="connsiteY28" fmla="*/ 423862 h 2314046"/>
              <a:gd name="connsiteX29" fmla="*/ 2619375 w 2962875"/>
              <a:gd name="connsiteY29" fmla="*/ 457200 h 2314046"/>
              <a:gd name="connsiteX30" fmla="*/ 2609850 w 2962875"/>
              <a:gd name="connsiteY30" fmla="*/ 614362 h 2314046"/>
              <a:gd name="connsiteX31" fmla="*/ 2600325 w 2962875"/>
              <a:gd name="connsiteY31" fmla="*/ 652462 h 2314046"/>
              <a:gd name="connsiteX32" fmla="*/ 2595562 w 2962875"/>
              <a:gd name="connsiteY32" fmla="*/ 676275 h 2314046"/>
              <a:gd name="connsiteX33" fmla="*/ 2586037 w 2962875"/>
              <a:gd name="connsiteY33" fmla="*/ 714375 h 2314046"/>
              <a:gd name="connsiteX34" fmla="*/ 2586037 w 2962875"/>
              <a:gd name="connsiteY34" fmla="*/ 1071562 h 2314046"/>
              <a:gd name="connsiteX35" fmla="*/ 2590800 w 2962875"/>
              <a:gd name="connsiteY35" fmla="*/ 1104900 h 2314046"/>
              <a:gd name="connsiteX36" fmla="*/ 2600325 w 2962875"/>
              <a:gd name="connsiteY36" fmla="*/ 1176337 h 2314046"/>
              <a:gd name="connsiteX37" fmla="*/ 2605087 w 2962875"/>
              <a:gd name="connsiteY37" fmla="*/ 1209675 h 2314046"/>
              <a:gd name="connsiteX38" fmla="*/ 2624137 w 2962875"/>
              <a:gd name="connsiteY38" fmla="*/ 1314450 h 2314046"/>
              <a:gd name="connsiteX39" fmla="*/ 2619375 w 2962875"/>
              <a:gd name="connsiteY39" fmla="*/ 1371600 h 2314046"/>
              <a:gd name="connsiteX40" fmla="*/ 2614612 w 2962875"/>
              <a:gd name="connsiteY40" fmla="*/ 1443037 h 2314046"/>
              <a:gd name="connsiteX41" fmla="*/ 2600325 w 2962875"/>
              <a:gd name="connsiteY41" fmla="*/ 1485900 h 2314046"/>
              <a:gd name="connsiteX42" fmla="*/ 2595562 w 2962875"/>
              <a:gd name="connsiteY42" fmla="*/ 1514475 h 2314046"/>
              <a:gd name="connsiteX43" fmla="*/ 2581275 w 2962875"/>
              <a:gd name="connsiteY43" fmla="*/ 1652587 h 2314046"/>
              <a:gd name="connsiteX44" fmla="*/ 2586037 w 2962875"/>
              <a:gd name="connsiteY44" fmla="*/ 1933575 h 2314046"/>
              <a:gd name="connsiteX45" fmla="*/ 2590800 w 2962875"/>
              <a:gd name="connsiteY45" fmla="*/ 1966912 h 2314046"/>
              <a:gd name="connsiteX46" fmla="*/ 2605087 w 2962875"/>
              <a:gd name="connsiteY46" fmla="*/ 2005012 h 2314046"/>
              <a:gd name="connsiteX47" fmla="*/ 2614612 w 2962875"/>
              <a:gd name="connsiteY47" fmla="*/ 2066925 h 2314046"/>
              <a:gd name="connsiteX48" fmla="*/ 2628900 w 2962875"/>
              <a:gd name="connsiteY48" fmla="*/ 2152650 h 2314046"/>
              <a:gd name="connsiteX49" fmla="*/ 2638425 w 2962875"/>
              <a:gd name="connsiteY49" fmla="*/ 2276475 h 2314046"/>
              <a:gd name="connsiteX50" fmla="*/ 2643187 w 2962875"/>
              <a:gd name="connsiteY50" fmla="*/ 2295525 h 2314046"/>
              <a:gd name="connsiteX51" fmla="*/ 2851150 w 2962875"/>
              <a:gd name="connsiteY51" fmla="*/ 2303462 h 2314046"/>
              <a:gd name="connsiteX52" fmla="*/ 2957512 w 2962875"/>
              <a:gd name="connsiteY52" fmla="*/ 2305050 h 2314046"/>
              <a:gd name="connsiteX53" fmla="*/ 2947987 w 2962875"/>
              <a:gd name="connsiteY53" fmla="*/ 2181225 h 2314046"/>
              <a:gd name="connsiteX54" fmla="*/ 2955925 w 2962875"/>
              <a:gd name="connsiteY54" fmla="*/ 2008187 h 2314046"/>
              <a:gd name="connsiteX55" fmla="*/ 2962275 w 2962875"/>
              <a:gd name="connsiteY55" fmla="*/ 1804987 h 2314046"/>
              <a:gd name="connsiteX56" fmla="*/ 2952750 w 2962875"/>
              <a:gd name="connsiteY56" fmla="*/ 1366837 h 2314046"/>
              <a:gd name="connsiteX57" fmla="*/ 2947987 w 2962875"/>
              <a:gd name="connsiteY57" fmla="*/ 1081087 h 2314046"/>
              <a:gd name="connsiteX58" fmla="*/ 2947987 w 2962875"/>
              <a:gd name="connsiteY58" fmla="*/ 922337 h 2314046"/>
              <a:gd name="connsiteX59" fmla="*/ 2952750 w 2962875"/>
              <a:gd name="connsiteY59" fmla="*/ 571500 h 2314046"/>
              <a:gd name="connsiteX60" fmla="*/ 2957512 w 2962875"/>
              <a:gd name="connsiteY60" fmla="*/ 342900 h 2314046"/>
              <a:gd name="connsiteX61" fmla="*/ 2957512 w 2962875"/>
              <a:gd name="connsiteY61" fmla="*/ 34925 h 2314046"/>
              <a:gd name="connsiteX62" fmla="*/ 2867025 w 2962875"/>
              <a:gd name="connsiteY62" fmla="*/ 19050 h 2314046"/>
              <a:gd name="connsiteX63" fmla="*/ 2724150 w 2962875"/>
              <a:gd name="connsiteY63" fmla="*/ 9525 h 2314046"/>
              <a:gd name="connsiteX64" fmla="*/ 2381250 w 2962875"/>
              <a:gd name="connsiteY64" fmla="*/ 14287 h 2314046"/>
              <a:gd name="connsiteX65" fmla="*/ 2324100 w 2962875"/>
              <a:gd name="connsiteY65" fmla="*/ 23812 h 2314046"/>
              <a:gd name="connsiteX66" fmla="*/ 1909762 w 2962875"/>
              <a:gd name="connsiteY66" fmla="*/ 19050 h 2314046"/>
              <a:gd name="connsiteX67" fmla="*/ 1804987 w 2962875"/>
              <a:gd name="connsiteY67" fmla="*/ 9525 h 2314046"/>
              <a:gd name="connsiteX68" fmla="*/ 1776412 w 2962875"/>
              <a:gd name="connsiteY68" fmla="*/ 0 h 2314046"/>
              <a:gd name="connsiteX69" fmla="*/ 1528762 w 2962875"/>
              <a:gd name="connsiteY69" fmla="*/ 4762 h 2314046"/>
              <a:gd name="connsiteX70" fmla="*/ 1143000 w 2962875"/>
              <a:gd name="connsiteY70" fmla="*/ 38100 h 2314046"/>
              <a:gd name="connsiteX71" fmla="*/ 309562 w 2962875"/>
              <a:gd name="connsiteY71" fmla="*/ 23812 h 2314046"/>
              <a:gd name="connsiteX72" fmla="*/ 247650 w 2962875"/>
              <a:gd name="connsiteY72" fmla="*/ 14287 h 2314046"/>
              <a:gd name="connsiteX73" fmla="*/ 185737 w 2962875"/>
              <a:gd name="connsiteY73" fmla="*/ 9525 h 2314046"/>
              <a:gd name="connsiteX74" fmla="*/ 19050 w 2962875"/>
              <a:gd name="connsiteY74" fmla="*/ 14287 h 2314046"/>
              <a:gd name="connsiteX75" fmla="*/ 4762 w 2962875"/>
              <a:gd name="connsiteY75" fmla="*/ 19050 h 2314046"/>
              <a:gd name="connsiteX76" fmla="*/ 9525 w 2962875"/>
              <a:gd name="connsiteY76" fmla="*/ 85725 h 2314046"/>
              <a:gd name="connsiteX77" fmla="*/ 23812 w 2962875"/>
              <a:gd name="connsiteY77" fmla="*/ 171450 h 2314046"/>
              <a:gd name="connsiteX78" fmla="*/ 14287 w 2962875"/>
              <a:gd name="connsiteY78" fmla="*/ 390525 h 2314046"/>
              <a:gd name="connsiteX79" fmla="*/ 0 w 2962875"/>
              <a:gd name="connsiteY79" fmla="*/ 466725 h 2314046"/>
              <a:gd name="connsiteX80" fmla="*/ 9525 w 2962875"/>
              <a:gd name="connsiteY80" fmla="*/ 800100 h 2314046"/>
              <a:gd name="connsiteX81" fmla="*/ 9525 w 2962875"/>
              <a:gd name="connsiteY81" fmla="*/ 871537 h 2314046"/>
              <a:gd name="connsiteX82" fmla="*/ 14287 w 2962875"/>
              <a:gd name="connsiteY82" fmla="*/ 1157287 h 2314046"/>
              <a:gd name="connsiteX83" fmla="*/ 19050 w 2962875"/>
              <a:gd name="connsiteY83" fmla="*/ 1204912 h 2314046"/>
              <a:gd name="connsiteX84" fmla="*/ 28575 w 2962875"/>
              <a:gd name="connsiteY84" fmla="*/ 1243012 h 2314046"/>
              <a:gd name="connsiteX85" fmla="*/ 33337 w 2962875"/>
              <a:gd name="connsiteY85" fmla="*/ 1328737 h 2314046"/>
              <a:gd name="connsiteX86" fmla="*/ 23812 w 2962875"/>
              <a:gd name="connsiteY86" fmla="*/ 1476375 h 2314046"/>
              <a:gd name="connsiteX87" fmla="*/ 14287 w 2962875"/>
              <a:gd name="connsiteY87" fmla="*/ 1562100 h 2314046"/>
              <a:gd name="connsiteX88" fmla="*/ 9525 w 2962875"/>
              <a:gd name="connsiteY88" fmla="*/ 1819275 h 2314046"/>
              <a:gd name="connsiteX89" fmla="*/ 14287 w 2962875"/>
              <a:gd name="connsiteY89" fmla="*/ 2014537 h 2314046"/>
              <a:gd name="connsiteX90" fmla="*/ 23812 w 2962875"/>
              <a:gd name="connsiteY90" fmla="*/ 2066925 h 2314046"/>
              <a:gd name="connsiteX91" fmla="*/ 28575 w 2962875"/>
              <a:gd name="connsiteY91" fmla="*/ 2152650 h 2314046"/>
              <a:gd name="connsiteX92" fmla="*/ 23812 w 2962875"/>
              <a:gd name="connsiteY92" fmla="*/ 2238375 h 2314046"/>
              <a:gd name="connsiteX93" fmla="*/ 14287 w 2962875"/>
              <a:gd name="connsiteY93" fmla="*/ 2300287 h 2314046"/>
              <a:gd name="connsiteX0" fmla="*/ 14287 w 2962875"/>
              <a:gd name="connsiteY0" fmla="*/ 2300287 h 2314046"/>
              <a:gd name="connsiteX1" fmla="*/ 61912 w 2962875"/>
              <a:gd name="connsiteY1" fmla="*/ 2295525 h 2314046"/>
              <a:gd name="connsiteX2" fmla="*/ 95250 w 2962875"/>
              <a:gd name="connsiteY2" fmla="*/ 2286000 h 2314046"/>
              <a:gd name="connsiteX3" fmla="*/ 366712 w 2962875"/>
              <a:gd name="connsiteY3" fmla="*/ 2271712 h 2314046"/>
              <a:gd name="connsiteX4" fmla="*/ 361950 w 2962875"/>
              <a:gd name="connsiteY4" fmla="*/ 2214562 h 2314046"/>
              <a:gd name="connsiteX5" fmla="*/ 381000 w 2962875"/>
              <a:gd name="connsiteY5" fmla="*/ 1985962 h 2314046"/>
              <a:gd name="connsiteX6" fmla="*/ 376237 w 2962875"/>
              <a:gd name="connsiteY6" fmla="*/ 1671637 h 2314046"/>
              <a:gd name="connsiteX7" fmla="*/ 371475 w 2962875"/>
              <a:gd name="connsiteY7" fmla="*/ 1643062 h 2314046"/>
              <a:gd name="connsiteX8" fmla="*/ 366712 w 2962875"/>
              <a:gd name="connsiteY8" fmla="*/ 1585912 h 2314046"/>
              <a:gd name="connsiteX9" fmla="*/ 376237 w 2962875"/>
              <a:gd name="connsiteY9" fmla="*/ 1123950 h 2314046"/>
              <a:gd name="connsiteX10" fmla="*/ 381000 w 2962875"/>
              <a:gd name="connsiteY10" fmla="*/ 1095375 h 2314046"/>
              <a:gd name="connsiteX11" fmla="*/ 385762 w 2962875"/>
              <a:gd name="connsiteY11" fmla="*/ 1062037 h 2314046"/>
              <a:gd name="connsiteX12" fmla="*/ 381000 w 2962875"/>
              <a:gd name="connsiteY12" fmla="*/ 561975 h 2314046"/>
              <a:gd name="connsiteX13" fmla="*/ 376237 w 2962875"/>
              <a:gd name="connsiteY13" fmla="*/ 519112 h 2314046"/>
              <a:gd name="connsiteX14" fmla="*/ 371475 w 2962875"/>
              <a:gd name="connsiteY14" fmla="*/ 471487 h 2314046"/>
              <a:gd name="connsiteX15" fmla="*/ 376237 w 2962875"/>
              <a:gd name="connsiteY15" fmla="*/ 414337 h 2314046"/>
              <a:gd name="connsiteX16" fmla="*/ 433387 w 2962875"/>
              <a:gd name="connsiteY16" fmla="*/ 419100 h 2314046"/>
              <a:gd name="connsiteX17" fmla="*/ 523875 w 2962875"/>
              <a:gd name="connsiteY17" fmla="*/ 414337 h 2314046"/>
              <a:gd name="connsiteX18" fmla="*/ 881062 w 2962875"/>
              <a:gd name="connsiteY18" fmla="*/ 414337 h 2314046"/>
              <a:gd name="connsiteX19" fmla="*/ 914400 w 2962875"/>
              <a:gd name="connsiteY19" fmla="*/ 423862 h 2314046"/>
              <a:gd name="connsiteX20" fmla="*/ 962025 w 2962875"/>
              <a:gd name="connsiteY20" fmla="*/ 428625 h 2314046"/>
              <a:gd name="connsiteX21" fmla="*/ 985837 w 2962875"/>
              <a:gd name="connsiteY21" fmla="*/ 433387 h 2314046"/>
              <a:gd name="connsiteX22" fmla="*/ 1147762 w 2962875"/>
              <a:gd name="connsiteY22" fmla="*/ 423862 h 2314046"/>
              <a:gd name="connsiteX23" fmla="*/ 1166812 w 2962875"/>
              <a:gd name="connsiteY23" fmla="*/ 419100 h 2314046"/>
              <a:gd name="connsiteX24" fmla="*/ 1209675 w 2962875"/>
              <a:gd name="connsiteY24" fmla="*/ 414337 h 2314046"/>
              <a:gd name="connsiteX25" fmla="*/ 1238250 w 2962875"/>
              <a:gd name="connsiteY25" fmla="*/ 409575 h 2314046"/>
              <a:gd name="connsiteX26" fmla="*/ 2433637 w 2962875"/>
              <a:gd name="connsiteY26" fmla="*/ 404812 h 2314046"/>
              <a:gd name="connsiteX27" fmla="*/ 2571750 w 2962875"/>
              <a:gd name="connsiteY27" fmla="*/ 404812 h 2314046"/>
              <a:gd name="connsiteX28" fmla="*/ 2609850 w 2962875"/>
              <a:gd name="connsiteY28" fmla="*/ 423862 h 2314046"/>
              <a:gd name="connsiteX29" fmla="*/ 2619375 w 2962875"/>
              <a:gd name="connsiteY29" fmla="*/ 457200 h 2314046"/>
              <a:gd name="connsiteX30" fmla="*/ 2609850 w 2962875"/>
              <a:gd name="connsiteY30" fmla="*/ 614362 h 2314046"/>
              <a:gd name="connsiteX31" fmla="*/ 2600325 w 2962875"/>
              <a:gd name="connsiteY31" fmla="*/ 652462 h 2314046"/>
              <a:gd name="connsiteX32" fmla="*/ 2595562 w 2962875"/>
              <a:gd name="connsiteY32" fmla="*/ 676275 h 2314046"/>
              <a:gd name="connsiteX33" fmla="*/ 2586037 w 2962875"/>
              <a:gd name="connsiteY33" fmla="*/ 714375 h 2314046"/>
              <a:gd name="connsiteX34" fmla="*/ 2586037 w 2962875"/>
              <a:gd name="connsiteY34" fmla="*/ 1071562 h 2314046"/>
              <a:gd name="connsiteX35" fmla="*/ 2590800 w 2962875"/>
              <a:gd name="connsiteY35" fmla="*/ 1104900 h 2314046"/>
              <a:gd name="connsiteX36" fmla="*/ 2600325 w 2962875"/>
              <a:gd name="connsiteY36" fmla="*/ 1176337 h 2314046"/>
              <a:gd name="connsiteX37" fmla="*/ 2605087 w 2962875"/>
              <a:gd name="connsiteY37" fmla="*/ 1209675 h 2314046"/>
              <a:gd name="connsiteX38" fmla="*/ 2624137 w 2962875"/>
              <a:gd name="connsiteY38" fmla="*/ 1314450 h 2314046"/>
              <a:gd name="connsiteX39" fmla="*/ 2619375 w 2962875"/>
              <a:gd name="connsiteY39" fmla="*/ 1371600 h 2314046"/>
              <a:gd name="connsiteX40" fmla="*/ 2614612 w 2962875"/>
              <a:gd name="connsiteY40" fmla="*/ 1443037 h 2314046"/>
              <a:gd name="connsiteX41" fmla="*/ 2600325 w 2962875"/>
              <a:gd name="connsiteY41" fmla="*/ 1485900 h 2314046"/>
              <a:gd name="connsiteX42" fmla="*/ 2595562 w 2962875"/>
              <a:gd name="connsiteY42" fmla="*/ 1514475 h 2314046"/>
              <a:gd name="connsiteX43" fmla="*/ 2581275 w 2962875"/>
              <a:gd name="connsiteY43" fmla="*/ 1652587 h 2314046"/>
              <a:gd name="connsiteX44" fmla="*/ 2586037 w 2962875"/>
              <a:gd name="connsiteY44" fmla="*/ 1933575 h 2314046"/>
              <a:gd name="connsiteX45" fmla="*/ 2590800 w 2962875"/>
              <a:gd name="connsiteY45" fmla="*/ 1966912 h 2314046"/>
              <a:gd name="connsiteX46" fmla="*/ 2605087 w 2962875"/>
              <a:gd name="connsiteY46" fmla="*/ 2005012 h 2314046"/>
              <a:gd name="connsiteX47" fmla="*/ 2614612 w 2962875"/>
              <a:gd name="connsiteY47" fmla="*/ 2066925 h 2314046"/>
              <a:gd name="connsiteX48" fmla="*/ 2638425 w 2962875"/>
              <a:gd name="connsiteY48" fmla="*/ 2276475 h 2314046"/>
              <a:gd name="connsiteX49" fmla="*/ 2643187 w 2962875"/>
              <a:gd name="connsiteY49" fmla="*/ 2295525 h 2314046"/>
              <a:gd name="connsiteX50" fmla="*/ 2851150 w 2962875"/>
              <a:gd name="connsiteY50" fmla="*/ 2303462 h 2314046"/>
              <a:gd name="connsiteX51" fmla="*/ 2957512 w 2962875"/>
              <a:gd name="connsiteY51" fmla="*/ 2305050 h 2314046"/>
              <a:gd name="connsiteX52" fmla="*/ 2947987 w 2962875"/>
              <a:gd name="connsiteY52" fmla="*/ 2181225 h 2314046"/>
              <a:gd name="connsiteX53" fmla="*/ 2955925 w 2962875"/>
              <a:gd name="connsiteY53" fmla="*/ 2008187 h 2314046"/>
              <a:gd name="connsiteX54" fmla="*/ 2962275 w 2962875"/>
              <a:gd name="connsiteY54" fmla="*/ 1804987 h 2314046"/>
              <a:gd name="connsiteX55" fmla="*/ 2952750 w 2962875"/>
              <a:gd name="connsiteY55" fmla="*/ 1366837 h 2314046"/>
              <a:gd name="connsiteX56" fmla="*/ 2947987 w 2962875"/>
              <a:gd name="connsiteY56" fmla="*/ 1081087 h 2314046"/>
              <a:gd name="connsiteX57" fmla="*/ 2947987 w 2962875"/>
              <a:gd name="connsiteY57" fmla="*/ 922337 h 2314046"/>
              <a:gd name="connsiteX58" fmla="*/ 2952750 w 2962875"/>
              <a:gd name="connsiteY58" fmla="*/ 571500 h 2314046"/>
              <a:gd name="connsiteX59" fmla="*/ 2957512 w 2962875"/>
              <a:gd name="connsiteY59" fmla="*/ 342900 h 2314046"/>
              <a:gd name="connsiteX60" fmla="*/ 2957512 w 2962875"/>
              <a:gd name="connsiteY60" fmla="*/ 34925 h 2314046"/>
              <a:gd name="connsiteX61" fmla="*/ 2867025 w 2962875"/>
              <a:gd name="connsiteY61" fmla="*/ 19050 h 2314046"/>
              <a:gd name="connsiteX62" fmla="*/ 2724150 w 2962875"/>
              <a:gd name="connsiteY62" fmla="*/ 9525 h 2314046"/>
              <a:gd name="connsiteX63" fmla="*/ 2381250 w 2962875"/>
              <a:gd name="connsiteY63" fmla="*/ 14287 h 2314046"/>
              <a:gd name="connsiteX64" fmla="*/ 2324100 w 2962875"/>
              <a:gd name="connsiteY64" fmla="*/ 23812 h 2314046"/>
              <a:gd name="connsiteX65" fmla="*/ 1909762 w 2962875"/>
              <a:gd name="connsiteY65" fmla="*/ 19050 h 2314046"/>
              <a:gd name="connsiteX66" fmla="*/ 1804987 w 2962875"/>
              <a:gd name="connsiteY66" fmla="*/ 9525 h 2314046"/>
              <a:gd name="connsiteX67" fmla="*/ 1776412 w 2962875"/>
              <a:gd name="connsiteY67" fmla="*/ 0 h 2314046"/>
              <a:gd name="connsiteX68" fmla="*/ 1528762 w 2962875"/>
              <a:gd name="connsiteY68" fmla="*/ 4762 h 2314046"/>
              <a:gd name="connsiteX69" fmla="*/ 1143000 w 2962875"/>
              <a:gd name="connsiteY69" fmla="*/ 38100 h 2314046"/>
              <a:gd name="connsiteX70" fmla="*/ 309562 w 2962875"/>
              <a:gd name="connsiteY70" fmla="*/ 23812 h 2314046"/>
              <a:gd name="connsiteX71" fmla="*/ 247650 w 2962875"/>
              <a:gd name="connsiteY71" fmla="*/ 14287 h 2314046"/>
              <a:gd name="connsiteX72" fmla="*/ 185737 w 2962875"/>
              <a:gd name="connsiteY72" fmla="*/ 9525 h 2314046"/>
              <a:gd name="connsiteX73" fmla="*/ 19050 w 2962875"/>
              <a:gd name="connsiteY73" fmla="*/ 14287 h 2314046"/>
              <a:gd name="connsiteX74" fmla="*/ 4762 w 2962875"/>
              <a:gd name="connsiteY74" fmla="*/ 19050 h 2314046"/>
              <a:gd name="connsiteX75" fmla="*/ 9525 w 2962875"/>
              <a:gd name="connsiteY75" fmla="*/ 85725 h 2314046"/>
              <a:gd name="connsiteX76" fmla="*/ 23812 w 2962875"/>
              <a:gd name="connsiteY76" fmla="*/ 171450 h 2314046"/>
              <a:gd name="connsiteX77" fmla="*/ 14287 w 2962875"/>
              <a:gd name="connsiteY77" fmla="*/ 390525 h 2314046"/>
              <a:gd name="connsiteX78" fmla="*/ 0 w 2962875"/>
              <a:gd name="connsiteY78" fmla="*/ 466725 h 2314046"/>
              <a:gd name="connsiteX79" fmla="*/ 9525 w 2962875"/>
              <a:gd name="connsiteY79" fmla="*/ 800100 h 2314046"/>
              <a:gd name="connsiteX80" fmla="*/ 9525 w 2962875"/>
              <a:gd name="connsiteY80" fmla="*/ 871537 h 2314046"/>
              <a:gd name="connsiteX81" fmla="*/ 14287 w 2962875"/>
              <a:gd name="connsiteY81" fmla="*/ 1157287 h 2314046"/>
              <a:gd name="connsiteX82" fmla="*/ 19050 w 2962875"/>
              <a:gd name="connsiteY82" fmla="*/ 1204912 h 2314046"/>
              <a:gd name="connsiteX83" fmla="*/ 28575 w 2962875"/>
              <a:gd name="connsiteY83" fmla="*/ 1243012 h 2314046"/>
              <a:gd name="connsiteX84" fmla="*/ 33337 w 2962875"/>
              <a:gd name="connsiteY84" fmla="*/ 1328737 h 2314046"/>
              <a:gd name="connsiteX85" fmla="*/ 23812 w 2962875"/>
              <a:gd name="connsiteY85" fmla="*/ 1476375 h 2314046"/>
              <a:gd name="connsiteX86" fmla="*/ 14287 w 2962875"/>
              <a:gd name="connsiteY86" fmla="*/ 1562100 h 2314046"/>
              <a:gd name="connsiteX87" fmla="*/ 9525 w 2962875"/>
              <a:gd name="connsiteY87" fmla="*/ 1819275 h 2314046"/>
              <a:gd name="connsiteX88" fmla="*/ 14287 w 2962875"/>
              <a:gd name="connsiteY88" fmla="*/ 2014537 h 2314046"/>
              <a:gd name="connsiteX89" fmla="*/ 23812 w 2962875"/>
              <a:gd name="connsiteY89" fmla="*/ 2066925 h 2314046"/>
              <a:gd name="connsiteX90" fmla="*/ 28575 w 2962875"/>
              <a:gd name="connsiteY90" fmla="*/ 2152650 h 2314046"/>
              <a:gd name="connsiteX91" fmla="*/ 23812 w 2962875"/>
              <a:gd name="connsiteY91" fmla="*/ 2238375 h 2314046"/>
              <a:gd name="connsiteX92" fmla="*/ 14287 w 2962875"/>
              <a:gd name="connsiteY92" fmla="*/ 2300287 h 2314046"/>
              <a:gd name="connsiteX0" fmla="*/ 14287 w 2962875"/>
              <a:gd name="connsiteY0" fmla="*/ 2300287 h 2356144"/>
              <a:gd name="connsiteX1" fmla="*/ 61912 w 2962875"/>
              <a:gd name="connsiteY1" fmla="*/ 2295525 h 2356144"/>
              <a:gd name="connsiteX2" fmla="*/ 95250 w 2962875"/>
              <a:gd name="connsiteY2" fmla="*/ 2286000 h 2356144"/>
              <a:gd name="connsiteX3" fmla="*/ 366712 w 2962875"/>
              <a:gd name="connsiteY3" fmla="*/ 2271712 h 2356144"/>
              <a:gd name="connsiteX4" fmla="*/ 361950 w 2962875"/>
              <a:gd name="connsiteY4" fmla="*/ 2214562 h 2356144"/>
              <a:gd name="connsiteX5" fmla="*/ 381000 w 2962875"/>
              <a:gd name="connsiteY5" fmla="*/ 1985962 h 2356144"/>
              <a:gd name="connsiteX6" fmla="*/ 376237 w 2962875"/>
              <a:gd name="connsiteY6" fmla="*/ 1671637 h 2356144"/>
              <a:gd name="connsiteX7" fmla="*/ 371475 w 2962875"/>
              <a:gd name="connsiteY7" fmla="*/ 1643062 h 2356144"/>
              <a:gd name="connsiteX8" fmla="*/ 366712 w 2962875"/>
              <a:gd name="connsiteY8" fmla="*/ 1585912 h 2356144"/>
              <a:gd name="connsiteX9" fmla="*/ 376237 w 2962875"/>
              <a:gd name="connsiteY9" fmla="*/ 1123950 h 2356144"/>
              <a:gd name="connsiteX10" fmla="*/ 381000 w 2962875"/>
              <a:gd name="connsiteY10" fmla="*/ 1095375 h 2356144"/>
              <a:gd name="connsiteX11" fmla="*/ 385762 w 2962875"/>
              <a:gd name="connsiteY11" fmla="*/ 1062037 h 2356144"/>
              <a:gd name="connsiteX12" fmla="*/ 381000 w 2962875"/>
              <a:gd name="connsiteY12" fmla="*/ 561975 h 2356144"/>
              <a:gd name="connsiteX13" fmla="*/ 376237 w 2962875"/>
              <a:gd name="connsiteY13" fmla="*/ 519112 h 2356144"/>
              <a:gd name="connsiteX14" fmla="*/ 371475 w 2962875"/>
              <a:gd name="connsiteY14" fmla="*/ 471487 h 2356144"/>
              <a:gd name="connsiteX15" fmla="*/ 376237 w 2962875"/>
              <a:gd name="connsiteY15" fmla="*/ 414337 h 2356144"/>
              <a:gd name="connsiteX16" fmla="*/ 433387 w 2962875"/>
              <a:gd name="connsiteY16" fmla="*/ 419100 h 2356144"/>
              <a:gd name="connsiteX17" fmla="*/ 523875 w 2962875"/>
              <a:gd name="connsiteY17" fmla="*/ 414337 h 2356144"/>
              <a:gd name="connsiteX18" fmla="*/ 881062 w 2962875"/>
              <a:gd name="connsiteY18" fmla="*/ 414337 h 2356144"/>
              <a:gd name="connsiteX19" fmla="*/ 914400 w 2962875"/>
              <a:gd name="connsiteY19" fmla="*/ 423862 h 2356144"/>
              <a:gd name="connsiteX20" fmla="*/ 962025 w 2962875"/>
              <a:gd name="connsiteY20" fmla="*/ 428625 h 2356144"/>
              <a:gd name="connsiteX21" fmla="*/ 985837 w 2962875"/>
              <a:gd name="connsiteY21" fmla="*/ 433387 h 2356144"/>
              <a:gd name="connsiteX22" fmla="*/ 1147762 w 2962875"/>
              <a:gd name="connsiteY22" fmla="*/ 423862 h 2356144"/>
              <a:gd name="connsiteX23" fmla="*/ 1166812 w 2962875"/>
              <a:gd name="connsiteY23" fmla="*/ 419100 h 2356144"/>
              <a:gd name="connsiteX24" fmla="*/ 1209675 w 2962875"/>
              <a:gd name="connsiteY24" fmla="*/ 414337 h 2356144"/>
              <a:gd name="connsiteX25" fmla="*/ 1238250 w 2962875"/>
              <a:gd name="connsiteY25" fmla="*/ 409575 h 2356144"/>
              <a:gd name="connsiteX26" fmla="*/ 2433637 w 2962875"/>
              <a:gd name="connsiteY26" fmla="*/ 404812 h 2356144"/>
              <a:gd name="connsiteX27" fmla="*/ 2571750 w 2962875"/>
              <a:gd name="connsiteY27" fmla="*/ 404812 h 2356144"/>
              <a:gd name="connsiteX28" fmla="*/ 2609850 w 2962875"/>
              <a:gd name="connsiteY28" fmla="*/ 423862 h 2356144"/>
              <a:gd name="connsiteX29" fmla="*/ 2619375 w 2962875"/>
              <a:gd name="connsiteY29" fmla="*/ 457200 h 2356144"/>
              <a:gd name="connsiteX30" fmla="*/ 2609850 w 2962875"/>
              <a:gd name="connsiteY30" fmla="*/ 614362 h 2356144"/>
              <a:gd name="connsiteX31" fmla="*/ 2600325 w 2962875"/>
              <a:gd name="connsiteY31" fmla="*/ 652462 h 2356144"/>
              <a:gd name="connsiteX32" fmla="*/ 2595562 w 2962875"/>
              <a:gd name="connsiteY32" fmla="*/ 676275 h 2356144"/>
              <a:gd name="connsiteX33" fmla="*/ 2586037 w 2962875"/>
              <a:gd name="connsiteY33" fmla="*/ 714375 h 2356144"/>
              <a:gd name="connsiteX34" fmla="*/ 2586037 w 2962875"/>
              <a:gd name="connsiteY34" fmla="*/ 1071562 h 2356144"/>
              <a:gd name="connsiteX35" fmla="*/ 2590800 w 2962875"/>
              <a:gd name="connsiteY35" fmla="*/ 1104900 h 2356144"/>
              <a:gd name="connsiteX36" fmla="*/ 2600325 w 2962875"/>
              <a:gd name="connsiteY36" fmla="*/ 1176337 h 2356144"/>
              <a:gd name="connsiteX37" fmla="*/ 2605087 w 2962875"/>
              <a:gd name="connsiteY37" fmla="*/ 1209675 h 2356144"/>
              <a:gd name="connsiteX38" fmla="*/ 2624137 w 2962875"/>
              <a:gd name="connsiteY38" fmla="*/ 1314450 h 2356144"/>
              <a:gd name="connsiteX39" fmla="*/ 2619375 w 2962875"/>
              <a:gd name="connsiteY39" fmla="*/ 1371600 h 2356144"/>
              <a:gd name="connsiteX40" fmla="*/ 2614612 w 2962875"/>
              <a:gd name="connsiteY40" fmla="*/ 1443037 h 2356144"/>
              <a:gd name="connsiteX41" fmla="*/ 2600325 w 2962875"/>
              <a:gd name="connsiteY41" fmla="*/ 1485900 h 2356144"/>
              <a:gd name="connsiteX42" fmla="*/ 2595562 w 2962875"/>
              <a:gd name="connsiteY42" fmla="*/ 1514475 h 2356144"/>
              <a:gd name="connsiteX43" fmla="*/ 2581275 w 2962875"/>
              <a:gd name="connsiteY43" fmla="*/ 1652587 h 2356144"/>
              <a:gd name="connsiteX44" fmla="*/ 2586037 w 2962875"/>
              <a:gd name="connsiteY44" fmla="*/ 1933575 h 2356144"/>
              <a:gd name="connsiteX45" fmla="*/ 2590800 w 2962875"/>
              <a:gd name="connsiteY45" fmla="*/ 1966912 h 2356144"/>
              <a:gd name="connsiteX46" fmla="*/ 2605087 w 2962875"/>
              <a:gd name="connsiteY46" fmla="*/ 2005012 h 2356144"/>
              <a:gd name="connsiteX47" fmla="*/ 2614612 w 2962875"/>
              <a:gd name="connsiteY47" fmla="*/ 2066925 h 2356144"/>
              <a:gd name="connsiteX48" fmla="*/ 2638425 w 2962875"/>
              <a:gd name="connsiteY48" fmla="*/ 2276475 h 2356144"/>
              <a:gd name="connsiteX49" fmla="*/ 2611437 w 2962875"/>
              <a:gd name="connsiteY49" fmla="*/ 2355850 h 2356144"/>
              <a:gd name="connsiteX50" fmla="*/ 2851150 w 2962875"/>
              <a:gd name="connsiteY50" fmla="*/ 2303462 h 2356144"/>
              <a:gd name="connsiteX51" fmla="*/ 2957512 w 2962875"/>
              <a:gd name="connsiteY51" fmla="*/ 2305050 h 2356144"/>
              <a:gd name="connsiteX52" fmla="*/ 2947987 w 2962875"/>
              <a:gd name="connsiteY52" fmla="*/ 2181225 h 2356144"/>
              <a:gd name="connsiteX53" fmla="*/ 2955925 w 2962875"/>
              <a:gd name="connsiteY53" fmla="*/ 2008187 h 2356144"/>
              <a:gd name="connsiteX54" fmla="*/ 2962275 w 2962875"/>
              <a:gd name="connsiteY54" fmla="*/ 1804987 h 2356144"/>
              <a:gd name="connsiteX55" fmla="*/ 2952750 w 2962875"/>
              <a:gd name="connsiteY55" fmla="*/ 1366837 h 2356144"/>
              <a:gd name="connsiteX56" fmla="*/ 2947987 w 2962875"/>
              <a:gd name="connsiteY56" fmla="*/ 1081087 h 2356144"/>
              <a:gd name="connsiteX57" fmla="*/ 2947987 w 2962875"/>
              <a:gd name="connsiteY57" fmla="*/ 922337 h 2356144"/>
              <a:gd name="connsiteX58" fmla="*/ 2952750 w 2962875"/>
              <a:gd name="connsiteY58" fmla="*/ 571500 h 2356144"/>
              <a:gd name="connsiteX59" fmla="*/ 2957512 w 2962875"/>
              <a:gd name="connsiteY59" fmla="*/ 342900 h 2356144"/>
              <a:gd name="connsiteX60" fmla="*/ 2957512 w 2962875"/>
              <a:gd name="connsiteY60" fmla="*/ 34925 h 2356144"/>
              <a:gd name="connsiteX61" fmla="*/ 2867025 w 2962875"/>
              <a:gd name="connsiteY61" fmla="*/ 19050 h 2356144"/>
              <a:gd name="connsiteX62" fmla="*/ 2724150 w 2962875"/>
              <a:gd name="connsiteY62" fmla="*/ 9525 h 2356144"/>
              <a:gd name="connsiteX63" fmla="*/ 2381250 w 2962875"/>
              <a:gd name="connsiteY63" fmla="*/ 14287 h 2356144"/>
              <a:gd name="connsiteX64" fmla="*/ 2324100 w 2962875"/>
              <a:gd name="connsiteY64" fmla="*/ 23812 h 2356144"/>
              <a:gd name="connsiteX65" fmla="*/ 1909762 w 2962875"/>
              <a:gd name="connsiteY65" fmla="*/ 19050 h 2356144"/>
              <a:gd name="connsiteX66" fmla="*/ 1804987 w 2962875"/>
              <a:gd name="connsiteY66" fmla="*/ 9525 h 2356144"/>
              <a:gd name="connsiteX67" fmla="*/ 1776412 w 2962875"/>
              <a:gd name="connsiteY67" fmla="*/ 0 h 2356144"/>
              <a:gd name="connsiteX68" fmla="*/ 1528762 w 2962875"/>
              <a:gd name="connsiteY68" fmla="*/ 4762 h 2356144"/>
              <a:gd name="connsiteX69" fmla="*/ 1143000 w 2962875"/>
              <a:gd name="connsiteY69" fmla="*/ 38100 h 2356144"/>
              <a:gd name="connsiteX70" fmla="*/ 309562 w 2962875"/>
              <a:gd name="connsiteY70" fmla="*/ 23812 h 2356144"/>
              <a:gd name="connsiteX71" fmla="*/ 247650 w 2962875"/>
              <a:gd name="connsiteY71" fmla="*/ 14287 h 2356144"/>
              <a:gd name="connsiteX72" fmla="*/ 185737 w 2962875"/>
              <a:gd name="connsiteY72" fmla="*/ 9525 h 2356144"/>
              <a:gd name="connsiteX73" fmla="*/ 19050 w 2962875"/>
              <a:gd name="connsiteY73" fmla="*/ 14287 h 2356144"/>
              <a:gd name="connsiteX74" fmla="*/ 4762 w 2962875"/>
              <a:gd name="connsiteY74" fmla="*/ 19050 h 2356144"/>
              <a:gd name="connsiteX75" fmla="*/ 9525 w 2962875"/>
              <a:gd name="connsiteY75" fmla="*/ 85725 h 2356144"/>
              <a:gd name="connsiteX76" fmla="*/ 23812 w 2962875"/>
              <a:gd name="connsiteY76" fmla="*/ 171450 h 2356144"/>
              <a:gd name="connsiteX77" fmla="*/ 14287 w 2962875"/>
              <a:gd name="connsiteY77" fmla="*/ 390525 h 2356144"/>
              <a:gd name="connsiteX78" fmla="*/ 0 w 2962875"/>
              <a:gd name="connsiteY78" fmla="*/ 466725 h 2356144"/>
              <a:gd name="connsiteX79" fmla="*/ 9525 w 2962875"/>
              <a:gd name="connsiteY79" fmla="*/ 800100 h 2356144"/>
              <a:gd name="connsiteX80" fmla="*/ 9525 w 2962875"/>
              <a:gd name="connsiteY80" fmla="*/ 871537 h 2356144"/>
              <a:gd name="connsiteX81" fmla="*/ 14287 w 2962875"/>
              <a:gd name="connsiteY81" fmla="*/ 1157287 h 2356144"/>
              <a:gd name="connsiteX82" fmla="*/ 19050 w 2962875"/>
              <a:gd name="connsiteY82" fmla="*/ 1204912 h 2356144"/>
              <a:gd name="connsiteX83" fmla="*/ 28575 w 2962875"/>
              <a:gd name="connsiteY83" fmla="*/ 1243012 h 2356144"/>
              <a:gd name="connsiteX84" fmla="*/ 33337 w 2962875"/>
              <a:gd name="connsiteY84" fmla="*/ 1328737 h 2356144"/>
              <a:gd name="connsiteX85" fmla="*/ 23812 w 2962875"/>
              <a:gd name="connsiteY85" fmla="*/ 1476375 h 2356144"/>
              <a:gd name="connsiteX86" fmla="*/ 14287 w 2962875"/>
              <a:gd name="connsiteY86" fmla="*/ 1562100 h 2356144"/>
              <a:gd name="connsiteX87" fmla="*/ 9525 w 2962875"/>
              <a:gd name="connsiteY87" fmla="*/ 1819275 h 2356144"/>
              <a:gd name="connsiteX88" fmla="*/ 14287 w 2962875"/>
              <a:gd name="connsiteY88" fmla="*/ 2014537 h 2356144"/>
              <a:gd name="connsiteX89" fmla="*/ 23812 w 2962875"/>
              <a:gd name="connsiteY89" fmla="*/ 2066925 h 2356144"/>
              <a:gd name="connsiteX90" fmla="*/ 28575 w 2962875"/>
              <a:gd name="connsiteY90" fmla="*/ 2152650 h 2356144"/>
              <a:gd name="connsiteX91" fmla="*/ 23812 w 2962875"/>
              <a:gd name="connsiteY91" fmla="*/ 2238375 h 2356144"/>
              <a:gd name="connsiteX92" fmla="*/ 14287 w 2962875"/>
              <a:gd name="connsiteY92" fmla="*/ 2300287 h 2356144"/>
              <a:gd name="connsiteX0" fmla="*/ 14287 w 2962875"/>
              <a:gd name="connsiteY0" fmla="*/ 2300287 h 2358736"/>
              <a:gd name="connsiteX1" fmla="*/ 61912 w 2962875"/>
              <a:gd name="connsiteY1" fmla="*/ 2295525 h 2358736"/>
              <a:gd name="connsiteX2" fmla="*/ 95250 w 2962875"/>
              <a:gd name="connsiteY2" fmla="*/ 2286000 h 2358736"/>
              <a:gd name="connsiteX3" fmla="*/ 366712 w 2962875"/>
              <a:gd name="connsiteY3" fmla="*/ 2271712 h 2358736"/>
              <a:gd name="connsiteX4" fmla="*/ 361950 w 2962875"/>
              <a:gd name="connsiteY4" fmla="*/ 2214562 h 2358736"/>
              <a:gd name="connsiteX5" fmla="*/ 381000 w 2962875"/>
              <a:gd name="connsiteY5" fmla="*/ 1985962 h 2358736"/>
              <a:gd name="connsiteX6" fmla="*/ 376237 w 2962875"/>
              <a:gd name="connsiteY6" fmla="*/ 1671637 h 2358736"/>
              <a:gd name="connsiteX7" fmla="*/ 371475 w 2962875"/>
              <a:gd name="connsiteY7" fmla="*/ 1643062 h 2358736"/>
              <a:gd name="connsiteX8" fmla="*/ 366712 w 2962875"/>
              <a:gd name="connsiteY8" fmla="*/ 1585912 h 2358736"/>
              <a:gd name="connsiteX9" fmla="*/ 376237 w 2962875"/>
              <a:gd name="connsiteY9" fmla="*/ 1123950 h 2358736"/>
              <a:gd name="connsiteX10" fmla="*/ 381000 w 2962875"/>
              <a:gd name="connsiteY10" fmla="*/ 1095375 h 2358736"/>
              <a:gd name="connsiteX11" fmla="*/ 385762 w 2962875"/>
              <a:gd name="connsiteY11" fmla="*/ 1062037 h 2358736"/>
              <a:gd name="connsiteX12" fmla="*/ 381000 w 2962875"/>
              <a:gd name="connsiteY12" fmla="*/ 561975 h 2358736"/>
              <a:gd name="connsiteX13" fmla="*/ 376237 w 2962875"/>
              <a:gd name="connsiteY13" fmla="*/ 519112 h 2358736"/>
              <a:gd name="connsiteX14" fmla="*/ 371475 w 2962875"/>
              <a:gd name="connsiteY14" fmla="*/ 471487 h 2358736"/>
              <a:gd name="connsiteX15" fmla="*/ 376237 w 2962875"/>
              <a:gd name="connsiteY15" fmla="*/ 414337 h 2358736"/>
              <a:gd name="connsiteX16" fmla="*/ 433387 w 2962875"/>
              <a:gd name="connsiteY16" fmla="*/ 419100 h 2358736"/>
              <a:gd name="connsiteX17" fmla="*/ 523875 w 2962875"/>
              <a:gd name="connsiteY17" fmla="*/ 414337 h 2358736"/>
              <a:gd name="connsiteX18" fmla="*/ 881062 w 2962875"/>
              <a:gd name="connsiteY18" fmla="*/ 414337 h 2358736"/>
              <a:gd name="connsiteX19" fmla="*/ 914400 w 2962875"/>
              <a:gd name="connsiteY19" fmla="*/ 423862 h 2358736"/>
              <a:gd name="connsiteX20" fmla="*/ 962025 w 2962875"/>
              <a:gd name="connsiteY20" fmla="*/ 428625 h 2358736"/>
              <a:gd name="connsiteX21" fmla="*/ 985837 w 2962875"/>
              <a:gd name="connsiteY21" fmla="*/ 433387 h 2358736"/>
              <a:gd name="connsiteX22" fmla="*/ 1147762 w 2962875"/>
              <a:gd name="connsiteY22" fmla="*/ 423862 h 2358736"/>
              <a:gd name="connsiteX23" fmla="*/ 1166812 w 2962875"/>
              <a:gd name="connsiteY23" fmla="*/ 419100 h 2358736"/>
              <a:gd name="connsiteX24" fmla="*/ 1209675 w 2962875"/>
              <a:gd name="connsiteY24" fmla="*/ 414337 h 2358736"/>
              <a:gd name="connsiteX25" fmla="*/ 1238250 w 2962875"/>
              <a:gd name="connsiteY25" fmla="*/ 409575 h 2358736"/>
              <a:gd name="connsiteX26" fmla="*/ 2433637 w 2962875"/>
              <a:gd name="connsiteY26" fmla="*/ 404812 h 2358736"/>
              <a:gd name="connsiteX27" fmla="*/ 2571750 w 2962875"/>
              <a:gd name="connsiteY27" fmla="*/ 404812 h 2358736"/>
              <a:gd name="connsiteX28" fmla="*/ 2609850 w 2962875"/>
              <a:gd name="connsiteY28" fmla="*/ 423862 h 2358736"/>
              <a:gd name="connsiteX29" fmla="*/ 2619375 w 2962875"/>
              <a:gd name="connsiteY29" fmla="*/ 457200 h 2358736"/>
              <a:gd name="connsiteX30" fmla="*/ 2609850 w 2962875"/>
              <a:gd name="connsiteY30" fmla="*/ 614362 h 2358736"/>
              <a:gd name="connsiteX31" fmla="*/ 2600325 w 2962875"/>
              <a:gd name="connsiteY31" fmla="*/ 652462 h 2358736"/>
              <a:gd name="connsiteX32" fmla="*/ 2595562 w 2962875"/>
              <a:gd name="connsiteY32" fmla="*/ 676275 h 2358736"/>
              <a:gd name="connsiteX33" fmla="*/ 2586037 w 2962875"/>
              <a:gd name="connsiteY33" fmla="*/ 714375 h 2358736"/>
              <a:gd name="connsiteX34" fmla="*/ 2586037 w 2962875"/>
              <a:gd name="connsiteY34" fmla="*/ 1071562 h 2358736"/>
              <a:gd name="connsiteX35" fmla="*/ 2590800 w 2962875"/>
              <a:gd name="connsiteY35" fmla="*/ 1104900 h 2358736"/>
              <a:gd name="connsiteX36" fmla="*/ 2600325 w 2962875"/>
              <a:gd name="connsiteY36" fmla="*/ 1176337 h 2358736"/>
              <a:gd name="connsiteX37" fmla="*/ 2605087 w 2962875"/>
              <a:gd name="connsiteY37" fmla="*/ 1209675 h 2358736"/>
              <a:gd name="connsiteX38" fmla="*/ 2624137 w 2962875"/>
              <a:gd name="connsiteY38" fmla="*/ 1314450 h 2358736"/>
              <a:gd name="connsiteX39" fmla="*/ 2619375 w 2962875"/>
              <a:gd name="connsiteY39" fmla="*/ 1371600 h 2358736"/>
              <a:gd name="connsiteX40" fmla="*/ 2614612 w 2962875"/>
              <a:gd name="connsiteY40" fmla="*/ 1443037 h 2358736"/>
              <a:gd name="connsiteX41" fmla="*/ 2600325 w 2962875"/>
              <a:gd name="connsiteY41" fmla="*/ 1485900 h 2358736"/>
              <a:gd name="connsiteX42" fmla="*/ 2595562 w 2962875"/>
              <a:gd name="connsiteY42" fmla="*/ 1514475 h 2358736"/>
              <a:gd name="connsiteX43" fmla="*/ 2581275 w 2962875"/>
              <a:gd name="connsiteY43" fmla="*/ 1652587 h 2358736"/>
              <a:gd name="connsiteX44" fmla="*/ 2586037 w 2962875"/>
              <a:gd name="connsiteY44" fmla="*/ 1933575 h 2358736"/>
              <a:gd name="connsiteX45" fmla="*/ 2590800 w 2962875"/>
              <a:gd name="connsiteY45" fmla="*/ 1966912 h 2358736"/>
              <a:gd name="connsiteX46" fmla="*/ 2605087 w 2962875"/>
              <a:gd name="connsiteY46" fmla="*/ 2005012 h 2358736"/>
              <a:gd name="connsiteX47" fmla="*/ 2614612 w 2962875"/>
              <a:gd name="connsiteY47" fmla="*/ 2066925 h 2358736"/>
              <a:gd name="connsiteX48" fmla="*/ 2616200 w 2962875"/>
              <a:gd name="connsiteY48" fmla="*/ 2203450 h 2358736"/>
              <a:gd name="connsiteX49" fmla="*/ 2611437 w 2962875"/>
              <a:gd name="connsiteY49" fmla="*/ 2355850 h 2358736"/>
              <a:gd name="connsiteX50" fmla="*/ 2851150 w 2962875"/>
              <a:gd name="connsiteY50" fmla="*/ 2303462 h 2358736"/>
              <a:gd name="connsiteX51" fmla="*/ 2957512 w 2962875"/>
              <a:gd name="connsiteY51" fmla="*/ 2305050 h 2358736"/>
              <a:gd name="connsiteX52" fmla="*/ 2947987 w 2962875"/>
              <a:gd name="connsiteY52" fmla="*/ 2181225 h 2358736"/>
              <a:gd name="connsiteX53" fmla="*/ 2955925 w 2962875"/>
              <a:gd name="connsiteY53" fmla="*/ 2008187 h 2358736"/>
              <a:gd name="connsiteX54" fmla="*/ 2962275 w 2962875"/>
              <a:gd name="connsiteY54" fmla="*/ 1804987 h 2358736"/>
              <a:gd name="connsiteX55" fmla="*/ 2952750 w 2962875"/>
              <a:gd name="connsiteY55" fmla="*/ 1366837 h 2358736"/>
              <a:gd name="connsiteX56" fmla="*/ 2947987 w 2962875"/>
              <a:gd name="connsiteY56" fmla="*/ 1081087 h 2358736"/>
              <a:gd name="connsiteX57" fmla="*/ 2947987 w 2962875"/>
              <a:gd name="connsiteY57" fmla="*/ 922337 h 2358736"/>
              <a:gd name="connsiteX58" fmla="*/ 2952750 w 2962875"/>
              <a:gd name="connsiteY58" fmla="*/ 571500 h 2358736"/>
              <a:gd name="connsiteX59" fmla="*/ 2957512 w 2962875"/>
              <a:gd name="connsiteY59" fmla="*/ 342900 h 2358736"/>
              <a:gd name="connsiteX60" fmla="*/ 2957512 w 2962875"/>
              <a:gd name="connsiteY60" fmla="*/ 34925 h 2358736"/>
              <a:gd name="connsiteX61" fmla="*/ 2867025 w 2962875"/>
              <a:gd name="connsiteY61" fmla="*/ 19050 h 2358736"/>
              <a:gd name="connsiteX62" fmla="*/ 2724150 w 2962875"/>
              <a:gd name="connsiteY62" fmla="*/ 9525 h 2358736"/>
              <a:gd name="connsiteX63" fmla="*/ 2381250 w 2962875"/>
              <a:gd name="connsiteY63" fmla="*/ 14287 h 2358736"/>
              <a:gd name="connsiteX64" fmla="*/ 2324100 w 2962875"/>
              <a:gd name="connsiteY64" fmla="*/ 23812 h 2358736"/>
              <a:gd name="connsiteX65" fmla="*/ 1909762 w 2962875"/>
              <a:gd name="connsiteY65" fmla="*/ 19050 h 2358736"/>
              <a:gd name="connsiteX66" fmla="*/ 1804987 w 2962875"/>
              <a:gd name="connsiteY66" fmla="*/ 9525 h 2358736"/>
              <a:gd name="connsiteX67" fmla="*/ 1776412 w 2962875"/>
              <a:gd name="connsiteY67" fmla="*/ 0 h 2358736"/>
              <a:gd name="connsiteX68" fmla="*/ 1528762 w 2962875"/>
              <a:gd name="connsiteY68" fmla="*/ 4762 h 2358736"/>
              <a:gd name="connsiteX69" fmla="*/ 1143000 w 2962875"/>
              <a:gd name="connsiteY69" fmla="*/ 38100 h 2358736"/>
              <a:gd name="connsiteX70" fmla="*/ 309562 w 2962875"/>
              <a:gd name="connsiteY70" fmla="*/ 23812 h 2358736"/>
              <a:gd name="connsiteX71" fmla="*/ 247650 w 2962875"/>
              <a:gd name="connsiteY71" fmla="*/ 14287 h 2358736"/>
              <a:gd name="connsiteX72" fmla="*/ 185737 w 2962875"/>
              <a:gd name="connsiteY72" fmla="*/ 9525 h 2358736"/>
              <a:gd name="connsiteX73" fmla="*/ 19050 w 2962875"/>
              <a:gd name="connsiteY73" fmla="*/ 14287 h 2358736"/>
              <a:gd name="connsiteX74" fmla="*/ 4762 w 2962875"/>
              <a:gd name="connsiteY74" fmla="*/ 19050 h 2358736"/>
              <a:gd name="connsiteX75" fmla="*/ 9525 w 2962875"/>
              <a:gd name="connsiteY75" fmla="*/ 85725 h 2358736"/>
              <a:gd name="connsiteX76" fmla="*/ 23812 w 2962875"/>
              <a:gd name="connsiteY76" fmla="*/ 171450 h 2358736"/>
              <a:gd name="connsiteX77" fmla="*/ 14287 w 2962875"/>
              <a:gd name="connsiteY77" fmla="*/ 390525 h 2358736"/>
              <a:gd name="connsiteX78" fmla="*/ 0 w 2962875"/>
              <a:gd name="connsiteY78" fmla="*/ 466725 h 2358736"/>
              <a:gd name="connsiteX79" fmla="*/ 9525 w 2962875"/>
              <a:gd name="connsiteY79" fmla="*/ 800100 h 2358736"/>
              <a:gd name="connsiteX80" fmla="*/ 9525 w 2962875"/>
              <a:gd name="connsiteY80" fmla="*/ 871537 h 2358736"/>
              <a:gd name="connsiteX81" fmla="*/ 14287 w 2962875"/>
              <a:gd name="connsiteY81" fmla="*/ 1157287 h 2358736"/>
              <a:gd name="connsiteX82" fmla="*/ 19050 w 2962875"/>
              <a:gd name="connsiteY82" fmla="*/ 1204912 h 2358736"/>
              <a:gd name="connsiteX83" fmla="*/ 28575 w 2962875"/>
              <a:gd name="connsiteY83" fmla="*/ 1243012 h 2358736"/>
              <a:gd name="connsiteX84" fmla="*/ 33337 w 2962875"/>
              <a:gd name="connsiteY84" fmla="*/ 1328737 h 2358736"/>
              <a:gd name="connsiteX85" fmla="*/ 23812 w 2962875"/>
              <a:gd name="connsiteY85" fmla="*/ 1476375 h 2358736"/>
              <a:gd name="connsiteX86" fmla="*/ 14287 w 2962875"/>
              <a:gd name="connsiteY86" fmla="*/ 1562100 h 2358736"/>
              <a:gd name="connsiteX87" fmla="*/ 9525 w 2962875"/>
              <a:gd name="connsiteY87" fmla="*/ 1819275 h 2358736"/>
              <a:gd name="connsiteX88" fmla="*/ 14287 w 2962875"/>
              <a:gd name="connsiteY88" fmla="*/ 2014537 h 2358736"/>
              <a:gd name="connsiteX89" fmla="*/ 23812 w 2962875"/>
              <a:gd name="connsiteY89" fmla="*/ 2066925 h 2358736"/>
              <a:gd name="connsiteX90" fmla="*/ 28575 w 2962875"/>
              <a:gd name="connsiteY90" fmla="*/ 2152650 h 2358736"/>
              <a:gd name="connsiteX91" fmla="*/ 23812 w 2962875"/>
              <a:gd name="connsiteY91" fmla="*/ 2238375 h 2358736"/>
              <a:gd name="connsiteX92" fmla="*/ 14287 w 2962875"/>
              <a:gd name="connsiteY92" fmla="*/ 2300287 h 2358736"/>
              <a:gd name="connsiteX0" fmla="*/ 14287 w 2962875"/>
              <a:gd name="connsiteY0" fmla="*/ 2300287 h 2322913"/>
              <a:gd name="connsiteX1" fmla="*/ 61912 w 2962875"/>
              <a:gd name="connsiteY1" fmla="*/ 2295525 h 2322913"/>
              <a:gd name="connsiteX2" fmla="*/ 95250 w 2962875"/>
              <a:gd name="connsiteY2" fmla="*/ 2286000 h 2322913"/>
              <a:gd name="connsiteX3" fmla="*/ 366712 w 2962875"/>
              <a:gd name="connsiteY3" fmla="*/ 2271712 h 2322913"/>
              <a:gd name="connsiteX4" fmla="*/ 361950 w 2962875"/>
              <a:gd name="connsiteY4" fmla="*/ 2214562 h 2322913"/>
              <a:gd name="connsiteX5" fmla="*/ 381000 w 2962875"/>
              <a:gd name="connsiteY5" fmla="*/ 1985962 h 2322913"/>
              <a:gd name="connsiteX6" fmla="*/ 376237 w 2962875"/>
              <a:gd name="connsiteY6" fmla="*/ 1671637 h 2322913"/>
              <a:gd name="connsiteX7" fmla="*/ 371475 w 2962875"/>
              <a:gd name="connsiteY7" fmla="*/ 1643062 h 2322913"/>
              <a:gd name="connsiteX8" fmla="*/ 366712 w 2962875"/>
              <a:gd name="connsiteY8" fmla="*/ 1585912 h 2322913"/>
              <a:gd name="connsiteX9" fmla="*/ 376237 w 2962875"/>
              <a:gd name="connsiteY9" fmla="*/ 1123950 h 2322913"/>
              <a:gd name="connsiteX10" fmla="*/ 381000 w 2962875"/>
              <a:gd name="connsiteY10" fmla="*/ 1095375 h 2322913"/>
              <a:gd name="connsiteX11" fmla="*/ 385762 w 2962875"/>
              <a:gd name="connsiteY11" fmla="*/ 1062037 h 2322913"/>
              <a:gd name="connsiteX12" fmla="*/ 381000 w 2962875"/>
              <a:gd name="connsiteY12" fmla="*/ 561975 h 2322913"/>
              <a:gd name="connsiteX13" fmla="*/ 376237 w 2962875"/>
              <a:gd name="connsiteY13" fmla="*/ 519112 h 2322913"/>
              <a:gd name="connsiteX14" fmla="*/ 371475 w 2962875"/>
              <a:gd name="connsiteY14" fmla="*/ 471487 h 2322913"/>
              <a:gd name="connsiteX15" fmla="*/ 376237 w 2962875"/>
              <a:gd name="connsiteY15" fmla="*/ 414337 h 2322913"/>
              <a:gd name="connsiteX16" fmla="*/ 433387 w 2962875"/>
              <a:gd name="connsiteY16" fmla="*/ 419100 h 2322913"/>
              <a:gd name="connsiteX17" fmla="*/ 523875 w 2962875"/>
              <a:gd name="connsiteY17" fmla="*/ 414337 h 2322913"/>
              <a:gd name="connsiteX18" fmla="*/ 881062 w 2962875"/>
              <a:gd name="connsiteY18" fmla="*/ 414337 h 2322913"/>
              <a:gd name="connsiteX19" fmla="*/ 914400 w 2962875"/>
              <a:gd name="connsiteY19" fmla="*/ 423862 h 2322913"/>
              <a:gd name="connsiteX20" fmla="*/ 962025 w 2962875"/>
              <a:gd name="connsiteY20" fmla="*/ 428625 h 2322913"/>
              <a:gd name="connsiteX21" fmla="*/ 985837 w 2962875"/>
              <a:gd name="connsiteY21" fmla="*/ 433387 h 2322913"/>
              <a:gd name="connsiteX22" fmla="*/ 1147762 w 2962875"/>
              <a:gd name="connsiteY22" fmla="*/ 423862 h 2322913"/>
              <a:gd name="connsiteX23" fmla="*/ 1166812 w 2962875"/>
              <a:gd name="connsiteY23" fmla="*/ 419100 h 2322913"/>
              <a:gd name="connsiteX24" fmla="*/ 1209675 w 2962875"/>
              <a:gd name="connsiteY24" fmla="*/ 414337 h 2322913"/>
              <a:gd name="connsiteX25" fmla="*/ 1238250 w 2962875"/>
              <a:gd name="connsiteY25" fmla="*/ 409575 h 2322913"/>
              <a:gd name="connsiteX26" fmla="*/ 2433637 w 2962875"/>
              <a:gd name="connsiteY26" fmla="*/ 404812 h 2322913"/>
              <a:gd name="connsiteX27" fmla="*/ 2571750 w 2962875"/>
              <a:gd name="connsiteY27" fmla="*/ 404812 h 2322913"/>
              <a:gd name="connsiteX28" fmla="*/ 2609850 w 2962875"/>
              <a:gd name="connsiteY28" fmla="*/ 423862 h 2322913"/>
              <a:gd name="connsiteX29" fmla="*/ 2619375 w 2962875"/>
              <a:gd name="connsiteY29" fmla="*/ 457200 h 2322913"/>
              <a:gd name="connsiteX30" fmla="*/ 2609850 w 2962875"/>
              <a:gd name="connsiteY30" fmla="*/ 614362 h 2322913"/>
              <a:gd name="connsiteX31" fmla="*/ 2600325 w 2962875"/>
              <a:gd name="connsiteY31" fmla="*/ 652462 h 2322913"/>
              <a:gd name="connsiteX32" fmla="*/ 2595562 w 2962875"/>
              <a:gd name="connsiteY32" fmla="*/ 676275 h 2322913"/>
              <a:gd name="connsiteX33" fmla="*/ 2586037 w 2962875"/>
              <a:gd name="connsiteY33" fmla="*/ 714375 h 2322913"/>
              <a:gd name="connsiteX34" fmla="*/ 2586037 w 2962875"/>
              <a:gd name="connsiteY34" fmla="*/ 1071562 h 2322913"/>
              <a:gd name="connsiteX35" fmla="*/ 2590800 w 2962875"/>
              <a:gd name="connsiteY35" fmla="*/ 1104900 h 2322913"/>
              <a:gd name="connsiteX36" fmla="*/ 2600325 w 2962875"/>
              <a:gd name="connsiteY36" fmla="*/ 1176337 h 2322913"/>
              <a:gd name="connsiteX37" fmla="*/ 2605087 w 2962875"/>
              <a:gd name="connsiteY37" fmla="*/ 1209675 h 2322913"/>
              <a:gd name="connsiteX38" fmla="*/ 2624137 w 2962875"/>
              <a:gd name="connsiteY38" fmla="*/ 1314450 h 2322913"/>
              <a:gd name="connsiteX39" fmla="*/ 2619375 w 2962875"/>
              <a:gd name="connsiteY39" fmla="*/ 1371600 h 2322913"/>
              <a:gd name="connsiteX40" fmla="*/ 2614612 w 2962875"/>
              <a:gd name="connsiteY40" fmla="*/ 1443037 h 2322913"/>
              <a:gd name="connsiteX41" fmla="*/ 2600325 w 2962875"/>
              <a:gd name="connsiteY41" fmla="*/ 1485900 h 2322913"/>
              <a:gd name="connsiteX42" fmla="*/ 2595562 w 2962875"/>
              <a:gd name="connsiteY42" fmla="*/ 1514475 h 2322913"/>
              <a:gd name="connsiteX43" fmla="*/ 2581275 w 2962875"/>
              <a:gd name="connsiteY43" fmla="*/ 1652587 h 2322913"/>
              <a:gd name="connsiteX44" fmla="*/ 2586037 w 2962875"/>
              <a:gd name="connsiteY44" fmla="*/ 1933575 h 2322913"/>
              <a:gd name="connsiteX45" fmla="*/ 2590800 w 2962875"/>
              <a:gd name="connsiteY45" fmla="*/ 1966912 h 2322913"/>
              <a:gd name="connsiteX46" fmla="*/ 2605087 w 2962875"/>
              <a:gd name="connsiteY46" fmla="*/ 2005012 h 2322913"/>
              <a:gd name="connsiteX47" fmla="*/ 2614612 w 2962875"/>
              <a:gd name="connsiteY47" fmla="*/ 2066925 h 2322913"/>
              <a:gd name="connsiteX48" fmla="*/ 2616200 w 2962875"/>
              <a:gd name="connsiteY48" fmla="*/ 2203450 h 2322913"/>
              <a:gd name="connsiteX49" fmla="*/ 2627312 w 2962875"/>
              <a:gd name="connsiteY49" fmla="*/ 2317750 h 2322913"/>
              <a:gd name="connsiteX50" fmla="*/ 2851150 w 2962875"/>
              <a:gd name="connsiteY50" fmla="*/ 2303462 h 2322913"/>
              <a:gd name="connsiteX51" fmla="*/ 2957512 w 2962875"/>
              <a:gd name="connsiteY51" fmla="*/ 2305050 h 2322913"/>
              <a:gd name="connsiteX52" fmla="*/ 2947987 w 2962875"/>
              <a:gd name="connsiteY52" fmla="*/ 2181225 h 2322913"/>
              <a:gd name="connsiteX53" fmla="*/ 2955925 w 2962875"/>
              <a:gd name="connsiteY53" fmla="*/ 2008187 h 2322913"/>
              <a:gd name="connsiteX54" fmla="*/ 2962275 w 2962875"/>
              <a:gd name="connsiteY54" fmla="*/ 1804987 h 2322913"/>
              <a:gd name="connsiteX55" fmla="*/ 2952750 w 2962875"/>
              <a:gd name="connsiteY55" fmla="*/ 1366837 h 2322913"/>
              <a:gd name="connsiteX56" fmla="*/ 2947987 w 2962875"/>
              <a:gd name="connsiteY56" fmla="*/ 1081087 h 2322913"/>
              <a:gd name="connsiteX57" fmla="*/ 2947987 w 2962875"/>
              <a:gd name="connsiteY57" fmla="*/ 922337 h 2322913"/>
              <a:gd name="connsiteX58" fmla="*/ 2952750 w 2962875"/>
              <a:gd name="connsiteY58" fmla="*/ 571500 h 2322913"/>
              <a:gd name="connsiteX59" fmla="*/ 2957512 w 2962875"/>
              <a:gd name="connsiteY59" fmla="*/ 342900 h 2322913"/>
              <a:gd name="connsiteX60" fmla="*/ 2957512 w 2962875"/>
              <a:gd name="connsiteY60" fmla="*/ 34925 h 2322913"/>
              <a:gd name="connsiteX61" fmla="*/ 2867025 w 2962875"/>
              <a:gd name="connsiteY61" fmla="*/ 19050 h 2322913"/>
              <a:gd name="connsiteX62" fmla="*/ 2724150 w 2962875"/>
              <a:gd name="connsiteY62" fmla="*/ 9525 h 2322913"/>
              <a:gd name="connsiteX63" fmla="*/ 2381250 w 2962875"/>
              <a:gd name="connsiteY63" fmla="*/ 14287 h 2322913"/>
              <a:gd name="connsiteX64" fmla="*/ 2324100 w 2962875"/>
              <a:gd name="connsiteY64" fmla="*/ 23812 h 2322913"/>
              <a:gd name="connsiteX65" fmla="*/ 1909762 w 2962875"/>
              <a:gd name="connsiteY65" fmla="*/ 19050 h 2322913"/>
              <a:gd name="connsiteX66" fmla="*/ 1804987 w 2962875"/>
              <a:gd name="connsiteY66" fmla="*/ 9525 h 2322913"/>
              <a:gd name="connsiteX67" fmla="*/ 1776412 w 2962875"/>
              <a:gd name="connsiteY67" fmla="*/ 0 h 2322913"/>
              <a:gd name="connsiteX68" fmla="*/ 1528762 w 2962875"/>
              <a:gd name="connsiteY68" fmla="*/ 4762 h 2322913"/>
              <a:gd name="connsiteX69" fmla="*/ 1143000 w 2962875"/>
              <a:gd name="connsiteY69" fmla="*/ 38100 h 2322913"/>
              <a:gd name="connsiteX70" fmla="*/ 309562 w 2962875"/>
              <a:gd name="connsiteY70" fmla="*/ 23812 h 2322913"/>
              <a:gd name="connsiteX71" fmla="*/ 247650 w 2962875"/>
              <a:gd name="connsiteY71" fmla="*/ 14287 h 2322913"/>
              <a:gd name="connsiteX72" fmla="*/ 185737 w 2962875"/>
              <a:gd name="connsiteY72" fmla="*/ 9525 h 2322913"/>
              <a:gd name="connsiteX73" fmla="*/ 19050 w 2962875"/>
              <a:gd name="connsiteY73" fmla="*/ 14287 h 2322913"/>
              <a:gd name="connsiteX74" fmla="*/ 4762 w 2962875"/>
              <a:gd name="connsiteY74" fmla="*/ 19050 h 2322913"/>
              <a:gd name="connsiteX75" fmla="*/ 9525 w 2962875"/>
              <a:gd name="connsiteY75" fmla="*/ 85725 h 2322913"/>
              <a:gd name="connsiteX76" fmla="*/ 23812 w 2962875"/>
              <a:gd name="connsiteY76" fmla="*/ 171450 h 2322913"/>
              <a:gd name="connsiteX77" fmla="*/ 14287 w 2962875"/>
              <a:gd name="connsiteY77" fmla="*/ 390525 h 2322913"/>
              <a:gd name="connsiteX78" fmla="*/ 0 w 2962875"/>
              <a:gd name="connsiteY78" fmla="*/ 466725 h 2322913"/>
              <a:gd name="connsiteX79" fmla="*/ 9525 w 2962875"/>
              <a:gd name="connsiteY79" fmla="*/ 800100 h 2322913"/>
              <a:gd name="connsiteX80" fmla="*/ 9525 w 2962875"/>
              <a:gd name="connsiteY80" fmla="*/ 871537 h 2322913"/>
              <a:gd name="connsiteX81" fmla="*/ 14287 w 2962875"/>
              <a:gd name="connsiteY81" fmla="*/ 1157287 h 2322913"/>
              <a:gd name="connsiteX82" fmla="*/ 19050 w 2962875"/>
              <a:gd name="connsiteY82" fmla="*/ 1204912 h 2322913"/>
              <a:gd name="connsiteX83" fmla="*/ 28575 w 2962875"/>
              <a:gd name="connsiteY83" fmla="*/ 1243012 h 2322913"/>
              <a:gd name="connsiteX84" fmla="*/ 33337 w 2962875"/>
              <a:gd name="connsiteY84" fmla="*/ 1328737 h 2322913"/>
              <a:gd name="connsiteX85" fmla="*/ 23812 w 2962875"/>
              <a:gd name="connsiteY85" fmla="*/ 1476375 h 2322913"/>
              <a:gd name="connsiteX86" fmla="*/ 14287 w 2962875"/>
              <a:gd name="connsiteY86" fmla="*/ 1562100 h 2322913"/>
              <a:gd name="connsiteX87" fmla="*/ 9525 w 2962875"/>
              <a:gd name="connsiteY87" fmla="*/ 1819275 h 2322913"/>
              <a:gd name="connsiteX88" fmla="*/ 14287 w 2962875"/>
              <a:gd name="connsiteY88" fmla="*/ 2014537 h 2322913"/>
              <a:gd name="connsiteX89" fmla="*/ 23812 w 2962875"/>
              <a:gd name="connsiteY89" fmla="*/ 2066925 h 2322913"/>
              <a:gd name="connsiteX90" fmla="*/ 28575 w 2962875"/>
              <a:gd name="connsiteY90" fmla="*/ 2152650 h 2322913"/>
              <a:gd name="connsiteX91" fmla="*/ 23812 w 2962875"/>
              <a:gd name="connsiteY91" fmla="*/ 2238375 h 2322913"/>
              <a:gd name="connsiteX92" fmla="*/ 14287 w 2962875"/>
              <a:gd name="connsiteY92" fmla="*/ 2300287 h 2322913"/>
              <a:gd name="connsiteX0" fmla="*/ 14287 w 2962875"/>
              <a:gd name="connsiteY0" fmla="*/ 2300287 h 2314163"/>
              <a:gd name="connsiteX1" fmla="*/ 61912 w 2962875"/>
              <a:gd name="connsiteY1" fmla="*/ 2295525 h 2314163"/>
              <a:gd name="connsiteX2" fmla="*/ 95250 w 2962875"/>
              <a:gd name="connsiteY2" fmla="*/ 2286000 h 2314163"/>
              <a:gd name="connsiteX3" fmla="*/ 366712 w 2962875"/>
              <a:gd name="connsiteY3" fmla="*/ 2271712 h 2314163"/>
              <a:gd name="connsiteX4" fmla="*/ 361950 w 2962875"/>
              <a:gd name="connsiteY4" fmla="*/ 2214562 h 2314163"/>
              <a:gd name="connsiteX5" fmla="*/ 381000 w 2962875"/>
              <a:gd name="connsiteY5" fmla="*/ 1985962 h 2314163"/>
              <a:gd name="connsiteX6" fmla="*/ 376237 w 2962875"/>
              <a:gd name="connsiteY6" fmla="*/ 1671637 h 2314163"/>
              <a:gd name="connsiteX7" fmla="*/ 371475 w 2962875"/>
              <a:gd name="connsiteY7" fmla="*/ 1643062 h 2314163"/>
              <a:gd name="connsiteX8" fmla="*/ 366712 w 2962875"/>
              <a:gd name="connsiteY8" fmla="*/ 1585912 h 2314163"/>
              <a:gd name="connsiteX9" fmla="*/ 376237 w 2962875"/>
              <a:gd name="connsiteY9" fmla="*/ 1123950 h 2314163"/>
              <a:gd name="connsiteX10" fmla="*/ 381000 w 2962875"/>
              <a:gd name="connsiteY10" fmla="*/ 1095375 h 2314163"/>
              <a:gd name="connsiteX11" fmla="*/ 385762 w 2962875"/>
              <a:gd name="connsiteY11" fmla="*/ 1062037 h 2314163"/>
              <a:gd name="connsiteX12" fmla="*/ 381000 w 2962875"/>
              <a:gd name="connsiteY12" fmla="*/ 561975 h 2314163"/>
              <a:gd name="connsiteX13" fmla="*/ 376237 w 2962875"/>
              <a:gd name="connsiteY13" fmla="*/ 519112 h 2314163"/>
              <a:gd name="connsiteX14" fmla="*/ 371475 w 2962875"/>
              <a:gd name="connsiteY14" fmla="*/ 471487 h 2314163"/>
              <a:gd name="connsiteX15" fmla="*/ 376237 w 2962875"/>
              <a:gd name="connsiteY15" fmla="*/ 414337 h 2314163"/>
              <a:gd name="connsiteX16" fmla="*/ 433387 w 2962875"/>
              <a:gd name="connsiteY16" fmla="*/ 419100 h 2314163"/>
              <a:gd name="connsiteX17" fmla="*/ 523875 w 2962875"/>
              <a:gd name="connsiteY17" fmla="*/ 414337 h 2314163"/>
              <a:gd name="connsiteX18" fmla="*/ 881062 w 2962875"/>
              <a:gd name="connsiteY18" fmla="*/ 414337 h 2314163"/>
              <a:gd name="connsiteX19" fmla="*/ 914400 w 2962875"/>
              <a:gd name="connsiteY19" fmla="*/ 423862 h 2314163"/>
              <a:gd name="connsiteX20" fmla="*/ 962025 w 2962875"/>
              <a:gd name="connsiteY20" fmla="*/ 428625 h 2314163"/>
              <a:gd name="connsiteX21" fmla="*/ 985837 w 2962875"/>
              <a:gd name="connsiteY21" fmla="*/ 433387 h 2314163"/>
              <a:gd name="connsiteX22" fmla="*/ 1147762 w 2962875"/>
              <a:gd name="connsiteY22" fmla="*/ 423862 h 2314163"/>
              <a:gd name="connsiteX23" fmla="*/ 1166812 w 2962875"/>
              <a:gd name="connsiteY23" fmla="*/ 419100 h 2314163"/>
              <a:gd name="connsiteX24" fmla="*/ 1209675 w 2962875"/>
              <a:gd name="connsiteY24" fmla="*/ 414337 h 2314163"/>
              <a:gd name="connsiteX25" fmla="*/ 1238250 w 2962875"/>
              <a:gd name="connsiteY25" fmla="*/ 409575 h 2314163"/>
              <a:gd name="connsiteX26" fmla="*/ 2433637 w 2962875"/>
              <a:gd name="connsiteY26" fmla="*/ 404812 h 2314163"/>
              <a:gd name="connsiteX27" fmla="*/ 2571750 w 2962875"/>
              <a:gd name="connsiteY27" fmla="*/ 404812 h 2314163"/>
              <a:gd name="connsiteX28" fmla="*/ 2609850 w 2962875"/>
              <a:gd name="connsiteY28" fmla="*/ 423862 h 2314163"/>
              <a:gd name="connsiteX29" fmla="*/ 2619375 w 2962875"/>
              <a:gd name="connsiteY29" fmla="*/ 457200 h 2314163"/>
              <a:gd name="connsiteX30" fmla="*/ 2609850 w 2962875"/>
              <a:gd name="connsiteY30" fmla="*/ 614362 h 2314163"/>
              <a:gd name="connsiteX31" fmla="*/ 2600325 w 2962875"/>
              <a:gd name="connsiteY31" fmla="*/ 652462 h 2314163"/>
              <a:gd name="connsiteX32" fmla="*/ 2595562 w 2962875"/>
              <a:gd name="connsiteY32" fmla="*/ 676275 h 2314163"/>
              <a:gd name="connsiteX33" fmla="*/ 2586037 w 2962875"/>
              <a:gd name="connsiteY33" fmla="*/ 714375 h 2314163"/>
              <a:gd name="connsiteX34" fmla="*/ 2586037 w 2962875"/>
              <a:gd name="connsiteY34" fmla="*/ 1071562 h 2314163"/>
              <a:gd name="connsiteX35" fmla="*/ 2590800 w 2962875"/>
              <a:gd name="connsiteY35" fmla="*/ 1104900 h 2314163"/>
              <a:gd name="connsiteX36" fmla="*/ 2600325 w 2962875"/>
              <a:gd name="connsiteY36" fmla="*/ 1176337 h 2314163"/>
              <a:gd name="connsiteX37" fmla="*/ 2605087 w 2962875"/>
              <a:gd name="connsiteY37" fmla="*/ 1209675 h 2314163"/>
              <a:gd name="connsiteX38" fmla="*/ 2624137 w 2962875"/>
              <a:gd name="connsiteY38" fmla="*/ 1314450 h 2314163"/>
              <a:gd name="connsiteX39" fmla="*/ 2619375 w 2962875"/>
              <a:gd name="connsiteY39" fmla="*/ 1371600 h 2314163"/>
              <a:gd name="connsiteX40" fmla="*/ 2614612 w 2962875"/>
              <a:gd name="connsiteY40" fmla="*/ 1443037 h 2314163"/>
              <a:gd name="connsiteX41" fmla="*/ 2600325 w 2962875"/>
              <a:gd name="connsiteY41" fmla="*/ 1485900 h 2314163"/>
              <a:gd name="connsiteX42" fmla="*/ 2595562 w 2962875"/>
              <a:gd name="connsiteY42" fmla="*/ 1514475 h 2314163"/>
              <a:gd name="connsiteX43" fmla="*/ 2581275 w 2962875"/>
              <a:gd name="connsiteY43" fmla="*/ 1652587 h 2314163"/>
              <a:gd name="connsiteX44" fmla="*/ 2586037 w 2962875"/>
              <a:gd name="connsiteY44" fmla="*/ 1933575 h 2314163"/>
              <a:gd name="connsiteX45" fmla="*/ 2590800 w 2962875"/>
              <a:gd name="connsiteY45" fmla="*/ 1966912 h 2314163"/>
              <a:gd name="connsiteX46" fmla="*/ 2605087 w 2962875"/>
              <a:gd name="connsiteY46" fmla="*/ 2005012 h 2314163"/>
              <a:gd name="connsiteX47" fmla="*/ 2614612 w 2962875"/>
              <a:gd name="connsiteY47" fmla="*/ 2066925 h 2314163"/>
              <a:gd name="connsiteX48" fmla="*/ 2616200 w 2962875"/>
              <a:gd name="connsiteY48" fmla="*/ 2203450 h 2314163"/>
              <a:gd name="connsiteX49" fmla="*/ 2624137 w 2962875"/>
              <a:gd name="connsiteY49" fmla="*/ 2292350 h 2314163"/>
              <a:gd name="connsiteX50" fmla="*/ 2851150 w 2962875"/>
              <a:gd name="connsiteY50" fmla="*/ 2303462 h 2314163"/>
              <a:gd name="connsiteX51" fmla="*/ 2957512 w 2962875"/>
              <a:gd name="connsiteY51" fmla="*/ 2305050 h 2314163"/>
              <a:gd name="connsiteX52" fmla="*/ 2947987 w 2962875"/>
              <a:gd name="connsiteY52" fmla="*/ 2181225 h 2314163"/>
              <a:gd name="connsiteX53" fmla="*/ 2955925 w 2962875"/>
              <a:gd name="connsiteY53" fmla="*/ 2008187 h 2314163"/>
              <a:gd name="connsiteX54" fmla="*/ 2962275 w 2962875"/>
              <a:gd name="connsiteY54" fmla="*/ 1804987 h 2314163"/>
              <a:gd name="connsiteX55" fmla="*/ 2952750 w 2962875"/>
              <a:gd name="connsiteY55" fmla="*/ 1366837 h 2314163"/>
              <a:gd name="connsiteX56" fmla="*/ 2947987 w 2962875"/>
              <a:gd name="connsiteY56" fmla="*/ 1081087 h 2314163"/>
              <a:gd name="connsiteX57" fmla="*/ 2947987 w 2962875"/>
              <a:gd name="connsiteY57" fmla="*/ 922337 h 2314163"/>
              <a:gd name="connsiteX58" fmla="*/ 2952750 w 2962875"/>
              <a:gd name="connsiteY58" fmla="*/ 571500 h 2314163"/>
              <a:gd name="connsiteX59" fmla="*/ 2957512 w 2962875"/>
              <a:gd name="connsiteY59" fmla="*/ 342900 h 2314163"/>
              <a:gd name="connsiteX60" fmla="*/ 2957512 w 2962875"/>
              <a:gd name="connsiteY60" fmla="*/ 34925 h 2314163"/>
              <a:gd name="connsiteX61" fmla="*/ 2867025 w 2962875"/>
              <a:gd name="connsiteY61" fmla="*/ 19050 h 2314163"/>
              <a:gd name="connsiteX62" fmla="*/ 2724150 w 2962875"/>
              <a:gd name="connsiteY62" fmla="*/ 9525 h 2314163"/>
              <a:gd name="connsiteX63" fmla="*/ 2381250 w 2962875"/>
              <a:gd name="connsiteY63" fmla="*/ 14287 h 2314163"/>
              <a:gd name="connsiteX64" fmla="*/ 2324100 w 2962875"/>
              <a:gd name="connsiteY64" fmla="*/ 23812 h 2314163"/>
              <a:gd name="connsiteX65" fmla="*/ 1909762 w 2962875"/>
              <a:gd name="connsiteY65" fmla="*/ 19050 h 2314163"/>
              <a:gd name="connsiteX66" fmla="*/ 1804987 w 2962875"/>
              <a:gd name="connsiteY66" fmla="*/ 9525 h 2314163"/>
              <a:gd name="connsiteX67" fmla="*/ 1776412 w 2962875"/>
              <a:gd name="connsiteY67" fmla="*/ 0 h 2314163"/>
              <a:gd name="connsiteX68" fmla="*/ 1528762 w 2962875"/>
              <a:gd name="connsiteY68" fmla="*/ 4762 h 2314163"/>
              <a:gd name="connsiteX69" fmla="*/ 1143000 w 2962875"/>
              <a:gd name="connsiteY69" fmla="*/ 38100 h 2314163"/>
              <a:gd name="connsiteX70" fmla="*/ 309562 w 2962875"/>
              <a:gd name="connsiteY70" fmla="*/ 23812 h 2314163"/>
              <a:gd name="connsiteX71" fmla="*/ 247650 w 2962875"/>
              <a:gd name="connsiteY71" fmla="*/ 14287 h 2314163"/>
              <a:gd name="connsiteX72" fmla="*/ 185737 w 2962875"/>
              <a:gd name="connsiteY72" fmla="*/ 9525 h 2314163"/>
              <a:gd name="connsiteX73" fmla="*/ 19050 w 2962875"/>
              <a:gd name="connsiteY73" fmla="*/ 14287 h 2314163"/>
              <a:gd name="connsiteX74" fmla="*/ 4762 w 2962875"/>
              <a:gd name="connsiteY74" fmla="*/ 19050 h 2314163"/>
              <a:gd name="connsiteX75" fmla="*/ 9525 w 2962875"/>
              <a:gd name="connsiteY75" fmla="*/ 85725 h 2314163"/>
              <a:gd name="connsiteX76" fmla="*/ 23812 w 2962875"/>
              <a:gd name="connsiteY76" fmla="*/ 171450 h 2314163"/>
              <a:gd name="connsiteX77" fmla="*/ 14287 w 2962875"/>
              <a:gd name="connsiteY77" fmla="*/ 390525 h 2314163"/>
              <a:gd name="connsiteX78" fmla="*/ 0 w 2962875"/>
              <a:gd name="connsiteY78" fmla="*/ 466725 h 2314163"/>
              <a:gd name="connsiteX79" fmla="*/ 9525 w 2962875"/>
              <a:gd name="connsiteY79" fmla="*/ 800100 h 2314163"/>
              <a:gd name="connsiteX80" fmla="*/ 9525 w 2962875"/>
              <a:gd name="connsiteY80" fmla="*/ 871537 h 2314163"/>
              <a:gd name="connsiteX81" fmla="*/ 14287 w 2962875"/>
              <a:gd name="connsiteY81" fmla="*/ 1157287 h 2314163"/>
              <a:gd name="connsiteX82" fmla="*/ 19050 w 2962875"/>
              <a:gd name="connsiteY82" fmla="*/ 1204912 h 2314163"/>
              <a:gd name="connsiteX83" fmla="*/ 28575 w 2962875"/>
              <a:gd name="connsiteY83" fmla="*/ 1243012 h 2314163"/>
              <a:gd name="connsiteX84" fmla="*/ 33337 w 2962875"/>
              <a:gd name="connsiteY84" fmla="*/ 1328737 h 2314163"/>
              <a:gd name="connsiteX85" fmla="*/ 23812 w 2962875"/>
              <a:gd name="connsiteY85" fmla="*/ 1476375 h 2314163"/>
              <a:gd name="connsiteX86" fmla="*/ 14287 w 2962875"/>
              <a:gd name="connsiteY86" fmla="*/ 1562100 h 2314163"/>
              <a:gd name="connsiteX87" fmla="*/ 9525 w 2962875"/>
              <a:gd name="connsiteY87" fmla="*/ 1819275 h 2314163"/>
              <a:gd name="connsiteX88" fmla="*/ 14287 w 2962875"/>
              <a:gd name="connsiteY88" fmla="*/ 2014537 h 2314163"/>
              <a:gd name="connsiteX89" fmla="*/ 23812 w 2962875"/>
              <a:gd name="connsiteY89" fmla="*/ 2066925 h 2314163"/>
              <a:gd name="connsiteX90" fmla="*/ 28575 w 2962875"/>
              <a:gd name="connsiteY90" fmla="*/ 2152650 h 2314163"/>
              <a:gd name="connsiteX91" fmla="*/ 23812 w 2962875"/>
              <a:gd name="connsiteY91" fmla="*/ 2238375 h 2314163"/>
              <a:gd name="connsiteX92" fmla="*/ 14287 w 2962875"/>
              <a:gd name="connsiteY92" fmla="*/ 2300287 h 2314163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624137 w 2971294"/>
              <a:gd name="connsiteY38" fmla="*/ 1314450 h 2305041"/>
              <a:gd name="connsiteX39" fmla="*/ 2619375 w 2971294"/>
              <a:gd name="connsiteY39" fmla="*/ 1371600 h 2305041"/>
              <a:gd name="connsiteX40" fmla="*/ 2614612 w 2971294"/>
              <a:gd name="connsiteY40" fmla="*/ 1443037 h 2305041"/>
              <a:gd name="connsiteX41" fmla="*/ 2600325 w 2971294"/>
              <a:gd name="connsiteY41" fmla="*/ 1485900 h 2305041"/>
              <a:gd name="connsiteX42" fmla="*/ 2595562 w 2971294"/>
              <a:gd name="connsiteY42" fmla="*/ 1514475 h 2305041"/>
              <a:gd name="connsiteX43" fmla="*/ 2581275 w 2971294"/>
              <a:gd name="connsiteY43" fmla="*/ 1652587 h 2305041"/>
              <a:gd name="connsiteX44" fmla="*/ 2586037 w 2971294"/>
              <a:gd name="connsiteY44" fmla="*/ 1933575 h 2305041"/>
              <a:gd name="connsiteX45" fmla="*/ 2590800 w 2971294"/>
              <a:gd name="connsiteY45" fmla="*/ 1966912 h 2305041"/>
              <a:gd name="connsiteX46" fmla="*/ 2605087 w 2971294"/>
              <a:gd name="connsiteY46" fmla="*/ 2005012 h 2305041"/>
              <a:gd name="connsiteX47" fmla="*/ 2614612 w 2971294"/>
              <a:gd name="connsiteY47" fmla="*/ 2066925 h 2305041"/>
              <a:gd name="connsiteX48" fmla="*/ 2616200 w 2971294"/>
              <a:gd name="connsiteY48" fmla="*/ 2203450 h 2305041"/>
              <a:gd name="connsiteX49" fmla="*/ 2624137 w 2971294"/>
              <a:gd name="connsiteY49" fmla="*/ 2292350 h 2305041"/>
              <a:gd name="connsiteX50" fmla="*/ 2851150 w 2971294"/>
              <a:gd name="connsiteY50" fmla="*/ 2303462 h 2305041"/>
              <a:gd name="connsiteX51" fmla="*/ 2967037 w 2971294"/>
              <a:gd name="connsiteY51" fmla="*/ 2282825 h 2305041"/>
              <a:gd name="connsiteX52" fmla="*/ 2947987 w 2971294"/>
              <a:gd name="connsiteY52" fmla="*/ 2181225 h 2305041"/>
              <a:gd name="connsiteX53" fmla="*/ 2955925 w 2971294"/>
              <a:gd name="connsiteY53" fmla="*/ 2008187 h 2305041"/>
              <a:gd name="connsiteX54" fmla="*/ 2962275 w 2971294"/>
              <a:gd name="connsiteY54" fmla="*/ 1804987 h 2305041"/>
              <a:gd name="connsiteX55" fmla="*/ 2952750 w 2971294"/>
              <a:gd name="connsiteY55" fmla="*/ 1366837 h 2305041"/>
              <a:gd name="connsiteX56" fmla="*/ 2947987 w 2971294"/>
              <a:gd name="connsiteY56" fmla="*/ 1081087 h 2305041"/>
              <a:gd name="connsiteX57" fmla="*/ 2947987 w 2971294"/>
              <a:gd name="connsiteY57" fmla="*/ 922337 h 2305041"/>
              <a:gd name="connsiteX58" fmla="*/ 2952750 w 2971294"/>
              <a:gd name="connsiteY58" fmla="*/ 571500 h 2305041"/>
              <a:gd name="connsiteX59" fmla="*/ 2957512 w 2971294"/>
              <a:gd name="connsiteY59" fmla="*/ 342900 h 2305041"/>
              <a:gd name="connsiteX60" fmla="*/ 2957512 w 2971294"/>
              <a:gd name="connsiteY60" fmla="*/ 34925 h 2305041"/>
              <a:gd name="connsiteX61" fmla="*/ 2867025 w 2971294"/>
              <a:gd name="connsiteY61" fmla="*/ 19050 h 2305041"/>
              <a:gd name="connsiteX62" fmla="*/ 2724150 w 2971294"/>
              <a:gd name="connsiteY62" fmla="*/ 9525 h 2305041"/>
              <a:gd name="connsiteX63" fmla="*/ 2381250 w 2971294"/>
              <a:gd name="connsiteY63" fmla="*/ 14287 h 2305041"/>
              <a:gd name="connsiteX64" fmla="*/ 2324100 w 2971294"/>
              <a:gd name="connsiteY64" fmla="*/ 23812 h 2305041"/>
              <a:gd name="connsiteX65" fmla="*/ 1909762 w 2971294"/>
              <a:gd name="connsiteY65" fmla="*/ 19050 h 2305041"/>
              <a:gd name="connsiteX66" fmla="*/ 1804987 w 2971294"/>
              <a:gd name="connsiteY66" fmla="*/ 9525 h 2305041"/>
              <a:gd name="connsiteX67" fmla="*/ 1776412 w 2971294"/>
              <a:gd name="connsiteY67" fmla="*/ 0 h 2305041"/>
              <a:gd name="connsiteX68" fmla="*/ 1528762 w 2971294"/>
              <a:gd name="connsiteY68" fmla="*/ 4762 h 2305041"/>
              <a:gd name="connsiteX69" fmla="*/ 1143000 w 2971294"/>
              <a:gd name="connsiteY69" fmla="*/ 38100 h 2305041"/>
              <a:gd name="connsiteX70" fmla="*/ 309562 w 2971294"/>
              <a:gd name="connsiteY70" fmla="*/ 23812 h 2305041"/>
              <a:gd name="connsiteX71" fmla="*/ 247650 w 2971294"/>
              <a:gd name="connsiteY71" fmla="*/ 14287 h 2305041"/>
              <a:gd name="connsiteX72" fmla="*/ 185737 w 2971294"/>
              <a:gd name="connsiteY72" fmla="*/ 9525 h 2305041"/>
              <a:gd name="connsiteX73" fmla="*/ 19050 w 2971294"/>
              <a:gd name="connsiteY73" fmla="*/ 14287 h 2305041"/>
              <a:gd name="connsiteX74" fmla="*/ 4762 w 2971294"/>
              <a:gd name="connsiteY74" fmla="*/ 19050 h 2305041"/>
              <a:gd name="connsiteX75" fmla="*/ 9525 w 2971294"/>
              <a:gd name="connsiteY75" fmla="*/ 85725 h 2305041"/>
              <a:gd name="connsiteX76" fmla="*/ 23812 w 2971294"/>
              <a:gd name="connsiteY76" fmla="*/ 171450 h 2305041"/>
              <a:gd name="connsiteX77" fmla="*/ 14287 w 2971294"/>
              <a:gd name="connsiteY77" fmla="*/ 390525 h 2305041"/>
              <a:gd name="connsiteX78" fmla="*/ 0 w 2971294"/>
              <a:gd name="connsiteY78" fmla="*/ 466725 h 2305041"/>
              <a:gd name="connsiteX79" fmla="*/ 9525 w 2971294"/>
              <a:gd name="connsiteY79" fmla="*/ 800100 h 2305041"/>
              <a:gd name="connsiteX80" fmla="*/ 9525 w 2971294"/>
              <a:gd name="connsiteY80" fmla="*/ 871537 h 2305041"/>
              <a:gd name="connsiteX81" fmla="*/ 14287 w 2971294"/>
              <a:gd name="connsiteY81" fmla="*/ 1157287 h 2305041"/>
              <a:gd name="connsiteX82" fmla="*/ 19050 w 2971294"/>
              <a:gd name="connsiteY82" fmla="*/ 1204912 h 2305041"/>
              <a:gd name="connsiteX83" fmla="*/ 28575 w 2971294"/>
              <a:gd name="connsiteY83" fmla="*/ 1243012 h 2305041"/>
              <a:gd name="connsiteX84" fmla="*/ 33337 w 2971294"/>
              <a:gd name="connsiteY84" fmla="*/ 1328737 h 2305041"/>
              <a:gd name="connsiteX85" fmla="*/ 23812 w 2971294"/>
              <a:gd name="connsiteY85" fmla="*/ 1476375 h 2305041"/>
              <a:gd name="connsiteX86" fmla="*/ 14287 w 2971294"/>
              <a:gd name="connsiteY86" fmla="*/ 1562100 h 2305041"/>
              <a:gd name="connsiteX87" fmla="*/ 9525 w 2971294"/>
              <a:gd name="connsiteY87" fmla="*/ 1819275 h 2305041"/>
              <a:gd name="connsiteX88" fmla="*/ 14287 w 2971294"/>
              <a:gd name="connsiteY88" fmla="*/ 2014537 h 2305041"/>
              <a:gd name="connsiteX89" fmla="*/ 23812 w 2971294"/>
              <a:gd name="connsiteY89" fmla="*/ 2066925 h 2305041"/>
              <a:gd name="connsiteX90" fmla="*/ 28575 w 2971294"/>
              <a:gd name="connsiteY90" fmla="*/ 2152650 h 2305041"/>
              <a:gd name="connsiteX91" fmla="*/ 23812 w 2971294"/>
              <a:gd name="connsiteY91" fmla="*/ 2238375 h 2305041"/>
              <a:gd name="connsiteX92" fmla="*/ 14287 w 2971294"/>
              <a:gd name="connsiteY92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624137 w 2971294"/>
              <a:gd name="connsiteY38" fmla="*/ 1314450 h 2305041"/>
              <a:gd name="connsiteX39" fmla="*/ 2619375 w 2971294"/>
              <a:gd name="connsiteY39" fmla="*/ 1371600 h 2305041"/>
              <a:gd name="connsiteX40" fmla="*/ 2614612 w 2971294"/>
              <a:gd name="connsiteY40" fmla="*/ 1443037 h 2305041"/>
              <a:gd name="connsiteX41" fmla="*/ 2600325 w 2971294"/>
              <a:gd name="connsiteY41" fmla="*/ 1485900 h 2305041"/>
              <a:gd name="connsiteX42" fmla="*/ 2595562 w 2971294"/>
              <a:gd name="connsiteY42" fmla="*/ 1514475 h 2305041"/>
              <a:gd name="connsiteX43" fmla="*/ 2581275 w 2971294"/>
              <a:gd name="connsiteY43" fmla="*/ 1652587 h 2305041"/>
              <a:gd name="connsiteX44" fmla="*/ 2590800 w 2971294"/>
              <a:gd name="connsiteY44" fmla="*/ 1966912 h 2305041"/>
              <a:gd name="connsiteX45" fmla="*/ 2605087 w 2971294"/>
              <a:gd name="connsiteY45" fmla="*/ 2005012 h 2305041"/>
              <a:gd name="connsiteX46" fmla="*/ 2614612 w 2971294"/>
              <a:gd name="connsiteY46" fmla="*/ 2066925 h 2305041"/>
              <a:gd name="connsiteX47" fmla="*/ 2616200 w 2971294"/>
              <a:gd name="connsiteY47" fmla="*/ 2203450 h 2305041"/>
              <a:gd name="connsiteX48" fmla="*/ 2624137 w 2971294"/>
              <a:gd name="connsiteY48" fmla="*/ 2292350 h 2305041"/>
              <a:gd name="connsiteX49" fmla="*/ 2851150 w 2971294"/>
              <a:gd name="connsiteY49" fmla="*/ 2303462 h 2305041"/>
              <a:gd name="connsiteX50" fmla="*/ 2967037 w 2971294"/>
              <a:gd name="connsiteY50" fmla="*/ 2282825 h 2305041"/>
              <a:gd name="connsiteX51" fmla="*/ 2947987 w 2971294"/>
              <a:gd name="connsiteY51" fmla="*/ 2181225 h 2305041"/>
              <a:gd name="connsiteX52" fmla="*/ 2955925 w 2971294"/>
              <a:gd name="connsiteY52" fmla="*/ 2008187 h 2305041"/>
              <a:gd name="connsiteX53" fmla="*/ 2962275 w 2971294"/>
              <a:gd name="connsiteY53" fmla="*/ 1804987 h 2305041"/>
              <a:gd name="connsiteX54" fmla="*/ 2952750 w 2971294"/>
              <a:gd name="connsiteY54" fmla="*/ 1366837 h 2305041"/>
              <a:gd name="connsiteX55" fmla="*/ 2947987 w 2971294"/>
              <a:gd name="connsiteY55" fmla="*/ 1081087 h 2305041"/>
              <a:gd name="connsiteX56" fmla="*/ 2947987 w 2971294"/>
              <a:gd name="connsiteY56" fmla="*/ 922337 h 2305041"/>
              <a:gd name="connsiteX57" fmla="*/ 2952750 w 2971294"/>
              <a:gd name="connsiteY57" fmla="*/ 571500 h 2305041"/>
              <a:gd name="connsiteX58" fmla="*/ 2957512 w 2971294"/>
              <a:gd name="connsiteY58" fmla="*/ 342900 h 2305041"/>
              <a:gd name="connsiteX59" fmla="*/ 2957512 w 2971294"/>
              <a:gd name="connsiteY59" fmla="*/ 34925 h 2305041"/>
              <a:gd name="connsiteX60" fmla="*/ 2867025 w 2971294"/>
              <a:gd name="connsiteY60" fmla="*/ 19050 h 2305041"/>
              <a:gd name="connsiteX61" fmla="*/ 2724150 w 2971294"/>
              <a:gd name="connsiteY61" fmla="*/ 9525 h 2305041"/>
              <a:gd name="connsiteX62" fmla="*/ 2381250 w 2971294"/>
              <a:gd name="connsiteY62" fmla="*/ 14287 h 2305041"/>
              <a:gd name="connsiteX63" fmla="*/ 2324100 w 2971294"/>
              <a:gd name="connsiteY63" fmla="*/ 23812 h 2305041"/>
              <a:gd name="connsiteX64" fmla="*/ 1909762 w 2971294"/>
              <a:gd name="connsiteY64" fmla="*/ 19050 h 2305041"/>
              <a:gd name="connsiteX65" fmla="*/ 1804987 w 2971294"/>
              <a:gd name="connsiteY65" fmla="*/ 9525 h 2305041"/>
              <a:gd name="connsiteX66" fmla="*/ 1776412 w 2971294"/>
              <a:gd name="connsiteY66" fmla="*/ 0 h 2305041"/>
              <a:gd name="connsiteX67" fmla="*/ 1528762 w 2971294"/>
              <a:gd name="connsiteY67" fmla="*/ 4762 h 2305041"/>
              <a:gd name="connsiteX68" fmla="*/ 1143000 w 2971294"/>
              <a:gd name="connsiteY68" fmla="*/ 38100 h 2305041"/>
              <a:gd name="connsiteX69" fmla="*/ 309562 w 2971294"/>
              <a:gd name="connsiteY69" fmla="*/ 23812 h 2305041"/>
              <a:gd name="connsiteX70" fmla="*/ 247650 w 2971294"/>
              <a:gd name="connsiteY70" fmla="*/ 14287 h 2305041"/>
              <a:gd name="connsiteX71" fmla="*/ 185737 w 2971294"/>
              <a:gd name="connsiteY71" fmla="*/ 9525 h 2305041"/>
              <a:gd name="connsiteX72" fmla="*/ 19050 w 2971294"/>
              <a:gd name="connsiteY72" fmla="*/ 14287 h 2305041"/>
              <a:gd name="connsiteX73" fmla="*/ 4762 w 2971294"/>
              <a:gd name="connsiteY73" fmla="*/ 19050 h 2305041"/>
              <a:gd name="connsiteX74" fmla="*/ 9525 w 2971294"/>
              <a:gd name="connsiteY74" fmla="*/ 85725 h 2305041"/>
              <a:gd name="connsiteX75" fmla="*/ 23812 w 2971294"/>
              <a:gd name="connsiteY75" fmla="*/ 171450 h 2305041"/>
              <a:gd name="connsiteX76" fmla="*/ 14287 w 2971294"/>
              <a:gd name="connsiteY76" fmla="*/ 390525 h 2305041"/>
              <a:gd name="connsiteX77" fmla="*/ 0 w 2971294"/>
              <a:gd name="connsiteY77" fmla="*/ 466725 h 2305041"/>
              <a:gd name="connsiteX78" fmla="*/ 9525 w 2971294"/>
              <a:gd name="connsiteY78" fmla="*/ 800100 h 2305041"/>
              <a:gd name="connsiteX79" fmla="*/ 9525 w 2971294"/>
              <a:gd name="connsiteY79" fmla="*/ 871537 h 2305041"/>
              <a:gd name="connsiteX80" fmla="*/ 14287 w 2971294"/>
              <a:gd name="connsiteY80" fmla="*/ 1157287 h 2305041"/>
              <a:gd name="connsiteX81" fmla="*/ 19050 w 2971294"/>
              <a:gd name="connsiteY81" fmla="*/ 1204912 h 2305041"/>
              <a:gd name="connsiteX82" fmla="*/ 28575 w 2971294"/>
              <a:gd name="connsiteY82" fmla="*/ 1243012 h 2305041"/>
              <a:gd name="connsiteX83" fmla="*/ 33337 w 2971294"/>
              <a:gd name="connsiteY83" fmla="*/ 1328737 h 2305041"/>
              <a:gd name="connsiteX84" fmla="*/ 23812 w 2971294"/>
              <a:gd name="connsiteY84" fmla="*/ 1476375 h 2305041"/>
              <a:gd name="connsiteX85" fmla="*/ 14287 w 2971294"/>
              <a:gd name="connsiteY85" fmla="*/ 1562100 h 2305041"/>
              <a:gd name="connsiteX86" fmla="*/ 9525 w 2971294"/>
              <a:gd name="connsiteY86" fmla="*/ 1819275 h 2305041"/>
              <a:gd name="connsiteX87" fmla="*/ 14287 w 2971294"/>
              <a:gd name="connsiteY87" fmla="*/ 2014537 h 2305041"/>
              <a:gd name="connsiteX88" fmla="*/ 23812 w 2971294"/>
              <a:gd name="connsiteY88" fmla="*/ 2066925 h 2305041"/>
              <a:gd name="connsiteX89" fmla="*/ 28575 w 2971294"/>
              <a:gd name="connsiteY89" fmla="*/ 2152650 h 2305041"/>
              <a:gd name="connsiteX90" fmla="*/ 23812 w 2971294"/>
              <a:gd name="connsiteY90" fmla="*/ 2238375 h 2305041"/>
              <a:gd name="connsiteX91" fmla="*/ 14287 w 2971294"/>
              <a:gd name="connsiteY91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624137 w 2971294"/>
              <a:gd name="connsiteY38" fmla="*/ 1314450 h 2305041"/>
              <a:gd name="connsiteX39" fmla="*/ 2619375 w 2971294"/>
              <a:gd name="connsiteY39" fmla="*/ 1371600 h 2305041"/>
              <a:gd name="connsiteX40" fmla="*/ 2614612 w 2971294"/>
              <a:gd name="connsiteY40" fmla="*/ 1443037 h 2305041"/>
              <a:gd name="connsiteX41" fmla="*/ 2600325 w 2971294"/>
              <a:gd name="connsiteY41" fmla="*/ 1485900 h 2305041"/>
              <a:gd name="connsiteX42" fmla="*/ 2595562 w 2971294"/>
              <a:gd name="connsiteY42" fmla="*/ 1514475 h 2305041"/>
              <a:gd name="connsiteX43" fmla="*/ 2581275 w 2971294"/>
              <a:gd name="connsiteY43" fmla="*/ 1652587 h 2305041"/>
              <a:gd name="connsiteX44" fmla="*/ 2605087 w 2971294"/>
              <a:gd name="connsiteY44" fmla="*/ 2005012 h 2305041"/>
              <a:gd name="connsiteX45" fmla="*/ 2614612 w 2971294"/>
              <a:gd name="connsiteY45" fmla="*/ 2066925 h 2305041"/>
              <a:gd name="connsiteX46" fmla="*/ 2616200 w 2971294"/>
              <a:gd name="connsiteY46" fmla="*/ 2203450 h 2305041"/>
              <a:gd name="connsiteX47" fmla="*/ 2624137 w 2971294"/>
              <a:gd name="connsiteY47" fmla="*/ 2292350 h 2305041"/>
              <a:gd name="connsiteX48" fmla="*/ 2851150 w 2971294"/>
              <a:gd name="connsiteY48" fmla="*/ 2303462 h 2305041"/>
              <a:gd name="connsiteX49" fmla="*/ 2967037 w 2971294"/>
              <a:gd name="connsiteY49" fmla="*/ 2282825 h 2305041"/>
              <a:gd name="connsiteX50" fmla="*/ 2947987 w 2971294"/>
              <a:gd name="connsiteY50" fmla="*/ 2181225 h 2305041"/>
              <a:gd name="connsiteX51" fmla="*/ 2955925 w 2971294"/>
              <a:gd name="connsiteY51" fmla="*/ 2008187 h 2305041"/>
              <a:gd name="connsiteX52" fmla="*/ 2962275 w 2971294"/>
              <a:gd name="connsiteY52" fmla="*/ 1804987 h 2305041"/>
              <a:gd name="connsiteX53" fmla="*/ 2952750 w 2971294"/>
              <a:gd name="connsiteY53" fmla="*/ 1366837 h 2305041"/>
              <a:gd name="connsiteX54" fmla="*/ 2947987 w 2971294"/>
              <a:gd name="connsiteY54" fmla="*/ 1081087 h 2305041"/>
              <a:gd name="connsiteX55" fmla="*/ 2947987 w 2971294"/>
              <a:gd name="connsiteY55" fmla="*/ 922337 h 2305041"/>
              <a:gd name="connsiteX56" fmla="*/ 2952750 w 2971294"/>
              <a:gd name="connsiteY56" fmla="*/ 571500 h 2305041"/>
              <a:gd name="connsiteX57" fmla="*/ 2957512 w 2971294"/>
              <a:gd name="connsiteY57" fmla="*/ 342900 h 2305041"/>
              <a:gd name="connsiteX58" fmla="*/ 2957512 w 2971294"/>
              <a:gd name="connsiteY58" fmla="*/ 34925 h 2305041"/>
              <a:gd name="connsiteX59" fmla="*/ 2867025 w 2971294"/>
              <a:gd name="connsiteY59" fmla="*/ 19050 h 2305041"/>
              <a:gd name="connsiteX60" fmla="*/ 2724150 w 2971294"/>
              <a:gd name="connsiteY60" fmla="*/ 9525 h 2305041"/>
              <a:gd name="connsiteX61" fmla="*/ 2381250 w 2971294"/>
              <a:gd name="connsiteY61" fmla="*/ 14287 h 2305041"/>
              <a:gd name="connsiteX62" fmla="*/ 2324100 w 2971294"/>
              <a:gd name="connsiteY62" fmla="*/ 23812 h 2305041"/>
              <a:gd name="connsiteX63" fmla="*/ 1909762 w 2971294"/>
              <a:gd name="connsiteY63" fmla="*/ 19050 h 2305041"/>
              <a:gd name="connsiteX64" fmla="*/ 1804987 w 2971294"/>
              <a:gd name="connsiteY64" fmla="*/ 9525 h 2305041"/>
              <a:gd name="connsiteX65" fmla="*/ 1776412 w 2971294"/>
              <a:gd name="connsiteY65" fmla="*/ 0 h 2305041"/>
              <a:gd name="connsiteX66" fmla="*/ 1528762 w 2971294"/>
              <a:gd name="connsiteY66" fmla="*/ 4762 h 2305041"/>
              <a:gd name="connsiteX67" fmla="*/ 1143000 w 2971294"/>
              <a:gd name="connsiteY67" fmla="*/ 38100 h 2305041"/>
              <a:gd name="connsiteX68" fmla="*/ 309562 w 2971294"/>
              <a:gd name="connsiteY68" fmla="*/ 23812 h 2305041"/>
              <a:gd name="connsiteX69" fmla="*/ 247650 w 2971294"/>
              <a:gd name="connsiteY69" fmla="*/ 14287 h 2305041"/>
              <a:gd name="connsiteX70" fmla="*/ 185737 w 2971294"/>
              <a:gd name="connsiteY70" fmla="*/ 9525 h 2305041"/>
              <a:gd name="connsiteX71" fmla="*/ 19050 w 2971294"/>
              <a:gd name="connsiteY71" fmla="*/ 14287 h 2305041"/>
              <a:gd name="connsiteX72" fmla="*/ 4762 w 2971294"/>
              <a:gd name="connsiteY72" fmla="*/ 19050 h 2305041"/>
              <a:gd name="connsiteX73" fmla="*/ 9525 w 2971294"/>
              <a:gd name="connsiteY73" fmla="*/ 85725 h 2305041"/>
              <a:gd name="connsiteX74" fmla="*/ 23812 w 2971294"/>
              <a:gd name="connsiteY74" fmla="*/ 171450 h 2305041"/>
              <a:gd name="connsiteX75" fmla="*/ 14287 w 2971294"/>
              <a:gd name="connsiteY75" fmla="*/ 390525 h 2305041"/>
              <a:gd name="connsiteX76" fmla="*/ 0 w 2971294"/>
              <a:gd name="connsiteY76" fmla="*/ 466725 h 2305041"/>
              <a:gd name="connsiteX77" fmla="*/ 9525 w 2971294"/>
              <a:gd name="connsiteY77" fmla="*/ 800100 h 2305041"/>
              <a:gd name="connsiteX78" fmla="*/ 9525 w 2971294"/>
              <a:gd name="connsiteY78" fmla="*/ 871537 h 2305041"/>
              <a:gd name="connsiteX79" fmla="*/ 14287 w 2971294"/>
              <a:gd name="connsiteY79" fmla="*/ 1157287 h 2305041"/>
              <a:gd name="connsiteX80" fmla="*/ 19050 w 2971294"/>
              <a:gd name="connsiteY80" fmla="*/ 1204912 h 2305041"/>
              <a:gd name="connsiteX81" fmla="*/ 28575 w 2971294"/>
              <a:gd name="connsiteY81" fmla="*/ 1243012 h 2305041"/>
              <a:gd name="connsiteX82" fmla="*/ 33337 w 2971294"/>
              <a:gd name="connsiteY82" fmla="*/ 1328737 h 2305041"/>
              <a:gd name="connsiteX83" fmla="*/ 23812 w 2971294"/>
              <a:gd name="connsiteY83" fmla="*/ 1476375 h 2305041"/>
              <a:gd name="connsiteX84" fmla="*/ 14287 w 2971294"/>
              <a:gd name="connsiteY84" fmla="*/ 1562100 h 2305041"/>
              <a:gd name="connsiteX85" fmla="*/ 9525 w 2971294"/>
              <a:gd name="connsiteY85" fmla="*/ 1819275 h 2305041"/>
              <a:gd name="connsiteX86" fmla="*/ 14287 w 2971294"/>
              <a:gd name="connsiteY86" fmla="*/ 2014537 h 2305041"/>
              <a:gd name="connsiteX87" fmla="*/ 23812 w 2971294"/>
              <a:gd name="connsiteY87" fmla="*/ 2066925 h 2305041"/>
              <a:gd name="connsiteX88" fmla="*/ 28575 w 2971294"/>
              <a:gd name="connsiteY88" fmla="*/ 2152650 h 2305041"/>
              <a:gd name="connsiteX89" fmla="*/ 23812 w 2971294"/>
              <a:gd name="connsiteY89" fmla="*/ 2238375 h 2305041"/>
              <a:gd name="connsiteX90" fmla="*/ 14287 w 2971294"/>
              <a:gd name="connsiteY90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624137 w 2971294"/>
              <a:gd name="connsiteY38" fmla="*/ 1314450 h 2305041"/>
              <a:gd name="connsiteX39" fmla="*/ 2619375 w 2971294"/>
              <a:gd name="connsiteY39" fmla="*/ 1371600 h 2305041"/>
              <a:gd name="connsiteX40" fmla="*/ 2614612 w 2971294"/>
              <a:gd name="connsiteY40" fmla="*/ 1443037 h 2305041"/>
              <a:gd name="connsiteX41" fmla="*/ 2600325 w 2971294"/>
              <a:gd name="connsiteY41" fmla="*/ 1485900 h 2305041"/>
              <a:gd name="connsiteX42" fmla="*/ 2595562 w 2971294"/>
              <a:gd name="connsiteY42" fmla="*/ 1514475 h 2305041"/>
              <a:gd name="connsiteX43" fmla="*/ 2605087 w 2971294"/>
              <a:gd name="connsiteY43" fmla="*/ 2005012 h 2305041"/>
              <a:gd name="connsiteX44" fmla="*/ 2614612 w 2971294"/>
              <a:gd name="connsiteY44" fmla="*/ 2066925 h 2305041"/>
              <a:gd name="connsiteX45" fmla="*/ 2616200 w 2971294"/>
              <a:gd name="connsiteY45" fmla="*/ 2203450 h 2305041"/>
              <a:gd name="connsiteX46" fmla="*/ 2624137 w 2971294"/>
              <a:gd name="connsiteY46" fmla="*/ 2292350 h 2305041"/>
              <a:gd name="connsiteX47" fmla="*/ 2851150 w 2971294"/>
              <a:gd name="connsiteY47" fmla="*/ 2303462 h 2305041"/>
              <a:gd name="connsiteX48" fmla="*/ 2967037 w 2971294"/>
              <a:gd name="connsiteY48" fmla="*/ 2282825 h 2305041"/>
              <a:gd name="connsiteX49" fmla="*/ 2947987 w 2971294"/>
              <a:gd name="connsiteY49" fmla="*/ 2181225 h 2305041"/>
              <a:gd name="connsiteX50" fmla="*/ 2955925 w 2971294"/>
              <a:gd name="connsiteY50" fmla="*/ 2008187 h 2305041"/>
              <a:gd name="connsiteX51" fmla="*/ 2962275 w 2971294"/>
              <a:gd name="connsiteY51" fmla="*/ 1804987 h 2305041"/>
              <a:gd name="connsiteX52" fmla="*/ 2952750 w 2971294"/>
              <a:gd name="connsiteY52" fmla="*/ 1366837 h 2305041"/>
              <a:gd name="connsiteX53" fmla="*/ 2947987 w 2971294"/>
              <a:gd name="connsiteY53" fmla="*/ 1081087 h 2305041"/>
              <a:gd name="connsiteX54" fmla="*/ 2947987 w 2971294"/>
              <a:gd name="connsiteY54" fmla="*/ 922337 h 2305041"/>
              <a:gd name="connsiteX55" fmla="*/ 2952750 w 2971294"/>
              <a:gd name="connsiteY55" fmla="*/ 571500 h 2305041"/>
              <a:gd name="connsiteX56" fmla="*/ 2957512 w 2971294"/>
              <a:gd name="connsiteY56" fmla="*/ 342900 h 2305041"/>
              <a:gd name="connsiteX57" fmla="*/ 2957512 w 2971294"/>
              <a:gd name="connsiteY57" fmla="*/ 34925 h 2305041"/>
              <a:gd name="connsiteX58" fmla="*/ 2867025 w 2971294"/>
              <a:gd name="connsiteY58" fmla="*/ 19050 h 2305041"/>
              <a:gd name="connsiteX59" fmla="*/ 2724150 w 2971294"/>
              <a:gd name="connsiteY59" fmla="*/ 9525 h 2305041"/>
              <a:gd name="connsiteX60" fmla="*/ 2381250 w 2971294"/>
              <a:gd name="connsiteY60" fmla="*/ 14287 h 2305041"/>
              <a:gd name="connsiteX61" fmla="*/ 2324100 w 2971294"/>
              <a:gd name="connsiteY61" fmla="*/ 23812 h 2305041"/>
              <a:gd name="connsiteX62" fmla="*/ 1909762 w 2971294"/>
              <a:gd name="connsiteY62" fmla="*/ 19050 h 2305041"/>
              <a:gd name="connsiteX63" fmla="*/ 1804987 w 2971294"/>
              <a:gd name="connsiteY63" fmla="*/ 9525 h 2305041"/>
              <a:gd name="connsiteX64" fmla="*/ 1776412 w 2971294"/>
              <a:gd name="connsiteY64" fmla="*/ 0 h 2305041"/>
              <a:gd name="connsiteX65" fmla="*/ 1528762 w 2971294"/>
              <a:gd name="connsiteY65" fmla="*/ 4762 h 2305041"/>
              <a:gd name="connsiteX66" fmla="*/ 1143000 w 2971294"/>
              <a:gd name="connsiteY66" fmla="*/ 38100 h 2305041"/>
              <a:gd name="connsiteX67" fmla="*/ 309562 w 2971294"/>
              <a:gd name="connsiteY67" fmla="*/ 23812 h 2305041"/>
              <a:gd name="connsiteX68" fmla="*/ 247650 w 2971294"/>
              <a:gd name="connsiteY68" fmla="*/ 14287 h 2305041"/>
              <a:gd name="connsiteX69" fmla="*/ 185737 w 2971294"/>
              <a:gd name="connsiteY69" fmla="*/ 9525 h 2305041"/>
              <a:gd name="connsiteX70" fmla="*/ 19050 w 2971294"/>
              <a:gd name="connsiteY70" fmla="*/ 14287 h 2305041"/>
              <a:gd name="connsiteX71" fmla="*/ 4762 w 2971294"/>
              <a:gd name="connsiteY71" fmla="*/ 19050 h 2305041"/>
              <a:gd name="connsiteX72" fmla="*/ 9525 w 2971294"/>
              <a:gd name="connsiteY72" fmla="*/ 85725 h 2305041"/>
              <a:gd name="connsiteX73" fmla="*/ 23812 w 2971294"/>
              <a:gd name="connsiteY73" fmla="*/ 171450 h 2305041"/>
              <a:gd name="connsiteX74" fmla="*/ 14287 w 2971294"/>
              <a:gd name="connsiteY74" fmla="*/ 390525 h 2305041"/>
              <a:gd name="connsiteX75" fmla="*/ 0 w 2971294"/>
              <a:gd name="connsiteY75" fmla="*/ 466725 h 2305041"/>
              <a:gd name="connsiteX76" fmla="*/ 9525 w 2971294"/>
              <a:gd name="connsiteY76" fmla="*/ 800100 h 2305041"/>
              <a:gd name="connsiteX77" fmla="*/ 9525 w 2971294"/>
              <a:gd name="connsiteY77" fmla="*/ 871537 h 2305041"/>
              <a:gd name="connsiteX78" fmla="*/ 14287 w 2971294"/>
              <a:gd name="connsiteY78" fmla="*/ 1157287 h 2305041"/>
              <a:gd name="connsiteX79" fmla="*/ 19050 w 2971294"/>
              <a:gd name="connsiteY79" fmla="*/ 1204912 h 2305041"/>
              <a:gd name="connsiteX80" fmla="*/ 28575 w 2971294"/>
              <a:gd name="connsiteY80" fmla="*/ 1243012 h 2305041"/>
              <a:gd name="connsiteX81" fmla="*/ 33337 w 2971294"/>
              <a:gd name="connsiteY81" fmla="*/ 1328737 h 2305041"/>
              <a:gd name="connsiteX82" fmla="*/ 23812 w 2971294"/>
              <a:gd name="connsiteY82" fmla="*/ 1476375 h 2305041"/>
              <a:gd name="connsiteX83" fmla="*/ 14287 w 2971294"/>
              <a:gd name="connsiteY83" fmla="*/ 1562100 h 2305041"/>
              <a:gd name="connsiteX84" fmla="*/ 9525 w 2971294"/>
              <a:gd name="connsiteY84" fmla="*/ 1819275 h 2305041"/>
              <a:gd name="connsiteX85" fmla="*/ 14287 w 2971294"/>
              <a:gd name="connsiteY85" fmla="*/ 2014537 h 2305041"/>
              <a:gd name="connsiteX86" fmla="*/ 23812 w 2971294"/>
              <a:gd name="connsiteY86" fmla="*/ 2066925 h 2305041"/>
              <a:gd name="connsiteX87" fmla="*/ 28575 w 2971294"/>
              <a:gd name="connsiteY87" fmla="*/ 2152650 h 2305041"/>
              <a:gd name="connsiteX88" fmla="*/ 23812 w 2971294"/>
              <a:gd name="connsiteY88" fmla="*/ 2238375 h 2305041"/>
              <a:gd name="connsiteX89" fmla="*/ 14287 w 2971294"/>
              <a:gd name="connsiteY89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624137 w 2971294"/>
              <a:gd name="connsiteY38" fmla="*/ 1314450 h 2305041"/>
              <a:gd name="connsiteX39" fmla="*/ 2619375 w 2971294"/>
              <a:gd name="connsiteY39" fmla="*/ 1371600 h 2305041"/>
              <a:gd name="connsiteX40" fmla="*/ 2614612 w 2971294"/>
              <a:gd name="connsiteY40" fmla="*/ 1443037 h 2305041"/>
              <a:gd name="connsiteX41" fmla="*/ 2595562 w 2971294"/>
              <a:gd name="connsiteY41" fmla="*/ 1514475 h 2305041"/>
              <a:gd name="connsiteX42" fmla="*/ 2605087 w 2971294"/>
              <a:gd name="connsiteY42" fmla="*/ 2005012 h 2305041"/>
              <a:gd name="connsiteX43" fmla="*/ 2614612 w 2971294"/>
              <a:gd name="connsiteY43" fmla="*/ 2066925 h 2305041"/>
              <a:gd name="connsiteX44" fmla="*/ 2616200 w 2971294"/>
              <a:gd name="connsiteY44" fmla="*/ 2203450 h 2305041"/>
              <a:gd name="connsiteX45" fmla="*/ 2624137 w 2971294"/>
              <a:gd name="connsiteY45" fmla="*/ 2292350 h 2305041"/>
              <a:gd name="connsiteX46" fmla="*/ 2851150 w 2971294"/>
              <a:gd name="connsiteY46" fmla="*/ 2303462 h 2305041"/>
              <a:gd name="connsiteX47" fmla="*/ 2967037 w 2971294"/>
              <a:gd name="connsiteY47" fmla="*/ 2282825 h 2305041"/>
              <a:gd name="connsiteX48" fmla="*/ 2947987 w 2971294"/>
              <a:gd name="connsiteY48" fmla="*/ 2181225 h 2305041"/>
              <a:gd name="connsiteX49" fmla="*/ 2955925 w 2971294"/>
              <a:gd name="connsiteY49" fmla="*/ 2008187 h 2305041"/>
              <a:gd name="connsiteX50" fmla="*/ 2962275 w 2971294"/>
              <a:gd name="connsiteY50" fmla="*/ 1804987 h 2305041"/>
              <a:gd name="connsiteX51" fmla="*/ 2952750 w 2971294"/>
              <a:gd name="connsiteY51" fmla="*/ 1366837 h 2305041"/>
              <a:gd name="connsiteX52" fmla="*/ 2947987 w 2971294"/>
              <a:gd name="connsiteY52" fmla="*/ 1081087 h 2305041"/>
              <a:gd name="connsiteX53" fmla="*/ 2947987 w 2971294"/>
              <a:gd name="connsiteY53" fmla="*/ 922337 h 2305041"/>
              <a:gd name="connsiteX54" fmla="*/ 2952750 w 2971294"/>
              <a:gd name="connsiteY54" fmla="*/ 571500 h 2305041"/>
              <a:gd name="connsiteX55" fmla="*/ 2957512 w 2971294"/>
              <a:gd name="connsiteY55" fmla="*/ 342900 h 2305041"/>
              <a:gd name="connsiteX56" fmla="*/ 2957512 w 2971294"/>
              <a:gd name="connsiteY56" fmla="*/ 34925 h 2305041"/>
              <a:gd name="connsiteX57" fmla="*/ 2867025 w 2971294"/>
              <a:gd name="connsiteY57" fmla="*/ 19050 h 2305041"/>
              <a:gd name="connsiteX58" fmla="*/ 2724150 w 2971294"/>
              <a:gd name="connsiteY58" fmla="*/ 9525 h 2305041"/>
              <a:gd name="connsiteX59" fmla="*/ 2381250 w 2971294"/>
              <a:gd name="connsiteY59" fmla="*/ 14287 h 2305041"/>
              <a:gd name="connsiteX60" fmla="*/ 2324100 w 2971294"/>
              <a:gd name="connsiteY60" fmla="*/ 23812 h 2305041"/>
              <a:gd name="connsiteX61" fmla="*/ 1909762 w 2971294"/>
              <a:gd name="connsiteY61" fmla="*/ 19050 h 2305041"/>
              <a:gd name="connsiteX62" fmla="*/ 1804987 w 2971294"/>
              <a:gd name="connsiteY62" fmla="*/ 9525 h 2305041"/>
              <a:gd name="connsiteX63" fmla="*/ 1776412 w 2971294"/>
              <a:gd name="connsiteY63" fmla="*/ 0 h 2305041"/>
              <a:gd name="connsiteX64" fmla="*/ 1528762 w 2971294"/>
              <a:gd name="connsiteY64" fmla="*/ 4762 h 2305041"/>
              <a:gd name="connsiteX65" fmla="*/ 1143000 w 2971294"/>
              <a:gd name="connsiteY65" fmla="*/ 38100 h 2305041"/>
              <a:gd name="connsiteX66" fmla="*/ 309562 w 2971294"/>
              <a:gd name="connsiteY66" fmla="*/ 23812 h 2305041"/>
              <a:gd name="connsiteX67" fmla="*/ 247650 w 2971294"/>
              <a:gd name="connsiteY67" fmla="*/ 14287 h 2305041"/>
              <a:gd name="connsiteX68" fmla="*/ 185737 w 2971294"/>
              <a:gd name="connsiteY68" fmla="*/ 9525 h 2305041"/>
              <a:gd name="connsiteX69" fmla="*/ 19050 w 2971294"/>
              <a:gd name="connsiteY69" fmla="*/ 14287 h 2305041"/>
              <a:gd name="connsiteX70" fmla="*/ 4762 w 2971294"/>
              <a:gd name="connsiteY70" fmla="*/ 19050 h 2305041"/>
              <a:gd name="connsiteX71" fmla="*/ 9525 w 2971294"/>
              <a:gd name="connsiteY71" fmla="*/ 85725 h 2305041"/>
              <a:gd name="connsiteX72" fmla="*/ 23812 w 2971294"/>
              <a:gd name="connsiteY72" fmla="*/ 171450 h 2305041"/>
              <a:gd name="connsiteX73" fmla="*/ 14287 w 2971294"/>
              <a:gd name="connsiteY73" fmla="*/ 390525 h 2305041"/>
              <a:gd name="connsiteX74" fmla="*/ 0 w 2971294"/>
              <a:gd name="connsiteY74" fmla="*/ 466725 h 2305041"/>
              <a:gd name="connsiteX75" fmla="*/ 9525 w 2971294"/>
              <a:gd name="connsiteY75" fmla="*/ 800100 h 2305041"/>
              <a:gd name="connsiteX76" fmla="*/ 9525 w 2971294"/>
              <a:gd name="connsiteY76" fmla="*/ 871537 h 2305041"/>
              <a:gd name="connsiteX77" fmla="*/ 14287 w 2971294"/>
              <a:gd name="connsiteY77" fmla="*/ 1157287 h 2305041"/>
              <a:gd name="connsiteX78" fmla="*/ 19050 w 2971294"/>
              <a:gd name="connsiteY78" fmla="*/ 1204912 h 2305041"/>
              <a:gd name="connsiteX79" fmla="*/ 28575 w 2971294"/>
              <a:gd name="connsiteY79" fmla="*/ 1243012 h 2305041"/>
              <a:gd name="connsiteX80" fmla="*/ 33337 w 2971294"/>
              <a:gd name="connsiteY80" fmla="*/ 1328737 h 2305041"/>
              <a:gd name="connsiteX81" fmla="*/ 23812 w 2971294"/>
              <a:gd name="connsiteY81" fmla="*/ 1476375 h 2305041"/>
              <a:gd name="connsiteX82" fmla="*/ 14287 w 2971294"/>
              <a:gd name="connsiteY82" fmla="*/ 1562100 h 2305041"/>
              <a:gd name="connsiteX83" fmla="*/ 9525 w 2971294"/>
              <a:gd name="connsiteY83" fmla="*/ 1819275 h 2305041"/>
              <a:gd name="connsiteX84" fmla="*/ 14287 w 2971294"/>
              <a:gd name="connsiteY84" fmla="*/ 2014537 h 2305041"/>
              <a:gd name="connsiteX85" fmla="*/ 23812 w 2971294"/>
              <a:gd name="connsiteY85" fmla="*/ 2066925 h 2305041"/>
              <a:gd name="connsiteX86" fmla="*/ 28575 w 2971294"/>
              <a:gd name="connsiteY86" fmla="*/ 2152650 h 2305041"/>
              <a:gd name="connsiteX87" fmla="*/ 23812 w 2971294"/>
              <a:gd name="connsiteY87" fmla="*/ 2238375 h 2305041"/>
              <a:gd name="connsiteX88" fmla="*/ 14287 w 2971294"/>
              <a:gd name="connsiteY88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624137 w 2971294"/>
              <a:gd name="connsiteY38" fmla="*/ 1314450 h 2305041"/>
              <a:gd name="connsiteX39" fmla="*/ 2619375 w 2971294"/>
              <a:gd name="connsiteY39" fmla="*/ 1371600 h 2305041"/>
              <a:gd name="connsiteX40" fmla="*/ 2595562 w 2971294"/>
              <a:gd name="connsiteY40" fmla="*/ 1514475 h 2305041"/>
              <a:gd name="connsiteX41" fmla="*/ 2605087 w 2971294"/>
              <a:gd name="connsiteY41" fmla="*/ 2005012 h 2305041"/>
              <a:gd name="connsiteX42" fmla="*/ 2614612 w 2971294"/>
              <a:gd name="connsiteY42" fmla="*/ 2066925 h 2305041"/>
              <a:gd name="connsiteX43" fmla="*/ 2616200 w 2971294"/>
              <a:gd name="connsiteY43" fmla="*/ 2203450 h 2305041"/>
              <a:gd name="connsiteX44" fmla="*/ 2624137 w 2971294"/>
              <a:gd name="connsiteY44" fmla="*/ 2292350 h 2305041"/>
              <a:gd name="connsiteX45" fmla="*/ 2851150 w 2971294"/>
              <a:gd name="connsiteY45" fmla="*/ 2303462 h 2305041"/>
              <a:gd name="connsiteX46" fmla="*/ 2967037 w 2971294"/>
              <a:gd name="connsiteY46" fmla="*/ 2282825 h 2305041"/>
              <a:gd name="connsiteX47" fmla="*/ 2947987 w 2971294"/>
              <a:gd name="connsiteY47" fmla="*/ 2181225 h 2305041"/>
              <a:gd name="connsiteX48" fmla="*/ 2955925 w 2971294"/>
              <a:gd name="connsiteY48" fmla="*/ 2008187 h 2305041"/>
              <a:gd name="connsiteX49" fmla="*/ 2962275 w 2971294"/>
              <a:gd name="connsiteY49" fmla="*/ 1804987 h 2305041"/>
              <a:gd name="connsiteX50" fmla="*/ 2952750 w 2971294"/>
              <a:gd name="connsiteY50" fmla="*/ 1366837 h 2305041"/>
              <a:gd name="connsiteX51" fmla="*/ 2947987 w 2971294"/>
              <a:gd name="connsiteY51" fmla="*/ 1081087 h 2305041"/>
              <a:gd name="connsiteX52" fmla="*/ 2947987 w 2971294"/>
              <a:gd name="connsiteY52" fmla="*/ 922337 h 2305041"/>
              <a:gd name="connsiteX53" fmla="*/ 2952750 w 2971294"/>
              <a:gd name="connsiteY53" fmla="*/ 571500 h 2305041"/>
              <a:gd name="connsiteX54" fmla="*/ 2957512 w 2971294"/>
              <a:gd name="connsiteY54" fmla="*/ 342900 h 2305041"/>
              <a:gd name="connsiteX55" fmla="*/ 2957512 w 2971294"/>
              <a:gd name="connsiteY55" fmla="*/ 34925 h 2305041"/>
              <a:gd name="connsiteX56" fmla="*/ 2867025 w 2971294"/>
              <a:gd name="connsiteY56" fmla="*/ 19050 h 2305041"/>
              <a:gd name="connsiteX57" fmla="*/ 2724150 w 2971294"/>
              <a:gd name="connsiteY57" fmla="*/ 9525 h 2305041"/>
              <a:gd name="connsiteX58" fmla="*/ 2381250 w 2971294"/>
              <a:gd name="connsiteY58" fmla="*/ 14287 h 2305041"/>
              <a:gd name="connsiteX59" fmla="*/ 2324100 w 2971294"/>
              <a:gd name="connsiteY59" fmla="*/ 23812 h 2305041"/>
              <a:gd name="connsiteX60" fmla="*/ 1909762 w 2971294"/>
              <a:gd name="connsiteY60" fmla="*/ 19050 h 2305041"/>
              <a:gd name="connsiteX61" fmla="*/ 1804987 w 2971294"/>
              <a:gd name="connsiteY61" fmla="*/ 9525 h 2305041"/>
              <a:gd name="connsiteX62" fmla="*/ 1776412 w 2971294"/>
              <a:gd name="connsiteY62" fmla="*/ 0 h 2305041"/>
              <a:gd name="connsiteX63" fmla="*/ 1528762 w 2971294"/>
              <a:gd name="connsiteY63" fmla="*/ 4762 h 2305041"/>
              <a:gd name="connsiteX64" fmla="*/ 1143000 w 2971294"/>
              <a:gd name="connsiteY64" fmla="*/ 38100 h 2305041"/>
              <a:gd name="connsiteX65" fmla="*/ 309562 w 2971294"/>
              <a:gd name="connsiteY65" fmla="*/ 23812 h 2305041"/>
              <a:gd name="connsiteX66" fmla="*/ 247650 w 2971294"/>
              <a:gd name="connsiteY66" fmla="*/ 14287 h 2305041"/>
              <a:gd name="connsiteX67" fmla="*/ 185737 w 2971294"/>
              <a:gd name="connsiteY67" fmla="*/ 9525 h 2305041"/>
              <a:gd name="connsiteX68" fmla="*/ 19050 w 2971294"/>
              <a:gd name="connsiteY68" fmla="*/ 14287 h 2305041"/>
              <a:gd name="connsiteX69" fmla="*/ 4762 w 2971294"/>
              <a:gd name="connsiteY69" fmla="*/ 19050 h 2305041"/>
              <a:gd name="connsiteX70" fmla="*/ 9525 w 2971294"/>
              <a:gd name="connsiteY70" fmla="*/ 85725 h 2305041"/>
              <a:gd name="connsiteX71" fmla="*/ 23812 w 2971294"/>
              <a:gd name="connsiteY71" fmla="*/ 171450 h 2305041"/>
              <a:gd name="connsiteX72" fmla="*/ 14287 w 2971294"/>
              <a:gd name="connsiteY72" fmla="*/ 390525 h 2305041"/>
              <a:gd name="connsiteX73" fmla="*/ 0 w 2971294"/>
              <a:gd name="connsiteY73" fmla="*/ 466725 h 2305041"/>
              <a:gd name="connsiteX74" fmla="*/ 9525 w 2971294"/>
              <a:gd name="connsiteY74" fmla="*/ 800100 h 2305041"/>
              <a:gd name="connsiteX75" fmla="*/ 9525 w 2971294"/>
              <a:gd name="connsiteY75" fmla="*/ 871537 h 2305041"/>
              <a:gd name="connsiteX76" fmla="*/ 14287 w 2971294"/>
              <a:gd name="connsiteY76" fmla="*/ 1157287 h 2305041"/>
              <a:gd name="connsiteX77" fmla="*/ 19050 w 2971294"/>
              <a:gd name="connsiteY77" fmla="*/ 1204912 h 2305041"/>
              <a:gd name="connsiteX78" fmla="*/ 28575 w 2971294"/>
              <a:gd name="connsiteY78" fmla="*/ 1243012 h 2305041"/>
              <a:gd name="connsiteX79" fmla="*/ 33337 w 2971294"/>
              <a:gd name="connsiteY79" fmla="*/ 1328737 h 2305041"/>
              <a:gd name="connsiteX80" fmla="*/ 23812 w 2971294"/>
              <a:gd name="connsiteY80" fmla="*/ 1476375 h 2305041"/>
              <a:gd name="connsiteX81" fmla="*/ 14287 w 2971294"/>
              <a:gd name="connsiteY81" fmla="*/ 1562100 h 2305041"/>
              <a:gd name="connsiteX82" fmla="*/ 9525 w 2971294"/>
              <a:gd name="connsiteY82" fmla="*/ 1819275 h 2305041"/>
              <a:gd name="connsiteX83" fmla="*/ 14287 w 2971294"/>
              <a:gd name="connsiteY83" fmla="*/ 2014537 h 2305041"/>
              <a:gd name="connsiteX84" fmla="*/ 23812 w 2971294"/>
              <a:gd name="connsiteY84" fmla="*/ 2066925 h 2305041"/>
              <a:gd name="connsiteX85" fmla="*/ 28575 w 2971294"/>
              <a:gd name="connsiteY85" fmla="*/ 2152650 h 2305041"/>
              <a:gd name="connsiteX86" fmla="*/ 23812 w 2971294"/>
              <a:gd name="connsiteY86" fmla="*/ 2238375 h 2305041"/>
              <a:gd name="connsiteX87" fmla="*/ 14287 w 2971294"/>
              <a:gd name="connsiteY87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624137 w 2971294"/>
              <a:gd name="connsiteY38" fmla="*/ 1314450 h 2305041"/>
              <a:gd name="connsiteX39" fmla="*/ 2595562 w 2971294"/>
              <a:gd name="connsiteY39" fmla="*/ 1514475 h 2305041"/>
              <a:gd name="connsiteX40" fmla="*/ 2605087 w 2971294"/>
              <a:gd name="connsiteY40" fmla="*/ 2005012 h 2305041"/>
              <a:gd name="connsiteX41" fmla="*/ 2614612 w 2971294"/>
              <a:gd name="connsiteY41" fmla="*/ 2066925 h 2305041"/>
              <a:gd name="connsiteX42" fmla="*/ 2616200 w 2971294"/>
              <a:gd name="connsiteY42" fmla="*/ 2203450 h 2305041"/>
              <a:gd name="connsiteX43" fmla="*/ 2624137 w 2971294"/>
              <a:gd name="connsiteY43" fmla="*/ 2292350 h 2305041"/>
              <a:gd name="connsiteX44" fmla="*/ 2851150 w 2971294"/>
              <a:gd name="connsiteY44" fmla="*/ 2303462 h 2305041"/>
              <a:gd name="connsiteX45" fmla="*/ 2967037 w 2971294"/>
              <a:gd name="connsiteY45" fmla="*/ 2282825 h 2305041"/>
              <a:gd name="connsiteX46" fmla="*/ 2947987 w 2971294"/>
              <a:gd name="connsiteY46" fmla="*/ 2181225 h 2305041"/>
              <a:gd name="connsiteX47" fmla="*/ 2955925 w 2971294"/>
              <a:gd name="connsiteY47" fmla="*/ 2008187 h 2305041"/>
              <a:gd name="connsiteX48" fmla="*/ 2962275 w 2971294"/>
              <a:gd name="connsiteY48" fmla="*/ 1804987 h 2305041"/>
              <a:gd name="connsiteX49" fmla="*/ 2952750 w 2971294"/>
              <a:gd name="connsiteY49" fmla="*/ 1366837 h 2305041"/>
              <a:gd name="connsiteX50" fmla="*/ 2947987 w 2971294"/>
              <a:gd name="connsiteY50" fmla="*/ 1081087 h 2305041"/>
              <a:gd name="connsiteX51" fmla="*/ 2947987 w 2971294"/>
              <a:gd name="connsiteY51" fmla="*/ 922337 h 2305041"/>
              <a:gd name="connsiteX52" fmla="*/ 2952750 w 2971294"/>
              <a:gd name="connsiteY52" fmla="*/ 571500 h 2305041"/>
              <a:gd name="connsiteX53" fmla="*/ 2957512 w 2971294"/>
              <a:gd name="connsiteY53" fmla="*/ 342900 h 2305041"/>
              <a:gd name="connsiteX54" fmla="*/ 2957512 w 2971294"/>
              <a:gd name="connsiteY54" fmla="*/ 34925 h 2305041"/>
              <a:gd name="connsiteX55" fmla="*/ 2867025 w 2971294"/>
              <a:gd name="connsiteY55" fmla="*/ 19050 h 2305041"/>
              <a:gd name="connsiteX56" fmla="*/ 2724150 w 2971294"/>
              <a:gd name="connsiteY56" fmla="*/ 9525 h 2305041"/>
              <a:gd name="connsiteX57" fmla="*/ 2381250 w 2971294"/>
              <a:gd name="connsiteY57" fmla="*/ 14287 h 2305041"/>
              <a:gd name="connsiteX58" fmla="*/ 2324100 w 2971294"/>
              <a:gd name="connsiteY58" fmla="*/ 23812 h 2305041"/>
              <a:gd name="connsiteX59" fmla="*/ 1909762 w 2971294"/>
              <a:gd name="connsiteY59" fmla="*/ 19050 h 2305041"/>
              <a:gd name="connsiteX60" fmla="*/ 1804987 w 2971294"/>
              <a:gd name="connsiteY60" fmla="*/ 9525 h 2305041"/>
              <a:gd name="connsiteX61" fmla="*/ 1776412 w 2971294"/>
              <a:gd name="connsiteY61" fmla="*/ 0 h 2305041"/>
              <a:gd name="connsiteX62" fmla="*/ 1528762 w 2971294"/>
              <a:gd name="connsiteY62" fmla="*/ 4762 h 2305041"/>
              <a:gd name="connsiteX63" fmla="*/ 1143000 w 2971294"/>
              <a:gd name="connsiteY63" fmla="*/ 38100 h 2305041"/>
              <a:gd name="connsiteX64" fmla="*/ 309562 w 2971294"/>
              <a:gd name="connsiteY64" fmla="*/ 23812 h 2305041"/>
              <a:gd name="connsiteX65" fmla="*/ 247650 w 2971294"/>
              <a:gd name="connsiteY65" fmla="*/ 14287 h 2305041"/>
              <a:gd name="connsiteX66" fmla="*/ 185737 w 2971294"/>
              <a:gd name="connsiteY66" fmla="*/ 9525 h 2305041"/>
              <a:gd name="connsiteX67" fmla="*/ 19050 w 2971294"/>
              <a:gd name="connsiteY67" fmla="*/ 14287 h 2305041"/>
              <a:gd name="connsiteX68" fmla="*/ 4762 w 2971294"/>
              <a:gd name="connsiteY68" fmla="*/ 19050 h 2305041"/>
              <a:gd name="connsiteX69" fmla="*/ 9525 w 2971294"/>
              <a:gd name="connsiteY69" fmla="*/ 85725 h 2305041"/>
              <a:gd name="connsiteX70" fmla="*/ 23812 w 2971294"/>
              <a:gd name="connsiteY70" fmla="*/ 171450 h 2305041"/>
              <a:gd name="connsiteX71" fmla="*/ 14287 w 2971294"/>
              <a:gd name="connsiteY71" fmla="*/ 390525 h 2305041"/>
              <a:gd name="connsiteX72" fmla="*/ 0 w 2971294"/>
              <a:gd name="connsiteY72" fmla="*/ 466725 h 2305041"/>
              <a:gd name="connsiteX73" fmla="*/ 9525 w 2971294"/>
              <a:gd name="connsiteY73" fmla="*/ 800100 h 2305041"/>
              <a:gd name="connsiteX74" fmla="*/ 9525 w 2971294"/>
              <a:gd name="connsiteY74" fmla="*/ 871537 h 2305041"/>
              <a:gd name="connsiteX75" fmla="*/ 14287 w 2971294"/>
              <a:gd name="connsiteY75" fmla="*/ 1157287 h 2305041"/>
              <a:gd name="connsiteX76" fmla="*/ 19050 w 2971294"/>
              <a:gd name="connsiteY76" fmla="*/ 1204912 h 2305041"/>
              <a:gd name="connsiteX77" fmla="*/ 28575 w 2971294"/>
              <a:gd name="connsiteY77" fmla="*/ 1243012 h 2305041"/>
              <a:gd name="connsiteX78" fmla="*/ 33337 w 2971294"/>
              <a:gd name="connsiteY78" fmla="*/ 1328737 h 2305041"/>
              <a:gd name="connsiteX79" fmla="*/ 23812 w 2971294"/>
              <a:gd name="connsiteY79" fmla="*/ 1476375 h 2305041"/>
              <a:gd name="connsiteX80" fmla="*/ 14287 w 2971294"/>
              <a:gd name="connsiteY80" fmla="*/ 1562100 h 2305041"/>
              <a:gd name="connsiteX81" fmla="*/ 9525 w 2971294"/>
              <a:gd name="connsiteY81" fmla="*/ 1819275 h 2305041"/>
              <a:gd name="connsiteX82" fmla="*/ 14287 w 2971294"/>
              <a:gd name="connsiteY82" fmla="*/ 2014537 h 2305041"/>
              <a:gd name="connsiteX83" fmla="*/ 23812 w 2971294"/>
              <a:gd name="connsiteY83" fmla="*/ 2066925 h 2305041"/>
              <a:gd name="connsiteX84" fmla="*/ 28575 w 2971294"/>
              <a:gd name="connsiteY84" fmla="*/ 2152650 h 2305041"/>
              <a:gd name="connsiteX85" fmla="*/ 23812 w 2971294"/>
              <a:gd name="connsiteY85" fmla="*/ 2238375 h 2305041"/>
              <a:gd name="connsiteX86" fmla="*/ 14287 w 2971294"/>
              <a:gd name="connsiteY86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595562 w 2971294"/>
              <a:gd name="connsiteY38" fmla="*/ 1514475 h 2305041"/>
              <a:gd name="connsiteX39" fmla="*/ 2605087 w 2971294"/>
              <a:gd name="connsiteY39" fmla="*/ 2005012 h 2305041"/>
              <a:gd name="connsiteX40" fmla="*/ 2614612 w 2971294"/>
              <a:gd name="connsiteY40" fmla="*/ 2066925 h 2305041"/>
              <a:gd name="connsiteX41" fmla="*/ 2616200 w 2971294"/>
              <a:gd name="connsiteY41" fmla="*/ 2203450 h 2305041"/>
              <a:gd name="connsiteX42" fmla="*/ 2624137 w 2971294"/>
              <a:gd name="connsiteY42" fmla="*/ 2292350 h 2305041"/>
              <a:gd name="connsiteX43" fmla="*/ 2851150 w 2971294"/>
              <a:gd name="connsiteY43" fmla="*/ 2303462 h 2305041"/>
              <a:gd name="connsiteX44" fmla="*/ 2967037 w 2971294"/>
              <a:gd name="connsiteY44" fmla="*/ 2282825 h 2305041"/>
              <a:gd name="connsiteX45" fmla="*/ 2947987 w 2971294"/>
              <a:gd name="connsiteY45" fmla="*/ 2181225 h 2305041"/>
              <a:gd name="connsiteX46" fmla="*/ 2955925 w 2971294"/>
              <a:gd name="connsiteY46" fmla="*/ 2008187 h 2305041"/>
              <a:gd name="connsiteX47" fmla="*/ 2962275 w 2971294"/>
              <a:gd name="connsiteY47" fmla="*/ 1804987 h 2305041"/>
              <a:gd name="connsiteX48" fmla="*/ 2952750 w 2971294"/>
              <a:gd name="connsiteY48" fmla="*/ 1366837 h 2305041"/>
              <a:gd name="connsiteX49" fmla="*/ 2947987 w 2971294"/>
              <a:gd name="connsiteY49" fmla="*/ 1081087 h 2305041"/>
              <a:gd name="connsiteX50" fmla="*/ 2947987 w 2971294"/>
              <a:gd name="connsiteY50" fmla="*/ 922337 h 2305041"/>
              <a:gd name="connsiteX51" fmla="*/ 2952750 w 2971294"/>
              <a:gd name="connsiteY51" fmla="*/ 571500 h 2305041"/>
              <a:gd name="connsiteX52" fmla="*/ 2957512 w 2971294"/>
              <a:gd name="connsiteY52" fmla="*/ 342900 h 2305041"/>
              <a:gd name="connsiteX53" fmla="*/ 2957512 w 2971294"/>
              <a:gd name="connsiteY53" fmla="*/ 34925 h 2305041"/>
              <a:gd name="connsiteX54" fmla="*/ 2867025 w 2971294"/>
              <a:gd name="connsiteY54" fmla="*/ 19050 h 2305041"/>
              <a:gd name="connsiteX55" fmla="*/ 2724150 w 2971294"/>
              <a:gd name="connsiteY55" fmla="*/ 9525 h 2305041"/>
              <a:gd name="connsiteX56" fmla="*/ 2381250 w 2971294"/>
              <a:gd name="connsiteY56" fmla="*/ 14287 h 2305041"/>
              <a:gd name="connsiteX57" fmla="*/ 2324100 w 2971294"/>
              <a:gd name="connsiteY57" fmla="*/ 23812 h 2305041"/>
              <a:gd name="connsiteX58" fmla="*/ 1909762 w 2971294"/>
              <a:gd name="connsiteY58" fmla="*/ 19050 h 2305041"/>
              <a:gd name="connsiteX59" fmla="*/ 1804987 w 2971294"/>
              <a:gd name="connsiteY59" fmla="*/ 9525 h 2305041"/>
              <a:gd name="connsiteX60" fmla="*/ 1776412 w 2971294"/>
              <a:gd name="connsiteY60" fmla="*/ 0 h 2305041"/>
              <a:gd name="connsiteX61" fmla="*/ 1528762 w 2971294"/>
              <a:gd name="connsiteY61" fmla="*/ 4762 h 2305041"/>
              <a:gd name="connsiteX62" fmla="*/ 1143000 w 2971294"/>
              <a:gd name="connsiteY62" fmla="*/ 38100 h 2305041"/>
              <a:gd name="connsiteX63" fmla="*/ 309562 w 2971294"/>
              <a:gd name="connsiteY63" fmla="*/ 23812 h 2305041"/>
              <a:gd name="connsiteX64" fmla="*/ 247650 w 2971294"/>
              <a:gd name="connsiteY64" fmla="*/ 14287 h 2305041"/>
              <a:gd name="connsiteX65" fmla="*/ 185737 w 2971294"/>
              <a:gd name="connsiteY65" fmla="*/ 9525 h 2305041"/>
              <a:gd name="connsiteX66" fmla="*/ 19050 w 2971294"/>
              <a:gd name="connsiteY66" fmla="*/ 14287 h 2305041"/>
              <a:gd name="connsiteX67" fmla="*/ 4762 w 2971294"/>
              <a:gd name="connsiteY67" fmla="*/ 19050 h 2305041"/>
              <a:gd name="connsiteX68" fmla="*/ 9525 w 2971294"/>
              <a:gd name="connsiteY68" fmla="*/ 85725 h 2305041"/>
              <a:gd name="connsiteX69" fmla="*/ 23812 w 2971294"/>
              <a:gd name="connsiteY69" fmla="*/ 171450 h 2305041"/>
              <a:gd name="connsiteX70" fmla="*/ 14287 w 2971294"/>
              <a:gd name="connsiteY70" fmla="*/ 390525 h 2305041"/>
              <a:gd name="connsiteX71" fmla="*/ 0 w 2971294"/>
              <a:gd name="connsiteY71" fmla="*/ 466725 h 2305041"/>
              <a:gd name="connsiteX72" fmla="*/ 9525 w 2971294"/>
              <a:gd name="connsiteY72" fmla="*/ 800100 h 2305041"/>
              <a:gd name="connsiteX73" fmla="*/ 9525 w 2971294"/>
              <a:gd name="connsiteY73" fmla="*/ 871537 h 2305041"/>
              <a:gd name="connsiteX74" fmla="*/ 14287 w 2971294"/>
              <a:gd name="connsiteY74" fmla="*/ 1157287 h 2305041"/>
              <a:gd name="connsiteX75" fmla="*/ 19050 w 2971294"/>
              <a:gd name="connsiteY75" fmla="*/ 1204912 h 2305041"/>
              <a:gd name="connsiteX76" fmla="*/ 28575 w 2971294"/>
              <a:gd name="connsiteY76" fmla="*/ 1243012 h 2305041"/>
              <a:gd name="connsiteX77" fmla="*/ 33337 w 2971294"/>
              <a:gd name="connsiteY77" fmla="*/ 1328737 h 2305041"/>
              <a:gd name="connsiteX78" fmla="*/ 23812 w 2971294"/>
              <a:gd name="connsiteY78" fmla="*/ 1476375 h 2305041"/>
              <a:gd name="connsiteX79" fmla="*/ 14287 w 2971294"/>
              <a:gd name="connsiteY79" fmla="*/ 1562100 h 2305041"/>
              <a:gd name="connsiteX80" fmla="*/ 9525 w 2971294"/>
              <a:gd name="connsiteY80" fmla="*/ 1819275 h 2305041"/>
              <a:gd name="connsiteX81" fmla="*/ 14287 w 2971294"/>
              <a:gd name="connsiteY81" fmla="*/ 2014537 h 2305041"/>
              <a:gd name="connsiteX82" fmla="*/ 23812 w 2971294"/>
              <a:gd name="connsiteY82" fmla="*/ 2066925 h 2305041"/>
              <a:gd name="connsiteX83" fmla="*/ 28575 w 2971294"/>
              <a:gd name="connsiteY83" fmla="*/ 2152650 h 2305041"/>
              <a:gd name="connsiteX84" fmla="*/ 23812 w 2971294"/>
              <a:gd name="connsiteY84" fmla="*/ 2238375 h 2305041"/>
              <a:gd name="connsiteX85" fmla="*/ 14287 w 2971294"/>
              <a:gd name="connsiteY85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608262 w 2971294"/>
              <a:gd name="connsiteY38" fmla="*/ 1514475 h 2305041"/>
              <a:gd name="connsiteX39" fmla="*/ 2605087 w 2971294"/>
              <a:gd name="connsiteY39" fmla="*/ 2005012 h 2305041"/>
              <a:gd name="connsiteX40" fmla="*/ 2614612 w 2971294"/>
              <a:gd name="connsiteY40" fmla="*/ 2066925 h 2305041"/>
              <a:gd name="connsiteX41" fmla="*/ 2616200 w 2971294"/>
              <a:gd name="connsiteY41" fmla="*/ 2203450 h 2305041"/>
              <a:gd name="connsiteX42" fmla="*/ 2624137 w 2971294"/>
              <a:gd name="connsiteY42" fmla="*/ 2292350 h 2305041"/>
              <a:gd name="connsiteX43" fmla="*/ 2851150 w 2971294"/>
              <a:gd name="connsiteY43" fmla="*/ 2303462 h 2305041"/>
              <a:gd name="connsiteX44" fmla="*/ 2967037 w 2971294"/>
              <a:gd name="connsiteY44" fmla="*/ 2282825 h 2305041"/>
              <a:gd name="connsiteX45" fmla="*/ 2947987 w 2971294"/>
              <a:gd name="connsiteY45" fmla="*/ 2181225 h 2305041"/>
              <a:gd name="connsiteX46" fmla="*/ 2955925 w 2971294"/>
              <a:gd name="connsiteY46" fmla="*/ 2008187 h 2305041"/>
              <a:gd name="connsiteX47" fmla="*/ 2962275 w 2971294"/>
              <a:gd name="connsiteY47" fmla="*/ 1804987 h 2305041"/>
              <a:gd name="connsiteX48" fmla="*/ 2952750 w 2971294"/>
              <a:gd name="connsiteY48" fmla="*/ 1366837 h 2305041"/>
              <a:gd name="connsiteX49" fmla="*/ 2947987 w 2971294"/>
              <a:gd name="connsiteY49" fmla="*/ 1081087 h 2305041"/>
              <a:gd name="connsiteX50" fmla="*/ 2947987 w 2971294"/>
              <a:gd name="connsiteY50" fmla="*/ 922337 h 2305041"/>
              <a:gd name="connsiteX51" fmla="*/ 2952750 w 2971294"/>
              <a:gd name="connsiteY51" fmla="*/ 571500 h 2305041"/>
              <a:gd name="connsiteX52" fmla="*/ 2957512 w 2971294"/>
              <a:gd name="connsiteY52" fmla="*/ 342900 h 2305041"/>
              <a:gd name="connsiteX53" fmla="*/ 2957512 w 2971294"/>
              <a:gd name="connsiteY53" fmla="*/ 34925 h 2305041"/>
              <a:gd name="connsiteX54" fmla="*/ 2867025 w 2971294"/>
              <a:gd name="connsiteY54" fmla="*/ 19050 h 2305041"/>
              <a:gd name="connsiteX55" fmla="*/ 2724150 w 2971294"/>
              <a:gd name="connsiteY55" fmla="*/ 9525 h 2305041"/>
              <a:gd name="connsiteX56" fmla="*/ 2381250 w 2971294"/>
              <a:gd name="connsiteY56" fmla="*/ 14287 h 2305041"/>
              <a:gd name="connsiteX57" fmla="*/ 2324100 w 2971294"/>
              <a:gd name="connsiteY57" fmla="*/ 23812 h 2305041"/>
              <a:gd name="connsiteX58" fmla="*/ 1909762 w 2971294"/>
              <a:gd name="connsiteY58" fmla="*/ 19050 h 2305041"/>
              <a:gd name="connsiteX59" fmla="*/ 1804987 w 2971294"/>
              <a:gd name="connsiteY59" fmla="*/ 9525 h 2305041"/>
              <a:gd name="connsiteX60" fmla="*/ 1776412 w 2971294"/>
              <a:gd name="connsiteY60" fmla="*/ 0 h 2305041"/>
              <a:gd name="connsiteX61" fmla="*/ 1528762 w 2971294"/>
              <a:gd name="connsiteY61" fmla="*/ 4762 h 2305041"/>
              <a:gd name="connsiteX62" fmla="*/ 1143000 w 2971294"/>
              <a:gd name="connsiteY62" fmla="*/ 38100 h 2305041"/>
              <a:gd name="connsiteX63" fmla="*/ 309562 w 2971294"/>
              <a:gd name="connsiteY63" fmla="*/ 23812 h 2305041"/>
              <a:gd name="connsiteX64" fmla="*/ 247650 w 2971294"/>
              <a:gd name="connsiteY64" fmla="*/ 14287 h 2305041"/>
              <a:gd name="connsiteX65" fmla="*/ 185737 w 2971294"/>
              <a:gd name="connsiteY65" fmla="*/ 9525 h 2305041"/>
              <a:gd name="connsiteX66" fmla="*/ 19050 w 2971294"/>
              <a:gd name="connsiteY66" fmla="*/ 14287 h 2305041"/>
              <a:gd name="connsiteX67" fmla="*/ 4762 w 2971294"/>
              <a:gd name="connsiteY67" fmla="*/ 19050 h 2305041"/>
              <a:gd name="connsiteX68" fmla="*/ 9525 w 2971294"/>
              <a:gd name="connsiteY68" fmla="*/ 85725 h 2305041"/>
              <a:gd name="connsiteX69" fmla="*/ 23812 w 2971294"/>
              <a:gd name="connsiteY69" fmla="*/ 171450 h 2305041"/>
              <a:gd name="connsiteX70" fmla="*/ 14287 w 2971294"/>
              <a:gd name="connsiteY70" fmla="*/ 390525 h 2305041"/>
              <a:gd name="connsiteX71" fmla="*/ 0 w 2971294"/>
              <a:gd name="connsiteY71" fmla="*/ 466725 h 2305041"/>
              <a:gd name="connsiteX72" fmla="*/ 9525 w 2971294"/>
              <a:gd name="connsiteY72" fmla="*/ 800100 h 2305041"/>
              <a:gd name="connsiteX73" fmla="*/ 9525 w 2971294"/>
              <a:gd name="connsiteY73" fmla="*/ 871537 h 2305041"/>
              <a:gd name="connsiteX74" fmla="*/ 14287 w 2971294"/>
              <a:gd name="connsiteY74" fmla="*/ 1157287 h 2305041"/>
              <a:gd name="connsiteX75" fmla="*/ 19050 w 2971294"/>
              <a:gd name="connsiteY75" fmla="*/ 1204912 h 2305041"/>
              <a:gd name="connsiteX76" fmla="*/ 28575 w 2971294"/>
              <a:gd name="connsiteY76" fmla="*/ 1243012 h 2305041"/>
              <a:gd name="connsiteX77" fmla="*/ 33337 w 2971294"/>
              <a:gd name="connsiteY77" fmla="*/ 1328737 h 2305041"/>
              <a:gd name="connsiteX78" fmla="*/ 23812 w 2971294"/>
              <a:gd name="connsiteY78" fmla="*/ 1476375 h 2305041"/>
              <a:gd name="connsiteX79" fmla="*/ 14287 w 2971294"/>
              <a:gd name="connsiteY79" fmla="*/ 1562100 h 2305041"/>
              <a:gd name="connsiteX80" fmla="*/ 9525 w 2971294"/>
              <a:gd name="connsiteY80" fmla="*/ 1819275 h 2305041"/>
              <a:gd name="connsiteX81" fmla="*/ 14287 w 2971294"/>
              <a:gd name="connsiteY81" fmla="*/ 2014537 h 2305041"/>
              <a:gd name="connsiteX82" fmla="*/ 23812 w 2971294"/>
              <a:gd name="connsiteY82" fmla="*/ 2066925 h 2305041"/>
              <a:gd name="connsiteX83" fmla="*/ 28575 w 2971294"/>
              <a:gd name="connsiteY83" fmla="*/ 2152650 h 2305041"/>
              <a:gd name="connsiteX84" fmla="*/ 23812 w 2971294"/>
              <a:gd name="connsiteY84" fmla="*/ 2238375 h 2305041"/>
              <a:gd name="connsiteX85" fmla="*/ 14287 w 2971294"/>
              <a:gd name="connsiteY85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608262 w 2971294"/>
              <a:gd name="connsiteY38" fmla="*/ 1514475 h 2305041"/>
              <a:gd name="connsiteX39" fmla="*/ 2614612 w 2971294"/>
              <a:gd name="connsiteY39" fmla="*/ 2066925 h 2305041"/>
              <a:gd name="connsiteX40" fmla="*/ 2616200 w 2971294"/>
              <a:gd name="connsiteY40" fmla="*/ 2203450 h 2305041"/>
              <a:gd name="connsiteX41" fmla="*/ 2624137 w 2971294"/>
              <a:gd name="connsiteY41" fmla="*/ 2292350 h 2305041"/>
              <a:gd name="connsiteX42" fmla="*/ 2851150 w 2971294"/>
              <a:gd name="connsiteY42" fmla="*/ 2303462 h 2305041"/>
              <a:gd name="connsiteX43" fmla="*/ 2967037 w 2971294"/>
              <a:gd name="connsiteY43" fmla="*/ 2282825 h 2305041"/>
              <a:gd name="connsiteX44" fmla="*/ 2947987 w 2971294"/>
              <a:gd name="connsiteY44" fmla="*/ 2181225 h 2305041"/>
              <a:gd name="connsiteX45" fmla="*/ 2955925 w 2971294"/>
              <a:gd name="connsiteY45" fmla="*/ 2008187 h 2305041"/>
              <a:gd name="connsiteX46" fmla="*/ 2962275 w 2971294"/>
              <a:gd name="connsiteY46" fmla="*/ 1804987 h 2305041"/>
              <a:gd name="connsiteX47" fmla="*/ 2952750 w 2971294"/>
              <a:gd name="connsiteY47" fmla="*/ 1366837 h 2305041"/>
              <a:gd name="connsiteX48" fmla="*/ 2947987 w 2971294"/>
              <a:gd name="connsiteY48" fmla="*/ 1081087 h 2305041"/>
              <a:gd name="connsiteX49" fmla="*/ 2947987 w 2971294"/>
              <a:gd name="connsiteY49" fmla="*/ 922337 h 2305041"/>
              <a:gd name="connsiteX50" fmla="*/ 2952750 w 2971294"/>
              <a:gd name="connsiteY50" fmla="*/ 571500 h 2305041"/>
              <a:gd name="connsiteX51" fmla="*/ 2957512 w 2971294"/>
              <a:gd name="connsiteY51" fmla="*/ 342900 h 2305041"/>
              <a:gd name="connsiteX52" fmla="*/ 2957512 w 2971294"/>
              <a:gd name="connsiteY52" fmla="*/ 34925 h 2305041"/>
              <a:gd name="connsiteX53" fmla="*/ 2867025 w 2971294"/>
              <a:gd name="connsiteY53" fmla="*/ 19050 h 2305041"/>
              <a:gd name="connsiteX54" fmla="*/ 2724150 w 2971294"/>
              <a:gd name="connsiteY54" fmla="*/ 9525 h 2305041"/>
              <a:gd name="connsiteX55" fmla="*/ 2381250 w 2971294"/>
              <a:gd name="connsiteY55" fmla="*/ 14287 h 2305041"/>
              <a:gd name="connsiteX56" fmla="*/ 2324100 w 2971294"/>
              <a:gd name="connsiteY56" fmla="*/ 23812 h 2305041"/>
              <a:gd name="connsiteX57" fmla="*/ 1909762 w 2971294"/>
              <a:gd name="connsiteY57" fmla="*/ 19050 h 2305041"/>
              <a:gd name="connsiteX58" fmla="*/ 1804987 w 2971294"/>
              <a:gd name="connsiteY58" fmla="*/ 9525 h 2305041"/>
              <a:gd name="connsiteX59" fmla="*/ 1776412 w 2971294"/>
              <a:gd name="connsiteY59" fmla="*/ 0 h 2305041"/>
              <a:gd name="connsiteX60" fmla="*/ 1528762 w 2971294"/>
              <a:gd name="connsiteY60" fmla="*/ 4762 h 2305041"/>
              <a:gd name="connsiteX61" fmla="*/ 1143000 w 2971294"/>
              <a:gd name="connsiteY61" fmla="*/ 38100 h 2305041"/>
              <a:gd name="connsiteX62" fmla="*/ 309562 w 2971294"/>
              <a:gd name="connsiteY62" fmla="*/ 23812 h 2305041"/>
              <a:gd name="connsiteX63" fmla="*/ 247650 w 2971294"/>
              <a:gd name="connsiteY63" fmla="*/ 14287 h 2305041"/>
              <a:gd name="connsiteX64" fmla="*/ 185737 w 2971294"/>
              <a:gd name="connsiteY64" fmla="*/ 9525 h 2305041"/>
              <a:gd name="connsiteX65" fmla="*/ 19050 w 2971294"/>
              <a:gd name="connsiteY65" fmla="*/ 14287 h 2305041"/>
              <a:gd name="connsiteX66" fmla="*/ 4762 w 2971294"/>
              <a:gd name="connsiteY66" fmla="*/ 19050 h 2305041"/>
              <a:gd name="connsiteX67" fmla="*/ 9525 w 2971294"/>
              <a:gd name="connsiteY67" fmla="*/ 85725 h 2305041"/>
              <a:gd name="connsiteX68" fmla="*/ 23812 w 2971294"/>
              <a:gd name="connsiteY68" fmla="*/ 171450 h 2305041"/>
              <a:gd name="connsiteX69" fmla="*/ 14287 w 2971294"/>
              <a:gd name="connsiteY69" fmla="*/ 390525 h 2305041"/>
              <a:gd name="connsiteX70" fmla="*/ 0 w 2971294"/>
              <a:gd name="connsiteY70" fmla="*/ 466725 h 2305041"/>
              <a:gd name="connsiteX71" fmla="*/ 9525 w 2971294"/>
              <a:gd name="connsiteY71" fmla="*/ 800100 h 2305041"/>
              <a:gd name="connsiteX72" fmla="*/ 9525 w 2971294"/>
              <a:gd name="connsiteY72" fmla="*/ 871537 h 2305041"/>
              <a:gd name="connsiteX73" fmla="*/ 14287 w 2971294"/>
              <a:gd name="connsiteY73" fmla="*/ 1157287 h 2305041"/>
              <a:gd name="connsiteX74" fmla="*/ 19050 w 2971294"/>
              <a:gd name="connsiteY74" fmla="*/ 1204912 h 2305041"/>
              <a:gd name="connsiteX75" fmla="*/ 28575 w 2971294"/>
              <a:gd name="connsiteY75" fmla="*/ 1243012 h 2305041"/>
              <a:gd name="connsiteX76" fmla="*/ 33337 w 2971294"/>
              <a:gd name="connsiteY76" fmla="*/ 1328737 h 2305041"/>
              <a:gd name="connsiteX77" fmla="*/ 23812 w 2971294"/>
              <a:gd name="connsiteY77" fmla="*/ 1476375 h 2305041"/>
              <a:gd name="connsiteX78" fmla="*/ 14287 w 2971294"/>
              <a:gd name="connsiteY78" fmla="*/ 1562100 h 2305041"/>
              <a:gd name="connsiteX79" fmla="*/ 9525 w 2971294"/>
              <a:gd name="connsiteY79" fmla="*/ 1819275 h 2305041"/>
              <a:gd name="connsiteX80" fmla="*/ 14287 w 2971294"/>
              <a:gd name="connsiteY80" fmla="*/ 2014537 h 2305041"/>
              <a:gd name="connsiteX81" fmla="*/ 23812 w 2971294"/>
              <a:gd name="connsiteY81" fmla="*/ 2066925 h 2305041"/>
              <a:gd name="connsiteX82" fmla="*/ 28575 w 2971294"/>
              <a:gd name="connsiteY82" fmla="*/ 2152650 h 2305041"/>
              <a:gd name="connsiteX83" fmla="*/ 23812 w 2971294"/>
              <a:gd name="connsiteY83" fmla="*/ 2238375 h 2305041"/>
              <a:gd name="connsiteX84" fmla="*/ 14287 w 2971294"/>
              <a:gd name="connsiteY84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600325 w 2971294"/>
              <a:gd name="connsiteY35" fmla="*/ 1176337 h 2305041"/>
              <a:gd name="connsiteX36" fmla="*/ 2605087 w 2971294"/>
              <a:gd name="connsiteY36" fmla="*/ 1209675 h 2305041"/>
              <a:gd name="connsiteX37" fmla="*/ 2608262 w 2971294"/>
              <a:gd name="connsiteY37" fmla="*/ 1514475 h 2305041"/>
              <a:gd name="connsiteX38" fmla="*/ 2614612 w 2971294"/>
              <a:gd name="connsiteY38" fmla="*/ 2066925 h 2305041"/>
              <a:gd name="connsiteX39" fmla="*/ 2616200 w 2971294"/>
              <a:gd name="connsiteY39" fmla="*/ 2203450 h 2305041"/>
              <a:gd name="connsiteX40" fmla="*/ 2624137 w 2971294"/>
              <a:gd name="connsiteY40" fmla="*/ 2292350 h 2305041"/>
              <a:gd name="connsiteX41" fmla="*/ 2851150 w 2971294"/>
              <a:gd name="connsiteY41" fmla="*/ 2303462 h 2305041"/>
              <a:gd name="connsiteX42" fmla="*/ 2967037 w 2971294"/>
              <a:gd name="connsiteY42" fmla="*/ 2282825 h 2305041"/>
              <a:gd name="connsiteX43" fmla="*/ 2947987 w 2971294"/>
              <a:gd name="connsiteY43" fmla="*/ 2181225 h 2305041"/>
              <a:gd name="connsiteX44" fmla="*/ 2955925 w 2971294"/>
              <a:gd name="connsiteY44" fmla="*/ 2008187 h 2305041"/>
              <a:gd name="connsiteX45" fmla="*/ 2962275 w 2971294"/>
              <a:gd name="connsiteY45" fmla="*/ 1804987 h 2305041"/>
              <a:gd name="connsiteX46" fmla="*/ 2952750 w 2971294"/>
              <a:gd name="connsiteY46" fmla="*/ 1366837 h 2305041"/>
              <a:gd name="connsiteX47" fmla="*/ 2947987 w 2971294"/>
              <a:gd name="connsiteY47" fmla="*/ 1081087 h 2305041"/>
              <a:gd name="connsiteX48" fmla="*/ 2947987 w 2971294"/>
              <a:gd name="connsiteY48" fmla="*/ 922337 h 2305041"/>
              <a:gd name="connsiteX49" fmla="*/ 2952750 w 2971294"/>
              <a:gd name="connsiteY49" fmla="*/ 571500 h 2305041"/>
              <a:gd name="connsiteX50" fmla="*/ 2957512 w 2971294"/>
              <a:gd name="connsiteY50" fmla="*/ 342900 h 2305041"/>
              <a:gd name="connsiteX51" fmla="*/ 2957512 w 2971294"/>
              <a:gd name="connsiteY51" fmla="*/ 34925 h 2305041"/>
              <a:gd name="connsiteX52" fmla="*/ 2867025 w 2971294"/>
              <a:gd name="connsiteY52" fmla="*/ 19050 h 2305041"/>
              <a:gd name="connsiteX53" fmla="*/ 2724150 w 2971294"/>
              <a:gd name="connsiteY53" fmla="*/ 9525 h 2305041"/>
              <a:gd name="connsiteX54" fmla="*/ 2381250 w 2971294"/>
              <a:gd name="connsiteY54" fmla="*/ 14287 h 2305041"/>
              <a:gd name="connsiteX55" fmla="*/ 2324100 w 2971294"/>
              <a:gd name="connsiteY55" fmla="*/ 23812 h 2305041"/>
              <a:gd name="connsiteX56" fmla="*/ 1909762 w 2971294"/>
              <a:gd name="connsiteY56" fmla="*/ 19050 h 2305041"/>
              <a:gd name="connsiteX57" fmla="*/ 1804987 w 2971294"/>
              <a:gd name="connsiteY57" fmla="*/ 9525 h 2305041"/>
              <a:gd name="connsiteX58" fmla="*/ 1776412 w 2971294"/>
              <a:gd name="connsiteY58" fmla="*/ 0 h 2305041"/>
              <a:gd name="connsiteX59" fmla="*/ 1528762 w 2971294"/>
              <a:gd name="connsiteY59" fmla="*/ 4762 h 2305041"/>
              <a:gd name="connsiteX60" fmla="*/ 1143000 w 2971294"/>
              <a:gd name="connsiteY60" fmla="*/ 38100 h 2305041"/>
              <a:gd name="connsiteX61" fmla="*/ 309562 w 2971294"/>
              <a:gd name="connsiteY61" fmla="*/ 23812 h 2305041"/>
              <a:gd name="connsiteX62" fmla="*/ 247650 w 2971294"/>
              <a:gd name="connsiteY62" fmla="*/ 14287 h 2305041"/>
              <a:gd name="connsiteX63" fmla="*/ 185737 w 2971294"/>
              <a:gd name="connsiteY63" fmla="*/ 9525 h 2305041"/>
              <a:gd name="connsiteX64" fmla="*/ 19050 w 2971294"/>
              <a:gd name="connsiteY64" fmla="*/ 14287 h 2305041"/>
              <a:gd name="connsiteX65" fmla="*/ 4762 w 2971294"/>
              <a:gd name="connsiteY65" fmla="*/ 19050 h 2305041"/>
              <a:gd name="connsiteX66" fmla="*/ 9525 w 2971294"/>
              <a:gd name="connsiteY66" fmla="*/ 85725 h 2305041"/>
              <a:gd name="connsiteX67" fmla="*/ 23812 w 2971294"/>
              <a:gd name="connsiteY67" fmla="*/ 171450 h 2305041"/>
              <a:gd name="connsiteX68" fmla="*/ 14287 w 2971294"/>
              <a:gd name="connsiteY68" fmla="*/ 390525 h 2305041"/>
              <a:gd name="connsiteX69" fmla="*/ 0 w 2971294"/>
              <a:gd name="connsiteY69" fmla="*/ 466725 h 2305041"/>
              <a:gd name="connsiteX70" fmla="*/ 9525 w 2971294"/>
              <a:gd name="connsiteY70" fmla="*/ 800100 h 2305041"/>
              <a:gd name="connsiteX71" fmla="*/ 9525 w 2971294"/>
              <a:gd name="connsiteY71" fmla="*/ 871537 h 2305041"/>
              <a:gd name="connsiteX72" fmla="*/ 14287 w 2971294"/>
              <a:gd name="connsiteY72" fmla="*/ 1157287 h 2305041"/>
              <a:gd name="connsiteX73" fmla="*/ 19050 w 2971294"/>
              <a:gd name="connsiteY73" fmla="*/ 1204912 h 2305041"/>
              <a:gd name="connsiteX74" fmla="*/ 28575 w 2971294"/>
              <a:gd name="connsiteY74" fmla="*/ 1243012 h 2305041"/>
              <a:gd name="connsiteX75" fmla="*/ 33337 w 2971294"/>
              <a:gd name="connsiteY75" fmla="*/ 1328737 h 2305041"/>
              <a:gd name="connsiteX76" fmla="*/ 23812 w 2971294"/>
              <a:gd name="connsiteY76" fmla="*/ 1476375 h 2305041"/>
              <a:gd name="connsiteX77" fmla="*/ 14287 w 2971294"/>
              <a:gd name="connsiteY77" fmla="*/ 1562100 h 2305041"/>
              <a:gd name="connsiteX78" fmla="*/ 9525 w 2971294"/>
              <a:gd name="connsiteY78" fmla="*/ 1819275 h 2305041"/>
              <a:gd name="connsiteX79" fmla="*/ 14287 w 2971294"/>
              <a:gd name="connsiteY79" fmla="*/ 2014537 h 2305041"/>
              <a:gd name="connsiteX80" fmla="*/ 23812 w 2971294"/>
              <a:gd name="connsiteY80" fmla="*/ 2066925 h 2305041"/>
              <a:gd name="connsiteX81" fmla="*/ 28575 w 2971294"/>
              <a:gd name="connsiteY81" fmla="*/ 2152650 h 2305041"/>
              <a:gd name="connsiteX82" fmla="*/ 23812 w 2971294"/>
              <a:gd name="connsiteY82" fmla="*/ 2238375 h 2305041"/>
              <a:gd name="connsiteX83" fmla="*/ 14287 w 2971294"/>
              <a:gd name="connsiteY83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600325 w 2971294"/>
              <a:gd name="connsiteY34" fmla="*/ 1176337 h 2305041"/>
              <a:gd name="connsiteX35" fmla="*/ 2605087 w 2971294"/>
              <a:gd name="connsiteY35" fmla="*/ 1209675 h 2305041"/>
              <a:gd name="connsiteX36" fmla="*/ 2608262 w 2971294"/>
              <a:gd name="connsiteY36" fmla="*/ 1514475 h 2305041"/>
              <a:gd name="connsiteX37" fmla="*/ 2614612 w 2971294"/>
              <a:gd name="connsiteY37" fmla="*/ 2066925 h 2305041"/>
              <a:gd name="connsiteX38" fmla="*/ 2616200 w 2971294"/>
              <a:gd name="connsiteY38" fmla="*/ 2203450 h 2305041"/>
              <a:gd name="connsiteX39" fmla="*/ 2624137 w 2971294"/>
              <a:gd name="connsiteY39" fmla="*/ 2292350 h 2305041"/>
              <a:gd name="connsiteX40" fmla="*/ 2851150 w 2971294"/>
              <a:gd name="connsiteY40" fmla="*/ 2303462 h 2305041"/>
              <a:gd name="connsiteX41" fmla="*/ 2967037 w 2971294"/>
              <a:gd name="connsiteY41" fmla="*/ 2282825 h 2305041"/>
              <a:gd name="connsiteX42" fmla="*/ 2947987 w 2971294"/>
              <a:gd name="connsiteY42" fmla="*/ 2181225 h 2305041"/>
              <a:gd name="connsiteX43" fmla="*/ 2955925 w 2971294"/>
              <a:gd name="connsiteY43" fmla="*/ 2008187 h 2305041"/>
              <a:gd name="connsiteX44" fmla="*/ 2962275 w 2971294"/>
              <a:gd name="connsiteY44" fmla="*/ 1804987 h 2305041"/>
              <a:gd name="connsiteX45" fmla="*/ 2952750 w 2971294"/>
              <a:gd name="connsiteY45" fmla="*/ 1366837 h 2305041"/>
              <a:gd name="connsiteX46" fmla="*/ 2947987 w 2971294"/>
              <a:gd name="connsiteY46" fmla="*/ 1081087 h 2305041"/>
              <a:gd name="connsiteX47" fmla="*/ 2947987 w 2971294"/>
              <a:gd name="connsiteY47" fmla="*/ 922337 h 2305041"/>
              <a:gd name="connsiteX48" fmla="*/ 2952750 w 2971294"/>
              <a:gd name="connsiteY48" fmla="*/ 571500 h 2305041"/>
              <a:gd name="connsiteX49" fmla="*/ 2957512 w 2971294"/>
              <a:gd name="connsiteY49" fmla="*/ 342900 h 2305041"/>
              <a:gd name="connsiteX50" fmla="*/ 2957512 w 2971294"/>
              <a:gd name="connsiteY50" fmla="*/ 34925 h 2305041"/>
              <a:gd name="connsiteX51" fmla="*/ 2867025 w 2971294"/>
              <a:gd name="connsiteY51" fmla="*/ 19050 h 2305041"/>
              <a:gd name="connsiteX52" fmla="*/ 2724150 w 2971294"/>
              <a:gd name="connsiteY52" fmla="*/ 9525 h 2305041"/>
              <a:gd name="connsiteX53" fmla="*/ 2381250 w 2971294"/>
              <a:gd name="connsiteY53" fmla="*/ 14287 h 2305041"/>
              <a:gd name="connsiteX54" fmla="*/ 2324100 w 2971294"/>
              <a:gd name="connsiteY54" fmla="*/ 23812 h 2305041"/>
              <a:gd name="connsiteX55" fmla="*/ 1909762 w 2971294"/>
              <a:gd name="connsiteY55" fmla="*/ 19050 h 2305041"/>
              <a:gd name="connsiteX56" fmla="*/ 1804987 w 2971294"/>
              <a:gd name="connsiteY56" fmla="*/ 9525 h 2305041"/>
              <a:gd name="connsiteX57" fmla="*/ 1776412 w 2971294"/>
              <a:gd name="connsiteY57" fmla="*/ 0 h 2305041"/>
              <a:gd name="connsiteX58" fmla="*/ 1528762 w 2971294"/>
              <a:gd name="connsiteY58" fmla="*/ 4762 h 2305041"/>
              <a:gd name="connsiteX59" fmla="*/ 1143000 w 2971294"/>
              <a:gd name="connsiteY59" fmla="*/ 38100 h 2305041"/>
              <a:gd name="connsiteX60" fmla="*/ 309562 w 2971294"/>
              <a:gd name="connsiteY60" fmla="*/ 23812 h 2305041"/>
              <a:gd name="connsiteX61" fmla="*/ 247650 w 2971294"/>
              <a:gd name="connsiteY61" fmla="*/ 14287 h 2305041"/>
              <a:gd name="connsiteX62" fmla="*/ 185737 w 2971294"/>
              <a:gd name="connsiteY62" fmla="*/ 9525 h 2305041"/>
              <a:gd name="connsiteX63" fmla="*/ 19050 w 2971294"/>
              <a:gd name="connsiteY63" fmla="*/ 14287 h 2305041"/>
              <a:gd name="connsiteX64" fmla="*/ 4762 w 2971294"/>
              <a:gd name="connsiteY64" fmla="*/ 19050 h 2305041"/>
              <a:gd name="connsiteX65" fmla="*/ 9525 w 2971294"/>
              <a:gd name="connsiteY65" fmla="*/ 85725 h 2305041"/>
              <a:gd name="connsiteX66" fmla="*/ 23812 w 2971294"/>
              <a:gd name="connsiteY66" fmla="*/ 171450 h 2305041"/>
              <a:gd name="connsiteX67" fmla="*/ 14287 w 2971294"/>
              <a:gd name="connsiteY67" fmla="*/ 390525 h 2305041"/>
              <a:gd name="connsiteX68" fmla="*/ 0 w 2971294"/>
              <a:gd name="connsiteY68" fmla="*/ 466725 h 2305041"/>
              <a:gd name="connsiteX69" fmla="*/ 9525 w 2971294"/>
              <a:gd name="connsiteY69" fmla="*/ 800100 h 2305041"/>
              <a:gd name="connsiteX70" fmla="*/ 9525 w 2971294"/>
              <a:gd name="connsiteY70" fmla="*/ 871537 h 2305041"/>
              <a:gd name="connsiteX71" fmla="*/ 14287 w 2971294"/>
              <a:gd name="connsiteY71" fmla="*/ 1157287 h 2305041"/>
              <a:gd name="connsiteX72" fmla="*/ 19050 w 2971294"/>
              <a:gd name="connsiteY72" fmla="*/ 1204912 h 2305041"/>
              <a:gd name="connsiteX73" fmla="*/ 28575 w 2971294"/>
              <a:gd name="connsiteY73" fmla="*/ 1243012 h 2305041"/>
              <a:gd name="connsiteX74" fmla="*/ 33337 w 2971294"/>
              <a:gd name="connsiteY74" fmla="*/ 1328737 h 2305041"/>
              <a:gd name="connsiteX75" fmla="*/ 23812 w 2971294"/>
              <a:gd name="connsiteY75" fmla="*/ 1476375 h 2305041"/>
              <a:gd name="connsiteX76" fmla="*/ 14287 w 2971294"/>
              <a:gd name="connsiteY76" fmla="*/ 1562100 h 2305041"/>
              <a:gd name="connsiteX77" fmla="*/ 9525 w 2971294"/>
              <a:gd name="connsiteY77" fmla="*/ 1819275 h 2305041"/>
              <a:gd name="connsiteX78" fmla="*/ 14287 w 2971294"/>
              <a:gd name="connsiteY78" fmla="*/ 2014537 h 2305041"/>
              <a:gd name="connsiteX79" fmla="*/ 23812 w 2971294"/>
              <a:gd name="connsiteY79" fmla="*/ 2066925 h 2305041"/>
              <a:gd name="connsiteX80" fmla="*/ 28575 w 2971294"/>
              <a:gd name="connsiteY80" fmla="*/ 2152650 h 2305041"/>
              <a:gd name="connsiteX81" fmla="*/ 23812 w 2971294"/>
              <a:gd name="connsiteY81" fmla="*/ 2238375 h 2305041"/>
              <a:gd name="connsiteX82" fmla="*/ 14287 w 2971294"/>
              <a:gd name="connsiteY82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86037 w 2971294"/>
              <a:gd name="connsiteY32" fmla="*/ 714375 h 2305041"/>
              <a:gd name="connsiteX33" fmla="*/ 2600325 w 2971294"/>
              <a:gd name="connsiteY33" fmla="*/ 1176337 h 2305041"/>
              <a:gd name="connsiteX34" fmla="*/ 2605087 w 2971294"/>
              <a:gd name="connsiteY34" fmla="*/ 1209675 h 2305041"/>
              <a:gd name="connsiteX35" fmla="*/ 2608262 w 2971294"/>
              <a:gd name="connsiteY35" fmla="*/ 1514475 h 2305041"/>
              <a:gd name="connsiteX36" fmla="*/ 2614612 w 2971294"/>
              <a:gd name="connsiteY36" fmla="*/ 2066925 h 2305041"/>
              <a:gd name="connsiteX37" fmla="*/ 2616200 w 2971294"/>
              <a:gd name="connsiteY37" fmla="*/ 2203450 h 2305041"/>
              <a:gd name="connsiteX38" fmla="*/ 2624137 w 2971294"/>
              <a:gd name="connsiteY38" fmla="*/ 2292350 h 2305041"/>
              <a:gd name="connsiteX39" fmla="*/ 2851150 w 2971294"/>
              <a:gd name="connsiteY39" fmla="*/ 2303462 h 2305041"/>
              <a:gd name="connsiteX40" fmla="*/ 2967037 w 2971294"/>
              <a:gd name="connsiteY40" fmla="*/ 2282825 h 2305041"/>
              <a:gd name="connsiteX41" fmla="*/ 2947987 w 2971294"/>
              <a:gd name="connsiteY41" fmla="*/ 2181225 h 2305041"/>
              <a:gd name="connsiteX42" fmla="*/ 2955925 w 2971294"/>
              <a:gd name="connsiteY42" fmla="*/ 2008187 h 2305041"/>
              <a:gd name="connsiteX43" fmla="*/ 2962275 w 2971294"/>
              <a:gd name="connsiteY43" fmla="*/ 1804987 h 2305041"/>
              <a:gd name="connsiteX44" fmla="*/ 2952750 w 2971294"/>
              <a:gd name="connsiteY44" fmla="*/ 1366837 h 2305041"/>
              <a:gd name="connsiteX45" fmla="*/ 2947987 w 2971294"/>
              <a:gd name="connsiteY45" fmla="*/ 1081087 h 2305041"/>
              <a:gd name="connsiteX46" fmla="*/ 2947987 w 2971294"/>
              <a:gd name="connsiteY46" fmla="*/ 922337 h 2305041"/>
              <a:gd name="connsiteX47" fmla="*/ 2952750 w 2971294"/>
              <a:gd name="connsiteY47" fmla="*/ 571500 h 2305041"/>
              <a:gd name="connsiteX48" fmla="*/ 2957512 w 2971294"/>
              <a:gd name="connsiteY48" fmla="*/ 342900 h 2305041"/>
              <a:gd name="connsiteX49" fmla="*/ 2957512 w 2971294"/>
              <a:gd name="connsiteY49" fmla="*/ 34925 h 2305041"/>
              <a:gd name="connsiteX50" fmla="*/ 2867025 w 2971294"/>
              <a:gd name="connsiteY50" fmla="*/ 19050 h 2305041"/>
              <a:gd name="connsiteX51" fmla="*/ 2724150 w 2971294"/>
              <a:gd name="connsiteY51" fmla="*/ 9525 h 2305041"/>
              <a:gd name="connsiteX52" fmla="*/ 2381250 w 2971294"/>
              <a:gd name="connsiteY52" fmla="*/ 14287 h 2305041"/>
              <a:gd name="connsiteX53" fmla="*/ 2324100 w 2971294"/>
              <a:gd name="connsiteY53" fmla="*/ 23812 h 2305041"/>
              <a:gd name="connsiteX54" fmla="*/ 1909762 w 2971294"/>
              <a:gd name="connsiteY54" fmla="*/ 19050 h 2305041"/>
              <a:gd name="connsiteX55" fmla="*/ 1804987 w 2971294"/>
              <a:gd name="connsiteY55" fmla="*/ 9525 h 2305041"/>
              <a:gd name="connsiteX56" fmla="*/ 1776412 w 2971294"/>
              <a:gd name="connsiteY56" fmla="*/ 0 h 2305041"/>
              <a:gd name="connsiteX57" fmla="*/ 1528762 w 2971294"/>
              <a:gd name="connsiteY57" fmla="*/ 4762 h 2305041"/>
              <a:gd name="connsiteX58" fmla="*/ 1143000 w 2971294"/>
              <a:gd name="connsiteY58" fmla="*/ 38100 h 2305041"/>
              <a:gd name="connsiteX59" fmla="*/ 309562 w 2971294"/>
              <a:gd name="connsiteY59" fmla="*/ 23812 h 2305041"/>
              <a:gd name="connsiteX60" fmla="*/ 247650 w 2971294"/>
              <a:gd name="connsiteY60" fmla="*/ 14287 h 2305041"/>
              <a:gd name="connsiteX61" fmla="*/ 185737 w 2971294"/>
              <a:gd name="connsiteY61" fmla="*/ 9525 h 2305041"/>
              <a:gd name="connsiteX62" fmla="*/ 19050 w 2971294"/>
              <a:gd name="connsiteY62" fmla="*/ 14287 h 2305041"/>
              <a:gd name="connsiteX63" fmla="*/ 4762 w 2971294"/>
              <a:gd name="connsiteY63" fmla="*/ 19050 h 2305041"/>
              <a:gd name="connsiteX64" fmla="*/ 9525 w 2971294"/>
              <a:gd name="connsiteY64" fmla="*/ 85725 h 2305041"/>
              <a:gd name="connsiteX65" fmla="*/ 23812 w 2971294"/>
              <a:gd name="connsiteY65" fmla="*/ 171450 h 2305041"/>
              <a:gd name="connsiteX66" fmla="*/ 14287 w 2971294"/>
              <a:gd name="connsiteY66" fmla="*/ 390525 h 2305041"/>
              <a:gd name="connsiteX67" fmla="*/ 0 w 2971294"/>
              <a:gd name="connsiteY67" fmla="*/ 466725 h 2305041"/>
              <a:gd name="connsiteX68" fmla="*/ 9525 w 2971294"/>
              <a:gd name="connsiteY68" fmla="*/ 800100 h 2305041"/>
              <a:gd name="connsiteX69" fmla="*/ 9525 w 2971294"/>
              <a:gd name="connsiteY69" fmla="*/ 871537 h 2305041"/>
              <a:gd name="connsiteX70" fmla="*/ 14287 w 2971294"/>
              <a:gd name="connsiteY70" fmla="*/ 1157287 h 2305041"/>
              <a:gd name="connsiteX71" fmla="*/ 19050 w 2971294"/>
              <a:gd name="connsiteY71" fmla="*/ 1204912 h 2305041"/>
              <a:gd name="connsiteX72" fmla="*/ 28575 w 2971294"/>
              <a:gd name="connsiteY72" fmla="*/ 1243012 h 2305041"/>
              <a:gd name="connsiteX73" fmla="*/ 33337 w 2971294"/>
              <a:gd name="connsiteY73" fmla="*/ 1328737 h 2305041"/>
              <a:gd name="connsiteX74" fmla="*/ 23812 w 2971294"/>
              <a:gd name="connsiteY74" fmla="*/ 1476375 h 2305041"/>
              <a:gd name="connsiteX75" fmla="*/ 14287 w 2971294"/>
              <a:gd name="connsiteY75" fmla="*/ 1562100 h 2305041"/>
              <a:gd name="connsiteX76" fmla="*/ 9525 w 2971294"/>
              <a:gd name="connsiteY76" fmla="*/ 1819275 h 2305041"/>
              <a:gd name="connsiteX77" fmla="*/ 14287 w 2971294"/>
              <a:gd name="connsiteY77" fmla="*/ 2014537 h 2305041"/>
              <a:gd name="connsiteX78" fmla="*/ 23812 w 2971294"/>
              <a:gd name="connsiteY78" fmla="*/ 2066925 h 2305041"/>
              <a:gd name="connsiteX79" fmla="*/ 28575 w 2971294"/>
              <a:gd name="connsiteY79" fmla="*/ 2152650 h 2305041"/>
              <a:gd name="connsiteX80" fmla="*/ 23812 w 2971294"/>
              <a:gd name="connsiteY80" fmla="*/ 2238375 h 2305041"/>
              <a:gd name="connsiteX81" fmla="*/ 14287 w 2971294"/>
              <a:gd name="connsiteY81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600325 w 2971294"/>
              <a:gd name="connsiteY32" fmla="*/ 1176337 h 2305041"/>
              <a:gd name="connsiteX33" fmla="*/ 2605087 w 2971294"/>
              <a:gd name="connsiteY33" fmla="*/ 1209675 h 2305041"/>
              <a:gd name="connsiteX34" fmla="*/ 2608262 w 2971294"/>
              <a:gd name="connsiteY34" fmla="*/ 1514475 h 2305041"/>
              <a:gd name="connsiteX35" fmla="*/ 2614612 w 2971294"/>
              <a:gd name="connsiteY35" fmla="*/ 2066925 h 2305041"/>
              <a:gd name="connsiteX36" fmla="*/ 2616200 w 2971294"/>
              <a:gd name="connsiteY36" fmla="*/ 2203450 h 2305041"/>
              <a:gd name="connsiteX37" fmla="*/ 2624137 w 2971294"/>
              <a:gd name="connsiteY37" fmla="*/ 2292350 h 2305041"/>
              <a:gd name="connsiteX38" fmla="*/ 2851150 w 2971294"/>
              <a:gd name="connsiteY38" fmla="*/ 2303462 h 2305041"/>
              <a:gd name="connsiteX39" fmla="*/ 2967037 w 2971294"/>
              <a:gd name="connsiteY39" fmla="*/ 2282825 h 2305041"/>
              <a:gd name="connsiteX40" fmla="*/ 2947987 w 2971294"/>
              <a:gd name="connsiteY40" fmla="*/ 2181225 h 2305041"/>
              <a:gd name="connsiteX41" fmla="*/ 2955925 w 2971294"/>
              <a:gd name="connsiteY41" fmla="*/ 2008187 h 2305041"/>
              <a:gd name="connsiteX42" fmla="*/ 2962275 w 2971294"/>
              <a:gd name="connsiteY42" fmla="*/ 1804987 h 2305041"/>
              <a:gd name="connsiteX43" fmla="*/ 2952750 w 2971294"/>
              <a:gd name="connsiteY43" fmla="*/ 1366837 h 2305041"/>
              <a:gd name="connsiteX44" fmla="*/ 2947987 w 2971294"/>
              <a:gd name="connsiteY44" fmla="*/ 1081087 h 2305041"/>
              <a:gd name="connsiteX45" fmla="*/ 2947987 w 2971294"/>
              <a:gd name="connsiteY45" fmla="*/ 922337 h 2305041"/>
              <a:gd name="connsiteX46" fmla="*/ 2952750 w 2971294"/>
              <a:gd name="connsiteY46" fmla="*/ 571500 h 2305041"/>
              <a:gd name="connsiteX47" fmla="*/ 2957512 w 2971294"/>
              <a:gd name="connsiteY47" fmla="*/ 342900 h 2305041"/>
              <a:gd name="connsiteX48" fmla="*/ 2957512 w 2971294"/>
              <a:gd name="connsiteY48" fmla="*/ 34925 h 2305041"/>
              <a:gd name="connsiteX49" fmla="*/ 2867025 w 2971294"/>
              <a:gd name="connsiteY49" fmla="*/ 19050 h 2305041"/>
              <a:gd name="connsiteX50" fmla="*/ 2724150 w 2971294"/>
              <a:gd name="connsiteY50" fmla="*/ 9525 h 2305041"/>
              <a:gd name="connsiteX51" fmla="*/ 2381250 w 2971294"/>
              <a:gd name="connsiteY51" fmla="*/ 14287 h 2305041"/>
              <a:gd name="connsiteX52" fmla="*/ 2324100 w 2971294"/>
              <a:gd name="connsiteY52" fmla="*/ 23812 h 2305041"/>
              <a:gd name="connsiteX53" fmla="*/ 1909762 w 2971294"/>
              <a:gd name="connsiteY53" fmla="*/ 19050 h 2305041"/>
              <a:gd name="connsiteX54" fmla="*/ 1804987 w 2971294"/>
              <a:gd name="connsiteY54" fmla="*/ 9525 h 2305041"/>
              <a:gd name="connsiteX55" fmla="*/ 1776412 w 2971294"/>
              <a:gd name="connsiteY55" fmla="*/ 0 h 2305041"/>
              <a:gd name="connsiteX56" fmla="*/ 1528762 w 2971294"/>
              <a:gd name="connsiteY56" fmla="*/ 4762 h 2305041"/>
              <a:gd name="connsiteX57" fmla="*/ 1143000 w 2971294"/>
              <a:gd name="connsiteY57" fmla="*/ 38100 h 2305041"/>
              <a:gd name="connsiteX58" fmla="*/ 309562 w 2971294"/>
              <a:gd name="connsiteY58" fmla="*/ 23812 h 2305041"/>
              <a:gd name="connsiteX59" fmla="*/ 247650 w 2971294"/>
              <a:gd name="connsiteY59" fmla="*/ 14287 h 2305041"/>
              <a:gd name="connsiteX60" fmla="*/ 185737 w 2971294"/>
              <a:gd name="connsiteY60" fmla="*/ 9525 h 2305041"/>
              <a:gd name="connsiteX61" fmla="*/ 19050 w 2971294"/>
              <a:gd name="connsiteY61" fmla="*/ 14287 h 2305041"/>
              <a:gd name="connsiteX62" fmla="*/ 4762 w 2971294"/>
              <a:gd name="connsiteY62" fmla="*/ 19050 h 2305041"/>
              <a:gd name="connsiteX63" fmla="*/ 9525 w 2971294"/>
              <a:gd name="connsiteY63" fmla="*/ 85725 h 2305041"/>
              <a:gd name="connsiteX64" fmla="*/ 23812 w 2971294"/>
              <a:gd name="connsiteY64" fmla="*/ 171450 h 2305041"/>
              <a:gd name="connsiteX65" fmla="*/ 14287 w 2971294"/>
              <a:gd name="connsiteY65" fmla="*/ 390525 h 2305041"/>
              <a:gd name="connsiteX66" fmla="*/ 0 w 2971294"/>
              <a:gd name="connsiteY66" fmla="*/ 466725 h 2305041"/>
              <a:gd name="connsiteX67" fmla="*/ 9525 w 2971294"/>
              <a:gd name="connsiteY67" fmla="*/ 800100 h 2305041"/>
              <a:gd name="connsiteX68" fmla="*/ 9525 w 2971294"/>
              <a:gd name="connsiteY68" fmla="*/ 871537 h 2305041"/>
              <a:gd name="connsiteX69" fmla="*/ 14287 w 2971294"/>
              <a:gd name="connsiteY69" fmla="*/ 1157287 h 2305041"/>
              <a:gd name="connsiteX70" fmla="*/ 19050 w 2971294"/>
              <a:gd name="connsiteY70" fmla="*/ 1204912 h 2305041"/>
              <a:gd name="connsiteX71" fmla="*/ 28575 w 2971294"/>
              <a:gd name="connsiteY71" fmla="*/ 1243012 h 2305041"/>
              <a:gd name="connsiteX72" fmla="*/ 33337 w 2971294"/>
              <a:gd name="connsiteY72" fmla="*/ 1328737 h 2305041"/>
              <a:gd name="connsiteX73" fmla="*/ 23812 w 2971294"/>
              <a:gd name="connsiteY73" fmla="*/ 1476375 h 2305041"/>
              <a:gd name="connsiteX74" fmla="*/ 14287 w 2971294"/>
              <a:gd name="connsiteY74" fmla="*/ 1562100 h 2305041"/>
              <a:gd name="connsiteX75" fmla="*/ 9525 w 2971294"/>
              <a:gd name="connsiteY75" fmla="*/ 1819275 h 2305041"/>
              <a:gd name="connsiteX76" fmla="*/ 14287 w 2971294"/>
              <a:gd name="connsiteY76" fmla="*/ 2014537 h 2305041"/>
              <a:gd name="connsiteX77" fmla="*/ 23812 w 2971294"/>
              <a:gd name="connsiteY77" fmla="*/ 2066925 h 2305041"/>
              <a:gd name="connsiteX78" fmla="*/ 28575 w 2971294"/>
              <a:gd name="connsiteY78" fmla="*/ 2152650 h 2305041"/>
              <a:gd name="connsiteX79" fmla="*/ 23812 w 2971294"/>
              <a:gd name="connsiteY79" fmla="*/ 2238375 h 2305041"/>
              <a:gd name="connsiteX80" fmla="*/ 14287 w 2971294"/>
              <a:gd name="connsiteY80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1176337 h 2305041"/>
              <a:gd name="connsiteX32" fmla="*/ 2605087 w 2971294"/>
              <a:gd name="connsiteY32" fmla="*/ 1209675 h 2305041"/>
              <a:gd name="connsiteX33" fmla="*/ 2608262 w 2971294"/>
              <a:gd name="connsiteY33" fmla="*/ 1514475 h 2305041"/>
              <a:gd name="connsiteX34" fmla="*/ 2614612 w 2971294"/>
              <a:gd name="connsiteY34" fmla="*/ 2066925 h 2305041"/>
              <a:gd name="connsiteX35" fmla="*/ 2616200 w 2971294"/>
              <a:gd name="connsiteY35" fmla="*/ 2203450 h 2305041"/>
              <a:gd name="connsiteX36" fmla="*/ 2624137 w 2971294"/>
              <a:gd name="connsiteY36" fmla="*/ 2292350 h 2305041"/>
              <a:gd name="connsiteX37" fmla="*/ 2851150 w 2971294"/>
              <a:gd name="connsiteY37" fmla="*/ 2303462 h 2305041"/>
              <a:gd name="connsiteX38" fmla="*/ 2967037 w 2971294"/>
              <a:gd name="connsiteY38" fmla="*/ 2282825 h 2305041"/>
              <a:gd name="connsiteX39" fmla="*/ 2947987 w 2971294"/>
              <a:gd name="connsiteY39" fmla="*/ 2181225 h 2305041"/>
              <a:gd name="connsiteX40" fmla="*/ 2955925 w 2971294"/>
              <a:gd name="connsiteY40" fmla="*/ 2008187 h 2305041"/>
              <a:gd name="connsiteX41" fmla="*/ 2962275 w 2971294"/>
              <a:gd name="connsiteY41" fmla="*/ 1804987 h 2305041"/>
              <a:gd name="connsiteX42" fmla="*/ 2952750 w 2971294"/>
              <a:gd name="connsiteY42" fmla="*/ 1366837 h 2305041"/>
              <a:gd name="connsiteX43" fmla="*/ 2947987 w 2971294"/>
              <a:gd name="connsiteY43" fmla="*/ 1081087 h 2305041"/>
              <a:gd name="connsiteX44" fmla="*/ 2947987 w 2971294"/>
              <a:gd name="connsiteY44" fmla="*/ 922337 h 2305041"/>
              <a:gd name="connsiteX45" fmla="*/ 2952750 w 2971294"/>
              <a:gd name="connsiteY45" fmla="*/ 571500 h 2305041"/>
              <a:gd name="connsiteX46" fmla="*/ 2957512 w 2971294"/>
              <a:gd name="connsiteY46" fmla="*/ 342900 h 2305041"/>
              <a:gd name="connsiteX47" fmla="*/ 2957512 w 2971294"/>
              <a:gd name="connsiteY47" fmla="*/ 34925 h 2305041"/>
              <a:gd name="connsiteX48" fmla="*/ 2867025 w 2971294"/>
              <a:gd name="connsiteY48" fmla="*/ 19050 h 2305041"/>
              <a:gd name="connsiteX49" fmla="*/ 2724150 w 2971294"/>
              <a:gd name="connsiteY49" fmla="*/ 9525 h 2305041"/>
              <a:gd name="connsiteX50" fmla="*/ 2381250 w 2971294"/>
              <a:gd name="connsiteY50" fmla="*/ 14287 h 2305041"/>
              <a:gd name="connsiteX51" fmla="*/ 2324100 w 2971294"/>
              <a:gd name="connsiteY51" fmla="*/ 23812 h 2305041"/>
              <a:gd name="connsiteX52" fmla="*/ 1909762 w 2971294"/>
              <a:gd name="connsiteY52" fmla="*/ 19050 h 2305041"/>
              <a:gd name="connsiteX53" fmla="*/ 1804987 w 2971294"/>
              <a:gd name="connsiteY53" fmla="*/ 9525 h 2305041"/>
              <a:gd name="connsiteX54" fmla="*/ 1776412 w 2971294"/>
              <a:gd name="connsiteY54" fmla="*/ 0 h 2305041"/>
              <a:gd name="connsiteX55" fmla="*/ 1528762 w 2971294"/>
              <a:gd name="connsiteY55" fmla="*/ 4762 h 2305041"/>
              <a:gd name="connsiteX56" fmla="*/ 1143000 w 2971294"/>
              <a:gd name="connsiteY56" fmla="*/ 38100 h 2305041"/>
              <a:gd name="connsiteX57" fmla="*/ 309562 w 2971294"/>
              <a:gd name="connsiteY57" fmla="*/ 23812 h 2305041"/>
              <a:gd name="connsiteX58" fmla="*/ 247650 w 2971294"/>
              <a:gd name="connsiteY58" fmla="*/ 14287 h 2305041"/>
              <a:gd name="connsiteX59" fmla="*/ 185737 w 2971294"/>
              <a:gd name="connsiteY59" fmla="*/ 9525 h 2305041"/>
              <a:gd name="connsiteX60" fmla="*/ 19050 w 2971294"/>
              <a:gd name="connsiteY60" fmla="*/ 14287 h 2305041"/>
              <a:gd name="connsiteX61" fmla="*/ 4762 w 2971294"/>
              <a:gd name="connsiteY61" fmla="*/ 19050 h 2305041"/>
              <a:gd name="connsiteX62" fmla="*/ 9525 w 2971294"/>
              <a:gd name="connsiteY62" fmla="*/ 85725 h 2305041"/>
              <a:gd name="connsiteX63" fmla="*/ 23812 w 2971294"/>
              <a:gd name="connsiteY63" fmla="*/ 171450 h 2305041"/>
              <a:gd name="connsiteX64" fmla="*/ 14287 w 2971294"/>
              <a:gd name="connsiteY64" fmla="*/ 390525 h 2305041"/>
              <a:gd name="connsiteX65" fmla="*/ 0 w 2971294"/>
              <a:gd name="connsiteY65" fmla="*/ 466725 h 2305041"/>
              <a:gd name="connsiteX66" fmla="*/ 9525 w 2971294"/>
              <a:gd name="connsiteY66" fmla="*/ 800100 h 2305041"/>
              <a:gd name="connsiteX67" fmla="*/ 9525 w 2971294"/>
              <a:gd name="connsiteY67" fmla="*/ 871537 h 2305041"/>
              <a:gd name="connsiteX68" fmla="*/ 14287 w 2971294"/>
              <a:gd name="connsiteY68" fmla="*/ 1157287 h 2305041"/>
              <a:gd name="connsiteX69" fmla="*/ 19050 w 2971294"/>
              <a:gd name="connsiteY69" fmla="*/ 1204912 h 2305041"/>
              <a:gd name="connsiteX70" fmla="*/ 28575 w 2971294"/>
              <a:gd name="connsiteY70" fmla="*/ 1243012 h 2305041"/>
              <a:gd name="connsiteX71" fmla="*/ 33337 w 2971294"/>
              <a:gd name="connsiteY71" fmla="*/ 1328737 h 2305041"/>
              <a:gd name="connsiteX72" fmla="*/ 23812 w 2971294"/>
              <a:gd name="connsiteY72" fmla="*/ 1476375 h 2305041"/>
              <a:gd name="connsiteX73" fmla="*/ 14287 w 2971294"/>
              <a:gd name="connsiteY73" fmla="*/ 1562100 h 2305041"/>
              <a:gd name="connsiteX74" fmla="*/ 9525 w 2971294"/>
              <a:gd name="connsiteY74" fmla="*/ 1819275 h 2305041"/>
              <a:gd name="connsiteX75" fmla="*/ 14287 w 2971294"/>
              <a:gd name="connsiteY75" fmla="*/ 2014537 h 2305041"/>
              <a:gd name="connsiteX76" fmla="*/ 23812 w 2971294"/>
              <a:gd name="connsiteY76" fmla="*/ 2066925 h 2305041"/>
              <a:gd name="connsiteX77" fmla="*/ 28575 w 2971294"/>
              <a:gd name="connsiteY77" fmla="*/ 2152650 h 2305041"/>
              <a:gd name="connsiteX78" fmla="*/ 23812 w 2971294"/>
              <a:gd name="connsiteY78" fmla="*/ 2238375 h 2305041"/>
              <a:gd name="connsiteX79" fmla="*/ 14287 w 2971294"/>
              <a:gd name="connsiteY79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571750 w 2971294"/>
              <a:gd name="connsiteY26" fmla="*/ 404812 h 2305041"/>
              <a:gd name="connsiteX27" fmla="*/ 2609850 w 2971294"/>
              <a:gd name="connsiteY27" fmla="*/ 423862 h 2305041"/>
              <a:gd name="connsiteX28" fmla="*/ 2619375 w 2971294"/>
              <a:gd name="connsiteY28" fmla="*/ 457200 h 2305041"/>
              <a:gd name="connsiteX29" fmla="*/ 2609850 w 2971294"/>
              <a:gd name="connsiteY29" fmla="*/ 614362 h 2305041"/>
              <a:gd name="connsiteX30" fmla="*/ 2600325 w 2971294"/>
              <a:gd name="connsiteY30" fmla="*/ 1176337 h 2305041"/>
              <a:gd name="connsiteX31" fmla="*/ 2605087 w 2971294"/>
              <a:gd name="connsiteY31" fmla="*/ 1209675 h 2305041"/>
              <a:gd name="connsiteX32" fmla="*/ 2608262 w 2971294"/>
              <a:gd name="connsiteY32" fmla="*/ 1514475 h 2305041"/>
              <a:gd name="connsiteX33" fmla="*/ 2614612 w 2971294"/>
              <a:gd name="connsiteY33" fmla="*/ 2066925 h 2305041"/>
              <a:gd name="connsiteX34" fmla="*/ 2616200 w 2971294"/>
              <a:gd name="connsiteY34" fmla="*/ 2203450 h 2305041"/>
              <a:gd name="connsiteX35" fmla="*/ 2624137 w 2971294"/>
              <a:gd name="connsiteY35" fmla="*/ 2292350 h 2305041"/>
              <a:gd name="connsiteX36" fmla="*/ 2851150 w 2971294"/>
              <a:gd name="connsiteY36" fmla="*/ 2303462 h 2305041"/>
              <a:gd name="connsiteX37" fmla="*/ 2967037 w 2971294"/>
              <a:gd name="connsiteY37" fmla="*/ 2282825 h 2305041"/>
              <a:gd name="connsiteX38" fmla="*/ 2947987 w 2971294"/>
              <a:gd name="connsiteY38" fmla="*/ 2181225 h 2305041"/>
              <a:gd name="connsiteX39" fmla="*/ 2955925 w 2971294"/>
              <a:gd name="connsiteY39" fmla="*/ 2008187 h 2305041"/>
              <a:gd name="connsiteX40" fmla="*/ 2962275 w 2971294"/>
              <a:gd name="connsiteY40" fmla="*/ 1804987 h 2305041"/>
              <a:gd name="connsiteX41" fmla="*/ 2952750 w 2971294"/>
              <a:gd name="connsiteY41" fmla="*/ 1366837 h 2305041"/>
              <a:gd name="connsiteX42" fmla="*/ 2947987 w 2971294"/>
              <a:gd name="connsiteY42" fmla="*/ 1081087 h 2305041"/>
              <a:gd name="connsiteX43" fmla="*/ 2947987 w 2971294"/>
              <a:gd name="connsiteY43" fmla="*/ 922337 h 2305041"/>
              <a:gd name="connsiteX44" fmla="*/ 2952750 w 2971294"/>
              <a:gd name="connsiteY44" fmla="*/ 571500 h 2305041"/>
              <a:gd name="connsiteX45" fmla="*/ 2957512 w 2971294"/>
              <a:gd name="connsiteY45" fmla="*/ 342900 h 2305041"/>
              <a:gd name="connsiteX46" fmla="*/ 2957512 w 2971294"/>
              <a:gd name="connsiteY46" fmla="*/ 34925 h 2305041"/>
              <a:gd name="connsiteX47" fmla="*/ 2867025 w 2971294"/>
              <a:gd name="connsiteY47" fmla="*/ 19050 h 2305041"/>
              <a:gd name="connsiteX48" fmla="*/ 2724150 w 2971294"/>
              <a:gd name="connsiteY48" fmla="*/ 9525 h 2305041"/>
              <a:gd name="connsiteX49" fmla="*/ 2381250 w 2971294"/>
              <a:gd name="connsiteY49" fmla="*/ 14287 h 2305041"/>
              <a:gd name="connsiteX50" fmla="*/ 2324100 w 2971294"/>
              <a:gd name="connsiteY50" fmla="*/ 23812 h 2305041"/>
              <a:gd name="connsiteX51" fmla="*/ 1909762 w 2971294"/>
              <a:gd name="connsiteY51" fmla="*/ 19050 h 2305041"/>
              <a:gd name="connsiteX52" fmla="*/ 1804987 w 2971294"/>
              <a:gd name="connsiteY52" fmla="*/ 9525 h 2305041"/>
              <a:gd name="connsiteX53" fmla="*/ 1776412 w 2971294"/>
              <a:gd name="connsiteY53" fmla="*/ 0 h 2305041"/>
              <a:gd name="connsiteX54" fmla="*/ 1528762 w 2971294"/>
              <a:gd name="connsiteY54" fmla="*/ 4762 h 2305041"/>
              <a:gd name="connsiteX55" fmla="*/ 1143000 w 2971294"/>
              <a:gd name="connsiteY55" fmla="*/ 38100 h 2305041"/>
              <a:gd name="connsiteX56" fmla="*/ 309562 w 2971294"/>
              <a:gd name="connsiteY56" fmla="*/ 23812 h 2305041"/>
              <a:gd name="connsiteX57" fmla="*/ 247650 w 2971294"/>
              <a:gd name="connsiteY57" fmla="*/ 14287 h 2305041"/>
              <a:gd name="connsiteX58" fmla="*/ 185737 w 2971294"/>
              <a:gd name="connsiteY58" fmla="*/ 9525 h 2305041"/>
              <a:gd name="connsiteX59" fmla="*/ 19050 w 2971294"/>
              <a:gd name="connsiteY59" fmla="*/ 14287 h 2305041"/>
              <a:gd name="connsiteX60" fmla="*/ 4762 w 2971294"/>
              <a:gd name="connsiteY60" fmla="*/ 19050 h 2305041"/>
              <a:gd name="connsiteX61" fmla="*/ 9525 w 2971294"/>
              <a:gd name="connsiteY61" fmla="*/ 85725 h 2305041"/>
              <a:gd name="connsiteX62" fmla="*/ 23812 w 2971294"/>
              <a:gd name="connsiteY62" fmla="*/ 171450 h 2305041"/>
              <a:gd name="connsiteX63" fmla="*/ 14287 w 2971294"/>
              <a:gd name="connsiteY63" fmla="*/ 390525 h 2305041"/>
              <a:gd name="connsiteX64" fmla="*/ 0 w 2971294"/>
              <a:gd name="connsiteY64" fmla="*/ 466725 h 2305041"/>
              <a:gd name="connsiteX65" fmla="*/ 9525 w 2971294"/>
              <a:gd name="connsiteY65" fmla="*/ 800100 h 2305041"/>
              <a:gd name="connsiteX66" fmla="*/ 9525 w 2971294"/>
              <a:gd name="connsiteY66" fmla="*/ 871537 h 2305041"/>
              <a:gd name="connsiteX67" fmla="*/ 14287 w 2971294"/>
              <a:gd name="connsiteY67" fmla="*/ 1157287 h 2305041"/>
              <a:gd name="connsiteX68" fmla="*/ 19050 w 2971294"/>
              <a:gd name="connsiteY68" fmla="*/ 1204912 h 2305041"/>
              <a:gd name="connsiteX69" fmla="*/ 28575 w 2971294"/>
              <a:gd name="connsiteY69" fmla="*/ 1243012 h 2305041"/>
              <a:gd name="connsiteX70" fmla="*/ 33337 w 2971294"/>
              <a:gd name="connsiteY70" fmla="*/ 1328737 h 2305041"/>
              <a:gd name="connsiteX71" fmla="*/ 23812 w 2971294"/>
              <a:gd name="connsiteY71" fmla="*/ 1476375 h 2305041"/>
              <a:gd name="connsiteX72" fmla="*/ 14287 w 2971294"/>
              <a:gd name="connsiteY72" fmla="*/ 1562100 h 2305041"/>
              <a:gd name="connsiteX73" fmla="*/ 9525 w 2971294"/>
              <a:gd name="connsiteY73" fmla="*/ 1819275 h 2305041"/>
              <a:gd name="connsiteX74" fmla="*/ 14287 w 2971294"/>
              <a:gd name="connsiteY74" fmla="*/ 2014537 h 2305041"/>
              <a:gd name="connsiteX75" fmla="*/ 23812 w 2971294"/>
              <a:gd name="connsiteY75" fmla="*/ 2066925 h 2305041"/>
              <a:gd name="connsiteX76" fmla="*/ 28575 w 2971294"/>
              <a:gd name="connsiteY76" fmla="*/ 2152650 h 2305041"/>
              <a:gd name="connsiteX77" fmla="*/ 23812 w 2971294"/>
              <a:gd name="connsiteY77" fmla="*/ 2238375 h 2305041"/>
              <a:gd name="connsiteX78" fmla="*/ 14287 w 2971294"/>
              <a:gd name="connsiteY78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209675 w 2971294"/>
              <a:gd name="connsiteY23" fmla="*/ 414337 h 2305041"/>
              <a:gd name="connsiteX24" fmla="*/ 1238250 w 2971294"/>
              <a:gd name="connsiteY24" fmla="*/ 409575 h 2305041"/>
              <a:gd name="connsiteX25" fmla="*/ 2571750 w 2971294"/>
              <a:gd name="connsiteY25" fmla="*/ 404812 h 2305041"/>
              <a:gd name="connsiteX26" fmla="*/ 2609850 w 2971294"/>
              <a:gd name="connsiteY26" fmla="*/ 423862 h 2305041"/>
              <a:gd name="connsiteX27" fmla="*/ 2619375 w 2971294"/>
              <a:gd name="connsiteY27" fmla="*/ 457200 h 2305041"/>
              <a:gd name="connsiteX28" fmla="*/ 2609850 w 2971294"/>
              <a:gd name="connsiteY28" fmla="*/ 614362 h 2305041"/>
              <a:gd name="connsiteX29" fmla="*/ 2600325 w 2971294"/>
              <a:gd name="connsiteY29" fmla="*/ 1176337 h 2305041"/>
              <a:gd name="connsiteX30" fmla="*/ 2605087 w 2971294"/>
              <a:gd name="connsiteY30" fmla="*/ 1209675 h 2305041"/>
              <a:gd name="connsiteX31" fmla="*/ 2608262 w 2971294"/>
              <a:gd name="connsiteY31" fmla="*/ 1514475 h 2305041"/>
              <a:gd name="connsiteX32" fmla="*/ 2614612 w 2971294"/>
              <a:gd name="connsiteY32" fmla="*/ 2066925 h 2305041"/>
              <a:gd name="connsiteX33" fmla="*/ 2616200 w 2971294"/>
              <a:gd name="connsiteY33" fmla="*/ 2203450 h 2305041"/>
              <a:gd name="connsiteX34" fmla="*/ 2624137 w 2971294"/>
              <a:gd name="connsiteY34" fmla="*/ 2292350 h 2305041"/>
              <a:gd name="connsiteX35" fmla="*/ 2851150 w 2971294"/>
              <a:gd name="connsiteY35" fmla="*/ 2303462 h 2305041"/>
              <a:gd name="connsiteX36" fmla="*/ 2967037 w 2971294"/>
              <a:gd name="connsiteY36" fmla="*/ 2282825 h 2305041"/>
              <a:gd name="connsiteX37" fmla="*/ 2947987 w 2971294"/>
              <a:gd name="connsiteY37" fmla="*/ 2181225 h 2305041"/>
              <a:gd name="connsiteX38" fmla="*/ 2955925 w 2971294"/>
              <a:gd name="connsiteY38" fmla="*/ 2008187 h 2305041"/>
              <a:gd name="connsiteX39" fmla="*/ 2962275 w 2971294"/>
              <a:gd name="connsiteY39" fmla="*/ 1804987 h 2305041"/>
              <a:gd name="connsiteX40" fmla="*/ 2952750 w 2971294"/>
              <a:gd name="connsiteY40" fmla="*/ 1366837 h 2305041"/>
              <a:gd name="connsiteX41" fmla="*/ 2947987 w 2971294"/>
              <a:gd name="connsiteY41" fmla="*/ 1081087 h 2305041"/>
              <a:gd name="connsiteX42" fmla="*/ 2947987 w 2971294"/>
              <a:gd name="connsiteY42" fmla="*/ 922337 h 2305041"/>
              <a:gd name="connsiteX43" fmla="*/ 2952750 w 2971294"/>
              <a:gd name="connsiteY43" fmla="*/ 571500 h 2305041"/>
              <a:gd name="connsiteX44" fmla="*/ 2957512 w 2971294"/>
              <a:gd name="connsiteY44" fmla="*/ 342900 h 2305041"/>
              <a:gd name="connsiteX45" fmla="*/ 2957512 w 2971294"/>
              <a:gd name="connsiteY45" fmla="*/ 34925 h 2305041"/>
              <a:gd name="connsiteX46" fmla="*/ 2867025 w 2971294"/>
              <a:gd name="connsiteY46" fmla="*/ 19050 h 2305041"/>
              <a:gd name="connsiteX47" fmla="*/ 2724150 w 2971294"/>
              <a:gd name="connsiteY47" fmla="*/ 9525 h 2305041"/>
              <a:gd name="connsiteX48" fmla="*/ 2381250 w 2971294"/>
              <a:gd name="connsiteY48" fmla="*/ 14287 h 2305041"/>
              <a:gd name="connsiteX49" fmla="*/ 2324100 w 2971294"/>
              <a:gd name="connsiteY49" fmla="*/ 23812 h 2305041"/>
              <a:gd name="connsiteX50" fmla="*/ 1909762 w 2971294"/>
              <a:gd name="connsiteY50" fmla="*/ 19050 h 2305041"/>
              <a:gd name="connsiteX51" fmla="*/ 1804987 w 2971294"/>
              <a:gd name="connsiteY51" fmla="*/ 9525 h 2305041"/>
              <a:gd name="connsiteX52" fmla="*/ 1776412 w 2971294"/>
              <a:gd name="connsiteY52" fmla="*/ 0 h 2305041"/>
              <a:gd name="connsiteX53" fmla="*/ 1528762 w 2971294"/>
              <a:gd name="connsiteY53" fmla="*/ 4762 h 2305041"/>
              <a:gd name="connsiteX54" fmla="*/ 1143000 w 2971294"/>
              <a:gd name="connsiteY54" fmla="*/ 38100 h 2305041"/>
              <a:gd name="connsiteX55" fmla="*/ 309562 w 2971294"/>
              <a:gd name="connsiteY55" fmla="*/ 23812 h 2305041"/>
              <a:gd name="connsiteX56" fmla="*/ 247650 w 2971294"/>
              <a:gd name="connsiteY56" fmla="*/ 14287 h 2305041"/>
              <a:gd name="connsiteX57" fmla="*/ 185737 w 2971294"/>
              <a:gd name="connsiteY57" fmla="*/ 9525 h 2305041"/>
              <a:gd name="connsiteX58" fmla="*/ 19050 w 2971294"/>
              <a:gd name="connsiteY58" fmla="*/ 14287 h 2305041"/>
              <a:gd name="connsiteX59" fmla="*/ 4762 w 2971294"/>
              <a:gd name="connsiteY59" fmla="*/ 19050 h 2305041"/>
              <a:gd name="connsiteX60" fmla="*/ 9525 w 2971294"/>
              <a:gd name="connsiteY60" fmla="*/ 85725 h 2305041"/>
              <a:gd name="connsiteX61" fmla="*/ 23812 w 2971294"/>
              <a:gd name="connsiteY61" fmla="*/ 171450 h 2305041"/>
              <a:gd name="connsiteX62" fmla="*/ 14287 w 2971294"/>
              <a:gd name="connsiteY62" fmla="*/ 390525 h 2305041"/>
              <a:gd name="connsiteX63" fmla="*/ 0 w 2971294"/>
              <a:gd name="connsiteY63" fmla="*/ 466725 h 2305041"/>
              <a:gd name="connsiteX64" fmla="*/ 9525 w 2971294"/>
              <a:gd name="connsiteY64" fmla="*/ 800100 h 2305041"/>
              <a:gd name="connsiteX65" fmla="*/ 9525 w 2971294"/>
              <a:gd name="connsiteY65" fmla="*/ 871537 h 2305041"/>
              <a:gd name="connsiteX66" fmla="*/ 14287 w 2971294"/>
              <a:gd name="connsiteY66" fmla="*/ 1157287 h 2305041"/>
              <a:gd name="connsiteX67" fmla="*/ 19050 w 2971294"/>
              <a:gd name="connsiteY67" fmla="*/ 1204912 h 2305041"/>
              <a:gd name="connsiteX68" fmla="*/ 28575 w 2971294"/>
              <a:gd name="connsiteY68" fmla="*/ 1243012 h 2305041"/>
              <a:gd name="connsiteX69" fmla="*/ 33337 w 2971294"/>
              <a:gd name="connsiteY69" fmla="*/ 1328737 h 2305041"/>
              <a:gd name="connsiteX70" fmla="*/ 23812 w 2971294"/>
              <a:gd name="connsiteY70" fmla="*/ 1476375 h 2305041"/>
              <a:gd name="connsiteX71" fmla="*/ 14287 w 2971294"/>
              <a:gd name="connsiteY71" fmla="*/ 1562100 h 2305041"/>
              <a:gd name="connsiteX72" fmla="*/ 9525 w 2971294"/>
              <a:gd name="connsiteY72" fmla="*/ 1819275 h 2305041"/>
              <a:gd name="connsiteX73" fmla="*/ 14287 w 2971294"/>
              <a:gd name="connsiteY73" fmla="*/ 2014537 h 2305041"/>
              <a:gd name="connsiteX74" fmla="*/ 23812 w 2971294"/>
              <a:gd name="connsiteY74" fmla="*/ 2066925 h 2305041"/>
              <a:gd name="connsiteX75" fmla="*/ 28575 w 2971294"/>
              <a:gd name="connsiteY75" fmla="*/ 2152650 h 2305041"/>
              <a:gd name="connsiteX76" fmla="*/ 23812 w 2971294"/>
              <a:gd name="connsiteY76" fmla="*/ 2238375 h 2305041"/>
              <a:gd name="connsiteX77" fmla="*/ 14287 w 2971294"/>
              <a:gd name="connsiteY77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22362 w 2971294"/>
              <a:gd name="connsiteY22" fmla="*/ 430213 h 2305041"/>
              <a:gd name="connsiteX23" fmla="*/ 1147762 w 2971294"/>
              <a:gd name="connsiteY23" fmla="*/ 423862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571750 w 2971294"/>
              <a:gd name="connsiteY26" fmla="*/ 404812 h 2305041"/>
              <a:gd name="connsiteX27" fmla="*/ 2609850 w 2971294"/>
              <a:gd name="connsiteY27" fmla="*/ 423862 h 2305041"/>
              <a:gd name="connsiteX28" fmla="*/ 2619375 w 2971294"/>
              <a:gd name="connsiteY28" fmla="*/ 457200 h 2305041"/>
              <a:gd name="connsiteX29" fmla="*/ 2609850 w 2971294"/>
              <a:gd name="connsiteY29" fmla="*/ 614362 h 2305041"/>
              <a:gd name="connsiteX30" fmla="*/ 2600325 w 2971294"/>
              <a:gd name="connsiteY30" fmla="*/ 1176337 h 2305041"/>
              <a:gd name="connsiteX31" fmla="*/ 2605087 w 2971294"/>
              <a:gd name="connsiteY31" fmla="*/ 1209675 h 2305041"/>
              <a:gd name="connsiteX32" fmla="*/ 2608262 w 2971294"/>
              <a:gd name="connsiteY32" fmla="*/ 1514475 h 2305041"/>
              <a:gd name="connsiteX33" fmla="*/ 2614612 w 2971294"/>
              <a:gd name="connsiteY33" fmla="*/ 2066925 h 2305041"/>
              <a:gd name="connsiteX34" fmla="*/ 2616200 w 2971294"/>
              <a:gd name="connsiteY34" fmla="*/ 2203450 h 2305041"/>
              <a:gd name="connsiteX35" fmla="*/ 2624137 w 2971294"/>
              <a:gd name="connsiteY35" fmla="*/ 2292350 h 2305041"/>
              <a:gd name="connsiteX36" fmla="*/ 2851150 w 2971294"/>
              <a:gd name="connsiteY36" fmla="*/ 2303462 h 2305041"/>
              <a:gd name="connsiteX37" fmla="*/ 2967037 w 2971294"/>
              <a:gd name="connsiteY37" fmla="*/ 2282825 h 2305041"/>
              <a:gd name="connsiteX38" fmla="*/ 2947987 w 2971294"/>
              <a:gd name="connsiteY38" fmla="*/ 2181225 h 2305041"/>
              <a:gd name="connsiteX39" fmla="*/ 2955925 w 2971294"/>
              <a:gd name="connsiteY39" fmla="*/ 2008187 h 2305041"/>
              <a:gd name="connsiteX40" fmla="*/ 2962275 w 2971294"/>
              <a:gd name="connsiteY40" fmla="*/ 1804987 h 2305041"/>
              <a:gd name="connsiteX41" fmla="*/ 2952750 w 2971294"/>
              <a:gd name="connsiteY41" fmla="*/ 1366837 h 2305041"/>
              <a:gd name="connsiteX42" fmla="*/ 2947987 w 2971294"/>
              <a:gd name="connsiteY42" fmla="*/ 1081087 h 2305041"/>
              <a:gd name="connsiteX43" fmla="*/ 2947987 w 2971294"/>
              <a:gd name="connsiteY43" fmla="*/ 922337 h 2305041"/>
              <a:gd name="connsiteX44" fmla="*/ 2952750 w 2971294"/>
              <a:gd name="connsiteY44" fmla="*/ 571500 h 2305041"/>
              <a:gd name="connsiteX45" fmla="*/ 2957512 w 2971294"/>
              <a:gd name="connsiteY45" fmla="*/ 342900 h 2305041"/>
              <a:gd name="connsiteX46" fmla="*/ 2957512 w 2971294"/>
              <a:gd name="connsiteY46" fmla="*/ 34925 h 2305041"/>
              <a:gd name="connsiteX47" fmla="*/ 2867025 w 2971294"/>
              <a:gd name="connsiteY47" fmla="*/ 19050 h 2305041"/>
              <a:gd name="connsiteX48" fmla="*/ 2724150 w 2971294"/>
              <a:gd name="connsiteY48" fmla="*/ 9525 h 2305041"/>
              <a:gd name="connsiteX49" fmla="*/ 2381250 w 2971294"/>
              <a:gd name="connsiteY49" fmla="*/ 14287 h 2305041"/>
              <a:gd name="connsiteX50" fmla="*/ 2324100 w 2971294"/>
              <a:gd name="connsiteY50" fmla="*/ 23812 h 2305041"/>
              <a:gd name="connsiteX51" fmla="*/ 1909762 w 2971294"/>
              <a:gd name="connsiteY51" fmla="*/ 19050 h 2305041"/>
              <a:gd name="connsiteX52" fmla="*/ 1804987 w 2971294"/>
              <a:gd name="connsiteY52" fmla="*/ 9525 h 2305041"/>
              <a:gd name="connsiteX53" fmla="*/ 1776412 w 2971294"/>
              <a:gd name="connsiteY53" fmla="*/ 0 h 2305041"/>
              <a:gd name="connsiteX54" fmla="*/ 1528762 w 2971294"/>
              <a:gd name="connsiteY54" fmla="*/ 4762 h 2305041"/>
              <a:gd name="connsiteX55" fmla="*/ 1143000 w 2971294"/>
              <a:gd name="connsiteY55" fmla="*/ 38100 h 2305041"/>
              <a:gd name="connsiteX56" fmla="*/ 309562 w 2971294"/>
              <a:gd name="connsiteY56" fmla="*/ 23812 h 2305041"/>
              <a:gd name="connsiteX57" fmla="*/ 247650 w 2971294"/>
              <a:gd name="connsiteY57" fmla="*/ 14287 h 2305041"/>
              <a:gd name="connsiteX58" fmla="*/ 185737 w 2971294"/>
              <a:gd name="connsiteY58" fmla="*/ 9525 h 2305041"/>
              <a:gd name="connsiteX59" fmla="*/ 19050 w 2971294"/>
              <a:gd name="connsiteY59" fmla="*/ 14287 h 2305041"/>
              <a:gd name="connsiteX60" fmla="*/ 4762 w 2971294"/>
              <a:gd name="connsiteY60" fmla="*/ 19050 h 2305041"/>
              <a:gd name="connsiteX61" fmla="*/ 9525 w 2971294"/>
              <a:gd name="connsiteY61" fmla="*/ 85725 h 2305041"/>
              <a:gd name="connsiteX62" fmla="*/ 23812 w 2971294"/>
              <a:gd name="connsiteY62" fmla="*/ 171450 h 2305041"/>
              <a:gd name="connsiteX63" fmla="*/ 14287 w 2971294"/>
              <a:gd name="connsiteY63" fmla="*/ 390525 h 2305041"/>
              <a:gd name="connsiteX64" fmla="*/ 0 w 2971294"/>
              <a:gd name="connsiteY64" fmla="*/ 466725 h 2305041"/>
              <a:gd name="connsiteX65" fmla="*/ 9525 w 2971294"/>
              <a:gd name="connsiteY65" fmla="*/ 800100 h 2305041"/>
              <a:gd name="connsiteX66" fmla="*/ 9525 w 2971294"/>
              <a:gd name="connsiteY66" fmla="*/ 871537 h 2305041"/>
              <a:gd name="connsiteX67" fmla="*/ 14287 w 2971294"/>
              <a:gd name="connsiteY67" fmla="*/ 1157287 h 2305041"/>
              <a:gd name="connsiteX68" fmla="*/ 19050 w 2971294"/>
              <a:gd name="connsiteY68" fmla="*/ 1204912 h 2305041"/>
              <a:gd name="connsiteX69" fmla="*/ 28575 w 2971294"/>
              <a:gd name="connsiteY69" fmla="*/ 1243012 h 2305041"/>
              <a:gd name="connsiteX70" fmla="*/ 33337 w 2971294"/>
              <a:gd name="connsiteY70" fmla="*/ 1328737 h 2305041"/>
              <a:gd name="connsiteX71" fmla="*/ 23812 w 2971294"/>
              <a:gd name="connsiteY71" fmla="*/ 1476375 h 2305041"/>
              <a:gd name="connsiteX72" fmla="*/ 14287 w 2971294"/>
              <a:gd name="connsiteY72" fmla="*/ 1562100 h 2305041"/>
              <a:gd name="connsiteX73" fmla="*/ 9525 w 2971294"/>
              <a:gd name="connsiteY73" fmla="*/ 1819275 h 2305041"/>
              <a:gd name="connsiteX74" fmla="*/ 14287 w 2971294"/>
              <a:gd name="connsiteY74" fmla="*/ 2014537 h 2305041"/>
              <a:gd name="connsiteX75" fmla="*/ 23812 w 2971294"/>
              <a:gd name="connsiteY75" fmla="*/ 2066925 h 2305041"/>
              <a:gd name="connsiteX76" fmla="*/ 28575 w 2971294"/>
              <a:gd name="connsiteY76" fmla="*/ 2152650 h 2305041"/>
              <a:gd name="connsiteX77" fmla="*/ 23812 w 2971294"/>
              <a:gd name="connsiteY77" fmla="*/ 2238375 h 2305041"/>
              <a:gd name="connsiteX78" fmla="*/ 14287 w 2971294"/>
              <a:gd name="connsiteY78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1122362 w 2971294"/>
              <a:gd name="connsiteY21" fmla="*/ 430213 h 2305041"/>
              <a:gd name="connsiteX22" fmla="*/ 1147762 w 2971294"/>
              <a:gd name="connsiteY22" fmla="*/ 423862 h 2305041"/>
              <a:gd name="connsiteX23" fmla="*/ 1209675 w 2971294"/>
              <a:gd name="connsiteY23" fmla="*/ 414337 h 2305041"/>
              <a:gd name="connsiteX24" fmla="*/ 1238250 w 2971294"/>
              <a:gd name="connsiteY24" fmla="*/ 409575 h 2305041"/>
              <a:gd name="connsiteX25" fmla="*/ 2571750 w 2971294"/>
              <a:gd name="connsiteY25" fmla="*/ 404812 h 2305041"/>
              <a:gd name="connsiteX26" fmla="*/ 2609850 w 2971294"/>
              <a:gd name="connsiteY26" fmla="*/ 423862 h 2305041"/>
              <a:gd name="connsiteX27" fmla="*/ 2619375 w 2971294"/>
              <a:gd name="connsiteY27" fmla="*/ 457200 h 2305041"/>
              <a:gd name="connsiteX28" fmla="*/ 2609850 w 2971294"/>
              <a:gd name="connsiteY28" fmla="*/ 614362 h 2305041"/>
              <a:gd name="connsiteX29" fmla="*/ 2600325 w 2971294"/>
              <a:gd name="connsiteY29" fmla="*/ 1176337 h 2305041"/>
              <a:gd name="connsiteX30" fmla="*/ 2605087 w 2971294"/>
              <a:gd name="connsiteY30" fmla="*/ 1209675 h 2305041"/>
              <a:gd name="connsiteX31" fmla="*/ 2608262 w 2971294"/>
              <a:gd name="connsiteY31" fmla="*/ 1514475 h 2305041"/>
              <a:gd name="connsiteX32" fmla="*/ 2614612 w 2971294"/>
              <a:gd name="connsiteY32" fmla="*/ 2066925 h 2305041"/>
              <a:gd name="connsiteX33" fmla="*/ 2616200 w 2971294"/>
              <a:gd name="connsiteY33" fmla="*/ 2203450 h 2305041"/>
              <a:gd name="connsiteX34" fmla="*/ 2624137 w 2971294"/>
              <a:gd name="connsiteY34" fmla="*/ 2292350 h 2305041"/>
              <a:gd name="connsiteX35" fmla="*/ 2851150 w 2971294"/>
              <a:gd name="connsiteY35" fmla="*/ 2303462 h 2305041"/>
              <a:gd name="connsiteX36" fmla="*/ 2967037 w 2971294"/>
              <a:gd name="connsiteY36" fmla="*/ 2282825 h 2305041"/>
              <a:gd name="connsiteX37" fmla="*/ 2947987 w 2971294"/>
              <a:gd name="connsiteY37" fmla="*/ 2181225 h 2305041"/>
              <a:gd name="connsiteX38" fmla="*/ 2955925 w 2971294"/>
              <a:gd name="connsiteY38" fmla="*/ 2008187 h 2305041"/>
              <a:gd name="connsiteX39" fmla="*/ 2962275 w 2971294"/>
              <a:gd name="connsiteY39" fmla="*/ 1804987 h 2305041"/>
              <a:gd name="connsiteX40" fmla="*/ 2952750 w 2971294"/>
              <a:gd name="connsiteY40" fmla="*/ 1366837 h 2305041"/>
              <a:gd name="connsiteX41" fmla="*/ 2947987 w 2971294"/>
              <a:gd name="connsiteY41" fmla="*/ 1081087 h 2305041"/>
              <a:gd name="connsiteX42" fmla="*/ 2947987 w 2971294"/>
              <a:gd name="connsiteY42" fmla="*/ 922337 h 2305041"/>
              <a:gd name="connsiteX43" fmla="*/ 2952750 w 2971294"/>
              <a:gd name="connsiteY43" fmla="*/ 571500 h 2305041"/>
              <a:gd name="connsiteX44" fmla="*/ 2957512 w 2971294"/>
              <a:gd name="connsiteY44" fmla="*/ 342900 h 2305041"/>
              <a:gd name="connsiteX45" fmla="*/ 2957512 w 2971294"/>
              <a:gd name="connsiteY45" fmla="*/ 34925 h 2305041"/>
              <a:gd name="connsiteX46" fmla="*/ 2867025 w 2971294"/>
              <a:gd name="connsiteY46" fmla="*/ 19050 h 2305041"/>
              <a:gd name="connsiteX47" fmla="*/ 2724150 w 2971294"/>
              <a:gd name="connsiteY47" fmla="*/ 9525 h 2305041"/>
              <a:gd name="connsiteX48" fmla="*/ 2381250 w 2971294"/>
              <a:gd name="connsiteY48" fmla="*/ 14287 h 2305041"/>
              <a:gd name="connsiteX49" fmla="*/ 2324100 w 2971294"/>
              <a:gd name="connsiteY49" fmla="*/ 23812 h 2305041"/>
              <a:gd name="connsiteX50" fmla="*/ 1909762 w 2971294"/>
              <a:gd name="connsiteY50" fmla="*/ 19050 h 2305041"/>
              <a:gd name="connsiteX51" fmla="*/ 1804987 w 2971294"/>
              <a:gd name="connsiteY51" fmla="*/ 9525 h 2305041"/>
              <a:gd name="connsiteX52" fmla="*/ 1776412 w 2971294"/>
              <a:gd name="connsiteY52" fmla="*/ 0 h 2305041"/>
              <a:gd name="connsiteX53" fmla="*/ 1528762 w 2971294"/>
              <a:gd name="connsiteY53" fmla="*/ 4762 h 2305041"/>
              <a:gd name="connsiteX54" fmla="*/ 1143000 w 2971294"/>
              <a:gd name="connsiteY54" fmla="*/ 38100 h 2305041"/>
              <a:gd name="connsiteX55" fmla="*/ 309562 w 2971294"/>
              <a:gd name="connsiteY55" fmla="*/ 23812 h 2305041"/>
              <a:gd name="connsiteX56" fmla="*/ 247650 w 2971294"/>
              <a:gd name="connsiteY56" fmla="*/ 14287 h 2305041"/>
              <a:gd name="connsiteX57" fmla="*/ 185737 w 2971294"/>
              <a:gd name="connsiteY57" fmla="*/ 9525 h 2305041"/>
              <a:gd name="connsiteX58" fmla="*/ 19050 w 2971294"/>
              <a:gd name="connsiteY58" fmla="*/ 14287 h 2305041"/>
              <a:gd name="connsiteX59" fmla="*/ 4762 w 2971294"/>
              <a:gd name="connsiteY59" fmla="*/ 19050 h 2305041"/>
              <a:gd name="connsiteX60" fmla="*/ 9525 w 2971294"/>
              <a:gd name="connsiteY60" fmla="*/ 85725 h 2305041"/>
              <a:gd name="connsiteX61" fmla="*/ 23812 w 2971294"/>
              <a:gd name="connsiteY61" fmla="*/ 171450 h 2305041"/>
              <a:gd name="connsiteX62" fmla="*/ 14287 w 2971294"/>
              <a:gd name="connsiteY62" fmla="*/ 390525 h 2305041"/>
              <a:gd name="connsiteX63" fmla="*/ 0 w 2971294"/>
              <a:gd name="connsiteY63" fmla="*/ 466725 h 2305041"/>
              <a:gd name="connsiteX64" fmla="*/ 9525 w 2971294"/>
              <a:gd name="connsiteY64" fmla="*/ 800100 h 2305041"/>
              <a:gd name="connsiteX65" fmla="*/ 9525 w 2971294"/>
              <a:gd name="connsiteY65" fmla="*/ 871537 h 2305041"/>
              <a:gd name="connsiteX66" fmla="*/ 14287 w 2971294"/>
              <a:gd name="connsiteY66" fmla="*/ 1157287 h 2305041"/>
              <a:gd name="connsiteX67" fmla="*/ 19050 w 2971294"/>
              <a:gd name="connsiteY67" fmla="*/ 1204912 h 2305041"/>
              <a:gd name="connsiteX68" fmla="*/ 28575 w 2971294"/>
              <a:gd name="connsiteY68" fmla="*/ 1243012 h 2305041"/>
              <a:gd name="connsiteX69" fmla="*/ 33337 w 2971294"/>
              <a:gd name="connsiteY69" fmla="*/ 1328737 h 2305041"/>
              <a:gd name="connsiteX70" fmla="*/ 23812 w 2971294"/>
              <a:gd name="connsiteY70" fmla="*/ 1476375 h 2305041"/>
              <a:gd name="connsiteX71" fmla="*/ 14287 w 2971294"/>
              <a:gd name="connsiteY71" fmla="*/ 1562100 h 2305041"/>
              <a:gd name="connsiteX72" fmla="*/ 9525 w 2971294"/>
              <a:gd name="connsiteY72" fmla="*/ 1819275 h 2305041"/>
              <a:gd name="connsiteX73" fmla="*/ 14287 w 2971294"/>
              <a:gd name="connsiteY73" fmla="*/ 2014537 h 2305041"/>
              <a:gd name="connsiteX74" fmla="*/ 23812 w 2971294"/>
              <a:gd name="connsiteY74" fmla="*/ 2066925 h 2305041"/>
              <a:gd name="connsiteX75" fmla="*/ 28575 w 2971294"/>
              <a:gd name="connsiteY75" fmla="*/ 2152650 h 2305041"/>
              <a:gd name="connsiteX76" fmla="*/ 23812 w 2971294"/>
              <a:gd name="connsiteY76" fmla="*/ 2238375 h 2305041"/>
              <a:gd name="connsiteX77" fmla="*/ 14287 w 2971294"/>
              <a:gd name="connsiteY77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1147762 w 2971294"/>
              <a:gd name="connsiteY21" fmla="*/ 423862 h 2305041"/>
              <a:gd name="connsiteX22" fmla="*/ 1209675 w 2971294"/>
              <a:gd name="connsiteY22" fmla="*/ 414337 h 2305041"/>
              <a:gd name="connsiteX23" fmla="*/ 1238250 w 2971294"/>
              <a:gd name="connsiteY23" fmla="*/ 409575 h 2305041"/>
              <a:gd name="connsiteX24" fmla="*/ 2571750 w 2971294"/>
              <a:gd name="connsiteY24" fmla="*/ 404812 h 2305041"/>
              <a:gd name="connsiteX25" fmla="*/ 2609850 w 2971294"/>
              <a:gd name="connsiteY25" fmla="*/ 423862 h 2305041"/>
              <a:gd name="connsiteX26" fmla="*/ 2619375 w 2971294"/>
              <a:gd name="connsiteY26" fmla="*/ 457200 h 2305041"/>
              <a:gd name="connsiteX27" fmla="*/ 2609850 w 2971294"/>
              <a:gd name="connsiteY27" fmla="*/ 614362 h 2305041"/>
              <a:gd name="connsiteX28" fmla="*/ 2600325 w 2971294"/>
              <a:gd name="connsiteY28" fmla="*/ 1176337 h 2305041"/>
              <a:gd name="connsiteX29" fmla="*/ 2605087 w 2971294"/>
              <a:gd name="connsiteY29" fmla="*/ 1209675 h 2305041"/>
              <a:gd name="connsiteX30" fmla="*/ 2608262 w 2971294"/>
              <a:gd name="connsiteY30" fmla="*/ 1514475 h 2305041"/>
              <a:gd name="connsiteX31" fmla="*/ 2614612 w 2971294"/>
              <a:gd name="connsiteY31" fmla="*/ 2066925 h 2305041"/>
              <a:gd name="connsiteX32" fmla="*/ 2616200 w 2971294"/>
              <a:gd name="connsiteY32" fmla="*/ 2203450 h 2305041"/>
              <a:gd name="connsiteX33" fmla="*/ 2624137 w 2971294"/>
              <a:gd name="connsiteY33" fmla="*/ 2292350 h 2305041"/>
              <a:gd name="connsiteX34" fmla="*/ 2851150 w 2971294"/>
              <a:gd name="connsiteY34" fmla="*/ 2303462 h 2305041"/>
              <a:gd name="connsiteX35" fmla="*/ 2967037 w 2971294"/>
              <a:gd name="connsiteY35" fmla="*/ 2282825 h 2305041"/>
              <a:gd name="connsiteX36" fmla="*/ 2947987 w 2971294"/>
              <a:gd name="connsiteY36" fmla="*/ 2181225 h 2305041"/>
              <a:gd name="connsiteX37" fmla="*/ 2955925 w 2971294"/>
              <a:gd name="connsiteY37" fmla="*/ 2008187 h 2305041"/>
              <a:gd name="connsiteX38" fmla="*/ 2962275 w 2971294"/>
              <a:gd name="connsiteY38" fmla="*/ 1804987 h 2305041"/>
              <a:gd name="connsiteX39" fmla="*/ 2952750 w 2971294"/>
              <a:gd name="connsiteY39" fmla="*/ 1366837 h 2305041"/>
              <a:gd name="connsiteX40" fmla="*/ 2947987 w 2971294"/>
              <a:gd name="connsiteY40" fmla="*/ 1081087 h 2305041"/>
              <a:gd name="connsiteX41" fmla="*/ 2947987 w 2971294"/>
              <a:gd name="connsiteY41" fmla="*/ 922337 h 2305041"/>
              <a:gd name="connsiteX42" fmla="*/ 2952750 w 2971294"/>
              <a:gd name="connsiteY42" fmla="*/ 571500 h 2305041"/>
              <a:gd name="connsiteX43" fmla="*/ 2957512 w 2971294"/>
              <a:gd name="connsiteY43" fmla="*/ 342900 h 2305041"/>
              <a:gd name="connsiteX44" fmla="*/ 2957512 w 2971294"/>
              <a:gd name="connsiteY44" fmla="*/ 34925 h 2305041"/>
              <a:gd name="connsiteX45" fmla="*/ 2867025 w 2971294"/>
              <a:gd name="connsiteY45" fmla="*/ 19050 h 2305041"/>
              <a:gd name="connsiteX46" fmla="*/ 2724150 w 2971294"/>
              <a:gd name="connsiteY46" fmla="*/ 9525 h 2305041"/>
              <a:gd name="connsiteX47" fmla="*/ 2381250 w 2971294"/>
              <a:gd name="connsiteY47" fmla="*/ 14287 h 2305041"/>
              <a:gd name="connsiteX48" fmla="*/ 2324100 w 2971294"/>
              <a:gd name="connsiteY48" fmla="*/ 23812 h 2305041"/>
              <a:gd name="connsiteX49" fmla="*/ 1909762 w 2971294"/>
              <a:gd name="connsiteY49" fmla="*/ 19050 h 2305041"/>
              <a:gd name="connsiteX50" fmla="*/ 1804987 w 2971294"/>
              <a:gd name="connsiteY50" fmla="*/ 9525 h 2305041"/>
              <a:gd name="connsiteX51" fmla="*/ 1776412 w 2971294"/>
              <a:gd name="connsiteY51" fmla="*/ 0 h 2305041"/>
              <a:gd name="connsiteX52" fmla="*/ 1528762 w 2971294"/>
              <a:gd name="connsiteY52" fmla="*/ 4762 h 2305041"/>
              <a:gd name="connsiteX53" fmla="*/ 1143000 w 2971294"/>
              <a:gd name="connsiteY53" fmla="*/ 38100 h 2305041"/>
              <a:gd name="connsiteX54" fmla="*/ 309562 w 2971294"/>
              <a:gd name="connsiteY54" fmla="*/ 23812 h 2305041"/>
              <a:gd name="connsiteX55" fmla="*/ 247650 w 2971294"/>
              <a:gd name="connsiteY55" fmla="*/ 14287 h 2305041"/>
              <a:gd name="connsiteX56" fmla="*/ 185737 w 2971294"/>
              <a:gd name="connsiteY56" fmla="*/ 9525 h 2305041"/>
              <a:gd name="connsiteX57" fmla="*/ 19050 w 2971294"/>
              <a:gd name="connsiteY57" fmla="*/ 14287 h 2305041"/>
              <a:gd name="connsiteX58" fmla="*/ 4762 w 2971294"/>
              <a:gd name="connsiteY58" fmla="*/ 19050 h 2305041"/>
              <a:gd name="connsiteX59" fmla="*/ 9525 w 2971294"/>
              <a:gd name="connsiteY59" fmla="*/ 85725 h 2305041"/>
              <a:gd name="connsiteX60" fmla="*/ 23812 w 2971294"/>
              <a:gd name="connsiteY60" fmla="*/ 171450 h 2305041"/>
              <a:gd name="connsiteX61" fmla="*/ 14287 w 2971294"/>
              <a:gd name="connsiteY61" fmla="*/ 390525 h 2305041"/>
              <a:gd name="connsiteX62" fmla="*/ 0 w 2971294"/>
              <a:gd name="connsiteY62" fmla="*/ 466725 h 2305041"/>
              <a:gd name="connsiteX63" fmla="*/ 9525 w 2971294"/>
              <a:gd name="connsiteY63" fmla="*/ 800100 h 2305041"/>
              <a:gd name="connsiteX64" fmla="*/ 9525 w 2971294"/>
              <a:gd name="connsiteY64" fmla="*/ 871537 h 2305041"/>
              <a:gd name="connsiteX65" fmla="*/ 14287 w 2971294"/>
              <a:gd name="connsiteY65" fmla="*/ 1157287 h 2305041"/>
              <a:gd name="connsiteX66" fmla="*/ 19050 w 2971294"/>
              <a:gd name="connsiteY66" fmla="*/ 1204912 h 2305041"/>
              <a:gd name="connsiteX67" fmla="*/ 28575 w 2971294"/>
              <a:gd name="connsiteY67" fmla="*/ 1243012 h 2305041"/>
              <a:gd name="connsiteX68" fmla="*/ 33337 w 2971294"/>
              <a:gd name="connsiteY68" fmla="*/ 1328737 h 2305041"/>
              <a:gd name="connsiteX69" fmla="*/ 23812 w 2971294"/>
              <a:gd name="connsiteY69" fmla="*/ 1476375 h 2305041"/>
              <a:gd name="connsiteX70" fmla="*/ 14287 w 2971294"/>
              <a:gd name="connsiteY70" fmla="*/ 1562100 h 2305041"/>
              <a:gd name="connsiteX71" fmla="*/ 9525 w 2971294"/>
              <a:gd name="connsiteY71" fmla="*/ 1819275 h 2305041"/>
              <a:gd name="connsiteX72" fmla="*/ 14287 w 2971294"/>
              <a:gd name="connsiteY72" fmla="*/ 2014537 h 2305041"/>
              <a:gd name="connsiteX73" fmla="*/ 23812 w 2971294"/>
              <a:gd name="connsiteY73" fmla="*/ 2066925 h 2305041"/>
              <a:gd name="connsiteX74" fmla="*/ 28575 w 2971294"/>
              <a:gd name="connsiteY74" fmla="*/ 2152650 h 2305041"/>
              <a:gd name="connsiteX75" fmla="*/ 23812 w 2971294"/>
              <a:gd name="connsiteY75" fmla="*/ 2238375 h 2305041"/>
              <a:gd name="connsiteX76" fmla="*/ 14287 w 2971294"/>
              <a:gd name="connsiteY76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1147762 w 2971294"/>
              <a:gd name="connsiteY20" fmla="*/ 423862 h 2305041"/>
              <a:gd name="connsiteX21" fmla="*/ 1209675 w 2971294"/>
              <a:gd name="connsiteY21" fmla="*/ 414337 h 2305041"/>
              <a:gd name="connsiteX22" fmla="*/ 1238250 w 2971294"/>
              <a:gd name="connsiteY22" fmla="*/ 409575 h 2305041"/>
              <a:gd name="connsiteX23" fmla="*/ 2571750 w 2971294"/>
              <a:gd name="connsiteY23" fmla="*/ 404812 h 2305041"/>
              <a:gd name="connsiteX24" fmla="*/ 2609850 w 2971294"/>
              <a:gd name="connsiteY24" fmla="*/ 423862 h 2305041"/>
              <a:gd name="connsiteX25" fmla="*/ 2619375 w 2971294"/>
              <a:gd name="connsiteY25" fmla="*/ 457200 h 2305041"/>
              <a:gd name="connsiteX26" fmla="*/ 2609850 w 2971294"/>
              <a:gd name="connsiteY26" fmla="*/ 614362 h 2305041"/>
              <a:gd name="connsiteX27" fmla="*/ 2600325 w 2971294"/>
              <a:gd name="connsiteY27" fmla="*/ 1176337 h 2305041"/>
              <a:gd name="connsiteX28" fmla="*/ 2605087 w 2971294"/>
              <a:gd name="connsiteY28" fmla="*/ 1209675 h 2305041"/>
              <a:gd name="connsiteX29" fmla="*/ 2608262 w 2971294"/>
              <a:gd name="connsiteY29" fmla="*/ 1514475 h 2305041"/>
              <a:gd name="connsiteX30" fmla="*/ 2614612 w 2971294"/>
              <a:gd name="connsiteY30" fmla="*/ 2066925 h 2305041"/>
              <a:gd name="connsiteX31" fmla="*/ 2616200 w 2971294"/>
              <a:gd name="connsiteY31" fmla="*/ 2203450 h 2305041"/>
              <a:gd name="connsiteX32" fmla="*/ 2624137 w 2971294"/>
              <a:gd name="connsiteY32" fmla="*/ 2292350 h 2305041"/>
              <a:gd name="connsiteX33" fmla="*/ 2851150 w 2971294"/>
              <a:gd name="connsiteY33" fmla="*/ 2303462 h 2305041"/>
              <a:gd name="connsiteX34" fmla="*/ 2967037 w 2971294"/>
              <a:gd name="connsiteY34" fmla="*/ 2282825 h 2305041"/>
              <a:gd name="connsiteX35" fmla="*/ 2947987 w 2971294"/>
              <a:gd name="connsiteY35" fmla="*/ 2181225 h 2305041"/>
              <a:gd name="connsiteX36" fmla="*/ 2955925 w 2971294"/>
              <a:gd name="connsiteY36" fmla="*/ 2008187 h 2305041"/>
              <a:gd name="connsiteX37" fmla="*/ 2962275 w 2971294"/>
              <a:gd name="connsiteY37" fmla="*/ 1804987 h 2305041"/>
              <a:gd name="connsiteX38" fmla="*/ 2952750 w 2971294"/>
              <a:gd name="connsiteY38" fmla="*/ 1366837 h 2305041"/>
              <a:gd name="connsiteX39" fmla="*/ 2947987 w 2971294"/>
              <a:gd name="connsiteY39" fmla="*/ 1081087 h 2305041"/>
              <a:gd name="connsiteX40" fmla="*/ 2947987 w 2971294"/>
              <a:gd name="connsiteY40" fmla="*/ 922337 h 2305041"/>
              <a:gd name="connsiteX41" fmla="*/ 2952750 w 2971294"/>
              <a:gd name="connsiteY41" fmla="*/ 571500 h 2305041"/>
              <a:gd name="connsiteX42" fmla="*/ 2957512 w 2971294"/>
              <a:gd name="connsiteY42" fmla="*/ 342900 h 2305041"/>
              <a:gd name="connsiteX43" fmla="*/ 2957512 w 2971294"/>
              <a:gd name="connsiteY43" fmla="*/ 34925 h 2305041"/>
              <a:gd name="connsiteX44" fmla="*/ 2867025 w 2971294"/>
              <a:gd name="connsiteY44" fmla="*/ 19050 h 2305041"/>
              <a:gd name="connsiteX45" fmla="*/ 2724150 w 2971294"/>
              <a:gd name="connsiteY45" fmla="*/ 9525 h 2305041"/>
              <a:gd name="connsiteX46" fmla="*/ 2381250 w 2971294"/>
              <a:gd name="connsiteY46" fmla="*/ 14287 h 2305041"/>
              <a:gd name="connsiteX47" fmla="*/ 2324100 w 2971294"/>
              <a:gd name="connsiteY47" fmla="*/ 23812 h 2305041"/>
              <a:gd name="connsiteX48" fmla="*/ 1909762 w 2971294"/>
              <a:gd name="connsiteY48" fmla="*/ 19050 h 2305041"/>
              <a:gd name="connsiteX49" fmla="*/ 1804987 w 2971294"/>
              <a:gd name="connsiteY49" fmla="*/ 9525 h 2305041"/>
              <a:gd name="connsiteX50" fmla="*/ 1776412 w 2971294"/>
              <a:gd name="connsiteY50" fmla="*/ 0 h 2305041"/>
              <a:gd name="connsiteX51" fmla="*/ 1528762 w 2971294"/>
              <a:gd name="connsiteY51" fmla="*/ 4762 h 2305041"/>
              <a:gd name="connsiteX52" fmla="*/ 1143000 w 2971294"/>
              <a:gd name="connsiteY52" fmla="*/ 38100 h 2305041"/>
              <a:gd name="connsiteX53" fmla="*/ 309562 w 2971294"/>
              <a:gd name="connsiteY53" fmla="*/ 23812 h 2305041"/>
              <a:gd name="connsiteX54" fmla="*/ 247650 w 2971294"/>
              <a:gd name="connsiteY54" fmla="*/ 14287 h 2305041"/>
              <a:gd name="connsiteX55" fmla="*/ 185737 w 2971294"/>
              <a:gd name="connsiteY55" fmla="*/ 9525 h 2305041"/>
              <a:gd name="connsiteX56" fmla="*/ 19050 w 2971294"/>
              <a:gd name="connsiteY56" fmla="*/ 14287 h 2305041"/>
              <a:gd name="connsiteX57" fmla="*/ 4762 w 2971294"/>
              <a:gd name="connsiteY57" fmla="*/ 19050 h 2305041"/>
              <a:gd name="connsiteX58" fmla="*/ 9525 w 2971294"/>
              <a:gd name="connsiteY58" fmla="*/ 85725 h 2305041"/>
              <a:gd name="connsiteX59" fmla="*/ 23812 w 2971294"/>
              <a:gd name="connsiteY59" fmla="*/ 171450 h 2305041"/>
              <a:gd name="connsiteX60" fmla="*/ 14287 w 2971294"/>
              <a:gd name="connsiteY60" fmla="*/ 390525 h 2305041"/>
              <a:gd name="connsiteX61" fmla="*/ 0 w 2971294"/>
              <a:gd name="connsiteY61" fmla="*/ 466725 h 2305041"/>
              <a:gd name="connsiteX62" fmla="*/ 9525 w 2971294"/>
              <a:gd name="connsiteY62" fmla="*/ 800100 h 2305041"/>
              <a:gd name="connsiteX63" fmla="*/ 9525 w 2971294"/>
              <a:gd name="connsiteY63" fmla="*/ 871537 h 2305041"/>
              <a:gd name="connsiteX64" fmla="*/ 14287 w 2971294"/>
              <a:gd name="connsiteY64" fmla="*/ 1157287 h 2305041"/>
              <a:gd name="connsiteX65" fmla="*/ 19050 w 2971294"/>
              <a:gd name="connsiteY65" fmla="*/ 1204912 h 2305041"/>
              <a:gd name="connsiteX66" fmla="*/ 28575 w 2971294"/>
              <a:gd name="connsiteY66" fmla="*/ 1243012 h 2305041"/>
              <a:gd name="connsiteX67" fmla="*/ 33337 w 2971294"/>
              <a:gd name="connsiteY67" fmla="*/ 1328737 h 2305041"/>
              <a:gd name="connsiteX68" fmla="*/ 23812 w 2971294"/>
              <a:gd name="connsiteY68" fmla="*/ 1476375 h 2305041"/>
              <a:gd name="connsiteX69" fmla="*/ 14287 w 2971294"/>
              <a:gd name="connsiteY69" fmla="*/ 1562100 h 2305041"/>
              <a:gd name="connsiteX70" fmla="*/ 9525 w 2971294"/>
              <a:gd name="connsiteY70" fmla="*/ 1819275 h 2305041"/>
              <a:gd name="connsiteX71" fmla="*/ 14287 w 2971294"/>
              <a:gd name="connsiteY71" fmla="*/ 2014537 h 2305041"/>
              <a:gd name="connsiteX72" fmla="*/ 23812 w 2971294"/>
              <a:gd name="connsiteY72" fmla="*/ 2066925 h 2305041"/>
              <a:gd name="connsiteX73" fmla="*/ 28575 w 2971294"/>
              <a:gd name="connsiteY73" fmla="*/ 2152650 h 2305041"/>
              <a:gd name="connsiteX74" fmla="*/ 23812 w 2971294"/>
              <a:gd name="connsiteY74" fmla="*/ 2238375 h 2305041"/>
              <a:gd name="connsiteX75" fmla="*/ 14287 w 2971294"/>
              <a:gd name="connsiteY75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1147762 w 2971294"/>
              <a:gd name="connsiteY19" fmla="*/ 423862 h 2305041"/>
              <a:gd name="connsiteX20" fmla="*/ 1209675 w 2971294"/>
              <a:gd name="connsiteY20" fmla="*/ 414337 h 2305041"/>
              <a:gd name="connsiteX21" fmla="*/ 1238250 w 2971294"/>
              <a:gd name="connsiteY21" fmla="*/ 409575 h 2305041"/>
              <a:gd name="connsiteX22" fmla="*/ 2571750 w 2971294"/>
              <a:gd name="connsiteY22" fmla="*/ 404812 h 2305041"/>
              <a:gd name="connsiteX23" fmla="*/ 2609850 w 2971294"/>
              <a:gd name="connsiteY23" fmla="*/ 423862 h 2305041"/>
              <a:gd name="connsiteX24" fmla="*/ 2619375 w 2971294"/>
              <a:gd name="connsiteY24" fmla="*/ 457200 h 2305041"/>
              <a:gd name="connsiteX25" fmla="*/ 2609850 w 2971294"/>
              <a:gd name="connsiteY25" fmla="*/ 614362 h 2305041"/>
              <a:gd name="connsiteX26" fmla="*/ 2600325 w 2971294"/>
              <a:gd name="connsiteY26" fmla="*/ 1176337 h 2305041"/>
              <a:gd name="connsiteX27" fmla="*/ 2605087 w 2971294"/>
              <a:gd name="connsiteY27" fmla="*/ 1209675 h 2305041"/>
              <a:gd name="connsiteX28" fmla="*/ 2608262 w 2971294"/>
              <a:gd name="connsiteY28" fmla="*/ 1514475 h 2305041"/>
              <a:gd name="connsiteX29" fmla="*/ 2614612 w 2971294"/>
              <a:gd name="connsiteY29" fmla="*/ 2066925 h 2305041"/>
              <a:gd name="connsiteX30" fmla="*/ 2616200 w 2971294"/>
              <a:gd name="connsiteY30" fmla="*/ 2203450 h 2305041"/>
              <a:gd name="connsiteX31" fmla="*/ 2624137 w 2971294"/>
              <a:gd name="connsiteY31" fmla="*/ 2292350 h 2305041"/>
              <a:gd name="connsiteX32" fmla="*/ 2851150 w 2971294"/>
              <a:gd name="connsiteY32" fmla="*/ 2303462 h 2305041"/>
              <a:gd name="connsiteX33" fmla="*/ 2967037 w 2971294"/>
              <a:gd name="connsiteY33" fmla="*/ 2282825 h 2305041"/>
              <a:gd name="connsiteX34" fmla="*/ 2947987 w 2971294"/>
              <a:gd name="connsiteY34" fmla="*/ 2181225 h 2305041"/>
              <a:gd name="connsiteX35" fmla="*/ 2955925 w 2971294"/>
              <a:gd name="connsiteY35" fmla="*/ 2008187 h 2305041"/>
              <a:gd name="connsiteX36" fmla="*/ 2962275 w 2971294"/>
              <a:gd name="connsiteY36" fmla="*/ 1804987 h 2305041"/>
              <a:gd name="connsiteX37" fmla="*/ 2952750 w 2971294"/>
              <a:gd name="connsiteY37" fmla="*/ 1366837 h 2305041"/>
              <a:gd name="connsiteX38" fmla="*/ 2947987 w 2971294"/>
              <a:gd name="connsiteY38" fmla="*/ 1081087 h 2305041"/>
              <a:gd name="connsiteX39" fmla="*/ 2947987 w 2971294"/>
              <a:gd name="connsiteY39" fmla="*/ 922337 h 2305041"/>
              <a:gd name="connsiteX40" fmla="*/ 2952750 w 2971294"/>
              <a:gd name="connsiteY40" fmla="*/ 571500 h 2305041"/>
              <a:gd name="connsiteX41" fmla="*/ 2957512 w 2971294"/>
              <a:gd name="connsiteY41" fmla="*/ 342900 h 2305041"/>
              <a:gd name="connsiteX42" fmla="*/ 2957512 w 2971294"/>
              <a:gd name="connsiteY42" fmla="*/ 34925 h 2305041"/>
              <a:gd name="connsiteX43" fmla="*/ 2867025 w 2971294"/>
              <a:gd name="connsiteY43" fmla="*/ 19050 h 2305041"/>
              <a:gd name="connsiteX44" fmla="*/ 2724150 w 2971294"/>
              <a:gd name="connsiteY44" fmla="*/ 9525 h 2305041"/>
              <a:gd name="connsiteX45" fmla="*/ 2381250 w 2971294"/>
              <a:gd name="connsiteY45" fmla="*/ 14287 h 2305041"/>
              <a:gd name="connsiteX46" fmla="*/ 2324100 w 2971294"/>
              <a:gd name="connsiteY46" fmla="*/ 23812 h 2305041"/>
              <a:gd name="connsiteX47" fmla="*/ 1909762 w 2971294"/>
              <a:gd name="connsiteY47" fmla="*/ 19050 h 2305041"/>
              <a:gd name="connsiteX48" fmla="*/ 1804987 w 2971294"/>
              <a:gd name="connsiteY48" fmla="*/ 9525 h 2305041"/>
              <a:gd name="connsiteX49" fmla="*/ 1776412 w 2971294"/>
              <a:gd name="connsiteY49" fmla="*/ 0 h 2305041"/>
              <a:gd name="connsiteX50" fmla="*/ 1528762 w 2971294"/>
              <a:gd name="connsiteY50" fmla="*/ 4762 h 2305041"/>
              <a:gd name="connsiteX51" fmla="*/ 1143000 w 2971294"/>
              <a:gd name="connsiteY51" fmla="*/ 38100 h 2305041"/>
              <a:gd name="connsiteX52" fmla="*/ 309562 w 2971294"/>
              <a:gd name="connsiteY52" fmla="*/ 23812 h 2305041"/>
              <a:gd name="connsiteX53" fmla="*/ 247650 w 2971294"/>
              <a:gd name="connsiteY53" fmla="*/ 14287 h 2305041"/>
              <a:gd name="connsiteX54" fmla="*/ 185737 w 2971294"/>
              <a:gd name="connsiteY54" fmla="*/ 9525 h 2305041"/>
              <a:gd name="connsiteX55" fmla="*/ 19050 w 2971294"/>
              <a:gd name="connsiteY55" fmla="*/ 14287 h 2305041"/>
              <a:gd name="connsiteX56" fmla="*/ 4762 w 2971294"/>
              <a:gd name="connsiteY56" fmla="*/ 19050 h 2305041"/>
              <a:gd name="connsiteX57" fmla="*/ 9525 w 2971294"/>
              <a:gd name="connsiteY57" fmla="*/ 85725 h 2305041"/>
              <a:gd name="connsiteX58" fmla="*/ 23812 w 2971294"/>
              <a:gd name="connsiteY58" fmla="*/ 171450 h 2305041"/>
              <a:gd name="connsiteX59" fmla="*/ 14287 w 2971294"/>
              <a:gd name="connsiteY59" fmla="*/ 390525 h 2305041"/>
              <a:gd name="connsiteX60" fmla="*/ 0 w 2971294"/>
              <a:gd name="connsiteY60" fmla="*/ 466725 h 2305041"/>
              <a:gd name="connsiteX61" fmla="*/ 9525 w 2971294"/>
              <a:gd name="connsiteY61" fmla="*/ 800100 h 2305041"/>
              <a:gd name="connsiteX62" fmla="*/ 9525 w 2971294"/>
              <a:gd name="connsiteY62" fmla="*/ 871537 h 2305041"/>
              <a:gd name="connsiteX63" fmla="*/ 14287 w 2971294"/>
              <a:gd name="connsiteY63" fmla="*/ 1157287 h 2305041"/>
              <a:gd name="connsiteX64" fmla="*/ 19050 w 2971294"/>
              <a:gd name="connsiteY64" fmla="*/ 1204912 h 2305041"/>
              <a:gd name="connsiteX65" fmla="*/ 28575 w 2971294"/>
              <a:gd name="connsiteY65" fmla="*/ 1243012 h 2305041"/>
              <a:gd name="connsiteX66" fmla="*/ 33337 w 2971294"/>
              <a:gd name="connsiteY66" fmla="*/ 1328737 h 2305041"/>
              <a:gd name="connsiteX67" fmla="*/ 23812 w 2971294"/>
              <a:gd name="connsiteY67" fmla="*/ 1476375 h 2305041"/>
              <a:gd name="connsiteX68" fmla="*/ 14287 w 2971294"/>
              <a:gd name="connsiteY68" fmla="*/ 1562100 h 2305041"/>
              <a:gd name="connsiteX69" fmla="*/ 9525 w 2971294"/>
              <a:gd name="connsiteY69" fmla="*/ 1819275 h 2305041"/>
              <a:gd name="connsiteX70" fmla="*/ 14287 w 2971294"/>
              <a:gd name="connsiteY70" fmla="*/ 2014537 h 2305041"/>
              <a:gd name="connsiteX71" fmla="*/ 23812 w 2971294"/>
              <a:gd name="connsiteY71" fmla="*/ 2066925 h 2305041"/>
              <a:gd name="connsiteX72" fmla="*/ 28575 w 2971294"/>
              <a:gd name="connsiteY72" fmla="*/ 2152650 h 2305041"/>
              <a:gd name="connsiteX73" fmla="*/ 23812 w 2971294"/>
              <a:gd name="connsiteY73" fmla="*/ 2238375 h 2305041"/>
              <a:gd name="connsiteX74" fmla="*/ 14287 w 2971294"/>
              <a:gd name="connsiteY74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1209675 w 2971294"/>
              <a:gd name="connsiteY19" fmla="*/ 414337 h 2305041"/>
              <a:gd name="connsiteX20" fmla="*/ 1238250 w 2971294"/>
              <a:gd name="connsiteY20" fmla="*/ 409575 h 2305041"/>
              <a:gd name="connsiteX21" fmla="*/ 2571750 w 2971294"/>
              <a:gd name="connsiteY21" fmla="*/ 404812 h 2305041"/>
              <a:gd name="connsiteX22" fmla="*/ 2609850 w 2971294"/>
              <a:gd name="connsiteY22" fmla="*/ 423862 h 2305041"/>
              <a:gd name="connsiteX23" fmla="*/ 2619375 w 2971294"/>
              <a:gd name="connsiteY23" fmla="*/ 457200 h 2305041"/>
              <a:gd name="connsiteX24" fmla="*/ 2609850 w 2971294"/>
              <a:gd name="connsiteY24" fmla="*/ 614362 h 2305041"/>
              <a:gd name="connsiteX25" fmla="*/ 2600325 w 2971294"/>
              <a:gd name="connsiteY25" fmla="*/ 1176337 h 2305041"/>
              <a:gd name="connsiteX26" fmla="*/ 2605087 w 2971294"/>
              <a:gd name="connsiteY26" fmla="*/ 1209675 h 2305041"/>
              <a:gd name="connsiteX27" fmla="*/ 2608262 w 2971294"/>
              <a:gd name="connsiteY27" fmla="*/ 1514475 h 2305041"/>
              <a:gd name="connsiteX28" fmla="*/ 2614612 w 2971294"/>
              <a:gd name="connsiteY28" fmla="*/ 2066925 h 2305041"/>
              <a:gd name="connsiteX29" fmla="*/ 2616200 w 2971294"/>
              <a:gd name="connsiteY29" fmla="*/ 2203450 h 2305041"/>
              <a:gd name="connsiteX30" fmla="*/ 2624137 w 2971294"/>
              <a:gd name="connsiteY30" fmla="*/ 2292350 h 2305041"/>
              <a:gd name="connsiteX31" fmla="*/ 2851150 w 2971294"/>
              <a:gd name="connsiteY31" fmla="*/ 2303462 h 2305041"/>
              <a:gd name="connsiteX32" fmla="*/ 2967037 w 2971294"/>
              <a:gd name="connsiteY32" fmla="*/ 2282825 h 2305041"/>
              <a:gd name="connsiteX33" fmla="*/ 2947987 w 2971294"/>
              <a:gd name="connsiteY33" fmla="*/ 2181225 h 2305041"/>
              <a:gd name="connsiteX34" fmla="*/ 2955925 w 2971294"/>
              <a:gd name="connsiteY34" fmla="*/ 2008187 h 2305041"/>
              <a:gd name="connsiteX35" fmla="*/ 2962275 w 2971294"/>
              <a:gd name="connsiteY35" fmla="*/ 1804987 h 2305041"/>
              <a:gd name="connsiteX36" fmla="*/ 2952750 w 2971294"/>
              <a:gd name="connsiteY36" fmla="*/ 1366837 h 2305041"/>
              <a:gd name="connsiteX37" fmla="*/ 2947987 w 2971294"/>
              <a:gd name="connsiteY37" fmla="*/ 1081087 h 2305041"/>
              <a:gd name="connsiteX38" fmla="*/ 2947987 w 2971294"/>
              <a:gd name="connsiteY38" fmla="*/ 922337 h 2305041"/>
              <a:gd name="connsiteX39" fmla="*/ 2952750 w 2971294"/>
              <a:gd name="connsiteY39" fmla="*/ 571500 h 2305041"/>
              <a:gd name="connsiteX40" fmla="*/ 2957512 w 2971294"/>
              <a:gd name="connsiteY40" fmla="*/ 342900 h 2305041"/>
              <a:gd name="connsiteX41" fmla="*/ 2957512 w 2971294"/>
              <a:gd name="connsiteY41" fmla="*/ 34925 h 2305041"/>
              <a:gd name="connsiteX42" fmla="*/ 2867025 w 2971294"/>
              <a:gd name="connsiteY42" fmla="*/ 19050 h 2305041"/>
              <a:gd name="connsiteX43" fmla="*/ 2724150 w 2971294"/>
              <a:gd name="connsiteY43" fmla="*/ 9525 h 2305041"/>
              <a:gd name="connsiteX44" fmla="*/ 2381250 w 2971294"/>
              <a:gd name="connsiteY44" fmla="*/ 14287 h 2305041"/>
              <a:gd name="connsiteX45" fmla="*/ 2324100 w 2971294"/>
              <a:gd name="connsiteY45" fmla="*/ 23812 h 2305041"/>
              <a:gd name="connsiteX46" fmla="*/ 1909762 w 2971294"/>
              <a:gd name="connsiteY46" fmla="*/ 19050 h 2305041"/>
              <a:gd name="connsiteX47" fmla="*/ 1804987 w 2971294"/>
              <a:gd name="connsiteY47" fmla="*/ 9525 h 2305041"/>
              <a:gd name="connsiteX48" fmla="*/ 1776412 w 2971294"/>
              <a:gd name="connsiteY48" fmla="*/ 0 h 2305041"/>
              <a:gd name="connsiteX49" fmla="*/ 1528762 w 2971294"/>
              <a:gd name="connsiteY49" fmla="*/ 4762 h 2305041"/>
              <a:gd name="connsiteX50" fmla="*/ 1143000 w 2971294"/>
              <a:gd name="connsiteY50" fmla="*/ 38100 h 2305041"/>
              <a:gd name="connsiteX51" fmla="*/ 309562 w 2971294"/>
              <a:gd name="connsiteY51" fmla="*/ 23812 h 2305041"/>
              <a:gd name="connsiteX52" fmla="*/ 247650 w 2971294"/>
              <a:gd name="connsiteY52" fmla="*/ 14287 h 2305041"/>
              <a:gd name="connsiteX53" fmla="*/ 185737 w 2971294"/>
              <a:gd name="connsiteY53" fmla="*/ 9525 h 2305041"/>
              <a:gd name="connsiteX54" fmla="*/ 19050 w 2971294"/>
              <a:gd name="connsiteY54" fmla="*/ 14287 h 2305041"/>
              <a:gd name="connsiteX55" fmla="*/ 4762 w 2971294"/>
              <a:gd name="connsiteY55" fmla="*/ 19050 h 2305041"/>
              <a:gd name="connsiteX56" fmla="*/ 9525 w 2971294"/>
              <a:gd name="connsiteY56" fmla="*/ 85725 h 2305041"/>
              <a:gd name="connsiteX57" fmla="*/ 23812 w 2971294"/>
              <a:gd name="connsiteY57" fmla="*/ 171450 h 2305041"/>
              <a:gd name="connsiteX58" fmla="*/ 14287 w 2971294"/>
              <a:gd name="connsiteY58" fmla="*/ 390525 h 2305041"/>
              <a:gd name="connsiteX59" fmla="*/ 0 w 2971294"/>
              <a:gd name="connsiteY59" fmla="*/ 466725 h 2305041"/>
              <a:gd name="connsiteX60" fmla="*/ 9525 w 2971294"/>
              <a:gd name="connsiteY60" fmla="*/ 800100 h 2305041"/>
              <a:gd name="connsiteX61" fmla="*/ 9525 w 2971294"/>
              <a:gd name="connsiteY61" fmla="*/ 871537 h 2305041"/>
              <a:gd name="connsiteX62" fmla="*/ 14287 w 2971294"/>
              <a:gd name="connsiteY62" fmla="*/ 1157287 h 2305041"/>
              <a:gd name="connsiteX63" fmla="*/ 19050 w 2971294"/>
              <a:gd name="connsiteY63" fmla="*/ 1204912 h 2305041"/>
              <a:gd name="connsiteX64" fmla="*/ 28575 w 2971294"/>
              <a:gd name="connsiteY64" fmla="*/ 1243012 h 2305041"/>
              <a:gd name="connsiteX65" fmla="*/ 33337 w 2971294"/>
              <a:gd name="connsiteY65" fmla="*/ 1328737 h 2305041"/>
              <a:gd name="connsiteX66" fmla="*/ 23812 w 2971294"/>
              <a:gd name="connsiteY66" fmla="*/ 1476375 h 2305041"/>
              <a:gd name="connsiteX67" fmla="*/ 14287 w 2971294"/>
              <a:gd name="connsiteY67" fmla="*/ 1562100 h 2305041"/>
              <a:gd name="connsiteX68" fmla="*/ 9525 w 2971294"/>
              <a:gd name="connsiteY68" fmla="*/ 1819275 h 2305041"/>
              <a:gd name="connsiteX69" fmla="*/ 14287 w 2971294"/>
              <a:gd name="connsiteY69" fmla="*/ 2014537 h 2305041"/>
              <a:gd name="connsiteX70" fmla="*/ 23812 w 2971294"/>
              <a:gd name="connsiteY70" fmla="*/ 2066925 h 2305041"/>
              <a:gd name="connsiteX71" fmla="*/ 28575 w 2971294"/>
              <a:gd name="connsiteY71" fmla="*/ 2152650 h 2305041"/>
              <a:gd name="connsiteX72" fmla="*/ 23812 w 2971294"/>
              <a:gd name="connsiteY72" fmla="*/ 2238375 h 2305041"/>
              <a:gd name="connsiteX73" fmla="*/ 14287 w 2971294"/>
              <a:gd name="connsiteY73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881062 w 2971294"/>
              <a:gd name="connsiteY17" fmla="*/ 414337 h 2305041"/>
              <a:gd name="connsiteX18" fmla="*/ 1209675 w 2971294"/>
              <a:gd name="connsiteY18" fmla="*/ 414337 h 2305041"/>
              <a:gd name="connsiteX19" fmla="*/ 1238250 w 2971294"/>
              <a:gd name="connsiteY19" fmla="*/ 409575 h 2305041"/>
              <a:gd name="connsiteX20" fmla="*/ 2571750 w 2971294"/>
              <a:gd name="connsiteY20" fmla="*/ 404812 h 2305041"/>
              <a:gd name="connsiteX21" fmla="*/ 2609850 w 2971294"/>
              <a:gd name="connsiteY21" fmla="*/ 423862 h 2305041"/>
              <a:gd name="connsiteX22" fmla="*/ 2619375 w 2971294"/>
              <a:gd name="connsiteY22" fmla="*/ 457200 h 2305041"/>
              <a:gd name="connsiteX23" fmla="*/ 2609850 w 2971294"/>
              <a:gd name="connsiteY23" fmla="*/ 614362 h 2305041"/>
              <a:gd name="connsiteX24" fmla="*/ 2600325 w 2971294"/>
              <a:gd name="connsiteY24" fmla="*/ 1176337 h 2305041"/>
              <a:gd name="connsiteX25" fmla="*/ 2605087 w 2971294"/>
              <a:gd name="connsiteY25" fmla="*/ 1209675 h 2305041"/>
              <a:gd name="connsiteX26" fmla="*/ 2608262 w 2971294"/>
              <a:gd name="connsiteY26" fmla="*/ 1514475 h 2305041"/>
              <a:gd name="connsiteX27" fmla="*/ 2614612 w 2971294"/>
              <a:gd name="connsiteY27" fmla="*/ 2066925 h 2305041"/>
              <a:gd name="connsiteX28" fmla="*/ 2616200 w 2971294"/>
              <a:gd name="connsiteY28" fmla="*/ 2203450 h 2305041"/>
              <a:gd name="connsiteX29" fmla="*/ 2624137 w 2971294"/>
              <a:gd name="connsiteY29" fmla="*/ 2292350 h 2305041"/>
              <a:gd name="connsiteX30" fmla="*/ 2851150 w 2971294"/>
              <a:gd name="connsiteY30" fmla="*/ 2303462 h 2305041"/>
              <a:gd name="connsiteX31" fmla="*/ 2967037 w 2971294"/>
              <a:gd name="connsiteY31" fmla="*/ 2282825 h 2305041"/>
              <a:gd name="connsiteX32" fmla="*/ 2947987 w 2971294"/>
              <a:gd name="connsiteY32" fmla="*/ 2181225 h 2305041"/>
              <a:gd name="connsiteX33" fmla="*/ 2955925 w 2971294"/>
              <a:gd name="connsiteY33" fmla="*/ 2008187 h 2305041"/>
              <a:gd name="connsiteX34" fmla="*/ 2962275 w 2971294"/>
              <a:gd name="connsiteY34" fmla="*/ 1804987 h 2305041"/>
              <a:gd name="connsiteX35" fmla="*/ 2952750 w 2971294"/>
              <a:gd name="connsiteY35" fmla="*/ 1366837 h 2305041"/>
              <a:gd name="connsiteX36" fmla="*/ 2947987 w 2971294"/>
              <a:gd name="connsiteY36" fmla="*/ 1081087 h 2305041"/>
              <a:gd name="connsiteX37" fmla="*/ 2947987 w 2971294"/>
              <a:gd name="connsiteY37" fmla="*/ 922337 h 2305041"/>
              <a:gd name="connsiteX38" fmla="*/ 2952750 w 2971294"/>
              <a:gd name="connsiteY38" fmla="*/ 571500 h 2305041"/>
              <a:gd name="connsiteX39" fmla="*/ 2957512 w 2971294"/>
              <a:gd name="connsiteY39" fmla="*/ 342900 h 2305041"/>
              <a:gd name="connsiteX40" fmla="*/ 2957512 w 2971294"/>
              <a:gd name="connsiteY40" fmla="*/ 34925 h 2305041"/>
              <a:gd name="connsiteX41" fmla="*/ 2867025 w 2971294"/>
              <a:gd name="connsiteY41" fmla="*/ 19050 h 2305041"/>
              <a:gd name="connsiteX42" fmla="*/ 2724150 w 2971294"/>
              <a:gd name="connsiteY42" fmla="*/ 9525 h 2305041"/>
              <a:gd name="connsiteX43" fmla="*/ 2381250 w 2971294"/>
              <a:gd name="connsiteY43" fmla="*/ 14287 h 2305041"/>
              <a:gd name="connsiteX44" fmla="*/ 2324100 w 2971294"/>
              <a:gd name="connsiteY44" fmla="*/ 23812 h 2305041"/>
              <a:gd name="connsiteX45" fmla="*/ 1909762 w 2971294"/>
              <a:gd name="connsiteY45" fmla="*/ 19050 h 2305041"/>
              <a:gd name="connsiteX46" fmla="*/ 1804987 w 2971294"/>
              <a:gd name="connsiteY46" fmla="*/ 9525 h 2305041"/>
              <a:gd name="connsiteX47" fmla="*/ 1776412 w 2971294"/>
              <a:gd name="connsiteY47" fmla="*/ 0 h 2305041"/>
              <a:gd name="connsiteX48" fmla="*/ 1528762 w 2971294"/>
              <a:gd name="connsiteY48" fmla="*/ 4762 h 2305041"/>
              <a:gd name="connsiteX49" fmla="*/ 1143000 w 2971294"/>
              <a:gd name="connsiteY49" fmla="*/ 38100 h 2305041"/>
              <a:gd name="connsiteX50" fmla="*/ 309562 w 2971294"/>
              <a:gd name="connsiteY50" fmla="*/ 23812 h 2305041"/>
              <a:gd name="connsiteX51" fmla="*/ 247650 w 2971294"/>
              <a:gd name="connsiteY51" fmla="*/ 14287 h 2305041"/>
              <a:gd name="connsiteX52" fmla="*/ 185737 w 2971294"/>
              <a:gd name="connsiteY52" fmla="*/ 9525 h 2305041"/>
              <a:gd name="connsiteX53" fmla="*/ 19050 w 2971294"/>
              <a:gd name="connsiteY53" fmla="*/ 14287 h 2305041"/>
              <a:gd name="connsiteX54" fmla="*/ 4762 w 2971294"/>
              <a:gd name="connsiteY54" fmla="*/ 19050 h 2305041"/>
              <a:gd name="connsiteX55" fmla="*/ 9525 w 2971294"/>
              <a:gd name="connsiteY55" fmla="*/ 85725 h 2305041"/>
              <a:gd name="connsiteX56" fmla="*/ 23812 w 2971294"/>
              <a:gd name="connsiteY56" fmla="*/ 171450 h 2305041"/>
              <a:gd name="connsiteX57" fmla="*/ 14287 w 2971294"/>
              <a:gd name="connsiteY57" fmla="*/ 390525 h 2305041"/>
              <a:gd name="connsiteX58" fmla="*/ 0 w 2971294"/>
              <a:gd name="connsiteY58" fmla="*/ 466725 h 2305041"/>
              <a:gd name="connsiteX59" fmla="*/ 9525 w 2971294"/>
              <a:gd name="connsiteY59" fmla="*/ 800100 h 2305041"/>
              <a:gd name="connsiteX60" fmla="*/ 9525 w 2971294"/>
              <a:gd name="connsiteY60" fmla="*/ 871537 h 2305041"/>
              <a:gd name="connsiteX61" fmla="*/ 14287 w 2971294"/>
              <a:gd name="connsiteY61" fmla="*/ 1157287 h 2305041"/>
              <a:gd name="connsiteX62" fmla="*/ 19050 w 2971294"/>
              <a:gd name="connsiteY62" fmla="*/ 1204912 h 2305041"/>
              <a:gd name="connsiteX63" fmla="*/ 28575 w 2971294"/>
              <a:gd name="connsiteY63" fmla="*/ 1243012 h 2305041"/>
              <a:gd name="connsiteX64" fmla="*/ 33337 w 2971294"/>
              <a:gd name="connsiteY64" fmla="*/ 1328737 h 2305041"/>
              <a:gd name="connsiteX65" fmla="*/ 23812 w 2971294"/>
              <a:gd name="connsiteY65" fmla="*/ 1476375 h 2305041"/>
              <a:gd name="connsiteX66" fmla="*/ 14287 w 2971294"/>
              <a:gd name="connsiteY66" fmla="*/ 1562100 h 2305041"/>
              <a:gd name="connsiteX67" fmla="*/ 9525 w 2971294"/>
              <a:gd name="connsiteY67" fmla="*/ 1819275 h 2305041"/>
              <a:gd name="connsiteX68" fmla="*/ 14287 w 2971294"/>
              <a:gd name="connsiteY68" fmla="*/ 2014537 h 2305041"/>
              <a:gd name="connsiteX69" fmla="*/ 23812 w 2971294"/>
              <a:gd name="connsiteY69" fmla="*/ 2066925 h 2305041"/>
              <a:gd name="connsiteX70" fmla="*/ 28575 w 2971294"/>
              <a:gd name="connsiteY70" fmla="*/ 2152650 h 2305041"/>
              <a:gd name="connsiteX71" fmla="*/ 23812 w 2971294"/>
              <a:gd name="connsiteY71" fmla="*/ 2238375 h 2305041"/>
              <a:gd name="connsiteX72" fmla="*/ 14287 w 2971294"/>
              <a:gd name="connsiteY72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1475 w 2971294"/>
              <a:gd name="connsiteY13" fmla="*/ 471487 h 2305041"/>
              <a:gd name="connsiteX14" fmla="*/ 376237 w 2971294"/>
              <a:gd name="connsiteY14" fmla="*/ 414337 h 2305041"/>
              <a:gd name="connsiteX15" fmla="*/ 433387 w 2971294"/>
              <a:gd name="connsiteY15" fmla="*/ 419100 h 2305041"/>
              <a:gd name="connsiteX16" fmla="*/ 881062 w 2971294"/>
              <a:gd name="connsiteY16" fmla="*/ 414337 h 2305041"/>
              <a:gd name="connsiteX17" fmla="*/ 1209675 w 2971294"/>
              <a:gd name="connsiteY17" fmla="*/ 414337 h 2305041"/>
              <a:gd name="connsiteX18" fmla="*/ 1238250 w 2971294"/>
              <a:gd name="connsiteY18" fmla="*/ 409575 h 2305041"/>
              <a:gd name="connsiteX19" fmla="*/ 2571750 w 2971294"/>
              <a:gd name="connsiteY19" fmla="*/ 404812 h 2305041"/>
              <a:gd name="connsiteX20" fmla="*/ 2609850 w 2971294"/>
              <a:gd name="connsiteY20" fmla="*/ 423862 h 2305041"/>
              <a:gd name="connsiteX21" fmla="*/ 2619375 w 2971294"/>
              <a:gd name="connsiteY21" fmla="*/ 457200 h 2305041"/>
              <a:gd name="connsiteX22" fmla="*/ 2609850 w 2971294"/>
              <a:gd name="connsiteY22" fmla="*/ 614362 h 2305041"/>
              <a:gd name="connsiteX23" fmla="*/ 2600325 w 2971294"/>
              <a:gd name="connsiteY23" fmla="*/ 1176337 h 2305041"/>
              <a:gd name="connsiteX24" fmla="*/ 2605087 w 2971294"/>
              <a:gd name="connsiteY24" fmla="*/ 1209675 h 2305041"/>
              <a:gd name="connsiteX25" fmla="*/ 2608262 w 2971294"/>
              <a:gd name="connsiteY25" fmla="*/ 1514475 h 2305041"/>
              <a:gd name="connsiteX26" fmla="*/ 2614612 w 2971294"/>
              <a:gd name="connsiteY26" fmla="*/ 2066925 h 2305041"/>
              <a:gd name="connsiteX27" fmla="*/ 2616200 w 2971294"/>
              <a:gd name="connsiteY27" fmla="*/ 2203450 h 2305041"/>
              <a:gd name="connsiteX28" fmla="*/ 2624137 w 2971294"/>
              <a:gd name="connsiteY28" fmla="*/ 2292350 h 2305041"/>
              <a:gd name="connsiteX29" fmla="*/ 2851150 w 2971294"/>
              <a:gd name="connsiteY29" fmla="*/ 2303462 h 2305041"/>
              <a:gd name="connsiteX30" fmla="*/ 2967037 w 2971294"/>
              <a:gd name="connsiteY30" fmla="*/ 2282825 h 2305041"/>
              <a:gd name="connsiteX31" fmla="*/ 2947987 w 2971294"/>
              <a:gd name="connsiteY31" fmla="*/ 2181225 h 2305041"/>
              <a:gd name="connsiteX32" fmla="*/ 2955925 w 2971294"/>
              <a:gd name="connsiteY32" fmla="*/ 2008187 h 2305041"/>
              <a:gd name="connsiteX33" fmla="*/ 2962275 w 2971294"/>
              <a:gd name="connsiteY33" fmla="*/ 1804987 h 2305041"/>
              <a:gd name="connsiteX34" fmla="*/ 2952750 w 2971294"/>
              <a:gd name="connsiteY34" fmla="*/ 1366837 h 2305041"/>
              <a:gd name="connsiteX35" fmla="*/ 2947987 w 2971294"/>
              <a:gd name="connsiteY35" fmla="*/ 1081087 h 2305041"/>
              <a:gd name="connsiteX36" fmla="*/ 2947987 w 2971294"/>
              <a:gd name="connsiteY36" fmla="*/ 922337 h 2305041"/>
              <a:gd name="connsiteX37" fmla="*/ 2952750 w 2971294"/>
              <a:gd name="connsiteY37" fmla="*/ 571500 h 2305041"/>
              <a:gd name="connsiteX38" fmla="*/ 2957512 w 2971294"/>
              <a:gd name="connsiteY38" fmla="*/ 342900 h 2305041"/>
              <a:gd name="connsiteX39" fmla="*/ 2957512 w 2971294"/>
              <a:gd name="connsiteY39" fmla="*/ 34925 h 2305041"/>
              <a:gd name="connsiteX40" fmla="*/ 2867025 w 2971294"/>
              <a:gd name="connsiteY40" fmla="*/ 19050 h 2305041"/>
              <a:gd name="connsiteX41" fmla="*/ 2724150 w 2971294"/>
              <a:gd name="connsiteY41" fmla="*/ 9525 h 2305041"/>
              <a:gd name="connsiteX42" fmla="*/ 2381250 w 2971294"/>
              <a:gd name="connsiteY42" fmla="*/ 14287 h 2305041"/>
              <a:gd name="connsiteX43" fmla="*/ 2324100 w 2971294"/>
              <a:gd name="connsiteY43" fmla="*/ 23812 h 2305041"/>
              <a:gd name="connsiteX44" fmla="*/ 1909762 w 2971294"/>
              <a:gd name="connsiteY44" fmla="*/ 19050 h 2305041"/>
              <a:gd name="connsiteX45" fmla="*/ 1804987 w 2971294"/>
              <a:gd name="connsiteY45" fmla="*/ 9525 h 2305041"/>
              <a:gd name="connsiteX46" fmla="*/ 1776412 w 2971294"/>
              <a:gd name="connsiteY46" fmla="*/ 0 h 2305041"/>
              <a:gd name="connsiteX47" fmla="*/ 1528762 w 2971294"/>
              <a:gd name="connsiteY47" fmla="*/ 4762 h 2305041"/>
              <a:gd name="connsiteX48" fmla="*/ 1143000 w 2971294"/>
              <a:gd name="connsiteY48" fmla="*/ 38100 h 2305041"/>
              <a:gd name="connsiteX49" fmla="*/ 309562 w 2971294"/>
              <a:gd name="connsiteY49" fmla="*/ 23812 h 2305041"/>
              <a:gd name="connsiteX50" fmla="*/ 247650 w 2971294"/>
              <a:gd name="connsiteY50" fmla="*/ 14287 h 2305041"/>
              <a:gd name="connsiteX51" fmla="*/ 185737 w 2971294"/>
              <a:gd name="connsiteY51" fmla="*/ 9525 h 2305041"/>
              <a:gd name="connsiteX52" fmla="*/ 19050 w 2971294"/>
              <a:gd name="connsiteY52" fmla="*/ 14287 h 2305041"/>
              <a:gd name="connsiteX53" fmla="*/ 4762 w 2971294"/>
              <a:gd name="connsiteY53" fmla="*/ 19050 h 2305041"/>
              <a:gd name="connsiteX54" fmla="*/ 9525 w 2971294"/>
              <a:gd name="connsiteY54" fmla="*/ 85725 h 2305041"/>
              <a:gd name="connsiteX55" fmla="*/ 23812 w 2971294"/>
              <a:gd name="connsiteY55" fmla="*/ 171450 h 2305041"/>
              <a:gd name="connsiteX56" fmla="*/ 14287 w 2971294"/>
              <a:gd name="connsiteY56" fmla="*/ 390525 h 2305041"/>
              <a:gd name="connsiteX57" fmla="*/ 0 w 2971294"/>
              <a:gd name="connsiteY57" fmla="*/ 466725 h 2305041"/>
              <a:gd name="connsiteX58" fmla="*/ 9525 w 2971294"/>
              <a:gd name="connsiteY58" fmla="*/ 800100 h 2305041"/>
              <a:gd name="connsiteX59" fmla="*/ 9525 w 2971294"/>
              <a:gd name="connsiteY59" fmla="*/ 871537 h 2305041"/>
              <a:gd name="connsiteX60" fmla="*/ 14287 w 2971294"/>
              <a:gd name="connsiteY60" fmla="*/ 1157287 h 2305041"/>
              <a:gd name="connsiteX61" fmla="*/ 19050 w 2971294"/>
              <a:gd name="connsiteY61" fmla="*/ 1204912 h 2305041"/>
              <a:gd name="connsiteX62" fmla="*/ 28575 w 2971294"/>
              <a:gd name="connsiteY62" fmla="*/ 1243012 h 2305041"/>
              <a:gd name="connsiteX63" fmla="*/ 33337 w 2971294"/>
              <a:gd name="connsiteY63" fmla="*/ 1328737 h 2305041"/>
              <a:gd name="connsiteX64" fmla="*/ 23812 w 2971294"/>
              <a:gd name="connsiteY64" fmla="*/ 1476375 h 2305041"/>
              <a:gd name="connsiteX65" fmla="*/ 14287 w 2971294"/>
              <a:gd name="connsiteY65" fmla="*/ 1562100 h 2305041"/>
              <a:gd name="connsiteX66" fmla="*/ 9525 w 2971294"/>
              <a:gd name="connsiteY66" fmla="*/ 1819275 h 2305041"/>
              <a:gd name="connsiteX67" fmla="*/ 14287 w 2971294"/>
              <a:gd name="connsiteY67" fmla="*/ 2014537 h 2305041"/>
              <a:gd name="connsiteX68" fmla="*/ 23812 w 2971294"/>
              <a:gd name="connsiteY68" fmla="*/ 2066925 h 2305041"/>
              <a:gd name="connsiteX69" fmla="*/ 28575 w 2971294"/>
              <a:gd name="connsiteY69" fmla="*/ 2152650 h 2305041"/>
              <a:gd name="connsiteX70" fmla="*/ 23812 w 2971294"/>
              <a:gd name="connsiteY70" fmla="*/ 2238375 h 2305041"/>
              <a:gd name="connsiteX71" fmla="*/ 14287 w 2971294"/>
              <a:gd name="connsiteY71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71475 w 2971294"/>
              <a:gd name="connsiteY12" fmla="*/ 471487 h 2305041"/>
              <a:gd name="connsiteX13" fmla="*/ 376237 w 2971294"/>
              <a:gd name="connsiteY13" fmla="*/ 414337 h 2305041"/>
              <a:gd name="connsiteX14" fmla="*/ 433387 w 2971294"/>
              <a:gd name="connsiteY14" fmla="*/ 419100 h 2305041"/>
              <a:gd name="connsiteX15" fmla="*/ 881062 w 2971294"/>
              <a:gd name="connsiteY15" fmla="*/ 414337 h 2305041"/>
              <a:gd name="connsiteX16" fmla="*/ 1209675 w 2971294"/>
              <a:gd name="connsiteY16" fmla="*/ 414337 h 2305041"/>
              <a:gd name="connsiteX17" fmla="*/ 1238250 w 2971294"/>
              <a:gd name="connsiteY17" fmla="*/ 409575 h 2305041"/>
              <a:gd name="connsiteX18" fmla="*/ 2571750 w 2971294"/>
              <a:gd name="connsiteY18" fmla="*/ 404812 h 2305041"/>
              <a:gd name="connsiteX19" fmla="*/ 2609850 w 2971294"/>
              <a:gd name="connsiteY19" fmla="*/ 423862 h 2305041"/>
              <a:gd name="connsiteX20" fmla="*/ 2619375 w 2971294"/>
              <a:gd name="connsiteY20" fmla="*/ 457200 h 2305041"/>
              <a:gd name="connsiteX21" fmla="*/ 2609850 w 2971294"/>
              <a:gd name="connsiteY21" fmla="*/ 614362 h 2305041"/>
              <a:gd name="connsiteX22" fmla="*/ 2600325 w 2971294"/>
              <a:gd name="connsiteY22" fmla="*/ 1176337 h 2305041"/>
              <a:gd name="connsiteX23" fmla="*/ 2605087 w 2971294"/>
              <a:gd name="connsiteY23" fmla="*/ 1209675 h 2305041"/>
              <a:gd name="connsiteX24" fmla="*/ 2608262 w 2971294"/>
              <a:gd name="connsiteY24" fmla="*/ 1514475 h 2305041"/>
              <a:gd name="connsiteX25" fmla="*/ 2614612 w 2971294"/>
              <a:gd name="connsiteY25" fmla="*/ 2066925 h 2305041"/>
              <a:gd name="connsiteX26" fmla="*/ 2616200 w 2971294"/>
              <a:gd name="connsiteY26" fmla="*/ 2203450 h 2305041"/>
              <a:gd name="connsiteX27" fmla="*/ 2624137 w 2971294"/>
              <a:gd name="connsiteY27" fmla="*/ 2292350 h 2305041"/>
              <a:gd name="connsiteX28" fmla="*/ 2851150 w 2971294"/>
              <a:gd name="connsiteY28" fmla="*/ 2303462 h 2305041"/>
              <a:gd name="connsiteX29" fmla="*/ 2967037 w 2971294"/>
              <a:gd name="connsiteY29" fmla="*/ 2282825 h 2305041"/>
              <a:gd name="connsiteX30" fmla="*/ 2947987 w 2971294"/>
              <a:gd name="connsiteY30" fmla="*/ 2181225 h 2305041"/>
              <a:gd name="connsiteX31" fmla="*/ 2955925 w 2971294"/>
              <a:gd name="connsiteY31" fmla="*/ 2008187 h 2305041"/>
              <a:gd name="connsiteX32" fmla="*/ 2962275 w 2971294"/>
              <a:gd name="connsiteY32" fmla="*/ 1804987 h 2305041"/>
              <a:gd name="connsiteX33" fmla="*/ 2952750 w 2971294"/>
              <a:gd name="connsiteY33" fmla="*/ 1366837 h 2305041"/>
              <a:gd name="connsiteX34" fmla="*/ 2947987 w 2971294"/>
              <a:gd name="connsiteY34" fmla="*/ 1081087 h 2305041"/>
              <a:gd name="connsiteX35" fmla="*/ 2947987 w 2971294"/>
              <a:gd name="connsiteY35" fmla="*/ 922337 h 2305041"/>
              <a:gd name="connsiteX36" fmla="*/ 2952750 w 2971294"/>
              <a:gd name="connsiteY36" fmla="*/ 571500 h 2305041"/>
              <a:gd name="connsiteX37" fmla="*/ 2957512 w 2971294"/>
              <a:gd name="connsiteY37" fmla="*/ 342900 h 2305041"/>
              <a:gd name="connsiteX38" fmla="*/ 2957512 w 2971294"/>
              <a:gd name="connsiteY38" fmla="*/ 34925 h 2305041"/>
              <a:gd name="connsiteX39" fmla="*/ 2867025 w 2971294"/>
              <a:gd name="connsiteY39" fmla="*/ 19050 h 2305041"/>
              <a:gd name="connsiteX40" fmla="*/ 2724150 w 2971294"/>
              <a:gd name="connsiteY40" fmla="*/ 9525 h 2305041"/>
              <a:gd name="connsiteX41" fmla="*/ 2381250 w 2971294"/>
              <a:gd name="connsiteY41" fmla="*/ 14287 h 2305041"/>
              <a:gd name="connsiteX42" fmla="*/ 2324100 w 2971294"/>
              <a:gd name="connsiteY42" fmla="*/ 23812 h 2305041"/>
              <a:gd name="connsiteX43" fmla="*/ 1909762 w 2971294"/>
              <a:gd name="connsiteY43" fmla="*/ 19050 h 2305041"/>
              <a:gd name="connsiteX44" fmla="*/ 1804987 w 2971294"/>
              <a:gd name="connsiteY44" fmla="*/ 9525 h 2305041"/>
              <a:gd name="connsiteX45" fmla="*/ 1776412 w 2971294"/>
              <a:gd name="connsiteY45" fmla="*/ 0 h 2305041"/>
              <a:gd name="connsiteX46" fmla="*/ 1528762 w 2971294"/>
              <a:gd name="connsiteY46" fmla="*/ 4762 h 2305041"/>
              <a:gd name="connsiteX47" fmla="*/ 1143000 w 2971294"/>
              <a:gd name="connsiteY47" fmla="*/ 38100 h 2305041"/>
              <a:gd name="connsiteX48" fmla="*/ 309562 w 2971294"/>
              <a:gd name="connsiteY48" fmla="*/ 23812 h 2305041"/>
              <a:gd name="connsiteX49" fmla="*/ 247650 w 2971294"/>
              <a:gd name="connsiteY49" fmla="*/ 14287 h 2305041"/>
              <a:gd name="connsiteX50" fmla="*/ 185737 w 2971294"/>
              <a:gd name="connsiteY50" fmla="*/ 9525 h 2305041"/>
              <a:gd name="connsiteX51" fmla="*/ 19050 w 2971294"/>
              <a:gd name="connsiteY51" fmla="*/ 14287 h 2305041"/>
              <a:gd name="connsiteX52" fmla="*/ 4762 w 2971294"/>
              <a:gd name="connsiteY52" fmla="*/ 19050 h 2305041"/>
              <a:gd name="connsiteX53" fmla="*/ 9525 w 2971294"/>
              <a:gd name="connsiteY53" fmla="*/ 85725 h 2305041"/>
              <a:gd name="connsiteX54" fmla="*/ 23812 w 2971294"/>
              <a:gd name="connsiteY54" fmla="*/ 171450 h 2305041"/>
              <a:gd name="connsiteX55" fmla="*/ 14287 w 2971294"/>
              <a:gd name="connsiteY55" fmla="*/ 390525 h 2305041"/>
              <a:gd name="connsiteX56" fmla="*/ 0 w 2971294"/>
              <a:gd name="connsiteY56" fmla="*/ 466725 h 2305041"/>
              <a:gd name="connsiteX57" fmla="*/ 9525 w 2971294"/>
              <a:gd name="connsiteY57" fmla="*/ 800100 h 2305041"/>
              <a:gd name="connsiteX58" fmla="*/ 9525 w 2971294"/>
              <a:gd name="connsiteY58" fmla="*/ 871537 h 2305041"/>
              <a:gd name="connsiteX59" fmla="*/ 14287 w 2971294"/>
              <a:gd name="connsiteY59" fmla="*/ 1157287 h 2305041"/>
              <a:gd name="connsiteX60" fmla="*/ 19050 w 2971294"/>
              <a:gd name="connsiteY60" fmla="*/ 1204912 h 2305041"/>
              <a:gd name="connsiteX61" fmla="*/ 28575 w 2971294"/>
              <a:gd name="connsiteY61" fmla="*/ 1243012 h 2305041"/>
              <a:gd name="connsiteX62" fmla="*/ 33337 w 2971294"/>
              <a:gd name="connsiteY62" fmla="*/ 1328737 h 2305041"/>
              <a:gd name="connsiteX63" fmla="*/ 23812 w 2971294"/>
              <a:gd name="connsiteY63" fmla="*/ 1476375 h 2305041"/>
              <a:gd name="connsiteX64" fmla="*/ 14287 w 2971294"/>
              <a:gd name="connsiteY64" fmla="*/ 1562100 h 2305041"/>
              <a:gd name="connsiteX65" fmla="*/ 9525 w 2971294"/>
              <a:gd name="connsiteY65" fmla="*/ 1819275 h 2305041"/>
              <a:gd name="connsiteX66" fmla="*/ 14287 w 2971294"/>
              <a:gd name="connsiteY66" fmla="*/ 2014537 h 2305041"/>
              <a:gd name="connsiteX67" fmla="*/ 23812 w 2971294"/>
              <a:gd name="connsiteY67" fmla="*/ 2066925 h 2305041"/>
              <a:gd name="connsiteX68" fmla="*/ 28575 w 2971294"/>
              <a:gd name="connsiteY68" fmla="*/ 2152650 h 2305041"/>
              <a:gd name="connsiteX69" fmla="*/ 23812 w 2971294"/>
              <a:gd name="connsiteY69" fmla="*/ 2238375 h 2305041"/>
              <a:gd name="connsiteX70" fmla="*/ 14287 w 2971294"/>
              <a:gd name="connsiteY70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71475 w 2971294"/>
              <a:gd name="connsiteY11" fmla="*/ 471487 h 2305041"/>
              <a:gd name="connsiteX12" fmla="*/ 376237 w 2971294"/>
              <a:gd name="connsiteY12" fmla="*/ 414337 h 2305041"/>
              <a:gd name="connsiteX13" fmla="*/ 433387 w 2971294"/>
              <a:gd name="connsiteY13" fmla="*/ 419100 h 2305041"/>
              <a:gd name="connsiteX14" fmla="*/ 881062 w 2971294"/>
              <a:gd name="connsiteY14" fmla="*/ 414337 h 2305041"/>
              <a:gd name="connsiteX15" fmla="*/ 1209675 w 2971294"/>
              <a:gd name="connsiteY15" fmla="*/ 414337 h 2305041"/>
              <a:gd name="connsiteX16" fmla="*/ 1238250 w 2971294"/>
              <a:gd name="connsiteY16" fmla="*/ 409575 h 2305041"/>
              <a:gd name="connsiteX17" fmla="*/ 2571750 w 2971294"/>
              <a:gd name="connsiteY17" fmla="*/ 404812 h 2305041"/>
              <a:gd name="connsiteX18" fmla="*/ 2609850 w 2971294"/>
              <a:gd name="connsiteY18" fmla="*/ 423862 h 2305041"/>
              <a:gd name="connsiteX19" fmla="*/ 2619375 w 2971294"/>
              <a:gd name="connsiteY19" fmla="*/ 457200 h 2305041"/>
              <a:gd name="connsiteX20" fmla="*/ 2609850 w 2971294"/>
              <a:gd name="connsiteY20" fmla="*/ 614362 h 2305041"/>
              <a:gd name="connsiteX21" fmla="*/ 2600325 w 2971294"/>
              <a:gd name="connsiteY21" fmla="*/ 1176337 h 2305041"/>
              <a:gd name="connsiteX22" fmla="*/ 2605087 w 2971294"/>
              <a:gd name="connsiteY22" fmla="*/ 1209675 h 2305041"/>
              <a:gd name="connsiteX23" fmla="*/ 2608262 w 2971294"/>
              <a:gd name="connsiteY23" fmla="*/ 1514475 h 2305041"/>
              <a:gd name="connsiteX24" fmla="*/ 2614612 w 2971294"/>
              <a:gd name="connsiteY24" fmla="*/ 2066925 h 2305041"/>
              <a:gd name="connsiteX25" fmla="*/ 2616200 w 2971294"/>
              <a:gd name="connsiteY25" fmla="*/ 2203450 h 2305041"/>
              <a:gd name="connsiteX26" fmla="*/ 2624137 w 2971294"/>
              <a:gd name="connsiteY26" fmla="*/ 2292350 h 2305041"/>
              <a:gd name="connsiteX27" fmla="*/ 2851150 w 2971294"/>
              <a:gd name="connsiteY27" fmla="*/ 2303462 h 2305041"/>
              <a:gd name="connsiteX28" fmla="*/ 2967037 w 2971294"/>
              <a:gd name="connsiteY28" fmla="*/ 2282825 h 2305041"/>
              <a:gd name="connsiteX29" fmla="*/ 2947987 w 2971294"/>
              <a:gd name="connsiteY29" fmla="*/ 2181225 h 2305041"/>
              <a:gd name="connsiteX30" fmla="*/ 2955925 w 2971294"/>
              <a:gd name="connsiteY30" fmla="*/ 2008187 h 2305041"/>
              <a:gd name="connsiteX31" fmla="*/ 2962275 w 2971294"/>
              <a:gd name="connsiteY31" fmla="*/ 1804987 h 2305041"/>
              <a:gd name="connsiteX32" fmla="*/ 2952750 w 2971294"/>
              <a:gd name="connsiteY32" fmla="*/ 1366837 h 2305041"/>
              <a:gd name="connsiteX33" fmla="*/ 2947987 w 2971294"/>
              <a:gd name="connsiteY33" fmla="*/ 1081087 h 2305041"/>
              <a:gd name="connsiteX34" fmla="*/ 2947987 w 2971294"/>
              <a:gd name="connsiteY34" fmla="*/ 922337 h 2305041"/>
              <a:gd name="connsiteX35" fmla="*/ 2952750 w 2971294"/>
              <a:gd name="connsiteY35" fmla="*/ 571500 h 2305041"/>
              <a:gd name="connsiteX36" fmla="*/ 2957512 w 2971294"/>
              <a:gd name="connsiteY36" fmla="*/ 342900 h 2305041"/>
              <a:gd name="connsiteX37" fmla="*/ 2957512 w 2971294"/>
              <a:gd name="connsiteY37" fmla="*/ 34925 h 2305041"/>
              <a:gd name="connsiteX38" fmla="*/ 2867025 w 2971294"/>
              <a:gd name="connsiteY38" fmla="*/ 19050 h 2305041"/>
              <a:gd name="connsiteX39" fmla="*/ 2724150 w 2971294"/>
              <a:gd name="connsiteY39" fmla="*/ 9525 h 2305041"/>
              <a:gd name="connsiteX40" fmla="*/ 2381250 w 2971294"/>
              <a:gd name="connsiteY40" fmla="*/ 14287 h 2305041"/>
              <a:gd name="connsiteX41" fmla="*/ 2324100 w 2971294"/>
              <a:gd name="connsiteY41" fmla="*/ 23812 h 2305041"/>
              <a:gd name="connsiteX42" fmla="*/ 1909762 w 2971294"/>
              <a:gd name="connsiteY42" fmla="*/ 19050 h 2305041"/>
              <a:gd name="connsiteX43" fmla="*/ 1804987 w 2971294"/>
              <a:gd name="connsiteY43" fmla="*/ 9525 h 2305041"/>
              <a:gd name="connsiteX44" fmla="*/ 1776412 w 2971294"/>
              <a:gd name="connsiteY44" fmla="*/ 0 h 2305041"/>
              <a:gd name="connsiteX45" fmla="*/ 1528762 w 2971294"/>
              <a:gd name="connsiteY45" fmla="*/ 4762 h 2305041"/>
              <a:gd name="connsiteX46" fmla="*/ 1143000 w 2971294"/>
              <a:gd name="connsiteY46" fmla="*/ 38100 h 2305041"/>
              <a:gd name="connsiteX47" fmla="*/ 309562 w 2971294"/>
              <a:gd name="connsiteY47" fmla="*/ 23812 h 2305041"/>
              <a:gd name="connsiteX48" fmla="*/ 247650 w 2971294"/>
              <a:gd name="connsiteY48" fmla="*/ 14287 h 2305041"/>
              <a:gd name="connsiteX49" fmla="*/ 185737 w 2971294"/>
              <a:gd name="connsiteY49" fmla="*/ 9525 h 2305041"/>
              <a:gd name="connsiteX50" fmla="*/ 19050 w 2971294"/>
              <a:gd name="connsiteY50" fmla="*/ 14287 h 2305041"/>
              <a:gd name="connsiteX51" fmla="*/ 4762 w 2971294"/>
              <a:gd name="connsiteY51" fmla="*/ 19050 h 2305041"/>
              <a:gd name="connsiteX52" fmla="*/ 9525 w 2971294"/>
              <a:gd name="connsiteY52" fmla="*/ 85725 h 2305041"/>
              <a:gd name="connsiteX53" fmla="*/ 23812 w 2971294"/>
              <a:gd name="connsiteY53" fmla="*/ 171450 h 2305041"/>
              <a:gd name="connsiteX54" fmla="*/ 14287 w 2971294"/>
              <a:gd name="connsiteY54" fmla="*/ 390525 h 2305041"/>
              <a:gd name="connsiteX55" fmla="*/ 0 w 2971294"/>
              <a:gd name="connsiteY55" fmla="*/ 466725 h 2305041"/>
              <a:gd name="connsiteX56" fmla="*/ 9525 w 2971294"/>
              <a:gd name="connsiteY56" fmla="*/ 800100 h 2305041"/>
              <a:gd name="connsiteX57" fmla="*/ 9525 w 2971294"/>
              <a:gd name="connsiteY57" fmla="*/ 871537 h 2305041"/>
              <a:gd name="connsiteX58" fmla="*/ 14287 w 2971294"/>
              <a:gd name="connsiteY58" fmla="*/ 1157287 h 2305041"/>
              <a:gd name="connsiteX59" fmla="*/ 19050 w 2971294"/>
              <a:gd name="connsiteY59" fmla="*/ 1204912 h 2305041"/>
              <a:gd name="connsiteX60" fmla="*/ 28575 w 2971294"/>
              <a:gd name="connsiteY60" fmla="*/ 1243012 h 2305041"/>
              <a:gd name="connsiteX61" fmla="*/ 33337 w 2971294"/>
              <a:gd name="connsiteY61" fmla="*/ 1328737 h 2305041"/>
              <a:gd name="connsiteX62" fmla="*/ 23812 w 2971294"/>
              <a:gd name="connsiteY62" fmla="*/ 1476375 h 2305041"/>
              <a:gd name="connsiteX63" fmla="*/ 14287 w 2971294"/>
              <a:gd name="connsiteY63" fmla="*/ 1562100 h 2305041"/>
              <a:gd name="connsiteX64" fmla="*/ 9525 w 2971294"/>
              <a:gd name="connsiteY64" fmla="*/ 1819275 h 2305041"/>
              <a:gd name="connsiteX65" fmla="*/ 14287 w 2971294"/>
              <a:gd name="connsiteY65" fmla="*/ 2014537 h 2305041"/>
              <a:gd name="connsiteX66" fmla="*/ 23812 w 2971294"/>
              <a:gd name="connsiteY66" fmla="*/ 2066925 h 2305041"/>
              <a:gd name="connsiteX67" fmla="*/ 28575 w 2971294"/>
              <a:gd name="connsiteY67" fmla="*/ 2152650 h 2305041"/>
              <a:gd name="connsiteX68" fmla="*/ 23812 w 2971294"/>
              <a:gd name="connsiteY68" fmla="*/ 2238375 h 2305041"/>
              <a:gd name="connsiteX69" fmla="*/ 14287 w 2971294"/>
              <a:gd name="connsiteY69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71475 w 2971294"/>
              <a:gd name="connsiteY10" fmla="*/ 471487 h 2305041"/>
              <a:gd name="connsiteX11" fmla="*/ 376237 w 2971294"/>
              <a:gd name="connsiteY11" fmla="*/ 414337 h 2305041"/>
              <a:gd name="connsiteX12" fmla="*/ 433387 w 2971294"/>
              <a:gd name="connsiteY12" fmla="*/ 419100 h 2305041"/>
              <a:gd name="connsiteX13" fmla="*/ 881062 w 2971294"/>
              <a:gd name="connsiteY13" fmla="*/ 414337 h 2305041"/>
              <a:gd name="connsiteX14" fmla="*/ 1209675 w 2971294"/>
              <a:gd name="connsiteY14" fmla="*/ 414337 h 2305041"/>
              <a:gd name="connsiteX15" fmla="*/ 1238250 w 2971294"/>
              <a:gd name="connsiteY15" fmla="*/ 409575 h 2305041"/>
              <a:gd name="connsiteX16" fmla="*/ 2571750 w 2971294"/>
              <a:gd name="connsiteY16" fmla="*/ 404812 h 2305041"/>
              <a:gd name="connsiteX17" fmla="*/ 2609850 w 2971294"/>
              <a:gd name="connsiteY17" fmla="*/ 423862 h 2305041"/>
              <a:gd name="connsiteX18" fmla="*/ 2619375 w 2971294"/>
              <a:gd name="connsiteY18" fmla="*/ 457200 h 2305041"/>
              <a:gd name="connsiteX19" fmla="*/ 2609850 w 2971294"/>
              <a:gd name="connsiteY19" fmla="*/ 614362 h 2305041"/>
              <a:gd name="connsiteX20" fmla="*/ 2600325 w 2971294"/>
              <a:gd name="connsiteY20" fmla="*/ 1176337 h 2305041"/>
              <a:gd name="connsiteX21" fmla="*/ 2605087 w 2971294"/>
              <a:gd name="connsiteY21" fmla="*/ 1209675 h 2305041"/>
              <a:gd name="connsiteX22" fmla="*/ 2608262 w 2971294"/>
              <a:gd name="connsiteY22" fmla="*/ 1514475 h 2305041"/>
              <a:gd name="connsiteX23" fmla="*/ 2614612 w 2971294"/>
              <a:gd name="connsiteY23" fmla="*/ 2066925 h 2305041"/>
              <a:gd name="connsiteX24" fmla="*/ 2616200 w 2971294"/>
              <a:gd name="connsiteY24" fmla="*/ 2203450 h 2305041"/>
              <a:gd name="connsiteX25" fmla="*/ 2624137 w 2971294"/>
              <a:gd name="connsiteY25" fmla="*/ 2292350 h 2305041"/>
              <a:gd name="connsiteX26" fmla="*/ 2851150 w 2971294"/>
              <a:gd name="connsiteY26" fmla="*/ 2303462 h 2305041"/>
              <a:gd name="connsiteX27" fmla="*/ 2967037 w 2971294"/>
              <a:gd name="connsiteY27" fmla="*/ 2282825 h 2305041"/>
              <a:gd name="connsiteX28" fmla="*/ 2947987 w 2971294"/>
              <a:gd name="connsiteY28" fmla="*/ 2181225 h 2305041"/>
              <a:gd name="connsiteX29" fmla="*/ 2955925 w 2971294"/>
              <a:gd name="connsiteY29" fmla="*/ 2008187 h 2305041"/>
              <a:gd name="connsiteX30" fmla="*/ 2962275 w 2971294"/>
              <a:gd name="connsiteY30" fmla="*/ 1804987 h 2305041"/>
              <a:gd name="connsiteX31" fmla="*/ 2952750 w 2971294"/>
              <a:gd name="connsiteY31" fmla="*/ 1366837 h 2305041"/>
              <a:gd name="connsiteX32" fmla="*/ 2947987 w 2971294"/>
              <a:gd name="connsiteY32" fmla="*/ 1081087 h 2305041"/>
              <a:gd name="connsiteX33" fmla="*/ 2947987 w 2971294"/>
              <a:gd name="connsiteY33" fmla="*/ 922337 h 2305041"/>
              <a:gd name="connsiteX34" fmla="*/ 2952750 w 2971294"/>
              <a:gd name="connsiteY34" fmla="*/ 571500 h 2305041"/>
              <a:gd name="connsiteX35" fmla="*/ 2957512 w 2971294"/>
              <a:gd name="connsiteY35" fmla="*/ 342900 h 2305041"/>
              <a:gd name="connsiteX36" fmla="*/ 2957512 w 2971294"/>
              <a:gd name="connsiteY36" fmla="*/ 34925 h 2305041"/>
              <a:gd name="connsiteX37" fmla="*/ 2867025 w 2971294"/>
              <a:gd name="connsiteY37" fmla="*/ 19050 h 2305041"/>
              <a:gd name="connsiteX38" fmla="*/ 2724150 w 2971294"/>
              <a:gd name="connsiteY38" fmla="*/ 9525 h 2305041"/>
              <a:gd name="connsiteX39" fmla="*/ 2381250 w 2971294"/>
              <a:gd name="connsiteY39" fmla="*/ 14287 h 2305041"/>
              <a:gd name="connsiteX40" fmla="*/ 2324100 w 2971294"/>
              <a:gd name="connsiteY40" fmla="*/ 23812 h 2305041"/>
              <a:gd name="connsiteX41" fmla="*/ 1909762 w 2971294"/>
              <a:gd name="connsiteY41" fmla="*/ 19050 h 2305041"/>
              <a:gd name="connsiteX42" fmla="*/ 1804987 w 2971294"/>
              <a:gd name="connsiteY42" fmla="*/ 9525 h 2305041"/>
              <a:gd name="connsiteX43" fmla="*/ 1776412 w 2971294"/>
              <a:gd name="connsiteY43" fmla="*/ 0 h 2305041"/>
              <a:gd name="connsiteX44" fmla="*/ 1528762 w 2971294"/>
              <a:gd name="connsiteY44" fmla="*/ 4762 h 2305041"/>
              <a:gd name="connsiteX45" fmla="*/ 1143000 w 2971294"/>
              <a:gd name="connsiteY45" fmla="*/ 38100 h 2305041"/>
              <a:gd name="connsiteX46" fmla="*/ 309562 w 2971294"/>
              <a:gd name="connsiteY46" fmla="*/ 23812 h 2305041"/>
              <a:gd name="connsiteX47" fmla="*/ 247650 w 2971294"/>
              <a:gd name="connsiteY47" fmla="*/ 14287 h 2305041"/>
              <a:gd name="connsiteX48" fmla="*/ 185737 w 2971294"/>
              <a:gd name="connsiteY48" fmla="*/ 9525 h 2305041"/>
              <a:gd name="connsiteX49" fmla="*/ 19050 w 2971294"/>
              <a:gd name="connsiteY49" fmla="*/ 14287 h 2305041"/>
              <a:gd name="connsiteX50" fmla="*/ 4762 w 2971294"/>
              <a:gd name="connsiteY50" fmla="*/ 19050 h 2305041"/>
              <a:gd name="connsiteX51" fmla="*/ 9525 w 2971294"/>
              <a:gd name="connsiteY51" fmla="*/ 85725 h 2305041"/>
              <a:gd name="connsiteX52" fmla="*/ 23812 w 2971294"/>
              <a:gd name="connsiteY52" fmla="*/ 171450 h 2305041"/>
              <a:gd name="connsiteX53" fmla="*/ 14287 w 2971294"/>
              <a:gd name="connsiteY53" fmla="*/ 390525 h 2305041"/>
              <a:gd name="connsiteX54" fmla="*/ 0 w 2971294"/>
              <a:gd name="connsiteY54" fmla="*/ 466725 h 2305041"/>
              <a:gd name="connsiteX55" fmla="*/ 9525 w 2971294"/>
              <a:gd name="connsiteY55" fmla="*/ 800100 h 2305041"/>
              <a:gd name="connsiteX56" fmla="*/ 9525 w 2971294"/>
              <a:gd name="connsiteY56" fmla="*/ 871537 h 2305041"/>
              <a:gd name="connsiteX57" fmla="*/ 14287 w 2971294"/>
              <a:gd name="connsiteY57" fmla="*/ 1157287 h 2305041"/>
              <a:gd name="connsiteX58" fmla="*/ 19050 w 2971294"/>
              <a:gd name="connsiteY58" fmla="*/ 1204912 h 2305041"/>
              <a:gd name="connsiteX59" fmla="*/ 28575 w 2971294"/>
              <a:gd name="connsiteY59" fmla="*/ 1243012 h 2305041"/>
              <a:gd name="connsiteX60" fmla="*/ 33337 w 2971294"/>
              <a:gd name="connsiteY60" fmla="*/ 1328737 h 2305041"/>
              <a:gd name="connsiteX61" fmla="*/ 23812 w 2971294"/>
              <a:gd name="connsiteY61" fmla="*/ 1476375 h 2305041"/>
              <a:gd name="connsiteX62" fmla="*/ 14287 w 2971294"/>
              <a:gd name="connsiteY62" fmla="*/ 1562100 h 2305041"/>
              <a:gd name="connsiteX63" fmla="*/ 9525 w 2971294"/>
              <a:gd name="connsiteY63" fmla="*/ 1819275 h 2305041"/>
              <a:gd name="connsiteX64" fmla="*/ 14287 w 2971294"/>
              <a:gd name="connsiteY64" fmla="*/ 2014537 h 2305041"/>
              <a:gd name="connsiteX65" fmla="*/ 23812 w 2971294"/>
              <a:gd name="connsiteY65" fmla="*/ 2066925 h 2305041"/>
              <a:gd name="connsiteX66" fmla="*/ 28575 w 2971294"/>
              <a:gd name="connsiteY66" fmla="*/ 2152650 h 2305041"/>
              <a:gd name="connsiteX67" fmla="*/ 23812 w 2971294"/>
              <a:gd name="connsiteY67" fmla="*/ 2238375 h 2305041"/>
              <a:gd name="connsiteX68" fmla="*/ 14287 w 2971294"/>
              <a:gd name="connsiteY68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66712 w 2971294"/>
              <a:gd name="connsiteY7" fmla="*/ 1585912 h 2305041"/>
              <a:gd name="connsiteX8" fmla="*/ 376237 w 2971294"/>
              <a:gd name="connsiteY8" fmla="*/ 1123950 h 2305041"/>
              <a:gd name="connsiteX9" fmla="*/ 371475 w 2971294"/>
              <a:gd name="connsiteY9" fmla="*/ 471487 h 2305041"/>
              <a:gd name="connsiteX10" fmla="*/ 376237 w 2971294"/>
              <a:gd name="connsiteY10" fmla="*/ 414337 h 2305041"/>
              <a:gd name="connsiteX11" fmla="*/ 433387 w 2971294"/>
              <a:gd name="connsiteY11" fmla="*/ 419100 h 2305041"/>
              <a:gd name="connsiteX12" fmla="*/ 881062 w 2971294"/>
              <a:gd name="connsiteY12" fmla="*/ 414337 h 2305041"/>
              <a:gd name="connsiteX13" fmla="*/ 1209675 w 2971294"/>
              <a:gd name="connsiteY13" fmla="*/ 414337 h 2305041"/>
              <a:gd name="connsiteX14" fmla="*/ 1238250 w 2971294"/>
              <a:gd name="connsiteY14" fmla="*/ 409575 h 2305041"/>
              <a:gd name="connsiteX15" fmla="*/ 2571750 w 2971294"/>
              <a:gd name="connsiteY15" fmla="*/ 404812 h 2305041"/>
              <a:gd name="connsiteX16" fmla="*/ 2609850 w 2971294"/>
              <a:gd name="connsiteY16" fmla="*/ 423862 h 2305041"/>
              <a:gd name="connsiteX17" fmla="*/ 2619375 w 2971294"/>
              <a:gd name="connsiteY17" fmla="*/ 457200 h 2305041"/>
              <a:gd name="connsiteX18" fmla="*/ 2609850 w 2971294"/>
              <a:gd name="connsiteY18" fmla="*/ 614362 h 2305041"/>
              <a:gd name="connsiteX19" fmla="*/ 2600325 w 2971294"/>
              <a:gd name="connsiteY19" fmla="*/ 1176337 h 2305041"/>
              <a:gd name="connsiteX20" fmla="*/ 2605087 w 2971294"/>
              <a:gd name="connsiteY20" fmla="*/ 1209675 h 2305041"/>
              <a:gd name="connsiteX21" fmla="*/ 2608262 w 2971294"/>
              <a:gd name="connsiteY21" fmla="*/ 1514475 h 2305041"/>
              <a:gd name="connsiteX22" fmla="*/ 2614612 w 2971294"/>
              <a:gd name="connsiteY22" fmla="*/ 2066925 h 2305041"/>
              <a:gd name="connsiteX23" fmla="*/ 2616200 w 2971294"/>
              <a:gd name="connsiteY23" fmla="*/ 2203450 h 2305041"/>
              <a:gd name="connsiteX24" fmla="*/ 2624137 w 2971294"/>
              <a:gd name="connsiteY24" fmla="*/ 2292350 h 2305041"/>
              <a:gd name="connsiteX25" fmla="*/ 2851150 w 2971294"/>
              <a:gd name="connsiteY25" fmla="*/ 2303462 h 2305041"/>
              <a:gd name="connsiteX26" fmla="*/ 2967037 w 2971294"/>
              <a:gd name="connsiteY26" fmla="*/ 2282825 h 2305041"/>
              <a:gd name="connsiteX27" fmla="*/ 2947987 w 2971294"/>
              <a:gd name="connsiteY27" fmla="*/ 2181225 h 2305041"/>
              <a:gd name="connsiteX28" fmla="*/ 2955925 w 2971294"/>
              <a:gd name="connsiteY28" fmla="*/ 2008187 h 2305041"/>
              <a:gd name="connsiteX29" fmla="*/ 2962275 w 2971294"/>
              <a:gd name="connsiteY29" fmla="*/ 1804987 h 2305041"/>
              <a:gd name="connsiteX30" fmla="*/ 2952750 w 2971294"/>
              <a:gd name="connsiteY30" fmla="*/ 1366837 h 2305041"/>
              <a:gd name="connsiteX31" fmla="*/ 2947987 w 2971294"/>
              <a:gd name="connsiteY31" fmla="*/ 1081087 h 2305041"/>
              <a:gd name="connsiteX32" fmla="*/ 2947987 w 2971294"/>
              <a:gd name="connsiteY32" fmla="*/ 922337 h 2305041"/>
              <a:gd name="connsiteX33" fmla="*/ 2952750 w 2971294"/>
              <a:gd name="connsiteY33" fmla="*/ 571500 h 2305041"/>
              <a:gd name="connsiteX34" fmla="*/ 2957512 w 2971294"/>
              <a:gd name="connsiteY34" fmla="*/ 342900 h 2305041"/>
              <a:gd name="connsiteX35" fmla="*/ 2957512 w 2971294"/>
              <a:gd name="connsiteY35" fmla="*/ 34925 h 2305041"/>
              <a:gd name="connsiteX36" fmla="*/ 2867025 w 2971294"/>
              <a:gd name="connsiteY36" fmla="*/ 19050 h 2305041"/>
              <a:gd name="connsiteX37" fmla="*/ 2724150 w 2971294"/>
              <a:gd name="connsiteY37" fmla="*/ 9525 h 2305041"/>
              <a:gd name="connsiteX38" fmla="*/ 2381250 w 2971294"/>
              <a:gd name="connsiteY38" fmla="*/ 14287 h 2305041"/>
              <a:gd name="connsiteX39" fmla="*/ 2324100 w 2971294"/>
              <a:gd name="connsiteY39" fmla="*/ 23812 h 2305041"/>
              <a:gd name="connsiteX40" fmla="*/ 1909762 w 2971294"/>
              <a:gd name="connsiteY40" fmla="*/ 19050 h 2305041"/>
              <a:gd name="connsiteX41" fmla="*/ 1804987 w 2971294"/>
              <a:gd name="connsiteY41" fmla="*/ 9525 h 2305041"/>
              <a:gd name="connsiteX42" fmla="*/ 1776412 w 2971294"/>
              <a:gd name="connsiteY42" fmla="*/ 0 h 2305041"/>
              <a:gd name="connsiteX43" fmla="*/ 1528762 w 2971294"/>
              <a:gd name="connsiteY43" fmla="*/ 4762 h 2305041"/>
              <a:gd name="connsiteX44" fmla="*/ 1143000 w 2971294"/>
              <a:gd name="connsiteY44" fmla="*/ 38100 h 2305041"/>
              <a:gd name="connsiteX45" fmla="*/ 309562 w 2971294"/>
              <a:gd name="connsiteY45" fmla="*/ 23812 h 2305041"/>
              <a:gd name="connsiteX46" fmla="*/ 247650 w 2971294"/>
              <a:gd name="connsiteY46" fmla="*/ 14287 h 2305041"/>
              <a:gd name="connsiteX47" fmla="*/ 185737 w 2971294"/>
              <a:gd name="connsiteY47" fmla="*/ 9525 h 2305041"/>
              <a:gd name="connsiteX48" fmla="*/ 19050 w 2971294"/>
              <a:gd name="connsiteY48" fmla="*/ 14287 h 2305041"/>
              <a:gd name="connsiteX49" fmla="*/ 4762 w 2971294"/>
              <a:gd name="connsiteY49" fmla="*/ 19050 h 2305041"/>
              <a:gd name="connsiteX50" fmla="*/ 9525 w 2971294"/>
              <a:gd name="connsiteY50" fmla="*/ 85725 h 2305041"/>
              <a:gd name="connsiteX51" fmla="*/ 23812 w 2971294"/>
              <a:gd name="connsiteY51" fmla="*/ 171450 h 2305041"/>
              <a:gd name="connsiteX52" fmla="*/ 14287 w 2971294"/>
              <a:gd name="connsiteY52" fmla="*/ 390525 h 2305041"/>
              <a:gd name="connsiteX53" fmla="*/ 0 w 2971294"/>
              <a:gd name="connsiteY53" fmla="*/ 466725 h 2305041"/>
              <a:gd name="connsiteX54" fmla="*/ 9525 w 2971294"/>
              <a:gd name="connsiteY54" fmla="*/ 800100 h 2305041"/>
              <a:gd name="connsiteX55" fmla="*/ 9525 w 2971294"/>
              <a:gd name="connsiteY55" fmla="*/ 871537 h 2305041"/>
              <a:gd name="connsiteX56" fmla="*/ 14287 w 2971294"/>
              <a:gd name="connsiteY56" fmla="*/ 1157287 h 2305041"/>
              <a:gd name="connsiteX57" fmla="*/ 19050 w 2971294"/>
              <a:gd name="connsiteY57" fmla="*/ 1204912 h 2305041"/>
              <a:gd name="connsiteX58" fmla="*/ 28575 w 2971294"/>
              <a:gd name="connsiteY58" fmla="*/ 1243012 h 2305041"/>
              <a:gd name="connsiteX59" fmla="*/ 33337 w 2971294"/>
              <a:gd name="connsiteY59" fmla="*/ 1328737 h 2305041"/>
              <a:gd name="connsiteX60" fmla="*/ 23812 w 2971294"/>
              <a:gd name="connsiteY60" fmla="*/ 1476375 h 2305041"/>
              <a:gd name="connsiteX61" fmla="*/ 14287 w 2971294"/>
              <a:gd name="connsiteY61" fmla="*/ 1562100 h 2305041"/>
              <a:gd name="connsiteX62" fmla="*/ 9525 w 2971294"/>
              <a:gd name="connsiteY62" fmla="*/ 1819275 h 2305041"/>
              <a:gd name="connsiteX63" fmla="*/ 14287 w 2971294"/>
              <a:gd name="connsiteY63" fmla="*/ 2014537 h 2305041"/>
              <a:gd name="connsiteX64" fmla="*/ 23812 w 2971294"/>
              <a:gd name="connsiteY64" fmla="*/ 2066925 h 2305041"/>
              <a:gd name="connsiteX65" fmla="*/ 28575 w 2971294"/>
              <a:gd name="connsiteY65" fmla="*/ 2152650 h 2305041"/>
              <a:gd name="connsiteX66" fmla="*/ 23812 w 2971294"/>
              <a:gd name="connsiteY66" fmla="*/ 2238375 h 2305041"/>
              <a:gd name="connsiteX67" fmla="*/ 14287 w 2971294"/>
              <a:gd name="connsiteY67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66712 w 2971294"/>
              <a:gd name="connsiteY6" fmla="*/ 1585912 h 2305041"/>
              <a:gd name="connsiteX7" fmla="*/ 376237 w 2971294"/>
              <a:gd name="connsiteY7" fmla="*/ 1123950 h 2305041"/>
              <a:gd name="connsiteX8" fmla="*/ 371475 w 2971294"/>
              <a:gd name="connsiteY8" fmla="*/ 471487 h 2305041"/>
              <a:gd name="connsiteX9" fmla="*/ 376237 w 2971294"/>
              <a:gd name="connsiteY9" fmla="*/ 414337 h 2305041"/>
              <a:gd name="connsiteX10" fmla="*/ 433387 w 2971294"/>
              <a:gd name="connsiteY10" fmla="*/ 419100 h 2305041"/>
              <a:gd name="connsiteX11" fmla="*/ 881062 w 2971294"/>
              <a:gd name="connsiteY11" fmla="*/ 414337 h 2305041"/>
              <a:gd name="connsiteX12" fmla="*/ 1209675 w 2971294"/>
              <a:gd name="connsiteY12" fmla="*/ 414337 h 2305041"/>
              <a:gd name="connsiteX13" fmla="*/ 1238250 w 2971294"/>
              <a:gd name="connsiteY13" fmla="*/ 409575 h 2305041"/>
              <a:gd name="connsiteX14" fmla="*/ 2571750 w 2971294"/>
              <a:gd name="connsiteY14" fmla="*/ 404812 h 2305041"/>
              <a:gd name="connsiteX15" fmla="*/ 2609850 w 2971294"/>
              <a:gd name="connsiteY15" fmla="*/ 423862 h 2305041"/>
              <a:gd name="connsiteX16" fmla="*/ 2619375 w 2971294"/>
              <a:gd name="connsiteY16" fmla="*/ 457200 h 2305041"/>
              <a:gd name="connsiteX17" fmla="*/ 2609850 w 2971294"/>
              <a:gd name="connsiteY17" fmla="*/ 614362 h 2305041"/>
              <a:gd name="connsiteX18" fmla="*/ 2600325 w 2971294"/>
              <a:gd name="connsiteY18" fmla="*/ 1176337 h 2305041"/>
              <a:gd name="connsiteX19" fmla="*/ 2605087 w 2971294"/>
              <a:gd name="connsiteY19" fmla="*/ 1209675 h 2305041"/>
              <a:gd name="connsiteX20" fmla="*/ 2608262 w 2971294"/>
              <a:gd name="connsiteY20" fmla="*/ 1514475 h 2305041"/>
              <a:gd name="connsiteX21" fmla="*/ 2614612 w 2971294"/>
              <a:gd name="connsiteY21" fmla="*/ 2066925 h 2305041"/>
              <a:gd name="connsiteX22" fmla="*/ 2616200 w 2971294"/>
              <a:gd name="connsiteY22" fmla="*/ 2203450 h 2305041"/>
              <a:gd name="connsiteX23" fmla="*/ 2624137 w 2971294"/>
              <a:gd name="connsiteY23" fmla="*/ 2292350 h 2305041"/>
              <a:gd name="connsiteX24" fmla="*/ 2851150 w 2971294"/>
              <a:gd name="connsiteY24" fmla="*/ 2303462 h 2305041"/>
              <a:gd name="connsiteX25" fmla="*/ 2967037 w 2971294"/>
              <a:gd name="connsiteY25" fmla="*/ 2282825 h 2305041"/>
              <a:gd name="connsiteX26" fmla="*/ 2947987 w 2971294"/>
              <a:gd name="connsiteY26" fmla="*/ 2181225 h 2305041"/>
              <a:gd name="connsiteX27" fmla="*/ 2955925 w 2971294"/>
              <a:gd name="connsiteY27" fmla="*/ 2008187 h 2305041"/>
              <a:gd name="connsiteX28" fmla="*/ 2962275 w 2971294"/>
              <a:gd name="connsiteY28" fmla="*/ 1804987 h 2305041"/>
              <a:gd name="connsiteX29" fmla="*/ 2952750 w 2971294"/>
              <a:gd name="connsiteY29" fmla="*/ 1366837 h 2305041"/>
              <a:gd name="connsiteX30" fmla="*/ 2947987 w 2971294"/>
              <a:gd name="connsiteY30" fmla="*/ 1081087 h 2305041"/>
              <a:gd name="connsiteX31" fmla="*/ 2947987 w 2971294"/>
              <a:gd name="connsiteY31" fmla="*/ 922337 h 2305041"/>
              <a:gd name="connsiteX32" fmla="*/ 2952750 w 2971294"/>
              <a:gd name="connsiteY32" fmla="*/ 571500 h 2305041"/>
              <a:gd name="connsiteX33" fmla="*/ 2957512 w 2971294"/>
              <a:gd name="connsiteY33" fmla="*/ 342900 h 2305041"/>
              <a:gd name="connsiteX34" fmla="*/ 2957512 w 2971294"/>
              <a:gd name="connsiteY34" fmla="*/ 34925 h 2305041"/>
              <a:gd name="connsiteX35" fmla="*/ 2867025 w 2971294"/>
              <a:gd name="connsiteY35" fmla="*/ 19050 h 2305041"/>
              <a:gd name="connsiteX36" fmla="*/ 2724150 w 2971294"/>
              <a:gd name="connsiteY36" fmla="*/ 9525 h 2305041"/>
              <a:gd name="connsiteX37" fmla="*/ 2381250 w 2971294"/>
              <a:gd name="connsiteY37" fmla="*/ 14287 h 2305041"/>
              <a:gd name="connsiteX38" fmla="*/ 2324100 w 2971294"/>
              <a:gd name="connsiteY38" fmla="*/ 23812 h 2305041"/>
              <a:gd name="connsiteX39" fmla="*/ 1909762 w 2971294"/>
              <a:gd name="connsiteY39" fmla="*/ 19050 h 2305041"/>
              <a:gd name="connsiteX40" fmla="*/ 1804987 w 2971294"/>
              <a:gd name="connsiteY40" fmla="*/ 9525 h 2305041"/>
              <a:gd name="connsiteX41" fmla="*/ 1776412 w 2971294"/>
              <a:gd name="connsiteY41" fmla="*/ 0 h 2305041"/>
              <a:gd name="connsiteX42" fmla="*/ 1528762 w 2971294"/>
              <a:gd name="connsiteY42" fmla="*/ 4762 h 2305041"/>
              <a:gd name="connsiteX43" fmla="*/ 1143000 w 2971294"/>
              <a:gd name="connsiteY43" fmla="*/ 38100 h 2305041"/>
              <a:gd name="connsiteX44" fmla="*/ 309562 w 2971294"/>
              <a:gd name="connsiteY44" fmla="*/ 23812 h 2305041"/>
              <a:gd name="connsiteX45" fmla="*/ 247650 w 2971294"/>
              <a:gd name="connsiteY45" fmla="*/ 14287 h 2305041"/>
              <a:gd name="connsiteX46" fmla="*/ 185737 w 2971294"/>
              <a:gd name="connsiteY46" fmla="*/ 9525 h 2305041"/>
              <a:gd name="connsiteX47" fmla="*/ 19050 w 2971294"/>
              <a:gd name="connsiteY47" fmla="*/ 14287 h 2305041"/>
              <a:gd name="connsiteX48" fmla="*/ 4762 w 2971294"/>
              <a:gd name="connsiteY48" fmla="*/ 19050 h 2305041"/>
              <a:gd name="connsiteX49" fmla="*/ 9525 w 2971294"/>
              <a:gd name="connsiteY49" fmla="*/ 85725 h 2305041"/>
              <a:gd name="connsiteX50" fmla="*/ 23812 w 2971294"/>
              <a:gd name="connsiteY50" fmla="*/ 171450 h 2305041"/>
              <a:gd name="connsiteX51" fmla="*/ 14287 w 2971294"/>
              <a:gd name="connsiteY51" fmla="*/ 390525 h 2305041"/>
              <a:gd name="connsiteX52" fmla="*/ 0 w 2971294"/>
              <a:gd name="connsiteY52" fmla="*/ 466725 h 2305041"/>
              <a:gd name="connsiteX53" fmla="*/ 9525 w 2971294"/>
              <a:gd name="connsiteY53" fmla="*/ 800100 h 2305041"/>
              <a:gd name="connsiteX54" fmla="*/ 9525 w 2971294"/>
              <a:gd name="connsiteY54" fmla="*/ 871537 h 2305041"/>
              <a:gd name="connsiteX55" fmla="*/ 14287 w 2971294"/>
              <a:gd name="connsiteY55" fmla="*/ 1157287 h 2305041"/>
              <a:gd name="connsiteX56" fmla="*/ 19050 w 2971294"/>
              <a:gd name="connsiteY56" fmla="*/ 1204912 h 2305041"/>
              <a:gd name="connsiteX57" fmla="*/ 28575 w 2971294"/>
              <a:gd name="connsiteY57" fmla="*/ 1243012 h 2305041"/>
              <a:gd name="connsiteX58" fmla="*/ 33337 w 2971294"/>
              <a:gd name="connsiteY58" fmla="*/ 1328737 h 2305041"/>
              <a:gd name="connsiteX59" fmla="*/ 23812 w 2971294"/>
              <a:gd name="connsiteY59" fmla="*/ 1476375 h 2305041"/>
              <a:gd name="connsiteX60" fmla="*/ 14287 w 2971294"/>
              <a:gd name="connsiteY60" fmla="*/ 1562100 h 2305041"/>
              <a:gd name="connsiteX61" fmla="*/ 9525 w 2971294"/>
              <a:gd name="connsiteY61" fmla="*/ 1819275 h 2305041"/>
              <a:gd name="connsiteX62" fmla="*/ 14287 w 2971294"/>
              <a:gd name="connsiteY62" fmla="*/ 2014537 h 2305041"/>
              <a:gd name="connsiteX63" fmla="*/ 23812 w 2971294"/>
              <a:gd name="connsiteY63" fmla="*/ 2066925 h 2305041"/>
              <a:gd name="connsiteX64" fmla="*/ 28575 w 2971294"/>
              <a:gd name="connsiteY64" fmla="*/ 2152650 h 2305041"/>
              <a:gd name="connsiteX65" fmla="*/ 23812 w 2971294"/>
              <a:gd name="connsiteY65" fmla="*/ 2238375 h 2305041"/>
              <a:gd name="connsiteX66" fmla="*/ 14287 w 2971294"/>
              <a:gd name="connsiteY66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66712 w 2971294"/>
              <a:gd name="connsiteY5" fmla="*/ 1585912 h 2305041"/>
              <a:gd name="connsiteX6" fmla="*/ 376237 w 2971294"/>
              <a:gd name="connsiteY6" fmla="*/ 1123950 h 2305041"/>
              <a:gd name="connsiteX7" fmla="*/ 371475 w 2971294"/>
              <a:gd name="connsiteY7" fmla="*/ 471487 h 2305041"/>
              <a:gd name="connsiteX8" fmla="*/ 376237 w 2971294"/>
              <a:gd name="connsiteY8" fmla="*/ 414337 h 2305041"/>
              <a:gd name="connsiteX9" fmla="*/ 433387 w 2971294"/>
              <a:gd name="connsiteY9" fmla="*/ 419100 h 2305041"/>
              <a:gd name="connsiteX10" fmla="*/ 881062 w 2971294"/>
              <a:gd name="connsiteY10" fmla="*/ 414337 h 2305041"/>
              <a:gd name="connsiteX11" fmla="*/ 1209675 w 2971294"/>
              <a:gd name="connsiteY11" fmla="*/ 414337 h 2305041"/>
              <a:gd name="connsiteX12" fmla="*/ 1238250 w 2971294"/>
              <a:gd name="connsiteY12" fmla="*/ 409575 h 2305041"/>
              <a:gd name="connsiteX13" fmla="*/ 2571750 w 2971294"/>
              <a:gd name="connsiteY13" fmla="*/ 404812 h 2305041"/>
              <a:gd name="connsiteX14" fmla="*/ 2609850 w 2971294"/>
              <a:gd name="connsiteY14" fmla="*/ 423862 h 2305041"/>
              <a:gd name="connsiteX15" fmla="*/ 2619375 w 2971294"/>
              <a:gd name="connsiteY15" fmla="*/ 457200 h 2305041"/>
              <a:gd name="connsiteX16" fmla="*/ 2609850 w 2971294"/>
              <a:gd name="connsiteY16" fmla="*/ 614362 h 2305041"/>
              <a:gd name="connsiteX17" fmla="*/ 2600325 w 2971294"/>
              <a:gd name="connsiteY17" fmla="*/ 1176337 h 2305041"/>
              <a:gd name="connsiteX18" fmla="*/ 2605087 w 2971294"/>
              <a:gd name="connsiteY18" fmla="*/ 1209675 h 2305041"/>
              <a:gd name="connsiteX19" fmla="*/ 2608262 w 2971294"/>
              <a:gd name="connsiteY19" fmla="*/ 1514475 h 2305041"/>
              <a:gd name="connsiteX20" fmla="*/ 2614612 w 2971294"/>
              <a:gd name="connsiteY20" fmla="*/ 2066925 h 2305041"/>
              <a:gd name="connsiteX21" fmla="*/ 2616200 w 2971294"/>
              <a:gd name="connsiteY21" fmla="*/ 2203450 h 2305041"/>
              <a:gd name="connsiteX22" fmla="*/ 2624137 w 2971294"/>
              <a:gd name="connsiteY22" fmla="*/ 2292350 h 2305041"/>
              <a:gd name="connsiteX23" fmla="*/ 2851150 w 2971294"/>
              <a:gd name="connsiteY23" fmla="*/ 2303462 h 2305041"/>
              <a:gd name="connsiteX24" fmla="*/ 2967037 w 2971294"/>
              <a:gd name="connsiteY24" fmla="*/ 2282825 h 2305041"/>
              <a:gd name="connsiteX25" fmla="*/ 2947987 w 2971294"/>
              <a:gd name="connsiteY25" fmla="*/ 2181225 h 2305041"/>
              <a:gd name="connsiteX26" fmla="*/ 2955925 w 2971294"/>
              <a:gd name="connsiteY26" fmla="*/ 2008187 h 2305041"/>
              <a:gd name="connsiteX27" fmla="*/ 2962275 w 2971294"/>
              <a:gd name="connsiteY27" fmla="*/ 1804987 h 2305041"/>
              <a:gd name="connsiteX28" fmla="*/ 2952750 w 2971294"/>
              <a:gd name="connsiteY28" fmla="*/ 1366837 h 2305041"/>
              <a:gd name="connsiteX29" fmla="*/ 2947987 w 2971294"/>
              <a:gd name="connsiteY29" fmla="*/ 1081087 h 2305041"/>
              <a:gd name="connsiteX30" fmla="*/ 2947987 w 2971294"/>
              <a:gd name="connsiteY30" fmla="*/ 922337 h 2305041"/>
              <a:gd name="connsiteX31" fmla="*/ 2952750 w 2971294"/>
              <a:gd name="connsiteY31" fmla="*/ 571500 h 2305041"/>
              <a:gd name="connsiteX32" fmla="*/ 2957512 w 2971294"/>
              <a:gd name="connsiteY32" fmla="*/ 342900 h 2305041"/>
              <a:gd name="connsiteX33" fmla="*/ 2957512 w 2971294"/>
              <a:gd name="connsiteY33" fmla="*/ 34925 h 2305041"/>
              <a:gd name="connsiteX34" fmla="*/ 2867025 w 2971294"/>
              <a:gd name="connsiteY34" fmla="*/ 19050 h 2305041"/>
              <a:gd name="connsiteX35" fmla="*/ 2724150 w 2971294"/>
              <a:gd name="connsiteY35" fmla="*/ 9525 h 2305041"/>
              <a:gd name="connsiteX36" fmla="*/ 2381250 w 2971294"/>
              <a:gd name="connsiteY36" fmla="*/ 14287 h 2305041"/>
              <a:gd name="connsiteX37" fmla="*/ 2324100 w 2971294"/>
              <a:gd name="connsiteY37" fmla="*/ 23812 h 2305041"/>
              <a:gd name="connsiteX38" fmla="*/ 1909762 w 2971294"/>
              <a:gd name="connsiteY38" fmla="*/ 19050 h 2305041"/>
              <a:gd name="connsiteX39" fmla="*/ 1804987 w 2971294"/>
              <a:gd name="connsiteY39" fmla="*/ 9525 h 2305041"/>
              <a:gd name="connsiteX40" fmla="*/ 1776412 w 2971294"/>
              <a:gd name="connsiteY40" fmla="*/ 0 h 2305041"/>
              <a:gd name="connsiteX41" fmla="*/ 1528762 w 2971294"/>
              <a:gd name="connsiteY41" fmla="*/ 4762 h 2305041"/>
              <a:gd name="connsiteX42" fmla="*/ 1143000 w 2971294"/>
              <a:gd name="connsiteY42" fmla="*/ 38100 h 2305041"/>
              <a:gd name="connsiteX43" fmla="*/ 309562 w 2971294"/>
              <a:gd name="connsiteY43" fmla="*/ 23812 h 2305041"/>
              <a:gd name="connsiteX44" fmla="*/ 247650 w 2971294"/>
              <a:gd name="connsiteY44" fmla="*/ 14287 h 2305041"/>
              <a:gd name="connsiteX45" fmla="*/ 185737 w 2971294"/>
              <a:gd name="connsiteY45" fmla="*/ 9525 h 2305041"/>
              <a:gd name="connsiteX46" fmla="*/ 19050 w 2971294"/>
              <a:gd name="connsiteY46" fmla="*/ 14287 h 2305041"/>
              <a:gd name="connsiteX47" fmla="*/ 4762 w 2971294"/>
              <a:gd name="connsiteY47" fmla="*/ 19050 h 2305041"/>
              <a:gd name="connsiteX48" fmla="*/ 9525 w 2971294"/>
              <a:gd name="connsiteY48" fmla="*/ 85725 h 2305041"/>
              <a:gd name="connsiteX49" fmla="*/ 23812 w 2971294"/>
              <a:gd name="connsiteY49" fmla="*/ 171450 h 2305041"/>
              <a:gd name="connsiteX50" fmla="*/ 14287 w 2971294"/>
              <a:gd name="connsiteY50" fmla="*/ 390525 h 2305041"/>
              <a:gd name="connsiteX51" fmla="*/ 0 w 2971294"/>
              <a:gd name="connsiteY51" fmla="*/ 466725 h 2305041"/>
              <a:gd name="connsiteX52" fmla="*/ 9525 w 2971294"/>
              <a:gd name="connsiteY52" fmla="*/ 800100 h 2305041"/>
              <a:gd name="connsiteX53" fmla="*/ 9525 w 2971294"/>
              <a:gd name="connsiteY53" fmla="*/ 871537 h 2305041"/>
              <a:gd name="connsiteX54" fmla="*/ 14287 w 2971294"/>
              <a:gd name="connsiteY54" fmla="*/ 1157287 h 2305041"/>
              <a:gd name="connsiteX55" fmla="*/ 19050 w 2971294"/>
              <a:gd name="connsiteY55" fmla="*/ 1204912 h 2305041"/>
              <a:gd name="connsiteX56" fmla="*/ 28575 w 2971294"/>
              <a:gd name="connsiteY56" fmla="*/ 1243012 h 2305041"/>
              <a:gd name="connsiteX57" fmla="*/ 33337 w 2971294"/>
              <a:gd name="connsiteY57" fmla="*/ 1328737 h 2305041"/>
              <a:gd name="connsiteX58" fmla="*/ 23812 w 2971294"/>
              <a:gd name="connsiteY58" fmla="*/ 1476375 h 2305041"/>
              <a:gd name="connsiteX59" fmla="*/ 14287 w 2971294"/>
              <a:gd name="connsiteY59" fmla="*/ 1562100 h 2305041"/>
              <a:gd name="connsiteX60" fmla="*/ 9525 w 2971294"/>
              <a:gd name="connsiteY60" fmla="*/ 1819275 h 2305041"/>
              <a:gd name="connsiteX61" fmla="*/ 14287 w 2971294"/>
              <a:gd name="connsiteY61" fmla="*/ 2014537 h 2305041"/>
              <a:gd name="connsiteX62" fmla="*/ 23812 w 2971294"/>
              <a:gd name="connsiteY62" fmla="*/ 2066925 h 2305041"/>
              <a:gd name="connsiteX63" fmla="*/ 28575 w 2971294"/>
              <a:gd name="connsiteY63" fmla="*/ 2152650 h 2305041"/>
              <a:gd name="connsiteX64" fmla="*/ 23812 w 2971294"/>
              <a:gd name="connsiteY64" fmla="*/ 2238375 h 2305041"/>
              <a:gd name="connsiteX65" fmla="*/ 14287 w 2971294"/>
              <a:gd name="connsiteY65" fmla="*/ 2300287 h 2305041"/>
              <a:gd name="connsiteX0" fmla="*/ 10431 w 2967438"/>
              <a:gd name="connsiteY0" fmla="*/ 2300287 h 2305041"/>
              <a:gd name="connsiteX1" fmla="*/ 58056 w 2967438"/>
              <a:gd name="connsiteY1" fmla="*/ 2295525 h 2305041"/>
              <a:gd name="connsiteX2" fmla="*/ 91394 w 2967438"/>
              <a:gd name="connsiteY2" fmla="*/ 2286000 h 2305041"/>
              <a:gd name="connsiteX3" fmla="*/ 362856 w 2967438"/>
              <a:gd name="connsiteY3" fmla="*/ 2271712 h 2305041"/>
              <a:gd name="connsiteX4" fmla="*/ 358094 w 2967438"/>
              <a:gd name="connsiteY4" fmla="*/ 2214562 h 2305041"/>
              <a:gd name="connsiteX5" fmla="*/ 362856 w 2967438"/>
              <a:gd name="connsiteY5" fmla="*/ 1585912 h 2305041"/>
              <a:gd name="connsiteX6" fmla="*/ 372381 w 2967438"/>
              <a:gd name="connsiteY6" fmla="*/ 1123950 h 2305041"/>
              <a:gd name="connsiteX7" fmla="*/ 367619 w 2967438"/>
              <a:gd name="connsiteY7" fmla="*/ 471487 h 2305041"/>
              <a:gd name="connsiteX8" fmla="*/ 372381 w 2967438"/>
              <a:gd name="connsiteY8" fmla="*/ 414337 h 2305041"/>
              <a:gd name="connsiteX9" fmla="*/ 429531 w 2967438"/>
              <a:gd name="connsiteY9" fmla="*/ 419100 h 2305041"/>
              <a:gd name="connsiteX10" fmla="*/ 877206 w 2967438"/>
              <a:gd name="connsiteY10" fmla="*/ 414337 h 2305041"/>
              <a:gd name="connsiteX11" fmla="*/ 1205819 w 2967438"/>
              <a:gd name="connsiteY11" fmla="*/ 414337 h 2305041"/>
              <a:gd name="connsiteX12" fmla="*/ 1234394 w 2967438"/>
              <a:gd name="connsiteY12" fmla="*/ 409575 h 2305041"/>
              <a:gd name="connsiteX13" fmla="*/ 2567894 w 2967438"/>
              <a:gd name="connsiteY13" fmla="*/ 404812 h 2305041"/>
              <a:gd name="connsiteX14" fmla="*/ 2605994 w 2967438"/>
              <a:gd name="connsiteY14" fmla="*/ 423862 h 2305041"/>
              <a:gd name="connsiteX15" fmla="*/ 2615519 w 2967438"/>
              <a:gd name="connsiteY15" fmla="*/ 457200 h 2305041"/>
              <a:gd name="connsiteX16" fmla="*/ 2605994 w 2967438"/>
              <a:gd name="connsiteY16" fmla="*/ 614362 h 2305041"/>
              <a:gd name="connsiteX17" fmla="*/ 2596469 w 2967438"/>
              <a:gd name="connsiteY17" fmla="*/ 1176337 h 2305041"/>
              <a:gd name="connsiteX18" fmla="*/ 2601231 w 2967438"/>
              <a:gd name="connsiteY18" fmla="*/ 1209675 h 2305041"/>
              <a:gd name="connsiteX19" fmla="*/ 2604406 w 2967438"/>
              <a:gd name="connsiteY19" fmla="*/ 1514475 h 2305041"/>
              <a:gd name="connsiteX20" fmla="*/ 2610756 w 2967438"/>
              <a:gd name="connsiteY20" fmla="*/ 2066925 h 2305041"/>
              <a:gd name="connsiteX21" fmla="*/ 2612344 w 2967438"/>
              <a:gd name="connsiteY21" fmla="*/ 2203450 h 2305041"/>
              <a:gd name="connsiteX22" fmla="*/ 2620281 w 2967438"/>
              <a:gd name="connsiteY22" fmla="*/ 2292350 h 2305041"/>
              <a:gd name="connsiteX23" fmla="*/ 2847294 w 2967438"/>
              <a:gd name="connsiteY23" fmla="*/ 2303462 h 2305041"/>
              <a:gd name="connsiteX24" fmla="*/ 2963181 w 2967438"/>
              <a:gd name="connsiteY24" fmla="*/ 2282825 h 2305041"/>
              <a:gd name="connsiteX25" fmla="*/ 2944131 w 2967438"/>
              <a:gd name="connsiteY25" fmla="*/ 2181225 h 2305041"/>
              <a:gd name="connsiteX26" fmla="*/ 2952069 w 2967438"/>
              <a:gd name="connsiteY26" fmla="*/ 2008187 h 2305041"/>
              <a:gd name="connsiteX27" fmla="*/ 2958419 w 2967438"/>
              <a:gd name="connsiteY27" fmla="*/ 1804987 h 2305041"/>
              <a:gd name="connsiteX28" fmla="*/ 2948894 w 2967438"/>
              <a:gd name="connsiteY28" fmla="*/ 1366837 h 2305041"/>
              <a:gd name="connsiteX29" fmla="*/ 2944131 w 2967438"/>
              <a:gd name="connsiteY29" fmla="*/ 1081087 h 2305041"/>
              <a:gd name="connsiteX30" fmla="*/ 2944131 w 2967438"/>
              <a:gd name="connsiteY30" fmla="*/ 922337 h 2305041"/>
              <a:gd name="connsiteX31" fmla="*/ 2948894 w 2967438"/>
              <a:gd name="connsiteY31" fmla="*/ 571500 h 2305041"/>
              <a:gd name="connsiteX32" fmla="*/ 2953656 w 2967438"/>
              <a:gd name="connsiteY32" fmla="*/ 342900 h 2305041"/>
              <a:gd name="connsiteX33" fmla="*/ 2953656 w 2967438"/>
              <a:gd name="connsiteY33" fmla="*/ 34925 h 2305041"/>
              <a:gd name="connsiteX34" fmla="*/ 2863169 w 2967438"/>
              <a:gd name="connsiteY34" fmla="*/ 19050 h 2305041"/>
              <a:gd name="connsiteX35" fmla="*/ 2720294 w 2967438"/>
              <a:gd name="connsiteY35" fmla="*/ 9525 h 2305041"/>
              <a:gd name="connsiteX36" fmla="*/ 2377394 w 2967438"/>
              <a:gd name="connsiteY36" fmla="*/ 14287 h 2305041"/>
              <a:gd name="connsiteX37" fmla="*/ 2320244 w 2967438"/>
              <a:gd name="connsiteY37" fmla="*/ 23812 h 2305041"/>
              <a:gd name="connsiteX38" fmla="*/ 1905906 w 2967438"/>
              <a:gd name="connsiteY38" fmla="*/ 19050 h 2305041"/>
              <a:gd name="connsiteX39" fmla="*/ 1801131 w 2967438"/>
              <a:gd name="connsiteY39" fmla="*/ 9525 h 2305041"/>
              <a:gd name="connsiteX40" fmla="*/ 1772556 w 2967438"/>
              <a:gd name="connsiteY40" fmla="*/ 0 h 2305041"/>
              <a:gd name="connsiteX41" fmla="*/ 1524906 w 2967438"/>
              <a:gd name="connsiteY41" fmla="*/ 4762 h 2305041"/>
              <a:gd name="connsiteX42" fmla="*/ 1139144 w 2967438"/>
              <a:gd name="connsiteY42" fmla="*/ 38100 h 2305041"/>
              <a:gd name="connsiteX43" fmla="*/ 305706 w 2967438"/>
              <a:gd name="connsiteY43" fmla="*/ 23812 h 2305041"/>
              <a:gd name="connsiteX44" fmla="*/ 243794 w 2967438"/>
              <a:gd name="connsiteY44" fmla="*/ 14287 h 2305041"/>
              <a:gd name="connsiteX45" fmla="*/ 181881 w 2967438"/>
              <a:gd name="connsiteY45" fmla="*/ 9525 h 2305041"/>
              <a:gd name="connsiteX46" fmla="*/ 15194 w 2967438"/>
              <a:gd name="connsiteY46" fmla="*/ 14287 h 2305041"/>
              <a:gd name="connsiteX47" fmla="*/ 906 w 2967438"/>
              <a:gd name="connsiteY47" fmla="*/ 19050 h 2305041"/>
              <a:gd name="connsiteX48" fmla="*/ 5669 w 2967438"/>
              <a:gd name="connsiteY48" fmla="*/ 85725 h 2305041"/>
              <a:gd name="connsiteX49" fmla="*/ 19956 w 2967438"/>
              <a:gd name="connsiteY49" fmla="*/ 171450 h 2305041"/>
              <a:gd name="connsiteX50" fmla="*/ 10431 w 2967438"/>
              <a:gd name="connsiteY50" fmla="*/ 390525 h 2305041"/>
              <a:gd name="connsiteX51" fmla="*/ 5669 w 2967438"/>
              <a:gd name="connsiteY51" fmla="*/ 800100 h 2305041"/>
              <a:gd name="connsiteX52" fmla="*/ 5669 w 2967438"/>
              <a:gd name="connsiteY52" fmla="*/ 871537 h 2305041"/>
              <a:gd name="connsiteX53" fmla="*/ 10431 w 2967438"/>
              <a:gd name="connsiteY53" fmla="*/ 1157287 h 2305041"/>
              <a:gd name="connsiteX54" fmla="*/ 15194 w 2967438"/>
              <a:gd name="connsiteY54" fmla="*/ 1204912 h 2305041"/>
              <a:gd name="connsiteX55" fmla="*/ 24719 w 2967438"/>
              <a:gd name="connsiteY55" fmla="*/ 1243012 h 2305041"/>
              <a:gd name="connsiteX56" fmla="*/ 29481 w 2967438"/>
              <a:gd name="connsiteY56" fmla="*/ 1328737 h 2305041"/>
              <a:gd name="connsiteX57" fmla="*/ 19956 w 2967438"/>
              <a:gd name="connsiteY57" fmla="*/ 1476375 h 2305041"/>
              <a:gd name="connsiteX58" fmla="*/ 10431 w 2967438"/>
              <a:gd name="connsiteY58" fmla="*/ 1562100 h 2305041"/>
              <a:gd name="connsiteX59" fmla="*/ 5669 w 2967438"/>
              <a:gd name="connsiteY59" fmla="*/ 1819275 h 2305041"/>
              <a:gd name="connsiteX60" fmla="*/ 10431 w 2967438"/>
              <a:gd name="connsiteY60" fmla="*/ 2014537 h 2305041"/>
              <a:gd name="connsiteX61" fmla="*/ 19956 w 2967438"/>
              <a:gd name="connsiteY61" fmla="*/ 2066925 h 2305041"/>
              <a:gd name="connsiteX62" fmla="*/ 24719 w 2967438"/>
              <a:gd name="connsiteY62" fmla="*/ 2152650 h 2305041"/>
              <a:gd name="connsiteX63" fmla="*/ 19956 w 2967438"/>
              <a:gd name="connsiteY63" fmla="*/ 2238375 h 2305041"/>
              <a:gd name="connsiteX64" fmla="*/ 10431 w 2967438"/>
              <a:gd name="connsiteY64" fmla="*/ 2300287 h 2305041"/>
              <a:gd name="connsiteX0" fmla="*/ 10431 w 2967438"/>
              <a:gd name="connsiteY0" fmla="*/ 2300287 h 2305041"/>
              <a:gd name="connsiteX1" fmla="*/ 58056 w 2967438"/>
              <a:gd name="connsiteY1" fmla="*/ 2295525 h 2305041"/>
              <a:gd name="connsiteX2" fmla="*/ 91394 w 2967438"/>
              <a:gd name="connsiteY2" fmla="*/ 2286000 h 2305041"/>
              <a:gd name="connsiteX3" fmla="*/ 362856 w 2967438"/>
              <a:gd name="connsiteY3" fmla="*/ 2271712 h 2305041"/>
              <a:gd name="connsiteX4" fmla="*/ 358094 w 2967438"/>
              <a:gd name="connsiteY4" fmla="*/ 2214562 h 2305041"/>
              <a:gd name="connsiteX5" fmla="*/ 362856 w 2967438"/>
              <a:gd name="connsiteY5" fmla="*/ 1585912 h 2305041"/>
              <a:gd name="connsiteX6" fmla="*/ 372381 w 2967438"/>
              <a:gd name="connsiteY6" fmla="*/ 1123950 h 2305041"/>
              <a:gd name="connsiteX7" fmla="*/ 367619 w 2967438"/>
              <a:gd name="connsiteY7" fmla="*/ 471487 h 2305041"/>
              <a:gd name="connsiteX8" fmla="*/ 372381 w 2967438"/>
              <a:gd name="connsiteY8" fmla="*/ 414337 h 2305041"/>
              <a:gd name="connsiteX9" fmla="*/ 429531 w 2967438"/>
              <a:gd name="connsiteY9" fmla="*/ 419100 h 2305041"/>
              <a:gd name="connsiteX10" fmla="*/ 877206 w 2967438"/>
              <a:gd name="connsiteY10" fmla="*/ 414337 h 2305041"/>
              <a:gd name="connsiteX11" fmla="*/ 1205819 w 2967438"/>
              <a:gd name="connsiteY11" fmla="*/ 414337 h 2305041"/>
              <a:gd name="connsiteX12" fmla="*/ 1234394 w 2967438"/>
              <a:gd name="connsiteY12" fmla="*/ 409575 h 2305041"/>
              <a:gd name="connsiteX13" fmla="*/ 2567894 w 2967438"/>
              <a:gd name="connsiteY13" fmla="*/ 404812 h 2305041"/>
              <a:gd name="connsiteX14" fmla="*/ 2605994 w 2967438"/>
              <a:gd name="connsiteY14" fmla="*/ 423862 h 2305041"/>
              <a:gd name="connsiteX15" fmla="*/ 2615519 w 2967438"/>
              <a:gd name="connsiteY15" fmla="*/ 457200 h 2305041"/>
              <a:gd name="connsiteX16" fmla="*/ 2605994 w 2967438"/>
              <a:gd name="connsiteY16" fmla="*/ 614362 h 2305041"/>
              <a:gd name="connsiteX17" fmla="*/ 2596469 w 2967438"/>
              <a:gd name="connsiteY17" fmla="*/ 1176337 h 2305041"/>
              <a:gd name="connsiteX18" fmla="*/ 2601231 w 2967438"/>
              <a:gd name="connsiteY18" fmla="*/ 1209675 h 2305041"/>
              <a:gd name="connsiteX19" fmla="*/ 2604406 w 2967438"/>
              <a:gd name="connsiteY19" fmla="*/ 1514475 h 2305041"/>
              <a:gd name="connsiteX20" fmla="*/ 2610756 w 2967438"/>
              <a:gd name="connsiteY20" fmla="*/ 2066925 h 2305041"/>
              <a:gd name="connsiteX21" fmla="*/ 2612344 w 2967438"/>
              <a:gd name="connsiteY21" fmla="*/ 2203450 h 2305041"/>
              <a:gd name="connsiteX22" fmla="*/ 2620281 w 2967438"/>
              <a:gd name="connsiteY22" fmla="*/ 2292350 h 2305041"/>
              <a:gd name="connsiteX23" fmla="*/ 2847294 w 2967438"/>
              <a:gd name="connsiteY23" fmla="*/ 2303462 h 2305041"/>
              <a:gd name="connsiteX24" fmla="*/ 2963181 w 2967438"/>
              <a:gd name="connsiteY24" fmla="*/ 2282825 h 2305041"/>
              <a:gd name="connsiteX25" fmla="*/ 2944131 w 2967438"/>
              <a:gd name="connsiteY25" fmla="*/ 2181225 h 2305041"/>
              <a:gd name="connsiteX26" fmla="*/ 2952069 w 2967438"/>
              <a:gd name="connsiteY26" fmla="*/ 2008187 h 2305041"/>
              <a:gd name="connsiteX27" fmla="*/ 2958419 w 2967438"/>
              <a:gd name="connsiteY27" fmla="*/ 1804987 h 2305041"/>
              <a:gd name="connsiteX28" fmla="*/ 2948894 w 2967438"/>
              <a:gd name="connsiteY28" fmla="*/ 1366837 h 2305041"/>
              <a:gd name="connsiteX29" fmla="*/ 2944131 w 2967438"/>
              <a:gd name="connsiteY29" fmla="*/ 1081087 h 2305041"/>
              <a:gd name="connsiteX30" fmla="*/ 2944131 w 2967438"/>
              <a:gd name="connsiteY30" fmla="*/ 922337 h 2305041"/>
              <a:gd name="connsiteX31" fmla="*/ 2948894 w 2967438"/>
              <a:gd name="connsiteY31" fmla="*/ 571500 h 2305041"/>
              <a:gd name="connsiteX32" fmla="*/ 2953656 w 2967438"/>
              <a:gd name="connsiteY32" fmla="*/ 342900 h 2305041"/>
              <a:gd name="connsiteX33" fmla="*/ 2953656 w 2967438"/>
              <a:gd name="connsiteY33" fmla="*/ 34925 h 2305041"/>
              <a:gd name="connsiteX34" fmla="*/ 2863169 w 2967438"/>
              <a:gd name="connsiteY34" fmla="*/ 19050 h 2305041"/>
              <a:gd name="connsiteX35" fmla="*/ 2720294 w 2967438"/>
              <a:gd name="connsiteY35" fmla="*/ 9525 h 2305041"/>
              <a:gd name="connsiteX36" fmla="*/ 2377394 w 2967438"/>
              <a:gd name="connsiteY36" fmla="*/ 14287 h 2305041"/>
              <a:gd name="connsiteX37" fmla="*/ 2320244 w 2967438"/>
              <a:gd name="connsiteY37" fmla="*/ 23812 h 2305041"/>
              <a:gd name="connsiteX38" fmla="*/ 1905906 w 2967438"/>
              <a:gd name="connsiteY38" fmla="*/ 19050 h 2305041"/>
              <a:gd name="connsiteX39" fmla="*/ 1801131 w 2967438"/>
              <a:gd name="connsiteY39" fmla="*/ 9525 h 2305041"/>
              <a:gd name="connsiteX40" fmla="*/ 1772556 w 2967438"/>
              <a:gd name="connsiteY40" fmla="*/ 0 h 2305041"/>
              <a:gd name="connsiteX41" fmla="*/ 1524906 w 2967438"/>
              <a:gd name="connsiteY41" fmla="*/ 4762 h 2305041"/>
              <a:gd name="connsiteX42" fmla="*/ 1139144 w 2967438"/>
              <a:gd name="connsiteY42" fmla="*/ 38100 h 2305041"/>
              <a:gd name="connsiteX43" fmla="*/ 305706 w 2967438"/>
              <a:gd name="connsiteY43" fmla="*/ 23812 h 2305041"/>
              <a:gd name="connsiteX44" fmla="*/ 243794 w 2967438"/>
              <a:gd name="connsiteY44" fmla="*/ 14287 h 2305041"/>
              <a:gd name="connsiteX45" fmla="*/ 181881 w 2967438"/>
              <a:gd name="connsiteY45" fmla="*/ 9525 h 2305041"/>
              <a:gd name="connsiteX46" fmla="*/ 15194 w 2967438"/>
              <a:gd name="connsiteY46" fmla="*/ 14287 h 2305041"/>
              <a:gd name="connsiteX47" fmla="*/ 906 w 2967438"/>
              <a:gd name="connsiteY47" fmla="*/ 19050 h 2305041"/>
              <a:gd name="connsiteX48" fmla="*/ 5669 w 2967438"/>
              <a:gd name="connsiteY48" fmla="*/ 85725 h 2305041"/>
              <a:gd name="connsiteX49" fmla="*/ 19956 w 2967438"/>
              <a:gd name="connsiteY49" fmla="*/ 171450 h 2305041"/>
              <a:gd name="connsiteX50" fmla="*/ 10431 w 2967438"/>
              <a:gd name="connsiteY50" fmla="*/ 390525 h 2305041"/>
              <a:gd name="connsiteX51" fmla="*/ 5669 w 2967438"/>
              <a:gd name="connsiteY51" fmla="*/ 800100 h 2305041"/>
              <a:gd name="connsiteX52" fmla="*/ 5669 w 2967438"/>
              <a:gd name="connsiteY52" fmla="*/ 871537 h 2305041"/>
              <a:gd name="connsiteX53" fmla="*/ 10431 w 2967438"/>
              <a:gd name="connsiteY53" fmla="*/ 1157287 h 2305041"/>
              <a:gd name="connsiteX54" fmla="*/ 24719 w 2967438"/>
              <a:gd name="connsiteY54" fmla="*/ 1243012 h 2305041"/>
              <a:gd name="connsiteX55" fmla="*/ 29481 w 2967438"/>
              <a:gd name="connsiteY55" fmla="*/ 1328737 h 2305041"/>
              <a:gd name="connsiteX56" fmla="*/ 19956 w 2967438"/>
              <a:gd name="connsiteY56" fmla="*/ 1476375 h 2305041"/>
              <a:gd name="connsiteX57" fmla="*/ 10431 w 2967438"/>
              <a:gd name="connsiteY57" fmla="*/ 1562100 h 2305041"/>
              <a:gd name="connsiteX58" fmla="*/ 5669 w 2967438"/>
              <a:gd name="connsiteY58" fmla="*/ 1819275 h 2305041"/>
              <a:gd name="connsiteX59" fmla="*/ 10431 w 2967438"/>
              <a:gd name="connsiteY59" fmla="*/ 2014537 h 2305041"/>
              <a:gd name="connsiteX60" fmla="*/ 19956 w 2967438"/>
              <a:gd name="connsiteY60" fmla="*/ 2066925 h 2305041"/>
              <a:gd name="connsiteX61" fmla="*/ 24719 w 2967438"/>
              <a:gd name="connsiteY61" fmla="*/ 2152650 h 2305041"/>
              <a:gd name="connsiteX62" fmla="*/ 19956 w 2967438"/>
              <a:gd name="connsiteY62" fmla="*/ 2238375 h 2305041"/>
              <a:gd name="connsiteX63" fmla="*/ 10431 w 2967438"/>
              <a:gd name="connsiteY63" fmla="*/ 2300287 h 2305041"/>
              <a:gd name="connsiteX0" fmla="*/ 10431 w 2967438"/>
              <a:gd name="connsiteY0" fmla="*/ 2300287 h 2305041"/>
              <a:gd name="connsiteX1" fmla="*/ 58056 w 2967438"/>
              <a:gd name="connsiteY1" fmla="*/ 2295525 h 2305041"/>
              <a:gd name="connsiteX2" fmla="*/ 91394 w 2967438"/>
              <a:gd name="connsiteY2" fmla="*/ 2286000 h 2305041"/>
              <a:gd name="connsiteX3" fmla="*/ 362856 w 2967438"/>
              <a:gd name="connsiteY3" fmla="*/ 2271712 h 2305041"/>
              <a:gd name="connsiteX4" fmla="*/ 358094 w 2967438"/>
              <a:gd name="connsiteY4" fmla="*/ 2214562 h 2305041"/>
              <a:gd name="connsiteX5" fmla="*/ 362856 w 2967438"/>
              <a:gd name="connsiteY5" fmla="*/ 1585912 h 2305041"/>
              <a:gd name="connsiteX6" fmla="*/ 372381 w 2967438"/>
              <a:gd name="connsiteY6" fmla="*/ 1123950 h 2305041"/>
              <a:gd name="connsiteX7" fmla="*/ 367619 w 2967438"/>
              <a:gd name="connsiteY7" fmla="*/ 471487 h 2305041"/>
              <a:gd name="connsiteX8" fmla="*/ 372381 w 2967438"/>
              <a:gd name="connsiteY8" fmla="*/ 414337 h 2305041"/>
              <a:gd name="connsiteX9" fmla="*/ 429531 w 2967438"/>
              <a:gd name="connsiteY9" fmla="*/ 419100 h 2305041"/>
              <a:gd name="connsiteX10" fmla="*/ 877206 w 2967438"/>
              <a:gd name="connsiteY10" fmla="*/ 414337 h 2305041"/>
              <a:gd name="connsiteX11" fmla="*/ 1205819 w 2967438"/>
              <a:gd name="connsiteY11" fmla="*/ 414337 h 2305041"/>
              <a:gd name="connsiteX12" fmla="*/ 1234394 w 2967438"/>
              <a:gd name="connsiteY12" fmla="*/ 409575 h 2305041"/>
              <a:gd name="connsiteX13" fmla="*/ 2567894 w 2967438"/>
              <a:gd name="connsiteY13" fmla="*/ 404812 h 2305041"/>
              <a:gd name="connsiteX14" fmla="*/ 2605994 w 2967438"/>
              <a:gd name="connsiteY14" fmla="*/ 423862 h 2305041"/>
              <a:gd name="connsiteX15" fmla="*/ 2615519 w 2967438"/>
              <a:gd name="connsiteY15" fmla="*/ 457200 h 2305041"/>
              <a:gd name="connsiteX16" fmla="*/ 2605994 w 2967438"/>
              <a:gd name="connsiteY16" fmla="*/ 614362 h 2305041"/>
              <a:gd name="connsiteX17" fmla="*/ 2596469 w 2967438"/>
              <a:gd name="connsiteY17" fmla="*/ 1176337 h 2305041"/>
              <a:gd name="connsiteX18" fmla="*/ 2601231 w 2967438"/>
              <a:gd name="connsiteY18" fmla="*/ 1209675 h 2305041"/>
              <a:gd name="connsiteX19" fmla="*/ 2604406 w 2967438"/>
              <a:gd name="connsiteY19" fmla="*/ 1514475 h 2305041"/>
              <a:gd name="connsiteX20" fmla="*/ 2610756 w 2967438"/>
              <a:gd name="connsiteY20" fmla="*/ 2066925 h 2305041"/>
              <a:gd name="connsiteX21" fmla="*/ 2612344 w 2967438"/>
              <a:gd name="connsiteY21" fmla="*/ 2203450 h 2305041"/>
              <a:gd name="connsiteX22" fmla="*/ 2620281 w 2967438"/>
              <a:gd name="connsiteY22" fmla="*/ 2292350 h 2305041"/>
              <a:gd name="connsiteX23" fmla="*/ 2847294 w 2967438"/>
              <a:gd name="connsiteY23" fmla="*/ 2303462 h 2305041"/>
              <a:gd name="connsiteX24" fmla="*/ 2963181 w 2967438"/>
              <a:gd name="connsiteY24" fmla="*/ 2282825 h 2305041"/>
              <a:gd name="connsiteX25" fmla="*/ 2944131 w 2967438"/>
              <a:gd name="connsiteY25" fmla="*/ 2181225 h 2305041"/>
              <a:gd name="connsiteX26" fmla="*/ 2952069 w 2967438"/>
              <a:gd name="connsiteY26" fmla="*/ 2008187 h 2305041"/>
              <a:gd name="connsiteX27" fmla="*/ 2958419 w 2967438"/>
              <a:gd name="connsiteY27" fmla="*/ 1804987 h 2305041"/>
              <a:gd name="connsiteX28" fmla="*/ 2948894 w 2967438"/>
              <a:gd name="connsiteY28" fmla="*/ 1366837 h 2305041"/>
              <a:gd name="connsiteX29" fmla="*/ 2944131 w 2967438"/>
              <a:gd name="connsiteY29" fmla="*/ 1081087 h 2305041"/>
              <a:gd name="connsiteX30" fmla="*/ 2944131 w 2967438"/>
              <a:gd name="connsiteY30" fmla="*/ 922337 h 2305041"/>
              <a:gd name="connsiteX31" fmla="*/ 2948894 w 2967438"/>
              <a:gd name="connsiteY31" fmla="*/ 571500 h 2305041"/>
              <a:gd name="connsiteX32" fmla="*/ 2953656 w 2967438"/>
              <a:gd name="connsiteY32" fmla="*/ 342900 h 2305041"/>
              <a:gd name="connsiteX33" fmla="*/ 2953656 w 2967438"/>
              <a:gd name="connsiteY33" fmla="*/ 34925 h 2305041"/>
              <a:gd name="connsiteX34" fmla="*/ 2863169 w 2967438"/>
              <a:gd name="connsiteY34" fmla="*/ 19050 h 2305041"/>
              <a:gd name="connsiteX35" fmla="*/ 2720294 w 2967438"/>
              <a:gd name="connsiteY35" fmla="*/ 9525 h 2305041"/>
              <a:gd name="connsiteX36" fmla="*/ 2377394 w 2967438"/>
              <a:gd name="connsiteY36" fmla="*/ 14287 h 2305041"/>
              <a:gd name="connsiteX37" fmla="*/ 2320244 w 2967438"/>
              <a:gd name="connsiteY37" fmla="*/ 23812 h 2305041"/>
              <a:gd name="connsiteX38" fmla="*/ 1905906 w 2967438"/>
              <a:gd name="connsiteY38" fmla="*/ 19050 h 2305041"/>
              <a:gd name="connsiteX39" fmla="*/ 1801131 w 2967438"/>
              <a:gd name="connsiteY39" fmla="*/ 9525 h 2305041"/>
              <a:gd name="connsiteX40" fmla="*/ 1772556 w 2967438"/>
              <a:gd name="connsiteY40" fmla="*/ 0 h 2305041"/>
              <a:gd name="connsiteX41" fmla="*/ 1524906 w 2967438"/>
              <a:gd name="connsiteY41" fmla="*/ 4762 h 2305041"/>
              <a:gd name="connsiteX42" fmla="*/ 1139144 w 2967438"/>
              <a:gd name="connsiteY42" fmla="*/ 38100 h 2305041"/>
              <a:gd name="connsiteX43" fmla="*/ 305706 w 2967438"/>
              <a:gd name="connsiteY43" fmla="*/ 23812 h 2305041"/>
              <a:gd name="connsiteX44" fmla="*/ 243794 w 2967438"/>
              <a:gd name="connsiteY44" fmla="*/ 14287 h 2305041"/>
              <a:gd name="connsiteX45" fmla="*/ 181881 w 2967438"/>
              <a:gd name="connsiteY45" fmla="*/ 9525 h 2305041"/>
              <a:gd name="connsiteX46" fmla="*/ 15194 w 2967438"/>
              <a:gd name="connsiteY46" fmla="*/ 14287 h 2305041"/>
              <a:gd name="connsiteX47" fmla="*/ 906 w 2967438"/>
              <a:gd name="connsiteY47" fmla="*/ 19050 h 2305041"/>
              <a:gd name="connsiteX48" fmla="*/ 5669 w 2967438"/>
              <a:gd name="connsiteY48" fmla="*/ 85725 h 2305041"/>
              <a:gd name="connsiteX49" fmla="*/ 19956 w 2967438"/>
              <a:gd name="connsiteY49" fmla="*/ 171450 h 2305041"/>
              <a:gd name="connsiteX50" fmla="*/ 10431 w 2967438"/>
              <a:gd name="connsiteY50" fmla="*/ 390525 h 2305041"/>
              <a:gd name="connsiteX51" fmla="*/ 5669 w 2967438"/>
              <a:gd name="connsiteY51" fmla="*/ 800100 h 2305041"/>
              <a:gd name="connsiteX52" fmla="*/ 5669 w 2967438"/>
              <a:gd name="connsiteY52" fmla="*/ 871537 h 2305041"/>
              <a:gd name="connsiteX53" fmla="*/ 10431 w 2967438"/>
              <a:gd name="connsiteY53" fmla="*/ 1157287 h 2305041"/>
              <a:gd name="connsiteX54" fmla="*/ 29481 w 2967438"/>
              <a:gd name="connsiteY54" fmla="*/ 1328737 h 2305041"/>
              <a:gd name="connsiteX55" fmla="*/ 19956 w 2967438"/>
              <a:gd name="connsiteY55" fmla="*/ 1476375 h 2305041"/>
              <a:gd name="connsiteX56" fmla="*/ 10431 w 2967438"/>
              <a:gd name="connsiteY56" fmla="*/ 1562100 h 2305041"/>
              <a:gd name="connsiteX57" fmla="*/ 5669 w 2967438"/>
              <a:gd name="connsiteY57" fmla="*/ 1819275 h 2305041"/>
              <a:gd name="connsiteX58" fmla="*/ 10431 w 2967438"/>
              <a:gd name="connsiteY58" fmla="*/ 2014537 h 2305041"/>
              <a:gd name="connsiteX59" fmla="*/ 19956 w 2967438"/>
              <a:gd name="connsiteY59" fmla="*/ 2066925 h 2305041"/>
              <a:gd name="connsiteX60" fmla="*/ 24719 w 2967438"/>
              <a:gd name="connsiteY60" fmla="*/ 2152650 h 2305041"/>
              <a:gd name="connsiteX61" fmla="*/ 19956 w 2967438"/>
              <a:gd name="connsiteY61" fmla="*/ 2238375 h 2305041"/>
              <a:gd name="connsiteX62" fmla="*/ 10431 w 2967438"/>
              <a:gd name="connsiteY62" fmla="*/ 2300287 h 2305041"/>
              <a:gd name="connsiteX0" fmla="*/ 10431 w 2967438"/>
              <a:gd name="connsiteY0" fmla="*/ 2300287 h 2305041"/>
              <a:gd name="connsiteX1" fmla="*/ 58056 w 2967438"/>
              <a:gd name="connsiteY1" fmla="*/ 2295525 h 2305041"/>
              <a:gd name="connsiteX2" fmla="*/ 91394 w 2967438"/>
              <a:gd name="connsiteY2" fmla="*/ 2286000 h 2305041"/>
              <a:gd name="connsiteX3" fmla="*/ 362856 w 2967438"/>
              <a:gd name="connsiteY3" fmla="*/ 2271712 h 2305041"/>
              <a:gd name="connsiteX4" fmla="*/ 358094 w 2967438"/>
              <a:gd name="connsiteY4" fmla="*/ 2214562 h 2305041"/>
              <a:gd name="connsiteX5" fmla="*/ 362856 w 2967438"/>
              <a:gd name="connsiteY5" fmla="*/ 1585912 h 2305041"/>
              <a:gd name="connsiteX6" fmla="*/ 372381 w 2967438"/>
              <a:gd name="connsiteY6" fmla="*/ 1123950 h 2305041"/>
              <a:gd name="connsiteX7" fmla="*/ 367619 w 2967438"/>
              <a:gd name="connsiteY7" fmla="*/ 471487 h 2305041"/>
              <a:gd name="connsiteX8" fmla="*/ 372381 w 2967438"/>
              <a:gd name="connsiteY8" fmla="*/ 414337 h 2305041"/>
              <a:gd name="connsiteX9" fmla="*/ 429531 w 2967438"/>
              <a:gd name="connsiteY9" fmla="*/ 419100 h 2305041"/>
              <a:gd name="connsiteX10" fmla="*/ 877206 w 2967438"/>
              <a:gd name="connsiteY10" fmla="*/ 414337 h 2305041"/>
              <a:gd name="connsiteX11" fmla="*/ 1205819 w 2967438"/>
              <a:gd name="connsiteY11" fmla="*/ 414337 h 2305041"/>
              <a:gd name="connsiteX12" fmla="*/ 1234394 w 2967438"/>
              <a:gd name="connsiteY12" fmla="*/ 409575 h 2305041"/>
              <a:gd name="connsiteX13" fmla="*/ 2567894 w 2967438"/>
              <a:gd name="connsiteY13" fmla="*/ 404812 h 2305041"/>
              <a:gd name="connsiteX14" fmla="*/ 2605994 w 2967438"/>
              <a:gd name="connsiteY14" fmla="*/ 423862 h 2305041"/>
              <a:gd name="connsiteX15" fmla="*/ 2615519 w 2967438"/>
              <a:gd name="connsiteY15" fmla="*/ 457200 h 2305041"/>
              <a:gd name="connsiteX16" fmla="*/ 2605994 w 2967438"/>
              <a:gd name="connsiteY16" fmla="*/ 614362 h 2305041"/>
              <a:gd name="connsiteX17" fmla="*/ 2596469 w 2967438"/>
              <a:gd name="connsiteY17" fmla="*/ 1176337 h 2305041"/>
              <a:gd name="connsiteX18" fmla="*/ 2601231 w 2967438"/>
              <a:gd name="connsiteY18" fmla="*/ 1209675 h 2305041"/>
              <a:gd name="connsiteX19" fmla="*/ 2604406 w 2967438"/>
              <a:gd name="connsiteY19" fmla="*/ 1514475 h 2305041"/>
              <a:gd name="connsiteX20" fmla="*/ 2610756 w 2967438"/>
              <a:gd name="connsiteY20" fmla="*/ 2066925 h 2305041"/>
              <a:gd name="connsiteX21" fmla="*/ 2612344 w 2967438"/>
              <a:gd name="connsiteY21" fmla="*/ 2203450 h 2305041"/>
              <a:gd name="connsiteX22" fmla="*/ 2620281 w 2967438"/>
              <a:gd name="connsiteY22" fmla="*/ 2292350 h 2305041"/>
              <a:gd name="connsiteX23" fmla="*/ 2847294 w 2967438"/>
              <a:gd name="connsiteY23" fmla="*/ 2303462 h 2305041"/>
              <a:gd name="connsiteX24" fmla="*/ 2963181 w 2967438"/>
              <a:gd name="connsiteY24" fmla="*/ 2282825 h 2305041"/>
              <a:gd name="connsiteX25" fmla="*/ 2944131 w 2967438"/>
              <a:gd name="connsiteY25" fmla="*/ 2181225 h 2305041"/>
              <a:gd name="connsiteX26" fmla="*/ 2952069 w 2967438"/>
              <a:gd name="connsiteY26" fmla="*/ 2008187 h 2305041"/>
              <a:gd name="connsiteX27" fmla="*/ 2958419 w 2967438"/>
              <a:gd name="connsiteY27" fmla="*/ 1804987 h 2305041"/>
              <a:gd name="connsiteX28" fmla="*/ 2948894 w 2967438"/>
              <a:gd name="connsiteY28" fmla="*/ 1366837 h 2305041"/>
              <a:gd name="connsiteX29" fmla="*/ 2944131 w 2967438"/>
              <a:gd name="connsiteY29" fmla="*/ 1081087 h 2305041"/>
              <a:gd name="connsiteX30" fmla="*/ 2944131 w 2967438"/>
              <a:gd name="connsiteY30" fmla="*/ 922337 h 2305041"/>
              <a:gd name="connsiteX31" fmla="*/ 2948894 w 2967438"/>
              <a:gd name="connsiteY31" fmla="*/ 571500 h 2305041"/>
              <a:gd name="connsiteX32" fmla="*/ 2953656 w 2967438"/>
              <a:gd name="connsiteY32" fmla="*/ 342900 h 2305041"/>
              <a:gd name="connsiteX33" fmla="*/ 2953656 w 2967438"/>
              <a:gd name="connsiteY33" fmla="*/ 34925 h 2305041"/>
              <a:gd name="connsiteX34" fmla="*/ 2863169 w 2967438"/>
              <a:gd name="connsiteY34" fmla="*/ 19050 h 2305041"/>
              <a:gd name="connsiteX35" fmla="*/ 2720294 w 2967438"/>
              <a:gd name="connsiteY35" fmla="*/ 9525 h 2305041"/>
              <a:gd name="connsiteX36" fmla="*/ 2377394 w 2967438"/>
              <a:gd name="connsiteY36" fmla="*/ 14287 h 2305041"/>
              <a:gd name="connsiteX37" fmla="*/ 2320244 w 2967438"/>
              <a:gd name="connsiteY37" fmla="*/ 23812 h 2305041"/>
              <a:gd name="connsiteX38" fmla="*/ 1905906 w 2967438"/>
              <a:gd name="connsiteY38" fmla="*/ 19050 h 2305041"/>
              <a:gd name="connsiteX39" fmla="*/ 1801131 w 2967438"/>
              <a:gd name="connsiteY39" fmla="*/ 9525 h 2305041"/>
              <a:gd name="connsiteX40" fmla="*/ 1772556 w 2967438"/>
              <a:gd name="connsiteY40" fmla="*/ 0 h 2305041"/>
              <a:gd name="connsiteX41" fmla="*/ 1524906 w 2967438"/>
              <a:gd name="connsiteY41" fmla="*/ 4762 h 2305041"/>
              <a:gd name="connsiteX42" fmla="*/ 1139144 w 2967438"/>
              <a:gd name="connsiteY42" fmla="*/ 38100 h 2305041"/>
              <a:gd name="connsiteX43" fmla="*/ 305706 w 2967438"/>
              <a:gd name="connsiteY43" fmla="*/ 23812 h 2305041"/>
              <a:gd name="connsiteX44" fmla="*/ 243794 w 2967438"/>
              <a:gd name="connsiteY44" fmla="*/ 14287 h 2305041"/>
              <a:gd name="connsiteX45" fmla="*/ 181881 w 2967438"/>
              <a:gd name="connsiteY45" fmla="*/ 9525 h 2305041"/>
              <a:gd name="connsiteX46" fmla="*/ 15194 w 2967438"/>
              <a:gd name="connsiteY46" fmla="*/ 14287 h 2305041"/>
              <a:gd name="connsiteX47" fmla="*/ 906 w 2967438"/>
              <a:gd name="connsiteY47" fmla="*/ 19050 h 2305041"/>
              <a:gd name="connsiteX48" fmla="*/ 5669 w 2967438"/>
              <a:gd name="connsiteY48" fmla="*/ 85725 h 2305041"/>
              <a:gd name="connsiteX49" fmla="*/ 19956 w 2967438"/>
              <a:gd name="connsiteY49" fmla="*/ 171450 h 2305041"/>
              <a:gd name="connsiteX50" fmla="*/ 10431 w 2967438"/>
              <a:gd name="connsiteY50" fmla="*/ 390525 h 2305041"/>
              <a:gd name="connsiteX51" fmla="*/ 5669 w 2967438"/>
              <a:gd name="connsiteY51" fmla="*/ 800100 h 2305041"/>
              <a:gd name="connsiteX52" fmla="*/ 5669 w 2967438"/>
              <a:gd name="connsiteY52" fmla="*/ 871537 h 2305041"/>
              <a:gd name="connsiteX53" fmla="*/ 10431 w 2967438"/>
              <a:gd name="connsiteY53" fmla="*/ 1157287 h 2305041"/>
              <a:gd name="connsiteX54" fmla="*/ 29481 w 2967438"/>
              <a:gd name="connsiteY54" fmla="*/ 1328737 h 2305041"/>
              <a:gd name="connsiteX55" fmla="*/ 19956 w 2967438"/>
              <a:gd name="connsiteY55" fmla="*/ 1476375 h 2305041"/>
              <a:gd name="connsiteX56" fmla="*/ 10431 w 2967438"/>
              <a:gd name="connsiteY56" fmla="*/ 1562100 h 2305041"/>
              <a:gd name="connsiteX57" fmla="*/ 5669 w 2967438"/>
              <a:gd name="connsiteY57" fmla="*/ 1819275 h 2305041"/>
              <a:gd name="connsiteX58" fmla="*/ 10431 w 2967438"/>
              <a:gd name="connsiteY58" fmla="*/ 2014537 h 2305041"/>
              <a:gd name="connsiteX59" fmla="*/ 24719 w 2967438"/>
              <a:gd name="connsiteY59" fmla="*/ 2152650 h 2305041"/>
              <a:gd name="connsiteX60" fmla="*/ 19956 w 2967438"/>
              <a:gd name="connsiteY60" fmla="*/ 2238375 h 2305041"/>
              <a:gd name="connsiteX61" fmla="*/ 10431 w 2967438"/>
              <a:gd name="connsiteY61" fmla="*/ 2300287 h 2305041"/>
              <a:gd name="connsiteX0" fmla="*/ 10431 w 2967438"/>
              <a:gd name="connsiteY0" fmla="*/ 2300287 h 2305041"/>
              <a:gd name="connsiteX1" fmla="*/ 58056 w 2967438"/>
              <a:gd name="connsiteY1" fmla="*/ 2295525 h 2305041"/>
              <a:gd name="connsiteX2" fmla="*/ 91394 w 2967438"/>
              <a:gd name="connsiteY2" fmla="*/ 2286000 h 2305041"/>
              <a:gd name="connsiteX3" fmla="*/ 362856 w 2967438"/>
              <a:gd name="connsiteY3" fmla="*/ 2271712 h 2305041"/>
              <a:gd name="connsiteX4" fmla="*/ 358094 w 2967438"/>
              <a:gd name="connsiteY4" fmla="*/ 2214562 h 2305041"/>
              <a:gd name="connsiteX5" fmla="*/ 362856 w 2967438"/>
              <a:gd name="connsiteY5" fmla="*/ 1585912 h 2305041"/>
              <a:gd name="connsiteX6" fmla="*/ 372381 w 2967438"/>
              <a:gd name="connsiteY6" fmla="*/ 1123950 h 2305041"/>
              <a:gd name="connsiteX7" fmla="*/ 367619 w 2967438"/>
              <a:gd name="connsiteY7" fmla="*/ 471487 h 2305041"/>
              <a:gd name="connsiteX8" fmla="*/ 372381 w 2967438"/>
              <a:gd name="connsiteY8" fmla="*/ 414337 h 2305041"/>
              <a:gd name="connsiteX9" fmla="*/ 429531 w 2967438"/>
              <a:gd name="connsiteY9" fmla="*/ 419100 h 2305041"/>
              <a:gd name="connsiteX10" fmla="*/ 877206 w 2967438"/>
              <a:gd name="connsiteY10" fmla="*/ 414337 h 2305041"/>
              <a:gd name="connsiteX11" fmla="*/ 1205819 w 2967438"/>
              <a:gd name="connsiteY11" fmla="*/ 414337 h 2305041"/>
              <a:gd name="connsiteX12" fmla="*/ 1234394 w 2967438"/>
              <a:gd name="connsiteY12" fmla="*/ 409575 h 2305041"/>
              <a:gd name="connsiteX13" fmla="*/ 2567894 w 2967438"/>
              <a:gd name="connsiteY13" fmla="*/ 404812 h 2305041"/>
              <a:gd name="connsiteX14" fmla="*/ 2605994 w 2967438"/>
              <a:gd name="connsiteY14" fmla="*/ 423862 h 2305041"/>
              <a:gd name="connsiteX15" fmla="*/ 2615519 w 2967438"/>
              <a:gd name="connsiteY15" fmla="*/ 457200 h 2305041"/>
              <a:gd name="connsiteX16" fmla="*/ 2605994 w 2967438"/>
              <a:gd name="connsiteY16" fmla="*/ 614362 h 2305041"/>
              <a:gd name="connsiteX17" fmla="*/ 2596469 w 2967438"/>
              <a:gd name="connsiteY17" fmla="*/ 1176337 h 2305041"/>
              <a:gd name="connsiteX18" fmla="*/ 2601231 w 2967438"/>
              <a:gd name="connsiteY18" fmla="*/ 1209675 h 2305041"/>
              <a:gd name="connsiteX19" fmla="*/ 2604406 w 2967438"/>
              <a:gd name="connsiteY19" fmla="*/ 1514475 h 2305041"/>
              <a:gd name="connsiteX20" fmla="*/ 2610756 w 2967438"/>
              <a:gd name="connsiteY20" fmla="*/ 2066925 h 2305041"/>
              <a:gd name="connsiteX21" fmla="*/ 2612344 w 2967438"/>
              <a:gd name="connsiteY21" fmla="*/ 2203450 h 2305041"/>
              <a:gd name="connsiteX22" fmla="*/ 2620281 w 2967438"/>
              <a:gd name="connsiteY22" fmla="*/ 2292350 h 2305041"/>
              <a:gd name="connsiteX23" fmla="*/ 2847294 w 2967438"/>
              <a:gd name="connsiteY23" fmla="*/ 2303462 h 2305041"/>
              <a:gd name="connsiteX24" fmla="*/ 2963181 w 2967438"/>
              <a:gd name="connsiteY24" fmla="*/ 2282825 h 2305041"/>
              <a:gd name="connsiteX25" fmla="*/ 2944131 w 2967438"/>
              <a:gd name="connsiteY25" fmla="*/ 2181225 h 2305041"/>
              <a:gd name="connsiteX26" fmla="*/ 2952069 w 2967438"/>
              <a:gd name="connsiteY26" fmla="*/ 2008187 h 2305041"/>
              <a:gd name="connsiteX27" fmla="*/ 2958419 w 2967438"/>
              <a:gd name="connsiteY27" fmla="*/ 1804987 h 2305041"/>
              <a:gd name="connsiteX28" fmla="*/ 2948894 w 2967438"/>
              <a:gd name="connsiteY28" fmla="*/ 1366837 h 2305041"/>
              <a:gd name="connsiteX29" fmla="*/ 2944131 w 2967438"/>
              <a:gd name="connsiteY29" fmla="*/ 1081087 h 2305041"/>
              <a:gd name="connsiteX30" fmla="*/ 2944131 w 2967438"/>
              <a:gd name="connsiteY30" fmla="*/ 922337 h 2305041"/>
              <a:gd name="connsiteX31" fmla="*/ 2948894 w 2967438"/>
              <a:gd name="connsiteY31" fmla="*/ 571500 h 2305041"/>
              <a:gd name="connsiteX32" fmla="*/ 2953656 w 2967438"/>
              <a:gd name="connsiteY32" fmla="*/ 342900 h 2305041"/>
              <a:gd name="connsiteX33" fmla="*/ 2953656 w 2967438"/>
              <a:gd name="connsiteY33" fmla="*/ 34925 h 2305041"/>
              <a:gd name="connsiteX34" fmla="*/ 2863169 w 2967438"/>
              <a:gd name="connsiteY34" fmla="*/ 19050 h 2305041"/>
              <a:gd name="connsiteX35" fmla="*/ 2720294 w 2967438"/>
              <a:gd name="connsiteY35" fmla="*/ 9525 h 2305041"/>
              <a:gd name="connsiteX36" fmla="*/ 2377394 w 2967438"/>
              <a:gd name="connsiteY36" fmla="*/ 14287 h 2305041"/>
              <a:gd name="connsiteX37" fmla="*/ 2320244 w 2967438"/>
              <a:gd name="connsiteY37" fmla="*/ 23812 h 2305041"/>
              <a:gd name="connsiteX38" fmla="*/ 1905906 w 2967438"/>
              <a:gd name="connsiteY38" fmla="*/ 19050 h 2305041"/>
              <a:gd name="connsiteX39" fmla="*/ 1801131 w 2967438"/>
              <a:gd name="connsiteY39" fmla="*/ 9525 h 2305041"/>
              <a:gd name="connsiteX40" fmla="*/ 1772556 w 2967438"/>
              <a:gd name="connsiteY40" fmla="*/ 0 h 2305041"/>
              <a:gd name="connsiteX41" fmla="*/ 1524906 w 2967438"/>
              <a:gd name="connsiteY41" fmla="*/ 4762 h 2305041"/>
              <a:gd name="connsiteX42" fmla="*/ 1139144 w 2967438"/>
              <a:gd name="connsiteY42" fmla="*/ 38100 h 2305041"/>
              <a:gd name="connsiteX43" fmla="*/ 305706 w 2967438"/>
              <a:gd name="connsiteY43" fmla="*/ 23812 h 2305041"/>
              <a:gd name="connsiteX44" fmla="*/ 243794 w 2967438"/>
              <a:gd name="connsiteY44" fmla="*/ 14287 h 2305041"/>
              <a:gd name="connsiteX45" fmla="*/ 181881 w 2967438"/>
              <a:gd name="connsiteY45" fmla="*/ 9525 h 2305041"/>
              <a:gd name="connsiteX46" fmla="*/ 15194 w 2967438"/>
              <a:gd name="connsiteY46" fmla="*/ 14287 h 2305041"/>
              <a:gd name="connsiteX47" fmla="*/ 906 w 2967438"/>
              <a:gd name="connsiteY47" fmla="*/ 19050 h 2305041"/>
              <a:gd name="connsiteX48" fmla="*/ 5669 w 2967438"/>
              <a:gd name="connsiteY48" fmla="*/ 85725 h 2305041"/>
              <a:gd name="connsiteX49" fmla="*/ 19956 w 2967438"/>
              <a:gd name="connsiteY49" fmla="*/ 171450 h 2305041"/>
              <a:gd name="connsiteX50" fmla="*/ 10431 w 2967438"/>
              <a:gd name="connsiteY50" fmla="*/ 390525 h 2305041"/>
              <a:gd name="connsiteX51" fmla="*/ 5669 w 2967438"/>
              <a:gd name="connsiteY51" fmla="*/ 800100 h 2305041"/>
              <a:gd name="connsiteX52" fmla="*/ 5669 w 2967438"/>
              <a:gd name="connsiteY52" fmla="*/ 871537 h 2305041"/>
              <a:gd name="connsiteX53" fmla="*/ 10431 w 2967438"/>
              <a:gd name="connsiteY53" fmla="*/ 1157287 h 2305041"/>
              <a:gd name="connsiteX54" fmla="*/ 29481 w 2967438"/>
              <a:gd name="connsiteY54" fmla="*/ 1328737 h 2305041"/>
              <a:gd name="connsiteX55" fmla="*/ 19956 w 2967438"/>
              <a:gd name="connsiteY55" fmla="*/ 1476375 h 2305041"/>
              <a:gd name="connsiteX56" fmla="*/ 10431 w 2967438"/>
              <a:gd name="connsiteY56" fmla="*/ 1562100 h 2305041"/>
              <a:gd name="connsiteX57" fmla="*/ 5669 w 2967438"/>
              <a:gd name="connsiteY57" fmla="*/ 1819275 h 2305041"/>
              <a:gd name="connsiteX58" fmla="*/ 10431 w 2967438"/>
              <a:gd name="connsiteY58" fmla="*/ 2014537 h 2305041"/>
              <a:gd name="connsiteX59" fmla="*/ 19956 w 2967438"/>
              <a:gd name="connsiteY59" fmla="*/ 2238375 h 2305041"/>
              <a:gd name="connsiteX60" fmla="*/ 10431 w 2967438"/>
              <a:gd name="connsiteY60" fmla="*/ 2300287 h 2305041"/>
              <a:gd name="connsiteX0" fmla="*/ 10431 w 2967438"/>
              <a:gd name="connsiteY0" fmla="*/ 2300287 h 2305041"/>
              <a:gd name="connsiteX1" fmla="*/ 58056 w 2967438"/>
              <a:gd name="connsiteY1" fmla="*/ 2295525 h 2305041"/>
              <a:gd name="connsiteX2" fmla="*/ 91394 w 2967438"/>
              <a:gd name="connsiteY2" fmla="*/ 2286000 h 2305041"/>
              <a:gd name="connsiteX3" fmla="*/ 362856 w 2967438"/>
              <a:gd name="connsiteY3" fmla="*/ 2297112 h 2305041"/>
              <a:gd name="connsiteX4" fmla="*/ 358094 w 2967438"/>
              <a:gd name="connsiteY4" fmla="*/ 2214562 h 2305041"/>
              <a:gd name="connsiteX5" fmla="*/ 362856 w 2967438"/>
              <a:gd name="connsiteY5" fmla="*/ 1585912 h 2305041"/>
              <a:gd name="connsiteX6" fmla="*/ 372381 w 2967438"/>
              <a:gd name="connsiteY6" fmla="*/ 1123950 h 2305041"/>
              <a:gd name="connsiteX7" fmla="*/ 367619 w 2967438"/>
              <a:gd name="connsiteY7" fmla="*/ 471487 h 2305041"/>
              <a:gd name="connsiteX8" fmla="*/ 372381 w 2967438"/>
              <a:gd name="connsiteY8" fmla="*/ 414337 h 2305041"/>
              <a:gd name="connsiteX9" fmla="*/ 429531 w 2967438"/>
              <a:gd name="connsiteY9" fmla="*/ 419100 h 2305041"/>
              <a:gd name="connsiteX10" fmla="*/ 877206 w 2967438"/>
              <a:gd name="connsiteY10" fmla="*/ 414337 h 2305041"/>
              <a:gd name="connsiteX11" fmla="*/ 1205819 w 2967438"/>
              <a:gd name="connsiteY11" fmla="*/ 414337 h 2305041"/>
              <a:gd name="connsiteX12" fmla="*/ 1234394 w 2967438"/>
              <a:gd name="connsiteY12" fmla="*/ 409575 h 2305041"/>
              <a:gd name="connsiteX13" fmla="*/ 2567894 w 2967438"/>
              <a:gd name="connsiteY13" fmla="*/ 404812 h 2305041"/>
              <a:gd name="connsiteX14" fmla="*/ 2605994 w 2967438"/>
              <a:gd name="connsiteY14" fmla="*/ 423862 h 2305041"/>
              <a:gd name="connsiteX15" fmla="*/ 2615519 w 2967438"/>
              <a:gd name="connsiteY15" fmla="*/ 457200 h 2305041"/>
              <a:gd name="connsiteX16" fmla="*/ 2605994 w 2967438"/>
              <a:gd name="connsiteY16" fmla="*/ 614362 h 2305041"/>
              <a:gd name="connsiteX17" fmla="*/ 2596469 w 2967438"/>
              <a:gd name="connsiteY17" fmla="*/ 1176337 h 2305041"/>
              <a:gd name="connsiteX18" fmla="*/ 2601231 w 2967438"/>
              <a:gd name="connsiteY18" fmla="*/ 1209675 h 2305041"/>
              <a:gd name="connsiteX19" fmla="*/ 2604406 w 2967438"/>
              <a:gd name="connsiteY19" fmla="*/ 1514475 h 2305041"/>
              <a:gd name="connsiteX20" fmla="*/ 2610756 w 2967438"/>
              <a:gd name="connsiteY20" fmla="*/ 2066925 h 2305041"/>
              <a:gd name="connsiteX21" fmla="*/ 2612344 w 2967438"/>
              <a:gd name="connsiteY21" fmla="*/ 2203450 h 2305041"/>
              <a:gd name="connsiteX22" fmla="*/ 2620281 w 2967438"/>
              <a:gd name="connsiteY22" fmla="*/ 2292350 h 2305041"/>
              <a:gd name="connsiteX23" fmla="*/ 2847294 w 2967438"/>
              <a:gd name="connsiteY23" fmla="*/ 2303462 h 2305041"/>
              <a:gd name="connsiteX24" fmla="*/ 2963181 w 2967438"/>
              <a:gd name="connsiteY24" fmla="*/ 2282825 h 2305041"/>
              <a:gd name="connsiteX25" fmla="*/ 2944131 w 2967438"/>
              <a:gd name="connsiteY25" fmla="*/ 2181225 h 2305041"/>
              <a:gd name="connsiteX26" fmla="*/ 2952069 w 2967438"/>
              <a:gd name="connsiteY26" fmla="*/ 2008187 h 2305041"/>
              <a:gd name="connsiteX27" fmla="*/ 2958419 w 2967438"/>
              <a:gd name="connsiteY27" fmla="*/ 1804987 h 2305041"/>
              <a:gd name="connsiteX28" fmla="*/ 2948894 w 2967438"/>
              <a:gd name="connsiteY28" fmla="*/ 1366837 h 2305041"/>
              <a:gd name="connsiteX29" fmla="*/ 2944131 w 2967438"/>
              <a:gd name="connsiteY29" fmla="*/ 1081087 h 2305041"/>
              <a:gd name="connsiteX30" fmla="*/ 2944131 w 2967438"/>
              <a:gd name="connsiteY30" fmla="*/ 922337 h 2305041"/>
              <a:gd name="connsiteX31" fmla="*/ 2948894 w 2967438"/>
              <a:gd name="connsiteY31" fmla="*/ 571500 h 2305041"/>
              <a:gd name="connsiteX32" fmla="*/ 2953656 w 2967438"/>
              <a:gd name="connsiteY32" fmla="*/ 342900 h 2305041"/>
              <a:gd name="connsiteX33" fmla="*/ 2953656 w 2967438"/>
              <a:gd name="connsiteY33" fmla="*/ 34925 h 2305041"/>
              <a:gd name="connsiteX34" fmla="*/ 2863169 w 2967438"/>
              <a:gd name="connsiteY34" fmla="*/ 19050 h 2305041"/>
              <a:gd name="connsiteX35" fmla="*/ 2720294 w 2967438"/>
              <a:gd name="connsiteY35" fmla="*/ 9525 h 2305041"/>
              <a:gd name="connsiteX36" fmla="*/ 2377394 w 2967438"/>
              <a:gd name="connsiteY36" fmla="*/ 14287 h 2305041"/>
              <a:gd name="connsiteX37" fmla="*/ 2320244 w 2967438"/>
              <a:gd name="connsiteY37" fmla="*/ 23812 h 2305041"/>
              <a:gd name="connsiteX38" fmla="*/ 1905906 w 2967438"/>
              <a:gd name="connsiteY38" fmla="*/ 19050 h 2305041"/>
              <a:gd name="connsiteX39" fmla="*/ 1801131 w 2967438"/>
              <a:gd name="connsiteY39" fmla="*/ 9525 h 2305041"/>
              <a:gd name="connsiteX40" fmla="*/ 1772556 w 2967438"/>
              <a:gd name="connsiteY40" fmla="*/ 0 h 2305041"/>
              <a:gd name="connsiteX41" fmla="*/ 1524906 w 2967438"/>
              <a:gd name="connsiteY41" fmla="*/ 4762 h 2305041"/>
              <a:gd name="connsiteX42" fmla="*/ 1139144 w 2967438"/>
              <a:gd name="connsiteY42" fmla="*/ 38100 h 2305041"/>
              <a:gd name="connsiteX43" fmla="*/ 305706 w 2967438"/>
              <a:gd name="connsiteY43" fmla="*/ 23812 h 2305041"/>
              <a:gd name="connsiteX44" fmla="*/ 243794 w 2967438"/>
              <a:gd name="connsiteY44" fmla="*/ 14287 h 2305041"/>
              <a:gd name="connsiteX45" fmla="*/ 181881 w 2967438"/>
              <a:gd name="connsiteY45" fmla="*/ 9525 h 2305041"/>
              <a:gd name="connsiteX46" fmla="*/ 15194 w 2967438"/>
              <a:gd name="connsiteY46" fmla="*/ 14287 h 2305041"/>
              <a:gd name="connsiteX47" fmla="*/ 906 w 2967438"/>
              <a:gd name="connsiteY47" fmla="*/ 19050 h 2305041"/>
              <a:gd name="connsiteX48" fmla="*/ 5669 w 2967438"/>
              <a:gd name="connsiteY48" fmla="*/ 85725 h 2305041"/>
              <a:gd name="connsiteX49" fmla="*/ 19956 w 2967438"/>
              <a:gd name="connsiteY49" fmla="*/ 171450 h 2305041"/>
              <a:gd name="connsiteX50" fmla="*/ 10431 w 2967438"/>
              <a:gd name="connsiteY50" fmla="*/ 390525 h 2305041"/>
              <a:gd name="connsiteX51" fmla="*/ 5669 w 2967438"/>
              <a:gd name="connsiteY51" fmla="*/ 800100 h 2305041"/>
              <a:gd name="connsiteX52" fmla="*/ 5669 w 2967438"/>
              <a:gd name="connsiteY52" fmla="*/ 871537 h 2305041"/>
              <a:gd name="connsiteX53" fmla="*/ 10431 w 2967438"/>
              <a:gd name="connsiteY53" fmla="*/ 1157287 h 2305041"/>
              <a:gd name="connsiteX54" fmla="*/ 29481 w 2967438"/>
              <a:gd name="connsiteY54" fmla="*/ 1328737 h 2305041"/>
              <a:gd name="connsiteX55" fmla="*/ 19956 w 2967438"/>
              <a:gd name="connsiteY55" fmla="*/ 1476375 h 2305041"/>
              <a:gd name="connsiteX56" fmla="*/ 10431 w 2967438"/>
              <a:gd name="connsiteY56" fmla="*/ 1562100 h 2305041"/>
              <a:gd name="connsiteX57" fmla="*/ 5669 w 2967438"/>
              <a:gd name="connsiteY57" fmla="*/ 1819275 h 2305041"/>
              <a:gd name="connsiteX58" fmla="*/ 10431 w 2967438"/>
              <a:gd name="connsiteY58" fmla="*/ 2014537 h 2305041"/>
              <a:gd name="connsiteX59" fmla="*/ 19956 w 2967438"/>
              <a:gd name="connsiteY59" fmla="*/ 2238375 h 2305041"/>
              <a:gd name="connsiteX60" fmla="*/ 10431 w 2967438"/>
              <a:gd name="connsiteY60" fmla="*/ 2300287 h 2305041"/>
              <a:gd name="connsiteX0" fmla="*/ 10431 w 2967438"/>
              <a:gd name="connsiteY0" fmla="*/ 2300287 h 2305041"/>
              <a:gd name="connsiteX1" fmla="*/ 91394 w 2967438"/>
              <a:gd name="connsiteY1" fmla="*/ 2286000 h 2305041"/>
              <a:gd name="connsiteX2" fmla="*/ 362856 w 2967438"/>
              <a:gd name="connsiteY2" fmla="*/ 2297112 h 2305041"/>
              <a:gd name="connsiteX3" fmla="*/ 358094 w 2967438"/>
              <a:gd name="connsiteY3" fmla="*/ 2214562 h 2305041"/>
              <a:gd name="connsiteX4" fmla="*/ 362856 w 2967438"/>
              <a:gd name="connsiteY4" fmla="*/ 1585912 h 2305041"/>
              <a:gd name="connsiteX5" fmla="*/ 372381 w 2967438"/>
              <a:gd name="connsiteY5" fmla="*/ 1123950 h 2305041"/>
              <a:gd name="connsiteX6" fmla="*/ 367619 w 2967438"/>
              <a:gd name="connsiteY6" fmla="*/ 471487 h 2305041"/>
              <a:gd name="connsiteX7" fmla="*/ 372381 w 2967438"/>
              <a:gd name="connsiteY7" fmla="*/ 414337 h 2305041"/>
              <a:gd name="connsiteX8" fmla="*/ 429531 w 2967438"/>
              <a:gd name="connsiteY8" fmla="*/ 419100 h 2305041"/>
              <a:gd name="connsiteX9" fmla="*/ 877206 w 2967438"/>
              <a:gd name="connsiteY9" fmla="*/ 414337 h 2305041"/>
              <a:gd name="connsiteX10" fmla="*/ 1205819 w 2967438"/>
              <a:gd name="connsiteY10" fmla="*/ 414337 h 2305041"/>
              <a:gd name="connsiteX11" fmla="*/ 1234394 w 2967438"/>
              <a:gd name="connsiteY11" fmla="*/ 409575 h 2305041"/>
              <a:gd name="connsiteX12" fmla="*/ 2567894 w 2967438"/>
              <a:gd name="connsiteY12" fmla="*/ 404812 h 2305041"/>
              <a:gd name="connsiteX13" fmla="*/ 2605994 w 2967438"/>
              <a:gd name="connsiteY13" fmla="*/ 423862 h 2305041"/>
              <a:gd name="connsiteX14" fmla="*/ 2615519 w 2967438"/>
              <a:gd name="connsiteY14" fmla="*/ 457200 h 2305041"/>
              <a:gd name="connsiteX15" fmla="*/ 2605994 w 2967438"/>
              <a:gd name="connsiteY15" fmla="*/ 614362 h 2305041"/>
              <a:gd name="connsiteX16" fmla="*/ 2596469 w 2967438"/>
              <a:gd name="connsiteY16" fmla="*/ 1176337 h 2305041"/>
              <a:gd name="connsiteX17" fmla="*/ 2601231 w 2967438"/>
              <a:gd name="connsiteY17" fmla="*/ 1209675 h 2305041"/>
              <a:gd name="connsiteX18" fmla="*/ 2604406 w 2967438"/>
              <a:gd name="connsiteY18" fmla="*/ 1514475 h 2305041"/>
              <a:gd name="connsiteX19" fmla="*/ 2610756 w 2967438"/>
              <a:gd name="connsiteY19" fmla="*/ 2066925 h 2305041"/>
              <a:gd name="connsiteX20" fmla="*/ 2612344 w 2967438"/>
              <a:gd name="connsiteY20" fmla="*/ 2203450 h 2305041"/>
              <a:gd name="connsiteX21" fmla="*/ 2620281 w 2967438"/>
              <a:gd name="connsiteY21" fmla="*/ 2292350 h 2305041"/>
              <a:gd name="connsiteX22" fmla="*/ 2847294 w 2967438"/>
              <a:gd name="connsiteY22" fmla="*/ 2303462 h 2305041"/>
              <a:gd name="connsiteX23" fmla="*/ 2963181 w 2967438"/>
              <a:gd name="connsiteY23" fmla="*/ 2282825 h 2305041"/>
              <a:gd name="connsiteX24" fmla="*/ 2944131 w 2967438"/>
              <a:gd name="connsiteY24" fmla="*/ 2181225 h 2305041"/>
              <a:gd name="connsiteX25" fmla="*/ 2952069 w 2967438"/>
              <a:gd name="connsiteY25" fmla="*/ 2008187 h 2305041"/>
              <a:gd name="connsiteX26" fmla="*/ 2958419 w 2967438"/>
              <a:gd name="connsiteY26" fmla="*/ 1804987 h 2305041"/>
              <a:gd name="connsiteX27" fmla="*/ 2948894 w 2967438"/>
              <a:gd name="connsiteY27" fmla="*/ 1366837 h 2305041"/>
              <a:gd name="connsiteX28" fmla="*/ 2944131 w 2967438"/>
              <a:gd name="connsiteY28" fmla="*/ 1081087 h 2305041"/>
              <a:gd name="connsiteX29" fmla="*/ 2944131 w 2967438"/>
              <a:gd name="connsiteY29" fmla="*/ 922337 h 2305041"/>
              <a:gd name="connsiteX30" fmla="*/ 2948894 w 2967438"/>
              <a:gd name="connsiteY30" fmla="*/ 571500 h 2305041"/>
              <a:gd name="connsiteX31" fmla="*/ 2953656 w 2967438"/>
              <a:gd name="connsiteY31" fmla="*/ 342900 h 2305041"/>
              <a:gd name="connsiteX32" fmla="*/ 2953656 w 2967438"/>
              <a:gd name="connsiteY32" fmla="*/ 34925 h 2305041"/>
              <a:gd name="connsiteX33" fmla="*/ 2863169 w 2967438"/>
              <a:gd name="connsiteY33" fmla="*/ 19050 h 2305041"/>
              <a:gd name="connsiteX34" fmla="*/ 2720294 w 2967438"/>
              <a:gd name="connsiteY34" fmla="*/ 9525 h 2305041"/>
              <a:gd name="connsiteX35" fmla="*/ 2377394 w 2967438"/>
              <a:gd name="connsiteY35" fmla="*/ 14287 h 2305041"/>
              <a:gd name="connsiteX36" fmla="*/ 2320244 w 2967438"/>
              <a:gd name="connsiteY36" fmla="*/ 23812 h 2305041"/>
              <a:gd name="connsiteX37" fmla="*/ 1905906 w 2967438"/>
              <a:gd name="connsiteY37" fmla="*/ 19050 h 2305041"/>
              <a:gd name="connsiteX38" fmla="*/ 1801131 w 2967438"/>
              <a:gd name="connsiteY38" fmla="*/ 9525 h 2305041"/>
              <a:gd name="connsiteX39" fmla="*/ 1772556 w 2967438"/>
              <a:gd name="connsiteY39" fmla="*/ 0 h 2305041"/>
              <a:gd name="connsiteX40" fmla="*/ 1524906 w 2967438"/>
              <a:gd name="connsiteY40" fmla="*/ 4762 h 2305041"/>
              <a:gd name="connsiteX41" fmla="*/ 1139144 w 2967438"/>
              <a:gd name="connsiteY41" fmla="*/ 38100 h 2305041"/>
              <a:gd name="connsiteX42" fmla="*/ 305706 w 2967438"/>
              <a:gd name="connsiteY42" fmla="*/ 23812 h 2305041"/>
              <a:gd name="connsiteX43" fmla="*/ 243794 w 2967438"/>
              <a:gd name="connsiteY43" fmla="*/ 14287 h 2305041"/>
              <a:gd name="connsiteX44" fmla="*/ 181881 w 2967438"/>
              <a:gd name="connsiteY44" fmla="*/ 9525 h 2305041"/>
              <a:gd name="connsiteX45" fmla="*/ 15194 w 2967438"/>
              <a:gd name="connsiteY45" fmla="*/ 14287 h 2305041"/>
              <a:gd name="connsiteX46" fmla="*/ 906 w 2967438"/>
              <a:gd name="connsiteY46" fmla="*/ 19050 h 2305041"/>
              <a:gd name="connsiteX47" fmla="*/ 5669 w 2967438"/>
              <a:gd name="connsiteY47" fmla="*/ 85725 h 2305041"/>
              <a:gd name="connsiteX48" fmla="*/ 19956 w 2967438"/>
              <a:gd name="connsiteY48" fmla="*/ 171450 h 2305041"/>
              <a:gd name="connsiteX49" fmla="*/ 10431 w 2967438"/>
              <a:gd name="connsiteY49" fmla="*/ 390525 h 2305041"/>
              <a:gd name="connsiteX50" fmla="*/ 5669 w 2967438"/>
              <a:gd name="connsiteY50" fmla="*/ 800100 h 2305041"/>
              <a:gd name="connsiteX51" fmla="*/ 5669 w 2967438"/>
              <a:gd name="connsiteY51" fmla="*/ 871537 h 2305041"/>
              <a:gd name="connsiteX52" fmla="*/ 10431 w 2967438"/>
              <a:gd name="connsiteY52" fmla="*/ 1157287 h 2305041"/>
              <a:gd name="connsiteX53" fmla="*/ 29481 w 2967438"/>
              <a:gd name="connsiteY53" fmla="*/ 1328737 h 2305041"/>
              <a:gd name="connsiteX54" fmla="*/ 19956 w 2967438"/>
              <a:gd name="connsiteY54" fmla="*/ 1476375 h 2305041"/>
              <a:gd name="connsiteX55" fmla="*/ 10431 w 2967438"/>
              <a:gd name="connsiteY55" fmla="*/ 1562100 h 2305041"/>
              <a:gd name="connsiteX56" fmla="*/ 5669 w 2967438"/>
              <a:gd name="connsiteY56" fmla="*/ 1819275 h 2305041"/>
              <a:gd name="connsiteX57" fmla="*/ 10431 w 2967438"/>
              <a:gd name="connsiteY57" fmla="*/ 2014537 h 2305041"/>
              <a:gd name="connsiteX58" fmla="*/ 19956 w 2967438"/>
              <a:gd name="connsiteY58" fmla="*/ 2238375 h 2305041"/>
              <a:gd name="connsiteX59" fmla="*/ 10431 w 2967438"/>
              <a:gd name="connsiteY59" fmla="*/ 2300287 h 2305041"/>
              <a:gd name="connsiteX0" fmla="*/ 10431 w 2967438"/>
              <a:gd name="connsiteY0" fmla="*/ 2300287 h 2307741"/>
              <a:gd name="connsiteX1" fmla="*/ 362856 w 2967438"/>
              <a:gd name="connsiteY1" fmla="*/ 2297112 h 2307741"/>
              <a:gd name="connsiteX2" fmla="*/ 358094 w 2967438"/>
              <a:gd name="connsiteY2" fmla="*/ 2214562 h 2307741"/>
              <a:gd name="connsiteX3" fmla="*/ 362856 w 2967438"/>
              <a:gd name="connsiteY3" fmla="*/ 1585912 h 2307741"/>
              <a:gd name="connsiteX4" fmla="*/ 372381 w 2967438"/>
              <a:gd name="connsiteY4" fmla="*/ 1123950 h 2307741"/>
              <a:gd name="connsiteX5" fmla="*/ 367619 w 2967438"/>
              <a:gd name="connsiteY5" fmla="*/ 471487 h 2307741"/>
              <a:gd name="connsiteX6" fmla="*/ 372381 w 2967438"/>
              <a:gd name="connsiteY6" fmla="*/ 414337 h 2307741"/>
              <a:gd name="connsiteX7" fmla="*/ 429531 w 2967438"/>
              <a:gd name="connsiteY7" fmla="*/ 419100 h 2307741"/>
              <a:gd name="connsiteX8" fmla="*/ 877206 w 2967438"/>
              <a:gd name="connsiteY8" fmla="*/ 414337 h 2307741"/>
              <a:gd name="connsiteX9" fmla="*/ 1205819 w 2967438"/>
              <a:gd name="connsiteY9" fmla="*/ 414337 h 2307741"/>
              <a:gd name="connsiteX10" fmla="*/ 1234394 w 2967438"/>
              <a:gd name="connsiteY10" fmla="*/ 409575 h 2307741"/>
              <a:gd name="connsiteX11" fmla="*/ 2567894 w 2967438"/>
              <a:gd name="connsiteY11" fmla="*/ 404812 h 2307741"/>
              <a:gd name="connsiteX12" fmla="*/ 2605994 w 2967438"/>
              <a:gd name="connsiteY12" fmla="*/ 423862 h 2307741"/>
              <a:gd name="connsiteX13" fmla="*/ 2615519 w 2967438"/>
              <a:gd name="connsiteY13" fmla="*/ 457200 h 2307741"/>
              <a:gd name="connsiteX14" fmla="*/ 2605994 w 2967438"/>
              <a:gd name="connsiteY14" fmla="*/ 614362 h 2307741"/>
              <a:gd name="connsiteX15" fmla="*/ 2596469 w 2967438"/>
              <a:gd name="connsiteY15" fmla="*/ 1176337 h 2307741"/>
              <a:gd name="connsiteX16" fmla="*/ 2601231 w 2967438"/>
              <a:gd name="connsiteY16" fmla="*/ 1209675 h 2307741"/>
              <a:gd name="connsiteX17" fmla="*/ 2604406 w 2967438"/>
              <a:gd name="connsiteY17" fmla="*/ 1514475 h 2307741"/>
              <a:gd name="connsiteX18" fmla="*/ 2610756 w 2967438"/>
              <a:gd name="connsiteY18" fmla="*/ 2066925 h 2307741"/>
              <a:gd name="connsiteX19" fmla="*/ 2612344 w 2967438"/>
              <a:gd name="connsiteY19" fmla="*/ 2203450 h 2307741"/>
              <a:gd name="connsiteX20" fmla="*/ 2620281 w 2967438"/>
              <a:gd name="connsiteY20" fmla="*/ 2292350 h 2307741"/>
              <a:gd name="connsiteX21" fmla="*/ 2847294 w 2967438"/>
              <a:gd name="connsiteY21" fmla="*/ 2303462 h 2307741"/>
              <a:gd name="connsiteX22" fmla="*/ 2963181 w 2967438"/>
              <a:gd name="connsiteY22" fmla="*/ 2282825 h 2307741"/>
              <a:gd name="connsiteX23" fmla="*/ 2944131 w 2967438"/>
              <a:gd name="connsiteY23" fmla="*/ 2181225 h 2307741"/>
              <a:gd name="connsiteX24" fmla="*/ 2952069 w 2967438"/>
              <a:gd name="connsiteY24" fmla="*/ 2008187 h 2307741"/>
              <a:gd name="connsiteX25" fmla="*/ 2958419 w 2967438"/>
              <a:gd name="connsiteY25" fmla="*/ 1804987 h 2307741"/>
              <a:gd name="connsiteX26" fmla="*/ 2948894 w 2967438"/>
              <a:gd name="connsiteY26" fmla="*/ 1366837 h 2307741"/>
              <a:gd name="connsiteX27" fmla="*/ 2944131 w 2967438"/>
              <a:gd name="connsiteY27" fmla="*/ 1081087 h 2307741"/>
              <a:gd name="connsiteX28" fmla="*/ 2944131 w 2967438"/>
              <a:gd name="connsiteY28" fmla="*/ 922337 h 2307741"/>
              <a:gd name="connsiteX29" fmla="*/ 2948894 w 2967438"/>
              <a:gd name="connsiteY29" fmla="*/ 571500 h 2307741"/>
              <a:gd name="connsiteX30" fmla="*/ 2953656 w 2967438"/>
              <a:gd name="connsiteY30" fmla="*/ 342900 h 2307741"/>
              <a:gd name="connsiteX31" fmla="*/ 2953656 w 2967438"/>
              <a:gd name="connsiteY31" fmla="*/ 34925 h 2307741"/>
              <a:gd name="connsiteX32" fmla="*/ 2863169 w 2967438"/>
              <a:gd name="connsiteY32" fmla="*/ 19050 h 2307741"/>
              <a:gd name="connsiteX33" fmla="*/ 2720294 w 2967438"/>
              <a:gd name="connsiteY33" fmla="*/ 9525 h 2307741"/>
              <a:gd name="connsiteX34" fmla="*/ 2377394 w 2967438"/>
              <a:gd name="connsiteY34" fmla="*/ 14287 h 2307741"/>
              <a:gd name="connsiteX35" fmla="*/ 2320244 w 2967438"/>
              <a:gd name="connsiteY35" fmla="*/ 23812 h 2307741"/>
              <a:gd name="connsiteX36" fmla="*/ 1905906 w 2967438"/>
              <a:gd name="connsiteY36" fmla="*/ 19050 h 2307741"/>
              <a:gd name="connsiteX37" fmla="*/ 1801131 w 2967438"/>
              <a:gd name="connsiteY37" fmla="*/ 9525 h 2307741"/>
              <a:gd name="connsiteX38" fmla="*/ 1772556 w 2967438"/>
              <a:gd name="connsiteY38" fmla="*/ 0 h 2307741"/>
              <a:gd name="connsiteX39" fmla="*/ 1524906 w 2967438"/>
              <a:gd name="connsiteY39" fmla="*/ 4762 h 2307741"/>
              <a:gd name="connsiteX40" fmla="*/ 1139144 w 2967438"/>
              <a:gd name="connsiteY40" fmla="*/ 38100 h 2307741"/>
              <a:gd name="connsiteX41" fmla="*/ 305706 w 2967438"/>
              <a:gd name="connsiteY41" fmla="*/ 23812 h 2307741"/>
              <a:gd name="connsiteX42" fmla="*/ 243794 w 2967438"/>
              <a:gd name="connsiteY42" fmla="*/ 14287 h 2307741"/>
              <a:gd name="connsiteX43" fmla="*/ 181881 w 2967438"/>
              <a:gd name="connsiteY43" fmla="*/ 9525 h 2307741"/>
              <a:gd name="connsiteX44" fmla="*/ 15194 w 2967438"/>
              <a:gd name="connsiteY44" fmla="*/ 14287 h 2307741"/>
              <a:gd name="connsiteX45" fmla="*/ 906 w 2967438"/>
              <a:gd name="connsiteY45" fmla="*/ 19050 h 2307741"/>
              <a:gd name="connsiteX46" fmla="*/ 5669 w 2967438"/>
              <a:gd name="connsiteY46" fmla="*/ 85725 h 2307741"/>
              <a:gd name="connsiteX47" fmla="*/ 19956 w 2967438"/>
              <a:gd name="connsiteY47" fmla="*/ 171450 h 2307741"/>
              <a:gd name="connsiteX48" fmla="*/ 10431 w 2967438"/>
              <a:gd name="connsiteY48" fmla="*/ 390525 h 2307741"/>
              <a:gd name="connsiteX49" fmla="*/ 5669 w 2967438"/>
              <a:gd name="connsiteY49" fmla="*/ 800100 h 2307741"/>
              <a:gd name="connsiteX50" fmla="*/ 5669 w 2967438"/>
              <a:gd name="connsiteY50" fmla="*/ 871537 h 2307741"/>
              <a:gd name="connsiteX51" fmla="*/ 10431 w 2967438"/>
              <a:gd name="connsiteY51" fmla="*/ 1157287 h 2307741"/>
              <a:gd name="connsiteX52" fmla="*/ 29481 w 2967438"/>
              <a:gd name="connsiteY52" fmla="*/ 1328737 h 2307741"/>
              <a:gd name="connsiteX53" fmla="*/ 19956 w 2967438"/>
              <a:gd name="connsiteY53" fmla="*/ 1476375 h 2307741"/>
              <a:gd name="connsiteX54" fmla="*/ 10431 w 2967438"/>
              <a:gd name="connsiteY54" fmla="*/ 1562100 h 2307741"/>
              <a:gd name="connsiteX55" fmla="*/ 5669 w 2967438"/>
              <a:gd name="connsiteY55" fmla="*/ 1819275 h 2307741"/>
              <a:gd name="connsiteX56" fmla="*/ 10431 w 2967438"/>
              <a:gd name="connsiteY56" fmla="*/ 2014537 h 2307741"/>
              <a:gd name="connsiteX57" fmla="*/ 19956 w 2967438"/>
              <a:gd name="connsiteY57" fmla="*/ 2238375 h 2307741"/>
              <a:gd name="connsiteX58" fmla="*/ 10431 w 2967438"/>
              <a:gd name="connsiteY58" fmla="*/ 2300287 h 2307741"/>
              <a:gd name="connsiteX0" fmla="*/ 10431 w 2967438"/>
              <a:gd name="connsiteY0" fmla="*/ 2300287 h 2307741"/>
              <a:gd name="connsiteX1" fmla="*/ 362856 w 2967438"/>
              <a:gd name="connsiteY1" fmla="*/ 2297112 h 2307741"/>
              <a:gd name="connsiteX2" fmla="*/ 358094 w 2967438"/>
              <a:gd name="connsiteY2" fmla="*/ 2214562 h 2307741"/>
              <a:gd name="connsiteX3" fmla="*/ 362856 w 2967438"/>
              <a:gd name="connsiteY3" fmla="*/ 1585912 h 2307741"/>
              <a:gd name="connsiteX4" fmla="*/ 372381 w 2967438"/>
              <a:gd name="connsiteY4" fmla="*/ 1123950 h 2307741"/>
              <a:gd name="connsiteX5" fmla="*/ 367619 w 2967438"/>
              <a:gd name="connsiteY5" fmla="*/ 471487 h 2307741"/>
              <a:gd name="connsiteX6" fmla="*/ 372381 w 2967438"/>
              <a:gd name="connsiteY6" fmla="*/ 414337 h 2307741"/>
              <a:gd name="connsiteX7" fmla="*/ 429531 w 2967438"/>
              <a:gd name="connsiteY7" fmla="*/ 419100 h 2307741"/>
              <a:gd name="connsiteX8" fmla="*/ 877206 w 2967438"/>
              <a:gd name="connsiteY8" fmla="*/ 414337 h 2307741"/>
              <a:gd name="connsiteX9" fmla="*/ 1205819 w 2967438"/>
              <a:gd name="connsiteY9" fmla="*/ 414337 h 2307741"/>
              <a:gd name="connsiteX10" fmla="*/ 1234394 w 2967438"/>
              <a:gd name="connsiteY10" fmla="*/ 409575 h 2307741"/>
              <a:gd name="connsiteX11" fmla="*/ 2567894 w 2967438"/>
              <a:gd name="connsiteY11" fmla="*/ 404812 h 2307741"/>
              <a:gd name="connsiteX12" fmla="*/ 2605994 w 2967438"/>
              <a:gd name="connsiteY12" fmla="*/ 423862 h 2307741"/>
              <a:gd name="connsiteX13" fmla="*/ 2615519 w 2967438"/>
              <a:gd name="connsiteY13" fmla="*/ 457200 h 2307741"/>
              <a:gd name="connsiteX14" fmla="*/ 2605994 w 2967438"/>
              <a:gd name="connsiteY14" fmla="*/ 614362 h 2307741"/>
              <a:gd name="connsiteX15" fmla="*/ 2596469 w 2967438"/>
              <a:gd name="connsiteY15" fmla="*/ 1176337 h 2307741"/>
              <a:gd name="connsiteX16" fmla="*/ 2601231 w 2967438"/>
              <a:gd name="connsiteY16" fmla="*/ 1209675 h 2307741"/>
              <a:gd name="connsiteX17" fmla="*/ 2604406 w 2967438"/>
              <a:gd name="connsiteY17" fmla="*/ 1514475 h 2307741"/>
              <a:gd name="connsiteX18" fmla="*/ 2610756 w 2967438"/>
              <a:gd name="connsiteY18" fmla="*/ 2066925 h 2307741"/>
              <a:gd name="connsiteX19" fmla="*/ 2612344 w 2967438"/>
              <a:gd name="connsiteY19" fmla="*/ 2203450 h 2307741"/>
              <a:gd name="connsiteX20" fmla="*/ 2620281 w 2967438"/>
              <a:gd name="connsiteY20" fmla="*/ 2292350 h 2307741"/>
              <a:gd name="connsiteX21" fmla="*/ 2847294 w 2967438"/>
              <a:gd name="connsiteY21" fmla="*/ 2303462 h 2307741"/>
              <a:gd name="connsiteX22" fmla="*/ 2963181 w 2967438"/>
              <a:gd name="connsiteY22" fmla="*/ 2282825 h 2307741"/>
              <a:gd name="connsiteX23" fmla="*/ 2944131 w 2967438"/>
              <a:gd name="connsiteY23" fmla="*/ 2181225 h 2307741"/>
              <a:gd name="connsiteX24" fmla="*/ 2952069 w 2967438"/>
              <a:gd name="connsiteY24" fmla="*/ 2008187 h 2307741"/>
              <a:gd name="connsiteX25" fmla="*/ 2958419 w 2967438"/>
              <a:gd name="connsiteY25" fmla="*/ 1804987 h 2307741"/>
              <a:gd name="connsiteX26" fmla="*/ 2948894 w 2967438"/>
              <a:gd name="connsiteY26" fmla="*/ 1366837 h 2307741"/>
              <a:gd name="connsiteX27" fmla="*/ 2944131 w 2967438"/>
              <a:gd name="connsiteY27" fmla="*/ 1081087 h 2307741"/>
              <a:gd name="connsiteX28" fmla="*/ 2944131 w 2967438"/>
              <a:gd name="connsiteY28" fmla="*/ 922337 h 2307741"/>
              <a:gd name="connsiteX29" fmla="*/ 2948894 w 2967438"/>
              <a:gd name="connsiteY29" fmla="*/ 571500 h 2307741"/>
              <a:gd name="connsiteX30" fmla="*/ 2953656 w 2967438"/>
              <a:gd name="connsiteY30" fmla="*/ 342900 h 2307741"/>
              <a:gd name="connsiteX31" fmla="*/ 2953656 w 2967438"/>
              <a:gd name="connsiteY31" fmla="*/ 34925 h 2307741"/>
              <a:gd name="connsiteX32" fmla="*/ 2863169 w 2967438"/>
              <a:gd name="connsiteY32" fmla="*/ 19050 h 2307741"/>
              <a:gd name="connsiteX33" fmla="*/ 2720294 w 2967438"/>
              <a:gd name="connsiteY33" fmla="*/ 9525 h 2307741"/>
              <a:gd name="connsiteX34" fmla="*/ 2377394 w 2967438"/>
              <a:gd name="connsiteY34" fmla="*/ 14287 h 2307741"/>
              <a:gd name="connsiteX35" fmla="*/ 2320244 w 2967438"/>
              <a:gd name="connsiteY35" fmla="*/ 23812 h 2307741"/>
              <a:gd name="connsiteX36" fmla="*/ 1905906 w 2967438"/>
              <a:gd name="connsiteY36" fmla="*/ 19050 h 2307741"/>
              <a:gd name="connsiteX37" fmla="*/ 1801131 w 2967438"/>
              <a:gd name="connsiteY37" fmla="*/ 9525 h 2307741"/>
              <a:gd name="connsiteX38" fmla="*/ 1772556 w 2967438"/>
              <a:gd name="connsiteY38" fmla="*/ 0 h 2307741"/>
              <a:gd name="connsiteX39" fmla="*/ 1524906 w 2967438"/>
              <a:gd name="connsiteY39" fmla="*/ 4762 h 2307741"/>
              <a:gd name="connsiteX40" fmla="*/ 1139144 w 2967438"/>
              <a:gd name="connsiteY40" fmla="*/ 38100 h 2307741"/>
              <a:gd name="connsiteX41" fmla="*/ 305706 w 2967438"/>
              <a:gd name="connsiteY41" fmla="*/ 23812 h 2307741"/>
              <a:gd name="connsiteX42" fmla="*/ 243794 w 2967438"/>
              <a:gd name="connsiteY42" fmla="*/ 14287 h 2307741"/>
              <a:gd name="connsiteX43" fmla="*/ 181881 w 2967438"/>
              <a:gd name="connsiteY43" fmla="*/ 9525 h 2307741"/>
              <a:gd name="connsiteX44" fmla="*/ 15194 w 2967438"/>
              <a:gd name="connsiteY44" fmla="*/ 14287 h 2307741"/>
              <a:gd name="connsiteX45" fmla="*/ 906 w 2967438"/>
              <a:gd name="connsiteY45" fmla="*/ 19050 h 2307741"/>
              <a:gd name="connsiteX46" fmla="*/ 5669 w 2967438"/>
              <a:gd name="connsiteY46" fmla="*/ 85725 h 2307741"/>
              <a:gd name="connsiteX47" fmla="*/ 19956 w 2967438"/>
              <a:gd name="connsiteY47" fmla="*/ 171450 h 2307741"/>
              <a:gd name="connsiteX48" fmla="*/ 10431 w 2967438"/>
              <a:gd name="connsiteY48" fmla="*/ 390525 h 2307741"/>
              <a:gd name="connsiteX49" fmla="*/ 5669 w 2967438"/>
              <a:gd name="connsiteY49" fmla="*/ 800100 h 2307741"/>
              <a:gd name="connsiteX50" fmla="*/ 5669 w 2967438"/>
              <a:gd name="connsiteY50" fmla="*/ 871537 h 2307741"/>
              <a:gd name="connsiteX51" fmla="*/ 10431 w 2967438"/>
              <a:gd name="connsiteY51" fmla="*/ 1157287 h 2307741"/>
              <a:gd name="connsiteX52" fmla="*/ 29481 w 2967438"/>
              <a:gd name="connsiteY52" fmla="*/ 1328737 h 2307741"/>
              <a:gd name="connsiteX53" fmla="*/ 19956 w 2967438"/>
              <a:gd name="connsiteY53" fmla="*/ 1476375 h 2307741"/>
              <a:gd name="connsiteX54" fmla="*/ 10431 w 2967438"/>
              <a:gd name="connsiteY54" fmla="*/ 1562100 h 2307741"/>
              <a:gd name="connsiteX55" fmla="*/ 5669 w 2967438"/>
              <a:gd name="connsiteY55" fmla="*/ 1819275 h 2307741"/>
              <a:gd name="connsiteX56" fmla="*/ 10431 w 2967438"/>
              <a:gd name="connsiteY56" fmla="*/ 2014537 h 2307741"/>
              <a:gd name="connsiteX57" fmla="*/ 19956 w 2967438"/>
              <a:gd name="connsiteY57" fmla="*/ 2238375 h 2307741"/>
              <a:gd name="connsiteX58" fmla="*/ 10431 w 2967438"/>
              <a:gd name="connsiteY58" fmla="*/ 2300287 h 2307741"/>
              <a:gd name="connsiteX0" fmla="*/ 10431 w 2967438"/>
              <a:gd name="connsiteY0" fmla="*/ 2300287 h 2307741"/>
              <a:gd name="connsiteX1" fmla="*/ 362856 w 2967438"/>
              <a:gd name="connsiteY1" fmla="*/ 2297112 h 2307741"/>
              <a:gd name="connsiteX2" fmla="*/ 358094 w 2967438"/>
              <a:gd name="connsiteY2" fmla="*/ 2214562 h 2307741"/>
              <a:gd name="connsiteX3" fmla="*/ 362856 w 2967438"/>
              <a:gd name="connsiteY3" fmla="*/ 1585912 h 2307741"/>
              <a:gd name="connsiteX4" fmla="*/ 372381 w 2967438"/>
              <a:gd name="connsiteY4" fmla="*/ 1123950 h 2307741"/>
              <a:gd name="connsiteX5" fmla="*/ 367619 w 2967438"/>
              <a:gd name="connsiteY5" fmla="*/ 471487 h 2307741"/>
              <a:gd name="connsiteX6" fmla="*/ 372381 w 2967438"/>
              <a:gd name="connsiteY6" fmla="*/ 414337 h 2307741"/>
              <a:gd name="connsiteX7" fmla="*/ 429531 w 2967438"/>
              <a:gd name="connsiteY7" fmla="*/ 419100 h 2307741"/>
              <a:gd name="connsiteX8" fmla="*/ 877206 w 2967438"/>
              <a:gd name="connsiteY8" fmla="*/ 414337 h 2307741"/>
              <a:gd name="connsiteX9" fmla="*/ 1205819 w 2967438"/>
              <a:gd name="connsiteY9" fmla="*/ 414337 h 2307741"/>
              <a:gd name="connsiteX10" fmla="*/ 1234394 w 2967438"/>
              <a:gd name="connsiteY10" fmla="*/ 409575 h 2307741"/>
              <a:gd name="connsiteX11" fmla="*/ 2567894 w 2967438"/>
              <a:gd name="connsiteY11" fmla="*/ 404812 h 2307741"/>
              <a:gd name="connsiteX12" fmla="*/ 2605994 w 2967438"/>
              <a:gd name="connsiteY12" fmla="*/ 423862 h 2307741"/>
              <a:gd name="connsiteX13" fmla="*/ 2615519 w 2967438"/>
              <a:gd name="connsiteY13" fmla="*/ 457200 h 2307741"/>
              <a:gd name="connsiteX14" fmla="*/ 2605994 w 2967438"/>
              <a:gd name="connsiteY14" fmla="*/ 614362 h 2307741"/>
              <a:gd name="connsiteX15" fmla="*/ 2596469 w 2967438"/>
              <a:gd name="connsiteY15" fmla="*/ 1176337 h 2307741"/>
              <a:gd name="connsiteX16" fmla="*/ 2601231 w 2967438"/>
              <a:gd name="connsiteY16" fmla="*/ 1209675 h 2307741"/>
              <a:gd name="connsiteX17" fmla="*/ 2604406 w 2967438"/>
              <a:gd name="connsiteY17" fmla="*/ 1514475 h 2307741"/>
              <a:gd name="connsiteX18" fmla="*/ 2610756 w 2967438"/>
              <a:gd name="connsiteY18" fmla="*/ 2066925 h 2307741"/>
              <a:gd name="connsiteX19" fmla="*/ 2612344 w 2967438"/>
              <a:gd name="connsiteY19" fmla="*/ 2203450 h 2307741"/>
              <a:gd name="connsiteX20" fmla="*/ 2620281 w 2967438"/>
              <a:gd name="connsiteY20" fmla="*/ 2292350 h 2307741"/>
              <a:gd name="connsiteX21" fmla="*/ 2847294 w 2967438"/>
              <a:gd name="connsiteY21" fmla="*/ 2303462 h 2307741"/>
              <a:gd name="connsiteX22" fmla="*/ 2963181 w 2967438"/>
              <a:gd name="connsiteY22" fmla="*/ 2282825 h 2307741"/>
              <a:gd name="connsiteX23" fmla="*/ 2944131 w 2967438"/>
              <a:gd name="connsiteY23" fmla="*/ 2181225 h 2307741"/>
              <a:gd name="connsiteX24" fmla="*/ 2952069 w 2967438"/>
              <a:gd name="connsiteY24" fmla="*/ 2008187 h 2307741"/>
              <a:gd name="connsiteX25" fmla="*/ 2958419 w 2967438"/>
              <a:gd name="connsiteY25" fmla="*/ 1804987 h 2307741"/>
              <a:gd name="connsiteX26" fmla="*/ 2948894 w 2967438"/>
              <a:gd name="connsiteY26" fmla="*/ 1366837 h 2307741"/>
              <a:gd name="connsiteX27" fmla="*/ 2944131 w 2967438"/>
              <a:gd name="connsiteY27" fmla="*/ 1081087 h 2307741"/>
              <a:gd name="connsiteX28" fmla="*/ 2944131 w 2967438"/>
              <a:gd name="connsiteY28" fmla="*/ 922337 h 2307741"/>
              <a:gd name="connsiteX29" fmla="*/ 2948894 w 2967438"/>
              <a:gd name="connsiteY29" fmla="*/ 571500 h 2307741"/>
              <a:gd name="connsiteX30" fmla="*/ 2953656 w 2967438"/>
              <a:gd name="connsiteY30" fmla="*/ 342900 h 2307741"/>
              <a:gd name="connsiteX31" fmla="*/ 2953656 w 2967438"/>
              <a:gd name="connsiteY31" fmla="*/ 34925 h 2307741"/>
              <a:gd name="connsiteX32" fmla="*/ 2863169 w 2967438"/>
              <a:gd name="connsiteY32" fmla="*/ 19050 h 2307741"/>
              <a:gd name="connsiteX33" fmla="*/ 2720294 w 2967438"/>
              <a:gd name="connsiteY33" fmla="*/ 9525 h 2307741"/>
              <a:gd name="connsiteX34" fmla="*/ 2377394 w 2967438"/>
              <a:gd name="connsiteY34" fmla="*/ 14287 h 2307741"/>
              <a:gd name="connsiteX35" fmla="*/ 2320244 w 2967438"/>
              <a:gd name="connsiteY35" fmla="*/ 23812 h 2307741"/>
              <a:gd name="connsiteX36" fmla="*/ 1905906 w 2967438"/>
              <a:gd name="connsiteY36" fmla="*/ 19050 h 2307741"/>
              <a:gd name="connsiteX37" fmla="*/ 1801131 w 2967438"/>
              <a:gd name="connsiteY37" fmla="*/ 9525 h 2307741"/>
              <a:gd name="connsiteX38" fmla="*/ 1772556 w 2967438"/>
              <a:gd name="connsiteY38" fmla="*/ 0 h 2307741"/>
              <a:gd name="connsiteX39" fmla="*/ 1524906 w 2967438"/>
              <a:gd name="connsiteY39" fmla="*/ 4762 h 2307741"/>
              <a:gd name="connsiteX40" fmla="*/ 1139144 w 2967438"/>
              <a:gd name="connsiteY40" fmla="*/ 38100 h 2307741"/>
              <a:gd name="connsiteX41" fmla="*/ 305706 w 2967438"/>
              <a:gd name="connsiteY41" fmla="*/ 23812 h 2307741"/>
              <a:gd name="connsiteX42" fmla="*/ 243794 w 2967438"/>
              <a:gd name="connsiteY42" fmla="*/ 14287 h 2307741"/>
              <a:gd name="connsiteX43" fmla="*/ 181881 w 2967438"/>
              <a:gd name="connsiteY43" fmla="*/ 9525 h 2307741"/>
              <a:gd name="connsiteX44" fmla="*/ 15194 w 2967438"/>
              <a:gd name="connsiteY44" fmla="*/ 14287 h 2307741"/>
              <a:gd name="connsiteX45" fmla="*/ 906 w 2967438"/>
              <a:gd name="connsiteY45" fmla="*/ 19050 h 2307741"/>
              <a:gd name="connsiteX46" fmla="*/ 5669 w 2967438"/>
              <a:gd name="connsiteY46" fmla="*/ 85725 h 2307741"/>
              <a:gd name="connsiteX47" fmla="*/ 19956 w 2967438"/>
              <a:gd name="connsiteY47" fmla="*/ 171450 h 2307741"/>
              <a:gd name="connsiteX48" fmla="*/ 10431 w 2967438"/>
              <a:gd name="connsiteY48" fmla="*/ 390525 h 2307741"/>
              <a:gd name="connsiteX49" fmla="*/ 5669 w 2967438"/>
              <a:gd name="connsiteY49" fmla="*/ 800100 h 2307741"/>
              <a:gd name="connsiteX50" fmla="*/ 5669 w 2967438"/>
              <a:gd name="connsiteY50" fmla="*/ 871537 h 2307741"/>
              <a:gd name="connsiteX51" fmla="*/ 10431 w 2967438"/>
              <a:gd name="connsiteY51" fmla="*/ 1157287 h 2307741"/>
              <a:gd name="connsiteX52" fmla="*/ 19956 w 2967438"/>
              <a:gd name="connsiteY52" fmla="*/ 1476375 h 2307741"/>
              <a:gd name="connsiteX53" fmla="*/ 10431 w 2967438"/>
              <a:gd name="connsiteY53" fmla="*/ 1562100 h 2307741"/>
              <a:gd name="connsiteX54" fmla="*/ 5669 w 2967438"/>
              <a:gd name="connsiteY54" fmla="*/ 1819275 h 2307741"/>
              <a:gd name="connsiteX55" fmla="*/ 10431 w 2967438"/>
              <a:gd name="connsiteY55" fmla="*/ 2014537 h 2307741"/>
              <a:gd name="connsiteX56" fmla="*/ 19956 w 2967438"/>
              <a:gd name="connsiteY56" fmla="*/ 2238375 h 2307741"/>
              <a:gd name="connsiteX57" fmla="*/ 10431 w 2967438"/>
              <a:gd name="connsiteY57" fmla="*/ 2300287 h 2307741"/>
              <a:gd name="connsiteX0" fmla="*/ 11566 w 2968573"/>
              <a:gd name="connsiteY0" fmla="*/ 2300287 h 2307741"/>
              <a:gd name="connsiteX1" fmla="*/ 363991 w 2968573"/>
              <a:gd name="connsiteY1" fmla="*/ 2297112 h 2307741"/>
              <a:gd name="connsiteX2" fmla="*/ 359229 w 2968573"/>
              <a:gd name="connsiteY2" fmla="*/ 2214562 h 2307741"/>
              <a:gd name="connsiteX3" fmla="*/ 363991 w 2968573"/>
              <a:gd name="connsiteY3" fmla="*/ 1585912 h 2307741"/>
              <a:gd name="connsiteX4" fmla="*/ 373516 w 2968573"/>
              <a:gd name="connsiteY4" fmla="*/ 1123950 h 2307741"/>
              <a:gd name="connsiteX5" fmla="*/ 368754 w 2968573"/>
              <a:gd name="connsiteY5" fmla="*/ 471487 h 2307741"/>
              <a:gd name="connsiteX6" fmla="*/ 373516 w 2968573"/>
              <a:gd name="connsiteY6" fmla="*/ 414337 h 2307741"/>
              <a:gd name="connsiteX7" fmla="*/ 430666 w 2968573"/>
              <a:gd name="connsiteY7" fmla="*/ 419100 h 2307741"/>
              <a:gd name="connsiteX8" fmla="*/ 878341 w 2968573"/>
              <a:gd name="connsiteY8" fmla="*/ 414337 h 2307741"/>
              <a:gd name="connsiteX9" fmla="*/ 1206954 w 2968573"/>
              <a:gd name="connsiteY9" fmla="*/ 414337 h 2307741"/>
              <a:gd name="connsiteX10" fmla="*/ 1235529 w 2968573"/>
              <a:gd name="connsiteY10" fmla="*/ 409575 h 2307741"/>
              <a:gd name="connsiteX11" fmla="*/ 2569029 w 2968573"/>
              <a:gd name="connsiteY11" fmla="*/ 404812 h 2307741"/>
              <a:gd name="connsiteX12" fmla="*/ 2607129 w 2968573"/>
              <a:gd name="connsiteY12" fmla="*/ 423862 h 2307741"/>
              <a:gd name="connsiteX13" fmla="*/ 2616654 w 2968573"/>
              <a:gd name="connsiteY13" fmla="*/ 457200 h 2307741"/>
              <a:gd name="connsiteX14" fmla="*/ 2607129 w 2968573"/>
              <a:gd name="connsiteY14" fmla="*/ 614362 h 2307741"/>
              <a:gd name="connsiteX15" fmla="*/ 2597604 w 2968573"/>
              <a:gd name="connsiteY15" fmla="*/ 1176337 h 2307741"/>
              <a:gd name="connsiteX16" fmla="*/ 2602366 w 2968573"/>
              <a:gd name="connsiteY16" fmla="*/ 1209675 h 2307741"/>
              <a:gd name="connsiteX17" fmla="*/ 2605541 w 2968573"/>
              <a:gd name="connsiteY17" fmla="*/ 1514475 h 2307741"/>
              <a:gd name="connsiteX18" fmla="*/ 2611891 w 2968573"/>
              <a:gd name="connsiteY18" fmla="*/ 2066925 h 2307741"/>
              <a:gd name="connsiteX19" fmla="*/ 2613479 w 2968573"/>
              <a:gd name="connsiteY19" fmla="*/ 2203450 h 2307741"/>
              <a:gd name="connsiteX20" fmla="*/ 2621416 w 2968573"/>
              <a:gd name="connsiteY20" fmla="*/ 2292350 h 2307741"/>
              <a:gd name="connsiteX21" fmla="*/ 2848429 w 2968573"/>
              <a:gd name="connsiteY21" fmla="*/ 2303462 h 2307741"/>
              <a:gd name="connsiteX22" fmla="*/ 2964316 w 2968573"/>
              <a:gd name="connsiteY22" fmla="*/ 2282825 h 2307741"/>
              <a:gd name="connsiteX23" fmla="*/ 2945266 w 2968573"/>
              <a:gd name="connsiteY23" fmla="*/ 2181225 h 2307741"/>
              <a:gd name="connsiteX24" fmla="*/ 2953204 w 2968573"/>
              <a:gd name="connsiteY24" fmla="*/ 2008187 h 2307741"/>
              <a:gd name="connsiteX25" fmla="*/ 2959554 w 2968573"/>
              <a:gd name="connsiteY25" fmla="*/ 1804987 h 2307741"/>
              <a:gd name="connsiteX26" fmla="*/ 2950029 w 2968573"/>
              <a:gd name="connsiteY26" fmla="*/ 1366837 h 2307741"/>
              <a:gd name="connsiteX27" fmla="*/ 2945266 w 2968573"/>
              <a:gd name="connsiteY27" fmla="*/ 1081087 h 2307741"/>
              <a:gd name="connsiteX28" fmla="*/ 2945266 w 2968573"/>
              <a:gd name="connsiteY28" fmla="*/ 922337 h 2307741"/>
              <a:gd name="connsiteX29" fmla="*/ 2950029 w 2968573"/>
              <a:gd name="connsiteY29" fmla="*/ 571500 h 2307741"/>
              <a:gd name="connsiteX30" fmla="*/ 2954791 w 2968573"/>
              <a:gd name="connsiteY30" fmla="*/ 342900 h 2307741"/>
              <a:gd name="connsiteX31" fmla="*/ 2954791 w 2968573"/>
              <a:gd name="connsiteY31" fmla="*/ 34925 h 2307741"/>
              <a:gd name="connsiteX32" fmla="*/ 2864304 w 2968573"/>
              <a:gd name="connsiteY32" fmla="*/ 19050 h 2307741"/>
              <a:gd name="connsiteX33" fmla="*/ 2721429 w 2968573"/>
              <a:gd name="connsiteY33" fmla="*/ 9525 h 2307741"/>
              <a:gd name="connsiteX34" fmla="*/ 2378529 w 2968573"/>
              <a:gd name="connsiteY34" fmla="*/ 14287 h 2307741"/>
              <a:gd name="connsiteX35" fmla="*/ 2321379 w 2968573"/>
              <a:gd name="connsiteY35" fmla="*/ 23812 h 2307741"/>
              <a:gd name="connsiteX36" fmla="*/ 1907041 w 2968573"/>
              <a:gd name="connsiteY36" fmla="*/ 19050 h 2307741"/>
              <a:gd name="connsiteX37" fmla="*/ 1802266 w 2968573"/>
              <a:gd name="connsiteY37" fmla="*/ 9525 h 2307741"/>
              <a:gd name="connsiteX38" fmla="*/ 1773691 w 2968573"/>
              <a:gd name="connsiteY38" fmla="*/ 0 h 2307741"/>
              <a:gd name="connsiteX39" fmla="*/ 1526041 w 2968573"/>
              <a:gd name="connsiteY39" fmla="*/ 4762 h 2307741"/>
              <a:gd name="connsiteX40" fmla="*/ 1140279 w 2968573"/>
              <a:gd name="connsiteY40" fmla="*/ 38100 h 2307741"/>
              <a:gd name="connsiteX41" fmla="*/ 306841 w 2968573"/>
              <a:gd name="connsiteY41" fmla="*/ 23812 h 2307741"/>
              <a:gd name="connsiteX42" fmla="*/ 244929 w 2968573"/>
              <a:gd name="connsiteY42" fmla="*/ 14287 h 2307741"/>
              <a:gd name="connsiteX43" fmla="*/ 183016 w 2968573"/>
              <a:gd name="connsiteY43" fmla="*/ 9525 h 2307741"/>
              <a:gd name="connsiteX44" fmla="*/ 16329 w 2968573"/>
              <a:gd name="connsiteY44" fmla="*/ 14287 h 2307741"/>
              <a:gd name="connsiteX45" fmla="*/ 6804 w 2968573"/>
              <a:gd name="connsiteY45" fmla="*/ 85725 h 2307741"/>
              <a:gd name="connsiteX46" fmla="*/ 21091 w 2968573"/>
              <a:gd name="connsiteY46" fmla="*/ 171450 h 2307741"/>
              <a:gd name="connsiteX47" fmla="*/ 11566 w 2968573"/>
              <a:gd name="connsiteY47" fmla="*/ 390525 h 2307741"/>
              <a:gd name="connsiteX48" fmla="*/ 6804 w 2968573"/>
              <a:gd name="connsiteY48" fmla="*/ 800100 h 2307741"/>
              <a:gd name="connsiteX49" fmla="*/ 6804 w 2968573"/>
              <a:gd name="connsiteY49" fmla="*/ 871537 h 2307741"/>
              <a:gd name="connsiteX50" fmla="*/ 11566 w 2968573"/>
              <a:gd name="connsiteY50" fmla="*/ 1157287 h 2307741"/>
              <a:gd name="connsiteX51" fmla="*/ 21091 w 2968573"/>
              <a:gd name="connsiteY51" fmla="*/ 1476375 h 2307741"/>
              <a:gd name="connsiteX52" fmla="*/ 11566 w 2968573"/>
              <a:gd name="connsiteY52" fmla="*/ 1562100 h 2307741"/>
              <a:gd name="connsiteX53" fmla="*/ 6804 w 2968573"/>
              <a:gd name="connsiteY53" fmla="*/ 1819275 h 2307741"/>
              <a:gd name="connsiteX54" fmla="*/ 11566 w 2968573"/>
              <a:gd name="connsiteY54" fmla="*/ 2014537 h 2307741"/>
              <a:gd name="connsiteX55" fmla="*/ 21091 w 2968573"/>
              <a:gd name="connsiteY55" fmla="*/ 2238375 h 2307741"/>
              <a:gd name="connsiteX56" fmla="*/ 11566 w 2968573"/>
              <a:gd name="connsiteY56" fmla="*/ 2300287 h 2307741"/>
              <a:gd name="connsiteX0" fmla="*/ 5327 w 2962334"/>
              <a:gd name="connsiteY0" fmla="*/ 2300287 h 2307741"/>
              <a:gd name="connsiteX1" fmla="*/ 357752 w 2962334"/>
              <a:gd name="connsiteY1" fmla="*/ 2297112 h 2307741"/>
              <a:gd name="connsiteX2" fmla="*/ 352990 w 2962334"/>
              <a:gd name="connsiteY2" fmla="*/ 2214562 h 2307741"/>
              <a:gd name="connsiteX3" fmla="*/ 357752 w 2962334"/>
              <a:gd name="connsiteY3" fmla="*/ 1585912 h 2307741"/>
              <a:gd name="connsiteX4" fmla="*/ 367277 w 2962334"/>
              <a:gd name="connsiteY4" fmla="*/ 1123950 h 2307741"/>
              <a:gd name="connsiteX5" fmla="*/ 362515 w 2962334"/>
              <a:gd name="connsiteY5" fmla="*/ 471487 h 2307741"/>
              <a:gd name="connsiteX6" fmla="*/ 367277 w 2962334"/>
              <a:gd name="connsiteY6" fmla="*/ 414337 h 2307741"/>
              <a:gd name="connsiteX7" fmla="*/ 424427 w 2962334"/>
              <a:gd name="connsiteY7" fmla="*/ 419100 h 2307741"/>
              <a:gd name="connsiteX8" fmla="*/ 872102 w 2962334"/>
              <a:gd name="connsiteY8" fmla="*/ 414337 h 2307741"/>
              <a:gd name="connsiteX9" fmla="*/ 1200715 w 2962334"/>
              <a:gd name="connsiteY9" fmla="*/ 414337 h 2307741"/>
              <a:gd name="connsiteX10" fmla="*/ 1229290 w 2962334"/>
              <a:gd name="connsiteY10" fmla="*/ 409575 h 2307741"/>
              <a:gd name="connsiteX11" fmla="*/ 2562790 w 2962334"/>
              <a:gd name="connsiteY11" fmla="*/ 404812 h 2307741"/>
              <a:gd name="connsiteX12" fmla="*/ 2600890 w 2962334"/>
              <a:gd name="connsiteY12" fmla="*/ 423862 h 2307741"/>
              <a:gd name="connsiteX13" fmla="*/ 2610415 w 2962334"/>
              <a:gd name="connsiteY13" fmla="*/ 457200 h 2307741"/>
              <a:gd name="connsiteX14" fmla="*/ 2600890 w 2962334"/>
              <a:gd name="connsiteY14" fmla="*/ 614362 h 2307741"/>
              <a:gd name="connsiteX15" fmla="*/ 2591365 w 2962334"/>
              <a:gd name="connsiteY15" fmla="*/ 1176337 h 2307741"/>
              <a:gd name="connsiteX16" fmla="*/ 2596127 w 2962334"/>
              <a:gd name="connsiteY16" fmla="*/ 1209675 h 2307741"/>
              <a:gd name="connsiteX17" fmla="*/ 2599302 w 2962334"/>
              <a:gd name="connsiteY17" fmla="*/ 1514475 h 2307741"/>
              <a:gd name="connsiteX18" fmla="*/ 2605652 w 2962334"/>
              <a:gd name="connsiteY18" fmla="*/ 2066925 h 2307741"/>
              <a:gd name="connsiteX19" fmla="*/ 2607240 w 2962334"/>
              <a:gd name="connsiteY19" fmla="*/ 2203450 h 2307741"/>
              <a:gd name="connsiteX20" fmla="*/ 2615177 w 2962334"/>
              <a:gd name="connsiteY20" fmla="*/ 2292350 h 2307741"/>
              <a:gd name="connsiteX21" fmla="*/ 2842190 w 2962334"/>
              <a:gd name="connsiteY21" fmla="*/ 2303462 h 2307741"/>
              <a:gd name="connsiteX22" fmla="*/ 2958077 w 2962334"/>
              <a:gd name="connsiteY22" fmla="*/ 2282825 h 2307741"/>
              <a:gd name="connsiteX23" fmla="*/ 2939027 w 2962334"/>
              <a:gd name="connsiteY23" fmla="*/ 2181225 h 2307741"/>
              <a:gd name="connsiteX24" fmla="*/ 2946965 w 2962334"/>
              <a:gd name="connsiteY24" fmla="*/ 2008187 h 2307741"/>
              <a:gd name="connsiteX25" fmla="*/ 2953315 w 2962334"/>
              <a:gd name="connsiteY25" fmla="*/ 1804987 h 2307741"/>
              <a:gd name="connsiteX26" fmla="*/ 2943790 w 2962334"/>
              <a:gd name="connsiteY26" fmla="*/ 1366837 h 2307741"/>
              <a:gd name="connsiteX27" fmla="*/ 2939027 w 2962334"/>
              <a:gd name="connsiteY27" fmla="*/ 1081087 h 2307741"/>
              <a:gd name="connsiteX28" fmla="*/ 2939027 w 2962334"/>
              <a:gd name="connsiteY28" fmla="*/ 922337 h 2307741"/>
              <a:gd name="connsiteX29" fmla="*/ 2943790 w 2962334"/>
              <a:gd name="connsiteY29" fmla="*/ 571500 h 2307741"/>
              <a:gd name="connsiteX30" fmla="*/ 2948552 w 2962334"/>
              <a:gd name="connsiteY30" fmla="*/ 342900 h 2307741"/>
              <a:gd name="connsiteX31" fmla="*/ 2948552 w 2962334"/>
              <a:gd name="connsiteY31" fmla="*/ 34925 h 2307741"/>
              <a:gd name="connsiteX32" fmla="*/ 2858065 w 2962334"/>
              <a:gd name="connsiteY32" fmla="*/ 19050 h 2307741"/>
              <a:gd name="connsiteX33" fmla="*/ 2715190 w 2962334"/>
              <a:gd name="connsiteY33" fmla="*/ 9525 h 2307741"/>
              <a:gd name="connsiteX34" fmla="*/ 2372290 w 2962334"/>
              <a:gd name="connsiteY34" fmla="*/ 14287 h 2307741"/>
              <a:gd name="connsiteX35" fmla="*/ 2315140 w 2962334"/>
              <a:gd name="connsiteY35" fmla="*/ 23812 h 2307741"/>
              <a:gd name="connsiteX36" fmla="*/ 1900802 w 2962334"/>
              <a:gd name="connsiteY36" fmla="*/ 19050 h 2307741"/>
              <a:gd name="connsiteX37" fmla="*/ 1796027 w 2962334"/>
              <a:gd name="connsiteY37" fmla="*/ 9525 h 2307741"/>
              <a:gd name="connsiteX38" fmla="*/ 1767452 w 2962334"/>
              <a:gd name="connsiteY38" fmla="*/ 0 h 2307741"/>
              <a:gd name="connsiteX39" fmla="*/ 1519802 w 2962334"/>
              <a:gd name="connsiteY39" fmla="*/ 4762 h 2307741"/>
              <a:gd name="connsiteX40" fmla="*/ 1134040 w 2962334"/>
              <a:gd name="connsiteY40" fmla="*/ 38100 h 2307741"/>
              <a:gd name="connsiteX41" fmla="*/ 300602 w 2962334"/>
              <a:gd name="connsiteY41" fmla="*/ 23812 h 2307741"/>
              <a:gd name="connsiteX42" fmla="*/ 238690 w 2962334"/>
              <a:gd name="connsiteY42" fmla="*/ 14287 h 2307741"/>
              <a:gd name="connsiteX43" fmla="*/ 176777 w 2962334"/>
              <a:gd name="connsiteY43" fmla="*/ 9525 h 2307741"/>
              <a:gd name="connsiteX44" fmla="*/ 38665 w 2962334"/>
              <a:gd name="connsiteY44" fmla="*/ 11112 h 2307741"/>
              <a:gd name="connsiteX45" fmla="*/ 565 w 2962334"/>
              <a:gd name="connsiteY45" fmla="*/ 85725 h 2307741"/>
              <a:gd name="connsiteX46" fmla="*/ 14852 w 2962334"/>
              <a:gd name="connsiteY46" fmla="*/ 171450 h 2307741"/>
              <a:gd name="connsiteX47" fmla="*/ 5327 w 2962334"/>
              <a:gd name="connsiteY47" fmla="*/ 390525 h 2307741"/>
              <a:gd name="connsiteX48" fmla="*/ 565 w 2962334"/>
              <a:gd name="connsiteY48" fmla="*/ 800100 h 2307741"/>
              <a:gd name="connsiteX49" fmla="*/ 565 w 2962334"/>
              <a:gd name="connsiteY49" fmla="*/ 871537 h 2307741"/>
              <a:gd name="connsiteX50" fmla="*/ 5327 w 2962334"/>
              <a:gd name="connsiteY50" fmla="*/ 1157287 h 2307741"/>
              <a:gd name="connsiteX51" fmla="*/ 14852 w 2962334"/>
              <a:gd name="connsiteY51" fmla="*/ 1476375 h 2307741"/>
              <a:gd name="connsiteX52" fmla="*/ 5327 w 2962334"/>
              <a:gd name="connsiteY52" fmla="*/ 1562100 h 2307741"/>
              <a:gd name="connsiteX53" fmla="*/ 565 w 2962334"/>
              <a:gd name="connsiteY53" fmla="*/ 1819275 h 2307741"/>
              <a:gd name="connsiteX54" fmla="*/ 5327 w 2962334"/>
              <a:gd name="connsiteY54" fmla="*/ 2014537 h 2307741"/>
              <a:gd name="connsiteX55" fmla="*/ 14852 w 2962334"/>
              <a:gd name="connsiteY55" fmla="*/ 2238375 h 2307741"/>
              <a:gd name="connsiteX56" fmla="*/ 5327 w 2962334"/>
              <a:gd name="connsiteY56" fmla="*/ 2300287 h 2307741"/>
              <a:gd name="connsiteX0" fmla="*/ 4793 w 2961800"/>
              <a:gd name="connsiteY0" fmla="*/ 2301228 h 2308682"/>
              <a:gd name="connsiteX1" fmla="*/ 357218 w 2961800"/>
              <a:gd name="connsiteY1" fmla="*/ 2298053 h 2308682"/>
              <a:gd name="connsiteX2" fmla="*/ 352456 w 2961800"/>
              <a:gd name="connsiteY2" fmla="*/ 2215503 h 2308682"/>
              <a:gd name="connsiteX3" fmla="*/ 357218 w 2961800"/>
              <a:gd name="connsiteY3" fmla="*/ 1586853 h 2308682"/>
              <a:gd name="connsiteX4" fmla="*/ 366743 w 2961800"/>
              <a:gd name="connsiteY4" fmla="*/ 1124891 h 2308682"/>
              <a:gd name="connsiteX5" fmla="*/ 361981 w 2961800"/>
              <a:gd name="connsiteY5" fmla="*/ 472428 h 2308682"/>
              <a:gd name="connsiteX6" fmla="*/ 366743 w 2961800"/>
              <a:gd name="connsiteY6" fmla="*/ 415278 h 2308682"/>
              <a:gd name="connsiteX7" fmla="*/ 423893 w 2961800"/>
              <a:gd name="connsiteY7" fmla="*/ 420041 h 2308682"/>
              <a:gd name="connsiteX8" fmla="*/ 871568 w 2961800"/>
              <a:gd name="connsiteY8" fmla="*/ 415278 h 2308682"/>
              <a:gd name="connsiteX9" fmla="*/ 1200181 w 2961800"/>
              <a:gd name="connsiteY9" fmla="*/ 415278 h 2308682"/>
              <a:gd name="connsiteX10" fmla="*/ 1228756 w 2961800"/>
              <a:gd name="connsiteY10" fmla="*/ 410516 h 2308682"/>
              <a:gd name="connsiteX11" fmla="*/ 2562256 w 2961800"/>
              <a:gd name="connsiteY11" fmla="*/ 405753 h 2308682"/>
              <a:gd name="connsiteX12" fmla="*/ 2600356 w 2961800"/>
              <a:gd name="connsiteY12" fmla="*/ 424803 h 2308682"/>
              <a:gd name="connsiteX13" fmla="*/ 2609881 w 2961800"/>
              <a:gd name="connsiteY13" fmla="*/ 458141 h 2308682"/>
              <a:gd name="connsiteX14" fmla="*/ 2600356 w 2961800"/>
              <a:gd name="connsiteY14" fmla="*/ 615303 h 2308682"/>
              <a:gd name="connsiteX15" fmla="*/ 2590831 w 2961800"/>
              <a:gd name="connsiteY15" fmla="*/ 1177278 h 2308682"/>
              <a:gd name="connsiteX16" fmla="*/ 2595593 w 2961800"/>
              <a:gd name="connsiteY16" fmla="*/ 1210616 h 2308682"/>
              <a:gd name="connsiteX17" fmla="*/ 2598768 w 2961800"/>
              <a:gd name="connsiteY17" fmla="*/ 1515416 h 2308682"/>
              <a:gd name="connsiteX18" fmla="*/ 2605118 w 2961800"/>
              <a:gd name="connsiteY18" fmla="*/ 2067866 h 2308682"/>
              <a:gd name="connsiteX19" fmla="*/ 2606706 w 2961800"/>
              <a:gd name="connsiteY19" fmla="*/ 2204391 h 2308682"/>
              <a:gd name="connsiteX20" fmla="*/ 2614643 w 2961800"/>
              <a:gd name="connsiteY20" fmla="*/ 2293291 h 2308682"/>
              <a:gd name="connsiteX21" fmla="*/ 2841656 w 2961800"/>
              <a:gd name="connsiteY21" fmla="*/ 2304403 h 2308682"/>
              <a:gd name="connsiteX22" fmla="*/ 2957543 w 2961800"/>
              <a:gd name="connsiteY22" fmla="*/ 2283766 h 2308682"/>
              <a:gd name="connsiteX23" fmla="*/ 2938493 w 2961800"/>
              <a:gd name="connsiteY23" fmla="*/ 2182166 h 2308682"/>
              <a:gd name="connsiteX24" fmla="*/ 2946431 w 2961800"/>
              <a:gd name="connsiteY24" fmla="*/ 2009128 h 2308682"/>
              <a:gd name="connsiteX25" fmla="*/ 2952781 w 2961800"/>
              <a:gd name="connsiteY25" fmla="*/ 1805928 h 2308682"/>
              <a:gd name="connsiteX26" fmla="*/ 2943256 w 2961800"/>
              <a:gd name="connsiteY26" fmla="*/ 1367778 h 2308682"/>
              <a:gd name="connsiteX27" fmla="*/ 2938493 w 2961800"/>
              <a:gd name="connsiteY27" fmla="*/ 1082028 h 2308682"/>
              <a:gd name="connsiteX28" fmla="*/ 2938493 w 2961800"/>
              <a:gd name="connsiteY28" fmla="*/ 923278 h 2308682"/>
              <a:gd name="connsiteX29" fmla="*/ 2943256 w 2961800"/>
              <a:gd name="connsiteY29" fmla="*/ 572441 h 2308682"/>
              <a:gd name="connsiteX30" fmla="*/ 2948018 w 2961800"/>
              <a:gd name="connsiteY30" fmla="*/ 343841 h 2308682"/>
              <a:gd name="connsiteX31" fmla="*/ 2948018 w 2961800"/>
              <a:gd name="connsiteY31" fmla="*/ 35866 h 2308682"/>
              <a:gd name="connsiteX32" fmla="*/ 2857531 w 2961800"/>
              <a:gd name="connsiteY32" fmla="*/ 19991 h 2308682"/>
              <a:gd name="connsiteX33" fmla="*/ 2714656 w 2961800"/>
              <a:gd name="connsiteY33" fmla="*/ 10466 h 2308682"/>
              <a:gd name="connsiteX34" fmla="*/ 2371756 w 2961800"/>
              <a:gd name="connsiteY34" fmla="*/ 15228 h 2308682"/>
              <a:gd name="connsiteX35" fmla="*/ 2314606 w 2961800"/>
              <a:gd name="connsiteY35" fmla="*/ 24753 h 2308682"/>
              <a:gd name="connsiteX36" fmla="*/ 1900268 w 2961800"/>
              <a:gd name="connsiteY36" fmla="*/ 19991 h 2308682"/>
              <a:gd name="connsiteX37" fmla="*/ 1795493 w 2961800"/>
              <a:gd name="connsiteY37" fmla="*/ 10466 h 2308682"/>
              <a:gd name="connsiteX38" fmla="*/ 1766918 w 2961800"/>
              <a:gd name="connsiteY38" fmla="*/ 941 h 2308682"/>
              <a:gd name="connsiteX39" fmla="*/ 1519268 w 2961800"/>
              <a:gd name="connsiteY39" fmla="*/ 5703 h 2308682"/>
              <a:gd name="connsiteX40" fmla="*/ 1133506 w 2961800"/>
              <a:gd name="connsiteY40" fmla="*/ 39041 h 2308682"/>
              <a:gd name="connsiteX41" fmla="*/ 300068 w 2961800"/>
              <a:gd name="connsiteY41" fmla="*/ 24753 h 2308682"/>
              <a:gd name="connsiteX42" fmla="*/ 238156 w 2961800"/>
              <a:gd name="connsiteY42" fmla="*/ 15228 h 2308682"/>
              <a:gd name="connsiteX43" fmla="*/ 176243 w 2961800"/>
              <a:gd name="connsiteY43" fmla="*/ 10466 h 2308682"/>
              <a:gd name="connsiteX44" fmla="*/ 38131 w 2961800"/>
              <a:gd name="connsiteY44" fmla="*/ 12053 h 2308682"/>
              <a:gd name="connsiteX45" fmla="*/ 14318 w 2961800"/>
              <a:gd name="connsiteY45" fmla="*/ 172391 h 2308682"/>
              <a:gd name="connsiteX46" fmla="*/ 4793 w 2961800"/>
              <a:gd name="connsiteY46" fmla="*/ 391466 h 2308682"/>
              <a:gd name="connsiteX47" fmla="*/ 31 w 2961800"/>
              <a:gd name="connsiteY47" fmla="*/ 801041 h 2308682"/>
              <a:gd name="connsiteX48" fmla="*/ 31 w 2961800"/>
              <a:gd name="connsiteY48" fmla="*/ 872478 h 2308682"/>
              <a:gd name="connsiteX49" fmla="*/ 4793 w 2961800"/>
              <a:gd name="connsiteY49" fmla="*/ 1158228 h 2308682"/>
              <a:gd name="connsiteX50" fmla="*/ 14318 w 2961800"/>
              <a:gd name="connsiteY50" fmla="*/ 1477316 h 2308682"/>
              <a:gd name="connsiteX51" fmla="*/ 4793 w 2961800"/>
              <a:gd name="connsiteY51" fmla="*/ 1563041 h 2308682"/>
              <a:gd name="connsiteX52" fmla="*/ 31 w 2961800"/>
              <a:gd name="connsiteY52" fmla="*/ 1820216 h 2308682"/>
              <a:gd name="connsiteX53" fmla="*/ 4793 w 2961800"/>
              <a:gd name="connsiteY53" fmla="*/ 2015478 h 2308682"/>
              <a:gd name="connsiteX54" fmla="*/ 14318 w 2961800"/>
              <a:gd name="connsiteY54" fmla="*/ 2239316 h 2308682"/>
              <a:gd name="connsiteX55" fmla="*/ 4793 w 2961800"/>
              <a:gd name="connsiteY55" fmla="*/ 2301228 h 230868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423893 w 2961800"/>
              <a:gd name="connsiteY7" fmla="*/ 420921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57531 w 2961800"/>
              <a:gd name="connsiteY32" fmla="*/ 20871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2314606 w 2961800"/>
              <a:gd name="connsiteY35" fmla="*/ 25633 h 2309562"/>
              <a:gd name="connsiteX36" fmla="*/ 1900268 w 2961800"/>
              <a:gd name="connsiteY36" fmla="*/ 20871 h 2309562"/>
              <a:gd name="connsiteX37" fmla="*/ 1795493 w 2961800"/>
              <a:gd name="connsiteY37" fmla="*/ 11346 h 2309562"/>
              <a:gd name="connsiteX38" fmla="*/ 1766918 w 2961800"/>
              <a:gd name="connsiteY38" fmla="*/ 1821 h 2309562"/>
              <a:gd name="connsiteX39" fmla="*/ 1519268 w 2961800"/>
              <a:gd name="connsiteY39" fmla="*/ 6583 h 2309562"/>
              <a:gd name="connsiteX40" fmla="*/ 1133506 w 2961800"/>
              <a:gd name="connsiteY40" fmla="*/ 39921 h 2309562"/>
              <a:gd name="connsiteX41" fmla="*/ 300068 w 2961800"/>
              <a:gd name="connsiteY41" fmla="*/ 25633 h 2309562"/>
              <a:gd name="connsiteX42" fmla="*/ 176243 w 2961800"/>
              <a:gd name="connsiteY42" fmla="*/ 11346 h 2309562"/>
              <a:gd name="connsiteX43" fmla="*/ 38131 w 2961800"/>
              <a:gd name="connsiteY43" fmla="*/ 12933 h 2309562"/>
              <a:gd name="connsiteX44" fmla="*/ 14318 w 2961800"/>
              <a:gd name="connsiteY44" fmla="*/ 173271 h 2309562"/>
              <a:gd name="connsiteX45" fmla="*/ 4793 w 2961800"/>
              <a:gd name="connsiteY45" fmla="*/ 392346 h 2309562"/>
              <a:gd name="connsiteX46" fmla="*/ 31 w 2961800"/>
              <a:gd name="connsiteY46" fmla="*/ 801921 h 2309562"/>
              <a:gd name="connsiteX47" fmla="*/ 31 w 2961800"/>
              <a:gd name="connsiteY47" fmla="*/ 873358 h 2309562"/>
              <a:gd name="connsiteX48" fmla="*/ 4793 w 2961800"/>
              <a:gd name="connsiteY48" fmla="*/ 1159108 h 2309562"/>
              <a:gd name="connsiteX49" fmla="*/ 14318 w 2961800"/>
              <a:gd name="connsiteY49" fmla="*/ 1478196 h 2309562"/>
              <a:gd name="connsiteX50" fmla="*/ 4793 w 2961800"/>
              <a:gd name="connsiteY50" fmla="*/ 1563921 h 2309562"/>
              <a:gd name="connsiteX51" fmla="*/ 31 w 2961800"/>
              <a:gd name="connsiteY51" fmla="*/ 1821096 h 2309562"/>
              <a:gd name="connsiteX52" fmla="*/ 4793 w 2961800"/>
              <a:gd name="connsiteY52" fmla="*/ 2016358 h 2309562"/>
              <a:gd name="connsiteX53" fmla="*/ 14318 w 2961800"/>
              <a:gd name="connsiteY53" fmla="*/ 2240196 h 2309562"/>
              <a:gd name="connsiteX54" fmla="*/ 4793 w 2961800"/>
              <a:gd name="connsiteY54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423893 w 2961800"/>
              <a:gd name="connsiteY7" fmla="*/ 420921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57531 w 2961800"/>
              <a:gd name="connsiteY32" fmla="*/ 20871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2314606 w 2961800"/>
              <a:gd name="connsiteY35" fmla="*/ 25633 h 2309562"/>
              <a:gd name="connsiteX36" fmla="*/ 1900268 w 2961800"/>
              <a:gd name="connsiteY36" fmla="*/ 20871 h 2309562"/>
              <a:gd name="connsiteX37" fmla="*/ 1795493 w 2961800"/>
              <a:gd name="connsiteY37" fmla="*/ 11346 h 2309562"/>
              <a:gd name="connsiteX38" fmla="*/ 1766918 w 2961800"/>
              <a:gd name="connsiteY38" fmla="*/ 1821 h 2309562"/>
              <a:gd name="connsiteX39" fmla="*/ 1519268 w 2961800"/>
              <a:gd name="connsiteY39" fmla="*/ 6583 h 2309562"/>
              <a:gd name="connsiteX40" fmla="*/ 1133506 w 2961800"/>
              <a:gd name="connsiteY40" fmla="*/ 30396 h 2309562"/>
              <a:gd name="connsiteX41" fmla="*/ 300068 w 2961800"/>
              <a:gd name="connsiteY41" fmla="*/ 25633 h 2309562"/>
              <a:gd name="connsiteX42" fmla="*/ 176243 w 2961800"/>
              <a:gd name="connsiteY42" fmla="*/ 11346 h 2309562"/>
              <a:gd name="connsiteX43" fmla="*/ 38131 w 2961800"/>
              <a:gd name="connsiteY43" fmla="*/ 12933 h 2309562"/>
              <a:gd name="connsiteX44" fmla="*/ 14318 w 2961800"/>
              <a:gd name="connsiteY44" fmla="*/ 173271 h 2309562"/>
              <a:gd name="connsiteX45" fmla="*/ 4793 w 2961800"/>
              <a:gd name="connsiteY45" fmla="*/ 392346 h 2309562"/>
              <a:gd name="connsiteX46" fmla="*/ 31 w 2961800"/>
              <a:gd name="connsiteY46" fmla="*/ 801921 h 2309562"/>
              <a:gd name="connsiteX47" fmla="*/ 31 w 2961800"/>
              <a:gd name="connsiteY47" fmla="*/ 873358 h 2309562"/>
              <a:gd name="connsiteX48" fmla="*/ 4793 w 2961800"/>
              <a:gd name="connsiteY48" fmla="*/ 1159108 h 2309562"/>
              <a:gd name="connsiteX49" fmla="*/ 14318 w 2961800"/>
              <a:gd name="connsiteY49" fmla="*/ 1478196 h 2309562"/>
              <a:gd name="connsiteX50" fmla="*/ 4793 w 2961800"/>
              <a:gd name="connsiteY50" fmla="*/ 1563921 h 2309562"/>
              <a:gd name="connsiteX51" fmla="*/ 31 w 2961800"/>
              <a:gd name="connsiteY51" fmla="*/ 1821096 h 2309562"/>
              <a:gd name="connsiteX52" fmla="*/ 4793 w 2961800"/>
              <a:gd name="connsiteY52" fmla="*/ 2016358 h 2309562"/>
              <a:gd name="connsiteX53" fmla="*/ 14318 w 2961800"/>
              <a:gd name="connsiteY53" fmla="*/ 2240196 h 2309562"/>
              <a:gd name="connsiteX54" fmla="*/ 4793 w 2961800"/>
              <a:gd name="connsiteY54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423893 w 2961800"/>
              <a:gd name="connsiteY7" fmla="*/ 420921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57531 w 2961800"/>
              <a:gd name="connsiteY32" fmla="*/ 20871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2314606 w 2961800"/>
              <a:gd name="connsiteY35" fmla="*/ 25633 h 2309562"/>
              <a:gd name="connsiteX36" fmla="*/ 1900268 w 2961800"/>
              <a:gd name="connsiteY36" fmla="*/ 20871 h 2309562"/>
              <a:gd name="connsiteX37" fmla="*/ 1795493 w 2961800"/>
              <a:gd name="connsiteY37" fmla="*/ 11346 h 2309562"/>
              <a:gd name="connsiteX38" fmla="*/ 1766918 w 2961800"/>
              <a:gd name="connsiteY38" fmla="*/ 1821 h 2309562"/>
              <a:gd name="connsiteX39" fmla="*/ 1519268 w 2961800"/>
              <a:gd name="connsiteY39" fmla="*/ 6583 h 2309562"/>
              <a:gd name="connsiteX40" fmla="*/ 1133506 w 2961800"/>
              <a:gd name="connsiteY40" fmla="*/ 30396 h 2309562"/>
              <a:gd name="connsiteX41" fmla="*/ 176243 w 2961800"/>
              <a:gd name="connsiteY41" fmla="*/ 11346 h 2309562"/>
              <a:gd name="connsiteX42" fmla="*/ 38131 w 2961800"/>
              <a:gd name="connsiteY42" fmla="*/ 12933 h 2309562"/>
              <a:gd name="connsiteX43" fmla="*/ 14318 w 2961800"/>
              <a:gd name="connsiteY43" fmla="*/ 173271 h 2309562"/>
              <a:gd name="connsiteX44" fmla="*/ 4793 w 2961800"/>
              <a:gd name="connsiteY44" fmla="*/ 392346 h 2309562"/>
              <a:gd name="connsiteX45" fmla="*/ 31 w 2961800"/>
              <a:gd name="connsiteY45" fmla="*/ 801921 h 2309562"/>
              <a:gd name="connsiteX46" fmla="*/ 31 w 2961800"/>
              <a:gd name="connsiteY46" fmla="*/ 873358 h 2309562"/>
              <a:gd name="connsiteX47" fmla="*/ 4793 w 2961800"/>
              <a:gd name="connsiteY47" fmla="*/ 1159108 h 2309562"/>
              <a:gd name="connsiteX48" fmla="*/ 14318 w 2961800"/>
              <a:gd name="connsiteY48" fmla="*/ 1478196 h 2309562"/>
              <a:gd name="connsiteX49" fmla="*/ 4793 w 2961800"/>
              <a:gd name="connsiteY49" fmla="*/ 1563921 h 2309562"/>
              <a:gd name="connsiteX50" fmla="*/ 31 w 2961800"/>
              <a:gd name="connsiteY50" fmla="*/ 1821096 h 2309562"/>
              <a:gd name="connsiteX51" fmla="*/ 4793 w 2961800"/>
              <a:gd name="connsiteY51" fmla="*/ 2016358 h 2309562"/>
              <a:gd name="connsiteX52" fmla="*/ 14318 w 2961800"/>
              <a:gd name="connsiteY52" fmla="*/ 2240196 h 2309562"/>
              <a:gd name="connsiteX53" fmla="*/ 4793 w 2961800"/>
              <a:gd name="connsiteY53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423893 w 2961800"/>
              <a:gd name="connsiteY7" fmla="*/ 420921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57531 w 2961800"/>
              <a:gd name="connsiteY32" fmla="*/ 20871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2314606 w 2961800"/>
              <a:gd name="connsiteY35" fmla="*/ 25633 h 2309562"/>
              <a:gd name="connsiteX36" fmla="*/ 1900268 w 2961800"/>
              <a:gd name="connsiteY36" fmla="*/ 20871 h 2309562"/>
              <a:gd name="connsiteX37" fmla="*/ 1795493 w 2961800"/>
              <a:gd name="connsiteY37" fmla="*/ 11346 h 2309562"/>
              <a:gd name="connsiteX38" fmla="*/ 1766918 w 2961800"/>
              <a:gd name="connsiteY38" fmla="*/ 1821 h 2309562"/>
              <a:gd name="connsiteX39" fmla="*/ 1519268 w 2961800"/>
              <a:gd name="connsiteY39" fmla="*/ 6583 h 2309562"/>
              <a:gd name="connsiteX40" fmla="*/ 1085881 w 2961800"/>
              <a:gd name="connsiteY40" fmla="*/ 14521 h 2309562"/>
              <a:gd name="connsiteX41" fmla="*/ 176243 w 2961800"/>
              <a:gd name="connsiteY41" fmla="*/ 11346 h 2309562"/>
              <a:gd name="connsiteX42" fmla="*/ 38131 w 2961800"/>
              <a:gd name="connsiteY42" fmla="*/ 12933 h 2309562"/>
              <a:gd name="connsiteX43" fmla="*/ 14318 w 2961800"/>
              <a:gd name="connsiteY43" fmla="*/ 173271 h 2309562"/>
              <a:gd name="connsiteX44" fmla="*/ 4793 w 2961800"/>
              <a:gd name="connsiteY44" fmla="*/ 392346 h 2309562"/>
              <a:gd name="connsiteX45" fmla="*/ 31 w 2961800"/>
              <a:gd name="connsiteY45" fmla="*/ 801921 h 2309562"/>
              <a:gd name="connsiteX46" fmla="*/ 31 w 2961800"/>
              <a:gd name="connsiteY46" fmla="*/ 873358 h 2309562"/>
              <a:gd name="connsiteX47" fmla="*/ 4793 w 2961800"/>
              <a:gd name="connsiteY47" fmla="*/ 1159108 h 2309562"/>
              <a:gd name="connsiteX48" fmla="*/ 14318 w 2961800"/>
              <a:gd name="connsiteY48" fmla="*/ 1478196 h 2309562"/>
              <a:gd name="connsiteX49" fmla="*/ 4793 w 2961800"/>
              <a:gd name="connsiteY49" fmla="*/ 1563921 h 2309562"/>
              <a:gd name="connsiteX50" fmla="*/ 31 w 2961800"/>
              <a:gd name="connsiteY50" fmla="*/ 1821096 h 2309562"/>
              <a:gd name="connsiteX51" fmla="*/ 4793 w 2961800"/>
              <a:gd name="connsiteY51" fmla="*/ 2016358 h 2309562"/>
              <a:gd name="connsiteX52" fmla="*/ 14318 w 2961800"/>
              <a:gd name="connsiteY52" fmla="*/ 2240196 h 2309562"/>
              <a:gd name="connsiteX53" fmla="*/ 4793 w 2961800"/>
              <a:gd name="connsiteY53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423893 w 2961800"/>
              <a:gd name="connsiteY7" fmla="*/ 420921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57531 w 2961800"/>
              <a:gd name="connsiteY32" fmla="*/ 20871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2314606 w 2961800"/>
              <a:gd name="connsiteY35" fmla="*/ 25633 h 2309562"/>
              <a:gd name="connsiteX36" fmla="*/ 1900268 w 2961800"/>
              <a:gd name="connsiteY36" fmla="*/ 20871 h 2309562"/>
              <a:gd name="connsiteX37" fmla="*/ 1795493 w 2961800"/>
              <a:gd name="connsiteY37" fmla="*/ 11346 h 2309562"/>
              <a:gd name="connsiteX38" fmla="*/ 1519268 w 2961800"/>
              <a:gd name="connsiteY38" fmla="*/ 6583 h 2309562"/>
              <a:gd name="connsiteX39" fmla="*/ 1085881 w 2961800"/>
              <a:gd name="connsiteY39" fmla="*/ 14521 h 2309562"/>
              <a:gd name="connsiteX40" fmla="*/ 176243 w 2961800"/>
              <a:gd name="connsiteY40" fmla="*/ 11346 h 2309562"/>
              <a:gd name="connsiteX41" fmla="*/ 38131 w 2961800"/>
              <a:gd name="connsiteY41" fmla="*/ 12933 h 2309562"/>
              <a:gd name="connsiteX42" fmla="*/ 14318 w 2961800"/>
              <a:gd name="connsiteY42" fmla="*/ 173271 h 2309562"/>
              <a:gd name="connsiteX43" fmla="*/ 4793 w 2961800"/>
              <a:gd name="connsiteY43" fmla="*/ 392346 h 2309562"/>
              <a:gd name="connsiteX44" fmla="*/ 31 w 2961800"/>
              <a:gd name="connsiteY44" fmla="*/ 801921 h 2309562"/>
              <a:gd name="connsiteX45" fmla="*/ 31 w 2961800"/>
              <a:gd name="connsiteY45" fmla="*/ 873358 h 2309562"/>
              <a:gd name="connsiteX46" fmla="*/ 4793 w 2961800"/>
              <a:gd name="connsiteY46" fmla="*/ 1159108 h 2309562"/>
              <a:gd name="connsiteX47" fmla="*/ 14318 w 2961800"/>
              <a:gd name="connsiteY47" fmla="*/ 1478196 h 2309562"/>
              <a:gd name="connsiteX48" fmla="*/ 4793 w 2961800"/>
              <a:gd name="connsiteY48" fmla="*/ 1563921 h 2309562"/>
              <a:gd name="connsiteX49" fmla="*/ 31 w 2961800"/>
              <a:gd name="connsiteY49" fmla="*/ 1821096 h 2309562"/>
              <a:gd name="connsiteX50" fmla="*/ 4793 w 2961800"/>
              <a:gd name="connsiteY50" fmla="*/ 2016358 h 2309562"/>
              <a:gd name="connsiteX51" fmla="*/ 14318 w 2961800"/>
              <a:gd name="connsiteY51" fmla="*/ 2240196 h 2309562"/>
              <a:gd name="connsiteX52" fmla="*/ 4793 w 2961800"/>
              <a:gd name="connsiteY52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423893 w 2961800"/>
              <a:gd name="connsiteY7" fmla="*/ 420921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57531 w 2961800"/>
              <a:gd name="connsiteY32" fmla="*/ 20871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1900268 w 2961800"/>
              <a:gd name="connsiteY35" fmla="*/ 20871 h 2309562"/>
              <a:gd name="connsiteX36" fmla="*/ 1795493 w 2961800"/>
              <a:gd name="connsiteY36" fmla="*/ 11346 h 2309562"/>
              <a:gd name="connsiteX37" fmla="*/ 1519268 w 2961800"/>
              <a:gd name="connsiteY37" fmla="*/ 6583 h 2309562"/>
              <a:gd name="connsiteX38" fmla="*/ 1085881 w 2961800"/>
              <a:gd name="connsiteY38" fmla="*/ 14521 h 2309562"/>
              <a:gd name="connsiteX39" fmla="*/ 176243 w 2961800"/>
              <a:gd name="connsiteY39" fmla="*/ 11346 h 2309562"/>
              <a:gd name="connsiteX40" fmla="*/ 38131 w 2961800"/>
              <a:gd name="connsiteY40" fmla="*/ 12933 h 2309562"/>
              <a:gd name="connsiteX41" fmla="*/ 14318 w 2961800"/>
              <a:gd name="connsiteY41" fmla="*/ 173271 h 2309562"/>
              <a:gd name="connsiteX42" fmla="*/ 4793 w 2961800"/>
              <a:gd name="connsiteY42" fmla="*/ 392346 h 2309562"/>
              <a:gd name="connsiteX43" fmla="*/ 31 w 2961800"/>
              <a:gd name="connsiteY43" fmla="*/ 801921 h 2309562"/>
              <a:gd name="connsiteX44" fmla="*/ 31 w 2961800"/>
              <a:gd name="connsiteY44" fmla="*/ 873358 h 2309562"/>
              <a:gd name="connsiteX45" fmla="*/ 4793 w 2961800"/>
              <a:gd name="connsiteY45" fmla="*/ 1159108 h 2309562"/>
              <a:gd name="connsiteX46" fmla="*/ 14318 w 2961800"/>
              <a:gd name="connsiteY46" fmla="*/ 1478196 h 2309562"/>
              <a:gd name="connsiteX47" fmla="*/ 4793 w 2961800"/>
              <a:gd name="connsiteY47" fmla="*/ 1563921 h 2309562"/>
              <a:gd name="connsiteX48" fmla="*/ 31 w 2961800"/>
              <a:gd name="connsiteY48" fmla="*/ 1821096 h 2309562"/>
              <a:gd name="connsiteX49" fmla="*/ 4793 w 2961800"/>
              <a:gd name="connsiteY49" fmla="*/ 2016358 h 2309562"/>
              <a:gd name="connsiteX50" fmla="*/ 14318 w 2961800"/>
              <a:gd name="connsiteY50" fmla="*/ 2240196 h 2309562"/>
              <a:gd name="connsiteX51" fmla="*/ 4793 w 2961800"/>
              <a:gd name="connsiteY51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423893 w 2961800"/>
              <a:gd name="connsiteY7" fmla="*/ 420921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57531 w 2961800"/>
              <a:gd name="connsiteY32" fmla="*/ 20871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1944718 w 2961800"/>
              <a:gd name="connsiteY35" fmla="*/ 20871 h 2309562"/>
              <a:gd name="connsiteX36" fmla="*/ 1795493 w 2961800"/>
              <a:gd name="connsiteY36" fmla="*/ 11346 h 2309562"/>
              <a:gd name="connsiteX37" fmla="*/ 1519268 w 2961800"/>
              <a:gd name="connsiteY37" fmla="*/ 6583 h 2309562"/>
              <a:gd name="connsiteX38" fmla="*/ 1085881 w 2961800"/>
              <a:gd name="connsiteY38" fmla="*/ 14521 h 2309562"/>
              <a:gd name="connsiteX39" fmla="*/ 176243 w 2961800"/>
              <a:gd name="connsiteY39" fmla="*/ 11346 h 2309562"/>
              <a:gd name="connsiteX40" fmla="*/ 38131 w 2961800"/>
              <a:gd name="connsiteY40" fmla="*/ 12933 h 2309562"/>
              <a:gd name="connsiteX41" fmla="*/ 14318 w 2961800"/>
              <a:gd name="connsiteY41" fmla="*/ 173271 h 2309562"/>
              <a:gd name="connsiteX42" fmla="*/ 4793 w 2961800"/>
              <a:gd name="connsiteY42" fmla="*/ 392346 h 2309562"/>
              <a:gd name="connsiteX43" fmla="*/ 31 w 2961800"/>
              <a:gd name="connsiteY43" fmla="*/ 801921 h 2309562"/>
              <a:gd name="connsiteX44" fmla="*/ 31 w 2961800"/>
              <a:gd name="connsiteY44" fmla="*/ 873358 h 2309562"/>
              <a:gd name="connsiteX45" fmla="*/ 4793 w 2961800"/>
              <a:gd name="connsiteY45" fmla="*/ 1159108 h 2309562"/>
              <a:gd name="connsiteX46" fmla="*/ 14318 w 2961800"/>
              <a:gd name="connsiteY46" fmla="*/ 1478196 h 2309562"/>
              <a:gd name="connsiteX47" fmla="*/ 4793 w 2961800"/>
              <a:gd name="connsiteY47" fmla="*/ 1563921 h 2309562"/>
              <a:gd name="connsiteX48" fmla="*/ 31 w 2961800"/>
              <a:gd name="connsiteY48" fmla="*/ 1821096 h 2309562"/>
              <a:gd name="connsiteX49" fmla="*/ 4793 w 2961800"/>
              <a:gd name="connsiteY49" fmla="*/ 2016358 h 2309562"/>
              <a:gd name="connsiteX50" fmla="*/ 14318 w 2961800"/>
              <a:gd name="connsiteY50" fmla="*/ 2240196 h 2309562"/>
              <a:gd name="connsiteX51" fmla="*/ 4793 w 2961800"/>
              <a:gd name="connsiteY51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423893 w 2961800"/>
              <a:gd name="connsiteY7" fmla="*/ 420921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38481 w 2961800"/>
              <a:gd name="connsiteY32" fmla="*/ 17696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1944718 w 2961800"/>
              <a:gd name="connsiteY35" fmla="*/ 20871 h 2309562"/>
              <a:gd name="connsiteX36" fmla="*/ 1795493 w 2961800"/>
              <a:gd name="connsiteY36" fmla="*/ 11346 h 2309562"/>
              <a:gd name="connsiteX37" fmla="*/ 1519268 w 2961800"/>
              <a:gd name="connsiteY37" fmla="*/ 6583 h 2309562"/>
              <a:gd name="connsiteX38" fmla="*/ 1085881 w 2961800"/>
              <a:gd name="connsiteY38" fmla="*/ 14521 h 2309562"/>
              <a:gd name="connsiteX39" fmla="*/ 176243 w 2961800"/>
              <a:gd name="connsiteY39" fmla="*/ 11346 h 2309562"/>
              <a:gd name="connsiteX40" fmla="*/ 38131 w 2961800"/>
              <a:gd name="connsiteY40" fmla="*/ 12933 h 2309562"/>
              <a:gd name="connsiteX41" fmla="*/ 14318 w 2961800"/>
              <a:gd name="connsiteY41" fmla="*/ 173271 h 2309562"/>
              <a:gd name="connsiteX42" fmla="*/ 4793 w 2961800"/>
              <a:gd name="connsiteY42" fmla="*/ 392346 h 2309562"/>
              <a:gd name="connsiteX43" fmla="*/ 31 w 2961800"/>
              <a:gd name="connsiteY43" fmla="*/ 801921 h 2309562"/>
              <a:gd name="connsiteX44" fmla="*/ 31 w 2961800"/>
              <a:gd name="connsiteY44" fmla="*/ 873358 h 2309562"/>
              <a:gd name="connsiteX45" fmla="*/ 4793 w 2961800"/>
              <a:gd name="connsiteY45" fmla="*/ 1159108 h 2309562"/>
              <a:gd name="connsiteX46" fmla="*/ 14318 w 2961800"/>
              <a:gd name="connsiteY46" fmla="*/ 1478196 h 2309562"/>
              <a:gd name="connsiteX47" fmla="*/ 4793 w 2961800"/>
              <a:gd name="connsiteY47" fmla="*/ 1563921 h 2309562"/>
              <a:gd name="connsiteX48" fmla="*/ 31 w 2961800"/>
              <a:gd name="connsiteY48" fmla="*/ 1821096 h 2309562"/>
              <a:gd name="connsiteX49" fmla="*/ 4793 w 2961800"/>
              <a:gd name="connsiteY49" fmla="*/ 2016358 h 2309562"/>
              <a:gd name="connsiteX50" fmla="*/ 14318 w 2961800"/>
              <a:gd name="connsiteY50" fmla="*/ 2240196 h 2309562"/>
              <a:gd name="connsiteX51" fmla="*/ 4793 w 2961800"/>
              <a:gd name="connsiteY51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423893 w 2961800"/>
              <a:gd name="connsiteY7" fmla="*/ 420921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38481 w 2961800"/>
              <a:gd name="connsiteY32" fmla="*/ 17696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1944718 w 2961800"/>
              <a:gd name="connsiteY35" fmla="*/ 20871 h 2309562"/>
              <a:gd name="connsiteX36" fmla="*/ 1795493 w 2961800"/>
              <a:gd name="connsiteY36" fmla="*/ 11346 h 2309562"/>
              <a:gd name="connsiteX37" fmla="*/ 1519268 w 2961800"/>
              <a:gd name="connsiteY37" fmla="*/ 6583 h 2309562"/>
              <a:gd name="connsiteX38" fmla="*/ 1085881 w 2961800"/>
              <a:gd name="connsiteY38" fmla="*/ 14521 h 2309562"/>
              <a:gd name="connsiteX39" fmla="*/ 176243 w 2961800"/>
              <a:gd name="connsiteY39" fmla="*/ 11346 h 2309562"/>
              <a:gd name="connsiteX40" fmla="*/ 28606 w 2961800"/>
              <a:gd name="connsiteY40" fmla="*/ 12933 h 2309562"/>
              <a:gd name="connsiteX41" fmla="*/ 14318 w 2961800"/>
              <a:gd name="connsiteY41" fmla="*/ 173271 h 2309562"/>
              <a:gd name="connsiteX42" fmla="*/ 4793 w 2961800"/>
              <a:gd name="connsiteY42" fmla="*/ 392346 h 2309562"/>
              <a:gd name="connsiteX43" fmla="*/ 31 w 2961800"/>
              <a:gd name="connsiteY43" fmla="*/ 801921 h 2309562"/>
              <a:gd name="connsiteX44" fmla="*/ 31 w 2961800"/>
              <a:gd name="connsiteY44" fmla="*/ 873358 h 2309562"/>
              <a:gd name="connsiteX45" fmla="*/ 4793 w 2961800"/>
              <a:gd name="connsiteY45" fmla="*/ 1159108 h 2309562"/>
              <a:gd name="connsiteX46" fmla="*/ 14318 w 2961800"/>
              <a:gd name="connsiteY46" fmla="*/ 1478196 h 2309562"/>
              <a:gd name="connsiteX47" fmla="*/ 4793 w 2961800"/>
              <a:gd name="connsiteY47" fmla="*/ 1563921 h 2309562"/>
              <a:gd name="connsiteX48" fmla="*/ 31 w 2961800"/>
              <a:gd name="connsiteY48" fmla="*/ 1821096 h 2309562"/>
              <a:gd name="connsiteX49" fmla="*/ 4793 w 2961800"/>
              <a:gd name="connsiteY49" fmla="*/ 2016358 h 2309562"/>
              <a:gd name="connsiteX50" fmla="*/ 14318 w 2961800"/>
              <a:gd name="connsiteY50" fmla="*/ 2240196 h 2309562"/>
              <a:gd name="connsiteX51" fmla="*/ 4793 w 2961800"/>
              <a:gd name="connsiteY51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515968 w 2961800"/>
              <a:gd name="connsiteY7" fmla="*/ 424096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38481 w 2961800"/>
              <a:gd name="connsiteY32" fmla="*/ 17696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1944718 w 2961800"/>
              <a:gd name="connsiteY35" fmla="*/ 20871 h 2309562"/>
              <a:gd name="connsiteX36" fmla="*/ 1795493 w 2961800"/>
              <a:gd name="connsiteY36" fmla="*/ 11346 h 2309562"/>
              <a:gd name="connsiteX37" fmla="*/ 1519268 w 2961800"/>
              <a:gd name="connsiteY37" fmla="*/ 6583 h 2309562"/>
              <a:gd name="connsiteX38" fmla="*/ 1085881 w 2961800"/>
              <a:gd name="connsiteY38" fmla="*/ 14521 h 2309562"/>
              <a:gd name="connsiteX39" fmla="*/ 176243 w 2961800"/>
              <a:gd name="connsiteY39" fmla="*/ 11346 h 2309562"/>
              <a:gd name="connsiteX40" fmla="*/ 28606 w 2961800"/>
              <a:gd name="connsiteY40" fmla="*/ 12933 h 2309562"/>
              <a:gd name="connsiteX41" fmla="*/ 14318 w 2961800"/>
              <a:gd name="connsiteY41" fmla="*/ 173271 h 2309562"/>
              <a:gd name="connsiteX42" fmla="*/ 4793 w 2961800"/>
              <a:gd name="connsiteY42" fmla="*/ 392346 h 2309562"/>
              <a:gd name="connsiteX43" fmla="*/ 31 w 2961800"/>
              <a:gd name="connsiteY43" fmla="*/ 801921 h 2309562"/>
              <a:gd name="connsiteX44" fmla="*/ 31 w 2961800"/>
              <a:gd name="connsiteY44" fmla="*/ 873358 h 2309562"/>
              <a:gd name="connsiteX45" fmla="*/ 4793 w 2961800"/>
              <a:gd name="connsiteY45" fmla="*/ 1159108 h 2309562"/>
              <a:gd name="connsiteX46" fmla="*/ 14318 w 2961800"/>
              <a:gd name="connsiteY46" fmla="*/ 1478196 h 2309562"/>
              <a:gd name="connsiteX47" fmla="*/ 4793 w 2961800"/>
              <a:gd name="connsiteY47" fmla="*/ 1563921 h 2309562"/>
              <a:gd name="connsiteX48" fmla="*/ 31 w 2961800"/>
              <a:gd name="connsiteY48" fmla="*/ 1821096 h 2309562"/>
              <a:gd name="connsiteX49" fmla="*/ 4793 w 2961800"/>
              <a:gd name="connsiteY49" fmla="*/ 2016358 h 2309562"/>
              <a:gd name="connsiteX50" fmla="*/ 14318 w 2961800"/>
              <a:gd name="connsiteY50" fmla="*/ 2240196 h 2309562"/>
              <a:gd name="connsiteX51" fmla="*/ 4793 w 2961800"/>
              <a:gd name="connsiteY51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515968 w 2961800"/>
              <a:gd name="connsiteY7" fmla="*/ 424096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38481 w 2961800"/>
              <a:gd name="connsiteY32" fmla="*/ 17696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1944718 w 2961800"/>
              <a:gd name="connsiteY35" fmla="*/ 20871 h 2309562"/>
              <a:gd name="connsiteX36" fmla="*/ 1795493 w 2961800"/>
              <a:gd name="connsiteY36" fmla="*/ 11346 h 2309562"/>
              <a:gd name="connsiteX37" fmla="*/ 1519268 w 2961800"/>
              <a:gd name="connsiteY37" fmla="*/ 6583 h 2309562"/>
              <a:gd name="connsiteX38" fmla="*/ 1085881 w 2961800"/>
              <a:gd name="connsiteY38" fmla="*/ 14521 h 2309562"/>
              <a:gd name="connsiteX39" fmla="*/ 176243 w 2961800"/>
              <a:gd name="connsiteY39" fmla="*/ 11346 h 2309562"/>
              <a:gd name="connsiteX40" fmla="*/ 28606 w 2961800"/>
              <a:gd name="connsiteY40" fmla="*/ 12933 h 2309562"/>
              <a:gd name="connsiteX41" fmla="*/ 14318 w 2961800"/>
              <a:gd name="connsiteY41" fmla="*/ 173271 h 2309562"/>
              <a:gd name="connsiteX42" fmla="*/ 4793 w 2961800"/>
              <a:gd name="connsiteY42" fmla="*/ 392346 h 2309562"/>
              <a:gd name="connsiteX43" fmla="*/ 31 w 2961800"/>
              <a:gd name="connsiteY43" fmla="*/ 801921 h 2309562"/>
              <a:gd name="connsiteX44" fmla="*/ 31 w 2961800"/>
              <a:gd name="connsiteY44" fmla="*/ 873358 h 2309562"/>
              <a:gd name="connsiteX45" fmla="*/ 4793 w 2961800"/>
              <a:gd name="connsiteY45" fmla="*/ 1159108 h 2309562"/>
              <a:gd name="connsiteX46" fmla="*/ 14318 w 2961800"/>
              <a:gd name="connsiteY46" fmla="*/ 1478196 h 2309562"/>
              <a:gd name="connsiteX47" fmla="*/ 4793 w 2961800"/>
              <a:gd name="connsiteY47" fmla="*/ 1563921 h 2309562"/>
              <a:gd name="connsiteX48" fmla="*/ 31 w 2961800"/>
              <a:gd name="connsiteY48" fmla="*/ 1821096 h 2309562"/>
              <a:gd name="connsiteX49" fmla="*/ 4793 w 2961800"/>
              <a:gd name="connsiteY49" fmla="*/ 2016358 h 2309562"/>
              <a:gd name="connsiteX50" fmla="*/ 14318 w 2961800"/>
              <a:gd name="connsiteY50" fmla="*/ 2240196 h 2309562"/>
              <a:gd name="connsiteX51" fmla="*/ 4793 w 2961800"/>
              <a:gd name="connsiteY51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515968 w 2961800"/>
              <a:gd name="connsiteY7" fmla="*/ 424096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38481 w 2961800"/>
              <a:gd name="connsiteY32" fmla="*/ 17696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1944718 w 2961800"/>
              <a:gd name="connsiteY35" fmla="*/ 20871 h 2309562"/>
              <a:gd name="connsiteX36" fmla="*/ 1795493 w 2961800"/>
              <a:gd name="connsiteY36" fmla="*/ 11346 h 2309562"/>
              <a:gd name="connsiteX37" fmla="*/ 1519268 w 2961800"/>
              <a:gd name="connsiteY37" fmla="*/ 6583 h 2309562"/>
              <a:gd name="connsiteX38" fmla="*/ 1085881 w 2961800"/>
              <a:gd name="connsiteY38" fmla="*/ 14521 h 2309562"/>
              <a:gd name="connsiteX39" fmla="*/ 176243 w 2961800"/>
              <a:gd name="connsiteY39" fmla="*/ 11346 h 2309562"/>
              <a:gd name="connsiteX40" fmla="*/ 28606 w 2961800"/>
              <a:gd name="connsiteY40" fmla="*/ 12933 h 2309562"/>
              <a:gd name="connsiteX41" fmla="*/ 14318 w 2961800"/>
              <a:gd name="connsiteY41" fmla="*/ 173271 h 2309562"/>
              <a:gd name="connsiteX42" fmla="*/ 4793 w 2961800"/>
              <a:gd name="connsiteY42" fmla="*/ 392346 h 2309562"/>
              <a:gd name="connsiteX43" fmla="*/ 31 w 2961800"/>
              <a:gd name="connsiteY43" fmla="*/ 801921 h 2309562"/>
              <a:gd name="connsiteX44" fmla="*/ 31 w 2961800"/>
              <a:gd name="connsiteY44" fmla="*/ 873358 h 2309562"/>
              <a:gd name="connsiteX45" fmla="*/ 4793 w 2961800"/>
              <a:gd name="connsiteY45" fmla="*/ 1159108 h 2309562"/>
              <a:gd name="connsiteX46" fmla="*/ 14318 w 2961800"/>
              <a:gd name="connsiteY46" fmla="*/ 1478196 h 2309562"/>
              <a:gd name="connsiteX47" fmla="*/ 4793 w 2961800"/>
              <a:gd name="connsiteY47" fmla="*/ 1563921 h 2309562"/>
              <a:gd name="connsiteX48" fmla="*/ 31 w 2961800"/>
              <a:gd name="connsiteY48" fmla="*/ 1821096 h 2309562"/>
              <a:gd name="connsiteX49" fmla="*/ 4793 w 2961800"/>
              <a:gd name="connsiteY49" fmla="*/ 2016358 h 2309562"/>
              <a:gd name="connsiteX50" fmla="*/ 14318 w 2961800"/>
              <a:gd name="connsiteY50" fmla="*/ 2240196 h 2309562"/>
              <a:gd name="connsiteX51" fmla="*/ 4793 w 2961800"/>
              <a:gd name="connsiteY51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515968 w 2961800"/>
              <a:gd name="connsiteY7" fmla="*/ 424096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0356 w 2961800"/>
              <a:gd name="connsiteY13" fmla="*/ 616183 h 2309562"/>
              <a:gd name="connsiteX14" fmla="*/ 2590831 w 2961800"/>
              <a:gd name="connsiteY14" fmla="*/ 1178158 h 2309562"/>
              <a:gd name="connsiteX15" fmla="*/ 2595593 w 2961800"/>
              <a:gd name="connsiteY15" fmla="*/ 1211496 h 2309562"/>
              <a:gd name="connsiteX16" fmla="*/ 2598768 w 2961800"/>
              <a:gd name="connsiteY16" fmla="*/ 1516296 h 2309562"/>
              <a:gd name="connsiteX17" fmla="*/ 2605118 w 2961800"/>
              <a:gd name="connsiteY17" fmla="*/ 2068746 h 2309562"/>
              <a:gd name="connsiteX18" fmla="*/ 2606706 w 2961800"/>
              <a:gd name="connsiteY18" fmla="*/ 2205271 h 2309562"/>
              <a:gd name="connsiteX19" fmla="*/ 2614643 w 2961800"/>
              <a:gd name="connsiteY19" fmla="*/ 2294171 h 2309562"/>
              <a:gd name="connsiteX20" fmla="*/ 2841656 w 2961800"/>
              <a:gd name="connsiteY20" fmla="*/ 2305283 h 2309562"/>
              <a:gd name="connsiteX21" fmla="*/ 2957543 w 2961800"/>
              <a:gd name="connsiteY21" fmla="*/ 2284646 h 2309562"/>
              <a:gd name="connsiteX22" fmla="*/ 2938493 w 2961800"/>
              <a:gd name="connsiteY22" fmla="*/ 2183046 h 2309562"/>
              <a:gd name="connsiteX23" fmla="*/ 2946431 w 2961800"/>
              <a:gd name="connsiteY23" fmla="*/ 2010008 h 2309562"/>
              <a:gd name="connsiteX24" fmla="*/ 2952781 w 2961800"/>
              <a:gd name="connsiteY24" fmla="*/ 1806808 h 2309562"/>
              <a:gd name="connsiteX25" fmla="*/ 2943256 w 2961800"/>
              <a:gd name="connsiteY25" fmla="*/ 1368658 h 2309562"/>
              <a:gd name="connsiteX26" fmla="*/ 2938493 w 2961800"/>
              <a:gd name="connsiteY26" fmla="*/ 1082908 h 2309562"/>
              <a:gd name="connsiteX27" fmla="*/ 2938493 w 2961800"/>
              <a:gd name="connsiteY27" fmla="*/ 924158 h 2309562"/>
              <a:gd name="connsiteX28" fmla="*/ 2943256 w 2961800"/>
              <a:gd name="connsiteY28" fmla="*/ 573321 h 2309562"/>
              <a:gd name="connsiteX29" fmla="*/ 2948018 w 2961800"/>
              <a:gd name="connsiteY29" fmla="*/ 344721 h 2309562"/>
              <a:gd name="connsiteX30" fmla="*/ 2948018 w 2961800"/>
              <a:gd name="connsiteY30" fmla="*/ 36746 h 2309562"/>
              <a:gd name="connsiteX31" fmla="*/ 2838481 w 2961800"/>
              <a:gd name="connsiteY31" fmla="*/ 17696 h 2309562"/>
              <a:gd name="connsiteX32" fmla="*/ 2714656 w 2961800"/>
              <a:gd name="connsiteY32" fmla="*/ 11346 h 2309562"/>
              <a:gd name="connsiteX33" fmla="*/ 2371756 w 2961800"/>
              <a:gd name="connsiteY33" fmla="*/ 16108 h 2309562"/>
              <a:gd name="connsiteX34" fmla="*/ 1944718 w 2961800"/>
              <a:gd name="connsiteY34" fmla="*/ 20871 h 2309562"/>
              <a:gd name="connsiteX35" fmla="*/ 1795493 w 2961800"/>
              <a:gd name="connsiteY35" fmla="*/ 11346 h 2309562"/>
              <a:gd name="connsiteX36" fmla="*/ 1519268 w 2961800"/>
              <a:gd name="connsiteY36" fmla="*/ 6583 h 2309562"/>
              <a:gd name="connsiteX37" fmla="*/ 1085881 w 2961800"/>
              <a:gd name="connsiteY37" fmla="*/ 14521 h 2309562"/>
              <a:gd name="connsiteX38" fmla="*/ 176243 w 2961800"/>
              <a:gd name="connsiteY38" fmla="*/ 11346 h 2309562"/>
              <a:gd name="connsiteX39" fmla="*/ 28606 w 2961800"/>
              <a:gd name="connsiteY39" fmla="*/ 12933 h 2309562"/>
              <a:gd name="connsiteX40" fmla="*/ 14318 w 2961800"/>
              <a:gd name="connsiteY40" fmla="*/ 173271 h 2309562"/>
              <a:gd name="connsiteX41" fmla="*/ 4793 w 2961800"/>
              <a:gd name="connsiteY41" fmla="*/ 392346 h 2309562"/>
              <a:gd name="connsiteX42" fmla="*/ 31 w 2961800"/>
              <a:gd name="connsiteY42" fmla="*/ 801921 h 2309562"/>
              <a:gd name="connsiteX43" fmla="*/ 31 w 2961800"/>
              <a:gd name="connsiteY43" fmla="*/ 873358 h 2309562"/>
              <a:gd name="connsiteX44" fmla="*/ 4793 w 2961800"/>
              <a:gd name="connsiteY44" fmla="*/ 1159108 h 2309562"/>
              <a:gd name="connsiteX45" fmla="*/ 14318 w 2961800"/>
              <a:gd name="connsiteY45" fmla="*/ 1478196 h 2309562"/>
              <a:gd name="connsiteX46" fmla="*/ 4793 w 2961800"/>
              <a:gd name="connsiteY46" fmla="*/ 1563921 h 2309562"/>
              <a:gd name="connsiteX47" fmla="*/ 31 w 2961800"/>
              <a:gd name="connsiteY47" fmla="*/ 1821096 h 2309562"/>
              <a:gd name="connsiteX48" fmla="*/ 4793 w 2961800"/>
              <a:gd name="connsiteY48" fmla="*/ 2016358 h 2309562"/>
              <a:gd name="connsiteX49" fmla="*/ 14318 w 2961800"/>
              <a:gd name="connsiteY49" fmla="*/ 2240196 h 2309562"/>
              <a:gd name="connsiteX50" fmla="*/ 4793 w 2961800"/>
              <a:gd name="connsiteY50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515968 w 2961800"/>
              <a:gd name="connsiteY7" fmla="*/ 424096 h 2309562"/>
              <a:gd name="connsiteX8" fmla="*/ 871568 w 2961800"/>
              <a:gd name="connsiteY8" fmla="*/ 416158 h 2309562"/>
              <a:gd name="connsiteX9" fmla="*/ 1228756 w 2961800"/>
              <a:gd name="connsiteY9" fmla="*/ 411396 h 2309562"/>
              <a:gd name="connsiteX10" fmla="*/ 2562256 w 2961800"/>
              <a:gd name="connsiteY10" fmla="*/ 406633 h 2309562"/>
              <a:gd name="connsiteX11" fmla="*/ 2600356 w 2961800"/>
              <a:gd name="connsiteY11" fmla="*/ 425683 h 2309562"/>
              <a:gd name="connsiteX12" fmla="*/ 2600356 w 2961800"/>
              <a:gd name="connsiteY12" fmla="*/ 616183 h 2309562"/>
              <a:gd name="connsiteX13" fmla="*/ 2590831 w 2961800"/>
              <a:gd name="connsiteY13" fmla="*/ 1178158 h 2309562"/>
              <a:gd name="connsiteX14" fmla="*/ 2595593 w 2961800"/>
              <a:gd name="connsiteY14" fmla="*/ 1211496 h 2309562"/>
              <a:gd name="connsiteX15" fmla="*/ 2598768 w 2961800"/>
              <a:gd name="connsiteY15" fmla="*/ 1516296 h 2309562"/>
              <a:gd name="connsiteX16" fmla="*/ 2605118 w 2961800"/>
              <a:gd name="connsiteY16" fmla="*/ 2068746 h 2309562"/>
              <a:gd name="connsiteX17" fmla="*/ 2606706 w 2961800"/>
              <a:gd name="connsiteY17" fmla="*/ 2205271 h 2309562"/>
              <a:gd name="connsiteX18" fmla="*/ 2614643 w 2961800"/>
              <a:gd name="connsiteY18" fmla="*/ 2294171 h 2309562"/>
              <a:gd name="connsiteX19" fmla="*/ 2841656 w 2961800"/>
              <a:gd name="connsiteY19" fmla="*/ 2305283 h 2309562"/>
              <a:gd name="connsiteX20" fmla="*/ 2957543 w 2961800"/>
              <a:gd name="connsiteY20" fmla="*/ 2284646 h 2309562"/>
              <a:gd name="connsiteX21" fmla="*/ 2938493 w 2961800"/>
              <a:gd name="connsiteY21" fmla="*/ 2183046 h 2309562"/>
              <a:gd name="connsiteX22" fmla="*/ 2946431 w 2961800"/>
              <a:gd name="connsiteY22" fmla="*/ 2010008 h 2309562"/>
              <a:gd name="connsiteX23" fmla="*/ 2952781 w 2961800"/>
              <a:gd name="connsiteY23" fmla="*/ 1806808 h 2309562"/>
              <a:gd name="connsiteX24" fmla="*/ 2943256 w 2961800"/>
              <a:gd name="connsiteY24" fmla="*/ 1368658 h 2309562"/>
              <a:gd name="connsiteX25" fmla="*/ 2938493 w 2961800"/>
              <a:gd name="connsiteY25" fmla="*/ 1082908 h 2309562"/>
              <a:gd name="connsiteX26" fmla="*/ 2938493 w 2961800"/>
              <a:gd name="connsiteY26" fmla="*/ 924158 h 2309562"/>
              <a:gd name="connsiteX27" fmla="*/ 2943256 w 2961800"/>
              <a:gd name="connsiteY27" fmla="*/ 573321 h 2309562"/>
              <a:gd name="connsiteX28" fmla="*/ 2948018 w 2961800"/>
              <a:gd name="connsiteY28" fmla="*/ 344721 h 2309562"/>
              <a:gd name="connsiteX29" fmla="*/ 2948018 w 2961800"/>
              <a:gd name="connsiteY29" fmla="*/ 36746 h 2309562"/>
              <a:gd name="connsiteX30" fmla="*/ 2838481 w 2961800"/>
              <a:gd name="connsiteY30" fmla="*/ 17696 h 2309562"/>
              <a:gd name="connsiteX31" fmla="*/ 2714656 w 2961800"/>
              <a:gd name="connsiteY31" fmla="*/ 11346 h 2309562"/>
              <a:gd name="connsiteX32" fmla="*/ 2371756 w 2961800"/>
              <a:gd name="connsiteY32" fmla="*/ 16108 h 2309562"/>
              <a:gd name="connsiteX33" fmla="*/ 1944718 w 2961800"/>
              <a:gd name="connsiteY33" fmla="*/ 20871 h 2309562"/>
              <a:gd name="connsiteX34" fmla="*/ 1795493 w 2961800"/>
              <a:gd name="connsiteY34" fmla="*/ 11346 h 2309562"/>
              <a:gd name="connsiteX35" fmla="*/ 1519268 w 2961800"/>
              <a:gd name="connsiteY35" fmla="*/ 6583 h 2309562"/>
              <a:gd name="connsiteX36" fmla="*/ 1085881 w 2961800"/>
              <a:gd name="connsiteY36" fmla="*/ 14521 h 2309562"/>
              <a:gd name="connsiteX37" fmla="*/ 176243 w 2961800"/>
              <a:gd name="connsiteY37" fmla="*/ 11346 h 2309562"/>
              <a:gd name="connsiteX38" fmla="*/ 28606 w 2961800"/>
              <a:gd name="connsiteY38" fmla="*/ 12933 h 2309562"/>
              <a:gd name="connsiteX39" fmla="*/ 14318 w 2961800"/>
              <a:gd name="connsiteY39" fmla="*/ 173271 h 2309562"/>
              <a:gd name="connsiteX40" fmla="*/ 4793 w 2961800"/>
              <a:gd name="connsiteY40" fmla="*/ 392346 h 2309562"/>
              <a:gd name="connsiteX41" fmla="*/ 31 w 2961800"/>
              <a:gd name="connsiteY41" fmla="*/ 801921 h 2309562"/>
              <a:gd name="connsiteX42" fmla="*/ 31 w 2961800"/>
              <a:gd name="connsiteY42" fmla="*/ 873358 h 2309562"/>
              <a:gd name="connsiteX43" fmla="*/ 4793 w 2961800"/>
              <a:gd name="connsiteY43" fmla="*/ 1159108 h 2309562"/>
              <a:gd name="connsiteX44" fmla="*/ 14318 w 2961800"/>
              <a:gd name="connsiteY44" fmla="*/ 1478196 h 2309562"/>
              <a:gd name="connsiteX45" fmla="*/ 4793 w 2961800"/>
              <a:gd name="connsiteY45" fmla="*/ 1563921 h 2309562"/>
              <a:gd name="connsiteX46" fmla="*/ 31 w 2961800"/>
              <a:gd name="connsiteY46" fmla="*/ 1821096 h 2309562"/>
              <a:gd name="connsiteX47" fmla="*/ 4793 w 2961800"/>
              <a:gd name="connsiteY47" fmla="*/ 2016358 h 2309562"/>
              <a:gd name="connsiteX48" fmla="*/ 14318 w 2961800"/>
              <a:gd name="connsiteY48" fmla="*/ 2240196 h 2309562"/>
              <a:gd name="connsiteX49" fmla="*/ 4793 w 2961800"/>
              <a:gd name="connsiteY49" fmla="*/ 2302108 h 2309562"/>
              <a:gd name="connsiteX0" fmla="*/ 5126 w 2962133"/>
              <a:gd name="connsiteY0" fmla="*/ 2302108 h 2309562"/>
              <a:gd name="connsiteX1" fmla="*/ 357551 w 2962133"/>
              <a:gd name="connsiteY1" fmla="*/ 2298933 h 2309562"/>
              <a:gd name="connsiteX2" fmla="*/ 352789 w 2962133"/>
              <a:gd name="connsiteY2" fmla="*/ 2216383 h 2309562"/>
              <a:gd name="connsiteX3" fmla="*/ 357551 w 2962133"/>
              <a:gd name="connsiteY3" fmla="*/ 1587733 h 2309562"/>
              <a:gd name="connsiteX4" fmla="*/ 367076 w 2962133"/>
              <a:gd name="connsiteY4" fmla="*/ 1125771 h 2309562"/>
              <a:gd name="connsiteX5" fmla="*/ 362314 w 2962133"/>
              <a:gd name="connsiteY5" fmla="*/ 473308 h 2309562"/>
              <a:gd name="connsiteX6" fmla="*/ 367076 w 2962133"/>
              <a:gd name="connsiteY6" fmla="*/ 416158 h 2309562"/>
              <a:gd name="connsiteX7" fmla="*/ 516301 w 2962133"/>
              <a:gd name="connsiteY7" fmla="*/ 424096 h 2309562"/>
              <a:gd name="connsiteX8" fmla="*/ 871901 w 2962133"/>
              <a:gd name="connsiteY8" fmla="*/ 416158 h 2309562"/>
              <a:gd name="connsiteX9" fmla="*/ 1229089 w 2962133"/>
              <a:gd name="connsiteY9" fmla="*/ 411396 h 2309562"/>
              <a:gd name="connsiteX10" fmla="*/ 2562589 w 2962133"/>
              <a:gd name="connsiteY10" fmla="*/ 406633 h 2309562"/>
              <a:gd name="connsiteX11" fmla="*/ 2600689 w 2962133"/>
              <a:gd name="connsiteY11" fmla="*/ 425683 h 2309562"/>
              <a:gd name="connsiteX12" fmla="*/ 2600689 w 2962133"/>
              <a:gd name="connsiteY12" fmla="*/ 616183 h 2309562"/>
              <a:gd name="connsiteX13" fmla="*/ 2591164 w 2962133"/>
              <a:gd name="connsiteY13" fmla="*/ 1178158 h 2309562"/>
              <a:gd name="connsiteX14" fmla="*/ 2595926 w 2962133"/>
              <a:gd name="connsiteY14" fmla="*/ 1211496 h 2309562"/>
              <a:gd name="connsiteX15" fmla="*/ 2599101 w 2962133"/>
              <a:gd name="connsiteY15" fmla="*/ 1516296 h 2309562"/>
              <a:gd name="connsiteX16" fmla="*/ 2605451 w 2962133"/>
              <a:gd name="connsiteY16" fmla="*/ 2068746 h 2309562"/>
              <a:gd name="connsiteX17" fmla="*/ 2607039 w 2962133"/>
              <a:gd name="connsiteY17" fmla="*/ 2205271 h 2309562"/>
              <a:gd name="connsiteX18" fmla="*/ 2614976 w 2962133"/>
              <a:gd name="connsiteY18" fmla="*/ 2294171 h 2309562"/>
              <a:gd name="connsiteX19" fmla="*/ 2841989 w 2962133"/>
              <a:gd name="connsiteY19" fmla="*/ 2305283 h 2309562"/>
              <a:gd name="connsiteX20" fmla="*/ 2957876 w 2962133"/>
              <a:gd name="connsiteY20" fmla="*/ 2284646 h 2309562"/>
              <a:gd name="connsiteX21" fmla="*/ 2938826 w 2962133"/>
              <a:gd name="connsiteY21" fmla="*/ 2183046 h 2309562"/>
              <a:gd name="connsiteX22" fmla="*/ 2946764 w 2962133"/>
              <a:gd name="connsiteY22" fmla="*/ 2010008 h 2309562"/>
              <a:gd name="connsiteX23" fmla="*/ 2953114 w 2962133"/>
              <a:gd name="connsiteY23" fmla="*/ 1806808 h 2309562"/>
              <a:gd name="connsiteX24" fmla="*/ 2943589 w 2962133"/>
              <a:gd name="connsiteY24" fmla="*/ 1368658 h 2309562"/>
              <a:gd name="connsiteX25" fmla="*/ 2938826 w 2962133"/>
              <a:gd name="connsiteY25" fmla="*/ 1082908 h 2309562"/>
              <a:gd name="connsiteX26" fmla="*/ 2938826 w 2962133"/>
              <a:gd name="connsiteY26" fmla="*/ 924158 h 2309562"/>
              <a:gd name="connsiteX27" fmla="*/ 2943589 w 2962133"/>
              <a:gd name="connsiteY27" fmla="*/ 573321 h 2309562"/>
              <a:gd name="connsiteX28" fmla="*/ 2948351 w 2962133"/>
              <a:gd name="connsiteY28" fmla="*/ 344721 h 2309562"/>
              <a:gd name="connsiteX29" fmla="*/ 2948351 w 2962133"/>
              <a:gd name="connsiteY29" fmla="*/ 36746 h 2309562"/>
              <a:gd name="connsiteX30" fmla="*/ 2838814 w 2962133"/>
              <a:gd name="connsiteY30" fmla="*/ 17696 h 2309562"/>
              <a:gd name="connsiteX31" fmla="*/ 2714989 w 2962133"/>
              <a:gd name="connsiteY31" fmla="*/ 11346 h 2309562"/>
              <a:gd name="connsiteX32" fmla="*/ 2372089 w 2962133"/>
              <a:gd name="connsiteY32" fmla="*/ 16108 h 2309562"/>
              <a:gd name="connsiteX33" fmla="*/ 1945051 w 2962133"/>
              <a:gd name="connsiteY33" fmla="*/ 20871 h 2309562"/>
              <a:gd name="connsiteX34" fmla="*/ 1795826 w 2962133"/>
              <a:gd name="connsiteY34" fmla="*/ 11346 h 2309562"/>
              <a:gd name="connsiteX35" fmla="*/ 1519601 w 2962133"/>
              <a:gd name="connsiteY35" fmla="*/ 6583 h 2309562"/>
              <a:gd name="connsiteX36" fmla="*/ 1086214 w 2962133"/>
              <a:gd name="connsiteY36" fmla="*/ 14521 h 2309562"/>
              <a:gd name="connsiteX37" fmla="*/ 176576 w 2962133"/>
              <a:gd name="connsiteY37" fmla="*/ 11346 h 2309562"/>
              <a:gd name="connsiteX38" fmla="*/ 28939 w 2962133"/>
              <a:gd name="connsiteY38" fmla="*/ 12933 h 2309562"/>
              <a:gd name="connsiteX39" fmla="*/ 14651 w 2962133"/>
              <a:gd name="connsiteY39" fmla="*/ 173271 h 2309562"/>
              <a:gd name="connsiteX40" fmla="*/ 5126 w 2962133"/>
              <a:gd name="connsiteY40" fmla="*/ 392346 h 2309562"/>
              <a:gd name="connsiteX41" fmla="*/ 364 w 2962133"/>
              <a:gd name="connsiteY41" fmla="*/ 801921 h 2309562"/>
              <a:gd name="connsiteX42" fmla="*/ 364 w 2962133"/>
              <a:gd name="connsiteY42" fmla="*/ 873358 h 2309562"/>
              <a:gd name="connsiteX43" fmla="*/ 5126 w 2962133"/>
              <a:gd name="connsiteY43" fmla="*/ 1159108 h 2309562"/>
              <a:gd name="connsiteX44" fmla="*/ 14651 w 2962133"/>
              <a:gd name="connsiteY44" fmla="*/ 1478196 h 2309562"/>
              <a:gd name="connsiteX45" fmla="*/ 364 w 2962133"/>
              <a:gd name="connsiteY45" fmla="*/ 1821096 h 2309562"/>
              <a:gd name="connsiteX46" fmla="*/ 5126 w 2962133"/>
              <a:gd name="connsiteY46" fmla="*/ 2016358 h 2309562"/>
              <a:gd name="connsiteX47" fmla="*/ 14651 w 2962133"/>
              <a:gd name="connsiteY47" fmla="*/ 2240196 h 2309562"/>
              <a:gd name="connsiteX48" fmla="*/ 5126 w 2962133"/>
              <a:gd name="connsiteY48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515968 w 2961800"/>
              <a:gd name="connsiteY7" fmla="*/ 424096 h 2309562"/>
              <a:gd name="connsiteX8" fmla="*/ 871568 w 2961800"/>
              <a:gd name="connsiteY8" fmla="*/ 416158 h 2309562"/>
              <a:gd name="connsiteX9" fmla="*/ 1228756 w 2961800"/>
              <a:gd name="connsiteY9" fmla="*/ 411396 h 2309562"/>
              <a:gd name="connsiteX10" fmla="*/ 2562256 w 2961800"/>
              <a:gd name="connsiteY10" fmla="*/ 406633 h 2309562"/>
              <a:gd name="connsiteX11" fmla="*/ 2600356 w 2961800"/>
              <a:gd name="connsiteY11" fmla="*/ 425683 h 2309562"/>
              <a:gd name="connsiteX12" fmla="*/ 2600356 w 2961800"/>
              <a:gd name="connsiteY12" fmla="*/ 616183 h 2309562"/>
              <a:gd name="connsiteX13" fmla="*/ 2590831 w 2961800"/>
              <a:gd name="connsiteY13" fmla="*/ 1178158 h 2309562"/>
              <a:gd name="connsiteX14" fmla="*/ 2595593 w 2961800"/>
              <a:gd name="connsiteY14" fmla="*/ 1211496 h 2309562"/>
              <a:gd name="connsiteX15" fmla="*/ 2598768 w 2961800"/>
              <a:gd name="connsiteY15" fmla="*/ 1516296 h 2309562"/>
              <a:gd name="connsiteX16" fmla="*/ 2605118 w 2961800"/>
              <a:gd name="connsiteY16" fmla="*/ 2068746 h 2309562"/>
              <a:gd name="connsiteX17" fmla="*/ 2606706 w 2961800"/>
              <a:gd name="connsiteY17" fmla="*/ 2205271 h 2309562"/>
              <a:gd name="connsiteX18" fmla="*/ 2614643 w 2961800"/>
              <a:gd name="connsiteY18" fmla="*/ 2294171 h 2309562"/>
              <a:gd name="connsiteX19" fmla="*/ 2841656 w 2961800"/>
              <a:gd name="connsiteY19" fmla="*/ 2305283 h 2309562"/>
              <a:gd name="connsiteX20" fmla="*/ 2957543 w 2961800"/>
              <a:gd name="connsiteY20" fmla="*/ 2284646 h 2309562"/>
              <a:gd name="connsiteX21" fmla="*/ 2938493 w 2961800"/>
              <a:gd name="connsiteY21" fmla="*/ 2183046 h 2309562"/>
              <a:gd name="connsiteX22" fmla="*/ 2946431 w 2961800"/>
              <a:gd name="connsiteY22" fmla="*/ 2010008 h 2309562"/>
              <a:gd name="connsiteX23" fmla="*/ 2952781 w 2961800"/>
              <a:gd name="connsiteY23" fmla="*/ 1806808 h 2309562"/>
              <a:gd name="connsiteX24" fmla="*/ 2943256 w 2961800"/>
              <a:gd name="connsiteY24" fmla="*/ 1368658 h 2309562"/>
              <a:gd name="connsiteX25" fmla="*/ 2938493 w 2961800"/>
              <a:gd name="connsiteY25" fmla="*/ 1082908 h 2309562"/>
              <a:gd name="connsiteX26" fmla="*/ 2938493 w 2961800"/>
              <a:gd name="connsiteY26" fmla="*/ 924158 h 2309562"/>
              <a:gd name="connsiteX27" fmla="*/ 2943256 w 2961800"/>
              <a:gd name="connsiteY27" fmla="*/ 573321 h 2309562"/>
              <a:gd name="connsiteX28" fmla="*/ 2948018 w 2961800"/>
              <a:gd name="connsiteY28" fmla="*/ 344721 h 2309562"/>
              <a:gd name="connsiteX29" fmla="*/ 2948018 w 2961800"/>
              <a:gd name="connsiteY29" fmla="*/ 36746 h 2309562"/>
              <a:gd name="connsiteX30" fmla="*/ 2838481 w 2961800"/>
              <a:gd name="connsiteY30" fmla="*/ 17696 h 2309562"/>
              <a:gd name="connsiteX31" fmla="*/ 2714656 w 2961800"/>
              <a:gd name="connsiteY31" fmla="*/ 11346 h 2309562"/>
              <a:gd name="connsiteX32" fmla="*/ 2371756 w 2961800"/>
              <a:gd name="connsiteY32" fmla="*/ 16108 h 2309562"/>
              <a:gd name="connsiteX33" fmla="*/ 1944718 w 2961800"/>
              <a:gd name="connsiteY33" fmla="*/ 20871 h 2309562"/>
              <a:gd name="connsiteX34" fmla="*/ 1795493 w 2961800"/>
              <a:gd name="connsiteY34" fmla="*/ 11346 h 2309562"/>
              <a:gd name="connsiteX35" fmla="*/ 1519268 w 2961800"/>
              <a:gd name="connsiteY35" fmla="*/ 6583 h 2309562"/>
              <a:gd name="connsiteX36" fmla="*/ 1085881 w 2961800"/>
              <a:gd name="connsiteY36" fmla="*/ 14521 h 2309562"/>
              <a:gd name="connsiteX37" fmla="*/ 176243 w 2961800"/>
              <a:gd name="connsiteY37" fmla="*/ 11346 h 2309562"/>
              <a:gd name="connsiteX38" fmla="*/ 28606 w 2961800"/>
              <a:gd name="connsiteY38" fmla="*/ 12933 h 2309562"/>
              <a:gd name="connsiteX39" fmla="*/ 14318 w 2961800"/>
              <a:gd name="connsiteY39" fmla="*/ 173271 h 2309562"/>
              <a:gd name="connsiteX40" fmla="*/ 4793 w 2961800"/>
              <a:gd name="connsiteY40" fmla="*/ 392346 h 2309562"/>
              <a:gd name="connsiteX41" fmla="*/ 31 w 2961800"/>
              <a:gd name="connsiteY41" fmla="*/ 801921 h 2309562"/>
              <a:gd name="connsiteX42" fmla="*/ 31 w 2961800"/>
              <a:gd name="connsiteY42" fmla="*/ 873358 h 2309562"/>
              <a:gd name="connsiteX43" fmla="*/ 4793 w 2961800"/>
              <a:gd name="connsiteY43" fmla="*/ 1159108 h 2309562"/>
              <a:gd name="connsiteX44" fmla="*/ 14318 w 2961800"/>
              <a:gd name="connsiteY44" fmla="*/ 1478196 h 2309562"/>
              <a:gd name="connsiteX45" fmla="*/ 6381 w 2961800"/>
              <a:gd name="connsiteY45" fmla="*/ 1846496 h 2309562"/>
              <a:gd name="connsiteX46" fmla="*/ 4793 w 2961800"/>
              <a:gd name="connsiteY46" fmla="*/ 2016358 h 2309562"/>
              <a:gd name="connsiteX47" fmla="*/ 14318 w 2961800"/>
              <a:gd name="connsiteY47" fmla="*/ 2240196 h 2309562"/>
              <a:gd name="connsiteX48" fmla="*/ 4793 w 2961800"/>
              <a:gd name="connsiteY48" fmla="*/ 2302108 h 230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961800" h="2309562">
                <a:moveTo>
                  <a:pt x="4793" y="2302108"/>
                </a:moveTo>
                <a:cubicBezTo>
                  <a:pt x="61943" y="2311898"/>
                  <a:pt x="299274" y="2313220"/>
                  <a:pt x="357218" y="2298933"/>
                </a:cubicBezTo>
                <a:cubicBezTo>
                  <a:pt x="364362" y="2290996"/>
                  <a:pt x="352456" y="2334916"/>
                  <a:pt x="352456" y="2216383"/>
                </a:cubicBezTo>
                <a:cubicBezTo>
                  <a:pt x="352456" y="2097850"/>
                  <a:pt x="354837" y="1769502"/>
                  <a:pt x="357218" y="1587733"/>
                </a:cubicBezTo>
                <a:cubicBezTo>
                  <a:pt x="360393" y="1433746"/>
                  <a:pt x="362259" y="1279726"/>
                  <a:pt x="366743" y="1125771"/>
                </a:cubicBezTo>
                <a:cubicBezTo>
                  <a:pt x="367537" y="940034"/>
                  <a:pt x="361981" y="591577"/>
                  <a:pt x="361981" y="473308"/>
                </a:cubicBezTo>
                <a:cubicBezTo>
                  <a:pt x="361981" y="355039"/>
                  <a:pt x="353779" y="427535"/>
                  <a:pt x="366743" y="416158"/>
                </a:cubicBezTo>
                <a:cubicBezTo>
                  <a:pt x="379707" y="404781"/>
                  <a:pt x="431831" y="424096"/>
                  <a:pt x="515968" y="424096"/>
                </a:cubicBezTo>
                <a:cubicBezTo>
                  <a:pt x="600105" y="424096"/>
                  <a:pt x="752770" y="418275"/>
                  <a:pt x="871568" y="416158"/>
                </a:cubicBezTo>
                <a:cubicBezTo>
                  <a:pt x="990366" y="414041"/>
                  <a:pt x="946975" y="412984"/>
                  <a:pt x="1228756" y="411396"/>
                </a:cubicBezTo>
                <a:lnTo>
                  <a:pt x="2562256" y="406633"/>
                </a:lnTo>
                <a:cubicBezTo>
                  <a:pt x="2576262" y="408967"/>
                  <a:pt x="2594006" y="390758"/>
                  <a:pt x="2600356" y="425683"/>
                </a:cubicBezTo>
                <a:cubicBezTo>
                  <a:pt x="2606706" y="460608"/>
                  <a:pt x="2601943" y="490771"/>
                  <a:pt x="2600356" y="616183"/>
                </a:cubicBezTo>
                <a:cubicBezTo>
                  <a:pt x="2598769" y="741595"/>
                  <a:pt x="2591625" y="1078939"/>
                  <a:pt x="2590831" y="1178158"/>
                </a:cubicBezTo>
                <a:cubicBezTo>
                  <a:pt x="2590037" y="1277377"/>
                  <a:pt x="2594270" y="1155140"/>
                  <a:pt x="2595593" y="1211496"/>
                </a:cubicBezTo>
                <a:cubicBezTo>
                  <a:pt x="2596916" y="1267852"/>
                  <a:pt x="2597181" y="1373421"/>
                  <a:pt x="2598768" y="1516296"/>
                </a:cubicBezTo>
                <a:cubicBezTo>
                  <a:pt x="2600355" y="1659171"/>
                  <a:pt x="2603795" y="1953917"/>
                  <a:pt x="2605118" y="2068746"/>
                </a:cubicBezTo>
                <a:cubicBezTo>
                  <a:pt x="2606441" y="2183575"/>
                  <a:pt x="2605119" y="2167700"/>
                  <a:pt x="2606706" y="2205271"/>
                </a:cubicBezTo>
                <a:cubicBezTo>
                  <a:pt x="2608293" y="2242842"/>
                  <a:pt x="2575485" y="2277502"/>
                  <a:pt x="2614643" y="2294171"/>
                </a:cubicBezTo>
                <a:cubicBezTo>
                  <a:pt x="2653801" y="2310840"/>
                  <a:pt x="2784506" y="2306871"/>
                  <a:pt x="2841656" y="2305283"/>
                </a:cubicBezTo>
                <a:cubicBezTo>
                  <a:pt x="2898806" y="2303696"/>
                  <a:pt x="2941404" y="2305019"/>
                  <a:pt x="2957543" y="2284646"/>
                </a:cubicBezTo>
                <a:cubicBezTo>
                  <a:pt x="2973682" y="2264273"/>
                  <a:pt x="2938757" y="2232523"/>
                  <a:pt x="2938493" y="2183046"/>
                </a:cubicBezTo>
                <a:cubicBezTo>
                  <a:pt x="2938229" y="2133569"/>
                  <a:pt x="2944050" y="2072714"/>
                  <a:pt x="2946431" y="2010008"/>
                </a:cubicBezTo>
                <a:cubicBezTo>
                  <a:pt x="2948812" y="1947302"/>
                  <a:pt x="2953310" y="1913700"/>
                  <a:pt x="2952781" y="1806808"/>
                </a:cubicBezTo>
                <a:cubicBezTo>
                  <a:pt x="2952252" y="1699916"/>
                  <a:pt x="2944424" y="1428801"/>
                  <a:pt x="2943256" y="1368658"/>
                </a:cubicBezTo>
                <a:cubicBezTo>
                  <a:pt x="2941407" y="1273413"/>
                  <a:pt x="2939287" y="1156991"/>
                  <a:pt x="2938493" y="1082908"/>
                </a:cubicBezTo>
                <a:cubicBezTo>
                  <a:pt x="2937699" y="1008825"/>
                  <a:pt x="2937699" y="1009089"/>
                  <a:pt x="2938493" y="924158"/>
                </a:cubicBezTo>
                <a:cubicBezTo>
                  <a:pt x="2941668" y="853514"/>
                  <a:pt x="2938494" y="672540"/>
                  <a:pt x="2943256" y="573321"/>
                </a:cubicBezTo>
                <a:cubicBezTo>
                  <a:pt x="2945637" y="522521"/>
                  <a:pt x="2947224" y="434150"/>
                  <a:pt x="2948018" y="344721"/>
                </a:cubicBezTo>
                <a:cubicBezTo>
                  <a:pt x="2943256" y="274077"/>
                  <a:pt x="2951193" y="96277"/>
                  <a:pt x="2948018" y="36746"/>
                </a:cubicBezTo>
                <a:cubicBezTo>
                  <a:pt x="2937699" y="-23579"/>
                  <a:pt x="2877375" y="21929"/>
                  <a:pt x="2838481" y="17696"/>
                </a:cubicBezTo>
                <a:cubicBezTo>
                  <a:pt x="2799587" y="13463"/>
                  <a:pt x="2792443" y="11611"/>
                  <a:pt x="2714656" y="11346"/>
                </a:cubicBezTo>
                <a:cubicBezTo>
                  <a:pt x="2636869" y="11081"/>
                  <a:pt x="2486056" y="14521"/>
                  <a:pt x="2371756" y="16108"/>
                </a:cubicBezTo>
                <a:lnTo>
                  <a:pt x="1944718" y="20871"/>
                </a:lnTo>
                <a:cubicBezTo>
                  <a:pt x="1848674" y="20077"/>
                  <a:pt x="1866401" y="13727"/>
                  <a:pt x="1795493" y="11346"/>
                </a:cubicBezTo>
                <a:cubicBezTo>
                  <a:pt x="1724585" y="8965"/>
                  <a:pt x="1637537" y="6054"/>
                  <a:pt x="1519268" y="6583"/>
                </a:cubicBezTo>
                <a:cubicBezTo>
                  <a:pt x="1400999" y="7112"/>
                  <a:pt x="1239318" y="-7399"/>
                  <a:pt x="1085881" y="14521"/>
                </a:cubicBezTo>
                <a:lnTo>
                  <a:pt x="176243" y="11346"/>
                </a:lnTo>
                <a:cubicBezTo>
                  <a:pt x="132587" y="9229"/>
                  <a:pt x="55593" y="-14054"/>
                  <a:pt x="28606" y="12933"/>
                </a:cubicBezTo>
                <a:cubicBezTo>
                  <a:pt x="1619" y="39920"/>
                  <a:pt x="18287" y="110036"/>
                  <a:pt x="14318" y="173271"/>
                </a:cubicBezTo>
                <a:cubicBezTo>
                  <a:pt x="10349" y="236507"/>
                  <a:pt x="7174" y="287571"/>
                  <a:pt x="4793" y="392346"/>
                </a:cubicBezTo>
                <a:cubicBezTo>
                  <a:pt x="2412" y="497121"/>
                  <a:pt x="825" y="721752"/>
                  <a:pt x="31" y="801921"/>
                </a:cubicBezTo>
                <a:cubicBezTo>
                  <a:pt x="-763" y="882090"/>
                  <a:pt x="14485" y="728802"/>
                  <a:pt x="31" y="873358"/>
                </a:cubicBezTo>
                <a:cubicBezTo>
                  <a:pt x="1618" y="968608"/>
                  <a:pt x="2072" y="1063884"/>
                  <a:pt x="4793" y="1159108"/>
                </a:cubicBezTo>
                <a:cubicBezTo>
                  <a:pt x="7174" y="1259914"/>
                  <a:pt x="14053" y="1363631"/>
                  <a:pt x="14318" y="1478196"/>
                </a:cubicBezTo>
                <a:cubicBezTo>
                  <a:pt x="14583" y="1592761"/>
                  <a:pt x="7969" y="1756802"/>
                  <a:pt x="6381" y="1846496"/>
                </a:cubicBezTo>
                <a:cubicBezTo>
                  <a:pt x="4793" y="1936190"/>
                  <a:pt x="3470" y="1950741"/>
                  <a:pt x="4793" y="2016358"/>
                </a:cubicBezTo>
                <a:cubicBezTo>
                  <a:pt x="6116" y="2081975"/>
                  <a:pt x="14318" y="2192571"/>
                  <a:pt x="14318" y="2240196"/>
                </a:cubicBezTo>
                <a:cubicBezTo>
                  <a:pt x="14318" y="2287821"/>
                  <a:pt x="-1557" y="2292583"/>
                  <a:pt x="4793" y="2302108"/>
                </a:cubicBezTo>
                <a:close/>
              </a:path>
            </a:pathLst>
          </a:custGeom>
          <a:solidFill>
            <a:srgbClr val="E1EBE5"/>
          </a:solidFill>
          <a:ln w="12700">
            <a:noFill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0E98805F-6C20-D4D1-BDDB-062DBB493948}"/>
              </a:ext>
            </a:extLst>
          </p:cNvPr>
          <p:cNvSpPr/>
          <p:nvPr/>
        </p:nvSpPr>
        <p:spPr>
          <a:xfrm>
            <a:off x="4519812" y="3420826"/>
            <a:ext cx="1967739" cy="272012"/>
          </a:xfrm>
          <a:custGeom>
            <a:avLst/>
            <a:gdLst>
              <a:gd name="connsiteX0" fmla="*/ 0 w 2889264"/>
              <a:gd name="connsiteY0" fmla="*/ 720725 h 733425"/>
              <a:gd name="connsiteX1" fmla="*/ 15875 w 2889264"/>
              <a:gd name="connsiteY1" fmla="*/ 711200 h 733425"/>
              <a:gd name="connsiteX2" fmla="*/ 34925 w 2889264"/>
              <a:gd name="connsiteY2" fmla="*/ 698500 h 733425"/>
              <a:gd name="connsiteX3" fmla="*/ 50800 w 2889264"/>
              <a:gd name="connsiteY3" fmla="*/ 695325 h 733425"/>
              <a:gd name="connsiteX4" fmla="*/ 63500 w 2889264"/>
              <a:gd name="connsiteY4" fmla="*/ 685800 h 733425"/>
              <a:gd name="connsiteX5" fmla="*/ 82550 w 2889264"/>
              <a:gd name="connsiteY5" fmla="*/ 679450 h 733425"/>
              <a:gd name="connsiteX6" fmla="*/ 111125 w 2889264"/>
              <a:gd name="connsiteY6" fmla="*/ 657225 h 733425"/>
              <a:gd name="connsiteX7" fmla="*/ 127000 w 2889264"/>
              <a:gd name="connsiteY7" fmla="*/ 647700 h 733425"/>
              <a:gd name="connsiteX8" fmla="*/ 136525 w 2889264"/>
              <a:gd name="connsiteY8" fmla="*/ 641350 h 733425"/>
              <a:gd name="connsiteX9" fmla="*/ 146050 w 2889264"/>
              <a:gd name="connsiteY9" fmla="*/ 638175 h 733425"/>
              <a:gd name="connsiteX10" fmla="*/ 171450 w 2889264"/>
              <a:gd name="connsiteY10" fmla="*/ 628650 h 733425"/>
              <a:gd name="connsiteX11" fmla="*/ 203200 w 2889264"/>
              <a:gd name="connsiteY11" fmla="*/ 609600 h 733425"/>
              <a:gd name="connsiteX12" fmla="*/ 222250 w 2889264"/>
              <a:gd name="connsiteY12" fmla="*/ 603250 h 733425"/>
              <a:gd name="connsiteX13" fmla="*/ 247650 w 2889264"/>
              <a:gd name="connsiteY13" fmla="*/ 593725 h 733425"/>
              <a:gd name="connsiteX14" fmla="*/ 260350 w 2889264"/>
              <a:gd name="connsiteY14" fmla="*/ 587375 h 733425"/>
              <a:gd name="connsiteX15" fmla="*/ 285750 w 2889264"/>
              <a:gd name="connsiteY15" fmla="*/ 581025 h 733425"/>
              <a:gd name="connsiteX16" fmla="*/ 317500 w 2889264"/>
              <a:gd name="connsiteY16" fmla="*/ 571500 h 733425"/>
              <a:gd name="connsiteX17" fmla="*/ 352425 w 2889264"/>
              <a:gd name="connsiteY17" fmla="*/ 555625 h 733425"/>
              <a:gd name="connsiteX18" fmla="*/ 381000 w 2889264"/>
              <a:gd name="connsiteY18" fmla="*/ 539750 h 733425"/>
              <a:gd name="connsiteX19" fmla="*/ 390525 w 2889264"/>
              <a:gd name="connsiteY19" fmla="*/ 536575 h 733425"/>
              <a:gd name="connsiteX20" fmla="*/ 406400 w 2889264"/>
              <a:gd name="connsiteY20" fmla="*/ 530225 h 733425"/>
              <a:gd name="connsiteX21" fmla="*/ 434975 w 2889264"/>
              <a:gd name="connsiteY21" fmla="*/ 514350 h 733425"/>
              <a:gd name="connsiteX22" fmla="*/ 454025 w 2889264"/>
              <a:gd name="connsiteY22" fmla="*/ 504825 h 733425"/>
              <a:gd name="connsiteX23" fmla="*/ 463550 w 2889264"/>
              <a:gd name="connsiteY23" fmla="*/ 498475 h 733425"/>
              <a:gd name="connsiteX24" fmla="*/ 476250 w 2889264"/>
              <a:gd name="connsiteY24" fmla="*/ 495300 h 733425"/>
              <a:gd name="connsiteX25" fmla="*/ 492125 w 2889264"/>
              <a:gd name="connsiteY25" fmla="*/ 488950 h 733425"/>
              <a:gd name="connsiteX26" fmla="*/ 501650 w 2889264"/>
              <a:gd name="connsiteY26" fmla="*/ 485775 h 733425"/>
              <a:gd name="connsiteX27" fmla="*/ 523875 w 2889264"/>
              <a:gd name="connsiteY27" fmla="*/ 469900 h 733425"/>
              <a:gd name="connsiteX28" fmla="*/ 552450 w 2889264"/>
              <a:gd name="connsiteY28" fmla="*/ 450850 h 733425"/>
              <a:gd name="connsiteX29" fmla="*/ 568325 w 2889264"/>
              <a:gd name="connsiteY29" fmla="*/ 447675 h 733425"/>
              <a:gd name="connsiteX30" fmla="*/ 584200 w 2889264"/>
              <a:gd name="connsiteY30" fmla="*/ 441325 h 733425"/>
              <a:gd name="connsiteX31" fmla="*/ 593725 w 2889264"/>
              <a:gd name="connsiteY31" fmla="*/ 438150 h 733425"/>
              <a:gd name="connsiteX32" fmla="*/ 612775 w 2889264"/>
              <a:gd name="connsiteY32" fmla="*/ 428625 h 733425"/>
              <a:gd name="connsiteX33" fmla="*/ 628650 w 2889264"/>
              <a:gd name="connsiteY33" fmla="*/ 422275 h 733425"/>
              <a:gd name="connsiteX34" fmla="*/ 641350 w 2889264"/>
              <a:gd name="connsiteY34" fmla="*/ 415925 h 733425"/>
              <a:gd name="connsiteX35" fmla="*/ 657225 w 2889264"/>
              <a:gd name="connsiteY35" fmla="*/ 406400 h 733425"/>
              <a:gd name="connsiteX36" fmla="*/ 676275 w 2889264"/>
              <a:gd name="connsiteY36" fmla="*/ 400050 h 733425"/>
              <a:gd name="connsiteX37" fmla="*/ 708025 w 2889264"/>
              <a:gd name="connsiteY37" fmla="*/ 381000 h 733425"/>
              <a:gd name="connsiteX38" fmla="*/ 736600 w 2889264"/>
              <a:gd name="connsiteY38" fmla="*/ 368300 h 733425"/>
              <a:gd name="connsiteX39" fmla="*/ 742950 w 2889264"/>
              <a:gd name="connsiteY39" fmla="*/ 358775 h 733425"/>
              <a:gd name="connsiteX40" fmla="*/ 790575 w 2889264"/>
              <a:gd name="connsiteY40" fmla="*/ 339725 h 733425"/>
              <a:gd name="connsiteX41" fmla="*/ 800100 w 2889264"/>
              <a:gd name="connsiteY41" fmla="*/ 336550 h 733425"/>
              <a:gd name="connsiteX42" fmla="*/ 812800 w 2889264"/>
              <a:gd name="connsiteY42" fmla="*/ 330200 h 733425"/>
              <a:gd name="connsiteX43" fmla="*/ 828675 w 2889264"/>
              <a:gd name="connsiteY43" fmla="*/ 327025 h 733425"/>
              <a:gd name="connsiteX44" fmla="*/ 898525 w 2889264"/>
              <a:gd name="connsiteY44" fmla="*/ 288925 h 733425"/>
              <a:gd name="connsiteX45" fmla="*/ 923925 w 2889264"/>
              <a:gd name="connsiteY45" fmla="*/ 269875 h 733425"/>
              <a:gd name="connsiteX46" fmla="*/ 933450 w 2889264"/>
              <a:gd name="connsiteY46" fmla="*/ 260350 h 733425"/>
              <a:gd name="connsiteX47" fmla="*/ 958850 w 2889264"/>
              <a:gd name="connsiteY47" fmla="*/ 247650 h 733425"/>
              <a:gd name="connsiteX48" fmla="*/ 968375 w 2889264"/>
              <a:gd name="connsiteY48" fmla="*/ 241300 h 733425"/>
              <a:gd name="connsiteX49" fmla="*/ 984250 w 2889264"/>
              <a:gd name="connsiteY49" fmla="*/ 234950 h 733425"/>
              <a:gd name="connsiteX50" fmla="*/ 1006475 w 2889264"/>
              <a:gd name="connsiteY50" fmla="*/ 225425 h 733425"/>
              <a:gd name="connsiteX51" fmla="*/ 1050925 w 2889264"/>
              <a:gd name="connsiteY51" fmla="*/ 212725 h 733425"/>
              <a:gd name="connsiteX52" fmla="*/ 1079500 w 2889264"/>
              <a:gd name="connsiteY52" fmla="*/ 200025 h 733425"/>
              <a:gd name="connsiteX53" fmla="*/ 1098550 w 2889264"/>
              <a:gd name="connsiteY53" fmla="*/ 193675 h 733425"/>
              <a:gd name="connsiteX54" fmla="*/ 1111250 w 2889264"/>
              <a:gd name="connsiteY54" fmla="*/ 187325 h 733425"/>
              <a:gd name="connsiteX55" fmla="*/ 1136650 w 2889264"/>
              <a:gd name="connsiteY55" fmla="*/ 177800 h 733425"/>
              <a:gd name="connsiteX56" fmla="*/ 1181100 w 2889264"/>
              <a:gd name="connsiteY56" fmla="*/ 152400 h 733425"/>
              <a:gd name="connsiteX57" fmla="*/ 1203325 w 2889264"/>
              <a:gd name="connsiteY57" fmla="*/ 130175 h 733425"/>
              <a:gd name="connsiteX58" fmla="*/ 1219200 w 2889264"/>
              <a:gd name="connsiteY58" fmla="*/ 117475 h 733425"/>
              <a:gd name="connsiteX59" fmla="*/ 1276350 w 2889264"/>
              <a:gd name="connsiteY59" fmla="*/ 85725 h 733425"/>
              <a:gd name="connsiteX60" fmla="*/ 1289050 w 2889264"/>
              <a:gd name="connsiteY60" fmla="*/ 79375 h 733425"/>
              <a:gd name="connsiteX61" fmla="*/ 1327150 w 2889264"/>
              <a:gd name="connsiteY61" fmla="*/ 66675 h 733425"/>
              <a:gd name="connsiteX62" fmla="*/ 1343025 w 2889264"/>
              <a:gd name="connsiteY62" fmla="*/ 57150 h 733425"/>
              <a:gd name="connsiteX63" fmla="*/ 1355725 w 2889264"/>
              <a:gd name="connsiteY63" fmla="*/ 47625 h 733425"/>
              <a:gd name="connsiteX64" fmla="*/ 1377950 w 2889264"/>
              <a:gd name="connsiteY64" fmla="*/ 38100 h 733425"/>
              <a:gd name="connsiteX65" fmla="*/ 1416050 w 2889264"/>
              <a:gd name="connsiteY65" fmla="*/ 12700 h 733425"/>
              <a:gd name="connsiteX66" fmla="*/ 1428750 w 2889264"/>
              <a:gd name="connsiteY66" fmla="*/ 0 h 733425"/>
              <a:gd name="connsiteX67" fmla="*/ 1470025 w 2889264"/>
              <a:gd name="connsiteY67" fmla="*/ 28575 h 733425"/>
              <a:gd name="connsiteX68" fmla="*/ 1504950 w 2889264"/>
              <a:gd name="connsiteY68" fmla="*/ 41275 h 733425"/>
              <a:gd name="connsiteX69" fmla="*/ 1517650 w 2889264"/>
              <a:gd name="connsiteY69" fmla="*/ 50800 h 733425"/>
              <a:gd name="connsiteX70" fmla="*/ 1549400 w 2889264"/>
              <a:gd name="connsiteY70" fmla="*/ 60325 h 733425"/>
              <a:gd name="connsiteX71" fmla="*/ 1562100 w 2889264"/>
              <a:gd name="connsiteY71" fmla="*/ 69850 h 733425"/>
              <a:gd name="connsiteX72" fmla="*/ 1574800 w 2889264"/>
              <a:gd name="connsiteY72" fmla="*/ 73025 h 733425"/>
              <a:gd name="connsiteX73" fmla="*/ 1590675 w 2889264"/>
              <a:gd name="connsiteY73" fmla="*/ 79375 h 733425"/>
              <a:gd name="connsiteX74" fmla="*/ 1600200 w 2889264"/>
              <a:gd name="connsiteY74" fmla="*/ 85725 h 733425"/>
              <a:gd name="connsiteX75" fmla="*/ 1612900 w 2889264"/>
              <a:gd name="connsiteY75" fmla="*/ 92075 h 733425"/>
              <a:gd name="connsiteX76" fmla="*/ 1625600 w 2889264"/>
              <a:gd name="connsiteY76" fmla="*/ 101600 h 733425"/>
              <a:gd name="connsiteX77" fmla="*/ 1635125 w 2889264"/>
              <a:gd name="connsiteY77" fmla="*/ 104775 h 733425"/>
              <a:gd name="connsiteX78" fmla="*/ 1654175 w 2889264"/>
              <a:gd name="connsiteY78" fmla="*/ 114300 h 733425"/>
              <a:gd name="connsiteX79" fmla="*/ 1676400 w 2889264"/>
              <a:gd name="connsiteY79" fmla="*/ 130175 h 733425"/>
              <a:gd name="connsiteX80" fmla="*/ 1689100 w 2889264"/>
              <a:gd name="connsiteY80" fmla="*/ 136525 h 733425"/>
              <a:gd name="connsiteX81" fmla="*/ 1714500 w 2889264"/>
              <a:gd name="connsiteY81" fmla="*/ 146050 h 733425"/>
              <a:gd name="connsiteX82" fmla="*/ 1727200 w 2889264"/>
              <a:gd name="connsiteY82" fmla="*/ 155575 h 733425"/>
              <a:gd name="connsiteX83" fmla="*/ 1758950 w 2889264"/>
              <a:gd name="connsiteY83" fmla="*/ 165100 h 733425"/>
              <a:gd name="connsiteX84" fmla="*/ 1768475 w 2889264"/>
              <a:gd name="connsiteY84" fmla="*/ 171450 h 733425"/>
              <a:gd name="connsiteX85" fmla="*/ 1781175 w 2889264"/>
              <a:gd name="connsiteY85" fmla="*/ 180975 h 733425"/>
              <a:gd name="connsiteX86" fmla="*/ 1793875 w 2889264"/>
              <a:gd name="connsiteY86" fmla="*/ 187325 h 733425"/>
              <a:gd name="connsiteX87" fmla="*/ 1838325 w 2889264"/>
              <a:gd name="connsiteY87" fmla="*/ 212725 h 733425"/>
              <a:gd name="connsiteX88" fmla="*/ 1847850 w 2889264"/>
              <a:gd name="connsiteY88" fmla="*/ 222250 h 733425"/>
              <a:gd name="connsiteX89" fmla="*/ 1885950 w 2889264"/>
              <a:gd name="connsiteY89" fmla="*/ 241300 h 733425"/>
              <a:gd name="connsiteX90" fmla="*/ 1901825 w 2889264"/>
              <a:gd name="connsiteY90" fmla="*/ 250825 h 733425"/>
              <a:gd name="connsiteX91" fmla="*/ 1933575 w 2889264"/>
              <a:gd name="connsiteY91" fmla="*/ 263525 h 733425"/>
              <a:gd name="connsiteX92" fmla="*/ 1962150 w 2889264"/>
              <a:gd name="connsiteY92" fmla="*/ 276225 h 733425"/>
              <a:gd name="connsiteX93" fmla="*/ 1971675 w 2889264"/>
              <a:gd name="connsiteY93" fmla="*/ 282575 h 733425"/>
              <a:gd name="connsiteX94" fmla="*/ 1987550 w 2889264"/>
              <a:gd name="connsiteY94" fmla="*/ 288925 h 733425"/>
              <a:gd name="connsiteX95" fmla="*/ 2022475 w 2889264"/>
              <a:gd name="connsiteY95" fmla="*/ 301625 h 733425"/>
              <a:gd name="connsiteX96" fmla="*/ 2047875 w 2889264"/>
              <a:gd name="connsiteY96" fmla="*/ 314325 h 733425"/>
              <a:gd name="connsiteX97" fmla="*/ 2063750 w 2889264"/>
              <a:gd name="connsiteY97" fmla="*/ 320675 h 733425"/>
              <a:gd name="connsiteX98" fmla="*/ 2082800 w 2889264"/>
              <a:gd name="connsiteY98" fmla="*/ 330200 h 733425"/>
              <a:gd name="connsiteX99" fmla="*/ 2095500 w 2889264"/>
              <a:gd name="connsiteY99" fmla="*/ 333375 h 733425"/>
              <a:gd name="connsiteX100" fmla="*/ 2124075 w 2889264"/>
              <a:gd name="connsiteY100" fmla="*/ 342900 h 733425"/>
              <a:gd name="connsiteX101" fmla="*/ 2159000 w 2889264"/>
              <a:gd name="connsiteY101" fmla="*/ 358775 h 733425"/>
              <a:gd name="connsiteX102" fmla="*/ 2187575 w 2889264"/>
              <a:gd name="connsiteY102" fmla="*/ 377825 h 733425"/>
              <a:gd name="connsiteX103" fmla="*/ 2209800 w 2889264"/>
              <a:gd name="connsiteY103" fmla="*/ 393700 h 733425"/>
              <a:gd name="connsiteX104" fmla="*/ 2247900 w 2889264"/>
              <a:gd name="connsiteY104" fmla="*/ 419100 h 733425"/>
              <a:gd name="connsiteX105" fmla="*/ 2276475 w 2889264"/>
              <a:gd name="connsiteY105" fmla="*/ 434975 h 733425"/>
              <a:gd name="connsiteX106" fmla="*/ 2289175 w 2889264"/>
              <a:gd name="connsiteY106" fmla="*/ 444500 h 733425"/>
              <a:gd name="connsiteX107" fmla="*/ 2308225 w 2889264"/>
              <a:gd name="connsiteY107" fmla="*/ 447675 h 733425"/>
              <a:gd name="connsiteX108" fmla="*/ 2333625 w 2889264"/>
              <a:gd name="connsiteY108" fmla="*/ 460375 h 733425"/>
              <a:gd name="connsiteX109" fmla="*/ 2352675 w 2889264"/>
              <a:gd name="connsiteY109" fmla="*/ 466725 h 733425"/>
              <a:gd name="connsiteX110" fmla="*/ 2397125 w 2889264"/>
              <a:gd name="connsiteY110" fmla="*/ 488950 h 733425"/>
              <a:gd name="connsiteX111" fmla="*/ 2422525 w 2889264"/>
              <a:gd name="connsiteY111" fmla="*/ 495300 h 733425"/>
              <a:gd name="connsiteX112" fmla="*/ 2432050 w 2889264"/>
              <a:gd name="connsiteY112" fmla="*/ 498475 h 733425"/>
              <a:gd name="connsiteX113" fmla="*/ 2454275 w 2889264"/>
              <a:gd name="connsiteY113" fmla="*/ 511175 h 733425"/>
              <a:gd name="connsiteX114" fmla="*/ 2470150 w 2889264"/>
              <a:gd name="connsiteY114" fmla="*/ 523875 h 733425"/>
              <a:gd name="connsiteX115" fmla="*/ 2495550 w 2889264"/>
              <a:gd name="connsiteY115" fmla="*/ 533400 h 733425"/>
              <a:gd name="connsiteX116" fmla="*/ 2546350 w 2889264"/>
              <a:gd name="connsiteY116" fmla="*/ 558800 h 733425"/>
              <a:gd name="connsiteX117" fmla="*/ 2574925 w 2889264"/>
              <a:gd name="connsiteY117" fmla="*/ 565150 h 733425"/>
              <a:gd name="connsiteX118" fmla="*/ 2600325 w 2889264"/>
              <a:gd name="connsiteY118" fmla="*/ 577850 h 733425"/>
              <a:gd name="connsiteX119" fmla="*/ 2616200 w 2889264"/>
              <a:gd name="connsiteY119" fmla="*/ 581025 h 733425"/>
              <a:gd name="connsiteX120" fmla="*/ 2638425 w 2889264"/>
              <a:gd name="connsiteY120" fmla="*/ 587375 h 733425"/>
              <a:gd name="connsiteX121" fmla="*/ 2654300 w 2889264"/>
              <a:gd name="connsiteY121" fmla="*/ 596900 h 733425"/>
              <a:gd name="connsiteX122" fmla="*/ 2673350 w 2889264"/>
              <a:gd name="connsiteY122" fmla="*/ 603250 h 733425"/>
              <a:gd name="connsiteX123" fmla="*/ 2708275 w 2889264"/>
              <a:gd name="connsiteY123" fmla="*/ 625475 h 733425"/>
              <a:gd name="connsiteX124" fmla="*/ 2730500 w 2889264"/>
              <a:gd name="connsiteY124" fmla="*/ 635000 h 733425"/>
              <a:gd name="connsiteX125" fmla="*/ 2749550 w 2889264"/>
              <a:gd name="connsiteY125" fmla="*/ 650875 h 733425"/>
              <a:gd name="connsiteX126" fmla="*/ 2774950 w 2889264"/>
              <a:gd name="connsiteY126" fmla="*/ 663575 h 733425"/>
              <a:gd name="connsiteX127" fmla="*/ 2803525 w 2889264"/>
              <a:gd name="connsiteY127" fmla="*/ 676275 h 733425"/>
              <a:gd name="connsiteX128" fmla="*/ 2816225 w 2889264"/>
              <a:gd name="connsiteY128" fmla="*/ 685800 h 733425"/>
              <a:gd name="connsiteX129" fmla="*/ 2832100 w 2889264"/>
              <a:gd name="connsiteY129" fmla="*/ 692150 h 733425"/>
              <a:gd name="connsiteX130" fmla="*/ 2876550 w 2889264"/>
              <a:gd name="connsiteY130" fmla="*/ 723900 h 733425"/>
              <a:gd name="connsiteX131" fmla="*/ 2889250 w 2889264"/>
              <a:gd name="connsiteY131" fmla="*/ 733425 h 733425"/>
              <a:gd name="connsiteX0" fmla="*/ 0 w 2889264"/>
              <a:gd name="connsiteY0" fmla="*/ 720725 h 733425"/>
              <a:gd name="connsiteX1" fmla="*/ 15875 w 2889264"/>
              <a:gd name="connsiteY1" fmla="*/ 711200 h 733425"/>
              <a:gd name="connsiteX2" fmla="*/ 34925 w 2889264"/>
              <a:gd name="connsiteY2" fmla="*/ 698500 h 733425"/>
              <a:gd name="connsiteX3" fmla="*/ 50800 w 2889264"/>
              <a:gd name="connsiteY3" fmla="*/ 695325 h 733425"/>
              <a:gd name="connsiteX4" fmla="*/ 63500 w 2889264"/>
              <a:gd name="connsiteY4" fmla="*/ 685800 h 733425"/>
              <a:gd name="connsiteX5" fmla="*/ 111125 w 2889264"/>
              <a:gd name="connsiteY5" fmla="*/ 657225 h 733425"/>
              <a:gd name="connsiteX6" fmla="*/ 127000 w 2889264"/>
              <a:gd name="connsiteY6" fmla="*/ 647700 h 733425"/>
              <a:gd name="connsiteX7" fmla="*/ 136525 w 2889264"/>
              <a:gd name="connsiteY7" fmla="*/ 641350 h 733425"/>
              <a:gd name="connsiteX8" fmla="*/ 146050 w 2889264"/>
              <a:gd name="connsiteY8" fmla="*/ 638175 h 733425"/>
              <a:gd name="connsiteX9" fmla="*/ 171450 w 2889264"/>
              <a:gd name="connsiteY9" fmla="*/ 628650 h 733425"/>
              <a:gd name="connsiteX10" fmla="*/ 203200 w 2889264"/>
              <a:gd name="connsiteY10" fmla="*/ 609600 h 733425"/>
              <a:gd name="connsiteX11" fmla="*/ 222250 w 2889264"/>
              <a:gd name="connsiteY11" fmla="*/ 603250 h 733425"/>
              <a:gd name="connsiteX12" fmla="*/ 247650 w 2889264"/>
              <a:gd name="connsiteY12" fmla="*/ 593725 h 733425"/>
              <a:gd name="connsiteX13" fmla="*/ 260350 w 2889264"/>
              <a:gd name="connsiteY13" fmla="*/ 587375 h 733425"/>
              <a:gd name="connsiteX14" fmla="*/ 285750 w 2889264"/>
              <a:gd name="connsiteY14" fmla="*/ 581025 h 733425"/>
              <a:gd name="connsiteX15" fmla="*/ 317500 w 2889264"/>
              <a:gd name="connsiteY15" fmla="*/ 571500 h 733425"/>
              <a:gd name="connsiteX16" fmla="*/ 352425 w 2889264"/>
              <a:gd name="connsiteY16" fmla="*/ 555625 h 733425"/>
              <a:gd name="connsiteX17" fmla="*/ 381000 w 2889264"/>
              <a:gd name="connsiteY17" fmla="*/ 539750 h 733425"/>
              <a:gd name="connsiteX18" fmla="*/ 390525 w 2889264"/>
              <a:gd name="connsiteY18" fmla="*/ 536575 h 733425"/>
              <a:gd name="connsiteX19" fmla="*/ 406400 w 2889264"/>
              <a:gd name="connsiteY19" fmla="*/ 530225 h 733425"/>
              <a:gd name="connsiteX20" fmla="*/ 434975 w 2889264"/>
              <a:gd name="connsiteY20" fmla="*/ 514350 h 733425"/>
              <a:gd name="connsiteX21" fmla="*/ 454025 w 2889264"/>
              <a:gd name="connsiteY21" fmla="*/ 504825 h 733425"/>
              <a:gd name="connsiteX22" fmla="*/ 463550 w 2889264"/>
              <a:gd name="connsiteY22" fmla="*/ 498475 h 733425"/>
              <a:gd name="connsiteX23" fmla="*/ 476250 w 2889264"/>
              <a:gd name="connsiteY23" fmla="*/ 495300 h 733425"/>
              <a:gd name="connsiteX24" fmla="*/ 492125 w 2889264"/>
              <a:gd name="connsiteY24" fmla="*/ 488950 h 733425"/>
              <a:gd name="connsiteX25" fmla="*/ 501650 w 2889264"/>
              <a:gd name="connsiteY25" fmla="*/ 485775 h 733425"/>
              <a:gd name="connsiteX26" fmla="*/ 523875 w 2889264"/>
              <a:gd name="connsiteY26" fmla="*/ 469900 h 733425"/>
              <a:gd name="connsiteX27" fmla="*/ 552450 w 2889264"/>
              <a:gd name="connsiteY27" fmla="*/ 450850 h 733425"/>
              <a:gd name="connsiteX28" fmla="*/ 568325 w 2889264"/>
              <a:gd name="connsiteY28" fmla="*/ 447675 h 733425"/>
              <a:gd name="connsiteX29" fmla="*/ 584200 w 2889264"/>
              <a:gd name="connsiteY29" fmla="*/ 441325 h 733425"/>
              <a:gd name="connsiteX30" fmla="*/ 593725 w 2889264"/>
              <a:gd name="connsiteY30" fmla="*/ 438150 h 733425"/>
              <a:gd name="connsiteX31" fmla="*/ 612775 w 2889264"/>
              <a:gd name="connsiteY31" fmla="*/ 428625 h 733425"/>
              <a:gd name="connsiteX32" fmla="*/ 628650 w 2889264"/>
              <a:gd name="connsiteY32" fmla="*/ 422275 h 733425"/>
              <a:gd name="connsiteX33" fmla="*/ 641350 w 2889264"/>
              <a:gd name="connsiteY33" fmla="*/ 415925 h 733425"/>
              <a:gd name="connsiteX34" fmla="*/ 657225 w 2889264"/>
              <a:gd name="connsiteY34" fmla="*/ 406400 h 733425"/>
              <a:gd name="connsiteX35" fmla="*/ 676275 w 2889264"/>
              <a:gd name="connsiteY35" fmla="*/ 400050 h 733425"/>
              <a:gd name="connsiteX36" fmla="*/ 708025 w 2889264"/>
              <a:gd name="connsiteY36" fmla="*/ 381000 h 733425"/>
              <a:gd name="connsiteX37" fmla="*/ 736600 w 2889264"/>
              <a:gd name="connsiteY37" fmla="*/ 368300 h 733425"/>
              <a:gd name="connsiteX38" fmla="*/ 742950 w 2889264"/>
              <a:gd name="connsiteY38" fmla="*/ 358775 h 733425"/>
              <a:gd name="connsiteX39" fmla="*/ 790575 w 2889264"/>
              <a:gd name="connsiteY39" fmla="*/ 339725 h 733425"/>
              <a:gd name="connsiteX40" fmla="*/ 800100 w 2889264"/>
              <a:gd name="connsiteY40" fmla="*/ 336550 h 733425"/>
              <a:gd name="connsiteX41" fmla="*/ 812800 w 2889264"/>
              <a:gd name="connsiteY41" fmla="*/ 330200 h 733425"/>
              <a:gd name="connsiteX42" fmla="*/ 828675 w 2889264"/>
              <a:gd name="connsiteY42" fmla="*/ 327025 h 733425"/>
              <a:gd name="connsiteX43" fmla="*/ 898525 w 2889264"/>
              <a:gd name="connsiteY43" fmla="*/ 288925 h 733425"/>
              <a:gd name="connsiteX44" fmla="*/ 923925 w 2889264"/>
              <a:gd name="connsiteY44" fmla="*/ 269875 h 733425"/>
              <a:gd name="connsiteX45" fmla="*/ 933450 w 2889264"/>
              <a:gd name="connsiteY45" fmla="*/ 260350 h 733425"/>
              <a:gd name="connsiteX46" fmla="*/ 958850 w 2889264"/>
              <a:gd name="connsiteY46" fmla="*/ 247650 h 733425"/>
              <a:gd name="connsiteX47" fmla="*/ 968375 w 2889264"/>
              <a:gd name="connsiteY47" fmla="*/ 241300 h 733425"/>
              <a:gd name="connsiteX48" fmla="*/ 984250 w 2889264"/>
              <a:gd name="connsiteY48" fmla="*/ 234950 h 733425"/>
              <a:gd name="connsiteX49" fmla="*/ 1006475 w 2889264"/>
              <a:gd name="connsiteY49" fmla="*/ 225425 h 733425"/>
              <a:gd name="connsiteX50" fmla="*/ 1050925 w 2889264"/>
              <a:gd name="connsiteY50" fmla="*/ 212725 h 733425"/>
              <a:gd name="connsiteX51" fmla="*/ 1079500 w 2889264"/>
              <a:gd name="connsiteY51" fmla="*/ 200025 h 733425"/>
              <a:gd name="connsiteX52" fmla="*/ 1098550 w 2889264"/>
              <a:gd name="connsiteY52" fmla="*/ 193675 h 733425"/>
              <a:gd name="connsiteX53" fmla="*/ 1111250 w 2889264"/>
              <a:gd name="connsiteY53" fmla="*/ 187325 h 733425"/>
              <a:gd name="connsiteX54" fmla="*/ 1136650 w 2889264"/>
              <a:gd name="connsiteY54" fmla="*/ 177800 h 733425"/>
              <a:gd name="connsiteX55" fmla="*/ 1181100 w 2889264"/>
              <a:gd name="connsiteY55" fmla="*/ 152400 h 733425"/>
              <a:gd name="connsiteX56" fmla="*/ 1203325 w 2889264"/>
              <a:gd name="connsiteY56" fmla="*/ 130175 h 733425"/>
              <a:gd name="connsiteX57" fmla="*/ 1219200 w 2889264"/>
              <a:gd name="connsiteY57" fmla="*/ 117475 h 733425"/>
              <a:gd name="connsiteX58" fmla="*/ 1276350 w 2889264"/>
              <a:gd name="connsiteY58" fmla="*/ 85725 h 733425"/>
              <a:gd name="connsiteX59" fmla="*/ 1289050 w 2889264"/>
              <a:gd name="connsiteY59" fmla="*/ 79375 h 733425"/>
              <a:gd name="connsiteX60" fmla="*/ 1327150 w 2889264"/>
              <a:gd name="connsiteY60" fmla="*/ 66675 h 733425"/>
              <a:gd name="connsiteX61" fmla="*/ 1343025 w 2889264"/>
              <a:gd name="connsiteY61" fmla="*/ 57150 h 733425"/>
              <a:gd name="connsiteX62" fmla="*/ 1355725 w 2889264"/>
              <a:gd name="connsiteY62" fmla="*/ 47625 h 733425"/>
              <a:gd name="connsiteX63" fmla="*/ 1377950 w 2889264"/>
              <a:gd name="connsiteY63" fmla="*/ 38100 h 733425"/>
              <a:gd name="connsiteX64" fmla="*/ 1416050 w 2889264"/>
              <a:gd name="connsiteY64" fmla="*/ 12700 h 733425"/>
              <a:gd name="connsiteX65" fmla="*/ 1428750 w 2889264"/>
              <a:gd name="connsiteY65" fmla="*/ 0 h 733425"/>
              <a:gd name="connsiteX66" fmla="*/ 1470025 w 2889264"/>
              <a:gd name="connsiteY66" fmla="*/ 28575 h 733425"/>
              <a:gd name="connsiteX67" fmla="*/ 1504950 w 2889264"/>
              <a:gd name="connsiteY67" fmla="*/ 41275 h 733425"/>
              <a:gd name="connsiteX68" fmla="*/ 1517650 w 2889264"/>
              <a:gd name="connsiteY68" fmla="*/ 50800 h 733425"/>
              <a:gd name="connsiteX69" fmla="*/ 1549400 w 2889264"/>
              <a:gd name="connsiteY69" fmla="*/ 60325 h 733425"/>
              <a:gd name="connsiteX70" fmla="*/ 1562100 w 2889264"/>
              <a:gd name="connsiteY70" fmla="*/ 69850 h 733425"/>
              <a:gd name="connsiteX71" fmla="*/ 1574800 w 2889264"/>
              <a:gd name="connsiteY71" fmla="*/ 73025 h 733425"/>
              <a:gd name="connsiteX72" fmla="*/ 1590675 w 2889264"/>
              <a:gd name="connsiteY72" fmla="*/ 79375 h 733425"/>
              <a:gd name="connsiteX73" fmla="*/ 1600200 w 2889264"/>
              <a:gd name="connsiteY73" fmla="*/ 85725 h 733425"/>
              <a:gd name="connsiteX74" fmla="*/ 1612900 w 2889264"/>
              <a:gd name="connsiteY74" fmla="*/ 92075 h 733425"/>
              <a:gd name="connsiteX75" fmla="*/ 1625600 w 2889264"/>
              <a:gd name="connsiteY75" fmla="*/ 101600 h 733425"/>
              <a:gd name="connsiteX76" fmla="*/ 1635125 w 2889264"/>
              <a:gd name="connsiteY76" fmla="*/ 104775 h 733425"/>
              <a:gd name="connsiteX77" fmla="*/ 1654175 w 2889264"/>
              <a:gd name="connsiteY77" fmla="*/ 114300 h 733425"/>
              <a:gd name="connsiteX78" fmla="*/ 1676400 w 2889264"/>
              <a:gd name="connsiteY78" fmla="*/ 130175 h 733425"/>
              <a:gd name="connsiteX79" fmla="*/ 1689100 w 2889264"/>
              <a:gd name="connsiteY79" fmla="*/ 136525 h 733425"/>
              <a:gd name="connsiteX80" fmla="*/ 1714500 w 2889264"/>
              <a:gd name="connsiteY80" fmla="*/ 146050 h 733425"/>
              <a:gd name="connsiteX81" fmla="*/ 1727200 w 2889264"/>
              <a:gd name="connsiteY81" fmla="*/ 155575 h 733425"/>
              <a:gd name="connsiteX82" fmla="*/ 1758950 w 2889264"/>
              <a:gd name="connsiteY82" fmla="*/ 165100 h 733425"/>
              <a:gd name="connsiteX83" fmla="*/ 1768475 w 2889264"/>
              <a:gd name="connsiteY83" fmla="*/ 171450 h 733425"/>
              <a:gd name="connsiteX84" fmla="*/ 1781175 w 2889264"/>
              <a:gd name="connsiteY84" fmla="*/ 180975 h 733425"/>
              <a:gd name="connsiteX85" fmla="*/ 1793875 w 2889264"/>
              <a:gd name="connsiteY85" fmla="*/ 187325 h 733425"/>
              <a:gd name="connsiteX86" fmla="*/ 1838325 w 2889264"/>
              <a:gd name="connsiteY86" fmla="*/ 212725 h 733425"/>
              <a:gd name="connsiteX87" fmla="*/ 1847850 w 2889264"/>
              <a:gd name="connsiteY87" fmla="*/ 222250 h 733425"/>
              <a:gd name="connsiteX88" fmla="*/ 1885950 w 2889264"/>
              <a:gd name="connsiteY88" fmla="*/ 241300 h 733425"/>
              <a:gd name="connsiteX89" fmla="*/ 1901825 w 2889264"/>
              <a:gd name="connsiteY89" fmla="*/ 250825 h 733425"/>
              <a:gd name="connsiteX90" fmla="*/ 1933575 w 2889264"/>
              <a:gd name="connsiteY90" fmla="*/ 263525 h 733425"/>
              <a:gd name="connsiteX91" fmla="*/ 1962150 w 2889264"/>
              <a:gd name="connsiteY91" fmla="*/ 276225 h 733425"/>
              <a:gd name="connsiteX92" fmla="*/ 1971675 w 2889264"/>
              <a:gd name="connsiteY92" fmla="*/ 282575 h 733425"/>
              <a:gd name="connsiteX93" fmla="*/ 1987550 w 2889264"/>
              <a:gd name="connsiteY93" fmla="*/ 288925 h 733425"/>
              <a:gd name="connsiteX94" fmla="*/ 2022475 w 2889264"/>
              <a:gd name="connsiteY94" fmla="*/ 301625 h 733425"/>
              <a:gd name="connsiteX95" fmla="*/ 2047875 w 2889264"/>
              <a:gd name="connsiteY95" fmla="*/ 314325 h 733425"/>
              <a:gd name="connsiteX96" fmla="*/ 2063750 w 2889264"/>
              <a:gd name="connsiteY96" fmla="*/ 320675 h 733425"/>
              <a:gd name="connsiteX97" fmla="*/ 2082800 w 2889264"/>
              <a:gd name="connsiteY97" fmla="*/ 330200 h 733425"/>
              <a:gd name="connsiteX98" fmla="*/ 2095500 w 2889264"/>
              <a:gd name="connsiteY98" fmla="*/ 333375 h 733425"/>
              <a:gd name="connsiteX99" fmla="*/ 2124075 w 2889264"/>
              <a:gd name="connsiteY99" fmla="*/ 342900 h 733425"/>
              <a:gd name="connsiteX100" fmla="*/ 2159000 w 2889264"/>
              <a:gd name="connsiteY100" fmla="*/ 358775 h 733425"/>
              <a:gd name="connsiteX101" fmla="*/ 2187575 w 2889264"/>
              <a:gd name="connsiteY101" fmla="*/ 377825 h 733425"/>
              <a:gd name="connsiteX102" fmla="*/ 2209800 w 2889264"/>
              <a:gd name="connsiteY102" fmla="*/ 393700 h 733425"/>
              <a:gd name="connsiteX103" fmla="*/ 2247900 w 2889264"/>
              <a:gd name="connsiteY103" fmla="*/ 419100 h 733425"/>
              <a:gd name="connsiteX104" fmla="*/ 2276475 w 2889264"/>
              <a:gd name="connsiteY104" fmla="*/ 434975 h 733425"/>
              <a:gd name="connsiteX105" fmla="*/ 2289175 w 2889264"/>
              <a:gd name="connsiteY105" fmla="*/ 444500 h 733425"/>
              <a:gd name="connsiteX106" fmla="*/ 2308225 w 2889264"/>
              <a:gd name="connsiteY106" fmla="*/ 447675 h 733425"/>
              <a:gd name="connsiteX107" fmla="*/ 2333625 w 2889264"/>
              <a:gd name="connsiteY107" fmla="*/ 460375 h 733425"/>
              <a:gd name="connsiteX108" fmla="*/ 2352675 w 2889264"/>
              <a:gd name="connsiteY108" fmla="*/ 466725 h 733425"/>
              <a:gd name="connsiteX109" fmla="*/ 2397125 w 2889264"/>
              <a:gd name="connsiteY109" fmla="*/ 488950 h 733425"/>
              <a:gd name="connsiteX110" fmla="*/ 2422525 w 2889264"/>
              <a:gd name="connsiteY110" fmla="*/ 495300 h 733425"/>
              <a:gd name="connsiteX111" fmla="*/ 2432050 w 2889264"/>
              <a:gd name="connsiteY111" fmla="*/ 498475 h 733425"/>
              <a:gd name="connsiteX112" fmla="*/ 2454275 w 2889264"/>
              <a:gd name="connsiteY112" fmla="*/ 511175 h 733425"/>
              <a:gd name="connsiteX113" fmla="*/ 2470150 w 2889264"/>
              <a:gd name="connsiteY113" fmla="*/ 523875 h 733425"/>
              <a:gd name="connsiteX114" fmla="*/ 2495550 w 2889264"/>
              <a:gd name="connsiteY114" fmla="*/ 533400 h 733425"/>
              <a:gd name="connsiteX115" fmla="*/ 2546350 w 2889264"/>
              <a:gd name="connsiteY115" fmla="*/ 558800 h 733425"/>
              <a:gd name="connsiteX116" fmla="*/ 2574925 w 2889264"/>
              <a:gd name="connsiteY116" fmla="*/ 565150 h 733425"/>
              <a:gd name="connsiteX117" fmla="*/ 2600325 w 2889264"/>
              <a:gd name="connsiteY117" fmla="*/ 577850 h 733425"/>
              <a:gd name="connsiteX118" fmla="*/ 2616200 w 2889264"/>
              <a:gd name="connsiteY118" fmla="*/ 581025 h 733425"/>
              <a:gd name="connsiteX119" fmla="*/ 2638425 w 2889264"/>
              <a:gd name="connsiteY119" fmla="*/ 587375 h 733425"/>
              <a:gd name="connsiteX120" fmla="*/ 2654300 w 2889264"/>
              <a:gd name="connsiteY120" fmla="*/ 596900 h 733425"/>
              <a:gd name="connsiteX121" fmla="*/ 2673350 w 2889264"/>
              <a:gd name="connsiteY121" fmla="*/ 603250 h 733425"/>
              <a:gd name="connsiteX122" fmla="*/ 2708275 w 2889264"/>
              <a:gd name="connsiteY122" fmla="*/ 625475 h 733425"/>
              <a:gd name="connsiteX123" fmla="*/ 2730500 w 2889264"/>
              <a:gd name="connsiteY123" fmla="*/ 635000 h 733425"/>
              <a:gd name="connsiteX124" fmla="*/ 2749550 w 2889264"/>
              <a:gd name="connsiteY124" fmla="*/ 650875 h 733425"/>
              <a:gd name="connsiteX125" fmla="*/ 2774950 w 2889264"/>
              <a:gd name="connsiteY125" fmla="*/ 663575 h 733425"/>
              <a:gd name="connsiteX126" fmla="*/ 2803525 w 2889264"/>
              <a:gd name="connsiteY126" fmla="*/ 676275 h 733425"/>
              <a:gd name="connsiteX127" fmla="*/ 2816225 w 2889264"/>
              <a:gd name="connsiteY127" fmla="*/ 685800 h 733425"/>
              <a:gd name="connsiteX128" fmla="*/ 2832100 w 2889264"/>
              <a:gd name="connsiteY128" fmla="*/ 692150 h 733425"/>
              <a:gd name="connsiteX129" fmla="*/ 2876550 w 2889264"/>
              <a:gd name="connsiteY129" fmla="*/ 723900 h 733425"/>
              <a:gd name="connsiteX130" fmla="*/ 2889250 w 2889264"/>
              <a:gd name="connsiteY130" fmla="*/ 733425 h 733425"/>
              <a:gd name="connsiteX0" fmla="*/ 0 w 2889264"/>
              <a:gd name="connsiteY0" fmla="*/ 720725 h 733425"/>
              <a:gd name="connsiteX1" fmla="*/ 34925 w 2889264"/>
              <a:gd name="connsiteY1" fmla="*/ 698500 h 733425"/>
              <a:gd name="connsiteX2" fmla="*/ 50800 w 2889264"/>
              <a:gd name="connsiteY2" fmla="*/ 695325 h 733425"/>
              <a:gd name="connsiteX3" fmla="*/ 63500 w 2889264"/>
              <a:gd name="connsiteY3" fmla="*/ 685800 h 733425"/>
              <a:gd name="connsiteX4" fmla="*/ 111125 w 2889264"/>
              <a:gd name="connsiteY4" fmla="*/ 657225 h 733425"/>
              <a:gd name="connsiteX5" fmla="*/ 127000 w 2889264"/>
              <a:gd name="connsiteY5" fmla="*/ 647700 h 733425"/>
              <a:gd name="connsiteX6" fmla="*/ 136525 w 2889264"/>
              <a:gd name="connsiteY6" fmla="*/ 641350 h 733425"/>
              <a:gd name="connsiteX7" fmla="*/ 146050 w 2889264"/>
              <a:gd name="connsiteY7" fmla="*/ 638175 h 733425"/>
              <a:gd name="connsiteX8" fmla="*/ 171450 w 2889264"/>
              <a:gd name="connsiteY8" fmla="*/ 628650 h 733425"/>
              <a:gd name="connsiteX9" fmla="*/ 203200 w 2889264"/>
              <a:gd name="connsiteY9" fmla="*/ 609600 h 733425"/>
              <a:gd name="connsiteX10" fmla="*/ 222250 w 2889264"/>
              <a:gd name="connsiteY10" fmla="*/ 603250 h 733425"/>
              <a:gd name="connsiteX11" fmla="*/ 247650 w 2889264"/>
              <a:gd name="connsiteY11" fmla="*/ 593725 h 733425"/>
              <a:gd name="connsiteX12" fmla="*/ 260350 w 2889264"/>
              <a:gd name="connsiteY12" fmla="*/ 587375 h 733425"/>
              <a:gd name="connsiteX13" fmla="*/ 285750 w 2889264"/>
              <a:gd name="connsiteY13" fmla="*/ 581025 h 733425"/>
              <a:gd name="connsiteX14" fmla="*/ 317500 w 2889264"/>
              <a:gd name="connsiteY14" fmla="*/ 571500 h 733425"/>
              <a:gd name="connsiteX15" fmla="*/ 352425 w 2889264"/>
              <a:gd name="connsiteY15" fmla="*/ 555625 h 733425"/>
              <a:gd name="connsiteX16" fmla="*/ 381000 w 2889264"/>
              <a:gd name="connsiteY16" fmla="*/ 539750 h 733425"/>
              <a:gd name="connsiteX17" fmla="*/ 390525 w 2889264"/>
              <a:gd name="connsiteY17" fmla="*/ 536575 h 733425"/>
              <a:gd name="connsiteX18" fmla="*/ 406400 w 2889264"/>
              <a:gd name="connsiteY18" fmla="*/ 530225 h 733425"/>
              <a:gd name="connsiteX19" fmla="*/ 434975 w 2889264"/>
              <a:gd name="connsiteY19" fmla="*/ 514350 h 733425"/>
              <a:gd name="connsiteX20" fmla="*/ 454025 w 2889264"/>
              <a:gd name="connsiteY20" fmla="*/ 504825 h 733425"/>
              <a:gd name="connsiteX21" fmla="*/ 463550 w 2889264"/>
              <a:gd name="connsiteY21" fmla="*/ 498475 h 733425"/>
              <a:gd name="connsiteX22" fmla="*/ 476250 w 2889264"/>
              <a:gd name="connsiteY22" fmla="*/ 495300 h 733425"/>
              <a:gd name="connsiteX23" fmla="*/ 492125 w 2889264"/>
              <a:gd name="connsiteY23" fmla="*/ 488950 h 733425"/>
              <a:gd name="connsiteX24" fmla="*/ 501650 w 2889264"/>
              <a:gd name="connsiteY24" fmla="*/ 485775 h 733425"/>
              <a:gd name="connsiteX25" fmla="*/ 523875 w 2889264"/>
              <a:gd name="connsiteY25" fmla="*/ 469900 h 733425"/>
              <a:gd name="connsiteX26" fmla="*/ 552450 w 2889264"/>
              <a:gd name="connsiteY26" fmla="*/ 450850 h 733425"/>
              <a:gd name="connsiteX27" fmla="*/ 568325 w 2889264"/>
              <a:gd name="connsiteY27" fmla="*/ 447675 h 733425"/>
              <a:gd name="connsiteX28" fmla="*/ 584200 w 2889264"/>
              <a:gd name="connsiteY28" fmla="*/ 441325 h 733425"/>
              <a:gd name="connsiteX29" fmla="*/ 593725 w 2889264"/>
              <a:gd name="connsiteY29" fmla="*/ 438150 h 733425"/>
              <a:gd name="connsiteX30" fmla="*/ 612775 w 2889264"/>
              <a:gd name="connsiteY30" fmla="*/ 428625 h 733425"/>
              <a:gd name="connsiteX31" fmla="*/ 628650 w 2889264"/>
              <a:gd name="connsiteY31" fmla="*/ 422275 h 733425"/>
              <a:gd name="connsiteX32" fmla="*/ 641350 w 2889264"/>
              <a:gd name="connsiteY32" fmla="*/ 415925 h 733425"/>
              <a:gd name="connsiteX33" fmla="*/ 657225 w 2889264"/>
              <a:gd name="connsiteY33" fmla="*/ 406400 h 733425"/>
              <a:gd name="connsiteX34" fmla="*/ 676275 w 2889264"/>
              <a:gd name="connsiteY34" fmla="*/ 400050 h 733425"/>
              <a:gd name="connsiteX35" fmla="*/ 708025 w 2889264"/>
              <a:gd name="connsiteY35" fmla="*/ 381000 h 733425"/>
              <a:gd name="connsiteX36" fmla="*/ 736600 w 2889264"/>
              <a:gd name="connsiteY36" fmla="*/ 368300 h 733425"/>
              <a:gd name="connsiteX37" fmla="*/ 742950 w 2889264"/>
              <a:gd name="connsiteY37" fmla="*/ 358775 h 733425"/>
              <a:gd name="connsiteX38" fmla="*/ 790575 w 2889264"/>
              <a:gd name="connsiteY38" fmla="*/ 339725 h 733425"/>
              <a:gd name="connsiteX39" fmla="*/ 800100 w 2889264"/>
              <a:gd name="connsiteY39" fmla="*/ 336550 h 733425"/>
              <a:gd name="connsiteX40" fmla="*/ 812800 w 2889264"/>
              <a:gd name="connsiteY40" fmla="*/ 330200 h 733425"/>
              <a:gd name="connsiteX41" fmla="*/ 828675 w 2889264"/>
              <a:gd name="connsiteY41" fmla="*/ 327025 h 733425"/>
              <a:gd name="connsiteX42" fmla="*/ 898525 w 2889264"/>
              <a:gd name="connsiteY42" fmla="*/ 288925 h 733425"/>
              <a:gd name="connsiteX43" fmla="*/ 923925 w 2889264"/>
              <a:gd name="connsiteY43" fmla="*/ 269875 h 733425"/>
              <a:gd name="connsiteX44" fmla="*/ 933450 w 2889264"/>
              <a:gd name="connsiteY44" fmla="*/ 260350 h 733425"/>
              <a:gd name="connsiteX45" fmla="*/ 958850 w 2889264"/>
              <a:gd name="connsiteY45" fmla="*/ 247650 h 733425"/>
              <a:gd name="connsiteX46" fmla="*/ 968375 w 2889264"/>
              <a:gd name="connsiteY46" fmla="*/ 241300 h 733425"/>
              <a:gd name="connsiteX47" fmla="*/ 984250 w 2889264"/>
              <a:gd name="connsiteY47" fmla="*/ 234950 h 733425"/>
              <a:gd name="connsiteX48" fmla="*/ 1006475 w 2889264"/>
              <a:gd name="connsiteY48" fmla="*/ 225425 h 733425"/>
              <a:gd name="connsiteX49" fmla="*/ 1050925 w 2889264"/>
              <a:gd name="connsiteY49" fmla="*/ 212725 h 733425"/>
              <a:gd name="connsiteX50" fmla="*/ 1079500 w 2889264"/>
              <a:gd name="connsiteY50" fmla="*/ 200025 h 733425"/>
              <a:gd name="connsiteX51" fmla="*/ 1098550 w 2889264"/>
              <a:gd name="connsiteY51" fmla="*/ 193675 h 733425"/>
              <a:gd name="connsiteX52" fmla="*/ 1111250 w 2889264"/>
              <a:gd name="connsiteY52" fmla="*/ 187325 h 733425"/>
              <a:gd name="connsiteX53" fmla="*/ 1136650 w 2889264"/>
              <a:gd name="connsiteY53" fmla="*/ 177800 h 733425"/>
              <a:gd name="connsiteX54" fmla="*/ 1181100 w 2889264"/>
              <a:gd name="connsiteY54" fmla="*/ 152400 h 733425"/>
              <a:gd name="connsiteX55" fmla="*/ 1203325 w 2889264"/>
              <a:gd name="connsiteY55" fmla="*/ 130175 h 733425"/>
              <a:gd name="connsiteX56" fmla="*/ 1219200 w 2889264"/>
              <a:gd name="connsiteY56" fmla="*/ 117475 h 733425"/>
              <a:gd name="connsiteX57" fmla="*/ 1276350 w 2889264"/>
              <a:gd name="connsiteY57" fmla="*/ 85725 h 733425"/>
              <a:gd name="connsiteX58" fmla="*/ 1289050 w 2889264"/>
              <a:gd name="connsiteY58" fmla="*/ 79375 h 733425"/>
              <a:gd name="connsiteX59" fmla="*/ 1327150 w 2889264"/>
              <a:gd name="connsiteY59" fmla="*/ 66675 h 733425"/>
              <a:gd name="connsiteX60" fmla="*/ 1343025 w 2889264"/>
              <a:gd name="connsiteY60" fmla="*/ 57150 h 733425"/>
              <a:gd name="connsiteX61" fmla="*/ 1355725 w 2889264"/>
              <a:gd name="connsiteY61" fmla="*/ 47625 h 733425"/>
              <a:gd name="connsiteX62" fmla="*/ 1377950 w 2889264"/>
              <a:gd name="connsiteY62" fmla="*/ 38100 h 733425"/>
              <a:gd name="connsiteX63" fmla="*/ 1416050 w 2889264"/>
              <a:gd name="connsiteY63" fmla="*/ 12700 h 733425"/>
              <a:gd name="connsiteX64" fmla="*/ 1428750 w 2889264"/>
              <a:gd name="connsiteY64" fmla="*/ 0 h 733425"/>
              <a:gd name="connsiteX65" fmla="*/ 1470025 w 2889264"/>
              <a:gd name="connsiteY65" fmla="*/ 28575 h 733425"/>
              <a:gd name="connsiteX66" fmla="*/ 1504950 w 2889264"/>
              <a:gd name="connsiteY66" fmla="*/ 41275 h 733425"/>
              <a:gd name="connsiteX67" fmla="*/ 1517650 w 2889264"/>
              <a:gd name="connsiteY67" fmla="*/ 50800 h 733425"/>
              <a:gd name="connsiteX68" fmla="*/ 1549400 w 2889264"/>
              <a:gd name="connsiteY68" fmla="*/ 60325 h 733425"/>
              <a:gd name="connsiteX69" fmla="*/ 1562100 w 2889264"/>
              <a:gd name="connsiteY69" fmla="*/ 69850 h 733425"/>
              <a:gd name="connsiteX70" fmla="*/ 1574800 w 2889264"/>
              <a:gd name="connsiteY70" fmla="*/ 73025 h 733425"/>
              <a:gd name="connsiteX71" fmla="*/ 1590675 w 2889264"/>
              <a:gd name="connsiteY71" fmla="*/ 79375 h 733425"/>
              <a:gd name="connsiteX72" fmla="*/ 1600200 w 2889264"/>
              <a:gd name="connsiteY72" fmla="*/ 85725 h 733425"/>
              <a:gd name="connsiteX73" fmla="*/ 1612900 w 2889264"/>
              <a:gd name="connsiteY73" fmla="*/ 92075 h 733425"/>
              <a:gd name="connsiteX74" fmla="*/ 1625600 w 2889264"/>
              <a:gd name="connsiteY74" fmla="*/ 101600 h 733425"/>
              <a:gd name="connsiteX75" fmla="*/ 1635125 w 2889264"/>
              <a:gd name="connsiteY75" fmla="*/ 104775 h 733425"/>
              <a:gd name="connsiteX76" fmla="*/ 1654175 w 2889264"/>
              <a:gd name="connsiteY76" fmla="*/ 114300 h 733425"/>
              <a:gd name="connsiteX77" fmla="*/ 1676400 w 2889264"/>
              <a:gd name="connsiteY77" fmla="*/ 130175 h 733425"/>
              <a:gd name="connsiteX78" fmla="*/ 1689100 w 2889264"/>
              <a:gd name="connsiteY78" fmla="*/ 136525 h 733425"/>
              <a:gd name="connsiteX79" fmla="*/ 1714500 w 2889264"/>
              <a:gd name="connsiteY79" fmla="*/ 146050 h 733425"/>
              <a:gd name="connsiteX80" fmla="*/ 1727200 w 2889264"/>
              <a:gd name="connsiteY80" fmla="*/ 155575 h 733425"/>
              <a:gd name="connsiteX81" fmla="*/ 1758950 w 2889264"/>
              <a:gd name="connsiteY81" fmla="*/ 165100 h 733425"/>
              <a:gd name="connsiteX82" fmla="*/ 1768475 w 2889264"/>
              <a:gd name="connsiteY82" fmla="*/ 171450 h 733425"/>
              <a:gd name="connsiteX83" fmla="*/ 1781175 w 2889264"/>
              <a:gd name="connsiteY83" fmla="*/ 180975 h 733425"/>
              <a:gd name="connsiteX84" fmla="*/ 1793875 w 2889264"/>
              <a:gd name="connsiteY84" fmla="*/ 187325 h 733425"/>
              <a:gd name="connsiteX85" fmla="*/ 1838325 w 2889264"/>
              <a:gd name="connsiteY85" fmla="*/ 212725 h 733425"/>
              <a:gd name="connsiteX86" fmla="*/ 1847850 w 2889264"/>
              <a:gd name="connsiteY86" fmla="*/ 222250 h 733425"/>
              <a:gd name="connsiteX87" fmla="*/ 1885950 w 2889264"/>
              <a:gd name="connsiteY87" fmla="*/ 241300 h 733425"/>
              <a:gd name="connsiteX88" fmla="*/ 1901825 w 2889264"/>
              <a:gd name="connsiteY88" fmla="*/ 250825 h 733425"/>
              <a:gd name="connsiteX89" fmla="*/ 1933575 w 2889264"/>
              <a:gd name="connsiteY89" fmla="*/ 263525 h 733425"/>
              <a:gd name="connsiteX90" fmla="*/ 1962150 w 2889264"/>
              <a:gd name="connsiteY90" fmla="*/ 276225 h 733425"/>
              <a:gd name="connsiteX91" fmla="*/ 1971675 w 2889264"/>
              <a:gd name="connsiteY91" fmla="*/ 282575 h 733425"/>
              <a:gd name="connsiteX92" fmla="*/ 1987550 w 2889264"/>
              <a:gd name="connsiteY92" fmla="*/ 288925 h 733425"/>
              <a:gd name="connsiteX93" fmla="*/ 2022475 w 2889264"/>
              <a:gd name="connsiteY93" fmla="*/ 301625 h 733425"/>
              <a:gd name="connsiteX94" fmla="*/ 2047875 w 2889264"/>
              <a:gd name="connsiteY94" fmla="*/ 314325 h 733425"/>
              <a:gd name="connsiteX95" fmla="*/ 2063750 w 2889264"/>
              <a:gd name="connsiteY95" fmla="*/ 320675 h 733425"/>
              <a:gd name="connsiteX96" fmla="*/ 2082800 w 2889264"/>
              <a:gd name="connsiteY96" fmla="*/ 330200 h 733425"/>
              <a:gd name="connsiteX97" fmla="*/ 2095500 w 2889264"/>
              <a:gd name="connsiteY97" fmla="*/ 333375 h 733425"/>
              <a:gd name="connsiteX98" fmla="*/ 2124075 w 2889264"/>
              <a:gd name="connsiteY98" fmla="*/ 342900 h 733425"/>
              <a:gd name="connsiteX99" fmla="*/ 2159000 w 2889264"/>
              <a:gd name="connsiteY99" fmla="*/ 358775 h 733425"/>
              <a:gd name="connsiteX100" fmla="*/ 2187575 w 2889264"/>
              <a:gd name="connsiteY100" fmla="*/ 377825 h 733425"/>
              <a:gd name="connsiteX101" fmla="*/ 2209800 w 2889264"/>
              <a:gd name="connsiteY101" fmla="*/ 393700 h 733425"/>
              <a:gd name="connsiteX102" fmla="*/ 2247900 w 2889264"/>
              <a:gd name="connsiteY102" fmla="*/ 419100 h 733425"/>
              <a:gd name="connsiteX103" fmla="*/ 2276475 w 2889264"/>
              <a:gd name="connsiteY103" fmla="*/ 434975 h 733425"/>
              <a:gd name="connsiteX104" fmla="*/ 2289175 w 2889264"/>
              <a:gd name="connsiteY104" fmla="*/ 444500 h 733425"/>
              <a:gd name="connsiteX105" fmla="*/ 2308225 w 2889264"/>
              <a:gd name="connsiteY105" fmla="*/ 447675 h 733425"/>
              <a:gd name="connsiteX106" fmla="*/ 2333625 w 2889264"/>
              <a:gd name="connsiteY106" fmla="*/ 460375 h 733425"/>
              <a:gd name="connsiteX107" fmla="*/ 2352675 w 2889264"/>
              <a:gd name="connsiteY107" fmla="*/ 466725 h 733425"/>
              <a:gd name="connsiteX108" fmla="*/ 2397125 w 2889264"/>
              <a:gd name="connsiteY108" fmla="*/ 488950 h 733425"/>
              <a:gd name="connsiteX109" fmla="*/ 2422525 w 2889264"/>
              <a:gd name="connsiteY109" fmla="*/ 495300 h 733425"/>
              <a:gd name="connsiteX110" fmla="*/ 2432050 w 2889264"/>
              <a:gd name="connsiteY110" fmla="*/ 498475 h 733425"/>
              <a:gd name="connsiteX111" fmla="*/ 2454275 w 2889264"/>
              <a:gd name="connsiteY111" fmla="*/ 511175 h 733425"/>
              <a:gd name="connsiteX112" fmla="*/ 2470150 w 2889264"/>
              <a:gd name="connsiteY112" fmla="*/ 523875 h 733425"/>
              <a:gd name="connsiteX113" fmla="*/ 2495550 w 2889264"/>
              <a:gd name="connsiteY113" fmla="*/ 533400 h 733425"/>
              <a:gd name="connsiteX114" fmla="*/ 2546350 w 2889264"/>
              <a:gd name="connsiteY114" fmla="*/ 558800 h 733425"/>
              <a:gd name="connsiteX115" fmla="*/ 2574925 w 2889264"/>
              <a:gd name="connsiteY115" fmla="*/ 565150 h 733425"/>
              <a:gd name="connsiteX116" fmla="*/ 2600325 w 2889264"/>
              <a:gd name="connsiteY116" fmla="*/ 577850 h 733425"/>
              <a:gd name="connsiteX117" fmla="*/ 2616200 w 2889264"/>
              <a:gd name="connsiteY117" fmla="*/ 581025 h 733425"/>
              <a:gd name="connsiteX118" fmla="*/ 2638425 w 2889264"/>
              <a:gd name="connsiteY118" fmla="*/ 587375 h 733425"/>
              <a:gd name="connsiteX119" fmla="*/ 2654300 w 2889264"/>
              <a:gd name="connsiteY119" fmla="*/ 596900 h 733425"/>
              <a:gd name="connsiteX120" fmla="*/ 2673350 w 2889264"/>
              <a:gd name="connsiteY120" fmla="*/ 603250 h 733425"/>
              <a:gd name="connsiteX121" fmla="*/ 2708275 w 2889264"/>
              <a:gd name="connsiteY121" fmla="*/ 625475 h 733425"/>
              <a:gd name="connsiteX122" fmla="*/ 2730500 w 2889264"/>
              <a:gd name="connsiteY122" fmla="*/ 635000 h 733425"/>
              <a:gd name="connsiteX123" fmla="*/ 2749550 w 2889264"/>
              <a:gd name="connsiteY123" fmla="*/ 650875 h 733425"/>
              <a:gd name="connsiteX124" fmla="*/ 2774950 w 2889264"/>
              <a:gd name="connsiteY124" fmla="*/ 663575 h 733425"/>
              <a:gd name="connsiteX125" fmla="*/ 2803525 w 2889264"/>
              <a:gd name="connsiteY125" fmla="*/ 676275 h 733425"/>
              <a:gd name="connsiteX126" fmla="*/ 2816225 w 2889264"/>
              <a:gd name="connsiteY126" fmla="*/ 685800 h 733425"/>
              <a:gd name="connsiteX127" fmla="*/ 2832100 w 2889264"/>
              <a:gd name="connsiteY127" fmla="*/ 692150 h 733425"/>
              <a:gd name="connsiteX128" fmla="*/ 2876550 w 2889264"/>
              <a:gd name="connsiteY128" fmla="*/ 723900 h 733425"/>
              <a:gd name="connsiteX129" fmla="*/ 2889250 w 2889264"/>
              <a:gd name="connsiteY129" fmla="*/ 733425 h 733425"/>
              <a:gd name="connsiteX0" fmla="*/ 0 w 2889264"/>
              <a:gd name="connsiteY0" fmla="*/ 720725 h 733425"/>
              <a:gd name="connsiteX1" fmla="*/ 34925 w 2889264"/>
              <a:gd name="connsiteY1" fmla="*/ 698500 h 733425"/>
              <a:gd name="connsiteX2" fmla="*/ 50800 w 2889264"/>
              <a:gd name="connsiteY2" fmla="*/ 695325 h 733425"/>
              <a:gd name="connsiteX3" fmla="*/ 111125 w 2889264"/>
              <a:gd name="connsiteY3" fmla="*/ 657225 h 733425"/>
              <a:gd name="connsiteX4" fmla="*/ 127000 w 2889264"/>
              <a:gd name="connsiteY4" fmla="*/ 647700 h 733425"/>
              <a:gd name="connsiteX5" fmla="*/ 136525 w 2889264"/>
              <a:gd name="connsiteY5" fmla="*/ 641350 h 733425"/>
              <a:gd name="connsiteX6" fmla="*/ 146050 w 2889264"/>
              <a:gd name="connsiteY6" fmla="*/ 638175 h 733425"/>
              <a:gd name="connsiteX7" fmla="*/ 171450 w 2889264"/>
              <a:gd name="connsiteY7" fmla="*/ 628650 h 733425"/>
              <a:gd name="connsiteX8" fmla="*/ 203200 w 2889264"/>
              <a:gd name="connsiteY8" fmla="*/ 609600 h 733425"/>
              <a:gd name="connsiteX9" fmla="*/ 222250 w 2889264"/>
              <a:gd name="connsiteY9" fmla="*/ 603250 h 733425"/>
              <a:gd name="connsiteX10" fmla="*/ 247650 w 2889264"/>
              <a:gd name="connsiteY10" fmla="*/ 593725 h 733425"/>
              <a:gd name="connsiteX11" fmla="*/ 260350 w 2889264"/>
              <a:gd name="connsiteY11" fmla="*/ 587375 h 733425"/>
              <a:gd name="connsiteX12" fmla="*/ 285750 w 2889264"/>
              <a:gd name="connsiteY12" fmla="*/ 581025 h 733425"/>
              <a:gd name="connsiteX13" fmla="*/ 317500 w 2889264"/>
              <a:gd name="connsiteY13" fmla="*/ 571500 h 733425"/>
              <a:gd name="connsiteX14" fmla="*/ 352425 w 2889264"/>
              <a:gd name="connsiteY14" fmla="*/ 555625 h 733425"/>
              <a:gd name="connsiteX15" fmla="*/ 381000 w 2889264"/>
              <a:gd name="connsiteY15" fmla="*/ 539750 h 733425"/>
              <a:gd name="connsiteX16" fmla="*/ 390525 w 2889264"/>
              <a:gd name="connsiteY16" fmla="*/ 536575 h 733425"/>
              <a:gd name="connsiteX17" fmla="*/ 406400 w 2889264"/>
              <a:gd name="connsiteY17" fmla="*/ 530225 h 733425"/>
              <a:gd name="connsiteX18" fmla="*/ 434975 w 2889264"/>
              <a:gd name="connsiteY18" fmla="*/ 514350 h 733425"/>
              <a:gd name="connsiteX19" fmla="*/ 454025 w 2889264"/>
              <a:gd name="connsiteY19" fmla="*/ 504825 h 733425"/>
              <a:gd name="connsiteX20" fmla="*/ 463550 w 2889264"/>
              <a:gd name="connsiteY20" fmla="*/ 498475 h 733425"/>
              <a:gd name="connsiteX21" fmla="*/ 476250 w 2889264"/>
              <a:gd name="connsiteY21" fmla="*/ 495300 h 733425"/>
              <a:gd name="connsiteX22" fmla="*/ 492125 w 2889264"/>
              <a:gd name="connsiteY22" fmla="*/ 488950 h 733425"/>
              <a:gd name="connsiteX23" fmla="*/ 501650 w 2889264"/>
              <a:gd name="connsiteY23" fmla="*/ 485775 h 733425"/>
              <a:gd name="connsiteX24" fmla="*/ 523875 w 2889264"/>
              <a:gd name="connsiteY24" fmla="*/ 469900 h 733425"/>
              <a:gd name="connsiteX25" fmla="*/ 552450 w 2889264"/>
              <a:gd name="connsiteY25" fmla="*/ 450850 h 733425"/>
              <a:gd name="connsiteX26" fmla="*/ 568325 w 2889264"/>
              <a:gd name="connsiteY26" fmla="*/ 447675 h 733425"/>
              <a:gd name="connsiteX27" fmla="*/ 584200 w 2889264"/>
              <a:gd name="connsiteY27" fmla="*/ 441325 h 733425"/>
              <a:gd name="connsiteX28" fmla="*/ 593725 w 2889264"/>
              <a:gd name="connsiteY28" fmla="*/ 438150 h 733425"/>
              <a:gd name="connsiteX29" fmla="*/ 612775 w 2889264"/>
              <a:gd name="connsiteY29" fmla="*/ 428625 h 733425"/>
              <a:gd name="connsiteX30" fmla="*/ 628650 w 2889264"/>
              <a:gd name="connsiteY30" fmla="*/ 422275 h 733425"/>
              <a:gd name="connsiteX31" fmla="*/ 641350 w 2889264"/>
              <a:gd name="connsiteY31" fmla="*/ 415925 h 733425"/>
              <a:gd name="connsiteX32" fmla="*/ 657225 w 2889264"/>
              <a:gd name="connsiteY32" fmla="*/ 406400 h 733425"/>
              <a:gd name="connsiteX33" fmla="*/ 676275 w 2889264"/>
              <a:gd name="connsiteY33" fmla="*/ 400050 h 733425"/>
              <a:gd name="connsiteX34" fmla="*/ 708025 w 2889264"/>
              <a:gd name="connsiteY34" fmla="*/ 381000 h 733425"/>
              <a:gd name="connsiteX35" fmla="*/ 736600 w 2889264"/>
              <a:gd name="connsiteY35" fmla="*/ 368300 h 733425"/>
              <a:gd name="connsiteX36" fmla="*/ 742950 w 2889264"/>
              <a:gd name="connsiteY36" fmla="*/ 358775 h 733425"/>
              <a:gd name="connsiteX37" fmla="*/ 790575 w 2889264"/>
              <a:gd name="connsiteY37" fmla="*/ 339725 h 733425"/>
              <a:gd name="connsiteX38" fmla="*/ 800100 w 2889264"/>
              <a:gd name="connsiteY38" fmla="*/ 336550 h 733425"/>
              <a:gd name="connsiteX39" fmla="*/ 812800 w 2889264"/>
              <a:gd name="connsiteY39" fmla="*/ 330200 h 733425"/>
              <a:gd name="connsiteX40" fmla="*/ 828675 w 2889264"/>
              <a:gd name="connsiteY40" fmla="*/ 327025 h 733425"/>
              <a:gd name="connsiteX41" fmla="*/ 898525 w 2889264"/>
              <a:gd name="connsiteY41" fmla="*/ 288925 h 733425"/>
              <a:gd name="connsiteX42" fmla="*/ 923925 w 2889264"/>
              <a:gd name="connsiteY42" fmla="*/ 269875 h 733425"/>
              <a:gd name="connsiteX43" fmla="*/ 933450 w 2889264"/>
              <a:gd name="connsiteY43" fmla="*/ 260350 h 733425"/>
              <a:gd name="connsiteX44" fmla="*/ 958850 w 2889264"/>
              <a:gd name="connsiteY44" fmla="*/ 247650 h 733425"/>
              <a:gd name="connsiteX45" fmla="*/ 968375 w 2889264"/>
              <a:gd name="connsiteY45" fmla="*/ 241300 h 733425"/>
              <a:gd name="connsiteX46" fmla="*/ 984250 w 2889264"/>
              <a:gd name="connsiteY46" fmla="*/ 234950 h 733425"/>
              <a:gd name="connsiteX47" fmla="*/ 1006475 w 2889264"/>
              <a:gd name="connsiteY47" fmla="*/ 225425 h 733425"/>
              <a:gd name="connsiteX48" fmla="*/ 1050925 w 2889264"/>
              <a:gd name="connsiteY48" fmla="*/ 212725 h 733425"/>
              <a:gd name="connsiteX49" fmla="*/ 1079500 w 2889264"/>
              <a:gd name="connsiteY49" fmla="*/ 200025 h 733425"/>
              <a:gd name="connsiteX50" fmla="*/ 1098550 w 2889264"/>
              <a:gd name="connsiteY50" fmla="*/ 193675 h 733425"/>
              <a:gd name="connsiteX51" fmla="*/ 1111250 w 2889264"/>
              <a:gd name="connsiteY51" fmla="*/ 187325 h 733425"/>
              <a:gd name="connsiteX52" fmla="*/ 1136650 w 2889264"/>
              <a:gd name="connsiteY52" fmla="*/ 177800 h 733425"/>
              <a:gd name="connsiteX53" fmla="*/ 1181100 w 2889264"/>
              <a:gd name="connsiteY53" fmla="*/ 152400 h 733425"/>
              <a:gd name="connsiteX54" fmla="*/ 1203325 w 2889264"/>
              <a:gd name="connsiteY54" fmla="*/ 130175 h 733425"/>
              <a:gd name="connsiteX55" fmla="*/ 1219200 w 2889264"/>
              <a:gd name="connsiteY55" fmla="*/ 117475 h 733425"/>
              <a:gd name="connsiteX56" fmla="*/ 1276350 w 2889264"/>
              <a:gd name="connsiteY56" fmla="*/ 85725 h 733425"/>
              <a:gd name="connsiteX57" fmla="*/ 1289050 w 2889264"/>
              <a:gd name="connsiteY57" fmla="*/ 79375 h 733425"/>
              <a:gd name="connsiteX58" fmla="*/ 1327150 w 2889264"/>
              <a:gd name="connsiteY58" fmla="*/ 66675 h 733425"/>
              <a:gd name="connsiteX59" fmla="*/ 1343025 w 2889264"/>
              <a:gd name="connsiteY59" fmla="*/ 57150 h 733425"/>
              <a:gd name="connsiteX60" fmla="*/ 1355725 w 2889264"/>
              <a:gd name="connsiteY60" fmla="*/ 47625 h 733425"/>
              <a:gd name="connsiteX61" fmla="*/ 1377950 w 2889264"/>
              <a:gd name="connsiteY61" fmla="*/ 38100 h 733425"/>
              <a:gd name="connsiteX62" fmla="*/ 1416050 w 2889264"/>
              <a:gd name="connsiteY62" fmla="*/ 12700 h 733425"/>
              <a:gd name="connsiteX63" fmla="*/ 1428750 w 2889264"/>
              <a:gd name="connsiteY63" fmla="*/ 0 h 733425"/>
              <a:gd name="connsiteX64" fmla="*/ 1470025 w 2889264"/>
              <a:gd name="connsiteY64" fmla="*/ 28575 h 733425"/>
              <a:gd name="connsiteX65" fmla="*/ 1504950 w 2889264"/>
              <a:gd name="connsiteY65" fmla="*/ 41275 h 733425"/>
              <a:gd name="connsiteX66" fmla="*/ 1517650 w 2889264"/>
              <a:gd name="connsiteY66" fmla="*/ 50800 h 733425"/>
              <a:gd name="connsiteX67" fmla="*/ 1549400 w 2889264"/>
              <a:gd name="connsiteY67" fmla="*/ 60325 h 733425"/>
              <a:gd name="connsiteX68" fmla="*/ 1562100 w 2889264"/>
              <a:gd name="connsiteY68" fmla="*/ 69850 h 733425"/>
              <a:gd name="connsiteX69" fmla="*/ 1574800 w 2889264"/>
              <a:gd name="connsiteY69" fmla="*/ 73025 h 733425"/>
              <a:gd name="connsiteX70" fmla="*/ 1590675 w 2889264"/>
              <a:gd name="connsiteY70" fmla="*/ 79375 h 733425"/>
              <a:gd name="connsiteX71" fmla="*/ 1600200 w 2889264"/>
              <a:gd name="connsiteY71" fmla="*/ 85725 h 733425"/>
              <a:gd name="connsiteX72" fmla="*/ 1612900 w 2889264"/>
              <a:gd name="connsiteY72" fmla="*/ 92075 h 733425"/>
              <a:gd name="connsiteX73" fmla="*/ 1625600 w 2889264"/>
              <a:gd name="connsiteY73" fmla="*/ 101600 h 733425"/>
              <a:gd name="connsiteX74" fmla="*/ 1635125 w 2889264"/>
              <a:gd name="connsiteY74" fmla="*/ 104775 h 733425"/>
              <a:gd name="connsiteX75" fmla="*/ 1654175 w 2889264"/>
              <a:gd name="connsiteY75" fmla="*/ 114300 h 733425"/>
              <a:gd name="connsiteX76" fmla="*/ 1676400 w 2889264"/>
              <a:gd name="connsiteY76" fmla="*/ 130175 h 733425"/>
              <a:gd name="connsiteX77" fmla="*/ 1689100 w 2889264"/>
              <a:gd name="connsiteY77" fmla="*/ 136525 h 733425"/>
              <a:gd name="connsiteX78" fmla="*/ 1714500 w 2889264"/>
              <a:gd name="connsiteY78" fmla="*/ 146050 h 733425"/>
              <a:gd name="connsiteX79" fmla="*/ 1727200 w 2889264"/>
              <a:gd name="connsiteY79" fmla="*/ 155575 h 733425"/>
              <a:gd name="connsiteX80" fmla="*/ 1758950 w 2889264"/>
              <a:gd name="connsiteY80" fmla="*/ 165100 h 733425"/>
              <a:gd name="connsiteX81" fmla="*/ 1768475 w 2889264"/>
              <a:gd name="connsiteY81" fmla="*/ 171450 h 733425"/>
              <a:gd name="connsiteX82" fmla="*/ 1781175 w 2889264"/>
              <a:gd name="connsiteY82" fmla="*/ 180975 h 733425"/>
              <a:gd name="connsiteX83" fmla="*/ 1793875 w 2889264"/>
              <a:gd name="connsiteY83" fmla="*/ 187325 h 733425"/>
              <a:gd name="connsiteX84" fmla="*/ 1838325 w 2889264"/>
              <a:gd name="connsiteY84" fmla="*/ 212725 h 733425"/>
              <a:gd name="connsiteX85" fmla="*/ 1847850 w 2889264"/>
              <a:gd name="connsiteY85" fmla="*/ 222250 h 733425"/>
              <a:gd name="connsiteX86" fmla="*/ 1885950 w 2889264"/>
              <a:gd name="connsiteY86" fmla="*/ 241300 h 733425"/>
              <a:gd name="connsiteX87" fmla="*/ 1901825 w 2889264"/>
              <a:gd name="connsiteY87" fmla="*/ 250825 h 733425"/>
              <a:gd name="connsiteX88" fmla="*/ 1933575 w 2889264"/>
              <a:gd name="connsiteY88" fmla="*/ 263525 h 733425"/>
              <a:gd name="connsiteX89" fmla="*/ 1962150 w 2889264"/>
              <a:gd name="connsiteY89" fmla="*/ 276225 h 733425"/>
              <a:gd name="connsiteX90" fmla="*/ 1971675 w 2889264"/>
              <a:gd name="connsiteY90" fmla="*/ 282575 h 733425"/>
              <a:gd name="connsiteX91" fmla="*/ 1987550 w 2889264"/>
              <a:gd name="connsiteY91" fmla="*/ 288925 h 733425"/>
              <a:gd name="connsiteX92" fmla="*/ 2022475 w 2889264"/>
              <a:gd name="connsiteY92" fmla="*/ 301625 h 733425"/>
              <a:gd name="connsiteX93" fmla="*/ 2047875 w 2889264"/>
              <a:gd name="connsiteY93" fmla="*/ 314325 h 733425"/>
              <a:gd name="connsiteX94" fmla="*/ 2063750 w 2889264"/>
              <a:gd name="connsiteY94" fmla="*/ 320675 h 733425"/>
              <a:gd name="connsiteX95" fmla="*/ 2082800 w 2889264"/>
              <a:gd name="connsiteY95" fmla="*/ 330200 h 733425"/>
              <a:gd name="connsiteX96" fmla="*/ 2095500 w 2889264"/>
              <a:gd name="connsiteY96" fmla="*/ 333375 h 733425"/>
              <a:gd name="connsiteX97" fmla="*/ 2124075 w 2889264"/>
              <a:gd name="connsiteY97" fmla="*/ 342900 h 733425"/>
              <a:gd name="connsiteX98" fmla="*/ 2159000 w 2889264"/>
              <a:gd name="connsiteY98" fmla="*/ 358775 h 733425"/>
              <a:gd name="connsiteX99" fmla="*/ 2187575 w 2889264"/>
              <a:gd name="connsiteY99" fmla="*/ 377825 h 733425"/>
              <a:gd name="connsiteX100" fmla="*/ 2209800 w 2889264"/>
              <a:gd name="connsiteY100" fmla="*/ 393700 h 733425"/>
              <a:gd name="connsiteX101" fmla="*/ 2247900 w 2889264"/>
              <a:gd name="connsiteY101" fmla="*/ 419100 h 733425"/>
              <a:gd name="connsiteX102" fmla="*/ 2276475 w 2889264"/>
              <a:gd name="connsiteY102" fmla="*/ 434975 h 733425"/>
              <a:gd name="connsiteX103" fmla="*/ 2289175 w 2889264"/>
              <a:gd name="connsiteY103" fmla="*/ 444500 h 733425"/>
              <a:gd name="connsiteX104" fmla="*/ 2308225 w 2889264"/>
              <a:gd name="connsiteY104" fmla="*/ 447675 h 733425"/>
              <a:gd name="connsiteX105" fmla="*/ 2333625 w 2889264"/>
              <a:gd name="connsiteY105" fmla="*/ 460375 h 733425"/>
              <a:gd name="connsiteX106" fmla="*/ 2352675 w 2889264"/>
              <a:gd name="connsiteY106" fmla="*/ 466725 h 733425"/>
              <a:gd name="connsiteX107" fmla="*/ 2397125 w 2889264"/>
              <a:gd name="connsiteY107" fmla="*/ 488950 h 733425"/>
              <a:gd name="connsiteX108" fmla="*/ 2422525 w 2889264"/>
              <a:gd name="connsiteY108" fmla="*/ 495300 h 733425"/>
              <a:gd name="connsiteX109" fmla="*/ 2432050 w 2889264"/>
              <a:gd name="connsiteY109" fmla="*/ 498475 h 733425"/>
              <a:gd name="connsiteX110" fmla="*/ 2454275 w 2889264"/>
              <a:gd name="connsiteY110" fmla="*/ 511175 h 733425"/>
              <a:gd name="connsiteX111" fmla="*/ 2470150 w 2889264"/>
              <a:gd name="connsiteY111" fmla="*/ 523875 h 733425"/>
              <a:gd name="connsiteX112" fmla="*/ 2495550 w 2889264"/>
              <a:gd name="connsiteY112" fmla="*/ 533400 h 733425"/>
              <a:gd name="connsiteX113" fmla="*/ 2546350 w 2889264"/>
              <a:gd name="connsiteY113" fmla="*/ 558800 h 733425"/>
              <a:gd name="connsiteX114" fmla="*/ 2574925 w 2889264"/>
              <a:gd name="connsiteY114" fmla="*/ 565150 h 733425"/>
              <a:gd name="connsiteX115" fmla="*/ 2600325 w 2889264"/>
              <a:gd name="connsiteY115" fmla="*/ 577850 h 733425"/>
              <a:gd name="connsiteX116" fmla="*/ 2616200 w 2889264"/>
              <a:gd name="connsiteY116" fmla="*/ 581025 h 733425"/>
              <a:gd name="connsiteX117" fmla="*/ 2638425 w 2889264"/>
              <a:gd name="connsiteY117" fmla="*/ 587375 h 733425"/>
              <a:gd name="connsiteX118" fmla="*/ 2654300 w 2889264"/>
              <a:gd name="connsiteY118" fmla="*/ 596900 h 733425"/>
              <a:gd name="connsiteX119" fmla="*/ 2673350 w 2889264"/>
              <a:gd name="connsiteY119" fmla="*/ 603250 h 733425"/>
              <a:gd name="connsiteX120" fmla="*/ 2708275 w 2889264"/>
              <a:gd name="connsiteY120" fmla="*/ 625475 h 733425"/>
              <a:gd name="connsiteX121" fmla="*/ 2730500 w 2889264"/>
              <a:gd name="connsiteY121" fmla="*/ 635000 h 733425"/>
              <a:gd name="connsiteX122" fmla="*/ 2749550 w 2889264"/>
              <a:gd name="connsiteY122" fmla="*/ 650875 h 733425"/>
              <a:gd name="connsiteX123" fmla="*/ 2774950 w 2889264"/>
              <a:gd name="connsiteY123" fmla="*/ 663575 h 733425"/>
              <a:gd name="connsiteX124" fmla="*/ 2803525 w 2889264"/>
              <a:gd name="connsiteY124" fmla="*/ 676275 h 733425"/>
              <a:gd name="connsiteX125" fmla="*/ 2816225 w 2889264"/>
              <a:gd name="connsiteY125" fmla="*/ 685800 h 733425"/>
              <a:gd name="connsiteX126" fmla="*/ 2832100 w 2889264"/>
              <a:gd name="connsiteY126" fmla="*/ 692150 h 733425"/>
              <a:gd name="connsiteX127" fmla="*/ 2876550 w 2889264"/>
              <a:gd name="connsiteY127" fmla="*/ 723900 h 733425"/>
              <a:gd name="connsiteX128" fmla="*/ 2889250 w 2889264"/>
              <a:gd name="connsiteY128" fmla="*/ 733425 h 733425"/>
              <a:gd name="connsiteX0" fmla="*/ 0 w 2889264"/>
              <a:gd name="connsiteY0" fmla="*/ 720725 h 733425"/>
              <a:gd name="connsiteX1" fmla="*/ 34925 w 2889264"/>
              <a:gd name="connsiteY1" fmla="*/ 698500 h 733425"/>
              <a:gd name="connsiteX2" fmla="*/ 50800 w 2889264"/>
              <a:gd name="connsiteY2" fmla="*/ 695325 h 733425"/>
              <a:gd name="connsiteX3" fmla="*/ 111125 w 2889264"/>
              <a:gd name="connsiteY3" fmla="*/ 657225 h 733425"/>
              <a:gd name="connsiteX4" fmla="*/ 127000 w 2889264"/>
              <a:gd name="connsiteY4" fmla="*/ 647700 h 733425"/>
              <a:gd name="connsiteX5" fmla="*/ 136525 w 2889264"/>
              <a:gd name="connsiteY5" fmla="*/ 641350 h 733425"/>
              <a:gd name="connsiteX6" fmla="*/ 171450 w 2889264"/>
              <a:gd name="connsiteY6" fmla="*/ 628650 h 733425"/>
              <a:gd name="connsiteX7" fmla="*/ 203200 w 2889264"/>
              <a:gd name="connsiteY7" fmla="*/ 609600 h 733425"/>
              <a:gd name="connsiteX8" fmla="*/ 222250 w 2889264"/>
              <a:gd name="connsiteY8" fmla="*/ 603250 h 733425"/>
              <a:gd name="connsiteX9" fmla="*/ 247650 w 2889264"/>
              <a:gd name="connsiteY9" fmla="*/ 593725 h 733425"/>
              <a:gd name="connsiteX10" fmla="*/ 260350 w 2889264"/>
              <a:gd name="connsiteY10" fmla="*/ 587375 h 733425"/>
              <a:gd name="connsiteX11" fmla="*/ 285750 w 2889264"/>
              <a:gd name="connsiteY11" fmla="*/ 581025 h 733425"/>
              <a:gd name="connsiteX12" fmla="*/ 317500 w 2889264"/>
              <a:gd name="connsiteY12" fmla="*/ 571500 h 733425"/>
              <a:gd name="connsiteX13" fmla="*/ 352425 w 2889264"/>
              <a:gd name="connsiteY13" fmla="*/ 555625 h 733425"/>
              <a:gd name="connsiteX14" fmla="*/ 381000 w 2889264"/>
              <a:gd name="connsiteY14" fmla="*/ 539750 h 733425"/>
              <a:gd name="connsiteX15" fmla="*/ 390525 w 2889264"/>
              <a:gd name="connsiteY15" fmla="*/ 536575 h 733425"/>
              <a:gd name="connsiteX16" fmla="*/ 406400 w 2889264"/>
              <a:gd name="connsiteY16" fmla="*/ 530225 h 733425"/>
              <a:gd name="connsiteX17" fmla="*/ 434975 w 2889264"/>
              <a:gd name="connsiteY17" fmla="*/ 514350 h 733425"/>
              <a:gd name="connsiteX18" fmla="*/ 454025 w 2889264"/>
              <a:gd name="connsiteY18" fmla="*/ 504825 h 733425"/>
              <a:gd name="connsiteX19" fmla="*/ 463550 w 2889264"/>
              <a:gd name="connsiteY19" fmla="*/ 498475 h 733425"/>
              <a:gd name="connsiteX20" fmla="*/ 476250 w 2889264"/>
              <a:gd name="connsiteY20" fmla="*/ 495300 h 733425"/>
              <a:gd name="connsiteX21" fmla="*/ 492125 w 2889264"/>
              <a:gd name="connsiteY21" fmla="*/ 488950 h 733425"/>
              <a:gd name="connsiteX22" fmla="*/ 501650 w 2889264"/>
              <a:gd name="connsiteY22" fmla="*/ 485775 h 733425"/>
              <a:gd name="connsiteX23" fmla="*/ 523875 w 2889264"/>
              <a:gd name="connsiteY23" fmla="*/ 469900 h 733425"/>
              <a:gd name="connsiteX24" fmla="*/ 552450 w 2889264"/>
              <a:gd name="connsiteY24" fmla="*/ 450850 h 733425"/>
              <a:gd name="connsiteX25" fmla="*/ 568325 w 2889264"/>
              <a:gd name="connsiteY25" fmla="*/ 447675 h 733425"/>
              <a:gd name="connsiteX26" fmla="*/ 584200 w 2889264"/>
              <a:gd name="connsiteY26" fmla="*/ 441325 h 733425"/>
              <a:gd name="connsiteX27" fmla="*/ 593725 w 2889264"/>
              <a:gd name="connsiteY27" fmla="*/ 438150 h 733425"/>
              <a:gd name="connsiteX28" fmla="*/ 612775 w 2889264"/>
              <a:gd name="connsiteY28" fmla="*/ 428625 h 733425"/>
              <a:gd name="connsiteX29" fmla="*/ 628650 w 2889264"/>
              <a:gd name="connsiteY29" fmla="*/ 422275 h 733425"/>
              <a:gd name="connsiteX30" fmla="*/ 641350 w 2889264"/>
              <a:gd name="connsiteY30" fmla="*/ 415925 h 733425"/>
              <a:gd name="connsiteX31" fmla="*/ 657225 w 2889264"/>
              <a:gd name="connsiteY31" fmla="*/ 406400 h 733425"/>
              <a:gd name="connsiteX32" fmla="*/ 676275 w 2889264"/>
              <a:gd name="connsiteY32" fmla="*/ 400050 h 733425"/>
              <a:gd name="connsiteX33" fmla="*/ 708025 w 2889264"/>
              <a:gd name="connsiteY33" fmla="*/ 381000 h 733425"/>
              <a:gd name="connsiteX34" fmla="*/ 736600 w 2889264"/>
              <a:gd name="connsiteY34" fmla="*/ 368300 h 733425"/>
              <a:gd name="connsiteX35" fmla="*/ 742950 w 2889264"/>
              <a:gd name="connsiteY35" fmla="*/ 358775 h 733425"/>
              <a:gd name="connsiteX36" fmla="*/ 790575 w 2889264"/>
              <a:gd name="connsiteY36" fmla="*/ 339725 h 733425"/>
              <a:gd name="connsiteX37" fmla="*/ 800100 w 2889264"/>
              <a:gd name="connsiteY37" fmla="*/ 336550 h 733425"/>
              <a:gd name="connsiteX38" fmla="*/ 812800 w 2889264"/>
              <a:gd name="connsiteY38" fmla="*/ 330200 h 733425"/>
              <a:gd name="connsiteX39" fmla="*/ 828675 w 2889264"/>
              <a:gd name="connsiteY39" fmla="*/ 327025 h 733425"/>
              <a:gd name="connsiteX40" fmla="*/ 898525 w 2889264"/>
              <a:gd name="connsiteY40" fmla="*/ 288925 h 733425"/>
              <a:gd name="connsiteX41" fmla="*/ 923925 w 2889264"/>
              <a:gd name="connsiteY41" fmla="*/ 269875 h 733425"/>
              <a:gd name="connsiteX42" fmla="*/ 933450 w 2889264"/>
              <a:gd name="connsiteY42" fmla="*/ 260350 h 733425"/>
              <a:gd name="connsiteX43" fmla="*/ 958850 w 2889264"/>
              <a:gd name="connsiteY43" fmla="*/ 247650 h 733425"/>
              <a:gd name="connsiteX44" fmla="*/ 968375 w 2889264"/>
              <a:gd name="connsiteY44" fmla="*/ 241300 h 733425"/>
              <a:gd name="connsiteX45" fmla="*/ 984250 w 2889264"/>
              <a:gd name="connsiteY45" fmla="*/ 234950 h 733425"/>
              <a:gd name="connsiteX46" fmla="*/ 1006475 w 2889264"/>
              <a:gd name="connsiteY46" fmla="*/ 225425 h 733425"/>
              <a:gd name="connsiteX47" fmla="*/ 1050925 w 2889264"/>
              <a:gd name="connsiteY47" fmla="*/ 212725 h 733425"/>
              <a:gd name="connsiteX48" fmla="*/ 1079500 w 2889264"/>
              <a:gd name="connsiteY48" fmla="*/ 200025 h 733425"/>
              <a:gd name="connsiteX49" fmla="*/ 1098550 w 2889264"/>
              <a:gd name="connsiteY49" fmla="*/ 193675 h 733425"/>
              <a:gd name="connsiteX50" fmla="*/ 1111250 w 2889264"/>
              <a:gd name="connsiteY50" fmla="*/ 187325 h 733425"/>
              <a:gd name="connsiteX51" fmla="*/ 1136650 w 2889264"/>
              <a:gd name="connsiteY51" fmla="*/ 177800 h 733425"/>
              <a:gd name="connsiteX52" fmla="*/ 1181100 w 2889264"/>
              <a:gd name="connsiteY52" fmla="*/ 152400 h 733425"/>
              <a:gd name="connsiteX53" fmla="*/ 1203325 w 2889264"/>
              <a:gd name="connsiteY53" fmla="*/ 130175 h 733425"/>
              <a:gd name="connsiteX54" fmla="*/ 1219200 w 2889264"/>
              <a:gd name="connsiteY54" fmla="*/ 117475 h 733425"/>
              <a:gd name="connsiteX55" fmla="*/ 1276350 w 2889264"/>
              <a:gd name="connsiteY55" fmla="*/ 85725 h 733425"/>
              <a:gd name="connsiteX56" fmla="*/ 1289050 w 2889264"/>
              <a:gd name="connsiteY56" fmla="*/ 79375 h 733425"/>
              <a:gd name="connsiteX57" fmla="*/ 1327150 w 2889264"/>
              <a:gd name="connsiteY57" fmla="*/ 66675 h 733425"/>
              <a:gd name="connsiteX58" fmla="*/ 1343025 w 2889264"/>
              <a:gd name="connsiteY58" fmla="*/ 57150 h 733425"/>
              <a:gd name="connsiteX59" fmla="*/ 1355725 w 2889264"/>
              <a:gd name="connsiteY59" fmla="*/ 47625 h 733425"/>
              <a:gd name="connsiteX60" fmla="*/ 1377950 w 2889264"/>
              <a:gd name="connsiteY60" fmla="*/ 38100 h 733425"/>
              <a:gd name="connsiteX61" fmla="*/ 1416050 w 2889264"/>
              <a:gd name="connsiteY61" fmla="*/ 12700 h 733425"/>
              <a:gd name="connsiteX62" fmla="*/ 1428750 w 2889264"/>
              <a:gd name="connsiteY62" fmla="*/ 0 h 733425"/>
              <a:gd name="connsiteX63" fmla="*/ 1470025 w 2889264"/>
              <a:gd name="connsiteY63" fmla="*/ 28575 h 733425"/>
              <a:gd name="connsiteX64" fmla="*/ 1504950 w 2889264"/>
              <a:gd name="connsiteY64" fmla="*/ 41275 h 733425"/>
              <a:gd name="connsiteX65" fmla="*/ 1517650 w 2889264"/>
              <a:gd name="connsiteY65" fmla="*/ 50800 h 733425"/>
              <a:gd name="connsiteX66" fmla="*/ 1549400 w 2889264"/>
              <a:gd name="connsiteY66" fmla="*/ 60325 h 733425"/>
              <a:gd name="connsiteX67" fmla="*/ 1562100 w 2889264"/>
              <a:gd name="connsiteY67" fmla="*/ 69850 h 733425"/>
              <a:gd name="connsiteX68" fmla="*/ 1574800 w 2889264"/>
              <a:gd name="connsiteY68" fmla="*/ 73025 h 733425"/>
              <a:gd name="connsiteX69" fmla="*/ 1590675 w 2889264"/>
              <a:gd name="connsiteY69" fmla="*/ 79375 h 733425"/>
              <a:gd name="connsiteX70" fmla="*/ 1600200 w 2889264"/>
              <a:gd name="connsiteY70" fmla="*/ 85725 h 733425"/>
              <a:gd name="connsiteX71" fmla="*/ 1612900 w 2889264"/>
              <a:gd name="connsiteY71" fmla="*/ 92075 h 733425"/>
              <a:gd name="connsiteX72" fmla="*/ 1625600 w 2889264"/>
              <a:gd name="connsiteY72" fmla="*/ 101600 h 733425"/>
              <a:gd name="connsiteX73" fmla="*/ 1635125 w 2889264"/>
              <a:gd name="connsiteY73" fmla="*/ 104775 h 733425"/>
              <a:gd name="connsiteX74" fmla="*/ 1654175 w 2889264"/>
              <a:gd name="connsiteY74" fmla="*/ 114300 h 733425"/>
              <a:gd name="connsiteX75" fmla="*/ 1676400 w 2889264"/>
              <a:gd name="connsiteY75" fmla="*/ 130175 h 733425"/>
              <a:gd name="connsiteX76" fmla="*/ 1689100 w 2889264"/>
              <a:gd name="connsiteY76" fmla="*/ 136525 h 733425"/>
              <a:gd name="connsiteX77" fmla="*/ 1714500 w 2889264"/>
              <a:gd name="connsiteY77" fmla="*/ 146050 h 733425"/>
              <a:gd name="connsiteX78" fmla="*/ 1727200 w 2889264"/>
              <a:gd name="connsiteY78" fmla="*/ 155575 h 733425"/>
              <a:gd name="connsiteX79" fmla="*/ 1758950 w 2889264"/>
              <a:gd name="connsiteY79" fmla="*/ 165100 h 733425"/>
              <a:gd name="connsiteX80" fmla="*/ 1768475 w 2889264"/>
              <a:gd name="connsiteY80" fmla="*/ 171450 h 733425"/>
              <a:gd name="connsiteX81" fmla="*/ 1781175 w 2889264"/>
              <a:gd name="connsiteY81" fmla="*/ 180975 h 733425"/>
              <a:gd name="connsiteX82" fmla="*/ 1793875 w 2889264"/>
              <a:gd name="connsiteY82" fmla="*/ 187325 h 733425"/>
              <a:gd name="connsiteX83" fmla="*/ 1838325 w 2889264"/>
              <a:gd name="connsiteY83" fmla="*/ 212725 h 733425"/>
              <a:gd name="connsiteX84" fmla="*/ 1847850 w 2889264"/>
              <a:gd name="connsiteY84" fmla="*/ 222250 h 733425"/>
              <a:gd name="connsiteX85" fmla="*/ 1885950 w 2889264"/>
              <a:gd name="connsiteY85" fmla="*/ 241300 h 733425"/>
              <a:gd name="connsiteX86" fmla="*/ 1901825 w 2889264"/>
              <a:gd name="connsiteY86" fmla="*/ 250825 h 733425"/>
              <a:gd name="connsiteX87" fmla="*/ 1933575 w 2889264"/>
              <a:gd name="connsiteY87" fmla="*/ 263525 h 733425"/>
              <a:gd name="connsiteX88" fmla="*/ 1962150 w 2889264"/>
              <a:gd name="connsiteY88" fmla="*/ 276225 h 733425"/>
              <a:gd name="connsiteX89" fmla="*/ 1971675 w 2889264"/>
              <a:gd name="connsiteY89" fmla="*/ 282575 h 733425"/>
              <a:gd name="connsiteX90" fmla="*/ 1987550 w 2889264"/>
              <a:gd name="connsiteY90" fmla="*/ 288925 h 733425"/>
              <a:gd name="connsiteX91" fmla="*/ 2022475 w 2889264"/>
              <a:gd name="connsiteY91" fmla="*/ 301625 h 733425"/>
              <a:gd name="connsiteX92" fmla="*/ 2047875 w 2889264"/>
              <a:gd name="connsiteY92" fmla="*/ 314325 h 733425"/>
              <a:gd name="connsiteX93" fmla="*/ 2063750 w 2889264"/>
              <a:gd name="connsiteY93" fmla="*/ 320675 h 733425"/>
              <a:gd name="connsiteX94" fmla="*/ 2082800 w 2889264"/>
              <a:gd name="connsiteY94" fmla="*/ 330200 h 733425"/>
              <a:gd name="connsiteX95" fmla="*/ 2095500 w 2889264"/>
              <a:gd name="connsiteY95" fmla="*/ 333375 h 733425"/>
              <a:gd name="connsiteX96" fmla="*/ 2124075 w 2889264"/>
              <a:gd name="connsiteY96" fmla="*/ 342900 h 733425"/>
              <a:gd name="connsiteX97" fmla="*/ 2159000 w 2889264"/>
              <a:gd name="connsiteY97" fmla="*/ 358775 h 733425"/>
              <a:gd name="connsiteX98" fmla="*/ 2187575 w 2889264"/>
              <a:gd name="connsiteY98" fmla="*/ 377825 h 733425"/>
              <a:gd name="connsiteX99" fmla="*/ 2209800 w 2889264"/>
              <a:gd name="connsiteY99" fmla="*/ 393700 h 733425"/>
              <a:gd name="connsiteX100" fmla="*/ 2247900 w 2889264"/>
              <a:gd name="connsiteY100" fmla="*/ 419100 h 733425"/>
              <a:gd name="connsiteX101" fmla="*/ 2276475 w 2889264"/>
              <a:gd name="connsiteY101" fmla="*/ 434975 h 733425"/>
              <a:gd name="connsiteX102" fmla="*/ 2289175 w 2889264"/>
              <a:gd name="connsiteY102" fmla="*/ 444500 h 733425"/>
              <a:gd name="connsiteX103" fmla="*/ 2308225 w 2889264"/>
              <a:gd name="connsiteY103" fmla="*/ 447675 h 733425"/>
              <a:gd name="connsiteX104" fmla="*/ 2333625 w 2889264"/>
              <a:gd name="connsiteY104" fmla="*/ 460375 h 733425"/>
              <a:gd name="connsiteX105" fmla="*/ 2352675 w 2889264"/>
              <a:gd name="connsiteY105" fmla="*/ 466725 h 733425"/>
              <a:gd name="connsiteX106" fmla="*/ 2397125 w 2889264"/>
              <a:gd name="connsiteY106" fmla="*/ 488950 h 733425"/>
              <a:gd name="connsiteX107" fmla="*/ 2422525 w 2889264"/>
              <a:gd name="connsiteY107" fmla="*/ 495300 h 733425"/>
              <a:gd name="connsiteX108" fmla="*/ 2432050 w 2889264"/>
              <a:gd name="connsiteY108" fmla="*/ 498475 h 733425"/>
              <a:gd name="connsiteX109" fmla="*/ 2454275 w 2889264"/>
              <a:gd name="connsiteY109" fmla="*/ 511175 h 733425"/>
              <a:gd name="connsiteX110" fmla="*/ 2470150 w 2889264"/>
              <a:gd name="connsiteY110" fmla="*/ 523875 h 733425"/>
              <a:gd name="connsiteX111" fmla="*/ 2495550 w 2889264"/>
              <a:gd name="connsiteY111" fmla="*/ 533400 h 733425"/>
              <a:gd name="connsiteX112" fmla="*/ 2546350 w 2889264"/>
              <a:gd name="connsiteY112" fmla="*/ 558800 h 733425"/>
              <a:gd name="connsiteX113" fmla="*/ 2574925 w 2889264"/>
              <a:gd name="connsiteY113" fmla="*/ 565150 h 733425"/>
              <a:gd name="connsiteX114" fmla="*/ 2600325 w 2889264"/>
              <a:gd name="connsiteY114" fmla="*/ 577850 h 733425"/>
              <a:gd name="connsiteX115" fmla="*/ 2616200 w 2889264"/>
              <a:gd name="connsiteY115" fmla="*/ 581025 h 733425"/>
              <a:gd name="connsiteX116" fmla="*/ 2638425 w 2889264"/>
              <a:gd name="connsiteY116" fmla="*/ 587375 h 733425"/>
              <a:gd name="connsiteX117" fmla="*/ 2654300 w 2889264"/>
              <a:gd name="connsiteY117" fmla="*/ 596900 h 733425"/>
              <a:gd name="connsiteX118" fmla="*/ 2673350 w 2889264"/>
              <a:gd name="connsiteY118" fmla="*/ 603250 h 733425"/>
              <a:gd name="connsiteX119" fmla="*/ 2708275 w 2889264"/>
              <a:gd name="connsiteY119" fmla="*/ 625475 h 733425"/>
              <a:gd name="connsiteX120" fmla="*/ 2730500 w 2889264"/>
              <a:gd name="connsiteY120" fmla="*/ 635000 h 733425"/>
              <a:gd name="connsiteX121" fmla="*/ 2749550 w 2889264"/>
              <a:gd name="connsiteY121" fmla="*/ 650875 h 733425"/>
              <a:gd name="connsiteX122" fmla="*/ 2774950 w 2889264"/>
              <a:gd name="connsiteY122" fmla="*/ 663575 h 733425"/>
              <a:gd name="connsiteX123" fmla="*/ 2803525 w 2889264"/>
              <a:gd name="connsiteY123" fmla="*/ 676275 h 733425"/>
              <a:gd name="connsiteX124" fmla="*/ 2816225 w 2889264"/>
              <a:gd name="connsiteY124" fmla="*/ 685800 h 733425"/>
              <a:gd name="connsiteX125" fmla="*/ 2832100 w 2889264"/>
              <a:gd name="connsiteY125" fmla="*/ 692150 h 733425"/>
              <a:gd name="connsiteX126" fmla="*/ 2876550 w 2889264"/>
              <a:gd name="connsiteY126" fmla="*/ 723900 h 733425"/>
              <a:gd name="connsiteX127" fmla="*/ 2889250 w 2889264"/>
              <a:gd name="connsiteY127" fmla="*/ 733425 h 733425"/>
              <a:gd name="connsiteX0" fmla="*/ 0 w 2889264"/>
              <a:gd name="connsiteY0" fmla="*/ 720725 h 733425"/>
              <a:gd name="connsiteX1" fmla="*/ 34925 w 2889264"/>
              <a:gd name="connsiteY1" fmla="*/ 698500 h 733425"/>
              <a:gd name="connsiteX2" fmla="*/ 50800 w 2889264"/>
              <a:gd name="connsiteY2" fmla="*/ 695325 h 733425"/>
              <a:gd name="connsiteX3" fmla="*/ 111125 w 2889264"/>
              <a:gd name="connsiteY3" fmla="*/ 657225 h 733425"/>
              <a:gd name="connsiteX4" fmla="*/ 127000 w 2889264"/>
              <a:gd name="connsiteY4" fmla="*/ 647700 h 733425"/>
              <a:gd name="connsiteX5" fmla="*/ 136525 w 2889264"/>
              <a:gd name="connsiteY5" fmla="*/ 641350 h 733425"/>
              <a:gd name="connsiteX6" fmla="*/ 171450 w 2889264"/>
              <a:gd name="connsiteY6" fmla="*/ 628650 h 733425"/>
              <a:gd name="connsiteX7" fmla="*/ 203200 w 2889264"/>
              <a:gd name="connsiteY7" fmla="*/ 609600 h 733425"/>
              <a:gd name="connsiteX8" fmla="*/ 247650 w 2889264"/>
              <a:gd name="connsiteY8" fmla="*/ 593725 h 733425"/>
              <a:gd name="connsiteX9" fmla="*/ 260350 w 2889264"/>
              <a:gd name="connsiteY9" fmla="*/ 587375 h 733425"/>
              <a:gd name="connsiteX10" fmla="*/ 285750 w 2889264"/>
              <a:gd name="connsiteY10" fmla="*/ 581025 h 733425"/>
              <a:gd name="connsiteX11" fmla="*/ 317500 w 2889264"/>
              <a:gd name="connsiteY11" fmla="*/ 571500 h 733425"/>
              <a:gd name="connsiteX12" fmla="*/ 352425 w 2889264"/>
              <a:gd name="connsiteY12" fmla="*/ 555625 h 733425"/>
              <a:gd name="connsiteX13" fmla="*/ 381000 w 2889264"/>
              <a:gd name="connsiteY13" fmla="*/ 539750 h 733425"/>
              <a:gd name="connsiteX14" fmla="*/ 390525 w 2889264"/>
              <a:gd name="connsiteY14" fmla="*/ 536575 h 733425"/>
              <a:gd name="connsiteX15" fmla="*/ 406400 w 2889264"/>
              <a:gd name="connsiteY15" fmla="*/ 530225 h 733425"/>
              <a:gd name="connsiteX16" fmla="*/ 434975 w 2889264"/>
              <a:gd name="connsiteY16" fmla="*/ 514350 h 733425"/>
              <a:gd name="connsiteX17" fmla="*/ 454025 w 2889264"/>
              <a:gd name="connsiteY17" fmla="*/ 504825 h 733425"/>
              <a:gd name="connsiteX18" fmla="*/ 463550 w 2889264"/>
              <a:gd name="connsiteY18" fmla="*/ 498475 h 733425"/>
              <a:gd name="connsiteX19" fmla="*/ 476250 w 2889264"/>
              <a:gd name="connsiteY19" fmla="*/ 495300 h 733425"/>
              <a:gd name="connsiteX20" fmla="*/ 492125 w 2889264"/>
              <a:gd name="connsiteY20" fmla="*/ 488950 h 733425"/>
              <a:gd name="connsiteX21" fmla="*/ 501650 w 2889264"/>
              <a:gd name="connsiteY21" fmla="*/ 485775 h 733425"/>
              <a:gd name="connsiteX22" fmla="*/ 523875 w 2889264"/>
              <a:gd name="connsiteY22" fmla="*/ 469900 h 733425"/>
              <a:gd name="connsiteX23" fmla="*/ 552450 w 2889264"/>
              <a:gd name="connsiteY23" fmla="*/ 450850 h 733425"/>
              <a:gd name="connsiteX24" fmla="*/ 568325 w 2889264"/>
              <a:gd name="connsiteY24" fmla="*/ 447675 h 733425"/>
              <a:gd name="connsiteX25" fmla="*/ 584200 w 2889264"/>
              <a:gd name="connsiteY25" fmla="*/ 441325 h 733425"/>
              <a:gd name="connsiteX26" fmla="*/ 593725 w 2889264"/>
              <a:gd name="connsiteY26" fmla="*/ 438150 h 733425"/>
              <a:gd name="connsiteX27" fmla="*/ 612775 w 2889264"/>
              <a:gd name="connsiteY27" fmla="*/ 428625 h 733425"/>
              <a:gd name="connsiteX28" fmla="*/ 628650 w 2889264"/>
              <a:gd name="connsiteY28" fmla="*/ 422275 h 733425"/>
              <a:gd name="connsiteX29" fmla="*/ 641350 w 2889264"/>
              <a:gd name="connsiteY29" fmla="*/ 415925 h 733425"/>
              <a:gd name="connsiteX30" fmla="*/ 657225 w 2889264"/>
              <a:gd name="connsiteY30" fmla="*/ 406400 h 733425"/>
              <a:gd name="connsiteX31" fmla="*/ 676275 w 2889264"/>
              <a:gd name="connsiteY31" fmla="*/ 400050 h 733425"/>
              <a:gd name="connsiteX32" fmla="*/ 708025 w 2889264"/>
              <a:gd name="connsiteY32" fmla="*/ 381000 h 733425"/>
              <a:gd name="connsiteX33" fmla="*/ 736600 w 2889264"/>
              <a:gd name="connsiteY33" fmla="*/ 368300 h 733425"/>
              <a:gd name="connsiteX34" fmla="*/ 742950 w 2889264"/>
              <a:gd name="connsiteY34" fmla="*/ 358775 h 733425"/>
              <a:gd name="connsiteX35" fmla="*/ 790575 w 2889264"/>
              <a:gd name="connsiteY35" fmla="*/ 339725 h 733425"/>
              <a:gd name="connsiteX36" fmla="*/ 800100 w 2889264"/>
              <a:gd name="connsiteY36" fmla="*/ 336550 h 733425"/>
              <a:gd name="connsiteX37" fmla="*/ 812800 w 2889264"/>
              <a:gd name="connsiteY37" fmla="*/ 330200 h 733425"/>
              <a:gd name="connsiteX38" fmla="*/ 828675 w 2889264"/>
              <a:gd name="connsiteY38" fmla="*/ 327025 h 733425"/>
              <a:gd name="connsiteX39" fmla="*/ 898525 w 2889264"/>
              <a:gd name="connsiteY39" fmla="*/ 288925 h 733425"/>
              <a:gd name="connsiteX40" fmla="*/ 923925 w 2889264"/>
              <a:gd name="connsiteY40" fmla="*/ 269875 h 733425"/>
              <a:gd name="connsiteX41" fmla="*/ 933450 w 2889264"/>
              <a:gd name="connsiteY41" fmla="*/ 260350 h 733425"/>
              <a:gd name="connsiteX42" fmla="*/ 958850 w 2889264"/>
              <a:gd name="connsiteY42" fmla="*/ 247650 h 733425"/>
              <a:gd name="connsiteX43" fmla="*/ 968375 w 2889264"/>
              <a:gd name="connsiteY43" fmla="*/ 241300 h 733425"/>
              <a:gd name="connsiteX44" fmla="*/ 984250 w 2889264"/>
              <a:gd name="connsiteY44" fmla="*/ 234950 h 733425"/>
              <a:gd name="connsiteX45" fmla="*/ 1006475 w 2889264"/>
              <a:gd name="connsiteY45" fmla="*/ 225425 h 733425"/>
              <a:gd name="connsiteX46" fmla="*/ 1050925 w 2889264"/>
              <a:gd name="connsiteY46" fmla="*/ 212725 h 733425"/>
              <a:gd name="connsiteX47" fmla="*/ 1079500 w 2889264"/>
              <a:gd name="connsiteY47" fmla="*/ 200025 h 733425"/>
              <a:gd name="connsiteX48" fmla="*/ 1098550 w 2889264"/>
              <a:gd name="connsiteY48" fmla="*/ 193675 h 733425"/>
              <a:gd name="connsiteX49" fmla="*/ 1111250 w 2889264"/>
              <a:gd name="connsiteY49" fmla="*/ 187325 h 733425"/>
              <a:gd name="connsiteX50" fmla="*/ 1136650 w 2889264"/>
              <a:gd name="connsiteY50" fmla="*/ 177800 h 733425"/>
              <a:gd name="connsiteX51" fmla="*/ 1181100 w 2889264"/>
              <a:gd name="connsiteY51" fmla="*/ 152400 h 733425"/>
              <a:gd name="connsiteX52" fmla="*/ 1203325 w 2889264"/>
              <a:gd name="connsiteY52" fmla="*/ 130175 h 733425"/>
              <a:gd name="connsiteX53" fmla="*/ 1219200 w 2889264"/>
              <a:gd name="connsiteY53" fmla="*/ 117475 h 733425"/>
              <a:gd name="connsiteX54" fmla="*/ 1276350 w 2889264"/>
              <a:gd name="connsiteY54" fmla="*/ 85725 h 733425"/>
              <a:gd name="connsiteX55" fmla="*/ 1289050 w 2889264"/>
              <a:gd name="connsiteY55" fmla="*/ 79375 h 733425"/>
              <a:gd name="connsiteX56" fmla="*/ 1327150 w 2889264"/>
              <a:gd name="connsiteY56" fmla="*/ 66675 h 733425"/>
              <a:gd name="connsiteX57" fmla="*/ 1343025 w 2889264"/>
              <a:gd name="connsiteY57" fmla="*/ 57150 h 733425"/>
              <a:gd name="connsiteX58" fmla="*/ 1355725 w 2889264"/>
              <a:gd name="connsiteY58" fmla="*/ 47625 h 733425"/>
              <a:gd name="connsiteX59" fmla="*/ 1377950 w 2889264"/>
              <a:gd name="connsiteY59" fmla="*/ 38100 h 733425"/>
              <a:gd name="connsiteX60" fmla="*/ 1416050 w 2889264"/>
              <a:gd name="connsiteY60" fmla="*/ 12700 h 733425"/>
              <a:gd name="connsiteX61" fmla="*/ 1428750 w 2889264"/>
              <a:gd name="connsiteY61" fmla="*/ 0 h 733425"/>
              <a:gd name="connsiteX62" fmla="*/ 1470025 w 2889264"/>
              <a:gd name="connsiteY62" fmla="*/ 28575 h 733425"/>
              <a:gd name="connsiteX63" fmla="*/ 1504950 w 2889264"/>
              <a:gd name="connsiteY63" fmla="*/ 41275 h 733425"/>
              <a:gd name="connsiteX64" fmla="*/ 1517650 w 2889264"/>
              <a:gd name="connsiteY64" fmla="*/ 50800 h 733425"/>
              <a:gd name="connsiteX65" fmla="*/ 1549400 w 2889264"/>
              <a:gd name="connsiteY65" fmla="*/ 60325 h 733425"/>
              <a:gd name="connsiteX66" fmla="*/ 1562100 w 2889264"/>
              <a:gd name="connsiteY66" fmla="*/ 69850 h 733425"/>
              <a:gd name="connsiteX67" fmla="*/ 1574800 w 2889264"/>
              <a:gd name="connsiteY67" fmla="*/ 73025 h 733425"/>
              <a:gd name="connsiteX68" fmla="*/ 1590675 w 2889264"/>
              <a:gd name="connsiteY68" fmla="*/ 79375 h 733425"/>
              <a:gd name="connsiteX69" fmla="*/ 1600200 w 2889264"/>
              <a:gd name="connsiteY69" fmla="*/ 85725 h 733425"/>
              <a:gd name="connsiteX70" fmla="*/ 1612900 w 2889264"/>
              <a:gd name="connsiteY70" fmla="*/ 92075 h 733425"/>
              <a:gd name="connsiteX71" fmla="*/ 1625600 w 2889264"/>
              <a:gd name="connsiteY71" fmla="*/ 101600 h 733425"/>
              <a:gd name="connsiteX72" fmla="*/ 1635125 w 2889264"/>
              <a:gd name="connsiteY72" fmla="*/ 104775 h 733425"/>
              <a:gd name="connsiteX73" fmla="*/ 1654175 w 2889264"/>
              <a:gd name="connsiteY73" fmla="*/ 114300 h 733425"/>
              <a:gd name="connsiteX74" fmla="*/ 1676400 w 2889264"/>
              <a:gd name="connsiteY74" fmla="*/ 130175 h 733425"/>
              <a:gd name="connsiteX75" fmla="*/ 1689100 w 2889264"/>
              <a:gd name="connsiteY75" fmla="*/ 136525 h 733425"/>
              <a:gd name="connsiteX76" fmla="*/ 1714500 w 2889264"/>
              <a:gd name="connsiteY76" fmla="*/ 146050 h 733425"/>
              <a:gd name="connsiteX77" fmla="*/ 1727200 w 2889264"/>
              <a:gd name="connsiteY77" fmla="*/ 155575 h 733425"/>
              <a:gd name="connsiteX78" fmla="*/ 1758950 w 2889264"/>
              <a:gd name="connsiteY78" fmla="*/ 165100 h 733425"/>
              <a:gd name="connsiteX79" fmla="*/ 1768475 w 2889264"/>
              <a:gd name="connsiteY79" fmla="*/ 171450 h 733425"/>
              <a:gd name="connsiteX80" fmla="*/ 1781175 w 2889264"/>
              <a:gd name="connsiteY80" fmla="*/ 180975 h 733425"/>
              <a:gd name="connsiteX81" fmla="*/ 1793875 w 2889264"/>
              <a:gd name="connsiteY81" fmla="*/ 187325 h 733425"/>
              <a:gd name="connsiteX82" fmla="*/ 1838325 w 2889264"/>
              <a:gd name="connsiteY82" fmla="*/ 212725 h 733425"/>
              <a:gd name="connsiteX83" fmla="*/ 1847850 w 2889264"/>
              <a:gd name="connsiteY83" fmla="*/ 222250 h 733425"/>
              <a:gd name="connsiteX84" fmla="*/ 1885950 w 2889264"/>
              <a:gd name="connsiteY84" fmla="*/ 241300 h 733425"/>
              <a:gd name="connsiteX85" fmla="*/ 1901825 w 2889264"/>
              <a:gd name="connsiteY85" fmla="*/ 250825 h 733425"/>
              <a:gd name="connsiteX86" fmla="*/ 1933575 w 2889264"/>
              <a:gd name="connsiteY86" fmla="*/ 263525 h 733425"/>
              <a:gd name="connsiteX87" fmla="*/ 1962150 w 2889264"/>
              <a:gd name="connsiteY87" fmla="*/ 276225 h 733425"/>
              <a:gd name="connsiteX88" fmla="*/ 1971675 w 2889264"/>
              <a:gd name="connsiteY88" fmla="*/ 282575 h 733425"/>
              <a:gd name="connsiteX89" fmla="*/ 1987550 w 2889264"/>
              <a:gd name="connsiteY89" fmla="*/ 288925 h 733425"/>
              <a:gd name="connsiteX90" fmla="*/ 2022475 w 2889264"/>
              <a:gd name="connsiteY90" fmla="*/ 301625 h 733425"/>
              <a:gd name="connsiteX91" fmla="*/ 2047875 w 2889264"/>
              <a:gd name="connsiteY91" fmla="*/ 314325 h 733425"/>
              <a:gd name="connsiteX92" fmla="*/ 2063750 w 2889264"/>
              <a:gd name="connsiteY92" fmla="*/ 320675 h 733425"/>
              <a:gd name="connsiteX93" fmla="*/ 2082800 w 2889264"/>
              <a:gd name="connsiteY93" fmla="*/ 330200 h 733425"/>
              <a:gd name="connsiteX94" fmla="*/ 2095500 w 2889264"/>
              <a:gd name="connsiteY94" fmla="*/ 333375 h 733425"/>
              <a:gd name="connsiteX95" fmla="*/ 2124075 w 2889264"/>
              <a:gd name="connsiteY95" fmla="*/ 342900 h 733425"/>
              <a:gd name="connsiteX96" fmla="*/ 2159000 w 2889264"/>
              <a:gd name="connsiteY96" fmla="*/ 358775 h 733425"/>
              <a:gd name="connsiteX97" fmla="*/ 2187575 w 2889264"/>
              <a:gd name="connsiteY97" fmla="*/ 377825 h 733425"/>
              <a:gd name="connsiteX98" fmla="*/ 2209800 w 2889264"/>
              <a:gd name="connsiteY98" fmla="*/ 393700 h 733425"/>
              <a:gd name="connsiteX99" fmla="*/ 2247900 w 2889264"/>
              <a:gd name="connsiteY99" fmla="*/ 419100 h 733425"/>
              <a:gd name="connsiteX100" fmla="*/ 2276475 w 2889264"/>
              <a:gd name="connsiteY100" fmla="*/ 434975 h 733425"/>
              <a:gd name="connsiteX101" fmla="*/ 2289175 w 2889264"/>
              <a:gd name="connsiteY101" fmla="*/ 444500 h 733425"/>
              <a:gd name="connsiteX102" fmla="*/ 2308225 w 2889264"/>
              <a:gd name="connsiteY102" fmla="*/ 447675 h 733425"/>
              <a:gd name="connsiteX103" fmla="*/ 2333625 w 2889264"/>
              <a:gd name="connsiteY103" fmla="*/ 460375 h 733425"/>
              <a:gd name="connsiteX104" fmla="*/ 2352675 w 2889264"/>
              <a:gd name="connsiteY104" fmla="*/ 466725 h 733425"/>
              <a:gd name="connsiteX105" fmla="*/ 2397125 w 2889264"/>
              <a:gd name="connsiteY105" fmla="*/ 488950 h 733425"/>
              <a:gd name="connsiteX106" fmla="*/ 2422525 w 2889264"/>
              <a:gd name="connsiteY106" fmla="*/ 495300 h 733425"/>
              <a:gd name="connsiteX107" fmla="*/ 2432050 w 2889264"/>
              <a:gd name="connsiteY107" fmla="*/ 498475 h 733425"/>
              <a:gd name="connsiteX108" fmla="*/ 2454275 w 2889264"/>
              <a:gd name="connsiteY108" fmla="*/ 511175 h 733425"/>
              <a:gd name="connsiteX109" fmla="*/ 2470150 w 2889264"/>
              <a:gd name="connsiteY109" fmla="*/ 523875 h 733425"/>
              <a:gd name="connsiteX110" fmla="*/ 2495550 w 2889264"/>
              <a:gd name="connsiteY110" fmla="*/ 533400 h 733425"/>
              <a:gd name="connsiteX111" fmla="*/ 2546350 w 2889264"/>
              <a:gd name="connsiteY111" fmla="*/ 558800 h 733425"/>
              <a:gd name="connsiteX112" fmla="*/ 2574925 w 2889264"/>
              <a:gd name="connsiteY112" fmla="*/ 565150 h 733425"/>
              <a:gd name="connsiteX113" fmla="*/ 2600325 w 2889264"/>
              <a:gd name="connsiteY113" fmla="*/ 577850 h 733425"/>
              <a:gd name="connsiteX114" fmla="*/ 2616200 w 2889264"/>
              <a:gd name="connsiteY114" fmla="*/ 581025 h 733425"/>
              <a:gd name="connsiteX115" fmla="*/ 2638425 w 2889264"/>
              <a:gd name="connsiteY115" fmla="*/ 587375 h 733425"/>
              <a:gd name="connsiteX116" fmla="*/ 2654300 w 2889264"/>
              <a:gd name="connsiteY116" fmla="*/ 596900 h 733425"/>
              <a:gd name="connsiteX117" fmla="*/ 2673350 w 2889264"/>
              <a:gd name="connsiteY117" fmla="*/ 603250 h 733425"/>
              <a:gd name="connsiteX118" fmla="*/ 2708275 w 2889264"/>
              <a:gd name="connsiteY118" fmla="*/ 625475 h 733425"/>
              <a:gd name="connsiteX119" fmla="*/ 2730500 w 2889264"/>
              <a:gd name="connsiteY119" fmla="*/ 635000 h 733425"/>
              <a:gd name="connsiteX120" fmla="*/ 2749550 w 2889264"/>
              <a:gd name="connsiteY120" fmla="*/ 650875 h 733425"/>
              <a:gd name="connsiteX121" fmla="*/ 2774950 w 2889264"/>
              <a:gd name="connsiteY121" fmla="*/ 663575 h 733425"/>
              <a:gd name="connsiteX122" fmla="*/ 2803525 w 2889264"/>
              <a:gd name="connsiteY122" fmla="*/ 676275 h 733425"/>
              <a:gd name="connsiteX123" fmla="*/ 2816225 w 2889264"/>
              <a:gd name="connsiteY123" fmla="*/ 685800 h 733425"/>
              <a:gd name="connsiteX124" fmla="*/ 2832100 w 2889264"/>
              <a:gd name="connsiteY124" fmla="*/ 692150 h 733425"/>
              <a:gd name="connsiteX125" fmla="*/ 2876550 w 2889264"/>
              <a:gd name="connsiteY125" fmla="*/ 723900 h 733425"/>
              <a:gd name="connsiteX126" fmla="*/ 2889250 w 2889264"/>
              <a:gd name="connsiteY126" fmla="*/ 733425 h 733425"/>
              <a:gd name="connsiteX0" fmla="*/ 0 w 2889264"/>
              <a:gd name="connsiteY0" fmla="*/ 720725 h 733425"/>
              <a:gd name="connsiteX1" fmla="*/ 34925 w 2889264"/>
              <a:gd name="connsiteY1" fmla="*/ 698500 h 733425"/>
              <a:gd name="connsiteX2" fmla="*/ 50800 w 2889264"/>
              <a:gd name="connsiteY2" fmla="*/ 695325 h 733425"/>
              <a:gd name="connsiteX3" fmla="*/ 111125 w 2889264"/>
              <a:gd name="connsiteY3" fmla="*/ 657225 h 733425"/>
              <a:gd name="connsiteX4" fmla="*/ 127000 w 2889264"/>
              <a:gd name="connsiteY4" fmla="*/ 647700 h 733425"/>
              <a:gd name="connsiteX5" fmla="*/ 136525 w 2889264"/>
              <a:gd name="connsiteY5" fmla="*/ 641350 h 733425"/>
              <a:gd name="connsiteX6" fmla="*/ 171450 w 2889264"/>
              <a:gd name="connsiteY6" fmla="*/ 628650 h 733425"/>
              <a:gd name="connsiteX7" fmla="*/ 203200 w 2889264"/>
              <a:gd name="connsiteY7" fmla="*/ 609600 h 733425"/>
              <a:gd name="connsiteX8" fmla="*/ 247650 w 2889264"/>
              <a:gd name="connsiteY8" fmla="*/ 593725 h 733425"/>
              <a:gd name="connsiteX9" fmla="*/ 285750 w 2889264"/>
              <a:gd name="connsiteY9" fmla="*/ 581025 h 733425"/>
              <a:gd name="connsiteX10" fmla="*/ 317500 w 2889264"/>
              <a:gd name="connsiteY10" fmla="*/ 571500 h 733425"/>
              <a:gd name="connsiteX11" fmla="*/ 352425 w 2889264"/>
              <a:gd name="connsiteY11" fmla="*/ 555625 h 733425"/>
              <a:gd name="connsiteX12" fmla="*/ 381000 w 2889264"/>
              <a:gd name="connsiteY12" fmla="*/ 539750 h 733425"/>
              <a:gd name="connsiteX13" fmla="*/ 390525 w 2889264"/>
              <a:gd name="connsiteY13" fmla="*/ 536575 h 733425"/>
              <a:gd name="connsiteX14" fmla="*/ 406400 w 2889264"/>
              <a:gd name="connsiteY14" fmla="*/ 530225 h 733425"/>
              <a:gd name="connsiteX15" fmla="*/ 434975 w 2889264"/>
              <a:gd name="connsiteY15" fmla="*/ 514350 h 733425"/>
              <a:gd name="connsiteX16" fmla="*/ 454025 w 2889264"/>
              <a:gd name="connsiteY16" fmla="*/ 504825 h 733425"/>
              <a:gd name="connsiteX17" fmla="*/ 463550 w 2889264"/>
              <a:gd name="connsiteY17" fmla="*/ 498475 h 733425"/>
              <a:gd name="connsiteX18" fmla="*/ 476250 w 2889264"/>
              <a:gd name="connsiteY18" fmla="*/ 495300 h 733425"/>
              <a:gd name="connsiteX19" fmla="*/ 492125 w 2889264"/>
              <a:gd name="connsiteY19" fmla="*/ 488950 h 733425"/>
              <a:gd name="connsiteX20" fmla="*/ 501650 w 2889264"/>
              <a:gd name="connsiteY20" fmla="*/ 485775 h 733425"/>
              <a:gd name="connsiteX21" fmla="*/ 523875 w 2889264"/>
              <a:gd name="connsiteY21" fmla="*/ 469900 h 733425"/>
              <a:gd name="connsiteX22" fmla="*/ 552450 w 2889264"/>
              <a:gd name="connsiteY22" fmla="*/ 450850 h 733425"/>
              <a:gd name="connsiteX23" fmla="*/ 568325 w 2889264"/>
              <a:gd name="connsiteY23" fmla="*/ 447675 h 733425"/>
              <a:gd name="connsiteX24" fmla="*/ 584200 w 2889264"/>
              <a:gd name="connsiteY24" fmla="*/ 441325 h 733425"/>
              <a:gd name="connsiteX25" fmla="*/ 593725 w 2889264"/>
              <a:gd name="connsiteY25" fmla="*/ 438150 h 733425"/>
              <a:gd name="connsiteX26" fmla="*/ 612775 w 2889264"/>
              <a:gd name="connsiteY26" fmla="*/ 428625 h 733425"/>
              <a:gd name="connsiteX27" fmla="*/ 628650 w 2889264"/>
              <a:gd name="connsiteY27" fmla="*/ 422275 h 733425"/>
              <a:gd name="connsiteX28" fmla="*/ 641350 w 2889264"/>
              <a:gd name="connsiteY28" fmla="*/ 415925 h 733425"/>
              <a:gd name="connsiteX29" fmla="*/ 657225 w 2889264"/>
              <a:gd name="connsiteY29" fmla="*/ 406400 h 733425"/>
              <a:gd name="connsiteX30" fmla="*/ 676275 w 2889264"/>
              <a:gd name="connsiteY30" fmla="*/ 400050 h 733425"/>
              <a:gd name="connsiteX31" fmla="*/ 708025 w 2889264"/>
              <a:gd name="connsiteY31" fmla="*/ 381000 h 733425"/>
              <a:gd name="connsiteX32" fmla="*/ 736600 w 2889264"/>
              <a:gd name="connsiteY32" fmla="*/ 368300 h 733425"/>
              <a:gd name="connsiteX33" fmla="*/ 742950 w 2889264"/>
              <a:gd name="connsiteY33" fmla="*/ 358775 h 733425"/>
              <a:gd name="connsiteX34" fmla="*/ 790575 w 2889264"/>
              <a:gd name="connsiteY34" fmla="*/ 339725 h 733425"/>
              <a:gd name="connsiteX35" fmla="*/ 800100 w 2889264"/>
              <a:gd name="connsiteY35" fmla="*/ 336550 h 733425"/>
              <a:gd name="connsiteX36" fmla="*/ 812800 w 2889264"/>
              <a:gd name="connsiteY36" fmla="*/ 330200 h 733425"/>
              <a:gd name="connsiteX37" fmla="*/ 828675 w 2889264"/>
              <a:gd name="connsiteY37" fmla="*/ 327025 h 733425"/>
              <a:gd name="connsiteX38" fmla="*/ 898525 w 2889264"/>
              <a:gd name="connsiteY38" fmla="*/ 288925 h 733425"/>
              <a:gd name="connsiteX39" fmla="*/ 923925 w 2889264"/>
              <a:gd name="connsiteY39" fmla="*/ 269875 h 733425"/>
              <a:gd name="connsiteX40" fmla="*/ 933450 w 2889264"/>
              <a:gd name="connsiteY40" fmla="*/ 260350 h 733425"/>
              <a:gd name="connsiteX41" fmla="*/ 958850 w 2889264"/>
              <a:gd name="connsiteY41" fmla="*/ 247650 h 733425"/>
              <a:gd name="connsiteX42" fmla="*/ 968375 w 2889264"/>
              <a:gd name="connsiteY42" fmla="*/ 241300 h 733425"/>
              <a:gd name="connsiteX43" fmla="*/ 984250 w 2889264"/>
              <a:gd name="connsiteY43" fmla="*/ 234950 h 733425"/>
              <a:gd name="connsiteX44" fmla="*/ 1006475 w 2889264"/>
              <a:gd name="connsiteY44" fmla="*/ 225425 h 733425"/>
              <a:gd name="connsiteX45" fmla="*/ 1050925 w 2889264"/>
              <a:gd name="connsiteY45" fmla="*/ 212725 h 733425"/>
              <a:gd name="connsiteX46" fmla="*/ 1079500 w 2889264"/>
              <a:gd name="connsiteY46" fmla="*/ 200025 h 733425"/>
              <a:gd name="connsiteX47" fmla="*/ 1098550 w 2889264"/>
              <a:gd name="connsiteY47" fmla="*/ 193675 h 733425"/>
              <a:gd name="connsiteX48" fmla="*/ 1111250 w 2889264"/>
              <a:gd name="connsiteY48" fmla="*/ 187325 h 733425"/>
              <a:gd name="connsiteX49" fmla="*/ 1136650 w 2889264"/>
              <a:gd name="connsiteY49" fmla="*/ 177800 h 733425"/>
              <a:gd name="connsiteX50" fmla="*/ 1181100 w 2889264"/>
              <a:gd name="connsiteY50" fmla="*/ 152400 h 733425"/>
              <a:gd name="connsiteX51" fmla="*/ 1203325 w 2889264"/>
              <a:gd name="connsiteY51" fmla="*/ 130175 h 733425"/>
              <a:gd name="connsiteX52" fmla="*/ 1219200 w 2889264"/>
              <a:gd name="connsiteY52" fmla="*/ 117475 h 733425"/>
              <a:gd name="connsiteX53" fmla="*/ 1276350 w 2889264"/>
              <a:gd name="connsiteY53" fmla="*/ 85725 h 733425"/>
              <a:gd name="connsiteX54" fmla="*/ 1289050 w 2889264"/>
              <a:gd name="connsiteY54" fmla="*/ 79375 h 733425"/>
              <a:gd name="connsiteX55" fmla="*/ 1327150 w 2889264"/>
              <a:gd name="connsiteY55" fmla="*/ 66675 h 733425"/>
              <a:gd name="connsiteX56" fmla="*/ 1343025 w 2889264"/>
              <a:gd name="connsiteY56" fmla="*/ 57150 h 733425"/>
              <a:gd name="connsiteX57" fmla="*/ 1355725 w 2889264"/>
              <a:gd name="connsiteY57" fmla="*/ 47625 h 733425"/>
              <a:gd name="connsiteX58" fmla="*/ 1377950 w 2889264"/>
              <a:gd name="connsiteY58" fmla="*/ 38100 h 733425"/>
              <a:gd name="connsiteX59" fmla="*/ 1416050 w 2889264"/>
              <a:gd name="connsiteY59" fmla="*/ 12700 h 733425"/>
              <a:gd name="connsiteX60" fmla="*/ 1428750 w 2889264"/>
              <a:gd name="connsiteY60" fmla="*/ 0 h 733425"/>
              <a:gd name="connsiteX61" fmla="*/ 1470025 w 2889264"/>
              <a:gd name="connsiteY61" fmla="*/ 28575 h 733425"/>
              <a:gd name="connsiteX62" fmla="*/ 1504950 w 2889264"/>
              <a:gd name="connsiteY62" fmla="*/ 41275 h 733425"/>
              <a:gd name="connsiteX63" fmla="*/ 1517650 w 2889264"/>
              <a:gd name="connsiteY63" fmla="*/ 50800 h 733425"/>
              <a:gd name="connsiteX64" fmla="*/ 1549400 w 2889264"/>
              <a:gd name="connsiteY64" fmla="*/ 60325 h 733425"/>
              <a:gd name="connsiteX65" fmla="*/ 1562100 w 2889264"/>
              <a:gd name="connsiteY65" fmla="*/ 69850 h 733425"/>
              <a:gd name="connsiteX66" fmla="*/ 1574800 w 2889264"/>
              <a:gd name="connsiteY66" fmla="*/ 73025 h 733425"/>
              <a:gd name="connsiteX67" fmla="*/ 1590675 w 2889264"/>
              <a:gd name="connsiteY67" fmla="*/ 79375 h 733425"/>
              <a:gd name="connsiteX68" fmla="*/ 1600200 w 2889264"/>
              <a:gd name="connsiteY68" fmla="*/ 85725 h 733425"/>
              <a:gd name="connsiteX69" fmla="*/ 1612900 w 2889264"/>
              <a:gd name="connsiteY69" fmla="*/ 92075 h 733425"/>
              <a:gd name="connsiteX70" fmla="*/ 1625600 w 2889264"/>
              <a:gd name="connsiteY70" fmla="*/ 101600 h 733425"/>
              <a:gd name="connsiteX71" fmla="*/ 1635125 w 2889264"/>
              <a:gd name="connsiteY71" fmla="*/ 104775 h 733425"/>
              <a:gd name="connsiteX72" fmla="*/ 1654175 w 2889264"/>
              <a:gd name="connsiteY72" fmla="*/ 114300 h 733425"/>
              <a:gd name="connsiteX73" fmla="*/ 1676400 w 2889264"/>
              <a:gd name="connsiteY73" fmla="*/ 130175 h 733425"/>
              <a:gd name="connsiteX74" fmla="*/ 1689100 w 2889264"/>
              <a:gd name="connsiteY74" fmla="*/ 136525 h 733425"/>
              <a:gd name="connsiteX75" fmla="*/ 1714500 w 2889264"/>
              <a:gd name="connsiteY75" fmla="*/ 146050 h 733425"/>
              <a:gd name="connsiteX76" fmla="*/ 1727200 w 2889264"/>
              <a:gd name="connsiteY76" fmla="*/ 155575 h 733425"/>
              <a:gd name="connsiteX77" fmla="*/ 1758950 w 2889264"/>
              <a:gd name="connsiteY77" fmla="*/ 165100 h 733425"/>
              <a:gd name="connsiteX78" fmla="*/ 1768475 w 2889264"/>
              <a:gd name="connsiteY78" fmla="*/ 171450 h 733425"/>
              <a:gd name="connsiteX79" fmla="*/ 1781175 w 2889264"/>
              <a:gd name="connsiteY79" fmla="*/ 180975 h 733425"/>
              <a:gd name="connsiteX80" fmla="*/ 1793875 w 2889264"/>
              <a:gd name="connsiteY80" fmla="*/ 187325 h 733425"/>
              <a:gd name="connsiteX81" fmla="*/ 1838325 w 2889264"/>
              <a:gd name="connsiteY81" fmla="*/ 212725 h 733425"/>
              <a:gd name="connsiteX82" fmla="*/ 1847850 w 2889264"/>
              <a:gd name="connsiteY82" fmla="*/ 222250 h 733425"/>
              <a:gd name="connsiteX83" fmla="*/ 1885950 w 2889264"/>
              <a:gd name="connsiteY83" fmla="*/ 241300 h 733425"/>
              <a:gd name="connsiteX84" fmla="*/ 1901825 w 2889264"/>
              <a:gd name="connsiteY84" fmla="*/ 250825 h 733425"/>
              <a:gd name="connsiteX85" fmla="*/ 1933575 w 2889264"/>
              <a:gd name="connsiteY85" fmla="*/ 263525 h 733425"/>
              <a:gd name="connsiteX86" fmla="*/ 1962150 w 2889264"/>
              <a:gd name="connsiteY86" fmla="*/ 276225 h 733425"/>
              <a:gd name="connsiteX87" fmla="*/ 1971675 w 2889264"/>
              <a:gd name="connsiteY87" fmla="*/ 282575 h 733425"/>
              <a:gd name="connsiteX88" fmla="*/ 1987550 w 2889264"/>
              <a:gd name="connsiteY88" fmla="*/ 288925 h 733425"/>
              <a:gd name="connsiteX89" fmla="*/ 2022475 w 2889264"/>
              <a:gd name="connsiteY89" fmla="*/ 301625 h 733425"/>
              <a:gd name="connsiteX90" fmla="*/ 2047875 w 2889264"/>
              <a:gd name="connsiteY90" fmla="*/ 314325 h 733425"/>
              <a:gd name="connsiteX91" fmla="*/ 2063750 w 2889264"/>
              <a:gd name="connsiteY91" fmla="*/ 320675 h 733425"/>
              <a:gd name="connsiteX92" fmla="*/ 2082800 w 2889264"/>
              <a:gd name="connsiteY92" fmla="*/ 330200 h 733425"/>
              <a:gd name="connsiteX93" fmla="*/ 2095500 w 2889264"/>
              <a:gd name="connsiteY93" fmla="*/ 333375 h 733425"/>
              <a:gd name="connsiteX94" fmla="*/ 2124075 w 2889264"/>
              <a:gd name="connsiteY94" fmla="*/ 342900 h 733425"/>
              <a:gd name="connsiteX95" fmla="*/ 2159000 w 2889264"/>
              <a:gd name="connsiteY95" fmla="*/ 358775 h 733425"/>
              <a:gd name="connsiteX96" fmla="*/ 2187575 w 2889264"/>
              <a:gd name="connsiteY96" fmla="*/ 377825 h 733425"/>
              <a:gd name="connsiteX97" fmla="*/ 2209800 w 2889264"/>
              <a:gd name="connsiteY97" fmla="*/ 393700 h 733425"/>
              <a:gd name="connsiteX98" fmla="*/ 2247900 w 2889264"/>
              <a:gd name="connsiteY98" fmla="*/ 419100 h 733425"/>
              <a:gd name="connsiteX99" fmla="*/ 2276475 w 2889264"/>
              <a:gd name="connsiteY99" fmla="*/ 434975 h 733425"/>
              <a:gd name="connsiteX100" fmla="*/ 2289175 w 2889264"/>
              <a:gd name="connsiteY100" fmla="*/ 444500 h 733425"/>
              <a:gd name="connsiteX101" fmla="*/ 2308225 w 2889264"/>
              <a:gd name="connsiteY101" fmla="*/ 447675 h 733425"/>
              <a:gd name="connsiteX102" fmla="*/ 2333625 w 2889264"/>
              <a:gd name="connsiteY102" fmla="*/ 460375 h 733425"/>
              <a:gd name="connsiteX103" fmla="*/ 2352675 w 2889264"/>
              <a:gd name="connsiteY103" fmla="*/ 466725 h 733425"/>
              <a:gd name="connsiteX104" fmla="*/ 2397125 w 2889264"/>
              <a:gd name="connsiteY104" fmla="*/ 488950 h 733425"/>
              <a:gd name="connsiteX105" fmla="*/ 2422525 w 2889264"/>
              <a:gd name="connsiteY105" fmla="*/ 495300 h 733425"/>
              <a:gd name="connsiteX106" fmla="*/ 2432050 w 2889264"/>
              <a:gd name="connsiteY106" fmla="*/ 498475 h 733425"/>
              <a:gd name="connsiteX107" fmla="*/ 2454275 w 2889264"/>
              <a:gd name="connsiteY107" fmla="*/ 511175 h 733425"/>
              <a:gd name="connsiteX108" fmla="*/ 2470150 w 2889264"/>
              <a:gd name="connsiteY108" fmla="*/ 523875 h 733425"/>
              <a:gd name="connsiteX109" fmla="*/ 2495550 w 2889264"/>
              <a:gd name="connsiteY109" fmla="*/ 533400 h 733425"/>
              <a:gd name="connsiteX110" fmla="*/ 2546350 w 2889264"/>
              <a:gd name="connsiteY110" fmla="*/ 558800 h 733425"/>
              <a:gd name="connsiteX111" fmla="*/ 2574925 w 2889264"/>
              <a:gd name="connsiteY111" fmla="*/ 565150 h 733425"/>
              <a:gd name="connsiteX112" fmla="*/ 2600325 w 2889264"/>
              <a:gd name="connsiteY112" fmla="*/ 577850 h 733425"/>
              <a:gd name="connsiteX113" fmla="*/ 2616200 w 2889264"/>
              <a:gd name="connsiteY113" fmla="*/ 581025 h 733425"/>
              <a:gd name="connsiteX114" fmla="*/ 2638425 w 2889264"/>
              <a:gd name="connsiteY114" fmla="*/ 587375 h 733425"/>
              <a:gd name="connsiteX115" fmla="*/ 2654300 w 2889264"/>
              <a:gd name="connsiteY115" fmla="*/ 596900 h 733425"/>
              <a:gd name="connsiteX116" fmla="*/ 2673350 w 2889264"/>
              <a:gd name="connsiteY116" fmla="*/ 603250 h 733425"/>
              <a:gd name="connsiteX117" fmla="*/ 2708275 w 2889264"/>
              <a:gd name="connsiteY117" fmla="*/ 625475 h 733425"/>
              <a:gd name="connsiteX118" fmla="*/ 2730500 w 2889264"/>
              <a:gd name="connsiteY118" fmla="*/ 635000 h 733425"/>
              <a:gd name="connsiteX119" fmla="*/ 2749550 w 2889264"/>
              <a:gd name="connsiteY119" fmla="*/ 650875 h 733425"/>
              <a:gd name="connsiteX120" fmla="*/ 2774950 w 2889264"/>
              <a:gd name="connsiteY120" fmla="*/ 663575 h 733425"/>
              <a:gd name="connsiteX121" fmla="*/ 2803525 w 2889264"/>
              <a:gd name="connsiteY121" fmla="*/ 676275 h 733425"/>
              <a:gd name="connsiteX122" fmla="*/ 2816225 w 2889264"/>
              <a:gd name="connsiteY122" fmla="*/ 685800 h 733425"/>
              <a:gd name="connsiteX123" fmla="*/ 2832100 w 2889264"/>
              <a:gd name="connsiteY123" fmla="*/ 692150 h 733425"/>
              <a:gd name="connsiteX124" fmla="*/ 2876550 w 2889264"/>
              <a:gd name="connsiteY124" fmla="*/ 723900 h 733425"/>
              <a:gd name="connsiteX125" fmla="*/ 2889250 w 2889264"/>
              <a:gd name="connsiteY125" fmla="*/ 733425 h 733425"/>
              <a:gd name="connsiteX0" fmla="*/ 0 w 2889264"/>
              <a:gd name="connsiteY0" fmla="*/ 720725 h 733425"/>
              <a:gd name="connsiteX1" fmla="*/ 34925 w 2889264"/>
              <a:gd name="connsiteY1" fmla="*/ 698500 h 733425"/>
              <a:gd name="connsiteX2" fmla="*/ 50800 w 2889264"/>
              <a:gd name="connsiteY2" fmla="*/ 695325 h 733425"/>
              <a:gd name="connsiteX3" fmla="*/ 111125 w 2889264"/>
              <a:gd name="connsiteY3" fmla="*/ 657225 h 733425"/>
              <a:gd name="connsiteX4" fmla="*/ 127000 w 2889264"/>
              <a:gd name="connsiteY4" fmla="*/ 647700 h 733425"/>
              <a:gd name="connsiteX5" fmla="*/ 171450 w 2889264"/>
              <a:gd name="connsiteY5" fmla="*/ 628650 h 733425"/>
              <a:gd name="connsiteX6" fmla="*/ 203200 w 2889264"/>
              <a:gd name="connsiteY6" fmla="*/ 609600 h 733425"/>
              <a:gd name="connsiteX7" fmla="*/ 247650 w 2889264"/>
              <a:gd name="connsiteY7" fmla="*/ 593725 h 733425"/>
              <a:gd name="connsiteX8" fmla="*/ 285750 w 2889264"/>
              <a:gd name="connsiteY8" fmla="*/ 581025 h 733425"/>
              <a:gd name="connsiteX9" fmla="*/ 317500 w 2889264"/>
              <a:gd name="connsiteY9" fmla="*/ 571500 h 733425"/>
              <a:gd name="connsiteX10" fmla="*/ 352425 w 2889264"/>
              <a:gd name="connsiteY10" fmla="*/ 555625 h 733425"/>
              <a:gd name="connsiteX11" fmla="*/ 381000 w 2889264"/>
              <a:gd name="connsiteY11" fmla="*/ 539750 h 733425"/>
              <a:gd name="connsiteX12" fmla="*/ 390525 w 2889264"/>
              <a:gd name="connsiteY12" fmla="*/ 536575 h 733425"/>
              <a:gd name="connsiteX13" fmla="*/ 406400 w 2889264"/>
              <a:gd name="connsiteY13" fmla="*/ 530225 h 733425"/>
              <a:gd name="connsiteX14" fmla="*/ 434975 w 2889264"/>
              <a:gd name="connsiteY14" fmla="*/ 514350 h 733425"/>
              <a:gd name="connsiteX15" fmla="*/ 454025 w 2889264"/>
              <a:gd name="connsiteY15" fmla="*/ 504825 h 733425"/>
              <a:gd name="connsiteX16" fmla="*/ 463550 w 2889264"/>
              <a:gd name="connsiteY16" fmla="*/ 498475 h 733425"/>
              <a:gd name="connsiteX17" fmla="*/ 476250 w 2889264"/>
              <a:gd name="connsiteY17" fmla="*/ 495300 h 733425"/>
              <a:gd name="connsiteX18" fmla="*/ 492125 w 2889264"/>
              <a:gd name="connsiteY18" fmla="*/ 488950 h 733425"/>
              <a:gd name="connsiteX19" fmla="*/ 501650 w 2889264"/>
              <a:gd name="connsiteY19" fmla="*/ 485775 h 733425"/>
              <a:gd name="connsiteX20" fmla="*/ 523875 w 2889264"/>
              <a:gd name="connsiteY20" fmla="*/ 469900 h 733425"/>
              <a:gd name="connsiteX21" fmla="*/ 552450 w 2889264"/>
              <a:gd name="connsiteY21" fmla="*/ 450850 h 733425"/>
              <a:gd name="connsiteX22" fmla="*/ 568325 w 2889264"/>
              <a:gd name="connsiteY22" fmla="*/ 447675 h 733425"/>
              <a:gd name="connsiteX23" fmla="*/ 584200 w 2889264"/>
              <a:gd name="connsiteY23" fmla="*/ 441325 h 733425"/>
              <a:gd name="connsiteX24" fmla="*/ 593725 w 2889264"/>
              <a:gd name="connsiteY24" fmla="*/ 438150 h 733425"/>
              <a:gd name="connsiteX25" fmla="*/ 612775 w 2889264"/>
              <a:gd name="connsiteY25" fmla="*/ 428625 h 733425"/>
              <a:gd name="connsiteX26" fmla="*/ 628650 w 2889264"/>
              <a:gd name="connsiteY26" fmla="*/ 422275 h 733425"/>
              <a:gd name="connsiteX27" fmla="*/ 641350 w 2889264"/>
              <a:gd name="connsiteY27" fmla="*/ 415925 h 733425"/>
              <a:gd name="connsiteX28" fmla="*/ 657225 w 2889264"/>
              <a:gd name="connsiteY28" fmla="*/ 406400 h 733425"/>
              <a:gd name="connsiteX29" fmla="*/ 676275 w 2889264"/>
              <a:gd name="connsiteY29" fmla="*/ 400050 h 733425"/>
              <a:gd name="connsiteX30" fmla="*/ 708025 w 2889264"/>
              <a:gd name="connsiteY30" fmla="*/ 381000 h 733425"/>
              <a:gd name="connsiteX31" fmla="*/ 736600 w 2889264"/>
              <a:gd name="connsiteY31" fmla="*/ 368300 h 733425"/>
              <a:gd name="connsiteX32" fmla="*/ 742950 w 2889264"/>
              <a:gd name="connsiteY32" fmla="*/ 358775 h 733425"/>
              <a:gd name="connsiteX33" fmla="*/ 790575 w 2889264"/>
              <a:gd name="connsiteY33" fmla="*/ 339725 h 733425"/>
              <a:gd name="connsiteX34" fmla="*/ 800100 w 2889264"/>
              <a:gd name="connsiteY34" fmla="*/ 336550 h 733425"/>
              <a:gd name="connsiteX35" fmla="*/ 812800 w 2889264"/>
              <a:gd name="connsiteY35" fmla="*/ 330200 h 733425"/>
              <a:gd name="connsiteX36" fmla="*/ 828675 w 2889264"/>
              <a:gd name="connsiteY36" fmla="*/ 327025 h 733425"/>
              <a:gd name="connsiteX37" fmla="*/ 898525 w 2889264"/>
              <a:gd name="connsiteY37" fmla="*/ 288925 h 733425"/>
              <a:gd name="connsiteX38" fmla="*/ 923925 w 2889264"/>
              <a:gd name="connsiteY38" fmla="*/ 269875 h 733425"/>
              <a:gd name="connsiteX39" fmla="*/ 933450 w 2889264"/>
              <a:gd name="connsiteY39" fmla="*/ 260350 h 733425"/>
              <a:gd name="connsiteX40" fmla="*/ 958850 w 2889264"/>
              <a:gd name="connsiteY40" fmla="*/ 247650 h 733425"/>
              <a:gd name="connsiteX41" fmla="*/ 968375 w 2889264"/>
              <a:gd name="connsiteY41" fmla="*/ 241300 h 733425"/>
              <a:gd name="connsiteX42" fmla="*/ 984250 w 2889264"/>
              <a:gd name="connsiteY42" fmla="*/ 234950 h 733425"/>
              <a:gd name="connsiteX43" fmla="*/ 1006475 w 2889264"/>
              <a:gd name="connsiteY43" fmla="*/ 225425 h 733425"/>
              <a:gd name="connsiteX44" fmla="*/ 1050925 w 2889264"/>
              <a:gd name="connsiteY44" fmla="*/ 212725 h 733425"/>
              <a:gd name="connsiteX45" fmla="*/ 1079500 w 2889264"/>
              <a:gd name="connsiteY45" fmla="*/ 200025 h 733425"/>
              <a:gd name="connsiteX46" fmla="*/ 1098550 w 2889264"/>
              <a:gd name="connsiteY46" fmla="*/ 193675 h 733425"/>
              <a:gd name="connsiteX47" fmla="*/ 1111250 w 2889264"/>
              <a:gd name="connsiteY47" fmla="*/ 187325 h 733425"/>
              <a:gd name="connsiteX48" fmla="*/ 1136650 w 2889264"/>
              <a:gd name="connsiteY48" fmla="*/ 177800 h 733425"/>
              <a:gd name="connsiteX49" fmla="*/ 1181100 w 2889264"/>
              <a:gd name="connsiteY49" fmla="*/ 152400 h 733425"/>
              <a:gd name="connsiteX50" fmla="*/ 1203325 w 2889264"/>
              <a:gd name="connsiteY50" fmla="*/ 130175 h 733425"/>
              <a:gd name="connsiteX51" fmla="*/ 1219200 w 2889264"/>
              <a:gd name="connsiteY51" fmla="*/ 117475 h 733425"/>
              <a:gd name="connsiteX52" fmla="*/ 1276350 w 2889264"/>
              <a:gd name="connsiteY52" fmla="*/ 85725 h 733425"/>
              <a:gd name="connsiteX53" fmla="*/ 1289050 w 2889264"/>
              <a:gd name="connsiteY53" fmla="*/ 79375 h 733425"/>
              <a:gd name="connsiteX54" fmla="*/ 1327150 w 2889264"/>
              <a:gd name="connsiteY54" fmla="*/ 66675 h 733425"/>
              <a:gd name="connsiteX55" fmla="*/ 1343025 w 2889264"/>
              <a:gd name="connsiteY55" fmla="*/ 57150 h 733425"/>
              <a:gd name="connsiteX56" fmla="*/ 1355725 w 2889264"/>
              <a:gd name="connsiteY56" fmla="*/ 47625 h 733425"/>
              <a:gd name="connsiteX57" fmla="*/ 1377950 w 2889264"/>
              <a:gd name="connsiteY57" fmla="*/ 38100 h 733425"/>
              <a:gd name="connsiteX58" fmla="*/ 1416050 w 2889264"/>
              <a:gd name="connsiteY58" fmla="*/ 12700 h 733425"/>
              <a:gd name="connsiteX59" fmla="*/ 1428750 w 2889264"/>
              <a:gd name="connsiteY59" fmla="*/ 0 h 733425"/>
              <a:gd name="connsiteX60" fmla="*/ 1470025 w 2889264"/>
              <a:gd name="connsiteY60" fmla="*/ 28575 h 733425"/>
              <a:gd name="connsiteX61" fmla="*/ 1504950 w 2889264"/>
              <a:gd name="connsiteY61" fmla="*/ 41275 h 733425"/>
              <a:gd name="connsiteX62" fmla="*/ 1517650 w 2889264"/>
              <a:gd name="connsiteY62" fmla="*/ 50800 h 733425"/>
              <a:gd name="connsiteX63" fmla="*/ 1549400 w 2889264"/>
              <a:gd name="connsiteY63" fmla="*/ 60325 h 733425"/>
              <a:gd name="connsiteX64" fmla="*/ 1562100 w 2889264"/>
              <a:gd name="connsiteY64" fmla="*/ 69850 h 733425"/>
              <a:gd name="connsiteX65" fmla="*/ 1574800 w 2889264"/>
              <a:gd name="connsiteY65" fmla="*/ 73025 h 733425"/>
              <a:gd name="connsiteX66" fmla="*/ 1590675 w 2889264"/>
              <a:gd name="connsiteY66" fmla="*/ 79375 h 733425"/>
              <a:gd name="connsiteX67" fmla="*/ 1600200 w 2889264"/>
              <a:gd name="connsiteY67" fmla="*/ 85725 h 733425"/>
              <a:gd name="connsiteX68" fmla="*/ 1612900 w 2889264"/>
              <a:gd name="connsiteY68" fmla="*/ 92075 h 733425"/>
              <a:gd name="connsiteX69" fmla="*/ 1625600 w 2889264"/>
              <a:gd name="connsiteY69" fmla="*/ 101600 h 733425"/>
              <a:gd name="connsiteX70" fmla="*/ 1635125 w 2889264"/>
              <a:gd name="connsiteY70" fmla="*/ 104775 h 733425"/>
              <a:gd name="connsiteX71" fmla="*/ 1654175 w 2889264"/>
              <a:gd name="connsiteY71" fmla="*/ 114300 h 733425"/>
              <a:gd name="connsiteX72" fmla="*/ 1676400 w 2889264"/>
              <a:gd name="connsiteY72" fmla="*/ 130175 h 733425"/>
              <a:gd name="connsiteX73" fmla="*/ 1689100 w 2889264"/>
              <a:gd name="connsiteY73" fmla="*/ 136525 h 733425"/>
              <a:gd name="connsiteX74" fmla="*/ 1714500 w 2889264"/>
              <a:gd name="connsiteY74" fmla="*/ 146050 h 733425"/>
              <a:gd name="connsiteX75" fmla="*/ 1727200 w 2889264"/>
              <a:gd name="connsiteY75" fmla="*/ 155575 h 733425"/>
              <a:gd name="connsiteX76" fmla="*/ 1758950 w 2889264"/>
              <a:gd name="connsiteY76" fmla="*/ 165100 h 733425"/>
              <a:gd name="connsiteX77" fmla="*/ 1768475 w 2889264"/>
              <a:gd name="connsiteY77" fmla="*/ 171450 h 733425"/>
              <a:gd name="connsiteX78" fmla="*/ 1781175 w 2889264"/>
              <a:gd name="connsiteY78" fmla="*/ 180975 h 733425"/>
              <a:gd name="connsiteX79" fmla="*/ 1793875 w 2889264"/>
              <a:gd name="connsiteY79" fmla="*/ 187325 h 733425"/>
              <a:gd name="connsiteX80" fmla="*/ 1838325 w 2889264"/>
              <a:gd name="connsiteY80" fmla="*/ 212725 h 733425"/>
              <a:gd name="connsiteX81" fmla="*/ 1847850 w 2889264"/>
              <a:gd name="connsiteY81" fmla="*/ 222250 h 733425"/>
              <a:gd name="connsiteX82" fmla="*/ 1885950 w 2889264"/>
              <a:gd name="connsiteY82" fmla="*/ 241300 h 733425"/>
              <a:gd name="connsiteX83" fmla="*/ 1901825 w 2889264"/>
              <a:gd name="connsiteY83" fmla="*/ 250825 h 733425"/>
              <a:gd name="connsiteX84" fmla="*/ 1933575 w 2889264"/>
              <a:gd name="connsiteY84" fmla="*/ 263525 h 733425"/>
              <a:gd name="connsiteX85" fmla="*/ 1962150 w 2889264"/>
              <a:gd name="connsiteY85" fmla="*/ 276225 h 733425"/>
              <a:gd name="connsiteX86" fmla="*/ 1971675 w 2889264"/>
              <a:gd name="connsiteY86" fmla="*/ 282575 h 733425"/>
              <a:gd name="connsiteX87" fmla="*/ 1987550 w 2889264"/>
              <a:gd name="connsiteY87" fmla="*/ 288925 h 733425"/>
              <a:gd name="connsiteX88" fmla="*/ 2022475 w 2889264"/>
              <a:gd name="connsiteY88" fmla="*/ 301625 h 733425"/>
              <a:gd name="connsiteX89" fmla="*/ 2047875 w 2889264"/>
              <a:gd name="connsiteY89" fmla="*/ 314325 h 733425"/>
              <a:gd name="connsiteX90" fmla="*/ 2063750 w 2889264"/>
              <a:gd name="connsiteY90" fmla="*/ 320675 h 733425"/>
              <a:gd name="connsiteX91" fmla="*/ 2082800 w 2889264"/>
              <a:gd name="connsiteY91" fmla="*/ 330200 h 733425"/>
              <a:gd name="connsiteX92" fmla="*/ 2095500 w 2889264"/>
              <a:gd name="connsiteY92" fmla="*/ 333375 h 733425"/>
              <a:gd name="connsiteX93" fmla="*/ 2124075 w 2889264"/>
              <a:gd name="connsiteY93" fmla="*/ 342900 h 733425"/>
              <a:gd name="connsiteX94" fmla="*/ 2159000 w 2889264"/>
              <a:gd name="connsiteY94" fmla="*/ 358775 h 733425"/>
              <a:gd name="connsiteX95" fmla="*/ 2187575 w 2889264"/>
              <a:gd name="connsiteY95" fmla="*/ 377825 h 733425"/>
              <a:gd name="connsiteX96" fmla="*/ 2209800 w 2889264"/>
              <a:gd name="connsiteY96" fmla="*/ 393700 h 733425"/>
              <a:gd name="connsiteX97" fmla="*/ 2247900 w 2889264"/>
              <a:gd name="connsiteY97" fmla="*/ 419100 h 733425"/>
              <a:gd name="connsiteX98" fmla="*/ 2276475 w 2889264"/>
              <a:gd name="connsiteY98" fmla="*/ 434975 h 733425"/>
              <a:gd name="connsiteX99" fmla="*/ 2289175 w 2889264"/>
              <a:gd name="connsiteY99" fmla="*/ 444500 h 733425"/>
              <a:gd name="connsiteX100" fmla="*/ 2308225 w 2889264"/>
              <a:gd name="connsiteY100" fmla="*/ 447675 h 733425"/>
              <a:gd name="connsiteX101" fmla="*/ 2333625 w 2889264"/>
              <a:gd name="connsiteY101" fmla="*/ 460375 h 733425"/>
              <a:gd name="connsiteX102" fmla="*/ 2352675 w 2889264"/>
              <a:gd name="connsiteY102" fmla="*/ 466725 h 733425"/>
              <a:gd name="connsiteX103" fmla="*/ 2397125 w 2889264"/>
              <a:gd name="connsiteY103" fmla="*/ 488950 h 733425"/>
              <a:gd name="connsiteX104" fmla="*/ 2422525 w 2889264"/>
              <a:gd name="connsiteY104" fmla="*/ 495300 h 733425"/>
              <a:gd name="connsiteX105" fmla="*/ 2432050 w 2889264"/>
              <a:gd name="connsiteY105" fmla="*/ 498475 h 733425"/>
              <a:gd name="connsiteX106" fmla="*/ 2454275 w 2889264"/>
              <a:gd name="connsiteY106" fmla="*/ 511175 h 733425"/>
              <a:gd name="connsiteX107" fmla="*/ 2470150 w 2889264"/>
              <a:gd name="connsiteY107" fmla="*/ 523875 h 733425"/>
              <a:gd name="connsiteX108" fmla="*/ 2495550 w 2889264"/>
              <a:gd name="connsiteY108" fmla="*/ 533400 h 733425"/>
              <a:gd name="connsiteX109" fmla="*/ 2546350 w 2889264"/>
              <a:gd name="connsiteY109" fmla="*/ 558800 h 733425"/>
              <a:gd name="connsiteX110" fmla="*/ 2574925 w 2889264"/>
              <a:gd name="connsiteY110" fmla="*/ 565150 h 733425"/>
              <a:gd name="connsiteX111" fmla="*/ 2600325 w 2889264"/>
              <a:gd name="connsiteY111" fmla="*/ 577850 h 733425"/>
              <a:gd name="connsiteX112" fmla="*/ 2616200 w 2889264"/>
              <a:gd name="connsiteY112" fmla="*/ 581025 h 733425"/>
              <a:gd name="connsiteX113" fmla="*/ 2638425 w 2889264"/>
              <a:gd name="connsiteY113" fmla="*/ 587375 h 733425"/>
              <a:gd name="connsiteX114" fmla="*/ 2654300 w 2889264"/>
              <a:gd name="connsiteY114" fmla="*/ 596900 h 733425"/>
              <a:gd name="connsiteX115" fmla="*/ 2673350 w 2889264"/>
              <a:gd name="connsiteY115" fmla="*/ 603250 h 733425"/>
              <a:gd name="connsiteX116" fmla="*/ 2708275 w 2889264"/>
              <a:gd name="connsiteY116" fmla="*/ 625475 h 733425"/>
              <a:gd name="connsiteX117" fmla="*/ 2730500 w 2889264"/>
              <a:gd name="connsiteY117" fmla="*/ 635000 h 733425"/>
              <a:gd name="connsiteX118" fmla="*/ 2749550 w 2889264"/>
              <a:gd name="connsiteY118" fmla="*/ 650875 h 733425"/>
              <a:gd name="connsiteX119" fmla="*/ 2774950 w 2889264"/>
              <a:gd name="connsiteY119" fmla="*/ 663575 h 733425"/>
              <a:gd name="connsiteX120" fmla="*/ 2803525 w 2889264"/>
              <a:gd name="connsiteY120" fmla="*/ 676275 h 733425"/>
              <a:gd name="connsiteX121" fmla="*/ 2816225 w 2889264"/>
              <a:gd name="connsiteY121" fmla="*/ 685800 h 733425"/>
              <a:gd name="connsiteX122" fmla="*/ 2832100 w 2889264"/>
              <a:gd name="connsiteY122" fmla="*/ 692150 h 733425"/>
              <a:gd name="connsiteX123" fmla="*/ 2876550 w 2889264"/>
              <a:gd name="connsiteY123" fmla="*/ 723900 h 733425"/>
              <a:gd name="connsiteX124" fmla="*/ 2889250 w 2889264"/>
              <a:gd name="connsiteY124" fmla="*/ 733425 h 733425"/>
              <a:gd name="connsiteX0" fmla="*/ 0 w 2889264"/>
              <a:gd name="connsiteY0" fmla="*/ 720725 h 733425"/>
              <a:gd name="connsiteX1" fmla="*/ 34925 w 2889264"/>
              <a:gd name="connsiteY1" fmla="*/ 698500 h 733425"/>
              <a:gd name="connsiteX2" fmla="*/ 50800 w 2889264"/>
              <a:gd name="connsiteY2" fmla="*/ 695325 h 733425"/>
              <a:gd name="connsiteX3" fmla="*/ 111125 w 2889264"/>
              <a:gd name="connsiteY3" fmla="*/ 657225 h 733425"/>
              <a:gd name="connsiteX4" fmla="*/ 171450 w 2889264"/>
              <a:gd name="connsiteY4" fmla="*/ 628650 h 733425"/>
              <a:gd name="connsiteX5" fmla="*/ 203200 w 2889264"/>
              <a:gd name="connsiteY5" fmla="*/ 609600 h 733425"/>
              <a:gd name="connsiteX6" fmla="*/ 247650 w 2889264"/>
              <a:gd name="connsiteY6" fmla="*/ 593725 h 733425"/>
              <a:gd name="connsiteX7" fmla="*/ 285750 w 2889264"/>
              <a:gd name="connsiteY7" fmla="*/ 581025 h 733425"/>
              <a:gd name="connsiteX8" fmla="*/ 317500 w 2889264"/>
              <a:gd name="connsiteY8" fmla="*/ 571500 h 733425"/>
              <a:gd name="connsiteX9" fmla="*/ 352425 w 2889264"/>
              <a:gd name="connsiteY9" fmla="*/ 555625 h 733425"/>
              <a:gd name="connsiteX10" fmla="*/ 381000 w 2889264"/>
              <a:gd name="connsiteY10" fmla="*/ 539750 h 733425"/>
              <a:gd name="connsiteX11" fmla="*/ 390525 w 2889264"/>
              <a:gd name="connsiteY11" fmla="*/ 536575 h 733425"/>
              <a:gd name="connsiteX12" fmla="*/ 406400 w 2889264"/>
              <a:gd name="connsiteY12" fmla="*/ 530225 h 733425"/>
              <a:gd name="connsiteX13" fmla="*/ 434975 w 2889264"/>
              <a:gd name="connsiteY13" fmla="*/ 514350 h 733425"/>
              <a:gd name="connsiteX14" fmla="*/ 454025 w 2889264"/>
              <a:gd name="connsiteY14" fmla="*/ 504825 h 733425"/>
              <a:gd name="connsiteX15" fmla="*/ 463550 w 2889264"/>
              <a:gd name="connsiteY15" fmla="*/ 498475 h 733425"/>
              <a:gd name="connsiteX16" fmla="*/ 476250 w 2889264"/>
              <a:gd name="connsiteY16" fmla="*/ 495300 h 733425"/>
              <a:gd name="connsiteX17" fmla="*/ 492125 w 2889264"/>
              <a:gd name="connsiteY17" fmla="*/ 488950 h 733425"/>
              <a:gd name="connsiteX18" fmla="*/ 501650 w 2889264"/>
              <a:gd name="connsiteY18" fmla="*/ 485775 h 733425"/>
              <a:gd name="connsiteX19" fmla="*/ 523875 w 2889264"/>
              <a:gd name="connsiteY19" fmla="*/ 469900 h 733425"/>
              <a:gd name="connsiteX20" fmla="*/ 552450 w 2889264"/>
              <a:gd name="connsiteY20" fmla="*/ 450850 h 733425"/>
              <a:gd name="connsiteX21" fmla="*/ 568325 w 2889264"/>
              <a:gd name="connsiteY21" fmla="*/ 447675 h 733425"/>
              <a:gd name="connsiteX22" fmla="*/ 584200 w 2889264"/>
              <a:gd name="connsiteY22" fmla="*/ 441325 h 733425"/>
              <a:gd name="connsiteX23" fmla="*/ 593725 w 2889264"/>
              <a:gd name="connsiteY23" fmla="*/ 438150 h 733425"/>
              <a:gd name="connsiteX24" fmla="*/ 612775 w 2889264"/>
              <a:gd name="connsiteY24" fmla="*/ 428625 h 733425"/>
              <a:gd name="connsiteX25" fmla="*/ 628650 w 2889264"/>
              <a:gd name="connsiteY25" fmla="*/ 422275 h 733425"/>
              <a:gd name="connsiteX26" fmla="*/ 641350 w 2889264"/>
              <a:gd name="connsiteY26" fmla="*/ 415925 h 733425"/>
              <a:gd name="connsiteX27" fmla="*/ 657225 w 2889264"/>
              <a:gd name="connsiteY27" fmla="*/ 406400 h 733425"/>
              <a:gd name="connsiteX28" fmla="*/ 676275 w 2889264"/>
              <a:gd name="connsiteY28" fmla="*/ 400050 h 733425"/>
              <a:gd name="connsiteX29" fmla="*/ 708025 w 2889264"/>
              <a:gd name="connsiteY29" fmla="*/ 381000 h 733425"/>
              <a:gd name="connsiteX30" fmla="*/ 736600 w 2889264"/>
              <a:gd name="connsiteY30" fmla="*/ 368300 h 733425"/>
              <a:gd name="connsiteX31" fmla="*/ 742950 w 2889264"/>
              <a:gd name="connsiteY31" fmla="*/ 358775 h 733425"/>
              <a:gd name="connsiteX32" fmla="*/ 790575 w 2889264"/>
              <a:gd name="connsiteY32" fmla="*/ 339725 h 733425"/>
              <a:gd name="connsiteX33" fmla="*/ 800100 w 2889264"/>
              <a:gd name="connsiteY33" fmla="*/ 336550 h 733425"/>
              <a:gd name="connsiteX34" fmla="*/ 812800 w 2889264"/>
              <a:gd name="connsiteY34" fmla="*/ 330200 h 733425"/>
              <a:gd name="connsiteX35" fmla="*/ 828675 w 2889264"/>
              <a:gd name="connsiteY35" fmla="*/ 327025 h 733425"/>
              <a:gd name="connsiteX36" fmla="*/ 898525 w 2889264"/>
              <a:gd name="connsiteY36" fmla="*/ 288925 h 733425"/>
              <a:gd name="connsiteX37" fmla="*/ 923925 w 2889264"/>
              <a:gd name="connsiteY37" fmla="*/ 269875 h 733425"/>
              <a:gd name="connsiteX38" fmla="*/ 933450 w 2889264"/>
              <a:gd name="connsiteY38" fmla="*/ 260350 h 733425"/>
              <a:gd name="connsiteX39" fmla="*/ 958850 w 2889264"/>
              <a:gd name="connsiteY39" fmla="*/ 247650 h 733425"/>
              <a:gd name="connsiteX40" fmla="*/ 968375 w 2889264"/>
              <a:gd name="connsiteY40" fmla="*/ 241300 h 733425"/>
              <a:gd name="connsiteX41" fmla="*/ 984250 w 2889264"/>
              <a:gd name="connsiteY41" fmla="*/ 234950 h 733425"/>
              <a:gd name="connsiteX42" fmla="*/ 1006475 w 2889264"/>
              <a:gd name="connsiteY42" fmla="*/ 225425 h 733425"/>
              <a:gd name="connsiteX43" fmla="*/ 1050925 w 2889264"/>
              <a:gd name="connsiteY43" fmla="*/ 212725 h 733425"/>
              <a:gd name="connsiteX44" fmla="*/ 1079500 w 2889264"/>
              <a:gd name="connsiteY44" fmla="*/ 200025 h 733425"/>
              <a:gd name="connsiteX45" fmla="*/ 1098550 w 2889264"/>
              <a:gd name="connsiteY45" fmla="*/ 193675 h 733425"/>
              <a:gd name="connsiteX46" fmla="*/ 1111250 w 2889264"/>
              <a:gd name="connsiteY46" fmla="*/ 187325 h 733425"/>
              <a:gd name="connsiteX47" fmla="*/ 1136650 w 2889264"/>
              <a:gd name="connsiteY47" fmla="*/ 177800 h 733425"/>
              <a:gd name="connsiteX48" fmla="*/ 1181100 w 2889264"/>
              <a:gd name="connsiteY48" fmla="*/ 152400 h 733425"/>
              <a:gd name="connsiteX49" fmla="*/ 1203325 w 2889264"/>
              <a:gd name="connsiteY49" fmla="*/ 130175 h 733425"/>
              <a:gd name="connsiteX50" fmla="*/ 1219200 w 2889264"/>
              <a:gd name="connsiteY50" fmla="*/ 117475 h 733425"/>
              <a:gd name="connsiteX51" fmla="*/ 1276350 w 2889264"/>
              <a:gd name="connsiteY51" fmla="*/ 85725 h 733425"/>
              <a:gd name="connsiteX52" fmla="*/ 1289050 w 2889264"/>
              <a:gd name="connsiteY52" fmla="*/ 79375 h 733425"/>
              <a:gd name="connsiteX53" fmla="*/ 1327150 w 2889264"/>
              <a:gd name="connsiteY53" fmla="*/ 66675 h 733425"/>
              <a:gd name="connsiteX54" fmla="*/ 1343025 w 2889264"/>
              <a:gd name="connsiteY54" fmla="*/ 57150 h 733425"/>
              <a:gd name="connsiteX55" fmla="*/ 1355725 w 2889264"/>
              <a:gd name="connsiteY55" fmla="*/ 47625 h 733425"/>
              <a:gd name="connsiteX56" fmla="*/ 1377950 w 2889264"/>
              <a:gd name="connsiteY56" fmla="*/ 38100 h 733425"/>
              <a:gd name="connsiteX57" fmla="*/ 1416050 w 2889264"/>
              <a:gd name="connsiteY57" fmla="*/ 12700 h 733425"/>
              <a:gd name="connsiteX58" fmla="*/ 1428750 w 2889264"/>
              <a:gd name="connsiteY58" fmla="*/ 0 h 733425"/>
              <a:gd name="connsiteX59" fmla="*/ 1470025 w 2889264"/>
              <a:gd name="connsiteY59" fmla="*/ 28575 h 733425"/>
              <a:gd name="connsiteX60" fmla="*/ 1504950 w 2889264"/>
              <a:gd name="connsiteY60" fmla="*/ 41275 h 733425"/>
              <a:gd name="connsiteX61" fmla="*/ 1517650 w 2889264"/>
              <a:gd name="connsiteY61" fmla="*/ 50800 h 733425"/>
              <a:gd name="connsiteX62" fmla="*/ 1549400 w 2889264"/>
              <a:gd name="connsiteY62" fmla="*/ 60325 h 733425"/>
              <a:gd name="connsiteX63" fmla="*/ 1562100 w 2889264"/>
              <a:gd name="connsiteY63" fmla="*/ 69850 h 733425"/>
              <a:gd name="connsiteX64" fmla="*/ 1574800 w 2889264"/>
              <a:gd name="connsiteY64" fmla="*/ 73025 h 733425"/>
              <a:gd name="connsiteX65" fmla="*/ 1590675 w 2889264"/>
              <a:gd name="connsiteY65" fmla="*/ 79375 h 733425"/>
              <a:gd name="connsiteX66" fmla="*/ 1600200 w 2889264"/>
              <a:gd name="connsiteY66" fmla="*/ 85725 h 733425"/>
              <a:gd name="connsiteX67" fmla="*/ 1612900 w 2889264"/>
              <a:gd name="connsiteY67" fmla="*/ 92075 h 733425"/>
              <a:gd name="connsiteX68" fmla="*/ 1625600 w 2889264"/>
              <a:gd name="connsiteY68" fmla="*/ 101600 h 733425"/>
              <a:gd name="connsiteX69" fmla="*/ 1635125 w 2889264"/>
              <a:gd name="connsiteY69" fmla="*/ 104775 h 733425"/>
              <a:gd name="connsiteX70" fmla="*/ 1654175 w 2889264"/>
              <a:gd name="connsiteY70" fmla="*/ 114300 h 733425"/>
              <a:gd name="connsiteX71" fmla="*/ 1676400 w 2889264"/>
              <a:gd name="connsiteY71" fmla="*/ 130175 h 733425"/>
              <a:gd name="connsiteX72" fmla="*/ 1689100 w 2889264"/>
              <a:gd name="connsiteY72" fmla="*/ 136525 h 733425"/>
              <a:gd name="connsiteX73" fmla="*/ 1714500 w 2889264"/>
              <a:gd name="connsiteY73" fmla="*/ 146050 h 733425"/>
              <a:gd name="connsiteX74" fmla="*/ 1727200 w 2889264"/>
              <a:gd name="connsiteY74" fmla="*/ 155575 h 733425"/>
              <a:gd name="connsiteX75" fmla="*/ 1758950 w 2889264"/>
              <a:gd name="connsiteY75" fmla="*/ 165100 h 733425"/>
              <a:gd name="connsiteX76" fmla="*/ 1768475 w 2889264"/>
              <a:gd name="connsiteY76" fmla="*/ 171450 h 733425"/>
              <a:gd name="connsiteX77" fmla="*/ 1781175 w 2889264"/>
              <a:gd name="connsiteY77" fmla="*/ 180975 h 733425"/>
              <a:gd name="connsiteX78" fmla="*/ 1793875 w 2889264"/>
              <a:gd name="connsiteY78" fmla="*/ 187325 h 733425"/>
              <a:gd name="connsiteX79" fmla="*/ 1838325 w 2889264"/>
              <a:gd name="connsiteY79" fmla="*/ 212725 h 733425"/>
              <a:gd name="connsiteX80" fmla="*/ 1847850 w 2889264"/>
              <a:gd name="connsiteY80" fmla="*/ 222250 h 733425"/>
              <a:gd name="connsiteX81" fmla="*/ 1885950 w 2889264"/>
              <a:gd name="connsiteY81" fmla="*/ 241300 h 733425"/>
              <a:gd name="connsiteX82" fmla="*/ 1901825 w 2889264"/>
              <a:gd name="connsiteY82" fmla="*/ 250825 h 733425"/>
              <a:gd name="connsiteX83" fmla="*/ 1933575 w 2889264"/>
              <a:gd name="connsiteY83" fmla="*/ 263525 h 733425"/>
              <a:gd name="connsiteX84" fmla="*/ 1962150 w 2889264"/>
              <a:gd name="connsiteY84" fmla="*/ 276225 h 733425"/>
              <a:gd name="connsiteX85" fmla="*/ 1971675 w 2889264"/>
              <a:gd name="connsiteY85" fmla="*/ 282575 h 733425"/>
              <a:gd name="connsiteX86" fmla="*/ 1987550 w 2889264"/>
              <a:gd name="connsiteY86" fmla="*/ 288925 h 733425"/>
              <a:gd name="connsiteX87" fmla="*/ 2022475 w 2889264"/>
              <a:gd name="connsiteY87" fmla="*/ 301625 h 733425"/>
              <a:gd name="connsiteX88" fmla="*/ 2047875 w 2889264"/>
              <a:gd name="connsiteY88" fmla="*/ 314325 h 733425"/>
              <a:gd name="connsiteX89" fmla="*/ 2063750 w 2889264"/>
              <a:gd name="connsiteY89" fmla="*/ 320675 h 733425"/>
              <a:gd name="connsiteX90" fmla="*/ 2082800 w 2889264"/>
              <a:gd name="connsiteY90" fmla="*/ 330200 h 733425"/>
              <a:gd name="connsiteX91" fmla="*/ 2095500 w 2889264"/>
              <a:gd name="connsiteY91" fmla="*/ 333375 h 733425"/>
              <a:gd name="connsiteX92" fmla="*/ 2124075 w 2889264"/>
              <a:gd name="connsiteY92" fmla="*/ 342900 h 733425"/>
              <a:gd name="connsiteX93" fmla="*/ 2159000 w 2889264"/>
              <a:gd name="connsiteY93" fmla="*/ 358775 h 733425"/>
              <a:gd name="connsiteX94" fmla="*/ 2187575 w 2889264"/>
              <a:gd name="connsiteY94" fmla="*/ 377825 h 733425"/>
              <a:gd name="connsiteX95" fmla="*/ 2209800 w 2889264"/>
              <a:gd name="connsiteY95" fmla="*/ 393700 h 733425"/>
              <a:gd name="connsiteX96" fmla="*/ 2247900 w 2889264"/>
              <a:gd name="connsiteY96" fmla="*/ 419100 h 733425"/>
              <a:gd name="connsiteX97" fmla="*/ 2276475 w 2889264"/>
              <a:gd name="connsiteY97" fmla="*/ 434975 h 733425"/>
              <a:gd name="connsiteX98" fmla="*/ 2289175 w 2889264"/>
              <a:gd name="connsiteY98" fmla="*/ 444500 h 733425"/>
              <a:gd name="connsiteX99" fmla="*/ 2308225 w 2889264"/>
              <a:gd name="connsiteY99" fmla="*/ 447675 h 733425"/>
              <a:gd name="connsiteX100" fmla="*/ 2333625 w 2889264"/>
              <a:gd name="connsiteY100" fmla="*/ 460375 h 733425"/>
              <a:gd name="connsiteX101" fmla="*/ 2352675 w 2889264"/>
              <a:gd name="connsiteY101" fmla="*/ 466725 h 733425"/>
              <a:gd name="connsiteX102" fmla="*/ 2397125 w 2889264"/>
              <a:gd name="connsiteY102" fmla="*/ 488950 h 733425"/>
              <a:gd name="connsiteX103" fmla="*/ 2422525 w 2889264"/>
              <a:gd name="connsiteY103" fmla="*/ 495300 h 733425"/>
              <a:gd name="connsiteX104" fmla="*/ 2432050 w 2889264"/>
              <a:gd name="connsiteY104" fmla="*/ 498475 h 733425"/>
              <a:gd name="connsiteX105" fmla="*/ 2454275 w 2889264"/>
              <a:gd name="connsiteY105" fmla="*/ 511175 h 733425"/>
              <a:gd name="connsiteX106" fmla="*/ 2470150 w 2889264"/>
              <a:gd name="connsiteY106" fmla="*/ 523875 h 733425"/>
              <a:gd name="connsiteX107" fmla="*/ 2495550 w 2889264"/>
              <a:gd name="connsiteY107" fmla="*/ 533400 h 733425"/>
              <a:gd name="connsiteX108" fmla="*/ 2546350 w 2889264"/>
              <a:gd name="connsiteY108" fmla="*/ 558800 h 733425"/>
              <a:gd name="connsiteX109" fmla="*/ 2574925 w 2889264"/>
              <a:gd name="connsiteY109" fmla="*/ 565150 h 733425"/>
              <a:gd name="connsiteX110" fmla="*/ 2600325 w 2889264"/>
              <a:gd name="connsiteY110" fmla="*/ 577850 h 733425"/>
              <a:gd name="connsiteX111" fmla="*/ 2616200 w 2889264"/>
              <a:gd name="connsiteY111" fmla="*/ 581025 h 733425"/>
              <a:gd name="connsiteX112" fmla="*/ 2638425 w 2889264"/>
              <a:gd name="connsiteY112" fmla="*/ 587375 h 733425"/>
              <a:gd name="connsiteX113" fmla="*/ 2654300 w 2889264"/>
              <a:gd name="connsiteY113" fmla="*/ 596900 h 733425"/>
              <a:gd name="connsiteX114" fmla="*/ 2673350 w 2889264"/>
              <a:gd name="connsiteY114" fmla="*/ 603250 h 733425"/>
              <a:gd name="connsiteX115" fmla="*/ 2708275 w 2889264"/>
              <a:gd name="connsiteY115" fmla="*/ 625475 h 733425"/>
              <a:gd name="connsiteX116" fmla="*/ 2730500 w 2889264"/>
              <a:gd name="connsiteY116" fmla="*/ 635000 h 733425"/>
              <a:gd name="connsiteX117" fmla="*/ 2749550 w 2889264"/>
              <a:gd name="connsiteY117" fmla="*/ 650875 h 733425"/>
              <a:gd name="connsiteX118" fmla="*/ 2774950 w 2889264"/>
              <a:gd name="connsiteY118" fmla="*/ 663575 h 733425"/>
              <a:gd name="connsiteX119" fmla="*/ 2803525 w 2889264"/>
              <a:gd name="connsiteY119" fmla="*/ 676275 h 733425"/>
              <a:gd name="connsiteX120" fmla="*/ 2816225 w 2889264"/>
              <a:gd name="connsiteY120" fmla="*/ 685800 h 733425"/>
              <a:gd name="connsiteX121" fmla="*/ 2832100 w 2889264"/>
              <a:gd name="connsiteY121" fmla="*/ 692150 h 733425"/>
              <a:gd name="connsiteX122" fmla="*/ 2876550 w 2889264"/>
              <a:gd name="connsiteY122" fmla="*/ 723900 h 733425"/>
              <a:gd name="connsiteX123" fmla="*/ 2889250 w 2889264"/>
              <a:gd name="connsiteY123" fmla="*/ 733425 h 733425"/>
              <a:gd name="connsiteX0" fmla="*/ 0 w 2889264"/>
              <a:gd name="connsiteY0" fmla="*/ 720725 h 733425"/>
              <a:gd name="connsiteX1" fmla="*/ 34925 w 2889264"/>
              <a:gd name="connsiteY1" fmla="*/ 698500 h 733425"/>
              <a:gd name="connsiteX2" fmla="*/ 111125 w 2889264"/>
              <a:gd name="connsiteY2" fmla="*/ 657225 h 733425"/>
              <a:gd name="connsiteX3" fmla="*/ 171450 w 2889264"/>
              <a:gd name="connsiteY3" fmla="*/ 628650 h 733425"/>
              <a:gd name="connsiteX4" fmla="*/ 203200 w 2889264"/>
              <a:gd name="connsiteY4" fmla="*/ 609600 h 733425"/>
              <a:gd name="connsiteX5" fmla="*/ 247650 w 2889264"/>
              <a:gd name="connsiteY5" fmla="*/ 593725 h 733425"/>
              <a:gd name="connsiteX6" fmla="*/ 285750 w 2889264"/>
              <a:gd name="connsiteY6" fmla="*/ 581025 h 733425"/>
              <a:gd name="connsiteX7" fmla="*/ 317500 w 2889264"/>
              <a:gd name="connsiteY7" fmla="*/ 571500 h 733425"/>
              <a:gd name="connsiteX8" fmla="*/ 352425 w 2889264"/>
              <a:gd name="connsiteY8" fmla="*/ 555625 h 733425"/>
              <a:gd name="connsiteX9" fmla="*/ 381000 w 2889264"/>
              <a:gd name="connsiteY9" fmla="*/ 539750 h 733425"/>
              <a:gd name="connsiteX10" fmla="*/ 390525 w 2889264"/>
              <a:gd name="connsiteY10" fmla="*/ 536575 h 733425"/>
              <a:gd name="connsiteX11" fmla="*/ 406400 w 2889264"/>
              <a:gd name="connsiteY11" fmla="*/ 530225 h 733425"/>
              <a:gd name="connsiteX12" fmla="*/ 434975 w 2889264"/>
              <a:gd name="connsiteY12" fmla="*/ 514350 h 733425"/>
              <a:gd name="connsiteX13" fmla="*/ 454025 w 2889264"/>
              <a:gd name="connsiteY13" fmla="*/ 504825 h 733425"/>
              <a:gd name="connsiteX14" fmla="*/ 463550 w 2889264"/>
              <a:gd name="connsiteY14" fmla="*/ 498475 h 733425"/>
              <a:gd name="connsiteX15" fmla="*/ 476250 w 2889264"/>
              <a:gd name="connsiteY15" fmla="*/ 495300 h 733425"/>
              <a:gd name="connsiteX16" fmla="*/ 492125 w 2889264"/>
              <a:gd name="connsiteY16" fmla="*/ 488950 h 733425"/>
              <a:gd name="connsiteX17" fmla="*/ 501650 w 2889264"/>
              <a:gd name="connsiteY17" fmla="*/ 485775 h 733425"/>
              <a:gd name="connsiteX18" fmla="*/ 523875 w 2889264"/>
              <a:gd name="connsiteY18" fmla="*/ 469900 h 733425"/>
              <a:gd name="connsiteX19" fmla="*/ 552450 w 2889264"/>
              <a:gd name="connsiteY19" fmla="*/ 450850 h 733425"/>
              <a:gd name="connsiteX20" fmla="*/ 568325 w 2889264"/>
              <a:gd name="connsiteY20" fmla="*/ 447675 h 733425"/>
              <a:gd name="connsiteX21" fmla="*/ 584200 w 2889264"/>
              <a:gd name="connsiteY21" fmla="*/ 441325 h 733425"/>
              <a:gd name="connsiteX22" fmla="*/ 593725 w 2889264"/>
              <a:gd name="connsiteY22" fmla="*/ 438150 h 733425"/>
              <a:gd name="connsiteX23" fmla="*/ 612775 w 2889264"/>
              <a:gd name="connsiteY23" fmla="*/ 428625 h 733425"/>
              <a:gd name="connsiteX24" fmla="*/ 628650 w 2889264"/>
              <a:gd name="connsiteY24" fmla="*/ 422275 h 733425"/>
              <a:gd name="connsiteX25" fmla="*/ 641350 w 2889264"/>
              <a:gd name="connsiteY25" fmla="*/ 415925 h 733425"/>
              <a:gd name="connsiteX26" fmla="*/ 657225 w 2889264"/>
              <a:gd name="connsiteY26" fmla="*/ 406400 h 733425"/>
              <a:gd name="connsiteX27" fmla="*/ 676275 w 2889264"/>
              <a:gd name="connsiteY27" fmla="*/ 400050 h 733425"/>
              <a:gd name="connsiteX28" fmla="*/ 708025 w 2889264"/>
              <a:gd name="connsiteY28" fmla="*/ 381000 h 733425"/>
              <a:gd name="connsiteX29" fmla="*/ 736600 w 2889264"/>
              <a:gd name="connsiteY29" fmla="*/ 368300 h 733425"/>
              <a:gd name="connsiteX30" fmla="*/ 742950 w 2889264"/>
              <a:gd name="connsiteY30" fmla="*/ 358775 h 733425"/>
              <a:gd name="connsiteX31" fmla="*/ 790575 w 2889264"/>
              <a:gd name="connsiteY31" fmla="*/ 339725 h 733425"/>
              <a:gd name="connsiteX32" fmla="*/ 800100 w 2889264"/>
              <a:gd name="connsiteY32" fmla="*/ 336550 h 733425"/>
              <a:gd name="connsiteX33" fmla="*/ 812800 w 2889264"/>
              <a:gd name="connsiteY33" fmla="*/ 330200 h 733425"/>
              <a:gd name="connsiteX34" fmla="*/ 828675 w 2889264"/>
              <a:gd name="connsiteY34" fmla="*/ 327025 h 733425"/>
              <a:gd name="connsiteX35" fmla="*/ 898525 w 2889264"/>
              <a:gd name="connsiteY35" fmla="*/ 288925 h 733425"/>
              <a:gd name="connsiteX36" fmla="*/ 923925 w 2889264"/>
              <a:gd name="connsiteY36" fmla="*/ 269875 h 733425"/>
              <a:gd name="connsiteX37" fmla="*/ 933450 w 2889264"/>
              <a:gd name="connsiteY37" fmla="*/ 260350 h 733425"/>
              <a:gd name="connsiteX38" fmla="*/ 958850 w 2889264"/>
              <a:gd name="connsiteY38" fmla="*/ 247650 h 733425"/>
              <a:gd name="connsiteX39" fmla="*/ 968375 w 2889264"/>
              <a:gd name="connsiteY39" fmla="*/ 241300 h 733425"/>
              <a:gd name="connsiteX40" fmla="*/ 984250 w 2889264"/>
              <a:gd name="connsiteY40" fmla="*/ 234950 h 733425"/>
              <a:gd name="connsiteX41" fmla="*/ 1006475 w 2889264"/>
              <a:gd name="connsiteY41" fmla="*/ 225425 h 733425"/>
              <a:gd name="connsiteX42" fmla="*/ 1050925 w 2889264"/>
              <a:gd name="connsiteY42" fmla="*/ 212725 h 733425"/>
              <a:gd name="connsiteX43" fmla="*/ 1079500 w 2889264"/>
              <a:gd name="connsiteY43" fmla="*/ 200025 h 733425"/>
              <a:gd name="connsiteX44" fmla="*/ 1098550 w 2889264"/>
              <a:gd name="connsiteY44" fmla="*/ 193675 h 733425"/>
              <a:gd name="connsiteX45" fmla="*/ 1111250 w 2889264"/>
              <a:gd name="connsiteY45" fmla="*/ 187325 h 733425"/>
              <a:gd name="connsiteX46" fmla="*/ 1136650 w 2889264"/>
              <a:gd name="connsiteY46" fmla="*/ 177800 h 733425"/>
              <a:gd name="connsiteX47" fmla="*/ 1181100 w 2889264"/>
              <a:gd name="connsiteY47" fmla="*/ 152400 h 733425"/>
              <a:gd name="connsiteX48" fmla="*/ 1203325 w 2889264"/>
              <a:gd name="connsiteY48" fmla="*/ 130175 h 733425"/>
              <a:gd name="connsiteX49" fmla="*/ 1219200 w 2889264"/>
              <a:gd name="connsiteY49" fmla="*/ 117475 h 733425"/>
              <a:gd name="connsiteX50" fmla="*/ 1276350 w 2889264"/>
              <a:gd name="connsiteY50" fmla="*/ 85725 h 733425"/>
              <a:gd name="connsiteX51" fmla="*/ 1289050 w 2889264"/>
              <a:gd name="connsiteY51" fmla="*/ 79375 h 733425"/>
              <a:gd name="connsiteX52" fmla="*/ 1327150 w 2889264"/>
              <a:gd name="connsiteY52" fmla="*/ 66675 h 733425"/>
              <a:gd name="connsiteX53" fmla="*/ 1343025 w 2889264"/>
              <a:gd name="connsiteY53" fmla="*/ 57150 h 733425"/>
              <a:gd name="connsiteX54" fmla="*/ 1355725 w 2889264"/>
              <a:gd name="connsiteY54" fmla="*/ 47625 h 733425"/>
              <a:gd name="connsiteX55" fmla="*/ 1377950 w 2889264"/>
              <a:gd name="connsiteY55" fmla="*/ 38100 h 733425"/>
              <a:gd name="connsiteX56" fmla="*/ 1416050 w 2889264"/>
              <a:gd name="connsiteY56" fmla="*/ 12700 h 733425"/>
              <a:gd name="connsiteX57" fmla="*/ 1428750 w 2889264"/>
              <a:gd name="connsiteY57" fmla="*/ 0 h 733425"/>
              <a:gd name="connsiteX58" fmla="*/ 1470025 w 2889264"/>
              <a:gd name="connsiteY58" fmla="*/ 28575 h 733425"/>
              <a:gd name="connsiteX59" fmla="*/ 1504950 w 2889264"/>
              <a:gd name="connsiteY59" fmla="*/ 41275 h 733425"/>
              <a:gd name="connsiteX60" fmla="*/ 1517650 w 2889264"/>
              <a:gd name="connsiteY60" fmla="*/ 50800 h 733425"/>
              <a:gd name="connsiteX61" fmla="*/ 1549400 w 2889264"/>
              <a:gd name="connsiteY61" fmla="*/ 60325 h 733425"/>
              <a:gd name="connsiteX62" fmla="*/ 1562100 w 2889264"/>
              <a:gd name="connsiteY62" fmla="*/ 69850 h 733425"/>
              <a:gd name="connsiteX63" fmla="*/ 1574800 w 2889264"/>
              <a:gd name="connsiteY63" fmla="*/ 73025 h 733425"/>
              <a:gd name="connsiteX64" fmla="*/ 1590675 w 2889264"/>
              <a:gd name="connsiteY64" fmla="*/ 79375 h 733425"/>
              <a:gd name="connsiteX65" fmla="*/ 1600200 w 2889264"/>
              <a:gd name="connsiteY65" fmla="*/ 85725 h 733425"/>
              <a:gd name="connsiteX66" fmla="*/ 1612900 w 2889264"/>
              <a:gd name="connsiteY66" fmla="*/ 92075 h 733425"/>
              <a:gd name="connsiteX67" fmla="*/ 1625600 w 2889264"/>
              <a:gd name="connsiteY67" fmla="*/ 101600 h 733425"/>
              <a:gd name="connsiteX68" fmla="*/ 1635125 w 2889264"/>
              <a:gd name="connsiteY68" fmla="*/ 104775 h 733425"/>
              <a:gd name="connsiteX69" fmla="*/ 1654175 w 2889264"/>
              <a:gd name="connsiteY69" fmla="*/ 114300 h 733425"/>
              <a:gd name="connsiteX70" fmla="*/ 1676400 w 2889264"/>
              <a:gd name="connsiteY70" fmla="*/ 130175 h 733425"/>
              <a:gd name="connsiteX71" fmla="*/ 1689100 w 2889264"/>
              <a:gd name="connsiteY71" fmla="*/ 136525 h 733425"/>
              <a:gd name="connsiteX72" fmla="*/ 1714500 w 2889264"/>
              <a:gd name="connsiteY72" fmla="*/ 146050 h 733425"/>
              <a:gd name="connsiteX73" fmla="*/ 1727200 w 2889264"/>
              <a:gd name="connsiteY73" fmla="*/ 155575 h 733425"/>
              <a:gd name="connsiteX74" fmla="*/ 1758950 w 2889264"/>
              <a:gd name="connsiteY74" fmla="*/ 165100 h 733425"/>
              <a:gd name="connsiteX75" fmla="*/ 1768475 w 2889264"/>
              <a:gd name="connsiteY75" fmla="*/ 171450 h 733425"/>
              <a:gd name="connsiteX76" fmla="*/ 1781175 w 2889264"/>
              <a:gd name="connsiteY76" fmla="*/ 180975 h 733425"/>
              <a:gd name="connsiteX77" fmla="*/ 1793875 w 2889264"/>
              <a:gd name="connsiteY77" fmla="*/ 187325 h 733425"/>
              <a:gd name="connsiteX78" fmla="*/ 1838325 w 2889264"/>
              <a:gd name="connsiteY78" fmla="*/ 212725 h 733425"/>
              <a:gd name="connsiteX79" fmla="*/ 1847850 w 2889264"/>
              <a:gd name="connsiteY79" fmla="*/ 222250 h 733425"/>
              <a:gd name="connsiteX80" fmla="*/ 1885950 w 2889264"/>
              <a:gd name="connsiteY80" fmla="*/ 241300 h 733425"/>
              <a:gd name="connsiteX81" fmla="*/ 1901825 w 2889264"/>
              <a:gd name="connsiteY81" fmla="*/ 250825 h 733425"/>
              <a:gd name="connsiteX82" fmla="*/ 1933575 w 2889264"/>
              <a:gd name="connsiteY82" fmla="*/ 263525 h 733425"/>
              <a:gd name="connsiteX83" fmla="*/ 1962150 w 2889264"/>
              <a:gd name="connsiteY83" fmla="*/ 276225 h 733425"/>
              <a:gd name="connsiteX84" fmla="*/ 1971675 w 2889264"/>
              <a:gd name="connsiteY84" fmla="*/ 282575 h 733425"/>
              <a:gd name="connsiteX85" fmla="*/ 1987550 w 2889264"/>
              <a:gd name="connsiteY85" fmla="*/ 288925 h 733425"/>
              <a:gd name="connsiteX86" fmla="*/ 2022475 w 2889264"/>
              <a:gd name="connsiteY86" fmla="*/ 301625 h 733425"/>
              <a:gd name="connsiteX87" fmla="*/ 2047875 w 2889264"/>
              <a:gd name="connsiteY87" fmla="*/ 314325 h 733425"/>
              <a:gd name="connsiteX88" fmla="*/ 2063750 w 2889264"/>
              <a:gd name="connsiteY88" fmla="*/ 320675 h 733425"/>
              <a:gd name="connsiteX89" fmla="*/ 2082800 w 2889264"/>
              <a:gd name="connsiteY89" fmla="*/ 330200 h 733425"/>
              <a:gd name="connsiteX90" fmla="*/ 2095500 w 2889264"/>
              <a:gd name="connsiteY90" fmla="*/ 333375 h 733425"/>
              <a:gd name="connsiteX91" fmla="*/ 2124075 w 2889264"/>
              <a:gd name="connsiteY91" fmla="*/ 342900 h 733425"/>
              <a:gd name="connsiteX92" fmla="*/ 2159000 w 2889264"/>
              <a:gd name="connsiteY92" fmla="*/ 358775 h 733425"/>
              <a:gd name="connsiteX93" fmla="*/ 2187575 w 2889264"/>
              <a:gd name="connsiteY93" fmla="*/ 377825 h 733425"/>
              <a:gd name="connsiteX94" fmla="*/ 2209800 w 2889264"/>
              <a:gd name="connsiteY94" fmla="*/ 393700 h 733425"/>
              <a:gd name="connsiteX95" fmla="*/ 2247900 w 2889264"/>
              <a:gd name="connsiteY95" fmla="*/ 419100 h 733425"/>
              <a:gd name="connsiteX96" fmla="*/ 2276475 w 2889264"/>
              <a:gd name="connsiteY96" fmla="*/ 434975 h 733425"/>
              <a:gd name="connsiteX97" fmla="*/ 2289175 w 2889264"/>
              <a:gd name="connsiteY97" fmla="*/ 444500 h 733425"/>
              <a:gd name="connsiteX98" fmla="*/ 2308225 w 2889264"/>
              <a:gd name="connsiteY98" fmla="*/ 447675 h 733425"/>
              <a:gd name="connsiteX99" fmla="*/ 2333625 w 2889264"/>
              <a:gd name="connsiteY99" fmla="*/ 460375 h 733425"/>
              <a:gd name="connsiteX100" fmla="*/ 2352675 w 2889264"/>
              <a:gd name="connsiteY100" fmla="*/ 466725 h 733425"/>
              <a:gd name="connsiteX101" fmla="*/ 2397125 w 2889264"/>
              <a:gd name="connsiteY101" fmla="*/ 488950 h 733425"/>
              <a:gd name="connsiteX102" fmla="*/ 2422525 w 2889264"/>
              <a:gd name="connsiteY102" fmla="*/ 495300 h 733425"/>
              <a:gd name="connsiteX103" fmla="*/ 2432050 w 2889264"/>
              <a:gd name="connsiteY103" fmla="*/ 498475 h 733425"/>
              <a:gd name="connsiteX104" fmla="*/ 2454275 w 2889264"/>
              <a:gd name="connsiteY104" fmla="*/ 511175 h 733425"/>
              <a:gd name="connsiteX105" fmla="*/ 2470150 w 2889264"/>
              <a:gd name="connsiteY105" fmla="*/ 523875 h 733425"/>
              <a:gd name="connsiteX106" fmla="*/ 2495550 w 2889264"/>
              <a:gd name="connsiteY106" fmla="*/ 533400 h 733425"/>
              <a:gd name="connsiteX107" fmla="*/ 2546350 w 2889264"/>
              <a:gd name="connsiteY107" fmla="*/ 558800 h 733425"/>
              <a:gd name="connsiteX108" fmla="*/ 2574925 w 2889264"/>
              <a:gd name="connsiteY108" fmla="*/ 565150 h 733425"/>
              <a:gd name="connsiteX109" fmla="*/ 2600325 w 2889264"/>
              <a:gd name="connsiteY109" fmla="*/ 577850 h 733425"/>
              <a:gd name="connsiteX110" fmla="*/ 2616200 w 2889264"/>
              <a:gd name="connsiteY110" fmla="*/ 581025 h 733425"/>
              <a:gd name="connsiteX111" fmla="*/ 2638425 w 2889264"/>
              <a:gd name="connsiteY111" fmla="*/ 587375 h 733425"/>
              <a:gd name="connsiteX112" fmla="*/ 2654300 w 2889264"/>
              <a:gd name="connsiteY112" fmla="*/ 596900 h 733425"/>
              <a:gd name="connsiteX113" fmla="*/ 2673350 w 2889264"/>
              <a:gd name="connsiteY113" fmla="*/ 603250 h 733425"/>
              <a:gd name="connsiteX114" fmla="*/ 2708275 w 2889264"/>
              <a:gd name="connsiteY114" fmla="*/ 625475 h 733425"/>
              <a:gd name="connsiteX115" fmla="*/ 2730500 w 2889264"/>
              <a:gd name="connsiteY115" fmla="*/ 635000 h 733425"/>
              <a:gd name="connsiteX116" fmla="*/ 2749550 w 2889264"/>
              <a:gd name="connsiteY116" fmla="*/ 650875 h 733425"/>
              <a:gd name="connsiteX117" fmla="*/ 2774950 w 2889264"/>
              <a:gd name="connsiteY117" fmla="*/ 663575 h 733425"/>
              <a:gd name="connsiteX118" fmla="*/ 2803525 w 2889264"/>
              <a:gd name="connsiteY118" fmla="*/ 676275 h 733425"/>
              <a:gd name="connsiteX119" fmla="*/ 2816225 w 2889264"/>
              <a:gd name="connsiteY119" fmla="*/ 685800 h 733425"/>
              <a:gd name="connsiteX120" fmla="*/ 2832100 w 2889264"/>
              <a:gd name="connsiteY120" fmla="*/ 692150 h 733425"/>
              <a:gd name="connsiteX121" fmla="*/ 2876550 w 2889264"/>
              <a:gd name="connsiteY121" fmla="*/ 723900 h 733425"/>
              <a:gd name="connsiteX122" fmla="*/ 2889250 w 2889264"/>
              <a:gd name="connsiteY122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285750 w 2889264"/>
              <a:gd name="connsiteY5" fmla="*/ 581025 h 733425"/>
              <a:gd name="connsiteX6" fmla="*/ 317500 w 2889264"/>
              <a:gd name="connsiteY6" fmla="*/ 571500 h 733425"/>
              <a:gd name="connsiteX7" fmla="*/ 352425 w 2889264"/>
              <a:gd name="connsiteY7" fmla="*/ 555625 h 733425"/>
              <a:gd name="connsiteX8" fmla="*/ 381000 w 2889264"/>
              <a:gd name="connsiteY8" fmla="*/ 539750 h 733425"/>
              <a:gd name="connsiteX9" fmla="*/ 390525 w 2889264"/>
              <a:gd name="connsiteY9" fmla="*/ 536575 h 733425"/>
              <a:gd name="connsiteX10" fmla="*/ 406400 w 2889264"/>
              <a:gd name="connsiteY10" fmla="*/ 530225 h 733425"/>
              <a:gd name="connsiteX11" fmla="*/ 434975 w 2889264"/>
              <a:gd name="connsiteY11" fmla="*/ 514350 h 733425"/>
              <a:gd name="connsiteX12" fmla="*/ 454025 w 2889264"/>
              <a:gd name="connsiteY12" fmla="*/ 504825 h 733425"/>
              <a:gd name="connsiteX13" fmla="*/ 463550 w 2889264"/>
              <a:gd name="connsiteY13" fmla="*/ 498475 h 733425"/>
              <a:gd name="connsiteX14" fmla="*/ 476250 w 2889264"/>
              <a:gd name="connsiteY14" fmla="*/ 495300 h 733425"/>
              <a:gd name="connsiteX15" fmla="*/ 492125 w 2889264"/>
              <a:gd name="connsiteY15" fmla="*/ 488950 h 733425"/>
              <a:gd name="connsiteX16" fmla="*/ 501650 w 2889264"/>
              <a:gd name="connsiteY16" fmla="*/ 485775 h 733425"/>
              <a:gd name="connsiteX17" fmla="*/ 523875 w 2889264"/>
              <a:gd name="connsiteY17" fmla="*/ 469900 h 733425"/>
              <a:gd name="connsiteX18" fmla="*/ 552450 w 2889264"/>
              <a:gd name="connsiteY18" fmla="*/ 450850 h 733425"/>
              <a:gd name="connsiteX19" fmla="*/ 568325 w 2889264"/>
              <a:gd name="connsiteY19" fmla="*/ 447675 h 733425"/>
              <a:gd name="connsiteX20" fmla="*/ 584200 w 2889264"/>
              <a:gd name="connsiteY20" fmla="*/ 441325 h 733425"/>
              <a:gd name="connsiteX21" fmla="*/ 593725 w 2889264"/>
              <a:gd name="connsiteY21" fmla="*/ 438150 h 733425"/>
              <a:gd name="connsiteX22" fmla="*/ 612775 w 2889264"/>
              <a:gd name="connsiteY22" fmla="*/ 428625 h 733425"/>
              <a:gd name="connsiteX23" fmla="*/ 628650 w 2889264"/>
              <a:gd name="connsiteY23" fmla="*/ 422275 h 733425"/>
              <a:gd name="connsiteX24" fmla="*/ 641350 w 2889264"/>
              <a:gd name="connsiteY24" fmla="*/ 415925 h 733425"/>
              <a:gd name="connsiteX25" fmla="*/ 657225 w 2889264"/>
              <a:gd name="connsiteY25" fmla="*/ 406400 h 733425"/>
              <a:gd name="connsiteX26" fmla="*/ 676275 w 2889264"/>
              <a:gd name="connsiteY26" fmla="*/ 400050 h 733425"/>
              <a:gd name="connsiteX27" fmla="*/ 708025 w 2889264"/>
              <a:gd name="connsiteY27" fmla="*/ 381000 h 733425"/>
              <a:gd name="connsiteX28" fmla="*/ 736600 w 2889264"/>
              <a:gd name="connsiteY28" fmla="*/ 368300 h 733425"/>
              <a:gd name="connsiteX29" fmla="*/ 742950 w 2889264"/>
              <a:gd name="connsiteY29" fmla="*/ 358775 h 733425"/>
              <a:gd name="connsiteX30" fmla="*/ 790575 w 2889264"/>
              <a:gd name="connsiteY30" fmla="*/ 339725 h 733425"/>
              <a:gd name="connsiteX31" fmla="*/ 800100 w 2889264"/>
              <a:gd name="connsiteY31" fmla="*/ 336550 h 733425"/>
              <a:gd name="connsiteX32" fmla="*/ 812800 w 2889264"/>
              <a:gd name="connsiteY32" fmla="*/ 330200 h 733425"/>
              <a:gd name="connsiteX33" fmla="*/ 828675 w 2889264"/>
              <a:gd name="connsiteY33" fmla="*/ 327025 h 733425"/>
              <a:gd name="connsiteX34" fmla="*/ 898525 w 2889264"/>
              <a:gd name="connsiteY34" fmla="*/ 288925 h 733425"/>
              <a:gd name="connsiteX35" fmla="*/ 923925 w 2889264"/>
              <a:gd name="connsiteY35" fmla="*/ 269875 h 733425"/>
              <a:gd name="connsiteX36" fmla="*/ 933450 w 2889264"/>
              <a:gd name="connsiteY36" fmla="*/ 260350 h 733425"/>
              <a:gd name="connsiteX37" fmla="*/ 958850 w 2889264"/>
              <a:gd name="connsiteY37" fmla="*/ 247650 h 733425"/>
              <a:gd name="connsiteX38" fmla="*/ 968375 w 2889264"/>
              <a:gd name="connsiteY38" fmla="*/ 241300 h 733425"/>
              <a:gd name="connsiteX39" fmla="*/ 984250 w 2889264"/>
              <a:gd name="connsiteY39" fmla="*/ 234950 h 733425"/>
              <a:gd name="connsiteX40" fmla="*/ 1006475 w 2889264"/>
              <a:gd name="connsiteY40" fmla="*/ 225425 h 733425"/>
              <a:gd name="connsiteX41" fmla="*/ 1050925 w 2889264"/>
              <a:gd name="connsiteY41" fmla="*/ 212725 h 733425"/>
              <a:gd name="connsiteX42" fmla="*/ 1079500 w 2889264"/>
              <a:gd name="connsiteY42" fmla="*/ 200025 h 733425"/>
              <a:gd name="connsiteX43" fmla="*/ 1098550 w 2889264"/>
              <a:gd name="connsiteY43" fmla="*/ 193675 h 733425"/>
              <a:gd name="connsiteX44" fmla="*/ 1111250 w 2889264"/>
              <a:gd name="connsiteY44" fmla="*/ 187325 h 733425"/>
              <a:gd name="connsiteX45" fmla="*/ 1136650 w 2889264"/>
              <a:gd name="connsiteY45" fmla="*/ 177800 h 733425"/>
              <a:gd name="connsiteX46" fmla="*/ 1181100 w 2889264"/>
              <a:gd name="connsiteY46" fmla="*/ 152400 h 733425"/>
              <a:gd name="connsiteX47" fmla="*/ 1203325 w 2889264"/>
              <a:gd name="connsiteY47" fmla="*/ 130175 h 733425"/>
              <a:gd name="connsiteX48" fmla="*/ 1219200 w 2889264"/>
              <a:gd name="connsiteY48" fmla="*/ 117475 h 733425"/>
              <a:gd name="connsiteX49" fmla="*/ 1276350 w 2889264"/>
              <a:gd name="connsiteY49" fmla="*/ 85725 h 733425"/>
              <a:gd name="connsiteX50" fmla="*/ 1289050 w 2889264"/>
              <a:gd name="connsiteY50" fmla="*/ 79375 h 733425"/>
              <a:gd name="connsiteX51" fmla="*/ 1327150 w 2889264"/>
              <a:gd name="connsiteY51" fmla="*/ 66675 h 733425"/>
              <a:gd name="connsiteX52" fmla="*/ 1343025 w 2889264"/>
              <a:gd name="connsiteY52" fmla="*/ 57150 h 733425"/>
              <a:gd name="connsiteX53" fmla="*/ 1355725 w 2889264"/>
              <a:gd name="connsiteY53" fmla="*/ 47625 h 733425"/>
              <a:gd name="connsiteX54" fmla="*/ 1377950 w 2889264"/>
              <a:gd name="connsiteY54" fmla="*/ 38100 h 733425"/>
              <a:gd name="connsiteX55" fmla="*/ 1416050 w 2889264"/>
              <a:gd name="connsiteY55" fmla="*/ 12700 h 733425"/>
              <a:gd name="connsiteX56" fmla="*/ 1428750 w 2889264"/>
              <a:gd name="connsiteY56" fmla="*/ 0 h 733425"/>
              <a:gd name="connsiteX57" fmla="*/ 1470025 w 2889264"/>
              <a:gd name="connsiteY57" fmla="*/ 28575 h 733425"/>
              <a:gd name="connsiteX58" fmla="*/ 1504950 w 2889264"/>
              <a:gd name="connsiteY58" fmla="*/ 41275 h 733425"/>
              <a:gd name="connsiteX59" fmla="*/ 1517650 w 2889264"/>
              <a:gd name="connsiteY59" fmla="*/ 50800 h 733425"/>
              <a:gd name="connsiteX60" fmla="*/ 1549400 w 2889264"/>
              <a:gd name="connsiteY60" fmla="*/ 60325 h 733425"/>
              <a:gd name="connsiteX61" fmla="*/ 1562100 w 2889264"/>
              <a:gd name="connsiteY61" fmla="*/ 69850 h 733425"/>
              <a:gd name="connsiteX62" fmla="*/ 1574800 w 2889264"/>
              <a:gd name="connsiteY62" fmla="*/ 73025 h 733425"/>
              <a:gd name="connsiteX63" fmla="*/ 1590675 w 2889264"/>
              <a:gd name="connsiteY63" fmla="*/ 79375 h 733425"/>
              <a:gd name="connsiteX64" fmla="*/ 1600200 w 2889264"/>
              <a:gd name="connsiteY64" fmla="*/ 85725 h 733425"/>
              <a:gd name="connsiteX65" fmla="*/ 1612900 w 2889264"/>
              <a:gd name="connsiteY65" fmla="*/ 92075 h 733425"/>
              <a:gd name="connsiteX66" fmla="*/ 1625600 w 2889264"/>
              <a:gd name="connsiteY66" fmla="*/ 101600 h 733425"/>
              <a:gd name="connsiteX67" fmla="*/ 1635125 w 2889264"/>
              <a:gd name="connsiteY67" fmla="*/ 104775 h 733425"/>
              <a:gd name="connsiteX68" fmla="*/ 1654175 w 2889264"/>
              <a:gd name="connsiteY68" fmla="*/ 114300 h 733425"/>
              <a:gd name="connsiteX69" fmla="*/ 1676400 w 2889264"/>
              <a:gd name="connsiteY69" fmla="*/ 130175 h 733425"/>
              <a:gd name="connsiteX70" fmla="*/ 1689100 w 2889264"/>
              <a:gd name="connsiteY70" fmla="*/ 136525 h 733425"/>
              <a:gd name="connsiteX71" fmla="*/ 1714500 w 2889264"/>
              <a:gd name="connsiteY71" fmla="*/ 146050 h 733425"/>
              <a:gd name="connsiteX72" fmla="*/ 1727200 w 2889264"/>
              <a:gd name="connsiteY72" fmla="*/ 155575 h 733425"/>
              <a:gd name="connsiteX73" fmla="*/ 1758950 w 2889264"/>
              <a:gd name="connsiteY73" fmla="*/ 165100 h 733425"/>
              <a:gd name="connsiteX74" fmla="*/ 1768475 w 2889264"/>
              <a:gd name="connsiteY74" fmla="*/ 171450 h 733425"/>
              <a:gd name="connsiteX75" fmla="*/ 1781175 w 2889264"/>
              <a:gd name="connsiteY75" fmla="*/ 180975 h 733425"/>
              <a:gd name="connsiteX76" fmla="*/ 1793875 w 2889264"/>
              <a:gd name="connsiteY76" fmla="*/ 187325 h 733425"/>
              <a:gd name="connsiteX77" fmla="*/ 1838325 w 2889264"/>
              <a:gd name="connsiteY77" fmla="*/ 212725 h 733425"/>
              <a:gd name="connsiteX78" fmla="*/ 1847850 w 2889264"/>
              <a:gd name="connsiteY78" fmla="*/ 222250 h 733425"/>
              <a:gd name="connsiteX79" fmla="*/ 1885950 w 2889264"/>
              <a:gd name="connsiteY79" fmla="*/ 241300 h 733425"/>
              <a:gd name="connsiteX80" fmla="*/ 1901825 w 2889264"/>
              <a:gd name="connsiteY80" fmla="*/ 250825 h 733425"/>
              <a:gd name="connsiteX81" fmla="*/ 1933575 w 2889264"/>
              <a:gd name="connsiteY81" fmla="*/ 263525 h 733425"/>
              <a:gd name="connsiteX82" fmla="*/ 1962150 w 2889264"/>
              <a:gd name="connsiteY82" fmla="*/ 276225 h 733425"/>
              <a:gd name="connsiteX83" fmla="*/ 1971675 w 2889264"/>
              <a:gd name="connsiteY83" fmla="*/ 282575 h 733425"/>
              <a:gd name="connsiteX84" fmla="*/ 1987550 w 2889264"/>
              <a:gd name="connsiteY84" fmla="*/ 288925 h 733425"/>
              <a:gd name="connsiteX85" fmla="*/ 2022475 w 2889264"/>
              <a:gd name="connsiteY85" fmla="*/ 301625 h 733425"/>
              <a:gd name="connsiteX86" fmla="*/ 2047875 w 2889264"/>
              <a:gd name="connsiteY86" fmla="*/ 314325 h 733425"/>
              <a:gd name="connsiteX87" fmla="*/ 2063750 w 2889264"/>
              <a:gd name="connsiteY87" fmla="*/ 320675 h 733425"/>
              <a:gd name="connsiteX88" fmla="*/ 2082800 w 2889264"/>
              <a:gd name="connsiteY88" fmla="*/ 330200 h 733425"/>
              <a:gd name="connsiteX89" fmla="*/ 2095500 w 2889264"/>
              <a:gd name="connsiteY89" fmla="*/ 333375 h 733425"/>
              <a:gd name="connsiteX90" fmla="*/ 2124075 w 2889264"/>
              <a:gd name="connsiteY90" fmla="*/ 342900 h 733425"/>
              <a:gd name="connsiteX91" fmla="*/ 2159000 w 2889264"/>
              <a:gd name="connsiteY91" fmla="*/ 358775 h 733425"/>
              <a:gd name="connsiteX92" fmla="*/ 2187575 w 2889264"/>
              <a:gd name="connsiteY92" fmla="*/ 377825 h 733425"/>
              <a:gd name="connsiteX93" fmla="*/ 2209800 w 2889264"/>
              <a:gd name="connsiteY93" fmla="*/ 393700 h 733425"/>
              <a:gd name="connsiteX94" fmla="*/ 2247900 w 2889264"/>
              <a:gd name="connsiteY94" fmla="*/ 419100 h 733425"/>
              <a:gd name="connsiteX95" fmla="*/ 2276475 w 2889264"/>
              <a:gd name="connsiteY95" fmla="*/ 434975 h 733425"/>
              <a:gd name="connsiteX96" fmla="*/ 2289175 w 2889264"/>
              <a:gd name="connsiteY96" fmla="*/ 444500 h 733425"/>
              <a:gd name="connsiteX97" fmla="*/ 2308225 w 2889264"/>
              <a:gd name="connsiteY97" fmla="*/ 447675 h 733425"/>
              <a:gd name="connsiteX98" fmla="*/ 2333625 w 2889264"/>
              <a:gd name="connsiteY98" fmla="*/ 460375 h 733425"/>
              <a:gd name="connsiteX99" fmla="*/ 2352675 w 2889264"/>
              <a:gd name="connsiteY99" fmla="*/ 466725 h 733425"/>
              <a:gd name="connsiteX100" fmla="*/ 2397125 w 2889264"/>
              <a:gd name="connsiteY100" fmla="*/ 488950 h 733425"/>
              <a:gd name="connsiteX101" fmla="*/ 2422525 w 2889264"/>
              <a:gd name="connsiteY101" fmla="*/ 495300 h 733425"/>
              <a:gd name="connsiteX102" fmla="*/ 2432050 w 2889264"/>
              <a:gd name="connsiteY102" fmla="*/ 498475 h 733425"/>
              <a:gd name="connsiteX103" fmla="*/ 2454275 w 2889264"/>
              <a:gd name="connsiteY103" fmla="*/ 511175 h 733425"/>
              <a:gd name="connsiteX104" fmla="*/ 2470150 w 2889264"/>
              <a:gd name="connsiteY104" fmla="*/ 523875 h 733425"/>
              <a:gd name="connsiteX105" fmla="*/ 2495550 w 2889264"/>
              <a:gd name="connsiteY105" fmla="*/ 533400 h 733425"/>
              <a:gd name="connsiteX106" fmla="*/ 2546350 w 2889264"/>
              <a:gd name="connsiteY106" fmla="*/ 558800 h 733425"/>
              <a:gd name="connsiteX107" fmla="*/ 2574925 w 2889264"/>
              <a:gd name="connsiteY107" fmla="*/ 565150 h 733425"/>
              <a:gd name="connsiteX108" fmla="*/ 2600325 w 2889264"/>
              <a:gd name="connsiteY108" fmla="*/ 577850 h 733425"/>
              <a:gd name="connsiteX109" fmla="*/ 2616200 w 2889264"/>
              <a:gd name="connsiteY109" fmla="*/ 581025 h 733425"/>
              <a:gd name="connsiteX110" fmla="*/ 2638425 w 2889264"/>
              <a:gd name="connsiteY110" fmla="*/ 587375 h 733425"/>
              <a:gd name="connsiteX111" fmla="*/ 2654300 w 2889264"/>
              <a:gd name="connsiteY111" fmla="*/ 596900 h 733425"/>
              <a:gd name="connsiteX112" fmla="*/ 2673350 w 2889264"/>
              <a:gd name="connsiteY112" fmla="*/ 603250 h 733425"/>
              <a:gd name="connsiteX113" fmla="*/ 2708275 w 2889264"/>
              <a:gd name="connsiteY113" fmla="*/ 625475 h 733425"/>
              <a:gd name="connsiteX114" fmla="*/ 2730500 w 2889264"/>
              <a:gd name="connsiteY114" fmla="*/ 635000 h 733425"/>
              <a:gd name="connsiteX115" fmla="*/ 2749550 w 2889264"/>
              <a:gd name="connsiteY115" fmla="*/ 650875 h 733425"/>
              <a:gd name="connsiteX116" fmla="*/ 2774950 w 2889264"/>
              <a:gd name="connsiteY116" fmla="*/ 663575 h 733425"/>
              <a:gd name="connsiteX117" fmla="*/ 2803525 w 2889264"/>
              <a:gd name="connsiteY117" fmla="*/ 676275 h 733425"/>
              <a:gd name="connsiteX118" fmla="*/ 2816225 w 2889264"/>
              <a:gd name="connsiteY118" fmla="*/ 685800 h 733425"/>
              <a:gd name="connsiteX119" fmla="*/ 2832100 w 2889264"/>
              <a:gd name="connsiteY119" fmla="*/ 692150 h 733425"/>
              <a:gd name="connsiteX120" fmla="*/ 2876550 w 2889264"/>
              <a:gd name="connsiteY120" fmla="*/ 723900 h 733425"/>
              <a:gd name="connsiteX121" fmla="*/ 2889250 w 2889264"/>
              <a:gd name="connsiteY121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17500 w 2889264"/>
              <a:gd name="connsiteY5" fmla="*/ 571500 h 733425"/>
              <a:gd name="connsiteX6" fmla="*/ 352425 w 2889264"/>
              <a:gd name="connsiteY6" fmla="*/ 555625 h 733425"/>
              <a:gd name="connsiteX7" fmla="*/ 381000 w 2889264"/>
              <a:gd name="connsiteY7" fmla="*/ 539750 h 733425"/>
              <a:gd name="connsiteX8" fmla="*/ 390525 w 2889264"/>
              <a:gd name="connsiteY8" fmla="*/ 536575 h 733425"/>
              <a:gd name="connsiteX9" fmla="*/ 406400 w 2889264"/>
              <a:gd name="connsiteY9" fmla="*/ 530225 h 733425"/>
              <a:gd name="connsiteX10" fmla="*/ 434975 w 2889264"/>
              <a:gd name="connsiteY10" fmla="*/ 514350 h 733425"/>
              <a:gd name="connsiteX11" fmla="*/ 454025 w 2889264"/>
              <a:gd name="connsiteY11" fmla="*/ 504825 h 733425"/>
              <a:gd name="connsiteX12" fmla="*/ 463550 w 2889264"/>
              <a:gd name="connsiteY12" fmla="*/ 498475 h 733425"/>
              <a:gd name="connsiteX13" fmla="*/ 476250 w 2889264"/>
              <a:gd name="connsiteY13" fmla="*/ 495300 h 733425"/>
              <a:gd name="connsiteX14" fmla="*/ 492125 w 2889264"/>
              <a:gd name="connsiteY14" fmla="*/ 488950 h 733425"/>
              <a:gd name="connsiteX15" fmla="*/ 501650 w 2889264"/>
              <a:gd name="connsiteY15" fmla="*/ 485775 h 733425"/>
              <a:gd name="connsiteX16" fmla="*/ 523875 w 2889264"/>
              <a:gd name="connsiteY16" fmla="*/ 469900 h 733425"/>
              <a:gd name="connsiteX17" fmla="*/ 552450 w 2889264"/>
              <a:gd name="connsiteY17" fmla="*/ 450850 h 733425"/>
              <a:gd name="connsiteX18" fmla="*/ 568325 w 2889264"/>
              <a:gd name="connsiteY18" fmla="*/ 447675 h 733425"/>
              <a:gd name="connsiteX19" fmla="*/ 584200 w 2889264"/>
              <a:gd name="connsiteY19" fmla="*/ 441325 h 733425"/>
              <a:gd name="connsiteX20" fmla="*/ 593725 w 2889264"/>
              <a:gd name="connsiteY20" fmla="*/ 438150 h 733425"/>
              <a:gd name="connsiteX21" fmla="*/ 612775 w 2889264"/>
              <a:gd name="connsiteY21" fmla="*/ 428625 h 733425"/>
              <a:gd name="connsiteX22" fmla="*/ 628650 w 2889264"/>
              <a:gd name="connsiteY22" fmla="*/ 422275 h 733425"/>
              <a:gd name="connsiteX23" fmla="*/ 641350 w 2889264"/>
              <a:gd name="connsiteY23" fmla="*/ 415925 h 733425"/>
              <a:gd name="connsiteX24" fmla="*/ 657225 w 2889264"/>
              <a:gd name="connsiteY24" fmla="*/ 406400 h 733425"/>
              <a:gd name="connsiteX25" fmla="*/ 676275 w 2889264"/>
              <a:gd name="connsiteY25" fmla="*/ 400050 h 733425"/>
              <a:gd name="connsiteX26" fmla="*/ 708025 w 2889264"/>
              <a:gd name="connsiteY26" fmla="*/ 381000 h 733425"/>
              <a:gd name="connsiteX27" fmla="*/ 736600 w 2889264"/>
              <a:gd name="connsiteY27" fmla="*/ 368300 h 733425"/>
              <a:gd name="connsiteX28" fmla="*/ 742950 w 2889264"/>
              <a:gd name="connsiteY28" fmla="*/ 358775 h 733425"/>
              <a:gd name="connsiteX29" fmla="*/ 790575 w 2889264"/>
              <a:gd name="connsiteY29" fmla="*/ 339725 h 733425"/>
              <a:gd name="connsiteX30" fmla="*/ 800100 w 2889264"/>
              <a:gd name="connsiteY30" fmla="*/ 336550 h 733425"/>
              <a:gd name="connsiteX31" fmla="*/ 812800 w 2889264"/>
              <a:gd name="connsiteY31" fmla="*/ 330200 h 733425"/>
              <a:gd name="connsiteX32" fmla="*/ 828675 w 2889264"/>
              <a:gd name="connsiteY32" fmla="*/ 327025 h 733425"/>
              <a:gd name="connsiteX33" fmla="*/ 898525 w 2889264"/>
              <a:gd name="connsiteY33" fmla="*/ 288925 h 733425"/>
              <a:gd name="connsiteX34" fmla="*/ 923925 w 2889264"/>
              <a:gd name="connsiteY34" fmla="*/ 269875 h 733425"/>
              <a:gd name="connsiteX35" fmla="*/ 933450 w 2889264"/>
              <a:gd name="connsiteY35" fmla="*/ 260350 h 733425"/>
              <a:gd name="connsiteX36" fmla="*/ 958850 w 2889264"/>
              <a:gd name="connsiteY36" fmla="*/ 247650 h 733425"/>
              <a:gd name="connsiteX37" fmla="*/ 968375 w 2889264"/>
              <a:gd name="connsiteY37" fmla="*/ 241300 h 733425"/>
              <a:gd name="connsiteX38" fmla="*/ 984250 w 2889264"/>
              <a:gd name="connsiteY38" fmla="*/ 234950 h 733425"/>
              <a:gd name="connsiteX39" fmla="*/ 1006475 w 2889264"/>
              <a:gd name="connsiteY39" fmla="*/ 225425 h 733425"/>
              <a:gd name="connsiteX40" fmla="*/ 1050925 w 2889264"/>
              <a:gd name="connsiteY40" fmla="*/ 212725 h 733425"/>
              <a:gd name="connsiteX41" fmla="*/ 1079500 w 2889264"/>
              <a:gd name="connsiteY41" fmla="*/ 200025 h 733425"/>
              <a:gd name="connsiteX42" fmla="*/ 1098550 w 2889264"/>
              <a:gd name="connsiteY42" fmla="*/ 193675 h 733425"/>
              <a:gd name="connsiteX43" fmla="*/ 1111250 w 2889264"/>
              <a:gd name="connsiteY43" fmla="*/ 187325 h 733425"/>
              <a:gd name="connsiteX44" fmla="*/ 1136650 w 2889264"/>
              <a:gd name="connsiteY44" fmla="*/ 177800 h 733425"/>
              <a:gd name="connsiteX45" fmla="*/ 1181100 w 2889264"/>
              <a:gd name="connsiteY45" fmla="*/ 152400 h 733425"/>
              <a:gd name="connsiteX46" fmla="*/ 1203325 w 2889264"/>
              <a:gd name="connsiteY46" fmla="*/ 130175 h 733425"/>
              <a:gd name="connsiteX47" fmla="*/ 1219200 w 2889264"/>
              <a:gd name="connsiteY47" fmla="*/ 117475 h 733425"/>
              <a:gd name="connsiteX48" fmla="*/ 1276350 w 2889264"/>
              <a:gd name="connsiteY48" fmla="*/ 85725 h 733425"/>
              <a:gd name="connsiteX49" fmla="*/ 1289050 w 2889264"/>
              <a:gd name="connsiteY49" fmla="*/ 79375 h 733425"/>
              <a:gd name="connsiteX50" fmla="*/ 1327150 w 2889264"/>
              <a:gd name="connsiteY50" fmla="*/ 66675 h 733425"/>
              <a:gd name="connsiteX51" fmla="*/ 1343025 w 2889264"/>
              <a:gd name="connsiteY51" fmla="*/ 57150 h 733425"/>
              <a:gd name="connsiteX52" fmla="*/ 1355725 w 2889264"/>
              <a:gd name="connsiteY52" fmla="*/ 47625 h 733425"/>
              <a:gd name="connsiteX53" fmla="*/ 1377950 w 2889264"/>
              <a:gd name="connsiteY53" fmla="*/ 38100 h 733425"/>
              <a:gd name="connsiteX54" fmla="*/ 1416050 w 2889264"/>
              <a:gd name="connsiteY54" fmla="*/ 12700 h 733425"/>
              <a:gd name="connsiteX55" fmla="*/ 1428750 w 2889264"/>
              <a:gd name="connsiteY55" fmla="*/ 0 h 733425"/>
              <a:gd name="connsiteX56" fmla="*/ 1470025 w 2889264"/>
              <a:gd name="connsiteY56" fmla="*/ 28575 h 733425"/>
              <a:gd name="connsiteX57" fmla="*/ 1504950 w 2889264"/>
              <a:gd name="connsiteY57" fmla="*/ 41275 h 733425"/>
              <a:gd name="connsiteX58" fmla="*/ 1517650 w 2889264"/>
              <a:gd name="connsiteY58" fmla="*/ 50800 h 733425"/>
              <a:gd name="connsiteX59" fmla="*/ 1549400 w 2889264"/>
              <a:gd name="connsiteY59" fmla="*/ 60325 h 733425"/>
              <a:gd name="connsiteX60" fmla="*/ 1562100 w 2889264"/>
              <a:gd name="connsiteY60" fmla="*/ 69850 h 733425"/>
              <a:gd name="connsiteX61" fmla="*/ 1574800 w 2889264"/>
              <a:gd name="connsiteY61" fmla="*/ 73025 h 733425"/>
              <a:gd name="connsiteX62" fmla="*/ 1590675 w 2889264"/>
              <a:gd name="connsiteY62" fmla="*/ 79375 h 733425"/>
              <a:gd name="connsiteX63" fmla="*/ 1600200 w 2889264"/>
              <a:gd name="connsiteY63" fmla="*/ 85725 h 733425"/>
              <a:gd name="connsiteX64" fmla="*/ 1612900 w 2889264"/>
              <a:gd name="connsiteY64" fmla="*/ 92075 h 733425"/>
              <a:gd name="connsiteX65" fmla="*/ 1625600 w 2889264"/>
              <a:gd name="connsiteY65" fmla="*/ 101600 h 733425"/>
              <a:gd name="connsiteX66" fmla="*/ 1635125 w 2889264"/>
              <a:gd name="connsiteY66" fmla="*/ 104775 h 733425"/>
              <a:gd name="connsiteX67" fmla="*/ 1654175 w 2889264"/>
              <a:gd name="connsiteY67" fmla="*/ 114300 h 733425"/>
              <a:gd name="connsiteX68" fmla="*/ 1676400 w 2889264"/>
              <a:gd name="connsiteY68" fmla="*/ 130175 h 733425"/>
              <a:gd name="connsiteX69" fmla="*/ 1689100 w 2889264"/>
              <a:gd name="connsiteY69" fmla="*/ 136525 h 733425"/>
              <a:gd name="connsiteX70" fmla="*/ 1714500 w 2889264"/>
              <a:gd name="connsiteY70" fmla="*/ 146050 h 733425"/>
              <a:gd name="connsiteX71" fmla="*/ 1727200 w 2889264"/>
              <a:gd name="connsiteY71" fmla="*/ 155575 h 733425"/>
              <a:gd name="connsiteX72" fmla="*/ 1758950 w 2889264"/>
              <a:gd name="connsiteY72" fmla="*/ 165100 h 733425"/>
              <a:gd name="connsiteX73" fmla="*/ 1768475 w 2889264"/>
              <a:gd name="connsiteY73" fmla="*/ 171450 h 733425"/>
              <a:gd name="connsiteX74" fmla="*/ 1781175 w 2889264"/>
              <a:gd name="connsiteY74" fmla="*/ 180975 h 733425"/>
              <a:gd name="connsiteX75" fmla="*/ 1793875 w 2889264"/>
              <a:gd name="connsiteY75" fmla="*/ 187325 h 733425"/>
              <a:gd name="connsiteX76" fmla="*/ 1838325 w 2889264"/>
              <a:gd name="connsiteY76" fmla="*/ 212725 h 733425"/>
              <a:gd name="connsiteX77" fmla="*/ 1847850 w 2889264"/>
              <a:gd name="connsiteY77" fmla="*/ 222250 h 733425"/>
              <a:gd name="connsiteX78" fmla="*/ 1885950 w 2889264"/>
              <a:gd name="connsiteY78" fmla="*/ 241300 h 733425"/>
              <a:gd name="connsiteX79" fmla="*/ 1901825 w 2889264"/>
              <a:gd name="connsiteY79" fmla="*/ 250825 h 733425"/>
              <a:gd name="connsiteX80" fmla="*/ 1933575 w 2889264"/>
              <a:gd name="connsiteY80" fmla="*/ 263525 h 733425"/>
              <a:gd name="connsiteX81" fmla="*/ 1962150 w 2889264"/>
              <a:gd name="connsiteY81" fmla="*/ 276225 h 733425"/>
              <a:gd name="connsiteX82" fmla="*/ 1971675 w 2889264"/>
              <a:gd name="connsiteY82" fmla="*/ 282575 h 733425"/>
              <a:gd name="connsiteX83" fmla="*/ 1987550 w 2889264"/>
              <a:gd name="connsiteY83" fmla="*/ 288925 h 733425"/>
              <a:gd name="connsiteX84" fmla="*/ 2022475 w 2889264"/>
              <a:gd name="connsiteY84" fmla="*/ 301625 h 733425"/>
              <a:gd name="connsiteX85" fmla="*/ 2047875 w 2889264"/>
              <a:gd name="connsiteY85" fmla="*/ 314325 h 733425"/>
              <a:gd name="connsiteX86" fmla="*/ 2063750 w 2889264"/>
              <a:gd name="connsiteY86" fmla="*/ 320675 h 733425"/>
              <a:gd name="connsiteX87" fmla="*/ 2082800 w 2889264"/>
              <a:gd name="connsiteY87" fmla="*/ 330200 h 733425"/>
              <a:gd name="connsiteX88" fmla="*/ 2095500 w 2889264"/>
              <a:gd name="connsiteY88" fmla="*/ 333375 h 733425"/>
              <a:gd name="connsiteX89" fmla="*/ 2124075 w 2889264"/>
              <a:gd name="connsiteY89" fmla="*/ 342900 h 733425"/>
              <a:gd name="connsiteX90" fmla="*/ 2159000 w 2889264"/>
              <a:gd name="connsiteY90" fmla="*/ 358775 h 733425"/>
              <a:gd name="connsiteX91" fmla="*/ 2187575 w 2889264"/>
              <a:gd name="connsiteY91" fmla="*/ 377825 h 733425"/>
              <a:gd name="connsiteX92" fmla="*/ 2209800 w 2889264"/>
              <a:gd name="connsiteY92" fmla="*/ 393700 h 733425"/>
              <a:gd name="connsiteX93" fmla="*/ 2247900 w 2889264"/>
              <a:gd name="connsiteY93" fmla="*/ 419100 h 733425"/>
              <a:gd name="connsiteX94" fmla="*/ 2276475 w 2889264"/>
              <a:gd name="connsiteY94" fmla="*/ 434975 h 733425"/>
              <a:gd name="connsiteX95" fmla="*/ 2289175 w 2889264"/>
              <a:gd name="connsiteY95" fmla="*/ 444500 h 733425"/>
              <a:gd name="connsiteX96" fmla="*/ 2308225 w 2889264"/>
              <a:gd name="connsiteY96" fmla="*/ 447675 h 733425"/>
              <a:gd name="connsiteX97" fmla="*/ 2333625 w 2889264"/>
              <a:gd name="connsiteY97" fmla="*/ 460375 h 733425"/>
              <a:gd name="connsiteX98" fmla="*/ 2352675 w 2889264"/>
              <a:gd name="connsiteY98" fmla="*/ 466725 h 733425"/>
              <a:gd name="connsiteX99" fmla="*/ 2397125 w 2889264"/>
              <a:gd name="connsiteY99" fmla="*/ 488950 h 733425"/>
              <a:gd name="connsiteX100" fmla="*/ 2422525 w 2889264"/>
              <a:gd name="connsiteY100" fmla="*/ 495300 h 733425"/>
              <a:gd name="connsiteX101" fmla="*/ 2432050 w 2889264"/>
              <a:gd name="connsiteY101" fmla="*/ 498475 h 733425"/>
              <a:gd name="connsiteX102" fmla="*/ 2454275 w 2889264"/>
              <a:gd name="connsiteY102" fmla="*/ 511175 h 733425"/>
              <a:gd name="connsiteX103" fmla="*/ 2470150 w 2889264"/>
              <a:gd name="connsiteY103" fmla="*/ 523875 h 733425"/>
              <a:gd name="connsiteX104" fmla="*/ 2495550 w 2889264"/>
              <a:gd name="connsiteY104" fmla="*/ 533400 h 733425"/>
              <a:gd name="connsiteX105" fmla="*/ 2546350 w 2889264"/>
              <a:gd name="connsiteY105" fmla="*/ 558800 h 733425"/>
              <a:gd name="connsiteX106" fmla="*/ 2574925 w 2889264"/>
              <a:gd name="connsiteY106" fmla="*/ 565150 h 733425"/>
              <a:gd name="connsiteX107" fmla="*/ 2600325 w 2889264"/>
              <a:gd name="connsiteY107" fmla="*/ 577850 h 733425"/>
              <a:gd name="connsiteX108" fmla="*/ 2616200 w 2889264"/>
              <a:gd name="connsiteY108" fmla="*/ 581025 h 733425"/>
              <a:gd name="connsiteX109" fmla="*/ 2638425 w 2889264"/>
              <a:gd name="connsiteY109" fmla="*/ 587375 h 733425"/>
              <a:gd name="connsiteX110" fmla="*/ 2654300 w 2889264"/>
              <a:gd name="connsiteY110" fmla="*/ 596900 h 733425"/>
              <a:gd name="connsiteX111" fmla="*/ 2673350 w 2889264"/>
              <a:gd name="connsiteY111" fmla="*/ 603250 h 733425"/>
              <a:gd name="connsiteX112" fmla="*/ 2708275 w 2889264"/>
              <a:gd name="connsiteY112" fmla="*/ 625475 h 733425"/>
              <a:gd name="connsiteX113" fmla="*/ 2730500 w 2889264"/>
              <a:gd name="connsiteY113" fmla="*/ 635000 h 733425"/>
              <a:gd name="connsiteX114" fmla="*/ 2749550 w 2889264"/>
              <a:gd name="connsiteY114" fmla="*/ 650875 h 733425"/>
              <a:gd name="connsiteX115" fmla="*/ 2774950 w 2889264"/>
              <a:gd name="connsiteY115" fmla="*/ 663575 h 733425"/>
              <a:gd name="connsiteX116" fmla="*/ 2803525 w 2889264"/>
              <a:gd name="connsiteY116" fmla="*/ 676275 h 733425"/>
              <a:gd name="connsiteX117" fmla="*/ 2816225 w 2889264"/>
              <a:gd name="connsiteY117" fmla="*/ 685800 h 733425"/>
              <a:gd name="connsiteX118" fmla="*/ 2832100 w 2889264"/>
              <a:gd name="connsiteY118" fmla="*/ 692150 h 733425"/>
              <a:gd name="connsiteX119" fmla="*/ 2876550 w 2889264"/>
              <a:gd name="connsiteY119" fmla="*/ 723900 h 733425"/>
              <a:gd name="connsiteX120" fmla="*/ 2889250 w 2889264"/>
              <a:gd name="connsiteY120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381000 w 2889264"/>
              <a:gd name="connsiteY6" fmla="*/ 539750 h 733425"/>
              <a:gd name="connsiteX7" fmla="*/ 390525 w 2889264"/>
              <a:gd name="connsiteY7" fmla="*/ 536575 h 733425"/>
              <a:gd name="connsiteX8" fmla="*/ 406400 w 2889264"/>
              <a:gd name="connsiteY8" fmla="*/ 530225 h 733425"/>
              <a:gd name="connsiteX9" fmla="*/ 434975 w 2889264"/>
              <a:gd name="connsiteY9" fmla="*/ 514350 h 733425"/>
              <a:gd name="connsiteX10" fmla="*/ 454025 w 2889264"/>
              <a:gd name="connsiteY10" fmla="*/ 504825 h 733425"/>
              <a:gd name="connsiteX11" fmla="*/ 463550 w 2889264"/>
              <a:gd name="connsiteY11" fmla="*/ 498475 h 733425"/>
              <a:gd name="connsiteX12" fmla="*/ 476250 w 2889264"/>
              <a:gd name="connsiteY12" fmla="*/ 495300 h 733425"/>
              <a:gd name="connsiteX13" fmla="*/ 492125 w 2889264"/>
              <a:gd name="connsiteY13" fmla="*/ 488950 h 733425"/>
              <a:gd name="connsiteX14" fmla="*/ 501650 w 2889264"/>
              <a:gd name="connsiteY14" fmla="*/ 485775 h 733425"/>
              <a:gd name="connsiteX15" fmla="*/ 523875 w 2889264"/>
              <a:gd name="connsiteY15" fmla="*/ 469900 h 733425"/>
              <a:gd name="connsiteX16" fmla="*/ 552450 w 2889264"/>
              <a:gd name="connsiteY16" fmla="*/ 450850 h 733425"/>
              <a:gd name="connsiteX17" fmla="*/ 568325 w 2889264"/>
              <a:gd name="connsiteY17" fmla="*/ 447675 h 733425"/>
              <a:gd name="connsiteX18" fmla="*/ 584200 w 2889264"/>
              <a:gd name="connsiteY18" fmla="*/ 441325 h 733425"/>
              <a:gd name="connsiteX19" fmla="*/ 593725 w 2889264"/>
              <a:gd name="connsiteY19" fmla="*/ 438150 h 733425"/>
              <a:gd name="connsiteX20" fmla="*/ 612775 w 2889264"/>
              <a:gd name="connsiteY20" fmla="*/ 428625 h 733425"/>
              <a:gd name="connsiteX21" fmla="*/ 628650 w 2889264"/>
              <a:gd name="connsiteY21" fmla="*/ 422275 h 733425"/>
              <a:gd name="connsiteX22" fmla="*/ 641350 w 2889264"/>
              <a:gd name="connsiteY22" fmla="*/ 415925 h 733425"/>
              <a:gd name="connsiteX23" fmla="*/ 657225 w 2889264"/>
              <a:gd name="connsiteY23" fmla="*/ 406400 h 733425"/>
              <a:gd name="connsiteX24" fmla="*/ 676275 w 2889264"/>
              <a:gd name="connsiteY24" fmla="*/ 400050 h 733425"/>
              <a:gd name="connsiteX25" fmla="*/ 708025 w 2889264"/>
              <a:gd name="connsiteY25" fmla="*/ 381000 h 733425"/>
              <a:gd name="connsiteX26" fmla="*/ 736600 w 2889264"/>
              <a:gd name="connsiteY26" fmla="*/ 368300 h 733425"/>
              <a:gd name="connsiteX27" fmla="*/ 742950 w 2889264"/>
              <a:gd name="connsiteY27" fmla="*/ 358775 h 733425"/>
              <a:gd name="connsiteX28" fmla="*/ 790575 w 2889264"/>
              <a:gd name="connsiteY28" fmla="*/ 339725 h 733425"/>
              <a:gd name="connsiteX29" fmla="*/ 800100 w 2889264"/>
              <a:gd name="connsiteY29" fmla="*/ 336550 h 733425"/>
              <a:gd name="connsiteX30" fmla="*/ 812800 w 2889264"/>
              <a:gd name="connsiteY30" fmla="*/ 330200 h 733425"/>
              <a:gd name="connsiteX31" fmla="*/ 828675 w 2889264"/>
              <a:gd name="connsiteY31" fmla="*/ 327025 h 733425"/>
              <a:gd name="connsiteX32" fmla="*/ 898525 w 2889264"/>
              <a:gd name="connsiteY32" fmla="*/ 288925 h 733425"/>
              <a:gd name="connsiteX33" fmla="*/ 923925 w 2889264"/>
              <a:gd name="connsiteY33" fmla="*/ 269875 h 733425"/>
              <a:gd name="connsiteX34" fmla="*/ 933450 w 2889264"/>
              <a:gd name="connsiteY34" fmla="*/ 260350 h 733425"/>
              <a:gd name="connsiteX35" fmla="*/ 958850 w 2889264"/>
              <a:gd name="connsiteY35" fmla="*/ 247650 h 733425"/>
              <a:gd name="connsiteX36" fmla="*/ 968375 w 2889264"/>
              <a:gd name="connsiteY36" fmla="*/ 241300 h 733425"/>
              <a:gd name="connsiteX37" fmla="*/ 984250 w 2889264"/>
              <a:gd name="connsiteY37" fmla="*/ 234950 h 733425"/>
              <a:gd name="connsiteX38" fmla="*/ 1006475 w 2889264"/>
              <a:gd name="connsiteY38" fmla="*/ 225425 h 733425"/>
              <a:gd name="connsiteX39" fmla="*/ 1050925 w 2889264"/>
              <a:gd name="connsiteY39" fmla="*/ 212725 h 733425"/>
              <a:gd name="connsiteX40" fmla="*/ 1079500 w 2889264"/>
              <a:gd name="connsiteY40" fmla="*/ 200025 h 733425"/>
              <a:gd name="connsiteX41" fmla="*/ 1098550 w 2889264"/>
              <a:gd name="connsiteY41" fmla="*/ 193675 h 733425"/>
              <a:gd name="connsiteX42" fmla="*/ 1111250 w 2889264"/>
              <a:gd name="connsiteY42" fmla="*/ 187325 h 733425"/>
              <a:gd name="connsiteX43" fmla="*/ 1136650 w 2889264"/>
              <a:gd name="connsiteY43" fmla="*/ 177800 h 733425"/>
              <a:gd name="connsiteX44" fmla="*/ 1181100 w 2889264"/>
              <a:gd name="connsiteY44" fmla="*/ 152400 h 733425"/>
              <a:gd name="connsiteX45" fmla="*/ 1203325 w 2889264"/>
              <a:gd name="connsiteY45" fmla="*/ 130175 h 733425"/>
              <a:gd name="connsiteX46" fmla="*/ 1219200 w 2889264"/>
              <a:gd name="connsiteY46" fmla="*/ 117475 h 733425"/>
              <a:gd name="connsiteX47" fmla="*/ 1276350 w 2889264"/>
              <a:gd name="connsiteY47" fmla="*/ 85725 h 733425"/>
              <a:gd name="connsiteX48" fmla="*/ 1289050 w 2889264"/>
              <a:gd name="connsiteY48" fmla="*/ 79375 h 733425"/>
              <a:gd name="connsiteX49" fmla="*/ 1327150 w 2889264"/>
              <a:gd name="connsiteY49" fmla="*/ 66675 h 733425"/>
              <a:gd name="connsiteX50" fmla="*/ 1343025 w 2889264"/>
              <a:gd name="connsiteY50" fmla="*/ 57150 h 733425"/>
              <a:gd name="connsiteX51" fmla="*/ 1355725 w 2889264"/>
              <a:gd name="connsiteY51" fmla="*/ 47625 h 733425"/>
              <a:gd name="connsiteX52" fmla="*/ 1377950 w 2889264"/>
              <a:gd name="connsiteY52" fmla="*/ 38100 h 733425"/>
              <a:gd name="connsiteX53" fmla="*/ 1416050 w 2889264"/>
              <a:gd name="connsiteY53" fmla="*/ 12700 h 733425"/>
              <a:gd name="connsiteX54" fmla="*/ 1428750 w 2889264"/>
              <a:gd name="connsiteY54" fmla="*/ 0 h 733425"/>
              <a:gd name="connsiteX55" fmla="*/ 1470025 w 2889264"/>
              <a:gd name="connsiteY55" fmla="*/ 28575 h 733425"/>
              <a:gd name="connsiteX56" fmla="*/ 1504950 w 2889264"/>
              <a:gd name="connsiteY56" fmla="*/ 41275 h 733425"/>
              <a:gd name="connsiteX57" fmla="*/ 1517650 w 2889264"/>
              <a:gd name="connsiteY57" fmla="*/ 50800 h 733425"/>
              <a:gd name="connsiteX58" fmla="*/ 1549400 w 2889264"/>
              <a:gd name="connsiteY58" fmla="*/ 60325 h 733425"/>
              <a:gd name="connsiteX59" fmla="*/ 1562100 w 2889264"/>
              <a:gd name="connsiteY59" fmla="*/ 69850 h 733425"/>
              <a:gd name="connsiteX60" fmla="*/ 1574800 w 2889264"/>
              <a:gd name="connsiteY60" fmla="*/ 73025 h 733425"/>
              <a:gd name="connsiteX61" fmla="*/ 1590675 w 2889264"/>
              <a:gd name="connsiteY61" fmla="*/ 79375 h 733425"/>
              <a:gd name="connsiteX62" fmla="*/ 1600200 w 2889264"/>
              <a:gd name="connsiteY62" fmla="*/ 85725 h 733425"/>
              <a:gd name="connsiteX63" fmla="*/ 1612900 w 2889264"/>
              <a:gd name="connsiteY63" fmla="*/ 92075 h 733425"/>
              <a:gd name="connsiteX64" fmla="*/ 1625600 w 2889264"/>
              <a:gd name="connsiteY64" fmla="*/ 101600 h 733425"/>
              <a:gd name="connsiteX65" fmla="*/ 1635125 w 2889264"/>
              <a:gd name="connsiteY65" fmla="*/ 104775 h 733425"/>
              <a:gd name="connsiteX66" fmla="*/ 1654175 w 2889264"/>
              <a:gd name="connsiteY66" fmla="*/ 114300 h 733425"/>
              <a:gd name="connsiteX67" fmla="*/ 1676400 w 2889264"/>
              <a:gd name="connsiteY67" fmla="*/ 130175 h 733425"/>
              <a:gd name="connsiteX68" fmla="*/ 1689100 w 2889264"/>
              <a:gd name="connsiteY68" fmla="*/ 136525 h 733425"/>
              <a:gd name="connsiteX69" fmla="*/ 1714500 w 2889264"/>
              <a:gd name="connsiteY69" fmla="*/ 146050 h 733425"/>
              <a:gd name="connsiteX70" fmla="*/ 1727200 w 2889264"/>
              <a:gd name="connsiteY70" fmla="*/ 155575 h 733425"/>
              <a:gd name="connsiteX71" fmla="*/ 1758950 w 2889264"/>
              <a:gd name="connsiteY71" fmla="*/ 165100 h 733425"/>
              <a:gd name="connsiteX72" fmla="*/ 1768475 w 2889264"/>
              <a:gd name="connsiteY72" fmla="*/ 171450 h 733425"/>
              <a:gd name="connsiteX73" fmla="*/ 1781175 w 2889264"/>
              <a:gd name="connsiteY73" fmla="*/ 180975 h 733425"/>
              <a:gd name="connsiteX74" fmla="*/ 1793875 w 2889264"/>
              <a:gd name="connsiteY74" fmla="*/ 187325 h 733425"/>
              <a:gd name="connsiteX75" fmla="*/ 1838325 w 2889264"/>
              <a:gd name="connsiteY75" fmla="*/ 212725 h 733425"/>
              <a:gd name="connsiteX76" fmla="*/ 1847850 w 2889264"/>
              <a:gd name="connsiteY76" fmla="*/ 222250 h 733425"/>
              <a:gd name="connsiteX77" fmla="*/ 1885950 w 2889264"/>
              <a:gd name="connsiteY77" fmla="*/ 241300 h 733425"/>
              <a:gd name="connsiteX78" fmla="*/ 1901825 w 2889264"/>
              <a:gd name="connsiteY78" fmla="*/ 250825 h 733425"/>
              <a:gd name="connsiteX79" fmla="*/ 1933575 w 2889264"/>
              <a:gd name="connsiteY79" fmla="*/ 263525 h 733425"/>
              <a:gd name="connsiteX80" fmla="*/ 1962150 w 2889264"/>
              <a:gd name="connsiteY80" fmla="*/ 276225 h 733425"/>
              <a:gd name="connsiteX81" fmla="*/ 1971675 w 2889264"/>
              <a:gd name="connsiteY81" fmla="*/ 282575 h 733425"/>
              <a:gd name="connsiteX82" fmla="*/ 1987550 w 2889264"/>
              <a:gd name="connsiteY82" fmla="*/ 288925 h 733425"/>
              <a:gd name="connsiteX83" fmla="*/ 2022475 w 2889264"/>
              <a:gd name="connsiteY83" fmla="*/ 301625 h 733425"/>
              <a:gd name="connsiteX84" fmla="*/ 2047875 w 2889264"/>
              <a:gd name="connsiteY84" fmla="*/ 314325 h 733425"/>
              <a:gd name="connsiteX85" fmla="*/ 2063750 w 2889264"/>
              <a:gd name="connsiteY85" fmla="*/ 320675 h 733425"/>
              <a:gd name="connsiteX86" fmla="*/ 2082800 w 2889264"/>
              <a:gd name="connsiteY86" fmla="*/ 330200 h 733425"/>
              <a:gd name="connsiteX87" fmla="*/ 2095500 w 2889264"/>
              <a:gd name="connsiteY87" fmla="*/ 333375 h 733425"/>
              <a:gd name="connsiteX88" fmla="*/ 2124075 w 2889264"/>
              <a:gd name="connsiteY88" fmla="*/ 342900 h 733425"/>
              <a:gd name="connsiteX89" fmla="*/ 2159000 w 2889264"/>
              <a:gd name="connsiteY89" fmla="*/ 358775 h 733425"/>
              <a:gd name="connsiteX90" fmla="*/ 2187575 w 2889264"/>
              <a:gd name="connsiteY90" fmla="*/ 377825 h 733425"/>
              <a:gd name="connsiteX91" fmla="*/ 2209800 w 2889264"/>
              <a:gd name="connsiteY91" fmla="*/ 393700 h 733425"/>
              <a:gd name="connsiteX92" fmla="*/ 2247900 w 2889264"/>
              <a:gd name="connsiteY92" fmla="*/ 419100 h 733425"/>
              <a:gd name="connsiteX93" fmla="*/ 2276475 w 2889264"/>
              <a:gd name="connsiteY93" fmla="*/ 434975 h 733425"/>
              <a:gd name="connsiteX94" fmla="*/ 2289175 w 2889264"/>
              <a:gd name="connsiteY94" fmla="*/ 444500 h 733425"/>
              <a:gd name="connsiteX95" fmla="*/ 2308225 w 2889264"/>
              <a:gd name="connsiteY95" fmla="*/ 447675 h 733425"/>
              <a:gd name="connsiteX96" fmla="*/ 2333625 w 2889264"/>
              <a:gd name="connsiteY96" fmla="*/ 460375 h 733425"/>
              <a:gd name="connsiteX97" fmla="*/ 2352675 w 2889264"/>
              <a:gd name="connsiteY97" fmla="*/ 466725 h 733425"/>
              <a:gd name="connsiteX98" fmla="*/ 2397125 w 2889264"/>
              <a:gd name="connsiteY98" fmla="*/ 488950 h 733425"/>
              <a:gd name="connsiteX99" fmla="*/ 2422525 w 2889264"/>
              <a:gd name="connsiteY99" fmla="*/ 495300 h 733425"/>
              <a:gd name="connsiteX100" fmla="*/ 2432050 w 2889264"/>
              <a:gd name="connsiteY100" fmla="*/ 498475 h 733425"/>
              <a:gd name="connsiteX101" fmla="*/ 2454275 w 2889264"/>
              <a:gd name="connsiteY101" fmla="*/ 511175 h 733425"/>
              <a:gd name="connsiteX102" fmla="*/ 2470150 w 2889264"/>
              <a:gd name="connsiteY102" fmla="*/ 523875 h 733425"/>
              <a:gd name="connsiteX103" fmla="*/ 2495550 w 2889264"/>
              <a:gd name="connsiteY103" fmla="*/ 533400 h 733425"/>
              <a:gd name="connsiteX104" fmla="*/ 2546350 w 2889264"/>
              <a:gd name="connsiteY104" fmla="*/ 558800 h 733425"/>
              <a:gd name="connsiteX105" fmla="*/ 2574925 w 2889264"/>
              <a:gd name="connsiteY105" fmla="*/ 565150 h 733425"/>
              <a:gd name="connsiteX106" fmla="*/ 2600325 w 2889264"/>
              <a:gd name="connsiteY106" fmla="*/ 577850 h 733425"/>
              <a:gd name="connsiteX107" fmla="*/ 2616200 w 2889264"/>
              <a:gd name="connsiteY107" fmla="*/ 581025 h 733425"/>
              <a:gd name="connsiteX108" fmla="*/ 2638425 w 2889264"/>
              <a:gd name="connsiteY108" fmla="*/ 587375 h 733425"/>
              <a:gd name="connsiteX109" fmla="*/ 2654300 w 2889264"/>
              <a:gd name="connsiteY109" fmla="*/ 596900 h 733425"/>
              <a:gd name="connsiteX110" fmla="*/ 2673350 w 2889264"/>
              <a:gd name="connsiteY110" fmla="*/ 603250 h 733425"/>
              <a:gd name="connsiteX111" fmla="*/ 2708275 w 2889264"/>
              <a:gd name="connsiteY111" fmla="*/ 625475 h 733425"/>
              <a:gd name="connsiteX112" fmla="*/ 2730500 w 2889264"/>
              <a:gd name="connsiteY112" fmla="*/ 635000 h 733425"/>
              <a:gd name="connsiteX113" fmla="*/ 2749550 w 2889264"/>
              <a:gd name="connsiteY113" fmla="*/ 650875 h 733425"/>
              <a:gd name="connsiteX114" fmla="*/ 2774950 w 2889264"/>
              <a:gd name="connsiteY114" fmla="*/ 663575 h 733425"/>
              <a:gd name="connsiteX115" fmla="*/ 2803525 w 2889264"/>
              <a:gd name="connsiteY115" fmla="*/ 676275 h 733425"/>
              <a:gd name="connsiteX116" fmla="*/ 2816225 w 2889264"/>
              <a:gd name="connsiteY116" fmla="*/ 685800 h 733425"/>
              <a:gd name="connsiteX117" fmla="*/ 2832100 w 2889264"/>
              <a:gd name="connsiteY117" fmla="*/ 692150 h 733425"/>
              <a:gd name="connsiteX118" fmla="*/ 2876550 w 2889264"/>
              <a:gd name="connsiteY118" fmla="*/ 723900 h 733425"/>
              <a:gd name="connsiteX119" fmla="*/ 2889250 w 2889264"/>
              <a:gd name="connsiteY119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381000 w 2889264"/>
              <a:gd name="connsiteY6" fmla="*/ 539750 h 733425"/>
              <a:gd name="connsiteX7" fmla="*/ 406400 w 2889264"/>
              <a:gd name="connsiteY7" fmla="*/ 530225 h 733425"/>
              <a:gd name="connsiteX8" fmla="*/ 434975 w 2889264"/>
              <a:gd name="connsiteY8" fmla="*/ 514350 h 733425"/>
              <a:gd name="connsiteX9" fmla="*/ 454025 w 2889264"/>
              <a:gd name="connsiteY9" fmla="*/ 504825 h 733425"/>
              <a:gd name="connsiteX10" fmla="*/ 463550 w 2889264"/>
              <a:gd name="connsiteY10" fmla="*/ 498475 h 733425"/>
              <a:gd name="connsiteX11" fmla="*/ 476250 w 2889264"/>
              <a:gd name="connsiteY11" fmla="*/ 495300 h 733425"/>
              <a:gd name="connsiteX12" fmla="*/ 492125 w 2889264"/>
              <a:gd name="connsiteY12" fmla="*/ 488950 h 733425"/>
              <a:gd name="connsiteX13" fmla="*/ 501650 w 2889264"/>
              <a:gd name="connsiteY13" fmla="*/ 485775 h 733425"/>
              <a:gd name="connsiteX14" fmla="*/ 523875 w 2889264"/>
              <a:gd name="connsiteY14" fmla="*/ 469900 h 733425"/>
              <a:gd name="connsiteX15" fmla="*/ 552450 w 2889264"/>
              <a:gd name="connsiteY15" fmla="*/ 450850 h 733425"/>
              <a:gd name="connsiteX16" fmla="*/ 568325 w 2889264"/>
              <a:gd name="connsiteY16" fmla="*/ 447675 h 733425"/>
              <a:gd name="connsiteX17" fmla="*/ 584200 w 2889264"/>
              <a:gd name="connsiteY17" fmla="*/ 441325 h 733425"/>
              <a:gd name="connsiteX18" fmla="*/ 593725 w 2889264"/>
              <a:gd name="connsiteY18" fmla="*/ 438150 h 733425"/>
              <a:gd name="connsiteX19" fmla="*/ 612775 w 2889264"/>
              <a:gd name="connsiteY19" fmla="*/ 428625 h 733425"/>
              <a:gd name="connsiteX20" fmla="*/ 628650 w 2889264"/>
              <a:gd name="connsiteY20" fmla="*/ 422275 h 733425"/>
              <a:gd name="connsiteX21" fmla="*/ 641350 w 2889264"/>
              <a:gd name="connsiteY21" fmla="*/ 415925 h 733425"/>
              <a:gd name="connsiteX22" fmla="*/ 657225 w 2889264"/>
              <a:gd name="connsiteY22" fmla="*/ 406400 h 733425"/>
              <a:gd name="connsiteX23" fmla="*/ 676275 w 2889264"/>
              <a:gd name="connsiteY23" fmla="*/ 400050 h 733425"/>
              <a:gd name="connsiteX24" fmla="*/ 708025 w 2889264"/>
              <a:gd name="connsiteY24" fmla="*/ 381000 h 733425"/>
              <a:gd name="connsiteX25" fmla="*/ 736600 w 2889264"/>
              <a:gd name="connsiteY25" fmla="*/ 368300 h 733425"/>
              <a:gd name="connsiteX26" fmla="*/ 742950 w 2889264"/>
              <a:gd name="connsiteY26" fmla="*/ 358775 h 733425"/>
              <a:gd name="connsiteX27" fmla="*/ 790575 w 2889264"/>
              <a:gd name="connsiteY27" fmla="*/ 339725 h 733425"/>
              <a:gd name="connsiteX28" fmla="*/ 800100 w 2889264"/>
              <a:gd name="connsiteY28" fmla="*/ 336550 h 733425"/>
              <a:gd name="connsiteX29" fmla="*/ 812800 w 2889264"/>
              <a:gd name="connsiteY29" fmla="*/ 330200 h 733425"/>
              <a:gd name="connsiteX30" fmla="*/ 828675 w 2889264"/>
              <a:gd name="connsiteY30" fmla="*/ 327025 h 733425"/>
              <a:gd name="connsiteX31" fmla="*/ 898525 w 2889264"/>
              <a:gd name="connsiteY31" fmla="*/ 288925 h 733425"/>
              <a:gd name="connsiteX32" fmla="*/ 923925 w 2889264"/>
              <a:gd name="connsiteY32" fmla="*/ 269875 h 733425"/>
              <a:gd name="connsiteX33" fmla="*/ 933450 w 2889264"/>
              <a:gd name="connsiteY33" fmla="*/ 260350 h 733425"/>
              <a:gd name="connsiteX34" fmla="*/ 958850 w 2889264"/>
              <a:gd name="connsiteY34" fmla="*/ 247650 h 733425"/>
              <a:gd name="connsiteX35" fmla="*/ 968375 w 2889264"/>
              <a:gd name="connsiteY35" fmla="*/ 241300 h 733425"/>
              <a:gd name="connsiteX36" fmla="*/ 984250 w 2889264"/>
              <a:gd name="connsiteY36" fmla="*/ 234950 h 733425"/>
              <a:gd name="connsiteX37" fmla="*/ 1006475 w 2889264"/>
              <a:gd name="connsiteY37" fmla="*/ 225425 h 733425"/>
              <a:gd name="connsiteX38" fmla="*/ 1050925 w 2889264"/>
              <a:gd name="connsiteY38" fmla="*/ 212725 h 733425"/>
              <a:gd name="connsiteX39" fmla="*/ 1079500 w 2889264"/>
              <a:gd name="connsiteY39" fmla="*/ 200025 h 733425"/>
              <a:gd name="connsiteX40" fmla="*/ 1098550 w 2889264"/>
              <a:gd name="connsiteY40" fmla="*/ 193675 h 733425"/>
              <a:gd name="connsiteX41" fmla="*/ 1111250 w 2889264"/>
              <a:gd name="connsiteY41" fmla="*/ 187325 h 733425"/>
              <a:gd name="connsiteX42" fmla="*/ 1136650 w 2889264"/>
              <a:gd name="connsiteY42" fmla="*/ 177800 h 733425"/>
              <a:gd name="connsiteX43" fmla="*/ 1181100 w 2889264"/>
              <a:gd name="connsiteY43" fmla="*/ 152400 h 733425"/>
              <a:gd name="connsiteX44" fmla="*/ 1203325 w 2889264"/>
              <a:gd name="connsiteY44" fmla="*/ 130175 h 733425"/>
              <a:gd name="connsiteX45" fmla="*/ 1219200 w 2889264"/>
              <a:gd name="connsiteY45" fmla="*/ 117475 h 733425"/>
              <a:gd name="connsiteX46" fmla="*/ 1276350 w 2889264"/>
              <a:gd name="connsiteY46" fmla="*/ 85725 h 733425"/>
              <a:gd name="connsiteX47" fmla="*/ 1289050 w 2889264"/>
              <a:gd name="connsiteY47" fmla="*/ 79375 h 733425"/>
              <a:gd name="connsiteX48" fmla="*/ 1327150 w 2889264"/>
              <a:gd name="connsiteY48" fmla="*/ 66675 h 733425"/>
              <a:gd name="connsiteX49" fmla="*/ 1343025 w 2889264"/>
              <a:gd name="connsiteY49" fmla="*/ 57150 h 733425"/>
              <a:gd name="connsiteX50" fmla="*/ 1355725 w 2889264"/>
              <a:gd name="connsiteY50" fmla="*/ 47625 h 733425"/>
              <a:gd name="connsiteX51" fmla="*/ 1377950 w 2889264"/>
              <a:gd name="connsiteY51" fmla="*/ 38100 h 733425"/>
              <a:gd name="connsiteX52" fmla="*/ 1416050 w 2889264"/>
              <a:gd name="connsiteY52" fmla="*/ 12700 h 733425"/>
              <a:gd name="connsiteX53" fmla="*/ 1428750 w 2889264"/>
              <a:gd name="connsiteY53" fmla="*/ 0 h 733425"/>
              <a:gd name="connsiteX54" fmla="*/ 1470025 w 2889264"/>
              <a:gd name="connsiteY54" fmla="*/ 28575 h 733425"/>
              <a:gd name="connsiteX55" fmla="*/ 1504950 w 2889264"/>
              <a:gd name="connsiteY55" fmla="*/ 41275 h 733425"/>
              <a:gd name="connsiteX56" fmla="*/ 1517650 w 2889264"/>
              <a:gd name="connsiteY56" fmla="*/ 50800 h 733425"/>
              <a:gd name="connsiteX57" fmla="*/ 1549400 w 2889264"/>
              <a:gd name="connsiteY57" fmla="*/ 60325 h 733425"/>
              <a:gd name="connsiteX58" fmla="*/ 1562100 w 2889264"/>
              <a:gd name="connsiteY58" fmla="*/ 69850 h 733425"/>
              <a:gd name="connsiteX59" fmla="*/ 1574800 w 2889264"/>
              <a:gd name="connsiteY59" fmla="*/ 73025 h 733425"/>
              <a:gd name="connsiteX60" fmla="*/ 1590675 w 2889264"/>
              <a:gd name="connsiteY60" fmla="*/ 79375 h 733425"/>
              <a:gd name="connsiteX61" fmla="*/ 1600200 w 2889264"/>
              <a:gd name="connsiteY61" fmla="*/ 85725 h 733425"/>
              <a:gd name="connsiteX62" fmla="*/ 1612900 w 2889264"/>
              <a:gd name="connsiteY62" fmla="*/ 92075 h 733425"/>
              <a:gd name="connsiteX63" fmla="*/ 1625600 w 2889264"/>
              <a:gd name="connsiteY63" fmla="*/ 101600 h 733425"/>
              <a:gd name="connsiteX64" fmla="*/ 1635125 w 2889264"/>
              <a:gd name="connsiteY64" fmla="*/ 104775 h 733425"/>
              <a:gd name="connsiteX65" fmla="*/ 1654175 w 2889264"/>
              <a:gd name="connsiteY65" fmla="*/ 114300 h 733425"/>
              <a:gd name="connsiteX66" fmla="*/ 1676400 w 2889264"/>
              <a:gd name="connsiteY66" fmla="*/ 130175 h 733425"/>
              <a:gd name="connsiteX67" fmla="*/ 1689100 w 2889264"/>
              <a:gd name="connsiteY67" fmla="*/ 136525 h 733425"/>
              <a:gd name="connsiteX68" fmla="*/ 1714500 w 2889264"/>
              <a:gd name="connsiteY68" fmla="*/ 146050 h 733425"/>
              <a:gd name="connsiteX69" fmla="*/ 1727200 w 2889264"/>
              <a:gd name="connsiteY69" fmla="*/ 155575 h 733425"/>
              <a:gd name="connsiteX70" fmla="*/ 1758950 w 2889264"/>
              <a:gd name="connsiteY70" fmla="*/ 165100 h 733425"/>
              <a:gd name="connsiteX71" fmla="*/ 1768475 w 2889264"/>
              <a:gd name="connsiteY71" fmla="*/ 171450 h 733425"/>
              <a:gd name="connsiteX72" fmla="*/ 1781175 w 2889264"/>
              <a:gd name="connsiteY72" fmla="*/ 180975 h 733425"/>
              <a:gd name="connsiteX73" fmla="*/ 1793875 w 2889264"/>
              <a:gd name="connsiteY73" fmla="*/ 187325 h 733425"/>
              <a:gd name="connsiteX74" fmla="*/ 1838325 w 2889264"/>
              <a:gd name="connsiteY74" fmla="*/ 212725 h 733425"/>
              <a:gd name="connsiteX75" fmla="*/ 1847850 w 2889264"/>
              <a:gd name="connsiteY75" fmla="*/ 222250 h 733425"/>
              <a:gd name="connsiteX76" fmla="*/ 1885950 w 2889264"/>
              <a:gd name="connsiteY76" fmla="*/ 241300 h 733425"/>
              <a:gd name="connsiteX77" fmla="*/ 1901825 w 2889264"/>
              <a:gd name="connsiteY77" fmla="*/ 250825 h 733425"/>
              <a:gd name="connsiteX78" fmla="*/ 1933575 w 2889264"/>
              <a:gd name="connsiteY78" fmla="*/ 263525 h 733425"/>
              <a:gd name="connsiteX79" fmla="*/ 1962150 w 2889264"/>
              <a:gd name="connsiteY79" fmla="*/ 276225 h 733425"/>
              <a:gd name="connsiteX80" fmla="*/ 1971675 w 2889264"/>
              <a:gd name="connsiteY80" fmla="*/ 282575 h 733425"/>
              <a:gd name="connsiteX81" fmla="*/ 1987550 w 2889264"/>
              <a:gd name="connsiteY81" fmla="*/ 288925 h 733425"/>
              <a:gd name="connsiteX82" fmla="*/ 2022475 w 2889264"/>
              <a:gd name="connsiteY82" fmla="*/ 301625 h 733425"/>
              <a:gd name="connsiteX83" fmla="*/ 2047875 w 2889264"/>
              <a:gd name="connsiteY83" fmla="*/ 314325 h 733425"/>
              <a:gd name="connsiteX84" fmla="*/ 2063750 w 2889264"/>
              <a:gd name="connsiteY84" fmla="*/ 320675 h 733425"/>
              <a:gd name="connsiteX85" fmla="*/ 2082800 w 2889264"/>
              <a:gd name="connsiteY85" fmla="*/ 330200 h 733425"/>
              <a:gd name="connsiteX86" fmla="*/ 2095500 w 2889264"/>
              <a:gd name="connsiteY86" fmla="*/ 333375 h 733425"/>
              <a:gd name="connsiteX87" fmla="*/ 2124075 w 2889264"/>
              <a:gd name="connsiteY87" fmla="*/ 342900 h 733425"/>
              <a:gd name="connsiteX88" fmla="*/ 2159000 w 2889264"/>
              <a:gd name="connsiteY88" fmla="*/ 358775 h 733425"/>
              <a:gd name="connsiteX89" fmla="*/ 2187575 w 2889264"/>
              <a:gd name="connsiteY89" fmla="*/ 377825 h 733425"/>
              <a:gd name="connsiteX90" fmla="*/ 2209800 w 2889264"/>
              <a:gd name="connsiteY90" fmla="*/ 393700 h 733425"/>
              <a:gd name="connsiteX91" fmla="*/ 2247900 w 2889264"/>
              <a:gd name="connsiteY91" fmla="*/ 419100 h 733425"/>
              <a:gd name="connsiteX92" fmla="*/ 2276475 w 2889264"/>
              <a:gd name="connsiteY92" fmla="*/ 434975 h 733425"/>
              <a:gd name="connsiteX93" fmla="*/ 2289175 w 2889264"/>
              <a:gd name="connsiteY93" fmla="*/ 444500 h 733425"/>
              <a:gd name="connsiteX94" fmla="*/ 2308225 w 2889264"/>
              <a:gd name="connsiteY94" fmla="*/ 447675 h 733425"/>
              <a:gd name="connsiteX95" fmla="*/ 2333625 w 2889264"/>
              <a:gd name="connsiteY95" fmla="*/ 460375 h 733425"/>
              <a:gd name="connsiteX96" fmla="*/ 2352675 w 2889264"/>
              <a:gd name="connsiteY96" fmla="*/ 466725 h 733425"/>
              <a:gd name="connsiteX97" fmla="*/ 2397125 w 2889264"/>
              <a:gd name="connsiteY97" fmla="*/ 488950 h 733425"/>
              <a:gd name="connsiteX98" fmla="*/ 2422525 w 2889264"/>
              <a:gd name="connsiteY98" fmla="*/ 495300 h 733425"/>
              <a:gd name="connsiteX99" fmla="*/ 2432050 w 2889264"/>
              <a:gd name="connsiteY99" fmla="*/ 498475 h 733425"/>
              <a:gd name="connsiteX100" fmla="*/ 2454275 w 2889264"/>
              <a:gd name="connsiteY100" fmla="*/ 511175 h 733425"/>
              <a:gd name="connsiteX101" fmla="*/ 2470150 w 2889264"/>
              <a:gd name="connsiteY101" fmla="*/ 523875 h 733425"/>
              <a:gd name="connsiteX102" fmla="*/ 2495550 w 2889264"/>
              <a:gd name="connsiteY102" fmla="*/ 533400 h 733425"/>
              <a:gd name="connsiteX103" fmla="*/ 2546350 w 2889264"/>
              <a:gd name="connsiteY103" fmla="*/ 558800 h 733425"/>
              <a:gd name="connsiteX104" fmla="*/ 2574925 w 2889264"/>
              <a:gd name="connsiteY104" fmla="*/ 565150 h 733425"/>
              <a:gd name="connsiteX105" fmla="*/ 2600325 w 2889264"/>
              <a:gd name="connsiteY105" fmla="*/ 577850 h 733425"/>
              <a:gd name="connsiteX106" fmla="*/ 2616200 w 2889264"/>
              <a:gd name="connsiteY106" fmla="*/ 581025 h 733425"/>
              <a:gd name="connsiteX107" fmla="*/ 2638425 w 2889264"/>
              <a:gd name="connsiteY107" fmla="*/ 587375 h 733425"/>
              <a:gd name="connsiteX108" fmla="*/ 2654300 w 2889264"/>
              <a:gd name="connsiteY108" fmla="*/ 596900 h 733425"/>
              <a:gd name="connsiteX109" fmla="*/ 2673350 w 2889264"/>
              <a:gd name="connsiteY109" fmla="*/ 603250 h 733425"/>
              <a:gd name="connsiteX110" fmla="*/ 2708275 w 2889264"/>
              <a:gd name="connsiteY110" fmla="*/ 625475 h 733425"/>
              <a:gd name="connsiteX111" fmla="*/ 2730500 w 2889264"/>
              <a:gd name="connsiteY111" fmla="*/ 635000 h 733425"/>
              <a:gd name="connsiteX112" fmla="*/ 2749550 w 2889264"/>
              <a:gd name="connsiteY112" fmla="*/ 650875 h 733425"/>
              <a:gd name="connsiteX113" fmla="*/ 2774950 w 2889264"/>
              <a:gd name="connsiteY113" fmla="*/ 663575 h 733425"/>
              <a:gd name="connsiteX114" fmla="*/ 2803525 w 2889264"/>
              <a:gd name="connsiteY114" fmla="*/ 676275 h 733425"/>
              <a:gd name="connsiteX115" fmla="*/ 2816225 w 2889264"/>
              <a:gd name="connsiteY115" fmla="*/ 685800 h 733425"/>
              <a:gd name="connsiteX116" fmla="*/ 2832100 w 2889264"/>
              <a:gd name="connsiteY116" fmla="*/ 692150 h 733425"/>
              <a:gd name="connsiteX117" fmla="*/ 2876550 w 2889264"/>
              <a:gd name="connsiteY117" fmla="*/ 723900 h 733425"/>
              <a:gd name="connsiteX118" fmla="*/ 2889250 w 2889264"/>
              <a:gd name="connsiteY118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381000 w 2889264"/>
              <a:gd name="connsiteY6" fmla="*/ 539750 h 733425"/>
              <a:gd name="connsiteX7" fmla="*/ 406400 w 2889264"/>
              <a:gd name="connsiteY7" fmla="*/ 530225 h 733425"/>
              <a:gd name="connsiteX8" fmla="*/ 434975 w 2889264"/>
              <a:gd name="connsiteY8" fmla="*/ 514350 h 733425"/>
              <a:gd name="connsiteX9" fmla="*/ 463550 w 2889264"/>
              <a:gd name="connsiteY9" fmla="*/ 498475 h 733425"/>
              <a:gd name="connsiteX10" fmla="*/ 476250 w 2889264"/>
              <a:gd name="connsiteY10" fmla="*/ 495300 h 733425"/>
              <a:gd name="connsiteX11" fmla="*/ 492125 w 2889264"/>
              <a:gd name="connsiteY11" fmla="*/ 488950 h 733425"/>
              <a:gd name="connsiteX12" fmla="*/ 501650 w 2889264"/>
              <a:gd name="connsiteY12" fmla="*/ 485775 h 733425"/>
              <a:gd name="connsiteX13" fmla="*/ 523875 w 2889264"/>
              <a:gd name="connsiteY13" fmla="*/ 469900 h 733425"/>
              <a:gd name="connsiteX14" fmla="*/ 552450 w 2889264"/>
              <a:gd name="connsiteY14" fmla="*/ 450850 h 733425"/>
              <a:gd name="connsiteX15" fmla="*/ 568325 w 2889264"/>
              <a:gd name="connsiteY15" fmla="*/ 447675 h 733425"/>
              <a:gd name="connsiteX16" fmla="*/ 584200 w 2889264"/>
              <a:gd name="connsiteY16" fmla="*/ 441325 h 733425"/>
              <a:gd name="connsiteX17" fmla="*/ 593725 w 2889264"/>
              <a:gd name="connsiteY17" fmla="*/ 438150 h 733425"/>
              <a:gd name="connsiteX18" fmla="*/ 612775 w 2889264"/>
              <a:gd name="connsiteY18" fmla="*/ 428625 h 733425"/>
              <a:gd name="connsiteX19" fmla="*/ 628650 w 2889264"/>
              <a:gd name="connsiteY19" fmla="*/ 422275 h 733425"/>
              <a:gd name="connsiteX20" fmla="*/ 641350 w 2889264"/>
              <a:gd name="connsiteY20" fmla="*/ 415925 h 733425"/>
              <a:gd name="connsiteX21" fmla="*/ 657225 w 2889264"/>
              <a:gd name="connsiteY21" fmla="*/ 406400 h 733425"/>
              <a:gd name="connsiteX22" fmla="*/ 676275 w 2889264"/>
              <a:gd name="connsiteY22" fmla="*/ 400050 h 733425"/>
              <a:gd name="connsiteX23" fmla="*/ 708025 w 2889264"/>
              <a:gd name="connsiteY23" fmla="*/ 381000 h 733425"/>
              <a:gd name="connsiteX24" fmla="*/ 736600 w 2889264"/>
              <a:gd name="connsiteY24" fmla="*/ 368300 h 733425"/>
              <a:gd name="connsiteX25" fmla="*/ 742950 w 2889264"/>
              <a:gd name="connsiteY25" fmla="*/ 358775 h 733425"/>
              <a:gd name="connsiteX26" fmla="*/ 790575 w 2889264"/>
              <a:gd name="connsiteY26" fmla="*/ 339725 h 733425"/>
              <a:gd name="connsiteX27" fmla="*/ 800100 w 2889264"/>
              <a:gd name="connsiteY27" fmla="*/ 336550 h 733425"/>
              <a:gd name="connsiteX28" fmla="*/ 812800 w 2889264"/>
              <a:gd name="connsiteY28" fmla="*/ 330200 h 733425"/>
              <a:gd name="connsiteX29" fmla="*/ 828675 w 2889264"/>
              <a:gd name="connsiteY29" fmla="*/ 327025 h 733425"/>
              <a:gd name="connsiteX30" fmla="*/ 898525 w 2889264"/>
              <a:gd name="connsiteY30" fmla="*/ 288925 h 733425"/>
              <a:gd name="connsiteX31" fmla="*/ 923925 w 2889264"/>
              <a:gd name="connsiteY31" fmla="*/ 269875 h 733425"/>
              <a:gd name="connsiteX32" fmla="*/ 933450 w 2889264"/>
              <a:gd name="connsiteY32" fmla="*/ 260350 h 733425"/>
              <a:gd name="connsiteX33" fmla="*/ 958850 w 2889264"/>
              <a:gd name="connsiteY33" fmla="*/ 247650 h 733425"/>
              <a:gd name="connsiteX34" fmla="*/ 968375 w 2889264"/>
              <a:gd name="connsiteY34" fmla="*/ 241300 h 733425"/>
              <a:gd name="connsiteX35" fmla="*/ 984250 w 2889264"/>
              <a:gd name="connsiteY35" fmla="*/ 234950 h 733425"/>
              <a:gd name="connsiteX36" fmla="*/ 1006475 w 2889264"/>
              <a:gd name="connsiteY36" fmla="*/ 225425 h 733425"/>
              <a:gd name="connsiteX37" fmla="*/ 1050925 w 2889264"/>
              <a:gd name="connsiteY37" fmla="*/ 212725 h 733425"/>
              <a:gd name="connsiteX38" fmla="*/ 1079500 w 2889264"/>
              <a:gd name="connsiteY38" fmla="*/ 200025 h 733425"/>
              <a:gd name="connsiteX39" fmla="*/ 1098550 w 2889264"/>
              <a:gd name="connsiteY39" fmla="*/ 193675 h 733425"/>
              <a:gd name="connsiteX40" fmla="*/ 1111250 w 2889264"/>
              <a:gd name="connsiteY40" fmla="*/ 187325 h 733425"/>
              <a:gd name="connsiteX41" fmla="*/ 1136650 w 2889264"/>
              <a:gd name="connsiteY41" fmla="*/ 177800 h 733425"/>
              <a:gd name="connsiteX42" fmla="*/ 1181100 w 2889264"/>
              <a:gd name="connsiteY42" fmla="*/ 152400 h 733425"/>
              <a:gd name="connsiteX43" fmla="*/ 1203325 w 2889264"/>
              <a:gd name="connsiteY43" fmla="*/ 130175 h 733425"/>
              <a:gd name="connsiteX44" fmla="*/ 1219200 w 2889264"/>
              <a:gd name="connsiteY44" fmla="*/ 117475 h 733425"/>
              <a:gd name="connsiteX45" fmla="*/ 1276350 w 2889264"/>
              <a:gd name="connsiteY45" fmla="*/ 85725 h 733425"/>
              <a:gd name="connsiteX46" fmla="*/ 1289050 w 2889264"/>
              <a:gd name="connsiteY46" fmla="*/ 79375 h 733425"/>
              <a:gd name="connsiteX47" fmla="*/ 1327150 w 2889264"/>
              <a:gd name="connsiteY47" fmla="*/ 66675 h 733425"/>
              <a:gd name="connsiteX48" fmla="*/ 1343025 w 2889264"/>
              <a:gd name="connsiteY48" fmla="*/ 57150 h 733425"/>
              <a:gd name="connsiteX49" fmla="*/ 1355725 w 2889264"/>
              <a:gd name="connsiteY49" fmla="*/ 47625 h 733425"/>
              <a:gd name="connsiteX50" fmla="*/ 1377950 w 2889264"/>
              <a:gd name="connsiteY50" fmla="*/ 38100 h 733425"/>
              <a:gd name="connsiteX51" fmla="*/ 1416050 w 2889264"/>
              <a:gd name="connsiteY51" fmla="*/ 12700 h 733425"/>
              <a:gd name="connsiteX52" fmla="*/ 1428750 w 2889264"/>
              <a:gd name="connsiteY52" fmla="*/ 0 h 733425"/>
              <a:gd name="connsiteX53" fmla="*/ 1470025 w 2889264"/>
              <a:gd name="connsiteY53" fmla="*/ 28575 h 733425"/>
              <a:gd name="connsiteX54" fmla="*/ 1504950 w 2889264"/>
              <a:gd name="connsiteY54" fmla="*/ 41275 h 733425"/>
              <a:gd name="connsiteX55" fmla="*/ 1517650 w 2889264"/>
              <a:gd name="connsiteY55" fmla="*/ 50800 h 733425"/>
              <a:gd name="connsiteX56" fmla="*/ 1549400 w 2889264"/>
              <a:gd name="connsiteY56" fmla="*/ 60325 h 733425"/>
              <a:gd name="connsiteX57" fmla="*/ 1562100 w 2889264"/>
              <a:gd name="connsiteY57" fmla="*/ 69850 h 733425"/>
              <a:gd name="connsiteX58" fmla="*/ 1574800 w 2889264"/>
              <a:gd name="connsiteY58" fmla="*/ 73025 h 733425"/>
              <a:gd name="connsiteX59" fmla="*/ 1590675 w 2889264"/>
              <a:gd name="connsiteY59" fmla="*/ 79375 h 733425"/>
              <a:gd name="connsiteX60" fmla="*/ 1600200 w 2889264"/>
              <a:gd name="connsiteY60" fmla="*/ 85725 h 733425"/>
              <a:gd name="connsiteX61" fmla="*/ 1612900 w 2889264"/>
              <a:gd name="connsiteY61" fmla="*/ 92075 h 733425"/>
              <a:gd name="connsiteX62" fmla="*/ 1625600 w 2889264"/>
              <a:gd name="connsiteY62" fmla="*/ 101600 h 733425"/>
              <a:gd name="connsiteX63" fmla="*/ 1635125 w 2889264"/>
              <a:gd name="connsiteY63" fmla="*/ 104775 h 733425"/>
              <a:gd name="connsiteX64" fmla="*/ 1654175 w 2889264"/>
              <a:gd name="connsiteY64" fmla="*/ 114300 h 733425"/>
              <a:gd name="connsiteX65" fmla="*/ 1676400 w 2889264"/>
              <a:gd name="connsiteY65" fmla="*/ 130175 h 733425"/>
              <a:gd name="connsiteX66" fmla="*/ 1689100 w 2889264"/>
              <a:gd name="connsiteY66" fmla="*/ 136525 h 733425"/>
              <a:gd name="connsiteX67" fmla="*/ 1714500 w 2889264"/>
              <a:gd name="connsiteY67" fmla="*/ 146050 h 733425"/>
              <a:gd name="connsiteX68" fmla="*/ 1727200 w 2889264"/>
              <a:gd name="connsiteY68" fmla="*/ 155575 h 733425"/>
              <a:gd name="connsiteX69" fmla="*/ 1758950 w 2889264"/>
              <a:gd name="connsiteY69" fmla="*/ 165100 h 733425"/>
              <a:gd name="connsiteX70" fmla="*/ 1768475 w 2889264"/>
              <a:gd name="connsiteY70" fmla="*/ 171450 h 733425"/>
              <a:gd name="connsiteX71" fmla="*/ 1781175 w 2889264"/>
              <a:gd name="connsiteY71" fmla="*/ 180975 h 733425"/>
              <a:gd name="connsiteX72" fmla="*/ 1793875 w 2889264"/>
              <a:gd name="connsiteY72" fmla="*/ 187325 h 733425"/>
              <a:gd name="connsiteX73" fmla="*/ 1838325 w 2889264"/>
              <a:gd name="connsiteY73" fmla="*/ 212725 h 733425"/>
              <a:gd name="connsiteX74" fmla="*/ 1847850 w 2889264"/>
              <a:gd name="connsiteY74" fmla="*/ 222250 h 733425"/>
              <a:gd name="connsiteX75" fmla="*/ 1885950 w 2889264"/>
              <a:gd name="connsiteY75" fmla="*/ 241300 h 733425"/>
              <a:gd name="connsiteX76" fmla="*/ 1901825 w 2889264"/>
              <a:gd name="connsiteY76" fmla="*/ 250825 h 733425"/>
              <a:gd name="connsiteX77" fmla="*/ 1933575 w 2889264"/>
              <a:gd name="connsiteY77" fmla="*/ 263525 h 733425"/>
              <a:gd name="connsiteX78" fmla="*/ 1962150 w 2889264"/>
              <a:gd name="connsiteY78" fmla="*/ 276225 h 733425"/>
              <a:gd name="connsiteX79" fmla="*/ 1971675 w 2889264"/>
              <a:gd name="connsiteY79" fmla="*/ 282575 h 733425"/>
              <a:gd name="connsiteX80" fmla="*/ 1987550 w 2889264"/>
              <a:gd name="connsiteY80" fmla="*/ 288925 h 733425"/>
              <a:gd name="connsiteX81" fmla="*/ 2022475 w 2889264"/>
              <a:gd name="connsiteY81" fmla="*/ 301625 h 733425"/>
              <a:gd name="connsiteX82" fmla="*/ 2047875 w 2889264"/>
              <a:gd name="connsiteY82" fmla="*/ 314325 h 733425"/>
              <a:gd name="connsiteX83" fmla="*/ 2063750 w 2889264"/>
              <a:gd name="connsiteY83" fmla="*/ 320675 h 733425"/>
              <a:gd name="connsiteX84" fmla="*/ 2082800 w 2889264"/>
              <a:gd name="connsiteY84" fmla="*/ 330200 h 733425"/>
              <a:gd name="connsiteX85" fmla="*/ 2095500 w 2889264"/>
              <a:gd name="connsiteY85" fmla="*/ 333375 h 733425"/>
              <a:gd name="connsiteX86" fmla="*/ 2124075 w 2889264"/>
              <a:gd name="connsiteY86" fmla="*/ 342900 h 733425"/>
              <a:gd name="connsiteX87" fmla="*/ 2159000 w 2889264"/>
              <a:gd name="connsiteY87" fmla="*/ 358775 h 733425"/>
              <a:gd name="connsiteX88" fmla="*/ 2187575 w 2889264"/>
              <a:gd name="connsiteY88" fmla="*/ 377825 h 733425"/>
              <a:gd name="connsiteX89" fmla="*/ 2209800 w 2889264"/>
              <a:gd name="connsiteY89" fmla="*/ 393700 h 733425"/>
              <a:gd name="connsiteX90" fmla="*/ 2247900 w 2889264"/>
              <a:gd name="connsiteY90" fmla="*/ 419100 h 733425"/>
              <a:gd name="connsiteX91" fmla="*/ 2276475 w 2889264"/>
              <a:gd name="connsiteY91" fmla="*/ 434975 h 733425"/>
              <a:gd name="connsiteX92" fmla="*/ 2289175 w 2889264"/>
              <a:gd name="connsiteY92" fmla="*/ 444500 h 733425"/>
              <a:gd name="connsiteX93" fmla="*/ 2308225 w 2889264"/>
              <a:gd name="connsiteY93" fmla="*/ 447675 h 733425"/>
              <a:gd name="connsiteX94" fmla="*/ 2333625 w 2889264"/>
              <a:gd name="connsiteY94" fmla="*/ 460375 h 733425"/>
              <a:gd name="connsiteX95" fmla="*/ 2352675 w 2889264"/>
              <a:gd name="connsiteY95" fmla="*/ 466725 h 733425"/>
              <a:gd name="connsiteX96" fmla="*/ 2397125 w 2889264"/>
              <a:gd name="connsiteY96" fmla="*/ 488950 h 733425"/>
              <a:gd name="connsiteX97" fmla="*/ 2422525 w 2889264"/>
              <a:gd name="connsiteY97" fmla="*/ 495300 h 733425"/>
              <a:gd name="connsiteX98" fmla="*/ 2432050 w 2889264"/>
              <a:gd name="connsiteY98" fmla="*/ 498475 h 733425"/>
              <a:gd name="connsiteX99" fmla="*/ 2454275 w 2889264"/>
              <a:gd name="connsiteY99" fmla="*/ 511175 h 733425"/>
              <a:gd name="connsiteX100" fmla="*/ 2470150 w 2889264"/>
              <a:gd name="connsiteY100" fmla="*/ 523875 h 733425"/>
              <a:gd name="connsiteX101" fmla="*/ 2495550 w 2889264"/>
              <a:gd name="connsiteY101" fmla="*/ 533400 h 733425"/>
              <a:gd name="connsiteX102" fmla="*/ 2546350 w 2889264"/>
              <a:gd name="connsiteY102" fmla="*/ 558800 h 733425"/>
              <a:gd name="connsiteX103" fmla="*/ 2574925 w 2889264"/>
              <a:gd name="connsiteY103" fmla="*/ 565150 h 733425"/>
              <a:gd name="connsiteX104" fmla="*/ 2600325 w 2889264"/>
              <a:gd name="connsiteY104" fmla="*/ 577850 h 733425"/>
              <a:gd name="connsiteX105" fmla="*/ 2616200 w 2889264"/>
              <a:gd name="connsiteY105" fmla="*/ 581025 h 733425"/>
              <a:gd name="connsiteX106" fmla="*/ 2638425 w 2889264"/>
              <a:gd name="connsiteY106" fmla="*/ 587375 h 733425"/>
              <a:gd name="connsiteX107" fmla="*/ 2654300 w 2889264"/>
              <a:gd name="connsiteY107" fmla="*/ 596900 h 733425"/>
              <a:gd name="connsiteX108" fmla="*/ 2673350 w 2889264"/>
              <a:gd name="connsiteY108" fmla="*/ 603250 h 733425"/>
              <a:gd name="connsiteX109" fmla="*/ 2708275 w 2889264"/>
              <a:gd name="connsiteY109" fmla="*/ 625475 h 733425"/>
              <a:gd name="connsiteX110" fmla="*/ 2730500 w 2889264"/>
              <a:gd name="connsiteY110" fmla="*/ 635000 h 733425"/>
              <a:gd name="connsiteX111" fmla="*/ 2749550 w 2889264"/>
              <a:gd name="connsiteY111" fmla="*/ 650875 h 733425"/>
              <a:gd name="connsiteX112" fmla="*/ 2774950 w 2889264"/>
              <a:gd name="connsiteY112" fmla="*/ 663575 h 733425"/>
              <a:gd name="connsiteX113" fmla="*/ 2803525 w 2889264"/>
              <a:gd name="connsiteY113" fmla="*/ 676275 h 733425"/>
              <a:gd name="connsiteX114" fmla="*/ 2816225 w 2889264"/>
              <a:gd name="connsiteY114" fmla="*/ 685800 h 733425"/>
              <a:gd name="connsiteX115" fmla="*/ 2832100 w 2889264"/>
              <a:gd name="connsiteY115" fmla="*/ 692150 h 733425"/>
              <a:gd name="connsiteX116" fmla="*/ 2876550 w 2889264"/>
              <a:gd name="connsiteY116" fmla="*/ 723900 h 733425"/>
              <a:gd name="connsiteX117" fmla="*/ 2889250 w 2889264"/>
              <a:gd name="connsiteY117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381000 w 2889264"/>
              <a:gd name="connsiteY6" fmla="*/ 539750 h 733425"/>
              <a:gd name="connsiteX7" fmla="*/ 406400 w 2889264"/>
              <a:gd name="connsiteY7" fmla="*/ 530225 h 733425"/>
              <a:gd name="connsiteX8" fmla="*/ 434975 w 2889264"/>
              <a:gd name="connsiteY8" fmla="*/ 514350 h 733425"/>
              <a:gd name="connsiteX9" fmla="*/ 463550 w 2889264"/>
              <a:gd name="connsiteY9" fmla="*/ 498475 h 733425"/>
              <a:gd name="connsiteX10" fmla="*/ 476250 w 2889264"/>
              <a:gd name="connsiteY10" fmla="*/ 495300 h 733425"/>
              <a:gd name="connsiteX11" fmla="*/ 501650 w 2889264"/>
              <a:gd name="connsiteY11" fmla="*/ 485775 h 733425"/>
              <a:gd name="connsiteX12" fmla="*/ 523875 w 2889264"/>
              <a:gd name="connsiteY12" fmla="*/ 469900 h 733425"/>
              <a:gd name="connsiteX13" fmla="*/ 552450 w 2889264"/>
              <a:gd name="connsiteY13" fmla="*/ 450850 h 733425"/>
              <a:gd name="connsiteX14" fmla="*/ 568325 w 2889264"/>
              <a:gd name="connsiteY14" fmla="*/ 447675 h 733425"/>
              <a:gd name="connsiteX15" fmla="*/ 584200 w 2889264"/>
              <a:gd name="connsiteY15" fmla="*/ 441325 h 733425"/>
              <a:gd name="connsiteX16" fmla="*/ 593725 w 2889264"/>
              <a:gd name="connsiteY16" fmla="*/ 438150 h 733425"/>
              <a:gd name="connsiteX17" fmla="*/ 612775 w 2889264"/>
              <a:gd name="connsiteY17" fmla="*/ 428625 h 733425"/>
              <a:gd name="connsiteX18" fmla="*/ 628650 w 2889264"/>
              <a:gd name="connsiteY18" fmla="*/ 422275 h 733425"/>
              <a:gd name="connsiteX19" fmla="*/ 641350 w 2889264"/>
              <a:gd name="connsiteY19" fmla="*/ 415925 h 733425"/>
              <a:gd name="connsiteX20" fmla="*/ 657225 w 2889264"/>
              <a:gd name="connsiteY20" fmla="*/ 406400 h 733425"/>
              <a:gd name="connsiteX21" fmla="*/ 676275 w 2889264"/>
              <a:gd name="connsiteY21" fmla="*/ 400050 h 733425"/>
              <a:gd name="connsiteX22" fmla="*/ 708025 w 2889264"/>
              <a:gd name="connsiteY22" fmla="*/ 381000 h 733425"/>
              <a:gd name="connsiteX23" fmla="*/ 736600 w 2889264"/>
              <a:gd name="connsiteY23" fmla="*/ 368300 h 733425"/>
              <a:gd name="connsiteX24" fmla="*/ 742950 w 2889264"/>
              <a:gd name="connsiteY24" fmla="*/ 358775 h 733425"/>
              <a:gd name="connsiteX25" fmla="*/ 790575 w 2889264"/>
              <a:gd name="connsiteY25" fmla="*/ 339725 h 733425"/>
              <a:gd name="connsiteX26" fmla="*/ 800100 w 2889264"/>
              <a:gd name="connsiteY26" fmla="*/ 336550 h 733425"/>
              <a:gd name="connsiteX27" fmla="*/ 812800 w 2889264"/>
              <a:gd name="connsiteY27" fmla="*/ 330200 h 733425"/>
              <a:gd name="connsiteX28" fmla="*/ 828675 w 2889264"/>
              <a:gd name="connsiteY28" fmla="*/ 327025 h 733425"/>
              <a:gd name="connsiteX29" fmla="*/ 898525 w 2889264"/>
              <a:gd name="connsiteY29" fmla="*/ 288925 h 733425"/>
              <a:gd name="connsiteX30" fmla="*/ 923925 w 2889264"/>
              <a:gd name="connsiteY30" fmla="*/ 269875 h 733425"/>
              <a:gd name="connsiteX31" fmla="*/ 933450 w 2889264"/>
              <a:gd name="connsiteY31" fmla="*/ 260350 h 733425"/>
              <a:gd name="connsiteX32" fmla="*/ 958850 w 2889264"/>
              <a:gd name="connsiteY32" fmla="*/ 247650 h 733425"/>
              <a:gd name="connsiteX33" fmla="*/ 968375 w 2889264"/>
              <a:gd name="connsiteY33" fmla="*/ 241300 h 733425"/>
              <a:gd name="connsiteX34" fmla="*/ 984250 w 2889264"/>
              <a:gd name="connsiteY34" fmla="*/ 234950 h 733425"/>
              <a:gd name="connsiteX35" fmla="*/ 1006475 w 2889264"/>
              <a:gd name="connsiteY35" fmla="*/ 225425 h 733425"/>
              <a:gd name="connsiteX36" fmla="*/ 1050925 w 2889264"/>
              <a:gd name="connsiteY36" fmla="*/ 212725 h 733425"/>
              <a:gd name="connsiteX37" fmla="*/ 1079500 w 2889264"/>
              <a:gd name="connsiteY37" fmla="*/ 200025 h 733425"/>
              <a:gd name="connsiteX38" fmla="*/ 1098550 w 2889264"/>
              <a:gd name="connsiteY38" fmla="*/ 193675 h 733425"/>
              <a:gd name="connsiteX39" fmla="*/ 1111250 w 2889264"/>
              <a:gd name="connsiteY39" fmla="*/ 187325 h 733425"/>
              <a:gd name="connsiteX40" fmla="*/ 1136650 w 2889264"/>
              <a:gd name="connsiteY40" fmla="*/ 177800 h 733425"/>
              <a:gd name="connsiteX41" fmla="*/ 1181100 w 2889264"/>
              <a:gd name="connsiteY41" fmla="*/ 152400 h 733425"/>
              <a:gd name="connsiteX42" fmla="*/ 1203325 w 2889264"/>
              <a:gd name="connsiteY42" fmla="*/ 130175 h 733425"/>
              <a:gd name="connsiteX43" fmla="*/ 1219200 w 2889264"/>
              <a:gd name="connsiteY43" fmla="*/ 117475 h 733425"/>
              <a:gd name="connsiteX44" fmla="*/ 1276350 w 2889264"/>
              <a:gd name="connsiteY44" fmla="*/ 85725 h 733425"/>
              <a:gd name="connsiteX45" fmla="*/ 1289050 w 2889264"/>
              <a:gd name="connsiteY45" fmla="*/ 79375 h 733425"/>
              <a:gd name="connsiteX46" fmla="*/ 1327150 w 2889264"/>
              <a:gd name="connsiteY46" fmla="*/ 66675 h 733425"/>
              <a:gd name="connsiteX47" fmla="*/ 1343025 w 2889264"/>
              <a:gd name="connsiteY47" fmla="*/ 57150 h 733425"/>
              <a:gd name="connsiteX48" fmla="*/ 1355725 w 2889264"/>
              <a:gd name="connsiteY48" fmla="*/ 47625 h 733425"/>
              <a:gd name="connsiteX49" fmla="*/ 1377950 w 2889264"/>
              <a:gd name="connsiteY49" fmla="*/ 38100 h 733425"/>
              <a:gd name="connsiteX50" fmla="*/ 1416050 w 2889264"/>
              <a:gd name="connsiteY50" fmla="*/ 12700 h 733425"/>
              <a:gd name="connsiteX51" fmla="*/ 1428750 w 2889264"/>
              <a:gd name="connsiteY51" fmla="*/ 0 h 733425"/>
              <a:gd name="connsiteX52" fmla="*/ 1470025 w 2889264"/>
              <a:gd name="connsiteY52" fmla="*/ 28575 h 733425"/>
              <a:gd name="connsiteX53" fmla="*/ 1504950 w 2889264"/>
              <a:gd name="connsiteY53" fmla="*/ 41275 h 733425"/>
              <a:gd name="connsiteX54" fmla="*/ 1517650 w 2889264"/>
              <a:gd name="connsiteY54" fmla="*/ 50800 h 733425"/>
              <a:gd name="connsiteX55" fmla="*/ 1549400 w 2889264"/>
              <a:gd name="connsiteY55" fmla="*/ 60325 h 733425"/>
              <a:gd name="connsiteX56" fmla="*/ 1562100 w 2889264"/>
              <a:gd name="connsiteY56" fmla="*/ 69850 h 733425"/>
              <a:gd name="connsiteX57" fmla="*/ 1574800 w 2889264"/>
              <a:gd name="connsiteY57" fmla="*/ 73025 h 733425"/>
              <a:gd name="connsiteX58" fmla="*/ 1590675 w 2889264"/>
              <a:gd name="connsiteY58" fmla="*/ 79375 h 733425"/>
              <a:gd name="connsiteX59" fmla="*/ 1600200 w 2889264"/>
              <a:gd name="connsiteY59" fmla="*/ 85725 h 733425"/>
              <a:gd name="connsiteX60" fmla="*/ 1612900 w 2889264"/>
              <a:gd name="connsiteY60" fmla="*/ 92075 h 733425"/>
              <a:gd name="connsiteX61" fmla="*/ 1625600 w 2889264"/>
              <a:gd name="connsiteY61" fmla="*/ 101600 h 733425"/>
              <a:gd name="connsiteX62" fmla="*/ 1635125 w 2889264"/>
              <a:gd name="connsiteY62" fmla="*/ 104775 h 733425"/>
              <a:gd name="connsiteX63" fmla="*/ 1654175 w 2889264"/>
              <a:gd name="connsiteY63" fmla="*/ 114300 h 733425"/>
              <a:gd name="connsiteX64" fmla="*/ 1676400 w 2889264"/>
              <a:gd name="connsiteY64" fmla="*/ 130175 h 733425"/>
              <a:gd name="connsiteX65" fmla="*/ 1689100 w 2889264"/>
              <a:gd name="connsiteY65" fmla="*/ 136525 h 733425"/>
              <a:gd name="connsiteX66" fmla="*/ 1714500 w 2889264"/>
              <a:gd name="connsiteY66" fmla="*/ 146050 h 733425"/>
              <a:gd name="connsiteX67" fmla="*/ 1727200 w 2889264"/>
              <a:gd name="connsiteY67" fmla="*/ 155575 h 733425"/>
              <a:gd name="connsiteX68" fmla="*/ 1758950 w 2889264"/>
              <a:gd name="connsiteY68" fmla="*/ 165100 h 733425"/>
              <a:gd name="connsiteX69" fmla="*/ 1768475 w 2889264"/>
              <a:gd name="connsiteY69" fmla="*/ 171450 h 733425"/>
              <a:gd name="connsiteX70" fmla="*/ 1781175 w 2889264"/>
              <a:gd name="connsiteY70" fmla="*/ 180975 h 733425"/>
              <a:gd name="connsiteX71" fmla="*/ 1793875 w 2889264"/>
              <a:gd name="connsiteY71" fmla="*/ 187325 h 733425"/>
              <a:gd name="connsiteX72" fmla="*/ 1838325 w 2889264"/>
              <a:gd name="connsiteY72" fmla="*/ 212725 h 733425"/>
              <a:gd name="connsiteX73" fmla="*/ 1847850 w 2889264"/>
              <a:gd name="connsiteY73" fmla="*/ 222250 h 733425"/>
              <a:gd name="connsiteX74" fmla="*/ 1885950 w 2889264"/>
              <a:gd name="connsiteY74" fmla="*/ 241300 h 733425"/>
              <a:gd name="connsiteX75" fmla="*/ 1901825 w 2889264"/>
              <a:gd name="connsiteY75" fmla="*/ 250825 h 733425"/>
              <a:gd name="connsiteX76" fmla="*/ 1933575 w 2889264"/>
              <a:gd name="connsiteY76" fmla="*/ 263525 h 733425"/>
              <a:gd name="connsiteX77" fmla="*/ 1962150 w 2889264"/>
              <a:gd name="connsiteY77" fmla="*/ 276225 h 733425"/>
              <a:gd name="connsiteX78" fmla="*/ 1971675 w 2889264"/>
              <a:gd name="connsiteY78" fmla="*/ 282575 h 733425"/>
              <a:gd name="connsiteX79" fmla="*/ 1987550 w 2889264"/>
              <a:gd name="connsiteY79" fmla="*/ 288925 h 733425"/>
              <a:gd name="connsiteX80" fmla="*/ 2022475 w 2889264"/>
              <a:gd name="connsiteY80" fmla="*/ 301625 h 733425"/>
              <a:gd name="connsiteX81" fmla="*/ 2047875 w 2889264"/>
              <a:gd name="connsiteY81" fmla="*/ 314325 h 733425"/>
              <a:gd name="connsiteX82" fmla="*/ 2063750 w 2889264"/>
              <a:gd name="connsiteY82" fmla="*/ 320675 h 733425"/>
              <a:gd name="connsiteX83" fmla="*/ 2082800 w 2889264"/>
              <a:gd name="connsiteY83" fmla="*/ 330200 h 733425"/>
              <a:gd name="connsiteX84" fmla="*/ 2095500 w 2889264"/>
              <a:gd name="connsiteY84" fmla="*/ 333375 h 733425"/>
              <a:gd name="connsiteX85" fmla="*/ 2124075 w 2889264"/>
              <a:gd name="connsiteY85" fmla="*/ 342900 h 733425"/>
              <a:gd name="connsiteX86" fmla="*/ 2159000 w 2889264"/>
              <a:gd name="connsiteY86" fmla="*/ 358775 h 733425"/>
              <a:gd name="connsiteX87" fmla="*/ 2187575 w 2889264"/>
              <a:gd name="connsiteY87" fmla="*/ 377825 h 733425"/>
              <a:gd name="connsiteX88" fmla="*/ 2209800 w 2889264"/>
              <a:gd name="connsiteY88" fmla="*/ 393700 h 733425"/>
              <a:gd name="connsiteX89" fmla="*/ 2247900 w 2889264"/>
              <a:gd name="connsiteY89" fmla="*/ 419100 h 733425"/>
              <a:gd name="connsiteX90" fmla="*/ 2276475 w 2889264"/>
              <a:gd name="connsiteY90" fmla="*/ 434975 h 733425"/>
              <a:gd name="connsiteX91" fmla="*/ 2289175 w 2889264"/>
              <a:gd name="connsiteY91" fmla="*/ 444500 h 733425"/>
              <a:gd name="connsiteX92" fmla="*/ 2308225 w 2889264"/>
              <a:gd name="connsiteY92" fmla="*/ 447675 h 733425"/>
              <a:gd name="connsiteX93" fmla="*/ 2333625 w 2889264"/>
              <a:gd name="connsiteY93" fmla="*/ 460375 h 733425"/>
              <a:gd name="connsiteX94" fmla="*/ 2352675 w 2889264"/>
              <a:gd name="connsiteY94" fmla="*/ 466725 h 733425"/>
              <a:gd name="connsiteX95" fmla="*/ 2397125 w 2889264"/>
              <a:gd name="connsiteY95" fmla="*/ 488950 h 733425"/>
              <a:gd name="connsiteX96" fmla="*/ 2422525 w 2889264"/>
              <a:gd name="connsiteY96" fmla="*/ 495300 h 733425"/>
              <a:gd name="connsiteX97" fmla="*/ 2432050 w 2889264"/>
              <a:gd name="connsiteY97" fmla="*/ 498475 h 733425"/>
              <a:gd name="connsiteX98" fmla="*/ 2454275 w 2889264"/>
              <a:gd name="connsiteY98" fmla="*/ 511175 h 733425"/>
              <a:gd name="connsiteX99" fmla="*/ 2470150 w 2889264"/>
              <a:gd name="connsiteY99" fmla="*/ 523875 h 733425"/>
              <a:gd name="connsiteX100" fmla="*/ 2495550 w 2889264"/>
              <a:gd name="connsiteY100" fmla="*/ 533400 h 733425"/>
              <a:gd name="connsiteX101" fmla="*/ 2546350 w 2889264"/>
              <a:gd name="connsiteY101" fmla="*/ 558800 h 733425"/>
              <a:gd name="connsiteX102" fmla="*/ 2574925 w 2889264"/>
              <a:gd name="connsiteY102" fmla="*/ 565150 h 733425"/>
              <a:gd name="connsiteX103" fmla="*/ 2600325 w 2889264"/>
              <a:gd name="connsiteY103" fmla="*/ 577850 h 733425"/>
              <a:gd name="connsiteX104" fmla="*/ 2616200 w 2889264"/>
              <a:gd name="connsiteY104" fmla="*/ 581025 h 733425"/>
              <a:gd name="connsiteX105" fmla="*/ 2638425 w 2889264"/>
              <a:gd name="connsiteY105" fmla="*/ 587375 h 733425"/>
              <a:gd name="connsiteX106" fmla="*/ 2654300 w 2889264"/>
              <a:gd name="connsiteY106" fmla="*/ 596900 h 733425"/>
              <a:gd name="connsiteX107" fmla="*/ 2673350 w 2889264"/>
              <a:gd name="connsiteY107" fmla="*/ 603250 h 733425"/>
              <a:gd name="connsiteX108" fmla="*/ 2708275 w 2889264"/>
              <a:gd name="connsiteY108" fmla="*/ 625475 h 733425"/>
              <a:gd name="connsiteX109" fmla="*/ 2730500 w 2889264"/>
              <a:gd name="connsiteY109" fmla="*/ 635000 h 733425"/>
              <a:gd name="connsiteX110" fmla="*/ 2749550 w 2889264"/>
              <a:gd name="connsiteY110" fmla="*/ 650875 h 733425"/>
              <a:gd name="connsiteX111" fmla="*/ 2774950 w 2889264"/>
              <a:gd name="connsiteY111" fmla="*/ 663575 h 733425"/>
              <a:gd name="connsiteX112" fmla="*/ 2803525 w 2889264"/>
              <a:gd name="connsiteY112" fmla="*/ 676275 h 733425"/>
              <a:gd name="connsiteX113" fmla="*/ 2816225 w 2889264"/>
              <a:gd name="connsiteY113" fmla="*/ 685800 h 733425"/>
              <a:gd name="connsiteX114" fmla="*/ 2832100 w 2889264"/>
              <a:gd name="connsiteY114" fmla="*/ 692150 h 733425"/>
              <a:gd name="connsiteX115" fmla="*/ 2876550 w 2889264"/>
              <a:gd name="connsiteY115" fmla="*/ 723900 h 733425"/>
              <a:gd name="connsiteX116" fmla="*/ 2889250 w 2889264"/>
              <a:gd name="connsiteY116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381000 w 2889264"/>
              <a:gd name="connsiteY6" fmla="*/ 539750 h 733425"/>
              <a:gd name="connsiteX7" fmla="*/ 406400 w 2889264"/>
              <a:gd name="connsiteY7" fmla="*/ 530225 h 733425"/>
              <a:gd name="connsiteX8" fmla="*/ 434975 w 2889264"/>
              <a:gd name="connsiteY8" fmla="*/ 514350 h 733425"/>
              <a:gd name="connsiteX9" fmla="*/ 463550 w 2889264"/>
              <a:gd name="connsiteY9" fmla="*/ 498475 h 733425"/>
              <a:gd name="connsiteX10" fmla="*/ 476250 w 2889264"/>
              <a:gd name="connsiteY10" fmla="*/ 495300 h 733425"/>
              <a:gd name="connsiteX11" fmla="*/ 501650 w 2889264"/>
              <a:gd name="connsiteY11" fmla="*/ 485775 h 733425"/>
              <a:gd name="connsiteX12" fmla="*/ 523875 w 2889264"/>
              <a:gd name="connsiteY12" fmla="*/ 469900 h 733425"/>
              <a:gd name="connsiteX13" fmla="*/ 568325 w 2889264"/>
              <a:gd name="connsiteY13" fmla="*/ 447675 h 733425"/>
              <a:gd name="connsiteX14" fmla="*/ 584200 w 2889264"/>
              <a:gd name="connsiteY14" fmla="*/ 441325 h 733425"/>
              <a:gd name="connsiteX15" fmla="*/ 593725 w 2889264"/>
              <a:gd name="connsiteY15" fmla="*/ 438150 h 733425"/>
              <a:gd name="connsiteX16" fmla="*/ 612775 w 2889264"/>
              <a:gd name="connsiteY16" fmla="*/ 428625 h 733425"/>
              <a:gd name="connsiteX17" fmla="*/ 628650 w 2889264"/>
              <a:gd name="connsiteY17" fmla="*/ 422275 h 733425"/>
              <a:gd name="connsiteX18" fmla="*/ 641350 w 2889264"/>
              <a:gd name="connsiteY18" fmla="*/ 415925 h 733425"/>
              <a:gd name="connsiteX19" fmla="*/ 657225 w 2889264"/>
              <a:gd name="connsiteY19" fmla="*/ 406400 h 733425"/>
              <a:gd name="connsiteX20" fmla="*/ 676275 w 2889264"/>
              <a:gd name="connsiteY20" fmla="*/ 400050 h 733425"/>
              <a:gd name="connsiteX21" fmla="*/ 708025 w 2889264"/>
              <a:gd name="connsiteY21" fmla="*/ 381000 h 733425"/>
              <a:gd name="connsiteX22" fmla="*/ 736600 w 2889264"/>
              <a:gd name="connsiteY22" fmla="*/ 368300 h 733425"/>
              <a:gd name="connsiteX23" fmla="*/ 742950 w 2889264"/>
              <a:gd name="connsiteY23" fmla="*/ 358775 h 733425"/>
              <a:gd name="connsiteX24" fmla="*/ 790575 w 2889264"/>
              <a:gd name="connsiteY24" fmla="*/ 339725 h 733425"/>
              <a:gd name="connsiteX25" fmla="*/ 800100 w 2889264"/>
              <a:gd name="connsiteY25" fmla="*/ 336550 h 733425"/>
              <a:gd name="connsiteX26" fmla="*/ 812800 w 2889264"/>
              <a:gd name="connsiteY26" fmla="*/ 330200 h 733425"/>
              <a:gd name="connsiteX27" fmla="*/ 828675 w 2889264"/>
              <a:gd name="connsiteY27" fmla="*/ 327025 h 733425"/>
              <a:gd name="connsiteX28" fmla="*/ 898525 w 2889264"/>
              <a:gd name="connsiteY28" fmla="*/ 288925 h 733425"/>
              <a:gd name="connsiteX29" fmla="*/ 923925 w 2889264"/>
              <a:gd name="connsiteY29" fmla="*/ 269875 h 733425"/>
              <a:gd name="connsiteX30" fmla="*/ 933450 w 2889264"/>
              <a:gd name="connsiteY30" fmla="*/ 260350 h 733425"/>
              <a:gd name="connsiteX31" fmla="*/ 958850 w 2889264"/>
              <a:gd name="connsiteY31" fmla="*/ 247650 h 733425"/>
              <a:gd name="connsiteX32" fmla="*/ 968375 w 2889264"/>
              <a:gd name="connsiteY32" fmla="*/ 241300 h 733425"/>
              <a:gd name="connsiteX33" fmla="*/ 984250 w 2889264"/>
              <a:gd name="connsiteY33" fmla="*/ 234950 h 733425"/>
              <a:gd name="connsiteX34" fmla="*/ 1006475 w 2889264"/>
              <a:gd name="connsiteY34" fmla="*/ 225425 h 733425"/>
              <a:gd name="connsiteX35" fmla="*/ 1050925 w 2889264"/>
              <a:gd name="connsiteY35" fmla="*/ 212725 h 733425"/>
              <a:gd name="connsiteX36" fmla="*/ 1079500 w 2889264"/>
              <a:gd name="connsiteY36" fmla="*/ 200025 h 733425"/>
              <a:gd name="connsiteX37" fmla="*/ 1098550 w 2889264"/>
              <a:gd name="connsiteY37" fmla="*/ 193675 h 733425"/>
              <a:gd name="connsiteX38" fmla="*/ 1111250 w 2889264"/>
              <a:gd name="connsiteY38" fmla="*/ 187325 h 733425"/>
              <a:gd name="connsiteX39" fmla="*/ 1136650 w 2889264"/>
              <a:gd name="connsiteY39" fmla="*/ 177800 h 733425"/>
              <a:gd name="connsiteX40" fmla="*/ 1181100 w 2889264"/>
              <a:gd name="connsiteY40" fmla="*/ 152400 h 733425"/>
              <a:gd name="connsiteX41" fmla="*/ 1203325 w 2889264"/>
              <a:gd name="connsiteY41" fmla="*/ 130175 h 733425"/>
              <a:gd name="connsiteX42" fmla="*/ 1219200 w 2889264"/>
              <a:gd name="connsiteY42" fmla="*/ 117475 h 733425"/>
              <a:gd name="connsiteX43" fmla="*/ 1276350 w 2889264"/>
              <a:gd name="connsiteY43" fmla="*/ 85725 h 733425"/>
              <a:gd name="connsiteX44" fmla="*/ 1289050 w 2889264"/>
              <a:gd name="connsiteY44" fmla="*/ 79375 h 733425"/>
              <a:gd name="connsiteX45" fmla="*/ 1327150 w 2889264"/>
              <a:gd name="connsiteY45" fmla="*/ 66675 h 733425"/>
              <a:gd name="connsiteX46" fmla="*/ 1343025 w 2889264"/>
              <a:gd name="connsiteY46" fmla="*/ 57150 h 733425"/>
              <a:gd name="connsiteX47" fmla="*/ 1355725 w 2889264"/>
              <a:gd name="connsiteY47" fmla="*/ 47625 h 733425"/>
              <a:gd name="connsiteX48" fmla="*/ 1377950 w 2889264"/>
              <a:gd name="connsiteY48" fmla="*/ 38100 h 733425"/>
              <a:gd name="connsiteX49" fmla="*/ 1416050 w 2889264"/>
              <a:gd name="connsiteY49" fmla="*/ 12700 h 733425"/>
              <a:gd name="connsiteX50" fmla="*/ 1428750 w 2889264"/>
              <a:gd name="connsiteY50" fmla="*/ 0 h 733425"/>
              <a:gd name="connsiteX51" fmla="*/ 1470025 w 2889264"/>
              <a:gd name="connsiteY51" fmla="*/ 28575 h 733425"/>
              <a:gd name="connsiteX52" fmla="*/ 1504950 w 2889264"/>
              <a:gd name="connsiteY52" fmla="*/ 41275 h 733425"/>
              <a:gd name="connsiteX53" fmla="*/ 1517650 w 2889264"/>
              <a:gd name="connsiteY53" fmla="*/ 50800 h 733425"/>
              <a:gd name="connsiteX54" fmla="*/ 1549400 w 2889264"/>
              <a:gd name="connsiteY54" fmla="*/ 60325 h 733425"/>
              <a:gd name="connsiteX55" fmla="*/ 1562100 w 2889264"/>
              <a:gd name="connsiteY55" fmla="*/ 69850 h 733425"/>
              <a:gd name="connsiteX56" fmla="*/ 1574800 w 2889264"/>
              <a:gd name="connsiteY56" fmla="*/ 73025 h 733425"/>
              <a:gd name="connsiteX57" fmla="*/ 1590675 w 2889264"/>
              <a:gd name="connsiteY57" fmla="*/ 79375 h 733425"/>
              <a:gd name="connsiteX58" fmla="*/ 1600200 w 2889264"/>
              <a:gd name="connsiteY58" fmla="*/ 85725 h 733425"/>
              <a:gd name="connsiteX59" fmla="*/ 1612900 w 2889264"/>
              <a:gd name="connsiteY59" fmla="*/ 92075 h 733425"/>
              <a:gd name="connsiteX60" fmla="*/ 1625600 w 2889264"/>
              <a:gd name="connsiteY60" fmla="*/ 101600 h 733425"/>
              <a:gd name="connsiteX61" fmla="*/ 1635125 w 2889264"/>
              <a:gd name="connsiteY61" fmla="*/ 104775 h 733425"/>
              <a:gd name="connsiteX62" fmla="*/ 1654175 w 2889264"/>
              <a:gd name="connsiteY62" fmla="*/ 114300 h 733425"/>
              <a:gd name="connsiteX63" fmla="*/ 1676400 w 2889264"/>
              <a:gd name="connsiteY63" fmla="*/ 130175 h 733425"/>
              <a:gd name="connsiteX64" fmla="*/ 1689100 w 2889264"/>
              <a:gd name="connsiteY64" fmla="*/ 136525 h 733425"/>
              <a:gd name="connsiteX65" fmla="*/ 1714500 w 2889264"/>
              <a:gd name="connsiteY65" fmla="*/ 146050 h 733425"/>
              <a:gd name="connsiteX66" fmla="*/ 1727200 w 2889264"/>
              <a:gd name="connsiteY66" fmla="*/ 155575 h 733425"/>
              <a:gd name="connsiteX67" fmla="*/ 1758950 w 2889264"/>
              <a:gd name="connsiteY67" fmla="*/ 165100 h 733425"/>
              <a:gd name="connsiteX68" fmla="*/ 1768475 w 2889264"/>
              <a:gd name="connsiteY68" fmla="*/ 171450 h 733425"/>
              <a:gd name="connsiteX69" fmla="*/ 1781175 w 2889264"/>
              <a:gd name="connsiteY69" fmla="*/ 180975 h 733425"/>
              <a:gd name="connsiteX70" fmla="*/ 1793875 w 2889264"/>
              <a:gd name="connsiteY70" fmla="*/ 187325 h 733425"/>
              <a:gd name="connsiteX71" fmla="*/ 1838325 w 2889264"/>
              <a:gd name="connsiteY71" fmla="*/ 212725 h 733425"/>
              <a:gd name="connsiteX72" fmla="*/ 1847850 w 2889264"/>
              <a:gd name="connsiteY72" fmla="*/ 222250 h 733425"/>
              <a:gd name="connsiteX73" fmla="*/ 1885950 w 2889264"/>
              <a:gd name="connsiteY73" fmla="*/ 241300 h 733425"/>
              <a:gd name="connsiteX74" fmla="*/ 1901825 w 2889264"/>
              <a:gd name="connsiteY74" fmla="*/ 250825 h 733425"/>
              <a:gd name="connsiteX75" fmla="*/ 1933575 w 2889264"/>
              <a:gd name="connsiteY75" fmla="*/ 263525 h 733425"/>
              <a:gd name="connsiteX76" fmla="*/ 1962150 w 2889264"/>
              <a:gd name="connsiteY76" fmla="*/ 276225 h 733425"/>
              <a:gd name="connsiteX77" fmla="*/ 1971675 w 2889264"/>
              <a:gd name="connsiteY77" fmla="*/ 282575 h 733425"/>
              <a:gd name="connsiteX78" fmla="*/ 1987550 w 2889264"/>
              <a:gd name="connsiteY78" fmla="*/ 288925 h 733425"/>
              <a:gd name="connsiteX79" fmla="*/ 2022475 w 2889264"/>
              <a:gd name="connsiteY79" fmla="*/ 301625 h 733425"/>
              <a:gd name="connsiteX80" fmla="*/ 2047875 w 2889264"/>
              <a:gd name="connsiteY80" fmla="*/ 314325 h 733425"/>
              <a:gd name="connsiteX81" fmla="*/ 2063750 w 2889264"/>
              <a:gd name="connsiteY81" fmla="*/ 320675 h 733425"/>
              <a:gd name="connsiteX82" fmla="*/ 2082800 w 2889264"/>
              <a:gd name="connsiteY82" fmla="*/ 330200 h 733425"/>
              <a:gd name="connsiteX83" fmla="*/ 2095500 w 2889264"/>
              <a:gd name="connsiteY83" fmla="*/ 333375 h 733425"/>
              <a:gd name="connsiteX84" fmla="*/ 2124075 w 2889264"/>
              <a:gd name="connsiteY84" fmla="*/ 342900 h 733425"/>
              <a:gd name="connsiteX85" fmla="*/ 2159000 w 2889264"/>
              <a:gd name="connsiteY85" fmla="*/ 358775 h 733425"/>
              <a:gd name="connsiteX86" fmla="*/ 2187575 w 2889264"/>
              <a:gd name="connsiteY86" fmla="*/ 377825 h 733425"/>
              <a:gd name="connsiteX87" fmla="*/ 2209800 w 2889264"/>
              <a:gd name="connsiteY87" fmla="*/ 393700 h 733425"/>
              <a:gd name="connsiteX88" fmla="*/ 2247900 w 2889264"/>
              <a:gd name="connsiteY88" fmla="*/ 419100 h 733425"/>
              <a:gd name="connsiteX89" fmla="*/ 2276475 w 2889264"/>
              <a:gd name="connsiteY89" fmla="*/ 434975 h 733425"/>
              <a:gd name="connsiteX90" fmla="*/ 2289175 w 2889264"/>
              <a:gd name="connsiteY90" fmla="*/ 444500 h 733425"/>
              <a:gd name="connsiteX91" fmla="*/ 2308225 w 2889264"/>
              <a:gd name="connsiteY91" fmla="*/ 447675 h 733425"/>
              <a:gd name="connsiteX92" fmla="*/ 2333625 w 2889264"/>
              <a:gd name="connsiteY92" fmla="*/ 460375 h 733425"/>
              <a:gd name="connsiteX93" fmla="*/ 2352675 w 2889264"/>
              <a:gd name="connsiteY93" fmla="*/ 466725 h 733425"/>
              <a:gd name="connsiteX94" fmla="*/ 2397125 w 2889264"/>
              <a:gd name="connsiteY94" fmla="*/ 488950 h 733425"/>
              <a:gd name="connsiteX95" fmla="*/ 2422525 w 2889264"/>
              <a:gd name="connsiteY95" fmla="*/ 495300 h 733425"/>
              <a:gd name="connsiteX96" fmla="*/ 2432050 w 2889264"/>
              <a:gd name="connsiteY96" fmla="*/ 498475 h 733425"/>
              <a:gd name="connsiteX97" fmla="*/ 2454275 w 2889264"/>
              <a:gd name="connsiteY97" fmla="*/ 511175 h 733425"/>
              <a:gd name="connsiteX98" fmla="*/ 2470150 w 2889264"/>
              <a:gd name="connsiteY98" fmla="*/ 523875 h 733425"/>
              <a:gd name="connsiteX99" fmla="*/ 2495550 w 2889264"/>
              <a:gd name="connsiteY99" fmla="*/ 533400 h 733425"/>
              <a:gd name="connsiteX100" fmla="*/ 2546350 w 2889264"/>
              <a:gd name="connsiteY100" fmla="*/ 558800 h 733425"/>
              <a:gd name="connsiteX101" fmla="*/ 2574925 w 2889264"/>
              <a:gd name="connsiteY101" fmla="*/ 565150 h 733425"/>
              <a:gd name="connsiteX102" fmla="*/ 2600325 w 2889264"/>
              <a:gd name="connsiteY102" fmla="*/ 577850 h 733425"/>
              <a:gd name="connsiteX103" fmla="*/ 2616200 w 2889264"/>
              <a:gd name="connsiteY103" fmla="*/ 581025 h 733425"/>
              <a:gd name="connsiteX104" fmla="*/ 2638425 w 2889264"/>
              <a:gd name="connsiteY104" fmla="*/ 587375 h 733425"/>
              <a:gd name="connsiteX105" fmla="*/ 2654300 w 2889264"/>
              <a:gd name="connsiteY105" fmla="*/ 596900 h 733425"/>
              <a:gd name="connsiteX106" fmla="*/ 2673350 w 2889264"/>
              <a:gd name="connsiteY106" fmla="*/ 603250 h 733425"/>
              <a:gd name="connsiteX107" fmla="*/ 2708275 w 2889264"/>
              <a:gd name="connsiteY107" fmla="*/ 625475 h 733425"/>
              <a:gd name="connsiteX108" fmla="*/ 2730500 w 2889264"/>
              <a:gd name="connsiteY108" fmla="*/ 635000 h 733425"/>
              <a:gd name="connsiteX109" fmla="*/ 2749550 w 2889264"/>
              <a:gd name="connsiteY109" fmla="*/ 650875 h 733425"/>
              <a:gd name="connsiteX110" fmla="*/ 2774950 w 2889264"/>
              <a:gd name="connsiteY110" fmla="*/ 663575 h 733425"/>
              <a:gd name="connsiteX111" fmla="*/ 2803525 w 2889264"/>
              <a:gd name="connsiteY111" fmla="*/ 676275 h 733425"/>
              <a:gd name="connsiteX112" fmla="*/ 2816225 w 2889264"/>
              <a:gd name="connsiteY112" fmla="*/ 685800 h 733425"/>
              <a:gd name="connsiteX113" fmla="*/ 2832100 w 2889264"/>
              <a:gd name="connsiteY113" fmla="*/ 692150 h 733425"/>
              <a:gd name="connsiteX114" fmla="*/ 2876550 w 2889264"/>
              <a:gd name="connsiteY114" fmla="*/ 723900 h 733425"/>
              <a:gd name="connsiteX115" fmla="*/ 2889250 w 2889264"/>
              <a:gd name="connsiteY115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381000 w 2889264"/>
              <a:gd name="connsiteY6" fmla="*/ 539750 h 733425"/>
              <a:gd name="connsiteX7" fmla="*/ 406400 w 2889264"/>
              <a:gd name="connsiteY7" fmla="*/ 530225 h 733425"/>
              <a:gd name="connsiteX8" fmla="*/ 434975 w 2889264"/>
              <a:gd name="connsiteY8" fmla="*/ 514350 h 733425"/>
              <a:gd name="connsiteX9" fmla="*/ 463550 w 2889264"/>
              <a:gd name="connsiteY9" fmla="*/ 498475 h 733425"/>
              <a:gd name="connsiteX10" fmla="*/ 476250 w 2889264"/>
              <a:gd name="connsiteY10" fmla="*/ 495300 h 733425"/>
              <a:gd name="connsiteX11" fmla="*/ 501650 w 2889264"/>
              <a:gd name="connsiteY11" fmla="*/ 485775 h 733425"/>
              <a:gd name="connsiteX12" fmla="*/ 523875 w 2889264"/>
              <a:gd name="connsiteY12" fmla="*/ 469900 h 733425"/>
              <a:gd name="connsiteX13" fmla="*/ 568325 w 2889264"/>
              <a:gd name="connsiteY13" fmla="*/ 447675 h 733425"/>
              <a:gd name="connsiteX14" fmla="*/ 584200 w 2889264"/>
              <a:gd name="connsiteY14" fmla="*/ 441325 h 733425"/>
              <a:gd name="connsiteX15" fmla="*/ 612775 w 2889264"/>
              <a:gd name="connsiteY15" fmla="*/ 428625 h 733425"/>
              <a:gd name="connsiteX16" fmla="*/ 628650 w 2889264"/>
              <a:gd name="connsiteY16" fmla="*/ 422275 h 733425"/>
              <a:gd name="connsiteX17" fmla="*/ 641350 w 2889264"/>
              <a:gd name="connsiteY17" fmla="*/ 415925 h 733425"/>
              <a:gd name="connsiteX18" fmla="*/ 657225 w 2889264"/>
              <a:gd name="connsiteY18" fmla="*/ 406400 h 733425"/>
              <a:gd name="connsiteX19" fmla="*/ 676275 w 2889264"/>
              <a:gd name="connsiteY19" fmla="*/ 400050 h 733425"/>
              <a:gd name="connsiteX20" fmla="*/ 708025 w 2889264"/>
              <a:gd name="connsiteY20" fmla="*/ 381000 h 733425"/>
              <a:gd name="connsiteX21" fmla="*/ 736600 w 2889264"/>
              <a:gd name="connsiteY21" fmla="*/ 368300 h 733425"/>
              <a:gd name="connsiteX22" fmla="*/ 742950 w 2889264"/>
              <a:gd name="connsiteY22" fmla="*/ 358775 h 733425"/>
              <a:gd name="connsiteX23" fmla="*/ 790575 w 2889264"/>
              <a:gd name="connsiteY23" fmla="*/ 339725 h 733425"/>
              <a:gd name="connsiteX24" fmla="*/ 800100 w 2889264"/>
              <a:gd name="connsiteY24" fmla="*/ 336550 h 733425"/>
              <a:gd name="connsiteX25" fmla="*/ 812800 w 2889264"/>
              <a:gd name="connsiteY25" fmla="*/ 330200 h 733425"/>
              <a:gd name="connsiteX26" fmla="*/ 828675 w 2889264"/>
              <a:gd name="connsiteY26" fmla="*/ 327025 h 733425"/>
              <a:gd name="connsiteX27" fmla="*/ 898525 w 2889264"/>
              <a:gd name="connsiteY27" fmla="*/ 288925 h 733425"/>
              <a:gd name="connsiteX28" fmla="*/ 923925 w 2889264"/>
              <a:gd name="connsiteY28" fmla="*/ 269875 h 733425"/>
              <a:gd name="connsiteX29" fmla="*/ 933450 w 2889264"/>
              <a:gd name="connsiteY29" fmla="*/ 260350 h 733425"/>
              <a:gd name="connsiteX30" fmla="*/ 958850 w 2889264"/>
              <a:gd name="connsiteY30" fmla="*/ 247650 h 733425"/>
              <a:gd name="connsiteX31" fmla="*/ 968375 w 2889264"/>
              <a:gd name="connsiteY31" fmla="*/ 241300 h 733425"/>
              <a:gd name="connsiteX32" fmla="*/ 984250 w 2889264"/>
              <a:gd name="connsiteY32" fmla="*/ 234950 h 733425"/>
              <a:gd name="connsiteX33" fmla="*/ 1006475 w 2889264"/>
              <a:gd name="connsiteY33" fmla="*/ 225425 h 733425"/>
              <a:gd name="connsiteX34" fmla="*/ 1050925 w 2889264"/>
              <a:gd name="connsiteY34" fmla="*/ 212725 h 733425"/>
              <a:gd name="connsiteX35" fmla="*/ 1079500 w 2889264"/>
              <a:gd name="connsiteY35" fmla="*/ 200025 h 733425"/>
              <a:gd name="connsiteX36" fmla="*/ 1098550 w 2889264"/>
              <a:gd name="connsiteY36" fmla="*/ 193675 h 733425"/>
              <a:gd name="connsiteX37" fmla="*/ 1111250 w 2889264"/>
              <a:gd name="connsiteY37" fmla="*/ 187325 h 733425"/>
              <a:gd name="connsiteX38" fmla="*/ 1136650 w 2889264"/>
              <a:gd name="connsiteY38" fmla="*/ 177800 h 733425"/>
              <a:gd name="connsiteX39" fmla="*/ 1181100 w 2889264"/>
              <a:gd name="connsiteY39" fmla="*/ 152400 h 733425"/>
              <a:gd name="connsiteX40" fmla="*/ 1203325 w 2889264"/>
              <a:gd name="connsiteY40" fmla="*/ 130175 h 733425"/>
              <a:gd name="connsiteX41" fmla="*/ 1219200 w 2889264"/>
              <a:gd name="connsiteY41" fmla="*/ 117475 h 733425"/>
              <a:gd name="connsiteX42" fmla="*/ 1276350 w 2889264"/>
              <a:gd name="connsiteY42" fmla="*/ 85725 h 733425"/>
              <a:gd name="connsiteX43" fmla="*/ 1289050 w 2889264"/>
              <a:gd name="connsiteY43" fmla="*/ 79375 h 733425"/>
              <a:gd name="connsiteX44" fmla="*/ 1327150 w 2889264"/>
              <a:gd name="connsiteY44" fmla="*/ 66675 h 733425"/>
              <a:gd name="connsiteX45" fmla="*/ 1343025 w 2889264"/>
              <a:gd name="connsiteY45" fmla="*/ 57150 h 733425"/>
              <a:gd name="connsiteX46" fmla="*/ 1355725 w 2889264"/>
              <a:gd name="connsiteY46" fmla="*/ 47625 h 733425"/>
              <a:gd name="connsiteX47" fmla="*/ 1377950 w 2889264"/>
              <a:gd name="connsiteY47" fmla="*/ 38100 h 733425"/>
              <a:gd name="connsiteX48" fmla="*/ 1416050 w 2889264"/>
              <a:gd name="connsiteY48" fmla="*/ 12700 h 733425"/>
              <a:gd name="connsiteX49" fmla="*/ 1428750 w 2889264"/>
              <a:gd name="connsiteY49" fmla="*/ 0 h 733425"/>
              <a:gd name="connsiteX50" fmla="*/ 1470025 w 2889264"/>
              <a:gd name="connsiteY50" fmla="*/ 28575 h 733425"/>
              <a:gd name="connsiteX51" fmla="*/ 1504950 w 2889264"/>
              <a:gd name="connsiteY51" fmla="*/ 41275 h 733425"/>
              <a:gd name="connsiteX52" fmla="*/ 1517650 w 2889264"/>
              <a:gd name="connsiteY52" fmla="*/ 50800 h 733425"/>
              <a:gd name="connsiteX53" fmla="*/ 1549400 w 2889264"/>
              <a:gd name="connsiteY53" fmla="*/ 60325 h 733425"/>
              <a:gd name="connsiteX54" fmla="*/ 1562100 w 2889264"/>
              <a:gd name="connsiteY54" fmla="*/ 69850 h 733425"/>
              <a:gd name="connsiteX55" fmla="*/ 1574800 w 2889264"/>
              <a:gd name="connsiteY55" fmla="*/ 73025 h 733425"/>
              <a:gd name="connsiteX56" fmla="*/ 1590675 w 2889264"/>
              <a:gd name="connsiteY56" fmla="*/ 79375 h 733425"/>
              <a:gd name="connsiteX57" fmla="*/ 1600200 w 2889264"/>
              <a:gd name="connsiteY57" fmla="*/ 85725 h 733425"/>
              <a:gd name="connsiteX58" fmla="*/ 1612900 w 2889264"/>
              <a:gd name="connsiteY58" fmla="*/ 92075 h 733425"/>
              <a:gd name="connsiteX59" fmla="*/ 1625600 w 2889264"/>
              <a:gd name="connsiteY59" fmla="*/ 101600 h 733425"/>
              <a:gd name="connsiteX60" fmla="*/ 1635125 w 2889264"/>
              <a:gd name="connsiteY60" fmla="*/ 104775 h 733425"/>
              <a:gd name="connsiteX61" fmla="*/ 1654175 w 2889264"/>
              <a:gd name="connsiteY61" fmla="*/ 114300 h 733425"/>
              <a:gd name="connsiteX62" fmla="*/ 1676400 w 2889264"/>
              <a:gd name="connsiteY62" fmla="*/ 130175 h 733425"/>
              <a:gd name="connsiteX63" fmla="*/ 1689100 w 2889264"/>
              <a:gd name="connsiteY63" fmla="*/ 136525 h 733425"/>
              <a:gd name="connsiteX64" fmla="*/ 1714500 w 2889264"/>
              <a:gd name="connsiteY64" fmla="*/ 146050 h 733425"/>
              <a:gd name="connsiteX65" fmla="*/ 1727200 w 2889264"/>
              <a:gd name="connsiteY65" fmla="*/ 155575 h 733425"/>
              <a:gd name="connsiteX66" fmla="*/ 1758950 w 2889264"/>
              <a:gd name="connsiteY66" fmla="*/ 165100 h 733425"/>
              <a:gd name="connsiteX67" fmla="*/ 1768475 w 2889264"/>
              <a:gd name="connsiteY67" fmla="*/ 171450 h 733425"/>
              <a:gd name="connsiteX68" fmla="*/ 1781175 w 2889264"/>
              <a:gd name="connsiteY68" fmla="*/ 180975 h 733425"/>
              <a:gd name="connsiteX69" fmla="*/ 1793875 w 2889264"/>
              <a:gd name="connsiteY69" fmla="*/ 187325 h 733425"/>
              <a:gd name="connsiteX70" fmla="*/ 1838325 w 2889264"/>
              <a:gd name="connsiteY70" fmla="*/ 212725 h 733425"/>
              <a:gd name="connsiteX71" fmla="*/ 1847850 w 2889264"/>
              <a:gd name="connsiteY71" fmla="*/ 222250 h 733425"/>
              <a:gd name="connsiteX72" fmla="*/ 1885950 w 2889264"/>
              <a:gd name="connsiteY72" fmla="*/ 241300 h 733425"/>
              <a:gd name="connsiteX73" fmla="*/ 1901825 w 2889264"/>
              <a:gd name="connsiteY73" fmla="*/ 250825 h 733425"/>
              <a:gd name="connsiteX74" fmla="*/ 1933575 w 2889264"/>
              <a:gd name="connsiteY74" fmla="*/ 263525 h 733425"/>
              <a:gd name="connsiteX75" fmla="*/ 1962150 w 2889264"/>
              <a:gd name="connsiteY75" fmla="*/ 276225 h 733425"/>
              <a:gd name="connsiteX76" fmla="*/ 1971675 w 2889264"/>
              <a:gd name="connsiteY76" fmla="*/ 282575 h 733425"/>
              <a:gd name="connsiteX77" fmla="*/ 1987550 w 2889264"/>
              <a:gd name="connsiteY77" fmla="*/ 288925 h 733425"/>
              <a:gd name="connsiteX78" fmla="*/ 2022475 w 2889264"/>
              <a:gd name="connsiteY78" fmla="*/ 301625 h 733425"/>
              <a:gd name="connsiteX79" fmla="*/ 2047875 w 2889264"/>
              <a:gd name="connsiteY79" fmla="*/ 314325 h 733425"/>
              <a:gd name="connsiteX80" fmla="*/ 2063750 w 2889264"/>
              <a:gd name="connsiteY80" fmla="*/ 320675 h 733425"/>
              <a:gd name="connsiteX81" fmla="*/ 2082800 w 2889264"/>
              <a:gd name="connsiteY81" fmla="*/ 330200 h 733425"/>
              <a:gd name="connsiteX82" fmla="*/ 2095500 w 2889264"/>
              <a:gd name="connsiteY82" fmla="*/ 333375 h 733425"/>
              <a:gd name="connsiteX83" fmla="*/ 2124075 w 2889264"/>
              <a:gd name="connsiteY83" fmla="*/ 342900 h 733425"/>
              <a:gd name="connsiteX84" fmla="*/ 2159000 w 2889264"/>
              <a:gd name="connsiteY84" fmla="*/ 358775 h 733425"/>
              <a:gd name="connsiteX85" fmla="*/ 2187575 w 2889264"/>
              <a:gd name="connsiteY85" fmla="*/ 377825 h 733425"/>
              <a:gd name="connsiteX86" fmla="*/ 2209800 w 2889264"/>
              <a:gd name="connsiteY86" fmla="*/ 393700 h 733425"/>
              <a:gd name="connsiteX87" fmla="*/ 2247900 w 2889264"/>
              <a:gd name="connsiteY87" fmla="*/ 419100 h 733425"/>
              <a:gd name="connsiteX88" fmla="*/ 2276475 w 2889264"/>
              <a:gd name="connsiteY88" fmla="*/ 434975 h 733425"/>
              <a:gd name="connsiteX89" fmla="*/ 2289175 w 2889264"/>
              <a:gd name="connsiteY89" fmla="*/ 444500 h 733425"/>
              <a:gd name="connsiteX90" fmla="*/ 2308225 w 2889264"/>
              <a:gd name="connsiteY90" fmla="*/ 447675 h 733425"/>
              <a:gd name="connsiteX91" fmla="*/ 2333625 w 2889264"/>
              <a:gd name="connsiteY91" fmla="*/ 460375 h 733425"/>
              <a:gd name="connsiteX92" fmla="*/ 2352675 w 2889264"/>
              <a:gd name="connsiteY92" fmla="*/ 466725 h 733425"/>
              <a:gd name="connsiteX93" fmla="*/ 2397125 w 2889264"/>
              <a:gd name="connsiteY93" fmla="*/ 488950 h 733425"/>
              <a:gd name="connsiteX94" fmla="*/ 2422525 w 2889264"/>
              <a:gd name="connsiteY94" fmla="*/ 495300 h 733425"/>
              <a:gd name="connsiteX95" fmla="*/ 2432050 w 2889264"/>
              <a:gd name="connsiteY95" fmla="*/ 498475 h 733425"/>
              <a:gd name="connsiteX96" fmla="*/ 2454275 w 2889264"/>
              <a:gd name="connsiteY96" fmla="*/ 511175 h 733425"/>
              <a:gd name="connsiteX97" fmla="*/ 2470150 w 2889264"/>
              <a:gd name="connsiteY97" fmla="*/ 523875 h 733425"/>
              <a:gd name="connsiteX98" fmla="*/ 2495550 w 2889264"/>
              <a:gd name="connsiteY98" fmla="*/ 533400 h 733425"/>
              <a:gd name="connsiteX99" fmla="*/ 2546350 w 2889264"/>
              <a:gd name="connsiteY99" fmla="*/ 558800 h 733425"/>
              <a:gd name="connsiteX100" fmla="*/ 2574925 w 2889264"/>
              <a:gd name="connsiteY100" fmla="*/ 565150 h 733425"/>
              <a:gd name="connsiteX101" fmla="*/ 2600325 w 2889264"/>
              <a:gd name="connsiteY101" fmla="*/ 577850 h 733425"/>
              <a:gd name="connsiteX102" fmla="*/ 2616200 w 2889264"/>
              <a:gd name="connsiteY102" fmla="*/ 581025 h 733425"/>
              <a:gd name="connsiteX103" fmla="*/ 2638425 w 2889264"/>
              <a:gd name="connsiteY103" fmla="*/ 587375 h 733425"/>
              <a:gd name="connsiteX104" fmla="*/ 2654300 w 2889264"/>
              <a:gd name="connsiteY104" fmla="*/ 596900 h 733425"/>
              <a:gd name="connsiteX105" fmla="*/ 2673350 w 2889264"/>
              <a:gd name="connsiteY105" fmla="*/ 603250 h 733425"/>
              <a:gd name="connsiteX106" fmla="*/ 2708275 w 2889264"/>
              <a:gd name="connsiteY106" fmla="*/ 625475 h 733425"/>
              <a:gd name="connsiteX107" fmla="*/ 2730500 w 2889264"/>
              <a:gd name="connsiteY107" fmla="*/ 635000 h 733425"/>
              <a:gd name="connsiteX108" fmla="*/ 2749550 w 2889264"/>
              <a:gd name="connsiteY108" fmla="*/ 650875 h 733425"/>
              <a:gd name="connsiteX109" fmla="*/ 2774950 w 2889264"/>
              <a:gd name="connsiteY109" fmla="*/ 663575 h 733425"/>
              <a:gd name="connsiteX110" fmla="*/ 2803525 w 2889264"/>
              <a:gd name="connsiteY110" fmla="*/ 676275 h 733425"/>
              <a:gd name="connsiteX111" fmla="*/ 2816225 w 2889264"/>
              <a:gd name="connsiteY111" fmla="*/ 685800 h 733425"/>
              <a:gd name="connsiteX112" fmla="*/ 2832100 w 2889264"/>
              <a:gd name="connsiteY112" fmla="*/ 692150 h 733425"/>
              <a:gd name="connsiteX113" fmla="*/ 2876550 w 2889264"/>
              <a:gd name="connsiteY113" fmla="*/ 723900 h 733425"/>
              <a:gd name="connsiteX114" fmla="*/ 2889250 w 2889264"/>
              <a:gd name="connsiteY114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381000 w 2889264"/>
              <a:gd name="connsiteY6" fmla="*/ 539750 h 733425"/>
              <a:gd name="connsiteX7" fmla="*/ 406400 w 2889264"/>
              <a:gd name="connsiteY7" fmla="*/ 530225 h 733425"/>
              <a:gd name="connsiteX8" fmla="*/ 434975 w 2889264"/>
              <a:gd name="connsiteY8" fmla="*/ 514350 h 733425"/>
              <a:gd name="connsiteX9" fmla="*/ 463550 w 2889264"/>
              <a:gd name="connsiteY9" fmla="*/ 498475 h 733425"/>
              <a:gd name="connsiteX10" fmla="*/ 476250 w 2889264"/>
              <a:gd name="connsiteY10" fmla="*/ 495300 h 733425"/>
              <a:gd name="connsiteX11" fmla="*/ 523875 w 2889264"/>
              <a:gd name="connsiteY11" fmla="*/ 469900 h 733425"/>
              <a:gd name="connsiteX12" fmla="*/ 568325 w 2889264"/>
              <a:gd name="connsiteY12" fmla="*/ 447675 h 733425"/>
              <a:gd name="connsiteX13" fmla="*/ 584200 w 2889264"/>
              <a:gd name="connsiteY13" fmla="*/ 441325 h 733425"/>
              <a:gd name="connsiteX14" fmla="*/ 612775 w 2889264"/>
              <a:gd name="connsiteY14" fmla="*/ 428625 h 733425"/>
              <a:gd name="connsiteX15" fmla="*/ 628650 w 2889264"/>
              <a:gd name="connsiteY15" fmla="*/ 422275 h 733425"/>
              <a:gd name="connsiteX16" fmla="*/ 641350 w 2889264"/>
              <a:gd name="connsiteY16" fmla="*/ 415925 h 733425"/>
              <a:gd name="connsiteX17" fmla="*/ 657225 w 2889264"/>
              <a:gd name="connsiteY17" fmla="*/ 406400 h 733425"/>
              <a:gd name="connsiteX18" fmla="*/ 676275 w 2889264"/>
              <a:gd name="connsiteY18" fmla="*/ 400050 h 733425"/>
              <a:gd name="connsiteX19" fmla="*/ 708025 w 2889264"/>
              <a:gd name="connsiteY19" fmla="*/ 381000 h 733425"/>
              <a:gd name="connsiteX20" fmla="*/ 736600 w 2889264"/>
              <a:gd name="connsiteY20" fmla="*/ 368300 h 733425"/>
              <a:gd name="connsiteX21" fmla="*/ 742950 w 2889264"/>
              <a:gd name="connsiteY21" fmla="*/ 358775 h 733425"/>
              <a:gd name="connsiteX22" fmla="*/ 790575 w 2889264"/>
              <a:gd name="connsiteY22" fmla="*/ 339725 h 733425"/>
              <a:gd name="connsiteX23" fmla="*/ 800100 w 2889264"/>
              <a:gd name="connsiteY23" fmla="*/ 336550 h 733425"/>
              <a:gd name="connsiteX24" fmla="*/ 812800 w 2889264"/>
              <a:gd name="connsiteY24" fmla="*/ 330200 h 733425"/>
              <a:gd name="connsiteX25" fmla="*/ 828675 w 2889264"/>
              <a:gd name="connsiteY25" fmla="*/ 327025 h 733425"/>
              <a:gd name="connsiteX26" fmla="*/ 898525 w 2889264"/>
              <a:gd name="connsiteY26" fmla="*/ 288925 h 733425"/>
              <a:gd name="connsiteX27" fmla="*/ 923925 w 2889264"/>
              <a:gd name="connsiteY27" fmla="*/ 269875 h 733425"/>
              <a:gd name="connsiteX28" fmla="*/ 933450 w 2889264"/>
              <a:gd name="connsiteY28" fmla="*/ 260350 h 733425"/>
              <a:gd name="connsiteX29" fmla="*/ 958850 w 2889264"/>
              <a:gd name="connsiteY29" fmla="*/ 247650 h 733425"/>
              <a:gd name="connsiteX30" fmla="*/ 968375 w 2889264"/>
              <a:gd name="connsiteY30" fmla="*/ 241300 h 733425"/>
              <a:gd name="connsiteX31" fmla="*/ 984250 w 2889264"/>
              <a:gd name="connsiteY31" fmla="*/ 234950 h 733425"/>
              <a:gd name="connsiteX32" fmla="*/ 1006475 w 2889264"/>
              <a:gd name="connsiteY32" fmla="*/ 225425 h 733425"/>
              <a:gd name="connsiteX33" fmla="*/ 1050925 w 2889264"/>
              <a:gd name="connsiteY33" fmla="*/ 212725 h 733425"/>
              <a:gd name="connsiteX34" fmla="*/ 1079500 w 2889264"/>
              <a:gd name="connsiteY34" fmla="*/ 200025 h 733425"/>
              <a:gd name="connsiteX35" fmla="*/ 1098550 w 2889264"/>
              <a:gd name="connsiteY35" fmla="*/ 193675 h 733425"/>
              <a:gd name="connsiteX36" fmla="*/ 1111250 w 2889264"/>
              <a:gd name="connsiteY36" fmla="*/ 187325 h 733425"/>
              <a:gd name="connsiteX37" fmla="*/ 1136650 w 2889264"/>
              <a:gd name="connsiteY37" fmla="*/ 177800 h 733425"/>
              <a:gd name="connsiteX38" fmla="*/ 1181100 w 2889264"/>
              <a:gd name="connsiteY38" fmla="*/ 152400 h 733425"/>
              <a:gd name="connsiteX39" fmla="*/ 1203325 w 2889264"/>
              <a:gd name="connsiteY39" fmla="*/ 130175 h 733425"/>
              <a:gd name="connsiteX40" fmla="*/ 1219200 w 2889264"/>
              <a:gd name="connsiteY40" fmla="*/ 117475 h 733425"/>
              <a:gd name="connsiteX41" fmla="*/ 1276350 w 2889264"/>
              <a:gd name="connsiteY41" fmla="*/ 85725 h 733425"/>
              <a:gd name="connsiteX42" fmla="*/ 1289050 w 2889264"/>
              <a:gd name="connsiteY42" fmla="*/ 79375 h 733425"/>
              <a:gd name="connsiteX43" fmla="*/ 1327150 w 2889264"/>
              <a:gd name="connsiteY43" fmla="*/ 66675 h 733425"/>
              <a:gd name="connsiteX44" fmla="*/ 1343025 w 2889264"/>
              <a:gd name="connsiteY44" fmla="*/ 57150 h 733425"/>
              <a:gd name="connsiteX45" fmla="*/ 1355725 w 2889264"/>
              <a:gd name="connsiteY45" fmla="*/ 47625 h 733425"/>
              <a:gd name="connsiteX46" fmla="*/ 1377950 w 2889264"/>
              <a:gd name="connsiteY46" fmla="*/ 38100 h 733425"/>
              <a:gd name="connsiteX47" fmla="*/ 1416050 w 2889264"/>
              <a:gd name="connsiteY47" fmla="*/ 12700 h 733425"/>
              <a:gd name="connsiteX48" fmla="*/ 1428750 w 2889264"/>
              <a:gd name="connsiteY48" fmla="*/ 0 h 733425"/>
              <a:gd name="connsiteX49" fmla="*/ 1470025 w 2889264"/>
              <a:gd name="connsiteY49" fmla="*/ 28575 h 733425"/>
              <a:gd name="connsiteX50" fmla="*/ 1504950 w 2889264"/>
              <a:gd name="connsiteY50" fmla="*/ 41275 h 733425"/>
              <a:gd name="connsiteX51" fmla="*/ 1517650 w 2889264"/>
              <a:gd name="connsiteY51" fmla="*/ 50800 h 733425"/>
              <a:gd name="connsiteX52" fmla="*/ 1549400 w 2889264"/>
              <a:gd name="connsiteY52" fmla="*/ 60325 h 733425"/>
              <a:gd name="connsiteX53" fmla="*/ 1562100 w 2889264"/>
              <a:gd name="connsiteY53" fmla="*/ 69850 h 733425"/>
              <a:gd name="connsiteX54" fmla="*/ 1574800 w 2889264"/>
              <a:gd name="connsiteY54" fmla="*/ 73025 h 733425"/>
              <a:gd name="connsiteX55" fmla="*/ 1590675 w 2889264"/>
              <a:gd name="connsiteY55" fmla="*/ 79375 h 733425"/>
              <a:gd name="connsiteX56" fmla="*/ 1600200 w 2889264"/>
              <a:gd name="connsiteY56" fmla="*/ 85725 h 733425"/>
              <a:gd name="connsiteX57" fmla="*/ 1612900 w 2889264"/>
              <a:gd name="connsiteY57" fmla="*/ 92075 h 733425"/>
              <a:gd name="connsiteX58" fmla="*/ 1625600 w 2889264"/>
              <a:gd name="connsiteY58" fmla="*/ 101600 h 733425"/>
              <a:gd name="connsiteX59" fmla="*/ 1635125 w 2889264"/>
              <a:gd name="connsiteY59" fmla="*/ 104775 h 733425"/>
              <a:gd name="connsiteX60" fmla="*/ 1654175 w 2889264"/>
              <a:gd name="connsiteY60" fmla="*/ 114300 h 733425"/>
              <a:gd name="connsiteX61" fmla="*/ 1676400 w 2889264"/>
              <a:gd name="connsiteY61" fmla="*/ 130175 h 733425"/>
              <a:gd name="connsiteX62" fmla="*/ 1689100 w 2889264"/>
              <a:gd name="connsiteY62" fmla="*/ 136525 h 733425"/>
              <a:gd name="connsiteX63" fmla="*/ 1714500 w 2889264"/>
              <a:gd name="connsiteY63" fmla="*/ 146050 h 733425"/>
              <a:gd name="connsiteX64" fmla="*/ 1727200 w 2889264"/>
              <a:gd name="connsiteY64" fmla="*/ 155575 h 733425"/>
              <a:gd name="connsiteX65" fmla="*/ 1758950 w 2889264"/>
              <a:gd name="connsiteY65" fmla="*/ 165100 h 733425"/>
              <a:gd name="connsiteX66" fmla="*/ 1768475 w 2889264"/>
              <a:gd name="connsiteY66" fmla="*/ 171450 h 733425"/>
              <a:gd name="connsiteX67" fmla="*/ 1781175 w 2889264"/>
              <a:gd name="connsiteY67" fmla="*/ 180975 h 733425"/>
              <a:gd name="connsiteX68" fmla="*/ 1793875 w 2889264"/>
              <a:gd name="connsiteY68" fmla="*/ 187325 h 733425"/>
              <a:gd name="connsiteX69" fmla="*/ 1838325 w 2889264"/>
              <a:gd name="connsiteY69" fmla="*/ 212725 h 733425"/>
              <a:gd name="connsiteX70" fmla="*/ 1847850 w 2889264"/>
              <a:gd name="connsiteY70" fmla="*/ 222250 h 733425"/>
              <a:gd name="connsiteX71" fmla="*/ 1885950 w 2889264"/>
              <a:gd name="connsiteY71" fmla="*/ 241300 h 733425"/>
              <a:gd name="connsiteX72" fmla="*/ 1901825 w 2889264"/>
              <a:gd name="connsiteY72" fmla="*/ 250825 h 733425"/>
              <a:gd name="connsiteX73" fmla="*/ 1933575 w 2889264"/>
              <a:gd name="connsiteY73" fmla="*/ 263525 h 733425"/>
              <a:gd name="connsiteX74" fmla="*/ 1962150 w 2889264"/>
              <a:gd name="connsiteY74" fmla="*/ 276225 h 733425"/>
              <a:gd name="connsiteX75" fmla="*/ 1971675 w 2889264"/>
              <a:gd name="connsiteY75" fmla="*/ 282575 h 733425"/>
              <a:gd name="connsiteX76" fmla="*/ 1987550 w 2889264"/>
              <a:gd name="connsiteY76" fmla="*/ 288925 h 733425"/>
              <a:gd name="connsiteX77" fmla="*/ 2022475 w 2889264"/>
              <a:gd name="connsiteY77" fmla="*/ 301625 h 733425"/>
              <a:gd name="connsiteX78" fmla="*/ 2047875 w 2889264"/>
              <a:gd name="connsiteY78" fmla="*/ 314325 h 733425"/>
              <a:gd name="connsiteX79" fmla="*/ 2063750 w 2889264"/>
              <a:gd name="connsiteY79" fmla="*/ 320675 h 733425"/>
              <a:gd name="connsiteX80" fmla="*/ 2082800 w 2889264"/>
              <a:gd name="connsiteY80" fmla="*/ 330200 h 733425"/>
              <a:gd name="connsiteX81" fmla="*/ 2095500 w 2889264"/>
              <a:gd name="connsiteY81" fmla="*/ 333375 h 733425"/>
              <a:gd name="connsiteX82" fmla="*/ 2124075 w 2889264"/>
              <a:gd name="connsiteY82" fmla="*/ 342900 h 733425"/>
              <a:gd name="connsiteX83" fmla="*/ 2159000 w 2889264"/>
              <a:gd name="connsiteY83" fmla="*/ 358775 h 733425"/>
              <a:gd name="connsiteX84" fmla="*/ 2187575 w 2889264"/>
              <a:gd name="connsiteY84" fmla="*/ 377825 h 733425"/>
              <a:gd name="connsiteX85" fmla="*/ 2209800 w 2889264"/>
              <a:gd name="connsiteY85" fmla="*/ 393700 h 733425"/>
              <a:gd name="connsiteX86" fmla="*/ 2247900 w 2889264"/>
              <a:gd name="connsiteY86" fmla="*/ 419100 h 733425"/>
              <a:gd name="connsiteX87" fmla="*/ 2276475 w 2889264"/>
              <a:gd name="connsiteY87" fmla="*/ 434975 h 733425"/>
              <a:gd name="connsiteX88" fmla="*/ 2289175 w 2889264"/>
              <a:gd name="connsiteY88" fmla="*/ 444500 h 733425"/>
              <a:gd name="connsiteX89" fmla="*/ 2308225 w 2889264"/>
              <a:gd name="connsiteY89" fmla="*/ 447675 h 733425"/>
              <a:gd name="connsiteX90" fmla="*/ 2333625 w 2889264"/>
              <a:gd name="connsiteY90" fmla="*/ 460375 h 733425"/>
              <a:gd name="connsiteX91" fmla="*/ 2352675 w 2889264"/>
              <a:gd name="connsiteY91" fmla="*/ 466725 h 733425"/>
              <a:gd name="connsiteX92" fmla="*/ 2397125 w 2889264"/>
              <a:gd name="connsiteY92" fmla="*/ 488950 h 733425"/>
              <a:gd name="connsiteX93" fmla="*/ 2422525 w 2889264"/>
              <a:gd name="connsiteY93" fmla="*/ 495300 h 733425"/>
              <a:gd name="connsiteX94" fmla="*/ 2432050 w 2889264"/>
              <a:gd name="connsiteY94" fmla="*/ 498475 h 733425"/>
              <a:gd name="connsiteX95" fmla="*/ 2454275 w 2889264"/>
              <a:gd name="connsiteY95" fmla="*/ 511175 h 733425"/>
              <a:gd name="connsiteX96" fmla="*/ 2470150 w 2889264"/>
              <a:gd name="connsiteY96" fmla="*/ 523875 h 733425"/>
              <a:gd name="connsiteX97" fmla="*/ 2495550 w 2889264"/>
              <a:gd name="connsiteY97" fmla="*/ 533400 h 733425"/>
              <a:gd name="connsiteX98" fmla="*/ 2546350 w 2889264"/>
              <a:gd name="connsiteY98" fmla="*/ 558800 h 733425"/>
              <a:gd name="connsiteX99" fmla="*/ 2574925 w 2889264"/>
              <a:gd name="connsiteY99" fmla="*/ 565150 h 733425"/>
              <a:gd name="connsiteX100" fmla="*/ 2600325 w 2889264"/>
              <a:gd name="connsiteY100" fmla="*/ 577850 h 733425"/>
              <a:gd name="connsiteX101" fmla="*/ 2616200 w 2889264"/>
              <a:gd name="connsiteY101" fmla="*/ 581025 h 733425"/>
              <a:gd name="connsiteX102" fmla="*/ 2638425 w 2889264"/>
              <a:gd name="connsiteY102" fmla="*/ 587375 h 733425"/>
              <a:gd name="connsiteX103" fmla="*/ 2654300 w 2889264"/>
              <a:gd name="connsiteY103" fmla="*/ 596900 h 733425"/>
              <a:gd name="connsiteX104" fmla="*/ 2673350 w 2889264"/>
              <a:gd name="connsiteY104" fmla="*/ 603250 h 733425"/>
              <a:gd name="connsiteX105" fmla="*/ 2708275 w 2889264"/>
              <a:gd name="connsiteY105" fmla="*/ 625475 h 733425"/>
              <a:gd name="connsiteX106" fmla="*/ 2730500 w 2889264"/>
              <a:gd name="connsiteY106" fmla="*/ 635000 h 733425"/>
              <a:gd name="connsiteX107" fmla="*/ 2749550 w 2889264"/>
              <a:gd name="connsiteY107" fmla="*/ 650875 h 733425"/>
              <a:gd name="connsiteX108" fmla="*/ 2774950 w 2889264"/>
              <a:gd name="connsiteY108" fmla="*/ 663575 h 733425"/>
              <a:gd name="connsiteX109" fmla="*/ 2803525 w 2889264"/>
              <a:gd name="connsiteY109" fmla="*/ 676275 h 733425"/>
              <a:gd name="connsiteX110" fmla="*/ 2816225 w 2889264"/>
              <a:gd name="connsiteY110" fmla="*/ 685800 h 733425"/>
              <a:gd name="connsiteX111" fmla="*/ 2832100 w 2889264"/>
              <a:gd name="connsiteY111" fmla="*/ 692150 h 733425"/>
              <a:gd name="connsiteX112" fmla="*/ 2876550 w 2889264"/>
              <a:gd name="connsiteY112" fmla="*/ 723900 h 733425"/>
              <a:gd name="connsiteX113" fmla="*/ 2889250 w 2889264"/>
              <a:gd name="connsiteY113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381000 w 2889264"/>
              <a:gd name="connsiteY6" fmla="*/ 539750 h 733425"/>
              <a:gd name="connsiteX7" fmla="*/ 406400 w 2889264"/>
              <a:gd name="connsiteY7" fmla="*/ 530225 h 733425"/>
              <a:gd name="connsiteX8" fmla="*/ 463550 w 2889264"/>
              <a:gd name="connsiteY8" fmla="*/ 498475 h 733425"/>
              <a:gd name="connsiteX9" fmla="*/ 476250 w 2889264"/>
              <a:gd name="connsiteY9" fmla="*/ 495300 h 733425"/>
              <a:gd name="connsiteX10" fmla="*/ 523875 w 2889264"/>
              <a:gd name="connsiteY10" fmla="*/ 469900 h 733425"/>
              <a:gd name="connsiteX11" fmla="*/ 568325 w 2889264"/>
              <a:gd name="connsiteY11" fmla="*/ 447675 h 733425"/>
              <a:gd name="connsiteX12" fmla="*/ 584200 w 2889264"/>
              <a:gd name="connsiteY12" fmla="*/ 441325 h 733425"/>
              <a:gd name="connsiteX13" fmla="*/ 612775 w 2889264"/>
              <a:gd name="connsiteY13" fmla="*/ 428625 h 733425"/>
              <a:gd name="connsiteX14" fmla="*/ 628650 w 2889264"/>
              <a:gd name="connsiteY14" fmla="*/ 422275 h 733425"/>
              <a:gd name="connsiteX15" fmla="*/ 641350 w 2889264"/>
              <a:gd name="connsiteY15" fmla="*/ 415925 h 733425"/>
              <a:gd name="connsiteX16" fmla="*/ 657225 w 2889264"/>
              <a:gd name="connsiteY16" fmla="*/ 406400 h 733425"/>
              <a:gd name="connsiteX17" fmla="*/ 676275 w 2889264"/>
              <a:gd name="connsiteY17" fmla="*/ 400050 h 733425"/>
              <a:gd name="connsiteX18" fmla="*/ 708025 w 2889264"/>
              <a:gd name="connsiteY18" fmla="*/ 381000 h 733425"/>
              <a:gd name="connsiteX19" fmla="*/ 736600 w 2889264"/>
              <a:gd name="connsiteY19" fmla="*/ 368300 h 733425"/>
              <a:gd name="connsiteX20" fmla="*/ 742950 w 2889264"/>
              <a:gd name="connsiteY20" fmla="*/ 358775 h 733425"/>
              <a:gd name="connsiteX21" fmla="*/ 790575 w 2889264"/>
              <a:gd name="connsiteY21" fmla="*/ 339725 h 733425"/>
              <a:gd name="connsiteX22" fmla="*/ 800100 w 2889264"/>
              <a:gd name="connsiteY22" fmla="*/ 336550 h 733425"/>
              <a:gd name="connsiteX23" fmla="*/ 812800 w 2889264"/>
              <a:gd name="connsiteY23" fmla="*/ 330200 h 733425"/>
              <a:gd name="connsiteX24" fmla="*/ 828675 w 2889264"/>
              <a:gd name="connsiteY24" fmla="*/ 327025 h 733425"/>
              <a:gd name="connsiteX25" fmla="*/ 898525 w 2889264"/>
              <a:gd name="connsiteY25" fmla="*/ 288925 h 733425"/>
              <a:gd name="connsiteX26" fmla="*/ 923925 w 2889264"/>
              <a:gd name="connsiteY26" fmla="*/ 269875 h 733425"/>
              <a:gd name="connsiteX27" fmla="*/ 933450 w 2889264"/>
              <a:gd name="connsiteY27" fmla="*/ 260350 h 733425"/>
              <a:gd name="connsiteX28" fmla="*/ 958850 w 2889264"/>
              <a:gd name="connsiteY28" fmla="*/ 247650 h 733425"/>
              <a:gd name="connsiteX29" fmla="*/ 968375 w 2889264"/>
              <a:gd name="connsiteY29" fmla="*/ 241300 h 733425"/>
              <a:gd name="connsiteX30" fmla="*/ 984250 w 2889264"/>
              <a:gd name="connsiteY30" fmla="*/ 234950 h 733425"/>
              <a:gd name="connsiteX31" fmla="*/ 1006475 w 2889264"/>
              <a:gd name="connsiteY31" fmla="*/ 225425 h 733425"/>
              <a:gd name="connsiteX32" fmla="*/ 1050925 w 2889264"/>
              <a:gd name="connsiteY32" fmla="*/ 212725 h 733425"/>
              <a:gd name="connsiteX33" fmla="*/ 1079500 w 2889264"/>
              <a:gd name="connsiteY33" fmla="*/ 200025 h 733425"/>
              <a:gd name="connsiteX34" fmla="*/ 1098550 w 2889264"/>
              <a:gd name="connsiteY34" fmla="*/ 193675 h 733425"/>
              <a:gd name="connsiteX35" fmla="*/ 1111250 w 2889264"/>
              <a:gd name="connsiteY35" fmla="*/ 187325 h 733425"/>
              <a:gd name="connsiteX36" fmla="*/ 1136650 w 2889264"/>
              <a:gd name="connsiteY36" fmla="*/ 177800 h 733425"/>
              <a:gd name="connsiteX37" fmla="*/ 1181100 w 2889264"/>
              <a:gd name="connsiteY37" fmla="*/ 152400 h 733425"/>
              <a:gd name="connsiteX38" fmla="*/ 1203325 w 2889264"/>
              <a:gd name="connsiteY38" fmla="*/ 130175 h 733425"/>
              <a:gd name="connsiteX39" fmla="*/ 1219200 w 2889264"/>
              <a:gd name="connsiteY39" fmla="*/ 117475 h 733425"/>
              <a:gd name="connsiteX40" fmla="*/ 1276350 w 2889264"/>
              <a:gd name="connsiteY40" fmla="*/ 85725 h 733425"/>
              <a:gd name="connsiteX41" fmla="*/ 1289050 w 2889264"/>
              <a:gd name="connsiteY41" fmla="*/ 79375 h 733425"/>
              <a:gd name="connsiteX42" fmla="*/ 1327150 w 2889264"/>
              <a:gd name="connsiteY42" fmla="*/ 66675 h 733425"/>
              <a:gd name="connsiteX43" fmla="*/ 1343025 w 2889264"/>
              <a:gd name="connsiteY43" fmla="*/ 57150 h 733425"/>
              <a:gd name="connsiteX44" fmla="*/ 1355725 w 2889264"/>
              <a:gd name="connsiteY44" fmla="*/ 47625 h 733425"/>
              <a:gd name="connsiteX45" fmla="*/ 1377950 w 2889264"/>
              <a:gd name="connsiteY45" fmla="*/ 38100 h 733425"/>
              <a:gd name="connsiteX46" fmla="*/ 1416050 w 2889264"/>
              <a:gd name="connsiteY46" fmla="*/ 12700 h 733425"/>
              <a:gd name="connsiteX47" fmla="*/ 1428750 w 2889264"/>
              <a:gd name="connsiteY47" fmla="*/ 0 h 733425"/>
              <a:gd name="connsiteX48" fmla="*/ 1470025 w 2889264"/>
              <a:gd name="connsiteY48" fmla="*/ 28575 h 733425"/>
              <a:gd name="connsiteX49" fmla="*/ 1504950 w 2889264"/>
              <a:gd name="connsiteY49" fmla="*/ 41275 h 733425"/>
              <a:gd name="connsiteX50" fmla="*/ 1517650 w 2889264"/>
              <a:gd name="connsiteY50" fmla="*/ 50800 h 733425"/>
              <a:gd name="connsiteX51" fmla="*/ 1549400 w 2889264"/>
              <a:gd name="connsiteY51" fmla="*/ 60325 h 733425"/>
              <a:gd name="connsiteX52" fmla="*/ 1562100 w 2889264"/>
              <a:gd name="connsiteY52" fmla="*/ 69850 h 733425"/>
              <a:gd name="connsiteX53" fmla="*/ 1574800 w 2889264"/>
              <a:gd name="connsiteY53" fmla="*/ 73025 h 733425"/>
              <a:gd name="connsiteX54" fmla="*/ 1590675 w 2889264"/>
              <a:gd name="connsiteY54" fmla="*/ 79375 h 733425"/>
              <a:gd name="connsiteX55" fmla="*/ 1600200 w 2889264"/>
              <a:gd name="connsiteY55" fmla="*/ 85725 h 733425"/>
              <a:gd name="connsiteX56" fmla="*/ 1612900 w 2889264"/>
              <a:gd name="connsiteY56" fmla="*/ 92075 h 733425"/>
              <a:gd name="connsiteX57" fmla="*/ 1625600 w 2889264"/>
              <a:gd name="connsiteY57" fmla="*/ 101600 h 733425"/>
              <a:gd name="connsiteX58" fmla="*/ 1635125 w 2889264"/>
              <a:gd name="connsiteY58" fmla="*/ 104775 h 733425"/>
              <a:gd name="connsiteX59" fmla="*/ 1654175 w 2889264"/>
              <a:gd name="connsiteY59" fmla="*/ 114300 h 733425"/>
              <a:gd name="connsiteX60" fmla="*/ 1676400 w 2889264"/>
              <a:gd name="connsiteY60" fmla="*/ 130175 h 733425"/>
              <a:gd name="connsiteX61" fmla="*/ 1689100 w 2889264"/>
              <a:gd name="connsiteY61" fmla="*/ 136525 h 733425"/>
              <a:gd name="connsiteX62" fmla="*/ 1714500 w 2889264"/>
              <a:gd name="connsiteY62" fmla="*/ 146050 h 733425"/>
              <a:gd name="connsiteX63" fmla="*/ 1727200 w 2889264"/>
              <a:gd name="connsiteY63" fmla="*/ 155575 h 733425"/>
              <a:gd name="connsiteX64" fmla="*/ 1758950 w 2889264"/>
              <a:gd name="connsiteY64" fmla="*/ 165100 h 733425"/>
              <a:gd name="connsiteX65" fmla="*/ 1768475 w 2889264"/>
              <a:gd name="connsiteY65" fmla="*/ 171450 h 733425"/>
              <a:gd name="connsiteX66" fmla="*/ 1781175 w 2889264"/>
              <a:gd name="connsiteY66" fmla="*/ 180975 h 733425"/>
              <a:gd name="connsiteX67" fmla="*/ 1793875 w 2889264"/>
              <a:gd name="connsiteY67" fmla="*/ 187325 h 733425"/>
              <a:gd name="connsiteX68" fmla="*/ 1838325 w 2889264"/>
              <a:gd name="connsiteY68" fmla="*/ 212725 h 733425"/>
              <a:gd name="connsiteX69" fmla="*/ 1847850 w 2889264"/>
              <a:gd name="connsiteY69" fmla="*/ 222250 h 733425"/>
              <a:gd name="connsiteX70" fmla="*/ 1885950 w 2889264"/>
              <a:gd name="connsiteY70" fmla="*/ 241300 h 733425"/>
              <a:gd name="connsiteX71" fmla="*/ 1901825 w 2889264"/>
              <a:gd name="connsiteY71" fmla="*/ 250825 h 733425"/>
              <a:gd name="connsiteX72" fmla="*/ 1933575 w 2889264"/>
              <a:gd name="connsiteY72" fmla="*/ 263525 h 733425"/>
              <a:gd name="connsiteX73" fmla="*/ 1962150 w 2889264"/>
              <a:gd name="connsiteY73" fmla="*/ 276225 h 733425"/>
              <a:gd name="connsiteX74" fmla="*/ 1971675 w 2889264"/>
              <a:gd name="connsiteY74" fmla="*/ 282575 h 733425"/>
              <a:gd name="connsiteX75" fmla="*/ 1987550 w 2889264"/>
              <a:gd name="connsiteY75" fmla="*/ 288925 h 733425"/>
              <a:gd name="connsiteX76" fmla="*/ 2022475 w 2889264"/>
              <a:gd name="connsiteY76" fmla="*/ 301625 h 733425"/>
              <a:gd name="connsiteX77" fmla="*/ 2047875 w 2889264"/>
              <a:gd name="connsiteY77" fmla="*/ 314325 h 733425"/>
              <a:gd name="connsiteX78" fmla="*/ 2063750 w 2889264"/>
              <a:gd name="connsiteY78" fmla="*/ 320675 h 733425"/>
              <a:gd name="connsiteX79" fmla="*/ 2082800 w 2889264"/>
              <a:gd name="connsiteY79" fmla="*/ 330200 h 733425"/>
              <a:gd name="connsiteX80" fmla="*/ 2095500 w 2889264"/>
              <a:gd name="connsiteY80" fmla="*/ 333375 h 733425"/>
              <a:gd name="connsiteX81" fmla="*/ 2124075 w 2889264"/>
              <a:gd name="connsiteY81" fmla="*/ 342900 h 733425"/>
              <a:gd name="connsiteX82" fmla="*/ 2159000 w 2889264"/>
              <a:gd name="connsiteY82" fmla="*/ 358775 h 733425"/>
              <a:gd name="connsiteX83" fmla="*/ 2187575 w 2889264"/>
              <a:gd name="connsiteY83" fmla="*/ 377825 h 733425"/>
              <a:gd name="connsiteX84" fmla="*/ 2209800 w 2889264"/>
              <a:gd name="connsiteY84" fmla="*/ 393700 h 733425"/>
              <a:gd name="connsiteX85" fmla="*/ 2247900 w 2889264"/>
              <a:gd name="connsiteY85" fmla="*/ 419100 h 733425"/>
              <a:gd name="connsiteX86" fmla="*/ 2276475 w 2889264"/>
              <a:gd name="connsiteY86" fmla="*/ 434975 h 733425"/>
              <a:gd name="connsiteX87" fmla="*/ 2289175 w 2889264"/>
              <a:gd name="connsiteY87" fmla="*/ 444500 h 733425"/>
              <a:gd name="connsiteX88" fmla="*/ 2308225 w 2889264"/>
              <a:gd name="connsiteY88" fmla="*/ 447675 h 733425"/>
              <a:gd name="connsiteX89" fmla="*/ 2333625 w 2889264"/>
              <a:gd name="connsiteY89" fmla="*/ 460375 h 733425"/>
              <a:gd name="connsiteX90" fmla="*/ 2352675 w 2889264"/>
              <a:gd name="connsiteY90" fmla="*/ 466725 h 733425"/>
              <a:gd name="connsiteX91" fmla="*/ 2397125 w 2889264"/>
              <a:gd name="connsiteY91" fmla="*/ 488950 h 733425"/>
              <a:gd name="connsiteX92" fmla="*/ 2422525 w 2889264"/>
              <a:gd name="connsiteY92" fmla="*/ 495300 h 733425"/>
              <a:gd name="connsiteX93" fmla="*/ 2432050 w 2889264"/>
              <a:gd name="connsiteY93" fmla="*/ 498475 h 733425"/>
              <a:gd name="connsiteX94" fmla="*/ 2454275 w 2889264"/>
              <a:gd name="connsiteY94" fmla="*/ 511175 h 733425"/>
              <a:gd name="connsiteX95" fmla="*/ 2470150 w 2889264"/>
              <a:gd name="connsiteY95" fmla="*/ 523875 h 733425"/>
              <a:gd name="connsiteX96" fmla="*/ 2495550 w 2889264"/>
              <a:gd name="connsiteY96" fmla="*/ 533400 h 733425"/>
              <a:gd name="connsiteX97" fmla="*/ 2546350 w 2889264"/>
              <a:gd name="connsiteY97" fmla="*/ 558800 h 733425"/>
              <a:gd name="connsiteX98" fmla="*/ 2574925 w 2889264"/>
              <a:gd name="connsiteY98" fmla="*/ 565150 h 733425"/>
              <a:gd name="connsiteX99" fmla="*/ 2600325 w 2889264"/>
              <a:gd name="connsiteY99" fmla="*/ 577850 h 733425"/>
              <a:gd name="connsiteX100" fmla="*/ 2616200 w 2889264"/>
              <a:gd name="connsiteY100" fmla="*/ 581025 h 733425"/>
              <a:gd name="connsiteX101" fmla="*/ 2638425 w 2889264"/>
              <a:gd name="connsiteY101" fmla="*/ 587375 h 733425"/>
              <a:gd name="connsiteX102" fmla="*/ 2654300 w 2889264"/>
              <a:gd name="connsiteY102" fmla="*/ 596900 h 733425"/>
              <a:gd name="connsiteX103" fmla="*/ 2673350 w 2889264"/>
              <a:gd name="connsiteY103" fmla="*/ 603250 h 733425"/>
              <a:gd name="connsiteX104" fmla="*/ 2708275 w 2889264"/>
              <a:gd name="connsiteY104" fmla="*/ 625475 h 733425"/>
              <a:gd name="connsiteX105" fmla="*/ 2730500 w 2889264"/>
              <a:gd name="connsiteY105" fmla="*/ 635000 h 733425"/>
              <a:gd name="connsiteX106" fmla="*/ 2749550 w 2889264"/>
              <a:gd name="connsiteY106" fmla="*/ 650875 h 733425"/>
              <a:gd name="connsiteX107" fmla="*/ 2774950 w 2889264"/>
              <a:gd name="connsiteY107" fmla="*/ 663575 h 733425"/>
              <a:gd name="connsiteX108" fmla="*/ 2803525 w 2889264"/>
              <a:gd name="connsiteY108" fmla="*/ 676275 h 733425"/>
              <a:gd name="connsiteX109" fmla="*/ 2816225 w 2889264"/>
              <a:gd name="connsiteY109" fmla="*/ 685800 h 733425"/>
              <a:gd name="connsiteX110" fmla="*/ 2832100 w 2889264"/>
              <a:gd name="connsiteY110" fmla="*/ 692150 h 733425"/>
              <a:gd name="connsiteX111" fmla="*/ 2876550 w 2889264"/>
              <a:gd name="connsiteY111" fmla="*/ 723900 h 733425"/>
              <a:gd name="connsiteX112" fmla="*/ 2889250 w 2889264"/>
              <a:gd name="connsiteY112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06400 w 2889264"/>
              <a:gd name="connsiteY6" fmla="*/ 530225 h 733425"/>
              <a:gd name="connsiteX7" fmla="*/ 463550 w 2889264"/>
              <a:gd name="connsiteY7" fmla="*/ 498475 h 733425"/>
              <a:gd name="connsiteX8" fmla="*/ 476250 w 2889264"/>
              <a:gd name="connsiteY8" fmla="*/ 495300 h 733425"/>
              <a:gd name="connsiteX9" fmla="*/ 523875 w 2889264"/>
              <a:gd name="connsiteY9" fmla="*/ 469900 h 733425"/>
              <a:gd name="connsiteX10" fmla="*/ 568325 w 2889264"/>
              <a:gd name="connsiteY10" fmla="*/ 447675 h 733425"/>
              <a:gd name="connsiteX11" fmla="*/ 584200 w 2889264"/>
              <a:gd name="connsiteY11" fmla="*/ 441325 h 733425"/>
              <a:gd name="connsiteX12" fmla="*/ 612775 w 2889264"/>
              <a:gd name="connsiteY12" fmla="*/ 428625 h 733425"/>
              <a:gd name="connsiteX13" fmla="*/ 628650 w 2889264"/>
              <a:gd name="connsiteY13" fmla="*/ 422275 h 733425"/>
              <a:gd name="connsiteX14" fmla="*/ 641350 w 2889264"/>
              <a:gd name="connsiteY14" fmla="*/ 415925 h 733425"/>
              <a:gd name="connsiteX15" fmla="*/ 657225 w 2889264"/>
              <a:gd name="connsiteY15" fmla="*/ 406400 h 733425"/>
              <a:gd name="connsiteX16" fmla="*/ 676275 w 2889264"/>
              <a:gd name="connsiteY16" fmla="*/ 400050 h 733425"/>
              <a:gd name="connsiteX17" fmla="*/ 708025 w 2889264"/>
              <a:gd name="connsiteY17" fmla="*/ 381000 h 733425"/>
              <a:gd name="connsiteX18" fmla="*/ 736600 w 2889264"/>
              <a:gd name="connsiteY18" fmla="*/ 368300 h 733425"/>
              <a:gd name="connsiteX19" fmla="*/ 742950 w 2889264"/>
              <a:gd name="connsiteY19" fmla="*/ 358775 h 733425"/>
              <a:gd name="connsiteX20" fmla="*/ 790575 w 2889264"/>
              <a:gd name="connsiteY20" fmla="*/ 339725 h 733425"/>
              <a:gd name="connsiteX21" fmla="*/ 800100 w 2889264"/>
              <a:gd name="connsiteY21" fmla="*/ 336550 h 733425"/>
              <a:gd name="connsiteX22" fmla="*/ 812800 w 2889264"/>
              <a:gd name="connsiteY22" fmla="*/ 330200 h 733425"/>
              <a:gd name="connsiteX23" fmla="*/ 828675 w 2889264"/>
              <a:gd name="connsiteY23" fmla="*/ 327025 h 733425"/>
              <a:gd name="connsiteX24" fmla="*/ 898525 w 2889264"/>
              <a:gd name="connsiteY24" fmla="*/ 288925 h 733425"/>
              <a:gd name="connsiteX25" fmla="*/ 923925 w 2889264"/>
              <a:gd name="connsiteY25" fmla="*/ 269875 h 733425"/>
              <a:gd name="connsiteX26" fmla="*/ 933450 w 2889264"/>
              <a:gd name="connsiteY26" fmla="*/ 260350 h 733425"/>
              <a:gd name="connsiteX27" fmla="*/ 958850 w 2889264"/>
              <a:gd name="connsiteY27" fmla="*/ 247650 h 733425"/>
              <a:gd name="connsiteX28" fmla="*/ 968375 w 2889264"/>
              <a:gd name="connsiteY28" fmla="*/ 241300 h 733425"/>
              <a:gd name="connsiteX29" fmla="*/ 984250 w 2889264"/>
              <a:gd name="connsiteY29" fmla="*/ 234950 h 733425"/>
              <a:gd name="connsiteX30" fmla="*/ 1006475 w 2889264"/>
              <a:gd name="connsiteY30" fmla="*/ 225425 h 733425"/>
              <a:gd name="connsiteX31" fmla="*/ 1050925 w 2889264"/>
              <a:gd name="connsiteY31" fmla="*/ 212725 h 733425"/>
              <a:gd name="connsiteX32" fmla="*/ 1079500 w 2889264"/>
              <a:gd name="connsiteY32" fmla="*/ 200025 h 733425"/>
              <a:gd name="connsiteX33" fmla="*/ 1098550 w 2889264"/>
              <a:gd name="connsiteY33" fmla="*/ 193675 h 733425"/>
              <a:gd name="connsiteX34" fmla="*/ 1111250 w 2889264"/>
              <a:gd name="connsiteY34" fmla="*/ 187325 h 733425"/>
              <a:gd name="connsiteX35" fmla="*/ 1136650 w 2889264"/>
              <a:gd name="connsiteY35" fmla="*/ 177800 h 733425"/>
              <a:gd name="connsiteX36" fmla="*/ 1181100 w 2889264"/>
              <a:gd name="connsiteY36" fmla="*/ 152400 h 733425"/>
              <a:gd name="connsiteX37" fmla="*/ 1203325 w 2889264"/>
              <a:gd name="connsiteY37" fmla="*/ 130175 h 733425"/>
              <a:gd name="connsiteX38" fmla="*/ 1219200 w 2889264"/>
              <a:gd name="connsiteY38" fmla="*/ 117475 h 733425"/>
              <a:gd name="connsiteX39" fmla="*/ 1276350 w 2889264"/>
              <a:gd name="connsiteY39" fmla="*/ 85725 h 733425"/>
              <a:gd name="connsiteX40" fmla="*/ 1289050 w 2889264"/>
              <a:gd name="connsiteY40" fmla="*/ 79375 h 733425"/>
              <a:gd name="connsiteX41" fmla="*/ 1327150 w 2889264"/>
              <a:gd name="connsiteY41" fmla="*/ 66675 h 733425"/>
              <a:gd name="connsiteX42" fmla="*/ 1343025 w 2889264"/>
              <a:gd name="connsiteY42" fmla="*/ 57150 h 733425"/>
              <a:gd name="connsiteX43" fmla="*/ 1355725 w 2889264"/>
              <a:gd name="connsiteY43" fmla="*/ 47625 h 733425"/>
              <a:gd name="connsiteX44" fmla="*/ 1377950 w 2889264"/>
              <a:gd name="connsiteY44" fmla="*/ 38100 h 733425"/>
              <a:gd name="connsiteX45" fmla="*/ 1416050 w 2889264"/>
              <a:gd name="connsiteY45" fmla="*/ 12700 h 733425"/>
              <a:gd name="connsiteX46" fmla="*/ 1428750 w 2889264"/>
              <a:gd name="connsiteY46" fmla="*/ 0 h 733425"/>
              <a:gd name="connsiteX47" fmla="*/ 1470025 w 2889264"/>
              <a:gd name="connsiteY47" fmla="*/ 28575 h 733425"/>
              <a:gd name="connsiteX48" fmla="*/ 1504950 w 2889264"/>
              <a:gd name="connsiteY48" fmla="*/ 41275 h 733425"/>
              <a:gd name="connsiteX49" fmla="*/ 1517650 w 2889264"/>
              <a:gd name="connsiteY49" fmla="*/ 50800 h 733425"/>
              <a:gd name="connsiteX50" fmla="*/ 1549400 w 2889264"/>
              <a:gd name="connsiteY50" fmla="*/ 60325 h 733425"/>
              <a:gd name="connsiteX51" fmla="*/ 1562100 w 2889264"/>
              <a:gd name="connsiteY51" fmla="*/ 69850 h 733425"/>
              <a:gd name="connsiteX52" fmla="*/ 1574800 w 2889264"/>
              <a:gd name="connsiteY52" fmla="*/ 73025 h 733425"/>
              <a:gd name="connsiteX53" fmla="*/ 1590675 w 2889264"/>
              <a:gd name="connsiteY53" fmla="*/ 79375 h 733425"/>
              <a:gd name="connsiteX54" fmla="*/ 1600200 w 2889264"/>
              <a:gd name="connsiteY54" fmla="*/ 85725 h 733425"/>
              <a:gd name="connsiteX55" fmla="*/ 1612900 w 2889264"/>
              <a:gd name="connsiteY55" fmla="*/ 92075 h 733425"/>
              <a:gd name="connsiteX56" fmla="*/ 1625600 w 2889264"/>
              <a:gd name="connsiteY56" fmla="*/ 101600 h 733425"/>
              <a:gd name="connsiteX57" fmla="*/ 1635125 w 2889264"/>
              <a:gd name="connsiteY57" fmla="*/ 104775 h 733425"/>
              <a:gd name="connsiteX58" fmla="*/ 1654175 w 2889264"/>
              <a:gd name="connsiteY58" fmla="*/ 114300 h 733425"/>
              <a:gd name="connsiteX59" fmla="*/ 1676400 w 2889264"/>
              <a:gd name="connsiteY59" fmla="*/ 130175 h 733425"/>
              <a:gd name="connsiteX60" fmla="*/ 1689100 w 2889264"/>
              <a:gd name="connsiteY60" fmla="*/ 136525 h 733425"/>
              <a:gd name="connsiteX61" fmla="*/ 1714500 w 2889264"/>
              <a:gd name="connsiteY61" fmla="*/ 146050 h 733425"/>
              <a:gd name="connsiteX62" fmla="*/ 1727200 w 2889264"/>
              <a:gd name="connsiteY62" fmla="*/ 155575 h 733425"/>
              <a:gd name="connsiteX63" fmla="*/ 1758950 w 2889264"/>
              <a:gd name="connsiteY63" fmla="*/ 165100 h 733425"/>
              <a:gd name="connsiteX64" fmla="*/ 1768475 w 2889264"/>
              <a:gd name="connsiteY64" fmla="*/ 171450 h 733425"/>
              <a:gd name="connsiteX65" fmla="*/ 1781175 w 2889264"/>
              <a:gd name="connsiteY65" fmla="*/ 180975 h 733425"/>
              <a:gd name="connsiteX66" fmla="*/ 1793875 w 2889264"/>
              <a:gd name="connsiteY66" fmla="*/ 187325 h 733425"/>
              <a:gd name="connsiteX67" fmla="*/ 1838325 w 2889264"/>
              <a:gd name="connsiteY67" fmla="*/ 212725 h 733425"/>
              <a:gd name="connsiteX68" fmla="*/ 1847850 w 2889264"/>
              <a:gd name="connsiteY68" fmla="*/ 222250 h 733425"/>
              <a:gd name="connsiteX69" fmla="*/ 1885950 w 2889264"/>
              <a:gd name="connsiteY69" fmla="*/ 241300 h 733425"/>
              <a:gd name="connsiteX70" fmla="*/ 1901825 w 2889264"/>
              <a:gd name="connsiteY70" fmla="*/ 250825 h 733425"/>
              <a:gd name="connsiteX71" fmla="*/ 1933575 w 2889264"/>
              <a:gd name="connsiteY71" fmla="*/ 263525 h 733425"/>
              <a:gd name="connsiteX72" fmla="*/ 1962150 w 2889264"/>
              <a:gd name="connsiteY72" fmla="*/ 276225 h 733425"/>
              <a:gd name="connsiteX73" fmla="*/ 1971675 w 2889264"/>
              <a:gd name="connsiteY73" fmla="*/ 282575 h 733425"/>
              <a:gd name="connsiteX74" fmla="*/ 1987550 w 2889264"/>
              <a:gd name="connsiteY74" fmla="*/ 288925 h 733425"/>
              <a:gd name="connsiteX75" fmla="*/ 2022475 w 2889264"/>
              <a:gd name="connsiteY75" fmla="*/ 301625 h 733425"/>
              <a:gd name="connsiteX76" fmla="*/ 2047875 w 2889264"/>
              <a:gd name="connsiteY76" fmla="*/ 314325 h 733425"/>
              <a:gd name="connsiteX77" fmla="*/ 2063750 w 2889264"/>
              <a:gd name="connsiteY77" fmla="*/ 320675 h 733425"/>
              <a:gd name="connsiteX78" fmla="*/ 2082800 w 2889264"/>
              <a:gd name="connsiteY78" fmla="*/ 330200 h 733425"/>
              <a:gd name="connsiteX79" fmla="*/ 2095500 w 2889264"/>
              <a:gd name="connsiteY79" fmla="*/ 333375 h 733425"/>
              <a:gd name="connsiteX80" fmla="*/ 2124075 w 2889264"/>
              <a:gd name="connsiteY80" fmla="*/ 342900 h 733425"/>
              <a:gd name="connsiteX81" fmla="*/ 2159000 w 2889264"/>
              <a:gd name="connsiteY81" fmla="*/ 358775 h 733425"/>
              <a:gd name="connsiteX82" fmla="*/ 2187575 w 2889264"/>
              <a:gd name="connsiteY82" fmla="*/ 377825 h 733425"/>
              <a:gd name="connsiteX83" fmla="*/ 2209800 w 2889264"/>
              <a:gd name="connsiteY83" fmla="*/ 393700 h 733425"/>
              <a:gd name="connsiteX84" fmla="*/ 2247900 w 2889264"/>
              <a:gd name="connsiteY84" fmla="*/ 419100 h 733425"/>
              <a:gd name="connsiteX85" fmla="*/ 2276475 w 2889264"/>
              <a:gd name="connsiteY85" fmla="*/ 434975 h 733425"/>
              <a:gd name="connsiteX86" fmla="*/ 2289175 w 2889264"/>
              <a:gd name="connsiteY86" fmla="*/ 444500 h 733425"/>
              <a:gd name="connsiteX87" fmla="*/ 2308225 w 2889264"/>
              <a:gd name="connsiteY87" fmla="*/ 447675 h 733425"/>
              <a:gd name="connsiteX88" fmla="*/ 2333625 w 2889264"/>
              <a:gd name="connsiteY88" fmla="*/ 460375 h 733425"/>
              <a:gd name="connsiteX89" fmla="*/ 2352675 w 2889264"/>
              <a:gd name="connsiteY89" fmla="*/ 466725 h 733425"/>
              <a:gd name="connsiteX90" fmla="*/ 2397125 w 2889264"/>
              <a:gd name="connsiteY90" fmla="*/ 488950 h 733425"/>
              <a:gd name="connsiteX91" fmla="*/ 2422525 w 2889264"/>
              <a:gd name="connsiteY91" fmla="*/ 495300 h 733425"/>
              <a:gd name="connsiteX92" fmla="*/ 2432050 w 2889264"/>
              <a:gd name="connsiteY92" fmla="*/ 498475 h 733425"/>
              <a:gd name="connsiteX93" fmla="*/ 2454275 w 2889264"/>
              <a:gd name="connsiteY93" fmla="*/ 511175 h 733425"/>
              <a:gd name="connsiteX94" fmla="*/ 2470150 w 2889264"/>
              <a:gd name="connsiteY94" fmla="*/ 523875 h 733425"/>
              <a:gd name="connsiteX95" fmla="*/ 2495550 w 2889264"/>
              <a:gd name="connsiteY95" fmla="*/ 533400 h 733425"/>
              <a:gd name="connsiteX96" fmla="*/ 2546350 w 2889264"/>
              <a:gd name="connsiteY96" fmla="*/ 558800 h 733425"/>
              <a:gd name="connsiteX97" fmla="*/ 2574925 w 2889264"/>
              <a:gd name="connsiteY97" fmla="*/ 565150 h 733425"/>
              <a:gd name="connsiteX98" fmla="*/ 2600325 w 2889264"/>
              <a:gd name="connsiteY98" fmla="*/ 577850 h 733425"/>
              <a:gd name="connsiteX99" fmla="*/ 2616200 w 2889264"/>
              <a:gd name="connsiteY99" fmla="*/ 581025 h 733425"/>
              <a:gd name="connsiteX100" fmla="*/ 2638425 w 2889264"/>
              <a:gd name="connsiteY100" fmla="*/ 587375 h 733425"/>
              <a:gd name="connsiteX101" fmla="*/ 2654300 w 2889264"/>
              <a:gd name="connsiteY101" fmla="*/ 596900 h 733425"/>
              <a:gd name="connsiteX102" fmla="*/ 2673350 w 2889264"/>
              <a:gd name="connsiteY102" fmla="*/ 603250 h 733425"/>
              <a:gd name="connsiteX103" fmla="*/ 2708275 w 2889264"/>
              <a:gd name="connsiteY103" fmla="*/ 625475 h 733425"/>
              <a:gd name="connsiteX104" fmla="*/ 2730500 w 2889264"/>
              <a:gd name="connsiteY104" fmla="*/ 635000 h 733425"/>
              <a:gd name="connsiteX105" fmla="*/ 2749550 w 2889264"/>
              <a:gd name="connsiteY105" fmla="*/ 650875 h 733425"/>
              <a:gd name="connsiteX106" fmla="*/ 2774950 w 2889264"/>
              <a:gd name="connsiteY106" fmla="*/ 663575 h 733425"/>
              <a:gd name="connsiteX107" fmla="*/ 2803525 w 2889264"/>
              <a:gd name="connsiteY107" fmla="*/ 676275 h 733425"/>
              <a:gd name="connsiteX108" fmla="*/ 2816225 w 2889264"/>
              <a:gd name="connsiteY108" fmla="*/ 685800 h 733425"/>
              <a:gd name="connsiteX109" fmla="*/ 2832100 w 2889264"/>
              <a:gd name="connsiteY109" fmla="*/ 692150 h 733425"/>
              <a:gd name="connsiteX110" fmla="*/ 2876550 w 2889264"/>
              <a:gd name="connsiteY110" fmla="*/ 723900 h 733425"/>
              <a:gd name="connsiteX111" fmla="*/ 2889250 w 2889264"/>
              <a:gd name="connsiteY111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584200 w 2889264"/>
              <a:gd name="connsiteY10" fmla="*/ 441325 h 733425"/>
              <a:gd name="connsiteX11" fmla="*/ 612775 w 2889264"/>
              <a:gd name="connsiteY11" fmla="*/ 428625 h 733425"/>
              <a:gd name="connsiteX12" fmla="*/ 628650 w 2889264"/>
              <a:gd name="connsiteY12" fmla="*/ 422275 h 733425"/>
              <a:gd name="connsiteX13" fmla="*/ 641350 w 2889264"/>
              <a:gd name="connsiteY13" fmla="*/ 415925 h 733425"/>
              <a:gd name="connsiteX14" fmla="*/ 657225 w 2889264"/>
              <a:gd name="connsiteY14" fmla="*/ 406400 h 733425"/>
              <a:gd name="connsiteX15" fmla="*/ 676275 w 2889264"/>
              <a:gd name="connsiteY15" fmla="*/ 400050 h 733425"/>
              <a:gd name="connsiteX16" fmla="*/ 708025 w 2889264"/>
              <a:gd name="connsiteY16" fmla="*/ 381000 h 733425"/>
              <a:gd name="connsiteX17" fmla="*/ 736600 w 2889264"/>
              <a:gd name="connsiteY17" fmla="*/ 368300 h 733425"/>
              <a:gd name="connsiteX18" fmla="*/ 742950 w 2889264"/>
              <a:gd name="connsiteY18" fmla="*/ 358775 h 733425"/>
              <a:gd name="connsiteX19" fmla="*/ 790575 w 2889264"/>
              <a:gd name="connsiteY19" fmla="*/ 339725 h 733425"/>
              <a:gd name="connsiteX20" fmla="*/ 800100 w 2889264"/>
              <a:gd name="connsiteY20" fmla="*/ 336550 h 733425"/>
              <a:gd name="connsiteX21" fmla="*/ 812800 w 2889264"/>
              <a:gd name="connsiteY21" fmla="*/ 330200 h 733425"/>
              <a:gd name="connsiteX22" fmla="*/ 828675 w 2889264"/>
              <a:gd name="connsiteY22" fmla="*/ 327025 h 733425"/>
              <a:gd name="connsiteX23" fmla="*/ 898525 w 2889264"/>
              <a:gd name="connsiteY23" fmla="*/ 288925 h 733425"/>
              <a:gd name="connsiteX24" fmla="*/ 923925 w 2889264"/>
              <a:gd name="connsiteY24" fmla="*/ 269875 h 733425"/>
              <a:gd name="connsiteX25" fmla="*/ 933450 w 2889264"/>
              <a:gd name="connsiteY25" fmla="*/ 260350 h 733425"/>
              <a:gd name="connsiteX26" fmla="*/ 958850 w 2889264"/>
              <a:gd name="connsiteY26" fmla="*/ 247650 h 733425"/>
              <a:gd name="connsiteX27" fmla="*/ 968375 w 2889264"/>
              <a:gd name="connsiteY27" fmla="*/ 241300 h 733425"/>
              <a:gd name="connsiteX28" fmla="*/ 984250 w 2889264"/>
              <a:gd name="connsiteY28" fmla="*/ 234950 h 733425"/>
              <a:gd name="connsiteX29" fmla="*/ 1006475 w 2889264"/>
              <a:gd name="connsiteY29" fmla="*/ 225425 h 733425"/>
              <a:gd name="connsiteX30" fmla="*/ 1050925 w 2889264"/>
              <a:gd name="connsiteY30" fmla="*/ 212725 h 733425"/>
              <a:gd name="connsiteX31" fmla="*/ 1079500 w 2889264"/>
              <a:gd name="connsiteY31" fmla="*/ 200025 h 733425"/>
              <a:gd name="connsiteX32" fmla="*/ 1098550 w 2889264"/>
              <a:gd name="connsiteY32" fmla="*/ 193675 h 733425"/>
              <a:gd name="connsiteX33" fmla="*/ 1111250 w 2889264"/>
              <a:gd name="connsiteY33" fmla="*/ 187325 h 733425"/>
              <a:gd name="connsiteX34" fmla="*/ 1136650 w 2889264"/>
              <a:gd name="connsiteY34" fmla="*/ 177800 h 733425"/>
              <a:gd name="connsiteX35" fmla="*/ 1181100 w 2889264"/>
              <a:gd name="connsiteY35" fmla="*/ 152400 h 733425"/>
              <a:gd name="connsiteX36" fmla="*/ 1203325 w 2889264"/>
              <a:gd name="connsiteY36" fmla="*/ 130175 h 733425"/>
              <a:gd name="connsiteX37" fmla="*/ 1219200 w 2889264"/>
              <a:gd name="connsiteY37" fmla="*/ 117475 h 733425"/>
              <a:gd name="connsiteX38" fmla="*/ 1276350 w 2889264"/>
              <a:gd name="connsiteY38" fmla="*/ 85725 h 733425"/>
              <a:gd name="connsiteX39" fmla="*/ 1289050 w 2889264"/>
              <a:gd name="connsiteY39" fmla="*/ 79375 h 733425"/>
              <a:gd name="connsiteX40" fmla="*/ 1327150 w 2889264"/>
              <a:gd name="connsiteY40" fmla="*/ 66675 h 733425"/>
              <a:gd name="connsiteX41" fmla="*/ 1343025 w 2889264"/>
              <a:gd name="connsiteY41" fmla="*/ 57150 h 733425"/>
              <a:gd name="connsiteX42" fmla="*/ 1355725 w 2889264"/>
              <a:gd name="connsiteY42" fmla="*/ 47625 h 733425"/>
              <a:gd name="connsiteX43" fmla="*/ 1377950 w 2889264"/>
              <a:gd name="connsiteY43" fmla="*/ 38100 h 733425"/>
              <a:gd name="connsiteX44" fmla="*/ 1416050 w 2889264"/>
              <a:gd name="connsiteY44" fmla="*/ 12700 h 733425"/>
              <a:gd name="connsiteX45" fmla="*/ 1428750 w 2889264"/>
              <a:gd name="connsiteY45" fmla="*/ 0 h 733425"/>
              <a:gd name="connsiteX46" fmla="*/ 1470025 w 2889264"/>
              <a:gd name="connsiteY46" fmla="*/ 28575 h 733425"/>
              <a:gd name="connsiteX47" fmla="*/ 1504950 w 2889264"/>
              <a:gd name="connsiteY47" fmla="*/ 41275 h 733425"/>
              <a:gd name="connsiteX48" fmla="*/ 1517650 w 2889264"/>
              <a:gd name="connsiteY48" fmla="*/ 50800 h 733425"/>
              <a:gd name="connsiteX49" fmla="*/ 1549400 w 2889264"/>
              <a:gd name="connsiteY49" fmla="*/ 60325 h 733425"/>
              <a:gd name="connsiteX50" fmla="*/ 1562100 w 2889264"/>
              <a:gd name="connsiteY50" fmla="*/ 69850 h 733425"/>
              <a:gd name="connsiteX51" fmla="*/ 1574800 w 2889264"/>
              <a:gd name="connsiteY51" fmla="*/ 73025 h 733425"/>
              <a:gd name="connsiteX52" fmla="*/ 1590675 w 2889264"/>
              <a:gd name="connsiteY52" fmla="*/ 79375 h 733425"/>
              <a:gd name="connsiteX53" fmla="*/ 1600200 w 2889264"/>
              <a:gd name="connsiteY53" fmla="*/ 85725 h 733425"/>
              <a:gd name="connsiteX54" fmla="*/ 1612900 w 2889264"/>
              <a:gd name="connsiteY54" fmla="*/ 92075 h 733425"/>
              <a:gd name="connsiteX55" fmla="*/ 1625600 w 2889264"/>
              <a:gd name="connsiteY55" fmla="*/ 101600 h 733425"/>
              <a:gd name="connsiteX56" fmla="*/ 1635125 w 2889264"/>
              <a:gd name="connsiteY56" fmla="*/ 104775 h 733425"/>
              <a:gd name="connsiteX57" fmla="*/ 1654175 w 2889264"/>
              <a:gd name="connsiteY57" fmla="*/ 114300 h 733425"/>
              <a:gd name="connsiteX58" fmla="*/ 1676400 w 2889264"/>
              <a:gd name="connsiteY58" fmla="*/ 130175 h 733425"/>
              <a:gd name="connsiteX59" fmla="*/ 1689100 w 2889264"/>
              <a:gd name="connsiteY59" fmla="*/ 136525 h 733425"/>
              <a:gd name="connsiteX60" fmla="*/ 1714500 w 2889264"/>
              <a:gd name="connsiteY60" fmla="*/ 146050 h 733425"/>
              <a:gd name="connsiteX61" fmla="*/ 1727200 w 2889264"/>
              <a:gd name="connsiteY61" fmla="*/ 155575 h 733425"/>
              <a:gd name="connsiteX62" fmla="*/ 1758950 w 2889264"/>
              <a:gd name="connsiteY62" fmla="*/ 165100 h 733425"/>
              <a:gd name="connsiteX63" fmla="*/ 1768475 w 2889264"/>
              <a:gd name="connsiteY63" fmla="*/ 171450 h 733425"/>
              <a:gd name="connsiteX64" fmla="*/ 1781175 w 2889264"/>
              <a:gd name="connsiteY64" fmla="*/ 180975 h 733425"/>
              <a:gd name="connsiteX65" fmla="*/ 1793875 w 2889264"/>
              <a:gd name="connsiteY65" fmla="*/ 187325 h 733425"/>
              <a:gd name="connsiteX66" fmla="*/ 1838325 w 2889264"/>
              <a:gd name="connsiteY66" fmla="*/ 212725 h 733425"/>
              <a:gd name="connsiteX67" fmla="*/ 1847850 w 2889264"/>
              <a:gd name="connsiteY67" fmla="*/ 222250 h 733425"/>
              <a:gd name="connsiteX68" fmla="*/ 1885950 w 2889264"/>
              <a:gd name="connsiteY68" fmla="*/ 241300 h 733425"/>
              <a:gd name="connsiteX69" fmla="*/ 1901825 w 2889264"/>
              <a:gd name="connsiteY69" fmla="*/ 250825 h 733425"/>
              <a:gd name="connsiteX70" fmla="*/ 1933575 w 2889264"/>
              <a:gd name="connsiteY70" fmla="*/ 263525 h 733425"/>
              <a:gd name="connsiteX71" fmla="*/ 1962150 w 2889264"/>
              <a:gd name="connsiteY71" fmla="*/ 276225 h 733425"/>
              <a:gd name="connsiteX72" fmla="*/ 1971675 w 2889264"/>
              <a:gd name="connsiteY72" fmla="*/ 282575 h 733425"/>
              <a:gd name="connsiteX73" fmla="*/ 1987550 w 2889264"/>
              <a:gd name="connsiteY73" fmla="*/ 288925 h 733425"/>
              <a:gd name="connsiteX74" fmla="*/ 2022475 w 2889264"/>
              <a:gd name="connsiteY74" fmla="*/ 301625 h 733425"/>
              <a:gd name="connsiteX75" fmla="*/ 2047875 w 2889264"/>
              <a:gd name="connsiteY75" fmla="*/ 314325 h 733425"/>
              <a:gd name="connsiteX76" fmla="*/ 2063750 w 2889264"/>
              <a:gd name="connsiteY76" fmla="*/ 320675 h 733425"/>
              <a:gd name="connsiteX77" fmla="*/ 2082800 w 2889264"/>
              <a:gd name="connsiteY77" fmla="*/ 330200 h 733425"/>
              <a:gd name="connsiteX78" fmla="*/ 2095500 w 2889264"/>
              <a:gd name="connsiteY78" fmla="*/ 333375 h 733425"/>
              <a:gd name="connsiteX79" fmla="*/ 2124075 w 2889264"/>
              <a:gd name="connsiteY79" fmla="*/ 342900 h 733425"/>
              <a:gd name="connsiteX80" fmla="*/ 2159000 w 2889264"/>
              <a:gd name="connsiteY80" fmla="*/ 358775 h 733425"/>
              <a:gd name="connsiteX81" fmla="*/ 2187575 w 2889264"/>
              <a:gd name="connsiteY81" fmla="*/ 377825 h 733425"/>
              <a:gd name="connsiteX82" fmla="*/ 2209800 w 2889264"/>
              <a:gd name="connsiteY82" fmla="*/ 393700 h 733425"/>
              <a:gd name="connsiteX83" fmla="*/ 2247900 w 2889264"/>
              <a:gd name="connsiteY83" fmla="*/ 419100 h 733425"/>
              <a:gd name="connsiteX84" fmla="*/ 2276475 w 2889264"/>
              <a:gd name="connsiteY84" fmla="*/ 434975 h 733425"/>
              <a:gd name="connsiteX85" fmla="*/ 2289175 w 2889264"/>
              <a:gd name="connsiteY85" fmla="*/ 444500 h 733425"/>
              <a:gd name="connsiteX86" fmla="*/ 2308225 w 2889264"/>
              <a:gd name="connsiteY86" fmla="*/ 447675 h 733425"/>
              <a:gd name="connsiteX87" fmla="*/ 2333625 w 2889264"/>
              <a:gd name="connsiteY87" fmla="*/ 460375 h 733425"/>
              <a:gd name="connsiteX88" fmla="*/ 2352675 w 2889264"/>
              <a:gd name="connsiteY88" fmla="*/ 466725 h 733425"/>
              <a:gd name="connsiteX89" fmla="*/ 2397125 w 2889264"/>
              <a:gd name="connsiteY89" fmla="*/ 488950 h 733425"/>
              <a:gd name="connsiteX90" fmla="*/ 2422525 w 2889264"/>
              <a:gd name="connsiteY90" fmla="*/ 495300 h 733425"/>
              <a:gd name="connsiteX91" fmla="*/ 2432050 w 2889264"/>
              <a:gd name="connsiteY91" fmla="*/ 498475 h 733425"/>
              <a:gd name="connsiteX92" fmla="*/ 2454275 w 2889264"/>
              <a:gd name="connsiteY92" fmla="*/ 511175 h 733425"/>
              <a:gd name="connsiteX93" fmla="*/ 2470150 w 2889264"/>
              <a:gd name="connsiteY93" fmla="*/ 523875 h 733425"/>
              <a:gd name="connsiteX94" fmla="*/ 2495550 w 2889264"/>
              <a:gd name="connsiteY94" fmla="*/ 533400 h 733425"/>
              <a:gd name="connsiteX95" fmla="*/ 2546350 w 2889264"/>
              <a:gd name="connsiteY95" fmla="*/ 558800 h 733425"/>
              <a:gd name="connsiteX96" fmla="*/ 2574925 w 2889264"/>
              <a:gd name="connsiteY96" fmla="*/ 565150 h 733425"/>
              <a:gd name="connsiteX97" fmla="*/ 2600325 w 2889264"/>
              <a:gd name="connsiteY97" fmla="*/ 577850 h 733425"/>
              <a:gd name="connsiteX98" fmla="*/ 2616200 w 2889264"/>
              <a:gd name="connsiteY98" fmla="*/ 581025 h 733425"/>
              <a:gd name="connsiteX99" fmla="*/ 2638425 w 2889264"/>
              <a:gd name="connsiteY99" fmla="*/ 587375 h 733425"/>
              <a:gd name="connsiteX100" fmla="*/ 2654300 w 2889264"/>
              <a:gd name="connsiteY100" fmla="*/ 596900 h 733425"/>
              <a:gd name="connsiteX101" fmla="*/ 2673350 w 2889264"/>
              <a:gd name="connsiteY101" fmla="*/ 603250 h 733425"/>
              <a:gd name="connsiteX102" fmla="*/ 2708275 w 2889264"/>
              <a:gd name="connsiteY102" fmla="*/ 625475 h 733425"/>
              <a:gd name="connsiteX103" fmla="*/ 2730500 w 2889264"/>
              <a:gd name="connsiteY103" fmla="*/ 635000 h 733425"/>
              <a:gd name="connsiteX104" fmla="*/ 2749550 w 2889264"/>
              <a:gd name="connsiteY104" fmla="*/ 650875 h 733425"/>
              <a:gd name="connsiteX105" fmla="*/ 2774950 w 2889264"/>
              <a:gd name="connsiteY105" fmla="*/ 663575 h 733425"/>
              <a:gd name="connsiteX106" fmla="*/ 2803525 w 2889264"/>
              <a:gd name="connsiteY106" fmla="*/ 676275 h 733425"/>
              <a:gd name="connsiteX107" fmla="*/ 2816225 w 2889264"/>
              <a:gd name="connsiteY107" fmla="*/ 685800 h 733425"/>
              <a:gd name="connsiteX108" fmla="*/ 2832100 w 2889264"/>
              <a:gd name="connsiteY108" fmla="*/ 692150 h 733425"/>
              <a:gd name="connsiteX109" fmla="*/ 2876550 w 2889264"/>
              <a:gd name="connsiteY109" fmla="*/ 723900 h 733425"/>
              <a:gd name="connsiteX110" fmla="*/ 2889250 w 2889264"/>
              <a:gd name="connsiteY110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584200 w 2889264"/>
              <a:gd name="connsiteY10" fmla="*/ 441325 h 733425"/>
              <a:gd name="connsiteX11" fmla="*/ 612775 w 2889264"/>
              <a:gd name="connsiteY11" fmla="*/ 428625 h 733425"/>
              <a:gd name="connsiteX12" fmla="*/ 628650 w 2889264"/>
              <a:gd name="connsiteY12" fmla="*/ 422275 h 733425"/>
              <a:gd name="connsiteX13" fmla="*/ 657225 w 2889264"/>
              <a:gd name="connsiteY13" fmla="*/ 406400 h 733425"/>
              <a:gd name="connsiteX14" fmla="*/ 676275 w 2889264"/>
              <a:gd name="connsiteY14" fmla="*/ 400050 h 733425"/>
              <a:gd name="connsiteX15" fmla="*/ 708025 w 2889264"/>
              <a:gd name="connsiteY15" fmla="*/ 381000 h 733425"/>
              <a:gd name="connsiteX16" fmla="*/ 736600 w 2889264"/>
              <a:gd name="connsiteY16" fmla="*/ 368300 h 733425"/>
              <a:gd name="connsiteX17" fmla="*/ 742950 w 2889264"/>
              <a:gd name="connsiteY17" fmla="*/ 358775 h 733425"/>
              <a:gd name="connsiteX18" fmla="*/ 790575 w 2889264"/>
              <a:gd name="connsiteY18" fmla="*/ 339725 h 733425"/>
              <a:gd name="connsiteX19" fmla="*/ 800100 w 2889264"/>
              <a:gd name="connsiteY19" fmla="*/ 336550 h 733425"/>
              <a:gd name="connsiteX20" fmla="*/ 812800 w 2889264"/>
              <a:gd name="connsiteY20" fmla="*/ 330200 h 733425"/>
              <a:gd name="connsiteX21" fmla="*/ 828675 w 2889264"/>
              <a:gd name="connsiteY21" fmla="*/ 327025 h 733425"/>
              <a:gd name="connsiteX22" fmla="*/ 898525 w 2889264"/>
              <a:gd name="connsiteY22" fmla="*/ 288925 h 733425"/>
              <a:gd name="connsiteX23" fmla="*/ 923925 w 2889264"/>
              <a:gd name="connsiteY23" fmla="*/ 269875 h 733425"/>
              <a:gd name="connsiteX24" fmla="*/ 933450 w 2889264"/>
              <a:gd name="connsiteY24" fmla="*/ 260350 h 733425"/>
              <a:gd name="connsiteX25" fmla="*/ 958850 w 2889264"/>
              <a:gd name="connsiteY25" fmla="*/ 247650 h 733425"/>
              <a:gd name="connsiteX26" fmla="*/ 968375 w 2889264"/>
              <a:gd name="connsiteY26" fmla="*/ 241300 h 733425"/>
              <a:gd name="connsiteX27" fmla="*/ 984250 w 2889264"/>
              <a:gd name="connsiteY27" fmla="*/ 234950 h 733425"/>
              <a:gd name="connsiteX28" fmla="*/ 1006475 w 2889264"/>
              <a:gd name="connsiteY28" fmla="*/ 225425 h 733425"/>
              <a:gd name="connsiteX29" fmla="*/ 1050925 w 2889264"/>
              <a:gd name="connsiteY29" fmla="*/ 212725 h 733425"/>
              <a:gd name="connsiteX30" fmla="*/ 1079500 w 2889264"/>
              <a:gd name="connsiteY30" fmla="*/ 200025 h 733425"/>
              <a:gd name="connsiteX31" fmla="*/ 1098550 w 2889264"/>
              <a:gd name="connsiteY31" fmla="*/ 193675 h 733425"/>
              <a:gd name="connsiteX32" fmla="*/ 1111250 w 2889264"/>
              <a:gd name="connsiteY32" fmla="*/ 187325 h 733425"/>
              <a:gd name="connsiteX33" fmla="*/ 1136650 w 2889264"/>
              <a:gd name="connsiteY33" fmla="*/ 177800 h 733425"/>
              <a:gd name="connsiteX34" fmla="*/ 1181100 w 2889264"/>
              <a:gd name="connsiteY34" fmla="*/ 152400 h 733425"/>
              <a:gd name="connsiteX35" fmla="*/ 1203325 w 2889264"/>
              <a:gd name="connsiteY35" fmla="*/ 130175 h 733425"/>
              <a:gd name="connsiteX36" fmla="*/ 1219200 w 2889264"/>
              <a:gd name="connsiteY36" fmla="*/ 117475 h 733425"/>
              <a:gd name="connsiteX37" fmla="*/ 1276350 w 2889264"/>
              <a:gd name="connsiteY37" fmla="*/ 85725 h 733425"/>
              <a:gd name="connsiteX38" fmla="*/ 1289050 w 2889264"/>
              <a:gd name="connsiteY38" fmla="*/ 79375 h 733425"/>
              <a:gd name="connsiteX39" fmla="*/ 1327150 w 2889264"/>
              <a:gd name="connsiteY39" fmla="*/ 66675 h 733425"/>
              <a:gd name="connsiteX40" fmla="*/ 1343025 w 2889264"/>
              <a:gd name="connsiteY40" fmla="*/ 57150 h 733425"/>
              <a:gd name="connsiteX41" fmla="*/ 1355725 w 2889264"/>
              <a:gd name="connsiteY41" fmla="*/ 47625 h 733425"/>
              <a:gd name="connsiteX42" fmla="*/ 1377950 w 2889264"/>
              <a:gd name="connsiteY42" fmla="*/ 38100 h 733425"/>
              <a:gd name="connsiteX43" fmla="*/ 1416050 w 2889264"/>
              <a:gd name="connsiteY43" fmla="*/ 12700 h 733425"/>
              <a:gd name="connsiteX44" fmla="*/ 1428750 w 2889264"/>
              <a:gd name="connsiteY44" fmla="*/ 0 h 733425"/>
              <a:gd name="connsiteX45" fmla="*/ 1470025 w 2889264"/>
              <a:gd name="connsiteY45" fmla="*/ 28575 h 733425"/>
              <a:gd name="connsiteX46" fmla="*/ 1504950 w 2889264"/>
              <a:gd name="connsiteY46" fmla="*/ 41275 h 733425"/>
              <a:gd name="connsiteX47" fmla="*/ 1517650 w 2889264"/>
              <a:gd name="connsiteY47" fmla="*/ 50800 h 733425"/>
              <a:gd name="connsiteX48" fmla="*/ 1549400 w 2889264"/>
              <a:gd name="connsiteY48" fmla="*/ 60325 h 733425"/>
              <a:gd name="connsiteX49" fmla="*/ 1562100 w 2889264"/>
              <a:gd name="connsiteY49" fmla="*/ 69850 h 733425"/>
              <a:gd name="connsiteX50" fmla="*/ 1574800 w 2889264"/>
              <a:gd name="connsiteY50" fmla="*/ 73025 h 733425"/>
              <a:gd name="connsiteX51" fmla="*/ 1590675 w 2889264"/>
              <a:gd name="connsiteY51" fmla="*/ 79375 h 733425"/>
              <a:gd name="connsiteX52" fmla="*/ 1600200 w 2889264"/>
              <a:gd name="connsiteY52" fmla="*/ 85725 h 733425"/>
              <a:gd name="connsiteX53" fmla="*/ 1612900 w 2889264"/>
              <a:gd name="connsiteY53" fmla="*/ 92075 h 733425"/>
              <a:gd name="connsiteX54" fmla="*/ 1625600 w 2889264"/>
              <a:gd name="connsiteY54" fmla="*/ 101600 h 733425"/>
              <a:gd name="connsiteX55" fmla="*/ 1635125 w 2889264"/>
              <a:gd name="connsiteY55" fmla="*/ 104775 h 733425"/>
              <a:gd name="connsiteX56" fmla="*/ 1654175 w 2889264"/>
              <a:gd name="connsiteY56" fmla="*/ 114300 h 733425"/>
              <a:gd name="connsiteX57" fmla="*/ 1676400 w 2889264"/>
              <a:gd name="connsiteY57" fmla="*/ 130175 h 733425"/>
              <a:gd name="connsiteX58" fmla="*/ 1689100 w 2889264"/>
              <a:gd name="connsiteY58" fmla="*/ 136525 h 733425"/>
              <a:gd name="connsiteX59" fmla="*/ 1714500 w 2889264"/>
              <a:gd name="connsiteY59" fmla="*/ 146050 h 733425"/>
              <a:gd name="connsiteX60" fmla="*/ 1727200 w 2889264"/>
              <a:gd name="connsiteY60" fmla="*/ 155575 h 733425"/>
              <a:gd name="connsiteX61" fmla="*/ 1758950 w 2889264"/>
              <a:gd name="connsiteY61" fmla="*/ 165100 h 733425"/>
              <a:gd name="connsiteX62" fmla="*/ 1768475 w 2889264"/>
              <a:gd name="connsiteY62" fmla="*/ 171450 h 733425"/>
              <a:gd name="connsiteX63" fmla="*/ 1781175 w 2889264"/>
              <a:gd name="connsiteY63" fmla="*/ 180975 h 733425"/>
              <a:gd name="connsiteX64" fmla="*/ 1793875 w 2889264"/>
              <a:gd name="connsiteY64" fmla="*/ 187325 h 733425"/>
              <a:gd name="connsiteX65" fmla="*/ 1838325 w 2889264"/>
              <a:gd name="connsiteY65" fmla="*/ 212725 h 733425"/>
              <a:gd name="connsiteX66" fmla="*/ 1847850 w 2889264"/>
              <a:gd name="connsiteY66" fmla="*/ 222250 h 733425"/>
              <a:gd name="connsiteX67" fmla="*/ 1885950 w 2889264"/>
              <a:gd name="connsiteY67" fmla="*/ 241300 h 733425"/>
              <a:gd name="connsiteX68" fmla="*/ 1901825 w 2889264"/>
              <a:gd name="connsiteY68" fmla="*/ 250825 h 733425"/>
              <a:gd name="connsiteX69" fmla="*/ 1933575 w 2889264"/>
              <a:gd name="connsiteY69" fmla="*/ 263525 h 733425"/>
              <a:gd name="connsiteX70" fmla="*/ 1962150 w 2889264"/>
              <a:gd name="connsiteY70" fmla="*/ 276225 h 733425"/>
              <a:gd name="connsiteX71" fmla="*/ 1971675 w 2889264"/>
              <a:gd name="connsiteY71" fmla="*/ 282575 h 733425"/>
              <a:gd name="connsiteX72" fmla="*/ 1987550 w 2889264"/>
              <a:gd name="connsiteY72" fmla="*/ 288925 h 733425"/>
              <a:gd name="connsiteX73" fmla="*/ 2022475 w 2889264"/>
              <a:gd name="connsiteY73" fmla="*/ 301625 h 733425"/>
              <a:gd name="connsiteX74" fmla="*/ 2047875 w 2889264"/>
              <a:gd name="connsiteY74" fmla="*/ 314325 h 733425"/>
              <a:gd name="connsiteX75" fmla="*/ 2063750 w 2889264"/>
              <a:gd name="connsiteY75" fmla="*/ 320675 h 733425"/>
              <a:gd name="connsiteX76" fmla="*/ 2082800 w 2889264"/>
              <a:gd name="connsiteY76" fmla="*/ 330200 h 733425"/>
              <a:gd name="connsiteX77" fmla="*/ 2095500 w 2889264"/>
              <a:gd name="connsiteY77" fmla="*/ 333375 h 733425"/>
              <a:gd name="connsiteX78" fmla="*/ 2124075 w 2889264"/>
              <a:gd name="connsiteY78" fmla="*/ 342900 h 733425"/>
              <a:gd name="connsiteX79" fmla="*/ 2159000 w 2889264"/>
              <a:gd name="connsiteY79" fmla="*/ 358775 h 733425"/>
              <a:gd name="connsiteX80" fmla="*/ 2187575 w 2889264"/>
              <a:gd name="connsiteY80" fmla="*/ 377825 h 733425"/>
              <a:gd name="connsiteX81" fmla="*/ 2209800 w 2889264"/>
              <a:gd name="connsiteY81" fmla="*/ 393700 h 733425"/>
              <a:gd name="connsiteX82" fmla="*/ 2247900 w 2889264"/>
              <a:gd name="connsiteY82" fmla="*/ 419100 h 733425"/>
              <a:gd name="connsiteX83" fmla="*/ 2276475 w 2889264"/>
              <a:gd name="connsiteY83" fmla="*/ 434975 h 733425"/>
              <a:gd name="connsiteX84" fmla="*/ 2289175 w 2889264"/>
              <a:gd name="connsiteY84" fmla="*/ 444500 h 733425"/>
              <a:gd name="connsiteX85" fmla="*/ 2308225 w 2889264"/>
              <a:gd name="connsiteY85" fmla="*/ 447675 h 733425"/>
              <a:gd name="connsiteX86" fmla="*/ 2333625 w 2889264"/>
              <a:gd name="connsiteY86" fmla="*/ 460375 h 733425"/>
              <a:gd name="connsiteX87" fmla="*/ 2352675 w 2889264"/>
              <a:gd name="connsiteY87" fmla="*/ 466725 h 733425"/>
              <a:gd name="connsiteX88" fmla="*/ 2397125 w 2889264"/>
              <a:gd name="connsiteY88" fmla="*/ 488950 h 733425"/>
              <a:gd name="connsiteX89" fmla="*/ 2422525 w 2889264"/>
              <a:gd name="connsiteY89" fmla="*/ 495300 h 733425"/>
              <a:gd name="connsiteX90" fmla="*/ 2432050 w 2889264"/>
              <a:gd name="connsiteY90" fmla="*/ 498475 h 733425"/>
              <a:gd name="connsiteX91" fmla="*/ 2454275 w 2889264"/>
              <a:gd name="connsiteY91" fmla="*/ 511175 h 733425"/>
              <a:gd name="connsiteX92" fmla="*/ 2470150 w 2889264"/>
              <a:gd name="connsiteY92" fmla="*/ 523875 h 733425"/>
              <a:gd name="connsiteX93" fmla="*/ 2495550 w 2889264"/>
              <a:gd name="connsiteY93" fmla="*/ 533400 h 733425"/>
              <a:gd name="connsiteX94" fmla="*/ 2546350 w 2889264"/>
              <a:gd name="connsiteY94" fmla="*/ 558800 h 733425"/>
              <a:gd name="connsiteX95" fmla="*/ 2574925 w 2889264"/>
              <a:gd name="connsiteY95" fmla="*/ 565150 h 733425"/>
              <a:gd name="connsiteX96" fmla="*/ 2600325 w 2889264"/>
              <a:gd name="connsiteY96" fmla="*/ 577850 h 733425"/>
              <a:gd name="connsiteX97" fmla="*/ 2616200 w 2889264"/>
              <a:gd name="connsiteY97" fmla="*/ 581025 h 733425"/>
              <a:gd name="connsiteX98" fmla="*/ 2638425 w 2889264"/>
              <a:gd name="connsiteY98" fmla="*/ 587375 h 733425"/>
              <a:gd name="connsiteX99" fmla="*/ 2654300 w 2889264"/>
              <a:gd name="connsiteY99" fmla="*/ 596900 h 733425"/>
              <a:gd name="connsiteX100" fmla="*/ 2673350 w 2889264"/>
              <a:gd name="connsiteY100" fmla="*/ 603250 h 733425"/>
              <a:gd name="connsiteX101" fmla="*/ 2708275 w 2889264"/>
              <a:gd name="connsiteY101" fmla="*/ 625475 h 733425"/>
              <a:gd name="connsiteX102" fmla="*/ 2730500 w 2889264"/>
              <a:gd name="connsiteY102" fmla="*/ 635000 h 733425"/>
              <a:gd name="connsiteX103" fmla="*/ 2749550 w 2889264"/>
              <a:gd name="connsiteY103" fmla="*/ 650875 h 733425"/>
              <a:gd name="connsiteX104" fmla="*/ 2774950 w 2889264"/>
              <a:gd name="connsiteY104" fmla="*/ 663575 h 733425"/>
              <a:gd name="connsiteX105" fmla="*/ 2803525 w 2889264"/>
              <a:gd name="connsiteY105" fmla="*/ 676275 h 733425"/>
              <a:gd name="connsiteX106" fmla="*/ 2816225 w 2889264"/>
              <a:gd name="connsiteY106" fmla="*/ 685800 h 733425"/>
              <a:gd name="connsiteX107" fmla="*/ 2832100 w 2889264"/>
              <a:gd name="connsiteY107" fmla="*/ 692150 h 733425"/>
              <a:gd name="connsiteX108" fmla="*/ 2876550 w 2889264"/>
              <a:gd name="connsiteY108" fmla="*/ 723900 h 733425"/>
              <a:gd name="connsiteX109" fmla="*/ 2889250 w 2889264"/>
              <a:gd name="connsiteY109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584200 w 2889264"/>
              <a:gd name="connsiteY10" fmla="*/ 441325 h 733425"/>
              <a:gd name="connsiteX11" fmla="*/ 612775 w 2889264"/>
              <a:gd name="connsiteY11" fmla="*/ 428625 h 733425"/>
              <a:gd name="connsiteX12" fmla="*/ 628650 w 2889264"/>
              <a:gd name="connsiteY12" fmla="*/ 422275 h 733425"/>
              <a:gd name="connsiteX13" fmla="*/ 657225 w 2889264"/>
              <a:gd name="connsiteY13" fmla="*/ 406400 h 733425"/>
              <a:gd name="connsiteX14" fmla="*/ 708025 w 2889264"/>
              <a:gd name="connsiteY14" fmla="*/ 381000 h 733425"/>
              <a:gd name="connsiteX15" fmla="*/ 736600 w 2889264"/>
              <a:gd name="connsiteY15" fmla="*/ 368300 h 733425"/>
              <a:gd name="connsiteX16" fmla="*/ 742950 w 2889264"/>
              <a:gd name="connsiteY16" fmla="*/ 358775 h 733425"/>
              <a:gd name="connsiteX17" fmla="*/ 790575 w 2889264"/>
              <a:gd name="connsiteY17" fmla="*/ 339725 h 733425"/>
              <a:gd name="connsiteX18" fmla="*/ 800100 w 2889264"/>
              <a:gd name="connsiteY18" fmla="*/ 336550 h 733425"/>
              <a:gd name="connsiteX19" fmla="*/ 812800 w 2889264"/>
              <a:gd name="connsiteY19" fmla="*/ 330200 h 733425"/>
              <a:gd name="connsiteX20" fmla="*/ 828675 w 2889264"/>
              <a:gd name="connsiteY20" fmla="*/ 327025 h 733425"/>
              <a:gd name="connsiteX21" fmla="*/ 898525 w 2889264"/>
              <a:gd name="connsiteY21" fmla="*/ 288925 h 733425"/>
              <a:gd name="connsiteX22" fmla="*/ 923925 w 2889264"/>
              <a:gd name="connsiteY22" fmla="*/ 269875 h 733425"/>
              <a:gd name="connsiteX23" fmla="*/ 933450 w 2889264"/>
              <a:gd name="connsiteY23" fmla="*/ 260350 h 733425"/>
              <a:gd name="connsiteX24" fmla="*/ 958850 w 2889264"/>
              <a:gd name="connsiteY24" fmla="*/ 247650 h 733425"/>
              <a:gd name="connsiteX25" fmla="*/ 968375 w 2889264"/>
              <a:gd name="connsiteY25" fmla="*/ 241300 h 733425"/>
              <a:gd name="connsiteX26" fmla="*/ 984250 w 2889264"/>
              <a:gd name="connsiteY26" fmla="*/ 234950 h 733425"/>
              <a:gd name="connsiteX27" fmla="*/ 1006475 w 2889264"/>
              <a:gd name="connsiteY27" fmla="*/ 225425 h 733425"/>
              <a:gd name="connsiteX28" fmla="*/ 1050925 w 2889264"/>
              <a:gd name="connsiteY28" fmla="*/ 212725 h 733425"/>
              <a:gd name="connsiteX29" fmla="*/ 1079500 w 2889264"/>
              <a:gd name="connsiteY29" fmla="*/ 200025 h 733425"/>
              <a:gd name="connsiteX30" fmla="*/ 1098550 w 2889264"/>
              <a:gd name="connsiteY30" fmla="*/ 193675 h 733425"/>
              <a:gd name="connsiteX31" fmla="*/ 1111250 w 2889264"/>
              <a:gd name="connsiteY31" fmla="*/ 187325 h 733425"/>
              <a:gd name="connsiteX32" fmla="*/ 1136650 w 2889264"/>
              <a:gd name="connsiteY32" fmla="*/ 177800 h 733425"/>
              <a:gd name="connsiteX33" fmla="*/ 1181100 w 2889264"/>
              <a:gd name="connsiteY33" fmla="*/ 152400 h 733425"/>
              <a:gd name="connsiteX34" fmla="*/ 1203325 w 2889264"/>
              <a:gd name="connsiteY34" fmla="*/ 130175 h 733425"/>
              <a:gd name="connsiteX35" fmla="*/ 1219200 w 2889264"/>
              <a:gd name="connsiteY35" fmla="*/ 117475 h 733425"/>
              <a:gd name="connsiteX36" fmla="*/ 1276350 w 2889264"/>
              <a:gd name="connsiteY36" fmla="*/ 85725 h 733425"/>
              <a:gd name="connsiteX37" fmla="*/ 1289050 w 2889264"/>
              <a:gd name="connsiteY37" fmla="*/ 79375 h 733425"/>
              <a:gd name="connsiteX38" fmla="*/ 1327150 w 2889264"/>
              <a:gd name="connsiteY38" fmla="*/ 66675 h 733425"/>
              <a:gd name="connsiteX39" fmla="*/ 1343025 w 2889264"/>
              <a:gd name="connsiteY39" fmla="*/ 57150 h 733425"/>
              <a:gd name="connsiteX40" fmla="*/ 1355725 w 2889264"/>
              <a:gd name="connsiteY40" fmla="*/ 47625 h 733425"/>
              <a:gd name="connsiteX41" fmla="*/ 1377950 w 2889264"/>
              <a:gd name="connsiteY41" fmla="*/ 38100 h 733425"/>
              <a:gd name="connsiteX42" fmla="*/ 1416050 w 2889264"/>
              <a:gd name="connsiteY42" fmla="*/ 12700 h 733425"/>
              <a:gd name="connsiteX43" fmla="*/ 1428750 w 2889264"/>
              <a:gd name="connsiteY43" fmla="*/ 0 h 733425"/>
              <a:gd name="connsiteX44" fmla="*/ 1470025 w 2889264"/>
              <a:gd name="connsiteY44" fmla="*/ 28575 h 733425"/>
              <a:gd name="connsiteX45" fmla="*/ 1504950 w 2889264"/>
              <a:gd name="connsiteY45" fmla="*/ 41275 h 733425"/>
              <a:gd name="connsiteX46" fmla="*/ 1517650 w 2889264"/>
              <a:gd name="connsiteY46" fmla="*/ 50800 h 733425"/>
              <a:gd name="connsiteX47" fmla="*/ 1549400 w 2889264"/>
              <a:gd name="connsiteY47" fmla="*/ 60325 h 733425"/>
              <a:gd name="connsiteX48" fmla="*/ 1562100 w 2889264"/>
              <a:gd name="connsiteY48" fmla="*/ 69850 h 733425"/>
              <a:gd name="connsiteX49" fmla="*/ 1574800 w 2889264"/>
              <a:gd name="connsiteY49" fmla="*/ 73025 h 733425"/>
              <a:gd name="connsiteX50" fmla="*/ 1590675 w 2889264"/>
              <a:gd name="connsiteY50" fmla="*/ 79375 h 733425"/>
              <a:gd name="connsiteX51" fmla="*/ 1600200 w 2889264"/>
              <a:gd name="connsiteY51" fmla="*/ 85725 h 733425"/>
              <a:gd name="connsiteX52" fmla="*/ 1612900 w 2889264"/>
              <a:gd name="connsiteY52" fmla="*/ 92075 h 733425"/>
              <a:gd name="connsiteX53" fmla="*/ 1625600 w 2889264"/>
              <a:gd name="connsiteY53" fmla="*/ 101600 h 733425"/>
              <a:gd name="connsiteX54" fmla="*/ 1635125 w 2889264"/>
              <a:gd name="connsiteY54" fmla="*/ 104775 h 733425"/>
              <a:gd name="connsiteX55" fmla="*/ 1654175 w 2889264"/>
              <a:gd name="connsiteY55" fmla="*/ 114300 h 733425"/>
              <a:gd name="connsiteX56" fmla="*/ 1676400 w 2889264"/>
              <a:gd name="connsiteY56" fmla="*/ 130175 h 733425"/>
              <a:gd name="connsiteX57" fmla="*/ 1689100 w 2889264"/>
              <a:gd name="connsiteY57" fmla="*/ 136525 h 733425"/>
              <a:gd name="connsiteX58" fmla="*/ 1714500 w 2889264"/>
              <a:gd name="connsiteY58" fmla="*/ 146050 h 733425"/>
              <a:gd name="connsiteX59" fmla="*/ 1727200 w 2889264"/>
              <a:gd name="connsiteY59" fmla="*/ 155575 h 733425"/>
              <a:gd name="connsiteX60" fmla="*/ 1758950 w 2889264"/>
              <a:gd name="connsiteY60" fmla="*/ 165100 h 733425"/>
              <a:gd name="connsiteX61" fmla="*/ 1768475 w 2889264"/>
              <a:gd name="connsiteY61" fmla="*/ 171450 h 733425"/>
              <a:gd name="connsiteX62" fmla="*/ 1781175 w 2889264"/>
              <a:gd name="connsiteY62" fmla="*/ 180975 h 733425"/>
              <a:gd name="connsiteX63" fmla="*/ 1793875 w 2889264"/>
              <a:gd name="connsiteY63" fmla="*/ 187325 h 733425"/>
              <a:gd name="connsiteX64" fmla="*/ 1838325 w 2889264"/>
              <a:gd name="connsiteY64" fmla="*/ 212725 h 733425"/>
              <a:gd name="connsiteX65" fmla="*/ 1847850 w 2889264"/>
              <a:gd name="connsiteY65" fmla="*/ 222250 h 733425"/>
              <a:gd name="connsiteX66" fmla="*/ 1885950 w 2889264"/>
              <a:gd name="connsiteY66" fmla="*/ 241300 h 733425"/>
              <a:gd name="connsiteX67" fmla="*/ 1901825 w 2889264"/>
              <a:gd name="connsiteY67" fmla="*/ 250825 h 733425"/>
              <a:gd name="connsiteX68" fmla="*/ 1933575 w 2889264"/>
              <a:gd name="connsiteY68" fmla="*/ 263525 h 733425"/>
              <a:gd name="connsiteX69" fmla="*/ 1962150 w 2889264"/>
              <a:gd name="connsiteY69" fmla="*/ 276225 h 733425"/>
              <a:gd name="connsiteX70" fmla="*/ 1971675 w 2889264"/>
              <a:gd name="connsiteY70" fmla="*/ 282575 h 733425"/>
              <a:gd name="connsiteX71" fmla="*/ 1987550 w 2889264"/>
              <a:gd name="connsiteY71" fmla="*/ 288925 h 733425"/>
              <a:gd name="connsiteX72" fmla="*/ 2022475 w 2889264"/>
              <a:gd name="connsiteY72" fmla="*/ 301625 h 733425"/>
              <a:gd name="connsiteX73" fmla="*/ 2047875 w 2889264"/>
              <a:gd name="connsiteY73" fmla="*/ 314325 h 733425"/>
              <a:gd name="connsiteX74" fmla="*/ 2063750 w 2889264"/>
              <a:gd name="connsiteY74" fmla="*/ 320675 h 733425"/>
              <a:gd name="connsiteX75" fmla="*/ 2082800 w 2889264"/>
              <a:gd name="connsiteY75" fmla="*/ 330200 h 733425"/>
              <a:gd name="connsiteX76" fmla="*/ 2095500 w 2889264"/>
              <a:gd name="connsiteY76" fmla="*/ 333375 h 733425"/>
              <a:gd name="connsiteX77" fmla="*/ 2124075 w 2889264"/>
              <a:gd name="connsiteY77" fmla="*/ 342900 h 733425"/>
              <a:gd name="connsiteX78" fmla="*/ 2159000 w 2889264"/>
              <a:gd name="connsiteY78" fmla="*/ 358775 h 733425"/>
              <a:gd name="connsiteX79" fmla="*/ 2187575 w 2889264"/>
              <a:gd name="connsiteY79" fmla="*/ 377825 h 733425"/>
              <a:gd name="connsiteX80" fmla="*/ 2209800 w 2889264"/>
              <a:gd name="connsiteY80" fmla="*/ 393700 h 733425"/>
              <a:gd name="connsiteX81" fmla="*/ 2247900 w 2889264"/>
              <a:gd name="connsiteY81" fmla="*/ 419100 h 733425"/>
              <a:gd name="connsiteX82" fmla="*/ 2276475 w 2889264"/>
              <a:gd name="connsiteY82" fmla="*/ 434975 h 733425"/>
              <a:gd name="connsiteX83" fmla="*/ 2289175 w 2889264"/>
              <a:gd name="connsiteY83" fmla="*/ 444500 h 733425"/>
              <a:gd name="connsiteX84" fmla="*/ 2308225 w 2889264"/>
              <a:gd name="connsiteY84" fmla="*/ 447675 h 733425"/>
              <a:gd name="connsiteX85" fmla="*/ 2333625 w 2889264"/>
              <a:gd name="connsiteY85" fmla="*/ 460375 h 733425"/>
              <a:gd name="connsiteX86" fmla="*/ 2352675 w 2889264"/>
              <a:gd name="connsiteY86" fmla="*/ 466725 h 733425"/>
              <a:gd name="connsiteX87" fmla="*/ 2397125 w 2889264"/>
              <a:gd name="connsiteY87" fmla="*/ 488950 h 733425"/>
              <a:gd name="connsiteX88" fmla="*/ 2422525 w 2889264"/>
              <a:gd name="connsiteY88" fmla="*/ 495300 h 733425"/>
              <a:gd name="connsiteX89" fmla="*/ 2432050 w 2889264"/>
              <a:gd name="connsiteY89" fmla="*/ 498475 h 733425"/>
              <a:gd name="connsiteX90" fmla="*/ 2454275 w 2889264"/>
              <a:gd name="connsiteY90" fmla="*/ 511175 h 733425"/>
              <a:gd name="connsiteX91" fmla="*/ 2470150 w 2889264"/>
              <a:gd name="connsiteY91" fmla="*/ 523875 h 733425"/>
              <a:gd name="connsiteX92" fmla="*/ 2495550 w 2889264"/>
              <a:gd name="connsiteY92" fmla="*/ 533400 h 733425"/>
              <a:gd name="connsiteX93" fmla="*/ 2546350 w 2889264"/>
              <a:gd name="connsiteY93" fmla="*/ 558800 h 733425"/>
              <a:gd name="connsiteX94" fmla="*/ 2574925 w 2889264"/>
              <a:gd name="connsiteY94" fmla="*/ 565150 h 733425"/>
              <a:gd name="connsiteX95" fmla="*/ 2600325 w 2889264"/>
              <a:gd name="connsiteY95" fmla="*/ 577850 h 733425"/>
              <a:gd name="connsiteX96" fmla="*/ 2616200 w 2889264"/>
              <a:gd name="connsiteY96" fmla="*/ 581025 h 733425"/>
              <a:gd name="connsiteX97" fmla="*/ 2638425 w 2889264"/>
              <a:gd name="connsiteY97" fmla="*/ 587375 h 733425"/>
              <a:gd name="connsiteX98" fmla="*/ 2654300 w 2889264"/>
              <a:gd name="connsiteY98" fmla="*/ 596900 h 733425"/>
              <a:gd name="connsiteX99" fmla="*/ 2673350 w 2889264"/>
              <a:gd name="connsiteY99" fmla="*/ 603250 h 733425"/>
              <a:gd name="connsiteX100" fmla="*/ 2708275 w 2889264"/>
              <a:gd name="connsiteY100" fmla="*/ 625475 h 733425"/>
              <a:gd name="connsiteX101" fmla="*/ 2730500 w 2889264"/>
              <a:gd name="connsiteY101" fmla="*/ 635000 h 733425"/>
              <a:gd name="connsiteX102" fmla="*/ 2749550 w 2889264"/>
              <a:gd name="connsiteY102" fmla="*/ 650875 h 733425"/>
              <a:gd name="connsiteX103" fmla="*/ 2774950 w 2889264"/>
              <a:gd name="connsiteY103" fmla="*/ 663575 h 733425"/>
              <a:gd name="connsiteX104" fmla="*/ 2803525 w 2889264"/>
              <a:gd name="connsiteY104" fmla="*/ 676275 h 733425"/>
              <a:gd name="connsiteX105" fmla="*/ 2816225 w 2889264"/>
              <a:gd name="connsiteY105" fmla="*/ 685800 h 733425"/>
              <a:gd name="connsiteX106" fmla="*/ 2832100 w 2889264"/>
              <a:gd name="connsiteY106" fmla="*/ 692150 h 733425"/>
              <a:gd name="connsiteX107" fmla="*/ 2876550 w 2889264"/>
              <a:gd name="connsiteY107" fmla="*/ 723900 h 733425"/>
              <a:gd name="connsiteX108" fmla="*/ 2889250 w 2889264"/>
              <a:gd name="connsiteY108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584200 w 2889264"/>
              <a:gd name="connsiteY10" fmla="*/ 441325 h 733425"/>
              <a:gd name="connsiteX11" fmla="*/ 612775 w 2889264"/>
              <a:gd name="connsiteY11" fmla="*/ 428625 h 733425"/>
              <a:gd name="connsiteX12" fmla="*/ 628650 w 2889264"/>
              <a:gd name="connsiteY12" fmla="*/ 422275 h 733425"/>
              <a:gd name="connsiteX13" fmla="*/ 657225 w 2889264"/>
              <a:gd name="connsiteY13" fmla="*/ 406400 h 733425"/>
              <a:gd name="connsiteX14" fmla="*/ 736600 w 2889264"/>
              <a:gd name="connsiteY14" fmla="*/ 368300 h 733425"/>
              <a:gd name="connsiteX15" fmla="*/ 742950 w 2889264"/>
              <a:gd name="connsiteY15" fmla="*/ 358775 h 733425"/>
              <a:gd name="connsiteX16" fmla="*/ 790575 w 2889264"/>
              <a:gd name="connsiteY16" fmla="*/ 339725 h 733425"/>
              <a:gd name="connsiteX17" fmla="*/ 800100 w 2889264"/>
              <a:gd name="connsiteY17" fmla="*/ 336550 h 733425"/>
              <a:gd name="connsiteX18" fmla="*/ 812800 w 2889264"/>
              <a:gd name="connsiteY18" fmla="*/ 330200 h 733425"/>
              <a:gd name="connsiteX19" fmla="*/ 828675 w 2889264"/>
              <a:gd name="connsiteY19" fmla="*/ 327025 h 733425"/>
              <a:gd name="connsiteX20" fmla="*/ 898525 w 2889264"/>
              <a:gd name="connsiteY20" fmla="*/ 288925 h 733425"/>
              <a:gd name="connsiteX21" fmla="*/ 923925 w 2889264"/>
              <a:gd name="connsiteY21" fmla="*/ 269875 h 733425"/>
              <a:gd name="connsiteX22" fmla="*/ 933450 w 2889264"/>
              <a:gd name="connsiteY22" fmla="*/ 260350 h 733425"/>
              <a:gd name="connsiteX23" fmla="*/ 958850 w 2889264"/>
              <a:gd name="connsiteY23" fmla="*/ 247650 h 733425"/>
              <a:gd name="connsiteX24" fmla="*/ 968375 w 2889264"/>
              <a:gd name="connsiteY24" fmla="*/ 241300 h 733425"/>
              <a:gd name="connsiteX25" fmla="*/ 984250 w 2889264"/>
              <a:gd name="connsiteY25" fmla="*/ 234950 h 733425"/>
              <a:gd name="connsiteX26" fmla="*/ 1006475 w 2889264"/>
              <a:gd name="connsiteY26" fmla="*/ 225425 h 733425"/>
              <a:gd name="connsiteX27" fmla="*/ 1050925 w 2889264"/>
              <a:gd name="connsiteY27" fmla="*/ 212725 h 733425"/>
              <a:gd name="connsiteX28" fmla="*/ 1079500 w 2889264"/>
              <a:gd name="connsiteY28" fmla="*/ 200025 h 733425"/>
              <a:gd name="connsiteX29" fmla="*/ 1098550 w 2889264"/>
              <a:gd name="connsiteY29" fmla="*/ 193675 h 733425"/>
              <a:gd name="connsiteX30" fmla="*/ 1111250 w 2889264"/>
              <a:gd name="connsiteY30" fmla="*/ 187325 h 733425"/>
              <a:gd name="connsiteX31" fmla="*/ 1136650 w 2889264"/>
              <a:gd name="connsiteY31" fmla="*/ 177800 h 733425"/>
              <a:gd name="connsiteX32" fmla="*/ 1181100 w 2889264"/>
              <a:gd name="connsiteY32" fmla="*/ 152400 h 733425"/>
              <a:gd name="connsiteX33" fmla="*/ 1203325 w 2889264"/>
              <a:gd name="connsiteY33" fmla="*/ 130175 h 733425"/>
              <a:gd name="connsiteX34" fmla="*/ 1219200 w 2889264"/>
              <a:gd name="connsiteY34" fmla="*/ 117475 h 733425"/>
              <a:gd name="connsiteX35" fmla="*/ 1276350 w 2889264"/>
              <a:gd name="connsiteY35" fmla="*/ 85725 h 733425"/>
              <a:gd name="connsiteX36" fmla="*/ 1289050 w 2889264"/>
              <a:gd name="connsiteY36" fmla="*/ 79375 h 733425"/>
              <a:gd name="connsiteX37" fmla="*/ 1327150 w 2889264"/>
              <a:gd name="connsiteY37" fmla="*/ 66675 h 733425"/>
              <a:gd name="connsiteX38" fmla="*/ 1343025 w 2889264"/>
              <a:gd name="connsiteY38" fmla="*/ 57150 h 733425"/>
              <a:gd name="connsiteX39" fmla="*/ 1355725 w 2889264"/>
              <a:gd name="connsiteY39" fmla="*/ 47625 h 733425"/>
              <a:gd name="connsiteX40" fmla="*/ 1377950 w 2889264"/>
              <a:gd name="connsiteY40" fmla="*/ 38100 h 733425"/>
              <a:gd name="connsiteX41" fmla="*/ 1416050 w 2889264"/>
              <a:gd name="connsiteY41" fmla="*/ 12700 h 733425"/>
              <a:gd name="connsiteX42" fmla="*/ 1428750 w 2889264"/>
              <a:gd name="connsiteY42" fmla="*/ 0 h 733425"/>
              <a:gd name="connsiteX43" fmla="*/ 1470025 w 2889264"/>
              <a:gd name="connsiteY43" fmla="*/ 28575 h 733425"/>
              <a:gd name="connsiteX44" fmla="*/ 1504950 w 2889264"/>
              <a:gd name="connsiteY44" fmla="*/ 41275 h 733425"/>
              <a:gd name="connsiteX45" fmla="*/ 1517650 w 2889264"/>
              <a:gd name="connsiteY45" fmla="*/ 50800 h 733425"/>
              <a:gd name="connsiteX46" fmla="*/ 1549400 w 2889264"/>
              <a:gd name="connsiteY46" fmla="*/ 60325 h 733425"/>
              <a:gd name="connsiteX47" fmla="*/ 1562100 w 2889264"/>
              <a:gd name="connsiteY47" fmla="*/ 69850 h 733425"/>
              <a:gd name="connsiteX48" fmla="*/ 1574800 w 2889264"/>
              <a:gd name="connsiteY48" fmla="*/ 73025 h 733425"/>
              <a:gd name="connsiteX49" fmla="*/ 1590675 w 2889264"/>
              <a:gd name="connsiteY49" fmla="*/ 79375 h 733425"/>
              <a:gd name="connsiteX50" fmla="*/ 1600200 w 2889264"/>
              <a:gd name="connsiteY50" fmla="*/ 85725 h 733425"/>
              <a:gd name="connsiteX51" fmla="*/ 1612900 w 2889264"/>
              <a:gd name="connsiteY51" fmla="*/ 92075 h 733425"/>
              <a:gd name="connsiteX52" fmla="*/ 1625600 w 2889264"/>
              <a:gd name="connsiteY52" fmla="*/ 101600 h 733425"/>
              <a:gd name="connsiteX53" fmla="*/ 1635125 w 2889264"/>
              <a:gd name="connsiteY53" fmla="*/ 104775 h 733425"/>
              <a:gd name="connsiteX54" fmla="*/ 1654175 w 2889264"/>
              <a:gd name="connsiteY54" fmla="*/ 114300 h 733425"/>
              <a:gd name="connsiteX55" fmla="*/ 1676400 w 2889264"/>
              <a:gd name="connsiteY55" fmla="*/ 130175 h 733425"/>
              <a:gd name="connsiteX56" fmla="*/ 1689100 w 2889264"/>
              <a:gd name="connsiteY56" fmla="*/ 136525 h 733425"/>
              <a:gd name="connsiteX57" fmla="*/ 1714500 w 2889264"/>
              <a:gd name="connsiteY57" fmla="*/ 146050 h 733425"/>
              <a:gd name="connsiteX58" fmla="*/ 1727200 w 2889264"/>
              <a:gd name="connsiteY58" fmla="*/ 155575 h 733425"/>
              <a:gd name="connsiteX59" fmla="*/ 1758950 w 2889264"/>
              <a:gd name="connsiteY59" fmla="*/ 165100 h 733425"/>
              <a:gd name="connsiteX60" fmla="*/ 1768475 w 2889264"/>
              <a:gd name="connsiteY60" fmla="*/ 171450 h 733425"/>
              <a:gd name="connsiteX61" fmla="*/ 1781175 w 2889264"/>
              <a:gd name="connsiteY61" fmla="*/ 180975 h 733425"/>
              <a:gd name="connsiteX62" fmla="*/ 1793875 w 2889264"/>
              <a:gd name="connsiteY62" fmla="*/ 187325 h 733425"/>
              <a:gd name="connsiteX63" fmla="*/ 1838325 w 2889264"/>
              <a:gd name="connsiteY63" fmla="*/ 212725 h 733425"/>
              <a:gd name="connsiteX64" fmla="*/ 1847850 w 2889264"/>
              <a:gd name="connsiteY64" fmla="*/ 222250 h 733425"/>
              <a:gd name="connsiteX65" fmla="*/ 1885950 w 2889264"/>
              <a:gd name="connsiteY65" fmla="*/ 241300 h 733425"/>
              <a:gd name="connsiteX66" fmla="*/ 1901825 w 2889264"/>
              <a:gd name="connsiteY66" fmla="*/ 250825 h 733425"/>
              <a:gd name="connsiteX67" fmla="*/ 1933575 w 2889264"/>
              <a:gd name="connsiteY67" fmla="*/ 263525 h 733425"/>
              <a:gd name="connsiteX68" fmla="*/ 1962150 w 2889264"/>
              <a:gd name="connsiteY68" fmla="*/ 276225 h 733425"/>
              <a:gd name="connsiteX69" fmla="*/ 1971675 w 2889264"/>
              <a:gd name="connsiteY69" fmla="*/ 282575 h 733425"/>
              <a:gd name="connsiteX70" fmla="*/ 1987550 w 2889264"/>
              <a:gd name="connsiteY70" fmla="*/ 288925 h 733425"/>
              <a:gd name="connsiteX71" fmla="*/ 2022475 w 2889264"/>
              <a:gd name="connsiteY71" fmla="*/ 301625 h 733425"/>
              <a:gd name="connsiteX72" fmla="*/ 2047875 w 2889264"/>
              <a:gd name="connsiteY72" fmla="*/ 314325 h 733425"/>
              <a:gd name="connsiteX73" fmla="*/ 2063750 w 2889264"/>
              <a:gd name="connsiteY73" fmla="*/ 320675 h 733425"/>
              <a:gd name="connsiteX74" fmla="*/ 2082800 w 2889264"/>
              <a:gd name="connsiteY74" fmla="*/ 330200 h 733425"/>
              <a:gd name="connsiteX75" fmla="*/ 2095500 w 2889264"/>
              <a:gd name="connsiteY75" fmla="*/ 333375 h 733425"/>
              <a:gd name="connsiteX76" fmla="*/ 2124075 w 2889264"/>
              <a:gd name="connsiteY76" fmla="*/ 342900 h 733425"/>
              <a:gd name="connsiteX77" fmla="*/ 2159000 w 2889264"/>
              <a:gd name="connsiteY77" fmla="*/ 358775 h 733425"/>
              <a:gd name="connsiteX78" fmla="*/ 2187575 w 2889264"/>
              <a:gd name="connsiteY78" fmla="*/ 377825 h 733425"/>
              <a:gd name="connsiteX79" fmla="*/ 2209800 w 2889264"/>
              <a:gd name="connsiteY79" fmla="*/ 393700 h 733425"/>
              <a:gd name="connsiteX80" fmla="*/ 2247900 w 2889264"/>
              <a:gd name="connsiteY80" fmla="*/ 419100 h 733425"/>
              <a:gd name="connsiteX81" fmla="*/ 2276475 w 2889264"/>
              <a:gd name="connsiteY81" fmla="*/ 434975 h 733425"/>
              <a:gd name="connsiteX82" fmla="*/ 2289175 w 2889264"/>
              <a:gd name="connsiteY82" fmla="*/ 444500 h 733425"/>
              <a:gd name="connsiteX83" fmla="*/ 2308225 w 2889264"/>
              <a:gd name="connsiteY83" fmla="*/ 447675 h 733425"/>
              <a:gd name="connsiteX84" fmla="*/ 2333625 w 2889264"/>
              <a:gd name="connsiteY84" fmla="*/ 460375 h 733425"/>
              <a:gd name="connsiteX85" fmla="*/ 2352675 w 2889264"/>
              <a:gd name="connsiteY85" fmla="*/ 466725 h 733425"/>
              <a:gd name="connsiteX86" fmla="*/ 2397125 w 2889264"/>
              <a:gd name="connsiteY86" fmla="*/ 488950 h 733425"/>
              <a:gd name="connsiteX87" fmla="*/ 2422525 w 2889264"/>
              <a:gd name="connsiteY87" fmla="*/ 495300 h 733425"/>
              <a:gd name="connsiteX88" fmla="*/ 2432050 w 2889264"/>
              <a:gd name="connsiteY88" fmla="*/ 498475 h 733425"/>
              <a:gd name="connsiteX89" fmla="*/ 2454275 w 2889264"/>
              <a:gd name="connsiteY89" fmla="*/ 511175 h 733425"/>
              <a:gd name="connsiteX90" fmla="*/ 2470150 w 2889264"/>
              <a:gd name="connsiteY90" fmla="*/ 523875 h 733425"/>
              <a:gd name="connsiteX91" fmla="*/ 2495550 w 2889264"/>
              <a:gd name="connsiteY91" fmla="*/ 533400 h 733425"/>
              <a:gd name="connsiteX92" fmla="*/ 2546350 w 2889264"/>
              <a:gd name="connsiteY92" fmla="*/ 558800 h 733425"/>
              <a:gd name="connsiteX93" fmla="*/ 2574925 w 2889264"/>
              <a:gd name="connsiteY93" fmla="*/ 565150 h 733425"/>
              <a:gd name="connsiteX94" fmla="*/ 2600325 w 2889264"/>
              <a:gd name="connsiteY94" fmla="*/ 577850 h 733425"/>
              <a:gd name="connsiteX95" fmla="*/ 2616200 w 2889264"/>
              <a:gd name="connsiteY95" fmla="*/ 581025 h 733425"/>
              <a:gd name="connsiteX96" fmla="*/ 2638425 w 2889264"/>
              <a:gd name="connsiteY96" fmla="*/ 587375 h 733425"/>
              <a:gd name="connsiteX97" fmla="*/ 2654300 w 2889264"/>
              <a:gd name="connsiteY97" fmla="*/ 596900 h 733425"/>
              <a:gd name="connsiteX98" fmla="*/ 2673350 w 2889264"/>
              <a:gd name="connsiteY98" fmla="*/ 603250 h 733425"/>
              <a:gd name="connsiteX99" fmla="*/ 2708275 w 2889264"/>
              <a:gd name="connsiteY99" fmla="*/ 625475 h 733425"/>
              <a:gd name="connsiteX100" fmla="*/ 2730500 w 2889264"/>
              <a:gd name="connsiteY100" fmla="*/ 635000 h 733425"/>
              <a:gd name="connsiteX101" fmla="*/ 2749550 w 2889264"/>
              <a:gd name="connsiteY101" fmla="*/ 650875 h 733425"/>
              <a:gd name="connsiteX102" fmla="*/ 2774950 w 2889264"/>
              <a:gd name="connsiteY102" fmla="*/ 663575 h 733425"/>
              <a:gd name="connsiteX103" fmla="*/ 2803525 w 2889264"/>
              <a:gd name="connsiteY103" fmla="*/ 676275 h 733425"/>
              <a:gd name="connsiteX104" fmla="*/ 2816225 w 2889264"/>
              <a:gd name="connsiteY104" fmla="*/ 685800 h 733425"/>
              <a:gd name="connsiteX105" fmla="*/ 2832100 w 2889264"/>
              <a:gd name="connsiteY105" fmla="*/ 692150 h 733425"/>
              <a:gd name="connsiteX106" fmla="*/ 2876550 w 2889264"/>
              <a:gd name="connsiteY106" fmla="*/ 723900 h 733425"/>
              <a:gd name="connsiteX107" fmla="*/ 2889250 w 2889264"/>
              <a:gd name="connsiteY107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584200 w 2889264"/>
              <a:gd name="connsiteY10" fmla="*/ 441325 h 733425"/>
              <a:gd name="connsiteX11" fmla="*/ 612775 w 2889264"/>
              <a:gd name="connsiteY11" fmla="*/ 428625 h 733425"/>
              <a:gd name="connsiteX12" fmla="*/ 628650 w 2889264"/>
              <a:gd name="connsiteY12" fmla="*/ 422275 h 733425"/>
              <a:gd name="connsiteX13" fmla="*/ 657225 w 2889264"/>
              <a:gd name="connsiteY13" fmla="*/ 406400 h 733425"/>
              <a:gd name="connsiteX14" fmla="*/ 736600 w 2889264"/>
              <a:gd name="connsiteY14" fmla="*/ 368300 h 733425"/>
              <a:gd name="connsiteX15" fmla="*/ 790575 w 2889264"/>
              <a:gd name="connsiteY15" fmla="*/ 339725 h 733425"/>
              <a:gd name="connsiteX16" fmla="*/ 800100 w 2889264"/>
              <a:gd name="connsiteY16" fmla="*/ 336550 h 733425"/>
              <a:gd name="connsiteX17" fmla="*/ 812800 w 2889264"/>
              <a:gd name="connsiteY17" fmla="*/ 330200 h 733425"/>
              <a:gd name="connsiteX18" fmla="*/ 828675 w 2889264"/>
              <a:gd name="connsiteY18" fmla="*/ 327025 h 733425"/>
              <a:gd name="connsiteX19" fmla="*/ 898525 w 2889264"/>
              <a:gd name="connsiteY19" fmla="*/ 288925 h 733425"/>
              <a:gd name="connsiteX20" fmla="*/ 923925 w 2889264"/>
              <a:gd name="connsiteY20" fmla="*/ 269875 h 733425"/>
              <a:gd name="connsiteX21" fmla="*/ 933450 w 2889264"/>
              <a:gd name="connsiteY21" fmla="*/ 260350 h 733425"/>
              <a:gd name="connsiteX22" fmla="*/ 958850 w 2889264"/>
              <a:gd name="connsiteY22" fmla="*/ 247650 h 733425"/>
              <a:gd name="connsiteX23" fmla="*/ 968375 w 2889264"/>
              <a:gd name="connsiteY23" fmla="*/ 241300 h 733425"/>
              <a:gd name="connsiteX24" fmla="*/ 984250 w 2889264"/>
              <a:gd name="connsiteY24" fmla="*/ 234950 h 733425"/>
              <a:gd name="connsiteX25" fmla="*/ 1006475 w 2889264"/>
              <a:gd name="connsiteY25" fmla="*/ 225425 h 733425"/>
              <a:gd name="connsiteX26" fmla="*/ 1050925 w 2889264"/>
              <a:gd name="connsiteY26" fmla="*/ 212725 h 733425"/>
              <a:gd name="connsiteX27" fmla="*/ 1079500 w 2889264"/>
              <a:gd name="connsiteY27" fmla="*/ 200025 h 733425"/>
              <a:gd name="connsiteX28" fmla="*/ 1098550 w 2889264"/>
              <a:gd name="connsiteY28" fmla="*/ 193675 h 733425"/>
              <a:gd name="connsiteX29" fmla="*/ 1111250 w 2889264"/>
              <a:gd name="connsiteY29" fmla="*/ 187325 h 733425"/>
              <a:gd name="connsiteX30" fmla="*/ 1136650 w 2889264"/>
              <a:gd name="connsiteY30" fmla="*/ 177800 h 733425"/>
              <a:gd name="connsiteX31" fmla="*/ 1181100 w 2889264"/>
              <a:gd name="connsiteY31" fmla="*/ 152400 h 733425"/>
              <a:gd name="connsiteX32" fmla="*/ 1203325 w 2889264"/>
              <a:gd name="connsiteY32" fmla="*/ 130175 h 733425"/>
              <a:gd name="connsiteX33" fmla="*/ 1219200 w 2889264"/>
              <a:gd name="connsiteY33" fmla="*/ 117475 h 733425"/>
              <a:gd name="connsiteX34" fmla="*/ 1276350 w 2889264"/>
              <a:gd name="connsiteY34" fmla="*/ 85725 h 733425"/>
              <a:gd name="connsiteX35" fmla="*/ 1289050 w 2889264"/>
              <a:gd name="connsiteY35" fmla="*/ 79375 h 733425"/>
              <a:gd name="connsiteX36" fmla="*/ 1327150 w 2889264"/>
              <a:gd name="connsiteY36" fmla="*/ 66675 h 733425"/>
              <a:gd name="connsiteX37" fmla="*/ 1343025 w 2889264"/>
              <a:gd name="connsiteY37" fmla="*/ 57150 h 733425"/>
              <a:gd name="connsiteX38" fmla="*/ 1355725 w 2889264"/>
              <a:gd name="connsiteY38" fmla="*/ 47625 h 733425"/>
              <a:gd name="connsiteX39" fmla="*/ 1377950 w 2889264"/>
              <a:gd name="connsiteY39" fmla="*/ 38100 h 733425"/>
              <a:gd name="connsiteX40" fmla="*/ 1416050 w 2889264"/>
              <a:gd name="connsiteY40" fmla="*/ 12700 h 733425"/>
              <a:gd name="connsiteX41" fmla="*/ 1428750 w 2889264"/>
              <a:gd name="connsiteY41" fmla="*/ 0 h 733425"/>
              <a:gd name="connsiteX42" fmla="*/ 1470025 w 2889264"/>
              <a:gd name="connsiteY42" fmla="*/ 28575 h 733425"/>
              <a:gd name="connsiteX43" fmla="*/ 1504950 w 2889264"/>
              <a:gd name="connsiteY43" fmla="*/ 41275 h 733425"/>
              <a:gd name="connsiteX44" fmla="*/ 1517650 w 2889264"/>
              <a:gd name="connsiteY44" fmla="*/ 50800 h 733425"/>
              <a:gd name="connsiteX45" fmla="*/ 1549400 w 2889264"/>
              <a:gd name="connsiteY45" fmla="*/ 60325 h 733425"/>
              <a:gd name="connsiteX46" fmla="*/ 1562100 w 2889264"/>
              <a:gd name="connsiteY46" fmla="*/ 69850 h 733425"/>
              <a:gd name="connsiteX47" fmla="*/ 1574800 w 2889264"/>
              <a:gd name="connsiteY47" fmla="*/ 73025 h 733425"/>
              <a:gd name="connsiteX48" fmla="*/ 1590675 w 2889264"/>
              <a:gd name="connsiteY48" fmla="*/ 79375 h 733425"/>
              <a:gd name="connsiteX49" fmla="*/ 1600200 w 2889264"/>
              <a:gd name="connsiteY49" fmla="*/ 85725 h 733425"/>
              <a:gd name="connsiteX50" fmla="*/ 1612900 w 2889264"/>
              <a:gd name="connsiteY50" fmla="*/ 92075 h 733425"/>
              <a:gd name="connsiteX51" fmla="*/ 1625600 w 2889264"/>
              <a:gd name="connsiteY51" fmla="*/ 101600 h 733425"/>
              <a:gd name="connsiteX52" fmla="*/ 1635125 w 2889264"/>
              <a:gd name="connsiteY52" fmla="*/ 104775 h 733425"/>
              <a:gd name="connsiteX53" fmla="*/ 1654175 w 2889264"/>
              <a:gd name="connsiteY53" fmla="*/ 114300 h 733425"/>
              <a:gd name="connsiteX54" fmla="*/ 1676400 w 2889264"/>
              <a:gd name="connsiteY54" fmla="*/ 130175 h 733425"/>
              <a:gd name="connsiteX55" fmla="*/ 1689100 w 2889264"/>
              <a:gd name="connsiteY55" fmla="*/ 136525 h 733425"/>
              <a:gd name="connsiteX56" fmla="*/ 1714500 w 2889264"/>
              <a:gd name="connsiteY56" fmla="*/ 146050 h 733425"/>
              <a:gd name="connsiteX57" fmla="*/ 1727200 w 2889264"/>
              <a:gd name="connsiteY57" fmla="*/ 155575 h 733425"/>
              <a:gd name="connsiteX58" fmla="*/ 1758950 w 2889264"/>
              <a:gd name="connsiteY58" fmla="*/ 165100 h 733425"/>
              <a:gd name="connsiteX59" fmla="*/ 1768475 w 2889264"/>
              <a:gd name="connsiteY59" fmla="*/ 171450 h 733425"/>
              <a:gd name="connsiteX60" fmla="*/ 1781175 w 2889264"/>
              <a:gd name="connsiteY60" fmla="*/ 180975 h 733425"/>
              <a:gd name="connsiteX61" fmla="*/ 1793875 w 2889264"/>
              <a:gd name="connsiteY61" fmla="*/ 187325 h 733425"/>
              <a:gd name="connsiteX62" fmla="*/ 1838325 w 2889264"/>
              <a:gd name="connsiteY62" fmla="*/ 212725 h 733425"/>
              <a:gd name="connsiteX63" fmla="*/ 1847850 w 2889264"/>
              <a:gd name="connsiteY63" fmla="*/ 222250 h 733425"/>
              <a:gd name="connsiteX64" fmla="*/ 1885950 w 2889264"/>
              <a:gd name="connsiteY64" fmla="*/ 241300 h 733425"/>
              <a:gd name="connsiteX65" fmla="*/ 1901825 w 2889264"/>
              <a:gd name="connsiteY65" fmla="*/ 250825 h 733425"/>
              <a:gd name="connsiteX66" fmla="*/ 1933575 w 2889264"/>
              <a:gd name="connsiteY66" fmla="*/ 263525 h 733425"/>
              <a:gd name="connsiteX67" fmla="*/ 1962150 w 2889264"/>
              <a:gd name="connsiteY67" fmla="*/ 276225 h 733425"/>
              <a:gd name="connsiteX68" fmla="*/ 1971675 w 2889264"/>
              <a:gd name="connsiteY68" fmla="*/ 282575 h 733425"/>
              <a:gd name="connsiteX69" fmla="*/ 1987550 w 2889264"/>
              <a:gd name="connsiteY69" fmla="*/ 288925 h 733425"/>
              <a:gd name="connsiteX70" fmla="*/ 2022475 w 2889264"/>
              <a:gd name="connsiteY70" fmla="*/ 301625 h 733425"/>
              <a:gd name="connsiteX71" fmla="*/ 2047875 w 2889264"/>
              <a:gd name="connsiteY71" fmla="*/ 314325 h 733425"/>
              <a:gd name="connsiteX72" fmla="*/ 2063750 w 2889264"/>
              <a:gd name="connsiteY72" fmla="*/ 320675 h 733425"/>
              <a:gd name="connsiteX73" fmla="*/ 2082800 w 2889264"/>
              <a:gd name="connsiteY73" fmla="*/ 330200 h 733425"/>
              <a:gd name="connsiteX74" fmla="*/ 2095500 w 2889264"/>
              <a:gd name="connsiteY74" fmla="*/ 333375 h 733425"/>
              <a:gd name="connsiteX75" fmla="*/ 2124075 w 2889264"/>
              <a:gd name="connsiteY75" fmla="*/ 342900 h 733425"/>
              <a:gd name="connsiteX76" fmla="*/ 2159000 w 2889264"/>
              <a:gd name="connsiteY76" fmla="*/ 358775 h 733425"/>
              <a:gd name="connsiteX77" fmla="*/ 2187575 w 2889264"/>
              <a:gd name="connsiteY77" fmla="*/ 377825 h 733425"/>
              <a:gd name="connsiteX78" fmla="*/ 2209800 w 2889264"/>
              <a:gd name="connsiteY78" fmla="*/ 393700 h 733425"/>
              <a:gd name="connsiteX79" fmla="*/ 2247900 w 2889264"/>
              <a:gd name="connsiteY79" fmla="*/ 419100 h 733425"/>
              <a:gd name="connsiteX80" fmla="*/ 2276475 w 2889264"/>
              <a:gd name="connsiteY80" fmla="*/ 434975 h 733425"/>
              <a:gd name="connsiteX81" fmla="*/ 2289175 w 2889264"/>
              <a:gd name="connsiteY81" fmla="*/ 444500 h 733425"/>
              <a:gd name="connsiteX82" fmla="*/ 2308225 w 2889264"/>
              <a:gd name="connsiteY82" fmla="*/ 447675 h 733425"/>
              <a:gd name="connsiteX83" fmla="*/ 2333625 w 2889264"/>
              <a:gd name="connsiteY83" fmla="*/ 460375 h 733425"/>
              <a:gd name="connsiteX84" fmla="*/ 2352675 w 2889264"/>
              <a:gd name="connsiteY84" fmla="*/ 466725 h 733425"/>
              <a:gd name="connsiteX85" fmla="*/ 2397125 w 2889264"/>
              <a:gd name="connsiteY85" fmla="*/ 488950 h 733425"/>
              <a:gd name="connsiteX86" fmla="*/ 2422525 w 2889264"/>
              <a:gd name="connsiteY86" fmla="*/ 495300 h 733425"/>
              <a:gd name="connsiteX87" fmla="*/ 2432050 w 2889264"/>
              <a:gd name="connsiteY87" fmla="*/ 498475 h 733425"/>
              <a:gd name="connsiteX88" fmla="*/ 2454275 w 2889264"/>
              <a:gd name="connsiteY88" fmla="*/ 511175 h 733425"/>
              <a:gd name="connsiteX89" fmla="*/ 2470150 w 2889264"/>
              <a:gd name="connsiteY89" fmla="*/ 523875 h 733425"/>
              <a:gd name="connsiteX90" fmla="*/ 2495550 w 2889264"/>
              <a:gd name="connsiteY90" fmla="*/ 533400 h 733425"/>
              <a:gd name="connsiteX91" fmla="*/ 2546350 w 2889264"/>
              <a:gd name="connsiteY91" fmla="*/ 558800 h 733425"/>
              <a:gd name="connsiteX92" fmla="*/ 2574925 w 2889264"/>
              <a:gd name="connsiteY92" fmla="*/ 565150 h 733425"/>
              <a:gd name="connsiteX93" fmla="*/ 2600325 w 2889264"/>
              <a:gd name="connsiteY93" fmla="*/ 577850 h 733425"/>
              <a:gd name="connsiteX94" fmla="*/ 2616200 w 2889264"/>
              <a:gd name="connsiteY94" fmla="*/ 581025 h 733425"/>
              <a:gd name="connsiteX95" fmla="*/ 2638425 w 2889264"/>
              <a:gd name="connsiteY95" fmla="*/ 587375 h 733425"/>
              <a:gd name="connsiteX96" fmla="*/ 2654300 w 2889264"/>
              <a:gd name="connsiteY96" fmla="*/ 596900 h 733425"/>
              <a:gd name="connsiteX97" fmla="*/ 2673350 w 2889264"/>
              <a:gd name="connsiteY97" fmla="*/ 603250 h 733425"/>
              <a:gd name="connsiteX98" fmla="*/ 2708275 w 2889264"/>
              <a:gd name="connsiteY98" fmla="*/ 625475 h 733425"/>
              <a:gd name="connsiteX99" fmla="*/ 2730500 w 2889264"/>
              <a:gd name="connsiteY99" fmla="*/ 635000 h 733425"/>
              <a:gd name="connsiteX100" fmla="*/ 2749550 w 2889264"/>
              <a:gd name="connsiteY100" fmla="*/ 650875 h 733425"/>
              <a:gd name="connsiteX101" fmla="*/ 2774950 w 2889264"/>
              <a:gd name="connsiteY101" fmla="*/ 663575 h 733425"/>
              <a:gd name="connsiteX102" fmla="*/ 2803525 w 2889264"/>
              <a:gd name="connsiteY102" fmla="*/ 676275 h 733425"/>
              <a:gd name="connsiteX103" fmla="*/ 2816225 w 2889264"/>
              <a:gd name="connsiteY103" fmla="*/ 685800 h 733425"/>
              <a:gd name="connsiteX104" fmla="*/ 2832100 w 2889264"/>
              <a:gd name="connsiteY104" fmla="*/ 692150 h 733425"/>
              <a:gd name="connsiteX105" fmla="*/ 2876550 w 2889264"/>
              <a:gd name="connsiteY105" fmla="*/ 723900 h 733425"/>
              <a:gd name="connsiteX106" fmla="*/ 2889250 w 2889264"/>
              <a:gd name="connsiteY106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584200 w 2889264"/>
              <a:gd name="connsiteY10" fmla="*/ 441325 h 733425"/>
              <a:gd name="connsiteX11" fmla="*/ 612775 w 2889264"/>
              <a:gd name="connsiteY11" fmla="*/ 428625 h 733425"/>
              <a:gd name="connsiteX12" fmla="*/ 628650 w 2889264"/>
              <a:gd name="connsiteY12" fmla="*/ 422275 h 733425"/>
              <a:gd name="connsiteX13" fmla="*/ 657225 w 2889264"/>
              <a:gd name="connsiteY13" fmla="*/ 406400 h 733425"/>
              <a:gd name="connsiteX14" fmla="*/ 736600 w 2889264"/>
              <a:gd name="connsiteY14" fmla="*/ 368300 h 733425"/>
              <a:gd name="connsiteX15" fmla="*/ 800100 w 2889264"/>
              <a:gd name="connsiteY15" fmla="*/ 336550 h 733425"/>
              <a:gd name="connsiteX16" fmla="*/ 812800 w 2889264"/>
              <a:gd name="connsiteY16" fmla="*/ 330200 h 733425"/>
              <a:gd name="connsiteX17" fmla="*/ 828675 w 2889264"/>
              <a:gd name="connsiteY17" fmla="*/ 327025 h 733425"/>
              <a:gd name="connsiteX18" fmla="*/ 898525 w 2889264"/>
              <a:gd name="connsiteY18" fmla="*/ 288925 h 733425"/>
              <a:gd name="connsiteX19" fmla="*/ 923925 w 2889264"/>
              <a:gd name="connsiteY19" fmla="*/ 269875 h 733425"/>
              <a:gd name="connsiteX20" fmla="*/ 933450 w 2889264"/>
              <a:gd name="connsiteY20" fmla="*/ 260350 h 733425"/>
              <a:gd name="connsiteX21" fmla="*/ 958850 w 2889264"/>
              <a:gd name="connsiteY21" fmla="*/ 247650 h 733425"/>
              <a:gd name="connsiteX22" fmla="*/ 968375 w 2889264"/>
              <a:gd name="connsiteY22" fmla="*/ 241300 h 733425"/>
              <a:gd name="connsiteX23" fmla="*/ 984250 w 2889264"/>
              <a:gd name="connsiteY23" fmla="*/ 234950 h 733425"/>
              <a:gd name="connsiteX24" fmla="*/ 1006475 w 2889264"/>
              <a:gd name="connsiteY24" fmla="*/ 225425 h 733425"/>
              <a:gd name="connsiteX25" fmla="*/ 1050925 w 2889264"/>
              <a:gd name="connsiteY25" fmla="*/ 212725 h 733425"/>
              <a:gd name="connsiteX26" fmla="*/ 1079500 w 2889264"/>
              <a:gd name="connsiteY26" fmla="*/ 200025 h 733425"/>
              <a:gd name="connsiteX27" fmla="*/ 1098550 w 2889264"/>
              <a:gd name="connsiteY27" fmla="*/ 193675 h 733425"/>
              <a:gd name="connsiteX28" fmla="*/ 1111250 w 2889264"/>
              <a:gd name="connsiteY28" fmla="*/ 187325 h 733425"/>
              <a:gd name="connsiteX29" fmla="*/ 1136650 w 2889264"/>
              <a:gd name="connsiteY29" fmla="*/ 177800 h 733425"/>
              <a:gd name="connsiteX30" fmla="*/ 1181100 w 2889264"/>
              <a:gd name="connsiteY30" fmla="*/ 152400 h 733425"/>
              <a:gd name="connsiteX31" fmla="*/ 1203325 w 2889264"/>
              <a:gd name="connsiteY31" fmla="*/ 130175 h 733425"/>
              <a:gd name="connsiteX32" fmla="*/ 1219200 w 2889264"/>
              <a:gd name="connsiteY32" fmla="*/ 117475 h 733425"/>
              <a:gd name="connsiteX33" fmla="*/ 1276350 w 2889264"/>
              <a:gd name="connsiteY33" fmla="*/ 85725 h 733425"/>
              <a:gd name="connsiteX34" fmla="*/ 1289050 w 2889264"/>
              <a:gd name="connsiteY34" fmla="*/ 79375 h 733425"/>
              <a:gd name="connsiteX35" fmla="*/ 1327150 w 2889264"/>
              <a:gd name="connsiteY35" fmla="*/ 66675 h 733425"/>
              <a:gd name="connsiteX36" fmla="*/ 1343025 w 2889264"/>
              <a:gd name="connsiteY36" fmla="*/ 57150 h 733425"/>
              <a:gd name="connsiteX37" fmla="*/ 1355725 w 2889264"/>
              <a:gd name="connsiteY37" fmla="*/ 47625 h 733425"/>
              <a:gd name="connsiteX38" fmla="*/ 1377950 w 2889264"/>
              <a:gd name="connsiteY38" fmla="*/ 38100 h 733425"/>
              <a:gd name="connsiteX39" fmla="*/ 1416050 w 2889264"/>
              <a:gd name="connsiteY39" fmla="*/ 12700 h 733425"/>
              <a:gd name="connsiteX40" fmla="*/ 1428750 w 2889264"/>
              <a:gd name="connsiteY40" fmla="*/ 0 h 733425"/>
              <a:gd name="connsiteX41" fmla="*/ 1470025 w 2889264"/>
              <a:gd name="connsiteY41" fmla="*/ 28575 h 733425"/>
              <a:gd name="connsiteX42" fmla="*/ 1504950 w 2889264"/>
              <a:gd name="connsiteY42" fmla="*/ 41275 h 733425"/>
              <a:gd name="connsiteX43" fmla="*/ 1517650 w 2889264"/>
              <a:gd name="connsiteY43" fmla="*/ 50800 h 733425"/>
              <a:gd name="connsiteX44" fmla="*/ 1549400 w 2889264"/>
              <a:gd name="connsiteY44" fmla="*/ 60325 h 733425"/>
              <a:gd name="connsiteX45" fmla="*/ 1562100 w 2889264"/>
              <a:gd name="connsiteY45" fmla="*/ 69850 h 733425"/>
              <a:gd name="connsiteX46" fmla="*/ 1574800 w 2889264"/>
              <a:gd name="connsiteY46" fmla="*/ 73025 h 733425"/>
              <a:gd name="connsiteX47" fmla="*/ 1590675 w 2889264"/>
              <a:gd name="connsiteY47" fmla="*/ 79375 h 733425"/>
              <a:gd name="connsiteX48" fmla="*/ 1600200 w 2889264"/>
              <a:gd name="connsiteY48" fmla="*/ 85725 h 733425"/>
              <a:gd name="connsiteX49" fmla="*/ 1612900 w 2889264"/>
              <a:gd name="connsiteY49" fmla="*/ 92075 h 733425"/>
              <a:gd name="connsiteX50" fmla="*/ 1625600 w 2889264"/>
              <a:gd name="connsiteY50" fmla="*/ 101600 h 733425"/>
              <a:gd name="connsiteX51" fmla="*/ 1635125 w 2889264"/>
              <a:gd name="connsiteY51" fmla="*/ 104775 h 733425"/>
              <a:gd name="connsiteX52" fmla="*/ 1654175 w 2889264"/>
              <a:gd name="connsiteY52" fmla="*/ 114300 h 733425"/>
              <a:gd name="connsiteX53" fmla="*/ 1676400 w 2889264"/>
              <a:gd name="connsiteY53" fmla="*/ 130175 h 733425"/>
              <a:gd name="connsiteX54" fmla="*/ 1689100 w 2889264"/>
              <a:gd name="connsiteY54" fmla="*/ 136525 h 733425"/>
              <a:gd name="connsiteX55" fmla="*/ 1714500 w 2889264"/>
              <a:gd name="connsiteY55" fmla="*/ 146050 h 733425"/>
              <a:gd name="connsiteX56" fmla="*/ 1727200 w 2889264"/>
              <a:gd name="connsiteY56" fmla="*/ 155575 h 733425"/>
              <a:gd name="connsiteX57" fmla="*/ 1758950 w 2889264"/>
              <a:gd name="connsiteY57" fmla="*/ 165100 h 733425"/>
              <a:gd name="connsiteX58" fmla="*/ 1768475 w 2889264"/>
              <a:gd name="connsiteY58" fmla="*/ 171450 h 733425"/>
              <a:gd name="connsiteX59" fmla="*/ 1781175 w 2889264"/>
              <a:gd name="connsiteY59" fmla="*/ 180975 h 733425"/>
              <a:gd name="connsiteX60" fmla="*/ 1793875 w 2889264"/>
              <a:gd name="connsiteY60" fmla="*/ 187325 h 733425"/>
              <a:gd name="connsiteX61" fmla="*/ 1838325 w 2889264"/>
              <a:gd name="connsiteY61" fmla="*/ 212725 h 733425"/>
              <a:gd name="connsiteX62" fmla="*/ 1847850 w 2889264"/>
              <a:gd name="connsiteY62" fmla="*/ 222250 h 733425"/>
              <a:gd name="connsiteX63" fmla="*/ 1885950 w 2889264"/>
              <a:gd name="connsiteY63" fmla="*/ 241300 h 733425"/>
              <a:gd name="connsiteX64" fmla="*/ 1901825 w 2889264"/>
              <a:gd name="connsiteY64" fmla="*/ 250825 h 733425"/>
              <a:gd name="connsiteX65" fmla="*/ 1933575 w 2889264"/>
              <a:gd name="connsiteY65" fmla="*/ 263525 h 733425"/>
              <a:gd name="connsiteX66" fmla="*/ 1962150 w 2889264"/>
              <a:gd name="connsiteY66" fmla="*/ 276225 h 733425"/>
              <a:gd name="connsiteX67" fmla="*/ 1971675 w 2889264"/>
              <a:gd name="connsiteY67" fmla="*/ 282575 h 733425"/>
              <a:gd name="connsiteX68" fmla="*/ 1987550 w 2889264"/>
              <a:gd name="connsiteY68" fmla="*/ 288925 h 733425"/>
              <a:gd name="connsiteX69" fmla="*/ 2022475 w 2889264"/>
              <a:gd name="connsiteY69" fmla="*/ 301625 h 733425"/>
              <a:gd name="connsiteX70" fmla="*/ 2047875 w 2889264"/>
              <a:gd name="connsiteY70" fmla="*/ 314325 h 733425"/>
              <a:gd name="connsiteX71" fmla="*/ 2063750 w 2889264"/>
              <a:gd name="connsiteY71" fmla="*/ 320675 h 733425"/>
              <a:gd name="connsiteX72" fmla="*/ 2082800 w 2889264"/>
              <a:gd name="connsiteY72" fmla="*/ 330200 h 733425"/>
              <a:gd name="connsiteX73" fmla="*/ 2095500 w 2889264"/>
              <a:gd name="connsiteY73" fmla="*/ 333375 h 733425"/>
              <a:gd name="connsiteX74" fmla="*/ 2124075 w 2889264"/>
              <a:gd name="connsiteY74" fmla="*/ 342900 h 733425"/>
              <a:gd name="connsiteX75" fmla="*/ 2159000 w 2889264"/>
              <a:gd name="connsiteY75" fmla="*/ 358775 h 733425"/>
              <a:gd name="connsiteX76" fmla="*/ 2187575 w 2889264"/>
              <a:gd name="connsiteY76" fmla="*/ 377825 h 733425"/>
              <a:gd name="connsiteX77" fmla="*/ 2209800 w 2889264"/>
              <a:gd name="connsiteY77" fmla="*/ 393700 h 733425"/>
              <a:gd name="connsiteX78" fmla="*/ 2247900 w 2889264"/>
              <a:gd name="connsiteY78" fmla="*/ 419100 h 733425"/>
              <a:gd name="connsiteX79" fmla="*/ 2276475 w 2889264"/>
              <a:gd name="connsiteY79" fmla="*/ 434975 h 733425"/>
              <a:gd name="connsiteX80" fmla="*/ 2289175 w 2889264"/>
              <a:gd name="connsiteY80" fmla="*/ 444500 h 733425"/>
              <a:gd name="connsiteX81" fmla="*/ 2308225 w 2889264"/>
              <a:gd name="connsiteY81" fmla="*/ 447675 h 733425"/>
              <a:gd name="connsiteX82" fmla="*/ 2333625 w 2889264"/>
              <a:gd name="connsiteY82" fmla="*/ 460375 h 733425"/>
              <a:gd name="connsiteX83" fmla="*/ 2352675 w 2889264"/>
              <a:gd name="connsiteY83" fmla="*/ 466725 h 733425"/>
              <a:gd name="connsiteX84" fmla="*/ 2397125 w 2889264"/>
              <a:gd name="connsiteY84" fmla="*/ 488950 h 733425"/>
              <a:gd name="connsiteX85" fmla="*/ 2422525 w 2889264"/>
              <a:gd name="connsiteY85" fmla="*/ 495300 h 733425"/>
              <a:gd name="connsiteX86" fmla="*/ 2432050 w 2889264"/>
              <a:gd name="connsiteY86" fmla="*/ 498475 h 733425"/>
              <a:gd name="connsiteX87" fmla="*/ 2454275 w 2889264"/>
              <a:gd name="connsiteY87" fmla="*/ 511175 h 733425"/>
              <a:gd name="connsiteX88" fmla="*/ 2470150 w 2889264"/>
              <a:gd name="connsiteY88" fmla="*/ 523875 h 733425"/>
              <a:gd name="connsiteX89" fmla="*/ 2495550 w 2889264"/>
              <a:gd name="connsiteY89" fmla="*/ 533400 h 733425"/>
              <a:gd name="connsiteX90" fmla="*/ 2546350 w 2889264"/>
              <a:gd name="connsiteY90" fmla="*/ 558800 h 733425"/>
              <a:gd name="connsiteX91" fmla="*/ 2574925 w 2889264"/>
              <a:gd name="connsiteY91" fmla="*/ 565150 h 733425"/>
              <a:gd name="connsiteX92" fmla="*/ 2600325 w 2889264"/>
              <a:gd name="connsiteY92" fmla="*/ 577850 h 733425"/>
              <a:gd name="connsiteX93" fmla="*/ 2616200 w 2889264"/>
              <a:gd name="connsiteY93" fmla="*/ 581025 h 733425"/>
              <a:gd name="connsiteX94" fmla="*/ 2638425 w 2889264"/>
              <a:gd name="connsiteY94" fmla="*/ 587375 h 733425"/>
              <a:gd name="connsiteX95" fmla="*/ 2654300 w 2889264"/>
              <a:gd name="connsiteY95" fmla="*/ 596900 h 733425"/>
              <a:gd name="connsiteX96" fmla="*/ 2673350 w 2889264"/>
              <a:gd name="connsiteY96" fmla="*/ 603250 h 733425"/>
              <a:gd name="connsiteX97" fmla="*/ 2708275 w 2889264"/>
              <a:gd name="connsiteY97" fmla="*/ 625475 h 733425"/>
              <a:gd name="connsiteX98" fmla="*/ 2730500 w 2889264"/>
              <a:gd name="connsiteY98" fmla="*/ 635000 h 733425"/>
              <a:gd name="connsiteX99" fmla="*/ 2749550 w 2889264"/>
              <a:gd name="connsiteY99" fmla="*/ 650875 h 733425"/>
              <a:gd name="connsiteX100" fmla="*/ 2774950 w 2889264"/>
              <a:gd name="connsiteY100" fmla="*/ 663575 h 733425"/>
              <a:gd name="connsiteX101" fmla="*/ 2803525 w 2889264"/>
              <a:gd name="connsiteY101" fmla="*/ 676275 h 733425"/>
              <a:gd name="connsiteX102" fmla="*/ 2816225 w 2889264"/>
              <a:gd name="connsiteY102" fmla="*/ 685800 h 733425"/>
              <a:gd name="connsiteX103" fmla="*/ 2832100 w 2889264"/>
              <a:gd name="connsiteY103" fmla="*/ 692150 h 733425"/>
              <a:gd name="connsiteX104" fmla="*/ 2876550 w 2889264"/>
              <a:gd name="connsiteY104" fmla="*/ 723900 h 733425"/>
              <a:gd name="connsiteX105" fmla="*/ 2889250 w 2889264"/>
              <a:gd name="connsiteY105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584200 w 2889264"/>
              <a:gd name="connsiteY10" fmla="*/ 441325 h 733425"/>
              <a:gd name="connsiteX11" fmla="*/ 612775 w 2889264"/>
              <a:gd name="connsiteY11" fmla="*/ 428625 h 733425"/>
              <a:gd name="connsiteX12" fmla="*/ 628650 w 2889264"/>
              <a:gd name="connsiteY12" fmla="*/ 422275 h 733425"/>
              <a:gd name="connsiteX13" fmla="*/ 657225 w 2889264"/>
              <a:gd name="connsiteY13" fmla="*/ 406400 h 733425"/>
              <a:gd name="connsiteX14" fmla="*/ 736600 w 2889264"/>
              <a:gd name="connsiteY14" fmla="*/ 368300 h 733425"/>
              <a:gd name="connsiteX15" fmla="*/ 800100 w 2889264"/>
              <a:gd name="connsiteY15" fmla="*/ 336550 h 733425"/>
              <a:gd name="connsiteX16" fmla="*/ 828675 w 2889264"/>
              <a:gd name="connsiteY16" fmla="*/ 327025 h 733425"/>
              <a:gd name="connsiteX17" fmla="*/ 898525 w 2889264"/>
              <a:gd name="connsiteY17" fmla="*/ 288925 h 733425"/>
              <a:gd name="connsiteX18" fmla="*/ 923925 w 2889264"/>
              <a:gd name="connsiteY18" fmla="*/ 269875 h 733425"/>
              <a:gd name="connsiteX19" fmla="*/ 933450 w 2889264"/>
              <a:gd name="connsiteY19" fmla="*/ 260350 h 733425"/>
              <a:gd name="connsiteX20" fmla="*/ 958850 w 2889264"/>
              <a:gd name="connsiteY20" fmla="*/ 247650 h 733425"/>
              <a:gd name="connsiteX21" fmla="*/ 968375 w 2889264"/>
              <a:gd name="connsiteY21" fmla="*/ 241300 h 733425"/>
              <a:gd name="connsiteX22" fmla="*/ 984250 w 2889264"/>
              <a:gd name="connsiteY22" fmla="*/ 234950 h 733425"/>
              <a:gd name="connsiteX23" fmla="*/ 1006475 w 2889264"/>
              <a:gd name="connsiteY23" fmla="*/ 225425 h 733425"/>
              <a:gd name="connsiteX24" fmla="*/ 1050925 w 2889264"/>
              <a:gd name="connsiteY24" fmla="*/ 212725 h 733425"/>
              <a:gd name="connsiteX25" fmla="*/ 1079500 w 2889264"/>
              <a:gd name="connsiteY25" fmla="*/ 200025 h 733425"/>
              <a:gd name="connsiteX26" fmla="*/ 1098550 w 2889264"/>
              <a:gd name="connsiteY26" fmla="*/ 193675 h 733425"/>
              <a:gd name="connsiteX27" fmla="*/ 1111250 w 2889264"/>
              <a:gd name="connsiteY27" fmla="*/ 187325 h 733425"/>
              <a:gd name="connsiteX28" fmla="*/ 1136650 w 2889264"/>
              <a:gd name="connsiteY28" fmla="*/ 177800 h 733425"/>
              <a:gd name="connsiteX29" fmla="*/ 1181100 w 2889264"/>
              <a:gd name="connsiteY29" fmla="*/ 152400 h 733425"/>
              <a:gd name="connsiteX30" fmla="*/ 1203325 w 2889264"/>
              <a:gd name="connsiteY30" fmla="*/ 130175 h 733425"/>
              <a:gd name="connsiteX31" fmla="*/ 1219200 w 2889264"/>
              <a:gd name="connsiteY31" fmla="*/ 117475 h 733425"/>
              <a:gd name="connsiteX32" fmla="*/ 1276350 w 2889264"/>
              <a:gd name="connsiteY32" fmla="*/ 85725 h 733425"/>
              <a:gd name="connsiteX33" fmla="*/ 1289050 w 2889264"/>
              <a:gd name="connsiteY33" fmla="*/ 79375 h 733425"/>
              <a:gd name="connsiteX34" fmla="*/ 1327150 w 2889264"/>
              <a:gd name="connsiteY34" fmla="*/ 66675 h 733425"/>
              <a:gd name="connsiteX35" fmla="*/ 1343025 w 2889264"/>
              <a:gd name="connsiteY35" fmla="*/ 57150 h 733425"/>
              <a:gd name="connsiteX36" fmla="*/ 1355725 w 2889264"/>
              <a:gd name="connsiteY36" fmla="*/ 47625 h 733425"/>
              <a:gd name="connsiteX37" fmla="*/ 1377950 w 2889264"/>
              <a:gd name="connsiteY37" fmla="*/ 38100 h 733425"/>
              <a:gd name="connsiteX38" fmla="*/ 1416050 w 2889264"/>
              <a:gd name="connsiteY38" fmla="*/ 12700 h 733425"/>
              <a:gd name="connsiteX39" fmla="*/ 1428750 w 2889264"/>
              <a:gd name="connsiteY39" fmla="*/ 0 h 733425"/>
              <a:gd name="connsiteX40" fmla="*/ 1470025 w 2889264"/>
              <a:gd name="connsiteY40" fmla="*/ 28575 h 733425"/>
              <a:gd name="connsiteX41" fmla="*/ 1504950 w 2889264"/>
              <a:gd name="connsiteY41" fmla="*/ 41275 h 733425"/>
              <a:gd name="connsiteX42" fmla="*/ 1517650 w 2889264"/>
              <a:gd name="connsiteY42" fmla="*/ 50800 h 733425"/>
              <a:gd name="connsiteX43" fmla="*/ 1549400 w 2889264"/>
              <a:gd name="connsiteY43" fmla="*/ 60325 h 733425"/>
              <a:gd name="connsiteX44" fmla="*/ 1562100 w 2889264"/>
              <a:gd name="connsiteY44" fmla="*/ 69850 h 733425"/>
              <a:gd name="connsiteX45" fmla="*/ 1574800 w 2889264"/>
              <a:gd name="connsiteY45" fmla="*/ 73025 h 733425"/>
              <a:gd name="connsiteX46" fmla="*/ 1590675 w 2889264"/>
              <a:gd name="connsiteY46" fmla="*/ 79375 h 733425"/>
              <a:gd name="connsiteX47" fmla="*/ 1600200 w 2889264"/>
              <a:gd name="connsiteY47" fmla="*/ 85725 h 733425"/>
              <a:gd name="connsiteX48" fmla="*/ 1612900 w 2889264"/>
              <a:gd name="connsiteY48" fmla="*/ 92075 h 733425"/>
              <a:gd name="connsiteX49" fmla="*/ 1625600 w 2889264"/>
              <a:gd name="connsiteY49" fmla="*/ 101600 h 733425"/>
              <a:gd name="connsiteX50" fmla="*/ 1635125 w 2889264"/>
              <a:gd name="connsiteY50" fmla="*/ 104775 h 733425"/>
              <a:gd name="connsiteX51" fmla="*/ 1654175 w 2889264"/>
              <a:gd name="connsiteY51" fmla="*/ 114300 h 733425"/>
              <a:gd name="connsiteX52" fmla="*/ 1676400 w 2889264"/>
              <a:gd name="connsiteY52" fmla="*/ 130175 h 733425"/>
              <a:gd name="connsiteX53" fmla="*/ 1689100 w 2889264"/>
              <a:gd name="connsiteY53" fmla="*/ 136525 h 733425"/>
              <a:gd name="connsiteX54" fmla="*/ 1714500 w 2889264"/>
              <a:gd name="connsiteY54" fmla="*/ 146050 h 733425"/>
              <a:gd name="connsiteX55" fmla="*/ 1727200 w 2889264"/>
              <a:gd name="connsiteY55" fmla="*/ 155575 h 733425"/>
              <a:gd name="connsiteX56" fmla="*/ 1758950 w 2889264"/>
              <a:gd name="connsiteY56" fmla="*/ 165100 h 733425"/>
              <a:gd name="connsiteX57" fmla="*/ 1768475 w 2889264"/>
              <a:gd name="connsiteY57" fmla="*/ 171450 h 733425"/>
              <a:gd name="connsiteX58" fmla="*/ 1781175 w 2889264"/>
              <a:gd name="connsiteY58" fmla="*/ 180975 h 733425"/>
              <a:gd name="connsiteX59" fmla="*/ 1793875 w 2889264"/>
              <a:gd name="connsiteY59" fmla="*/ 187325 h 733425"/>
              <a:gd name="connsiteX60" fmla="*/ 1838325 w 2889264"/>
              <a:gd name="connsiteY60" fmla="*/ 212725 h 733425"/>
              <a:gd name="connsiteX61" fmla="*/ 1847850 w 2889264"/>
              <a:gd name="connsiteY61" fmla="*/ 222250 h 733425"/>
              <a:gd name="connsiteX62" fmla="*/ 1885950 w 2889264"/>
              <a:gd name="connsiteY62" fmla="*/ 241300 h 733425"/>
              <a:gd name="connsiteX63" fmla="*/ 1901825 w 2889264"/>
              <a:gd name="connsiteY63" fmla="*/ 250825 h 733425"/>
              <a:gd name="connsiteX64" fmla="*/ 1933575 w 2889264"/>
              <a:gd name="connsiteY64" fmla="*/ 263525 h 733425"/>
              <a:gd name="connsiteX65" fmla="*/ 1962150 w 2889264"/>
              <a:gd name="connsiteY65" fmla="*/ 276225 h 733425"/>
              <a:gd name="connsiteX66" fmla="*/ 1971675 w 2889264"/>
              <a:gd name="connsiteY66" fmla="*/ 282575 h 733425"/>
              <a:gd name="connsiteX67" fmla="*/ 1987550 w 2889264"/>
              <a:gd name="connsiteY67" fmla="*/ 288925 h 733425"/>
              <a:gd name="connsiteX68" fmla="*/ 2022475 w 2889264"/>
              <a:gd name="connsiteY68" fmla="*/ 301625 h 733425"/>
              <a:gd name="connsiteX69" fmla="*/ 2047875 w 2889264"/>
              <a:gd name="connsiteY69" fmla="*/ 314325 h 733425"/>
              <a:gd name="connsiteX70" fmla="*/ 2063750 w 2889264"/>
              <a:gd name="connsiteY70" fmla="*/ 320675 h 733425"/>
              <a:gd name="connsiteX71" fmla="*/ 2082800 w 2889264"/>
              <a:gd name="connsiteY71" fmla="*/ 330200 h 733425"/>
              <a:gd name="connsiteX72" fmla="*/ 2095500 w 2889264"/>
              <a:gd name="connsiteY72" fmla="*/ 333375 h 733425"/>
              <a:gd name="connsiteX73" fmla="*/ 2124075 w 2889264"/>
              <a:gd name="connsiteY73" fmla="*/ 342900 h 733425"/>
              <a:gd name="connsiteX74" fmla="*/ 2159000 w 2889264"/>
              <a:gd name="connsiteY74" fmla="*/ 358775 h 733425"/>
              <a:gd name="connsiteX75" fmla="*/ 2187575 w 2889264"/>
              <a:gd name="connsiteY75" fmla="*/ 377825 h 733425"/>
              <a:gd name="connsiteX76" fmla="*/ 2209800 w 2889264"/>
              <a:gd name="connsiteY76" fmla="*/ 393700 h 733425"/>
              <a:gd name="connsiteX77" fmla="*/ 2247900 w 2889264"/>
              <a:gd name="connsiteY77" fmla="*/ 419100 h 733425"/>
              <a:gd name="connsiteX78" fmla="*/ 2276475 w 2889264"/>
              <a:gd name="connsiteY78" fmla="*/ 434975 h 733425"/>
              <a:gd name="connsiteX79" fmla="*/ 2289175 w 2889264"/>
              <a:gd name="connsiteY79" fmla="*/ 444500 h 733425"/>
              <a:gd name="connsiteX80" fmla="*/ 2308225 w 2889264"/>
              <a:gd name="connsiteY80" fmla="*/ 447675 h 733425"/>
              <a:gd name="connsiteX81" fmla="*/ 2333625 w 2889264"/>
              <a:gd name="connsiteY81" fmla="*/ 460375 h 733425"/>
              <a:gd name="connsiteX82" fmla="*/ 2352675 w 2889264"/>
              <a:gd name="connsiteY82" fmla="*/ 466725 h 733425"/>
              <a:gd name="connsiteX83" fmla="*/ 2397125 w 2889264"/>
              <a:gd name="connsiteY83" fmla="*/ 488950 h 733425"/>
              <a:gd name="connsiteX84" fmla="*/ 2422525 w 2889264"/>
              <a:gd name="connsiteY84" fmla="*/ 495300 h 733425"/>
              <a:gd name="connsiteX85" fmla="*/ 2432050 w 2889264"/>
              <a:gd name="connsiteY85" fmla="*/ 498475 h 733425"/>
              <a:gd name="connsiteX86" fmla="*/ 2454275 w 2889264"/>
              <a:gd name="connsiteY86" fmla="*/ 511175 h 733425"/>
              <a:gd name="connsiteX87" fmla="*/ 2470150 w 2889264"/>
              <a:gd name="connsiteY87" fmla="*/ 523875 h 733425"/>
              <a:gd name="connsiteX88" fmla="*/ 2495550 w 2889264"/>
              <a:gd name="connsiteY88" fmla="*/ 533400 h 733425"/>
              <a:gd name="connsiteX89" fmla="*/ 2546350 w 2889264"/>
              <a:gd name="connsiteY89" fmla="*/ 558800 h 733425"/>
              <a:gd name="connsiteX90" fmla="*/ 2574925 w 2889264"/>
              <a:gd name="connsiteY90" fmla="*/ 565150 h 733425"/>
              <a:gd name="connsiteX91" fmla="*/ 2600325 w 2889264"/>
              <a:gd name="connsiteY91" fmla="*/ 577850 h 733425"/>
              <a:gd name="connsiteX92" fmla="*/ 2616200 w 2889264"/>
              <a:gd name="connsiteY92" fmla="*/ 581025 h 733425"/>
              <a:gd name="connsiteX93" fmla="*/ 2638425 w 2889264"/>
              <a:gd name="connsiteY93" fmla="*/ 587375 h 733425"/>
              <a:gd name="connsiteX94" fmla="*/ 2654300 w 2889264"/>
              <a:gd name="connsiteY94" fmla="*/ 596900 h 733425"/>
              <a:gd name="connsiteX95" fmla="*/ 2673350 w 2889264"/>
              <a:gd name="connsiteY95" fmla="*/ 603250 h 733425"/>
              <a:gd name="connsiteX96" fmla="*/ 2708275 w 2889264"/>
              <a:gd name="connsiteY96" fmla="*/ 625475 h 733425"/>
              <a:gd name="connsiteX97" fmla="*/ 2730500 w 2889264"/>
              <a:gd name="connsiteY97" fmla="*/ 635000 h 733425"/>
              <a:gd name="connsiteX98" fmla="*/ 2749550 w 2889264"/>
              <a:gd name="connsiteY98" fmla="*/ 650875 h 733425"/>
              <a:gd name="connsiteX99" fmla="*/ 2774950 w 2889264"/>
              <a:gd name="connsiteY99" fmla="*/ 663575 h 733425"/>
              <a:gd name="connsiteX100" fmla="*/ 2803525 w 2889264"/>
              <a:gd name="connsiteY100" fmla="*/ 676275 h 733425"/>
              <a:gd name="connsiteX101" fmla="*/ 2816225 w 2889264"/>
              <a:gd name="connsiteY101" fmla="*/ 685800 h 733425"/>
              <a:gd name="connsiteX102" fmla="*/ 2832100 w 2889264"/>
              <a:gd name="connsiteY102" fmla="*/ 692150 h 733425"/>
              <a:gd name="connsiteX103" fmla="*/ 2876550 w 2889264"/>
              <a:gd name="connsiteY103" fmla="*/ 723900 h 733425"/>
              <a:gd name="connsiteX104" fmla="*/ 2889250 w 2889264"/>
              <a:gd name="connsiteY104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584200 w 2889264"/>
              <a:gd name="connsiteY10" fmla="*/ 441325 h 733425"/>
              <a:gd name="connsiteX11" fmla="*/ 612775 w 2889264"/>
              <a:gd name="connsiteY11" fmla="*/ 428625 h 733425"/>
              <a:gd name="connsiteX12" fmla="*/ 628650 w 2889264"/>
              <a:gd name="connsiteY12" fmla="*/ 422275 h 733425"/>
              <a:gd name="connsiteX13" fmla="*/ 657225 w 2889264"/>
              <a:gd name="connsiteY13" fmla="*/ 406400 h 733425"/>
              <a:gd name="connsiteX14" fmla="*/ 736600 w 2889264"/>
              <a:gd name="connsiteY14" fmla="*/ 368300 h 733425"/>
              <a:gd name="connsiteX15" fmla="*/ 800100 w 2889264"/>
              <a:gd name="connsiteY15" fmla="*/ 336550 h 733425"/>
              <a:gd name="connsiteX16" fmla="*/ 898525 w 2889264"/>
              <a:gd name="connsiteY16" fmla="*/ 288925 h 733425"/>
              <a:gd name="connsiteX17" fmla="*/ 923925 w 2889264"/>
              <a:gd name="connsiteY17" fmla="*/ 269875 h 733425"/>
              <a:gd name="connsiteX18" fmla="*/ 933450 w 2889264"/>
              <a:gd name="connsiteY18" fmla="*/ 260350 h 733425"/>
              <a:gd name="connsiteX19" fmla="*/ 958850 w 2889264"/>
              <a:gd name="connsiteY19" fmla="*/ 247650 h 733425"/>
              <a:gd name="connsiteX20" fmla="*/ 968375 w 2889264"/>
              <a:gd name="connsiteY20" fmla="*/ 241300 h 733425"/>
              <a:gd name="connsiteX21" fmla="*/ 984250 w 2889264"/>
              <a:gd name="connsiteY21" fmla="*/ 234950 h 733425"/>
              <a:gd name="connsiteX22" fmla="*/ 1006475 w 2889264"/>
              <a:gd name="connsiteY22" fmla="*/ 225425 h 733425"/>
              <a:gd name="connsiteX23" fmla="*/ 1050925 w 2889264"/>
              <a:gd name="connsiteY23" fmla="*/ 212725 h 733425"/>
              <a:gd name="connsiteX24" fmla="*/ 1079500 w 2889264"/>
              <a:gd name="connsiteY24" fmla="*/ 200025 h 733425"/>
              <a:gd name="connsiteX25" fmla="*/ 1098550 w 2889264"/>
              <a:gd name="connsiteY25" fmla="*/ 193675 h 733425"/>
              <a:gd name="connsiteX26" fmla="*/ 1111250 w 2889264"/>
              <a:gd name="connsiteY26" fmla="*/ 187325 h 733425"/>
              <a:gd name="connsiteX27" fmla="*/ 1136650 w 2889264"/>
              <a:gd name="connsiteY27" fmla="*/ 177800 h 733425"/>
              <a:gd name="connsiteX28" fmla="*/ 1181100 w 2889264"/>
              <a:gd name="connsiteY28" fmla="*/ 152400 h 733425"/>
              <a:gd name="connsiteX29" fmla="*/ 1203325 w 2889264"/>
              <a:gd name="connsiteY29" fmla="*/ 130175 h 733425"/>
              <a:gd name="connsiteX30" fmla="*/ 1219200 w 2889264"/>
              <a:gd name="connsiteY30" fmla="*/ 117475 h 733425"/>
              <a:gd name="connsiteX31" fmla="*/ 1276350 w 2889264"/>
              <a:gd name="connsiteY31" fmla="*/ 85725 h 733425"/>
              <a:gd name="connsiteX32" fmla="*/ 1289050 w 2889264"/>
              <a:gd name="connsiteY32" fmla="*/ 79375 h 733425"/>
              <a:gd name="connsiteX33" fmla="*/ 1327150 w 2889264"/>
              <a:gd name="connsiteY33" fmla="*/ 66675 h 733425"/>
              <a:gd name="connsiteX34" fmla="*/ 1343025 w 2889264"/>
              <a:gd name="connsiteY34" fmla="*/ 57150 h 733425"/>
              <a:gd name="connsiteX35" fmla="*/ 1355725 w 2889264"/>
              <a:gd name="connsiteY35" fmla="*/ 47625 h 733425"/>
              <a:gd name="connsiteX36" fmla="*/ 1377950 w 2889264"/>
              <a:gd name="connsiteY36" fmla="*/ 38100 h 733425"/>
              <a:gd name="connsiteX37" fmla="*/ 1416050 w 2889264"/>
              <a:gd name="connsiteY37" fmla="*/ 12700 h 733425"/>
              <a:gd name="connsiteX38" fmla="*/ 1428750 w 2889264"/>
              <a:gd name="connsiteY38" fmla="*/ 0 h 733425"/>
              <a:gd name="connsiteX39" fmla="*/ 1470025 w 2889264"/>
              <a:gd name="connsiteY39" fmla="*/ 28575 h 733425"/>
              <a:gd name="connsiteX40" fmla="*/ 1504950 w 2889264"/>
              <a:gd name="connsiteY40" fmla="*/ 41275 h 733425"/>
              <a:gd name="connsiteX41" fmla="*/ 1517650 w 2889264"/>
              <a:gd name="connsiteY41" fmla="*/ 50800 h 733425"/>
              <a:gd name="connsiteX42" fmla="*/ 1549400 w 2889264"/>
              <a:gd name="connsiteY42" fmla="*/ 60325 h 733425"/>
              <a:gd name="connsiteX43" fmla="*/ 1562100 w 2889264"/>
              <a:gd name="connsiteY43" fmla="*/ 69850 h 733425"/>
              <a:gd name="connsiteX44" fmla="*/ 1574800 w 2889264"/>
              <a:gd name="connsiteY44" fmla="*/ 73025 h 733425"/>
              <a:gd name="connsiteX45" fmla="*/ 1590675 w 2889264"/>
              <a:gd name="connsiteY45" fmla="*/ 79375 h 733425"/>
              <a:gd name="connsiteX46" fmla="*/ 1600200 w 2889264"/>
              <a:gd name="connsiteY46" fmla="*/ 85725 h 733425"/>
              <a:gd name="connsiteX47" fmla="*/ 1612900 w 2889264"/>
              <a:gd name="connsiteY47" fmla="*/ 92075 h 733425"/>
              <a:gd name="connsiteX48" fmla="*/ 1625600 w 2889264"/>
              <a:gd name="connsiteY48" fmla="*/ 101600 h 733425"/>
              <a:gd name="connsiteX49" fmla="*/ 1635125 w 2889264"/>
              <a:gd name="connsiteY49" fmla="*/ 104775 h 733425"/>
              <a:gd name="connsiteX50" fmla="*/ 1654175 w 2889264"/>
              <a:gd name="connsiteY50" fmla="*/ 114300 h 733425"/>
              <a:gd name="connsiteX51" fmla="*/ 1676400 w 2889264"/>
              <a:gd name="connsiteY51" fmla="*/ 130175 h 733425"/>
              <a:gd name="connsiteX52" fmla="*/ 1689100 w 2889264"/>
              <a:gd name="connsiteY52" fmla="*/ 136525 h 733425"/>
              <a:gd name="connsiteX53" fmla="*/ 1714500 w 2889264"/>
              <a:gd name="connsiteY53" fmla="*/ 146050 h 733425"/>
              <a:gd name="connsiteX54" fmla="*/ 1727200 w 2889264"/>
              <a:gd name="connsiteY54" fmla="*/ 155575 h 733425"/>
              <a:gd name="connsiteX55" fmla="*/ 1758950 w 2889264"/>
              <a:gd name="connsiteY55" fmla="*/ 165100 h 733425"/>
              <a:gd name="connsiteX56" fmla="*/ 1768475 w 2889264"/>
              <a:gd name="connsiteY56" fmla="*/ 171450 h 733425"/>
              <a:gd name="connsiteX57" fmla="*/ 1781175 w 2889264"/>
              <a:gd name="connsiteY57" fmla="*/ 180975 h 733425"/>
              <a:gd name="connsiteX58" fmla="*/ 1793875 w 2889264"/>
              <a:gd name="connsiteY58" fmla="*/ 187325 h 733425"/>
              <a:gd name="connsiteX59" fmla="*/ 1838325 w 2889264"/>
              <a:gd name="connsiteY59" fmla="*/ 212725 h 733425"/>
              <a:gd name="connsiteX60" fmla="*/ 1847850 w 2889264"/>
              <a:gd name="connsiteY60" fmla="*/ 222250 h 733425"/>
              <a:gd name="connsiteX61" fmla="*/ 1885950 w 2889264"/>
              <a:gd name="connsiteY61" fmla="*/ 241300 h 733425"/>
              <a:gd name="connsiteX62" fmla="*/ 1901825 w 2889264"/>
              <a:gd name="connsiteY62" fmla="*/ 250825 h 733425"/>
              <a:gd name="connsiteX63" fmla="*/ 1933575 w 2889264"/>
              <a:gd name="connsiteY63" fmla="*/ 263525 h 733425"/>
              <a:gd name="connsiteX64" fmla="*/ 1962150 w 2889264"/>
              <a:gd name="connsiteY64" fmla="*/ 276225 h 733425"/>
              <a:gd name="connsiteX65" fmla="*/ 1971675 w 2889264"/>
              <a:gd name="connsiteY65" fmla="*/ 282575 h 733425"/>
              <a:gd name="connsiteX66" fmla="*/ 1987550 w 2889264"/>
              <a:gd name="connsiteY66" fmla="*/ 288925 h 733425"/>
              <a:gd name="connsiteX67" fmla="*/ 2022475 w 2889264"/>
              <a:gd name="connsiteY67" fmla="*/ 301625 h 733425"/>
              <a:gd name="connsiteX68" fmla="*/ 2047875 w 2889264"/>
              <a:gd name="connsiteY68" fmla="*/ 314325 h 733425"/>
              <a:gd name="connsiteX69" fmla="*/ 2063750 w 2889264"/>
              <a:gd name="connsiteY69" fmla="*/ 320675 h 733425"/>
              <a:gd name="connsiteX70" fmla="*/ 2082800 w 2889264"/>
              <a:gd name="connsiteY70" fmla="*/ 330200 h 733425"/>
              <a:gd name="connsiteX71" fmla="*/ 2095500 w 2889264"/>
              <a:gd name="connsiteY71" fmla="*/ 333375 h 733425"/>
              <a:gd name="connsiteX72" fmla="*/ 2124075 w 2889264"/>
              <a:gd name="connsiteY72" fmla="*/ 342900 h 733425"/>
              <a:gd name="connsiteX73" fmla="*/ 2159000 w 2889264"/>
              <a:gd name="connsiteY73" fmla="*/ 358775 h 733425"/>
              <a:gd name="connsiteX74" fmla="*/ 2187575 w 2889264"/>
              <a:gd name="connsiteY74" fmla="*/ 377825 h 733425"/>
              <a:gd name="connsiteX75" fmla="*/ 2209800 w 2889264"/>
              <a:gd name="connsiteY75" fmla="*/ 393700 h 733425"/>
              <a:gd name="connsiteX76" fmla="*/ 2247900 w 2889264"/>
              <a:gd name="connsiteY76" fmla="*/ 419100 h 733425"/>
              <a:gd name="connsiteX77" fmla="*/ 2276475 w 2889264"/>
              <a:gd name="connsiteY77" fmla="*/ 434975 h 733425"/>
              <a:gd name="connsiteX78" fmla="*/ 2289175 w 2889264"/>
              <a:gd name="connsiteY78" fmla="*/ 444500 h 733425"/>
              <a:gd name="connsiteX79" fmla="*/ 2308225 w 2889264"/>
              <a:gd name="connsiteY79" fmla="*/ 447675 h 733425"/>
              <a:gd name="connsiteX80" fmla="*/ 2333625 w 2889264"/>
              <a:gd name="connsiteY80" fmla="*/ 460375 h 733425"/>
              <a:gd name="connsiteX81" fmla="*/ 2352675 w 2889264"/>
              <a:gd name="connsiteY81" fmla="*/ 466725 h 733425"/>
              <a:gd name="connsiteX82" fmla="*/ 2397125 w 2889264"/>
              <a:gd name="connsiteY82" fmla="*/ 488950 h 733425"/>
              <a:gd name="connsiteX83" fmla="*/ 2422525 w 2889264"/>
              <a:gd name="connsiteY83" fmla="*/ 495300 h 733425"/>
              <a:gd name="connsiteX84" fmla="*/ 2432050 w 2889264"/>
              <a:gd name="connsiteY84" fmla="*/ 498475 h 733425"/>
              <a:gd name="connsiteX85" fmla="*/ 2454275 w 2889264"/>
              <a:gd name="connsiteY85" fmla="*/ 511175 h 733425"/>
              <a:gd name="connsiteX86" fmla="*/ 2470150 w 2889264"/>
              <a:gd name="connsiteY86" fmla="*/ 523875 h 733425"/>
              <a:gd name="connsiteX87" fmla="*/ 2495550 w 2889264"/>
              <a:gd name="connsiteY87" fmla="*/ 533400 h 733425"/>
              <a:gd name="connsiteX88" fmla="*/ 2546350 w 2889264"/>
              <a:gd name="connsiteY88" fmla="*/ 558800 h 733425"/>
              <a:gd name="connsiteX89" fmla="*/ 2574925 w 2889264"/>
              <a:gd name="connsiteY89" fmla="*/ 565150 h 733425"/>
              <a:gd name="connsiteX90" fmla="*/ 2600325 w 2889264"/>
              <a:gd name="connsiteY90" fmla="*/ 577850 h 733425"/>
              <a:gd name="connsiteX91" fmla="*/ 2616200 w 2889264"/>
              <a:gd name="connsiteY91" fmla="*/ 581025 h 733425"/>
              <a:gd name="connsiteX92" fmla="*/ 2638425 w 2889264"/>
              <a:gd name="connsiteY92" fmla="*/ 587375 h 733425"/>
              <a:gd name="connsiteX93" fmla="*/ 2654300 w 2889264"/>
              <a:gd name="connsiteY93" fmla="*/ 596900 h 733425"/>
              <a:gd name="connsiteX94" fmla="*/ 2673350 w 2889264"/>
              <a:gd name="connsiteY94" fmla="*/ 603250 h 733425"/>
              <a:gd name="connsiteX95" fmla="*/ 2708275 w 2889264"/>
              <a:gd name="connsiteY95" fmla="*/ 625475 h 733425"/>
              <a:gd name="connsiteX96" fmla="*/ 2730500 w 2889264"/>
              <a:gd name="connsiteY96" fmla="*/ 635000 h 733425"/>
              <a:gd name="connsiteX97" fmla="*/ 2749550 w 2889264"/>
              <a:gd name="connsiteY97" fmla="*/ 650875 h 733425"/>
              <a:gd name="connsiteX98" fmla="*/ 2774950 w 2889264"/>
              <a:gd name="connsiteY98" fmla="*/ 663575 h 733425"/>
              <a:gd name="connsiteX99" fmla="*/ 2803525 w 2889264"/>
              <a:gd name="connsiteY99" fmla="*/ 676275 h 733425"/>
              <a:gd name="connsiteX100" fmla="*/ 2816225 w 2889264"/>
              <a:gd name="connsiteY100" fmla="*/ 685800 h 733425"/>
              <a:gd name="connsiteX101" fmla="*/ 2832100 w 2889264"/>
              <a:gd name="connsiteY101" fmla="*/ 692150 h 733425"/>
              <a:gd name="connsiteX102" fmla="*/ 2876550 w 2889264"/>
              <a:gd name="connsiteY102" fmla="*/ 723900 h 733425"/>
              <a:gd name="connsiteX103" fmla="*/ 2889250 w 2889264"/>
              <a:gd name="connsiteY103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584200 w 2889264"/>
              <a:gd name="connsiteY10" fmla="*/ 441325 h 733425"/>
              <a:gd name="connsiteX11" fmla="*/ 612775 w 2889264"/>
              <a:gd name="connsiteY11" fmla="*/ 428625 h 733425"/>
              <a:gd name="connsiteX12" fmla="*/ 657225 w 2889264"/>
              <a:gd name="connsiteY12" fmla="*/ 406400 h 733425"/>
              <a:gd name="connsiteX13" fmla="*/ 736600 w 2889264"/>
              <a:gd name="connsiteY13" fmla="*/ 368300 h 733425"/>
              <a:gd name="connsiteX14" fmla="*/ 800100 w 2889264"/>
              <a:gd name="connsiteY14" fmla="*/ 336550 h 733425"/>
              <a:gd name="connsiteX15" fmla="*/ 898525 w 2889264"/>
              <a:gd name="connsiteY15" fmla="*/ 288925 h 733425"/>
              <a:gd name="connsiteX16" fmla="*/ 923925 w 2889264"/>
              <a:gd name="connsiteY16" fmla="*/ 269875 h 733425"/>
              <a:gd name="connsiteX17" fmla="*/ 933450 w 2889264"/>
              <a:gd name="connsiteY17" fmla="*/ 260350 h 733425"/>
              <a:gd name="connsiteX18" fmla="*/ 958850 w 2889264"/>
              <a:gd name="connsiteY18" fmla="*/ 247650 h 733425"/>
              <a:gd name="connsiteX19" fmla="*/ 968375 w 2889264"/>
              <a:gd name="connsiteY19" fmla="*/ 241300 h 733425"/>
              <a:gd name="connsiteX20" fmla="*/ 984250 w 2889264"/>
              <a:gd name="connsiteY20" fmla="*/ 234950 h 733425"/>
              <a:gd name="connsiteX21" fmla="*/ 1006475 w 2889264"/>
              <a:gd name="connsiteY21" fmla="*/ 225425 h 733425"/>
              <a:gd name="connsiteX22" fmla="*/ 1050925 w 2889264"/>
              <a:gd name="connsiteY22" fmla="*/ 212725 h 733425"/>
              <a:gd name="connsiteX23" fmla="*/ 1079500 w 2889264"/>
              <a:gd name="connsiteY23" fmla="*/ 200025 h 733425"/>
              <a:gd name="connsiteX24" fmla="*/ 1098550 w 2889264"/>
              <a:gd name="connsiteY24" fmla="*/ 193675 h 733425"/>
              <a:gd name="connsiteX25" fmla="*/ 1111250 w 2889264"/>
              <a:gd name="connsiteY25" fmla="*/ 187325 h 733425"/>
              <a:gd name="connsiteX26" fmla="*/ 1136650 w 2889264"/>
              <a:gd name="connsiteY26" fmla="*/ 177800 h 733425"/>
              <a:gd name="connsiteX27" fmla="*/ 1181100 w 2889264"/>
              <a:gd name="connsiteY27" fmla="*/ 152400 h 733425"/>
              <a:gd name="connsiteX28" fmla="*/ 1203325 w 2889264"/>
              <a:gd name="connsiteY28" fmla="*/ 130175 h 733425"/>
              <a:gd name="connsiteX29" fmla="*/ 1219200 w 2889264"/>
              <a:gd name="connsiteY29" fmla="*/ 117475 h 733425"/>
              <a:gd name="connsiteX30" fmla="*/ 1276350 w 2889264"/>
              <a:gd name="connsiteY30" fmla="*/ 85725 h 733425"/>
              <a:gd name="connsiteX31" fmla="*/ 1289050 w 2889264"/>
              <a:gd name="connsiteY31" fmla="*/ 79375 h 733425"/>
              <a:gd name="connsiteX32" fmla="*/ 1327150 w 2889264"/>
              <a:gd name="connsiteY32" fmla="*/ 66675 h 733425"/>
              <a:gd name="connsiteX33" fmla="*/ 1343025 w 2889264"/>
              <a:gd name="connsiteY33" fmla="*/ 57150 h 733425"/>
              <a:gd name="connsiteX34" fmla="*/ 1355725 w 2889264"/>
              <a:gd name="connsiteY34" fmla="*/ 47625 h 733425"/>
              <a:gd name="connsiteX35" fmla="*/ 1377950 w 2889264"/>
              <a:gd name="connsiteY35" fmla="*/ 38100 h 733425"/>
              <a:gd name="connsiteX36" fmla="*/ 1416050 w 2889264"/>
              <a:gd name="connsiteY36" fmla="*/ 12700 h 733425"/>
              <a:gd name="connsiteX37" fmla="*/ 1428750 w 2889264"/>
              <a:gd name="connsiteY37" fmla="*/ 0 h 733425"/>
              <a:gd name="connsiteX38" fmla="*/ 1470025 w 2889264"/>
              <a:gd name="connsiteY38" fmla="*/ 28575 h 733425"/>
              <a:gd name="connsiteX39" fmla="*/ 1504950 w 2889264"/>
              <a:gd name="connsiteY39" fmla="*/ 41275 h 733425"/>
              <a:gd name="connsiteX40" fmla="*/ 1517650 w 2889264"/>
              <a:gd name="connsiteY40" fmla="*/ 50800 h 733425"/>
              <a:gd name="connsiteX41" fmla="*/ 1549400 w 2889264"/>
              <a:gd name="connsiteY41" fmla="*/ 60325 h 733425"/>
              <a:gd name="connsiteX42" fmla="*/ 1562100 w 2889264"/>
              <a:gd name="connsiteY42" fmla="*/ 69850 h 733425"/>
              <a:gd name="connsiteX43" fmla="*/ 1574800 w 2889264"/>
              <a:gd name="connsiteY43" fmla="*/ 73025 h 733425"/>
              <a:gd name="connsiteX44" fmla="*/ 1590675 w 2889264"/>
              <a:gd name="connsiteY44" fmla="*/ 79375 h 733425"/>
              <a:gd name="connsiteX45" fmla="*/ 1600200 w 2889264"/>
              <a:gd name="connsiteY45" fmla="*/ 85725 h 733425"/>
              <a:gd name="connsiteX46" fmla="*/ 1612900 w 2889264"/>
              <a:gd name="connsiteY46" fmla="*/ 92075 h 733425"/>
              <a:gd name="connsiteX47" fmla="*/ 1625600 w 2889264"/>
              <a:gd name="connsiteY47" fmla="*/ 101600 h 733425"/>
              <a:gd name="connsiteX48" fmla="*/ 1635125 w 2889264"/>
              <a:gd name="connsiteY48" fmla="*/ 104775 h 733425"/>
              <a:gd name="connsiteX49" fmla="*/ 1654175 w 2889264"/>
              <a:gd name="connsiteY49" fmla="*/ 114300 h 733425"/>
              <a:gd name="connsiteX50" fmla="*/ 1676400 w 2889264"/>
              <a:gd name="connsiteY50" fmla="*/ 130175 h 733425"/>
              <a:gd name="connsiteX51" fmla="*/ 1689100 w 2889264"/>
              <a:gd name="connsiteY51" fmla="*/ 136525 h 733425"/>
              <a:gd name="connsiteX52" fmla="*/ 1714500 w 2889264"/>
              <a:gd name="connsiteY52" fmla="*/ 146050 h 733425"/>
              <a:gd name="connsiteX53" fmla="*/ 1727200 w 2889264"/>
              <a:gd name="connsiteY53" fmla="*/ 155575 h 733425"/>
              <a:gd name="connsiteX54" fmla="*/ 1758950 w 2889264"/>
              <a:gd name="connsiteY54" fmla="*/ 165100 h 733425"/>
              <a:gd name="connsiteX55" fmla="*/ 1768475 w 2889264"/>
              <a:gd name="connsiteY55" fmla="*/ 171450 h 733425"/>
              <a:gd name="connsiteX56" fmla="*/ 1781175 w 2889264"/>
              <a:gd name="connsiteY56" fmla="*/ 180975 h 733425"/>
              <a:gd name="connsiteX57" fmla="*/ 1793875 w 2889264"/>
              <a:gd name="connsiteY57" fmla="*/ 187325 h 733425"/>
              <a:gd name="connsiteX58" fmla="*/ 1838325 w 2889264"/>
              <a:gd name="connsiteY58" fmla="*/ 212725 h 733425"/>
              <a:gd name="connsiteX59" fmla="*/ 1847850 w 2889264"/>
              <a:gd name="connsiteY59" fmla="*/ 222250 h 733425"/>
              <a:gd name="connsiteX60" fmla="*/ 1885950 w 2889264"/>
              <a:gd name="connsiteY60" fmla="*/ 241300 h 733425"/>
              <a:gd name="connsiteX61" fmla="*/ 1901825 w 2889264"/>
              <a:gd name="connsiteY61" fmla="*/ 250825 h 733425"/>
              <a:gd name="connsiteX62" fmla="*/ 1933575 w 2889264"/>
              <a:gd name="connsiteY62" fmla="*/ 263525 h 733425"/>
              <a:gd name="connsiteX63" fmla="*/ 1962150 w 2889264"/>
              <a:gd name="connsiteY63" fmla="*/ 276225 h 733425"/>
              <a:gd name="connsiteX64" fmla="*/ 1971675 w 2889264"/>
              <a:gd name="connsiteY64" fmla="*/ 282575 h 733425"/>
              <a:gd name="connsiteX65" fmla="*/ 1987550 w 2889264"/>
              <a:gd name="connsiteY65" fmla="*/ 288925 h 733425"/>
              <a:gd name="connsiteX66" fmla="*/ 2022475 w 2889264"/>
              <a:gd name="connsiteY66" fmla="*/ 301625 h 733425"/>
              <a:gd name="connsiteX67" fmla="*/ 2047875 w 2889264"/>
              <a:gd name="connsiteY67" fmla="*/ 314325 h 733425"/>
              <a:gd name="connsiteX68" fmla="*/ 2063750 w 2889264"/>
              <a:gd name="connsiteY68" fmla="*/ 320675 h 733425"/>
              <a:gd name="connsiteX69" fmla="*/ 2082800 w 2889264"/>
              <a:gd name="connsiteY69" fmla="*/ 330200 h 733425"/>
              <a:gd name="connsiteX70" fmla="*/ 2095500 w 2889264"/>
              <a:gd name="connsiteY70" fmla="*/ 333375 h 733425"/>
              <a:gd name="connsiteX71" fmla="*/ 2124075 w 2889264"/>
              <a:gd name="connsiteY71" fmla="*/ 342900 h 733425"/>
              <a:gd name="connsiteX72" fmla="*/ 2159000 w 2889264"/>
              <a:gd name="connsiteY72" fmla="*/ 358775 h 733425"/>
              <a:gd name="connsiteX73" fmla="*/ 2187575 w 2889264"/>
              <a:gd name="connsiteY73" fmla="*/ 377825 h 733425"/>
              <a:gd name="connsiteX74" fmla="*/ 2209800 w 2889264"/>
              <a:gd name="connsiteY74" fmla="*/ 393700 h 733425"/>
              <a:gd name="connsiteX75" fmla="*/ 2247900 w 2889264"/>
              <a:gd name="connsiteY75" fmla="*/ 419100 h 733425"/>
              <a:gd name="connsiteX76" fmla="*/ 2276475 w 2889264"/>
              <a:gd name="connsiteY76" fmla="*/ 434975 h 733425"/>
              <a:gd name="connsiteX77" fmla="*/ 2289175 w 2889264"/>
              <a:gd name="connsiteY77" fmla="*/ 444500 h 733425"/>
              <a:gd name="connsiteX78" fmla="*/ 2308225 w 2889264"/>
              <a:gd name="connsiteY78" fmla="*/ 447675 h 733425"/>
              <a:gd name="connsiteX79" fmla="*/ 2333625 w 2889264"/>
              <a:gd name="connsiteY79" fmla="*/ 460375 h 733425"/>
              <a:gd name="connsiteX80" fmla="*/ 2352675 w 2889264"/>
              <a:gd name="connsiteY80" fmla="*/ 466725 h 733425"/>
              <a:gd name="connsiteX81" fmla="*/ 2397125 w 2889264"/>
              <a:gd name="connsiteY81" fmla="*/ 488950 h 733425"/>
              <a:gd name="connsiteX82" fmla="*/ 2422525 w 2889264"/>
              <a:gd name="connsiteY82" fmla="*/ 495300 h 733425"/>
              <a:gd name="connsiteX83" fmla="*/ 2432050 w 2889264"/>
              <a:gd name="connsiteY83" fmla="*/ 498475 h 733425"/>
              <a:gd name="connsiteX84" fmla="*/ 2454275 w 2889264"/>
              <a:gd name="connsiteY84" fmla="*/ 511175 h 733425"/>
              <a:gd name="connsiteX85" fmla="*/ 2470150 w 2889264"/>
              <a:gd name="connsiteY85" fmla="*/ 523875 h 733425"/>
              <a:gd name="connsiteX86" fmla="*/ 2495550 w 2889264"/>
              <a:gd name="connsiteY86" fmla="*/ 533400 h 733425"/>
              <a:gd name="connsiteX87" fmla="*/ 2546350 w 2889264"/>
              <a:gd name="connsiteY87" fmla="*/ 558800 h 733425"/>
              <a:gd name="connsiteX88" fmla="*/ 2574925 w 2889264"/>
              <a:gd name="connsiteY88" fmla="*/ 565150 h 733425"/>
              <a:gd name="connsiteX89" fmla="*/ 2600325 w 2889264"/>
              <a:gd name="connsiteY89" fmla="*/ 577850 h 733425"/>
              <a:gd name="connsiteX90" fmla="*/ 2616200 w 2889264"/>
              <a:gd name="connsiteY90" fmla="*/ 581025 h 733425"/>
              <a:gd name="connsiteX91" fmla="*/ 2638425 w 2889264"/>
              <a:gd name="connsiteY91" fmla="*/ 587375 h 733425"/>
              <a:gd name="connsiteX92" fmla="*/ 2654300 w 2889264"/>
              <a:gd name="connsiteY92" fmla="*/ 596900 h 733425"/>
              <a:gd name="connsiteX93" fmla="*/ 2673350 w 2889264"/>
              <a:gd name="connsiteY93" fmla="*/ 603250 h 733425"/>
              <a:gd name="connsiteX94" fmla="*/ 2708275 w 2889264"/>
              <a:gd name="connsiteY94" fmla="*/ 625475 h 733425"/>
              <a:gd name="connsiteX95" fmla="*/ 2730500 w 2889264"/>
              <a:gd name="connsiteY95" fmla="*/ 635000 h 733425"/>
              <a:gd name="connsiteX96" fmla="*/ 2749550 w 2889264"/>
              <a:gd name="connsiteY96" fmla="*/ 650875 h 733425"/>
              <a:gd name="connsiteX97" fmla="*/ 2774950 w 2889264"/>
              <a:gd name="connsiteY97" fmla="*/ 663575 h 733425"/>
              <a:gd name="connsiteX98" fmla="*/ 2803525 w 2889264"/>
              <a:gd name="connsiteY98" fmla="*/ 676275 h 733425"/>
              <a:gd name="connsiteX99" fmla="*/ 2816225 w 2889264"/>
              <a:gd name="connsiteY99" fmla="*/ 685800 h 733425"/>
              <a:gd name="connsiteX100" fmla="*/ 2832100 w 2889264"/>
              <a:gd name="connsiteY100" fmla="*/ 692150 h 733425"/>
              <a:gd name="connsiteX101" fmla="*/ 2876550 w 2889264"/>
              <a:gd name="connsiteY101" fmla="*/ 723900 h 733425"/>
              <a:gd name="connsiteX102" fmla="*/ 2889250 w 2889264"/>
              <a:gd name="connsiteY102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568325 w 2889264"/>
              <a:gd name="connsiteY9" fmla="*/ 447675 h 733425"/>
              <a:gd name="connsiteX10" fmla="*/ 612775 w 2889264"/>
              <a:gd name="connsiteY10" fmla="*/ 428625 h 733425"/>
              <a:gd name="connsiteX11" fmla="*/ 657225 w 2889264"/>
              <a:gd name="connsiteY11" fmla="*/ 406400 h 733425"/>
              <a:gd name="connsiteX12" fmla="*/ 736600 w 2889264"/>
              <a:gd name="connsiteY12" fmla="*/ 368300 h 733425"/>
              <a:gd name="connsiteX13" fmla="*/ 800100 w 2889264"/>
              <a:gd name="connsiteY13" fmla="*/ 336550 h 733425"/>
              <a:gd name="connsiteX14" fmla="*/ 898525 w 2889264"/>
              <a:gd name="connsiteY14" fmla="*/ 288925 h 733425"/>
              <a:gd name="connsiteX15" fmla="*/ 923925 w 2889264"/>
              <a:gd name="connsiteY15" fmla="*/ 269875 h 733425"/>
              <a:gd name="connsiteX16" fmla="*/ 933450 w 2889264"/>
              <a:gd name="connsiteY16" fmla="*/ 260350 h 733425"/>
              <a:gd name="connsiteX17" fmla="*/ 958850 w 2889264"/>
              <a:gd name="connsiteY17" fmla="*/ 247650 h 733425"/>
              <a:gd name="connsiteX18" fmla="*/ 968375 w 2889264"/>
              <a:gd name="connsiteY18" fmla="*/ 241300 h 733425"/>
              <a:gd name="connsiteX19" fmla="*/ 984250 w 2889264"/>
              <a:gd name="connsiteY19" fmla="*/ 234950 h 733425"/>
              <a:gd name="connsiteX20" fmla="*/ 1006475 w 2889264"/>
              <a:gd name="connsiteY20" fmla="*/ 225425 h 733425"/>
              <a:gd name="connsiteX21" fmla="*/ 1050925 w 2889264"/>
              <a:gd name="connsiteY21" fmla="*/ 212725 h 733425"/>
              <a:gd name="connsiteX22" fmla="*/ 1079500 w 2889264"/>
              <a:gd name="connsiteY22" fmla="*/ 200025 h 733425"/>
              <a:gd name="connsiteX23" fmla="*/ 1098550 w 2889264"/>
              <a:gd name="connsiteY23" fmla="*/ 193675 h 733425"/>
              <a:gd name="connsiteX24" fmla="*/ 1111250 w 2889264"/>
              <a:gd name="connsiteY24" fmla="*/ 187325 h 733425"/>
              <a:gd name="connsiteX25" fmla="*/ 1136650 w 2889264"/>
              <a:gd name="connsiteY25" fmla="*/ 177800 h 733425"/>
              <a:gd name="connsiteX26" fmla="*/ 1181100 w 2889264"/>
              <a:gd name="connsiteY26" fmla="*/ 152400 h 733425"/>
              <a:gd name="connsiteX27" fmla="*/ 1203325 w 2889264"/>
              <a:gd name="connsiteY27" fmla="*/ 130175 h 733425"/>
              <a:gd name="connsiteX28" fmla="*/ 1219200 w 2889264"/>
              <a:gd name="connsiteY28" fmla="*/ 117475 h 733425"/>
              <a:gd name="connsiteX29" fmla="*/ 1276350 w 2889264"/>
              <a:gd name="connsiteY29" fmla="*/ 85725 h 733425"/>
              <a:gd name="connsiteX30" fmla="*/ 1289050 w 2889264"/>
              <a:gd name="connsiteY30" fmla="*/ 79375 h 733425"/>
              <a:gd name="connsiteX31" fmla="*/ 1327150 w 2889264"/>
              <a:gd name="connsiteY31" fmla="*/ 66675 h 733425"/>
              <a:gd name="connsiteX32" fmla="*/ 1343025 w 2889264"/>
              <a:gd name="connsiteY32" fmla="*/ 57150 h 733425"/>
              <a:gd name="connsiteX33" fmla="*/ 1355725 w 2889264"/>
              <a:gd name="connsiteY33" fmla="*/ 47625 h 733425"/>
              <a:gd name="connsiteX34" fmla="*/ 1377950 w 2889264"/>
              <a:gd name="connsiteY34" fmla="*/ 38100 h 733425"/>
              <a:gd name="connsiteX35" fmla="*/ 1416050 w 2889264"/>
              <a:gd name="connsiteY35" fmla="*/ 12700 h 733425"/>
              <a:gd name="connsiteX36" fmla="*/ 1428750 w 2889264"/>
              <a:gd name="connsiteY36" fmla="*/ 0 h 733425"/>
              <a:gd name="connsiteX37" fmla="*/ 1470025 w 2889264"/>
              <a:gd name="connsiteY37" fmla="*/ 28575 h 733425"/>
              <a:gd name="connsiteX38" fmla="*/ 1504950 w 2889264"/>
              <a:gd name="connsiteY38" fmla="*/ 41275 h 733425"/>
              <a:gd name="connsiteX39" fmla="*/ 1517650 w 2889264"/>
              <a:gd name="connsiteY39" fmla="*/ 50800 h 733425"/>
              <a:gd name="connsiteX40" fmla="*/ 1549400 w 2889264"/>
              <a:gd name="connsiteY40" fmla="*/ 60325 h 733425"/>
              <a:gd name="connsiteX41" fmla="*/ 1562100 w 2889264"/>
              <a:gd name="connsiteY41" fmla="*/ 69850 h 733425"/>
              <a:gd name="connsiteX42" fmla="*/ 1574800 w 2889264"/>
              <a:gd name="connsiteY42" fmla="*/ 73025 h 733425"/>
              <a:gd name="connsiteX43" fmla="*/ 1590675 w 2889264"/>
              <a:gd name="connsiteY43" fmla="*/ 79375 h 733425"/>
              <a:gd name="connsiteX44" fmla="*/ 1600200 w 2889264"/>
              <a:gd name="connsiteY44" fmla="*/ 85725 h 733425"/>
              <a:gd name="connsiteX45" fmla="*/ 1612900 w 2889264"/>
              <a:gd name="connsiteY45" fmla="*/ 92075 h 733425"/>
              <a:gd name="connsiteX46" fmla="*/ 1625600 w 2889264"/>
              <a:gd name="connsiteY46" fmla="*/ 101600 h 733425"/>
              <a:gd name="connsiteX47" fmla="*/ 1635125 w 2889264"/>
              <a:gd name="connsiteY47" fmla="*/ 104775 h 733425"/>
              <a:gd name="connsiteX48" fmla="*/ 1654175 w 2889264"/>
              <a:gd name="connsiteY48" fmla="*/ 114300 h 733425"/>
              <a:gd name="connsiteX49" fmla="*/ 1676400 w 2889264"/>
              <a:gd name="connsiteY49" fmla="*/ 130175 h 733425"/>
              <a:gd name="connsiteX50" fmla="*/ 1689100 w 2889264"/>
              <a:gd name="connsiteY50" fmla="*/ 136525 h 733425"/>
              <a:gd name="connsiteX51" fmla="*/ 1714500 w 2889264"/>
              <a:gd name="connsiteY51" fmla="*/ 146050 h 733425"/>
              <a:gd name="connsiteX52" fmla="*/ 1727200 w 2889264"/>
              <a:gd name="connsiteY52" fmla="*/ 155575 h 733425"/>
              <a:gd name="connsiteX53" fmla="*/ 1758950 w 2889264"/>
              <a:gd name="connsiteY53" fmla="*/ 165100 h 733425"/>
              <a:gd name="connsiteX54" fmla="*/ 1768475 w 2889264"/>
              <a:gd name="connsiteY54" fmla="*/ 171450 h 733425"/>
              <a:gd name="connsiteX55" fmla="*/ 1781175 w 2889264"/>
              <a:gd name="connsiteY55" fmla="*/ 180975 h 733425"/>
              <a:gd name="connsiteX56" fmla="*/ 1793875 w 2889264"/>
              <a:gd name="connsiteY56" fmla="*/ 187325 h 733425"/>
              <a:gd name="connsiteX57" fmla="*/ 1838325 w 2889264"/>
              <a:gd name="connsiteY57" fmla="*/ 212725 h 733425"/>
              <a:gd name="connsiteX58" fmla="*/ 1847850 w 2889264"/>
              <a:gd name="connsiteY58" fmla="*/ 222250 h 733425"/>
              <a:gd name="connsiteX59" fmla="*/ 1885950 w 2889264"/>
              <a:gd name="connsiteY59" fmla="*/ 241300 h 733425"/>
              <a:gd name="connsiteX60" fmla="*/ 1901825 w 2889264"/>
              <a:gd name="connsiteY60" fmla="*/ 250825 h 733425"/>
              <a:gd name="connsiteX61" fmla="*/ 1933575 w 2889264"/>
              <a:gd name="connsiteY61" fmla="*/ 263525 h 733425"/>
              <a:gd name="connsiteX62" fmla="*/ 1962150 w 2889264"/>
              <a:gd name="connsiteY62" fmla="*/ 276225 h 733425"/>
              <a:gd name="connsiteX63" fmla="*/ 1971675 w 2889264"/>
              <a:gd name="connsiteY63" fmla="*/ 282575 h 733425"/>
              <a:gd name="connsiteX64" fmla="*/ 1987550 w 2889264"/>
              <a:gd name="connsiteY64" fmla="*/ 288925 h 733425"/>
              <a:gd name="connsiteX65" fmla="*/ 2022475 w 2889264"/>
              <a:gd name="connsiteY65" fmla="*/ 301625 h 733425"/>
              <a:gd name="connsiteX66" fmla="*/ 2047875 w 2889264"/>
              <a:gd name="connsiteY66" fmla="*/ 314325 h 733425"/>
              <a:gd name="connsiteX67" fmla="*/ 2063750 w 2889264"/>
              <a:gd name="connsiteY67" fmla="*/ 320675 h 733425"/>
              <a:gd name="connsiteX68" fmla="*/ 2082800 w 2889264"/>
              <a:gd name="connsiteY68" fmla="*/ 330200 h 733425"/>
              <a:gd name="connsiteX69" fmla="*/ 2095500 w 2889264"/>
              <a:gd name="connsiteY69" fmla="*/ 333375 h 733425"/>
              <a:gd name="connsiteX70" fmla="*/ 2124075 w 2889264"/>
              <a:gd name="connsiteY70" fmla="*/ 342900 h 733425"/>
              <a:gd name="connsiteX71" fmla="*/ 2159000 w 2889264"/>
              <a:gd name="connsiteY71" fmla="*/ 358775 h 733425"/>
              <a:gd name="connsiteX72" fmla="*/ 2187575 w 2889264"/>
              <a:gd name="connsiteY72" fmla="*/ 377825 h 733425"/>
              <a:gd name="connsiteX73" fmla="*/ 2209800 w 2889264"/>
              <a:gd name="connsiteY73" fmla="*/ 393700 h 733425"/>
              <a:gd name="connsiteX74" fmla="*/ 2247900 w 2889264"/>
              <a:gd name="connsiteY74" fmla="*/ 419100 h 733425"/>
              <a:gd name="connsiteX75" fmla="*/ 2276475 w 2889264"/>
              <a:gd name="connsiteY75" fmla="*/ 434975 h 733425"/>
              <a:gd name="connsiteX76" fmla="*/ 2289175 w 2889264"/>
              <a:gd name="connsiteY76" fmla="*/ 444500 h 733425"/>
              <a:gd name="connsiteX77" fmla="*/ 2308225 w 2889264"/>
              <a:gd name="connsiteY77" fmla="*/ 447675 h 733425"/>
              <a:gd name="connsiteX78" fmla="*/ 2333625 w 2889264"/>
              <a:gd name="connsiteY78" fmla="*/ 460375 h 733425"/>
              <a:gd name="connsiteX79" fmla="*/ 2352675 w 2889264"/>
              <a:gd name="connsiteY79" fmla="*/ 466725 h 733425"/>
              <a:gd name="connsiteX80" fmla="*/ 2397125 w 2889264"/>
              <a:gd name="connsiteY80" fmla="*/ 488950 h 733425"/>
              <a:gd name="connsiteX81" fmla="*/ 2422525 w 2889264"/>
              <a:gd name="connsiteY81" fmla="*/ 495300 h 733425"/>
              <a:gd name="connsiteX82" fmla="*/ 2432050 w 2889264"/>
              <a:gd name="connsiteY82" fmla="*/ 498475 h 733425"/>
              <a:gd name="connsiteX83" fmla="*/ 2454275 w 2889264"/>
              <a:gd name="connsiteY83" fmla="*/ 511175 h 733425"/>
              <a:gd name="connsiteX84" fmla="*/ 2470150 w 2889264"/>
              <a:gd name="connsiteY84" fmla="*/ 523875 h 733425"/>
              <a:gd name="connsiteX85" fmla="*/ 2495550 w 2889264"/>
              <a:gd name="connsiteY85" fmla="*/ 533400 h 733425"/>
              <a:gd name="connsiteX86" fmla="*/ 2546350 w 2889264"/>
              <a:gd name="connsiteY86" fmla="*/ 558800 h 733425"/>
              <a:gd name="connsiteX87" fmla="*/ 2574925 w 2889264"/>
              <a:gd name="connsiteY87" fmla="*/ 565150 h 733425"/>
              <a:gd name="connsiteX88" fmla="*/ 2600325 w 2889264"/>
              <a:gd name="connsiteY88" fmla="*/ 577850 h 733425"/>
              <a:gd name="connsiteX89" fmla="*/ 2616200 w 2889264"/>
              <a:gd name="connsiteY89" fmla="*/ 581025 h 733425"/>
              <a:gd name="connsiteX90" fmla="*/ 2638425 w 2889264"/>
              <a:gd name="connsiteY90" fmla="*/ 587375 h 733425"/>
              <a:gd name="connsiteX91" fmla="*/ 2654300 w 2889264"/>
              <a:gd name="connsiteY91" fmla="*/ 596900 h 733425"/>
              <a:gd name="connsiteX92" fmla="*/ 2673350 w 2889264"/>
              <a:gd name="connsiteY92" fmla="*/ 603250 h 733425"/>
              <a:gd name="connsiteX93" fmla="*/ 2708275 w 2889264"/>
              <a:gd name="connsiteY93" fmla="*/ 625475 h 733425"/>
              <a:gd name="connsiteX94" fmla="*/ 2730500 w 2889264"/>
              <a:gd name="connsiteY94" fmla="*/ 635000 h 733425"/>
              <a:gd name="connsiteX95" fmla="*/ 2749550 w 2889264"/>
              <a:gd name="connsiteY95" fmla="*/ 650875 h 733425"/>
              <a:gd name="connsiteX96" fmla="*/ 2774950 w 2889264"/>
              <a:gd name="connsiteY96" fmla="*/ 663575 h 733425"/>
              <a:gd name="connsiteX97" fmla="*/ 2803525 w 2889264"/>
              <a:gd name="connsiteY97" fmla="*/ 676275 h 733425"/>
              <a:gd name="connsiteX98" fmla="*/ 2816225 w 2889264"/>
              <a:gd name="connsiteY98" fmla="*/ 685800 h 733425"/>
              <a:gd name="connsiteX99" fmla="*/ 2832100 w 2889264"/>
              <a:gd name="connsiteY99" fmla="*/ 692150 h 733425"/>
              <a:gd name="connsiteX100" fmla="*/ 2876550 w 2889264"/>
              <a:gd name="connsiteY100" fmla="*/ 723900 h 733425"/>
              <a:gd name="connsiteX101" fmla="*/ 2889250 w 2889264"/>
              <a:gd name="connsiteY101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476250 w 2889264"/>
              <a:gd name="connsiteY7" fmla="*/ 495300 h 733425"/>
              <a:gd name="connsiteX8" fmla="*/ 523875 w 2889264"/>
              <a:gd name="connsiteY8" fmla="*/ 469900 h 733425"/>
              <a:gd name="connsiteX9" fmla="*/ 612775 w 2889264"/>
              <a:gd name="connsiteY9" fmla="*/ 428625 h 733425"/>
              <a:gd name="connsiteX10" fmla="*/ 657225 w 2889264"/>
              <a:gd name="connsiteY10" fmla="*/ 406400 h 733425"/>
              <a:gd name="connsiteX11" fmla="*/ 736600 w 2889264"/>
              <a:gd name="connsiteY11" fmla="*/ 368300 h 733425"/>
              <a:gd name="connsiteX12" fmla="*/ 800100 w 2889264"/>
              <a:gd name="connsiteY12" fmla="*/ 336550 h 733425"/>
              <a:gd name="connsiteX13" fmla="*/ 898525 w 2889264"/>
              <a:gd name="connsiteY13" fmla="*/ 288925 h 733425"/>
              <a:gd name="connsiteX14" fmla="*/ 923925 w 2889264"/>
              <a:gd name="connsiteY14" fmla="*/ 269875 h 733425"/>
              <a:gd name="connsiteX15" fmla="*/ 933450 w 2889264"/>
              <a:gd name="connsiteY15" fmla="*/ 260350 h 733425"/>
              <a:gd name="connsiteX16" fmla="*/ 958850 w 2889264"/>
              <a:gd name="connsiteY16" fmla="*/ 247650 h 733425"/>
              <a:gd name="connsiteX17" fmla="*/ 968375 w 2889264"/>
              <a:gd name="connsiteY17" fmla="*/ 241300 h 733425"/>
              <a:gd name="connsiteX18" fmla="*/ 984250 w 2889264"/>
              <a:gd name="connsiteY18" fmla="*/ 234950 h 733425"/>
              <a:gd name="connsiteX19" fmla="*/ 1006475 w 2889264"/>
              <a:gd name="connsiteY19" fmla="*/ 225425 h 733425"/>
              <a:gd name="connsiteX20" fmla="*/ 1050925 w 2889264"/>
              <a:gd name="connsiteY20" fmla="*/ 212725 h 733425"/>
              <a:gd name="connsiteX21" fmla="*/ 1079500 w 2889264"/>
              <a:gd name="connsiteY21" fmla="*/ 200025 h 733425"/>
              <a:gd name="connsiteX22" fmla="*/ 1098550 w 2889264"/>
              <a:gd name="connsiteY22" fmla="*/ 193675 h 733425"/>
              <a:gd name="connsiteX23" fmla="*/ 1111250 w 2889264"/>
              <a:gd name="connsiteY23" fmla="*/ 187325 h 733425"/>
              <a:gd name="connsiteX24" fmla="*/ 1136650 w 2889264"/>
              <a:gd name="connsiteY24" fmla="*/ 177800 h 733425"/>
              <a:gd name="connsiteX25" fmla="*/ 1181100 w 2889264"/>
              <a:gd name="connsiteY25" fmla="*/ 152400 h 733425"/>
              <a:gd name="connsiteX26" fmla="*/ 1203325 w 2889264"/>
              <a:gd name="connsiteY26" fmla="*/ 130175 h 733425"/>
              <a:gd name="connsiteX27" fmla="*/ 1219200 w 2889264"/>
              <a:gd name="connsiteY27" fmla="*/ 117475 h 733425"/>
              <a:gd name="connsiteX28" fmla="*/ 1276350 w 2889264"/>
              <a:gd name="connsiteY28" fmla="*/ 85725 h 733425"/>
              <a:gd name="connsiteX29" fmla="*/ 1289050 w 2889264"/>
              <a:gd name="connsiteY29" fmla="*/ 79375 h 733425"/>
              <a:gd name="connsiteX30" fmla="*/ 1327150 w 2889264"/>
              <a:gd name="connsiteY30" fmla="*/ 66675 h 733425"/>
              <a:gd name="connsiteX31" fmla="*/ 1343025 w 2889264"/>
              <a:gd name="connsiteY31" fmla="*/ 57150 h 733425"/>
              <a:gd name="connsiteX32" fmla="*/ 1355725 w 2889264"/>
              <a:gd name="connsiteY32" fmla="*/ 47625 h 733425"/>
              <a:gd name="connsiteX33" fmla="*/ 1377950 w 2889264"/>
              <a:gd name="connsiteY33" fmla="*/ 38100 h 733425"/>
              <a:gd name="connsiteX34" fmla="*/ 1416050 w 2889264"/>
              <a:gd name="connsiteY34" fmla="*/ 12700 h 733425"/>
              <a:gd name="connsiteX35" fmla="*/ 1428750 w 2889264"/>
              <a:gd name="connsiteY35" fmla="*/ 0 h 733425"/>
              <a:gd name="connsiteX36" fmla="*/ 1470025 w 2889264"/>
              <a:gd name="connsiteY36" fmla="*/ 28575 h 733425"/>
              <a:gd name="connsiteX37" fmla="*/ 1504950 w 2889264"/>
              <a:gd name="connsiteY37" fmla="*/ 41275 h 733425"/>
              <a:gd name="connsiteX38" fmla="*/ 1517650 w 2889264"/>
              <a:gd name="connsiteY38" fmla="*/ 50800 h 733425"/>
              <a:gd name="connsiteX39" fmla="*/ 1549400 w 2889264"/>
              <a:gd name="connsiteY39" fmla="*/ 60325 h 733425"/>
              <a:gd name="connsiteX40" fmla="*/ 1562100 w 2889264"/>
              <a:gd name="connsiteY40" fmla="*/ 69850 h 733425"/>
              <a:gd name="connsiteX41" fmla="*/ 1574800 w 2889264"/>
              <a:gd name="connsiteY41" fmla="*/ 73025 h 733425"/>
              <a:gd name="connsiteX42" fmla="*/ 1590675 w 2889264"/>
              <a:gd name="connsiteY42" fmla="*/ 79375 h 733425"/>
              <a:gd name="connsiteX43" fmla="*/ 1600200 w 2889264"/>
              <a:gd name="connsiteY43" fmla="*/ 85725 h 733425"/>
              <a:gd name="connsiteX44" fmla="*/ 1612900 w 2889264"/>
              <a:gd name="connsiteY44" fmla="*/ 92075 h 733425"/>
              <a:gd name="connsiteX45" fmla="*/ 1625600 w 2889264"/>
              <a:gd name="connsiteY45" fmla="*/ 101600 h 733425"/>
              <a:gd name="connsiteX46" fmla="*/ 1635125 w 2889264"/>
              <a:gd name="connsiteY46" fmla="*/ 104775 h 733425"/>
              <a:gd name="connsiteX47" fmla="*/ 1654175 w 2889264"/>
              <a:gd name="connsiteY47" fmla="*/ 114300 h 733425"/>
              <a:gd name="connsiteX48" fmla="*/ 1676400 w 2889264"/>
              <a:gd name="connsiteY48" fmla="*/ 130175 h 733425"/>
              <a:gd name="connsiteX49" fmla="*/ 1689100 w 2889264"/>
              <a:gd name="connsiteY49" fmla="*/ 136525 h 733425"/>
              <a:gd name="connsiteX50" fmla="*/ 1714500 w 2889264"/>
              <a:gd name="connsiteY50" fmla="*/ 146050 h 733425"/>
              <a:gd name="connsiteX51" fmla="*/ 1727200 w 2889264"/>
              <a:gd name="connsiteY51" fmla="*/ 155575 h 733425"/>
              <a:gd name="connsiteX52" fmla="*/ 1758950 w 2889264"/>
              <a:gd name="connsiteY52" fmla="*/ 165100 h 733425"/>
              <a:gd name="connsiteX53" fmla="*/ 1768475 w 2889264"/>
              <a:gd name="connsiteY53" fmla="*/ 171450 h 733425"/>
              <a:gd name="connsiteX54" fmla="*/ 1781175 w 2889264"/>
              <a:gd name="connsiteY54" fmla="*/ 180975 h 733425"/>
              <a:gd name="connsiteX55" fmla="*/ 1793875 w 2889264"/>
              <a:gd name="connsiteY55" fmla="*/ 187325 h 733425"/>
              <a:gd name="connsiteX56" fmla="*/ 1838325 w 2889264"/>
              <a:gd name="connsiteY56" fmla="*/ 212725 h 733425"/>
              <a:gd name="connsiteX57" fmla="*/ 1847850 w 2889264"/>
              <a:gd name="connsiteY57" fmla="*/ 222250 h 733425"/>
              <a:gd name="connsiteX58" fmla="*/ 1885950 w 2889264"/>
              <a:gd name="connsiteY58" fmla="*/ 241300 h 733425"/>
              <a:gd name="connsiteX59" fmla="*/ 1901825 w 2889264"/>
              <a:gd name="connsiteY59" fmla="*/ 250825 h 733425"/>
              <a:gd name="connsiteX60" fmla="*/ 1933575 w 2889264"/>
              <a:gd name="connsiteY60" fmla="*/ 263525 h 733425"/>
              <a:gd name="connsiteX61" fmla="*/ 1962150 w 2889264"/>
              <a:gd name="connsiteY61" fmla="*/ 276225 h 733425"/>
              <a:gd name="connsiteX62" fmla="*/ 1971675 w 2889264"/>
              <a:gd name="connsiteY62" fmla="*/ 282575 h 733425"/>
              <a:gd name="connsiteX63" fmla="*/ 1987550 w 2889264"/>
              <a:gd name="connsiteY63" fmla="*/ 288925 h 733425"/>
              <a:gd name="connsiteX64" fmla="*/ 2022475 w 2889264"/>
              <a:gd name="connsiteY64" fmla="*/ 301625 h 733425"/>
              <a:gd name="connsiteX65" fmla="*/ 2047875 w 2889264"/>
              <a:gd name="connsiteY65" fmla="*/ 314325 h 733425"/>
              <a:gd name="connsiteX66" fmla="*/ 2063750 w 2889264"/>
              <a:gd name="connsiteY66" fmla="*/ 320675 h 733425"/>
              <a:gd name="connsiteX67" fmla="*/ 2082800 w 2889264"/>
              <a:gd name="connsiteY67" fmla="*/ 330200 h 733425"/>
              <a:gd name="connsiteX68" fmla="*/ 2095500 w 2889264"/>
              <a:gd name="connsiteY68" fmla="*/ 333375 h 733425"/>
              <a:gd name="connsiteX69" fmla="*/ 2124075 w 2889264"/>
              <a:gd name="connsiteY69" fmla="*/ 342900 h 733425"/>
              <a:gd name="connsiteX70" fmla="*/ 2159000 w 2889264"/>
              <a:gd name="connsiteY70" fmla="*/ 358775 h 733425"/>
              <a:gd name="connsiteX71" fmla="*/ 2187575 w 2889264"/>
              <a:gd name="connsiteY71" fmla="*/ 377825 h 733425"/>
              <a:gd name="connsiteX72" fmla="*/ 2209800 w 2889264"/>
              <a:gd name="connsiteY72" fmla="*/ 393700 h 733425"/>
              <a:gd name="connsiteX73" fmla="*/ 2247900 w 2889264"/>
              <a:gd name="connsiteY73" fmla="*/ 419100 h 733425"/>
              <a:gd name="connsiteX74" fmla="*/ 2276475 w 2889264"/>
              <a:gd name="connsiteY74" fmla="*/ 434975 h 733425"/>
              <a:gd name="connsiteX75" fmla="*/ 2289175 w 2889264"/>
              <a:gd name="connsiteY75" fmla="*/ 444500 h 733425"/>
              <a:gd name="connsiteX76" fmla="*/ 2308225 w 2889264"/>
              <a:gd name="connsiteY76" fmla="*/ 447675 h 733425"/>
              <a:gd name="connsiteX77" fmla="*/ 2333625 w 2889264"/>
              <a:gd name="connsiteY77" fmla="*/ 460375 h 733425"/>
              <a:gd name="connsiteX78" fmla="*/ 2352675 w 2889264"/>
              <a:gd name="connsiteY78" fmla="*/ 466725 h 733425"/>
              <a:gd name="connsiteX79" fmla="*/ 2397125 w 2889264"/>
              <a:gd name="connsiteY79" fmla="*/ 488950 h 733425"/>
              <a:gd name="connsiteX80" fmla="*/ 2422525 w 2889264"/>
              <a:gd name="connsiteY80" fmla="*/ 495300 h 733425"/>
              <a:gd name="connsiteX81" fmla="*/ 2432050 w 2889264"/>
              <a:gd name="connsiteY81" fmla="*/ 498475 h 733425"/>
              <a:gd name="connsiteX82" fmla="*/ 2454275 w 2889264"/>
              <a:gd name="connsiteY82" fmla="*/ 511175 h 733425"/>
              <a:gd name="connsiteX83" fmla="*/ 2470150 w 2889264"/>
              <a:gd name="connsiteY83" fmla="*/ 523875 h 733425"/>
              <a:gd name="connsiteX84" fmla="*/ 2495550 w 2889264"/>
              <a:gd name="connsiteY84" fmla="*/ 533400 h 733425"/>
              <a:gd name="connsiteX85" fmla="*/ 2546350 w 2889264"/>
              <a:gd name="connsiteY85" fmla="*/ 558800 h 733425"/>
              <a:gd name="connsiteX86" fmla="*/ 2574925 w 2889264"/>
              <a:gd name="connsiteY86" fmla="*/ 565150 h 733425"/>
              <a:gd name="connsiteX87" fmla="*/ 2600325 w 2889264"/>
              <a:gd name="connsiteY87" fmla="*/ 577850 h 733425"/>
              <a:gd name="connsiteX88" fmla="*/ 2616200 w 2889264"/>
              <a:gd name="connsiteY88" fmla="*/ 581025 h 733425"/>
              <a:gd name="connsiteX89" fmla="*/ 2638425 w 2889264"/>
              <a:gd name="connsiteY89" fmla="*/ 587375 h 733425"/>
              <a:gd name="connsiteX90" fmla="*/ 2654300 w 2889264"/>
              <a:gd name="connsiteY90" fmla="*/ 596900 h 733425"/>
              <a:gd name="connsiteX91" fmla="*/ 2673350 w 2889264"/>
              <a:gd name="connsiteY91" fmla="*/ 603250 h 733425"/>
              <a:gd name="connsiteX92" fmla="*/ 2708275 w 2889264"/>
              <a:gd name="connsiteY92" fmla="*/ 625475 h 733425"/>
              <a:gd name="connsiteX93" fmla="*/ 2730500 w 2889264"/>
              <a:gd name="connsiteY93" fmla="*/ 635000 h 733425"/>
              <a:gd name="connsiteX94" fmla="*/ 2749550 w 2889264"/>
              <a:gd name="connsiteY94" fmla="*/ 650875 h 733425"/>
              <a:gd name="connsiteX95" fmla="*/ 2774950 w 2889264"/>
              <a:gd name="connsiteY95" fmla="*/ 663575 h 733425"/>
              <a:gd name="connsiteX96" fmla="*/ 2803525 w 2889264"/>
              <a:gd name="connsiteY96" fmla="*/ 676275 h 733425"/>
              <a:gd name="connsiteX97" fmla="*/ 2816225 w 2889264"/>
              <a:gd name="connsiteY97" fmla="*/ 685800 h 733425"/>
              <a:gd name="connsiteX98" fmla="*/ 2832100 w 2889264"/>
              <a:gd name="connsiteY98" fmla="*/ 692150 h 733425"/>
              <a:gd name="connsiteX99" fmla="*/ 2876550 w 2889264"/>
              <a:gd name="connsiteY99" fmla="*/ 723900 h 733425"/>
              <a:gd name="connsiteX100" fmla="*/ 2889250 w 2889264"/>
              <a:gd name="connsiteY100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03200 w 2889264"/>
              <a:gd name="connsiteY3" fmla="*/ 609600 h 733425"/>
              <a:gd name="connsiteX4" fmla="*/ 247650 w 2889264"/>
              <a:gd name="connsiteY4" fmla="*/ 593725 h 733425"/>
              <a:gd name="connsiteX5" fmla="*/ 352425 w 2889264"/>
              <a:gd name="connsiteY5" fmla="*/ 555625 h 733425"/>
              <a:gd name="connsiteX6" fmla="*/ 463550 w 2889264"/>
              <a:gd name="connsiteY6" fmla="*/ 498475 h 733425"/>
              <a:gd name="connsiteX7" fmla="*/ 523875 w 2889264"/>
              <a:gd name="connsiteY7" fmla="*/ 469900 h 733425"/>
              <a:gd name="connsiteX8" fmla="*/ 612775 w 2889264"/>
              <a:gd name="connsiteY8" fmla="*/ 428625 h 733425"/>
              <a:gd name="connsiteX9" fmla="*/ 657225 w 2889264"/>
              <a:gd name="connsiteY9" fmla="*/ 406400 h 733425"/>
              <a:gd name="connsiteX10" fmla="*/ 736600 w 2889264"/>
              <a:gd name="connsiteY10" fmla="*/ 368300 h 733425"/>
              <a:gd name="connsiteX11" fmla="*/ 800100 w 2889264"/>
              <a:gd name="connsiteY11" fmla="*/ 336550 h 733425"/>
              <a:gd name="connsiteX12" fmla="*/ 898525 w 2889264"/>
              <a:gd name="connsiteY12" fmla="*/ 288925 h 733425"/>
              <a:gd name="connsiteX13" fmla="*/ 923925 w 2889264"/>
              <a:gd name="connsiteY13" fmla="*/ 269875 h 733425"/>
              <a:gd name="connsiteX14" fmla="*/ 933450 w 2889264"/>
              <a:gd name="connsiteY14" fmla="*/ 260350 h 733425"/>
              <a:gd name="connsiteX15" fmla="*/ 958850 w 2889264"/>
              <a:gd name="connsiteY15" fmla="*/ 247650 h 733425"/>
              <a:gd name="connsiteX16" fmla="*/ 968375 w 2889264"/>
              <a:gd name="connsiteY16" fmla="*/ 241300 h 733425"/>
              <a:gd name="connsiteX17" fmla="*/ 984250 w 2889264"/>
              <a:gd name="connsiteY17" fmla="*/ 234950 h 733425"/>
              <a:gd name="connsiteX18" fmla="*/ 1006475 w 2889264"/>
              <a:gd name="connsiteY18" fmla="*/ 225425 h 733425"/>
              <a:gd name="connsiteX19" fmla="*/ 1050925 w 2889264"/>
              <a:gd name="connsiteY19" fmla="*/ 212725 h 733425"/>
              <a:gd name="connsiteX20" fmla="*/ 1079500 w 2889264"/>
              <a:gd name="connsiteY20" fmla="*/ 200025 h 733425"/>
              <a:gd name="connsiteX21" fmla="*/ 1098550 w 2889264"/>
              <a:gd name="connsiteY21" fmla="*/ 193675 h 733425"/>
              <a:gd name="connsiteX22" fmla="*/ 1111250 w 2889264"/>
              <a:gd name="connsiteY22" fmla="*/ 187325 h 733425"/>
              <a:gd name="connsiteX23" fmla="*/ 1136650 w 2889264"/>
              <a:gd name="connsiteY23" fmla="*/ 177800 h 733425"/>
              <a:gd name="connsiteX24" fmla="*/ 1181100 w 2889264"/>
              <a:gd name="connsiteY24" fmla="*/ 152400 h 733425"/>
              <a:gd name="connsiteX25" fmla="*/ 1203325 w 2889264"/>
              <a:gd name="connsiteY25" fmla="*/ 130175 h 733425"/>
              <a:gd name="connsiteX26" fmla="*/ 1219200 w 2889264"/>
              <a:gd name="connsiteY26" fmla="*/ 117475 h 733425"/>
              <a:gd name="connsiteX27" fmla="*/ 1276350 w 2889264"/>
              <a:gd name="connsiteY27" fmla="*/ 85725 h 733425"/>
              <a:gd name="connsiteX28" fmla="*/ 1289050 w 2889264"/>
              <a:gd name="connsiteY28" fmla="*/ 79375 h 733425"/>
              <a:gd name="connsiteX29" fmla="*/ 1327150 w 2889264"/>
              <a:gd name="connsiteY29" fmla="*/ 66675 h 733425"/>
              <a:gd name="connsiteX30" fmla="*/ 1343025 w 2889264"/>
              <a:gd name="connsiteY30" fmla="*/ 57150 h 733425"/>
              <a:gd name="connsiteX31" fmla="*/ 1355725 w 2889264"/>
              <a:gd name="connsiteY31" fmla="*/ 47625 h 733425"/>
              <a:gd name="connsiteX32" fmla="*/ 1377950 w 2889264"/>
              <a:gd name="connsiteY32" fmla="*/ 38100 h 733425"/>
              <a:gd name="connsiteX33" fmla="*/ 1416050 w 2889264"/>
              <a:gd name="connsiteY33" fmla="*/ 12700 h 733425"/>
              <a:gd name="connsiteX34" fmla="*/ 1428750 w 2889264"/>
              <a:gd name="connsiteY34" fmla="*/ 0 h 733425"/>
              <a:gd name="connsiteX35" fmla="*/ 1470025 w 2889264"/>
              <a:gd name="connsiteY35" fmla="*/ 28575 h 733425"/>
              <a:gd name="connsiteX36" fmla="*/ 1504950 w 2889264"/>
              <a:gd name="connsiteY36" fmla="*/ 41275 h 733425"/>
              <a:gd name="connsiteX37" fmla="*/ 1517650 w 2889264"/>
              <a:gd name="connsiteY37" fmla="*/ 50800 h 733425"/>
              <a:gd name="connsiteX38" fmla="*/ 1549400 w 2889264"/>
              <a:gd name="connsiteY38" fmla="*/ 60325 h 733425"/>
              <a:gd name="connsiteX39" fmla="*/ 1562100 w 2889264"/>
              <a:gd name="connsiteY39" fmla="*/ 69850 h 733425"/>
              <a:gd name="connsiteX40" fmla="*/ 1574800 w 2889264"/>
              <a:gd name="connsiteY40" fmla="*/ 73025 h 733425"/>
              <a:gd name="connsiteX41" fmla="*/ 1590675 w 2889264"/>
              <a:gd name="connsiteY41" fmla="*/ 79375 h 733425"/>
              <a:gd name="connsiteX42" fmla="*/ 1600200 w 2889264"/>
              <a:gd name="connsiteY42" fmla="*/ 85725 h 733425"/>
              <a:gd name="connsiteX43" fmla="*/ 1612900 w 2889264"/>
              <a:gd name="connsiteY43" fmla="*/ 92075 h 733425"/>
              <a:gd name="connsiteX44" fmla="*/ 1625600 w 2889264"/>
              <a:gd name="connsiteY44" fmla="*/ 101600 h 733425"/>
              <a:gd name="connsiteX45" fmla="*/ 1635125 w 2889264"/>
              <a:gd name="connsiteY45" fmla="*/ 104775 h 733425"/>
              <a:gd name="connsiteX46" fmla="*/ 1654175 w 2889264"/>
              <a:gd name="connsiteY46" fmla="*/ 114300 h 733425"/>
              <a:gd name="connsiteX47" fmla="*/ 1676400 w 2889264"/>
              <a:gd name="connsiteY47" fmla="*/ 130175 h 733425"/>
              <a:gd name="connsiteX48" fmla="*/ 1689100 w 2889264"/>
              <a:gd name="connsiteY48" fmla="*/ 136525 h 733425"/>
              <a:gd name="connsiteX49" fmla="*/ 1714500 w 2889264"/>
              <a:gd name="connsiteY49" fmla="*/ 146050 h 733425"/>
              <a:gd name="connsiteX50" fmla="*/ 1727200 w 2889264"/>
              <a:gd name="connsiteY50" fmla="*/ 155575 h 733425"/>
              <a:gd name="connsiteX51" fmla="*/ 1758950 w 2889264"/>
              <a:gd name="connsiteY51" fmla="*/ 165100 h 733425"/>
              <a:gd name="connsiteX52" fmla="*/ 1768475 w 2889264"/>
              <a:gd name="connsiteY52" fmla="*/ 171450 h 733425"/>
              <a:gd name="connsiteX53" fmla="*/ 1781175 w 2889264"/>
              <a:gd name="connsiteY53" fmla="*/ 180975 h 733425"/>
              <a:gd name="connsiteX54" fmla="*/ 1793875 w 2889264"/>
              <a:gd name="connsiteY54" fmla="*/ 187325 h 733425"/>
              <a:gd name="connsiteX55" fmla="*/ 1838325 w 2889264"/>
              <a:gd name="connsiteY55" fmla="*/ 212725 h 733425"/>
              <a:gd name="connsiteX56" fmla="*/ 1847850 w 2889264"/>
              <a:gd name="connsiteY56" fmla="*/ 222250 h 733425"/>
              <a:gd name="connsiteX57" fmla="*/ 1885950 w 2889264"/>
              <a:gd name="connsiteY57" fmla="*/ 241300 h 733425"/>
              <a:gd name="connsiteX58" fmla="*/ 1901825 w 2889264"/>
              <a:gd name="connsiteY58" fmla="*/ 250825 h 733425"/>
              <a:gd name="connsiteX59" fmla="*/ 1933575 w 2889264"/>
              <a:gd name="connsiteY59" fmla="*/ 263525 h 733425"/>
              <a:gd name="connsiteX60" fmla="*/ 1962150 w 2889264"/>
              <a:gd name="connsiteY60" fmla="*/ 276225 h 733425"/>
              <a:gd name="connsiteX61" fmla="*/ 1971675 w 2889264"/>
              <a:gd name="connsiteY61" fmla="*/ 282575 h 733425"/>
              <a:gd name="connsiteX62" fmla="*/ 1987550 w 2889264"/>
              <a:gd name="connsiteY62" fmla="*/ 288925 h 733425"/>
              <a:gd name="connsiteX63" fmla="*/ 2022475 w 2889264"/>
              <a:gd name="connsiteY63" fmla="*/ 301625 h 733425"/>
              <a:gd name="connsiteX64" fmla="*/ 2047875 w 2889264"/>
              <a:gd name="connsiteY64" fmla="*/ 314325 h 733425"/>
              <a:gd name="connsiteX65" fmla="*/ 2063750 w 2889264"/>
              <a:gd name="connsiteY65" fmla="*/ 320675 h 733425"/>
              <a:gd name="connsiteX66" fmla="*/ 2082800 w 2889264"/>
              <a:gd name="connsiteY66" fmla="*/ 330200 h 733425"/>
              <a:gd name="connsiteX67" fmla="*/ 2095500 w 2889264"/>
              <a:gd name="connsiteY67" fmla="*/ 333375 h 733425"/>
              <a:gd name="connsiteX68" fmla="*/ 2124075 w 2889264"/>
              <a:gd name="connsiteY68" fmla="*/ 342900 h 733425"/>
              <a:gd name="connsiteX69" fmla="*/ 2159000 w 2889264"/>
              <a:gd name="connsiteY69" fmla="*/ 358775 h 733425"/>
              <a:gd name="connsiteX70" fmla="*/ 2187575 w 2889264"/>
              <a:gd name="connsiteY70" fmla="*/ 377825 h 733425"/>
              <a:gd name="connsiteX71" fmla="*/ 2209800 w 2889264"/>
              <a:gd name="connsiteY71" fmla="*/ 393700 h 733425"/>
              <a:gd name="connsiteX72" fmla="*/ 2247900 w 2889264"/>
              <a:gd name="connsiteY72" fmla="*/ 419100 h 733425"/>
              <a:gd name="connsiteX73" fmla="*/ 2276475 w 2889264"/>
              <a:gd name="connsiteY73" fmla="*/ 434975 h 733425"/>
              <a:gd name="connsiteX74" fmla="*/ 2289175 w 2889264"/>
              <a:gd name="connsiteY74" fmla="*/ 444500 h 733425"/>
              <a:gd name="connsiteX75" fmla="*/ 2308225 w 2889264"/>
              <a:gd name="connsiteY75" fmla="*/ 447675 h 733425"/>
              <a:gd name="connsiteX76" fmla="*/ 2333625 w 2889264"/>
              <a:gd name="connsiteY76" fmla="*/ 460375 h 733425"/>
              <a:gd name="connsiteX77" fmla="*/ 2352675 w 2889264"/>
              <a:gd name="connsiteY77" fmla="*/ 466725 h 733425"/>
              <a:gd name="connsiteX78" fmla="*/ 2397125 w 2889264"/>
              <a:gd name="connsiteY78" fmla="*/ 488950 h 733425"/>
              <a:gd name="connsiteX79" fmla="*/ 2422525 w 2889264"/>
              <a:gd name="connsiteY79" fmla="*/ 495300 h 733425"/>
              <a:gd name="connsiteX80" fmla="*/ 2432050 w 2889264"/>
              <a:gd name="connsiteY80" fmla="*/ 498475 h 733425"/>
              <a:gd name="connsiteX81" fmla="*/ 2454275 w 2889264"/>
              <a:gd name="connsiteY81" fmla="*/ 511175 h 733425"/>
              <a:gd name="connsiteX82" fmla="*/ 2470150 w 2889264"/>
              <a:gd name="connsiteY82" fmla="*/ 523875 h 733425"/>
              <a:gd name="connsiteX83" fmla="*/ 2495550 w 2889264"/>
              <a:gd name="connsiteY83" fmla="*/ 533400 h 733425"/>
              <a:gd name="connsiteX84" fmla="*/ 2546350 w 2889264"/>
              <a:gd name="connsiteY84" fmla="*/ 558800 h 733425"/>
              <a:gd name="connsiteX85" fmla="*/ 2574925 w 2889264"/>
              <a:gd name="connsiteY85" fmla="*/ 565150 h 733425"/>
              <a:gd name="connsiteX86" fmla="*/ 2600325 w 2889264"/>
              <a:gd name="connsiteY86" fmla="*/ 577850 h 733425"/>
              <a:gd name="connsiteX87" fmla="*/ 2616200 w 2889264"/>
              <a:gd name="connsiteY87" fmla="*/ 581025 h 733425"/>
              <a:gd name="connsiteX88" fmla="*/ 2638425 w 2889264"/>
              <a:gd name="connsiteY88" fmla="*/ 587375 h 733425"/>
              <a:gd name="connsiteX89" fmla="*/ 2654300 w 2889264"/>
              <a:gd name="connsiteY89" fmla="*/ 596900 h 733425"/>
              <a:gd name="connsiteX90" fmla="*/ 2673350 w 2889264"/>
              <a:gd name="connsiteY90" fmla="*/ 603250 h 733425"/>
              <a:gd name="connsiteX91" fmla="*/ 2708275 w 2889264"/>
              <a:gd name="connsiteY91" fmla="*/ 625475 h 733425"/>
              <a:gd name="connsiteX92" fmla="*/ 2730500 w 2889264"/>
              <a:gd name="connsiteY92" fmla="*/ 635000 h 733425"/>
              <a:gd name="connsiteX93" fmla="*/ 2749550 w 2889264"/>
              <a:gd name="connsiteY93" fmla="*/ 650875 h 733425"/>
              <a:gd name="connsiteX94" fmla="*/ 2774950 w 2889264"/>
              <a:gd name="connsiteY94" fmla="*/ 663575 h 733425"/>
              <a:gd name="connsiteX95" fmla="*/ 2803525 w 2889264"/>
              <a:gd name="connsiteY95" fmla="*/ 676275 h 733425"/>
              <a:gd name="connsiteX96" fmla="*/ 2816225 w 2889264"/>
              <a:gd name="connsiteY96" fmla="*/ 685800 h 733425"/>
              <a:gd name="connsiteX97" fmla="*/ 2832100 w 2889264"/>
              <a:gd name="connsiteY97" fmla="*/ 692150 h 733425"/>
              <a:gd name="connsiteX98" fmla="*/ 2876550 w 2889264"/>
              <a:gd name="connsiteY98" fmla="*/ 723900 h 733425"/>
              <a:gd name="connsiteX99" fmla="*/ 2889250 w 2889264"/>
              <a:gd name="connsiteY99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23925 w 2889264"/>
              <a:gd name="connsiteY12" fmla="*/ 269875 h 733425"/>
              <a:gd name="connsiteX13" fmla="*/ 933450 w 2889264"/>
              <a:gd name="connsiteY13" fmla="*/ 260350 h 733425"/>
              <a:gd name="connsiteX14" fmla="*/ 958850 w 2889264"/>
              <a:gd name="connsiteY14" fmla="*/ 247650 h 733425"/>
              <a:gd name="connsiteX15" fmla="*/ 968375 w 2889264"/>
              <a:gd name="connsiteY15" fmla="*/ 241300 h 733425"/>
              <a:gd name="connsiteX16" fmla="*/ 984250 w 2889264"/>
              <a:gd name="connsiteY16" fmla="*/ 234950 h 733425"/>
              <a:gd name="connsiteX17" fmla="*/ 1006475 w 2889264"/>
              <a:gd name="connsiteY17" fmla="*/ 225425 h 733425"/>
              <a:gd name="connsiteX18" fmla="*/ 1050925 w 2889264"/>
              <a:gd name="connsiteY18" fmla="*/ 212725 h 733425"/>
              <a:gd name="connsiteX19" fmla="*/ 1079500 w 2889264"/>
              <a:gd name="connsiteY19" fmla="*/ 200025 h 733425"/>
              <a:gd name="connsiteX20" fmla="*/ 1098550 w 2889264"/>
              <a:gd name="connsiteY20" fmla="*/ 193675 h 733425"/>
              <a:gd name="connsiteX21" fmla="*/ 1111250 w 2889264"/>
              <a:gd name="connsiteY21" fmla="*/ 187325 h 733425"/>
              <a:gd name="connsiteX22" fmla="*/ 1136650 w 2889264"/>
              <a:gd name="connsiteY22" fmla="*/ 177800 h 733425"/>
              <a:gd name="connsiteX23" fmla="*/ 1181100 w 2889264"/>
              <a:gd name="connsiteY23" fmla="*/ 152400 h 733425"/>
              <a:gd name="connsiteX24" fmla="*/ 1203325 w 2889264"/>
              <a:gd name="connsiteY24" fmla="*/ 130175 h 733425"/>
              <a:gd name="connsiteX25" fmla="*/ 1219200 w 2889264"/>
              <a:gd name="connsiteY25" fmla="*/ 117475 h 733425"/>
              <a:gd name="connsiteX26" fmla="*/ 1276350 w 2889264"/>
              <a:gd name="connsiteY26" fmla="*/ 85725 h 733425"/>
              <a:gd name="connsiteX27" fmla="*/ 1289050 w 2889264"/>
              <a:gd name="connsiteY27" fmla="*/ 79375 h 733425"/>
              <a:gd name="connsiteX28" fmla="*/ 1327150 w 2889264"/>
              <a:gd name="connsiteY28" fmla="*/ 66675 h 733425"/>
              <a:gd name="connsiteX29" fmla="*/ 1343025 w 2889264"/>
              <a:gd name="connsiteY29" fmla="*/ 57150 h 733425"/>
              <a:gd name="connsiteX30" fmla="*/ 1355725 w 2889264"/>
              <a:gd name="connsiteY30" fmla="*/ 47625 h 733425"/>
              <a:gd name="connsiteX31" fmla="*/ 1377950 w 2889264"/>
              <a:gd name="connsiteY31" fmla="*/ 38100 h 733425"/>
              <a:gd name="connsiteX32" fmla="*/ 1416050 w 2889264"/>
              <a:gd name="connsiteY32" fmla="*/ 12700 h 733425"/>
              <a:gd name="connsiteX33" fmla="*/ 1428750 w 2889264"/>
              <a:gd name="connsiteY33" fmla="*/ 0 h 733425"/>
              <a:gd name="connsiteX34" fmla="*/ 1470025 w 2889264"/>
              <a:gd name="connsiteY34" fmla="*/ 28575 h 733425"/>
              <a:gd name="connsiteX35" fmla="*/ 1504950 w 2889264"/>
              <a:gd name="connsiteY35" fmla="*/ 41275 h 733425"/>
              <a:gd name="connsiteX36" fmla="*/ 1517650 w 2889264"/>
              <a:gd name="connsiteY36" fmla="*/ 50800 h 733425"/>
              <a:gd name="connsiteX37" fmla="*/ 1549400 w 2889264"/>
              <a:gd name="connsiteY37" fmla="*/ 60325 h 733425"/>
              <a:gd name="connsiteX38" fmla="*/ 1562100 w 2889264"/>
              <a:gd name="connsiteY38" fmla="*/ 69850 h 733425"/>
              <a:gd name="connsiteX39" fmla="*/ 1574800 w 2889264"/>
              <a:gd name="connsiteY39" fmla="*/ 73025 h 733425"/>
              <a:gd name="connsiteX40" fmla="*/ 1590675 w 2889264"/>
              <a:gd name="connsiteY40" fmla="*/ 79375 h 733425"/>
              <a:gd name="connsiteX41" fmla="*/ 1600200 w 2889264"/>
              <a:gd name="connsiteY41" fmla="*/ 85725 h 733425"/>
              <a:gd name="connsiteX42" fmla="*/ 1612900 w 2889264"/>
              <a:gd name="connsiteY42" fmla="*/ 92075 h 733425"/>
              <a:gd name="connsiteX43" fmla="*/ 1625600 w 2889264"/>
              <a:gd name="connsiteY43" fmla="*/ 101600 h 733425"/>
              <a:gd name="connsiteX44" fmla="*/ 1635125 w 2889264"/>
              <a:gd name="connsiteY44" fmla="*/ 104775 h 733425"/>
              <a:gd name="connsiteX45" fmla="*/ 1654175 w 2889264"/>
              <a:gd name="connsiteY45" fmla="*/ 114300 h 733425"/>
              <a:gd name="connsiteX46" fmla="*/ 1676400 w 2889264"/>
              <a:gd name="connsiteY46" fmla="*/ 130175 h 733425"/>
              <a:gd name="connsiteX47" fmla="*/ 1689100 w 2889264"/>
              <a:gd name="connsiteY47" fmla="*/ 136525 h 733425"/>
              <a:gd name="connsiteX48" fmla="*/ 1714500 w 2889264"/>
              <a:gd name="connsiteY48" fmla="*/ 146050 h 733425"/>
              <a:gd name="connsiteX49" fmla="*/ 1727200 w 2889264"/>
              <a:gd name="connsiteY49" fmla="*/ 155575 h 733425"/>
              <a:gd name="connsiteX50" fmla="*/ 1758950 w 2889264"/>
              <a:gd name="connsiteY50" fmla="*/ 165100 h 733425"/>
              <a:gd name="connsiteX51" fmla="*/ 1768475 w 2889264"/>
              <a:gd name="connsiteY51" fmla="*/ 171450 h 733425"/>
              <a:gd name="connsiteX52" fmla="*/ 1781175 w 2889264"/>
              <a:gd name="connsiteY52" fmla="*/ 180975 h 733425"/>
              <a:gd name="connsiteX53" fmla="*/ 1793875 w 2889264"/>
              <a:gd name="connsiteY53" fmla="*/ 187325 h 733425"/>
              <a:gd name="connsiteX54" fmla="*/ 1838325 w 2889264"/>
              <a:gd name="connsiteY54" fmla="*/ 212725 h 733425"/>
              <a:gd name="connsiteX55" fmla="*/ 1847850 w 2889264"/>
              <a:gd name="connsiteY55" fmla="*/ 222250 h 733425"/>
              <a:gd name="connsiteX56" fmla="*/ 1885950 w 2889264"/>
              <a:gd name="connsiteY56" fmla="*/ 241300 h 733425"/>
              <a:gd name="connsiteX57" fmla="*/ 1901825 w 2889264"/>
              <a:gd name="connsiteY57" fmla="*/ 250825 h 733425"/>
              <a:gd name="connsiteX58" fmla="*/ 1933575 w 2889264"/>
              <a:gd name="connsiteY58" fmla="*/ 263525 h 733425"/>
              <a:gd name="connsiteX59" fmla="*/ 1962150 w 2889264"/>
              <a:gd name="connsiteY59" fmla="*/ 276225 h 733425"/>
              <a:gd name="connsiteX60" fmla="*/ 1971675 w 2889264"/>
              <a:gd name="connsiteY60" fmla="*/ 282575 h 733425"/>
              <a:gd name="connsiteX61" fmla="*/ 1987550 w 2889264"/>
              <a:gd name="connsiteY61" fmla="*/ 288925 h 733425"/>
              <a:gd name="connsiteX62" fmla="*/ 2022475 w 2889264"/>
              <a:gd name="connsiteY62" fmla="*/ 301625 h 733425"/>
              <a:gd name="connsiteX63" fmla="*/ 2047875 w 2889264"/>
              <a:gd name="connsiteY63" fmla="*/ 314325 h 733425"/>
              <a:gd name="connsiteX64" fmla="*/ 2063750 w 2889264"/>
              <a:gd name="connsiteY64" fmla="*/ 320675 h 733425"/>
              <a:gd name="connsiteX65" fmla="*/ 2082800 w 2889264"/>
              <a:gd name="connsiteY65" fmla="*/ 330200 h 733425"/>
              <a:gd name="connsiteX66" fmla="*/ 2095500 w 2889264"/>
              <a:gd name="connsiteY66" fmla="*/ 333375 h 733425"/>
              <a:gd name="connsiteX67" fmla="*/ 2124075 w 2889264"/>
              <a:gd name="connsiteY67" fmla="*/ 342900 h 733425"/>
              <a:gd name="connsiteX68" fmla="*/ 2159000 w 2889264"/>
              <a:gd name="connsiteY68" fmla="*/ 358775 h 733425"/>
              <a:gd name="connsiteX69" fmla="*/ 2187575 w 2889264"/>
              <a:gd name="connsiteY69" fmla="*/ 377825 h 733425"/>
              <a:gd name="connsiteX70" fmla="*/ 2209800 w 2889264"/>
              <a:gd name="connsiteY70" fmla="*/ 393700 h 733425"/>
              <a:gd name="connsiteX71" fmla="*/ 2247900 w 2889264"/>
              <a:gd name="connsiteY71" fmla="*/ 419100 h 733425"/>
              <a:gd name="connsiteX72" fmla="*/ 2276475 w 2889264"/>
              <a:gd name="connsiteY72" fmla="*/ 434975 h 733425"/>
              <a:gd name="connsiteX73" fmla="*/ 2289175 w 2889264"/>
              <a:gd name="connsiteY73" fmla="*/ 444500 h 733425"/>
              <a:gd name="connsiteX74" fmla="*/ 2308225 w 2889264"/>
              <a:gd name="connsiteY74" fmla="*/ 447675 h 733425"/>
              <a:gd name="connsiteX75" fmla="*/ 2333625 w 2889264"/>
              <a:gd name="connsiteY75" fmla="*/ 460375 h 733425"/>
              <a:gd name="connsiteX76" fmla="*/ 2352675 w 2889264"/>
              <a:gd name="connsiteY76" fmla="*/ 466725 h 733425"/>
              <a:gd name="connsiteX77" fmla="*/ 2397125 w 2889264"/>
              <a:gd name="connsiteY77" fmla="*/ 488950 h 733425"/>
              <a:gd name="connsiteX78" fmla="*/ 2422525 w 2889264"/>
              <a:gd name="connsiteY78" fmla="*/ 495300 h 733425"/>
              <a:gd name="connsiteX79" fmla="*/ 2432050 w 2889264"/>
              <a:gd name="connsiteY79" fmla="*/ 498475 h 733425"/>
              <a:gd name="connsiteX80" fmla="*/ 2454275 w 2889264"/>
              <a:gd name="connsiteY80" fmla="*/ 511175 h 733425"/>
              <a:gd name="connsiteX81" fmla="*/ 2470150 w 2889264"/>
              <a:gd name="connsiteY81" fmla="*/ 523875 h 733425"/>
              <a:gd name="connsiteX82" fmla="*/ 2495550 w 2889264"/>
              <a:gd name="connsiteY82" fmla="*/ 533400 h 733425"/>
              <a:gd name="connsiteX83" fmla="*/ 2546350 w 2889264"/>
              <a:gd name="connsiteY83" fmla="*/ 558800 h 733425"/>
              <a:gd name="connsiteX84" fmla="*/ 2574925 w 2889264"/>
              <a:gd name="connsiteY84" fmla="*/ 565150 h 733425"/>
              <a:gd name="connsiteX85" fmla="*/ 2600325 w 2889264"/>
              <a:gd name="connsiteY85" fmla="*/ 577850 h 733425"/>
              <a:gd name="connsiteX86" fmla="*/ 2616200 w 2889264"/>
              <a:gd name="connsiteY86" fmla="*/ 581025 h 733425"/>
              <a:gd name="connsiteX87" fmla="*/ 2638425 w 2889264"/>
              <a:gd name="connsiteY87" fmla="*/ 587375 h 733425"/>
              <a:gd name="connsiteX88" fmla="*/ 2654300 w 2889264"/>
              <a:gd name="connsiteY88" fmla="*/ 596900 h 733425"/>
              <a:gd name="connsiteX89" fmla="*/ 2673350 w 2889264"/>
              <a:gd name="connsiteY89" fmla="*/ 603250 h 733425"/>
              <a:gd name="connsiteX90" fmla="*/ 2708275 w 2889264"/>
              <a:gd name="connsiteY90" fmla="*/ 625475 h 733425"/>
              <a:gd name="connsiteX91" fmla="*/ 2730500 w 2889264"/>
              <a:gd name="connsiteY91" fmla="*/ 635000 h 733425"/>
              <a:gd name="connsiteX92" fmla="*/ 2749550 w 2889264"/>
              <a:gd name="connsiteY92" fmla="*/ 650875 h 733425"/>
              <a:gd name="connsiteX93" fmla="*/ 2774950 w 2889264"/>
              <a:gd name="connsiteY93" fmla="*/ 663575 h 733425"/>
              <a:gd name="connsiteX94" fmla="*/ 2803525 w 2889264"/>
              <a:gd name="connsiteY94" fmla="*/ 676275 h 733425"/>
              <a:gd name="connsiteX95" fmla="*/ 2816225 w 2889264"/>
              <a:gd name="connsiteY95" fmla="*/ 685800 h 733425"/>
              <a:gd name="connsiteX96" fmla="*/ 2832100 w 2889264"/>
              <a:gd name="connsiteY96" fmla="*/ 692150 h 733425"/>
              <a:gd name="connsiteX97" fmla="*/ 2876550 w 2889264"/>
              <a:gd name="connsiteY97" fmla="*/ 723900 h 733425"/>
              <a:gd name="connsiteX98" fmla="*/ 2889250 w 2889264"/>
              <a:gd name="connsiteY98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23925 w 2889264"/>
              <a:gd name="connsiteY12" fmla="*/ 269875 h 733425"/>
              <a:gd name="connsiteX13" fmla="*/ 958850 w 2889264"/>
              <a:gd name="connsiteY13" fmla="*/ 247650 h 733425"/>
              <a:gd name="connsiteX14" fmla="*/ 968375 w 2889264"/>
              <a:gd name="connsiteY14" fmla="*/ 241300 h 733425"/>
              <a:gd name="connsiteX15" fmla="*/ 984250 w 2889264"/>
              <a:gd name="connsiteY15" fmla="*/ 234950 h 733425"/>
              <a:gd name="connsiteX16" fmla="*/ 1006475 w 2889264"/>
              <a:gd name="connsiteY16" fmla="*/ 225425 h 733425"/>
              <a:gd name="connsiteX17" fmla="*/ 1050925 w 2889264"/>
              <a:gd name="connsiteY17" fmla="*/ 212725 h 733425"/>
              <a:gd name="connsiteX18" fmla="*/ 1079500 w 2889264"/>
              <a:gd name="connsiteY18" fmla="*/ 200025 h 733425"/>
              <a:gd name="connsiteX19" fmla="*/ 1098550 w 2889264"/>
              <a:gd name="connsiteY19" fmla="*/ 193675 h 733425"/>
              <a:gd name="connsiteX20" fmla="*/ 1111250 w 2889264"/>
              <a:gd name="connsiteY20" fmla="*/ 187325 h 733425"/>
              <a:gd name="connsiteX21" fmla="*/ 1136650 w 2889264"/>
              <a:gd name="connsiteY21" fmla="*/ 177800 h 733425"/>
              <a:gd name="connsiteX22" fmla="*/ 1181100 w 2889264"/>
              <a:gd name="connsiteY22" fmla="*/ 152400 h 733425"/>
              <a:gd name="connsiteX23" fmla="*/ 1203325 w 2889264"/>
              <a:gd name="connsiteY23" fmla="*/ 130175 h 733425"/>
              <a:gd name="connsiteX24" fmla="*/ 1219200 w 2889264"/>
              <a:gd name="connsiteY24" fmla="*/ 117475 h 733425"/>
              <a:gd name="connsiteX25" fmla="*/ 1276350 w 2889264"/>
              <a:gd name="connsiteY25" fmla="*/ 85725 h 733425"/>
              <a:gd name="connsiteX26" fmla="*/ 1289050 w 2889264"/>
              <a:gd name="connsiteY26" fmla="*/ 79375 h 733425"/>
              <a:gd name="connsiteX27" fmla="*/ 1327150 w 2889264"/>
              <a:gd name="connsiteY27" fmla="*/ 66675 h 733425"/>
              <a:gd name="connsiteX28" fmla="*/ 1343025 w 2889264"/>
              <a:gd name="connsiteY28" fmla="*/ 57150 h 733425"/>
              <a:gd name="connsiteX29" fmla="*/ 1355725 w 2889264"/>
              <a:gd name="connsiteY29" fmla="*/ 47625 h 733425"/>
              <a:gd name="connsiteX30" fmla="*/ 1377950 w 2889264"/>
              <a:gd name="connsiteY30" fmla="*/ 38100 h 733425"/>
              <a:gd name="connsiteX31" fmla="*/ 1416050 w 2889264"/>
              <a:gd name="connsiteY31" fmla="*/ 12700 h 733425"/>
              <a:gd name="connsiteX32" fmla="*/ 1428750 w 2889264"/>
              <a:gd name="connsiteY32" fmla="*/ 0 h 733425"/>
              <a:gd name="connsiteX33" fmla="*/ 1470025 w 2889264"/>
              <a:gd name="connsiteY33" fmla="*/ 28575 h 733425"/>
              <a:gd name="connsiteX34" fmla="*/ 1504950 w 2889264"/>
              <a:gd name="connsiteY34" fmla="*/ 41275 h 733425"/>
              <a:gd name="connsiteX35" fmla="*/ 1517650 w 2889264"/>
              <a:gd name="connsiteY35" fmla="*/ 50800 h 733425"/>
              <a:gd name="connsiteX36" fmla="*/ 1549400 w 2889264"/>
              <a:gd name="connsiteY36" fmla="*/ 60325 h 733425"/>
              <a:gd name="connsiteX37" fmla="*/ 1562100 w 2889264"/>
              <a:gd name="connsiteY37" fmla="*/ 69850 h 733425"/>
              <a:gd name="connsiteX38" fmla="*/ 1574800 w 2889264"/>
              <a:gd name="connsiteY38" fmla="*/ 73025 h 733425"/>
              <a:gd name="connsiteX39" fmla="*/ 1590675 w 2889264"/>
              <a:gd name="connsiteY39" fmla="*/ 79375 h 733425"/>
              <a:gd name="connsiteX40" fmla="*/ 1600200 w 2889264"/>
              <a:gd name="connsiteY40" fmla="*/ 85725 h 733425"/>
              <a:gd name="connsiteX41" fmla="*/ 1612900 w 2889264"/>
              <a:gd name="connsiteY41" fmla="*/ 92075 h 733425"/>
              <a:gd name="connsiteX42" fmla="*/ 1625600 w 2889264"/>
              <a:gd name="connsiteY42" fmla="*/ 101600 h 733425"/>
              <a:gd name="connsiteX43" fmla="*/ 1635125 w 2889264"/>
              <a:gd name="connsiteY43" fmla="*/ 104775 h 733425"/>
              <a:gd name="connsiteX44" fmla="*/ 1654175 w 2889264"/>
              <a:gd name="connsiteY44" fmla="*/ 114300 h 733425"/>
              <a:gd name="connsiteX45" fmla="*/ 1676400 w 2889264"/>
              <a:gd name="connsiteY45" fmla="*/ 130175 h 733425"/>
              <a:gd name="connsiteX46" fmla="*/ 1689100 w 2889264"/>
              <a:gd name="connsiteY46" fmla="*/ 136525 h 733425"/>
              <a:gd name="connsiteX47" fmla="*/ 1714500 w 2889264"/>
              <a:gd name="connsiteY47" fmla="*/ 146050 h 733425"/>
              <a:gd name="connsiteX48" fmla="*/ 1727200 w 2889264"/>
              <a:gd name="connsiteY48" fmla="*/ 155575 h 733425"/>
              <a:gd name="connsiteX49" fmla="*/ 1758950 w 2889264"/>
              <a:gd name="connsiteY49" fmla="*/ 165100 h 733425"/>
              <a:gd name="connsiteX50" fmla="*/ 1768475 w 2889264"/>
              <a:gd name="connsiteY50" fmla="*/ 171450 h 733425"/>
              <a:gd name="connsiteX51" fmla="*/ 1781175 w 2889264"/>
              <a:gd name="connsiteY51" fmla="*/ 180975 h 733425"/>
              <a:gd name="connsiteX52" fmla="*/ 1793875 w 2889264"/>
              <a:gd name="connsiteY52" fmla="*/ 187325 h 733425"/>
              <a:gd name="connsiteX53" fmla="*/ 1838325 w 2889264"/>
              <a:gd name="connsiteY53" fmla="*/ 212725 h 733425"/>
              <a:gd name="connsiteX54" fmla="*/ 1847850 w 2889264"/>
              <a:gd name="connsiteY54" fmla="*/ 222250 h 733425"/>
              <a:gd name="connsiteX55" fmla="*/ 1885950 w 2889264"/>
              <a:gd name="connsiteY55" fmla="*/ 241300 h 733425"/>
              <a:gd name="connsiteX56" fmla="*/ 1901825 w 2889264"/>
              <a:gd name="connsiteY56" fmla="*/ 250825 h 733425"/>
              <a:gd name="connsiteX57" fmla="*/ 1933575 w 2889264"/>
              <a:gd name="connsiteY57" fmla="*/ 263525 h 733425"/>
              <a:gd name="connsiteX58" fmla="*/ 1962150 w 2889264"/>
              <a:gd name="connsiteY58" fmla="*/ 276225 h 733425"/>
              <a:gd name="connsiteX59" fmla="*/ 1971675 w 2889264"/>
              <a:gd name="connsiteY59" fmla="*/ 282575 h 733425"/>
              <a:gd name="connsiteX60" fmla="*/ 1987550 w 2889264"/>
              <a:gd name="connsiteY60" fmla="*/ 288925 h 733425"/>
              <a:gd name="connsiteX61" fmla="*/ 2022475 w 2889264"/>
              <a:gd name="connsiteY61" fmla="*/ 301625 h 733425"/>
              <a:gd name="connsiteX62" fmla="*/ 2047875 w 2889264"/>
              <a:gd name="connsiteY62" fmla="*/ 314325 h 733425"/>
              <a:gd name="connsiteX63" fmla="*/ 2063750 w 2889264"/>
              <a:gd name="connsiteY63" fmla="*/ 320675 h 733425"/>
              <a:gd name="connsiteX64" fmla="*/ 2082800 w 2889264"/>
              <a:gd name="connsiteY64" fmla="*/ 330200 h 733425"/>
              <a:gd name="connsiteX65" fmla="*/ 2095500 w 2889264"/>
              <a:gd name="connsiteY65" fmla="*/ 333375 h 733425"/>
              <a:gd name="connsiteX66" fmla="*/ 2124075 w 2889264"/>
              <a:gd name="connsiteY66" fmla="*/ 342900 h 733425"/>
              <a:gd name="connsiteX67" fmla="*/ 2159000 w 2889264"/>
              <a:gd name="connsiteY67" fmla="*/ 358775 h 733425"/>
              <a:gd name="connsiteX68" fmla="*/ 2187575 w 2889264"/>
              <a:gd name="connsiteY68" fmla="*/ 377825 h 733425"/>
              <a:gd name="connsiteX69" fmla="*/ 2209800 w 2889264"/>
              <a:gd name="connsiteY69" fmla="*/ 393700 h 733425"/>
              <a:gd name="connsiteX70" fmla="*/ 2247900 w 2889264"/>
              <a:gd name="connsiteY70" fmla="*/ 419100 h 733425"/>
              <a:gd name="connsiteX71" fmla="*/ 2276475 w 2889264"/>
              <a:gd name="connsiteY71" fmla="*/ 434975 h 733425"/>
              <a:gd name="connsiteX72" fmla="*/ 2289175 w 2889264"/>
              <a:gd name="connsiteY72" fmla="*/ 444500 h 733425"/>
              <a:gd name="connsiteX73" fmla="*/ 2308225 w 2889264"/>
              <a:gd name="connsiteY73" fmla="*/ 447675 h 733425"/>
              <a:gd name="connsiteX74" fmla="*/ 2333625 w 2889264"/>
              <a:gd name="connsiteY74" fmla="*/ 460375 h 733425"/>
              <a:gd name="connsiteX75" fmla="*/ 2352675 w 2889264"/>
              <a:gd name="connsiteY75" fmla="*/ 466725 h 733425"/>
              <a:gd name="connsiteX76" fmla="*/ 2397125 w 2889264"/>
              <a:gd name="connsiteY76" fmla="*/ 488950 h 733425"/>
              <a:gd name="connsiteX77" fmla="*/ 2422525 w 2889264"/>
              <a:gd name="connsiteY77" fmla="*/ 495300 h 733425"/>
              <a:gd name="connsiteX78" fmla="*/ 2432050 w 2889264"/>
              <a:gd name="connsiteY78" fmla="*/ 498475 h 733425"/>
              <a:gd name="connsiteX79" fmla="*/ 2454275 w 2889264"/>
              <a:gd name="connsiteY79" fmla="*/ 511175 h 733425"/>
              <a:gd name="connsiteX80" fmla="*/ 2470150 w 2889264"/>
              <a:gd name="connsiteY80" fmla="*/ 523875 h 733425"/>
              <a:gd name="connsiteX81" fmla="*/ 2495550 w 2889264"/>
              <a:gd name="connsiteY81" fmla="*/ 533400 h 733425"/>
              <a:gd name="connsiteX82" fmla="*/ 2546350 w 2889264"/>
              <a:gd name="connsiteY82" fmla="*/ 558800 h 733425"/>
              <a:gd name="connsiteX83" fmla="*/ 2574925 w 2889264"/>
              <a:gd name="connsiteY83" fmla="*/ 565150 h 733425"/>
              <a:gd name="connsiteX84" fmla="*/ 2600325 w 2889264"/>
              <a:gd name="connsiteY84" fmla="*/ 577850 h 733425"/>
              <a:gd name="connsiteX85" fmla="*/ 2616200 w 2889264"/>
              <a:gd name="connsiteY85" fmla="*/ 581025 h 733425"/>
              <a:gd name="connsiteX86" fmla="*/ 2638425 w 2889264"/>
              <a:gd name="connsiteY86" fmla="*/ 587375 h 733425"/>
              <a:gd name="connsiteX87" fmla="*/ 2654300 w 2889264"/>
              <a:gd name="connsiteY87" fmla="*/ 596900 h 733425"/>
              <a:gd name="connsiteX88" fmla="*/ 2673350 w 2889264"/>
              <a:gd name="connsiteY88" fmla="*/ 603250 h 733425"/>
              <a:gd name="connsiteX89" fmla="*/ 2708275 w 2889264"/>
              <a:gd name="connsiteY89" fmla="*/ 625475 h 733425"/>
              <a:gd name="connsiteX90" fmla="*/ 2730500 w 2889264"/>
              <a:gd name="connsiteY90" fmla="*/ 635000 h 733425"/>
              <a:gd name="connsiteX91" fmla="*/ 2749550 w 2889264"/>
              <a:gd name="connsiteY91" fmla="*/ 650875 h 733425"/>
              <a:gd name="connsiteX92" fmla="*/ 2774950 w 2889264"/>
              <a:gd name="connsiteY92" fmla="*/ 663575 h 733425"/>
              <a:gd name="connsiteX93" fmla="*/ 2803525 w 2889264"/>
              <a:gd name="connsiteY93" fmla="*/ 676275 h 733425"/>
              <a:gd name="connsiteX94" fmla="*/ 2816225 w 2889264"/>
              <a:gd name="connsiteY94" fmla="*/ 685800 h 733425"/>
              <a:gd name="connsiteX95" fmla="*/ 2832100 w 2889264"/>
              <a:gd name="connsiteY95" fmla="*/ 692150 h 733425"/>
              <a:gd name="connsiteX96" fmla="*/ 2876550 w 2889264"/>
              <a:gd name="connsiteY96" fmla="*/ 723900 h 733425"/>
              <a:gd name="connsiteX97" fmla="*/ 2889250 w 2889264"/>
              <a:gd name="connsiteY97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23925 w 2889264"/>
              <a:gd name="connsiteY12" fmla="*/ 269875 h 733425"/>
              <a:gd name="connsiteX13" fmla="*/ 958850 w 2889264"/>
              <a:gd name="connsiteY13" fmla="*/ 247650 h 733425"/>
              <a:gd name="connsiteX14" fmla="*/ 984250 w 2889264"/>
              <a:gd name="connsiteY14" fmla="*/ 234950 h 733425"/>
              <a:gd name="connsiteX15" fmla="*/ 1006475 w 2889264"/>
              <a:gd name="connsiteY15" fmla="*/ 225425 h 733425"/>
              <a:gd name="connsiteX16" fmla="*/ 1050925 w 2889264"/>
              <a:gd name="connsiteY16" fmla="*/ 212725 h 733425"/>
              <a:gd name="connsiteX17" fmla="*/ 1079500 w 2889264"/>
              <a:gd name="connsiteY17" fmla="*/ 200025 h 733425"/>
              <a:gd name="connsiteX18" fmla="*/ 1098550 w 2889264"/>
              <a:gd name="connsiteY18" fmla="*/ 193675 h 733425"/>
              <a:gd name="connsiteX19" fmla="*/ 1111250 w 2889264"/>
              <a:gd name="connsiteY19" fmla="*/ 187325 h 733425"/>
              <a:gd name="connsiteX20" fmla="*/ 1136650 w 2889264"/>
              <a:gd name="connsiteY20" fmla="*/ 177800 h 733425"/>
              <a:gd name="connsiteX21" fmla="*/ 1181100 w 2889264"/>
              <a:gd name="connsiteY21" fmla="*/ 152400 h 733425"/>
              <a:gd name="connsiteX22" fmla="*/ 1203325 w 2889264"/>
              <a:gd name="connsiteY22" fmla="*/ 130175 h 733425"/>
              <a:gd name="connsiteX23" fmla="*/ 1219200 w 2889264"/>
              <a:gd name="connsiteY23" fmla="*/ 117475 h 733425"/>
              <a:gd name="connsiteX24" fmla="*/ 1276350 w 2889264"/>
              <a:gd name="connsiteY24" fmla="*/ 85725 h 733425"/>
              <a:gd name="connsiteX25" fmla="*/ 1289050 w 2889264"/>
              <a:gd name="connsiteY25" fmla="*/ 79375 h 733425"/>
              <a:gd name="connsiteX26" fmla="*/ 1327150 w 2889264"/>
              <a:gd name="connsiteY26" fmla="*/ 66675 h 733425"/>
              <a:gd name="connsiteX27" fmla="*/ 1343025 w 2889264"/>
              <a:gd name="connsiteY27" fmla="*/ 57150 h 733425"/>
              <a:gd name="connsiteX28" fmla="*/ 1355725 w 2889264"/>
              <a:gd name="connsiteY28" fmla="*/ 47625 h 733425"/>
              <a:gd name="connsiteX29" fmla="*/ 1377950 w 2889264"/>
              <a:gd name="connsiteY29" fmla="*/ 38100 h 733425"/>
              <a:gd name="connsiteX30" fmla="*/ 1416050 w 2889264"/>
              <a:gd name="connsiteY30" fmla="*/ 12700 h 733425"/>
              <a:gd name="connsiteX31" fmla="*/ 1428750 w 2889264"/>
              <a:gd name="connsiteY31" fmla="*/ 0 h 733425"/>
              <a:gd name="connsiteX32" fmla="*/ 1470025 w 2889264"/>
              <a:gd name="connsiteY32" fmla="*/ 28575 h 733425"/>
              <a:gd name="connsiteX33" fmla="*/ 1504950 w 2889264"/>
              <a:gd name="connsiteY33" fmla="*/ 41275 h 733425"/>
              <a:gd name="connsiteX34" fmla="*/ 1517650 w 2889264"/>
              <a:gd name="connsiteY34" fmla="*/ 50800 h 733425"/>
              <a:gd name="connsiteX35" fmla="*/ 1549400 w 2889264"/>
              <a:gd name="connsiteY35" fmla="*/ 60325 h 733425"/>
              <a:gd name="connsiteX36" fmla="*/ 1562100 w 2889264"/>
              <a:gd name="connsiteY36" fmla="*/ 69850 h 733425"/>
              <a:gd name="connsiteX37" fmla="*/ 1574800 w 2889264"/>
              <a:gd name="connsiteY37" fmla="*/ 73025 h 733425"/>
              <a:gd name="connsiteX38" fmla="*/ 1590675 w 2889264"/>
              <a:gd name="connsiteY38" fmla="*/ 79375 h 733425"/>
              <a:gd name="connsiteX39" fmla="*/ 1600200 w 2889264"/>
              <a:gd name="connsiteY39" fmla="*/ 85725 h 733425"/>
              <a:gd name="connsiteX40" fmla="*/ 1612900 w 2889264"/>
              <a:gd name="connsiteY40" fmla="*/ 92075 h 733425"/>
              <a:gd name="connsiteX41" fmla="*/ 1625600 w 2889264"/>
              <a:gd name="connsiteY41" fmla="*/ 101600 h 733425"/>
              <a:gd name="connsiteX42" fmla="*/ 1635125 w 2889264"/>
              <a:gd name="connsiteY42" fmla="*/ 104775 h 733425"/>
              <a:gd name="connsiteX43" fmla="*/ 1654175 w 2889264"/>
              <a:gd name="connsiteY43" fmla="*/ 114300 h 733425"/>
              <a:gd name="connsiteX44" fmla="*/ 1676400 w 2889264"/>
              <a:gd name="connsiteY44" fmla="*/ 130175 h 733425"/>
              <a:gd name="connsiteX45" fmla="*/ 1689100 w 2889264"/>
              <a:gd name="connsiteY45" fmla="*/ 136525 h 733425"/>
              <a:gd name="connsiteX46" fmla="*/ 1714500 w 2889264"/>
              <a:gd name="connsiteY46" fmla="*/ 146050 h 733425"/>
              <a:gd name="connsiteX47" fmla="*/ 1727200 w 2889264"/>
              <a:gd name="connsiteY47" fmla="*/ 155575 h 733425"/>
              <a:gd name="connsiteX48" fmla="*/ 1758950 w 2889264"/>
              <a:gd name="connsiteY48" fmla="*/ 165100 h 733425"/>
              <a:gd name="connsiteX49" fmla="*/ 1768475 w 2889264"/>
              <a:gd name="connsiteY49" fmla="*/ 171450 h 733425"/>
              <a:gd name="connsiteX50" fmla="*/ 1781175 w 2889264"/>
              <a:gd name="connsiteY50" fmla="*/ 180975 h 733425"/>
              <a:gd name="connsiteX51" fmla="*/ 1793875 w 2889264"/>
              <a:gd name="connsiteY51" fmla="*/ 187325 h 733425"/>
              <a:gd name="connsiteX52" fmla="*/ 1838325 w 2889264"/>
              <a:gd name="connsiteY52" fmla="*/ 212725 h 733425"/>
              <a:gd name="connsiteX53" fmla="*/ 1847850 w 2889264"/>
              <a:gd name="connsiteY53" fmla="*/ 222250 h 733425"/>
              <a:gd name="connsiteX54" fmla="*/ 1885950 w 2889264"/>
              <a:gd name="connsiteY54" fmla="*/ 241300 h 733425"/>
              <a:gd name="connsiteX55" fmla="*/ 1901825 w 2889264"/>
              <a:gd name="connsiteY55" fmla="*/ 250825 h 733425"/>
              <a:gd name="connsiteX56" fmla="*/ 1933575 w 2889264"/>
              <a:gd name="connsiteY56" fmla="*/ 263525 h 733425"/>
              <a:gd name="connsiteX57" fmla="*/ 1962150 w 2889264"/>
              <a:gd name="connsiteY57" fmla="*/ 276225 h 733425"/>
              <a:gd name="connsiteX58" fmla="*/ 1971675 w 2889264"/>
              <a:gd name="connsiteY58" fmla="*/ 282575 h 733425"/>
              <a:gd name="connsiteX59" fmla="*/ 1987550 w 2889264"/>
              <a:gd name="connsiteY59" fmla="*/ 288925 h 733425"/>
              <a:gd name="connsiteX60" fmla="*/ 2022475 w 2889264"/>
              <a:gd name="connsiteY60" fmla="*/ 301625 h 733425"/>
              <a:gd name="connsiteX61" fmla="*/ 2047875 w 2889264"/>
              <a:gd name="connsiteY61" fmla="*/ 314325 h 733425"/>
              <a:gd name="connsiteX62" fmla="*/ 2063750 w 2889264"/>
              <a:gd name="connsiteY62" fmla="*/ 320675 h 733425"/>
              <a:gd name="connsiteX63" fmla="*/ 2082800 w 2889264"/>
              <a:gd name="connsiteY63" fmla="*/ 330200 h 733425"/>
              <a:gd name="connsiteX64" fmla="*/ 2095500 w 2889264"/>
              <a:gd name="connsiteY64" fmla="*/ 333375 h 733425"/>
              <a:gd name="connsiteX65" fmla="*/ 2124075 w 2889264"/>
              <a:gd name="connsiteY65" fmla="*/ 342900 h 733425"/>
              <a:gd name="connsiteX66" fmla="*/ 2159000 w 2889264"/>
              <a:gd name="connsiteY66" fmla="*/ 358775 h 733425"/>
              <a:gd name="connsiteX67" fmla="*/ 2187575 w 2889264"/>
              <a:gd name="connsiteY67" fmla="*/ 377825 h 733425"/>
              <a:gd name="connsiteX68" fmla="*/ 2209800 w 2889264"/>
              <a:gd name="connsiteY68" fmla="*/ 393700 h 733425"/>
              <a:gd name="connsiteX69" fmla="*/ 2247900 w 2889264"/>
              <a:gd name="connsiteY69" fmla="*/ 419100 h 733425"/>
              <a:gd name="connsiteX70" fmla="*/ 2276475 w 2889264"/>
              <a:gd name="connsiteY70" fmla="*/ 434975 h 733425"/>
              <a:gd name="connsiteX71" fmla="*/ 2289175 w 2889264"/>
              <a:gd name="connsiteY71" fmla="*/ 444500 h 733425"/>
              <a:gd name="connsiteX72" fmla="*/ 2308225 w 2889264"/>
              <a:gd name="connsiteY72" fmla="*/ 447675 h 733425"/>
              <a:gd name="connsiteX73" fmla="*/ 2333625 w 2889264"/>
              <a:gd name="connsiteY73" fmla="*/ 460375 h 733425"/>
              <a:gd name="connsiteX74" fmla="*/ 2352675 w 2889264"/>
              <a:gd name="connsiteY74" fmla="*/ 466725 h 733425"/>
              <a:gd name="connsiteX75" fmla="*/ 2397125 w 2889264"/>
              <a:gd name="connsiteY75" fmla="*/ 488950 h 733425"/>
              <a:gd name="connsiteX76" fmla="*/ 2422525 w 2889264"/>
              <a:gd name="connsiteY76" fmla="*/ 495300 h 733425"/>
              <a:gd name="connsiteX77" fmla="*/ 2432050 w 2889264"/>
              <a:gd name="connsiteY77" fmla="*/ 498475 h 733425"/>
              <a:gd name="connsiteX78" fmla="*/ 2454275 w 2889264"/>
              <a:gd name="connsiteY78" fmla="*/ 511175 h 733425"/>
              <a:gd name="connsiteX79" fmla="*/ 2470150 w 2889264"/>
              <a:gd name="connsiteY79" fmla="*/ 523875 h 733425"/>
              <a:gd name="connsiteX80" fmla="*/ 2495550 w 2889264"/>
              <a:gd name="connsiteY80" fmla="*/ 533400 h 733425"/>
              <a:gd name="connsiteX81" fmla="*/ 2546350 w 2889264"/>
              <a:gd name="connsiteY81" fmla="*/ 558800 h 733425"/>
              <a:gd name="connsiteX82" fmla="*/ 2574925 w 2889264"/>
              <a:gd name="connsiteY82" fmla="*/ 565150 h 733425"/>
              <a:gd name="connsiteX83" fmla="*/ 2600325 w 2889264"/>
              <a:gd name="connsiteY83" fmla="*/ 577850 h 733425"/>
              <a:gd name="connsiteX84" fmla="*/ 2616200 w 2889264"/>
              <a:gd name="connsiteY84" fmla="*/ 581025 h 733425"/>
              <a:gd name="connsiteX85" fmla="*/ 2638425 w 2889264"/>
              <a:gd name="connsiteY85" fmla="*/ 587375 h 733425"/>
              <a:gd name="connsiteX86" fmla="*/ 2654300 w 2889264"/>
              <a:gd name="connsiteY86" fmla="*/ 596900 h 733425"/>
              <a:gd name="connsiteX87" fmla="*/ 2673350 w 2889264"/>
              <a:gd name="connsiteY87" fmla="*/ 603250 h 733425"/>
              <a:gd name="connsiteX88" fmla="*/ 2708275 w 2889264"/>
              <a:gd name="connsiteY88" fmla="*/ 625475 h 733425"/>
              <a:gd name="connsiteX89" fmla="*/ 2730500 w 2889264"/>
              <a:gd name="connsiteY89" fmla="*/ 635000 h 733425"/>
              <a:gd name="connsiteX90" fmla="*/ 2749550 w 2889264"/>
              <a:gd name="connsiteY90" fmla="*/ 650875 h 733425"/>
              <a:gd name="connsiteX91" fmla="*/ 2774950 w 2889264"/>
              <a:gd name="connsiteY91" fmla="*/ 663575 h 733425"/>
              <a:gd name="connsiteX92" fmla="*/ 2803525 w 2889264"/>
              <a:gd name="connsiteY92" fmla="*/ 676275 h 733425"/>
              <a:gd name="connsiteX93" fmla="*/ 2816225 w 2889264"/>
              <a:gd name="connsiteY93" fmla="*/ 685800 h 733425"/>
              <a:gd name="connsiteX94" fmla="*/ 2832100 w 2889264"/>
              <a:gd name="connsiteY94" fmla="*/ 692150 h 733425"/>
              <a:gd name="connsiteX95" fmla="*/ 2876550 w 2889264"/>
              <a:gd name="connsiteY95" fmla="*/ 723900 h 733425"/>
              <a:gd name="connsiteX96" fmla="*/ 2889250 w 2889264"/>
              <a:gd name="connsiteY96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23925 w 2889264"/>
              <a:gd name="connsiteY12" fmla="*/ 269875 h 733425"/>
              <a:gd name="connsiteX13" fmla="*/ 958850 w 2889264"/>
              <a:gd name="connsiteY13" fmla="*/ 247650 h 733425"/>
              <a:gd name="connsiteX14" fmla="*/ 1006475 w 2889264"/>
              <a:gd name="connsiteY14" fmla="*/ 225425 h 733425"/>
              <a:gd name="connsiteX15" fmla="*/ 1050925 w 2889264"/>
              <a:gd name="connsiteY15" fmla="*/ 212725 h 733425"/>
              <a:gd name="connsiteX16" fmla="*/ 1079500 w 2889264"/>
              <a:gd name="connsiteY16" fmla="*/ 200025 h 733425"/>
              <a:gd name="connsiteX17" fmla="*/ 1098550 w 2889264"/>
              <a:gd name="connsiteY17" fmla="*/ 193675 h 733425"/>
              <a:gd name="connsiteX18" fmla="*/ 1111250 w 2889264"/>
              <a:gd name="connsiteY18" fmla="*/ 187325 h 733425"/>
              <a:gd name="connsiteX19" fmla="*/ 1136650 w 2889264"/>
              <a:gd name="connsiteY19" fmla="*/ 177800 h 733425"/>
              <a:gd name="connsiteX20" fmla="*/ 1181100 w 2889264"/>
              <a:gd name="connsiteY20" fmla="*/ 152400 h 733425"/>
              <a:gd name="connsiteX21" fmla="*/ 1203325 w 2889264"/>
              <a:gd name="connsiteY21" fmla="*/ 130175 h 733425"/>
              <a:gd name="connsiteX22" fmla="*/ 1219200 w 2889264"/>
              <a:gd name="connsiteY22" fmla="*/ 117475 h 733425"/>
              <a:gd name="connsiteX23" fmla="*/ 1276350 w 2889264"/>
              <a:gd name="connsiteY23" fmla="*/ 85725 h 733425"/>
              <a:gd name="connsiteX24" fmla="*/ 1289050 w 2889264"/>
              <a:gd name="connsiteY24" fmla="*/ 79375 h 733425"/>
              <a:gd name="connsiteX25" fmla="*/ 1327150 w 2889264"/>
              <a:gd name="connsiteY25" fmla="*/ 66675 h 733425"/>
              <a:gd name="connsiteX26" fmla="*/ 1343025 w 2889264"/>
              <a:gd name="connsiteY26" fmla="*/ 57150 h 733425"/>
              <a:gd name="connsiteX27" fmla="*/ 1355725 w 2889264"/>
              <a:gd name="connsiteY27" fmla="*/ 47625 h 733425"/>
              <a:gd name="connsiteX28" fmla="*/ 1377950 w 2889264"/>
              <a:gd name="connsiteY28" fmla="*/ 38100 h 733425"/>
              <a:gd name="connsiteX29" fmla="*/ 1416050 w 2889264"/>
              <a:gd name="connsiteY29" fmla="*/ 12700 h 733425"/>
              <a:gd name="connsiteX30" fmla="*/ 1428750 w 2889264"/>
              <a:gd name="connsiteY30" fmla="*/ 0 h 733425"/>
              <a:gd name="connsiteX31" fmla="*/ 1470025 w 2889264"/>
              <a:gd name="connsiteY31" fmla="*/ 28575 h 733425"/>
              <a:gd name="connsiteX32" fmla="*/ 1504950 w 2889264"/>
              <a:gd name="connsiteY32" fmla="*/ 41275 h 733425"/>
              <a:gd name="connsiteX33" fmla="*/ 1517650 w 2889264"/>
              <a:gd name="connsiteY33" fmla="*/ 50800 h 733425"/>
              <a:gd name="connsiteX34" fmla="*/ 1549400 w 2889264"/>
              <a:gd name="connsiteY34" fmla="*/ 60325 h 733425"/>
              <a:gd name="connsiteX35" fmla="*/ 1562100 w 2889264"/>
              <a:gd name="connsiteY35" fmla="*/ 69850 h 733425"/>
              <a:gd name="connsiteX36" fmla="*/ 1574800 w 2889264"/>
              <a:gd name="connsiteY36" fmla="*/ 73025 h 733425"/>
              <a:gd name="connsiteX37" fmla="*/ 1590675 w 2889264"/>
              <a:gd name="connsiteY37" fmla="*/ 79375 h 733425"/>
              <a:gd name="connsiteX38" fmla="*/ 1600200 w 2889264"/>
              <a:gd name="connsiteY38" fmla="*/ 85725 h 733425"/>
              <a:gd name="connsiteX39" fmla="*/ 1612900 w 2889264"/>
              <a:gd name="connsiteY39" fmla="*/ 92075 h 733425"/>
              <a:gd name="connsiteX40" fmla="*/ 1625600 w 2889264"/>
              <a:gd name="connsiteY40" fmla="*/ 101600 h 733425"/>
              <a:gd name="connsiteX41" fmla="*/ 1635125 w 2889264"/>
              <a:gd name="connsiteY41" fmla="*/ 104775 h 733425"/>
              <a:gd name="connsiteX42" fmla="*/ 1654175 w 2889264"/>
              <a:gd name="connsiteY42" fmla="*/ 114300 h 733425"/>
              <a:gd name="connsiteX43" fmla="*/ 1676400 w 2889264"/>
              <a:gd name="connsiteY43" fmla="*/ 130175 h 733425"/>
              <a:gd name="connsiteX44" fmla="*/ 1689100 w 2889264"/>
              <a:gd name="connsiteY44" fmla="*/ 136525 h 733425"/>
              <a:gd name="connsiteX45" fmla="*/ 1714500 w 2889264"/>
              <a:gd name="connsiteY45" fmla="*/ 146050 h 733425"/>
              <a:gd name="connsiteX46" fmla="*/ 1727200 w 2889264"/>
              <a:gd name="connsiteY46" fmla="*/ 155575 h 733425"/>
              <a:gd name="connsiteX47" fmla="*/ 1758950 w 2889264"/>
              <a:gd name="connsiteY47" fmla="*/ 165100 h 733425"/>
              <a:gd name="connsiteX48" fmla="*/ 1768475 w 2889264"/>
              <a:gd name="connsiteY48" fmla="*/ 171450 h 733425"/>
              <a:gd name="connsiteX49" fmla="*/ 1781175 w 2889264"/>
              <a:gd name="connsiteY49" fmla="*/ 180975 h 733425"/>
              <a:gd name="connsiteX50" fmla="*/ 1793875 w 2889264"/>
              <a:gd name="connsiteY50" fmla="*/ 187325 h 733425"/>
              <a:gd name="connsiteX51" fmla="*/ 1838325 w 2889264"/>
              <a:gd name="connsiteY51" fmla="*/ 212725 h 733425"/>
              <a:gd name="connsiteX52" fmla="*/ 1847850 w 2889264"/>
              <a:gd name="connsiteY52" fmla="*/ 222250 h 733425"/>
              <a:gd name="connsiteX53" fmla="*/ 1885950 w 2889264"/>
              <a:gd name="connsiteY53" fmla="*/ 241300 h 733425"/>
              <a:gd name="connsiteX54" fmla="*/ 1901825 w 2889264"/>
              <a:gd name="connsiteY54" fmla="*/ 250825 h 733425"/>
              <a:gd name="connsiteX55" fmla="*/ 1933575 w 2889264"/>
              <a:gd name="connsiteY55" fmla="*/ 263525 h 733425"/>
              <a:gd name="connsiteX56" fmla="*/ 1962150 w 2889264"/>
              <a:gd name="connsiteY56" fmla="*/ 276225 h 733425"/>
              <a:gd name="connsiteX57" fmla="*/ 1971675 w 2889264"/>
              <a:gd name="connsiteY57" fmla="*/ 282575 h 733425"/>
              <a:gd name="connsiteX58" fmla="*/ 1987550 w 2889264"/>
              <a:gd name="connsiteY58" fmla="*/ 288925 h 733425"/>
              <a:gd name="connsiteX59" fmla="*/ 2022475 w 2889264"/>
              <a:gd name="connsiteY59" fmla="*/ 301625 h 733425"/>
              <a:gd name="connsiteX60" fmla="*/ 2047875 w 2889264"/>
              <a:gd name="connsiteY60" fmla="*/ 314325 h 733425"/>
              <a:gd name="connsiteX61" fmla="*/ 2063750 w 2889264"/>
              <a:gd name="connsiteY61" fmla="*/ 320675 h 733425"/>
              <a:gd name="connsiteX62" fmla="*/ 2082800 w 2889264"/>
              <a:gd name="connsiteY62" fmla="*/ 330200 h 733425"/>
              <a:gd name="connsiteX63" fmla="*/ 2095500 w 2889264"/>
              <a:gd name="connsiteY63" fmla="*/ 333375 h 733425"/>
              <a:gd name="connsiteX64" fmla="*/ 2124075 w 2889264"/>
              <a:gd name="connsiteY64" fmla="*/ 342900 h 733425"/>
              <a:gd name="connsiteX65" fmla="*/ 2159000 w 2889264"/>
              <a:gd name="connsiteY65" fmla="*/ 358775 h 733425"/>
              <a:gd name="connsiteX66" fmla="*/ 2187575 w 2889264"/>
              <a:gd name="connsiteY66" fmla="*/ 377825 h 733425"/>
              <a:gd name="connsiteX67" fmla="*/ 2209800 w 2889264"/>
              <a:gd name="connsiteY67" fmla="*/ 393700 h 733425"/>
              <a:gd name="connsiteX68" fmla="*/ 2247900 w 2889264"/>
              <a:gd name="connsiteY68" fmla="*/ 419100 h 733425"/>
              <a:gd name="connsiteX69" fmla="*/ 2276475 w 2889264"/>
              <a:gd name="connsiteY69" fmla="*/ 434975 h 733425"/>
              <a:gd name="connsiteX70" fmla="*/ 2289175 w 2889264"/>
              <a:gd name="connsiteY70" fmla="*/ 444500 h 733425"/>
              <a:gd name="connsiteX71" fmla="*/ 2308225 w 2889264"/>
              <a:gd name="connsiteY71" fmla="*/ 447675 h 733425"/>
              <a:gd name="connsiteX72" fmla="*/ 2333625 w 2889264"/>
              <a:gd name="connsiteY72" fmla="*/ 460375 h 733425"/>
              <a:gd name="connsiteX73" fmla="*/ 2352675 w 2889264"/>
              <a:gd name="connsiteY73" fmla="*/ 466725 h 733425"/>
              <a:gd name="connsiteX74" fmla="*/ 2397125 w 2889264"/>
              <a:gd name="connsiteY74" fmla="*/ 488950 h 733425"/>
              <a:gd name="connsiteX75" fmla="*/ 2422525 w 2889264"/>
              <a:gd name="connsiteY75" fmla="*/ 495300 h 733425"/>
              <a:gd name="connsiteX76" fmla="*/ 2432050 w 2889264"/>
              <a:gd name="connsiteY76" fmla="*/ 498475 h 733425"/>
              <a:gd name="connsiteX77" fmla="*/ 2454275 w 2889264"/>
              <a:gd name="connsiteY77" fmla="*/ 511175 h 733425"/>
              <a:gd name="connsiteX78" fmla="*/ 2470150 w 2889264"/>
              <a:gd name="connsiteY78" fmla="*/ 523875 h 733425"/>
              <a:gd name="connsiteX79" fmla="*/ 2495550 w 2889264"/>
              <a:gd name="connsiteY79" fmla="*/ 533400 h 733425"/>
              <a:gd name="connsiteX80" fmla="*/ 2546350 w 2889264"/>
              <a:gd name="connsiteY80" fmla="*/ 558800 h 733425"/>
              <a:gd name="connsiteX81" fmla="*/ 2574925 w 2889264"/>
              <a:gd name="connsiteY81" fmla="*/ 565150 h 733425"/>
              <a:gd name="connsiteX82" fmla="*/ 2600325 w 2889264"/>
              <a:gd name="connsiteY82" fmla="*/ 577850 h 733425"/>
              <a:gd name="connsiteX83" fmla="*/ 2616200 w 2889264"/>
              <a:gd name="connsiteY83" fmla="*/ 581025 h 733425"/>
              <a:gd name="connsiteX84" fmla="*/ 2638425 w 2889264"/>
              <a:gd name="connsiteY84" fmla="*/ 587375 h 733425"/>
              <a:gd name="connsiteX85" fmla="*/ 2654300 w 2889264"/>
              <a:gd name="connsiteY85" fmla="*/ 596900 h 733425"/>
              <a:gd name="connsiteX86" fmla="*/ 2673350 w 2889264"/>
              <a:gd name="connsiteY86" fmla="*/ 603250 h 733425"/>
              <a:gd name="connsiteX87" fmla="*/ 2708275 w 2889264"/>
              <a:gd name="connsiteY87" fmla="*/ 625475 h 733425"/>
              <a:gd name="connsiteX88" fmla="*/ 2730500 w 2889264"/>
              <a:gd name="connsiteY88" fmla="*/ 635000 h 733425"/>
              <a:gd name="connsiteX89" fmla="*/ 2749550 w 2889264"/>
              <a:gd name="connsiteY89" fmla="*/ 650875 h 733425"/>
              <a:gd name="connsiteX90" fmla="*/ 2774950 w 2889264"/>
              <a:gd name="connsiteY90" fmla="*/ 663575 h 733425"/>
              <a:gd name="connsiteX91" fmla="*/ 2803525 w 2889264"/>
              <a:gd name="connsiteY91" fmla="*/ 676275 h 733425"/>
              <a:gd name="connsiteX92" fmla="*/ 2816225 w 2889264"/>
              <a:gd name="connsiteY92" fmla="*/ 685800 h 733425"/>
              <a:gd name="connsiteX93" fmla="*/ 2832100 w 2889264"/>
              <a:gd name="connsiteY93" fmla="*/ 692150 h 733425"/>
              <a:gd name="connsiteX94" fmla="*/ 2876550 w 2889264"/>
              <a:gd name="connsiteY94" fmla="*/ 723900 h 733425"/>
              <a:gd name="connsiteX95" fmla="*/ 2889250 w 2889264"/>
              <a:gd name="connsiteY95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23925 w 2889264"/>
              <a:gd name="connsiteY12" fmla="*/ 269875 h 733425"/>
              <a:gd name="connsiteX13" fmla="*/ 958850 w 2889264"/>
              <a:gd name="connsiteY13" fmla="*/ 247650 h 733425"/>
              <a:gd name="connsiteX14" fmla="*/ 1050925 w 2889264"/>
              <a:gd name="connsiteY14" fmla="*/ 212725 h 733425"/>
              <a:gd name="connsiteX15" fmla="*/ 1079500 w 2889264"/>
              <a:gd name="connsiteY15" fmla="*/ 200025 h 733425"/>
              <a:gd name="connsiteX16" fmla="*/ 1098550 w 2889264"/>
              <a:gd name="connsiteY16" fmla="*/ 193675 h 733425"/>
              <a:gd name="connsiteX17" fmla="*/ 1111250 w 2889264"/>
              <a:gd name="connsiteY17" fmla="*/ 187325 h 733425"/>
              <a:gd name="connsiteX18" fmla="*/ 1136650 w 2889264"/>
              <a:gd name="connsiteY18" fmla="*/ 177800 h 733425"/>
              <a:gd name="connsiteX19" fmla="*/ 1181100 w 2889264"/>
              <a:gd name="connsiteY19" fmla="*/ 152400 h 733425"/>
              <a:gd name="connsiteX20" fmla="*/ 1203325 w 2889264"/>
              <a:gd name="connsiteY20" fmla="*/ 130175 h 733425"/>
              <a:gd name="connsiteX21" fmla="*/ 1219200 w 2889264"/>
              <a:gd name="connsiteY21" fmla="*/ 117475 h 733425"/>
              <a:gd name="connsiteX22" fmla="*/ 1276350 w 2889264"/>
              <a:gd name="connsiteY22" fmla="*/ 85725 h 733425"/>
              <a:gd name="connsiteX23" fmla="*/ 1289050 w 2889264"/>
              <a:gd name="connsiteY23" fmla="*/ 79375 h 733425"/>
              <a:gd name="connsiteX24" fmla="*/ 1327150 w 2889264"/>
              <a:gd name="connsiteY24" fmla="*/ 66675 h 733425"/>
              <a:gd name="connsiteX25" fmla="*/ 1343025 w 2889264"/>
              <a:gd name="connsiteY25" fmla="*/ 57150 h 733425"/>
              <a:gd name="connsiteX26" fmla="*/ 1355725 w 2889264"/>
              <a:gd name="connsiteY26" fmla="*/ 47625 h 733425"/>
              <a:gd name="connsiteX27" fmla="*/ 1377950 w 2889264"/>
              <a:gd name="connsiteY27" fmla="*/ 38100 h 733425"/>
              <a:gd name="connsiteX28" fmla="*/ 1416050 w 2889264"/>
              <a:gd name="connsiteY28" fmla="*/ 12700 h 733425"/>
              <a:gd name="connsiteX29" fmla="*/ 1428750 w 2889264"/>
              <a:gd name="connsiteY29" fmla="*/ 0 h 733425"/>
              <a:gd name="connsiteX30" fmla="*/ 1470025 w 2889264"/>
              <a:gd name="connsiteY30" fmla="*/ 28575 h 733425"/>
              <a:gd name="connsiteX31" fmla="*/ 1504950 w 2889264"/>
              <a:gd name="connsiteY31" fmla="*/ 41275 h 733425"/>
              <a:gd name="connsiteX32" fmla="*/ 1517650 w 2889264"/>
              <a:gd name="connsiteY32" fmla="*/ 50800 h 733425"/>
              <a:gd name="connsiteX33" fmla="*/ 1549400 w 2889264"/>
              <a:gd name="connsiteY33" fmla="*/ 60325 h 733425"/>
              <a:gd name="connsiteX34" fmla="*/ 1562100 w 2889264"/>
              <a:gd name="connsiteY34" fmla="*/ 69850 h 733425"/>
              <a:gd name="connsiteX35" fmla="*/ 1574800 w 2889264"/>
              <a:gd name="connsiteY35" fmla="*/ 73025 h 733425"/>
              <a:gd name="connsiteX36" fmla="*/ 1590675 w 2889264"/>
              <a:gd name="connsiteY36" fmla="*/ 79375 h 733425"/>
              <a:gd name="connsiteX37" fmla="*/ 1600200 w 2889264"/>
              <a:gd name="connsiteY37" fmla="*/ 85725 h 733425"/>
              <a:gd name="connsiteX38" fmla="*/ 1612900 w 2889264"/>
              <a:gd name="connsiteY38" fmla="*/ 92075 h 733425"/>
              <a:gd name="connsiteX39" fmla="*/ 1625600 w 2889264"/>
              <a:gd name="connsiteY39" fmla="*/ 101600 h 733425"/>
              <a:gd name="connsiteX40" fmla="*/ 1635125 w 2889264"/>
              <a:gd name="connsiteY40" fmla="*/ 104775 h 733425"/>
              <a:gd name="connsiteX41" fmla="*/ 1654175 w 2889264"/>
              <a:gd name="connsiteY41" fmla="*/ 114300 h 733425"/>
              <a:gd name="connsiteX42" fmla="*/ 1676400 w 2889264"/>
              <a:gd name="connsiteY42" fmla="*/ 130175 h 733425"/>
              <a:gd name="connsiteX43" fmla="*/ 1689100 w 2889264"/>
              <a:gd name="connsiteY43" fmla="*/ 136525 h 733425"/>
              <a:gd name="connsiteX44" fmla="*/ 1714500 w 2889264"/>
              <a:gd name="connsiteY44" fmla="*/ 146050 h 733425"/>
              <a:gd name="connsiteX45" fmla="*/ 1727200 w 2889264"/>
              <a:gd name="connsiteY45" fmla="*/ 155575 h 733425"/>
              <a:gd name="connsiteX46" fmla="*/ 1758950 w 2889264"/>
              <a:gd name="connsiteY46" fmla="*/ 165100 h 733425"/>
              <a:gd name="connsiteX47" fmla="*/ 1768475 w 2889264"/>
              <a:gd name="connsiteY47" fmla="*/ 171450 h 733425"/>
              <a:gd name="connsiteX48" fmla="*/ 1781175 w 2889264"/>
              <a:gd name="connsiteY48" fmla="*/ 180975 h 733425"/>
              <a:gd name="connsiteX49" fmla="*/ 1793875 w 2889264"/>
              <a:gd name="connsiteY49" fmla="*/ 187325 h 733425"/>
              <a:gd name="connsiteX50" fmla="*/ 1838325 w 2889264"/>
              <a:gd name="connsiteY50" fmla="*/ 212725 h 733425"/>
              <a:gd name="connsiteX51" fmla="*/ 1847850 w 2889264"/>
              <a:gd name="connsiteY51" fmla="*/ 222250 h 733425"/>
              <a:gd name="connsiteX52" fmla="*/ 1885950 w 2889264"/>
              <a:gd name="connsiteY52" fmla="*/ 241300 h 733425"/>
              <a:gd name="connsiteX53" fmla="*/ 1901825 w 2889264"/>
              <a:gd name="connsiteY53" fmla="*/ 250825 h 733425"/>
              <a:gd name="connsiteX54" fmla="*/ 1933575 w 2889264"/>
              <a:gd name="connsiteY54" fmla="*/ 263525 h 733425"/>
              <a:gd name="connsiteX55" fmla="*/ 1962150 w 2889264"/>
              <a:gd name="connsiteY55" fmla="*/ 276225 h 733425"/>
              <a:gd name="connsiteX56" fmla="*/ 1971675 w 2889264"/>
              <a:gd name="connsiteY56" fmla="*/ 282575 h 733425"/>
              <a:gd name="connsiteX57" fmla="*/ 1987550 w 2889264"/>
              <a:gd name="connsiteY57" fmla="*/ 288925 h 733425"/>
              <a:gd name="connsiteX58" fmla="*/ 2022475 w 2889264"/>
              <a:gd name="connsiteY58" fmla="*/ 301625 h 733425"/>
              <a:gd name="connsiteX59" fmla="*/ 2047875 w 2889264"/>
              <a:gd name="connsiteY59" fmla="*/ 314325 h 733425"/>
              <a:gd name="connsiteX60" fmla="*/ 2063750 w 2889264"/>
              <a:gd name="connsiteY60" fmla="*/ 320675 h 733425"/>
              <a:gd name="connsiteX61" fmla="*/ 2082800 w 2889264"/>
              <a:gd name="connsiteY61" fmla="*/ 330200 h 733425"/>
              <a:gd name="connsiteX62" fmla="*/ 2095500 w 2889264"/>
              <a:gd name="connsiteY62" fmla="*/ 333375 h 733425"/>
              <a:gd name="connsiteX63" fmla="*/ 2124075 w 2889264"/>
              <a:gd name="connsiteY63" fmla="*/ 342900 h 733425"/>
              <a:gd name="connsiteX64" fmla="*/ 2159000 w 2889264"/>
              <a:gd name="connsiteY64" fmla="*/ 358775 h 733425"/>
              <a:gd name="connsiteX65" fmla="*/ 2187575 w 2889264"/>
              <a:gd name="connsiteY65" fmla="*/ 377825 h 733425"/>
              <a:gd name="connsiteX66" fmla="*/ 2209800 w 2889264"/>
              <a:gd name="connsiteY66" fmla="*/ 393700 h 733425"/>
              <a:gd name="connsiteX67" fmla="*/ 2247900 w 2889264"/>
              <a:gd name="connsiteY67" fmla="*/ 419100 h 733425"/>
              <a:gd name="connsiteX68" fmla="*/ 2276475 w 2889264"/>
              <a:gd name="connsiteY68" fmla="*/ 434975 h 733425"/>
              <a:gd name="connsiteX69" fmla="*/ 2289175 w 2889264"/>
              <a:gd name="connsiteY69" fmla="*/ 444500 h 733425"/>
              <a:gd name="connsiteX70" fmla="*/ 2308225 w 2889264"/>
              <a:gd name="connsiteY70" fmla="*/ 447675 h 733425"/>
              <a:gd name="connsiteX71" fmla="*/ 2333625 w 2889264"/>
              <a:gd name="connsiteY71" fmla="*/ 460375 h 733425"/>
              <a:gd name="connsiteX72" fmla="*/ 2352675 w 2889264"/>
              <a:gd name="connsiteY72" fmla="*/ 466725 h 733425"/>
              <a:gd name="connsiteX73" fmla="*/ 2397125 w 2889264"/>
              <a:gd name="connsiteY73" fmla="*/ 488950 h 733425"/>
              <a:gd name="connsiteX74" fmla="*/ 2422525 w 2889264"/>
              <a:gd name="connsiteY74" fmla="*/ 495300 h 733425"/>
              <a:gd name="connsiteX75" fmla="*/ 2432050 w 2889264"/>
              <a:gd name="connsiteY75" fmla="*/ 498475 h 733425"/>
              <a:gd name="connsiteX76" fmla="*/ 2454275 w 2889264"/>
              <a:gd name="connsiteY76" fmla="*/ 511175 h 733425"/>
              <a:gd name="connsiteX77" fmla="*/ 2470150 w 2889264"/>
              <a:gd name="connsiteY77" fmla="*/ 523875 h 733425"/>
              <a:gd name="connsiteX78" fmla="*/ 2495550 w 2889264"/>
              <a:gd name="connsiteY78" fmla="*/ 533400 h 733425"/>
              <a:gd name="connsiteX79" fmla="*/ 2546350 w 2889264"/>
              <a:gd name="connsiteY79" fmla="*/ 558800 h 733425"/>
              <a:gd name="connsiteX80" fmla="*/ 2574925 w 2889264"/>
              <a:gd name="connsiteY80" fmla="*/ 565150 h 733425"/>
              <a:gd name="connsiteX81" fmla="*/ 2600325 w 2889264"/>
              <a:gd name="connsiteY81" fmla="*/ 577850 h 733425"/>
              <a:gd name="connsiteX82" fmla="*/ 2616200 w 2889264"/>
              <a:gd name="connsiteY82" fmla="*/ 581025 h 733425"/>
              <a:gd name="connsiteX83" fmla="*/ 2638425 w 2889264"/>
              <a:gd name="connsiteY83" fmla="*/ 587375 h 733425"/>
              <a:gd name="connsiteX84" fmla="*/ 2654300 w 2889264"/>
              <a:gd name="connsiteY84" fmla="*/ 596900 h 733425"/>
              <a:gd name="connsiteX85" fmla="*/ 2673350 w 2889264"/>
              <a:gd name="connsiteY85" fmla="*/ 603250 h 733425"/>
              <a:gd name="connsiteX86" fmla="*/ 2708275 w 2889264"/>
              <a:gd name="connsiteY86" fmla="*/ 625475 h 733425"/>
              <a:gd name="connsiteX87" fmla="*/ 2730500 w 2889264"/>
              <a:gd name="connsiteY87" fmla="*/ 635000 h 733425"/>
              <a:gd name="connsiteX88" fmla="*/ 2749550 w 2889264"/>
              <a:gd name="connsiteY88" fmla="*/ 650875 h 733425"/>
              <a:gd name="connsiteX89" fmla="*/ 2774950 w 2889264"/>
              <a:gd name="connsiteY89" fmla="*/ 663575 h 733425"/>
              <a:gd name="connsiteX90" fmla="*/ 2803525 w 2889264"/>
              <a:gd name="connsiteY90" fmla="*/ 676275 h 733425"/>
              <a:gd name="connsiteX91" fmla="*/ 2816225 w 2889264"/>
              <a:gd name="connsiteY91" fmla="*/ 685800 h 733425"/>
              <a:gd name="connsiteX92" fmla="*/ 2832100 w 2889264"/>
              <a:gd name="connsiteY92" fmla="*/ 692150 h 733425"/>
              <a:gd name="connsiteX93" fmla="*/ 2876550 w 2889264"/>
              <a:gd name="connsiteY93" fmla="*/ 723900 h 733425"/>
              <a:gd name="connsiteX94" fmla="*/ 2889250 w 2889264"/>
              <a:gd name="connsiteY94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098550 w 2889264"/>
              <a:gd name="connsiteY15" fmla="*/ 193675 h 733425"/>
              <a:gd name="connsiteX16" fmla="*/ 1111250 w 2889264"/>
              <a:gd name="connsiteY16" fmla="*/ 187325 h 733425"/>
              <a:gd name="connsiteX17" fmla="*/ 1136650 w 2889264"/>
              <a:gd name="connsiteY17" fmla="*/ 177800 h 733425"/>
              <a:gd name="connsiteX18" fmla="*/ 1181100 w 2889264"/>
              <a:gd name="connsiteY18" fmla="*/ 152400 h 733425"/>
              <a:gd name="connsiteX19" fmla="*/ 1203325 w 2889264"/>
              <a:gd name="connsiteY19" fmla="*/ 130175 h 733425"/>
              <a:gd name="connsiteX20" fmla="*/ 1219200 w 2889264"/>
              <a:gd name="connsiteY20" fmla="*/ 117475 h 733425"/>
              <a:gd name="connsiteX21" fmla="*/ 1276350 w 2889264"/>
              <a:gd name="connsiteY21" fmla="*/ 85725 h 733425"/>
              <a:gd name="connsiteX22" fmla="*/ 1289050 w 2889264"/>
              <a:gd name="connsiteY22" fmla="*/ 79375 h 733425"/>
              <a:gd name="connsiteX23" fmla="*/ 1327150 w 2889264"/>
              <a:gd name="connsiteY23" fmla="*/ 66675 h 733425"/>
              <a:gd name="connsiteX24" fmla="*/ 1343025 w 2889264"/>
              <a:gd name="connsiteY24" fmla="*/ 57150 h 733425"/>
              <a:gd name="connsiteX25" fmla="*/ 1355725 w 2889264"/>
              <a:gd name="connsiteY25" fmla="*/ 47625 h 733425"/>
              <a:gd name="connsiteX26" fmla="*/ 1377950 w 2889264"/>
              <a:gd name="connsiteY26" fmla="*/ 38100 h 733425"/>
              <a:gd name="connsiteX27" fmla="*/ 1416050 w 2889264"/>
              <a:gd name="connsiteY27" fmla="*/ 12700 h 733425"/>
              <a:gd name="connsiteX28" fmla="*/ 1428750 w 2889264"/>
              <a:gd name="connsiteY28" fmla="*/ 0 h 733425"/>
              <a:gd name="connsiteX29" fmla="*/ 1470025 w 2889264"/>
              <a:gd name="connsiteY29" fmla="*/ 28575 h 733425"/>
              <a:gd name="connsiteX30" fmla="*/ 1504950 w 2889264"/>
              <a:gd name="connsiteY30" fmla="*/ 41275 h 733425"/>
              <a:gd name="connsiteX31" fmla="*/ 1517650 w 2889264"/>
              <a:gd name="connsiteY31" fmla="*/ 50800 h 733425"/>
              <a:gd name="connsiteX32" fmla="*/ 1549400 w 2889264"/>
              <a:gd name="connsiteY32" fmla="*/ 60325 h 733425"/>
              <a:gd name="connsiteX33" fmla="*/ 1562100 w 2889264"/>
              <a:gd name="connsiteY33" fmla="*/ 69850 h 733425"/>
              <a:gd name="connsiteX34" fmla="*/ 1574800 w 2889264"/>
              <a:gd name="connsiteY34" fmla="*/ 73025 h 733425"/>
              <a:gd name="connsiteX35" fmla="*/ 1590675 w 2889264"/>
              <a:gd name="connsiteY35" fmla="*/ 79375 h 733425"/>
              <a:gd name="connsiteX36" fmla="*/ 1600200 w 2889264"/>
              <a:gd name="connsiteY36" fmla="*/ 85725 h 733425"/>
              <a:gd name="connsiteX37" fmla="*/ 1612900 w 2889264"/>
              <a:gd name="connsiteY37" fmla="*/ 92075 h 733425"/>
              <a:gd name="connsiteX38" fmla="*/ 1625600 w 2889264"/>
              <a:gd name="connsiteY38" fmla="*/ 101600 h 733425"/>
              <a:gd name="connsiteX39" fmla="*/ 1635125 w 2889264"/>
              <a:gd name="connsiteY39" fmla="*/ 104775 h 733425"/>
              <a:gd name="connsiteX40" fmla="*/ 1654175 w 2889264"/>
              <a:gd name="connsiteY40" fmla="*/ 114300 h 733425"/>
              <a:gd name="connsiteX41" fmla="*/ 1676400 w 2889264"/>
              <a:gd name="connsiteY41" fmla="*/ 130175 h 733425"/>
              <a:gd name="connsiteX42" fmla="*/ 1689100 w 2889264"/>
              <a:gd name="connsiteY42" fmla="*/ 136525 h 733425"/>
              <a:gd name="connsiteX43" fmla="*/ 1714500 w 2889264"/>
              <a:gd name="connsiteY43" fmla="*/ 146050 h 733425"/>
              <a:gd name="connsiteX44" fmla="*/ 1727200 w 2889264"/>
              <a:gd name="connsiteY44" fmla="*/ 155575 h 733425"/>
              <a:gd name="connsiteX45" fmla="*/ 1758950 w 2889264"/>
              <a:gd name="connsiteY45" fmla="*/ 165100 h 733425"/>
              <a:gd name="connsiteX46" fmla="*/ 1768475 w 2889264"/>
              <a:gd name="connsiteY46" fmla="*/ 171450 h 733425"/>
              <a:gd name="connsiteX47" fmla="*/ 1781175 w 2889264"/>
              <a:gd name="connsiteY47" fmla="*/ 180975 h 733425"/>
              <a:gd name="connsiteX48" fmla="*/ 1793875 w 2889264"/>
              <a:gd name="connsiteY48" fmla="*/ 187325 h 733425"/>
              <a:gd name="connsiteX49" fmla="*/ 1838325 w 2889264"/>
              <a:gd name="connsiteY49" fmla="*/ 212725 h 733425"/>
              <a:gd name="connsiteX50" fmla="*/ 1847850 w 2889264"/>
              <a:gd name="connsiteY50" fmla="*/ 222250 h 733425"/>
              <a:gd name="connsiteX51" fmla="*/ 1885950 w 2889264"/>
              <a:gd name="connsiteY51" fmla="*/ 241300 h 733425"/>
              <a:gd name="connsiteX52" fmla="*/ 1901825 w 2889264"/>
              <a:gd name="connsiteY52" fmla="*/ 250825 h 733425"/>
              <a:gd name="connsiteX53" fmla="*/ 1933575 w 2889264"/>
              <a:gd name="connsiteY53" fmla="*/ 263525 h 733425"/>
              <a:gd name="connsiteX54" fmla="*/ 1962150 w 2889264"/>
              <a:gd name="connsiteY54" fmla="*/ 276225 h 733425"/>
              <a:gd name="connsiteX55" fmla="*/ 1971675 w 2889264"/>
              <a:gd name="connsiteY55" fmla="*/ 282575 h 733425"/>
              <a:gd name="connsiteX56" fmla="*/ 1987550 w 2889264"/>
              <a:gd name="connsiteY56" fmla="*/ 288925 h 733425"/>
              <a:gd name="connsiteX57" fmla="*/ 2022475 w 2889264"/>
              <a:gd name="connsiteY57" fmla="*/ 301625 h 733425"/>
              <a:gd name="connsiteX58" fmla="*/ 2047875 w 2889264"/>
              <a:gd name="connsiteY58" fmla="*/ 314325 h 733425"/>
              <a:gd name="connsiteX59" fmla="*/ 2063750 w 2889264"/>
              <a:gd name="connsiteY59" fmla="*/ 320675 h 733425"/>
              <a:gd name="connsiteX60" fmla="*/ 2082800 w 2889264"/>
              <a:gd name="connsiteY60" fmla="*/ 330200 h 733425"/>
              <a:gd name="connsiteX61" fmla="*/ 2095500 w 2889264"/>
              <a:gd name="connsiteY61" fmla="*/ 333375 h 733425"/>
              <a:gd name="connsiteX62" fmla="*/ 2124075 w 2889264"/>
              <a:gd name="connsiteY62" fmla="*/ 342900 h 733425"/>
              <a:gd name="connsiteX63" fmla="*/ 2159000 w 2889264"/>
              <a:gd name="connsiteY63" fmla="*/ 358775 h 733425"/>
              <a:gd name="connsiteX64" fmla="*/ 2187575 w 2889264"/>
              <a:gd name="connsiteY64" fmla="*/ 377825 h 733425"/>
              <a:gd name="connsiteX65" fmla="*/ 2209800 w 2889264"/>
              <a:gd name="connsiteY65" fmla="*/ 393700 h 733425"/>
              <a:gd name="connsiteX66" fmla="*/ 2247900 w 2889264"/>
              <a:gd name="connsiteY66" fmla="*/ 419100 h 733425"/>
              <a:gd name="connsiteX67" fmla="*/ 2276475 w 2889264"/>
              <a:gd name="connsiteY67" fmla="*/ 434975 h 733425"/>
              <a:gd name="connsiteX68" fmla="*/ 2289175 w 2889264"/>
              <a:gd name="connsiteY68" fmla="*/ 444500 h 733425"/>
              <a:gd name="connsiteX69" fmla="*/ 2308225 w 2889264"/>
              <a:gd name="connsiteY69" fmla="*/ 447675 h 733425"/>
              <a:gd name="connsiteX70" fmla="*/ 2333625 w 2889264"/>
              <a:gd name="connsiteY70" fmla="*/ 460375 h 733425"/>
              <a:gd name="connsiteX71" fmla="*/ 2352675 w 2889264"/>
              <a:gd name="connsiteY71" fmla="*/ 466725 h 733425"/>
              <a:gd name="connsiteX72" fmla="*/ 2397125 w 2889264"/>
              <a:gd name="connsiteY72" fmla="*/ 488950 h 733425"/>
              <a:gd name="connsiteX73" fmla="*/ 2422525 w 2889264"/>
              <a:gd name="connsiteY73" fmla="*/ 495300 h 733425"/>
              <a:gd name="connsiteX74" fmla="*/ 2432050 w 2889264"/>
              <a:gd name="connsiteY74" fmla="*/ 498475 h 733425"/>
              <a:gd name="connsiteX75" fmla="*/ 2454275 w 2889264"/>
              <a:gd name="connsiteY75" fmla="*/ 511175 h 733425"/>
              <a:gd name="connsiteX76" fmla="*/ 2470150 w 2889264"/>
              <a:gd name="connsiteY76" fmla="*/ 523875 h 733425"/>
              <a:gd name="connsiteX77" fmla="*/ 2495550 w 2889264"/>
              <a:gd name="connsiteY77" fmla="*/ 533400 h 733425"/>
              <a:gd name="connsiteX78" fmla="*/ 2546350 w 2889264"/>
              <a:gd name="connsiteY78" fmla="*/ 558800 h 733425"/>
              <a:gd name="connsiteX79" fmla="*/ 2574925 w 2889264"/>
              <a:gd name="connsiteY79" fmla="*/ 565150 h 733425"/>
              <a:gd name="connsiteX80" fmla="*/ 2600325 w 2889264"/>
              <a:gd name="connsiteY80" fmla="*/ 577850 h 733425"/>
              <a:gd name="connsiteX81" fmla="*/ 2616200 w 2889264"/>
              <a:gd name="connsiteY81" fmla="*/ 581025 h 733425"/>
              <a:gd name="connsiteX82" fmla="*/ 2638425 w 2889264"/>
              <a:gd name="connsiteY82" fmla="*/ 587375 h 733425"/>
              <a:gd name="connsiteX83" fmla="*/ 2654300 w 2889264"/>
              <a:gd name="connsiteY83" fmla="*/ 596900 h 733425"/>
              <a:gd name="connsiteX84" fmla="*/ 2673350 w 2889264"/>
              <a:gd name="connsiteY84" fmla="*/ 603250 h 733425"/>
              <a:gd name="connsiteX85" fmla="*/ 2708275 w 2889264"/>
              <a:gd name="connsiteY85" fmla="*/ 625475 h 733425"/>
              <a:gd name="connsiteX86" fmla="*/ 2730500 w 2889264"/>
              <a:gd name="connsiteY86" fmla="*/ 635000 h 733425"/>
              <a:gd name="connsiteX87" fmla="*/ 2749550 w 2889264"/>
              <a:gd name="connsiteY87" fmla="*/ 650875 h 733425"/>
              <a:gd name="connsiteX88" fmla="*/ 2774950 w 2889264"/>
              <a:gd name="connsiteY88" fmla="*/ 663575 h 733425"/>
              <a:gd name="connsiteX89" fmla="*/ 2803525 w 2889264"/>
              <a:gd name="connsiteY89" fmla="*/ 676275 h 733425"/>
              <a:gd name="connsiteX90" fmla="*/ 2816225 w 2889264"/>
              <a:gd name="connsiteY90" fmla="*/ 685800 h 733425"/>
              <a:gd name="connsiteX91" fmla="*/ 2832100 w 2889264"/>
              <a:gd name="connsiteY91" fmla="*/ 692150 h 733425"/>
              <a:gd name="connsiteX92" fmla="*/ 2876550 w 2889264"/>
              <a:gd name="connsiteY92" fmla="*/ 723900 h 733425"/>
              <a:gd name="connsiteX93" fmla="*/ 2889250 w 2889264"/>
              <a:gd name="connsiteY93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11250 w 2889264"/>
              <a:gd name="connsiteY15" fmla="*/ 187325 h 733425"/>
              <a:gd name="connsiteX16" fmla="*/ 1136650 w 2889264"/>
              <a:gd name="connsiteY16" fmla="*/ 177800 h 733425"/>
              <a:gd name="connsiteX17" fmla="*/ 1181100 w 2889264"/>
              <a:gd name="connsiteY17" fmla="*/ 152400 h 733425"/>
              <a:gd name="connsiteX18" fmla="*/ 1203325 w 2889264"/>
              <a:gd name="connsiteY18" fmla="*/ 130175 h 733425"/>
              <a:gd name="connsiteX19" fmla="*/ 1219200 w 2889264"/>
              <a:gd name="connsiteY19" fmla="*/ 117475 h 733425"/>
              <a:gd name="connsiteX20" fmla="*/ 1276350 w 2889264"/>
              <a:gd name="connsiteY20" fmla="*/ 85725 h 733425"/>
              <a:gd name="connsiteX21" fmla="*/ 1289050 w 2889264"/>
              <a:gd name="connsiteY21" fmla="*/ 79375 h 733425"/>
              <a:gd name="connsiteX22" fmla="*/ 1327150 w 2889264"/>
              <a:gd name="connsiteY22" fmla="*/ 66675 h 733425"/>
              <a:gd name="connsiteX23" fmla="*/ 1343025 w 2889264"/>
              <a:gd name="connsiteY23" fmla="*/ 57150 h 733425"/>
              <a:gd name="connsiteX24" fmla="*/ 1355725 w 2889264"/>
              <a:gd name="connsiteY24" fmla="*/ 47625 h 733425"/>
              <a:gd name="connsiteX25" fmla="*/ 1377950 w 2889264"/>
              <a:gd name="connsiteY25" fmla="*/ 38100 h 733425"/>
              <a:gd name="connsiteX26" fmla="*/ 1416050 w 2889264"/>
              <a:gd name="connsiteY26" fmla="*/ 12700 h 733425"/>
              <a:gd name="connsiteX27" fmla="*/ 1428750 w 2889264"/>
              <a:gd name="connsiteY27" fmla="*/ 0 h 733425"/>
              <a:gd name="connsiteX28" fmla="*/ 1470025 w 2889264"/>
              <a:gd name="connsiteY28" fmla="*/ 28575 h 733425"/>
              <a:gd name="connsiteX29" fmla="*/ 1504950 w 2889264"/>
              <a:gd name="connsiteY29" fmla="*/ 41275 h 733425"/>
              <a:gd name="connsiteX30" fmla="*/ 1517650 w 2889264"/>
              <a:gd name="connsiteY30" fmla="*/ 50800 h 733425"/>
              <a:gd name="connsiteX31" fmla="*/ 1549400 w 2889264"/>
              <a:gd name="connsiteY31" fmla="*/ 60325 h 733425"/>
              <a:gd name="connsiteX32" fmla="*/ 1562100 w 2889264"/>
              <a:gd name="connsiteY32" fmla="*/ 69850 h 733425"/>
              <a:gd name="connsiteX33" fmla="*/ 1574800 w 2889264"/>
              <a:gd name="connsiteY33" fmla="*/ 73025 h 733425"/>
              <a:gd name="connsiteX34" fmla="*/ 1590675 w 2889264"/>
              <a:gd name="connsiteY34" fmla="*/ 79375 h 733425"/>
              <a:gd name="connsiteX35" fmla="*/ 1600200 w 2889264"/>
              <a:gd name="connsiteY35" fmla="*/ 85725 h 733425"/>
              <a:gd name="connsiteX36" fmla="*/ 1612900 w 2889264"/>
              <a:gd name="connsiteY36" fmla="*/ 92075 h 733425"/>
              <a:gd name="connsiteX37" fmla="*/ 1625600 w 2889264"/>
              <a:gd name="connsiteY37" fmla="*/ 101600 h 733425"/>
              <a:gd name="connsiteX38" fmla="*/ 1635125 w 2889264"/>
              <a:gd name="connsiteY38" fmla="*/ 104775 h 733425"/>
              <a:gd name="connsiteX39" fmla="*/ 1654175 w 2889264"/>
              <a:gd name="connsiteY39" fmla="*/ 114300 h 733425"/>
              <a:gd name="connsiteX40" fmla="*/ 1676400 w 2889264"/>
              <a:gd name="connsiteY40" fmla="*/ 130175 h 733425"/>
              <a:gd name="connsiteX41" fmla="*/ 1689100 w 2889264"/>
              <a:gd name="connsiteY41" fmla="*/ 136525 h 733425"/>
              <a:gd name="connsiteX42" fmla="*/ 1714500 w 2889264"/>
              <a:gd name="connsiteY42" fmla="*/ 146050 h 733425"/>
              <a:gd name="connsiteX43" fmla="*/ 1727200 w 2889264"/>
              <a:gd name="connsiteY43" fmla="*/ 155575 h 733425"/>
              <a:gd name="connsiteX44" fmla="*/ 1758950 w 2889264"/>
              <a:gd name="connsiteY44" fmla="*/ 165100 h 733425"/>
              <a:gd name="connsiteX45" fmla="*/ 1768475 w 2889264"/>
              <a:gd name="connsiteY45" fmla="*/ 171450 h 733425"/>
              <a:gd name="connsiteX46" fmla="*/ 1781175 w 2889264"/>
              <a:gd name="connsiteY46" fmla="*/ 180975 h 733425"/>
              <a:gd name="connsiteX47" fmla="*/ 1793875 w 2889264"/>
              <a:gd name="connsiteY47" fmla="*/ 187325 h 733425"/>
              <a:gd name="connsiteX48" fmla="*/ 1838325 w 2889264"/>
              <a:gd name="connsiteY48" fmla="*/ 212725 h 733425"/>
              <a:gd name="connsiteX49" fmla="*/ 1847850 w 2889264"/>
              <a:gd name="connsiteY49" fmla="*/ 222250 h 733425"/>
              <a:gd name="connsiteX50" fmla="*/ 1885950 w 2889264"/>
              <a:gd name="connsiteY50" fmla="*/ 241300 h 733425"/>
              <a:gd name="connsiteX51" fmla="*/ 1901825 w 2889264"/>
              <a:gd name="connsiteY51" fmla="*/ 250825 h 733425"/>
              <a:gd name="connsiteX52" fmla="*/ 1933575 w 2889264"/>
              <a:gd name="connsiteY52" fmla="*/ 263525 h 733425"/>
              <a:gd name="connsiteX53" fmla="*/ 1962150 w 2889264"/>
              <a:gd name="connsiteY53" fmla="*/ 276225 h 733425"/>
              <a:gd name="connsiteX54" fmla="*/ 1971675 w 2889264"/>
              <a:gd name="connsiteY54" fmla="*/ 282575 h 733425"/>
              <a:gd name="connsiteX55" fmla="*/ 1987550 w 2889264"/>
              <a:gd name="connsiteY55" fmla="*/ 288925 h 733425"/>
              <a:gd name="connsiteX56" fmla="*/ 2022475 w 2889264"/>
              <a:gd name="connsiteY56" fmla="*/ 301625 h 733425"/>
              <a:gd name="connsiteX57" fmla="*/ 2047875 w 2889264"/>
              <a:gd name="connsiteY57" fmla="*/ 314325 h 733425"/>
              <a:gd name="connsiteX58" fmla="*/ 2063750 w 2889264"/>
              <a:gd name="connsiteY58" fmla="*/ 320675 h 733425"/>
              <a:gd name="connsiteX59" fmla="*/ 2082800 w 2889264"/>
              <a:gd name="connsiteY59" fmla="*/ 330200 h 733425"/>
              <a:gd name="connsiteX60" fmla="*/ 2095500 w 2889264"/>
              <a:gd name="connsiteY60" fmla="*/ 333375 h 733425"/>
              <a:gd name="connsiteX61" fmla="*/ 2124075 w 2889264"/>
              <a:gd name="connsiteY61" fmla="*/ 342900 h 733425"/>
              <a:gd name="connsiteX62" fmla="*/ 2159000 w 2889264"/>
              <a:gd name="connsiteY62" fmla="*/ 358775 h 733425"/>
              <a:gd name="connsiteX63" fmla="*/ 2187575 w 2889264"/>
              <a:gd name="connsiteY63" fmla="*/ 377825 h 733425"/>
              <a:gd name="connsiteX64" fmla="*/ 2209800 w 2889264"/>
              <a:gd name="connsiteY64" fmla="*/ 393700 h 733425"/>
              <a:gd name="connsiteX65" fmla="*/ 2247900 w 2889264"/>
              <a:gd name="connsiteY65" fmla="*/ 419100 h 733425"/>
              <a:gd name="connsiteX66" fmla="*/ 2276475 w 2889264"/>
              <a:gd name="connsiteY66" fmla="*/ 434975 h 733425"/>
              <a:gd name="connsiteX67" fmla="*/ 2289175 w 2889264"/>
              <a:gd name="connsiteY67" fmla="*/ 444500 h 733425"/>
              <a:gd name="connsiteX68" fmla="*/ 2308225 w 2889264"/>
              <a:gd name="connsiteY68" fmla="*/ 447675 h 733425"/>
              <a:gd name="connsiteX69" fmla="*/ 2333625 w 2889264"/>
              <a:gd name="connsiteY69" fmla="*/ 460375 h 733425"/>
              <a:gd name="connsiteX70" fmla="*/ 2352675 w 2889264"/>
              <a:gd name="connsiteY70" fmla="*/ 466725 h 733425"/>
              <a:gd name="connsiteX71" fmla="*/ 2397125 w 2889264"/>
              <a:gd name="connsiteY71" fmla="*/ 488950 h 733425"/>
              <a:gd name="connsiteX72" fmla="*/ 2422525 w 2889264"/>
              <a:gd name="connsiteY72" fmla="*/ 495300 h 733425"/>
              <a:gd name="connsiteX73" fmla="*/ 2432050 w 2889264"/>
              <a:gd name="connsiteY73" fmla="*/ 498475 h 733425"/>
              <a:gd name="connsiteX74" fmla="*/ 2454275 w 2889264"/>
              <a:gd name="connsiteY74" fmla="*/ 511175 h 733425"/>
              <a:gd name="connsiteX75" fmla="*/ 2470150 w 2889264"/>
              <a:gd name="connsiteY75" fmla="*/ 523875 h 733425"/>
              <a:gd name="connsiteX76" fmla="*/ 2495550 w 2889264"/>
              <a:gd name="connsiteY76" fmla="*/ 533400 h 733425"/>
              <a:gd name="connsiteX77" fmla="*/ 2546350 w 2889264"/>
              <a:gd name="connsiteY77" fmla="*/ 558800 h 733425"/>
              <a:gd name="connsiteX78" fmla="*/ 2574925 w 2889264"/>
              <a:gd name="connsiteY78" fmla="*/ 565150 h 733425"/>
              <a:gd name="connsiteX79" fmla="*/ 2600325 w 2889264"/>
              <a:gd name="connsiteY79" fmla="*/ 577850 h 733425"/>
              <a:gd name="connsiteX80" fmla="*/ 2616200 w 2889264"/>
              <a:gd name="connsiteY80" fmla="*/ 581025 h 733425"/>
              <a:gd name="connsiteX81" fmla="*/ 2638425 w 2889264"/>
              <a:gd name="connsiteY81" fmla="*/ 587375 h 733425"/>
              <a:gd name="connsiteX82" fmla="*/ 2654300 w 2889264"/>
              <a:gd name="connsiteY82" fmla="*/ 596900 h 733425"/>
              <a:gd name="connsiteX83" fmla="*/ 2673350 w 2889264"/>
              <a:gd name="connsiteY83" fmla="*/ 603250 h 733425"/>
              <a:gd name="connsiteX84" fmla="*/ 2708275 w 2889264"/>
              <a:gd name="connsiteY84" fmla="*/ 625475 h 733425"/>
              <a:gd name="connsiteX85" fmla="*/ 2730500 w 2889264"/>
              <a:gd name="connsiteY85" fmla="*/ 635000 h 733425"/>
              <a:gd name="connsiteX86" fmla="*/ 2749550 w 2889264"/>
              <a:gd name="connsiteY86" fmla="*/ 650875 h 733425"/>
              <a:gd name="connsiteX87" fmla="*/ 2774950 w 2889264"/>
              <a:gd name="connsiteY87" fmla="*/ 663575 h 733425"/>
              <a:gd name="connsiteX88" fmla="*/ 2803525 w 2889264"/>
              <a:gd name="connsiteY88" fmla="*/ 676275 h 733425"/>
              <a:gd name="connsiteX89" fmla="*/ 2816225 w 2889264"/>
              <a:gd name="connsiteY89" fmla="*/ 685800 h 733425"/>
              <a:gd name="connsiteX90" fmla="*/ 2832100 w 2889264"/>
              <a:gd name="connsiteY90" fmla="*/ 692150 h 733425"/>
              <a:gd name="connsiteX91" fmla="*/ 2876550 w 2889264"/>
              <a:gd name="connsiteY91" fmla="*/ 723900 h 733425"/>
              <a:gd name="connsiteX92" fmla="*/ 2889250 w 2889264"/>
              <a:gd name="connsiteY92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36650 w 2889264"/>
              <a:gd name="connsiteY15" fmla="*/ 177800 h 733425"/>
              <a:gd name="connsiteX16" fmla="*/ 1181100 w 2889264"/>
              <a:gd name="connsiteY16" fmla="*/ 152400 h 733425"/>
              <a:gd name="connsiteX17" fmla="*/ 1203325 w 2889264"/>
              <a:gd name="connsiteY17" fmla="*/ 130175 h 733425"/>
              <a:gd name="connsiteX18" fmla="*/ 1219200 w 2889264"/>
              <a:gd name="connsiteY18" fmla="*/ 117475 h 733425"/>
              <a:gd name="connsiteX19" fmla="*/ 1276350 w 2889264"/>
              <a:gd name="connsiteY19" fmla="*/ 85725 h 733425"/>
              <a:gd name="connsiteX20" fmla="*/ 1289050 w 2889264"/>
              <a:gd name="connsiteY20" fmla="*/ 79375 h 733425"/>
              <a:gd name="connsiteX21" fmla="*/ 1327150 w 2889264"/>
              <a:gd name="connsiteY21" fmla="*/ 66675 h 733425"/>
              <a:gd name="connsiteX22" fmla="*/ 1343025 w 2889264"/>
              <a:gd name="connsiteY22" fmla="*/ 57150 h 733425"/>
              <a:gd name="connsiteX23" fmla="*/ 1355725 w 2889264"/>
              <a:gd name="connsiteY23" fmla="*/ 47625 h 733425"/>
              <a:gd name="connsiteX24" fmla="*/ 1377950 w 2889264"/>
              <a:gd name="connsiteY24" fmla="*/ 38100 h 733425"/>
              <a:gd name="connsiteX25" fmla="*/ 1416050 w 2889264"/>
              <a:gd name="connsiteY25" fmla="*/ 12700 h 733425"/>
              <a:gd name="connsiteX26" fmla="*/ 1428750 w 2889264"/>
              <a:gd name="connsiteY26" fmla="*/ 0 h 733425"/>
              <a:gd name="connsiteX27" fmla="*/ 1470025 w 2889264"/>
              <a:gd name="connsiteY27" fmla="*/ 28575 h 733425"/>
              <a:gd name="connsiteX28" fmla="*/ 1504950 w 2889264"/>
              <a:gd name="connsiteY28" fmla="*/ 41275 h 733425"/>
              <a:gd name="connsiteX29" fmla="*/ 1517650 w 2889264"/>
              <a:gd name="connsiteY29" fmla="*/ 50800 h 733425"/>
              <a:gd name="connsiteX30" fmla="*/ 1549400 w 2889264"/>
              <a:gd name="connsiteY30" fmla="*/ 60325 h 733425"/>
              <a:gd name="connsiteX31" fmla="*/ 1562100 w 2889264"/>
              <a:gd name="connsiteY31" fmla="*/ 69850 h 733425"/>
              <a:gd name="connsiteX32" fmla="*/ 1574800 w 2889264"/>
              <a:gd name="connsiteY32" fmla="*/ 73025 h 733425"/>
              <a:gd name="connsiteX33" fmla="*/ 1590675 w 2889264"/>
              <a:gd name="connsiteY33" fmla="*/ 79375 h 733425"/>
              <a:gd name="connsiteX34" fmla="*/ 1600200 w 2889264"/>
              <a:gd name="connsiteY34" fmla="*/ 85725 h 733425"/>
              <a:gd name="connsiteX35" fmla="*/ 1612900 w 2889264"/>
              <a:gd name="connsiteY35" fmla="*/ 92075 h 733425"/>
              <a:gd name="connsiteX36" fmla="*/ 1625600 w 2889264"/>
              <a:gd name="connsiteY36" fmla="*/ 101600 h 733425"/>
              <a:gd name="connsiteX37" fmla="*/ 1635125 w 2889264"/>
              <a:gd name="connsiteY37" fmla="*/ 104775 h 733425"/>
              <a:gd name="connsiteX38" fmla="*/ 1654175 w 2889264"/>
              <a:gd name="connsiteY38" fmla="*/ 114300 h 733425"/>
              <a:gd name="connsiteX39" fmla="*/ 1676400 w 2889264"/>
              <a:gd name="connsiteY39" fmla="*/ 130175 h 733425"/>
              <a:gd name="connsiteX40" fmla="*/ 1689100 w 2889264"/>
              <a:gd name="connsiteY40" fmla="*/ 136525 h 733425"/>
              <a:gd name="connsiteX41" fmla="*/ 1714500 w 2889264"/>
              <a:gd name="connsiteY41" fmla="*/ 146050 h 733425"/>
              <a:gd name="connsiteX42" fmla="*/ 1727200 w 2889264"/>
              <a:gd name="connsiteY42" fmla="*/ 155575 h 733425"/>
              <a:gd name="connsiteX43" fmla="*/ 1758950 w 2889264"/>
              <a:gd name="connsiteY43" fmla="*/ 165100 h 733425"/>
              <a:gd name="connsiteX44" fmla="*/ 1768475 w 2889264"/>
              <a:gd name="connsiteY44" fmla="*/ 171450 h 733425"/>
              <a:gd name="connsiteX45" fmla="*/ 1781175 w 2889264"/>
              <a:gd name="connsiteY45" fmla="*/ 180975 h 733425"/>
              <a:gd name="connsiteX46" fmla="*/ 1793875 w 2889264"/>
              <a:gd name="connsiteY46" fmla="*/ 187325 h 733425"/>
              <a:gd name="connsiteX47" fmla="*/ 1838325 w 2889264"/>
              <a:gd name="connsiteY47" fmla="*/ 212725 h 733425"/>
              <a:gd name="connsiteX48" fmla="*/ 1847850 w 2889264"/>
              <a:gd name="connsiteY48" fmla="*/ 222250 h 733425"/>
              <a:gd name="connsiteX49" fmla="*/ 1885950 w 2889264"/>
              <a:gd name="connsiteY49" fmla="*/ 241300 h 733425"/>
              <a:gd name="connsiteX50" fmla="*/ 1901825 w 2889264"/>
              <a:gd name="connsiteY50" fmla="*/ 250825 h 733425"/>
              <a:gd name="connsiteX51" fmla="*/ 1933575 w 2889264"/>
              <a:gd name="connsiteY51" fmla="*/ 263525 h 733425"/>
              <a:gd name="connsiteX52" fmla="*/ 1962150 w 2889264"/>
              <a:gd name="connsiteY52" fmla="*/ 276225 h 733425"/>
              <a:gd name="connsiteX53" fmla="*/ 1971675 w 2889264"/>
              <a:gd name="connsiteY53" fmla="*/ 282575 h 733425"/>
              <a:gd name="connsiteX54" fmla="*/ 1987550 w 2889264"/>
              <a:gd name="connsiteY54" fmla="*/ 288925 h 733425"/>
              <a:gd name="connsiteX55" fmla="*/ 2022475 w 2889264"/>
              <a:gd name="connsiteY55" fmla="*/ 301625 h 733425"/>
              <a:gd name="connsiteX56" fmla="*/ 2047875 w 2889264"/>
              <a:gd name="connsiteY56" fmla="*/ 314325 h 733425"/>
              <a:gd name="connsiteX57" fmla="*/ 2063750 w 2889264"/>
              <a:gd name="connsiteY57" fmla="*/ 320675 h 733425"/>
              <a:gd name="connsiteX58" fmla="*/ 2082800 w 2889264"/>
              <a:gd name="connsiteY58" fmla="*/ 330200 h 733425"/>
              <a:gd name="connsiteX59" fmla="*/ 2095500 w 2889264"/>
              <a:gd name="connsiteY59" fmla="*/ 333375 h 733425"/>
              <a:gd name="connsiteX60" fmla="*/ 2124075 w 2889264"/>
              <a:gd name="connsiteY60" fmla="*/ 342900 h 733425"/>
              <a:gd name="connsiteX61" fmla="*/ 2159000 w 2889264"/>
              <a:gd name="connsiteY61" fmla="*/ 358775 h 733425"/>
              <a:gd name="connsiteX62" fmla="*/ 2187575 w 2889264"/>
              <a:gd name="connsiteY62" fmla="*/ 377825 h 733425"/>
              <a:gd name="connsiteX63" fmla="*/ 2209800 w 2889264"/>
              <a:gd name="connsiteY63" fmla="*/ 393700 h 733425"/>
              <a:gd name="connsiteX64" fmla="*/ 2247900 w 2889264"/>
              <a:gd name="connsiteY64" fmla="*/ 419100 h 733425"/>
              <a:gd name="connsiteX65" fmla="*/ 2276475 w 2889264"/>
              <a:gd name="connsiteY65" fmla="*/ 434975 h 733425"/>
              <a:gd name="connsiteX66" fmla="*/ 2289175 w 2889264"/>
              <a:gd name="connsiteY66" fmla="*/ 444500 h 733425"/>
              <a:gd name="connsiteX67" fmla="*/ 2308225 w 2889264"/>
              <a:gd name="connsiteY67" fmla="*/ 447675 h 733425"/>
              <a:gd name="connsiteX68" fmla="*/ 2333625 w 2889264"/>
              <a:gd name="connsiteY68" fmla="*/ 460375 h 733425"/>
              <a:gd name="connsiteX69" fmla="*/ 2352675 w 2889264"/>
              <a:gd name="connsiteY69" fmla="*/ 466725 h 733425"/>
              <a:gd name="connsiteX70" fmla="*/ 2397125 w 2889264"/>
              <a:gd name="connsiteY70" fmla="*/ 488950 h 733425"/>
              <a:gd name="connsiteX71" fmla="*/ 2422525 w 2889264"/>
              <a:gd name="connsiteY71" fmla="*/ 495300 h 733425"/>
              <a:gd name="connsiteX72" fmla="*/ 2432050 w 2889264"/>
              <a:gd name="connsiteY72" fmla="*/ 498475 h 733425"/>
              <a:gd name="connsiteX73" fmla="*/ 2454275 w 2889264"/>
              <a:gd name="connsiteY73" fmla="*/ 511175 h 733425"/>
              <a:gd name="connsiteX74" fmla="*/ 2470150 w 2889264"/>
              <a:gd name="connsiteY74" fmla="*/ 523875 h 733425"/>
              <a:gd name="connsiteX75" fmla="*/ 2495550 w 2889264"/>
              <a:gd name="connsiteY75" fmla="*/ 533400 h 733425"/>
              <a:gd name="connsiteX76" fmla="*/ 2546350 w 2889264"/>
              <a:gd name="connsiteY76" fmla="*/ 558800 h 733425"/>
              <a:gd name="connsiteX77" fmla="*/ 2574925 w 2889264"/>
              <a:gd name="connsiteY77" fmla="*/ 565150 h 733425"/>
              <a:gd name="connsiteX78" fmla="*/ 2600325 w 2889264"/>
              <a:gd name="connsiteY78" fmla="*/ 577850 h 733425"/>
              <a:gd name="connsiteX79" fmla="*/ 2616200 w 2889264"/>
              <a:gd name="connsiteY79" fmla="*/ 581025 h 733425"/>
              <a:gd name="connsiteX80" fmla="*/ 2638425 w 2889264"/>
              <a:gd name="connsiteY80" fmla="*/ 587375 h 733425"/>
              <a:gd name="connsiteX81" fmla="*/ 2654300 w 2889264"/>
              <a:gd name="connsiteY81" fmla="*/ 596900 h 733425"/>
              <a:gd name="connsiteX82" fmla="*/ 2673350 w 2889264"/>
              <a:gd name="connsiteY82" fmla="*/ 603250 h 733425"/>
              <a:gd name="connsiteX83" fmla="*/ 2708275 w 2889264"/>
              <a:gd name="connsiteY83" fmla="*/ 625475 h 733425"/>
              <a:gd name="connsiteX84" fmla="*/ 2730500 w 2889264"/>
              <a:gd name="connsiteY84" fmla="*/ 635000 h 733425"/>
              <a:gd name="connsiteX85" fmla="*/ 2749550 w 2889264"/>
              <a:gd name="connsiteY85" fmla="*/ 650875 h 733425"/>
              <a:gd name="connsiteX86" fmla="*/ 2774950 w 2889264"/>
              <a:gd name="connsiteY86" fmla="*/ 663575 h 733425"/>
              <a:gd name="connsiteX87" fmla="*/ 2803525 w 2889264"/>
              <a:gd name="connsiteY87" fmla="*/ 676275 h 733425"/>
              <a:gd name="connsiteX88" fmla="*/ 2816225 w 2889264"/>
              <a:gd name="connsiteY88" fmla="*/ 685800 h 733425"/>
              <a:gd name="connsiteX89" fmla="*/ 2832100 w 2889264"/>
              <a:gd name="connsiteY89" fmla="*/ 692150 h 733425"/>
              <a:gd name="connsiteX90" fmla="*/ 2876550 w 2889264"/>
              <a:gd name="connsiteY90" fmla="*/ 723900 h 733425"/>
              <a:gd name="connsiteX91" fmla="*/ 2889250 w 2889264"/>
              <a:gd name="connsiteY91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203325 w 2889264"/>
              <a:gd name="connsiteY16" fmla="*/ 130175 h 733425"/>
              <a:gd name="connsiteX17" fmla="*/ 1219200 w 2889264"/>
              <a:gd name="connsiteY17" fmla="*/ 117475 h 733425"/>
              <a:gd name="connsiteX18" fmla="*/ 1276350 w 2889264"/>
              <a:gd name="connsiteY18" fmla="*/ 85725 h 733425"/>
              <a:gd name="connsiteX19" fmla="*/ 1289050 w 2889264"/>
              <a:gd name="connsiteY19" fmla="*/ 79375 h 733425"/>
              <a:gd name="connsiteX20" fmla="*/ 1327150 w 2889264"/>
              <a:gd name="connsiteY20" fmla="*/ 66675 h 733425"/>
              <a:gd name="connsiteX21" fmla="*/ 1343025 w 2889264"/>
              <a:gd name="connsiteY21" fmla="*/ 57150 h 733425"/>
              <a:gd name="connsiteX22" fmla="*/ 1355725 w 2889264"/>
              <a:gd name="connsiteY22" fmla="*/ 47625 h 733425"/>
              <a:gd name="connsiteX23" fmla="*/ 1377950 w 2889264"/>
              <a:gd name="connsiteY23" fmla="*/ 38100 h 733425"/>
              <a:gd name="connsiteX24" fmla="*/ 1416050 w 2889264"/>
              <a:gd name="connsiteY24" fmla="*/ 12700 h 733425"/>
              <a:gd name="connsiteX25" fmla="*/ 1428750 w 2889264"/>
              <a:gd name="connsiteY25" fmla="*/ 0 h 733425"/>
              <a:gd name="connsiteX26" fmla="*/ 1470025 w 2889264"/>
              <a:gd name="connsiteY26" fmla="*/ 28575 h 733425"/>
              <a:gd name="connsiteX27" fmla="*/ 1504950 w 2889264"/>
              <a:gd name="connsiteY27" fmla="*/ 41275 h 733425"/>
              <a:gd name="connsiteX28" fmla="*/ 1517650 w 2889264"/>
              <a:gd name="connsiteY28" fmla="*/ 50800 h 733425"/>
              <a:gd name="connsiteX29" fmla="*/ 1549400 w 2889264"/>
              <a:gd name="connsiteY29" fmla="*/ 60325 h 733425"/>
              <a:gd name="connsiteX30" fmla="*/ 1562100 w 2889264"/>
              <a:gd name="connsiteY30" fmla="*/ 69850 h 733425"/>
              <a:gd name="connsiteX31" fmla="*/ 1574800 w 2889264"/>
              <a:gd name="connsiteY31" fmla="*/ 73025 h 733425"/>
              <a:gd name="connsiteX32" fmla="*/ 1590675 w 2889264"/>
              <a:gd name="connsiteY32" fmla="*/ 79375 h 733425"/>
              <a:gd name="connsiteX33" fmla="*/ 1600200 w 2889264"/>
              <a:gd name="connsiteY33" fmla="*/ 85725 h 733425"/>
              <a:gd name="connsiteX34" fmla="*/ 1612900 w 2889264"/>
              <a:gd name="connsiteY34" fmla="*/ 92075 h 733425"/>
              <a:gd name="connsiteX35" fmla="*/ 1625600 w 2889264"/>
              <a:gd name="connsiteY35" fmla="*/ 101600 h 733425"/>
              <a:gd name="connsiteX36" fmla="*/ 1635125 w 2889264"/>
              <a:gd name="connsiteY36" fmla="*/ 104775 h 733425"/>
              <a:gd name="connsiteX37" fmla="*/ 1654175 w 2889264"/>
              <a:gd name="connsiteY37" fmla="*/ 114300 h 733425"/>
              <a:gd name="connsiteX38" fmla="*/ 1676400 w 2889264"/>
              <a:gd name="connsiteY38" fmla="*/ 130175 h 733425"/>
              <a:gd name="connsiteX39" fmla="*/ 1689100 w 2889264"/>
              <a:gd name="connsiteY39" fmla="*/ 136525 h 733425"/>
              <a:gd name="connsiteX40" fmla="*/ 1714500 w 2889264"/>
              <a:gd name="connsiteY40" fmla="*/ 146050 h 733425"/>
              <a:gd name="connsiteX41" fmla="*/ 1727200 w 2889264"/>
              <a:gd name="connsiteY41" fmla="*/ 155575 h 733425"/>
              <a:gd name="connsiteX42" fmla="*/ 1758950 w 2889264"/>
              <a:gd name="connsiteY42" fmla="*/ 165100 h 733425"/>
              <a:gd name="connsiteX43" fmla="*/ 1768475 w 2889264"/>
              <a:gd name="connsiteY43" fmla="*/ 171450 h 733425"/>
              <a:gd name="connsiteX44" fmla="*/ 1781175 w 2889264"/>
              <a:gd name="connsiteY44" fmla="*/ 180975 h 733425"/>
              <a:gd name="connsiteX45" fmla="*/ 1793875 w 2889264"/>
              <a:gd name="connsiteY45" fmla="*/ 187325 h 733425"/>
              <a:gd name="connsiteX46" fmla="*/ 1838325 w 2889264"/>
              <a:gd name="connsiteY46" fmla="*/ 212725 h 733425"/>
              <a:gd name="connsiteX47" fmla="*/ 1847850 w 2889264"/>
              <a:gd name="connsiteY47" fmla="*/ 222250 h 733425"/>
              <a:gd name="connsiteX48" fmla="*/ 1885950 w 2889264"/>
              <a:gd name="connsiteY48" fmla="*/ 241300 h 733425"/>
              <a:gd name="connsiteX49" fmla="*/ 1901825 w 2889264"/>
              <a:gd name="connsiteY49" fmla="*/ 250825 h 733425"/>
              <a:gd name="connsiteX50" fmla="*/ 1933575 w 2889264"/>
              <a:gd name="connsiteY50" fmla="*/ 263525 h 733425"/>
              <a:gd name="connsiteX51" fmla="*/ 1962150 w 2889264"/>
              <a:gd name="connsiteY51" fmla="*/ 276225 h 733425"/>
              <a:gd name="connsiteX52" fmla="*/ 1971675 w 2889264"/>
              <a:gd name="connsiteY52" fmla="*/ 282575 h 733425"/>
              <a:gd name="connsiteX53" fmla="*/ 1987550 w 2889264"/>
              <a:gd name="connsiteY53" fmla="*/ 288925 h 733425"/>
              <a:gd name="connsiteX54" fmla="*/ 2022475 w 2889264"/>
              <a:gd name="connsiteY54" fmla="*/ 301625 h 733425"/>
              <a:gd name="connsiteX55" fmla="*/ 2047875 w 2889264"/>
              <a:gd name="connsiteY55" fmla="*/ 314325 h 733425"/>
              <a:gd name="connsiteX56" fmla="*/ 2063750 w 2889264"/>
              <a:gd name="connsiteY56" fmla="*/ 320675 h 733425"/>
              <a:gd name="connsiteX57" fmla="*/ 2082800 w 2889264"/>
              <a:gd name="connsiteY57" fmla="*/ 330200 h 733425"/>
              <a:gd name="connsiteX58" fmla="*/ 2095500 w 2889264"/>
              <a:gd name="connsiteY58" fmla="*/ 333375 h 733425"/>
              <a:gd name="connsiteX59" fmla="*/ 2124075 w 2889264"/>
              <a:gd name="connsiteY59" fmla="*/ 342900 h 733425"/>
              <a:gd name="connsiteX60" fmla="*/ 2159000 w 2889264"/>
              <a:gd name="connsiteY60" fmla="*/ 358775 h 733425"/>
              <a:gd name="connsiteX61" fmla="*/ 2187575 w 2889264"/>
              <a:gd name="connsiteY61" fmla="*/ 377825 h 733425"/>
              <a:gd name="connsiteX62" fmla="*/ 2209800 w 2889264"/>
              <a:gd name="connsiteY62" fmla="*/ 393700 h 733425"/>
              <a:gd name="connsiteX63" fmla="*/ 2247900 w 2889264"/>
              <a:gd name="connsiteY63" fmla="*/ 419100 h 733425"/>
              <a:gd name="connsiteX64" fmla="*/ 2276475 w 2889264"/>
              <a:gd name="connsiteY64" fmla="*/ 434975 h 733425"/>
              <a:gd name="connsiteX65" fmla="*/ 2289175 w 2889264"/>
              <a:gd name="connsiteY65" fmla="*/ 444500 h 733425"/>
              <a:gd name="connsiteX66" fmla="*/ 2308225 w 2889264"/>
              <a:gd name="connsiteY66" fmla="*/ 447675 h 733425"/>
              <a:gd name="connsiteX67" fmla="*/ 2333625 w 2889264"/>
              <a:gd name="connsiteY67" fmla="*/ 460375 h 733425"/>
              <a:gd name="connsiteX68" fmla="*/ 2352675 w 2889264"/>
              <a:gd name="connsiteY68" fmla="*/ 466725 h 733425"/>
              <a:gd name="connsiteX69" fmla="*/ 2397125 w 2889264"/>
              <a:gd name="connsiteY69" fmla="*/ 488950 h 733425"/>
              <a:gd name="connsiteX70" fmla="*/ 2422525 w 2889264"/>
              <a:gd name="connsiteY70" fmla="*/ 495300 h 733425"/>
              <a:gd name="connsiteX71" fmla="*/ 2432050 w 2889264"/>
              <a:gd name="connsiteY71" fmla="*/ 498475 h 733425"/>
              <a:gd name="connsiteX72" fmla="*/ 2454275 w 2889264"/>
              <a:gd name="connsiteY72" fmla="*/ 511175 h 733425"/>
              <a:gd name="connsiteX73" fmla="*/ 2470150 w 2889264"/>
              <a:gd name="connsiteY73" fmla="*/ 523875 h 733425"/>
              <a:gd name="connsiteX74" fmla="*/ 2495550 w 2889264"/>
              <a:gd name="connsiteY74" fmla="*/ 533400 h 733425"/>
              <a:gd name="connsiteX75" fmla="*/ 2546350 w 2889264"/>
              <a:gd name="connsiteY75" fmla="*/ 558800 h 733425"/>
              <a:gd name="connsiteX76" fmla="*/ 2574925 w 2889264"/>
              <a:gd name="connsiteY76" fmla="*/ 565150 h 733425"/>
              <a:gd name="connsiteX77" fmla="*/ 2600325 w 2889264"/>
              <a:gd name="connsiteY77" fmla="*/ 577850 h 733425"/>
              <a:gd name="connsiteX78" fmla="*/ 2616200 w 2889264"/>
              <a:gd name="connsiteY78" fmla="*/ 581025 h 733425"/>
              <a:gd name="connsiteX79" fmla="*/ 2638425 w 2889264"/>
              <a:gd name="connsiteY79" fmla="*/ 587375 h 733425"/>
              <a:gd name="connsiteX80" fmla="*/ 2654300 w 2889264"/>
              <a:gd name="connsiteY80" fmla="*/ 596900 h 733425"/>
              <a:gd name="connsiteX81" fmla="*/ 2673350 w 2889264"/>
              <a:gd name="connsiteY81" fmla="*/ 603250 h 733425"/>
              <a:gd name="connsiteX82" fmla="*/ 2708275 w 2889264"/>
              <a:gd name="connsiteY82" fmla="*/ 625475 h 733425"/>
              <a:gd name="connsiteX83" fmla="*/ 2730500 w 2889264"/>
              <a:gd name="connsiteY83" fmla="*/ 635000 h 733425"/>
              <a:gd name="connsiteX84" fmla="*/ 2749550 w 2889264"/>
              <a:gd name="connsiteY84" fmla="*/ 650875 h 733425"/>
              <a:gd name="connsiteX85" fmla="*/ 2774950 w 2889264"/>
              <a:gd name="connsiteY85" fmla="*/ 663575 h 733425"/>
              <a:gd name="connsiteX86" fmla="*/ 2803525 w 2889264"/>
              <a:gd name="connsiteY86" fmla="*/ 676275 h 733425"/>
              <a:gd name="connsiteX87" fmla="*/ 2816225 w 2889264"/>
              <a:gd name="connsiteY87" fmla="*/ 685800 h 733425"/>
              <a:gd name="connsiteX88" fmla="*/ 2832100 w 2889264"/>
              <a:gd name="connsiteY88" fmla="*/ 692150 h 733425"/>
              <a:gd name="connsiteX89" fmla="*/ 2876550 w 2889264"/>
              <a:gd name="connsiteY89" fmla="*/ 723900 h 733425"/>
              <a:gd name="connsiteX90" fmla="*/ 2889250 w 2889264"/>
              <a:gd name="connsiteY90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219200 w 2889264"/>
              <a:gd name="connsiteY16" fmla="*/ 117475 h 733425"/>
              <a:gd name="connsiteX17" fmla="*/ 1276350 w 2889264"/>
              <a:gd name="connsiteY17" fmla="*/ 85725 h 733425"/>
              <a:gd name="connsiteX18" fmla="*/ 1289050 w 2889264"/>
              <a:gd name="connsiteY18" fmla="*/ 79375 h 733425"/>
              <a:gd name="connsiteX19" fmla="*/ 1327150 w 2889264"/>
              <a:gd name="connsiteY19" fmla="*/ 66675 h 733425"/>
              <a:gd name="connsiteX20" fmla="*/ 1343025 w 2889264"/>
              <a:gd name="connsiteY20" fmla="*/ 57150 h 733425"/>
              <a:gd name="connsiteX21" fmla="*/ 1355725 w 2889264"/>
              <a:gd name="connsiteY21" fmla="*/ 47625 h 733425"/>
              <a:gd name="connsiteX22" fmla="*/ 1377950 w 2889264"/>
              <a:gd name="connsiteY22" fmla="*/ 38100 h 733425"/>
              <a:gd name="connsiteX23" fmla="*/ 1416050 w 2889264"/>
              <a:gd name="connsiteY23" fmla="*/ 12700 h 733425"/>
              <a:gd name="connsiteX24" fmla="*/ 1428750 w 2889264"/>
              <a:gd name="connsiteY24" fmla="*/ 0 h 733425"/>
              <a:gd name="connsiteX25" fmla="*/ 1470025 w 2889264"/>
              <a:gd name="connsiteY25" fmla="*/ 28575 h 733425"/>
              <a:gd name="connsiteX26" fmla="*/ 1504950 w 2889264"/>
              <a:gd name="connsiteY26" fmla="*/ 41275 h 733425"/>
              <a:gd name="connsiteX27" fmla="*/ 1517650 w 2889264"/>
              <a:gd name="connsiteY27" fmla="*/ 50800 h 733425"/>
              <a:gd name="connsiteX28" fmla="*/ 1549400 w 2889264"/>
              <a:gd name="connsiteY28" fmla="*/ 60325 h 733425"/>
              <a:gd name="connsiteX29" fmla="*/ 1562100 w 2889264"/>
              <a:gd name="connsiteY29" fmla="*/ 69850 h 733425"/>
              <a:gd name="connsiteX30" fmla="*/ 1574800 w 2889264"/>
              <a:gd name="connsiteY30" fmla="*/ 73025 h 733425"/>
              <a:gd name="connsiteX31" fmla="*/ 1590675 w 2889264"/>
              <a:gd name="connsiteY31" fmla="*/ 79375 h 733425"/>
              <a:gd name="connsiteX32" fmla="*/ 1600200 w 2889264"/>
              <a:gd name="connsiteY32" fmla="*/ 85725 h 733425"/>
              <a:gd name="connsiteX33" fmla="*/ 1612900 w 2889264"/>
              <a:gd name="connsiteY33" fmla="*/ 92075 h 733425"/>
              <a:gd name="connsiteX34" fmla="*/ 1625600 w 2889264"/>
              <a:gd name="connsiteY34" fmla="*/ 101600 h 733425"/>
              <a:gd name="connsiteX35" fmla="*/ 1635125 w 2889264"/>
              <a:gd name="connsiteY35" fmla="*/ 104775 h 733425"/>
              <a:gd name="connsiteX36" fmla="*/ 1654175 w 2889264"/>
              <a:gd name="connsiteY36" fmla="*/ 114300 h 733425"/>
              <a:gd name="connsiteX37" fmla="*/ 1676400 w 2889264"/>
              <a:gd name="connsiteY37" fmla="*/ 130175 h 733425"/>
              <a:gd name="connsiteX38" fmla="*/ 1689100 w 2889264"/>
              <a:gd name="connsiteY38" fmla="*/ 136525 h 733425"/>
              <a:gd name="connsiteX39" fmla="*/ 1714500 w 2889264"/>
              <a:gd name="connsiteY39" fmla="*/ 146050 h 733425"/>
              <a:gd name="connsiteX40" fmla="*/ 1727200 w 2889264"/>
              <a:gd name="connsiteY40" fmla="*/ 155575 h 733425"/>
              <a:gd name="connsiteX41" fmla="*/ 1758950 w 2889264"/>
              <a:gd name="connsiteY41" fmla="*/ 165100 h 733425"/>
              <a:gd name="connsiteX42" fmla="*/ 1768475 w 2889264"/>
              <a:gd name="connsiteY42" fmla="*/ 171450 h 733425"/>
              <a:gd name="connsiteX43" fmla="*/ 1781175 w 2889264"/>
              <a:gd name="connsiteY43" fmla="*/ 180975 h 733425"/>
              <a:gd name="connsiteX44" fmla="*/ 1793875 w 2889264"/>
              <a:gd name="connsiteY44" fmla="*/ 187325 h 733425"/>
              <a:gd name="connsiteX45" fmla="*/ 1838325 w 2889264"/>
              <a:gd name="connsiteY45" fmla="*/ 212725 h 733425"/>
              <a:gd name="connsiteX46" fmla="*/ 1847850 w 2889264"/>
              <a:gd name="connsiteY46" fmla="*/ 222250 h 733425"/>
              <a:gd name="connsiteX47" fmla="*/ 1885950 w 2889264"/>
              <a:gd name="connsiteY47" fmla="*/ 241300 h 733425"/>
              <a:gd name="connsiteX48" fmla="*/ 1901825 w 2889264"/>
              <a:gd name="connsiteY48" fmla="*/ 250825 h 733425"/>
              <a:gd name="connsiteX49" fmla="*/ 1933575 w 2889264"/>
              <a:gd name="connsiteY49" fmla="*/ 263525 h 733425"/>
              <a:gd name="connsiteX50" fmla="*/ 1962150 w 2889264"/>
              <a:gd name="connsiteY50" fmla="*/ 276225 h 733425"/>
              <a:gd name="connsiteX51" fmla="*/ 1971675 w 2889264"/>
              <a:gd name="connsiteY51" fmla="*/ 282575 h 733425"/>
              <a:gd name="connsiteX52" fmla="*/ 1987550 w 2889264"/>
              <a:gd name="connsiteY52" fmla="*/ 288925 h 733425"/>
              <a:gd name="connsiteX53" fmla="*/ 2022475 w 2889264"/>
              <a:gd name="connsiteY53" fmla="*/ 301625 h 733425"/>
              <a:gd name="connsiteX54" fmla="*/ 2047875 w 2889264"/>
              <a:gd name="connsiteY54" fmla="*/ 314325 h 733425"/>
              <a:gd name="connsiteX55" fmla="*/ 2063750 w 2889264"/>
              <a:gd name="connsiteY55" fmla="*/ 320675 h 733425"/>
              <a:gd name="connsiteX56" fmla="*/ 2082800 w 2889264"/>
              <a:gd name="connsiteY56" fmla="*/ 330200 h 733425"/>
              <a:gd name="connsiteX57" fmla="*/ 2095500 w 2889264"/>
              <a:gd name="connsiteY57" fmla="*/ 333375 h 733425"/>
              <a:gd name="connsiteX58" fmla="*/ 2124075 w 2889264"/>
              <a:gd name="connsiteY58" fmla="*/ 342900 h 733425"/>
              <a:gd name="connsiteX59" fmla="*/ 2159000 w 2889264"/>
              <a:gd name="connsiteY59" fmla="*/ 358775 h 733425"/>
              <a:gd name="connsiteX60" fmla="*/ 2187575 w 2889264"/>
              <a:gd name="connsiteY60" fmla="*/ 377825 h 733425"/>
              <a:gd name="connsiteX61" fmla="*/ 2209800 w 2889264"/>
              <a:gd name="connsiteY61" fmla="*/ 393700 h 733425"/>
              <a:gd name="connsiteX62" fmla="*/ 2247900 w 2889264"/>
              <a:gd name="connsiteY62" fmla="*/ 419100 h 733425"/>
              <a:gd name="connsiteX63" fmla="*/ 2276475 w 2889264"/>
              <a:gd name="connsiteY63" fmla="*/ 434975 h 733425"/>
              <a:gd name="connsiteX64" fmla="*/ 2289175 w 2889264"/>
              <a:gd name="connsiteY64" fmla="*/ 444500 h 733425"/>
              <a:gd name="connsiteX65" fmla="*/ 2308225 w 2889264"/>
              <a:gd name="connsiteY65" fmla="*/ 447675 h 733425"/>
              <a:gd name="connsiteX66" fmla="*/ 2333625 w 2889264"/>
              <a:gd name="connsiteY66" fmla="*/ 460375 h 733425"/>
              <a:gd name="connsiteX67" fmla="*/ 2352675 w 2889264"/>
              <a:gd name="connsiteY67" fmla="*/ 466725 h 733425"/>
              <a:gd name="connsiteX68" fmla="*/ 2397125 w 2889264"/>
              <a:gd name="connsiteY68" fmla="*/ 488950 h 733425"/>
              <a:gd name="connsiteX69" fmla="*/ 2422525 w 2889264"/>
              <a:gd name="connsiteY69" fmla="*/ 495300 h 733425"/>
              <a:gd name="connsiteX70" fmla="*/ 2432050 w 2889264"/>
              <a:gd name="connsiteY70" fmla="*/ 498475 h 733425"/>
              <a:gd name="connsiteX71" fmla="*/ 2454275 w 2889264"/>
              <a:gd name="connsiteY71" fmla="*/ 511175 h 733425"/>
              <a:gd name="connsiteX72" fmla="*/ 2470150 w 2889264"/>
              <a:gd name="connsiteY72" fmla="*/ 523875 h 733425"/>
              <a:gd name="connsiteX73" fmla="*/ 2495550 w 2889264"/>
              <a:gd name="connsiteY73" fmla="*/ 533400 h 733425"/>
              <a:gd name="connsiteX74" fmla="*/ 2546350 w 2889264"/>
              <a:gd name="connsiteY74" fmla="*/ 558800 h 733425"/>
              <a:gd name="connsiteX75" fmla="*/ 2574925 w 2889264"/>
              <a:gd name="connsiteY75" fmla="*/ 565150 h 733425"/>
              <a:gd name="connsiteX76" fmla="*/ 2600325 w 2889264"/>
              <a:gd name="connsiteY76" fmla="*/ 577850 h 733425"/>
              <a:gd name="connsiteX77" fmla="*/ 2616200 w 2889264"/>
              <a:gd name="connsiteY77" fmla="*/ 581025 h 733425"/>
              <a:gd name="connsiteX78" fmla="*/ 2638425 w 2889264"/>
              <a:gd name="connsiteY78" fmla="*/ 587375 h 733425"/>
              <a:gd name="connsiteX79" fmla="*/ 2654300 w 2889264"/>
              <a:gd name="connsiteY79" fmla="*/ 596900 h 733425"/>
              <a:gd name="connsiteX80" fmla="*/ 2673350 w 2889264"/>
              <a:gd name="connsiteY80" fmla="*/ 603250 h 733425"/>
              <a:gd name="connsiteX81" fmla="*/ 2708275 w 2889264"/>
              <a:gd name="connsiteY81" fmla="*/ 625475 h 733425"/>
              <a:gd name="connsiteX82" fmla="*/ 2730500 w 2889264"/>
              <a:gd name="connsiteY82" fmla="*/ 635000 h 733425"/>
              <a:gd name="connsiteX83" fmla="*/ 2749550 w 2889264"/>
              <a:gd name="connsiteY83" fmla="*/ 650875 h 733425"/>
              <a:gd name="connsiteX84" fmla="*/ 2774950 w 2889264"/>
              <a:gd name="connsiteY84" fmla="*/ 663575 h 733425"/>
              <a:gd name="connsiteX85" fmla="*/ 2803525 w 2889264"/>
              <a:gd name="connsiteY85" fmla="*/ 676275 h 733425"/>
              <a:gd name="connsiteX86" fmla="*/ 2816225 w 2889264"/>
              <a:gd name="connsiteY86" fmla="*/ 685800 h 733425"/>
              <a:gd name="connsiteX87" fmla="*/ 2832100 w 2889264"/>
              <a:gd name="connsiteY87" fmla="*/ 692150 h 733425"/>
              <a:gd name="connsiteX88" fmla="*/ 2876550 w 2889264"/>
              <a:gd name="connsiteY88" fmla="*/ 723900 h 733425"/>
              <a:gd name="connsiteX89" fmla="*/ 2889250 w 2889264"/>
              <a:gd name="connsiteY89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276350 w 2889264"/>
              <a:gd name="connsiteY16" fmla="*/ 85725 h 733425"/>
              <a:gd name="connsiteX17" fmla="*/ 1289050 w 2889264"/>
              <a:gd name="connsiteY17" fmla="*/ 79375 h 733425"/>
              <a:gd name="connsiteX18" fmla="*/ 1327150 w 2889264"/>
              <a:gd name="connsiteY18" fmla="*/ 66675 h 733425"/>
              <a:gd name="connsiteX19" fmla="*/ 1343025 w 2889264"/>
              <a:gd name="connsiteY19" fmla="*/ 57150 h 733425"/>
              <a:gd name="connsiteX20" fmla="*/ 1355725 w 2889264"/>
              <a:gd name="connsiteY20" fmla="*/ 47625 h 733425"/>
              <a:gd name="connsiteX21" fmla="*/ 1377950 w 2889264"/>
              <a:gd name="connsiteY21" fmla="*/ 38100 h 733425"/>
              <a:gd name="connsiteX22" fmla="*/ 1416050 w 2889264"/>
              <a:gd name="connsiteY22" fmla="*/ 12700 h 733425"/>
              <a:gd name="connsiteX23" fmla="*/ 1428750 w 2889264"/>
              <a:gd name="connsiteY23" fmla="*/ 0 h 733425"/>
              <a:gd name="connsiteX24" fmla="*/ 1470025 w 2889264"/>
              <a:gd name="connsiteY24" fmla="*/ 28575 h 733425"/>
              <a:gd name="connsiteX25" fmla="*/ 1504950 w 2889264"/>
              <a:gd name="connsiteY25" fmla="*/ 41275 h 733425"/>
              <a:gd name="connsiteX26" fmla="*/ 1517650 w 2889264"/>
              <a:gd name="connsiteY26" fmla="*/ 50800 h 733425"/>
              <a:gd name="connsiteX27" fmla="*/ 1549400 w 2889264"/>
              <a:gd name="connsiteY27" fmla="*/ 60325 h 733425"/>
              <a:gd name="connsiteX28" fmla="*/ 1562100 w 2889264"/>
              <a:gd name="connsiteY28" fmla="*/ 69850 h 733425"/>
              <a:gd name="connsiteX29" fmla="*/ 1574800 w 2889264"/>
              <a:gd name="connsiteY29" fmla="*/ 73025 h 733425"/>
              <a:gd name="connsiteX30" fmla="*/ 1590675 w 2889264"/>
              <a:gd name="connsiteY30" fmla="*/ 79375 h 733425"/>
              <a:gd name="connsiteX31" fmla="*/ 1600200 w 2889264"/>
              <a:gd name="connsiteY31" fmla="*/ 85725 h 733425"/>
              <a:gd name="connsiteX32" fmla="*/ 1612900 w 2889264"/>
              <a:gd name="connsiteY32" fmla="*/ 92075 h 733425"/>
              <a:gd name="connsiteX33" fmla="*/ 1625600 w 2889264"/>
              <a:gd name="connsiteY33" fmla="*/ 101600 h 733425"/>
              <a:gd name="connsiteX34" fmla="*/ 1635125 w 2889264"/>
              <a:gd name="connsiteY34" fmla="*/ 104775 h 733425"/>
              <a:gd name="connsiteX35" fmla="*/ 1654175 w 2889264"/>
              <a:gd name="connsiteY35" fmla="*/ 114300 h 733425"/>
              <a:gd name="connsiteX36" fmla="*/ 1676400 w 2889264"/>
              <a:gd name="connsiteY36" fmla="*/ 130175 h 733425"/>
              <a:gd name="connsiteX37" fmla="*/ 1689100 w 2889264"/>
              <a:gd name="connsiteY37" fmla="*/ 136525 h 733425"/>
              <a:gd name="connsiteX38" fmla="*/ 1714500 w 2889264"/>
              <a:gd name="connsiteY38" fmla="*/ 146050 h 733425"/>
              <a:gd name="connsiteX39" fmla="*/ 1727200 w 2889264"/>
              <a:gd name="connsiteY39" fmla="*/ 155575 h 733425"/>
              <a:gd name="connsiteX40" fmla="*/ 1758950 w 2889264"/>
              <a:gd name="connsiteY40" fmla="*/ 165100 h 733425"/>
              <a:gd name="connsiteX41" fmla="*/ 1768475 w 2889264"/>
              <a:gd name="connsiteY41" fmla="*/ 171450 h 733425"/>
              <a:gd name="connsiteX42" fmla="*/ 1781175 w 2889264"/>
              <a:gd name="connsiteY42" fmla="*/ 180975 h 733425"/>
              <a:gd name="connsiteX43" fmla="*/ 1793875 w 2889264"/>
              <a:gd name="connsiteY43" fmla="*/ 187325 h 733425"/>
              <a:gd name="connsiteX44" fmla="*/ 1838325 w 2889264"/>
              <a:gd name="connsiteY44" fmla="*/ 212725 h 733425"/>
              <a:gd name="connsiteX45" fmla="*/ 1847850 w 2889264"/>
              <a:gd name="connsiteY45" fmla="*/ 222250 h 733425"/>
              <a:gd name="connsiteX46" fmla="*/ 1885950 w 2889264"/>
              <a:gd name="connsiteY46" fmla="*/ 241300 h 733425"/>
              <a:gd name="connsiteX47" fmla="*/ 1901825 w 2889264"/>
              <a:gd name="connsiteY47" fmla="*/ 250825 h 733425"/>
              <a:gd name="connsiteX48" fmla="*/ 1933575 w 2889264"/>
              <a:gd name="connsiteY48" fmla="*/ 263525 h 733425"/>
              <a:gd name="connsiteX49" fmla="*/ 1962150 w 2889264"/>
              <a:gd name="connsiteY49" fmla="*/ 276225 h 733425"/>
              <a:gd name="connsiteX50" fmla="*/ 1971675 w 2889264"/>
              <a:gd name="connsiteY50" fmla="*/ 282575 h 733425"/>
              <a:gd name="connsiteX51" fmla="*/ 1987550 w 2889264"/>
              <a:gd name="connsiteY51" fmla="*/ 288925 h 733425"/>
              <a:gd name="connsiteX52" fmla="*/ 2022475 w 2889264"/>
              <a:gd name="connsiteY52" fmla="*/ 301625 h 733425"/>
              <a:gd name="connsiteX53" fmla="*/ 2047875 w 2889264"/>
              <a:gd name="connsiteY53" fmla="*/ 314325 h 733425"/>
              <a:gd name="connsiteX54" fmla="*/ 2063750 w 2889264"/>
              <a:gd name="connsiteY54" fmla="*/ 320675 h 733425"/>
              <a:gd name="connsiteX55" fmla="*/ 2082800 w 2889264"/>
              <a:gd name="connsiteY55" fmla="*/ 330200 h 733425"/>
              <a:gd name="connsiteX56" fmla="*/ 2095500 w 2889264"/>
              <a:gd name="connsiteY56" fmla="*/ 333375 h 733425"/>
              <a:gd name="connsiteX57" fmla="*/ 2124075 w 2889264"/>
              <a:gd name="connsiteY57" fmla="*/ 342900 h 733425"/>
              <a:gd name="connsiteX58" fmla="*/ 2159000 w 2889264"/>
              <a:gd name="connsiteY58" fmla="*/ 358775 h 733425"/>
              <a:gd name="connsiteX59" fmla="*/ 2187575 w 2889264"/>
              <a:gd name="connsiteY59" fmla="*/ 377825 h 733425"/>
              <a:gd name="connsiteX60" fmla="*/ 2209800 w 2889264"/>
              <a:gd name="connsiteY60" fmla="*/ 393700 h 733425"/>
              <a:gd name="connsiteX61" fmla="*/ 2247900 w 2889264"/>
              <a:gd name="connsiteY61" fmla="*/ 419100 h 733425"/>
              <a:gd name="connsiteX62" fmla="*/ 2276475 w 2889264"/>
              <a:gd name="connsiteY62" fmla="*/ 434975 h 733425"/>
              <a:gd name="connsiteX63" fmla="*/ 2289175 w 2889264"/>
              <a:gd name="connsiteY63" fmla="*/ 444500 h 733425"/>
              <a:gd name="connsiteX64" fmla="*/ 2308225 w 2889264"/>
              <a:gd name="connsiteY64" fmla="*/ 447675 h 733425"/>
              <a:gd name="connsiteX65" fmla="*/ 2333625 w 2889264"/>
              <a:gd name="connsiteY65" fmla="*/ 460375 h 733425"/>
              <a:gd name="connsiteX66" fmla="*/ 2352675 w 2889264"/>
              <a:gd name="connsiteY66" fmla="*/ 466725 h 733425"/>
              <a:gd name="connsiteX67" fmla="*/ 2397125 w 2889264"/>
              <a:gd name="connsiteY67" fmla="*/ 488950 h 733425"/>
              <a:gd name="connsiteX68" fmla="*/ 2422525 w 2889264"/>
              <a:gd name="connsiteY68" fmla="*/ 495300 h 733425"/>
              <a:gd name="connsiteX69" fmla="*/ 2432050 w 2889264"/>
              <a:gd name="connsiteY69" fmla="*/ 498475 h 733425"/>
              <a:gd name="connsiteX70" fmla="*/ 2454275 w 2889264"/>
              <a:gd name="connsiteY70" fmla="*/ 511175 h 733425"/>
              <a:gd name="connsiteX71" fmla="*/ 2470150 w 2889264"/>
              <a:gd name="connsiteY71" fmla="*/ 523875 h 733425"/>
              <a:gd name="connsiteX72" fmla="*/ 2495550 w 2889264"/>
              <a:gd name="connsiteY72" fmla="*/ 533400 h 733425"/>
              <a:gd name="connsiteX73" fmla="*/ 2546350 w 2889264"/>
              <a:gd name="connsiteY73" fmla="*/ 558800 h 733425"/>
              <a:gd name="connsiteX74" fmla="*/ 2574925 w 2889264"/>
              <a:gd name="connsiteY74" fmla="*/ 565150 h 733425"/>
              <a:gd name="connsiteX75" fmla="*/ 2600325 w 2889264"/>
              <a:gd name="connsiteY75" fmla="*/ 577850 h 733425"/>
              <a:gd name="connsiteX76" fmla="*/ 2616200 w 2889264"/>
              <a:gd name="connsiteY76" fmla="*/ 581025 h 733425"/>
              <a:gd name="connsiteX77" fmla="*/ 2638425 w 2889264"/>
              <a:gd name="connsiteY77" fmla="*/ 587375 h 733425"/>
              <a:gd name="connsiteX78" fmla="*/ 2654300 w 2889264"/>
              <a:gd name="connsiteY78" fmla="*/ 596900 h 733425"/>
              <a:gd name="connsiteX79" fmla="*/ 2673350 w 2889264"/>
              <a:gd name="connsiteY79" fmla="*/ 603250 h 733425"/>
              <a:gd name="connsiteX80" fmla="*/ 2708275 w 2889264"/>
              <a:gd name="connsiteY80" fmla="*/ 625475 h 733425"/>
              <a:gd name="connsiteX81" fmla="*/ 2730500 w 2889264"/>
              <a:gd name="connsiteY81" fmla="*/ 635000 h 733425"/>
              <a:gd name="connsiteX82" fmla="*/ 2749550 w 2889264"/>
              <a:gd name="connsiteY82" fmla="*/ 650875 h 733425"/>
              <a:gd name="connsiteX83" fmla="*/ 2774950 w 2889264"/>
              <a:gd name="connsiteY83" fmla="*/ 663575 h 733425"/>
              <a:gd name="connsiteX84" fmla="*/ 2803525 w 2889264"/>
              <a:gd name="connsiteY84" fmla="*/ 676275 h 733425"/>
              <a:gd name="connsiteX85" fmla="*/ 2816225 w 2889264"/>
              <a:gd name="connsiteY85" fmla="*/ 685800 h 733425"/>
              <a:gd name="connsiteX86" fmla="*/ 2832100 w 2889264"/>
              <a:gd name="connsiteY86" fmla="*/ 692150 h 733425"/>
              <a:gd name="connsiteX87" fmla="*/ 2876550 w 2889264"/>
              <a:gd name="connsiteY87" fmla="*/ 723900 h 733425"/>
              <a:gd name="connsiteX88" fmla="*/ 2889250 w 2889264"/>
              <a:gd name="connsiteY88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289050 w 2889264"/>
              <a:gd name="connsiteY16" fmla="*/ 79375 h 733425"/>
              <a:gd name="connsiteX17" fmla="*/ 1327150 w 2889264"/>
              <a:gd name="connsiteY17" fmla="*/ 66675 h 733425"/>
              <a:gd name="connsiteX18" fmla="*/ 1343025 w 2889264"/>
              <a:gd name="connsiteY18" fmla="*/ 57150 h 733425"/>
              <a:gd name="connsiteX19" fmla="*/ 1355725 w 2889264"/>
              <a:gd name="connsiteY19" fmla="*/ 47625 h 733425"/>
              <a:gd name="connsiteX20" fmla="*/ 1377950 w 2889264"/>
              <a:gd name="connsiteY20" fmla="*/ 38100 h 733425"/>
              <a:gd name="connsiteX21" fmla="*/ 1416050 w 2889264"/>
              <a:gd name="connsiteY21" fmla="*/ 12700 h 733425"/>
              <a:gd name="connsiteX22" fmla="*/ 1428750 w 2889264"/>
              <a:gd name="connsiteY22" fmla="*/ 0 h 733425"/>
              <a:gd name="connsiteX23" fmla="*/ 1470025 w 2889264"/>
              <a:gd name="connsiteY23" fmla="*/ 28575 h 733425"/>
              <a:gd name="connsiteX24" fmla="*/ 1504950 w 2889264"/>
              <a:gd name="connsiteY24" fmla="*/ 41275 h 733425"/>
              <a:gd name="connsiteX25" fmla="*/ 1517650 w 2889264"/>
              <a:gd name="connsiteY25" fmla="*/ 50800 h 733425"/>
              <a:gd name="connsiteX26" fmla="*/ 1549400 w 2889264"/>
              <a:gd name="connsiteY26" fmla="*/ 60325 h 733425"/>
              <a:gd name="connsiteX27" fmla="*/ 1562100 w 2889264"/>
              <a:gd name="connsiteY27" fmla="*/ 69850 h 733425"/>
              <a:gd name="connsiteX28" fmla="*/ 1574800 w 2889264"/>
              <a:gd name="connsiteY28" fmla="*/ 73025 h 733425"/>
              <a:gd name="connsiteX29" fmla="*/ 1590675 w 2889264"/>
              <a:gd name="connsiteY29" fmla="*/ 79375 h 733425"/>
              <a:gd name="connsiteX30" fmla="*/ 1600200 w 2889264"/>
              <a:gd name="connsiteY30" fmla="*/ 85725 h 733425"/>
              <a:gd name="connsiteX31" fmla="*/ 1612900 w 2889264"/>
              <a:gd name="connsiteY31" fmla="*/ 92075 h 733425"/>
              <a:gd name="connsiteX32" fmla="*/ 1625600 w 2889264"/>
              <a:gd name="connsiteY32" fmla="*/ 101600 h 733425"/>
              <a:gd name="connsiteX33" fmla="*/ 1635125 w 2889264"/>
              <a:gd name="connsiteY33" fmla="*/ 104775 h 733425"/>
              <a:gd name="connsiteX34" fmla="*/ 1654175 w 2889264"/>
              <a:gd name="connsiteY34" fmla="*/ 114300 h 733425"/>
              <a:gd name="connsiteX35" fmla="*/ 1676400 w 2889264"/>
              <a:gd name="connsiteY35" fmla="*/ 130175 h 733425"/>
              <a:gd name="connsiteX36" fmla="*/ 1689100 w 2889264"/>
              <a:gd name="connsiteY36" fmla="*/ 136525 h 733425"/>
              <a:gd name="connsiteX37" fmla="*/ 1714500 w 2889264"/>
              <a:gd name="connsiteY37" fmla="*/ 146050 h 733425"/>
              <a:gd name="connsiteX38" fmla="*/ 1727200 w 2889264"/>
              <a:gd name="connsiteY38" fmla="*/ 155575 h 733425"/>
              <a:gd name="connsiteX39" fmla="*/ 1758950 w 2889264"/>
              <a:gd name="connsiteY39" fmla="*/ 165100 h 733425"/>
              <a:gd name="connsiteX40" fmla="*/ 1768475 w 2889264"/>
              <a:gd name="connsiteY40" fmla="*/ 171450 h 733425"/>
              <a:gd name="connsiteX41" fmla="*/ 1781175 w 2889264"/>
              <a:gd name="connsiteY41" fmla="*/ 180975 h 733425"/>
              <a:gd name="connsiteX42" fmla="*/ 1793875 w 2889264"/>
              <a:gd name="connsiteY42" fmla="*/ 187325 h 733425"/>
              <a:gd name="connsiteX43" fmla="*/ 1838325 w 2889264"/>
              <a:gd name="connsiteY43" fmla="*/ 212725 h 733425"/>
              <a:gd name="connsiteX44" fmla="*/ 1847850 w 2889264"/>
              <a:gd name="connsiteY44" fmla="*/ 222250 h 733425"/>
              <a:gd name="connsiteX45" fmla="*/ 1885950 w 2889264"/>
              <a:gd name="connsiteY45" fmla="*/ 241300 h 733425"/>
              <a:gd name="connsiteX46" fmla="*/ 1901825 w 2889264"/>
              <a:gd name="connsiteY46" fmla="*/ 250825 h 733425"/>
              <a:gd name="connsiteX47" fmla="*/ 1933575 w 2889264"/>
              <a:gd name="connsiteY47" fmla="*/ 263525 h 733425"/>
              <a:gd name="connsiteX48" fmla="*/ 1962150 w 2889264"/>
              <a:gd name="connsiteY48" fmla="*/ 276225 h 733425"/>
              <a:gd name="connsiteX49" fmla="*/ 1971675 w 2889264"/>
              <a:gd name="connsiteY49" fmla="*/ 282575 h 733425"/>
              <a:gd name="connsiteX50" fmla="*/ 1987550 w 2889264"/>
              <a:gd name="connsiteY50" fmla="*/ 288925 h 733425"/>
              <a:gd name="connsiteX51" fmla="*/ 2022475 w 2889264"/>
              <a:gd name="connsiteY51" fmla="*/ 301625 h 733425"/>
              <a:gd name="connsiteX52" fmla="*/ 2047875 w 2889264"/>
              <a:gd name="connsiteY52" fmla="*/ 314325 h 733425"/>
              <a:gd name="connsiteX53" fmla="*/ 2063750 w 2889264"/>
              <a:gd name="connsiteY53" fmla="*/ 320675 h 733425"/>
              <a:gd name="connsiteX54" fmla="*/ 2082800 w 2889264"/>
              <a:gd name="connsiteY54" fmla="*/ 330200 h 733425"/>
              <a:gd name="connsiteX55" fmla="*/ 2095500 w 2889264"/>
              <a:gd name="connsiteY55" fmla="*/ 333375 h 733425"/>
              <a:gd name="connsiteX56" fmla="*/ 2124075 w 2889264"/>
              <a:gd name="connsiteY56" fmla="*/ 342900 h 733425"/>
              <a:gd name="connsiteX57" fmla="*/ 2159000 w 2889264"/>
              <a:gd name="connsiteY57" fmla="*/ 358775 h 733425"/>
              <a:gd name="connsiteX58" fmla="*/ 2187575 w 2889264"/>
              <a:gd name="connsiteY58" fmla="*/ 377825 h 733425"/>
              <a:gd name="connsiteX59" fmla="*/ 2209800 w 2889264"/>
              <a:gd name="connsiteY59" fmla="*/ 393700 h 733425"/>
              <a:gd name="connsiteX60" fmla="*/ 2247900 w 2889264"/>
              <a:gd name="connsiteY60" fmla="*/ 419100 h 733425"/>
              <a:gd name="connsiteX61" fmla="*/ 2276475 w 2889264"/>
              <a:gd name="connsiteY61" fmla="*/ 434975 h 733425"/>
              <a:gd name="connsiteX62" fmla="*/ 2289175 w 2889264"/>
              <a:gd name="connsiteY62" fmla="*/ 444500 h 733425"/>
              <a:gd name="connsiteX63" fmla="*/ 2308225 w 2889264"/>
              <a:gd name="connsiteY63" fmla="*/ 447675 h 733425"/>
              <a:gd name="connsiteX64" fmla="*/ 2333625 w 2889264"/>
              <a:gd name="connsiteY64" fmla="*/ 460375 h 733425"/>
              <a:gd name="connsiteX65" fmla="*/ 2352675 w 2889264"/>
              <a:gd name="connsiteY65" fmla="*/ 466725 h 733425"/>
              <a:gd name="connsiteX66" fmla="*/ 2397125 w 2889264"/>
              <a:gd name="connsiteY66" fmla="*/ 488950 h 733425"/>
              <a:gd name="connsiteX67" fmla="*/ 2422525 w 2889264"/>
              <a:gd name="connsiteY67" fmla="*/ 495300 h 733425"/>
              <a:gd name="connsiteX68" fmla="*/ 2432050 w 2889264"/>
              <a:gd name="connsiteY68" fmla="*/ 498475 h 733425"/>
              <a:gd name="connsiteX69" fmla="*/ 2454275 w 2889264"/>
              <a:gd name="connsiteY69" fmla="*/ 511175 h 733425"/>
              <a:gd name="connsiteX70" fmla="*/ 2470150 w 2889264"/>
              <a:gd name="connsiteY70" fmla="*/ 523875 h 733425"/>
              <a:gd name="connsiteX71" fmla="*/ 2495550 w 2889264"/>
              <a:gd name="connsiteY71" fmla="*/ 533400 h 733425"/>
              <a:gd name="connsiteX72" fmla="*/ 2546350 w 2889264"/>
              <a:gd name="connsiteY72" fmla="*/ 558800 h 733425"/>
              <a:gd name="connsiteX73" fmla="*/ 2574925 w 2889264"/>
              <a:gd name="connsiteY73" fmla="*/ 565150 h 733425"/>
              <a:gd name="connsiteX74" fmla="*/ 2600325 w 2889264"/>
              <a:gd name="connsiteY74" fmla="*/ 577850 h 733425"/>
              <a:gd name="connsiteX75" fmla="*/ 2616200 w 2889264"/>
              <a:gd name="connsiteY75" fmla="*/ 581025 h 733425"/>
              <a:gd name="connsiteX76" fmla="*/ 2638425 w 2889264"/>
              <a:gd name="connsiteY76" fmla="*/ 587375 h 733425"/>
              <a:gd name="connsiteX77" fmla="*/ 2654300 w 2889264"/>
              <a:gd name="connsiteY77" fmla="*/ 596900 h 733425"/>
              <a:gd name="connsiteX78" fmla="*/ 2673350 w 2889264"/>
              <a:gd name="connsiteY78" fmla="*/ 603250 h 733425"/>
              <a:gd name="connsiteX79" fmla="*/ 2708275 w 2889264"/>
              <a:gd name="connsiteY79" fmla="*/ 625475 h 733425"/>
              <a:gd name="connsiteX80" fmla="*/ 2730500 w 2889264"/>
              <a:gd name="connsiteY80" fmla="*/ 635000 h 733425"/>
              <a:gd name="connsiteX81" fmla="*/ 2749550 w 2889264"/>
              <a:gd name="connsiteY81" fmla="*/ 650875 h 733425"/>
              <a:gd name="connsiteX82" fmla="*/ 2774950 w 2889264"/>
              <a:gd name="connsiteY82" fmla="*/ 663575 h 733425"/>
              <a:gd name="connsiteX83" fmla="*/ 2803525 w 2889264"/>
              <a:gd name="connsiteY83" fmla="*/ 676275 h 733425"/>
              <a:gd name="connsiteX84" fmla="*/ 2816225 w 2889264"/>
              <a:gd name="connsiteY84" fmla="*/ 685800 h 733425"/>
              <a:gd name="connsiteX85" fmla="*/ 2832100 w 2889264"/>
              <a:gd name="connsiteY85" fmla="*/ 692150 h 733425"/>
              <a:gd name="connsiteX86" fmla="*/ 2876550 w 2889264"/>
              <a:gd name="connsiteY86" fmla="*/ 723900 h 733425"/>
              <a:gd name="connsiteX87" fmla="*/ 2889250 w 2889264"/>
              <a:gd name="connsiteY87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327150 w 2889264"/>
              <a:gd name="connsiteY16" fmla="*/ 66675 h 733425"/>
              <a:gd name="connsiteX17" fmla="*/ 1343025 w 2889264"/>
              <a:gd name="connsiteY17" fmla="*/ 57150 h 733425"/>
              <a:gd name="connsiteX18" fmla="*/ 1355725 w 2889264"/>
              <a:gd name="connsiteY18" fmla="*/ 47625 h 733425"/>
              <a:gd name="connsiteX19" fmla="*/ 1377950 w 2889264"/>
              <a:gd name="connsiteY19" fmla="*/ 38100 h 733425"/>
              <a:gd name="connsiteX20" fmla="*/ 1416050 w 2889264"/>
              <a:gd name="connsiteY20" fmla="*/ 12700 h 733425"/>
              <a:gd name="connsiteX21" fmla="*/ 1428750 w 2889264"/>
              <a:gd name="connsiteY21" fmla="*/ 0 h 733425"/>
              <a:gd name="connsiteX22" fmla="*/ 1470025 w 2889264"/>
              <a:gd name="connsiteY22" fmla="*/ 28575 h 733425"/>
              <a:gd name="connsiteX23" fmla="*/ 1504950 w 2889264"/>
              <a:gd name="connsiteY23" fmla="*/ 41275 h 733425"/>
              <a:gd name="connsiteX24" fmla="*/ 1517650 w 2889264"/>
              <a:gd name="connsiteY24" fmla="*/ 50800 h 733425"/>
              <a:gd name="connsiteX25" fmla="*/ 1549400 w 2889264"/>
              <a:gd name="connsiteY25" fmla="*/ 60325 h 733425"/>
              <a:gd name="connsiteX26" fmla="*/ 1562100 w 2889264"/>
              <a:gd name="connsiteY26" fmla="*/ 69850 h 733425"/>
              <a:gd name="connsiteX27" fmla="*/ 1574800 w 2889264"/>
              <a:gd name="connsiteY27" fmla="*/ 73025 h 733425"/>
              <a:gd name="connsiteX28" fmla="*/ 1590675 w 2889264"/>
              <a:gd name="connsiteY28" fmla="*/ 79375 h 733425"/>
              <a:gd name="connsiteX29" fmla="*/ 1600200 w 2889264"/>
              <a:gd name="connsiteY29" fmla="*/ 85725 h 733425"/>
              <a:gd name="connsiteX30" fmla="*/ 1612900 w 2889264"/>
              <a:gd name="connsiteY30" fmla="*/ 92075 h 733425"/>
              <a:gd name="connsiteX31" fmla="*/ 1625600 w 2889264"/>
              <a:gd name="connsiteY31" fmla="*/ 101600 h 733425"/>
              <a:gd name="connsiteX32" fmla="*/ 1635125 w 2889264"/>
              <a:gd name="connsiteY32" fmla="*/ 104775 h 733425"/>
              <a:gd name="connsiteX33" fmla="*/ 1654175 w 2889264"/>
              <a:gd name="connsiteY33" fmla="*/ 114300 h 733425"/>
              <a:gd name="connsiteX34" fmla="*/ 1676400 w 2889264"/>
              <a:gd name="connsiteY34" fmla="*/ 130175 h 733425"/>
              <a:gd name="connsiteX35" fmla="*/ 1689100 w 2889264"/>
              <a:gd name="connsiteY35" fmla="*/ 136525 h 733425"/>
              <a:gd name="connsiteX36" fmla="*/ 1714500 w 2889264"/>
              <a:gd name="connsiteY36" fmla="*/ 146050 h 733425"/>
              <a:gd name="connsiteX37" fmla="*/ 1727200 w 2889264"/>
              <a:gd name="connsiteY37" fmla="*/ 155575 h 733425"/>
              <a:gd name="connsiteX38" fmla="*/ 1758950 w 2889264"/>
              <a:gd name="connsiteY38" fmla="*/ 165100 h 733425"/>
              <a:gd name="connsiteX39" fmla="*/ 1768475 w 2889264"/>
              <a:gd name="connsiteY39" fmla="*/ 171450 h 733425"/>
              <a:gd name="connsiteX40" fmla="*/ 1781175 w 2889264"/>
              <a:gd name="connsiteY40" fmla="*/ 180975 h 733425"/>
              <a:gd name="connsiteX41" fmla="*/ 1793875 w 2889264"/>
              <a:gd name="connsiteY41" fmla="*/ 187325 h 733425"/>
              <a:gd name="connsiteX42" fmla="*/ 1838325 w 2889264"/>
              <a:gd name="connsiteY42" fmla="*/ 212725 h 733425"/>
              <a:gd name="connsiteX43" fmla="*/ 1847850 w 2889264"/>
              <a:gd name="connsiteY43" fmla="*/ 222250 h 733425"/>
              <a:gd name="connsiteX44" fmla="*/ 1885950 w 2889264"/>
              <a:gd name="connsiteY44" fmla="*/ 241300 h 733425"/>
              <a:gd name="connsiteX45" fmla="*/ 1901825 w 2889264"/>
              <a:gd name="connsiteY45" fmla="*/ 250825 h 733425"/>
              <a:gd name="connsiteX46" fmla="*/ 1933575 w 2889264"/>
              <a:gd name="connsiteY46" fmla="*/ 263525 h 733425"/>
              <a:gd name="connsiteX47" fmla="*/ 1962150 w 2889264"/>
              <a:gd name="connsiteY47" fmla="*/ 276225 h 733425"/>
              <a:gd name="connsiteX48" fmla="*/ 1971675 w 2889264"/>
              <a:gd name="connsiteY48" fmla="*/ 282575 h 733425"/>
              <a:gd name="connsiteX49" fmla="*/ 1987550 w 2889264"/>
              <a:gd name="connsiteY49" fmla="*/ 288925 h 733425"/>
              <a:gd name="connsiteX50" fmla="*/ 2022475 w 2889264"/>
              <a:gd name="connsiteY50" fmla="*/ 301625 h 733425"/>
              <a:gd name="connsiteX51" fmla="*/ 2047875 w 2889264"/>
              <a:gd name="connsiteY51" fmla="*/ 314325 h 733425"/>
              <a:gd name="connsiteX52" fmla="*/ 2063750 w 2889264"/>
              <a:gd name="connsiteY52" fmla="*/ 320675 h 733425"/>
              <a:gd name="connsiteX53" fmla="*/ 2082800 w 2889264"/>
              <a:gd name="connsiteY53" fmla="*/ 330200 h 733425"/>
              <a:gd name="connsiteX54" fmla="*/ 2095500 w 2889264"/>
              <a:gd name="connsiteY54" fmla="*/ 333375 h 733425"/>
              <a:gd name="connsiteX55" fmla="*/ 2124075 w 2889264"/>
              <a:gd name="connsiteY55" fmla="*/ 342900 h 733425"/>
              <a:gd name="connsiteX56" fmla="*/ 2159000 w 2889264"/>
              <a:gd name="connsiteY56" fmla="*/ 358775 h 733425"/>
              <a:gd name="connsiteX57" fmla="*/ 2187575 w 2889264"/>
              <a:gd name="connsiteY57" fmla="*/ 377825 h 733425"/>
              <a:gd name="connsiteX58" fmla="*/ 2209800 w 2889264"/>
              <a:gd name="connsiteY58" fmla="*/ 393700 h 733425"/>
              <a:gd name="connsiteX59" fmla="*/ 2247900 w 2889264"/>
              <a:gd name="connsiteY59" fmla="*/ 419100 h 733425"/>
              <a:gd name="connsiteX60" fmla="*/ 2276475 w 2889264"/>
              <a:gd name="connsiteY60" fmla="*/ 434975 h 733425"/>
              <a:gd name="connsiteX61" fmla="*/ 2289175 w 2889264"/>
              <a:gd name="connsiteY61" fmla="*/ 444500 h 733425"/>
              <a:gd name="connsiteX62" fmla="*/ 2308225 w 2889264"/>
              <a:gd name="connsiteY62" fmla="*/ 447675 h 733425"/>
              <a:gd name="connsiteX63" fmla="*/ 2333625 w 2889264"/>
              <a:gd name="connsiteY63" fmla="*/ 460375 h 733425"/>
              <a:gd name="connsiteX64" fmla="*/ 2352675 w 2889264"/>
              <a:gd name="connsiteY64" fmla="*/ 466725 h 733425"/>
              <a:gd name="connsiteX65" fmla="*/ 2397125 w 2889264"/>
              <a:gd name="connsiteY65" fmla="*/ 488950 h 733425"/>
              <a:gd name="connsiteX66" fmla="*/ 2422525 w 2889264"/>
              <a:gd name="connsiteY66" fmla="*/ 495300 h 733425"/>
              <a:gd name="connsiteX67" fmla="*/ 2432050 w 2889264"/>
              <a:gd name="connsiteY67" fmla="*/ 498475 h 733425"/>
              <a:gd name="connsiteX68" fmla="*/ 2454275 w 2889264"/>
              <a:gd name="connsiteY68" fmla="*/ 511175 h 733425"/>
              <a:gd name="connsiteX69" fmla="*/ 2470150 w 2889264"/>
              <a:gd name="connsiteY69" fmla="*/ 523875 h 733425"/>
              <a:gd name="connsiteX70" fmla="*/ 2495550 w 2889264"/>
              <a:gd name="connsiteY70" fmla="*/ 533400 h 733425"/>
              <a:gd name="connsiteX71" fmla="*/ 2546350 w 2889264"/>
              <a:gd name="connsiteY71" fmla="*/ 558800 h 733425"/>
              <a:gd name="connsiteX72" fmla="*/ 2574925 w 2889264"/>
              <a:gd name="connsiteY72" fmla="*/ 565150 h 733425"/>
              <a:gd name="connsiteX73" fmla="*/ 2600325 w 2889264"/>
              <a:gd name="connsiteY73" fmla="*/ 577850 h 733425"/>
              <a:gd name="connsiteX74" fmla="*/ 2616200 w 2889264"/>
              <a:gd name="connsiteY74" fmla="*/ 581025 h 733425"/>
              <a:gd name="connsiteX75" fmla="*/ 2638425 w 2889264"/>
              <a:gd name="connsiteY75" fmla="*/ 587375 h 733425"/>
              <a:gd name="connsiteX76" fmla="*/ 2654300 w 2889264"/>
              <a:gd name="connsiteY76" fmla="*/ 596900 h 733425"/>
              <a:gd name="connsiteX77" fmla="*/ 2673350 w 2889264"/>
              <a:gd name="connsiteY77" fmla="*/ 603250 h 733425"/>
              <a:gd name="connsiteX78" fmla="*/ 2708275 w 2889264"/>
              <a:gd name="connsiteY78" fmla="*/ 625475 h 733425"/>
              <a:gd name="connsiteX79" fmla="*/ 2730500 w 2889264"/>
              <a:gd name="connsiteY79" fmla="*/ 635000 h 733425"/>
              <a:gd name="connsiteX80" fmla="*/ 2749550 w 2889264"/>
              <a:gd name="connsiteY80" fmla="*/ 650875 h 733425"/>
              <a:gd name="connsiteX81" fmla="*/ 2774950 w 2889264"/>
              <a:gd name="connsiteY81" fmla="*/ 663575 h 733425"/>
              <a:gd name="connsiteX82" fmla="*/ 2803525 w 2889264"/>
              <a:gd name="connsiteY82" fmla="*/ 676275 h 733425"/>
              <a:gd name="connsiteX83" fmla="*/ 2816225 w 2889264"/>
              <a:gd name="connsiteY83" fmla="*/ 685800 h 733425"/>
              <a:gd name="connsiteX84" fmla="*/ 2832100 w 2889264"/>
              <a:gd name="connsiteY84" fmla="*/ 692150 h 733425"/>
              <a:gd name="connsiteX85" fmla="*/ 2876550 w 2889264"/>
              <a:gd name="connsiteY85" fmla="*/ 723900 h 733425"/>
              <a:gd name="connsiteX86" fmla="*/ 2889250 w 2889264"/>
              <a:gd name="connsiteY86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327150 w 2889264"/>
              <a:gd name="connsiteY16" fmla="*/ 66675 h 733425"/>
              <a:gd name="connsiteX17" fmla="*/ 1355725 w 2889264"/>
              <a:gd name="connsiteY17" fmla="*/ 47625 h 733425"/>
              <a:gd name="connsiteX18" fmla="*/ 1377950 w 2889264"/>
              <a:gd name="connsiteY18" fmla="*/ 38100 h 733425"/>
              <a:gd name="connsiteX19" fmla="*/ 1416050 w 2889264"/>
              <a:gd name="connsiteY19" fmla="*/ 12700 h 733425"/>
              <a:gd name="connsiteX20" fmla="*/ 1428750 w 2889264"/>
              <a:gd name="connsiteY20" fmla="*/ 0 h 733425"/>
              <a:gd name="connsiteX21" fmla="*/ 1470025 w 2889264"/>
              <a:gd name="connsiteY21" fmla="*/ 28575 h 733425"/>
              <a:gd name="connsiteX22" fmla="*/ 1504950 w 2889264"/>
              <a:gd name="connsiteY22" fmla="*/ 41275 h 733425"/>
              <a:gd name="connsiteX23" fmla="*/ 1517650 w 2889264"/>
              <a:gd name="connsiteY23" fmla="*/ 50800 h 733425"/>
              <a:gd name="connsiteX24" fmla="*/ 1549400 w 2889264"/>
              <a:gd name="connsiteY24" fmla="*/ 60325 h 733425"/>
              <a:gd name="connsiteX25" fmla="*/ 1562100 w 2889264"/>
              <a:gd name="connsiteY25" fmla="*/ 69850 h 733425"/>
              <a:gd name="connsiteX26" fmla="*/ 1574800 w 2889264"/>
              <a:gd name="connsiteY26" fmla="*/ 73025 h 733425"/>
              <a:gd name="connsiteX27" fmla="*/ 1590675 w 2889264"/>
              <a:gd name="connsiteY27" fmla="*/ 79375 h 733425"/>
              <a:gd name="connsiteX28" fmla="*/ 1600200 w 2889264"/>
              <a:gd name="connsiteY28" fmla="*/ 85725 h 733425"/>
              <a:gd name="connsiteX29" fmla="*/ 1612900 w 2889264"/>
              <a:gd name="connsiteY29" fmla="*/ 92075 h 733425"/>
              <a:gd name="connsiteX30" fmla="*/ 1625600 w 2889264"/>
              <a:gd name="connsiteY30" fmla="*/ 101600 h 733425"/>
              <a:gd name="connsiteX31" fmla="*/ 1635125 w 2889264"/>
              <a:gd name="connsiteY31" fmla="*/ 104775 h 733425"/>
              <a:gd name="connsiteX32" fmla="*/ 1654175 w 2889264"/>
              <a:gd name="connsiteY32" fmla="*/ 114300 h 733425"/>
              <a:gd name="connsiteX33" fmla="*/ 1676400 w 2889264"/>
              <a:gd name="connsiteY33" fmla="*/ 130175 h 733425"/>
              <a:gd name="connsiteX34" fmla="*/ 1689100 w 2889264"/>
              <a:gd name="connsiteY34" fmla="*/ 136525 h 733425"/>
              <a:gd name="connsiteX35" fmla="*/ 1714500 w 2889264"/>
              <a:gd name="connsiteY35" fmla="*/ 146050 h 733425"/>
              <a:gd name="connsiteX36" fmla="*/ 1727200 w 2889264"/>
              <a:gd name="connsiteY36" fmla="*/ 155575 h 733425"/>
              <a:gd name="connsiteX37" fmla="*/ 1758950 w 2889264"/>
              <a:gd name="connsiteY37" fmla="*/ 165100 h 733425"/>
              <a:gd name="connsiteX38" fmla="*/ 1768475 w 2889264"/>
              <a:gd name="connsiteY38" fmla="*/ 171450 h 733425"/>
              <a:gd name="connsiteX39" fmla="*/ 1781175 w 2889264"/>
              <a:gd name="connsiteY39" fmla="*/ 180975 h 733425"/>
              <a:gd name="connsiteX40" fmla="*/ 1793875 w 2889264"/>
              <a:gd name="connsiteY40" fmla="*/ 187325 h 733425"/>
              <a:gd name="connsiteX41" fmla="*/ 1838325 w 2889264"/>
              <a:gd name="connsiteY41" fmla="*/ 212725 h 733425"/>
              <a:gd name="connsiteX42" fmla="*/ 1847850 w 2889264"/>
              <a:gd name="connsiteY42" fmla="*/ 222250 h 733425"/>
              <a:gd name="connsiteX43" fmla="*/ 1885950 w 2889264"/>
              <a:gd name="connsiteY43" fmla="*/ 241300 h 733425"/>
              <a:gd name="connsiteX44" fmla="*/ 1901825 w 2889264"/>
              <a:gd name="connsiteY44" fmla="*/ 250825 h 733425"/>
              <a:gd name="connsiteX45" fmla="*/ 1933575 w 2889264"/>
              <a:gd name="connsiteY45" fmla="*/ 263525 h 733425"/>
              <a:gd name="connsiteX46" fmla="*/ 1962150 w 2889264"/>
              <a:gd name="connsiteY46" fmla="*/ 276225 h 733425"/>
              <a:gd name="connsiteX47" fmla="*/ 1971675 w 2889264"/>
              <a:gd name="connsiteY47" fmla="*/ 282575 h 733425"/>
              <a:gd name="connsiteX48" fmla="*/ 1987550 w 2889264"/>
              <a:gd name="connsiteY48" fmla="*/ 288925 h 733425"/>
              <a:gd name="connsiteX49" fmla="*/ 2022475 w 2889264"/>
              <a:gd name="connsiteY49" fmla="*/ 301625 h 733425"/>
              <a:gd name="connsiteX50" fmla="*/ 2047875 w 2889264"/>
              <a:gd name="connsiteY50" fmla="*/ 314325 h 733425"/>
              <a:gd name="connsiteX51" fmla="*/ 2063750 w 2889264"/>
              <a:gd name="connsiteY51" fmla="*/ 320675 h 733425"/>
              <a:gd name="connsiteX52" fmla="*/ 2082800 w 2889264"/>
              <a:gd name="connsiteY52" fmla="*/ 330200 h 733425"/>
              <a:gd name="connsiteX53" fmla="*/ 2095500 w 2889264"/>
              <a:gd name="connsiteY53" fmla="*/ 333375 h 733425"/>
              <a:gd name="connsiteX54" fmla="*/ 2124075 w 2889264"/>
              <a:gd name="connsiteY54" fmla="*/ 342900 h 733425"/>
              <a:gd name="connsiteX55" fmla="*/ 2159000 w 2889264"/>
              <a:gd name="connsiteY55" fmla="*/ 358775 h 733425"/>
              <a:gd name="connsiteX56" fmla="*/ 2187575 w 2889264"/>
              <a:gd name="connsiteY56" fmla="*/ 377825 h 733425"/>
              <a:gd name="connsiteX57" fmla="*/ 2209800 w 2889264"/>
              <a:gd name="connsiteY57" fmla="*/ 393700 h 733425"/>
              <a:gd name="connsiteX58" fmla="*/ 2247900 w 2889264"/>
              <a:gd name="connsiteY58" fmla="*/ 419100 h 733425"/>
              <a:gd name="connsiteX59" fmla="*/ 2276475 w 2889264"/>
              <a:gd name="connsiteY59" fmla="*/ 434975 h 733425"/>
              <a:gd name="connsiteX60" fmla="*/ 2289175 w 2889264"/>
              <a:gd name="connsiteY60" fmla="*/ 444500 h 733425"/>
              <a:gd name="connsiteX61" fmla="*/ 2308225 w 2889264"/>
              <a:gd name="connsiteY61" fmla="*/ 447675 h 733425"/>
              <a:gd name="connsiteX62" fmla="*/ 2333625 w 2889264"/>
              <a:gd name="connsiteY62" fmla="*/ 460375 h 733425"/>
              <a:gd name="connsiteX63" fmla="*/ 2352675 w 2889264"/>
              <a:gd name="connsiteY63" fmla="*/ 466725 h 733425"/>
              <a:gd name="connsiteX64" fmla="*/ 2397125 w 2889264"/>
              <a:gd name="connsiteY64" fmla="*/ 488950 h 733425"/>
              <a:gd name="connsiteX65" fmla="*/ 2422525 w 2889264"/>
              <a:gd name="connsiteY65" fmla="*/ 495300 h 733425"/>
              <a:gd name="connsiteX66" fmla="*/ 2432050 w 2889264"/>
              <a:gd name="connsiteY66" fmla="*/ 498475 h 733425"/>
              <a:gd name="connsiteX67" fmla="*/ 2454275 w 2889264"/>
              <a:gd name="connsiteY67" fmla="*/ 511175 h 733425"/>
              <a:gd name="connsiteX68" fmla="*/ 2470150 w 2889264"/>
              <a:gd name="connsiteY68" fmla="*/ 523875 h 733425"/>
              <a:gd name="connsiteX69" fmla="*/ 2495550 w 2889264"/>
              <a:gd name="connsiteY69" fmla="*/ 533400 h 733425"/>
              <a:gd name="connsiteX70" fmla="*/ 2546350 w 2889264"/>
              <a:gd name="connsiteY70" fmla="*/ 558800 h 733425"/>
              <a:gd name="connsiteX71" fmla="*/ 2574925 w 2889264"/>
              <a:gd name="connsiteY71" fmla="*/ 565150 h 733425"/>
              <a:gd name="connsiteX72" fmla="*/ 2600325 w 2889264"/>
              <a:gd name="connsiteY72" fmla="*/ 577850 h 733425"/>
              <a:gd name="connsiteX73" fmla="*/ 2616200 w 2889264"/>
              <a:gd name="connsiteY73" fmla="*/ 581025 h 733425"/>
              <a:gd name="connsiteX74" fmla="*/ 2638425 w 2889264"/>
              <a:gd name="connsiteY74" fmla="*/ 587375 h 733425"/>
              <a:gd name="connsiteX75" fmla="*/ 2654300 w 2889264"/>
              <a:gd name="connsiteY75" fmla="*/ 596900 h 733425"/>
              <a:gd name="connsiteX76" fmla="*/ 2673350 w 2889264"/>
              <a:gd name="connsiteY76" fmla="*/ 603250 h 733425"/>
              <a:gd name="connsiteX77" fmla="*/ 2708275 w 2889264"/>
              <a:gd name="connsiteY77" fmla="*/ 625475 h 733425"/>
              <a:gd name="connsiteX78" fmla="*/ 2730500 w 2889264"/>
              <a:gd name="connsiteY78" fmla="*/ 635000 h 733425"/>
              <a:gd name="connsiteX79" fmla="*/ 2749550 w 2889264"/>
              <a:gd name="connsiteY79" fmla="*/ 650875 h 733425"/>
              <a:gd name="connsiteX80" fmla="*/ 2774950 w 2889264"/>
              <a:gd name="connsiteY80" fmla="*/ 663575 h 733425"/>
              <a:gd name="connsiteX81" fmla="*/ 2803525 w 2889264"/>
              <a:gd name="connsiteY81" fmla="*/ 676275 h 733425"/>
              <a:gd name="connsiteX82" fmla="*/ 2816225 w 2889264"/>
              <a:gd name="connsiteY82" fmla="*/ 685800 h 733425"/>
              <a:gd name="connsiteX83" fmla="*/ 2832100 w 2889264"/>
              <a:gd name="connsiteY83" fmla="*/ 692150 h 733425"/>
              <a:gd name="connsiteX84" fmla="*/ 2876550 w 2889264"/>
              <a:gd name="connsiteY84" fmla="*/ 723900 h 733425"/>
              <a:gd name="connsiteX85" fmla="*/ 2889250 w 2889264"/>
              <a:gd name="connsiteY85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327150 w 2889264"/>
              <a:gd name="connsiteY16" fmla="*/ 66675 h 733425"/>
              <a:gd name="connsiteX17" fmla="*/ 1377950 w 2889264"/>
              <a:gd name="connsiteY17" fmla="*/ 38100 h 733425"/>
              <a:gd name="connsiteX18" fmla="*/ 1416050 w 2889264"/>
              <a:gd name="connsiteY18" fmla="*/ 12700 h 733425"/>
              <a:gd name="connsiteX19" fmla="*/ 1428750 w 2889264"/>
              <a:gd name="connsiteY19" fmla="*/ 0 h 733425"/>
              <a:gd name="connsiteX20" fmla="*/ 1470025 w 2889264"/>
              <a:gd name="connsiteY20" fmla="*/ 28575 h 733425"/>
              <a:gd name="connsiteX21" fmla="*/ 1504950 w 2889264"/>
              <a:gd name="connsiteY21" fmla="*/ 41275 h 733425"/>
              <a:gd name="connsiteX22" fmla="*/ 1517650 w 2889264"/>
              <a:gd name="connsiteY22" fmla="*/ 50800 h 733425"/>
              <a:gd name="connsiteX23" fmla="*/ 1549400 w 2889264"/>
              <a:gd name="connsiteY23" fmla="*/ 60325 h 733425"/>
              <a:gd name="connsiteX24" fmla="*/ 1562100 w 2889264"/>
              <a:gd name="connsiteY24" fmla="*/ 69850 h 733425"/>
              <a:gd name="connsiteX25" fmla="*/ 1574800 w 2889264"/>
              <a:gd name="connsiteY25" fmla="*/ 73025 h 733425"/>
              <a:gd name="connsiteX26" fmla="*/ 1590675 w 2889264"/>
              <a:gd name="connsiteY26" fmla="*/ 79375 h 733425"/>
              <a:gd name="connsiteX27" fmla="*/ 1600200 w 2889264"/>
              <a:gd name="connsiteY27" fmla="*/ 85725 h 733425"/>
              <a:gd name="connsiteX28" fmla="*/ 1612900 w 2889264"/>
              <a:gd name="connsiteY28" fmla="*/ 92075 h 733425"/>
              <a:gd name="connsiteX29" fmla="*/ 1625600 w 2889264"/>
              <a:gd name="connsiteY29" fmla="*/ 101600 h 733425"/>
              <a:gd name="connsiteX30" fmla="*/ 1635125 w 2889264"/>
              <a:gd name="connsiteY30" fmla="*/ 104775 h 733425"/>
              <a:gd name="connsiteX31" fmla="*/ 1654175 w 2889264"/>
              <a:gd name="connsiteY31" fmla="*/ 114300 h 733425"/>
              <a:gd name="connsiteX32" fmla="*/ 1676400 w 2889264"/>
              <a:gd name="connsiteY32" fmla="*/ 130175 h 733425"/>
              <a:gd name="connsiteX33" fmla="*/ 1689100 w 2889264"/>
              <a:gd name="connsiteY33" fmla="*/ 136525 h 733425"/>
              <a:gd name="connsiteX34" fmla="*/ 1714500 w 2889264"/>
              <a:gd name="connsiteY34" fmla="*/ 146050 h 733425"/>
              <a:gd name="connsiteX35" fmla="*/ 1727200 w 2889264"/>
              <a:gd name="connsiteY35" fmla="*/ 155575 h 733425"/>
              <a:gd name="connsiteX36" fmla="*/ 1758950 w 2889264"/>
              <a:gd name="connsiteY36" fmla="*/ 165100 h 733425"/>
              <a:gd name="connsiteX37" fmla="*/ 1768475 w 2889264"/>
              <a:gd name="connsiteY37" fmla="*/ 171450 h 733425"/>
              <a:gd name="connsiteX38" fmla="*/ 1781175 w 2889264"/>
              <a:gd name="connsiteY38" fmla="*/ 180975 h 733425"/>
              <a:gd name="connsiteX39" fmla="*/ 1793875 w 2889264"/>
              <a:gd name="connsiteY39" fmla="*/ 187325 h 733425"/>
              <a:gd name="connsiteX40" fmla="*/ 1838325 w 2889264"/>
              <a:gd name="connsiteY40" fmla="*/ 212725 h 733425"/>
              <a:gd name="connsiteX41" fmla="*/ 1847850 w 2889264"/>
              <a:gd name="connsiteY41" fmla="*/ 222250 h 733425"/>
              <a:gd name="connsiteX42" fmla="*/ 1885950 w 2889264"/>
              <a:gd name="connsiteY42" fmla="*/ 241300 h 733425"/>
              <a:gd name="connsiteX43" fmla="*/ 1901825 w 2889264"/>
              <a:gd name="connsiteY43" fmla="*/ 250825 h 733425"/>
              <a:gd name="connsiteX44" fmla="*/ 1933575 w 2889264"/>
              <a:gd name="connsiteY44" fmla="*/ 263525 h 733425"/>
              <a:gd name="connsiteX45" fmla="*/ 1962150 w 2889264"/>
              <a:gd name="connsiteY45" fmla="*/ 276225 h 733425"/>
              <a:gd name="connsiteX46" fmla="*/ 1971675 w 2889264"/>
              <a:gd name="connsiteY46" fmla="*/ 282575 h 733425"/>
              <a:gd name="connsiteX47" fmla="*/ 1987550 w 2889264"/>
              <a:gd name="connsiteY47" fmla="*/ 288925 h 733425"/>
              <a:gd name="connsiteX48" fmla="*/ 2022475 w 2889264"/>
              <a:gd name="connsiteY48" fmla="*/ 301625 h 733425"/>
              <a:gd name="connsiteX49" fmla="*/ 2047875 w 2889264"/>
              <a:gd name="connsiteY49" fmla="*/ 314325 h 733425"/>
              <a:gd name="connsiteX50" fmla="*/ 2063750 w 2889264"/>
              <a:gd name="connsiteY50" fmla="*/ 320675 h 733425"/>
              <a:gd name="connsiteX51" fmla="*/ 2082800 w 2889264"/>
              <a:gd name="connsiteY51" fmla="*/ 330200 h 733425"/>
              <a:gd name="connsiteX52" fmla="*/ 2095500 w 2889264"/>
              <a:gd name="connsiteY52" fmla="*/ 333375 h 733425"/>
              <a:gd name="connsiteX53" fmla="*/ 2124075 w 2889264"/>
              <a:gd name="connsiteY53" fmla="*/ 342900 h 733425"/>
              <a:gd name="connsiteX54" fmla="*/ 2159000 w 2889264"/>
              <a:gd name="connsiteY54" fmla="*/ 358775 h 733425"/>
              <a:gd name="connsiteX55" fmla="*/ 2187575 w 2889264"/>
              <a:gd name="connsiteY55" fmla="*/ 377825 h 733425"/>
              <a:gd name="connsiteX56" fmla="*/ 2209800 w 2889264"/>
              <a:gd name="connsiteY56" fmla="*/ 393700 h 733425"/>
              <a:gd name="connsiteX57" fmla="*/ 2247900 w 2889264"/>
              <a:gd name="connsiteY57" fmla="*/ 419100 h 733425"/>
              <a:gd name="connsiteX58" fmla="*/ 2276475 w 2889264"/>
              <a:gd name="connsiteY58" fmla="*/ 434975 h 733425"/>
              <a:gd name="connsiteX59" fmla="*/ 2289175 w 2889264"/>
              <a:gd name="connsiteY59" fmla="*/ 444500 h 733425"/>
              <a:gd name="connsiteX60" fmla="*/ 2308225 w 2889264"/>
              <a:gd name="connsiteY60" fmla="*/ 447675 h 733425"/>
              <a:gd name="connsiteX61" fmla="*/ 2333625 w 2889264"/>
              <a:gd name="connsiteY61" fmla="*/ 460375 h 733425"/>
              <a:gd name="connsiteX62" fmla="*/ 2352675 w 2889264"/>
              <a:gd name="connsiteY62" fmla="*/ 466725 h 733425"/>
              <a:gd name="connsiteX63" fmla="*/ 2397125 w 2889264"/>
              <a:gd name="connsiteY63" fmla="*/ 488950 h 733425"/>
              <a:gd name="connsiteX64" fmla="*/ 2422525 w 2889264"/>
              <a:gd name="connsiteY64" fmla="*/ 495300 h 733425"/>
              <a:gd name="connsiteX65" fmla="*/ 2432050 w 2889264"/>
              <a:gd name="connsiteY65" fmla="*/ 498475 h 733425"/>
              <a:gd name="connsiteX66" fmla="*/ 2454275 w 2889264"/>
              <a:gd name="connsiteY66" fmla="*/ 511175 h 733425"/>
              <a:gd name="connsiteX67" fmla="*/ 2470150 w 2889264"/>
              <a:gd name="connsiteY67" fmla="*/ 523875 h 733425"/>
              <a:gd name="connsiteX68" fmla="*/ 2495550 w 2889264"/>
              <a:gd name="connsiteY68" fmla="*/ 533400 h 733425"/>
              <a:gd name="connsiteX69" fmla="*/ 2546350 w 2889264"/>
              <a:gd name="connsiteY69" fmla="*/ 558800 h 733425"/>
              <a:gd name="connsiteX70" fmla="*/ 2574925 w 2889264"/>
              <a:gd name="connsiteY70" fmla="*/ 565150 h 733425"/>
              <a:gd name="connsiteX71" fmla="*/ 2600325 w 2889264"/>
              <a:gd name="connsiteY71" fmla="*/ 577850 h 733425"/>
              <a:gd name="connsiteX72" fmla="*/ 2616200 w 2889264"/>
              <a:gd name="connsiteY72" fmla="*/ 581025 h 733425"/>
              <a:gd name="connsiteX73" fmla="*/ 2638425 w 2889264"/>
              <a:gd name="connsiteY73" fmla="*/ 587375 h 733425"/>
              <a:gd name="connsiteX74" fmla="*/ 2654300 w 2889264"/>
              <a:gd name="connsiteY74" fmla="*/ 596900 h 733425"/>
              <a:gd name="connsiteX75" fmla="*/ 2673350 w 2889264"/>
              <a:gd name="connsiteY75" fmla="*/ 603250 h 733425"/>
              <a:gd name="connsiteX76" fmla="*/ 2708275 w 2889264"/>
              <a:gd name="connsiteY76" fmla="*/ 625475 h 733425"/>
              <a:gd name="connsiteX77" fmla="*/ 2730500 w 2889264"/>
              <a:gd name="connsiteY77" fmla="*/ 635000 h 733425"/>
              <a:gd name="connsiteX78" fmla="*/ 2749550 w 2889264"/>
              <a:gd name="connsiteY78" fmla="*/ 650875 h 733425"/>
              <a:gd name="connsiteX79" fmla="*/ 2774950 w 2889264"/>
              <a:gd name="connsiteY79" fmla="*/ 663575 h 733425"/>
              <a:gd name="connsiteX80" fmla="*/ 2803525 w 2889264"/>
              <a:gd name="connsiteY80" fmla="*/ 676275 h 733425"/>
              <a:gd name="connsiteX81" fmla="*/ 2816225 w 2889264"/>
              <a:gd name="connsiteY81" fmla="*/ 685800 h 733425"/>
              <a:gd name="connsiteX82" fmla="*/ 2832100 w 2889264"/>
              <a:gd name="connsiteY82" fmla="*/ 692150 h 733425"/>
              <a:gd name="connsiteX83" fmla="*/ 2876550 w 2889264"/>
              <a:gd name="connsiteY83" fmla="*/ 723900 h 733425"/>
              <a:gd name="connsiteX84" fmla="*/ 2889250 w 2889264"/>
              <a:gd name="connsiteY84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327150 w 2889264"/>
              <a:gd name="connsiteY16" fmla="*/ 66675 h 733425"/>
              <a:gd name="connsiteX17" fmla="*/ 1416050 w 2889264"/>
              <a:gd name="connsiteY17" fmla="*/ 12700 h 733425"/>
              <a:gd name="connsiteX18" fmla="*/ 1428750 w 2889264"/>
              <a:gd name="connsiteY18" fmla="*/ 0 h 733425"/>
              <a:gd name="connsiteX19" fmla="*/ 1470025 w 2889264"/>
              <a:gd name="connsiteY19" fmla="*/ 28575 h 733425"/>
              <a:gd name="connsiteX20" fmla="*/ 1504950 w 2889264"/>
              <a:gd name="connsiteY20" fmla="*/ 41275 h 733425"/>
              <a:gd name="connsiteX21" fmla="*/ 1517650 w 2889264"/>
              <a:gd name="connsiteY21" fmla="*/ 50800 h 733425"/>
              <a:gd name="connsiteX22" fmla="*/ 1549400 w 2889264"/>
              <a:gd name="connsiteY22" fmla="*/ 60325 h 733425"/>
              <a:gd name="connsiteX23" fmla="*/ 1562100 w 2889264"/>
              <a:gd name="connsiteY23" fmla="*/ 69850 h 733425"/>
              <a:gd name="connsiteX24" fmla="*/ 1574800 w 2889264"/>
              <a:gd name="connsiteY24" fmla="*/ 73025 h 733425"/>
              <a:gd name="connsiteX25" fmla="*/ 1590675 w 2889264"/>
              <a:gd name="connsiteY25" fmla="*/ 79375 h 733425"/>
              <a:gd name="connsiteX26" fmla="*/ 1600200 w 2889264"/>
              <a:gd name="connsiteY26" fmla="*/ 85725 h 733425"/>
              <a:gd name="connsiteX27" fmla="*/ 1612900 w 2889264"/>
              <a:gd name="connsiteY27" fmla="*/ 92075 h 733425"/>
              <a:gd name="connsiteX28" fmla="*/ 1625600 w 2889264"/>
              <a:gd name="connsiteY28" fmla="*/ 101600 h 733425"/>
              <a:gd name="connsiteX29" fmla="*/ 1635125 w 2889264"/>
              <a:gd name="connsiteY29" fmla="*/ 104775 h 733425"/>
              <a:gd name="connsiteX30" fmla="*/ 1654175 w 2889264"/>
              <a:gd name="connsiteY30" fmla="*/ 114300 h 733425"/>
              <a:gd name="connsiteX31" fmla="*/ 1676400 w 2889264"/>
              <a:gd name="connsiteY31" fmla="*/ 130175 h 733425"/>
              <a:gd name="connsiteX32" fmla="*/ 1689100 w 2889264"/>
              <a:gd name="connsiteY32" fmla="*/ 136525 h 733425"/>
              <a:gd name="connsiteX33" fmla="*/ 1714500 w 2889264"/>
              <a:gd name="connsiteY33" fmla="*/ 146050 h 733425"/>
              <a:gd name="connsiteX34" fmla="*/ 1727200 w 2889264"/>
              <a:gd name="connsiteY34" fmla="*/ 155575 h 733425"/>
              <a:gd name="connsiteX35" fmla="*/ 1758950 w 2889264"/>
              <a:gd name="connsiteY35" fmla="*/ 165100 h 733425"/>
              <a:gd name="connsiteX36" fmla="*/ 1768475 w 2889264"/>
              <a:gd name="connsiteY36" fmla="*/ 171450 h 733425"/>
              <a:gd name="connsiteX37" fmla="*/ 1781175 w 2889264"/>
              <a:gd name="connsiteY37" fmla="*/ 180975 h 733425"/>
              <a:gd name="connsiteX38" fmla="*/ 1793875 w 2889264"/>
              <a:gd name="connsiteY38" fmla="*/ 187325 h 733425"/>
              <a:gd name="connsiteX39" fmla="*/ 1838325 w 2889264"/>
              <a:gd name="connsiteY39" fmla="*/ 212725 h 733425"/>
              <a:gd name="connsiteX40" fmla="*/ 1847850 w 2889264"/>
              <a:gd name="connsiteY40" fmla="*/ 222250 h 733425"/>
              <a:gd name="connsiteX41" fmla="*/ 1885950 w 2889264"/>
              <a:gd name="connsiteY41" fmla="*/ 241300 h 733425"/>
              <a:gd name="connsiteX42" fmla="*/ 1901825 w 2889264"/>
              <a:gd name="connsiteY42" fmla="*/ 250825 h 733425"/>
              <a:gd name="connsiteX43" fmla="*/ 1933575 w 2889264"/>
              <a:gd name="connsiteY43" fmla="*/ 263525 h 733425"/>
              <a:gd name="connsiteX44" fmla="*/ 1962150 w 2889264"/>
              <a:gd name="connsiteY44" fmla="*/ 276225 h 733425"/>
              <a:gd name="connsiteX45" fmla="*/ 1971675 w 2889264"/>
              <a:gd name="connsiteY45" fmla="*/ 282575 h 733425"/>
              <a:gd name="connsiteX46" fmla="*/ 1987550 w 2889264"/>
              <a:gd name="connsiteY46" fmla="*/ 288925 h 733425"/>
              <a:gd name="connsiteX47" fmla="*/ 2022475 w 2889264"/>
              <a:gd name="connsiteY47" fmla="*/ 301625 h 733425"/>
              <a:gd name="connsiteX48" fmla="*/ 2047875 w 2889264"/>
              <a:gd name="connsiteY48" fmla="*/ 314325 h 733425"/>
              <a:gd name="connsiteX49" fmla="*/ 2063750 w 2889264"/>
              <a:gd name="connsiteY49" fmla="*/ 320675 h 733425"/>
              <a:gd name="connsiteX50" fmla="*/ 2082800 w 2889264"/>
              <a:gd name="connsiteY50" fmla="*/ 330200 h 733425"/>
              <a:gd name="connsiteX51" fmla="*/ 2095500 w 2889264"/>
              <a:gd name="connsiteY51" fmla="*/ 333375 h 733425"/>
              <a:gd name="connsiteX52" fmla="*/ 2124075 w 2889264"/>
              <a:gd name="connsiteY52" fmla="*/ 342900 h 733425"/>
              <a:gd name="connsiteX53" fmla="*/ 2159000 w 2889264"/>
              <a:gd name="connsiteY53" fmla="*/ 358775 h 733425"/>
              <a:gd name="connsiteX54" fmla="*/ 2187575 w 2889264"/>
              <a:gd name="connsiteY54" fmla="*/ 377825 h 733425"/>
              <a:gd name="connsiteX55" fmla="*/ 2209800 w 2889264"/>
              <a:gd name="connsiteY55" fmla="*/ 393700 h 733425"/>
              <a:gd name="connsiteX56" fmla="*/ 2247900 w 2889264"/>
              <a:gd name="connsiteY56" fmla="*/ 419100 h 733425"/>
              <a:gd name="connsiteX57" fmla="*/ 2276475 w 2889264"/>
              <a:gd name="connsiteY57" fmla="*/ 434975 h 733425"/>
              <a:gd name="connsiteX58" fmla="*/ 2289175 w 2889264"/>
              <a:gd name="connsiteY58" fmla="*/ 444500 h 733425"/>
              <a:gd name="connsiteX59" fmla="*/ 2308225 w 2889264"/>
              <a:gd name="connsiteY59" fmla="*/ 447675 h 733425"/>
              <a:gd name="connsiteX60" fmla="*/ 2333625 w 2889264"/>
              <a:gd name="connsiteY60" fmla="*/ 460375 h 733425"/>
              <a:gd name="connsiteX61" fmla="*/ 2352675 w 2889264"/>
              <a:gd name="connsiteY61" fmla="*/ 466725 h 733425"/>
              <a:gd name="connsiteX62" fmla="*/ 2397125 w 2889264"/>
              <a:gd name="connsiteY62" fmla="*/ 488950 h 733425"/>
              <a:gd name="connsiteX63" fmla="*/ 2422525 w 2889264"/>
              <a:gd name="connsiteY63" fmla="*/ 495300 h 733425"/>
              <a:gd name="connsiteX64" fmla="*/ 2432050 w 2889264"/>
              <a:gd name="connsiteY64" fmla="*/ 498475 h 733425"/>
              <a:gd name="connsiteX65" fmla="*/ 2454275 w 2889264"/>
              <a:gd name="connsiteY65" fmla="*/ 511175 h 733425"/>
              <a:gd name="connsiteX66" fmla="*/ 2470150 w 2889264"/>
              <a:gd name="connsiteY66" fmla="*/ 523875 h 733425"/>
              <a:gd name="connsiteX67" fmla="*/ 2495550 w 2889264"/>
              <a:gd name="connsiteY67" fmla="*/ 533400 h 733425"/>
              <a:gd name="connsiteX68" fmla="*/ 2546350 w 2889264"/>
              <a:gd name="connsiteY68" fmla="*/ 558800 h 733425"/>
              <a:gd name="connsiteX69" fmla="*/ 2574925 w 2889264"/>
              <a:gd name="connsiteY69" fmla="*/ 565150 h 733425"/>
              <a:gd name="connsiteX70" fmla="*/ 2600325 w 2889264"/>
              <a:gd name="connsiteY70" fmla="*/ 577850 h 733425"/>
              <a:gd name="connsiteX71" fmla="*/ 2616200 w 2889264"/>
              <a:gd name="connsiteY71" fmla="*/ 581025 h 733425"/>
              <a:gd name="connsiteX72" fmla="*/ 2638425 w 2889264"/>
              <a:gd name="connsiteY72" fmla="*/ 587375 h 733425"/>
              <a:gd name="connsiteX73" fmla="*/ 2654300 w 2889264"/>
              <a:gd name="connsiteY73" fmla="*/ 596900 h 733425"/>
              <a:gd name="connsiteX74" fmla="*/ 2673350 w 2889264"/>
              <a:gd name="connsiteY74" fmla="*/ 603250 h 733425"/>
              <a:gd name="connsiteX75" fmla="*/ 2708275 w 2889264"/>
              <a:gd name="connsiteY75" fmla="*/ 625475 h 733425"/>
              <a:gd name="connsiteX76" fmla="*/ 2730500 w 2889264"/>
              <a:gd name="connsiteY76" fmla="*/ 635000 h 733425"/>
              <a:gd name="connsiteX77" fmla="*/ 2749550 w 2889264"/>
              <a:gd name="connsiteY77" fmla="*/ 650875 h 733425"/>
              <a:gd name="connsiteX78" fmla="*/ 2774950 w 2889264"/>
              <a:gd name="connsiteY78" fmla="*/ 663575 h 733425"/>
              <a:gd name="connsiteX79" fmla="*/ 2803525 w 2889264"/>
              <a:gd name="connsiteY79" fmla="*/ 676275 h 733425"/>
              <a:gd name="connsiteX80" fmla="*/ 2816225 w 2889264"/>
              <a:gd name="connsiteY80" fmla="*/ 685800 h 733425"/>
              <a:gd name="connsiteX81" fmla="*/ 2832100 w 2889264"/>
              <a:gd name="connsiteY81" fmla="*/ 692150 h 733425"/>
              <a:gd name="connsiteX82" fmla="*/ 2876550 w 2889264"/>
              <a:gd name="connsiteY82" fmla="*/ 723900 h 733425"/>
              <a:gd name="connsiteX83" fmla="*/ 2889250 w 2889264"/>
              <a:gd name="connsiteY83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327150 w 2889264"/>
              <a:gd name="connsiteY16" fmla="*/ 66675 h 733425"/>
              <a:gd name="connsiteX17" fmla="*/ 1390650 w 2889264"/>
              <a:gd name="connsiteY17" fmla="*/ 19050 h 733425"/>
              <a:gd name="connsiteX18" fmla="*/ 1416050 w 2889264"/>
              <a:gd name="connsiteY18" fmla="*/ 12700 h 733425"/>
              <a:gd name="connsiteX19" fmla="*/ 1428750 w 2889264"/>
              <a:gd name="connsiteY19" fmla="*/ 0 h 733425"/>
              <a:gd name="connsiteX20" fmla="*/ 1470025 w 2889264"/>
              <a:gd name="connsiteY20" fmla="*/ 28575 h 733425"/>
              <a:gd name="connsiteX21" fmla="*/ 1504950 w 2889264"/>
              <a:gd name="connsiteY21" fmla="*/ 41275 h 733425"/>
              <a:gd name="connsiteX22" fmla="*/ 1517650 w 2889264"/>
              <a:gd name="connsiteY22" fmla="*/ 50800 h 733425"/>
              <a:gd name="connsiteX23" fmla="*/ 1549400 w 2889264"/>
              <a:gd name="connsiteY23" fmla="*/ 60325 h 733425"/>
              <a:gd name="connsiteX24" fmla="*/ 1562100 w 2889264"/>
              <a:gd name="connsiteY24" fmla="*/ 69850 h 733425"/>
              <a:gd name="connsiteX25" fmla="*/ 1574800 w 2889264"/>
              <a:gd name="connsiteY25" fmla="*/ 73025 h 733425"/>
              <a:gd name="connsiteX26" fmla="*/ 1590675 w 2889264"/>
              <a:gd name="connsiteY26" fmla="*/ 79375 h 733425"/>
              <a:gd name="connsiteX27" fmla="*/ 1600200 w 2889264"/>
              <a:gd name="connsiteY27" fmla="*/ 85725 h 733425"/>
              <a:gd name="connsiteX28" fmla="*/ 1612900 w 2889264"/>
              <a:gd name="connsiteY28" fmla="*/ 92075 h 733425"/>
              <a:gd name="connsiteX29" fmla="*/ 1625600 w 2889264"/>
              <a:gd name="connsiteY29" fmla="*/ 101600 h 733425"/>
              <a:gd name="connsiteX30" fmla="*/ 1635125 w 2889264"/>
              <a:gd name="connsiteY30" fmla="*/ 104775 h 733425"/>
              <a:gd name="connsiteX31" fmla="*/ 1654175 w 2889264"/>
              <a:gd name="connsiteY31" fmla="*/ 114300 h 733425"/>
              <a:gd name="connsiteX32" fmla="*/ 1676400 w 2889264"/>
              <a:gd name="connsiteY32" fmla="*/ 130175 h 733425"/>
              <a:gd name="connsiteX33" fmla="*/ 1689100 w 2889264"/>
              <a:gd name="connsiteY33" fmla="*/ 136525 h 733425"/>
              <a:gd name="connsiteX34" fmla="*/ 1714500 w 2889264"/>
              <a:gd name="connsiteY34" fmla="*/ 146050 h 733425"/>
              <a:gd name="connsiteX35" fmla="*/ 1727200 w 2889264"/>
              <a:gd name="connsiteY35" fmla="*/ 155575 h 733425"/>
              <a:gd name="connsiteX36" fmla="*/ 1758950 w 2889264"/>
              <a:gd name="connsiteY36" fmla="*/ 165100 h 733425"/>
              <a:gd name="connsiteX37" fmla="*/ 1768475 w 2889264"/>
              <a:gd name="connsiteY37" fmla="*/ 171450 h 733425"/>
              <a:gd name="connsiteX38" fmla="*/ 1781175 w 2889264"/>
              <a:gd name="connsiteY38" fmla="*/ 180975 h 733425"/>
              <a:gd name="connsiteX39" fmla="*/ 1793875 w 2889264"/>
              <a:gd name="connsiteY39" fmla="*/ 187325 h 733425"/>
              <a:gd name="connsiteX40" fmla="*/ 1838325 w 2889264"/>
              <a:gd name="connsiteY40" fmla="*/ 212725 h 733425"/>
              <a:gd name="connsiteX41" fmla="*/ 1847850 w 2889264"/>
              <a:gd name="connsiteY41" fmla="*/ 222250 h 733425"/>
              <a:gd name="connsiteX42" fmla="*/ 1885950 w 2889264"/>
              <a:gd name="connsiteY42" fmla="*/ 241300 h 733425"/>
              <a:gd name="connsiteX43" fmla="*/ 1901825 w 2889264"/>
              <a:gd name="connsiteY43" fmla="*/ 250825 h 733425"/>
              <a:gd name="connsiteX44" fmla="*/ 1933575 w 2889264"/>
              <a:gd name="connsiteY44" fmla="*/ 263525 h 733425"/>
              <a:gd name="connsiteX45" fmla="*/ 1962150 w 2889264"/>
              <a:gd name="connsiteY45" fmla="*/ 276225 h 733425"/>
              <a:gd name="connsiteX46" fmla="*/ 1971675 w 2889264"/>
              <a:gd name="connsiteY46" fmla="*/ 282575 h 733425"/>
              <a:gd name="connsiteX47" fmla="*/ 1987550 w 2889264"/>
              <a:gd name="connsiteY47" fmla="*/ 288925 h 733425"/>
              <a:gd name="connsiteX48" fmla="*/ 2022475 w 2889264"/>
              <a:gd name="connsiteY48" fmla="*/ 301625 h 733425"/>
              <a:gd name="connsiteX49" fmla="*/ 2047875 w 2889264"/>
              <a:gd name="connsiteY49" fmla="*/ 314325 h 733425"/>
              <a:gd name="connsiteX50" fmla="*/ 2063750 w 2889264"/>
              <a:gd name="connsiteY50" fmla="*/ 320675 h 733425"/>
              <a:gd name="connsiteX51" fmla="*/ 2082800 w 2889264"/>
              <a:gd name="connsiteY51" fmla="*/ 330200 h 733425"/>
              <a:gd name="connsiteX52" fmla="*/ 2095500 w 2889264"/>
              <a:gd name="connsiteY52" fmla="*/ 333375 h 733425"/>
              <a:gd name="connsiteX53" fmla="*/ 2124075 w 2889264"/>
              <a:gd name="connsiteY53" fmla="*/ 342900 h 733425"/>
              <a:gd name="connsiteX54" fmla="*/ 2159000 w 2889264"/>
              <a:gd name="connsiteY54" fmla="*/ 358775 h 733425"/>
              <a:gd name="connsiteX55" fmla="*/ 2187575 w 2889264"/>
              <a:gd name="connsiteY55" fmla="*/ 377825 h 733425"/>
              <a:gd name="connsiteX56" fmla="*/ 2209800 w 2889264"/>
              <a:gd name="connsiteY56" fmla="*/ 393700 h 733425"/>
              <a:gd name="connsiteX57" fmla="*/ 2247900 w 2889264"/>
              <a:gd name="connsiteY57" fmla="*/ 419100 h 733425"/>
              <a:gd name="connsiteX58" fmla="*/ 2276475 w 2889264"/>
              <a:gd name="connsiteY58" fmla="*/ 434975 h 733425"/>
              <a:gd name="connsiteX59" fmla="*/ 2289175 w 2889264"/>
              <a:gd name="connsiteY59" fmla="*/ 444500 h 733425"/>
              <a:gd name="connsiteX60" fmla="*/ 2308225 w 2889264"/>
              <a:gd name="connsiteY60" fmla="*/ 447675 h 733425"/>
              <a:gd name="connsiteX61" fmla="*/ 2333625 w 2889264"/>
              <a:gd name="connsiteY61" fmla="*/ 460375 h 733425"/>
              <a:gd name="connsiteX62" fmla="*/ 2352675 w 2889264"/>
              <a:gd name="connsiteY62" fmla="*/ 466725 h 733425"/>
              <a:gd name="connsiteX63" fmla="*/ 2397125 w 2889264"/>
              <a:gd name="connsiteY63" fmla="*/ 488950 h 733425"/>
              <a:gd name="connsiteX64" fmla="*/ 2422525 w 2889264"/>
              <a:gd name="connsiteY64" fmla="*/ 495300 h 733425"/>
              <a:gd name="connsiteX65" fmla="*/ 2432050 w 2889264"/>
              <a:gd name="connsiteY65" fmla="*/ 498475 h 733425"/>
              <a:gd name="connsiteX66" fmla="*/ 2454275 w 2889264"/>
              <a:gd name="connsiteY66" fmla="*/ 511175 h 733425"/>
              <a:gd name="connsiteX67" fmla="*/ 2470150 w 2889264"/>
              <a:gd name="connsiteY67" fmla="*/ 523875 h 733425"/>
              <a:gd name="connsiteX68" fmla="*/ 2495550 w 2889264"/>
              <a:gd name="connsiteY68" fmla="*/ 533400 h 733425"/>
              <a:gd name="connsiteX69" fmla="*/ 2546350 w 2889264"/>
              <a:gd name="connsiteY69" fmla="*/ 558800 h 733425"/>
              <a:gd name="connsiteX70" fmla="*/ 2574925 w 2889264"/>
              <a:gd name="connsiteY70" fmla="*/ 565150 h 733425"/>
              <a:gd name="connsiteX71" fmla="*/ 2600325 w 2889264"/>
              <a:gd name="connsiteY71" fmla="*/ 577850 h 733425"/>
              <a:gd name="connsiteX72" fmla="*/ 2616200 w 2889264"/>
              <a:gd name="connsiteY72" fmla="*/ 581025 h 733425"/>
              <a:gd name="connsiteX73" fmla="*/ 2638425 w 2889264"/>
              <a:gd name="connsiteY73" fmla="*/ 587375 h 733425"/>
              <a:gd name="connsiteX74" fmla="*/ 2654300 w 2889264"/>
              <a:gd name="connsiteY74" fmla="*/ 596900 h 733425"/>
              <a:gd name="connsiteX75" fmla="*/ 2673350 w 2889264"/>
              <a:gd name="connsiteY75" fmla="*/ 603250 h 733425"/>
              <a:gd name="connsiteX76" fmla="*/ 2708275 w 2889264"/>
              <a:gd name="connsiteY76" fmla="*/ 625475 h 733425"/>
              <a:gd name="connsiteX77" fmla="*/ 2730500 w 2889264"/>
              <a:gd name="connsiteY77" fmla="*/ 635000 h 733425"/>
              <a:gd name="connsiteX78" fmla="*/ 2749550 w 2889264"/>
              <a:gd name="connsiteY78" fmla="*/ 650875 h 733425"/>
              <a:gd name="connsiteX79" fmla="*/ 2774950 w 2889264"/>
              <a:gd name="connsiteY79" fmla="*/ 663575 h 733425"/>
              <a:gd name="connsiteX80" fmla="*/ 2803525 w 2889264"/>
              <a:gd name="connsiteY80" fmla="*/ 676275 h 733425"/>
              <a:gd name="connsiteX81" fmla="*/ 2816225 w 2889264"/>
              <a:gd name="connsiteY81" fmla="*/ 685800 h 733425"/>
              <a:gd name="connsiteX82" fmla="*/ 2832100 w 2889264"/>
              <a:gd name="connsiteY82" fmla="*/ 692150 h 733425"/>
              <a:gd name="connsiteX83" fmla="*/ 2876550 w 2889264"/>
              <a:gd name="connsiteY83" fmla="*/ 723900 h 733425"/>
              <a:gd name="connsiteX84" fmla="*/ 2889250 w 2889264"/>
              <a:gd name="connsiteY84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327150 w 2889264"/>
              <a:gd name="connsiteY16" fmla="*/ 66675 h 733425"/>
              <a:gd name="connsiteX17" fmla="*/ 1390650 w 2889264"/>
              <a:gd name="connsiteY17" fmla="*/ 19050 h 733425"/>
              <a:gd name="connsiteX18" fmla="*/ 1416050 w 2889264"/>
              <a:gd name="connsiteY18" fmla="*/ 12700 h 733425"/>
              <a:gd name="connsiteX19" fmla="*/ 1428750 w 2889264"/>
              <a:gd name="connsiteY19" fmla="*/ 0 h 733425"/>
              <a:gd name="connsiteX20" fmla="*/ 1470025 w 2889264"/>
              <a:gd name="connsiteY20" fmla="*/ 28575 h 733425"/>
              <a:gd name="connsiteX21" fmla="*/ 1504950 w 2889264"/>
              <a:gd name="connsiteY21" fmla="*/ 41275 h 733425"/>
              <a:gd name="connsiteX22" fmla="*/ 1549400 w 2889264"/>
              <a:gd name="connsiteY22" fmla="*/ 60325 h 733425"/>
              <a:gd name="connsiteX23" fmla="*/ 1562100 w 2889264"/>
              <a:gd name="connsiteY23" fmla="*/ 69850 h 733425"/>
              <a:gd name="connsiteX24" fmla="*/ 1574800 w 2889264"/>
              <a:gd name="connsiteY24" fmla="*/ 73025 h 733425"/>
              <a:gd name="connsiteX25" fmla="*/ 1590675 w 2889264"/>
              <a:gd name="connsiteY25" fmla="*/ 79375 h 733425"/>
              <a:gd name="connsiteX26" fmla="*/ 1600200 w 2889264"/>
              <a:gd name="connsiteY26" fmla="*/ 85725 h 733425"/>
              <a:gd name="connsiteX27" fmla="*/ 1612900 w 2889264"/>
              <a:gd name="connsiteY27" fmla="*/ 92075 h 733425"/>
              <a:gd name="connsiteX28" fmla="*/ 1625600 w 2889264"/>
              <a:gd name="connsiteY28" fmla="*/ 101600 h 733425"/>
              <a:gd name="connsiteX29" fmla="*/ 1635125 w 2889264"/>
              <a:gd name="connsiteY29" fmla="*/ 104775 h 733425"/>
              <a:gd name="connsiteX30" fmla="*/ 1654175 w 2889264"/>
              <a:gd name="connsiteY30" fmla="*/ 114300 h 733425"/>
              <a:gd name="connsiteX31" fmla="*/ 1676400 w 2889264"/>
              <a:gd name="connsiteY31" fmla="*/ 130175 h 733425"/>
              <a:gd name="connsiteX32" fmla="*/ 1689100 w 2889264"/>
              <a:gd name="connsiteY32" fmla="*/ 136525 h 733425"/>
              <a:gd name="connsiteX33" fmla="*/ 1714500 w 2889264"/>
              <a:gd name="connsiteY33" fmla="*/ 146050 h 733425"/>
              <a:gd name="connsiteX34" fmla="*/ 1727200 w 2889264"/>
              <a:gd name="connsiteY34" fmla="*/ 155575 h 733425"/>
              <a:gd name="connsiteX35" fmla="*/ 1758950 w 2889264"/>
              <a:gd name="connsiteY35" fmla="*/ 165100 h 733425"/>
              <a:gd name="connsiteX36" fmla="*/ 1768475 w 2889264"/>
              <a:gd name="connsiteY36" fmla="*/ 171450 h 733425"/>
              <a:gd name="connsiteX37" fmla="*/ 1781175 w 2889264"/>
              <a:gd name="connsiteY37" fmla="*/ 180975 h 733425"/>
              <a:gd name="connsiteX38" fmla="*/ 1793875 w 2889264"/>
              <a:gd name="connsiteY38" fmla="*/ 187325 h 733425"/>
              <a:gd name="connsiteX39" fmla="*/ 1838325 w 2889264"/>
              <a:gd name="connsiteY39" fmla="*/ 212725 h 733425"/>
              <a:gd name="connsiteX40" fmla="*/ 1847850 w 2889264"/>
              <a:gd name="connsiteY40" fmla="*/ 222250 h 733425"/>
              <a:gd name="connsiteX41" fmla="*/ 1885950 w 2889264"/>
              <a:gd name="connsiteY41" fmla="*/ 241300 h 733425"/>
              <a:gd name="connsiteX42" fmla="*/ 1901825 w 2889264"/>
              <a:gd name="connsiteY42" fmla="*/ 250825 h 733425"/>
              <a:gd name="connsiteX43" fmla="*/ 1933575 w 2889264"/>
              <a:gd name="connsiteY43" fmla="*/ 263525 h 733425"/>
              <a:gd name="connsiteX44" fmla="*/ 1962150 w 2889264"/>
              <a:gd name="connsiteY44" fmla="*/ 276225 h 733425"/>
              <a:gd name="connsiteX45" fmla="*/ 1971675 w 2889264"/>
              <a:gd name="connsiteY45" fmla="*/ 282575 h 733425"/>
              <a:gd name="connsiteX46" fmla="*/ 1987550 w 2889264"/>
              <a:gd name="connsiteY46" fmla="*/ 288925 h 733425"/>
              <a:gd name="connsiteX47" fmla="*/ 2022475 w 2889264"/>
              <a:gd name="connsiteY47" fmla="*/ 301625 h 733425"/>
              <a:gd name="connsiteX48" fmla="*/ 2047875 w 2889264"/>
              <a:gd name="connsiteY48" fmla="*/ 314325 h 733425"/>
              <a:gd name="connsiteX49" fmla="*/ 2063750 w 2889264"/>
              <a:gd name="connsiteY49" fmla="*/ 320675 h 733425"/>
              <a:gd name="connsiteX50" fmla="*/ 2082800 w 2889264"/>
              <a:gd name="connsiteY50" fmla="*/ 330200 h 733425"/>
              <a:gd name="connsiteX51" fmla="*/ 2095500 w 2889264"/>
              <a:gd name="connsiteY51" fmla="*/ 333375 h 733425"/>
              <a:gd name="connsiteX52" fmla="*/ 2124075 w 2889264"/>
              <a:gd name="connsiteY52" fmla="*/ 342900 h 733425"/>
              <a:gd name="connsiteX53" fmla="*/ 2159000 w 2889264"/>
              <a:gd name="connsiteY53" fmla="*/ 358775 h 733425"/>
              <a:gd name="connsiteX54" fmla="*/ 2187575 w 2889264"/>
              <a:gd name="connsiteY54" fmla="*/ 377825 h 733425"/>
              <a:gd name="connsiteX55" fmla="*/ 2209800 w 2889264"/>
              <a:gd name="connsiteY55" fmla="*/ 393700 h 733425"/>
              <a:gd name="connsiteX56" fmla="*/ 2247900 w 2889264"/>
              <a:gd name="connsiteY56" fmla="*/ 419100 h 733425"/>
              <a:gd name="connsiteX57" fmla="*/ 2276475 w 2889264"/>
              <a:gd name="connsiteY57" fmla="*/ 434975 h 733425"/>
              <a:gd name="connsiteX58" fmla="*/ 2289175 w 2889264"/>
              <a:gd name="connsiteY58" fmla="*/ 444500 h 733425"/>
              <a:gd name="connsiteX59" fmla="*/ 2308225 w 2889264"/>
              <a:gd name="connsiteY59" fmla="*/ 447675 h 733425"/>
              <a:gd name="connsiteX60" fmla="*/ 2333625 w 2889264"/>
              <a:gd name="connsiteY60" fmla="*/ 460375 h 733425"/>
              <a:gd name="connsiteX61" fmla="*/ 2352675 w 2889264"/>
              <a:gd name="connsiteY61" fmla="*/ 466725 h 733425"/>
              <a:gd name="connsiteX62" fmla="*/ 2397125 w 2889264"/>
              <a:gd name="connsiteY62" fmla="*/ 488950 h 733425"/>
              <a:gd name="connsiteX63" fmla="*/ 2422525 w 2889264"/>
              <a:gd name="connsiteY63" fmla="*/ 495300 h 733425"/>
              <a:gd name="connsiteX64" fmla="*/ 2432050 w 2889264"/>
              <a:gd name="connsiteY64" fmla="*/ 498475 h 733425"/>
              <a:gd name="connsiteX65" fmla="*/ 2454275 w 2889264"/>
              <a:gd name="connsiteY65" fmla="*/ 511175 h 733425"/>
              <a:gd name="connsiteX66" fmla="*/ 2470150 w 2889264"/>
              <a:gd name="connsiteY66" fmla="*/ 523875 h 733425"/>
              <a:gd name="connsiteX67" fmla="*/ 2495550 w 2889264"/>
              <a:gd name="connsiteY67" fmla="*/ 533400 h 733425"/>
              <a:gd name="connsiteX68" fmla="*/ 2546350 w 2889264"/>
              <a:gd name="connsiteY68" fmla="*/ 558800 h 733425"/>
              <a:gd name="connsiteX69" fmla="*/ 2574925 w 2889264"/>
              <a:gd name="connsiteY69" fmla="*/ 565150 h 733425"/>
              <a:gd name="connsiteX70" fmla="*/ 2600325 w 2889264"/>
              <a:gd name="connsiteY70" fmla="*/ 577850 h 733425"/>
              <a:gd name="connsiteX71" fmla="*/ 2616200 w 2889264"/>
              <a:gd name="connsiteY71" fmla="*/ 581025 h 733425"/>
              <a:gd name="connsiteX72" fmla="*/ 2638425 w 2889264"/>
              <a:gd name="connsiteY72" fmla="*/ 587375 h 733425"/>
              <a:gd name="connsiteX73" fmla="*/ 2654300 w 2889264"/>
              <a:gd name="connsiteY73" fmla="*/ 596900 h 733425"/>
              <a:gd name="connsiteX74" fmla="*/ 2673350 w 2889264"/>
              <a:gd name="connsiteY74" fmla="*/ 603250 h 733425"/>
              <a:gd name="connsiteX75" fmla="*/ 2708275 w 2889264"/>
              <a:gd name="connsiteY75" fmla="*/ 625475 h 733425"/>
              <a:gd name="connsiteX76" fmla="*/ 2730500 w 2889264"/>
              <a:gd name="connsiteY76" fmla="*/ 635000 h 733425"/>
              <a:gd name="connsiteX77" fmla="*/ 2749550 w 2889264"/>
              <a:gd name="connsiteY77" fmla="*/ 650875 h 733425"/>
              <a:gd name="connsiteX78" fmla="*/ 2774950 w 2889264"/>
              <a:gd name="connsiteY78" fmla="*/ 663575 h 733425"/>
              <a:gd name="connsiteX79" fmla="*/ 2803525 w 2889264"/>
              <a:gd name="connsiteY79" fmla="*/ 676275 h 733425"/>
              <a:gd name="connsiteX80" fmla="*/ 2816225 w 2889264"/>
              <a:gd name="connsiteY80" fmla="*/ 685800 h 733425"/>
              <a:gd name="connsiteX81" fmla="*/ 2832100 w 2889264"/>
              <a:gd name="connsiteY81" fmla="*/ 692150 h 733425"/>
              <a:gd name="connsiteX82" fmla="*/ 2876550 w 2889264"/>
              <a:gd name="connsiteY82" fmla="*/ 723900 h 733425"/>
              <a:gd name="connsiteX83" fmla="*/ 2889250 w 2889264"/>
              <a:gd name="connsiteY83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327150 w 2889264"/>
              <a:gd name="connsiteY16" fmla="*/ 66675 h 733425"/>
              <a:gd name="connsiteX17" fmla="*/ 1390650 w 2889264"/>
              <a:gd name="connsiteY17" fmla="*/ 19050 h 733425"/>
              <a:gd name="connsiteX18" fmla="*/ 1416050 w 2889264"/>
              <a:gd name="connsiteY18" fmla="*/ 12700 h 733425"/>
              <a:gd name="connsiteX19" fmla="*/ 1428750 w 2889264"/>
              <a:gd name="connsiteY19" fmla="*/ 0 h 733425"/>
              <a:gd name="connsiteX20" fmla="*/ 1470025 w 2889264"/>
              <a:gd name="connsiteY20" fmla="*/ 28575 h 733425"/>
              <a:gd name="connsiteX21" fmla="*/ 1504950 w 2889264"/>
              <a:gd name="connsiteY21" fmla="*/ 41275 h 733425"/>
              <a:gd name="connsiteX22" fmla="*/ 1549400 w 2889264"/>
              <a:gd name="connsiteY22" fmla="*/ 60325 h 733425"/>
              <a:gd name="connsiteX23" fmla="*/ 1562100 w 2889264"/>
              <a:gd name="connsiteY23" fmla="*/ 69850 h 733425"/>
              <a:gd name="connsiteX24" fmla="*/ 1574800 w 2889264"/>
              <a:gd name="connsiteY24" fmla="*/ 73025 h 733425"/>
              <a:gd name="connsiteX25" fmla="*/ 1590675 w 2889264"/>
              <a:gd name="connsiteY25" fmla="*/ 79375 h 733425"/>
              <a:gd name="connsiteX26" fmla="*/ 1600200 w 2889264"/>
              <a:gd name="connsiteY26" fmla="*/ 85725 h 733425"/>
              <a:gd name="connsiteX27" fmla="*/ 1612900 w 2889264"/>
              <a:gd name="connsiteY27" fmla="*/ 92075 h 733425"/>
              <a:gd name="connsiteX28" fmla="*/ 1635125 w 2889264"/>
              <a:gd name="connsiteY28" fmla="*/ 104775 h 733425"/>
              <a:gd name="connsiteX29" fmla="*/ 1654175 w 2889264"/>
              <a:gd name="connsiteY29" fmla="*/ 114300 h 733425"/>
              <a:gd name="connsiteX30" fmla="*/ 1676400 w 2889264"/>
              <a:gd name="connsiteY30" fmla="*/ 130175 h 733425"/>
              <a:gd name="connsiteX31" fmla="*/ 1689100 w 2889264"/>
              <a:gd name="connsiteY31" fmla="*/ 136525 h 733425"/>
              <a:gd name="connsiteX32" fmla="*/ 1714500 w 2889264"/>
              <a:gd name="connsiteY32" fmla="*/ 146050 h 733425"/>
              <a:gd name="connsiteX33" fmla="*/ 1727200 w 2889264"/>
              <a:gd name="connsiteY33" fmla="*/ 155575 h 733425"/>
              <a:gd name="connsiteX34" fmla="*/ 1758950 w 2889264"/>
              <a:gd name="connsiteY34" fmla="*/ 165100 h 733425"/>
              <a:gd name="connsiteX35" fmla="*/ 1768475 w 2889264"/>
              <a:gd name="connsiteY35" fmla="*/ 171450 h 733425"/>
              <a:gd name="connsiteX36" fmla="*/ 1781175 w 2889264"/>
              <a:gd name="connsiteY36" fmla="*/ 180975 h 733425"/>
              <a:gd name="connsiteX37" fmla="*/ 1793875 w 2889264"/>
              <a:gd name="connsiteY37" fmla="*/ 187325 h 733425"/>
              <a:gd name="connsiteX38" fmla="*/ 1838325 w 2889264"/>
              <a:gd name="connsiteY38" fmla="*/ 212725 h 733425"/>
              <a:gd name="connsiteX39" fmla="*/ 1847850 w 2889264"/>
              <a:gd name="connsiteY39" fmla="*/ 222250 h 733425"/>
              <a:gd name="connsiteX40" fmla="*/ 1885950 w 2889264"/>
              <a:gd name="connsiteY40" fmla="*/ 241300 h 733425"/>
              <a:gd name="connsiteX41" fmla="*/ 1901825 w 2889264"/>
              <a:gd name="connsiteY41" fmla="*/ 250825 h 733425"/>
              <a:gd name="connsiteX42" fmla="*/ 1933575 w 2889264"/>
              <a:gd name="connsiteY42" fmla="*/ 263525 h 733425"/>
              <a:gd name="connsiteX43" fmla="*/ 1962150 w 2889264"/>
              <a:gd name="connsiteY43" fmla="*/ 276225 h 733425"/>
              <a:gd name="connsiteX44" fmla="*/ 1971675 w 2889264"/>
              <a:gd name="connsiteY44" fmla="*/ 282575 h 733425"/>
              <a:gd name="connsiteX45" fmla="*/ 1987550 w 2889264"/>
              <a:gd name="connsiteY45" fmla="*/ 288925 h 733425"/>
              <a:gd name="connsiteX46" fmla="*/ 2022475 w 2889264"/>
              <a:gd name="connsiteY46" fmla="*/ 301625 h 733425"/>
              <a:gd name="connsiteX47" fmla="*/ 2047875 w 2889264"/>
              <a:gd name="connsiteY47" fmla="*/ 314325 h 733425"/>
              <a:gd name="connsiteX48" fmla="*/ 2063750 w 2889264"/>
              <a:gd name="connsiteY48" fmla="*/ 320675 h 733425"/>
              <a:gd name="connsiteX49" fmla="*/ 2082800 w 2889264"/>
              <a:gd name="connsiteY49" fmla="*/ 330200 h 733425"/>
              <a:gd name="connsiteX50" fmla="*/ 2095500 w 2889264"/>
              <a:gd name="connsiteY50" fmla="*/ 333375 h 733425"/>
              <a:gd name="connsiteX51" fmla="*/ 2124075 w 2889264"/>
              <a:gd name="connsiteY51" fmla="*/ 342900 h 733425"/>
              <a:gd name="connsiteX52" fmla="*/ 2159000 w 2889264"/>
              <a:gd name="connsiteY52" fmla="*/ 358775 h 733425"/>
              <a:gd name="connsiteX53" fmla="*/ 2187575 w 2889264"/>
              <a:gd name="connsiteY53" fmla="*/ 377825 h 733425"/>
              <a:gd name="connsiteX54" fmla="*/ 2209800 w 2889264"/>
              <a:gd name="connsiteY54" fmla="*/ 393700 h 733425"/>
              <a:gd name="connsiteX55" fmla="*/ 2247900 w 2889264"/>
              <a:gd name="connsiteY55" fmla="*/ 419100 h 733425"/>
              <a:gd name="connsiteX56" fmla="*/ 2276475 w 2889264"/>
              <a:gd name="connsiteY56" fmla="*/ 434975 h 733425"/>
              <a:gd name="connsiteX57" fmla="*/ 2289175 w 2889264"/>
              <a:gd name="connsiteY57" fmla="*/ 444500 h 733425"/>
              <a:gd name="connsiteX58" fmla="*/ 2308225 w 2889264"/>
              <a:gd name="connsiteY58" fmla="*/ 447675 h 733425"/>
              <a:gd name="connsiteX59" fmla="*/ 2333625 w 2889264"/>
              <a:gd name="connsiteY59" fmla="*/ 460375 h 733425"/>
              <a:gd name="connsiteX60" fmla="*/ 2352675 w 2889264"/>
              <a:gd name="connsiteY60" fmla="*/ 466725 h 733425"/>
              <a:gd name="connsiteX61" fmla="*/ 2397125 w 2889264"/>
              <a:gd name="connsiteY61" fmla="*/ 488950 h 733425"/>
              <a:gd name="connsiteX62" fmla="*/ 2422525 w 2889264"/>
              <a:gd name="connsiteY62" fmla="*/ 495300 h 733425"/>
              <a:gd name="connsiteX63" fmla="*/ 2432050 w 2889264"/>
              <a:gd name="connsiteY63" fmla="*/ 498475 h 733425"/>
              <a:gd name="connsiteX64" fmla="*/ 2454275 w 2889264"/>
              <a:gd name="connsiteY64" fmla="*/ 511175 h 733425"/>
              <a:gd name="connsiteX65" fmla="*/ 2470150 w 2889264"/>
              <a:gd name="connsiteY65" fmla="*/ 523875 h 733425"/>
              <a:gd name="connsiteX66" fmla="*/ 2495550 w 2889264"/>
              <a:gd name="connsiteY66" fmla="*/ 533400 h 733425"/>
              <a:gd name="connsiteX67" fmla="*/ 2546350 w 2889264"/>
              <a:gd name="connsiteY67" fmla="*/ 558800 h 733425"/>
              <a:gd name="connsiteX68" fmla="*/ 2574925 w 2889264"/>
              <a:gd name="connsiteY68" fmla="*/ 565150 h 733425"/>
              <a:gd name="connsiteX69" fmla="*/ 2600325 w 2889264"/>
              <a:gd name="connsiteY69" fmla="*/ 577850 h 733425"/>
              <a:gd name="connsiteX70" fmla="*/ 2616200 w 2889264"/>
              <a:gd name="connsiteY70" fmla="*/ 581025 h 733425"/>
              <a:gd name="connsiteX71" fmla="*/ 2638425 w 2889264"/>
              <a:gd name="connsiteY71" fmla="*/ 587375 h 733425"/>
              <a:gd name="connsiteX72" fmla="*/ 2654300 w 2889264"/>
              <a:gd name="connsiteY72" fmla="*/ 596900 h 733425"/>
              <a:gd name="connsiteX73" fmla="*/ 2673350 w 2889264"/>
              <a:gd name="connsiteY73" fmla="*/ 603250 h 733425"/>
              <a:gd name="connsiteX74" fmla="*/ 2708275 w 2889264"/>
              <a:gd name="connsiteY74" fmla="*/ 625475 h 733425"/>
              <a:gd name="connsiteX75" fmla="*/ 2730500 w 2889264"/>
              <a:gd name="connsiteY75" fmla="*/ 635000 h 733425"/>
              <a:gd name="connsiteX76" fmla="*/ 2749550 w 2889264"/>
              <a:gd name="connsiteY76" fmla="*/ 650875 h 733425"/>
              <a:gd name="connsiteX77" fmla="*/ 2774950 w 2889264"/>
              <a:gd name="connsiteY77" fmla="*/ 663575 h 733425"/>
              <a:gd name="connsiteX78" fmla="*/ 2803525 w 2889264"/>
              <a:gd name="connsiteY78" fmla="*/ 676275 h 733425"/>
              <a:gd name="connsiteX79" fmla="*/ 2816225 w 2889264"/>
              <a:gd name="connsiteY79" fmla="*/ 685800 h 733425"/>
              <a:gd name="connsiteX80" fmla="*/ 2832100 w 2889264"/>
              <a:gd name="connsiteY80" fmla="*/ 692150 h 733425"/>
              <a:gd name="connsiteX81" fmla="*/ 2876550 w 2889264"/>
              <a:gd name="connsiteY81" fmla="*/ 723900 h 733425"/>
              <a:gd name="connsiteX82" fmla="*/ 2889250 w 2889264"/>
              <a:gd name="connsiteY82" fmla="*/ 733425 h 733425"/>
              <a:gd name="connsiteX0" fmla="*/ 0 w 2889264"/>
              <a:gd name="connsiteY0" fmla="*/ 720725 h 733425"/>
              <a:gd name="connsiteX1" fmla="*/ 111125 w 2889264"/>
              <a:gd name="connsiteY1" fmla="*/ 657225 h 733425"/>
              <a:gd name="connsiteX2" fmla="*/ 171450 w 2889264"/>
              <a:gd name="connsiteY2" fmla="*/ 628650 h 733425"/>
              <a:gd name="connsiteX3" fmla="*/ 247650 w 2889264"/>
              <a:gd name="connsiteY3" fmla="*/ 593725 h 733425"/>
              <a:gd name="connsiteX4" fmla="*/ 352425 w 2889264"/>
              <a:gd name="connsiteY4" fmla="*/ 555625 h 733425"/>
              <a:gd name="connsiteX5" fmla="*/ 463550 w 2889264"/>
              <a:gd name="connsiteY5" fmla="*/ 498475 h 733425"/>
              <a:gd name="connsiteX6" fmla="*/ 523875 w 2889264"/>
              <a:gd name="connsiteY6" fmla="*/ 469900 h 733425"/>
              <a:gd name="connsiteX7" fmla="*/ 612775 w 2889264"/>
              <a:gd name="connsiteY7" fmla="*/ 428625 h 733425"/>
              <a:gd name="connsiteX8" fmla="*/ 657225 w 2889264"/>
              <a:gd name="connsiteY8" fmla="*/ 406400 h 733425"/>
              <a:gd name="connsiteX9" fmla="*/ 736600 w 2889264"/>
              <a:gd name="connsiteY9" fmla="*/ 368300 h 733425"/>
              <a:gd name="connsiteX10" fmla="*/ 800100 w 2889264"/>
              <a:gd name="connsiteY10" fmla="*/ 336550 h 733425"/>
              <a:gd name="connsiteX11" fmla="*/ 898525 w 2889264"/>
              <a:gd name="connsiteY11" fmla="*/ 288925 h 733425"/>
              <a:gd name="connsiteX12" fmla="*/ 958850 w 2889264"/>
              <a:gd name="connsiteY12" fmla="*/ 247650 h 733425"/>
              <a:gd name="connsiteX13" fmla="*/ 1050925 w 2889264"/>
              <a:gd name="connsiteY13" fmla="*/ 212725 h 733425"/>
              <a:gd name="connsiteX14" fmla="*/ 1079500 w 2889264"/>
              <a:gd name="connsiteY14" fmla="*/ 200025 h 733425"/>
              <a:gd name="connsiteX15" fmla="*/ 1181100 w 2889264"/>
              <a:gd name="connsiteY15" fmla="*/ 152400 h 733425"/>
              <a:gd name="connsiteX16" fmla="*/ 1327150 w 2889264"/>
              <a:gd name="connsiteY16" fmla="*/ 66675 h 733425"/>
              <a:gd name="connsiteX17" fmla="*/ 1390650 w 2889264"/>
              <a:gd name="connsiteY17" fmla="*/ 19050 h 733425"/>
              <a:gd name="connsiteX18" fmla="*/ 1416050 w 2889264"/>
              <a:gd name="connsiteY18" fmla="*/ 12700 h 733425"/>
              <a:gd name="connsiteX19" fmla="*/ 1428750 w 2889264"/>
              <a:gd name="connsiteY19" fmla="*/ 0 h 733425"/>
              <a:gd name="connsiteX20" fmla="*/ 1504950 w 2889264"/>
              <a:gd name="connsiteY20" fmla="*/ 41275 h 733425"/>
              <a:gd name="connsiteX21" fmla="*/ 1549400 w 2889264"/>
              <a:gd name="connsiteY21" fmla="*/ 60325 h 733425"/>
              <a:gd name="connsiteX22" fmla="*/ 1562100 w 2889264"/>
              <a:gd name="connsiteY22" fmla="*/ 69850 h 733425"/>
              <a:gd name="connsiteX23" fmla="*/ 1574800 w 2889264"/>
              <a:gd name="connsiteY23" fmla="*/ 73025 h 733425"/>
              <a:gd name="connsiteX24" fmla="*/ 1590675 w 2889264"/>
              <a:gd name="connsiteY24" fmla="*/ 79375 h 733425"/>
              <a:gd name="connsiteX25" fmla="*/ 1600200 w 2889264"/>
              <a:gd name="connsiteY25" fmla="*/ 85725 h 733425"/>
              <a:gd name="connsiteX26" fmla="*/ 1612900 w 2889264"/>
              <a:gd name="connsiteY26" fmla="*/ 92075 h 733425"/>
              <a:gd name="connsiteX27" fmla="*/ 1635125 w 2889264"/>
              <a:gd name="connsiteY27" fmla="*/ 104775 h 733425"/>
              <a:gd name="connsiteX28" fmla="*/ 1654175 w 2889264"/>
              <a:gd name="connsiteY28" fmla="*/ 114300 h 733425"/>
              <a:gd name="connsiteX29" fmla="*/ 1676400 w 2889264"/>
              <a:gd name="connsiteY29" fmla="*/ 130175 h 733425"/>
              <a:gd name="connsiteX30" fmla="*/ 1689100 w 2889264"/>
              <a:gd name="connsiteY30" fmla="*/ 136525 h 733425"/>
              <a:gd name="connsiteX31" fmla="*/ 1714500 w 2889264"/>
              <a:gd name="connsiteY31" fmla="*/ 146050 h 733425"/>
              <a:gd name="connsiteX32" fmla="*/ 1727200 w 2889264"/>
              <a:gd name="connsiteY32" fmla="*/ 155575 h 733425"/>
              <a:gd name="connsiteX33" fmla="*/ 1758950 w 2889264"/>
              <a:gd name="connsiteY33" fmla="*/ 165100 h 733425"/>
              <a:gd name="connsiteX34" fmla="*/ 1768475 w 2889264"/>
              <a:gd name="connsiteY34" fmla="*/ 171450 h 733425"/>
              <a:gd name="connsiteX35" fmla="*/ 1781175 w 2889264"/>
              <a:gd name="connsiteY35" fmla="*/ 180975 h 733425"/>
              <a:gd name="connsiteX36" fmla="*/ 1793875 w 2889264"/>
              <a:gd name="connsiteY36" fmla="*/ 187325 h 733425"/>
              <a:gd name="connsiteX37" fmla="*/ 1838325 w 2889264"/>
              <a:gd name="connsiteY37" fmla="*/ 212725 h 733425"/>
              <a:gd name="connsiteX38" fmla="*/ 1847850 w 2889264"/>
              <a:gd name="connsiteY38" fmla="*/ 222250 h 733425"/>
              <a:gd name="connsiteX39" fmla="*/ 1885950 w 2889264"/>
              <a:gd name="connsiteY39" fmla="*/ 241300 h 733425"/>
              <a:gd name="connsiteX40" fmla="*/ 1901825 w 2889264"/>
              <a:gd name="connsiteY40" fmla="*/ 250825 h 733425"/>
              <a:gd name="connsiteX41" fmla="*/ 1933575 w 2889264"/>
              <a:gd name="connsiteY41" fmla="*/ 263525 h 733425"/>
              <a:gd name="connsiteX42" fmla="*/ 1962150 w 2889264"/>
              <a:gd name="connsiteY42" fmla="*/ 276225 h 733425"/>
              <a:gd name="connsiteX43" fmla="*/ 1971675 w 2889264"/>
              <a:gd name="connsiteY43" fmla="*/ 282575 h 733425"/>
              <a:gd name="connsiteX44" fmla="*/ 1987550 w 2889264"/>
              <a:gd name="connsiteY44" fmla="*/ 288925 h 733425"/>
              <a:gd name="connsiteX45" fmla="*/ 2022475 w 2889264"/>
              <a:gd name="connsiteY45" fmla="*/ 301625 h 733425"/>
              <a:gd name="connsiteX46" fmla="*/ 2047875 w 2889264"/>
              <a:gd name="connsiteY46" fmla="*/ 314325 h 733425"/>
              <a:gd name="connsiteX47" fmla="*/ 2063750 w 2889264"/>
              <a:gd name="connsiteY47" fmla="*/ 320675 h 733425"/>
              <a:gd name="connsiteX48" fmla="*/ 2082800 w 2889264"/>
              <a:gd name="connsiteY48" fmla="*/ 330200 h 733425"/>
              <a:gd name="connsiteX49" fmla="*/ 2095500 w 2889264"/>
              <a:gd name="connsiteY49" fmla="*/ 333375 h 733425"/>
              <a:gd name="connsiteX50" fmla="*/ 2124075 w 2889264"/>
              <a:gd name="connsiteY50" fmla="*/ 342900 h 733425"/>
              <a:gd name="connsiteX51" fmla="*/ 2159000 w 2889264"/>
              <a:gd name="connsiteY51" fmla="*/ 358775 h 733425"/>
              <a:gd name="connsiteX52" fmla="*/ 2187575 w 2889264"/>
              <a:gd name="connsiteY52" fmla="*/ 377825 h 733425"/>
              <a:gd name="connsiteX53" fmla="*/ 2209800 w 2889264"/>
              <a:gd name="connsiteY53" fmla="*/ 393700 h 733425"/>
              <a:gd name="connsiteX54" fmla="*/ 2247900 w 2889264"/>
              <a:gd name="connsiteY54" fmla="*/ 419100 h 733425"/>
              <a:gd name="connsiteX55" fmla="*/ 2276475 w 2889264"/>
              <a:gd name="connsiteY55" fmla="*/ 434975 h 733425"/>
              <a:gd name="connsiteX56" fmla="*/ 2289175 w 2889264"/>
              <a:gd name="connsiteY56" fmla="*/ 444500 h 733425"/>
              <a:gd name="connsiteX57" fmla="*/ 2308225 w 2889264"/>
              <a:gd name="connsiteY57" fmla="*/ 447675 h 733425"/>
              <a:gd name="connsiteX58" fmla="*/ 2333625 w 2889264"/>
              <a:gd name="connsiteY58" fmla="*/ 460375 h 733425"/>
              <a:gd name="connsiteX59" fmla="*/ 2352675 w 2889264"/>
              <a:gd name="connsiteY59" fmla="*/ 466725 h 733425"/>
              <a:gd name="connsiteX60" fmla="*/ 2397125 w 2889264"/>
              <a:gd name="connsiteY60" fmla="*/ 488950 h 733425"/>
              <a:gd name="connsiteX61" fmla="*/ 2422525 w 2889264"/>
              <a:gd name="connsiteY61" fmla="*/ 495300 h 733425"/>
              <a:gd name="connsiteX62" fmla="*/ 2432050 w 2889264"/>
              <a:gd name="connsiteY62" fmla="*/ 498475 h 733425"/>
              <a:gd name="connsiteX63" fmla="*/ 2454275 w 2889264"/>
              <a:gd name="connsiteY63" fmla="*/ 511175 h 733425"/>
              <a:gd name="connsiteX64" fmla="*/ 2470150 w 2889264"/>
              <a:gd name="connsiteY64" fmla="*/ 523875 h 733425"/>
              <a:gd name="connsiteX65" fmla="*/ 2495550 w 2889264"/>
              <a:gd name="connsiteY65" fmla="*/ 533400 h 733425"/>
              <a:gd name="connsiteX66" fmla="*/ 2546350 w 2889264"/>
              <a:gd name="connsiteY66" fmla="*/ 558800 h 733425"/>
              <a:gd name="connsiteX67" fmla="*/ 2574925 w 2889264"/>
              <a:gd name="connsiteY67" fmla="*/ 565150 h 733425"/>
              <a:gd name="connsiteX68" fmla="*/ 2600325 w 2889264"/>
              <a:gd name="connsiteY68" fmla="*/ 577850 h 733425"/>
              <a:gd name="connsiteX69" fmla="*/ 2616200 w 2889264"/>
              <a:gd name="connsiteY69" fmla="*/ 581025 h 733425"/>
              <a:gd name="connsiteX70" fmla="*/ 2638425 w 2889264"/>
              <a:gd name="connsiteY70" fmla="*/ 587375 h 733425"/>
              <a:gd name="connsiteX71" fmla="*/ 2654300 w 2889264"/>
              <a:gd name="connsiteY71" fmla="*/ 596900 h 733425"/>
              <a:gd name="connsiteX72" fmla="*/ 2673350 w 2889264"/>
              <a:gd name="connsiteY72" fmla="*/ 603250 h 733425"/>
              <a:gd name="connsiteX73" fmla="*/ 2708275 w 2889264"/>
              <a:gd name="connsiteY73" fmla="*/ 625475 h 733425"/>
              <a:gd name="connsiteX74" fmla="*/ 2730500 w 2889264"/>
              <a:gd name="connsiteY74" fmla="*/ 635000 h 733425"/>
              <a:gd name="connsiteX75" fmla="*/ 2749550 w 2889264"/>
              <a:gd name="connsiteY75" fmla="*/ 650875 h 733425"/>
              <a:gd name="connsiteX76" fmla="*/ 2774950 w 2889264"/>
              <a:gd name="connsiteY76" fmla="*/ 663575 h 733425"/>
              <a:gd name="connsiteX77" fmla="*/ 2803525 w 2889264"/>
              <a:gd name="connsiteY77" fmla="*/ 676275 h 733425"/>
              <a:gd name="connsiteX78" fmla="*/ 2816225 w 2889264"/>
              <a:gd name="connsiteY78" fmla="*/ 685800 h 733425"/>
              <a:gd name="connsiteX79" fmla="*/ 2832100 w 2889264"/>
              <a:gd name="connsiteY79" fmla="*/ 692150 h 733425"/>
              <a:gd name="connsiteX80" fmla="*/ 2876550 w 2889264"/>
              <a:gd name="connsiteY80" fmla="*/ 723900 h 733425"/>
              <a:gd name="connsiteX81" fmla="*/ 2889250 w 2889264"/>
              <a:gd name="connsiteY81" fmla="*/ 733425 h 733425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562100 w 2889264"/>
              <a:gd name="connsiteY21" fmla="*/ 59154 h 722729"/>
              <a:gd name="connsiteX22" fmla="*/ 1574800 w 2889264"/>
              <a:gd name="connsiteY22" fmla="*/ 62329 h 722729"/>
              <a:gd name="connsiteX23" fmla="*/ 1590675 w 2889264"/>
              <a:gd name="connsiteY23" fmla="*/ 68679 h 722729"/>
              <a:gd name="connsiteX24" fmla="*/ 1600200 w 2889264"/>
              <a:gd name="connsiteY24" fmla="*/ 75029 h 722729"/>
              <a:gd name="connsiteX25" fmla="*/ 1612900 w 2889264"/>
              <a:gd name="connsiteY25" fmla="*/ 81379 h 722729"/>
              <a:gd name="connsiteX26" fmla="*/ 1635125 w 2889264"/>
              <a:gd name="connsiteY26" fmla="*/ 94079 h 722729"/>
              <a:gd name="connsiteX27" fmla="*/ 1654175 w 2889264"/>
              <a:gd name="connsiteY27" fmla="*/ 103604 h 722729"/>
              <a:gd name="connsiteX28" fmla="*/ 1676400 w 2889264"/>
              <a:gd name="connsiteY28" fmla="*/ 119479 h 722729"/>
              <a:gd name="connsiteX29" fmla="*/ 1689100 w 2889264"/>
              <a:gd name="connsiteY29" fmla="*/ 125829 h 722729"/>
              <a:gd name="connsiteX30" fmla="*/ 1714500 w 2889264"/>
              <a:gd name="connsiteY30" fmla="*/ 135354 h 722729"/>
              <a:gd name="connsiteX31" fmla="*/ 1727200 w 2889264"/>
              <a:gd name="connsiteY31" fmla="*/ 144879 h 722729"/>
              <a:gd name="connsiteX32" fmla="*/ 1758950 w 2889264"/>
              <a:gd name="connsiteY32" fmla="*/ 154404 h 722729"/>
              <a:gd name="connsiteX33" fmla="*/ 1768475 w 2889264"/>
              <a:gd name="connsiteY33" fmla="*/ 160754 h 722729"/>
              <a:gd name="connsiteX34" fmla="*/ 1781175 w 2889264"/>
              <a:gd name="connsiteY34" fmla="*/ 170279 h 722729"/>
              <a:gd name="connsiteX35" fmla="*/ 1793875 w 2889264"/>
              <a:gd name="connsiteY35" fmla="*/ 176629 h 722729"/>
              <a:gd name="connsiteX36" fmla="*/ 1838325 w 2889264"/>
              <a:gd name="connsiteY36" fmla="*/ 202029 h 722729"/>
              <a:gd name="connsiteX37" fmla="*/ 1847850 w 2889264"/>
              <a:gd name="connsiteY37" fmla="*/ 211554 h 722729"/>
              <a:gd name="connsiteX38" fmla="*/ 1885950 w 2889264"/>
              <a:gd name="connsiteY38" fmla="*/ 230604 h 722729"/>
              <a:gd name="connsiteX39" fmla="*/ 1901825 w 2889264"/>
              <a:gd name="connsiteY39" fmla="*/ 240129 h 722729"/>
              <a:gd name="connsiteX40" fmla="*/ 1933575 w 2889264"/>
              <a:gd name="connsiteY40" fmla="*/ 252829 h 722729"/>
              <a:gd name="connsiteX41" fmla="*/ 1962150 w 2889264"/>
              <a:gd name="connsiteY41" fmla="*/ 265529 h 722729"/>
              <a:gd name="connsiteX42" fmla="*/ 1971675 w 2889264"/>
              <a:gd name="connsiteY42" fmla="*/ 271879 h 722729"/>
              <a:gd name="connsiteX43" fmla="*/ 1987550 w 2889264"/>
              <a:gd name="connsiteY43" fmla="*/ 278229 h 722729"/>
              <a:gd name="connsiteX44" fmla="*/ 2022475 w 2889264"/>
              <a:gd name="connsiteY44" fmla="*/ 290929 h 722729"/>
              <a:gd name="connsiteX45" fmla="*/ 2047875 w 2889264"/>
              <a:gd name="connsiteY45" fmla="*/ 303629 h 722729"/>
              <a:gd name="connsiteX46" fmla="*/ 2063750 w 2889264"/>
              <a:gd name="connsiteY46" fmla="*/ 309979 h 722729"/>
              <a:gd name="connsiteX47" fmla="*/ 2082800 w 2889264"/>
              <a:gd name="connsiteY47" fmla="*/ 319504 h 722729"/>
              <a:gd name="connsiteX48" fmla="*/ 2095500 w 2889264"/>
              <a:gd name="connsiteY48" fmla="*/ 322679 h 722729"/>
              <a:gd name="connsiteX49" fmla="*/ 2124075 w 2889264"/>
              <a:gd name="connsiteY49" fmla="*/ 332204 h 722729"/>
              <a:gd name="connsiteX50" fmla="*/ 2159000 w 2889264"/>
              <a:gd name="connsiteY50" fmla="*/ 348079 h 722729"/>
              <a:gd name="connsiteX51" fmla="*/ 2187575 w 2889264"/>
              <a:gd name="connsiteY51" fmla="*/ 367129 h 722729"/>
              <a:gd name="connsiteX52" fmla="*/ 2209800 w 2889264"/>
              <a:gd name="connsiteY52" fmla="*/ 383004 h 722729"/>
              <a:gd name="connsiteX53" fmla="*/ 2247900 w 2889264"/>
              <a:gd name="connsiteY53" fmla="*/ 408404 h 722729"/>
              <a:gd name="connsiteX54" fmla="*/ 2276475 w 2889264"/>
              <a:gd name="connsiteY54" fmla="*/ 424279 h 722729"/>
              <a:gd name="connsiteX55" fmla="*/ 2289175 w 2889264"/>
              <a:gd name="connsiteY55" fmla="*/ 433804 h 722729"/>
              <a:gd name="connsiteX56" fmla="*/ 2308225 w 2889264"/>
              <a:gd name="connsiteY56" fmla="*/ 436979 h 722729"/>
              <a:gd name="connsiteX57" fmla="*/ 2333625 w 2889264"/>
              <a:gd name="connsiteY57" fmla="*/ 449679 h 722729"/>
              <a:gd name="connsiteX58" fmla="*/ 2352675 w 2889264"/>
              <a:gd name="connsiteY58" fmla="*/ 456029 h 722729"/>
              <a:gd name="connsiteX59" fmla="*/ 2397125 w 2889264"/>
              <a:gd name="connsiteY59" fmla="*/ 478254 h 722729"/>
              <a:gd name="connsiteX60" fmla="*/ 2422525 w 2889264"/>
              <a:gd name="connsiteY60" fmla="*/ 484604 h 722729"/>
              <a:gd name="connsiteX61" fmla="*/ 2432050 w 2889264"/>
              <a:gd name="connsiteY61" fmla="*/ 487779 h 722729"/>
              <a:gd name="connsiteX62" fmla="*/ 2454275 w 2889264"/>
              <a:gd name="connsiteY62" fmla="*/ 500479 h 722729"/>
              <a:gd name="connsiteX63" fmla="*/ 2470150 w 2889264"/>
              <a:gd name="connsiteY63" fmla="*/ 513179 h 722729"/>
              <a:gd name="connsiteX64" fmla="*/ 2495550 w 2889264"/>
              <a:gd name="connsiteY64" fmla="*/ 522704 h 722729"/>
              <a:gd name="connsiteX65" fmla="*/ 2546350 w 2889264"/>
              <a:gd name="connsiteY65" fmla="*/ 548104 h 722729"/>
              <a:gd name="connsiteX66" fmla="*/ 2574925 w 2889264"/>
              <a:gd name="connsiteY66" fmla="*/ 554454 h 722729"/>
              <a:gd name="connsiteX67" fmla="*/ 2600325 w 2889264"/>
              <a:gd name="connsiteY67" fmla="*/ 567154 h 722729"/>
              <a:gd name="connsiteX68" fmla="*/ 2616200 w 2889264"/>
              <a:gd name="connsiteY68" fmla="*/ 570329 h 722729"/>
              <a:gd name="connsiteX69" fmla="*/ 2638425 w 2889264"/>
              <a:gd name="connsiteY69" fmla="*/ 576679 h 722729"/>
              <a:gd name="connsiteX70" fmla="*/ 2654300 w 2889264"/>
              <a:gd name="connsiteY70" fmla="*/ 586204 h 722729"/>
              <a:gd name="connsiteX71" fmla="*/ 2673350 w 2889264"/>
              <a:gd name="connsiteY71" fmla="*/ 592554 h 722729"/>
              <a:gd name="connsiteX72" fmla="*/ 2708275 w 2889264"/>
              <a:gd name="connsiteY72" fmla="*/ 614779 h 722729"/>
              <a:gd name="connsiteX73" fmla="*/ 2730500 w 2889264"/>
              <a:gd name="connsiteY73" fmla="*/ 624304 h 722729"/>
              <a:gd name="connsiteX74" fmla="*/ 2749550 w 2889264"/>
              <a:gd name="connsiteY74" fmla="*/ 640179 h 722729"/>
              <a:gd name="connsiteX75" fmla="*/ 2774950 w 2889264"/>
              <a:gd name="connsiteY75" fmla="*/ 652879 h 722729"/>
              <a:gd name="connsiteX76" fmla="*/ 2803525 w 2889264"/>
              <a:gd name="connsiteY76" fmla="*/ 665579 h 722729"/>
              <a:gd name="connsiteX77" fmla="*/ 2816225 w 2889264"/>
              <a:gd name="connsiteY77" fmla="*/ 675104 h 722729"/>
              <a:gd name="connsiteX78" fmla="*/ 2832100 w 2889264"/>
              <a:gd name="connsiteY78" fmla="*/ 681454 h 722729"/>
              <a:gd name="connsiteX79" fmla="*/ 2876550 w 2889264"/>
              <a:gd name="connsiteY79" fmla="*/ 713204 h 722729"/>
              <a:gd name="connsiteX80" fmla="*/ 2889250 w 2889264"/>
              <a:gd name="connsiteY80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562100 w 2889264"/>
              <a:gd name="connsiteY21" fmla="*/ 59154 h 722729"/>
              <a:gd name="connsiteX22" fmla="*/ 1574800 w 2889264"/>
              <a:gd name="connsiteY22" fmla="*/ 62329 h 722729"/>
              <a:gd name="connsiteX23" fmla="*/ 1590675 w 2889264"/>
              <a:gd name="connsiteY23" fmla="*/ 68679 h 722729"/>
              <a:gd name="connsiteX24" fmla="*/ 1600200 w 2889264"/>
              <a:gd name="connsiteY24" fmla="*/ 75029 h 722729"/>
              <a:gd name="connsiteX25" fmla="*/ 1612900 w 2889264"/>
              <a:gd name="connsiteY25" fmla="*/ 81379 h 722729"/>
              <a:gd name="connsiteX26" fmla="*/ 1635125 w 2889264"/>
              <a:gd name="connsiteY26" fmla="*/ 94079 h 722729"/>
              <a:gd name="connsiteX27" fmla="*/ 1676400 w 2889264"/>
              <a:gd name="connsiteY27" fmla="*/ 119479 h 722729"/>
              <a:gd name="connsiteX28" fmla="*/ 1689100 w 2889264"/>
              <a:gd name="connsiteY28" fmla="*/ 125829 h 722729"/>
              <a:gd name="connsiteX29" fmla="*/ 1714500 w 2889264"/>
              <a:gd name="connsiteY29" fmla="*/ 135354 h 722729"/>
              <a:gd name="connsiteX30" fmla="*/ 1727200 w 2889264"/>
              <a:gd name="connsiteY30" fmla="*/ 144879 h 722729"/>
              <a:gd name="connsiteX31" fmla="*/ 1758950 w 2889264"/>
              <a:gd name="connsiteY31" fmla="*/ 154404 h 722729"/>
              <a:gd name="connsiteX32" fmla="*/ 1768475 w 2889264"/>
              <a:gd name="connsiteY32" fmla="*/ 160754 h 722729"/>
              <a:gd name="connsiteX33" fmla="*/ 1781175 w 2889264"/>
              <a:gd name="connsiteY33" fmla="*/ 170279 h 722729"/>
              <a:gd name="connsiteX34" fmla="*/ 1793875 w 2889264"/>
              <a:gd name="connsiteY34" fmla="*/ 176629 h 722729"/>
              <a:gd name="connsiteX35" fmla="*/ 1838325 w 2889264"/>
              <a:gd name="connsiteY35" fmla="*/ 202029 h 722729"/>
              <a:gd name="connsiteX36" fmla="*/ 1847850 w 2889264"/>
              <a:gd name="connsiteY36" fmla="*/ 211554 h 722729"/>
              <a:gd name="connsiteX37" fmla="*/ 1885950 w 2889264"/>
              <a:gd name="connsiteY37" fmla="*/ 230604 h 722729"/>
              <a:gd name="connsiteX38" fmla="*/ 1901825 w 2889264"/>
              <a:gd name="connsiteY38" fmla="*/ 240129 h 722729"/>
              <a:gd name="connsiteX39" fmla="*/ 1933575 w 2889264"/>
              <a:gd name="connsiteY39" fmla="*/ 252829 h 722729"/>
              <a:gd name="connsiteX40" fmla="*/ 1962150 w 2889264"/>
              <a:gd name="connsiteY40" fmla="*/ 265529 h 722729"/>
              <a:gd name="connsiteX41" fmla="*/ 1971675 w 2889264"/>
              <a:gd name="connsiteY41" fmla="*/ 271879 h 722729"/>
              <a:gd name="connsiteX42" fmla="*/ 1987550 w 2889264"/>
              <a:gd name="connsiteY42" fmla="*/ 278229 h 722729"/>
              <a:gd name="connsiteX43" fmla="*/ 2022475 w 2889264"/>
              <a:gd name="connsiteY43" fmla="*/ 290929 h 722729"/>
              <a:gd name="connsiteX44" fmla="*/ 2047875 w 2889264"/>
              <a:gd name="connsiteY44" fmla="*/ 303629 h 722729"/>
              <a:gd name="connsiteX45" fmla="*/ 2063750 w 2889264"/>
              <a:gd name="connsiteY45" fmla="*/ 309979 h 722729"/>
              <a:gd name="connsiteX46" fmla="*/ 2082800 w 2889264"/>
              <a:gd name="connsiteY46" fmla="*/ 319504 h 722729"/>
              <a:gd name="connsiteX47" fmla="*/ 2095500 w 2889264"/>
              <a:gd name="connsiteY47" fmla="*/ 322679 h 722729"/>
              <a:gd name="connsiteX48" fmla="*/ 2124075 w 2889264"/>
              <a:gd name="connsiteY48" fmla="*/ 332204 h 722729"/>
              <a:gd name="connsiteX49" fmla="*/ 2159000 w 2889264"/>
              <a:gd name="connsiteY49" fmla="*/ 348079 h 722729"/>
              <a:gd name="connsiteX50" fmla="*/ 2187575 w 2889264"/>
              <a:gd name="connsiteY50" fmla="*/ 367129 h 722729"/>
              <a:gd name="connsiteX51" fmla="*/ 2209800 w 2889264"/>
              <a:gd name="connsiteY51" fmla="*/ 383004 h 722729"/>
              <a:gd name="connsiteX52" fmla="*/ 2247900 w 2889264"/>
              <a:gd name="connsiteY52" fmla="*/ 408404 h 722729"/>
              <a:gd name="connsiteX53" fmla="*/ 2276475 w 2889264"/>
              <a:gd name="connsiteY53" fmla="*/ 424279 h 722729"/>
              <a:gd name="connsiteX54" fmla="*/ 2289175 w 2889264"/>
              <a:gd name="connsiteY54" fmla="*/ 433804 h 722729"/>
              <a:gd name="connsiteX55" fmla="*/ 2308225 w 2889264"/>
              <a:gd name="connsiteY55" fmla="*/ 436979 h 722729"/>
              <a:gd name="connsiteX56" fmla="*/ 2333625 w 2889264"/>
              <a:gd name="connsiteY56" fmla="*/ 449679 h 722729"/>
              <a:gd name="connsiteX57" fmla="*/ 2352675 w 2889264"/>
              <a:gd name="connsiteY57" fmla="*/ 456029 h 722729"/>
              <a:gd name="connsiteX58" fmla="*/ 2397125 w 2889264"/>
              <a:gd name="connsiteY58" fmla="*/ 478254 h 722729"/>
              <a:gd name="connsiteX59" fmla="*/ 2422525 w 2889264"/>
              <a:gd name="connsiteY59" fmla="*/ 484604 h 722729"/>
              <a:gd name="connsiteX60" fmla="*/ 2432050 w 2889264"/>
              <a:gd name="connsiteY60" fmla="*/ 487779 h 722729"/>
              <a:gd name="connsiteX61" fmla="*/ 2454275 w 2889264"/>
              <a:gd name="connsiteY61" fmla="*/ 500479 h 722729"/>
              <a:gd name="connsiteX62" fmla="*/ 2470150 w 2889264"/>
              <a:gd name="connsiteY62" fmla="*/ 513179 h 722729"/>
              <a:gd name="connsiteX63" fmla="*/ 2495550 w 2889264"/>
              <a:gd name="connsiteY63" fmla="*/ 522704 h 722729"/>
              <a:gd name="connsiteX64" fmla="*/ 2546350 w 2889264"/>
              <a:gd name="connsiteY64" fmla="*/ 548104 h 722729"/>
              <a:gd name="connsiteX65" fmla="*/ 2574925 w 2889264"/>
              <a:gd name="connsiteY65" fmla="*/ 554454 h 722729"/>
              <a:gd name="connsiteX66" fmla="*/ 2600325 w 2889264"/>
              <a:gd name="connsiteY66" fmla="*/ 567154 h 722729"/>
              <a:gd name="connsiteX67" fmla="*/ 2616200 w 2889264"/>
              <a:gd name="connsiteY67" fmla="*/ 570329 h 722729"/>
              <a:gd name="connsiteX68" fmla="*/ 2638425 w 2889264"/>
              <a:gd name="connsiteY68" fmla="*/ 576679 h 722729"/>
              <a:gd name="connsiteX69" fmla="*/ 2654300 w 2889264"/>
              <a:gd name="connsiteY69" fmla="*/ 586204 h 722729"/>
              <a:gd name="connsiteX70" fmla="*/ 2673350 w 2889264"/>
              <a:gd name="connsiteY70" fmla="*/ 592554 h 722729"/>
              <a:gd name="connsiteX71" fmla="*/ 2708275 w 2889264"/>
              <a:gd name="connsiteY71" fmla="*/ 614779 h 722729"/>
              <a:gd name="connsiteX72" fmla="*/ 2730500 w 2889264"/>
              <a:gd name="connsiteY72" fmla="*/ 624304 h 722729"/>
              <a:gd name="connsiteX73" fmla="*/ 2749550 w 2889264"/>
              <a:gd name="connsiteY73" fmla="*/ 640179 h 722729"/>
              <a:gd name="connsiteX74" fmla="*/ 2774950 w 2889264"/>
              <a:gd name="connsiteY74" fmla="*/ 652879 h 722729"/>
              <a:gd name="connsiteX75" fmla="*/ 2803525 w 2889264"/>
              <a:gd name="connsiteY75" fmla="*/ 665579 h 722729"/>
              <a:gd name="connsiteX76" fmla="*/ 2816225 w 2889264"/>
              <a:gd name="connsiteY76" fmla="*/ 675104 h 722729"/>
              <a:gd name="connsiteX77" fmla="*/ 2832100 w 2889264"/>
              <a:gd name="connsiteY77" fmla="*/ 681454 h 722729"/>
              <a:gd name="connsiteX78" fmla="*/ 2876550 w 2889264"/>
              <a:gd name="connsiteY78" fmla="*/ 713204 h 722729"/>
              <a:gd name="connsiteX79" fmla="*/ 2889250 w 2889264"/>
              <a:gd name="connsiteY79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562100 w 2889264"/>
              <a:gd name="connsiteY21" fmla="*/ 59154 h 722729"/>
              <a:gd name="connsiteX22" fmla="*/ 1574800 w 2889264"/>
              <a:gd name="connsiteY22" fmla="*/ 62329 h 722729"/>
              <a:gd name="connsiteX23" fmla="*/ 1590675 w 2889264"/>
              <a:gd name="connsiteY23" fmla="*/ 68679 h 722729"/>
              <a:gd name="connsiteX24" fmla="*/ 1600200 w 2889264"/>
              <a:gd name="connsiteY24" fmla="*/ 75029 h 722729"/>
              <a:gd name="connsiteX25" fmla="*/ 1612900 w 2889264"/>
              <a:gd name="connsiteY25" fmla="*/ 81379 h 722729"/>
              <a:gd name="connsiteX26" fmla="*/ 1635125 w 2889264"/>
              <a:gd name="connsiteY26" fmla="*/ 94079 h 722729"/>
              <a:gd name="connsiteX27" fmla="*/ 1676400 w 2889264"/>
              <a:gd name="connsiteY27" fmla="*/ 119479 h 722729"/>
              <a:gd name="connsiteX28" fmla="*/ 1714500 w 2889264"/>
              <a:gd name="connsiteY28" fmla="*/ 135354 h 722729"/>
              <a:gd name="connsiteX29" fmla="*/ 1727200 w 2889264"/>
              <a:gd name="connsiteY29" fmla="*/ 144879 h 722729"/>
              <a:gd name="connsiteX30" fmla="*/ 1758950 w 2889264"/>
              <a:gd name="connsiteY30" fmla="*/ 154404 h 722729"/>
              <a:gd name="connsiteX31" fmla="*/ 1768475 w 2889264"/>
              <a:gd name="connsiteY31" fmla="*/ 160754 h 722729"/>
              <a:gd name="connsiteX32" fmla="*/ 1781175 w 2889264"/>
              <a:gd name="connsiteY32" fmla="*/ 170279 h 722729"/>
              <a:gd name="connsiteX33" fmla="*/ 1793875 w 2889264"/>
              <a:gd name="connsiteY33" fmla="*/ 176629 h 722729"/>
              <a:gd name="connsiteX34" fmla="*/ 1838325 w 2889264"/>
              <a:gd name="connsiteY34" fmla="*/ 202029 h 722729"/>
              <a:gd name="connsiteX35" fmla="*/ 1847850 w 2889264"/>
              <a:gd name="connsiteY35" fmla="*/ 211554 h 722729"/>
              <a:gd name="connsiteX36" fmla="*/ 1885950 w 2889264"/>
              <a:gd name="connsiteY36" fmla="*/ 230604 h 722729"/>
              <a:gd name="connsiteX37" fmla="*/ 1901825 w 2889264"/>
              <a:gd name="connsiteY37" fmla="*/ 240129 h 722729"/>
              <a:gd name="connsiteX38" fmla="*/ 1933575 w 2889264"/>
              <a:gd name="connsiteY38" fmla="*/ 252829 h 722729"/>
              <a:gd name="connsiteX39" fmla="*/ 1962150 w 2889264"/>
              <a:gd name="connsiteY39" fmla="*/ 265529 h 722729"/>
              <a:gd name="connsiteX40" fmla="*/ 1971675 w 2889264"/>
              <a:gd name="connsiteY40" fmla="*/ 271879 h 722729"/>
              <a:gd name="connsiteX41" fmla="*/ 1987550 w 2889264"/>
              <a:gd name="connsiteY41" fmla="*/ 278229 h 722729"/>
              <a:gd name="connsiteX42" fmla="*/ 2022475 w 2889264"/>
              <a:gd name="connsiteY42" fmla="*/ 290929 h 722729"/>
              <a:gd name="connsiteX43" fmla="*/ 2047875 w 2889264"/>
              <a:gd name="connsiteY43" fmla="*/ 303629 h 722729"/>
              <a:gd name="connsiteX44" fmla="*/ 2063750 w 2889264"/>
              <a:gd name="connsiteY44" fmla="*/ 309979 h 722729"/>
              <a:gd name="connsiteX45" fmla="*/ 2082800 w 2889264"/>
              <a:gd name="connsiteY45" fmla="*/ 319504 h 722729"/>
              <a:gd name="connsiteX46" fmla="*/ 2095500 w 2889264"/>
              <a:gd name="connsiteY46" fmla="*/ 322679 h 722729"/>
              <a:gd name="connsiteX47" fmla="*/ 2124075 w 2889264"/>
              <a:gd name="connsiteY47" fmla="*/ 332204 h 722729"/>
              <a:gd name="connsiteX48" fmla="*/ 2159000 w 2889264"/>
              <a:gd name="connsiteY48" fmla="*/ 348079 h 722729"/>
              <a:gd name="connsiteX49" fmla="*/ 2187575 w 2889264"/>
              <a:gd name="connsiteY49" fmla="*/ 367129 h 722729"/>
              <a:gd name="connsiteX50" fmla="*/ 2209800 w 2889264"/>
              <a:gd name="connsiteY50" fmla="*/ 383004 h 722729"/>
              <a:gd name="connsiteX51" fmla="*/ 2247900 w 2889264"/>
              <a:gd name="connsiteY51" fmla="*/ 408404 h 722729"/>
              <a:gd name="connsiteX52" fmla="*/ 2276475 w 2889264"/>
              <a:gd name="connsiteY52" fmla="*/ 424279 h 722729"/>
              <a:gd name="connsiteX53" fmla="*/ 2289175 w 2889264"/>
              <a:gd name="connsiteY53" fmla="*/ 433804 h 722729"/>
              <a:gd name="connsiteX54" fmla="*/ 2308225 w 2889264"/>
              <a:gd name="connsiteY54" fmla="*/ 436979 h 722729"/>
              <a:gd name="connsiteX55" fmla="*/ 2333625 w 2889264"/>
              <a:gd name="connsiteY55" fmla="*/ 449679 h 722729"/>
              <a:gd name="connsiteX56" fmla="*/ 2352675 w 2889264"/>
              <a:gd name="connsiteY56" fmla="*/ 456029 h 722729"/>
              <a:gd name="connsiteX57" fmla="*/ 2397125 w 2889264"/>
              <a:gd name="connsiteY57" fmla="*/ 478254 h 722729"/>
              <a:gd name="connsiteX58" fmla="*/ 2422525 w 2889264"/>
              <a:gd name="connsiteY58" fmla="*/ 484604 h 722729"/>
              <a:gd name="connsiteX59" fmla="*/ 2432050 w 2889264"/>
              <a:gd name="connsiteY59" fmla="*/ 487779 h 722729"/>
              <a:gd name="connsiteX60" fmla="*/ 2454275 w 2889264"/>
              <a:gd name="connsiteY60" fmla="*/ 500479 h 722729"/>
              <a:gd name="connsiteX61" fmla="*/ 2470150 w 2889264"/>
              <a:gd name="connsiteY61" fmla="*/ 513179 h 722729"/>
              <a:gd name="connsiteX62" fmla="*/ 2495550 w 2889264"/>
              <a:gd name="connsiteY62" fmla="*/ 522704 h 722729"/>
              <a:gd name="connsiteX63" fmla="*/ 2546350 w 2889264"/>
              <a:gd name="connsiteY63" fmla="*/ 548104 h 722729"/>
              <a:gd name="connsiteX64" fmla="*/ 2574925 w 2889264"/>
              <a:gd name="connsiteY64" fmla="*/ 554454 h 722729"/>
              <a:gd name="connsiteX65" fmla="*/ 2600325 w 2889264"/>
              <a:gd name="connsiteY65" fmla="*/ 567154 h 722729"/>
              <a:gd name="connsiteX66" fmla="*/ 2616200 w 2889264"/>
              <a:gd name="connsiteY66" fmla="*/ 570329 h 722729"/>
              <a:gd name="connsiteX67" fmla="*/ 2638425 w 2889264"/>
              <a:gd name="connsiteY67" fmla="*/ 576679 h 722729"/>
              <a:gd name="connsiteX68" fmla="*/ 2654300 w 2889264"/>
              <a:gd name="connsiteY68" fmla="*/ 586204 h 722729"/>
              <a:gd name="connsiteX69" fmla="*/ 2673350 w 2889264"/>
              <a:gd name="connsiteY69" fmla="*/ 592554 h 722729"/>
              <a:gd name="connsiteX70" fmla="*/ 2708275 w 2889264"/>
              <a:gd name="connsiteY70" fmla="*/ 614779 h 722729"/>
              <a:gd name="connsiteX71" fmla="*/ 2730500 w 2889264"/>
              <a:gd name="connsiteY71" fmla="*/ 624304 h 722729"/>
              <a:gd name="connsiteX72" fmla="*/ 2749550 w 2889264"/>
              <a:gd name="connsiteY72" fmla="*/ 640179 h 722729"/>
              <a:gd name="connsiteX73" fmla="*/ 2774950 w 2889264"/>
              <a:gd name="connsiteY73" fmla="*/ 652879 h 722729"/>
              <a:gd name="connsiteX74" fmla="*/ 2803525 w 2889264"/>
              <a:gd name="connsiteY74" fmla="*/ 665579 h 722729"/>
              <a:gd name="connsiteX75" fmla="*/ 2816225 w 2889264"/>
              <a:gd name="connsiteY75" fmla="*/ 675104 h 722729"/>
              <a:gd name="connsiteX76" fmla="*/ 2832100 w 2889264"/>
              <a:gd name="connsiteY76" fmla="*/ 681454 h 722729"/>
              <a:gd name="connsiteX77" fmla="*/ 2876550 w 2889264"/>
              <a:gd name="connsiteY77" fmla="*/ 713204 h 722729"/>
              <a:gd name="connsiteX78" fmla="*/ 2889250 w 2889264"/>
              <a:gd name="connsiteY78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574800 w 2889264"/>
              <a:gd name="connsiteY21" fmla="*/ 62329 h 722729"/>
              <a:gd name="connsiteX22" fmla="*/ 1590675 w 2889264"/>
              <a:gd name="connsiteY22" fmla="*/ 68679 h 722729"/>
              <a:gd name="connsiteX23" fmla="*/ 1600200 w 2889264"/>
              <a:gd name="connsiteY23" fmla="*/ 75029 h 722729"/>
              <a:gd name="connsiteX24" fmla="*/ 1612900 w 2889264"/>
              <a:gd name="connsiteY24" fmla="*/ 81379 h 722729"/>
              <a:gd name="connsiteX25" fmla="*/ 1635125 w 2889264"/>
              <a:gd name="connsiteY25" fmla="*/ 94079 h 722729"/>
              <a:gd name="connsiteX26" fmla="*/ 1676400 w 2889264"/>
              <a:gd name="connsiteY26" fmla="*/ 119479 h 722729"/>
              <a:gd name="connsiteX27" fmla="*/ 1714500 w 2889264"/>
              <a:gd name="connsiteY27" fmla="*/ 135354 h 722729"/>
              <a:gd name="connsiteX28" fmla="*/ 1727200 w 2889264"/>
              <a:gd name="connsiteY28" fmla="*/ 144879 h 722729"/>
              <a:gd name="connsiteX29" fmla="*/ 1758950 w 2889264"/>
              <a:gd name="connsiteY29" fmla="*/ 154404 h 722729"/>
              <a:gd name="connsiteX30" fmla="*/ 1768475 w 2889264"/>
              <a:gd name="connsiteY30" fmla="*/ 160754 h 722729"/>
              <a:gd name="connsiteX31" fmla="*/ 1781175 w 2889264"/>
              <a:gd name="connsiteY31" fmla="*/ 170279 h 722729"/>
              <a:gd name="connsiteX32" fmla="*/ 1793875 w 2889264"/>
              <a:gd name="connsiteY32" fmla="*/ 176629 h 722729"/>
              <a:gd name="connsiteX33" fmla="*/ 1838325 w 2889264"/>
              <a:gd name="connsiteY33" fmla="*/ 202029 h 722729"/>
              <a:gd name="connsiteX34" fmla="*/ 1847850 w 2889264"/>
              <a:gd name="connsiteY34" fmla="*/ 211554 h 722729"/>
              <a:gd name="connsiteX35" fmla="*/ 1885950 w 2889264"/>
              <a:gd name="connsiteY35" fmla="*/ 230604 h 722729"/>
              <a:gd name="connsiteX36" fmla="*/ 1901825 w 2889264"/>
              <a:gd name="connsiteY36" fmla="*/ 240129 h 722729"/>
              <a:gd name="connsiteX37" fmla="*/ 1933575 w 2889264"/>
              <a:gd name="connsiteY37" fmla="*/ 252829 h 722729"/>
              <a:gd name="connsiteX38" fmla="*/ 1962150 w 2889264"/>
              <a:gd name="connsiteY38" fmla="*/ 265529 h 722729"/>
              <a:gd name="connsiteX39" fmla="*/ 1971675 w 2889264"/>
              <a:gd name="connsiteY39" fmla="*/ 271879 h 722729"/>
              <a:gd name="connsiteX40" fmla="*/ 1987550 w 2889264"/>
              <a:gd name="connsiteY40" fmla="*/ 278229 h 722729"/>
              <a:gd name="connsiteX41" fmla="*/ 2022475 w 2889264"/>
              <a:gd name="connsiteY41" fmla="*/ 290929 h 722729"/>
              <a:gd name="connsiteX42" fmla="*/ 2047875 w 2889264"/>
              <a:gd name="connsiteY42" fmla="*/ 303629 h 722729"/>
              <a:gd name="connsiteX43" fmla="*/ 2063750 w 2889264"/>
              <a:gd name="connsiteY43" fmla="*/ 309979 h 722729"/>
              <a:gd name="connsiteX44" fmla="*/ 2082800 w 2889264"/>
              <a:gd name="connsiteY44" fmla="*/ 319504 h 722729"/>
              <a:gd name="connsiteX45" fmla="*/ 2095500 w 2889264"/>
              <a:gd name="connsiteY45" fmla="*/ 322679 h 722729"/>
              <a:gd name="connsiteX46" fmla="*/ 2124075 w 2889264"/>
              <a:gd name="connsiteY46" fmla="*/ 332204 h 722729"/>
              <a:gd name="connsiteX47" fmla="*/ 2159000 w 2889264"/>
              <a:gd name="connsiteY47" fmla="*/ 348079 h 722729"/>
              <a:gd name="connsiteX48" fmla="*/ 2187575 w 2889264"/>
              <a:gd name="connsiteY48" fmla="*/ 367129 h 722729"/>
              <a:gd name="connsiteX49" fmla="*/ 2209800 w 2889264"/>
              <a:gd name="connsiteY49" fmla="*/ 383004 h 722729"/>
              <a:gd name="connsiteX50" fmla="*/ 2247900 w 2889264"/>
              <a:gd name="connsiteY50" fmla="*/ 408404 h 722729"/>
              <a:gd name="connsiteX51" fmla="*/ 2276475 w 2889264"/>
              <a:gd name="connsiteY51" fmla="*/ 424279 h 722729"/>
              <a:gd name="connsiteX52" fmla="*/ 2289175 w 2889264"/>
              <a:gd name="connsiteY52" fmla="*/ 433804 h 722729"/>
              <a:gd name="connsiteX53" fmla="*/ 2308225 w 2889264"/>
              <a:gd name="connsiteY53" fmla="*/ 436979 h 722729"/>
              <a:gd name="connsiteX54" fmla="*/ 2333625 w 2889264"/>
              <a:gd name="connsiteY54" fmla="*/ 449679 h 722729"/>
              <a:gd name="connsiteX55" fmla="*/ 2352675 w 2889264"/>
              <a:gd name="connsiteY55" fmla="*/ 456029 h 722729"/>
              <a:gd name="connsiteX56" fmla="*/ 2397125 w 2889264"/>
              <a:gd name="connsiteY56" fmla="*/ 478254 h 722729"/>
              <a:gd name="connsiteX57" fmla="*/ 2422525 w 2889264"/>
              <a:gd name="connsiteY57" fmla="*/ 484604 h 722729"/>
              <a:gd name="connsiteX58" fmla="*/ 2432050 w 2889264"/>
              <a:gd name="connsiteY58" fmla="*/ 487779 h 722729"/>
              <a:gd name="connsiteX59" fmla="*/ 2454275 w 2889264"/>
              <a:gd name="connsiteY59" fmla="*/ 500479 h 722729"/>
              <a:gd name="connsiteX60" fmla="*/ 2470150 w 2889264"/>
              <a:gd name="connsiteY60" fmla="*/ 513179 h 722729"/>
              <a:gd name="connsiteX61" fmla="*/ 2495550 w 2889264"/>
              <a:gd name="connsiteY61" fmla="*/ 522704 h 722729"/>
              <a:gd name="connsiteX62" fmla="*/ 2546350 w 2889264"/>
              <a:gd name="connsiteY62" fmla="*/ 548104 h 722729"/>
              <a:gd name="connsiteX63" fmla="*/ 2574925 w 2889264"/>
              <a:gd name="connsiteY63" fmla="*/ 554454 h 722729"/>
              <a:gd name="connsiteX64" fmla="*/ 2600325 w 2889264"/>
              <a:gd name="connsiteY64" fmla="*/ 567154 h 722729"/>
              <a:gd name="connsiteX65" fmla="*/ 2616200 w 2889264"/>
              <a:gd name="connsiteY65" fmla="*/ 570329 h 722729"/>
              <a:gd name="connsiteX66" fmla="*/ 2638425 w 2889264"/>
              <a:gd name="connsiteY66" fmla="*/ 576679 h 722729"/>
              <a:gd name="connsiteX67" fmla="*/ 2654300 w 2889264"/>
              <a:gd name="connsiteY67" fmla="*/ 586204 h 722729"/>
              <a:gd name="connsiteX68" fmla="*/ 2673350 w 2889264"/>
              <a:gd name="connsiteY68" fmla="*/ 592554 h 722729"/>
              <a:gd name="connsiteX69" fmla="*/ 2708275 w 2889264"/>
              <a:gd name="connsiteY69" fmla="*/ 614779 h 722729"/>
              <a:gd name="connsiteX70" fmla="*/ 2730500 w 2889264"/>
              <a:gd name="connsiteY70" fmla="*/ 624304 h 722729"/>
              <a:gd name="connsiteX71" fmla="*/ 2749550 w 2889264"/>
              <a:gd name="connsiteY71" fmla="*/ 640179 h 722729"/>
              <a:gd name="connsiteX72" fmla="*/ 2774950 w 2889264"/>
              <a:gd name="connsiteY72" fmla="*/ 652879 h 722729"/>
              <a:gd name="connsiteX73" fmla="*/ 2803525 w 2889264"/>
              <a:gd name="connsiteY73" fmla="*/ 665579 h 722729"/>
              <a:gd name="connsiteX74" fmla="*/ 2816225 w 2889264"/>
              <a:gd name="connsiteY74" fmla="*/ 675104 h 722729"/>
              <a:gd name="connsiteX75" fmla="*/ 2832100 w 2889264"/>
              <a:gd name="connsiteY75" fmla="*/ 681454 h 722729"/>
              <a:gd name="connsiteX76" fmla="*/ 2876550 w 2889264"/>
              <a:gd name="connsiteY76" fmla="*/ 713204 h 722729"/>
              <a:gd name="connsiteX77" fmla="*/ 2889250 w 2889264"/>
              <a:gd name="connsiteY77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574800 w 2889264"/>
              <a:gd name="connsiteY21" fmla="*/ 62329 h 722729"/>
              <a:gd name="connsiteX22" fmla="*/ 1600200 w 2889264"/>
              <a:gd name="connsiteY22" fmla="*/ 75029 h 722729"/>
              <a:gd name="connsiteX23" fmla="*/ 1612900 w 2889264"/>
              <a:gd name="connsiteY23" fmla="*/ 81379 h 722729"/>
              <a:gd name="connsiteX24" fmla="*/ 1635125 w 2889264"/>
              <a:gd name="connsiteY24" fmla="*/ 94079 h 722729"/>
              <a:gd name="connsiteX25" fmla="*/ 1676400 w 2889264"/>
              <a:gd name="connsiteY25" fmla="*/ 119479 h 722729"/>
              <a:gd name="connsiteX26" fmla="*/ 1714500 w 2889264"/>
              <a:gd name="connsiteY26" fmla="*/ 135354 h 722729"/>
              <a:gd name="connsiteX27" fmla="*/ 1727200 w 2889264"/>
              <a:gd name="connsiteY27" fmla="*/ 144879 h 722729"/>
              <a:gd name="connsiteX28" fmla="*/ 1758950 w 2889264"/>
              <a:gd name="connsiteY28" fmla="*/ 154404 h 722729"/>
              <a:gd name="connsiteX29" fmla="*/ 1768475 w 2889264"/>
              <a:gd name="connsiteY29" fmla="*/ 160754 h 722729"/>
              <a:gd name="connsiteX30" fmla="*/ 1781175 w 2889264"/>
              <a:gd name="connsiteY30" fmla="*/ 170279 h 722729"/>
              <a:gd name="connsiteX31" fmla="*/ 1793875 w 2889264"/>
              <a:gd name="connsiteY31" fmla="*/ 176629 h 722729"/>
              <a:gd name="connsiteX32" fmla="*/ 1838325 w 2889264"/>
              <a:gd name="connsiteY32" fmla="*/ 202029 h 722729"/>
              <a:gd name="connsiteX33" fmla="*/ 1847850 w 2889264"/>
              <a:gd name="connsiteY33" fmla="*/ 211554 h 722729"/>
              <a:gd name="connsiteX34" fmla="*/ 1885950 w 2889264"/>
              <a:gd name="connsiteY34" fmla="*/ 230604 h 722729"/>
              <a:gd name="connsiteX35" fmla="*/ 1901825 w 2889264"/>
              <a:gd name="connsiteY35" fmla="*/ 240129 h 722729"/>
              <a:gd name="connsiteX36" fmla="*/ 1933575 w 2889264"/>
              <a:gd name="connsiteY36" fmla="*/ 252829 h 722729"/>
              <a:gd name="connsiteX37" fmla="*/ 1962150 w 2889264"/>
              <a:gd name="connsiteY37" fmla="*/ 265529 h 722729"/>
              <a:gd name="connsiteX38" fmla="*/ 1971675 w 2889264"/>
              <a:gd name="connsiteY38" fmla="*/ 271879 h 722729"/>
              <a:gd name="connsiteX39" fmla="*/ 1987550 w 2889264"/>
              <a:gd name="connsiteY39" fmla="*/ 278229 h 722729"/>
              <a:gd name="connsiteX40" fmla="*/ 2022475 w 2889264"/>
              <a:gd name="connsiteY40" fmla="*/ 290929 h 722729"/>
              <a:gd name="connsiteX41" fmla="*/ 2047875 w 2889264"/>
              <a:gd name="connsiteY41" fmla="*/ 303629 h 722729"/>
              <a:gd name="connsiteX42" fmla="*/ 2063750 w 2889264"/>
              <a:gd name="connsiteY42" fmla="*/ 309979 h 722729"/>
              <a:gd name="connsiteX43" fmla="*/ 2082800 w 2889264"/>
              <a:gd name="connsiteY43" fmla="*/ 319504 h 722729"/>
              <a:gd name="connsiteX44" fmla="*/ 2095500 w 2889264"/>
              <a:gd name="connsiteY44" fmla="*/ 322679 h 722729"/>
              <a:gd name="connsiteX45" fmla="*/ 2124075 w 2889264"/>
              <a:gd name="connsiteY45" fmla="*/ 332204 h 722729"/>
              <a:gd name="connsiteX46" fmla="*/ 2159000 w 2889264"/>
              <a:gd name="connsiteY46" fmla="*/ 348079 h 722729"/>
              <a:gd name="connsiteX47" fmla="*/ 2187575 w 2889264"/>
              <a:gd name="connsiteY47" fmla="*/ 367129 h 722729"/>
              <a:gd name="connsiteX48" fmla="*/ 2209800 w 2889264"/>
              <a:gd name="connsiteY48" fmla="*/ 383004 h 722729"/>
              <a:gd name="connsiteX49" fmla="*/ 2247900 w 2889264"/>
              <a:gd name="connsiteY49" fmla="*/ 408404 h 722729"/>
              <a:gd name="connsiteX50" fmla="*/ 2276475 w 2889264"/>
              <a:gd name="connsiteY50" fmla="*/ 424279 h 722729"/>
              <a:gd name="connsiteX51" fmla="*/ 2289175 w 2889264"/>
              <a:gd name="connsiteY51" fmla="*/ 433804 h 722729"/>
              <a:gd name="connsiteX52" fmla="*/ 2308225 w 2889264"/>
              <a:gd name="connsiteY52" fmla="*/ 436979 h 722729"/>
              <a:gd name="connsiteX53" fmla="*/ 2333625 w 2889264"/>
              <a:gd name="connsiteY53" fmla="*/ 449679 h 722729"/>
              <a:gd name="connsiteX54" fmla="*/ 2352675 w 2889264"/>
              <a:gd name="connsiteY54" fmla="*/ 456029 h 722729"/>
              <a:gd name="connsiteX55" fmla="*/ 2397125 w 2889264"/>
              <a:gd name="connsiteY55" fmla="*/ 478254 h 722729"/>
              <a:gd name="connsiteX56" fmla="*/ 2422525 w 2889264"/>
              <a:gd name="connsiteY56" fmla="*/ 484604 h 722729"/>
              <a:gd name="connsiteX57" fmla="*/ 2432050 w 2889264"/>
              <a:gd name="connsiteY57" fmla="*/ 487779 h 722729"/>
              <a:gd name="connsiteX58" fmla="*/ 2454275 w 2889264"/>
              <a:gd name="connsiteY58" fmla="*/ 500479 h 722729"/>
              <a:gd name="connsiteX59" fmla="*/ 2470150 w 2889264"/>
              <a:gd name="connsiteY59" fmla="*/ 513179 h 722729"/>
              <a:gd name="connsiteX60" fmla="*/ 2495550 w 2889264"/>
              <a:gd name="connsiteY60" fmla="*/ 522704 h 722729"/>
              <a:gd name="connsiteX61" fmla="*/ 2546350 w 2889264"/>
              <a:gd name="connsiteY61" fmla="*/ 548104 h 722729"/>
              <a:gd name="connsiteX62" fmla="*/ 2574925 w 2889264"/>
              <a:gd name="connsiteY62" fmla="*/ 554454 h 722729"/>
              <a:gd name="connsiteX63" fmla="*/ 2600325 w 2889264"/>
              <a:gd name="connsiteY63" fmla="*/ 567154 h 722729"/>
              <a:gd name="connsiteX64" fmla="*/ 2616200 w 2889264"/>
              <a:gd name="connsiteY64" fmla="*/ 570329 h 722729"/>
              <a:gd name="connsiteX65" fmla="*/ 2638425 w 2889264"/>
              <a:gd name="connsiteY65" fmla="*/ 576679 h 722729"/>
              <a:gd name="connsiteX66" fmla="*/ 2654300 w 2889264"/>
              <a:gd name="connsiteY66" fmla="*/ 586204 h 722729"/>
              <a:gd name="connsiteX67" fmla="*/ 2673350 w 2889264"/>
              <a:gd name="connsiteY67" fmla="*/ 592554 h 722729"/>
              <a:gd name="connsiteX68" fmla="*/ 2708275 w 2889264"/>
              <a:gd name="connsiteY68" fmla="*/ 614779 h 722729"/>
              <a:gd name="connsiteX69" fmla="*/ 2730500 w 2889264"/>
              <a:gd name="connsiteY69" fmla="*/ 624304 h 722729"/>
              <a:gd name="connsiteX70" fmla="*/ 2749550 w 2889264"/>
              <a:gd name="connsiteY70" fmla="*/ 640179 h 722729"/>
              <a:gd name="connsiteX71" fmla="*/ 2774950 w 2889264"/>
              <a:gd name="connsiteY71" fmla="*/ 652879 h 722729"/>
              <a:gd name="connsiteX72" fmla="*/ 2803525 w 2889264"/>
              <a:gd name="connsiteY72" fmla="*/ 665579 h 722729"/>
              <a:gd name="connsiteX73" fmla="*/ 2816225 w 2889264"/>
              <a:gd name="connsiteY73" fmla="*/ 675104 h 722729"/>
              <a:gd name="connsiteX74" fmla="*/ 2832100 w 2889264"/>
              <a:gd name="connsiteY74" fmla="*/ 681454 h 722729"/>
              <a:gd name="connsiteX75" fmla="*/ 2876550 w 2889264"/>
              <a:gd name="connsiteY75" fmla="*/ 713204 h 722729"/>
              <a:gd name="connsiteX76" fmla="*/ 2889250 w 2889264"/>
              <a:gd name="connsiteY76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574800 w 2889264"/>
              <a:gd name="connsiteY21" fmla="*/ 62329 h 722729"/>
              <a:gd name="connsiteX22" fmla="*/ 1600200 w 2889264"/>
              <a:gd name="connsiteY22" fmla="*/ 75029 h 722729"/>
              <a:gd name="connsiteX23" fmla="*/ 1635125 w 2889264"/>
              <a:gd name="connsiteY23" fmla="*/ 94079 h 722729"/>
              <a:gd name="connsiteX24" fmla="*/ 1676400 w 2889264"/>
              <a:gd name="connsiteY24" fmla="*/ 119479 h 722729"/>
              <a:gd name="connsiteX25" fmla="*/ 1714500 w 2889264"/>
              <a:gd name="connsiteY25" fmla="*/ 135354 h 722729"/>
              <a:gd name="connsiteX26" fmla="*/ 1727200 w 2889264"/>
              <a:gd name="connsiteY26" fmla="*/ 144879 h 722729"/>
              <a:gd name="connsiteX27" fmla="*/ 1758950 w 2889264"/>
              <a:gd name="connsiteY27" fmla="*/ 154404 h 722729"/>
              <a:gd name="connsiteX28" fmla="*/ 1768475 w 2889264"/>
              <a:gd name="connsiteY28" fmla="*/ 160754 h 722729"/>
              <a:gd name="connsiteX29" fmla="*/ 1781175 w 2889264"/>
              <a:gd name="connsiteY29" fmla="*/ 170279 h 722729"/>
              <a:gd name="connsiteX30" fmla="*/ 1793875 w 2889264"/>
              <a:gd name="connsiteY30" fmla="*/ 176629 h 722729"/>
              <a:gd name="connsiteX31" fmla="*/ 1838325 w 2889264"/>
              <a:gd name="connsiteY31" fmla="*/ 202029 h 722729"/>
              <a:gd name="connsiteX32" fmla="*/ 1847850 w 2889264"/>
              <a:gd name="connsiteY32" fmla="*/ 211554 h 722729"/>
              <a:gd name="connsiteX33" fmla="*/ 1885950 w 2889264"/>
              <a:gd name="connsiteY33" fmla="*/ 230604 h 722729"/>
              <a:gd name="connsiteX34" fmla="*/ 1901825 w 2889264"/>
              <a:gd name="connsiteY34" fmla="*/ 240129 h 722729"/>
              <a:gd name="connsiteX35" fmla="*/ 1933575 w 2889264"/>
              <a:gd name="connsiteY35" fmla="*/ 252829 h 722729"/>
              <a:gd name="connsiteX36" fmla="*/ 1962150 w 2889264"/>
              <a:gd name="connsiteY36" fmla="*/ 265529 h 722729"/>
              <a:gd name="connsiteX37" fmla="*/ 1971675 w 2889264"/>
              <a:gd name="connsiteY37" fmla="*/ 271879 h 722729"/>
              <a:gd name="connsiteX38" fmla="*/ 1987550 w 2889264"/>
              <a:gd name="connsiteY38" fmla="*/ 278229 h 722729"/>
              <a:gd name="connsiteX39" fmla="*/ 2022475 w 2889264"/>
              <a:gd name="connsiteY39" fmla="*/ 290929 h 722729"/>
              <a:gd name="connsiteX40" fmla="*/ 2047875 w 2889264"/>
              <a:gd name="connsiteY40" fmla="*/ 303629 h 722729"/>
              <a:gd name="connsiteX41" fmla="*/ 2063750 w 2889264"/>
              <a:gd name="connsiteY41" fmla="*/ 309979 h 722729"/>
              <a:gd name="connsiteX42" fmla="*/ 2082800 w 2889264"/>
              <a:gd name="connsiteY42" fmla="*/ 319504 h 722729"/>
              <a:gd name="connsiteX43" fmla="*/ 2095500 w 2889264"/>
              <a:gd name="connsiteY43" fmla="*/ 322679 h 722729"/>
              <a:gd name="connsiteX44" fmla="*/ 2124075 w 2889264"/>
              <a:gd name="connsiteY44" fmla="*/ 332204 h 722729"/>
              <a:gd name="connsiteX45" fmla="*/ 2159000 w 2889264"/>
              <a:gd name="connsiteY45" fmla="*/ 348079 h 722729"/>
              <a:gd name="connsiteX46" fmla="*/ 2187575 w 2889264"/>
              <a:gd name="connsiteY46" fmla="*/ 367129 h 722729"/>
              <a:gd name="connsiteX47" fmla="*/ 2209800 w 2889264"/>
              <a:gd name="connsiteY47" fmla="*/ 383004 h 722729"/>
              <a:gd name="connsiteX48" fmla="*/ 2247900 w 2889264"/>
              <a:gd name="connsiteY48" fmla="*/ 408404 h 722729"/>
              <a:gd name="connsiteX49" fmla="*/ 2276475 w 2889264"/>
              <a:gd name="connsiteY49" fmla="*/ 424279 h 722729"/>
              <a:gd name="connsiteX50" fmla="*/ 2289175 w 2889264"/>
              <a:gd name="connsiteY50" fmla="*/ 433804 h 722729"/>
              <a:gd name="connsiteX51" fmla="*/ 2308225 w 2889264"/>
              <a:gd name="connsiteY51" fmla="*/ 436979 h 722729"/>
              <a:gd name="connsiteX52" fmla="*/ 2333625 w 2889264"/>
              <a:gd name="connsiteY52" fmla="*/ 449679 h 722729"/>
              <a:gd name="connsiteX53" fmla="*/ 2352675 w 2889264"/>
              <a:gd name="connsiteY53" fmla="*/ 456029 h 722729"/>
              <a:gd name="connsiteX54" fmla="*/ 2397125 w 2889264"/>
              <a:gd name="connsiteY54" fmla="*/ 478254 h 722729"/>
              <a:gd name="connsiteX55" fmla="*/ 2422525 w 2889264"/>
              <a:gd name="connsiteY55" fmla="*/ 484604 h 722729"/>
              <a:gd name="connsiteX56" fmla="*/ 2432050 w 2889264"/>
              <a:gd name="connsiteY56" fmla="*/ 487779 h 722729"/>
              <a:gd name="connsiteX57" fmla="*/ 2454275 w 2889264"/>
              <a:gd name="connsiteY57" fmla="*/ 500479 h 722729"/>
              <a:gd name="connsiteX58" fmla="*/ 2470150 w 2889264"/>
              <a:gd name="connsiteY58" fmla="*/ 513179 h 722729"/>
              <a:gd name="connsiteX59" fmla="*/ 2495550 w 2889264"/>
              <a:gd name="connsiteY59" fmla="*/ 522704 h 722729"/>
              <a:gd name="connsiteX60" fmla="*/ 2546350 w 2889264"/>
              <a:gd name="connsiteY60" fmla="*/ 548104 h 722729"/>
              <a:gd name="connsiteX61" fmla="*/ 2574925 w 2889264"/>
              <a:gd name="connsiteY61" fmla="*/ 554454 h 722729"/>
              <a:gd name="connsiteX62" fmla="*/ 2600325 w 2889264"/>
              <a:gd name="connsiteY62" fmla="*/ 567154 h 722729"/>
              <a:gd name="connsiteX63" fmla="*/ 2616200 w 2889264"/>
              <a:gd name="connsiteY63" fmla="*/ 570329 h 722729"/>
              <a:gd name="connsiteX64" fmla="*/ 2638425 w 2889264"/>
              <a:gd name="connsiteY64" fmla="*/ 576679 h 722729"/>
              <a:gd name="connsiteX65" fmla="*/ 2654300 w 2889264"/>
              <a:gd name="connsiteY65" fmla="*/ 586204 h 722729"/>
              <a:gd name="connsiteX66" fmla="*/ 2673350 w 2889264"/>
              <a:gd name="connsiteY66" fmla="*/ 592554 h 722729"/>
              <a:gd name="connsiteX67" fmla="*/ 2708275 w 2889264"/>
              <a:gd name="connsiteY67" fmla="*/ 614779 h 722729"/>
              <a:gd name="connsiteX68" fmla="*/ 2730500 w 2889264"/>
              <a:gd name="connsiteY68" fmla="*/ 624304 h 722729"/>
              <a:gd name="connsiteX69" fmla="*/ 2749550 w 2889264"/>
              <a:gd name="connsiteY69" fmla="*/ 640179 h 722729"/>
              <a:gd name="connsiteX70" fmla="*/ 2774950 w 2889264"/>
              <a:gd name="connsiteY70" fmla="*/ 652879 h 722729"/>
              <a:gd name="connsiteX71" fmla="*/ 2803525 w 2889264"/>
              <a:gd name="connsiteY71" fmla="*/ 665579 h 722729"/>
              <a:gd name="connsiteX72" fmla="*/ 2816225 w 2889264"/>
              <a:gd name="connsiteY72" fmla="*/ 675104 h 722729"/>
              <a:gd name="connsiteX73" fmla="*/ 2832100 w 2889264"/>
              <a:gd name="connsiteY73" fmla="*/ 681454 h 722729"/>
              <a:gd name="connsiteX74" fmla="*/ 2876550 w 2889264"/>
              <a:gd name="connsiteY74" fmla="*/ 713204 h 722729"/>
              <a:gd name="connsiteX75" fmla="*/ 2889250 w 2889264"/>
              <a:gd name="connsiteY75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574800 w 2889264"/>
              <a:gd name="connsiteY21" fmla="*/ 62329 h 722729"/>
              <a:gd name="connsiteX22" fmla="*/ 1600200 w 2889264"/>
              <a:gd name="connsiteY22" fmla="*/ 75029 h 722729"/>
              <a:gd name="connsiteX23" fmla="*/ 1676400 w 2889264"/>
              <a:gd name="connsiteY23" fmla="*/ 119479 h 722729"/>
              <a:gd name="connsiteX24" fmla="*/ 1714500 w 2889264"/>
              <a:gd name="connsiteY24" fmla="*/ 135354 h 722729"/>
              <a:gd name="connsiteX25" fmla="*/ 1727200 w 2889264"/>
              <a:gd name="connsiteY25" fmla="*/ 144879 h 722729"/>
              <a:gd name="connsiteX26" fmla="*/ 1758950 w 2889264"/>
              <a:gd name="connsiteY26" fmla="*/ 154404 h 722729"/>
              <a:gd name="connsiteX27" fmla="*/ 1768475 w 2889264"/>
              <a:gd name="connsiteY27" fmla="*/ 160754 h 722729"/>
              <a:gd name="connsiteX28" fmla="*/ 1781175 w 2889264"/>
              <a:gd name="connsiteY28" fmla="*/ 170279 h 722729"/>
              <a:gd name="connsiteX29" fmla="*/ 1793875 w 2889264"/>
              <a:gd name="connsiteY29" fmla="*/ 176629 h 722729"/>
              <a:gd name="connsiteX30" fmla="*/ 1838325 w 2889264"/>
              <a:gd name="connsiteY30" fmla="*/ 202029 h 722729"/>
              <a:gd name="connsiteX31" fmla="*/ 1847850 w 2889264"/>
              <a:gd name="connsiteY31" fmla="*/ 211554 h 722729"/>
              <a:gd name="connsiteX32" fmla="*/ 1885950 w 2889264"/>
              <a:gd name="connsiteY32" fmla="*/ 230604 h 722729"/>
              <a:gd name="connsiteX33" fmla="*/ 1901825 w 2889264"/>
              <a:gd name="connsiteY33" fmla="*/ 240129 h 722729"/>
              <a:gd name="connsiteX34" fmla="*/ 1933575 w 2889264"/>
              <a:gd name="connsiteY34" fmla="*/ 252829 h 722729"/>
              <a:gd name="connsiteX35" fmla="*/ 1962150 w 2889264"/>
              <a:gd name="connsiteY35" fmla="*/ 265529 h 722729"/>
              <a:gd name="connsiteX36" fmla="*/ 1971675 w 2889264"/>
              <a:gd name="connsiteY36" fmla="*/ 271879 h 722729"/>
              <a:gd name="connsiteX37" fmla="*/ 1987550 w 2889264"/>
              <a:gd name="connsiteY37" fmla="*/ 278229 h 722729"/>
              <a:gd name="connsiteX38" fmla="*/ 2022475 w 2889264"/>
              <a:gd name="connsiteY38" fmla="*/ 290929 h 722729"/>
              <a:gd name="connsiteX39" fmla="*/ 2047875 w 2889264"/>
              <a:gd name="connsiteY39" fmla="*/ 303629 h 722729"/>
              <a:gd name="connsiteX40" fmla="*/ 2063750 w 2889264"/>
              <a:gd name="connsiteY40" fmla="*/ 309979 h 722729"/>
              <a:gd name="connsiteX41" fmla="*/ 2082800 w 2889264"/>
              <a:gd name="connsiteY41" fmla="*/ 319504 h 722729"/>
              <a:gd name="connsiteX42" fmla="*/ 2095500 w 2889264"/>
              <a:gd name="connsiteY42" fmla="*/ 322679 h 722729"/>
              <a:gd name="connsiteX43" fmla="*/ 2124075 w 2889264"/>
              <a:gd name="connsiteY43" fmla="*/ 332204 h 722729"/>
              <a:gd name="connsiteX44" fmla="*/ 2159000 w 2889264"/>
              <a:gd name="connsiteY44" fmla="*/ 348079 h 722729"/>
              <a:gd name="connsiteX45" fmla="*/ 2187575 w 2889264"/>
              <a:gd name="connsiteY45" fmla="*/ 367129 h 722729"/>
              <a:gd name="connsiteX46" fmla="*/ 2209800 w 2889264"/>
              <a:gd name="connsiteY46" fmla="*/ 383004 h 722729"/>
              <a:gd name="connsiteX47" fmla="*/ 2247900 w 2889264"/>
              <a:gd name="connsiteY47" fmla="*/ 408404 h 722729"/>
              <a:gd name="connsiteX48" fmla="*/ 2276475 w 2889264"/>
              <a:gd name="connsiteY48" fmla="*/ 424279 h 722729"/>
              <a:gd name="connsiteX49" fmla="*/ 2289175 w 2889264"/>
              <a:gd name="connsiteY49" fmla="*/ 433804 h 722729"/>
              <a:gd name="connsiteX50" fmla="*/ 2308225 w 2889264"/>
              <a:gd name="connsiteY50" fmla="*/ 436979 h 722729"/>
              <a:gd name="connsiteX51" fmla="*/ 2333625 w 2889264"/>
              <a:gd name="connsiteY51" fmla="*/ 449679 h 722729"/>
              <a:gd name="connsiteX52" fmla="*/ 2352675 w 2889264"/>
              <a:gd name="connsiteY52" fmla="*/ 456029 h 722729"/>
              <a:gd name="connsiteX53" fmla="*/ 2397125 w 2889264"/>
              <a:gd name="connsiteY53" fmla="*/ 478254 h 722729"/>
              <a:gd name="connsiteX54" fmla="*/ 2422525 w 2889264"/>
              <a:gd name="connsiteY54" fmla="*/ 484604 h 722729"/>
              <a:gd name="connsiteX55" fmla="*/ 2432050 w 2889264"/>
              <a:gd name="connsiteY55" fmla="*/ 487779 h 722729"/>
              <a:gd name="connsiteX56" fmla="*/ 2454275 w 2889264"/>
              <a:gd name="connsiteY56" fmla="*/ 500479 h 722729"/>
              <a:gd name="connsiteX57" fmla="*/ 2470150 w 2889264"/>
              <a:gd name="connsiteY57" fmla="*/ 513179 h 722729"/>
              <a:gd name="connsiteX58" fmla="*/ 2495550 w 2889264"/>
              <a:gd name="connsiteY58" fmla="*/ 522704 h 722729"/>
              <a:gd name="connsiteX59" fmla="*/ 2546350 w 2889264"/>
              <a:gd name="connsiteY59" fmla="*/ 548104 h 722729"/>
              <a:gd name="connsiteX60" fmla="*/ 2574925 w 2889264"/>
              <a:gd name="connsiteY60" fmla="*/ 554454 h 722729"/>
              <a:gd name="connsiteX61" fmla="*/ 2600325 w 2889264"/>
              <a:gd name="connsiteY61" fmla="*/ 567154 h 722729"/>
              <a:gd name="connsiteX62" fmla="*/ 2616200 w 2889264"/>
              <a:gd name="connsiteY62" fmla="*/ 570329 h 722729"/>
              <a:gd name="connsiteX63" fmla="*/ 2638425 w 2889264"/>
              <a:gd name="connsiteY63" fmla="*/ 576679 h 722729"/>
              <a:gd name="connsiteX64" fmla="*/ 2654300 w 2889264"/>
              <a:gd name="connsiteY64" fmla="*/ 586204 h 722729"/>
              <a:gd name="connsiteX65" fmla="*/ 2673350 w 2889264"/>
              <a:gd name="connsiteY65" fmla="*/ 592554 h 722729"/>
              <a:gd name="connsiteX66" fmla="*/ 2708275 w 2889264"/>
              <a:gd name="connsiteY66" fmla="*/ 614779 h 722729"/>
              <a:gd name="connsiteX67" fmla="*/ 2730500 w 2889264"/>
              <a:gd name="connsiteY67" fmla="*/ 624304 h 722729"/>
              <a:gd name="connsiteX68" fmla="*/ 2749550 w 2889264"/>
              <a:gd name="connsiteY68" fmla="*/ 640179 h 722729"/>
              <a:gd name="connsiteX69" fmla="*/ 2774950 w 2889264"/>
              <a:gd name="connsiteY69" fmla="*/ 652879 h 722729"/>
              <a:gd name="connsiteX70" fmla="*/ 2803525 w 2889264"/>
              <a:gd name="connsiteY70" fmla="*/ 665579 h 722729"/>
              <a:gd name="connsiteX71" fmla="*/ 2816225 w 2889264"/>
              <a:gd name="connsiteY71" fmla="*/ 675104 h 722729"/>
              <a:gd name="connsiteX72" fmla="*/ 2832100 w 2889264"/>
              <a:gd name="connsiteY72" fmla="*/ 681454 h 722729"/>
              <a:gd name="connsiteX73" fmla="*/ 2876550 w 2889264"/>
              <a:gd name="connsiteY73" fmla="*/ 713204 h 722729"/>
              <a:gd name="connsiteX74" fmla="*/ 2889250 w 2889264"/>
              <a:gd name="connsiteY74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00200 w 2889264"/>
              <a:gd name="connsiteY21" fmla="*/ 75029 h 722729"/>
              <a:gd name="connsiteX22" fmla="*/ 1676400 w 2889264"/>
              <a:gd name="connsiteY22" fmla="*/ 119479 h 722729"/>
              <a:gd name="connsiteX23" fmla="*/ 1714500 w 2889264"/>
              <a:gd name="connsiteY23" fmla="*/ 135354 h 722729"/>
              <a:gd name="connsiteX24" fmla="*/ 1727200 w 2889264"/>
              <a:gd name="connsiteY24" fmla="*/ 144879 h 722729"/>
              <a:gd name="connsiteX25" fmla="*/ 1758950 w 2889264"/>
              <a:gd name="connsiteY25" fmla="*/ 154404 h 722729"/>
              <a:gd name="connsiteX26" fmla="*/ 1768475 w 2889264"/>
              <a:gd name="connsiteY26" fmla="*/ 160754 h 722729"/>
              <a:gd name="connsiteX27" fmla="*/ 1781175 w 2889264"/>
              <a:gd name="connsiteY27" fmla="*/ 170279 h 722729"/>
              <a:gd name="connsiteX28" fmla="*/ 1793875 w 2889264"/>
              <a:gd name="connsiteY28" fmla="*/ 176629 h 722729"/>
              <a:gd name="connsiteX29" fmla="*/ 1838325 w 2889264"/>
              <a:gd name="connsiteY29" fmla="*/ 202029 h 722729"/>
              <a:gd name="connsiteX30" fmla="*/ 1847850 w 2889264"/>
              <a:gd name="connsiteY30" fmla="*/ 211554 h 722729"/>
              <a:gd name="connsiteX31" fmla="*/ 1885950 w 2889264"/>
              <a:gd name="connsiteY31" fmla="*/ 230604 h 722729"/>
              <a:gd name="connsiteX32" fmla="*/ 1901825 w 2889264"/>
              <a:gd name="connsiteY32" fmla="*/ 240129 h 722729"/>
              <a:gd name="connsiteX33" fmla="*/ 1933575 w 2889264"/>
              <a:gd name="connsiteY33" fmla="*/ 252829 h 722729"/>
              <a:gd name="connsiteX34" fmla="*/ 1962150 w 2889264"/>
              <a:gd name="connsiteY34" fmla="*/ 265529 h 722729"/>
              <a:gd name="connsiteX35" fmla="*/ 1971675 w 2889264"/>
              <a:gd name="connsiteY35" fmla="*/ 271879 h 722729"/>
              <a:gd name="connsiteX36" fmla="*/ 1987550 w 2889264"/>
              <a:gd name="connsiteY36" fmla="*/ 278229 h 722729"/>
              <a:gd name="connsiteX37" fmla="*/ 2022475 w 2889264"/>
              <a:gd name="connsiteY37" fmla="*/ 290929 h 722729"/>
              <a:gd name="connsiteX38" fmla="*/ 2047875 w 2889264"/>
              <a:gd name="connsiteY38" fmla="*/ 303629 h 722729"/>
              <a:gd name="connsiteX39" fmla="*/ 2063750 w 2889264"/>
              <a:gd name="connsiteY39" fmla="*/ 309979 h 722729"/>
              <a:gd name="connsiteX40" fmla="*/ 2082800 w 2889264"/>
              <a:gd name="connsiteY40" fmla="*/ 319504 h 722729"/>
              <a:gd name="connsiteX41" fmla="*/ 2095500 w 2889264"/>
              <a:gd name="connsiteY41" fmla="*/ 322679 h 722729"/>
              <a:gd name="connsiteX42" fmla="*/ 2124075 w 2889264"/>
              <a:gd name="connsiteY42" fmla="*/ 332204 h 722729"/>
              <a:gd name="connsiteX43" fmla="*/ 2159000 w 2889264"/>
              <a:gd name="connsiteY43" fmla="*/ 348079 h 722729"/>
              <a:gd name="connsiteX44" fmla="*/ 2187575 w 2889264"/>
              <a:gd name="connsiteY44" fmla="*/ 367129 h 722729"/>
              <a:gd name="connsiteX45" fmla="*/ 2209800 w 2889264"/>
              <a:gd name="connsiteY45" fmla="*/ 383004 h 722729"/>
              <a:gd name="connsiteX46" fmla="*/ 2247900 w 2889264"/>
              <a:gd name="connsiteY46" fmla="*/ 408404 h 722729"/>
              <a:gd name="connsiteX47" fmla="*/ 2276475 w 2889264"/>
              <a:gd name="connsiteY47" fmla="*/ 424279 h 722729"/>
              <a:gd name="connsiteX48" fmla="*/ 2289175 w 2889264"/>
              <a:gd name="connsiteY48" fmla="*/ 433804 h 722729"/>
              <a:gd name="connsiteX49" fmla="*/ 2308225 w 2889264"/>
              <a:gd name="connsiteY49" fmla="*/ 436979 h 722729"/>
              <a:gd name="connsiteX50" fmla="*/ 2333625 w 2889264"/>
              <a:gd name="connsiteY50" fmla="*/ 449679 h 722729"/>
              <a:gd name="connsiteX51" fmla="*/ 2352675 w 2889264"/>
              <a:gd name="connsiteY51" fmla="*/ 456029 h 722729"/>
              <a:gd name="connsiteX52" fmla="*/ 2397125 w 2889264"/>
              <a:gd name="connsiteY52" fmla="*/ 478254 h 722729"/>
              <a:gd name="connsiteX53" fmla="*/ 2422525 w 2889264"/>
              <a:gd name="connsiteY53" fmla="*/ 484604 h 722729"/>
              <a:gd name="connsiteX54" fmla="*/ 2432050 w 2889264"/>
              <a:gd name="connsiteY54" fmla="*/ 487779 h 722729"/>
              <a:gd name="connsiteX55" fmla="*/ 2454275 w 2889264"/>
              <a:gd name="connsiteY55" fmla="*/ 500479 h 722729"/>
              <a:gd name="connsiteX56" fmla="*/ 2470150 w 2889264"/>
              <a:gd name="connsiteY56" fmla="*/ 513179 h 722729"/>
              <a:gd name="connsiteX57" fmla="*/ 2495550 w 2889264"/>
              <a:gd name="connsiteY57" fmla="*/ 522704 h 722729"/>
              <a:gd name="connsiteX58" fmla="*/ 2546350 w 2889264"/>
              <a:gd name="connsiteY58" fmla="*/ 548104 h 722729"/>
              <a:gd name="connsiteX59" fmla="*/ 2574925 w 2889264"/>
              <a:gd name="connsiteY59" fmla="*/ 554454 h 722729"/>
              <a:gd name="connsiteX60" fmla="*/ 2600325 w 2889264"/>
              <a:gd name="connsiteY60" fmla="*/ 567154 h 722729"/>
              <a:gd name="connsiteX61" fmla="*/ 2616200 w 2889264"/>
              <a:gd name="connsiteY61" fmla="*/ 570329 h 722729"/>
              <a:gd name="connsiteX62" fmla="*/ 2638425 w 2889264"/>
              <a:gd name="connsiteY62" fmla="*/ 576679 h 722729"/>
              <a:gd name="connsiteX63" fmla="*/ 2654300 w 2889264"/>
              <a:gd name="connsiteY63" fmla="*/ 586204 h 722729"/>
              <a:gd name="connsiteX64" fmla="*/ 2673350 w 2889264"/>
              <a:gd name="connsiteY64" fmla="*/ 592554 h 722729"/>
              <a:gd name="connsiteX65" fmla="*/ 2708275 w 2889264"/>
              <a:gd name="connsiteY65" fmla="*/ 614779 h 722729"/>
              <a:gd name="connsiteX66" fmla="*/ 2730500 w 2889264"/>
              <a:gd name="connsiteY66" fmla="*/ 624304 h 722729"/>
              <a:gd name="connsiteX67" fmla="*/ 2749550 w 2889264"/>
              <a:gd name="connsiteY67" fmla="*/ 640179 h 722729"/>
              <a:gd name="connsiteX68" fmla="*/ 2774950 w 2889264"/>
              <a:gd name="connsiteY68" fmla="*/ 652879 h 722729"/>
              <a:gd name="connsiteX69" fmla="*/ 2803525 w 2889264"/>
              <a:gd name="connsiteY69" fmla="*/ 665579 h 722729"/>
              <a:gd name="connsiteX70" fmla="*/ 2816225 w 2889264"/>
              <a:gd name="connsiteY70" fmla="*/ 675104 h 722729"/>
              <a:gd name="connsiteX71" fmla="*/ 2832100 w 2889264"/>
              <a:gd name="connsiteY71" fmla="*/ 681454 h 722729"/>
              <a:gd name="connsiteX72" fmla="*/ 2876550 w 2889264"/>
              <a:gd name="connsiteY72" fmla="*/ 713204 h 722729"/>
              <a:gd name="connsiteX73" fmla="*/ 2889250 w 2889264"/>
              <a:gd name="connsiteY73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14500 w 2889264"/>
              <a:gd name="connsiteY22" fmla="*/ 135354 h 722729"/>
              <a:gd name="connsiteX23" fmla="*/ 1727200 w 2889264"/>
              <a:gd name="connsiteY23" fmla="*/ 144879 h 722729"/>
              <a:gd name="connsiteX24" fmla="*/ 1758950 w 2889264"/>
              <a:gd name="connsiteY24" fmla="*/ 154404 h 722729"/>
              <a:gd name="connsiteX25" fmla="*/ 1768475 w 2889264"/>
              <a:gd name="connsiteY25" fmla="*/ 160754 h 722729"/>
              <a:gd name="connsiteX26" fmla="*/ 1781175 w 2889264"/>
              <a:gd name="connsiteY26" fmla="*/ 170279 h 722729"/>
              <a:gd name="connsiteX27" fmla="*/ 1793875 w 2889264"/>
              <a:gd name="connsiteY27" fmla="*/ 176629 h 722729"/>
              <a:gd name="connsiteX28" fmla="*/ 1838325 w 2889264"/>
              <a:gd name="connsiteY28" fmla="*/ 202029 h 722729"/>
              <a:gd name="connsiteX29" fmla="*/ 1847850 w 2889264"/>
              <a:gd name="connsiteY29" fmla="*/ 211554 h 722729"/>
              <a:gd name="connsiteX30" fmla="*/ 1885950 w 2889264"/>
              <a:gd name="connsiteY30" fmla="*/ 230604 h 722729"/>
              <a:gd name="connsiteX31" fmla="*/ 1901825 w 2889264"/>
              <a:gd name="connsiteY31" fmla="*/ 240129 h 722729"/>
              <a:gd name="connsiteX32" fmla="*/ 1933575 w 2889264"/>
              <a:gd name="connsiteY32" fmla="*/ 252829 h 722729"/>
              <a:gd name="connsiteX33" fmla="*/ 1962150 w 2889264"/>
              <a:gd name="connsiteY33" fmla="*/ 265529 h 722729"/>
              <a:gd name="connsiteX34" fmla="*/ 1971675 w 2889264"/>
              <a:gd name="connsiteY34" fmla="*/ 271879 h 722729"/>
              <a:gd name="connsiteX35" fmla="*/ 1987550 w 2889264"/>
              <a:gd name="connsiteY35" fmla="*/ 278229 h 722729"/>
              <a:gd name="connsiteX36" fmla="*/ 2022475 w 2889264"/>
              <a:gd name="connsiteY36" fmla="*/ 290929 h 722729"/>
              <a:gd name="connsiteX37" fmla="*/ 2047875 w 2889264"/>
              <a:gd name="connsiteY37" fmla="*/ 303629 h 722729"/>
              <a:gd name="connsiteX38" fmla="*/ 2063750 w 2889264"/>
              <a:gd name="connsiteY38" fmla="*/ 309979 h 722729"/>
              <a:gd name="connsiteX39" fmla="*/ 2082800 w 2889264"/>
              <a:gd name="connsiteY39" fmla="*/ 319504 h 722729"/>
              <a:gd name="connsiteX40" fmla="*/ 2095500 w 2889264"/>
              <a:gd name="connsiteY40" fmla="*/ 322679 h 722729"/>
              <a:gd name="connsiteX41" fmla="*/ 2124075 w 2889264"/>
              <a:gd name="connsiteY41" fmla="*/ 332204 h 722729"/>
              <a:gd name="connsiteX42" fmla="*/ 2159000 w 2889264"/>
              <a:gd name="connsiteY42" fmla="*/ 348079 h 722729"/>
              <a:gd name="connsiteX43" fmla="*/ 2187575 w 2889264"/>
              <a:gd name="connsiteY43" fmla="*/ 367129 h 722729"/>
              <a:gd name="connsiteX44" fmla="*/ 2209800 w 2889264"/>
              <a:gd name="connsiteY44" fmla="*/ 383004 h 722729"/>
              <a:gd name="connsiteX45" fmla="*/ 2247900 w 2889264"/>
              <a:gd name="connsiteY45" fmla="*/ 408404 h 722729"/>
              <a:gd name="connsiteX46" fmla="*/ 2276475 w 2889264"/>
              <a:gd name="connsiteY46" fmla="*/ 424279 h 722729"/>
              <a:gd name="connsiteX47" fmla="*/ 2289175 w 2889264"/>
              <a:gd name="connsiteY47" fmla="*/ 433804 h 722729"/>
              <a:gd name="connsiteX48" fmla="*/ 2308225 w 2889264"/>
              <a:gd name="connsiteY48" fmla="*/ 436979 h 722729"/>
              <a:gd name="connsiteX49" fmla="*/ 2333625 w 2889264"/>
              <a:gd name="connsiteY49" fmla="*/ 449679 h 722729"/>
              <a:gd name="connsiteX50" fmla="*/ 2352675 w 2889264"/>
              <a:gd name="connsiteY50" fmla="*/ 456029 h 722729"/>
              <a:gd name="connsiteX51" fmla="*/ 2397125 w 2889264"/>
              <a:gd name="connsiteY51" fmla="*/ 478254 h 722729"/>
              <a:gd name="connsiteX52" fmla="*/ 2422525 w 2889264"/>
              <a:gd name="connsiteY52" fmla="*/ 484604 h 722729"/>
              <a:gd name="connsiteX53" fmla="*/ 2432050 w 2889264"/>
              <a:gd name="connsiteY53" fmla="*/ 487779 h 722729"/>
              <a:gd name="connsiteX54" fmla="*/ 2454275 w 2889264"/>
              <a:gd name="connsiteY54" fmla="*/ 500479 h 722729"/>
              <a:gd name="connsiteX55" fmla="*/ 2470150 w 2889264"/>
              <a:gd name="connsiteY55" fmla="*/ 513179 h 722729"/>
              <a:gd name="connsiteX56" fmla="*/ 2495550 w 2889264"/>
              <a:gd name="connsiteY56" fmla="*/ 522704 h 722729"/>
              <a:gd name="connsiteX57" fmla="*/ 2546350 w 2889264"/>
              <a:gd name="connsiteY57" fmla="*/ 548104 h 722729"/>
              <a:gd name="connsiteX58" fmla="*/ 2574925 w 2889264"/>
              <a:gd name="connsiteY58" fmla="*/ 554454 h 722729"/>
              <a:gd name="connsiteX59" fmla="*/ 2600325 w 2889264"/>
              <a:gd name="connsiteY59" fmla="*/ 567154 h 722729"/>
              <a:gd name="connsiteX60" fmla="*/ 2616200 w 2889264"/>
              <a:gd name="connsiteY60" fmla="*/ 570329 h 722729"/>
              <a:gd name="connsiteX61" fmla="*/ 2638425 w 2889264"/>
              <a:gd name="connsiteY61" fmla="*/ 576679 h 722729"/>
              <a:gd name="connsiteX62" fmla="*/ 2654300 w 2889264"/>
              <a:gd name="connsiteY62" fmla="*/ 586204 h 722729"/>
              <a:gd name="connsiteX63" fmla="*/ 2673350 w 2889264"/>
              <a:gd name="connsiteY63" fmla="*/ 592554 h 722729"/>
              <a:gd name="connsiteX64" fmla="*/ 2708275 w 2889264"/>
              <a:gd name="connsiteY64" fmla="*/ 614779 h 722729"/>
              <a:gd name="connsiteX65" fmla="*/ 2730500 w 2889264"/>
              <a:gd name="connsiteY65" fmla="*/ 624304 h 722729"/>
              <a:gd name="connsiteX66" fmla="*/ 2749550 w 2889264"/>
              <a:gd name="connsiteY66" fmla="*/ 640179 h 722729"/>
              <a:gd name="connsiteX67" fmla="*/ 2774950 w 2889264"/>
              <a:gd name="connsiteY67" fmla="*/ 652879 h 722729"/>
              <a:gd name="connsiteX68" fmla="*/ 2803525 w 2889264"/>
              <a:gd name="connsiteY68" fmla="*/ 665579 h 722729"/>
              <a:gd name="connsiteX69" fmla="*/ 2816225 w 2889264"/>
              <a:gd name="connsiteY69" fmla="*/ 675104 h 722729"/>
              <a:gd name="connsiteX70" fmla="*/ 2832100 w 2889264"/>
              <a:gd name="connsiteY70" fmla="*/ 681454 h 722729"/>
              <a:gd name="connsiteX71" fmla="*/ 2876550 w 2889264"/>
              <a:gd name="connsiteY71" fmla="*/ 713204 h 722729"/>
              <a:gd name="connsiteX72" fmla="*/ 2889250 w 2889264"/>
              <a:gd name="connsiteY72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14500 w 2889264"/>
              <a:gd name="connsiteY22" fmla="*/ 135354 h 722729"/>
              <a:gd name="connsiteX23" fmla="*/ 1727200 w 2889264"/>
              <a:gd name="connsiteY23" fmla="*/ 144879 h 722729"/>
              <a:gd name="connsiteX24" fmla="*/ 1758950 w 2889264"/>
              <a:gd name="connsiteY24" fmla="*/ 154404 h 722729"/>
              <a:gd name="connsiteX25" fmla="*/ 1768475 w 2889264"/>
              <a:gd name="connsiteY25" fmla="*/ 160754 h 722729"/>
              <a:gd name="connsiteX26" fmla="*/ 1793875 w 2889264"/>
              <a:gd name="connsiteY26" fmla="*/ 176629 h 722729"/>
              <a:gd name="connsiteX27" fmla="*/ 1838325 w 2889264"/>
              <a:gd name="connsiteY27" fmla="*/ 202029 h 722729"/>
              <a:gd name="connsiteX28" fmla="*/ 1847850 w 2889264"/>
              <a:gd name="connsiteY28" fmla="*/ 211554 h 722729"/>
              <a:gd name="connsiteX29" fmla="*/ 1885950 w 2889264"/>
              <a:gd name="connsiteY29" fmla="*/ 230604 h 722729"/>
              <a:gd name="connsiteX30" fmla="*/ 1901825 w 2889264"/>
              <a:gd name="connsiteY30" fmla="*/ 240129 h 722729"/>
              <a:gd name="connsiteX31" fmla="*/ 1933575 w 2889264"/>
              <a:gd name="connsiteY31" fmla="*/ 252829 h 722729"/>
              <a:gd name="connsiteX32" fmla="*/ 1962150 w 2889264"/>
              <a:gd name="connsiteY32" fmla="*/ 265529 h 722729"/>
              <a:gd name="connsiteX33" fmla="*/ 1971675 w 2889264"/>
              <a:gd name="connsiteY33" fmla="*/ 271879 h 722729"/>
              <a:gd name="connsiteX34" fmla="*/ 1987550 w 2889264"/>
              <a:gd name="connsiteY34" fmla="*/ 278229 h 722729"/>
              <a:gd name="connsiteX35" fmla="*/ 2022475 w 2889264"/>
              <a:gd name="connsiteY35" fmla="*/ 290929 h 722729"/>
              <a:gd name="connsiteX36" fmla="*/ 2047875 w 2889264"/>
              <a:gd name="connsiteY36" fmla="*/ 303629 h 722729"/>
              <a:gd name="connsiteX37" fmla="*/ 2063750 w 2889264"/>
              <a:gd name="connsiteY37" fmla="*/ 309979 h 722729"/>
              <a:gd name="connsiteX38" fmla="*/ 2082800 w 2889264"/>
              <a:gd name="connsiteY38" fmla="*/ 319504 h 722729"/>
              <a:gd name="connsiteX39" fmla="*/ 2095500 w 2889264"/>
              <a:gd name="connsiteY39" fmla="*/ 322679 h 722729"/>
              <a:gd name="connsiteX40" fmla="*/ 2124075 w 2889264"/>
              <a:gd name="connsiteY40" fmla="*/ 332204 h 722729"/>
              <a:gd name="connsiteX41" fmla="*/ 2159000 w 2889264"/>
              <a:gd name="connsiteY41" fmla="*/ 348079 h 722729"/>
              <a:gd name="connsiteX42" fmla="*/ 2187575 w 2889264"/>
              <a:gd name="connsiteY42" fmla="*/ 367129 h 722729"/>
              <a:gd name="connsiteX43" fmla="*/ 2209800 w 2889264"/>
              <a:gd name="connsiteY43" fmla="*/ 383004 h 722729"/>
              <a:gd name="connsiteX44" fmla="*/ 2247900 w 2889264"/>
              <a:gd name="connsiteY44" fmla="*/ 408404 h 722729"/>
              <a:gd name="connsiteX45" fmla="*/ 2276475 w 2889264"/>
              <a:gd name="connsiteY45" fmla="*/ 424279 h 722729"/>
              <a:gd name="connsiteX46" fmla="*/ 2289175 w 2889264"/>
              <a:gd name="connsiteY46" fmla="*/ 433804 h 722729"/>
              <a:gd name="connsiteX47" fmla="*/ 2308225 w 2889264"/>
              <a:gd name="connsiteY47" fmla="*/ 436979 h 722729"/>
              <a:gd name="connsiteX48" fmla="*/ 2333625 w 2889264"/>
              <a:gd name="connsiteY48" fmla="*/ 449679 h 722729"/>
              <a:gd name="connsiteX49" fmla="*/ 2352675 w 2889264"/>
              <a:gd name="connsiteY49" fmla="*/ 456029 h 722729"/>
              <a:gd name="connsiteX50" fmla="*/ 2397125 w 2889264"/>
              <a:gd name="connsiteY50" fmla="*/ 478254 h 722729"/>
              <a:gd name="connsiteX51" fmla="*/ 2422525 w 2889264"/>
              <a:gd name="connsiteY51" fmla="*/ 484604 h 722729"/>
              <a:gd name="connsiteX52" fmla="*/ 2432050 w 2889264"/>
              <a:gd name="connsiteY52" fmla="*/ 487779 h 722729"/>
              <a:gd name="connsiteX53" fmla="*/ 2454275 w 2889264"/>
              <a:gd name="connsiteY53" fmla="*/ 500479 h 722729"/>
              <a:gd name="connsiteX54" fmla="*/ 2470150 w 2889264"/>
              <a:gd name="connsiteY54" fmla="*/ 513179 h 722729"/>
              <a:gd name="connsiteX55" fmla="*/ 2495550 w 2889264"/>
              <a:gd name="connsiteY55" fmla="*/ 522704 h 722729"/>
              <a:gd name="connsiteX56" fmla="*/ 2546350 w 2889264"/>
              <a:gd name="connsiteY56" fmla="*/ 548104 h 722729"/>
              <a:gd name="connsiteX57" fmla="*/ 2574925 w 2889264"/>
              <a:gd name="connsiteY57" fmla="*/ 554454 h 722729"/>
              <a:gd name="connsiteX58" fmla="*/ 2600325 w 2889264"/>
              <a:gd name="connsiteY58" fmla="*/ 567154 h 722729"/>
              <a:gd name="connsiteX59" fmla="*/ 2616200 w 2889264"/>
              <a:gd name="connsiteY59" fmla="*/ 570329 h 722729"/>
              <a:gd name="connsiteX60" fmla="*/ 2638425 w 2889264"/>
              <a:gd name="connsiteY60" fmla="*/ 576679 h 722729"/>
              <a:gd name="connsiteX61" fmla="*/ 2654300 w 2889264"/>
              <a:gd name="connsiteY61" fmla="*/ 586204 h 722729"/>
              <a:gd name="connsiteX62" fmla="*/ 2673350 w 2889264"/>
              <a:gd name="connsiteY62" fmla="*/ 592554 h 722729"/>
              <a:gd name="connsiteX63" fmla="*/ 2708275 w 2889264"/>
              <a:gd name="connsiteY63" fmla="*/ 614779 h 722729"/>
              <a:gd name="connsiteX64" fmla="*/ 2730500 w 2889264"/>
              <a:gd name="connsiteY64" fmla="*/ 624304 h 722729"/>
              <a:gd name="connsiteX65" fmla="*/ 2749550 w 2889264"/>
              <a:gd name="connsiteY65" fmla="*/ 640179 h 722729"/>
              <a:gd name="connsiteX66" fmla="*/ 2774950 w 2889264"/>
              <a:gd name="connsiteY66" fmla="*/ 652879 h 722729"/>
              <a:gd name="connsiteX67" fmla="*/ 2803525 w 2889264"/>
              <a:gd name="connsiteY67" fmla="*/ 665579 h 722729"/>
              <a:gd name="connsiteX68" fmla="*/ 2816225 w 2889264"/>
              <a:gd name="connsiteY68" fmla="*/ 675104 h 722729"/>
              <a:gd name="connsiteX69" fmla="*/ 2832100 w 2889264"/>
              <a:gd name="connsiteY69" fmla="*/ 681454 h 722729"/>
              <a:gd name="connsiteX70" fmla="*/ 2876550 w 2889264"/>
              <a:gd name="connsiteY70" fmla="*/ 713204 h 722729"/>
              <a:gd name="connsiteX71" fmla="*/ 2889250 w 2889264"/>
              <a:gd name="connsiteY71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14500 w 2889264"/>
              <a:gd name="connsiteY22" fmla="*/ 135354 h 722729"/>
              <a:gd name="connsiteX23" fmla="*/ 1758950 w 2889264"/>
              <a:gd name="connsiteY23" fmla="*/ 154404 h 722729"/>
              <a:gd name="connsiteX24" fmla="*/ 1768475 w 2889264"/>
              <a:gd name="connsiteY24" fmla="*/ 160754 h 722729"/>
              <a:gd name="connsiteX25" fmla="*/ 1793875 w 2889264"/>
              <a:gd name="connsiteY25" fmla="*/ 176629 h 722729"/>
              <a:gd name="connsiteX26" fmla="*/ 1838325 w 2889264"/>
              <a:gd name="connsiteY26" fmla="*/ 202029 h 722729"/>
              <a:gd name="connsiteX27" fmla="*/ 1847850 w 2889264"/>
              <a:gd name="connsiteY27" fmla="*/ 211554 h 722729"/>
              <a:gd name="connsiteX28" fmla="*/ 1885950 w 2889264"/>
              <a:gd name="connsiteY28" fmla="*/ 230604 h 722729"/>
              <a:gd name="connsiteX29" fmla="*/ 1901825 w 2889264"/>
              <a:gd name="connsiteY29" fmla="*/ 240129 h 722729"/>
              <a:gd name="connsiteX30" fmla="*/ 1933575 w 2889264"/>
              <a:gd name="connsiteY30" fmla="*/ 252829 h 722729"/>
              <a:gd name="connsiteX31" fmla="*/ 1962150 w 2889264"/>
              <a:gd name="connsiteY31" fmla="*/ 265529 h 722729"/>
              <a:gd name="connsiteX32" fmla="*/ 1971675 w 2889264"/>
              <a:gd name="connsiteY32" fmla="*/ 271879 h 722729"/>
              <a:gd name="connsiteX33" fmla="*/ 1987550 w 2889264"/>
              <a:gd name="connsiteY33" fmla="*/ 278229 h 722729"/>
              <a:gd name="connsiteX34" fmla="*/ 2022475 w 2889264"/>
              <a:gd name="connsiteY34" fmla="*/ 290929 h 722729"/>
              <a:gd name="connsiteX35" fmla="*/ 2047875 w 2889264"/>
              <a:gd name="connsiteY35" fmla="*/ 303629 h 722729"/>
              <a:gd name="connsiteX36" fmla="*/ 2063750 w 2889264"/>
              <a:gd name="connsiteY36" fmla="*/ 309979 h 722729"/>
              <a:gd name="connsiteX37" fmla="*/ 2082800 w 2889264"/>
              <a:gd name="connsiteY37" fmla="*/ 319504 h 722729"/>
              <a:gd name="connsiteX38" fmla="*/ 2095500 w 2889264"/>
              <a:gd name="connsiteY38" fmla="*/ 322679 h 722729"/>
              <a:gd name="connsiteX39" fmla="*/ 2124075 w 2889264"/>
              <a:gd name="connsiteY39" fmla="*/ 332204 h 722729"/>
              <a:gd name="connsiteX40" fmla="*/ 2159000 w 2889264"/>
              <a:gd name="connsiteY40" fmla="*/ 348079 h 722729"/>
              <a:gd name="connsiteX41" fmla="*/ 2187575 w 2889264"/>
              <a:gd name="connsiteY41" fmla="*/ 367129 h 722729"/>
              <a:gd name="connsiteX42" fmla="*/ 2209800 w 2889264"/>
              <a:gd name="connsiteY42" fmla="*/ 383004 h 722729"/>
              <a:gd name="connsiteX43" fmla="*/ 2247900 w 2889264"/>
              <a:gd name="connsiteY43" fmla="*/ 408404 h 722729"/>
              <a:gd name="connsiteX44" fmla="*/ 2276475 w 2889264"/>
              <a:gd name="connsiteY44" fmla="*/ 424279 h 722729"/>
              <a:gd name="connsiteX45" fmla="*/ 2289175 w 2889264"/>
              <a:gd name="connsiteY45" fmla="*/ 433804 h 722729"/>
              <a:gd name="connsiteX46" fmla="*/ 2308225 w 2889264"/>
              <a:gd name="connsiteY46" fmla="*/ 436979 h 722729"/>
              <a:gd name="connsiteX47" fmla="*/ 2333625 w 2889264"/>
              <a:gd name="connsiteY47" fmla="*/ 449679 h 722729"/>
              <a:gd name="connsiteX48" fmla="*/ 2352675 w 2889264"/>
              <a:gd name="connsiteY48" fmla="*/ 456029 h 722729"/>
              <a:gd name="connsiteX49" fmla="*/ 2397125 w 2889264"/>
              <a:gd name="connsiteY49" fmla="*/ 478254 h 722729"/>
              <a:gd name="connsiteX50" fmla="*/ 2422525 w 2889264"/>
              <a:gd name="connsiteY50" fmla="*/ 484604 h 722729"/>
              <a:gd name="connsiteX51" fmla="*/ 2432050 w 2889264"/>
              <a:gd name="connsiteY51" fmla="*/ 487779 h 722729"/>
              <a:gd name="connsiteX52" fmla="*/ 2454275 w 2889264"/>
              <a:gd name="connsiteY52" fmla="*/ 500479 h 722729"/>
              <a:gd name="connsiteX53" fmla="*/ 2470150 w 2889264"/>
              <a:gd name="connsiteY53" fmla="*/ 513179 h 722729"/>
              <a:gd name="connsiteX54" fmla="*/ 2495550 w 2889264"/>
              <a:gd name="connsiteY54" fmla="*/ 522704 h 722729"/>
              <a:gd name="connsiteX55" fmla="*/ 2546350 w 2889264"/>
              <a:gd name="connsiteY55" fmla="*/ 548104 h 722729"/>
              <a:gd name="connsiteX56" fmla="*/ 2574925 w 2889264"/>
              <a:gd name="connsiteY56" fmla="*/ 554454 h 722729"/>
              <a:gd name="connsiteX57" fmla="*/ 2600325 w 2889264"/>
              <a:gd name="connsiteY57" fmla="*/ 567154 h 722729"/>
              <a:gd name="connsiteX58" fmla="*/ 2616200 w 2889264"/>
              <a:gd name="connsiteY58" fmla="*/ 570329 h 722729"/>
              <a:gd name="connsiteX59" fmla="*/ 2638425 w 2889264"/>
              <a:gd name="connsiteY59" fmla="*/ 576679 h 722729"/>
              <a:gd name="connsiteX60" fmla="*/ 2654300 w 2889264"/>
              <a:gd name="connsiteY60" fmla="*/ 586204 h 722729"/>
              <a:gd name="connsiteX61" fmla="*/ 2673350 w 2889264"/>
              <a:gd name="connsiteY61" fmla="*/ 592554 h 722729"/>
              <a:gd name="connsiteX62" fmla="*/ 2708275 w 2889264"/>
              <a:gd name="connsiteY62" fmla="*/ 614779 h 722729"/>
              <a:gd name="connsiteX63" fmla="*/ 2730500 w 2889264"/>
              <a:gd name="connsiteY63" fmla="*/ 624304 h 722729"/>
              <a:gd name="connsiteX64" fmla="*/ 2749550 w 2889264"/>
              <a:gd name="connsiteY64" fmla="*/ 640179 h 722729"/>
              <a:gd name="connsiteX65" fmla="*/ 2774950 w 2889264"/>
              <a:gd name="connsiteY65" fmla="*/ 652879 h 722729"/>
              <a:gd name="connsiteX66" fmla="*/ 2803525 w 2889264"/>
              <a:gd name="connsiteY66" fmla="*/ 665579 h 722729"/>
              <a:gd name="connsiteX67" fmla="*/ 2816225 w 2889264"/>
              <a:gd name="connsiteY67" fmla="*/ 675104 h 722729"/>
              <a:gd name="connsiteX68" fmla="*/ 2832100 w 2889264"/>
              <a:gd name="connsiteY68" fmla="*/ 681454 h 722729"/>
              <a:gd name="connsiteX69" fmla="*/ 2876550 w 2889264"/>
              <a:gd name="connsiteY69" fmla="*/ 713204 h 722729"/>
              <a:gd name="connsiteX70" fmla="*/ 2889250 w 2889264"/>
              <a:gd name="connsiteY70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793875 w 2889264"/>
              <a:gd name="connsiteY24" fmla="*/ 176629 h 722729"/>
              <a:gd name="connsiteX25" fmla="*/ 1838325 w 2889264"/>
              <a:gd name="connsiteY25" fmla="*/ 202029 h 722729"/>
              <a:gd name="connsiteX26" fmla="*/ 1847850 w 2889264"/>
              <a:gd name="connsiteY26" fmla="*/ 211554 h 722729"/>
              <a:gd name="connsiteX27" fmla="*/ 1885950 w 2889264"/>
              <a:gd name="connsiteY27" fmla="*/ 230604 h 722729"/>
              <a:gd name="connsiteX28" fmla="*/ 1901825 w 2889264"/>
              <a:gd name="connsiteY28" fmla="*/ 240129 h 722729"/>
              <a:gd name="connsiteX29" fmla="*/ 1933575 w 2889264"/>
              <a:gd name="connsiteY29" fmla="*/ 252829 h 722729"/>
              <a:gd name="connsiteX30" fmla="*/ 1962150 w 2889264"/>
              <a:gd name="connsiteY30" fmla="*/ 265529 h 722729"/>
              <a:gd name="connsiteX31" fmla="*/ 1971675 w 2889264"/>
              <a:gd name="connsiteY31" fmla="*/ 271879 h 722729"/>
              <a:gd name="connsiteX32" fmla="*/ 1987550 w 2889264"/>
              <a:gd name="connsiteY32" fmla="*/ 278229 h 722729"/>
              <a:gd name="connsiteX33" fmla="*/ 2022475 w 2889264"/>
              <a:gd name="connsiteY33" fmla="*/ 290929 h 722729"/>
              <a:gd name="connsiteX34" fmla="*/ 2047875 w 2889264"/>
              <a:gd name="connsiteY34" fmla="*/ 303629 h 722729"/>
              <a:gd name="connsiteX35" fmla="*/ 2063750 w 2889264"/>
              <a:gd name="connsiteY35" fmla="*/ 309979 h 722729"/>
              <a:gd name="connsiteX36" fmla="*/ 2082800 w 2889264"/>
              <a:gd name="connsiteY36" fmla="*/ 319504 h 722729"/>
              <a:gd name="connsiteX37" fmla="*/ 2095500 w 2889264"/>
              <a:gd name="connsiteY37" fmla="*/ 322679 h 722729"/>
              <a:gd name="connsiteX38" fmla="*/ 2124075 w 2889264"/>
              <a:gd name="connsiteY38" fmla="*/ 332204 h 722729"/>
              <a:gd name="connsiteX39" fmla="*/ 2159000 w 2889264"/>
              <a:gd name="connsiteY39" fmla="*/ 348079 h 722729"/>
              <a:gd name="connsiteX40" fmla="*/ 2187575 w 2889264"/>
              <a:gd name="connsiteY40" fmla="*/ 367129 h 722729"/>
              <a:gd name="connsiteX41" fmla="*/ 2209800 w 2889264"/>
              <a:gd name="connsiteY41" fmla="*/ 383004 h 722729"/>
              <a:gd name="connsiteX42" fmla="*/ 2247900 w 2889264"/>
              <a:gd name="connsiteY42" fmla="*/ 408404 h 722729"/>
              <a:gd name="connsiteX43" fmla="*/ 2276475 w 2889264"/>
              <a:gd name="connsiteY43" fmla="*/ 424279 h 722729"/>
              <a:gd name="connsiteX44" fmla="*/ 2289175 w 2889264"/>
              <a:gd name="connsiteY44" fmla="*/ 433804 h 722729"/>
              <a:gd name="connsiteX45" fmla="*/ 2308225 w 2889264"/>
              <a:gd name="connsiteY45" fmla="*/ 436979 h 722729"/>
              <a:gd name="connsiteX46" fmla="*/ 2333625 w 2889264"/>
              <a:gd name="connsiteY46" fmla="*/ 449679 h 722729"/>
              <a:gd name="connsiteX47" fmla="*/ 2352675 w 2889264"/>
              <a:gd name="connsiteY47" fmla="*/ 456029 h 722729"/>
              <a:gd name="connsiteX48" fmla="*/ 2397125 w 2889264"/>
              <a:gd name="connsiteY48" fmla="*/ 478254 h 722729"/>
              <a:gd name="connsiteX49" fmla="*/ 2422525 w 2889264"/>
              <a:gd name="connsiteY49" fmla="*/ 484604 h 722729"/>
              <a:gd name="connsiteX50" fmla="*/ 2432050 w 2889264"/>
              <a:gd name="connsiteY50" fmla="*/ 487779 h 722729"/>
              <a:gd name="connsiteX51" fmla="*/ 2454275 w 2889264"/>
              <a:gd name="connsiteY51" fmla="*/ 500479 h 722729"/>
              <a:gd name="connsiteX52" fmla="*/ 2470150 w 2889264"/>
              <a:gd name="connsiteY52" fmla="*/ 513179 h 722729"/>
              <a:gd name="connsiteX53" fmla="*/ 2495550 w 2889264"/>
              <a:gd name="connsiteY53" fmla="*/ 522704 h 722729"/>
              <a:gd name="connsiteX54" fmla="*/ 2546350 w 2889264"/>
              <a:gd name="connsiteY54" fmla="*/ 548104 h 722729"/>
              <a:gd name="connsiteX55" fmla="*/ 2574925 w 2889264"/>
              <a:gd name="connsiteY55" fmla="*/ 554454 h 722729"/>
              <a:gd name="connsiteX56" fmla="*/ 2600325 w 2889264"/>
              <a:gd name="connsiteY56" fmla="*/ 567154 h 722729"/>
              <a:gd name="connsiteX57" fmla="*/ 2616200 w 2889264"/>
              <a:gd name="connsiteY57" fmla="*/ 570329 h 722729"/>
              <a:gd name="connsiteX58" fmla="*/ 2638425 w 2889264"/>
              <a:gd name="connsiteY58" fmla="*/ 576679 h 722729"/>
              <a:gd name="connsiteX59" fmla="*/ 2654300 w 2889264"/>
              <a:gd name="connsiteY59" fmla="*/ 586204 h 722729"/>
              <a:gd name="connsiteX60" fmla="*/ 2673350 w 2889264"/>
              <a:gd name="connsiteY60" fmla="*/ 592554 h 722729"/>
              <a:gd name="connsiteX61" fmla="*/ 2708275 w 2889264"/>
              <a:gd name="connsiteY61" fmla="*/ 614779 h 722729"/>
              <a:gd name="connsiteX62" fmla="*/ 2730500 w 2889264"/>
              <a:gd name="connsiteY62" fmla="*/ 624304 h 722729"/>
              <a:gd name="connsiteX63" fmla="*/ 2749550 w 2889264"/>
              <a:gd name="connsiteY63" fmla="*/ 640179 h 722729"/>
              <a:gd name="connsiteX64" fmla="*/ 2774950 w 2889264"/>
              <a:gd name="connsiteY64" fmla="*/ 652879 h 722729"/>
              <a:gd name="connsiteX65" fmla="*/ 2803525 w 2889264"/>
              <a:gd name="connsiteY65" fmla="*/ 665579 h 722729"/>
              <a:gd name="connsiteX66" fmla="*/ 2816225 w 2889264"/>
              <a:gd name="connsiteY66" fmla="*/ 675104 h 722729"/>
              <a:gd name="connsiteX67" fmla="*/ 2832100 w 2889264"/>
              <a:gd name="connsiteY67" fmla="*/ 681454 h 722729"/>
              <a:gd name="connsiteX68" fmla="*/ 2876550 w 2889264"/>
              <a:gd name="connsiteY68" fmla="*/ 713204 h 722729"/>
              <a:gd name="connsiteX69" fmla="*/ 2889250 w 2889264"/>
              <a:gd name="connsiteY69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47850 w 2889264"/>
              <a:gd name="connsiteY25" fmla="*/ 211554 h 722729"/>
              <a:gd name="connsiteX26" fmla="*/ 1885950 w 2889264"/>
              <a:gd name="connsiteY26" fmla="*/ 230604 h 722729"/>
              <a:gd name="connsiteX27" fmla="*/ 1901825 w 2889264"/>
              <a:gd name="connsiteY27" fmla="*/ 240129 h 722729"/>
              <a:gd name="connsiteX28" fmla="*/ 1933575 w 2889264"/>
              <a:gd name="connsiteY28" fmla="*/ 252829 h 722729"/>
              <a:gd name="connsiteX29" fmla="*/ 1962150 w 2889264"/>
              <a:gd name="connsiteY29" fmla="*/ 265529 h 722729"/>
              <a:gd name="connsiteX30" fmla="*/ 1971675 w 2889264"/>
              <a:gd name="connsiteY30" fmla="*/ 271879 h 722729"/>
              <a:gd name="connsiteX31" fmla="*/ 1987550 w 2889264"/>
              <a:gd name="connsiteY31" fmla="*/ 278229 h 722729"/>
              <a:gd name="connsiteX32" fmla="*/ 2022475 w 2889264"/>
              <a:gd name="connsiteY32" fmla="*/ 290929 h 722729"/>
              <a:gd name="connsiteX33" fmla="*/ 2047875 w 2889264"/>
              <a:gd name="connsiteY33" fmla="*/ 303629 h 722729"/>
              <a:gd name="connsiteX34" fmla="*/ 2063750 w 2889264"/>
              <a:gd name="connsiteY34" fmla="*/ 309979 h 722729"/>
              <a:gd name="connsiteX35" fmla="*/ 2082800 w 2889264"/>
              <a:gd name="connsiteY35" fmla="*/ 319504 h 722729"/>
              <a:gd name="connsiteX36" fmla="*/ 2095500 w 2889264"/>
              <a:gd name="connsiteY36" fmla="*/ 322679 h 722729"/>
              <a:gd name="connsiteX37" fmla="*/ 2124075 w 2889264"/>
              <a:gd name="connsiteY37" fmla="*/ 332204 h 722729"/>
              <a:gd name="connsiteX38" fmla="*/ 2159000 w 2889264"/>
              <a:gd name="connsiteY38" fmla="*/ 348079 h 722729"/>
              <a:gd name="connsiteX39" fmla="*/ 2187575 w 2889264"/>
              <a:gd name="connsiteY39" fmla="*/ 367129 h 722729"/>
              <a:gd name="connsiteX40" fmla="*/ 2209800 w 2889264"/>
              <a:gd name="connsiteY40" fmla="*/ 383004 h 722729"/>
              <a:gd name="connsiteX41" fmla="*/ 2247900 w 2889264"/>
              <a:gd name="connsiteY41" fmla="*/ 408404 h 722729"/>
              <a:gd name="connsiteX42" fmla="*/ 2276475 w 2889264"/>
              <a:gd name="connsiteY42" fmla="*/ 424279 h 722729"/>
              <a:gd name="connsiteX43" fmla="*/ 2289175 w 2889264"/>
              <a:gd name="connsiteY43" fmla="*/ 433804 h 722729"/>
              <a:gd name="connsiteX44" fmla="*/ 2308225 w 2889264"/>
              <a:gd name="connsiteY44" fmla="*/ 436979 h 722729"/>
              <a:gd name="connsiteX45" fmla="*/ 2333625 w 2889264"/>
              <a:gd name="connsiteY45" fmla="*/ 449679 h 722729"/>
              <a:gd name="connsiteX46" fmla="*/ 2352675 w 2889264"/>
              <a:gd name="connsiteY46" fmla="*/ 456029 h 722729"/>
              <a:gd name="connsiteX47" fmla="*/ 2397125 w 2889264"/>
              <a:gd name="connsiteY47" fmla="*/ 478254 h 722729"/>
              <a:gd name="connsiteX48" fmla="*/ 2422525 w 2889264"/>
              <a:gd name="connsiteY48" fmla="*/ 484604 h 722729"/>
              <a:gd name="connsiteX49" fmla="*/ 2432050 w 2889264"/>
              <a:gd name="connsiteY49" fmla="*/ 487779 h 722729"/>
              <a:gd name="connsiteX50" fmla="*/ 2454275 w 2889264"/>
              <a:gd name="connsiteY50" fmla="*/ 500479 h 722729"/>
              <a:gd name="connsiteX51" fmla="*/ 2470150 w 2889264"/>
              <a:gd name="connsiteY51" fmla="*/ 513179 h 722729"/>
              <a:gd name="connsiteX52" fmla="*/ 2495550 w 2889264"/>
              <a:gd name="connsiteY52" fmla="*/ 522704 h 722729"/>
              <a:gd name="connsiteX53" fmla="*/ 2546350 w 2889264"/>
              <a:gd name="connsiteY53" fmla="*/ 548104 h 722729"/>
              <a:gd name="connsiteX54" fmla="*/ 2574925 w 2889264"/>
              <a:gd name="connsiteY54" fmla="*/ 554454 h 722729"/>
              <a:gd name="connsiteX55" fmla="*/ 2600325 w 2889264"/>
              <a:gd name="connsiteY55" fmla="*/ 567154 h 722729"/>
              <a:gd name="connsiteX56" fmla="*/ 2616200 w 2889264"/>
              <a:gd name="connsiteY56" fmla="*/ 570329 h 722729"/>
              <a:gd name="connsiteX57" fmla="*/ 2638425 w 2889264"/>
              <a:gd name="connsiteY57" fmla="*/ 576679 h 722729"/>
              <a:gd name="connsiteX58" fmla="*/ 2654300 w 2889264"/>
              <a:gd name="connsiteY58" fmla="*/ 586204 h 722729"/>
              <a:gd name="connsiteX59" fmla="*/ 2673350 w 2889264"/>
              <a:gd name="connsiteY59" fmla="*/ 592554 h 722729"/>
              <a:gd name="connsiteX60" fmla="*/ 2708275 w 2889264"/>
              <a:gd name="connsiteY60" fmla="*/ 614779 h 722729"/>
              <a:gd name="connsiteX61" fmla="*/ 2730500 w 2889264"/>
              <a:gd name="connsiteY61" fmla="*/ 624304 h 722729"/>
              <a:gd name="connsiteX62" fmla="*/ 2749550 w 2889264"/>
              <a:gd name="connsiteY62" fmla="*/ 640179 h 722729"/>
              <a:gd name="connsiteX63" fmla="*/ 2774950 w 2889264"/>
              <a:gd name="connsiteY63" fmla="*/ 652879 h 722729"/>
              <a:gd name="connsiteX64" fmla="*/ 2803525 w 2889264"/>
              <a:gd name="connsiteY64" fmla="*/ 665579 h 722729"/>
              <a:gd name="connsiteX65" fmla="*/ 2816225 w 2889264"/>
              <a:gd name="connsiteY65" fmla="*/ 675104 h 722729"/>
              <a:gd name="connsiteX66" fmla="*/ 2832100 w 2889264"/>
              <a:gd name="connsiteY66" fmla="*/ 681454 h 722729"/>
              <a:gd name="connsiteX67" fmla="*/ 2876550 w 2889264"/>
              <a:gd name="connsiteY67" fmla="*/ 713204 h 722729"/>
              <a:gd name="connsiteX68" fmla="*/ 2889250 w 2889264"/>
              <a:gd name="connsiteY68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01825 w 2889264"/>
              <a:gd name="connsiteY26" fmla="*/ 240129 h 722729"/>
              <a:gd name="connsiteX27" fmla="*/ 1933575 w 2889264"/>
              <a:gd name="connsiteY27" fmla="*/ 252829 h 722729"/>
              <a:gd name="connsiteX28" fmla="*/ 1962150 w 2889264"/>
              <a:gd name="connsiteY28" fmla="*/ 265529 h 722729"/>
              <a:gd name="connsiteX29" fmla="*/ 1971675 w 2889264"/>
              <a:gd name="connsiteY29" fmla="*/ 271879 h 722729"/>
              <a:gd name="connsiteX30" fmla="*/ 1987550 w 2889264"/>
              <a:gd name="connsiteY30" fmla="*/ 278229 h 722729"/>
              <a:gd name="connsiteX31" fmla="*/ 2022475 w 2889264"/>
              <a:gd name="connsiteY31" fmla="*/ 290929 h 722729"/>
              <a:gd name="connsiteX32" fmla="*/ 2047875 w 2889264"/>
              <a:gd name="connsiteY32" fmla="*/ 303629 h 722729"/>
              <a:gd name="connsiteX33" fmla="*/ 2063750 w 2889264"/>
              <a:gd name="connsiteY33" fmla="*/ 309979 h 722729"/>
              <a:gd name="connsiteX34" fmla="*/ 2082800 w 2889264"/>
              <a:gd name="connsiteY34" fmla="*/ 319504 h 722729"/>
              <a:gd name="connsiteX35" fmla="*/ 2095500 w 2889264"/>
              <a:gd name="connsiteY35" fmla="*/ 322679 h 722729"/>
              <a:gd name="connsiteX36" fmla="*/ 2124075 w 2889264"/>
              <a:gd name="connsiteY36" fmla="*/ 332204 h 722729"/>
              <a:gd name="connsiteX37" fmla="*/ 2159000 w 2889264"/>
              <a:gd name="connsiteY37" fmla="*/ 348079 h 722729"/>
              <a:gd name="connsiteX38" fmla="*/ 2187575 w 2889264"/>
              <a:gd name="connsiteY38" fmla="*/ 367129 h 722729"/>
              <a:gd name="connsiteX39" fmla="*/ 2209800 w 2889264"/>
              <a:gd name="connsiteY39" fmla="*/ 383004 h 722729"/>
              <a:gd name="connsiteX40" fmla="*/ 2247900 w 2889264"/>
              <a:gd name="connsiteY40" fmla="*/ 408404 h 722729"/>
              <a:gd name="connsiteX41" fmla="*/ 2276475 w 2889264"/>
              <a:gd name="connsiteY41" fmla="*/ 424279 h 722729"/>
              <a:gd name="connsiteX42" fmla="*/ 2289175 w 2889264"/>
              <a:gd name="connsiteY42" fmla="*/ 433804 h 722729"/>
              <a:gd name="connsiteX43" fmla="*/ 2308225 w 2889264"/>
              <a:gd name="connsiteY43" fmla="*/ 436979 h 722729"/>
              <a:gd name="connsiteX44" fmla="*/ 2333625 w 2889264"/>
              <a:gd name="connsiteY44" fmla="*/ 449679 h 722729"/>
              <a:gd name="connsiteX45" fmla="*/ 2352675 w 2889264"/>
              <a:gd name="connsiteY45" fmla="*/ 456029 h 722729"/>
              <a:gd name="connsiteX46" fmla="*/ 2397125 w 2889264"/>
              <a:gd name="connsiteY46" fmla="*/ 478254 h 722729"/>
              <a:gd name="connsiteX47" fmla="*/ 2422525 w 2889264"/>
              <a:gd name="connsiteY47" fmla="*/ 484604 h 722729"/>
              <a:gd name="connsiteX48" fmla="*/ 2432050 w 2889264"/>
              <a:gd name="connsiteY48" fmla="*/ 487779 h 722729"/>
              <a:gd name="connsiteX49" fmla="*/ 2454275 w 2889264"/>
              <a:gd name="connsiteY49" fmla="*/ 500479 h 722729"/>
              <a:gd name="connsiteX50" fmla="*/ 2470150 w 2889264"/>
              <a:gd name="connsiteY50" fmla="*/ 513179 h 722729"/>
              <a:gd name="connsiteX51" fmla="*/ 2495550 w 2889264"/>
              <a:gd name="connsiteY51" fmla="*/ 522704 h 722729"/>
              <a:gd name="connsiteX52" fmla="*/ 2546350 w 2889264"/>
              <a:gd name="connsiteY52" fmla="*/ 548104 h 722729"/>
              <a:gd name="connsiteX53" fmla="*/ 2574925 w 2889264"/>
              <a:gd name="connsiteY53" fmla="*/ 554454 h 722729"/>
              <a:gd name="connsiteX54" fmla="*/ 2600325 w 2889264"/>
              <a:gd name="connsiteY54" fmla="*/ 567154 h 722729"/>
              <a:gd name="connsiteX55" fmla="*/ 2616200 w 2889264"/>
              <a:gd name="connsiteY55" fmla="*/ 570329 h 722729"/>
              <a:gd name="connsiteX56" fmla="*/ 2638425 w 2889264"/>
              <a:gd name="connsiteY56" fmla="*/ 576679 h 722729"/>
              <a:gd name="connsiteX57" fmla="*/ 2654300 w 2889264"/>
              <a:gd name="connsiteY57" fmla="*/ 586204 h 722729"/>
              <a:gd name="connsiteX58" fmla="*/ 2673350 w 2889264"/>
              <a:gd name="connsiteY58" fmla="*/ 592554 h 722729"/>
              <a:gd name="connsiteX59" fmla="*/ 2708275 w 2889264"/>
              <a:gd name="connsiteY59" fmla="*/ 614779 h 722729"/>
              <a:gd name="connsiteX60" fmla="*/ 2730500 w 2889264"/>
              <a:gd name="connsiteY60" fmla="*/ 624304 h 722729"/>
              <a:gd name="connsiteX61" fmla="*/ 2749550 w 2889264"/>
              <a:gd name="connsiteY61" fmla="*/ 640179 h 722729"/>
              <a:gd name="connsiteX62" fmla="*/ 2774950 w 2889264"/>
              <a:gd name="connsiteY62" fmla="*/ 652879 h 722729"/>
              <a:gd name="connsiteX63" fmla="*/ 2803525 w 2889264"/>
              <a:gd name="connsiteY63" fmla="*/ 665579 h 722729"/>
              <a:gd name="connsiteX64" fmla="*/ 2816225 w 2889264"/>
              <a:gd name="connsiteY64" fmla="*/ 675104 h 722729"/>
              <a:gd name="connsiteX65" fmla="*/ 2832100 w 2889264"/>
              <a:gd name="connsiteY65" fmla="*/ 681454 h 722729"/>
              <a:gd name="connsiteX66" fmla="*/ 2876550 w 2889264"/>
              <a:gd name="connsiteY66" fmla="*/ 713204 h 722729"/>
              <a:gd name="connsiteX67" fmla="*/ 2889250 w 2889264"/>
              <a:gd name="connsiteY67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01825 w 2889264"/>
              <a:gd name="connsiteY26" fmla="*/ 240129 h 722729"/>
              <a:gd name="connsiteX27" fmla="*/ 1962150 w 2889264"/>
              <a:gd name="connsiteY27" fmla="*/ 265529 h 722729"/>
              <a:gd name="connsiteX28" fmla="*/ 1971675 w 2889264"/>
              <a:gd name="connsiteY28" fmla="*/ 271879 h 722729"/>
              <a:gd name="connsiteX29" fmla="*/ 1987550 w 2889264"/>
              <a:gd name="connsiteY29" fmla="*/ 278229 h 722729"/>
              <a:gd name="connsiteX30" fmla="*/ 2022475 w 2889264"/>
              <a:gd name="connsiteY30" fmla="*/ 290929 h 722729"/>
              <a:gd name="connsiteX31" fmla="*/ 2047875 w 2889264"/>
              <a:gd name="connsiteY31" fmla="*/ 303629 h 722729"/>
              <a:gd name="connsiteX32" fmla="*/ 2063750 w 2889264"/>
              <a:gd name="connsiteY32" fmla="*/ 309979 h 722729"/>
              <a:gd name="connsiteX33" fmla="*/ 2082800 w 2889264"/>
              <a:gd name="connsiteY33" fmla="*/ 319504 h 722729"/>
              <a:gd name="connsiteX34" fmla="*/ 2095500 w 2889264"/>
              <a:gd name="connsiteY34" fmla="*/ 322679 h 722729"/>
              <a:gd name="connsiteX35" fmla="*/ 2124075 w 2889264"/>
              <a:gd name="connsiteY35" fmla="*/ 332204 h 722729"/>
              <a:gd name="connsiteX36" fmla="*/ 2159000 w 2889264"/>
              <a:gd name="connsiteY36" fmla="*/ 348079 h 722729"/>
              <a:gd name="connsiteX37" fmla="*/ 2187575 w 2889264"/>
              <a:gd name="connsiteY37" fmla="*/ 367129 h 722729"/>
              <a:gd name="connsiteX38" fmla="*/ 2209800 w 2889264"/>
              <a:gd name="connsiteY38" fmla="*/ 383004 h 722729"/>
              <a:gd name="connsiteX39" fmla="*/ 2247900 w 2889264"/>
              <a:gd name="connsiteY39" fmla="*/ 408404 h 722729"/>
              <a:gd name="connsiteX40" fmla="*/ 2276475 w 2889264"/>
              <a:gd name="connsiteY40" fmla="*/ 424279 h 722729"/>
              <a:gd name="connsiteX41" fmla="*/ 2289175 w 2889264"/>
              <a:gd name="connsiteY41" fmla="*/ 433804 h 722729"/>
              <a:gd name="connsiteX42" fmla="*/ 2308225 w 2889264"/>
              <a:gd name="connsiteY42" fmla="*/ 436979 h 722729"/>
              <a:gd name="connsiteX43" fmla="*/ 2333625 w 2889264"/>
              <a:gd name="connsiteY43" fmla="*/ 449679 h 722729"/>
              <a:gd name="connsiteX44" fmla="*/ 2352675 w 2889264"/>
              <a:gd name="connsiteY44" fmla="*/ 456029 h 722729"/>
              <a:gd name="connsiteX45" fmla="*/ 2397125 w 2889264"/>
              <a:gd name="connsiteY45" fmla="*/ 478254 h 722729"/>
              <a:gd name="connsiteX46" fmla="*/ 2422525 w 2889264"/>
              <a:gd name="connsiteY46" fmla="*/ 484604 h 722729"/>
              <a:gd name="connsiteX47" fmla="*/ 2432050 w 2889264"/>
              <a:gd name="connsiteY47" fmla="*/ 487779 h 722729"/>
              <a:gd name="connsiteX48" fmla="*/ 2454275 w 2889264"/>
              <a:gd name="connsiteY48" fmla="*/ 500479 h 722729"/>
              <a:gd name="connsiteX49" fmla="*/ 2470150 w 2889264"/>
              <a:gd name="connsiteY49" fmla="*/ 513179 h 722729"/>
              <a:gd name="connsiteX50" fmla="*/ 2495550 w 2889264"/>
              <a:gd name="connsiteY50" fmla="*/ 522704 h 722729"/>
              <a:gd name="connsiteX51" fmla="*/ 2546350 w 2889264"/>
              <a:gd name="connsiteY51" fmla="*/ 548104 h 722729"/>
              <a:gd name="connsiteX52" fmla="*/ 2574925 w 2889264"/>
              <a:gd name="connsiteY52" fmla="*/ 554454 h 722729"/>
              <a:gd name="connsiteX53" fmla="*/ 2600325 w 2889264"/>
              <a:gd name="connsiteY53" fmla="*/ 567154 h 722729"/>
              <a:gd name="connsiteX54" fmla="*/ 2616200 w 2889264"/>
              <a:gd name="connsiteY54" fmla="*/ 570329 h 722729"/>
              <a:gd name="connsiteX55" fmla="*/ 2638425 w 2889264"/>
              <a:gd name="connsiteY55" fmla="*/ 576679 h 722729"/>
              <a:gd name="connsiteX56" fmla="*/ 2654300 w 2889264"/>
              <a:gd name="connsiteY56" fmla="*/ 586204 h 722729"/>
              <a:gd name="connsiteX57" fmla="*/ 2673350 w 2889264"/>
              <a:gd name="connsiteY57" fmla="*/ 592554 h 722729"/>
              <a:gd name="connsiteX58" fmla="*/ 2708275 w 2889264"/>
              <a:gd name="connsiteY58" fmla="*/ 614779 h 722729"/>
              <a:gd name="connsiteX59" fmla="*/ 2730500 w 2889264"/>
              <a:gd name="connsiteY59" fmla="*/ 624304 h 722729"/>
              <a:gd name="connsiteX60" fmla="*/ 2749550 w 2889264"/>
              <a:gd name="connsiteY60" fmla="*/ 640179 h 722729"/>
              <a:gd name="connsiteX61" fmla="*/ 2774950 w 2889264"/>
              <a:gd name="connsiteY61" fmla="*/ 652879 h 722729"/>
              <a:gd name="connsiteX62" fmla="*/ 2803525 w 2889264"/>
              <a:gd name="connsiteY62" fmla="*/ 665579 h 722729"/>
              <a:gd name="connsiteX63" fmla="*/ 2816225 w 2889264"/>
              <a:gd name="connsiteY63" fmla="*/ 675104 h 722729"/>
              <a:gd name="connsiteX64" fmla="*/ 2832100 w 2889264"/>
              <a:gd name="connsiteY64" fmla="*/ 681454 h 722729"/>
              <a:gd name="connsiteX65" fmla="*/ 2876550 w 2889264"/>
              <a:gd name="connsiteY65" fmla="*/ 713204 h 722729"/>
              <a:gd name="connsiteX66" fmla="*/ 2889250 w 2889264"/>
              <a:gd name="connsiteY66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01825 w 2889264"/>
              <a:gd name="connsiteY26" fmla="*/ 240129 h 722729"/>
              <a:gd name="connsiteX27" fmla="*/ 1962150 w 2889264"/>
              <a:gd name="connsiteY27" fmla="*/ 265529 h 722729"/>
              <a:gd name="connsiteX28" fmla="*/ 1971675 w 2889264"/>
              <a:gd name="connsiteY28" fmla="*/ 271879 h 722729"/>
              <a:gd name="connsiteX29" fmla="*/ 1987550 w 2889264"/>
              <a:gd name="connsiteY29" fmla="*/ 278229 h 722729"/>
              <a:gd name="connsiteX30" fmla="*/ 2047875 w 2889264"/>
              <a:gd name="connsiteY30" fmla="*/ 303629 h 722729"/>
              <a:gd name="connsiteX31" fmla="*/ 2063750 w 2889264"/>
              <a:gd name="connsiteY31" fmla="*/ 309979 h 722729"/>
              <a:gd name="connsiteX32" fmla="*/ 2082800 w 2889264"/>
              <a:gd name="connsiteY32" fmla="*/ 319504 h 722729"/>
              <a:gd name="connsiteX33" fmla="*/ 2095500 w 2889264"/>
              <a:gd name="connsiteY33" fmla="*/ 322679 h 722729"/>
              <a:gd name="connsiteX34" fmla="*/ 2124075 w 2889264"/>
              <a:gd name="connsiteY34" fmla="*/ 332204 h 722729"/>
              <a:gd name="connsiteX35" fmla="*/ 2159000 w 2889264"/>
              <a:gd name="connsiteY35" fmla="*/ 348079 h 722729"/>
              <a:gd name="connsiteX36" fmla="*/ 2187575 w 2889264"/>
              <a:gd name="connsiteY36" fmla="*/ 367129 h 722729"/>
              <a:gd name="connsiteX37" fmla="*/ 2209800 w 2889264"/>
              <a:gd name="connsiteY37" fmla="*/ 383004 h 722729"/>
              <a:gd name="connsiteX38" fmla="*/ 2247900 w 2889264"/>
              <a:gd name="connsiteY38" fmla="*/ 408404 h 722729"/>
              <a:gd name="connsiteX39" fmla="*/ 2276475 w 2889264"/>
              <a:gd name="connsiteY39" fmla="*/ 424279 h 722729"/>
              <a:gd name="connsiteX40" fmla="*/ 2289175 w 2889264"/>
              <a:gd name="connsiteY40" fmla="*/ 433804 h 722729"/>
              <a:gd name="connsiteX41" fmla="*/ 2308225 w 2889264"/>
              <a:gd name="connsiteY41" fmla="*/ 436979 h 722729"/>
              <a:gd name="connsiteX42" fmla="*/ 2333625 w 2889264"/>
              <a:gd name="connsiteY42" fmla="*/ 449679 h 722729"/>
              <a:gd name="connsiteX43" fmla="*/ 2352675 w 2889264"/>
              <a:gd name="connsiteY43" fmla="*/ 456029 h 722729"/>
              <a:gd name="connsiteX44" fmla="*/ 2397125 w 2889264"/>
              <a:gd name="connsiteY44" fmla="*/ 478254 h 722729"/>
              <a:gd name="connsiteX45" fmla="*/ 2422525 w 2889264"/>
              <a:gd name="connsiteY45" fmla="*/ 484604 h 722729"/>
              <a:gd name="connsiteX46" fmla="*/ 2432050 w 2889264"/>
              <a:gd name="connsiteY46" fmla="*/ 487779 h 722729"/>
              <a:gd name="connsiteX47" fmla="*/ 2454275 w 2889264"/>
              <a:gd name="connsiteY47" fmla="*/ 500479 h 722729"/>
              <a:gd name="connsiteX48" fmla="*/ 2470150 w 2889264"/>
              <a:gd name="connsiteY48" fmla="*/ 513179 h 722729"/>
              <a:gd name="connsiteX49" fmla="*/ 2495550 w 2889264"/>
              <a:gd name="connsiteY49" fmla="*/ 522704 h 722729"/>
              <a:gd name="connsiteX50" fmla="*/ 2546350 w 2889264"/>
              <a:gd name="connsiteY50" fmla="*/ 548104 h 722729"/>
              <a:gd name="connsiteX51" fmla="*/ 2574925 w 2889264"/>
              <a:gd name="connsiteY51" fmla="*/ 554454 h 722729"/>
              <a:gd name="connsiteX52" fmla="*/ 2600325 w 2889264"/>
              <a:gd name="connsiteY52" fmla="*/ 567154 h 722729"/>
              <a:gd name="connsiteX53" fmla="*/ 2616200 w 2889264"/>
              <a:gd name="connsiteY53" fmla="*/ 570329 h 722729"/>
              <a:gd name="connsiteX54" fmla="*/ 2638425 w 2889264"/>
              <a:gd name="connsiteY54" fmla="*/ 576679 h 722729"/>
              <a:gd name="connsiteX55" fmla="*/ 2654300 w 2889264"/>
              <a:gd name="connsiteY55" fmla="*/ 586204 h 722729"/>
              <a:gd name="connsiteX56" fmla="*/ 2673350 w 2889264"/>
              <a:gd name="connsiteY56" fmla="*/ 592554 h 722729"/>
              <a:gd name="connsiteX57" fmla="*/ 2708275 w 2889264"/>
              <a:gd name="connsiteY57" fmla="*/ 614779 h 722729"/>
              <a:gd name="connsiteX58" fmla="*/ 2730500 w 2889264"/>
              <a:gd name="connsiteY58" fmla="*/ 624304 h 722729"/>
              <a:gd name="connsiteX59" fmla="*/ 2749550 w 2889264"/>
              <a:gd name="connsiteY59" fmla="*/ 640179 h 722729"/>
              <a:gd name="connsiteX60" fmla="*/ 2774950 w 2889264"/>
              <a:gd name="connsiteY60" fmla="*/ 652879 h 722729"/>
              <a:gd name="connsiteX61" fmla="*/ 2803525 w 2889264"/>
              <a:gd name="connsiteY61" fmla="*/ 665579 h 722729"/>
              <a:gd name="connsiteX62" fmla="*/ 2816225 w 2889264"/>
              <a:gd name="connsiteY62" fmla="*/ 675104 h 722729"/>
              <a:gd name="connsiteX63" fmla="*/ 2832100 w 2889264"/>
              <a:gd name="connsiteY63" fmla="*/ 681454 h 722729"/>
              <a:gd name="connsiteX64" fmla="*/ 2876550 w 2889264"/>
              <a:gd name="connsiteY64" fmla="*/ 713204 h 722729"/>
              <a:gd name="connsiteX65" fmla="*/ 2889250 w 2889264"/>
              <a:gd name="connsiteY65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1987550 w 2889264"/>
              <a:gd name="connsiteY28" fmla="*/ 278229 h 722729"/>
              <a:gd name="connsiteX29" fmla="*/ 2047875 w 2889264"/>
              <a:gd name="connsiteY29" fmla="*/ 303629 h 722729"/>
              <a:gd name="connsiteX30" fmla="*/ 2063750 w 2889264"/>
              <a:gd name="connsiteY30" fmla="*/ 309979 h 722729"/>
              <a:gd name="connsiteX31" fmla="*/ 2082800 w 2889264"/>
              <a:gd name="connsiteY31" fmla="*/ 319504 h 722729"/>
              <a:gd name="connsiteX32" fmla="*/ 2095500 w 2889264"/>
              <a:gd name="connsiteY32" fmla="*/ 322679 h 722729"/>
              <a:gd name="connsiteX33" fmla="*/ 2124075 w 2889264"/>
              <a:gd name="connsiteY33" fmla="*/ 332204 h 722729"/>
              <a:gd name="connsiteX34" fmla="*/ 2159000 w 2889264"/>
              <a:gd name="connsiteY34" fmla="*/ 348079 h 722729"/>
              <a:gd name="connsiteX35" fmla="*/ 2187575 w 2889264"/>
              <a:gd name="connsiteY35" fmla="*/ 367129 h 722729"/>
              <a:gd name="connsiteX36" fmla="*/ 2209800 w 2889264"/>
              <a:gd name="connsiteY36" fmla="*/ 383004 h 722729"/>
              <a:gd name="connsiteX37" fmla="*/ 2247900 w 2889264"/>
              <a:gd name="connsiteY37" fmla="*/ 408404 h 722729"/>
              <a:gd name="connsiteX38" fmla="*/ 2276475 w 2889264"/>
              <a:gd name="connsiteY38" fmla="*/ 424279 h 722729"/>
              <a:gd name="connsiteX39" fmla="*/ 2289175 w 2889264"/>
              <a:gd name="connsiteY39" fmla="*/ 433804 h 722729"/>
              <a:gd name="connsiteX40" fmla="*/ 2308225 w 2889264"/>
              <a:gd name="connsiteY40" fmla="*/ 436979 h 722729"/>
              <a:gd name="connsiteX41" fmla="*/ 2333625 w 2889264"/>
              <a:gd name="connsiteY41" fmla="*/ 449679 h 722729"/>
              <a:gd name="connsiteX42" fmla="*/ 2352675 w 2889264"/>
              <a:gd name="connsiteY42" fmla="*/ 456029 h 722729"/>
              <a:gd name="connsiteX43" fmla="*/ 2397125 w 2889264"/>
              <a:gd name="connsiteY43" fmla="*/ 478254 h 722729"/>
              <a:gd name="connsiteX44" fmla="*/ 2422525 w 2889264"/>
              <a:gd name="connsiteY44" fmla="*/ 484604 h 722729"/>
              <a:gd name="connsiteX45" fmla="*/ 2432050 w 2889264"/>
              <a:gd name="connsiteY45" fmla="*/ 487779 h 722729"/>
              <a:gd name="connsiteX46" fmla="*/ 2454275 w 2889264"/>
              <a:gd name="connsiteY46" fmla="*/ 500479 h 722729"/>
              <a:gd name="connsiteX47" fmla="*/ 2470150 w 2889264"/>
              <a:gd name="connsiteY47" fmla="*/ 513179 h 722729"/>
              <a:gd name="connsiteX48" fmla="*/ 2495550 w 2889264"/>
              <a:gd name="connsiteY48" fmla="*/ 522704 h 722729"/>
              <a:gd name="connsiteX49" fmla="*/ 2546350 w 2889264"/>
              <a:gd name="connsiteY49" fmla="*/ 548104 h 722729"/>
              <a:gd name="connsiteX50" fmla="*/ 2574925 w 2889264"/>
              <a:gd name="connsiteY50" fmla="*/ 554454 h 722729"/>
              <a:gd name="connsiteX51" fmla="*/ 2600325 w 2889264"/>
              <a:gd name="connsiteY51" fmla="*/ 567154 h 722729"/>
              <a:gd name="connsiteX52" fmla="*/ 2616200 w 2889264"/>
              <a:gd name="connsiteY52" fmla="*/ 570329 h 722729"/>
              <a:gd name="connsiteX53" fmla="*/ 2638425 w 2889264"/>
              <a:gd name="connsiteY53" fmla="*/ 576679 h 722729"/>
              <a:gd name="connsiteX54" fmla="*/ 2654300 w 2889264"/>
              <a:gd name="connsiteY54" fmla="*/ 586204 h 722729"/>
              <a:gd name="connsiteX55" fmla="*/ 2673350 w 2889264"/>
              <a:gd name="connsiteY55" fmla="*/ 592554 h 722729"/>
              <a:gd name="connsiteX56" fmla="*/ 2708275 w 2889264"/>
              <a:gd name="connsiteY56" fmla="*/ 614779 h 722729"/>
              <a:gd name="connsiteX57" fmla="*/ 2730500 w 2889264"/>
              <a:gd name="connsiteY57" fmla="*/ 624304 h 722729"/>
              <a:gd name="connsiteX58" fmla="*/ 2749550 w 2889264"/>
              <a:gd name="connsiteY58" fmla="*/ 640179 h 722729"/>
              <a:gd name="connsiteX59" fmla="*/ 2774950 w 2889264"/>
              <a:gd name="connsiteY59" fmla="*/ 652879 h 722729"/>
              <a:gd name="connsiteX60" fmla="*/ 2803525 w 2889264"/>
              <a:gd name="connsiteY60" fmla="*/ 665579 h 722729"/>
              <a:gd name="connsiteX61" fmla="*/ 2816225 w 2889264"/>
              <a:gd name="connsiteY61" fmla="*/ 675104 h 722729"/>
              <a:gd name="connsiteX62" fmla="*/ 2832100 w 2889264"/>
              <a:gd name="connsiteY62" fmla="*/ 681454 h 722729"/>
              <a:gd name="connsiteX63" fmla="*/ 2876550 w 2889264"/>
              <a:gd name="connsiteY63" fmla="*/ 713204 h 722729"/>
              <a:gd name="connsiteX64" fmla="*/ 2889250 w 2889264"/>
              <a:gd name="connsiteY64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063750 w 2889264"/>
              <a:gd name="connsiteY29" fmla="*/ 309979 h 722729"/>
              <a:gd name="connsiteX30" fmla="*/ 2082800 w 2889264"/>
              <a:gd name="connsiteY30" fmla="*/ 319504 h 722729"/>
              <a:gd name="connsiteX31" fmla="*/ 2095500 w 2889264"/>
              <a:gd name="connsiteY31" fmla="*/ 322679 h 722729"/>
              <a:gd name="connsiteX32" fmla="*/ 2124075 w 2889264"/>
              <a:gd name="connsiteY32" fmla="*/ 332204 h 722729"/>
              <a:gd name="connsiteX33" fmla="*/ 2159000 w 2889264"/>
              <a:gd name="connsiteY33" fmla="*/ 348079 h 722729"/>
              <a:gd name="connsiteX34" fmla="*/ 2187575 w 2889264"/>
              <a:gd name="connsiteY34" fmla="*/ 367129 h 722729"/>
              <a:gd name="connsiteX35" fmla="*/ 2209800 w 2889264"/>
              <a:gd name="connsiteY35" fmla="*/ 383004 h 722729"/>
              <a:gd name="connsiteX36" fmla="*/ 2247900 w 2889264"/>
              <a:gd name="connsiteY36" fmla="*/ 408404 h 722729"/>
              <a:gd name="connsiteX37" fmla="*/ 2276475 w 2889264"/>
              <a:gd name="connsiteY37" fmla="*/ 424279 h 722729"/>
              <a:gd name="connsiteX38" fmla="*/ 2289175 w 2889264"/>
              <a:gd name="connsiteY38" fmla="*/ 433804 h 722729"/>
              <a:gd name="connsiteX39" fmla="*/ 2308225 w 2889264"/>
              <a:gd name="connsiteY39" fmla="*/ 436979 h 722729"/>
              <a:gd name="connsiteX40" fmla="*/ 2333625 w 2889264"/>
              <a:gd name="connsiteY40" fmla="*/ 449679 h 722729"/>
              <a:gd name="connsiteX41" fmla="*/ 2352675 w 2889264"/>
              <a:gd name="connsiteY41" fmla="*/ 456029 h 722729"/>
              <a:gd name="connsiteX42" fmla="*/ 2397125 w 2889264"/>
              <a:gd name="connsiteY42" fmla="*/ 478254 h 722729"/>
              <a:gd name="connsiteX43" fmla="*/ 2422525 w 2889264"/>
              <a:gd name="connsiteY43" fmla="*/ 484604 h 722729"/>
              <a:gd name="connsiteX44" fmla="*/ 2432050 w 2889264"/>
              <a:gd name="connsiteY44" fmla="*/ 487779 h 722729"/>
              <a:gd name="connsiteX45" fmla="*/ 2454275 w 2889264"/>
              <a:gd name="connsiteY45" fmla="*/ 500479 h 722729"/>
              <a:gd name="connsiteX46" fmla="*/ 2470150 w 2889264"/>
              <a:gd name="connsiteY46" fmla="*/ 513179 h 722729"/>
              <a:gd name="connsiteX47" fmla="*/ 2495550 w 2889264"/>
              <a:gd name="connsiteY47" fmla="*/ 522704 h 722729"/>
              <a:gd name="connsiteX48" fmla="*/ 2546350 w 2889264"/>
              <a:gd name="connsiteY48" fmla="*/ 548104 h 722729"/>
              <a:gd name="connsiteX49" fmla="*/ 2574925 w 2889264"/>
              <a:gd name="connsiteY49" fmla="*/ 554454 h 722729"/>
              <a:gd name="connsiteX50" fmla="*/ 2600325 w 2889264"/>
              <a:gd name="connsiteY50" fmla="*/ 567154 h 722729"/>
              <a:gd name="connsiteX51" fmla="*/ 2616200 w 2889264"/>
              <a:gd name="connsiteY51" fmla="*/ 570329 h 722729"/>
              <a:gd name="connsiteX52" fmla="*/ 2638425 w 2889264"/>
              <a:gd name="connsiteY52" fmla="*/ 576679 h 722729"/>
              <a:gd name="connsiteX53" fmla="*/ 2654300 w 2889264"/>
              <a:gd name="connsiteY53" fmla="*/ 586204 h 722729"/>
              <a:gd name="connsiteX54" fmla="*/ 2673350 w 2889264"/>
              <a:gd name="connsiteY54" fmla="*/ 592554 h 722729"/>
              <a:gd name="connsiteX55" fmla="*/ 2708275 w 2889264"/>
              <a:gd name="connsiteY55" fmla="*/ 614779 h 722729"/>
              <a:gd name="connsiteX56" fmla="*/ 2730500 w 2889264"/>
              <a:gd name="connsiteY56" fmla="*/ 624304 h 722729"/>
              <a:gd name="connsiteX57" fmla="*/ 2749550 w 2889264"/>
              <a:gd name="connsiteY57" fmla="*/ 640179 h 722729"/>
              <a:gd name="connsiteX58" fmla="*/ 2774950 w 2889264"/>
              <a:gd name="connsiteY58" fmla="*/ 652879 h 722729"/>
              <a:gd name="connsiteX59" fmla="*/ 2803525 w 2889264"/>
              <a:gd name="connsiteY59" fmla="*/ 665579 h 722729"/>
              <a:gd name="connsiteX60" fmla="*/ 2816225 w 2889264"/>
              <a:gd name="connsiteY60" fmla="*/ 675104 h 722729"/>
              <a:gd name="connsiteX61" fmla="*/ 2832100 w 2889264"/>
              <a:gd name="connsiteY61" fmla="*/ 681454 h 722729"/>
              <a:gd name="connsiteX62" fmla="*/ 2876550 w 2889264"/>
              <a:gd name="connsiteY62" fmla="*/ 713204 h 722729"/>
              <a:gd name="connsiteX63" fmla="*/ 2889250 w 2889264"/>
              <a:gd name="connsiteY63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063750 w 2889264"/>
              <a:gd name="connsiteY29" fmla="*/ 309979 h 722729"/>
              <a:gd name="connsiteX30" fmla="*/ 2082800 w 2889264"/>
              <a:gd name="connsiteY30" fmla="*/ 319504 h 722729"/>
              <a:gd name="connsiteX31" fmla="*/ 2095500 w 2889264"/>
              <a:gd name="connsiteY31" fmla="*/ 322679 h 722729"/>
              <a:gd name="connsiteX32" fmla="*/ 2159000 w 2889264"/>
              <a:gd name="connsiteY32" fmla="*/ 348079 h 722729"/>
              <a:gd name="connsiteX33" fmla="*/ 2187575 w 2889264"/>
              <a:gd name="connsiteY33" fmla="*/ 367129 h 722729"/>
              <a:gd name="connsiteX34" fmla="*/ 2209800 w 2889264"/>
              <a:gd name="connsiteY34" fmla="*/ 383004 h 722729"/>
              <a:gd name="connsiteX35" fmla="*/ 2247900 w 2889264"/>
              <a:gd name="connsiteY35" fmla="*/ 408404 h 722729"/>
              <a:gd name="connsiteX36" fmla="*/ 2276475 w 2889264"/>
              <a:gd name="connsiteY36" fmla="*/ 424279 h 722729"/>
              <a:gd name="connsiteX37" fmla="*/ 2289175 w 2889264"/>
              <a:gd name="connsiteY37" fmla="*/ 433804 h 722729"/>
              <a:gd name="connsiteX38" fmla="*/ 2308225 w 2889264"/>
              <a:gd name="connsiteY38" fmla="*/ 436979 h 722729"/>
              <a:gd name="connsiteX39" fmla="*/ 2333625 w 2889264"/>
              <a:gd name="connsiteY39" fmla="*/ 449679 h 722729"/>
              <a:gd name="connsiteX40" fmla="*/ 2352675 w 2889264"/>
              <a:gd name="connsiteY40" fmla="*/ 456029 h 722729"/>
              <a:gd name="connsiteX41" fmla="*/ 2397125 w 2889264"/>
              <a:gd name="connsiteY41" fmla="*/ 478254 h 722729"/>
              <a:gd name="connsiteX42" fmla="*/ 2422525 w 2889264"/>
              <a:gd name="connsiteY42" fmla="*/ 484604 h 722729"/>
              <a:gd name="connsiteX43" fmla="*/ 2432050 w 2889264"/>
              <a:gd name="connsiteY43" fmla="*/ 487779 h 722729"/>
              <a:gd name="connsiteX44" fmla="*/ 2454275 w 2889264"/>
              <a:gd name="connsiteY44" fmla="*/ 500479 h 722729"/>
              <a:gd name="connsiteX45" fmla="*/ 2470150 w 2889264"/>
              <a:gd name="connsiteY45" fmla="*/ 513179 h 722729"/>
              <a:gd name="connsiteX46" fmla="*/ 2495550 w 2889264"/>
              <a:gd name="connsiteY46" fmla="*/ 522704 h 722729"/>
              <a:gd name="connsiteX47" fmla="*/ 2546350 w 2889264"/>
              <a:gd name="connsiteY47" fmla="*/ 548104 h 722729"/>
              <a:gd name="connsiteX48" fmla="*/ 2574925 w 2889264"/>
              <a:gd name="connsiteY48" fmla="*/ 554454 h 722729"/>
              <a:gd name="connsiteX49" fmla="*/ 2600325 w 2889264"/>
              <a:gd name="connsiteY49" fmla="*/ 567154 h 722729"/>
              <a:gd name="connsiteX50" fmla="*/ 2616200 w 2889264"/>
              <a:gd name="connsiteY50" fmla="*/ 570329 h 722729"/>
              <a:gd name="connsiteX51" fmla="*/ 2638425 w 2889264"/>
              <a:gd name="connsiteY51" fmla="*/ 576679 h 722729"/>
              <a:gd name="connsiteX52" fmla="*/ 2654300 w 2889264"/>
              <a:gd name="connsiteY52" fmla="*/ 586204 h 722729"/>
              <a:gd name="connsiteX53" fmla="*/ 2673350 w 2889264"/>
              <a:gd name="connsiteY53" fmla="*/ 592554 h 722729"/>
              <a:gd name="connsiteX54" fmla="*/ 2708275 w 2889264"/>
              <a:gd name="connsiteY54" fmla="*/ 614779 h 722729"/>
              <a:gd name="connsiteX55" fmla="*/ 2730500 w 2889264"/>
              <a:gd name="connsiteY55" fmla="*/ 624304 h 722729"/>
              <a:gd name="connsiteX56" fmla="*/ 2749550 w 2889264"/>
              <a:gd name="connsiteY56" fmla="*/ 640179 h 722729"/>
              <a:gd name="connsiteX57" fmla="*/ 2774950 w 2889264"/>
              <a:gd name="connsiteY57" fmla="*/ 652879 h 722729"/>
              <a:gd name="connsiteX58" fmla="*/ 2803525 w 2889264"/>
              <a:gd name="connsiteY58" fmla="*/ 665579 h 722729"/>
              <a:gd name="connsiteX59" fmla="*/ 2816225 w 2889264"/>
              <a:gd name="connsiteY59" fmla="*/ 675104 h 722729"/>
              <a:gd name="connsiteX60" fmla="*/ 2832100 w 2889264"/>
              <a:gd name="connsiteY60" fmla="*/ 681454 h 722729"/>
              <a:gd name="connsiteX61" fmla="*/ 2876550 w 2889264"/>
              <a:gd name="connsiteY61" fmla="*/ 713204 h 722729"/>
              <a:gd name="connsiteX62" fmla="*/ 2889250 w 2889264"/>
              <a:gd name="connsiteY62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063750 w 2889264"/>
              <a:gd name="connsiteY29" fmla="*/ 309979 h 722729"/>
              <a:gd name="connsiteX30" fmla="*/ 2082800 w 2889264"/>
              <a:gd name="connsiteY30" fmla="*/ 319504 h 722729"/>
              <a:gd name="connsiteX31" fmla="*/ 2159000 w 2889264"/>
              <a:gd name="connsiteY31" fmla="*/ 348079 h 722729"/>
              <a:gd name="connsiteX32" fmla="*/ 2187575 w 2889264"/>
              <a:gd name="connsiteY32" fmla="*/ 367129 h 722729"/>
              <a:gd name="connsiteX33" fmla="*/ 2209800 w 2889264"/>
              <a:gd name="connsiteY33" fmla="*/ 383004 h 722729"/>
              <a:gd name="connsiteX34" fmla="*/ 2247900 w 2889264"/>
              <a:gd name="connsiteY34" fmla="*/ 408404 h 722729"/>
              <a:gd name="connsiteX35" fmla="*/ 2276475 w 2889264"/>
              <a:gd name="connsiteY35" fmla="*/ 424279 h 722729"/>
              <a:gd name="connsiteX36" fmla="*/ 2289175 w 2889264"/>
              <a:gd name="connsiteY36" fmla="*/ 433804 h 722729"/>
              <a:gd name="connsiteX37" fmla="*/ 2308225 w 2889264"/>
              <a:gd name="connsiteY37" fmla="*/ 436979 h 722729"/>
              <a:gd name="connsiteX38" fmla="*/ 2333625 w 2889264"/>
              <a:gd name="connsiteY38" fmla="*/ 449679 h 722729"/>
              <a:gd name="connsiteX39" fmla="*/ 2352675 w 2889264"/>
              <a:gd name="connsiteY39" fmla="*/ 456029 h 722729"/>
              <a:gd name="connsiteX40" fmla="*/ 2397125 w 2889264"/>
              <a:gd name="connsiteY40" fmla="*/ 478254 h 722729"/>
              <a:gd name="connsiteX41" fmla="*/ 2422525 w 2889264"/>
              <a:gd name="connsiteY41" fmla="*/ 484604 h 722729"/>
              <a:gd name="connsiteX42" fmla="*/ 2432050 w 2889264"/>
              <a:gd name="connsiteY42" fmla="*/ 487779 h 722729"/>
              <a:gd name="connsiteX43" fmla="*/ 2454275 w 2889264"/>
              <a:gd name="connsiteY43" fmla="*/ 500479 h 722729"/>
              <a:gd name="connsiteX44" fmla="*/ 2470150 w 2889264"/>
              <a:gd name="connsiteY44" fmla="*/ 513179 h 722729"/>
              <a:gd name="connsiteX45" fmla="*/ 2495550 w 2889264"/>
              <a:gd name="connsiteY45" fmla="*/ 522704 h 722729"/>
              <a:gd name="connsiteX46" fmla="*/ 2546350 w 2889264"/>
              <a:gd name="connsiteY46" fmla="*/ 548104 h 722729"/>
              <a:gd name="connsiteX47" fmla="*/ 2574925 w 2889264"/>
              <a:gd name="connsiteY47" fmla="*/ 554454 h 722729"/>
              <a:gd name="connsiteX48" fmla="*/ 2600325 w 2889264"/>
              <a:gd name="connsiteY48" fmla="*/ 567154 h 722729"/>
              <a:gd name="connsiteX49" fmla="*/ 2616200 w 2889264"/>
              <a:gd name="connsiteY49" fmla="*/ 570329 h 722729"/>
              <a:gd name="connsiteX50" fmla="*/ 2638425 w 2889264"/>
              <a:gd name="connsiteY50" fmla="*/ 576679 h 722729"/>
              <a:gd name="connsiteX51" fmla="*/ 2654300 w 2889264"/>
              <a:gd name="connsiteY51" fmla="*/ 586204 h 722729"/>
              <a:gd name="connsiteX52" fmla="*/ 2673350 w 2889264"/>
              <a:gd name="connsiteY52" fmla="*/ 592554 h 722729"/>
              <a:gd name="connsiteX53" fmla="*/ 2708275 w 2889264"/>
              <a:gd name="connsiteY53" fmla="*/ 614779 h 722729"/>
              <a:gd name="connsiteX54" fmla="*/ 2730500 w 2889264"/>
              <a:gd name="connsiteY54" fmla="*/ 624304 h 722729"/>
              <a:gd name="connsiteX55" fmla="*/ 2749550 w 2889264"/>
              <a:gd name="connsiteY55" fmla="*/ 640179 h 722729"/>
              <a:gd name="connsiteX56" fmla="*/ 2774950 w 2889264"/>
              <a:gd name="connsiteY56" fmla="*/ 652879 h 722729"/>
              <a:gd name="connsiteX57" fmla="*/ 2803525 w 2889264"/>
              <a:gd name="connsiteY57" fmla="*/ 665579 h 722729"/>
              <a:gd name="connsiteX58" fmla="*/ 2816225 w 2889264"/>
              <a:gd name="connsiteY58" fmla="*/ 675104 h 722729"/>
              <a:gd name="connsiteX59" fmla="*/ 2832100 w 2889264"/>
              <a:gd name="connsiteY59" fmla="*/ 681454 h 722729"/>
              <a:gd name="connsiteX60" fmla="*/ 2876550 w 2889264"/>
              <a:gd name="connsiteY60" fmla="*/ 713204 h 722729"/>
              <a:gd name="connsiteX61" fmla="*/ 2889250 w 2889264"/>
              <a:gd name="connsiteY61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063750 w 2889264"/>
              <a:gd name="connsiteY29" fmla="*/ 309979 h 722729"/>
              <a:gd name="connsiteX30" fmla="*/ 2159000 w 2889264"/>
              <a:gd name="connsiteY30" fmla="*/ 348079 h 722729"/>
              <a:gd name="connsiteX31" fmla="*/ 2187575 w 2889264"/>
              <a:gd name="connsiteY31" fmla="*/ 367129 h 722729"/>
              <a:gd name="connsiteX32" fmla="*/ 2209800 w 2889264"/>
              <a:gd name="connsiteY32" fmla="*/ 383004 h 722729"/>
              <a:gd name="connsiteX33" fmla="*/ 2247900 w 2889264"/>
              <a:gd name="connsiteY33" fmla="*/ 408404 h 722729"/>
              <a:gd name="connsiteX34" fmla="*/ 2276475 w 2889264"/>
              <a:gd name="connsiteY34" fmla="*/ 424279 h 722729"/>
              <a:gd name="connsiteX35" fmla="*/ 2289175 w 2889264"/>
              <a:gd name="connsiteY35" fmla="*/ 433804 h 722729"/>
              <a:gd name="connsiteX36" fmla="*/ 2308225 w 2889264"/>
              <a:gd name="connsiteY36" fmla="*/ 436979 h 722729"/>
              <a:gd name="connsiteX37" fmla="*/ 2333625 w 2889264"/>
              <a:gd name="connsiteY37" fmla="*/ 449679 h 722729"/>
              <a:gd name="connsiteX38" fmla="*/ 2352675 w 2889264"/>
              <a:gd name="connsiteY38" fmla="*/ 456029 h 722729"/>
              <a:gd name="connsiteX39" fmla="*/ 2397125 w 2889264"/>
              <a:gd name="connsiteY39" fmla="*/ 478254 h 722729"/>
              <a:gd name="connsiteX40" fmla="*/ 2422525 w 2889264"/>
              <a:gd name="connsiteY40" fmla="*/ 484604 h 722729"/>
              <a:gd name="connsiteX41" fmla="*/ 2432050 w 2889264"/>
              <a:gd name="connsiteY41" fmla="*/ 487779 h 722729"/>
              <a:gd name="connsiteX42" fmla="*/ 2454275 w 2889264"/>
              <a:gd name="connsiteY42" fmla="*/ 500479 h 722729"/>
              <a:gd name="connsiteX43" fmla="*/ 2470150 w 2889264"/>
              <a:gd name="connsiteY43" fmla="*/ 513179 h 722729"/>
              <a:gd name="connsiteX44" fmla="*/ 2495550 w 2889264"/>
              <a:gd name="connsiteY44" fmla="*/ 522704 h 722729"/>
              <a:gd name="connsiteX45" fmla="*/ 2546350 w 2889264"/>
              <a:gd name="connsiteY45" fmla="*/ 548104 h 722729"/>
              <a:gd name="connsiteX46" fmla="*/ 2574925 w 2889264"/>
              <a:gd name="connsiteY46" fmla="*/ 554454 h 722729"/>
              <a:gd name="connsiteX47" fmla="*/ 2600325 w 2889264"/>
              <a:gd name="connsiteY47" fmla="*/ 567154 h 722729"/>
              <a:gd name="connsiteX48" fmla="*/ 2616200 w 2889264"/>
              <a:gd name="connsiteY48" fmla="*/ 570329 h 722729"/>
              <a:gd name="connsiteX49" fmla="*/ 2638425 w 2889264"/>
              <a:gd name="connsiteY49" fmla="*/ 576679 h 722729"/>
              <a:gd name="connsiteX50" fmla="*/ 2654300 w 2889264"/>
              <a:gd name="connsiteY50" fmla="*/ 586204 h 722729"/>
              <a:gd name="connsiteX51" fmla="*/ 2673350 w 2889264"/>
              <a:gd name="connsiteY51" fmla="*/ 592554 h 722729"/>
              <a:gd name="connsiteX52" fmla="*/ 2708275 w 2889264"/>
              <a:gd name="connsiteY52" fmla="*/ 614779 h 722729"/>
              <a:gd name="connsiteX53" fmla="*/ 2730500 w 2889264"/>
              <a:gd name="connsiteY53" fmla="*/ 624304 h 722729"/>
              <a:gd name="connsiteX54" fmla="*/ 2749550 w 2889264"/>
              <a:gd name="connsiteY54" fmla="*/ 640179 h 722729"/>
              <a:gd name="connsiteX55" fmla="*/ 2774950 w 2889264"/>
              <a:gd name="connsiteY55" fmla="*/ 652879 h 722729"/>
              <a:gd name="connsiteX56" fmla="*/ 2803525 w 2889264"/>
              <a:gd name="connsiteY56" fmla="*/ 665579 h 722729"/>
              <a:gd name="connsiteX57" fmla="*/ 2816225 w 2889264"/>
              <a:gd name="connsiteY57" fmla="*/ 675104 h 722729"/>
              <a:gd name="connsiteX58" fmla="*/ 2832100 w 2889264"/>
              <a:gd name="connsiteY58" fmla="*/ 681454 h 722729"/>
              <a:gd name="connsiteX59" fmla="*/ 2876550 w 2889264"/>
              <a:gd name="connsiteY59" fmla="*/ 713204 h 722729"/>
              <a:gd name="connsiteX60" fmla="*/ 2889250 w 2889264"/>
              <a:gd name="connsiteY60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063750 w 2889264"/>
              <a:gd name="connsiteY29" fmla="*/ 309979 h 722729"/>
              <a:gd name="connsiteX30" fmla="*/ 2159000 w 2889264"/>
              <a:gd name="connsiteY30" fmla="*/ 348079 h 722729"/>
              <a:gd name="connsiteX31" fmla="*/ 2187575 w 2889264"/>
              <a:gd name="connsiteY31" fmla="*/ 367129 h 722729"/>
              <a:gd name="connsiteX32" fmla="*/ 2247900 w 2889264"/>
              <a:gd name="connsiteY32" fmla="*/ 408404 h 722729"/>
              <a:gd name="connsiteX33" fmla="*/ 2276475 w 2889264"/>
              <a:gd name="connsiteY33" fmla="*/ 424279 h 722729"/>
              <a:gd name="connsiteX34" fmla="*/ 2289175 w 2889264"/>
              <a:gd name="connsiteY34" fmla="*/ 433804 h 722729"/>
              <a:gd name="connsiteX35" fmla="*/ 2308225 w 2889264"/>
              <a:gd name="connsiteY35" fmla="*/ 436979 h 722729"/>
              <a:gd name="connsiteX36" fmla="*/ 2333625 w 2889264"/>
              <a:gd name="connsiteY36" fmla="*/ 449679 h 722729"/>
              <a:gd name="connsiteX37" fmla="*/ 2352675 w 2889264"/>
              <a:gd name="connsiteY37" fmla="*/ 456029 h 722729"/>
              <a:gd name="connsiteX38" fmla="*/ 2397125 w 2889264"/>
              <a:gd name="connsiteY38" fmla="*/ 478254 h 722729"/>
              <a:gd name="connsiteX39" fmla="*/ 2422525 w 2889264"/>
              <a:gd name="connsiteY39" fmla="*/ 484604 h 722729"/>
              <a:gd name="connsiteX40" fmla="*/ 2432050 w 2889264"/>
              <a:gd name="connsiteY40" fmla="*/ 487779 h 722729"/>
              <a:gd name="connsiteX41" fmla="*/ 2454275 w 2889264"/>
              <a:gd name="connsiteY41" fmla="*/ 500479 h 722729"/>
              <a:gd name="connsiteX42" fmla="*/ 2470150 w 2889264"/>
              <a:gd name="connsiteY42" fmla="*/ 513179 h 722729"/>
              <a:gd name="connsiteX43" fmla="*/ 2495550 w 2889264"/>
              <a:gd name="connsiteY43" fmla="*/ 522704 h 722729"/>
              <a:gd name="connsiteX44" fmla="*/ 2546350 w 2889264"/>
              <a:gd name="connsiteY44" fmla="*/ 548104 h 722729"/>
              <a:gd name="connsiteX45" fmla="*/ 2574925 w 2889264"/>
              <a:gd name="connsiteY45" fmla="*/ 554454 h 722729"/>
              <a:gd name="connsiteX46" fmla="*/ 2600325 w 2889264"/>
              <a:gd name="connsiteY46" fmla="*/ 567154 h 722729"/>
              <a:gd name="connsiteX47" fmla="*/ 2616200 w 2889264"/>
              <a:gd name="connsiteY47" fmla="*/ 570329 h 722729"/>
              <a:gd name="connsiteX48" fmla="*/ 2638425 w 2889264"/>
              <a:gd name="connsiteY48" fmla="*/ 576679 h 722729"/>
              <a:gd name="connsiteX49" fmla="*/ 2654300 w 2889264"/>
              <a:gd name="connsiteY49" fmla="*/ 586204 h 722729"/>
              <a:gd name="connsiteX50" fmla="*/ 2673350 w 2889264"/>
              <a:gd name="connsiteY50" fmla="*/ 592554 h 722729"/>
              <a:gd name="connsiteX51" fmla="*/ 2708275 w 2889264"/>
              <a:gd name="connsiteY51" fmla="*/ 614779 h 722729"/>
              <a:gd name="connsiteX52" fmla="*/ 2730500 w 2889264"/>
              <a:gd name="connsiteY52" fmla="*/ 624304 h 722729"/>
              <a:gd name="connsiteX53" fmla="*/ 2749550 w 2889264"/>
              <a:gd name="connsiteY53" fmla="*/ 640179 h 722729"/>
              <a:gd name="connsiteX54" fmla="*/ 2774950 w 2889264"/>
              <a:gd name="connsiteY54" fmla="*/ 652879 h 722729"/>
              <a:gd name="connsiteX55" fmla="*/ 2803525 w 2889264"/>
              <a:gd name="connsiteY55" fmla="*/ 665579 h 722729"/>
              <a:gd name="connsiteX56" fmla="*/ 2816225 w 2889264"/>
              <a:gd name="connsiteY56" fmla="*/ 675104 h 722729"/>
              <a:gd name="connsiteX57" fmla="*/ 2832100 w 2889264"/>
              <a:gd name="connsiteY57" fmla="*/ 681454 h 722729"/>
              <a:gd name="connsiteX58" fmla="*/ 2876550 w 2889264"/>
              <a:gd name="connsiteY58" fmla="*/ 713204 h 722729"/>
              <a:gd name="connsiteX59" fmla="*/ 2889250 w 2889264"/>
              <a:gd name="connsiteY59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063750 w 2889264"/>
              <a:gd name="connsiteY29" fmla="*/ 309979 h 722729"/>
              <a:gd name="connsiteX30" fmla="*/ 2159000 w 2889264"/>
              <a:gd name="connsiteY30" fmla="*/ 348079 h 722729"/>
              <a:gd name="connsiteX31" fmla="*/ 2247900 w 2889264"/>
              <a:gd name="connsiteY31" fmla="*/ 408404 h 722729"/>
              <a:gd name="connsiteX32" fmla="*/ 2276475 w 2889264"/>
              <a:gd name="connsiteY32" fmla="*/ 424279 h 722729"/>
              <a:gd name="connsiteX33" fmla="*/ 2289175 w 2889264"/>
              <a:gd name="connsiteY33" fmla="*/ 433804 h 722729"/>
              <a:gd name="connsiteX34" fmla="*/ 2308225 w 2889264"/>
              <a:gd name="connsiteY34" fmla="*/ 436979 h 722729"/>
              <a:gd name="connsiteX35" fmla="*/ 2333625 w 2889264"/>
              <a:gd name="connsiteY35" fmla="*/ 449679 h 722729"/>
              <a:gd name="connsiteX36" fmla="*/ 2352675 w 2889264"/>
              <a:gd name="connsiteY36" fmla="*/ 456029 h 722729"/>
              <a:gd name="connsiteX37" fmla="*/ 2397125 w 2889264"/>
              <a:gd name="connsiteY37" fmla="*/ 478254 h 722729"/>
              <a:gd name="connsiteX38" fmla="*/ 2422525 w 2889264"/>
              <a:gd name="connsiteY38" fmla="*/ 484604 h 722729"/>
              <a:gd name="connsiteX39" fmla="*/ 2432050 w 2889264"/>
              <a:gd name="connsiteY39" fmla="*/ 487779 h 722729"/>
              <a:gd name="connsiteX40" fmla="*/ 2454275 w 2889264"/>
              <a:gd name="connsiteY40" fmla="*/ 500479 h 722729"/>
              <a:gd name="connsiteX41" fmla="*/ 2470150 w 2889264"/>
              <a:gd name="connsiteY41" fmla="*/ 513179 h 722729"/>
              <a:gd name="connsiteX42" fmla="*/ 2495550 w 2889264"/>
              <a:gd name="connsiteY42" fmla="*/ 522704 h 722729"/>
              <a:gd name="connsiteX43" fmla="*/ 2546350 w 2889264"/>
              <a:gd name="connsiteY43" fmla="*/ 548104 h 722729"/>
              <a:gd name="connsiteX44" fmla="*/ 2574925 w 2889264"/>
              <a:gd name="connsiteY44" fmla="*/ 554454 h 722729"/>
              <a:gd name="connsiteX45" fmla="*/ 2600325 w 2889264"/>
              <a:gd name="connsiteY45" fmla="*/ 567154 h 722729"/>
              <a:gd name="connsiteX46" fmla="*/ 2616200 w 2889264"/>
              <a:gd name="connsiteY46" fmla="*/ 570329 h 722729"/>
              <a:gd name="connsiteX47" fmla="*/ 2638425 w 2889264"/>
              <a:gd name="connsiteY47" fmla="*/ 576679 h 722729"/>
              <a:gd name="connsiteX48" fmla="*/ 2654300 w 2889264"/>
              <a:gd name="connsiteY48" fmla="*/ 586204 h 722729"/>
              <a:gd name="connsiteX49" fmla="*/ 2673350 w 2889264"/>
              <a:gd name="connsiteY49" fmla="*/ 592554 h 722729"/>
              <a:gd name="connsiteX50" fmla="*/ 2708275 w 2889264"/>
              <a:gd name="connsiteY50" fmla="*/ 614779 h 722729"/>
              <a:gd name="connsiteX51" fmla="*/ 2730500 w 2889264"/>
              <a:gd name="connsiteY51" fmla="*/ 624304 h 722729"/>
              <a:gd name="connsiteX52" fmla="*/ 2749550 w 2889264"/>
              <a:gd name="connsiteY52" fmla="*/ 640179 h 722729"/>
              <a:gd name="connsiteX53" fmla="*/ 2774950 w 2889264"/>
              <a:gd name="connsiteY53" fmla="*/ 652879 h 722729"/>
              <a:gd name="connsiteX54" fmla="*/ 2803525 w 2889264"/>
              <a:gd name="connsiteY54" fmla="*/ 665579 h 722729"/>
              <a:gd name="connsiteX55" fmla="*/ 2816225 w 2889264"/>
              <a:gd name="connsiteY55" fmla="*/ 675104 h 722729"/>
              <a:gd name="connsiteX56" fmla="*/ 2832100 w 2889264"/>
              <a:gd name="connsiteY56" fmla="*/ 681454 h 722729"/>
              <a:gd name="connsiteX57" fmla="*/ 2876550 w 2889264"/>
              <a:gd name="connsiteY57" fmla="*/ 713204 h 722729"/>
              <a:gd name="connsiteX58" fmla="*/ 2889250 w 2889264"/>
              <a:gd name="connsiteY58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276475 w 2889264"/>
              <a:gd name="connsiteY31" fmla="*/ 424279 h 722729"/>
              <a:gd name="connsiteX32" fmla="*/ 2289175 w 2889264"/>
              <a:gd name="connsiteY32" fmla="*/ 433804 h 722729"/>
              <a:gd name="connsiteX33" fmla="*/ 2308225 w 2889264"/>
              <a:gd name="connsiteY33" fmla="*/ 436979 h 722729"/>
              <a:gd name="connsiteX34" fmla="*/ 2333625 w 2889264"/>
              <a:gd name="connsiteY34" fmla="*/ 449679 h 722729"/>
              <a:gd name="connsiteX35" fmla="*/ 2352675 w 2889264"/>
              <a:gd name="connsiteY35" fmla="*/ 456029 h 722729"/>
              <a:gd name="connsiteX36" fmla="*/ 2397125 w 2889264"/>
              <a:gd name="connsiteY36" fmla="*/ 478254 h 722729"/>
              <a:gd name="connsiteX37" fmla="*/ 2422525 w 2889264"/>
              <a:gd name="connsiteY37" fmla="*/ 484604 h 722729"/>
              <a:gd name="connsiteX38" fmla="*/ 2432050 w 2889264"/>
              <a:gd name="connsiteY38" fmla="*/ 487779 h 722729"/>
              <a:gd name="connsiteX39" fmla="*/ 2454275 w 2889264"/>
              <a:gd name="connsiteY39" fmla="*/ 500479 h 722729"/>
              <a:gd name="connsiteX40" fmla="*/ 2470150 w 2889264"/>
              <a:gd name="connsiteY40" fmla="*/ 513179 h 722729"/>
              <a:gd name="connsiteX41" fmla="*/ 2495550 w 2889264"/>
              <a:gd name="connsiteY41" fmla="*/ 522704 h 722729"/>
              <a:gd name="connsiteX42" fmla="*/ 2546350 w 2889264"/>
              <a:gd name="connsiteY42" fmla="*/ 548104 h 722729"/>
              <a:gd name="connsiteX43" fmla="*/ 2574925 w 2889264"/>
              <a:gd name="connsiteY43" fmla="*/ 554454 h 722729"/>
              <a:gd name="connsiteX44" fmla="*/ 2600325 w 2889264"/>
              <a:gd name="connsiteY44" fmla="*/ 567154 h 722729"/>
              <a:gd name="connsiteX45" fmla="*/ 2616200 w 2889264"/>
              <a:gd name="connsiteY45" fmla="*/ 570329 h 722729"/>
              <a:gd name="connsiteX46" fmla="*/ 2638425 w 2889264"/>
              <a:gd name="connsiteY46" fmla="*/ 576679 h 722729"/>
              <a:gd name="connsiteX47" fmla="*/ 2654300 w 2889264"/>
              <a:gd name="connsiteY47" fmla="*/ 586204 h 722729"/>
              <a:gd name="connsiteX48" fmla="*/ 2673350 w 2889264"/>
              <a:gd name="connsiteY48" fmla="*/ 592554 h 722729"/>
              <a:gd name="connsiteX49" fmla="*/ 2708275 w 2889264"/>
              <a:gd name="connsiteY49" fmla="*/ 614779 h 722729"/>
              <a:gd name="connsiteX50" fmla="*/ 2730500 w 2889264"/>
              <a:gd name="connsiteY50" fmla="*/ 624304 h 722729"/>
              <a:gd name="connsiteX51" fmla="*/ 2749550 w 2889264"/>
              <a:gd name="connsiteY51" fmla="*/ 640179 h 722729"/>
              <a:gd name="connsiteX52" fmla="*/ 2774950 w 2889264"/>
              <a:gd name="connsiteY52" fmla="*/ 652879 h 722729"/>
              <a:gd name="connsiteX53" fmla="*/ 2803525 w 2889264"/>
              <a:gd name="connsiteY53" fmla="*/ 665579 h 722729"/>
              <a:gd name="connsiteX54" fmla="*/ 2816225 w 2889264"/>
              <a:gd name="connsiteY54" fmla="*/ 675104 h 722729"/>
              <a:gd name="connsiteX55" fmla="*/ 2832100 w 2889264"/>
              <a:gd name="connsiteY55" fmla="*/ 681454 h 722729"/>
              <a:gd name="connsiteX56" fmla="*/ 2876550 w 2889264"/>
              <a:gd name="connsiteY56" fmla="*/ 713204 h 722729"/>
              <a:gd name="connsiteX57" fmla="*/ 2889250 w 2889264"/>
              <a:gd name="connsiteY57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276475 w 2889264"/>
              <a:gd name="connsiteY31" fmla="*/ 424279 h 722729"/>
              <a:gd name="connsiteX32" fmla="*/ 2308225 w 2889264"/>
              <a:gd name="connsiteY32" fmla="*/ 436979 h 722729"/>
              <a:gd name="connsiteX33" fmla="*/ 2333625 w 2889264"/>
              <a:gd name="connsiteY33" fmla="*/ 449679 h 722729"/>
              <a:gd name="connsiteX34" fmla="*/ 2352675 w 2889264"/>
              <a:gd name="connsiteY34" fmla="*/ 456029 h 722729"/>
              <a:gd name="connsiteX35" fmla="*/ 2397125 w 2889264"/>
              <a:gd name="connsiteY35" fmla="*/ 478254 h 722729"/>
              <a:gd name="connsiteX36" fmla="*/ 2422525 w 2889264"/>
              <a:gd name="connsiteY36" fmla="*/ 484604 h 722729"/>
              <a:gd name="connsiteX37" fmla="*/ 2432050 w 2889264"/>
              <a:gd name="connsiteY37" fmla="*/ 487779 h 722729"/>
              <a:gd name="connsiteX38" fmla="*/ 2454275 w 2889264"/>
              <a:gd name="connsiteY38" fmla="*/ 500479 h 722729"/>
              <a:gd name="connsiteX39" fmla="*/ 2470150 w 2889264"/>
              <a:gd name="connsiteY39" fmla="*/ 513179 h 722729"/>
              <a:gd name="connsiteX40" fmla="*/ 2495550 w 2889264"/>
              <a:gd name="connsiteY40" fmla="*/ 522704 h 722729"/>
              <a:gd name="connsiteX41" fmla="*/ 2546350 w 2889264"/>
              <a:gd name="connsiteY41" fmla="*/ 548104 h 722729"/>
              <a:gd name="connsiteX42" fmla="*/ 2574925 w 2889264"/>
              <a:gd name="connsiteY42" fmla="*/ 554454 h 722729"/>
              <a:gd name="connsiteX43" fmla="*/ 2600325 w 2889264"/>
              <a:gd name="connsiteY43" fmla="*/ 567154 h 722729"/>
              <a:gd name="connsiteX44" fmla="*/ 2616200 w 2889264"/>
              <a:gd name="connsiteY44" fmla="*/ 570329 h 722729"/>
              <a:gd name="connsiteX45" fmla="*/ 2638425 w 2889264"/>
              <a:gd name="connsiteY45" fmla="*/ 576679 h 722729"/>
              <a:gd name="connsiteX46" fmla="*/ 2654300 w 2889264"/>
              <a:gd name="connsiteY46" fmla="*/ 586204 h 722729"/>
              <a:gd name="connsiteX47" fmla="*/ 2673350 w 2889264"/>
              <a:gd name="connsiteY47" fmla="*/ 592554 h 722729"/>
              <a:gd name="connsiteX48" fmla="*/ 2708275 w 2889264"/>
              <a:gd name="connsiteY48" fmla="*/ 614779 h 722729"/>
              <a:gd name="connsiteX49" fmla="*/ 2730500 w 2889264"/>
              <a:gd name="connsiteY49" fmla="*/ 624304 h 722729"/>
              <a:gd name="connsiteX50" fmla="*/ 2749550 w 2889264"/>
              <a:gd name="connsiteY50" fmla="*/ 640179 h 722729"/>
              <a:gd name="connsiteX51" fmla="*/ 2774950 w 2889264"/>
              <a:gd name="connsiteY51" fmla="*/ 652879 h 722729"/>
              <a:gd name="connsiteX52" fmla="*/ 2803525 w 2889264"/>
              <a:gd name="connsiteY52" fmla="*/ 665579 h 722729"/>
              <a:gd name="connsiteX53" fmla="*/ 2816225 w 2889264"/>
              <a:gd name="connsiteY53" fmla="*/ 675104 h 722729"/>
              <a:gd name="connsiteX54" fmla="*/ 2832100 w 2889264"/>
              <a:gd name="connsiteY54" fmla="*/ 681454 h 722729"/>
              <a:gd name="connsiteX55" fmla="*/ 2876550 w 2889264"/>
              <a:gd name="connsiteY55" fmla="*/ 713204 h 722729"/>
              <a:gd name="connsiteX56" fmla="*/ 2889250 w 2889264"/>
              <a:gd name="connsiteY56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276475 w 2889264"/>
              <a:gd name="connsiteY31" fmla="*/ 424279 h 722729"/>
              <a:gd name="connsiteX32" fmla="*/ 2308225 w 2889264"/>
              <a:gd name="connsiteY32" fmla="*/ 436979 h 722729"/>
              <a:gd name="connsiteX33" fmla="*/ 2333625 w 2889264"/>
              <a:gd name="connsiteY33" fmla="*/ 449679 h 722729"/>
              <a:gd name="connsiteX34" fmla="*/ 2397125 w 2889264"/>
              <a:gd name="connsiteY34" fmla="*/ 478254 h 722729"/>
              <a:gd name="connsiteX35" fmla="*/ 2422525 w 2889264"/>
              <a:gd name="connsiteY35" fmla="*/ 484604 h 722729"/>
              <a:gd name="connsiteX36" fmla="*/ 2432050 w 2889264"/>
              <a:gd name="connsiteY36" fmla="*/ 487779 h 722729"/>
              <a:gd name="connsiteX37" fmla="*/ 2454275 w 2889264"/>
              <a:gd name="connsiteY37" fmla="*/ 500479 h 722729"/>
              <a:gd name="connsiteX38" fmla="*/ 2470150 w 2889264"/>
              <a:gd name="connsiteY38" fmla="*/ 513179 h 722729"/>
              <a:gd name="connsiteX39" fmla="*/ 2495550 w 2889264"/>
              <a:gd name="connsiteY39" fmla="*/ 522704 h 722729"/>
              <a:gd name="connsiteX40" fmla="*/ 2546350 w 2889264"/>
              <a:gd name="connsiteY40" fmla="*/ 548104 h 722729"/>
              <a:gd name="connsiteX41" fmla="*/ 2574925 w 2889264"/>
              <a:gd name="connsiteY41" fmla="*/ 554454 h 722729"/>
              <a:gd name="connsiteX42" fmla="*/ 2600325 w 2889264"/>
              <a:gd name="connsiteY42" fmla="*/ 567154 h 722729"/>
              <a:gd name="connsiteX43" fmla="*/ 2616200 w 2889264"/>
              <a:gd name="connsiteY43" fmla="*/ 570329 h 722729"/>
              <a:gd name="connsiteX44" fmla="*/ 2638425 w 2889264"/>
              <a:gd name="connsiteY44" fmla="*/ 576679 h 722729"/>
              <a:gd name="connsiteX45" fmla="*/ 2654300 w 2889264"/>
              <a:gd name="connsiteY45" fmla="*/ 586204 h 722729"/>
              <a:gd name="connsiteX46" fmla="*/ 2673350 w 2889264"/>
              <a:gd name="connsiteY46" fmla="*/ 592554 h 722729"/>
              <a:gd name="connsiteX47" fmla="*/ 2708275 w 2889264"/>
              <a:gd name="connsiteY47" fmla="*/ 614779 h 722729"/>
              <a:gd name="connsiteX48" fmla="*/ 2730500 w 2889264"/>
              <a:gd name="connsiteY48" fmla="*/ 624304 h 722729"/>
              <a:gd name="connsiteX49" fmla="*/ 2749550 w 2889264"/>
              <a:gd name="connsiteY49" fmla="*/ 640179 h 722729"/>
              <a:gd name="connsiteX50" fmla="*/ 2774950 w 2889264"/>
              <a:gd name="connsiteY50" fmla="*/ 652879 h 722729"/>
              <a:gd name="connsiteX51" fmla="*/ 2803525 w 2889264"/>
              <a:gd name="connsiteY51" fmla="*/ 665579 h 722729"/>
              <a:gd name="connsiteX52" fmla="*/ 2816225 w 2889264"/>
              <a:gd name="connsiteY52" fmla="*/ 675104 h 722729"/>
              <a:gd name="connsiteX53" fmla="*/ 2832100 w 2889264"/>
              <a:gd name="connsiteY53" fmla="*/ 681454 h 722729"/>
              <a:gd name="connsiteX54" fmla="*/ 2876550 w 2889264"/>
              <a:gd name="connsiteY54" fmla="*/ 713204 h 722729"/>
              <a:gd name="connsiteX55" fmla="*/ 2889250 w 2889264"/>
              <a:gd name="connsiteY55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276475 w 2889264"/>
              <a:gd name="connsiteY31" fmla="*/ 424279 h 722729"/>
              <a:gd name="connsiteX32" fmla="*/ 2333625 w 2889264"/>
              <a:gd name="connsiteY32" fmla="*/ 449679 h 722729"/>
              <a:gd name="connsiteX33" fmla="*/ 2397125 w 2889264"/>
              <a:gd name="connsiteY33" fmla="*/ 478254 h 722729"/>
              <a:gd name="connsiteX34" fmla="*/ 2422525 w 2889264"/>
              <a:gd name="connsiteY34" fmla="*/ 484604 h 722729"/>
              <a:gd name="connsiteX35" fmla="*/ 2432050 w 2889264"/>
              <a:gd name="connsiteY35" fmla="*/ 487779 h 722729"/>
              <a:gd name="connsiteX36" fmla="*/ 2454275 w 2889264"/>
              <a:gd name="connsiteY36" fmla="*/ 500479 h 722729"/>
              <a:gd name="connsiteX37" fmla="*/ 2470150 w 2889264"/>
              <a:gd name="connsiteY37" fmla="*/ 513179 h 722729"/>
              <a:gd name="connsiteX38" fmla="*/ 2495550 w 2889264"/>
              <a:gd name="connsiteY38" fmla="*/ 522704 h 722729"/>
              <a:gd name="connsiteX39" fmla="*/ 2546350 w 2889264"/>
              <a:gd name="connsiteY39" fmla="*/ 548104 h 722729"/>
              <a:gd name="connsiteX40" fmla="*/ 2574925 w 2889264"/>
              <a:gd name="connsiteY40" fmla="*/ 554454 h 722729"/>
              <a:gd name="connsiteX41" fmla="*/ 2600325 w 2889264"/>
              <a:gd name="connsiteY41" fmla="*/ 567154 h 722729"/>
              <a:gd name="connsiteX42" fmla="*/ 2616200 w 2889264"/>
              <a:gd name="connsiteY42" fmla="*/ 570329 h 722729"/>
              <a:gd name="connsiteX43" fmla="*/ 2638425 w 2889264"/>
              <a:gd name="connsiteY43" fmla="*/ 576679 h 722729"/>
              <a:gd name="connsiteX44" fmla="*/ 2654300 w 2889264"/>
              <a:gd name="connsiteY44" fmla="*/ 586204 h 722729"/>
              <a:gd name="connsiteX45" fmla="*/ 2673350 w 2889264"/>
              <a:gd name="connsiteY45" fmla="*/ 592554 h 722729"/>
              <a:gd name="connsiteX46" fmla="*/ 2708275 w 2889264"/>
              <a:gd name="connsiteY46" fmla="*/ 614779 h 722729"/>
              <a:gd name="connsiteX47" fmla="*/ 2730500 w 2889264"/>
              <a:gd name="connsiteY47" fmla="*/ 624304 h 722729"/>
              <a:gd name="connsiteX48" fmla="*/ 2749550 w 2889264"/>
              <a:gd name="connsiteY48" fmla="*/ 640179 h 722729"/>
              <a:gd name="connsiteX49" fmla="*/ 2774950 w 2889264"/>
              <a:gd name="connsiteY49" fmla="*/ 652879 h 722729"/>
              <a:gd name="connsiteX50" fmla="*/ 2803525 w 2889264"/>
              <a:gd name="connsiteY50" fmla="*/ 665579 h 722729"/>
              <a:gd name="connsiteX51" fmla="*/ 2816225 w 2889264"/>
              <a:gd name="connsiteY51" fmla="*/ 675104 h 722729"/>
              <a:gd name="connsiteX52" fmla="*/ 2832100 w 2889264"/>
              <a:gd name="connsiteY52" fmla="*/ 681454 h 722729"/>
              <a:gd name="connsiteX53" fmla="*/ 2876550 w 2889264"/>
              <a:gd name="connsiteY53" fmla="*/ 713204 h 722729"/>
              <a:gd name="connsiteX54" fmla="*/ 2889250 w 2889264"/>
              <a:gd name="connsiteY54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22525 w 2889264"/>
              <a:gd name="connsiteY33" fmla="*/ 484604 h 722729"/>
              <a:gd name="connsiteX34" fmla="*/ 2432050 w 2889264"/>
              <a:gd name="connsiteY34" fmla="*/ 487779 h 722729"/>
              <a:gd name="connsiteX35" fmla="*/ 2454275 w 2889264"/>
              <a:gd name="connsiteY35" fmla="*/ 500479 h 722729"/>
              <a:gd name="connsiteX36" fmla="*/ 2470150 w 2889264"/>
              <a:gd name="connsiteY36" fmla="*/ 513179 h 722729"/>
              <a:gd name="connsiteX37" fmla="*/ 2495550 w 2889264"/>
              <a:gd name="connsiteY37" fmla="*/ 522704 h 722729"/>
              <a:gd name="connsiteX38" fmla="*/ 2546350 w 2889264"/>
              <a:gd name="connsiteY38" fmla="*/ 548104 h 722729"/>
              <a:gd name="connsiteX39" fmla="*/ 2574925 w 2889264"/>
              <a:gd name="connsiteY39" fmla="*/ 554454 h 722729"/>
              <a:gd name="connsiteX40" fmla="*/ 2600325 w 2889264"/>
              <a:gd name="connsiteY40" fmla="*/ 567154 h 722729"/>
              <a:gd name="connsiteX41" fmla="*/ 2616200 w 2889264"/>
              <a:gd name="connsiteY41" fmla="*/ 570329 h 722729"/>
              <a:gd name="connsiteX42" fmla="*/ 2638425 w 2889264"/>
              <a:gd name="connsiteY42" fmla="*/ 576679 h 722729"/>
              <a:gd name="connsiteX43" fmla="*/ 2654300 w 2889264"/>
              <a:gd name="connsiteY43" fmla="*/ 586204 h 722729"/>
              <a:gd name="connsiteX44" fmla="*/ 2673350 w 2889264"/>
              <a:gd name="connsiteY44" fmla="*/ 592554 h 722729"/>
              <a:gd name="connsiteX45" fmla="*/ 2708275 w 2889264"/>
              <a:gd name="connsiteY45" fmla="*/ 614779 h 722729"/>
              <a:gd name="connsiteX46" fmla="*/ 2730500 w 2889264"/>
              <a:gd name="connsiteY46" fmla="*/ 624304 h 722729"/>
              <a:gd name="connsiteX47" fmla="*/ 2749550 w 2889264"/>
              <a:gd name="connsiteY47" fmla="*/ 640179 h 722729"/>
              <a:gd name="connsiteX48" fmla="*/ 2774950 w 2889264"/>
              <a:gd name="connsiteY48" fmla="*/ 652879 h 722729"/>
              <a:gd name="connsiteX49" fmla="*/ 2803525 w 2889264"/>
              <a:gd name="connsiteY49" fmla="*/ 665579 h 722729"/>
              <a:gd name="connsiteX50" fmla="*/ 2816225 w 2889264"/>
              <a:gd name="connsiteY50" fmla="*/ 675104 h 722729"/>
              <a:gd name="connsiteX51" fmla="*/ 2832100 w 2889264"/>
              <a:gd name="connsiteY51" fmla="*/ 681454 h 722729"/>
              <a:gd name="connsiteX52" fmla="*/ 2876550 w 2889264"/>
              <a:gd name="connsiteY52" fmla="*/ 713204 h 722729"/>
              <a:gd name="connsiteX53" fmla="*/ 2889250 w 2889264"/>
              <a:gd name="connsiteY53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22525 w 2889264"/>
              <a:gd name="connsiteY33" fmla="*/ 484604 h 722729"/>
              <a:gd name="connsiteX34" fmla="*/ 2432050 w 2889264"/>
              <a:gd name="connsiteY34" fmla="*/ 487779 h 722729"/>
              <a:gd name="connsiteX35" fmla="*/ 2470150 w 2889264"/>
              <a:gd name="connsiteY35" fmla="*/ 513179 h 722729"/>
              <a:gd name="connsiteX36" fmla="*/ 2495550 w 2889264"/>
              <a:gd name="connsiteY36" fmla="*/ 522704 h 722729"/>
              <a:gd name="connsiteX37" fmla="*/ 2546350 w 2889264"/>
              <a:gd name="connsiteY37" fmla="*/ 548104 h 722729"/>
              <a:gd name="connsiteX38" fmla="*/ 2574925 w 2889264"/>
              <a:gd name="connsiteY38" fmla="*/ 554454 h 722729"/>
              <a:gd name="connsiteX39" fmla="*/ 2600325 w 2889264"/>
              <a:gd name="connsiteY39" fmla="*/ 567154 h 722729"/>
              <a:gd name="connsiteX40" fmla="*/ 2616200 w 2889264"/>
              <a:gd name="connsiteY40" fmla="*/ 570329 h 722729"/>
              <a:gd name="connsiteX41" fmla="*/ 2638425 w 2889264"/>
              <a:gd name="connsiteY41" fmla="*/ 576679 h 722729"/>
              <a:gd name="connsiteX42" fmla="*/ 2654300 w 2889264"/>
              <a:gd name="connsiteY42" fmla="*/ 586204 h 722729"/>
              <a:gd name="connsiteX43" fmla="*/ 2673350 w 2889264"/>
              <a:gd name="connsiteY43" fmla="*/ 592554 h 722729"/>
              <a:gd name="connsiteX44" fmla="*/ 2708275 w 2889264"/>
              <a:gd name="connsiteY44" fmla="*/ 614779 h 722729"/>
              <a:gd name="connsiteX45" fmla="*/ 2730500 w 2889264"/>
              <a:gd name="connsiteY45" fmla="*/ 624304 h 722729"/>
              <a:gd name="connsiteX46" fmla="*/ 2749550 w 2889264"/>
              <a:gd name="connsiteY46" fmla="*/ 640179 h 722729"/>
              <a:gd name="connsiteX47" fmla="*/ 2774950 w 2889264"/>
              <a:gd name="connsiteY47" fmla="*/ 652879 h 722729"/>
              <a:gd name="connsiteX48" fmla="*/ 2803525 w 2889264"/>
              <a:gd name="connsiteY48" fmla="*/ 665579 h 722729"/>
              <a:gd name="connsiteX49" fmla="*/ 2816225 w 2889264"/>
              <a:gd name="connsiteY49" fmla="*/ 675104 h 722729"/>
              <a:gd name="connsiteX50" fmla="*/ 2832100 w 2889264"/>
              <a:gd name="connsiteY50" fmla="*/ 681454 h 722729"/>
              <a:gd name="connsiteX51" fmla="*/ 2876550 w 2889264"/>
              <a:gd name="connsiteY51" fmla="*/ 713204 h 722729"/>
              <a:gd name="connsiteX52" fmla="*/ 2889250 w 2889264"/>
              <a:gd name="connsiteY52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22525 w 2889264"/>
              <a:gd name="connsiteY33" fmla="*/ 484604 h 722729"/>
              <a:gd name="connsiteX34" fmla="*/ 2432050 w 2889264"/>
              <a:gd name="connsiteY34" fmla="*/ 487779 h 722729"/>
              <a:gd name="connsiteX35" fmla="*/ 2495550 w 2889264"/>
              <a:gd name="connsiteY35" fmla="*/ 522704 h 722729"/>
              <a:gd name="connsiteX36" fmla="*/ 2546350 w 2889264"/>
              <a:gd name="connsiteY36" fmla="*/ 548104 h 722729"/>
              <a:gd name="connsiteX37" fmla="*/ 2574925 w 2889264"/>
              <a:gd name="connsiteY37" fmla="*/ 554454 h 722729"/>
              <a:gd name="connsiteX38" fmla="*/ 2600325 w 2889264"/>
              <a:gd name="connsiteY38" fmla="*/ 567154 h 722729"/>
              <a:gd name="connsiteX39" fmla="*/ 2616200 w 2889264"/>
              <a:gd name="connsiteY39" fmla="*/ 570329 h 722729"/>
              <a:gd name="connsiteX40" fmla="*/ 2638425 w 2889264"/>
              <a:gd name="connsiteY40" fmla="*/ 576679 h 722729"/>
              <a:gd name="connsiteX41" fmla="*/ 2654300 w 2889264"/>
              <a:gd name="connsiteY41" fmla="*/ 586204 h 722729"/>
              <a:gd name="connsiteX42" fmla="*/ 2673350 w 2889264"/>
              <a:gd name="connsiteY42" fmla="*/ 592554 h 722729"/>
              <a:gd name="connsiteX43" fmla="*/ 2708275 w 2889264"/>
              <a:gd name="connsiteY43" fmla="*/ 614779 h 722729"/>
              <a:gd name="connsiteX44" fmla="*/ 2730500 w 2889264"/>
              <a:gd name="connsiteY44" fmla="*/ 624304 h 722729"/>
              <a:gd name="connsiteX45" fmla="*/ 2749550 w 2889264"/>
              <a:gd name="connsiteY45" fmla="*/ 640179 h 722729"/>
              <a:gd name="connsiteX46" fmla="*/ 2774950 w 2889264"/>
              <a:gd name="connsiteY46" fmla="*/ 652879 h 722729"/>
              <a:gd name="connsiteX47" fmla="*/ 2803525 w 2889264"/>
              <a:gd name="connsiteY47" fmla="*/ 665579 h 722729"/>
              <a:gd name="connsiteX48" fmla="*/ 2816225 w 2889264"/>
              <a:gd name="connsiteY48" fmla="*/ 675104 h 722729"/>
              <a:gd name="connsiteX49" fmla="*/ 2832100 w 2889264"/>
              <a:gd name="connsiteY49" fmla="*/ 681454 h 722729"/>
              <a:gd name="connsiteX50" fmla="*/ 2876550 w 2889264"/>
              <a:gd name="connsiteY50" fmla="*/ 713204 h 722729"/>
              <a:gd name="connsiteX51" fmla="*/ 2889250 w 2889264"/>
              <a:gd name="connsiteY51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22525 w 2889264"/>
              <a:gd name="connsiteY33" fmla="*/ 484604 h 722729"/>
              <a:gd name="connsiteX34" fmla="*/ 2495550 w 2889264"/>
              <a:gd name="connsiteY34" fmla="*/ 522704 h 722729"/>
              <a:gd name="connsiteX35" fmla="*/ 2546350 w 2889264"/>
              <a:gd name="connsiteY35" fmla="*/ 548104 h 722729"/>
              <a:gd name="connsiteX36" fmla="*/ 2574925 w 2889264"/>
              <a:gd name="connsiteY36" fmla="*/ 554454 h 722729"/>
              <a:gd name="connsiteX37" fmla="*/ 2600325 w 2889264"/>
              <a:gd name="connsiteY37" fmla="*/ 567154 h 722729"/>
              <a:gd name="connsiteX38" fmla="*/ 2616200 w 2889264"/>
              <a:gd name="connsiteY38" fmla="*/ 570329 h 722729"/>
              <a:gd name="connsiteX39" fmla="*/ 2638425 w 2889264"/>
              <a:gd name="connsiteY39" fmla="*/ 576679 h 722729"/>
              <a:gd name="connsiteX40" fmla="*/ 2654300 w 2889264"/>
              <a:gd name="connsiteY40" fmla="*/ 586204 h 722729"/>
              <a:gd name="connsiteX41" fmla="*/ 2673350 w 2889264"/>
              <a:gd name="connsiteY41" fmla="*/ 592554 h 722729"/>
              <a:gd name="connsiteX42" fmla="*/ 2708275 w 2889264"/>
              <a:gd name="connsiteY42" fmla="*/ 614779 h 722729"/>
              <a:gd name="connsiteX43" fmla="*/ 2730500 w 2889264"/>
              <a:gd name="connsiteY43" fmla="*/ 624304 h 722729"/>
              <a:gd name="connsiteX44" fmla="*/ 2749550 w 2889264"/>
              <a:gd name="connsiteY44" fmla="*/ 640179 h 722729"/>
              <a:gd name="connsiteX45" fmla="*/ 2774950 w 2889264"/>
              <a:gd name="connsiteY45" fmla="*/ 652879 h 722729"/>
              <a:gd name="connsiteX46" fmla="*/ 2803525 w 2889264"/>
              <a:gd name="connsiteY46" fmla="*/ 665579 h 722729"/>
              <a:gd name="connsiteX47" fmla="*/ 2816225 w 2889264"/>
              <a:gd name="connsiteY47" fmla="*/ 675104 h 722729"/>
              <a:gd name="connsiteX48" fmla="*/ 2832100 w 2889264"/>
              <a:gd name="connsiteY48" fmla="*/ 681454 h 722729"/>
              <a:gd name="connsiteX49" fmla="*/ 2876550 w 2889264"/>
              <a:gd name="connsiteY49" fmla="*/ 713204 h 722729"/>
              <a:gd name="connsiteX50" fmla="*/ 2889250 w 2889264"/>
              <a:gd name="connsiteY50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574925 w 2889264"/>
              <a:gd name="connsiteY35" fmla="*/ 554454 h 722729"/>
              <a:gd name="connsiteX36" fmla="*/ 2600325 w 2889264"/>
              <a:gd name="connsiteY36" fmla="*/ 567154 h 722729"/>
              <a:gd name="connsiteX37" fmla="*/ 2616200 w 2889264"/>
              <a:gd name="connsiteY37" fmla="*/ 570329 h 722729"/>
              <a:gd name="connsiteX38" fmla="*/ 2638425 w 2889264"/>
              <a:gd name="connsiteY38" fmla="*/ 576679 h 722729"/>
              <a:gd name="connsiteX39" fmla="*/ 2654300 w 2889264"/>
              <a:gd name="connsiteY39" fmla="*/ 586204 h 722729"/>
              <a:gd name="connsiteX40" fmla="*/ 2673350 w 2889264"/>
              <a:gd name="connsiteY40" fmla="*/ 592554 h 722729"/>
              <a:gd name="connsiteX41" fmla="*/ 2708275 w 2889264"/>
              <a:gd name="connsiteY41" fmla="*/ 614779 h 722729"/>
              <a:gd name="connsiteX42" fmla="*/ 2730500 w 2889264"/>
              <a:gd name="connsiteY42" fmla="*/ 624304 h 722729"/>
              <a:gd name="connsiteX43" fmla="*/ 2749550 w 2889264"/>
              <a:gd name="connsiteY43" fmla="*/ 640179 h 722729"/>
              <a:gd name="connsiteX44" fmla="*/ 2774950 w 2889264"/>
              <a:gd name="connsiteY44" fmla="*/ 652879 h 722729"/>
              <a:gd name="connsiteX45" fmla="*/ 2803525 w 2889264"/>
              <a:gd name="connsiteY45" fmla="*/ 665579 h 722729"/>
              <a:gd name="connsiteX46" fmla="*/ 2816225 w 2889264"/>
              <a:gd name="connsiteY46" fmla="*/ 675104 h 722729"/>
              <a:gd name="connsiteX47" fmla="*/ 2832100 w 2889264"/>
              <a:gd name="connsiteY47" fmla="*/ 681454 h 722729"/>
              <a:gd name="connsiteX48" fmla="*/ 2876550 w 2889264"/>
              <a:gd name="connsiteY48" fmla="*/ 713204 h 722729"/>
              <a:gd name="connsiteX49" fmla="*/ 2889250 w 2889264"/>
              <a:gd name="connsiteY49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574925 w 2889264"/>
              <a:gd name="connsiteY35" fmla="*/ 554454 h 722729"/>
              <a:gd name="connsiteX36" fmla="*/ 2616200 w 2889264"/>
              <a:gd name="connsiteY36" fmla="*/ 570329 h 722729"/>
              <a:gd name="connsiteX37" fmla="*/ 2638425 w 2889264"/>
              <a:gd name="connsiteY37" fmla="*/ 576679 h 722729"/>
              <a:gd name="connsiteX38" fmla="*/ 2654300 w 2889264"/>
              <a:gd name="connsiteY38" fmla="*/ 586204 h 722729"/>
              <a:gd name="connsiteX39" fmla="*/ 2673350 w 2889264"/>
              <a:gd name="connsiteY39" fmla="*/ 592554 h 722729"/>
              <a:gd name="connsiteX40" fmla="*/ 2708275 w 2889264"/>
              <a:gd name="connsiteY40" fmla="*/ 614779 h 722729"/>
              <a:gd name="connsiteX41" fmla="*/ 2730500 w 2889264"/>
              <a:gd name="connsiteY41" fmla="*/ 624304 h 722729"/>
              <a:gd name="connsiteX42" fmla="*/ 2749550 w 2889264"/>
              <a:gd name="connsiteY42" fmla="*/ 640179 h 722729"/>
              <a:gd name="connsiteX43" fmla="*/ 2774950 w 2889264"/>
              <a:gd name="connsiteY43" fmla="*/ 652879 h 722729"/>
              <a:gd name="connsiteX44" fmla="*/ 2803525 w 2889264"/>
              <a:gd name="connsiteY44" fmla="*/ 665579 h 722729"/>
              <a:gd name="connsiteX45" fmla="*/ 2816225 w 2889264"/>
              <a:gd name="connsiteY45" fmla="*/ 675104 h 722729"/>
              <a:gd name="connsiteX46" fmla="*/ 2832100 w 2889264"/>
              <a:gd name="connsiteY46" fmla="*/ 681454 h 722729"/>
              <a:gd name="connsiteX47" fmla="*/ 2876550 w 2889264"/>
              <a:gd name="connsiteY47" fmla="*/ 713204 h 722729"/>
              <a:gd name="connsiteX48" fmla="*/ 2889250 w 2889264"/>
              <a:gd name="connsiteY48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574925 w 2889264"/>
              <a:gd name="connsiteY35" fmla="*/ 554454 h 722729"/>
              <a:gd name="connsiteX36" fmla="*/ 2616200 w 2889264"/>
              <a:gd name="connsiteY36" fmla="*/ 570329 h 722729"/>
              <a:gd name="connsiteX37" fmla="*/ 2654300 w 2889264"/>
              <a:gd name="connsiteY37" fmla="*/ 586204 h 722729"/>
              <a:gd name="connsiteX38" fmla="*/ 2673350 w 2889264"/>
              <a:gd name="connsiteY38" fmla="*/ 592554 h 722729"/>
              <a:gd name="connsiteX39" fmla="*/ 2708275 w 2889264"/>
              <a:gd name="connsiteY39" fmla="*/ 614779 h 722729"/>
              <a:gd name="connsiteX40" fmla="*/ 2730500 w 2889264"/>
              <a:gd name="connsiteY40" fmla="*/ 624304 h 722729"/>
              <a:gd name="connsiteX41" fmla="*/ 2749550 w 2889264"/>
              <a:gd name="connsiteY41" fmla="*/ 640179 h 722729"/>
              <a:gd name="connsiteX42" fmla="*/ 2774950 w 2889264"/>
              <a:gd name="connsiteY42" fmla="*/ 652879 h 722729"/>
              <a:gd name="connsiteX43" fmla="*/ 2803525 w 2889264"/>
              <a:gd name="connsiteY43" fmla="*/ 665579 h 722729"/>
              <a:gd name="connsiteX44" fmla="*/ 2816225 w 2889264"/>
              <a:gd name="connsiteY44" fmla="*/ 675104 h 722729"/>
              <a:gd name="connsiteX45" fmla="*/ 2832100 w 2889264"/>
              <a:gd name="connsiteY45" fmla="*/ 681454 h 722729"/>
              <a:gd name="connsiteX46" fmla="*/ 2876550 w 2889264"/>
              <a:gd name="connsiteY46" fmla="*/ 713204 h 722729"/>
              <a:gd name="connsiteX47" fmla="*/ 2889250 w 2889264"/>
              <a:gd name="connsiteY47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574925 w 2889264"/>
              <a:gd name="connsiteY35" fmla="*/ 554454 h 722729"/>
              <a:gd name="connsiteX36" fmla="*/ 2616200 w 2889264"/>
              <a:gd name="connsiteY36" fmla="*/ 570329 h 722729"/>
              <a:gd name="connsiteX37" fmla="*/ 2673350 w 2889264"/>
              <a:gd name="connsiteY37" fmla="*/ 592554 h 722729"/>
              <a:gd name="connsiteX38" fmla="*/ 2708275 w 2889264"/>
              <a:gd name="connsiteY38" fmla="*/ 614779 h 722729"/>
              <a:gd name="connsiteX39" fmla="*/ 2730500 w 2889264"/>
              <a:gd name="connsiteY39" fmla="*/ 624304 h 722729"/>
              <a:gd name="connsiteX40" fmla="*/ 2749550 w 2889264"/>
              <a:gd name="connsiteY40" fmla="*/ 640179 h 722729"/>
              <a:gd name="connsiteX41" fmla="*/ 2774950 w 2889264"/>
              <a:gd name="connsiteY41" fmla="*/ 652879 h 722729"/>
              <a:gd name="connsiteX42" fmla="*/ 2803525 w 2889264"/>
              <a:gd name="connsiteY42" fmla="*/ 665579 h 722729"/>
              <a:gd name="connsiteX43" fmla="*/ 2816225 w 2889264"/>
              <a:gd name="connsiteY43" fmla="*/ 675104 h 722729"/>
              <a:gd name="connsiteX44" fmla="*/ 2832100 w 2889264"/>
              <a:gd name="connsiteY44" fmla="*/ 681454 h 722729"/>
              <a:gd name="connsiteX45" fmla="*/ 2876550 w 2889264"/>
              <a:gd name="connsiteY45" fmla="*/ 713204 h 722729"/>
              <a:gd name="connsiteX46" fmla="*/ 2889250 w 2889264"/>
              <a:gd name="connsiteY46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616200 w 2889264"/>
              <a:gd name="connsiteY35" fmla="*/ 570329 h 722729"/>
              <a:gd name="connsiteX36" fmla="*/ 2673350 w 2889264"/>
              <a:gd name="connsiteY36" fmla="*/ 592554 h 722729"/>
              <a:gd name="connsiteX37" fmla="*/ 2708275 w 2889264"/>
              <a:gd name="connsiteY37" fmla="*/ 614779 h 722729"/>
              <a:gd name="connsiteX38" fmla="*/ 2730500 w 2889264"/>
              <a:gd name="connsiteY38" fmla="*/ 624304 h 722729"/>
              <a:gd name="connsiteX39" fmla="*/ 2749550 w 2889264"/>
              <a:gd name="connsiteY39" fmla="*/ 640179 h 722729"/>
              <a:gd name="connsiteX40" fmla="*/ 2774950 w 2889264"/>
              <a:gd name="connsiteY40" fmla="*/ 652879 h 722729"/>
              <a:gd name="connsiteX41" fmla="*/ 2803525 w 2889264"/>
              <a:gd name="connsiteY41" fmla="*/ 665579 h 722729"/>
              <a:gd name="connsiteX42" fmla="*/ 2816225 w 2889264"/>
              <a:gd name="connsiteY42" fmla="*/ 675104 h 722729"/>
              <a:gd name="connsiteX43" fmla="*/ 2832100 w 2889264"/>
              <a:gd name="connsiteY43" fmla="*/ 681454 h 722729"/>
              <a:gd name="connsiteX44" fmla="*/ 2876550 w 2889264"/>
              <a:gd name="connsiteY44" fmla="*/ 713204 h 722729"/>
              <a:gd name="connsiteX45" fmla="*/ 2889250 w 2889264"/>
              <a:gd name="connsiteY45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616200 w 2889264"/>
              <a:gd name="connsiteY35" fmla="*/ 570329 h 722729"/>
              <a:gd name="connsiteX36" fmla="*/ 2673350 w 2889264"/>
              <a:gd name="connsiteY36" fmla="*/ 592554 h 722729"/>
              <a:gd name="connsiteX37" fmla="*/ 2730500 w 2889264"/>
              <a:gd name="connsiteY37" fmla="*/ 624304 h 722729"/>
              <a:gd name="connsiteX38" fmla="*/ 2749550 w 2889264"/>
              <a:gd name="connsiteY38" fmla="*/ 640179 h 722729"/>
              <a:gd name="connsiteX39" fmla="*/ 2774950 w 2889264"/>
              <a:gd name="connsiteY39" fmla="*/ 652879 h 722729"/>
              <a:gd name="connsiteX40" fmla="*/ 2803525 w 2889264"/>
              <a:gd name="connsiteY40" fmla="*/ 665579 h 722729"/>
              <a:gd name="connsiteX41" fmla="*/ 2816225 w 2889264"/>
              <a:gd name="connsiteY41" fmla="*/ 675104 h 722729"/>
              <a:gd name="connsiteX42" fmla="*/ 2832100 w 2889264"/>
              <a:gd name="connsiteY42" fmla="*/ 681454 h 722729"/>
              <a:gd name="connsiteX43" fmla="*/ 2876550 w 2889264"/>
              <a:gd name="connsiteY43" fmla="*/ 713204 h 722729"/>
              <a:gd name="connsiteX44" fmla="*/ 2889250 w 2889264"/>
              <a:gd name="connsiteY44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616200 w 2889264"/>
              <a:gd name="connsiteY35" fmla="*/ 570329 h 722729"/>
              <a:gd name="connsiteX36" fmla="*/ 2673350 w 2889264"/>
              <a:gd name="connsiteY36" fmla="*/ 592554 h 722729"/>
              <a:gd name="connsiteX37" fmla="*/ 2749550 w 2889264"/>
              <a:gd name="connsiteY37" fmla="*/ 640179 h 722729"/>
              <a:gd name="connsiteX38" fmla="*/ 2774950 w 2889264"/>
              <a:gd name="connsiteY38" fmla="*/ 652879 h 722729"/>
              <a:gd name="connsiteX39" fmla="*/ 2803525 w 2889264"/>
              <a:gd name="connsiteY39" fmla="*/ 665579 h 722729"/>
              <a:gd name="connsiteX40" fmla="*/ 2816225 w 2889264"/>
              <a:gd name="connsiteY40" fmla="*/ 675104 h 722729"/>
              <a:gd name="connsiteX41" fmla="*/ 2832100 w 2889264"/>
              <a:gd name="connsiteY41" fmla="*/ 681454 h 722729"/>
              <a:gd name="connsiteX42" fmla="*/ 2876550 w 2889264"/>
              <a:gd name="connsiteY42" fmla="*/ 713204 h 722729"/>
              <a:gd name="connsiteX43" fmla="*/ 2889250 w 2889264"/>
              <a:gd name="connsiteY43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616200 w 2889264"/>
              <a:gd name="connsiteY35" fmla="*/ 570329 h 722729"/>
              <a:gd name="connsiteX36" fmla="*/ 2673350 w 2889264"/>
              <a:gd name="connsiteY36" fmla="*/ 592554 h 722729"/>
              <a:gd name="connsiteX37" fmla="*/ 2749550 w 2889264"/>
              <a:gd name="connsiteY37" fmla="*/ 640179 h 722729"/>
              <a:gd name="connsiteX38" fmla="*/ 2803525 w 2889264"/>
              <a:gd name="connsiteY38" fmla="*/ 665579 h 722729"/>
              <a:gd name="connsiteX39" fmla="*/ 2816225 w 2889264"/>
              <a:gd name="connsiteY39" fmla="*/ 675104 h 722729"/>
              <a:gd name="connsiteX40" fmla="*/ 2832100 w 2889264"/>
              <a:gd name="connsiteY40" fmla="*/ 681454 h 722729"/>
              <a:gd name="connsiteX41" fmla="*/ 2876550 w 2889264"/>
              <a:gd name="connsiteY41" fmla="*/ 713204 h 722729"/>
              <a:gd name="connsiteX42" fmla="*/ 2889250 w 2889264"/>
              <a:gd name="connsiteY42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616200 w 2889264"/>
              <a:gd name="connsiteY35" fmla="*/ 570329 h 722729"/>
              <a:gd name="connsiteX36" fmla="*/ 2673350 w 2889264"/>
              <a:gd name="connsiteY36" fmla="*/ 592554 h 722729"/>
              <a:gd name="connsiteX37" fmla="*/ 2749550 w 2889264"/>
              <a:gd name="connsiteY37" fmla="*/ 640179 h 722729"/>
              <a:gd name="connsiteX38" fmla="*/ 2778125 w 2889264"/>
              <a:gd name="connsiteY38" fmla="*/ 659229 h 722729"/>
              <a:gd name="connsiteX39" fmla="*/ 2803525 w 2889264"/>
              <a:gd name="connsiteY39" fmla="*/ 665579 h 722729"/>
              <a:gd name="connsiteX40" fmla="*/ 2816225 w 2889264"/>
              <a:gd name="connsiteY40" fmla="*/ 675104 h 722729"/>
              <a:gd name="connsiteX41" fmla="*/ 2832100 w 2889264"/>
              <a:gd name="connsiteY41" fmla="*/ 681454 h 722729"/>
              <a:gd name="connsiteX42" fmla="*/ 2876550 w 2889264"/>
              <a:gd name="connsiteY42" fmla="*/ 713204 h 722729"/>
              <a:gd name="connsiteX43" fmla="*/ 2889250 w 2889264"/>
              <a:gd name="connsiteY43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616200 w 2889264"/>
              <a:gd name="connsiteY35" fmla="*/ 570329 h 722729"/>
              <a:gd name="connsiteX36" fmla="*/ 2673350 w 2889264"/>
              <a:gd name="connsiteY36" fmla="*/ 592554 h 722729"/>
              <a:gd name="connsiteX37" fmla="*/ 2749550 w 2889264"/>
              <a:gd name="connsiteY37" fmla="*/ 640179 h 722729"/>
              <a:gd name="connsiteX38" fmla="*/ 2778125 w 2889264"/>
              <a:gd name="connsiteY38" fmla="*/ 659229 h 722729"/>
              <a:gd name="connsiteX39" fmla="*/ 2803525 w 2889264"/>
              <a:gd name="connsiteY39" fmla="*/ 665579 h 722729"/>
              <a:gd name="connsiteX40" fmla="*/ 2816225 w 2889264"/>
              <a:gd name="connsiteY40" fmla="*/ 675104 h 722729"/>
              <a:gd name="connsiteX41" fmla="*/ 2876550 w 2889264"/>
              <a:gd name="connsiteY41" fmla="*/ 713204 h 722729"/>
              <a:gd name="connsiteX42" fmla="*/ 2889250 w 2889264"/>
              <a:gd name="connsiteY42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616200 w 2889264"/>
              <a:gd name="connsiteY35" fmla="*/ 570329 h 722729"/>
              <a:gd name="connsiteX36" fmla="*/ 2673350 w 2889264"/>
              <a:gd name="connsiteY36" fmla="*/ 592554 h 722729"/>
              <a:gd name="connsiteX37" fmla="*/ 2749550 w 2889264"/>
              <a:gd name="connsiteY37" fmla="*/ 640179 h 722729"/>
              <a:gd name="connsiteX38" fmla="*/ 2778125 w 2889264"/>
              <a:gd name="connsiteY38" fmla="*/ 659229 h 722729"/>
              <a:gd name="connsiteX39" fmla="*/ 2803525 w 2889264"/>
              <a:gd name="connsiteY39" fmla="*/ 665579 h 722729"/>
              <a:gd name="connsiteX40" fmla="*/ 2876550 w 2889264"/>
              <a:gd name="connsiteY40" fmla="*/ 713204 h 722729"/>
              <a:gd name="connsiteX41" fmla="*/ 2889250 w 2889264"/>
              <a:gd name="connsiteY41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616200 w 2889264"/>
              <a:gd name="connsiteY35" fmla="*/ 570329 h 722729"/>
              <a:gd name="connsiteX36" fmla="*/ 2673350 w 2889264"/>
              <a:gd name="connsiteY36" fmla="*/ 592554 h 722729"/>
              <a:gd name="connsiteX37" fmla="*/ 2749550 w 2889264"/>
              <a:gd name="connsiteY37" fmla="*/ 640179 h 722729"/>
              <a:gd name="connsiteX38" fmla="*/ 2803525 w 2889264"/>
              <a:gd name="connsiteY38" fmla="*/ 665579 h 722729"/>
              <a:gd name="connsiteX39" fmla="*/ 2876550 w 2889264"/>
              <a:gd name="connsiteY39" fmla="*/ 713204 h 722729"/>
              <a:gd name="connsiteX40" fmla="*/ 2889250 w 2889264"/>
              <a:gd name="connsiteY40" fmla="*/ 722729 h 722729"/>
              <a:gd name="connsiteX0" fmla="*/ 0 w 2889264"/>
              <a:gd name="connsiteY0" fmla="*/ 710029 h 722729"/>
              <a:gd name="connsiteX1" fmla="*/ 111125 w 2889264"/>
              <a:gd name="connsiteY1" fmla="*/ 646529 h 722729"/>
              <a:gd name="connsiteX2" fmla="*/ 171450 w 2889264"/>
              <a:gd name="connsiteY2" fmla="*/ 617954 h 722729"/>
              <a:gd name="connsiteX3" fmla="*/ 247650 w 2889264"/>
              <a:gd name="connsiteY3" fmla="*/ 583029 h 722729"/>
              <a:gd name="connsiteX4" fmla="*/ 352425 w 2889264"/>
              <a:gd name="connsiteY4" fmla="*/ 544929 h 722729"/>
              <a:gd name="connsiteX5" fmla="*/ 463550 w 2889264"/>
              <a:gd name="connsiteY5" fmla="*/ 487779 h 722729"/>
              <a:gd name="connsiteX6" fmla="*/ 523875 w 2889264"/>
              <a:gd name="connsiteY6" fmla="*/ 459204 h 722729"/>
              <a:gd name="connsiteX7" fmla="*/ 612775 w 2889264"/>
              <a:gd name="connsiteY7" fmla="*/ 417929 h 722729"/>
              <a:gd name="connsiteX8" fmla="*/ 657225 w 2889264"/>
              <a:gd name="connsiteY8" fmla="*/ 395704 h 722729"/>
              <a:gd name="connsiteX9" fmla="*/ 736600 w 2889264"/>
              <a:gd name="connsiteY9" fmla="*/ 357604 h 722729"/>
              <a:gd name="connsiteX10" fmla="*/ 800100 w 2889264"/>
              <a:gd name="connsiteY10" fmla="*/ 325854 h 722729"/>
              <a:gd name="connsiteX11" fmla="*/ 898525 w 2889264"/>
              <a:gd name="connsiteY11" fmla="*/ 278229 h 722729"/>
              <a:gd name="connsiteX12" fmla="*/ 958850 w 2889264"/>
              <a:gd name="connsiteY12" fmla="*/ 236954 h 722729"/>
              <a:gd name="connsiteX13" fmla="*/ 1050925 w 2889264"/>
              <a:gd name="connsiteY13" fmla="*/ 202029 h 722729"/>
              <a:gd name="connsiteX14" fmla="*/ 1079500 w 2889264"/>
              <a:gd name="connsiteY14" fmla="*/ 189329 h 722729"/>
              <a:gd name="connsiteX15" fmla="*/ 1181100 w 2889264"/>
              <a:gd name="connsiteY15" fmla="*/ 141704 h 722729"/>
              <a:gd name="connsiteX16" fmla="*/ 1327150 w 2889264"/>
              <a:gd name="connsiteY16" fmla="*/ 55979 h 722729"/>
              <a:gd name="connsiteX17" fmla="*/ 1390650 w 2889264"/>
              <a:gd name="connsiteY17" fmla="*/ 8354 h 722729"/>
              <a:gd name="connsiteX18" fmla="*/ 1416050 w 2889264"/>
              <a:gd name="connsiteY18" fmla="*/ 2004 h 722729"/>
              <a:gd name="connsiteX19" fmla="*/ 1504950 w 2889264"/>
              <a:gd name="connsiteY19" fmla="*/ 30579 h 722729"/>
              <a:gd name="connsiteX20" fmla="*/ 1549400 w 2889264"/>
              <a:gd name="connsiteY20" fmla="*/ 49629 h 722729"/>
              <a:gd name="connsiteX21" fmla="*/ 1676400 w 2889264"/>
              <a:gd name="connsiteY21" fmla="*/ 119479 h 722729"/>
              <a:gd name="connsiteX22" fmla="*/ 1758950 w 2889264"/>
              <a:gd name="connsiteY22" fmla="*/ 154404 h 722729"/>
              <a:gd name="connsiteX23" fmla="*/ 1768475 w 2889264"/>
              <a:gd name="connsiteY23" fmla="*/ 160754 h 722729"/>
              <a:gd name="connsiteX24" fmla="*/ 1838325 w 2889264"/>
              <a:gd name="connsiteY24" fmla="*/ 202029 h 722729"/>
              <a:gd name="connsiteX25" fmla="*/ 1885950 w 2889264"/>
              <a:gd name="connsiteY25" fmla="*/ 230604 h 722729"/>
              <a:gd name="connsiteX26" fmla="*/ 1962150 w 2889264"/>
              <a:gd name="connsiteY26" fmla="*/ 265529 h 722729"/>
              <a:gd name="connsiteX27" fmla="*/ 1971675 w 2889264"/>
              <a:gd name="connsiteY27" fmla="*/ 271879 h 722729"/>
              <a:gd name="connsiteX28" fmla="*/ 2047875 w 2889264"/>
              <a:gd name="connsiteY28" fmla="*/ 303629 h 722729"/>
              <a:gd name="connsiteX29" fmla="*/ 2159000 w 2889264"/>
              <a:gd name="connsiteY29" fmla="*/ 348079 h 722729"/>
              <a:gd name="connsiteX30" fmla="*/ 2247900 w 2889264"/>
              <a:gd name="connsiteY30" fmla="*/ 408404 h 722729"/>
              <a:gd name="connsiteX31" fmla="*/ 2333625 w 2889264"/>
              <a:gd name="connsiteY31" fmla="*/ 449679 h 722729"/>
              <a:gd name="connsiteX32" fmla="*/ 2397125 w 2889264"/>
              <a:gd name="connsiteY32" fmla="*/ 478254 h 722729"/>
              <a:gd name="connsiteX33" fmla="*/ 2495550 w 2889264"/>
              <a:gd name="connsiteY33" fmla="*/ 522704 h 722729"/>
              <a:gd name="connsiteX34" fmla="*/ 2546350 w 2889264"/>
              <a:gd name="connsiteY34" fmla="*/ 548104 h 722729"/>
              <a:gd name="connsiteX35" fmla="*/ 2616200 w 2889264"/>
              <a:gd name="connsiteY35" fmla="*/ 570329 h 722729"/>
              <a:gd name="connsiteX36" fmla="*/ 2673350 w 2889264"/>
              <a:gd name="connsiteY36" fmla="*/ 592554 h 722729"/>
              <a:gd name="connsiteX37" fmla="*/ 2749550 w 2889264"/>
              <a:gd name="connsiteY37" fmla="*/ 640179 h 722729"/>
              <a:gd name="connsiteX38" fmla="*/ 2876550 w 2889264"/>
              <a:gd name="connsiteY38" fmla="*/ 713204 h 722729"/>
              <a:gd name="connsiteX39" fmla="*/ 2889250 w 2889264"/>
              <a:gd name="connsiteY39" fmla="*/ 722729 h 722729"/>
              <a:gd name="connsiteX0" fmla="*/ 0 w 2889250"/>
              <a:gd name="connsiteY0" fmla="*/ 710029 h 722729"/>
              <a:gd name="connsiteX1" fmla="*/ 111125 w 2889250"/>
              <a:gd name="connsiteY1" fmla="*/ 646529 h 722729"/>
              <a:gd name="connsiteX2" fmla="*/ 171450 w 2889250"/>
              <a:gd name="connsiteY2" fmla="*/ 617954 h 722729"/>
              <a:gd name="connsiteX3" fmla="*/ 247650 w 2889250"/>
              <a:gd name="connsiteY3" fmla="*/ 583029 h 722729"/>
              <a:gd name="connsiteX4" fmla="*/ 352425 w 2889250"/>
              <a:gd name="connsiteY4" fmla="*/ 544929 h 722729"/>
              <a:gd name="connsiteX5" fmla="*/ 463550 w 2889250"/>
              <a:gd name="connsiteY5" fmla="*/ 487779 h 722729"/>
              <a:gd name="connsiteX6" fmla="*/ 523875 w 2889250"/>
              <a:gd name="connsiteY6" fmla="*/ 459204 h 722729"/>
              <a:gd name="connsiteX7" fmla="*/ 612775 w 2889250"/>
              <a:gd name="connsiteY7" fmla="*/ 417929 h 722729"/>
              <a:gd name="connsiteX8" fmla="*/ 657225 w 2889250"/>
              <a:gd name="connsiteY8" fmla="*/ 395704 h 722729"/>
              <a:gd name="connsiteX9" fmla="*/ 736600 w 2889250"/>
              <a:gd name="connsiteY9" fmla="*/ 357604 h 722729"/>
              <a:gd name="connsiteX10" fmla="*/ 800100 w 2889250"/>
              <a:gd name="connsiteY10" fmla="*/ 325854 h 722729"/>
              <a:gd name="connsiteX11" fmla="*/ 898525 w 2889250"/>
              <a:gd name="connsiteY11" fmla="*/ 278229 h 722729"/>
              <a:gd name="connsiteX12" fmla="*/ 958850 w 2889250"/>
              <a:gd name="connsiteY12" fmla="*/ 236954 h 722729"/>
              <a:gd name="connsiteX13" fmla="*/ 1050925 w 2889250"/>
              <a:gd name="connsiteY13" fmla="*/ 202029 h 722729"/>
              <a:gd name="connsiteX14" fmla="*/ 1079500 w 2889250"/>
              <a:gd name="connsiteY14" fmla="*/ 189329 h 722729"/>
              <a:gd name="connsiteX15" fmla="*/ 1181100 w 2889250"/>
              <a:gd name="connsiteY15" fmla="*/ 141704 h 722729"/>
              <a:gd name="connsiteX16" fmla="*/ 1327150 w 2889250"/>
              <a:gd name="connsiteY16" fmla="*/ 55979 h 722729"/>
              <a:gd name="connsiteX17" fmla="*/ 1390650 w 2889250"/>
              <a:gd name="connsiteY17" fmla="*/ 8354 h 722729"/>
              <a:gd name="connsiteX18" fmla="*/ 1416050 w 2889250"/>
              <a:gd name="connsiteY18" fmla="*/ 2004 h 722729"/>
              <a:gd name="connsiteX19" fmla="*/ 1504950 w 2889250"/>
              <a:gd name="connsiteY19" fmla="*/ 30579 h 722729"/>
              <a:gd name="connsiteX20" fmla="*/ 1549400 w 2889250"/>
              <a:gd name="connsiteY20" fmla="*/ 49629 h 722729"/>
              <a:gd name="connsiteX21" fmla="*/ 1676400 w 2889250"/>
              <a:gd name="connsiteY21" fmla="*/ 119479 h 722729"/>
              <a:gd name="connsiteX22" fmla="*/ 1758950 w 2889250"/>
              <a:gd name="connsiteY22" fmla="*/ 154404 h 722729"/>
              <a:gd name="connsiteX23" fmla="*/ 1768475 w 2889250"/>
              <a:gd name="connsiteY23" fmla="*/ 160754 h 722729"/>
              <a:gd name="connsiteX24" fmla="*/ 1838325 w 2889250"/>
              <a:gd name="connsiteY24" fmla="*/ 202029 h 722729"/>
              <a:gd name="connsiteX25" fmla="*/ 1885950 w 2889250"/>
              <a:gd name="connsiteY25" fmla="*/ 230604 h 722729"/>
              <a:gd name="connsiteX26" fmla="*/ 1962150 w 2889250"/>
              <a:gd name="connsiteY26" fmla="*/ 265529 h 722729"/>
              <a:gd name="connsiteX27" fmla="*/ 1971675 w 2889250"/>
              <a:gd name="connsiteY27" fmla="*/ 271879 h 722729"/>
              <a:gd name="connsiteX28" fmla="*/ 2047875 w 2889250"/>
              <a:gd name="connsiteY28" fmla="*/ 303629 h 722729"/>
              <a:gd name="connsiteX29" fmla="*/ 2159000 w 2889250"/>
              <a:gd name="connsiteY29" fmla="*/ 348079 h 722729"/>
              <a:gd name="connsiteX30" fmla="*/ 2247900 w 2889250"/>
              <a:gd name="connsiteY30" fmla="*/ 408404 h 722729"/>
              <a:gd name="connsiteX31" fmla="*/ 2333625 w 2889250"/>
              <a:gd name="connsiteY31" fmla="*/ 449679 h 722729"/>
              <a:gd name="connsiteX32" fmla="*/ 2397125 w 2889250"/>
              <a:gd name="connsiteY32" fmla="*/ 478254 h 722729"/>
              <a:gd name="connsiteX33" fmla="*/ 2495550 w 2889250"/>
              <a:gd name="connsiteY33" fmla="*/ 522704 h 722729"/>
              <a:gd name="connsiteX34" fmla="*/ 2546350 w 2889250"/>
              <a:gd name="connsiteY34" fmla="*/ 548104 h 722729"/>
              <a:gd name="connsiteX35" fmla="*/ 2616200 w 2889250"/>
              <a:gd name="connsiteY35" fmla="*/ 570329 h 722729"/>
              <a:gd name="connsiteX36" fmla="*/ 2673350 w 2889250"/>
              <a:gd name="connsiteY36" fmla="*/ 592554 h 722729"/>
              <a:gd name="connsiteX37" fmla="*/ 2749550 w 2889250"/>
              <a:gd name="connsiteY37" fmla="*/ 640179 h 722729"/>
              <a:gd name="connsiteX38" fmla="*/ 2889250 w 2889250"/>
              <a:gd name="connsiteY38" fmla="*/ 722729 h 722729"/>
              <a:gd name="connsiteX0" fmla="*/ 0 w 2889250"/>
              <a:gd name="connsiteY0" fmla="*/ 710029 h 722729"/>
              <a:gd name="connsiteX1" fmla="*/ 111125 w 2889250"/>
              <a:gd name="connsiteY1" fmla="*/ 646529 h 722729"/>
              <a:gd name="connsiteX2" fmla="*/ 171450 w 2889250"/>
              <a:gd name="connsiteY2" fmla="*/ 617954 h 722729"/>
              <a:gd name="connsiteX3" fmla="*/ 247650 w 2889250"/>
              <a:gd name="connsiteY3" fmla="*/ 583029 h 722729"/>
              <a:gd name="connsiteX4" fmla="*/ 352425 w 2889250"/>
              <a:gd name="connsiteY4" fmla="*/ 544929 h 722729"/>
              <a:gd name="connsiteX5" fmla="*/ 463550 w 2889250"/>
              <a:gd name="connsiteY5" fmla="*/ 487779 h 722729"/>
              <a:gd name="connsiteX6" fmla="*/ 523875 w 2889250"/>
              <a:gd name="connsiteY6" fmla="*/ 459204 h 722729"/>
              <a:gd name="connsiteX7" fmla="*/ 612775 w 2889250"/>
              <a:gd name="connsiteY7" fmla="*/ 417929 h 722729"/>
              <a:gd name="connsiteX8" fmla="*/ 657225 w 2889250"/>
              <a:gd name="connsiteY8" fmla="*/ 395704 h 722729"/>
              <a:gd name="connsiteX9" fmla="*/ 736600 w 2889250"/>
              <a:gd name="connsiteY9" fmla="*/ 357604 h 722729"/>
              <a:gd name="connsiteX10" fmla="*/ 800100 w 2889250"/>
              <a:gd name="connsiteY10" fmla="*/ 325854 h 722729"/>
              <a:gd name="connsiteX11" fmla="*/ 898525 w 2889250"/>
              <a:gd name="connsiteY11" fmla="*/ 278229 h 722729"/>
              <a:gd name="connsiteX12" fmla="*/ 958850 w 2889250"/>
              <a:gd name="connsiteY12" fmla="*/ 236954 h 722729"/>
              <a:gd name="connsiteX13" fmla="*/ 1050925 w 2889250"/>
              <a:gd name="connsiteY13" fmla="*/ 202029 h 722729"/>
              <a:gd name="connsiteX14" fmla="*/ 1079500 w 2889250"/>
              <a:gd name="connsiteY14" fmla="*/ 189329 h 722729"/>
              <a:gd name="connsiteX15" fmla="*/ 1181100 w 2889250"/>
              <a:gd name="connsiteY15" fmla="*/ 141704 h 722729"/>
              <a:gd name="connsiteX16" fmla="*/ 1327150 w 2889250"/>
              <a:gd name="connsiteY16" fmla="*/ 55979 h 722729"/>
              <a:gd name="connsiteX17" fmla="*/ 1390650 w 2889250"/>
              <a:gd name="connsiteY17" fmla="*/ 8354 h 722729"/>
              <a:gd name="connsiteX18" fmla="*/ 1416050 w 2889250"/>
              <a:gd name="connsiteY18" fmla="*/ 2004 h 722729"/>
              <a:gd name="connsiteX19" fmla="*/ 1504950 w 2889250"/>
              <a:gd name="connsiteY19" fmla="*/ 30579 h 722729"/>
              <a:gd name="connsiteX20" fmla="*/ 1549400 w 2889250"/>
              <a:gd name="connsiteY20" fmla="*/ 49629 h 722729"/>
              <a:gd name="connsiteX21" fmla="*/ 1676400 w 2889250"/>
              <a:gd name="connsiteY21" fmla="*/ 119479 h 722729"/>
              <a:gd name="connsiteX22" fmla="*/ 1758950 w 2889250"/>
              <a:gd name="connsiteY22" fmla="*/ 154404 h 722729"/>
              <a:gd name="connsiteX23" fmla="*/ 1768475 w 2889250"/>
              <a:gd name="connsiteY23" fmla="*/ 160754 h 722729"/>
              <a:gd name="connsiteX24" fmla="*/ 1838325 w 2889250"/>
              <a:gd name="connsiteY24" fmla="*/ 202029 h 722729"/>
              <a:gd name="connsiteX25" fmla="*/ 1885950 w 2889250"/>
              <a:gd name="connsiteY25" fmla="*/ 230604 h 722729"/>
              <a:gd name="connsiteX26" fmla="*/ 1962150 w 2889250"/>
              <a:gd name="connsiteY26" fmla="*/ 265529 h 722729"/>
              <a:gd name="connsiteX27" fmla="*/ 1971675 w 2889250"/>
              <a:gd name="connsiteY27" fmla="*/ 271879 h 722729"/>
              <a:gd name="connsiteX28" fmla="*/ 2047875 w 2889250"/>
              <a:gd name="connsiteY28" fmla="*/ 303629 h 722729"/>
              <a:gd name="connsiteX29" fmla="*/ 2159000 w 2889250"/>
              <a:gd name="connsiteY29" fmla="*/ 348079 h 722729"/>
              <a:gd name="connsiteX30" fmla="*/ 2247900 w 2889250"/>
              <a:gd name="connsiteY30" fmla="*/ 408404 h 722729"/>
              <a:gd name="connsiteX31" fmla="*/ 2333625 w 2889250"/>
              <a:gd name="connsiteY31" fmla="*/ 449679 h 722729"/>
              <a:gd name="connsiteX32" fmla="*/ 2397125 w 2889250"/>
              <a:gd name="connsiteY32" fmla="*/ 478254 h 722729"/>
              <a:gd name="connsiteX33" fmla="*/ 2495550 w 2889250"/>
              <a:gd name="connsiteY33" fmla="*/ 522704 h 722729"/>
              <a:gd name="connsiteX34" fmla="*/ 2546350 w 2889250"/>
              <a:gd name="connsiteY34" fmla="*/ 548104 h 722729"/>
              <a:gd name="connsiteX35" fmla="*/ 2673350 w 2889250"/>
              <a:gd name="connsiteY35" fmla="*/ 592554 h 722729"/>
              <a:gd name="connsiteX36" fmla="*/ 2749550 w 2889250"/>
              <a:gd name="connsiteY36" fmla="*/ 640179 h 722729"/>
              <a:gd name="connsiteX37" fmla="*/ 2889250 w 2889250"/>
              <a:gd name="connsiteY37" fmla="*/ 722729 h 722729"/>
              <a:gd name="connsiteX0" fmla="*/ 0 w 2889250"/>
              <a:gd name="connsiteY0" fmla="*/ 710029 h 722729"/>
              <a:gd name="connsiteX1" fmla="*/ 111125 w 2889250"/>
              <a:gd name="connsiteY1" fmla="*/ 646529 h 722729"/>
              <a:gd name="connsiteX2" fmla="*/ 171450 w 2889250"/>
              <a:gd name="connsiteY2" fmla="*/ 617954 h 722729"/>
              <a:gd name="connsiteX3" fmla="*/ 247650 w 2889250"/>
              <a:gd name="connsiteY3" fmla="*/ 583029 h 722729"/>
              <a:gd name="connsiteX4" fmla="*/ 352425 w 2889250"/>
              <a:gd name="connsiteY4" fmla="*/ 544929 h 722729"/>
              <a:gd name="connsiteX5" fmla="*/ 463550 w 2889250"/>
              <a:gd name="connsiteY5" fmla="*/ 487779 h 722729"/>
              <a:gd name="connsiteX6" fmla="*/ 523875 w 2889250"/>
              <a:gd name="connsiteY6" fmla="*/ 459204 h 722729"/>
              <a:gd name="connsiteX7" fmla="*/ 612775 w 2889250"/>
              <a:gd name="connsiteY7" fmla="*/ 417929 h 722729"/>
              <a:gd name="connsiteX8" fmla="*/ 657225 w 2889250"/>
              <a:gd name="connsiteY8" fmla="*/ 395704 h 722729"/>
              <a:gd name="connsiteX9" fmla="*/ 736600 w 2889250"/>
              <a:gd name="connsiteY9" fmla="*/ 357604 h 722729"/>
              <a:gd name="connsiteX10" fmla="*/ 800100 w 2889250"/>
              <a:gd name="connsiteY10" fmla="*/ 325854 h 722729"/>
              <a:gd name="connsiteX11" fmla="*/ 898525 w 2889250"/>
              <a:gd name="connsiteY11" fmla="*/ 278229 h 722729"/>
              <a:gd name="connsiteX12" fmla="*/ 958850 w 2889250"/>
              <a:gd name="connsiteY12" fmla="*/ 236954 h 722729"/>
              <a:gd name="connsiteX13" fmla="*/ 1050925 w 2889250"/>
              <a:gd name="connsiteY13" fmla="*/ 202029 h 722729"/>
              <a:gd name="connsiteX14" fmla="*/ 1079500 w 2889250"/>
              <a:gd name="connsiteY14" fmla="*/ 189329 h 722729"/>
              <a:gd name="connsiteX15" fmla="*/ 1181100 w 2889250"/>
              <a:gd name="connsiteY15" fmla="*/ 141704 h 722729"/>
              <a:gd name="connsiteX16" fmla="*/ 1327150 w 2889250"/>
              <a:gd name="connsiteY16" fmla="*/ 55979 h 722729"/>
              <a:gd name="connsiteX17" fmla="*/ 1390650 w 2889250"/>
              <a:gd name="connsiteY17" fmla="*/ 8354 h 722729"/>
              <a:gd name="connsiteX18" fmla="*/ 1416050 w 2889250"/>
              <a:gd name="connsiteY18" fmla="*/ 2004 h 722729"/>
              <a:gd name="connsiteX19" fmla="*/ 1504950 w 2889250"/>
              <a:gd name="connsiteY19" fmla="*/ 30579 h 722729"/>
              <a:gd name="connsiteX20" fmla="*/ 1549400 w 2889250"/>
              <a:gd name="connsiteY20" fmla="*/ 49629 h 722729"/>
              <a:gd name="connsiteX21" fmla="*/ 1676400 w 2889250"/>
              <a:gd name="connsiteY21" fmla="*/ 119479 h 722729"/>
              <a:gd name="connsiteX22" fmla="*/ 1758950 w 2889250"/>
              <a:gd name="connsiteY22" fmla="*/ 154404 h 722729"/>
              <a:gd name="connsiteX23" fmla="*/ 1768475 w 2889250"/>
              <a:gd name="connsiteY23" fmla="*/ 160754 h 722729"/>
              <a:gd name="connsiteX24" fmla="*/ 1838325 w 2889250"/>
              <a:gd name="connsiteY24" fmla="*/ 202029 h 722729"/>
              <a:gd name="connsiteX25" fmla="*/ 1885950 w 2889250"/>
              <a:gd name="connsiteY25" fmla="*/ 230604 h 722729"/>
              <a:gd name="connsiteX26" fmla="*/ 1962150 w 2889250"/>
              <a:gd name="connsiteY26" fmla="*/ 265529 h 722729"/>
              <a:gd name="connsiteX27" fmla="*/ 1971675 w 2889250"/>
              <a:gd name="connsiteY27" fmla="*/ 271879 h 722729"/>
              <a:gd name="connsiteX28" fmla="*/ 2047875 w 2889250"/>
              <a:gd name="connsiteY28" fmla="*/ 303629 h 722729"/>
              <a:gd name="connsiteX29" fmla="*/ 2159000 w 2889250"/>
              <a:gd name="connsiteY29" fmla="*/ 348079 h 722729"/>
              <a:gd name="connsiteX30" fmla="*/ 2247900 w 2889250"/>
              <a:gd name="connsiteY30" fmla="*/ 408404 h 722729"/>
              <a:gd name="connsiteX31" fmla="*/ 2333625 w 2889250"/>
              <a:gd name="connsiteY31" fmla="*/ 449679 h 722729"/>
              <a:gd name="connsiteX32" fmla="*/ 2397125 w 2889250"/>
              <a:gd name="connsiteY32" fmla="*/ 478254 h 722729"/>
              <a:gd name="connsiteX33" fmla="*/ 2495550 w 2889250"/>
              <a:gd name="connsiteY33" fmla="*/ 522704 h 722729"/>
              <a:gd name="connsiteX34" fmla="*/ 2673350 w 2889250"/>
              <a:gd name="connsiteY34" fmla="*/ 592554 h 722729"/>
              <a:gd name="connsiteX35" fmla="*/ 2749550 w 2889250"/>
              <a:gd name="connsiteY35" fmla="*/ 640179 h 722729"/>
              <a:gd name="connsiteX36" fmla="*/ 2889250 w 2889250"/>
              <a:gd name="connsiteY36" fmla="*/ 722729 h 722729"/>
              <a:gd name="connsiteX0" fmla="*/ 0 w 2889250"/>
              <a:gd name="connsiteY0" fmla="*/ 710029 h 722729"/>
              <a:gd name="connsiteX1" fmla="*/ 111125 w 2889250"/>
              <a:gd name="connsiteY1" fmla="*/ 646529 h 722729"/>
              <a:gd name="connsiteX2" fmla="*/ 171450 w 2889250"/>
              <a:gd name="connsiteY2" fmla="*/ 617954 h 722729"/>
              <a:gd name="connsiteX3" fmla="*/ 247650 w 2889250"/>
              <a:gd name="connsiteY3" fmla="*/ 583029 h 722729"/>
              <a:gd name="connsiteX4" fmla="*/ 352425 w 2889250"/>
              <a:gd name="connsiteY4" fmla="*/ 544929 h 722729"/>
              <a:gd name="connsiteX5" fmla="*/ 463550 w 2889250"/>
              <a:gd name="connsiteY5" fmla="*/ 487779 h 722729"/>
              <a:gd name="connsiteX6" fmla="*/ 523875 w 2889250"/>
              <a:gd name="connsiteY6" fmla="*/ 459204 h 722729"/>
              <a:gd name="connsiteX7" fmla="*/ 612775 w 2889250"/>
              <a:gd name="connsiteY7" fmla="*/ 417929 h 722729"/>
              <a:gd name="connsiteX8" fmla="*/ 657225 w 2889250"/>
              <a:gd name="connsiteY8" fmla="*/ 395704 h 722729"/>
              <a:gd name="connsiteX9" fmla="*/ 736600 w 2889250"/>
              <a:gd name="connsiteY9" fmla="*/ 357604 h 722729"/>
              <a:gd name="connsiteX10" fmla="*/ 800100 w 2889250"/>
              <a:gd name="connsiteY10" fmla="*/ 325854 h 722729"/>
              <a:gd name="connsiteX11" fmla="*/ 898525 w 2889250"/>
              <a:gd name="connsiteY11" fmla="*/ 278229 h 722729"/>
              <a:gd name="connsiteX12" fmla="*/ 958850 w 2889250"/>
              <a:gd name="connsiteY12" fmla="*/ 236954 h 722729"/>
              <a:gd name="connsiteX13" fmla="*/ 1050925 w 2889250"/>
              <a:gd name="connsiteY13" fmla="*/ 202029 h 722729"/>
              <a:gd name="connsiteX14" fmla="*/ 1079500 w 2889250"/>
              <a:gd name="connsiteY14" fmla="*/ 189329 h 722729"/>
              <a:gd name="connsiteX15" fmla="*/ 1181100 w 2889250"/>
              <a:gd name="connsiteY15" fmla="*/ 141704 h 722729"/>
              <a:gd name="connsiteX16" fmla="*/ 1327150 w 2889250"/>
              <a:gd name="connsiteY16" fmla="*/ 55979 h 722729"/>
              <a:gd name="connsiteX17" fmla="*/ 1390650 w 2889250"/>
              <a:gd name="connsiteY17" fmla="*/ 8354 h 722729"/>
              <a:gd name="connsiteX18" fmla="*/ 1416050 w 2889250"/>
              <a:gd name="connsiteY18" fmla="*/ 2004 h 722729"/>
              <a:gd name="connsiteX19" fmla="*/ 1504950 w 2889250"/>
              <a:gd name="connsiteY19" fmla="*/ 30579 h 722729"/>
              <a:gd name="connsiteX20" fmla="*/ 1549400 w 2889250"/>
              <a:gd name="connsiteY20" fmla="*/ 49629 h 722729"/>
              <a:gd name="connsiteX21" fmla="*/ 1676400 w 2889250"/>
              <a:gd name="connsiteY21" fmla="*/ 119479 h 722729"/>
              <a:gd name="connsiteX22" fmla="*/ 1758950 w 2889250"/>
              <a:gd name="connsiteY22" fmla="*/ 154404 h 722729"/>
              <a:gd name="connsiteX23" fmla="*/ 1768475 w 2889250"/>
              <a:gd name="connsiteY23" fmla="*/ 160754 h 722729"/>
              <a:gd name="connsiteX24" fmla="*/ 1838325 w 2889250"/>
              <a:gd name="connsiteY24" fmla="*/ 202029 h 722729"/>
              <a:gd name="connsiteX25" fmla="*/ 1885950 w 2889250"/>
              <a:gd name="connsiteY25" fmla="*/ 230604 h 722729"/>
              <a:gd name="connsiteX26" fmla="*/ 1962150 w 2889250"/>
              <a:gd name="connsiteY26" fmla="*/ 265529 h 722729"/>
              <a:gd name="connsiteX27" fmla="*/ 1971675 w 2889250"/>
              <a:gd name="connsiteY27" fmla="*/ 271879 h 722729"/>
              <a:gd name="connsiteX28" fmla="*/ 2047875 w 2889250"/>
              <a:gd name="connsiteY28" fmla="*/ 303629 h 722729"/>
              <a:gd name="connsiteX29" fmla="*/ 2159000 w 2889250"/>
              <a:gd name="connsiteY29" fmla="*/ 348079 h 722729"/>
              <a:gd name="connsiteX30" fmla="*/ 2247900 w 2889250"/>
              <a:gd name="connsiteY30" fmla="*/ 408404 h 722729"/>
              <a:gd name="connsiteX31" fmla="*/ 2397125 w 2889250"/>
              <a:gd name="connsiteY31" fmla="*/ 478254 h 722729"/>
              <a:gd name="connsiteX32" fmla="*/ 2495550 w 2889250"/>
              <a:gd name="connsiteY32" fmla="*/ 522704 h 722729"/>
              <a:gd name="connsiteX33" fmla="*/ 2673350 w 2889250"/>
              <a:gd name="connsiteY33" fmla="*/ 592554 h 722729"/>
              <a:gd name="connsiteX34" fmla="*/ 2749550 w 2889250"/>
              <a:gd name="connsiteY34" fmla="*/ 640179 h 722729"/>
              <a:gd name="connsiteX35" fmla="*/ 2889250 w 2889250"/>
              <a:gd name="connsiteY35" fmla="*/ 722729 h 722729"/>
              <a:gd name="connsiteX0" fmla="*/ 0 w 2889250"/>
              <a:gd name="connsiteY0" fmla="*/ 710029 h 722729"/>
              <a:gd name="connsiteX1" fmla="*/ 111125 w 2889250"/>
              <a:gd name="connsiteY1" fmla="*/ 646529 h 722729"/>
              <a:gd name="connsiteX2" fmla="*/ 171450 w 2889250"/>
              <a:gd name="connsiteY2" fmla="*/ 617954 h 722729"/>
              <a:gd name="connsiteX3" fmla="*/ 247650 w 2889250"/>
              <a:gd name="connsiteY3" fmla="*/ 583029 h 722729"/>
              <a:gd name="connsiteX4" fmla="*/ 352425 w 2889250"/>
              <a:gd name="connsiteY4" fmla="*/ 544929 h 722729"/>
              <a:gd name="connsiteX5" fmla="*/ 463550 w 2889250"/>
              <a:gd name="connsiteY5" fmla="*/ 487779 h 722729"/>
              <a:gd name="connsiteX6" fmla="*/ 523875 w 2889250"/>
              <a:gd name="connsiteY6" fmla="*/ 459204 h 722729"/>
              <a:gd name="connsiteX7" fmla="*/ 612775 w 2889250"/>
              <a:gd name="connsiteY7" fmla="*/ 417929 h 722729"/>
              <a:gd name="connsiteX8" fmla="*/ 657225 w 2889250"/>
              <a:gd name="connsiteY8" fmla="*/ 395704 h 722729"/>
              <a:gd name="connsiteX9" fmla="*/ 736600 w 2889250"/>
              <a:gd name="connsiteY9" fmla="*/ 357604 h 722729"/>
              <a:gd name="connsiteX10" fmla="*/ 800100 w 2889250"/>
              <a:gd name="connsiteY10" fmla="*/ 325854 h 722729"/>
              <a:gd name="connsiteX11" fmla="*/ 898525 w 2889250"/>
              <a:gd name="connsiteY11" fmla="*/ 278229 h 722729"/>
              <a:gd name="connsiteX12" fmla="*/ 958850 w 2889250"/>
              <a:gd name="connsiteY12" fmla="*/ 236954 h 722729"/>
              <a:gd name="connsiteX13" fmla="*/ 1050925 w 2889250"/>
              <a:gd name="connsiteY13" fmla="*/ 202029 h 722729"/>
              <a:gd name="connsiteX14" fmla="*/ 1079500 w 2889250"/>
              <a:gd name="connsiteY14" fmla="*/ 189329 h 722729"/>
              <a:gd name="connsiteX15" fmla="*/ 1181100 w 2889250"/>
              <a:gd name="connsiteY15" fmla="*/ 141704 h 722729"/>
              <a:gd name="connsiteX16" fmla="*/ 1327150 w 2889250"/>
              <a:gd name="connsiteY16" fmla="*/ 55979 h 722729"/>
              <a:gd name="connsiteX17" fmla="*/ 1390650 w 2889250"/>
              <a:gd name="connsiteY17" fmla="*/ 8354 h 722729"/>
              <a:gd name="connsiteX18" fmla="*/ 1416050 w 2889250"/>
              <a:gd name="connsiteY18" fmla="*/ 2004 h 722729"/>
              <a:gd name="connsiteX19" fmla="*/ 1504950 w 2889250"/>
              <a:gd name="connsiteY19" fmla="*/ 30579 h 722729"/>
              <a:gd name="connsiteX20" fmla="*/ 1549400 w 2889250"/>
              <a:gd name="connsiteY20" fmla="*/ 49629 h 722729"/>
              <a:gd name="connsiteX21" fmla="*/ 1676400 w 2889250"/>
              <a:gd name="connsiteY21" fmla="*/ 119479 h 722729"/>
              <a:gd name="connsiteX22" fmla="*/ 1758950 w 2889250"/>
              <a:gd name="connsiteY22" fmla="*/ 154404 h 722729"/>
              <a:gd name="connsiteX23" fmla="*/ 1838325 w 2889250"/>
              <a:gd name="connsiteY23" fmla="*/ 202029 h 722729"/>
              <a:gd name="connsiteX24" fmla="*/ 1885950 w 2889250"/>
              <a:gd name="connsiteY24" fmla="*/ 230604 h 722729"/>
              <a:gd name="connsiteX25" fmla="*/ 1962150 w 2889250"/>
              <a:gd name="connsiteY25" fmla="*/ 265529 h 722729"/>
              <a:gd name="connsiteX26" fmla="*/ 1971675 w 2889250"/>
              <a:gd name="connsiteY26" fmla="*/ 271879 h 722729"/>
              <a:gd name="connsiteX27" fmla="*/ 2047875 w 2889250"/>
              <a:gd name="connsiteY27" fmla="*/ 303629 h 722729"/>
              <a:gd name="connsiteX28" fmla="*/ 2159000 w 2889250"/>
              <a:gd name="connsiteY28" fmla="*/ 348079 h 722729"/>
              <a:gd name="connsiteX29" fmla="*/ 2247900 w 2889250"/>
              <a:gd name="connsiteY29" fmla="*/ 408404 h 722729"/>
              <a:gd name="connsiteX30" fmla="*/ 2397125 w 2889250"/>
              <a:gd name="connsiteY30" fmla="*/ 478254 h 722729"/>
              <a:gd name="connsiteX31" fmla="*/ 2495550 w 2889250"/>
              <a:gd name="connsiteY31" fmla="*/ 522704 h 722729"/>
              <a:gd name="connsiteX32" fmla="*/ 2673350 w 2889250"/>
              <a:gd name="connsiteY32" fmla="*/ 592554 h 722729"/>
              <a:gd name="connsiteX33" fmla="*/ 2749550 w 2889250"/>
              <a:gd name="connsiteY33" fmla="*/ 640179 h 722729"/>
              <a:gd name="connsiteX34" fmla="*/ 2889250 w 2889250"/>
              <a:gd name="connsiteY34" fmla="*/ 722729 h 722729"/>
              <a:gd name="connsiteX0" fmla="*/ 0 w 2889250"/>
              <a:gd name="connsiteY0" fmla="*/ 710029 h 722729"/>
              <a:gd name="connsiteX1" fmla="*/ 111125 w 2889250"/>
              <a:gd name="connsiteY1" fmla="*/ 646529 h 722729"/>
              <a:gd name="connsiteX2" fmla="*/ 171450 w 2889250"/>
              <a:gd name="connsiteY2" fmla="*/ 617954 h 722729"/>
              <a:gd name="connsiteX3" fmla="*/ 247650 w 2889250"/>
              <a:gd name="connsiteY3" fmla="*/ 583029 h 722729"/>
              <a:gd name="connsiteX4" fmla="*/ 352425 w 2889250"/>
              <a:gd name="connsiteY4" fmla="*/ 544929 h 722729"/>
              <a:gd name="connsiteX5" fmla="*/ 463550 w 2889250"/>
              <a:gd name="connsiteY5" fmla="*/ 487779 h 722729"/>
              <a:gd name="connsiteX6" fmla="*/ 523875 w 2889250"/>
              <a:gd name="connsiteY6" fmla="*/ 459204 h 722729"/>
              <a:gd name="connsiteX7" fmla="*/ 612775 w 2889250"/>
              <a:gd name="connsiteY7" fmla="*/ 417929 h 722729"/>
              <a:gd name="connsiteX8" fmla="*/ 657225 w 2889250"/>
              <a:gd name="connsiteY8" fmla="*/ 395704 h 722729"/>
              <a:gd name="connsiteX9" fmla="*/ 736600 w 2889250"/>
              <a:gd name="connsiteY9" fmla="*/ 357604 h 722729"/>
              <a:gd name="connsiteX10" fmla="*/ 800100 w 2889250"/>
              <a:gd name="connsiteY10" fmla="*/ 325854 h 722729"/>
              <a:gd name="connsiteX11" fmla="*/ 898525 w 2889250"/>
              <a:gd name="connsiteY11" fmla="*/ 278229 h 722729"/>
              <a:gd name="connsiteX12" fmla="*/ 958850 w 2889250"/>
              <a:gd name="connsiteY12" fmla="*/ 236954 h 722729"/>
              <a:gd name="connsiteX13" fmla="*/ 1050925 w 2889250"/>
              <a:gd name="connsiteY13" fmla="*/ 202029 h 722729"/>
              <a:gd name="connsiteX14" fmla="*/ 1079500 w 2889250"/>
              <a:gd name="connsiteY14" fmla="*/ 189329 h 722729"/>
              <a:gd name="connsiteX15" fmla="*/ 1181100 w 2889250"/>
              <a:gd name="connsiteY15" fmla="*/ 141704 h 722729"/>
              <a:gd name="connsiteX16" fmla="*/ 1327150 w 2889250"/>
              <a:gd name="connsiteY16" fmla="*/ 55979 h 722729"/>
              <a:gd name="connsiteX17" fmla="*/ 1390650 w 2889250"/>
              <a:gd name="connsiteY17" fmla="*/ 8354 h 722729"/>
              <a:gd name="connsiteX18" fmla="*/ 1416050 w 2889250"/>
              <a:gd name="connsiteY18" fmla="*/ 2004 h 722729"/>
              <a:gd name="connsiteX19" fmla="*/ 1504950 w 2889250"/>
              <a:gd name="connsiteY19" fmla="*/ 30579 h 722729"/>
              <a:gd name="connsiteX20" fmla="*/ 1549400 w 2889250"/>
              <a:gd name="connsiteY20" fmla="*/ 49629 h 722729"/>
              <a:gd name="connsiteX21" fmla="*/ 1676400 w 2889250"/>
              <a:gd name="connsiteY21" fmla="*/ 119479 h 722729"/>
              <a:gd name="connsiteX22" fmla="*/ 1758950 w 2889250"/>
              <a:gd name="connsiteY22" fmla="*/ 154404 h 722729"/>
              <a:gd name="connsiteX23" fmla="*/ 1838325 w 2889250"/>
              <a:gd name="connsiteY23" fmla="*/ 202029 h 722729"/>
              <a:gd name="connsiteX24" fmla="*/ 1885950 w 2889250"/>
              <a:gd name="connsiteY24" fmla="*/ 230604 h 722729"/>
              <a:gd name="connsiteX25" fmla="*/ 1962150 w 2889250"/>
              <a:gd name="connsiteY25" fmla="*/ 265529 h 722729"/>
              <a:gd name="connsiteX26" fmla="*/ 2047875 w 2889250"/>
              <a:gd name="connsiteY26" fmla="*/ 303629 h 722729"/>
              <a:gd name="connsiteX27" fmla="*/ 2159000 w 2889250"/>
              <a:gd name="connsiteY27" fmla="*/ 348079 h 722729"/>
              <a:gd name="connsiteX28" fmla="*/ 2247900 w 2889250"/>
              <a:gd name="connsiteY28" fmla="*/ 408404 h 722729"/>
              <a:gd name="connsiteX29" fmla="*/ 2397125 w 2889250"/>
              <a:gd name="connsiteY29" fmla="*/ 478254 h 722729"/>
              <a:gd name="connsiteX30" fmla="*/ 2495550 w 2889250"/>
              <a:gd name="connsiteY30" fmla="*/ 522704 h 722729"/>
              <a:gd name="connsiteX31" fmla="*/ 2673350 w 2889250"/>
              <a:gd name="connsiteY31" fmla="*/ 592554 h 722729"/>
              <a:gd name="connsiteX32" fmla="*/ 2749550 w 2889250"/>
              <a:gd name="connsiteY32" fmla="*/ 640179 h 722729"/>
              <a:gd name="connsiteX33" fmla="*/ 2889250 w 2889250"/>
              <a:gd name="connsiteY33" fmla="*/ 722729 h 722729"/>
              <a:gd name="connsiteX0" fmla="*/ 0 w 2889250"/>
              <a:gd name="connsiteY0" fmla="*/ 710029 h 722729"/>
              <a:gd name="connsiteX1" fmla="*/ 111125 w 2889250"/>
              <a:gd name="connsiteY1" fmla="*/ 646529 h 722729"/>
              <a:gd name="connsiteX2" fmla="*/ 171450 w 2889250"/>
              <a:gd name="connsiteY2" fmla="*/ 617954 h 722729"/>
              <a:gd name="connsiteX3" fmla="*/ 247650 w 2889250"/>
              <a:gd name="connsiteY3" fmla="*/ 583029 h 722729"/>
              <a:gd name="connsiteX4" fmla="*/ 352425 w 2889250"/>
              <a:gd name="connsiteY4" fmla="*/ 544929 h 722729"/>
              <a:gd name="connsiteX5" fmla="*/ 463550 w 2889250"/>
              <a:gd name="connsiteY5" fmla="*/ 487779 h 722729"/>
              <a:gd name="connsiteX6" fmla="*/ 523875 w 2889250"/>
              <a:gd name="connsiteY6" fmla="*/ 459204 h 722729"/>
              <a:gd name="connsiteX7" fmla="*/ 612775 w 2889250"/>
              <a:gd name="connsiteY7" fmla="*/ 417929 h 722729"/>
              <a:gd name="connsiteX8" fmla="*/ 657225 w 2889250"/>
              <a:gd name="connsiteY8" fmla="*/ 395704 h 722729"/>
              <a:gd name="connsiteX9" fmla="*/ 736600 w 2889250"/>
              <a:gd name="connsiteY9" fmla="*/ 357604 h 722729"/>
              <a:gd name="connsiteX10" fmla="*/ 800100 w 2889250"/>
              <a:gd name="connsiteY10" fmla="*/ 325854 h 722729"/>
              <a:gd name="connsiteX11" fmla="*/ 898525 w 2889250"/>
              <a:gd name="connsiteY11" fmla="*/ 278229 h 722729"/>
              <a:gd name="connsiteX12" fmla="*/ 958850 w 2889250"/>
              <a:gd name="connsiteY12" fmla="*/ 236954 h 722729"/>
              <a:gd name="connsiteX13" fmla="*/ 1050925 w 2889250"/>
              <a:gd name="connsiteY13" fmla="*/ 202029 h 722729"/>
              <a:gd name="connsiteX14" fmla="*/ 1079500 w 2889250"/>
              <a:gd name="connsiteY14" fmla="*/ 189329 h 722729"/>
              <a:gd name="connsiteX15" fmla="*/ 1181100 w 2889250"/>
              <a:gd name="connsiteY15" fmla="*/ 141704 h 722729"/>
              <a:gd name="connsiteX16" fmla="*/ 1327150 w 2889250"/>
              <a:gd name="connsiteY16" fmla="*/ 55979 h 722729"/>
              <a:gd name="connsiteX17" fmla="*/ 1390650 w 2889250"/>
              <a:gd name="connsiteY17" fmla="*/ 8354 h 722729"/>
              <a:gd name="connsiteX18" fmla="*/ 1416050 w 2889250"/>
              <a:gd name="connsiteY18" fmla="*/ 2004 h 722729"/>
              <a:gd name="connsiteX19" fmla="*/ 1504950 w 2889250"/>
              <a:gd name="connsiteY19" fmla="*/ 30579 h 722729"/>
              <a:gd name="connsiteX20" fmla="*/ 1549400 w 2889250"/>
              <a:gd name="connsiteY20" fmla="*/ 49629 h 722729"/>
              <a:gd name="connsiteX21" fmla="*/ 1676400 w 2889250"/>
              <a:gd name="connsiteY21" fmla="*/ 119479 h 722729"/>
              <a:gd name="connsiteX22" fmla="*/ 1758950 w 2889250"/>
              <a:gd name="connsiteY22" fmla="*/ 154404 h 722729"/>
              <a:gd name="connsiteX23" fmla="*/ 1885950 w 2889250"/>
              <a:gd name="connsiteY23" fmla="*/ 230604 h 722729"/>
              <a:gd name="connsiteX24" fmla="*/ 1962150 w 2889250"/>
              <a:gd name="connsiteY24" fmla="*/ 265529 h 722729"/>
              <a:gd name="connsiteX25" fmla="*/ 2047875 w 2889250"/>
              <a:gd name="connsiteY25" fmla="*/ 303629 h 722729"/>
              <a:gd name="connsiteX26" fmla="*/ 2159000 w 2889250"/>
              <a:gd name="connsiteY26" fmla="*/ 348079 h 722729"/>
              <a:gd name="connsiteX27" fmla="*/ 2247900 w 2889250"/>
              <a:gd name="connsiteY27" fmla="*/ 408404 h 722729"/>
              <a:gd name="connsiteX28" fmla="*/ 2397125 w 2889250"/>
              <a:gd name="connsiteY28" fmla="*/ 478254 h 722729"/>
              <a:gd name="connsiteX29" fmla="*/ 2495550 w 2889250"/>
              <a:gd name="connsiteY29" fmla="*/ 522704 h 722729"/>
              <a:gd name="connsiteX30" fmla="*/ 2673350 w 2889250"/>
              <a:gd name="connsiteY30" fmla="*/ 592554 h 722729"/>
              <a:gd name="connsiteX31" fmla="*/ 2749550 w 2889250"/>
              <a:gd name="connsiteY31" fmla="*/ 640179 h 722729"/>
              <a:gd name="connsiteX32" fmla="*/ 2889250 w 2889250"/>
              <a:gd name="connsiteY32" fmla="*/ 722729 h 722729"/>
              <a:gd name="connsiteX0" fmla="*/ 0 w 2889250"/>
              <a:gd name="connsiteY0" fmla="*/ 708507 h 721207"/>
              <a:gd name="connsiteX1" fmla="*/ 111125 w 2889250"/>
              <a:gd name="connsiteY1" fmla="*/ 645007 h 721207"/>
              <a:gd name="connsiteX2" fmla="*/ 171450 w 2889250"/>
              <a:gd name="connsiteY2" fmla="*/ 616432 h 721207"/>
              <a:gd name="connsiteX3" fmla="*/ 247650 w 2889250"/>
              <a:gd name="connsiteY3" fmla="*/ 581507 h 721207"/>
              <a:gd name="connsiteX4" fmla="*/ 352425 w 2889250"/>
              <a:gd name="connsiteY4" fmla="*/ 543407 h 721207"/>
              <a:gd name="connsiteX5" fmla="*/ 463550 w 2889250"/>
              <a:gd name="connsiteY5" fmla="*/ 486257 h 721207"/>
              <a:gd name="connsiteX6" fmla="*/ 523875 w 2889250"/>
              <a:gd name="connsiteY6" fmla="*/ 457682 h 721207"/>
              <a:gd name="connsiteX7" fmla="*/ 612775 w 2889250"/>
              <a:gd name="connsiteY7" fmla="*/ 416407 h 721207"/>
              <a:gd name="connsiteX8" fmla="*/ 657225 w 2889250"/>
              <a:gd name="connsiteY8" fmla="*/ 394182 h 721207"/>
              <a:gd name="connsiteX9" fmla="*/ 736600 w 2889250"/>
              <a:gd name="connsiteY9" fmla="*/ 356082 h 721207"/>
              <a:gd name="connsiteX10" fmla="*/ 800100 w 2889250"/>
              <a:gd name="connsiteY10" fmla="*/ 324332 h 721207"/>
              <a:gd name="connsiteX11" fmla="*/ 898525 w 2889250"/>
              <a:gd name="connsiteY11" fmla="*/ 276707 h 721207"/>
              <a:gd name="connsiteX12" fmla="*/ 958850 w 2889250"/>
              <a:gd name="connsiteY12" fmla="*/ 235432 h 721207"/>
              <a:gd name="connsiteX13" fmla="*/ 1050925 w 2889250"/>
              <a:gd name="connsiteY13" fmla="*/ 200507 h 721207"/>
              <a:gd name="connsiteX14" fmla="*/ 1079500 w 2889250"/>
              <a:gd name="connsiteY14" fmla="*/ 187807 h 721207"/>
              <a:gd name="connsiteX15" fmla="*/ 1181100 w 2889250"/>
              <a:gd name="connsiteY15" fmla="*/ 140182 h 721207"/>
              <a:gd name="connsiteX16" fmla="*/ 1327150 w 2889250"/>
              <a:gd name="connsiteY16" fmla="*/ 54457 h 721207"/>
              <a:gd name="connsiteX17" fmla="*/ 1416050 w 2889250"/>
              <a:gd name="connsiteY17" fmla="*/ 482 h 721207"/>
              <a:gd name="connsiteX18" fmla="*/ 1504950 w 2889250"/>
              <a:gd name="connsiteY18" fmla="*/ 29057 h 721207"/>
              <a:gd name="connsiteX19" fmla="*/ 1549400 w 2889250"/>
              <a:gd name="connsiteY19" fmla="*/ 48107 h 721207"/>
              <a:gd name="connsiteX20" fmla="*/ 1676400 w 2889250"/>
              <a:gd name="connsiteY20" fmla="*/ 117957 h 721207"/>
              <a:gd name="connsiteX21" fmla="*/ 1758950 w 2889250"/>
              <a:gd name="connsiteY21" fmla="*/ 152882 h 721207"/>
              <a:gd name="connsiteX22" fmla="*/ 1885950 w 2889250"/>
              <a:gd name="connsiteY22" fmla="*/ 229082 h 721207"/>
              <a:gd name="connsiteX23" fmla="*/ 1962150 w 2889250"/>
              <a:gd name="connsiteY23" fmla="*/ 264007 h 721207"/>
              <a:gd name="connsiteX24" fmla="*/ 2047875 w 2889250"/>
              <a:gd name="connsiteY24" fmla="*/ 302107 h 721207"/>
              <a:gd name="connsiteX25" fmla="*/ 2159000 w 2889250"/>
              <a:gd name="connsiteY25" fmla="*/ 346557 h 721207"/>
              <a:gd name="connsiteX26" fmla="*/ 2247900 w 2889250"/>
              <a:gd name="connsiteY26" fmla="*/ 406882 h 721207"/>
              <a:gd name="connsiteX27" fmla="*/ 2397125 w 2889250"/>
              <a:gd name="connsiteY27" fmla="*/ 476732 h 721207"/>
              <a:gd name="connsiteX28" fmla="*/ 2495550 w 2889250"/>
              <a:gd name="connsiteY28" fmla="*/ 521182 h 721207"/>
              <a:gd name="connsiteX29" fmla="*/ 2673350 w 2889250"/>
              <a:gd name="connsiteY29" fmla="*/ 591032 h 721207"/>
              <a:gd name="connsiteX30" fmla="*/ 2749550 w 2889250"/>
              <a:gd name="connsiteY30" fmla="*/ 638657 h 721207"/>
              <a:gd name="connsiteX31" fmla="*/ 2889250 w 2889250"/>
              <a:gd name="connsiteY31" fmla="*/ 721207 h 721207"/>
              <a:gd name="connsiteX0" fmla="*/ 0 w 2889250"/>
              <a:gd name="connsiteY0" fmla="*/ 708507 h 721207"/>
              <a:gd name="connsiteX1" fmla="*/ 111125 w 2889250"/>
              <a:gd name="connsiteY1" fmla="*/ 645007 h 721207"/>
              <a:gd name="connsiteX2" fmla="*/ 171450 w 2889250"/>
              <a:gd name="connsiteY2" fmla="*/ 616432 h 721207"/>
              <a:gd name="connsiteX3" fmla="*/ 247650 w 2889250"/>
              <a:gd name="connsiteY3" fmla="*/ 581507 h 721207"/>
              <a:gd name="connsiteX4" fmla="*/ 352425 w 2889250"/>
              <a:gd name="connsiteY4" fmla="*/ 543407 h 721207"/>
              <a:gd name="connsiteX5" fmla="*/ 463550 w 2889250"/>
              <a:gd name="connsiteY5" fmla="*/ 486257 h 721207"/>
              <a:gd name="connsiteX6" fmla="*/ 523875 w 2889250"/>
              <a:gd name="connsiteY6" fmla="*/ 457682 h 721207"/>
              <a:gd name="connsiteX7" fmla="*/ 612775 w 2889250"/>
              <a:gd name="connsiteY7" fmla="*/ 416407 h 721207"/>
              <a:gd name="connsiteX8" fmla="*/ 657225 w 2889250"/>
              <a:gd name="connsiteY8" fmla="*/ 394182 h 721207"/>
              <a:gd name="connsiteX9" fmla="*/ 800100 w 2889250"/>
              <a:gd name="connsiteY9" fmla="*/ 324332 h 721207"/>
              <a:gd name="connsiteX10" fmla="*/ 898525 w 2889250"/>
              <a:gd name="connsiteY10" fmla="*/ 276707 h 721207"/>
              <a:gd name="connsiteX11" fmla="*/ 958850 w 2889250"/>
              <a:gd name="connsiteY11" fmla="*/ 235432 h 721207"/>
              <a:gd name="connsiteX12" fmla="*/ 1050925 w 2889250"/>
              <a:gd name="connsiteY12" fmla="*/ 200507 h 721207"/>
              <a:gd name="connsiteX13" fmla="*/ 1079500 w 2889250"/>
              <a:gd name="connsiteY13" fmla="*/ 187807 h 721207"/>
              <a:gd name="connsiteX14" fmla="*/ 1181100 w 2889250"/>
              <a:gd name="connsiteY14" fmla="*/ 140182 h 721207"/>
              <a:gd name="connsiteX15" fmla="*/ 1327150 w 2889250"/>
              <a:gd name="connsiteY15" fmla="*/ 54457 h 721207"/>
              <a:gd name="connsiteX16" fmla="*/ 1416050 w 2889250"/>
              <a:gd name="connsiteY16" fmla="*/ 482 h 721207"/>
              <a:gd name="connsiteX17" fmla="*/ 1504950 w 2889250"/>
              <a:gd name="connsiteY17" fmla="*/ 29057 h 721207"/>
              <a:gd name="connsiteX18" fmla="*/ 1549400 w 2889250"/>
              <a:gd name="connsiteY18" fmla="*/ 48107 h 721207"/>
              <a:gd name="connsiteX19" fmla="*/ 1676400 w 2889250"/>
              <a:gd name="connsiteY19" fmla="*/ 117957 h 721207"/>
              <a:gd name="connsiteX20" fmla="*/ 1758950 w 2889250"/>
              <a:gd name="connsiteY20" fmla="*/ 152882 h 721207"/>
              <a:gd name="connsiteX21" fmla="*/ 1885950 w 2889250"/>
              <a:gd name="connsiteY21" fmla="*/ 229082 h 721207"/>
              <a:gd name="connsiteX22" fmla="*/ 1962150 w 2889250"/>
              <a:gd name="connsiteY22" fmla="*/ 264007 h 721207"/>
              <a:gd name="connsiteX23" fmla="*/ 2047875 w 2889250"/>
              <a:gd name="connsiteY23" fmla="*/ 302107 h 721207"/>
              <a:gd name="connsiteX24" fmla="*/ 2159000 w 2889250"/>
              <a:gd name="connsiteY24" fmla="*/ 346557 h 721207"/>
              <a:gd name="connsiteX25" fmla="*/ 2247900 w 2889250"/>
              <a:gd name="connsiteY25" fmla="*/ 406882 h 721207"/>
              <a:gd name="connsiteX26" fmla="*/ 2397125 w 2889250"/>
              <a:gd name="connsiteY26" fmla="*/ 476732 h 721207"/>
              <a:gd name="connsiteX27" fmla="*/ 2495550 w 2889250"/>
              <a:gd name="connsiteY27" fmla="*/ 521182 h 721207"/>
              <a:gd name="connsiteX28" fmla="*/ 2673350 w 2889250"/>
              <a:gd name="connsiteY28" fmla="*/ 591032 h 721207"/>
              <a:gd name="connsiteX29" fmla="*/ 2749550 w 2889250"/>
              <a:gd name="connsiteY29" fmla="*/ 638657 h 721207"/>
              <a:gd name="connsiteX30" fmla="*/ 2889250 w 2889250"/>
              <a:gd name="connsiteY30" fmla="*/ 721207 h 721207"/>
              <a:gd name="connsiteX0" fmla="*/ 0 w 2889250"/>
              <a:gd name="connsiteY0" fmla="*/ 708507 h 721207"/>
              <a:gd name="connsiteX1" fmla="*/ 111125 w 2889250"/>
              <a:gd name="connsiteY1" fmla="*/ 645007 h 721207"/>
              <a:gd name="connsiteX2" fmla="*/ 171450 w 2889250"/>
              <a:gd name="connsiteY2" fmla="*/ 616432 h 721207"/>
              <a:gd name="connsiteX3" fmla="*/ 247650 w 2889250"/>
              <a:gd name="connsiteY3" fmla="*/ 581507 h 721207"/>
              <a:gd name="connsiteX4" fmla="*/ 352425 w 2889250"/>
              <a:gd name="connsiteY4" fmla="*/ 543407 h 721207"/>
              <a:gd name="connsiteX5" fmla="*/ 463550 w 2889250"/>
              <a:gd name="connsiteY5" fmla="*/ 486257 h 721207"/>
              <a:gd name="connsiteX6" fmla="*/ 523875 w 2889250"/>
              <a:gd name="connsiteY6" fmla="*/ 457682 h 721207"/>
              <a:gd name="connsiteX7" fmla="*/ 612775 w 2889250"/>
              <a:gd name="connsiteY7" fmla="*/ 416407 h 721207"/>
              <a:gd name="connsiteX8" fmla="*/ 800100 w 2889250"/>
              <a:gd name="connsiteY8" fmla="*/ 324332 h 721207"/>
              <a:gd name="connsiteX9" fmla="*/ 898525 w 2889250"/>
              <a:gd name="connsiteY9" fmla="*/ 276707 h 721207"/>
              <a:gd name="connsiteX10" fmla="*/ 958850 w 2889250"/>
              <a:gd name="connsiteY10" fmla="*/ 235432 h 721207"/>
              <a:gd name="connsiteX11" fmla="*/ 1050925 w 2889250"/>
              <a:gd name="connsiteY11" fmla="*/ 200507 h 721207"/>
              <a:gd name="connsiteX12" fmla="*/ 1079500 w 2889250"/>
              <a:gd name="connsiteY12" fmla="*/ 187807 h 721207"/>
              <a:gd name="connsiteX13" fmla="*/ 1181100 w 2889250"/>
              <a:gd name="connsiteY13" fmla="*/ 140182 h 721207"/>
              <a:gd name="connsiteX14" fmla="*/ 1327150 w 2889250"/>
              <a:gd name="connsiteY14" fmla="*/ 54457 h 721207"/>
              <a:gd name="connsiteX15" fmla="*/ 1416050 w 2889250"/>
              <a:gd name="connsiteY15" fmla="*/ 482 h 721207"/>
              <a:gd name="connsiteX16" fmla="*/ 1504950 w 2889250"/>
              <a:gd name="connsiteY16" fmla="*/ 29057 h 721207"/>
              <a:gd name="connsiteX17" fmla="*/ 1549400 w 2889250"/>
              <a:gd name="connsiteY17" fmla="*/ 48107 h 721207"/>
              <a:gd name="connsiteX18" fmla="*/ 1676400 w 2889250"/>
              <a:gd name="connsiteY18" fmla="*/ 117957 h 721207"/>
              <a:gd name="connsiteX19" fmla="*/ 1758950 w 2889250"/>
              <a:gd name="connsiteY19" fmla="*/ 152882 h 721207"/>
              <a:gd name="connsiteX20" fmla="*/ 1885950 w 2889250"/>
              <a:gd name="connsiteY20" fmla="*/ 229082 h 721207"/>
              <a:gd name="connsiteX21" fmla="*/ 1962150 w 2889250"/>
              <a:gd name="connsiteY21" fmla="*/ 264007 h 721207"/>
              <a:gd name="connsiteX22" fmla="*/ 2047875 w 2889250"/>
              <a:gd name="connsiteY22" fmla="*/ 302107 h 721207"/>
              <a:gd name="connsiteX23" fmla="*/ 2159000 w 2889250"/>
              <a:gd name="connsiteY23" fmla="*/ 346557 h 721207"/>
              <a:gd name="connsiteX24" fmla="*/ 2247900 w 2889250"/>
              <a:gd name="connsiteY24" fmla="*/ 406882 h 721207"/>
              <a:gd name="connsiteX25" fmla="*/ 2397125 w 2889250"/>
              <a:gd name="connsiteY25" fmla="*/ 476732 h 721207"/>
              <a:gd name="connsiteX26" fmla="*/ 2495550 w 2889250"/>
              <a:gd name="connsiteY26" fmla="*/ 521182 h 721207"/>
              <a:gd name="connsiteX27" fmla="*/ 2673350 w 2889250"/>
              <a:gd name="connsiteY27" fmla="*/ 591032 h 721207"/>
              <a:gd name="connsiteX28" fmla="*/ 2749550 w 2889250"/>
              <a:gd name="connsiteY28" fmla="*/ 638657 h 721207"/>
              <a:gd name="connsiteX29" fmla="*/ 2889250 w 2889250"/>
              <a:gd name="connsiteY29" fmla="*/ 721207 h 721207"/>
              <a:gd name="connsiteX0" fmla="*/ 0 w 2889250"/>
              <a:gd name="connsiteY0" fmla="*/ 708507 h 721207"/>
              <a:gd name="connsiteX1" fmla="*/ 111125 w 2889250"/>
              <a:gd name="connsiteY1" fmla="*/ 645007 h 721207"/>
              <a:gd name="connsiteX2" fmla="*/ 171450 w 2889250"/>
              <a:gd name="connsiteY2" fmla="*/ 616432 h 721207"/>
              <a:gd name="connsiteX3" fmla="*/ 352425 w 2889250"/>
              <a:gd name="connsiteY3" fmla="*/ 543407 h 721207"/>
              <a:gd name="connsiteX4" fmla="*/ 463550 w 2889250"/>
              <a:gd name="connsiteY4" fmla="*/ 486257 h 721207"/>
              <a:gd name="connsiteX5" fmla="*/ 523875 w 2889250"/>
              <a:gd name="connsiteY5" fmla="*/ 457682 h 721207"/>
              <a:gd name="connsiteX6" fmla="*/ 612775 w 2889250"/>
              <a:gd name="connsiteY6" fmla="*/ 416407 h 721207"/>
              <a:gd name="connsiteX7" fmla="*/ 800100 w 2889250"/>
              <a:gd name="connsiteY7" fmla="*/ 324332 h 721207"/>
              <a:gd name="connsiteX8" fmla="*/ 898525 w 2889250"/>
              <a:gd name="connsiteY8" fmla="*/ 276707 h 721207"/>
              <a:gd name="connsiteX9" fmla="*/ 958850 w 2889250"/>
              <a:gd name="connsiteY9" fmla="*/ 235432 h 721207"/>
              <a:gd name="connsiteX10" fmla="*/ 1050925 w 2889250"/>
              <a:gd name="connsiteY10" fmla="*/ 200507 h 721207"/>
              <a:gd name="connsiteX11" fmla="*/ 1079500 w 2889250"/>
              <a:gd name="connsiteY11" fmla="*/ 187807 h 721207"/>
              <a:gd name="connsiteX12" fmla="*/ 1181100 w 2889250"/>
              <a:gd name="connsiteY12" fmla="*/ 140182 h 721207"/>
              <a:gd name="connsiteX13" fmla="*/ 1327150 w 2889250"/>
              <a:gd name="connsiteY13" fmla="*/ 54457 h 721207"/>
              <a:gd name="connsiteX14" fmla="*/ 1416050 w 2889250"/>
              <a:gd name="connsiteY14" fmla="*/ 482 h 721207"/>
              <a:gd name="connsiteX15" fmla="*/ 1504950 w 2889250"/>
              <a:gd name="connsiteY15" fmla="*/ 29057 h 721207"/>
              <a:gd name="connsiteX16" fmla="*/ 1549400 w 2889250"/>
              <a:gd name="connsiteY16" fmla="*/ 48107 h 721207"/>
              <a:gd name="connsiteX17" fmla="*/ 1676400 w 2889250"/>
              <a:gd name="connsiteY17" fmla="*/ 117957 h 721207"/>
              <a:gd name="connsiteX18" fmla="*/ 1758950 w 2889250"/>
              <a:gd name="connsiteY18" fmla="*/ 152882 h 721207"/>
              <a:gd name="connsiteX19" fmla="*/ 1885950 w 2889250"/>
              <a:gd name="connsiteY19" fmla="*/ 229082 h 721207"/>
              <a:gd name="connsiteX20" fmla="*/ 1962150 w 2889250"/>
              <a:gd name="connsiteY20" fmla="*/ 264007 h 721207"/>
              <a:gd name="connsiteX21" fmla="*/ 2047875 w 2889250"/>
              <a:gd name="connsiteY21" fmla="*/ 302107 h 721207"/>
              <a:gd name="connsiteX22" fmla="*/ 2159000 w 2889250"/>
              <a:gd name="connsiteY22" fmla="*/ 346557 h 721207"/>
              <a:gd name="connsiteX23" fmla="*/ 2247900 w 2889250"/>
              <a:gd name="connsiteY23" fmla="*/ 406882 h 721207"/>
              <a:gd name="connsiteX24" fmla="*/ 2397125 w 2889250"/>
              <a:gd name="connsiteY24" fmla="*/ 476732 h 721207"/>
              <a:gd name="connsiteX25" fmla="*/ 2495550 w 2889250"/>
              <a:gd name="connsiteY25" fmla="*/ 521182 h 721207"/>
              <a:gd name="connsiteX26" fmla="*/ 2673350 w 2889250"/>
              <a:gd name="connsiteY26" fmla="*/ 591032 h 721207"/>
              <a:gd name="connsiteX27" fmla="*/ 2749550 w 2889250"/>
              <a:gd name="connsiteY27" fmla="*/ 638657 h 721207"/>
              <a:gd name="connsiteX28" fmla="*/ 2889250 w 2889250"/>
              <a:gd name="connsiteY28" fmla="*/ 721207 h 721207"/>
              <a:gd name="connsiteX0" fmla="*/ 0 w 2889250"/>
              <a:gd name="connsiteY0" fmla="*/ 708507 h 721207"/>
              <a:gd name="connsiteX1" fmla="*/ 111125 w 2889250"/>
              <a:gd name="connsiteY1" fmla="*/ 645007 h 721207"/>
              <a:gd name="connsiteX2" fmla="*/ 352425 w 2889250"/>
              <a:gd name="connsiteY2" fmla="*/ 543407 h 721207"/>
              <a:gd name="connsiteX3" fmla="*/ 463550 w 2889250"/>
              <a:gd name="connsiteY3" fmla="*/ 486257 h 721207"/>
              <a:gd name="connsiteX4" fmla="*/ 523875 w 2889250"/>
              <a:gd name="connsiteY4" fmla="*/ 457682 h 721207"/>
              <a:gd name="connsiteX5" fmla="*/ 612775 w 2889250"/>
              <a:gd name="connsiteY5" fmla="*/ 416407 h 721207"/>
              <a:gd name="connsiteX6" fmla="*/ 800100 w 2889250"/>
              <a:gd name="connsiteY6" fmla="*/ 324332 h 721207"/>
              <a:gd name="connsiteX7" fmla="*/ 898525 w 2889250"/>
              <a:gd name="connsiteY7" fmla="*/ 276707 h 721207"/>
              <a:gd name="connsiteX8" fmla="*/ 958850 w 2889250"/>
              <a:gd name="connsiteY8" fmla="*/ 235432 h 721207"/>
              <a:gd name="connsiteX9" fmla="*/ 1050925 w 2889250"/>
              <a:gd name="connsiteY9" fmla="*/ 200507 h 721207"/>
              <a:gd name="connsiteX10" fmla="*/ 1079500 w 2889250"/>
              <a:gd name="connsiteY10" fmla="*/ 187807 h 721207"/>
              <a:gd name="connsiteX11" fmla="*/ 1181100 w 2889250"/>
              <a:gd name="connsiteY11" fmla="*/ 140182 h 721207"/>
              <a:gd name="connsiteX12" fmla="*/ 1327150 w 2889250"/>
              <a:gd name="connsiteY12" fmla="*/ 54457 h 721207"/>
              <a:gd name="connsiteX13" fmla="*/ 1416050 w 2889250"/>
              <a:gd name="connsiteY13" fmla="*/ 482 h 721207"/>
              <a:gd name="connsiteX14" fmla="*/ 1504950 w 2889250"/>
              <a:gd name="connsiteY14" fmla="*/ 29057 h 721207"/>
              <a:gd name="connsiteX15" fmla="*/ 1549400 w 2889250"/>
              <a:gd name="connsiteY15" fmla="*/ 48107 h 721207"/>
              <a:gd name="connsiteX16" fmla="*/ 1676400 w 2889250"/>
              <a:gd name="connsiteY16" fmla="*/ 117957 h 721207"/>
              <a:gd name="connsiteX17" fmla="*/ 1758950 w 2889250"/>
              <a:gd name="connsiteY17" fmla="*/ 152882 h 721207"/>
              <a:gd name="connsiteX18" fmla="*/ 1885950 w 2889250"/>
              <a:gd name="connsiteY18" fmla="*/ 229082 h 721207"/>
              <a:gd name="connsiteX19" fmla="*/ 1962150 w 2889250"/>
              <a:gd name="connsiteY19" fmla="*/ 264007 h 721207"/>
              <a:gd name="connsiteX20" fmla="*/ 2047875 w 2889250"/>
              <a:gd name="connsiteY20" fmla="*/ 302107 h 721207"/>
              <a:gd name="connsiteX21" fmla="*/ 2159000 w 2889250"/>
              <a:gd name="connsiteY21" fmla="*/ 346557 h 721207"/>
              <a:gd name="connsiteX22" fmla="*/ 2247900 w 2889250"/>
              <a:gd name="connsiteY22" fmla="*/ 406882 h 721207"/>
              <a:gd name="connsiteX23" fmla="*/ 2397125 w 2889250"/>
              <a:gd name="connsiteY23" fmla="*/ 476732 h 721207"/>
              <a:gd name="connsiteX24" fmla="*/ 2495550 w 2889250"/>
              <a:gd name="connsiteY24" fmla="*/ 521182 h 721207"/>
              <a:gd name="connsiteX25" fmla="*/ 2673350 w 2889250"/>
              <a:gd name="connsiteY25" fmla="*/ 591032 h 721207"/>
              <a:gd name="connsiteX26" fmla="*/ 2749550 w 2889250"/>
              <a:gd name="connsiteY26" fmla="*/ 638657 h 721207"/>
              <a:gd name="connsiteX27" fmla="*/ 2889250 w 2889250"/>
              <a:gd name="connsiteY27" fmla="*/ 721207 h 721207"/>
              <a:gd name="connsiteX0" fmla="*/ 0 w 2889250"/>
              <a:gd name="connsiteY0" fmla="*/ 708507 h 721207"/>
              <a:gd name="connsiteX1" fmla="*/ 111125 w 2889250"/>
              <a:gd name="connsiteY1" fmla="*/ 645007 h 721207"/>
              <a:gd name="connsiteX2" fmla="*/ 352425 w 2889250"/>
              <a:gd name="connsiteY2" fmla="*/ 543407 h 721207"/>
              <a:gd name="connsiteX3" fmla="*/ 463550 w 2889250"/>
              <a:gd name="connsiteY3" fmla="*/ 486257 h 721207"/>
              <a:gd name="connsiteX4" fmla="*/ 612775 w 2889250"/>
              <a:gd name="connsiteY4" fmla="*/ 416407 h 721207"/>
              <a:gd name="connsiteX5" fmla="*/ 800100 w 2889250"/>
              <a:gd name="connsiteY5" fmla="*/ 324332 h 721207"/>
              <a:gd name="connsiteX6" fmla="*/ 898525 w 2889250"/>
              <a:gd name="connsiteY6" fmla="*/ 276707 h 721207"/>
              <a:gd name="connsiteX7" fmla="*/ 958850 w 2889250"/>
              <a:gd name="connsiteY7" fmla="*/ 235432 h 721207"/>
              <a:gd name="connsiteX8" fmla="*/ 1050925 w 2889250"/>
              <a:gd name="connsiteY8" fmla="*/ 200507 h 721207"/>
              <a:gd name="connsiteX9" fmla="*/ 1079500 w 2889250"/>
              <a:gd name="connsiteY9" fmla="*/ 187807 h 721207"/>
              <a:gd name="connsiteX10" fmla="*/ 1181100 w 2889250"/>
              <a:gd name="connsiteY10" fmla="*/ 140182 h 721207"/>
              <a:gd name="connsiteX11" fmla="*/ 1327150 w 2889250"/>
              <a:gd name="connsiteY11" fmla="*/ 54457 h 721207"/>
              <a:gd name="connsiteX12" fmla="*/ 1416050 w 2889250"/>
              <a:gd name="connsiteY12" fmla="*/ 482 h 721207"/>
              <a:gd name="connsiteX13" fmla="*/ 1504950 w 2889250"/>
              <a:gd name="connsiteY13" fmla="*/ 29057 h 721207"/>
              <a:gd name="connsiteX14" fmla="*/ 1549400 w 2889250"/>
              <a:gd name="connsiteY14" fmla="*/ 48107 h 721207"/>
              <a:gd name="connsiteX15" fmla="*/ 1676400 w 2889250"/>
              <a:gd name="connsiteY15" fmla="*/ 117957 h 721207"/>
              <a:gd name="connsiteX16" fmla="*/ 1758950 w 2889250"/>
              <a:gd name="connsiteY16" fmla="*/ 152882 h 721207"/>
              <a:gd name="connsiteX17" fmla="*/ 1885950 w 2889250"/>
              <a:gd name="connsiteY17" fmla="*/ 229082 h 721207"/>
              <a:gd name="connsiteX18" fmla="*/ 1962150 w 2889250"/>
              <a:gd name="connsiteY18" fmla="*/ 264007 h 721207"/>
              <a:gd name="connsiteX19" fmla="*/ 2047875 w 2889250"/>
              <a:gd name="connsiteY19" fmla="*/ 302107 h 721207"/>
              <a:gd name="connsiteX20" fmla="*/ 2159000 w 2889250"/>
              <a:gd name="connsiteY20" fmla="*/ 346557 h 721207"/>
              <a:gd name="connsiteX21" fmla="*/ 2247900 w 2889250"/>
              <a:gd name="connsiteY21" fmla="*/ 406882 h 721207"/>
              <a:gd name="connsiteX22" fmla="*/ 2397125 w 2889250"/>
              <a:gd name="connsiteY22" fmla="*/ 476732 h 721207"/>
              <a:gd name="connsiteX23" fmla="*/ 2495550 w 2889250"/>
              <a:gd name="connsiteY23" fmla="*/ 521182 h 721207"/>
              <a:gd name="connsiteX24" fmla="*/ 2673350 w 2889250"/>
              <a:gd name="connsiteY24" fmla="*/ 591032 h 721207"/>
              <a:gd name="connsiteX25" fmla="*/ 2749550 w 2889250"/>
              <a:gd name="connsiteY25" fmla="*/ 638657 h 721207"/>
              <a:gd name="connsiteX26" fmla="*/ 2889250 w 2889250"/>
              <a:gd name="connsiteY26" fmla="*/ 721207 h 721207"/>
              <a:gd name="connsiteX0" fmla="*/ 0 w 2889250"/>
              <a:gd name="connsiteY0" fmla="*/ 708507 h 721207"/>
              <a:gd name="connsiteX1" fmla="*/ 111125 w 2889250"/>
              <a:gd name="connsiteY1" fmla="*/ 645007 h 721207"/>
              <a:gd name="connsiteX2" fmla="*/ 352425 w 2889250"/>
              <a:gd name="connsiteY2" fmla="*/ 543407 h 721207"/>
              <a:gd name="connsiteX3" fmla="*/ 463550 w 2889250"/>
              <a:gd name="connsiteY3" fmla="*/ 486257 h 721207"/>
              <a:gd name="connsiteX4" fmla="*/ 612775 w 2889250"/>
              <a:gd name="connsiteY4" fmla="*/ 416407 h 721207"/>
              <a:gd name="connsiteX5" fmla="*/ 800100 w 2889250"/>
              <a:gd name="connsiteY5" fmla="*/ 324332 h 721207"/>
              <a:gd name="connsiteX6" fmla="*/ 898525 w 2889250"/>
              <a:gd name="connsiteY6" fmla="*/ 276707 h 721207"/>
              <a:gd name="connsiteX7" fmla="*/ 1050925 w 2889250"/>
              <a:gd name="connsiteY7" fmla="*/ 200507 h 721207"/>
              <a:gd name="connsiteX8" fmla="*/ 1079500 w 2889250"/>
              <a:gd name="connsiteY8" fmla="*/ 187807 h 721207"/>
              <a:gd name="connsiteX9" fmla="*/ 1181100 w 2889250"/>
              <a:gd name="connsiteY9" fmla="*/ 140182 h 721207"/>
              <a:gd name="connsiteX10" fmla="*/ 1327150 w 2889250"/>
              <a:gd name="connsiteY10" fmla="*/ 54457 h 721207"/>
              <a:gd name="connsiteX11" fmla="*/ 1416050 w 2889250"/>
              <a:gd name="connsiteY11" fmla="*/ 482 h 721207"/>
              <a:gd name="connsiteX12" fmla="*/ 1504950 w 2889250"/>
              <a:gd name="connsiteY12" fmla="*/ 29057 h 721207"/>
              <a:gd name="connsiteX13" fmla="*/ 1549400 w 2889250"/>
              <a:gd name="connsiteY13" fmla="*/ 48107 h 721207"/>
              <a:gd name="connsiteX14" fmla="*/ 1676400 w 2889250"/>
              <a:gd name="connsiteY14" fmla="*/ 117957 h 721207"/>
              <a:gd name="connsiteX15" fmla="*/ 1758950 w 2889250"/>
              <a:gd name="connsiteY15" fmla="*/ 152882 h 721207"/>
              <a:gd name="connsiteX16" fmla="*/ 1885950 w 2889250"/>
              <a:gd name="connsiteY16" fmla="*/ 229082 h 721207"/>
              <a:gd name="connsiteX17" fmla="*/ 1962150 w 2889250"/>
              <a:gd name="connsiteY17" fmla="*/ 264007 h 721207"/>
              <a:gd name="connsiteX18" fmla="*/ 2047875 w 2889250"/>
              <a:gd name="connsiteY18" fmla="*/ 302107 h 721207"/>
              <a:gd name="connsiteX19" fmla="*/ 2159000 w 2889250"/>
              <a:gd name="connsiteY19" fmla="*/ 346557 h 721207"/>
              <a:gd name="connsiteX20" fmla="*/ 2247900 w 2889250"/>
              <a:gd name="connsiteY20" fmla="*/ 406882 h 721207"/>
              <a:gd name="connsiteX21" fmla="*/ 2397125 w 2889250"/>
              <a:gd name="connsiteY21" fmla="*/ 476732 h 721207"/>
              <a:gd name="connsiteX22" fmla="*/ 2495550 w 2889250"/>
              <a:gd name="connsiteY22" fmla="*/ 521182 h 721207"/>
              <a:gd name="connsiteX23" fmla="*/ 2673350 w 2889250"/>
              <a:gd name="connsiteY23" fmla="*/ 591032 h 721207"/>
              <a:gd name="connsiteX24" fmla="*/ 2749550 w 2889250"/>
              <a:gd name="connsiteY24" fmla="*/ 638657 h 721207"/>
              <a:gd name="connsiteX25" fmla="*/ 2889250 w 2889250"/>
              <a:gd name="connsiteY25" fmla="*/ 721207 h 721207"/>
              <a:gd name="connsiteX0" fmla="*/ 0 w 2889250"/>
              <a:gd name="connsiteY0" fmla="*/ 708507 h 721207"/>
              <a:gd name="connsiteX1" fmla="*/ 111125 w 2889250"/>
              <a:gd name="connsiteY1" fmla="*/ 645007 h 721207"/>
              <a:gd name="connsiteX2" fmla="*/ 352425 w 2889250"/>
              <a:gd name="connsiteY2" fmla="*/ 543407 h 721207"/>
              <a:gd name="connsiteX3" fmla="*/ 463550 w 2889250"/>
              <a:gd name="connsiteY3" fmla="*/ 486257 h 721207"/>
              <a:gd name="connsiteX4" fmla="*/ 612775 w 2889250"/>
              <a:gd name="connsiteY4" fmla="*/ 416407 h 721207"/>
              <a:gd name="connsiteX5" fmla="*/ 800100 w 2889250"/>
              <a:gd name="connsiteY5" fmla="*/ 324332 h 721207"/>
              <a:gd name="connsiteX6" fmla="*/ 898525 w 2889250"/>
              <a:gd name="connsiteY6" fmla="*/ 276707 h 721207"/>
              <a:gd name="connsiteX7" fmla="*/ 1079500 w 2889250"/>
              <a:gd name="connsiteY7" fmla="*/ 187807 h 721207"/>
              <a:gd name="connsiteX8" fmla="*/ 1181100 w 2889250"/>
              <a:gd name="connsiteY8" fmla="*/ 140182 h 721207"/>
              <a:gd name="connsiteX9" fmla="*/ 1327150 w 2889250"/>
              <a:gd name="connsiteY9" fmla="*/ 54457 h 721207"/>
              <a:gd name="connsiteX10" fmla="*/ 1416050 w 2889250"/>
              <a:gd name="connsiteY10" fmla="*/ 482 h 721207"/>
              <a:gd name="connsiteX11" fmla="*/ 1504950 w 2889250"/>
              <a:gd name="connsiteY11" fmla="*/ 29057 h 721207"/>
              <a:gd name="connsiteX12" fmla="*/ 1549400 w 2889250"/>
              <a:gd name="connsiteY12" fmla="*/ 48107 h 721207"/>
              <a:gd name="connsiteX13" fmla="*/ 1676400 w 2889250"/>
              <a:gd name="connsiteY13" fmla="*/ 117957 h 721207"/>
              <a:gd name="connsiteX14" fmla="*/ 1758950 w 2889250"/>
              <a:gd name="connsiteY14" fmla="*/ 152882 h 721207"/>
              <a:gd name="connsiteX15" fmla="*/ 1885950 w 2889250"/>
              <a:gd name="connsiteY15" fmla="*/ 229082 h 721207"/>
              <a:gd name="connsiteX16" fmla="*/ 1962150 w 2889250"/>
              <a:gd name="connsiteY16" fmla="*/ 264007 h 721207"/>
              <a:gd name="connsiteX17" fmla="*/ 2047875 w 2889250"/>
              <a:gd name="connsiteY17" fmla="*/ 302107 h 721207"/>
              <a:gd name="connsiteX18" fmla="*/ 2159000 w 2889250"/>
              <a:gd name="connsiteY18" fmla="*/ 346557 h 721207"/>
              <a:gd name="connsiteX19" fmla="*/ 2247900 w 2889250"/>
              <a:gd name="connsiteY19" fmla="*/ 406882 h 721207"/>
              <a:gd name="connsiteX20" fmla="*/ 2397125 w 2889250"/>
              <a:gd name="connsiteY20" fmla="*/ 476732 h 721207"/>
              <a:gd name="connsiteX21" fmla="*/ 2495550 w 2889250"/>
              <a:gd name="connsiteY21" fmla="*/ 521182 h 721207"/>
              <a:gd name="connsiteX22" fmla="*/ 2673350 w 2889250"/>
              <a:gd name="connsiteY22" fmla="*/ 591032 h 721207"/>
              <a:gd name="connsiteX23" fmla="*/ 2749550 w 2889250"/>
              <a:gd name="connsiteY23" fmla="*/ 638657 h 721207"/>
              <a:gd name="connsiteX24" fmla="*/ 2889250 w 2889250"/>
              <a:gd name="connsiteY24" fmla="*/ 721207 h 721207"/>
              <a:gd name="connsiteX0" fmla="*/ 0 w 2889250"/>
              <a:gd name="connsiteY0" fmla="*/ 708815 h 721515"/>
              <a:gd name="connsiteX1" fmla="*/ 111125 w 2889250"/>
              <a:gd name="connsiteY1" fmla="*/ 645315 h 721515"/>
              <a:gd name="connsiteX2" fmla="*/ 352425 w 2889250"/>
              <a:gd name="connsiteY2" fmla="*/ 543715 h 721515"/>
              <a:gd name="connsiteX3" fmla="*/ 463550 w 2889250"/>
              <a:gd name="connsiteY3" fmla="*/ 486565 h 721515"/>
              <a:gd name="connsiteX4" fmla="*/ 612775 w 2889250"/>
              <a:gd name="connsiteY4" fmla="*/ 416715 h 721515"/>
              <a:gd name="connsiteX5" fmla="*/ 800100 w 2889250"/>
              <a:gd name="connsiteY5" fmla="*/ 324640 h 721515"/>
              <a:gd name="connsiteX6" fmla="*/ 898525 w 2889250"/>
              <a:gd name="connsiteY6" fmla="*/ 277015 h 721515"/>
              <a:gd name="connsiteX7" fmla="*/ 1079500 w 2889250"/>
              <a:gd name="connsiteY7" fmla="*/ 188115 h 721515"/>
              <a:gd name="connsiteX8" fmla="*/ 1181100 w 2889250"/>
              <a:gd name="connsiteY8" fmla="*/ 140490 h 721515"/>
              <a:gd name="connsiteX9" fmla="*/ 1327150 w 2889250"/>
              <a:gd name="connsiteY9" fmla="*/ 54765 h 721515"/>
              <a:gd name="connsiteX10" fmla="*/ 1416050 w 2889250"/>
              <a:gd name="connsiteY10" fmla="*/ 790 h 721515"/>
              <a:gd name="connsiteX11" fmla="*/ 1504950 w 2889250"/>
              <a:gd name="connsiteY11" fmla="*/ 29365 h 721515"/>
              <a:gd name="connsiteX12" fmla="*/ 1676400 w 2889250"/>
              <a:gd name="connsiteY12" fmla="*/ 118265 h 721515"/>
              <a:gd name="connsiteX13" fmla="*/ 1758950 w 2889250"/>
              <a:gd name="connsiteY13" fmla="*/ 153190 h 721515"/>
              <a:gd name="connsiteX14" fmla="*/ 1885950 w 2889250"/>
              <a:gd name="connsiteY14" fmla="*/ 229390 h 721515"/>
              <a:gd name="connsiteX15" fmla="*/ 1962150 w 2889250"/>
              <a:gd name="connsiteY15" fmla="*/ 264315 h 721515"/>
              <a:gd name="connsiteX16" fmla="*/ 2047875 w 2889250"/>
              <a:gd name="connsiteY16" fmla="*/ 302415 h 721515"/>
              <a:gd name="connsiteX17" fmla="*/ 2159000 w 2889250"/>
              <a:gd name="connsiteY17" fmla="*/ 346865 h 721515"/>
              <a:gd name="connsiteX18" fmla="*/ 2247900 w 2889250"/>
              <a:gd name="connsiteY18" fmla="*/ 407190 h 721515"/>
              <a:gd name="connsiteX19" fmla="*/ 2397125 w 2889250"/>
              <a:gd name="connsiteY19" fmla="*/ 477040 h 721515"/>
              <a:gd name="connsiteX20" fmla="*/ 2495550 w 2889250"/>
              <a:gd name="connsiteY20" fmla="*/ 521490 h 721515"/>
              <a:gd name="connsiteX21" fmla="*/ 2673350 w 2889250"/>
              <a:gd name="connsiteY21" fmla="*/ 591340 h 721515"/>
              <a:gd name="connsiteX22" fmla="*/ 2749550 w 2889250"/>
              <a:gd name="connsiteY22" fmla="*/ 638965 h 721515"/>
              <a:gd name="connsiteX23" fmla="*/ 2889250 w 2889250"/>
              <a:gd name="connsiteY23" fmla="*/ 721515 h 721515"/>
              <a:gd name="connsiteX0" fmla="*/ 0 w 2889250"/>
              <a:gd name="connsiteY0" fmla="*/ 708815 h 721515"/>
              <a:gd name="connsiteX1" fmla="*/ 111125 w 2889250"/>
              <a:gd name="connsiteY1" fmla="*/ 645315 h 721515"/>
              <a:gd name="connsiteX2" fmla="*/ 352425 w 2889250"/>
              <a:gd name="connsiteY2" fmla="*/ 543715 h 721515"/>
              <a:gd name="connsiteX3" fmla="*/ 463550 w 2889250"/>
              <a:gd name="connsiteY3" fmla="*/ 486565 h 721515"/>
              <a:gd name="connsiteX4" fmla="*/ 612775 w 2889250"/>
              <a:gd name="connsiteY4" fmla="*/ 416715 h 721515"/>
              <a:gd name="connsiteX5" fmla="*/ 800100 w 2889250"/>
              <a:gd name="connsiteY5" fmla="*/ 324640 h 721515"/>
              <a:gd name="connsiteX6" fmla="*/ 898525 w 2889250"/>
              <a:gd name="connsiteY6" fmla="*/ 277015 h 721515"/>
              <a:gd name="connsiteX7" fmla="*/ 1079500 w 2889250"/>
              <a:gd name="connsiteY7" fmla="*/ 188115 h 721515"/>
              <a:gd name="connsiteX8" fmla="*/ 1181100 w 2889250"/>
              <a:gd name="connsiteY8" fmla="*/ 140490 h 721515"/>
              <a:gd name="connsiteX9" fmla="*/ 1327150 w 2889250"/>
              <a:gd name="connsiteY9" fmla="*/ 54765 h 721515"/>
              <a:gd name="connsiteX10" fmla="*/ 1416050 w 2889250"/>
              <a:gd name="connsiteY10" fmla="*/ 790 h 721515"/>
              <a:gd name="connsiteX11" fmla="*/ 1504950 w 2889250"/>
              <a:gd name="connsiteY11" fmla="*/ 29365 h 721515"/>
              <a:gd name="connsiteX12" fmla="*/ 1676400 w 2889250"/>
              <a:gd name="connsiteY12" fmla="*/ 118265 h 721515"/>
              <a:gd name="connsiteX13" fmla="*/ 1758950 w 2889250"/>
              <a:gd name="connsiteY13" fmla="*/ 153190 h 721515"/>
              <a:gd name="connsiteX14" fmla="*/ 1885950 w 2889250"/>
              <a:gd name="connsiteY14" fmla="*/ 229390 h 721515"/>
              <a:gd name="connsiteX15" fmla="*/ 1962150 w 2889250"/>
              <a:gd name="connsiteY15" fmla="*/ 264315 h 721515"/>
              <a:gd name="connsiteX16" fmla="*/ 2047875 w 2889250"/>
              <a:gd name="connsiteY16" fmla="*/ 302415 h 721515"/>
              <a:gd name="connsiteX17" fmla="*/ 2247900 w 2889250"/>
              <a:gd name="connsiteY17" fmla="*/ 407190 h 721515"/>
              <a:gd name="connsiteX18" fmla="*/ 2397125 w 2889250"/>
              <a:gd name="connsiteY18" fmla="*/ 477040 h 721515"/>
              <a:gd name="connsiteX19" fmla="*/ 2495550 w 2889250"/>
              <a:gd name="connsiteY19" fmla="*/ 521490 h 721515"/>
              <a:gd name="connsiteX20" fmla="*/ 2673350 w 2889250"/>
              <a:gd name="connsiteY20" fmla="*/ 591340 h 721515"/>
              <a:gd name="connsiteX21" fmla="*/ 2749550 w 2889250"/>
              <a:gd name="connsiteY21" fmla="*/ 638965 h 721515"/>
              <a:gd name="connsiteX22" fmla="*/ 2889250 w 2889250"/>
              <a:gd name="connsiteY22" fmla="*/ 721515 h 721515"/>
              <a:gd name="connsiteX0" fmla="*/ 0 w 2889250"/>
              <a:gd name="connsiteY0" fmla="*/ 708815 h 721515"/>
              <a:gd name="connsiteX1" fmla="*/ 111125 w 2889250"/>
              <a:gd name="connsiteY1" fmla="*/ 645315 h 721515"/>
              <a:gd name="connsiteX2" fmla="*/ 352425 w 2889250"/>
              <a:gd name="connsiteY2" fmla="*/ 543715 h 721515"/>
              <a:gd name="connsiteX3" fmla="*/ 463550 w 2889250"/>
              <a:gd name="connsiteY3" fmla="*/ 486565 h 721515"/>
              <a:gd name="connsiteX4" fmla="*/ 612775 w 2889250"/>
              <a:gd name="connsiteY4" fmla="*/ 416715 h 721515"/>
              <a:gd name="connsiteX5" fmla="*/ 800100 w 2889250"/>
              <a:gd name="connsiteY5" fmla="*/ 324640 h 721515"/>
              <a:gd name="connsiteX6" fmla="*/ 898525 w 2889250"/>
              <a:gd name="connsiteY6" fmla="*/ 277015 h 721515"/>
              <a:gd name="connsiteX7" fmla="*/ 1079500 w 2889250"/>
              <a:gd name="connsiteY7" fmla="*/ 188115 h 721515"/>
              <a:gd name="connsiteX8" fmla="*/ 1181100 w 2889250"/>
              <a:gd name="connsiteY8" fmla="*/ 140490 h 721515"/>
              <a:gd name="connsiteX9" fmla="*/ 1327150 w 2889250"/>
              <a:gd name="connsiteY9" fmla="*/ 54765 h 721515"/>
              <a:gd name="connsiteX10" fmla="*/ 1416050 w 2889250"/>
              <a:gd name="connsiteY10" fmla="*/ 790 h 721515"/>
              <a:gd name="connsiteX11" fmla="*/ 1504950 w 2889250"/>
              <a:gd name="connsiteY11" fmla="*/ 29365 h 721515"/>
              <a:gd name="connsiteX12" fmla="*/ 1676400 w 2889250"/>
              <a:gd name="connsiteY12" fmla="*/ 118265 h 721515"/>
              <a:gd name="connsiteX13" fmla="*/ 1758950 w 2889250"/>
              <a:gd name="connsiteY13" fmla="*/ 153190 h 721515"/>
              <a:gd name="connsiteX14" fmla="*/ 1885950 w 2889250"/>
              <a:gd name="connsiteY14" fmla="*/ 229390 h 721515"/>
              <a:gd name="connsiteX15" fmla="*/ 1962150 w 2889250"/>
              <a:gd name="connsiteY15" fmla="*/ 264315 h 721515"/>
              <a:gd name="connsiteX16" fmla="*/ 2047875 w 2889250"/>
              <a:gd name="connsiteY16" fmla="*/ 302415 h 721515"/>
              <a:gd name="connsiteX17" fmla="*/ 2247900 w 2889250"/>
              <a:gd name="connsiteY17" fmla="*/ 407190 h 721515"/>
              <a:gd name="connsiteX18" fmla="*/ 2397125 w 2889250"/>
              <a:gd name="connsiteY18" fmla="*/ 477040 h 721515"/>
              <a:gd name="connsiteX19" fmla="*/ 2495550 w 2889250"/>
              <a:gd name="connsiteY19" fmla="*/ 521490 h 721515"/>
              <a:gd name="connsiteX20" fmla="*/ 2673350 w 2889250"/>
              <a:gd name="connsiteY20" fmla="*/ 604040 h 721515"/>
              <a:gd name="connsiteX21" fmla="*/ 2749550 w 2889250"/>
              <a:gd name="connsiteY21" fmla="*/ 638965 h 721515"/>
              <a:gd name="connsiteX22" fmla="*/ 2889250 w 2889250"/>
              <a:gd name="connsiteY22" fmla="*/ 721515 h 721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2889250" h="721515">
                <a:moveTo>
                  <a:pt x="0" y="708815"/>
                </a:moveTo>
                <a:cubicBezTo>
                  <a:pt x="23151" y="695586"/>
                  <a:pt x="52388" y="672832"/>
                  <a:pt x="111125" y="645315"/>
                </a:cubicBezTo>
                <a:cubicBezTo>
                  <a:pt x="169863" y="617798"/>
                  <a:pt x="293688" y="570173"/>
                  <a:pt x="352425" y="543715"/>
                </a:cubicBezTo>
                <a:cubicBezTo>
                  <a:pt x="411162" y="517257"/>
                  <a:pt x="420158" y="507732"/>
                  <a:pt x="463550" y="486565"/>
                </a:cubicBezTo>
                <a:cubicBezTo>
                  <a:pt x="506942" y="465398"/>
                  <a:pt x="556683" y="443703"/>
                  <a:pt x="612775" y="416715"/>
                </a:cubicBezTo>
                <a:cubicBezTo>
                  <a:pt x="668867" y="389727"/>
                  <a:pt x="737658" y="355332"/>
                  <a:pt x="800100" y="324640"/>
                </a:cubicBezTo>
                <a:lnTo>
                  <a:pt x="898525" y="277015"/>
                </a:lnTo>
                <a:lnTo>
                  <a:pt x="1079500" y="188115"/>
                </a:lnTo>
                <a:cubicBezTo>
                  <a:pt x="1101196" y="178061"/>
                  <a:pt x="1139825" y="162715"/>
                  <a:pt x="1181100" y="140490"/>
                </a:cubicBezTo>
                <a:cubicBezTo>
                  <a:pt x="1222375" y="118265"/>
                  <a:pt x="1287992" y="78048"/>
                  <a:pt x="1327150" y="54765"/>
                </a:cubicBezTo>
                <a:cubicBezTo>
                  <a:pt x="1366308" y="31482"/>
                  <a:pt x="1386417" y="5023"/>
                  <a:pt x="1416050" y="790"/>
                </a:cubicBezTo>
                <a:cubicBezTo>
                  <a:pt x="1445683" y="-3443"/>
                  <a:pt x="1461558" y="9786"/>
                  <a:pt x="1504950" y="29365"/>
                </a:cubicBezTo>
                <a:cubicBezTo>
                  <a:pt x="1548342" y="48944"/>
                  <a:pt x="1634067" y="97627"/>
                  <a:pt x="1676400" y="118265"/>
                </a:cubicBezTo>
                <a:cubicBezTo>
                  <a:pt x="1718733" y="138903"/>
                  <a:pt x="1724025" y="134669"/>
                  <a:pt x="1758950" y="153190"/>
                </a:cubicBezTo>
                <a:cubicBezTo>
                  <a:pt x="1793875" y="171711"/>
                  <a:pt x="1852083" y="210869"/>
                  <a:pt x="1885950" y="229390"/>
                </a:cubicBezTo>
                <a:cubicBezTo>
                  <a:pt x="1919817" y="247911"/>
                  <a:pt x="1935163" y="252144"/>
                  <a:pt x="1962150" y="264315"/>
                </a:cubicBezTo>
                <a:cubicBezTo>
                  <a:pt x="1989138" y="276486"/>
                  <a:pt x="2000250" y="278603"/>
                  <a:pt x="2047875" y="302415"/>
                </a:cubicBezTo>
                <a:cubicBezTo>
                  <a:pt x="2095500" y="326228"/>
                  <a:pt x="2189692" y="378086"/>
                  <a:pt x="2247900" y="407190"/>
                </a:cubicBezTo>
                <a:cubicBezTo>
                  <a:pt x="2306108" y="436294"/>
                  <a:pt x="2355850" y="457990"/>
                  <a:pt x="2397125" y="477040"/>
                </a:cubicBezTo>
                <a:lnTo>
                  <a:pt x="2495550" y="521490"/>
                </a:lnTo>
                <a:lnTo>
                  <a:pt x="2673350" y="604040"/>
                </a:lnTo>
                <a:cubicBezTo>
                  <a:pt x="2715683" y="623619"/>
                  <a:pt x="2713567" y="619386"/>
                  <a:pt x="2749550" y="638965"/>
                </a:cubicBezTo>
                <a:cubicBezTo>
                  <a:pt x="2785533" y="658544"/>
                  <a:pt x="2860146" y="704317"/>
                  <a:pt x="2889250" y="721515"/>
                </a:cubicBezTo>
              </a:path>
            </a:pathLst>
          </a:cu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ECDE578-2A61-D8C6-4A72-3FFC999923FD}"/>
              </a:ext>
            </a:extLst>
          </p:cNvPr>
          <p:cNvSpPr/>
          <p:nvPr/>
        </p:nvSpPr>
        <p:spPr>
          <a:xfrm>
            <a:off x="4743215" y="4069437"/>
            <a:ext cx="1523655" cy="1750541"/>
          </a:xfrm>
          <a:prstGeom prst="rect">
            <a:avLst/>
          </a:pr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211" name="Freeform: Shape 210">
            <a:extLst>
              <a:ext uri="{FF2B5EF4-FFF2-40B4-BE49-F238E27FC236}">
                <a16:creationId xmlns:a16="http://schemas.microsoft.com/office/drawing/2014/main" id="{359D6A62-37F3-E111-0E65-0D78C9BCE3DB}"/>
              </a:ext>
            </a:extLst>
          </p:cNvPr>
          <p:cNvSpPr/>
          <p:nvPr/>
        </p:nvSpPr>
        <p:spPr>
          <a:xfrm>
            <a:off x="4497087" y="3686239"/>
            <a:ext cx="2017150" cy="2139692"/>
          </a:xfrm>
          <a:custGeom>
            <a:avLst/>
            <a:gdLst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33700 w 2963138"/>
              <a:gd name="connsiteY66" fmla="*/ 995362 h 2313680"/>
              <a:gd name="connsiteX67" fmla="*/ 2928937 w 2963138"/>
              <a:gd name="connsiteY67" fmla="*/ 938212 h 2313680"/>
              <a:gd name="connsiteX68" fmla="*/ 2933700 w 2963138"/>
              <a:gd name="connsiteY68" fmla="*/ 719137 h 2313680"/>
              <a:gd name="connsiteX69" fmla="*/ 2943225 w 2963138"/>
              <a:gd name="connsiteY69" fmla="*/ 647700 h 2313680"/>
              <a:gd name="connsiteX70" fmla="*/ 2952750 w 2963138"/>
              <a:gd name="connsiteY70" fmla="*/ 571500 h 2313680"/>
              <a:gd name="connsiteX71" fmla="*/ 2947987 w 2963138"/>
              <a:gd name="connsiteY71" fmla="*/ 471487 h 2313680"/>
              <a:gd name="connsiteX72" fmla="*/ 2928937 w 2963138"/>
              <a:gd name="connsiteY72" fmla="*/ 381000 h 2313680"/>
              <a:gd name="connsiteX73" fmla="*/ 2919412 w 2963138"/>
              <a:gd name="connsiteY73" fmla="*/ 209550 h 2313680"/>
              <a:gd name="connsiteX74" fmla="*/ 2914650 w 2963138"/>
              <a:gd name="connsiteY74" fmla="*/ 152400 h 2313680"/>
              <a:gd name="connsiteX75" fmla="*/ 2919412 w 2963138"/>
              <a:gd name="connsiteY75" fmla="*/ 47625 h 2313680"/>
              <a:gd name="connsiteX76" fmla="*/ 2909887 w 2963138"/>
              <a:gd name="connsiteY76" fmla="*/ 23812 h 2313680"/>
              <a:gd name="connsiteX77" fmla="*/ 2867025 w 2963138"/>
              <a:gd name="connsiteY77" fmla="*/ 19050 h 2313680"/>
              <a:gd name="connsiteX78" fmla="*/ 2724150 w 2963138"/>
              <a:gd name="connsiteY78" fmla="*/ 9525 h 2313680"/>
              <a:gd name="connsiteX79" fmla="*/ 2381250 w 2963138"/>
              <a:gd name="connsiteY79" fmla="*/ 14287 h 2313680"/>
              <a:gd name="connsiteX80" fmla="*/ 2324100 w 2963138"/>
              <a:gd name="connsiteY80" fmla="*/ 23812 h 2313680"/>
              <a:gd name="connsiteX81" fmla="*/ 1909762 w 2963138"/>
              <a:gd name="connsiteY81" fmla="*/ 19050 h 2313680"/>
              <a:gd name="connsiteX82" fmla="*/ 1804987 w 2963138"/>
              <a:gd name="connsiteY82" fmla="*/ 9525 h 2313680"/>
              <a:gd name="connsiteX83" fmla="*/ 1776412 w 2963138"/>
              <a:gd name="connsiteY83" fmla="*/ 0 h 2313680"/>
              <a:gd name="connsiteX84" fmla="*/ 1528762 w 2963138"/>
              <a:gd name="connsiteY84" fmla="*/ 4762 h 2313680"/>
              <a:gd name="connsiteX85" fmla="*/ 1143000 w 2963138"/>
              <a:gd name="connsiteY85" fmla="*/ 38100 h 2313680"/>
              <a:gd name="connsiteX86" fmla="*/ 309562 w 2963138"/>
              <a:gd name="connsiteY86" fmla="*/ 23812 h 2313680"/>
              <a:gd name="connsiteX87" fmla="*/ 247650 w 2963138"/>
              <a:gd name="connsiteY87" fmla="*/ 14287 h 2313680"/>
              <a:gd name="connsiteX88" fmla="*/ 185737 w 2963138"/>
              <a:gd name="connsiteY88" fmla="*/ 9525 h 2313680"/>
              <a:gd name="connsiteX89" fmla="*/ 19050 w 2963138"/>
              <a:gd name="connsiteY89" fmla="*/ 14287 h 2313680"/>
              <a:gd name="connsiteX90" fmla="*/ 4762 w 2963138"/>
              <a:gd name="connsiteY90" fmla="*/ 19050 h 2313680"/>
              <a:gd name="connsiteX91" fmla="*/ 9525 w 2963138"/>
              <a:gd name="connsiteY91" fmla="*/ 85725 h 2313680"/>
              <a:gd name="connsiteX92" fmla="*/ 23812 w 2963138"/>
              <a:gd name="connsiteY92" fmla="*/ 171450 h 2313680"/>
              <a:gd name="connsiteX93" fmla="*/ 14287 w 2963138"/>
              <a:gd name="connsiteY93" fmla="*/ 390525 h 2313680"/>
              <a:gd name="connsiteX94" fmla="*/ 0 w 2963138"/>
              <a:gd name="connsiteY94" fmla="*/ 466725 h 2313680"/>
              <a:gd name="connsiteX95" fmla="*/ 9525 w 2963138"/>
              <a:gd name="connsiteY95" fmla="*/ 800100 h 2313680"/>
              <a:gd name="connsiteX96" fmla="*/ 9525 w 2963138"/>
              <a:gd name="connsiteY96" fmla="*/ 871537 h 2313680"/>
              <a:gd name="connsiteX97" fmla="*/ 14287 w 2963138"/>
              <a:gd name="connsiteY97" fmla="*/ 1157287 h 2313680"/>
              <a:gd name="connsiteX98" fmla="*/ 19050 w 2963138"/>
              <a:gd name="connsiteY98" fmla="*/ 1204912 h 2313680"/>
              <a:gd name="connsiteX99" fmla="*/ 28575 w 2963138"/>
              <a:gd name="connsiteY99" fmla="*/ 1243012 h 2313680"/>
              <a:gd name="connsiteX100" fmla="*/ 33337 w 2963138"/>
              <a:gd name="connsiteY100" fmla="*/ 1328737 h 2313680"/>
              <a:gd name="connsiteX101" fmla="*/ 23812 w 2963138"/>
              <a:gd name="connsiteY101" fmla="*/ 1476375 h 2313680"/>
              <a:gd name="connsiteX102" fmla="*/ 14287 w 2963138"/>
              <a:gd name="connsiteY102" fmla="*/ 1562100 h 2313680"/>
              <a:gd name="connsiteX103" fmla="*/ 9525 w 2963138"/>
              <a:gd name="connsiteY103" fmla="*/ 1819275 h 2313680"/>
              <a:gd name="connsiteX104" fmla="*/ 14287 w 2963138"/>
              <a:gd name="connsiteY104" fmla="*/ 2014537 h 2313680"/>
              <a:gd name="connsiteX105" fmla="*/ 23812 w 2963138"/>
              <a:gd name="connsiteY105" fmla="*/ 2066925 h 2313680"/>
              <a:gd name="connsiteX106" fmla="*/ 28575 w 2963138"/>
              <a:gd name="connsiteY106" fmla="*/ 2152650 h 2313680"/>
              <a:gd name="connsiteX107" fmla="*/ 23812 w 2963138"/>
              <a:gd name="connsiteY107" fmla="*/ 2238375 h 2313680"/>
              <a:gd name="connsiteX108" fmla="*/ 14287 w 2963138"/>
              <a:gd name="connsiteY108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33700 w 2963138"/>
              <a:gd name="connsiteY66" fmla="*/ 995362 h 2313680"/>
              <a:gd name="connsiteX67" fmla="*/ 2928937 w 2963138"/>
              <a:gd name="connsiteY67" fmla="*/ 938212 h 2313680"/>
              <a:gd name="connsiteX68" fmla="*/ 2933700 w 2963138"/>
              <a:gd name="connsiteY68" fmla="*/ 719137 h 2313680"/>
              <a:gd name="connsiteX69" fmla="*/ 2943225 w 2963138"/>
              <a:gd name="connsiteY69" fmla="*/ 647700 h 2313680"/>
              <a:gd name="connsiteX70" fmla="*/ 2952750 w 2963138"/>
              <a:gd name="connsiteY70" fmla="*/ 571500 h 2313680"/>
              <a:gd name="connsiteX71" fmla="*/ 2947987 w 2963138"/>
              <a:gd name="connsiteY71" fmla="*/ 471487 h 2313680"/>
              <a:gd name="connsiteX72" fmla="*/ 2928937 w 2963138"/>
              <a:gd name="connsiteY72" fmla="*/ 381000 h 2313680"/>
              <a:gd name="connsiteX73" fmla="*/ 2919412 w 2963138"/>
              <a:gd name="connsiteY73" fmla="*/ 209550 h 2313680"/>
              <a:gd name="connsiteX74" fmla="*/ 2919412 w 2963138"/>
              <a:gd name="connsiteY74" fmla="*/ 47625 h 2313680"/>
              <a:gd name="connsiteX75" fmla="*/ 2909887 w 2963138"/>
              <a:gd name="connsiteY75" fmla="*/ 23812 h 2313680"/>
              <a:gd name="connsiteX76" fmla="*/ 2867025 w 2963138"/>
              <a:gd name="connsiteY76" fmla="*/ 19050 h 2313680"/>
              <a:gd name="connsiteX77" fmla="*/ 2724150 w 2963138"/>
              <a:gd name="connsiteY77" fmla="*/ 9525 h 2313680"/>
              <a:gd name="connsiteX78" fmla="*/ 2381250 w 2963138"/>
              <a:gd name="connsiteY78" fmla="*/ 14287 h 2313680"/>
              <a:gd name="connsiteX79" fmla="*/ 2324100 w 2963138"/>
              <a:gd name="connsiteY79" fmla="*/ 23812 h 2313680"/>
              <a:gd name="connsiteX80" fmla="*/ 1909762 w 2963138"/>
              <a:gd name="connsiteY80" fmla="*/ 19050 h 2313680"/>
              <a:gd name="connsiteX81" fmla="*/ 1804987 w 2963138"/>
              <a:gd name="connsiteY81" fmla="*/ 9525 h 2313680"/>
              <a:gd name="connsiteX82" fmla="*/ 1776412 w 2963138"/>
              <a:gd name="connsiteY82" fmla="*/ 0 h 2313680"/>
              <a:gd name="connsiteX83" fmla="*/ 1528762 w 2963138"/>
              <a:gd name="connsiteY83" fmla="*/ 4762 h 2313680"/>
              <a:gd name="connsiteX84" fmla="*/ 1143000 w 2963138"/>
              <a:gd name="connsiteY84" fmla="*/ 38100 h 2313680"/>
              <a:gd name="connsiteX85" fmla="*/ 309562 w 2963138"/>
              <a:gd name="connsiteY85" fmla="*/ 23812 h 2313680"/>
              <a:gd name="connsiteX86" fmla="*/ 247650 w 2963138"/>
              <a:gd name="connsiteY86" fmla="*/ 14287 h 2313680"/>
              <a:gd name="connsiteX87" fmla="*/ 185737 w 2963138"/>
              <a:gd name="connsiteY87" fmla="*/ 9525 h 2313680"/>
              <a:gd name="connsiteX88" fmla="*/ 19050 w 2963138"/>
              <a:gd name="connsiteY88" fmla="*/ 14287 h 2313680"/>
              <a:gd name="connsiteX89" fmla="*/ 4762 w 2963138"/>
              <a:gd name="connsiteY89" fmla="*/ 19050 h 2313680"/>
              <a:gd name="connsiteX90" fmla="*/ 9525 w 2963138"/>
              <a:gd name="connsiteY90" fmla="*/ 85725 h 2313680"/>
              <a:gd name="connsiteX91" fmla="*/ 23812 w 2963138"/>
              <a:gd name="connsiteY91" fmla="*/ 171450 h 2313680"/>
              <a:gd name="connsiteX92" fmla="*/ 14287 w 2963138"/>
              <a:gd name="connsiteY92" fmla="*/ 390525 h 2313680"/>
              <a:gd name="connsiteX93" fmla="*/ 0 w 2963138"/>
              <a:gd name="connsiteY93" fmla="*/ 466725 h 2313680"/>
              <a:gd name="connsiteX94" fmla="*/ 9525 w 2963138"/>
              <a:gd name="connsiteY94" fmla="*/ 800100 h 2313680"/>
              <a:gd name="connsiteX95" fmla="*/ 9525 w 2963138"/>
              <a:gd name="connsiteY95" fmla="*/ 871537 h 2313680"/>
              <a:gd name="connsiteX96" fmla="*/ 14287 w 2963138"/>
              <a:gd name="connsiteY96" fmla="*/ 1157287 h 2313680"/>
              <a:gd name="connsiteX97" fmla="*/ 19050 w 2963138"/>
              <a:gd name="connsiteY97" fmla="*/ 1204912 h 2313680"/>
              <a:gd name="connsiteX98" fmla="*/ 28575 w 2963138"/>
              <a:gd name="connsiteY98" fmla="*/ 1243012 h 2313680"/>
              <a:gd name="connsiteX99" fmla="*/ 33337 w 2963138"/>
              <a:gd name="connsiteY99" fmla="*/ 1328737 h 2313680"/>
              <a:gd name="connsiteX100" fmla="*/ 23812 w 2963138"/>
              <a:gd name="connsiteY100" fmla="*/ 1476375 h 2313680"/>
              <a:gd name="connsiteX101" fmla="*/ 14287 w 2963138"/>
              <a:gd name="connsiteY101" fmla="*/ 1562100 h 2313680"/>
              <a:gd name="connsiteX102" fmla="*/ 9525 w 2963138"/>
              <a:gd name="connsiteY102" fmla="*/ 1819275 h 2313680"/>
              <a:gd name="connsiteX103" fmla="*/ 14287 w 2963138"/>
              <a:gd name="connsiteY103" fmla="*/ 2014537 h 2313680"/>
              <a:gd name="connsiteX104" fmla="*/ 23812 w 2963138"/>
              <a:gd name="connsiteY104" fmla="*/ 2066925 h 2313680"/>
              <a:gd name="connsiteX105" fmla="*/ 28575 w 2963138"/>
              <a:gd name="connsiteY105" fmla="*/ 2152650 h 2313680"/>
              <a:gd name="connsiteX106" fmla="*/ 23812 w 2963138"/>
              <a:gd name="connsiteY106" fmla="*/ 2238375 h 2313680"/>
              <a:gd name="connsiteX107" fmla="*/ 14287 w 2963138"/>
              <a:gd name="connsiteY107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33700 w 2963138"/>
              <a:gd name="connsiteY66" fmla="*/ 995362 h 2313680"/>
              <a:gd name="connsiteX67" fmla="*/ 2928937 w 2963138"/>
              <a:gd name="connsiteY67" fmla="*/ 938212 h 2313680"/>
              <a:gd name="connsiteX68" fmla="*/ 2933700 w 2963138"/>
              <a:gd name="connsiteY68" fmla="*/ 719137 h 2313680"/>
              <a:gd name="connsiteX69" fmla="*/ 2943225 w 2963138"/>
              <a:gd name="connsiteY69" fmla="*/ 647700 h 2313680"/>
              <a:gd name="connsiteX70" fmla="*/ 2952750 w 2963138"/>
              <a:gd name="connsiteY70" fmla="*/ 571500 h 2313680"/>
              <a:gd name="connsiteX71" fmla="*/ 2947987 w 2963138"/>
              <a:gd name="connsiteY71" fmla="*/ 471487 h 2313680"/>
              <a:gd name="connsiteX72" fmla="*/ 2928937 w 2963138"/>
              <a:gd name="connsiteY72" fmla="*/ 381000 h 2313680"/>
              <a:gd name="connsiteX73" fmla="*/ 2919412 w 2963138"/>
              <a:gd name="connsiteY73" fmla="*/ 47625 h 2313680"/>
              <a:gd name="connsiteX74" fmla="*/ 2909887 w 2963138"/>
              <a:gd name="connsiteY74" fmla="*/ 23812 h 2313680"/>
              <a:gd name="connsiteX75" fmla="*/ 2867025 w 2963138"/>
              <a:gd name="connsiteY75" fmla="*/ 19050 h 2313680"/>
              <a:gd name="connsiteX76" fmla="*/ 2724150 w 2963138"/>
              <a:gd name="connsiteY76" fmla="*/ 9525 h 2313680"/>
              <a:gd name="connsiteX77" fmla="*/ 2381250 w 2963138"/>
              <a:gd name="connsiteY77" fmla="*/ 14287 h 2313680"/>
              <a:gd name="connsiteX78" fmla="*/ 2324100 w 2963138"/>
              <a:gd name="connsiteY78" fmla="*/ 23812 h 2313680"/>
              <a:gd name="connsiteX79" fmla="*/ 1909762 w 2963138"/>
              <a:gd name="connsiteY79" fmla="*/ 19050 h 2313680"/>
              <a:gd name="connsiteX80" fmla="*/ 1804987 w 2963138"/>
              <a:gd name="connsiteY80" fmla="*/ 9525 h 2313680"/>
              <a:gd name="connsiteX81" fmla="*/ 1776412 w 2963138"/>
              <a:gd name="connsiteY81" fmla="*/ 0 h 2313680"/>
              <a:gd name="connsiteX82" fmla="*/ 1528762 w 2963138"/>
              <a:gd name="connsiteY82" fmla="*/ 4762 h 2313680"/>
              <a:gd name="connsiteX83" fmla="*/ 1143000 w 2963138"/>
              <a:gd name="connsiteY83" fmla="*/ 38100 h 2313680"/>
              <a:gd name="connsiteX84" fmla="*/ 309562 w 2963138"/>
              <a:gd name="connsiteY84" fmla="*/ 23812 h 2313680"/>
              <a:gd name="connsiteX85" fmla="*/ 247650 w 2963138"/>
              <a:gd name="connsiteY85" fmla="*/ 14287 h 2313680"/>
              <a:gd name="connsiteX86" fmla="*/ 185737 w 2963138"/>
              <a:gd name="connsiteY86" fmla="*/ 9525 h 2313680"/>
              <a:gd name="connsiteX87" fmla="*/ 19050 w 2963138"/>
              <a:gd name="connsiteY87" fmla="*/ 14287 h 2313680"/>
              <a:gd name="connsiteX88" fmla="*/ 4762 w 2963138"/>
              <a:gd name="connsiteY88" fmla="*/ 19050 h 2313680"/>
              <a:gd name="connsiteX89" fmla="*/ 9525 w 2963138"/>
              <a:gd name="connsiteY89" fmla="*/ 85725 h 2313680"/>
              <a:gd name="connsiteX90" fmla="*/ 23812 w 2963138"/>
              <a:gd name="connsiteY90" fmla="*/ 171450 h 2313680"/>
              <a:gd name="connsiteX91" fmla="*/ 14287 w 2963138"/>
              <a:gd name="connsiteY91" fmla="*/ 390525 h 2313680"/>
              <a:gd name="connsiteX92" fmla="*/ 0 w 2963138"/>
              <a:gd name="connsiteY92" fmla="*/ 466725 h 2313680"/>
              <a:gd name="connsiteX93" fmla="*/ 9525 w 2963138"/>
              <a:gd name="connsiteY93" fmla="*/ 800100 h 2313680"/>
              <a:gd name="connsiteX94" fmla="*/ 9525 w 2963138"/>
              <a:gd name="connsiteY94" fmla="*/ 871537 h 2313680"/>
              <a:gd name="connsiteX95" fmla="*/ 14287 w 2963138"/>
              <a:gd name="connsiteY95" fmla="*/ 1157287 h 2313680"/>
              <a:gd name="connsiteX96" fmla="*/ 19050 w 2963138"/>
              <a:gd name="connsiteY96" fmla="*/ 1204912 h 2313680"/>
              <a:gd name="connsiteX97" fmla="*/ 28575 w 2963138"/>
              <a:gd name="connsiteY97" fmla="*/ 1243012 h 2313680"/>
              <a:gd name="connsiteX98" fmla="*/ 33337 w 2963138"/>
              <a:gd name="connsiteY98" fmla="*/ 1328737 h 2313680"/>
              <a:gd name="connsiteX99" fmla="*/ 23812 w 2963138"/>
              <a:gd name="connsiteY99" fmla="*/ 1476375 h 2313680"/>
              <a:gd name="connsiteX100" fmla="*/ 14287 w 2963138"/>
              <a:gd name="connsiteY100" fmla="*/ 1562100 h 2313680"/>
              <a:gd name="connsiteX101" fmla="*/ 9525 w 2963138"/>
              <a:gd name="connsiteY101" fmla="*/ 1819275 h 2313680"/>
              <a:gd name="connsiteX102" fmla="*/ 14287 w 2963138"/>
              <a:gd name="connsiteY102" fmla="*/ 2014537 h 2313680"/>
              <a:gd name="connsiteX103" fmla="*/ 23812 w 2963138"/>
              <a:gd name="connsiteY103" fmla="*/ 2066925 h 2313680"/>
              <a:gd name="connsiteX104" fmla="*/ 28575 w 2963138"/>
              <a:gd name="connsiteY104" fmla="*/ 2152650 h 2313680"/>
              <a:gd name="connsiteX105" fmla="*/ 23812 w 2963138"/>
              <a:gd name="connsiteY105" fmla="*/ 2238375 h 2313680"/>
              <a:gd name="connsiteX106" fmla="*/ 14287 w 2963138"/>
              <a:gd name="connsiteY106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33700 w 2963138"/>
              <a:gd name="connsiteY66" fmla="*/ 995362 h 2313680"/>
              <a:gd name="connsiteX67" fmla="*/ 2928937 w 2963138"/>
              <a:gd name="connsiteY67" fmla="*/ 938212 h 2313680"/>
              <a:gd name="connsiteX68" fmla="*/ 2933700 w 2963138"/>
              <a:gd name="connsiteY68" fmla="*/ 719137 h 2313680"/>
              <a:gd name="connsiteX69" fmla="*/ 2943225 w 2963138"/>
              <a:gd name="connsiteY69" fmla="*/ 647700 h 2313680"/>
              <a:gd name="connsiteX70" fmla="*/ 2952750 w 2963138"/>
              <a:gd name="connsiteY70" fmla="*/ 571500 h 2313680"/>
              <a:gd name="connsiteX71" fmla="*/ 2947987 w 2963138"/>
              <a:gd name="connsiteY71" fmla="*/ 471487 h 2313680"/>
              <a:gd name="connsiteX72" fmla="*/ 2928937 w 2963138"/>
              <a:gd name="connsiteY72" fmla="*/ 381000 h 2313680"/>
              <a:gd name="connsiteX73" fmla="*/ 2919412 w 2963138"/>
              <a:gd name="connsiteY73" fmla="*/ 47625 h 2313680"/>
              <a:gd name="connsiteX74" fmla="*/ 2867025 w 2963138"/>
              <a:gd name="connsiteY74" fmla="*/ 19050 h 2313680"/>
              <a:gd name="connsiteX75" fmla="*/ 2724150 w 2963138"/>
              <a:gd name="connsiteY75" fmla="*/ 9525 h 2313680"/>
              <a:gd name="connsiteX76" fmla="*/ 2381250 w 2963138"/>
              <a:gd name="connsiteY76" fmla="*/ 14287 h 2313680"/>
              <a:gd name="connsiteX77" fmla="*/ 2324100 w 2963138"/>
              <a:gd name="connsiteY77" fmla="*/ 23812 h 2313680"/>
              <a:gd name="connsiteX78" fmla="*/ 1909762 w 2963138"/>
              <a:gd name="connsiteY78" fmla="*/ 19050 h 2313680"/>
              <a:gd name="connsiteX79" fmla="*/ 1804987 w 2963138"/>
              <a:gd name="connsiteY79" fmla="*/ 9525 h 2313680"/>
              <a:gd name="connsiteX80" fmla="*/ 1776412 w 2963138"/>
              <a:gd name="connsiteY80" fmla="*/ 0 h 2313680"/>
              <a:gd name="connsiteX81" fmla="*/ 1528762 w 2963138"/>
              <a:gd name="connsiteY81" fmla="*/ 4762 h 2313680"/>
              <a:gd name="connsiteX82" fmla="*/ 1143000 w 2963138"/>
              <a:gd name="connsiteY82" fmla="*/ 38100 h 2313680"/>
              <a:gd name="connsiteX83" fmla="*/ 309562 w 2963138"/>
              <a:gd name="connsiteY83" fmla="*/ 23812 h 2313680"/>
              <a:gd name="connsiteX84" fmla="*/ 247650 w 2963138"/>
              <a:gd name="connsiteY84" fmla="*/ 14287 h 2313680"/>
              <a:gd name="connsiteX85" fmla="*/ 185737 w 2963138"/>
              <a:gd name="connsiteY85" fmla="*/ 9525 h 2313680"/>
              <a:gd name="connsiteX86" fmla="*/ 19050 w 2963138"/>
              <a:gd name="connsiteY86" fmla="*/ 14287 h 2313680"/>
              <a:gd name="connsiteX87" fmla="*/ 4762 w 2963138"/>
              <a:gd name="connsiteY87" fmla="*/ 19050 h 2313680"/>
              <a:gd name="connsiteX88" fmla="*/ 9525 w 2963138"/>
              <a:gd name="connsiteY88" fmla="*/ 85725 h 2313680"/>
              <a:gd name="connsiteX89" fmla="*/ 23812 w 2963138"/>
              <a:gd name="connsiteY89" fmla="*/ 171450 h 2313680"/>
              <a:gd name="connsiteX90" fmla="*/ 14287 w 2963138"/>
              <a:gd name="connsiteY90" fmla="*/ 390525 h 2313680"/>
              <a:gd name="connsiteX91" fmla="*/ 0 w 2963138"/>
              <a:gd name="connsiteY91" fmla="*/ 466725 h 2313680"/>
              <a:gd name="connsiteX92" fmla="*/ 9525 w 2963138"/>
              <a:gd name="connsiteY92" fmla="*/ 800100 h 2313680"/>
              <a:gd name="connsiteX93" fmla="*/ 9525 w 2963138"/>
              <a:gd name="connsiteY93" fmla="*/ 871537 h 2313680"/>
              <a:gd name="connsiteX94" fmla="*/ 14287 w 2963138"/>
              <a:gd name="connsiteY94" fmla="*/ 1157287 h 2313680"/>
              <a:gd name="connsiteX95" fmla="*/ 19050 w 2963138"/>
              <a:gd name="connsiteY95" fmla="*/ 1204912 h 2313680"/>
              <a:gd name="connsiteX96" fmla="*/ 28575 w 2963138"/>
              <a:gd name="connsiteY96" fmla="*/ 1243012 h 2313680"/>
              <a:gd name="connsiteX97" fmla="*/ 33337 w 2963138"/>
              <a:gd name="connsiteY97" fmla="*/ 1328737 h 2313680"/>
              <a:gd name="connsiteX98" fmla="*/ 23812 w 2963138"/>
              <a:gd name="connsiteY98" fmla="*/ 1476375 h 2313680"/>
              <a:gd name="connsiteX99" fmla="*/ 14287 w 2963138"/>
              <a:gd name="connsiteY99" fmla="*/ 1562100 h 2313680"/>
              <a:gd name="connsiteX100" fmla="*/ 9525 w 2963138"/>
              <a:gd name="connsiteY100" fmla="*/ 1819275 h 2313680"/>
              <a:gd name="connsiteX101" fmla="*/ 14287 w 2963138"/>
              <a:gd name="connsiteY101" fmla="*/ 2014537 h 2313680"/>
              <a:gd name="connsiteX102" fmla="*/ 23812 w 2963138"/>
              <a:gd name="connsiteY102" fmla="*/ 2066925 h 2313680"/>
              <a:gd name="connsiteX103" fmla="*/ 28575 w 2963138"/>
              <a:gd name="connsiteY103" fmla="*/ 2152650 h 2313680"/>
              <a:gd name="connsiteX104" fmla="*/ 23812 w 2963138"/>
              <a:gd name="connsiteY104" fmla="*/ 2238375 h 2313680"/>
              <a:gd name="connsiteX105" fmla="*/ 14287 w 2963138"/>
              <a:gd name="connsiteY105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33700 w 2963138"/>
              <a:gd name="connsiteY66" fmla="*/ 995362 h 2313680"/>
              <a:gd name="connsiteX67" fmla="*/ 2928937 w 2963138"/>
              <a:gd name="connsiteY67" fmla="*/ 938212 h 2313680"/>
              <a:gd name="connsiteX68" fmla="*/ 2933700 w 2963138"/>
              <a:gd name="connsiteY68" fmla="*/ 719137 h 2313680"/>
              <a:gd name="connsiteX69" fmla="*/ 2943225 w 2963138"/>
              <a:gd name="connsiteY69" fmla="*/ 647700 h 2313680"/>
              <a:gd name="connsiteX70" fmla="*/ 2952750 w 2963138"/>
              <a:gd name="connsiteY70" fmla="*/ 571500 h 2313680"/>
              <a:gd name="connsiteX71" fmla="*/ 2947987 w 2963138"/>
              <a:gd name="connsiteY71" fmla="*/ 471487 h 2313680"/>
              <a:gd name="connsiteX72" fmla="*/ 2928937 w 2963138"/>
              <a:gd name="connsiteY72" fmla="*/ 381000 h 2313680"/>
              <a:gd name="connsiteX73" fmla="*/ 2957512 w 2963138"/>
              <a:gd name="connsiteY73" fmla="*/ 34925 h 2313680"/>
              <a:gd name="connsiteX74" fmla="*/ 2867025 w 2963138"/>
              <a:gd name="connsiteY74" fmla="*/ 19050 h 2313680"/>
              <a:gd name="connsiteX75" fmla="*/ 2724150 w 2963138"/>
              <a:gd name="connsiteY75" fmla="*/ 9525 h 2313680"/>
              <a:gd name="connsiteX76" fmla="*/ 2381250 w 2963138"/>
              <a:gd name="connsiteY76" fmla="*/ 14287 h 2313680"/>
              <a:gd name="connsiteX77" fmla="*/ 2324100 w 2963138"/>
              <a:gd name="connsiteY77" fmla="*/ 23812 h 2313680"/>
              <a:gd name="connsiteX78" fmla="*/ 1909762 w 2963138"/>
              <a:gd name="connsiteY78" fmla="*/ 19050 h 2313680"/>
              <a:gd name="connsiteX79" fmla="*/ 1804987 w 2963138"/>
              <a:gd name="connsiteY79" fmla="*/ 9525 h 2313680"/>
              <a:gd name="connsiteX80" fmla="*/ 1776412 w 2963138"/>
              <a:gd name="connsiteY80" fmla="*/ 0 h 2313680"/>
              <a:gd name="connsiteX81" fmla="*/ 1528762 w 2963138"/>
              <a:gd name="connsiteY81" fmla="*/ 4762 h 2313680"/>
              <a:gd name="connsiteX82" fmla="*/ 1143000 w 2963138"/>
              <a:gd name="connsiteY82" fmla="*/ 38100 h 2313680"/>
              <a:gd name="connsiteX83" fmla="*/ 309562 w 2963138"/>
              <a:gd name="connsiteY83" fmla="*/ 23812 h 2313680"/>
              <a:gd name="connsiteX84" fmla="*/ 247650 w 2963138"/>
              <a:gd name="connsiteY84" fmla="*/ 14287 h 2313680"/>
              <a:gd name="connsiteX85" fmla="*/ 185737 w 2963138"/>
              <a:gd name="connsiteY85" fmla="*/ 9525 h 2313680"/>
              <a:gd name="connsiteX86" fmla="*/ 19050 w 2963138"/>
              <a:gd name="connsiteY86" fmla="*/ 14287 h 2313680"/>
              <a:gd name="connsiteX87" fmla="*/ 4762 w 2963138"/>
              <a:gd name="connsiteY87" fmla="*/ 19050 h 2313680"/>
              <a:gd name="connsiteX88" fmla="*/ 9525 w 2963138"/>
              <a:gd name="connsiteY88" fmla="*/ 85725 h 2313680"/>
              <a:gd name="connsiteX89" fmla="*/ 23812 w 2963138"/>
              <a:gd name="connsiteY89" fmla="*/ 171450 h 2313680"/>
              <a:gd name="connsiteX90" fmla="*/ 14287 w 2963138"/>
              <a:gd name="connsiteY90" fmla="*/ 390525 h 2313680"/>
              <a:gd name="connsiteX91" fmla="*/ 0 w 2963138"/>
              <a:gd name="connsiteY91" fmla="*/ 466725 h 2313680"/>
              <a:gd name="connsiteX92" fmla="*/ 9525 w 2963138"/>
              <a:gd name="connsiteY92" fmla="*/ 800100 h 2313680"/>
              <a:gd name="connsiteX93" fmla="*/ 9525 w 2963138"/>
              <a:gd name="connsiteY93" fmla="*/ 871537 h 2313680"/>
              <a:gd name="connsiteX94" fmla="*/ 14287 w 2963138"/>
              <a:gd name="connsiteY94" fmla="*/ 1157287 h 2313680"/>
              <a:gd name="connsiteX95" fmla="*/ 19050 w 2963138"/>
              <a:gd name="connsiteY95" fmla="*/ 1204912 h 2313680"/>
              <a:gd name="connsiteX96" fmla="*/ 28575 w 2963138"/>
              <a:gd name="connsiteY96" fmla="*/ 1243012 h 2313680"/>
              <a:gd name="connsiteX97" fmla="*/ 33337 w 2963138"/>
              <a:gd name="connsiteY97" fmla="*/ 1328737 h 2313680"/>
              <a:gd name="connsiteX98" fmla="*/ 23812 w 2963138"/>
              <a:gd name="connsiteY98" fmla="*/ 1476375 h 2313680"/>
              <a:gd name="connsiteX99" fmla="*/ 14287 w 2963138"/>
              <a:gd name="connsiteY99" fmla="*/ 1562100 h 2313680"/>
              <a:gd name="connsiteX100" fmla="*/ 9525 w 2963138"/>
              <a:gd name="connsiteY100" fmla="*/ 1819275 h 2313680"/>
              <a:gd name="connsiteX101" fmla="*/ 14287 w 2963138"/>
              <a:gd name="connsiteY101" fmla="*/ 2014537 h 2313680"/>
              <a:gd name="connsiteX102" fmla="*/ 23812 w 2963138"/>
              <a:gd name="connsiteY102" fmla="*/ 2066925 h 2313680"/>
              <a:gd name="connsiteX103" fmla="*/ 28575 w 2963138"/>
              <a:gd name="connsiteY103" fmla="*/ 2152650 h 2313680"/>
              <a:gd name="connsiteX104" fmla="*/ 23812 w 2963138"/>
              <a:gd name="connsiteY104" fmla="*/ 2238375 h 2313680"/>
              <a:gd name="connsiteX105" fmla="*/ 14287 w 2963138"/>
              <a:gd name="connsiteY105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33700 w 2963138"/>
              <a:gd name="connsiteY66" fmla="*/ 995362 h 2313680"/>
              <a:gd name="connsiteX67" fmla="*/ 2928937 w 2963138"/>
              <a:gd name="connsiteY67" fmla="*/ 938212 h 2313680"/>
              <a:gd name="connsiteX68" fmla="*/ 2933700 w 2963138"/>
              <a:gd name="connsiteY68" fmla="*/ 719137 h 2313680"/>
              <a:gd name="connsiteX69" fmla="*/ 2943225 w 2963138"/>
              <a:gd name="connsiteY69" fmla="*/ 647700 h 2313680"/>
              <a:gd name="connsiteX70" fmla="*/ 2952750 w 2963138"/>
              <a:gd name="connsiteY70" fmla="*/ 571500 h 2313680"/>
              <a:gd name="connsiteX71" fmla="*/ 2947987 w 2963138"/>
              <a:gd name="connsiteY71" fmla="*/ 471487 h 2313680"/>
              <a:gd name="connsiteX72" fmla="*/ 2957512 w 2963138"/>
              <a:gd name="connsiteY72" fmla="*/ 342900 h 2313680"/>
              <a:gd name="connsiteX73" fmla="*/ 2957512 w 2963138"/>
              <a:gd name="connsiteY73" fmla="*/ 34925 h 2313680"/>
              <a:gd name="connsiteX74" fmla="*/ 2867025 w 2963138"/>
              <a:gd name="connsiteY74" fmla="*/ 19050 h 2313680"/>
              <a:gd name="connsiteX75" fmla="*/ 2724150 w 2963138"/>
              <a:gd name="connsiteY75" fmla="*/ 9525 h 2313680"/>
              <a:gd name="connsiteX76" fmla="*/ 2381250 w 2963138"/>
              <a:gd name="connsiteY76" fmla="*/ 14287 h 2313680"/>
              <a:gd name="connsiteX77" fmla="*/ 2324100 w 2963138"/>
              <a:gd name="connsiteY77" fmla="*/ 23812 h 2313680"/>
              <a:gd name="connsiteX78" fmla="*/ 1909762 w 2963138"/>
              <a:gd name="connsiteY78" fmla="*/ 19050 h 2313680"/>
              <a:gd name="connsiteX79" fmla="*/ 1804987 w 2963138"/>
              <a:gd name="connsiteY79" fmla="*/ 9525 h 2313680"/>
              <a:gd name="connsiteX80" fmla="*/ 1776412 w 2963138"/>
              <a:gd name="connsiteY80" fmla="*/ 0 h 2313680"/>
              <a:gd name="connsiteX81" fmla="*/ 1528762 w 2963138"/>
              <a:gd name="connsiteY81" fmla="*/ 4762 h 2313680"/>
              <a:gd name="connsiteX82" fmla="*/ 1143000 w 2963138"/>
              <a:gd name="connsiteY82" fmla="*/ 38100 h 2313680"/>
              <a:gd name="connsiteX83" fmla="*/ 309562 w 2963138"/>
              <a:gd name="connsiteY83" fmla="*/ 23812 h 2313680"/>
              <a:gd name="connsiteX84" fmla="*/ 247650 w 2963138"/>
              <a:gd name="connsiteY84" fmla="*/ 14287 h 2313680"/>
              <a:gd name="connsiteX85" fmla="*/ 185737 w 2963138"/>
              <a:gd name="connsiteY85" fmla="*/ 9525 h 2313680"/>
              <a:gd name="connsiteX86" fmla="*/ 19050 w 2963138"/>
              <a:gd name="connsiteY86" fmla="*/ 14287 h 2313680"/>
              <a:gd name="connsiteX87" fmla="*/ 4762 w 2963138"/>
              <a:gd name="connsiteY87" fmla="*/ 19050 h 2313680"/>
              <a:gd name="connsiteX88" fmla="*/ 9525 w 2963138"/>
              <a:gd name="connsiteY88" fmla="*/ 85725 h 2313680"/>
              <a:gd name="connsiteX89" fmla="*/ 23812 w 2963138"/>
              <a:gd name="connsiteY89" fmla="*/ 171450 h 2313680"/>
              <a:gd name="connsiteX90" fmla="*/ 14287 w 2963138"/>
              <a:gd name="connsiteY90" fmla="*/ 390525 h 2313680"/>
              <a:gd name="connsiteX91" fmla="*/ 0 w 2963138"/>
              <a:gd name="connsiteY91" fmla="*/ 466725 h 2313680"/>
              <a:gd name="connsiteX92" fmla="*/ 9525 w 2963138"/>
              <a:gd name="connsiteY92" fmla="*/ 800100 h 2313680"/>
              <a:gd name="connsiteX93" fmla="*/ 9525 w 2963138"/>
              <a:gd name="connsiteY93" fmla="*/ 871537 h 2313680"/>
              <a:gd name="connsiteX94" fmla="*/ 14287 w 2963138"/>
              <a:gd name="connsiteY94" fmla="*/ 1157287 h 2313680"/>
              <a:gd name="connsiteX95" fmla="*/ 19050 w 2963138"/>
              <a:gd name="connsiteY95" fmla="*/ 1204912 h 2313680"/>
              <a:gd name="connsiteX96" fmla="*/ 28575 w 2963138"/>
              <a:gd name="connsiteY96" fmla="*/ 1243012 h 2313680"/>
              <a:gd name="connsiteX97" fmla="*/ 33337 w 2963138"/>
              <a:gd name="connsiteY97" fmla="*/ 1328737 h 2313680"/>
              <a:gd name="connsiteX98" fmla="*/ 23812 w 2963138"/>
              <a:gd name="connsiteY98" fmla="*/ 1476375 h 2313680"/>
              <a:gd name="connsiteX99" fmla="*/ 14287 w 2963138"/>
              <a:gd name="connsiteY99" fmla="*/ 1562100 h 2313680"/>
              <a:gd name="connsiteX100" fmla="*/ 9525 w 2963138"/>
              <a:gd name="connsiteY100" fmla="*/ 1819275 h 2313680"/>
              <a:gd name="connsiteX101" fmla="*/ 14287 w 2963138"/>
              <a:gd name="connsiteY101" fmla="*/ 2014537 h 2313680"/>
              <a:gd name="connsiteX102" fmla="*/ 23812 w 2963138"/>
              <a:gd name="connsiteY102" fmla="*/ 2066925 h 2313680"/>
              <a:gd name="connsiteX103" fmla="*/ 28575 w 2963138"/>
              <a:gd name="connsiteY103" fmla="*/ 2152650 h 2313680"/>
              <a:gd name="connsiteX104" fmla="*/ 23812 w 2963138"/>
              <a:gd name="connsiteY104" fmla="*/ 2238375 h 2313680"/>
              <a:gd name="connsiteX105" fmla="*/ 14287 w 2963138"/>
              <a:gd name="connsiteY105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33700 w 2963138"/>
              <a:gd name="connsiteY66" fmla="*/ 995362 h 2313680"/>
              <a:gd name="connsiteX67" fmla="*/ 2928937 w 2963138"/>
              <a:gd name="connsiteY67" fmla="*/ 938212 h 2313680"/>
              <a:gd name="connsiteX68" fmla="*/ 2933700 w 2963138"/>
              <a:gd name="connsiteY68" fmla="*/ 719137 h 2313680"/>
              <a:gd name="connsiteX69" fmla="*/ 2943225 w 2963138"/>
              <a:gd name="connsiteY69" fmla="*/ 647700 h 2313680"/>
              <a:gd name="connsiteX70" fmla="*/ 2952750 w 2963138"/>
              <a:gd name="connsiteY70" fmla="*/ 571500 h 2313680"/>
              <a:gd name="connsiteX71" fmla="*/ 2957512 w 2963138"/>
              <a:gd name="connsiteY71" fmla="*/ 342900 h 2313680"/>
              <a:gd name="connsiteX72" fmla="*/ 2957512 w 2963138"/>
              <a:gd name="connsiteY72" fmla="*/ 34925 h 2313680"/>
              <a:gd name="connsiteX73" fmla="*/ 2867025 w 2963138"/>
              <a:gd name="connsiteY73" fmla="*/ 19050 h 2313680"/>
              <a:gd name="connsiteX74" fmla="*/ 2724150 w 2963138"/>
              <a:gd name="connsiteY74" fmla="*/ 9525 h 2313680"/>
              <a:gd name="connsiteX75" fmla="*/ 2381250 w 2963138"/>
              <a:gd name="connsiteY75" fmla="*/ 14287 h 2313680"/>
              <a:gd name="connsiteX76" fmla="*/ 2324100 w 2963138"/>
              <a:gd name="connsiteY76" fmla="*/ 23812 h 2313680"/>
              <a:gd name="connsiteX77" fmla="*/ 1909762 w 2963138"/>
              <a:gd name="connsiteY77" fmla="*/ 19050 h 2313680"/>
              <a:gd name="connsiteX78" fmla="*/ 1804987 w 2963138"/>
              <a:gd name="connsiteY78" fmla="*/ 9525 h 2313680"/>
              <a:gd name="connsiteX79" fmla="*/ 1776412 w 2963138"/>
              <a:gd name="connsiteY79" fmla="*/ 0 h 2313680"/>
              <a:gd name="connsiteX80" fmla="*/ 1528762 w 2963138"/>
              <a:gd name="connsiteY80" fmla="*/ 4762 h 2313680"/>
              <a:gd name="connsiteX81" fmla="*/ 1143000 w 2963138"/>
              <a:gd name="connsiteY81" fmla="*/ 38100 h 2313680"/>
              <a:gd name="connsiteX82" fmla="*/ 309562 w 2963138"/>
              <a:gd name="connsiteY82" fmla="*/ 23812 h 2313680"/>
              <a:gd name="connsiteX83" fmla="*/ 247650 w 2963138"/>
              <a:gd name="connsiteY83" fmla="*/ 14287 h 2313680"/>
              <a:gd name="connsiteX84" fmla="*/ 185737 w 2963138"/>
              <a:gd name="connsiteY84" fmla="*/ 9525 h 2313680"/>
              <a:gd name="connsiteX85" fmla="*/ 19050 w 2963138"/>
              <a:gd name="connsiteY85" fmla="*/ 14287 h 2313680"/>
              <a:gd name="connsiteX86" fmla="*/ 4762 w 2963138"/>
              <a:gd name="connsiteY86" fmla="*/ 19050 h 2313680"/>
              <a:gd name="connsiteX87" fmla="*/ 9525 w 2963138"/>
              <a:gd name="connsiteY87" fmla="*/ 85725 h 2313680"/>
              <a:gd name="connsiteX88" fmla="*/ 23812 w 2963138"/>
              <a:gd name="connsiteY88" fmla="*/ 171450 h 2313680"/>
              <a:gd name="connsiteX89" fmla="*/ 14287 w 2963138"/>
              <a:gd name="connsiteY89" fmla="*/ 390525 h 2313680"/>
              <a:gd name="connsiteX90" fmla="*/ 0 w 2963138"/>
              <a:gd name="connsiteY90" fmla="*/ 466725 h 2313680"/>
              <a:gd name="connsiteX91" fmla="*/ 9525 w 2963138"/>
              <a:gd name="connsiteY91" fmla="*/ 800100 h 2313680"/>
              <a:gd name="connsiteX92" fmla="*/ 9525 w 2963138"/>
              <a:gd name="connsiteY92" fmla="*/ 871537 h 2313680"/>
              <a:gd name="connsiteX93" fmla="*/ 14287 w 2963138"/>
              <a:gd name="connsiteY93" fmla="*/ 1157287 h 2313680"/>
              <a:gd name="connsiteX94" fmla="*/ 19050 w 2963138"/>
              <a:gd name="connsiteY94" fmla="*/ 1204912 h 2313680"/>
              <a:gd name="connsiteX95" fmla="*/ 28575 w 2963138"/>
              <a:gd name="connsiteY95" fmla="*/ 1243012 h 2313680"/>
              <a:gd name="connsiteX96" fmla="*/ 33337 w 2963138"/>
              <a:gd name="connsiteY96" fmla="*/ 1328737 h 2313680"/>
              <a:gd name="connsiteX97" fmla="*/ 23812 w 2963138"/>
              <a:gd name="connsiteY97" fmla="*/ 1476375 h 2313680"/>
              <a:gd name="connsiteX98" fmla="*/ 14287 w 2963138"/>
              <a:gd name="connsiteY98" fmla="*/ 1562100 h 2313680"/>
              <a:gd name="connsiteX99" fmla="*/ 9525 w 2963138"/>
              <a:gd name="connsiteY99" fmla="*/ 1819275 h 2313680"/>
              <a:gd name="connsiteX100" fmla="*/ 14287 w 2963138"/>
              <a:gd name="connsiteY100" fmla="*/ 2014537 h 2313680"/>
              <a:gd name="connsiteX101" fmla="*/ 23812 w 2963138"/>
              <a:gd name="connsiteY101" fmla="*/ 2066925 h 2313680"/>
              <a:gd name="connsiteX102" fmla="*/ 28575 w 2963138"/>
              <a:gd name="connsiteY102" fmla="*/ 2152650 h 2313680"/>
              <a:gd name="connsiteX103" fmla="*/ 23812 w 2963138"/>
              <a:gd name="connsiteY103" fmla="*/ 2238375 h 2313680"/>
              <a:gd name="connsiteX104" fmla="*/ 14287 w 2963138"/>
              <a:gd name="connsiteY104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33700 w 2963138"/>
              <a:gd name="connsiteY66" fmla="*/ 995362 h 2313680"/>
              <a:gd name="connsiteX67" fmla="*/ 2928937 w 2963138"/>
              <a:gd name="connsiteY67" fmla="*/ 938212 h 2313680"/>
              <a:gd name="connsiteX68" fmla="*/ 2933700 w 2963138"/>
              <a:gd name="connsiteY68" fmla="*/ 719137 h 2313680"/>
              <a:gd name="connsiteX69" fmla="*/ 2952750 w 2963138"/>
              <a:gd name="connsiteY69" fmla="*/ 571500 h 2313680"/>
              <a:gd name="connsiteX70" fmla="*/ 2957512 w 2963138"/>
              <a:gd name="connsiteY70" fmla="*/ 342900 h 2313680"/>
              <a:gd name="connsiteX71" fmla="*/ 2957512 w 2963138"/>
              <a:gd name="connsiteY71" fmla="*/ 34925 h 2313680"/>
              <a:gd name="connsiteX72" fmla="*/ 2867025 w 2963138"/>
              <a:gd name="connsiteY72" fmla="*/ 19050 h 2313680"/>
              <a:gd name="connsiteX73" fmla="*/ 2724150 w 2963138"/>
              <a:gd name="connsiteY73" fmla="*/ 9525 h 2313680"/>
              <a:gd name="connsiteX74" fmla="*/ 2381250 w 2963138"/>
              <a:gd name="connsiteY74" fmla="*/ 14287 h 2313680"/>
              <a:gd name="connsiteX75" fmla="*/ 2324100 w 2963138"/>
              <a:gd name="connsiteY75" fmla="*/ 23812 h 2313680"/>
              <a:gd name="connsiteX76" fmla="*/ 1909762 w 2963138"/>
              <a:gd name="connsiteY76" fmla="*/ 19050 h 2313680"/>
              <a:gd name="connsiteX77" fmla="*/ 1804987 w 2963138"/>
              <a:gd name="connsiteY77" fmla="*/ 9525 h 2313680"/>
              <a:gd name="connsiteX78" fmla="*/ 1776412 w 2963138"/>
              <a:gd name="connsiteY78" fmla="*/ 0 h 2313680"/>
              <a:gd name="connsiteX79" fmla="*/ 1528762 w 2963138"/>
              <a:gd name="connsiteY79" fmla="*/ 4762 h 2313680"/>
              <a:gd name="connsiteX80" fmla="*/ 1143000 w 2963138"/>
              <a:gd name="connsiteY80" fmla="*/ 38100 h 2313680"/>
              <a:gd name="connsiteX81" fmla="*/ 309562 w 2963138"/>
              <a:gd name="connsiteY81" fmla="*/ 23812 h 2313680"/>
              <a:gd name="connsiteX82" fmla="*/ 247650 w 2963138"/>
              <a:gd name="connsiteY82" fmla="*/ 14287 h 2313680"/>
              <a:gd name="connsiteX83" fmla="*/ 185737 w 2963138"/>
              <a:gd name="connsiteY83" fmla="*/ 9525 h 2313680"/>
              <a:gd name="connsiteX84" fmla="*/ 19050 w 2963138"/>
              <a:gd name="connsiteY84" fmla="*/ 14287 h 2313680"/>
              <a:gd name="connsiteX85" fmla="*/ 4762 w 2963138"/>
              <a:gd name="connsiteY85" fmla="*/ 19050 h 2313680"/>
              <a:gd name="connsiteX86" fmla="*/ 9525 w 2963138"/>
              <a:gd name="connsiteY86" fmla="*/ 85725 h 2313680"/>
              <a:gd name="connsiteX87" fmla="*/ 23812 w 2963138"/>
              <a:gd name="connsiteY87" fmla="*/ 171450 h 2313680"/>
              <a:gd name="connsiteX88" fmla="*/ 14287 w 2963138"/>
              <a:gd name="connsiteY88" fmla="*/ 390525 h 2313680"/>
              <a:gd name="connsiteX89" fmla="*/ 0 w 2963138"/>
              <a:gd name="connsiteY89" fmla="*/ 466725 h 2313680"/>
              <a:gd name="connsiteX90" fmla="*/ 9525 w 2963138"/>
              <a:gd name="connsiteY90" fmla="*/ 800100 h 2313680"/>
              <a:gd name="connsiteX91" fmla="*/ 9525 w 2963138"/>
              <a:gd name="connsiteY91" fmla="*/ 871537 h 2313680"/>
              <a:gd name="connsiteX92" fmla="*/ 14287 w 2963138"/>
              <a:gd name="connsiteY92" fmla="*/ 1157287 h 2313680"/>
              <a:gd name="connsiteX93" fmla="*/ 19050 w 2963138"/>
              <a:gd name="connsiteY93" fmla="*/ 1204912 h 2313680"/>
              <a:gd name="connsiteX94" fmla="*/ 28575 w 2963138"/>
              <a:gd name="connsiteY94" fmla="*/ 1243012 h 2313680"/>
              <a:gd name="connsiteX95" fmla="*/ 33337 w 2963138"/>
              <a:gd name="connsiteY95" fmla="*/ 1328737 h 2313680"/>
              <a:gd name="connsiteX96" fmla="*/ 23812 w 2963138"/>
              <a:gd name="connsiteY96" fmla="*/ 1476375 h 2313680"/>
              <a:gd name="connsiteX97" fmla="*/ 14287 w 2963138"/>
              <a:gd name="connsiteY97" fmla="*/ 1562100 h 2313680"/>
              <a:gd name="connsiteX98" fmla="*/ 9525 w 2963138"/>
              <a:gd name="connsiteY98" fmla="*/ 1819275 h 2313680"/>
              <a:gd name="connsiteX99" fmla="*/ 14287 w 2963138"/>
              <a:gd name="connsiteY99" fmla="*/ 2014537 h 2313680"/>
              <a:gd name="connsiteX100" fmla="*/ 23812 w 2963138"/>
              <a:gd name="connsiteY100" fmla="*/ 2066925 h 2313680"/>
              <a:gd name="connsiteX101" fmla="*/ 28575 w 2963138"/>
              <a:gd name="connsiteY101" fmla="*/ 2152650 h 2313680"/>
              <a:gd name="connsiteX102" fmla="*/ 23812 w 2963138"/>
              <a:gd name="connsiteY102" fmla="*/ 2238375 h 2313680"/>
              <a:gd name="connsiteX103" fmla="*/ 14287 w 2963138"/>
              <a:gd name="connsiteY103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33700 w 2963138"/>
              <a:gd name="connsiteY66" fmla="*/ 995362 h 2313680"/>
              <a:gd name="connsiteX67" fmla="*/ 2928937 w 2963138"/>
              <a:gd name="connsiteY67" fmla="*/ 938212 h 2313680"/>
              <a:gd name="connsiteX68" fmla="*/ 2952750 w 2963138"/>
              <a:gd name="connsiteY68" fmla="*/ 571500 h 2313680"/>
              <a:gd name="connsiteX69" fmla="*/ 2957512 w 2963138"/>
              <a:gd name="connsiteY69" fmla="*/ 342900 h 2313680"/>
              <a:gd name="connsiteX70" fmla="*/ 2957512 w 2963138"/>
              <a:gd name="connsiteY70" fmla="*/ 34925 h 2313680"/>
              <a:gd name="connsiteX71" fmla="*/ 2867025 w 2963138"/>
              <a:gd name="connsiteY71" fmla="*/ 19050 h 2313680"/>
              <a:gd name="connsiteX72" fmla="*/ 2724150 w 2963138"/>
              <a:gd name="connsiteY72" fmla="*/ 9525 h 2313680"/>
              <a:gd name="connsiteX73" fmla="*/ 2381250 w 2963138"/>
              <a:gd name="connsiteY73" fmla="*/ 14287 h 2313680"/>
              <a:gd name="connsiteX74" fmla="*/ 2324100 w 2963138"/>
              <a:gd name="connsiteY74" fmla="*/ 23812 h 2313680"/>
              <a:gd name="connsiteX75" fmla="*/ 1909762 w 2963138"/>
              <a:gd name="connsiteY75" fmla="*/ 19050 h 2313680"/>
              <a:gd name="connsiteX76" fmla="*/ 1804987 w 2963138"/>
              <a:gd name="connsiteY76" fmla="*/ 9525 h 2313680"/>
              <a:gd name="connsiteX77" fmla="*/ 1776412 w 2963138"/>
              <a:gd name="connsiteY77" fmla="*/ 0 h 2313680"/>
              <a:gd name="connsiteX78" fmla="*/ 1528762 w 2963138"/>
              <a:gd name="connsiteY78" fmla="*/ 4762 h 2313680"/>
              <a:gd name="connsiteX79" fmla="*/ 1143000 w 2963138"/>
              <a:gd name="connsiteY79" fmla="*/ 38100 h 2313680"/>
              <a:gd name="connsiteX80" fmla="*/ 309562 w 2963138"/>
              <a:gd name="connsiteY80" fmla="*/ 23812 h 2313680"/>
              <a:gd name="connsiteX81" fmla="*/ 247650 w 2963138"/>
              <a:gd name="connsiteY81" fmla="*/ 14287 h 2313680"/>
              <a:gd name="connsiteX82" fmla="*/ 185737 w 2963138"/>
              <a:gd name="connsiteY82" fmla="*/ 9525 h 2313680"/>
              <a:gd name="connsiteX83" fmla="*/ 19050 w 2963138"/>
              <a:gd name="connsiteY83" fmla="*/ 14287 h 2313680"/>
              <a:gd name="connsiteX84" fmla="*/ 4762 w 2963138"/>
              <a:gd name="connsiteY84" fmla="*/ 19050 h 2313680"/>
              <a:gd name="connsiteX85" fmla="*/ 9525 w 2963138"/>
              <a:gd name="connsiteY85" fmla="*/ 85725 h 2313680"/>
              <a:gd name="connsiteX86" fmla="*/ 23812 w 2963138"/>
              <a:gd name="connsiteY86" fmla="*/ 171450 h 2313680"/>
              <a:gd name="connsiteX87" fmla="*/ 14287 w 2963138"/>
              <a:gd name="connsiteY87" fmla="*/ 390525 h 2313680"/>
              <a:gd name="connsiteX88" fmla="*/ 0 w 2963138"/>
              <a:gd name="connsiteY88" fmla="*/ 466725 h 2313680"/>
              <a:gd name="connsiteX89" fmla="*/ 9525 w 2963138"/>
              <a:gd name="connsiteY89" fmla="*/ 800100 h 2313680"/>
              <a:gd name="connsiteX90" fmla="*/ 9525 w 2963138"/>
              <a:gd name="connsiteY90" fmla="*/ 871537 h 2313680"/>
              <a:gd name="connsiteX91" fmla="*/ 14287 w 2963138"/>
              <a:gd name="connsiteY91" fmla="*/ 1157287 h 2313680"/>
              <a:gd name="connsiteX92" fmla="*/ 19050 w 2963138"/>
              <a:gd name="connsiteY92" fmla="*/ 1204912 h 2313680"/>
              <a:gd name="connsiteX93" fmla="*/ 28575 w 2963138"/>
              <a:gd name="connsiteY93" fmla="*/ 1243012 h 2313680"/>
              <a:gd name="connsiteX94" fmla="*/ 33337 w 2963138"/>
              <a:gd name="connsiteY94" fmla="*/ 1328737 h 2313680"/>
              <a:gd name="connsiteX95" fmla="*/ 23812 w 2963138"/>
              <a:gd name="connsiteY95" fmla="*/ 1476375 h 2313680"/>
              <a:gd name="connsiteX96" fmla="*/ 14287 w 2963138"/>
              <a:gd name="connsiteY96" fmla="*/ 1562100 h 2313680"/>
              <a:gd name="connsiteX97" fmla="*/ 9525 w 2963138"/>
              <a:gd name="connsiteY97" fmla="*/ 1819275 h 2313680"/>
              <a:gd name="connsiteX98" fmla="*/ 14287 w 2963138"/>
              <a:gd name="connsiteY98" fmla="*/ 2014537 h 2313680"/>
              <a:gd name="connsiteX99" fmla="*/ 23812 w 2963138"/>
              <a:gd name="connsiteY99" fmla="*/ 2066925 h 2313680"/>
              <a:gd name="connsiteX100" fmla="*/ 28575 w 2963138"/>
              <a:gd name="connsiteY100" fmla="*/ 2152650 h 2313680"/>
              <a:gd name="connsiteX101" fmla="*/ 23812 w 2963138"/>
              <a:gd name="connsiteY101" fmla="*/ 2238375 h 2313680"/>
              <a:gd name="connsiteX102" fmla="*/ 14287 w 2963138"/>
              <a:gd name="connsiteY102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28937 w 2963138"/>
              <a:gd name="connsiteY66" fmla="*/ 938212 h 2313680"/>
              <a:gd name="connsiteX67" fmla="*/ 2952750 w 2963138"/>
              <a:gd name="connsiteY67" fmla="*/ 571500 h 2313680"/>
              <a:gd name="connsiteX68" fmla="*/ 2957512 w 2963138"/>
              <a:gd name="connsiteY68" fmla="*/ 342900 h 2313680"/>
              <a:gd name="connsiteX69" fmla="*/ 2957512 w 2963138"/>
              <a:gd name="connsiteY69" fmla="*/ 34925 h 2313680"/>
              <a:gd name="connsiteX70" fmla="*/ 2867025 w 2963138"/>
              <a:gd name="connsiteY70" fmla="*/ 19050 h 2313680"/>
              <a:gd name="connsiteX71" fmla="*/ 2724150 w 2963138"/>
              <a:gd name="connsiteY71" fmla="*/ 9525 h 2313680"/>
              <a:gd name="connsiteX72" fmla="*/ 2381250 w 2963138"/>
              <a:gd name="connsiteY72" fmla="*/ 14287 h 2313680"/>
              <a:gd name="connsiteX73" fmla="*/ 2324100 w 2963138"/>
              <a:gd name="connsiteY73" fmla="*/ 23812 h 2313680"/>
              <a:gd name="connsiteX74" fmla="*/ 1909762 w 2963138"/>
              <a:gd name="connsiteY74" fmla="*/ 19050 h 2313680"/>
              <a:gd name="connsiteX75" fmla="*/ 1804987 w 2963138"/>
              <a:gd name="connsiteY75" fmla="*/ 9525 h 2313680"/>
              <a:gd name="connsiteX76" fmla="*/ 1776412 w 2963138"/>
              <a:gd name="connsiteY76" fmla="*/ 0 h 2313680"/>
              <a:gd name="connsiteX77" fmla="*/ 1528762 w 2963138"/>
              <a:gd name="connsiteY77" fmla="*/ 4762 h 2313680"/>
              <a:gd name="connsiteX78" fmla="*/ 1143000 w 2963138"/>
              <a:gd name="connsiteY78" fmla="*/ 38100 h 2313680"/>
              <a:gd name="connsiteX79" fmla="*/ 309562 w 2963138"/>
              <a:gd name="connsiteY79" fmla="*/ 23812 h 2313680"/>
              <a:gd name="connsiteX80" fmla="*/ 247650 w 2963138"/>
              <a:gd name="connsiteY80" fmla="*/ 14287 h 2313680"/>
              <a:gd name="connsiteX81" fmla="*/ 185737 w 2963138"/>
              <a:gd name="connsiteY81" fmla="*/ 9525 h 2313680"/>
              <a:gd name="connsiteX82" fmla="*/ 19050 w 2963138"/>
              <a:gd name="connsiteY82" fmla="*/ 14287 h 2313680"/>
              <a:gd name="connsiteX83" fmla="*/ 4762 w 2963138"/>
              <a:gd name="connsiteY83" fmla="*/ 19050 h 2313680"/>
              <a:gd name="connsiteX84" fmla="*/ 9525 w 2963138"/>
              <a:gd name="connsiteY84" fmla="*/ 85725 h 2313680"/>
              <a:gd name="connsiteX85" fmla="*/ 23812 w 2963138"/>
              <a:gd name="connsiteY85" fmla="*/ 171450 h 2313680"/>
              <a:gd name="connsiteX86" fmla="*/ 14287 w 2963138"/>
              <a:gd name="connsiteY86" fmla="*/ 390525 h 2313680"/>
              <a:gd name="connsiteX87" fmla="*/ 0 w 2963138"/>
              <a:gd name="connsiteY87" fmla="*/ 466725 h 2313680"/>
              <a:gd name="connsiteX88" fmla="*/ 9525 w 2963138"/>
              <a:gd name="connsiteY88" fmla="*/ 800100 h 2313680"/>
              <a:gd name="connsiteX89" fmla="*/ 9525 w 2963138"/>
              <a:gd name="connsiteY89" fmla="*/ 871537 h 2313680"/>
              <a:gd name="connsiteX90" fmla="*/ 14287 w 2963138"/>
              <a:gd name="connsiteY90" fmla="*/ 1157287 h 2313680"/>
              <a:gd name="connsiteX91" fmla="*/ 19050 w 2963138"/>
              <a:gd name="connsiteY91" fmla="*/ 1204912 h 2313680"/>
              <a:gd name="connsiteX92" fmla="*/ 28575 w 2963138"/>
              <a:gd name="connsiteY92" fmla="*/ 1243012 h 2313680"/>
              <a:gd name="connsiteX93" fmla="*/ 33337 w 2963138"/>
              <a:gd name="connsiteY93" fmla="*/ 1328737 h 2313680"/>
              <a:gd name="connsiteX94" fmla="*/ 23812 w 2963138"/>
              <a:gd name="connsiteY94" fmla="*/ 1476375 h 2313680"/>
              <a:gd name="connsiteX95" fmla="*/ 14287 w 2963138"/>
              <a:gd name="connsiteY95" fmla="*/ 1562100 h 2313680"/>
              <a:gd name="connsiteX96" fmla="*/ 9525 w 2963138"/>
              <a:gd name="connsiteY96" fmla="*/ 1819275 h 2313680"/>
              <a:gd name="connsiteX97" fmla="*/ 14287 w 2963138"/>
              <a:gd name="connsiteY97" fmla="*/ 2014537 h 2313680"/>
              <a:gd name="connsiteX98" fmla="*/ 23812 w 2963138"/>
              <a:gd name="connsiteY98" fmla="*/ 2066925 h 2313680"/>
              <a:gd name="connsiteX99" fmla="*/ 28575 w 2963138"/>
              <a:gd name="connsiteY99" fmla="*/ 2152650 h 2313680"/>
              <a:gd name="connsiteX100" fmla="*/ 23812 w 2963138"/>
              <a:gd name="connsiteY100" fmla="*/ 2238375 h 2313680"/>
              <a:gd name="connsiteX101" fmla="*/ 14287 w 2963138"/>
              <a:gd name="connsiteY101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57512 w 2963138"/>
              <a:gd name="connsiteY62" fmla="*/ 1914525 h 2313680"/>
              <a:gd name="connsiteX63" fmla="*/ 2962275 w 2963138"/>
              <a:gd name="connsiteY63" fmla="*/ 1804987 h 2313680"/>
              <a:gd name="connsiteX64" fmla="*/ 2952750 w 2963138"/>
              <a:gd name="connsiteY64" fmla="*/ 1366837 h 2313680"/>
              <a:gd name="connsiteX65" fmla="*/ 2947987 w 2963138"/>
              <a:gd name="connsiteY65" fmla="*/ 1081087 h 2313680"/>
              <a:gd name="connsiteX66" fmla="*/ 2947987 w 2963138"/>
              <a:gd name="connsiteY66" fmla="*/ 922337 h 2313680"/>
              <a:gd name="connsiteX67" fmla="*/ 2952750 w 2963138"/>
              <a:gd name="connsiteY67" fmla="*/ 571500 h 2313680"/>
              <a:gd name="connsiteX68" fmla="*/ 2957512 w 2963138"/>
              <a:gd name="connsiteY68" fmla="*/ 342900 h 2313680"/>
              <a:gd name="connsiteX69" fmla="*/ 2957512 w 2963138"/>
              <a:gd name="connsiteY69" fmla="*/ 34925 h 2313680"/>
              <a:gd name="connsiteX70" fmla="*/ 2867025 w 2963138"/>
              <a:gd name="connsiteY70" fmla="*/ 19050 h 2313680"/>
              <a:gd name="connsiteX71" fmla="*/ 2724150 w 2963138"/>
              <a:gd name="connsiteY71" fmla="*/ 9525 h 2313680"/>
              <a:gd name="connsiteX72" fmla="*/ 2381250 w 2963138"/>
              <a:gd name="connsiteY72" fmla="*/ 14287 h 2313680"/>
              <a:gd name="connsiteX73" fmla="*/ 2324100 w 2963138"/>
              <a:gd name="connsiteY73" fmla="*/ 23812 h 2313680"/>
              <a:gd name="connsiteX74" fmla="*/ 1909762 w 2963138"/>
              <a:gd name="connsiteY74" fmla="*/ 19050 h 2313680"/>
              <a:gd name="connsiteX75" fmla="*/ 1804987 w 2963138"/>
              <a:gd name="connsiteY75" fmla="*/ 9525 h 2313680"/>
              <a:gd name="connsiteX76" fmla="*/ 1776412 w 2963138"/>
              <a:gd name="connsiteY76" fmla="*/ 0 h 2313680"/>
              <a:gd name="connsiteX77" fmla="*/ 1528762 w 2963138"/>
              <a:gd name="connsiteY77" fmla="*/ 4762 h 2313680"/>
              <a:gd name="connsiteX78" fmla="*/ 1143000 w 2963138"/>
              <a:gd name="connsiteY78" fmla="*/ 38100 h 2313680"/>
              <a:gd name="connsiteX79" fmla="*/ 309562 w 2963138"/>
              <a:gd name="connsiteY79" fmla="*/ 23812 h 2313680"/>
              <a:gd name="connsiteX80" fmla="*/ 247650 w 2963138"/>
              <a:gd name="connsiteY80" fmla="*/ 14287 h 2313680"/>
              <a:gd name="connsiteX81" fmla="*/ 185737 w 2963138"/>
              <a:gd name="connsiteY81" fmla="*/ 9525 h 2313680"/>
              <a:gd name="connsiteX82" fmla="*/ 19050 w 2963138"/>
              <a:gd name="connsiteY82" fmla="*/ 14287 h 2313680"/>
              <a:gd name="connsiteX83" fmla="*/ 4762 w 2963138"/>
              <a:gd name="connsiteY83" fmla="*/ 19050 h 2313680"/>
              <a:gd name="connsiteX84" fmla="*/ 9525 w 2963138"/>
              <a:gd name="connsiteY84" fmla="*/ 85725 h 2313680"/>
              <a:gd name="connsiteX85" fmla="*/ 23812 w 2963138"/>
              <a:gd name="connsiteY85" fmla="*/ 171450 h 2313680"/>
              <a:gd name="connsiteX86" fmla="*/ 14287 w 2963138"/>
              <a:gd name="connsiteY86" fmla="*/ 390525 h 2313680"/>
              <a:gd name="connsiteX87" fmla="*/ 0 w 2963138"/>
              <a:gd name="connsiteY87" fmla="*/ 466725 h 2313680"/>
              <a:gd name="connsiteX88" fmla="*/ 9525 w 2963138"/>
              <a:gd name="connsiteY88" fmla="*/ 800100 h 2313680"/>
              <a:gd name="connsiteX89" fmla="*/ 9525 w 2963138"/>
              <a:gd name="connsiteY89" fmla="*/ 871537 h 2313680"/>
              <a:gd name="connsiteX90" fmla="*/ 14287 w 2963138"/>
              <a:gd name="connsiteY90" fmla="*/ 1157287 h 2313680"/>
              <a:gd name="connsiteX91" fmla="*/ 19050 w 2963138"/>
              <a:gd name="connsiteY91" fmla="*/ 1204912 h 2313680"/>
              <a:gd name="connsiteX92" fmla="*/ 28575 w 2963138"/>
              <a:gd name="connsiteY92" fmla="*/ 1243012 h 2313680"/>
              <a:gd name="connsiteX93" fmla="*/ 33337 w 2963138"/>
              <a:gd name="connsiteY93" fmla="*/ 1328737 h 2313680"/>
              <a:gd name="connsiteX94" fmla="*/ 23812 w 2963138"/>
              <a:gd name="connsiteY94" fmla="*/ 1476375 h 2313680"/>
              <a:gd name="connsiteX95" fmla="*/ 14287 w 2963138"/>
              <a:gd name="connsiteY95" fmla="*/ 1562100 h 2313680"/>
              <a:gd name="connsiteX96" fmla="*/ 9525 w 2963138"/>
              <a:gd name="connsiteY96" fmla="*/ 1819275 h 2313680"/>
              <a:gd name="connsiteX97" fmla="*/ 14287 w 2963138"/>
              <a:gd name="connsiteY97" fmla="*/ 2014537 h 2313680"/>
              <a:gd name="connsiteX98" fmla="*/ 23812 w 2963138"/>
              <a:gd name="connsiteY98" fmla="*/ 2066925 h 2313680"/>
              <a:gd name="connsiteX99" fmla="*/ 28575 w 2963138"/>
              <a:gd name="connsiteY99" fmla="*/ 2152650 h 2313680"/>
              <a:gd name="connsiteX100" fmla="*/ 23812 w 2963138"/>
              <a:gd name="connsiteY100" fmla="*/ 2238375 h 2313680"/>
              <a:gd name="connsiteX101" fmla="*/ 14287 w 2963138"/>
              <a:gd name="connsiteY101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52750 w 2963138"/>
              <a:gd name="connsiteY61" fmla="*/ 1938337 h 2313680"/>
              <a:gd name="connsiteX62" fmla="*/ 2962275 w 2963138"/>
              <a:gd name="connsiteY62" fmla="*/ 1804987 h 2313680"/>
              <a:gd name="connsiteX63" fmla="*/ 2952750 w 2963138"/>
              <a:gd name="connsiteY63" fmla="*/ 1366837 h 2313680"/>
              <a:gd name="connsiteX64" fmla="*/ 2947987 w 2963138"/>
              <a:gd name="connsiteY64" fmla="*/ 1081087 h 2313680"/>
              <a:gd name="connsiteX65" fmla="*/ 2947987 w 2963138"/>
              <a:gd name="connsiteY65" fmla="*/ 922337 h 2313680"/>
              <a:gd name="connsiteX66" fmla="*/ 2952750 w 2963138"/>
              <a:gd name="connsiteY66" fmla="*/ 571500 h 2313680"/>
              <a:gd name="connsiteX67" fmla="*/ 2957512 w 2963138"/>
              <a:gd name="connsiteY67" fmla="*/ 342900 h 2313680"/>
              <a:gd name="connsiteX68" fmla="*/ 2957512 w 2963138"/>
              <a:gd name="connsiteY68" fmla="*/ 34925 h 2313680"/>
              <a:gd name="connsiteX69" fmla="*/ 2867025 w 2963138"/>
              <a:gd name="connsiteY69" fmla="*/ 19050 h 2313680"/>
              <a:gd name="connsiteX70" fmla="*/ 2724150 w 2963138"/>
              <a:gd name="connsiteY70" fmla="*/ 9525 h 2313680"/>
              <a:gd name="connsiteX71" fmla="*/ 2381250 w 2963138"/>
              <a:gd name="connsiteY71" fmla="*/ 14287 h 2313680"/>
              <a:gd name="connsiteX72" fmla="*/ 2324100 w 2963138"/>
              <a:gd name="connsiteY72" fmla="*/ 23812 h 2313680"/>
              <a:gd name="connsiteX73" fmla="*/ 1909762 w 2963138"/>
              <a:gd name="connsiteY73" fmla="*/ 19050 h 2313680"/>
              <a:gd name="connsiteX74" fmla="*/ 1804987 w 2963138"/>
              <a:gd name="connsiteY74" fmla="*/ 9525 h 2313680"/>
              <a:gd name="connsiteX75" fmla="*/ 1776412 w 2963138"/>
              <a:gd name="connsiteY75" fmla="*/ 0 h 2313680"/>
              <a:gd name="connsiteX76" fmla="*/ 1528762 w 2963138"/>
              <a:gd name="connsiteY76" fmla="*/ 4762 h 2313680"/>
              <a:gd name="connsiteX77" fmla="*/ 1143000 w 2963138"/>
              <a:gd name="connsiteY77" fmla="*/ 38100 h 2313680"/>
              <a:gd name="connsiteX78" fmla="*/ 309562 w 2963138"/>
              <a:gd name="connsiteY78" fmla="*/ 23812 h 2313680"/>
              <a:gd name="connsiteX79" fmla="*/ 247650 w 2963138"/>
              <a:gd name="connsiteY79" fmla="*/ 14287 h 2313680"/>
              <a:gd name="connsiteX80" fmla="*/ 185737 w 2963138"/>
              <a:gd name="connsiteY80" fmla="*/ 9525 h 2313680"/>
              <a:gd name="connsiteX81" fmla="*/ 19050 w 2963138"/>
              <a:gd name="connsiteY81" fmla="*/ 14287 h 2313680"/>
              <a:gd name="connsiteX82" fmla="*/ 4762 w 2963138"/>
              <a:gd name="connsiteY82" fmla="*/ 19050 h 2313680"/>
              <a:gd name="connsiteX83" fmla="*/ 9525 w 2963138"/>
              <a:gd name="connsiteY83" fmla="*/ 85725 h 2313680"/>
              <a:gd name="connsiteX84" fmla="*/ 23812 w 2963138"/>
              <a:gd name="connsiteY84" fmla="*/ 171450 h 2313680"/>
              <a:gd name="connsiteX85" fmla="*/ 14287 w 2963138"/>
              <a:gd name="connsiteY85" fmla="*/ 390525 h 2313680"/>
              <a:gd name="connsiteX86" fmla="*/ 0 w 2963138"/>
              <a:gd name="connsiteY86" fmla="*/ 466725 h 2313680"/>
              <a:gd name="connsiteX87" fmla="*/ 9525 w 2963138"/>
              <a:gd name="connsiteY87" fmla="*/ 800100 h 2313680"/>
              <a:gd name="connsiteX88" fmla="*/ 9525 w 2963138"/>
              <a:gd name="connsiteY88" fmla="*/ 871537 h 2313680"/>
              <a:gd name="connsiteX89" fmla="*/ 14287 w 2963138"/>
              <a:gd name="connsiteY89" fmla="*/ 1157287 h 2313680"/>
              <a:gd name="connsiteX90" fmla="*/ 19050 w 2963138"/>
              <a:gd name="connsiteY90" fmla="*/ 1204912 h 2313680"/>
              <a:gd name="connsiteX91" fmla="*/ 28575 w 2963138"/>
              <a:gd name="connsiteY91" fmla="*/ 1243012 h 2313680"/>
              <a:gd name="connsiteX92" fmla="*/ 33337 w 2963138"/>
              <a:gd name="connsiteY92" fmla="*/ 1328737 h 2313680"/>
              <a:gd name="connsiteX93" fmla="*/ 23812 w 2963138"/>
              <a:gd name="connsiteY93" fmla="*/ 1476375 h 2313680"/>
              <a:gd name="connsiteX94" fmla="*/ 14287 w 2963138"/>
              <a:gd name="connsiteY94" fmla="*/ 1562100 h 2313680"/>
              <a:gd name="connsiteX95" fmla="*/ 9525 w 2963138"/>
              <a:gd name="connsiteY95" fmla="*/ 1819275 h 2313680"/>
              <a:gd name="connsiteX96" fmla="*/ 14287 w 2963138"/>
              <a:gd name="connsiteY96" fmla="*/ 2014537 h 2313680"/>
              <a:gd name="connsiteX97" fmla="*/ 23812 w 2963138"/>
              <a:gd name="connsiteY97" fmla="*/ 2066925 h 2313680"/>
              <a:gd name="connsiteX98" fmla="*/ 28575 w 2963138"/>
              <a:gd name="connsiteY98" fmla="*/ 2152650 h 2313680"/>
              <a:gd name="connsiteX99" fmla="*/ 23812 w 2963138"/>
              <a:gd name="connsiteY99" fmla="*/ 2238375 h 2313680"/>
              <a:gd name="connsiteX100" fmla="*/ 14287 w 2963138"/>
              <a:gd name="connsiteY100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2143125 h 2313680"/>
              <a:gd name="connsiteX59" fmla="*/ 2938462 w 2963138"/>
              <a:gd name="connsiteY59" fmla="*/ 2109787 h 2313680"/>
              <a:gd name="connsiteX60" fmla="*/ 2943225 w 2963138"/>
              <a:gd name="connsiteY60" fmla="*/ 1966912 h 2313680"/>
              <a:gd name="connsiteX61" fmla="*/ 2962275 w 2963138"/>
              <a:gd name="connsiteY61" fmla="*/ 1804987 h 2313680"/>
              <a:gd name="connsiteX62" fmla="*/ 2952750 w 2963138"/>
              <a:gd name="connsiteY62" fmla="*/ 1366837 h 2313680"/>
              <a:gd name="connsiteX63" fmla="*/ 2947987 w 2963138"/>
              <a:gd name="connsiteY63" fmla="*/ 1081087 h 2313680"/>
              <a:gd name="connsiteX64" fmla="*/ 2947987 w 2963138"/>
              <a:gd name="connsiteY64" fmla="*/ 922337 h 2313680"/>
              <a:gd name="connsiteX65" fmla="*/ 2952750 w 2963138"/>
              <a:gd name="connsiteY65" fmla="*/ 571500 h 2313680"/>
              <a:gd name="connsiteX66" fmla="*/ 2957512 w 2963138"/>
              <a:gd name="connsiteY66" fmla="*/ 342900 h 2313680"/>
              <a:gd name="connsiteX67" fmla="*/ 2957512 w 2963138"/>
              <a:gd name="connsiteY67" fmla="*/ 34925 h 2313680"/>
              <a:gd name="connsiteX68" fmla="*/ 2867025 w 2963138"/>
              <a:gd name="connsiteY68" fmla="*/ 19050 h 2313680"/>
              <a:gd name="connsiteX69" fmla="*/ 2724150 w 2963138"/>
              <a:gd name="connsiteY69" fmla="*/ 9525 h 2313680"/>
              <a:gd name="connsiteX70" fmla="*/ 2381250 w 2963138"/>
              <a:gd name="connsiteY70" fmla="*/ 14287 h 2313680"/>
              <a:gd name="connsiteX71" fmla="*/ 2324100 w 2963138"/>
              <a:gd name="connsiteY71" fmla="*/ 23812 h 2313680"/>
              <a:gd name="connsiteX72" fmla="*/ 1909762 w 2963138"/>
              <a:gd name="connsiteY72" fmla="*/ 19050 h 2313680"/>
              <a:gd name="connsiteX73" fmla="*/ 1804987 w 2963138"/>
              <a:gd name="connsiteY73" fmla="*/ 9525 h 2313680"/>
              <a:gd name="connsiteX74" fmla="*/ 1776412 w 2963138"/>
              <a:gd name="connsiteY74" fmla="*/ 0 h 2313680"/>
              <a:gd name="connsiteX75" fmla="*/ 1528762 w 2963138"/>
              <a:gd name="connsiteY75" fmla="*/ 4762 h 2313680"/>
              <a:gd name="connsiteX76" fmla="*/ 1143000 w 2963138"/>
              <a:gd name="connsiteY76" fmla="*/ 38100 h 2313680"/>
              <a:gd name="connsiteX77" fmla="*/ 309562 w 2963138"/>
              <a:gd name="connsiteY77" fmla="*/ 23812 h 2313680"/>
              <a:gd name="connsiteX78" fmla="*/ 247650 w 2963138"/>
              <a:gd name="connsiteY78" fmla="*/ 14287 h 2313680"/>
              <a:gd name="connsiteX79" fmla="*/ 185737 w 2963138"/>
              <a:gd name="connsiteY79" fmla="*/ 9525 h 2313680"/>
              <a:gd name="connsiteX80" fmla="*/ 19050 w 2963138"/>
              <a:gd name="connsiteY80" fmla="*/ 14287 h 2313680"/>
              <a:gd name="connsiteX81" fmla="*/ 4762 w 2963138"/>
              <a:gd name="connsiteY81" fmla="*/ 19050 h 2313680"/>
              <a:gd name="connsiteX82" fmla="*/ 9525 w 2963138"/>
              <a:gd name="connsiteY82" fmla="*/ 85725 h 2313680"/>
              <a:gd name="connsiteX83" fmla="*/ 23812 w 2963138"/>
              <a:gd name="connsiteY83" fmla="*/ 171450 h 2313680"/>
              <a:gd name="connsiteX84" fmla="*/ 14287 w 2963138"/>
              <a:gd name="connsiteY84" fmla="*/ 390525 h 2313680"/>
              <a:gd name="connsiteX85" fmla="*/ 0 w 2963138"/>
              <a:gd name="connsiteY85" fmla="*/ 466725 h 2313680"/>
              <a:gd name="connsiteX86" fmla="*/ 9525 w 2963138"/>
              <a:gd name="connsiteY86" fmla="*/ 800100 h 2313680"/>
              <a:gd name="connsiteX87" fmla="*/ 9525 w 2963138"/>
              <a:gd name="connsiteY87" fmla="*/ 871537 h 2313680"/>
              <a:gd name="connsiteX88" fmla="*/ 14287 w 2963138"/>
              <a:gd name="connsiteY88" fmla="*/ 1157287 h 2313680"/>
              <a:gd name="connsiteX89" fmla="*/ 19050 w 2963138"/>
              <a:gd name="connsiteY89" fmla="*/ 1204912 h 2313680"/>
              <a:gd name="connsiteX90" fmla="*/ 28575 w 2963138"/>
              <a:gd name="connsiteY90" fmla="*/ 1243012 h 2313680"/>
              <a:gd name="connsiteX91" fmla="*/ 33337 w 2963138"/>
              <a:gd name="connsiteY91" fmla="*/ 1328737 h 2313680"/>
              <a:gd name="connsiteX92" fmla="*/ 23812 w 2963138"/>
              <a:gd name="connsiteY92" fmla="*/ 1476375 h 2313680"/>
              <a:gd name="connsiteX93" fmla="*/ 14287 w 2963138"/>
              <a:gd name="connsiteY93" fmla="*/ 1562100 h 2313680"/>
              <a:gd name="connsiteX94" fmla="*/ 9525 w 2963138"/>
              <a:gd name="connsiteY94" fmla="*/ 1819275 h 2313680"/>
              <a:gd name="connsiteX95" fmla="*/ 14287 w 2963138"/>
              <a:gd name="connsiteY95" fmla="*/ 2014537 h 2313680"/>
              <a:gd name="connsiteX96" fmla="*/ 23812 w 2963138"/>
              <a:gd name="connsiteY96" fmla="*/ 2066925 h 2313680"/>
              <a:gd name="connsiteX97" fmla="*/ 28575 w 2963138"/>
              <a:gd name="connsiteY97" fmla="*/ 2152650 h 2313680"/>
              <a:gd name="connsiteX98" fmla="*/ 23812 w 2963138"/>
              <a:gd name="connsiteY98" fmla="*/ 2238375 h 2313680"/>
              <a:gd name="connsiteX99" fmla="*/ 14287 w 2963138"/>
              <a:gd name="connsiteY99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38462 w 2963138"/>
              <a:gd name="connsiteY58" fmla="*/ 2109787 h 2313680"/>
              <a:gd name="connsiteX59" fmla="*/ 2943225 w 2963138"/>
              <a:gd name="connsiteY59" fmla="*/ 1966912 h 2313680"/>
              <a:gd name="connsiteX60" fmla="*/ 2962275 w 2963138"/>
              <a:gd name="connsiteY60" fmla="*/ 1804987 h 2313680"/>
              <a:gd name="connsiteX61" fmla="*/ 2952750 w 2963138"/>
              <a:gd name="connsiteY61" fmla="*/ 1366837 h 2313680"/>
              <a:gd name="connsiteX62" fmla="*/ 2947987 w 2963138"/>
              <a:gd name="connsiteY62" fmla="*/ 1081087 h 2313680"/>
              <a:gd name="connsiteX63" fmla="*/ 2947987 w 2963138"/>
              <a:gd name="connsiteY63" fmla="*/ 922337 h 2313680"/>
              <a:gd name="connsiteX64" fmla="*/ 2952750 w 2963138"/>
              <a:gd name="connsiteY64" fmla="*/ 571500 h 2313680"/>
              <a:gd name="connsiteX65" fmla="*/ 2957512 w 2963138"/>
              <a:gd name="connsiteY65" fmla="*/ 342900 h 2313680"/>
              <a:gd name="connsiteX66" fmla="*/ 2957512 w 2963138"/>
              <a:gd name="connsiteY66" fmla="*/ 34925 h 2313680"/>
              <a:gd name="connsiteX67" fmla="*/ 2867025 w 2963138"/>
              <a:gd name="connsiteY67" fmla="*/ 19050 h 2313680"/>
              <a:gd name="connsiteX68" fmla="*/ 2724150 w 2963138"/>
              <a:gd name="connsiteY68" fmla="*/ 9525 h 2313680"/>
              <a:gd name="connsiteX69" fmla="*/ 2381250 w 2963138"/>
              <a:gd name="connsiteY69" fmla="*/ 14287 h 2313680"/>
              <a:gd name="connsiteX70" fmla="*/ 2324100 w 2963138"/>
              <a:gd name="connsiteY70" fmla="*/ 23812 h 2313680"/>
              <a:gd name="connsiteX71" fmla="*/ 1909762 w 2963138"/>
              <a:gd name="connsiteY71" fmla="*/ 19050 h 2313680"/>
              <a:gd name="connsiteX72" fmla="*/ 1804987 w 2963138"/>
              <a:gd name="connsiteY72" fmla="*/ 9525 h 2313680"/>
              <a:gd name="connsiteX73" fmla="*/ 1776412 w 2963138"/>
              <a:gd name="connsiteY73" fmla="*/ 0 h 2313680"/>
              <a:gd name="connsiteX74" fmla="*/ 1528762 w 2963138"/>
              <a:gd name="connsiteY74" fmla="*/ 4762 h 2313680"/>
              <a:gd name="connsiteX75" fmla="*/ 1143000 w 2963138"/>
              <a:gd name="connsiteY75" fmla="*/ 38100 h 2313680"/>
              <a:gd name="connsiteX76" fmla="*/ 309562 w 2963138"/>
              <a:gd name="connsiteY76" fmla="*/ 23812 h 2313680"/>
              <a:gd name="connsiteX77" fmla="*/ 247650 w 2963138"/>
              <a:gd name="connsiteY77" fmla="*/ 14287 h 2313680"/>
              <a:gd name="connsiteX78" fmla="*/ 185737 w 2963138"/>
              <a:gd name="connsiteY78" fmla="*/ 9525 h 2313680"/>
              <a:gd name="connsiteX79" fmla="*/ 19050 w 2963138"/>
              <a:gd name="connsiteY79" fmla="*/ 14287 h 2313680"/>
              <a:gd name="connsiteX80" fmla="*/ 4762 w 2963138"/>
              <a:gd name="connsiteY80" fmla="*/ 19050 h 2313680"/>
              <a:gd name="connsiteX81" fmla="*/ 9525 w 2963138"/>
              <a:gd name="connsiteY81" fmla="*/ 85725 h 2313680"/>
              <a:gd name="connsiteX82" fmla="*/ 23812 w 2963138"/>
              <a:gd name="connsiteY82" fmla="*/ 171450 h 2313680"/>
              <a:gd name="connsiteX83" fmla="*/ 14287 w 2963138"/>
              <a:gd name="connsiteY83" fmla="*/ 390525 h 2313680"/>
              <a:gd name="connsiteX84" fmla="*/ 0 w 2963138"/>
              <a:gd name="connsiteY84" fmla="*/ 466725 h 2313680"/>
              <a:gd name="connsiteX85" fmla="*/ 9525 w 2963138"/>
              <a:gd name="connsiteY85" fmla="*/ 800100 h 2313680"/>
              <a:gd name="connsiteX86" fmla="*/ 9525 w 2963138"/>
              <a:gd name="connsiteY86" fmla="*/ 871537 h 2313680"/>
              <a:gd name="connsiteX87" fmla="*/ 14287 w 2963138"/>
              <a:gd name="connsiteY87" fmla="*/ 1157287 h 2313680"/>
              <a:gd name="connsiteX88" fmla="*/ 19050 w 2963138"/>
              <a:gd name="connsiteY88" fmla="*/ 1204912 h 2313680"/>
              <a:gd name="connsiteX89" fmla="*/ 28575 w 2963138"/>
              <a:gd name="connsiteY89" fmla="*/ 1243012 h 2313680"/>
              <a:gd name="connsiteX90" fmla="*/ 33337 w 2963138"/>
              <a:gd name="connsiteY90" fmla="*/ 1328737 h 2313680"/>
              <a:gd name="connsiteX91" fmla="*/ 23812 w 2963138"/>
              <a:gd name="connsiteY91" fmla="*/ 1476375 h 2313680"/>
              <a:gd name="connsiteX92" fmla="*/ 14287 w 2963138"/>
              <a:gd name="connsiteY92" fmla="*/ 1562100 h 2313680"/>
              <a:gd name="connsiteX93" fmla="*/ 9525 w 2963138"/>
              <a:gd name="connsiteY93" fmla="*/ 1819275 h 2313680"/>
              <a:gd name="connsiteX94" fmla="*/ 14287 w 2963138"/>
              <a:gd name="connsiteY94" fmla="*/ 2014537 h 2313680"/>
              <a:gd name="connsiteX95" fmla="*/ 23812 w 2963138"/>
              <a:gd name="connsiteY95" fmla="*/ 2066925 h 2313680"/>
              <a:gd name="connsiteX96" fmla="*/ 28575 w 2963138"/>
              <a:gd name="connsiteY96" fmla="*/ 2152650 h 2313680"/>
              <a:gd name="connsiteX97" fmla="*/ 23812 w 2963138"/>
              <a:gd name="connsiteY97" fmla="*/ 2238375 h 2313680"/>
              <a:gd name="connsiteX98" fmla="*/ 14287 w 2963138"/>
              <a:gd name="connsiteY98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43225 w 2963138"/>
              <a:gd name="connsiteY58" fmla="*/ 1966912 h 2313680"/>
              <a:gd name="connsiteX59" fmla="*/ 2962275 w 2963138"/>
              <a:gd name="connsiteY59" fmla="*/ 1804987 h 2313680"/>
              <a:gd name="connsiteX60" fmla="*/ 2952750 w 2963138"/>
              <a:gd name="connsiteY60" fmla="*/ 1366837 h 2313680"/>
              <a:gd name="connsiteX61" fmla="*/ 2947987 w 2963138"/>
              <a:gd name="connsiteY61" fmla="*/ 1081087 h 2313680"/>
              <a:gd name="connsiteX62" fmla="*/ 2947987 w 2963138"/>
              <a:gd name="connsiteY62" fmla="*/ 922337 h 2313680"/>
              <a:gd name="connsiteX63" fmla="*/ 2952750 w 2963138"/>
              <a:gd name="connsiteY63" fmla="*/ 571500 h 2313680"/>
              <a:gd name="connsiteX64" fmla="*/ 2957512 w 2963138"/>
              <a:gd name="connsiteY64" fmla="*/ 342900 h 2313680"/>
              <a:gd name="connsiteX65" fmla="*/ 2957512 w 2963138"/>
              <a:gd name="connsiteY65" fmla="*/ 34925 h 2313680"/>
              <a:gd name="connsiteX66" fmla="*/ 2867025 w 2963138"/>
              <a:gd name="connsiteY66" fmla="*/ 19050 h 2313680"/>
              <a:gd name="connsiteX67" fmla="*/ 2724150 w 2963138"/>
              <a:gd name="connsiteY67" fmla="*/ 9525 h 2313680"/>
              <a:gd name="connsiteX68" fmla="*/ 2381250 w 2963138"/>
              <a:gd name="connsiteY68" fmla="*/ 14287 h 2313680"/>
              <a:gd name="connsiteX69" fmla="*/ 2324100 w 2963138"/>
              <a:gd name="connsiteY69" fmla="*/ 23812 h 2313680"/>
              <a:gd name="connsiteX70" fmla="*/ 1909762 w 2963138"/>
              <a:gd name="connsiteY70" fmla="*/ 19050 h 2313680"/>
              <a:gd name="connsiteX71" fmla="*/ 1804987 w 2963138"/>
              <a:gd name="connsiteY71" fmla="*/ 9525 h 2313680"/>
              <a:gd name="connsiteX72" fmla="*/ 1776412 w 2963138"/>
              <a:gd name="connsiteY72" fmla="*/ 0 h 2313680"/>
              <a:gd name="connsiteX73" fmla="*/ 1528762 w 2963138"/>
              <a:gd name="connsiteY73" fmla="*/ 4762 h 2313680"/>
              <a:gd name="connsiteX74" fmla="*/ 1143000 w 2963138"/>
              <a:gd name="connsiteY74" fmla="*/ 38100 h 2313680"/>
              <a:gd name="connsiteX75" fmla="*/ 309562 w 2963138"/>
              <a:gd name="connsiteY75" fmla="*/ 23812 h 2313680"/>
              <a:gd name="connsiteX76" fmla="*/ 247650 w 2963138"/>
              <a:gd name="connsiteY76" fmla="*/ 14287 h 2313680"/>
              <a:gd name="connsiteX77" fmla="*/ 185737 w 2963138"/>
              <a:gd name="connsiteY77" fmla="*/ 9525 h 2313680"/>
              <a:gd name="connsiteX78" fmla="*/ 19050 w 2963138"/>
              <a:gd name="connsiteY78" fmla="*/ 14287 h 2313680"/>
              <a:gd name="connsiteX79" fmla="*/ 4762 w 2963138"/>
              <a:gd name="connsiteY79" fmla="*/ 19050 h 2313680"/>
              <a:gd name="connsiteX80" fmla="*/ 9525 w 2963138"/>
              <a:gd name="connsiteY80" fmla="*/ 85725 h 2313680"/>
              <a:gd name="connsiteX81" fmla="*/ 23812 w 2963138"/>
              <a:gd name="connsiteY81" fmla="*/ 171450 h 2313680"/>
              <a:gd name="connsiteX82" fmla="*/ 14287 w 2963138"/>
              <a:gd name="connsiteY82" fmla="*/ 390525 h 2313680"/>
              <a:gd name="connsiteX83" fmla="*/ 0 w 2963138"/>
              <a:gd name="connsiteY83" fmla="*/ 466725 h 2313680"/>
              <a:gd name="connsiteX84" fmla="*/ 9525 w 2963138"/>
              <a:gd name="connsiteY84" fmla="*/ 800100 h 2313680"/>
              <a:gd name="connsiteX85" fmla="*/ 9525 w 2963138"/>
              <a:gd name="connsiteY85" fmla="*/ 871537 h 2313680"/>
              <a:gd name="connsiteX86" fmla="*/ 14287 w 2963138"/>
              <a:gd name="connsiteY86" fmla="*/ 1157287 h 2313680"/>
              <a:gd name="connsiteX87" fmla="*/ 19050 w 2963138"/>
              <a:gd name="connsiteY87" fmla="*/ 1204912 h 2313680"/>
              <a:gd name="connsiteX88" fmla="*/ 28575 w 2963138"/>
              <a:gd name="connsiteY88" fmla="*/ 1243012 h 2313680"/>
              <a:gd name="connsiteX89" fmla="*/ 33337 w 2963138"/>
              <a:gd name="connsiteY89" fmla="*/ 1328737 h 2313680"/>
              <a:gd name="connsiteX90" fmla="*/ 23812 w 2963138"/>
              <a:gd name="connsiteY90" fmla="*/ 1476375 h 2313680"/>
              <a:gd name="connsiteX91" fmla="*/ 14287 w 2963138"/>
              <a:gd name="connsiteY91" fmla="*/ 1562100 h 2313680"/>
              <a:gd name="connsiteX92" fmla="*/ 9525 w 2963138"/>
              <a:gd name="connsiteY92" fmla="*/ 1819275 h 2313680"/>
              <a:gd name="connsiteX93" fmla="*/ 14287 w 2963138"/>
              <a:gd name="connsiteY93" fmla="*/ 2014537 h 2313680"/>
              <a:gd name="connsiteX94" fmla="*/ 23812 w 2963138"/>
              <a:gd name="connsiteY94" fmla="*/ 2066925 h 2313680"/>
              <a:gd name="connsiteX95" fmla="*/ 28575 w 2963138"/>
              <a:gd name="connsiteY95" fmla="*/ 2152650 h 2313680"/>
              <a:gd name="connsiteX96" fmla="*/ 23812 w 2963138"/>
              <a:gd name="connsiteY96" fmla="*/ 2238375 h 2313680"/>
              <a:gd name="connsiteX97" fmla="*/ 14287 w 2963138"/>
              <a:gd name="connsiteY97" fmla="*/ 2300287 h 2313680"/>
              <a:gd name="connsiteX0" fmla="*/ 14287 w 2963138"/>
              <a:gd name="connsiteY0" fmla="*/ 2300287 h 2313680"/>
              <a:gd name="connsiteX1" fmla="*/ 61912 w 2963138"/>
              <a:gd name="connsiteY1" fmla="*/ 2295525 h 2313680"/>
              <a:gd name="connsiteX2" fmla="*/ 95250 w 2963138"/>
              <a:gd name="connsiteY2" fmla="*/ 2286000 h 2313680"/>
              <a:gd name="connsiteX3" fmla="*/ 366712 w 2963138"/>
              <a:gd name="connsiteY3" fmla="*/ 2271712 h 2313680"/>
              <a:gd name="connsiteX4" fmla="*/ 361950 w 2963138"/>
              <a:gd name="connsiteY4" fmla="*/ 2214562 h 2313680"/>
              <a:gd name="connsiteX5" fmla="*/ 381000 w 2963138"/>
              <a:gd name="connsiteY5" fmla="*/ 1985962 h 2313680"/>
              <a:gd name="connsiteX6" fmla="*/ 376237 w 2963138"/>
              <a:gd name="connsiteY6" fmla="*/ 1671637 h 2313680"/>
              <a:gd name="connsiteX7" fmla="*/ 371475 w 2963138"/>
              <a:gd name="connsiteY7" fmla="*/ 1643062 h 2313680"/>
              <a:gd name="connsiteX8" fmla="*/ 366712 w 2963138"/>
              <a:gd name="connsiteY8" fmla="*/ 1585912 h 2313680"/>
              <a:gd name="connsiteX9" fmla="*/ 376237 w 2963138"/>
              <a:gd name="connsiteY9" fmla="*/ 1123950 h 2313680"/>
              <a:gd name="connsiteX10" fmla="*/ 381000 w 2963138"/>
              <a:gd name="connsiteY10" fmla="*/ 1095375 h 2313680"/>
              <a:gd name="connsiteX11" fmla="*/ 385762 w 2963138"/>
              <a:gd name="connsiteY11" fmla="*/ 1062037 h 2313680"/>
              <a:gd name="connsiteX12" fmla="*/ 381000 w 2963138"/>
              <a:gd name="connsiteY12" fmla="*/ 561975 h 2313680"/>
              <a:gd name="connsiteX13" fmla="*/ 376237 w 2963138"/>
              <a:gd name="connsiteY13" fmla="*/ 519112 h 2313680"/>
              <a:gd name="connsiteX14" fmla="*/ 371475 w 2963138"/>
              <a:gd name="connsiteY14" fmla="*/ 471487 h 2313680"/>
              <a:gd name="connsiteX15" fmla="*/ 376237 w 2963138"/>
              <a:gd name="connsiteY15" fmla="*/ 414337 h 2313680"/>
              <a:gd name="connsiteX16" fmla="*/ 433387 w 2963138"/>
              <a:gd name="connsiteY16" fmla="*/ 419100 h 2313680"/>
              <a:gd name="connsiteX17" fmla="*/ 523875 w 2963138"/>
              <a:gd name="connsiteY17" fmla="*/ 414337 h 2313680"/>
              <a:gd name="connsiteX18" fmla="*/ 881062 w 2963138"/>
              <a:gd name="connsiteY18" fmla="*/ 414337 h 2313680"/>
              <a:gd name="connsiteX19" fmla="*/ 914400 w 2963138"/>
              <a:gd name="connsiteY19" fmla="*/ 423862 h 2313680"/>
              <a:gd name="connsiteX20" fmla="*/ 962025 w 2963138"/>
              <a:gd name="connsiteY20" fmla="*/ 428625 h 2313680"/>
              <a:gd name="connsiteX21" fmla="*/ 985837 w 2963138"/>
              <a:gd name="connsiteY21" fmla="*/ 433387 h 2313680"/>
              <a:gd name="connsiteX22" fmla="*/ 1147762 w 2963138"/>
              <a:gd name="connsiteY22" fmla="*/ 423862 h 2313680"/>
              <a:gd name="connsiteX23" fmla="*/ 1166812 w 2963138"/>
              <a:gd name="connsiteY23" fmla="*/ 419100 h 2313680"/>
              <a:gd name="connsiteX24" fmla="*/ 1209675 w 2963138"/>
              <a:gd name="connsiteY24" fmla="*/ 414337 h 2313680"/>
              <a:gd name="connsiteX25" fmla="*/ 1238250 w 2963138"/>
              <a:gd name="connsiteY25" fmla="*/ 409575 h 2313680"/>
              <a:gd name="connsiteX26" fmla="*/ 2433637 w 2963138"/>
              <a:gd name="connsiteY26" fmla="*/ 404812 h 2313680"/>
              <a:gd name="connsiteX27" fmla="*/ 2571750 w 2963138"/>
              <a:gd name="connsiteY27" fmla="*/ 404812 h 2313680"/>
              <a:gd name="connsiteX28" fmla="*/ 2609850 w 2963138"/>
              <a:gd name="connsiteY28" fmla="*/ 423862 h 2313680"/>
              <a:gd name="connsiteX29" fmla="*/ 2619375 w 2963138"/>
              <a:gd name="connsiteY29" fmla="*/ 457200 h 2313680"/>
              <a:gd name="connsiteX30" fmla="*/ 2609850 w 2963138"/>
              <a:gd name="connsiteY30" fmla="*/ 614362 h 2313680"/>
              <a:gd name="connsiteX31" fmla="*/ 2600325 w 2963138"/>
              <a:gd name="connsiteY31" fmla="*/ 652462 h 2313680"/>
              <a:gd name="connsiteX32" fmla="*/ 2595562 w 2963138"/>
              <a:gd name="connsiteY32" fmla="*/ 676275 h 2313680"/>
              <a:gd name="connsiteX33" fmla="*/ 2586037 w 2963138"/>
              <a:gd name="connsiteY33" fmla="*/ 714375 h 2313680"/>
              <a:gd name="connsiteX34" fmla="*/ 2586037 w 2963138"/>
              <a:gd name="connsiteY34" fmla="*/ 1071562 h 2313680"/>
              <a:gd name="connsiteX35" fmla="*/ 2590800 w 2963138"/>
              <a:gd name="connsiteY35" fmla="*/ 1104900 h 2313680"/>
              <a:gd name="connsiteX36" fmla="*/ 2600325 w 2963138"/>
              <a:gd name="connsiteY36" fmla="*/ 1176337 h 2313680"/>
              <a:gd name="connsiteX37" fmla="*/ 2605087 w 2963138"/>
              <a:gd name="connsiteY37" fmla="*/ 1209675 h 2313680"/>
              <a:gd name="connsiteX38" fmla="*/ 2624137 w 2963138"/>
              <a:gd name="connsiteY38" fmla="*/ 1314450 h 2313680"/>
              <a:gd name="connsiteX39" fmla="*/ 2619375 w 2963138"/>
              <a:gd name="connsiteY39" fmla="*/ 1371600 h 2313680"/>
              <a:gd name="connsiteX40" fmla="*/ 2614612 w 2963138"/>
              <a:gd name="connsiteY40" fmla="*/ 1443037 h 2313680"/>
              <a:gd name="connsiteX41" fmla="*/ 2600325 w 2963138"/>
              <a:gd name="connsiteY41" fmla="*/ 1485900 h 2313680"/>
              <a:gd name="connsiteX42" fmla="*/ 2595562 w 2963138"/>
              <a:gd name="connsiteY42" fmla="*/ 1514475 h 2313680"/>
              <a:gd name="connsiteX43" fmla="*/ 2581275 w 2963138"/>
              <a:gd name="connsiteY43" fmla="*/ 1652587 h 2313680"/>
              <a:gd name="connsiteX44" fmla="*/ 2586037 w 2963138"/>
              <a:gd name="connsiteY44" fmla="*/ 1933575 h 2313680"/>
              <a:gd name="connsiteX45" fmla="*/ 2590800 w 2963138"/>
              <a:gd name="connsiteY45" fmla="*/ 1966912 h 2313680"/>
              <a:gd name="connsiteX46" fmla="*/ 2605087 w 2963138"/>
              <a:gd name="connsiteY46" fmla="*/ 2005012 h 2313680"/>
              <a:gd name="connsiteX47" fmla="*/ 2614612 w 2963138"/>
              <a:gd name="connsiteY47" fmla="*/ 2066925 h 2313680"/>
              <a:gd name="connsiteX48" fmla="*/ 2628900 w 2963138"/>
              <a:gd name="connsiteY48" fmla="*/ 2152650 h 2313680"/>
              <a:gd name="connsiteX49" fmla="*/ 2643187 w 2963138"/>
              <a:gd name="connsiteY49" fmla="*/ 2171700 h 2313680"/>
              <a:gd name="connsiteX50" fmla="*/ 2638425 w 2963138"/>
              <a:gd name="connsiteY50" fmla="*/ 2276475 h 2313680"/>
              <a:gd name="connsiteX51" fmla="*/ 2643187 w 2963138"/>
              <a:gd name="connsiteY51" fmla="*/ 2295525 h 2313680"/>
              <a:gd name="connsiteX52" fmla="*/ 2662237 w 2963138"/>
              <a:gd name="connsiteY52" fmla="*/ 2300287 h 2313680"/>
              <a:gd name="connsiteX53" fmla="*/ 2843212 w 2963138"/>
              <a:gd name="connsiteY53" fmla="*/ 2305050 h 2313680"/>
              <a:gd name="connsiteX54" fmla="*/ 2905125 w 2963138"/>
              <a:gd name="connsiteY54" fmla="*/ 2309812 h 2313680"/>
              <a:gd name="connsiteX55" fmla="*/ 2957512 w 2963138"/>
              <a:gd name="connsiteY55" fmla="*/ 2305050 h 2313680"/>
              <a:gd name="connsiteX56" fmla="*/ 2952750 w 2963138"/>
              <a:gd name="connsiteY56" fmla="*/ 2200275 h 2313680"/>
              <a:gd name="connsiteX57" fmla="*/ 2947987 w 2963138"/>
              <a:gd name="connsiteY57" fmla="*/ 2181225 h 2313680"/>
              <a:gd name="connsiteX58" fmla="*/ 2955925 w 2963138"/>
              <a:gd name="connsiteY58" fmla="*/ 2008187 h 2313680"/>
              <a:gd name="connsiteX59" fmla="*/ 2962275 w 2963138"/>
              <a:gd name="connsiteY59" fmla="*/ 1804987 h 2313680"/>
              <a:gd name="connsiteX60" fmla="*/ 2952750 w 2963138"/>
              <a:gd name="connsiteY60" fmla="*/ 1366837 h 2313680"/>
              <a:gd name="connsiteX61" fmla="*/ 2947987 w 2963138"/>
              <a:gd name="connsiteY61" fmla="*/ 1081087 h 2313680"/>
              <a:gd name="connsiteX62" fmla="*/ 2947987 w 2963138"/>
              <a:gd name="connsiteY62" fmla="*/ 922337 h 2313680"/>
              <a:gd name="connsiteX63" fmla="*/ 2952750 w 2963138"/>
              <a:gd name="connsiteY63" fmla="*/ 571500 h 2313680"/>
              <a:gd name="connsiteX64" fmla="*/ 2957512 w 2963138"/>
              <a:gd name="connsiteY64" fmla="*/ 342900 h 2313680"/>
              <a:gd name="connsiteX65" fmla="*/ 2957512 w 2963138"/>
              <a:gd name="connsiteY65" fmla="*/ 34925 h 2313680"/>
              <a:gd name="connsiteX66" fmla="*/ 2867025 w 2963138"/>
              <a:gd name="connsiteY66" fmla="*/ 19050 h 2313680"/>
              <a:gd name="connsiteX67" fmla="*/ 2724150 w 2963138"/>
              <a:gd name="connsiteY67" fmla="*/ 9525 h 2313680"/>
              <a:gd name="connsiteX68" fmla="*/ 2381250 w 2963138"/>
              <a:gd name="connsiteY68" fmla="*/ 14287 h 2313680"/>
              <a:gd name="connsiteX69" fmla="*/ 2324100 w 2963138"/>
              <a:gd name="connsiteY69" fmla="*/ 23812 h 2313680"/>
              <a:gd name="connsiteX70" fmla="*/ 1909762 w 2963138"/>
              <a:gd name="connsiteY70" fmla="*/ 19050 h 2313680"/>
              <a:gd name="connsiteX71" fmla="*/ 1804987 w 2963138"/>
              <a:gd name="connsiteY71" fmla="*/ 9525 h 2313680"/>
              <a:gd name="connsiteX72" fmla="*/ 1776412 w 2963138"/>
              <a:gd name="connsiteY72" fmla="*/ 0 h 2313680"/>
              <a:gd name="connsiteX73" fmla="*/ 1528762 w 2963138"/>
              <a:gd name="connsiteY73" fmla="*/ 4762 h 2313680"/>
              <a:gd name="connsiteX74" fmla="*/ 1143000 w 2963138"/>
              <a:gd name="connsiteY74" fmla="*/ 38100 h 2313680"/>
              <a:gd name="connsiteX75" fmla="*/ 309562 w 2963138"/>
              <a:gd name="connsiteY75" fmla="*/ 23812 h 2313680"/>
              <a:gd name="connsiteX76" fmla="*/ 247650 w 2963138"/>
              <a:gd name="connsiteY76" fmla="*/ 14287 h 2313680"/>
              <a:gd name="connsiteX77" fmla="*/ 185737 w 2963138"/>
              <a:gd name="connsiteY77" fmla="*/ 9525 h 2313680"/>
              <a:gd name="connsiteX78" fmla="*/ 19050 w 2963138"/>
              <a:gd name="connsiteY78" fmla="*/ 14287 h 2313680"/>
              <a:gd name="connsiteX79" fmla="*/ 4762 w 2963138"/>
              <a:gd name="connsiteY79" fmla="*/ 19050 h 2313680"/>
              <a:gd name="connsiteX80" fmla="*/ 9525 w 2963138"/>
              <a:gd name="connsiteY80" fmla="*/ 85725 h 2313680"/>
              <a:gd name="connsiteX81" fmla="*/ 23812 w 2963138"/>
              <a:gd name="connsiteY81" fmla="*/ 171450 h 2313680"/>
              <a:gd name="connsiteX82" fmla="*/ 14287 w 2963138"/>
              <a:gd name="connsiteY82" fmla="*/ 390525 h 2313680"/>
              <a:gd name="connsiteX83" fmla="*/ 0 w 2963138"/>
              <a:gd name="connsiteY83" fmla="*/ 466725 h 2313680"/>
              <a:gd name="connsiteX84" fmla="*/ 9525 w 2963138"/>
              <a:gd name="connsiteY84" fmla="*/ 800100 h 2313680"/>
              <a:gd name="connsiteX85" fmla="*/ 9525 w 2963138"/>
              <a:gd name="connsiteY85" fmla="*/ 871537 h 2313680"/>
              <a:gd name="connsiteX86" fmla="*/ 14287 w 2963138"/>
              <a:gd name="connsiteY86" fmla="*/ 1157287 h 2313680"/>
              <a:gd name="connsiteX87" fmla="*/ 19050 w 2963138"/>
              <a:gd name="connsiteY87" fmla="*/ 1204912 h 2313680"/>
              <a:gd name="connsiteX88" fmla="*/ 28575 w 2963138"/>
              <a:gd name="connsiteY88" fmla="*/ 1243012 h 2313680"/>
              <a:gd name="connsiteX89" fmla="*/ 33337 w 2963138"/>
              <a:gd name="connsiteY89" fmla="*/ 1328737 h 2313680"/>
              <a:gd name="connsiteX90" fmla="*/ 23812 w 2963138"/>
              <a:gd name="connsiteY90" fmla="*/ 1476375 h 2313680"/>
              <a:gd name="connsiteX91" fmla="*/ 14287 w 2963138"/>
              <a:gd name="connsiteY91" fmla="*/ 1562100 h 2313680"/>
              <a:gd name="connsiteX92" fmla="*/ 9525 w 2963138"/>
              <a:gd name="connsiteY92" fmla="*/ 1819275 h 2313680"/>
              <a:gd name="connsiteX93" fmla="*/ 14287 w 2963138"/>
              <a:gd name="connsiteY93" fmla="*/ 2014537 h 2313680"/>
              <a:gd name="connsiteX94" fmla="*/ 23812 w 2963138"/>
              <a:gd name="connsiteY94" fmla="*/ 2066925 h 2313680"/>
              <a:gd name="connsiteX95" fmla="*/ 28575 w 2963138"/>
              <a:gd name="connsiteY95" fmla="*/ 2152650 h 2313680"/>
              <a:gd name="connsiteX96" fmla="*/ 23812 w 2963138"/>
              <a:gd name="connsiteY96" fmla="*/ 2238375 h 2313680"/>
              <a:gd name="connsiteX97" fmla="*/ 14287 w 2963138"/>
              <a:gd name="connsiteY97" fmla="*/ 2300287 h 2313680"/>
              <a:gd name="connsiteX0" fmla="*/ 14287 w 2962317"/>
              <a:gd name="connsiteY0" fmla="*/ 2300287 h 2315988"/>
              <a:gd name="connsiteX1" fmla="*/ 61912 w 2962317"/>
              <a:gd name="connsiteY1" fmla="*/ 2295525 h 2315988"/>
              <a:gd name="connsiteX2" fmla="*/ 95250 w 2962317"/>
              <a:gd name="connsiteY2" fmla="*/ 2286000 h 2315988"/>
              <a:gd name="connsiteX3" fmla="*/ 366712 w 2962317"/>
              <a:gd name="connsiteY3" fmla="*/ 2271712 h 2315988"/>
              <a:gd name="connsiteX4" fmla="*/ 361950 w 2962317"/>
              <a:gd name="connsiteY4" fmla="*/ 2214562 h 2315988"/>
              <a:gd name="connsiteX5" fmla="*/ 381000 w 2962317"/>
              <a:gd name="connsiteY5" fmla="*/ 1985962 h 2315988"/>
              <a:gd name="connsiteX6" fmla="*/ 376237 w 2962317"/>
              <a:gd name="connsiteY6" fmla="*/ 1671637 h 2315988"/>
              <a:gd name="connsiteX7" fmla="*/ 371475 w 2962317"/>
              <a:gd name="connsiteY7" fmla="*/ 1643062 h 2315988"/>
              <a:gd name="connsiteX8" fmla="*/ 366712 w 2962317"/>
              <a:gd name="connsiteY8" fmla="*/ 1585912 h 2315988"/>
              <a:gd name="connsiteX9" fmla="*/ 376237 w 2962317"/>
              <a:gd name="connsiteY9" fmla="*/ 1123950 h 2315988"/>
              <a:gd name="connsiteX10" fmla="*/ 381000 w 2962317"/>
              <a:gd name="connsiteY10" fmla="*/ 1095375 h 2315988"/>
              <a:gd name="connsiteX11" fmla="*/ 385762 w 2962317"/>
              <a:gd name="connsiteY11" fmla="*/ 1062037 h 2315988"/>
              <a:gd name="connsiteX12" fmla="*/ 381000 w 2962317"/>
              <a:gd name="connsiteY12" fmla="*/ 561975 h 2315988"/>
              <a:gd name="connsiteX13" fmla="*/ 376237 w 2962317"/>
              <a:gd name="connsiteY13" fmla="*/ 519112 h 2315988"/>
              <a:gd name="connsiteX14" fmla="*/ 371475 w 2962317"/>
              <a:gd name="connsiteY14" fmla="*/ 471487 h 2315988"/>
              <a:gd name="connsiteX15" fmla="*/ 376237 w 2962317"/>
              <a:gd name="connsiteY15" fmla="*/ 414337 h 2315988"/>
              <a:gd name="connsiteX16" fmla="*/ 433387 w 2962317"/>
              <a:gd name="connsiteY16" fmla="*/ 419100 h 2315988"/>
              <a:gd name="connsiteX17" fmla="*/ 523875 w 2962317"/>
              <a:gd name="connsiteY17" fmla="*/ 414337 h 2315988"/>
              <a:gd name="connsiteX18" fmla="*/ 881062 w 2962317"/>
              <a:gd name="connsiteY18" fmla="*/ 414337 h 2315988"/>
              <a:gd name="connsiteX19" fmla="*/ 914400 w 2962317"/>
              <a:gd name="connsiteY19" fmla="*/ 423862 h 2315988"/>
              <a:gd name="connsiteX20" fmla="*/ 962025 w 2962317"/>
              <a:gd name="connsiteY20" fmla="*/ 428625 h 2315988"/>
              <a:gd name="connsiteX21" fmla="*/ 985837 w 2962317"/>
              <a:gd name="connsiteY21" fmla="*/ 433387 h 2315988"/>
              <a:gd name="connsiteX22" fmla="*/ 1147762 w 2962317"/>
              <a:gd name="connsiteY22" fmla="*/ 423862 h 2315988"/>
              <a:gd name="connsiteX23" fmla="*/ 1166812 w 2962317"/>
              <a:gd name="connsiteY23" fmla="*/ 419100 h 2315988"/>
              <a:gd name="connsiteX24" fmla="*/ 1209675 w 2962317"/>
              <a:gd name="connsiteY24" fmla="*/ 414337 h 2315988"/>
              <a:gd name="connsiteX25" fmla="*/ 1238250 w 2962317"/>
              <a:gd name="connsiteY25" fmla="*/ 409575 h 2315988"/>
              <a:gd name="connsiteX26" fmla="*/ 2433637 w 2962317"/>
              <a:gd name="connsiteY26" fmla="*/ 404812 h 2315988"/>
              <a:gd name="connsiteX27" fmla="*/ 2571750 w 2962317"/>
              <a:gd name="connsiteY27" fmla="*/ 404812 h 2315988"/>
              <a:gd name="connsiteX28" fmla="*/ 2609850 w 2962317"/>
              <a:gd name="connsiteY28" fmla="*/ 423862 h 2315988"/>
              <a:gd name="connsiteX29" fmla="*/ 2619375 w 2962317"/>
              <a:gd name="connsiteY29" fmla="*/ 457200 h 2315988"/>
              <a:gd name="connsiteX30" fmla="*/ 2609850 w 2962317"/>
              <a:gd name="connsiteY30" fmla="*/ 614362 h 2315988"/>
              <a:gd name="connsiteX31" fmla="*/ 2600325 w 2962317"/>
              <a:gd name="connsiteY31" fmla="*/ 652462 h 2315988"/>
              <a:gd name="connsiteX32" fmla="*/ 2595562 w 2962317"/>
              <a:gd name="connsiteY32" fmla="*/ 676275 h 2315988"/>
              <a:gd name="connsiteX33" fmla="*/ 2586037 w 2962317"/>
              <a:gd name="connsiteY33" fmla="*/ 714375 h 2315988"/>
              <a:gd name="connsiteX34" fmla="*/ 2586037 w 2962317"/>
              <a:gd name="connsiteY34" fmla="*/ 1071562 h 2315988"/>
              <a:gd name="connsiteX35" fmla="*/ 2590800 w 2962317"/>
              <a:gd name="connsiteY35" fmla="*/ 1104900 h 2315988"/>
              <a:gd name="connsiteX36" fmla="*/ 2600325 w 2962317"/>
              <a:gd name="connsiteY36" fmla="*/ 1176337 h 2315988"/>
              <a:gd name="connsiteX37" fmla="*/ 2605087 w 2962317"/>
              <a:gd name="connsiteY37" fmla="*/ 1209675 h 2315988"/>
              <a:gd name="connsiteX38" fmla="*/ 2624137 w 2962317"/>
              <a:gd name="connsiteY38" fmla="*/ 1314450 h 2315988"/>
              <a:gd name="connsiteX39" fmla="*/ 2619375 w 2962317"/>
              <a:gd name="connsiteY39" fmla="*/ 1371600 h 2315988"/>
              <a:gd name="connsiteX40" fmla="*/ 2614612 w 2962317"/>
              <a:gd name="connsiteY40" fmla="*/ 1443037 h 2315988"/>
              <a:gd name="connsiteX41" fmla="*/ 2600325 w 2962317"/>
              <a:gd name="connsiteY41" fmla="*/ 1485900 h 2315988"/>
              <a:gd name="connsiteX42" fmla="*/ 2595562 w 2962317"/>
              <a:gd name="connsiteY42" fmla="*/ 1514475 h 2315988"/>
              <a:gd name="connsiteX43" fmla="*/ 2581275 w 2962317"/>
              <a:gd name="connsiteY43" fmla="*/ 1652587 h 2315988"/>
              <a:gd name="connsiteX44" fmla="*/ 2586037 w 2962317"/>
              <a:gd name="connsiteY44" fmla="*/ 1933575 h 2315988"/>
              <a:gd name="connsiteX45" fmla="*/ 2590800 w 2962317"/>
              <a:gd name="connsiteY45" fmla="*/ 1966912 h 2315988"/>
              <a:gd name="connsiteX46" fmla="*/ 2605087 w 2962317"/>
              <a:gd name="connsiteY46" fmla="*/ 2005012 h 2315988"/>
              <a:gd name="connsiteX47" fmla="*/ 2614612 w 2962317"/>
              <a:gd name="connsiteY47" fmla="*/ 2066925 h 2315988"/>
              <a:gd name="connsiteX48" fmla="*/ 2628900 w 2962317"/>
              <a:gd name="connsiteY48" fmla="*/ 2152650 h 2315988"/>
              <a:gd name="connsiteX49" fmla="*/ 2643187 w 2962317"/>
              <a:gd name="connsiteY49" fmla="*/ 2171700 h 2315988"/>
              <a:gd name="connsiteX50" fmla="*/ 2638425 w 2962317"/>
              <a:gd name="connsiteY50" fmla="*/ 2276475 h 2315988"/>
              <a:gd name="connsiteX51" fmla="*/ 2643187 w 2962317"/>
              <a:gd name="connsiteY51" fmla="*/ 2295525 h 2315988"/>
              <a:gd name="connsiteX52" fmla="*/ 2662237 w 2962317"/>
              <a:gd name="connsiteY52" fmla="*/ 2300287 h 2315988"/>
              <a:gd name="connsiteX53" fmla="*/ 2843212 w 2962317"/>
              <a:gd name="connsiteY53" fmla="*/ 2305050 h 2315988"/>
              <a:gd name="connsiteX54" fmla="*/ 2905125 w 2962317"/>
              <a:gd name="connsiteY54" fmla="*/ 2309812 h 2315988"/>
              <a:gd name="connsiteX55" fmla="*/ 2957512 w 2962317"/>
              <a:gd name="connsiteY55" fmla="*/ 2305050 h 2315988"/>
              <a:gd name="connsiteX56" fmla="*/ 2947987 w 2962317"/>
              <a:gd name="connsiteY56" fmla="*/ 2181225 h 2315988"/>
              <a:gd name="connsiteX57" fmla="*/ 2955925 w 2962317"/>
              <a:gd name="connsiteY57" fmla="*/ 2008187 h 2315988"/>
              <a:gd name="connsiteX58" fmla="*/ 2962275 w 2962317"/>
              <a:gd name="connsiteY58" fmla="*/ 1804987 h 2315988"/>
              <a:gd name="connsiteX59" fmla="*/ 2952750 w 2962317"/>
              <a:gd name="connsiteY59" fmla="*/ 1366837 h 2315988"/>
              <a:gd name="connsiteX60" fmla="*/ 2947987 w 2962317"/>
              <a:gd name="connsiteY60" fmla="*/ 1081087 h 2315988"/>
              <a:gd name="connsiteX61" fmla="*/ 2947987 w 2962317"/>
              <a:gd name="connsiteY61" fmla="*/ 922337 h 2315988"/>
              <a:gd name="connsiteX62" fmla="*/ 2952750 w 2962317"/>
              <a:gd name="connsiteY62" fmla="*/ 571500 h 2315988"/>
              <a:gd name="connsiteX63" fmla="*/ 2957512 w 2962317"/>
              <a:gd name="connsiteY63" fmla="*/ 342900 h 2315988"/>
              <a:gd name="connsiteX64" fmla="*/ 2957512 w 2962317"/>
              <a:gd name="connsiteY64" fmla="*/ 34925 h 2315988"/>
              <a:gd name="connsiteX65" fmla="*/ 2867025 w 2962317"/>
              <a:gd name="connsiteY65" fmla="*/ 19050 h 2315988"/>
              <a:gd name="connsiteX66" fmla="*/ 2724150 w 2962317"/>
              <a:gd name="connsiteY66" fmla="*/ 9525 h 2315988"/>
              <a:gd name="connsiteX67" fmla="*/ 2381250 w 2962317"/>
              <a:gd name="connsiteY67" fmla="*/ 14287 h 2315988"/>
              <a:gd name="connsiteX68" fmla="*/ 2324100 w 2962317"/>
              <a:gd name="connsiteY68" fmla="*/ 23812 h 2315988"/>
              <a:gd name="connsiteX69" fmla="*/ 1909762 w 2962317"/>
              <a:gd name="connsiteY69" fmla="*/ 19050 h 2315988"/>
              <a:gd name="connsiteX70" fmla="*/ 1804987 w 2962317"/>
              <a:gd name="connsiteY70" fmla="*/ 9525 h 2315988"/>
              <a:gd name="connsiteX71" fmla="*/ 1776412 w 2962317"/>
              <a:gd name="connsiteY71" fmla="*/ 0 h 2315988"/>
              <a:gd name="connsiteX72" fmla="*/ 1528762 w 2962317"/>
              <a:gd name="connsiteY72" fmla="*/ 4762 h 2315988"/>
              <a:gd name="connsiteX73" fmla="*/ 1143000 w 2962317"/>
              <a:gd name="connsiteY73" fmla="*/ 38100 h 2315988"/>
              <a:gd name="connsiteX74" fmla="*/ 309562 w 2962317"/>
              <a:gd name="connsiteY74" fmla="*/ 23812 h 2315988"/>
              <a:gd name="connsiteX75" fmla="*/ 247650 w 2962317"/>
              <a:gd name="connsiteY75" fmla="*/ 14287 h 2315988"/>
              <a:gd name="connsiteX76" fmla="*/ 185737 w 2962317"/>
              <a:gd name="connsiteY76" fmla="*/ 9525 h 2315988"/>
              <a:gd name="connsiteX77" fmla="*/ 19050 w 2962317"/>
              <a:gd name="connsiteY77" fmla="*/ 14287 h 2315988"/>
              <a:gd name="connsiteX78" fmla="*/ 4762 w 2962317"/>
              <a:gd name="connsiteY78" fmla="*/ 19050 h 2315988"/>
              <a:gd name="connsiteX79" fmla="*/ 9525 w 2962317"/>
              <a:gd name="connsiteY79" fmla="*/ 85725 h 2315988"/>
              <a:gd name="connsiteX80" fmla="*/ 23812 w 2962317"/>
              <a:gd name="connsiteY80" fmla="*/ 171450 h 2315988"/>
              <a:gd name="connsiteX81" fmla="*/ 14287 w 2962317"/>
              <a:gd name="connsiteY81" fmla="*/ 390525 h 2315988"/>
              <a:gd name="connsiteX82" fmla="*/ 0 w 2962317"/>
              <a:gd name="connsiteY82" fmla="*/ 466725 h 2315988"/>
              <a:gd name="connsiteX83" fmla="*/ 9525 w 2962317"/>
              <a:gd name="connsiteY83" fmla="*/ 800100 h 2315988"/>
              <a:gd name="connsiteX84" fmla="*/ 9525 w 2962317"/>
              <a:gd name="connsiteY84" fmla="*/ 871537 h 2315988"/>
              <a:gd name="connsiteX85" fmla="*/ 14287 w 2962317"/>
              <a:gd name="connsiteY85" fmla="*/ 1157287 h 2315988"/>
              <a:gd name="connsiteX86" fmla="*/ 19050 w 2962317"/>
              <a:gd name="connsiteY86" fmla="*/ 1204912 h 2315988"/>
              <a:gd name="connsiteX87" fmla="*/ 28575 w 2962317"/>
              <a:gd name="connsiteY87" fmla="*/ 1243012 h 2315988"/>
              <a:gd name="connsiteX88" fmla="*/ 33337 w 2962317"/>
              <a:gd name="connsiteY88" fmla="*/ 1328737 h 2315988"/>
              <a:gd name="connsiteX89" fmla="*/ 23812 w 2962317"/>
              <a:gd name="connsiteY89" fmla="*/ 1476375 h 2315988"/>
              <a:gd name="connsiteX90" fmla="*/ 14287 w 2962317"/>
              <a:gd name="connsiteY90" fmla="*/ 1562100 h 2315988"/>
              <a:gd name="connsiteX91" fmla="*/ 9525 w 2962317"/>
              <a:gd name="connsiteY91" fmla="*/ 1819275 h 2315988"/>
              <a:gd name="connsiteX92" fmla="*/ 14287 w 2962317"/>
              <a:gd name="connsiteY92" fmla="*/ 2014537 h 2315988"/>
              <a:gd name="connsiteX93" fmla="*/ 23812 w 2962317"/>
              <a:gd name="connsiteY93" fmla="*/ 2066925 h 2315988"/>
              <a:gd name="connsiteX94" fmla="*/ 28575 w 2962317"/>
              <a:gd name="connsiteY94" fmla="*/ 2152650 h 2315988"/>
              <a:gd name="connsiteX95" fmla="*/ 23812 w 2962317"/>
              <a:gd name="connsiteY95" fmla="*/ 2238375 h 2315988"/>
              <a:gd name="connsiteX96" fmla="*/ 14287 w 2962317"/>
              <a:gd name="connsiteY96" fmla="*/ 2300287 h 2315988"/>
              <a:gd name="connsiteX0" fmla="*/ 14287 w 2962317"/>
              <a:gd name="connsiteY0" fmla="*/ 2300287 h 2316213"/>
              <a:gd name="connsiteX1" fmla="*/ 61912 w 2962317"/>
              <a:gd name="connsiteY1" fmla="*/ 2295525 h 2316213"/>
              <a:gd name="connsiteX2" fmla="*/ 95250 w 2962317"/>
              <a:gd name="connsiteY2" fmla="*/ 2286000 h 2316213"/>
              <a:gd name="connsiteX3" fmla="*/ 366712 w 2962317"/>
              <a:gd name="connsiteY3" fmla="*/ 2271712 h 2316213"/>
              <a:gd name="connsiteX4" fmla="*/ 361950 w 2962317"/>
              <a:gd name="connsiteY4" fmla="*/ 2214562 h 2316213"/>
              <a:gd name="connsiteX5" fmla="*/ 381000 w 2962317"/>
              <a:gd name="connsiteY5" fmla="*/ 1985962 h 2316213"/>
              <a:gd name="connsiteX6" fmla="*/ 376237 w 2962317"/>
              <a:gd name="connsiteY6" fmla="*/ 1671637 h 2316213"/>
              <a:gd name="connsiteX7" fmla="*/ 371475 w 2962317"/>
              <a:gd name="connsiteY7" fmla="*/ 1643062 h 2316213"/>
              <a:gd name="connsiteX8" fmla="*/ 366712 w 2962317"/>
              <a:gd name="connsiteY8" fmla="*/ 1585912 h 2316213"/>
              <a:gd name="connsiteX9" fmla="*/ 376237 w 2962317"/>
              <a:gd name="connsiteY9" fmla="*/ 1123950 h 2316213"/>
              <a:gd name="connsiteX10" fmla="*/ 381000 w 2962317"/>
              <a:gd name="connsiteY10" fmla="*/ 1095375 h 2316213"/>
              <a:gd name="connsiteX11" fmla="*/ 385762 w 2962317"/>
              <a:gd name="connsiteY11" fmla="*/ 1062037 h 2316213"/>
              <a:gd name="connsiteX12" fmla="*/ 381000 w 2962317"/>
              <a:gd name="connsiteY12" fmla="*/ 561975 h 2316213"/>
              <a:gd name="connsiteX13" fmla="*/ 376237 w 2962317"/>
              <a:gd name="connsiteY13" fmla="*/ 519112 h 2316213"/>
              <a:gd name="connsiteX14" fmla="*/ 371475 w 2962317"/>
              <a:gd name="connsiteY14" fmla="*/ 471487 h 2316213"/>
              <a:gd name="connsiteX15" fmla="*/ 376237 w 2962317"/>
              <a:gd name="connsiteY15" fmla="*/ 414337 h 2316213"/>
              <a:gd name="connsiteX16" fmla="*/ 433387 w 2962317"/>
              <a:gd name="connsiteY16" fmla="*/ 419100 h 2316213"/>
              <a:gd name="connsiteX17" fmla="*/ 523875 w 2962317"/>
              <a:gd name="connsiteY17" fmla="*/ 414337 h 2316213"/>
              <a:gd name="connsiteX18" fmla="*/ 881062 w 2962317"/>
              <a:gd name="connsiteY18" fmla="*/ 414337 h 2316213"/>
              <a:gd name="connsiteX19" fmla="*/ 914400 w 2962317"/>
              <a:gd name="connsiteY19" fmla="*/ 423862 h 2316213"/>
              <a:gd name="connsiteX20" fmla="*/ 962025 w 2962317"/>
              <a:gd name="connsiteY20" fmla="*/ 428625 h 2316213"/>
              <a:gd name="connsiteX21" fmla="*/ 985837 w 2962317"/>
              <a:gd name="connsiteY21" fmla="*/ 433387 h 2316213"/>
              <a:gd name="connsiteX22" fmla="*/ 1147762 w 2962317"/>
              <a:gd name="connsiteY22" fmla="*/ 423862 h 2316213"/>
              <a:gd name="connsiteX23" fmla="*/ 1166812 w 2962317"/>
              <a:gd name="connsiteY23" fmla="*/ 419100 h 2316213"/>
              <a:gd name="connsiteX24" fmla="*/ 1209675 w 2962317"/>
              <a:gd name="connsiteY24" fmla="*/ 414337 h 2316213"/>
              <a:gd name="connsiteX25" fmla="*/ 1238250 w 2962317"/>
              <a:gd name="connsiteY25" fmla="*/ 409575 h 2316213"/>
              <a:gd name="connsiteX26" fmla="*/ 2433637 w 2962317"/>
              <a:gd name="connsiteY26" fmla="*/ 404812 h 2316213"/>
              <a:gd name="connsiteX27" fmla="*/ 2571750 w 2962317"/>
              <a:gd name="connsiteY27" fmla="*/ 404812 h 2316213"/>
              <a:gd name="connsiteX28" fmla="*/ 2609850 w 2962317"/>
              <a:gd name="connsiteY28" fmla="*/ 423862 h 2316213"/>
              <a:gd name="connsiteX29" fmla="*/ 2619375 w 2962317"/>
              <a:gd name="connsiteY29" fmla="*/ 457200 h 2316213"/>
              <a:gd name="connsiteX30" fmla="*/ 2609850 w 2962317"/>
              <a:gd name="connsiteY30" fmla="*/ 614362 h 2316213"/>
              <a:gd name="connsiteX31" fmla="*/ 2600325 w 2962317"/>
              <a:gd name="connsiteY31" fmla="*/ 652462 h 2316213"/>
              <a:gd name="connsiteX32" fmla="*/ 2595562 w 2962317"/>
              <a:gd name="connsiteY32" fmla="*/ 676275 h 2316213"/>
              <a:gd name="connsiteX33" fmla="*/ 2586037 w 2962317"/>
              <a:gd name="connsiteY33" fmla="*/ 714375 h 2316213"/>
              <a:gd name="connsiteX34" fmla="*/ 2586037 w 2962317"/>
              <a:gd name="connsiteY34" fmla="*/ 1071562 h 2316213"/>
              <a:gd name="connsiteX35" fmla="*/ 2590800 w 2962317"/>
              <a:gd name="connsiteY35" fmla="*/ 1104900 h 2316213"/>
              <a:gd name="connsiteX36" fmla="*/ 2600325 w 2962317"/>
              <a:gd name="connsiteY36" fmla="*/ 1176337 h 2316213"/>
              <a:gd name="connsiteX37" fmla="*/ 2605087 w 2962317"/>
              <a:gd name="connsiteY37" fmla="*/ 1209675 h 2316213"/>
              <a:gd name="connsiteX38" fmla="*/ 2624137 w 2962317"/>
              <a:gd name="connsiteY38" fmla="*/ 1314450 h 2316213"/>
              <a:gd name="connsiteX39" fmla="*/ 2619375 w 2962317"/>
              <a:gd name="connsiteY39" fmla="*/ 1371600 h 2316213"/>
              <a:gd name="connsiteX40" fmla="*/ 2614612 w 2962317"/>
              <a:gd name="connsiteY40" fmla="*/ 1443037 h 2316213"/>
              <a:gd name="connsiteX41" fmla="*/ 2600325 w 2962317"/>
              <a:gd name="connsiteY41" fmla="*/ 1485900 h 2316213"/>
              <a:gd name="connsiteX42" fmla="*/ 2595562 w 2962317"/>
              <a:gd name="connsiteY42" fmla="*/ 1514475 h 2316213"/>
              <a:gd name="connsiteX43" fmla="*/ 2581275 w 2962317"/>
              <a:gd name="connsiteY43" fmla="*/ 1652587 h 2316213"/>
              <a:gd name="connsiteX44" fmla="*/ 2586037 w 2962317"/>
              <a:gd name="connsiteY44" fmla="*/ 1933575 h 2316213"/>
              <a:gd name="connsiteX45" fmla="*/ 2590800 w 2962317"/>
              <a:gd name="connsiteY45" fmla="*/ 1966912 h 2316213"/>
              <a:gd name="connsiteX46" fmla="*/ 2605087 w 2962317"/>
              <a:gd name="connsiteY46" fmla="*/ 2005012 h 2316213"/>
              <a:gd name="connsiteX47" fmla="*/ 2614612 w 2962317"/>
              <a:gd name="connsiteY47" fmla="*/ 2066925 h 2316213"/>
              <a:gd name="connsiteX48" fmla="*/ 2628900 w 2962317"/>
              <a:gd name="connsiteY48" fmla="*/ 2152650 h 2316213"/>
              <a:gd name="connsiteX49" fmla="*/ 2643187 w 2962317"/>
              <a:gd name="connsiteY49" fmla="*/ 2171700 h 2316213"/>
              <a:gd name="connsiteX50" fmla="*/ 2638425 w 2962317"/>
              <a:gd name="connsiteY50" fmla="*/ 2276475 h 2316213"/>
              <a:gd name="connsiteX51" fmla="*/ 2643187 w 2962317"/>
              <a:gd name="connsiteY51" fmla="*/ 2295525 h 2316213"/>
              <a:gd name="connsiteX52" fmla="*/ 2662237 w 2962317"/>
              <a:gd name="connsiteY52" fmla="*/ 2300287 h 2316213"/>
              <a:gd name="connsiteX53" fmla="*/ 2905125 w 2962317"/>
              <a:gd name="connsiteY53" fmla="*/ 2309812 h 2316213"/>
              <a:gd name="connsiteX54" fmla="*/ 2957512 w 2962317"/>
              <a:gd name="connsiteY54" fmla="*/ 2305050 h 2316213"/>
              <a:gd name="connsiteX55" fmla="*/ 2947987 w 2962317"/>
              <a:gd name="connsiteY55" fmla="*/ 2181225 h 2316213"/>
              <a:gd name="connsiteX56" fmla="*/ 2955925 w 2962317"/>
              <a:gd name="connsiteY56" fmla="*/ 2008187 h 2316213"/>
              <a:gd name="connsiteX57" fmla="*/ 2962275 w 2962317"/>
              <a:gd name="connsiteY57" fmla="*/ 1804987 h 2316213"/>
              <a:gd name="connsiteX58" fmla="*/ 2952750 w 2962317"/>
              <a:gd name="connsiteY58" fmla="*/ 1366837 h 2316213"/>
              <a:gd name="connsiteX59" fmla="*/ 2947987 w 2962317"/>
              <a:gd name="connsiteY59" fmla="*/ 1081087 h 2316213"/>
              <a:gd name="connsiteX60" fmla="*/ 2947987 w 2962317"/>
              <a:gd name="connsiteY60" fmla="*/ 922337 h 2316213"/>
              <a:gd name="connsiteX61" fmla="*/ 2952750 w 2962317"/>
              <a:gd name="connsiteY61" fmla="*/ 571500 h 2316213"/>
              <a:gd name="connsiteX62" fmla="*/ 2957512 w 2962317"/>
              <a:gd name="connsiteY62" fmla="*/ 342900 h 2316213"/>
              <a:gd name="connsiteX63" fmla="*/ 2957512 w 2962317"/>
              <a:gd name="connsiteY63" fmla="*/ 34925 h 2316213"/>
              <a:gd name="connsiteX64" fmla="*/ 2867025 w 2962317"/>
              <a:gd name="connsiteY64" fmla="*/ 19050 h 2316213"/>
              <a:gd name="connsiteX65" fmla="*/ 2724150 w 2962317"/>
              <a:gd name="connsiteY65" fmla="*/ 9525 h 2316213"/>
              <a:gd name="connsiteX66" fmla="*/ 2381250 w 2962317"/>
              <a:gd name="connsiteY66" fmla="*/ 14287 h 2316213"/>
              <a:gd name="connsiteX67" fmla="*/ 2324100 w 2962317"/>
              <a:gd name="connsiteY67" fmla="*/ 23812 h 2316213"/>
              <a:gd name="connsiteX68" fmla="*/ 1909762 w 2962317"/>
              <a:gd name="connsiteY68" fmla="*/ 19050 h 2316213"/>
              <a:gd name="connsiteX69" fmla="*/ 1804987 w 2962317"/>
              <a:gd name="connsiteY69" fmla="*/ 9525 h 2316213"/>
              <a:gd name="connsiteX70" fmla="*/ 1776412 w 2962317"/>
              <a:gd name="connsiteY70" fmla="*/ 0 h 2316213"/>
              <a:gd name="connsiteX71" fmla="*/ 1528762 w 2962317"/>
              <a:gd name="connsiteY71" fmla="*/ 4762 h 2316213"/>
              <a:gd name="connsiteX72" fmla="*/ 1143000 w 2962317"/>
              <a:gd name="connsiteY72" fmla="*/ 38100 h 2316213"/>
              <a:gd name="connsiteX73" fmla="*/ 309562 w 2962317"/>
              <a:gd name="connsiteY73" fmla="*/ 23812 h 2316213"/>
              <a:gd name="connsiteX74" fmla="*/ 247650 w 2962317"/>
              <a:gd name="connsiteY74" fmla="*/ 14287 h 2316213"/>
              <a:gd name="connsiteX75" fmla="*/ 185737 w 2962317"/>
              <a:gd name="connsiteY75" fmla="*/ 9525 h 2316213"/>
              <a:gd name="connsiteX76" fmla="*/ 19050 w 2962317"/>
              <a:gd name="connsiteY76" fmla="*/ 14287 h 2316213"/>
              <a:gd name="connsiteX77" fmla="*/ 4762 w 2962317"/>
              <a:gd name="connsiteY77" fmla="*/ 19050 h 2316213"/>
              <a:gd name="connsiteX78" fmla="*/ 9525 w 2962317"/>
              <a:gd name="connsiteY78" fmla="*/ 85725 h 2316213"/>
              <a:gd name="connsiteX79" fmla="*/ 23812 w 2962317"/>
              <a:gd name="connsiteY79" fmla="*/ 171450 h 2316213"/>
              <a:gd name="connsiteX80" fmla="*/ 14287 w 2962317"/>
              <a:gd name="connsiteY80" fmla="*/ 390525 h 2316213"/>
              <a:gd name="connsiteX81" fmla="*/ 0 w 2962317"/>
              <a:gd name="connsiteY81" fmla="*/ 466725 h 2316213"/>
              <a:gd name="connsiteX82" fmla="*/ 9525 w 2962317"/>
              <a:gd name="connsiteY82" fmla="*/ 800100 h 2316213"/>
              <a:gd name="connsiteX83" fmla="*/ 9525 w 2962317"/>
              <a:gd name="connsiteY83" fmla="*/ 871537 h 2316213"/>
              <a:gd name="connsiteX84" fmla="*/ 14287 w 2962317"/>
              <a:gd name="connsiteY84" fmla="*/ 1157287 h 2316213"/>
              <a:gd name="connsiteX85" fmla="*/ 19050 w 2962317"/>
              <a:gd name="connsiteY85" fmla="*/ 1204912 h 2316213"/>
              <a:gd name="connsiteX86" fmla="*/ 28575 w 2962317"/>
              <a:gd name="connsiteY86" fmla="*/ 1243012 h 2316213"/>
              <a:gd name="connsiteX87" fmla="*/ 33337 w 2962317"/>
              <a:gd name="connsiteY87" fmla="*/ 1328737 h 2316213"/>
              <a:gd name="connsiteX88" fmla="*/ 23812 w 2962317"/>
              <a:gd name="connsiteY88" fmla="*/ 1476375 h 2316213"/>
              <a:gd name="connsiteX89" fmla="*/ 14287 w 2962317"/>
              <a:gd name="connsiteY89" fmla="*/ 1562100 h 2316213"/>
              <a:gd name="connsiteX90" fmla="*/ 9525 w 2962317"/>
              <a:gd name="connsiteY90" fmla="*/ 1819275 h 2316213"/>
              <a:gd name="connsiteX91" fmla="*/ 14287 w 2962317"/>
              <a:gd name="connsiteY91" fmla="*/ 2014537 h 2316213"/>
              <a:gd name="connsiteX92" fmla="*/ 23812 w 2962317"/>
              <a:gd name="connsiteY92" fmla="*/ 2066925 h 2316213"/>
              <a:gd name="connsiteX93" fmla="*/ 28575 w 2962317"/>
              <a:gd name="connsiteY93" fmla="*/ 2152650 h 2316213"/>
              <a:gd name="connsiteX94" fmla="*/ 23812 w 2962317"/>
              <a:gd name="connsiteY94" fmla="*/ 2238375 h 2316213"/>
              <a:gd name="connsiteX95" fmla="*/ 14287 w 2962317"/>
              <a:gd name="connsiteY95" fmla="*/ 2300287 h 2316213"/>
              <a:gd name="connsiteX0" fmla="*/ 14287 w 2962875"/>
              <a:gd name="connsiteY0" fmla="*/ 2300287 h 2313876"/>
              <a:gd name="connsiteX1" fmla="*/ 61912 w 2962875"/>
              <a:gd name="connsiteY1" fmla="*/ 2295525 h 2313876"/>
              <a:gd name="connsiteX2" fmla="*/ 95250 w 2962875"/>
              <a:gd name="connsiteY2" fmla="*/ 2286000 h 2313876"/>
              <a:gd name="connsiteX3" fmla="*/ 366712 w 2962875"/>
              <a:gd name="connsiteY3" fmla="*/ 2271712 h 2313876"/>
              <a:gd name="connsiteX4" fmla="*/ 361950 w 2962875"/>
              <a:gd name="connsiteY4" fmla="*/ 2214562 h 2313876"/>
              <a:gd name="connsiteX5" fmla="*/ 381000 w 2962875"/>
              <a:gd name="connsiteY5" fmla="*/ 1985962 h 2313876"/>
              <a:gd name="connsiteX6" fmla="*/ 376237 w 2962875"/>
              <a:gd name="connsiteY6" fmla="*/ 1671637 h 2313876"/>
              <a:gd name="connsiteX7" fmla="*/ 371475 w 2962875"/>
              <a:gd name="connsiteY7" fmla="*/ 1643062 h 2313876"/>
              <a:gd name="connsiteX8" fmla="*/ 366712 w 2962875"/>
              <a:gd name="connsiteY8" fmla="*/ 1585912 h 2313876"/>
              <a:gd name="connsiteX9" fmla="*/ 376237 w 2962875"/>
              <a:gd name="connsiteY9" fmla="*/ 1123950 h 2313876"/>
              <a:gd name="connsiteX10" fmla="*/ 381000 w 2962875"/>
              <a:gd name="connsiteY10" fmla="*/ 1095375 h 2313876"/>
              <a:gd name="connsiteX11" fmla="*/ 385762 w 2962875"/>
              <a:gd name="connsiteY11" fmla="*/ 1062037 h 2313876"/>
              <a:gd name="connsiteX12" fmla="*/ 381000 w 2962875"/>
              <a:gd name="connsiteY12" fmla="*/ 561975 h 2313876"/>
              <a:gd name="connsiteX13" fmla="*/ 376237 w 2962875"/>
              <a:gd name="connsiteY13" fmla="*/ 519112 h 2313876"/>
              <a:gd name="connsiteX14" fmla="*/ 371475 w 2962875"/>
              <a:gd name="connsiteY14" fmla="*/ 471487 h 2313876"/>
              <a:gd name="connsiteX15" fmla="*/ 376237 w 2962875"/>
              <a:gd name="connsiteY15" fmla="*/ 414337 h 2313876"/>
              <a:gd name="connsiteX16" fmla="*/ 433387 w 2962875"/>
              <a:gd name="connsiteY16" fmla="*/ 419100 h 2313876"/>
              <a:gd name="connsiteX17" fmla="*/ 523875 w 2962875"/>
              <a:gd name="connsiteY17" fmla="*/ 414337 h 2313876"/>
              <a:gd name="connsiteX18" fmla="*/ 881062 w 2962875"/>
              <a:gd name="connsiteY18" fmla="*/ 414337 h 2313876"/>
              <a:gd name="connsiteX19" fmla="*/ 914400 w 2962875"/>
              <a:gd name="connsiteY19" fmla="*/ 423862 h 2313876"/>
              <a:gd name="connsiteX20" fmla="*/ 962025 w 2962875"/>
              <a:gd name="connsiteY20" fmla="*/ 428625 h 2313876"/>
              <a:gd name="connsiteX21" fmla="*/ 985837 w 2962875"/>
              <a:gd name="connsiteY21" fmla="*/ 433387 h 2313876"/>
              <a:gd name="connsiteX22" fmla="*/ 1147762 w 2962875"/>
              <a:gd name="connsiteY22" fmla="*/ 423862 h 2313876"/>
              <a:gd name="connsiteX23" fmla="*/ 1166812 w 2962875"/>
              <a:gd name="connsiteY23" fmla="*/ 419100 h 2313876"/>
              <a:gd name="connsiteX24" fmla="*/ 1209675 w 2962875"/>
              <a:gd name="connsiteY24" fmla="*/ 414337 h 2313876"/>
              <a:gd name="connsiteX25" fmla="*/ 1238250 w 2962875"/>
              <a:gd name="connsiteY25" fmla="*/ 409575 h 2313876"/>
              <a:gd name="connsiteX26" fmla="*/ 2433637 w 2962875"/>
              <a:gd name="connsiteY26" fmla="*/ 404812 h 2313876"/>
              <a:gd name="connsiteX27" fmla="*/ 2571750 w 2962875"/>
              <a:gd name="connsiteY27" fmla="*/ 404812 h 2313876"/>
              <a:gd name="connsiteX28" fmla="*/ 2609850 w 2962875"/>
              <a:gd name="connsiteY28" fmla="*/ 423862 h 2313876"/>
              <a:gd name="connsiteX29" fmla="*/ 2619375 w 2962875"/>
              <a:gd name="connsiteY29" fmla="*/ 457200 h 2313876"/>
              <a:gd name="connsiteX30" fmla="*/ 2609850 w 2962875"/>
              <a:gd name="connsiteY30" fmla="*/ 614362 h 2313876"/>
              <a:gd name="connsiteX31" fmla="*/ 2600325 w 2962875"/>
              <a:gd name="connsiteY31" fmla="*/ 652462 h 2313876"/>
              <a:gd name="connsiteX32" fmla="*/ 2595562 w 2962875"/>
              <a:gd name="connsiteY32" fmla="*/ 676275 h 2313876"/>
              <a:gd name="connsiteX33" fmla="*/ 2586037 w 2962875"/>
              <a:gd name="connsiteY33" fmla="*/ 714375 h 2313876"/>
              <a:gd name="connsiteX34" fmla="*/ 2586037 w 2962875"/>
              <a:gd name="connsiteY34" fmla="*/ 1071562 h 2313876"/>
              <a:gd name="connsiteX35" fmla="*/ 2590800 w 2962875"/>
              <a:gd name="connsiteY35" fmla="*/ 1104900 h 2313876"/>
              <a:gd name="connsiteX36" fmla="*/ 2600325 w 2962875"/>
              <a:gd name="connsiteY36" fmla="*/ 1176337 h 2313876"/>
              <a:gd name="connsiteX37" fmla="*/ 2605087 w 2962875"/>
              <a:gd name="connsiteY37" fmla="*/ 1209675 h 2313876"/>
              <a:gd name="connsiteX38" fmla="*/ 2624137 w 2962875"/>
              <a:gd name="connsiteY38" fmla="*/ 1314450 h 2313876"/>
              <a:gd name="connsiteX39" fmla="*/ 2619375 w 2962875"/>
              <a:gd name="connsiteY39" fmla="*/ 1371600 h 2313876"/>
              <a:gd name="connsiteX40" fmla="*/ 2614612 w 2962875"/>
              <a:gd name="connsiteY40" fmla="*/ 1443037 h 2313876"/>
              <a:gd name="connsiteX41" fmla="*/ 2600325 w 2962875"/>
              <a:gd name="connsiteY41" fmla="*/ 1485900 h 2313876"/>
              <a:gd name="connsiteX42" fmla="*/ 2595562 w 2962875"/>
              <a:gd name="connsiteY42" fmla="*/ 1514475 h 2313876"/>
              <a:gd name="connsiteX43" fmla="*/ 2581275 w 2962875"/>
              <a:gd name="connsiteY43" fmla="*/ 1652587 h 2313876"/>
              <a:gd name="connsiteX44" fmla="*/ 2586037 w 2962875"/>
              <a:gd name="connsiteY44" fmla="*/ 1933575 h 2313876"/>
              <a:gd name="connsiteX45" fmla="*/ 2590800 w 2962875"/>
              <a:gd name="connsiteY45" fmla="*/ 1966912 h 2313876"/>
              <a:gd name="connsiteX46" fmla="*/ 2605087 w 2962875"/>
              <a:gd name="connsiteY46" fmla="*/ 2005012 h 2313876"/>
              <a:gd name="connsiteX47" fmla="*/ 2614612 w 2962875"/>
              <a:gd name="connsiteY47" fmla="*/ 2066925 h 2313876"/>
              <a:gd name="connsiteX48" fmla="*/ 2628900 w 2962875"/>
              <a:gd name="connsiteY48" fmla="*/ 2152650 h 2313876"/>
              <a:gd name="connsiteX49" fmla="*/ 2643187 w 2962875"/>
              <a:gd name="connsiteY49" fmla="*/ 2171700 h 2313876"/>
              <a:gd name="connsiteX50" fmla="*/ 2638425 w 2962875"/>
              <a:gd name="connsiteY50" fmla="*/ 2276475 h 2313876"/>
              <a:gd name="connsiteX51" fmla="*/ 2643187 w 2962875"/>
              <a:gd name="connsiteY51" fmla="*/ 2295525 h 2313876"/>
              <a:gd name="connsiteX52" fmla="*/ 2662237 w 2962875"/>
              <a:gd name="connsiteY52" fmla="*/ 2300287 h 2313876"/>
              <a:gd name="connsiteX53" fmla="*/ 2851150 w 2962875"/>
              <a:gd name="connsiteY53" fmla="*/ 2303462 h 2313876"/>
              <a:gd name="connsiteX54" fmla="*/ 2957512 w 2962875"/>
              <a:gd name="connsiteY54" fmla="*/ 2305050 h 2313876"/>
              <a:gd name="connsiteX55" fmla="*/ 2947987 w 2962875"/>
              <a:gd name="connsiteY55" fmla="*/ 2181225 h 2313876"/>
              <a:gd name="connsiteX56" fmla="*/ 2955925 w 2962875"/>
              <a:gd name="connsiteY56" fmla="*/ 2008187 h 2313876"/>
              <a:gd name="connsiteX57" fmla="*/ 2962275 w 2962875"/>
              <a:gd name="connsiteY57" fmla="*/ 1804987 h 2313876"/>
              <a:gd name="connsiteX58" fmla="*/ 2952750 w 2962875"/>
              <a:gd name="connsiteY58" fmla="*/ 1366837 h 2313876"/>
              <a:gd name="connsiteX59" fmla="*/ 2947987 w 2962875"/>
              <a:gd name="connsiteY59" fmla="*/ 1081087 h 2313876"/>
              <a:gd name="connsiteX60" fmla="*/ 2947987 w 2962875"/>
              <a:gd name="connsiteY60" fmla="*/ 922337 h 2313876"/>
              <a:gd name="connsiteX61" fmla="*/ 2952750 w 2962875"/>
              <a:gd name="connsiteY61" fmla="*/ 571500 h 2313876"/>
              <a:gd name="connsiteX62" fmla="*/ 2957512 w 2962875"/>
              <a:gd name="connsiteY62" fmla="*/ 342900 h 2313876"/>
              <a:gd name="connsiteX63" fmla="*/ 2957512 w 2962875"/>
              <a:gd name="connsiteY63" fmla="*/ 34925 h 2313876"/>
              <a:gd name="connsiteX64" fmla="*/ 2867025 w 2962875"/>
              <a:gd name="connsiteY64" fmla="*/ 19050 h 2313876"/>
              <a:gd name="connsiteX65" fmla="*/ 2724150 w 2962875"/>
              <a:gd name="connsiteY65" fmla="*/ 9525 h 2313876"/>
              <a:gd name="connsiteX66" fmla="*/ 2381250 w 2962875"/>
              <a:gd name="connsiteY66" fmla="*/ 14287 h 2313876"/>
              <a:gd name="connsiteX67" fmla="*/ 2324100 w 2962875"/>
              <a:gd name="connsiteY67" fmla="*/ 23812 h 2313876"/>
              <a:gd name="connsiteX68" fmla="*/ 1909762 w 2962875"/>
              <a:gd name="connsiteY68" fmla="*/ 19050 h 2313876"/>
              <a:gd name="connsiteX69" fmla="*/ 1804987 w 2962875"/>
              <a:gd name="connsiteY69" fmla="*/ 9525 h 2313876"/>
              <a:gd name="connsiteX70" fmla="*/ 1776412 w 2962875"/>
              <a:gd name="connsiteY70" fmla="*/ 0 h 2313876"/>
              <a:gd name="connsiteX71" fmla="*/ 1528762 w 2962875"/>
              <a:gd name="connsiteY71" fmla="*/ 4762 h 2313876"/>
              <a:gd name="connsiteX72" fmla="*/ 1143000 w 2962875"/>
              <a:gd name="connsiteY72" fmla="*/ 38100 h 2313876"/>
              <a:gd name="connsiteX73" fmla="*/ 309562 w 2962875"/>
              <a:gd name="connsiteY73" fmla="*/ 23812 h 2313876"/>
              <a:gd name="connsiteX74" fmla="*/ 247650 w 2962875"/>
              <a:gd name="connsiteY74" fmla="*/ 14287 h 2313876"/>
              <a:gd name="connsiteX75" fmla="*/ 185737 w 2962875"/>
              <a:gd name="connsiteY75" fmla="*/ 9525 h 2313876"/>
              <a:gd name="connsiteX76" fmla="*/ 19050 w 2962875"/>
              <a:gd name="connsiteY76" fmla="*/ 14287 h 2313876"/>
              <a:gd name="connsiteX77" fmla="*/ 4762 w 2962875"/>
              <a:gd name="connsiteY77" fmla="*/ 19050 h 2313876"/>
              <a:gd name="connsiteX78" fmla="*/ 9525 w 2962875"/>
              <a:gd name="connsiteY78" fmla="*/ 85725 h 2313876"/>
              <a:gd name="connsiteX79" fmla="*/ 23812 w 2962875"/>
              <a:gd name="connsiteY79" fmla="*/ 171450 h 2313876"/>
              <a:gd name="connsiteX80" fmla="*/ 14287 w 2962875"/>
              <a:gd name="connsiteY80" fmla="*/ 390525 h 2313876"/>
              <a:gd name="connsiteX81" fmla="*/ 0 w 2962875"/>
              <a:gd name="connsiteY81" fmla="*/ 466725 h 2313876"/>
              <a:gd name="connsiteX82" fmla="*/ 9525 w 2962875"/>
              <a:gd name="connsiteY82" fmla="*/ 800100 h 2313876"/>
              <a:gd name="connsiteX83" fmla="*/ 9525 w 2962875"/>
              <a:gd name="connsiteY83" fmla="*/ 871537 h 2313876"/>
              <a:gd name="connsiteX84" fmla="*/ 14287 w 2962875"/>
              <a:gd name="connsiteY84" fmla="*/ 1157287 h 2313876"/>
              <a:gd name="connsiteX85" fmla="*/ 19050 w 2962875"/>
              <a:gd name="connsiteY85" fmla="*/ 1204912 h 2313876"/>
              <a:gd name="connsiteX86" fmla="*/ 28575 w 2962875"/>
              <a:gd name="connsiteY86" fmla="*/ 1243012 h 2313876"/>
              <a:gd name="connsiteX87" fmla="*/ 33337 w 2962875"/>
              <a:gd name="connsiteY87" fmla="*/ 1328737 h 2313876"/>
              <a:gd name="connsiteX88" fmla="*/ 23812 w 2962875"/>
              <a:gd name="connsiteY88" fmla="*/ 1476375 h 2313876"/>
              <a:gd name="connsiteX89" fmla="*/ 14287 w 2962875"/>
              <a:gd name="connsiteY89" fmla="*/ 1562100 h 2313876"/>
              <a:gd name="connsiteX90" fmla="*/ 9525 w 2962875"/>
              <a:gd name="connsiteY90" fmla="*/ 1819275 h 2313876"/>
              <a:gd name="connsiteX91" fmla="*/ 14287 w 2962875"/>
              <a:gd name="connsiteY91" fmla="*/ 2014537 h 2313876"/>
              <a:gd name="connsiteX92" fmla="*/ 23812 w 2962875"/>
              <a:gd name="connsiteY92" fmla="*/ 2066925 h 2313876"/>
              <a:gd name="connsiteX93" fmla="*/ 28575 w 2962875"/>
              <a:gd name="connsiteY93" fmla="*/ 2152650 h 2313876"/>
              <a:gd name="connsiteX94" fmla="*/ 23812 w 2962875"/>
              <a:gd name="connsiteY94" fmla="*/ 2238375 h 2313876"/>
              <a:gd name="connsiteX95" fmla="*/ 14287 w 2962875"/>
              <a:gd name="connsiteY95" fmla="*/ 2300287 h 2313876"/>
              <a:gd name="connsiteX0" fmla="*/ 14287 w 2962875"/>
              <a:gd name="connsiteY0" fmla="*/ 2300287 h 2314046"/>
              <a:gd name="connsiteX1" fmla="*/ 61912 w 2962875"/>
              <a:gd name="connsiteY1" fmla="*/ 2295525 h 2314046"/>
              <a:gd name="connsiteX2" fmla="*/ 95250 w 2962875"/>
              <a:gd name="connsiteY2" fmla="*/ 2286000 h 2314046"/>
              <a:gd name="connsiteX3" fmla="*/ 366712 w 2962875"/>
              <a:gd name="connsiteY3" fmla="*/ 2271712 h 2314046"/>
              <a:gd name="connsiteX4" fmla="*/ 361950 w 2962875"/>
              <a:gd name="connsiteY4" fmla="*/ 2214562 h 2314046"/>
              <a:gd name="connsiteX5" fmla="*/ 381000 w 2962875"/>
              <a:gd name="connsiteY5" fmla="*/ 1985962 h 2314046"/>
              <a:gd name="connsiteX6" fmla="*/ 376237 w 2962875"/>
              <a:gd name="connsiteY6" fmla="*/ 1671637 h 2314046"/>
              <a:gd name="connsiteX7" fmla="*/ 371475 w 2962875"/>
              <a:gd name="connsiteY7" fmla="*/ 1643062 h 2314046"/>
              <a:gd name="connsiteX8" fmla="*/ 366712 w 2962875"/>
              <a:gd name="connsiteY8" fmla="*/ 1585912 h 2314046"/>
              <a:gd name="connsiteX9" fmla="*/ 376237 w 2962875"/>
              <a:gd name="connsiteY9" fmla="*/ 1123950 h 2314046"/>
              <a:gd name="connsiteX10" fmla="*/ 381000 w 2962875"/>
              <a:gd name="connsiteY10" fmla="*/ 1095375 h 2314046"/>
              <a:gd name="connsiteX11" fmla="*/ 385762 w 2962875"/>
              <a:gd name="connsiteY11" fmla="*/ 1062037 h 2314046"/>
              <a:gd name="connsiteX12" fmla="*/ 381000 w 2962875"/>
              <a:gd name="connsiteY12" fmla="*/ 561975 h 2314046"/>
              <a:gd name="connsiteX13" fmla="*/ 376237 w 2962875"/>
              <a:gd name="connsiteY13" fmla="*/ 519112 h 2314046"/>
              <a:gd name="connsiteX14" fmla="*/ 371475 w 2962875"/>
              <a:gd name="connsiteY14" fmla="*/ 471487 h 2314046"/>
              <a:gd name="connsiteX15" fmla="*/ 376237 w 2962875"/>
              <a:gd name="connsiteY15" fmla="*/ 414337 h 2314046"/>
              <a:gd name="connsiteX16" fmla="*/ 433387 w 2962875"/>
              <a:gd name="connsiteY16" fmla="*/ 419100 h 2314046"/>
              <a:gd name="connsiteX17" fmla="*/ 523875 w 2962875"/>
              <a:gd name="connsiteY17" fmla="*/ 414337 h 2314046"/>
              <a:gd name="connsiteX18" fmla="*/ 881062 w 2962875"/>
              <a:gd name="connsiteY18" fmla="*/ 414337 h 2314046"/>
              <a:gd name="connsiteX19" fmla="*/ 914400 w 2962875"/>
              <a:gd name="connsiteY19" fmla="*/ 423862 h 2314046"/>
              <a:gd name="connsiteX20" fmla="*/ 962025 w 2962875"/>
              <a:gd name="connsiteY20" fmla="*/ 428625 h 2314046"/>
              <a:gd name="connsiteX21" fmla="*/ 985837 w 2962875"/>
              <a:gd name="connsiteY21" fmla="*/ 433387 h 2314046"/>
              <a:gd name="connsiteX22" fmla="*/ 1147762 w 2962875"/>
              <a:gd name="connsiteY22" fmla="*/ 423862 h 2314046"/>
              <a:gd name="connsiteX23" fmla="*/ 1166812 w 2962875"/>
              <a:gd name="connsiteY23" fmla="*/ 419100 h 2314046"/>
              <a:gd name="connsiteX24" fmla="*/ 1209675 w 2962875"/>
              <a:gd name="connsiteY24" fmla="*/ 414337 h 2314046"/>
              <a:gd name="connsiteX25" fmla="*/ 1238250 w 2962875"/>
              <a:gd name="connsiteY25" fmla="*/ 409575 h 2314046"/>
              <a:gd name="connsiteX26" fmla="*/ 2433637 w 2962875"/>
              <a:gd name="connsiteY26" fmla="*/ 404812 h 2314046"/>
              <a:gd name="connsiteX27" fmla="*/ 2571750 w 2962875"/>
              <a:gd name="connsiteY27" fmla="*/ 404812 h 2314046"/>
              <a:gd name="connsiteX28" fmla="*/ 2609850 w 2962875"/>
              <a:gd name="connsiteY28" fmla="*/ 423862 h 2314046"/>
              <a:gd name="connsiteX29" fmla="*/ 2619375 w 2962875"/>
              <a:gd name="connsiteY29" fmla="*/ 457200 h 2314046"/>
              <a:gd name="connsiteX30" fmla="*/ 2609850 w 2962875"/>
              <a:gd name="connsiteY30" fmla="*/ 614362 h 2314046"/>
              <a:gd name="connsiteX31" fmla="*/ 2600325 w 2962875"/>
              <a:gd name="connsiteY31" fmla="*/ 652462 h 2314046"/>
              <a:gd name="connsiteX32" fmla="*/ 2595562 w 2962875"/>
              <a:gd name="connsiteY32" fmla="*/ 676275 h 2314046"/>
              <a:gd name="connsiteX33" fmla="*/ 2586037 w 2962875"/>
              <a:gd name="connsiteY33" fmla="*/ 714375 h 2314046"/>
              <a:gd name="connsiteX34" fmla="*/ 2586037 w 2962875"/>
              <a:gd name="connsiteY34" fmla="*/ 1071562 h 2314046"/>
              <a:gd name="connsiteX35" fmla="*/ 2590800 w 2962875"/>
              <a:gd name="connsiteY35" fmla="*/ 1104900 h 2314046"/>
              <a:gd name="connsiteX36" fmla="*/ 2600325 w 2962875"/>
              <a:gd name="connsiteY36" fmla="*/ 1176337 h 2314046"/>
              <a:gd name="connsiteX37" fmla="*/ 2605087 w 2962875"/>
              <a:gd name="connsiteY37" fmla="*/ 1209675 h 2314046"/>
              <a:gd name="connsiteX38" fmla="*/ 2624137 w 2962875"/>
              <a:gd name="connsiteY38" fmla="*/ 1314450 h 2314046"/>
              <a:gd name="connsiteX39" fmla="*/ 2619375 w 2962875"/>
              <a:gd name="connsiteY39" fmla="*/ 1371600 h 2314046"/>
              <a:gd name="connsiteX40" fmla="*/ 2614612 w 2962875"/>
              <a:gd name="connsiteY40" fmla="*/ 1443037 h 2314046"/>
              <a:gd name="connsiteX41" fmla="*/ 2600325 w 2962875"/>
              <a:gd name="connsiteY41" fmla="*/ 1485900 h 2314046"/>
              <a:gd name="connsiteX42" fmla="*/ 2595562 w 2962875"/>
              <a:gd name="connsiteY42" fmla="*/ 1514475 h 2314046"/>
              <a:gd name="connsiteX43" fmla="*/ 2581275 w 2962875"/>
              <a:gd name="connsiteY43" fmla="*/ 1652587 h 2314046"/>
              <a:gd name="connsiteX44" fmla="*/ 2586037 w 2962875"/>
              <a:gd name="connsiteY44" fmla="*/ 1933575 h 2314046"/>
              <a:gd name="connsiteX45" fmla="*/ 2590800 w 2962875"/>
              <a:gd name="connsiteY45" fmla="*/ 1966912 h 2314046"/>
              <a:gd name="connsiteX46" fmla="*/ 2605087 w 2962875"/>
              <a:gd name="connsiteY46" fmla="*/ 2005012 h 2314046"/>
              <a:gd name="connsiteX47" fmla="*/ 2614612 w 2962875"/>
              <a:gd name="connsiteY47" fmla="*/ 2066925 h 2314046"/>
              <a:gd name="connsiteX48" fmla="*/ 2628900 w 2962875"/>
              <a:gd name="connsiteY48" fmla="*/ 2152650 h 2314046"/>
              <a:gd name="connsiteX49" fmla="*/ 2643187 w 2962875"/>
              <a:gd name="connsiteY49" fmla="*/ 2171700 h 2314046"/>
              <a:gd name="connsiteX50" fmla="*/ 2638425 w 2962875"/>
              <a:gd name="connsiteY50" fmla="*/ 2276475 h 2314046"/>
              <a:gd name="connsiteX51" fmla="*/ 2643187 w 2962875"/>
              <a:gd name="connsiteY51" fmla="*/ 2295525 h 2314046"/>
              <a:gd name="connsiteX52" fmla="*/ 2851150 w 2962875"/>
              <a:gd name="connsiteY52" fmla="*/ 2303462 h 2314046"/>
              <a:gd name="connsiteX53" fmla="*/ 2957512 w 2962875"/>
              <a:gd name="connsiteY53" fmla="*/ 2305050 h 2314046"/>
              <a:gd name="connsiteX54" fmla="*/ 2947987 w 2962875"/>
              <a:gd name="connsiteY54" fmla="*/ 2181225 h 2314046"/>
              <a:gd name="connsiteX55" fmla="*/ 2955925 w 2962875"/>
              <a:gd name="connsiteY55" fmla="*/ 2008187 h 2314046"/>
              <a:gd name="connsiteX56" fmla="*/ 2962275 w 2962875"/>
              <a:gd name="connsiteY56" fmla="*/ 1804987 h 2314046"/>
              <a:gd name="connsiteX57" fmla="*/ 2952750 w 2962875"/>
              <a:gd name="connsiteY57" fmla="*/ 1366837 h 2314046"/>
              <a:gd name="connsiteX58" fmla="*/ 2947987 w 2962875"/>
              <a:gd name="connsiteY58" fmla="*/ 1081087 h 2314046"/>
              <a:gd name="connsiteX59" fmla="*/ 2947987 w 2962875"/>
              <a:gd name="connsiteY59" fmla="*/ 922337 h 2314046"/>
              <a:gd name="connsiteX60" fmla="*/ 2952750 w 2962875"/>
              <a:gd name="connsiteY60" fmla="*/ 571500 h 2314046"/>
              <a:gd name="connsiteX61" fmla="*/ 2957512 w 2962875"/>
              <a:gd name="connsiteY61" fmla="*/ 342900 h 2314046"/>
              <a:gd name="connsiteX62" fmla="*/ 2957512 w 2962875"/>
              <a:gd name="connsiteY62" fmla="*/ 34925 h 2314046"/>
              <a:gd name="connsiteX63" fmla="*/ 2867025 w 2962875"/>
              <a:gd name="connsiteY63" fmla="*/ 19050 h 2314046"/>
              <a:gd name="connsiteX64" fmla="*/ 2724150 w 2962875"/>
              <a:gd name="connsiteY64" fmla="*/ 9525 h 2314046"/>
              <a:gd name="connsiteX65" fmla="*/ 2381250 w 2962875"/>
              <a:gd name="connsiteY65" fmla="*/ 14287 h 2314046"/>
              <a:gd name="connsiteX66" fmla="*/ 2324100 w 2962875"/>
              <a:gd name="connsiteY66" fmla="*/ 23812 h 2314046"/>
              <a:gd name="connsiteX67" fmla="*/ 1909762 w 2962875"/>
              <a:gd name="connsiteY67" fmla="*/ 19050 h 2314046"/>
              <a:gd name="connsiteX68" fmla="*/ 1804987 w 2962875"/>
              <a:gd name="connsiteY68" fmla="*/ 9525 h 2314046"/>
              <a:gd name="connsiteX69" fmla="*/ 1776412 w 2962875"/>
              <a:gd name="connsiteY69" fmla="*/ 0 h 2314046"/>
              <a:gd name="connsiteX70" fmla="*/ 1528762 w 2962875"/>
              <a:gd name="connsiteY70" fmla="*/ 4762 h 2314046"/>
              <a:gd name="connsiteX71" fmla="*/ 1143000 w 2962875"/>
              <a:gd name="connsiteY71" fmla="*/ 38100 h 2314046"/>
              <a:gd name="connsiteX72" fmla="*/ 309562 w 2962875"/>
              <a:gd name="connsiteY72" fmla="*/ 23812 h 2314046"/>
              <a:gd name="connsiteX73" fmla="*/ 247650 w 2962875"/>
              <a:gd name="connsiteY73" fmla="*/ 14287 h 2314046"/>
              <a:gd name="connsiteX74" fmla="*/ 185737 w 2962875"/>
              <a:gd name="connsiteY74" fmla="*/ 9525 h 2314046"/>
              <a:gd name="connsiteX75" fmla="*/ 19050 w 2962875"/>
              <a:gd name="connsiteY75" fmla="*/ 14287 h 2314046"/>
              <a:gd name="connsiteX76" fmla="*/ 4762 w 2962875"/>
              <a:gd name="connsiteY76" fmla="*/ 19050 h 2314046"/>
              <a:gd name="connsiteX77" fmla="*/ 9525 w 2962875"/>
              <a:gd name="connsiteY77" fmla="*/ 85725 h 2314046"/>
              <a:gd name="connsiteX78" fmla="*/ 23812 w 2962875"/>
              <a:gd name="connsiteY78" fmla="*/ 171450 h 2314046"/>
              <a:gd name="connsiteX79" fmla="*/ 14287 w 2962875"/>
              <a:gd name="connsiteY79" fmla="*/ 390525 h 2314046"/>
              <a:gd name="connsiteX80" fmla="*/ 0 w 2962875"/>
              <a:gd name="connsiteY80" fmla="*/ 466725 h 2314046"/>
              <a:gd name="connsiteX81" fmla="*/ 9525 w 2962875"/>
              <a:gd name="connsiteY81" fmla="*/ 800100 h 2314046"/>
              <a:gd name="connsiteX82" fmla="*/ 9525 w 2962875"/>
              <a:gd name="connsiteY82" fmla="*/ 871537 h 2314046"/>
              <a:gd name="connsiteX83" fmla="*/ 14287 w 2962875"/>
              <a:gd name="connsiteY83" fmla="*/ 1157287 h 2314046"/>
              <a:gd name="connsiteX84" fmla="*/ 19050 w 2962875"/>
              <a:gd name="connsiteY84" fmla="*/ 1204912 h 2314046"/>
              <a:gd name="connsiteX85" fmla="*/ 28575 w 2962875"/>
              <a:gd name="connsiteY85" fmla="*/ 1243012 h 2314046"/>
              <a:gd name="connsiteX86" fmla="*/ 33337 w 2962875"/>
              <a:gd name="connsiteY86" fmla="*/ 1328737 h 2314046"/>
              <a:gd name="connsiteX87" fmla="*/ 23812 w 2962875"/>
              <a:gd name="connsiteY87" fmla="*/ 1476375 h 2314046"/>
              <a:gd name="connsiteX88" fmla="*/ 14287 w 2962875"/>
              <a:gd name="connsiteY88" fmla="*/ 1562100 h 2314046"/>
              <a:gd name="connsiteX89" fmla="*/ 9525 w 2962875"/>
              <a:gd name="connsiteY89" fmla="*/ 1819275 h 2314046"/>
              <a:gd name="connsiteX90" fmla="*/ 14287 w 2962875"/>
              <a:gd name="connsiteY90" fmla="*/ 2014537 h 2314046"/>
              <a:gd name="connsiteX91" fmla="*/ 23812 w 2962875"/>
              <a:gd name="connsiteY91" fmla="*/ 2066925 h 2314046"/>
              <a:gd name="connsiteX92" fmla="*/ 28575 w 2962875"/>
              <a:gd name="connsiteY92" fmla="*/ 2152650 h 2314046"/>
              <a:gd name="connsiteX93" fmla="*/ 23812 w 2962875"/>
              <a:gd name="connsiteY93" fmla="*/ 2238375 h 2314046"/>
              <a:gd name="connsiteX94" fmla="*/ 14287 w 2962875"/>
              <a:gd name="connsiteY94" fmla="*/ 2300287 h 2314046"/>
              <a:gd name="connsiteX0" fmla="*/ 14287 w 2962875"/>
              <a:gd name="connsiteY0" fmla="*/ 2300287 h 2314046"/>
              <a:gd name="connsiteX1" fmla="*/ 61912 w 2962875"/>
              <a:gd name="connsiteY1" fmla="*/ 2295525 h 2314046"/>
              <a:gd name="connsiteX2" fmla="*/ 95250 w 2962875"/>
              <a:gd name="connsiteY2" fmla="*/ 2286000 h 2314046"/>
              <a:gd name="connsiteX3" fmla="*/ 366712 w 2962875"/>
              <a:gd name="connsiteY3" fmla="*/ 2271712 h 2314046"/>
              <a:gd name="connsiteX4" fmla="*/ 361950 w 2962875"/>
              <a:gd name="connsiteY4" fmla="*/ 2214562 h 2314046"/>
              <a:gd name="connsiteX5" fmla="*/ 381000 w 2962875"/>
              <a:gd name="connsiteY5" fmla="*/ 1985962 h 2314046"/>
              <a:gd name="connsiteX6" fmla="*/ 376237 w 2962875"/>
              <a:gd name="connsiteY6" fmla="*/ 1671637 h 2314046"/>
              <a:gd name="connsiteX7" fmla="*/ 371475 w 2962875"/>
              <a:gd name="connsiteY7" fmla="*/ 1643062 h 2314046"/>
              <a:gd name="connsiteX8" fmla="*/ 366712 w 2962875"/>
              <a:gd name="connsiteY8" fmla="*/ 1585912 h 2314046"/>
              <a:gd name="connsiteX9" fmla="*/ 376237 w 2962875"/>
              <a:gd name="connsiteY9" fmla="*/ 1123950 h 2314046"/>
              <a:gd name="connsiteX10" fmla="*/ 381000 w 2962875"/>
              <a:gd name="connsiteY10" fmla="*/ 1095375 h 2314046"/>
              <a:gd name="connsiteX11" fmla="*/ 385762 w 2962875"/>
              <a:gd name="connsiteY11" fmla="*/ 1062037 h 2314046"/>
              <a:gd name="connsiteX12" fmla="*/ 381000 w 2962875"/>
              <a:gd name="connsiteY12" fmla="*/ 561975 h 2314046"/>
              <a:gd name="connsiteX13" fmla="*/ 376237 w 2962875"/>
              <a:gd name="connsiteY13" fmla="*/ 519112 h 2314046"/>
              <a:gd name="connsiteX14" fmla="*/ 371475 w 2962875"/>
              <a:gd name="connsiteY14" fmla="*/ 471487 h 2314046"/>
              <a:gd name="connsiteX15" fmla="*/ 376237 w 2962875"/>
              <a:gd name="connsiteY15" fmla="*/ 414337 h 2314046"/>
              <a:gd name="connsiteX16" fmla="*/ 433387 w 2962875"/>
              <a:gd name="connsiteY16" fmla="*/ 419100 h 2314046"/>
              <a:gd name="connsiteX17" fmla="*/ 523875 w 2962875"/>
              <a:gd name="connsiteY17" fmla="*/ 414337 h 2314046"/>
              <a:gd name="connsiteX18" fmla="*/ 881062 w 2962875"/>
              <a:gd name="connsiteY18" fmla="*/ 414337 h 2314046"/>
              <a:gd name="connsiteX19" fmla="*/ 914400 w 2962875"/>
              <a:gd name="connsiteY19" fmla="*/ 423862 h 2314046"/>
              <a:gd name="connsiteX20" fmla="*/ 962025 w 2962875"/>
              <a:gd name="connsiteY20" fmla="*/ 428625 h 2314046"/>
              <a:gd name="connsiteX21" fmla="*/ 985837 w 2962875"/>
              <a:gd name="connsiteY21" fmla="*/ 433387 h 2314046"/>
              <a:gd name="connsiteX22" fmla="*/ 1147762 w 2962875"/>
              <a:gd name="connsiteY22" fmla="*/ 423862 h 2314046"/>
              <a:gd name="connsiteX23" fmla="*/ 1166812 w 2962875"/>
              <a:gd name="connsiteY23" fmla="*/ 419100 h 2314046"/>
              <a:gd name="connsiteX24" fmla="*/ 1209675 w 2962875"/>
              <a:gd name="connsiteY24" fmla="*/ 414337 h 2314046"/>
              <a:gd name="connsiteX25" fmla="*/ 1238250 w 2962875"/>
              <a:gd name="connsiteY25" fmla="*/ 409575 h 2314046"/>
              <a:gd name="connsiteX26" fmla="*/ 2433637 w 2962875"/>
              <a:gd name="connsiteY26" fmla="*/ 404812 h 2314046"/>
              <a:gd name="connsiteX27" fmla="*/ 2571750 w 2962875"/>
              <a:gd name="connsiteY27" fmla="*/ 404812 h 2314046"/>
              <a:gd name="connsiteX28" fmla="*/ 2609850 w 2962875"/>
              <a:gd name="connsiteY28" fmla="*/ 423862 h 2314046"/>
              <a:gd name="connsiteX29" fmla="*/ 2619375 w 2962875"/>
              <a:gd name="connsiteY29" fmla="*/ 457200 h 2314046"/>
              <a:gd name="connsiteX30" fmla="*/ 2609850 w 2962875"/>
              <a:gd name="connsiteY30" fmla="*/ 614362 h 2314046"/>
              <a:gd name="connsiteX31" fmla="*/ 2600325 w 2962875"/>
              <a:gd name="connsiteY31" fmla="*/ 652462 h 2314046"/>
              <a:gd name="connsiteX32" fmla="*/ 2595562 w 2962875"/>
              <a:gd name="connsiteY32" fmla="*/ 676275 h 2314046"/>
              <a:gd name="connsiteX33" fmla="*/ 2586037 w 2962875"/>
              <a:gd name="connsiteY33" fmla="*/ 714375 h 2314046"/>
              <a:gd name="connsiteX34" fmla="*/ 2586037 w 2962875"/>
              <a:gd name="connsiteY34" fmla="*/ 1071562 h 2314046"/>
              <a:gd name="connsiteX35" fmla="*/ 2590800 w 2962875"/>
              <a:gd name="connsiteY35" fmla="*/ 1104900 h 2314046"/>
              <a:gd name="connsiteX36" fmla="*/ 2600325 w 2962875"/>
              <a:gd name="connsiteY36" fmla="*/ 1176337 h 2314046"/>
              <a:gd name="connsiteX37" fmla="*/ 2605087 w 2962875"/>
              <a:gd name="connsiteY37" fmla="*/ 1209675 h 2314046"/>
              <a:gd name="connsiteX38" fmla="*/ 2624137 w 2962875"/>
              <a:gd name="connsiteY38" fmla="*/ 1314450 h 2314046"/>
              <a:gd name="connsiteX39" fmla="*/ 2619375 w 2962875"/>
              <a:gd name="connsiteY39" fmla="*/ 1371600 h 2314046"/>
              <a:gd name="connsiteX40" fmla="*/ 2614612 w 2962875"/>
              <a:gd name="connsiteY40" fmla="*/ 1443037 h 2314046"/>
              <a:gd name="connsiteX41" fmla="*/ 2600325 w 2962875"/>
              <a:gd name="connsiteY41" fmla="*/ 1485900 h 2314046"/>
              <a:gd name="connsiteX42" fmla="*/ 2595562 w 2962875"/>
              <a:gd name="connsiteY42" fmla="*/ 1514475 h 2314046"/>
              <a:gd name="connsiteX43" fmla="*/ 2581275 w 2962875"/>
              <a:gd name="connsiteY43" fmla="*/ 1652587 h 2314046"/>
              <a:gd name="connsiteX44" fmla="*/ 2586037 w 2962875"/>
              <a:gd name="connsiteY44" fmla="*/ 1933575 h 2314046"/>
              <a:gd name="connsiteX45" fmla="*/ 2590800 w 2962875"/>
              <a:gd name="connsiteY45" fmla="*/ 1966912 h 2314046"/>
              <a:gd name="connsiteX46" fmla="*/ 2605087 w 2962875"/>
              <a:gd name="connsiteY46" fmla="*/ 2005012 h 2314046"/>
              <a:gd name="connsiteX47" fmla="*/ 2614612 w 2962875"/>
              <a:gd name="connsiteY47" fmla="*/ 2066925 h 2314046"/>
              <a:gd name="connsiteX48" fmla="*/ 2628900 w 2962875"/>
              <a:gd name="connsiteY48" fmla="*/ 2152650 h 2314046"/>
              <a:gd name="connsiteX49" fmla="*/ 2638425 w 2962875"/>
              <a:gd name="connsiteY49" fmla="*/ 2276475 h 2314046"/>
              <a:gd name="connsiteX50" fmla="*/ 2643187 w 2962875"/>
              <a:gd name="connsiteY50" fmla="*/ 2295525 h 2314046"/>
              <a:gd name="connsiteX51" fmla="*/ 2851150 w 2962875"/>
              <a:gd name="connsiteY51" fmla="*/ 2303462 h 2314046"/>
              <a:gd name="connsiteX52" fmla="*/ 2957512 w 2962875"/>
              <a:gd name="connsiteY52" fmla="*/ 2305050 h 2314046"/>
              <a:gd name="connsiteX53" fmla="*/ 2947987 w 2962875"/>
              <a:gd name="connsiteY53" fmla="*/ 2181225 h 2314046"/>
              <a:gd name="connsiteX54" fmla="*/ 2955925 w 2962875"/>
              <a:gd name="connsiteY54" fmla="*/ 2008187 h 2314046"/>
              <a:gd name="connsiteX55" fmla="*/ 2962275 w 2962875"/>
              <a:gd name="connsiteY55" fmla="*/ 1804987 h 2314046"/>
              <a:gd name="connsiteX56" fmla="*/ 2952750 w 2962875"/>
              <a:gd name="connsiteY56" fmla="*/ 1366837 h 2314046"/>
              <a:gd name="connsiteX57" fmla="*/ 2947987 w 2962875"/>
              <a:gd name="connsiteY57" fmla="*/ 1081087 h 2314046"/>
              <a:gd name="connsiteX58" fmla="*/ 2947987 w 2962875"/>
              <a:gd name="connsiteY58" fmla="*/ 922337 h 2314046"/>
              <a:gd name="connsiteX59" fmla="*/ 2952750 w 2962875"/>
              <a:gd name="connsiteY59" fmla="*/ 571500 h 2314046"/>
              <a:gd name="connsiteX60" fmla="*/ 2957512 w 2962875"/>
              <a:gd name="connsiteY60" fmla="*/ 342900 h 2314046"/>
              <a:gd name="connsiteX61" fmla="*/ 2957512 w 2962875"/>
              <a:gd name="connsiteY61" fmla="*/ 34925 h 2314046"/>
              <a:gd name="connsiteX62" fmla="*/ 2867025 w 2962875"/>
              <a:gd name="connsiteY62" fmla="*/ 19050 h 2314046"/>
              <a:gd name="connsiteX63" fmla="*/ 2724150 w 2962875"/>
              <a:gd name="connsiteY63" fmla="*/ 9525 h 2314046"/>
              <a:gd name="connsiteX64" fmla="*/ 2381250 w 2962875"/>
              <a:gd name="connsiteY64" fmla="*/ 14287 h 2314046"/>
              <a:gd name="connsiteX65" fmla="*/ 2324100 w 2962875"/>
              <a:gd name="connsiteY65" fmla="*/ 23812 h 2314046"/>
              <a:gd name="connsiteX66" fmla="*/ 1909762 w 2962875"/>
              <a:gd name="connsiteY66" fmla="*/ 19050 h 2314046"/>
              <a:gd name="connsiteX67" fmla="*/ 1804987 w 2962875"/>
              <a:gd name="connsiteY67" fmla="*/ 9525 h 2314046"/>
              <a:gd name="connsiteX68" fmla="*/ 1776412 w 2962875"/>
              <a:gd name="connsiteY68" fmla="*/ 0 h 2314046"/>
              <a:gd name="connsiteX69" fmla="*/ 1528762 w 2962875"/>
              <a:gd name="connsiteY69" fmla="*/ 4762 h 2314046"/>
              <a:gd name="connsiteX70" fmla="*/ 1143000 w 2962875"/>
              <a:gd name="connsiteY70" fmla="*/ 38100 h 2314046"/>
              <a:gd name="connsiteX71" fmla="*/ 309562 w 2962875"/>
              <a:gd name="connsiteY71" fmla="*/ 23812 h 2314046"/>
              <a:gd name="connsiteX72" fmla="*/ 247650 w 2962875"/>
              <a:gd name="connsiteY72" fmla="*/ 14287 h 2314046"/>
              <a:gd name="connsiteX73" fmla="*/ 185737 w 2962875"/>
              <a:gd name="connsiteY73" fmla="*/ 9525 h 2314046"/>
              <a:gd name="connsiteX74" fmla="*/ 19050 w 2962875"/>
              <a:gd name="connsiteY74" fmla="*/ 14287 h 2314046"/>
              <a:gd name="connsiteX75" fmla="*/ 4762 w 2962875"/>
              <a:gd name="connsiteY75" fmla="*/ 19050 h 2314046"/>
              <a:gd name="connsiteX76" fmla="*/ 9525 w 2962875"/>
              <a:gd name="connsiteY76" fmla="*/ 85725 h 2314046"/>
              <a:gd name="connsiteX77" fmla="*/ 23812 w 2962875"/>
              <a:gd name="connsiteY77" fmla="*/ 171450 h 2314046"/>
              <a:gd name="connsiteX78" fmla="*/ 14287 w 2962875"/>
              <a:gd name="connsiteY78" fmla="*/ 390525 h 2314046"/>
              <a:gd name="connsiteX79" fmla="*/ 0 w 2962875"/>
              <a:gd name="connsiteY79" fmla="*/ 466725 h 2314046"/>
              <a:gd name="connsiteX80" fmla="*/ 9525 w 2962875"/>
              <a:gd name="connsiteY80" fmla="*/ 800100 h 2314046"/>
              <a:gd name="connsiteX81" fmla="*/ 9525 w 2962875"/>
              <a:gd name="connsiteY81" fmla="*/ 871537 h 2314046"/>
              <a:gd name="connsiteX82" fmla="*/ 14287 w 2962875"/>
              <a:gd name="connsiteY82" fmla="*/ 1157287 h 2314046"/>
              <a:gd name="connsiteX83" fmla="*/ 19050 w 2962875"/>
              <a:gd name="connsiteY83" fmla="*/ 1204912 h 2314046"/>
              <a:gd name="connsiteX84" fmla="*/ 28575 w 2962875"/>
              <a:gd name="connsiteY84" fmla="*/ 1243012 h 2314046"/>
              <a:gd name="connsiteX85" fmla="*/ 33337 w 2962875"/>
              <a:gd name="connsiteY85" fmla="*/ 1328737 h 2314046"/>
              <a:gd name="connsiteX86" fmla="*/ 23812 w 2962875"/>
              <a:gd name="connsiteY86" fmla="*/ 1476375 h 2314046"/>
              <a:gd name="connsiteX87" fmla="*/ 14287 w 2962875"/>
              <a:gd name="connsiteY87" fmla="*/ 1562100 h 2314046"/>
              <a:gd name="connsiteX88" fmla="*/ 9525 w 2962875"/>
              <a:gd name="connsiteY88" fmla="*/ 1819275 h 2314046"/>
              <a:gd name="connsiteX89" fmla="*/ 14287 w 2962875"/>
              <a:gd name="connsiteY89" fmla="*/ 2014537 h 2314046"/>
              <a:gd name="connsiteX90" fmla="*/ 23812 w 2962875"/>
              <a:gd name="connsiteY90" fmla="*/ 2066925 h 2314046"/>
              <a:gd name="connsiteX91" fmla="*/ 28575 w 2962875"/>
              <a:gd name="connsiteY91" fmla="*/ 2152650 h 2314046"/>
              <a:gd name="connsiteX92" fmla="*/ 23812 w 2962875"/>
              <a:gd name="connsiteY92" fmla="*/ 2238375 h 2314046"/>
              <a:gd name="connsiteX93" fmla="*/ 14287 w 2962875"/>
              <a:gd name="connsiteY93" fmla="*/ 2300287 h 2314046"/>
              <a:gd name="connsiteX0" fmla="*/ 14287 w 2962875"/>
              <a:gd name="connsiteY0" fmla="*/ 2300287 h 2314046"/>
              <a:gd name="connsiteX1" fmla="*/ 61912 w 2962875"/>
              <a:gd name="connsiteY1" fmla="*/ 2295525 h 2314046"/>
              <a:gd name="connsiteX2" fmla="*/ 95250 w 2962875"/>
              <a:gd name="connsiteY2" fmla="*/ 2286000 h 2314046"/>
              <a:gd name="connsiteX3" fmla="*/ 366712 w 2962875"/>
              <a:gd name="connsiteY3" fmla="*/ 2271712 h 2314046"/>
              <a:gd name="connsiteX4" fmla="*/ 361950 w 2962875"/>
              <a:gd name="connsiteY4" fmla="*/ 2214562 h 2314046"/>
              <a:gd name="connsiteX5" fmla="*/ 381000 w 2962875"/>
              <a:gd name="connsiteY5" fmla="*/ 1985962 h 2314046"/>
              <a:gd name="connsiteX6" fmla="*/ 376237 w 2962875"/>
              <a:gd name="connsiteY6" fmla="*/ 1671637 h 2314046"/>
              <a:gd name="connsiteX7" fmla="*/ 371475 w 2962875"/>
              <a:gd name="connsiteY7" fmla="*/ 1643062 h 2314046"/>
              <a:gd name="connsiteX8" fmla="*/ 366712 w 2962875"/>
              <a:gd name="connsiteY8" fmla="*/ 1585912 h 2314046"/>
              <a:gd name="connsiteX9" fmla="*/ 376237 w 2962875"/>
              <a:gd name="connsiteY9" fmla="*/ 1123950 h 2314046"/>
              <a:gd name="connsiteX10" fmla="*/ 381000 w 2962875"/>
              <a:gd name="connsiteY10" fmla="*/ 1095375 h 2314046"/>
              <a:gd name="connsiteX11" fmla="*/ 385762 w 2962875"/>
              <a:gd name="connsiteY11" fmla="*/ 1062037 h 2314046"/>
              <a:gd name="connsiteX12" fmla="*/ 381000 w 2962875"/>
              <a:gd name="connsiteY12" fmla="*/ 561975 h 2314046"/>
              <a:gd name="connsiteX13" fmla="*/ 376237 w 2962875"/>
              <a:gd name="connsiteY13" fmla="*/ 519112 h 2314046"/>
              <a:gd name="connsiteX14" fmla="*/ 371475 w 2962875"/>
              <a:gd name="connsiteY14" fmla="*/ 471487 h 2314046"/>
              <a:gd name="connsiteX15" fmla="*/ 376237 w 2962875"/>
              <a:gd name="connsiteY15" fmla="*/ 414337 h 2314046"/>
              <a:gd name="connsiteX16" fmla="*/ 433387 w 2962875"/>
              <a:gd name="connsiteY16" fmla="*/ 419100 h 2314046"/>
              <a:gd name="connsiteX17" fmla="*/ 523875 w 2962875"/>
              <a:gd name="connsiteY17" fmla="*/ 414337 h 2314046"/>
              <a:gd name="connsiteX18" fmla="*/ 881062 w 2962875"/>
              <a:gd name="connsiteY18" fmla="*/ 414337 h 2314046"/>
              <a:gd name="connsiteX19" fmla="*/ 914400 w 2962875"/>
              <a:gd name="connsiteY19" fmla="*/ 423862 h 2314046"/>
              <a:gd name="connsiteX20" fmla="*/ 962025 w 2962875"/>
              <a:gd name="connsiteY20" fmla="*/ 428625 h 2314046"/>
              <a:gd name="connsiteX21" fmla="*/ 985837 w 2962875"/>
              <a:gd name="connsiteY21" fmla="*/ 433387 h 2314046"/>
              <a:gd name="connsiteX22" fmla="*/ 1147762 w 2962875"/>
              <a:gd name="connsiteY22" fmla="*/ 423862 h 2314046"/>
              <a:gd name="connsiteX23" fmla="*/ 1166812 w 2962875"/>
              <a:gd name="connsiteY23" fmla="*/ 419100 h 2314046"/>
              <a:gd name="connsiteX24" fmla="*/ 1209675 w 2962875"/>
              <a:gd name="connsiteY24" fmla="*/ 414337 h 2314046"/>
              <a:gd name="connsiteX25" fmla="*/ 1238250 w 2962875"/>
              <a:gd name="connsiteY25" fmla="*/ 409575 h 2314046"/>
              <a:gd name="connsiteX26" fmla="*/ 2433637 w 2962875"/>
              <a:gd name="connsiteY26" fmla="*/ 404812 h 2314046"/>
              <a:gd name="connsiteX27" fmla="*/ 2571750 w 2962875"/>
              <a:gd name="connsiteY27" fmla="*/ 404812 h 2314046"/>
              <a:gd name="connsiteX28" fmla="*/ 2609850 w 2962875"/>
              <a:gd name="connsiteY28" fmla="*/ 423862 h 2314046"/>
              <a:gd name="connsiteX29" fmla="*/ 2619375 w 2962875"/>
              <a:gd name="connsiteY29" fmla="*/ 457200 h 2314046"/>
              <a:gd name="connsiteX30" fmla="*/ 2609850 w 2962875"/>
              <a:gd name="connsiteY30" fmla="*/ 614362 h 2314046"/>
              <a:gd name="connsiteX31" fmla="*/ 2600325 w 2962875"/>
              <a:gd name="connsiteY31" fmla="*/ 652462 h 2314046"/>
              <a:gd name="connsiteX32" fmla="*/ 2595562 w 2962875"/>
              <a:gd name="connsiteY32" fmla="*/ 676275 h 2314046"/>
              <a:gd name="connsiteX33" fmla="*/ 2586037 w 2962875"/>
              <a:gd name="connsiteY33" fmla="*/ 714375 h 2314046"/>
              <a:gd name="connsiteX34" fmla="*/ 2586037 w 2962875"/>
              <a:gd name="connsiteY34" fmla="*/ 1071562 h 2314046"/>
              <a:gd name="connsiteX35" fmla="*/ 2590800 w 2962875"/>
              <a:gd name="connsiteY35" fmla="*/ 1104900 h 2314046"/>
              <a:gd name="connsiteX36" fmla="*/ 2600325 w 2962875"/>
              <a:gd name="connsiteY36" fmla="*/ 1176337 h 2314046"/>
              <a:gd name="connsiteX37" fmla="*/ 2605087 w 2962875"/>
              <a:gd name="connsiteY37" fmla="*/ 1209675 h 2314046"/>
              <a:gd name="connsiteX38" fmla="*/ 2624137 w 2962875"/>
              <a:gd name="connsiteY38" fmla="*/ 1314450 h 2314046"/>
              <a:gd name="connsiteX39" fmla="*/ 2619375 w 2962875"/>
              <a:gd name="connsiteY39" fmla="*/ 1371600 h 2314046"/>
              <a:gd name="connsiteX40" fmla="*/ 2614612 w 2962875"/>
              <a:gd name="connsiteY40" fmla="*/ 1443037 h 2314046"/>
              <a:gd name="connsiteX41" fmla="*/ 2600325 w 2962875"/>
              <a:gd name="connsiteY41" fmla="*/ 1485900 h 2314046"/>
              <a:gd name="connsiteX42" fmla="*/ 2595562 w 2962875"/>
              <a:gd name="connsiteY42" fmla="*/ 1514475 h 2314046"/>
              <a:gd name="connsiteX43" fmla="*/ 2581275 w 2962875"/>
              <a:gd name="connsiteY43" fmla="*/ 1652587 h 2314046"/>
              <a:gd name="connsiteX44" fmla="*/ 2586037 w 2962875"/>
              <a:gd name="connsiteY44" fmla="*/ 1933575 h 2314046"/>
              <a:gd name="connsiteX45" fmla="*/ 2590800 w 2962875"/>
              <a:gd name="connsiteY45" fmla="*/ 1966912 h 2314046"/>
              <a:gd name="connsiteX46" fmla="*/ 2605087 w 2962875"/>
              <a:gd name="connsiteY46" fmla="*/ 2005012 h 2314046"/>
              <a:gd name="connsiteX47" fmla="*/ 2614612 w 2962875"/>
              <a:gd name="connsiteY47" fmla="*/ 2066925 h 2314046"/>
              <a:gd name="connsiteX48" fmla="*/ 2638425 w 2962875"/>
              <a:gd name="connsiteY48" fmla="*/ 2276475 h 2314046"/>
              <a:gd name="connsiteX49" fmla="*/ 2643187 w 2962875"/>
              <a:gd name="connsiteY49" fmla="*/ 2295525 h 2314046"/>
              <a:gd name="connsiteX50" fmla="*/ 2851150 w 2962875"/>
              <a:gd name="connsiteY50" fmla="*/ 2303462 h 2314046"/>
              <a:gd name="connsiteX51" fmla="*/ 2957512 w 2962875"/>
              <a:gd name="connsiteY51" fmla="*/ 2305050 h 2314046"/>
              <a:gd name="connsiteX52" fmla="*/ 2947987 w 2962875"/>
              <a:gd name="connsiteY52" fmla="*/ 2181225 h 2314046"/>
              <a:gd name="connsiteX53" fmla="*/ 2955925 w 2962875"/>
              <a:gd name="connsiteY53" fmla="*/ 2008187 h 2314046"/>
              <a:gd name="connsiteX54" fmla="*/ 2962275 w 2962875"/>
              <a:gd name="connsiteY54" fmla="*/ 1804987 h 2314046"/>
              <a:gd name="connsiteX55" fmla="*/ 2952750 w 2962875"/>
              <a:gd name="connsiteY55" fmla="*/ 1366837 h 2314046"/>
              <a:gd name="connsiteX56" fmla="*/ 2947987 w 2962875"/>
              <a:gd name="connsiteY56" fmla="*/ 1081087 h 2314046"/>
              <a:gd name="connsiteX57" fmla="*/ 2947987 w 2962875"/>
              <a:gd name="connsiteY57" fmla="*/ 922337 h 2314046"/>
              <a:gd name="connsiteX58" fmla="*/ 2952750 w 2962875"/>
              <a:gd name="connsiteY58" fmla="*/ 571500 h 2314046"/>
              <a:gd name="connsiteX59" fmla="*/ 2957512 w 2962875"/>
              <a:gd name="connsiteY59" fmla="*/ 342900 h 2314046"/>
              <a:gd name="connsiteX60" fmla="*/ 2957512 w 2962875"/>
              <a:gd name="connsiteY60" fmla="*/ 34925 h 2314046"/>
              <a:gd name="connsiteX61" fmla="*/ 2867025 w 2962875"/>
              <a:gd name="connsiteY61" fmla="*/ 19050 h 2314046"/>
              <a:gd name="connsiteX62" fmla="*/ 2724150 w 2962875"/>
              <a:gd name="connsiteY62" fmla="*/ 9525 h 2314046"/>
              <a:gd name="connsiteX63" fmla="*/ 2381250 w 2962875"/>
              <a:gd name="connsiteY63" fmla="*/ 14287 h 2314046"/>
              <a:gd name="connsiteX64" fmla="*/ 2324100 w 2962875"/>
              <a:gd name="connsiteY64" fmla="*/ 23812 h 2314046"/>
              <a:gd name="connsiteX65" fmla="*/ 1909762 w 2962875"/>
              <a:gd name="connsiteY65" fmla="*/ 19050 h 2314046"/>
              <a:gd name="connsiteX66" fmla="*/ 1804987 w 2962875"/>
              <a:gd name="connsiteY66" fmla="*/ 9525 h 2314046"/>
              <a:gd name="connsiteX67" fmla="*/ 1776412 w 2962875"/>
              <a:gd name="connsiteY67" fmla="*/ 0 h 2314046"/>
              <a:gd name="connsiteX68" fmla="*/ 1528762 w 2962875"/>
              <a:gd name="connsiteY68" fmla="*/ 4762 h 2314046"/>
              <a:gd name="connsiteX69" fmla="*/ 1143000 w 2962875"/>
              <a:gd name="connsiteY69" fmla="*/ 38100 h 2314046"/>
              <a:gd name="connsiteX70" fmla="*/ 309562 w 2962875"/>
              <a:gd name="connsiteY70" fmla="*/ 23812 h 2314046"/>
              <a:gd name="connsiteX71" fmla="*/ 247650 w 2962875"/>
              <a:gd name="connsiteY71" fmla="*/ 14287 h 2314046"/>
              <a:gd name="connsiteX72" fmla="*/ 185737 w 2962875"/>
              <a:gd name="connsiteY72" fmla="*/ 9525 h 2314046"/>
              <a:gd name="connsiteX73" fmla="*/ 19050 w 2962875"/>
              <a:gd name="connsiteY73" fmla="*/ 14287 h 2314046"/>
              <a:gd name="connsiteX74" fmla="*/ 4762 w 2962875"/>
              <a:gd name="connsiteY74" fmla="*/ 19050 h 2314046"/>
              <a:gd name="connsiteX75" fmla="*/ 9525 w 2962875"/>
              <a:gd name="connsiteY75" fmla="*/ 85725 h 2314046"/>
              <a:gd name="connsiteX76" fmla="*/ 23812 w 2962875"/>
              <a:gd name="connsiteY76" fmla="*/ 171450 h 2314046"/>
              <a:gd name="connsiteX77" fmla="*/ 14287 w 2962875"/>
              <a:gd name="connsiteY77" fmla="*/ 390525 h 2314046"/>
              <a:gd name="connsiteX78" fmla="*/ 0 w 2962875"/>
              <a:gd name="connsiteY78" fmla="*/ 466725 h 2314046"/>
              <a:gd name="connsiteX79" fmla="*/ 9525 w 2962875"/>
              <a:gd name="connsiteY79" fmla="*/ 800100 h 2314046"/>
              <a:gd name="connsiteX80" fmla="*/ 9525 w 2962875"/>
              <a:gd name="connsiteY80" fmla="*/ 871537 h 2314046"/>
              <a:gd name="connsiteX81" fmla="*/ 14287 w 2962875"/>
              <a:gd name="connsiteY81" fmla="*/ 1157287 h 2314046"/>
              <a:gd name="connsiteX82" fmla="*/ 19050 w 2962875"/>
              <a:gd name="connsiteY82" fmla="*/ 1204912 h 2314046"/>
              <a:gd name="connsiteX83" fmla="*/ 28575 w 2962875"/>
              <a:gd name="connsiteY83" fmla="*/ 1243012 h 2314046"/>
              <a:gd name="connsiteX84" fmla="*/ 33337 w 2962875"/>
              <a:gd name="connsiteY84" fmla="*/ 1328737 h 2314046"/>
              <a:gd name="connsiteX85" fmla="*/ 23812 w 2962875"/>
              <a:gd name="connsiteY85" fmla="*/ 1476375 h 2314046"/>
              <a:gd name="connsiteX86" fmla="*/ 14287 w 2962875"/>
              <a:gd name="connsiteY86" fmla="*/ 1562100 h 2314046"/>
              <a:gd name="connsiteX87" fmla="*/ 9525 w 2962875"/>
              <a:gd name="connsiteY87" fmla="*/ 1819275 h 2314046"/>
              <a:gd name="connsiteX88" fmla="*/ 14287 w 2962875"/>
              <a:gd name="connsiteY88" fmla="*/ 2014537 h 2314046"/>
              <a:gd name="connsiteX89" fmla="*/ 23812 w 2962875"/>
              <a:gd name="connsiteY89" fmla="*/ 2066925 h 2314046"/>
              <a:gd name="connsiteX90" fmla="*/ 28575 w 2962875"/>
              <a:gd name="connsiteY90" fmla="*/ 2152650 h 2314046"/>
              <a:gd name="connsiteX91" fmla="*/ 23812 w 2962875"/>
              <a:gd name="connsiteY91" fmla="*/ 2238375 h 2314046"/>
              <a:gd name="connsiteX92" fmla="*/ 14287 w 2962875"/>
              <a:gd name="connsiteY92" fmla="*/ 2300287 h 2314046"/>
              <a:gd name="connsiteX0" fmla="*/ 14287 w 2962875"/>
              <a:gd name="connsiteY0" fmla="*/ 2300287 h 2356144"/>
              <a:gd name="connsiteX1" fmla="*/ 61912 w 2962875"/>
              <a:gd name="connsiteY1" fmla="*/ 2295525 h 2356144"/>
              <a:gd name="connsiteX2" fmla="*/ 95250 w 2962875"/>
              <a:gd name="connsiteY2" fmla="*/ 2286000 h 2356144"/>
              <a:gd name="connsiteX3" fmla="*/ 366712 w 2962875"/>
              <a:gd name="connsiteY3" fmla="*/ 2271712 h 2356144"/>
              <a:gd name="connsiteX4" fmla="*/ 361950 w 2962875"/>
              <a:gd name="connsiteY4" fmla="*/ 2214562 h 2356144"/>
              <a:gd name="connsiteX5" fmla="*/ 381000 w 2962875"/>
              <a:gd name="connsiteY5" fmla="*/ 1985962 h 2356144"/>
              <a:gd name="connsiteX6" fmla="*/ 376237 w 2962875"/>
              <a:gd name="connsiteY6" fmla="*/ 1671637 h 2356144"/>
              <a:gd name="connsiteX7" fmla="*/ 371475 w 2962875"/>
              <a:gd name="connsiteY7" fmla="*/ 1643062 h 2356144"/>
              <a:gd name="connsiteX8" fmla="*/ 366712 w 2962875"/>
              <a:gd name="connsiteY8" fmla="*/ 1585912 h 2356144"/>
              <a:gd name="connsiteX9" fmla="*/ 376237 w 2962875"/>
              <a:gd name="connsiteY9" fmla="*/ 1123950 h 2356144"/>
              <a:gd name="connsiteX10" fmla="*/ 381000 w 2962875"/>
              <a:gd name="connsiteY10" fmla="*/ 1095375 h 2356144"/>
              <a:gd name="connsiteX11" fmla="*/ 385762 w 2962875"/>
              <a:gd name="connsiteY11" fmla="*/ 1062037 h 2356144"/>
              <a:gd name="connsiteX12" fmla="*/ 381000 w 2962875"/>
              <a:gd name="connsiteY12" fmla="*/ 561975 h 2356144"/>
              <a:gd name="connsiteX13" fmla="*/ 376237 w 2962875"/>
              <a:gd name="connsiteY13" fmla="*/ 519112 h 2356144"/>
              <a:gd name="connsiteX14" fmla="*/ 371475 w 2962875"/>
              <a:gd name="connsiteY14" fmla="*/ 471487 h 2356144"/>
              <a:gd name="connsiteX15" fmla="*/ 376237 w 2962875"/>
              <a:gd name="connsiteY15" fmla="*/ 414337 h 2356144"/>
              <a:gd name="connsiteX16" fmla="*/ 433387 w 2962875"/>
              <a:gd name="connsiteY16" fmla="*/ 419100 h 2356144"/>
              <a:gd name="connsiteX17" fmla="*/ 523875 w 2962875"/>
              <a:gd name="connsiteY17" fmla="*/ 414337 h 2356144"/>
              <a:gd name="connsiteX18" fmla="*/ 881062 w 2962875"/>
              <a:gd name="connsiteY18" fmla="*/ 414337 h 2356144"/>
              <a:gd name="connsiteX19" fmla="*/ 914400 w 2962875"/>
              <a:gd name="connsiteY19" fmla="*/ 423862 h 2356144"/>
              <a:gd name="connsiteX20" fmla="*/ 962025 w 2962875"/>
              <a:gd name="connsiteY20" fmla="*/ 428625 h 2356144"/>
              <a:gd name="connsiteX21" fmla="*/ 985837 w 2962875"/>
              <a:gd name="connsiteY21" fmla="*/ 433387 h 2356144"/>
              <a:gd name="connsiteX22" fmla="*/ 1147762 w 2962875"/>
              <a:gd name="connsiteY22" fmla="*/ 423862 h 2356144"/>
              <a:gd name="connsiteX23" fmla="*/ 1166812 w 2962875"/>
              <a:gd name="connsiteY23" fmla="*/ 419100 h 2356144"/>
              <a:gd name="connsiteX24" fmla="*/ 1209675 w 2962875"/>
              <a:gd name="connsiteY24" fmla="*/ 414337 h 2356144"/>
              <a:gd name="connsiteX25" fmla="*/ 1238250 w 2962875"/>
              <a:gd name="connsiteY25" fmla="*/ 409575 h 2356144"/>
              <a:gd name="connsiteX26" fmla="*/ 2433637 w 2962875"/>
              <a:gd name="connsiteY26" fmla="*/ 404812 h 2356144"/>
              <a:gd name="connsiteX27" fmla="*/ 2571750 w 2962875"/>
              <a:gd name="connsiteY27" fmla="*/ 404812 h 2356144"/>
              <a:gd name="connsiteX28" fmla="*/ 2609850 w 2962875"/>
              <a:gd name="connsiteY28" fmla="*/ 423862 h 2356144"/>
              <a:gd name="connsiteX29" fmla="*/ 2619375 w 2962875"/>
              <a:gd name="connsiteY29" fmla="*/ 457200 h 2356144"/>
              <a:gd name="connsiteX30" fmla="*/ 2609850 w 2962875"/>
              <a:gd name="connsiteY30" fmla="*/ 614362 h 2356144"/>
              <a:gd name="connsiteX31" fmla="*/ 2600325 w 2962875"/>
              <a:gd name="connsiteY31" fmla="*/ 652462 h 2356144"/>
              <a:gd name="connsiteX32" fmla="*/ 2595562 w 2962875"/>
              <a:gd name="connsiteY32" fmla="*/ 676275 h 2356144"/>
              <a:gd name="connsiteX33" fmla="*/ 2586037 w 2962875"/>
              <a:gd name="connsiteY33" fmla="*/ 714375 h 2356144"/>
              <a:gd name="connsiteX34" fmla="*/ 2586037 w 2962875"/>
              <a:gd name="connsiteY34" fmla="*/ 1071562 h 2356144"/>
              <a:gd name="connsiteX35" fmla="*/ 2590800 w 2962875"/>
              <a:gd name="connsiteY35" fmla="*/ 1104900 h 2356144"/>
              <a:gd name="connsiteX36" fmla="*/ 2600325 w 2962875"/>
              <a:gd name="connsiteY36" fmla="*/ 1176337 h 2356144"/>
              <a:gd name="connsiteX37" fmla="*/ 2605087 w 2962875"/>
              <a:gd name="connsiteY37" fmla="*/ 1209675 h 2356144"/>
              <a:gd name="connsiteX38" fmla="*/ 2624137 w 2962875"/>
              <a:gd name="connsiteY38" fmla="*/ 1314450 h 2356144"/>
              <a:gd name="connsiteX39" fmla="*/ 2619375 w 2962875"/>
              <a:gd name="connsiteY39" fmla="*/ 1371600 h 2356144"/>
              <a:gd name="connsiteX40" fmla="*/ 2614612 w 2962875"/>
              <a:gd name="connsiteY40" fmla="*/ 1443037 h 2356144"/>
              <a:gd name="connsiteX41" fmla="*/ 2600325 w 2962875"/>
              <a:gd name="connsiteY41" fmla="*/ 1485900 h 2356144"/>
              <a:gd name="connsiteX42" fmla="*/ 2595562 w 2962875"/>
              <a:gd name="connsiteY42" fmla="*/ 1514475 h 2356144"/>
              <a:gd name="connsiteX43" fmla="*/ 2581275 w 2962875"/>
              <a:gd name="connsiteY43" fmla="*/ 1652587 h 2356144"/>
              <a:gd name="connsiteX44" fmla="*/ 2586037 w 2962875"/>
              <a:gd name="connsiteY44" fmla="*/ 1933575 h 2356144"/>
              <a:gd name="connsiteX45" fmla="*/ 2590800 w 2962875"/>
              <a:gd name="connsiteY45" fmla="*/ 1966912 h 2356144"/>
              <a:gd name="connsiteX46" fmla="*/ 2605087 w 2962875"/>
              <a:gd name="connsiteY46" fmla="*/ 2005012 h 2356144"/>
              <a:gd name="connsiteX47" fmla="*/ 2614612 w 2962875"/>
              <a:gd name="connsiteY47" fmla="*/ 2066925 h 2356144"/>
              <a:gd name="connsiteX48" fmla="*/ 2638425 w 2962875"/>
              <a:gd name="connsiteY48" fmla="*/ 2276475 h 2356144"/>
              <a:gd name="connsiteX49" fmla="*/ 2611437 w 2962875"/>
              <a:gd name="connsiteY49" fmla="*/ 2355850 h 2356144"/>
              <a:gd name="connsiteX50" fmla="*/ 2851150 w 2962875"/>
              <a:gd name="connsiteY50" fmla="*/ 2303462 h 2356144"/>
              <a:gd name="connsiteX51" fmla="*/ 2957512 w 2962875"/>
              <a:gd name="connsiteY51" fmla="*/ 2305050 h 2356144"/>
              <a:gd name="connsiteX52" fmla="*/ 2947987 w 2962875"/>
              <a:gd name="connsiteY52" fmla="*/ 2181225 h 2356144"/>
              <a:gd name="connsiteX53" fmla="*/ 2955925 w 2962875"/>
              <a:gd name="connsiteY53" fmla="*/ 2008187 h 2356144"/>
              <a:gd name="connsiteX54" fmla="*/ 2962275 w 2962875"/>
              <a:gd name="connsiteY54" fmla="*/ 1804987 h 2356144"/>
              <a:gd name="connsiteX55" fmla="*/ 2952750 w 2962875"/>
              <a:gd name="connsiteY55" fmla="*/ 1366837 h 2356144"/>
              <a:gd name="connsiteX56" fmla="*/ 2947987 w 2962875"/>
              <a:gd name="connsiteY56" fmla="*/ 1081087 h 2356144"/>
              <a:gd name="connsiteX57" fmla="*/ 2947987 w 2962875"/>
              <a:gd name="connsiteY57" fmla="*/ 922337 h 2356144"/>
              <a:gd name="connsiteX58" fmla="*/ 2952750 w 2962875"/>
              <a:gd name="connsiteY58" fmla="*/ 571500 h 2356144"/>
              <a:gd name="connsiteX59" fmla="*/ 2957512 w 2962875"/>
              <a:gd name="connsiteY59" fmla="*/ 342900 h 2356144"/>
              <a:gd name="connsiteX60" fmla="*/ 2957512 w 2962875"/>
              <a:gd name="connsiteY60" fmla="*/ 34925 h 2356144"/>
              <a:gd name="connsiteX61" fmla="*/ 2867025 w 2962875"/>
              <a:gd name="connsiteY61" fmla="*/ 19050 h 2356144"/>
              <a:gd name="connsiteX62" fmla="*/ 2724150 w 2962875"/>
              <a:gd name="connsiteY62" fmla="*/ 9525 h 2356144"/>
              <a:gd name="connsiteX63" fmla="*/ 2381250 w 2962875"/>
              <a:gd name="connsiteY63" fmla="*/ 14287 h 2356144"/>
              <a:gd name="connsiteX64" fmla="*/ 2324100 w 2962875"/>
              <a:gd name="connsiteY64" fmla="*/ 23812 h 2356144"/>
              <a:gd name="connsiteX65" fmla="*/ 1909762 w 2962875"/>
              <a:gd name="connsiteY65" fmla="*/ 19050 h 2356144"/>
              <a:gd name="connsiteX66" fmla="*/ 1804987 w 2962875"/>
              <a:gd name="connsiteY66" fmla="*/ 9525 h 2356144"/>
              <a:gd name="connsiteX67" fmla="*/ 1776412 w 2962875"/>
              <a:gd name="connsiteY67" fmla="*/ 0 h 2356144"/>
              <a:gd name="connsiteX68" fmla="*/ 1528762 w 2962875"/>
              <a:gd name="connsiteY68" fmla="*/ 4762 h 2356144"/>
              <a:gd name="connsiteX69" fmla="*/ 1143000 w 2962875"/>
              <a:gd name="connsiteY69" fmla="*/ 38100 h 2356144"/>
              <a:gd name="connsiteX70" fmla="*/ 309562 w 2962875"/>
              <a:gd name="connsiteY70" fmla="*/ 23812 h 2356144"/>
              <a:gd name="connsiteX71" fmla="*/ 247650 w 2962875"/>
              <a:gd name="connsiteY71" fmla="*/ 14287 h 2356144"/>
              <a:gd name="connsiteX72" fmla="*/ 185737 w 2962875"/>
              <a:gd name="connsiteY72" fmla="*/ 9525 h 2356144"/>
              <a:gd name="connsiteX73" fmla="*/ 19050 w 2962875"/>
              <a:gd name="connsiteY73" fmla="*/ 14287 h 2356144"/>
              <a:gd name="connsiteX74" fmla="*/ 4762 w 2962875"/>
              <a:gd name="connsiteY74" fmla="*/ 19050 h 2356144"/>
              <a:gd name="connsiteX75" fmla="*/ 9525 w 2962875"/>
              <a:gd name="connsiteY75" fmla="*/ 85725 h 2356144"/>
              <a:gd name="connsiteX76" fmla="*/ 23812 w 2962875"/>
              <a:gd name="connsiteY76" fmla="*/ 171450 h 2356144"/>
              <a:gd name="connsiteX77" fmla="*/ 14287 w 2962875"/>
              <a:gd name="connsiteY77" fmla="*/ 390525 h 2356144"/>
              <a:gd name="connsiteX78" fmla="*/ 0 w 2962875"/>
              <a:gd name="connsiteY78" fmla="*/ 466725 h 2356144"/>
              <a:gd name="connsiteX79" fmla="*/ 9525 w 2962875"/>
              <a:gd name="connsiteY79" fmla="*/ 800100 h 2356144"/>
              <a:gd name="connsiteX80" fmla="*/ 9525 w 2962875"/>
              <a:gd name="connsiteY80" fmla="*/ 871537 h 2356144"/>
              <a:gd name="connsiteX81" fmla="*/ 14287 w 2962875"/>
              <a:gd name="connsiteY81" fmla="*/ 1157287 h 2356144"/>
              <a:gd name="connsiteX82" fmla="*/ 19050 w 2962875"/>
              <a:gd name="connsiteY82" fmla="*/ 1204912 h 2356144"/>
              <a:gd name="connsiteX83" fmla="*/ 28575 w 2962875"/>
              <a:gd name="connsiteY83" fmla="*/ 1243012 h 2356144"/>
              <a:gd name="connsiteX84" fmla="*/ 33337 w 2962875"/>
              <a:gd name="connsiteY84" fmla="*/ 1328737 h 2356144"/>
              <a:gd name="connsiteX85" fmla="*/ 23812 w 2962875"/>
              <a:gd name="connsiteY85" fmla="*/ 1476375 h 2356144"/>
              <a:gd name="connsiteX86" fmla="*/ 14287 w 2962875"/>
              <a:gd name="connsiteY86" fmla="*/ 1562100 h 2356144"/>
              <a:gd name="connsiteX87" fmla="*/ 9525 w 2962875"/>
              <a:gd name="connsiteY87" fmla="*/ 1819275 h 2356144"/>
              <a:gd name="connsiteX88" fmla="*/ 14287 w 2962875"/>
              <a:gd name="connsiteY88" fmla="*/ 2014537 h 2356144"/>
              <a:gd name="connsiteX89" fmla="*/ 23812 w 2962875"/>
              <a:gd name="connsiteY89" fmla="*/ 2066925 h 2356144"/>
              <a:gd name="connsiteX90" fmla="*/ 28575 w 2962875"/>
              <a:gd name="connsiteY90" fmla="*/ 2152650 h 2356144"/>
              <a:gd name="connsiteX91" fmla="*/ 23812 w 2962875"/>
              <a:gd name="connsiteY91" fmla="*/ 2238375 h 2356144"/>
              <a:gd name="connsiteX92" fmla="*/ 14287 w 2962875"/>
              <a:gd name="connsiteY92" fmla="*/ 2300287 h 2356144"/>
              <a:gd name="connsiteX0" fmla="*/ 14287 w 2962875"/>
              <a:gd name="connsiteY0" fmla="*/ 2300287 h 2358736"/>
              <a:gd name="connsiteX1" fmla="*/ 61912 w 2962875"/>
              <a:gd name="connsiteY1" fmla="*/ 2295525 h 2358736"/>
              <a:gd name="connsiteX2" fmla="*/ 95250 w 2962875"/>
              <a:gd name="connsiteY2" fmla="*/ 2286000 h 2358736"/>
              <a:gd name="connsiteX3" fmla="*/ 366712 w 2962875"/>
              <a:gd name="connsiteY3" fmla="*/ 2271712 h 2358736"/>
              <a:gd name="connsiteX4" fmla="*/ 361950 w 2962875"/>
              <a:gd name="connsiteY4" fmla="*/ 2214562 h 2358736"/>
              <a:gd name="connsiteX5" fmla="*/ 381000 w 2962875"/>
              <a:gd name="connsiteY5" fmla="*/ 1985962 h 2358736"/>
              <a:gd name="connsiteX6" fmla="*/ 376237 w 2962875"/>
              <a:gd name="connsiteY6" fmla="*/ 1671637 h 2358736"/>
              <a:gd name="connsiteX7" fmla="*/ 371475 w 2962875"/>
              <a:gd name="connsiteY7" fmla="*/ 1643062 h 2358736"/>
              <a:gd name="connsiteX8" fmla="*/ 366712 w 2962875"/>
              <a:gd name="connsiteY8" fmla="*/ 1585912 h 2358736"/>
              <a:gd name="connsiteX9" fmla="*/ 376237 w 2962875"/>
              <a:gd name="connsiteY9" fmla="*/ 1123950 h 2358736"/>
              <a:gd name="connsiteX10" fmla="*/ 381000 w 2962875"/>
              <a:gd name="connsiteY10" fmla="*/ 1095375 h 2358736"/>
              <a:gd name="connsiteX11" fmla="*/ 385762 w 2962875"/>
              <a:gd name="connsiteY11" fmla="*/ 1062037 h 2358736"/>
              <a:gd name="connsiteX12" fmla="*/ 381000 w 2962875"/>
              <a:gd name="connsiteY12" fmla="*/ 561975 h 2358736"/>
              <a:gd name="connsiteX13" fmla="*/ 376237 w 2962875"/>
              <a:gd name="connsiteY13" fmla="*/ 519112 h 2358736"/>
              <a:gd name="connsiteX14" fmla="*/ 371475 w 2962875"/>
              <a:gd name="connsiteY14" fmla="*/ 471487 h 2358736"/>
              <a:gd name="connsiteX15" fmla="*/ 376237 w 2962875"/>
              <a:gd name="connsiteY15" fmla="*/ 414337 h 2358736"/>
              <a:gd name="connsiteX16" fmla="*/ 433387 w 2962875"/>
              <a:gd name="connsiteY16" fmla="*/ 419100 h 2358736"/>
              <a:gd name="connsiteX17" fmla="*/ 523875 w 2962875"/>
              <a:gd name="connsiteY17" fmla="*/ 414337 h 2358736"/>
              <a:gd name="connsiteX18" fmla="*/ 881062 w 2962875"/>
              <a:gd name="connsiteY18" fmla="*/ 414337 h 2358736"/>
              <a:gd name="connsiteX19" fmla="*/ 914400 w 2962875"/>
              <a:gd name="connsiteY19" fmla="*/ 423862 h 2358736"/>
              <a:gd name="connsiteX20" fmla="*/ 962025 w 2962875"/>
              <a:gd name="connsiteY20" fmla="*/ 428625 h 2358736"/>
              <a:gd name="connsiteX21" fmla="*/ 985837 w 2962875"/>
              <a:gd name="connsiteY21" fmla="*/ 433387 h 2358736"/>
              <a:gd name="connsiteX22" fmla="*/ 1147762 w 2962875"/>
              <a:gd name="connsiteY22" fmla="*/ 423862 h 2358736"/>
              <a:gd name="connsiteX23" fmla="*/ 1166812 w 2962875"/>
              <a:gd name="connsiteY23" fmla="*/ 419100 h 2358736"/>
              <a:gd name="connsiteX24" fmla="*/ 1209675 w 2962875"/>
              <a:gd name="connsiteY24" fmla="*/ 414337 h 2358736"/>
              <a:gd name="connsiteX25" fmla="*/ 1238250 w 2962875"/>
              <a:gd name="connsiteY25" fmla="*/ 409575 h 2358736"/>
              <a:gd name="connsiteX26" fmla="*/ 2433637 w 2962875"/>
              <a:gd name="connsiteY26" fmla="*/ 404812 h 2358736"/>
              <a:gd name="connsiteX27" fmla="*/ 2571750 w 2962875"/>
              <a:gd name="connsiteY27" fmla="*/ 404812 h 2358736"/>
              <a:gd name="connsiteX28" fmla="*/ 2609850 w 2962875"/>
              <a:gd name="connsiteY28" fmla="*/ 423862 h 2358736"/>
              <a:gd name="connsiteX29" fmla="*/ 2619375 w 2962875"/>
              <a:gd name="connsiteY29" fmla="*/ 457200 h 2358736"/>
              <a:gd name="connsiteX30" fmla="*/ 2609850 w 2962875"/>
              <a:gd name="connsiteY30" fmla="*/ 614362 h 2358736"/>
              <a:gd name="connsiteX31" fmla="*/ 2600325 w 2962875"/>
              <a:gd name="connsiteY31" fmla="*/ 652462 h 2358736"/>
              <a:gd name="connsiteX32" fmla="*/ 2595562 w 2962875"/>
              <a:gd name="connsiteY32" fmla="*/ 676275 h 2358736"/>
              <a:gd name="connsiteX33" fmla="*/ 2586037 w 2962875"/>
              <a:gd name="connsiteY33" fmla="*/ 714375 h 2358736"/>
              <a:gd name="connsiteX34" fmla="*/ 2586037 w 2962875"/>
              <a:gd name="connsiteY34" fmla="*/ 1071562 h 2358736"/>
              <a:gd name="connsiteX35" fmla="*/ 2590800 w 2962875"/>
              <a:gd name="connsiteY35" fmla="*/ 1104900 h 2358736"/>
              <a:gd name="connsiteX36" fmla="*/ 2600325 w 2962875"/>
              <a:gd name="connsiteY36" fmla="*/ 1176337 h 2358736"/>
              <a:gd name="connsiteX37" fmla="*/ 2605087 w 2962875"/>
              <a:gd name="connsiteY37" fmla="*/ 1209675 h 2358736"/>
              <a:gd name="connsiteX38" fmla="*/ 2624137 w 2962875"/>
              <a:gd name="connsiteY38" fmla="*/ 1314450 h 2358736"/>
              <a:gd name="connsiteX39" fmla="*/ 2619375 w 2962875"/>
              <a:gd name="connsiteY39" fmla="*/ 1371600 h 2358736"/>
              <a:gd name="connsiteX40" fmla="*/ 2614612 w 2962875"/>
              <a:gd name="connsiteY40" fmla="*/ 1443037 h 2358736"/>
              <a:gd name="connsiteX41" fmla="*/ 2600325 w 2962875"/>
              <a:gd name="connsiteY41" fmla="*/ 1485900 h 2358736"/>
              <a:gd name="connsiteX42" fmla="*/ 2595562 w 2962875"/>
              <a:gd name="connsiteY42" fmla="*/ 1514475 h 2358736"/>
              <a:gd name="connsiteX43" fmla="*/ 2581275 w 2962875"/>
              <a:gd name="connsiteY43" fmla="*/ 1652587 h 2358736"/>
              <a:gd name="connsiteX44" fmla="*/ 2586037 w 2962875"/>
              <a:gd name="connsiteY44" fmla="*/ 1933575 h 2358736"/>
              <a:gd name="connsiteX45" fmla="*/ 2590800 w 2962875"/>
              <a:gd name="connsiteY45" fmla="*/ 1966912 h 2358736"/>
              <a:gd name="connsiteX46" fmla="*/ 2605087 w 2962875"/>
              <a:gd name="connsiteY46" fmla="*/ 2005012 h 2358736"/>
              <a:gd name="connsiteX47" fmla="*/ 2614612 w 2962875"/>
              <a:gd name="connsiteY47" fmla="*/ 2066925 h 2358736"/>
              <a:gd name="connsiteX48" fmla="*/ 2616200 w 2962875"/>
              <a:gd name="connsiteY48" fmla="*/ 2203450 h 2358736"/>
              <a:gd name="connsiteX49" fmla="*/ 2611437 w 2962875"/>
              <a:gd name="connsiteY49" fmla="*/ 2355850 h 2358736"/>
              <a:gd name="connsiteX50" fmla="*/ 2851150 w 2962875"/>
              <a:gd name="connsiteY50" fmla="*/ 2303462 h 2358736"/>
              <a:gd name="connsiteX51" fmla="*/ 2957512 w 2962875"/>
              <a:gd name="connsiteY51" fmla="*/ 2305050 h 2358736"/>
              <a:gd name="connsiteX52" fmla="*/ 2947987 w 2962875"/>
              <a:gd name="connsiteY52" fmla="*/ 2181225 h 2358736"/>
              <a:gd name="connsiteX53" fmla="*/ 2955925 w 2962875"/>
              <a:gd name="connsiteY53" fmla="*/ 2008187 h 2358736"/>
              <a:gd name="connsiteX54" fmla="*/ 2962275 w 2962875"/>
              <a:gd name="connsiteY54" fmla="*/ 1804987 h 2358736"/>
              <a:gd name="connsiteX55" fmla="*/ 2952750 w 2962875"/>
              <a:gd name="connsiteY55" fmla="*/ 1366837 h 2358736"/>
              <a:gd name="connsiteX56" fmla="*/ 2947987 w 2962875"/>
              <a:gd name="connsiteY56" fmla="*/ 1081087 h 2358736"/>
              <a:gd name="connsiteX57" fmla="*/ 2947987 w 2962875"/>
              <a:gd name="connsiteY57" fmla="*/ 922337 h 2358736"/>
              <a:gd name="connsiteX58" fmla="*/ 2952750 w 2962875"/>
              <a:gd name="connsiteY58" fmla="*/ 571500 h 2358736"/>
              <a:gd name="connsiteX59" fmla="*/ 2957512 w 2962875"/>
              <a:gd name="connsiteY59" fmla="*/ 342900 h 2358736"/>
              <a:gd name="connsiteX60" fmla="*/ 2957512 w 2962875"/>
              <a:gd name="connsiteY60" fmla="*/ 34925 h 2358736"/>
              <a:gd name="connsiteX61" fmla="*/ 2867025 w 2962875"/>
              <a:gd name="connsiteY61" fmla="*/ 19050 h 2358736"/>
              <a:gd name="connsiteX62" fmla="*/ 2724150 w 2962875"/>
              <a:gd name="connsiteY62" fmla="*/ 9525 h 2358736"/>
              <a:gd name="connsiteX63" fmla="*/ 2381250 w 2962875"/>
              <a:gd name="connsiteY63" fmla="*/ 14287 h 2358736"/>
              <a:gd name="connsiteX64" fmla="*/ 2324100 w 2962875"/>
              <a:gd name="connsiteY64" fmla="*/ 23812 h 2358736"/>
              <a:gd name="connsiteX65" fmla="*/ 1909762 w 2962875"/>
              <a:gd name="connsiteY65" fmla="*/ 19050 h 2358736"/>
              <a:gd name="connsiteX66" fmla="*/ 1804987 w 2962875"/>
              <a:gd name="connsiteY66" fmla="*/ 9525 h 2358736"/>
              <a:gd name="connsiteX67" fmla="*/ 1776412 w 2962875"/>
              <a:gd name="connsiteY67" fmla="*/ 0 h 2358736"/>
              <a:gd name="connsiteX68" fmla="*/ 1528762 w 2962875"/>
              <a:gd name="connsiteY68" fmla="*/ 4762 h 2358736"/>
              <a:gd name="connsiteX69" fmla="*/ 1143000 w 2962875"/>
              <a:gd name="connsiteY69" fmla="*/ 38100 h 2358736"/>
              <a:gd name="connsiteX70" fmla="*/ 309562 w 2962875"/>
              <a:gd name="connsiteY70" fmla="*/ 23812 h 2358736"/>
              <a:gd name="connsiteX71" fmla="*/ 247650 w 2962875"/>
              <a:gd name="connsiteY71" fmla="*/ 14287 h 2358736"/>
              <a:gd name="connsiteX72" fmla="*/ 185737 w 2962875"/>
              <a:gd name="connsiteY72" fmla="*/ 9525 h 2358736"/>
              <a:gd name="connsiteX73" fmla="*/ 19050 w 2962875"/>
              <a:gd name="connsiteY73" fmla="*/ 14287 h 2358736"/>
              <a:gd name="connsiteX74" fmla="*/ 4762 w 2962875"/>
              <a:gd name="connsiteY74" fmla="*/ 19050 h 2358736"/>
              <a:gd name="connsiteX75" fmla="*/ 9525 w 2962875"/>
              <a:gd name="connsiteY75" fmla="*/ 85725 h 2358736"/>
              <a:gd name="connsiteX76" fmla="*/ 23812 w 2962875"/>
              <a:gd name="connsiteY76" fmla="*/ 171450 h 2358736"/>
              <a:gd name="connsiteX77" fmla="*/ 14287 w 2962875"/>
              <a:gd name="connsiteY77" fmla="*/ 390525 h 2358736"/>
              <a:gd name="connsiteX78" fmla="*/ 0 w 2962875"/>
              <a:gd name="connsiteY78" fmla="*/ 466725 h 2358736"/>
              <a:gd name="connsiteX79" fmla="*/ 9525 w 2962875"/>
              <a:gd name="connsiteY79" fmla="*/ 800100 h 2358736"/>
              <a:gd name="connsiteX80" fmla="*/ 9525 w 2962875"/>
              <a:gd name="connsiteY80" fmla="*/ 871537 h 2358736"/>
              <a:gd name="connsiteX81" fmla="*/ 14287 w 2962875"/>
              <a:gd name="connsiteY81" fmla="*/ 1157287 h 2358736"/>
              <a:gd name="connsiteX82" fmla="*/ 19050 w 2962875"/>
              <a:gd name="connsiteY82" fmla="*/ 1204912 h 2358736"/>
              <a:gd name="connsiteX83" fmla="*/ 28575 w 2962875"/>
              <a:gd name="connsiteY83" fmla="*/ 1243012 h 2358736"/>
              <a:gd name="connsiteX84" fmla="*/ 33337 w 2962875"/>
              <a:gd name="connsiteY84" fmla="*/ 1328737 h 2358736"/>
              <a:gd name="connsiteX85" fmla="*/ 23812 w 2962875"/>
              <a:gd name="connsiteY85" fmla="*/ 1476375 h 2358736"/>
              <a:gd name="connsiteX86" fmla="*/ 14287 w 2962875"/>
              <a:gd name="connsiteY86" fmla="*/ 1562100 h 2358736"/>
              <a:gd name="connsiteX87" fmla="*/ 9525 w 2962875"/>
              <a:gd name="connsiteY87" fmla="*/ 1819275 h 2358736"/>
              <a:gd name="connsiteX88" fmla="*/ 14287 w 2962875"/>
              <a:gd name="connsiteY88" fmla="*/ 2014537 h 2358736"/>
              <a:gd name="connsiteX89" fmla="*/ 23812 w 2962875"/>
              <a:gd name="connsiteY89" fmla="*/ 2066925 h 2358736"/>
              <a:gd name="connsiteX90" fmla="*/ 28575 w 2962875"/>
              <a:gd name="connsiteY90" fmla="*/ 2152650 h 2358736"/>
              <a:gd name="connsiteX91" fmla="*/ 23812 w 2962875"/>
              <a:gd name="connsiteY91" fmla="*/ 2238375 h 2358736"/>
              <a:gd name="connsiteX92" fmla="*/ 14287 w 2962875"/>
              <a:gd name="connsiteY92" fmla="*/ 2300287 h 2358736"/>
              <a:gd name="connsiteX0" fmla="*/ 14287 w 2962875"/>
              <a:gd name="connsiteY0" fmla="*/ 2300287 h 2322913"/>
              <a:gd name="connsiteX1" fmla="*/ 61912 w 2962875"/>
              <a:gd name="connsiteY1" fmla="*/ 2295525 h 2322913"/>
              <a:gd name="connsiteX2" fmla="*/ 95250 w 2962875"/>
              <a:gd name="connsiteY2" fmla="*/ 2286000 h 2322913"/>
              <a:gd name="connsiteX3" fmla="*/ 366712 w 2962875"/>
              <a:gd name="connsiteY3" fmla="*/ 2271712 h 2322913"/>
              <a:gd name="connsiteX4" fmla="*/ 361950 w 2962875"/>
              <a:gd name="connsiteY4" fmla="*/ 2214562 h 2322913"/>
              <a:gd name="connsiteX5" fmla="*/ 381000 w 2962875"/>
              <a:gd name="connsiteY5" fmla="*/ 1985962 h 2322913"/>
              <a:gd name="connsiteX6" fmla="*/ 376237 w 2962875"/>
              <a:gd name="connsiteY6" fmla="*/ 1671637 h 2322913"/>
              <a:gd name="connsiteX7" fmla="*/ 371475 w 2962875"/>
              <a:gd name="connsiteY7" fmla="*/ 1643062 h 2322913"/>
              <a:gd name="connsiteX8" fmla="*/ 366712 w 2962875"/>
              <a:gd name="connsiteY8" fmla="*/ 1585912 h 2322913"/>
              <a:gd name="connsiteX9" fmla="*/ 376237 w 2962875"/>
              <a:gd name="connsiteY9" fmla="*/ 1123950 h 2322913"/>
              <a:gd name="connsiteX10" fmla="*/ 381000 w 2962875"/>
              <a:gd name="connsiteY10" fmla="*/ 1095375 h 2322913"/>
              <a:gd name="connsiteX11" fmla="*/ 385762 w 2962875"/>
              <a:gd name="connsiteY11" fmla="*/ 1062037 h 2322913"/>
              <a:gd name="connsiteX12" fmla="*/ 381000 w 2962875"/>
              <a:gd name="connsiteY12" fmla="*/ 561975 h 2322913"/>
              <a:gd name="connsiteX13" fmla="*/ 376237 w 2962875"/>
              <a:gd name="connsiteY13" fmla="*/ 519112 h 2322913"/>
              <a:gd name="connsiteX14" fmla="*/ 371475 w 2962875"/>
              <a:gd name="connsiteY14" fmla="*/ 471487 h 2322913"/>
              <a:gd name="connsiteX15" fmla="*/ 376237 w 2962875"/>
              <a:gd name="connsiteY15" fmla="*/ 414337 h 2322913"/>
              <a:gd name="connsiteX16" fmla="*/ 433387 w 2962875"/>
              <a:gd name="connsiteY16" fmla="*/ 419100 h 2322913"/>
              <a:gd name="connsiteX17" fmla="*/ 523875 w 2962875"/>
              <a:gd name="connsiteY17" fmla="*/ 414337 h 2322913"/>
              <a:gd name="connsiteX18" fmla="*/ 881062 w 2962875"/>
              <a:gd name="connsiteY18" fmla="*/ 414337 h 2322913"/>
              <a:gd name="connsiteX19" fmla="*/ 914400 w 2962875"/>
              <a:gd name="connsiteY19" fmla="*/ 423862 h 2322913"/>
              <a:gd name="connsiteX20" fmla="*/ 962025 w 2962875"/>
              <a:gd name="connsiteY20" fmla="*/ 428625 h 2322913"/>
              <a:gd name="connsiteX21" fmla="*/ 985837 w 2962875"/>
              <a:gd name="connsiteY21" fmla="*/ 433387 h 2322913"/>
              <a:gd name="connsiteX22" fmla="*/ 1147762 w 2962875"/>
              <a:gd name="connsiteY22" fmla="*/ 423862 h 2322913"/>
              <a:gd name="connsiteX23" fmla="*/ 1166812 w 2962875"/>
              <a:gd name="connsiteY23" fmla="*/ 419100 h 2322913"/>
              <a:gd name="connsiteX24" fmla="*/ 1209675 w 2962875"/>
              <a:gd name="connsiteY24" fmla="*/ 414337 h 2322913"/>
              <a:gd name="connsiteX25" fmla="*/ 1238250 w 2962875"/>
              <a:gd name="connsiteY25" fmla="*/ 409575 h 2322913"/>
              <a:gd name="connsiteX26" fmla="*/ 2433637 w 2962875"/>
              <a:gd name="connsiteY26" fmla="*/ 404812 h 2322913"/>
              <a:gd name="connsiteX27" fmla="*/ 2571750 w 2962875"/>
              <a:gd name="connsiteY27" fmla="*/ 404812 h 2322913"/>
              <a:gd name="connsiteX28" fmla="*/ 2609850 w 2962875"/>
              <a:gd name="connsiteY28" fmla="*/ 423862 h 2322913"/>
              <a:gd name="connsiteX29" fmla="*/ 2619375 w 2962875"/>
              <a:gd name="connsiteY29" fmla="*/ 457200 h 2322913"/>
              <a:gd name="connsiteX30" fmla="*/ 2609850 w 2962875"/>
              <a:gd name="connsiteY30" fmla="*/ 614362 h 2322913"/>
              <a:gd name="connsiteX31" fmla="*/ 2600325 w 2962875"/>
              <a:gd name="connsiteY31" fmla="*/ 652462 h 2322913"/>
              <a:gd name="connsiteX32" fmla="*/ 2595562 w 2962875"/>
              <a:gd name="connsiteY32" fmla="*/ 676275 h 2322913"/>
              <a:gd name="connsiteX33" fmla="*/ 2586037 w 2962875"/>
              <a:gd name="connsiteY33" fmla="*/ 714375 h 2322913"/>
              <a:gd name="connsiteX34" fmla="*/ 2586037 w 2962875"/>
              <a:gd name="connsiteY34" fmla="*/ 1071562 h 2322913"/>
              <a:gd name="connsiteX35" fmla="*/ 2590800 w 2962875"/>
              <a:gd name="connsiteY35" fmla="*/ 1104900 h 2322913"/>
              <a:gd name="connsiteX36" fmla="*/ 2600325 w 2962875"/>
              <a:gd name="connsiteY36" fmla="*/ 1176337 h 2322913"/>
              <a:gd name="connsiteX37" fmla="*/ 2605087 w 2962875"/>
              <a:gd name="connsiteY37" fmla="*/ 1209675 h 2322913"/>
              <a:gd name="connsiteX38" fmla="*/ 2624137 w 2962875"/>
              <a:gd name="connsiteY38" fmla="*/ 1314450 h 2322913"/>
              <a:gd name="connsiteX39" fmla="*/ 2619375 w 2962875"/>
              <a:gd name="connsiteY39" fmla="*/ 1371600 h 2322913"/>
              <a:gd name="connsiteX40" fmla="*/ 2614612 w 2962875"/>
              <a:gd name="connsiteY40" fmla="*/ 1443037 h 2322913"/>
              <a:gd name="connsiteX41" fmla="*/ 2600325 w 2962875"/>
              <a:gd name="connsiteY41" fmla="*/ 1485900 h 2322913"/>
              <a:gd name="connsiteX42" fmla="*/ 2595562 w 2962875"/>
              <a:gd name="connsiteY42" fmla="*/ 1514475 h 2322913"/>
              <a:gd name="connsiteX43" fmla="*/ 2581275 w 2962875"/>
              <a:gd name="connsiteY43" fmla="*/ 1652587 h 2322913"/>
              <a:gd name="connsiteX44" fmla="*/ 2586037 w 2962875"/>
              <a:gd name="connsiteY44" fmla="*/ 1933575 h 2322913"/>
              <a:gd name="connsiteX45" fmla="*/ 2590800 w 2962875"/>
              <a:gd name="connsiteY45" fmla="*/ 1966912 h 2322913"/>
              <a:gd name="connsiteX46" fmla="*/ 2605087 w 2962875"/>
              <a:gd name="connsiteY46" fmla="*/ 2005012 h 2322913"/>
              <a:gd name="connsiteX47" fmla="*/ 2614612 w 2962875"/>
              <a:gd name="connsiteY47" fmla="*/ 2066925 h 2322913"/>
              <a:gd name="connsiteX48" fmla="*/ 2616200 w 2962875"/>
              <a:gd name="connsiteY48" fmla="*/ 2203450 h 2322913"/>
              <a:gd name="connsiteX49" fmla="*/ 2627312 w 2962875"/>
              <a:gd name="connsiteY49" fmla="*/ 2317750 h 2322913"/>
              <a:gd name="connsiteX50" fmla="*/ 2851150 w 2962875"/>
              <a:gd name="connsiteY50" fmla="*/ 2303462 h 2322913"/>
              <a:gd name="connsiteX51" fmla="*/ 2957512 w 2962875"/>
              <a:gd name="connsiteY51" fmla="*/ 2305050 h 2322913"/>
              <a:gd name="connsiteX52" fmla="*/ 2947987 w 2962875"/>
              <a:gd name="connsiteY52" fmla="*/ 2181225 h 2322913"/>
              <a:gd name="connsiteX53" fmla="*/ 2955925 w 2962875"/>
              <a:gd name="connsiteY53" fmla="*/ 2008187 h 2322913"/>
              <a:gd name="connsiteX54" fmla="*/ 2962275 w 2962875"/>
              <a:gd name="connsiteY54" fmla="*/ 1804987 h 2322913"/>
              <a:gd name="connsiteX55" fmla="*/ 2952750 w 2962875"/>
              <a:gd name="connsiteY55" fmla="*/ 1366837 h 2322913"/>
              <a:gd name="connsiteX56" fmla="*/ 2947987 w 2962875"/>
              <a:gd name="connsiteY56" fmla="*/ 1081087 h 2322913"/>
              <a:gd name="connsiteX57" fmla="*/ 2947987 w 2962875"/>
              <a:gd name="connsiteY57" fmla="*/ 922337 h 2322913"/>
              <a:gd name="connsiteX58" fmla="*/ 2952750 w 2962875"/>
              <a:gd name="connsiteY58" fmla="*/ 571500 h 2322913"/>
              <a:gd name="connsiteX59" fmla="*/ 2957512 w 2962875"/>
              <a:gd name="connsiteY59" fmla="*/ 342900 h 2322913"/>
              <a:gd name="connsiteX60" fmla="*/ 2957512 w 2962875"/>
              <a:gd name="connsiteY60" fmla="*/ 34925 h 2322913"/>
              <a:gd name="connsiteX61" fmla="*/ 2867025 w 2962875"/>
              <a:gd name="connsiteY61" fmla="*/ 19050 h 2322913"/>
              <a:gd name="connsiteX62" fmla="*/ 2724150 w 2962875"/>
              <a:gd name="connsiteY62" fmla="*/ 9525 h 2322913"/>
              <a:gd name="connsiteX63" fmla="*/ 2381250 w 2962875"/>
              <a:gd name="connsiteY63" fmla="*/ 14287 h 2322913"/>
              <a:gd name="connsiteX64" fmla="*/ 2324100 w 2962875"/>
              <a:gd name="connsiteY64" fmla="*/ 23812 h 2322913"/>
              <a:gd name="connsiteX65" fmla="*/ 1909762 w 2962875"/>
              <a:gd name="connsiteY65" fmla="*/ 19050 h 2322913"/>
              <a:gd name="connsiteX66" fmla="*/ 1804987 w 2962875"/>
              <a:gd name="connsiteY66" fmla="*/ 9525 h 2322913"/>
              <a:gd name="connsiteX67" fmla="*/ 1776412 w 2962875"/>
              <a:gd name="connsiteY67" fmla="*/ 0 h 2322913"/>
              <a:gd name="connsiteX68" fmla="*/ 1528762 w 2962875"/>
              <a:gd name="connsiteY68" fmla="*/ 4762 h 2322913"/>
              <a:gd name="connsiteX69" fmla="*/ 1143000 w 2962875"/>
              <a:gd name="connsiteY69" fmla="*/ 38100 h 2322913"/>
              <a:gd name="connsiteX70" fmla="*/ 309562 w 2962875"/>
              <a:gd name="connsiteY70" fmla="*/ 23812 h 2322913"/>
              <a:gd name="connsiteX71" fmla="*/ 247650 w 2962875"/>
              <a:gd name="connsiteY71" fmla="*/ 14287 h 2322913"/>
              <a:gd name="connsiteX72" fmla="*/ 185737 w 2962875"/>
              <a:gd name="connsiteY72" fmla="*/ 9525 h 2322913"/>
              <a:gd name="connsiteX73" fmla="*/ 19050 w 2962875"/>
              <a:gd name="connsiteY73" fmla="*/ 14287 h 2322913"/>
              <a:gd name="connsiteX74" fmla="*/ 4762 w 2962875"/>
              <a:gd name="connsiteY74" fmla="*/ 19050 h 2322913"/>
              <a:gd name="connsiteX75" fmla="*/ 9525 w 2962875"/>
              <a:gd name="connsiteY75" fmla="*/ 85725 h 2322913"/>
              <a:gd name="connsiteX76" fmla="*/ 23812 w 2962875"/>
              <a:gd name="connsiteY76" fmla="*/ 171450 h 2322913"/>
              <a:gd name="connsiteX77" fmla="*/ 14287 w 2962875"/>
              <a:gd name="connsiteY77" fmla="*/ 390525 h 2322913"/>
              <a:gd name="connsiteX78" fmla="*/ 0 w 2962875"/>
              <a:gd name="connsiteY78" fmla="*/ 466725 h 2322913"/>
              <a:gd name="connsiteX79" fmla="*/ 9525 w 2962875"/>
              <a:gd name="connsiteY79" fmla="*/ 800100 h 2322913"/>
              <a:gd name="connsiteX80" fmla="*/ 9525 w 2962875"/>
              <a:gd name="connsiteY80" fmla="*/ 871537 h 2322913"/>
              <a:gd name="connsiteX81" fmla="*/ 14287 w 2962875"/>
              <a:gd name="connsiteY81" fmla="*/ 1157287 h 2322913"/>
              <a:gd name="connsiteX82" fmla="*/ 19050 w 2962875"/>
              <a:gd name="connsiteY82" fmla="*/ 1204912 h 2322913"/>
              <a:gd name="connsiteX83" fmla="*/ 28575 w 2962875"/>
              <a:gd name="connsiteY83" fmla="*/ 1243012 h 2322913"/>
              <a:gd name="connsiteX84" fmla="*/ 33337 w 2962875"/>
              <a:gd name="connsiteY84" fmla="*/ 1328737 h 2322913"/>
              <a:gd name="connsiteX85" fmla="*/ 23812 w 2962875"/>
              <a:gd name="connsiteY85" fmla="*/ 1476375 h 2322913"/>
              <a:gd name="connsiteX86" fmla="*/ 14287 w 2962875"/>
              <a:gd name="connsiteY86" fmla="*/ 1562100 h 2322913"/>
              <a:gd name="connsiteX87" fmla="*/ 9525 w 2962875"/>
              <a:gd name="connsiteY87" fmla="*/ 1819275 h 2322913"/>
              <a:gd name="connsiteX88" fmla="*/ 14287 w 2962875"/>
              <a:gd name="connsiteY88" fmla="*/ 2014537 h 2322913"/>
              <a:gd name="connsiteX89" fmla="*/ 23812 w 2962875"/>
              <a:gd name="connsiteY89" fmla="*/ 2066925 h 2322913"/>
              <a:gd name="connsiteX90" fmla="*/ 28575 w 2962875"/>
              <a:gd name="connsiteY90" fmla="*/ 2152650 h 2322913"/>
              <a:gd name="connsiteX91" fmla="*/ 23812 w 2962875"/>
              <a:gd name="connsiteY91" fmla="*/ 2238375 h 2322913"/>
              <a:gd name="connsiteX92" fmla="*/ 14287 w 2962875"/>
              <a:gd name="connsiteY92" fmla="*/ 2300287 h 2322913"/>
              <a:gd name="connsiteX0" fmla="*/ 14287 w 2962875"/>
              <a:gd name="connsiteY0" fmla="*/ 2300287 h 2314163"/>
              <a:gd name="connsiteX1" fmla="*/ 61912 w 2962875"/>
              <a:gd name="connsiteY1" fmla="*/ 2295525 h 2314163"/>
              <a:gd name="connsiteX2" fmla="*/ 95250 w 2962875"/>
              <a:gd name="connsiteY2" fmla="*/ 2286000 h 2314163"/>
              <a:gd name="connsiteX3" fmla="*/ 366712 w 2962875"/>
              <a:gd name="connsiteY3" fmla="*/ 2271712 h 2314163"/>
              <a:gd name="connsiteX4" fmla="*/ 361950 w 2962875"/>
              <a:gd name="connsiteY4" fmla="*/ 2214562 h 2314163"/>
              <a:gd name="connsiteX5" fmla="*/ 381000 w 2962875"/>
              <a:gd name="connsiteY5" fmla="*/ 1985962 h 2314163"/>
              <a:gd name="connsiteX6" fmla="*/ 376237 w 2962875"/>
              <a:gd name="connsiteY6" fmla="*/ 1671637 h 2314163"/>
              <a:gd name="connsiteX7" fmla="*/ 371475 w 2962875"/>
              <a:gd name="connsiteY7" fmla="*/ 1643062 h 2314163"/>
              <a:gd name="connsiteX8" fmla="*/ 366712 w 2962875"/>
              <a:gd name="connsiteY8" fmla="*/ 1585912 h 2314163"/>
              <a:gd name="connsiteX9" fmla="*/ 376237 w 2962875"/>
              <a:gd name="connsiteY9" fmla="*/ 1123950 h 2314163"/>
              <a:gd name="connsiteX10" fmla="*/ 381000 w 2962875"/>
              <a:gd name="connsiteY10" fmla="*/ 1095375 h 2314163"/>
              <a:gd name="connsiteX11" fmla="*/ 385762 w 2962875"/>
              <a:gd name="connsiteY11" fmla="*/ 1062037 h 2314163"/>
              <a:gd name="connsiteX12" fmla="*/ 381000 w 2962875"/>
              <a:gd name="connsiteY12" fmla="*/ 561975 h 2314163"/>
              <a:gd name="connsiteX13" fmla="*/ 376237 w 2962875"/>
              <a:gd name="connsiteY13" fmla="*/ 519112 h 2314163"/>
              <a:gd name="connsiteX14" fmla="*/ 371475 w 2962875"/>
              <a:gd name="connsiteY14" fmla="*/ 471487 h 2314163"/>
              <a:gd name="connsiteX15" fmla="*/ 376237 w 2962875"/>
              <a:gd name="connsiteY15" fmla="*/ 414337 h 2314163"/>
              <a:gd name="connsiteX16" fmla="*/ 433387 w 2962875"/>
              <a:gd name="connsiteY16" fmla="*/ 419100 h 2314163"/>
              <a:gd name="connsiteX17" fmla="*/ 523875 w 2962875"/>
              <a:gd name="connsiteY17" fmla="*/ 414337 h 2314163"/>
              <a:gd name="connsiteX18" fmla="*/ 881062 w 2962875"/>
              <a:gd name="connsiteY18" fmla="*/ 414337 h 2314163"/>
              <a:gd name="connsiteX19" fmla="*/ 914400 w 2962875"/>
              <a:gd name="connsiteY19" fmla="*/ 423862 h 2314163"/>
              <a:gd name="connsiteX20" fmla="*/ 962025 w 2962875"/>
              <a:gd name="connsiteY20" fmla="*/ 428625 h 2314163"/>
              <a:gd name="connsiteX21" fmla="*/ 985837 w 2962875"/>
              <a:gd name="connsiteY21" fmla="*/ 433387 h 2314163"/>
              <a:gd name="connsiteX22" fmla="*/ 1147762 w 2962875"/>
              <a:gd name="connsiteY22" fmla="*/ 423862 h 2314163"/>
              <a:gd name="connsiteX23" fmla="*/ 1166812 w 2962875"/>
              <a:gd name="connsiteY23" fmla="*/ 419100 h 2314163"/>
              <a:gd name="connsiteX24" fmla="*/ 1209675 w 2962875"/>
              <a:gd name="connsiteY24" fmla="*/ 414337 h 2314163"/>
              <a:gd name="connsiteX25" fmla="*/ 1238250 w 2962875"/>
              <a:gd name="connsiteY25" fmla="*/ 409575 h 2314163"/>
              <a:gd name="connsiteX26" fmla="*/ 2433637 w 2962875"/>
              <a:gd name="connsiteY26" fmla="*/ 404812 h 2314163"/>
              <a:gd name="connsiteX27" fmla="*/ 2571750 w 2962875"/>
              <a:gd name="connsiteY27" fmla="*/ 404812 h 2314163"/>
              <a:gd name="connsiteX28" fmla="*/ 2609850 w 2962875"/>
              <a:gd name="connsiteY28" fmla="*/ 423862 h 2314163"/>
              <a:gd name="connsiteX29" fmla="*/ 2619375 w 2962875"/>
              <a:gd name="connsiteY29" fmla="*/ 457200 h 2314163"/>
              <a:gd name="connsiteX30" fmla="*/ 2609850 w 2962875"/>
              <a:gd name="connsiteY30" fmla="*/ 614362 h 2314163"/>
              <a:gd name="connsiteX31" fmla="*/ 2600325 w 2962875"/>
              <a:gd name="connsiteY31" fmla="*/ 652462 h 2314163"/>
              <a:gd name="connsiteX32" fmla="*/ 2595562 w 2962875"/>
              <a:gd name="connsiteY32" fmla="*/ 676275 h 2314163"/>
              <a:gd name="connsiteX33" fmla="*/ 2586037 w 2962875"/>
              <a:gd name="connsiteY33" fmla="*/ 714375 h 2314163"/>
              <a:gd name="connsiteX34" fmla="*/ 2586037 w 2962875"/>
              <a:gd name="connsiteY34" fmla="*/ 1071562 h 2314163"/>
              <a:gd name="connsiteX35" fmla="*/ 2590800 w 2962875"/>
              <a:gd name="connsiteY35" fmla="*/ 1104900 h 2314163"/>
              <a:gd name="connsiteX36" fmla="*/ 2600325 w 2962875"/>
              <a:gd name="connsiteY36" fmla="*/ 1176337 h 2314163"/>
              <a:gd name="connsiteX37" fmla="*/ 2605087 w 2962875"/>
              <a:gd name="connsiteY37" fmla="*/ 1209675 h 2314163"/>
              <a:gd name="connsiteX38" fmla="*/ 2624137 w 2962875"/>
              <a:gd name="connsiteY38" fmla="*/ 1314450 h 2314163"/>
              <a:gd name="connsiteX39" fmla="*/ 2619375 w 2962875"/>
              <a:gd name="connsiteY39" fmla="*/ 1371600 h 2314163"/>
              <a:gd name="connsiteX40" fmla="*/ 2614612 w 2962875"/>
              <a:gd name="connsiteY40" fmla="*/ 1443037 h 2314163"/>
              <a:gd name="connsiteX41" fmla="*/ 2600325 w 2962875"/>
              <a:gd name="connsiteY41" fmla="*/ 1485900 h 2314163"/>
              <a:gd name="connsiteX42" fmla="*/ 2595562 w 2962875"/>
              <a:gd name="connsiteY42" fmla="*/ 1514475 h 2314163"/>
              <a:gd name="connsiteX43" fmla="*/ 2581275 w 2962875"/>
              <a:gd name="connsiteY43" fmla="*/ 1652587 h 2314163"/>
              <a:gd name="connsiteX44" fmla="*/ 2586037 w 2962875"/>
              <a:gd name="connsiteY44" fmla="*/ 1933575 h 2314163"/>
              <a:gd name="connsiteX45" fmla="*/ 2590800 w 2962875"/>
              <a:gd name="connsiteY45" fmla="*/ 1966912 h 2314163"/>
              <a:gd name="connsiteX46" fmla="*/ 2605087 w 2962875"/>
              <a:gd name="connsiteY46" fmla="*/ 2005012 h 2314163"/>
              <a:gd name="connsiteX47" fmla="*/ 2614612 w 2962875"/>
              <a:gd name="connsiteY47" fmla="*/ 2066925 h 2314163"/>
              <a:gd name="connsiteX48" fmla="*/ 2616200 w 2962875"/>
              <a:gd name="connsiteY48" fmla="*/ 2203450 h 2314163"/>
              <a:gd name="connsiteX49" fmla="*/ 2624137 w 2962875"/>
              <a:gd name="connsiteY49" fmla="*/ 2292350 h 2314163"/>
              <a:gd name="connsiteX50" fmla="*/ 2851150 w 2962875"/>
              <a:gd name="connsiteY50" fmla="*/ 2303462 h 2314163"/>
              <a:gd name="connsiteX51" fmla="*/ 2957512 w 2962875"/>
              <a:gd name="connsiteY51" fmla="*/ 2305050 h 2314163"/>
              <a:gd name="connsiteX52" fmla="*/ 2947987 w 2962875"/>
              <a:gd name="connsiteY52" fmla="*/ 2181225 h 2314163"/>
              <a:gd name="connsiteX53" fmla="*/ 2955925 w 2962875"/>
              <a:gd name="connsiteY53" fmla="*/ 2008187 h 2314163"/>
              <a:gd name="connsiteX54" fmla="*/ 2962275 w 2962875"/>
              <a:gd name="connsiteY54" fmla="*/ 1804987 h 2314163"/>
              <a:gd name="connsiteX55" fmla="*/ 2952750 w 2962875"/>
              <a:gd name="connsiteY55" fmla="*/ 1366837 h 2314163"/>
              <a:gd name="connsiteX56" fmla="*/ 2947987 w 2962875"/>
              <a:gd name="connsiteY56" fmla="*/ 1081087 h 2314163"/>
              <a:gd name="connsiteX57" fmla="*/ 2947987 w 2962875"/>
              <a:gd name="connsiteY57" fmla="*/ 922337 h 2314163"/>
              <a:gd name="connsiteX58" fmla="*/ 2952750 w 2962875"/>
              <a:gd name="connsiteY58" fmla="*/ 571500 h 2314163"/>
              <a:gd name="connsiteX59" fmla="*/ 2957512 w 2962875"/>
              <a:gd name="connsiteY59" fmla="*/ 342900 h 2314163"/>
              <a:gd name="connsiteX60" fmla="*/ 2957512 w 2962875"/>
              <a:gd name="connsiteY60" fmla="*/ 34925 h 2314163"/>
              <a:gd name="connsiteX61" fmla="*/ 2867025 w 2962875"/>
              <a:gd name="connsiteY61" fmla="*/ 19050 h 2314163"/>
              <a:gd name="connsiteX62" fmla="*/ 2724150 w 2962875"/>
              <a:gd name="connsiteY62" fmla="*/ 9525 h 2314163"/>
              <a:gd name="connsiteX63" fmla="*/ 2381250 w 2962875"/>
              <a:gd name="connsiteY63" fmla="*/ 14287 h 2314163"/>
              <a:gd name="connsiteX64" fmla="*/ 2324100 w 2962875"/>
              <a:gd name="connsiteY64" fmla="*/ 23812 h 2314163"/>
              <a:gd name="connsiteX65" fmla="*/ 1909762 w 2962875"/>
              <a:gd name="connsiteY65" fmla="*/ 19050 h 2314163"/>
              <a:gd name="connsiteX66" fmla="*/ 1804987 w 2962875"/>
              <a:gd name="connsiteY66" fmla="*/ 9525 h 2314163"/>
              <a:gd name="connsiteX67" fmla="*/ 1776412 w 2962875"/>
              <a:gd name="connsiteY67" fmla="*/ 0 h 2314163"/>
              <a:gd name="connsiteX68" fmla="*/ 1528762 w 2962875"/>
              <a:gd name="connsiteY68" fmla="*/ 4762 h 2314163"/>
              <a:gd name="connsiteX69" fmla="*/ 1143000 w 2962875"/>
              <a:gd name="connsiteY69" fmla="*/ 38100 h 2314163"/>
              <a:gd name="connsiteX70" fmla="*/ 309562 w 2962875"/>
              <a:gd name="connsiteY70" fmla="*/ 23812 h 2314163"/>
              <a:gd name="connsiteX71" fmla="*/ 247650 w 2962875"/>
              <a:gd name="connsiteY71" fmla="*/ 14287 h 2314163"/>
              <a:gd name="connsiteX72" fmla="*/ 185737 w 2962875"/>
              <a:gd name="connsiteY72" fmla="*/ 9525 h 2314163"/>
              <a:gd name="connsiteX73" fmla="*/ 19050 w 2962875"/>
              <a:gd name="connsiteY73" fmla="*/ 14287 h 2314163"/>
              <a:gd name="connsiteX74" fmla="*/ 4762 w 2962875"/>
              <a:gd name="connsiteY74" fmla="*/ 19050 h 2314163"/>
              <a:gd name="connsiteX75" fmla="*/ 9525 w 2962875"/>
              <a:gd name="connsiteY75" fmla="*/ 85725 h 2314163"/>
              <a:gd name="connsiteX76" fmla="*/ 23812 w 2962875"/>
              <a:gd name="connsiteY76" fmla="*/ 171450 h 2314163"/>
              <a:gd name="connsiteX77" fmla="*/ 14287 w 2962875"/>
              <a:gd name="connsiteY77" fmla="*/ 390525 h 2314163"/>
              <a:gd name="connsiteX78" fmla="*/ 0 w 2962875"/>
              <a:gd name="connsiteY78" fmla="*/ 466725 h 2314163"/>
              <a:gd name="connsiteX79" fmla="*/ 9525 w 2962875"/>
              <a:gd name="connsiteY79" fmla="*/ 800100 h 2314163"/>
              <a:gd name="connsiteX80" fmla="*/ 9525 w 2962875"/>
              <a:gd name="connsiteY80" fmla="*/ 871537 h 2314163"/>
              <a:gd name="connsiteX81" fmla="*/ 14287 w 2962875"/>
              <a:gd name="connsiteY81" fmla="*/ 1157287 h 2314163"/>
              <a:gd name="connsiteX82" fmla="*/ 19050 w 2962875"/>
              <a:gd name="connsiteY82" fmla="*/ 1204912 h 2314163"/>
              <a:gd name="connsiteX83" fmla="*/ 28575 w 2962875"/>
              <a:gd name="connsiteY83" fmla="*/ 1243012 h 2314163"/>
              <a:gd name="connsiteX84" fmla="*/ 33337 w 2962875"/>
              <a:gd name="connsiteY84" fmla="*/ 1328737 h 2314163"/>
              <a:gd name="connsiteX85" fmla="*/ 23812 w 2962875"/>
              <a:gd name="connsiteY85" fmla="*/ 1476375 h 2314163"/>
              <a:gd name="connsiteX86" fmla="*/ 14287 w 2962875"/>
              <a:gd name="connsiteY86" fmla="*/ 1562100 h 2314163"/>
              <a:gd name="connsiteX87" fmla="*/ 9525 w 2962875"/>
              <a:gd name="connsiteY87" fmla="*/ 1819275 h 2314163"/>
              <a:gd name="connsiteX88" fmla="*/ 14287 w 2962875"/>
              <a:gd name="connsiteY88" fmla="*/ 2014537 h 2314163"/>
              <a:gd name="connsiteX89" fmla="*/ 23812 w 2962875"/>
              <a:gd name="connsiteY89" fmla="*/ 2066925 h 2314163"/>
              <a:gd name="connsiteX90" fmla="*/ 28575 w 2962875"/>
              <a:gd name="connsiteY90" fmla="*/ 2152650 h 2314163"/>
              <a:gd name="connsiteX91" fmla="*/ 23812 w 2962875"/>
              <a:gd name="connsiteY91" fmla="*/ 2238375 h 2314163"/>
              <a:gd name="connsiteX92" fmla="*/ 14287 w 2962875"/>
              <a:gd name="connsiteY92" fmla="*/ 2300287 h 2314163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624137 w 2971294"/>
              <a:gd name="connsiteY38" fmla="*/ 1314450 h 2305041"/>
              <a:gd name="connsiteX39" fmla="*/ 2619375 w 2971294"/>
              <a:gd name="connsiteY39" fmla="*/ 1371600 h 2305041"/>
              <a:gd name="connsiteX40" fmla="*/ 2614612 w 2971294"/>
              <a:gd name="connsiteY40" fmla="*/ 1443037 h 2305041"/>
              <a:gd name="connsiteX41" fmla="*/ 2600325 w 2971294"/>
              <a:gd name="connsiteY41" fmla="*/ 1485900 h 2305041"/>
              <a:gd name="connsiteX42" fmla="*/ 2595562 w 2971294"/>
              <a:gd name="connsiteY42" fmla="*/ 1514475 h 2305041"/>
              <a:gd name="connsiteX43" fmla="*/ 2581275 w 2971294"/>
              <a:gd name="connsiteY43" fmla="*/ 1652587 h 2305041"/>
              <a:gd name="connsiteX44" fmla="*/ 2586037 w 2971294"/>
              <a:gd name="connsiteY44" fmla="*/ 1933575 h 2305041"/>
              <a:gd name="connsiteX45" fmla="*/ 2590800 w 2971294"/>
              <a:gd name="connsiteY45" fmla="*/ 1966912 h 2305041"/>
              <a:gd name="connsiteX46" fmla="*/ 2605087 w 2971294"/>
              <a:gd name="connsiteY46" fmla="*/ 2005012 h 2305041"/>
              <a:gd name="connsiteX47" fmla="*/ 2614612 w 2971294"/>
              <a:gd name="connsiteY47" fmla="*/ 2066925 h 2305041"/>
              <a:gd name="connsiteX48" fmla="*/ 2616200 w 2971294"/>
              <a:gd name="connsiteY48" fmla="*/ 2203450 h 2305041"/>
              <a:gd name="connsiteX49" fmla="*/ 2624137 w 2971294"/>
              <a:gd name="connsiteY49" fmla="*/ 2292350 h 2305041"/>
              <a:gd name="connsiteX50" fmla="*/ 2851150 w 2971294"/>
              <a:gd name="connsiteY50" fmla="*/ 2303462 h 2305041"/>
              <a:gd name="connsiteX51" fmla="*/ 2967037 w 2971294"/>
              <a:gd name="connsiteY51" fmla="*/ 2282825 h 2305041"/>
              <a:gd name="connsiteX52" fmla="*/ 2947987 w 2971294"/>
              <a:gd name="connsiteY52" fmla="*/ 2181225 h 2305041"/>
              <a:gd name="connsiteX53" fmla="*/ 2955925 w 2971294"/>
              <a:gd name="connsiteY53" fmla="*/ 2008187 h 2305041"/>
              <a:gd name="connsiteX54" fmla="*/ 2962275 w 2971294"/>
              <a:gd name="connsiteY54" fmla="*/ 1804987 h 2305041"/>
              <a:gd name="connsiteX55" fmla="*/ 2952750 w 2971294"/>
              <a:gd name="connsiteY55" fmla="*/ 1366837 h 2305041"/>
              <a:gd name="connsiteX56" fmla="*/ 2947987 w 2971294"/>
              <a:gd name="connsiteY56" fmla="*/ 1081087 h 2305041"/>
              <a:gd name="connsiteX57" fmla="*/ 2947987 w 2971294"/>
              <a:gd name="connsiteY57" fmla="*/ 922337 h 2305041"/>
              <a:gd name="connsiteX58" fmla="*/ 2952750 w 2971294"/>
              <a:gd name="connsiteY58" fmla="*/ 571500 h 2305041"/>
              <a:gd name="connsiteX59" fmla="*/ 2957512 w 2971294"/>
              <a:gd name="connsiteY59" fmla="*/ 342900 h 2305041"/>
              <a:gd name="connsiteX60" fmla="*/ 2957512 w 2971294"/>
              <a:gd name="connsiteY60" fmla="*/ 34925 h 2305041"/>
              <a:gd name="connsiteX61" fmla="*/ 2867025 w 2971294"/>
              <a:gd name="connsiteY61" fmla="*/ 19050 h 2305041"/>
              <a:gd name="connsiteX62" fmla="*/ 2724150 w 2971294"/>
              <a:gd name="connsiteY62" fmla="*/ 9525 h 2305041"/>
              <a:gd name="connsiteX63" fmla="*/ 2381250 w 2971294"/>
              <a:gd name="connsiteY63" fmla="*/ 14287 h 2305041"/>
              <a:gd name="connsiteX64" fmla="*/ 2324100 w 2971294"/>
              <a:gd name="connsiteY64" fmla="*/ 23812 h 2305041"/>
              <a:gd name="connsiteX65" fmla="*/ 1909762 w 2971294"/>
              <a:gd name="connsiteY65" fmla="*/ 19050 h 2305041"/>
              <a:gd name="connsiteX66" fmla="*/ 1804987 w 2971294"/>
              <a:gd name="connsiteY66" fmla="*/ 9525 h 2305041"/>
              <a:gd name="connsiteX67" fmla="*/ 1776412 w 2971294"/>
              <a:gd name="connsiteY67" fmla="*/ 0 h 2305041"/>
              <a:gd name="connsiteX68" fmla="*/ 1528762 w 2971294"/>
              <a:gd name="connsiteY68" fmla="*/ 4762 h 2305041"/>
              <a:gd name="connsiteX69" fmla="*/ 1143000 w 2971294"/>
              <a:gd name="connsiteY69" fmla="*/ 38100 h 2305041"/>
              <a:gd name="connsiteX70" fmla="*/ 309562 w 2971294"/>
              <a:gd name="connsiteY70" fmla="*/ 23812 h 2305041"/>
              <a:gd name="connsiteX71" fmla="*/ 247650 w 2971294"/>
              <a:gd name="connsiteY71" fmla="*/ 14287 h 2305041"/>
              <a:gd name="connsiteX72" fmla="*/ 185737 w 2971294"/>
              <a:gd name="connsiteY72" fmla="*/ 9525 h 2305041"/>
              <a:gd name="connsiteX73" fmla="*/ 19050 w 2971294"/>
              <a:gd name="connsiteY73" fmla="*/ 14287 h 2305041"/>
              <a:gd name="connsiteX74" fmla="*/ 4762 w 2971294"/>
              <a:gd name="connsiteY74" fmla="*/ 19050 h 2305041"/>
              <a:gd name="connsiteX75" fmla="*/ 9525 w 2971294"/>
              <a:gd name="connsiteY75" fmla="*/ 85725 h 2305041"/>
              <a:gd name="connsiteX76" fmla="*/ 23812 w 2971294"/>
              <a:gd name="connsiteY76" fmla="*/ 171450 h 2305041"/>
              <a:gd name="connsiteX77" fmla="*/ 14287 w 2971294"/>
              <a:gd name="connsiteY77" fmla="*/ 390525 h 2305041"/>
              <a:gd name="connsiteX78" fmla="*/ 0 w 2971294"/>
              <a:gd name="connsiteY78" fmla="*/ 466725 h 2305041"/>
              <a:gd name="connsiteX79" fmla="*/ 9525 w 2971294"/>
              <a:gd name="connsiteY79" fmla="*/ 800100 h 2305041"/>
              <a:gd name="connsiteX80" fmla="*/ 9525 w 2971294"/>
              <a:gd name="connsiteY80" fmla="*/ 871537 h 2305041"/>
              <a:gd name="connsiteX81" fmla="*/ 14287 w 2971294"/>
              <a:gd name="connsiteY81" fmla="*/ 1157287 h 2305041"/>
              <a:gd name="connsiteX82" fmla="*/ 19050 w 2971294"/>
              <a:gd name="connsiteY82" fmla="*/ 1204912 h 2305041"/>
              <a:gd name="connsiteX83" fmla="*/ 28575 w 2971294"/>
              <a:gd name="connsiteY83" fmla="*/ 1243012 h 2305041"/>
              <a:gd name="connsiteX84" fmla="*/ 33337 w 2971294"/>
              <a:gd name="connsiteY84" fmla="*/ 1328737 h 2305041"/>
              <a:gd name="connsiteX85" fmla="*/ 23812 w 2971294"/>
              <a:gd name="connsiteY85" fmla="*/ 1476375 h 2305041"/>
              <a:gd name="connsiteX86" fmla="*/ 14287 w 2971294"/>
              <a:gd name="connsiteY86" fmla="*/ 1562100 h 2305041"/>
              <a:gd name="connsiteX87" fmla="*/ 9525 w 2971294"/>
              <a:gd name="connsiteY87" fmla="*/ 1819275 h 2305041"/>
              <a:gd name="connsiteX88" fmla="*/ 14287 w 2971294"/>
              <a:gd name="connsiteY88" fmla="*/ 2014537 h 2305041"/>
              <a:gd name="connsiteX89" fmla="*/ 23812 w 2971294"/>
              <a:gd name="connsiteY89" fmla="*/ 2066925 h 2305041"/>
              <a:gd name="connsiteX90" fmla="*/ 28575 w 2971294"/>
              <a:gd name="connsiteY90" fmla="*/ 2152650 h 2305041"/>
              <a:gd name="connsiteX91" fmla="*/ 23812 w 2971294"/>
              <a:gd name="connsiteY91" fmla="*/ 2238375 h 2305041"/>
              <a:gd name="connsiteX92" fmla="*/ 14287 w 2971294"/>
              <a:gd name="connsiteY92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624137 w 2971294"/>
              <a:gd name="connsiteY38" fmla="*/ 1314450 h 2305041"/>
              <a:gd name="connsiteX39" fmla="*/ 2619375 w 2971294"/>
              <a:gd name="connsiteY39" fmla="*/ 1371600 h 2305041"/>
              <a:gd name="connsiteX40" fmla="*/ 2614612 w 2971294"/>
              <a:gd name="connsiteY40" fmla="*/ 1443037 h 2305041"/>
              <a:gd name="connsiteX41" fmla="*/ 2600325 w 2971294"/>
              <a:gd name="connsiteY41" fmla="*/ 1485900 h 2305041"/>
              <a:gd name="connsiteX42" fmla="*/ 2595562 w 2971294"/>
              <a:gd name="connsiteY42" fmla="*/ 1514475 h 2305041"/>
              <a:gd name="connsiteX43" fmla="*/ 2581275 w 2971294"/>
              <a:gd name="connsiteY43" fmla="*/ 1652587 h 2305041"/>
              <a:gd name="connsiteX44" fmla="*/ 2590800 w 2971294"/>
              <a:gd name="connsiteY44" fmla="*/ 1966912 h 2305041"/>
              <a:gd name="connsiteX45" fmla="*/ 2605087 w 2971294"/>
              <a:gd name="connsiteY45" fmla="*/ 2005012 h 2305041"/>
              <a:gd name="connsiteX46" fmla="*/ 2614612 w 2971294"/>
              <a:gd name="connsiteY46" fmla="*/ 2066925 h 2305041"/>
              <a:gd name="connsiteX47" fmla="*/ 2616200 w 2971294"/>
              <a:gd name="connsiteY47" fmla="*/ 2203450 h 2305041"/>
              <a:gd name="connsiteX48" fmla="*/ 2624137 w 2971294"/>
              <a:gd name="connsiteY48" fmla="*/ 2292350 h 2305041"/>
              <a:gd name="connsiteX49" fmla="*/ 2851150 w 2971294"/>
              <a:gd name="connsiteY49" fmla="*/ 2303462 h 2305041"/>
              <a:gd name="connsiteX50" fmla="*/ 2967037 w 2971294"/>
              <a:gd name="connsiteY50" fmla="*/ 2282825 h 2305041"/>
              <a:gd name="connsiteX51" fmla="*/ 2947987 w 2971294"/>
              <a:gd name="connsiteY51" fmla="*/ 2181225 h 2305041"/>
              <a:gd name="connsiteX52" fmla="*/ 2955925 w 2971294"/>
              <a:gd name="connsiteY52" fmla="*/ 2008187 h 2305041"/>
              <a:gd name="connsiteX53" fmla="*/ 2962275 w 2971294"/>
              <a:gd name="connsiteY53" fmla="*/ 1804987 h 2305041"/>
              <a:gd name="connsiteX54" fmla="*/ 2952750 w 2971294"/>
              <a:gd name="connsiteY54" fmla="*/ 1366837 h 2305041"/>
              <a:gd name="connsiteX55" fmla="*/ 2947987 w 2971294"/>
              <a:gd name="connsiteY55" fmla="*/ 1081087 h 2305041"/>
              <a:gd name="connsiteX56" fmla="*/ 2947987 w 2971294"/>
              <a:gd name="connsiteY56" fmla="*/ 922337 h 2305041"/>
              <a:gd name="connsiteX57" fmla="*/ 2952750 w 2971294"/>
              <a:gd name="connsiteY57" fmla="*/ 571500 h 2305041"/>
              <a:gd name="connsiteX58" fmla="*/ 2957512 w 2971294"/>
              <a:gd name="connsiteY58" fmla="*/ 342900 h 2305041"/>
              <a:gd name="connsiteX59" fmla="*/ 2957512 w 2971294"/>
              <a:gd name="connsiteY59" fmla="*/ 34925 h 2305041"/>
              <a:gd name="connsiteX60" fmla="*/ 2867025 w 2971294"/>
              <a:gd name="connsiteY60" fmla="*/ 19050 h 2305041"/>
              <a:gd name="connsiteX61" fmla="*/ 2724150 w 2971294"/>
              <a:gd name="connsiteY61" fmla="*/ 9525 h 2305041"/>
              <a:gd name="connsiteX62" fmla="*/ 2381250 w 2971294"/>
              <a:gd name="connsiteY62" fmla="*/ 14287 h 2305041"/>
              <a:gd name="connsiteX63" fmla="*/ 2324100 w 2971294"/>
              <a:gd name="connsiteY63" fmla="*/ 23812 h 2305041"/>
              <a:gd name="connsiteX64" fmla="*/ 1909762 w 2971294"/>
              <a:gd name="connsiteY64" fmla="*/ 19050 h 2305041"/>
              <a:gd name="connsiteX65" fmla="*/ 1804987 w 2971294"/>
              <a:gd name="connsiteY65" fmla="*/ 9525 h 2305041"/>
              <a:gd name="connsiteX66" fmla="*/ 1776412 w 2971294"/>
              <a:gd name="connsiteY66" fmla="*/ 0 h 2305041"/>
              <a:gd name="connsiteX67" fmla="*/ 1528762 w 2971294"/>
              <a:gd name="connsiteY67" fmla="*/ 4762 h 2305041"/>
              <a:gd name="connsiteX68" fmla="*/ 1143000 w 2971294"/>
              <a:gd name="connsiteY68" fmla="*/ 38100 h 2305041"/>
              <a:gd name="connsiteX69" fmla="*/ 309562 w 2971294"/>
              <a:gd name="connsiteY69" fmla="*/ 23812 h 2305041"/>
              <a:gd name="connsiteX70" fmla="*/ 247650 w 2971294"/>
              <a:gd name="connsiteY70" fmla="*/ 14287 h 2305041"/>
              <a:gd name="connsiteX71" fmla="*/ 185737 w 2971294"/>
              <a:gd name="connsiteY71" fmla="*/ 9525 h 2305041"/>
              <a:gd name="connsiteX72" fmla="*/ 19050 w 2971294"/>
              <a:gd name="connsiteY72" fmla="*/ 14287 h 2305041"/>
              <a:gd name="connsiteX73" fmla="*/ 4762 w 2971294"/>
              <a:gd name="connsiteY73" fmla="*/ 19050 h 2305041"/>
              <a:gd name="connsiteX74" fmla="*/ 9525 w 2971294"/>
              <a:gd name="connsiteY74" fmla="*/ 85725 h 2305041"/>
              <a:gd name="connsiteX75" fmla="*/ 23812 w 2971294"/>
              <a:gd name="connsiteY75" fmla="*/ 171450 h 2305041"/>
              <a:gd name="connsiteX76" fmla="*/ 14287 w 2971294"/>
              <a:gd name="connsiteY76" fmla="*/ 390525 h 2305041"/>
              <a:gd name="connsiteX77" fmla="*/ 0 w 2971294"/>
              <a:gd name="connsiteY77" fmla="*/ 466725 h 2305041"/>
              <a:gd name="connsiteX78" fmla="*/ 9525 w 2971294"/>
              <a:gd name="connsiteY78" fmla="*/ 800100 h 2305041"/>
              <a:gd name="connsiteX79" fmla="*/ 9525 w 2971294"/>
              <a:gd name="connsiteY79" fmla="*/ 871537 h 2305041"/>
              <a:gd name="connsiteX80" fmla="*/ 14287 w 2971294"/>
              <a:gd name="connsiteY80" fmla="*/ 1157287 h 2305041"/>
              <a:gd name="connsiteX81" fmla="*/ 19050 w 2971294"/>
              <a:gd name="connsiteY81" fmla="*/ 1204912 h 2305041"/>
              <a:gd name="connsiteX82" fmla="*/ 28575 w 2971294"/>
              <a:gd name="connsiteY82" fmla="*/ 1243012 h 2305041"/>
              <a:gd name="connsiteX83" fmla="*/ 33337 w 2971294"/>
              <a:gd name="connsiteY83" fmla="*/ 1328737 h 2305041"/>
              <a:gd name="connsiteX84" fmla="*/ 23812 w 2971294"/>
              <a:gd name="connsiteY84" fmla="*/ 1476375 h 2305041"/>
              <a:gd name="connsiteX85" fmla="*/ 14287 w 2971294"/>
              <a:gd name="connsiteY85" fmla="*/ 1562100 h 2305041"/>
              <a:gd name="connsiteX86" fmla="*/ 9525 w 2971294"/>
              <a:gd name="connsiteY86" fmla="*/ 1819275 h 2305041"/>
              <a:gd name="connsiteX87" fmla="*/ 14287 w 2971294"/>
              <a:gd name="connsiteY87" fmla="*/ 2014537 h 2305041"/>
              <a:gd name="connsiteX88" fmla="*/ 23812 w 2971294"/>
              <a:gd name="connsiteY88" fmla="*/ 2066925 h 2305041"/>
              <a:gd name="connsiteX89" fmla="*/ 28575 w 2971294"/>
              <a:gd name="connsiteY89" fmla="*/ 2152650 h 2305041"/>
              <a:gd name="connsiteX90" fmla="*/ 23812 w 2971294"/>
              <a:gd name="connsiteY90" fmla="*/ 2238375 h 2305041"/>
              <a:gd name="connsiteX91" fmla="*/ 14287 w 2971294"/>
              <a:gd name="connsiteY91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624137 w 2971294"/>
              <a:gd name="connsiteY38" fmla="*/ 1314450 h 2305041"/>
              <a:gd name="connsiteX39" fmla="*/ 2619375 w 2971294"/>
              <a:gd name="connsiteY39" fmla="*/ 1371600 h 2305041"/>
              <a:gd name="connsiteX40" fmla="*/ 2614612 w 2971294"/>
              <a:gd name="connsiteY40" fmla="*/ 1443037 h 2305041"/>
              <a:gd name="connsiteX41" fmla="*/ 2600325 w 2971294"/>
              <a:gd name="connsiteY41" fmla="*/ 1485900 h 2305041"/>
              <a:gd name="connsiteX42" fmla="*/ 2595562 w 2971294"/>
              <a:gd name="connsiteY42" fmla="*/ 1514475 h 2305041"/>
              <a:gd name="connsiteX43" fmla="*/ 2581275 w 2971294"/>
              <a:gd name="connsiteY43" fmla="*/ 1652587 h 2305041"/>
              <a:gd name="connsiteX44" fmla="*/ 2605087 w 2971294"/>
              <a:gd name="connsiteY44" fmla="*/ 2005012 h 2305041"/>
              <a:gd name="connsiteX45" fmla="*/ 2614612 w 2971294"/>
              <a:gd name="connsiteY45" fmla="*/ 2066925 h 2305041"/>
              <a:gd name="connsiteX46" fmla="*/ 2616200 w 2971294"/>
              <a:gd name="connsiteY46" fmla="*/ 2203450 h 2305041"/>
              <a:gd name="connsiteX47" fmla="*/ 2624137 w 2971294"/>
              <a:gd name="connsiteY47" fmla="*/ 2292350 h 2305041"/>
              <a:gd name="connsiteX48" fmla="*/ 2851150 w 2971294"/>
              <a:gd name="connsiteY48" fmla="*/ 2303462 h 2305041"/>
              <a:gd name="connsiteX49" fmla="*/ 2967037 w 2971294"/>
              <a:gd name="connsiteY49" fmla="*/ 2282825 h 2305041"/>
              <a:gd name="connsiteX50" fmla="*/ 2947987 w 2971294"/>
              <a:gd name="connsiteY50" fmla="*/ 2181225 h 2305041"/>
              <a:gd name="connsiteX51" fmla="*/ 2955925 w 2971294"/>
              <a:gd name="connsiteY51" fmla="*/ 2008187 h 2305041"/>
              <a:gd name="connsiteX52" fmla="*/ 2962275 w 2971294"/>
              <a:gd name="connsiteY52" fmla="*/ 1804987 h 2305041"/>
              <a:gd name="connsiteX53" fmla="*/ 2952750 w 2971294"/>
              <a:gd name="connsiteY53" fmla="*/ 1366837 h 2305041"/>
              <a:gd name="connsiteX54" fmla="*/ 2947987 w 2971294"/>
              <a:gd name="connsiteY54" fmla="*/ 1081087 h 2305041"/>
              <a:gd name="connsiteX55" fmla="*/ 2947987 w 2971294"/>
              <a:gd name="connsiteY55" fmla="*/ 922337 h 2305041"/>
              <a:gd name="connsiteX56" fmla="*/ 2952750 w 2971294"/>
              <a:gd name="connsiteY56" fmla="*/ 571500 h 2305041"/>
              <a:gd name="connsiteX57" fmla="*/ 2957512 w 2971294"/>
              <a:gd name="connsiteY57" fmla="*/ 342900 h 2305041"/>
              <a:gd name="connsiteX58" fmla="*/ 2957512 w 2971294"/>
              <a:gd name="connsiteY58" fmla="*/ 34925 h 2305041"/>
              <a:gd name="connsiteX59" fmla="*/ 2867025 w 2971294"/>
              <a:gd name="connsiteY59" fmla="*/ 19050 h 2305041"/>
              <a:gd name="connsiteX60" fmla="*/ 2724150 w 2971294"/>
              <a:gd name="connsiteY60" fmla="*/ 9525 h 2305041"/>
              <a:gd name="connsiteX61" fmla="*/ 2381250 w 2971294"/>
              <a:gd name="connsiteY61" fmla="*/ 14287 h 2305041"/>
              <a:gd name="connsiteX62" fmla="*/ 2324100 w 2971294"/>
              <a:gd name="connsiteY62" fmla="*/ 23812 h 2305041"/>
              <a:gd name="connsiteX63" fmla="*/ 1909762 w 2971294"/>
              <a:gd name="connsiteY63" fmla="*/ 19050 h 2305041"/>
              <a:gd name="connsiteX64" fmla="*/ 1804987 w 2971294"/>
              <a:gd name="connsiteY64" fmla="*/ 9525 h 2305041"/>
              <a:gd name="connsiteX65" fmla="*/ 1776412 w 2971294"/>
              <a:gd name="connsiteY65" fmla="*/ 0 h 2305041"/>
              <a:gd name="connsiteX66" fmla="*/ 1528762 w 2971294"/>
              <a:gd name="connsiteY66" fmla="*/ 4762 h 2305041"/>
              <a:gd name="connsiteX67" fmla="*/ 1143000 w 2971294"/>
              <a:gd name="connsiteY67" fmla="*/ 38100 h 2305041"/>
              <a:gd name="connsiteX68" fmla="*/ 309562 w 2971294"/>
              <a:gd name="connsiteY68" fmla="*/ 23812 h 2305041"/>
              <a:gd name="connsiteX69" fmla="*/ 247650 w 2971294"/>
              <a:gd name="connsiteY69" fmla="*/ 14287 h 2305041"/>
              <a:gd name="connsiteX70" fmla="*/ 185737 w 2971294"/>
              <a:gd name="connsiteY70" fmla="*/ 9525 h 2305041"/>
              <a:gd name="connsiteX71" fmla="*/ 19050 w 2971294"/>
              <a:gd name="connsiteY71" fmla="*/ 14287 h 2305041"/>
              <a:gd name="connsiteX72" fmla="*/ 4762 w 2971294"/>
              <a:gd name="connsiteY72" fmla="*/ 19050 h 2305041"/>
              <a:gd name="connsiteX73" fmla="*/ 9525 w 2971294"/>
              <a:gd name="connsiteY73" fmla="*/ 85725 h 2305041"/>
              <a:gd name="connsiteX74" fmla="*/ 23812 w 2971294"/>
              <a:gd name="connsiteY74" fmla="*/ 171450 h 2305041"/>
              <a:gd name="connsiteX75" fmla="*/ 14287 w 2971294"/>
              <a:gd name="connsiteY75" fmla="*/ 390525 h 2305041"/>
              <a:gd name="connsiteX76" fmla="*/ 0 w 2971294"/>
              <a:gd name="connsiteY76" fmla="*/ 466725 h 2305041"/>
              <a:gd name="connsiteX77" fmla="*/ 9525 w 2971294"/>
              <a:gd name="connsiteY77" fmla="*/ 800100 h 2305041"/>
              <a:gd name="connsiteX78" fmla="*/ 9525 w 2971294"/>
              <a:gd name="connsiteY78" fmla="*/ 871537 h 2305041"/>
              <a:gd name="connsiteX79" fmla="*/ 14287 w 2971294"/>
              <a:gd name="connsiteY79" fmla="*/ 1157287 h 2305041"/>
              <a:gd name="connsiteX80" fmla="*/ 19050 w 2971294"/>
              <a:gd name="connsiteY80" fmla="*/ 1204912 h 2305041"/>
              <a:gd name="connsiteX81" fmla="*/ 28575 w 2971294"/>
              <a:gd name="connsiteY81" fmla="*/ 1243012 h 2305041"/>
              <a:gd name="connsiteX82" fmla="*/ 33337 w 2971294"/>
              <a:gd name="connsiteY82" fmla="*/ 1328737 h 2305041"/>
              <a:gd name="connsiteX83" fmla="*/ 23812 w 2971294"/>
              <a:gd name="connsiteY83" fmla="*/ 1476375 h 2305041"/>
              <a:gd name="connsiteX84" fmla="*/ 14287 w 2971294"/>
              <a:gd name="connsiteY84" fmla="*/ 1562100 h 2305041"/>
              <a:gd name="connsiteX85" fmla="*/ 9525 w 2971294"/>
              <a:gd name="connsiteY85" fmla="*/ 1819275 h 2305041"/>
              <a:gd name="connsiteX86" fmla="*/ 14287 w 2971294"/>
              <a:gd name="connsiteY86" fmla="*/ 2014537 h 2305041"/>
              <a:gd name="connsiteX87" fmla="*/ 23812 w 2971294"/>
              <a:gd name="connsiteY87" fmla="*/ 2066925 h 2305041"/>
              <a:gd name="connsiteX88" fmla="*/ 28575 w 2971294"/>
              <a:gd name="connsiteY88" fmla="*/ 2152650 h 2305041"/>
              <a:gd name="connsiteX89" fmla="*/ 23812 w 2971294"/>
              <a:gd name="connsiteY89" fmla="*/ 2238375 h 2305041"/>
              <a:gd name="connsiteX90" fmla="*/ 14287 w 2971294"/>
              <a:gd name="connsiteY90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624137 w 2971294"/>
              <a:gd name="connsiteY38" fmla="*/ 1314450 h 2305041"/>
              <a:gd name="connsiteX39" fmla="*/ 2619375 w 2971294"/>
              <a:gd name="connsiteY39" fmla="*/ 1371600 h 2305041"/>
              <a:gd name="connsiteX40" fmla="*/ 2614612 w 2971294"/>
              <a:gd name="connsiteY40" fmla="*/ 1443037 h 2305041"/>
              <a:gd name="connsiteX41" fmla="*/ 2600325 w 2971294"/>
              <a:gd name="connsiteY41" fmla="*/ 1485900 h 2305041"/>
              <a:gd name="connsiteX42" fmla="*/ 2595562 w 2971294"/>
              <a:gd name="connsiteY42" fmla="*/ 1514475 h 2305041"/>
              <a:gd name="connsiteX43" fmla="*/ 2605087 w 2971294"/>
              <a:gd name="connsiteY43" fmla="*/ 2005012 h 2305041"/>
              <a:gd name="connsiteX44" fmla="*/ 2614612 w 2971294"/>
              <a:gd name="connsiteY44" fmla="*/ 2066925 h 2305041"/>
              <a:gd name="connsiteX45" fmla="*/ 2616200 w 2971294"/>
              <a:gd name="connsiteY45" fmla="*/ 2203450 h 2305041"/>
              <a:gd name="connsiteX46" fmla="*/ 2624137 w 2971294"/>
              <a:gd name="connsiteY46" fmla="*/ 2292350 h 2305041"/>
              <a:gd name="connsiteX47" fmla="*/ 2851150 w 2971294"/>
              <a:gd name="connsiteY47" fmla="*/ 2303462 h 2305041"/>
              <a:gd name="connsiteX48" fmla="*/ 2967037 w 2971294"/>
              <a:gd name="connsiteY48" fmla="*/ 2282825 h 2305041"/>
              <a:gd name="connsiteX49" fmla="*/ 2947987 w 2971294"/>
              <a:gd name="connsiteY49" fmla="*/ 2181225 h 2305041"/>
              <a:gd name="connsiteX50" fmla="*/ 2955925 w 2971294"/>
              <a:gd name="connsiteY50" fmla="*/ 2008187 h 2305041"/>
              <a:gd name="connsiteX51" fmla="*/ 2962275 w 2971294"/>
              <a:gd name="connsiteY51" fmla="*/ 1804987 h 2305041"/>
              <a:gd name="connsiteX52" fmla="*/ 2952750 w 2971294"/>
              <a:gd name="connsiteY52" fmla="*/ 1366837 h 2305041"/>
              <a:gd name="connsiteX53" fmla="*/ 2947987 w 2971294"/>
              <a:gd name="connsiteY53" fmla="*/ 1081087 h 2305041"/>
              <a:gd name="connsiteX54" fmla="*/ 2947987 w 2971294"/>
              <a:gd name="connsiteY54" fmla="*/ 922337 h 2305041"/>
              <a:gd name="connsiteX55" fmla="*/ 2952750 w 2971294"/>
              <a:gd name="connsiteY55" fmla="*/ 571500 h 2305041"/>
              <a:gd name="connsiteX56" fmla="*/ 2957512 w 2971294"/>
              <a:gd name="connsiteY56" fmla="*/ 342900 h 2305041"/>
              <a:gd name="connsiteX57" fmla="*/ 2957512 w 2971294"/>
              <a:gd name="connsiteY57" fmla="*/ 34925 h 2305041"/>
              <a:gd name="connsiteX58" fmla="*/ 2867025 w 2971294"/>
              <a:gd name="connsiteY58" fmla="*/ 19050 h 2305041"/>
              <a:gd name="connsiteX59" fmla="*/ 2724150 w 2971294"/>
              <a:gd name="connsiteY59" fmla="*/ 9525 h 2305041"/>
              <a:gd name="connsiteX60" fmla="*/ 2381250 w 2971294"/>
              <a:gd name="connsiteY60" fmla="*/ 14287 h 2305041"/>
              <a:gd name="connsiteX61" fmla="*/ 2324100 w 2971294"/>
              <a:gd name="connsiteY61" fmla="*/ 23812 h 2305041"/>
              <a:gd name="connsiteX62" fmla="*/ 1909762 w 2971294"/>
              <a:gd name="connsiteY62" fmla="*/ 19050 h 2305041"/>
              <a:gd name="connsiteX63" fmla="*/ 1804987 w 2971294"/>
              <a:gd name="connsiteY63" fmla="*/ 9525 h 2305041"/>
              <a:gd name="connsiteX64" fmla="*/ 1776412 w 2971294"/>
              <a:gd name="connsiteY64" fmla="*/ 0 h 2305041"/>
              <a:gd name="connsiteX65" fmla="*/ 1528762 w 2971294"/>
              <a:gd name="connsiteY65" fmla="*/ 4762 h 2305041"/>
              <a:gd name="connsiteX66" fmla="*/ 1143000 w 2971294"/>
              <a:gd name="connsiteY66" fmla="*/ 38100 h 2305041"/>
              <a:gd name="connsiteX67" fmla="*/ 309562 w 2971294"/>
              <a:gd name="connsiteY67" fmla="*/ 23812 h 2305041"/>
              <a:gd name="connsiteX68" fmla="*/ 247650 w 2971294"/>
              <a:gd name="connsiteY68" fmla="*/ 14287 h 2305041"/>
              <a:gd name="connsiteX69" fmla="*/ 185737 w 2971294"/>
              <a:gd name="connsiteY69" fmla="*/ 9525 h 2305041"/>
              <a:gd name="connsiteX70" fmla="*/ 19050 w 2971294"/>
              <a:gd name="connsiteY70" fmla="*/ 14287 h 2305041"/>
              <a:gd name="connsiteX71" fmla="*/ 4762 w 2971294"/>
              <a:gd name="connsiteY71" fmla="*/ 19050 h 2305041"/>
              <a:gd name="connsiteX72" fmla="*/ 9525 w 2971294"/>
              <a:gd name="connsiteY72" fmla="*/ 85725 h 2305041"/>
              <a:gd name="connsiteX73" fmla="*/ 23812 w 2971294"/>
              <a:gd name="connsiteY73" fmla="*/ 171450 h 2305041"/>
              <a:gd name="connsiteX74" fmla="*/ 14287 w 2971294"/>
              <a:gd name="connsiteY74" fmla="*/ 390525 h 2305041"/>
              <a:gd name="connsiteX75" fmla="*/ 0 w 2971294"/>
              <a:gd name="connsiteY75" fmla="*/ 466725 h 2305041"/>
              <a:gd name="connsiteX76" fmla="*/ 9525 w 2971294"/>
              <a:gd name="connsiteY76" fmla="*/ 800100 h 2305041"/>
              <a:gd name="connsiteX77" fmla="*/ 9525 w 2971294"/>
              <a:gd name="connsiteY77" fmla="*/ 871537 h 2305041"/>
              <a:gd name="connsiteX78" fmla="*/ 14287 w 2971294"/>
              <a:gd name="connsiteY78" fmla="*/ 1157287 h 2305041"/>
              <a:gd name="connsiteX79" fmla="*/ 19050 w 2971294"/>
              <a:gd name="connsiteY79" fmla="*/ 1204912 h 2305041"/>
              <a:gd name="connsiteX80" fmla="*/ 28575 w 2971294"/>
              <a:gd name="connsiteY80" fmla="*/ 1243012 h 2305041"/>
              <a:gd name="connsiteX81" fmla="*/ 33337 w 2971294"/>
              <a:gd name="connsiteY81" fmla="*/ 1328737 h 2305041"/>
              <a:gd name="connsiteX82" fmla="*/ 23812 w 2971294"/>
              <a:gd name="connsiteY82" fmla="*/ 1476375 h 2305041"/>
              <a:gd name="connsiteX83" fmla="*/ 14287 w 2971294"/>
              <a:gd name="connsiteY83" fmla="*/ 1562100 h 2305041"/>
              <a:gd name="connsiteX84" fmla="*/ 9525 w 2971294"/>
              <a:gd name="connsiteY84" fmla="*/ 1819275 h 2305041"/>
              <a:gd name="connsiteX85" fmla="*/ 14287 w 2971294"/>
              <a:gd name="connsiteY85" fmla="*/ 2014537 h 2305041"/>
              <a:gd name="connsiteX86" fmla="*/ 23812 w 2971294"/>
              <a:gd name="connsiteY86" fmla="*/ 2066925 h 2305041"/>
              <a:gd name="connsiteX87" fmla="*/ 28575 w 2971294"/>
              <a:gd name="connsiteY87" fmla="*/ 2152650 h 2305041"/>
              <a:gd name="connsiteX88" fmla="*/ 23812 w 2971294"/>
              <a:gd name="connsiteY88" fmla="*/ 2238375 h 2305041"/>
              <a:gd name="connsiteX89" fmla="*/ 14287 w 2971294"/>
              <a:gd name="connsiteY89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624137 w 2971294"/>
              <a:gd name="connsiteY38" fmla="*/ 1314450 h 2305041"/>
              <a:gd name="connsiteX39" fmla="*/ 2619375 w 2971294"/>
              <a:gd name="connsiteY39" fmla="*/ 1371600 h 2305041"/>
              <a:gd name="connsiteX40" fmla="*/ 2614612 w 2971294"/>
              <a:gd name="connsiteY40" fmla="*/ 1443037 h 2305041"/>
              <a:gd name="connsiteX41" fmla="*/ 2595562 w 2971294"/>
              <a:gd name="connsiteY41" fmla="*/ 1514475 h 2305041"/>
              <a:gd name="connsiteX42" fmla="*/ 2605087 w 2971294"/>
              <a:gd name="connsiteY42" fmla="*/ 2005012 h 2305041"/>
              <a:gd name="connsiteX43" fmla="*/ 2614612 w 2971294"/>
              <a:gd name="connsiteY43" fmla="*/ 2066925 h 2305041"/>
              <a:gd name="connsiteX44" fmla="*/ 2616200 w 2971294"/>
              <a:gd name="connsiteY44" fmla="*/ 2203450 h 2305041"/>
              <a:gd name="connsiteX45" fmla="*/ 2624137 w 2971294"/>
              <a:gd name="connsiteY45" fmla="*/ 2292350 h 2305041"/>
              <a:gd name="connsiteX46" fmla="*/ 2851150 w 2971294"/>
              <a:gd name="connsiteY46" fmla="*/ 2303462 h 2305041"/>
              <a:gd name="connsiteX47" fmla="*/ 2967037 w 2971294"/>
              <a:gd name="connsiteY47" fmla="*/ 2282825 h 2305041"/>
              <a:gd name="connsiteX48" fmla="*/ 2947987 w 2971294"/>
              <a:gd name="connsiteY48" fmla="*/ 2181225 h 2305041"/>
              <a:gd name="connsiteX49" fmla="*/ 2955925 w 2971294"/>
              <a:gd name="connsiteY49" fmla="*/ 2008187 h 2305041"/>
              <a:gd name="connsiteX50" fmla="*/ 2962275 w 2971294"/>
              <a:gd name="connsiteY50" fmla="*/ 1804987 h 2305041"/>
              <a:gd name="connsiteX51" fmla="*/ 2952750 w 2971294"/>
              <a:gd name="connsiteY51" fmla="*/ 1366837 h 2305041"/>
              <a:gd name="connsiteX52" fmla="*/ 2947987 w 2971294"/>
              <a:gd name="connsiteY52" fmla="*/ 1081087 h 2305041"/>
              <a:gd name="connsiteX53" fmla="*/ 2947987 w 2971294"/>
              <a:gd name="connsiteY53" fmla="*/ 922337 h 2305041"/>
              <a:gd name="connsiteX54" fmla="*/ 2952750 w 2971294"/>
              <a:gd name="connsiteY54" fmla="*/ 571500 h 2305041"/>
              <a:gd name="connsiteX55" fmla="*/ 2957512 w 2971294"/>
              <a:gd name="connsiteY55" fmla="*/ 342900 h 2305041"/>
              <a:gd name="connsiteX56" fmla="*/ 2957512 w 2971294"/>
              <a:gd name="connsiteY56" fmla="*/ 34925 h 2305041"/>
              <a:gd name="connsiteX57" fmla="*/ 2867025 w 2971294"/>
              <a:gd name="connsiteY57" fmla="*/ 19050 h 2305041"/>
              <a:gd name="connsiteX58" fmla="*/ 2724150 w 2971294"/>
              <a:gd name="connsiteY58" fmla="*/ 9525 h 2305041"/>
              <a:gd name="connsiteX59" fmla="*/ 2381250 w 2971294"/>
              <a:gd name="connsiteY59" fmla="*/ 14287 h 2305041"/>
              <a:gd name="connsiteX60" fmla="*/ 2324100 w 2971294"/>
              <a:gd name="connsiteY60" fmla="*/ 23812 h 2305041"/>
              <a:gd name="connsiteX61" fmla="*/ 1909762 w 2971294"/>
              <a:gd name="connsiteY61" fmla="*/ 19050 h 2305041"/>
              <a:gd name="connsiteX62" fmla="*/ 1804987 w 2971294"/>
              <a:gd name="connsiteY62" fmla="*/ 9525 h 2305041"/>
              <a:gd name="connsiteX63" fmla="*/ 1776412 w 2971294"/>
              <a:gd name="connsiteY63" fmla="*/ 0 h 2305041"/>
              <a:gd name="connsiteX64" fmla="*/ 1528762 w 2971294"/>
              <a:gd name="connsiteY64" fmla="*/ 4762 h 2305041"/>
              <a:gd name="connsiteX65" fmla="*/ 1143000 w 2971294"/>
              <a:gd name="connsiteY65" fmla="*/ 38100 h 2305041"/>
              <a:gd name="connsiteX66" fmla="*/ 309562 w 2971294"/>
              <a:gd name="connsiteY66" fmla="*/ 23812 h 2305041"/>
              <a:gd name="connsiteX67" fmla="*/ 247650 w 2971294"/>
              <a:gd name="connsiteY67" fmla="*/ 14287 h 2305041"/>
              <a:gd name="connsiteX68" fmla="*/ 185737 w 2971294"/>
              <a:gd name="connsiteY68" fmla="*/ 9525 h 2305041"/>
              <a:gd name="connsiteX69" fmla="*/ 19050 w 2971294"/>
              <a:gd name="connsiteY69" fmla="*/ 14287 h 2305041"/>
              <a:gd name="connsiteX70" fmla="*/ 4762 w 2971294"/>
              <a:gd name="connsiteY70" fmla="*/ 19050 h 2305041"/>
              <a:gd name="connsiteX71" fmla="*/ 9525 w 2971294"/>
              <a:gd name="connsiteY71" fmla="*/ 85725 h 2305041"/>
              <a:gd name="connsiteX72" fmla="*/ 23812 w 2971294"/>
              <a:gd name="connsiteY72" fmla="*/ 171450 h 2305041"/>
              <a:gd name="connsiteX73" fmla="*/ 14287 w 2971294"/>
              <a:gd name="connsiteY73" fmla="*/ 390525 h 2305041"/>
              <a:gd name="connsiteX74" fmla="*/ 0 w 2971294"/>
              <a:gd name="connsiteY74" fmla="*/ 466725 h 2305041"/>
              <a:gd name="connsiteX75" fmla="*/ 9525 w 2971294"/>
              <a:gd name="connsiteY75" fmla="*/ 800100 h 2305041"/>
              <a:gd name="connsiteX76" fmla="*/ 9525 w 2971294"/>
              <a:gd name="connsiteY76" fmla="*/ 871537 h 2305041"/>
              <a:gd name="connsiteX77" fmla="*/ 14287 w 2971294"/>
              <a:gd name="connsiteY77" fmla="*/ 1157287 h 2305041"/>
              <a:gd name="connsiteX78" fmla="*/ 19050 w 2971294"/>
              <a:gd name="connsiteY78" fmla="*/ 1204912 h 2305041"/>
              <a:gd name="connsiteX79" fmla="*/ 28575 w 2971294"/>
              <a:gd name="connsiteY79" fmla="*/ 1243012 h 2305041"/>
              <a:gd name="connsiteX80" fmla="*/ 33337 w 2971294"/>
              <a:gd name="connsiteY80" fmla="*/ 1328737 h 2305041"/>
              <a:gd name="connsiteX81" fmla="*/ 23812 w 2971294"/>
              <a:gd name="connsiteY81" fmla="*/ 1476375 h 2305041"/>
              <a:gd name="connsiteX82" fmla="*/ 14287 w 2971294"/>
              <a:gd name="connsiteY82" fmla="*/ 1562100 h 2305041"/>
              <a:gd name="connsiteX83" fmla="*/ 9525 w 2971294"/>
              <a:gd name="connsiteY83" fmla="*/ 1819275 h 2305041"/>
              <a:gd name="connsiteX84" fmla="*/ 14287 w 2971294"/>
              <a:gd name="connsiteY84" fmla="*/ 2014537 h 2305041"/>
              <a:gd name="connsiteX85" fmla="*/ 23812 w 2971294"/>
              <a:gd name="connsiteY85" fmla="*/ 2066925 h 2305041"/>
              <a:gd name="connsiteX86" fmla="*/ 28575 w 2971294"/>
              <a:gd name="connsiteY86" fmla="*/ 2152650 h 2305041"/>
              <a:gd name="connsiteX87" fmla="*/ 23812 w 2971294"/>
              <a:gd name="connsiteY87" fmla="*/ 2238375 h 2305041"/>
              <a:gd name="connsiteX88" fmla="*/ 14287 w 2971294"/>
              <a:gd name="connsiteY88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624137 w 2971294"/>
              <a:gd name="connsiteY38" fmla="*/ 1314450 h 2305041"/>
              <a:gd name="connsiteX39" fmla="*/ 2619375 w 2971294"/>
              <a:gd name="connsiteY39" fmla="*/ 1371600 h 2305041"/>
              <a:gd name="connsiteX40" fmla="*/ 2595562 w 2971294"/>
              <a:gd name="connsiteY40" fmla="*/ 1514475 h 2305041"/>
              <a:gd name="connsiteX41" fmla="*/ 2605087 w 2971294"/>
              <a:gd name="connsiteY41" fmla="*/ 2005012 h 2305041"/>
              <a:gd name="connsiteX42" fmla="*/ 2614612 w 2971294"/>
              <a:gd name="connsiteY42" fmla="*/ 2066925 h 2305041"/>
              <a:gd name="connsiteX43" fmla="*/ 2616200 w 2971294"/>
              <a:gd name="connsiteY43" fmla="*/ 2203450 h 2305041"/>
              <a:gd name="connsiteX44" fmla="*/ 2624137 w 2971294"/>
              <a:gd name="connsiteY44" fmla="*/ 2292350 h 2305041"/>
              <a:gd name="connsiteX45" fmla="*/ 2851150 w 2971294"/>
              <a:gd name="connsiteY45" fmla="*/ 2303462 h 2305041"/>
              <a:gd name="connsiteX46" fmla="*/ 2967037 w 2971294"/>
              <a:gd name="connsiteY46" fmla="*/ 2282825 h 2305041"/>
              <a:gd name="connsiteX47" fmla="*/ 2947987 w 2971294"/>
              <a:gd name="connsiteY47" fmla="*/ 2181225 h 2305041"/>
              <a:gd name="connsiteX48" fmla="*/ 2955925 w 2971294"/>
              <a:gd name="connsiteY48" fmla="*/ 2008187 h 2305041"/>
              <a:gd name="connsiteX49" fmla="*/ 2962275 w 2971294"/>
              <a:gd name="connsiteY49" fmla="*/ 1804987 h 2305041"/>
              <a:gd name="connsiteX50" fmla="*/ 2952750 w 2971294"/>
              <a:gd name="connsiteY50" fmla="*/ 1366837 h 2305041"/>
              <a:gd name="connsiteX51" fmla="*/ 2947987 w 2971294"/>
              <a:gd name="connsiteY51" fmla="*/ 1081087 h 2305041"/>
              <a:gd name="connsiteX52" fmla="*/ 2947987 w 2971294"/>
              <a:gd name="connsiteY52" fmla="*/ 922337 h 2305041"/>
              <a:gd name="connsiteX53" fmla="*/ 2952750 w 2971294"/>
              <a:gd name="connsiteY53" fmla="*/ 571500 h 2305041"/>
              <a:gd name="connsiteX54" fmla="*/ 2957512 w 2971294"/>
              <a:gd name="connsiteY54" fmla="*/ 342900 h 2305041"/>
              <a:gd name="connsiteX55" fmla="*/ 2957512 w 2971294"/>
              <a:gd name="connsiteY55" fmla="*/ 34925 h 2305041"/>
              <a:gd name="connsiteX56" fmla="*/ 2867025 w 2971294"/>
              <a:gd name="connsiteY56" fmla="*/ 19050 h 2305041"/>
              <a:gd name="connsiteX57" fmla="*/ 2724150 w 2971294"/>
              <a:gd name="connsiteY57" fmla="*/ 9525 h 2305041"/>
              <a:gd name="connsiteX58" fmla="*/ 2381250 w 2971294"/>
              <a:gd name="connsiteY58" fmla="*/ 14287 h 2305041"/>
              <a:gd name="connsiteX59" fmla="*/ 2324100 w 2971294"/>
              <a:gd name="connsiteY59" fmla="*/ 23812 h 2305041"/>
              <a:gd name="connsiteX60" fmla="*/ 1909762 w 2971294"/>
              <a:gd name="connsiteY60" fmla="*/ 19050 h 2305041"/>
              <a:gd name="connsiteX61" fmla="*/ 1804987 w 2971294"/>
              <a:gd name="connsiteY61" fmla="*/ 9525 h 2305041"/>
              <a:gd name="connsiteX62" fmla="*/ 1776412 w 2971294"/>
              <a:gd name="connsiteY62" fmla="*/ 0 h 2305041"/>
              <a:gd name="connsiteX63" fmla="*/ 1528762 w 2971294"/>
              <a:gd name="connsiteY63" fmla="*/ 4762 h 2305041"/>
              <a:gd name="connsiteX64" fmla="*/ 1143000 w 2971294"/>
              <a:gd name="connsiteY64" fmla="*/ 38100 h 2305041"/>
              <a:gd name="connsiteX65" fmla="*/ 309562 w 2971294"/>
              <a:gd name="connsiteY65" fmla="*/ 23812 h 2305041"/>
              <a:gd name="connsiteX66" fmla="*/ 247650 w 2971294"/>
              <a:gd name="connsiteY66" fmla="*/ 14287 h 2305041"/>
              <a:gd name="connsiteX67" fmla="*/ 185737 w 2971294"/>
              <a:gd name="connsiteY67" fmla="*/ 9525 h 2305041"/>
              <a:gd name="connsiteX68" fmla="*/ 19050 w 2971294"/>
              <a:gd name="connsiteY68" fmla="*/ 14287 h 2305041"/>
              <a:gd name="connsiteX69" fmla="*/ 4762 w 2971294"/>
              <a:gd name="connsiteY69" fmla="*/ 19050 h 2305041"/>
              <a:gd name="connsiteX70" fmla="*/ 9525 w 2971294"/>
              <a:gd name="connsiteY70" fmla="*/ 85725 h 2305041"/>
              <a:gd name="connsiteX71" fmla="*/ 23812 w 2971294"/>
              <a:gd name="connsiteY71" fmla="*/ 171450 h 2305041"/>
              <a:gd name="connsiteX72" fmla="*/ 14287 w 2971294"/>
              <a:gd name="connsiteY72" fmla="*/ 390525 h 2305041"/>
              <a:gd name="connsiteX73" fmla="*/ 0 w 2971294"/>
              <a:gd name="connsiteY73" fmla="*/ 466725 h 2305041"/>
              <a:gd name="connsiteX74" fmla="*/ 9525 w 2971294"/>
              <a:gd name="connsiteY74" fmla="*/ 800100 h 2305041"/>
              <a:gd name="connsiteX75" fmla="*/ 9525 w 2971294"/>
              <a:gd name="connsiteY75" fmla="*/ 871537 h 2305041"/>
              <a:gd name="connsiteX76" fmla="*/ 14287 w 2971294"/>
              <a:gd name="connsiteY76" fmla="*/ 1157287 h 2305041"/>
              <a:gd name="connsiteX77" fmla="*/ 19050 w 2971294"/>
              <a:gd name="connsiteY77" fmla="*/ 1204912 h 2305041"/>
              <a:gd name="connsiteX78" fmla="*/ 28575 w 2971294"/>
              <a:gd name="connsiteY78" fmla="*/ 1243012 h 2305041"/>
              <a:gd name="connsiteX79" fmla="*/ 33337 w 2971294"/>
              <a:gd name="connsiteY79" fmla="*/ 1328737 h 2305041"/>
              <a:gd name="connsiteX80" fmla="*/ 23812 w 2971294"/>
              <a:gd name="connsiteY80" fmla="*/ 1476375 h 2305041"/>
              <a:gd name="connsiteX81" fmla="*/ 14287 w 2971294"/>
              <a:gd name="connsiteY81" fmla="*/ 1562100 h 2305041"/>
              <a:gd name="connsiteX82" fmla="*/ 9525 w 2971294"/>
              <a:gd name="connsiteY82" fmla="*/ 1819275 h 2305041"/>
              <a:gd name="connsiteX83" fmla="*/ 14287 w 2971294"/>
              <a:gd name="connsiteY83" fmla="*/ 2014537 h 2305041"/>
              <a:gd name="connsiteX84" fmla="*/ 23812 w 2971294"/>
              <a:gd name="connsiteY84" fmla="*/ 2066925 h 2305041"/>
              <a:gd name="connsiteX85" fmla="*/ 28575 w 2971294"/>
              <a:gd name="connsiteY85" fmla="*/ 2152650 h 2305041"/>
              <a:gd name="connsiteX86" fmla="*/ 23812 w 2971294"/>
              <a:gd name="connsiteY86" fmla="*/ 2238375 h 2305041"/>
              <a:gd name="connsiteX87" fmla="*/ 14287 w 2971294"/>
              <a:gd name="connsiteY87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624137 w 2971294"/>
              <a:gd name="connsiteY38" fmla="*/ 1314450 h 2305041"/>
              <a:gd name="connsiteX39" fmla="*/ 2595562 w 2971294"/>
              <a:gd name="connsiteY39" fmla="*/ 1514475 h 2305041"/>
              <a:gd name="connsiteX40" fmla="*/ 2605087 w 2971294"/>
              <a:gd name="connsiteY40" fmla="*/ 2005012 h 2305041"/>
              <a:gd name="connsiteX41" fmla="*/ 2614612 w 2971294"/>
              <a:gd name="connsiteY41" fmla="*/ 2066925 h 2305041"/>
              <a:gd name="connsiteX42" fmla="*/ 2616200 w 2971294"/>
              <a:gd name="connsiteY42" fmla="*/ 2203450 h 2305041"/>
              <a:gd name="connsiteX43" fmla="*/ 2624137 w 2971294"/>
              <a:gd name="connsiteY43" fmla="*/ 2292350 h 2305041"/>
              <a:gd name="connsiteX44" fmla="*/ 2851150 w 2971294"/>
              <a:gd name="connsiteY44" fmla="*/ 2303462 h 2305041"/>
              <a:gd name="connsiteX45" fmla="*/ 2967037 w 2971294"/>
              <a:gd name="connsiteY45" fmla="*/ 2282825 h 2305041"/>
              <a:gd name="connsiteX46" fmla="*/ 2947987 w 2971294"/>
              <a:gd name="connsiteY46" fmla="*/ 2181225 h 2305041"/>
              <a:gd name="connsiteX47" fmla="*/ 2955925 w 2971294"/>
              <a:gd name="connsiteY47" fmla="*/ 2008187 h 2305041"/>
              <a:gd name="connsiteX48" fmla="*/ 2962275 w 2971294"/>
              <a:gd name="connsiteY48" fmla="*/ 1804987 h 2305041"/>
              <a:gd name="connsiteX49" fmla="*/ 2952750 w 2971294"/>
              <a:gd name="connsiteY49" fmla="*/ 1366837 h 2305041"/>
              <a:gd name="connsiteX50" fmla="*/ 2947987 w 2971294"/>
              <a:gd name="connsiteY50" fmla="*/ 1081087 h 2305041"/>
              <a:gd name="connsiteX51" fmla="*/ 2947987 w 2971294"/>
              <a:gd name="connsiteY51" fmla="*/ 922337 h 2305041"/>
              <a:gd name="connsiteX52" fmla="*/ 2952750 w 2971294"/>
              <a:gd name="connsiteY52" fmla="*/ 571500 h 2305041"/>
              <a:gd name="connsiteX53" fmla="*/ 2957512 w 2971294"/>
              <a:gd name="connsiteY53" fmla="*/ 342900 h 2305041"/>
              <a:gd name="connsiteX54" fmla="*/ 2957512 w 2971294"/>
              <a:gd name="connsiteY54" fmla="*/ 34925 h 2305041"/>
              <a:gd name="connsiteX55" fmla="*/ 2867025 w 2971294"/>
              <a:gd name="connsiteY55" fmla="*/ 19050 h 2305041"/>
              <a:gd name="connsiteX56" fmla="*/ 2724150 w 2971294"/>
              <a:gd name="connsiteY56" fmla="*/ 9525 h 2305041"/>
              <a:gd name="connsiteX57" fmla="*/ 2381250 w 2971294"/>
              <a:gd name="connsiteY57" fmla="*/ 14287 h 2305041"/>
              <a:gd name="connsiteX58" fmla="*/ 2324100 w 2971294"/>
              <a:gd name="connsiteY58" fmla="*/ 23812 h 2305041"/>
              <a:gd name="connsiteX59" fmla="*/ 1909762 w 2971294"/>
              <a:gd name="connsiteY59" fmla="*/ 19050 h 2305041"/>
              <a:gd name="connsiteX60" fmla="*/ 1804987 w 2971294"/>
              <a:gd name="connsiteY60" fmla="*/ 9525 h 2305041"/>
              <a:gd name="connsiteX61" fmla="*/ 1776412 w 2971294"/>
              <a:gd name="connsiteY61" fmla="*/ 0 h 2305041"/>
              <a:gd name="connsiteX62" fmla="*/ 1528762 w 2971294"/>
              <a:gd name="connsiteY62" fmla="*/ 4762 h 2305041"/>
              <a:gd name="connsiteX63" fmla="*/ 1143000 w 2971294"/>
              <a:gd name="connsiteY63" fmla="*/ 38100 h 2305041"/>
              <a:gd name="connsiteX64" fmla="*/ 309562 w 2971294"/>
              <a:gd name="connsiteY64" fmla="*/ 23812 h 2305041"/>
              <a:gd name="connsiteX65" fmla="*/ 247650 w 2971294"/>
              <a:gd name="connsiteY65" fmla="*/ 14287 h 2305041"/>
              <a:gd name="connsiteX66" fmla="*/ 185737 w 2971294"/>
              <a:gd name="connsiteY66" fmla="*/ 9525 h 2305041"/>
              <a:gd name="connsiteX67" fmla="*/ 19050 w 2971294"/>
              <a:gd name="connsiteY67" fmla="*/ 14287 h 2305041"/>
              <a:gd name="connsiteX68" fmla="*/ 4762 w 2971294"/>
              <a:gd name="connsiteY68" fmla="*/ 19050 h 2305041"/>
              <a:gd name="connsiteX69" fmla="*/ 9525 w 2971294"/>
              <a:gd name="connsiteY69" fmla="*/ 85725 h 2305041"/>
              <a:gd name="connsiteX70" fmla="*/ 23812 w 2971294"/>
              <a:gd name="connsiteY70" fmla="*/ 171450 h 2305041"/>
              <a:gd name="connsiteX71" fmla="*/ 14287 w 2971294"/>
              <a:gd name="connsiteY71" fmla="*/ 390525 h 2305041"/>
              <a:gd name="connsiteX72" fmla="*/ 0 w 2971294"/>
              <a:gd name="connsiteY72" fmla="*/ 466725 h 2305041"/>
              <a:gd name="connsiteX73" fmla="*/ 9525 w 2971294"/>
              <a:gd name="connsiteY73" fmla="*/ 800100 h 2305041"/>
              <a:gd name="connsiteX74" fmla="*/ 9525 w 2971294"/>
              <a:gd name="connsiteY74" fmla="*/ 871537 h 2305041"/>
              <a:gd name="connsiteX75" fmla="*/ 14287 w 2971294"/>
              <a:gd name="connsiteY75" fmla="*/ 1157287 h 2305041"/>
              <a:gd name="connsiteX76" fmla="*/ 19050 w 2971294"/>
              <a:gd name="connsiteY76" fmla="*/ 1204912 h 2305041"/>
              <a:gd name="connsiteX77" fmla="*/ 28575 w 2971294"/>
              <a:gd name="connsiteY77" fmla="*/ 1243012 h 2305041"/>
              <a:gd name="connsiteX78" fmla="*/ 33337 w 2971294"/>
              <a:gd name="connsiteY78" fmla="*/ 1328737 h 2305041"/>
              <a:gd name="connsiteX79" fmla="*/ 23812 w 2971294"/>
              <a:gd name="connsiteY79" fmla="*/ 1476375 h 2305041"/>
              <a:gd name="connsiteX80" fmla="*/ 14287 w 2971294"/>
              <a:gd name="connsiteY80" fmla="*/ 1562100 h 2305041"/>
              <a:gd name="connsiteX81" fmla="*/ 9525 w 2971294"/>
              <a:gd name="connsiteY81" fmla="*/ 1819275 h 2305041"/>
              <a:gd name="connsiteX82" fmla="*/ 14287 w 2971294"/>
              <a:gd name="connsiteY82" fmla="*/ 2014537 h 2305041"/>
              <a:gd name="connsiteX83" fmla="*/ 23812 w 2971294"/>
              <a:gd name="connsiteY83" fmla="*/ 2066925 h 2305041"/>
              <a:gd name="connsiteX84" fmla="*/ 28575 w 2971294"/>
              <a:gd name="connsiteY84" fmla="*/ 2152650 h 2305041"/>
              <a:gd name="connsiteX85" fmla="*/ 23812 w 2971294"/>
              <a:gd name="connsiteY85" fmla="*/ 2238375 h 2305041"/>
              <a:gd name="connsiteX86" fmla="*/ 14287 w 2971294"/>
              <a:gd name="connsiteY86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595562 w 2971294"/>
              <a:gd name="connsiteY38" fmla="*/ 1514475 h 2305041"/>
              <a:gd name="connsiteX39" fmla="*/ 2605087 w 2971294"/>
              <a:gd name="connsiteY39" fmla="*/ 2005012 h 2305041"/>
              <a:gd name="connsiteX40" fmla="*/ 2614612 w 2971294"/>
              <a:gd name="connsiteY40" fmla="*/ 2066925 h 2305041"/>
              <a:gd name="connsiteX41" fmla="*/ 2616200 w 2971294"/>
              <a:gd name="connsiteY41" fmla="*/ 2203450 h 2305041"/>
              <a:gd name="connsiteX42" fmla="*/ 2624137 w 2971294"/>
              <a:gd name="connsiteY42" fmla="*/ 2292350 h 2305041"/>
              <a:gd name="connsiteX43" fmla="*/ 2851150 w 2971294"/>
              <a:gd name="connsiteY43" fmla="*/ 2303462 h 2305041"/>
              <a:gd name="connsiteX44" fmla="*/ 2967037 w 2971294"/>
              <a:gd name="connsiteY44" fmla="*/ 2282825 h 2305041"/>
              <a:gd name="connsiteX45" fmla="*/ 2947987 w 2971294"/>
              <a:gd name="connsiteY45" fmla="*/ 2181225 h 2305041"/>
              <a:gd name="connsiteX46" fmla="*/ 2955925 w 2971294"/>
              <a:gd name="connsiteY46" fmla="*/ 2008187 h 2305041"/>
              <a:gd name="connsiteX47" fmla="*/ 2962275 w 2971294"/>
              <a:gd name="connsiteY47" fmla="*/ 1804987 h 2305041"/>
              <a:gd name="connsiteX48" fmla="*/ 2952750 w 2971294"/>
              <a:gd name="connsiteY48" fmla="*/ 1366837 h 2305041"/>
              <a:gd name="connsiteX49" fmla="*/ 2947987 w 2971294"/>
              <a:gd name="connsiteY49" fmla="*/ 1081087 h 2305041"/>
              <a:gd name="connsiteX50" fmla="*/ 2947987 w 2971294"/>
              <a:gd name="connsiteY50" fmla="*/ 922337 h 2305041"/>
              <a:gd name="connsiteX51" fmla="*/ 2952750 w 2971294"/>
              <a:gd name="connsiteY51" fmla="*/ 571500 h 2305041"/>
              <a:gd name="connsiteX52" fmla="*/ 2957512 w 2971294"/>
              <a:gd name="connsiteY52" fmla="*/ 342900 h 2305041"/>
              <a:gd name="connsiteX53" fmla="*/ 2957512 w 2971294"/>
              <a:gd name="connsiteY53" fmla="*/ 34925 h 2305041"/>
              <a:gd name="connsiteX54" fmla="*/ 2867025 w 2971294"/>
              <a:gd name="connsiteY54" fmla="*/ 19050 h 2305041"/>
              <a:gd name="connsiteX55" fmla="*/ 2724150 w 2971294"/>
              <a:gd name="connsiteY55" fmla="*/ 9525 h 2305041"/>
              <a:gd name="connsiteX56" fmla="*/ 2381250 w 2971294"/>
              <a:gd name="connsiteY56" fmla="*/ 14287 h 2305041"/>
              <a:gd name="connsiteX57" fmla="*/ 2324100 w 2971294"/>
              <a:gd name="connsiteY57" fmla="*/ 23812 h 2305041"/>
              <a:gd name="connsiteX58" fmla="*/ 1909762 w 2971294"/>
              <a:gd name="connsiteY58" fmla="*/ 19050 h 2305041"/>
              <a:gd name="connsiteX59" fmla="*/ 1804987 w 2971294"/>
              <a:gd name="connsiteY59" fmla="*/ 9525 h 2305041"/>
              <a:gd name="connsiteX60" fmla="*/ 1776412 w 2971294"/>
              <a:gd name="connsiteY60" fmla="*/ 0 h 2305041"/>
              <a:gd name="connsiteX61" fmla="*/ 1528762 w 2971294"/>
              <a:gd name="connsiteY61" fmla="*/ 4762 h 2305041"/>
              <a:gd name="connsiteX62" fmla="*/ 1143000 w 2971294"/>
              <a:gd name="connsiteY62" fmla="*/ 38100 h 2305041"/>
              <a:gd name="connsiteX63" fmla="*/ 309562 w 2971294"/>
              <a:gd name="connsiteY63" fmla="*/ 23812 h 2305041"/>
              <a:gd name="connsiteX64" fmla="*/ 247650 w 2971294"/>
              <a:gd name="connsiteY64" fmla="*/ 14287 h 2305041"/>
              <a:gd name="connsiteX65" fmla="*/ 185737 w 2971294"/>
              <a:gd name="connsiteY65" fmla="*/ 9525 h 2305041"/>
              <a:gd name="connsiteX66" fmla="*/ 19050 w 2971294"/>
              <a:gd name="connsiteY66" fmla="*/ 14287 h 2305041"/>
              <a:gd name="connsiteX67" fmla="*/ 4762 w 2971294"/>
              <a:gd name="connsiteY67" fmla="*/ 19050 h 2305041"/>
              <a:gd name="connsiteX68" fmla="*/ 9525 w 2971294"/>
              <a:gd name="connsiteY68" fmla="*/ 85725 h 2305041"/>
              <a:gd name="connsiteX69" fmla="*/ 23812 w 2971294"/>
              <a:gd name="connsiteY69" fmla="*/ 171450 h 2305041"/>
              <a:gd name="connsiteX70" fmla="*/ 14287 w 2971294"/>
              <a:gd name="connsiteY70" fmla="*/ 390525 h 2305041"/>
              <a:gd name="connsiteX71" fmla="*/ 0 w 2971294"/>
              <a:gd name="connsiteY71" fmla="*/ 466725 h 2305041"/>
              <a:gd name="connsiteX72" fmla="*/ 9525 w 2971294"/>
              <a:gd name="connsiteY72" fmla="*/ 800100 h 2305041"/>
              <a:gd name="connsiteX73" fmla="*/ 9525 w 2971294"/>
              <a:gd name="connsiteY73" fmla="*/ 871537 h 2305041"/>
              <a:gd name="connsiteX74" fmla="*/ 14287 w 2971294"/>
              <a:gd name="connsiteY74" fmla="*/ 1157287 h 2305041"/>
              <a:gd name="connsiteX75" fmla="*/ 19050 w 2971294"/>
              <a:gd name="connsiteY75" fmla="*/ 1204912 h 2305041"/>
              <a:gd name="connsiteX76" fmla="*/ 28575 w 2971294"/>
              <a:gd name="connsiteY76" fmla="*/ 1243012 h 2305041"/>
              <a:gd name="connsiteX77" fmla="*/ 33337 w 2971294"/>
              <a:gd name="connsiteY77" fmla="*/ 1328737 h 2305041"/>
              <a:gd name="connsiteX78" fmla="*/ 23812 w 2971294"/>
              <a:gd name="connsiteY78" fmla="*/ 1476375 h 2305041"/>
              <a:gd name="connsiteX79" fmla="*/ 14287 w 2971294"/>
              <a:gd name="connsiteY79" fmla="*/ 1562100 h 2305041"/>
              <a:gd name="connsiteX80" fmla="*/ 9525 w 2971294"/>
              <a:gd name="connsiteY80" fmla="*/ 1819275 h 2305041"/>
              <a:gd name="connsiteX81" fmla="*/ 14287 w 2971294"/>
              <a:gd name="connsiteY81" fmla="*/ 2014537 h 2305041"/>
              <a:gd name="connsiteX82" fmla="*/ 23812 w 2971294"/>
              <a:gd name="connsiteY82" fmla="*/ 2066925 h 2305041"/>
              <a:gd name="connsiteX83" fmla="*/ 28575 w 2971294"/>
              <a:gd name="connsiteY83" fmla="*/ 2152650 h 2305041"/>
              <a:gd name="connsiteX84" fmla="*/ 23812 w 2971294"/>
              <a:gd name="connsiteY84" fmla="*/ 2238375 h 2305041"/>
              <a:gd name="connsiteX85" fmla="*/ 14287 w 2971294"/>
              <a:gd name="connsiteY85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608262 w 2971294"/>
              <a:gd name="connsiteY38" fmla="*/ 1514475 h 2305041"/>
              <a:gd name="connsiteX39" fmla="*/ 2605087 w 2971294"/>
              <a:gd name="connsiteY39" fmla="*/ 2005012 h 2305041"/>
              <a:gd name="connsiteX40" fmla="*/ 2614612 w 2971294"/>
              <a:gd name="connsiteY40" fmla="*/ 2066925 h 2305041"/>
              <a:gd name="connsiteX41" fmla="*/ 2616200 w 2971294"/>
              <a:gd name="connsiteY41" fmla="*/ 2203450 h 2305041"/>
              <a:gd name="connsiteX42" fmla="*/ 2624137 w 2971294"/>
              <a:gd name="connsiteY42" fmla="*/ 2292350 h 2305041"/>
              <a:gd name="connsiteX43" fmla="*/ 2851150 w 2971294"/>
              <a:gd name="connsiteY43" fmla="*/ 2303462 h 2305041"/>
              <a:gd name="connsiteX44" fmla="*/ 2967037 w 2971294"/>
              <a:gd name="connsiteY44" fmla="*/ 2282825 h 2305041"/>
              <a:gd name="connsiteX45" fmla="*/ 2947987 w 2971294"/>
              <a:gd name="connsiteY45" fmla="*/ 2181225 h 2305041"/>
              <a:gd name="connsiteX46" fmla="*/ 2955925 w 2971294"/>
              <a:gd name="connsiteY46" fmla="*/ 2008187 h 2305041"/>
              <a:gd name="connsiteX47" fmla="*/ 2962275 w 2971294"/>
              <a:gd name="connsiteY47" fmla="*/ 1804987 h 2305041"/>
              <a:gd name="connsiteX48" fmla="*/ 2952750 w 2971294"/>
              <a:gd name="connsiteY48" fmla="*/ 1366837 h 2305041"/>
              <a:gd name="connsiteX49" fmla="*/ 2947987 w 2971294"/>
              <a:gd name="connsiteY49" fmla="*/ 1081087 h 2305041"/>
              <a:gd name="connsiteX50" fmla="*/ 2947987 w 2971294"/>
              <a:gd name="connsiteY50" fmla="*/ 922337 h 2305041"/>
              <a:gd name="connsiteX51" fmla="*/ 2952750 w 2971294"/>
              <a:gd name="connsiteY51" fmla="*/ 571500 h 2305041"/>
              <a:gd name="connsiteX52" fmla="*/ 2957512 w 2971294"/>
              <a:gd name="connsiteY52" fmla="*/ 342900 h 2305041"/>
              <a:gd name="connsiteX53" fmla="*/ 2957512 w 2971294"/>
              <a:gd name="connsiteY53" fmla="*/ 34925 h 2305041"/>
              <a:gd name="connsiteX54" fmla="*/ 2867025 w 2971294"/>
              <a:gd name="connsiteY54" fmla="*/ 19050 h 2305041"/>
              <a:gd name="connsiteX55" fmla="*/ 2724150 w 2971294"/>
              <a:gd name="connsiteY55" fmla="*/ 9525 h 2305041"/>
              <a:gd name="connsiteX56" fmla="*/ 2381250 w 2971294"/>
              <a:gd name="connsiteY56" fmla="*/ 14287 h 2305041"/>
              <a:gd name="connsiteX57" fmla="*/ 2324100 w 2971294"/>
              <a:gd name="connsiteY57" fmla="*/ 23812 h 2305041"/>
              <a:gd name="connsiteX58" fmla="*/ 1909762 w 2971294"/>
              <a:gd name="connsiteY58" fmla="*/ 19050 h 2305041"/>
              <a:gd name="connsiteX59" fmla="*/ 1804987 w 2971294"/>
              <a:gd name="connsiteY59" fmla="*/ 9525 h 2305041"/>
              <a:gd name="connsiteX60" fmla="*/ 1776412 w 2971294"/>
              <a:gd name="connsiteY60" fmla="*/ 0 h 2305041"/>
              <a:gd name="connsiteX61" fmla="*/ 1528762 w 2971294"/>
              <a:gd name="connsiteY61" fmla="*/ 4762 h 2305041"/>
              <a:gd name="connsiteX62" fmla="*/ 1143000 w 2971294"/>
              <a:gd name="connsiteY62" fmla="*/ 38100 h 2305041"/>
              <a:gd name="connsiteX63" fmla="*/ 309562 w 2971294"/>
              <a:gd name="connsiteY63" fmla="*/ 23812 h 2305041"/>
              <a:gd name="connsiteX64" fmla="*/ 247650 w 2971294"/>
              <a:gd name="connsiteY64" fmla="*/ 14287 h 2305041"/>
              <a:gd name="connsiteX65" fmla="*/ 185737 w 2971294"/>
              <a:gd name="connsiteY65" fmla="*/ 9525 h 2305041"/>
              <a:gd name="connsiteX66" fmla="*/ 19050 w 2971294"/>
              <a:gd name="connsiteY66" fmla="*/ 14287 h 2305041"/>
              <a:gd name="connsiteX67" fmla="*/ 4762 w 2971294"/>
              <a:gd name="connsiteY67" fmla="*/ 19050 h 2305041"/>
              <a:gd name="connsiteX68" fmla="*/ 9525 w 2971294"/>
              <a:gd name="connsiteY68" fmla="*/ 85725 h 2305041"/>
              <a:gd name="connsiteX69" fmla="*/ 23812 w 2971294"/>
              <a:gd name="connsiteY69" fmla="*/ 171450 h 2305041"/>
              <a:gd name="connsiteX70" fmla="*/ 14287 w 2971294"/>
              <a:gd name="connsiteY70" fmla="*/ 390525 h 2305041"/>
              <a:gd name="connsiteX71" fmla="*/ 0 w 2971294"/>
              <a:gd name="connsiteY71" fmla="*/ 466725 h 2305041"/>
              <a:gd name="connsiteX72" fmla="*/ 9525 w 2971294"/>
              <a:gd name="connsiteY72" fmla="*/ 800100 h 2305041"/>
              <a:gd name="connsiteX73" fmla="*/ 9525 w 2971294"/>
              <a:gd name="connsiteY73" fmla="*/ 871537 h 2305041"/>
              <a:gd name="connsiteX74" fmla="*/ 14287 w 2971294"/>
              <a:gd name="connsiteY74" fmla="*/ 1157287 h 2305041"/>
              <a:gd name="connsiteX75" fmla="*/ 19050 w 2971294"/>
              <a:gd name="connsiteY75" fmla="*/ 1204912 h 2305041"/>
              <a:gd name="connsiteX76" fmla="*/ 28575 w 2971294"/>
              <a:gd name="connsiteY76" fmla="*/ 1243012 h 2305041"/>
              <a:gd name="connsiteX77" fmla="*/ 33337 w 2971294"/>
              <a:gd name="connsiteY77" fmla="*/ 1328737 h 2305041"/>
              <a:gd name="connsiteX78" fmla="*/ 23812 w 2971294"/>
              <a:gd name="connsiteY78" fmla="*/ 1476375 h 2305041"/>
              <a:gd name="connsiteX79" fmla="*/ 14287 w 2971294"/>
              <a:gd name="connsiteY79" fmla="*/ 1562100 h 2305041"/>
              <a:gd name="connsiteX80" fmla="*/ 9525 w 2971294"/>
              <a:gd name="connsiteY80" fmla="*/ 1819275 h 2305041"/>
              <a:gd name="connsiteX81" fmla="*/ 14287 w 2971294"/>
              <a:gd name="connsiteY81" fmla="*/ 2014537 h 2305041"/>
              <a:gd name="connsiteX82" fmla="*/ 23812 w 2971294"/>
              <a:gd name="connsiteY82" fmla="*/ 2066925 h 2305041"/>
              <a:gd name="connsiteX83" fmla="*/ 28575 w 2971294"/>
              <a:gd name="connsiteY83" fmla="*/ 2152650 h 2305041"/>
              <a:gd name="connsiteX84" fmla="*/ 23812 w 2971294"/>
              <a:gd name="connsiteY84" fmla="*/ 2238375 h 2305041"/>
              <a:gd name="connsiteX85" fmla="*/ 14287 w 2971294"/>
              <a:gd name="connsiteY85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590800 w 2971294"/>
              <a:gd name="connsiteY35" fmla="*/ 1104900 h 2305041"/>
              <a:gd name="connsiteX36" fmla="*/ 2600325 w 2971294"/>
              <a:gd name="connsiteY36" fmla="*/ 1176337 h 2305041"/>
              <a:gd name="connsiteX37" fmla="*/ 2605087 w 2971294"/>
              <a:gd name="connsiteY37" fmla="*/ 1209675 h 2305041"/>
              <a:gd name="connsiteX38" fmla="*/ 2608262 w 2971294"/>
              <a:gd name="connsiteY38" fmla="*/ 1514475 h 2305041"/>
              <a:gd name="connsiteX39" fmla="*/ 2614612 w 2971294"/>
              <a:gd name="connsiteY39" fmla="*/ 2066925 h 2305041"/>
              <a:gd name="connsiteX40" fmla="*/ 2616200 w 2971294"/>
              <a:gd name="connsiteY40" fmla="*/ 2203450 h 2305041"/>
              <a:gd name="connsiteX41" fmla="*/ 2624137 w 2971294"/>
              <a:gd name="connsiteY41" fmla="*/ 2292350 h 2305041"/>
              <a:gd name="connsiteX42" fmla="*/ 2851150 w 2971294"/>
              <a:gd name="connsiteY42" fmla="*/ 2303462 h 2305041"/>
              <a:gd name="connsiteX43" fmla="*/ 2967037 w 2971294"/>
              <a:gd name="connsiteY43" fmla="*/ 2282825 h 2305041"/>
              <a:gd name="connsiteX44" fmla="*/ 2947987 w 2971294"/>
              <a:gd name="connsiteY44" fmla="*/ 2181225 h 2305041"/>
              <a:gd name="connsiteX45" fmla="*/ 2955925 w 2971294"/>
              <a:gd name="connsiteY45" fmla="*/ 2008187 h 2305041"/>
              <a:gd name="connsiteX46" fmla="*/ 2962275 w 2971294"/>
              <a:gd name="connsiteY46" fmla="*/ 1804987 h 2305041"/>
              <a:gd name="connsiteX47" fmla="*/ 2952750 w 2971294"/>
              <a:gd name="connsiteY47" fmla="*/ 1366837 h 2305041"/>
              <a:gd name="connsiteX48" fmla="*/ 2947987 w 2971294"/>
              <a:gd name="connsiteY48" fmla="*/ 1081087 h 2305041"/>
              <a:gd name="connsiteX49" fmla="*/ 2947987 w 2971294"/>
              <a:gd name="connsiteY49" fmla="*/ 922337 h 2305041"/>
              <a:gd name="connsiteX50" fmla="*/ 2952750 w 2971294"/>
              <a:gd name="connsiteY50" fmla="*/ 571500 h 2305041"/>
              <a:gd name="connsiteX51" fmla="*/ 2957512 w 2971294"/>
              <a:gd name="connsiteY51" fmla="*/ 342900 h 2305041"/>
              <a:gd name="connsiteX52" fmla="*/ 2957512 w 2971294"/>
              <a:gd name="connsiteY52" fmla="*/ 34925 h 2305041"/>
              <a:gd name="connsiteX53" fmla="*/ 2867025 w 2971294"/>
              <a:gd name="connsiteY53" fmla="*/ 19050 h 2305041"/>
              <a:gd name="connsiteX54" fmla="*/ 2724150 w 2971294"/>
              <a:gd name="connsiteY54" fmla="*/ 9525 h 2305041"/>
              <a:gd name="connsiteX55" fmla="*/ 2381250 w 2971294"/>
              <a:gd name="connsiteY55" fmla="*/ 14287 h 2305041"/>
              <a:gd name="connsiteX56" fmla="*/ 2324100 w 2971294"/>
              <a:gd name="connsiteY56" fmla="*/ 23812 h 2305041"/>
              <a:gd name="connsiteX57" fmla="*/ 1909762 w 2971294"/>
              <a:gd name="connsiteY57" fmla="*/ 19050 h 2305041"/>
              <a:gd name="connsiteX58" fmla="*/ 1804987 w 2971294"/>
              <a:gd name="connsiteY58" fmla="*/ 9525 h 2305041"/>
              <a:gd name="connsiteX59" fmla="*/ 1776412 w 2971294"/>
              <a:gd name="connsiteY59" fmla="*/ 0 h 2305041"/>
              <a:gd name="connsiteX60" fmla="*/ 1528762 w 2971294"/>
              <a:gd name="connsiteY60" fmla="*/ 4762 h 2305041"/>
              <a:gd name="connsiteX61" fmla="*/ 1143000 w 2971294"/>
              <a:gd name="connsiteY61" fmla="*/ 38100 h 2305041"/>
              <a:gd name="connsiteX62" fmla="*/ 309562 w 2971294"/>
              <a:gd name="connsiteY62" fmla="*/ 23812 h 2305041"/>
              <a:gd name="connsiteX63" fmla="*/ 247650 w 2971294"/>
              <a:gd name="connsiteY63" fmla="*/ 14287 h 2305041"/>
              <a:gd name="connsiteX64" fmla="*/ 185737 w 2971294"/>
              <a:gd name="connsiteY64" fmla="*/ 9525 h 2305041"/>
              <a:gd name="connsiteX65" fmla="*/ 19050 w 2971294"/>
              <a:gd name="connsiteY65" fmla="*/ 14287 h 2305041"/>
              <a:gd name="connsiteX66" fmla="*/ 4762 w 2971294"/>
              <a:gd name="connsiteY66" fmla="*/ 19050 h 2305041"/>
              <a:gd name="connsiteX67" fmla="*/ 9525 w 2971294"/>
              <a:gd name="connsiteY67" fmla="*/ 85725 h 2305041"/>
              <a:gd name="connsiteX68" fmla="*/ 23812 w 2971294"/>
              <a:gd name="connsiteY68" fmla="*/ 171450 h 2305041"/>
              <a:gd name="connsiteX69" fmla="*/ 14287 w 2971294"/>
              <a:gd name="connsiteY69" fmla="*/ 390525 h 2305041"/>
              <a:gd name="connsiteX70" fmla="*/ 0 w 2971294"/>
              <a:gd name="connsiteY70" fmla="*/ 466725 h 2305041"/>
              <a:gd name="connsiteX71" fmla="*/ 9525 w 2971294"/>
              <a:gd name="connsiteY71" fmla="*/ 800100 h 2305041"/>
              <a:gd name="connsiteX72" fmla="*/ 9525 w 2971294"/>
              <a:gd name="connsiteY72" fmla="*/ 871537 h 2305041"/>
              <a:gd name="connsiteX73" fmla="*/ 14287 w 2971294"/>
              <a:gd name="connsiteY73" fmla="*/ 1157287 h 2305041"/>
              <a:gd name="connsiteX74" fmla="*/ 19050 w 2971294"/>
              <a:gd name="connsiteY74" fmla="*/ 1204912 h 2305041"/>
              <a:gd name="connsiteX75" fmla="*/ 28575 w 2971294"/>
              <a:gd name="connsiteY75" fmla="*/ 1243012 h 2305041"/>
              <a:gd name="connsiteX76" fmla="*/ 33337 w 2971294"/>
              <a:gd name="connsiteY76" fmla="*/ 1328737 h 2305041"/>
              <a:gd name="connsiteX77" fmla="*/ 23812 w 2971294"/>
              <a:gd name="connsiteY77" fmla="*/ 1476375 h 2305041"/>
              <a:gd name="connsiteX78" fmla="*/ 14287 w 2971294"/>
              <a:gd name="connsiteY78" fmla="*/ 1562100 h 2305041"/>
              <a:gd name="connsiteX79" fmla="*/ 9525 w 2971294"/>
              <a:gd name="connsiteY79" fmla="*/ 1819275 h 2305041"/>
              <a:gd name="connsiteX80" fmla="*/ 14287 w 2971294"/>
              <a:gd name="connsiteY80" fmla="*/ 2014537 h 2305041"/>
              <a:gd name="connsiteX81" fmla="*/ 23812 w 2971294"/>
              <a:gd name="connsiteY81" fmla="*/ 2066925 h 2305041"/>
              <a:gd name="connsiteX82" fmla="*/ 28575 w 2971294"/>
              <a:gd name="connsiteY82" fmla="*/ 2152650 h 2305041"/>
              <a:gd name="connsiteX83" fmla="*/ 23812 w 2971294"/>
              <a:gd name="connsiteY83" fmla="*/ 2238375 h 2305041"/>
              <a:gd name="connsiteX84" fmla="*/ 14287 w 2971294"/>
              <a:gd name="connsiteY84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586037 w 2971294"/>
              <a:gd name="connsiteY34" fmla="*/ 1071562 h 2305041"/>
              <a:gd name="connsiteX35" fmla="*/ 2600325 w 2971294"/>
              <a:gd name="connsiteY35" fmla="*/ 1176337 h 2305041"/>
              <a:gd name="connsiteX36" fmla="*/ 2605087 w 2971294"/>
              <a:gd name="connsiteY36" fmla="*/ 1209675 h 2305041"/>
              <a:gd name="connsiteX37" fmla="*/ 2608262 w 2971294"/>
              <a:gd name="connsiteY37" fmla="*/ 1514475 h 2305041"/>
              <a:gd name="connsiteX38" fmla="*/ 2614612 w 2971294"/>
              <a:gd name="connsiteY38" fmla="*/ 2066925 h 2305041"/>
              <a:gd name="connsiteX39" fmla="*/ 2616200 w 2971294"/>
              <a:gd name="connsiteY39" fmla="*/ 2203450 h 2305041"/>
              <a:gd name="connsiteX40" fmla="*/ 2624137 w 2971294"/>
              <a:gd name="connsiteY40" fmla="*/ 2292350 h 2305041"/>
              <a:gd name="connsiteX41" fmla="*/ 2851150 w 2971294"/>
              <a:gd name="connsiteY41" fmla="*/ 2303462 h 2305041"/>
              <a:gd name="connsiteX42" fmla="*/ 2967037 w 2971294"/>
              <a:gd name="connsiteY42" fmla="*/ 2282825 h 2305041"/>
              <a:gd name="connsiteX43" fmla="*/ 2947987 w 2971294"/>
              <a:gd name="connsiteY43" fmla="*/ 2181225 h 2305041"/>
              <a:gd name="connsiteX44" fmla="*/ 2955925 w 2971294"/>
              <a:gd name="connsiteY44" fmla="*/ 2008187 h 2305041"/>
              <a:gd name="connsiteX45" fmla="*/ 2962275 w 2971294"/>
              <a:gd name="connsiteY45" fmla="*/ 1804987 h 2305041"/>
              <a:gd name="connsiteX46" fmla="*/ 2952750 w 2971294"/>
              <a:gd name="connsiteY46" fmla="*/ 1366837 h 2305041"/>
              <a:gd name="connsiteX47" fmla="*/ 2947987 w 2971294"/>
              <a:gd name="connsiteY47" fmla="*/ 1081087 h 2305041"/>
              <a:gd name="connsiteX48" fmla="*/ 2947987 w 2971294"/>
              <a:gd name="connsiteY48" fmla="*/ 922337 h 2305041"/>
              <a:gd name="connsiteX49" fmla="*/ 2952750 w 2971294"/>
              <a:gd name="connsiteY49" fmla="*/ 571500 h 2305041"/>
              <a:gd name="connsiteX50" fmla="*/ 2957512 w 2971294"/>
              <a:gd name="connsiteY50" fmla="*/ 342900 h 2305041"/>
              <a:gd name="connsiteX51" fmla="*/ 2957512 w 2971294"/>
              <a:gd name="connsiteY51" fmla="*/ 34925 h 2305041"/>
              <a:gd name="connsiteX52" fmla="*/ 2867025 w 2971294"/>
              <a:gd name="connsiteY52" fmla="*/ 19050 h 2305041"/>
              <a:gd name="connsiteX53" fmla="*/ 2724150 w 2971294"/>
              <a:gd name="connsiteY53" fmla="*/ 9525 h 2305041"/>
              <a:gd name="connsiteX54" fmla="*/ 2381250 w 2971294"/>
              <a:gd name="connsiteY54" fmla="*/ 14287 h 2305041"/>
              <a:gd name="connsiteX55" fmla="*/ 2324100 w 2971294"/>
              <a:gd name="connsiteY55" fmla="*/ 23812 h 2305041"/>
              <a:gd name="connsiteX56" fmla="*/ 1909762 w 2971294"/>
              <a:gd name="connsiteY56" fmla="*/ 19050 h 2305041"/>
              <a:gd name="connsiteX57" fmla="*/ 1804987 w 2971294"/>
              <a:gd name="connsiteY57" fmla="*/ 9525 h 2305041"/>
              <a:gd name="connsiteX58" fmla="*/ 1776412 w 2971294"/>
              <a:gd name="connsiteY58" fmla="*/ 0 h 2305041"/>
              <a:gd name="connsiteX59" fmla="*/ 1528762 w 2971294"/>
              <a:gd name="connsiteY59" fmla="*/ 4762 h 2305041"/>
              <a:gd name="connsiteX60" fmla="*/ 1143000 w 2971294"/>
              <a:gd name="connsiteY60" fmla="*/ 38100 h 2305041"/>
              <a:gd name="connsiteX61" fmla="*/ 309562 w 2971294"/>
              <a:gd name="connsiteY61" fmla="*/ 23812 h 2305041"/>
              <a:gd name="connsiteX62" fmla="*/ 247650 w 2971294"/>
              <a:gd name="connsiteY62" fmla="*/ 14287 h 2305041"/>
              <a:gd name="connsiteX63" fmla="*/ 185737 w 2971294"/>
              <a:gd name="connsiteY63" fmla="*/ 9525 h 2305041"/>
              <a:gd name="connsiteX64" fmla="*/ 19050 w 2971294"/>
              <a:gd name="connsiteY64" fmla="*/ 14287 h 2305041"/>
              <a:gd name="connsiteX65" fmla="*/ 4762 w 2971294"/>
              <a:gd name="connsiteY65" fmla="*/ 19050 h 2305041"/>
              <a:gd name="connsiteX66" fmla="*/ 9525 w 2971294"/>
              <a:gd name="connsiteY66" fmla="*/ 85725 h 2305041"/>
              <a:gd name="connsiteX67" fmla="*/ 23812 w 2971294"/>
              <a:gd name="connsiteY67" fmla="*/ 171450 h 2305041"/>
              <a:gd name="connsiteX68" fmla="*/ 14287 w 2971294"/>
              <a:gd name="connsiteY68" fmla="*/ 390525 h 2305041"/>
              <a:gd name="connsiteX69" fmla="*/ 0 w 2971294"/>
              <a:gd name="connsiteY69" fmla="*/ 466725 h 2305041"/>
              <a:gd name="connsiteX70" fmla="*/ 9525 w 2971294"/>
              <a:gd name="connsiteY70" fmla="*/ 800100 h 2305041"/>
              <a:gd name="connsiteX71" fmla="*/ 9525 w 2971294"/>
              <a:gd name="connsiteY71" fmla="*/ 871537 h 2305041"/>
              <a:gd name="connsiteX72" fmla="*/ 14287 w 2971294"/>
              <a:gd name="connsiteY72" fmla="*/ 1157287 h 2305041"/>
              <a:gd name="connsiteX73" fmla="*/ 19050 w 2971294"/>
              <a:gd name="connsiteY73" fmla="*/ 1204912 h 2305041"/>
              <a:gd name="connsiteX74" fmla="*/ 28575 w 2971294"/>
              <a:gd name="connsiteY74" fmla="*/ 1243012 h 2305041"/>
              <a:gd name="connsiteX75" fmla="*/ 33337 w 2971294"/>
              <a:gd name="connsiteY75" fmla="*/ 1328737 h 2305041"/>
              <a:gd name="connsiteX76" fmla="*/ 23812 w 2971294"/>
              <a:gd name="connsiteY76" fmla="*/ 1476375 h 2305041"/>
              <a:gd name="connsiteX77" fmla="*/ 14287 w 2971294"/>
              <a:gd name="connsiteY77" fmla="*/ 1562100 h 2305041"/>
              <a:gd name="connsiteX78" fmla="*/ 9525 w 2971294"/>
              <a:gd name="connsiteY78" fmla="*/ 1819275 h 2305041"/>
              <a:gd name="connsiteX79" fmla="*/ 14287 w 2971294"/>
              <a:gd name="connsiteY79" fmla="*/ 2014537 h 2305041"/>
              <a:gd name="connsiteX80" fmla="*/ 23812 w 2971294"/>
              <a:gd name="connsiteY80" fmla="*/ 2066925 h 2305041"/>
              <a:gd name="connsiteX81" fmla="*/ 28575 w 2971294"/>
              <a:gd name="connsiteY81" fmla="*/ 2152650 h 2305041"/>
              <a:gd name="connsiteX82" fmla="*/ 23812 w 2971294"/>
              <a:gd name="connsiteY82" fmla="*/ 2238375 h 2305041"/>
              <a:gd name="connsiteX83" fmla="*/ 14287 w 2971294"/>
              <a:gd name="connsiteY83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95562 w 2971294"/>
              <a:gd name="connsiteY32" fmla="*/ 676275 h 2305041"/>
              <a:gd name="connsiteX33" fmla="*/ 2586037 w 2971294"/>
              <a:gd name="connsiteY33" fmla="*/ 714375 h 2305041"/>
              <a:gd name="connsiteX34" fmla="*/ 2600325 w 2971294"/>
              <a:gd name="connsiteY34" fmla="*/ 1176337 h 2305041"/>
              <a:gd name="connsiteX35" fmla="*/ 2605087 w 2971294"/>
              <a:gd name="connsiteY35" fmla="*/ 1209675 h 2305041"/>
              <a:gd name="connsiteX36" fmla="*/ 2608262 w 2971294"/>
              <a:gd name="connsiteY36" fmla="*/ 1514475 h 2305041"/>
              <a:gd name="connsiteX37" fmla="*/ 2614612 w 2971294"/>
              <a:gd name="connsiteY37" fmla="*/ 2066925 h 2305041"/>
              <a:gd name="connsiteX38" fmla="*/ 2616200 w 2971294"/>
              <a:gd name="connsiteY38" fmla="*/ 2203450 h 2305041"/>
              <a:gd name="connsiteX39" fmla="*/ 2624137 w 2971294"/>
              <a:gd name="connsiteY39" fmla="*/ 2292350 h 2305041"/>
              <a:gd name="connsiteX40" fmla="*/ 2851150 w 2971294"/>
              <a:gd name="connsiteY40" fmla="*/ 2303462 h 2305041"/>
              <a:gd name="connsiteX41" fmla="*/ 2967037 w 2971294"/>
              <a:gd name="connsiteY41" fmla="*/ 2282825 h 2305041"/>
              <a:gd name="connsiteX42" fmla="*/ 2947987 w 2971294"/>
              <a:gd name="connsiteY42" fmla="*/ 2181225 h 2305041"/>
              <a:gd name="connsiteX43" fmla="*/ 2955925 w 2971294"/>
              <a:gd name="connsiteY43" fmla="*/ 2008187 h 2305041"/>
              <a:gd name="connsiteX44" fmla="*/ 2962275 w 2971294"/>
              <a:gd name="connsiteY44" fmla="*/ 1804987 h 2305041"/>
              <a:gd name="connsiteX45" fmla="*/ 2952750 w 2971294"/>
              <a:gd name="connsiteY45" fmla="*/ 1366837 h 2305041"/>
              <a:gd name="connsiteX46" fmla="*/ 2947987 w 2971294"/>
              <a:gd name="connsiteY46" fmla="*/ 1081087 h 2305041"/>
              <a:gd name="connsiteX47" fmla="*/ 2947987 w 2971294"/>
              <a:gd name="connsiteY47" fmla="*/ 922337 h 2305041"/>
              <a:gd name="connsiteX48" fmla="*/ 2952750 w 2971294"/>
              <a:gd name="connsiteY48" fmla="*/ 571500 h 2305041"/>
              <a:gd name="connsiteX49" fmla="*/ 2957512 w 2971294"/>
              <a:gd name="connsiteY49" fmla="*/ 342900 h 2305041"/>
              <a:gd name="connsiteX50" fmla="*/ 2957512 w 2971294"/>
              <a:gd name="connsiteY50" fmla="*/ 34925 h 2305041"/>
              <a:gd name="connsiteX51" fmla="*/ 2867025 w 2971294"/>
              <a:gd name="connsiteY51" fmla="*/ 19050 h 2305041"/>
              <a:gd name="connsiteX52" fmla="*/ 2724150 w 2971294"/>
              <a:gd name="connsiteY52" fmla="*/ 9525 h 2305041"/>
              <a:gd name="connsiteX53" fmla="*/ 2381250 w 2971294"/>
              <a:gd name="connsiteY53" fmla="*/ 14287 h 2305041"/>
              <a:gd name="connsiteX54" fmla="*/ 2324100 w 2971294"/>
              <a:gd name="connsiteY54" fmla="*/ 23812 h 2305041"/>
              <a:gd name="connsiteX55" fmla="*/ 1909762 w 2971294"/>
              <a:gd name="connsiteY55" fmla="*/ 19050 h 2305041"/>
              <a:gd name="connsiteX56" fmla="*/ 1804987 w 2971294"/>
              <a:gd name="connsiteY56" fmla="*/ 9525 h 2305041"/>
              <a:gd name="connsiteX57" fmla="*/ 1776412 w 2971294"/>
              <a:gd name="connsiteY57" fmla="*/ 0 h 2305041"/>
              <a:gd name="connsiteX58" fmla="*/ 1528762 w 2971294"/>
              <a:gd name="connsiteY58" fmla="*/ 4762 h 2305041"/>
              <a:gd name="connsiteX59" fmla="*/ 1143000 w 2971294"/>
              <a:gd name="connsiteY59" fmla="*/ 38100 h 2305041"/>
              <a:gd name="connsiteX60" fmla="*/ 309562 w 2971294"/>
              <a:gd name="connsiteY60" fmla="*/ 23812 h 2305041"/>
              <a:gd name="connsiteX61" fmla="*/ 247650 w 2971294"/>
              <a:gd name="connsiteY61" fmla="*/ 14287 h 2305041"/>
              <a:gd name="connsiteX62" fmla="*/ 185737 w 2971294"/>
              <a:gd name="connsiteY62" fmla="*/ 9525 h 2305041"/>
              <a:gd name="connsiteX63" fmla="*/ 19050 w 2971294"/>
              <a:gd name="connsiteY63" fmla="*/ 14287 h 2305041"/>
              <a:gd name="connsiteX64" fmla="*/ 4762 w 2971294"/>
              <a:gd name="connsiteY64" fmla="*/ 19050 h 2305041"/>
              <a:gd name="connsiteX65" fmla="*/ 9525 w 2971294"/>
              <a:gd name="connsiteY65" fmla="*/ 85725 h 2305041"/>
              <a:gd name="connsiteX66" fmla="*/ 23812 w 2971294"/>
              <a:gd name="connsiteY66" fmla="*/ 171450 h 2305041"/>
              <a:gd name="connsiteX67" fmla="*/ 14287 w 2971294"/>
              <a:gd name="connsiteY67" fmla="*/ 390525 h 2305041"/>
              <a:gd name="connsiteX68" fmla="*/ 0 w 2971294"/>
              <a:gd name="connsiteY68" fmla="*/ 466725 h 2305041"/>
              <a:gd name="connsiteX69" fmla="*/ 9525 w 2971294"/>
              <a:gd name="connsiteY69" fmla="*/ 800100 h 2305041"/>
              <a:gd name="connsiteX70" fmla="*/ 9525 w 2971294"/>
              <a:gd name="connsiteY70" fmla="*/ 871537 h 2305041"/>
              <a:gd name="connsiteX71" fmla="*/ 14287 w 2971294"/>
              <a:gd name="connsiteY71" fmla="*/ 1157287 h 2305041"/>
              <a:gd name="connsiteX72" fmla="*/ 19050 w 2971294"/>
              <a:gd name="connsiteY72" fmla="*/ 1204912 h 2305041"/>
              <a:gd name="connsiteX73" fmla="*/ 28575 w 2971294"/>
              <a:gd name="connsiteY73" fmla="*/ 1243012 h 2305041"/>
              <a:gd name="connsiteX74" fmla="*/ 33337 w 2971294"/>
              <a:gd name="connsiteY74" fmla="*/ 1328737 h 2305041"/>
              <a:gd name="connsiteX75" fmla="*/ 23812 w 2971294"/>
              <a:gd name="connsiteY75" fmla="*/ 1476375 h 2305041"/>
              <a:gd name="connsiteX76" fmla="*/ 14287 w 2971294"/>
              <a:gd name="connsiteY76" fmla="*/ 1562100 h 2305041"/>
              <a:gd name="connsiteX77" fmla="*/ 9525 w 2971294"/>
              <a:gd name="connsiteY77" fmla="*/ 1819275 h 2305041"/>
              <a:gd name="connsiteX78" fmla="*/ 14287 w 2971294"/>
              <a:gd name="connsiteY78" fmla="*/ 2014537 h 2305041"/>
              <a:gd name="connsiteX79" fmla="*/ 23812 w 2971294"/>
              <a:gd name="connsiteY79" fmla="*/ 2066925 h 2305041"/>
              <a:gd name="connsiteX80" fmla="*/ 28575 w 2971294"/>
              <a:gd name="connsiteY80" fmla="*/ 2152650 h 2305041"/>
              <a:gd name="connsiteX81" fmla="*/ 23812 w 2971294"/>
              <a:gd name="connsiteY81" fmla="*/ 2238375 h 2305041"/>
              <a:gd name="connsiteX82" fmla="*/ 14287 w 2971294"/>
              <a:gd name="connsiteY82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586037 w 2971294"/>
              <a:gd name="connsiteY32" fmla="*/ 714375 h 2305041"/>
              <a:gd name="connsiteX33" fmla="*/ 2600325 w 2971294"/>
              <a:gd name="connsiteY33" fmla="*/ 1176337 h 2305041"/>
              <a:gd name="connsiteX34" fmla="*/ 2605087 w 2971294"/>
              <a:gd name="connsiteY34" fmla="*/ 1209675 h 2305041"/>
              <a:gd name="connsiteX35" fmla="*/ 2608262 w 2971294"/>
              <a:gd name="connsiteY35" fmla="*/ 1514475 h 2305041"/>
              <a:gd name="connsiteX36" fmla="*/ 2614612 w 2971294"/>
              <a:gd name="connsiteY36" fmla="*/ 2066925 h 2305041"/>
              <a:gd name="connsiteX37" fmla="*/ 2616200 w 2971294"/>
              <a:gd name="connsiteY37" fmla="*/ 2203450 h 2305041"/>
              <a:gd name="connsiteX38" fmla="*/ 2624137 w 2971294"/>
              <a:gd name="connsiteY38" fmla="*/ 2292350 h 2305041"/>
              <a:gd name="connsiteX39" fmla="*/ 2851150 w 2971294"/>
              <a:gd name="connsiteY39" fmla="*/ 2303462 h 2305041"/>
              <a:gd name="connsiteX40" fmla="*/ 2967037 w 2971294"/>
              <a:gd name="connsiteY40" fmla="*/ 2282825 h 2305041"/>
              <a:gd name="connsiteX41" fmla="*/ 2947987 w 2971294"/>
              <a:gd name="connsiteY41" fmla="*/ 2181225 h 2305041"/>
              <a:gd name="connsiteX42" fmla="*/ 2955925 w 2971294"/>
              <a:gd name="connsiteY42" fmla="*/ 2008187 h 2305041"/>
              <a:gd name="connsiteX43" fmla="*/ 2962275 w 2971294"/>
              <a:gd name="connsiteY43" fmla="*/ 1804987 h 2305041"/>
              <a:gd name="connsiteX44" fmla="*/ 2952750 w 2971294"/>
              <a:gd name="connsiteY44" fmla="*/ 1366837 h 2305041"/>
              <a:gd name="connsiteX45" fmla="*/ 2947987 w 2971294"/>
              <a:gd name="connsiteY45" fmla="*/ 1081087 h 2305041"/>
              <a:gd name="connsiteX46" fmla="*/ 2947987 w 2971294"/>
              <a:gd name="connsiteY46" fmla="*/ 922337 h 2305041"/>
              <a:gd name="connsiteX47" fmla="*/ 2952750 w 2971294"/>
              <a:gd name="connsiteY47" fmla="*/ 571500 h 2305041"/>
              <a:gd name="connsiteX48" fmla="*/ 2957512 w 2971294"/>
              <a:gd name="connsiteY48" fmla="*/ 342900 h 2305041"/>
              <a:gd name="connsiteX49" fmla="*/ 2957512 w 2971294"/>
              <a:gd name="connsiteY49" fmla="*/ 34925 h 2305041"/>
              <a:gd name="connsiteX50" fmla="*/ 2867025 w 2971294"/>
              <a:gd name="connsiteY50" fmla="*/ 19050 h 2305041"/>
              <a:gd name="connsiteX51" fmla="*/ 2724150 w 2971294"/>
              <a:gd name="connsiteY51" fmla="*/ 9525 h 2305041"/>
              <a:gd name="connsiteX52" fmla="*/ 2381250 w 2971294"/>
              <a:gd name="connsiteY52" fmla="*/ 14287 h 2305041"/>
              <a:gd name="connsiteX53" fmla="*/ 2324100 w 2971294"/>
              <a:gd name="connsiteY53" fmla="*/ 23812 h 2305041"/>
              <a:gd name="connsiteX54" fmla="*/ 1909762 w 2971294"/>
              <a:gd name="connsiteY54" fmla="*/ 19050 h 2305041"/>
              <a:gd name="connsiteX55" fmla="*/ 1804987 w 2971294"/>
              <a:gd name="connsiteY55" fmla="*/ 9525 h 2305041"/>
              <a:gd name="connsiteX56" fmla="*/ 1776412 w 2971294"/>
              <a:gd name="connsiteY56" fmla="*/ 0 h 2305041"/>
              <a:gd name="connsiteX57" fmla="*/ 1528762 w 2971294"/>
              <a:gd name="connsiteY57" fmla="*/ 4762 h 2305041"/>
              <a:gd name="connsiteX58" fmla="*/ 1143000 w 2971294"/>
              <a:gd name="connsiteY58" fmla="*/ 38100 h 2305041"/>
              <a:gd name="connsiteX59" fmla="*/ 309562 w 2971294"/>
              <a:gd name="connsiteY59" fmla="*/ 23812 h 2305041"/>
              <a:gd name="connsiteX60" fmla="*/ 247650 w 2971294"/>
              <a:gd name="connsiteY60" fmla="*/ 14287 h 2305041"/>
              <a:gd name="connsiteX61" fmla="*/ 185737 w 2971294"/>
              <a:gd name="connsiteY61" fmla="*/ 9525 h 2305041"/>
              <a:gd name="connsiteX62" fmla="*/ 19050 w 2971294"/>
              <a:gd name="connsiteY62" fmla="*/ 14287 h 2305041"/>
              <a:gd name="connsiteX63" fmla="*/ 4762 w 2971294"/>
              <a:gd name="connsiteY63" fmla="*/ 19050 h 2305041"/>
              <a:gd name="connsiteX64" fmla="*/ 9525 w 2971294"/>
              <a:gd name="connsiteY64" fmla="*/ 85725 h 2305041"/>
              <a:gd name="connsiteX65" fmla="*/ 23812 w 2971294"/>
              <a:gd name="connsiteY65" fmla="*/ 171450 h 2305041"/>
              <a:gd name="connsiteX66" fmla="*/ 14287 w 2971294"/>
              <a:gd name="connsiteY66" fmla="*/ 390525 h 2305041"/>
              <a:gd name="connsiteX67" fmla="*/ 0 w 2971294"/>
              <a:gd name="connsiteY67" fmla="*/ 466725 h 2305041"/>
              <a:gd name="connsiteX68" fmla="*/ 9525 w 2971294"/>
              <a:gd name="connsiteY68" fmla="*/ 800100 h 2305041"/>
              <a:gd name="connsiteX69" fmla="*/ 9525 w 2971294"/>
              <a:gd name="connsiteY69" fmla="*/ 871537 h 2305041"/>
              <a:gd name="connsiteX70" fmla="*/ 14287 w 2971294"/>
              <a:gd name="connsiteY70" fmla="*/ 1157287 h 2305041"/>
              <a:gd name="connsiteX71" fmla="*/ 19050 w 2971294"/>
              <a:gd name="connsiteY71" fmla="*/ 1204912 h 2305041"/>
              <a:gd name="connsiteX72" fmla="*/ 28575 w 2971294"/>
              <a:gd name="connsiteY72" fmla="*/ 1243012 h 2305041"/>
              <a:gd name="connsiteX73" fmla="*/ 33337 w 2971294"/>
              <a:gd name="connsiteY73" fmla="*/ 1328737 h 2305041"/>
              <a:gd name="connsiteX74" fmla="*/ 23812 w 2971294"/>
              <a:gd name="connsiteY74" fmla="*/ 1476375 h 2305041"/>
              <a:gd name="connsiteX75" fmla="*/ 14287 w 2971294"/>
              <a:gd name="connsiteY75" fmla="*/ 1562100 h 2305041"/>
              <a:gd name="connsiteX76" fmla="*/ 9525 w 2971294"/>
              <a:gd name="connsiteY76" fmla="*/ 1819275 h 2305041"/>
              <a:gd name="connsiteX77" fmla="*/ 14287 w 2971294"/>
              <a:gd name="connsiteY77" fmla="*/ 2014537 h 2305041"/>
              <a:gd name="connsiteX78" fmla="*/ 23812 w 2971294"/>
              <a:gd name="connsiteY78" fmla="*/ 2066925 h 2305041"/>
              <a:gd name="connsiteX79" fmla="*/ 28575 w 2971294"/>
              <a:gd name="connsiteY79" fmla="*/ 2152650 h 2305041"/>
              <a:gd name="connsiteX80" fmla="*/ 23812 w 2971294"/>
              <a:gd name="connsiteY80" fmla="*/ 2238375 h 2305041"/>
              <a:gd name="connsiteX81" fmla="*/ 14287 w 2971294"/>
              <a:gd name="connsiteY81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652462 h 2305041"/>
              <a:gd name="connsiteX32" fmla="*/ 2600325 w 2971294"/>
              <a:gd name="connsiteY32" fmla="*/ 1176337 h 2305041"/>
              <a:gd name="connsiteX33" fmla="*/ 2605087 w 2971294"/>
              <a:gd name="connsiteY33" fmla="*/ 1209675 h 2305041"/>
              <a:gd name="connsiteX34" fmla="*/ 2608262 w 2971294"/>
              <a:gd name="connsiteY34" fmla="*/ 1514475 h 2305041"/>
              <a:gd name="connsiteX35" fmla="*/ 2614612 w 2971294"/>
              <a:gd name="connsiteY35" fmla="*/ 2066925 h 2305041"/>
              <a:gd name="connsiteX36" fmla="*/ 2616200 w 2971294"/>
              <a:gd name="connsiteY36" fmla="*/ 2203450 h 2305041"/>
              <a:gd name="connsiteX37" fmla="*/ 2624137 w 2971294"/>
              <a:gd name="connsiteY37" fmla="*/ 2292350 h 2305041"/>
              <a:gd name="connsiteX38" fmla="*/ 2851150 w 2971294"/>
              <a:gd name="connsiteY38" fmla="*/ 2303462 h 2305041"/>
              <a:gd name="connsiteX39" fmla="*/ 2967037 w 2971294"/>
              <a:gd name="connsiteY39" fmla="*/ 2282825 h 2305041"/>
              <a:gd name="connsiteX40" fmla="*/ 2947987 w 2971294"/>
              <a:gd name="connsiteY40" fmla="*/ 2181225 h 2305041"/>
              <a:gd name="connsiteX41" fmla="*/ 2955925 w 2971294"/>
              <a:gd name="connsiteY41" fmla="*/ 2008187 h 2305041"/>
              <a:gd name="connsiteX42" fmla="*/ 2962275 w 2971294"/>
              <a:gd name="connsiteY42" fmla="*/ 1804987 h 2305041"/>
              <a:gd name="connsiteX43" fmla="*/ 2952750 w 2971294"/>
              <a:gd name="connsiteY43" fmla="*/ 1366837 h 2305041"/>
              <a:gd name="connsiteX44" fmla="*/ 2947987 w 2971294"/>
              <a:gd name="connsiteY44" fmla="*/ 1081087 h 2305041"/>
              <a:gd name="connsiteX45" fmla="*/ 2947987 w 2971294"/>
              <a:gd name="connsiteY45" fmla="*/ 922337 h 2305041"/>
              <a:gd name="connsiteX46" fmla="*/ 2952750 w 2971294"/>
              <a:gd name="connsiteY46" fmla="*/ 571500 h 2305041"/>
              <a:gd name="connsiteX47" fmla="*/ 2957512 w 2971294"/>
              <a:gd name="connsiteY47" fmla="*/ 342900 h 2305041"/>
              <a:gd name="connsiteX48" fmla="*/ 2957512 w 2971294"/>
              <a:gd name="connsiteY48" fmla="*/ 34925 h 2305041"/>
              <a:gd name="connsiteX49" fmla="*/ 2867025 w 2971294"/>
              <a:gd name="connsiteY49" fmla="*/ 19050 h 2305041"/>
              <a:gd name="connsiteX50" fmla="*/ 2724150 w 2971294"/>
              <a:gd name="connsiteY50" fmla="*/ 9525 h 2305041"/>
              <a:gd name="connsiteX51" fmla="*/ 2381250 w 2971294"/>
              <a:gd name="connsiteY51" fmla="*/ 14287 h 2305041"/>
              <a:gd name="connsiteX52" fmla="*/ 2324100 w 2971294"/>
              <a:gd name="connsiteY52" fmla="*/ 23812 h 2305041"/>
              <a:gd name="connsiteX53" fmla="*/ 1909762 w 2971294"/>
              <a:gd name="connsiteY53" fmla="*/ 19050 h 2305041"/>
              <a:gd name="connsiteX54" fmla="*/ 1804987 w 2971294"/>
              <a:gd name="connsiteY54" fmla="*/ 9525 h 2305041"/>
              <a:gd name="connsiteX55" fmla="*/ 1776412 w 2971294"/>
              <a:gd name="connsiteY55" fmla="*/ 0 h 2305041"/>
              <a:gd name="connsiteX56" fmla="*/ 1528762 w 2971294"/>
              <a:gd name="connsiteY56" fmla="*/ 4762 h 2305041"/>
              <a:gd name="connsiteX57" fmla="*/ 1143000 w 2971294"/>
              <a:gd name="connsiteY57" fmla="*/ 38100 h 2305041"/>
              <a:gd name="connsiteX58" fmla="*/ 309562 w 2971294"/>
              <a:gd name="connsiteY58" fmla="*/ 23812 h 2305041"/>
              <a:gd name="connsiteX59" fmla="*/ 247650 w 2971294"/>
              <a:gd name="connsiteY59" fmla="*/ 14287 h 2305041"/>
              <a:gd name="connsiteX60" fmla="*/ 185737 w 2971294"/>
              <a:gd name="connsiteY60" fmla="*/ 9525 h 2305041"/>
              <a:gd name="connsiteX61" fmla="*/ 19050 w 2971294"/>
              <a:gd name="connsiteY61" fmla="*/ 14287 h 2305041"/>
              <a:gd name="connsiteX62" fmla="*/ 4762 w 2971294"/>
              <a:gd name="connsiteY62" fmla="*/ 19050 h 2305041"/>
              <a:gd name="connsiteX63" fmla="*/ 9525 w 2971294"/>
              <a:gd name="connsiteY63" fmla="*/ 85725 h 2305041"/>
              <a:gd name="connsiteX64" fmla="*/ 23812 w 2971294"/>
              <a:gd name="connsiteY64" fmla="*/ 171450 h 2305041"/>
              <a:gd name="connsiteX65" fmla="*/ 14287 w 2971294"/>
              <a:gd name="connsiteY65" fmla="*/ 390525 h 2305041"/>
              <a:gd name="connsiteX66" fmla="*/ 0 w 2971294"/>
              <a:gd name="connsiteY66" fmla="*/ 466725 h 2305041"/>
              <a:gd name="connsiteX67" fmla="*/ 9525 w 2971294"/>
              <a:gd name="connsiteY67" fmla="*/ 800100 h 2305041"/>
              <a:gd name="connsiteX68" fmla="*/ 9525 w 2971294"/>
              <a:gd name="connsiteY68" fmla="*/ 871537 h 2305041"/>
              <a:gd name="connsiteX69" fmla="*/ 14287 w 2971294"/>
              <a:gd name="connsiteY69" fmla="*/ 1157287 h 2305041"/>
              <a:gd name="connsiteX70" fmla="*/ 19050 w 2971294"/>
              <a:gd name="connsiteY70" fmla="*/ 1204912 h 2305041"/>
              <a:gd name="connsiteX71" fmla="*/ 28575 w 2971294"/>
              <a:gd name="connsiteY71" fmla="*/ 1243012 h 2305041"/>
              <a:gd name="connsiteX72" fmla="*/ 33337 w 2971294"/>
              <a:gd name="connsiteY72" fmla="*/ 1328737 h 2305041"/>
              <a:gd name="connsiteX73" fmla="*/ 23812 w 2971294"/>
              <a:gd name="connsiteY73" fmla="*/ 1476375 h 2305041"/>
              <a:gd name="connsiteX74" fmla="*/ 14287 w 2971294"/>
              <a:gd name="connsiteY74" fmla="*/ 1562100 h 2305041"/>
              <a:gd name="connsiteX75" fmla="*/ 9525 w 2971294"/>
              <a:gd name="connsiteY75" fmla="*/ 1819275 h 2305041"/>
              <a:gd name="connsiteX76" fmla="*/ 14287 w 2971294"/>
              <a:gd name="connsiteY76" fmla="*/ 2014537 h 2305041"/>
              <a:gd name="connsiteX77" fmla="*/ 23812 w 2971294"/>
              <a:gd name="connsiteY77" fmla="*/ 2066925 h 2305041"/>
              <a:gd name="connsiteX78" fmla="*/ 28575 w 2971294"/>
              <a:gd name="connsiteY78" fmla="*/ 2152650 h 2305041"/>
              <a:gd name="connsiteX79" fmla="*/ 23812 w 2971294"/>
              <a:gd name="connsiteY79" fmla="*/ 2238375 h 2305041"/>
              <a:gd name="connsiteX80" fmla="*/ 14287 w 2971294"/>
              <a:gd name="connsiteY80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433637 w 2971294"/>
              <a:gd name="connsiteY26" fmla="*/ 404812 h 2305041"/>
              <a:gd name="connsiteX27" fmla="*/ 2571750 w 2971294"/>
              <a:gd name="connsiteY27" fmla="*/ 404812 h 2305041"/>
              <a:gd name="connsiteX28" fmla="*/ 2609850 w 2971294"/>
              <a:gd name="connsiteY28" fmla="*/ 423862 h 2305041"/>
              <a:gd name="connsiteX29" fmla="*/ 2619375 w 2971294"/>
              <a:gd name="connsiteY29" fmla="*/ 457200 h 2305041"/>
              <a:gd name="connsiteX30" fmla="*/ 2609850 w 2971294"/>
              <a:gd name="connsiteY30" fmla="*/ 614362 h 2305041"/>
              <a:gd name="connsiteX31" fmla="*/ 2600325 w 2971294"/>
              <a:gd name="connsiteY31" fmla="*/ 1176337 h 2305041"/>
              <a:gd name="connsiteX32" fmla="*/ 2605087 w 2971294"/>
              <a:gd name="connsiteY32" fmla="*/ 1209675 h 2305041"/>
              <a:gd name="connsiteX33" fmla="*/ 2608262 w 2971294"/>
              <a:gd name="connsiteY33" fmla="*/ 1514475 h 2305041"/>
              <a:gd name="connsiteX34" fmla="*/ 2614612 w 2971294"/>
              <a:gd name="connsiteY34" fmla="*/ 2066925 h 2305041"/>
              <a:gd name="connsiteX35" fmla="*/ 2616200 w 2971294"/>
              <a:gd name="connsiteY35" fmla="*/ 2203450 h 2305041"/>
              <a:gd name="connsiteX36" fmla="*/ 2624137 w 2971294"/>
              <a:gd name="connsiteY36" fmla="*/ 2292350 h 2305041"/>
              <a:gd name="connsiteX37" fmla="*/ 2851150 w 2971294"/>
              <a:gd name="connsiteY37" fmla="*/ 2303462 h 2305041"/>
              <a:gd name="connsiteX38" fmla="*/ 2967037 w 2971294"/>
              <a:gd name="connsiteY38" fmla="*/ 2282825 h 2305041"/>
              <a:gd name="connsiteX39" fmla="*/ 2947987 w 2971294"/>
              <a:gd name="connsiteY39" fmla="*/ 2181225 h 2305041"/>
              <a:gd name="connsiteX40" fmla="*/ 2955925 w 2971294"/>
              <a:gd name="connsiteY40" fmla="*/ 2008187 h 2305041"/>
              <a:gd name="connsiteX41" fmla="*/ 2962275 w 2971294"/>
              <a:gd name="connsiteY41" fmla="*/ 1804987 h 2305041"/>
              <a:gd name="connsiteX42" fmla="*/ 2952750 w 2971294"/>
              <a:gd name="connsiteY42" fmla="*/ 1366837 h 2305041"/>
              <a:gd name="connsiteX43" fmla="*/ 2947987 w 2971294"/>
              <a:gd name="connsiteY43" fmla="*/ 1081087 h 2305041"/>
              <a:gd name="connsiteX44" fmla="*/ 2947987 w 2971294"/>
              <a:gd name="connsiteY44" fmla="*/ 922337 h 2305041"/>
              <a:gd name="connsiteX45" fmla="*/ 2952750 w 2971294"/>
              <a:gd name="connsiteY45" fmla="*/ 571500 h 2305041"/>
              <a:gd name="connsiteX46" fmla="*/ 2957512 w 2971294"/>
              <a:gd name="connsiteY46" fmla="*/ 342900 h 2305041"/>
              <a:gd name="connsiteX47" fmla="*/ 2957512 w 2971294"/>
              <a:gd name="connsiteY47" fmla="*/ 34925 h 2305041"/>
              <a:gd name="connsiteX48" fmla="*/ 2867025 w 2971294"/>
              <a:gd name="connsiteY48" fmla="*/ 19050 h 2305041"/>
              <a:gd name="connsiteX49" fmla="*/ 2724150 w 2971294"/>
              <a:gd name="connsiteY49" fmla="*/ 9525 h 2305041"/>
              <a:gd name="connsiteX50" fmla="*/ 2381250 w 2971294"/>
              <a:gd name="connsiteY50" fmla="*/ 14287 h 2305041"/>
              <a:gd name="connsiteX51" fmla="*/ 2324100 w 2971294"/>
              <a:gd name="connsiteY51" fmla="*/ 23812 h 2305041"/>
              <a:gd name="connsiteX52" fmla="*/ 1909762 w 2971294"/>
              <a:gd name="connsiteY52" fmla="*/ 19050 h 2305041"/>
              <a:gd name="connsiteX53" fmla="*/ 1804987 w 2971294"/>
              <a:gd name="connsiteY53" fmla="*/ 9525 h 2305041"/>
              <a:gd name="connsiteX54" fmla="*/ 1776412 w 2971294"/>
              <a:gd name="connsiteY54" fmla="*/ 0 h 2305041"/>
              <a:gd name="connsiteX55" fmla="*/ 1528762 w 2971294"/>
              <a:gd name="connsiteY55" fmla="*/ 4762 h 2305041"/>
              <a:gd name="connsiteX56" fmla="*/ 1143000 w 2971294"/>
              <a:gd name="connsiteY56" fmla="*/ 38100 h 2305041"/>
              <a:gd name="connsiteX57" fmla="*/ 309562 w 2971294"/>
              <a:gd name="connsiteY57" fmla="*/ 23812 h 2305041"/>
              <a:gd name="connsiteX58" fmla="*/ 247650 w 2971294"/>
              <a:gd name="connsiteY58" fmla="*/ 14287 h 2305041"/>
              <a:gd name="connsiteX59" fmla="*/ 185737 w 2971294"/>
              <a:gd name="connsiteY59" fmla="*/ 9525 h 2305041"/>
              <a:gd name="connsiteX60" fmla="*/ 19050 w 2971294"/>
              <a:gd name="connsiteY60" fmla="*/ 14287 h 2305041"/>
              <a:gd name="connsiteX61" fmla="*/ 4762 w 2971294"/>
              <a:gd name="connsiteY61" fmla="*/ 19050 h 2305041"/>
              <a:gd name="connsiteX62" fmla="*/ 9525 w 2971294"/>
              <a:gd name="connsiteY62" fmla="*/ 85725 h 2305041"/>
              <a:gd name="connsiteX63" fmla="*/ 23812 w 2971294"/>
              <a:gd name="connsiteY63" fmla="*/ 171450 h 2305041"/>
              <a:gd name="connsiteX64" fmla="*/ 14287 w 2971294"/>
              <a:gd name="connsiteY64" fmla="*/ 390525 h 2305041"/>
              <a:gd name="connsiteX65" fmla="*/ 0 w 2971294"/>
              <a:gd name="connsiteY65" fmla="*/ 466725 h 2305041"/>
              <a:gd name="connsiteX66" fmla="*/ 9525 w 2971294"/>
              <a:gd name="connsiteY66" fmla="*/ 800100 h 2305041"/>
              <a:gd name="connsiteX67" fmla="*/ 9525 w 2971294"/>
              <a:gd name="connsiteY67" fmla="*/ 871537 h 2305041"/>
              <a:gd name="connsiteX68" fmla="*/ 14287 w 2971294"/>
              <a:gd name="connsiteY68" fmla="*/ 1157287 h 2305041"/>
              <a:gd name="connsiteX69" fmla="*/ 19050 w 2971294"/>
              <a:gd name="connsiteY69" fmla="*/ 1204912 h 2305041"/>
              <a:gd name="connsiteX70" fmla="*/ 28575 w 2971294"/>
              <a:gd name="connsiteY70" fmla="*/ 1243012 h 2305041"/>
              <a:gd name="connsiteX71" fmla="*/ 33337 w 2971294"/>
              <a:gd name="connsiteY71" fmla="*/ 1328737 h 2305041"/>
              <a:gd name="connsiteX72" fmla="*/ 23812 w 2971294"/>
              <a:gd name="connsiteY72" fmla="*/ 1476375 h 2305041"/>
              <a:gd name="connsiteX73" fmla="*/ 14287 w 2971294"/>
              <a:gd name="connsiteY73" fmla="*/ 1562100 h 2305041"/>
              <a:gd name="connsiteX74" fmla="*/ 9525 w 2971294"/>
              <a:gd name="connsiteY74" fmla="*/ 1819275 h 2305041"/>
              <a:gd name="connsiteX75" fmla="*/ 14287 w 2971294"/>
              <a:gd name="connsiteY75" fmla="*/ 2014537 h 2305041"/>
              <a:gd name="connsiteX76" fmla="*/ 23812 w 2971294"/>
              <a:gd name="connsiteY76" fmla="*/ 2066925 h 2305041"/>
              <a:gd name="connsiteX77" fmla="*/ 28575 w 2971294"/>
              <a:gd name="connsiteY77" fmla="*/ 2152650 h 2305041"/>
              <a:gd name="connsiteX78" fmla="*/ 23812 w 2971294"/>
              <a:gd name="connsiteY78" fmla="*/ 2238375 h 2305041"/>
              <a:gd name="connsiteX79" fmla="*/ 14287 w 2971294"/>
              <a:gd name="connsiteY79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166812 w 2971294"/>
              <a:gd name="connsiteY23" fmla="*/ 419100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571750 w 2971294"/>
              <a:gd name="connsiteY26" fmla="*/ 404812 h 2305041"/>
              <a:gd name="connsiteX27" fmla="*/ 2609850 w 2971294"/>
              <a:gd name="connsiteY27" fmla="*/ 423862 h 2305041"/>
              <a:gd name="connsiteX28" fmla="*/ 2619375 w 2971294"/>
              <a:gd name="connsiteY28" fmla="*/ 457200 h 2305041"/>
              <a:gd name="connsiteX29" fmla="*/ 2609850 w 2971294"/>
              <a:gd name="connsiteY29" fmla="*/ 614362 h 2305041"/>
              <a:gd name="connsiteX30" fmla="*/ 2600325 w 2971294"/>
              <a:gd name="connsiteY30" fmla="*/ 1176337 h 2305041"/>
              <a:gd name="connsiteX31" fmla="*/ 2605087 w 2971294"/>
              <a:gd name="connsiteY31" fmla="*/ 1209675 h 2305041"/>
              <a:gd name="connsiteX32" fmla="*/ 2608262 w 2971294"/>
              <a:gd name="connsiteY32" fmla="*/ 1514475 h 2305041"/>
              <a:gd name="connsiteX33" fmla="*/ 2614612 w 2971294"/>
              <a:gd name="connsiteY33" fmla="*/ 2066925 h 2305041"/>
              <a:gd name="connsiteX34" fmla="*/ 2616200 w 2971294"/>
              <a:gd name="connsiteY34" fmla="*/ 2203450 h 2305041"/>
              <a:gd name="connsiteX35" fmla="*/ 2624137 w 2971294"/>
              <a:gd name="connsiteY35" fmla="*/ 2292350 h 2305041"/>
              <a:gd name="connsiteX36" fmla="*/ 2851150 w 2971294"/>
              <a:gd name="connsiteY36" fmla="*/ 2303462 h 2305041"/>
              <a:gd name="connsiteX37" fmla="*/ 2967037 w 2971294"/>
              <a:gd name="connsiteY37" fmla="*/ 2282825 h 2305041"/>
              <a:gd name="connsiteX38" fmla="*/ 2947987 w 2971294"/>
              <a:gd name="connsiteY38" fmla="*/ 2181225 h 2305041"/>
              <a:gd name="connsiteX39" fmla="*/ 2955925 w 2971294"/>
              <a:gd name="connsiteY39" fmla="*/ 2008187 h 2305041"/>
              <a:gd name="connsiteX40" fmla="*/ 2962275 w 2971294"/>
              <a:gd name="connsiteY40" fmla="*/ 1804987 h 2305041"/>
              <a:gd name="connsiteX41" fmla="*/ 2952750 w 2971294"/>
              <a:gd name="connsiteY41" fmla="*/ 1366837 h 2305041"/>
              <a:gd name="connsiteX42" fmla="*/ 2947987 w 2971294"/>
              <a:gd name="connsiteY42" fmla="*/ 1081087 h 2305041"/>
              <a:gd name="connsiteX43" fmla="*/ 2947987 w 2971294"/>
              <a:gd name="connsiteY43" fmla="*/ 922337 h 2305041"/>
              <a:gd name="connsiteX44" fmla="*/ 2952750 w 2971294"/>
              <a:gd name="connsiteY44" fmla="*/ 571500 h 2305041"/>
              <a:gd name="connsiteX45" fmla="*/ 2957512 w 2971294"/>
              <a:gd name="connsiteY45" fmla="*/ 342900 h 2305041"/>
              <a:gd name="connsiteX46" fmla="*/ 2957512 w 2971294"/>
              <a:gd name="connsiteY46" fmla="*/ 34925 h 2305041"/>
              <a:gd name="connsiteX47" fmla="*/ 2867025 w 2971294"/>
              <a:gd name="connsiteY47" fmla="*/ 19050 h 2305041"/>
              <a:gd name="connsiteX48" fmla="*/ 2724150 w 2971294"/>
              <a:gd name="connsiteY48" fmla="*/ 9525 h 2305041"/>
              <a:gd name="connsiteX49" fmla="*/ 2381250 w 2971294"/>
              <a:gd name="connsiteY49" fmla="*/ 14287 h 2305041"/>
              <a:gd name="connsiteX50" fmla="*/ 2324100 w 2971294"/>
              <a:gd name="connsiteY50" fmla="*/ 23812 h 2305041"/>
              <a:gd name="connsiteX51" fmla="*/ 1909762 w 2971294"/>
              <a:gd name="connsiteY51" fmla="*/ 19050 h 2305041"/>
              <a:gd name="connsiteX52" fmla="*/ 1804987 w 2971294"/>
              <a:gd name="connsiteY52" fmla="*/ 9525 h 2305041"/>
              <a:gd name="connsiteX53" fmla="*/ 1776412 w 2971294"/>
              <a:gd name="connsiteY53" fmla="*/ 0 h 2305041"/>
              <a:gd name="connsiteX54" fmla="*/ 1528762 w 2971294"/>
              <a:gd name="connsiteY54" fmla="*/ 4762 h 2305041"/>
              <a:gd name="connsiteX55" fmla="*/ 1143000 w 2971294"/>
              <a:gd name="connsiteY55" fmla="*/ 38100 h 2305041"/>
              <a:gd name="connsiteX56" fmla="*/ 309562 w 2971294"/>
              <a:gd name="connsiteY56" fmla="*/ 23812 h 2305041"/>
              <a:gd name="connsiteX57" fmla="*/ 247650 w 2971294"/>
              <a:gd name="connsiteY57" fmla="*/ 14287 h 2305041"/>
              <a:gd name="connsiteX58" fmla="*/ 185737 w 2971294"/>
              <a:gd name="connsiteY58" fmla="*/ 9525 h 2305041"/>
              <a:gd name="connsiteX59" fmla="*/ 19050 w 2971294"/>
              <a:gd name="connsiteY59" fmla="*/ 14287 h 2305041"/>
              <a:gd name="connsiteX60" fmla="*/ 4762 w 2971294"/>
              <a:gd name="connsiteY60" fmla="*/ 19050 h 2305041"/>
              <a:gd name="connsiteX61" fmla="*/ 9525 w 2971294"/>
              <a:gd name="connsiteY61" fmla="*/ 85725 h 2305041"/>
              <a:gd name="connsiteX62" fmla="*/ 23812 w 2971294"/>
              <a:gd name="connsiteY62" fmla="*/ 171450 h 2305041"/>
              <a:gd name="connsiteX63" fmla="*/ 14287 w 2971294"/>
              <a:gd name="connsiteY63" fmla="*/ 390525 h 2305041"/>
              <a:gd name="connsiteX64" fmla="*/ 0 w 2971294"/>
              <a:gd name="connsiteY64" fmla="*/ 466725 h 2305041"/>
              <a:gd name="connsiteX65" fmla="*/ 9525 w 2971294"/>
              <a:gd name="connsiteY65" fmla="*/ 800100 h 2305041"/>
              <a:gd name="connsiteX66" fmla="*/ 9525 w 2971294"/>
              <a:gd name="connsiteY66" fmla="*/ 871537 h 2305041"/>
              <a:gd name="connsiteX67" fmla="*/ 14287 w 2971294"/>
              <a:gd name="connsiteY67" fmla="*/ 1157287 h 2305041"/>
              <a:gd name="connsiteX68" fmla="*/ 19050 w 2971294"/>
              <a:gd name="connsiteY68" fmla="*/ 1204912 h 2305041"/>
              <a:gd name="connsiteX69" fmla="*/ 28575 w 2971294"/>
              <a:gd name="connsiteY69" fmla="*/ 1243012 h 2305041"/>
              <a:gd name="connsiteX70" fmla="*/ 33337 w 2971294"/>
              <a:gd name="connsiteY70" fmla="*/ 1328737 h 2305041"/>
              <a:gd name="connsiteX71" fmla="*/ 23812 w 2971294"/>
              <a:gd name="connsiteY71" fmla="*/ 1476375 h 2305041"/>
              <a:gd name="connsiteX72" fmla="*/ 14287 w 2971294"/>
              <a:gd name="connsiteY72" fmla="*/ 1562100 h 2305041"/>
              <a:gd name="connsiteX73" fmla="*/ 9525 w 2971294"/>
              <a:gd name="connsiteY73" fmla="*/ 1819275 h 2305041"/>
              <a:gd name="connsiteX74" fmla="*/ 14287 w 2971294"/>
              <a:gd name="connsiteY74" fmla="*/ 2014537 h 2305041"/>
              <a:gd name="connsiteX75" fmla="*/ 23812 w 2971294"/>
              <a:gd name="connsiteY75" fmla="*/ 2066925 h 2305041"/>
              <a:gd name="connsiteX76" fmla="*/ 28575 w 2971294"/>
              <a:gd name="connsiteY76" fmla="*/ 2152650 h 2305041"/>
              <a:gd name="connsiteX77" fmla="*/ 23812 w 2971294"/>
              <a:gd name="connsiteY77" fmla="*/ 2238375 h 2305041"/>
              <a:gd name="connsiteX78" fmla="*/ 14287 w 2971294"/>
              <a:gd name="connsiteY78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47762 w 2971294"/>
              <a:gd name="connsiteY22" fmla="*/ 423862 h 2305041"/>
              <a:gd name="connsiteX23" fmla="*/ 1209675 w 2971294"/>
              <a:gd name="connsiteY23" fmla="*/ 414337 h 2305041"/>
              <a:gd name="connsiteX24" fmla="*/ 1238250 w 2971294"/>
              <a:gd name="connsiteY24" fmla="*/ 409575 h 2305041"/>
              <a:gd name="connsiteX25" fmla="*/ 2571750 w 2971294"/>
              <a:gd name="connsiteY25" fmla="*/ 404812 h 2305041"/>
              <a:gd name="connsiteX26" fmla="*/ 2609850 w 2971294"/>
              <a:gd name="connsiteY26" fmla="*/ 423862 h 2305041"/>
              <a:gd name="connsiteX27" fmla="*/ 2619375 w 2971294"/>
              <a:gd name="connsiteY27" fmla="*/ 457200 h 2305041"/>
              <a:gd name="connsiteX28" fmla="*/ 2609850 w 2971294"/>
              <a:gd name="connsiteY28" fmla="*/ 614362 h 2305041"/>
              <a:gd name="connsiteX29" fmla="*/ 2600325 w 2971294"/>
              <a:gd name="connsiteY29" fmla="*/ 1176337 h 2305041"/>
              <a:gd name="connsiteX30" fmla="*/ 2605087 w 2971294"/>
              <a:gd name="connsiteY30" fmla="*/ 1209675 h 2305041"/>
              <a:gd name="connsiteX31" fmla="*/ 2608262 w 2971294"/>
              <a:gd name="connsiteY31" fmla="*/ 1514475 h 2305041"/>
              <a:gd name="connsiteX32" fmla="*/ 2614612 w 2971294"/>
              <a:gd name="connsiteY32" fmla="*/ 2066925 h 2305041"/>
              <a:gd name="connsiteX33" fmla="*/ 2616200 w 2971294"/>
              <a:gd name="connsiteY33" fmla="*/ 2203450 h 2305041"/>
              <a:gd name="connsiteX34" fmla="*/ 2624137 w 2971294"/>
              <a:gd name="connsiteY34" fmla="*/ 2292350 h 2305041"/>
              <a:gd name="connsiteX35" fmla="*/ 2851150 w 2971294"/>
              <a:gd name="connsiteY35" fmla="*/ 2303462 h 2305041"/>
              <a:gd name="connsiteX36" fmla="*/ 2967037 w 2971294"/>
              <a:gd name="connsiteY36" fmla="*/ 2282825 h 2305041"/>
              <a:gd name="connsiteX37" fmla="*/ 2947987 w 2971294"/>
              <a:gd name="connsiteY37" fmla="*/ 2181225 h 2305041"/>
              <a:gd name="connsiteX38" fmla="*/ 2955925 w 2971294"/>
              <a:gd name="connsiteY38" fmla="*/ 2008187 h 2305041"/>
              <a:gd name="connsiteX39" fmla="*/ 2962275 w 2971294"/>
              <a:gd name="connsiteY39" fmla="*/ 1804987 h 2305041"/>
              <a:gd name="connsiteX40" fmla="*/ 2952750 w 2971294"/>
              <a:gd name="connsiteY40" fmla="*/ 1366837 h 2305041"/>
              <a:gd name="connsiteX41" fmla="*/ 2947987 w 2971294"/>
              <a:gd name="connsiteY41" fmla="*/ 1081087 h 2305041"/>
              <a:gd name="connsiteX42" fmla="*/ 2947987 w 2971294"/>
              <a:gd name="connsiteY42" fmla="*/ 922337 h 2305041"/>
              <a:gd name="connsiteX43" fmla="*/ 2952750 w 2971294"/>
              <a:gd name="connsiteY43" fmla="*/ 571500 h 2305041"/>
              <a:gd name="connsiteX44" fmla="*/ 2957512 w 2971294"/>
              <a:gd name="connsiteY44" fmla="*/ 342900 h 2305041"/>
              <a:gd name="connsiteX45" fmla="*/ 2957512 w 2971294"/>
              <a:gd name="connsiteY45" fmla="*/ 34925 h 2305041"/>
              <a:gd name="connsiteX46" fmla="*/ 2867025 w 2971294"/>
              <a:gd name="connsiteY46" fmla="*/ 19050 h 2305041"/>
              <a:gd name="connsiteX47" fmla="*/ 2724150 w 2971294"/>
              <a:gd name="connsiteY47" fmla="*/ 9525 h 2305041"/>
              <a:gd name="connsiteX48" fmla="*/ 2381250 w 2971294"/>
              <a:gd name="connsiteY48" fmla="*/ 14287 h 2305041"/>
              <a:gd name="connsiteX49" fmla="*/ 2324100 w 2971294"/>
              <a:gd name="connsiteY49" fmla="*/ 23812 h 2305041"/>
              <a:gd name="connsiteX50" fmla="*/ 1909762 w 2971294"/>
              <a:gd name="connsiteY50" fmla="*/ 19050 h 2305041"/>
              <a:gd name="connsiteX51" fmla="*/ 1804987 w 2971294"/>
              <a:gd name="connsiteY51" fmla="*/ 9525 h 2305041"/>
              <a:gd name="connsiteX52" fmla="*/ 1776412 w 2971294"/>
              <a:gd name="connsiteY52" fmla="*/ 0 h 2305041"/>
              <a:gd name="connsiteX53" fmla="*/ 1528762 w 2971294"/>
              <a:gd name="connsiteY53" fmla="*/ 4762 h 2305041"/>
              <a:gd name="connsiteX54" fmla="*/ 1143000 w 2971294"/>
              <a:gd name="connsiteY54" fmla="*/ 38100 h 2305041"/>
              <a:gd name="connsiteX55" fmla="*/ 309562 w 2971294"/>
              <a:gd name="connsiteY55" fmla="*/ 23812 h 2305041"/>
              <a:gd name="connsiteX56" fmla="*/ 247650 w 2971294"/>
              <a:gd name="connsiteY56" fmla="*/ 14287 h 2305041"/>
              <a:gd name="connsiteX57" fmla="*/ 185737 w 2971294"/>
              <a:gd name="connsiteY57" fmla="*/ 9525 h 2305041"/>
              <a:gd name="connsiteX58" fmla="*/ 19050 w 2971294"/>
              <a:gd name="connsiteY58" fmla="*/ 14287 h 2305041"/>
              <a:gd name="connsiteX59" fmla="*/ 4762 w 2971294"/>
              <a:gd name="connsiteY59" fmla="*/ 19050 h 2305041"/>
              <a:gd name="connsiteX60" fmla="*/ 9525 w 2971294"/>
              <a:gd name="connsiteY60" fmla="*/ 85725 h 2305041"/>
              <a:gd name="connsiteX61" fmla="*/ 23812 w 2971294"/>
              <a:gd name="connsiteY61" fmla="*/ 171450 h 2305041"/>
              <a:gd name="connsiteX62" fmla="*/ 14287 w 2971294"/>
              <a:gd name="connsiteY62" fmla="*/ 390525 h 2305041"/>
              <a:gd name="connsiteX63" fmla="*/ 0 w 2971294"/>
              <a:gd name="connsiteY63" fmla="*/ 466725 h 2305041"/>
              <a:gd name="connsiteX64" fmla="*/ 9525 w 2971294"/>
              <a:gd name="connsiteY64" fmla="*/ 800100 h 2305041"/>
              <a:gd name="connsiteX65" fmla="*/ 9525 w 2971294"/>
              <a:gd name="connsiteY65" fmla="*/ 871537 h 2305041"/>
              <a:gd name="connsiteX66" fmla="*/ 14287 w 2971294"/>
              <a:gd name="connsiteY66" fmla="*/ 1157287 h 2305041"/>
              <a:gd name="connsiteX67" fmla="*/ 19050 w 2971294"/>
              <a:gd name="connsiteY67" fmla="*/ 1204912 h 2305041"/>
              <a:gd name="connsiteX68" fmla="*/ 28575 w 2971294"/>
              <a:gd name="connsiteY68" fmla="*/ 1243012 h 2305041"/>
              <a:gd name="connsiteX69" fmla="*/ 33337 w 2971294"/>
              <a:gd name="connsiteY69" fmla="*/ 1328737 h 2305041"/>
              <a:gd name="connsiteX70" fmla="*/ 23812 w 2971294"/>
              <a:gd name="connsiteY70" fmla="*/ 1476375 h 2305041"/>
              <a:gd name="connsiteX71" fmla="*/ 14287 w 2971294"/>
              <a:gd name="connsiteY71" fmla="*/ 1562100 h 2305041"/>
              <a:gd name="connsiteX72" fmla="*/ 9525 w 2971294"/>
              <a:gd name="connsiteY72" fmla="*/ 1819275 h 2305041"/>
              <a:gd name="connsiteX73" fmla="*/ 14287 w 2971294"/>
              <a:gd name="connsiteY73" fmla="*/ 2014537 h 2305041"/>
              <a:gd name="connsiteX74" fmla="*/ 23812 w 2971294"/>
              <a:gd name="connsiteY74" fmla="*/ 2066925 h 2305041"/>
              <a:gd name="connsiteX75" fmla="*/ 28575 w 2971294"/>
              <a:gd name="connsiteY75" fmla="*/ 2152650 h 2305041"/>
              <a:gd name="connsiteX76" fmla="*/ 23812 w 2971294"/>
              <a:gd name="connsiteY76" fmla="*/ 2238375 h 2305041"/>
              <a:gd name="connsiteX77" fmla="*/ 14287 w 2971294"/>
              <a:gd name="connsiteY77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985837 w 2971294"/>
              <a:gd name="connsiteY21" fmla="*/ 433387 h 2305041"/>
              <a:gd name="connsiteX22" fmla="*/ 1122362 w 2971294"/>
              <a:gd name="connsiteY22" fmla="*/ 430213 h 2305041"/>
              <a:gd name="connsiteX23" fmla="*/ 1147762 w 2971294"/>
              <a:gd name="connsiteY23" fmla="*/ 423862 h 2305041"/>
              <a:gd name="connsiteX24" fmla="*/ 1209675 w 2971294"/>
              <a:gd name="connsiteY24" fmla="*/ 414337 h 2305041"/>
              <a:gd name="connsiteX25" fmla="*/ 1238250 w 2971294"/>
              <a:gd name="connsiteY25" fmla="*/ 409575 h 2305041"/>
              <a:gd name="connsiteX26" fmla="*/ 2571750 w 2971294"/>
              <a:gd name="connsiteY26" fmla="*/ 404812 h 2305041"/>
              <a:gd name="connsiteX27" fmla="*/ 2609850 w 2971294"/>
              <a:gd name="connsiteY27" fmla="*/ 423862 h 2305041"/>
              <a:gd name="connsiteX28" fmla="*/ 2619375 w 2971294"/>
              <a:gd name="connsiteY28" fmla="*/ 457200 h 2305041"/>
              <a:gd name="connsiteX29" fmla="*/ 2609850 w 2971294"/>
              <a:gd name="connsiteY29" fmla="*/ 614362 h 2305041"/>
              <a:gd name="connsiteX30" fmla="*/ 2600325 w 2971294"/>
              <a:gd name="connsiteY30" fmla="*/ 1176337 h 2305041"/>
              <a:gd name="connsiteX31" fmla="*/ 2605087 w 2971294"/>
              <a:gd name="connsiteY31" fmla="*/ 1209675 h 2305041"/>
              <a:gd name="connsiteX32" fmla="*/ 2608262 w 2971294"/>
              <a:gd name="connsiteY32" fmla="*/ 1514475 h 2305041"/>
              <a:gd name="connsiteX33" fmla="*/ 2614612 w 2971294"/>
              <a:gd name="connsiteY33" fmla="*/ 2066925 h 2305041"/>
              <a:gd name="connsiteX34" fmla="*/ 2616200 w 2971294"/>
              <a:gd name="connsiteY34" fmla="*/ 2203450 h 2305041"/>
              <a:gd name="connsiteX35" fmla="*/ 2624137 w 2971294"/>
              <a:gd name="connsiteY35" fmla="*/ 2292350 h 2305041"/>
              <a:gd name="connsiteX36" fmla="*/ 2851150 w 2971294"/>
              <a:gd name="connsiteY36" fmla="*/ 2303462 h 2305041"/>
              <a:gd name="connsiteX37" fmla="*/ 2967037 w 2971294"/>
              <a:gd name="connsiteY37" fmla="*/ 2282825 h 2305041"/>
              <a:gd name="connsiteX38" fmla="*/ 2947987 w 2971294"/>
              <a:gd name="connsiteY38" fmla="*/ 2181225 h 2305041"/>
              <a:gd name="connsiteX39" fmla="*/ 2955925 w 2971294"/>
              <a:gd name="connsiteY39" fmla="*/ 2008187 h 2305041"/>
              <a:gd name="connsiteX40" fmla="*/ 2962275 w 2971294"/>
              <a:gd name="connsiteY40" fmla="*/ 1804987 h 2305041"/>
              <a:gd name="connsiteX41" fmla="*/ 2952750 w 2971294"/>
              <a:gd name="connsiteY41" fmla="*/ 1366837 h 2305041"/>
              <a:gd name="connsiteX42" fmla="*/ 2947987 w 2971294"/>
              <a:gd name="connsiteY42" fmla="*/ 1081087 h 2305041"/>
              <a:gd name="connsiteX43" fmla="*/ 2947987 w 2971294"/>
              <a:gd name="connsiteY43" fmla="*/ 922337 h 2305041"/>
              <a:gd name="connsiteX44" fmla="*/ 2952750 w 2971294"/>
              <a:gd name="connsiteY44" fmla="*/ 571500 h 2305041"/>
              <a:gd name="connsiteX45" fmla="*/ 2957512 w 2971294"/>
              <a:gd name="connsiteY45" fmla="*/ 342900 h 2305041"/>
              <a:gd name="connsiteX46" fmla="*/ 2957512 w 2971294"/>
              <a:gd name="connsiteY46" fmla="*/ 34925 h 2305041"/>
              <a:gd name="connsiteX47" fmla="*/ 2867025 w 2971294"/>
              <a:gd name="connsiteY47" fmla="*/ 19050 h 2305041"/>
              <a:gd name="connsiteX48" fmla="*/ 2724150 w 2971294"/>
              <a:gd name="connsiteY48" fmla="*/ 9525 h 2305041"/>
              <a:gd name="connsiteX49" fmla="*/ 2381250 w 2971294"/>
              <a:gd name="connsiteY49" fmla="*/ 14287 h 2305041"/>
              <a:gd name="connsiteX50" fmla="*/ 2324100 w 2971294"/>
              <a:gd name="connsiteY50" fmla="*/ 23812 h 2305041"/>
              <a:gd name="connsiteX51" fmla="*/ 1909762 w 2971294"/>
              <a:gd name="connsiteY51" fmla="*/ 19050 h 2305041"/>
              <a:gd name="connsiteX52" fmla="*/ 1804987 w 2971294"/>
              <a:gd name="connsiteY52" fmla="*/ 9525 h 2305041"/>
              <a:gd name="connsiteX53" fmla="*/ 1776412 w 2971294"/>
              <a:gd name="connsiteY53" fmla="*/ 0 h 2305041"/>
              <a:gd name="connsiteX54" fmla="*/ 1528762 w 2971294"/>
              <a:gd name="connsiteY54" fmla="*/ 4762 h 2305041"/>
              <a:gd name="connsiteX55" fmla="*/ 1143000 w 2971294"/>
              <a:gd name="connsiteY55" fmla="*/ 38100 h 2305041"/>
              <a:gd name="connsiteX56" fmla="*/ 309562 w 2971294"/>
              <a:gd name="connsiteY56" fmla="*/ 23812 h 2305041"/>
              <a:gd name="connsiteX57" fmla="*/ 247650 w 2971294"/>
              <a:gd name="connsiteY57" fmla="*/ 14287 h 2305041"/>
              <a:gd name="connsiteX58" fmla="*/ 185737 w 2971294"/>
              <a:gd name="connsiteY58" fmla="*/ 9525 h 2305041"/>
              <a:gd name="connsiteX59" fmla="*/ 19050 w 2971294"/>
              <a:gd name="connsiteY59" fmla="*/ 14287 h 2305041"/>
              <a:gd name="connsiteX60" fmla="*/ 4762 w 2971294"/>
              <a:gd name="connsiteY60" fmla="*/ 19050 h 2305041"/>
              <a:gd name="connsiteX61" fmla="*/ 9525 w 2971294"/>
              <a:gd name="connsiteY61" fmla="*/ 85725 h 2305041"/>
              <a:gd name="connsiteX62" fmla="*/ 23812 w 2971294"/>
              <a:gd name="connsiteY62" fmla="*/ 171450 h 2305041"/>
              <a:gd name="connsiteX63" fmla="*/ 14287 w 2971294"/>
              <a:gd name="connsiteY63" fmla="*/ 390525 h 2305041"/>
              <a:gd name="connsiteX64" fmla="*/ 0 w 2971294"/>
              <a:gd name="connsiteY64" fmla="*/ 466725 h 2305041"/>
              <a:gd name="connsiteX65" fmla="*/ 9525 w 2971294"/>
              <a:gd name="connsiteY65" fmla="*/ 800100 h 2305041"/>
              <a:gd name="connsiteX66" fmla="*/ 9525 w 2971294"/>
              <a:gd name="connsiteY66" fmla="*/ 871537 h 2305041"/>
              <a:gd name="connsiteX67" fmla="*/ 14287 w 2971294"/>
              <a:gd name="connsiteY67" fmla="*/ 1157287 h 2305041"/>
              <a:gd name="connsiteX68" fmla="*/ 19050 w 2971294"/>
              <a:gd name="connsiteY68" fmla="*/ 1204912 h 2305041"/>
              <a:gd name="connsiteX69" fmla="*/ 28575 w 2971294"/>
              <a:gd name="connsiteY69" fmla="*/ 1243012 h 2305041"/>
              <a:gd name="connsiteX70" fmla="*/ 33337 w 2971294"/>
              <a:gd name="connsiteY70" fmla="*/ 1328737 h 2305041"/>
              <a:gd name="connsiteX71" fmla="*/ 23812 w 2971294"/>
              <a:gd name="connsiteY71" fmla="*/ 1476375 h 2305041"/>
              <a:gd name="connsiteX72" fmla="*/ 14287 w 2971294"/>
              <a:gd name="connsiteY72" fmla="*/ 1562100 h 2305041"/>
              <a:gd name="connsiteX73" fmla="*/ 9525 w 2971294"/>
              <a:gd name="connsiteY73" fmla="*/ 1819275 h 2305041"/>
              <a:gd name="connsiteX74" fmla="*/ 14287 w 2971294"/>
              <a:gd name="connsiteY74" fmla="*/ 2014537 h 2305041"/>
              <a:gd name="connsiteX75" fmla="*/ 23812 w 2971294"/>
              <a:gd name="connsiteY75" fmla="*/ 2066925 h 2305041"/>
              <a:gd name="connsiteX76" fmla="*/ 28575 w 2971294"/>
              <a:gd name="connsiteY76" fmla="*/ 2152650 h 2305041"/>
              <a:gd name="connsiteX77" fmla="*/ 23812 w 2971294"/>
              <a:gd name="connsiteY77" fmla="*/ 2238375 h 2305041"/>
              <a:gd name="connsiteX78" fmla="*/ 14287 w 2971294"/>
              <a:gd name="connsiteY78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1122362 w 2971294"/>
              <a:gd name="connsiteY21" fmla="*/ 430213 h 2305041"/>
              <a:gd name="connsiteX22" fmla="*/ 1147762 w 2971294"/>
              <a:gd name="connsiteY22" fmla="*/ 423862 h 2305041"/>
              <a:gd name="connsiteX23" fmla="*/ 1209675 w 2971294"/>
              <a:gd name="connsiteY23" fmla="*/ 414337 h 2305041"/>
              <a:gd name="connsiteX24" fmla="*/ 1238250 w 2971294"/>
              <a:gd name="connsiteY24" fmla="*/ 409575 h 2305041"/>
              <a:gd name="connsiteX25" fmla="*/ 2571750 w 2971294"/>
              <a:gd name="connsiteY25" fmla="*/ 404812 h 2305041"/>
              <a:gd name="connsiteX26" fmla="*/ 2609850 w 2971294"/>
              <a:gd name="connsiteY26" fmla="*/ 423862 h 2305041"/>
              <a:gd name="connsiteX27" fmla="*/ 2619375 w 2971294"/>
              <a:gd name="connsiteY27" fmla="*/ 457200 h 2305041"/>
              <a:gd name="connsiteX28" fmla="*/ 2609850 w 2971294"/>
              <a:gd name="connsiteY28" fmla="*/ 614362 h 2305041"/>
              <a:gd name="connsiteX29" fmla="*/ 2600325 w 2971294"/>
              <a:gd name="connsiteY29" fmla="*/ 1176337 h 2305041"/>
              <a:gd name="connsiteX30" fmla="*/ 2605087 w 2971294"/>
              <a:gd name="connsiteY30" fmla="*/ 1209675 h 2305041"/>
              <a:gd name="connsiteX31" fmla="*/ 2608262 w 2971294"/>
              <a:gd name="connsiteY31" fmla="*/ 1514475 h 2305041"/>
              <a:gd name="connsiteX32" fmla="*/ 2614612 w 2971294"/>
              <a:gd name="connsiteY32" fmla="*/ 2066925 h 2305041"/>
              <a:gd name="connsiteX33" fmla="*/ 2616200 w 2971294"/>
              <a:gd name="connsiteY33" fmla="*/ 2203450 h 2305041"/>
              <a:gd name="connsiteX34" fmla="*/ 2624137 w 2971294"/>
              <a:gd name="connsiteY34" fmla="*/ 2292350 h 2305041"/>
              <a:gd name="connsiteX35" fmla="*/ 2851150 w 2971294"/>
              <a:gd name="connsiteY35" fmla="*/ 2303462 h 2305041"/>
              <a:gd name="connsiteX36" fmla="*/ 2967037 w 2971294"/>
              <a:gd name="connsiteY36" fmla="*/ 2282825 h 2305041"/>
              <a:gd name="connsiteX37" fmla="*/ 2947987 w 2971294"/>
              <a:gd name="connsiteY37" fmla="*/ 2181225 h 2305041"/>
              <a:gd name="connsiteX38" fmla="*/ 2955925 w 2971294"/>
              <a:gd name="connsiteY38" fmla="*/ 2008187 h 2305041"/>
              <a:gd name="connsiteX39" fmla="*/ 2962275 w 2971294"/>
              <a:gd name="connsiteY39" fmla="*/ 1804987 h 2305041"/>
              <a:gd name="connsiteX40" fmla="*/ 2952750 w 2971294"/>
              <a:gd name="connsiteY40" fmla="*/ 1366837 h 2305041"/>
              <a:gd name="connsiteX41" fmla="*/ 2947987 w 2971294"/>
              <a:gd name="connsiteY41" fmla="*/ 1081087 h 2305041"/>
              <a:gd name="connsiteX42" fmla="*/ 2947987 w 2971294"/>
              <a:gd name="connsiteY42" fmla="*/ 922337 h 2305041"/>
              <a:gd name="connsiteX43" fmla="*/ 2952750 w 2971294"/>
              <a:gd name="connsiteY43" fmla="*/ 571500 h 2305041"/>
              <a:gd name="connsiteX44" fmla="*/ 2957512 w 2971294"/>
              <a:gd name="connsiteY44" fmla="*/ 342900 h 2305041"/>
              <a:gd name="connsiteX45" fmla="*/ 2957512 w 2971294"/>
              <a:gd name="connsiteY45" fmla="*/ 34925 h 2305041"/>
              <a:gd name="connsiteX46" fmla="*/ 2867025 w 2971294"/>
              <a:gd name="connsiteY46" fmla="*/ 19050 h 2305041"/>
              <a:gd name="connsiteX47" fmla="*/ 2724150 w 2971294"/>
              <a:gd name="connsiteY47" fmla="*/ 9525 h 2305041"/>
              <a:gd name="connsiteX48" fmla="*/ 2381250 w 2971294"/>
              <a:gd name="connsiteY48" fmla="*/ 14287 h 2305041"/>
              <a:gd name="connsiteX49" fmla="*/ 2324100 w 2971294"/>
              <a:gd name="connsiteY49" fmla="*/ 23812 h 2305041"/>
              <a:gd name="connsiteX50" fmla="*/ 1909762 w 2971294"/>
              <a:gd name="connsiteY50" fmla="*/ 19050 h 2305041"/>
              <a:gd name="connsiteX51" fmla="*/ 1804987 w 2971294"/>
              <a:gd name="connsiteY51" fmla="*/ 9525 h 2305041"/>
              <a:gd name="connsiteX52" fmla="*/ 1776412 w 2971294"/>
              <a:gd name="connsiteY52" fmla="*/ 0 h 2305041"/>
              <a:gd name="connsiteX53" fmla="*/ 1528762 w 2971294"/>
              <a:gd name="connsiteY53" fmla="*/ 4762 h 2305041"/>
              <a:gd name="connsiteX54" fmla="*/ 1143000 w 2971294"/>
              <a:gd name="connsiteY54" fmla="*/ 38100 h 2305041"/>
              <a:gd name="connsiteX55" fmla="*/ 309562 w 2971294"/>
              <a:gd name="connsiteY55" fmla="*/ 23812 h 2305041"/>
              <a:gd name="connsiteX56" fmla="*/ 247650 w 2971294"/>
              <a:gd name="connsiteY56" fmla="*/ 14287 h 2305041"/>
              <a:gd name="connsiteX57" fmla="*/ 185737 w 2971294"/>
              <a:gd name="connsiteY57" fmla="*/ 9525 h 2305041"/>
              <a:gd name="connsiteX58" fmla="*/ 19050 w 2971294"/>
              <a:gd name="connsiteY58" fmla="*/ 14287 h 2305041"/>
              <a:gd name="connsiteX59" fmla="*/ 4762 w 2971294"/>
              <a:gd name="connsiteY59" fmla="*/ 19050 h 2305041"/>
              <a:gd name="connsiteX60" fmla="*/ 9525 w 2971294"/>
              <a:gd name="connsiteY60" fmla="*/ 85725 h 2305041"/>
              <a:gd name="connsiteX61" fmla="*/ 23812 w 2971294"/>
              <a:gd name="connsiteY61" fmla="*/ 171450 h 2305041"/>
              <a:gd name="connsiteX62" fmla="*/ 14287 w 2971294"/>
              <a:gd name="connsiteY62" fmla="*/ 390525 h 2305041"/>
              <a:gd name="connsiteX63" fmla="*/ 0 w 2971294"/>
              <a:gd name="connsiteY63" fmla="*/ 466725 h 2305041"/>
              <a:gd name="connsiteX64" fmla="*/ 9525 w 2971294"/>
              <a:gd name="connsiteY64" fmla="*/ 800100 h 2305041"/>
              <a:gd name="connsiteX65" fmla="*/ 9525 w 2971294"/>
              <a:gd name="connsiteY65" fmla="*/ 871537 h 2305041"/>
              <a:gd name="connsiteX66" fmla="*/ 14287 w 2971294"/>
              <a:gd name="connsiteY66" fmla="*/ 1157287 h 2305041"/>
              <a:gd name="connsiteX67" fmla="*/ 19050 w 2971294"/>
              <a:gd name="connsiteY67" fmla="*/ 1204912 h 2305041"/>
              <a:gd name="connsiteX68" fmla="*/ 28575 w 2971294"/>
              <a:gd name="connsiteY68" fmla="*/ 1243012 h 2305041"/>
              <a:gd name="connsiteX69" fmla="*/ 33337 w 2971294"/>
              <a:gd name="connsiteY69" fmla="*/ 1328737 h 2305041"/>
              <a:gd name="connsiteX70" fmla="*/ 23812 w 2971294"/>
              <a:gd name="connsiteY70" fmla="*/ 1476375 h 2305041"/>
              <a:gd name="connsiteX71" fmla="*/ 14287 w 2971294"/>
              <a:gd name="connsiteY71" fmla="*/ 1562100 h 2305041"/>
              <a:gd name="connsiteX72" fmla="*/ 9525 w 2971294"/>
              <a:gd name="connsiteY72" fmla="*/ 1819275 h 2305041"/>
              <a:gd name="connsiteX73" fmla="*/ 14287 w 2971294"/>
              <a:gd name="connsiteY73" fmla="*/ 2014537 h 2305041"/>
              <a:gd name="connsiteX74" fmla="*/ 23812 w 2971294"/>
              <a:gd name="connsiteY74" fmla="*/ 2066925 h 2305041"/>
              <a:gd name="connsiteX75" fmla="*/ 28575 w 2971294"/>
              <a:gd name="connsiteY75" fmla="*/ 2152650 h 2305041"/>
              <a:gd name="connsiteX76" fmla="*/ 23812 w 2971294"/>
              <a:gd name="connsiteY76" fmla="*/ 2238375 h 2305041"/>
              <a:gd name="connsiteX77" fmla="*/ 14287 w 2971294"/>
              <a:gd name="connsiteY77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962025 w 2971294"/>
              <a:gd name="connsiteY20" fmla="*/ 428625 h 2305041"/>
              <a:gd name="connsiteX21" fmla="*/ 1147762 w 2971294"/>
              <a:gd name="connsiteY21" fmla="*/ 423862 h 2305041"/>
              <a:gd name="connsiteX22" fmla="*/ 1209675 w 2971294"/>
              <a:gd name="connsiteY22" fmla="*/ 414337 h 2305041"/>
              <a:gd name="connsiteX23" fmla="*/ 1238250 w 2971294"/>
              <a:gd name="connsiteY23" fmla="*/ 409575 h 2305041"/>
              <a:gd name="connsiteX24" fmla="*/ 2571750 w 2971294"/>
              <a:gd name="connsiteY24" fmla="*/ 404812 h 2305041"/>
              <a:gd name="connsiteX25" fmla="*/ 2609850 w 2971294"/>
              <a:gd name="connsiteY25" fmla="*/ 423862 h 2305041"/>
              <a:gd name="connsiteX26" fmla="*/ 2619375 w 2971294"/>
              <a:gd name="connsiteY26" fmla="*/ 457200 h 2305041"/>
              <a:gd name="connsiteX27" fmla="*/ 2609850 w 2971294"/>
              <a:gd name="connsiteY27" fmla="*/ 614362 h 2305041"/>
              <a:gd name="connsiteX28" fmla="*/ 2600325 w 2971294"/>
              <a:gd name="connsiteY28" fmla="*/ 1176337 h 2305041"/>
              <a:gd name="connsiteX29" fmla="*/ 2605087 w 2971294"/>
              <a:gd name="connsiteY29" fmla="*/ 1209675 h 2305041"/>
              <a:gd name="connsiteX30" fmla="*/ 2608262 w 2971294"/>
              <a:gd name="connsiteY30" fmla="*/ 1514475 h 2305041"/>
              <a:gd name="connsiteX31" fmla="*/ 2614612 w 2971294"/>
              <a:gd name="connsiteY31" fmla="*/ 2066925 h 2305041"/>
              <a:gd name="connsiteX32" fmla="*/ 2616200 w 2971294"/>
              <a:gd name="connsiteY32" fmla="*/ 2203450 h 2305041"/>
              <a:gd name="connsiteX33" fmla="*/ 2624137 w 2971294"/>
              <a:gd name="connsiteY33" fmla="*/ 2292350 h 2305041"/>
              <a:gd name="connsiteX34" fmla="*/ 2851150 w 2971294"/>
              <a:gd name="connsiteY34" fmla="*/ 2303462 h 2305041"/>
              <a:gd name="connsiteX35" fmla="*/ 2967037 w 2971294"/>
              <a:gd name="connsiteY35" fmla="*/ 2282825 h 2305041"/>
              <a:gd name="connsiteX36" fmla="*/ 2947987 w 2971294"/>
              <a:gd name="connsiteY36" fmla="*/ 2181225 h 2305041"/>
              <a:gd name="connsiteX37" fmla="*/ 2955925 w 2971294"/>
              <a:gd name="connsiteY37" fmla="*/ 2008187 h 2305041"/>
              <a:gd name="connsiteX38" fmla="*/ 2962275 w 2971294"/>
              <a:gd name="connsiteY38" fmla="*/ 1804987 h 2305041"/>
              <a:gd name="connsiteX39" fmla="*/ 2952750 w 2971294"/>
              <a:gd name="connsiteY39" fmla="*/ 1366837 h 2305041"/>
              <a:gd name="connsiteX40" fmla="*/ 2947987 w 2971294"/>
              <a:gd name="connsiteY40" fmla="*/ 1081087 h 2305041"/>
              <a:gd name="connsiteX41" fmla="*/ 2947987 w 2971294"/>
              <a:gd name="connsiteY41" fmla="*/ 922337 h 2305041"/>
              <a:gd name="connsiteX42" fmla="*/ 2952750 w 2971294"/>
              <a:gd name="connsiteY42" fmla="*/ 571500 h 2305041"/>
              <a:gd name="connsiteX43" fmla="*/ 2957512 w 2971294"/>
              <a:gd name="connsiteY43" fmla="*/ 342900 h 2305041"/>
              <a:gd name="connsiteX44" fmla="*/ 2957512 w 2971294"/>
              <a:gd name="connsiteY44" fmla="*/ 34925 h 2305041"/>
              <a:gd name="connsiteX45" fmla="*/ 2867025 w 2971294"/>
              <a:gd name="connsiteY45" fmla="*/ 19050 h 2305041"/>
              <a:gd name="connsiteX46" fmla="*/ 2724150 w 2971294"/>
              <a:gd name="connsiteY46" fmla="*/ 9525 h 2305041"/>
              <a:gd name="connsiteX47" fmla="*/ 2381250 w 2971294"/>
              <a:gd name="connsiteY47" fmla="*/ 14287 h 2305041"/>
              <a:gd name="connsiteX48" fmla="*/ 2324100 w 2971294"/>
              <a:gd name="connsiteY48" fmla="*/ 23812 h 2305041"/>
              <a:gd name="connsiteX49" fmla="*/ 1909762 w 2971294"/>
              <a:gd name="connsiteY49" fmla="*/ 19050 h 2305041"/>
              <a:gd name="connsiteX50" fmla="*/ 1804987 w 2971294"/>
              <a:gd name="connsiteY50" fmla="*/ 9525 h 2305041"/>
              <a:gd name="connsiteX51" fmla="*/ 1776412 w 2971294"/>
              <a:gd name="connsiteY51" fmla="*/ 0 h 2305041"/>
              <a:gd name="connsiteX52" fmla="*/ 1528762 w 2971294"/>
              <a:gd name="connsiteY52" fmla="*/ 4762 h 2305041"/>
              <a:gd name="connsiteX53" fmla="*/ 1143000 w 2971294"/>
              <a:gd name="connsiteY53" fmla="*/ 38100 h 2305041"/>
              <a:gd name="connsiteX54" fmla="*/ 309562 w 2971294"/>
              <a:gd name="connsiteY54" fmla="*/ 23812 h 2305041"/>
              <a:gd name="connsiteX55" fmla="*/ 247650 w 2971294"/>
              <a:gd name="connsiteY55" fmla="*/ 14287 h 2305041"/>
              <a:gd name="connsiteX56" fmla="*/ 185737 w 2971294"/>
              <a:gd name="connsiteY56" fmla="*/ 9525 h 2305041"/>
              <a:gd name="connsiteX57" fmla="*/ 19050 w 2971294"/>
              <a:gd name="connsiteY57" fmla="*/ 14287 h 2305041"/>
              <a:gd name="connsiteX58" fmla="*/ 4762 w 2971294"/>
              <a:gd name="connsiteY58" fmla="*/ 19050 h 2305041"/>
              <a:gd name="connsiteX59" fmla="*/ 9525 w 2971294"/>
              <a:gd name="connsiteY59" fmla="*/ 85725 h 2305041"/>
              <a:gd name="connsiteX60" fmla="*/ 23812 w 2971294"/>
              <a:gd name="connsiteY60" fmla="*/ 171450 h 2305041"/>
              <a:gd name="connsiteX61" fmla="*/ 14287 w 2971294"/>
              <a:gd name="connsiteY61" fmla="*/ 390525 h 2305041"/>
              <a:gd name="connsiteX62" fmla="*/ 0 w 2971294"/>
              <a:gd name="connsiteY62" fmla="*/ 466725 h 2305041"/>
              <a:gd name="connsiteX63" fmla="*/ 9525 w 2971294"/>
              <a:gd name="connsiteY63" fmla="*/ 800100 h 2305041"/>
              <a:gd name="connsiteX64" fmla="*/ 9525 w 2971294"/>
              <a:gd name="connsiteY64" fmla="*/ 871537 h 2305041"/>
              <a:gd name="connsiteX65" fmla="*/ 14287 w 2971294"/>
              <a:gd name="connsiteY65" fmla="*/ 1157287 h 2305041"/>
              <a:gd name="connsiteX66" fmla="*/ 19050 w 2971294"/>
              <a:gd name="connsiteY66" fmla="*/ 1204912 h 2305041"/>
              <a:gd name="connsiteX67" fmla="*/ 28575 w 2971294"/>
              <a:gd name="connsiteY67" fmla="*/ 1243012 h 2305041"/>
              <a:gd name="connsiteX68" fmla="*/ 33337 w 2971294"/>
              <a:gd name="connsiteY68" fmla="*/ 1328737 h 2305041"/>
              <a:gd name="connsiteX69" fmla="*/ 23812 w 2971294"/>
              <a:gd name="connsiteY69" fmla="*/ 1476375 h 2305041"/>
              <a:gd name="connsiteX70" fmla="*/ 14287 w 2971294"/>
              <a:gd name="connsiteY70" fmla="*/ 1562100 h 2305041"/>
              <a:gd name="connsiteX71" fmla="*/ 9525 w 2971294"/>
              <a:gd name="connsiteY71" fmla="*/ 1819275 h 2305041"/>
              <a:gd name="connsiteX72" fmla="*/ 14287 w 2971294"/>
              <a:gd name="connsiteY72" fmla="*/ 2014537 h 2305041"/>
              <a:gd name="connsiteX73" fmla="*/ 23812 w 2971294"/>
              <a:gd name="connsiteY73" fmla="*/ 2066925 h 2305041"/>
              <a:gd name="connsiteX74" fmla="*/ 28575 w 2971294"/>
              <a:gd name="connsiteY74" fmla="*/ 2152650 h 2305041"/>
              <a:gd name="connsiteX75" fmla="*/ 23812 w 2971294"/>
              <a:gd name="connsiteY75" fmla="*/ 2238375 h 2305041"/>
              <a:gd name="connsiteX76" fmla="*/ 14287 w 2971294"/>
              <a:gd name="connsiteY76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914400 w 2971294"/>
              <a:gd name="connsiteY19" fmla="*/ 423862 h 2305041"/>
              <a:gd name="connsiteX20" fmla="*/ 1147762 w 2971294"/>
              <a:gd name="connsiteY20" fmla="*/ 423862 h 2305041"/>
              <a:gd name="connsiteX21" fmla="*/ 1209675 w 2971294"/>
              <a:gd name="connsiteY21" fmla="*/ 414337 h 2305041"/>
              <a:gd name="connsiteX22" fmla="*/ 1238250 w 2971294"/>
              <a:gd name="connsiteY22" fmla="*/ 409575 h 2305041"/>
              <a:gd name="connsiteX23" fmla="*/ 2571750 w 2971294"/>
              <a:gd name="connsiteY23" fmla="*/ 404812 h 2305041"/>
              <a:gd name="connsiteX24" fmla="*/ 2609850 w 2971294"/>
              <a:gd name="connsiteY24" fmla="*/ 423862 h 2305041"/>
              <a:gd name="connsiteX25" fmla="*/ 2619375 w 2971294"/>
              <a:gd name="connsiteY25" fmla="*/ 457200 h 2305041"/>
              <a:gd name="connsiteX26" fmla="*/ 2609850 w 2971294"/>
              <a:gd name="connsiteY26" fmla="*/ 614362 h 2305041"/>
              <a:gd name="connsiteX27" fmla="*/ 2600325 w 2971294"/>
              <a:gd name="connsiteY27" fmla="*/ 1176337 h 2305041"/>
              <a:gd name="connsiteX28" fmla="*/ 2605087 w 2971294"/>
              <a:gd name="connsiteY28" fmla="*/ 1209675 h 2305041"/>
              <a:gd name="connsiteX29" fmla="*/ 2608262 w 2971294"/>
              <a:gd name="connsiteY29" fmla="*/ 1514475 h 2305041"/>
              <a:gd name="connsiteX30" fmla="*/ 2614612 w 2971294"/>
              <a:gd name="connsiteY30" fmla="*/ 2066925 h 2305041"/>
              <a:gd name="connsiteX31" fmla="*/ 2616200 w 2971294"/>
              <a:gd name="connsiteY31" fmla="*/ 2203450 h 2305041"/>
              <a:gd name="connsiteX32" fmla="*/ 2624137 w 2971294"/>
              <a:gd name="connsiteY32" fmla="*/ 2292350 h 2305041"/>
              <a:gd name="connsiteX33" fmla="*/ 2851150 w 2971294"/>
              <a:gd name="connsiteY33" fmla="*/ 2303462 h 2305041"/>
              <a:gd name="connsiteX34" fmla="*/ 2967037 w 2971294"/>
              <a:gd name="connsiteY34" fmla="*/ 2282825 h 2305041"/>
              <a:gd name="connsiteX35" fmla="*/ 2947987 w 2971294"/>
              <a:gd name="connsiteY35" fmla="*/ 2181225 h 2305041"/>
              <a:gd name="connsiteX36" fmla="*/ 2955925 w 2971294"/>
              <a:gd name="connsiteY36" fmla="*/ 2008187 h 2305041"/>
              <a:gd name="connsiteX37" fmla="*/ 2962275 w 2971294"/>
              <a:gd name="connsiteY37" fmla="*/ 1804987 h 2305041"/>
              <a:gd name="connsiteX38" fmla="*/ 2952750 w 2971294"/>
              <a:gd name="connsiteY38" fmla="*/ 1366837 h 2305041"/>
              <a:gd name="connsiteX39" fmla="*/ 2947987 w 2971294"/>
              <a:gd name="connsiteY39" fmla="*/ 1081087 h 2305041"/>
              <a:gd name="connsiteX40" fmla="*/ 2947987 w 2971294"/>
              <a:gd name="connsiteY40" fmla="*/ 922337 h 2305041"/>
              <a:gd name="connsiteX41" fmla="*/ 2952750 w 2971294"/>
              <a:gd name="connsiteY41" fmla="*/ 571500 h 2305041"/>
              <a:gd name="connsiteX42" fmla="*/ 2957512 w 2971294"/>
              <a:gd name="connsiteY42" fmla="*/ 342900 h 2305041"/>
              <a:gd name="connsiteX43" fmla="*/ 2957512 w 2971294"/>
              <a:gd name="connsiteY43" fmla="*/ 34925 h 2305041"/>
              <a:gd name="connsiteX44" fmla="*/ 2867025 w 2971294"/>
              <a:gd name="connsiteY44" fmla="*/ 19050 h 2305041"/>
              <a:gd name="connsiteX45" fmla="*/ 2724150 w 2971294"/>
              <a:gd name="connsiteY45" fmla="*/ 9525 h 2305041"/>
              <a:gd name="connsiteX46" fmla="*/ 2381250 w 2971294"/>
              <a:gd name="connsiteY46" fmla="*/ 14287 h 2305041"/>
              <a:gd name="connsiteX47" fmla="*/ 2324100 w 2971294"/>
              <a:gd name="connsiteY47" fmla="*/ 23812 h 2305041"/>
              <a:gd name="connsiteX48" fmla="*/ 1909762 w 2971294"/>
              <a:gd name="connsiteY48" fmla="*/ 19050 h 2305041"/>
              <a:gd name="connsiteX49" fmla="*/ 1804987 w 2971294"/>
              <a:gd name="connsiteY49" fmla="*/ 9525 h 2305041"/>
              <a:gd name="connsiteX50" fmla="*/ 1776412 w 2971294"/>
              <a:gd name="connsiteY50" fmla="*/ 0 h 2305041"/>
              <a:gd name="connsiteX51" fmla="*/ 1528762 w 2971294"/>
              <a:gd name="connsiteY51" fmla="*/ 4762 h 2305041"/>
              <a:gd name="connsiteX52" fmla="*/ 1143000 w 2971294"/>
              <a:gd name="connsiteY52" fmla="*/ 38100 h 2305041"/>
              <a:gd name="connsiteX53" fmla="*/ 309562 w 2971294"/>
              <a:gd name="connsiteY53" fmla="*/ 23812 h 2305041"/>
              <a:gd name="connsiteX54" fmla="*/ 247650 w 2971294"/>
              <a:gd name="connsiteY54" fmla="*/ 14287 h 2305041"/>
              <a:gd name="connsiteX55" fmla="*/ 185737 w 2971294"/>
              <a:gd name="connsiteY55" fmla="*/ 9525 h 2305041"/>
              <a:gd name="connsiteX56" fmla="*/ 19050 w 2971294"/>
              <a:gd name="connsiteY56" fmla="*/ 14287 h 2305041"/>
              <a:gd name="connsiteX57" fmla="*/ 4762 w 2971294"/>
              <a:gd name="connsiteY57" fmla="*/ 19050 h 2305041"/>
              <a:gd name="connsiteX58" fmla="*/ 9525 w 2971294"/>
              <a:gd name="connsiteY58" fmla="*/ 85725 h 2305041"/>
              <a:gd name="connsiteX59" fmla="*/ 23812 w 2971294"/>
              <a:gd name="connsiteY59" fmla="*/ 171450 h 2305041"/>
              <a:gd name="connsiteX60" fmla="*/ 14287 w 2971294"/>
              <a:gd name="connsiteY60" fmla="*/ 390525 h 2305041"/>
              <a:gd name="connsiteX61" fmla="*/ 0 w 2971294"/>
              <a:gd name="connsiteY61" fmla="*/ 466725 h 2305041"/>
              <a:gd name="connsiteX62" fmla="*/ 9525 w 2971294"/>
              <a:gd name="connsiteY62" fmla="*/ 800100 h 2305041"/>
              <a:gd name="connsiteX63" fmla="*/ 9525 w 2971294"/>
              <a:gd name="connsiteY63" fmla="*/ 871537 h 2305041"/>
              <a:gd name="connsiteX64" fmla="*/ 14287 w 2971294"/>
              <a:gd name="connsiteY64" fmla="*/ 1157287 h 2305041"/>
              <a:gd name="connsiteX65" fmla="*/ 19050 w 2971294"/>
              <a:gd name="connsiteY65" fmla="*/ 1204912 h 2305041"/>
              <a:gd name="connsiteX66" fmla="*/ 28575 w 2971294"/>
              <a:gd name="connsiteY66" fmla="*/ 1243012 h 2305041"/>
              <a:gd name="connsiteX67" fmla="*/ 33337 w 2971294"/>
              <a:gd name="connsiteY67" fmla="*/ 1328737 h 2305041"/>
              <a:gd name="connsiteX68" fmla="*/ 23812 w 2971294"/>
              <a:gd name="connsiteY68" fmla="*/ 1476375 h 2305041"/>
              <a:gd name="connsiteX69" fmla="*/ 14287 w 2971294"/>
              <a:gd name="connsiteY69" fmla="*/ 1562100 h 2305041"/>
              <a:gd name="connsiteX70" fmla="*/ 9525 w 2971294"/>
              <a:gd name="connsiteY70" fmla="*/ 1819275 h 2305041"/>
              <a:gd name="connsiteX71" fmla="*/ 14287 w 2971294"/>
              <a:gd name="connsiteY71" fmla="*/ 2014537 h 2305041"/>
              <a:gd name="connsiteX72" fmla="*/ 23812 w 2971294"/>
              <a:gd name="connsiteY72" fmla="*/ 2066925 h 2305041"/>
              <a:gd name="connsiteX73" fmla="*/ 28575 w 2971294"/>
              <a:gd name="connsiteY73" fmla="*/ 2152650 h 2305041"/>
              <a:gd name="connsiteX74" fmla="*/ 23812 w 2971294"/>
              <a:gd name="connsiteY74" fmla="*/ 2238375 h 2305041"/>
              <a:gd name="connsiteX75" fmla="*/ 14287 w 2971294"/>
              <a:gd name="connsiteY75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1147762 w 2971294"/>
              <a:gd name="connsiteY19" fmla="*/ 423862 h 2305041"/>
              <a:gd name="connsiteX20" fmla="*/ 1209675 w 2971294"/>
              <a:gd name="connsiteY20" fmla="*/ 414337 h 2305041"/>
              <a:gd name="connsiteX21" fmla="*/ 1238250 w 2971294"/>
              <a:gd name="connsiteY21" fmla="*/ 409575 h 2305041"/>
              <a:gd name="connsiteX22" fmla="*/ 2571750 w 2971294"/>
              <a:gd name="connsiteY22" fmla="*/ 404812 h 2305041"/>
              <a:gd name="connsiteX23" fmla="*/ 2609850 w 2971294"/>
              <a:gd name="connsiteY23" fmla="*/ 423862 h 2305041"/>
              <a:gd name="connsiteX24" fmla="*/ 2619375 w 2971294"/>
              <a:gd name="connsiteY24" fmla="*/ 457200 h 2305041"/>
              <a:gd name="connsiteX25" fmla="*/ 2609850 w 2971294"/>
              <a:gd name="connsiteY25" fmla="*/ 614362 h 2305041"/>
              <a:gd name="connsiteX26" fmla="*/ 2600325 w 2971294"/>
              <a:gd name="connsiteY26" fmla="*/ 1176337 h 2305041"/>
              <a:gd name="connsiteX27" fmla="*/ 2605087 w 2971294"/>
              <a:gd name="connsiteY27" fmla="*/ 1209675 h 2305041"/>
              <a:gd name="connsiteX28" fmla="*/ 2608262 w 2971294"/>
              <a:gd name="connsiteY28" fmla="*/ 1514475 h 2305041"/>
              <a:gd name="connsiteX29" fmla="*/ 2614612 w 2971294"/>
              <a:gd name="connsiteY29" fmla="*/ 2066925 h 2305041"/>
              <a:gd name="connsiteX30" fmla="*/ 2616200 w 2971294"/>
              <a:gd name="connsiteY30" fmla="*/ 2203450 h 2305041"/>
              <a:gd name="connsiteX31" fmla="*/ 2624137 w 2971294"/>
              <a:gd name="connsiteY31" fmla="*/ 2292350 h 2305041"/>
              <a:gd name="connsiteX32" fmla="*/ 2851150 w 2971294"/>
              <a:gd name="connsiteY32" fmla="*/ 2303462 h 2305041"/>
              <a:gd name="connsiteX33" fmla="*/ 2967037 w 2971294"/>
              <a:gd name="connsiteY33" fmla="*/ 2282825 h 2305041"/>
              <a:gd name="connsiteX34" fmla="*/ 2947987 w 2971294"/>
              <a:gd name="connsiteY34" fmla="*/ 2181225 h 2305041"/>
              <a:gd name="connsiteX35" fmla="*/ 2955925 w 2971294"/>
              <a:gd name="connsiteY35" fmla="*/ 2008187 h 2305041"/>
              <a:gd name="connsiteX36" fmla="*/ 2962275 w 2971294"/>
              <a:gd name="connsiteY36" fmla="*/ 1804987 h 2305041"/>
              <a:gd name="connsiteX37" fmla="*/ 2952750 w 2971294"/>
              <a:gd name="connsiteY37" fmla="*/ 1366837 h 2305041"/>
              <a:gd name="connsiteX38" fmla="*/ 2947987 w 2971294"/>
              <a:gd name="connsiteY38" fmla="*/ 1081087 h 2305041"/>
              <a:gd name="connsiteX39" fmla="*/ 2947987 w 2971294"/>
              <a:gd name="connsiteY39" fmla="*/ 922337 h 2305041"/>
              <a:gd name="connsiteX40" fmla="*/ 2952750 w 2971294"/>
              <a:gd name="connsiteY40" fmla="*/ 571500 h 2305041"/>
              <a:gd name="connsiteX41" fmla="*/ 2957512 w 2971294"/>
              <a:gd name="connsiteY41" fmla="*/ 342900 h 2305041"/>
              <a:gd name="connsiteX42" fmla="*/ 2957512 w 2971294"/>
              <a:gd name="connsiteY42" fmla="*/ 34925 h 2305041"/>
              <a:gd name="connsiteX43" fmla="*/ 2867025 w 2971294"/>
              <a:gd name="connsiteY43" fmla="*/ 19050 h 2305041"/>
              <a:gd name="connsiteX44" fmla="*/ 2724150 w 2971294"/>
              <a:gd name="connsiteY44" fmla="*/ 9525 h 2305041"/>
              <a:gd name="connsiteX45" fmla="*/ 2381250 w 2971294"/>
              <a:gd name="connsiteY45" fmla="*/ 14287 h 2305041"/>
              <a:gd name="connsiteX46" fmla="*/ 2324100 w 2971294"/>
              <a:gd name="connsiteY46" fmla="*/ 23812 h 2305041"/>
              <a:gd name="connsiteX47" fmla="*/ 1909762 w 2971294"/>
              <a:gd name="connsiteY47" fmla="*/ 19050 h 2305041"/>
              <a:gd name="connsiteX48" fmla="*/ 1804987 w 2971294"/>
              <a:gd name="connsiteY48" fmla="*/ 9525 h 2305041"/>
              <a:gd name="connsiteX49" fmla="*/ 1776412 w 2971294"/>
              <a:gd name="connsiteY49" fmla="*/ 0 h 2305041"/>
              <a:gd name="connsiteX50" fmla="*/ 1528762 w 2971294"/>
              <a:gd name="connsiteY50" fmla="*/ 4762 h 2305041"/>
              <a:gd name="connsiteX51" fmla="*/ 1143000 w 2971294"/>
              <a:gd name="connsiteY51" fmla="*/ 38100 h 2305041"/>
              <a:gd name="connsiteX52" fmla="*/ 309562 w 2971294"/>
              <a:gd name="connsiteY52" fmla="*/ 23812 h 2305041"/>
              <a:gd name="connsiteX53" fmla="*/ 247650 w 2971294"/>
              <a:gd name="connsiteY53" fmla="*/ 14287 h 2305041"/>
              <a:gd name="connsiteX54" fmla="*/ 185737 w 2971294"/>
              <a:gd name="connsiteY54" fmla="*/ 9525 h 2305041"/>
              <a:gd name="connsiteX55" fmla="*/ 19050 w 2971294"/>
              <a:gd name="connsiteY55" fmla="*/ 14287 h 2305041"/>
              <a:gd name="connsiteX56" fmla="*/ 4762 w 2971294"/>
              <a:gd name="connsiteY56" fmla="*/ 19050 h 2305041"/>
              <a:gd name="connsiteX57" fmla="*/ 9525 w 2971294"/>
              <a:gd name="connsiteY57" fmla="*/ 85725 h 2305041"/>
              <a:gd name="connsiteX58" fmla="*/ 23812 w 2971294"/>
              <a:gd name="connsiteY58" fmla="*/ 171450 h 2305041"/>
              <a:gd name="connsiteX59" fmla="*/ 14287 w 2971294"/>
              <a:gd name="connsiteY59" fmla="*/ 390525 h 2305041"/>
              <a:gd name="connsiteX60" fmla="*/ 0 w 2971294"/>
              <a:gd name="connsiteY60" fmla="*/ 466725 h 2305041"/>
              <a:gd name="connsiteX61" fmla="*/ 9525 w 2971294"/>
              <a:gd name="connsiteY61" fmla="*/ 800100 h 2305041"/>
              <a:gd name="connsiteX62" fmla="*/ 9525 w 2971294"/>
              <a:gd name="connsiteY62" fmla="*/ 871537 h 2305041"/>
              <a:gd name="connsiteX63" fmla="*/ 14287 w 2971294"/>
              <a:gd name="connsiteY63" fmla="*/ 1157287 h 2305041"/>
              <a:gd name="connsiteX64" fmla="*/ 19050 w 2971294"/>
              <a:gd name="connsiteY64" fmla="*/ 1204912 h 2305041"/>
              <a:gd name="connsiteX65" fmla="*/ 28575 w 2971294"/>
              <a:gd name="connsiteY65" fmla="*/ 1243012 h 2305041"/>
              <a:gd name="connsiteX66" fmla="*/ 33337 w 2971294"/>
              <a:gd name="connsiteY66" fmla="*/ 1328737 h 2305041"/>
              <a:gd name="connsiteX67" fmla="*/ 23812 w 2971294"/>
              <a:gd name="connsiteY67" fmla="*/ 1476375 h 2305041"/>
              <a:gd name="connsiteX68" fmla="*/ 14287 w 2971294"/>
              <a:gd name="connsiteY68" fmla="*/ 1562100 h 2305041"/>
              <a:gd name="connsiteX69" fmla="*/ 9525 w 2971294"/>
              <a:gd name="connsiteY69" fmla="*/ 1819275 h 2305041"/>
              <a:gd name="connsiteX70" fmla="*/ 14287 w 2971294"/>
              <a:gd name="connsiteY70" fmla="*/ 2014537 h 2305041"/>
              <a:gd name="connsiteX71" fmla="*/ 23812 w 2971294"/>
              <a:gd name="connsiteY71" fmla="*/ 2066925 h 2305041"/>
              <a:gd name="connsiteX72" fmla="*/ 28575 w 2971294"/>
              <a:gd name="connsiteY72" fmla="*/ 2152650 h 2305041"/>
              <a:gd name="connsiteX73" fmla="*/ 23812 w 2971294"/>
              <a:gd name="connsiteY73" fmla="*/ 2238375 h 2305041"/>
              <a:gd name="connsiteX74" fmla="*/ 14287 w 2971294"/>
              <a:gd name="connsiteY74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523875 w 2971294"/>
              <a:gd name="connsiteY17" fmla="*/ 414337 h 2305041"/>
              <a:gd name="connsiteX18" fmla="*/ 881062 w 2971294"/>
              <a:gd name="connsiteY18" fmla="*/ 414337 h 2305041"/>
              <a:gd name="connsiteX19" fmla="*/ 1209675 w 2971294"/>
              <a:gd name="connsiteY19" fmla="*/ 414337 h 2305041"/>
              <a:gd name="connsiteX20" fmla="*/ 1238250 w 2971294"/>
              <a:gd name="connsiteY20" fmla="*/ 409575 h 2305041"/>
              <a:gd name="connsiteX21" fmla="*/ 2571750 w 2971294"/>
              <a:gd name="connsiteY21" fmla="*/ 404812 h 2305041"/>
              <a:gd name="connsiteX22" fmla="*/ 2609850 w 2971294"/>
              <a:gd name="connsiteY22" fmla="*/ 423862 h 2305041"/>
              <a:gd name="connsiteX23" fmla="*/ 2619375 w 2971294"/>
              <a:gd name="connsiteY23" fmla="*/ 457200 h 2305041"/>
              <a:gd name="connsiteX24" fmla="*/ 2609850 w 2971294"/>
              <a:gd name="connsiteY24" fmla="*/ 614362 h 2305041"/>
              <a:gd name="connsiteX25" fmla="*/ 2600325 w 2971294"/>
              <a:gd name="connsiteY25" fmla="*/ 1176337 h 2305041"/>
              <a:gd name="connsiteX26" fmla="*/ 2605087 w 2971294"/>
              <a:gd name="connsiteY26" fmla="*/ 1209675 h 2305041"/>
              <a:gd name="connsiteX27" fmla="*/ 2608262 w 2971294"/>
              <a:gd name="connsiteY27" fmla="*/ 1514475 h 2305041"/>
              <a:gd name="connsiteX28" fmla="*/ 2614612 w 2971294"/>
              <a:gd name="connsiteY28" fmla="*/ 2066925 h 2305041"/>
              <a:gd name="connsiteX29" fmla="*/ 2616200 w 2971294"/>
              <a:gd name="connsiteY29" fmla="*/ 2203450 h 2305041"/>
              <a:gd name="connsiteX30" fmla="*/ 2624137 w 2971294"/>
              <a:gd name="connsiteY30" fmla="*/ 2292350 h 2305041"/>
              <a:gd name="connsiteX31" fmla="*/ 2851150 w 2971294"/>
              <a:gd name="connsiteY31" fmla="*/ 2303462 h 2305041"/>
              <a:gd name="connsiteX32" fmla="*/ 2967037 w 2971294"/>
              <a:gd name="connsiteY32" fmla="*/ 2282825 h 2305041"/>
              <a:gd name="connsiteX33" fmla="*/ 2947987 w 2971294"/>
              <a:gd name="connsiteY33" fmla="*/ 2181225 h 2305041"/>
              <a:gd name="connsiteX34" fmla="*/ 2955925 w 2971294"/>
              <a:gd name="connsiteY34" fmla="*/ 2008187 h 2305041"/>
              <a:gd name="connsiteX35" fmla="*/ 2962275 w 2971294"/>
              <a:gd name="connsiteY35" fmla="*/ 1804987 h 2305041"/>
              <a:gd name="connsiteX36" fmla="*/ 2952750 w 2971294"/>
              <a:gd name="connsiteY36" fmla="*/ 1366837 h 2305041"/>
              <a:gd name="connsiteX37" fmla="*/ 2947987 w 2971294"/>
              <a:gd name="connsiteY37" fmla="*/ 1081087 h 2305041"/>
              <a:gd name="connsiteX38" fmla="*/ 2947987 w 2971294"/>
              <a:gd name="connsiteY38" fmla="*/ 922337 h 2305041"/>
              <a:gd name="connsiteX39" fmla="*/ 2952750 w 2971294"/>
              <a:gd name="connsiteY39" fmla="*/ 571500 h 2305041"/>
              <a:gd name="connsiteX40" fmla="*/ 2957512 w 2971294"/>
              <a:gd name="connsiteY40" fmla="*/ 342900 h 2305041"/>
              <a:gd name="connsiteX41" fmla="*/ 2957512 w 2971294"/>
              <a:gd name="connsiteY41" fmla="*/ 34925 h 2305041"/>
              <a:gd name="connsiteX42" fmla="*/ 2867025 w 2971294"/>
              <a:gd name="connsiteY42" fmla="*/ 19050 h 2305041"/>
              <a:gd name="connsiteX43" fmla="*/ 2724150 w 2971294"/>
              <a:gd name="connsiteY43" fmla="*/ 9525 h 2305041"/>
              <a:gd name="connsiteX44" fmla="*/ 2381250 w 2971294"/>
              <a:gd name="connsiteY44" fmla="*/ 14287 h 2305041"/>
              <a:gd name="connsiteX45" fmla="*/ 2324100 w 2971294"/>
              <a:gd name="connsiteY45" fmla="*/ 23812 h 2305041"/>
              <a:gd name="connsiteX46" fmla="*/ 1909762 w 2971294"/>
              <a:gd name="connsiteY46" fmla="*/ 19050 h 2305041"/>
              <a:gd name="connsiteX47" fmla="*/ 1804987 w 2971294"/>
              <a:gd name="connsiteY47" fmla="*/ 9525 h 2305041"/>
              <a:gd name="connsiteX48" fmla="*/ 1776412 w 2971294"/>
              <a:gd name="connsiteY48" fmla="*/ 0 h 2305041"/>
              <a:gd name="connsiteX49" fmla="*/ 1528762 w 2971294"/>
              <a:gd name="connsiteY49" fmla="*/ 4762 h 2305041"/>
              <a:gd name="connsiteX50" fmla="*/ 1143000 w 2971294"/>
              <a:gd name="connsiteY50" fmla="*/ 38100 h 2305041"/>
              <a:gd name="connsiteX51" fmla="*/ 309562 w 2971294"/>
              <a:gd name="connsiteY51" fmla="*/ 23812 h 2305041"/>
              <a:gd name="connsiteX52" fmla="*/ 247650 w 2971294"/>
              <a:gd name="connsiteY52" fmla="*/ 14287 h 2305041"/>
              <a:gd name="connsiteX53" fmla="*/ 185737 w 2971294"/>
              <a:gd name="connsiteY53" fmla="*/ 9525 h 2305041"/>
              <a:gd name="connsiteX54" fmla="*/ 19050 w 2971294"/>
              <a:gd name="connsiteY54" fmla="*/ 14287 h 2305041"/>
              <a:gd name="connsiteX55" fmla="*/ 4762 w 2971294"/>
              <a:gd name="connsiteY55" fmla="*/ 19050 h 2305041"/>
              <a:gd name="connsiteX56" fmla="*/ 9525 w 2971294"/>
              <a:gd name="connsiteY56" fmla="*/ 85725 h 2305041"/>
              <a:gd name="connsiteX57" fmla="*/ 23812 w 2971294"/>
              <a:gd name="connsiteY57" fmla="*/ 171450 h 2305041"/>
              <a:gd name="connsiteX58" fmla="*/ 14287 w 2971294"/>
              <a:gd name="connsiteY58" fmla="*/ 390525 h 2305041"/>
              <a:gd name="connsiteX59" fmla="*/ 0 w 2971294"/>
              <a:gd name="connsiteY59" fmla="*/ 466725 h 2305041"/>
              <a:gd name="connsiteX60" fmla="*/ 9525 w 2971294"/>
              <a:gd name="connsiteY60" fmla="*/ 800100 h 2305041"/>
              <a:gd name="connsiteX61" fmla="*/ 9525 w 2971294"/>
              <a:gd name="connsiteY61" fmla="*/ 871537 h 2305041"/>
              <a:gd name="connsiteX62" fmla="*/ 14287 w 2971294"/>
              <a:gd name="connsiteY62" fmla="*/ 1157287 h 2305041"/>
              <a:gd name="connsiteX63" fmla="*/ 19050 w 2971294"/>
              <a:gd name="connsiteY63" fmla="*/ 1204912 h 2305041"/>
              <a:gd name="connsiteX64" fmla="*/ 28575 w 2971294"/>
              <a:gd name="connsiteY64" fmla="*/ 1243012 h 2305041"/>
              <a:gd name="connsiteX65" fmla="*/ 33337 w 2971294"/>
              <a:gd name="connsiteY65" fmla="*/ 1328737 h 2305041"/>
              <a:gd name="connsiteX66" fmla="*/ 23812 w 2971294"/>
              <a:gd name="connsiteY66" fmla="*/ 1476375 h 2305041"/>
              <a:gd name="connsiteX67" fmla="*/ 14287 w 2971294"/>
              <a:gd name="connsiteY67" fmla="*/ 1562100 h 2305041"/>
              <a:gd name="connsiteX68" fmla="*/ 9525 w 2971294"/>
              <a:gd name="connsiteY68" fmla="*/ 1819275 h 2305041"/>
              <a:gd name="connsiteX69" fmla="*/ 14287 w 2971294"/>
              <a:gd name="connsiteY69" fmla="*/ 2014537 h 2305041"/>
              <a:gd name="connsiteX70" fmla="*/ 23812 w 2971294"/>
              <a:gd name="connsiteY70" fmla="*/ 2066925 h 2305041"/>
              <a:gd name="connsiteX71" fmla="*/ 28575 w 2971294"/>
              <a:gd name="connsiteY71" fmla="*/ 2152650 h 2305041"/>
              <a:gd name="connsiteX72" fmla="*/ 23812 w 2971294"/>
              <a:gd name="connsiteY72" fmla="*/ 2238375 h 2305041"/>
              <a:gd name="connsiteX73" fmla="*/ 14287 w 2971294"/>
              <a:gd name="connsiteY73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6237 w 2971294"/>
              <a:gd name="connsiteY13" fmla="*/ 519112 h 2305041"/>
              <a:gd name="connsiteX14" fmla="*/ 371475 w 2971294"/>
              <a:gd name="connsiteY14" fmla="*/ 471487 h 2305041"/>
              <a:gd name="connsiteX15" fmla="*/ 376237 w 2971294"/>
              <a:gd name="connsiteY15" fmla="*/ 414337 h 2305041"/>
              <a:gd name="connsiteX16" fmla="*/ 433387 w 2971294"/>
              <a:gd name="connsiteY16" fmla="*/ 419100 h 2305041"/>
              <a:gd name="connsiteX17" fmla="*/ 881062 w 2971294"/>
              <a:gd name="connsiteY17" fmla="*/ 414337 h 2305041"/>
              <a:gd name="connsiteX18" fmla="*/ 1209675 w 2971294"/>
              <a:gd name="connsiteY18" fmla="*/ 414337 h 2305041"/>
              <a:gd name="connsiteX19" fmla="*/ 1238250 w 2971294"/>
              <a:gd name="connsiteY19" fmla="*/ 409575 h 2305041"/>
              <a:gd name="connsiteX20" fmla="*/ 2571750 w 2971294"/>
              <a:gd name="connsiteY20" fmla="*/ 404812 h 2305041"/>
              <a:gd name="connsiteX21" fmla="*/ 2609850 w 2971294"/>
              <a:gd name="connsiteY21" fmla="*/ 423862 h 2305041"/>
              <a:gd name="connsiteX22" fmla="*/ 2619375 w 2971294"/>
              <a:gd name="connsiteY22" fmla="*/ 457200 h 2305041"/>
              <a:gd name="connsiteX23" fmla="*/ 2609850 w 2971294"/>
              <a:gd name="connsiteY23" fmla="*/ 614362 h 2305041"/>
              <a:gd name="connsiteX24" fmla="*/ 2600325 w 2971294"/>
              <a:gd name="connsiteY24" fmla="*/ 1176337 h 2305041"/>
              <a:gd name="connsiteX25" fmla="*/ 2605087 w 2971294"/>
              <a:gd name="connsiteY25" fmla="*/ 1209675 h 2305041"/>
              <a:gd name="connsiteX26" fmla="*/ 2608262 w 2971294"/>
              <a:gd name="connsiteY26" fmla="*/ 1514475 h 2305041"/>
              <a:gd name="connsiteX27" fmla="*/ 2614612 w 2971294"/>
              <a:gd name="connsiteY27" fmla="*/ 2066925 h 2305041"/>
              <a:gd name="connsiteX28" fmla="*/ 2616200 w 2971294"/>
              <a:gd name="connsiteY28" fmla="*/ 2203450 h 2305041"/>
              <a:gd name="connsiteX29" fmla="*/ 2624137 w 2971294"/>
              <a:gd name="connsiteY29" fmla="*/ 2292350 h 2305041"/>
              <a:gd name="connsiteX30" fmla="*/ 2851150 w 2971294"/>
              <a:gd name="connsiteY30" fmla="*/ 2303462 h 2305041"/>
              <a:gd name="connsiteX31" fmla="*/ 2967037 w 2971294"/>
              <a:gd name="connsiteY31" fmla="*/ 2282825 h 2305041"/>
              <a:gd name="connsiteX32" fmla="*/ 2947987 w 2971294"/>
              <a:gd name="connsiteY32" fmla="*/ 2181225 h 2305041"/>
              <a:gd name="connsiteX33" fmla="*/ 2955925 w 2971294"/>
              <a:gd name="connsiteY33" fmla="*/ 2008187 h 2305041"/>
              <a:gd name="connsiteX34" fmla="*/ 2962275 w 2971294"/>
              <a:gd name="connsiteY34" fmla="*/ 1804987 h 2305041"/>
              <a:gd name="connsiteX35" fmla="*/ 2952750 w 2971294"/>
              <a:gd name="connsiteY35" fmla="*/ 1366837 h 2305041"/>
              <a:gd name="connsiteX36" fmla="*/ 2947987 w 2971294"/>
              <a:gd name="connsiteY36" fmla="*/ 1081087 h 2305041"/>
              <a:gd name="connsiteX37" fmla="*/ 2947987 w 2971294"/>
              <a:gd name="connsiteY37" fmla="*/ 922337 h 2305041"/>
              <a:gd name="connsiteX38" fmla="*/ 2952750 w 2971294"/>
              <a:gd name="connsiteY38" fmla="*/ 571500 h 2305041"/>
              <a:gd name="connsiteX39" fmla="*/ 2957512 w 2971294"/>
              <a:gd name="connsiteY39" fmla="*/ 342900 h 2305041"/>
              <a:gd name="connsiteX40" fmla="*/ 2957512 w 2971294"/>
              <a:gd name="connsiteY40" fmla="*/ 34925 h 2305041"/>
              <a:gd name="connsiteX41" fmla="*/ 2867025 w 2971294"/>
              <a:gd name="connsiteY41" fmla="*/ 19050 h 2305041"/>
              <a:gd name="connsiteX42" fmla="*/ 2724150 w 2971294"/>
              <a:gd name="connsiteY42" fmla="*/ 9525 h 2305041"/>
              <a:gd name="connsiteX43" fmla="*/ 2381250 w 2971294"/>
              <a:gd name="connsiteY43" fmla="*/ 14287 h 2305041"/>
              <a:gd name="connsiteX44" fmla="*/ 2324100 w 2971294"/>
              <a:gd name="connsiteY44" fmla="*/ 23812 h 2305041"/>
              <a:gd name="connsiteX45" fmla="*/ 1909762 w 2971294"/>
              <a:gd name="connsiteY45" fmla="*/ 19050 h 2305041"/>
              <a:gd name="connsiteX46" fmla="*/ 1804987 w 2971294"/>
              <a:gd name="connsiteY46" fmla="*/ 9525 h 2305041"/>
              <a:gd name="connsiteX47" fmla="*/ 1776412 w 2971294"/>
              <a:gd name="connsiteY47" fmla="*/ 0 h 2305041"/>
              <a:gd name="connsiteX48" fmla="*/ 1528762 w 2971294"/>
              <a:gd name="connsiteY48" fmla="*/ 4762 h 2305041"/>
              <a:gd name="connsiteX49" fmla="*/ 1143000 w 2971294"/>
              <a:gd name="connsiteY49" fmla="*/ 38100 h 2305041"/>
              <a:gd name="connsiteX50" fmla="*/ 309562 w 2971294"/>
              <a:gd name="connsiteY50" fmla="*/ 23812 h 2305041"/>
              <a:gd name="connsiteX51" fmla="*/ 247650 w 2971294"/>
              <a:gd name="connsiteY51" fmla="*/ 14287 h 2305041"/>
              <a:gd name="connsiteX52" fmla="*/ 185737 w 2971294"/>
              <a:gd name="connsiteY52" fmla="*/ 9525 h 2305041"/>
              <a:gd name="connsiteX53" fmla="*/ 19050 w 2971294"/>
              <a:gd name="connsiteY53" fmla="*/ 14287 h 2305041"/>
              <a:gd name="connsiteX54" fmla="*/ 4762 w 2971294"/>
              <a:gd name="connsiteY54" fmla="*/ 19050 h 2305041"/>
              <a:gd name="connsiteX55" fmla="*/ 9525 w 2971294"/>
              <a:gd name="connsiteY55" fmla="*/ 85725 h 2305041"/>
              <a:gd name="connsiteX56" fmla="*/ 23812 w 2971294"/>
              <a:gd name="connsiteY56" fmla="*/ 171450 h 2305041"/>
              <a:gd name="connsiteX57" fmla="*/ 14287 w 2971294"/>
              <a:gd name="connsiteY57" fmla="*/ 390525 h 2305041"/>
              <a:gd name="connsiteX58" fmla="*/ 0 w 2971294"/>
              <a:gd name="connsiteY58" fmla="*/ 466725 h 2305041"/>
              <a:gd name="connsiteX59" fmla="*/ 9525 w 2971294"/>
              <a:gd name="connsiteY59" fmla="*/ 800100 h 2305041"/>
              <a:gd name="connsiteX60" fmla="*/ 9525 w 2971294"/>
              <a:gd name="connsiteY60" fmla="*/ 871537 h 2305041"/>
              <a:gd name="connsiteX61" fmla="*/ 14287 w 2971294"/>
              <a:gd name="connsiteY61" fmla="*/ 1157287 h 2305041"/>
              <a:gd name="connsiteX62" fmla="*/ 19050 w 2971294"/>
              <a:gd name="connsiteY62" fmla="*/ 1204912 h 2305041"/>
              <a:gd name="connsiteX63" fmla="*/ 28575 w 2971294"/>
              <a:gd name="connsiteY63" fmla="*/ 1243012 h 2305041"/>
              <a:gd name="connsiteX64" fmla="*/ 33337 w 2971294"/>
              <a:gd name="connsiteY64" fmla="*/ 1328737 h 2305041"/>
              <a:gd name="connsiteX65" fmla="*/ 23812 w 2971294"/>
              <a:gd name="connsiteY65" fmla="*/ 1476375 h 2305041"/>
              <a:gd name="connsiteX66" fmla="*/ 14287 w 2971294"/>
              <a:gd name="connsiteY66" fmla="*/ 1562100 h 2305041"/>
              <a:gd name="connsiteX67" fmla="*/ 9525 w 2971294"/>
              <a:gd name="connsiteY67" fmla="*/ 1819275 h 2305041"/>
              <a:gd name="connsiteX68" fmla="*/ 14287 w 2971294"/>
              <a:gd name="connsiteY68" fmla="*/ 2014537 h 2305041"/>
              <a:gd name="connsiteX69" fmla="*/ 23812 w 2971294"/>
              <a:gd name="connsiteY69" fmla="*/ 2066925 h 2305041"/>
              <a:gd name="connsiteX70" fmla="*/ 28575 w 2971294"/>
              <a:gd name="connsiteY70" fmla="*/ 2152650 h 2305041"/>
              <a:gd name="connsiteX71" fmla="*/ 23812 w 2971294"/>
              <a:gd name="connsiteY71" fmla="*/ 2238375 h 2305041"/>
              <a:gd name="connsiteX72" fmla="*/ 14287 w 2971294"/>
              <a:gd name="connsiteY72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81000 w 2971294"/>
              <a:gd name="connsiteY12" fmla="*/ 561975 h 2305041"/>
              <a:gd name="connsiteX13" fmla="*/ 371475 w 2971294"/>
              <a:gd name="connsiteY13" fmla="*/ 471487 h 2305041"/>
              <a:gd name="connsiteX14" fmla="*/ 376237 w 2971294"/>
              <a:gd name="connsiteY14" fmla="*/ 414337 h 2305041"/>
              <a:gd name="connsiteX15" fmla="*/ 433387 w 2971294"/>
              <a:gd name="connsiteY15" fmla="*/ 419100 h 2305041"/>
              <a:gd name="connsiteX16" fmla="*/ 881062 w 2971294"/>
              <a:gd name="connsiteY16" fmla="*/ 414337 h 2305041"/>
              <a:gd name="connsiteX17" fmla="*/ 1209675 w 2971294"/>
              <a:gd name="connsiteY17" fmla="*/ 414337 h 2305041"/>
              <a:gd name="connsiteX18" fmla="*/ 1238250 w 2971294"/>
              <a:gd name="connsiteY18" fmla="*/ 409575 h 2305041"/>
              <a:gd name="connsiteX19" fmla="*/ 2571750 w 2971294"/>
              <a:gd name="connsiteY19" fmla="*/ 404812 h 2305041"/>
              <a:gd name="connsiteX20" fmla="*/ 2609850 w 2971294"/>
              <a:gd name="connsiteY20" fmla="*/ 423862 h 2305041"/>
              <a:gd name="connsiteX21" fmla="*/ 2619375 w 2971294"/>
              <a:gd name="connsiteY21" fmla="*/ 457200 h 2305041"/>
              <a:gd name="connsiteX22" fmla="*/ 2609850 w 2971294"/>
              <a:gd name="connsiteY22" fmla="*/ 614362 h 2305041"/>
              <a:gd name="connsiteX23" fmla="*/ 2600325 w 2971294"/>
              <a:gd name="connsiteY23" fmla="*/ 1176337 h 2305041"/>
              <a:gd name="connsiteX24" fmla="*/ 2605087 w 2971294"/>
              <a:gd name="connsiteY24" fmla="*/ 1209675 h 2305041"/>
              <a:gd name="connsiteX25" fmla="*/ 2608262 w 2971294"/>
              <a:gd name="connsiteY25" fmla="*/ 1514475 h 2305041"/>
              <a:gd name="connsiteX26" fmla="*/ 2614612 w 2971294"/>
              <a:gd name="connsiteY26" fmla="*/ 2066925 h 2305041"/>
              <a:gd name="connsiteX27" fmla="*/ 2616200 w 2971294"/>
              <a:gd name="connsiteY27" fmla="*/ 2203450 h 2305041"/>
              <a:gd name="connsiteX28" fmla="*/ 2624137 w 2971294"/>
              <a:gd name="connsiteY28" fmla="*/ 2292350 h 2305041"/>
              <a:gd name="connsiteX29" fmla="*/ 2851150 w 2971294"/>
              <a:gd name="connsiteY29" fmla="*/ 2303462 h 2305041"/>
              <a:gd name="connsiteX30" fmla="*/ 2967037 w 2971294"/>
              <a:gd name="connsiteY30" fmla="*/ 2282825 h 2305041"/>
              <a:gd name="connsiteX31" fmla="*/ 2947987 w 2971294"/>
              <a:gd name="connsiteY31" fmla="*/ 2181225 h 2305041"/>
              <a:gd name="connsiteX32" fmla="*/ 2955925 w 2971294"/>
              <a:gd name="connsiteY32" fmla="*/ 2008187 h 2305041"/>
              <a:gd name="connsiteX33" fmla="*/ 2962275 w 2971294"/>
              <a:gd name="connsiteY33" fmla="*/ 1804987 h 2305041"/>
              <a:gd name="connsiteX34" fmla="*/ 2952750 w 2971294"/>
              <a:gd name="connsiteY34" fmla="*/ 1366837 h 2305041"/>
              <a:gd name="connsiteX35" fmla="*/ 2947987 w 2971294"/>
              <a:gd name="connsiteY35" fmla="*/ 1081087 h 2305041"/>
              <a:gd name="connsiteX36" fmla="*/ 2947987 w 2971294"/>
              <a:gd name="connsiteY36" fmla="*/ 922337 h 2305041"/>
              <a:gd name="connsiteX37" fmla="*/ 2952750 w 2971294"/>
              <a:gd name="connsiteY37" fmla="*/ 571500 h 2305041"/>
              <a:gd name="connsiteX38" fmla="*/ 2957512 w 2971294"/>
              <a:gd name="connsiteY38" fmla="*/ 342900 h 2305041"/>
              <a:gd name="connsiteX39" fmla="*/ 2957512 w 2971294"/>
              <a:gd name="connsiteY39" fmla="*/ 34925 h 2305041"/>
              <a:gd name="connsiteX40" fmla="*/ 2867025 w 2971294"/>
              <a:gd name="connsiteY40" fmla="*/ 19050 h 2305041"/>
              <a:gd name="connsiteX41" fmla="*/ 2724150 w 2971294"/>
              <a:gd name="connsiteY41" fmla="*/ 9525 h 2305041"/>
              <a:gd name="connsiteX42" fmla="*/ 2381250 w 2971294"/>
              <a:gd name="connsiteY42" fmla="*/ 14287 h 2305041"/>
              <a:gd name="connsiteX43" fmla="*/ 2324100 w 2971294"/>
              <a:gd name="connsiteY43" fmla="*/ 23812 h 2305041"/>
              <a:gd name="connsiteX44" fmla="*/ 1909762 w 2971294"/>
              <a:gd name="connsiteY44" fmla="*/ 19050 h 2305041"/>
              <a:gd name="connsiteX45" fmla="*/ 1804987 w 2971294"/>
              <a:gd name="connsiteY45" fmla="*/ 9525 h 2305041"/>
              <a:gd name="connsiteX46" fmla="*/ 1776412 w 2971294"/>
              <a:gd name="connsiteY46" fmla="*/ 0 h 2305041"/>
              <a:gd name="connsiteX47" fmla="*/ 1528762 w 2971294"/>
              <a:gd name="connsiteY47" fmla="*/ 4762 h 2305041"/>
              <a:gd name="connsiteX48" fmla="*/ 1143000 w 2971294"/>
              <a:gd name="connsiteY48" fmla="*/ 38100 h 2305041"/>
              <a:gd name="connsiteX49" fmla="*/ 309562 w 2971294"/>
              <a:gd name="connsiteY49" fmla="*/ 23812 h 2305041"/>
              <a:gd name="connsiteX50" fmla="*/ 247650 w 2971294"/>
              <a:gd name="connsiteY50" fmla="*/ 14287 h 2305041"/>
              <a:gd name="connsiteX51" fmla="*/ 185737 w 2971294"/>
              <a:gd name="connsiteY51" fmla="*/ 9525 h 2305041"/>
              <a:gd name="connsiteX52" fmla="*/ 19050 w 2971294"/>
              <a:gd name="connsiteY52" fmla="*/ 14287 h 2305041"/>
              <a:gd name="connsiteX53" fmla="*/ 4762 w 2971294"/>
              <a:gd name="connsiteY53" fmla="*/ 19050 h 2305041"/>
              <a:gd name="connsiteX54" fmla="*/ 9525 w 2971294"/>
              <a:gd name="connsiteY54" fmla="*/ 85725 h 2305041"/>
              <a:gd name="connsiteX55" fmla="*/ 23812 w 2971294"/>
              <a:gd name="connsiteY55" fmla="*/ 171450 h 2305041"/>
              <a:gd name="connsiteX56" fmla="*/ 14287 w 2971294"/>
              <a:gd name="connsiteY56" fmla="*/ 390525 h 2305041"/>
              <a:gd name="connsiteX57" fmla="*/ 0 w 2971294"/>
              <a:gd name="connsiteY57" fmla="*/ 466725 h 2305041"/>
              <a:gd name="connsiteX58" fmla="*/ 9525 w 2971294"/>
              <a:gd name="connsiteY58" fmla="*/ 800100 h 2305041"/>
              <a:gd name="connsiteX59" fmla="*/ 9525 w 2971294"/>
              <a:gd name="connsiteY59" fmla="*/ 871537 h 2305041"/>
              <a:gd name="connsiteX60" fmla="*/ 14287 w 2971294"/>
              <a:gd name="connsiteY60" fmla="*/ 1157287 h 2305041"/>
              <a:gd name="connsiteX61" fmla="*/ 19050 w 2971294"/>
              <a:gd name="connsiteY61" fmla="*/ 1204912 h 2305041"/>
              <a:gd name="connsiteX62" fmla="*/ 28575 w 2971294"/>
              <a:gd name="connsiteY62" fmla="*/ 1243012 h 2305041"/>
              <a:gd name="connsiteX63" fmla="*/ 33337 w 2971294"/>
              <a:gd name="connsiteY63" fmla="*/ 1328737 h 2305041"/>
              <a:gd name="connsiteX64" fmla="*/ 23812 w 2971294"/>
              <a:gd name="connsiteY64" fmla="*/ 1476375 h 2305041"/>
              <a:gd name="connsiteX65" fmla="*/ 14287 w 2971294"/>
              <a:gd name="connsiteY65" fmla="*/ 1562100 h 2305041"/>
              <a:gd name="connsiteX66" fmla="*/ 9525 w 2971294"/>
              <a:gd name="connsiteY66" fmla="*/ 1819275 h 2305041"/>
              <a:gd name="connsiteX67" fmla="*/ 14287 w 2971294"/>
              <a:gd name="connsiteY67" fmla="*/ 2014537 h 2305041"/>
              <a:gd name="connsiteX68" fmla="*/ 23812 w 2971294"/>
              <a:gd name="connsiteY68" fmla="*/ 2066925 h 2305041"/>
              <a:gd name="connsiteX69" fmla="*/ 28575 w 2971294"/>
              <a:gd name="connsiteY69" fmla="*/ 2152650 h 2305041"/>
              <a:gd name="connsiteX70" fmla="*/ 23812 w 2971294"/>
              <a:gd name="connsiteY70" fmla="*/ 2238375 h 2305041"/>
              <a:gd name="connsiteX71" fmla="*/ 14287 w 2971294"/>
              <a:gd name="connsiteY71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85762 w 2971294"/>
              <a:gd name="connsiteY11" fmla="*/ 1062037 h 2305041"/>
              <a:gd name="connsiteX12" fmla="*/ 371475 w 2971294"/>
              <a:gd name="connsiteY12" fmla="*/ 471487 h 2305041"/>
              <a:gd name="connsiteX13" fmla="*/ 376237 w 2971294"/>
              <a:gd name="connsiteY13" fmla="*/ 414337 h 2305041"/>
              <a:gd name="connsiteX14" fmla="*/ 433387 w 2971294"/>
              <a:gd name="connsiteY14" fmla="*/ 419100 h 2305041"/>
              <a:gd name="connsiteX15" fmla="*/ 881062 w 2971294"/>
              <a:gd name="connsiteY15" fmla="*/ 414337 h 2305041"/>
              <a:gd name="connsiteX16" fmla="*/ 1209675 w 2971294"/>
              <a:gd name="connsiteY16" fmla="*/ 414337 h 2305041"/>
              <a:gd name="connsiteX17" fmla="*/ 1238250 w 2971294"/>
              <a:gd name="connsiteY17" fmla="*/ 409575 h 2305041"/>
              <a:gd name="connsiteX18" fmla="*/ 2571750 w 2971294"/>
              <a:gd name="connsiteY18" fmla="*/ 404812 h 2305041"/>
              <a:gd name="connsiteX19" fmla="*/ 2609850 w 2971294"/>
              <a:gd name="connsiteY19" fmla="*/ 423862 h 2305041"/>
              <a:gd name="connsiteX20" fmla="*/ 2619375 w 2971294"/>
              <a:gd name="connsiteY20" fmla="*/ 457200 h 2305041"/>
              <a:gd name="connsiteX21" fmla="*/ 2609850 w 2971294"/>
              <a:gd name="connsiteY21" fmla="*/ 614362 h 2305041"/>
              <a:gd name="connsiteX22" fmla="*/ 2600325 w 2971294"/>
              <a:gd name="connsiteY22" fmla="*/ 1176337 h 2305041"/>
              <a:gd name="connsiteX23" fmla="*/ 2605087 w 2971294"/>
              <a:gd name="connsiteY23" fmla="*/ 1209675 h 2305041"/>
              <a:gd name="connsiteX24" fmla="*/ 2608262 w 2971294"/>
              <a:gd name="connsiteY24" fmla="*/ 1514475 h 2305041"/>
              <a:gd name="connsiteX25" fmla="*/ 2614612 w 2971294"/>
              <a:gd name="connsiteY25" fmla="*/ 2066925 h 2305041"/>
              <a:gd name="connsiteX26" fmla="*/ 2616200 w 2971294"/>
              <a:gd name="connsiteY26" fmla="*/ 2203450 h 2305041"/>
              <a:gd name="connsiteX27" fmla="*/ 2624137 w 2971294"/>
              <a:gd name="connsiteY27" fmla="*/ 2292350 h 2305041"/>
              <a:gd name="connsiteX28" fmla="*/ 2851150 w 2971294"/>
              <a:gd name="connsiteY28" fmla="*/ 2303462 h 2305041"/>
              <a:gd name="connsiteX29" fmla="*/ 2967037 w 2971294"/>
              <a:gd name="connsiteY29" fmla="*/ 2282825 h 2305041"/>
              <a:gd name="connsiteX30" fmla="*/ 2947987 w 2971294"/>
              <a:gd name="connsiteY30" fmla="*/ 2181225 h 2305041"/>
              <a:gd name="connsiteX31" fmla="*/ 2955925 w 2971294"/>
              <a:gd name="connsiteY31" fmla="*/ 2008187 h 2305041"/>
              <a:gd name="connsiteX32" fmla="*/ 2962275 w 2971294"/>
              <a:gd name="connsiteY32" fmla="*/ 1804987 h 2305041"/>
              <a:gd name="connsiteX33" fmla="*/ 2952750 w 2971294"/>
              <a:gd name="connsiteY33" fmla="*/ 1366837 h 2305041"/>
              <a:gd name="connsiteX34" fmla="*/ 2947987 w 2971294"/>
              <a:gd name="connsiteY34" fmla="*/ 1081087 h 2305041"/>
              <a:gd name="connsiteX35" fmla="*/ 2947987 w 2971294"/>
              <a:gd name="connsiteY35" fmla="*/ 922337 h 2305041"/>
              <a:gd name="connsiteX36" fmla="*/ 2952750 w 2971294"/>
              <a:gd name="connsiteY36" fmla="*/ 571500 h 2305041"/>
              <a:gd name="connsiteX37" fmla="*/ 2957512 w 2971294"/>
              <a:gd name="connsiteY37" fmla="*/ 342900 h 2305041"/>
              <a:gd name="connsiteX38" fmla="*/ 2957512 w 2971294"/>
              <a:gd name="connsiteY38" fmla="*/ 34925 h 2305041"/>
              <a:gd name="connsiteX39" fmla="*/ 2867025 w 2971294"/>
              <a:gd name="connsiteY39" fmla="*/ 19050 h 2305041"/>
              <a:gd name="connsiteX40" fmla="*/ 2724150 w 2971294"/>
              <a:gd name="connsiteY40" fmla="*/ 9525 h 2305041"/>
              <a:gd name="connsiteX41" fmla="*/ 2381250 w 2971294"/>
              <a:gd name="connsiteY41" fmla="*/ 14287 h 2305041"/>
              <a:gd name="connsiteX42" fmla="*/ 2324100 w 2971294"/>
              <a:gd name="connsiteY42" fmla="*/ 23812 h 2305041"/>
              <a:gd name="connsiteX43" fmla="*/ 1909762 w 2971294"/>
              <a:gd name="connsiteY43" fmla="*/ 19050 h 2305041"/>
              <a:gd name="connsiteX44" fmla="*/ 1804987 w 2971294"/>
              <a:gd name="connsiteY44" fmla="*/ 9525 h 2305041"/>
              <a:gd name="connsiteX45" fmla="*/ 1776412 w 2971294"/>
              <a:gd name="connsiteY45" fmla="*/ 0 h 2305041"/>
              <a:gd name="connsiteX46" fmla="*/ 1528762 w 2971294"/>
              <a:gd name="connsiteY46" fmla="*/ 4762 h 2305041"/>
              <a:gd name="connsiteX47" fmla="*/ 1143000 w 2971294"/>
              <a:gd name="connsiteY47" fmla="*/ 38100 h 2305041"/>
              <a:gd name="connsiteX48" fmla="*/ 309562 w 2971294"/>
              <a:gd name="connsiteY48" fmla="*/ 23812 h 2305041"/>
              <a:gd name="connsiteX49" fmla="*/ 247650 w 2971294"/>
              <a:gd name="connsiteY49" fmla="*/ 14287 h 2305041"/>
              <a:gd name="connsiteX50" fmla="*/ 185737 w 2971294"/>
              <a:gd name="connsiteY50" fmla="*/ 9525 h 2305041"/>
              <a:gd name="connsiteX51" fmla="*/ 19050 w 2971294"/>
              <a:gd name="connsiteY51" fmla="*/ 14287 h 2305041"/>
              <a:gd name="connsiteX52" fmla="*/ 4762 w 2971294"/>
              <a:gd name="connsiteY52" fmla="*/ 19050 h 2305041"/>
              <a:gd name="connsiteX53" fmla="*/ 9525 w 2971294"/>
              <a:gd name="connsiteY53" fmla="*/ 85725 h 2305041"/>
              <a:gd name="connsiteX54" fmla="*/ 23812 w 2971294"/>
              <a:gd name="connsiteY54" fmla="*/ 171450 h 2305041"/>
              <a:gd name="connsiteX55" fmla="*/ 14287 w 2971294"/>
              <a:gd name="connsiteY55" fmla="*/ 390525 h 2305041"/>
              <a:gd name="connsiteX56" fmla="*/ 0 w 2971294"/>
              <a:gd name="connsiteY56" fmla="*/ 466725 h 2305041"/>
              <a:gd name="connsiteX57" fmla="*/ 9525 w 2971294"/>
              <a:gd name="connsiteY57" fmla="*/ 800100 h 2305041"/>
              <a:gd name="connsiteX58" fmla="*/ 9525 w 2971294"/>
              <a:gd name="connsiteY58" fmla="*/ 871537 h 2305041"/>
              <a:gd name="connsiteX59" fmla="*/ 14287 w 2971294"/>
              <a:gd name="connsiteY59" fmla="*/ 1157287 h 2305041"/>
              <a:gd name="connsiteX60" fmla="*/ 19050 w 2971294"/>
              <a:gd name="connsiteY60" fmla="*/ 1204912 h 2305041"/>
              <a:gd name="connsiteX61" fmla="*/ 28575 w 2971294"/>
              <a:gd name="connsiteY61" fmla="*/ 1243012 h 2305041"/>
              <a:gd name="connsiteX62" fmla="*/ 33337 w 2971294"/>
              <a:gd name="connsiteY62" fmla="*/ 1328737 h 2305041"/>
              <a:gd name="connsiteX63" fmla="*/ 23812 w 2971294"/>
              <a:gd name="connsiteY63" fmla="*/ 1476375 h 2305041"/>
              <a:gd name="connsiteX64" fmla="*/ 14287 w 2971294"/>
              <a:gd name="connsiteY64" fmla="*/ 1562100 h 2305041"/>
              <a:gd name="connsiteX65" fmla="*/ 9525 w 2971294"/>
              <a:gd name="connsiteY65" fmla="*/ 1819275 h 2305041"/>
              <a:gd name="connsiteX66" fmla="*/ 14287 w 2971294"/>
              <a:gd name="connsiteY66" fmla="*/ 2014537 h 2305041"/>
              <a:gd name="connsiteX67" fmla="*/ 23812 w 2971294"/>
              <a:gd name="connsiteY67" fmla="*/ 2066925 h 2305041"/>
              <a:gd name="connsiteX68" fmla="*/ 28575 w 2971294"/>
              <a:gd name="connsiteY68" fmla="*/ 2152650 h 2305041"/>
              <a:gd name="connsiteX69" fmla="*/ 23812 w 2971294"/>
              <a:gd name="connsiteY69" fmla="*/ 2238375 h 2305041"/>
              <a:gd name="connsiteX70" fmla="*/ 14287 w 2971294"/>
              <a:gd name="connsiteY70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81000 w 2971294"/>
              <a:gd name="connsiteY10" fmla="*/ 1095375 h 2305041"/>
              <a:gd name="connsiteX11" fmla="*/ 371475 w 2971294"/>
              <a:gd name="connsiteY11" fmla="*/ 471487 h 2305041"/>
              <a:gd name="connsiteX12" fmla="*/ 376237 w 2971294"/>
              <a:gd name="connsiteY12" fmla="*/ 414337 h 2305041"/>
              <a:gd name="connsiteX13" fmla="*/ 433387 w 2971294"/>
              <a:gd name="connsiteY13" fmla="*/ 419100 h 2305041"/>
              <a:gd name="connsiteX14" fmla="*/ 881062 w 2971294"/>
              <a:gd name="connsiteY14" fmla="*/ 414337 h 2305041"/>
              <a:gd name="connsiteX15" fmla="*/ 1209675 w 2971294"/>
              <a:gd name="connsiteY15" fmla="*/ 414337 h 2305041"/>
              <a:gd name="connsiteX16" fmla="*/ 1238250 w 2971294"/>
              <a:gd name="connsiteY16" fmla="*/ 409575 h 2305041"/>
              <a:gd name="connsiteX17" fmla="*/ 2571750 w 2971294"/>
              <a:gd name="connsiteY17" fmla="*/ 404812 h 2305041"/>
              <a:gd name="connsiteX18" fmla="*/ 2609850 w 2971294"/>
              <a:gd name="connsiteY18" fmla="*/ 423862 h 2305041"/>
              <a:gd name="connsiteX19" fmla="*/ 2619375 w 2971294"/>
              <a:gd name="connsiteY19" fmla="*/ 457200 h 2305041"/>
              <a:gd name="connsiteX20" fmla="*/ 2609850 w 2971294"/>
              <a:gd name="connsiteY20" fmla="*/ 614362 h 2305041"/>
              <a:gd name="connsiteX21" fmla="*/ 2600325 w 2971294"/>
              <a:gd name="connsiteY21" fmla="*/ 1176337 h 2305041"/>
              <a:gd name="connsiteX22" fmla="*/ 2605087 w 2971294"/>
              <a:gd name="connsiteY22" fmla="*/ 1209675 h 2305041"/>
              <a:gd name="connsiteX23" fmla="*/ 2608262 w 2971294"/>
              <a:gd name="connsiteY23" fmla="*/ 1514475 h 2305041"/>
              <a:gd name="connsiteX24" fmla="*/ 2614612 w 2971294"/>
              <a:gd name="connsiteY24" fmla="*/ 2066925 h 2305041"/>
              <a:gd name="connsiteX25" fmla="*/ 2616200 w 2971294"/>
              <a:gd name="connsiteY25" fmla="*/ 2203450 h 2305041"/>
              <a:gd name="connsiteX26" fmla="*/ 2624137 w 2971294"/>
              <a:gd name="connsiteY26" fmla="*/ 2292350 h 2305041"/>
              <a:gd name="connsiteX27" fmla="*/ 2851150 w 2971294"/>
              <a:gd name="connsiteY27" fmla="*/ 2303462 h 2305041"/>
              <a:gd name="connsiteX28" fmla="*/ 2967037 w 2971294"/>
              <a:gd name="connsiteY28" fmla="*/ 2282825 h 2305041"/>
              <a:gd name="connsiteX29" fmla="*/ 2947987 w 2971294"/>
              <a:gd name="connsiteY29" fmla="*/ 2181225 h 2305041"/>
              <a:gd name="connsiteX30" fmla="*/ 2955925 w 2971294"/>
              <a:gd name="connsiteY30" fmla="*/ 2008187 h 2305041"/>
              <a:gd name="connsiteX31" fmla="*/ 2962275 w 2971294"/>
              <a:gd name="connsiteY31" fmla="*/ 1804987 h 2305041"/>
              <a:gd name="connsiteX32" fmla="*/ 2952750 w 2971294"/>
              <a:gd name="connsiteY32" fmla="*/ 1366837 h 2305041"/>
              <a:gd name="connsiteX33" fmla="*/ 2947987 w 2971294"/>
              <a:gd name="connsiteY33" fmla="*/ 1081087 h 2305041"/>
              <a:gd name="connsiteX34" fmla="*/ 2947987 w 2971294"/>
              <a:gd name="connsiteY34" fmla="*/ 922337 h 2305041"/>
              <a:gd name="connsiteX35" fmla="*/ 2952750 w 2971294"/>
              <a:gd name="connsiteY35" fmla="*/ 571500 h 2305041"/>
              <a:gd name="connsiteX36" fmla="*/ 2957512 w 2971294"/>
              <a:gd name="connsiteY36" fmla="*/ 342900 h 2305041"/>
              <a:gd name="connsiteX37" fmla="*/ 2957512 w 2971294"/>
              <a:gd name="connsiteY37" fmla="*/ 34925 h 2305041"/>
              <a:gd name="connsiteX38" fmla="*/ 2867025 w 2971294"/>
              <a:gd name="connsiteY38" fmla="*/ 19050 h 2305041"/>
              <a:gd name="connsiteX39" fmla="*/ 2724150 w 2971294"/>
              <a:gd name="connsiteY39" fmla="*/ 9525 h 2305041"/>
              <a:gd name="connsiteX40" fmla="*/ 2381250 w 2971294"/>
              <a:gd name="connsiteY40" fmla="*/ 14287 h 2305041"/>
              <a:gd name="connsiteX41" fmla="*/ 2324100 w 2971294"/>
              <a:gd name="connsiteY41" fmla="*/ 23812 h 2305041"/>
              <a:gd name="connsiteX42" fmla="*/ 1909762 w 2971294"/>
              <a:gd name="connsiteY42" fmla="*/ 19050 h 2305041"/>
              <a:gd name="connsiteX43" fmla="*/ 1804987 w 2971294"/>
              <a:gd name="connsiteY43" fmla="*/ 9525 h 2305041"/>
              <a:gd name="connsiteX44" fmla="*/ 1776412 w 2971294"/>
              <a:gd name="connsiteY44" fmla="*/ 0 h 2305041"/>
              <a:gd name="connsiteX45" fmla="*/ 1528762 w 2971294"/>
              <a:gd name="connsiteY45" fmla="*/ 4762 h 2305041"/>
              <a:gd name="connsiteX46" fmla="*/ 1143000 w 2971294"/>
              <a:gd name="connsiteY46" fmla="*/ 38100 h 2305041"/>
              <a:gd name="connsiteX47" fmla="*/ 309562 w 2971294"/>
              <a:gd name="connsiteY47" fmla="*/ 23812 h 2305041"/>
              <a:gd name="connsiteX48" fmla="*/ 247650 w 2971294"/>
              <a:gd name="connsiteY48" fmla="*/ 14287 h 2305041"/>
              <a:gd name="connsiteX49" fmla="*/ 185737 w 2971294"/>
              <a:gd name="connsiteY49" fmla="*/ 9525 h 2305041"/>
              <a:gd name="connsiteX50" fmla="*/ 19050 w 2971294"/>
              <a:gd name="connsiteY50" fmla="*/ 14287 h 2305041"/>
              <a:gd name="connsiteX51" fmla="*/ 4762 w 2971294"/>
              <a:gd name="connsiteY51" fmla="*/ 19050 h 2305041"/>
              <a:gd name="connsiteX52" fmla="*/ 9525 w 2971294"/>
              <a:gd name="connsiteY52" fmla="*/ 85725 h 2305041"/>
              <a:gd name="connsiteX53" fmla="*/ 23812 w 2971294"/>
              <a:gd name="connsiteY53" fmla="*/ 171450 h 2305041"/>
              <a:gd name="connsiteX54" fmla="*/ 14287 w 2971294"/>
              <a:gd name="connsiteY54" fmla="*/ 390525 h 2305041"/>
              <a:gd name="connsiteX55" fmla="*/ 0 w 2971294"/>
              <a:gd name="connsiteY55" fmla="*/ 466725 h 2305041"/>
              <a:gd name="connsiteX56" fmla="*/ 9525 w 2971294"/>
              <a:gd name="connsiteY56" fmla="*/ 800100 h 2305041"/>
              <a:gd name="connsiteX57" fmla="*/ 9525 w 2971294"/>
              <a:gd name="connsiteY57" fmla="*/ 871537 h 2305041"/>
              <a:gd name="connsiteX58" fmla="*/ 14287 w 2971294"/>
              <a:gd name="connsiteY58" fmla="*/ 1157287 h 2305041"/>
              <a:gd name="connsiteX59" fmla="*/ 19050 w 2971294"/>
              <a:gd name="connsiteY59" fmla="*/ 1204912 h 2305041"/>
              <a:gd name="connsiteX60" fmla="*/ 28575 w 2971294"/>
              <a:gd name="connsiteY60" fmla="*/ 1243012 h 2305041"/>
              <a:gd name="connsiteX61" fmla="*/ 33337 w 2971294"/>
              <a:gd name="connsiteY61" fmla="*/ 1328737 h 2305041"/>
              <a:gd name="connsiteX62" fmla="*/ 23812 w 2971294"/>
              <a:gd name="connsiteY62" fmla="*/ 1476375 h 2305041"/>
              <a:gd name="connsiteX63" fmla="*/ 14287 w 2971294"/>
              <a:gd name="connsiteY63" fmla="*/ 1562100 h 2305041"/>
              <a:gd name="connsiteX64" fmla="*/ 9525 w 2971294"/>
              <a:gd name="connsiteY64" fmla="*/ 1819275 h 2305041"/>
              <a:gd name="connsiteX65" fmla="*/ 14287 w 2971294"/>
              <a:gd name="connsiteY65" fmla="*/ 2014537 h 2305041"/>
              <a:gd name="connsiteX66" fmla="*/ 23812 w 2971294"/>
              <a:gd name="connsiteY66" fmla="*/ 2066925 h 2305041"/>
              <a:gd name="connsiteX67" fmla="*/ 28575 w 2971294"/>
              <a:gd name="connsiteY67" fmla="*/ 2152650 h 2305041"/>
              <a:gd name="connsiteX68" fmla="*/ 23812 w 2971294"/>
              <a:gd name="connsiteY68" fmla="*/ 2238375 h 2305041"/>
              <a:gd name="connsiteX69" fmla="*/ 14287 w 2971294"/>
              <a:gd name="connsiteY69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71475 w 2971294"/>
              <a:gd name="connsiteY7" fmla="*/ 1643062 h 2305041"/>
              <a:gd name="connsiteX8" fmla="*/ 366712 w 2971294"/>
              <a:gd name="connsiteY8" fmla="*/ 1585912 h 2305041"/>
              <a:gd name="connsiteX9" fmla="*/ 376237 w 2971294"/>
              <a:gd name="connsiteY9" fmla="*/ 1123950 h 2305041"/>
              <a:gd name="connsiteX10" fmla="*/ 371475 w 2971294"/>
              <a:gd name="connsiteY10" fmla="*/ 471487 h 2305041"/>
              <a:gd name="connsiteX11" fmla="*/ 376237 w 2971294"/>
              <a:gd name="connsiteY11" fmla="*/ 414337 h 2305041"/>
              <a:gd name="connsiteX12" fmla="*/ 433387 w 2971294"/>
              <a:gd name="connsiteY12" fmla="*/ 419100 h 2305041"/>
              <a:gd name="connsiteX13" fmla="*/ 881062 w 2971294"/>
              <a:gd name="connsiteY13" fmla="*/ 414337 h 2305041"/>
              <a:gd name="connsiteX14" fmla="*/ 1209675 w 2971294"/>
              <a:gd name="connsiteY14" fmla="*/ 414337 h 2305041"/>
              <a:gd name="connsiteX15" fmla="*/ 1238250 w 2971294"/>
              <a:gd name="connsiteY15" fmla="*/ 409575 h 2305041"/>
              <a:gd name="connsiteX16" fmla="*/ 2571750 w 2971294"/>
              <a:gd name="connsiteY16" fmla="*/ 404812 h 2305041"/>
              <a:gd name="connsiteX17" fmla="*/ 2609850 w 2971294"/>
              <a:gd name="connsiteY17" fmla="*/ 423862 h 2305041"/>
              <a:gd name="connsiteX18" fmla="*/ 2619375 w 2971294"/>
              <a:gd name="connsiteY18" fmla="*/ 457200 h 2305041"/>
              <a:gd name="connsiteX19" fmla="*/ 2609850 w 2971294"/>
              <a:gd name="connsiteY19" fmla="*/ 614362 h 2305041"/>
              <a:gd name="connsiteX20" fmla="*/ 2600325 w 2971294"/>
              <a:gd name="connsiteY20" fmla="*/ 1176337 h 2305041"/>
              <a:gd name="connsiteX21" fmla="*/ 2605087 w 2971294"/>
              <a:gd name="connsiteY21" fmla="*/ 1209675 h 2305041"/>
              <a:gd name="connsiteX22" fmla="*/ 2608262 w 2971294"/>
              <a:gd name="connsiteY22" fmla="*/ 1514475 h 2305041"/>
              <a:gd name="connsiteX23" fmla="*/ 2614612 w 2971294"/>
              <a:gd name="connsiteY23" fmla="*/ 2066925 h 2305041"/>
              <a:gd name="connsiteX24" fmla="*/ 2616200 w 2971294"/>
              <a:gd name="connsiteY24" fmla="*/ 2203450 h 2305041"/>
              <a:gd name="connsiteX25" fmla="*/ 2624137 w 2971294"/>
              <a:gd name="connsiteY25" fmla="*/ 2292350 h 2305041"/>
              <a:gd name="connsiteX26" fmla="*/ 2851150 w 2971294"/>
              <a:gd name="connsiteY26" fmla="*/ 2303462 h 2305041"/>
              <a:gd name="connsiteX27" fmla="*/ 2967037 w 2971294"/>
              <a:gd name="connsiteY27" fmla="*/ 2282825 h 2305041"/>
              <a:gd name="connsiteX28" fmla="*/ 2947987 w 2971294"/>
              <a:gd name="connsiteY28" fmla="*/ 2181225 h 2305041"/>
              <a:gd name="connsiteX29" fmla="*/ 2955925 w 2971294"/>
              <a:gd name="connsiteY29" fmla="*/ 2008187 h 2305041"/>
              <a:gd name="connsiteX30" fmla="*/ 2962275 w 2971294"/>
              <a:gd name="connsiteY30" fmla="*/ 1804987 h 2305041"/>
              <a:gd name="connsiteX31" fmla="*/ 2952750 w 2971294"/>
              <a:gd name="connsiteY31" fmla="*/ 1366837 h 2305041"/>
              <a:gd name="connsiteX32" fmla="*/ 2947987 w 2971294"/>
              <a:gd name="connsiteY32" fmla="*/ 1081087 h 2305041"/>
              <a:gd name="connsiteX33" fmla="*/ 2947987 w 2971294"/>
              <a:gd name="connsiteY33" fmla="*/ 922337 h 2305041"/>
              <a:gd name="connsiteX34" fmla="*/ 2952750 w 2971294"/>
              <a:gd name="connsiteY34" fmla="*/ 571500 h 2305041"/>
              <a:gd name="connsiteX35" fmla="*/ 2957512 w 2971294"/>
              <a:gd name="connsiteY35" fmla="*/ 342900 h 2305041"/>
              <a:gd name="connsiteX36" fmla="*/ 2957512 w 2971294"/>
              <a:gd name="connsiteY36" fmla="*/ 34925 h 2305041"/>
              <a:gd name="connsiteX37" fmla="*/ 2867025 w 2971294"/>
              <a:gd name="connsiteY37" fmla="*/ 19050 h 2305041"/>
              <a:gd name="connsiteX38" fmla="*/ 2724150 w 2971294"/>
              <a:gd name="connsiteY38" fmla="*/ 9525 h 2305041"/>
              <a:gd name="connsiteX39" fmla="*/ 2381250 w 2971294"/>
              <a:gd name="connsiteY39" fmla="*/ 14287 h 2305041"/>
              <a:gd name="connsiteX40" fmla="*/ 2324100 w 2971294"/>
              <a:gd name="connsiteY40" fmla="*/ 23812 h 2305041"/>
              <a:gd name="connsiteX41" fmla="*/ 1909762 w 2971294"/>
              <a:gd name="connsiteY41" fmla="*/ 19050 h 2305041"/>
              <a:gd name="connsiteX42" fmla="*/ 1804987 w 2971294"/>
              <a:gd name="connsiteY42" fmla="*/ 9525 h 2305041"/>
              <a:gd name="connsiteX43" fmla="*/ 1776412 w 2971294"/>
              <a:gd name="connsiteY43" fmla="*/ 0 h 2305041"/>
              <a:gd name="connsiteX44" fmla="*/ 1528762 w 2971294"/>
              <a:gd name="connsiteY44" fmla="*/ 4762 h 2305041"/>
              <a:gd name="connsiteX45" fmla="*/ 1143000 w 2971294"/>
              <a:gd name="connsiteY45" fmla="*/ 38100 h 2305041"/>
              <a:gd name="connsiteX46" fmla="*/ 309562 w 2971294"/>
              <a:gd name="connsiteY46" fmla="*/ 23812 h 2305041"/>
              <a:gd name="connsiteX47" fmla="*/ 247650 w 2971294"/>
              <a:gd name="connsiteY47" fmla="*/ 14287 h 2305041"/>
              <a:gd name="connsiteX48" fmla="*/ 185737 w 2971294"/>
              <a:gd name="connsiteY48" fmla="*/ 9525 h 2305041"/>
              <a:gd name="connsiteX49" fmla="*/ 19050 w 2971294"/>
              <a:gd name="connsiteY49" fmla="*/ 14287 h 2305041"/>
              <a:gd name="connsiteX50" fmla="*/ 4762 w 2971294"/>
              <a:gd name="connsiteY50" fmla="*/ 19050 h 2305041"/>
              <a:gd name="connsiteX51" fmla="*/ 9525 w 2971294"/>
              <a:gd name="connsiteY51" fmla="*/ 85725 h 2305041"/>
              <a:gd name="connsiteX52" fmla="*/ 23812 w 2971294"/>
              <a:gd name="connsiteY52" fmla="*/ 171450 h 2305041"/>
              <a:gd name="connsiteX53" fmla="*/ 14287 w 2971294"/>
              <a:gd name="connsiteY53" fmla="*/ 390525 h 2305041"/>
              <a:gd name="connsiteX54" fmla="*/ 0 w 2971294"/>
              <a:gd name="connsiteY54" fmla="*/ 466725 h 2305041"/>
              <a:gd name="connsiteX55" fmla="*/ 9525 w 2971294"/>
              <a:gd name="connsiteY55" fmla="*/ 800100 h 2305041"/>
              <a:gd name="connsiteX56" fmla="*/ 9525 w 2971294"/>
              <a:gd name="connsiteY56" fmla="*/ 871537 h 2305041"/>
              <a:gd name="connsiteX57" fmla="*/ 14287 w 2971294"/>
              <a:gd name="connsiteY57" fmla="*/ 1157287 h 2305041"/>
              <a:gd name="connsiteX58" fmla="*/ 19050 w 2971294"/>
              <a:gd name="connsiteY58" fmla="*/ 1204912 h 2305041"/>
              <a:gd name="connsiteX59" fmla="*/ 28575 w 2971294"/>
              <a:gd name="connsiteY59" fmla="*/ 1243012 h 2305041"/>
              <a:gd name="connsiteX60" fmla="*/ 33337 w 2971294"/>
              <a:gd name="connsiteY60" fmla="*/ 1328737 h 2305041"/>
              <a:gd name="connsiteX61" fmla="*/ 23812 w 2971294"/>
              <a:gd name="connsiteY61" fmla="*/ 1476375 h 2305041"/>
              <a:gd name="connsiteX62" fmla="*/ 14287 w 2971294"/>
              <a:gd name="connsiteY62" fmla="*/ 1562100 h 2305041"/>
              <a:gd name="connsiteX63" fmla="*/ 9525 w 2971294"/>
              <a:gd name="connsiteY63" fmla="*/ 1819275 h 2305041"/>
              <a:gd name="connsiteX64" fmla="*/ 14287 w 2971294"/>
              <a:gd name="connsiteY64" fmla="*/ 2014537 h 2305041"/>
              <a:gd name="connsiteX65" fmla="*/ 23812 w 2971294"/>
              <a:gd name="connsiteY65" fmla="*/ 2066925 h 2305041"/>
              <a:gd name="connsiteX66" fmla="*/ 28575 w 2971294"/>
              <a:gd name="connsiteY66" fmla="*/ 2152650 h 2305041"/>
              <a:gd name="connsiteX67" fmla="*/ 23812 w 2971294"/>
              <a:gd name="connsiteY67" fmla="*/ 2238375 h 2305041"/>
              <a:gd name="connsiteX68" fmla="*/ 14287 w 2971294"/>
              <a:gd name="connsiteY68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76237 w 2971294"/>
              <a:gd name="connsiteY6" fmla="*/ 1671637 h 2305041"/>
              <a:gd name="connsiteX7" fmla="*/ 366712 w 2971294"/>
              <a:gd name="connsiteY7" fmla="*/ 1585912 h 2305041"/>
              <a:gd name="connsiteX8" fmla="*/ 376237 w 2971294"/>
              <a:gd name="connsiteY8" fmla="*/ 1123950 h 2305041"/>
              <a:gd name="connsiteX9" fmla="*/ 371475 w 2971294"/>
              <a:gd name="connsiteY9" fmla="*/ 471487 h 2305041"/>
              <a:gd name="connsiteX10" fmla="*/ 376237 w 2971294"/>
              <a:gd name="connsiteY10" fmla="*/ 414337 h 2305041"/>
              <a:gd name="connsiteX11" fmla="*/ 433387 w 2971294"/>
              <a:gd name="connsiteY11" fmla="*/ 419100 h 2305041"/>
              <a:gd name="connsiteX12" fmla="*/ 881062 w 2971294"/>
              <a:gd name="connsiteY12" fmla="*/ 414337 h 2305041"/>
              <a:gd name="connsiteX13" fmla="*/ 1209675 w 2971294"/>
              <a:gd name="connsiteY13" fmla="*/ 414337 h 2305041"/>
              <a:gd name="connsiteX14" fmla="*/ 1238250 w 2971294"/>
              <a:gd name="connsiteY14" fmla="*/ 409575 h 2305041"/>
              <a:gd name="connsiteX15" fmla="*/ 2571750 w 2971294"/>
              <a:gd name="connsiteY15" fmla="*/ 404812 h 2305041"/>
              <a:gd name="connsiteX16" fmla="*/ 2609850 w 2971294"/>
              <a:gd name="connsiteY16" fmla="*/ 423862 h 2305041"/>
              <a:gd name="connsiteX17" fmla="*/ 2619375 w 2971294"/>
              <a:gd name="connsiteY17" fmla="*/ 457200 h 2305041"/>
              <a:gd name="connsiteX18" fmla="*/ 2609850 w 2971294"/>
              <a:gd name="connsiteY18" fmla="*/ 614362 h 2305041"/>
              <a:gd name="connsiteX19" fmla="*/ 2600325 w 2971294"/>
              <a:gd name="connsiteY19" fmla="*/ 1176337 h 2305041"/>
              <a:gd name="connsiteX20" fmla="*/ 2605087 w 2971294"/>
              <a:gd name="connsiteY20" fmla="*/ 1209675 h 2305041"/>
              <a:gd name="connsiteX21" fmla="*/ 2608262 w 2971294"/>
              <a:gd name="connsiteY21" fmla="*/ 1514475 h 2305041"/>
              <a:gd name="connsiteX22" fmla="*/ 2614612 w 2971294"/>
              <a:gd name="connsiteY22" fmla="*/ 2066925 h 2305041"/>
              <a:gd name="connsiteX23" fmla="*/ 2616200 w 2971294"/>
              <a:gd name="connsiteY23" fmla="*/ 2203450 h 2305041"/>
              <a:gd name="connsiteX24" fmla="*/ 2624137 w 2971294"/>
              <a:gd name="connsiteY24" fmla="*/ 2292350 h 2305041"/>
              <a:gd name="connsiteX25" fmla="*/ 2851150 w 2971294"/>
              <a:gd name="connsiteY25" fmla="*/ 2303462 h 2305041"/>
              <a:gd name="connsiteX26" fmla="*/ 2967037 w 2971294"/>
              <a:gd name="connsiteY26" fmla="*/ 2282825 h 2305041"/>
              <a:gd name="connsiteX27" fmla="*/ 2947987 w 2971294"/>
              <a:gd name="connsiteY27" fmla="*/ 2181225 h 2305041"/>
              <a:gd name="connsiteX28" fmla="*/ 2955925 w 2971294"/>
              <a:gd name="connsiteY28" fmla="*/ 2008187 h 2305041"/>
              <a:gd name="connsiteX29" fmla="*/ 2962275 w 2971294"/>
              <a:gd name="connsiteY29" fmla="*/ 1804987 h 2305041"/>
              <a:gd name="connsiteX30" fmla="*/ 2952750 w 2971294"/>
              <a:gd name="connsiteY30" fmla="*/ 1366837 h 2305041"/>
              <a:gd name="connsiteX31" fmla="*/ 2947987 w 2971294"/>
              <a:gd name="connsiteY31" fmla="*/ 1081087 h 2305041"/>
              <a:gd name="connsiteX32" fmla="*/ 2947987 w 2971294"/>
              <a:gd name="connsiteY32" fmla="*/ 922337 h 2305041"/>
              <a:gd name="connsiteX33" fmla="*/ 2952750 w 2971294"/>
              <a:gd name="connsiteY33" fmla="*/ 571500 h 2305041"/>
              <a:gd name="connsiteX34" fmla="*/ 2957512 w 2971294"/>
              <a:gd name="connsiteY34" fmla="*/ 342900 h 2305041"/>
              <a:gd name="connsiteX35" fmla="*/ 2957512 w 2971294"/>
              <a:gd name="connsiteY35" fmla="*/ 34925 h 2305041"/>
              <a:gd name="connsiteX36" fmla="*/ 2867025 w 2971294"/>
              <a:gd name="connsiteY36" fmla="*/ 19050 h 2305041"/>
              <a:gd name="connsiteX37" fmla="*/ 2724150 w 2971294"/>
              <a:gd name="connsiteY37" fmla="*/ 9525 h 2305041"/>
              <a:gd name="connsiteX38" fmla="*/ 2381250 w 2971294"/>
              <a:gd name="connsiteY38" fmla="*/ 14287 h 2305041"/>
              <a:gd name="connsiteX39" fmla="*/ 2324100 w 2971294"/>
              <a:gd name="connsiteY39" fmla="*/ 23812 h 2305041"/>
              <a:gd name="connsiteX40" fmla="*/ 1909762 w 2971294"/>
              <a:gd name="connsiteY40" fmla="*/ 19050 h 2305041"/>
              <a:gd name="connsiteX41" fmla="*/ 1804987 w 2971294"/>
              <a:gd name="connsiteY41" fmla="*/ 9525 h 2305041"/>
              <a:gd name="connsiteX42" fmla="*/ 1776412 w 2971294"/>
              <a:gd name="connsiteY42" fmla="*/ 0 h 2305041"/>
              <a:gd name="connsiteX43" fmla="*/ 1528762 w 2971294"/>
              <a:gd name="connsiteY43" fmla="*/ 4762 h 2305041"/>
              <a:gd name="connsiteX44" fmla="*/ 1143000 w 2971294"/>
              <a:gd name="connsiteY44" fmla="*/ 38100 h 2305041"/>
              <a:gd name="connsiteX45" fmla="*/ 309562 w 2971294"/>
              <a:gd name="connsiteY45" fmla="*/ 23812 h 2305041"/>
              <a:gd name="connsiteX46" fmla="*/ 247650 w 2971294"/>
              <a:gd name="connsiteY46" fmla="*/ 14287 h 2305041"/>
              <a:gd name="connsiteX47" fmla="*/ 185737 w 2971294"/>
              <a:gd name="connsiteY47" fmla="*/ 9525 h 2305041"/>
              <a:gd name="connsiteX48" fmla="*/ 19050 w 2971294"/>
              <a:gd name="connsiteY48" fmla="*/ 14287 h 2305041"/>
              <a:gd name="connsiteX49" fmla="*/ 4762 w 2971294"/>
              <a:gd name="connsiteY49" fmla="*/ 19050 h 2305041"/>
              <a:gd name="connsiteX50" fmla="*/ 9525 w 2971294"/>
              <a:gd name="connsiteY50" fmla="*/ 85725 h 2305041"/>
              <a:gd name="connsiteX51" fmla="*/ 23812 w 2971294"/>
              <a:gd name="connsiteY51" fmla="*/ 171450 h 2305041"/>
              <a:gd name="connsiteX52" fmla="*/ 14287 w 2971294"/>
              <a:gd name="connsiteY52" fmla="*/ 390525 h 2305041"/>
              <a:gd name="connsiteX53" fmla="*/ 0 w 2971294"/>
              <a:gd name="connsiteY53" fmla="*/ 466725 h 2305041"/>
              <a:gd name="connsiteX54" fmla="*/ 9525 w 2971294"/>
              <a:gd name="connsiteY54" fmla="*/ 800100 h 2305041"/>
              <a:gd name="connsiteX55" fmla="*/ 9525 w 2971294"/>
              <a:gd name="connsiteY55" fmla="*/ 871537 h 2305041"/>
              <a:gd name="connsiteX56" fmla="*/ 14287 w 2971294"/>
              <a:gd name="connsiteY56" fmla="*/ 1157287 h 2305041"/>
              <a:gd name="connsiteX57" fmla="*/ 19050 w 2971294"/>
              <a:gd name="connsiteY57" fmla="*/ 1204912 h 2305041"/>
              <a:gd name="connsiteX58" fmla="*/ 28575 w 2971294"/>
              <a:gd name="connsiteY58" fmla="*/ 1243012 h 2305041"/>
              <a:gd name="connsiteX59" fmla="*/ 33337 w 2971294"/>
              <a:gd name="connsiteY59" fmla="*/ 1328737 h 2305041"/>
              <a:gd name="connsiteX60" fmla="*/ 23812 w 2971294"/>
              <a:gd name="connsiteY60" fmla="*/ 1476375 h 2305041"/>
              <a:gd name="connsiteX61" fmla="*/ 14287 w 2971294"/>
              <a:gd name="connsiteY61" fmla="*/ 1562100 h 2305041"/>
              <a:gd name="connsiteX62" fmla="*/ 9525 w 2971294"/>
              <a:gd name="connsiteY62" fmla="*/ 1819275 h 2305041"/>
              <a:gd name="connsiteX63" fmla="*/ 14287 w 2971294"/>
              <a:gd name="connsiteY63" fmla="*/ 2014537 h 2305041"/>
              <a:gd name="connsiteX64" fmla="*/ 23812 w 2971294"/>
              <a:gd name="connsiteY64" fmla="*/ 2066925 h 2305041"/>
              <a:gd name="connsiteX65" fmla="*/ 28575 w 2971294"/>
              <a:gd name="connsiteY65" fmla="*/ 2152650 h 2305041"/>
              <a:gd name="connsiteX66" fmla="*/ 23812 w 2971294"/>
              <a:gd name="connsiteY66" fmla="*/ 2238375 h 2305041"/>
              <a:gd name="connsiteX67" fmla="*/ 14287 w 2971294"/>
              <a:gd name="connsiteY67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81000 w 2971294"/>
              <a:gd name="connsiteY5" fmla="*/ 1985962 h 2305041"/>
              <a:gd name="connsiteX6" fmla="*/ 366712 w 2971294"/>
              <a:gd name="connsiteY6" fmla="*/ 1585912 h 2305041"/>
              <a:gd name="connsiteX7" fmla="*/ 376237 w 2971294"/>
              <a:gd name="connsiteY7" fmla="*/ 1123950 h 2305041"/>
              <a:gd name="connsiteX8" fmla="*/ 371475 w 2971294"/>
              <a:gd name="connsiteY8" fmla="*/ 471487 h 2305041"/>
              <a:gd name="connsiteX9" fmla="*/ 376237 w 2971294"/>
              <a:gd name="connsiteY9" fmla="*/ 414337 h 2305041"/>
              <a:gd name="connsiteX10" fmla="*/ 433387 w 2971294"/>
              <a:gd name="connsiteY10" fmla="*/ 419100 h 2305041"/>
              <a:gd name="connsiteX11" fmla="*/ 881062 w 2971294"/>
              <a:gd name="connsiteY11" fmla="*/ 414337 h 2305041"/>
              <a:gd name="connsiteX12" fmla="*/ 1209675 w 2971294"/>
              <a:gd name="connsiteY12" fmla="*/ 414337 h 2305041"/>
              <a:gd name="connsiteX13" fmla="*/ 1238250 w 2971294"/>
              <a:gd name="connsiteY13" fmla="*/ 409575 h 2305041"/>
              <a:gd name="connsiteX14" fmla="*/ 2571750 w 2971294"/>
              <a:gd name="connsiteY14" fmla="*/ 404812 h 2305041"/>
              <a:gd name="connsiteX15" fmla="*/ 2609850 w 2971294"/>
              <a:gd name="connsiteY15" fmla="*/ 423862 h 2305041"/>
              <a:gd name="connsiteX16" fmla="*/ 2619375 w 2971294"/>
              <a:gd name="connsiteY16" fmla="*/ 457200 h 2305041"/>
              <a:gd name="connsiteX17" fmla="*/ 2609850 w 2971294"/>
              <a:gd name="connsiteY17" fmla="*/ 614362 h 2305041"/>
              <a:gd name="connsiteX18" fmla="*/ 2600325 w 2971294"/>
              <a:gd name="connsiteY18" fmla="*/ 1176337 h 2305041"/>
              <a:gd name="connsiteX19" fmla="*/ 2605087 w 2971294"/>
              <a:gd name="connsiteY19" fmla="*/ 1209675 h 2305041"/>
              <a:gd name="connsiteX20" fmla="*/ 2608262 w 2971294"/>
              <a:gd name="connsiteY20" fmla="*/ 1514475 h 2305041"/>
              <a:gd name="connsiteX21" fmla="*/ 2614612 w 2971294"/>
              <a:gd name="connsiteY21" fmla="*/ 2066925 h 2305041"/>
              <a:gd name="connsiteX22" fmla="*/ 2616200 w 2971294"/>
              <a:gd name="connsiteY22" fmla="*/ 2203450 h 2305041"/>
              <a:gd name="connsiteX23" fmla="*/ 2624137 w 2971294"/>
              <a:gd name="connsiteY23" fmla="*/ 2292350 h 2305041"/>
              <a:gd name="connsiteX24" fmla="*/ 2851150 w 2971294"/>
              <a:gd name="connsiteY24" fmla="*/ 2303462 h 2305041"/>
              <a:gd name="connsiteX25" fmla="*/ 2967037 w 2971294"/>
              <a:gd name="connsiteY25" fmla="*/ 2282825 h 2305041"/>
              <a:gd name="connsiteX26" fmla="*/ 2947987 w 2971294"/>
              <a:gd name="connsiteY26" fmla="*/ 2181225 h 2305041"/>
              <a:gd name="connsiteX27" fmla="*/ 2955925 w 2971294"/>
              <a:gd name="connsiteY27" fmla="*/ 2008187 h 2305041"/>
              <a:gd name="connsiteX28" fmla="*/ 2962275 w 2971294"/>
              <a:gd name="connsiteY28" fmla="*/ 1804987 h 2305041"/>
              <a:gd name="connsiteX29" fmla="*/ 2952750 w 2971294"/>
              <a:gd name="connsiteY29" fmla="*/ 1366837 h 2305041"/>
              <a:gd name="connsiteX30" fmla="*/ 2947987 w 2971294"/>
              <a:gd name="connsiteY30" fmla="*/ 1081087 h 2305041"/>
              <a:gd name="connsiteX31" fmla="*/ 2947987 w 2971294"/>
              <a:gd name="connsiteY31" fmla="*/ 922337 h 2305041"/>
              <a:gd name="connsiteX32" fmla="*/ 2952750 w 2971294"/>
              <a:gd name="connsiteY32" fmla="*/ 571500 h 2305041"/>
              <a:gd name="connsiteX33" fmla="*/ 2957512 w 2971294"/>
              <a:gd name="connsiteY33" fmla="*/ 342900 h 2305041"/>
              <a:gd name="connsiteX34" fmla="*/ 2957512 w 2971294"/>
              <a:gd name="connsiteY34" fmla="*/ 34925 h 2305041"/>
              <a:gd name="connsiteX35" fmla="*/ 2867025 w 2971294"/>
              <a:gd name="connsiteY35" fmla="*/ 19050 h 2305041"/>
              <a:gd name="connsiteX36" fmla="*/ 2724150 w 2971294"/>
              <a:gd name="connsiteY36" fmla="*/ 9525 h 2305041"/>
              <a:gd name="connsiteX37" fmla="*/ 2381250 w 2971294"/>
              <a:gd name="connsiteY37" fmla="*/ 14287 h 2305041"/>
              <a:gd name="connsiteX38" fmla="*/ 2324100 w 2971294"/>
              <a:gd name="connsiteY38" fmla="*/ 23812 h 2305041"/>
              <a:gd name="connsiteX39" fmla="*/ 1909762 w 2971294"/>
              <a:gd name="connsiteY39" fmla="*/ 19050 h 2305041"/>
              <a:gd name="connsiteX40" fmla="*/ 1804987 w 2971294"/>
              <a:gd name="connsiteY40" fmla="*/ 9525 h 2305041"/>
              <a:gd name="connsiteX41" fmla="*/ 1776412 w 2971294"/>
              <a:gd name="connsiteY41" fmla="*/ 0 h 2305041"/>
              <a:gd name="connsiteX42" fmla="*/ 1528762 w 2971294"/>
              <a:gd name="connsiteY42" fmla="*/ 4762 h 2305041"/>
              <a:gd name="connsiteX43" fmla="*/ 1143000 w 2971294"/>
              <a:gd name="connsiteY43" fmla="*/ 38100 h 2305041"/>
              <a:gd name="connsiteX44" fmla="*/ 309562 w 2971294"/>
              <a:gd name="connsiteY44" fmla="*/ 23812 h 2305041"/>
              <a:gd name="connsiteX45" fmla="*/ 247650 w 2971294"/>
              <a:gd name="connsiteY45" fmla="*/ 14287 h 2305041"/>
              <a:gd name="connsiteX46" fmla="*/ 185737 w 2971294"/>
              <a:gd name="connsiteY46" fmla="*/ 9525 h 2305041"/>
              <a:gd name="connsiteX47" fmla="*/ 19050 w 2971294"/>
              <a:gd name="connsiteY47" fmla="*/ 14287 h 2305041"/>
              <a:gd name="connsiteX48" fmla="*/ 4762 w 2971294"/>
              <a:gd name="connsiteY48" fmla="*/ 19050 h 2305041"/>
              <a:gd name="connsiteX49" fmla="*/ 9525 w 2971294"/>
              <a:gd name="connsiteY49" fmla="*/ 85725 h 2305041"/>
              <a:gd name="connsiteX50" fmla="*/ 23812 w 2971294"/>
              <a:gd name="connsiteY50" fmla="*/ 171450 h 2305041"/>
              <a:gd name="connsiteX51" fmla="*/ 14287 w 2971294"/>
              <a:gd name="connsiteY51" fmla="*/ 390525 h 2305041"/>
              <a:gd name="connsiteX52" fmla="*/ 0 w 2971294"/>
              <a:gd name="connsiteY52" fmla="*/ 466725 h 2305041"/>
              <a:gd name="connsiteX53" fmla="*/ 9525 w 2971294"/>
              <a:gd name="connsiteY53" fmla="*/ 800100 h 2305041"/>
              <a:gd name="connsiteX54" fmla="*/ 9525 w 2971294"/>
              <a:gd name="connsiteY54" fmla="*/ 871537 h 2305041"/>
              <a:gd name="connsiteX55" fmla="*/ 14287 w 2971294"/>
              <a:gd name="connsiteY55" fmla="*/ 1157287 h 2305041"/>
              <a:gd name="connsiteX56" fmla="*/ 19050 w 2971294"/>
              <a:gd name="connsiteY56" fmla="*/ 1204912 h 2305041"/>
              <a:gd name="connsiteX57" fmla="*/ 28575 w 2971294"/>
              <a:gd name="connsiteY57" fmla="*/ 1243012 h 2305041"/>
              <a:gd name="connsiteX58" fmla="*/ 33337 w 2971294"/>
              <a:gd name="connsiteY58" fmla="*/ 1328737 h 2305041"/>
              <a:gd name="connsiteX59" fmla="*/ 23812 w 2971294"/>
              <a:gd name="connsiteY59" fmla="*/ 1476375 h 2305041"/>
              <a:gd name="connsiteX60" fmla="*/ 14287 w 2971294"/>
              <a:gd name="connsiteY60" fmla="*/ 1562100 h 2305041"/>
              <a:gd name="connsiteX61" fmla="*/ 9525 w 2971294"/>
              <a:gd name="connsiteY61" fmla="*/ 1819275 h 2305041"/>
              <a:gd name="connsiteX62" fmla="*/ 14287 w 2971294"/>
              <a:gd name="connsiteY62" fmla="*/ 2014537 h 2305041"/>
              <a:gd name="connsiteX63" fmla="*/ 23812 w 2971294"/>
              <a:gd name="connsiteY63" fmla="*/ 2066925 h 2305041"/>
              <a:gd name="connsiteX64" fmla="*/ 28575 w 2971294"/>
              <a:gd name="connsiteY64" fmla="*/ 2152650 h 2305041"/>
              <a:gd name="connsiteX65" fmla="*/ 23812 w 2971294"/>
              <a:gd name="connsiteY65" fmla="*/ 2238375 h 2305041"/>
              <a:gd name="connsiteX66" fmla="*/ 14287 w 2971294"/>
              <a:gd name="connsiteY66" fmla="*/ 2300287 h 2305041"/>
              <a:gd name="connsiteX0" fmla="*/ 14287 w 2971294"/>
              <a:gd name="connsiteY0" fmla="*/ 2300287 h 2305041"/>
              <a:gd name="connsiteX1" fmla="*/ 61912 w 2971294"/>
              <a:gd name="connsiteY1" fmla="*/ 2295525 h 2305041"/>
              <a:gd name="connsiteX2" fmla="*/ 95250 w 2971294"/>
              <a:gd name="connsiteY2" fmla="*/ 2286000 h 2305041"/>
              <a:gd name="connsiteX3" fmla="*/ 366712 w 2971294"/>
              <a:gd name="connsiteY3" fmla="*/ 2271712 h 2305041"/>
              <a:gd name="connsiteX4" fmla="*/ 361950 w 2971294"/>
              <a:gd name="connsiteY4" fmla="*/ 2214562 h 2305041"/>
              <a:gd name="connsiteX5" fmla="*/ 366712 w 2971294"/>
              <a:gd name="connsiteY5" fmla="*/ 1585912 h 2305041"/>
              <a:gd name="connsiteX6" fmla="*/ 376237 w 2971294"/>
              <a:gd name="connsiteY6" fmla="*/ 1123950 h 2305041"/>
              <a:gd name="connsiteX7" fmla="*/ 371475 w 2971294"/>
              <a:gd name="connsiteY7" fmla="*/ 471487 h 2305041"/>
              <a:gd name="connsiteX8" fmla="*/ 376237 w 2971294"/>
              <a:gd name="connsiteY8" fmla="*/ 414337 h 2305041"/>
              <a:gd name="connsiteX9" fmla="*/ 433387 w 2971294"/>
              <a:gd name="connsiteY9" fmla="*/ 419100 h 2305041"/>
              <a:gd name="connsiteX10" fmla="*/ 881062 w 2971294"/>
              <a:gd name="connsiteY10" fmla="*/ 414337 h 2305041"/>
              <a:gd name="connsiteX11" fmla="*/ 1209675 w 2971294"/>
              <a:gd name="connsiteY11" fmla="*/ 414337 h 2305041"/>
              <a:gd name="connsiteX12" fmla="*/ 1238250 w 2971294"/>
              <a:gd name="connsiteY12" fmla="*/ 409575 h 2305041"/>
              <a:gd name="connsiteX13" fmla="*/ 2571750 w 2971294"/>
              <a:gd name="connsiteY13" fmla="*/ 404812 h 2305041"/>
              <a:gd name="connsiteX14" fmla="*/ 2609850 w 2971294"/>
              <a:gd name="connsiteY14" fmla="*/ 423862 h 2305041"/>
              <a:gd name="connsiteX15" fmla="*/ 2619375 w 2971294"/>
              <a:gd name="connsiteY15" fmla="*/ 457200 h 2305041"/>
              <a:gd name="connsiteX16" fmla="*/ 2609850 w 2971294"/>
              <a:gd name="connsiteY16" fmla="*/ 614362 h 2305041"/>
              <a:gd name="connsiteX17" fmla="*/ 2600325 w 2971294"/>
              <a:gd name="connsiteY17" fmla="*/ 1176337 h 2305041"/>
              <a:gd name="connsiteX18" fmla="*/ 2605087 w 2971294"/>
              <a:gd name="connsiteY18" fmla="*/ 1209675 h 2305041"/>
              <a:gd name="connsiteX19" fmla="*/ 2608262 w 2971294"/>
              <a:gd name="connsiteY19" fmla="*/ 1514475 h 2305041"/>
              <a:gd name="connsiteX20" fmla="*/ 2614612 w 2971294"/>
              <a:gd name="connsiteY20" fmla="*/ 2066925 h 2305041"/>
              <a:gd name="connsiteX21" fmla="*/ 2616200 w 2971294"/>
              <a:gd name="connsiteY21" fmla="*/ 2203450 h 2305041"/>
              <a:gd name="connsiteX22" fmla="*/ 2624137 w 2971294"/>
              <a:gd name="connsiteY22" fmla="*/ 2292350 h 2305041"/>
              <a:gd name="connsiteX23" fmla="*/ 2851150 w 2971294"/>
              <a:gd name="connsiteY23" fmla="*/ 2303462 h 2305041"/>
              <a:gd name="connsiteX24" fmla="*/ 2967037 w 2971294"/>
              <a:gd name="connsiteY24" fmla="*/ 2282825 h 2305041"/>
              <a:gd name="connsiteX25" fmla="*/ 2947987 w 2971294"/>
              <a:gd name="connsiteY25" fmla="*/ 2181225 h 2305041"/>
              <a:gd name="connsiteX26" fmla="*/ 2955925 w 2971294"/>
              <a:gd name="connsiteY26" fmla="*/ 2008187 h 2305041"/>
              <a:gd name="connsiteX27" fmla="*/ 2962275 w 2971294"/>
              <a:gd name="connsiteY27" fmla="*/ 1804987 h 2305041"/>
              <a:gd name="connsiteX28" fmla="*/ 2952750 w 2971294"/>
              <a:gd name="connsiteY28" fmla="*/ 1366837 h 2305041"/>
              <a:gd name="connsiteX29" fmla="*/ 2947987 w 2971294"/>
              <a:gd name="connsiteY29" fmla="*/ 1081087 h 2305041"/>
              <a:gd name="connsiteX30" fmla="*/ 2947987 w 2971294"/>
              <a:gd name="connsiteY30" fmla="*/ 922337 h 2305041"/>
              <a:gd name="connsiteX31" fmla="*/ 2952750 w 2971294"/>
              <a:gd name="connsiteY31" fmla="*/ 571500 h 2305041"/>
              <a:gd name="connsiteX32" fmla="*/ 2957512 w 2971294"/>
              <a:gd name="connsiteY32" fmla="*/ 342900 h 2305041"/>
              <a:gd name="connsiteX33" fmla="*/ 2957512 w 2971294"/>
              <a:gd name="connsiteY33" fmla="*/ 34925 h 2305041"/>
              <a:gd name="connsiteX34" fmla="*/ 2867025 w 2971294"/>
              <a:gd name="connsiteY34" fmla="*/ 19050 h 2305041"/>
              <a:gd name="connsiteX35" fmla="*/ 2724150 w 2971294"/>
              <a:gd name="connsiteY35" fmla="*/ 9525 h 2305041"/>
              <a:gd name="connsiteX36" fmla="*/ 2381250 w 2971294"/>
              <a:gd name="connsiteY36" fmla="*/ 14287 h 2305041"/>
              <a:gd name="connsiteX37" fmla="*/ 2324100 w 2971294"/>
              <a:gd name="connsiteY37" fmla="*/ 23812 h 2305041"/>
              <a:gd name="connsiteX38" fmla="*/ 1909762 w 2971294"/>
              <a:gd name="connsiteY38" fmla="*/ 19050 h 2305041"/>
              <a:gd name="connsiteX39" fmla="*/ 1804987 w 2971294"/>
              <a:gd name="connsiteY39" fmla="*/ 9525 h 2305041"/>
              <a:gd name="connsiteX40" fmla="*/ 1776412 w 2971294"/>
              <a:gd name="connsiteY40" fmla="*/ 0 h 2305041"/>
              <a:gd name="connsiteX41" fmla="*/ 1528762 w 2971294"/>
              <a:gd name="connsiteY41" fmla="*/ 4762 h 2305041"/>
              <a:gd name="connsiteX42" fmla="*/ 1143000 w 2971294"/>
              <a:gd name="connsiteY42" fmla="*/ 38100 h 2305041"/>
              <a:gd name="connsiteX43" fmla="*/ 309562 w 2971294"/>
              <a:gd name="connsiteY43" fmla="*/ 23812 h 2305041"/>
              <a:gd name="connsiteX44" fmla="*/ 247650 w 2971294"/>
              <a:gd name="connsiteY44" fmla="*/ 14287 h 2305041"/>
              <a:gd name="connsiteX45" fmla="*/ 185737 w 2971294"/>
              <a:gd name="connsiteY45" fmla="*/ 9525 h 2305041"/>
              <a:gd name="connsiteX46" fmla="*/ 19050 w 2971294"/>
              <a:gd name="connsiteY46" fmla="*/ 14287 h 2305041"/>
              <a:gd name="connsiteX47" fmla="*/ 4762 w 2971294"/>
              <a:gd name="connsiteY47" fmla="*/ 19050 h 2305041"/>
              <a:gd name="connsiteX48" fmla="*/ 9525 w 2971294"/>
              <a:gd name="connsiteY48" fmla="*/ 85725 h 2305041"/>
              <a:gd name="connsiteX49" fmla="*/ 23812 w 2971294"/>
              <a:gd name="connsiteY49" fmla="*/ 171450 h 2305041"/>
              <a:gd name="connsiteX50" fmla="*/ 14287 w 2971294"/>
              <a:gd name="connsiteY50" fmla="*/ 390525 h 2305041"/>
              <a:gd name="connsiteX51" fmla="*/ 0 w 2971294"/>
              <a:gd name="connsiteY51" fmla="*/ 466725 h 2305041"/>
              <a:gd name="connsiteX52" fmla="*/ 9525 w 2971294"/>
              <a:gd name="connsiteY52" fmla="*/ 800100 h 2305041"/>
              <a:gd name="connsiteX53" fmla="*/ 9525 w 2971294"/>
              <a:gd name="connsiteY53" fmla="*/ 871537 h 2305041"/>
              <a:gd name="connsiteX54" fmla="*/ 14287 w 2971294"/>
              <a:gd name="connsiteY54" fmla="*/ 1157287 h 2305041"/>
              <a:gd name="connsiteX55" fmla="*/ 19050 w 2971294"/>
              <a:gd name="connsiteY55" fmla="*/ 1204912 h 2305041"/>
              <a:gd name="connsiteX56" fmla="*/ 28575 w 2971294"/>
              <a:gd name="connsiteY56" fmla="*/ 1243012 h 2305041"/>
              <a:gd name="connsiteX57" fmla="*/ 33337 w 2971294"/>
              <a:gd name="connsiteY57" fmla="*/ 1328737 h 2305041"/>
              <a:gd name="connsiteX58" fmla="*/ 23812 w 2971294"/>
              <a:gd name="connsiteY58" fmla="*/ 1476375 h 2305041"/>
              <a:gd name="connsiteX59" fmla="*/ 14287 w 2971294"/>
              <a:gd name="connsiteY59" fmla="*/ 1562100 h 2305041"/>
              <a:gd name="connsiteX60" fmla="*/ 9525 w 2971294"/>
              <a:gd name="connsiteY60" fmla="*/ 1819275 h 2305041"/>
              <a:gd name="connsiteX61" fmla="*/ 14287 w 2971294"/>
              <a:gd name="connsiteY61" fmla="*/ 2014537 h 2305041"/>
              <a:gd name="connsiteX62" fmla="*/ 23812 w 2971294"/>
              <a:gd name="connsiteY62" fmla="*/ 2066925 h 2305041"/>
              <a:gd name="connsiteX63" fmla="*/ 28575 w 2971294"/>
              <a:gd name="connsiteY63" fmla="*/ 2152650 h 2305041"/>
              <a:gd name="connsiteX64" fmla="*/ 23812 w 2971294"/>
              <a:gd name="connsiteY64" fmla="*/ 2238375 h 2305041"/>
              <a:gd name="connsiteX65" fmla="*/ 14287 w 2971294"/>
              <a:gd name="connsiteY65" fmla="*/ 2300287 h 2305041"/>
              <a:gd name="connsiteX0" fmla="*/ 10431 w 2967438"/>
              <a:gd name="connsiteY0" fmla="*/ 2300287 h 2305041"/>
              <a:gd name="connsiteX1" fmla="*/ 58056 w 2967438"/>
              <a:gd name="connsiteY1" fmla="*/ 2295525 h 2305041"/>
              <a:gd name="connsiteX2" fmla="*/ 91394 w 2967438"/>
              <a:gd name="connsiteY2" fmla="*/ 2286000 h 2305041"/>
              <a:gd name="connsiteX3" fmla="*/ 362856 w 2967438"/>
              <a:gd name="connsiteY3" fmla="*/ 2271712 h 2305041"/>
              <a:gd name="connsiteX4" fmla="*/ 358094 w 2967438"/>
              <a:gd name="connsiteY4" fmla="*/ 2214562 h 2305041"/>
              <a:gd name="connsiteX5" fmla="*/ 362856 w 2967438"/>
              <a:gd name="connsiteY5" fmla="*/ 1585912 h 2305041"/>
              <a:gd name="connsiteX6" fmla="*/ 372381 w 2967438"/>
              <a:gd name="connsiteY6" fmla="*/ 1123950 h 2305041"/>
              <a:gd name="connsiteX7" fmla="*/ 367619 w 2967438"/>
              <a:gd name="connsiteY7" fmla="*/ 471487 h 2305041"/>
              <a:gd name="connsiteX8" fmla="*/ 372381 w 2967438"/>
              <a:gd name="connsiteY8" fmla="*/ 414337 h 2305041"/>
              <a:gd name="connsiteX9" fmla="*/ 429531 w 2967438"/>
              <a:gd name="connsiteY9" fmla="*/ 419100 h 2305041"/>
              <a:gd name="connsiteX10" fmla="*/ 877206 w 2967438"/>
              <a:gd name="connsiteY10" fmla="*/ 414337 h 2305041"/>
              <a:gd name="connsiteX11" fmla="*/ 1205819 w 2967438"/>
              <a:gd name="connsiteY11" fmla="*/ 414337 h 2305041"/>
              <a:gd name="connsiteX12" fmla="*/ 1234394 w 2967438"/>
              <a:gd name="connsiteY12" fmla="*/ 409575 h 2305041"/>
              <a:gd name="connsiteX13" fmla="*/ 2567894 w 2967438"/>
              <a:gd name="connsiteY13" fmla="*/ 404812 h 2305041"/>
              <a:gd name="connsiteX14" fmla="*/ 2605994 w 2967438"/>
              <a:gd name="connsiteY14" fmla="*/ 423862 h 2305041"/>
              <a:gd name="connsiteX15" fmla="*/ 2615519 w 2967438"/>
              <a:gd name="connsiteY15" fmla="*/ 457200 h 2305041"/>
              <a:gd name="connsiteX16" fmla="*/ 2605994 w 2967438"/>
              <a:gd name="connsiteY16" fmla="*/ 614362 h 2305041"/>
              <a:gd name="connsiteX17" fmla="*/ 2596469 w 2967438"/>
              <a:gd name="connsiteY17" fmla="*/ 1176337 h 2305041"/>
              <a:gd name="connsiteX18" fmla="*/ 2601231 w 2967438"/>
              <a:gd name="connsiteY18" fmla="*/ 1209675 h 2305041"/>
              <a:gd name="connsiteX19" fmla="*/ 2604406 w 2967438"/>
              <a:gd name="connsiteY19" fmla="*/ 1514475 h 2305041"/>
              <a:gd name="connsiteX20" fmla="*/ 2610756 w 2967438"/>
              <a:gd name="connsiteY20" fmla="*/ 2066925 h 2305041"/>
              <a:gd name="connsiteX21" fmla="*/ 2612344 w 2967438"/>
              <a:gd name="connsiteY21" fmla="*/ 2203450 h 2305041"/>
              <a:gd name="connsiteX22" fmla="*/ 2620281 w 2967438"/>
              <a:gd name="connsiteY22" fmla="*/ 2292350 h 2305041"/>
              <a:gd name="connsiteX23" fmla="*/ 2847294 w 2967438"/>
              <a:gd name="connsiteY23" fmla="*/ 2303462 h 2305041"/>
              <a:gd name="connsiteX24" fmla="*/ 2963181 w 2967438"/>
              <a:gd name="connsiteY24" fmla="*/ 2282825 h 2305041"/>
              <a:gd name="connsiteX25" fmla="*/ 2944131 w 2967438"/>
              <a:gd name="connsiteY25" fmla="*/ 2181225 h 2305041"/>
              <a:gd name="connsiteX26" fmla="*/ 2952069 w 2967438"/>
              <a:gd name="connsiteY26" fmla="*/ 2008187 h 2305041"/>
              <a:gd name="connsiteX27" fmla="*/ 2958419 w 2967438"/>
              <a:gd name="connsiteY27" fmla="*/ 1804987 h 2305041"/>
              <a:gd name="connsiteX28" fmla="*/ 2948894 w 2967438"/>
              <a:gd name="connsiteY28" fmla="*/ 1366837 h 2305041"/>
              <a:gd name="connsiteX29" fmla="*/ 2944131 w 2967438"/>
              <a:gd name="connsiteY29" fmla="*/ 1081087 h 2305041"/>
              <a:gd name="connsiteX30" fmla="*/ 2944131 w 2967438"/>
              <a:gd name="connsiteY30" fmla="*/ 922337 h 2305041"/>
              <a:gd name="connsiteX31" fmla="*/ 2948894 w 2967438"/>
              <a:gd name="connsiteY31" fmla="*/ 571500 h 2305041"/>
              <a:gd name="connsiteX32" fmla="*/ 2953656 w 2967438"/>
              <a:gd name="connsiteY32" fmla="*/ 342900 h 2305041"/>
              <a:gd name="connsiteX33" fmla="*/ 2953656 w 2967438"/>
              <a:gd name="connsiteY33" fmla="*/ 34925 h 2305041"/>
              <a:gd name="connsiteX34" fmla="*/ 2863169 w 2967438"/>
              <a:gd name="connsiteY34" fmla="*/ 19050 h 2305041"/>
              <a:gd name="connsiteX35" fmla="*/ 2720294 w 2967438"/>
              <a:gd name="connsiteY35" fmla="*/ 9525 h 2305041"/>
              <a:gd name="connsiteX36" fmla="*/ 2377394 w 2967438"/>
              <a:gd name="connsiteY36" fmla="*/ 14287 h 2305041"/>
              <a:gd name="connsiteX37" fmla="*/ 2320244 w 2967438"/>
              <a:gd name="connsiteY37" fmla="*/ 23812 h 2305041"/>
              <a:gd name="connsiteX38" fmla="*/ 1905906 w 2967438"/>
              <a:gd name="connsiteY38" fmla="*/ 19050 h 2305041"/>
              <a:gd name="connsiteX39" fmla="*/ 1801131 w 2967438"/>
              <a:gd name="connsiteY39" fmla="*/ 9525 h 2305041"/>
              <a:gd name="connsiteX40" fmla="*/ 1772556 w 2967438"/>
              <a:gd name="connsiteY40" fmla="*/ 0 h 2305041"/>
              <a:gd name="connsiteX41" fmla="*/ 1524906 w 2967438"/>
              <a:gd name="connsiteY41" fmla="*/ 4762 h 2305041"/>
              <a:gd name="connsiteX42" fmla="*/ 1139144 w 2967438"/>
              <a:gd name="connsiteY42" fmla="*/ 38100 h 2305041"/>
              <a:gd name="connsiteX43" fmla="*/ 305706 w 2967438"/>
              <a:gd name="connsiteY43" fmla="*/ 23812 h 2305041"/>
              <a:gd name="connsiteX44" fmla="*/ 243794 w 2967438"/>
              <a:gd name="connsiteY44" fmla="*/ 14287 h 2305041"/>
              <a:gd name="connsiteX45" fmla="*/ 181881 w 2967438"/>
              <a:gd name="connsiteY45" fmla="*/ 9525 h 2305041"/>
              <a:gd name="connsiteX46" fmla="*/ 15194 w 2967438"/>
              <a:gd name="connsiteY46" fmla="*/ 14287 h 2305041"/>
              <a:gd name="connsiteX47" fmla="*/ 906 w 2967438"/>
              <a:gd name="connsiteY47" fmla="*/ 19050 h 2305041"/>
              <a:gd name="connsiteX48" fmla="*/ 5669 w 2967438"/>
              <a:gd name="connsiteY48" fmla="*/ 85725 h 2305041"/>
              <a:gd name="connsiteX49" fmla="*/ 19956 w 2967438"/>
              <a:gd name="connsiteY49" fmla="*/ 171450 h 2305041"/>
              <a:gd name="connsiteX50" fmla="*/ 10431 w 2967438"/>
              <a:gd name="connsiteY50" fmla="*/ 390525 h 2305041"/>
              <a:gd name="connsiteX51" fmla="*/ 5669 w 2967438"/>
              <a:gd name="connsiteY51" fmla="*/ 800100 h 2305041"/>
              <a:gd name="connsiteX52" fmla="*/ 5669 w 2967438"/>
              <a:gd name="connsiteY52" fmla="*/ 871537 h 2305041"/>
              <a:gd name="connsiteX53" fmla="*/ 10431 w 2967438"/>
              <a:gd name="connsiteY53" fmla="*/ 1157287 h 2305041"/>
              <a:gd name="connsiteX54" fmla="*/ 15194 w 2967438"/>
              <a:gd name="connsiteY54" fmla="*/ 1204912 h 2305041"/>
              <a:gd name="connsiteX55" fmla="*/ 24719 w 2967438"/>
              <a:gd name="connsiteY55" fmla="*/ 1243012 h 2305041"/>
              <a:gd name="connsiteX56" fmla="*/ 29481 w 2967438"/>
              <a:gd name="connsiteY56" fmla="*/ 1328737 h 2305041"/>
              <a:gd name="connsiteX57" fmla="*/ 19956 w 2967438"/>
              <a:gd name="connsiteY57" fmla="*/ 1476375 h 2305041"/>
              <a:gd name="connsiteX58" fmla="*/ 10431 w 2967438"/>
              <a:gd name="connsiteY58" fmla="*/ 1562100 h 2305041"/>
              <a:gd name="connsiteX59" fmla="*/ 5669 w 2967438"/>
              <a:gd name="connsiteY59" fmla="*/ 1819275 h 2305041"/>
              <a:gd name="connsiteX60" fmla="*/ 10431 w 2967438"/>
              <a:gd name="connsiteY60" fmla="*/ 2014537 h 2305041"/>
              <a:gd name="connsiteX61" fmla="*/ 19956 w 2967438"/>
              <a:gd name="connsiteY61" fmla="*/ 2066925 h 2305041"/>
              <a:gd name="connsiteX62" fmla="*/ 24719 w 2967438"/>
              <a:gd name="connsiteY62" fmla="*/ 2152650 h 2305041"/>
              <a:gd name="connsiteX63" fmla="*/ 19956 w 2967438"/>
              <a:gd name="connsiteY63" fmla="*/ 2238375 h 2305041"/>
              <a:gd name="connsiteX64" fmla="*/ 10431 w 2967438"/>
              <a:gd name="connsiteY64" fmla="*/ 2300287 h 2305041"/>
              <a:gd name="connsiteX0" fmla="*/ 10431 w 2967438"/>
              <a:gd name="connsiteY0" fmla="*/ 2300287 h 2305041"/>
              <a:gd name="connsiteX1" fmla="*/ 58056 w 2967438"/>
              <a:gd name="connsiteY1" fmla="*/ 2295525 h 2305041"/>
              <a:gd name="connsiteX2" fmla="*/ 91394 w 2967438"/>
              <a:gd name="connsiteY2" fmla="*/ 2286000 h 2305041"/>
              <a:gd name="connsiteX3" fmla="*/ 362856 w 2967438"/>
              <a:gd name="connsiteY3" fmla="*/ 2271712 h 2305041"/>
              <a:gd name="connsiteX4" fmla="*/ 358094 w 2967438"/>
              <a:gd name="connsiteY4" fmla="*/ 2214562 h 2305041"/>
              <a:gd name="connsiteX5" fmla="*/ 362856 w 2967438"/>
              <a:gd name="connsiteY5" fmla="*/ 1585912 h 2305041"/>
              <a:gd name="connsiteX6" fmla="*/ 372381 w 2967438"/>
              <a:gd name="connsiteY6" fmla="*/ 1123950 h 2305041"/>
              <a:gd name="connsiteX7" fmla="*/ 367619 w 2967438"/>
              <a:gd name="connsiteY7" fmla="*/ 471487 h 2305041"/>
              <a:gd name="connsiteX8" fmla="*/ 372381 w 2967438"/>
              <a:gd name="connsiteY8" fmla="*/ 414337 h 2305041"/>
              <a:gd name="connsiteX9" fmla="*/ 429531 w 2967438"/>
              <a:gd name="connsiteY9" fmla="*/ 419100 h 2305041"/>
              <a:gd name="connsiteX10" fmla="*/ 877206 w 2967438"/>
              <a:gd name="connsiteY10" fmla="*/ 414337 h 2305041"/>
              <a:gd name="connsiteX11" fmla="*/ 1205819 w 2967438"/>
              <a:gd name="connsiteY11" fmla="*/ 414337 h 2305041"/>
              <a:gd name="connsiteX12" fmla="*/ 1234394 w 2967438"/>
              <a:gd name="connsiteY12" fmla="*/ 409575 h 2305041"/>
              <a:gd name="connsiteX13" fmla="*/ 2567894 w 2967438"/>
              <a:gd name="connsiteY13" fmla="*/ 404812 h 2305041"/>
              <a:gd name="connsiteX14" fmla="*/ 2605994 w 2967438"/>
              <a:gd name="connsiteY14" fmla="*/ 423862 h 2305041"/>
              <a:gd name="connsiteX15" fmla="*/ 2615519 w 2967438"/>
              <a:gd name="connsiteY15" fmla="*/ 457200 h 2305041"/>
              <a:gd name="connsiteX16" fmla="*/ 2605994 w 2967438"/>
              <a:gd name="connsiteY16" fmla="*/ 614362 h 2305041"/>
              <a:gd name="connsiteX17" fmla="*/ 2596469 w 2967438"/>
              <a:gd name="connsiteY17" fmla="*/ 1176337 h 2305041"/>
              <a:gd name="connsiteX18" fmla="*/ 2601231 w 2967438"/>
              <a:gd name="connsiteY18" fmla="*/ 1209675 h 2305041"/>
              <a:gd name="connsiteX19" fmla="*/ 2604406 w 2967438"/>
              <a:gd name="connsiteY19" fmla="*/ 1514475 h 2305041"/>
              <a:gd name="connsiteX20" fmla="*/ 2610756 w 2967438"/>
              <a:gd name="connsiteY20" fmla="*/ 2066925 h 2305041"/>
              <a:gd name="connsiteX21" fmla="*/ 2612344 w 2967438"/>
              <a:gd name="connsiteY21" fmla="*/ 2203450 h 2305041"/>
              <a:gd name="connsiteX22" fmla="*/ 2620281 w 2967438"/>
              <a:gd name="connsiteY22" fmla="*/ 2292350 h 2305041"/>
              <a:gd name="connsiteX23" fmla="*/ 2847294 w 2967438"/>
              <a:gd name="connsiteY23" fmla="*/ 2303462 h 2305041"/>
              <a:gd name="connsiteX24" fmla="*/ 2963181 w 2967438"/>
              <a:gd name="connsiteY24" fmla="*/ 2282825 h 2305041"/>
              <a:gd name="connsiteX25" fmla="*/ 2944131 w 2967438"/>
              <a:gd name="connsiteY25" fmla="*/ 2181225 h 2305041"/>
              <a:gd name="connsiteX26" fmla="*/ 2952069 w 2967438"/>
              <a:gd name="connsiteY26" fmla="*/ 2008187 h 2305041"/>
              <a:gd name="connsiteX27" fmla="*/ 2958419 w 2967438"/>
              <a:gd name="connsiteY27" fmla="*/ 1804987 h 2305041"/>
              <a:gd name="connsiteX28" fmla="*/ 2948894 w 2967438"/>
              <a:gd name="connsiteY28" fmla="*/ 1366837 h 2305041"/>
              <a:gd name="connsiteX29" fmla="*/ 2944131 w 2967438"/>
              <a:gd name="connsiteY29" fmla="*/ 1081087 h 2305041"/>
              <a:gd name="connsiteX30" fmla="*/ 2944131 w 2967438"/>
              <a:gd name="connsiteY30" fmla="*/ 922337 h 2305041"/>
              <a:gd name="connsiteX31" fmla="*/ 2948894 w 2967438"/>
              <a:gd name="connsiteY31" fmla="*/ 571500 h 2305041"/>
              <a:gd name="connsiteX32" fmla="*/ 2953656 w 2967438"/>
              <a:gd name="connsiteY32" fmla="*/ 342900 h 2305041"/>
              <a:gd name="connsiteX33" fmla="*/ 2953656 w 2967438"/>
              <a:gd name="connsiteY33" fmla="*/ 34925 h 2305041"/>
              <a:gd name="connsiteX34" fmla="*/ 2863169 w 2967438"/>
              <a:gd name="connsiteY34" fmla="*/ 19050 h 2305041"/>
              <a:gd name="connsiteX35" fmla="*/ 2720294 w 2967438"/>
              <a:gd name="connsiteY35" fmla="*/ 9525 h 2305041"/>
              <a:gd name="connsiteX36" fmla="*/ 2377394 w 2967438"/>
              <a:gd name="connsiteY36" fmla="*/ 14287 h 2305041"/>
              <a:gd name="connsiteX37" fmla="*/ 2320244 w 2967438"/>
              <a:gd name="connsiteY37" fmla="*/ 23812 h 2305041"/>
              <a:gd name="connsiteX38" fmla="*/ 1905906 w 2967438"/>
              <a:gd name="connsiteY38" fmla="*/ 19050 h 2305041"/>
              <a:gd name="connsiteX39" fmla="*/ 1801131 w 2967438"/>
              <a:gd name="connsiteY39" fmla="*/ 9525 h 2305041"/>
              <a:gd name="connsiteX40" fmla="*/ 1772556 w 2967438"/>
              <a:gd name="connsiteY40" fmla="*/ 0 h 2305041"/>
              <a:gd name="connsiteX41" fmla="*/ 1524906 w 2967438"/>
              <a:gd name="connsiteY41" fmla="*/ 4762 h 2305041"/>
              <a:gd name="connsiteX42" fmla="*/ 1139144 w 2967438"/>
              <a:gd name="connsiteY42" fmla="*/ 38100 h 2305041"/>
              <a:gd name="connsiteX43" fmla="*/ 305706 w 2967438"/>
              <a:gd name="connsiteY43" fmla="*/ 23812 h 2305041"/>
              <a:gd name="connsiteX44" fmla="*/ 243794 w 2967438"/>
              <a:gd name="connsiteY44" fmla="*/ 14287 h 2305041"/>
              <a:gd name="connsiteX45" fmla="*/ 181881 w 2967438"/>
              <a:gd name="connsiteY45" fmla="*/ 9525 h 2305041"/>
              <a:gd name="connsiteX46" fmla="*/ 15194 w 2967438"/>
              <a:gd name="connsiteY46" fmla="*/ 14287 h 2305041"/>
              <a:gd name="connsiteX47" fmla="*/ 906 w 2967438"/>
              <a:gd name="connsiteY47" fmla="*/ 19050 h 2305041"/>
              <a:gd name="connsiteX48" fmla="*/ 5669 w 2967438"/>
              <a:gd name="connsiteY48" fmla="*/ 85725 h 2305041"/>
              <a:gd name="connsiteX49" fmla="*/ 19956 w 2967438"/>
              <a:gd name="connsiteY49" fmla="*/ 171450 h 2305041"/>
              <a:gd name="connsiteX50" fmla="*/ 10431 w 2967438"/>
              <a:gd name="connsiteY50" fmla="*/ 390525 h 2305041"/>
              <a:gd name="connsiteX51" fmla="*/ 5669 w 2967438"/>
              <a:gd name="connsiteY51" fmla="*/ 800100 h 2305041"/>
              <a:gd name="connsiteX52" fmla="*/ 5669 w 2967438"/>
              <a:gd name="connsiteY52" fmla="*/ 871537 h 2305041"/>
              <a:gd name="connsiteX53" fmla="*/ 10431 w 2967438"/>
              <a:gd name="connsiteY53" fmla="*/ 1157287 h 2305041"/>
              <a:gd name="connsiteX54" fmla="*/ 24719 w 2967438"/>
              <a:gd name="connsiteY54" fmla="*/ 1243012 h 2305041"/>
              <a:gd name="connsiteX55" fmla="*/ 29481 w 2967438"/>
              <a:gd name="connsiteY55" fmla="*/ 1328737 h 2305041"/>
              <a:gd name="connsiteX56" fmla="*/ 19956 w 2967438"/>
              <a:gd name="connsiteY56" fmla="*/ 1476375 h 2305041"/>
              <a:gd name="connsiteX57" fmla="*/ 10431 w 2967438"/>
              <a:gd name="connsiteY57" fmla="*/ 1562100 h 2305041"/>
              <a:gd name="connsiteX58" fmla="*/ 5669 w 2967438"/>
              <a:gd name="connsiteY58" fmla="*/ 1819275 h 2305041"/>
              <a:gd name="connsiteX59" fmla="*/ 10431 w 2967438"/>
              <a:gd name="connsiteY59" fmla="*/ 2014537 h 2305041"/>
              <a:gd name="connsiteX60" fmla="*/ 19956 w 2967438"/>
              <a:gd name="connsiteY60" fmla="*/ 2066925 h 2305041"/>
              <a:gd name="connsiteX61" fmla="*/ 24719 w 2967438"/>
              <a:gd name="connsiteY61" fmla="*/ 2152650 h 2305041"/>
              <a:gd name="connsiteX62" fmla="*/ 19956 w 2967438"/>
              <a:gd name="connsiteY62" fmla="*/ 2238375 h 2305041"/>
              <a:gd name="connsiteX63" fmla="*/ 10431 w 2967438"/>
              <a:gd name="connsiteY63" fmla="*/ 2300287 h 2305041"/>
              <a:gd name="connsiteX0" fmla="*/ 10431 w 2967438"/>
              <a:gd name="connsiteY0" fmla="*/ 2300287 h 2305041"/>
              <a:gd name="connsiteX1" fmla="*/ 58056 w 2967438"/>
              <a:gd name="connsiteY1" fmla="*/ 2295525 h 2305041"/>
              <a:gd name="connsiteX2" fmla="*/ 91394 w 2967438"/>
              <a:gd name="connsiteY2" fmla="*/ 2286000 h 2305041"/>
              <a:gd name="connsiteX3" fmla="*/ 362856 w 2967438"/>
              <a:gd name="connsiteY3" fmla="*/ 2271712 h 2305041"/>
              <a:gd name="connsiteX4" fmla="*/ 358094 w 2967438"/>
              <a:gd name="connsiteY4" fmla="*/ 2214562 h 2305041"/>
              <a:gd name="connsiteX5" fmla="*/ 362856 w 2967438"/>
              <a:gd name="connsiteY5" fmla="*/ 1585912 h 2305041"/>
              <a:gd name="connsiteX6" fmla="*/ 372381 w 2967438"/>
              <a:gd name="connsiteY6" fmla="*/ 1123950 h 2305041"/>
              <a:gd name="connsiteX7" fmla="*/ 367619 w 2967438"/>
              <a:gd name="connsiteY7" fmla="*/ 471487 h 2305041"/>
              <a:gd name="connsiteX8" fmla="*/ 372381 w 2967438"/>
              <a:gd name="connsiteY8" fmla="*/ 414337 h 2305041"/>
              <a:gd name="connsiteX9" fmla="*/ 429531 w 2967438"/>
              <a:gd name="connsiteY9" fmla="*/ 419100 h 2305041"/>
              <a:gd name="connsiteX10" fmla="*/ 877206 w 2967438"/>
              <a:gd name="connsiteY10" fmla="*/ 414337 h 2305041"/>
              <a:gd name="connsiteX11" fmla="*/ 1205819 w 2967438"/>
              <a:gd name="connsiteY11" fmla="*/ 414337 h 2305041"/>
              <a:gd name="connsiteX12" fmla="*/ 1234394 w 2967438"/>
              <a:gd name="connsiteY12" fmla="*/ 409575 h 2305041"/>
              <a:gd name="connsiteX13" fmla="*/ 2567894 w 2967438"/>
              <a:gd name="connsiteY13" fmla="*/ 404812 h 2305041"/>
              <a:gd name="connsiteX14" fmla="*/ 2605994 w 2967438"/>
              <a:gd name="connsiteY14" fmla="*/ 423862 h 2305041"/>
              <a:gd name="connsiteX15" fmla="*/ 2615519 w 2967438"/>
              <a:gd name="connsiteY15" fmla="*/ 457200 h 2305041"/>
              <a:gd name="connsiteX16" fmla="*/ 2605994 w 2967438"/>
              <a:gd name="connsiteY16" fmla="*/ 614362 h 2305041"/>
              <a:gd name="connsiteX17" fmla="*/ 2596469 w 2967438"/>
              <a:gd name="connsiteY17" fmla="*/ 1176337 h 2305041"/>
              <a:gd name="connsiteX18" fmla="*/ 2601231 w 2967438"/>
              <a:gd name="connsiteY18" fmla="*/ 1209675 h 2305041"/>
              <a:gd name="connsiteX19" fmla="*/ 2604406 w 2967438"/>
              <a:gd name="connsiteY19" fmla="*/ 1514475 h 2305041"/>
              <a:gd name="connsiteX20" fmla="*/ 2610756 w 2967438"/>
              <a:gd name="connsiteY20" fmla="*/ 2066925 h 2305041"/>
              <a:gd name="connsiteX21" fmla="*/ 2612344 w 2967438"/>
              <a:gd name="connsiteY21" fmla="*/ 2203450 h 2305041"/>
              <a:gd name="connsiteX22" fmla="*/ 2620281 w 2967438"/>
              <a:gd name="connsiteY22" fmla="*/ 2292350 h 2305041"/>
              <a:gd name="connsiteX23" fmla="*/ 2847294 w 2967438"/>
              <a:gd name="connsiteY23" fmla="*/ 2303462 h 2305041"/>
              <a:gd name="connsiteX24" fmla="*/ 2963181 w 2967438"/>
              <a:gd name="connsiteY24" fmla="*/ 2282825 h 2305041"/>
              <a:gd name="connsiteX25" fmla="*/ 2944131 w 2967438"/>
              <a:gd name="connsiteY25" fmla="*/ 2181225 h 2305041"/>
              <a:gd name="connsiteX26" fmla="*/ 2952069 w 2967438"/>
              <a:gd name="connsiteY26" fmla="*/ 2008187 h 2305041"/>
              <a:gd name="connsiteX27" fmla="*/ 2958419 w 2967438"/>
              <a:gd name="connsiteY27" fmla="*/ 1804987 h 2305041"/>
              <a:gd name="connsiteX28" fmla="*/ 2948894 w 2967438"/>
              <a:gd name="connsiteY28" fmla="*/ 1366837 h 2305041"/>
              <a:gd name="connsiteX29" fmla="*/ 2944131 w 2967438"/>
              <a:gd name="connsiteY29" fmla="*/ 1081087 h 2305041"/>
              <a:gd name="connsiteX30" fmla="*/ 2944131 w 2967438"/>
              <a:gd name="connsiteY30" fmla="*/ 922337 h 2305041"/>
              <a:gd name="connsiteX31" fmla="*/ 2948894 w 2967438"/>
              <a:gd name="connsiteY31" fmla="*/ 571500 h 2305041"/>
              <a:gd name="connsiteX32" fmla="*/ 2953656 w 2967438"/>
              <a:gd name="connsiteY32" fmla="*/ 342900 h 2305041"/>
              <a:gd name="connsiteX33" fmla="*/ 2953656 w 2967438"/>
              <a:gd name="connsiteY33" fmla="*/ 34925 h 2305041"/>
              <a:gd name="connsiteX34" fmla="*/ 2863169 w 2967438"/>
              <a:gd name="connsiteY34" fmla="*/ 19050 h 2305041"/>
              <a:gd name="connsiteX35" fmla="*/ 2720294 w 2967438"/>
              <a:gd name="connsiteY35" fmla="*/ 9525 h 2305041"/>
              <a:gd name="connsiteX36" fmla="*/ 2377394 w 2967438"/>
              <a:gd name="connsiteY36" fmla="*/ 14287 h 2305041"/>
              <a:gd name="connsiteX37" fmla="*/ 2320244 w 2967438"/>
              <a:gd name="connsiteY37" fmla="*/ 23812 h 2305041"/>
              <a:gd name="connsiteX38" fmla="*/ 1905906 w 2967438"/>
              <a:gd name="connsiteY38" fmla="*/ 19050 h 2305041"/>
              <a:gd name="connsiteX39" fmla="*/ 1801131 w 2967438"/>
              <a:gd name="connsiteY39" fmla="*/ 9525 h 2305041"/>
              <a:gd name="connsiteX40" fmla="*/ 1772556 w 2967438"/>
              <a:gd name="connsiteY40" fmla="*/ 0 h 2305041"/>
              <a:gd name="connsiteX41" fmla="*/ 1524906 w 2967438"/>
              <a:gd name="connsiteY41" fmla="*/ 4762 h 2305041"/>
              <a:gd name="connsiteX42" fmla="*/ 1139144 w 2967438"/>
              <a:gd name="connsiteY42" fmla="*/ 38100 h 2305041"/>
              <a:gd name="connsiteX43" fmla="*/ 305706 w 2967438"/>
              <a:gd name="connsiteY43" fmla="*/ 23812 h 2305041"/>
              <a:gd name="connsiteX44" fmla="*/ 243794 w 2967438"/>
              <a:gd name="connsiteY44" fmla="*/ 14287 h 2305041"/>
              <a:gd name="connsiteX45" fmla="*/ 181881 w 2967438"/>
              <a:gd name="connsiteY45" fmla="*/ 9525 h 2305041"/>
              <a:gd name="connsiteX46" fmla="*/ 15194 w 2967438"/>
              <a:gd name="connsiteY46" fmla="*/ 14287 h 2305041"/>
              <a:gd name="connsiteX47" fmla="*/ 906 w 2967438"/>
              <a:gd name="connsiteY47" fmla="*/ 19050 h 2305041"/>
              <a:gd name="connsiteX48" fmla="*/ 5669 w 2967438"/>
              <a:gd name="connsiteY48" fmla="*/ 85725 h 2305041"/>
              <a:gd name="connsiteX49" fmla="*/ 19956 w 2967438"/>
              <a:gd name="connsiteY49" fmla="*/ 171450 h 2305041"/>
              <a:gd name="connsiteX50" fmla="*/ 10431 w 2967438"/>
              <a:gd name="connsiteY50" fmla="*/ 390525 h 2305041"/>
              <a:gd name="connsiteX51" fmla="*/ 5669 w 2967438"/>
              <a:gd name="connsiteY51" fmla="*/ 800100 h 2305041"/>
              <a:gd name="connsiteX52" fmla="*/ 5669 w 2967438"/>
              <a:gd name="connsiteY52" fmla="*/ 871537 h 2305041"/>
              <a:gd name="connsiteX53" fmla="*/ 10431 w 2967438"/>
              <a:gd name="connsiteY53" fmla="*/ 1157287 h 2305041"/>
              <a:gd name="connsiteX54" fmla="*/ 29481 w 2967438"/>
              <a:gd name="connsiteY54" fmla="*/ 1328737 h 2305041"/>
              <a:gd name="connsiteX55" fmla="*/ 19956 w 2967438"/>
              <a:gd name="connsiteY55" fmla="*/ 1476375 h 2305041"/>
              <a:gd name="connsiteX56" fmla="*/ 10431 w 2967438"/>
              <a:gd name="connsiteY56" fmla="*/ 1562100 h 2305041"/>
              <a:gd name="connsiteX57" fmla="*/ 5669 w 2967438"/>
              <a:gd name="connsiteY57" fmla="*/ 1819275 h 2305041"/>
              <a:gd name="connsiteX58" fmla="*/ 10431 w 2967438"/>
              <a:gd name="connsiteY58" fmla="*/ 2014537 h 2305041"/>
              <a:gd name="connsiteX59" fmla="*/ 19956 w 2967438"/>
              <a:gd name="connsiteY59" fmla="*/ 2066925 h 2305041"/>
              <a:gd name="connsiteX60" fmla="*/ 24719 w 2967438"/>
              <a:gd name="connsiteY60" fmla="*/ 2152650 h 2305041"/>
              <a:gd name="connsiteX61" fmla="*/ 19956 w 2967438"/>
              <a:gd name="connsiteY61" fmla="*/ 2238375 h 2305041"/>
              <a:gd name="connsiteX62" fmla="*/ 10431 w 2967438"/>
              <a:gd name="connsiteY62" fmla="*/ 2300287 h 2305041"/>
              <a:gd name="connsiteX0" fmla="*/ 10431 w 2967438"/>
              <a:gd name="connsiteY0" fmla="*/ 2300287 h 2305041"/>
              <a:gd name="connsiteX1" fmla="*/ 58056 w 2967438"/>
              <a:gd name="connsiteY1" fmla="*/ 2295525 h 2305041"/>
              <a:gd name="connsiteX2" fmla="*/ 91394 w 2967438"/>
              <a:gd name="connsiteY2" fmla="*/ 2286000 h 2305041"/>
              <a:gd name="connsiteX3" fmla="*/ 362856 w 2967438"/>
              <a:gd name="connsiteY3" fmla="*/ 2271712 h 2305041"/>
              <a:gd name="connsiteX4" fmla="*/ 358094 w 2967438"/>
              <a:gd name="connsiteY4" fmla="*/ 2214562 h 2305041"/>
              <a:gd name="connsiteX5" fmla="*/ 362856 w 2967438"/>
              <a:gd name="connsiteY5" fmla="*/ 1585912 h 2305041"/>
              <a:gd name="connsiteX6" fmla="*/ 372381 w 2967438"/>
              <a:gd name="connsiteY6" fmla="*/ 1123950 h 2305041"/>
              <a:gd name="connsiteX7" fmla="*/ 367619 w 2967438"/>
              <a:gd name="connsiteY7" fmla="*/ 471487 h 2305041"/>
              <a:gd name="connsiteX8" fmla="*/ 372381 w 2967438"/>
              <a:gd name="connsiteY8" fmla="*/ 414337 h 2305041"/>
              <a:gd name="connsiteX9" fmla="*/ 429531 w 2967438"/>
              <a:gd name="connsiteY9" fmla="*/ 419100 h 2305041"/>
              <a:gd name="connsiteX10" fmla="*/ 877206 w 2967438"/>
              <a:gd name="connsiteY10" fmla="*/ 414337 h 2305041"/>
              <a:gd name="connsiteX11" fmla="*/ 1205819 w 2967438"/>
              <a:gd name="connsiteY11" fmla="*/ 414337 h 2305041"/>
              <a:gd name="connsiteX12" fmla="*/ 1234394 w 2967438"/>
              <a:gd name="connsiteY12" fmla="*/ 409575 h 2305041"/>
              <a:gd name="connsiteX13" fmla="*/ 2567894 w 2967438"/>
              <a:gd name="connsiteY13" fmla="*/ 404812 h 2305041"/>
              <a:gd name="connsiteX14" fmla="*/ 2605994 w 2967438"/>
              <a:gd name="connsiteY14" fmla="*/ 423862 h 2305041"/>
              <a:gd name="connsiteX15" fmla="*/ 2615519 w 2967438"/>
              <a:gd name="connsiteY15" fmla="*/ 457200 h 2305041"/>
              <a:gd name="connsiteX16" fmla="*/ 2605994 w 2967438"/>
              <a:gd name="connsiteY16" fmla="*/ 614362 h 2305041"/>
              <a:gd name="connsiteX17" fmla="*/ 2596469 w 2967438"/>
              <a:gd name="connsiteY17" fmla="*/ 1176337 h 2305041"/>
              <a:gd name="connsiteX18" fmla="*/ 2601231 w 2967438"/>
              <a:gd name="connsiteY18" fmla="*/ 1209675 h 2305041"/>
              <a:gd name="connsiteX19" fmla="*/ 2604406 w 2967438"/>
              <a:gd name="connsiteY19" fmla="*/ 1514475 h 2305041"/>
              <a:gd name="connsiteX20" fmla="*/ 2610756 w 2967438"/>
              <a:gd name="connsiteY20" fmla="*/ 2066925 h 2305041"/>
              <a:gd name="connsiteX21" fmla="*/ 2612344 w 2967438"/>
              <a:gd name="connsiteY21" fmla="*/ 2203450 h 2305041"/>
              <a:gd name="connsiteX22" fmla="*/ 2620281 w 2967438"/>
              <a:gd name="connsiteY22" fmla="*/ 2292350 h 2305041"/>
              <a:gd name="connsiteX23" fmla="*/ 2847294 w 2967438"/>
              <a:gd name="connsiteY23" fmla="*/ 2303462 h 2305041"/>
              <a:gd name="connsiteX24" fmla="*/ 2963181 w 2967438"/>
              <a:gd name="connsiteY24" fmla="*/ 2282825 h 2305041"/>
              <a:gd name="connsiteX25" fmla="*/ 2944131 w 2967438"/>
              <a:gd name="connsiteY25" fmla="*/ 2181225 h 2305041"/>
              <a:gd name="connsiteX26" fmla="*/ 2952069 w 2967438"/>
              <a:gd name="connsiteY26" fmla="*/ 2008187 h 2305041"/>
              <a:gd name="connsiteX27" fmla="*/ 2958419 w 2967438"/>
              <a:gd name="connsiteY27" fmla="*/ 1804987 h 2305041"/>
              <a:gd name="connsiteX28" fmla="*/ 2948894 w 2967438"/>
              <a:gd name="connsiteY28" fmla="*/ 1366837 h 2305041"/>
              <a:gd name="connsiteX29" fmla="*/ 2944131 w 2967438"/>
              <a:gd name="connsiteY29" fmla="*/ 1081087 h 2305041"/>
              <a:gd name="connsiteX30" fmla="*/ 2944131 w 2967438"/>
              <a:gd name="connsiteY30" fmla="*/ 922337 h 2305041"/>
              <a:gd name="connsiteX31" fmla="*/ 2948894 w 2967438"/>
              <a:gd name="connsiteY31" fmla="*/ 571500 h 2305041"/>
              <a:gd name="connsiteX32" fmla="*/ 2953656 w 2967438"/>
              <a:gd name="connsiteY32" fmla="*/ 342900 h 2305041"/>
              <a:gd name="connsiteX33" fmla="*/ 2953656 w 2967438"/>
              <a:gd name="connsiteY33" fmla="*/ 34925 h 2305041"/>
              <a:gd name="connsiteX34" fmla="*/ 2863169 w 2967438"/>
              <a:gd name="connsiteY34" fmla="*/ 19050 h 2305041"/>
              <a:gd name="connsiteX35" fmla="*/ 2720294 w 2967438"/>
              <a:gd name="connsiteY35" fmla="*/ 9525 h 2305041"/>
              <a:gd name="connsiteX36" fmla="*/ 2377394 w 2967438"/>
              <a:gd name="connsiteY36" fmla="*/ 14287 h 2305041"/>
              <a:gd name="connsiteX37" fmla="*/ 2320244 w 2967438"/>
              <a:gd name="connsiteY37" fmla="*/ 23812 h 2305041"/>
              <a:gd name="connsiteX38" fmla="*/ 1905906 w 2967438"/>
              <a:gd name="connsiteY38" fmla="*/ 19050 h 2305041"/>
              <a:gd name="connsiteX39" fmla="*/ 1801131 w 2967438"/>
              <a:gd name="connsiteY39" fmla="*/ 9525 h 2305041"/>
              <a:gd name="connsiteX40" fmla="*/ 1772556 w 2967438"/>
              <a:gd name="connsiteY40" fmla="*/ 0 h 2305041"/>
              <a:gd name="connsiteX41" fmla="*/ 1524906 w 2967438"/>
              <a:gd name="connsiteY41" fmla="*/ 4762 h 2305041"/>
              <a:gd name="connsiteX42" fmla="*/ 1139144 w 2967438"/>
              <a:gd name="connsiteY42" fmla="*/ 38100 h 2305041"/>
              <a:gd name="connsiteX43" fmla="*/ 305706 w 2967438"/>
              <a:gd name="connsiteY43" fmla="*/ 23812 h 2305041"/>
              <a:gd name="connsiteX44" fmla="*/ 243794 w 2967438"/>
              <a:gd name="connsiteY44" fmla="*/ 14287 h 2305041"/>
              <a:gd name="connsiteX45" fmla="*/ 181881 w 2967438"/>
              <a:gd name="connsiteY45" fmla="*/ 9525 h 2305041"/>
              <a:gd name="connsiteX46" fmla="*/ 15194 w 2967438"/>
              <a:gd name="connsiteY46" fmla="*/ 14287 h 2305041"/>
              <a:gd name="connsiteX47" fmla="*/ 906 w 2967438"/>
              <a:gd name="connsiteY47" fmla="*/ 19050 h 2305041"/>
              <a:gd name="connsiteX48" fmla="*/ 5669 w 2967438"/>
              <a:gd name="connsiteY48" fmla="*/ 85725 h 2305041"/>
              <a:gd name="connsiteX49" fmla="*/ 19956 w 2967438"/>
              <a:gd name="connsiteY49" fmla="*/ 171450 h 2305041"/>
              <a:gd name="connsiteX50" fmla="*/ 10431 w 2967438"/>
              <a:gd name="connsiteY50" fmla="*/ 390525 h 2305041"/>
              <a:gd name="connsiteX51" fmla="*/ 5669 w 2967438"/>
              <a:gd name="connsiteY51" fmla="*/ 800100 h 2305041"/>
              <a:gd name="connsiteX52" fmla="*/ 5669 w 2967438"/>
              <a:gd name="connsiteY52" fmla="*/ 871537 h 2305041"/>
              <a:gd name="connsiteX53" fmla="*/ 10431 w 2967438"/>
              <a:gd name="connsiteY53" fmla="*/ 1157287 h 2305041"/>
              <a:gd name="connsiteX54" fmla="*/ 29481 w 2967438"/>
              <a:gd name="connsiteY54" fmla="*/ 1328737 h 2305041"/>
              <a:gd name="connsiteX55" fmla="*/ 19956 w 2967438"/>
              <a:gd name="connsiteY55" fmla="*/ 1476375 h 2305041"/>
              <a:gd name="connsiteX56" fmla="*/ 10431 w 2967438"/>
              <a:gd name="connsiteY56" fmla="*/ 1562100 h 2305041"/>
              <a:gd name="connsiteX57" fmla="*/ 5669 w 2967438"/>
              <a:gd name="connsiteY57" fmla="*/ 1819275 h 2305041"/>
              <a:gd name="connsiteX58" fmla="*/ 10431 w 2967438"/>
              <a:gd name="connsiteY58" fmla="*/ 2014537 h 2305041"/>
              <a:gd name="connsiteX59" fmla="*/ 24719 w 2967438"/>
              <a:gd name="connsiteY59" fmla="*/ 2152650 h 2305041"/>
              <a:gd name="connsiteX60" fmla="*/ 19956 w 2967438"/>
              <a:gd name="connsiteY60" fmla="*/ 2238375 h 2305041"/>
              <a:gd name="connsiteX61" fmla="*/ 10431 w 2967438"/>
              <a:gd name="connsiteY61" fmla="*/ 2300287 h 2305041"/>
              <a:gd name="connsiteX0" fmla="*/ 10431 w 2967438"/>
              <a:gd name="connsiteY0" fmla="*/ 2300287 h 2305041"/>
              <a:gd name="connsiteX1" fmla="*/ 58056 w 2967438"/>
              <a:gd name="connsiteY1" fmla="*/ 2295525 h 2305041"/>
              <a:gd name="connsiteX2" fmla="*/ 91394 w 2967438"/>
              <a:gd name="connsiteY2" fmla="*/ 2286000 h 2305041"/>
              <a:gd name="connsiteX3" fmla="*/ 362856 w 2967438"/>
              <a:gd name="connsiteY3" fmla="*/ 2271712 h 2305041"/>
              <a:gd name="connsiteX4" fmla="*/ 358094 w 2967438"/>
              <a:gd name="connsiteY4" fmla="*/ 2214562 h 2305041"/>
              <a:gd name="connsiteX5" fmla="*/ 362856 w 2967438"/>
              <a:gd name="connsiteY5" fmla="*/ 1585912 h 2305041"/>
              <a:gd name="connsiteX6" fmla="*/ 372381 w 2967438"/>
              <a:gd name="connsiteY6" fmla="*/ 1123950 h 2305041"/>
              <a:gd name="connsiteX7" fmla="*/ 367619 w 2967438"/>
              <a:gd name="connsiteY7" fmla="*/ 471487 h 2305041"/>
              <a:gd name="connsiteX8" fmla="*/ 372381 w 2967438"/>
              <a:gd name="connsiteY8" fmla="*/ 414337 h 2305041"/>
              <a:gd name="connsiteX9" fmla="*/ 429531 w 2967438"/>
              <a:gd name="connsiteY9" fmla="*/ 419100 h 2305041"/>
              <a:gd name="connsiteX10" fmla="*/ 877206 w 2967438"/>
              <a:gd name="connsiteY10" fmla="*/ 414337 h 2305041"/>
              <a:gd name="connsiteX11" fmla="*/ 1205819 w 2967438"/>
              <a:gd name="connsiteY11" fmla="*/ 414337 h 2305041"/>
              <a:gd name="connsiteX12" fmla="*/ 1234394 w 2967438"/>
              <a:gd name="connsiteY12" fmla="*/ 409575 h 2305041"/>
              <a:gd name="connsiteX13" fmla="*/ 2567894 w 2967438"/>
              <a:gd name="connsiteY13" fmla="*/ 404812 h 2305041"/>
              <a:gd name="connsiteX14" fmla="*/ 2605994 w 2967438"/>
              <a:gd name="connsiteY14" fmla="*/ 423862 h 2305041"/>
              <a:gd name="connsiteX15" fmla="*/ 2615519 w 2967438"/>
              <a:gd name="connsiteY15" fmla="*/ 457200 h 2305041"/>
              <a:gd name="connsiteX16" fmla="*/ 2605994 w 2967438"/>
              <a:gd name="connsiteY16" fmla="*/ 614362 h 2305041"/>
              <a:gd name="connsiteX17" fmla="*/ 2596469 w 2967438"/>
              <a:gd name="connsiteY17" fmla="*/ 1176337 h 2305041"/>
              <a:gd name="connsiteX18" fmla="*/ 2601231 w 2967438"/>
              <a:gd name="connsiteY18" fmla="*/ 1209675 h 2305041"/>
              <a:gd name="connsiteX19" fmla="*/ 2604406 w 2967438"/>
              <a:gd name="connsiteY19" fmla="*/ 1514475 h 2305041"/>
              <a:gd name="connsiteX20" fmla="*/ 2610756 w 2967438"/>
              <a:gd name="connsiteY20" fmla="*/ 2066925 h 2305041"/>
              <a:gd name="connsiteX21" fmla="*/ 2612344 w 2967438"/>
              <a:gd name="connsiteY21" fmla="*/ 2203450 h 2305041"/>
              <a:gd name="connsiteX22" fmla="*/ 2620281 w 2967438"/>
              <a:gd name="connsiteY22" fmla="*/ 2292350 h 2305041"/>
              <a:gd name="connsiteX23" fmla="*/ 2847294 w 2967438"/>
              <a:gd name="connsiteY23" fmla="*/ 2303462 h 2305041"/>
              <a:gd name="connsiteX24" fmla="*/ 2963181 w 2967438"/>
              <a:gd name="connsiteY24" fmla="*/ 2282825 h 2305041"/>
              <a:gd name="connsiteX25" fmla="*/ 2944131 w 2967438"/>
              <a:gd name="connsiteY25" fmla="*/ 2181225 h 2305041"/>
              <a:gd name="connsiteX26" fmla="*/ 2952069 w 2967438"/>
              <a:gd name="connsiteY26" fmla="*/ 2008187 h 2305041"/>
              <a:gd name="connsiteX27" fmla="*/ 2958419 w 2967438"/>
              <a:gd name="connsiteY27" fmla="*/ 1804987 h 2305041"/>
              <a:gd name="connsiteX28" fmla="*/ 2948894 w 2967438"/>
              <a:gd name="connsiteY28" fmla="*/ 1366837 h 2305041"/>
              <a:gd name="connsiteX29" fmla="*/ 2944131 w 2967438"/>
              <a:gd name="connsiteY29" fmla="*/ 1081087 h 2305041"/>
              <a:gd name="connsiteX30" fmla="*/ 2944131 w 2967438"/>
              <a:gd name="connsiteY30" fmla="*/ 922337 h 2305041"/>
              <a:gd name="connsiteX31" fmla="*/ 2948894 w 2967438"/>
              <a:gd name="connsiteY31" fmla="*/ 571500 h 2305041"/>
              <a:gd name="connsiteX32" fmla="*/ 2953656 w 2967438"/>
              <a:gd name="connsiteY32" fmla="*/ 342900 h 2305041"/>
              <a:gd name="connsiteX33" fmla="*/ 2953656 w 2967438"/>
              <a:gd name="connsiteY33" fmla="*/ 34925 h 2305041"/>
              <a:gd name="connsiteX34" fmla="*/ 2863169 w 2967438"/>
              <a:gd name="connsiteY34" fmla="*/ 19050 h 2305041"/>
              <a:gd name="connsiteX35" fmla="*/ 2720294 w 2967438"/>
              <a:gd name="connsiteY35" fmla="*/ 9525 h 2305041"/>
              <a:gd name="connsiteX36" fmla="*/ 2377394 w 2967438"/>
              <a:gd name="connsiteY36" fmla="*/ 14287 h 2305041"/>
              <a:gd name="connsiteX37" fmla="*/ 2320244 w 2967438"/>
              <a:gd name="connsiteY37" fmla="*/ 23812 h 2305041"/>
              <a:gd name="connsiteX38" fmla="*/ 1905906 w 2967438"/>
              <a:gd name="connsiteY38" fmla="*/ 19050 h 2305041"/>
              <a:gd name="connsiteX39" fmla="*/ 1801131 w 2967438"/>
              <a:gd name="connsiteY39" fmla="*/ 9525 h 2305041"/>
              <a:gd name="connsiteX40" fmla="*/ 1772556 w 2967438"/>
              <a:gd name="connsiteY40" fmla="*/ 0 h 2305041"/>
              <a:gd name="connsiteX41" fmla="*/ 1524906 w 2967438"/>
              <a:gd name="connsiteY41" fmla="*/ 4762 h 2305041"/>
              <a:gd name="connsiteX42" fmla="*/ 1139144 w 2967438"/>
              <a:gd name="connsiteY42" fmla="*/ 38100 h 2305041"/>
              <a:gd name="connsiteX43" fmla="*/ 305706 w 2967438"/>
              <a:gd name="connsiteY43" fmla="*/ 23812 h 2305041"/>
              <a:gd name="connsiteX44" fmla="*/ 243794 w 2967438"/>
              <a:gd name="connsiteY44" fmla="*/ 14287 h 2305041"/>
              <a:gd name="connsiteX45" fmla="*/ 181881 w 2967438"/>
              <a:gd name="connsiteY45" fmla="*/ 9525 h 2305041"/>
              <a:gd name="connsiteX46" fmla="*/ 15194 w 2967438"/>
              <a:gd name="connsiteY46" fmla="*/ 14287 h 2305041"/>
              <a:gd name="connsiteX47" fmla="*/ 906 w 2967438"/>
              <a:gd name="connsiteY47" fmla="*/ 19050 h 2305041"/>
              <a:gd name="connsiteX48" fmla="*/ 5669 w 2967438"/>
              <a:gd name="connsiteY48" fmla="*/ 85725 h 2305041"/>
              <a:gd name="connsiteX49" fmla="*/ 19956 w 2967438"/>
              <a:gd name="connsiteY49" fmla="*/ 171450 h 2305041"/>
              <a:gd name="connsiteX50" fmla="*/ 10431 w 2967438"/>
              <a:gd name="connsiteY50" fmla="*/ 390525 h 2305041"/>
              <a:gd name="connsiteX51" fmla="*/ 5669 w 2967438"/>
              <a:gd name="connsiteY51" fmla="*/ 800100 h 2305041"/>
              <a:gd name="connsiteX52" fmla="*/ 5669 w 2967438"/>
              <a:gd name="connsiteY52" fmla="*/ 871537 h 2305041"/>
              <a:gd name="connsiteX53" fmla="*/ 10431 w 2967438"/>
              <a:gd name="connsiteY53" fmla="*/ 1157287 h 2305041"/>
              <a:gd name="connsiteX54" fmla="*/ 29481 w 2967438"/>
              <a:gd name="connsiteY54" fmla="*/ 1328737 h 2305041"/>
              <a:gd name="connsiteX55" fmla="*/ 19956 w 2967438"/>
              <a:gd name="connsiteY55" fmla="*/ 1476375 h 2305041"/>
              <a:gd name="connsiteX56" fmla="*/ 10431 w 2967438"/>
              <a:gd name="connsiteY56" fmla="*/ 1562100 h 2305041"/>
              <a:gd name="connsiteX57" fmla="*/ 5669 w 2967438"/>
              <a:gd name="connsiteY57" fmla="*/ 1819275 h 2305041"/>
              <a:gd name="connsiteX58" fmla="*/ 10431 w 2967438"/>
              <a:gd name="connsiteY58" fmla="*/ 2014537 h 2305041"/>
              <a:gd name="connsiteX59" fmla="*/ 19956 w 2967438"/>
              <a:gd name="connsiteY59" fmla="*/ 2238375 h 2305041"/>
              <a:gd name="connsiteX60" fmla="*/ 10431 w 2967438"/>
              <a:gd name="connsiteY60" fmla="*/ 2300287 h 2305041"/>
              <a:gd name="connsiteX0" fmla="*/ 10431 w 2967438"/>
              <a:gd name="connsiteY0" fmla="*/ 2300287 h 2305041"/>
              <a:gd name="connsiteX1" fmla="*/ 58056 w 2967438"/>
              <a:gd name="connsiteY1" fmla="*/ 2295525 h 2305041"/>
              <a:gd name="connsiteX2" fmla="*/ 91394 w 2967438"/>
              <a:gd name="connsiteY2" fmla="*/ 2286000 h 2305041"/>
              <a:gd name="connsiteX3" fmla="*/ 362856 w 2967438"/>
              <a:gd name="connsiteY3" fmla="*/ 2297112 h 2305041"/>
              <a:gd name="connsiteX4" fmla="*/ 358094 w 2967438"/>
              <a:gd name="connsiteY4" fmla="*/ 2214562 h 2305041"/>
              <a:gd name="connsiteX5" fmla="*/ 362856 w 2967438"/>
              <a:gd name="connsiteY5" fmla="*/ 1585912 h 2305041"/>
              <a:gd name="connsiteX6" fmla="*/ 372381 w 2967438"/>
              <a:gd name="connsiteY6" fmla="*/ 1123950 h 2305041"/>
              <a:gd name="connsiteX7" fmla="*/ 367619 w 2967438"/>
              <a:gd name="connsiteY7" fmla="*/ 471487 h 2305041"/>
              <a:gd name="connsiteX8" fmla="*/ 372381 w 2967438"/>
              <a:gd name="connsiteY8" fmla="*/ 414337 h 2305041"/>
              <a:gd name="connsiteX9" fmla="*/ 429531 w 2967438"/>
              <a:gd name="connsiteY9" fmla="*/ 419100 h 2305041"/>
              <a:gd name="connsiteX10" fmla="*/ 877206 w 2967438"/>
              <a:gd name="connsiteY10" fmla="*/ 414337 h 2305041"/>
              <a:gd name="connsiteX11" fmla="*/ 1205819 w 2967438"/>
              <a:gd name="connsiteY11" fmla="*/ 414337 h 2305041"/>
              <a:gd name="connsiteX12" fmla="*/ 1234394 w 2967438"/>
              <a:gd name="connsiteY12" fmla="*/ 409575 h 2305041"/>
              <a:gd name="connsiteX13" fmla="*/ 2567894 w 2967438"/>
              <a:gd name="connsiteY13" fmla="*/ 404812 h 2305041"/>
              <a:gd name="connsiteX14" fmla="*/ 2605994 w 2967438"/>
              <a:gd name="connsiteY14" fmla="*/ 423862 h 2305041"/>
              <a:gd name="connsiteX15" fmla="*/ 2615519 w 2967438"/>
              <a:gd name="connsiteY15" fmla="*/ 457200 h 2305041"/>
              <a:gd name="connsiteX16" fmla="*/ 2605994 w 2967438"/>
              <a:gd name="connsiteY16" fmla="*/ 614362 h 2305041"/>
              <a:gd name="connsiteX17" fmla="*/ 2596469 w 2967438"/>
              <a:gd name="connsiteY17" fmla="*/ 1176337 h 2305041"/>
              <a:gd name="connsiteX18" fmla="*/ 2601231 w 2967438"/>
              <a:gd name="connsiteY18" fmla="*/ 1209675 h 2305041"/>
              <a:gd name="connsiteX19" fmla="*/ 2604406 w 2967438"/>
              <a:gd name="connsiteY19" fmla="*/ 1514475 h 2305041"/>
              <a:gd name="connsiteX20" fmla="*/ 2610756 w 2967438"/>
              <a:gd name="connsiteY20" fmla="*/ 2066925 h 2305041"/>
              <a:gd name="connsiteX21" fmla="*/ 2612344 w 2967438"/>
              <a:gd name="connsiteY21" fmla="*/ 2203450 h 2305041"/>
              <a:gd name="connsiteX22" fmla="*/ 2620281 w 2967438"/>
              <a:gd name="connsiteY22" fmla="*/ 2292350 h 2305041"/>
              <a:gd name="connsiteX23" fmla="*/ 2847294 w 2967438"/>
              <a:gd name="connsiteY23" fmla="*/ 2303462 h 2305041"/>
              <a:gd name="connsiteX24" fmla="*/ 2963181 w 2967438"/>
              <a:gd name="connsiteY24" fmla="*/ 2282825 h 2305041"/>
              <a:gd name="connsiteX25" fmla="*/ 2944131 w 2967438"/>
              <a:gd name="connsiteY25" fmla="*/ 2181225 h 2305041"/>
              <a:gd name="connsiteX26" fmla="*/ 2952069 w 2967438"/>
              <a:gd name="connsiteY26" fmla="*/ 2008187 h 2305041"/>
              <a:gd name="connsiteX27" fmla="*/ 2958419 w 2967438"/>
              <a:gd name="connsiteY27" fmla="*/ 1804987 h 2305041"/>
              <a:gd name="connsiteX28" fmla="*/ 2948894 w 2967438"/>
              <a:gd name="connsiteY28" fmla="*/ 1366837 h 2305041"/>
              <a:gd name="connsiteX29" fmla="*/ 2944131 w 2967438"/>
              <a:gd name="connsiteY29" fmla="*/ 1081087 h 2305041"/>
              <a:gd name="connsiteX30" fmla="*/ 2944131 w 2967438"/>
              <a:gd name="connsiteY30" fmla="*/ 922337 h 2305041"/>
              <a:gd name="connsiteX31" fmla="*/ 2948894 w 2967438"/>
              <a:gd name="connsiteY31" fmla="*/ 571500 h 2305041"/>
              <a:gd name="connsiteX32" fmla="*/ 2953656 w 2967438"/>
              <a:gd name="connsiteY32" fmla="*/ 342900 h 2305041"/>
              <a:gd name="connsiteX33" fmla="*/ 2953656 w 2967438"/>
              <a:gd name="connsiteY33" fmla="*/ 34925 h 2305041"/>
              <a:gd name="connsiteX34" fmla="*/ 2863169 w 2967438"/>
              <a:gd name="connsiteY34" fmla="*/ 19050 h 2305041"/>
              <a:gd name="connsiteX35" fmla="*/ 2720294 w 2967438"/>
              <a:gd name="connsiteY35" fmla="*/ 9525 h 2305041"/>
              <a:gd name="connsiteX36" fmla="*/ 2377394 w 2967438"/>
              <a:gd name="connsiteY36" fmla="*/ 14287 h 2305041"/>
              <a:gd name="connsiteX37" fmla="*/ 2320244 w 2967438"/>
              <a:gd name="connsiteY37" fmla="*/ 23812 h 2305041"/>
              <a:gd name="connsiteX38" fmla="*/ 1905906 w 2967438"/>
              <a:gd name="connsiteY38" fmla="*/ 19050 h 2305041"/>
              <a:gd name="connsiteX39" fmla="*/ 1801131 w 2967438"/>
              <a:gd name="connsiteY39" fmla="*/ 9525 h 2305041"/>
              <a:gd name="connsiteX40" fmla="*/ 1772556 w 2967438"/>
              <a:gd name="connsiteY40" fmla="*/ 0 h 2305041"/>
              <a:gd name="connsiteX41" fmla="*/ 1524906 w 2967438"/>
              <a:gd name="connsiteY41" fmla="*/ 4762 h 2305041"/>
              <a:gd name="connsiteX42" fmla="*/ 1139144 w 2967438"/>
              <a:gd name="connsiteY42" fmla="*/ 38100 h 2305041"/>
              <a:gd name="connsiteX43" fmla="*/ 305706 w 2967438"/>
              <a:gd name="connsiteY43" fmla="*/ 23812 h 2305041"/>
              <a:gd name="connsiteX44" fmla="*/ 243794 w 2967438"/>
              <a:gd name="connsiteY44" fmla="*/ 14287 h 2305041"/>
              <a:gd name="connsiteX45" fmla="*/ 181881 w 2967438"/>
              <a:gd name="connsiteY45" fmla="*/ 9525 h 2305041"/>
              <a:gd name="connsiteX46" fmla="*/ 15194 w 2967438"/>
              <a:gd name="connsiteY46" fmla="*/ 14287 h 2305041"/>
              <a:gd name="connsiteX47" fmla="*/ 906 w 2967438"/>
              <a:gd name="connsiteY47" fmla="*/ 19050 h 2305041"/>
              <a:gd name="connsiteX48" fmla="*/ 5669 w 2967438"/>
              <a:gd name="connsiteY48" fmla="*/ 85725 h 2305041"/>
              <a:gd name="connsiteX49" fmla="*/ 19956 w 2967438"/>
              <a:gd name="connsiteY49" fmla="*/ 171450 h 2305041"/>
              <a:gd name="connsiteX50" fmla="*/ 10431 w 2967438"/>
              <a:gd name="connsiteY50" fmla="*/ 390525 h 2305041"/>
              <a:gd name="connsiteX51" fmla="*/ 5669 w 2967438"/>
              <a:gd name="connsiteY51" fmla="*/ 800100 h 2305041"/>
              <a:gd name="connsiteX52" fmla="*/ 5669 w 2967438"/>
              <a:gd name="connsiteY52" fmla="*/ 871537 h 2305041"/>
              <a:gd name="connsiteX53" fmla="*/ 10431 w 2967438"/>
              <a:gd name="connsiteY53" fmla="*/ 1157287 h 2305041"/>
              <a:gd name="connsiteX54" fmla="*/ 29481 w 2967438"/>
              <a:gd name="connsiteY54" fmla="*/ 1328737 h 2305041"/>
              <a:gd name="connsiteX55" fmla="*/ 19956 w 2967438"/>
              <a:gd name="connsiteY55" fmla="*/ 1476375 h 2305041"/>
              <a:gd name="connsiteX56" fmla="*/ 10431 w 2967438"/>
              <a:gd name="connsiteY56" fmla="*/ 1562100 h 2305041"/>
              <a:gd name="connsiteX57" fmla="*/ 5669 w 2967438"/>
              <a:gd name="connsiteY57" fmla="*/ 1819275 h 2305041"/>
              <a:gd name="connsiteX58" fmla="*/ 10431 w 2967438"/>
              <a:gd name="connsiteY58" fmla="*/ 2014537 h 2305041"/>
              <a:gd name="connsiteX59" fmla="*/ 19956 w 2967438"/>
              <a:gd name="connsiteY59" fmla="*/ 2238375 h 2305041"/>
              <a:gd name="connsiteX60" fmla="*/ 10431 w 2967438"/>
              <a:gd name="connsiteY60" fmla="*/ 2300287 h 2305041"/>
              <a:gd name="connsiteX0" fmla="*/ 10431 w 2967438"/>
              <a:gd name="connsiteY0" fmla="*/ 2300287 h 2305041"/>
              <a:gd name="connsiteX1" fmla="*/ 91394 w 2967438"/>
              <a:gd name="connsiteY1" fmla="*/ 2286000 h 2305041"/>
              <a:gd name="connsiteX2" fmla="*/ 362856 w 2967438"/>
              <a:gd name="connsiteY2" fmla="*/ 2297112 h 2305041"/>
              <a:gd name="connsiteX3" fmla="*/ 358094 w 2967438"/>
              <a:gd name="connsiteY3" fmla="*/ 2214562 h 2305041"/>
              <a:gd name="connsiteX4" fmla="*/ 362856 w 2967438"/>
              <a:gd name="connsiteY4" fmla="*/ 1585912 h 2305041"/>
              <a:gd name="connsiteX5" fmla="*/ 372381 w 2967438"/>
              <a:gd name="connsiteY5" fmla="*/ 1123950 h 2305041"/>
              <a:gd name="connsiteX6" fmla="*/ 367619 w 2967438"/>
              <a:gd name="connsiteY6" fmla="*/ 471487 h 2305041"/>
              <a:gd name="connsiteX7" fmla="*/ 372381 w 2967438"/>
              <a:gd name="connsiteY7" fmla="*/ 414337 h 2305041"/>
              <a:gd name="connsiteX8" fmla="*/ 429531 w 2967438"/>
              <a:gd name="connsiteY8" fmla="*/ 419100 h 2305041"/>
              <a:gd name="connsiteX9" fmla="*/ 877206 w 2967438"/>
              <a:gd name="connsiteY9" fmla="*/ 414337 h 2305041"/>
              <a:gd name="connsiteX10" fmla="*/ 1205819 w 2967438"/>
              <a:gd name="connsiteY10" fmla="*/ 414337 h 2305041"/>
              <a:gd name="connsiteX11" fmla="*/ 1234394 w 2967438"/>
              <a:gd name="connsiteY11" fmla="*/ 409575 h 2305041"/>
              <a:gd name="connsiteX12" fmla="*/ 2567894 w 2967438"/>
              <a:gd name="connsiteY12" fmla="*/ 404812 h 2305041"/>
              <a:gd name="connsiteX13" fmla="*/ 2605994 w 2967438"/>
              <a:gd name="connsiteY13" fmla="*/ 423862 h 2305041"/>
              <a:gd name="connsiteX14" fmla="*/ 2615519 w 2967438"/>
              <a:gd name="connsiteY14" fmla="*/ 457200 h 2305041"/>
              <a:gd name="connsiteX15" fmla="*/ 2605994 w 2967438"/>
              <a:gd name="connsiteY15" fmla="*/ 614362 h 2305041"/>
              <a:gd name="connsiteX16" fmla="*/ 2596469 w 2967438"/>
              <a:gd name="connsiteY16" fmla="*/ 1176337 h 2305041"/>
              <a:gd name="connsiteX17" fmla="*/ 2601231 w 2967438"/>
              <a:gd name="connsiteY17" fmla="*/ 1209675 h 2305041"/>
              <a:gd name="connsiteX18" fmla="*/ 2604406 w 2967438"/>
              <a:gd name="connsiteY18" fmla="*/ 1514475 h 2305041"/>
              <a:gd name="connsiteX19" fmla="*/ 2610756 w 2967438"/>
              <a:gd name="connsiteY19" fmla="*/ 2066925 h 2305041"/>
              <a:gd name="connsiteX20" fmla="*/ 2612344 w 2967438"/>
              <a:gd name="connsiteY20" fmla="*/ 2203450 h 2305041"/>
              <a:gd name="connsiteX21" fmla="*/ 2620281 w 2967438"/>
              <a:gd name="connsiteY21" fmla="*/ 2292350 h 2305041"/>
              <a:gd name="connsiteX22" fmla="*/ 2847294 w 2967438"/>
              <a:gd name="connsiteY22" fmla="*/ 2303462 h 2305041"/>
              <a:gd name="connsiteX23" fmla="*/ 2963181 w 2967438"/>
              <a:gd name="connsiteY23" fmla="*/ 2282825 h 2305041"/>
              <a:gd name="connsiteX24" fmla="*/ 2944131 w 2967438"/>
              <a:gd name="connsiteY24" fmla="*/ 2181225 h 2305041"/>
              <a:gd name="connsiteX25" fmla="*/ 2952069 w 2967438"/>
              <a:gd name="connsiteY25" fmla="*/ 2008187 h 2305041"/>
              <a:gd name="connsiteX26" fmla="*/ 2958419 w 2967438"/>
              <a:gd name="connsiteY26" fmla="*/ 1804987 h 2305041"/>
              <a:gd name="connsiteX27" fmla="*/ 2948894 w 2967438"/>
              <a:gd name="connsiteY27" fmla="*/ 1366837 h 2305041"/>
              <a:gd name="connsiteX28" fmla="*/ 2944131 w 2967438"/>
              <a:gd name="connsiteY28" fmla="*/ 1081087 h 2305041"/>
              <a:gd name="connsiteX29" fmla="*/ 2944131 w 2967438"/>
              <a:gd name="connsiteY29" fmla="*/ 922337 h 2305041"/>
              <a:gd name="connsiteX30" fmla="*/ 2948894 w 2967438"/>
              <a:gd name="connsiteY30" fmla="*/ 571500 h 2305041"/>
              <a:gd name="connsiteX31" fmla="*/ 2953656 w 2967438"/>
              <a:gd name="connsiteY31" fmla="*/ 342900 h 2305041"/>
              <a:gd name="connsiteX32" fmla="*/ 2953656 w 2967438"/>
              <a:gd name="connsiteY32" fmla="*/ 34925 h 2305041"/>
              <a:gd name="connsiteX33" fmla="*/ 2863169 w 2967438"/>
              <a:gd name="connsiteY33" fmla="*/ 19050 h 2305041"/>
              <a:gd name="connsiteX34" fmla="*/ 2720294 w 2967438"/>
              <a:gd name="connsiteY34" fmla="*/ 9525 h 2305041"/>
              <a:gd name="connsiteX35" fmla="*/ 2377394 w 2967438"/>
              <a:gd name="connsiteY35" fmla="*/ 14287 h 2305041"/>
              <a:gd name="connsiteX36" fmla="*/ 2320244 w 2967438"/>
              <a:gd name="connsiteY36" fmla="*/ 23812 h 2305041"/>
              <a:gd name="connsiteX37" fmla="*/ 1905906 w 2967438"/>
              <a:gd name="connsiteY37" fmla="*/ 19050 h 2305041"/>
              <a:gd name="connsiteX38" fmla="*/ 1801131 w 2967438"/>
              <a:gd name="connsiteY38" fmla="*/ 9525 h 2305041"/>
              <a:gd name="connsiteX39" fmla="*/ 1772556 w 2967438"/>
              <a:gd name="connsiteY39" fmla="*/ 0 h 2305041"/>
              <a:gd name="connsiteX40" fmla="*/ 1524906 w 2967438"/>
              <a:gd name="connsiteY40" fmla="*/ 4762 h 2305041"/>
              <a:gd name="connsiteX41" fmla="*/ 1139144 w 2967438"/>
              <a:gd name="connsiteY41" fmla="*/ 38100 h 2305041"/>
              <a:gd name="connsiteX42" fmla="*/ 305706 w 2967438"/>
              <a:gd name="connsiteY42" fmla="*/ 23812 h 2305041"/>
              <a:gd name="connsiteX43" fmla="*/ 243794 w 2967438"/>
              <a:gd name="connsiteY43" fmla="*/ 14287 h 2305041"/>
              <a:gd name="connsiteX44" fmla="*/ 181881 w 2967438"/>
              <a:gd name="connsiteY44" fmla="*/ 9525 h 2305041"/>
              <a:gd name="connsiteX45" fmla="*/ 15194 w 2967438"/>
              <a:gd name="connsiteY45" fmla="*/ 14287 h 2305041"/>
              <a:gd name="connsiteX46" fmla="*/ 906 w 2967438"/>
              <a:gd name="connsiteY46" fmla="*/ 19050 h 2305041"/>
              <a:gd name="connsiteX47" fmla="*/ 5669 w 2967438"/>
              <a:gd name="connsiteY47" fmla="*/ 85725 h 2305041"/>
              <a:gd name="connsiteX48" fmla="*/ 19956 w 2967438"/>
              <a:gd name="connsiteY48" fmla="*/ 171450 h 2305041"/>
              <a:gd name="connsiteX49" fmla="*/ 10431 w 2967438"/>
              <a:gd name="connsiteY49" fmla="*/ 390525 h 2305041"/>
              <a:gd name="connsiteX50" fmla="*/ 5669 w 2967438"/>
              <a:gd name="connsiteY50" fmla="*/ 800100 h 2305041"/>
              <a:gd name="connsiteX51" fmla="*/ 5669 w 2967438"/>
              <a:gd name="connsiteY51" fmla="*/ 871537 h 2305041"/>
              <a:gd name="connsiteX52" fmla="*/ 10431 w 2967438"/>
              <a:gd name="connsiteY52" fmla="*/ 1157287 h 2305041"/>
              <a:gd name="connsiteX53" fmla="*/ 29481 w 2967438"/>
              <a:gd name="connsiteY53" fmla="*/ 1328737 h 2305041"/>
              <a:gd name="connsiteX54" fmla="*/ 19956 w 2967438"/>
              <a:gd name="connsiteY54" fmla="*/ 1476375 h 2305041"/>
              <a:gd name="connsiteX55" fmla="*/ 10431 w 2967438"/>
              <a:gd name="connsiteY55" fmla="*/ 1562100 h 2305041"/>
              <a:gd name="connsiteX56" fmla="*/ 5669 w 2967438"/>
              <a:gd name="connsiteY56" fmla="*/ 1819275 h 2305041"/>
              <a:gd name="connsiteX57" fmla="*/ 10431 w 2967438"/>
              <a:gd name="connsiteY57" fmla="*/ 2014537 h 2305041"/>
              <a:gd name="connsiteX58" fmla="*/ 19956 w 2967438"/>
              <a:gd name="connsiteY58" fmla="*/ 2238375 h 2305041"/>
              <a:gd name="connsiteX59" fmla="*/ 10431 w 2967438"/>
              <a:gd name="connsiteY59" fmla="*/ 2300287 h 2305041"/>
              <a:gd name="connsiteX0" fmla="*/ 10431 w 2967438"/>
              <a:gd name="connsiteY0" fmla="*/ 2300287 h 2307741"/>
              <a:gd name="connsiteX1" fmla="*/ 362856 w 2967438"/>
              <a:gd name="connsiteY1" fmla="*/ 2297112 h 2307741"/>
              <a:gd name="connsiteX2" fmla="*/ 358094 w 2967438"/>
              <a:gd name="connsiteY2" fmla="*/ 2214562 h 2307741"/>
              <a:gd name="connsiteX3" fmla="*/ 362856 w 2967438"/>
              <a:gd name="connsiteY3" fmla="*/ 1585912 h 2307741"/>
              <a:gd name="connsiteX4" fmla="*/ 372381 w 2967438"/>
              <a:gd name="connsiteY4" fmla="*/ 1123950 h 2307741"/>
              <a:gd name="connsiteX5" fmla="*/ 367619 w 2967438"/>
              <a:gd name="connsiteY5" fmla="*/ 471487 h 2307741"/>
              <a:gd name="connsiteX6" fmla="*/ 372381 w 2967438"/>
              <a:gd name="connsiteY6" fmla="*/ 414337 h 2307741"/>
              <a:gd name="connsiteX7" fmla="*/ 429531 w 2967438"/>
              <a:gd name="connsiteY7" fmla="*/ 419100 h 2307741"/>
              <a:gd name="connsiteX8" fmla="*/ 877206 w 2967438"/>
              <a:gd name="connsiteY8" fmla="*/ 414337 h 2307741"/>
              <a:gd name="connsiteX9" fmla="*/ 1205819 w 2967438"/>
              <a:gd name="connsiteY9" fmla="*/ 414337 h 2307741"/>
              <a:gd name="connsiteX10" fmla="*/ 1234394 w 2967438"/>
              <a:gd name="connsiteY10" fmla="*/ 409575 h 2307741"/>
              <a:gd name="connsiteX11" fmla="*/ 2567894 w 2967438"/>
              <a:gd name="connsiteY11" fmla="*/ 404812 h 2307741"/>
              <a:gd name="connsiteX12" fmla="*/ 2605994 w 2967438"/>
              <a:gd name="connsiteY12" fmla="*/ 423862 h 2307741"/>
              <a:gd name="connsiteX13" fmla="*/ 2615519 w 2967438"/>
              <a:gd name="connsiteY13" fmla="*/ 457200 h 2307741"/>
              <a:gd name="connsiteX14" fmla="*/ 2605994 w 2967438"/>
              <a:gd name="connsiteY14" fmla="*/ 614362 h 2307741"/>
              <a:gd name="connsiteX15" fmla="*/ 2596469 w 2967438"/>
              <a:gd name="connsiteY15" fmla="*/ 1176337 h 2307741"/>
              <a:gd name="connsiteX16" fmla="*/ 2601231 w 2967438"/>
              <a:gd name="connsiteY16" fmla="*/ 1209675 h 2307741"/>
              <a:gd name="connsiteX17" fmla="*/ 2604406 w 2967438"/>
              <a:gd name="connsiteY17" fmla="*/ 1514475 h 2307741"/>
              <a:gd name="connsiteX18" fmla="*/ 2610756 w 2967438"/>
              <a:gd name="connsiteY18" fmla="*/ 2066925 h 2307741"/>
              <a:gd name="connsiteX19" fmla="*/ 2612344 w 2967438"/>
              <a:gd name="connsiteY19" fmla="*/ 2203450 h 2307741"/>
              <a:gd name="connsiteX20" fmla="*/ 2620281 w 2967438"/>
              <a:gd name="connsiteY20" fmla="*/ 2292350 h 2307741"/>
              <a:gd name="connsiteX21" fmla="*/ 2847294 w 2967438"/>
              <a:gd name="connsiteY21" fmla="*/ 2303462 h 2307741"/>
              <a:gd name="connsiteX22" fmla="*/ 2963181 w 2967438"/>
              <a:gd name="connsiteY22" fmla="*/ 2282825 h 2307741"/>
              <a:gd name="connsiteX23" fmla="*/ 2944131 w 2967438"/>
              <a:gd name="connsiteY23" fmla="*/ 2181225 h 2307741"/>
              <a:gd name="connsiteX24" fmla="*/ 2952069 w 2967438"/>
              <a:gd name="connsiteY24" fmla="*/ 2008187 h 2307741"/>
              <a:gd name="connsiteX25" fmla="*/ 2958419 w 2967438"/>
              <a:gd name="connsiteY25" fmla="*/ 1804987 h 2307741"/>
              <a:gd name="connsiteX26" fmla="*/ 2948894 w 2967438"/>
              <a:gd name="connsiteY26" fmla="*/ 1366837 h 2307741"/>
              <a:gd name="connsiteX27" fmla="*/ 2944131 w 2967438"/>
              <a:gd name="connsiteY27" fmla="*/ 1081087 h 2307741"/>
              <a:gd name="connsiteX28" fmla="*/ 2944131 w 2967438"/>
              <a:gd name="connsiteY28" fmla="*/ 922337 h 2307741"/>
              <a:gd name="connsiteX29" fmla="*/ 2948894 w 2967438"/>
              <a:gd name="connsiteY29" fmla="*/ 571500 h 2307741"/>
              <a:gd name="connsiteX30" fmla="*/ 2953656 w 2967438"/>
              <a:gd name="connsiteY30" fmla="*/ 342900 h 2307741"/>
              <a:gd name="connsiteX31" fmla="*/ 2953656 w 2967438"/>
              <a:gd name="connsiteY31" fmla="*/ 34925 h 2307741"/>
              <a:gd name="connsiteX32" fmla="*/ 2863169 w 2967438"/>
              <a:gd name="connsiteY32" fmla="*/ 19050 h 2307741"/>
              <a:gd name="connsiteX33" fmla="*/ 2720294 w 2967438"/>
              <a:gd name="connsiteY33" fmla="*/ 9525 h 2307741"/>
              <a:gd name="connsiteX34" fmla="*/ 2377394 w 2967438"/>
              <a:gd name="connsiteY34" fmla="*/ 14287 h 2307741"/>
              <a:gd name="connsiteX35" fmla="*/ 2320244 w 2967438"/>
              <a:gd name="connsiteY35" fmla="*/ 23812 h 2307741"/>
              <a:gd name="connsiteX36" fmla="*/ 1905906 w 2967438"/>
              <a:gd name="connsiteY36" fmla="*/ 19050 h 2307741"/>
              <a:gd name="connsiteX37" fmla="*/ 1801131 w 2967438"/>
              <a:gd name="connsiteY37" fmla="*/ 9525 h 2307741"/>
              <a:gd name="connsiteX38" fmla="*/ 1772556 w 2967438"/>
              <a:gd name="connsiteY38" fmla="*/ 0 h 2307741"/>
              <a:gd name="connsiteX39" fmla="*/ 1524906 w 2967438"/>
              <a:gd name="connsiteY39" fmla="*/ 4762 h 2307741"/>
              <a:gd name="connsiteX40" fmla="*/ 1139144 w 2967438"/>
              <a:gd name="connsiteY40" fmla="*/ 38100 h 2307741"/>
              <a:gd name="connsiteX41" fmla="*/ 305706 w 2967438"/>
              <a:gd name="connsiteY41" fmla="*/ 23812 h 2307741"/>
              <a:gd name="connsiteX42" fmla="*/ 243794 w 2967438"/>
              <a:gd name="connsiteY42" fmla="*/ 14287 h 2307741"/>
              <a:gd name="connsiteX43" fmla="*/ 181881 w 2967438"/>
              <a:gd name="connsiteY43" fmla="*/ 9525 h 2307741"/>
              <a:gd name="connsiteX44" fmla="*/ 15194 w 2967438"/>
              <a:gd name="connsiteY44" fmla="*/ 14287 h 2307741"/>
              <a:gd name="connsiteX45" fmla="*/ 906 w 2967438"/>
              <a:gd name="connsiteY45" fmla="*/ 19050 h 2307741"/>
              <a:gd name="connsiteX46" fmla="*/ 5669 w 2967438"/>
              <a:gd name="connsiteY46" fmla="*/ 85725 h 2307741"/>
              <a:gd name="connsiteX47" fmla="*/ 19956 w 2967438"/>
              <a:gd name="connsiteY47" fmla="*/ 171450 h 2307741"/>
              <a:gd name="connsiteX48" fmla="*/ 10431 w 2967438"/>
              <a:gd name="connsiteY48" fmla="*/ 390525 h 2307741"/>
              <a:gd name="connsiteX49" fmla="*/ 5669 w 2967438"/>
              <a:gd name="connsiteY49" fmla="*/ 800100 h 2307741"/>
              <a:gd name="connsiteX50" fmla="*/ 5669 w 2967438"/>
              <a:gd name="connsiteY50" fmla="*/ 871537 h 2307741"/>
              <a:gd name="connsiteX51" fmla="*/ 10431 w 2967438"/>
              <a:gd name="connsiteY51" fmla="*/ 1157287 h 2307741"/>
              <a:gd name="connsiteX52" fmla="*/ 29481 w 2967438"/>
              <a:gd name="connsiteY52" fmla="*/ 1328737 h 2307741"/>
              <a:gd name="connsiteX53" fmla="*/ 19956 w 2967438"/>
              <a:gd name="connsiteY53" fmla="*/ 1476375 h 2307741"/>
              <a:gd name="connsiteX54" fmla="*/ 10431 w 2967438"/>
              <a:gd name="connsiteY54" fmla="*/ 1562100 h 2307741"/>
              <a:gd name="connsiteX55" fmla="*/ 5669 w 2967438"/>
              <a:gd name="connsiteY55" fmla="*/ 1819275 h 2307741"/>
              <a:gd name="connsiteX56" fmla="*/ 10431 w 2967438"/>
              <a:gd name="connsiteY56" fmla="*/ 2014537 h 2307741"/>
              <a:gd name="connsiteX57" fmla="*/ 19956 w 2967438"/>
              <a:gd name="connsiteY57" fmla="*/ 2238375 h 2307741"/>
              <a:gd name="connsiteX58" fmla="*/ 10431 w 2967438"/>
              <a:gd name="connsiteY58" fmla="*/ 2300287 h 2307741"/>
              <a:gd name="connsiteX0" fmla="*/ 10431 w 2967438"/>
              <a:gd name="connsiteY0" fmla="*/ 2300287 h 2307741"/>
              <a:gd name="connsiteX1" fmla="*/ 362856 w 2967438"/>
              <a:gd name="connsiteY1" fmla="*/ 2297112 h 2307741"/>
              <a:gd name="connsiteX2" fmla="*/ 358094 w 2967438"/>
              <a:gd name="connsiteY2" fmla="*/ 2214562 h 2307741"/>
              <a:gd name="connsiteX3" fmla="*/ 362856 w 2967438"/>
              <a:gd name="connsiteY3" fmla="*/ 1585912 h 2307741"/>
              <a:gd name="connsiteX4" fmla="*/ 372381 w 2967438"/>
              <a:gd name="connsiteY4" fmla="*/ 1123950 h 2307741"/>
              <a:gd name="connsiteX5" fmla="*/ 367619 w 2967438"/>
              <a:gd name="connsiteY5" fmla="*/ 471487 h 2307741"/>
              <a:gd name="connsiteX6" fmla="*/ 372381 w 2967438"/>
              <a:gd name="connsiteY6" fmla="*/ 414337 h 2307741"/>
              <a:gd name="connsiteX7" fmla="*/ 429531 w 2967438"/>
              <a:gd name="connsiteY7" fmla="*/ 419100 h 2307741"/>
              <a:gd name="connsiteX8" fmla="*/ 877206 w 2967438"/>
              <a:gd name="connsiteY8" fmla="*/ 414337 h 2307741"/>
              <a:gd name="connsiteX9" fmla="*/ 1205819 w 2967438"/>
              <a:gd name="connsiteY9" fmla="*/ 414337 h 2307741"/>
              <a:gd name="connsiteX10" fmla="*/ 1234394 w 2967438"/>
              <a:gd name="connsiteY10" fmla="*/ 409575 h 2307741"/>
              <a:gd name="connsiteX11" fmla="*/ 2567894 w 2967438"/>
              <a:gd name="connsiteY11" fmla="*/ 404812 h 2307741"/>
              <a:gd name="connsiteX12" fmla="*/ 2605994 w 2967438"/>
              <a:gd name="connsiteY12" fmla="*/ 423862 h 2307741"/>
              <a:gd name="connsiteX13" fmla="*/ 2615519 w 2967438"/>
              <a:gd name="connsiteY13" fmla="*/ 457200 h 2307741"/>
              <a:gd name="connsiteX14" fmla="*/ 2605994 w 2967438"/>
              <a:gd name="connsiteY14" fmla="*/ 614362 h 2307741"/>
              <a:gd name="connsiteX15" fmla="*/ 2596469 w 2967438"/>
              <a:gd name="connsiteY15" fmla="*/ 1176337 h 2307741"/>
              <a:gd name="connsiteX16" fmla="*/ 2601231 w 2967438"/>
              <a:gd name="connsiteY16" fmla="*/ 1209675 h 2307741"/>
              <a:gd name="connsiteX17" fmla="*/ 2604406 w 2967438"/>
              <a:gd name="connsiteY17" fmla="*/ 1514475 h 2307741"/>
              <a:gd name="connsiteX18" fmla="*/ 2610756 w 2967438"/>
              <a:gd name="connsiteY18" fmla="*/ 2066925 h 2307741"/>
              <a:gd name="connsiteX19" fmla="*/ 2612344 w 2967438"/>
              <a:gd name="connsiteY19" fmla="*/ 2203450 h 2307741"/>
              <a:gd name="connsiteX20" fmla="*/ 2620281 w 2967438"/>
              <a:gd name="connsiteY20" fmla="*/ 2292350 h 2307741"/>
              <a:gd name="connsiteX21" fmla="*/ 2847294 w 2967438"/>
              <a:gd name="connsiteY21" fmla="*/ 2303462 h 2307741"/>
              <a:gd name="connsiteX22" fmla="*/ 2963181 w 2967438"/>
              <a:gd name="connsiteY22" fmla="*/ 2282825 h 2307741"/>
              <a:gd name="connsiteX23" fmla="*/ 2944131 w 2967438"/>
              <a:gd name="connsiteY23" fmla="*/ 2181225 h 2307741"/>
              <a:gd name="connsiteX24" fmla="*/ 2952069 w 2967438"/>
              <a:gd name="connsiteY24" fmla="*/ 2008187 h 2307741"/>
              <a:gd name="connsiteX25" fmla="*/ 2958419 w 2967438"/>
              <a:gd name="connsiteY25" fmla="*/ 1804987 h 2307741"/>
              <a:gd name="connsiteX26" fmla="*/ 2948894 w 2967438"/>
              <a:gd name="connsiteY26" fmla="*/ 1366837 h 2307741"/>
              <a:gd name="connsiteX27" fmla="*/ 2944131 w 2967438"/>
              <a:gd name="connsiteY27" fmla="*/ 1081087 h 2307741"/>
              <a:gd name="connsiteX28" fmla="*/ 2944131 w 2967438"/>
              <a:gd name="connsiteY28" fmla="*/ 922337 h 2307741"/>
              <a:gd name="connsiteX29" fmla="*/ 2948894 w 2967438"/>
              <a:gd name="connsiteY29" fmla="*/ 571500 h 2307741"/>
              <a:gd name="connsiteX30" fmla="*/ 2953656 w 2967438"/>
              <a:gd name="connsiteY30" fmla="*/ 342900 h 2307741"/>
              <a:gd name="connsiteX31" fmla="*/ 2953656 w 2967438"/>
              <a:gd name="connsiteY31" fmla="*/ 34925 h 2307741"/>
              <a:gd name="connsiteX32" fmla="*/ 2863169 w 2967438"/>
              <a:gd name="connsiteY32" fmla="*/ 19050 h 2307741"/>
              <a:gd name="connsiteX33" fmla="*/ 2720294 w 2967438"/>
              <a:gd name="connsiteY33" fmla="*/ 9525 h 2307741"/>
              <a:gd name="connsiteX34" fmla="*/ 2377394 w 2967438"/>
              <a:gd name="connsiteY34" fmla="*/ 14287 h 2307741"/>
              <a:gd name="connsiteX35" fmla="*/ 2320244 w 2967438"/>
              <a:gd name="connsiteY35" fmla="*/ 23812 h 2307741"/>
              <a:gd name="connsiteX36" fmla="*/ 1905906 w 2967438"/>
              <a:gd name="connsiteY36" fmla="*/ 19050 h 2307741"/>
              <a:gd name="connsiteX37" fmla="*/ 1801131 w 2967438"/>
              <a:gd name="connsiteY37" fmla="*/ 9525 h 2307741"/>
              <a:gd name="connsiteX38" fmla="*/ 1772556 w 2967438"/>
              <a:gd name="connsiteY38" fmla="*/ 0 h 2307741"/>
              <a:gd name="connsiteX39" fmla="*/ 1524906 w 2967438"/>
              <a:gd name="connsiteY39" fmla="*/ 4762 h 2307741"/>
              <a:gd name="connsiteX40" fmla="*/ 1139144 w 2967438"/>
              <a:gd name="connsiteY40" fmla="*/ 38100 h 2307741"/>
              <a:gd name="connsiteX41" fmla="*/ 305706 w 2967438"/>
              <a:gd name="connsiteY41" fmla="*/ 23812 h 2307741"/>
              <a:gd name="connsiteX42" fmla="*/ 243794 w 2967438"/>
              <a:gd name="connsiteY42" fmla="*/ 14287 h 2307741"/>
              <a:gd name="connsiteX43" fmla="*/ 181881 w 2967438"/>
              <a:gd name="connsiteY43" fmla="*/ 9525 h 2307741"/>
              <a:gd name="connsiteX44" fmla="*/ 15194 w 2967438"/>
              <a:gd name="connsiteY44" fmla="*/ 14287 h 2307741"/>
              <a:gd name="connsiteX45" fmla="*/ 906 w 2967438"/>
              <a:gd name="connsiteY45" fmla="*/ 19050 h 2307741"/>
              <a:gd name="connsiteX46" fmla="*/ 5669 w 2967438"/>
              <a:gd name="connsiteY46" fmla="*/ 85725 h 2307741"/>
              <a:gd name="connsiteX47" fmla="*/ 19956 w 2967438"/>
              <a:gd name="connsiteY47" fmla="*/ 171450 h 2307741"/>
              <a:gd name="connsiteX48" fmla="*/ 10431 w 2967438"/>
              <a:gd name="connsiteY48" fmla="*/ 390525 h 2307741"/>
              <a:gd name="connsiteX49" fmla="*/ 5669 w 2967438"/>
              <a:gd name="connsiteY49" fmla="*/ 800100 h 2307741"/>
              <a:gd name="connsiteX50" fmla="*/ 5669 w 2967438"/>
              <a:gd name="connsiteY50" fmla="*/ 871537 h 2307741"/>
              <a:gd name="connsiteX51" fmla="*/ 10431 w 2967438"/>
              <a:gd name="connsiteY51" fmla="*/ 1157287 h 2307741"/>
              <a:gd name="connsiteX52" fmla="*/ 29481 w 2967438"/>
              <a:gd name="connsiteY52" fmla="*/ 1328737 h 2307741"/>
              <a:gd name="connsiteX53" fmla="*/ 19956 w 2967438"/>
              <a:gd name="connsiteY53" fmla="*/ 1476375 h 2307741"/>
              <a:gd name="connsiteX54" fmla="*/ 10431 w 2967438"/>
              <a:gd name="connsiteY54" fmla="*/ 1562100 h 2307741"/>
              <a:gd name="connsiteX55" fmla="*/ 5669 w 2967438"/>
              <a:gd name="connsiteY55" fmla="*/ 1819275 h 2307741"/>
              <a:gd name="connsiteX56" fmla="*/ 10431 w 2967438"/>
              <a:gd name="connsiteY56" fmla="*/ 2014537 h 2307741"/>
              <a:gd name="connsiteX57" fmla="*/ 19956 w 2967438"/>
              <a:gd name="connsiteY57" fmla="*/ 2238375 h 2307741"/>
              <a:gd name="connsiteX58" fmla="*/ 10431 w 2967438"/>
              <a:gd name="connsiteY58" fmla="*/ 2300287 h 2307741"/>
              <a:gd name="connsiteX0" fmla="*/ 10431 w 2967438"/>
              <a:gd name="connsiteY0" fmla="*/ 2300287 h 2307741"/>
              <a:gd name="connsiteX1" fmla="*/ 362856 w 2967438"/>
              <a:gd name="connsiteY1" fmla="*/ 2297112 h 2307741"/>
              <a:gd name="connsiteX2" fmla="*/ 358094 w 2967438"/>
              <a:gd name="connsiteY2" fmla="*/ 2214562 h 2307741"/>
              <a:gd name="connsiteX3" fmla="*/ 362856 w 2967438"/>
              <a:gd name="connsiteY3" fmla="*/ 1585912 h 2307741"/>
              <a:gd name="connsiteX4" fmla="*/ 372381 w 2967438"/>
              <a:gd name="connsiteY4" fmla="*/ 1123950 h 2307741"/>
              <a:gd name="connsiteX5" fmla="*/ 367619 w 2967438"/>
              <a:gd name="connsiteY5" fmla="*/ 471487 h 2307741"/>
              <a:gd name="connsiteX6" fmla="*/ 372381 w 2967438"/>
              <a:gd name="connsiteY6" fmla="*/ 414337 h 2307741"/>
              <a:gd name="connsiteX7" fmla="*/ 429531 w 2967438"/>
              <a:gd name="connsiteY7" fmla="*/ 419100 h 2307741"/>
              <a:gd name="connsiteX8" fmla="*/ 877206 w 2967438"/>
              <a:gd name="connsiteY8" fmla="*/ 414337 h 2307741"/>
              <a:gd name="connsiteX9" fmla="*/ 1205819 w 2967438"/>
              <a:gd name="connsiteY9" fmla="*/ 414337 h 2307741"/>
              <a:gd name="connsiteX10" fmla="*/ 1234394 w 2967438"/>
              <a:gd name="connsiteY10" fmla="*/ 409575 h 2307741"/>
              <a:gd name="connsiteX11" fmla="*/ 2567894 w 2967438"/>
              <a:gd name="connsiteY11" fmla="*/ 404812 h 2307741"/>
              <a:gd name="connsiteX12" fmla="*/ 2605994 w 2967438"/>
              <a:gd name="connsiteY12" fmla="*/ 423862 h 2307741"/>
              <a:gd name="connsiteX13" fmla="*/ 2615519 w 2967438"/>
              <a:gd name="connsiteY13" fmla="*/ 457200 h 2307741"/>
              <a:gd name="connsiteX14" fmla="*/ 2605994 w 2967438"/>
              <a:gd name="connsiteY14" fmla="*/ 614362 h 2307741"/>
              <a:gd name="connsiteX15" fmla="*/ 2596469 w 2967438"/>
              <a:gd name="connsiteY15" fmla="*/ 1176337 h 2307741"/>
              <a:gd name="connsiteX16" fmla="*/ 2601231 w 2967438"/>
              <a:gd name="connsiteY16" fmla="*/ 1209675 h 2307741"/>
              <a:gd name="connsiteX17" fmla="*/ 2604406 w 2967438"/>
              <a:gd name="connsiteY17" fmla="*/ 1514475 h 2307741"/>
              <a:gd name="connsiteX18" fmla="*/ 2610756 w 2967438"/>
              <a:gd name="connsiteY18" fmla="*/ 2066925 h 2307741"/>
              <a:gd name="connsiteX19" fmla="*/ 2612344 w 2967438"/>
              <a:gd name="connsiteY19" fmla="*/ 2203450 h 2307741"/>
              <a:gd name="connsiteX20" fmla="*/ 2620281 w 2967438"/>
              <a:gd name="connsiteY20" fmla="*/ 2292350 h 2307741"/>
              <a:gd name="connsiteX21" fmla="*/ 2847294 w 2967438"/>
              <a:gd name="connsiteY21" fmla="*/ 2303462 h 2307741"/>
              <a:gd name="connsiteX22" fmla="*/ 2963181 w 2967438"/>
              <a:gd name="connsiteY22" fmla="*/ 2282825 h 2307741"/>
              <a:gd name="connsiteX23" fmla="*/ 2944131 w 2967438"/>
              <a:gd name="connsiteY23" fmla="*/ 2181225 h 2307741"/>
              <a:gd name="connsiteX24" fmla="*/ 2952069 w 2967438"/>
              <a:gd name="connsiteY24" fmla="*/ 2008187 h 2307741"/>
              <a:gd name="connsiteX25" fmla="*/ 2958419 w 2967438"/>
              <a:gd name="connsiteY25" fmla="*/ 1804987 h 2307741"/>
              <a:gd name="connsiteX26" fmla="*/ 2948894 w 2967438"/>
              <a:gd name="connsiteY26" fmla="*/ 1366837 h 2307741"/>
              <a:gd name="connsiteX27" fmla="*/ 2944131 w 2967438"/>
              <a:gd name="connsiteY27" fmla="*/ 1081087 h 2307741"/>
              <a:gd name="connsiteX28" fmla="*/ 2944131 w 2967438"/>
              <a:gd name="connsiteY28" fmla="*/ 922337 h 2307741"/>
              <a:gd name="connsiteX29" fmla="*/ 2948894 w 2967438"/>
              <a:gd name="connsiteY29" fmla="*/ 571500 h 2307741"/>
              <a:gd name="connsiteX30" fmla="*/ 2953656 w 2967438"/>
              <a:gd name="connsiteY30" fmla="*/ 342900 h 2307741"/>
              <a:gd name="connsiteX31" fmla="*/ 2953656 w 2967438"/>
              <a:gd name="connsiteY31" fmla="*/ 34925 h 2307741"/>
              <a:gd name="connsiteX32" fmla="*/ 2863169 w 2967438"/>
              <a:gd name="connsiteY32" fmla="*/ 19050 h 2307741"/>
              <a:gd name="connsiteX33" fmla="*/ 2720294 w 2967438"/>
              <a:gd name="connsiteY33" fmla="*/ 9525 h 2307741"/>
              <a:gd name="connsiteX34" fmla="*/ 2377394 w 2967438"/>
              <a:gd name="connsiteY34" fmla="*/ 14287 h 2307741"/>
              <a:gd name="connsiteX35" fmla="*/ 2320244 w 2967438"/>
              <a:gd name="connsiteY35" fmla="*/ 23812 h 2307741"/>
              <a:gd name="connsiteX36" fmla="*/ 1905906 w 2967438"/>
              <a:gd name="connsiteY36" fmla="*/ 19050 h 2307741"/>
              <a:gd name="connsiteX37" fmla="*/ 1801131 w 2967438"/>
              <a:gd name="connsiteY37" fmla="*/ 9525 h 2307741"/>
              <a:gd name="connsiteX38" fmla="*/ 1772556 w 2967438"/>
              <a:gd name="connsiteY38" fmla="*/ 0 h 2307741"/>
              <a:gd name="connsiteX39" fmla="*/ 1524906 w 2967438"/>
              <a:gd name="connsiteY39" fmla="*/ 4762 h 2307741"/>
              <a:gd name="connsiteX40" fmla="*/ 1139144 w 2967438"/>
              <a:gd name="connsiteY40" fmla="*/ 38100 h 2307741"/>
              <a:gd name="connsiteX41" fmla="*/ 305706 w 2967438"/>
              <a:gd name="connsiteY41" fmla="*/ 23812 h 2307741"/>
              <a:gd name="connsiteX42" fmla="*/ 243794 w 2967438"/>
              <a:gd name="connsiteY42" fmla="*/ 14287 h 2307741"/>
              <a:gd name="connsiteX43" fmla="*/ 181881 w 2967438"/>
              <a:gd name="connsiteY43" fmla="*/ 9525 h 2307741"/>
              <a:gd name="connsiteX44" fmla="*/ 15194 w 2967438"/>
              <a:gd name="connsiteY44" fmla="*/ 14287 h 2307741"/>
              <a:gd name="connsiteX45" fmla="*/ 906 w 2967438"/>
              <a:gd name="connsiteY45" fmla="*/ 19050 h 2307741"/>
              <a:gd name="connsiteX46" fmla="*/ 5669 w 2967438"/>
              <a:gd name="connsiteY46" fmla="*/ 85725 h 2307741"/>
              <a:gd name="connsiteX47" fmla="*/ 19956 w 2967438"/>
              <a:gd name="connsiteY47" fmla="*/ 171450 h 2307741"/>
              <a:gd name="connsiteX48" fmla="*/ 10431 w 2967438"/>
              <a:gd name="connsiteY48" fmla="*/ 390525 h 2307741"/>
              <a:gd name="connsiteX49" fmla="*/ 5669 w 2967438"/>
              <a:gd name="connsiteY49" fmla="*/ 800100 h 2307741"/>
              <a:gd name="connsiteX50" fmla="*/ 5669 w 2967438"/>
              <a:gd name="connsiteY50" fmla="*/ 871537 h 2307741"/>
              <a:gd name="connsiteX51" fmla="*/ 10431 w 2967438"/>
              <a:gd name="connsiteY51" fmla="*/ 1157287 h 2307741"/>
              <a:gd name="connsiteX52" fmla="*/ 19956 w 2967438"/>
              <a:gd name="connsiteY52" fmla="*/ 1476375 h 2307741"/>
              <a:gd name="connsiteX53" fmla="*/ 10431 w 2967438"/>
              <a:gd name="connsiteY53" fmla="*/ 1562100 h 2307741"/>
              <a:gd name="connsiteX54" fmla="*/ 5669 w 2967438"/>
              <a:gd name="connsiteY54" fmla="*/ 1819275 h 2307741"/>
              <a:gd name="connsiteX55" fmla="*/ 10431 w 2967438"/>
              <a:gd name="connsiteY55" fmla="*/ 2014537 h 2307741"/>
              <a:gd name="connsiteX56" fmla="*/ 19956 w 2967438"/>
              <a:gd name="connsiteY56" fmla="*/ 2238375 h 2307741"/>
              <a:gd name="connsiteX57" fmla="*/ 10431 w 2967438"/>
              <a:gd name="connsiteY57" fmla="*/ 2300287 h 2307741"/>
              <a:gd name="connsiteX0" fmla="*/ 11566 w 2968573"/>
              <a:gd name="connsiteY0" fmla="*/ 2300287 h 2307741"/>
              <a:gd name="connsiteX1" fmla="*/ 363991 w 2968573"/>
              <a:gd name="connsiteY1" fmla="*/ 2297112 h 2307741"/>
              <a:gd name="connsiteX2" fmla="*/ 359229 w 2968573"/>
              <a:gd name="connsiteY2" fmla="*/ 2214562 h 2307741"/>
              <a:gd name="connsiteX3" fmla="*/ 363991 w 2968573"/>
              <a:gd name="connsiteY3" fmla="*/ 1585912 h 2307741"/>
              <a:gd name="connsiteX4" fmla="*/ 373516 w 2968573"/>
              <a:gd name="connsiteY4" fmla="*/ 1123950 h 2307741"/>
              <a:gd name="connsiteX5" fmla="*/ 368754 w 2968573"/>
              <a:gd name="connsiteY5" fmla="*/ 471487 h 2307741"/>
              <a:gd name="connsiteX6" fmla="*/ 373516 w 2968573"/>
              <a:gd name="connsiteY6" fmla="*/ 414337 h 2307741"/>
              <a:gd name="connsiteX7" fmla="*/ 430666 w 2968573"/>
              <a:gd name="connsiteY7" fmla="*/ 419100 h 2307741"/>
              <a:gd name="connsiteX8" fmla="*/ 878341 w 2968573"/>
              <a:gd name="connsiteY8" fmla="*/ 414337 h 2307741"/>
              <a:gd name="connsiteX9" fmla="*/ 1206954 w 2968573"/>
              <a:gd name="connsiteY9" fmla="*/ 414337 h 2307741"/>
              <a:gd name="connsiteX10" fmla="*/ 1235529 w 2968573"/>
              <a:gd name="connsiteY10" fmla="*/ 409575 h 2307741"/>
              <a:gd name="connsiteX11" fmla="*/ 2569029 w 2968573"/>
              <a:gd name="connsiteY11" fmla="*/ 404812 h 2307741"/>
              <a:gd name="connsiteX12" fmla="*/ 2607129 w 2968573"/>
              <a:gd name="connsiteY12" fmla="*/ 423862 h 2307741"/>
              <a:gd name="connsiteX13" fmla="*/ 2616654 w 2968573"/>
              <a:gd name="connsiteY13" fmla="*/ 457200 h 2307741"/>
              <a:gd name="connsiteX14" fmla="*/ 2607129 w 2968573"/>
              <a:gd name="connsiteY14" fmla="*/ 614362 h 2307741"/>
              <a:gd name="connsiteX15" fmla="*/ 2597604 w 2968573"/>
              <a:gd name="connsiteY15" fmla="*/ 1176337 h 2307741"/>
              <a:gd name="connsiteX16" fmla="*/ 2602366 w 2968573"/>
              <a:gd name="connsiteY16" fmla="*/ 1209675 h 2307741"/>
              <a:gd name="connsiteX17" fmla="*/ 2605541 w 2968573"/>
              <a:gd name="connsiteY17" fmla="*/ 1514475 h 2307741"/>
              <a:gd name="connsiteX18" fmla="*/ 2611891 w 2968573"/>
              <a:gd name="connsiteY18" fmla="*/ 2066925 h 2307741"/>
              <a:gd name="connsiteX19" fmla="*/ 2613479 w 2968573"/>
              <a:gd name="connsiteY19" fmla="*/ 2203450 h 2307741"/>
              <a:gd name="connsiteX20" fmla="*/ 2621416 w 2968573"/>
              <a:gd name="connsiteY20" fmla="*/ 2292350 h 2307741"/>
              <a:gd name="connsiteX21" fmla="*/ 2848429 w 2968573"/>
              <a:gd name="connsiteY21" fmla="*/ 2303462 h 2307741"/>
              <a:gd name="connsiteX22" fmla="*/ 2964316 w 2968573"/>
              <a:gd name="connsiteY22" fmla="*/ 2282825 h 2307741"/>
              <a:gd name="connsiteX23" fmla="*/ 2945266 w 2968573"/>
              <a:gd name="connsiteY23" fmla="*/ 2181225 h 2307741"/>
              <a:gd name="connsiteX24" fmla="*/ 2953204 w 2968573"/>
              <a:gd name="connsiteY24" fmla="*/ 2008187 h 2307741"/>
              <a:gd name="connsiteX25" fmla="*/ 2959554 w 2968573"/>
              <a:gd name="connsiteY25" fmla="*/ 1804987 h 2307741"/>
              <a:gd name="connsiteX26" fmla="*/ 2950029 w 2968573"/>
              <a:gd name="connsiteY26" fmla="*/ 1366837 h 2307741"/>
              <a:gd name="connsiteX27" fmla="*/ 2945266 w 2968573"/>
              <a:gd name="connsiteY27" fmla="*/ 1081087 h 2307741"/>
              <a:gd name="connsiteX28" fmla="*/ 2945266 w 2968573"/>
              <a:gd name="connsiteY28" fmla="*/ 922337 h 2307741"/>
              <a:gd name="connsiteX29" fmla="*/ 2950029 w 2968573"/>
              <a:gd name="connsiteY29" fmla="*/ 571500 h 2307741"/>
              <a:gd name="connsiteX30" fmla="*/ 2954791 w 2968573"/>
              <a:gd name="connsiteY30" fmla="*/ 342900 h 2307741"/>
              <a:gd name="connsiteX31" fmla="*/ 2954791 w 2968573"/>
              <a:gd name="connsiteY31" fmla="*/ 34925 h 2307741"/>
              <a:gd name="connsiteX32" fmla="*/ 2864304 w 2968573"/>
              <a:gd name="connsiteY32" fmla="*/ 19050 h 2307741"/>
              <a:gd name="connsiteX33" fmla="*/ 2721429 w 2968573"/>
              <a:gd name="connsiteY33" fmla="*/ 9525 h 2307741"/>
              <a:gd name="connsiteX34" fmla="*/ 2378529 w 2968573"/>
              <a:gd name="connsiteY34" fmla="*/ 14287 h 2307741"/>
              <a:gd name="connsiteX35" fmla="*/ 2321379 w 2968573"/>
              <a:gd name="connsiteY35" fmla="*/ 23812 h 2307741"/>
              <a:gd name="connsiteX36" fmla="*/ 1907041 w 2968573"/>
              <a:gd name="connsiteY36" fmla="*/ 19050 h 2307741"/>
              <a:gd name="connsiteX37" fmla="*/ 1802266 w 2968573"/>
              <a:gd name="connsiteY37" fmla="*/ 9525 h 2307741"/>
              <a:gd name="connsiteX38" fmla="*/ 1773691 w 2968573"/>
              <a:gd name="connsiteY38" fmla="*/ 0 h 2307741"/>
              <a:gd name="connsiteX39" fmla="*/ 1526041 w 2968573"/>
              <a:gd name="connsiteY39" fmla="*/ 4762 h 2307741"/>
              <a:gd name="connsiteX40" fmla="*/ 1140279 w 2968573"/>
              <a:gd name="connsiteY40" fmla="*/ 38100 h 2307741"/>
              <a:gd name="connsiteX41" fmla="*/ 306841 w 2968573"/>
              <a:gd name="connsiteY41" fmla="*/ 23812 h 2307741"/>
              <a:gd name="connsiteX42" fmla="*/ 244929 w 2968573"/>
              <a:gd name="connsiteY42" fmla="*/ 14287 h 2307741"/>
              <a:gd name="connsiteX43" fmla="*/ 183016 w 2968573"/>
              <a:gd name="connsiteY43" fmla="*/ 9525 h 2307741"/>
              <a:gd name="connsiteX44" fmla="*/ 16329 w 2968573"/>
              <a:gd name="connsiteY44" fmla="*/ 14287 h 2307741"/>
              <a:gd name="connsiteX45" fmla="*/ 6804 w 2968573"/>
              <a:gd name="connsiteY45" fmla="*/ 85725 h 2307741"/>
              <a:gd name="connsiteX46" fmla="*/ 21091 w 2968573"/>
              <a:gd name="connsiteY46" fmla="*/ 171450 h 2307741"/>
              <a:gd name="connsiteX47" fmla="*/ 11566 w 2968573"/>
              <a:gd name="connsiteY47" fmla="*/ 390525 h 2307741"/>
              <a:gd name="connsiteX48" fmla="*/ 6804 w 2968573"/>
              <a:gd name="connsiteY48" fmla="*/ 800100 h 2307741"/>
              <a:gd name="connsiteX49" fmla="*/ 6804 w 2968573"/>
              <a:gd name="connsiteY49" fmla="*/ 871537 h 2307741"/>
              <a:gd name="connsiteX50" fmla="*/ 11566 w 2968573"/>
              <a:gd name="connsiteY50" fmla="*/ 1157287 h 2307741"/>
              <a:gd name="connsiteX51" fmla="*/ 21091 w 2968573"/>
              <a:gd name="connsiteY51" fmla="*/ 1476375 h 2307741"/>
              <a:gd name="connsiteX52" fmla="*/ 11566 w 2968573"/>
              <a:gd name="connsiteY52" fmla="*/ 1562100 h 2307741"/>
              <a:gd name="connsiteX53" fmla="*/ 6804 w 2968573"/>
              <a:gd name="connsiteY53" fmla="*/ 1819275 h 2307741"/>
              <a:gd name="connsiteX54" fmla="*/ 11566 w 2968573"/>
              <a:gd name="connsiteY54" fmla="*/ 2014537 h 2307741"/>
              <a:gd name="connsiteX55" fmla="*/ 21091 w 2968573"/>
              <a:gd name="connsiteY55" fmla="*/ 2238375 h 2307741"/>
              <a:gd name="connsiteX56" fmla="*/ 11566 w 2968573"/>
              <a:gd name="connsiteY56" fmla="*/ 2300287 h 2307741"/>
              <a:gd name="connsiteX0" fmla="*/ 5327 w 2962334"/>
              <a:gd name="connsiteY0" fmla="*/ 2300287 h 2307741"/>
              <a:gd name="connsiteX1" fmla="*/ 357752 w 2962334"/>
              <a:gd name="connsiteY1" fmla="*/ 2297112 h 2307741"/>
              <a:gd name="connsiteX2" fmla="*/ 352990 w 2962334"/>
              <a:gd name="connsiteY2" fmla="*/ 2214562 h 2307741"/>
              <a:gd name="connsiteX3" fmla="*/ 357752 w 2962334"/>
              <a:gd name="connsiteY3" fmla="*/ 1585912 h 2307741"/>
              <a:gd name="connsiteX4" fmla="*/ 367277 w 2962334"/>
              <a:gd name="connsiteY4" fmla="*/ 1123950 h 2307741"/>
              <a:gd name="connsiteX5" fmla="*/ 362515 w 2962334"/>
              <a:gd name="connsiteY5" fmla="*/ 471487 h 2307741"/>
              <a:gd name="connsiteX6" fmla="*/ 367277 w 2962334"/>
              <a:gd name="connsiteY6" fmla="*/ 414337 h 2307741"/>
              <a:gd name="connsiteX7" fmla="*/ 424427 w 2962334"/>
              <a:gd name="connsiteY7" fmla="*/ 419100 h 2307741"/>
              <a:gd name="connsiteX8" fmla="*/ 872102 w 2962334"/>
              <a:gd name="connsiteY8" fmla="*/ 414337 h 2307741"/>
              <a:gd name="connsiteX9" fmla="*/ 1200715 w 2962334"/>
              <a:gd name="connsiteY9" fmla="*/ 414337 h 2307741"/>
              <a:gd name="connsiteX10" fmla="*/ 1229290 w 2962334"/>
              <a:gd name="connsiteY10" fmla="*/ 409575 h 2307741"/>
              <a:gd name="connsiteX11" fmla="*/ 2562790 w 2962334"/>
              <a:gd name="connsiteY11" fmla="*/ 404812 h 2307741"/>
              <a:gd name="connsiteX12" fmla="*/ 2600890 w 2962334"/>
              <a:gd name="connsiteY12" fmla="*/ 423862 h 2307741"/>
              <a:gd name="connsiteX13" fmla="*/ 2610415 w 2962334"/>
              <a:gd name="connsiteY13" fmla="*/ 457200 h 2307741"/>
              <a:gd name="connsiteX14" fmla="*/ 2600890 w 2962334"/>
              <a:gd name="connsiteY14" fmla="*/ 614362 h 2307741"/>
              <a:gd name="connsiteX15" fmla="*/ 2591365 w 2962334"/>
              <a:gd name="connsiteY15" fmla="*/ 1176337 h 2307741"/>
              <a:gd name="connsiteX16" fmla="*/ 2596127 w 2962334"/>
              <a:gd name="connsiteY16" fmla="*/ 1209675 h 2307741"/>
              <a:gd name="connsiteX17" fmla="*/ 2599302 w 2962334"/>
              <a:gd name="connsiteY17" fmla="*/ 1514475 h 2307741"/>
              <a:gd name="connsiteX18" fmla="*/ 2605652 w 2962334"/>
              <a:gd name="connsiteY18" fmla="*/ 2066925 h 2307741"/>
              <a:gd name="connsiteX19" fmla="*/ 2607240 w 2962334"/>
              <a:gd name="connsiteY19" fmla="*/ 2203450 h 2307741"/>
              <a:gd name="connsiteX20" fmla="*/ 2615177 w 2962334"/>
              <a:gd name="connsiteY20" fmla="*/ 2292350 h 2307741"/>
              <a:gd name="connsiteX21" fmla="*/ 2842190 w 2962334"/>
              <a:gd name="connsiteY21" fmla="*/ 2303462 h 2307741"/>
              <a:gd name="connsiteX22" fmla="*/ 2958077 w 2962334"/>
              <a:gd name="connsiteY22" fmla="*/ 2282825 h 2307741"/>
              <a:gd name="connsiteX23" fmla="*/ 2939027 w 2962334"/>
              <a:gd name="connsiteY23" fmla="*/ 2181225 h 2307741"/>
              <a:gd name="connsiteX24" fmla="*/ 2946965 w 2962334"/>
              <a:gd name="connsiteY24" fmla="*/ 2008187 h 2307741"/>
              <a:gd name="connsiteX25" fmla="*/ 2953315 w 2962334"/>
              <a:gd name="connsiteY25" fmla="*/ 1804987 h 2307741"/>
              <a:gd name="connsiteX26" fmla="*/ 2943790 w 2962334"/>
              <a:gd name="connsiteY26" fmla="*/ 1366837 h 2307741"/>
              <a:gd name="connsiteX27" fmla="*/ 2939027 w 2962334"/>
              <a:gd name="connsiteY27" fmla="*/ 1081087 h 2307741"/>
              <a:gd name="connsiteX28" fmla="*/ 2939027 w 2962334"/>
              <a:gd name="connsiteY28" fmla="*/ 922337 h 2307741"/>
              <a:gd name="connsiteX29" fmla="*/ 2943790 w 2962334"/>
              <a:gd name="connsiteY29" fmla="*/ 571500 h 2307741"/>
              <a:gd name="connsiteX30" fmla="*/ 2948552 w 2962334"/>
              <a:gd name="connsiteY30" fmla="*/ 342900 h 2307741"/>
              <a:gd name="connsiteX31" fmla="*/ 2948552 w 2962334"/>
              <a:gd name="connsiteY31" fmla="*/ 34925 h 2307741"/>
              <a:gd name="connsiteX32" fmla="*/ 2858065 w 2962334"/>
              <a:gd name="connsiteY32" fmla="*/ 19050 h 2307741"/>
              <a:gd name="connsiteX33" fmla="*/ 2715190 w 2962334"/>
              <a:gd name="connsiteY33" fmla="*/ 9525 h 2307741"/>
              <a:gd name="connsiteX34" fmla="*/ 2372290 w 2962334"/>
              <a:gd name="connsiteY34" fmla="*/ 14287 h 2307741"/>
              <a:gd name="connsiteX35" fmla="*/ 2315140 w 2962334"/>
              <a:gd name="connsiteY35" fmla="*/ 23812 h 2307741"/>
              <a:gd name="connsiteX36" fmla="*/ 1900802 w 2962334"/>
              <a:gd name="connsiteY36" fmla="*/ 19050 h 2307741"/>
              <a:gd name="connsiteX37" fmla="*/ 1796027 w 2962334"/>
              <a:gd name="connsiteY37" fmla="*/ 9525 h 2307741"/>
              <a:gd name="connsiteX38" fmla="*/ 1767452 w 2962334"/>
              <a:gd name="connsiteY38" fmla="*/ 0 h 2307741"/>
              <a:gd name="connsiteX39" fmla="*/ 1519802 w 2962334"/>
              <a:gd name="connsiteY39" fmla="*/ 4762 h 2307741"/>
              <a:gd name="connsiteX40" fmla="*/ 1134040 w 2962334"/>
              <a:gd name="connsiteY40" fmla="*/ 38100 h 2307741"/>
              <a:gd name="connsiteX41" fmla="*/ 300602 w 2962334"/>
              <a:gd name="connsiteY41" fmla="*/ 23812 h 2307741"/>
              <a:gd name="connsiteX42" fmla="*/ 238690 w 2962334"/>
              <a:gd name="connsiteY42" fmla="*/ 14287 h 2307741"/>
              <a:gd name="connsiteX43" fmla="*/ 176777 w 2962334"/>
              <a:gd name="connsiteY43" fmla="*/ 9525 h 2307741"/>
              <a:gd name="connsiteX44" fmla="*/ 38665 w 2962334"/>
              <a:gd name="connsiteY44" fmla="*/ 11112 h 2307741"/>
              <a:gd name="connsiteX45" fmla="*/ 565 w 2962334"/>
              <a:gd name="connsiteY45" fmla="*/ 85725 h 2307741"/>
              <a:gd name="connsiteX46" fmla="*/ 14852 w 2962334"/>
              <a:gd name="connsiteY46" fmla="*/ 171450 h 2307741"/>
              <a:gd name="connsiteX47" fmla="*/ 5327 w 2962334"/>
              <a:gd name="connsiteY47" fmla="*/ 390525 h 2307741"/>
              <a:gd name="connsiteX48" fmla="*/ 565 w 2962334"/>
              <a:gd name="connsiteY48" fmla="*/ 800100 h 2307741"/>
              <a:gd name="connsiteX49" fmla="*/ 565 w 2962334"/>
              <a:gd name="connsiteY49" fmla="*/ 871537 h 2307741"/>
              <a:gd name="connsiteX50" fmla="*/ 5327 w 2962334"/>
              <a:gd name="connsiteY50" fmla="*/ 1157287 h 2307741"/>
              <a:gd name="connsiteX51" fmla="*/ 14852 w 2962334"/>
              <a:gd name="connsiteY51" fmla="*/ 1476375 h 2307741"/>
              <a:gd name="connsiteX52" fmla="*/ 5327 w 2962334"/>
              <a:gd name="connsiteY52" fmla="*/ 1562100 h 2307741"/>
              <a:gd name="connsiteX53" fmla="*/ 565 w 2962334"/>
              <a:gd name="connsiteY53" fmla="*/ 1819275 h 2307741"/>
              <a:gd name="connsiteX54" fmla="*/ 5327 w 2962334"/>
              <a:gd name="connsiteY54" fmla="*/ 2014537 h 2307741"/>
              <a:gd name="connsiteX55" fmla="*/ 14852 w 2962334"/>
              <a:gd name="connsiteY55" fmla="*/ 2238375 h 2307741"/>
              <a:gd name="connsiteX56" fmla="*/ 5327 w 2962334"/>
              <a:gd name="connsiteY56" fmla="*/ 2300287 h 2307741"/>
              <a:gd name="connsiteX0" fmla="*/ 4793 w 2961800"/>
              <a:gd name="connsiteY0" fmla="*/ 2301228 h 2308682"/>
              <a:gd name="connsiteX1" fmla="*/ 357218 w 2961800"/>
              <a:gd name="connsiteY1" fmla="*/ 2298053 h 2308682"/>
              <a:gd name="connsiteX2" fmla="*/ 352456 w 2961800"/>
              <a:gd name="connsiteY2" fmla="*/ 2215503 h 2308682"/>
              <a:gd name="connsiteX3" fmla="*/ 357218 w 2961800"/>
              <a:gd name="connsiteY3" fmla="*/ 1586853 h 2308682"/>
              <a:gd name="connsiteX4" fmla="*/ 366743 w 2961800"/>
              <a:gd name="connsiteY4" fmla="*/ 1124891 h 2308682"/>
              <a:gd name="connsiteX5" fmla="*/ 361981 w 2961800"/>
              <a:gd name="connsiteY5" fmla="*/ 472428 h 2308682"/>
              <a:gd name="connsiteX6" fmla="*/ 366743 w 2961800"/>
              <a:gd name="connsiteY6" fmla="*/ 415278 h 2308682"/>
              <a:gd name="connsiteX7" fmla="*/ 423893 w 2961800"/>
              <a:gd name="connsiteY7" fmla="*/ 420041 h 2308682"/>
              <a:gd name="connsiteX8" fmla="*/ 871568 w 2961800"/>
              <a:gd name="connsiteY8" fmla="*/ 415278 h 2308682"/>
              <a:gd name="connsiteX9" fmla="*/ 1200181 w 2961800"/>
              <a:gd name="connsiteY9" fmla="*/ 415278 h 2308682"/>
              <a:gd name="connsiteX10" fmla="*/ 1228756 w 2961800"/>
              <a:gd name="connsiteY10" fmla="*/ 410516 h 2308682"/>
              <a:gd name="connsiteX11" fmla="*/ 2562256 w 2961800"/>
              <a:gd name="connsiteY11" fmla="*/ 405753 h 2308682"/>
              <a:gd name="connsiteX12" fmla="*/ 2600356 w 2961800"/>
              <a:gd name="connsiteY12" fmla="*/ 424803 h 2308682"/>
              <a:gd name="connsiteX13" fmla="*/ 2609881 w 2961800"/>
              <a:gd name="connsiteY13" fmla="*/ 458141 h 2308682"/>
              <a:gd name="connsiteX14" fmla="*/ 2600356 w 2961800"/>
              <a:gd name="connsiteY14" fmla="*/ 615303 h 2308682"/>
              <a:gd name="connsiteX15" fmla="*/ 2590831 w 2961800"/>
              <a:gd name="connsiteY15" fmla="*/ 1177278 h 2308682"/>
              <a:gd name="connsiteX16" fmla="*/ 2595593 w 2961800"/>
              <a:gd name="connsiteY16" fmla="*/ 1210616 h 2308682"/>
              <a:gd name="connsiteX17" fmla="*/ 2598768 w 2961800"/>
              <a:gd name="connsiteY17" fmla="*/ 1515416 h 2308682"/>
              <a:gd name="connsiteX18" fmla="*/ 2605118 w 2961800"/>
              <a:gd name="connsiteY18" fmla="*/ 2067866 h 2308682"/>
              <a:gd name="connsiteX19" fmla="*/ 2606706 w 2961800"/>
              <a:gd name="connsiteY19" fmla="*/ 2204391 h 2308682"/>
              <a:gd name="connsiteX20" fmla="*/ 2614643 w 2961800"/>
              <a:gd name="connsiteY20" fmla="*/ 2293291 h 2308682"/>
              <a:gd name="connsiteX21" fmla="*/ 2841656 w 2961800"/>
              <a:gd name="connsiteY21" fmla="*/ 2304403 h 2308682"/>
              <a:gd name="connsiteX22" fmla="*/ 2957543 w 2961800"/>
              <a:gd name="connsiteY22" fmla="*/ 2283766 h 2308682"/>
              <a:gd name="connsiteX23" fmla="*/ 2938493 w 2961800"/>
              <a:gd name="connsiteY23" fmla="*/ 2182166 h 2308682"/>
              <a:gd name="connsiteX24" fmla="*/ 2946431 w 2961800"/>
              <a:gd name="connsiteY24" fmla="*/ 2009128 h 2308682"/>
              <a:gd name="connsiteX25" fmla="*/ 2952781 w 2961800"/>
              <a:gd name="connsiteY25" fmla="*/ 1805928 h 2308682"/>
              <a:gd name="connsiteX26" fmla="*/ 2943256 w 2961800"/>
              <a:gd name="connsiteY26" fmla="*/ 1367778 h 2308682"/>
              <a:gd name="connsiteX27" fmla="*/ 2938493 w 2961800"/>
              <a:gd name="connsiteY27" fmla="*/ 1082028 h 2308682"/>
              <a:gd name="connsiteX28" fmla="*/ 2938493 w 2961800"/>
              <a:gd name="connsiteY28" fmla="*/ 923278 h 2308682"/>
              <a:gd name="connsiteX29" fmla="*/ 2943256 w 2961800"/>
              <a:gd name="connsiteY29" fmla="*/ 572441 h 2308682"/>
              <a:gd name="connsiteX30" fmla="*/ 2948018 w 2961800"/>
              <a:gd name="connsiteY30" fmla="*/ 343841 h 2308682"/>
              <a:gd name="connsiteX31" fmla="*/ 2948018 w 2961800"/>
              <a:gd name="connsiteY31" fmla="*/ 35866 h 2308682"/>
              <a:gd name="connsiteX32" fmla="*/ 2857531 w 2961800"/>
              <a:gd name="connsiteY32" fmla="*/ 19991 h 2308682"/>
              <a:gd name="connsiteX33" fmla="*/ 2714656 w 2961800"/>
              <a:gd name="connsiteY33" fmla="*/ 10466 h 2308682"/>
              <a:gd name="connsiteX34" fmla="*/ 2371756 w 2961800"/>
              <a:gd name="connsiteY34" fmla="*/ 15228 h 2308682"/>
              <a:gd name="connsiteX35" fmla="*/ 2314606 w 2961800"/>
              <a:gd name="connsiteY35" fmla="*/ 24753 h 2308682"/>
              <a:gd name="connsiteX36" fmla="*/ 1900268 w 2961800"/>
              <a:gd name="connsiteY36" fmla="*/ 19991 h 2308682"/>
              <a:gd name="connsiteX37" fmla="*/ 1795493 w 2961800"/>
              <a:gd name="connsiteY37" fmla="*/ 10466 h 2308682"/>
              <a:gd name="connsiteX38" fmla="*/ 1766918 w 2961800"/>
              <a:gd name="connsiteY38" fmla="*/ 941 h 2308682"/>
              <a:gd name="connsiteX39" fmla="*/ 1519268 w 2961800"/>
              <a:gd name="connsiteY39" fmla="*/ 5703 h 2308682"/>
              <a:gd name="connsiteX40" fmla="*/ 1133506 w 2961800"/>
              <a:gd name="connsiteY40" fmla="*/ 39041 h 2308682"/>
              <a:gd name="connsiteX41" fmla="*/ 300068 w 2961800"/>
              <a:gd name="connsiteY41" fmla="*/ 24753 h 2308682"/>
              <a:gd name="connsiteX42" fmla="*/ 238156 w 2961800"/>
              <a:gd name="connsiteY42" fmla="*/ 15228 h 2308682"/>
              <a:gd name="connsiteX43" fmla="*/ 176243 w 2961800"/>
              <a:gd name="connsiteY43" fmla="*/ 10466 h 2308682"/>
              <a:gd name="connsiteX44" fmla="*/ 38131 w 2961800"/>
              <a:gd name="connsiteY44" fmla="*/ 12053 h 2308682"/>
              <a:gd name="connsiteX45" fmla="*/ 14318 w 2961800"/>
              <a:gd name="connsiteY45" fmla="*/ 172391 h 2308682"/>
              <a:gd name="connsiteX46" fmla="*/ 4793 w 2961800"/>
              <a:gd name="connsiteY46" fmla="*/ 391466 h 2308682"/>
              <a:gd name="connsiteX47" fmla="*/ 31 w 2961800"/>
              <a:gd name="connsiteY47" fmla="*/ 801041 h 2308682"/>
              <a:gd name="connsiteX48" fmla="*/ 31 w 2961800"/>
              <a:gd name="connsiteY48" fmla="*/ 872478 h 2308682"/>
              <a:gd name="connsiteX49" fmla="*/ 4793 w 2961800"/>
              <a:gd name="connsiteY49" fmla="*/ 1158228 h 2308682"/>
              <a:gd name="connsiteX50" fmla="*/ 14318 w 2961800"/>
              <a:gd name="connsiteY50" fmla="*/ 1477316 h 2308682"/>
              <a:gd name="connsiteX51" fmla="*/ 4793 w 2961800"/>
              <a:gd name="connsiteY51" fmla="*/ 1563041 h 2308682"/>
              <a:gd name="connsiteX52" fmla="*/ 31 w 2961800"/>
              <a:gd name="connsiteY52" fmla="*/ 1820216 h 2308682"/>
              <a:gd name="connsiteX53" fmla="*/ 4793 w 2961800"/>
              <a:gd name="connsiteY53" fmla="*/ 2015478 h 2308682"/>
              <a:gd name="connsiteX54" fmla="*/ 14318 w 2961800"/>
              <a:gd name="connsiteY54" fmla="*/ 2239316 h 2308682"/>
              <a:gd name="connsiteX55" fmla="*/ 4793 w 2961800"/>
              <a:gd name="connsiteY55" fmla="*/ 2301228 h 230868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423893 w 2961800"/>
              <a:gd name="connsiteY7" fmla="*/ 420921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57531 w 2961800"/>
              <a:gd name="connsiteY32" fmla="*/ 20871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2314606 w 2961800"/>
              <a:gd name="connsiteY35" fmla="*/ 25633 h 2309562"/>
              <a:gd name="connsiteX36" fmla="*/ 1900268 w 2961800"/>
              <a:gd name="connsiteY36" fmla="*/ 20871 h 2309562"/>
              <a:gd name="connsiteX37" fmla="*/ 1795493 w 2961800"/>
              <a:gd name="connsiteY37" fmla="*/ 11346 h 2309562"/>
              <a:gd name="connsiteX38" fmla="*/ 1766918 w 2961800"/>
              <a:gd name="connsiteY38" fmla="*/ 1821 h 2309562"/>
              <a:gd name="connsiteX39" fmla="*/ 1519268 w 2961800"/>
              <a:gd name="connsiteY39" fmla="*/ 6583 h 2309562"/>
              <a:gd name="connsiteX40" fmla="*/ 1133506 w 2961800"/>
              <a:gd name="connsiteY40" fmla="*/ 39921 h 2309562"/>
              <a:gd name="connsiteX41" fmla="*/ 300068 w 2961800"/>
              <a:gd name="connsiteY41" fmla="*/ 25633 h 2309562"/>
              <a:gd name="connsiteX42" fmla="*/ 176243 w 2961800"/>
              <a:gd name="connsiteY42" fmla="*/ 11346 h 2309562"/>
              <a:gd name="connsiteX43" fmla="*/ 38131 w 2961800"/>
              <a:gd name="connsiteY43" fmla="*/ 12933 h 2309562"/>
              <a:gd name="connsiteX44" fmla="*/ 14318 w 2961800"/>
              <a:gd name="connsiteY44" fmla="*/ 173271 h 2309562"/>
              <a:gd name="connsiteX45" fmla="*/ 4793 w 2961800"/>
              <a:gd name="connsiteY45" fmla="*/ 392346 h 2309562"/>
              <a:gd name="connsiteX46" fmla="*/ 31 w 2961800"/>
              <a:gd name="connsiteY46" fmla="*/ 801921 h 2309562"/>
              <a:gd name="connsiteX47" fmla="*/ 31 w 2961800"/>
              <a:gd name="connsiteY47" fmla="*/ 873358 h 2309562"/>
              <a:gd name="connsiteX48" fmla="*/ 4793 w 2961800"/>
              <a:gd name="connsiteY48" fmla="*/ 1159108 h 2309562"/>
              <a:gd name="connsiteX49" fmla="*/ 14318 w 2961800"/>
              <a:gd name="connsiteY49" fmla="*/ 1478196 h 2309562"/>
              <a:gd name="connsiteX50" fmla="*/ 4793 w 2961800"/>
              <a:gd name="connsiteY50" fmla="*/ 1563921 h 2309562"/>
              <a:gd name="connsiteX51" fmla="*/ 31 w 2961800"/>
              <a:gd name="connsiteY51" fmla="*/ 1821096 h 2309562"/>
              <a:gd name="connsiteX52" fmla="*/ 4793 w 2961800"/>
              <a:gd name="connsiteY52" fmla="*/ 2016358 h 2309562"/>
              <a:gd name="connsiteX53" fmla="*/ 14318 w 2961800"/>
              <a:gd name="connsiteY53" fmla="*/ 2240196 h 2309562"/>
              <a:gd name="connsiteX54" fmla="*/ 4793 w 2961800"/>
              <a:gd name="connsiteY54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423893 w 2961800"/>
              <a:gd name="connsiteY7" fmla="*/ 420921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57531 w 2961800"/>
              <a:gd name="connsiteY32" fmla="*/ 20871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2314606 w 2961800"/>
              <a:gd name="connsiteY35" fmla="*/ 25633 h 2309562"/>
              <a:gd name="connsiteX36" fmla="*/ 1900268 w 2961800"/>
              <a:gd name="connsiteY36" fmla="*/ 20871 h 2309562"/>
              <a:gd name="connsiteX37" fmla="*/ 1795493 w 2961800"/>
              <a:gd name="connsiteY37" fmla="*/ 11346 h 2309562"/>
              <a:gd name="connsiteX38" fmla="*/ 1766918 w 2961800"/>
              <a:gd name="connsiteY38" fmla="*/ 1821 h 2309562"/>
              <a:gd name="connsiteX39" fmla="*/ 1519268 w 2961800"/>
              <a:gd name="connsiteY39" fmla="*/ 6583 h 2309562"/>
              <a:gd name="connsiteX40" fmla="*/ 1133506 w 2961800"/>
              <a:gd name="connsiteY40" fmla="*/ 30396 h 2309562"/>
              <a:gd name="connsiteX41" fmla="*/ 300068 w 2961800"/>
              <a:gd name="connsiteY41" fmla="*/ 25633 h 2309562"/>
              <a:gd name="connsiteX42" fmla="*/ 176243 w 2961800"/>
              <a:gd name="connsiteY42" fmla="*/ 11346 h 2309562"/>
              <a:gd name="connsiteX43" fmla="*/ 38131 w 2961800"/>
              <a:gd name="connsiteY43" fmla="*/ 12933 h 2309562"/>
              <a:gd name="connsiteX44" fmla="*/ 14318 w 2961800"/>
              <a:gd name="connsiteY44" fmla="*/ 173271 h 2309562"/>
              <a:gd name="connsiteX45" fmla="*/ 4793 w 2961800"/>
              <a:gd name="connsiteY45" fmla="*/ 392346 h 2309562"/>
              <a:gd name="connsiteX46" fmla="*/ 31 w 2961800"/>
              <a:gd name="connsiteY46" fmla="*/ 801921 h 2309562"/>
              <a:gd name="connsiteX47" fmla="*/ 31 w 2961800"/>
              <a:gd name="connsiteY47" fmla="*/ 873358 h 2309562"/>
              <a:gd name="connsiteX48" fmla="*/ 4793 w 2961800"/>
              <a:gd name="connsiteY48" fmla="*/ 1159108 h 2309562"/>
              <a:gd name="connsiteX49" fmla="*/ 14318 w 2961800"/>
              <a:gd name="connsiteY49" fmla="*/ 1478196 h 2309562"/>
              <a:gd name="connsiteX50" fmla="*/ 4793 w 2961800"/>
              <a:gd name="connsiteY50" fmla="*/ 1563921 h 2309562"/>
              <a:gd name="connsiteX51" fmla="*/ 31 w 2961800"/>
              <a:gd name="connsiteY51" fmla="*/ 1821096 h 2309562"/>
              <a:gd name="connsiteX52" fmla="*/ 4793 w 2961800"/>
              <a:gd name="connsiteY52" fmla="*/ 2016358 h 2309562"/>
              <a:gd name="connsiteX53" fmla="*/ 14318 w 2961800"/>
              <a:gd name="connsiteY53" fmla="*/ 2240196 h 2309562"/>
              <a:gd name="connsiteX54" fmla="*/ 4793 w 2961800"/>
              <a:gd name="connsiteY54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423893 w 2961800"/>
              <a:gd name="connsiteY7" fmla="*/ 420921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57531 w 2961800"/>
              <a:gd name="connsiteY32" fmla="*/ 20871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2314606 w 2961800"/>
              <a:gd name="connsiteY35" fmla="*/ 25633 h 2309562"/>
              <a:gd name="connsiteX36" fmla="*/ 1900268 w 2961800"/>
              <a:gd name="connsiteY36" fmla="*/ 20871 h 2309562"/>
              <a:gd name="connsiteX37" fmla="*/ 1795493 w 2961800"/>
              <a:gd name="connsiteY37" fmla="*/ 11346 h 2309562"/>
              <a:gd name="connsiteX38" fmla="*/ 1766918 w 2961800"/>
              <a:gd name="connsiteY38" fmla="*/ 1821 h 2309562"/>
              <a:gd name="connsiteX39" fmla="*/ 1519268 w 2961800"/>
              <a:gd name="connsiteY39" fmla="*/ 6583 h 2309562"/>
              <a:gd name="connsiteX40" fmla="*/ 1133506 w 2961800"/>
              <a:gd name="connsiteY40" fmla="*/ 30396 h 2309562"/>
              <a:gd name="connsiteX41" fmla="*/ 176243 w 2961800"/>
              <a:gd name="connsiteY41" fmla="*/ 11346 h 2309562"/>
              <a:gd name="connsiteX42" fmla="*/ 38131 w 2961800"/>
              <a:gd name="connsiteY42" fmla="*/ 12933 h 2309562"/>
              <a:gd name="connsiteX43" fmla="*/ 14318 w 2961800"/>
              <a:gd name="connsiteY43" fmla="*/ 173271 h 2309562"/>
              <a:gd name="connsiteX44" fmla="*/ 4793 w 2961800"/>
              <a:gd name="connsiteY44" fmla="*/ 392346 h 2309562"/>
              <a:gd name="connsiteX45" fmla="*/ 31 w 2961800"/>
              <a:gd name="connsiteY45" fmla="*/ 801921 h 2309562"/>
              <a:gd name="connsiteX46" fmla="*/ 31 w 2961800"/>
              <a:gd name="connsiteY46" fmla="*/ 873358 h 2309562"/>
              <a:gd name="connsiteX47" fmla="*/ 4793 w 2961800"/>
              <a:gd name="connsiteY47" fmla="*/ 1159108 h 2309562"/>
              <a:gd name="connsiteX48" fmla="*/ 14318 w 2961800"/>
              <a:gd name="connsiteY48" fmla="*/ 1478196 h 2309562"/>
              <a:gd name="connsiteX49" fmla="*/ 4793 w 2961800"/>
              <a:gd name="connsiteY49" fmla="*/ 1563921 h 2309562"/>
              <a:gd name="connsiteX50" fmla="*/ 31 w 2961800"/>
              <a:gd name="connsiteY50" fmla="*/ 1821096 h 2309562"/>
              <a:gd name="connsiteX51" fmla="*/ 4793 w 2961800"/>
              <a:gd name="connsiteY51" fmla="*/ 2016358 h 2309562"/>
              <a:gd name="connsiteX52" fmla="*/ 14318 w 2961800"/>
              <a:gd name="connsiteY52" fmla="*/ 2240196 h 2309562"/>
              <a:gd name="connsiteX53" fmla="*/ 4793 w 2961800"/>
              <a:gd name="connsiteY53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423893 w 2961800"/>
              <a:gd name="connsiteY7" fmla="*/ 420921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57531 w 2961800"/>
              <a:gd name="connsiteY32" fmla="*/ 20871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2314606 w 2961800"/>
              <a:gd name="connsiteY35" fmla="*/ 25633 h 2309562"/>
              <a:gd name="connsiteX36" fmla="*/ 1900268 w 2961800"/>
              <a:gd name="connsiteY36" fmla="*/ 20871 h 2309562"/>
              <a:gd name="connsiteX37" fmla="*/ 1795493 w 2961800"/>
              <a:gd name="connsiteY37" fmla="*/ 11346 h 2309562"/>
              <a:gd name="connsiteX38" fmla="*/ 1766918 w 2961800"/>
              <a:gd name="connsiteY38" fmla="*/ 1821 h 2309562"/>
              <a:gd name="connsiteX39" fmla="*/ 1519268 w 2961800"/>
              <a:gd name="connsiteY39" fmla="*/ 6583 h 2309562"/>
              <a:gd name="connsiteX40" fmla="*/ 1085881 w 2961800"/>
              <a:gd name="connsiteY40" fmla="*/ 14521 h 2309562"/>
              <a:gd name="connsiteX41" fmla="*/ 176243 w 2961800"/>
              <a:gd name="connsiteY41" fmla="*/ 11346 h 2309562"/>
              <a:gd name="connsiteX42" fmla="*/ 38131 w 2961800"/>
              <a:gd name="connsiteY42" fmla="*/ 12933 h 2309562"/>
              <a:gd name="connsiteX43" fmla="*/ 14318 w 2961800"/>
              <a:gd name="connsiteY43" fmla="*/ 173271 h 2309562"/>
              <a:gd name="connsiteX44" fmla="*/ 4793 w 2961800"/>
              <a:gd name="connsiteY44" fmla="*/ 392346 h 2309562"/>
              <a:gd name="connsiteX45" fmla="*/ 31 w 2961800"/>
              <a:gd name="connsiteY45" fmla="*/ 801921 h 2309562"/>
              <a:gd name="connsiteX46" fmla="*/ 31 w 2961800"/>
              <a:gd name="connsiteY46" fmla="*/ 873358 h 2309562"/>
              <a:gd name="connsiteX47" fmla="*/ 4793 w 2961800"/>
              <a:gd name="connsiteY47" fmla="*/ 1159108 h 2309562"/>
              <a:gd name="connsiteX48" fmla="*/ 14318 w 2961800"/>
              <a:gd name="connsiteY48" fmla="*/ 1478196 h 2309562"/>
              <a:gd name="connsiteX49" fmla="*/ 4793 w 2961800"/>
              <a:gd name="connsiteY49" fmla="*/ 1563921 h 2309562"/>
              <a:gd name="connsiteX50" fmla="*/ 31 w 2961800"/>
              <a:gd name="connsiteY50" fmla="*/ 1821096 h 2309562"/>
              <a:gd name="connsiteX51" fmla="*/ 4793 w 2961800"/>
              <a:gd name="connsiteY51" fmla="*/ 2016358 h 2309562"/>
              <a:gd name="connsiteX52" fmla="*/ 14318 w 2961800"/>
              <a:gd name="connsiteY52" fmla="*/ 2240196 h 2309562"/>
              <a:gd name="connsiteX53" fmla="*/ 4793 w 2961800"/>
              <a:gd name="connsiteY53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423893 w 2961800"/>
              <a:gd name="connsiteY7" fmla="*/ 420921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57531 w 2961800"/>
              <a:gd name="connsiteY32" fmla="*/ 20871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2314606 w 2961800"/>
              <a:gd name="connsiteY35" fmla="*/ 25633 h 2309562"/>
              <a:gd name="connsiteX36" fmla="*/ 1900268 w 2961800"/>
              <a:gd name="connsiteY36" fmla="*/ 20871 h 2309562"/>
              <a:gd name="connsiteX37" fmla="*/ 1795493 w 2961800"/>
              <a:gd name="connsiteY37" fmla="*/ 11346 h 2309562"/>
              <a:gd name="connsiteX38" fmla="*/ 1519268 w 2961800"/>
              <a:gd name="connsiteY38" fmla="*/ 6583 h 2309562"/>
              <a:gd name="connsiteX39" fmla="*/ 1085881 w 2961800"/>
              <a:gd name="connsiteY39" fmla="*/ 14521 h 2309562"/>
              <a:gd name="connsiteX40" fmla="*/ 176243 w 2961800"/>
              <a:gd name="connsiteY40" fmla="*/ 11346 h 2309562"/>
              <a:gd name="connsiteX41" fmla="*/ 38131 w 2961800"/>
              <a:gd name="connsiteY41" fmla="*/ 12933 h 2309562"/>
              <a:gd name="connsiteX42" fmla="*/ 14318 w 2961800"/>
              <a:gd name="connsiteY42" fmla="*/ 173271 h 2309562"/>
              <a:gd name="connsiteX43" fmla="*/ 4793 w 2961800"/>
              <a:gd name="connsiteY43" fmla="*/ 392346 h 2309562"/>
              <a:gd name="connsiteX44" fmla="*/ 31 w 2961800"/>
              <a:gd name="connsiteY44" fmla="*/ 801921 h 2309562"/>
              <a:gd name="connsiteX45" fmla="*/ 31 w 2961800"/>
              <a:gd name="connsiteY45" fmla="*/ 873358 h 2309562"/>
              <a:gd name="connsiteX46" fmla="*/ 4793 w 2961800"/>
              <a:gd name="connsiteY46" fmla="*/ 1159108 h 2309562"/>
              <a:gd name="connsiteX47" fmla="*/ 14318 w 2961800"/>
              <a:gd name="connsiteY47" fmla="*/ 1478196 h 2309562"/>
              <a:gd name="connsiteX48" fmla="*/ 4793 w 2961800"/>
              <a:gd name="connsiteY48" fmla="*/ 1563921 h 2309562"/>
              <a:gd name="connsiteX49" fmla="*/ 31 w 2961800"/>
              <a:gd name="connsiteY49" fmla="*/ 1821096 h 2309562"/>
              <a:gd name="connsiteX50" fmla="*/ 4793 w 2961800"/>
              <a:gd name="connsiteY50" fmla="*/ 2016358 h 2309562"/>
              <a:gd name="connsiteX51" fmla="*/ 14318 w 2961800"/>
              <a:gd name="connsiteY51" fmla="*/ 2240196 h 2309562"/>
              <a:gd name="connsiteX52" fmla="*/ 4793 w 2961800"/>
              <a:gd name="connsiteY52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423893 w 2961800"/>
              <a:gd name="connsiteY7" fmla="*/ 420921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57531 w 2961800"/>
              <a:gd name="connsiteY32" fmla="*/ 20871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1900268 w 2961800"/>
              <a:gd name="connsiteY35" fmla="*/ 20871 h 2309562"/>
              <a:gd name="connsiteX36" fmla="*/ 1795493 w 2961800"/>
              <a:gd name="connsiteY36" fmla="*/ 11346 h 2309562"/>
              <a:gd name="connsiteX37" fmla="*/ 1519268 w 2961800"/>
              <a:gd name="connsiteY37" fmla="*/ 6583 h 2309562"/>
              <a:gd name="connsiteX38" fmla="*/ 1085881 w 2961800"/>
              <a:gd name="connsiteY38" fmla="*/ 14521 h 2309562"/>
              <a:gd name="connsiteX39" fmla="*/ 176243 w 2961800"/>
              <a:gd name="connsiteY39" fmla="*/ 11346 h 2309562"/>
              <a:gd name="connsiteX40" fmla="*/ 38131 w 2961800"/>
              <a:gd name="connsiteY40" fmla="*/ 12933 h 2309562"/>
              <a:gd name="connsiteX41" fmla="*/ 14318 w 2961800"/>
              <a:gd name="connsiteY41" fmla="*/ 173271 h 2309562"/>
              <a:gd name="connsiteX42" fmla="*/ 4793 w 2961800"/>
              <a:gd name="connsiteY42" fmla="*/ 392346 h 2309562"/>
              <a:gd name="connsiteX43" fmla="*/ 31 w 2961800"/>
              <a:gd name="connsiteY43" fmla="*/ 801921 h 2309562"/>
              <a:gd name="connsiteX44" fmla="*/ 31 w 2961800"/>
              <a:gd name="connsiteY44" fmla="*/ 873358 h 2309562"/>
              <a:gd name="connsiteX45" fmla="*/ 4793 w 2961800"/>
              <a:gd name="connsiteY45" fmla="*/ 1159108 h 2309562"/>
              <a:gd name="connsiteX46" fmla="*/ 14318 w 2961800"/>
              <a:gd name="connsiteY46" fmla="*/ 1478196 h 2309562"/>
              <a:gd name="connsiteX47" fmla="*/ 4793 w 2961800"/>
              <a:gd name="connsiteY47" fmla="*/ 1563921 h 2309562"/>
              <a:gd name="connsiteX48" fmla="*/ 31 w 2961800"/>
              <a:gd name="connsiteY48" fmla="*/ 1821096 h 2309562"/>
              <a:gd name="connsiteX49" fmla="*/ 4793 w 2961800"/>
              <a:gd name="connsiteY49" fmla="*/ 2016358 h 2309562"/>
              <a:gd name="connsiteX50" fmla="*/ 14318 w 2961800"/>
              <a:gd name="connsiteY50" fmla="*/ 2240196 h 2309562"/>
              <a:gd name="connsiteX51" fmla="*/ 4793 w 2961800"/>
              <a:gd name="connsiteY51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423893 w 2961800"/>
              <a:gd name="connsiteY7" fmla="*/ 420921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57531 w 2961800"/>
              <a:gd name="connsiteY32" fmla="*/ 20871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1944718 w 2961800"/>
              <a:gd name="connsiteY35" fmla="*/ 20871 h 2309562"/>
              <a:gd name="connsiteX36" fmla="*/ 1795493 w 2961800"/>
              <a:gd name="connsiteY36" fmla="*/ 11346 h 2309562"/>
              <a:gd name="connsiteX37" fmla="*/ 1519268 w 2961800"/>
              <a:gd name="connsiteY37" fmla="*/ 6583 h 2309562"/>
              <a:gd name="connsiteX38" fmla="*/ 1085881 w 2961800"/>
              <a:gd name="connsiteY38" fmla="*/ 14521 h 2309562"/>
              <a:gd name="connsiteX39" fmla="*/ 176243 w 2961800"/>
              <a:gd name="connsiteY39" fmla="*/ 11346 h 2309562"/>
              <a:gd name="connsiteX40" fmla="*/ 38131 w 2961800"/>
              <a:gd name="connsiteY40" fmla="*/ 12933 h 2309562"/>
              <a:gd name="connsiteX41" fmla="*/ 14318 w 2961800"/>
              <a:gd name="connsiteY41" fmla="*/ 173271 h 2309562"/>
              <a:gd name="connsiteX42" fmla="*/ 4793 w 2961800"/>
              <a:gd name="connsiteY42" fmla="*/ 392346 h 2309562"/>
              <a:gd name="connsiteX43" fmla="*/ 31 w 2961800"/>
              <a:gd name="connsiteY43" fmla="*/ 801921 h 2309562"/>
              <a:gd name="connsiteX44" fmla="*/ 31 w 2961800"/>
              <a:gd name="connsiteY44" fmla="*/ 873358 h 2309562"/>
              <a:gd name="connsiteX45" fmla="*/ 4793 w 2961800"/>
              <a:gd name="connsiteY45" fmla="*/ 1159108 h 2309562"/>
              <a:gd name="connsiteX46" fmla="*/ 14318 w 2961800"/>
              <a:gd name="connsiteY46" fmla="*/ 1478196 h 2309562"/>
              <a:gd name="connsiteX47" fmla="*/ 4793 w 2961800"/>
              <a:gd name="connsiteY47" fmla="*/ 1563921 h 2309562"/>
              <a:gd name="connsiteX48" fmla="*/ 31 w 2961800"/>
              <a:gd name="connsiteY48" fmla="*/ 1821096 h 2309562"/>
              <a:gd name="connsiteX49" fmla="*/ 4793 w 2961800"/>
              <a:gd name="connsiteY49" fmla="*/ 2016358 h 2309562"/>
              <a:gd name="connsiteX50" fmla="*/ 14318 w 2961800"/>
              <a:gd name="connsiteY50" fmla="*/ 2240196 h 2309562"/>
              <a:gd name="connsiteX51" fmla="*/ 4793 w 2961800"/>
              <a:gd name="connsiteY51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423893 w 2961800"/>
              <a:gd name="connsiteY7" fmla="*/ 420921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38481 w 2961800"/>
              <a:gd name="connsiteY32" fmla="*/ 17696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1944718 w 2961800"/>
              <a:gd name="connsiteY35" fmla="*/ 20871 h 2309562"/>
              <a:gd name="connsiteX36" fmla="*/ 1795493 w 2961800"/>
              <a:gd name="connsiteY36" fmla="*/ 11346 h 2309562"/>
              <a:gd name="connsiteX37" fmla="*/ 1519268 w 2961800"/>
              <a:gd name="connsiteY37" fmla="*/ 6583 h 2309562"/>
              <a:gd name="connsiteX38" fmla="*/ 1085881 w 2961800"/>
              <a:gd name="connsiteY38" fmla="*/ 14521 h 2309562"/>
              <a:gd name="connsiteX39" fmla="*/ 176243 w 2961800"/>
              <a:gd name="connsiteY39" fmla="*/ 11346 h 2309562"/>
              <a:gd name="connsiteX40" fmla="*/ 38131 w 2961800"/>
              <a:gd name="connsiteY40" fmla="*/ 12933 h 2309562"/>
              <a:gd name="connsiteX41" fmla="*/ 14318 w 2961800"/>
              <a:gd name="connsiteY41" fmla="*/ 173271 h 2309562"/>
              <a:gd name="connsiteX42" fmla="*/ 4793 w 2961800"/>
              <a:gd name="connsiteY42" fmla="*/ 392346 h 2309562"/>
              <a:gd name="connsiteX43" fmla="*/ 31 w 2961800"/>
              <a:gd name="connsiteY43" fmla="*/ 801921 h 2309562"/>
              <a:gd name="connsiteX44" fmla="*/ 31 w 2961800"/>
              <a:gd name="connsiteY44" fmla="*/ 873358 h 2309562"/>
              <a:gd name="connsiteX45" fmla="*/ 4793 w 2961800"/>
              <a:gd name="connsiteY45" fmla="*/ 1159108 h 2309562"/>
              <a:gd name="connsiteX46" fmla="*/ 14318 w 2961800"/>
              <a:gd name="connsiteY46" fmla="*/ 1478196 h 2309562"/>
              <a:gd name="connsiteX47" fmla="*/ 4793 w 2961800"/>
              <a:gd name="connsiteY47" fmla="*/ 1563921 h 2309562"/>
              <a:gd name="connsiteX48" fmla="*/ 31 w 2961800"/>
              <a:gd name="connsiteY48" fmla="*/ 1821096 h 2309562"/>
              <a:gd name="connsiteX49" fmla="*/ 4793 w 2961800"/>
              <a:gd name="connsiteY49" fmla="*/ 2016358 h 2309562"/>
              <a:gd name="connsiteX50" fmla="*/ 14318 w 2961800"/>
              <a:gd name="connsiteY50" fmla="*/ 2240196 h 2309562"/>
              <a:gd name="connsiteX51" fmla="*/ 4793 w 2961800"/>
              <a:gd name="connsiteY51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423893 w 2961800"/>
              <a:gd name="connsiteY7" fmla="*/ 420921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38481 w 2961800"/>
              <a:gd name="connsiteY32" fmla="*/ 17696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1944718 w 2961800"/>
              <a:gd name="connsiteY35" fmla="*/ 20871 h 2309562"/>
              <a:gd name="connsiteX36" fmla="*/ 1795493 w 2961800"/>
              <a:gd name="connsiteY36" fmla="*/ 11346 h 2309562"/>
              <a:gd name="connsiteX37" fmla="*/ 1519268 w 2961800"/>
              <a:gd name="connsiteY37" fmla="*/ 6583 h 2309562"/>
              <a:gd name="connsiteX38" fmla="*/ 1085881 w 2961800"/>
              <a:gd name="connsiteY38" fmla="*/ 14521 h 2309562"/>
              <a:gd name="connsiteX39" fmla="*/ 176243 w 2961800"/>
              <a:gd name="connsiteY39" fmla="*/ 11346 h 2309562"/>
              <a:gd name="connsiteX40" fmla="*/ 28606 w 2961800"/>
              <a:gd name="connsiteY40" fmla="*/ 12933 h 2309562"/>
              <a:gd name="connsiteX41" fmla="*/ 14318 w 2961800"/>
              <a:gd name="connsiteY41" fmla="*/ 173271 h 2309562"/>
              <a:gd name="connsiteX42" fmla="*/ 4793 w 2961800"/>
              <a:gd name="connsiteY42" fmla="*/ 392346 h 2309562"/>
              <a:gd name="connsiteX43" fmla="*/ 31 w 2961800"/>
              <a:gd name="connsiteY43" fmla="*/ 801921 h 2309562"/>
              <a:gd name="connsiteX44" fmla="*/ 31 w 2961800"/>
              <a:gd name="connsiteY44" fmla="*/ 873358 h 2309562"/>
              <a:gd name="connsiteX45" fmla="*/ 4793 w 2961800"/>
              <a:gd name="connsiteY45" fmla="*/ 1159108 h 2309562"/>
              <a:gd name="connsiteX46" fmla="*/ 14318 w 2961800"/>
              <a:gd name="connsiteY46" fmla="*/ 1478196 h 2309562"/>
              <a:gd name="connsiteX47" fmla="*/ 4793 w 2961800"/>
              <a:gd name="connsiteY47" fmla="*/ 1563921 h 2309562"/>
              <a:gd name="connsiteX48" fmla="*/ 31 w 2961800"/>
              <a:gd name="connsiteY48" fmla="*/ 1821096 h 2309562"/>
              <a:gd name="connsiteX49" fmla="*/ 4793 w 2961800"/>
              <a:gd name="connsiteY49" fmla="*/ 2016358 h 2309562"/>
              <a:gd name="connsiteX50" fmla="*/ 14318 w 2961800"/>
              <a:gd name="connsiteY50" fmla="*/ 2240196 h 2309562"/>
              <a:gd name="connsiteX51" fmla="*/ 4793 w 2961800"/>
              <a:gd name="connsiteY51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515968 w 2961800"/>
              <a:gd name="connsiteY7" fmla="*/ 424096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38481 w 2961800"/>
              <a:gd name="connsiteY32" fmla="*/ 17696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1944718 w 2961800"/>
              <a:gd name="connsiteY35" fmla="*/ 20871 h 2309562"/>
              <a:gd name="connsiteX36" fmla="*/ 1795493 w 2961800"/>
              <a:gd name="connsiteY36" fmla="*/ 11346 h 2309562"/>
              <a:gd name="connsiteX37" fmla="*/ 1519268 w 2961800"/>
              <a:gd name="connsiteY37" fmla="*/ 6583 h 2309562"/>
              <a:gd name="connsiteX38" fmla="*/ 1085881 w 2961800"/>
              <a:gd name="connsiteY38" fmla="*/ 14521 h 2309562"/>
              <a:gd name="connsiteX39" fmla="*/ 176243 w 2961800"/>
              <a:gd name="connsiteY39" fmla="*/ 11346 h 2309562"/>
              <a:gd name="connsiteX40" fmla="*/ 28606 w 2961800"/>
              <a:gd name="connsiteY40" fmla="*/ 12933 h 2309562"/>
              <a:gd name="connsiteX41" fmla="*/ 14318 w 2961800"/>
              <a:gd name="connsiteY41" fmla="*/ 173271 h 2309562"/>
              <a:gd name="connsiteX42" fmla="*/ 4793 w 2961800"/>
              <a:gd name="connsiteY42" fmla="*/ 392346 h 2309562"/>
              <a:gd name="connsiteX43" fmla="*/ 31 w 2961800"/>
              <a:gd name="connsiteY43" fmla="*/ 801921 h 2309562"/>
              <a:gd name="connsiteX44" fmla="*/ 31 w 2961800"/>
              <a:gd name="connsiteY44" fmla="*/ 873358 h 2309562"/>
              <a:gd name="connsiteX45" fmla="*/ 4793 w 2961800"/>
              <a:gd name="connsiteY45" fmla="*/ 1159108 h 2309562"/>
              <a:gd name="connsiteX46" fmla="*/ 14318 w 2961800"/>
              <a:gd name="connsiteY46" fmla="*/ 1478196 h 2309562"/>
              <a:gd name="connsiteX47" fmla="*/ 4793 w 2961800"/>
              <a:gd name="connsiteY47" fmla="*/ 1563921 h 2309562"/>
              <a:gd name="connsiteX48" fmla="*/ 31 w 2961800"/>
              <a:gd name="connsiteY48" fmla="*/ 1821096 h 2309562"/>
              <a:gd name="connsiteX49" fmla="*/ 4793 w 2961800"/>
              <a:gd name="connsiteY49" fmla="*/ 2016358 h 2309562"/>
              <a:gd name="connsiteX50" fmla="*/ 14318 w 2961800"/>
              <a:gd name="connsiteY50" fmla="*/ 2240196 h 2309562"/>
              <a:gd name="connsiteX51" fmla="*/ 4793 w 2961800"/>
              <a:gd name="connsiteY51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515968 w 2961800"/>
              <a:gd name="connsiteY7" fmla="*/ 424096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38481 w 2961800"/>
              <a:gd name="connsiteY32" fmla="*/ 17696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1944718 w 2961800"/>
              <a:gd name="connsiteY35" fmla="*/ 20871 h 2309562"/>
              <a:gd name="connsiteX36" fmla="*/ 1795493 w 2961800"/>
              <a:gd name="connsiteY36" fmla="*/ 11346 h 2309562"/>
              <a:gd name="connsiteX37" fmla="*/ 1519268 w 2961800"/>
              <a:gd name="connsiteY37" fmla="*/ 6583 h 2309562"/>
              <a:gd name="connsiteX38" fmla="*/ 1085881 w 2961800"/>
              <a:gd name="connsiteY38" fmla="*/ 14521 h 2309562"/>
              <a:gd name="connsiteX39" fmla="*/ 176243 w 2961800"/>
              <a:gd name="connsiteY39" fmla="*/ 11346 h 2309562"/>
              <a:gd name="connsiteX40" fmla="*/ 28606 w 2961800"/>
              <a:gd name="connsiteY40" fmla="*/ 12933 h 2309562"/>
              <a:gd name="connsiteX41" fmla="*/ 14318 w 2961800"/>
              <a:gd name="connsiteY41" fmla="*/ 173271 h 2309562"/>
              <a:gd name="connsiteX42" fmla="*/ 4793 w 2961800"/>
              <a:gd name="connsiteY42" fmla="*/ 392346 h 2309562"/>
              <a:gd name="connsiteX43" fmla="*/ 31 w 2961800"/>
              <a:gd name="connsiteY43" fmla="*/ 801921 h 2309562"/>
              <a:gd name="connsiteX44" fmla="*/ 31 w 2961800"/>
              <a:gd name="connsiteY44" fmla="*/ 873358 h 2309562"/>
              <a:gd name="connsiteX45" fmla="*/ 4793 w 2961800"/>
              <a:gd name="connsiteY45" fmla="*/ 1159108 h 2309562"/>
              <a:gd name="connsiteX46" fmla="*/ 14318 w 2961800"/>
              <a:gd name="connsiteY46" fmla="*/ 1478196 h 2309562"/>
              <a:gd name="connsiteX47" fmla="*/ 4793 w 2961800"/>
              <a:gd name="connsiteY47" fmla="*/ 1563921 h 2309562"/>
              <a:gd name="connsiteX48" fmla="*/ 31 w 2961800"/>
              <a:gd name="connsiteY48" fmla="*/ 1821096 h 2309562"/>
              <a:gd name="connsiteX49" fmla="*/ 4793 w 2961800"/>
              <a:gd name="connsiteY49" fmla="*/ 2016358 h 2309562"/>
              <a:gd name="connsiteX50" fmla="*/ 14318 w 2961800"/>
              <a:gd name="connsiteY50" fmla="*/ 2240196 h 2309562"/>
              <a:gd name="connsiteX51" fmla="*/ 4793 w 2961800"/>
              <a:gd name="connsiteY51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515968 w 2961800"/>
              <a:gd name="connsiteY7" fmla="*/ 424096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9881 w 2961800"/>
              <a:gd name="connsiteY13" fmla="*/ 459021 h 2309562"/>
              <a:gd name="connsiteX14" fmla="*/ 2600356 w 2961800"/>
              <a:gd name="connsiteY14" fmla="*/ 616183 h 2309562"/>
              <a:gd name="connsiteX15" fmla="*/ 2590831 w 2961800"/>
              <a:gd name="connsiteY15" fmla="*/ 1178158 h 2309562"/>
              <a:gd name="connsiteX16" fmla="*/ 2595593 w 2961800"/>
              <a:gd name="connsiteY16" fmla="*/ 1211496 h 2309562"/>
              <a:gd name="connsiteX17" fmla="*/ 2598768 w 2961800"/>
              <a:gd name="connsiteY17" fmla="*/ 1516296 h 2309562"/>
              <a:gd name="connsiteX18" fmla="*/ 2605118 w 2961800"/>
              <a:gd name="connsiteY18" fmla="*/ 2068746 h 2309562"/>
              <a:gd name="connsiteX19" fmla="*/ 2606706 w 2961800"/>
              <a:gd name="connsiteY19" fmla="*/ 2205271 h 2309562"/>
              <a:gd name="connsiteX20" fmla="*/ 2614643 w 2961800"/>
              <a:gd name="connsiteY20" fmla="*/ 2294171 h 2309562"/>
              <a:gd name="connsiteX21" fmla="*/ 2841656 w 2961800"/>
              <a:gd name="connsiteY21" fmla="*/ 2305283 h 2309562"/>
              <a:gd name="connsiteX22" fmla="*/ 2957543 w 2961800"/>
              <a:gd name="connsiteY22" fmla="*/ 2284646 h 2309562"/>
              <a:gd name="connsiteX23" fmla="*/ 2938493 w 2961800"/>
              <a:gd name="connsiteY23" fmla="*/ 2183046 h 2309562"/>
              <a:gd name="connsiteX24" fmla="*/ 2946431 w 2961800"/>
              <a:gd name="connsiteY24" fmla="*/ 2010008 h 2309562"/>
              <a:gd name="connsiteX25" fmla="*/ 2952781 w 2961800"/>
              <a:gd name="connsiteY25" fmla="*/ 1806808 h 2309562"/>
              <a:gd name="connsiteX26" fmla="*/ 2943256 w 2961800"/>
              <a:gd name="connsiteY26" fmla="*/ 1368658 h 2309562"/>
              <a:gd name="connsiteX27" fmla="*/ 2938493 w 2961800"/>
              <a:gd name="connsiteY27" fmla="*/ 1082908 h 2309562"/>
              <a:gd name="connsiteX28" fmla="*/ 2938493 w 2961800"/>
              <a:gd name="connsiteY28" fmla="*/ 924158 h 2309562"/>
              <a:gd name="connsiteX29" fmla="*/ 2943256 w 2961800"/>
              <a:gd name="connsiteY29" fmla="*/ 573321 h 2309562"/>
              <a:gd name="connsiteX30" fmla="*/ 2948018 w 2961800"/>
              <a:gd name="connsiteY30" fmla="*/ 344721 h 2309562"/>
              <a:gd name="connsiteX31" fmla="*/ 2948018 w 2961800"/>
              <a:gd name="connsiteY31" fmla="*/ 36746 h 2309562"/>
              <a:gd name="connsiteX32" fmla="*/ 2838481 w 2961800"/>
              <a:gd name="connsiteY32" fmla="*/ 17696 h 2309562"/>
              <a:gd name="connsiteX33" fmla="*/ 2714656 w 2961800"/>
              <a:gd name="connsiteY33" fmla="*/ 11346 h 2309562"/>
              <a:gd name="connsiteX34" fmla="*/ 2371756 w 2961800"/>
              <a:gd name="connsiteY34" fmla="*/ 16108 h 2309562"/>
              <a:gd name="connsiteX35" fmla="*/ 1944718 w 2961800"/>
              <a:gd name="connsiteY35" fmla="*/ 20871 h 2309562"/>
              <a:gd name="connsiteX36" fmla="*/ 1795493 w 2961800"/>
              <a:gd name="connsiteY36" fmla="*/ 11346 h 2309562"/>
              <a:gd name="connsiteX37" fmla="*/ 1519268 w 2961800"/>
              <a:gd name="connsiteY37" fmla="*/ 6583 h 2309562"/>
              <a:gd name="connsiteX38" fmla="*/ 1085881 w 2961800"/>
              <a:gd name="connsiteY38" fmla="*/ 14521 h 2309562"/>
              <a:gd name="connsiteX39" fmla="*/ 176243 w 2961800"/>
              <a:gd name="connsiteY39" fmla="*/ 11346 h 2309562"/>
              <a:gd name="connsiteX40" fmla="*/ 28606 w 2961800"/>
              <a:gd name="connsiteY40" fmla="*/ 12933 h 2309562"/>
              <a:gd name="connsiteX41" fmla="*/ 14318 w 2961800"/>
              <a:gd name="connsiteY41" fmla="*/ 173271 h 2309562"/>
              <a:gd name="connsiteX42" fmla="*/ 4793 w 2961800"/>
              <a:gd name="connsiteY42" fmla="*/ 392346 h 2309562"/>
              <a:gd name="connsiteX43" fmla="*/ 31 w 2961800"/>
              <a:gd name="connsiteY43" fmla="*/ 801921 h 2309562"/>
              <a:gd name="connsiteX44" fmla="*/ 31 w 2961800"/>
              <a:gd name="connsiteY44" fmla="*/ 873358 h 2309562"/>
              <a:gd name="connsiteX45" fmla="*/ 4793 w 2961800"/>
              <a:gd name="connsiteY45" fmla="*/ 1159108 h 2309562"/>
              <a:gd name="connsiteX46" fmla="*/ 14318 w 2961800"/>
              <a:gd name="connsiteY46" fmla="*/ 1478196 h 2309562"/>
              <a:gd name="connsiteX47" fmla="*/ 4793 w 2961800"/>
              <a:gd name="connsiteY47" fmla="*/ 1563921 h 2309562"/>
              <a:gd name="connsiteX48" fmla="*/ 31 w 2961800"/>
              <a:gd name="connsiteY48" fmla="*/ 1821096 h 2309562"/>
              <a:gd name="connsiteX49" fmla="*/ 4793 w 2961800"/>
              <a:gd name="connsiteY49" fmla="*/ 2016358 h 2309562"/>
              <a:gd name="connsiteX50" fmla="*/ 14318 w 2961800"/>
              <a:gd name="connsiteY50" fmla="*/ 2240196 h 2309562"/>
              <a:gd name="connsiteX51" fmla="*/ 4793 w 2961800"/>
              <a:gd name="connsiteY51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515968 w 2961800"/>
              <a:gd name="connsiteY7" fmla="*/ 424096 h 2309562"/>
              <a:gd name="connsiteX8" fmla="*/ 871568 w 2961800"/>
              <a:gd name="connsiteY8" fmla="*/ 416158 h 2309562"/>
              <a:gd name="connsiteX9" fmla="*/ 1200181 w 2961800"/>
              <a:gd name="connsiteY9" fmla="*/ 416158 h 2309562"/>
              <a:gd name="connsiteX10" fmla="*/ 1228756 w 2961800"/>
              <a:gd name="connsiteY10" fmla="*/ 411396 h 2309562"/>
              <a:gd name="connsiteX11" fmla="*/ 2562256 w 2961800"/>
              <a:gd name="connsiteY11" fmla="*/ 406633 h 2309562"/>
              <a:gd name="connsiteX12" fmla="*/ 2600356 w 2961800"/>
              <a:gd name="connsiteY12" fmla="*/ 425683 h 2309562"/>
              <a:gd name="connsiteX13" fmla="*/ 2600356 w 2961800"/>
              <a:gd name="connsiteY13" fmla="*/ 616183 h 2309562"/>
              <a:gd name="connsiteX14" fmla="*/ 2590831 w 2961800"/>
              <a:gd name="connsiteY14" fmla="*/ 1178158 h 2309562"/>
              <a:gd name="connsiteX15" fmla="*/ 2595593 w 2961800"/>
              <a:gd name="connsiteY15" fmla="*/ 1211496 h 2309562"/>
              <a:gd name="connsiteX16" fmla="*/ 2598768 w 2961800"/>
              <a:gd name="connsiteY16" fmla="*/ 1516296 h 2309562"/>
              <a:gd name="connsiteX17" fmla="*/ 2605118 w 2961800"/>
              <a:gd name="connsiteY17" fmla="*/ 2068746 h 2309562"/>
              <a:gd name="connsiteX18" fmla="*/ 2606706 w 2961800"/>
              <a:gd name="connsiteY18" fmla="*/ 2205271 h 2309562"/>
              <a:gd name="connsiteX19" fmla="*/ 2614643 w 2961800"/>
              <a:gd name="connsiteY19" fmla="*/ 2294171 h 2309562"/>
              <a:gd name="connsiteX20" fmla="*/ 2841656 w 2961800"/>
              <a:gd name="connsiteY20" fmla="*/ 2305283 h 2309562"/>
              <a:gd name="connsiteX21" fmla="*/ 2957543 w 2961800"/>
              <a:gd name="connsiteY21" fmla="*/ 2284646 h 2309562"/>
              <a:gd name="connsiteX22" fmla="*/ 2938493 w 2961800"/>
              <a:gd name="connsiteY22" fmla="*/ 2183046 h 2309562"/>
              <a:gd name="connsiteX23" fmla="*/ 2946431 w 2961800"/>
              <a:gd name="connsiteY23" fmla="*/ 2010008 h 2309562"/>
              <a:gd name="connsiteX24" fmla="*/ 2952781 w 2961800"/>
              <a:gd name="connsiteY24" fmla="*/ 1806808 h 2309562"/>
              <a:gd name="connsiteX25" fmla="*/ 2943256 w 2961800"/>
              <a:gd name="connsiteY25" fmla="*/ 1368658 h 2309562"/>
              <a:gd name="connsiteX26" fmla="*/ 2938493 w 2961800"/>
              <a:gd name="connsiteY26" fmla="*/ 1082908 h 2309562"/>
              <a:gd name="connsiteX27" fmla="*/ 2938493 w 2961800"/>
              <a:gd name="connsiteY27" fmla="*/ 924158 h 2309562"/>
              <a:gd name="connsiteX28" fmla="*/ 2943256 w 2961800"/>
              <a:gd name="connsiteY28" fmla="*/ 573321 h 2309562"/>
              <a:gd name="connsiteX29" fmla="*/ 2948018 w 2961800"/>
              <a:gd name="connsiteY29" fmla="*/ 344721 h 2309562"/>
              <a:gd name="connsiteX30" fmla="*/ 2948018 w 2961800"/>
              <a:gd name="connsiteY30" fmla="*/ 36746 h 2309562"/>
              <a:gd name="connsiteX31" fmla="*/ 2838481 w 2961800"/>
              <a:gd name="connsiteY31" fmla="*/ 17696 h 2309562"/>
              <a:gd name="connsiteX32" fmla="*/ 2714656 w 2961800"/>
              <a:gd name="connsiteY32" fmla="*/ 11346 h 2309562"/>
              <a:gd name="connsiteX33" fmla="*/ 2371756 w 2961800"/>
              <a:gd name="connsiteY33" fmla="*/ 16108 h 2309562"/>
              <a:gd name="connsiteX34" fmla="*/ 1944718 w 2961800"/>
              <a:gd name="connsiteY34" fmla="*/ 20871 h 2309562"/>
              <a:gd name="connsiteX35" fmla="*/ 1795493 w 2961800"/>
              <a:gd name="connsiteY35" fmla="*/ 11346 h 2309562"/>
              <a:gd name="connsiteX36" fmla="*/ 1519268 w 2961800"/>
              <a:gd name="connsiteY36" fmla="*/ 6583 h 2309562"/>
              <a:gd name="connsiteX37" fmla="*/ 1085881 w 2961800"/>
              <a:gd name="connsiteY37" fmla="*/ 14521 h 2309562"/>
              <a:gd name="connsiteX38" fmla="*/ 176243 w 2961800"/>
              <a:gd name="connsiteY38" fmla="*/ 11346 h 2309562"/>
              <a:gd name="connsiteX39" fmla="*/ 28606 w 2961800"/>
              <a:gd name="connsiteY39" fmla="*/ 12933 h 2309562"/>
              <a:gd name="connsiteX40" fmla="*/ 14318 w 2961800"/>
              <a:gd name="connsiteY40" fmla="*/ 173271 h 2309562"/>
              <a:gd name="connsiteX41" fmla="*/ 4793 w 2961800"/>
              <a:gd name="connsiteY41" fmla="*/ 392346 h 2309562"/>
              <a:gd name="connsiteX42" fmla="*/ 31 w 2961800"/>
              <a:gd name="connsiteY42" fmla="*/ 801921 h 2309562"/>
              <a:gd name="connsiteX43" fmla="*/ 31 w 2961800"/>
              <a:gd name="connsiteY43" fmla="*/ 873358 h 2309562"/>
              <a:gd name="connsiteX44" fmla="*/ 4793 w 2961800"/>
              <a:gd name="connsiteY44" fmla="*/ 1159108 h 2309562"/>
              <a:gd name="connsiteX45" fmla="*/ 14318 w 2961800"/>
              <a:gd name="connsiteY45" fmla="*/ 1478196 h 2309562"/>
              <a:gd name="connsiteX46" fmla="*/ 4793 w 2961800"/>
              <a:gd name="connsiteY46" fmla="*/ 1563921 h 2309562"/>
              <a:gd name="connsiteX47" fmla="*/ 31 w 2961800"/>
              <a:gd name="connsiteY47" fmla="*/ 1821096 h 2309562"/>
              <a:gd name="connsiteX48" fmla="*/ 4793 w 2961800"/>
              <a:gd name="connsiteY48" fmla="*/ 2016358 h 2309562"/>
              <a:gd name="connsiteX49" fmla="*/ 14318 w 2961800"/>
              <a:gd name="connsiteY49" fmla="*/ 2240196 h 2309562"/>
              <a:gd name="connsiteX50" fmla="*/ 4793 w 2961800"/>
              <a:gd name="connsiteY50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515968 w 2961800"/>
              <a:gd name="connsiteY7" fmla="*/ 424096 h 2309562"/>
              <a:gd name="connsiteX8" fmla="*/ 871568 w 2961800"/>
              <a:gd name="connsiteY8" fmla="*/ 416158 h 2309562"/>
              <a:gd name="connsiteX9" fmla="*/ 1228756 w 2961800"/>
              <a:gd name="connsiteY9" fmla="*/ 411396 h 2309562"/>
              <a:gd name="connsiteX10" fmla="*/ 2562256 w 2961800"/>
              <a:gd name="connsiteY10" fmla="*/ 406633 h 2309562"/>
              <a:gd name="connsiteX11" fmla="*/ 2600356 w 2961800"/>
              <a:gd name="connsiteY11" fmla="*/ 425683 h 2309562"/>
              <a:gd name="connsiteX12" fmla="*/ 2600356 w 2961800"/>
              <a:gd name="connsiteY12" fmla="*/ 616183 h 2309562"/>
              <a:gd name="connsiteX13" fmla="*/ 2590831 w 2961800"/>
              <a:gd name="connsiteY13" fmla="*/ 1178158 h 2309562"/>
              <a:gd name="connsiteX14" fmla="*/ 2595593 w 2961800"/>
              <a:gd name="connsiteY14" fmla="*/ 1211496 h 2309562"/>
              <a:gd name="connsiteX15" fmla="*/ 2598768 w 2961800"/>
              <a:gd name="connsiteY15" fmla="*/ 1516296 h 2309562"/>
              <a:gd name="connsiteX16" fmla="*/ 2605118 w 2961800"/>
              <a:gd name="connsiteY16" fmla="*/ 2068746 h 2309562"/>
              <a:gd name="connsiteX17" fmla="*/ 2606706 w 2961800"/>
              <a:gd name="connsiteY17" fmla="*/ 2205271 h 2309562"/>
              <a:gd name="connsiteX18" fmla="*/ 2614643 w 2961800"/>
              <a:gd name="connsiteY18" fmla="*/ 2294171 h 2309562"/>
              <a:gd name="connsiteX19" fmla="*/ 2841656 w 2961800"/>
              <a:gd name="connsiteY19" fmla="*/ 2305283 h 2309562"/>
              <a:gd name="connsiteX20" fmla="*/ 2957543 w 2961800"/>
              <a:gd name="connsiteY20" fmla="*/ 2284646 h 2309562"/>
              <a:gd name="connsiteX21" fmla="*/ 2938493 w 2961800"/>
              <a:gd name="connsiteY21" fmla="*/ 2183046 h 2309562"/>
              <a:gd name="connsiteX22" fmla="*/ 2946431 w 2961800"/>
              <a:gd name="connsiteY22" fmla="*/ 2010008 h 2309562"/>
              <a:gd name="connsiteX23" fmla="*/ 2952781 w 2961800"/>
              <a:gd name="connsiteY23" fmla="*/ 1806808 h 2309562"/>
              <a:gd name="connsiteX24" fmla="*/ 2943256 w 2961800"/>
              <a:gd name="connsiteY24" fmla="*/ 1368658 h 2309562"/>
              <a:gd name="connsiteX25" fmla="*/ 2938493 w 2961800"/>
              <a:gd name="connsiteY25" fmla="*/ 1082908 h 2309562"/>
              <a:gd name="connsiteX26" fmla="*/ 2938493 w 2961800"/>
              <a:gd name="connsiteY26" fmla="*/ 924158 h 2309562"/>
              <a:gd name="connsiteX27" fmla="*/ 2943256 w 2961800"/>
              <a:gd name="connsiteY27" fmla="*/ 573321 h 2309562"/>
              <a:gd name="connsiteX28" fmla="*/ 2948018 w 2961800"/>
              <a:gd name="connsiteY28" fmla="*/ 344721 h 2309562"/>
              <a:gd name="connsiteX29" fmla="*/ 2948018 w 2961800"/>
              <a:gd name="connsiteY29" fmla="*/ 36746 h 2309562"/>
              <a:gd name="connsiteX30" fmla="*/ 2838481 w 2961800"/>
              <a:gd name="connsiteY30" fmla="*/ 17696 h 2309562"/>
              <a:gd name="connsiteX31" fmla="*/ 2714656 w 2961800"/>
              <a:gd name="connsiteY31" fmla="*/ 11346 h 2309562"/>
              <a:gd name="connsiteX32" fmla="*/ 2371756 w 2961800"/>
              <a:gd name="connsiteY32" fmla="*/ 16108 h 2309562"/>
              <a:gd name="connsiteX33" fmla="*/ 1944718 w 2961800"/>
              <a:gd name="connsiteY33" fmla="*/ 20871 h 2309562"/>
              <a:gd name="connsiteX34" fmla="*/ 1795493 w 2961800"/>
              <a:gd name="connsiteY34" fmla="*/ 11346 h 2309562"/>
              <a:gd name="connsiteX35" fmla="*/ 1519268 w 2961800"/>
              <a:gd name="connsiteY35" fmla="*/ 6583 h 2309562"/>
              <a:gd name="connsiteX36" fmla="*/ 1085881 w 2961800"/>
              <a:gd name="connsiteY36" fmla="*/ 14521 h 2309562"/>
              <a:gd name="connsiteX37" fmla="*/ 176243 w 2961800"/>
              <a:gd name="connsiteY37" fmla="*/ 11346 h 2309562"/>
              <a:gd name="connsiteX38" fmla="*/ 28606 w 2961800"/>
              <a:gd name="connsiteY38" fmla="*/ 12933 h 2309562"/>
              <a:gd name="connsiteX39" fmla="*/ 14318 w 2961800"/>
              <a:gd name="connsiteY39" fmla="*/ 173271 h 2309562"/>
              <a:gd name="connsiteX40" fmla="*/ 4793 w 2961800"/>
              <a:gd name="connsiteY40" fmla="*/ 392346 h 2309562"/>
              <a:gd name="connsiteX41" fmla="*/ 31 w 2961800"/>
              <a:gd name="connsiteY41" fmla="*/ 801921 h 2309562"/>
              <a:gd name="connsiteX42" fmla="*/ 31 w 2961800"/>
              <a:gd name="connsiteY42" fmla="*/ 873358 h 2309562"/>
              <a:gd name="connsiteX43" fmla="*/ 4793 w 2961800"/>
              <a:gd name="connsiteY43" fmla="*/ 1159108 h 2309562"/>
              <a:gd name="connsiteX44" fmla="*/ 14318 w 2961800"/>
              <a:gd name="connsiteY44" fmla="*/ 1478196 h 2309562"/>
              <a:gd name="connsiteX45" fmla="*/ 4793 w 2961800"/>
              <a:gd name="connsiteY45" fmla="*/ 1563921 h 2309562"/>
              <a:gd name="connsiteX46" fmla="*/ 31 w 2961800"/>
              <a:gd name="connsiteY46" fmla="*/ 1821096 h 2309562"/>
              <a:gd name="connsiteX47" fmla="*/ 4793 w 2961800"/>
              <a:gd name="connsiteY47" fmla="*/ 2016358 h 2309562"/>
              <a:gd name="connsiteX48" fmla="*/ 14318 w 2961800"/>
              <a:gd name="connsiteY48" fmla="*/ 2240196 h 2309562"/>
              <a:gd name="connsiteX49" fmla="*/ 4793 w 2961800"/>
              <a:gd name="connsiteY49" fmla="*/ 2302108 h 2309562"/>
              <a:gd name="connsiteX0" fmla="*/ 5126 w 2962133"/>
              <a:gd name="connsiteY0" fmla="*/ 2302108 h 2309562"/>
              <a:gd name="connsiteX1" fmla="*/ 357551 w 2962133"/>
              <a:gd name="connsiteY1" fmla="*/ 2298933 h 2309562"/>
              <a:gd name="connsiteX2" fmla="*/ 352789 w 2962133"/>
              <a:gd name="connsiteY2" fmla="*/ 2216383 h 2309562"/>
              <a:gd name="connsiteX3" fmla="*/ 357551 w 2962133"/>
              <a:gd name="connsiteY3" fmla="*/ 1587733 h 2309562"/>
              <a:gd name="connsiteX4" fmla="*/ 367076 w 2962133"/>
              <a:gd name="connsiteY4" fmla="*/ 1125771 h 2309562"/>
              <a:gd name="connsiteX5" fmla="*/ 362314 w 2962133"/>
              <a:gd name="connsiteY5" fmla="*/ 473308 h 2309562"/>
              <a:gd name="connsiteX6" fmla="*/ 367076 w 2962133"/>
              <a:gd name="connsiteY6" fmla="*/ 416158 h 2309562"/>
              <a:gd name="connsiteX7" fmla="*/ 516301 w 2962133"/>
              <a:gd name="connsiteY7" fmla="*/ 424096 h 2309562"/>
              <a:gd name="connsiteX8" fmla="*/ 871901 w 2962133"/>
              <a:gd name="connsiteY8" fmla="*/ 416158 h 2309562"/>
              <a:gd name="connsiteX9" fmla="*/ 1229089 w 2962133"/>
              <a:gd name="connsiteY9" fmla="*/ 411396 h 2309562"/>
              <a:gd name="connsiteX10" fmla="*/ 2562589 w 2962133"/>
              <a:gd name="connsiteY10" fmla="*/ 406633 h 2309562"/>
              <a:gd name="connsiteX11" fmla="*/ 2600689 w 2962133"/>
              <a:gd name="connsiteY11" fmla="*/ 425683 h 2309562"/>
              <a:gd name="connsiteX12" fmla="*/ 2600689 w 2962133"/>
              <a:gd name="connsiteY12" fmla="*/ 616183 h 2309562"/>
              <a:gd name="connsiteX13" fmla="*/ 2591164 w 2962133"/>
              <a:gd name="connsiteY13" fmla="*/ 1178158 h 2309562"/>
              <a:gd name="connsiteX14" fmla="*/ 2595926 w 2962133"/>
              <a:gd name="connsiteY14" fmla="*/ 1211496 h 2309562"/>
              <a:gd name="connsiteX15" fmla="*/ 2599101 w 2962133"/>
              <a:gd name="connsiteY15" fmla="*/ 1516296 h 2309562"/>
              <a:gd name="connsiteX16" fmla="*/ 2605451 w 2962133"/>
              <a:gd name="connsiteY16" fmla="*/ 2068746 h 2309562"/>
              <a:gd name="connsiteX17" fmla="*/ 2607039 w 2962133"/>
              <a:gd name="connsiteY17" fmla="*/ 2205271 h 2309562"/>
              <a:gd name="connsiteX18" fmla="*/ 2614976 w 2962133"/>
              <a:gd name="connsiteY18" fmla="*/ 2294171 h 2309562"/>
              <a:gd name="connsiteX19" fmla="*/ 2841989 w 2962133"/>
              <a:gd name="connsiteY19" fmla="*/ 2305283 h 2309562"/>
              <a:gd name="connsiteX20" fmla="*/ 2957876 w 2962133"/>
              <a:gd name="connsiteY20" fmla="*/ 2284646 h 2309562"/>
              <a:gd name="connsiteX21" fmla="*/ 2938826 w 2962133"/>
              <a:gd name="connsiteY21" fmla="*/ 2183046 h 2309562"/>
              <a:gd name="connsiteX22" fmla="*/ 2946764 w 2962133"/>
              <a:gd name="connsiteY22" fmla="*/ 2010008 h 2309562"/>
              <a:gd name="connsiteX23" fmla="*/ 2953114 w 2962133"/>
              <a:gd name="connsiteY23" fmla="*/ 1806808 h 2309562"/>
              <a:gd name="connsiteX24" fmla="*/ 2943589 w 2962133"/>
              <a:gd name="connsiteY24" fmla="*/ 1368658 h 2309562"/>
              <a:gd name="connsiteX25" fmla="*/ 2938826 w 2962133"/>
              <a:gd name="connsiteY25" fmla="*/ 1082908 h 2309562"/>
              <a:gd name="connsiteX26" fmla="*/ 2938826 w 2962133"/>
              <a:gd name="connsiteY26" fmla="*/ 924158 h 2309562"/>
              <a:gd name="connsiteX27" fmla="*/ 2943589 w 2962133"/>
              <a:gd name="connsiteY27" fmla="*/ 573321 h 2309562"/>
              <a:gd name="connsiteX28" fmla="*/ 2948351 w 2962133"/>
              <a:gd name="connsiteY28" fmla="*/ 344721 h 2309562"/>
              <a:gd name="connsiteX29" fmla="*/ 2948351 w 2962133"/>
              <a:gd name="connsiteY29" fmla="*/ 36746 h 2309562"/>
              <a:gd name="connsiteX30" fmla="*/ 2838814 w 2962133"/>
              <a:gd name="connsiteY30" fmla="*/ 17696 h 2309562"/>
              <a:gd name="connsiteX31" fmla="*/ 2714989 w 2962133"/>
              <a:gd name="connsiteY31" fmla="*/ 11346 h 2309562"/>
              <a:gd name="connsiteX32" fmla="*/ 2372089 w 2962133"/>
              <a:gd name="connsiteY32" fmla="*/ 16108 h 2309562"/>
              <a:gd name="connsiteX33" fmla="*/ 1945051 w 2962133"/>
              <a:gd name="connsiteY33" fmla="*/ 20871 h 2309562"/>
              <a:gd name="connsiteX34" fmla="*/ 1795826 w 2962133"/>
              <a:gd name="connsiteY34" fmla="*/ 11346 h 2309562"/>
              <a:gd name="connsiteX35" fmla="*/ 1519601 w 2962133"/>
              <a:gd name="connsiteY35" fmla="*/ 6583 h 2309562"/>
              <a:gd name="connsiteX36" fmla="*/ 1086214 w 2962133"/>
              <a:gd name="connsiteY36" fmla="*/ 14521 h 2309562"/>
              <a:gd name="connsiteX37" fmla="*/ 176576 w 2962133"/>
              <a:gd name="connsiteY37" fmla="*/ 11346 h 2309562"/>
              <a:gd name="connsiteX38" fmla="*/ 28939 w 2962133"/>
              <a:gd name="connsiteY38" fmla="*/ 12933 h 2309562"/>
              <a:gd name="connsiteX39" fmla="*/ 14651 w 2962133"/>
              <a:gd name="connsiteY39" fmla="*/ 173271 h 2309562"/>
              <a:gd name="connsiteX40" fmla="*/ 5126 w 2962133"/>
              <a:gd name="connsiteY40" fmla="*/ 392346 h 2309562"/>
              <a:gd name="connsiteX41" fmla="*/ 364 w 2962133"/>
              <a:gd name="connsiteY41" fmla="*/ 801921 h 2309562"/>
              <a:gd name="connsiteX42" fmla="*/ 364 w 2962133"/>
              <a:gd name="connsiteY42" fmla="*/ 873358 h 2309562"/>
              <a:gd name="connsiteX43" fmla="*/ 5126 w 2962133"/>
              <a:gd name="connsiteY43" fmla="*/ 1159108 h 2309562"/>
              <a:gd name="connsiteX44" fmla="*/ 14651 w 2962133"/>
              <a:gd name="connsiteY44" fmla="*/ 1478196 h 2309562"/>
              <a:gd name="connsiteX45" fmla="*/ 364 w 2962133"/>
              <a:gd name="connsiteY45" fmla="*/ 1821096 h 2309562"/>
              <a:gd name="connsiteX46" fmla="*/ 5126 w 2962133"/>
              <a:gd name="connsiteY46" fmla="*/ 2016358 h 2309562"/>
              <a:gd name="connsiteX47" fmla="*/ 14651 w 2962133"/>
              <a:gd name="connsiteY47" fmla="*/ 2240196 h 2309562"/>
              <a:gd name="connsiteX48" fmla="*/ 5126 w 2962133"/>
              <a:gd name="connsiteY48" fmla="*/ 2302108 h 2309562"/>
              <a:gd name="connsiteX0" fmla="*/ 4793 w 2961800"/>
              <a:gd name="connsiteY0" fmla="*/ 2302108 h 2309562"/>
              <a:gd name="connsiteX1" fmla="*/ 357218 w 2961800"/>
              <a:gd name="connsiteY1" fmla="*/ 2298933 h 2309562"/>
              <a:gd name="connsiteX2" fmla="*/ 352456 w 2961800"/>
              <a:gd name="connsiteY2" fmla="*/ 2216383 h 2309562"/>
              <a:gd name="connsiteX3" fmla="*/ 357218 w 2961800"/>
              <a:gd name="connsiteY3" fmla="*/ 1587733 h 2309562"/>
              <a:gd name="connsiteX4" fmla="*/ 366743 w 2961800"/>
              <a:gd name="connsiteY4" fmla="*/ 1125771 h 2309562"/>
              <a:gd name="connsiteX5" fmla="*/ 361981 w 2961800"/>
              <a:gd name="connsiteY5" fmla="*/ 473308 h 2309562"/>
              <a:gd name="connsiteX6" fmla="*/ 366743 w 2961800"/>
              <a:gd name="connsiteY6" fmla="*/ 416158 h 2309562"/>
              <a:gd name="connsiteX7" fmla="*/ 515968 w 2961800"/>
              <a:gd name="connsiteY7" fmla="*/ 424096 h 2309562"/>
              <a:gd name="connsiteX8" fmla="*/ 871568 w 2961800"/>
              <a:gd name="connsiteY8" fmla="*/ 416158 h 2309562"/>
              <a:gd name="connsiteX9" fmla="*/ 1228756 w 2961800"/>
              <a:gd name="connsiteY9" fmla="*/ 411396 h 2309562"/>
              <a:gd name="connsiteX10" fmla="*/ 2562256 w 2961800"/>
              <a:gd name="connsiteY10" fmla="*/ 406633 h 2309562"/>
              <a:gd name="connsiteX11" fmla="*/ 2600356 w 2961800"/>
              <a:gd name="connsiteY11" fmla="*/ 425683 h 2309562"/>
              <a:gd name="connsiteX12" fmla="*/ 2600356 w 2961800"/>
              <a:gd name="connsiteY12" fmla="*/ 616183 h 2309562"/>
              <a:gd name="connsiteX13" fmla="*/ 2590831 w 2961800"/>
              <a:gd name="connsiteY13" fmla="*/ 1178158 h 2309562"/>
              <a:gd name="connsiteX14" fmla="*/ 2595593 w 2961800"/>
              <a:gd name="connsiteY14" fmla="*/ 1211496 h 2309562"/>
              <a:gd name="connsiteX15" fmla="*/ 2598768 w 2961800"/>
              <a:gd name="connsiteY15" fmla="*/ 1516296 h 2309562"/>
              <a:gd name="connsiteX16" fmla="*/ 2605118 w 2961800"/>
              <a:gd name="connsiteY16" fmla="*/ 2068746 h 2309562"/>
              <a:gd name="connsiteX17" fmla="*/ 2606706 w 2961800"/>
              <a:gd name="connsiteY17" fmla="*/ 2205271 h 2309562"/>
              <a:gd name="connsiteX18" fmla="*/ 2614643 w 2961800"/>
              <a:gd name="connsiteY18" fmla="*/ 2294171 h 2309562"/>
              <a:gd name="connsiteX19" fmla="*/ 2841656 w 2961800"/>
              <a:gd name="connsiteY19" fmla="*/ 2305283 h 2309562"/>
              <a:gd name="connsiteX20" fmla="*/ 2957543 w 2961800"/>
              <a:gd name="connsiteY20" fmla="*/ 2284646 h 2309562"/>
              <a:gd name="connsiteX21" fmla="*/ 2938493 w 2961800"/>
              <a:gd name="connsiteY21" fmla="*/ 2183046 h 2309562"/>
              <a:gd name="connsiteX22" fmla="*/ 2946431 w 2961800"/>
              <a:gd name="connsiteY22" fmla="*/ 2010008 h 2309562"/>
              <a:gd name="connsiteX23" fmla="*/ 2952781 w 2961800"/>
              <a:gd name="connsiteY23" fmla="*/ 1806808 h 2309562"/>
              <a:gd name="connsiteX24" fmla="*/ 2943256 w 2961800"/>
              <a:gd name="connsiteY24" fmla="*/ 1368658 h 2309562"/>
              <a:gd name="connsiteX25" fmla="*/ 2938493 w 2961800"/>
              <a:gd name="connsiteY25" fmla="*/ 1082908 h 2309562"/>
              <a:gd name="connsiteX26" fmla="*/ 2938493 w 2961800"/>
              <a:gd name="connsiteY26" fmla="*/ 924158 h 2309562"/>
              <a:gd name="connsiteX27" fmla="*/ 2943256 w 2961800"/>
              <a:gd name="connsiteY27" fmla="*/ 573321 h 2309562"/>
              <a:gd name="connsiteX28" fmla="*/ 2948018 w 2961800"/>
              <a:gd name="connsiteY28" fmla="*/ 344721 h 2309562"/>
              <a:gd name="connsiteX29" fmla="*/ 2948018 w 2961800"/>
              <a:gd name="connsiteY29" fmla="*/ 36746 h 2309562"/>
              <a:gd name="connsiteX30" fmla="*/ 2838481 w 2961800"/>
              <a:gd name="connsiteY30" fmla="*/ 17696 h 2309562"/>
              <a:gd name="connsiteX31" fmla="*/ 2714656 w 2961800"/>
              <a:gd name="connsiteY31" fmla="*/ 11346 h 2309562"/>
              <a:gd name="connsiteX32" fmla="*/ 2371756 w 2961800"/>
              <a:gd name="connsiteY32" fmla="*/ 16108 h 2309562"/>
              <a:gd name="connsiteX33" fmla="*/ 1944718 w 2961800"/>
              <a:gd name="connsiteY33" fmla="*/ 20871 h 2309562"/>
              <a:gd name="connsiteX34" fmla="*/ 1795493 w 2961800"/>
              <a:gd name="connsiteY34" fmla="*/ 11346 h 2309562"/>
              <a:gd name="connsiteX35" fmla="*/ 1519268 w 2961800"/>
              <a:gd name="connsiteY35" fmla="*/ 6583 h 2309562"/>
              <a:gd name="connsiteX36" fmla="*/ 1085881 w 2961800"/>
              <a:gd name="connsiteY36" fmla="*/ 14521 h 2309562"/>
              <a:gd name="connsiteX37" fmla="*/ 176243 w 2961800"/>
              <a:gd name="connsiteY37" fmla="*/ 11346 h 2309562"/>
              <a:gd name="connsiteX38" fmla="*/ 28606 w 2961800"/>
              <a:gd name="connsiteY38" fmla="*/ 12933 h 2309562"/>
              <a:gd name="connsiteX39" fmla="*/ 14318 w 2961800"/>
              <a:gd name="connsiteY39" fmla="*/ 173271 h 2309562"/>
              <a:gd name="connsiteX40" fmla="*/ 4793 w 2961800"/>
              <a:gd name="connsiteY40" fmla="*/ 392346 h 2309562"/>
              <a:gd name="connsiteX41" fmla="*/ 31 w 2961800"/>
              <a:gd name="connsiteY41" fmla="*/ 801921 h 2309562"/>
              <a:gd name="connsiteX42" fmla="*/ 31 w 2961800"/>
              <a:gd name="connsiteY42" fmla="*/ 873358 h 2309562"/>
              <a:gd name="connsiteX43" fmla="*/ 4793 w 2961800"/>
              <a:gd name="connsiteY43" fmla="*/ 1159108 h 2309562"/>
              <a:gd name="connsiteX44" fmla="*/ 14318 w 2961800"/>
              <a:gd name="connsiteY44" fmla="*/ 1478196 h 2309562"/>
              <a:gd name="connsiteX45" fmla="*/ 6381 w 2961800"/>
              <a:gd name="connsiteY45" fmla="*/ 1846496 h 2309562"/>
              <a:gd name="connsiteX46" fmla="*/ 4793 w 2961800"/>
              <a:gd name="connsiteY46" fmla="*/ 2016358 h 2309562"/>
              <a:gd name="connsiteX47" fmla="*/ 14318 w 2961800"/>
              <a:gd name="connsiteY47" fmla="*/ 2240196 h 2309562"/>
              <a:gd name="connsiteX48" fmla="*/ 4793 w 2961800"/>
              <a:gd name="connsiteY48" fmla="*/ 2302108 h 230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2961800" h="2309562">
                <a:moveTo>
                  <a:pt x="4793" y="2302108"/>
                </a:moveTo>
                <a:cubicBezTo>
                  <a:pt x="61943" y="2311898"/>
                  <a:pt x="299274" y="2313220"/>
                  <a:pt x="357218" y="2298933"/>
                </a:cubicBezTo>
                <a:cubicBezTo>
                  <a:pt x="364362" y="2290996"/>
                  <a:pt x="352456" y="2334916"/>
                  <a:pt x="352456" y="2216383"/>
                </a:cubicBezTo>
                <a:cubicBezTo>
                  <a:pt x="352456" y="2097850"/>
                  <a:pt x="354837" y="1769502"/>
                  <a:pt x="357218" y="1587733"/>
                </a:cubicBezTo>
                <a:cubicBezTo>
                  <a:pt x="360393" y="1433746"/>
                  <a:pt x="362259" y="1279726"/>
                  <a:pt x="366743" y="1125771"/>
                </a:cubicBezTo>
                <a:cubicBezTo>
                  <a:pt x="367537" y="940034"/>
                  <a:pt x="361981" y="591577"/>
                  <a:pt x="361981" y="473308"/>
                </a:cubicBezTo>
                <a:cubicBezTo>
                  <a:pt x="361981" y="355039"/>
                  <a:pt x="353779" y="427535"/>
                  <a:pt x="366743" y="416158"/>
                </a:cubicBezTo>
                <a:cubicBezTo>
                  <a:pt x="379707" y="404781"/>
                  <a:pt x="431831" y="424096"/>
                  <a:pt x="515968" y="424096"/>
                </a:cubicBezTo>
                <a:cubicBezTo>
                  <a:pt x="600105" y="424096"/>
                  <a:pt x="752770" y="418275"/>
                  <a:pt x="871568" y="416158"/>
                </a:cubicBezTo>
                <a:cubicBezTo>
                  <a:pt x="990366" y="414041"/>
                  <a:pt x="946975" y="412984"/>
                  <a:pt x="1228756" y="411396"/>
                </a:cubicBezTo>
                <a:lnTo>
                  <a:pt x="2562256" y="406633"/>
                </a:lnTo>
                <a:cubicBezTo>
                  <a:pt x="2576262" y="408967"/>
                  <a:pt x="2594006" y="390758"/>
                  <a:pt x="2600356" y="425683"/>
                </a:cubicBezTo>
                <a:cubicBezTo>
                  <a:pt x="2606706" y="460608"/>
                  <a:pt x="2601943" y="490771"/>
                  <a:pt x="2600356" y="616183"/>
                </a:cubicBezTo>
                <a:cubicBezTo>
                  <a:pt x="2598769" y="741595"/>
                  <a:pt x="2591625" y="1078939"/>
                  <a:pt x="2590831" y="1178158"/>
                </a:cubicBezTo>
                <a:cubicBezTo>
                  <a:pt x="2590037" y="1277377"/>
                  <a:pt x="2594270" y="1155140"/>
                  <a:pt x="2595593" y="1211496"/>
                </a:cubicBezTo>
                <a:cubicBezTo>
                  <a:pt x="2596916" y="1267852"/>
                  <a:pt x="2597181" y="1373421"/>
                  <a:pt x="2598768" y="1516296"/>
                </a:cubicBezTo>
                <a:cubicBezTo>
                  <a:pt x="2600355" y="1659171"/>
                  <a:pt x="2603795" y="1953917"/>
                  <a:pt x="2605118" y="2068746"/>
                </a:cubicBezTo>
                <a:cubicBezTo>
                  <a:pt x="2606441" y="2183575"/>
                  <a:pt x="2605119" y="2167700"/>
                  <a:pt x="2606706" y="2205271"/>
                </a:cubicBezTo>
                <a:cubicBezTo>
                  <a:pt x="2608293" y="2242842"/>
                  <a:pt x="2575485" y="2277502"/>
                  <a:pt x="2614643" y="2294171"/>
                </a:cubicBezTo>
                <a:cubicBezTo>
                  <a:pt x="2653801" y="2310840"/>
                  <a:pt x="2784506" y="2306871"/>
                  <a:pt x="2841656" y="2305283"/>
                </a:cubicBezTo>
                <a:cubicBezTo>
                  <a:pt x="2898806" y="2303696"/>
                  <a:pt x="2941404" y="2305019"/>
                  <a:pt x="2957543" y="2284646"/>
                </a:cubicBezTo>
                <a:cubicBezTo>
                  <a:pt x="2973682" y="2264273"/>
                  <a:pt x="2938757" y="2232523"/>
                  <a:pt x="2938493" y="2183046"/>
                </a:cubicBezTo>
                <a:cubicBezTo>
                  <a:pt x="2938229" y="2133569"/>
                  <a:pt x="2944050" y="2072714"/>
                  <a:pt x="2946431" y="2010008"/>
                </a:cubicBezTo>
                <a:cubicBezTo>
                  <a:pt x="2948812" y="1947302"/>
                  <a:pt x="2953310" y="1913700"/>
                  <a:pt x="2952781" y="1806808"/>
                </a:cubicBezTo>
                <a:cubicBezTo>
                  <a:pt x="2952252" y="1699916"/>
                  <a:pt x="2944424" y="1428801"/>
                  <a:pt x="2943256" y="1368658"/>
                </a:cubicBezTo>
                <a:cubicBezTo>
                  <a:pt x="2941407" y="1273413"/>
                  <a:pt x="2939287" y="1156991"/>
                  <a:pt x="2938493" y="1082908"/>
                </a:cubicBezTo>
                <a:cubicBezTo>
                  <a:pt x="2937699" y="1008825"/>
                  <a:pt x="2937699" y="1009089"/>
                  <a:pt x="2938493" y="924158"/>
                </a:cubicBezTo>
                <a:cubicBezTo>
                  <a:pt x="2941668" y="853514"/>
                  <a:pt x="2938494" y="672540"/>
                  <a:pt x="2943256" y="573321"/>
                </a:cubicBezTo>
                <a:cubicBezTo>
                  <a:pt x="2945637" y="522521"/>
                  <a:pt x="2947224" y="434150"/>
                  <a:pt x="2948018" y="344721"/>
                </a:cubicBezTo>
                <a:cubicBezTo>
                  <a:pt x="2943256" y="274077"/>
                  <a:pt x="2951193" y="96277"/>
                  <a:pt x="2948018" y="36746"/>
                </a:cubicBezTo>
                <a:cubicBezTo>
                  <a:pt x="2937699" y="-23579"/>
                  <a:pt x="2877375" y="21929"/>
                  <a:pt x="2838481" y="17696"/>
                </a:cubicBezTo>
                <a:cubicBezTo>
                  <a:pt x="2799587" y="13463"/>
                  <a:pt x="2792443" y="11611"/>
                  <a:pt x="2714656" y="11346"/>
                </a:cubicBezTo>
                <a:cubicBezTo>
                  <a:pt x="2636869" y="11081"/>
                  <a:pt x="2486056" y="14521"/>
                  <a:pt x="2371756" y="16108"/>
                </a:cubicBezTo>
                <a:lnTo>
                  <a:pt x="1944718" y="20871"/>
                </a:lnTo>
                <a:cubicBezTo>
                  <a:pt x="1848674" y="20077"/>
                  <a:pt x="1866401" y="13727"/>
                  <a:pt x="1795493" y="11346"/>
                </a:cubicBezTo>
                <a:cubicBezTo>
                  <a:pt x="1724585" y="8965"/>
                  <a:pt x="1637537" y="6054"/>
                  <a:pt x="1519268" y="6583"/>
                </a:cubicBezTo>
                <a:cubicBezTo>
                  <a:pt x="1400999" y="7112"/>
                  <a:pt x="1239318" y="-7399"/>
                  <a:pt x="1085881" y="14521"/>
                </a:cubicBezTo>
                <a:lnTo>
                  <a:pt x="176243" y="11346"/>
                </a:lnTo>
                <a:cubicBezTo>
                  <a:pt x="132587" y="9229"/>
                  <a:pt x="55593" y="-14054"/>
                  <a:pt x="28606" y="12933"/>
                </a:cubicBezTo>
                <a:cubicBezTo>
                  <a:pt x="1619" y="39920"/>
                  <a:pt x="18287" y="110036"/>
                  <a:pt x="14318" y="173271"/>
                </a:cubicBezTo>
                <a:cubicBezTo>
                  <a:pt x="10349" y="236507"/>
                  <a:pt x="7174" y="287571"/>
                  <a:pt x="4793" y="392346"/>
                </a:cubicBezTo>
                <a:cubicBezTo>
                  <a:pt x="2412" y="497121"/>
                  <a:pt x="825" y="721752"/>
                  <a:pt x="31" y="801921"/>
                </a:cubicBezTo>
                <a:cubicBezTo>
                  <a:pt x="-763" y="882090"/>
                  <a:pt x="14485" y="728802"/>
                  <a:pt x="31" y="873358"/>
                </a:cubicBezTo>
                <a:cubicBezTo>
                  <a:pt x="1618" y="968608"/>
                  <a:pt x="2072" y="1063884"/>
                  <a:pt x="4793" y="1159108"/>
                </a:cubicBezTo>
                <a:cubicBezTo>
                  <a:pt x="7174" y="1259914"/>
                  <a:pt x="14053" y="1363631"/>
                  <a:pt x="14318" y="1478196"/>
                </a:cubicBezTo>
                <a:cubicBezTo>
                  <a:pt x="14583" y="1592761"/>
                  <a:pt x="7969" y="1756802"/>
                  <a:pt x="6381" y="1846496"/>
                </a:cubicBezTo>
                <a:cubicBezTo>
                  <a:pt x="4793" y="1936190"/>
                  <a:pt x="3470" y="1950741"/>
                  <a:pt x="4793" y="2016358"/>
                </a:cubicBezTo>
                <a:cubicBezTo>
                  <a:pt x="6116" y="2081975"/>
                  <a:pt x="14318" y="2192571"/>
                  <a:pt x="14318" y="2240196"/>
                </a:cubicBezTo>
                <a:cubicBezTo>
                  <a:pt x="14318" y="2287821"/>
                  <a:pt x="-1557" y="2292583"/>
                  <a:pt x="4793" y="2302108"/>
                </a:cubicBezTo>
                <a:close/>
              </a:path>
            </a:pathLst>
          </a:custGeom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sp>
        <p:nvSpPr>
          <p:cNvPr id="212" name="Freeform: Shape 211">
            <a:extLst>
              <a:ext uri="{FF2B5EF4-FFF2-40B4-BE49-F238E27FC236}">
                <a16:creationId xmlns:a16="http://schemas.microsoft.com/office/drawing/2014/main" id="{9FBBA59A-CF8F-F18F-B2A0-98DDA8D20292}"/>
              </a:ext>
            </a:extLst>
          </p:cNvPr>
          <p:cNvSpPr/>
          <p:nvPr/>
        </p:nvSpPr>
        <p:spPr>
          <a:xfrm>
            <a:off x="4698300" y="3897671"/>
            <a:ext cx="1611939" cy="1936771"/>
          </a:xfrm>
          <a:custGeom>
            <a:avLst/>
            <a:gdLst>
              <a:gd name="connsiteX0" fmla="*/ 49051 w 2466751"/>
              <a:gd name="connsiteY0" fmla="*/ 65273 h 2062232"/>
              <a:gd name="connsiteX1" fmla="*/ 45876 w 2466751"/>
              <a:gd name="connsiteY1" fmla="*/ 427223 h 2062232"/>
              <a:gd name="connsiteX2" fmla="*/ 39526 w 2466751"/>
              <a:gd name="connsiteY2" fmla="*/ 468498 h 2062232"/>
              <a:gd name="connsiteX3" fmla="*/ 26826 w 2466751"/>
              <a:gd name="connsiteY3" fmla="*/ 516123 h 2062232"/>
              <a:gd name="connsiteX4" fmla="*/ 20476 w 2466751"/>
              <a:gd name="connsiteY4" fmla="*/ 582798 h 2062232"/>
              <a:gd name="connsiteX5" fmla="*/ 14126 w 2466751"/>
              <a:gd name="connsiteY5" fmla="*/ 630423 h 2062232"/>
              <a:gd name="connsiteX6" fmla="*/ 4601 w 2466751"/>
              <a:gd name="connsiteY6" fmla="*/ 712973 h 2062232"/>
              <a:gd name="connsiteX7" fmla="*/ 7776 w 2466751"/>
              <a:gd name="connsiteY7" fmla="*/ 941573 h 2062232"/>
              <a:gd name="connsiteX8" fmla="*/ 14126 w 2466751"/>
              <a:gd name="connsiteY8" fmla="*/ 982848 h 2062232"/>
              <a:gd name="connsiteX9" fmla="*/ 20476 w 2466751"/>
              <a:gd name="connsiteY9" fmla="*/ 1039998 h 2062232"/>
              <a:gd name="connsiteX10" fmla="*/ 42701 w 2466751"/>
              <a:gd name="connsiteY10" fmla="*/ 1141598 h 2062232"/>
              <a:gd name="connsiteX11" fmla="*/ 55401 w 2466751"/>
              <a:gd name="connsiteY11" fmla="*/ 1220973 h 2062232"/>
              <a:gd name="connsiteX12" fmla="*/ 58576 w 2466751"/>
              <a:gd name="connsiteY12" fmla="*/ 1617848 h 2062232"/>
              <a:gd name="connsiteX13" fmla="*/ 45876 w 2466751"/>
              <a:gd name="connsiteY13" fmla="*/ 1716273 h 2062232"/>
              <a:gd name="connsiteX14" fmla="*/ 39526 w 2466751"/>
              <a:gd name="connsiteY14" fmla="*/ 1767073 h 2062232"/>
              <a:gd name="connsiteX15" fmla="*/ 42701 w 2466751"/>
              <a:gd name="connsiteY15" fmla="*/ 1859148 h 2062232"/>
              <a:gd name="connsiteX16" fmla="*/ 49051 w 2466751"/>
              <a:gd name="connsiteY16" fmla="*/ 1887723 h 2062232"/>
              <a:gd name="connsiteX17" fmla="*/ 64926 w 2466751"/>
              <a:gd name="connsiteY17" fmla="*/ 1906773 h 2062232"/>
              <a:gd name="connsiteX18" fmla="*/ 71276 w 2466751"/>
              <a:gd name="connsiteY18" fmla="*/ 1951223 h 2062232"/>
              <a:gd name="connsiteX19" fmla="*/ 217326 w 2466751"/>
              <a:gd name="connsiteY19" fmla="*/ 2017898 h 2062232"/>
              <a:gd name="connsiteX20" fmla="*/ 264951 w 2466751"/>
              <a:gd name="connsiteY20" fmla="*/ 2024248 h 2062232"/>
              <a:gd name="connsiteX21" fmla="*/ 560226 w 2466751"/>
              <a:gd name="connsiteY21" fmla="*/ 2033773 h 2062232"/>
              <a:gd name="connsiteX22" fmla="*/ 1461926 w 2466751"/>
              <a:gd name="connsiteY22" fmla="*/ 2043298 h 2062232"/>
              <a:gd name="connsiteX23" fmla="*/ 1719101 w 2466751"/>
              <a:gd name="connsiteY23" fmla="*/ 2040123 h 2062232"/>
              <a:gd name="connsiteX24" fmla="*/ 1969926 w 2466751"/>
              <a:gd name="connsiteY24" fmla="*/ 2030598 h 2062232"/>
              <a:gd name="connsiteX25" fmla="*/ 2023901 w 2466751"/>
              <a:gd name="connsiteY25" fmla="*/ 2027423 h 2062232"/>
              <a:gd name="connsiteX26" fmla="*/ 2074701 w 2466751"/>
              <a:gd name="connsiteY26" fmla="*/ 2017898 h 2062232"/>
              <a:gd name="connsiteX27" fmla="*/ 2138201 w 2466751"/>
              <a:gd name="connsiteY27" fmla="*/ 2011548 h 2062232"/>
              <a:gd name="connsiteX28" fmla="*/ 2271551 w 2466751"/>
              <a:gd name="connsiteY28" fmla="*/ 2005198 h 2062232"/>
              <a:gd name="connsiteX29" fmla="*/ 2303301 w 2466751"/>
              <a:gd name="connsiteY29" fmla="*/ 2002023 h 2062232"/>
              <a:gd name="connsiteX30" fmla="*/ 2373151 w 2466751"/>
              <a:gd name="connsiteY30" fmla="*/ 1998848 h 2062232"/>
              <a:gd name="connsiteX31" fmla="*/ 2395376 w 2466751"/>
              <a:gd name="connsiteY31" fmla="*/ 1989323 h 2062232"/>
              <a:gd name="connsiteX32" fmla="*/ 2401726 w 2466751"/>
              <a:gd name="connsiteY32" fmla="*/ 1951223 h 2062232"/>
              <a:gd name="connsiteX33" fmla="*/ 2404901 w 2466751"/>
              <a:gd name="connsiteY33" fmla="*/ 1805173 h 2062232"/>
              <a:gd name="connsiteX34" fmla="*/ 2408076 w 2466751"/>
              <a:gd name="connsiteY34" fmla="*/ 1763898 h 2062232"/>
              <a:gd name="connsiteX35" fmla="*/ 2417601 w 2466751"/>
              <a:gd name="connsiteY35" fmla="*/ 1719448 h 2062232"/>
              <a:gd name="connsiteX36" fmla="*/ 2436651 w 2466751"/>
              <a:gd name="connsiteY36" fmla="*/ 1598798 h 2062232"/>
              <a:gd name="connsiteX37" fmla="*/ 2443001 w 2466751"/>
              <a:gd name="connsiteY37" fmla="*/ 1535298 h 2062232"/>
              <a:gd name="connsiteX38" fmla="*/ 2446176 w 2466751"/>
              <a:gd name="connsiteY38" fmla="*/ 1500373 h 2062232"/>
              <a:gd name="connsiteX39" fmla="*/ 2452526 w 2466751"/>
              <a:gd name="connsiteY39" fmla="*/ 1300348 h 2062232"/>
              <a:gd name="connsiteX40" fmla="*/ 2443001 w 2466751"/>
              <a:gd name="connsiteY40" fmla="*/ 331973 h 2062232"/>
              <a:gd name="connsiteX41" fmla="*/ 2423951 w 2466751"/>
              <a:gd name="connsiteY41" fmla="*/ 239898 h 2062232"/>
              <a:gd name="connsiteX42" fmla="*/ 2401726 w 2466751"/>
              <a:gd name="connsiteY42" fmla="*/ 160523 h 2062232"/>
              <a:gd name="connsiteX43" fmla="*/ 2389026 w 2466751"/>
              <a:gd name="connsiteY43" fmla="*/ 103373 h 2062232"/>
              <a:gd name="connsiteX44" fmla="*/ 2376326 w 2466751"/>
              <a:gd name="connsiteY44" fmla="*/ 62098 h 2062232"/>
              <a:gd name="connsiteX45" fmla="*/ 2369976 w 2466751"/>
              <a:gd name="connsiteY45" fmla="*/ 52573 h 2062232"/>
              <a:gd name="connsiteX46" fmla="*/ 2306476 w 2466751"/>
              <a:gd name="connsiteY46" fmla="*/ 43048 h 2062232"/>
              <a:gd name="connsiteX47" fmla="*/ 2214401 w 2466751"/>
              <a:gd name="connsiteY47" fmla="*/ 33523 h 2062232"/>
              <a:gd name="connsiteX48" fmla="*/ 1887376 w 2466751"/>
              <a:gd name="connsiteY48" fmla="*/ 23998 h 2062232"/>
              <a:gd name="connsiteX49" fmla="*/ 690401 w 2466751"/>
              <a:gd name="connsiteY49" fmla="*/ 20823 h 2062232"/>
              <a:gd name="connsiteX50" fmla="*/ 550701 w 2466751"/>
              <a:gd name="connsiteY50" fmla="*/ 39873 h 2062232"/>
              <a:gd name="connsiteX51" fmla="*/ 487201 w 2466751"/>
              <a:gd name="connsiteY51" fmla="*/ 49398 h 2062232"/>
              <a:gd name="connsiteX52" fmla="*/ 360201 w 2466751"/>
              <a:gd name="connsiteY52" fmla="*/ 84323 h 2062232"/>
              <a:gd name="connsiteX53" fmla="*/ 252251 w 2466751"/>
              <a:gd name="connsiteY53" fmla="*/ 119248 h 2062232"/>
              <a:gd name="connsiteX54" fmla="*/ 163351 w 2466751"/>
              <a:gd name="connsiteY54" fmla="*/ 109723 h 2062232"/>
              <a:gd name="connsiteX55" fmla="*/ 103026 w 2466751"/>
              <a:gd name="connsiteY55" fmla="*/ 71623 h 2062232"/>
              <a:gd name="connsiteX56" fmla="*/ 49051 w 2466751"/>
              <a:gd name="connsiteY56" fmla="*/ 65273 h 2062232"/>
              <a:gd name="connsiteX0" fmla="*/ 49051 w 2466751"/>
              <a:gd name="connsiteY0" fmla="*/ 65273 h 2062232"/>
              <a:gd name="connsiteX1" fmla="*/ 45876 w 2466751"/>
              <a:gd name="connsiteY1" fmla="*/ 427223 h 2062232"/>
              <a:gd name="connsiteX2" fmla="*/ 39526 w 2466751"/>
              <a:gd name="connsiteY2" fmla="*/ 468498 h 2062232"/>
              <a:gd name="connsiteX3" fmla="*/ 26826 w 2466751"/>
              <a:gd name="connsiteY3" fmla="*/ 516123 h 2062232"/>
              <a:gd name="connsiteX4" fmla="*/ 20476 w 2466751"/>
              <a:gd name="connsiteY4" fmla="*/ 582798 h 2062232"/>
              <a:gd name="connsiteX5" fmla="*/ 14126 w 2466751"/>
              <a:gd name="connsiteY5" fmla="*/ 630423 h 2062232"/>
              <a:gd name="connsiteX6" fmla="*/ 4601 w 2466751"/>
              <a:gd name="connsiteY6" fmla="*/ 712973 h 2062232"/>
              <a:gd name="connsiteX7" fmla="*/ 7776 w 2466751"/>
              <a:gd name="connsiteY7" fmla="*/ 941573 h 2062232"/>
              <a:gd name="connsiteX8" fmla="*/ 14126 w 2466751"/>
              <a:gd name="connsiteY8" fmla="*/ 982848 h 2062232"/>
              <a:gd name="connsiteX9" fmla="*/ 20476 w 2466751"/>
              <a:gd name="connsiteY9" fmla="*/ 1039998 h 2062232"/>
              <a:gd name="connsiteX10" fmla="*/ 42701 w 2466751"/>
              <a:gd name="connsiteY10" fmla="*/ 1141598 h 2062232"/>
              <a:gd name="connsiteX11" fmla="*/ 55401 w 2466751"/>
              <a:gd name="connsiteY11" fmla="*/ 1220973 h 2062232"/>
              <a:gd name="connsiteX12" fmla="*/ 58576 w 2466751"/>
              <a:gd name="connsiteY12" fmla="*/ 1617848 h 2062232"/>
              <a:gd name="connsiteX13" fmla="*/ 45876 w 2466751"/>
              <a:gd name="connsiteY13" fmla="*/ 1716273 h 2062232"/>
              <a:gd name="connsiteX14" fmla="*/ 39526 w 2466751"/>
              <a:gd name="connsiteY14" fmla="*/ 1767073 h 2062232"/>
              <a:gd name="connsiteX15" fmla="*/ 42701 w 2466751"/>
              <a:gd name="connsiteY15" fmla="*/ 1859148 h 2062232"/>
              <a:gd name="connsiteX16" fmla="*/ 49051 w 2466751"/>
              <a:gd name="connsiteY16" fmla="*/ 1887723 h 2062232"/>
              <a:gd name="connsiteX17" fmla="*/ 64926 w 2466751"/>
              <a:gd name="connsiteY17" fmla="*/ 1906773 h 2062232"/>
              <a:gd name="connsiteX18" fmla="*/ 71276 w 2466751"/>
              <a:gd name="connsiteY18" fmla="*/ 1951223 h 2062232"/>
              <a:gd name="connsiteX19" fmla="*/ 217326 w 2466751"/>
              <a:gd name="connsiteY19" fmla="*/ 2017898 h 2062232"/>
              <a:gd name="connsiteX20" fmla="*/ 264951 w 2466751"/>
              <a:gd name="connsiteY20" fmla="*/ 2024248 h 2062232"/>
              <a:gd name="connsiteX21" fmla="*/ 560226 w 2466751"/>
              <a:gd name="connsiteY21" fmla="*/ 2033773 h 2062232"/>
              <a:gd name="connsiteX22" fmla="*/ 1461926 w 2466751"/>
              <a:gd name="connsiteY22" fmla="*/ 2043298 h 2062232"/>
              <a:gd name="connsiteX23" fmla="*/ 1719101 w 2466751"/>
              <a:gd name="connsiteY23" fmla="*/ 2040123 h 2062232"/>
              <a:gd name="connsiteX24" fmla="*/ 1969926 w 2466751"/>
              <a:gd name="connsiteY24" fmla="*/ 2030598 h 2062232"/>
              <a:gd name="connsiteX25" fmla="*/ 2023901 w 2466751"/>
              <a:gd name="connsiteY25" fmla="*/ 2027423 h 2062232"/>
              <a:gd name="connsiteX26" fmla="*/ 2074701 w 2466751"/>
              <a:gd name="connsiteY26" fmla="*/ 2017898 h 2062232"/>
              <a:gd name="connsiteX27" fmla="*/ 2138201 w 2466751"/>
              <a:gd name="connsiteY27" fmla="*/ 2011548 h 2062232"/>
              <a:gd name="connsiteX28" fmla="*/ 2271551 w 2466751"/>
              <a:gd name="connsiteY28" fmla="*/ 2005198 h 2062232"/>
              <a:gd name="connsiteX29" fmla="*/ 2303301 w 2466751"/>
              <a:gd name="connsiteY29" fmla="*/ 2002023 h 2062232"/>
              <a:gd name="connsiteX30" fmla="*/ 2373151 w 2466751"/>
              <a:gd name="connsiteY30" fmla="*/ 1998848 h 2062232"/>
              <a:gd name="connsiteX31" fmla="*/ 2395376 w 2466751"/>
              <a:gd name="connsiteY31" fmla="*/ 1989323 h 2062232"/>
              <a:gd name="connsiteX32" fmla="*/ 2401726 w 2466751"/>
              <a:gd name="connsiteY32" fmla="*/ 1951223 h 2062232"/>
              <a:gd name="connsiteX33" fmla="*/ 2404901 w 2466751"/>
              <a:gd name="connsiteY33" fmla="*/ 1805173 h 2062232"/>
              <a:gd name="connsiteX34" fmla="*/ 2408076 w 2466751"/>
              <a:gd name="connsiteY34" fmla="*/ 1763898 h 2062232"/>
              <a:gd name="connsiteX35" fmla="*/ 2417601 w 2466751"/>
              <a:gd name="connsiteY35" fmla="*/ 1719448 h 2062232"/>
              <a:gd name="connsiteX36" fmla="*/ 2436651 w 2466751"/>
              <a:gd name="connsiteY36" fmla="*/ 1598798 h 2062232"/>
              <a:gd name="connsiteX37" fmla="*/ 2443001 w 2466751"/>
              <a:gd name="connsiteY37" fmla="*/ 1535298 h 2062232"/>
              <a:gd name="connsiteX38" fmla="*/ 2446176 w 2466751"/>
              <a:gd name="connsiteY38" fmla="*/ 1500373 h 2062232"/>
              <a:gd name="connsiteX39" fmla="*/ 2452526 w 2466751"/>
              <a:gd name="connsiteY39" fmla="*/ 1300348 h 2062232"/>
              <a:gd name="connsiteX40" fmla="*/ 2443001 w 2466751"/>
              <a:gd name="connsiteY40" fmla="*/ 331973 h 2062232"/>
              <a:gd name="connsiteX41" fmla="*/ 2423951 w 2466751"/>
              <a:gd name="connsiteY41" fmla="*/ 239898 h 2062232"/>
              <a:gd name="connsiteX42" fmla="*/ 2401726 w 2466751"/>
              <a:gd name="connsiteY42" fmla="*/ 160523 h 2062232"/>
              <a:gd name="connsiteX43" fmla="*/ 2389026 w 2466751"/>
              <a:gd name="connsiteY43" fmla="*/ 103373 h 2062232"/>
              <a:gd name="connsiteX44" fmla="*/ 2376326 w 2466751"/>
              <a:gd name="connsiteY44" fmla="*/ 62098 h 2062232"/>
              <a:gd name="connsiteX45" fmla="*/ 2369976 w 2466751"/>
              <a:gd name="connsiteY45" fmla="*/ 52573 h 2062232"/>
              <a:gd name="connsiteX46" fmla="*/ 2306476 w 2466751"/>
              <a:gd name="connsiteY46" fmla="*/ 43048 h 2062232"/>
              <a:gd name="connsiteX47" fmla="*/ 2214401 w 2466751"/>
              <a:gd name="connsiteY47" fmla="*/ 33523 h 2062232"/>
              <a:gd name="connsiteX48" fmla="*/ 1887376 w 2466751"/>
              <a:gd name="connsiteY48" fmla="*/ 23998 h 2062232"/>
              <a:gd name="connsiteX49" fmla="*/ 690401 w 2466751"/>
              <a:gd name="connsiteY49" fmla="*/ 20823 h 2062232"/>
              <a:gd name="connsiteX50" fmla="*/ 550701 w 2466751"/>
              <a:gd name="connsiteY50" fmla="*/ 39873 h 2062232"/>
              <a:gd name="connsiteX51" fmla="*/ 487201 w 2466751"/>
              <a:gd name="connsiteY51" fmla="*/ 49398 h 2062232"/>
              <a:gd name="connsiteX52" fmla="*/ 360201 w 2466751"/>
              <a:gd name="connsiteY52" fmla="*/ 84323 h 2062232"/>
              <a:gd name="connsiteX53" fmla="*/ 252251 w 2466751"/>
              <a:gd name="connsiteY53" fmla="*/ 119248 h 2062232"/>
              <a:gd name="connsiteX54" fmla="*/ 103026 w 2466751"/>
              <a:gd name="connsiteY54" fmla="*/ 71623 h 2062232"/>
              <a:gd name="connsiteX55" fmla="*/ 49051 w 2466751"/>
              <a:gd name="connsiteY55" fmla="*/ 65273 h 2062232"/>
              <a:gd name="connsiteX0" fmla="*/ 49051 w 2466751"/>
              <a:gd name="connsiteY0" fmla="*/ 65273 h 2062232"/>
              <a:gd name="connsiteX1" fmla="*/ 45876 w 2466751"/>
              <a:gd name="connsiteY1" fmla="*/ 427223 h 2062232"/>
              <a:gd name="connsiteX2" fmla="*/ 39526 w 2466751"/>
              <a:gd name="connsiteY2" fmla="*/ 468498 h 2062232"/>
              <a:gd name="connsiteX3" fmla="*/ 26826 w 2466751"/>
              <a:gd name="connsiteY3" fmla="*/ 516123 h 2062232"/>
              <a:gd name="connsiteX4" fmla="*/ 20476 w 2466751"/>
              <a:gd name="connsiteY4" fmla="*/ 582798 h 2062232"/>
              <a:gd name="connsiteX5" fmla="*/ 14126 w 2466751"/>
              <a:gd name="connsiteY5" fmla="*/ 630423 h 2062232"/>
              <a:gd name="connsiteX6" fmla="*/ 4601 w 2466751"/>
              <a:gd name="connsiteY6" fmla="*/ 712973 h 2062232"/>
              <a:gd name="connsiteX7" fmla="*/ 7776 w 2466751"/>
              <a:gd name="connsiteY7" fmla="*/ 941573 h 2062232"/>
              <a:gd name="connsiteX8" fmla="*/ 14126 w 2466751"/>
              <a:gd name="connsiteY8" fmla="*/ 982848 h 2062232"/>
              <a:gd name="connsiteX9" fmla="*/ 20476 w 2466751"/>
              <a:gd name="connsiteY9" fmla="*/ 1039998 h 2062232"/>
              <a:gd name="connsiteX10" fmla="*/ 42701 w 2466751"/>
              <a:gd name="connsiteY10" fmla="*/ 1141598 h 2062232"/>
              <a:gd name="connsiteX11" fmla="*/ 55401 w 2466751"/>
              <a:gd name="connsiteY11" fmla="*/ 1220973 h 2062232"/>
              <a:gd name="connsiteX12" fmla="*/ 58576 w 2466751"/>
              <a:gd name="connsiteY12" fmla="*/ 1617848 h 2062232"/>
              <a:gd name="connsiteX13" fmla="*/ 45876 w 2466751"/>
              <a:gd name="connsiteY13" fmla="*/ 1716273 h 2062232"/>
              <a:gd name="connsiteX14" fmla="*/ 39526 w 2466751"/>
              <a:gd name="connsiteY14" fmla="*/ 1767073 h 2062232"/>
              <a:gd name="connsiteX15" fmla="*/ 42701 w 2466751"/>
              <a:gd name="connsiteY15" fmla="*/ 1859148 h 2062232"/>
              <a:gd name="connsiteX16" fmla="*/ 49051 w 2466751"/>
              <a:gd name="connsiteY16" fmla="*/ 1887723 h 2062232"/>
              <a:gd name="connsiteX17" fmla="*/ 64926 w 2466751"/>
              <a:gd name="connsiteY17" fmla="*/ 1906773 h 2062232"/>
              <a:gd name="connsiteX18" fmla="*/ 71276 w 2466751"/>
              <a:gd name="connsiteY18" fmla="*/ 1951223 h 2062232"/>
              <a:gd name="connsiteX19" fmla="*/ 217326 w 2466751"/>
              <a:gd name="connsiteY19" fmla="*/ 2017898 h 2062232"/>
              <a:gd name="connsiteX20" fmla="*/ 264951 w 2466751"/>
              <a:gd name="connsiteY20" fmla="*/ 2024248 h 2062232"/>
              <a:gd name="connsiteX21" fmla="*/ 560226 w 2466751"/>
              <a:gd name="connsiteY21" fmla="*/ 2033773 h 2062232"/>
              <a:gd name="connsiteX22" fmla="*/ 1461926 w 2466751"/>
              <a:gd name="connsiteY22" fmla="*/ 2043298 h 2062232"/>
              <a:gd name="connsiteX23" fmla="*/ 1719101 w 2466751"/>
              <a:gd name="connsiteY23" fmla="*/ 2040123 h 2062232"/>
              <a:gd name="connsiteX24" fmla="*/ 1969926 w 2466751"/>
              <a:gd name="connsiteY24" fmla="*/ 2030598 h 2062232"/>
              <a:gd name="connsiteX25" fmla="*/ 2023901 w 2466751"/>
              <a:gd name="connsiteY25" fmla="*/ 2027423 h 2062232"/>
              <a:gd name="connsiteX26" fmla="*/ 2074701 w 2466751"/>
              <a:gd name="connsiteY26" fmla="*/ 2017898 h 2062232"/>
              <a:gd name="connsiteX27" fmla="*/ 2138201 w 2466751"/>
              <a:gd name="connsiteY27" fmla="*/ 2011548 h 2062232"/>
              <a:gd name="connsiteX28" fmla="*/ 2271551 w 2466751"/>
              <a:gd name="connsiteY28" fmla="*/ 2005198 h 2062232"/>
              <a:gd name="connsiteX29" fmla="*/ 2303301 w 2466751"/>
              <a:gd name="connsiteY29" fmla="*/ 2002023 h 2062232"/>
              <a:gd name="connsiteX30" fmla="*/ 2373151 w 2466751"/>
              <a:gd name="connsiteY30" fmla="*/ 1998848 h 2062232"/>
              <a:gd name="connsiteX31" fmla="*/ 2395376 w 2466751"/>
              <a:gd name="connsiteY31" fmla="*/ 1989323 h 2062232"/>
              <a:gd name="connsiteX32" fmla="*/ 2401726 w 2466751"/>
              <a:gd name="connsiteY32" fmla="*/ 1951223 h 2062232"/>
              <a:gd name="connsiteX33" fmla="*/ 2404901 w 2466751"/>
              <a:gd name="connsiteY33" fmla="*/ 1805173 h 2062232"/>
              <a:gd name="connsiteX34" fmla="*/ 2408076 w 2466751"/>
              <a:gd name="connsiteY34" fmla="*/ 1763898 h 2062232"/>
              <a:gd name="connsiteX35" fmla="*/ 2417601 w 2466751"/>
              <a:gd name="connsiteY35" fmla="*/ 1719448 h 2062232"/>
              <a:gd name="connsiteX36" fmla="*/ 2436651 w 2466751"/>
              <a:gd name="connsiteY36" fmla="*/ 1598798 h 2062232"/>
              <a:gd name="connsiteX37" fmla="*/ 2443001 w 2466751"/>
              <a:gd name="connsiteY37" fmla="*/ 1535298 h 2062232"/>
              <a:gd name="connsiteX38" fmla="*/ 2446176 w 2466751"/>
              <a:gd name="connsiteY38" fmla="*/ 1500373 h 2062232"/>
              <a:gd name="connsiteX39" fmla="*/ 2452526 w 2466751"/>
              <a:gd name="connsiteY39" fmla="*/ 1300348 h 2062232"/>
              <a:gd name="connsiteX40" fmla="*/ 2443001 w 2466751"/>
              <a:gd name="connsiteY40" fmla="*/ 331973 h 2062232"/>
              <a:gd name="connsiteX41" fmla="*/ 2423951 w 2466751"/>
              <a:gd name="connsiteY41" fmla="*/ 239898 h 2062232"/>
              <a:gd name="connsiteX42" fmla="*/ 2401726 w 2466751"/>
              <a:gd name="connsiteY42" fmla="*/ 160523 h 2062232"/>
              <a:gd name="connsiteX43" fmla="*/ 2389026 w 2466751"/>
              <a:gd name="connsiteY43" fmla="*/ 103373 h 2062232"/>
              <a:gd name="connsiteX44" fmla="*/ 2376326 w 2466751"/>
              <a:gd name="connsiteY44" fmla="*/ 62098 h 2062232"/>
              <a:gd name="connsiteX45" fmla="*/ 2369976 w 2466751"/>
              <a:gd name="connsiteY45" fmla="*/ 52573 h 2062232"/>
              <a:gd name="connsiteX46" fmla="*/ 2306476 w 2466751"/>
              <a:gd name="connsiteY46" fmla="*/ 43048 h 2062232"/>
              <a:gd name="connsiteX47" fmla="*/ 2214401 w 2466751"/>
              <a:gd name="connsiteY47" fmla="*/ 33523 h 2062232"/>
              <a:gd name="connsiteX48" fmla="*/ 1887376 w 2466751"/>
              <a:gd name="connsiteY48" fmla="*/ 23998 h 2062232"/>
              <a:gd name="connsiteX49" fmla="*/ 690401 w 2466751"/>
              <a:gd name="connsiteY49" fmla="*/ 20823 h 2062232"/>
              <a:gd name="connsiteX50" fmla="*/ 550701 w 2466751"/>
              <a:gd name="connsiteY50" fmla="*/ 39873 h 2062232"/>
              <a:gd name="connsiteX51" fmla="*/ 487201 w 2466751"/>
              <a:gd name="connsiteY51" fmla="*/ 49398 h 2062232"/>
              <a:gd name="connsiteX52" fmla="*/ 360201 w 2466751"/>
              <a:gd name="connsiteY52" fmla="*/ 84323 h 2062232"/>
              <a:gd name="connsiteX53" fmla="*/ 103026 w 2466751"/>
              <a:gd name="connsiteY53" fmla="*/ 71623 h 2062232"/>
              <a:gd name="connsiteX54" fmla="*/ 49051 w 2466751"/>
              <a:gd name="connsiteY54" fmla="*/ 65273 h 2062232"/>
              <a:gd name="connsiteX0" fmla="*/ 49051 w 2466751"/>
              <a:gd name="connsiteY0" fmla="*/ 65273 h 2062232"/>
              <a:gd name="connsiteX1" fmla="*/ 45876 w 2466751"/>
              <a:gd name="connsiteY1" fmla="*/ 427223 h 2062232"/>
              <a:gd name="connsiteX2" fmla="*/ 39526 w 2466751"/>
              <a:gd name="connsiteY2" fmla="*/ 468498 h 2062232"/>
              <a:gd name="connsiteX3" fmla="*/ 26826 w 2466751"/>
              <a:gd name="connsiteY3" fmla="*/ 516123 h 2062232"/>
              <a:gd name="connsiteX4" fmla="*/ 20476 w 2466751"/>
              <a:gd name="connsiteY4" fmla="*/ 582798 h 2062232"/>
              <a:gd name="connsiteX5" fmla="*/ 14126 w 2466751"/>
              <a:gd name="connsiteY5" fmla="*/ 630423 h 2062232"/>
              <a:gd name="connsiteX6" fmla="*/ 4601 w 2466751"/>
              <a:gd name="connsiteY6" fmla="*/ 712973 h 2062232"/>
              <a:gd name="connsiteX7" fmla="*/ 7776 w 2466751"/>
              <a:gd name="connsiteY7" fmla="*/ 941573 h 2062232"/>
              <a:gd name="connsiteX8" fmla="*/ 14126 w 2466751"/>
              <a:gd name="connsiteY8" fmla="*/ 982848 h 2062232"/>
              <a:gd name="connsiteX9" fmla="*/ 20476 w 2466751"/>
              <a:gd name="connsiteY9" fmla="*/ 1039998 h 2062232"/>
              <a:gd name="connsiteX10" fmla="*/ 42701 w 2466751"/>
              <a:gd name="connsiteY10" fmla="*/ 1141598 h 2062232"/>
              <a:gd name="connsiteX11" fmla="*/ 55401 w 2466751"/>
              <a:gd name="connsiteY11" fmla="*/ 1220973 h 2062232"/>
              <a:gd name="connsiteX12" fmla="*/ 58576 w 2466751"/>
              <a:gd name="connsiteY12" fmla="*/ 1617848 h 2062232"/>
              <a:gd name="connsiteX13" fmla="*/ 45876 w 2466751"/>
              <a:gd name="connsiteY13" fmla="*/ 1716273 h 2062232"/>
              <a:gd name="connsiteX14" fmla="*/ 39526 w 2466751"/>
              <a:gd name="connsiteY14" fmla="*/ 1767073 h 2062232"/>
              <a:gd name="connsiteX15" fmla="*/ 42701 w 2466751"/>
              <a:gd name="connsiteY15" fmla="*/ 1859148 h 2062232"/>
              <a:gd name="connsiteX16" fmla="*/ 49051 w 2466751"/>
              <a:gd name="connsiteY16" fmla="*/ 1887723 h 2062232"/>
              <a:gd name="connsiteX17" fmla="*/ 64926 w 2466751"/>
              <a:gd name="connsiteY17" fmla="*/ 1906773 h 2062232"/>
              <a:gd name="connsiteX18" fmla="*/ 71276 w 2466751"/>
              <a:gd name="connsiteY18" fmla="*/ 1951223 h 2062232"/>
              <a:gd name="connsiteX19" fmla="*/ 217326 w 2466751"/>
              <a:gd name="connsiteY19" fmla="*/ 2017898 h 2062232"/>
              <a:gd name="connsiteX20" fmla="*/ 264951 w 2466751"/>
              <a:gd name="connsiteY20" fmla="*/ 2024248 h 2062232"/>
              <a:gd name="connsiteX21" fmla="*/ 560226 w 2466751"/>
              <a:gd name="connsiteY21" fmla="*/ 2033773 h 2062232"/>
              <a:gd name="connsiteX22" fmla="*/ 1461926 w 2466751"/>
              <a:gd name="connsiteY22" fmla="*/ 2043298 h 2062232"/>
              <a:gd name="connsiteX23" fmla="*/ 1719101 w 2466751"/>
              <a:gd name="connsiteY23" fmla="*/ 2040123 h 2062232"/>
              <a:gd name="connsiteX24" fmla="*/ 1969926 w 2466751"/>
              <a:gd name="connsiteY24" fmla="*/ 2030598 h 2062232"/>
              <a:gd name="connsiteX25" fmla="*/ 2023901 w 2466751"/>
              <a:gd name="connsiteY25" fmla="*/ 2027423 h 2062232"/>
              <a:gd name="connsiteX26" fmla="*/ 2074701 w 2466751"/>
              <a:gd name="connsiteY26" fmla="*/ 2017898 h 2062232"/>
              <a:gd name="connsiteX27" fmla="*/ 2138201 w 2466751"/>
              <a:gd name="connsiteY27" fmla="*/ 2011548 h 2062232"/>
              <a:gd name="connsiteX28" fmla="*/ 2271551 w 2466751"/>
              <a:gd name="connsiteY28" fmla="*/ 2005198 h 2062232"/>
              <a:gd name="connsiteX29" fmla="*/ 2303301 w 2466751"/>
              <a:gd name="connsiteY29" fmla="*/ 2002023 h 2062232"/>
              <a:gd name="connsiteX30" fmla="*/ 2373151 w 2466751"/>
              <a:gd name="connsiteY30" fmla="*/ 1998848 h 2062232"/>
              <a:gd name="connsiteX31" fmla="*/ 2395376 w 2466751"/>
              <a:gd name="connsiteY31" fmla="*/ 1989323 h 2062232"/>
              <a:gd name="connsiteX32" fmla="*/ 2401726 w 2466751"/>
              <a:gd name="connsiteY32" fmla="*/ 1951223 h 2062232"/>
              <a:gd name="connsiteX33" fmla="*/ 2404901 w 2466751"/>
              <a:gd name="connsiteY33" fmla="*/ 1805173 h 2062232"/>
              <a:gd name="connsiteX34" fmla="*/ 2408076 w 2466751"/>
              <a:gd name="connsiteY34" fmla="*/ 1763898 h 2062232"/>
              <a:gd name="connsiteX35" fmla="*/ 2417601 w 2466751"/>
              <a:gd name="connsiteY35" fmla="*/ 1719448 h 2062232"/>
              <a:gd name="connsiteX36" fmla="*/ 2436651 w 2466751"/>
              <a:gd name="connsiteY36" fmla="*/ 1598798 h 2062232"/>
              <a:gd name="connsiteX37" fmla="*/ 2443001 w 2466751"/>
              <a:gd name="connsiteY37" fmla="*/ 1535298 h 2062232"/>
              <a:gd name="connsiteX38" fmla="*/ 2446176 w 2466751"/>
              <a:gd name="connsiteY38" fmla="*/ 1500373 h 2062232"/>
              <a:gd name="connsiteX39" fmla="*/ 2452526 w 2466751"/>
              <a:gd name="connsiteY39" fmla="*/ 1300348 h 2062232"/>
              <a:gd name="connsiteX40" fmla="*/ 2443001 w 2466751"/>
              <a:gd name="connsiteY40" fmla="*/ 331973 h 2062232"/>
              <a:gd name="connsiteX41" fmla="*/ 2423951 w 2466751"/>
              <a:gd name="connsiteY41" fmla="*/ 239898 h 2062232"/>
              <a:gd name="connsiteX42" fmla="*/ 2401726 w 2466751"/>
              <a:gd name="connsiteY42" fmla="*/ 160523 h 2062232"/>
              <a:gd name="connsiteX43" fmla="*/ 2389026 w 2466751"/>
              <a:gd name="connsiteY43" fmla="*/ 103373 h 2062232"/>
              <a:gd name="connsiteX44" fmla="*/ 2376326 w 2466751"/>
              <a:gd name="connsiteY44" fmla="*/ 62098 h 2062232"/>
              <a:gd name="connsiteX45" fmla="*/ 2369976 w 2466751"/>
              <a:gd name="connsiteY45" fmla="*/ 52573 h 2062232"/>
              <a:gd name="connsiteX46" fmla="*/ 2306476 w 2466751"/>
              <a:gd name="connsiteY46" fmla="*/ 43048 h 2062232"/>
              <a:gd name="connsiteX47" fmla="*/ 2214401 w 2466751"/>
              <a:gd name="connsiteY47" fmla="*/ 33523 h 2062232"/>
              <a:gd name="connsiteX48" fmla="*/ 1887376 w 2466751"/>
              <a:gd name="connsiteY48" fmla="*/ 23998 h 2062232"/>
              <a:gd name="connsiteX49" fmla="*/ 690401 w 2466751"/>
              <a:gd name="connsiteY49" fmla="*/ 20823 h 2062232"/>
              <a:gd name="connsiteX50" fmla="*/ 550701 w 2466751"/>
              <a:gd name="connsiteY50" fmla="*/ 39873 h 2062232"/>
              <a:gd name="connsiteX51" fmla="*/ 487201 w 2466751"/>
              <a:gd name="connsiteY51" fmla="*/ 49398 h 2062232"/>
              <a:gd name="connsiteX52" fmla="*/ 103026 w 2466751"/>
              <a:gd name="connsiteY52" fmla="*/ 71623 h 2062232"/>
              <a:gd name="connsiteX53" fmla="*/ 49051 w 2466751"/>
              <a:gd name="connsiteY53" fmla="*/ 65273 h 2062232"/>
              <a:gd name="connsiteX0" fmla="*/ 49051 w 2466751"/>
              <a:gd name="connsiteY0" fmla="*/ 65273 h 2062232"/>
              <a:gd name="connsiteX1" fmla="*/ 45876 w 2466751"/>
              <a:gd name="connsiteY1" fmla="*/ 427223 h 2062232"/>
              <a:gd name="connsiteX2" fmla="*/ 39526 w 2466751"/>
              <a:gd name="connsiteY2" fmla="*/ 468498 h 2062232"/>
              <a:gd name="connsiteX3" fmla="*/ 26826 w 2466751"/>
              <a:gd name="connsiteY3" fmla="*/ 516123 h 2062232"/>
              <a:gd name="connsiteX4" fmla="*/ 20476 w 2466751"/>
              <a:gd name="connsiteY4" fmla="*/ 582798 h 2062232"/>
              <a:gd name="connsiteX5" fmla="*/ 14126 w 2466751"/>
              <a:gd name="connsiteY5" fmla="*/ 630423 h 2062232"/>
              <a:gd name="connsiteX6" fmla="*/ 4601 w 2466751"/>
              <a:gd name="connsiteY6" fmla="*/ 712973 h 2062232"/>
              <a:gd name="connsiteX7" fmla="*/ 7776 w 2466751"/>
              <a:gd name="connsiteY7" fmla="*/ 941573 h 2062232"/>
              <a:gd name="connsiteX8" fmla="*/ 14126 w 2466751"/>
              <a:gd name="connsiteY8" fmla="*/ 982848 h 2062232"/>
              <a:gd name="connsiteX9" fmla="*/ 20476 w 2466751"/>
              <a:gd name="connsiteY9" fmla="*/ 1039998 h 2062232"/>
              <a:gd name="connsiteX10" fmla="*/ 42701 w 2466751"/>
              <a:gd name="connsiteY10" fmla="*/ 1141598 h 2062232"/>
              <a:gd name="connsiteX11" fmla="*/ 55401 w 2466751"/>
              <a:gd name="connsiteY11" fmla="*/ 1220973 h 2062232"/>
              <a:gd name="connsiteX12" fmla="*/ 58576 w 2466751"/>
              <a:gd name="connsiteY12" fmla="*/ 1617848 h 2062232"/>
              <a:gd name="connsiteX13" fmla="*/ 45876 w 2466751"/>
              <a:gd name="connsiteY13" fmla="*/ 1716273 h 2062232"/>
              <a:gd name="connsiteX14" fmla="*/ 39526 w 2466751"/>
              <a:gd name="connsiteY14" fmla="*/ 1767073 h 2062232"/>
              <a:gd name="connsiteX15" fmla="*/ 42701 w 2466751"/>
              <a:gd name="connsiteY15" fmla="*/ 1859148 h 2062232"/>
              <a:gd name="connsiteX16" fmla="*/ 49051 w 2466751"/>
              <a:gd name="connsiteY16" fmla="*/ 1887723 h 2062232"/>
              <a:gd name="connsiteX17" fmla="*/ 64926 w 2466751"/>
              <a:gd name="connsiteY17" fmla="*/ 1906773 h 2062232"/>
              <a:gd name="connsiteX18" fmla="*/ 71276 w 2466751"/>
              <a:gd name="connsiteY18" fmla="*/ 1951223 h 2062232"/>
              <a:gd name="connsiteX19" fmla="*/ 217326 w 2466751"/>
              <a:gd name="connsiteY19" fmla="*/ 2017898 h 2062232"/>
              <a:gd name="connsiteX20" fmla="*/ 264951 w 2466751"/>
              <a:gd name="connsiteY20" fmla="*/ 2024248 h 2062232"/>
              <a:gd name="connsiteX21" fmla="*/ 560226 w 2466751"/>
              <a:gd name="connsiteY21" fmla="*/ 2033773 h 2062232"/>
              <a:gd name="connsiteX22" fmla="*/ 1461926 w 2466751"/>
              <a:gd name="connsiteY22" fmla="*/ 2043298 h 2062232"/>
              <a:gd name="connsiteX23" fmla="*/ 1719101 w 2466751"/>
              <a:gd name="connsiteY23" fmla="*/ 2040123 h 2062232"/>
              <a:gd name="connsiteX24" fmla="*/ 1969926 w 2466751"/>
              <a:gd name="connsiteY24" fmla="*/ 2030598 h 2062232"/>
              <a:gd name="connsiteX25" fmla="*/ 2023901 w 2466751"/>
              <a:gd name="connsiteY25" fmla="*/ 2027423 h 2062232"/>
              <a:gd name="connsiteX26" fmla="*/ 2074701 w 2466751"/>
              <a:gd name="connsiteY26" fmla="*/ 2017898 h 2062232"/>
              <a:gd name="connsiteX27" fmla="*/ 2138201 w 2466751"/>
              <a:gd name="connsiteY27" fmla="*/ 2011548 h 2062232"/>
              <a:gd name="connsiteX28" fmla="*/ 2271551 w 2466751"/>
              <a:gd name="connsiteY28" fmla="*/ 2005198 h 2062232"/>
              <a:gd name="connsiteX29" fmla="*/ 2303301 w 2466751"/>
              <a:gd name="connsiteY29" fmla="*/ 2002023 h 2062232"/>
              <a:gd name="connsiteX30" fmla="*/ 2373151 w 2466751"/>
              <a:gd name="connsiteY30" fmla="*/ 1998848 h 2062232"/>
              <a:gd name="connsiteX31" fmla="*/ 2395376 w 2466751"/>
              <a:gd name="connsiteY31" fmla="*/ 1989323 h 2062232"/>
              <a:gd name="connsiteX32" fmla="*/ 2401726 w 2466751"/>
              <a:gd name="connsiteY32" fmla="*/ 1951223 h 2062232"/>
              <a:gd name="connsiteX33" fmla="*/ 2404901 w 2466751"/>
              <a:gd name="connsiteY33" fmla="*/ 1805173 h 2062232"/>
              <a:gd name="connsiteX34" fmla="*/ 2408076 w 2466751"/>
              <a:gd name="connsiteY34" fmla="*/ 1763898 h 2062232"/>
              <a:gd name="connsiteX35" fmla="*/ 2417601 w 2466751"/>
              <a:gd name="connsiteY35" fmla="*/ 1719448 h 2062232"/>
              <a:gd name="connsiteX36" fmla="*/ 2436651 w 2466751"/>
              <a:gd name="connsiteY36" fmla="*/ 1598798 h 2062232"/>
              <a:gd name="connsiteX37" fmla="*/ 2443001 w 2466751"/>
              <a:gd name="connsiteY37" fmla="*/ 1535298 h 2062232"/>
              <a:gd name="connsiteX38" fmla="*/ 2446176 w 2466751"/>
              <a:gd name="connsiteY38" fmla="*/ 1500373 h 2062232"/>
              <a:gd name="connsiteX39" fmla="*/ 2452526 w 2466751"/>
              <a:gd name="connsiteY39" fmla="*/ 1300348 h 2062232"/>
              <a:gd name="connsiteX40" fmla="*/ 2443001 w 2466751"/>
              <a:gd name="connsiteY40" fmla="*/ 331973 h 2062232"/>
              <a:gd name="connsiteX41" fmla="*/ 2423951 w 2466751"/>
              <a:gd name="connsiteY41" fmla="*/ 239898 h 2062232"/>
              <a:gd name="connsiteX42" fmla="*/ 2401726 w 2466751"/>
              <a:gd name="connsiteY42" fmla="*/ 160523 h 2062232"/>
              <a:gd name="connsiteX43" fmla="*/ 2389026 w 2466751"/>
              <a:gd name="connsiteY43" fmla="*/ 103373 h 2062232"/>
              <a:gd name="connsiteX44" fmla="*/ 2376326 w 2466751"/>
              <a:gd name="connsiteY44" fmla="*/ 62098 h 2062232"/>
              <a:gd name="connsiteX45" fmla="*/ 2369976 w 2466751"/>
              <a:gd name="connsiteY45" fmla="*/ 52573 h 2062232"/>
              <a:gd name="connsiteX46" fmla="*/ 2306476 w 2466751"/>
              <a:gd name="connsiteY46" fmla="*/ 43048 h 2062232"/>
              <a:gd name="connsiteX47" fmla="*/ 2214401 w 2466751"/>
              <a:gd name="connsiteY47" fmla="*/ 33523 h 2062232"/>
              <a:gd name="connsiteX48" fmla="*/ 1887376 w 2466751"/>
              <a:gd name="connsiteY48" fmla="*/ 23998 h 2062232"/>
              <a:gd name="connsiteX49" fmla="*/ 690401 w 2466751"/>
              <a:gd name="connsiteY49" fmla="*/ 20823 h 2062232"/>
              <a:gd name="connsiteX50" fmla="*/ 487201 w 2466751"/>
              <a:gd name="connsiteY50" fmla="*/ 49398 h 2062232"/>
              <a:gd name="connsiteX51" fmla="*/ 103026 w 2466751"/>
              <a:gd name="connsiteY51" fmla="*/ 71623 h 2062232"/>
              <a:gd name="connsiteX52" fmla="*/ 49051 w 2466751"/>
              <a:gd name="connsiteY52" fmla="*/ 65273 h 2062232"/>
              <a:gd name="connsiteX0" fmla="*/ 49051 w 2466751"/>
              <a:gd name="connsiteY0" fmla="*/ 41275 h 2038234"/>
              <a:gd name="connsiteX1" fmla="*/ 45876 w 2466751"/>
              <a:gd name="connsiteY1" fmla="*/ 403225 h 2038234"/>
              <a:gd name="connsiteX2" fmla="*/ 39526 w 2466751"/>
              <a:gd name="connsiteY2" fmla="*/ 444500 h 2038234"/>
              <a:gd name="connsiteX3" fmla="*/ 26826 w 2466751"/>
              <a:gd name="connsiteY3" fmla="*/ 492125 h 2038234"/>
              <a:gd name="connsiteX4" fmla="*/ 20476 w 2466751"/>
              <a:gd name="connsiteY4" fmla="*/ 558800 h 2038234"/>
              <a:gd name="connsiteX5" fmla="*/ 14126 w 2466751"/>
              <a:gd name="connsiteY5" fmla="*/ 606425 h 2038234"/>
              <a:gd name="connsiteX6" fmla="*/ 4601 w 2466751"/>
              <a:gd name="connsiteY6" fmla="*/ 688975 h 2038234"/>
              <a:gd name="connsiteX7" fmla="*/ 7776 w 2466751"/>
              <a:gd name="connsiteY7" fmla="*/ 917575 h 2038234"/>
              <a:gd name="connsiteX8" fmla="*/ 14126 w 2466751"/>
              <a:gd name="connsiteY8" fmla="*/ 958850 h 2038234"/>
              <a:gd name="connsiteX9" fmla="*/ 20476 w 2466751"/>
              <a:gd name="connsiteY9" fmla="*/ 1016000 h 2038234"/>
              <a:gd name="connsiteX10" fmla="*/ 42701 w 2466751"/>
              <a:gd name="connsiteY10" fmla="*/ 1117600 h 2038234"/>
              <a:gd name="connsiteX11" fmla="*/ 55401 w 2466751"/>
              <a:gd name="connsiteY11" fmla="*/ 1196975 h 2038234"/>
              <a:gd name="connsiteX12" fmla="*/ 58576 w 2466751"/>
              <a:gd name="connsiteY12" fmla="*/ 1593850 h 2038234"/>
              <a:gd name="connsiteX13" fmla="*/ 45876 w 2466751"/>
              <a:gd name="connsiteY13" fmla="*/ 1692275 h 2038234"/>
              <a:gd name="connsiteX14" fmla="*/ 39526 w 2466751"/>
              <a:gd name="connsiteY14" fmla="*/ 1743075 h 2038234"/>
              <a:gd name="connsiteX15" fmla="*/ 42701 w 2466751"/>
              <a:gd name="connsiteY15" fmla="*/ 1835150 h 2038234"/>
              <a:gd name="connsiteX16" fmla="*/ 49051 w 2466751"/>
              <a:gd name="connsiteY16" fmla="*/ 1863725 h 2038234"/>
              <a:gd name="connsiteX17" fmla="*/ 64926 w 2466751"/>
              <a:gd name="connsiteY17" fmla="*/ 1882775 h 2038234"/>
              <a:gd name="connsiteX18" fmla="*/ 71276 w 2466751"/>
              <a:gd name="connsiteY18" fmla="*/ 1927225 h 2038234"/>
              <a:gd name="connsiteX19" fmla="*/ 217326 w 2466751"/>
              <a:gd name="connsiteY19" fmla="*/ 1993900 h 2038234"/>
              <a:gd name="connsiteX20" fmla="*/ 264951 w 2466751"/>
              <a:gd name="connsiteY20" fmla="*/ 2000250 h 2038234"/>
              <a:gd name="connsiteX21" fmla="*/ 560226 w 2466751"/>
              <a:gd name="connsiteY21" fmla="*/ 2009775 h 2038234"/>
              <a:gd name="connsiteX22" fmla="*/ 1461926 w 2466751"/>
              <a:gd name="connsiteY22" fmla="*/ 2019300 h 2038234"/>
              <a:gd name="connsiteX23" fmla="*/ 1719101 w 2466751"/>
              <a:gd name="connsiteY23" fmla="*/ 2016125 h 2038234"/>
              <a:gd name="connsiteX24" fmla="*/ 1969926 w 2466751"/>
              <a:gd name="connsiteY24" fmla="*/ 2006600 h 2038234"/>
              <a:gd name="connsiteX25" fmla="*/ 2023901 w 2466751"/>
              <a:gd name="connsiteY25" fmla="*/ 2003425 h 2038234"/>
              <a:gd name="connsiteX26" fmla="*/ 2074701 w 2466751"/>
              <a:gd name="connsiteY26" fmla="*/ 1993900 h 2038234"/>
              <a:gd name="connsiteX27" fmla="*/ 2138201 w 2466751"/>
              <a:gd name="connsiteY27" fmla="*/ 1987550 h 2038234"/>
              <a:gd name="connsiteX28" fmla="*/ 2271551 w 2466751"/>
              <a:gd name="connsiteY28" fmla="*/ 1981200 h 2038234"/>
              <a:gd name="connsiteX29" fmla="*/ 2303301 w 2466751"/>
              <a:gd name="connsiteY29" fmla="*/ 1978025 h 2038234"/>
              <a:gd name="connsiteX30" fmla="*/ 2373151 w 2466751"/>
              <a:gd name="connsiteY30" fmla="*/ 1974850 h 2038234"/>
              <a:gd name="connsiteX31" fmla="*/ 2395376 w 2466751"/>
              <a:gd name="connsiteY31" fmla="*/ 1965325 h 2038234"/>
              <a:gd name="connsiteX32" fmla="*/ 2401726 w 2466751"/>
              <a:gd name="connsiteY32" fmla="*/ 1927225 h 2038234"/>
              <a:gd name="connsiteX33" fmla="*/ 2404901 w 2466751"/>
              <a:gd name="connsiteY33" fmla="*/ 1781175 h 2038234"/>
              <a:gd name="connsiteX34" fmla="*/ 2408076 w 2466751"/>
              <a:gd name="connsiteY34" fmla="*/ 1739900 h 2038234"/>
              <a:gd name="connsiteX35" fmla="*/ 2417601 w 2466751"/>
              <a:gd name="connsiteY35" fmla="*/ 1695450 h 2038234"/>
              <a:gd name="connsiteX36" fmla="*/ 2436651 w 2466751"/>
              <a:gd name="connsiteY36" fmla="*/ 1574800 h 2038234"/>
              <a:gd name="connsiteX37" fmla="*/ 2443001 w 2466751"/>
              <a:gd name="connsiteY37" fmla="*/ 1511300 h 2038234"/>
              <a:gd name="connsiteX38" fmla="*/ 2446176 w 2466751"/>
              <a:gd name="connsiteY38" fmla="*/ 1476375 h 2038234"/>
              <a:gd name="connsiteX39" fmla="*/ 2452526 w 2466751"/>
              <a:gd name="connsiteY39" fmla="*/ 1276350 h 2038234"/>
              <a:gd name="connsiteX40" fmla="*/ 2443001 w 2466751"/>
              <a:gd name="connsiteY40" fmla="*/ 307975 h 2038234"/>
              <a:gd name="connsiteX41" fmla="*/ 2423951 w 2466751"/>
              <a:gd name="connsiteY41" fmla="*/ 215900 h 2038234"/>
              <a:gd name="connsiteX42" fmla="*/ 2401726 w 2466751"/>
              <a:gd name="connsiteY42" fmla="*/ 136525 h 2038234"/>
              <a:gd name="connsiteX43" fmla="*/ 2389026 w 2466751"/>
              <a:gd name="connsiteY43" fmla="*/ 79375 h 2038234"/>
              <a:gd name="connsiteX44" fmla="*/ 2376326 w 2466751"/>
              <a:gd name="connsiteY44" fmla="*/ 38100 h 2038234"/>
              <a:gd name="connsiteX45" fmla="*/ 2369976 w 2466751"/>
              <a:gd name="connsiteY45" fmla="*/ 28575 h 2038234"/>
              <a:gd name="connsiteX46" fmla="*/ 2306476 w 2466751"/>
              <a:gd name="connsiteY46" fmla="*/ 19050 h 2038234"/>
              <a:gd name="connsiteX47" fmla="*/ 2214401 w 2466751"/>
              <a:gd name="connsiteY47" fmla="*/ 9525 h 2038234"/>
              <a:gd name="connsiteX48" fmla="*/ 1887376 w 2466751"/>
              <a:gd name="connsiteY48" fmla="*/ 0 h 2038234"/>
              <a:gd name="connsiteX49" fmla="*/ 487201 w 2466751"/>
              <a:gd name="connsiteY49" fmla="*/ 25400 h 2038234"/>
              <a:gd name="connsiteX50" fmla="*/ 103026 w 2466751"/>
              <a:gd name="connsiteY50" fmla="*/ 47625 h 2038234"/>
              <a:gd name="connsiteX51" fmla="*/ 49051 w 2466751"/>
              <a:gd name="connsiteY51" fmla="*/ 41275 h 2038234"/>
              <a:gd name="connsiteX0" fmla="*/ 49051 w 2466751"/>
              <a:gd name="connsiteY0" fmla="*/ 41327 h 2038286"/>
              <a:gd name="connsiteX1" fmla="*/ 45876 w 2466751"/>
              <a:gd name="connsiteY1" fmla="*/ 403277 h 2038286"/>
              <a:gd name="connsiteX2" fmla="*/ 39526 w 2466751"/>
              <a:gd name="connsiteY2" fmla="*/ 444552 h 2038286"/>
              <a:gd name="connsiteX3" fmla="*/ 26826 w 2466751"/>
              <a:gd name="connsiteY3" fmla="*/ 492177 h 2038286"/>
              <a:gd name="connsiteX4" fmla="*/ 20476 w 2466751"/>
              <a:gd name="connsiteY4" fmla="*/ 558852 h 2038286"/>
              <a:gd name="connsiteX5" fmla="*/ 14126 w 2466751"/>
              <a:gd name="connsiteY5" fmla="*/ 606477 h 2038286"/>
              <a:gd name="connsiteX6" fmla="*/ 4601 w 2466751"/>
              <a:gd name="connsiteY6" fmla="*/ 689027 h 2038286"/>
              <a:gd name="connsiteX7" fmla="*/ 7776 w 2466751"/>
              <a:gd name="connsiteY7" fmla="*/ 917627 h 2038286"/>
              <a:gd name="connsiteX8" fmla="*/ 14126 w 2466751"/>
              <a:gd name="connsiteY8" fmla="*/ 958902 h 2038286"/>
              <a:gd name="connsiteX9" fmla="*/ 20476 w 2466751"/>
              <a:gd name="connsiteY9" fmla="*/ 1016052 h 2038286"/>
              <a:gd name="connsiteX10" fmla="*/ 42701 w 2466751"/>
              <a:gd name="connsiteY10" fmla="*/ 1117652 h 2038286"/>
              <a:gd name="connsiteX11" fmla="*/ 55401 w 2466751"/>
              <a:gd name="connsiteY11" fmla="*/ 1197027 h 2038286"/>
              <a:gd name="connsiteX12" fmla="*/ 58576 w 2466751"/>
              <a:gd name="connsiteY12" fmla="*/ 1593902 h 2038286"/>
              <a:gd name="connsiteX13" fmla="*/ 45876 w 2466751"/>
              <a:gd name="connsiteY13" fmla="*/ 1692327 h 2038286"/>
              <a:gd name="connsiteX14" fmla="*/ 39526 w 2466751"/>
              <a:gd name="connsiteY14" fmla="*/ 1743127 h 2038286"/>
              <a:gd name="connsiteX15" fmla="*/ 42701 w 2466751"/>
              <a:gd name="connsiteY15" fmla="*/ 1835202 h 2038286"/>
              <a:gd name="connsiteX16" fmla="*/ 49051 w 2466751"/>
              <a:gd name="connsiteY16" fmla="*/ 1863777 h 2038286"/>
              <a:gd name="connsiteX17" fmla="*/ 64926 w 2466751"/>
              <a:gd name="connsiteY17" fmla="*/ 1882827 h 2038286"/>
              <a:gd name="connsiteX18" fmla="*/ 71276 w 2466751"/>
              <a:gd name="connsiteY18" fmla="*/ 1927277 h 2038286"/>
              <a:gd name="connsiteX19" fmla="*/ 217326 w 2466751"/>
              <a:gd name="connsiteY19" fmla="*/ 1993952 h 2038286"/>
              <a:gd name="connsiteX20" fmla="*/ 264951 w 2466751"/>
              <a:gd name="connsiteY20" fmla="*/ 2000302 h 2038286"/>
              <a:gd name="connsiteX21" fmla="*/ 560226 w 2466751"/>
              <a:gd name="connsiteY21" fmla="*/ 2009827 h 2038286"/>
              <a:gd name="connsiteX22" fmla="*/ 1461926 w 2466751"/>
              <a:gd name="connsiteY22" fmla="*/ 2019352 h 2038286"/>
              <a:gd name="connsiteX23" fmla="*/ 1719101 w 2466751"/>
              <a:gd name="connsiteY23" fmla="*/ 2016177 h 2038286"/>
              <a:gd name="connsiteX24" fmla="*/ 1969926 w 2466751"/>
              <a:gd name="connsiteY24" fmla="*/ 2006652 h 2038286"/>
              <a:gd name="connsiteX25" fmla="*/ 2023901 w 2466751"/>
              <a:gd name="connsiteY25" fmla="*/ 2003477 h 2038286"/>
              <a:gd name="connsiteX26" fmla="*/ 2074701 w 2466751"/>
              <a:gd name="connsiteY26" fmla="*/ 1993952 h 2038286"/>
              <a:gd name="connsiteX27" fmla="*/ 2138201 w 2466751"/>
              <a:gd name="connsiteY27" fmla="*/ 1987602 h 2038286"/>
              <a:gd name="connsiteX28" fmla="*/ 2271551 w 2466751"/>
              <a:gd name="connsiteY28" fmla="*/ 1981252 h 2038286"/>
              <a:gd name="connsiteX29" fmla="*/ 2303301 w 2466751"/>
              <a:gd name="connsiteY29" fmla="*/ 1978077 h 2038286"/>
              <a:gd name="connsiteX30" fmla="*/ 2373151 w 2466751"/>
              <a:gd name="connsiteY30" fmla="*/ 1974902 h 2038286"/>
              <a:gd name="connsiteX31" fmla="*/ 2395376 w 2466751"/>
              <a:gd name="connsiteY31" fmla="*/ 1965377 h 2038286"/>
              <a:gd name="connsiteX32" fmla="*/ 2401726 w 2466751"/>
              <a:gd name="connsiteY32" fmla="*/ 1927277 h 2038286"/>
              <a:gd name="connsiteX33" fmla="*/ 2404901 w 2466751"/>
              <a:gd name="connsiteY33" fmla="*/ 1781227 h 2038286"/>
              <a:gd name="connsiteX34" fmla="*/ 2408076 w 2466751"/>
              <a:gd name="connsiteY34" fmla="*/ 1739952 h 2038286"/>
              <a:gd name="connsiteX35" fmla="*/ 2417601 w 2466751"/>
              <a:gd name="connsiteY35" fmla="*/ 1695502 h 2038286"/>
              <a:gd name="connsiteX36" fmla="*/ 2436651 w 2466751"/>
              <a:gd name="connsiteY36" fmla="*/ 1574852 h 2038286"/>
              <a:gd name="connsiteX37" fmla="*/ 2443001 w 2466751"/>
              <a:gd name="connsiteY37" fmla="*/ 1511352 h 2038286"/>
              <a:gd name="connsiteX38" fmla="*/ 2446176 w 2466751"/>
              <a:gd name="connsiteY38" fmla="*/ 1476427 h 2038286"/>
              <a:gd name="connsiteX39" fmla="*/ 2452526 w 2466751"/>
              <a:gd name="connsiteY39" fmla="*/ 1276402 h 2038286"/>
              <a:gd name="connsiteX40" fmla="*/ 2443001 w 2466751"/>
              <a:gd name="connsiteY40" fmla="*/ 308027 h 2038286"/>
              <a:gd name="connsiteX41" fmla="*/ 2423951 w 2466751"/>
              <a:gd name="connsiteY41" fmla="*/ 215952 h 2038286"/>
              <a:gd name="connsiteX42" fmla="*/ 2401726 w 2466751"/>
              <a:gd name="connsiteY42" fmla="*/ 136577 h 2038286"/>
              <a:gd name="connsiteX43" fmla="*/ 2389026 w 2466751"/>
              <a:gd name="connsiteY43" fmla="*/ 79427 h 2038286"/>
              <a:gd name="connsiteX44" fmla="*/ 2376326 w 2466751"/>
              <a:gd name="connsiteY44" fmla="*/ 38152 h 2038286"/>
              <a:gd name="connsiteX45" fmla="*/ 2369976 w 2466751"/>
              <a:gd name="connsiteY45" fmla="*/ 28627 h 2038286"/>
              <a:gd name="connsiteX46" fmla="*/ 2306476 w 2466751"/>
              <a:gd name="connsiteY46" fmla="*/ 19102 h 2038286"/>
              <a:gd name="connsiteX47" fmla="*/ 1887376 w 2466751"/>
              <a:gd name="connsiteY47" fmla="*/ 52 h 2038286"/>
              <a:gd name="connsiteX48" fmla="*/ 487201 w 2466751"/>
              <a:gd name="connsiteY48" fmla="*/ 25452 h 2038286"/>
              <a:gd name="connsiteX49" fmla="*/ 103026 w 2466751"/>
              <a:gd name="connsiteY49" fmla="*/ 47677 h 2038286"/>
              <a:gd name="connsiteX50" fmla="*/ 49051 w 2466751"/>
              <a:gd name="connsiteY50" fmla="*/ 41327 h 2038286"/>
              <a:gd name="connsiteX0" fmla="*/ 49051 w 2466751"/>
              <a:gd name="connsiteY0" fmla="*/ 41327 h 2038286"/>
              <a:gd name="connsiteX1" fmla="*/ 45876 w 2466751"/>
              <a:gd name="connsiteY1" fmla="*/ 403277 h 2038286"/>
              <a:gd name="connsiteX2" fmla="*/ 39526 w 2466751"/>
              <a:gd name="connsiteY2" fmla="*/ 444552 h 2038286"/>
              <a:gd name="connsiteX3" fmla="*/ 26826 w 2466751"/>
              <a:gd name="connsiteY3" fmla="*/ 492177 h 2038286"/>
              <a:gd name="connsiteX4" fmla="*/ 20476 w 2466751"/>
              <a:gd name="connsiteY4" fmla="*/ 558852 h 2038286"/>
              <a:gd name="connsiteX5" fmla="*/ 14126 w 2466751"/>
              <a:gd name="connsiteY5" fmla="*/ 606477 h 2038286"/>
              <a:gd name="connsiteX6" fmla="*/ 4601 w 2466751"/>
              <a:gd name="connsiteY6" fmla="*/ 689027 h 2038286"/>
              <a:gd name="connsiteX7" fmla="*/ 7776 w 2466751"/>
              <a:gd name="connsiteY7" fmla="*/ 917627 h 2038286"/>
              <a:gd name="connsiteX8" fmla="*/ 14126 w 2466751"/>
              <a:gd name="connsiteY8" fmla="*/ 958902 h 2038286"/>
              <a:gd name="connsiteX9" fmla="*/ 20476 w 2466751"/>
              <a:gd name="connsiteY9" fmla="*/ 1016052 h 2038286"/>
              <a:gd name="connsiteX10" fmla="*/ 42701 w 2466751"/>
              <a:gd name="connsiteY10" fmla="*/ 1117652 h 2038286"/>
              <a:gd name="connsiteX11" fmla="*/ 55401 w 2466751"/>
              <a:gd name="connsiteY11" fmla="*/ 1197027 h 2038286"/>
              <a:gd name="connsiteX12" fmla="*/ 58576 w 2466751"/>
              <a:gd name="connsiteY12" fmla="*/ 1593902 h 2038286"/>
              <a:gd name="connsiteX13" fmla="*/ 45876 w 2466751"/>
              <a:gd name="connsiteY13" fmla="*/ 1692327 h 2038286"/>
              <a:gd name="connsiteX14" fmla="*/ 39526 w 2466751"/>
              <a:gd name="connsiteY14" fmla="*/ 1743127 h 2038286"/>
              <a:gd name="connsiteX15" fmla="*/ 42701 w 2466751"/>
              <a:gd name="connsiteY15" fmla="*/ 1835202 h 2038286"/>
              <a:gd name="connsiteX16" fmla="*/ 49051 w 2466751"/>
              <a:gd name="connsiteY16" fmla="*/ 1863777 h 2038286"/>
              <a:gd name="connsiteX17" fmla="*/ 64926 w 2466751"/>
              <a:gd name="connsiteY17" fmla="*/ 1882827 h 2038286"/>
              <a:gd name="connsiteX18" fmla="*/ 71276 w 2466751"/>
              <a:gd name="connsiteY18" fmla="*/ 1927277 h 2038286"/>
              <a:gd name="connsiteX19" fmla="*/ 217326 w 2466751"/>
              <a:gd name="connsiteY19" fmla="*/ 1993952 h 2038286"/>
              <a:gd name="connsiteX20" fmla="*/ 264951 w 2466751"/>
              <a:gd name="connsiteY20" fmla="*/ 2000302 h 2038286"/>
              <a:gd name="connsiteX21" fmla="*/ 560226 w 2466751"/>
              <a:gd name="connsiteY21" fmla="*/ 2009827 h 2038286"/>
              <a:gd name="connsiteX22" fmla="*/ 1461926 w 2466751"/>
              <a:gd name="connsiteY22" fmla="*/ 2019352 h 2038286"/>
              <a:gd name="connsiteX23" fmla="*/ 1719101 w 2466751"/>
              <a:gd name="connsiteY23" fmla="*/ 2016177 h 2038286"/>
              <a:gd name="connsiteX24" fmla="*/ 1969926 w 2466751"/>
              <a:gd name="connsiteY24" fmla="*/ 2006652 h 2038286"/>
              <a:gd name="connsiteX25" fmla="*/ 2023901 w 2466751"/>
              <a:gd name="connsiteY25" fmla="*/ 2003477 h 2038286"/>
              <a:gd name="connsiteX26" fmla="*/ 2074701 w 2466751"/>
              <a:gd name="connsiteY26" fmla="*/ 1993952 h 2038286"/>
              <a:gd name="connsiteX27" fmla="*/ 2138201 w 2466751"/>
              <a:gd name="connsiteY27" fmla="*/ 1987602 h 2038286"/>
              <a:gd name="connsiteX28" fmla="*/ 2271551 w 2466751"/>
              <a:gd name="connsiteY28" fmla="*/ 1981252 h 2038286"/>
              <a:gd name="connsiteX29" fmla="*/ 2303301 w 2466751"/>
              <a:gd name="connsiteY29" fmla="*/ 1978077 h 2038286"/>
              <a:gd name="connsiteX30" fmla="*/ 2373151 w 2466751"/>
              <a:gd name="connsiteY30" fmla="*/ 1974902 h 2038286"/>
              <a:gd name="connsiteX31" fmla="*/ 2395376 w 2466751"/>
              <a:gd name="connsiteY31" fmla="*/ 1965377 h 2038286"/>
              <a:gd name="connsiteX32" fmla="*/ 2401726 w 2466751"/>
              <a:gd name="connsiteY32" fmla="*/ 1927277 h 2038286"/>
              <a:gd name="connsiteX33" fmla="*/ 2404901 w 2466751"/>
              <a:gd name="connsiteY33" fmla="*/ 1781227 h 2038286"/>
              <a:gd name="connsiteX34" fmla="*/ 2408076 w 2466751"/>
              <a:gd name="connsiteY34" fmla="*/ 1739952 h 2038286"/>
              <a:gd name="connsiteX35" fmla="*/ 2417601 w 2466751"/>
              <a:gd name="connsiteY35" fmla="*/ 1695502 h 2038286"/>
              <a:gd name="connsiteX36" fmla="*/ 2436651 w 2466751"/>
              <a:gd name="connsiteY36" fmla="*/ 1574852 h 2038286"/>
              <a:gd name="connsiteX37" fmla="*/ 2443001 w 2466751"/>
              <a:gd name="connsiteY37" fmla="*/ 1511352 h 2038286"/>
              <a:gd name="connsiteX38" fmla="*/ 2446176 w 2466751"/>
              <a:gd name="connsiteY38" fmla="*/ 1476427 h 2038286"/>
              <a:gd name="connsiteX39" fmla="*/ 2452526 w 2466751"/>
              <a:gd name="connsiteY39" fmla="*/ 1276402 h 2038286"/>
              <a:gd name="connsiteX40" fmla="*/ 2443001 w 2466751"/>
              <a:gd name="connsiteY40" fmla="*/ 308027 h 2038286"/>
              <a:gd name="connsiteX41" fmla="*/ 2423951 w 2466751"/>
              <a:gd name="connsiteY41" fmla="*/ 215952 h 2038286"/>
              <a:gd name="connsiteX42" fmla="*/ 2401726 w 2466751"/>
              <a:gd name="connsiteY42" fmla="*/ 136577 h 2038286"/>
              <a:gd name="connsiteX43" fmla="*/ 2389026 w 2466751"/>
              <a:gd name="connsiteY43" fmla="*/ 79427 h 2038286"/>
              <a:gd name="connsiteX44" fmla="*/ 2376326 w 2466751"/>
              <a:gd name="connsiteY44" fmla="*/ 38152 h 2038286"/>
              <a:gd name="connsiteX45" fmla="*/ 2369976 w 2466751"/>
              <a:gd name="connsiteY45" fmla="*/ 28627 h 2038286"/>
              <a:gd name="connsiteX46" fmla="*/ 2306476 w 2466751"/>
              <a:gd name="connsiteY46" fmla="*/ 19102 h 2038286"/>
              <a:gd name="connsiteX47" fmla="*/ 1887376 w 2466751"/>
              <a:gd name="connsiteY47" fmla="*/ 52 h 2038286"/>
              <a:gd name="connsiteX48" fmla="*/ 487201 w 2466751"/>
              <a:gd name="connsiteY48" fmla="*/ 25452 h 2038286"/>
              <a:gd name="connsiteX49" fmla="*/ 49051 w 2466751"/>
              <a:gd name="connsiteY49" fmla="*/ 41327 h 2038286"/>
              <a:gd name="connsiteX0" fmla="*/ 49051 w 2466751"/>
              <a:gd name="connsiteY0" fmla="*/ 41327 h 2038286"/>
              <a:gd name="connsiteX1" fmla="*/ 45876 w 2466751"/>
              <a:gd name="connsiteY1" fmla="*/ 403277 h 2038286"/>
              <a:gd name="connsiteX2" fmla="*/ 39526 w 2466751"/>
              <a:gd name="connsiteY2" fmla="*/ 444552 h 2038286"/>
              <a:gd name="connsiteX3" fmla="*/ 26826 w 2466751"/>
              <a:gd name="connsiteY3" fmla="*/ 492177 h 2038286"/>
              <a:gd name="connsiteX4" fmla="*/ 20476 w 2466751"/>
              <a:gd name="connsiteY4" fmla="*/ 558852 h 2038286"/>
              <a:gd name="connsiteX5" fmla="*/ 14126 w 2466751"/>
              <a:gd name="connsiteY5" fmla="*/ 606477 h 2038286"/>
              <a:gd name="connsiteX6" fmla="*/ 4601 w 2466751"/>
              <a:gd name="connsiteY6" fmla="*/ 689027 h 2038286"/>
              <a:gd name="connsiteX7" fmla="*/ 7776 w 2466751"/>
              <a:gd name="connsiteY7" fmla="*/ 917627 h 2038286"/>
              <a:gd name="connsiteX8" fmla="*/ 14126 w 2466751"/>
              <a:gd name="connsiteY8" fmla="*/ 958902 h 2038286"/>
              <a:gd name="connsiteX9" fmla="*/ 20476 w 2466751"/>
              <a:gd name="connsiteY9" fmla="*/ 1016052 h 2038286"/>
              <a:gd name="connsiteX10" fmla="*/ 42701 w 2466751"/>
              <a:gd name="connsiteY10" fmla="*/ 1117652 h 2038286"/>
              <a:gd name="connsiteX11" fmla="*/ 55401 w 2466751"/>
              <a:gd name="connsiteY11" fmla="*/ 1197027 h 2038286"/>
              <a:gd name="connsiteX12" fmla="*/ 58576 w 2466751"/>
              <a:gd name="connsiteY12" fmla="*/ 1593902 h 2038286"/>
              <a:gd name="connsiteX13" fmla="*/ 45876 w 2466751"/>
              <a:gd name="connsiteY13" fmla="*/ 1692327 h 2038286"/>
              <a:gd name="connsiteX14" fmla="*/ 39526 w 2466751"/>
              <a:gd name="connsiteY14" fmla="*/ 1743127 h 2038286"/>
              <a:gd name="connsiteX15" fmla="*/ 42701 w 2466751"/>
              <a:gd name="connsiteY15" fmla="*/ 1835202 h 2038286"/>
              <a:gd name="connsiteX16" fmla="*/ 49051 w 2466751"/>
              <a:gd name="connsiteY16" fmla="*/ 1863777 h 2038286"/>
              <a:gd name="connsiteX17" fmla="*/ 64926 w 2466751"/>
              <a:gd name="connsiteY17" fmla="*/ 1882827 h 2038286"/>
              <a:gd name="connsiteX18" fmla="*/ 71276 w 2466751"/>
              <a:gd name="connsiteY18" fmla="*/ 1927277 h 2038286"/>
              <a:gd name="connsiteX19" fmla="*/ 217326 w 2466751"/>
              <a:gd name="connsiteY19" fmla="*/ 1993952 h 2038286"/>
              <a:gd name="connsiteX20" fmla="*/ 264951 w 2466751"/>
              <a:gd name="connsiteY20" fmla="*/ 2000302 h 2038286"/>
              <a:gd name="connsiteX21" fmla="*/ 560226 w 2466751"/>
              <a:gd name="connsiteY21" fmla="*/ 2009827 h 2038286"/>
              <a:gd name="connsiteX22" fmla="*/ 1461926 w 2466751"/>
              <a:gd name="connsiteY22" fmla="*/ 2019352 h 2038286"/>
              <a:gd name="connsiteX23" fmla="*/ 1719101 w 2466751"/>
              <a:gd name="connsiteY23" fmla="*/ 2016177 h 2038286"/>
              <a:gd name="connsiteX24" fmla="*/ 1969926 w 2466751"/>
              <a:gd name="connsiteY24" fmla="*/ 2006652 h 2038286"/>
              <a:gd name="connsiteX25" fmla="*/ 2023901 w 2466751"/>
              <a:gd name="connsiteY25" fmla="*/ 2003477 h 2038286"/>
              <a:gd name="connsiteX26" fmla="*/ 2074701 w 2466751"/>
              <a:gd name="connsiteY26" fmla="*/ 1993952 h 2038286"/>
              <a:gd name="connsiteX27" fmla="*/ 2138201 w 2466751"/>
              <a:gd name="connsiteY27" fmla="*/ 1987602 h 2038286"/>
              <a:gd name="connsiteX28" fmla="*/ 2271551 w 2466751"/>
              <a:gd name="connsiteY28" fmla="*/ 1981252 h 2038286"/>
              <a:gd name="connsiteX29" fmla="*/ 2303301 w 2466751"/>
              <a:gd name="connsiteY29" fmla="*/ 1978077 h 2038286"/>
              <a:gd name="connsiteX30" fmla="*/ 2373151 w 2466751"/>
              <a:gd name="connsiteY30" fmla="*/ 1974902 h 2038286"/>
              <a:gd name="connsiteX31" fmla="*/ 2395376 w 2466751"/>
              <a:gd name="connsiteY31" fmla="*/ 1965377 h 2038286"/>
              <a:gd name="connsiteX32" fmla="*/ 2401726 w 2466751"/>
              <a:gd name="connsiteY32" fmla="*/ 1927277 h 2038286"/>
              <a:gd name="connsiteX33" fmla="*/ 2404901 w 2466751"/>
              <a:gd name="connsiteY33" fmla="*/ 1781227 h 2038286"/>
              <a:gd name="connsiteX34" fmla="*/ 2408076 w 2466751"/>
              <a:gd name="connsiteY34" fmla="*/ 1739952 h 2038286"/>
              <a:gd name="connsiteX35" fmla="*/ 2417601 w 2466751"/>
              <a:gd name="connsiteY35" fmla="*/ 1695502 h 2038286"/>
              <a:gd name="connsiteX36" fmla="*/ 2436651 w 2466751"/>
              <a:gd name="connsiteY36" fmla="*/ 1574852 h 2038286"/>
              <a:gd name="connsiteX37" fmla="*/ 2443001 w 2466751"/>
              <a:gd name="connsiteY37" fmla="*/ 1511352 h 2038286"/>
              <a:gd name="connsiteX38" fmla="*/ 2446176 w 2466751"/>
              <a:gd name="connsiteY38" fmla="*/ 1476427 h 2038286"/>
              <a:gd name="connsiteX39" fmla="*/ 2452526 w 2466751"/>
              <a:gd name="connsiteY39" fmla="*/ 1276402 h 2038286"/>
              <a:gd name="connsiteX40" fmla="*/ 2443001 w 2466751"/>
              <a:gd name="connsiteY40" fmla="*/ 308027 h 2038286"/>
              <a:gd name="connsiteX41" fmla="*/ 2423951 w 2466751"/>
              <a:gd name="connsiteY41" fmla="*/ 215952 h 2038286"/>
              <a:gd name="connsiteX42" fmla="*/ 2401726 w 2466751"/>
              <a:gd name="connsiteY42" fmla="*/ 136577 h 2038286"/>
              <a:gd name="connsiteX43" fmla="*/ 2389026 w 2466751"/>
              <a:gd name="connsiteY43" fmla="*/ 79427 h 2038286"/>
              <a:gd name="connsiteX44" fmla="*/ 2376326 w 2466751"/>
              <a:gd name="connsiteY44" fmla="*/ 38152 h 2038286"/>
              <a:gd name="connsiteX45" fmla="*/ 2369976 w 2466751"/>
              <a:gd name="connsiteY45" fmla="*/ 28627 h 2038286"/>
              <a:gd name="connsiteX46" fmla="*/ 2306476 w 2466751"/>
              <a:gd name="connsiteY46" fmla="*/ 19102 h 2038286"/>
              <a:gd name="connsiteX47" fmla="*/ 1887376 w 2466751"/>
              <a:gd name="connsiteY47" fmla="*/ 52 h 2038286"/>
              <a:gd name="connsiteX48" fmla="*/ 487201 w 2466751"/>
              <a:gd name="connsiteY48" fmla="*/ 25452 h 2038286"/>
              <a:gd name="connsiteX49" fmla="*/ 49051 w 2466751"/>
              <a:gd name="connsiteY49" fmla="*/ 41327 h 2038286"/>
              <a:gd name="connsiteX0" fmla="*/ 49051 w 2466751"/>
              <a:gd name="connsiteY0" fmla="*/ 41327 h 2038286"/>
              <a:gd name="connsiteX1" fmla="*/ 45876 w 2466751"/>
              <a:gd name="connsiteY1" fmla="*/ 403277 h 2038286"/>
              <a:gd name="connsiteX2" fmla="*/ 39526 w 2466751"/>
              <a:gd name="connsiteY2" fmla="*/ 444552 h 2038286"/>
              <a:gd name="connsiteX3" fmla="*/ 26826 w 2466751"/>
              <a:gd name="connsiteY3" fmla="*/ 492177 h 2038286"/>
              <a:gd name="connsiteX4" fmla="*/ 20476 w 2466751"/>
              <a:gd name="connsiteY4" fmla="*/ 558852 h 2038286"/>
              <a:gd name="connsiteX5" fmla="*/ 14126 w 2466751"/>
              <a:gd name="connsiteY5" fmla="*/ 606477 h 2038286"/>
              <a:gd name="connsiteX6" fmla="*/ 4601 w 2466751"/>
              <a:gd name="connsiteY6" fmla="*/ 689027 h 2038286"/>
              <a:gd name="connsiteX7" fmla="*/ 7776 w 2466751"/>
              <a:gd name="connsiteY7" fmla="*/ 917627 h 2038286"/>
              <a:gd name="connsiteX8" fmla="*/ 14126 w 2466751"/>
              <a:gd name="connsiteY8" fmla="*/ 958902 h 2038286"/>
              <a:gd name="connsiteX9" fmla="*/ 20476 w 2466751"/>
              <a:gd name="connsiteY9" fmla="*/ 1016052 h 2038286"/>
              <a:gd name="connsiteX10" fmla="*/ 42701 w 2466751"/>
              <a:gd name="connsiteY10" fmla="*/ 1117652 h 2038286"/>
              <a:gd name="connsiteX11" fmla="*/ 55401 w 2466751"/>
              <a:gd name="connsiteY11" fmla="*/ 1197027 h 2038286"/>
              <a:gd name="connsiteX12" fmla="*/ 58576 w 2466751"/>
              <a:gd name="connsiteY12" fmla="*/ 1593902 h 2038286"/>
              <a:gd name="connsiteX13" fmla="*/ 45876 w 2466751"/>
              <a:gd name="connsiteY13" fmla="*/ 1692327 h 2038286"/>
              <a:gd name="connsiteX14" fmla="*/ 39526 w 2466751"/>
              <a:gd name="connsiteY14" fmla="*/ 1743127 h 2038286"/>
              <a:gd name="connsiteX15" fmla="*/ 42701 w 2466751"/>
              <a:gd name="connsiteY15" fmla="*/ 1835202 h 2038286"/>
              <a:gd name="connsiteX16" fmla="*/ 49051 w 2466751"/>
              <a:gd name="connsiteY16" fmla="*/ 1863777 h 2038286"/>
              <a:gd name="connsiteX17" fmla="*/ 64926 w 2466751"/>
              <a:gd name="connsiteY17" fmla="*/ 1882827 h 2038286"/>
              <a:gd name="connsiteX18" fmla="*/ 71276 w 2466751"/>
              <a:gd name="connsiteY18" fmla="*/ 1927277 h 2038286"/>
              <a:gd name="connsiteX19" fmla="*/ 217326 w 2466751"/>
              <a:gd name="connsiteY19" fmla="*/ 1993952 h 2038286"/>
              <a:gd name="connsiteX20" fmla="*/ 264951 w 2466751"/>
              <a:gd name="connsiteY20" fmla="*/ 2000302 h 2038286"/>
              <a:gd name="connsiteX21" fmla="*/ 560226 w 2466751"/>
              <a:gd name="connsiteY21" fmla="*/ 2009827 h 2038286"/>
              <a:gd name="connsiteX22" fmla="*/ 1461926 w 2466751"/>
              <a:gd name="connsiteY22" fmla="*/ 2019352 h 2038286"/>
              <a:gd name="connsiteX23" fmla="*/ 1719101 w 2466751"/>
              <a:gd name="connsiteY23" fmla="*/ 2016177 h 2038286"/>
              <a:gd name="connsiteX24" fmla="*/ 1969926 w 2466751"/>
              <a:gd name="connsiteY24" fmla="*/ 2006652 h 2038286"/>
              <a:gd name="connsiteX25" fmla="*/ 2023901 w 2466751"/>
              <a:gd name="connsiteY25" fmla="*/ 2003477 h 2038286"/>
              <a:gd name="connsiteX26" fmla="*/ 2074701 w 2466751"/>
              <a:gd name="connsiteY26" fmla="*/ 1993952 h 2038286"/>
              <a:gd name="connsiteX27" fmla="*/ 2138201 w 2466751"/>
              <a:gd name="connsiteY27" fmla="*/ 1987602 h 2038286"/>
              <a:gd name="connsiteX28" fmla="*/ 2271551 w 2466751"/>
              <a:gd name="connsiteY28" fmla="*/ 1981252 h 2038286"/>
              <a:gd name="connsiteX29" fmla="*/ 2303301 w 2466751"/>
              <a:gd name="connsiteY29" fmla="*/ 1978077 h 2038286"/>
              <a:gd name="connsiteX30" fmla="*/ 2373151 w 2466751"/>
              <a:gd name="connsiteY30" fmla="*/ 1974902 h 2038286"/>
              <a:gd name="connsiteX31" fmla="*/ 2395376 w 2466751"/>
              <a:gd name="connsiteY31" fmla="*/ 1965377 h 2038286"/>
              <a:gd name="connsiteX32" fmla="*/ 2401726 w 2466751"/>
              <a:gd name="connsiteY32" fmla="*/ 1927277 h 2038286"/>
              <a:gd name="connsiteX33" fmla="*/ 2404901 w 2466751"/>
              <a:gd name="connsiteY33" fmla="*/ 1781227 h 2038286"/>
              <a:gd name="connsiteX34" fmla="*/ 2408076 w 2466751"/>
              <a:gd name="connsiteY34" fmla="*/ 1739952 h 2038286"/>
              <a:gd name="connsiteX35" fmla="*/ 2417601 w 2466751"/>
              <a:gd name="connsiteY35" fmla="*/ 1695502 h 2038286"/>
              <a:gd name="connsiteX36" fmla="*/ 2436651 w 2466751"/>
              <a:gd name="connsiteY36" fmla="*/ 1574852 h 2038286"/>
              <a:gd name="connsiteX37" fmla="*/ 2443001 w 2466751"/>
              <a:gd name="connsiteY37" fmla="*/ 1511352 h 2038286"/>
              <a:gd name="connsiteX38" fmla="*/ 2446176 w 2466751"/>
              <a:gd name="connsiteY38" fmla="*/ 1476427 h 2038286"/>
              <a:gd name="connsiteX39" fmla="*/ 2452526 w 2466751"/>
              <a:gd name="connsiteY39" fmla="*/ 1276402 h 2038286"/>
              <a:gd name="connsiteX40" fmla="*/ 2443001 w 2466751"/>
              <a:gd name="connsiteY40" fmla="*/ 308027 h 2038286"/>
              <a:gd name="connsiteX41" fmla="*/ 2423951 w 2466751"/>
              <a:gd name="connsiteY41" fmla="*/ 215952 h 2038286"/>
              <a:gd name="connsiteX42" fmla="*/ 2401726 w 2466751"/>
              <a:gd name="connsiteY42" fmla="*/ 136577 h 2038286"/>
              <a:gd name="connsiteX43" fmla="*/ 2389026 w 2466751"/>
              <a:gd name="connsiteY43" fmla="*/ 79427 h 2038286"/>
              <a:gd name="connsiteX44" fmla="*/ 2376326 w 2466751"/>
              <a:gd name="connsiteY44" fmla="*/ 38152 h 2038286"/>
              <a:gd name="connsiteX45" fmla="*/ 2369976 w 2466751"/>
              <a:gd name="connsiteY45" fmla="*/ 28627 h 2038286"/>
              <a:gd name="connsiteX46" fmla="*/ 2306476 w 2466751"/>
              <a:gd name="connsiteY46" fmla="*/ 19102 h 2038286"/>
              <a:gd name="connsiteX47" fmla="*/ 1887376 w 2466751"/>
              <a:gd name="connsiteY47" fmla="*/ 52 h 2038286"/>
              <a:gd name="connsiteX48" fmla="*/ 487201 w 2466751"/>
              <a:gd name="connsiteY48" fmla="*/ 25452 h 2038286"/>
              <a:gd name="connsiteX49" fmla="*/ 49051 w 2466751"/>
              <a:gd name="connsiteY49" fmla="*/ 41327 h 2038286"/>
              <a:gd name="connsiteX0" fmla="*/ 64926 w 2466751"/>
              <a:gd name="connsiteY0" fmla="*/ 57202 h 2038286"/>
              <a:gd name="connsiteX1" fmla="*/ 45876 w 2466751"/>
              <a:gd name="connsiteY1" fmla="*/ 403277 h 2038286"/>
              <a:gd name="connsiteX2" fmla="*/ 39526 w 2466751"/>
              <a:gd name="connsiteY2" fmla="*/ 444552 h 2038286"/>
              <a:gd name="connsiteX3" fmla="*/ 26826 w 2466751"/>
              <a:gd name="connsiteY3" fmla="*/ 492177 h 2038286"/>
              <a:gd name="connsiteX4" fmla="*/ 20476 w 2466751"/>
              <a:gd name="connsiteY4" fmla="*/ 558852 h 2038286"/>
              <a:gd name="connsiteX5" fmla="*/ 14126 w 2466751"/>
              <a:gd name="connsiteY5" fmla="*/ 606477 h 2038286"/>
              <a:gd name="connsiteX6" fmla="*/ 4601 w 2466751"/>
              <a:gd name="connsiteY6" fmla="*/ 689027 h 2038286"/>
              <a:gd name="connsiteX7" fmla="*/ 7776 w 2466751"/>
              <a:gd name="connsiteY7" fmla="*/ 917627 h 2038286"/>
              <a:gd name="connsiteX8" fmla="*/ 14126 w 2466751"/>
              <a:gd name="connsiteY8" fmla="*/ 958902 h 2038286"/>
              <a:gd name="connsiteX9" fmla="*/ 20476 w 2466751"/>
              <a:gd name="connsiteY9" fmla="*/ 1016052 h 2038286"/>
              <a:gd name="connsiteX10" fmla="*/ 42701 w 2466751"/>
              <a:gd name="connsiteY10" fmla="*/ 1117652 h 2038286"/>
              <a:gd name="connsiteX11" fmla="*/ 55401 w 2466751"/>
              <a:gd name="connsiteY11" fmla="*/ 1197027 h 2038286"/>
              <a:gd name="connsiteX12" fmla="*/ 58576 w 2466751"/>
              <a:gd name="connsiteY12" fmla="*/ 1593902 h 2038286"/>
              <a:gd name="connsiteX13" fmla="*/ 45876 w 2466751"/>
              <a:gd name="connsiteY13" fmla="*/ 1692327 h 2038286"/>
              <a:gd name="connsiteX14" fmla="*/ 39526 w 2466751"/>
              <a:gd name="connsiteY14" fmla="*/ 1743127 h 2038286"/>
              <a:gd name="connsiteX15" fmla="*/ 42701 w 2466751"/>
              <a:gd name="connsiteY15" fmla="*/ 1835202 h 2038286"/>
              <a:gd name="connsiteX16" fmla="*/ 49051 w 2466751"/>
              <a:gd name="connsiteY16" fmla="*/ 1863777 h 2038286"/>
              <a:gd name="connsiteX17" fmla="*/ 64926 w 2466751"/>
              <a:gd name="connsiteY17" fmla="*/ 1882827 h 2038286"/>
              <a:gd name="connsiteX18" fmla="*/ 71276 w 2466751"/>
              <a:gd name="connsiteY18" fmla="*/ 1927277 h 2038286"/>
              <a:gd name="connsiteX19" fmla="*/ 217326 w 2466751"/>
              <a:gd name="connsiteY19" fmla="*/ 1993952 h 2038286"/>
              <a:gd name="connsiteX20" fmla="*/ 264951 w 2466751"/>
              <a:gd name="connsiteY20" fmla="*/ 2000302 h 2038286"/>
              <a:gd name="connsiteX21" fmla="*/ 560226 w 2466751"/>
              <a:gd name="connsiteY21" fmla="*/ 2009827 h 2038286"/>
              <a:gd name="connsiteX22" fmla="*/ 1461926 w 2466751"/>
              <a:gd name="connsiteY22" fmla="*/ 2019352 h 2038286"/>
              <a:gd name="connsiteX23" fmla="*/ 1719101 w 2466751"/>
              <a:gd name="connsiteY23" fmla="*/ 2016177 h 2038286"/>
              <a:gd name="connsiteX24" fmla="*/ 1969926 w 2466751"/>
              <a:gd name="connsiteY24" fmla="*/ 2006652 h 2038286"/>
              <a:gd name="connsiteX25" fmla="*/ 2023901 w 2466751"/>
              <a:gd name="connsiteY25" fmla="*/ 2003477 h 2038286"/>
              <a:gd name="connsiteX26" fmla="*/ 2074701 w 2466751"/>
              <a:gd name="connsiteY26" fmla="*/ 1993952 h 2038286"/>
              <a:gd name="connsiteX27" fmla="*/ 2138201 w 2466751"/>
              <a:gd name="connsiteY27" fmla="*/ 1987602 h 2038286"/>
              <a:gd name="connsiteX28" fmla="*/ 2271551 w 2466751"/>
              <a:gd name="connsiteY28" fmla="*/ 1981252 h 2038286"/>
              <a:gd name="connsiteX29" fmla="*/ 2303301 w 2466751"/>
              <a:gd name="connsiteY29" fmla="*/ 1978077 h 2038286"/>
              <a:gd name="connsiteX30" fmla="*/ 2373151 w 2466751"/>
              <a:gd name="connsiteY30" fmla="*/ 1974902 h 2038286"/>
              <a:gd name="connsiteX31" fmla="*/ 2395376 w 2466751"/>
              <a:gd name="connsiteY31" fmla="*/ 1965377 h 2038286"/>
              <a:gd name="connsiteX32" fmla="*/ 2401726 w 2466751"/>
              <a:gd name="connsiteY32" fmla="*/ 1927277 h 2038286"/>
              <a:gd name="connsiteX33" fmla="*/ 2404901 w 2466751"/>
              <a:gd name="connsiteY33" fmla="*/ 1781227 h 2038286"/>
              <a:gd name="connsiteX34" fmla="*/ 2408076 w 2466751"/>
              <a:gd name="connsiteY34" fmla="*/ 1739952 h 2038286"/>
              <a:gd name="connsiteX35" fmla="*/ 2417601 w 2466751"/>
              <a:gd name="connsiteY35" fmla="*/ 1695502 h 2038286"/>
              <a:gd name="connsiteX36" fmla="*/ 2436651 w 2466751"/>
              <a:gd name="connsiteY36" fmla="*/ 1574852 h 2038286"/>
              <a:gd name="connsiteX37" fmla="*/ 2443001 w 2466751"/>
              <a:gd name="connsiteY37" fmla="*/ 1511352 h 2038286"/>
              <a:gd name="connsiteX38" fmla="*/ 2446176 w 2466751"/>
              <a:gd name="connsiteY38" fmla="*/ 1476427 h 2038286"/>
              <a:gd name="connsiteX39" fmla="*/ 2452526 w 2466751"/>
              <a:gd name="connsiteY39" fmla="*/ 1276402 h 2038286"/>
              <a:gd name="connsiteX40" fmla="*/ 2443001 w 2466751"/>
              <a:gd name="connsiteY40" fmla="*/ 308027 h 2038286"/>
              <a:gd name="connsiteX41" fmla="*/ 2423951 w 2466751"/>
              <a:gd name="connsiteY41" fmla="*/ 215952 h 2038286"/>
              <a:gd name="connsiteX42" fmla="*/ 2401726 w 2466751"/>
              <a:gd name="connsiteY42" fmla="*/ 136577 h 2038286"/>
              <a:gd name="connsiteX43" fmla="*/ 2389026 w 2466751"/>
              <a:gd name="connsiteY43" fmla="*/ 79427 h 2038286"/>
              <a:gd name="connsiteX44" fmla="*/ 2376326 w 2466751"/>
              <a:gd name="connsiteY44" fmla="*/ 38152 h 2038286"/>
              <a:gd name="connsiteX45" fmla="*/ 2369976 w 2466751"/>
              <a:gd name="connsiteY45" fmla="*/ 28627 h 2038286"/>
              <a:gd name="connsiteX46" fmla="*/ 2306476 w 2466751"/>
              <a:gd name="connsiteY46" fmla="*/ 19102 h 2038286"/>
              <a:gd name="connsiteX47" fmla="*/ 1887376 w 2466751"/>
              <a:gd name="connsiteY47" fmla="*/ 52 h 2038286"/>
              <a:gd name="connsiteX48" fmla="*/ 487201 w 2466751"/>
              <a:gd name="connsiteY48" fmla="*/ 25452 h 2038286"/>
              <a:gd name="connsiteX49" fmla="*/ 64926 w 2466751"/>
              <a:gd name="connsiteY49" fmla="*/ 57202 h 2038286"/>
              <a:gd name="connsiteX0" fmla="*/ 64926 w 2466751"/>
              <a:gd name="connsiteY0" fmla="*/ 57202 h 2038286"/>
              <a:gd name="connsiteX1" fmla="*/ 45876 w 2466751"/>
              <a:gd name="connsiteY1" fmla="*/ 403277 h 2038286"/>
              <a:gd name="connsiteX2" fmla="*/ 26826 w 2466751"/>
              <a:gd name="connsiteY2" fmla="*/ 492177 h 2038286"/>
              <a:gd name="connsiteX3" fmla="*/ 20476 w 2466751"/>
              <a:gd name="connsiteY3" fmla="*/ 558852 h 2038286"/>
              <a:gd name="connsiteX4" fmla="*/ 14126 w 2466751"/>
              <a:gd name="connsiteY4" fmla="*/ 606477 h 2038286"/>
              <a:gd name="connsiteX5" fmla="*/ 4601 w 2466751"/>
              <a:gd name="connsiteY5" fmla="*/ 689027 h 2038286"/>
              <a:gd name="connsiteX6" fmla="*/ 7776 w 2466751"/>
              <a:gd name="connsiteY6" fmla="*/ 917627 h 2038286"/>
              <a:gd name="connsiteX7" fmla="*/ 14126 w 2466751"/>
              <a:gd name="connsiteY7" fmla="*/ 958902 h 2038286"/>
              <a:gd name="connsiteX8" fmla="*/ 20476 w 2466751"/>
              <a:gd name="connsiteY8" fmla="*/ 1016052 h 2038286"/>
              <a:gd name="connsiteX9" fmla="*/ 42701 w 2466751"/>
              <a:gd name="connsiteY9" fmla="*/ 1117652 h 2038286"/>
              <a:gd name="connsiteX10" fmla="*/ 55401 w 2466751"/>
              <a:gd name="connsiteY10" fmla="*/ 1197027 h 2038286"/>
              <a:gd name="connsiteX11" fmla="*/ 58576 w 2466751"/>
              <a:gd name="connsiteY11" fmla="*/ 1593902 h 2038286"/>
              <a:gd name="connsiteX12" fmla="*/ 45876 w 2466751"/>
              <a:gd name="connsiteY12" fmla="*/ 1692327 h 2038286"/>
              <a:gd name="connsiteX13" fmla="*/ 39526 w 2466751"/>
              <a:gd name="connsiteY13" fmla="*/ 1743127 h 2038286"/>
              <a:gd name="connsiteX14" fmla="*/ 42701 w 2466751"/>
              <a:gd name="connsiteY14" fmla="*/ 1835202 h 2038286"/>
              <a:gd name="connsiteX15" fmla="*/ 49051 w 2466751"/>
              <a:gd name="connsiteY15" fmla="*/ 1863777 h 2038286"/>
              <a:gd name="connsiteX16" fmla="*/ 64926 w 2466751"/>
              <a:gd name="connsiteY16" fmla="*/ 1882827 h 2038286"/>
              <a:gd name="connsiteX17" fmla="*/ 71276 w 2466751"/>
              <a:gd name="connsiteY17" fmla="*/ 1927277 h 2038286"/>
              <a:gd name="connsiteX18" fmla="*/ 217326 w 2466751"/>
              <a:gd name="connsiteY18" fmla="*/ 1993952 h 2038286"/>
              <a:gd name="connsiteX19" fmla="*/ 264951 w 2466751"/>
              <a:gd name="connsiteY19" fmla="*/ 2000302 h 2038286"/>
              <a:gd name="connsiteX20" fmla="*/ 560226 w 2466751"/>
              <a:gd name="connsiteY20" fmla="*/ 2009827 h 2038286"/>
              <a:gd name="connsiteX21" fmla="*/ 1461926 w 2466751"/>
              <a:gd name="connsiteY21" fmla="*/ 2019352 h 2038286"/>
              <a:gd name="connsiteX22" fmla="*/ 1719101 w 2466751"/>
              <a:gd name="connsiteY22" fmla="*/ 2016177 h 2038286"/>
              <a:gd name="connsiteX23" fmla="*/ 1969926 w 2466751"/>
              <a:gd name="connsiteY23" fmla="*/ 2006652 h 2038286"/>
              <a:gd name="connsiteX24" fmla="*/ 2023901 w 2466751"/>
              <a:gd name="connsiteY24" fmla="*/ 2003477 h 2038286"/>
              <a:gd name="connsiteX25" fmla="*/ 2074701 w 2466751"/>
              <a:gd name="connsiteY25" fmla="*/ 1993952 h 2038286"/>
              <a:gd name="connsiteX26" fmla="*/ 2138201 w 2466751"/>
              <a:gd name="connsiteY26" fmla="*/ 1987602 h 2038286"/>
              <a:gd name="connsiteX27" fmla="*/ 2271551 w 2466751"/>
              <a:gd name="connsiteY27" fmla="*/ 1981252 h 2038286"/>
              <a:gd name="connsiteX28" fmla="*/ 2303301 w 2466751"/>
              <a:gd name="connsiteY28" fmla="*/ 1978077 h 2038286"/>
              <a:gd name="connsiteX29" fmla="*/ 2373151 w 2466751"/>
              <a:gd name="connsiteY29" fmla="*/ 1974902 h 2038286"/>
              <a:gd name="connsiteX30" fmla="*/ 2395376 w 2466751"/>
              <a:gd name="connsiteY30" fmla="*/ 1965377 h 2038286"/>
              <a:gd name="connsiteX31" fmla="*/ 2401726 w 2466751"/>
              <a:gd name="connsiteY31" fmla="*/ 1927277 h 2038286"/>
              <a:gd name="connsiteX32" fmla="*/ 2404901 w 2466751"/>
              <a:gd name="connsiteY32" fmla="*/ 1781227 h 2038286"/>
              <a:gd name="connsiteX33" fmla="*/ 2408076 w 2466751"/>
              <a:gd name="connsiteY33" fmla="*/ 1739952 h 2038286"/>
              <a:gd name="connsiteX34" fmla="*/ 2417601 w 2466751"/>
              <a:gd name="connsiteY34" fmla="*/ 1695502 h 2038286"/>
              <a:gd name="connsiteX35" fmla="*/ 2436651 w 2466751"/>
              <a:gd name="connsiteY35" fmla="*/ 1574852 h 2038286"/>
              <a:gd name="connsiteX36" fmla="*/ 2443001 w 2466751"/>
              <a:gd name="connsiteY36" fmla="*/ 1511352 h 2038286"/>
              <a:gd name="connsiteX37" fmla="*/ 2446176 w 2466751"/>
              <a:gd name="connsiteY37" fmla="*/ 1476427 h 2038286"/>
              <a:gd name="connsiteX38" fmla="*/ 2452526 w 2466751"/>
              <a:gd name="connsiteY38" fmla="*/ 1276402 h 2038286"/>
              <a:gd name="connsiteX39" fmla="*/ 2443001 w 2466751"/>
              <a:gd name="connsiteY39" fmla="*/ 308027 h 2038286"/>
              <a:gd name="connsiteX40" fmla="*/ 2423951 w 2466751"/>
              <a:gd name="connsiteY40" fmla="*/ 215952 h 2038286"/>
              <a:gd name="connsiteX41" fmla="*/ 2401726 w 2466751"/>
              <a:gd name="connsiteY41" fmla="*/ 136577 h 2038286"/>
              <a:gd name="connsiteX42" fmla="*/ 2389026 w 2466751"/>
              <a:gd name="connsiteY42" fmla="*/ 79427 h 2038286"/>
              <a:gd name="connsiteX43" fmla="*/ 2376326 w 2466751"/>
              <a:gd name="connsiteY43" fmla="*/ 38152 h 2038286"/>
              <a:gd name="connsiteX44" fmla="*/ 2369976 w 2466751"/>
              <a:gd name="connsiteY44" fmla="*/ 28627 h 2038286"/>
              <a:gd name="connsiteX45" fmla="*/ 2306476 w 2466751"/>
              <a:gd name="connsiteY45" fmla="*/ 19102 h 2038286"/>
              <a:gd name="connsiteX46" fmla="*/ 1887376 w 2466751"/>
              <a:gd name="connsiteY46" fmla="*/ 52 h 2038286"/>
              <a:gd name="connsiteX47" fmla="*/ 487201 w 2466751"/>
              <a:gd name="connsiteY47" fmla="*/ 25452 h 2038286"/>
              <a:gd name="connsiteX48" fmla="*/ 64926 w 2466751"/>
              <a:gd name="connsiteY48" fmla="*/ 57202 h 2038286"/>
              <a:gd name="connsiteX0" fmla="*/ 64926 w 2466751"/>
              <a:gd name="connsiteY0" fmla="*/ 57202 h 2038286"/>
              <a:gd name="connsiteX1" fmla="*/ 45876 w 2466751"/>
              <a:gd name="connsiteY1" fmla="*/ 403277 h 2038286"/>
              <a:gd name="connsiteX2" fmla="*/ 26826 w 2466751"/>
              <a:gd name="connsiteY2" fmla="*/ 492177 h 2038286"/>
              <a:gd name="connsiteX3" fmla="*/ 14126 w 2466751"/>
              <a:gd name="connsiteY3" fmla="*/ 606477 h 2038286"/>
              <a:gd name="connsiteX4" fmla="*/ 4601 w 2466751"/>
              <a:gd name="connsiteY4" fmla="*/ 689027 h 2038286"/>
              <a:gd name="connsiteX5" fmla="*/ 7776 w 2466751"/>
              <a:gd name="connsiteY5" fmla="*/ 917627 h 2038286"/>
              <a:gd name="connsiteX6" fmla="*/ 14126 w 2466751"/>
              <a:gd name="connsiteY6" fmla="*/ 958902 h 2038286"/>
              <a:gd name="connsiteX7" fmla="*/ 20476 w 2466751"/>
              <a:gd name="connsiteY7" fmla="*/ 1016052 h 2038286"/>
              <a:gd name="connsiteX8" fmla="*/ 42701 w 2466751"/>
              <a:gd name="connsiteY8" fmla="*/ 1117652 h 2038286"/>
              <a:gd name="connsiteX9" fmla="*/ 55401 w 2466751"/>
              <a:gd name="connsiteY9" fmla="*/ 1197027 h 2038286"/>
              <a:gd name="connsiteX10" fmla="*/ 58576 w 2466751"/>
              <a:gd name="connsiteY10" fmla="*/ 1593902 h 2038286"/>
              <a:gd name="connsiteX11" fmla="*/ 45876 w 2466751"/>
              <a:gd name="connsiteY11" fmla="*/ 1692327 h 2038286"/>
              <a:gd name="connsiteX12" fmla="*/ 39526 w 2466751"/>
              <a:gd name="connsiteY12" fmla="*/ 1743127 h 2038286"/>
              <a:gd name="connsiteX13" fmla="*/ 42701 w 2466751"/>
              <a:gd name="connsiteY13" fmla="*/ 1835202 h 2038286"/>
              <a:gd name="connsiteX14" fmla="*/ 49051 w 2466751"/>
              <a:gd name="connsiteY14" fmla="*/ 1863777 h 2038286"/>
              <a:gd name="connsiteX15" fmla="*/ 64926 w 2466751"/>
              <a:gd name="connsiteY15" fmla="*/ 1882827 h 2038286"/>
              <a:gd name="connsiteX16" fmla="*/ 71276 w 2466751"/>
              <a:gd name="connsiteY16" fmla="*/ 1927277 h 2038286"/>
              <a:gd name="connsiteX17" fmla="*/ 217326 w 2466751"/>
              <a:gd name="connsiteY17" fmla="*/ 1993952 h 2038286"/>
              <a:gd name="connsiteX18" fmla="*/ 264951 w 2466751"/>
              <a:gd name="connsiteY18" fmla="*/ 2000302 h 2038286"/>
              <a:gd name="connsiteX19" fmla="*/ 560226 w 2466751"/>
              <a:gd name="connsiteY19" fmla="*/ 2009827 h 2038286"/>
              <a:gd name="connsiteX20" fmla="*/ 1461926 w 2466751"/>
              <a:gd name="connsiteY20" fmla="*/ 2019352 h 2038286"/>
              <a:gd name="connsiteX21" fmla="*/ 1719101 w 2466751"/>
              <a:gd name="connsiteY21" fmla="*/ 2016177 h 2038286"/>
              <a:gd name="connsiteX22" fmla="*/ 1969926 w 2466751"/>
              <a:gd name="connsiteY22" fmla="*/ 2006652 h 2038286"/>
              <a:gd name="connsiteX23" fmla="*/ 2023901 w 2466751"/>
              <a:gd name="connsiteY23" fmla="*/ 2003477 h 2038286"/>
              <a:gd name="connsiteX24" fmla="*/ 2074701 w 2466751"/>
              <a:gd name="connsiteY24" fmla="*/ 1993952 h 2038286"/>
              <a:gd name="connsiteX25" fmla="*/ 2138201 w 2466751"/>
              <a:gd name="connsiteY25" fmla="*/ 1987602 h 2038286"/>
              <a:gd name="connsiteX26" fmla="*/ 2271551 w 2466751"/>
              <a:gd name="connsiteY26" fmla="*/ 1981252 h 2038286"/>
              <a:gd name="connsiteX27" fmla="*/ 2303301 w 2466751"/>
              <a:gd name="connsiteY27" fmla="*/ 1978077 h 2038286"/>
              <a:gd name="connsiteX28" fmla="*/ 2373151 w 2466751"/>
              <a:gd name="connsiteY28" fmla="*/ 1974902 h 2038286"/>
              <a:gd name="connsiteX29" fmla="*/ 2395376 w 2466751"/>
              <a:gd name="connsiteY29" fmla="*/ 1965377 h 2038286"/>
              <a:gd name="connsiteX30" fmla="*/ 2401726 w 2466751"/>
              <a:gd name="connsiteY30" fmla="*/ 1927277 h 2038286"/>
              <a:gd name="connsiteX31" fmla="*/ 2404901 w 2466751"/>
              <a:gd name="connsiteY31" fmla="*/ 1781227 h 2038286"/>
              <a:gd name="connsiteX32" fmla="*/ 2408076 w 2466751"/>
              <a:gd name="connsiteY32" fmla="*/ 1739952 h 2038286"/>
              <a:gd name="connsiteX33" fmla="*/ 2417601 w 2466751"/>
              <a:gd name="connsiteY33" fmla="*/ 1695502 h 2038286"/>
              <a:gd name="connsiteX34" fmla="*/ 2436651 w 2466751"/>
              <a:gd name="connsiteY34" fmla="*/ 1574852 h 2038286"/>
              <a:gd name="connsiteX35" fmla="*/ 2443001 w 2466751"/>
              <a:gd name="connsiteY35" fmla="*/ 1511352 h 2038286"/>
              <a:gd name="connsiteX36" fmla="*/ 2446176 w 2466751"/>
              <a:gd name="connsiteY36" fmla="*/ 1476427 h 2038286"/>
              <a:gd name="connsiteX37" fmla="*/ 2452526 w 2466751"/>
              <a:gd name="connsiteY37" fmla="*/ 1276402 h 2038286"/>
              <a:gd name="connsiteX38" fmla="*/ 2443001 w 2466751"/>
              <a:gd name="connsiteY38" fmla="*/ 308027 h 2038286"/>
              <a:gd name="connsiteX39" fmla="*/ 2423951 w 2466751"/>
              <a:gd name="connsiteY39" fmla="*/ 215952 h 2038286"/>
              <a:gd name="connsiteX40" fmla="*/ 2401726 w 2466751"/>
              <a:gd name="connsiteY40" fmla="*/ 136577 h 2038286"/>
              <a:gd name="connsiteX41" fmla="*/ 2389026 w 2466751"/>
              <a:gd name="connsiteY41" fmla="*/ 79427 h 2038286"/>
              <a:gd name="connsiteX42" fmla="*/ 2376326 w 2466751"/>
              <a:gd name="connsiteY42" fmla="*/ 38152 h 2038286"/>
              <a:gd name="connsiteX43" fmla="*/ 2369976 w 2466751"/>
              <a:gd name="connsiteY43" fmla="*/ 28627 h 2038286"/>
              <a:gd name="connsiteX44" fmla="*/ 2306476 w 2466751"/>
              <a:gd name="connsiteY44" fmla="*/ 19102 h 2038286"/>
              <a:gd name="connsiteX45" fmla="*/ 1887376 w 2466751"/>
              <a:gd name="connsiteY45" fmla="*/ 52 h 2038286"/>
              <a:gd name="connsiteX46" fmla="*/ 487201 w 2466751"/>
              <a:gd name="connsiteY46" fmla="*/ 25452 h 2038286"/>
              <a:gd name="connsiteX47" fmla="*/ 64926 w 2466751"/>
              <a:gd name="connsiteY47" fmla="*/ 57202 h 2038286"/>
              <a:gd name="connsiteX0" fmla="*/ 57150 w 2458975"/>
              <a:gd name="connsiteY0" fmla="*/ 57202 h 2038286"/>
              <a:gd name="connsiteX1" fmla="*/ 38100 w 2458975"/>
              <a:gd name="connsiteY1" fmla="*/ 403277 h 2038286"/>
              <a:gd name="connsiteX2" fmla="*/ 19050 w 2458975"/>
              <a:gd name="connsiteY2" fmla="*/ 492177 h 2038286"/>
              <a:gd name="connsiteX3" fmla="*/ 6350 w 2458975"/>
              <a:gd name="connsiteY3" fmla="*/ 606477 h 2038286"/>
              <a:gd name="connsiteX4" fmla="*/ 0 w 2458975"/>
              <a:gd name="connsiteY4" fmla="*/ 917627 h 2038286"/>
              <a:gd name="connsiteX5" fmla="*/ 6350 w 2458975"/>
              <a:gd name="connsiteY5" fmla="*/ 958902 h 2038286"/>
              <a:gd name="connsiteX6" fmla="*/ 12700 w 2458975"/>
              <a:gd name="connsiteY6" fmla="*/ 1016052 h 2038286"/>
              <a:gd name="connsiteX7" fmla="*/ 34925 w 2458975"/>
              <a:gd name="connsiteY7" fmla="*/ 1117652 h 2038286"/>
              <a:gd name="connsiteX8" fmla="*/ 47625 w 2458975"/>
              <a:gd name="connsiteY8" fmla="*/ 1197027 h 2038286"/>
              <a:gd name="connsiteX9" fmla="*/ 50800 w 2458975"/>
              <a:gd name="connsiteY9" fmla="*/ 1593902 h 2038286"/>
              <a:gd name="connsiteX10" fmla="*/ 38100 w 2458975"/>
              <a:gd name="connsiteY10" fmla="*/ 1692327 h 2038286"/>
              <a:gd name="connsiteX11" fmla="*/ 31750 w 2458975"/>
              <a:gd name="connsiteY11" fmla="*/ 1743127 h 2038286"/>
              <a:gd name="connsiteX12" fmla="*/ 34925 w 2458975"/>
              <a:gd name="connsiteY12" fmla="*/ 1835202 h 2038286"/>
              <a:gd name="connsiteX13" fmla="*/ 41275 w 2458975"/>
              <a:gd name="connsiteY13" fmla="*/ 1863777 h 2038286"/>
              <a:gd name="connsiteX14" fmla="*/ 57150 w 2458975"/>
              <a:gd name="connsiteY14" fmla="*/ 1882827 h 2038286"/>
              <a:gd name="connsiteX15" fmla="*/ 63500 w 2458975"/>
              <a:gd name="connsiteY15" fmla="*/ 1927277 h 2038286"/>
              <a:gd name="connsiteX16" fmla="*/ 209550 w 2458975"/>
              <a:gd name="connsiteY16" fmla="*/ 1993952 h 2038286"/>
              <a:gd name="connsiteX17" fmla="*/ 257175 w 2458975"/>
              <a:gd name="connsiteY17" fmla="*/ 2000302 h 2038286"/>
              <a:gd name="connsiteX18" fmla="*/ 552450 w 2458975"/>
              <a:gd name="connsiteY18" fmla="*/ 2009827 h 2038286"/>
              <a:gd name="connsiteX19" fmla="*/ 1454150 w 2458975"/>
              <a:gd name="connsiteY19" fmla="*/ 2019352 h 2038286"/>
              <a:gd name="connsiteX20" fmla="*/ 1711325 w 2458975"/>
              <a:gd name="connsiteY20" fmla="*/ 2016177 h 2038286"/>
              <a:gd name="connsiteX21" fmla="*/ 1962150 w 2458975"/>
              <a:gd name="connsiteY21" fmla="*/ 2006652 h 2038286"/>
              <a:gd name="connsiteX22" fmla="*/ 2016125 w 2458975"/>
              <a:gd name="connsiteY22" fmla="*/ 2003477 h 2038286"/>
              <a:gd name="connsiteX23" fmla="*/ 2066925 w 2458975"/>
              <a:gd name="connsiteY23" fmla="*/ 1993952 h 2038286"/>
              <a:gd name="connsiteX24" fmla="*/ 2130425 w 2458975"/>
              <a:gd name="connsiteY24" fmla="*/ 1987602 h 2038286"/>
              <a:gd name="connsiteX25" fmla="*/ 2263775 w 2458975"/>
              <a:gd name="connsiteY25" fmla="*/ 1981252 h 2038286"/>
              <a:gd name="connsiteX26" fmla="*/ 2295525 w 2458975"/>
              <a:gd name="connsiteY26" fmla="*/ 1978077 h 2038286"/>
              <a:gd name="connsiteX27" fmla="*/ 2365375 w 2458975"/>
              <a:gd name="connsiteY27" fmla="*/ 1974902 h 2038286"/>
              <a:gd name="connsiteX28" fmla="*/ 2387600 w 2458975"/>
              <a:gd name="connsiteY28" fmla="*/ 1965377 h 2038286"/>
              <a:gd name="connsiteX29" fmla="*/ 2393950 w 2458975"/>
              <a:gd name="connsiteY29" fmla="*/ 1927277 h 2038286"/>
              <a:gd name="connsiteX30" fmla="*/ 2397125 w 2458975"/>
              <a:gd name="connsiteY30" fmla="*/ 1781227 h 2038286"/>
              <a:gd name="connsiteX31" fmla="*/ 2400300 w 2458975"/>
              <a:gd name="connsiteY31" fmla="*/ 1739952 h 2038286"/>
              <a:gd name="connsiteX32" fmla="*/ 2409825 w 2458975"/>
              <a:gd name="connsiteY32" fmla="*/ 1695502 h 2038286"/>
              <a:gd name="connsiteX33" fmla="*/ 2428875 w 2458975"/>
              <a:gd name="connsiteY33" fmla="*/ 1574852 h 2038286"/>
              <a:gd name="connsiteX34" fmla="*/ 2435225 w 2458975"/>
              <a:gd name="connsiteY34" fmla="*/ 1511352 h 2038286"/>
              <a:gd name="connsiteX35" fmla="*/ 2438400 w 2458975"/>
              <a:gd name="connsiteY35" fmla="*/ 1476427 h 2038286"/>
              <a:gd name="connsiteX36" fmla="*/ 2444750 w 2458975"/>
              <a:gd name="connsiteY36" fmla="*/ 1276402 h 2038286"/>
              <a:gd name="connsiteX37" fmla="*/ 2435225 w 2458975"/>
              <a:gd name="connsiteY37" fmla="*/ 308027 h 2038286"/>
              <a:gd name="connsiteX38" fmla="*/ 2416175 w 2458975"/>
              <a:gd name="connsiteY38" fmla="*/ 215952 h 2038286"/>
              <a:gd name="connsiteX39" fmla="*/ 2393950 w 2458975"/>
              <a:gd name="connsiteY39" fmla="*/ 136577 h 2038286"/>
              <a:gd name="connsiteX40" fmla="*/ 2381250 w 2458975"/>
              <a:gd name="connsiteY40" fmla="*/ 79427 h 2038286"/>
              <a:gd name="connsiteX41" fmla="*/ 2368550 w 2458975"/>
              <a:gd name="connsiteY41" fmla="*/ 38152 h 2038286"/>
              <a:gd name="connsiteX42" fmla="*/ 2362200 w 2458975"/>
              <a:gd name="connsiteY42" fmla="*/ 28627 h 2038286"/>
              <a:gd name="connsiteX43" fmla="*/ 2298700 w 2458975"/>
              <a:gd name="connsiteY43" fmla="*/ 19102 h 2038286"/>
              <a:gd name="connsiteX44" fmla="*/ 1879600 w 2458975"/>
              <a:gd name="connsiteY44" fmla="*/ 52 h 2038286"/>
              <a:gd name="connsiteX45" fmla="*/ 479425 w 2458975"/>
              <a:gd name="connsiteY45" fmla="*/ 25452 h 2038286"/>
              <a:gd name="connsiteX46" fmla="*/ 57150 w 2458975"/>
              <a:gd name="connsiteY46" fmla="*/ 57202 h 2038286"/>
              <a:gd name="connsiteX0" fmla="*/ 57559 w 2459384"/>
              <a:gd name="connsiteY0" fmla="*/ 57202 h 2038286"/>
              <a:gd name="connsiteX1" fmla="*/ 38509 w 2459384"/>
              <a:gd name="connsiteY1" fmla="*/ 403277 h 2038286"/>
              <a:gd name="connsiteX2" fmla="*/ 19459 w 2459384"/>
              <a:gd name="connsiteY2" fmla="*/ 492177 h 2038286"/>
              <a:gd name="connsiteX3" fmla="*/ 409 w 2459384"/>
              <a:gd name="connsiteY3" fmla="*/ 917627 h 2038286"/>
              <a:gd name="connsiteX4" fmla="*/ 6759 w 2459384"/>
              <a:gd name="connsiteY4" fmla="*/ 958902 h 2038286"/>
              <a:gd name="connsiteX5" fmla="*/ 13109 w 2459384"/>
              <a:gd name="connsiteY5" fmla="*/ 1016052 h 2038286"/>
              <a:gd name="connsiteX6" fmla="*/ 35334 w 2459384"/>
              <a:gd name="connsiteY6" fmla="*/ 1117652 h 2038286"/>
              <a:gd name="connsiteX7" fmla="*/ 48034 w 2459384"/>
              <a:gd name="connsiteY7" fmla="*/ 1197027 h 2038286"/>
              <a:gd name="connsiteX8" fmla="*/ 51209 w 2459384"/>
              <a:gd name="connsiteY8" fmla="*/ 1593902 h 2038286"/>
              <a:gd name="connsiteX9" fmla="*/ 38509 w 2459384"/>
              <a:gd name="connsiteY9" fmla="*/ 1692327 h 2038286"/>
              <a:gd name="connsiteX10" fmla="*/ 32159 w 2459384"/>
              <a:gd name="connsiteY10" fmla="*/ 1743127 h 2038286"/>
              <a:gd name="connsiteX11" fmla="*/ 35334 w 2459384"/>
              <a:gd name="connsiteY11" fmla="*/ 1835202 h 2038286"/>
              <a:gd name="connsiteX12" fmla="*/ 41684 w 2459384"/>
              <a:gd name="connsiteY12" fmla="*/ 1863777 h 2038286"/>
              <a:gd name="connsiteX13" fmla="*/ 57559 w 2459384"/>
              <a:gd name="connsiteY13" fmla="*/ 1882827 h 2038286"/>
              <a:gd name="connsiteX14" fmla="*/ 63909 w 2459384"/>
              <a:gd name="connsiteY14" fmla="*/ 1927277 h 2038286"/>
              <a:gd name="connsiteX15" fmla="*/ 209959 w 2459384"/>
              <a:gd name="connsiteY15" fmla="*/ 1993952 h 2038286"/>
              <a:gd name="connsiteX16" fmla="*/ 257584 w 2459384"/>
              <a:gd name="connsiteY16" fmla="*/ 2000302 h 2038286"/>
              <a:gd name="connsiteX17" fmla="*/ 552859 w 2459384"/>
              <a:gd name="connsiteY17" fmla="*/ 2009827 h 2038286"/>
              <a:gd name="connsiteX18" fmla="*/ 1454559 w 2459384"/>
              <a:gd name="connsiteY18" fmla="*/ 2019352 h 2038286"/>
              <a:gd name="connsiteX19" fmla="*/ 1711734 w 2459384"/>
              <a:gd name="connsiteY19" fmla="*/ 2016177 h 2038286"/>
              <a:gd name="connsiteX20" fmla="*/ 1962559 w 2459384"/>
              <a:gd name="connsiteY20" fmla="*/ 2006652 h 2038286"/>
              <a:gd name="connsiteX21" fmla="*/ 2016534 w 2459384"/>
              <a:gd name="connsiteY21" fmla="*/ 2003477 h 2038286"/>
              <a:gd name="connsiteX22" fmla="*/ 2067334 w 2459384"/>
              <a:gd name="connsiteY22" fmla="*/ 1993952 h 2038286"/>
              <a:gd name="connsiteX23" fmla="*/ 2130834 w 2459384"/>
              <a:gd name="connsiteY23" fmla="*/ 1987602 h 2038286"/>
              <a:gd name="connsiteX24" fmla="*/ 2264184 w 2459384"/>
              <a:gd name="connsiteY24" fmla="*/ 1981252 h 2038286"/>
              <a:gd name="connsiteX25" fmla="*/ 2295934 w 2459384"/>
              <a:gd name="connsiteY25" fmla="*/ 1978077 h 2038286"/>
              <a:gd name="connsiteX26" fmla="*/ 2365784 w 2459384"/>
              <a:gd name="connsiteY26" fmla="*/ 1974902 h 2038286"/>
              <a:gd name="connsiteX27" fmla="*/ 2388009 w 2459384"/>
              <a:gd name="connsiteY27" fmla="*/ 1965377 h 2038286"/>
              <a:gd name="connsiteX28" fmla="*/ 2394359 w 2459384"/>
              <a:gd name="connsiteY28" fmla="*/ 1927277 h 2038286"/>
              <a:gd name="connsiteX29" fmla="*/ 2397534 w 2459384"/>
              <a:gd name="connsiteY29" fmla="*/ 1781227 h 2038286"/>
              <a:gd name="connsiteX30" fmla="*/ 2400709 w 2459384"/>
              <a:gd name="connsiteY30" fmla="*/ 1739952 h 2038286"/>
              <a:gd name="connsiteX31" fmla="*/ 2410234 w 2459384"/>
              <a:gd name="connsiteY31" fmla="*/ 1695502 h 2038286"/>
              <a:gd name="connsiteX32" fmla="*/ 2429284 w 2459384"/>
              <a:gd name="connsiteY32" fmla="*/ 1574852 h 2038286"/>
              <a:gd name="connsiteX33" fmla="*/ 2435634 w 2459384"/>
              <a:gd name="connsiteY33" fmla="*/ 1511352 h 2038286"/>
              <a:gd name="connsiteX34" fmla="*/ 2438809 w 2459384"/>
              <a:gd name="connsiteY34" fmla="*/ 1476427 h 2038286"/>
              <a:gd name="connsiteX35" fmla="*/ 2445159 w 2459384"/>
              <a:gd name="connsiteY35" fmla="*/ 1276402 h 2038286"/>
              <a:gd name="connsiteX36" fmla="*/ 2435634 w 2459384"/>
              <a:gd name="connsiteY36" fmla="*/ 308027 h 2038286"/>
              <a:gd name="connsiteX37" fmla="*/ 2416584 w 2459384"/>
              <a:gd name="connsiteY37" fmla="*/ 215952 h 2038286"/>
              <a:gd name="connsiteX38" fmla="*/ 2394359 w 2459384"/>
              <a:gd name="connsiteY38" fmla="*/ 136577 h 2038286"/>
              <a:gd name="connsiteX39" fmla="*/ 2381659 w 2459384"/>
              <a:gd name="connsiteY39" fmla="*/ 79427 h 2038286"/>
              <a:gd name="connsiteX40" fmla="*/ 2368959 w 2459384"/>
              <a:gd name="connsiteY40" fmla="*/ 38152 h 2038286"/>
              <a:gd name="connsiteX41" fmla="*/ 2362609 w 2459384"/>
              <a:gd name="connsiteY41" fmla="*/ 28627 h 2038286"/>
              <a:gd name="connsiteX42" fmla="*/ 2299109 w 2459384"/>
              <a:gd name="connsiteY42" fmla="*/ 19102 h 2038286"/>
              <a:gd name="connsiteX43" fmla="*/ 1880009 w 2459384"/>
              <a:gd name="connsiteY43" fmla="*/ 52 h 2038286"/>
              <a:gd name="connsiteX44" fmla="*/ 479834 w 2459384"/>
              <a:gd name="connsiteY44" fmla="*/ 25452 h 2038286"/>
              <a:gd name="connsiteX45" fmla="*/ 57559 w 2459384"/>
              <a:gd name="connsiteY45" fmla="*/ 57202 h 2038286"/>
              <a:gd name="connsiteX0" fmla="*/ 58288 w 2460113"/>
              <a:gd name="connsiteY0" fmla="*/ 57202 h 2038286"/>
              <a:gd name="connsiteX1" fmla="*/ 39238 w 2460113"/>
              <a:gd name="connsiteY1" fmla="*/ 403277 h 2038286"/>
              <a:gd name="connsiteX2" fmla="*/ 32888 w 2460113"/>
              <a:gd name="connsiteY2" fmla="*/ 546152 h 2038286"/>
              <a:gd name="connsiteX3" fmla="*/ 1138 w 2460113"/>
              <a:gd name="connsiteY3" fmla="*/ 917627 h 2038286"/>
              <a:gd name="connsiteX4" fmla="*/ 7488 w 2460113"/>
              <a:gd name="connsiteY4" fmla="*/ 958902 h 2038286"/>
              <a:gd name="connsiteX5" fmla="*/ 13838 w 2460113"/>
              <a:gd name="connsiteY5" fmla="*/ 1016052 h 2038286"/>
              <a:gd name="connsiteX6" fmla="*/ 36063 w 2460113"/>
              <a:gd name="connsiteY6" fmla="*/ 1117652 h 2038286"/>
              <a:gd name="connsiteX7" fmla="*/ 48763 w 2460113"/>
              <a:gd name="connsiteY7" fmla="*/ 1197027 h 2038286"/>
              <a:gd name="connsiteX8" fmla="*/ 51938 w 2460113"/>
              <a:gd name="connsiteY8" fmla="*/ 1593902 h 2038286"/>
              <a:gd name="connsiteX9" fmla="*/ 39238 w 2460113"/>
              <a:gd name="connsiteY9" fmla="*/ 1692327 h 2038286"/>
              <a:gd name="connsiteX10" fmla="*/ 32888 w 2460113"/>
              <a:gd name="connsiteY10" fmla="*/ 1743127 h 2038286"/>
              <a:gd name="connsiteX11" fmla="*/ 36063 w 2460113"/>
              <a:gd name="connsiteY11" fmla="*/ 1835202 h 2038286"/>
              <a:gd name="connsiteX12" fmla="*/ 42413 w 2460113"/>
              <a:gd name="connsiteY12" fmla="*/ 1863777 h 2038286"/>
              <a:gd name="connsiteX13" fmla="*/ 58288 w 2460113"/>
              <a:gd name="connsiteY13" fmla="*/ 1882827 h 2038286"/>
              <a:gd name="connsiteX14" fmla="*/ 64638 w 2460113"/>
              <a:gd name="connsiteY14" fmla="*/ 1927277 h 2038286"/>
              <a:gd name="connsiteX15" fmla="*/ 210688 w 2460113"/>
              <a:gd name="connsiteY15" fmla="*/ 1993952 h 2038286"/>
              <a:gd name="connsiteX16" fmla="*/ 258313 w 2460113"/>
              <a:gd name="connsiteY16" fmla="*/ 2000302 h 2038286"/>
              <a:gd name="connsiteX17" fmla="*/ 553588 w 2460113"/>
              <a:gd name="connsiteY17" fmla="*/ 2009827 h 2038286"/>
              <a:gd name="connsiteX18" fmla="*/ 1455288 w 2460113"/>
              <a:gd name="connsiteY18" fmla="*/ 2019352 h 2038286"/>
              <a:gd name="connsiteX19" fmla="*/ 1712463 w 2460113"/>
              <a:gd name="connsiteY19" fmla="*/ 2016177 h 2038286"/>
              <a:gd name="connsiteX20" fmla="*/ 1963288 w 2460113"/>
              <a:gd name="connsiteY20" fmla="*/ 2006652 h 2038286"/>
              <a:gd name="connsiteX21" fmla="*/ 2017263 w 2460113"/>
              <a:gd name="connsiteY21" fmla="*/ 2003477 h 2038286"/>
              <a:gd name="connsiteX22" fmla="*/ 2068063 w 2460113"/>
              <a:gd name="connsiteY22" fmla="*/ 1993952 h 2038286"/>
              <a:gd name="connsiteX23" fmla="*/ 2131563 w 2460113"/>
              <a:gd name="connsiteY23" fmla="*/ 1987602 h 2038286"/>
              <a:gd name="connsiteX24" fmla="*/ 2264913 w 2460113"/>
              <a:gd name="connsiteY24" fmla="*/ 1981252 h 2038286"/>
              <a:gd name="connsiteX25" fmla="*/ 2296663 w 2460113"/>
              <a:gd name="connsiteY25" fmla="*/ 1978077 h 2038286"/>
              <a:gd name="connsiteX26" fmla="*/ 2366513 w 2460113"/>
              <a:gd name="connsiteY26" fmla="*/ 1974902 h 2038286"/>
              <a:gd name="connsiteX27" fmla="*/ 2388738 w 2460113"/>
              <a:gd name="connsiteY27" fmla="*/ 1965377 h 2038286"/>
              <a:gd name="connsiteX28" fmla="*/ 2395088 w 2460113"/>
              <a:gd name="connsiteY28" fmla="*/ 1927277 h 2038286"/>
              <a:gd name="connsiteX29" fmla="*/ 2398263 w 2460113"/>
              <a:gd name="connsiteY29" fmla="*/ 1781227 h 2038286"/>
              <a:gd name="connsiteX30" fmla="*/ 2401438 w 2460113"/>
              <a:gd name="connsiteY30" fmla="*/ 1739952 h 2038286"/>
              <a:gd name="connsiteX31" fmla="*/ 2410963 w 2460113"/>
              <a:gd name="connsiteY31" fmla="*/ 1695502 h 2038286"/>
              <a:gd name="connsiteX32" fmla="*/ 2430013 w 2460113"/>
              <a:gd name="connsiteY32" fmla="*/ 1574852 h 2038286"/>
              <a:gd name="connsiteX33" fmla="*/ 2436363 w 2460113"/>
              <a:gd name="connsiteY33" fmla="*/ 1511352 h 2038286"/>
              <a:gd name="connsiteX34" fmla="*/ 2439538 w 2460113"/>
              <a:gd name="connsiteY34" fmla="*/ 1476427 h 2038286"/>
              <a:gd name="connsiteX35" fmla="*/ 2445888 w 2460113"/>
              <a:gd name="connsiteY35" fmla="*/ 1276402 h 2038286"/>
              <a:gd name="connsiteX36" fmla="*/ 2436363 w 2460113"/>
              <a:gd name="connsiteY36" fmla="*/ 308027 h 2038286"/>
              <a:gd name="connsiteX37" fmla="*/ 2417313 w 2460113"/>
              <a:gd name="connsiteY37" fmla="*/ 215952 h 2038286"/>
              <a:gd name="connsiteX38" fmla="*/ 2395088 w 2460113"/>
              <a:gd name="connsiteY38" fmla="*/ 136577 h 2038286"/>
              <a:gd name="connsiteX39" fmla="*/ 2382388 w 2460113"/>
              <a:gd name="connsiteY39" fmla="*/ 79427 h 2038286"/>
              <a:gd name="connsiteX40" fmla="*/ 2369688 w 2460113"/>
              <a:gd name="connsiteY40" fmla="*/ 38152 h 2038286"/>
              <a:gd name="connsiteX41" fmla="*/ 2363338 w 2460113"/>
              <a:gd name="connsiteY41" fmla="*/ 28627 h 2038286"/>
              <a:gd name="connsiteX42" fmla="*/ 2299838 w 2460113"/>
              <a:gd name="connsiteY42" fmla="*/ 19102 h 2038286"/>
              <a:gd name="connsiteX43" fmla="*/ 1880738 w 2460113"/>
              <a:gd name="connsiteY43" fmla="*/ 52 h 2038286"/>
              <a:gd name="connsiteX44" fmla="*/ 480563 w 2460113"/>
              <a:gd name="connsiteY44" fmla="*/ 25452 h 2038286"/>
              <a:gd name="connsiteX45" fmla="*/ 58288 w 2460113"/>
              <a:gd name="connsiteY45" fmla="*/ 57202 h 2038286"/>
              <a:gd name="connsiteX0" fmla="*/ 58767 w 2460592"/>
              <a:gd name="connsiteY0" fmla="*/ 57202 h 2038286"/>
              <a:gd name="connsiteX1" fmla="*/ 39717 w 2460592"/>
              <a:gd name="connsiteY1" fmla="*/ 403277 h 2038286"/>
              <a:gd name="connsiteX2" fmla="*/ 33367 w 2460592"/>
              <a:gd name="connsiteY2" fmla="*/ 546152 h 2038286"/>
              <a:gd name="connsiteX3" fmla="*/ 1617 w 2460592"/>
              <a:gd name="connsiteY3" fmla="*/ 917627 h 2038286"/>
              <a:gd name="connsiteX4" fmla="*/ 7967 w 2460592"/>
              <a:gd name="connsiteY4" fmla="*/ 958902 h 2038286"/>
              <a:gd name="connsiteX5" fmla="*/ 36542 w 2460592"/>
              <a:gd name="connsiteY5" fmla="*/ 1117652 h 2038286"/>
              <a:gd name="connsiteX6" fmla="*/ 49242 w 2460592"/>
              <a:gd name="connsiteY6" fmla="*/ 1197027 h 2038286"/>
              <a:gd name="connsiteX7" fmla="*/ 52417 w 2460592"/>
              <a:gd name="connsiteY7" fmla="*/ 1593902 h 2038286"/>
              <a:gd name="connsiteX8" fmla="*/ 39717 w 2460592"/>
              <a:gd name="connsiteY8" fmla="*/ 1692327 h 2038286"/>
              <a:gd name="connsiteX9" fmla="*/ 33367 w 2460592"/>
              <a:gd name="connsiteY9" fmla="*/ 1743127 h 2038286"/>
              <a:gd name="connsiteX10" fmla="*/ 36542 w 2460592"/>
              <a:gd name="connsiteY10" fmla="*/ 1835202 h 2038286"/>
              <a:gd name="connsiteX11" fmla="*/ 42892 w 2460592"/>
              <a:gd name="connsiteY11" fmla="*/ 1863777 h 2038286"/>
              <a:gd name="connsiteX12" fmla="*/ 58767 w 2460592"/>
              <a:gd name="connsiteY12" fmla="*/ 1882827 h 2038286"/>
              <a:gd name="connsiteX13" fmla="*/ 65117 w 2460592"/>
              <a:gd name="connsiteY13" fmla="*/ 1927277 h 2038286"/>
              <a:gd name="connsiteX14" fmla="*/ 211167 w 2460592"/>
              <a:gd name="connsiteY14" fmla="*/ 1993952 h 2038286"/>
              <a:gd name="connsiteX15" fmla="*/ 258792 w 2460592"/>
              <a:gd name="connsiteY15" fmla="*/ 2000302 h 2038286"/>
              <a:gd name="connsiteX16" fmla="*/ 554067 w 2460592"/>
              <a:gd name="connsiteY16" fmla="*/ 2009827 h 2038286"/>
              <a:gd name="connsiteX17" fmla="*/ 1455767 w 2460592"/>
              <a:gd name="connsiteY17" fmla="*/ 2019352 h 2038286"/>
              <a:gd name="connsiteX18" fmla="*/ 1712942 w 2460592"/>
              <a:gd name="connsiteY18" fmla="*/ 2016177 h 2038286"/>
              <a:gd name="connsiteX19" fmla="*/ 1963767 w 2460592"/>
              <a:gd name="connsiteY19" fmla="*/ 2006652 h 2038286"/>
              <a:gd name="connsiteX20" fmla="*/ 2017742 w 2460592"/>
              <a:gd name="connsiteY20" fmla="*/ 2003477 h 2038286"/>
              <a:gd name="connsiteX21" fmla="*/ 2068542 w 2460592"/>
              <a:gd name="connsiteY21" fmla="*/ 1993952 h 2038286"/>
              <a:gd name="connsiteX22" fmla="*/ 2132042 w 2460592"/>
              <a:gd name="connsiteY22" fmla="*/ 1987602 h 2038286"/>
              <a:gd name="connsiteX23" fmla="*/ 2265392 w 2460592"/>
              <a:gd name="connsiteY23" fmla="*/ 1981252 h 2038286"/>
              <a:gd name="connsiteX24" fmla="*/ 2297142 w 2460592"/>
              <a:gd name="connsiteY24" fmla="*/ 1978077 h 2038286"/>
              <a:gd name="connsiteX25" fmla="*/ 2366992 w 2460592"/>
              <a:gd name="connsiteY25" fmla="*/ 1974902 h 2038286"/>
              <a:gd name="connsiteX26" fmla="*/ 2389217 w 2460592"/>
              <a:gd name="connsiteY26" fmla="*/ 1965377 h 2038286"/>
              <a:gd name="connsiteX27" fmla="*/ 2395567 w 2460592"/>
              <a:gd name="connsiteY27" fmla="*/ 1927277 h 2038286"/>
              <a:gd name="connsiteX28" fmla="*/ 2398742 w 2460592"/>
              <a:gd name="connsiteY28" fmla="*/ 1781227 h 2038286"/>
              <a:gd name="connsiteX29" fmla="*/ 2401917 w 2460592"/>
              <a:gd name="connsiteY29" fmla="*/ 1739952 h 2038286"/>
              <a:gd name="connsiteX30" fmla="*/ 2411442 w 2460592"/>
              <a:gd name="connsiteY30" fmla="*/ 1695502 h 2038286"/>
              <a:gd name="connsiteX31" fmla="*/ 2430492 w 2460592"/>
              <a:gd name="connsiteY31" fmla="*/ 1574852 h 2038286"/>
              <a:gd name="connsiteX32" fmla="*/ 2436842 w 2460592"/>
              <a:gd name="connsiteY32" fmla="*/ 1511352 h 2038286"/>
              <a:gd name="connsiteX33" fmla="*/ 2440017 w 2460592"/>
              <a:gd name="connsiteY33" fmla="*/ 1476427 h 2038286"/>
              <a:gd name="connsiteX34" fmla="*/ 2446367 w 2460592"/>
              <a:gd name="connsiteY34" fmla="*/ 1276402 h 2038286"/>
              <a:gd name="connsiteX35" fmla="*/ 2436842 w 2460592"/>
              <a:gd name="connsiteY35" fmla="*/ 308027 h 2038286"/>
              <a:gd name="connsiteX36" fmla="*/ 2417792 w 2460592"/>
              <a:gd name="connsiteY36" fmla="*/ 215952 h 2038286"/>
              <a:gd name="connsiteX37" fmla="*/ 2395567 w 2460592"/>
              <a:gd name="connsiteY37" fmla="*/ 136577 h 2038286"/>
              <a:gd name="connsiteX38" fmla="*/ 2382867 w 2460592"/>
              <a:gd name="connsiteY38" fmla="*/ 79427 h 2038286"/>
              <a:gd name="connsiteX39" fmla="*/ 2370167 w 2460592"/>
              <a:gd name="connsiteY39" fmla="*/ 38152 h 2038286"/>
              <a:gd name="connsiteX40" fmla="*/ 2363817 w 2460592"/>
              <a:gd name="connsiteY40" fmla="*/ 28627 h 2038286"/>
              <a:gd name="connsiteX41" fmla="*/ 2300317 w 2460592"/>
              <a:gd name="connsiteY41" fmla="*/ 19102 h 2038286"/>
              <a:gd name="connsiteX42" fmla="*/ 1881217 w 2460592"/>
              <a:gd name="connsiteY42" fmla="*/ 52 h 2038286"/>
              <a:gd name="connsiteX43" fmla="*/ 481042 w 2460592"/>
              <a:gd name="connsiteY43" fmla="*/ 25452 h 2038286"/>
              <a:gd name="connsiteX44" fmla="*/ 58767 w 2460592"/>
              <a:gd name="connsiteY44" fmla="*/ 57202 h 2038286"/>
              <a:gd name="connsiteX0" fmla="*/ 57158 w 2458983"/>
              <a:gd name="connsiteY0" fmla="*/ 57202 h 2038286"/>
              <a:gd name="connsiteX1" fmla="*/ 38108 w 2458983"/>
              <a:gd name="connsiteY1" fmla="*/ 403277 h 2038286"/>
              <a:gd name="connsiteX2" fmla="*/ 31758 w 2458983"/>
              <a:gd name="connsiteY2" fmla="*/ 546152 h 2038286"/>
              <a:gd name="connsiteX3" fmla="*/ 8 w 2458983"/>
              <a:gd name="connsiteY3" fmla="*/ 917627 h 2038286"/>
              <a:gd name="connsiteX4" fmla="*/ 34933 w 2458983"/>
              <a:gd name="connsiteY4" fmla="*/ 1117652 h 2038286"/>
              <a:gd name="connsiteX5" fmla="*/ 47633 w 2458983"/>
              <a:gd name="connsiteY5" fmla="*/ 1197027 h 2038286"/>
              <a:gd name="connsiteX6" fmla="*/ 50808 w 2458983"/>
              <a:gd name="connsiteY6" fmla="*/ 1593902 h 2038286"/>
              <a:gd name="connsiteX7" fmla="*/ 38108 w 2458983"/>
              <a:gd name="connsiteY7" fmla="*/ 1692327 h 2038286"/>
              <a:gd name="connsiteX8" fmla="*/ 31758 w 2458983"/>
              <a:gd name="connsiteY8" fmla="*/ 1743127 h 2038286"/>
              <a:gd name="connsiteX9" fmla="*/ 34933 w 2458983"/>
              <a:gd name="connsiteY9" fmla="*/ 1835202 h 2038286"/>
              <a:gd name="connsiteX10" fmla="*/ 41283 w 2458983"/>
              <a:gd name="connsiteY10" fmla="*/ 1863777 h 2038286"/>
              <a:gd name="connsiteX11" fmla="*/ 57158 w 2458983"/>
              <a:gd name="connsiteY11" fmla="*/ 1882827 h 2038286"/>
              <a:gd name="connsiteX12" fmla="*/ 63508 w 2458983"/>
              <a:gd name="connsiteY12" fmla="*/ 1927277 h 2038286"/>
              <a:gd name="connsiteX13" fmla="*/ 209558 w 2458983"/>
              <a:gd name="connsiteY13" fmla="*/ 1993952 h 2038286"/>
              <a:gd name="connsiteX14" fmla="*/ 257183 w 2458983"/>
              <a:gd name="connsiteY14" fmla="*/ 2000302 h 2038286"/>
              <a:gd name="connsiteX15" fmla="*/ 552458 w 2458983"/>
              <a:gd name="connsiteY15" fmla="*/ 2009827 h 2038286"/>
              <a:gd name="connsiteX16" fmla="*/ 1454158 w 2458983"/>
              <a:gd name="connsiteY16" fmla="*/ 2019352 h 2038286"/>
              <a:gd name="connsiteX17" fmla="*/ 1711333 w 2458983"/>
              <a:gd name="connsiteY17" fmla="*/ 2016177 h 2038286"/>
              <a:gd name="connsiteX18" fmla="*/ 1962158 w 2458983"/>
              <a:gd name="connsiteY18" fmla="*/ 2006652 h 2038286"/>
              <a:gd name="connsiteX19" fmla="*/ 2016133 w 2458983"/>
              <a:gd name="connsiteY19" fmla="*/ 2003477 h 2038286"/>
              <a:gd name="connsiteX20" fmla="*/ 2066933 w 2458983"/>
              <a:gd name="connsiteY20" fmla="*/ 1993952 h 2038286"/>
              <a:gd name="connsiteX21" fmla="*/ 2130433 w 2458983"/>
              <a:gd name="connsiteY21" fmla="*/ 1987602 h 2038286"/>
              <a:gd name="connsiteX22" fmla="*/ 2263783 w 2458983"/>
              <a:gd name="connsiteY22" fmla="*/ 1981252 h 2038286"/>
              <a:gd name="connsiteX23" fmla="*/ 2295533 w 2458983"/>
              <a:gd name="connsiteY23" fmla="*/ 1978077 h 2038286"/>
              <a:gd name="connsiteX24" fmla="*/ 2365383 w 2458983"/>
              <a:gd name="connsiteY24" fmla="*/ 1974902 h 2038286"/>
              <a:gd name="connsiteX25" fmla="*/ 2387608 w 2458983"/>
              <a:gd name="connsiteY25" fmla="*/ 1965377 h 2038286"/>
              <a:gd name="connsiteX26" fmla="*/ 2393958 w 2458983"/>
              <a:gd name="connsiteY26" fmla="*/ 1927277 h 2038286"/>
              <a:gd name="connsiteX27" fmla="*/ 2397133 w 2458983"/>
              <a:gd name="connsiteY27" fmla="*/ 1781227 h 2038286"/>
              <a:gd name="connsiteX28" fmla="*/ 2400308 w 2458983"/>
              <a:gd name="connsiteY28" fmla="*/ 1739952 h 2038286"/>
              <a:gd name="connsiteX29" fmla="*/ 2409833 w 2458983"/>
              <a:gd name="connsiteY29" fmla="*/ 1695502 h 2038286"/>
              <a:gd name="connsiteX30" fmla="*/ 2428883 w 2458983"/>
              <a:gd name="connsiteY30" fmla="*/ 1574852 h 2038286"/>
              <a:gd name="connsiteX31" fmla="*/ 2435233 w 2458983"/>
              <a:gd name="connsiteY31" fmla="*/ 1511352 h 2038286"/>
              <a:gd name="connsiteX32" fmla="*/ 2438408 w 2458983"/>
              <a:gd name="connsiteY32" fmla="*/ 1476427 h 2038286"/>
              <a:gd name="connsiteX33" fmla="*/ 2444758 w 2458983"/>
              <a:gd name="connsiteY33" fmla="*/ 1276402 h 2038286"/>
              <a:gd name="connsiteX34" fmla="*/ 2435233 w 2458983"/>
              <a:gd name="connsiteY34" fmla="*/ 308027 h 2038286"/>
              <a:gd name="connsiteX35" fmla="*/ 2416183 w 2458983"/>
              <a:gd name="connsiteY35" fmla="*/ 215952 h 2038286"/>
              <a:gd name="connsiteX36" fmla="*/ 2393958 w 2458983"/>
              <a:gd name="connsiteY36" fmla="*/ 136577 h 2038286"/>
              <a:gd name="connsiteX37" fmla="*/ 2381258 w 2458983"/>
              <a:gd name="connsiteY37" fmla="*/ 79427 h 2038286"/>
              <a:gd name="connsiteX38" fmla="*/ 2368558 w 2458983"/>
              <a:gd name="connsiteY38" fmla="*/ 38152 h 2038286"/>
              <a:gd name="connsiteX39" fmla="*/ 2362208 w 2458983"/>
              <a:gd name="connsiteY39" fmla="*/ 28627 h 2038286"/>
              <a:gd name="connsiteX40" fmla="*/ 2298708 w 2458983"/>
              <a:gd name="connsiteY40" fmla="*/ 19102 h 2038286"/>
              <a:gd name="connsiteX41" fmla="*/ 1879608 w 2458983"/>
              <a:gd name="connsiteY41" fmla="*/ 52 h 2038286"/>
              <a:gd name="connsiteX42" fmla="*/ 479433 w 2458983"/>
              <a:gd name="connsiteY42" fmla="*/ 25452 h 2038286"/>
              <a:gd name="connsiteX43" fmla="*/ 57158 w 2458983"/>
              <a:gd name="connsiteY43" fmla="*/ 57202 h 2038286"/>
              <a:gd name="connsiteX0" fmla="*/ 26725 w 2428550"/>
              <a:gd name="connsiteY0" fmla="*/ 57202 h 2038286"/>
              <a:gd name="connsiteX1" fmla="*/ 7675 w 2428550"/>
              <a:gd name="connsiteY1" fmla="*/ 403277 h 2038286"/>
              <a:gd name="connsiteX2" fmla="*/ 1325 w 2428550"/>
              <a:gd name="connsiteY2" fmla="*/ 546152 h 2038286"/>
              <a:gd name="connsiteX3" fmla="*/ 14025 w 2428550"/>
              <a:gd name="connsiteY3" fmla="*/ 908102 h 2038286"/>
              <a:gd name="connsiteX4" fmla="*/ 4500 w 2428550"/>
              <a:gd name="connsiteY4" fmla="*/ 1117652 h 2038286"/>
              <a:gd name="connsiteX5" fmla="*/ 17200 w 2428550"/>
              <a:gd name="connsiteY5" fmla="*/ 1197027 h 2038286"/>
              <a:gd name="connsiteX6" fmla="*/ 20375 w 2428550"/>
              <a:gd name="connsiteY6" fmla="*/ 1593902 h 2038286"/>
              <a:gd name="connsiteX7" fmla="*/ 7675 w 2428550"/>
              <a:gd name="connsiteY7" fmla="*/ 1692327 h 2038286"/>
              <a:gd name="connsiteX8" fmla="*/ 1325 w 2428550"/>
              <a:gd name="connsiteY8" fmla="*/ 1743127 h 2038286"/>
              <a:gd name="connsiteX9" fmla="*/ 4500 w 2428550"/>
              <a:gd name="connsiteY9" fmla="*/ 1835202 h 2038286"/>
              <a:gd name="connsiteX10" fmla="*/ 10850 w 2428550"/>
              <a:gd name="connsiteY10" fmla="*/ 1863777 h 2038286"/>
              <a:gd name="connsiteX11" fmla="*/ 26725 w 2428550"/>
              <a:gd name="connsiteY11" fmla="*/ 1882827 h 2038286"/>
              <a:gd name="connsiteX12" fmla="*/ 33075 w 2428550"/>
              <a:gd name="connsiteY12" fmla="*/ 1927277 h 2038286"/>
              <a:gd name="connsiteX13" fmla="*/ 179125 w 2428550"/>
              <a:gd name="connsiteY13" fmla="*/ 1993952 h 2038286"/>
              <a:gd name="connsiteX14" fmla="*/ 226750 w 2428550"/>
              <a:gd name="connsiteY14" fmla="*/ 2000302 h 2038286"/>
              <a:gd name="connsiteX15" fmla="*/ 522025 w 2428550"/>
              <a:gd name="connsiteY15" fmla="*/ 2009827 h 2038286"/>
              <a:gd name="connsiteX16" fmla="*/ 1423725 w 2428550"/>
              <a:gd name="connsiteY16" fmla="*/ 2019352 h 2038286"/>
              <a:gd name="connsiteX17" fmla="*/ 1680900 w 2428550"/>
              <a:gd name="connsiteY17" fmla="*/ 2016177 h 2038286"/>
              <a:gd name="connsiteX18" fmla="*/ 1931725 w 2428550"/>
              <a:gd name="connsiteY18" fmla="*/ 2006652 h 2038286"/>
              <a:gd name="connsiteX19" fmla="*/ 1985700 w 2428550"/>
              <a:gd name="connsiteY19" fmla="*/ 2003477 h 2038286"/>
              <a:gd name="connsiteX20" fmla="*/ 2036500 w 2428550"/>
              <a:gd name="connsiteY20" fmla="*/ 1993952 h 2038286"/>
              <a:gd name="connsiteX21" fmla="*/ 2100000 w 2428550"/>
              <a:gd name="connsiteY21" fmla="*/ 1987602 h 2038286"/>
              <a:gd name="connsiteX22" fmla="*/ 2233350 w 2428550"/>
              <a:gd name="connsiteY22" fmla="*/ 1981252 h 2038286"/>
              <a:gd name="connsiteX23" fmla="*/ 2265100 w 2428550"/>
              <a:gd name="connsiteY23" fmla="*/ 1978077 h 2038286"/>
              <a:gd name="connsiteX24" fmla="*/ 2334950 w 2428550"/>
              <a:gd name="connsiteY24" fmla="*/ 1974902 h 2038286"/>
              <a:gd name="connsiteX25" fmla="*/ 2357175 w 2428550"/>
              <a:gd name="connsiteY25" fmla="*/ 1965377 h 2038286"/>
              <a:gd name="connsiteX26" fmla="*/ 2363525 w 2428550"/>
              <a:gd name="connsiteY26" fmla="*/ 1927277 h 2038286"/>
              <a:gd name="connsiteX27" fmla="*/ 2366700 w 2428550"/>
              <a:gd name="connsiteY27" fmla="*/ 1781227 h 2038286"/>
              <a:gd name="connsiteX28" fmla="*/ 2369875 w 2428550"/>
              <a:gd name="connsiteY28" fmla="*/ 1739952 h 2038286"/>
              <a:gd name="connsiteX29" fmla="*/ 2379400 w 2428550"/>
              <a:gd name="connsiteY29" fmla="*/ 1695502 h 2038286"/>
              <a:gd name="connsiteX30" fmla="*/ 2398450 w 2428550"/>
              <a:gd name="connsiteY30" fmla="*/ 1574852 h 2038286"/>
              <a:gd name="connsiteX31" fmla="*/ 2404800 w 2428550"/>
              <a:gd name="connsiteY31" fmla="*/ 1511352 h 2038286"/>
              <a:gd name="connsiteX32" fmla="*/ 2407975 w 2428550"/>
              <a:gd name="connsiteY32" fmla="*/ 1476427 h 2038286"/>
              <a:gd name="connsiteX33" fmla="*/ 2414325 w 2428550"/>
              <a:gd name="connsiteY33" fmla="*/ 1276402 h 2038286"/>
              <a:gd name="connsiteX34" fmla="*/ 2404800 w 2428550"/>
              <a:gd name="connsiteY34" fmla="*/ 308027 h 2038286"/>
              <a:gd name="connsiteX35" fmla="*/ 2385750 w 2428550"/>
              <a:gd name="connsiteY35" fmla="*/ 215952 h 2038286"/>
              <a:gd name="connsiteX36" fmla="*/ 2363525 w 2428550"/>
              <a:gd name="connsiteY36" fmla="*/ 136577 h 2038286"/>
              <a:gd name="connsiteX37" fmla="*/ 2350825 w 2428550"/>
              <a:gd name="connsiteY37" fmla="*/ 79427 h 2038286"/>
              <a:gd name="connsiteX38" fmla="*/ 2338125 w 2428550"/>
              <a:gd name="connsiteY38" fmla="*/ 38152 h 2038286"/>
              <a:gd name="connsiteX39" fmla="*/ 2331775 w 2428550"/>
              <a:gd name="connsiteY39" fmla="*/ 28627 h 2038286"/>
              <a:gd name="connsiteX40" fmla="*/ 2268275 w 2428550"/>
              <a:gd name="connsiteY40" fmla="*/ 19102 h 2038286"/>
              <a:gd name="connsiteX41" fmla="*/ 1849175 w 2428550"/>
              <a:gd name="connsiteY41" fmla="*/ 52 h 2038286"/>
              <a:gd name="connsiteX42" fmla="*/ 449000 w 2428550"/>
              <a:gd name="connsiteY42" fmla="*/ 25452 h 2038286"/>
              <a:gd name="connsiteX43" fmla="*/ 26725 w 2428550"/>
              <a:gd name="connsiteY43" fmla="*/ 57202 h 2038286"/>
              <a:gd name="connsiteX0" fmla="*/ 26850 w 2428675"/>
              <a:gd name="connsiteY0" fmla="*/ 57202 h 2038286"/>
              <a:gd name="connsiteX1" fmla="*/ 7800 w 2428675"/>
              <a:gd name="connsiteY1" fmla="*/ 403277 h 2038286"/>
              <a:gd name="connsiteX2" fmla="*/ 1450 w 2428675"/>
              <a:gd name="connsiteY2" fmla="*/ 546152 h 2038286"/>
              <a:gd name="connsiteX3" fmla="*/ 14150 w 2428675"/>
              <a:gd name="connsiteY3" fmla="*/ 908102 h 2038286"/>
              <a:gd name="connsiteX4" fmla="*/ 17325 w 2428675"/>
              <a:gd name="connsiteY4" fmla="*/ 1197027 h 2038286"/>
              <a:gd name="connsiteX5" fmla="*/ 20500 w 2428675"/>
              <a:gd name="connsiteY5" fmla="*/ 1593902 h 2038286"/>
              <a:gd name="connsiteX6" fmla="*/ 7800 w 2428675"/>
              <a:gd name="connsiteY6" fmla="*/ 1692327 h 2038286"/>
              <a:gd name="connsiteX7" fmla="*/ 1450 w 2428675"/>
              <a:gd name="connsiteY7" fmla="*/ 1743127 h 2038286"/>
              <a:gd name="connsiteX8" fmla="*/ 4625 w 2428675"/>
              <a:gd name="connsiteY8" fmla="*/ 1835202 h 2038286"/>
              <a:gd name="connsiteX9" fmla="*/ 10975 w 2428675"/>
              <a:gd name="connsiteY9" fmla="*/ 1863777 h 2038286"/>
              <a:gd name="connsiteX10" fmla="*/ 26850 w 2428675"/>
              <a:gd name="connsiteY10" fmla="*/ 1882827 h 2038286"/>
              <a:gd name="connsiteX11" fmla="*/ 33200 w 2428675"/>
              <a:gd name="connsiteY11" fmla="*/ 1927277 h 2038286"/>
              <a:gd name="connsiteX12" fmla="*/ 179250 w 2428675"/>
              <a:gd name="connsiteY12" fmla="*/ 1993952 h 2038286"/>
              <a:gd name="connsiteX13" fmla="*/ 226875 w 2428675"/>
              <a:gd name="connsiteY13" fmla="*/ 2000302 h 2038286"/>
              <a:gd name="connsiteX14" fmla="*/ 522150 w 2428675"/>
              <a:gd name="connsiteY14" fmla="*/ 2009827 h 2038286"/>
              <a:gd name="connsiteX15" fmla="*/ 1423850 w 2428675"/>
              <a:gd name="connsiteY15" fmla="*/ 2019352 h 2038286"/>
              <a:gd name="connsiteX16" fmla="*/ 1681025 w 2428675"/>
              <a:gd name="connsiteY16" fmla="*/ 2016177 h 2038286"/>
              <a:gd name="connsiteX17" fmla="*/ 1931850 w 2428675"/>
              <a:gd name="connsiteY17" fmla="*/ 2006652 h 2038286"/>
              <a:gd name="connsiteX18" fmla="*/ 1985825 w 2428675"/>
              <a:gd name="connsiteY18" fmla="*/ 2003477 h 2038286"/>
              <a:gd name="connsiteX19" fmla="*/ 2036625 w 2428675"/>
              <a:gd name="connsiteY19" fmla="*/ 1993952 h 2038286"/>
              <a:gd name="connsiteX20" fmla="*/ 2100125 w 2428675"/>
              <a:gd name="connsiteY20" fmla="*/ 1987602 h 2038286"/>
              <a:gd name="connsiteX21" fmla="*/ 2233475 w 2428675"/>
              <a:gd name="connsiteY21" fmla="*/ 1981252 h 2038286"/>
              <a:gd name="connsiteX22" fmla="*/ 2265225 w 2428675"/>
              <a:gd name="connsiteY22" fmla="*/ 1978077 h 2038286"/>
              <a:gd name="connsiteX23" fmla="*/ 2335075 w 2428675"/>
              <a:gd name="connsiteY23" fmla="*/ 1974902 h 2038286"/>
              <a:gd name="connsiteX24" fmla="*/ 2357300 w 2428675"/>
              <a:gd name="connsiteY24" fmla="*/ 1965377 h 2038286"/>
              <a:gd name="connsiteX25" fmla="*/ 2363650 w 2428675"/>
              <a:gd name="connsiteY25" fmla="*/ 1927277 h 2038286"/>
              <a:gd name="connsiteX26" fmla="*/ 2366825 w 2428675"/>
              <a:gd name="connsiteY26" fmla="*/ 1781227 h 2038286"/>
              <a:gd name="connsiteX27" fmla="*/ 2370000 w 2428675"/>
              <a:gd name="connsiteY27" fmla="*/ 1739952 h 2038286"/>
              <a:gd name="connsiteX28" fmla="*/ 2379525 w 2428675"/>
              <a:gd name="connsiteY28" fmla="*/ 1695502 h 2038286"/>
              <a:gd name="connsiteX29" fmla="*/ 2398575 w 2428675"/>
              <a:gd name="connsiteY29" fmla="*/ 1574852 h 2038286"/>
              <a:gd name="connsiteX30" fmla="*/ 2404925 w 2428675"/>
              <a:gd name="connsiteY30" fmla="*/ 1511352 h 2038286"/>
              <a:gd name="connsiteX31" fmla="*/ 2408100 w 2428675"/>
              <a:gd name="connsiteY31" fmla="*/ 1476427 h 2038286"/>
              <a:gd name="connsiteX32" fmla="*/ 2414450 w 2428675"/>
              <a:gd name="connsiteY32" fmla="*/ 1276402 h 2038286"/>
              <a:gd name="connsiteX33" fmla="*/ 2404925 w 2428675"/>
              <a:gd name="connsiteY33" fmla="*/ 308027 h 2038286"/>
              <a:gd name="connsiteX34" fmla="*/ 2385875 w 2428675"/>
              <a:gd name="connsiteY34" fmla="*/ 215952 h 2038286"/>
              <a:gd name="connsiteX35" fmla="*/ 2363650 w 2428675"/>
              <a:gd name="connsiteY35" fmla="*/ 136577 h 2038286"/>
              <a:gd name="connsiteX36" fmla="*/ 2350950 w 2428675"/>
              <a:gd name="connsiteY36" fmla="*/ 79427 h 2038286"/>
              <a:gd name="connsiteX37" fmla="*/ 2338250 w 2428675"/>
              <a:gd name="connsiteY37" fmla="*/ 38152 h 2038286"/>
              <a:gd name="connsiteX38" fmla="*/ 2331900 w 2428675"/>
              <a:gd name="connsiteY38" fmla="*/ 28627 h 2038286"/>
              <a:gd name="connsiteX39" fmla="*/ 2268400 w 2428675"/>
              <a:gd name="connsiteY39" fmla="*/ 19102 h 2038286"/>
              <a:gd name="connsiteX40" fmla="*/ 1849300 w 2428675"/>
              <a:gd name="connsiteY40" fmla="*/ 52 h 2038286"/>
              <a:gd name="connsiteX41" fmla="*/ 449125 w 2428675"/>
              <a:gd name="connsiteY41" fmla="*/ 25452 h 2038286"/>
              <a:gd name="connsiteX42" fmla="*/ 26850 w 2428675"/>
              <a:gd name="connsiteY42" fmla="*/ 57202 h 2038286"/>
              <a:gd name="connsiteX0" fmla="*/ 26850 w 2428675"/>
              <a:gd name="connsiteY0" fmla="*/ 57202 h 2038286"/>
              <a:gd name="connsiteX1" fmla="*/ 7800 w 2428675"/>
              <a:gd name="connsiteY1" fmla="*/ 403277 h 2038286"/>
              <a:gd name="connsiteX2" fmla="*/ 1450 w 2428675"/>
              <a:gd name="connsiteY2" fmla="*/ 546152 h 2038286"/>
              <a:gd name="connsiteX3" fmla="*/ 14150 w 2428675"/>
              <a:gd name="connsiteY3" fmla="*/ 908102 h 2038286"/>
              <a:gd name="connsiteX4" fmla="*/ 17325 w 2428675"/>
              <a:gd name="connsiteY4" fmla="*/ 1197027 h 2038286"/>
              <a:gd name="connsiteX5" fmla="*/ 20500 w 2428675"/>
              <a:gd name="connsiteY5" fmla="*/ 1593902 h 2038286"/>
              <a:gd name="connsiteX6" fmla="*/ 1450 w 2428675"/>
              <a:gd name="connsiteY6" fmla="*/ 1743127 h 2038286"/>
              <a:gd name="connsiteX7" fmla="*/ 4625 w 2428675"/>
              <a:gd name="connsiteY7" fmla="*/ 1835202 h 2038286"/>
              <a:gd name="connsiteX8" fmla="*/ 10975 w 2428675"/>
              <a:gd name="connsiteY8" fmla="*/ 1863777 h 2038286"/>
              <a:gd name="connsiteX9" fmla="*/ 26850 w 2428675"/>
              <a:gd name="connsiteY9" fmla="*/ 1882827 h 2038286"/>
              <a:gd name="connsiteX10" fmla="*/ 33200 w 2428675"/>
              <a:gd name="connsiteY10" fmla="*/ 1927277 h 2038286"/>
              <a:gd name="connsiteX11" fmla="*/ 179250 w 2428675"/>
              <a:gd name="connsiteY11" fmla="*/ 1993952 h 2038286"/>
              <a:gd name="connsiteX12" fmla="*/ 226875 w 2428675"/>
              <a:gd name="connsiteY12" fmla="*/ 2000302 h 2038286"/>
              <a:gd name="connsiteX13" fmla="*/ 522150 w 2428675"/>
              <a:gd name="connsiteY13" fmla="*/ 2009827 h 2038286"/>
              <a:gd name="connsiteX14" fmla="*/ 1423850 w 2428675"/>
              <a:gd name="connsiteY14" fmla="*/ 2019352 h 2038286"/>
              <a:gd name="connsiteX15" fmla="*/ 1681025 w 2428675"/>
              <a:gd name="connsiteY15" fmla="*/ 2016177 h 2038286"/>
              <a:gd name="connsiteX16" fmla="*/ 1931850 w 2428675"/>
              <a:gd name="connsiteY16" fmla="*/ 2006652 h 2038286"/>
              <a:gd name="connsiteX17" fmla="*/ 1985825 w 2428675"/>
              <a:gd name="connsiteY17" fmla="*/ 2003477 h 2038286"/>
              <a:gd name="connsiteX18" fmla="*/ 2036625 w 2428675"/>
              <a:gd name="connsiteY18" fmla="*/ 1993952 h 2038286"/>
              <a:gd name="connsiteX19" fmla="*/ 2100125 w 2428675"/>
              <a:gd name="connsiteY19" fmla="*/ 1987602 h 2038286"/>
              <a:gd name="connsiteX20" fmla="*/ 2233475 w 2428675"/>
              <a:gd name="connsiteY20" fmla="*/ 1981252 h 2038286"/>
              <a:gd name="connsiteX21" fmla="*/ 2265225 w 2428675"/>
              <a:gd name="connsiteY21" fmla="*/ 1978077 h 2038286"/>
              <a:gd name="connsiteX22" fmla="*/ 2335075 w 2428675"/>
              <a:gd name="connsiteY22" fmla="*/ 1974902 h 2038286"/>
              <a:gd name="connsiteX23" fmla="*/ 2357300 w 2428675"/>
              <a:gd name="connsiteY23" fmla="*/ 1965377 h 2038286"/>
              <a:gd name="connsiteX24" fmla="*/ 2363650 w 2428675"/>
              <a:gd name="connsiteY24" fmla="*/ 1927277 h 2038286"/>
              <a:gd name="connsiteX25" fmla="*/ 2366825 w 2428675"/>
              <a:gd name="connsiteY25" fmla="*/ 1781227 h 2038286"/>
              <a:gd name="connsiteX26" fmla="*/ 2370000 w 2428675"/>
              <a:gd name="connsiteY26" fmla="*/ 1739952 h 2038286"/>
              <a:gd name="connsiteX27" fmla="*/ 2379525 w 2428675"/>
              <a:gd name="connsiteY27" fmla="*/ 1695502 h 2038286"/>
              <a:gd name="connsiteX28" fmla="*/ 2398575 w 2428675"/>
              <a:gd name="connsiteY28" fmla="*/ 1574852 h 2038286"/>
              <a:gd name="connsiteX29" fmla="*/ 2404925 w 2428675"/>
              <a:gd name="connsiteY29" fmla="*/ 1511352 h 2038286"/>
              <a:gd name="connsiteX30" fmla="*/ 2408100 w 2428675"/>
              <a:gd name="connsiteY30" fmla="*/ 1476427 h 2038286"/>
              <a:gd name="connsiteX31" fmla="*/ 2414450 w 2428675"/>
              <a:gd name="connsiteY31" fmla="*/ 1276402 h 2038286"/>
              <a:gd name="connsiteX32" fmla="*/ 2404925 w 2428675"/>
              <a:gd name="connsiteY32" fmla="*/ 308027 h 2038286"/>
              <a:gd name="connsiteX33" fmla="*/ 2385875 w 2428675"/>
              <a:gd name="connsiteY33" fmla="*/ 215952 h 2038286"/>
              <a:gd name="connsiteX34" fmla="*/ 2363650 w 2428675"/>
              <a:gd name="connsiteY34" fmla="*/ 136577 h 2038286"/>
              <a:gd name="connsiteX35" fmla="*/ 2350950 w 2428675"/>
              <a:gd name="connsiteY35" fmla="*/ 79427 h 2038286"/>
              <a:gd name="connsiteX36" fmla="*/ 2338250 w 2428675"/>
              <a:gd name="connsiteY36" fmla="*/ 38152 h 2038286"/>
              <a:gd name="connsiteX37" fmla="*/ 2331900 w 2428675"/>
              <a:gd name="connsiteY37" fmla="*/ 28627 h 2038286"/>
              <a:gd name="connsiteX38" fmla="*/ 2268400 w 2428675"/>
              <a:gd name="connsiteY38" fmla="*/ 19102 h 2038286"/>
              <a:gd name="connsiteX39" fmla="*/ 1849300 w 2428675"/>
              <a:gd name="connsiteY39" fmla="*/ 52 h 2038286"/>
              <a:gd name="connsiteX40" fmla="*/ 449125 w 2428675"/>
              <a:gd name="connsiteY40" fmla="*/ 25452 h 2038286"/>
              <a:gd name="connsiteX41" fmla="*/ 26850 w 2428675"/>
              <a:gd name="connsiteY41" fmla="*/ 57202 h 2038286"/>
              <a:gd name="connsiteX0" fmla="*/ 26850 w 2428675"/>
              <a:gd name="connsiteY0" fmla="*/ 57202 h 2038286"/>
              <a:gd name="connsiteX1" fmla="*/ 7800 w 2428675"/>
              <a:gd name="connsiteY1" fmla="*/ 403277 h 2038286"/>
              <a:gd name="connsiteX2" fmla="*/ 1450 w 2428675"/>
              <a:gd name="connsiteY2" fmla="*/ 546152 h 2038286"/>
              <a:gd name="connsiteX3" fmla="*/ 14150 w 2428675"/>
              <a:gd name="connsiteY3" fmla="*/ 908102 h 2038286"/>
              <a:gd name="connsiteX4" fmla="*/ 17325 w 2428675"/>
              <a:gd name="connsiteY4" fmla="*/ 1197027 h 2038286"/>
              <a:gd name="connsiteX5" fmla="*/ 20500 w 2428675"/>
              <a:gd name="connsiteY5" fmla="*/ 1593902 h 2038286"/>
              <a:gd name="connsiteX6" fmla="*/ 4625 w 2428675"/>
              <a:gd name="connsiteY6" fmla="*/ 1835202 h 2038286"/>
              <a:gd name="connsiteX7" fmla="*/ 10975 w 2428675"/>
              <a:gd name="connsiteY7" fmla="*/ 1863777 h 2038286"/>
              <a:gd name="connsiteX8" fmla="*/ 26850 w 2428675"/>
              <a:gd name="connsiteY8" fmla="*/ 1882827 h 2038286"/>
              <a:gd name="connsiteX9" fmla="*/ 33200 w 2428675"/>
              <a:gd name="connsiteY9" fmla="*/ 1927277 h 2038286"/>
              <a:gd name="connsiteX10" fmla="*/ 179250 w 2428675"/>
              <a:gd name="connsiteY10" fmla="*/ 1993952 h 2038286"/>
              <a:gd name="connsiteX11" fmla="*/ 226875 w 2428675"/>
              <a:gd name="connsiteY11" fmla="*/ 2000302 h 2038286"/>
              <a:gd name="connsiteX12" fmla="*/ 522150 w 2428675"/>
              <a:gd name="connsiteY12" fmla="*/ 2009827 h 2038286"/>
              <a:gd name="connsiteX13" fmla="*/ 1423850 w 2428675"/>
              <a:gd name="connsiteY13" fmla="*/ 2019352 h 2038286"/>
              <a:gd name="connsiteX14" fmla="*/ 1681025 w 2428675"/>
              <a:gd name="connsiteY14" fmla="*/ 2016177 h 2038286"/>
              <a:gd name="connsiteX15" fmla="*/ 1931850 w 2428675"/>
              <a:gd name="connsiteY15" fmla="*/ 2006652 h 2038286"/>
              <a:gd name="connsiteX16" fmla="*/ 1985825 w 2428675"/>
              <a:gd name="connsiteY16" fmla="*/ 2003477 h 2038286"/>
              <a:gd name="connsiteX17" fmla="*/ 2036625 w 2428675"/>
              <a:gd name="connsiteY17" fmla="*/ 1993952 h 2038286"/>
              <a:gd name="connsiteX18" fmla="*/ 2100125 w 2428675"/>
              <a:gd name="connsiteY18" fmla="*/ 1987602 h 2038286"/>
              <a:gd name="connsiteX19" fmla="*/ 2233475 w 2428675"/>
              <a:gd name="connsiteY19" fmla="*/ 1981252 h 2038286"/>
              <a:gd name="connsiteX20" fmla="*/ 2265225 w 2428675"/>
              <a:gd name="connsiteY20" fmla="*/ 1978077 h 2038286"/>
              <a:gd name="connsiteX21" fmla="*/ 2335075 w 2428675"/>
              <a:gd name="connsiteY21" fmla="*/ 1974902 h 2038286"/>
              <a:gd name="connsiteX22" fmla="*/ 2357300 w 2428675"/>
              <a:gd name="connsiteY22" fmla="*/ 1965377 h 2038286"/>
              <a:gd name="connsiteX23" fmla="*/ 2363650 w 2428675"/>
              <a:gd name="connsiteY23" fmla="*/ 1927277 h 2038286"/>
              <a:gd name="connsiteX24" fmla="*/ 2366825 w 2428675"/>
              <a:gd name="connsiteY24" fmla="*/ 1781227 h 2038286"/>
              <a:gd name="connsiteX25" fmla="*/ 2370000 w 2428675"/>
              <a:gd name="connsiteY25" fmla="*/ 1739952 h 2038286"/>
              <a:gd name="connsiteX26" fmla="*/ 2379525 w 2428675"/>
              <a:gd name="connsiteY26" fmla="*/ 1695502 h 2038286"/>
              <a:gd name="connsiteX27" fmla="*/ 2398575 w 2428675"/>
              <a:gd name="connsiteY27" fmla="*/ 1574852 h 2038286"/>
              <a:gd name="connsiteX28" fmla="*/ 2404925 w 2428675"/>
              <a:gd name="connsiteY28" fmla="*/ 1511352 h 2038286"/>
              <a:gd name="connsiteX29" fmla="*/ 2408100 w 2428675"/>
              <a:gd name="connsiteY29" fmla="*/ 1476427 h 2038286"/>
              <a:gd name="connsiteX30" fmla="*/ 2414450 w 2428675"/>
              <a:gd name="connsiteY30" fmla="*/ 1276402 h 2038286"/>
              <a:gd name="connsiteX31" fmla="*/ 2404925 w 2428675"/>
              <a:gd name="connsiteY31" fmla="*/ 308027 h 2038286"/>
              <a:gd name="connsiteX32" fmla="*/ 2385875 w 2428675"/>
              <a:gd name="connsiteY32" fmla="*/ 215952 h 2038286"/>
              <a:gd name="connsiteX33" fmla="*/ 2363650 w 2428675"/>
              <a:gd name="connsiteY33" fmla="*/ 136577 h 2038286"/>
              <a:gd name="connsiteX34" fmla="*/ 2350950 w 2428675"/>
              <a:gd name="connsiteY34" fmla="*/ 79427 h 2038286"/>
              <a:gd name="connsiteX35" fmla="*/ 2338250 w 2428675"/>
              <a:gd name="connsiteY35" fmla="*/ 38152 h 2038286"/>
              <a:gd name="connsiteX36" fmla="*/ 2331900 w 2428675"/>
              <a:gd name="connsiteY36" fmla="*/ 28627 h 2038286"/>
              <a:gd name="connsiteX37" fmla="*/ 2268400 w 2428675"/>
              <a:gd name="connsiteY37" fmla="*/ 19102 h 2038286"/>
              <a:gd name="connsiteX38" fmla="*/ 1849300 w 2428675"/>
              <a:gd name="connsiteY38" fmla="*/ 52 h 2038286"/>
              <a:gd name="connsiteX39" fmla="*/ 449125 w 2428675"/>
              <a:gd name="connsiteY39" fmla="*/ 25452 h 2038286"/>
              <a:gd name="connsiteX40" fmla="*/ 26850 w 2428675"/>
              <a:gd name="connsiteY40" fmla="*/ 57202 h 2038286"/>
              <a:gd name="connsiteX0" fmla="*/ 26850 w 2428675"/>
              <a:gd name="connsiteY0" fmla="*/ 57202 h 2038286"/>
              <a:gd name="connsiteX1" fmla="*/ 7800 w 2428675"/>
              <a:gd name="connsiteY1" fmla="*/ 403277 h 2038286"/>
              <a:gd name="connsiteX2" fmla="*/ 1450 w 2428675"/>
              <a:gd name="connsiteY2" fmla="*/ 546152 h 2038286"/>
              <a:gd name="connsiteX3" fmla="*/ 14150 w 2428675"/>
              <a:gd name="connsiteY3" fmla="*/ 908102 h 2038286"/>
              <a:gd name="connsiteX4" fmla="*/ 17325 w 2428675"/>
              <a:gd name="connsiteY4" fmla="*/ 1197027 h 2038286"/>
              <a:gd name="connsiteX5" fmla="*/ 20500 w 2428675"/>
              <a:gd name="connsiteY5" fmla="*/ 1593902 h 2038286"/>
              <a:gd name="connsiteX6" fmla="*/ 4625 w 2428675"/>
              <a:gd name="connsiteY6" fmla="*/ 1835202 h 2038286"/>
              <a:gd name="connsiteX7" fmla="*/ 10975 w 2428675"/>
              <a:gd name="connsiteY7" fmla="*/ 1863777 h 2038286"/>
              <a:gd name="connsiteX8" fmla="*/ 33200 w 2428675"/>
              <a:gd name="connsiteY8" fmla="*/ 1927277 h 2038286"/>
              <a:gd name="connsiteX9" fmla="*/ 179250 w 2428675"/>
              <a:gd name="connsiteY9" fmla="*/ 1993952 h 2038286"/>
              <a:gd name="connsiteX10" fmla="*/ 226875 w 2428675"/>
              <a:gd name="connsiteY10" fmla="*/ 2000302 h 2038286"/>
              <a:gd name="connsiteX11" fmla="*/ 522150 w 2428675"/>
              <a:gd name="connsiteY11" fmla="*/ 2009827 h 2038286"/>
              <a:gd name="connsiteX12" fmla="*/ 1423850 w 2428675"/>
              <a:gd name="connsiteY12" fmla="*/ 2019352 h 2038286"/>
              <a:gd name="connsiteX13" fmla="*/ 1681025 w 2428675"/>
              <a:gd name="connsiteY13" fmla="*/ 2016177 h 2038286"/>
              <a:gd name="connsiteX14" fmla="*/ 1931850 w 2428675"/>
              <a:gd name="connsiteY14" fmla="*/ 2006652 h 2038286"/>
              <a:gd name="connsiteX15" fmla="*/ 1985825 w 2428675"/>
              <a:gd name="connsiteY15" fmla="*/ 2003477 h 2038286"/>
              <a:gd name="connsiteX16" fmla="*/ 2036625 w 2428675"/>
              <a:gd name="connsiteY16" fmla="*/ 1993952 h 2038286"/>
              <a:gd name="connsiteX17" fmla="*/ 2100125 w 2428675"/>
              <a:gd name="connsiteY17" fmla="*/ 1987602 h 2038286"/>
              <a:gd name="connsiteX18" fmla="*/ 2233475 w 2428675"/>
              <a:gd name="connsiteY18" fmla="*/ 1981252 h 2038286"/>
              <a:gd name="connsiteX19" fmla="*/ 2265225 w 2428675"/>
              <a:gd name="connsiteY19" fmla="*/ 1978077 h 2038286"/>
              <a:gd name="connsiteX20" fmla="*/ 2335075 w 2428675"/>
              <a:gd name="connsiteY20" fmla="*/ 1974902 h 2038286"/>
              <a:gd name="connsiteX21" fmla="*/ 2357300 w 2428675"/>
              <a:gd name="connsiteY21" fmla="*/ 1965377 h 2038286"/>
              <a:gd name="connsiteX22" fmla="*/ 2363650 w 2428675"/>
              <a:gd name="connsiteY22" fmla="*/ 1927277 h 2038286"/>
              <a:gd name="connsiteX23" fmla="*/ 2366825 w 2428675"/>
              <a:gd name="connsiteY23" fmla="*/ 1781227 h 2038286"/>
              <a:gd name="connsiteX24" fmla="*/ 2370000 w 2428675"/>
              <a:gd name="connsiteY24" fmla="*/ 1739952 h 2038286"/>
              <a:gd name="connsiteX25" fmla="*/ 2379525 w 2428675"/>
              <a:gd name="connsiteY25" fmla="*/ 1695502 h 2038286"/>
              <a:gd name="connsiteX26" fmla="*/ 2398575 w 2428675"/>
              <a:gd name="connsiteY26" fmla="*/ 1574852 h 2038286"/>
              <a:gd name="connsiteX27" fmla="*/ 2404925 w 2428675"/>
              <a:gd name="connsiteY27" fmla="*/ 1511352 h 2038286"/>
              <a:gd name="connsiteX28" fmla="*/ 2408100 w 2428675"/>
              <a:gd name="connsiteY28" fmla="*/ 1476427 h 2038286"/>
              <a:gd name="connsiteX29" fmla="*/ 2414450 w 2428675"/>
              <a:gd name="connsiteY29" fmla="*/ 1276402 h 2038286"/>
              <a:gd name="connsiteX30" fmla="*/ 2404925 w 2428675"/>
              <a:gd name="connsiteY30" fmla="*/ 308027 h 2038286"/>
              <a:gd name="connsiteX31" fmla="*/ 2385875 w 2428675"/>
              <a:gd name="connsiteY31" fmla="*/ 215952 h 2038286"/>
              <a:gd name="connsiteX32" fmla="*/ 2363650 w 2428675"/>
              <a:gd name="connsiteY32" fmla="*/ 136577 h 2038286"/>
              <a:gd name="connsiteX33" fmla="*/ 2350950 w 2428675"/>
              <a:gd name="connsiteY33" fmla="*/ 79427 h 2038286"/>
              <a:gd name="connsiteX34" fmla="*/ 2338250 w 2428675"/>
              <a:gd name="connsiteY34" fmla="*/ 38152 h 2038286"/>
              <a:gd name="connsiteX35" fmla="*/ 2331900 w 2428675"/>
              <a:gd name="connsiteY35" fmla="*/ 28627 h 2038286"/>
              <a:gd name="connsiteX36" fmla="*/ 2268400 w 2428675"/>
              <a:gd name="connsiteY36" fmla="*/ 19102 h 2038286"/>
              <a:gd name="connsiteX37" fmla="*/ 1849300 w 2428675"/>
              <a:gd name="connsiteY37" fmla="*/ 52 h 2038286"/>
              <a:gd name="connsiteX38" fmla="*/ 449125 w 2428675"/>
              <a:gd name="connsiteY38" fmla="*/ 25452 h 2038286"/>
              <a:gd name="connsiteX39" fmla="*/ 26850 w 2428675"/>
              <a:gd name="connsiteY39" fmla="*/ 57202 h 2038286"/>
              <a:gd name="connsiteX0" fmla="*/ 26850 w 2428675"/>
              <a:gd name="connsiteY0" fmla="*/ 57202 h 2038286"/>
              <a:gd name="connsiteX1" fmla="*/ 7800 w 2428675"/>
              <a:gd name="connsiteY1" fmla="*/ 403277 h 2038286"/>
              <a:gd name="connsiteX2" fmla="*/ 1450 w 2428675"/>
              <a:gd name="connsiteY2" fmla="*/ 546152 h 2038286"/>
              <a:gd name="connsiteX3" fmla="*/ 14150 w 2428675"/>
              <a:gd name="connsiteY3" fmla="*/ 908102 h 2038286"/>
              <a:gd name="connsiteX4" fmla="*/ 17325 w 2428675"/>
              <a:gd name="connsiteY4" fmla="*/ 1197027 h 2038286"/>
              <a:gd name="connsiteX5" fmla="*/ 20500 w 2428675"/>
              <a:gd name="connsiteY5" fmla="*/ 1593902 h 2038286"/>
              <a:gd name="connsiteX6" fmla="*/ 4625 w 2428675"/>
              <a:gd name="connsiteY6" fmla="*/ 1835202 h 2038286"/>
              <a:gd name="connsiteX7" fmla="*/ 33200 w 2428675"/>
              <a:gd name="connsiteY7" fmla="*/ 1927277 h 2038286"/>
              <a:gd name="connsiteX8" fmla="*/ 179250 w 2428675"/>
              <a:gd name="connsiteY8" fmla="*/ 1993952 h 2038286"/>
              <a:gd name="connsiteX9" fmla="*/ 226875 w 2428675"/>
              <a:gd name="connsiteY9" fmla="*/ 2000302 h 2038286"/>
              <a:gd name="connsiteX10" fmla="*/ 522150 w 2428675"/>
              <a:gd name="connsiteY10" fmla="*/ 2009827 h 2038286"/>
              <a:gd name="connsiteX11" fmla="*/ 1423850 w 2428675"/>
              <a:gd name="connsiteY11" fmla="*/ 2019352 h 2038286"/>
              <a:gd name="connsiteX12" fmla="*/ 1681025 w 2428675"/>
              <a:gd name="connsiteY12" fmla="*/ 2016177 h 2038286"/>
              <a:gd name="connsiteX13" fmla="*/ 1931850 w 2428675"/>
              <a:gd name="connsiteY13" fmla="*/ 2006652 h 2038286"/>
              <a:gd name="connsiteX14" fmla="*/ 1985825 w 2428675"/>
              <a:gd name="connsiteY14" fmla="*/ 2003477 h 2038286"/>
              <a:gd name="connsiteX15" fmla="*/ 2036625 w 2428675"/>
              <a:gd name="connsiteY15" fmla="*/ 1993952 h 2038286"/>
              <a:gd name="connsiteX16" fmla="*/ 2100125 w 2428675"/>
              <a:gd name="connsiteY16" fmla="*/ 1987602 h 2038286"/>
              <a:gd name="connsiteX17" fmla="*/ 2233475 w 2428675"/>
              <a:gd name="connsiteY17" fmla="*/ 1981252 h 2038286"/>
              <a:gd name="connsiteX18" fmla="*/ 2265225 w 2428675"/>
              <a:gd name="connsiteY18" fmla="*/ 1978077 h 2038286"/>
              <a:gd name="connsiteX19" fmla="*/ 2335075 w 2428675"/>
              <a:gd name="connsiteY19" fmla="*/ 1974902 h 2038286"/>
              <a:gd name="connsiteX20" fmla="*/ 2357300 w 2428675"/>
              <a:gd name="connsiteY20" fmla="*/ 1965377 h 2038286"/>
              <a:gd name="connsiteX21" fmla="*/ 2363650 w 2428675"/>
              <a:gd name="connsiteY21" fmla="*/ 1927277 h 2038286"/>
              <a:gd name="connsiteX22" fmla="*/ 2366825 w 2428675"/>
              <a:gd name="connsiteY22" fmla="*/ 1781227 h 2038286"/>
              <a:gd name="connsiteX23" fmla="*/ 2370000 w 2428675"/>
              <a:gd name="connsiteY23" fmla="*/ 1739952 h 2038286"/>
              <a:gd name="connsiteX24" fmla="*/ 2379525 w 2428675"/>
              <a:gd name="connsiteY24" fmla="*/ 1695502 h 2038286"/>
              <a:gd name="connsiteX25" fmla="*/ 2398575 w 2428675"/>
              <a:gd name="connsiteY25" fmla="*/ 1574852 h 2038286"/>
              <a:gd name="connsiteX26" fmla="*/ 2404925 w 2428675"/>
              <a:gd name="connsiteY26" fmla="*/ 1511352 h 2038286"/>
              <a:gd name="connsiteX27" fmla="*/ 2408100 w 2428675"/>
              <a:gd name="connsiteY27" fmla="*/ 1476427 h 2038286"/>
              <a:gd name="connsiteX28" fmla="*/ 2414450 w 2428675"/>
              <a:gd name="connsiteY28" fmla="*/ 1276402 h 2038286"/>
              <a:gd name="connsiteX29" fmla="*/ 2404925 w 2428675"/>
              <a:gd name="connsiteY29" fmla="*/ 308027 h 2038286"/>
              <a:gd name="connsiteX30" fmla="*/ 2385875 w 2428675"/>
              <a:gd name="connsiteY30" fmla="*/ 215952 h 2038286"/>
              <a:gd name="connsiteX31" fmla="*/ 2363650 w 2428675"/>
              <a:gd name="connsiteY31" fmla="*/ 136577 h 2038286"/>
              <a:gd name="connsiteX32" fmla="*/ 2350950 w 2428675"/>
              <a:gd name="connsiteY32" fmla="*/ 79427 h 2038286"/>
              <a:gd name="connsiteX33" fmla="*/ 2338250 w 2428675"/>
              <a:gd name="connsiteY33" fmla="*/ 38152 h 2038286"/>
              <a:gd name="connsiteX34" fmla="*/ 2331900 w 2428675"/>
              <a:gd name="connsiteY34" fmla="*/ 28627 h 2038286"/>
              <a:gd name="connsiteX35" fmla="*/ 2268400 w 2428675"/>
              <a:gd name="connsiteY35" fmla="*/ 19102 h 2038286"/>
              <a:gd name="connsiteX36" fmla="*/ 1849300 w 2428675"/>
              <a:gd name="connsiteY36" fmla="*/ 52 h 2038286"/>
              <a:gd name="connsiteX37" fmla="*/ 449125 w 2428675"/>
              <a:gd name="connsiteY37" fmla="*/ 25452 h 2038286"/>
              <a:gd name="connsiteX38" fmla="*/ 26850 w 2428675"/>
              <a:gd name="connsiteY38" fmla="*/ 57202 h 2038286"/>
              <a:gd name="connsiteX0" fmla="*/ 26850 w 2428675"/>
              <a:gd name="connsiteY0" fmla="*/ 57202 h 2038286"/>
              <a:gd name="connsiteX1" fmla="*/ 7800 w 2428675"/>
              <a:gd name="connsiteY1" fmla="*/ 403277 h 2038286"/>
              <a:gd name="connsiteX2" fmla="*/ 1450 w 2428675"/>
              <a:gd name="connsiteY2" fmla="*/ 546152 h 2038286"/>
              <a:gd name="connsiteX3" fmla="*/ 14150 w 2428675"/>
              <a:gd name="connsiteY3" fmla="*/ 908102 h 2038286"/>
              <a:gd name="connsiteX4" fmla="*/ 17325 w 2428675"/>
              <a:gd name="connsiteY4" fmla="*/ 1197027 h 2038286"/>
              <a:gd name="connsiteX5" fmla="*/ 20500 w 2428675"/>
              <a:gd name="connsiteY5" fmla="*/ 1593902 h 2038286"/>
              <a:gd name="connsiteX6" fmla="*/ 33200 w 2428675"/>
              <a:gd name="connsiteY6" fmla="*/ 1927277 h 2038286"/>
              <a:gd name="connsiteX7" fmla="*/ 179250 w 2428675"/>
              <a:gd name="connsiteY7" fmla="*/ 1993952 h 2038286"/>
              <a:gd name="connsiteX8" fmla="*/ 226875 w 2428675"/>
              <a:gd name="connsiteY8" fmla="*/ 2000302 h 2038286"/>
              <a:gd name="connsiteX9" fmla="*/ 522150 w 2428675"/>
              <a:gd name="connsiteY9" fmla="*/ 2009827 h 2038286"/>
              <a:gd name="connsiteX10" fmla="*/ 1423850 w 2428675"/>
              <a:gd name="connsiteY10" fmla="*/ 2019352 h 2038286"/>
              <a:gd name="connsiteX11" fmla="*/ 1681025 w 2428675"/>
              <a:gd name="connsiteY11" fmla="*/ 2016177 h 2038286"/>
              <a:gd name="connsiteX12" fmla="*/ 1931850 w 2428675"/>
              <a:gd name="connsiteY12" fmla="*/ 2006652 h 2038286"/>
              <a:gd name="connsiteX13" fmla="*/ 1985825 w 2428675"/>
              <a:gd name="connsiteY13" fmla="*/ 2003477 h 2038286"/>
              <a:gd name="connsiteX14" fmla="*/ 2036625 w 2428675"/>
              <a:gd name="connsiteY14" fmla="*/ 1993952 h 2038286"/>
              <a:gd name="connsiteX15" fmla="*/ 2100125 w 2428675"/>
              <a:gd name="connsiteY15" fmla="*/ 1987602 h 2038286"/>
              <a:gd name="connsiteX16" fmla="*/ 2233475 w 2428675"/>
              <a:gd name="connsiteY16" fmla="*/ 1981252 h 2038286"/>
              <a:gd name="connsiteX17" fmla="*/ 2265225 w 2428675"/>
              <a:gd name="connsiteY17" fmla="*/ 1978077 h 2038286"/>
              <a:gd name="connsiteX18" fmla="*/ 2335075 w 2428675"/>
              <a:gd name="connsiteY18" fmla="*/ 1974902 h 2038286"/>
              <a:gd name="connsiteX19" fmla="*/ 2357300 w 2428675"/>
              <a:gd name="connsiteY19" fmla="*/ 1965377 h 2038286"/>
              <a:gd name="connsiteX20" fmla="*/ 2363650 w 2428675"/>
              <a:gd name="connsiteY20" fmla="*/ 1927277 h 2038286"/>
              <a:gd name="connsiteX21" fmla="*/ 2366825 w 2428675"/>
              <a:gd name="connsiteY21" fmla="*/ 1781227 h 2038286"/>
              <a:gd name="connsiteX22" fmla="*/ 2370000 w 2428675"/>
              <a:gd name="connsiteY22" fmla="*/ 1739952 h 2038286"/>
              <a:gd name="connsiteX23" fmla="*/ 2379525 w 2428675"/>
              <a:gd name="connsiteY23" fmla="*/ 1695502 h 2038286"/>
              <a:gd name="connsiteX24" fmla="*/ 2398575 w 2428675"/>
              <a:gd name="connsiteY24" fmla="*/ 1574852 h 2038286"/>
              <a:gd name="connsiteX25" fmla="*/ 2404925 w 2428675"/>
              <a:gd name="connsiteY25" fmla="*/ 1511352 h 2038286"/>
              <a:gd name="connsiteX26" fmla="*/ 2408100 w 2428675"/>
              <a:gd name="connsiteY26" fmla="*/ 1476427 h 2038286"/>
              <a:gd name="connsiteX27" fmla="*/ 2414450 w 2428675"/>
              <a:gd name="connsiteY27" fmla="*/ 1276402 h 2038286"/>
              <a:gd name="connsiteX28" fmla="*/ 2404925 w 2428675"/>
              <a:gd name="connsiteY28" fmla="*/ 308027 h 2038286"/>
              <a:gd name="connsiteX29" fmla="*/ 2385875 w 2428675"/>
              <a:gd name="connsiteY29" fmla="*/ 215952 h 2038286"/>
              <a:gd name="connsiteX30" fmla="*/ 2363650 w 2428675"/>
              <a:gd name="connsiteY30" fmla="*/ 136577 h 2038286"/>
              <a:gd name="connsiteX31" fmla="*/ 2350950 w 2428675"/>
              <a:gd name="connsiteY31" fmla="*/ 79427 h 2038286"/>
              <a:gd name="connsiteX32" fmla="*/ 2338250 w 2428675"/>
              <a:gd name="connsiteY32" fmla="*/ 38152 h 2038286"/>
              <a:gd name="connsiteX33" fmla="*/ 2331900 w 2428675"/>
              <a:gd name="connsiteY33" fmla="*/ 28627 h 2038286"/>
              <a:gd name="connsiteX34" fmla="*/ 2268400 w 2428675"/>
              <a:gd name="connsiteY34" fmla="*/ 19102 h 2038286"/>
              <a:gd name="connsiteX35" fmla="*/ 1849300 w 2428675"/>
              <a:gd name="connsiteY35" fmla="*/ 52 h 2038286"/>
              <a:gd name="connsiteX36" fmla="*/ 449125 w 2428675"/>
              <a:gd name="connsiteY36" fmla="*/ 25452 h 2038286"/>
              <a:gd name="connsiteX37" fmla="*/ 26850 w 2428675"/>
              <a:gd name="connsiteY37" fmla="*/ 57202 h 2038286"/>
              <a:gd name="connsiteX0" fmla="*/ 26850 w 2428675"/>
              <a:gd name="connsiteY0" fmla="*/ 57202 h 2038286"/>
              <a:gd name="connsiteX1" fmla="*/ 7800 w 2428675"/>
              <a:gd name="connsiteY1" fmla="*/ 403277 h 2038286"/>
              <a:gd name="connsiteX2" fmla="*/ 1450 w 2428675"/>
              <a:gd name="connsiteY2" fmla="*/ 546152 h 2038286"/>
              <a:gd name="connsiteX3" fmla="*/ 14150 w 2428675"/>
              <a:gd name="connsiteY3" fmla="*/ 908102 h 2038286"/>
              <a:gd name="connsiteX4" fmla="*/ 17325 w 2428675"/>
              <a:gd name="connsiteY4" fmla="*/ 1197027 h 2038286"/>
              <a:gd name="connsiteX5" fmla="*/ 20500 w 2428675"/>
              <a:gd name="connsiteY5" fmla="*/ 1593902 h 2038286"/>
              <a:gd name="connsiteX6" fmla="*/ 33200 w 2428675"/>
              <a:gd name="connsiteY6" fmla="*/ 1927277 h 2038286"/>
              <a:gd name="connsiteX7" fmla="*/ 179250 w 2428675"/>
              <a:gd name="connsiteY7" fmla="*/ 1993952 h 2038286"/>
              <a:gd name="connsiteX8" fmla="*/ 226875 w 2428675"/>
              <a:gd name="connsiteY8" fmla="*/ 2000302 h 2038286"/>
              <a:gd name="connsiteX9" fmla="*/ 522150 w 2428675"/>
              <a:gd name="connsiteY9" fmla="*/ 2009827 h 2038286"/>
              <a:gd name="connsiteX10" fmla="*/ 1423850 w 2428675"/>
              <a:gd name="connsiteY10" fmla="*/ 2019352 h 2038286"/>
              <a:gd name="connsiteX11" fmla="*/ 1681025 w 2428675"/>
              <a:gd name="connsiteY11" fmla="*/ 2016177 h 2038286"/>
              <a:gd name="connsiteX12" fmla="*/ 1931850 w 2428675"/>
              <a:gd name="connsiteY12" fmla="*/ 2006652 h 2038286"/>
              <a:gd name="connsiteX13" fmla="*/ 1985825 w 2428675"/>
              <a:gd name="connsiteY13" fmla="*/ 2003477 h 2038286"/>
              <a:gd name="connsiteX14" fmla="*/ 2036625 w 2428675"/>
              <a:gd name="connsiteY14" fmla="*/ 1993952 h 2038286"/>
              <a:gd name="connsiteX15" fmla="*/ 2100125 w 2428675"/>
              <a:gd name="connsiteY15" fmla="*/ 1987602 h 2038286"/>
              <a:gd name="connsiteX16" fmla="*/ 2233475 w 2428675"/>
              <a:gd name="connsiteY16" fmla="*/ 1981252 h 2038286"/>
              <a:gd name="connsiteX17" fmla="*/ 2265225 w 2428675"/>
              <a:gd name="connsiteY17" fmla="*/ 1978077 h 2038286"/>
              <a:gd name="connsiteX18" fmla="*/ 2335075 w 2428675"/>
              <a:gd name="connsiteY18" fmla="*/ 1974902 h 2038286"/>
              <a:gd name="connsiteX19" fmla="*/ 2357300 w 2428675"/>
              <a:gd name="connsiteY19" fmla="*/ 1965377 h 2038286"/>
              <a:gd name="connsiteX20" fmla="*/ 2363650 w 2428675"/>
              <a:gd name="connsiteY20" fmla="*/ 1927277 h 2038286"/>
              <a:gd name="connsiteX21" fmla="*/ 2366825 w 2428675"/>
              <a:gd name="connsiteY21" fmla="*/ 1781227 h 2038286"/>
              <a:gd name="connsiteX22" fmla="*/ 2370000 w 2428675"/>
              <a:gd name="connsiteY22" fmla="*/ 1739952 h 2038286"/>
              <a:gd name="connsiteX23" fmla="*/ 2379525 w 2428675"/>
              <a:gd name="connsiteY23" fmla="*/ 1695502 h 2038286"/>
              <a:gd name="connsiteX24" fmla="*/ 2398575 w 2428675"/>
              <a:gd name="connsiteY24" fmla="*/ 1574852 h 2038286"/>
              <a:gd name="connsiteX25" fmla="*/ 2404925 w 2428675"/>
              <a:gd name="connsiteY25" fmla="*/ 1511352 h 2038286"/>
              <a:gd name="connsiteX26" fmla="*/ 2408100 w 2428675"/>
              <a:gd name="connsiteY26" fmla="*/ 1476427 h 2038286"/>
              <a:gd name="connsiteX27" fmla="*/ 2414450 w 2428675"/>
              <a:gd name="connsiteY27" fmla="*/ 1276402 h 2038286"/>
              <a:gd name="connsiteX28" fmla="*/ 2404925 w 2428675"/>
              <a:gd name="connsiteY28" fmla="*/ 308027 h 2038286"/>
              <a:gd name="connsiteX29" fmla="*/ 2385875 w 2428675"/>
              <a:gd name="connsiteY29" fmla="*/ 215952 h 2038286"/>
              <a:gd name="connsiteX30" fmla="*/ 2363650 w 2428675"/>
              <a:gd name="connsiteY30" fmla="*/ 136577 h 2038286"/>
              <a:gd name="connsiteX31" fmla="*/ 2350950 w 2428675"/>
              <a:gd name="connsiteY31" fmla="*/ 79427 h 2038286"/>
              <a:gd name="connsiteX32" fmla="*/ 2338250 w 2428675"/>
              <a:gd name="connsiteY32" fmla="*/ 38152 h 2038286"/>
              <a:gd name="connsiteX33" fmla="*/ 2331900 w 2428675"/>
              <a:gd name="connsiteY33" fmla="*/ 28627 h 2038286"/>
              <a:gd name="connsiteX34" fmla="*/ 2268400 w 2428675"/>
              <a:gd name="connsiteY34" fmla="*/ 19102 h 2038286"/>
              <a:gd name="connsiteX35" fmla="*/ 1849300 w 2428675"/>
              <a:gd name="connsiteY35" fmla="*/ 52 h 2038286"/>
              <a:gd name="connsiteX36" fmla="*/ 449125 w 2428675"/>
              <a:gd name="connsiteY36" fmla="*/ 25452 h 2038286"/>
              <a:gd name="connsiteX37" fmla="*/ 26850 w 2428675"/>
              <a:gd name="connsiteY37" fmla="*/ 57202 h 2038286"/>
              <a:gd name="connsiteX0" fmla="*/ 26850 w 2428675"/>
              <a:gd name="connsiteY0" fmla="*/ 57202 h 2038286"/>
              <a:gd name="connsiteX1" fmla="*/ 7800 w 2428675"/>
              <a:gd name="connsiteY1" fmla="*/ 403277 h 2038286"/>
              <a:gd name="connsiteX2" fmla="*/ 1450 w 2428675"/>
              <a:gd name="connsiteY2" fmla="*/ 546152 h 2038286"/>
              <a:gd name="connsiteX3" fmla="*/ 14150 w 2428675"/>
              <a:gd name="connsiteY3" fmla="*/ 908102 h 2038286"/>
              <a:gd name="connsiteX4" fmla="*/ 17325 w 2428675"/>
              <a:gd name="connsiteY4" fmla="*/ 1197027 h 2038286"/>
              <a:gd name="connsiteX5" fmla="*/ 20500 w 2428675"/>
              <a:gd name="connsiteY5" fmla="*/ 1593902 h 2038286"/>
              <a:gd name="connsiteX6" fmla="*/ 33200 w 2428675"/>
              <a:gd name="connsiteY6" fmla="*/ 1927277 h 2038286"/>
              <a:gd name="connsiteX7" fmla="*/ 179250 w 2428675"/>
              <a:gd name="connsiteY7" fmla="*/ 1993952 h 2038286"/>
              <a:gd name="connsiteX8" fmla="*/ 522150 w 2428675"/>
              <a:gd name="connsiteY8" fmla="*/ 2009827 h 2038286"/>
              <a:gd name="connsiteX9" fmla="*/ 1423850 w 2428675"/>
              <a:gd name="connsiteY9" fmla="*/ 2019352 h 2038286"/>
              <a:gd name="connsiteX10" fmla="*/ 1681025 w 2428675"/>
              <a:gd name="connsiteY10" fmla="*/ 2016177 h 2038286"/>
              <a:gd name="connsiteX11" fmla="*/ 1931850 w 2428675"/>
              <a:gd name="connsiteY11" fmla="*/ 2006652 h 2038286"/>
              <a:gd name="connsiteX12" fmla="*/ 1985825 w 2428675"/>
              <a:gd name="connsiteY12" fmla="*/ 2003477 h 2038286"/>
              <a:gd name="connsiteX13" fmla="*/ 2036625 w 2428675"/>
              <a:gd name="connsiteY13" fmla="*/ 1993952 h 2038286"/>
              <a:gd name="connsiteX14" fmla="*/ 2100125 w 2428675"/>
              <a:gd name="connsiteY14" fmla="*/ 1987602 h 2038286"/>
              <a:gd name="connsiteX15" fmla="*/ 2233475 w 2428675"/>
              <a:gd name="connsiteY15" fmla="*/ 1981252 h 2038286"/>
              <a:gd name="connsiteX16" fmla="*/ 2265225 w 2428675"/>
              <a:gd name="connsiteY16" fmla="*/ 1978077 h 2038286"/>
              <a:gd name="connsiteX17" fmla="*/ 2335075 w 2428675"/>
              <a:gd name="connsiteY17" fmla="*/ 1974902 h 2038286"/>
              <a:gd name="connsiteX18" fmla="*/ 2357300 w 2428675"/>
              <a:gd name="connsiteY18" fmla="*/ 1965377 h 2038286"/>
              <a:gd name="connsiteX19" fmla="*/ 2363650 w 2428675"/>
              <a:gd name="connsiteY19" fmla="*/ 1927277 h 2038286"/>
              <a:gd name="connsiteX20" fmla="*/ 2366825 w 2428675"/>
              <a:gd name="connsiteY20" fmla="*/ 1781227 h 2038286"/>
              <a:gd name="connsiteX21" fmla="*/ 2370000 w 2428675"/>
              <a:gd name="connsiteY21" fmla="*/ 1739952 h 2038286"/>
              <a:gd name="connsiteX22" fmla="*/ 2379525 w 2428675"/>
              <a:gd name="connsiteY22" fmla="*/ 1695502 h 2038286"/>
              <a:gd name="connsiteX23" fmla="*/ 2398575 w 2428675"/>
              <a:gd name="connsiteY23" fmla="*/ 1574852 h 2038286"/>
              <a:gd name="connsiteX24" fmla="*/ 2404925 w 2428675"/>
              <a:gd name="connsiteY24" fmla="*/ 1511352 h 2038286"/>
              <a:gd name="connsiteX25" fmla="*/ 2408100 w 2428675"/>
              <a:gd name="connsiteY25" fmla="*/ 1476427 h 2038286"/>
              <a:gd name="connsiteX26" fmla="*/ 2414450 w 2428675"/>
              <a:gd name="connsiteY26" fmla="*/ 1276402 h 2038286"/>
              <a:gd name="connsiteX27" fmla="*/ 2404925 w 2428675"/>
              <a:gd name="connsiteY27" fmla="*/ 308027 h 2038286"/>
              <a:gd name="connsiteX28" fmla="*/ 2385875 w 2428675"/>
              <a:gd name="connsiteY28" fmla="*/ 215952 h 2038286"/>
              <a:gd name="connsiteX29" fmla="*/ 2363650 w 2428675"/>
              <a:gd name="connsiteY29" fmla="*/ 136577 h 2038286"/>
              <a:gd name="connsiteX30" fmla="*/ 2350950 w 2428675"/>
              <a:gd name="connsiteY30" fmla="*/ 79427 h 2038286"/>
              <a:gd name="connsiteX31" fmla="*/ 2338250 w 2428675"/>
              <a:gd name="connsiteY31" fmla="*/ 38152 h 2038286"/>
              <a:gd name="connsiteX32" fmla="*/ 2331900 w 2428675"/>
              <a:gd name="connsiteY32" fmla="*/ 28627 h 2038286"/>
              <a:gd name="connsiteX33" fmla="*/ 2268400 w 2428675"/>
              <a:gd name="connsiteY33" fmla="*/ 19102 h 2038286"/>
              <a:gd name="connsiteX34" fmla="*/ 1849300 w 2428675"/>
              <a:gd name="connsiteY34" fmla="*/ 52 h 2038286"/>
              <a:gd name="connsiteX35" fmla="*/ 449125 w 2428675"/>
              <a:gd name="connsiteY35" fmla="*/ 25452 h 2038286"/>
              <a:gd name="connsiteX36" fmla="*/ 26850 w 2428675"/>
              <a:gd name="connsiteY36" fmla="*/ 57202 h 2038286"/>
              <a:gd name="connsiteX0" fmla="*/ 26850 w 2428675"/>
              <a:gd name="connsiteY0" fmla="*/ 57202 h 2019352"/>
              <a:gd name="connsiteX1" fmla="*/ 7800 w 2428675"/>
              <a:gd name="connsiteY1" fmla="*/ 403277 h 2019352"/>
              <a:gd name="connsiteX2" fmla="*/ 1450 w 2428675"/>
              <a:gd name="connsiteY2" fmla="*/ 546152 h 2019352"/>
              <a:gd name="connsiteX3" fmla="*/ 14150 w 2428675"/>
              <a:gd name="connsiteY3" fmla="*/ 908102 h 2019352"/>
              <a:gd name="connsiteX4" fmla="*/ 17325 w 2428675"/>
              <a:gd name="connsiteY4" fmla="*/ 1197027 h 2019352"/>
              <a:gd name="connsiteX5" fmla="*/ 20500 w 2428675"/>
              <a:gd name="connsiteY5" fmla="*/ 1593902 h 2019352"/>
              <a:gd name="connsiteX6" fmla="*/ 33200 w 2428675"/>
              <a:gd name="connsiteY6" fmla="*/ 1927277 h 2019352"/>
              <a:gd name="connsiteX7" fmla="*/ 179250 w 2428675"/>
              <a:gd name="connsiteY7" fmla="*/ 1993952 h 2019352"/>
              <a:gd name="connsiteX8" fmla="*/ 1423850 w 2428675"/>
              <a:gd name="connsiteY8" fmla="*/ 2019352 h 2019352"/>
              <a:gd name="connsiteX9" fmla="*/ 1681025 w 2428675"/>
              <a:gd name="connsiteY9" fmla="*/ 2016177 h 2019352"/>
              <a:gd name="connsiteX10" fmla="*/ 1931850 w 2428675"/>
              <a:gd name="connsiteY10" fmla="*/ 2006652 h 2019352"/>
              <a:gd name="connsiteX11" fmla="*/ 1985825 w 2428675"/>
              <a:gd name="connsiteY11" fmla="*/ 2003477 h 2019352"/>
              <a:gd name="connsiteX12" fmla="*/ 2036625 w 2428675"/>
              <a:gd name="connsiteY12" fmla="*/ 1993952 h 2019352"/>
              <a:gd name="connsiteX13" fmla="*/ 2100125 w 2428675"/>
              <a:gd name="connsiteY13" fmla="*/ 1987602 h 2019352"/>
              <a:gd name="connsiteX14" fmla="*/ 2233475 w 2428675"/>
              <a:gd name="connsiteY14" fmla="*/ 1981252 h 2019352"/>
              <a:gd name="connsiteX15" fmla="*/ 2265225 w 2428675"/>
              <a:gd name="connsiteY15" fmla="*/ 1978077 h 2019352"/>
              <a:gd name="connsiteX16" fmla="*/ 2335075 w 2428675"/>
              <a:gd name="connsiteY16" fmla="*/ 1974902 h 2019352"/>
              <a:gd name="connsiteX17" fmla="*/ 2357300 w 2428675"/>
              <a:gd name="connsiteY17" fmla="*/ 1965377 h 2019352"/>
              <a:gd name="connsiteX18" fmla="*/ 2363650 w 2428675"/>
              <a:gd name="connsiteY18" fmla="*/ 1927277 h 2019352"/>
              <a:gd name="connsiteX19" fmla="*/ 2366825 w 2428675"/>
              <a:gd name="connsiteY19" fmla="*/ 1781227 h 2019352"/>
              <a:gd name="connsiteX20" fmla="*/ 2370000 w 2428675"/>
              <a:gd name="connsiteY20" fmla="*/ 1739952 h 2019352"/>
              <a:gd name="connsiteX21" fmla="*/ 2379525 w 2428675"/>
              <a:gd name="connsiteY21" fmla="*/ 1695502 h 2019352"/>
              <a:gd name="connsiteX22" fmla="*/ 2398575 w 2428675"/>
              <a:gd name="connsiteY22" fmla="*/ 1574852 h 2019352"/>
              <a:gd name="connsiteX23" fmla="*/ 2404925 w 2428675"/>
              <a:gd name="connsiteY23" fmla="*/ 1511352 h 2019352"/>
              <a:gd name="connsiteX24" fmla="*/ 2408100 w 2428675"/>
              <a:gd name="connsiteY24" fmla="*/ 1476427 h 2019352"/>
              <a:gd name="connsiteX25" fmla="*/ 2414450 w 2428675"/>
              <a:gd name="connsiteY25" fmla="*/ 1276402 h 2019352"/>
              <a:gd name="connsiteX26" fmla="*/ 2404925 w 2428675"/>
              <a:gd name="connsiteY26" fmla="*/ 308027 h 2019352"/>
              <a:gd name="connsiteX27" fmla="*/ 2385875 w 2428675"/>
              <a:gd name="connsiteY27" fmla="*/ 215952 h 2019352"/>
              <a:gd name="connsiteX28" fmla="*/ 2363650 w 2428675"/>
              <a:gd name="connsiteY28" fmla="*/ 136577 h 2019352"/>
              <a:gd name="connsiteX29" fmla="*/ 2350950 w 2428675"/>
              <a:gd name="connsiteY29" fmla="*/ 79427 h 2019352"/>
              <a:gd name="connsiteX30" fmla="*/ 2338250 w 2428675"/>
              <a:gd name="connsiteY30" fmla="*/ 38152 h 2019352"/>
              <a:gd name="connsiteX31" fmla="*/ 2331900 w 2428675"/>
              <a:gd name="connsiteY31" fmla="*/ 28627 h 2019352"/>
              <a:gd name="connsiteX32" fmla="*/ 2268400 w 2428675"/>
              <a:gd name="connsiteY32" fmla="*/ 19102 h 2019352"/>
              <a:gd name="connsiteX33" fmla="*/ 1849300 w 2428675"/>
              <a:gd name="connsiteY33" fmla="*/ 52 h 2019352"/>
              <a:gd name="connsiteX34" fmla="*/ 449125 w 2428675"/>
              <a:gd name="connsiteY34" fmla="*/ 25452 h 2019352"/>
              <a:gd name="connsiteX35" fmla="*/ 26850 w 2428675"/>
              <a:gd name="connsiteY35" fmla="*/ 57202 h 2019352"/>
              <a:gd name="connsiteX0" fmla="*/ 26850 w 2428675"/>
              <a:gd name="connsiteY0" fmla="*/ 57202 h 2016177"/>
              <a:gd name="connsiteX1" fmla="*/ 7800 w 2428675"/>
              <a:gd name="connsiteY1" fmla="*/ 403277 h 2016177"/>
              <a:gd name="connsiteX2" fmla="*/ 1450 w 2428675"/>
              <a:gd name="connsiteY2" fmla="*/ 546152 h 2016177"/>
              <a:gd name="connsiteX3" fmla="*/ 14150 w 2428675"/>
              <a:gd name="connsiteY3" fmla="*/ 908102 h 2016177"/>
              <a:gd name="connsiteX4" fmla="*/ 17325 w 2428675"/>
              <a:gd name="connsiteY4" fmla="*/ 1197027 h 2016177"/>
              <a:gd name="connsiteX5" fmla="*/ 20500 w 2428675"/>
              <a:gd name="connsiteY5" fmla="*/ 1593902 h 2016177"/>
              <a:gd name="connsiteX6" fmla="*/ 33200 w 2428675"/>
              <a:gd name="connsiteY6" fmla="*/ 1927277 h 2016177"/>
              <a:gd name="connsiteX7" fmla="*/ 179250 w 2428675"/>
              <a:gd name="connsiteY7" fmla="*/ 1993952 h 2016177"/>
              <a:gd name="connsiteX8" fmla="*/ 1160325 w 2428675"/>
              <a:gd name="connsiteY8" fmla="*/ 1974902 h 2016177"/>
              <a:gd name="connsiteX9" fmla="*/ 1681025 w 2428675"/>
              <a:gd name="connsiteY9" fmla="*/ 2016177 h 2016177"/>
              <a:gd name="connsiteX10" fmla="*/ 1931850 w 2428675"/>
              <a:gd name="connsiteY10" fmla="*/ 2006652 h 2016177"/>
              <a:gd name="connsiteX11" fmla="*/ 1985825 w 2428675"/>
              <a:gd name="connsiteY11" fmla="*/ 2003477 h 2016177"/>
              <a:gd name="connsiteX12" fmla="*/ 2036625 w 2428675"/>
              <a:gd name="connsiteY12" fmla="*/ 1993952 h 2016177"/>
              <a:gd name="connsiteX13" fmla="*/ 2100125 w 2428675"/>
              <a:gd name="connsiteY13" fmla="*/ 1987602 h 2016177"/>
              <a:gd name="connsiteX14" fmla="*/ 2233475 w 2428675"/>
              <a:gd name="connsiteY14" fmla="*/ 1981252 h 2016177"/>
              <a:gd name="connsiteX15" fmla="*/ 2265225 w 2428675"/>
              <a:gd name="connsiteY15" fmla="*/ 1978077 h 2016177"/>
              <a:gd name="connsiteX16" fmla="*/ 2335075 w 2428675"/>
              <a:gd name="connsiteY16" fmla="*/ 1974902 h 2016177"/>
              <a:gd name="connsiteX17" fmla="*/ 2357300 w 2428675"/>
              <a:gd name="connsiteY17" fmla="*/ 1965377 h 2016177"/>
              <a:gd name="connsiteX18" fmla="*/ 2363650 w 2428675"/>
              <a:gd name="connsiteY18" fmla="*/ 1927277 h 2016177"/>
              <a:gd name="connsiteX19" fmla="*/ 2366825 w 2428675"/>
              <a:gd name="connsiteY19" fmla="*/ 1781227 h 2016177"/>
              <a:gd name="connsiteX20" fmla="*/ 2370000 w 2428675"/>
              <a:gd name="connsiteY20" fmla="*/ 1739952 h 2016177"/>
              <a:gd name="connsiteX21" fmla="*/ 2379525 w 2428675"/>
              <a:gd name="connsiteY21" fmla="*/ 1695502 h 2016177"/>
              <a:gd name="connsiteX22" fmla="*/ 2398575 w 2428675"/>
              <a:gd name="connsiteY22" fmla="*/ 1574852 h 2016177"/>
              <a:gd name="connsiteX23" fmla="*/ 2404925 w 2428675"/>
              <a:gd name="connsiteY23" fmla="*/ 1511352 h 2016177"/>
              <a:gd name="connsiteX24" fmla="*/ 2408100 w 2428675"/>
              <a:gd name="connsiteY24" fmla="*/ 1476427 h 2016177"/>
              <a:gd name="connsiteX25" fmla="*/ 2414450 w 2428675"/>
              <a:gd name="connsiteY25" fmla="*/ 1276402 h 2016177"/>
              <a:gd name="connsiteX26" fmla="*/ 2404925 w 2428675"/>
              <a:gd name="connsiteY26" fmla="*/ 308027 h 2016177"/>
              <a:gd name="connsiteX27" fmla="*/ 2385875 w 2428675"/>
              <a:gd name="connsiteY27" fmla="*/ 215952 h 2016177"/>
              <a:gd name="connsiteX28" fmla="*/ 2363650 w 2428675"/>
              <a:gd name="connsiteY28" fmla="*/ 136577 h 2016177"/>
              <a:gd name="connsiteX29" fmla="*/ 2350950 w 2428675"/>
              <a:gd name="connsiteY29" fmla="*/ 79427 h 2016177"/>
              <a:gd name="connsiteX30" fmla="*/ 2338250 w 2428675"/>
              <a:gd name="connsiteY30" fmla="*/ 38152 h 2016177"/>
              <a:gd name="connsiteX31" fmla="*/ 2331900 w 2428675"/>
              <a:gd name="connsiteY31" fmla="*/ 28627 h 2016177"/>
              <a:gd name="connsiteX32" fmla="*/ 2268400 w 2428675"/>
              <a:gd name="connsiteY32" fmla="*/ 19102 h 2016177"/>
              <a:gd name="connsiteX33" fmla="*/ 1849300 w 2428675"/>
              <a:gd name="connsiteY33" fmla="*/ 52 h 2016177"/>
              <a:gd name="connsiteX34" fmla="*/ 449125 w 2428675"/>
              <a:gd name="connsiteY34" fmla="*/ 25452 h 2016177"/>
              <a:gd name="connsiteX35" fmla="*/ 26850 w 2428675"/>
              <a:gd name="connsiteY35" fmla="*/ 57202 h 2016177"/>
              <a:gd name="connsiteX0" fmla="*/ 26850 w 2428675"/>
              <a:gd name="connsiteY0" fmla="*/ 57202 h 2006652"/>
              <a:gd name="connsiteX1" fmla="*/ 7800 w 2428675"/>
              <a:gd name="connsiteY1" fmla="*/ 403277 h 2006652"/>
              <a:gd name="connsiteX2" fmla="*/ 1450 w 2428675"/>
              <a:gd name="connsiteY2" fmla="*/ 546152 h 2006652"/>
              <a:gd name="connsiteX3" fmla="*/ 14150 w 2428675"/>
              <a:gd name="connsiteY3" fmla="*/ 908102 h 2006652"/>
              <a:gd name="connsiteX4" fmla="*/ 17325 w 2428675"/>
              <a:gd name="connsiteY4" fmla="*/ 1197027 h 2006652"/>
              <a:gd name="connsiteX5" fmla="*/ 20500 w 2428675"/>
              <a:gd name="connsiteY5" fmla="*/ 1593902 h 2006652"/>
              <a:gd name="connsiteX6" fmla="*/ 33200 w 2428675"/>
              <a:gd name="connsiteY6" fmla="*/ 1927277 h 2006652"/>
              <a:gd name="connsiteX7" fmla="*/ 179250 w 2428675"/>
              <a:gd name="connsiteY7" fmla="*/ 1993952 h 2006652"/>
              <a:gd name="connsiteX8" fmla="*/ 1160325 w 2428675"/>
              <a:gd name="connsiteY8" fmla="*/ 1974902 h 2006652"/>
              <a:gd name="connsiteX9" fmla="*/ 1690550 w 2428675"/>
              <a:gd name="connsiteY9" fmla="*/ 1993952 h 2006652"/>
              <a:gd name="connsiteX10" fmla="*/ 1931850 w 2428675"/>
              <a:gd name="connsiteY10" fmla="*/ 2006652 h 2006652"/>
              <a:gd name="connsiteX11" fmla="*/ 1985825 w 2428675"/>
              <a:gd name="connsiteY11" fmla="*/ 2003477 h 2006652"/>
              <a:gd name="connsiteX12" fmla="*/ 2036625 w 2428675"/>
              <a:gd name="connsiteY12" fmla="*/ 1993952 h 2006652"/>
              <a:gd name="connsiteX13" fmla="*/ 2100125 w 2428675"/>
              <a:gd name="connsiteY13" fmla="*/ 1987602 h 2006652"/>
              <a:gd name="connsiteX14" fmla="*/ 2233475 w 2428675"/>
              <a:gd name="connsiteY14" fmla="*/ 1981252 h 2006652"/>
              <a:gd name="connsiteX15" fmla="*/ 2265225 w 2428675"/>
              <a:gd name="connsiteY15" fmla="*/ 1978077 h 2006652"/>
              <a:gd name="connsiteX16" fmla="*/ 2335075 w 2428675"/>
              <a:gd name="connsiteY16" fmla="*/ 1974902 h 2006652"/>
              <a:gd name="connsiteX17" fmla="*/ 2357300 w 2428675"/>
              <a:gd name="connsiteY17" fmla="*/ 1965377 h 2006652"/>
              <a:gd name="connsiteX18" fmla="*/ 2363650 w 2428675"/>
              <a:gd name="connsiteY18" fmla="*/ 1927277 h 2006652"/>
              <a:gd name="connsiteX19" fmla="*/ 2366825 w 2428675"/>
              <a:gd name="connsiteY19" fmla="*/ 1781227 h 2006652"/>
              <a:gd name="connsiteX20" fmla="*/ 2370000 w 2428675"/>
              <a:gd name="connsiteY20" fmla="*/ 1739952 h 2006652"/>
              <a:gd name="connsiteX21" fmla="*/ 2379525 w 2428675"/>
              <a:gd name="connsiteY21" fmla="*/ 1695502 h 2006652"/>
              <a:gd name="connsiteX22" fmla="*/ 2398575 w 2428675"/>
              <a:gd name="connsiteY22" fmla="*/ 1574852 h 2006652"/>
              <a:gd name="connsiteX23" fmla="*/ 2404925 w 2428675"/>
              <a:gd name="connsiteY23" fmla="*/ 1511352 h 2006652"/>
              <a:gd name="connsiteX24" fmla="*/ 2408100 w 2428675"/>
              <a:gd name="connsiteY24" fmla="*/ 1476427 h 2006652"/>
              <a:gd name="connsiteX25" fmla="*/ 2414450 w 2428675"/>
              <a:gd name="connsiteY25" fmla="*/ 1276402 h 2006652"/>
              <a:gd name="connsiteX26" fmla="*/ 2404925 w 2428675"/>
              <a:gd name="connsiteY26" fmla="*/ 308027 h 2006652"/>
              <a:gd name="connsiteX27" fmla="*/ 2385875 w 2428675"/>
              <a:gd name="connsiteY27" fmla="*/ 215952 h 2006652"/>
              <a:gd name="connsiteX28" fmla="*/ 2363650 w 2428675"/>
              <a:gd name="connsiteY28" fmla="*/ 136577 h 2006652"/>
              <a:gd name="connsiteX29" fmla="*/ 2350950 w 2428675"/>
              <a:gd name="connsiteY29" fmla="*/ 79427 h 2006652"/>
              <a:gd name="connsiteX30" fmla="*/ 2338250 w 2428675"/>
              <a:gd name="connsiteY30" fmla="*/ 38152 h 2006652"/>
              <a:gd name="connsiteX31" fmla="*/ 2331900 w 2428675"/>
              <a:gd name="connsiteY31" fmla="*/ 28627 h 2006652"/>
              <a:gd name="connsiteX32" fmla="*/ 2268400 w 2428675"/>
              <a:gd name="connsiteY32" fmla="*/ 19102 h 2006652"/>
              <a:gd name="connsiteX33" fmla="*/ 1849300 w 2428675"/>
              <a:gd name="connsiteY33" fmla="*/ 52 h 2006652"/>
              <a:gd name="connsiteX34" fmla="*/ 449125 w 2428675"/>
              <a:gd name="connsiteY34" fmla="*/ 25452 h 2006652"/>
              <a:gd name="connsiteX35" fmla="*/ 26850 w 2428675"/>
              <a:gd name="connsiteY35" fmla="*/ 57202 h 2006652"/>
              <a:gd name="connsiteX0" fmla="*/ 26850 w 2428675"/>
              <a:gd name="connsiteY0" fmla="*/ 57202 h 2003477"/>
              <a:gd name="connsiteX1" fmla="*/ 7800 w 2428675"/>
              <a:gd name="connsiteY1" fmla="*/ 403277 h 2003477"/>
              <a:gd name="connsiteX2" fmla="*/ 1450 w 2428675"/>
              <a:gd name="connsiteY2" fmla="*/ 546152 h 2003477"/>
              <a:gd name="connsiteX3" fmla="*/ 14150 w 2428675"/>
              <a:gd name="connsiteY3" fmla="*/ 908102 h 2003477"/>
              <a:gd name="connsiteX4" fmla="*/ 17325 w 2428675"/>
              <a:gd name="connsiteY4" fmla="*/ 1197027 h 2003477"/>
              <a:gd name="connsiteX5" fmla="*/ 20500 w 2428675"/>
              <a:gd name="connsiteY5" fmla="*/ 1593902 h 2003477"/>
              <a:gd name="connsiteX6" fmla="*/ 33200 w 2428675"/>
              <a:gd name="connsiteY6" fmla="*/ 1927277 h 2003477"/>
              <a:gd name="connsiteX7" fmla="*/ 179250 w 2428675"/>
              <a:gd name="connsiteY7" fmla="*/ 1993952 h 2003477"/>
              <a:gd name="connsiteX8" fmla="*/ 1160325 w 2428675"/>
              <a:gd name="connsiteY8" fmla="*/ 1974902 h 2003477"/>
              <a:gd name="connsiteX9" fmla="*/ 1690550 w 2428675"/>
              <a:gd name="connsiteY9" fmla="*/ 1993952 h 2003477"/>
              <a:gd name="connsiteX10" fmla="*/ 1985825 w 2428675"/>
              <a:gd name="connsiteY10" fmla="*/ 2003477 h 2003477"/>
              <a:gd name="connsiteX11" fmla="*/ 2036625 w 2428675"/>
              <a:gd name="connsiteY11" fmla="*/ 1993952 h 2003477"/>
              <a:gd name="connsiteX12" fmla="*/ 2100125 w 2428675"/>
              <a:gd name="connsiteY12" fmla="*/ 1987602 h 2003477"/>
              <a:gd name="connsiteX13" fmla="*/ 2233475 w 2428675"/>
              <a:gd name="connsiteY13" fmla="*/ 1981252 h 2003477"/>
              <a:gd name="connsiteX14" fmla="*/ 2265225 w 2428675"/>
              <a:gd name="connsiteY14" fmla="*/ 1978077 h 2003477"/>
              <a:gd name="connsiteX15" fmla="*/ 2335075 w 2428675"/>
              <a:gd name="connsiteY15" fmla="*/ 1974902 h 2003477"/>
              <a:gd name="connsiteX16" fmla="*/ 2357300 w 2428675"/>
              <a:gd name="connsiteY16" fmla="*/ 1965377 h 2003477"/>
              <a:gd name="connsiteX17" fmla="*/ 2363650 w 2428675"/>
              <a:gd name="connsiteY17" fmla="*/ 1927277 h 2003477"/>
              <a:gd name="connsiteX18" fmla="*/ 2366825 w 2428675"/>
              <a:gd name="connsiteY18" fmla="*/ 1781227 h 2003477"/>
              <a:gd name="connsiteX19" fmla="*/ 2370000 w 2428675"/>
              <a:gd name="connsiteY19" fmla="*/ 1739952 h 2003477"/>
              <a:gd name="connsiteX20" fmla="*/ 2379525 w 2428675"/>
              <a:gd name="connsiteY20" fmla="*/ 1695502 h 2003477"/>
              <a:gd name="connsiteX21" fmla="*/ 2398575 w 2428675"/>
              <a:gd name="connsiteY21" fmla="*/ 1574852 h 2003477"/>
              <a:gd name="connsiteX22" fmla="*/ 2404925 w 2428675"/>
              <a:gd name="connsiteY22" fmla="*/ 1511352 h 2003477"/>
              <a:gd name="connsiteX23" fmla="*/ 2408100 w 2428675"/>
              <a:gd name="connsiteY23" fmla="*/ 1476427 h 2003477"/>
              <a:gd name="connsiteX24" fmla="*/ 2414450 w 2428675"/>
              <a:gd name="connsiteY24" fmla="*/ 1276402 h 2003477"/>
              <a:gd name="connsiteX25" fmla="*/ 2404925 w 2428675"/>
              <a:gd name="connsiteY25" fmla="*/ 308027 h 2003477"/>
              <a:gd name="connsiteX26" fmla="*/ 2385875 w 2428675"/>
              <a:gd name="connsiteY26" fmla="*/ 215952 h 2003477"/>
              <a:gd name="connsiteX27" fmla="*/ 2363650 w 2428675"/>
              <a:gd name="connsiteY27" fmla="*/ 136577 h 2003477"/>
              <a:gd name="connsiteX28" fmla="*/ 2350950 w 2428675"/>
              <a:gd name="connsiteY28" fmla="*/ 79427 h 2003477"/>
              <a:gd name="connsiteX29" fmla="*/ 2338250 w 2428675"/>
              <a:gd name="connsiteY29" fmla="*/ 38152 h 2003477"/>
              <a:gd name="connsiteX30" fmla="*/ 2331900 w 2428675"/>
              <a:gd name="connsiteY30" fmla="*/ 28627 h 2003477"/>
              <a:gd name="connsiteX31" fmla="*/ 2268400 w 2428675"/>
              <a:gd name="connsiteY31" fmla="*/ 19102 h 2003477"/>
              <a:gd name="connsiteX32" fmla="*/ 1849300 w 2428675"/>
              <a:gd name="connsiteY32" fmla="*/ 52 h 2003477"/>
              <a:gd name="connsiteX33" fmla="*/ 449125 w 2428675"/>
              <a:gd name="connsiteY33" fmla="*/ 25452 h 2003477"/>
              <a:gd name="connsiteX34" fmla="*/ 26850 w 2428675"/>
              <a:gd name="connsiteY34" fmla="*/ 57202 h 2003477"/>
              <a:gd name="connsiteX0" fmla="*/ 26850 w 2428675"/>
              <a:gd name="connsiteY0" fmla="*/ 57202 h 2003579"/>
              <a:gd name="connsiteX1" fmla="*/ 7800 w 2428675"/>
              <a:gd name="connsiteY1" fmla="*/ 403277 h 2003579"/>
              <a:gd name="connsiteX2" fmla="*/ 1450 w 2428675"/>
              <a:gd name="connsiteY2" fmla="*/ 546152 h 2003579"/>
              <a:gd name="connsiteX3" fmla="*/ 14150 w 2428675"/>
              <a:gd name="connsiteY3" fmla="*/ 908102 h 2003579"/>
              <a:gd name="connsiteX4" fmla="*/ 17325 w 2428675"/>
              <a:gd name="connsiteY4" fmla="*/ 1197027 h 2003579"/>
              <a:gd name="connsiteX5" fmla="*/ 20500 w 2428675"/>
              <a:gd name="connsiteY5" fmla="*/ 1593902 h 2003579"/>
              <a:gd name="connsiteX6" fmla="*/ 33200 w 2428675"/>
              <a:gd name="connsiteY6" fmla="*/ 1927277 h 2003579"/>
              <a:gd name="connsiteX7" fmla="*/ 179250 w 2428675"/>
              <a:gd name="connsiteY7" fmla="*/ 1993952 h 2003579"/>
              <a:gd name="connsiteX8" fmla="*/ 1160325 w 2428675"/>
              <a:gd name="connsiteY8" fmla="*/ 1974902 h 2003579"/>
              <a:gd name="connsiteX9" fmla="*/ 1690550 w 2428675"/>
              <a:gd name="connsiteY9" fmla="*/ 1993952 h 2003579"/>
              <a:gd name="connsiteX10" fmla="*/ 1985825 w 2428675"/>
              <a:gd name="connsiteY10" fmla="*/ 2003477 h 2003579"/>
              <a:gd name="connsiteX11" fmla="*/ 2100125 w 2428675"/>
              <a:gd name="connsiteY11" fmla="*/ 1987602 h 2003579"/>
              <a:gd name="connsiteX12" fmla="*/ 2233475 w 2428675"/>
              <a:gd name="connsiteY12" fmla="*/ 1981252 h 2003579"/>
              <a:gd name="connsiteX13" fmla="*/ 2265225 w 2428675"/>
              <a:gd name="connsiteY13" fmla="*/ 1978077 h 2003579"/>
              <a:gd name="connsiteX14" fmla="*/ 2335075 w 2428675"/>
              <a:gd name="connsiteY14" fmla="*/ 1974902 h 2003579"/>
              <a:gd name="connsiteX15" fmla="*/ 2357300 w 2428675"/>
              <a:gd name="connsiteY15" fmla="*/ 1965377 h 2003579"/>
              <a:gd name="connsiteX16" fmla="*/ 2363650 w 2428675"/>
              <a:gd name="connsiteY16" fmla="*/ 1927277 h 2003579"/>
              <a:gd name="connsiteX17" fmla="*/ 2366825 w 2428675"/>
              <a:gd name="connsiteY17" fmla="*/ 1781227 h 2003579"/>
              <a:gd name="connsiteX18" fmla="*/ 2370000 w 2428675"/>
              <a:gd name="connsiteY18" fmla="*/ 1739952 h 2003579"/>
              <a:gd name="connsiteX19" fmla="*/ 2379525 w 2428675"/>
              <a:gd name="connsiteY19" fmla="*/ 1695502 h 2003579"/>
              <a:gd name="connsiteX20" fmla="*/ 2398575 w 2428675"/>
              <a:gd name="connsiteY20" fmla="*/ 1574852 h 2003579"/>
              <a:gd name="connsiteX21" fmla="*/ 2404925 w 2428675"/>
              <a:gd name="connsiteY21" fmla="*/ 1511352 h 2003579"/>
              <a:gd name="connsiteX22" fmla="*/ 2408100 w 2428675"/>
              <a:gd name="connsiteY22" fmla="*/ 1476427 h 2003579"/>
              <a:gd name="connsiteX23" fmla="*/ 2414450 w 2428675"/>
              <a:gd name="connsiteY23" fmla="*/ 1276402 h 2003579"/>
              <a:gd name="connsiteX24" fmla="*/ 2404925 w 2428675"/>
              <a:gd name="connsiteY24" fmla="*/ 308027 h 2003579"/>
              <a:gd name="connsiteX25" fmla="*/ 2385875 w 2428675"/>
              <a:gd name="connsiteY25" fmla="*/ 215952 h 2003579"/>
              <a:gd name="connsiteX26" fmla="*/ 2363650 w 2428675"/>
              <a:gd name="connsiteY26" fmla="*/ 136577 h 2003579"/>
              <a:gd name="connsiteX27" fmla="*/ 2350950 w 2428675"/>
              <a:gd name="connsiteY27" fmla="*/ 79427 h 2003579"/>
              <a:gd name="connsiteX28" fmla="*/ 2338250 w 2428675"/>
              <a:gd name="connsiteY28" fmla="*/ 38152 h 2003579"/>
              <a:gd name="connsiteX29" fmla="*/ 2331900 w 2428675"/>
              <a:gd name="connsiteY29" fmla="*/ 28627 h 2003579"/>
              <a:gd name="connsiteX30" fmla="*/ 2268400 w 2428675"/>
              <a:gd name="connsiteY30" fmla="*/ 19102 h 2003579"/>
              <a:gd name="connsiteX31" fmla="*/ 1849300 w 2428675"/>
              <a:gd name="connsiteY31" fmla="*/ 52 h 2003579"/>
              <a:gd name="connsiteX32" fmla="*/ 449125 w 2428675"/>
              <a:gd name="connsiteY32" fmla="*/ 25452 h 2003579"/>
              <a:gd name="connsiteX33" fmla="*/ 26850 w 2428675"/>
              <a:gd name="connsiteY33" fmla="*/ 57202 h 2003579"/>
              <a:gd name="connsiteX0" fmla="*/ 26850 w 2428675"/>
              <a:gd name="connsiteY0" fmla="*/ 57202 h 2003579"/>
              <a:gd name="connsiteX1" fmla="*/ 7800 w 2428675"/>
              <a:gd name="connsiteY1" fmla="*/ 403277 h 2003579"/>
              <a:gd name="connsiteX2" fmla="*/ 1450 w 2428675"/>
              <a:gd name="connsiteY2" fmla="*/ 546152 h 2003579"/>
              <a:gd name="connsiteX3" fmla="*/ 14150 w 2428675"/>
              <a:gd name="connsiteY3" fmla="*/ 908102 h 2003579"/>
              <a:gd name="connsiteX4" fmla="*/ 17325 w 2428675"/>
              <a:gd name="connsiteY4" fmla="*/ 1197027 h 2003579"/>
              <a:gd name="connsiteX5" fmla="*/ 20500 w 2428675"/>
              <a:gd name="connsiteY5" fmla="*/ 1593902 h 2003579"/>
              <a:gd name="connsiteX6" fmla="*/ 33200 w 2428675"/>
              <a:gd name="connsiteY6" fmla="*/ 1927277 h 2003579"/>
              <a:gd name="connsiteX7" fmla="*/ 179250 w 2428675"/>
              <a:gd name="connsiteY7" fmla="*/ 1993952 h 2003579"/>
              <a:gd name="connsiteX8" fmla="*/ 1160325 w 2428675"/>
              <a:gd name="connsiteY8" fmla="*/ 1974902 h 2003579"/>
              <a:gd name="connsiteX9" fmla="*/ 1690550 w 2428675"/>
              <a:gd name="connsiteY9" fmla="*/ 1993952 h 2003579"/>
              <a:gd name="connsiteX10" fmla="*/ 1985825 w 2428675"/>
              <a:gd name="connsiteY10" fmla="*/ 2003477 h 2003579"/>
              <a:gd name="connsiteX11" fmla="*/ 2100125 w 2428675"/>
              <a:gd name="connsiteY11" fmla="*/ 1987602 h 2003579"/>
              <a:gd name="connsiteX12" fmla="*/ 2265225 w 2428675"/>
              <a:gd name="connsiteY12" fmla="*/ 1978077 h 2003579"/>
              <a:gd name="connsiteX13" fmla="*/ 2335075 w 2428675"/>
              <a:gd name="connsiteY13" fmla="*/ 1974902 h 2003579"/>
              <a:gd name="connsiteX14" fmla="*/ 2357300 w 2428675"/>
              <a:gd name="connsiteY14" fmla="*/ 1965377 h 2003579"/>
              <a:gd name="connsiteX15" fmla="*/ 2363650 w 2428675"/>
              <a:gd name="connsiteY15" fmla="*/ 1927277 h 2003579"/>
              <a:gd name="connsiteX16" fmla="*/ 2366825 w 2428675"/>
              <a:gd name="connsiteY16" fmla="*/ 1781227 h 2003579"/>
              <a:gd name="connsiteX17" fmla="*/ 2370000 w 2428675"/>
              <a:gd name="connsiteY17" fmla="*/ 1739952 h 2003579"/>
              <a:gd name="connsiteX18" fmla="*/ 2379525 w 2428675"/>
              <a:gd name="connsiteY18" fmla="*/ 1695502 h 2003579"/>
              <a:gd name="connsiteX19" fmla="*/ 2398575 w 2428675"/>
              <a:gd name="connsiteY19" fmla="*/ 1574852 h 2003579"/>
              <a:gd name="connsiteX20" fmla="*/ 2404925 w 2428675"/>
              <a:gd name="connsiteY20" fmla="*/ 1511352 h 2003579"/>
              <a:gd name="connsiteX21" fmla="*/ 2408100 w 2428675"/>
              <a:gd name="connsiteY21" fmla="*/ 1476427 h 2003579"/>
              <a:gd name="connsiteX22" fmla="*/ 2414450 w 2428675"/>
              <a:gd name="connsiteY22" fmla="*/ 1276402 h 2003579"/>
              <a:gd name="connsiteX23" fmla="*/ 2404925 w 2428675"/>
              <a:gd name="connsiteY23" fmla="*/ 308027 h 2003579"/>
              <a:gd name="connsiteX24" fmla="*/ 2385875 w 2428675"/>
              <a:gd name="connsiteY24" fmla="*/ 215952 h 2003579"/>
              <a:gd name="connsiteX25" fmla="*/ 2363650 w 2428675"/>
              <a:gd name="connsiteY25" fmla="*/ 136577 h 2003579"/>
              <a:gd name="connsiteX26" fmla="*/ 2350950 w 2428675"/>
              <a:gd name="connsiteY26" fmla="*/ 79427 h 2003579"/>
              <a:gd name="connsiteX27" fmla="*/ 2338250 w 2428675"/>
              <a:gd name="connsiteY27" fmla="*/ 38152 h 2003579"/>
              <a:gd name="connsiteX28" fmla="*/ 2331900 w 2428675"/>
              <a:gd name="connsiteY28" fmla="*/ 28627 h 2003579"/>
              <a:gd name="connsiteX29" fmla="*/ 2268400 w 2428675"/>
              <a:gd name="connsiteY29" fmla="*/ 19102 h 2003579"/>
              <a:gd name="connsiteX30" fmla="*/ 1849300 w 2428675"/>
              <a:gd name="connsiteY30" fmla="*/ 52 h 2003579"/>
              <a:gd name="connsiteX31" fmla="*/ 449125 w 2428675"/>
              <a:gd name="connsiteY31" fmla="*/ 25452 h 2003579"/>
              <a:gd name="connsiteX32" fmla="*/ 26850 w 2428675"/>
              <a:gd name="connsiteY32" fmla="*/ 57202 h 2003579"/>
              <a:gd name="connsiteX0" fmla="*/ 26850 w 2428675"/>
              <a:gd name="connsiteY0" fmla="*/ 57202 h 1997895"/>
              <a:gd name="connsiteX1" fmla="*/ 7800 w 2428675"/>
              <a:gd name="connsiteY1" fmla="*/ 403277 h 1997895"/>
              <a:gd name="connsiteX2" fmla="*/ 1450 w 2428675"/>
              <a:gd name="connsiteY2" fmla="*/ 546152 h 1997895"/>
              <a:gd name="connsiteX3" fmla="*/ 14150 w 2428675"/>
              <a:gd name="connsiteY3" fmla="*/ 908102 h 1997895"/>
              <a:gd name="connsiteX4" fmla="*/ 17325 w 2428675"/>
              <a:gd name="connsiteY4" fmla="*/ 1197027 h 1997895"/>
              <a:gd name="connsiteX5" fmla="*/ 20500 w 2428675"/>
              <a:gd name="connsiteY5" fmla="*/ 1593902 h 1997895"/>
              <a:gd name="connsiteX6" fmla="*/ 33200 w 2428675"/>
              <a:gd name="connsiteY6" fmla="*/ 1927277 h 1997895"/>
              <a:gd name="connsiteX7" fmla="*/ 179250 w 2428675"/>
              <a:gd name="connsiteY7" fmla="*/ 1993952 h 1997895"/>
              <a:gd name="connsiteX8" fmla="*/ 1160325 w 2428675"/>
              <a:gd name="connsiteY8" fmla="*/ 1974902 h 1997895"/>
              <a:gd name="connsiteX9" fmla="*/ 1690550 w 2428675"/>
              <a:gd name="connsiteY9" fmla="*/ 1993952 h 1997895"/>
              <a:gd name="connsiteX10" fmla="*/ 2100125 w 2428675"/>
              <a:gd name="connsiteY10" fmla="*/ 1987602 h 1997895"/>
              <a:gd name="connsiteX11" fmla="*/ 2265225 w 2428675"/>
              <a:gd name="connsiteY11" fmla="*/ 1978077 h 1997895"/>
              <a:gd name="connsiteX12" fmla="*/ 2335075 w 2428675"/>
              <a:gd name="connsiteY12" fmla="*/ 1974902 h 1997895"/>
              <a:gd name="connsiteX13" fmla="*/ 2357300 w 2428675"/>
              <a:gd name="connsiteY13" fmla="*/ 1965377 h 1997895"/>
              <a:gd name="connsiteX14" fmla="*/ 2363650 w 2428675"/>
              <a:gd name="connsiteY14" fmla="*/ 1927277 h 1997895"/>
              <a:gd name="connsiteX15" fmla="*/ 2366825 w 2428675"/>
              <a:gd name="connsiteY15" fmla="*/ 1781227 h 1997895"/>
              <a:gd name="connsiteX16" fmla="*/ 2370000 w 2428675"/>
              <a:gd name="connsiteY16" fmla="*/ 1739952 h 1997895"/>
              <a:gd name="connsiteX17" fmla="*/ 2379525 w 2428675"/>
              <a:gd name="connsiteY17" fmla="*/ 1695502 h 1997895"/>
              <a:gd name="connsiteX18" fmla="*/ 2398575 w 2428675"/>
              <a:gd name="connsiteY18" fmla="*/ 1574852 h 1997895"/>
              <a:gd name="connsiteX19" fmla="*/ 2404925 w 2428675"/>
              <a:gd name="connsiteY19" fmla="*/ 1511352 h 1997895"/>
              <a:gd name="connsiteX20" fmla="*/ 2408100 w 2428675"/>
              <a:gd name="connsiteY20" fmla="*/ 1476427 h 1997895"/>
              <a:gd name="connsiteX21" fmla="*/ 2414450 w 2428675"/>
              <a:gd name="connsiteY21" fmla="*/ 1276402 h 1997895"/>
              <a:gd name="connsiteX22" fmla="*/ 2404925 w 2428675"/>
              <a:gd name="connsiteY22" fmla="*/ 308027 h 1997895"/>
              <a:gd name="connsiteX23" fmla="*/ 2385875 w 2428675"/>
              <a:gd name="connsiteY23" fmla="*/ 215952 h 1997895"/>
              <a:gd name="connsiteX24" fmla="*/ 2363650 w 2428675"/>
              <a:gd name="connsiteY24" fmla="*/ 136577 h 1997895"/>
              <a:gd name="connsiteX25" fmla="*/ 2350950 w 2428675"/>
              <a:gd name="connsiteY25" fmla="*/ 79427 h 1997895"/>
              <a:gd name="connsiteX26" fmla="*/ 2338250 w 2428675"/>
              <a:gd name="connsiteY26" fmla="*/ 38152 h 1997895"/>
              <a:gd name="connsiteX27" fmla="*/ 2331900 w 2428675"/>
              <a:gd name="connsiteY27" fmla="*/ 28627 h 1997895"/>
              <a:gd name="connsiteX28" fmla="*/ 2268400 w 2428675"/>
              <a:gd name="connsiteY28" fmla="*/ 19102 h 1997895"/>
              <a:gd name="connsiteX29" fmla="*/ 1849300 w 2428675"/>
              <a:gd name="connsiteY29" fmla="*/ 52 h 1997895"/>
              <a:gd name="connsiteX30" fmla="*/ 449125 w 2428675"/>
              <a:gd name="connsiteY30" fmla="*/ 25452 h 1997895"/>
              <a:gd name="connsiteX31" fmla="*/ 26850 w 2428675"/>
              <a:gd name="connsiteY31" fmla="*/ 57202 h 1997895"/>
              <a:gd name="connsiteX0" fmla="*/ 26850 w 2428675"/>
              <a:gd name="connsiteY0" fmla="*/ 57202 h 1997895"/>
              <a:gd name="connsiteX1" fmla="*/ 7800 w 2428675"/>
              <a:gd name="connsiteY1" fmla="*/ 403277 h 1997895"/>
              <a:gd name="connsiteX2" fmla="*/ 1450 w 2428675"/>
              <a:gd name="connsiteY2" fmla="*/ 546152 h 1997895"/>
              <a:gd name="connsiteX3" fmla="*/ 14150 w 2428675"/>
              <a:gd name="connsiteY3" fmla="*/ 908102 h 1997895"/>
              <a:gd name="connsiteX4" fmla="*/ 17325 w 2428675"/>
              <a:gd name="connsiteY4" fmla="*/ 1197027 h 1997895"/>
              <a:gd name="connsiteX5" fmla="*/ 20500 w 2428675"/>
              <a:gd name="connsiteY5" fmla="*/ 1593902 h 1997895"/>
              <a:gd name="connsiteX6" fmla="*/ 33200 w 2428675"/>
              <a:gd name="connsiteY6" fmla="*/ 1927277 h 1997895"/>
              <a:gd name="connsiteX7" fmla="*/ 179250 w 2428675"/>
              <a:gd name="connsiteY7" fmla="*/ 1993952 h 1997895"/>
              <a:gd name="connsiteX8" fmla="*/ 1160325 w 2428675"/>
              <a:gd name="connsiteY8" fmla="*/ 1974902 h 1997895"/>
              <a:gd name="connsiteX9" fmla="*/ 1690550 w 2428675"/>
              <a:gd name="connsiteY9" fmla="*/ 1993952 h 1997895"/>
              <a:gd name="connsiteX10" fmla="*/ 2100125 w 2428675"/>
              <a:gd name="connsiteY10" fmla="*/ 1987602 h 1997895"/>
              <a:gd name="connsiteX11" fmla="*/ 2265225 w 2428675"/>
              <a:gd name="connsiteY11" fmla="*/ 1978077 h 1997895"/>
              <a:gd name="connsiteX12" fmla="*/ 2335075 w 2428675"/>
              <a:gd name="connsiteY12" fmla="*/ 1974902 h 1997895"/>
              <a:gd name="connsiteX13" fmla="*/ 2363650 w 2428675"/>
              <a:gd name="connsiteY13" fmla="*/ 1927277 h 1997895"/>
              <a:gd name="connsiteX14" fmla="*/ 2366825 w 2428675"/>
              <a:gd name="connsiteY14" fmla="*/ 1781227 h 1997895"/>
              <a:gd name="connsiteX15" fmla="*/ 2370000 w 2428675"/>
              <a:gd name="connsiteY15" fmla="*/ 1739952 h 1997895"/>
              <a:gd name="connsiteX16" fmla="*/ 2379525 w 2428675"/>
              <a:gd name="connsiteY16" fmla="*/ 1695502 h 1997895"/>
              <a:gd name="connsiteX17" fmla="*/ 2398575 w 2428675"/>
              <a:gd name="connsiteY17" fmla="*/ 1574852 h 1997895"/>
              <a:gd name="connsiteX18" fmla="*/ 2404925 w 2428675"/>
              <a:gd name="connsiteY18" fmla="*/ 1511352 h 1997895"/>
              <a:gd name="connsiteX19" fmla="*/ 2408100 w 2428675"/>
              <a:gd name="connsiteY19" fmla="*/ 1476427 h 1997895"/>
              <a:gd name="connsiteX20" fmla="*/ 2414450 w 2428675"/>
              <a:gd name="connsiteY20" fmla="*/ 1276402 h 1997895"/>
              <a:gd name="connsiteX21" fmla="*/ 2404925 w 2428675"/>
              <a:gd name="connsiteY21" fmla="*/ 308027 h 1997895"/>
              <a:gd name="connsiteX22" fmla="*/ 2385875 w 2428675"/>
              <a:gd name="connsiteY22" fmla="*/ 215952 h 1997895"/>
              <a:gd name="connsiteX23" fmla="*/ 2363650 w 2428675"/>
              <a:gd name="connsiteY23" fmla="*/ 136577 h 1997895"/>
              <a:gd name="connsiteX24" fmla="*/ 2350950 w 2428675"/>
              <a:gd name="connsiteY24" fmla="*/ 79427 h 1997895"/>
              <a:gd name="connsiteX25" fmla="*/ 2338250 w 2428675"/>
              <a:gd name="connsiteY25" fmla="*/ 38152 h 1997895"/>
              <a:gd name="connsiteX26" fmla="*/ 2331900 w 2428675"/>
              <a:gd name="connsiteY26" fmla="*/ 28627 h 1997895"/>
              <a:gd name="connsiteX27" fmla="*/ 2268400 w 2428675"/>
              <a:gd name="connsiteY27" fmla="*/ 19102 h 1997895"/>
              <a:gd name="connsiteX28" fmla="*/ 1849300 w 2428675"/>
              <a:gd name="connsiteY28" fmla="*/ 52 h 1997895"/>
              <a:gd name="connsiteX29" fmla="*/ 449125 w 2428675"/>
              <a:gd name="connsiteY29" fmla="*/ 25452 h 1997895"/>
              <a:gd name="connsiteX30" fmla="*/ 26850 w 2428675"/>
              <a:gd name="connsiteY30" fmla="*/ 57202 h 1997895"/>
              <a:gd name="connsiteX0" fmla="*/ 26850 w 2428675"/>
              <a:gd name="connsiteY0" fmla="*/ 57202 h 1997895"/>
              <a:gd name="connsiteX1" fmla="*/ 7800 w 2428675"/>
              <a:gd name="connsiteY1" fmla="*/ 403277 h 1997895"/>
              <a:gd name="connsiteX2" fmla="*/ 1450 w 2428675"/>
              <a:gd name="connsiteY2" fmla="*/ 546152 h 1997895"/>
              <a:gd name="connsiteX3" fmla="*/ 14150 w 2428675"/>
              <a:gd name="connsiteY3" fmla="*/ 908102 h 1997895"/>
              <a:gd name="connsiteX4" fmla="*/ 17325 w 2428675"/>
              <a:gd name="connsiteY4" fmla="*/ 1197027 h 1997895"/>
              <a:gd name="connsiteX5" fmla="*/ 20500 w 2428675"/>
              <a:gd name="connsiteY5" fmla="*/ 1593902 h 1997895"/>
              <a:gd name="connsiteX6" fmla="*/ 33200 w 2428675"/>
              <a:gd name="connsiteY6" fmla="*/ 1927277 h 1997895"/>
              <a:gd name="connsiteX7" fmla="*/ 179250 w 2428675"/>
              <a:gd name="connsiteY7" fmla="*/ 1993952 h 1997895"/>
              <a:gd name="connsiteX8" fmla="*/ 1160325 w 2428675"/>
              <a:gd name="connsiteY8" fmla="*/ 1974902 h 1997895"/>
              <a:gd name="connsiteX9" fmla="*/ 1690550 w 2428675"/>
              <a:gd name="connsiteY9" fmla="*/ 1993952 h 1997895"/>
              <a:gd name="connsiteX10" fmla="*/ 2100125 w 2428675"/>
              <a:gd name="connsiteY10" fmla="*/ 1987602 h 1997895"/>
              <a:gd name="connsiteX11" fmla="*/ 2265225 w 2428675"/>
              <a:gd name="connsiteY11" fmla="*/ 1978077 h 1997895"/>
              <a:gd name="connsiteX12" fmla="*/ 2335075 w 2428675"/>
              <a:gd name="connsiteY12" fmla="*/ 1974902 h 1997895"/>
              <a:gd name="connsiteX13" fmla="*/ 2363650 w 2428675"/>
              <a:gd name="connsiteY13" fmla="*/ 1927277 h 1997895"/>
              <a:gd name="connsiteX14" fmla="*/ 2366825 w 2428675"/>
              <a:gd name="connsiteY14" fmla="*/ 1781227 h 1997895"/>
              <a:gd name="connsiteX15" fmla="*/ 2379525 w 2428675"/>
              <a:gd name="connsiteY15" fmla="*/ 1695502 h 1997895"/>
              <a:gd name="connsiteX16" fmla="*/ 2398575 w 2428675"/>
              <a:gd name="connsiteY16" fmla="*/ 1574852 h 1997895"/>
              <a:gd name="connsiteX17" fmla="*/ 2404925 w 2428675"/>
              <a:gd name="connsiteY17" fmla="*/ 1511352 h 1997895"/>
              <a:gd name="connsiteX18" fmla="*/ 2408100 w 2428675"/>
              <a:gd name="connsiteY18" fmla="*/ 1476427 h 1997895"/>
              <a:gd name="connsiteX19" fmla="*/ 2414450 w 2428675"/>
              <a:gd name="connsiteY19" fmla="*/ 1276402 h 1997895"/>
              <a:gd name="connsiteX20" fmla="*/ 2404925 w 2428675"/>
              <a:gd name="connsiteY20" fmla="*/ 308027 h 1997895"/>
              <a:gd name="connsiteX21" fmla="*/ 2385875 w 2428675"/>
              <a:gd name="connsiteY21" fmla="*/ 215952 h 1997895"/>
              <a:gd name="connsiteX22" fmla="*/ 2363650 w 2428675"/>
              <a:gd name="connsiteY22" fmla="*/ 136577 h 1997895"/>
              <a:gd name="connsiteX23" fmla="*/ 2350950 w 2428675"/>
              <a:gd name="connsiteY23" fmla="*/ 79427 h 1997895"/>
              <a:gd name="connsiteX24" fmla="*/ 2338250 w 2428675"/>
              <a:gd name="connsiteY24" fmla="*/ 38152 h 1997895"/>
              <a:gd name="connsiteX25" fmla="*/ 2331900 w 2428675"/>
              <a:gd name="connsiteY25" fmla="*/ 28627 h 1997895"/>
              <a:gd name="connsiteX26" fmla="*/ 2268400 w 2428675"/>
              <a:gd name="connsiteY26" fmla="*/ 19102 h 1997895"/>
              <a:gd name="connsiteX27" fmla="*/ 1849300 w 2428675"/>
              <a:gd name="connsiteY27" fmla="*/ 52 h 1997895"/>
              <a:gd name="connsiteX28" fmla="*/ 449125 w 2428675"/>
              <a:gd name="connsiteY28" fmla="*/ 25452 h 1997895"/>
              <a:gd name="connsiteX29" fmla="*/ 26850 w 2428675"/>
              <a:gd name="connsiteY29" fmla="*/ 57202 h 1997895"/>
              <a:gd name="connsiteX0" fmla="*/ 26850 w 2428675"/>
              <a:gd name="connsiteY0" fmla="*/ 57202 h 1997895"/>
              <a:gd name="connsiteX1" fmla="*/ 7800 w 2428675"/>
              <a:gd name="connsiteY1" fmla="*/ 403277 h 1997895"/>
              <a:gd name="connsiteX2" fmla="*/ 1450 w 2428675"/>
              <a:gd name="connsiteY2" fmla="*/ 546152 h 1997895"/>
              <a:gd name="connsiteX3" fmla="*/ 14150 w 2428675"/>
              <a:gd name="connsiteY3" fmla="*/ 908102 h 1997895"/>
              <a:gd name="connsiteX4" fmla="*/ 17325 w 2428675"/>
              <a:gd name="connsiteY4" fmla="*/ 1197027 h 1997895"/>
              <a:gd name="connsiteX5" fmla="*/ 20500 w 2428675"/>
              <a:gd name="connsiteY5" fmla="*/ 1593902 h 1997895"/>
              <a:gd name="connsiteX6" fmla="*/ 33200 w 2428675"/>
              <a:gd name="connsiteY6" fmla="*/ 1927277 h 1997895"/>
              <a:gd name="connsiteX7" fmla="*/ 179250 w 2428675"/>
              <a:gd name="connsiteY7" fmla="*/ 1993952 h 1997895"/>
              <a:gd name="connsiteX8" fmla="*/ 1160325 w 2428675"/>
              <a:gd name="connsiteY8" fmla="*/ 1974902 h 1997895"/>
              <a:gd name="connsiteX9" fmla="*/ 1690550 w 2428675"/>
              <a:gd name="connsiteY9" fmla="*/ 1993952 h 1997895"/>
              <a:gd name="connsiteX10" fmla="*/ 2100125 w 2428675"/>
              <a:gd name="connsiteY10" fmla="*/ 1987602 h 1997895"/>
              <a:gd name="connsiteX11" fmla="*/ 2265225 w 2428675"/>
              <a:gd name="connsiteY11" fmla="*/ 1978077 h 1997895"/>
              <a:gd name="connsiteX12" fmla="*/ 2335075 w 2428675"/>
              <a:gd name="connsiteY12" fmla="*/ 1974902 h 1997895"/>
              <a:gd name="connsiteX13" fmla="*/ 2363650 w 2428675"/>
              <a:gd name="connsiteY13" fmla="*/ 1927277 h 1997895"/>
              <a:gd name="connsiteX14" fmla="*/ 2366825 w 2428675"/>
              <a:gd name="connsiteY14" fmla="*/ 1781227 h 1997895"/>
              <a:gd name="connsiteX15" fmla="*/ 2398575 w 2428675"/>
              <a:gd name="connsiteY15" fmla="*/ 1574852 h 1997895"/>
              <a:gd name="connsiteX16" fmla="*/ 2404925 w 2428675"/>
              <a:gd name="connsiteY16" fmla="*/ 1511352 h 1997895"/>
              <a:gd name="connsiteX17" fmla="*/ 2408100 w 2428675"/>
              <a:gd name="connsiteY17" fmla="*/ 1476427 h 1997895"/>
              <a:gd name="connsiteX18" fmla="*/ 2414450 w 2428675"/>
              <a:gd name="connsiteY18" fmla="*/ 1276402 h 1997895"/>
              <a:gd name="connsiteX19" fmla="*/ 2404925 w 2428675"/>
              <a:gd name="connsiteY19" fmla="*/ 308027 h 1997895"/>
              <a:gd name="connsiteX20" fmla="*/ 2385875 w 2428675"/>
              <a:gd name="connsiteY20" fmla="*/ 215952 h 1997895"/>
              <a:gd name="connsiteX21" fmla="*/ 2363650 w 2428675"/>
              <a:gd name="connsiteY21" fmla="*/ 136577 h 1997895"/>
              <a:gd name="connsiteX22" fmla="*/ 2350950 w 2428675"/>
              <a:gd name="connsiteY22" fmla="*/ 79427 h 1997895"/>
              <a:gd name="connsiteX23" fmla="*/ 2338250 w 2428675"/>
              <a:gd name="connsiteY23" fmla="*/ 38152 h 1997895"/>
              <a:gd name="connsiteX24" fmla="*/ 2331900 w 2428675"/>
              <a:gd name="connsiteY24" fmla="*/ 28627 h 1997895"/>
              <a:gd name="connsiteX25" fmla="*/ 2268400 w 2428675"/>
              <a:gd name="connsiteY25" fmla="*/ 19102 h 1997895"/>
              <a:gd name="connsiteX26" fmla="*/ 1849300 w 2428675"/>
              <a:gd name="connsiteY26" fmla="*/ 52 h 1997895"/>
              <a:gd name="connsiteX27" fmla="*/ 449125 w 2428675"/>
              <a:gd name="connsiteY27" fmla="*/ 25452 h 1997895"/>
              <a:gd name="connsiteX28" fmla="*/ 26850 w 2428675"/>
              <a:gd name="connsiteY28" fmla="*/ 57202 h 1997895"/>
              <a:gd name="connsiteX0" fmla="*/ 26850 w 2428675"/>
              <a:gd name="connsiteY0" fmla="*/ 57202 h 1997895"/>
              <a:gd name="connsiteX1" fmla="*/ 7800 w 2428675"/>
              <a:gd name="connsiteY1" fmla="*/ 403277 h 1997895"/>
              <a:gd name="connsiteX2" fmla="*/ 1450 w 2428675"/>
              <a:gd name="connsiteY2" fmla="*/ 546152 h 1997895"/>
              <a:gd name="connsiteX3" fmla="*/ 14150 w 2428675"/>
              <a:gd name="connsiteY3" fmla="*/ 908102 h 1997895"/>
              <a:gd name="connsiteX4" fmla="*/ 17325 w 2428675"/>
              <a:gd name="connsiteY4" fmla="*/ 1197027 h 1997895"/>
              <a:gd name="connsiteX5" fmla="*/ 20500 w 2428675"/>
              <a:gd name="connsiteY5" fmla="*/ 1593902 h 1997895"/>
              <a:gd name="connsiteX6" fmla="*/ 33200 w 2428675"/>
              <a:gd name="connsiteY6" fmla="*/ 1927277 h 1997895"/>
              <a:gd name="connsiteX7" fmla="*/ 179250 w 2428675"/>
              <a:gd name="connsiteY7" fmla="*/ 1993952 h 1997895"/>
              <a:gd name="connsiteX8" fmla="*/ 1160325 w 2428675"/>
              <a:gd name="connsiteY8" fmla="*/ 1974902 h 1997895"/>
              <a:gd name="connsiteX9" fmla="*/ 1690550 w 2428675"/>
              <a:gd name="connsiteY9" fmla="*/ 1993952 h 1997895"/>
              <a:gd name="connsiteX10" fmla="*/ 2100125 w 2428675"/>
              <a:gd name="connsiteY10" fmla="*/ 1987602 h 1997895"/>
              <a:gd name="connsiteX11" fmla="*/ 2265225 w 2428675"/>
              <a:gd name="connsiteY11" fmla="*/ 1978077 h 1997895"/>
              <a:gd name="connsiteX12" fmla="*/ 2335075 w 2428675"/>
              <a:gd name="connsiteY12" fmla="*/ 1974902 h 1997895"/>
              <a:gd name="connsiteX13" fmla="*/ 2363650 w 2428675"/>
              <a:gd name="connsiteY13" fmla="*/ 1927277 h 1997895"/>
              <a:gd name="connsiteX14" fmla="*/ 2366825 w 2428675"/>
              <a:gd name="connsiteY14" fmla="*/ 1781227 h 1997895"/>
              <a:gd name="connsiteX15" fmla="*/ 2404925 w 2428675"/>
              <a:gd name="connsiteY15" fmla="*/ 1511352 h 1997895"/>
              <a:gd name="connsiteX16" fmla="*/ 2408100 w 2428675"/>
              <a:gd name="connsiteY16" fmla="*/ 1476427 h 1997895"/>
              <a:gd name="connsiteX17" fmla="*/ 2414450 w 2428675"/>
              <a:gd name="connsiteY17" fmla="*/ 1276402 h 1997895"/>
              <a:gd name="connsiteX18" fmla="*/ 2404925 w 2428675"/>
              <a:gd name="connsiteY18" fmla="*/ 308027 h 1997895"/>
              <a:gd name="connsiteX19" fmla="*/ 2385875 w 2428675"/>
              <a:gd name="connsiteY19" fmla="*/ 215952 h 1997895"/>
              <a:gd name="connsiteX20" fmla="*/ 2363650 w 2428675"/>
              <a:gd name="connsiteY20" fmla="*/ 136577 h 1997895"/>
              <a:gd name="connsiteX21" fmla="*/ 2350950 w 2428675"/>
              <a:gd name="connsiteY21" fmla="*/ 79427 h 1997895"/>
              <a:gd name="connsiteX22" fmla="*/ 2338250 w 2428675"/>
              <a:gd name="connsiteY22" fmla="*/ 38152 h 1997895"/>
              <a:gd name="connsiteX23" fmla="*/ 2331900 w 2428675"/>
              <a:gd name="connsiteY23" fmla="*/ 28627 h 1997895"/>
              <a:gd name="connsiteX24" fmla="*/ 2268400 w 2428675"/>
              <a:gd name="connsiteY24" fmla="*/ 19102 h 1997895"/>
              <a:gd name="connsiteX25" fmla="*/ 1849300 w 2428675"/>
              <a:gd name="connsiteY25" fmla="*/ 52 h 1997895"/>
              <a:gd name="connsiteX26" fmla="*/ 449125 w 2428675"/>
              <a:gd name="connsiteY26" fmla="*/ 25452 h 1997895"/>
              <a:gd name="connsiteX27" fmla="*/ 26850 w 2428675"/>
              <a:gd name="connsiteY27" fmla="*/ 57202 h 1997895"/>
              <a:gd name="connsiteX0" fmla="*/ 26850 w 2428675"/>
              <a:gd name="connsiteY0" fmla="*/ 57202 h 1997895"/>
              <a:gd name="connsiteX1" fmla="*/ 7800 w 2428675"/>
              <a:gd name="connsiteY1" fmla="*/ 403277 h 1997895"/>
              <a:gd name="connsiteX2" fmla="*/ 1450 w 2428675"/>
              <a:gd name="connsiteY2" fmla="*/ 546152 h 1997895"/>
              <a:gd name="connsiteX3" fmla="*/ 14150 w 2428675"/>
              <a:gd name="connsiteY3" fmla="*/ 908102 h 1997895"/>
              <a:gd name="connsiteX4" fmla="*/ 17325 w 2428675"/>
              <a:gd name="connsiteY4" fmla="*/ 1197027 h 1997895"/>
              <a:gd name="connsiteX5" fmla="*/ 20500 w 2428675"/>
              <a:gd name="connsiteY5" fmla="*/ 1593902 h 1997895"/>
              <a:gd name="connsiteX6" fmla="*/ 33200 w 2428675"/>
              <a:gd name="connsiteY6" fmla="*/ 1927277 h 1997895"/>
              <a:gd name="connsiteX7" fmla="*/ 179250 w 2428675"/>
              <a:gd name="connsiteY7" fmla="*/ 1993952 h 1997895"/>
              <a:gd name="connsiteX8" fmla="*/ 1160325 w 2428675"/>
              <a:gd name="connsiteY8" fmla="*/ 1974902 h 1997895"/>
              <a:gd name="connsiteX9" fmla="*/ 1690550 w 2428675"/>
              <a:gd name="connsiteY9" fmla="*/ 1993952 h 1997895"/>
              <a:gd name="connsiteX10" fmla="*/ 2100125 w 2428675"/>
              <a:gd name="connsiteY10" fmla="*/ 1987602 h 1997895"/>
              <a:gd name="connsiteX11" fmla="*/ 2265225 w 2428675"/>
              <a:gd name="connsiteY11" fmla="*/ 1978077 h 1997895"/>
              <a:gd name="connsiteX12" fmla="*/ 2335075 w 2428675"/>
              <a:gd name="connsiteY12" fmla="*/ 1974902 h 1997895"/>
              <a:gd name="connsiteX13" fmla="*/ 2363650 w 2428675"/>
              <a:gd name="connsiteY13" fmla="*/ 1927277 h 1997895"/>
              <a:gd name="connsiteX14" fmla="*/ 2366825 w 2428675"/>
              <a:gd name="connsiteY14" fmla="*/ 1781227 h 1997895"/>
              <a:gd name="connsiteX15" fmla="*/ 2408100 w 2428675"/>
              <a:gd name="connsiteY15" fmla="*/ 1476427 h 1997895"/>
              <a:gd name="connsiteX16" fmla="*/ 2414450 w 2428675"/>
              <a:gd name="connsiteY16" fmla="*/ 1276402 h 1997895"/>
              <a:gd name="connsiteX17" fmla="*/ 2404925 w 2428675"/>
              <a:gd name="connsiteY17" fmla="*/ 308027 h 1997895"/>
              <a:gd name="connsiteX18" fmla="*/ 2385875 w 2428675"/>
              <a:gd name="connsiteY18" fmla="*/ 215952 h 1997895"/>
              <a:gd name="connsiteX19" fmla="*/ 2363650 w 2428675"/>
              <a:gd name="connsiteY19" fmla="*/ 136577 h 1997895"/>
              <a:gd name="connsiteX20" fmla="*/ 2350950 w 2428675"/>
              <a:gd name="connsiteY20" fmla="*/ 79427 h 1997895"/>
              <a:gd name="connsiteX21" fmla="*/ 2338250 w 2428675"/>
              <a:gd name="connsiteY21" fmla="*/ 38152 h 1997895"/>
              <a:gd name="connsiteX22" fmla="*/ 2331900 w 2428675"/>
              <a:gd name="connsiteY22" fmla="*/ 28627 h 1997895"/>
              <a:gd name="connsiteX23" fmla="*/ 2268400 w 2428675"/>
              <a:gd name="connsiteY23" fmla="*/ 19102 h 1997895"/>
              <a:gd name="connsiteX24" fmla="*/ 1849300 w 2428675"/>
              <a:gd name="connsiteY24" fmla="*/ 52 h 1997895"/>
              <a:gd name="connsiteX25" fmla="*/ 449125 w 2428675"/>
              <a:gd name="connsiteY25" fmla="*/ 25452 h 1997895"/>
              <a:gd name="connsiteX26" fmla="*/ 26850 w 2428675"/>
              <a:gd name="connsiteY26" fmla="*/ 57202 h 1997895"/>
              <a:gd name="connsiteX0" fmla="*/ 26850 w 2431321"/>
              <a:gd name="connsiteY0" fmla="*/ 57202 h 1997895"/>
              <a:gd name="connsiteX1" fmla="*/ 7800 w 2431321"/>
              <a:gd name="connsiteY1" fmla="*/ 403277 h 1997895"/>
              <a:gd name="connsiteX2" fmla="*/ 1450 w 2431321"/>
              <a:gd name="connsiteY2" fmla="*/ 546152 h 1997895"/>
              <a:gd name="connsiteX3" fmla="*/ 14150 w 2431321"/>
              <a:gd name="connsiteY3" fmla="*/ 908102 h 1997895"/>
              <a:gd name="connsiteX4" fmla="*/ 17325 w 2431321"/>
              <a:gd name="connsiteY4" fmla="*/ 1197027 h 1997895"/>
              <a:gd name="connsiteX5" fmla="*/ 20500 w 2431321"/>
              <a:gd name="connsiteY5" fmla="*/ 1593902 h 1997895"/>
              <a:gd name="connsiteX6" fmla="*/ 33200 w 2431321"/>
              <a:gd name="connsiteY6" fmla="*/ 1927277 h 1997895"/>
              <a:gd name="connsiteX7" fmla="*/ 179250 w 2431321"/>
              <a:gd name="connsiteY7" fmla="*/ 1993952 h 1997895"/>
              <a:gd name="connsiteX8" fmla="*/ 1160325 w 2431321"/>
              <a:gd name="connsiteY8" fmla="*/ 1974902 h 1997895"/>
              <a:gd name="connsiteX9" fmla="*/ 1690550 w 2431321"/>
              <a:gd name="connsiteY9" fmla="*/ 1993952 h 1997895"/>
              <a:gd name="connsiteX10" fmla="*/ 2100125 w 2431321"/>
              <a:gd name="connsiteY10" fmla="*/ 1987602 h 1997895"/>
              <a:gd name="connsiteX11" fmla="*/ 2265225 w 2431321"/>
              <a:gd name="connsiteY11" fmla="*/ 1978077 h 1997895"/>
              <a:gd name="connsiteX12" fmla="*/ 2335075 w 2431321"/>
              <a:gd name="connsiteY12" fmla="*/ 1974902 h 1997895"/>
              <a:gd name="connsiteX13" fmla="*/ 2363650 w 2431321"/>
              <a:gd name="connsiteY13" fmla="*/ 1927277 h 1997895"/>
              <a:gd name="connsiteX14" fmla="*/ 2366825 w 2431321"/>
              <a:gd name="connsiteY14" fmla="*/ 1781227 h 1997895"/>
              <a:gd name="connsiteX15" fmla="*/ 2414450 w 2431321"/>
              <a:gd name="connsiteY15" fmla="*/ 1276402 h 1997895"/>
              <a:gd name="connsiteX16" fmla="*/ 2404925 w 2431321"/>
              <a:gd name="connsiteY16" fmla="*/ 308027 h 1997895"/>
              <a:gd name="connsiteX17" fmla="*/ 2385875 w 2431321"/>
              <a:gd name="connsiteY17" fmla="*/ 215952 h 1997895"/>
              <a:gd name="connsiteX18" fmla="*/ 2363650 w 2431321"/>
              <a:gd name="connsiteY18" fmla="*/ 136577 h 1997895"/>
              <a:gd name="connsiteX19" fmla="*/ 2350950 w 2431321"/>
              <a:gd name="connsiteY19" fmla="*/ 79427 h 1997895"/>
              <a:gd name="connsiteX20" fmla="*/ 2338250 w 2431321"/>
              <a:gd name="connsiteY20" fmla="*/ 38152 h 1997895"/>
              <a:gd name="connsiteX21" fmla="*/ 2331900 w 2431321"/>
              <a:gd name="connsiteY21" fmla="*/ 28627 h 1997895"/>
              <a:gd name="connsiteX22" fmla="*/ 2268400 w 2431321"/>
              <a:gd name="connsiteY22" fmla="*/ 19102 h 1997895"/>
              <a:gd name="connsiteX23" fmla="*/ 1849300 w 2431321"/>
              <a:gd name="connsiteY23" fmla="*/ 52 h 1997895"/>
              <a:gd name="connsiteX24" fmla="*/ 449125 w 2431321"/>
              <a:gd name="connsiteY24" fmla="*/ 25452 h 1997895"/>
              <a:gd name="connsiteX25" fmla="*/ 26850 w 2431321"/>
              <a:gd name="connsiteY25" fmla="*/ 57202 h 1997895"/>
              <a:gd name="connsiteX0" fmla="*/ 26850 w 2405631"/>
              <a:gd name="connsiteY0" fmla="*/ 57202 h 1997895"/>
              <a:gd name="connsiteX1" fmla="*/ 7800 w 2405631"/>
              <a:gd name="connsiteY1" fmla="*/ 403277 h 1997895"/>
              <a:gd name="connsiteX2" fmla="*/ 1450 w 2405631"/>
              <a:gd name="connsiteY2" fmla="*/ 546152 h 1997895"/>
              <a:gd name="connsiteX3" fmla="*/ 14150 w 2405631"/>
              <a:gd name="connsiteY3" fmla="*/ 908102 h 1997895"/>
              <a:gd name="connsiteX4" fmla="*/ 17325 w 2405631"/>
              <a:gd name="connsiteY4" fmla="*/ 1197027 h 1997895"/>
              <a:gd name="connsiteX5" fmla="*/ 20500 w 2405631"/>
              <a:gd name="connsiteY5" fmla="*/ 1593902 h 1997895"/>
              <a:gd name="connsiteX6" fmla="*/ 33200 w 2405631"/>
              <a:gd name="connsiteY6" fmla="*/ 1927277 h 1997895"/>
              <a:gd name="connsiteX7" fmla="*/ 179250 w 2405631"/>
              <a:gd name="connsiteY7" fmla="*/ 1993952 h 1997895"/>
              <a:gd name="connsiteX8" fmla="*/ 1160325 w 2405631"/>
              <a:gd name="connsiteY8" fmla="*/ 1974902 h 1997895"/>
              <a:gd name="connsiteX9" fmla="*/ 1690550 w 2405631"/>
              <a:gd name="connsiteY9" fmla="*/ 1993952 h 1997895"/>
              <a:gd name="connsiteX10" fmla="*/ 2100125 w 2405631"/>
              <a:gd name="connsiteY10" fmla="*/ 1987602 h 1997895"/>
              <a:gd name="connsiteX11" fmla="*/ 2265225 w 2405631"/>
              <a:gd name="connsiteY11" fmla="*/ 1978077 h 1997895"/>
              <a:gd name="connsiteX12" fmla="*/ 2335075 w 2405631"/>
              <a:gd name="connsiteY12" fmla="*/ 1974902 h 1997895"/>
              <a:gd name="connsiteX13" fmla="*/ 2363650 w 2405631"/>
              <a:gd name="connsiteY13" fmla="*/ 1927277 h 1997895"/>
              <a:gd name="connsiteX14" fmla="*/ 2366825 w 2405631"/>
              <a:gd name="connsiteY14" fmla="*/ 1781227 h 1997895"/>
              <a:gd name="connsiteX15" fmla="*/ 2404925 w 2405631"/>
              <a:gd name="connsiteY15" fmla="*/ 308027 h 1997895"/>
              <a:gd name="connsiteX16" fmla="*/ 2385875 w 2405631"/>
              <a:gd name="connsiteY16" fmla="*/ 215952 h 1997895"/>
              <a:gd name="connsiteX17" fmla="*/ 2363650 w 2405631"/>
              <a:gd name="connsiteY17" fmla="*/ 136577 h 1997895"/>
              <a:gd name="connsiteX18" fmla="*/ 2350950 w 2405631"/>
              <a:gd name="connsiteY18" fmla="*/ 79427 h 1997895"/>
              <a:gd name="connsiteX19" fmla="*/ 2338250 w 2405631"/>
              <a:gd name="connsiteY19" fmla="*/ 38152 h 1997895"/>
              <a:gd name="connsiteX20" fmla="*/ 2331900 w 2405631"/>
              <a:gd name="connsiteY20" fmla="*/ 28627 h 1997895"/>
              <a:gd name="connsiteX21" fmla="*/ 2268400 w 2405631"/>
              <a:gd name="connsiteY21" fmla="*/ 19102 h 1997895"/>
              <a:gd name="connsiteX22" fmla="*/ 1849300 w 2405631"/>
              <a:gd name="connsiteY22" fmla="*/ 52 h 1997895"/>
              <a:gd name="connsiteX23" fmla="*/ 449125 w 2405631"/>
              <a:gd name="connsiteY23" fmla="*/ 25452 h 1997895"/>
              <a:gd name="connsiteX24" fmla="*/ 26850 w 2405631"/>
              <a:gd name="connsiteY24" fmla="*/ 57202 h 1997895"/>
              <a:gd name="connsiteX0" fmla="*/ 26850 w 2385887"/>
              <a:gd name="connsiteY0" fmla="*/ 57202 h 1997895"/>
              <a:gd name="connsiteX1" fmla="*/ 7800 w 2385887"/>
              <a:gd name="connsiteY1" fmla="*/ 403277 h 1997895"/>
              <a:gd name="connsiteX2" fmla="*/ 1450 w 2385887"/>
              <a:gd name="connsiteY2" fmla="*/ 546152 h 1997895"/>
              <a:gd name="connsiteX3" fmla="*/ 14150 w 2385887"/>
              <a:gd name="connsiteY3" fmla="*/ 908102 h 1997895"/>
              <a:gd name="connsiteX4" fmla="*/ 17325 w 2385887"/>
              <a:gd name="connsiteY4" fmla="*/ 1197027 h 1997895"/>
              <a:gd name="connsiteX5" fmla="*/ 20500 w 2385887"/>
              <a:gd name="connsiteY5" fmla="*/ 1593902 h 1997895"/>
              <a:gd name="connsiteX6" fmla="*/ 33200 w 2385887"/>
              <a:gd name="connsiteY6" fmla="*/ 1927277 h 1997895"/>
              <a:gd name="connsiteX7" fmla="*/ 179250 w 2385887"/>
              <a:gd name="connsiteY7" fmla="*/ 1993952 h 1997895"/>
              <a:gd name="connsiteX8" fmla="*/ 1160325 w 2385887"/>
              <a:gd name="connsiteY8" fmla="*/ 1974902 h 1997895"/>
              <a:gd name="connsiteX9" fmla="*/ 1690550 w 2385887"/>
              <a:gd name="connsiteY9" fmla="*/ 1993952 h 1997895"/>
              <a:gd name="connsiteX10" fmla="*/ 2100125 w 2385887"/>
              <a:gd name="connsiteY10" fmla="*/ 1987602 h 1997895"/>
              <a:gd name="connsiteX11" fmla="*/ 2265225 w 2385887"/>
              <a:gd name="connsiteY11" fmla="*/ 1978077 h 1997895"/>
              <a:gd name="connsiteX12" fmla="*/ 2335075 w 2385887"/>
              <a:gd name="connsiteY12" fmla="*/ 1974902 h 1997895"/>
              <a:gd name="connsiteX13" fmla="*/ 2363650 w 2385887"/>
              <a:gd name="connsiteY13" fmla="*/ 1927277 h 1997895"/>
              <a:gd name="connsiteX14" fmla="*/ 2366825 w 2385887"/>
              <a:gd name="connsiteY14" fmla="*/ 1781227 h 1997895"/>
              <a:gd name="connsiteX15" fmla="*/ 2385875 w 2385887"/>
              <a:gd name="connsiteY15" fmla="*/ 215952 h 1997895"/>
              <a:gd name="connsiteX16" fmla="*/ 2363650 w 2385887"/>
              <a:gd name="connsiteY16" fmla="*/ 136577 h 1997895"/>
              <a:gd name="connsiteX17" fmla="*/ 2350950 w 2385887"/>
              <a:gd name="connsiteY17" fmla="*/ 79427 h 1997895"/>
              <a:gd name="connsiteX18" fmla="*/ 2338250 w 2385887"/>
              <a:gd name="connsiteY18" fmla="*/ 38152 h 1997895"/>
              <a:gd name="connsiteX19" fmla="*/ 2331900 w 2385887"/>
              <a:gd name="connsiteY19" fmla="*/ 28627 h 1997895"/>
              <a:gd name="connsiteX20" fmla="*/ 2268400 w 2385887"/>
              <a:gd name="connsiteY20" fmla="*/ 19102 h 1997895"/>
              <a:gd name="connsiteX21" fmla="*/ 1849300 w 2385887"/>
              <a:gd name="connsiteY21" fmla="*/ 52 h 1997895"/>
              <a:gd name="connsiteX22" fmla="*/ 449125 w 2385887"/>
              <a:gd name="connsiteY22" fmla="*/ 25452 h 1997895"/>
              <a:gd name="connsiteX23" fmla="*/ 26850 w 2385887"/>
              <a:gd name="connsiteY23" fmla="*/ 57202 h 1997895"/>
              <a:gd name="connsiteX0" fmla="*/ 26850 w 2366825"/>
              <a:gd name="connsiteY0" fmla="*/ 57202 h 1997895"/>
              <a:gd name="connsiteX1" fmla="*/ 7800 w 2366825"/>
              <a:gd name="connsiteY1" fmla="*/ 403277 h 1997895"/>
              <a:gd name="connsiteX2" fmla="*/ 1450 w 2366825"/>
              <a:gd name="connsiteY2" fmla="*/ 546152 h 1997895"/>
              <a:gd name="connsiteX3" fmla="*/ 14150 w 2366825"/>
              <a:gd name="connsiteY3" fmla="*/ 908102 h 1997895"/>
              <a:gd name="connsiteX4" fmla="*/ 17325 w 2366825"/>
              <a:gd name="connsiteY4" fmla="*/ 1197027 h 1997895"/>
              <a:gd name="connsiteX5" fmla="*/ 20500 w 2366825"/>
              <a:gd name="connsiteY5" fmla="*/ 1593902 h 1997895"/>
              <a:gd name="connsiteX6" fmla="*/ 33200 w 2366825"/>
              <a:gd name="connsiteY6" fmla="*/ 1927277 h 1997895"/>
              <a:gd name="connsiteX7" fmla="*/ 179250 w 2366825"/>
              <a:gd name="connsiteY7" fmla="*/ 1993952 h 1997895"/>
              <a:gd name="connsiteX8" fmla="*/ 1160325 w 2366825"/>
              <a:gd name="connsiteY8" fmla="*/ 1974902 h 1997895"/>
              <a:gd name="connsiteX9" fmla="*/ 1690550 w 2366825"/>
              <a:gd name="connsiteY9" fmla="*/ 1993952 h 1997895"/>
              <a:gd name="connsiteX10" fmla="*/ 2100125 w 2366825"/>
              <a:gd name="connsiteY10" fmla="*/ 1987602 h 1997895"/>
              <a:gd name="connsiteX11" fmla="*/ 2265225 w 2366825"/>
              <a:gd name="connsiteY11" fmla="*/ 1978077 h 1997895"/>
              <a:gd name="connsiteX12" fmla="*/ 2335075 w 2366825"/>
              <a:gd name="connsiteY12" fmla="*/ 1974902 h 1997895"/>
              <a:gd name="connsiteX13" fmla="*/ 2363650 w 2366825"/>
              <a:gd name="connsiteY13" fmla="*/ 1927277 h 1997895"/>
              <a:gd name="connsiteX14" fmla="*/ 2366825 w 2366825"/>
              <a:gd name="connsiteY14" fmla="*/ 1781227 h 1997895"/>
              <a:gd name="connsiteX15" fmla="*/ 2363650 w 2366825"/>
              <a:gd name="connsiteY15" fmla="*/ 136577 h 1997895"/>
              <a:gd name="connsiteX16" fmla="*/ 2350950 w 2366825"/>
              <a:gd name="connsiteY16" fmla="*/ 79427 h 1997895"/>
              <a:gd name="connsiteX17" fmla="*/ 2338250 w 2366825"/>
              <a:gd name="connsiteY17" fmla="*/ 38152 h 1997895"/>
              <a:gd name="connsiteX18" fmla="*/ 2331900 w 2366825"/>
              <a:gd name="connsiteY18" fmla="*/ 28627 h 1997895"/>
              <a:gd name="connsiteX19" fmla="*/ 2268400 w 2366825"/>
              <a:gd name="connsiteY19" fmla="*/ 19102 h 1997895"/>
              <a:gd name="connsiteX20" fmla="*/ 1849300 w 2366825"/>
              <a:gd name="connsiteY20" fmla="*/ 52 h 1997895"/>
              <a:gd name="connsiteX21" fmla="*/ 449125 w 2366825"/>
              <a:gd name="connsiteY21" fmla="*/ 25452 h 1997895"/>
              <a:gd name="connsiteX22" fmla="*/ 26850 w 2366825"/>
              <a:gd name="connsiteY22" fmla="*/ 57202 h 1997895"/>
              <a:gd name="connsiteX0" fmla="*/ 26850 w 2366825"/>
              <a:gd name="connsiteY0" fmla="*/ 117663 h 2058356"/>
              <a:gd name="connsiteX1" fmla="*/ 7800 w 2366825"/>
              <a:gd name="connsiteY1" fmla="*/ 463738 h 2058356"/>
              <a:gd name="connsiteX2" fmla="*/ 1450 w 2366825"/>
              <a:gd name="connsiteY2" fmla="*/ 606613 h 2058356"/>
              <a:gd name="connsiteX3" fmla="*/ 14150 w 2366825"/>
              <a:gd name="connsiteY3" fmla="*/ 968563 h 2058356"/>
              <a:gd name="connsiteX4" fmla="*/ 17325 w 2366825"/>
              <a:gd name="connsiteY4" fmla="*/ 1257488 h 2058356"/>
              <a:gd name="connsiteX5" fmla="*/ 20500 w 2366825"/>
              <a:gd name="connsiteY5" fmla="*/ 1654363 h 2058356"/>
              <a:gd name="connsiteX6" fmla="*/ 33200 w 2366825"/>
              <a:gd name="connsiteY6" fmla="*/ 1987738 h 2058356"/>
              <a:gd name="connsiteX7" fmla="*/ 179250 w 2366825"/>
              <a:gd name="connsiteY7" fmla="*/ 2054413 h 2058356"/>
              <a:gd name="connsiteX8" fmla="*/ 1160325 w 2366825"/>
              <a:gd name="connsiteY8" fmla="*/ 2035363 h 2058356"/>
              <a:gd name="connsiteX9" fmla="*/ 1690550 w 2366825"/>
              <a:gd name="connsiteY9" fmla="*/ 2054413 h 2058356"/>
              <a:gd name="connsiteX10" fmla="*/ 2100125 w 2366825"/>
              <a:gd name="connsiteY10" fmla="*/ 2048063 h 2058356"/>
              <a:gd name="connsiteX11" fmla="*/ 2265225 w 2366825"/>
              <a:gd name="connsiteY11" fmla="*/ 2038538 h 2058356"/>
              <a:gd name="connsiteX12" fmla="*/ 2335075 w 2366825"/>
              <a:gd name="connsiteY12" fmla="*/ 2035363 h 2058356"/>
              <a:gd name="connsiteX13" fmla="*/ 2363650 w 2366825"/>
              <a:gd name="connsiteY13" fmla="*/ 1987738 h 2058356"/>
              <a:gd name="connsiteX14" fmla="*/ 2366825 w 2366825"/>
              <a:gd name="connsiteY14" fmla="*/ 1841688 h 2058356"/>
              <a:gd name="connsiteX15" fmla="*/ 2350950 w 2366825"/>
              <a:gd name="connsiteY15" fmla="*/ 139888 h 2058356"/>
              <a:gd name="connsiteX16" fmla="*/ 2338250 w 2366825"/>
              <a:gd name="connsiteY16" fmla="*/ 98613 h 2058356"/>
              <a:gd name="connsiteX17" fmla="*/ 2331900 w 2366825"/>
              <a:gd name="connsiteY17" fmla="*/ 89088 h 2058356"/>
              <a:gd name="connsiteX18" fmla="*/ 2268400 w 2366825"/>
              <a:gd name="connsiteY18" fmla="*/ 79563 h 2058356"/>
              <a:gd name="connsiteX19" fmla="*/ 1849300 w 2366825"/>
              <a:gd name="connsiteY19" fmla="*/ 60513 h 2058356"/>
              <a:gd name="connsiteX20" fmla="*/ 449125 w 2366825"/>
              <a:gd name="connsiteY20" fmla="*/ 85913 h 2058356"/>
              <a:gd name="connsiteX21" fmla="*/ 26850 w 2366825"/>
              <a:gd name="connsiteY21" fmla="*/ 117663 h 2058356"/>
              <a:gd name="connsiteX0" fmla="*/ 26850 w 2366825"/>
              <a:gd name="connsiteY0" fmla="*/ 151074 h 2091767"/>
              <a:gd name="connsiteX1" fmla="*/ 7800 w 2366825"/>
              <a:gd name="connsiteY1" fmla="*/ 497149 h 2091767"/>
              <a:gd name="connsiteX2" fmla="*/ 1450 w 2366825"/>
              <a:gd name="connsiteY2" fmla="*/ 640024 h 2091767"/>
              <a:gd name="connsiteX3" fmla="*/ 14150 w 2366825"/>
              <a:gd name="connsiteY3" fmla="*/ 1001974 h 2091767"/>
              <a:gd name="connsiteX4" fmla="*/ 17325 w 2366825"/>
              <a:gd name="connsiteY4" fmla="*/ 1290899 h 2091767"/>
              <a:gd name="connsiteX5" fmla="*/ 20500 w 2366825"/>
              <a:gd name="connsiteY5" fmla="*/ 1687774 h 2091767"/>
              <a:gd name="connsiteX6" fmla="*/ 33200 w 2366825"/>
              <a:gd name="connsiteY6" fmla="*/ 2021149 h 2091767"/>
              <a:gd name="connsiteX7" fmla="*/ 179250 w 2366825"/>
              <a:gd name="connsiteY7" fmla="*/ 2087824 h 2091767"/>
              <a:gd name="connsiteX8" fmla="*/ 1160325 w 2366825"/>
              <a:gd name="connsiteY8" fmla="*/ 2068774 h 2091767"/>
              <a:gd name="connsiteX9" fmla="*/ 1690550 w 2366825"/>
              <a:gd name="connsiteY9" fmla="*/ 2087824 h 2091767"/>
              <a:gd name="connsiteX10" fmla="*/ 2100125 w 2366825"/>
              <a:gd name="connsiteY10" fmla="*/ 2081474 h 2091767"/>
              <a:gd name="connsiteX11" fmla="*/ 2265225 w 2366825"/>
              <a:gd name="connsiteY11" fmla="*/ 2071949 h 2091767"/>
              <a:gd name="connsiteX12" fmla="*/ 2335075 w 2366825"/>
              <a:gd name="connsiteY12" fmla="*/ 2068774 h 2091767"/>
              <a:gd name="connsiteX13" fmla="*/ 2363650 w 2366825"/>
              <a:gd name="connsiteY13" fmla="*/ 2021149 h 2091767"/>
              <a:gd name="connsiteX14" fmla="*/ 2366825 w 2366825"/>
              <a:gd name="connsiteY14" fmla="*/ 1875099 h 2091767"/>
              <a:gd name="connsiteX15" fmla="*/ 2338250 w 2366825"/>
              <a:gd name="connsiteY15" fmla="*/ 132024 h 2091767"/>
              <a:gd name="connsiteX16" fmla="*/ 2331900 w 2366825"/>
              <a:gd name="connsiteY16" fmla="*/ 122499 h 2091767"/>
              <a:gd name="connsiteX17" fmla="*/ 2268400 w 2366825"/>
              <a:gd name="connsiteY17" fmla="*/ 112974 h 2091767"/>
              <a:gd name="connsiteX18" fmla="*/ 1849300 w 2366825"/>
              <a:gd name="connsiteY18" fmla="*/ 93924 h 2091767"/>
              <a:gd name="connsiteX19" fmla="*/ 449125 w 2366825"/>
              <a:gd name="connsiteY19" fmla="*/ 119324 h 2091767"/>
              <a:gd name="connsiteX20" fmla="*/ 26850 w 2366825"/>
              <a:gd name="connsiteY20" fmla="*/ 151074 h 2091767"/>
              <a:gd name="connsiteX0" fmla="*/ 26850 w 2366825"/>
              <a:gd name="connsiteY0" fmla="*/ 160531 h 2101224"/>
              <a:gd name="connsiteX1" fmla="*/ 7800 w 2366825"/>
              <a:gd name="connsiteY1" fmla="*/ 506606 h 2101224"/>
              <a:gd name="connsiteX2" fmla="*/ 1450 w 2366825"/>
              <a:gd name="connsiteY2" fmla="*/ 649481 h 2101224"/>
              <a:gd name="connsiteX3" fmla="*/ 14150 w 2366825"/>
              <a:gd name="connsiteY3" fmla="*/ 1011431 h 2101224"/>
              <a:gd name="connsiteX4" fmla="*/ 17325 w 2366825"/>
              <a:gd name="connsiteY4" fmla="*/ 1300356 h 2101224"/>
              <a:gd name="connsiteX5" fmla="*/ 20500 w 2366825"/>
              <a:gd name="connsiteY5" fmla="*/ 1697231 h 2101224"/>
              <a:gd name="connsiteX6" fmla="*/ 33200 w 2366825"/>
              <a:gd name="connsiteY6" fmla="*/ 2030606 h 2101224"/>
              <a:gd name="connsiteX7" fmla="*/ 179250 w 2366825"/>
              <a:gd name="connsiteY7" fmla="*/ 2097281 h 2101224"/>
              <a:gd name="connsiteX8" fmla="*/ 1160325 w 2366825"/>
              <a:gd name="connsiteY8" fmla="*/ 2078231 h 2101224"/>
              <a:gd name="connsiteX9" fmla="*/ 1690550 w 2366825"/>
              <a:gd name="connsiteY9" fmla="*/ 2097281 h 2101224"/>
              <a:gd name="connsiteX10" fmla="*/ 2100125 w 2366825"/>
              <a:gd name="connsiteY10" fmla="*/ 2090931 h 2101224"/>
              <a:gd name="connsiteX11" fmla="*/ 2265225 w 2366825"/>
              <a:gd name="connsiteY11" fmla="*/ 2081406 h 2101224"/>
              <a:gd name="connsiteX12" fmla="*/ 2335075 w 2366825"/>
              <a:gd name="connsiteY12" fmla="*/ 2078231 h 2101224"/>
              <a:gd name="connsiteX13" fmla="*/ 2363650 w 2366825"/>
              <a:gd name="connsiteY13" fmla="*/ 2030606 h 2101224"/>
              <a:gd name="connsiteX14" fmla="*/ 2366825 w 2366825"/>
              <a:gd name="connsiteY14" fmla="*/ 1884556 h 2101224"/>
              <a:gd name="connsiteX15" fmla="*/ 2331900 w 2366825"/>
              <a:gd name="connsiteY15" fmla="*/ 131956 h 2101224"/>
              <a:gd name="connsiteX16" fmla="*/ 2268400 w 2366825"/>
              <a:gd name="connsiteY16" fmla="*/ 122431 h 2101224"/>
              <a:gd name="connsiteX17" fmla="*/ 1849300 w 2366825"/>
              <a:gd name="connsiteY17" fmla="*/ 103381 h 2101224"/>
              <a:gd name="connsiteX18" fmla="*/ 449125 w 2366825"/>
              <a:gd name="connsiteY18" fmla="*/ 128781 h 2101224"/>
              <a:gd name="connsiteX19" fmla="*/ 26850 w 2366825"/>
              <a:gd name="connsiteY19" fmla="*/ 160531 h 2101224"/>
              <a:gd name="connsiteX0" fmla="*/ 26850 w 2366825"/>
              <a:gd name="connsiteY0" fmla="*/ 57203 h 1997896"/>
              <a:gd name="connsiteX1" fmla="*/ 7800 w 2366825"/>
              <a:gd name="connsiteY1" fmla="*/ 403278 h 1997896"/>
              <a:gd name="connsiteX2" fmla="*/ 1450 w 2366825"/>
              <a:gd name="connsiteY2" fmla="*/ 546153 h 1997896"/>
              <a:gd name="connsiteX3" fmla="*/ 14150 w 2366825"/>
              <a:gd name="connsiteY3" fmla="*/ 908103 h 1997896"/>
              <a:gd name="connsiteX4" fmla="*/ 17325 w 2366825"/>
              <a:gd name="connsiteY4" fmla="*/ 1197028 h 1997896"/>
              <a:gd name="connsiteX5" fmla="*/ 20500 w 2366825"/>
              <a:gd name="connsiteY5" fmla="*/ 1593903 h 1997896"/>
              <a:gd name="connsiteX6" fmla="*/ 33200 w 2366825"/>
              <a:gd name="connsiteY6" fmla="*/ 1927278 h 1997896"/>
              <a:gd name="connsiteX7" fmla="*/ 179250 w 2366825"/>
              <a:gd name="connsiteY7" fmla="*/ 1993953 h 1997896"/>
              <a:gd name="connsiteX8" fmla="*/ 1160325 w 2366825"/>
              <a:gd name="connsiteY8" fmla="*/ 1974903 h 1997896"/>
              <a:gd name="connsiteX9" fmla="*/ 1690550 w 2366825"/>
              <a:gd name="connsiteY9" fmla="*/ 1993953 h 1997896"/>
              <a:gd name="connsiteX10" fmla="*/ 2100125 w 2366825"/>
              <a:gd name="connsiteY10" fmla="*/ 1987603 h 1997896"/>
              <a:gd name="connsiteX11" fmla="*/ 2265225 w 2366825"/>
              <a:gd name="connsiteY11" fmla="*/ 1978078 h 1997896"/>
              <a:gd name="connsiteX12" fmla="*/ 2335075 w 2366825"/>
              <a:gd name="connsiteY12" fmla="*/ 1974903 h 1997896"/>
              <a:gd name="connsiteX13" fmla="*/ 2363650 w 2366825"/>
              <a:gd name="connsiteY13" fmla="*/ 1927278 h 1997896"/>
              <a:gd name="connsiteX14" fmla="*/ 2366825 w 2366825"/>
              <a:gd name="connsiteY14" fmla="*/ 1781228 h 1997896"/>
              <a:gd name="connsiteX15" fmla="*/ 2331900 w 2366825"/>
              <a:gd name="connsiteY15" fmla="*/ 28628 h 1997896"/>
              <a:gd name="connsiteX16" fmla="*/ 2268400 w 2366825"/>
              <a:gd name="connsiteY16" fmla="*/ 19103 h 1997896"/>
              <a:gd name="connsiteX17" fmla="*/ 1849300 w 2366825"/>
              <a:gd name="connsiteY17" fmla="*/ 53 h 1997896"/>
              <a:gd name="connsiteX18" fmla="*/ 449125 w 2366825"/>
              <a:gd name="connsiteY18" fmla="*/ 25453 h 1997896"/>
              <a:gd name="connsiteX19" fmla="*/ 26850 w 2366825"/>
              <a:gd name="connsiteY19" fmla="*/ 57203 h 1997896"/>
              <a:gd name="connsiteX0" fmla="*/ 26850 w 2378558"/>
              <a:gd name="connsiteY0" fmla="*/ 59438 h 2000131"/>
              <a:gd name="connsiteX1" fmla="*/ 7800 w 2378558"/>
              <a:gd name="connsiteY1" fmla="*/ 405513 h 2000131"/>
              <a:gd name="connsiteX2" fmla="*/ 1450 w 2378558"/>
              <a:gd name="connsiteY2" fmla="*/ 548388 h 2000131"/>
              <a:gd name="connsiteX3" fmla="*/ 14150 w 2378558"/>
              <a:gd name="connsiteY3" fmla="*/ 910338 h 2000131"/>
              <a:gd name="connsiteX4" fmla="*/ 17325 w 2378558"/>
              <a:gd name="connsiteY4" fmla="*/ 1199263 h 2000131"/>
              <a:gd name="connsiteX5" fmla="*/ 20500 w 2378558"/>
              <a:gd name="connsiteY5" fmla="*/ 1596138 h 2000131"/>
              <a:gd name="connsiteX6" fmla="*/ 33200 w 2378558"/>
              <a:gd name="connsiteY6" fmla="*/ 1929513 h 2000131"/>
              <a:gd name="connsiteX7" fmla="*/ 179250 w 2378558"/>
              <a:gd name="connsiteY7" fmla="*/ 1996188 h 2000131"/>
              <a:gd name="connsiteX8" fmla="*/ 1160325 w 2378558"/>
              <a:gd name="connsiteY8" fmla="*/ 1977138 h 2000131"/>
              <a:gd name="connsiteX9" fmla="*/ 1690550 w 2378558"/>
              <a:gd name="connsiteY9" fmla="*/ 1996188 h 2000131"/>
              <a:gd name="connsiteX10" fmla="*/ 2100125 w 2378558"/>
              <a:gd name="connsiteY10" fmla="*/ 1989838 h 2000131"/>
              <a:gd name="connsiteX11" fmla="*/ 2265225 w 2378558"/>
              <a:gd name="connsiteY11" fmla="*/ 1980313 h 2000131"/>
              <a:gd name="connsiteX12" fmla="*/ 2335075 w 2378558"/>
              <a:gd name="connsiteY12" fmla="*/ 1977138 h 2000131"/>
              <a:gd name="connsiteX13" fmla="*/ 2363650 w 2378558"/>
              <a:gd name="connsiteY13" fmla="*/ 1929513 h 2000131"/>
              <a:gd name="connsiteX14" fmla="*/ 2366825 w 2378558"/>
              <a:gd name="connsiteY14" fmla="*/ 1783463 h 2000131"/>
              <a:gd name="connsiteX15" fmla="*/ 2354125 w 2378558"/>
              <a:gd name="connsiteY15" fmla="*/ 180088 h 2000131"/>
              <a:gd name="connsiteX16" fmla="*/ 2268400 w 2378558"/>
              <a:gd name="connsiteY16" fmla="*/ 21338 h 2000131"/>
              <a:gd name="connsiteX17" fmla="*/ 1849300 w 2378558"/>
              <a:gd name="connsiteY17" fmla="*/ 2288 h 2000131"/>
              <a:gd name="connsiteX18" fmla="*/ 449125 w 2378558"/>
              <a:gd name="connsiteY18" fmla="*/ 27688 h 2000131"/>
              <a:gd name="connsiteX19" fmla="*/ 26850 w 2378558"/>
              <a:gd name="connsiteY19" fmla="*/ 59438 h 2000131"/>
              <a:gd name="connsiteX0" fmla="*/ 26850 w 2378558"/>
              <a:gd name="connsiteY0" fmla="*/ 57193 h 1997886"/>
              <a:gd name="connsiteX1" fmla="*/ 7800 w 2378558"/>
              <a:gd name="connsiteY1" fmla="*/ 403268 h 1997886"/>
              <a:gd name="connsiteX2" fmla="*/ 1450 w 2378558"/>
              <a:gd name="connsiteY2" fmla="*/ 546143 h 1997886"/>
              <a:gd name="connsiteX3" fmla="*/ 14150 w 2378558"/>
              <a:gd name="connsiteY3" fmla="*/ 908093 h 1997886"/>
              <a:gd name="connsiteX4" fmla="*/ 17325 w 2378558"/>
              <a:gd name="connsiteY4" fmla="*/ 1197018 h 1997886"/>
              <a:gd name="connsiteX5" fmla="*/ 20500 w 2378558"/>
              <a:gd name="connsiteY5" fmla="*/ 1593893 h 1997886"/>
              <a:gd name="connsiteX6" fmla="*/ 33200 w 2378558"/>
              <a:gd name="connsiteY6" fmla="*/ 1927268 h 1997886"/>
              <a:gd name="connsiteX7" fmla="*/ 179250 w 2378558"/>
              <a:gd name="connsiteY7" fmla="*/ 1993943 h 1997886"/>
              <a:gd name="connsiteX8" fmla="*/ 1160325 w 2378558"/>
              <a:gd name="connsiteY8" fmla="*/ 1974893 h 1997886"/>
              <a:gd name="connsiteX9" fmla="*/ 1690550 w 2378558"/>
              <a:gd name="connsiteY9" fmla="*/ 1993943 h 1997886"/>
              <a:gd name="connsiteX10" fmla="*/ 2100125 w 2378558"/>
              <a:gd name="connsiteY10" fmla="*/ 1987593 h 1997886"/>
              <a:gd name="connsiteX11" fmla="*/ 2265225 w 2378558"/>
              <a:gd name="connsiteY11" fmla="*/ 1978068 h 1997886"/>
              <a:gd name="connsiteX12" fmla="*/ 2335075 w 2378558"/>
              <a:gd name="connsiteY12" fmla="*/ 1974893 h 1997886"/>
              <a:gd name="connsiteX13" fmla="*/ 2363650 w 2378558"/>
              <a:gd name="connsiteY13" fmla="*/ 1927268 h 1997886"/>
              <a:gd name="connsiteX14" fmla="*/ 2366825 w 2378558"/>
              <a:gd name="connsiteY14" fmla="*/ 1781218 h 1997886"/>
              <a:gd name="connsiteX15" fmla="*/ 2354125 w 2378558"/>
              <a:gd name="connsiteY15" fmla="*/ 177843 h 1997886"/>
              <a:gd name="connsiteX16" fmla="*/ 2268400 w 2378558"/>
              <a:gd name="connsiteY16" fmla="*/ 19093 h 1997886"/>
              <a:gd name="connsiteX17" fmla="*/ 1849300 w 2378558"/>
              <a:gd name="connsiteY17" fmla="*/ 43 h 1997886"/>
              <a:gd name="connsiteX18" fmla="*/ 449125 w 2378558"/>
              <a:gd name="connsiteY18" fmla="*/ 25443 h 1997886"/>
              <a:gd name="connsiteX19" fmla="*/ 26850 w 2378558"/>
              <a:gd name="connsiteY19" fmla="*/ 57193 h 1997886"/>
              <a:gd name="connsiteX0" fmla="*/ 26850 w 2366825"/>
              <a:gd name="connsiteY0" fmla="*/ 57823 h 1998516"/>
              <a:gd name="connsiteX1" fmla="*/ 7800 w 2366825"/>
              <a:gd name="connsiteY1" fmla="*/ 403898 h 1998516"/>
              <a:gd name="connsiteX2" fmla="*/ 1450 w 2366825"/>
              <a:gd name="connsiteY2" fmla="*/ 546773 h 1998516"/>
              <a:gd name="connsiteX3" fmla="*/ 14150 w 2366825"/>
              <a:gd name="connsiteY3" fmla="*/ 908723 h 1998516"/>
              <a:gd name="connsiteX4" fmla="*/ 17325 w 2366825"/>
              <a:gd name="connsiteY4" fmla="*/ 1197648 h 1998516"/>
              <a:gd name="connsiteX5" fmla="*/ 20500 w 2366825"/>
              <a:gd name="connsiteY5" fmla="*/ 1594523 h 1998516"/>
              <a:gd name="connsiteX6" fmla="*/ 33200 w 2366825"/>
              <a:gd name="connsiteY6" fmla="*/ 1927898 h 1998516"/>
              <a:gd name="connsiteX7" fmla="*/ 179250 w 2366825"/>
              <a:gd name="connsiteY7" fmla="*/ 1994573 h 1998516"/>
              <a:gd name="connsiteX8" fmla="*/ 1160325 w 2366825"/>
              <a:gd name="connsiteY8" fmla="*/ 1975523 h 1998516"/>
              <a:gd name="connsiteX9" fmla="*/ 1690550 w 2366825"/>
              <a:gd name="connsiteY9" fmla="*/ 1994573 h 1998516"/>
              <a:gd name="connsiteX10" fmla="*/ 2100125 w 2366825"/>
              <a:gd name="connsiteY10" fmla="*/ 1988223 h 1998516"/>
              <a:gd name="connsiteX11" fmla="*/ 2265225 w 2366825"/>
              <a:gd name="connsiteY11" fmla="*/ 1978698 h 1998516"/>
              <a:gd name="connsiteX12" fmla="*/ 2335075 w 2366825"/>
              <a:gd name="connsiteY12" fmla="*/ 1975523 h 1998516"/>
              <a:gd name="connsiteX13" fmla="*/ 2363650 w 2366825"/>
              <a:gd name="connsiteY13" fmla="*/ 1927898 h 1998516"/>
              <a:gd name="connsiteX14" fmla="*/ 2366825 w 2366825"/>
              <a:gd name="connsiteY14" fmla="*/ 1781848 h 1998516"/>
              <a:gd name="connsiteX15" fmla="*/ 2354125 w 2366825"/>
              <a:gd name="connsiteY15" fmla="*/ 178473 h 1998516"/>
              <a:gd name="connsiteX16" fmla="*/ 2271575 w 2366825"/>
              <a:gd name="connsiteY16" fmla="*/ 38773 h 1998516"/>
              <a:gd name="connsiteX17" fmla="*/ 1849300 w 2366825"/>
              <a:gd name="connsiteY17" fmla="*/ 673 h 1998516"/>
              <a:gd name="connsiteX18" fmla="*/ 449125 w 2366825"/>
              <a:gd name="connsiteY18" fmla="*/ 26073 h 1998516"/>
              <a:gd name="connsiteX19" fmla="*/ 26850 w 2366825"/>
              <a:gd name="connsiteY19" fmla="*/ 57823 h 1998516"/>
              <a:gd name="connsiteX0" fmla="*/ 26850 w 2366825"/>
              <a:gd name="connsiteY0" fmla="*/ 49993 h 1990686"/>
              <a:gd name="connsiteX1" fmla="*/ 7800 w 2366825"/>
              <a:gd name="connsiteY1" fmla="*/ 396068 h 1990686"/>
              <a:gd name="connsiteX2" fmla="*/ 1450 w 2366825"/>
              <a:gd name="connsiteY2" fmla="*/ 538943 h 1990686"/>
              <a:gd name="connsiteX3" fmla="*/ 14150 w 2366825"/>
              <a:gd name="connsiteY3" fmla="*/ 900893 h 1990686"/>
              <a:gd name="connsiteX4" fmla="*/ 17325 w 2366825"/>
              <a:gd name="connsiteY4" fmla="*/ 1189818 h 1990686"/>
              <a:gd name="connsiteX5" fmla="*/ 20500 w 2366825"/>
              <a:gd name="connsiteY5" fmla="*/ 1586693 h 1990686"/>
              <a:gd name="connsiteX6" fmla="*/ 33200 w 2366825"/>
              <a:gd name="connsiteY6" fmla="*/ 1920068 h 1990686"/>
              <a:gd name="connsiteX7" fmla="*/ 179250 w 2366825"/>
              <a:gd name="connsiteY7" fmla="*/ 1986743 h 1990686"/>
              <a:gd name="connsiteX8" fmla="*/ 1160325 w 2366825"/>
              <a:gd name="connsiteY8" fmla="*/ 1967693 h 1990686"/>
              <a:gd name="connsiteX9" fmla="*/ 1690550 w 2366825"/>
              <a:gd name="connsiteY9" fmla="*/ 1986743 h 1990686"/>
              <a:gd name="connsiteX10" fmla="*/ 2100125 w 2366825"/>
              <a:gd name="connsiteY10" fmla="*/ 1980393 h 1990686"/>
              <a:gd name="connsiteX11" fmla="*/ 2265225 w 2366825"/>
              <a:gd name="connsiteY11" fmla="*/ 1970868 h 1990686"/>
              <a:gd name="connsiteX12" fmla="*/ 2335075 w 2366825"/>
              <a:gd name="connsiteY12" fmla="*/ 1967693 h 1990686"/>
              <a:gd name="connsiteX13" fmla="*/ 2363650 w 2366825"/>
              <a:gd name="connsiteY13" fmla="*/ 1920068 h 1990686"/>
              <a:gd name="connsiteX14" fmla="*/ 2366825 w 2366825"/>
              <a:gd name="connsiteY14" fmla="*/ 1774018 h 1990686"/>
              <a:gd name="connsiteX15" fmla="*/ 2354125 w 2366825"/>
              <a:gd name="connsiteY15" fmla="*/ 170643 h 1990686"/>
              <a:gd name="connsiteX16" fmla="*/ 2271575 w 2366825"/>
              <a:gd name="connsiteY16" fmla="*/ 30943 h 1990686"/>
              <a:gd name="connsiteX17" fmla="*/ 1563550 w 2366825"/>
              <a:gd name="connsiteY17" fmla="*/ 34118 h 1990686"/>
              <a:gd name="connsiteX18" fmla="*/ 449125 w 2366825"/>
              <a:gd name="connsiteY18" fmla="*/ 18243 h 1990686"/>
              <a:gd name="connsiteX19" fmla="*/ 26850 w 2366825"/>
              <a:gd name="connsiteY19" fmla="*/ 49993 h 1990686"/>
              <a:gd name="connsiteX0" fmla="*/ 26850 w 2366825"/>
              <a:gd name="connsiteY0" fmla="*/ 52240 h 1992933"/>
              <a:gd name="connsiteX1" fmla="*/ 7800 w 2366825"/>
              <a:gd name="connsiteY1" fmla="*/ 398315 h 1992933"/>
              <a:gd name="connsiteX2" fmla="*/ 1450 w 2366825"/>
              <a:gd name="connsiteY2" fmla="*/ 541190 h 1992933"/>
              <a:gd name="connsiteX3" fmla="*/ 14150 w 2366825"/>
              <a:gd name="connsiteY3" fmla="*/ 903140 h 1992933"/>
              <a:gd name="connsiteX4" fmla="*/ 17325 w 2366825"/>
              <a:gd name="connsiteY4" fmla="*/ 1192065 h 1992933"/>
              <a:gd name="connsiteX5" fmla="*/ 20500 w 2366825"/>
              <a:gd name="connsiteY5" fmla="*/ 1588940 h 1992933"/>
              <a:gd name="connsiteX6" fmla="*/ 33200 w 2366825"/>
              <a:gd name="connsiteY6" fmla="*/ 1922315 h 1992933"/>
              <a:gd name="connsiteX7" fmla="*/ 179250 w 2366825"/>
              <a:gd name="connsiteY7" fmla="*/ 1988990 h 1992933"/>
              <a:gd name="connsiteX8" fmla="*/ 1160325 w 2366825"/>
              <a:gd name="connsiteY8" fmla="*/ 1969940 h 1992933"/>
              <a:gd name="connsiteX9" fmla="*/ 1690550 w 2366825"/>
              <a:gd name="connsiteY9" fmla="*/ 1988990 h 1992933"/>
              <a:gd name="connsiteX10" fmla="*/ 2100125 w 2366825"/>
              <a:gd name="connsiteY10" fmla="*/ 1982640 h 1992933"/>
              <a:gd name="connsiteX11" fmla="*/ 2265225 w 2366825"/>
              <a:gd name="connsiteY11" fmla="*/ 1973115 h 1992933"/>
              <a:gd name="connsiteX12" fmla="*/ 2335075 w 2366825"/>
              <a:gd name="connsiteY12" fmla="*/ 1969940 h 1992933"/>
              <a:gd name="connsiteX13" fmla="*/ 2363650 w 2366825"/>
              <a:gd name="connsiteY13" fmla="*/ 1922315 h 1992933"/>
              <a:gd name="connsiteX14" fmla="*/ 2366825 w 2366825"/>
              <a:gd name="connsiteY14" fmla="*/ 1776265 h 1992933"/>
              <a:gd name="connsiteX15" fmla="*/ 2354125 w 2366825"/>
              <a:gd name="connsiteY15" fmla="*/ 172890 h 1992933"/>
              <a:gd name="connsiteX16" fmla="*/ 2271575 w 2366825"/>
              <a:gd name="connsiteY16" fmla="*/ 33190 h 1992933"/>
              <a:gd name="connsiteX17" fmla="*/ 1563550 w 2366825"/>
              <a:gd name="connsiteY17" fmla="*/ 36365 h 1992933"/>
              <a:gd name="connsiteX18" fmla="*/ 449125 w 2366825"/>
              <a:gd name="connsiteY18" fmla="*/ 20490 h 1992933"/>
              <a:gd name="connsiteX19" fmla="*/ 26850 w 2366825"/>
              <a:gd name="connsiteY19" fmla="*/ 52240 h 1992933"/>
              <a:gd name="connsiteX0" fmla="*/ 26850 w 2366825"/>
              <a:gd name="connsiteY0" fmla="*/ 31750 h 1972443"/>
              <a:gd name="connsiteX1" fmla="*/ 7800 w 2366825"/>
              <a:gd name="connsiteY1" fmla="*/ 377825 h 1972443"/>
              <a:gd name="connsiteX2" fmla="*/ 1450 w 2366825"/>
              <a:gd name="connsiteY2" fmla="*/ 520700 h 1972443"/>
              <a:gd name="connsiteX3" fmla="*/ 14150 w 2366825"/>
              <a:gd name="connsiteY3" fmla="*/ 882650 h 1972443"/>
              <a:gd name="connsiteX4" fmla="*/ 17325 w 2366825"/>
              <a:gd name="connsiteY4" fmla="*/ 1171575 h 1972443"/>
              <a:gd name="connsiteX5" fmla="*/ 20500 w 2366825"/>
              <a:gd name="connsiteY5" fmla="*/ 1568450 h 1972443"/>
              <a:gd name="connsiteX6" fmla="*/ 33200 w 2366825"/>
              <a:gd name="connsiteY6" fmla="*/ 1901825 h 1972443"/>
              <a:gd name="connsiteX7" fmla="*/ 179250 w 2366825"/>
              <a:gd name="connsiteY7" fmla="*/ 1968500 h 1972443"/>
              <a:gd name="connsiteX8" fmla="*/ 1160325 w 2366825"/>
              <a:gd name="connsiteY8" fmla="*/ 1949450 h 1972443"/>
              <a:gd name="connsiteX9" fmla="*/ 1690550 w 2366825"/>
              <a:gd name="connsiteY9" fmla="*/ 1968500 h 1972443"/>
              <a:gd name="connsiteX10" fmla="*/ 2100125 w 2366825"/>
              <a:gd name="connsiteY10" fmla="*/ 1962150 h 1972443"/>
              <a:gd name="connsiteX11" fmla="*/ 2265225 w 2366825"/>
              <a:gd name="connsiteY11" fmla="*/ 1952625 h 1972443"/>
              <a:gd name="connsiteX12" fmla="*/ 2335075 w 2366825"/>
              <a:gd name="connsiteY12" fmla="*/ 1949450 h 1972443"/>
              <a:gd name="connsiteX13" fmla="*/ 2363650 w 2366825"/>
              <a:gd name="connsiteY13" fmla="*/ 1901825 h 1972443"/>
              <a:gd name="connsiteX14" fmla="*/ 2366825 w 2366825"/>
              <a:gd name="connsiteY14" fmla="*/ 1755775 h 1972443"/>
              <a:gd name="connsiteX15" fmla="*/ 2354125 w 2366825"/>
              <a:gd name="connsiteY15" fmla="*/ 152400 h 1972443"/>
              <a:gd name="connsiteX16" fmla="*/ 2271575 w 2366825"/>
              <a:gd name="connsiteY16" fmla="*/ 12700 h 1972443"/>
              <a:gd name="connsiteX17" fmla="*/ 1563550 w 2366825"/>
              <a:gd name="connsiteY17" fmla="*/ 15875 h 1972443"/>
              <a:gd name="connsiteX18" fmla="*/ 449125 w 2366825"/>
              <a:gd name="connsiteY18" fmla="*/ 0 h 1972443"/>
              <a:gd name="connsiteX19" fmla="*/ 26850 w 2366825"/>
              <a:gd name="connsiteY19" fmla="*/ 31750 h 1972443"/>
              <a:gd name="connsiteX0" fmla="*/ 26850 w 2366825"/>
              <a:gd name="connsiteY0" fmla="*/ 31750 h 1972443"/>
              <a:gd name="connsiteX1" fmla="*/ 7800 w 2366825"/>
              <a:gd name="connsiteY1" fmla="*/ 377825 h 1972443"/>
              <a:gd name="connsiteX2" fmla="*/ 1450 w 2366825"/>
              <a:gd name="connsiteY2" fmla="*/ 520700 h 1972443"/>
              <a:gd name="connsiteX3" fmla="*/ 14150 w 2366825"/>
              <a:gd name="connsiteY3" fmla="*/ 882650 h 1972443"/>
              <a:gd name="connsiteX4" fmla="*/ 17325 w 2366825"/>
              <a:gd name="connsiteY4" fmla="*/ 1171575 h 1972443"/>
              <a:gd name="connsiteX5" fmla="*/ 20500 w 2366825"/>
              <a:gd name="connsiteY5" fmla="*/ 1568450 h 1972443"/>
              <a:gd name="connsiteX6" fmla="*/ 33200 w 2366825"/>
              <a:gd name="connsiteY6" fmla="*/ 1901825 h 1972443"/>
              <a:gd name="connsiteX7" fmla="*/ 179250 w 2366825"/>
              <a:gd name="connsiteY7" fmla="*/ 1968500 h 1972443"/>
              <a:gd name="connsiteX8" fmla="*/ 1160325 w 2366825"/>
              <a:gd name="connsiteY8" fmla="*/ 1949450 h 1972443"/>
              <a:gd name="connsiteX9" fmla="*/ 1690550 w 2366825"/>
              <a:gd name="connsiteY9" fmla="*/ 1968500 h 1972443"/>
              <a:gd name="connsiteX10" fmla="*/ 2100125 w 2366825"/>
              <a:gd name="connsiteY10" fmla="*/ 1962150 h 1972443"/>
              <a:gd name="connsiteX11" fmla="*/ 2335075 w 2366825"/>
              <a:gd name="connsiteY11" fmla="*/ 1949450 h 1972443"/>
              <a:gd name="connsiteX12" fmla="*/ 2363650 w 2366825"/>
              <a:gd name="connsiteY12" fmla="*/ 1901825 h 1972443"/>
              <a:gd name="connsiteX13" fmla="*/ 2366825 w 2366825"/>
              <a:gd name="connsiteY13" fmla="*/ 1755775 h 1972443"/>
              <a:gd name="connsiteX14" fmla="*/ 2354125 w 2366825"/>
              <a:gd name="connsiteY14" fmla="*/ 152400 h 1972443"/>
              <a:gd name="connsiteX15" fmla="*/ 2271575 w 2366825"/>
              <a:gd name="connsiteY15" fmla="*/ 12700 h 1972443"/>
              <a:gd name="connsiteX16" fmla="*/ 1563550 w 2366825"/>
              <a:gd name="connsiteY16" fmla="*/ 15875 h 1972443"/>
              <a:gd name="connsiteX17" fmla="*/ 449125 w 2366825"/>
              <a:gd name="connsiteY17" fmla="*/ 0 h 1972443"/>
              <a:gd name="connsiteX18" fmla="*/ 26850 w 2366825"/>
              <a:gd name="connsiteY18" fmla="*/ 31750 h 1972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2366825" h="1972443">
                <a:moveTo>
                  <a:pt x="26850" y="31750"/>
                </a:moveTo>
                <a:cubicBezTo>
                  <a:pt x="-14954" y="56621"/>
                  <a:pt x="10649" y="257204"/>
                  <a:pt x="7800" y="377825"/>
                </a:cubicBezTo>
                <a:cubicBezTo>
                  <a:pt x="1450" y="450321"/>
                  <a:pt x="5683" y="494771"/>
                  <a:pt x="1450" y="520700"/>
                </a:cubicBezTo>
                <a:cubicBezTo>
                  <a:pt x="-4900" y="606425"/>
                  <a:pt x="11504" y="774171"/>
                  <a:pt x="14150" y="882650"/>
                </a:cubicBezTo>
                <a:cubicBezTo>
                  <a:pt x="16796" y="991129"/>
                  <a:pt x="16267" y="1057275"/>
                  <a:pt x="17325" y="1171575"/>
                </a:cubicBezTo>
                <a:cubicBezTo>
                  <a:pt x="18383" y="1285875"/>
                  <a:pt x="17854" y="1446742"/>
                  <a:pt x="20500" y="1568450"/>
                </a:cubicBezTo>
                <a:cubicBezTo>
                  <a:pt x="23146" y="1690158"/>
                  <a:pt x="28967" y="1828800"/>
                  <a:pt x="33200" y="1901825"/>
                </a:cubicBezTo>
                <a:cubicBezTo>
                  <a:pt x="37351" y="1973437"/>
                  <a:pt x="31888" y="1961483"/>
                  <a:pt x="179250" y="1968500"/>
                </a:cubicBezTo>
                <a:cubicBezTo>
                  <a:pt x="411025" y="1983846"/>
                  <a:pt x="908442" y="1949450"/>
                  <a:pt x="1160325" y="1949450"/>
                </a:cubicBezTo>
                <a:cubicBezTo>
                  <a:pt x="1412208" y="1949450"/>
                  <a:pt x="1513808" y="1962150"/>
                  <a:pt x="1690550" y="1968500"/>
                </a:cubicBezTo>
                <a:lnTo>
                  <a:pt x="2100125" y="1962150"/>
                </a:lnTo>
                <a:cubicBezTo>
                  <a:pt x="2207546" y="1958975"/>
                  <a:pt x="2291154" y="1959504"/>
                  <a:pt x="2335075" y="1949450"/>
                </a:cubicBezTo>
                <a:cubicBezTo>
                  <a:pt x="2378996" y="1939396"/>
                  <a:pt x="2358358" y="1934104"/>
                  <a:pt x="2363650" y="1901825"/>
                </a:cubicBezTo>
                <a:cubicBezTo>
                  <a:pt x="2368942" y="1869546"/>
                  <a:pt x="2365175" y="1804442"/>
                  <a:pt x="2366825" y="1755775"/>
                </a:cubicBezTo>
                <a:cubicBezTo>
                  <a:pt x="2361533" y="1439333"/>
                  <a:pt x="2360518" y="443276"/>
                  <a:pt x="2354125" y="152400"/>
                </a:cubicBezTo>
                <a:cubicBezTo>
                  <a:pt x="2350950" y="7937"/>
                  <a:pt x="2352537" y="29104"/>
                  <a:pt x="2271575" y="12700"/>
                </a:cubicBezTo>
                <a:cubicBezTo>
                  <a:pt x="2140526" y="-13852"/>
                  <a:pt x="1866762" y="14817"/>
                  <a:pt x="1563550" y="15875"/>
                </a:cubicBezTo>
                <a:lnTo>
                  <a:pt x="449125" y="0"/>
                </a:lnTo>
                <a:cubicBezTo>
                  <a:pt x="193008" y="2646"/>
                  <a:pt x="68654" y="6879"/>
                  <a:pt x="26850" y="31750"/>
                </a:cubicBezTo>
                <a:close/>
              </a:path>
            </a:pathLst>
          </a:custGeom>
          <a:solidFill>
            <a:schemeClr val="bg1"/>
          </a:solidFill>
          <a:ln w="1270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pic>
        <p:nvPicPr>
          <p:cNvPr id="231" name="Graphic 230">
            <a:extLst>
              <a:ext uri="{FF2B5EF4-FFF2-40B4-BE49-F238E27FC236}">
                <a16:creationId xmlns:a16="http://schemas.microsoft.com/office/drawing/2014/main" id="{AFF96802-632C-BD4D-B3CB-66794B89273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875245" y="5448060"/>
            <a:ext cx="291022" cy="291022"/>
          </a:xfrm>
          <a:prstGeom prst="rect">
            <a:avLst/>
          </a:prstGeom>
        </p:spPr>
      </p:pic>
      <p:pic>
        <p:nvPicPr>
          <p:cNvPr id="232" name="Graphic 231">
            <a:extLst>
              <a:ext uri="{FF2B5EF4-FFF2-40B4-BE49-F238E27FC236}">
                <a16:creationId xmlns:a16="http://schemas.microsoft.com/office/drawing/2014/main" id="{6D89289F-7E7A-405B-2EE8-163FC19187F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360005" y="5448060"/>
            <a:ext cx="291022" cy="291022"/>
          </a:xfrm>
          <a:prstGeom prst="rect">
            <a:avLst/>
          </a:prstGeom>
        </p:spPr>
      </p:pic>
      <p:pic>
        <p:nvPicPr>
          <p:cNvPr id="228" name="Graphic 227">
            <a:extLst>
              <a:ext uri="{FF2B5EF4-FFF2-40B4-BE49-F238E27FC236}">
                <a16:creationId xmlns:a16="http://schemas.microsoft.com/office/drawing/2014/main" id="{1773D7DB-82AA-66BD-67C1-BBBCEEA049F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875244" y="4357386"/>
            <a:ext cx="291022" cy="291022"/>
          </a:xfrm>
          <a:prstGeom prst="rect">
            <a:avLst/>
          </a:prstGeom>
        </p:spPr>
      </p:pic>
      <p:pic>
        <p:nvPicPr>
          <p:cNvPr id="229" name="Graphic 228">
            <a:extLst>
              <a:ext uri="{FF2B5EF4-FFF2-40B4-BE49-F238E27FC236}">
                <a16:creationId xmlns:a16="http://schemas.microsoft.com/office/drawing/2014/main" id="{7E7CE50C-6061-A07C-5804-DD76DAB98635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360005" y="4357386"/>
            <a:ext cx="291022" cy="291022"/>
          </a:xfrm>
          <a:prstGeom prst="rect">
            <a:avLst/>
          </a:prstGeom>
        </p:spPr>
      </p:pic>
      <p:pic>
        <p:nvPicPr>
          <p:cNvPr id="230" name="Graphic 229">
            <a:extLst>
              <a:ext uri="{FF2B5EF4-FFF2-40B4-BE49-F238E27FC236}">
                <a16:creationId xmlns:a16="http://schemas.microsoft.com/office/drawing/2014/main" id="{9A5A1392-9EBB-43B2-C10B-9AA1D204A97A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844765" y="4357386"/>
            <a:ext cx="291022" cy="291022"/>
          </a:xfrm>
          <a:prstGeom prst="rect">
            <a:avLst/>
          </a:prstGeom>
        </p:spPr>
      </p:pic>
      <p:pic>
        <p:nvPicPr>
          <p:cNvPr id="225" name="Graphic 224">
            <a:extLst>
              <a:ext uri="{FF2B5EF4-FFF2-40B4-BE49-F238E27FC236}">
                <a16:creationId xmlns:a16="http://schemas.microsoft.com/office/drawing/2014/main" id="{4C412AB8-6E63-954D-672F-8FA96318851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875245" y="5084503"/>
            <a:ext cx="291022" cy="291022"/>
          </a:xfrm>
          <a:prstGeom prst="rect">
            <a:avLst/>
          </a:prstGeom>
        </p:spPr>
      </p:pic>
      <p:pic>
        <p:nvPicPr>
          <p:cNvPr id="226" name="Graphic 225">
            <a:extLst>
              <a:ext uri="{FF2B5EF4-FFF2-40B4-BE49-F238E27FC236}">
                <a16:creationId xmlns:a16="http://schemas.microsoft.com/office/drawing/2014/main" id="{D8A6E838-F1B3-4495-B40F-1C31DC111037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360005" y="5084503"/>
            <a:ext cx="291022" cy="291022"/>
          </a:xfrm>
          <a:prstGeom prst="rect">
            <a:avLst/>
          </a:prstGeom>
        </p:spPr>
      </p:pic>
      <p:pic>
        <p:nvPicPr>
          <p:cNvPr id="227" name="Graphic 226">
            <a:extLst>
              <a:ext uri="{FF2B5EF4-FFF2-40B4-BE49-F238E27FC236}">
                <a16:creationId xmlns:a16="http://schemas.microsoft.com/office/drawing/2014/main" id="{D06FC75D-DE07-4C54-7968-8BC1A4D81958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844765" y="5084503"/>
            <a:ext cx="291022" cy="291022"/>
          </a:xfrm>
          <a:prstGeom prst="rect">
            <a:avLst/>
          </a:prstGeom>
        </p:spPr>
      </p:pic>
      <p:pic>
        <p:nvPicPr>
          <p:cNvPr id="222" name="Graphic 221">
            <a:extLst>
              <a:ext uri="{FF2B5EF4-FFF2-40B4-BE49-F238E27FC236}">
                <a16:creationId xmlns:a16="http://schemas.microsoft.com/office/drawing/2014/main" id="{97E66363-216A-831A-E83C-5F10B1BA6C0D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4875244" y="4720945"/>
            <a:ext cx="291022" cy="291022"/>
          </a:xfrm>
          <a:prstGeom prst="rect">
            <a:avLst/>
          </a:prstGeom>
        </p:spPr>
      </p:pic>
      <p:pic>
        <p:nvPicPr>
          <p:cNvPr id="223" name="Graphic 222">
            <a:extLst>
              <a:ext uri="{FF2B5EF4-FFF2-40B4-BE49-F238E27FC236}">
                <a16:creationId xmlns:a16="http://schemas.microsoft.com/office/drawing/2014/main" id="{6A598B32-F3EE-EC86-D123-37542DA68DE9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5360005" y="4720945"/>
            <a:ext cx="291022" cy="291022"/>
          </a:xfrm>
          <a:prstGeom prst="rect">
            <a:avLst/>
          </a:prstGeom>
        </p:spPr>
      </p:pic>
      <p:pic>
        <p:nvPicPr>
          <p:cNvPr id="224" name="Graphic 223">
            <a:extLst>
              <a:ext uri="{FF2B5EF4-FFF2-40B4-BE49-F238E27FC236}">
                <a16:creationId xmlns:a16="http://schemas.microsoft.com/office/drawing/2014/main" id="{4916ABF8-AF6E-555D-1842-E2090B7E7825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5844765" y="4720945"/>
            <a:ext cx="291022" cy="291022"/>
          </a:xfrm>
          <a:prstGeom prst="rect">
            <a:avLst/>
          </a:prstGeom>
        </p:spPr>
      </p:pic>
      <p:pic>
        <p:nvPicPr>
          <p:cNvPr id="219" name="Graphic 218">
            <a:extLst>
              <a:ext uri="{FF2B5EF4-FFF2-40B4-BE49-F238E27FC236}">
                <a16:creationId xmlns:a16="http://schemas.microsoft.com/office/drawing/2014/main" id="{B2475CE9-E430-17FE-0E8C-A7F59C5395B6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4875245" y="3993828"/>
            <a:ext cx="291022" cy="291022"/>
          </a:xfrm>
          <a:prstGeom prst="rect">
            <a:avLst/>
          </a:prstGeom>
        </p:spPr>
      </p:pic>
      <p:pic>
        <p:nvPicPr>
          <p:cNvPr id="220" name="Graphic 219">
            <a:extLst>
              <a:ext uri="{FF2B5EF4-FFF2-40B4-BE49-F238E27FC236}">
                <a16:creationId xmlns:a16="http://schemas.microsoft.com/office/drawing/2014/main" id="{B15E9757-1C17-119B-6C6E-8588C131006D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5360005" y="3993828"/>
            <a:ext cx="291022" cy="291022"/>
          </a:xfrm>
          <a:prstGeom prst="rect">
            <a:avLst/>
          </a:prstGeom>
        </p:spPr>
      </p:pic>
      <p:pic>
        <p:nvPicPr>
          <p:cNvPr id="221" name="Graphic 220">
            <a:extLst>
              <a:ext uri="{FF2B5EF4-FFF2-40B4-BE49-F238E27FC236}">
                <a16:creationId xmlns:a16="http://schemas.microsoft.com/office/drawing/2014/main" id="{B82158F0-CDA3-B81A-0867-81318A86C206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5844765" y="3993828"/>
            <a:ext cx="291022" cy="29102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755060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199493-A68E-6023-4B42-E283336678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40265BC-547C-16F5-3888-F02EE3AB861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0265BC-547C-16F5-3888-F02EE3AB86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121C37CC-11A9-427B-99BD-315CFB4BE53F}"/>
              </a:ext>
            </a:extLst>
          </p:cNvPr>
          <p:cNvSpPr>
            <a:spLocks/>
          </p:cNvSpPr>
          <p:nvPr/>
        </p:nvSpPr>
        <p:spPr>
          <a:xfrm>
            <a:off x="3153909" y="1590993"/>
            <a:ext cx="8678090" cy="868654"/>
          </a:xfrm>
          <a:custGeom>
            <a:avLst/>
            <a:gdLst>
              <a:gd name="connsiteX0" fmla="*/ 45720 w 8732972"/>
              <a:gd name="connsiteY0" fmla="*/ 161007 h 931183"/>
              <a:gd name="connsiteX1" fmla="*/ 45720 w 8732972"/>
              <a:gd name="connsiteY1" fmla="*/ 161007 h 931183"/>
              <a:gd name="connsiteX2" fmla="*/ 83820 w 8732972"/>
              <a:gd name="connsiteY2" fmla="*/ 107667 h 931183"/>
              <a:gd name="connsiteX3" fmla="*/ 99060 w 8732972"/>
              <a:gd name="connsiteY3" fmla="*/ 77187 h 931183"/>
              <a:gd name="connsiteX4" fmla="*/ 175260 w 8732972"/>
              <a:gd name="connsiteY4" fmla="*/ 31467 h 931183"/>
              <a:gd name="connsiteX5" fmla="*/ 213360 w 8732972"/>
              <a:gd name="connsiteY5" fmla="*/ 23847 h 931183"/>
              <a:gd name="connsiteX6" fmla="*/ 243840 w 8732972"/>
              <a:gd name="connsiteY6" fmla="*/ 16227 h 931183"/>
              <a:gd name="connsiteX7" fmla="*/ 1409700 w 8732972"/>
              <a:gd name="connsiteY7" fmla="*/ 16227 h 931183"/>
              <a:gd name="connsiteX8" fmla="*/ 1546860 w 8732972"/>
              <a:gd name="connsiteY8" fmla="*/ 8607 h 931183"/>
              <a:gd name="connsiteX9" fmla="*/ 1882140 w 8732972"/>
              <a:gd name="connsiteY9" fmla="*/ 987 h 931183"/>
              <a:gd name="connsiteX10" fmla="*/ 2209800 w 8732972"/>
              <a:gd name="connsiteY10" fmla="*/ 8607 h 931183"/>
              <a:gd name="connsiteX11" fmla="*/ 2659380 w 8732972"/>
              <a:gd name="connsiteY11" fmla="*/ 23847 h 931183"/>
              <a:gd name="connsiteX12" fmla="*/ 3017520 w 8732972"/>
              <a:gd name="connsiteY12" fmla="*/ 16227 h 931183"/>
              <a:gd name="connsiteX13" fmla="*/ 4472940 w 8732972"/>
              <a:gd name="connsiteY13" fmla="*/ 8607 h 931183"/>
              <a:gd name="connsiteX14" fmla="*/ 4968240 w 8732972"/>
              <a:gd name="connsiteY14" fmla="*/ 31467 h 931183"/>
              <a:gd name="connsiteX15" fmla="*/ 6004560 w 8732972"/>
              <a:gd name="connsiteY15" fmla="*/ 16227 h 931183"/>
              <a:gd name="connsiteX16" fmla="*/ 6438900 w 8732972"/>
              <a:gd name="connsiteY16" fmla="*/ 8607 h 931183"/>
              <a:gd name="connsiteX17" fmla="*/ 6827520 w 8732972"/>
              <a:gd name="connsiteY17" fmla="*/ 8607 h 931183"/>
              <a:gd name="connsiteX18" fmla="*/ 6903720 w 8732972"/>
              <a:gd name="connsiteY18" fmla="*/ 16227 h 931183"/>
              <a:gd name="connsiteX19" fmla="*/ 7246620 w 8732972"/>
              <a:gd name="connsiteY19" fmla="*/ 23847 h 931183"/>
              <a:gd name="connsiteX20" fmla="*/ 8625840 w 8732972"/>
              <a:gd name="connsiteY20" fmla="*/ 31467 h 931183"/>
              <a:gd name="connsiteX21" fmla="*/ 8679180 w 8732972"/>
              <a:gd name="connsiteY21" fmla="*/ 69567 h 931183"/>
              <a:gd name="connsiteX22" fmla="*/ 8694420 w 8732972"/>
              <a:gd name="connsiteY22" fmla="*/ 100047 h 931183"/>
              <a:gd name="connsiteX23" fmla="*/ 8717280 w 8732972"/>
              <a:gd name="connsiteY23" fmla="*/ 176247 h 931183"/>
              <a:gd name="connsiteX24" fmla="*/ 8724900 w 8732972"/>
              <a:gd name="connsiteY24" fmla="*/ 214347 h 931183"/>
              <a:gd name="connsiteX25" fmla="*/ 8717280 w 8732972"/>
              <a:gd name="connsiteY25" fmla="*/ 420087 h 931183"/>
              <a:gd name="connsiteX26" fmla="*/ 8724900 w 8732972"/>
              <a:gd name="connsiteY26" fmla="*/ 572487 h 931183"/>
              <a:gd name="connsiteX27" fmla="*/ 8732520 w 8732972"/>
              <a:gd name="connsiteY27" fmla="*/ 610587 h 931183"/>
              <a:gd name="connsiteX28" fmla="*/ 8717280 w 8732972"/>
              <a:gd name="connsiteY28" fmla="*/ 762987 h 931183"/>
              <a:gd name="connsiteX29" fmla="*/ 8702040 w 8732972"/>
              <a:gd name="connsiteY29" fmla="*/ 785847 h 931183"/>
              <a:gd name="connsiteX30" fmla="*/ 8694420 w 8732972"/>
              <a:gd name="connsiteY30" fmla="*/ 816327 h 931183"/>
              <a:gd name="connsiteX31" fmla="*/ 8663940 w 8732972"/>
              <a:gd name="connsiteY31" fmla="*/ 862047 h 931183"/>
              <a:gd name="connsiteX32" fmla="*/ 8641080 w 8732972"/>
              <a:gd name="connsiteY32" fmla="*/ 877287 h 931183"/>
              <a:gd name="connsiteX33" fmla="*/ 8496300 w 8732972"/>
              <a:gd name="connsiteY33" fmla="*/ 900147 h 931183"/>
              <a:gd name="connsiteX34" fmla="*/ 8435340 w 8732972"/>
              <a:gd name="connsiteY34" fmla="*/ 907767 h 931183"/>
              <a:gd name="connsiteX35" fmla="*/ 7642860 w 8732972"/>
              <a:gd name="connsiteY35" fmla="*/ 915387 h 931183"/>
              <a:gd name="connsiteX36" fmla="*/ 6385560 w 8732972"/>
              <a:gd name="connsiteY36" fmla="*/ 907767 h 931183"/>
              <a:gd name="connsiteX37" fmla="*/ 5730240 w 8732972"/>
              <a:gd name="connsiteY37" fmla="*/ 923007 h 931183"/>
              <a:gd name="connsiteX38" fmla="*/ 5364480 w 8732972"/>
              <a:gd name="connsiteY38" fmla="*/ 915387 h 931183"/>
              <a:gd name="connsiteX39" fmla="*/ 5364480 w 8732972"/>
              <a:gd name="connsiteY39" fmla="*/ 915387 h 931183"/>
              <a:gd name="connsiteX40" fmla="*/ 4145280 w 8732972"/>
              <a:gd name="connsiteY40" fmla="*/ 915387 h 931183"/>
              <a:gd name="connsiteX41" fmla="*/ 3444240 w 8732972"/>
              <a:gd name="connsiteY41" fmla="*/ 930627 h 931183"/>
              <a:gd name="connsiteX42" fmla="*/ 2781300 w 8732972"/>
              <a:gd name="connsiteY42" fmla="*/ 923007 h 931183"/>
              <a:gd name="connsiteX43" fmla="*/ 1424940 w 8732972"/>
              <a:gd name="connsiteY43" fmla="*/ 907767 h 931183"/>
              <a:gd name="connsiteX44" fmla="*/ 975360 w 8732972"/>
              <a:gd name="connsiteY44" fmla="*/ 923007 h 931183"/>
              <a:gd name="connsiteX45" fmla="*/ 213360 w 8732972"/>
              <a:gd name="connsiteY45" fmla="*/ 907767 h 931183"/>
              <a:gd name="connsiteX46" fmla="*/ 182880 w 8732972"/>
              <a:gd name="connsiteY46" fmla="*/ 892527 h 931183"/>
              <a:gd name="connsiteX47" fmla="*/ 114300 w 8732972"/>
              <a:gd name="connsiteY47" fmla="*/ 877287 h 931183"/>
              <a:gd name="connsiteX48" fmla="*/ 91440 w 8732972"/>
              <a:gd name="connsiteY48" fmla="*/ 862047 h 931183"/>
              <a:gd name="connsiteX49" fmla="*/ 53340 w 8732972"/>
              <a:gd name="connsiteY49" fmla="*/ 808707 h 931183"/>
              <a:gd name="connsiteX50" fmla="*/ 22860 w 8732972"/>
              <a:gd name="connsiteY50" fmla="*/ 732507 h 931183"/>
              <a:gd name="connsiteX51" fmla="*/ 15240 w 8732972"/>
              <a:gd name="connsiteY51" fmla="*/ 709647 h 931183"/>
              <a:gd name="connsiteX52" fmla="*/ 0 w 8732972"/>
              <a:gd name="connsiteY52" fmla="*/ 686787 h 931183"/>
              <a:gd name="connsiteX53" fmla="*/ 7620 w 8732972"/>
              <a:gd name="connsiteY53" fmla="*/ 572487 h 931183"/>
              <a:gd name="connsiteX54" fmla="*/ 15240 w 8732972"/>
              <a:gd name="connsiteY54" fmla="*/ 542007 h 931183"/>
              <a:gd name="connsiteX55" fmla="*/ 22860 w 8732972"/>
              <a:gd name="connsiteY55" fmla="*/ 503907 h 931183"/>
              <a:gd name="connsiteX56" fmla="*/ 30480 w 8732972"/>
              <a:gd name="connsiteY56" fmla="*/ 458187 h 931183"/>
              <a:gd name="connsiteX57" fmla="*/ 45720 w 8732972"/>
              <a:gd name="connsiteY57" fmla="*/ 397227 h 931183"/>
              <a:gd name="connsiteX58" fmla="*/ 53340 w 8732972"/>
              <a:gd name="connsiteY58" fmla="*/ 161007 h 931183"/>
              <a:gd name="connsiteX59" fmla="*/ 45720 w 8732972"/>
              <a:gd name="connsiteY59" fmla="*/ 161007 h 93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8732972" h="931183">
                <a:moveTo>
                  <a:pt x="45720" y="161007"/>
                </a:moveTo>
                <a:lnTo>
                  <a:pt x="45720" y="161007"/>
                </a:lnTo>
                <a:cubicBezTo>
                  <a:pt x="58420" y="143227"/>
                  <a:pt x="72089" y="126101"/>
                  <a:pt x="83820" y="107667"/>
                </a:cubicBezTo>
                <a:cubicBezTo>
                  <a:pt x="89918" y="98084"/>
                  <a:pt x="91028" y="85219"/>
                  <a:pt x="99060" y="77187"/>
                </a:cubicBezTo>
                <a:cubicBezTo>
                  <a:pt x="107755" y="68492"/>
                  <a:pt x="157221" y="37480"/>
                  <a:pt x="175260" y="31467"/>
                </a:cubicBezTo>
                <a:cubicBezTo>
                  <a:pt x="187547" y="27371"/>
                  <a:pt x="200717" y="26657"/>
                  <a:pt x="213360" y="23847"/>
                </a:cubicBezTo>
                <a:cubicBezTo>
                  <a:pt x="223583" y="21575"/>
                  <a:pt x="233680" y="18767"/>
                  <a:pt x="243840" y="16227"/>
                </a:cubicBezTo>
                <a:cubicBezTo>
                  <a:pt x="820866" y="25844"/>
                  <a:pt x="728995" y="28492"/>
                  <a:pt x="1409700" y="16227"/>
                </a:cubicBezTo>
                <a:cubicBezTo>
                  <a:pt x="1455483" y="15402"/>
                  <a:pt x="1501093" y="10083"/>
                  <a:pt x="1546860" y="8607"/>
                </a:cubicBezTo>
                <a:lnTo>
                  <a:pt x="1882140" y="987"/>
                </a:lnTo>
                <a:lnTo>
                  <a:pt x="2209800" y="8607"/>
                </a:lnTo>
                <a:cubicBezTo>
                  <a:pt x="2610149" y="17406"/>
                  <a:pt x="2556510" y="16227"/>
                  <a:pt x="2659380" y="23847"/>
                </a:cubicBezTo>
                <a:lnTo>
                  <a:pt x="3017520" y="16227"/>
                </a:lnTo>
                <a:lnTo>
                  <a:pt x="4472940" y="8607"/>
                </a:lnTo>
                <a:lnTo>
                  <a:pt x="4968240" y="31467"/>
                </a:lnTo>
                <a:cubicBezTo>
                  <a:pt x="5395605" y="2976"/>
                  <a:pt x="4992883" y="27594"/>
                  <a:pt x="6004560" y="16227"/>
                </a:cubicBezTo>
                <a:lnTo>
                  <a:pt x="6438900" y="8607"/>
                </a:lnTo>
                <a:cubicBezTo>
                  <a:pt x="6631403" y="-2717"/>
                  <a:pt x="6571714" y="-3021"/>
                  <a:pt x="6827520" y="8607"/>
                </a:cubicBezTo>
                <a:cubicBezTo>
                  <a:pt x="6853020" y="9766"/>
                  <a:pt x="6878210" y="15299"/>
                  <a:pt x="6903720" y="16227"/>
                </a:cubicBezTo>
                <a:cubicBezTo>
                  <a:pt x="7017973" y="20382"/>
                  <a:pt x="7132296" y="22835"/>
                  <a:pt x="7246620" y="23847"/>
                </a:cubicBezTo>
                <a:lnTo>
                  <a:pt x="8625840" y="31467"/>
                </a:lnTo>
                <a:cubicBezTo>
                  <a:pt x="8636548" y="38606"/>
                  <a:pt x="8672879" y="62216"/>
                  <a:pt x="8679180" y="69567"/>
                </a:cubicBezTo>
                <a:cubicBezTo>
                  <a:pt x="8686572" y="78192"/>
                  <a:pt x="8690201" y="89500"/>
                  <a:pt x="8694420" y="100047"/>
                </a:cubicBezTo>
                <a:cubicBezTo>
                  <a:pt x="8703918" y="123791"/>
                  <a:pt x="8711666" y="150986"/>
                  <a:pt x="8717280" y="176247"/>
                </a:cubicBezTo>
                <a:cubicBezTo>
                  <a:pt x="8720090" y="188890"/>
                  <a:pt x="8719820" y="77187"/>
                  <a:pt x="8724900" y="214347"/>
                </a:cubicBezTo>
                <a:lnTo>
                  <a:pt x="8717280" y="420087"/>
                </a:lnTo>
                <a:cubicBezTo>
                  <a:pt x="8719820" y="470887"/>
                  <a:pt x="8720844" y="521786"/>
                  <a:pt x="8724900" y="572487"/>
                </a:cubicBezTo>
                <a:cubicBezTo>
                  <a:pt x="8725933" y="585397"/>
                  <a:pt x="8732520" y="597635"/>
                  <a:pt x="8732520" y="610587"/>
                </a:cubicBezTo>
                <a:cubicBezTo>
                  <a:pt x="8732520" y="617267"/>
                  <a:pt x="8737076" y="723396"/>
                  <a:pt x="8717280" y="762987"/>
                </a:cubicBezTo>
                <a:cubicBezTo>
                  <a:pt x="8713184" y="771178"/>
                  <a:pt x="8707120" y="778227"/>
                  <a:pt x="8702040" y="785847"/>
                </a:cubicBezTo>
                <a:cubicBezTo>
                  <a:pt x="8699500" y="796007"/>
                  <a:pt x="8699104" y="806960"/>
                  <a:pt x="8694420" y="816327"/>
                </a:cubicBezTo>
                <a:cubicBezTo>
                  <a:pt x="8686229" y="832710"/>
                  <a:pt x="8679180" y="851887"/>
                  <a:pt x="8663940" y="862047"/>
                </a:cubicBezTo>
                <a:cubicBezTo>
                  <a:pt x="8656320" y="867127"/>
                  <a:pt x="8649687" y="874157"/>
                  <a:pt x="8641080" y="877287"/>
                </a:cubicBezTo>
                <a:cubicBezTo>
                  <a:pt x="8587343" y="896828"/>
                  <a:pt x="8554849" y="893984"/>
                  <a:pt x="8496300" y="900147"/>
                </a:cubicBezTo>
                <a:cubicBezTo>
                  <a:pt x="8475934" y="902291"/>
                  <a:pt x="8455815" y="907401"/>
                  <a:pt x="8435340" y="907767"/>
                </a:cubicBezTo>
                <a:lnTo>
                  <a:pt x="7642860" y="915387"/>
                </a:lnTo>
                <a:lnTo>
                  <a:pt x="6385560" y="907767"/>
                </a:lnTo>
                <a:cubicBezTo>
                  <a:pt x="5873942" y="907767"/>
                  <a:pt x="5990845" y="899316"/>
                  <a:pt x="5730240" y="923007"/>
                </a:cubicBezTo>
                <a:cubicBezTo>
                  <a:pt x="5608322" y="920357"/>
                  <a:pt x="5486426" y="915387"/>
                  <a:pt x="5364480" y="915387"/>
                </a:cubicBezTo>
                <a:lnTo>
                  <a:pt x="5364480" y="915387"/>
                </a:lnTo>
                <a:lnTo>
                  <a:pt x="4145280" y="915387"/>
                </a:lnTo>
                <a:cubicBezTo>
                  <a:pt x="3861313" y="935670"/>
                  <a:pt x="3961169" y="930627"/>
                  <a:pt x="3444240" y="930627"/>
                </a:cubicBezTo>
                <a:cubicBezTo>
                  <a:pt x="3223245" y="930627"/>
                  <a:pt x="3002280" y="925547"/>
                  <a:pt x="2781300" y="923007"/>
                </a:cubicBezTo>
                <a:cubicBezTo>
                  <a:pt x="2242600" y="898521"/>
                  <a:pt x="1844040" y="909037"/>
                  <a:pt x="1424940" y="907767"/>
                </a:cubicBezTo>
                <a:lnTo>
                  <a:pt x="975360" y="923007"/>
                </a:lnTo>
                <a:lnTo>
                  <a:pt x="213360" y="907767"/>
                </a:lnTo>
                <a:lnTo>
                  <a:pt x="182880" y="892527"/>
                </a:lnTo>
                <a:cubicBezTo>
                  <a:pt x="160020" y="887447"/>
                  <a:pt x="136516" y="884692"/>
                  <a:pt x="114300" y="877287"/>
                </a:cubicBezTo>
                <a:cubicBezTo>
                  <a:pt x="105612" y="874391"/>
                  <a:pt x="98475" y="867910"/>
                  <a:pt x="91440" y="862047"/>
                </a:cubicBezTo>
                <a:cubicBezTo>
                  <a:pt x="68209" y="842688"/>
                  <a:pt x="65324" y="836669"/>
                  <a:pt x="53340" y="808707"/>
                </a:cubicBezTo>
                <a:cubicBezTo>
                  <a:pt x="42564" y="783562"/>
                  <a:pt x="31511" y="758460"/>
                  <a:pt x="22860" y="732507"/>
                </a:cubicBezTo>
                <a:cubicBezTo>
                  <a:pt x="20320" y="724887"/>
                  <a:pt x="18832" y="716831"/>
                  <a:pt x="15240" y="709647"/>
                </a:cubicBezTo>
                <a:cubicBezTo>
                  <a:pt x="11144" y="701456"/>
                  <a:pt x="5080" y="694407"/>
                  <a:pt x="0" y="686787"/>
                </a:cubicBezTo>
                <a:cubicBezTo>
                  <a:pt x="2540" y="648687"/>
                  <a:pt x="3623" y="610462"/>
                  <a:pt x="7620" y="572487"/>
                </a:cubicBezTo>
                <a:cubicBezTo>
                  <a:pt x="8716" y="562072"/>
                  <a:pt x="12968" y="552230"/>
                  <a:pt x="15240" y="542007"/>
                </a:cubicBezTo>
                <a:cubicBezTo>
                  <a:pt x="18050" y="529364"/>
                  <a:pt x="20543" y="516650"/>
                  <a:pt x="22860" y="503907"/>
                </a:cubicBezTo>
                <a:cubicBezTo>
                  <a:pt x="25624" y="488706"/>
                  <a:pt x="27243" y="473294"/>
                  <a:pt x="30480" y="458187"/>
                </a:cubicBezTo>
                <a:cubicBezTo>
                  <a:pt x="34869" y="437707"/>
                  <a:pt x="45720" y="397227"/>
                  <a:pt x="45720" y="397227"/>
                </a:cubicBezTo>
                <a:cubicBezTo>
                  <a:pt x="48260" y="318487"/>
                  <a:pt x="48714" y="239652"/>
                  <a:pt x="53340" y="161007"/>
                </a:cubicBezTo>
                <a:cubicBezTo>
                  <a:pt x="54434" y="142401"/>
                  <a:pt x="46990" y="161007"/>
                  <a:pt x="45720" y="161007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>
                <a:lumMod val="90000"/>
                <a:lumOff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468000" tIns="45720" rIns="91440" bIns="45720" rtlCol="0" anchor="ctr"/>
          <a:lstStyle/>
          <a:p>
            <a:pPr fontAlgn="t">
              <a:spcBef>
                <a:spcPts val="600"/>
              </a:spcBef>
            </a:pPr>
            <a:r>
              <a:rPr lang="da-DK" sz="12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”Det er vigtigt, at vi ikke opfinder den dybe tallerken hver især” </a:t>
            </a:r>
          </a:p>
          <a:p>
            <a:pPr fontAlgn="t">
              <a:spcBef>
                <a:spcPts val="600"/>
              </a:spcBef>
            </a:pPr>
            <a:r>
              <a:rPr lang="da-DK" sz="1200" b="1" dirty="0">
                <a:latin typeface="Verdana" panose="020B0604030504040204" pitchFamily="34" charset="0"/>
                <a:ea typeface="Verdana" panose="020B0604030504040204" pitchFamily="34" charset="0"/>
              </a:rPr>
              <a:t>Almen direktør</a:t>
            </a: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02EDA316-A24B-47C0-8F0D-B8679FF2E22D}"/>
              </a:ext>
            </a:extLst>
          </p:cNvPr>
          <p:cNvSpPr>
            <a:spLocks/>
          </p:cNvSpPr>
          <p:nvPr/>
        </p:nvSpPr>
        <p:spPr>
          <a:xfrm>
            <a:off x="3153909" y="2545325"/>
            <a:ext cx="8678090" cy="868654"/>
          </a:xfrm>
          <a:custGeom>
            <a:avLst/>
            <a:gdLst>
              <a:gd name="connsiteX0" fmla="*/ 45720 w 8732972"/>
              <a:gd name="connsiteY0" fmla="*/ 161007 h 931183"/>
              <a:gd name="connsiteX1" fmla="*/ 45720 w 8732972"/>
              <a:gd name="connsiteY1" fmla="*/ 161007 h 931183"/>
              <a:gd name="connsiteX2" fmla="*/ 83820 w 8732972"/>
              <a:gd name="connsiteY2" fmla="*/ 107667 h 931183"/>
              <a:gd name="connsiteX3" fmla="*/ 99060 w 8732972"/>
              <a:gd name="connsiteY3" fmla="*/ 77187 h 931183"/>
              <a:gd name="connsiteX4" fmla="*/ 175260 w 8732972"/>
              <a:gd name="connsiteY4" fmla="*/ 31467 h 931183"/>
              <a:gd name="connsiteX5" fmla="*/ 213360 w 8732972"/>
              <a:gd name="connsiteY5" fmla="*/ 23847 h 931183"/>
              <a:gd name="connsiteX6" fmla="*/ 243840 w 8732972"/>
              <a:gd name="connsiteY6" fmla="*/ 16227 h 931183"/>
              <a:gd name="connsiteX7" fmla="*/ 1409700 w 8732972"/>
              <a:gd name="connsiteY7" fmla="*/ 16227 h 931183"/>
              <a:gd name="connsiteX8" fmla="*/ 1546860 w 8732972"/>
              <a:gd name="connsiteY8" fmla="*/ 8607 h 931183"/>
              <a:gd name="connsiteX9" fmla="*/ 1882140 w 8732972"/>
              <a:gd name="connsiteY9" fmla="*/ 987 h 931183"/>
              <a:gd name="connsiteX10" fmla="*/ 2209800 w 8732972"/>
              <a:gd name="connsiteY10" fmla="*/ 8607 h 931183"/>
              <a:gd name="connsiteX11" fmla="*/ 2659380 w 8732972"/>
              <a:gd name="connsiteY11" fmla="*/ 23847 h 931183"/>
              <a:gd name="connsiteX12" fmla="*/ 3017520 w 8732972"/>
              <a:gd name="connsiteY12" fmla="*/ 16227 h 931183"/>
              <a:gd name="connsiteX13" fmla="*/ 4472940 w 8732972"/>
              <a:gd name="connsiteY13" fmla="*/ 8607 h 931183"/>
              <a:gd name="connsiteX14" fmla="*/ 4968240 w 8732972"/>
              <a:gd name="connsiteY14" fmla="*/ 31467 h 931183"/>
              <a:gd name="connsiteX15" fmla="*/ 6004560 w 8732972"/>
              <a:gd name="connsiteY15" fmla="*/ 16227 h 931183"/>
              <a:gd name="connsiteX16" fmla="*/ 6438900 w 8732972"/>
              <a:gd name="connsiteY16" fmla="*/ 8607 h 931183"/>
              <a:gd name="connsiteX17" fmla="*/ 6827520 w 8732972"/>
              <a:gd name="connsiteY17" fmla="*/ 8607 h 931183"/>
              <a:gd name="connsiteX18" fmla="*/ 6903720 w 8732972"/>
              <a:gd name="connsiteY18" fmla="*/ 16227 h 931183"/>
              <a:gd name="connsiteX19" fmla="*/ 7246620 w 8732972"/>
              <a:gd name="connsiteY19" fmla="*/ 23847 h 931183"/>
              <a:gd name="connsiteX20" fmla="*/ 8625840 w 8732972"/>
              <a:gd name="connsiteY20" fmla="*/ 31467 h 931183"/>
              <a:gd name="connsiteX21" fmla="*/ 8679180 w 8732972"/>
              <a:gd name="connsiteY21" fmla="*/ 69567 h 931183"/>
              <a:gd name="connsiteX22" fmla="*/ 8694420 w 8732972"/>
              <a:gd name="connsiteY22" fmla="*/ 100047 h 931183"/>
              <a:gd name="connsiteX23" fmla="*/ 8717280 w 8732972"/>
              <a:gd name="connsiteY23" fmla="*/ 176247 h 931183"/>
              <a:gd name="connsiteX24" fmla="*/ 8724900 w 8732972"/>
              <a:gd name="connsiteY24" fmla="*/ 214347 h 931183"/>
              <a:gd name="connsiteX25" fmla="*/ 8717280 w 8732972"/>
              <a:gd name="connsiteY25" fmla="*/ 420087 h 931183"/>
              <a:gd name="connsiteX26" fmla="*/ 8724900 w 8732972"/>
              <a:gd name="connsiteY26" fmla="*/ 572487 h 931183"/>
              <a:gd name="connsiteX27" fmla="*/ 8732520 w 8732972"/>
              <a:gd name="connsiteY27" fmla="*/ 610587 h 931183"/>
              <a:gd name="connsiteX28" fmla="*/ 8717280 w 8732972"/>
              <a:gd name="connsiteY28" fmla="*/ 762987 h 931183"/>
              <a:gd name="connsiteX29" fmla="*/ 8702040 w 8732972"/>
              <a:gd name="connsiteY29" fmla="*/ 785847 h 931183"/>
              <a:gd name="connsiteX30" fmla="*/ 8694420 w 8732972"/>
              <a:gd name="connsiteY30" fmla="*/ 816327 h 931183"/>
              <a:gd name="connsiteX31" fmla="*/ 8663940 w 8732972"/>
              <a:gd name="connsiteY31" fmla="*/ 862047 h 931183"/>
              <a:gd name="connsiteX32" fmla="*/ 8641080 w 8732972"/>
              <a:gd name="connsiteY32" fmla="*/ 877287 h 931183"/>
              <a:gd name="connsiteX33" fmla="*/ 8496300 w 8732972"/>
              <a:gd name="connsiteY33" fmla="*/ 900147 h 931183"/>
              <a:gd name="connsiteX34" fmla="*/ 8435340 w 8732972"/>
              <a:gd name="connsiteY34" fmla="*/ 907767 h 931183"/>
              <a:gd name="connsiteX35" fmla="*/ 7642860 w 8732972"/>
              <a:gd name="connsiteY35" fmla="*/ 915387 h 931183"/>
              <a:gd name="connsiteX36" fmla="*/ 6385560 w 8732972"/>
              <a:gd name="connsiteY36" fmla="*/ 907767 h 931183"/>
              <a:gd name="connsiteX37" fmla="*/ 5730240 w 8732972"/>
              <a:gd name="connsiteY37" fmla="*/ 923007 h 931183"/>
              <a:gd name="connsiteX38" fmla="*/ 5364480 w 8732972"/>
              <a:gd name="connsiteY38" fmla="*/ 915387 h 931183"/>
              <a:gd name="connsiteX39" fmla="*/ 5364480 w 8732972"/>
              <a:gd name="connsiteY39" fmla="*/ 915387 h 931183"/>
              <a:gd name="connsiteX40" fmla="*/ 4145280 w 8732972"/>
              <a:gd name="connsiteY40" fmla="*/ 915387 h 931183"/>
              <a:gd name="connsiteX41" fmla="*/ 3444240 w 8732972"/>
              <a:gd name="connsiteY41" fmla="*/ 930627 h 931183"/>
              <a:gd name="connsiteX42" fmla="*/ 2781300 w 8732972"/>
              <a:gd name="connsiteY42" fmla="*/ 923007 h 931183"/>
              <a:gd name="connsiteX43" fmla="*/ 1424940 w 8732972"/>
              <a:gd name="connsiteY43" fmla="*/ 907767 h 931183"/>
              <a:gd name="connsiteX44" fmla="*/ 975360 w 8732972"/>
              <a:gd name="connsiteY44" fmla="*/ 923007 h 931183"/>
              <a:gd name="connsiteX45" fmla="*/ 213360 w 8732972"/>
              <a:gd name="connsiteY45" fmla="*/ 907767 h 931183"/>
              <a:gd name="connsiteX46" fmla="*/ 182880 w 8732972"/>
              <a:gd name="connsiteY46" fmla="*/ 892527 h 931183"/>
              <a:gd name="connsiteX47" fmla="*/ 114300 w 8732972"/>
              <a:gd name="connsiteY47" fmla="*/ 877287 h 931183"/>
              <a:gd name="connsiteX48" fmla="*/ 91440 w 8732972"/>
              <a:gd name="connsiteY48" fmla="*/ 862047 h 931183"/>
              <a:gd name="connsiteX49" fmla="*/ 53340 w 8732972"/>
              <a:gd name="connsiteY49" fmla="*/ 808707 h 931183"/>
              <a:gd name="connsiteX50" fmla="*/ 22860 w 8732972"/>
              <a:gd name="connsiteY50" fmla="*/ 732507 h 931183"/>
              <a:gd name="connsiteX51" fmla="*/ 15240 w 8732972"/>
              <a:gd name="connsiteY51" fmla="*/ 709647 h 931183"/>
              <a:gd name="connsiteX52" fmla="*/ 0 w 8732972"/>
              <a:gd name="connsiteY52" fmla="*/ 686787 h 931183"/>
              <a:gd name="connsiteX53" fmla="*/ 7620 w 8732972"/>
              <a:gd name="connsiteY53" fmla="*/ 572487 h 931183"/>
              <a:gd name="connsiteX54" fmla="*/ 15240 w 8732972"/>
              <a:gd name="connsiteY54" fmla="*/ 542007 h 931183"/>
              <a:gd name="connsiteX55" fmla="*/ 22860 w 8732972"/>
              <a:gd name="connsiteY55" fmla="*/ 503907 h 931183"/>
              <a:gd name="connsiteX56" fmla="*/ 30480 w 8732972"/>
              <a:gd name="connsiteY56" fmla="*/ 458187 h 931183"/>
              <a:gd name="connsiteX57" fmla="*/ 45720 w 8732972"/>
              <a:gd name="connsiteY57" fmla="*/ 397227 h 931183"/>
              <a:gd name="connsiteX58" fmla="*/ 53340 w 8732972"/>
              <a:gd name="connsiteY58" fmla="*/ 161007 h 931183"/>
              <a:gd name="connsiteX59" fmla="*/ 45720 w 8732972"/>
              <a:gd name="connsiteY59" fmla="*/ 161007 h 93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8732972" h="931183">
                <a:moveTo>
                  <a:pt x="45720" y="161007"/>
                </a:moveTo>
                <a:lnTo>
                  <a:pt x="45720" y="161007"/>
                </a:lnTo>
                <a:cubicBezTo>
                  <a:pt x="58420" y="143227"/>
                  <a:pt x="72089" y="126101"/>
                  <a:pt x="83820" y="107667"/>
                </a:cubicBezTo>
                <a:cubicBezTo>
                  <a:pt x="89918" y="98084"/>
                  <a:pt x="91028" y="85219"/>
                  <a:pt x="99060" y="77187"/>
                </a:cubicBezTo>
                <a:cubicBezTo>
                  <a:pt x="107755" y="68492"/>
                  <a:pt x="157221" y="37480"/>
                  <a:pt x="175260" y="31467"/>
                </a:cubicBezTo>
                <a:cubicBezTo>
                  <a:pt x="187547" y="27371"/>
                  <a:pt x="200717" y="26657"/>
                  <a:pt x="213360" y="23847"/>
                </a:cubicBezTo>
                <a:cubicBezTo>
                  <a:pt x="223583" y="21575"/>
                  <a:pt x="233680" y="18767"/>
                  <a:pt x="243840" y="16227"/>
                </a:cubicBezTo>
                <a:cubicBezTo>
                  <a:pt x="820866" y="25844"/>
                  <a:pt x="728995" y="28492"/>
                  <a:pt x="1409700" y="16227"/>
                </a:cubicBezTo>
                <a:cubicBezTo>
                  <a:pt x="1455483" y="15402"/>
                  <a:pt x="1501093" y="10083"/>
                  <a:pt x="1546860" y="8607"/>
                </a:cubicBezTo>
                <a:lnTo>
                  <a:pt x="1882140" y="987"/>
                </a:lnTo>
                <a:lnTo>
                  <a:pt x="2209800" y="8607"/>
                </a:lnTo>
                <a:cubicBezTo>
                  <a:pt x="2610149" y="17406"/>
                  <a:pt x="2556510" y="16227"/>
                  <a:pt x="2659380" y="23847"/>
                </a:cubicBezTo>
                <a:lnTo>
                  <a:pt x="3017520" y="16227"/>
                </a:lnTo>
                <a:lnTo>
                  <a:pt x="4472940" y="8607"/>
                </a:lnTo>
                <a:lnTo>
                  <a:pt x="4968240" y="31467"/>
                </a:lnTo>
                <a:cubicBezTo>
                  <a:pt x="5395605" y="2976"/>
                  <a:pt x="4992883" y="27594"/>
                  <a:pt x="6004560" y="16227"/>
                </a:cubicBezTo>
                <a:lnTo>
                  <a:pt x="6438900" y="8607"/>
                </a:lnTo>
                <a:cubicBezTo>
                  <a:pt x="6631403" y="-2717"/>
                  <a:pt x="6571714" y="-3021"/>
                  <a:pt x="6827520" y="8607"/>
                </a:cubicBezTo>
                <a:cubicBezTo>
                  <a:pt x="6853020" y="9766"/>
                  <a:pt x="6878210" y="15299"/>
                  <a:pt x="6903720" y="16227"/>
                </a:cubicBezTo>
                <a:cubicBezTo>
                  <a:pt x="7017973" y="20382"/>
                  <a:pt x="7132296" y="22835"/>
                  <a:pt x="7246620" y="23847"/>
                </a:cubicBezTo>
                <a:lnTo>
                  <a:pt x="8625840" y="31467"/>
                </a:lnTo>
                <a:cubicBezTo>
                  <a:pt x="8636548" y="38606"/>
                  <a:pt x="8672879" y="62216"/>
                  <a:pt x="8679180" y="69567"/>
                </a:cubicBezTo>
                <a:cubicBezTo>
                  <a:pt x="8686572" y="78192"/>
                  <a:pt x="8690201" y="89500"/>
                  <a:pt x="8694420" y="100047"/>
                </a:cubicBezTo>
                <a:cubicBezTo>
                  <a:pt x="8703918" y="123791"/>
                  <a:pt x="8711666" y="150986"/>
                  <a:pt x="8717280" y="176247"/>
                </a:cubicBezTo>
                <a:cubicBezTo>
                  <a:pt x="8720090" y="188890"/>
                  <a:pt x="8719820" y="77187"/>
                  <a:pt x="8724900" y="214347"/>
                </a:cubicBezTo>
                <a:lnTo>
                  <a:pt x="8717280" y="420087"/>
                </a:lnTo>
                <a:cubicBezTo>
                  <a:pt x="8719820" y="470887"/>
                  <a:pt x="8720844" y="521786"/>
                  <a:pt x="8724900" y="572487"/>
                </a:cubicBezTo>
                <a:cubicBezTo>
                  <a:pt x="8725933" y="585397"/>
                  <a:pt x="8732520" y="597635"/>
                  <a:pt x="8732520" y="610587"/>
                </a:cubicBezTo>
                <a:cubicBezTo>
                  <a:pt x="8732520" y="617267"/>
                  <a:pt x="8737076" y="723396"/>
                  <a:pt x="8717280" y="762987"/>
                </a:cubicBezTo>
                <a:cubicBezTo>
                  <a:pt x="8713184" y="771178"/>
                  <a:pt x="8707120" y="778227"/>
                  <a:pt x="8702040" y="785847"/>
                </a:cubicBezTo>
                <a:cubicBezTo>
                  <a:pt x="8699500" y="796007"/>
                  <a:pt x="8699104" y="806960"/>
                  <a:pt x="8694420" y="816327"/>
                </a:cubicBezTo>
                <a:cubicBezTo>
                  <a:pt x="8686229" y="832710"/>
                  <a:pt x="8679180" y="851887"/>
                  <a:pt x="8663940" y="862047"/>
                </a:cubicBezTo>
                <a:cubicBezTo>
                  <a:pt x="8656320" y="867127"/>
                  <a:pt x="8649687" y="874157"/>
                  <a:pt x="8641080" y="877287"/>
                </a:cubicBezTo>
                <a:cubicBezTo>
                  <a:pt x="8587343" y="896828"/>
                  <a:pt x="8554849" y="893984"/>
                  <a:pt x="8496300" y="900147"/>
                </a:cubicBezTo>
                <a:cubicBezTo>
                  <a:pt x="8475934" y="902291"/>
                  <a:pt x="8455815" y="907401"/>
                  <a:pt x="8435340" y="907767"/>
                </a:cubicBezTo>
                <a:lnTo>
                  <a:pt x="7642860" y="915387"/>
                </a:lnTo>
                <a:lnTo>
                  <a:pt x="6385560" y="907767"/>
                </a:lnTo>
                <a:cubicBezTo>
                  <a:pt x="5873942" y="907767"/>
                  <a:pt x="5990845" y="899316"/>
                  <a:pt x="5730240" y="923007"/>
                </a:cubicBezTo>
                <a:cubicBezTo>
                  <a:pt x="5608322" y="920357"/>
                  <a:pt x="5486426" y="915387"/>
                  <a:pt x="5364480" y="915387"/>
                </a:cubicBezTo>
                <a:lnTo>
                  <a:pt x="5364480" y="915387"/>
                </a:lnTo>
                <a:lnTo>
                  <a:pt x="4145280" y="915387"/>
                </a:lnTo>
                <a:cubicBezTo>
                  <a:pt x="3861313" y="935670"/>
                  <a:pt x="3961169" y="930627"/>
                  <a:pt x="3444240" y="930627"/>
                </a:cubicBezTo>
                <a:cubicBezTo>
                  <a:pt x="3223245" y="930627"/>
                  <a:pt x="3002280" y="925547"/>
                  <a:pt x="2781300" y="923007"/>
                </a:cubicBezTo>
                <a:cubicBezTo>
                  <a:pt x="2242600" y="898521"/>
                  <a:pt x="1844040" y="909037"/>
                  <a:pt x="1424940" y="907767"/>
                </a:cubicBezTo>
                <a:lnTo>
                  <a:pt x="975360" y="923007"/>
                </a:lnTo>
                <a:lnTo>
                  <a:pt x="213360" y="907767"/>
                </a:lnTo>
                <a:lnTo>
                  <a:pt x="182880" y="892527"/>
                </a:lnTo>
                <a:cubicBezTo>
                  <a:pt x="160020" y="887447"/>
                  <a:pt x="136516" y="884692"/>
                  <a:pt x="114300" y="877287"/>
                </a:cubicBezTo>
                <a:cubicBezTo>
                  <a:pt x="105612" y="874391"/>
                  <a:pt x="98475" y="867910"/>
                  <a:pt x="91440" y="862047"/>
                </a:cubicBezTo>
                <a:cubicBezTo>
                  <a:pt x="68209" y="842688"/>
                  <a:pt x="65324" y="836669"/>
                  <a:pt x="53340" y="808707"/>
                </a:cubicBezTo>
                <a:cubicBezTo>
                  <a:pt x="42564" y="783562"/>
                  <a:pt x="31511" y="758460"/>
                  <a:pt x="22860" y="732507"/>
                </a:cubicBezTo>
                <a:cubicBezTo>
                  <a:pt x="20320" y="724887"/>
                  <a:pt x="18832" y="716831"/>
                  <a:pt x="15240" y="709647"/>
                </a:cubicBezTo>
                <a:cubicBezTo>
                  <a:pt x="11144" y="701456"/>
                  <a:pt x="5080" y="694407"/>
                  <a:pt x="0" y="686787"/>
                </a:cubicBezTo>
                <a:cubicBezTo>
                  <a:pt x="2540" y="648687"/>
                  <a:pt x="3623" y="610462"/>
                  <a:pt x="7620" y="572487"/>
                </a:cubicBezTo>
                <a:cubicBezTo>
                  <a:pt x="8716" y="562072"/>
                  <a:pt x="12968" y="552230"/>
                  <a:pt x="15240" y="542007"/>
                </a:cubicBezTo>
                <a:cubicBezTo>
                  <a:pt x="18050" y="529364"/>
                  <a:pt x="20543" y="516650"/>
                  <a:pt x="22860" y="503907"/>
                </a:cubicBezTo>
                <a:cubicBezTo>
                  <a:pt x="25624" y="488706"/>
                  <a:pt x="27243" y="473294"/>
                  <a:pt x="30480" y="458187"/>
                </a:cubicBezTo>
                <a:cubicBezTo>
                  <a:pt x="34869" y="437707"/>
                  <a:pt x="45720" y="397227"/>
                  <a:pt x="45720" y="397227"/>
                </a:cubicBezTo>
                <a:cubicBezTo>
                  <a:pt x="48260" y="318487"/>
                  <a:pt x="48714" y="239652"/>
                  <a:pt x="53340" y="161007"/>
                </a:cubicBezTo>
                <a:cubicBezTo>
                  <a:pt x="54434" y="142401"/>
                  <a:pt x="46990" y="161007"/>
                  <a:pt x="45720" y="161007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>
                <a:lumMod val="90000"/>
                <a:lumOff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468000" tIns="45720" rIns="91440" bIns="45720" rtlCol="0" anchor="ctr"/>
          <a:lstStyle/>
          <a:p>
            <a:pPr fontAlgn="t">
              <a:spcBef>
                <a:spcPts val="600"/>
              </a:spcBef>
            </a:pPr>
            <a:r>
              <a:rPr lang="da-DK" sz="1200" i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”Hvis vi sætter en ambition på fx miljø, så ved vi ikke, om det er godt eller dårligt, fordi vi ikke kan benchmarke”</a:t>
            </a:r>
          </a:p>
          <a:p>
            <a:pPr fontAlgn="t">
              <a:spcBef>
                <a:spcPts val="600"/>
              </a:spcBef>
            </a:pPr>
            <a:r>
              <a:rPr lang="da-DK" sz="1200" b="1">
                <a:latin typeface="Verdana" panose="020B0604030504040204" pitchFamily="34" charset="0"/>
                <a:ea typeface="Verdana" panose="020B0604030504040204" pitchFamily="34" charset="0"/>
              </a:rPr>
              <a:t>Bæredygtighedsekspert</a:t>
            </a: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093BE753-2612-40D7-9C46-00E56FAA0A66}"/>
              </a:ext>
            </a:extLst>
          </p:cNvPr>
          <p:cNvSpPr>
            <a:spLocks/>
          </p:cNvSpPr>
          <p:nvPr/>
        </p:nvSpPr>
        <p:spPr>
          <a:xfrm>
            <a:off x="3153909" y="3499657"/>
            <a:ext cx="8678090" cy="868654"/>
          </a:xfrm>
          <a:custGeom>
            <a:avLst/>
            <a:gdLst>
              <a:gd name="connsiteX0" fmla="*/ 45720 w 8732972"/>
              <a:gd name="connsiteY0" fmla="*/ 161007 h 931183"/>
              <a:gd name="connsiteX1" fmla="*/ 45720 w 8732972"/>
              <a:gd name="connsiteY1" fmla="*/ 161007 h 931183"/>
              <a:gd name="connsiteX2" fmla="*/ 83820 w 8732972"/>
              <a:gd name="connsiteY2" fmla="*/ 107667 h 931183"/>
              <a:gd name="connsiteX3" fmla="*/ 99060 w 8732972"/>
              <a:gd name="connsiteY3" fmla="*/ 77187 h 931183"/>
              <a:gd name="connsiteX4" fmla="*/ 175260 w 8732972"/>
              <a:gd name="connsiteY4" fmla="*/ 31467 h 931183"/>
              <a:gd name="connsiteX5" fmla="*/ 213360 w 8732972"/>
              <a:gd name="connsiteY5" fmla="*/ 23847 h 931183"/>
              <a:gd name="connsiteX6" fmla="*/ 243840 w 8732972"/>
              <a:gd name="connsiteY6" fmla="*/ 16227 h 931183"/>
              <a:gd name="connsiteX7" fmla="*/ 1409700 w 8732972"/>
              <a:gd name="connsiteY7" fmla="*/ 16227 h 931183"/>
              <a:gd name="connsiteX8" fmla="*/ 1546860 w 8732972"/>
              <a:gd name="connsiteY8" fmla="*/ 8607 h 931183"/>
              <a:gd name="connsiteX9" fmla="*/ 1882140 w 8732972"/>
              <a:gd name="connsiteY9" fmla="*/ 987 h 931183"/>
              <a:gd name="connsiteX10" fmla="*/ 2209800 w 8732972"/>
              <a:gd name="connsiteY10" fmla="*/ 8607 h 931183"/>
              <a:gd name="connsiteX11" fmla="*/ 2659380 w 8732972"/>
              <a:gd name="connsiteY11" fmla="*/ 23847 h 931183"/>
              <a:gd name="connsiteX12" fmla="*/ 3017520 w 8732972"/>
              <a:gd name="connsiteY12" fmla="*/ 16227 h 931183"/>
              <a:gd name="connsiteX13" fmla="*/ 4472940 w 8732972"/>
              <a:gd name="connsiteY13" fmla="*/ 8607 h 931183"/>
              <a:gd name="connsiteX14" fmla="*/ 4968240 w 8732972"/>
              <a:gd name="connsiteY14" fmla="*/ 31467 h 931183"/>
              <a:gd name="connsiteX15" fmla="*/ 6004560 w 8732972"/>
              <a:gd name="connsiteY15" fmla="*/ 16227 h 931183"/>
              <a:gd name="connsiteX16" fmla="*/ 6438900 w 8732972"/>
              <a:gd name="connsiteY16" fmla="*/ 8607 h 931183"/>
              <a:gd name="connsiteX17" fmla="*/ 6827520 w 8732972"/>
              <a:gd name="connsiteY17" fmla="*/ 8607 h 931183"/>
              <a:gd name="connsiteX18" fmla="*/ 6903720 w 8732972"/>
              <a:gd name="connsiteY18" fmla="*/ 16227 h 931183"/>
              <a:gd name="connsiteX19" fmla="*/ 7246620 w 8732972"/>
              <a:gd name="connsiteY19" fmla="*/ 23847 h 931183"/>
              <a:gd name="connsiteX20" fmla="*/ 8625840 w 8732972"/>
              <a:gd name="connsiteY20" fmla="*/ 31467 h 931183"/>
              <a:gd name="connsiteX21" fmla="*/ 8679180 w 8732972"/>
              <a:gd name="connsiteY21" fmla="*/ 69567 h 931183"/>
              <a:gd name="connsiteX22" fmla="*/ 8694420 w 8732972"/>
              <a:gd name="connsiteY22" fmla="*/ 100047 h 931183"/>
              <a:gd name="connsiteX23" fmla="*/ 8717280 w 8732972"/>
              <a:gd name="connsiteY23" fmla="*/ 176247 h 931183"/>
              <a:gd name="connsiteX24" fmla="*/ 8724900 w 8732972"/>
              <a:gd name="connsiteY24" fmla="*/ 214347 h 931183"/>
              <a:gd name="connsiteX25" fmla="*/ 8717280 w 8732972"/>
              <a:gd name="connsiteY25" fmla="*/ 420087 h 931183"/>
              <a:gd name="connsiteX26" fmla="*/ 8724900 w 8732972"/>
              <a:gd name="connsiteY26" fmla="*/ 572487 h 931183"/>
              <a:gd name="connsiteX27" fmla="*/ 8732520 w 8732972"/>
              <a:gd name="connsiteY27" fmla="*/ 610587 h 931183"/>
              <a:gd name="connsiteX28" fmla="*/ 8717280 w 8732972"/>
              <a:gd name="connsiteY28" fmla="*/ 762987 h 931183"/>
              <a:gd name="connsiteX29" fmla="*/ 8702040 w 8732972"/>
              <a:gd name="connsiteY29" fmla="*/ 785847 h 931183"/>
              <a:gd name="connsiteX30" fmla="*/ 8694420 w 8732972"/>
              <a:gd name="connsiteY30" fmla="*/ 816327 h 931183"/>
              <a:gd name="connsiteX31" fmla="*/ 8663940 w 8732972"/>
              <a:gd name="connsiteY31" fmla="*/ 862047 h 931183"/>
              <a:gd name="connsiteX32" fmla="*/ 8641080 w 8732972"/>
              <a:gd name="connsiteY32" fmla="*/ 877287 h 931183"/>
              <a:gd name="connsiteX33" fmla="*/ 8496300 w 8732972"/>
              <a:gd name="connsiteY33" fmla="*/ 900147 h 931183"/>
              <a:gd name="connsiteX34" fmla="*/ 8435340 w 8732972"/>
              <a:gd name="connsiteY34" fmla="*/ 907767 h 931183"/>
              <a:gd name="connsiteX35" fmla="*/ 7642860 w 8732972"/>
              <a:gd name="connsiteY35" fmla="*/ 915387 h 931183"/>
              <a:gd name="connsiteX36" fmla="*/ 6385560 w 8732972"/>
              <a:gd name="connsiteY36" fmla="*/ 907767 h 931183"/>
              <a:gd name="connsiteX37" fmla="*/ 5730240 w 8732972"/>
              <a:gd name="connsiteY37" fmla="*/ 923007 h 931183"/>
              <a:gd name="connsiteX38" fmla="*/ 5364480 w 8732972"/>
              <a:gd name="connsiteY38" fmla="*/ 915387 h 931183"/>
              <a:gd name="connsiteX39" fmla="*/ 5364480 w 8732972"/>
              <a:gd name="connsiteY39" fmla="*/ 915387 h 931183"/>
              <a:gd name="connsiteX40" fmla="*/ 4145280 w 8732972"/>
              <a:gd name="connsiteY40" fmla="*/ 915387 h 931183"/>
              <a:gd name="connsiteX41" fmla="*/ 3444240 w 8732972"/>
              <a:gd name="connsiteY41" fmla="*/ 930627 h 931183"/>
              <a:gd name="connsiteX42" fmla="*/ 2781300 w 8732972"/>
              <a:gd name="connsiteY42" fmla="*/ 923007 h 931183"/>
              <a:gd name="connsiteX43" fmla="*/ 1424940 w 8732972"/>
              <a:gd name="connsiteY43" fmla="*/ 907767 h 931183"/>
              <a:gd name="connsiteX44" fmla="*/ 975360 w 8732972"/>
              <a:gd name="connsiteY44" fmla="*/ 923007 h 931183"/>
              <a:gd name="connsiteX45" fmla="*/ 213360 w 8732972"/>
              <a:gd name="connsiteY45" fmla="*/ 907767 h 931183"/>
              <a:gd name="connsiteX46" fmla="*/ 182880 w 8732972"/>
              <a:gd name="connsiteY46" fmla="*/ 892527 h 931183"/>
              <a:gd name="connsiteX47" fmla="*/ 114300 w 8732972"/>
              <a:gd name="connsiteY47" fmla="*/ 877287 h 931183"/>
              <a:gd name="connsiteX48" fmla="*/ 91440 w 8732972"/>
              <a:gd name="connsiteY48" fmla="*/ 862047 h 931183"/>
              <a:gd name="connsiteX49" fmla="*/ 53340 w 8732972"/>
              <a:gd name="connsiteY49" fmla="*/ 808707 h 931183"/>
              <a:gd name="connsiteX50" fmla="*/ 22860 w 8732972"/>
              <a:gd name="connsiteY50" fmla="*/ 732507 h 931183"/>
              <a:gd name="connsiteX51" fmla="*/ 15240 w 8732972"/>
              <a:gd name="connsiteY51" fmla="*/ 709647 h 931183"/>
              <a:gd name="connsiteX52" fmla="*/ 0 w 8732972"/>
              <a:gd name="connsiteY52" fmla="*/ 686787 h 931183"/>
              <a:gd name="connsiteX53" fmla="*/ 7620 w 8732972"/>
              <a:gd name="connsiteY53" fmla="*/ 572487 h 931183"/>
              <a:gd name="connsiteX54" fmla="*/ 15240 w 8732972"/>
              <a:gd name="connsiteY54" fmla="*/ 542007 h 931183"/>
              <a:gd name="connsiteX55" fmla="*/ 22860 w 8732972"/>
              <a:gd name="connsiteY55" fmla="*/ 503907 h 931183"/>
              <a:gd name="connsiteX56" fmla="*/ 30480 w 8732972"/>
              <a:gd name="connsiteY56" fmla="*/ 458187 h 931183"/>
              <a:gd name="connsiteX57" fmla="*/ 45720 w 8732972"/>
              <a:gd name="connsiteY57" fmla="*/ 397227 h 931183"/>
              <a:gd name="connsiteX58" fmla="*/ 53340 w 8732972"/>
              <a:gd name="connsiteY58" fmla="*/ 161007 h 931183"/>
              <a:gd name="connsiteX59" fmla="*/ 45720 w 8732972"/>
              <a:gd name="connsiteY59" fmla="*/ 161007 h 93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8732972" h="931183">
                <a:moveTo>
                  <a:pt x="45720" y="161007"/>
                </a:moveTo>
                <a:lnTo>
                  <a:pt x="45720" y="161007"/>
                </a:lnTo>
                <a:cubicBezTo>
                  <a:pt x="58420" y="143227"/>
                  <a:pt x="72089" y="126101"/>
                  <a:pt x="83820" y="107667"/>
                </a:cubicBezTo>
                <a:cubicBezTo>
                  <a:pt x="89918" y="98084"/>
                  <a:pt x="91028" y="85219"/>
                  <a:pt x="99060" y="77187"/>
                </a:cubicBezTo>
                <a:cubicBezTo>
                  <a:pt x="107755" y="68492"/>
                  <a:pt x="157221" y="37480"/>
                  <a:pt x="175260" y="31467"/>
                </a:cubicBezTo>
                <a:cubicBezTo>
                  <a:pt x="187547" y="27371"/>
                  <a:pt x="200717" y="26657"/>
                  <a:pt x="213360" y="23847"/>
                </a:cubicBezTo>
                <a:cubicBezTo>
                  <a:pt x="223583" y="21575"/>
                  <a:pt x="233680" y="18767"/>
                  <a:pt x="243840" y="16227"/>
                </a:cubicBezTo>
                <a:cubicBezTo>
                  <a:pt x="820866" y="25844"/>
                  <a:pt x="728995" y="28492"/>
                  <a:pt x="1409700" y="16227"/>
                </a:cubicBezTo>
                <a:cubicBezTo>
                  <a:pt x="1455483" y="15402"/>
                  <a:pt x="1501093" y="10083"/>
                  <a:pt x="1546860" y="8607"/>
                </a:cubicBezTo>
                <a:lnTo>
                  <a:pt x="1882140" y="987"/>
                </a:lnTo>
                <a:lnTo>
                  <a:pt x="2209800" y="8607"/>
                </a:lnTo>
                <a:cubicBezTo>
                  <a:pt x="2610149" y="17406"/>
                  <a:pt x="2556510" y="16227"/>
                  <a:pt x="2659380" y="23847"/>
                </a:cubicBezTo>
                <a:lnTo>
                  <a:pt x="3017520" y="16227"/>
                </a:lnTo>
                <a:lnTo>
                  <a:pt x="4472940" y="8607"/>
                </a:lnTo>
                <a:lnTo>
                  <a:pt x="4968240" y="31467"/>
                </a:lnTo>
                <a:cubicBezTo>
                  <a:pt x="5395605" y="2976"/>
                  <a:pt x="4992883" y="27594"/>
                  <a:pt x="6004560" y="16227"/>
                </a:cubicBezTo>
                <a:lnTo>
                  <a:pt x="6438900" y="8607"/>
                </a:lnTo>
                <a:cubicBezTo>
                  <a:pt x="6631403" y="-2717"/>
                  <a:pt x="6571714" y="-3021"/>
                  <a:pt x="6827520" y="8607"/>
                </a:cubicBezTo>
                <a:cubicBezTo>
                  <a:pt x="6853020" y="9766"/>
                  <a:pt x="6878210" y="15299"/>
                  <a:pt x="6903720" y="16227"/>
                </a:cubicBezTo>
                <a:cubicBezTo>
                  <a:pt x="7017973" y="20382"/>
                  <a:pt x="7132296" y="22835"/>
                  <a:pt x="7246620" y="23847"/>
                </a:cubicBezTo>
                <a:lnTo>
                  <a:pt x="8625840" y="31467"/>
                </a:lnTo>
                <a:cubicBezTo>
                  <a:pt x="8636548" y="38606"/>
                  <a:pt x="8672879" y="62216"/>
                  <a:pt x="8679180" y="69567"/>
                </a:cubicBezTo>
                <a:cubicBezTo>
                  <a:pt x="8686572" y="78192"/>
                  <a:pt x="8690201" y="89500"/>
                  <a:pt x="8694420" y="100047"/>
                </a:cubicBezTo>
                <a:cubicBezTo>
                  <a:pt x="8703918" y="123791"/>
                  <a:pt x="8711666" y="150986"/>
                  <a:pt x="8717280" y="176247"/>
                </a:cubicBezTo>
                <a:cubicBezTo>
                  <a:pt x="8720090" y="188890"/>
                  <a:pt x="8719820" y="77187"/>
                  <a:pt x="8724900" y="214347"/>
                </a:cubicBezTo>
                <a:lnTo>
                  <a:pt x="8717280" y="420087"/>
                </a:lnTo>
                <a:cubicBezTo>
                  <a:pt x="8719820" y="470887"/>
                  <a:pt x="8720844" y="521786"/>
                  <a:pt x="8724900" y="572487"/>
                </a:cubicBezTo>
                <a:cubicBezTo>
                  <a:pt x="8725933" y="585397"/>
                  <a:pt x="8732520" y="597635"/>
                  <a:pt x="8732520" y="610587"/>
                </a:cubicBezTo>
                <a:cubicBezTo>
                  <a:pt x="8732520" y="617267"/>
                  <a:pt x="8737076" y="723396"/>
                  <a:pt x="8717280" y="762987"/>
                </a:cubicBezTo>
                <a:cubicBezTo>
                  <a:pt x="8713184" y="771178"/>
                  <a:pt x="8707120" y="778227"/>
                  <a:pt x="8702040" y="785847"/>
                </a:cubicBezTo>
                <a:cubicBezTo>
                  <a:pt x="8699500" y="796007"/>
                  <a:pt x="8699104" y="806960"/>
                  <a:pt x="8694420" y="816327"/>
                </a:cubicBezTo>
                <a:cubicBezTo>
                  <a:pt x="8686229" y="832710"/>
                  <a:pt x="8679180" y="851887"/>
                  <a:pt x="8663940" y="862047"/>
                </a:cubicBezTo>
                <a:cubicBezTo>
                  <a:pt x="8656320" y="867127"/>
                  <a:pt x="8649687" y="874157"/>
                  <a:pt x="8641080" y="877287"/>
                </a:cubicBezTo>
                <a:cubicBezTo>
                  <a:pt x="8587343" y="896828"/>
                  <a:pt x="8554849" y="893984"/>
                  <a:pt x="8496300" y="900147"/>
                </a:cubicBezTo>
                <a:cubicBezTo>
                  <a:pt x="8475934" y="902291"/>
                  <a:pt x="8455815" y="907401"/>
                  <a:pt x="8435340" y="907767"/>
                </a:cubicBezTo>
                <a:lnTo>
                  <a:pt x="7642860" y="915387"/>
                </a:lnTo>
                <a:lnTo>
                  <a:pt x="6385560" y="907767"/>
                </a:lnTo>
                <a:cubicBezTo>
                  <a:pt x="5873942" y="907767"/>
                  <a:pt x="5990845" y="899316"/>
                  <a:pt x="5730240" y="923007"/>
                </a:cubicBezTo>
                <a:cubicBezTo>
                  <a:pt x="5608322" y="920357"/>
                  <a:pt x="5486426" y="915387"/>
                  <a:pt x="5364480" y="915387"/>
                </a:cubicBezTo>
                <a:lnTo>
                  <a:pt x="5364480" y="915387"/>
                </a:lnTo>
                <a:lnTo>
                  <a:pt x="4145280" y="915387"/>
                </a:lnTo>
                <a:cubicBezTo>
                  <a:pt x="3861313" y="935670"/>
                  <a:pt x="3961169" y="930627"/>
                  <a:pt x="3444240" y="930627"/>
                </a:cubicBezTo>
                <a:cubicBezTo>
                  <a:pt x="3223245" y="930627"/>
                  <a:pt x="3002280" y="925547"/>
                  <a:pt x="2781300" y="923007"/>
                </a:cubicBezTo>
                <a:cubicBezTo>
                  <a:pt x="2242600" y="898521"/>
                  <a:pt x="1844040" y="909037"/>
                  <a:pt x="1424940" y="907767"/>
                </a:cubicBezTo>
                <a:lnTo>
                  <a:pt x="975360" y="923007"/>
                </a:lnTo>
                <a:lnTo>
                  <a:pt x="213360" y="907767"/>
                </a:lnTo>
                <a:lnTo>
                  <a:pt x="182880" y="892527"/>
                </a:lnTo>
                <a:cubicBezTo>
                  <a:pt x="160020" y="887447"/>
                  <a:pt x="136516" y="884692"/>
                  <a:pt x="114300" y="877287"/>
                </a:cubicBezTo>
                <a:cubicBezTo>
                  <a:pt x="105612" y="874391"/>
                  <a:pt x="98475" y="867910"/>
                  <a:pt x="91440" y="862047"/>
                </a:cubicBezTo>
                <a:cubicBezTo>
                  <a:pt x="68209" y="842688"/>
                  <a:pt x="65324" y="836669"/>
                  <a:pt x="53340" y="808707"/>
                </a:cubicBezTo>
                <a:cubicBezTo>
                  <a:pt x="42564" y="783562"/>
                  <a:pt x="31511" y="758460"/>
                  <a:pt x="22860" y="732507"/>
                </a:cubicBezTo>
                <a:cubicBezTo>
                  <a:pt x="20320" y="724887"/>
                  <a:pt x="18832" y="716831"/>
                  <a:pt x="15240" y="709647"/>
                </a:cubicBezTo>
                <a:cubicBezTo>
                  <a:pt x="11144" y="701456"/>
                  <a:pt x="5080" y="694407"/>
                  <a:pt x="0" y="686787"/>
                </a:cubicBezTo>
                <a:cubicBezTo>
                  <a:pt x="2540" y="648687"/>
                  <a:pt x="3623" y="610462"/>
                  <a:pt x="7620" y="572487"/>
                </a:cubicBezTo>
                <a:cubicBezTo>
                  <a:pt x="8716" y="562072"/>
                  <a:pt x="12968" y="552230"/>
                  <a:pt x="15240" y="542007"/>
                </a:cubicBezTo>
                <a:cubicBezTo>
                  <a:pt x="18050" y="529364"/>
                  <a:pt x="20543" y="516650"/>
                  <a:pt x="22860" y="503907"/>
                </a:cubicBezTo>
                <a:cubicBezTo>
                  <a:pt x="25624" y="488706"/>
                  <a:pt x="27243" y="473294"/>
                  <a:pt x="30480" y="458187"/>
                </a:cubicBezTo>
                <a:cubicBezTo>
                  <a:pt x="34869" y="437707"/>
                  <a:pt x="45720" y="397227"/>
                  <a:pt x="45720" y="397227"/>
                </a:cubicBezTo>
                <a:cubicBezTo>
                  <a:pt x="48260" y="318487"/>
                  <a:pt x="48714" y="239652"/>
                  <a:pt x="53340" y="161007"/>
                </a:cubicBezTo>
                <a:cubicBezTo>
                  <a:pt x="54434" y="142401"/>
                  <a:pt x="46990" y="161007"/>
                  <a:pt x="45720" y="161007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>
                <a:lumMod val="90000"/>
                <a:lumOff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468000" tIns="45720" rIns="91440" bIns="45720" rtlCol="0" anchor="ctr"/>
          <a:lstStyle/>
          <a:p>
            <a:pPr fontAlgn="t">
              <a:spcBef>
                <a:spcPts val="600"/>
              </a:spcBef>
            </a:pPr>
            <a:r>
              <a:rPr lang="da-DK" sz="12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”Der kan være forskellige holdninger til, hvad bæredygtighed er. Så hvis man kan definere eller</a:t>
            </a:r>
            <a:br>
              <a:rPr lang="da-DK" sz="12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da-DK" sz="12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sarte det – og måle på det – vil det blive lettere at træffe beslutninger”</a:t>
            </a:r>
          </a:p>
          <a:p>
            <a:pPr fontAlgn="t">
              <a:spcBef>
                <a:spcPts val="600"/>
              </a:spcBef>
            </a:pPr>
            <a:r>
              <a:rPr lang="da-DK" sz="1200" b="1" dirty="0">
                <a:latin typeface="Verdana" panose="020B0604030504040204" pitchFamily="34" charset="0"/>
                <a:ea typeface="Verdana" panose="020B0604030504040204" pitchFamily="34" charset="0"/>
              </a:rPr>
              <a:t>Forretningsfører</a:t>
            </a: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E5E03E95-44D1-4518-B3CD-49199ABBACC4}"/>
              </a:ext>
            </a:extLst>
          </p:cNvPr>
          <p:cNvSpPr>
            <a:spLocks/>
          </p:cNvSpPr>
          <p:nvPr/>
        </p:nvSpPr>
        <p:spPr>
          <a:xfrm>
            <a:off x="3153909" y="4453989"/>
            <a:ext cx="8678090" cy="868654"/>
          </a:xfrm>
          <a:custGeom>
            <a:avLst/>
            <a:gdLst>
              <a:gd name="connsiteX0" fmla="*/ 45720 w 8732972"/>
              <a:gd name="connsiteY0" fmla="*/ 161007 h 931183"/>
              <a:gd name="connsiteX1" fmla="*/ 45720 w 8732972"/>
              <a:gd name="connsiteY1" fmla="*/ 161007 h 931183"/>
              <a:gd name="connsiteX2" fmla="*/ 83820 w 8732972"/>
              <a:gd name="connsiteY2" fmla="*/ 107667 h 931183"/>
              <a:gd name="connsiteX3" fmla="*/ 99060 w 8732972"/>
              <a:gd name="connsiteY3" fmla="*/ 77187 h 931183"/>
              <a:gd name="connsiteX4" fmla="*/ 175260 w 8732972"/>
              <a:gd name="connsiteY4" fmla="*/ 31467 h 931183"/>
              <a:gd name="connsiteX5" fmla="*/ 213360 w 8732972"/>
              <a:gd name="connsiteY5" fmla="*/ 23847 h 931183"/>
              <a:gd name="connsiteX6" fmla="*/ 243840 w 8732972"/>
              <a:gd name="connsiteY6" fmla="*/ 16227 h 931183"/>
              <a:gd name="connsiteX7" fmla="*/ 1409700 w 8732972"/>
              <a:gd name="connsiteY7" fmla="*/ 16227 h 931183"/>
              <a:gd name="connsiteX8" fmla="*/ 1546860 w 8732972"/>
              <a:gd name="connsiteY8" fmla="*/ 8607 h 931183"/>
              <a:gd name="connsiteX9" fmla="*/ 1882140 w 8732972"/>
              <a:gd name="connsiteY9" fmla="*/ 987 h 931183"/>
              <a:gd name="connsiteX10" fmla="*/ 2209800 w 8732972"/>
              <a:gd name="connsiteY10" fmla="*/ 8607 h 931183"/>
              <a:gd name="connsiteX11" fmla="*/ 2659380 w 8732972"/>
              <a:gd name="connsiteY11" fmla="*/ 23847 h 931183"/>
              <a:gd name="connsiteX12" fmla="*/ 3017520 w 8732972"/>
              <a:gd name="connsiteY12" fmla="*/ 16227 h 931183"/>
              <a:gd name="connsiteX13" fmla="*/ 4472940 w 8732972"/>
              <a:gd name="connsiteY13" fmla="*/ 8607 h 931183"/>
              <a:gd name="connsiteX14" fmla="*/ 4968240 w 8732972"/>
              <a:gd name="connsiteY14" fmla="*/ 31467 h 931183"/>
              <a:gd name="connsiteX15" fmla="*/ 6004560 w 8732972"/>
              <a:gd name="connsiteY15" fmla="*/ 16227 h 931183"/>
              <a:gd name="connsiteX16" fmla="*/ 6438900 w 8732972"/>
              <a:gd name="connsiteY16" fmla="*/ 8607 h 931183"/>
              <a:gd name="connsiteX17" fmla="*/ 6827520 w 8732972"/>
              <a:gd name="connsiteY17" fmla="*/ 8607 h 931183"/>
              <a:gd name="connsiteX18" fmla="*/ 6903720 w 8732972"/>
              <a:gd name="connsiteY18" fmla="*/ 16227 h 931183"/>
              <a:gd name="connsiteX19" fmla="*/ 7246620 w 8732972"/>
              <a:gd name="connsiteY19" fmla="*/ 23847 h 931183"/>
              <a:gd name="connsiteX20" fmla="*/ 8625840 w 8732972"/>
              <a:gd name="connsiteY20" fmla="*/ 31467 h 931183"/>
              <a:gd name="connsiteX21" fmla="*/ 8679180 w 8732972"/>
              <a:gd name="connsiteY21" fmla="*/ 69567 h 931183"/>
              <a:gd name="connsiteX22" fmla="*/ 8694420 w 8732972"/>
              <a:gd name="connsiteY22" fmla="*/ 100047 h 931183"/>
              <a:gd name="connsiteX23" fmla="*/ 8717280 w 8732972"/>
              <a:gd name="connsiteY23" fmla="*/ 176247 h 931183"/>
              <a:gd name="connsiteX24" fmla="*/ 8724900 w 8732972"/>
              <a:gd name="connsiteY24" fmla="*/ 214347 h 931183"/>
              <a:gd name="connsiteX25" fmla="*/ 8717280 w 8732972"/>
              <a:gd name="connsiteY25" fmla="*/ 420087 h 931183"/>
              <a:gd name="connsiteX26" fmla="*/ 8724900 w 8732972"/>
              <a:gd name="connsiteY26" fmla="*/ 572487 h 931183"/>
              <a:gd name="connsiteX27" fmla="*/ 8732520 w 8732972"/>
              <a:gd name="connsiteY27" fmla="*/ 610587 h 931183"/>
              <a:gd name="connsiteX28" fmla="*/ 8717280 w 8732972"/>
              <a:gd name="connsiteY28" fmla="*/ 762987 h 931183"/>
              <a:gd name="connsiteX29" fmla="*/ 8702040 w 8732972"/>
              <a:gd name="connsiteY29" fmla="*/ 785847 h 931183"/>
              <a:gd name="connsiteX30" fmla="*/ 8694420 w 8732972"/>
              <a:gd name="connsiteY30" fmla="*/ 816327 h 931183"/>
              <a:gd name="connsiteX31" fmla="*/ 8663940 w 8732972"/>
              <a:gd name="connsiteY31" fmla="*/ 862047 h 931183"/>
              <a:gd name="connsiteX32" fmla="*/ 8641080 w 8732972"/>
              <a:gd name="connsiteY32" fmla="*/ 877287 h 931183"/>
              <a:gd name="connsiteX33" fmla="*/ 8496300 w 8732972"/>
              <a:gd name="connsiteY33" fmla="*/ 900147 h 931183"/>
              <a:gd name="connsiteX34" fmla="*/ 8435340 w 8732972"/>
              <a:gd name="connsiteY34" fmla="*/ 907767 h 931183"/>
              <a:gd name="connsiteX35" fmla="*/ 7642860 w 8732972"/>
              <a:gd name="connsiteY35" fmla="*/ 915387 h 931183"/>
              <a:gd name="connsiteX36" fmla="*/ 6385560 w 8732972"/>
              <a:gd name="connsiteY36" fmla="*/ 907767 h 931183"/>
              <a:gd name="connsiteX37" fmla="*/ 5730240 w 8732972"/>
              <a:gd name="connsiteY37" fmla="*/ 923007 h 931183"/>
              <a:gd name="connsiteX38" fmla="*/ 5364480 w 8732972"/>
              <a:gd name="connsiteY38" fmla="*/ 915387 h 931183"/>
              <a:gd name="connsiteX39" fmla="*/ 5364480 w 8732972"/>
              <a:gd name="connsiteY39" fmla="*/ 915387 h 931183"/>
              <a:gd name="connsiteX40" fmla="*/ 4145280 w 8732972"/>
              <a:gd name="connsiteY40" fmla="*/ 915387 h 931183"/>
              <a:gd name="connsiteX41" fmla="*/ 3444240 w 8732972"/>
              <a:gd name="connsiteY41" fmla="*/ 930627 h 931183"/>
              <a:gd name="connsiteX42" fmla="*/ 2781300 w 8732972"/>
              <a:gd name="connsiteY42" fmla="*/ 923007 h 931183"/>
              <a:gd name="connsiteX43" fmla="*/ 1424940 w 8732972"/>
              <a:gd name="connsiteY43" fmla="*/ 907767 h 931183"/>
              <a:gd name="connsiteX44" fmla="*/ 975360 w 8732972"/>
              <a:gd name="connsiteY44" fmla="*/ 923007 h 931183"/>
              <a:gd name="connsiteX45" fmla="*/ 213360 w 8732972"/>
              <a:gd name="connsiteY45" fmla="*/ 907767 h 931183"/>
              <a:gd name="connsiteX46" fmla="*/ 182880 w 8732972"/>
              <a:gd name="connsiteY46" fmla="*/ 892527 h 931183"/>
              <a:gd name="connsiteX47" fmla="*/ 114300 w 8732972"/>
              <a:gd name="connsiteY47" fmla="*/ 877287 h 931183"/>
              <a:gd name="connsiteX48" fmla="*/ 91440 w 8732972"/>
              <a:gd name="connsiteY48" fmla="*/ 862047 h 931183"/>
              <a:gd name="connsiteX49" fmla="*/ 53340 w 8732972"/>
              <a:gd name="connsiteY49" fmla="*/ 808707 h 931183"/>
              <a:gd name="connsiteX50" fmla="*/ 22860 w 8732972"/>
              <a:gd name="connsiteY50" fmla="*/ 732507 h 931183"/>
              <a:gd name="connsiteX51" fmla="*/ 15240 w 8732972"/>
              <a:gd name="connsiteY51" fmla="*/ 709647 h 931183"/>
              <a:gd name="connsiteX52" fmla="*/ 0 w 8732972"/>
              <a:gd name="connsiteY52" fmla="*/ 686787 h 931183"/>
              <a:gd name="connsiteX53" fmla="*/ 7620 w 8732972"/>
              <a:gd name="connsiteY53" fmla="*/ 572487 h 931183"/>
              <a:gd name="connsiteX54" fmla="*/ 15240 w 8732972"/>
              <a:gd name="connsiteY54" fmla="*/ 542007 h 931183"/>
              <a:gd name="connsiteX55" fmla="*/ 22860 w 8732972"/>
              <a:gd name="connsiteY55" fmla="*/ 503907 h 931183"/>
              <a:gd name="connsiteX56" fmla="*/ 30480 w 8732972"/>
              <a:gd name="connsiteY56" fmla="*/ 458187 h 931183"/>
              <a:gd name="connsiteX57" fmla="*/ 45720 w 8732972"/>
              <a:gd name="connsiteY57" fmla="*/ 397227 h 931183"/>
              <a:gd name="connsiteX58" fmla="*/ 53340 w 8732972"/>
              <a:gd name="connsiteY58" fmla="*/ 161007 h 931183"/>
              <a:gd name="connsiteX59" fmla="*/ 45720 w 8732972"/>
              <a:gd name="connsiteY59" fmla="*/ 161007 h 93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8732972" h="931183">
                <a:moveTo>
                  <a:pt x="45720" y="161007"/>
                </a:moveTo>
                <a:lnTo>
                  <a:pt x="45720" y="161007"/>
                </a:lnTo>
                <a:cubicBezTo>
                  <a:pt x="58420" y="143227"/>
                  <a:pt x="72089" y="126101"/>
                  <a:pt x="83820" y="107667"/>
                </a:cubicBezTo>
                <a:cubicBezTo>
                  <a:pt x="89918" y="98084"/>
                  <a:pt x="91028" y="85219"/>
                  <a:pt x="99060" y="77187"/>
                </a:cubicBezTo>
                <a:cubicBezTo>
                  <a:pt x="107755" y="68492"/>
                  <a:pt x="157221" y="37480"/>
                  <a:pt x="175260" y="31467"/>
                </a:cubicBezTo>
                <a:cubicBezTo>
                  <a:pt x="187547" y="27371"/>
                  <a:pt x="200717" y="26657"/>
                  <a:pt x="213360" y="23847"/>
                </a:cubicBezTo>
                <a:cubicBezTo>
                  <a:pt x="223583" y="21575"/>
                  <a:pt x="233680" y="18767"/>
                  <a:pt x="243840" y="16227"/>
                </a:cubicBezTo>
                <a:cubicBezTo>
                  <a:pt x="820866" y="25844"/>
                  <a:pt x="728995" y="28492"/>
                  <a:pt x="1409700" y="16227"/>
                </a:cubicBezTo>
                <a:cubicBezTo>
                  <a:pt x="1455483" y="15402"/>
                  <a:pt x="1501093" y="10083"/>
                  <a:pt x="1546860" y="8607"/>
                </a:cubicBezTo>
                <a:lnTo>
                  <a:pt x="1882140" y="987"/>
                </a:lnTo>
                <a:lnTo>
                  <a:pt x="2209800" y="8607"/>
                </a:lnTo>
                <a:cubicBezTo>
                  <a:pt x="2610149" y="17406"/>
                  <a:pt x="2556510" y="16227"/>
                  <a:pt x="2659380" y="23847"/>
                </a:cubicBezTo>
                <a:lnTo>
                  <a:pt x="3017520" y="16227"/>
                </a:lnTo>
                <a:lnTo>
                  <a:pt x="4472940" y="8607"/>
                </a:lnTo>
                <a:lnTo>
                  <a:pt x="4968240" y="31467"/>
                </a:lnTo>
                <a:cubicBezTo>
                  <a:pt x="5395605" y="2976"/>
                  <a:pt x="4992883" y="27594"/>
                  <a:pt x="6004560" y="16227"/>
                </a:cubicBezTo>
                <a:lnTo>
                  <a:pt x="6438900" y="8607"/>
                </a:lnTo>
                <a:cubicBezTo>
                  <a:pt x="6631403" y="-2717"/>
                  <a:pt x="6571714" y="-3021"/>
                  <a:pt x="6827520" y="8607"/>
                </a:cubicBezTo>
                <a:cubicBezTo>
                  <a:pt x="6853020" y="9766"/>
                  <a:pt x="6878210" y="15299"/>
                  <a:pt x="6903720" y="16227"/>
                </a:cubicBezTo>
                <a:cubicBezTo>
                  <a:pt x="7017973" y="20382"/>
                  <a:pt x="7132296" y="22835"/>
                  <a:pt x="7246620" y="23847"/>
                </a:cubicBezTo>
                <a:lnTo>
                  <a:pt x="8625840" y="31467"/>
                </a:lnTo>
                <a:cubicBezTo>
                  <a:pt x="8636548" y="38606"/>
                  <a:pt x="8672879" y="62216"/>
                  <a:pt x="8679180" y="69567"/>
                </a:cubicBezTo>
                <a:cubicBezTo>
                  <a:pt x="8686572" y="78192"/>
                  <a:pt x="8690201" y="89500"/>
                  <a:pt x="8694420" y="100047"/>
                </a:cubicBezTo>
                <a:cubicBezTo>
                  <a:pt x="8703918" y="123791"/>
                  <a:pt x="8711666" y="150986"/>
                  <a:pt x="8717280" y="176247"/>
                </a:cubicBezTo>
                <a:cubicBezTo>
                  <a:pt x="8720090" y="188890"/>
                  <a:pt x="8719820" y="77187"/>
                  <a:pt x="8724900" y="214347"/>
                </a:cubicBezTo>
                <a:lnTo>
                  <a:pt x="8717280" y="420087"/>
                </a:lnTo>
                <a:cubicBezTo>
                  <a:pt x="8719820" y="470887"/>
                  <a:pt x="8720844" y="521786"/>
                  <a:pt x="8724900" y="572487"/>
                </a:cubicBezTo>
                <a:cubicBezTo>
                  <a:pt x="8725933" y="585397"/>
                  <a:pt x="8732520" y="597635"/>
                  <a:pt x="8732520" y="610587"/>
                </a:cubicBezTo>
                <a:cubicBezTo>
                  <a:pt x="8732520" y="617267"/>
                  <a:pt x="8737076" y="723396"/>
                  <a:pt x="8717280" y="762987"/>
                </a:cubicBezTo>
                <a:cubicBezTo>
                  <a:pt x="8713184" y="771178"/>
                  <a:pt x="8707120" y="778227"/>
                  <a:pt x="8702040" y="785847"/>
                </a:cubicBezTo>
                <a:cubicBezTo>
                  <a:pt x="8699500" y="796007"/>
                  <a:pt x="8699104" y="806960"/>
                  <a:pt x="8694420" y="816327"/>
                </a:cubicBezTo>
                <a:cubicBezTo>
                  <a:pt x="8686229" y="832710"/>
                  <a:pt x="8679180" y="851887"/>
                  <a:pt x="8663940" y="862047"/>
                </a:cubicBezTo>
                <a:cubicBezTo>
                  <a:pt x="8656320" y="867127"/>
                  <a:pt x="8649687" y="874157"/>
                  <a:pt x="8641080" y="877287"/>
                </a:cubicBezTo>
                <a:cubicBezTo>
                  <a:pt x="8587343" y="896828"/>
                  <a:pt x="8554849" y="893984"/>
                  <a:pt x="8496300" y="900147"/>
                </a:cubicBezTo>
                <a:cubicBezTo>
                  <a:pt x="8475934" y="902291"/>
                  <a:pt x="8455815" y="907401"/>
                  <a:pt x="8435340" y="907767"/>
                </a:cubicBezTo>
                <a:lnTo>
                  <a:pt x="7642860" y="915387"/>
                </a:lnTo>
                <a:lnTo>
                  <a:pt x="6385560" y="907767"/>
                </a:lnTo>
                <a:cubicBezTo>
                  <a:pt x="5873942" y="907767"/>
                  <a:pt x="5990845" y="899316"/>
                  <a:pt x="5730240" y="923007"/>
                </a:cubicBezTo>
                <a:cubicBezTo>
                  <a:pt x="5608322" y="920357"/>
                  <a:pt x="5486426" y="915387"/>
                  <a:pt x="5364480" y="915387"/>
                </a:cubicBezTo>
                <a:lnTo>
                  <a:pt x="5364480" y="915387"/>
                </a:lnTo>
                <a:lnTo>
                  <a:pt x="4145280" y="915387"/>
                </a:lnTo>
                <a:cubicBezTo>
                  <a:pt x="3861313" y="935670"/>
                  <a:pt x="3961169" y="930627"/>
                  <a:pt x="3444240" y="930627"/>
                </a:cubicBezTo>
                <a:cubicBezTo>
                  <a:pt x="3223245" y="930627"/>
                  <a:pt x="3002280" y="925547"/>
                  <a:pt x="2781300" y="923007"/>
                </a:cubicBezTo>
                <a:cubicBezTo>
                  <a:pt x="2242600" y="898521"/>
                  <a:pt x="1844040" y="909037"/>
                  <a:pt x="1424940" y="907767"/>
                </a:cubicBezTo>
                <a:lnTo>
                  <a:pt x="975360" y="923007"/>
                </a:lnTo>
                <a:lnTo>
                  <a:pt x="213360" y="907767"/>
                </a:lnTo>
                <a:lnTo>
                  <a:pt x="182880" y="892527"/>
                </a:lnTo>
                <a:cubicBezTo>
                  <a:pt x="160020" y="887447"/>
                  <a:pt x="136516" y="884692"/>
                  <a:pt x="114300" y="877287"/>
                </a:cubicBezTo>
                <a:cubicBezTo>
                  <a:pt x="105612" y="874391"/>
                  <a:pt x="98475" y="867910"/>
                  <a:pt x="91440" y="862047"/>
                </a:cubicBezTo>
                <a:cubicBezTo>
                  <a:pt x="68209" y="842688"/>
                  <a:pt x="65324" y="836669"/>
                  <a:pt x="53340" y="808707"/>
                </a:cubicBezTo>
                <a:cubicBezTo>
                  <a:pt x="42564" y="783562"/>
                  <a:pt x="31511" y="758460"/>
                  <a:pt x="22860" y="732507"/>
                </a:cubicBezTo>
                <a:cubicBezTo>
                  <a:pt x="20320" y="724887"/>
                  <a:pt x="18832" y="716831"/>
                  <a:pt x="15240" y="709647"/>
                </a:cubicBezTo>
                <a:cubicBezTo>
                  <a:pt x="11144" y="701456"/>
                  <a:pt x="5080" y="694407"/>
                  <a:pt x="0" y="686787"/>
                </a:cubicBezTo>
                <a:cubicBezTo>
                  <a:pt x="2540" y="648687"/>
                  <a:pt x="3623" y="610462"/>
                  <a:pt x="7620" y="572487"/>
                </a:cubicBezTo>
                <a:cubicBezTo>
                  <a:pt x="8716" y="562072"/>
                  <a:pt x="12968" y="552230"/>
                  <a:pt x="15240" y="542007"/>
                </a:cubicBezTo>
                <a:cubicBezTo>
                  <a:pt x="18050" y="529364"/>
                  <a:pt x="20543" y="516650"/>
                  <a:pt x="22860" y="503907"/>
                </a:cubicBezTo>
                <a:cubicBezTo>
                  <a:pt x="25624" y="488706"/>
                  <a:pt x="27243" y="473294"/>
                  <a:pt x="30480" y="458187"/>
                </a:cubicBezTo>
                <a:cubicBezTo>
                  <a:pt x="34869" y="437707"/>
                  <a:pt x="45720" y="397227"/>
                  <a:pt x="45720" y="397227"/>
                </a:cubicBezTo>
                <a:cubicBezTo>
                  <a:pt x="48260" y="318487"/>
                  <a:pt x="48714" y="239652"/>
                  <a:pt x="53340" y="161007"/>
                </a:cubicBezTo>
                <a:cubicBezTo>
                  <a:pt x="54434" y="142401"/>
                  <a:pt x="46990" y="161007"/>
                  <a:pt x="45720" y="161007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>
                <a:lumMod val="90000"/>
                <a:lumOff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468000" tIns="45720" rIns="91440" bIns="45720" rtlCol="0" anchor="ctr"/>
          <a:lstStyle/>
          <a:p>
            <a:pPr fontAlgn="t">
              <a:spcBef>
                <a:spcPts val="600"/>
              </a:spcBef>
            </a:pPr>
            <a:r>
              <a:rPr lang="da-DK" sz="1200" i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”Vi har behov for at gøre det komplekse simpelt. At gøre det håndgribeligt, så vi får et bedre</a:t>
            </a:r>
            <a:br>
              <a:rPr lang="da-DK" sz="1200" i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da-DK" sz="1200" i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marbejde beboerdemokrater imellem og mulighed for at lægge en langsigtet plan”</a:t>
            </a:r>
          </a:p>
          <a:p>
            <a:pPr fontAlgn="t">
              <a:spcBef>
                <a:spcPts val="600"/>
              </a:spcBef>
            </a:pPr>
            <a:r>
              <a:rPr lang="da-DK" sz="1200" b="1">
                <a:latin typeface="Verdana" panose="020B0604030504040204" pitchFamily="34" charset="0"/>
                <a:ea typeface="Verdana" panose="020B0604030504040204" pitchFamily="34" charset="0"/>
              </a:rPr>
              <a:t>Driftschef</a:t>
            </a: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80EECF15-8BAC-41CD-BE03-A5A359F35F0B}"/>
              </a:ext>
            </a:extLst>
          </p:cNvPr>
          <p:cNvSpPr>
            <a:spLocks/>
          </p:cNvSpPr>
          <p:nvPr/>
        </p:nvSpPr>
        <p:spPr>
          <a:xfrm>
            <a:off x="3153909" y="5408321"/>
            <a:ext cx="8678090" cy="868654"/>
          </a:xfrm>
          <a:custGeom>
            <a:avLst/>
            <a:gdLst>
              <a:gd name="connsiteX0" fmla="*/ 45720 w 8732972"/>
              <a:gd name="connsiteY0" fmla="*/ 161007 h 931183"/>
              <a:gd name="connsiteX1" fmla="*/ 45720 w 8732972"/>
              <a:gd name="connsiteY1" fmla="*/ 161007 h 931183"/>
              <a:gd name="connsiteX2" fmla="*/ 83820 w 8732972"/>
              <a:gd name="connsiteY2" fmla="*/ 107667 h 931183"/>
              <a:gd name="connsiteX3" fmla="*/ 99060 w 8732972"/>
              <a:gd name="connsiteY3" fmla="*/ 77187 h 931183"/>
              <a:gd name="connsiteX4" fmla="*/ 175260 w 8732972"/>
              <a:gd name="connsiteY4" fmla="*/ 31467 h 931183"/>
              <a:gd name="connsiteX5" fmla="*/ 213360 w 8732972"/>
              <a:gd name="connsiteY5" fmla="*/ 23847 h 931183"/>
              <a:gd name="connsiteX6" fmla="*/ 243840 w 8732972"/>
              <a:gd name="connsiteY6" fmla="*/ 16227 h 931183"/>
              <a:gd name="connsiteX7" fmla="*/ 1409700 w 8732972"/>
              <a:gd name="connsiteY7" fmla="*/ 16227 h 931183"/>
              <a:gd name="connsiteX8" fmla="*/ 1546860 w 8732972"/>
              <a:gd name="connsiteY8" fmla="*/ 8607 h 931183"/>
              <a:gd name="connsiteX9" fmla="*/ 1882140 w 8732972"/>
              <a:gd name="connsiteY9" fmla="*/ 987 h 931183"/>
              <a:gd name="connsiteX10" fmla="*/ 2209800 w 8732972"/>
              <a:gd name="connsiteY10" fmla="*/ 8607 h 931183"/>
              <a:gd name="connsiteX11" fmla="*/ 2659380 w 8732972"/>
              <a:gd name="connsiteY11" fmla="*/ 23847 h 931183"/>
              <a:gd name="connsiteX12" fmla="*/ 3017520 w 8732972"/>
              <a:gd name="connsiteY12" fmla="*/ 16227 h 931183"/>
              <a:gd name="connsiteX13" fmla="*/ 4472940 w 8732972"/>
              <a:gd name="connsiteY13" fmla="*/ 8607 h 931183"/>
              <a:gd name="connsiteX14" fmla="*/ 4968240 w 8732972"/>
              <a:gd name="connsiteY14" fmla="*/ 31467 h 931183"/>
              <a:gd name="connsiteX15" fmla="*/ 6004560 w 8732972"/>
              <a:gd name="connsiteY15" fmla="*/ 16227 h 931183"/>
              <a:gd name="connsiteX16" fmla="*/ 6438900 w 8732972"/>
              <a:gd name="connsiteY16" fmla="*/ 8607 h 931183"/>
              <a:gd name="connsiteX17" fmla="*/ 6827520 w 8732972"/>
              <a:gd name="connsiteY17" fmla="*/ 8607 h 931183"/>
              <a:gd name="connsiteX18" fmla="*/ 6903720 w 8732972"/>
              <a:gd name="connsiteY18" fmla="*/ 16227 h 931183"/>
              <a:gd name="connsiteX19" fmla="*/ 7246620 w 8732972"/>
              <a:gd name="connsiteY19" fmla="*/ 23847 h 931183"/>
              <a:gd name="connsiteX20" fmla="*/ 8625840 w 8732972"/>
              <a:gd name="connsiteY20" fmla="*/ 31467 h 931183"/>
              <a:gd name="connsiteX21" fmla="*/ 8679180 w 8732972"/>
              <a:gd name="connsiteY21" fmla="*/ 69567 h 931183"/>
              <a:gd name="connsiteX22" fmla="*/ 8694420 w 8732972"/>
              <a:gd name="connsiteY22" fmla="*/ 100047 h 931183"/>
              <a:gd name="connsiteX23" fmla="*/ 8717280 w 8732972"/>
              <a:gd name="connsiteY23" fmla="*/ 176247 h 931183"/>
              <a:gd name="connsiteX24" fmla="*/ 8724900 w 8732972"/>
              <a:gd name="connsiteY24" fmla="*/ 214347 h 931183"/>
              <a:gd name="connsiteX25" fmla="*/ 8717280 w 8732972"/>
              <a:gd name="connsiteY25" fmla="*/ 420087 h 931183"/>
              <a:gd name="connsiteX26" fmla="*/ 8724900 w 8732972"/>
              <a:gd name="connsiteY26" fmla="*/ 572487 h 931183"/>
              <a:gd name="connsiteX27" fmla="*/ 8732520 w 8732972"/>
              <a:gd name="connsiteY27" fmla="*/ 610587 h 931183"/>
              <a:gd name="connsiteX28" fmla="*/ 8717280 w 8732972"/>
              <a:gd name="connsiteY28" fmla="*/ 762987 h 931183"/>
              <a:gd name="connsiteX29" fmla="*/ 8702040 w 8732972"/>
              <a:gd name="connsiteY29" fmla="*/ 785847 h 931183"/>
              <a:gd name="connsiteX30" fmla="*/ 8694420 w 8732972"/>
              <a:gd name="connsiteY30" fmla="*/ 816327 h 931183"/>
              <a:gd name="connsiteX31" fmla="*/ 8663940 w 8732972"/>
              <a:gd name="connsiteY31" fmla="*/ 862047 h 931183"/>
              <a:gd name="connsiteX32" fmla="*/ 8641080 w 8732972"/>
              <a:gd name="connsiteY32" fmla="*/ 877287 h 931183"/>
              <a:gd name="connsiteX33" fmla="*/ 8496300 w 8732972"/>
              <a:gd name="connsiteY33" fmla="*/ 900147 h 931183"/>
              <a:gd name="connsiteX34" fmla="*/ 8435340 w 8732972"/>
              <a:gd name="connsiteY34" fmla="*/ 907767 h 931183"/>
              <a:gd name="connsiteX35" fmla="*/ 7642860 w 8732972"/>
              <a:gd name="connsiteY35" fmla="*/ 915387 h 931183"/>
              <a:gd name="connsiteX36" fmla="*/ 6385560 w 8732972"/>
              <a:gd name="connsiteY36" fmla="*/ 907767 h 931183"/>
              <a:gd name="connsiteX37" fmla="*/ 5730240 w 8732972"/>
              <a:gd name="connsiteY37" fmla="*/ 923007 h 931183"/>
              <a:gd name="connsiteX38" fmla="*/ 5364480 w 8732972"/>
              <a:gd name="connsiteY38" fmla="*/ 915387 h 931183"/>
              <a:gd name="connsiteX39" fmla="*/ 5364480 w 8732972"/>
              <a:gd name="connsiteY39" fmla="*/ 915387 h 931183"/>
              <a:gd name="connsiteX40" fmla="*/ 4145280 w 8732972"/>
              <a:gd name="connsiteY40" fmla="*/ 915387 h 931183"/>
              <a:gd name="connsiteX41" fmla="*/ 3444240 w 8732972"/>
              <a:gd name="connsiteY41" fmla="*/ 930627 h 931183"/>
              <a:gd name="connsiteX42" fmla="*/ 2781300 w 8732972"/>
              <a:gd name="connsiteY42" fmla="*/ 923007 h 931183"/>
              <a:gd name="connsiteX43" fmla="*/ 1424940 w 8732972"/>
              <a:gd name="connsiteY43" fmla="*/ 907767 h 931183"/>
              <a:gd name="connsiteX44" fmla="*/ 975360 w 8732972"/>
              <a:gd name="connsiteY44" fmla="*/ 923007 h 931183"/>
              <a:gd name="connsiteX45" fmla="*/ 213360 w 8732972"/>
              <a:gd name="connsiteY45" fmla="*/ 907767 h 931183"/>
              <a:gd name="connsiteX46" fmla="*/ 182880 w 8732972"/>
              <a:gd name="connsiteY46" fmla="*/ 892527 h 931183"/>
              <a:gd name="connsiteX47" fmla="*/ 114300 w 8732972"/>
              <a:gd name="connsiteY47" fmla="*/ 877287 h 931183"/>
              <a:gd name="connsiteX48" fmla="*/ 91440 w 8732972"/>
              <a:gd name="connsiteY48" fmla="*/ 862047 h 931183"/>
              <a:gd name="connsiteX49" fmla="*/ 53340 w 8732972"/>
              <a:gd name="connsiteY49" fmla="*/ 808707 h 931183"/>
              <a:gd name="connsiteX50" fmla="*/ 22860 w 8732972"/>
              <a:gd name="connsiteY50" fmla="*/ 732507 h 931183"/>
              <a:gd name="connsiteX51" fmla="*/ 15240 w 8732972"/>
              <a:gd name="connsiteY51" fmla="*/ 709647 h 931183"/>
              <a:gd name="connsiteX52" fmla="*/ 0 w 8732972"/>
              <a:gd name="connsiteY52" fmla="*/ 686787 h 931183"/>
              <a:gd name="connsiteX53" fmla="*/ 7620 w 8732972"/>
              <a:gd name="connsiteY53" fmla="*/ 572487 h 931183"/>
              <a:gd name="connsiteX54" fmla="*/ 15240 w 8732972"/>
              <a:gd name="connsiteY54" fmla="*/ 542007 h 931183"/>
              <a:gd name="connsiteX55" fmla="*/ 22860 w 8732972"/>
              <a:gd name="connsiteY55" fmla="*/ 503907 h 931183"/>
              <a:gd name="connsiteX56" fmla="*/ 30480 w 8732972"/>
              <a:gd name="connsiteY56" fmla="*/ 458187 h 931183"/>
              <a:gd name="connsiteX57" fmla="*/ 45720 w 8732972"/>
              <a:gd name="connsiteY57" fmla="*/ 397227 h 931183"/>
              <a:gd name="connsiteX58" fmla="*/ 53340 w 8732972"/>
              <a:gd name="connsiteY58" fmla="*/ 161007 h 931183"/>
              <a:gd name="connsiteX59" fmla="*/ 45720 w 8732972"/>
              <a:gd name="connsiteY59" fmla="*/ 161007 h 931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8732972" h="931183">
                <a:moveTo>
                  <a:pt x="45720" y="161007"/>
                </a:moveTo>
                <a:lnTo>
                  <a:pt x="45720" y="161007"/>
                </a:lnTo>
                <a:cubicBezTo>
                  <a:pt x="58420" y="143227"/>
                  <a:pt x="72089" y="126101"/>
                  <a:pt x="83820" y="107667"/>
                </a:cubicBezTo>
                <a:cubicBezTo>
                  <a:pt x="89918" y="98084"/>
                  <a:pt x="91028" y="85219"/>
                  <a:pt x="99060" y="77187"/>
                </a:cubicBezTo>
                <a:cubicBezTo>
                  <a:pt x="107755" y="68492"/>
                  <a:pt x="157221" y="37480"/>
                  <a:pt x="175260" y="31467"/>
                </a:cubicBezTo>
                <a:cubicBezTo>
                  <a:pt x="187547" y="27371"/>
                  <a:pt x="200717" y="26657"/>
                  <a:pt x="213360" y="23847"/>
                </a:cubicBezTo>
                <a:cubicBezTo>
                  <a:pt x="223583" y="21575"/>
                  <a:pt x="233680" y="18767"/>
                  <a:pt x="243840" y="16227"/>
                </a:cubicBezTo>
                <a:cubicBezTo>
                  <a:pt x="820866" y="25844"/>
                  <a:pt x="728995" y="28492"/>
                  <a:pt x="1409700" y="16227"/>
                </a:cubicBezTo>
                <a:cubicBezTo>
                  <a:pt x="1455483" y="15402"/>
                  <a:pt x="1501093" y="10083"/>
                  <a:pt x="1546860" y="8607"/>
                </a:cubicBezTo>
                <a:lnTo>
                  <a:pt x="1882140" y="987"/>
                </a:lnTo>
                <a:lnTo>
                  <a:pt x="2209800" y="8607"/>
                </a:lnTo>
                <a:cubicBezTo>
                  <a:pt x="2610149" y="17406"/>
                  <a:pt x="2556510" y="16227"/>
                  <a:pt x="2659380" y="23847"/>
                </a:cubicBezTo>
                <a:lnTo>
                  <a:pt x="3017520" y="16227"/>
                </a:lnTo>
                <a:lnTo>
                  <a:pt x="4472940" y="8607"/>
                </a:lnTo>
                <a:lnTo>
                  <a:pt x="4968240" y="31467"/>
                </a:lnTo>
                <a:cubicBezTo>
                  <a:pt x="5395605" y="2976"/>
                  <a:pt x="4992883" y="27594"/>
                  <a:pt x="6004560" y="16227"/>
                </a:cubicBezTo>
                <a:lnTo>
                  <a:pt x="6438900" y="8607"/>
                </a:lnTo>
                <a:cubicBezTo>
                  <a:pt x="6631403" y="-2717"/>
                  <a:pt x="6571714" y="-3021"/>
                  <a:pt x="6827520" y="8607"/>
                </a:cubicBezTo>
                <a:cubicBezTo>
                  <a:pt x="6853020" y="9766"/>
                  <a:pt x="6878210" y="15299"/>
                  <a:pt x="6903720" y="16227"/>
                </a:cubicBezTo>
                <a:cubicBezTo>
                  <a:pt x="7017973" y="20382"/>
                  <a:pt x="7132296" y="22835"/>
                  <a:pt x="7246620" y="23847"/>
                </a:cubicBezTo>
                <a:lnTo>
                  <a:pt x="8625840" y="31467"/>
                </a:lnTo>
                <a:cubicBezTo>
                  <a:pt x="8636548" y="38606"/>
                  <a:pt x="8672879" y="62216"/>
                  <a:pt x="8679180" y="69567"/>
                </a:cubicBezTo>
                <a:cubicBezTo>
                  <a:pt x="8686572" y="78192"/>
                  <a:pt x="8690201" y="89500"/>
                  <a:pt x="8694420" y="100047"/>
                </a:cubicBezTo>
                <a:cubicBezTo>
                  <a:pt x="8703918" y="123791"/>
                  <a:pt x="8711666" y="150986"/>
                  <a:pt x="8717280" y="176247"/>
                </a:cubicBezTo>
                <a:cubicBezTo>
                  <a:pt x="8720090" y="188890"/>
                  <a:pt x="8719820" y="77187"/>
                  <a:pt x="8724900" y="214347"/>
                </a:cubicBezTo>
                <a:lnTo>
                  <a:pt x="8717280" y="420087"/>
                </a:lnTo>
                <a:cubicBezTo>
                  <a:pt x="8719820" y="470887"/>
                  <a:pt x="8720844" y="521786"/>
                  <a:pt x="8724900" y="572487"/>
                </a:cubicBezTo>
                <a:cubicBezTo>
                  <a:pt x="8725933" y="585397"/>
                  <a:pt x="8732520" y="597635"/>
                  <a:pt x="8732520" y="610587"/>
                </a:cubicBezTo>
                <a:cubicBezTo>
                  <a:pt x="8732520" y="617267"/>
                  <a:pt x="8737076" y="723396"/>
                  <a:pt x="8717280" y="762987"/>
                </a:cubicBezTo>
                <a:cubicBezTo>
                  <a:pt x="8713184" y="771178"/>
                  <a:pt x="8707120" y="778227"/>
                  <a:pt x="8702040" y="785847"/>
                </a:cubicBezTo>
                <a:cubicBezTo>
                  <a:pt x="8699500" y="796007"/>
                  <a:pt x="8699104" y="806960"/>
                  <a:pt x="8694420" y="816327"/>
                </a:cubicBezTo>
                <a:cubicBezTo>
                  <a:pt x="8686229" y="832710"/>
                  <a:pt x="8679180" y="851887"/>
                  <a:pt x="8663940" y="862047"/>
                </a:cubicBezTo>
                <a:cubicBezTo>
                  <a:pt x="8656320" y="867127"/>
                  <a:pt x="8649687" y="874157"/>
                  <a:pt x="8641080" y="877287"/>
                </a:cubicBezTo>
                <a:cubicBezTo>
                  <a:pt x="8587343" y="896828"/>
                  <a:pt x="8554849" y="893984"/>
                  <a:pt x="8496300" y="900147"/>
                </a:cubicBezTo>
                <a:cubicBezTo>
                  <a:pt x="8475934" y="902291"/>
                  <a:pt x="8455815" y="907401"/>
                  <a:pt x="8435340" y="907767"/>
                </a:cubicBezTo>
                <a:lnTo>
                  <a:pt x="7642860" y="915387"/>
                </a:lnTo>
                <a:lnTo>
                  <a:pt x="6385560" y="907767"/>
                </a:lnTo>
                <a:cubicBezTo>
                  <a:pt x="5873942" y="907767"/>
                  <a:pt x="5990845" y="899316"/>
                  <a:pt x="5730240" y="923007"/>
                </a:cubicBezTo>
                <a:cubicBezTo>
                  <a:pt x="5608322" y="920357"/>
                  <a:pt x="5486426" y="915387"/>
                  <a:pt x="5364480" y="915387"/>
                </a:cubicBezTo>
                <a:lnTo>
                  <a:pt x="5364480" y="915387"/>
                </a:lnTo>
                <a:lnTo>
                  <a:pt x="4145280" y="915387"/>
                </a:lnTo>
                <a:cubicBezTo>
                  <a:pt x="3861313" y="935670"/>
                  <a:pt x="3961169" y="930627"/>
                  <a:pt x="3444240" y="930627"/>
                </a:cubicBezTo>
                <a:cubicBezTo>
                  <a:pt x="3223245" y="930627"/>
                  <a:pt x="3002280" y="925547"/>
                  <a:pt x="2781300" y="923007"/>
                </a:cubicBezTo>
                <a:cubicBezTo>
                  <a:pt x="2242600" y="898521"/>
                  <a:pt x="1844040" y="909037"/>
                  <a:pt x="1424940" y="907767"/>
                </a:cubicBezTo>
                <a:lnTo>
                  <a:pt x="975360" y="923007"/>
                </a:lnTo>
                <a:lnTo>
                  <a:pt x="213360" y="907767"/>
                </a:lnTo>
                <a:lnTo>
                  <a:pt x="182880" y="892527"/>
                </a:lnTo>
                <a:cubicBezTo>
                  <a:pt x="160020" y="887447"/>
                  <a:pt x="136516" y="884692"/>
                  <a:pt x="114300" y="877287"/>
                </a:cubicBezTo>
                <a:cubicBezTo>
                  <a:pt x="105612" y="874391"/>
                  <a:pt x="98475" y="867910"/>
                  <a:pt x="91440" y="862047"/>
                </a:cubicBezTo>
                <a:cubicBezTo>
                  <a:pt x="68209" y="842688"/>
                  <a:pt x="65324" y="836669"/>
                  <a:pt x="53340" y="808707"/>
                </a:cubicBezTo>
                <a:cubicBezTo>
                  <a:pt x="42564" y="783562"/>
                  <a:pt x="31511" y="758460"/>
                  <a:pt x="22860" y="732507"/>
                </a:cubicBezTo>
                <a:cubicBezTo>
                  <a:pt x="20320" y="724887"/>
                  <a:pt x="18832" y="716831"/>
                  <a:pt x="15240" y="709647"/>
                </a:cubicBezTo>
                <a:cubicBezTo>
                  <a:pt x="11144" y="701456"/>
                  <a:pt x="5080" y="694407"/>
                  <a:pt x="0" y="686787"/>
                </a:cubicBezTo>
                <a:cubicBezTo>
                  <a:pt x="2540" y="648687"/>
                  <a:pt x="3623" y="610462"/>
                  <a:pt x="7620" y="572487"/>
                </a:cubicBezTo>
                <a:cubicBezTo>
                  <a:pt x="8716" y="562072"/>
                  <a:pt x="12968" y="552230"/>
                  <a:pt x="15240" y="542007"/>
                </a:cubicBezTo>
                <a:cubicBezTo>
                  <a:pt x="18050" y="529364"/>
                  <a:pt x="20543" y="516650"/>
                  <a:pt x="22860" y="503907"/>
                </a:cubicBezTo>
                <a:cubicBezTo>
                  <a:pt x="25624" y="488706"/>
                  <a:pt x="27243" y="473294"/>
                  <a:pt x="30480" y="458187"/>
                </a:cubicBezTo>
                <a:cubicBezTo>
                  <a:pt x="34869" y="437707"/>
                  <a:pt x="45720" y="397227"/>
                  <a:pt x="45720" y="397227"/>
                </a:cubicBezTo>
                <a:cubicBezTo>
                  <a:pt x="48260" y="318487"/>
                  <a:pt x="48714" y="239652"/>
                  <a:pt x="53340" y="161007"/>
                </a:cubicBezTo>
                <a:cubicBezTo>
                  <a:pt x="54434" y="142401"/>
                  <a:pt x="46990" y="161007"/>
                  <a:pt x="45720" y="161007"/>
                </a:cubicBez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>
                <a:lumMod val="90000"/>
                <a:lumOff val="1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468000" tIns="45720" rIns="91440" bIns="45720" rtlCol="0" anchor="ctr"/>
          <a:lstStyle/>
          <a:p>
            <a:pPr fontAlgn="t">
              <a:spcBef>
                <a:spcPts val="600"/>
              </a:spcBef>
            </a:pPr>
            <a:r>
              <a:rPr lang="da-DK" sz="12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”Når vi arbejder med bæredygtighed, tager vi ofte udgangspunkt i mavefornemmelser. Det skyldes,</a:t>
            </a:r>
          </a:p>
          <a:p>
            <a:pPr fontAlgn="t">
              <a:spcBef>
                <a:spcPts val="600"/>
              </a:spcBef>
            </a:pPr>
            <a:r>
              <a:rPr lang="da-DK" sz="1200" i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t vi ikke har så meget data at gå ud fra”</a:t>
            </a:r>
          </a:p>
          <a:p>
            <a:pPr fontAlgn="t">
              <a:spcBef>
                <a:spcPts val="600"/>
              </a:spcBef>
            </a:pPr>
            <a:r>
              <a:rPr lang="da-DK" sz="1200" b="1" dirty="0">
                <a:latin typeface="Verdana" panose="020B0604030504040204" pitchFamily="34" charset="0"/>
                <a:ea typeface="Verdana" panose="020B0604030504040204" pitchFamily="34" charset="0"/>
              </a:rPr>
              <a:t>Formand for organisationsbestyrelse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57346291-5604-22C2-81C0-1B3323DFBD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 dirty="0"/>
              <a:t>Målgruppers behov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73295F2-3E22-B587-085B-C81C4B94DB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1</a:t>
            </a:fld>
            <a:endParaRPr lang="da-DK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BAB367CB-22DC-4060-B63E-D86143245A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A1D52EE-097D-4204-B431-C0880439F4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445510"/>
          </a:xfrm>
        </p:spPr>
        <p:txBody>
          <a:bodyPr/>
          <a:lstStyle/>
          <a:p>
            <a:r>
              <a:rPr lang="da-DK" dirty="0"/>
              <a:t>Hvad siger de kommende brugere? </a:t>
            </a:r>
          </a:p>
        </p:txBody>
      </p:sp>
      <p:sp>
        <p:nvSpPr>
          <p:cNvPr id="42" name="Freeform: Shape 4">
            <a:extLst>
              <a:ext uri="{FF2B5EF4-FFF2-40B4-BE49-F238E27FC236}">
                <a16:creationId xmlns:a16="http://schemas.microsoft.com/office/drawing/2014/main" id="{C50157C4-74F5-4DFE-84B8-5C22A09B97F1}"/>
              </a:ext>
            </a:extLst>
          </p:cNvPr>
          <p:cNvSpPr/>
          <p:nvPr/>
        </p:nvSpPr>
        <p:spPr>
          <a:xfrm>
            <a:off x="2850241" y="1735085"/>
            <a:ext cx="609752" cy="580470"/>
          </a:xfrm>
          <a:custGeom>
            <a:avLst/>
            <a:gdLst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944902 w 4469152"/>
              <a:gd name="connsiteY150" fmla="*/ 476250 h 4496940"/>
              <a:gd name="connsiteX151" fmla="*/ 1087777 w 4469152"/>
              <a:gd name="connsiteY151" fmla="*/ 409575 h 4496940"/>
              <a:gd name="connsiteX152" fmla="*/ 1202077 w 4469152"/>
              <a:gd name="connsiteY152" fmla="*/ 314325 h 4496940"/>
              <a:gd name="connsiteX153" fmla="*/ 1268752 w 4469152"/>
              <a:gd name="connsiteY153" fmla="*/ 285750 h 4496940"/>
              <a:gd name="connsiteX154" fmla="*/ 1411627 w 4469152"/>
              <a:gd name="connsiteY154" fmla="*/ 190500 h 4496940"/>
              <a:gd name="connsiteX155" fmla="*/ 1449727 w 4469152"/>
              <a:gd name="connsiteY155" fmla="*/ 161925 h 4496940"/>
              <a:gd name="connsiteX156" fmla="*/ 1525927 w 4469152"/>
              <a:gd name="connsiteY156" fmla="*/ 152400 h 4496940"/>
              <a:gd name="connsiteX157" fmla="*/ 1583077 w 4469152"/>
              <a:gd name="connsiteY157" fmla="*/ 142875 h 4496940"/>
              <a:gd name="connsiteX158" fmla="*/ 1716427 w 4469152"/>
              <a:gd name="connsiteY158" fmla="*/ 123825 h 4496940"/>
              <a:gd name="connsiteX159" fmla="*/ 1811677 w 4469152"/>
              <a:gd name="connsiteY159" fmla="*/ 114300 h 4496940"/>
              <a:gd name="connsiteX160" fmla="*/ 1859302 w 4469152"/>
              <a:gd name="connsiteY160" fmla="*/ 104775 h 4496940"/>
              <a:gd name="connsiteX161" fmla="*/ 1916452 w 4469152"/>
              <a:gd name="connsiteY161" fmla="*/ 95250 h 4496940"/>
              <a:gd name="connsiteX162" fmla="*/ 2030752 w 4469152"/>
              <a:gd name="connsiteY162" fmla="*/ 66675 h 4496940"/>
              <a:gd name="connsiteX163" fmla="*/ 2097427 w 4469152"/>
              <a:gd name="connsiteY163" fmla="*/ 47625 h 4496940"/>
              <a:gd name="connsiteX164" fmla="*/ 2164102 w 4469152"/>
              <a:gd name="connsiteY164" fmla="*/ 38100 h 4496940"/>
              <a:gd name="connsiteX165" fmla="*/ 2392702 w 4469152"/>
              <a:gd name="connsiteY165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087777 w 4469152"/>
              <a:gd name="connsiteY150" fmla="*/ 409575 h 4496940"/>
              <a:gd name="connsiteX151" fmla="*/ 1202077 w 4469152"/>
              <a:gd name="connsiteY151" fmla="*/ 314325 h 4496940"/>
              <a:gd name="connsiteX152" fmla="*/ 1268752 w 4469152"/>
              <a:gd name="connsiteY152" fmla="*/ 285750 h 4496940"/>
              <a:gd name="connsiteX153" fmla="*/ 1411627 w 4469152"/>
              <a:gd name="connsiteY153" fmla="*/ 190500 h 4496940"/>
              <a:gd name="connsiteX154" fmla="*/ 1449727 w 4469152"/>
              <a:gd name="connsiteY154" fmla="*/ 161925 h 4496940"/>
              <a:gd name="connsiteX155" fmla="*/ 1525927 w 4469152"/>
              <a:gd name="connsiteY155" fmla="*/ 152400 h 4496940"/>
              <a:gd name="connsiteX156" fmla="*/ 1583077 w 4469152"/>
              <a:gd name="connsiteY156" fmla="*/ 142875 h 4496940"/>
              <a:gd name="connsiteX157" fmla="*/ 1716427 w 4469152"/>
              <a:gd name="connsiteY157" fmla="*/ 123825 h 4496940"/>
              <a:gd name="connsiteX158" fmla="*/ 1811677 w 4469152"/>
              <a:gd name="connsiteY158" fmla="*/ 114300 h 4496940"/>
              <a:gd name="connsiteX159" fmla="*/ 1859302 w 4469152"/>
              <a:gd name="connsiteY159" fmla="*/ 104775 h 4496940"/>
              <a:gd name="connsiteX160" fmla="*/ 1916452 w 4469152"/>
              <a:gd name="connsiteY160" fmla="*/ 95250 h 4496940"/>
              <a:gd name="connsiteX161" fmla="*/ 2030752 w 4469152"/>
              <a:gd name="connsiteY161" fmla="*/ 66675 h 4496940"/>
              <a:gd name="connsiteX162" fmla="*/ 2097427 w 4469152"/>
              <a:gd name="connsiteY162" fmla="*/ 47625 h 4496940"/>
              <a:gd name="connsiteX163" fmla="*/ 2164102 w 4469152"/>
              <a:gd name="connsiteY163" fmla="*/ 38100 h 4496940"/>
              <a:gd name="connsiteX164" fmla="*/ 2392702 w 4469152"/>
              <a:gd name="connsiteY164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202077 w 4469152"/>
              <a:gd name="connsiteY150" fmla="*/ 314325 h 4496940"/>
              <a:gd name="connsiteX151" fmla="*/ 1268752 w 4469152"/>
              <a:gd name="connsiteY151" fmla="*/ 285750 h 4496940"/>
              <a:gd name="connsiteX152" fmla="*/ 1411627 w 4469152"/>
              <a:gd name="connsiteY152" fmla="*/ 190500 h 4496940"/>
              <a:gd name="connsiteX153" fmla="*/ 1449727 w 4469152"/>
              <a:gd name="connsiteY153" fmla="*/ 161925 h 4496940"/>
              <a:gd name="connsiteX154" fmla="*/ 1525927 w 4469152"/>
              <a:gd name="connsiteY154" fmla="*/ 152400 h 4496940"/>
              <a:gd name="connsiteX155" fmla="*/ 1583077 w 4469152"/>
              <a:gd name="connsiteY155" fmla="*/ 142875 h 4496940"/>
              <a:gd name="connsiteX156" fmla="*/ 1716427 w 4469152"/>
              <a:gd name="connsiteY156" fmla="*/ 123825 h 4496940"/>
              <a:gd name="connsiteX157" fmla="*/ 1811677 w 4469152"/>
              <a:gd name="connsiteY157" fmla="*/ 114300 h 4496940"/>
              <a:gd name="connsiteX158" fmla="*/ 1859302 w 4469152"/>
              <a:gd name="connsiteY158" fmla="*/ 104775 h 4496940"/>
              <a:gd name="connsiteX159" fmla="*/ 1916452 w 4469152"/>
              <a:gd name="connsiteY159" fmla="*/ 95250 h 4496940"/>
              <a:gd name="connsiteX160" fmla="*/ 2030752 w 4469152"/>
              <a:gd name="connsiteY160" fmla="*/ 66675 h 4496940"/>
              <a:gd name="connsiteX161" fmla="*/ 2097427 w 4469152"/>
              <a:gd name="connsiteY161" fmla="*/ 47625 h 4496940"/>
              <a:gd name="connsiteX162" fmla="*/ 2164102 w 4469152"/>
              <a:gd name="connsiteY162" fmla="*/ 38100 h 4496940"/>
              <a:gd name="connsiteX163" fmla="*/ 2392702 w 4469152"/>
              <a:gd name="connsiteY163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268752 w 4469152"/>
              <a:gd name="connsiteY150" fmla="*/ 285750 h 4496940"/>
              <a:gd name="connsiteX151" fmla="*/ 1411627 w 4469152"/>
              <a:gd name="connsiteY151" fmla="*/ 190500 h 4496940"/>
              <a:gd name="connsiteX152" fmla="*/ 1449727 w 4469152"/>
              <a:gd name="connsiteY152" fmla="*/ 161925 h 4496940"/>
              <a:gd name="connsiteX153" fmla="*/ 1525927 w 4469152"/>
              <a:gd name="connsiteY153" fmla="*/ 152400 h 4496940"/>
              <a:gd name="connsiteX154" fmla="*/ 1583077 w 4469152"/>
              <a:gd name="connsiteY154" fmla="*/ 142875 h 4496940"/>
              <a:gd name="connsiteX155" fmla="*/ 1716427 w 4469152"/>
              <a:gd name="connsiteY155" fmla="*/ 123825 h 4496940"/>
              <a:gd name="connsiteX156" fmla="*/ 1811677 w 4469152"/>
              <a:gd name="connsiteY156" fmla="*/ 114300 h 4496940"/>
              <a:gd name="connsiteX157" fmla="*/ 1859302 w 4469152"/>
              <a:gd name="connsiteY157" fmla="*/ 104775 h 4496940"/>
              <a:gd name="connsiteX158" fmla="*/ 1916452 w 4469152"/>
              <a:gd name="connsiteY158" fmla="*/ 95250 h 4496940"/>
              <a:gd name="connsiteX159" fmla="*/ 2030752 w 4469152"/>
              <a:gd name="connsiteY159" fmla="*/ 66675 h 4496940"/>
              <a:gd name="connsiteX160" fmla="*/ 2097427 w 4469152"/>
              <a:gd name="connsiteY160" fmla="*/ 47625 h 4496940"/>
              <a:gd name="connsiteX161" fmla="*/ 2164102 w 4469152"/>
              <a:gd name="connsiteY161" fmla="*/ 38100 h 4496940"/>
              <a:gd name="connsiteX162" fmla="*/ 2392702 w 4469152"/>
              <a:gd name="connsiteY162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167152 w 4469152"/>
              <a:gd name="connsiteY150" fmla="*/ 311150 h 4496940"/>
              <a:gd name="connsiteX151" fmla="*/ 1268752 w 4469152"/>
              <a:gd name="connsiteY151" fmla="*/ 285750 h 4496940"/>
              <a:gd name="connsiteX152" fmla="*/ 1411627 w 4469152"/>
              <a:gd name="connsiteY152" fmla="*/ 190500 h 4496940"/>
              <a:gd name="connsiteX153" fmla="*/ 1449727 w 4469152"/>
              <a:gd name="connsiteY153" fmla="*/ 161925 h 4496940"/>
              <a:gd name="connsiteX154" fmla="*/ 1525927 w 4469152"/>
              <a:gd name="connsiteY154" fmla="*/ 152400 h 4496940"/>
              <a:gd name="connsiteX155" fmla="*/ 1583077 w 4469152"/>
              <a:gd name="connsiteY155" fmla="*/ 142875 h 4496940"/>
              <a:gd name="connsiteX156" fmla="*/ 1716427 w 4469152"/>
              <a:gd name="connsiteY156" fmla="*/ 123825 h 4496940"/>
              <a:gd name="connsiteX157" fmla="*/ 1811677 w 4469152"/>
              <a:gd name="connsiteY157" fmla="*/ 114300 h 4496940"/>
              <a:gd name="connsiteX158" fmla="*/ 1859302 w 4469152"/>
              <a:gd name="connsiteY158" fmla="*/ 104775 h 4496940"/>
              <a:gd name="connsiteX159" fmla="*/ 1916452 w 4469152"/>
              <a:gd name="connsiteY159" fmla="*/ 95250 h 4496940"/>
              <a:gd name="connsiteX160" fmla="*/ 2030752 w 4469152"/>
              <a:gd name="connsiteY160" fmla="*/ 66675 h 4496940"/>
              <a:gd name="connsiteX161" fmla="*/ 2097427 w 4469152"/>
              <a:gd name="connsiteY161" fmla="*/ 47625 h 4496940"/>
              <a:gd name="connsiteX162" fmla="*/ 2164102 w 4469152"/>
              <a:gd name="connsiteY162" fmla="*/ 38100 h 4496940"/>
              <a:gd name="connsiteX163" fmla="*/ 2392702 w 4469152"/>
              <a:gd name="connsiteY163" fmla="*/ 28575 h 4496940"/>
              <a:gd name="connsiteX0" fmla="*/ 2297452 w 4519952"/>
              <a:gd name="connsiteY0" fmla="*/ 0 h 4496940"/>
              <a:gd name="connsiteX1" fmla="*/ 2421277 w 4519952"/>
              <a:gd name="connsiteY1" fmla="*/ 28575 h 4496940"/>
              <a:gd name="connsiteX2" fmla="*/ 2497477 w 4519952"/>
              <a:gd name="connsiteY2" fmla="*/ 47625 h 4496940"/>
              <a:gd name="connsiteX3" fmla="*/ 2754652 w 4519952"/>
              <a:gd name="connsiteY3" fmla="*/ 66675 h 4496940"/>
              <a:gd name="connsiteX4" fmla="*/ 2830852 w 4519952"/>
              <a:gd name="connsiteY4" fmla="*/ 76200 h 4496940"/>
              <a:gd name="connsiteX5" fmla="*/ 2916577 w 4519952"/>
              <a:gd name="connsiteY5" fmla="*/ 85725 h 4496940"/>
              <a:gd name="connsiteX6" fmla="*/ 2973727 w 4519952"/>
              <a:gd name="connsiteY6" fmla="*/ 114300 h 4496940"/>
              <a:gd name="connsiteX7" fmla="*/ 3011827 w 4519952"/>
              <a:gd name="connsiteY7" fmla="*/ 123825 h 4496940"/>
              <a:gd name="connsiteX8" fmla="*/ 3135652 w 4519952"/>
              <a:gd name="connsiteY8" fmla="*/ 171450 h 4496940"/>
              <a:gd name="connsiteX9" fmla="*/ 3173752 w 4519952"/>
              <a:gd name="connsiteY9" fmla="*/ 190500 h 4496940"/>
              <a:gd name="connsiteX10" fmla="*/ 3240427 w 4519952"/>
              <a:gd name="connsiteY10" fmla="*/ 228600 h 4496940"/>
              <a:gd name="connsiteX11" fmla="*/ 3269002 w 4519952"/>
              <a:gd name="connsiteY11" fmla="*/ 238125 h 4496940"/>
              <a:gd name="connsiteX12" fmla="*/ 3297577 w 4519952"/>
              <a:gd name="connsiteY12" fmla="*/ 257175 h 4496940"/>
              <a:gd name="connsiteX13" fmla="*/ 3326152 w 4519952"/>
              <a:gd name="connsiteY13" fmla="*/ 266700 h 4496940"/>
              <a:gd name="connsiteX14" fmla="*/ 3354727 w 4519952"/>
              <a:gd name="connsiteY14" fmla="*/ 285750 h 4496940"/>
              <a:gd name="connsiteX15" fmla="*/ 3421402 w 4519952"/>
              <a:gd name="connsiteY15" fmla="*/ 323850 h 4496940"/>
              <a:gd name="connsiteX16" fmla="*/ 3469027 w 4519952"/>
              <a:gd name="connsiteY16" fmla="*/ 361950 h 4496940"/>
              <a:gd name="connsiteX17" fmla="*/ 3516652 w 4519952"/>
              <a:gd name="connsiteY17" fmla="*/ 390525 h 4496940"/>
              <a:gd name="connsiteX18" fmla="*/ 3545227 w 4519952"/>
              <a:gd name="connsiteY18" fmla="*/ 419100 h 4496940"/>
              <a:gd name="connsiteX19" fmla="*/ 3602377 w 4519952"/>
              <a:gd name="connsiteY19" fmla="*/ 457200 h 4496940"/>
              <a:gd name="connsiteX20" fmla="*/ 3630952 w 4519952"/>
              <a:gd name="connsiteY20" fmla="*/ 485775 h 4496940"/>
              <a:gd name="connsiteX21" fmla="*/ 3678577 w 4519952"/>
              <a:gd name="connsiteY21" fmla="*/ 504825 h 4496940"/>
              <a:gd name="connsiteX22" fmla="*/ 3745252 w 4519952"/>
              <a:gd name="connsiteY22" fmla="*/ 542925 h 4496940"/>
              <a:gd name="connsiteX23" fmla="*/ 3811927 w 4519952"/>
              <a:gd name="connsiteY23" fmla="*/ 581025 h 4496940"/>
              <a:gd name="connsiteX24" fmla="*/ 3840502 w 4519952"/>
              <a:gd name="connsiteY24" fmla="*/ 600075 h 4496940"/>
              <a:gd name="connsiteX25" fmla="*/ 3869077 w 4519952"/>
              <a:gd name="connsiteY25" fmla="*/ 628650 h 4496940"/>
              <a:gd name="connsiteX26" fmla="*/ 3907177 w 4519952"/>
              <a:gd name="connsiteY26" fmla="*/ 647700 h 4496940"/>
              <a:gd name="connsiteX27" fmla="*/ 3935752 w 4519952"/>
              <a:gd name="connsiteY27" fmla="*/ 676275 h 4496940"/>
              <a:gd name="connsiteX28" fmla="*/ 3992902 w 4519952"/>
              <a:gd name="connsiteY28" fmla="*/ 714375 h 4496940"/>
              <a:gd name="connsiteX29" fmla="*/ 4050052 w 4519952"/>
              <a:gd name="connsiteY29" fmla="*/ 790575 h 4496940"/>
              <a:gd name="connsiteX30" fmla="*/ 4078627 w 4519952"/>
              <a:gd name="connsiteY30" fmla="*/ 838200 h 4496940"/>
              <a:gd name="connsiteX31" fmla="*/ 4107202 w 4519952"/>
              <a:gd name="connsiteY31" fmla="*/ 876300 h 4496940"/>
              <a:gd name="connsiteX32" fmla="*/ 4116727 w 4519952"/>
              <a:gd name="connsiteY32" fmla="*/ 904875 h 4496940"/>
              <a:gd name="connsiteX33" fmla="*/ 4135777 w 4519952"/>
              <a:gd name="connsiteY33" fmla="*/ 933450 h 4496940"/>
              <a:gd name="connsiteX34" fmla="*/ 4164352 w 4519952"/>
              <a:gd name="connsiteY34" fmla="*/ 990600 h 4496940"/>
              <a:gd name="connsiteX35" fmla="*/ 4173877 w 4519952"/>
              <a:gd name="connsiteY35" fmla="*/ 1019175 h 4496940"/>
              <a:gd name="connsiteX36" fmla="*/ 4192927 w 4519952"/>
              <a:gd name="connsiteY36" fmla="*/ 1057275 h 4496940"/>
              <a:gd name="connsiteX37" fmla="*/ 4202452 w 4519952"/>
              <a:gd name="connsiteY37" fmla="*/ 1085850 h 4496940"/>
              <a:gd name="connsiteX38" fmla="*/ 4250077 w 4519952"/>
              <a:gd name="connsiteY38" fmla="*/ 1143000 h 4496940"/>
              <a:gd name="connsiteX39" fmla="*/ 4259602 w 4519952"/>
              <a:gd name="connsiteY39" fmla="*/ 1190625 h 4496940"/>
              <a:gd name="connsiteX40" fmla="*/ 4307227 w 4519952"/>
              <a:gd name="connsiteY40" fmla="*/ 1266825 h 4496940"/>
              <a:gd name="connsiteX41" fmla="*/ 4345327 w 4519952"/>
              <a:gd name="connsiteY41" fmla="*/ 1362075 h 4496940"/>
              <a:gd name="connsiteX42" fmla="*/ 4373902 w 4519952"/>
              <a:gd name="connsiteY42" fmla="*/ 1428750 h 4496940"/>
              <a:gd name="connsiteX43" fmla="*/ 4392952 w 4519952"/>
              <a:gd name="connsiteY43" fmla="*/ 1552575 h 4496940"/>
              <a:gd name="connsiteX44" fmla="*/ 4402477 w 4519952"/>
              <a:gd name="connsiteY44" fmla="*/ 1590675 h 4496940"/>
              <a:gd name="connsiteX45" fmla="*/ 4431052 w 4519952"/>
              <a:gd name="connsiteY45" fmla="*/ 1685925 h 4496940"/>
              <a:gd name="connsiteX46" fmla="*/ 4440577 w 4519952"/>
              <a:gd name="connsiteY46" fmla="*/ 1762125 h 4496940"/>
              <a:gd name="connsiteX47" fmla="*/ 4459627 w 4519952"/>
              <a:gd name="connsiteY47" fmla="*/ 1828800 h 4496940"/>
              <a:gd name="connsiteX48" fmla="*/ 4519952 w 4519952"/>
              <a:gd name="connsiteY48" fmla="*/ 2181225 h 4496940"/>
              <a:gd name="connsiteX49" fmla="*/ 4440577 w 4519952"/>
              <a:gd name="connsiteY49" fmla="*/ 2876550 h 4496940"/>
              <a:gd name="connsiteX50" fmla="*/ 4383427 w 4519952"/>
              <a:gd name="connsiteY50" fmla="*/ 2990850 h 4496940"/>
              <a:gd name="connsiteX51" fmla="*/ 4354852 w 4519952"/>
              <a:gd name="connsiteY51" fmla="*/ 3057525 h 4496940"/>
              <a:gd name="connsiteX52" fmla="*/ 4335802 w 4519952"/>
              <a:gd name="connsiteY52" fmla="*/ 3095625 h 4496940"/>
              <a:gd name="connsiteX53" fmla="*/ 4278652 w 4519952"/>
              <a:gd name="connsiteY53" fmla="*/ 3248025 h 4496940"/>
              <a:gd name="connsiteX54" fmla="*/ 4259602 w 4519952"/>
              <a:gd name="connsiteY54" fmla="*/ 3276600 h 4496940"/>
              <a:gd name="connsiteX55" fmla="*/ 4221502 w 4519952"/>
              <a:gd name="connsiteY55" fmla="*/ 3333750 h 4496940"/>
              <a:gd name="connsiteX56" fmla="*/ 4211977 w 4519952"/>
              <a:gd name="connsiteY56" fmla="*/ 3362325 h 4496940"/>
              <a:gd name="connsiteX57" fmla="*/ 4183402 w 4519952"/>
              <a:gd name="connsiteY57" fmla="*/ 3400425 h 4496940"/>
              <a:gd name="connsiteX58" fmla="*/ 4164352 w 4519952"/>
              <a:gd name="connsiteY58" fmla="*/ 3429000 h 4496940"/>
              <a:gd name="connsiteX59" fmla="*/ 4088152 w 4519952"/>
              <a:gd name="connsiteY59" fmla="*/ 3495675 h 4496940"/>
              <a:gd name="connsiteX60" fmla="*/ 4059577 w 4519952"/>
              <a:gd name="connsiteY60" fmla="*/ 3533775 h 4496940"/>
              <a:gd name="connsiteX61" fmla="*/ 4002427 w 4519952"/>
              <a:gd name="connsiteY61" fmla="*/ 3600450 h 4496940"/>
              <a:gd name="connsiteX62" fmla="*/ 3983377 w 4519952"/>
              <a:gd name="connsiteY62" fmla="*/ 3629025 h 4496940"/>
              <a:gd name="connsiteX63" fmla="*/ 3954802 w 4519952"/>
              <a:gd name="connsiteY63" fmla="*/ 3648075 h 4496940"/>
              <a:gd name="connsiteX64" fmla="*/ 3907177 w 4519952"/>
              <a:gd name="connsiteY64" fmla="*/ 3686175 h 4496940"/>
              <a:gd name="connsiteX65" fmla="*/ 3869077 w 4519952"/>
              <a:gd name="connsiteY65" fmla="*/ 3724275 h 4496940"/>
              <a:gd name="connsiteX66" fmla="*/ 3792877 w 4519952"/>
              <a:gd name="connsiteY66" fmla="*/ 3781425 h 4496940"/>
              <a:gd name="connsiteX67" fmla="*/ 3783352 w 4519952"/>
              <a:gd name="connsiteY67" fmla="*/ 3810000 h 4496940"/>
              <a:gd name="connsiteX68" fmla="*/ 3745252 w 4519952"/>
              <a:gd name="connsiteY68" fmla="*/ 3819525 h 4496940"/>
              <a:gd name="connsiteX69" fmla="*/ 3678577 w 4519952"/>
              <a:gd name="connsiteY69" fmla="*/ 3848100 h 4496940"/>
              <a:gd name="connsiteX70" fmla="*/ 3659527 w 4519952"/>
              <a:gd name="connsiteY70" fmla="*/ 3971925 h 4496940"/>
              <a:gd name="connsiteX71" fmla="*/ 3630952 w 4519952"/>
              <a:gd name="connsiteY71" fmla="*/ 4010025 h 4496940"/>
              <a:gd name="connsiteX72" fmla="*/ 3621427 w 4519952"/>
              <a:gd name="connsiteY72" fmla="*/ 4038600 h 4496940"/>
              <a:gd name="connsiteX73" fmla="*/ 3554752 w 4519952"/>
              <a:gd name="connsiteY73" fmla="*/ 4095750 h 4496940"/>
              <a:gd name="connsiteX74" fmla="*/ 3516652 w 4519952"/>
              <a:gd name="connsiteY74" fmla="*/ 4114800 h 4496940"/>
              <a:gd name="connsiteX75" fmla="*/ 3497602 w 4519952"/>
              <a:gd name="connsiteY75" fmla="*/ 4143375 h 4496940"/>
              <a:gd name="connsiteX76" fmla="*/ 3383302 w 4519952"/>
              <a:gd name="connsiteY76" fmla="*/ 4210050 h 4496940"/>
              <a:gd name="connsiteX77" fmla="*/ 3335677 w 4519952"/>
              <a:gd name="connsiteY77" fmla="*/ 4238625 h 4496940"/>
              <a:gd name="connsiteX78" fmla="*/ 3288052 w 4519952"/>
              <a:gd name="connsiteY78" fmla="*/ 4248150 h 4496940"/>
              <a:gd name="connsiteX79" fmla="*/ 3240427 w 4519952"/>
              <a:gd name="connsiteY79" fmla="*/ 4267200 h 4496940"/>
              <a:gd name="connsiteX80" fmla="*/ 3068977 w 4519952"/>
              <a:gd name="connsiteY80" fmla="*/ 4286250 h 4496940"/>
              <a:gd name="connsiteX81" fmla="*/ 2935627 w 4519952"/>
              <a:gd name="connsiteY81" fmla="*/ 4333875 h 4496940"/>
              <a:gd name="connsiteX82" fmla="*/ 2811802 w 4519952"/>
              <a:gd name="connsiteY82" fmla="*/ 4371975 h 4496940"/>
              <a:gd name="connsiteX83" fmla="*/ 2745127 w 4519952"/>
              <a:gd name="connsiteY83" fmla="*/ 4410075 h 4496940"/>
              <a:gd name="connsiteX84" fmla="*/ 2697502 w 4519952"/>
              <a:gd name="connsiteY84" fmla="*/ 4429125 h 4496940"/>
              <a:gd name="connsiteX85" fmla="*/ 2640352 w 4519952"/>
              <a:gd name="connsiteY85" fmla="*/ 4457700 h 4496940"/>
              <a:gd name="connsiteX86" fmla="*/ 2583202 w 4519952"/>
              <a:gd name="connsiteY86" fmla="*/ 4467225 h 4496940"/>
              <a:gd name="connsiteX87" fmla="*/ 2545102 w 4519952"/>
              <a:gd name="connsiteY87" fmla="*/ 4486275 h 4496940"/>
              <a:gd name="connsiteX88" fmla="*/ 2306977 w 4519952"/>
              <a:gd name="connsiteY88" fmla="*/ 4476750 h 4496940"/>
              <a:gd name="connsiteX89" fmla="*/ 2202202 w 4519952"/>
              <a:gd name="connsiteY89" fmla="*/ 4457700 h 4496940"/>
              <a:gd name="connsiteX90" fmla="*/ 2126002 w 4519952"/>
              <a:gd name="connsiteY90" fmla="*/ 4429125 h 4496940"/>
              <a:gd name="connsiteX91" fmla="*/ 1935502 w 4519952"/>
              <a:gd name="connsiteY91" fmla="*/ 4400550 h 4496940"/>
              <a:gd name="connsiteX92" fmla="*/ 1821202 w 4519952"/>
              <a:gd name="connsiteY92" fmla="*/ 4371975 h 4496940"/>
              <a:gd name="connsiteX93" fmla="*/ 1754527 w 4519952"/>
              <a:gd name="connsiteY93" fmla="*/ 4352925 h 4496940"/>
              <a:gd name="connsiteX94" fmla="*/ 1687852 w 4519952"/>
              <a:gd name="connsiteY94" fmla="*/ 4343400 h 4496940"/>
              <a:gd name="connsiteX95" fmla="*/ 1573552 w 4519952"/>
              <a:gd name="connsiteY95" fmla="*/ 4305300 h 4496940"/>
              <a:gd name="connsiteX96" fmla="*/ 1402102 w 4519952"/>
              <a:gd name="connsiteY96" fmla="*/ 4276725 h 4496940"/>
              <a:gd name="connsiteX97" fmla="*/ 1287802 w 4519952"/>
              <a:gd name="connsiteY97" fmla="*/ 4229100 h 4496940"/>
              <a:gd name="connsiteX98" fmla="*/ 1221127 w 4519952"/>
              <a:gd name="connsiteY98" fmla="*/ 4200525 h 4496940"/>
              <a:gd name="connsiteX99" fmla="*/ 1144927 w 4519952"/>
              <a:gd name="connsiteY99" fmla="*/ 4171950 h 4496940"/>
              <a:gd name="connsiteX100" fmla="*/ 1087777 w 4519952"/>
              <a:gd name="connsiteY100" fmla="*/ 4143375 h 4496940"/>
              <a:gd name="connsiteX101" fmla="*/ 1030627 w 4519952"/>
              <a:gd name="connsiteY101" fmla="*/ 4124325 h 4496940"/>
              <a:gd name="connsiteX102" fmla="*/ 925852 w 4519952"/>
              <a:gd name="connsiteY102" fmla="*/ 4067175 h 4496940"/>
              <a:gd name="connsiteX103" fmla="*/ 830602 w 4519952"/>
              <a:gd name="connsiteY103" fmla="*/ 3981450 h 4496940"/>
              <a:gd name="connsiteX104" fmla="*/ 763927 w 4519952"/>
              <a:gd name="connsiteY104" fmla="*/ 3914775 h 4496940"/>
              <a:gd name="connsiteX105" fmla="*/ 725827 w 4519952"/>
              <a:gd name="connsiteY105" fmla="*/ 3876675 h 4496940"/>
              <a:gd name="connsiteX106" fmla="*/ 697252 w 4519952"/>
              <a:gd name="connsiteY106" fmla="*/ 3838575 h 4496940"/>
              <a:gd name="connsiteX107" fmla="*/ 640102 w 4519952"/>
              <a:gd name="connsiteY107" fmla="*/ 3781425 h 4496940"/>
              <a:gd name="connsiteX108" fmla="*/ 611527 w 4519952"/>
              <a:gd name="connsiteY108" fmla="*/ 3733800 h 4496940"/>
              <a:gd name="connsiteX109" fmla="*/ 554377 w 4519952"/>
              <a:gd name="connsiteY109" fmla="*/ 3657600 h 4496940"/>
              <a:gd name="connsiteX110" fmla="*/ 525802 w 4519952"/>
              <a:gd name="connsiteY110" fmla="*/ 3609975 h 4496940"/>
              <a:gd name="connsiteX111" fmla="*/ 497227 w 4519952"/>
              <a:gd name="connsiteY111" fmla="*/ 3552825 h 4496940"/>
              <a:gd name="connsiteX112" fmla="*/ 440077 w 4519952"/>
              <a:gd name="connsiteY112" fmla="*/ 3495675 h 4496940"/>
              <a:gd name="connsiteX113" fmla="*/ 411502 w 4519952"/>
              <a:gd name="connsiteY113" fmla="*/ 3448050 h 4496940"/>
              <a:gd name="connsiteX114" fmla="*/ 278152 w 4519952"/>
              <a:gd name="connsiteY114" fmla="*/ 3257550 h 4496940"/>
              <a:gd name="connsiteX115" fmla="*/ 249577 w 4519952"/>
              <a:gd name="connsiteY115" fmla="*/ 3200400 h 4496940"/>
              <a:gd name="connsiteX116" fmla="*/ 240052 w 4519952"/>
              <a:gd name="connsiteY116" fmla="*/ 3162300 h 4496940"/>
              <a:gd name="connsiteX117" fmla="*/ 221002 w 4519952"/>
              <a:gd name="connsiteY117" fmla="*/ 3105150 h 4496940"/>
              <a:gd name="connsiteX118" fmla="*/ 173377 w 4519952"/>
              <a:gd name="connsiteY118" fmla="*/ 3019425 h 4496940"/>
              <a:gd name="connsiteX119" fmla="*/ 144802 w 4519952"/>
              <a:gd name="connsiteY119" fmla="*/ 2924175 h 4496940"/>
              <a:gd name="connsiteX120" fmla="*/ 68602 w 4519952"/>
              <a:gd name="connsiteY120" fmla="*/ 2724150 h 4496940"/>
              <a:gd name="connsiteX121" fmla="*/ 49552 w 4519952"/>
              <a:gd name="connsiteY121" fmla="*/ 2638425 h 4496940"/>
              <a:gd name="connsiteX122" fmla="*/ 40027 w 4519952"/>
              <a:gd name="connsiteY122" fmla="*/ 2562225 h 4496940"/>
              <a:gd name="connsiteX123" fmla="*/ 30502 w 4519952"/>
              <a:gd name="connsiteY123" fmla="*/ 2514600 h 4496940"/>
              <a:gd name="connsiteX124" fmla="*/ 11452 w 4519952"/>
              <a:gd name="connsiteY124" fmla="*/ 2400300 h 4496940"/>
              <a:gd name="connsiteX125" fmla="*/ 20977 w 4519952"/>
              <a:gd name="connsiteY125" fmla="*/ 1905000 h 4496940"/>
              <a:gd name="connsiteX126" fmla="*/ 30502 w 4519952"/>
              <a:gd name="connsiteY126" fmla="*/ 1838325 h 4496940"/>
              <a:gd name="connsiteX127" fmla="*/ 49552 w 4519952"/>
              <a:gd name="connsiteY127" fmla="*/ 1781175 h 4496940"/>
              <a:gd name="connsiteX128" fmla="*/ 59077 w 4519952"/>
              <a:gd name="connsiteY128" fmla="*/ 1743075 h 4496940"/>
              <a:gd name="connsiteX129" fmla="*/ 78127 w 4519952"/>
              <a:gd name="connsiteY129" fmla="*/ 1685925 h 4496940"/>
              <a:gd name="connsiteX130" fmla="*/ 87652 w 4519952"/>
              <a:gd name="connsiteY130" fmla="*/ 1638300 h 4496940"/>
              <a:gd name="connsiteX131" fmla="*/ 106702 w 4519952"/>
              <a:gd name="connsiteY131" fmla="*/ 1590675 h 4496940"/>
              <a:gd name="connsiteX132" fmla="*/ 135277 w 4519952"/>
              <a:gd name="connsiteY132" fmla="*/ 1504950 h 4496940"/>
              <a:gd name="connsiteX133" fmla="*/ 154327 w 4519952"/>
              <a:gd name="connsiteY133" fmla="*/ 1419225 h 4496940"/>
              <a:gd name="connsiteX134" fmla="*/ 230527 w 4519952"/>
              <a:gd name="connsiteY134" fmla="*/ 1276350 h 4496940"/>
              <a:gd name="connsiteX135" fmla="*/ 240052 w 4519952"/>
              <a:gd name="connsiteY135" fmla="*/ 1247775 h 4496940"/>
              <a:gd name="connsiteX136" fmla="*/ 268627 w 4519952"/>
              <a:gd name="connsiteY136" fmla="*/ 1200150 h 4496940"/>
              <a:gd name="connsiteX137" fmla="*/ 287677 w 4519952"/>
              <a:gd name="connsiteY137" fmla="*/ 1152525 h 4496940"/>
              <a:gd name="connsiteX138" fmla="*/ 316252 w 4519952"/>
              <a:gd name="connsiteY138" fmla="*/ 1114425 h 4496940"/>
              <a:gd name="connsiteX139" fmla="*/ 363877 w 4519952"/>
              <a:gd name="connsiteY139" fmla="*/ 1038225 h 4496940"/>
              <a:gd name="connsiteX140" fmla="*/ 382927 w 4519952"/>
              <a:gd name="connsiteY140" fmla="*/ 1009650 h 4496940"/>
              <a:gd name="connsiteX141" fmla="*/ 440077 w 4519952"/>
              <a:gd name="connsiteY141" fmla="*/ 904875 h 4496940"/>
              <a:gd name="connsiteX142" fmla="*/ 478177 w 4519952"/>
              <a:gd name="connsiteY142" fmla="*/ 857250 h 4496940"/>
              <a:gd name="connsiteX143" fmla="*/ 497227 w 4519952"/>
              <a:gd name="connsiteY143" fmla="*/ 828675 h 4496940"/>
              <a:gd name="connsiteX144" fmla="*/ 535327 w 4519952"/>
              <a:gd name="connsiteY144" fmla="*/ 800100 h 4496940"/>
              <a:gd name="connsiteX145" fmla="*/ 602002 w 4519952"/>
              <a:gd name="connsiteY145" fmla="*/ 733425 h 4496940"/>
              <a:gd name="connsiteX146" fmla="*/ 668677 w 4519952"/>
              <a:gd name="connsiteY146" fmla="*/ 676275 h 4496940"/>
              <a:gd name="connsiteX147" fmla="*/ 697252 w 4519952"/>
              <a:gd name="connsiteY147" fmla="*/ 657225 h 4496940"/>
              <a:gd name="connsiteX148" fmla="*/ 840127 w 4519952"/>
              <a:gd name="connsiteY148" fmla="*/ 533400 h 4496940"/>
              <a:gd name="connsiteX149" fmla="*/ 887752 w 4519952"/>
              <a:gd name="connsiteY149" fmla="*/ 504825 h 4496940"/>
              <a:gd name="connsiteX150" fmla="*/ 1167152 w 4519952"/>
              <a:gd name="connsiteY150" fmla="*/ 311150 h 4496940"/>
              <a:gd name="connsiteX151" fmla="*/ 1268752 w 4519952"/>
              <a:gd name="connsiteY151" fmla="*/ 285750 h 4496940"/>
              <a:gd name="connsiteX152" fmla="*/ 1411627 w 4519952"/>
              <a:gd name="connsiteY152" fmla="*/ 190500 h 4496940"/>
              <a:gd name="connsiteX153" fmla="*/ 1449727 w 4519952"/>
              <a:gd name="connsiteY153" fmla="*/ 161925 h 4496940"/>
              <a:gd name="connsiteX154" fmla="*/ 1525927 w 4519952"/>
              <a:gd name="connsiteY154" fmla="*/ 152400 h 4496940"/>
              <a:gd name="connsiteX155" fmla="*/ 1583077 w 4519952"/>
              <a:gd name="connsiteY155" fmla="*/ 142875 h 4496940"/>
              <a:gd name="connsiteX156" fmla="*/ 1716427 w 4519952"/>
              <a:gd name="connsiteY156" fmla="*/ 123825 h 4496940"/>
              <a:gd name="connsiteX157" fmla="*/ 1811677 w 4519952"/>
              <a:gd name="connsiteY157" fmla="*/ 114300 h 4496940"/>
              <a:gd name="connsiteX158" fmla="*/ 1859302 w 4519952"/>
              <a:gd name="connsiteY158" fmla="*/ 104775 h 4496940"/>
              <a:gd name="connsiteX159" fmla="*/ 1916452 w 4519952"/>
              <a:gd name="connsiteY159" fmla="*/ 95250 h 4496940"/>
              <a:gd name="connsiteX160" fmla="*/ 2030752 w 4519952"/>
              <a:gd name="connsiteY160" fmla="*/ 66675 h 4496940"/>
              <a:gd name="connsiteX161" fmla="*/ 2097427 w 4519952"/>
              <a:gd name="connsiteY161" fmla="*/ 47625 h 4496940"/>
              <a:gd name="connsiteX162" fmla="*/ 2164102 w 4519952"/>
              <a:gd name="connsiteY162" fmla="*/ 38100 h 4496940"/>
              <a:gd name="connsiteX163" fmla="*/ 2392702 w 4519952"/>
              <a:gd name="connsiteY163" fmla="*/ 28575 h 4496940"/>
              <a:gd name="connsiteX0" fmla="*/ 2297452 w 4519952"/>
              <a:gd name="connsiteY0" fmla="*/ 0 h 4496940"/>
              <a:gd name="connsiteX1" fmla="*/ 2421277 w 4519952"/>
              <a:gd name="connsiteY1" fmla="*/ 28575 h 4496940"/>
              <a:gd name="connsiteX2" fmla="*/ 2497477 w 4519952"/>
              <a:gd name="connsiteY2" fmla="*/ 47625 h 4496940"/>
              <a:gd name="connsiteX3" fmla="*/ 2754652 w 4519952"/>
              <a:gd name="connsiteY3" fmla="*/ 66675 h 4496940"/>
              <a:gd name="connsiteX4" fmla="*/ 2830852 w 4519952"/>
              <a:gd name="connsiteY4" fmla="*/ 76200 h 4496940"/>
              <a:gd name="connsiteX5" fmla="*/ 2916577 w 4519952"/>
              <a:gd name="connsiteY5" fmla="*/ 85725 h 4496940"/>
              <a:gd name="connsiteX6" fmla="*/ 2973727 w 4519952"/>
              <a:gd name="connsiteY6" fmla="*/ 114300 h 4496940"/>
              <a:gd name="connsiteX7" fmla="*/ 3011827 w 4519952"/>
              <a:gd name="connsiteY7" fmla="*/ 123825 h 4496940"/>
              <a:gd name="connsiteX8" fmla="*/ 3135652 w 4519952"/>
              <a:gd name="connsiteY8" fmla="*/ 171450 h 4496940"/>
              <a:gd name="connsiteX9" fmla="*/ 3173752 w 4519952"/>
              <a:gd name="connsiteY9" fmla="*/ 190500 h 4496940"/>
              <a:gd name="connsiteX10" fmla="*/ 3240427 w 4519952"/>
              <a:gd name="connsiteY10" fmla="*/ 228600 h 4496940"/>
              <a:gd name="connsiteX11" fmla="*/ 3269002 w 4519952"/>
              <a:gd name="connsiteY11" fmla="*/ 238125 h 4496940"/>
              <a:gd name="connsiteX12" fmla="*/ 3297577 w 4519952"/>
              <a:gd name="connsiteY12" fmla="*/ 257175 h 4496940"/>
              <a:gd name="connsiteX13" fmla="*/ 3326152 w 4519952"/>
              <a:gd name="connsiteY13" fmla="*/ 266700 h 4496940"/>
              <a:gd name="connsiteX14" fmla="*/ 3354727 w 4519952"/>
              <a:gd name="connsiteY14" fmla="*/ 285750 h 4496940"/>
              <a:gd name="connsiteX15" fmla="*/ 3421402 w 4519952"/>
              <a:gd name="connsiteY15" fmla="*/ 323850 h 4496940"/>
              <a:gd name="connsiteX16" fmla="*/ 3469027 w 4519952"/>
              <a:gd name="connsiteY16" fmla="*/ 361950 h 4496940"/>
              <a:gd name="connsiteX17" fmla="*/ 3516652 w 4519952"/>
              <a:gd name="connsiteY17" fmla="*/ 390525 h 4496940"/>
              <a:gd name="connsiteX18" fmla="*/ 3545227 w 4519952"/>
              <a:gd name="connsiteY18" fmla="*/ 419100 h 4496940"/>
              <a:gd name="connsiteX19" fmla="*/ 3602377 w 4519952"/>
              <a:gd name="connsiteY19" fmla="*/ 457200 h 4496940"/>
              <a:gd name="connsiteX20" fmla="*/ 3630952 w 4519952"/>
              <a:gd name="connsiteY20" fmla="*/ 485775 h 4496940"/>
              <a:gd name="connsiteX21" fmla="*/ 3678577 w 4519952"/>
              <a:gd name="connsiteY21" fmla="*/ 504825 h 4496940"/>
              <a:gd name="connsiteX22" fmla="*/ 3745252 w 4519952"/>
              <a:gd name="connsiteY22" fmla="*/ 542925 h 4496940"/>
              <a:gd name="connsiteX23" fmla="*/ 3811927 w 4519952"/>
              <a:gd name="connsiteY23" fmla="*/ 581025 h 4496940"/>
              <a:gd name="connsiteX24" fmla="*/ 3840502 w 4519952"/>
              <a:gd name="connsiteY24" fmla="*/ 600075 h 4496940"/>
              <a:gd name="connsiteX25" fmla="*/ 3869077 w 4519952"/>
              <a:gd name="connsiteY25" fmla="*/ 628650 h 4496940"/>
              <a:gd name="connsiteX26" fmla="*/ 3907177 w 4519952"/>
              <a:gd name="connsiteY26" fmla="*/ 647700 h 4496940"/>
              <a:gd name="connsiteX27" fmla="*/ 3935752 w 4519952"/>
              <a:gd name="connsiteY27" fmla="*/ 676275 h 4496940"/>
              <a:gd name="connsiteX28" fmla="*/ 3992902 w 4519952"/>
              <a:gd name="connsiteY28" fmla="*/ 714375 h 4496940"/>
              <a:gd name="connsiteX29" fmla="*/ 4050052 w 4519952"/>
              <a:gd name="connsiteY29" fmla="*/ 790575 h 4496940"/>
              <a:gd name="connsiteX30" fmla="*/ 4078627 w 4519952"/>
              <a:gd name="connsiteY30" fmla="*/ 838200 h 4496940"/>
              <a:gd name="connsiteX31" fmla="*/ 4107202 w 4519952"/>
              <a:gd name="connsiteY31" fmla="*/ 876300 h 4496940"/>
              <a:gd name="connsiteX32" fmla="*/ 4116727 w 4519952"/>
              <a:gd name="connsiteY32" fmla="*/ 904875 h 4496940"/>
              <a:gd name="connsiteX33" fmla="*/ 4135777 w 4519952"/>
              <a:gd name="connsiteY33" fmla="*/ 933450 h 4496940"/>
              <a:gd name="connsiteX34" fmla="*/ 4164352 w 4519952"/>
              <a:gd name="connsiteY34" fmla="*/ 990600 h 4496940"/>
              <a:gd name="connsiteX35" fmla="*/ 4173877 w 4519952"/>
              <a:gd name="connsiteY35" fmla="*/ 1019175 h 4496940"/>
              <a:gd name="connsiteX36" fmla="*/ 4192927 w 4519952"/>
              <a:gd name="connsiteY36" fmla="*/ 1057275 h 4496940"/>
              <a:gd name="connsiteX37" fmla="*/ 4202452 w 4519952"/>
              <a:gd name="connsiteY37" fmla="*/ 1085850 h 4496940"/>
              <a:gd name="connsiteX38" fmla="*/ 4250077 w 4519952"/>
              <a:gd name="connsiteY38" fmla="*/ 1143000 h 4496940"/>
              <a:gd name="connsiteX39" fmla="*/ 4259602 w 4519952"/>
              <a:gd name="connsiteY39" fmla="*/ 1190625 h 4496940"/>
              <a:gd name="connsiteX40" fmla="*/ 4307227 w 4519952"/>
              <a:gd name="connsiteY40" fmla="*/ 1266825 h 4496940"/>
              <a:gd name="connsiteX41" fmla="*/ 4345327 w 4519952"/>
              <a:gd name="connsiteY41" fmla="*/ 1362075 h 4496940"/>
              <a:gd name="connsiteX42" fmla="*/ 4373902 w 4519952"/>
              <a:gd name="connsiteY42" fmla="*/ 1428750 h 4496940"/>
              <a:gd name="connsiteX43" fmla="*/ 4392952 w 4519952"/>
              <a:gd name="connsiteY43" fmla="*/ 1552575 h 4496940"/>
              <a:gd name="connsiteX44" fmla="*/ 4402477 w 4519952"/>
              <a:gd name="connsiteY44" fmla="*/ 1590675 h 4496940"/>
              <a:gd name="connsiteX45" fmla="*/ 4431052 w 4519952"/>
              <a:gd name="connsiteY45" fmla="*/ 1685925 h 4496940"/>
              <a:gd name="connsiteX46" fmla="*/ 4459627 w 4519952"/>
              <a:gd name="connsiteY46" fmla="*/ 1828800 h 4496940"/>
              <a:gd name="connsiteX47" fmla="*/ 4519952 w 4519952"/>
              <a:gd name="connsiteY47" fmla="*/ 2181225 h 4496940"/>
              <a:gd name="connsiteX48" fmla="*/ 4440577 w 4519952"/>
              <a:gd name="connsiteY48" fmla="*/ 2876550 h 4496940"/>
              <a:gd name="connsiteX49" fmla="*/ 4383427 w 4519952"/>
              <a:gd name="connsiteY49" fmla="*/ 2990850 h 4496940"/>
              <a:gd name="connsiteX50" fmla="*/ 4354852 w 4519952"/>
              <a:gd name="connsiteY50" fmla="*/ 3057525 h 4496940"/>
              <a:gd name="connsiteX51" fmla="*/ 4335802 w 4519952"/>
              <a:gd name="connsiteY51" fmla="*/ 3095625 h 4496940"/>
              <a:gd name="connsiteX52" fmla="*/ 4278652 w 4519952"/>
              <a:gd name="connsiteY52" fmla="*/ 3248025 h 4496940"/>
              <a:gd name="connsiteX53" fmla="*/ 4259602 w 4519952"/>
              <a:gd name="connsiteY53" fmla="*/ 3276600 h 4496940"/>
              <a:gd name="connsiteX54" fmla="*/ 4221502 w 4519952"/>
              <a:gd name="connsiteY54" fmla="*/ 3333750 h 4496940"/>
              <a:gd name="connsiteX55" fmla="*/ 4211977 w 4519952"/>
              <a:gd name="connsiteY55" fmla="*/ 3362325 h 4496940"/>
              <a:gd name="connsiteX56" fmla="*/ 4183402 w 4519952"/>
              <a:gd name="connsiteY56" fmla="*/ 3400425 h 4496940"/>
              <a:gd name="connsiteX57" fmla="*/ 4164352 w 4519952"/>
              <a:gd name="connsiteY57" fmla="*/ 3429000 h 4496940"/>
              <a:gd name="connsiteX58" fmla="*/ 4088152 w 4519952"/>
              <a:gd name="connsiteY58" fmla="*/ 3495675 h 4496940"/>
              <a:gd name="connsiteX59" fmla="*/ 4059577 w 4519952"/>
              <a:gd name="connsiteY59" fmla="*/ 3533775 h 4496940"/>
              <a:gd name="connsiteX60" fmla="*/ 4002427 w 4519952"/>
              <a:gd name="connsiteY60" fmla="*/ 3600450 h 4496940"/>
              <a:gd name="connsiteX61" fmla="*/ 3983377 w 4519952"/>
              <a:gd name="connsiteY61" fmla="*/ 3629025 h 4496940"/>
              <a:gd name="connsiteX62" fmla="*/ 3954802 w 4519952"/>
              <a:gd name="connsiteY62" fmla="*/ 3648075 h 4496940"/>
              <a:gd name="connsiteX63" fmla="*/ 3907177 w 4519952"/>
              <a:gd name="connsiteY63" fmla="*/ 3686175 h 4496940"/>
              <a:gd name="connsiteX64" fmla="*/ 3869077 w 4519952"/>
              <a:gd name="connsiteY64" fmla="*/ 3724275 h 4496940"/>
              <a:gd name="connsiteX65" fmla="*/ 3792877 w 4519952"/>
              <a:gd name="connsiteY65" fmla="*/ 3781425 h 4496940"/>
              <a:gd name="connsiteX66" fmla="*/ 3783352 w 4519952"/>
              <a:gd name="connsiteY66" fmla="*/ 3810000 h 4496940"/>
              <a:gd name="connsiteX67" fmla="*/ 3745252 w 4519952"/>
              <a:gd name="connsiteY67" fmla="*/ 3819525 h 4496940"/>
              <a:gd name="connsiteX68" fmla="*/ 3678577 w 4519952"/>
              <a:gd name="connsiteY68" fmla="*/ 3848100 h 4496940"/>
              <a:gd name="connsiteX69" fmla="*/ 3659527 w 4519952"/>
              <a:gd name="connsiteY69" fmla="*/ 3971925 h 4496940"/>
              <a:gd name="connsiteX70" fmla="*/ 3630952 w 4519952"/>
              <a:gd name="connsiteY70" fmla="*/ 4010025 h 4496940"/>
              <a:gd name="connsiteX71" fmla="*/ 3621427 w 4519952"/>
              <a:gd name="connsiteY71" fmla="*/ 4038600 h 4496940"/>
              <a:gd name="connsiteX72" fmla="*/ 3554752 w 4519952"/>
              <a:gd name="connsiteY72" fmla="*/ 4095750 h 4496940"/>
              <a:gd name="connsiteX73" fmla="*/ 3516652 w 4519952"/>
              <a:gd name="connsiteY73" fmla="*/ 4114800 h 4496940"/>
              <a:gd name="connsiteX74" fmla="*/ 3497602 w 4519952"/>
              <a:gd name="connsiteY74" fmla="*/ 4143375 h 4496940"/>
              <a:gd name="connsiteX75" fmla="*/ 3383302 w 4519952"/>
              <a:gd name="connsiteY75" fmla="*/ 4210050 h 4496940"/>
              <a:gd name="connsiteX76" fmla="*/ 3335677 w 4519952"/>
              <a:gd name="connsiteY76" fmla="*/ 4238625 h 4496940"/>
              <a:gd name="connsiteX77" fmla="*/ 3288052 w 4519952"/>
              <a:gd name="connsiteY77" fmla="*/ 4248150 h 4496940"/>
              <a:gd name="connsiteX78" fmla="*/ 3240427 w 4519952"/>
              <a:gd name="connsiteY78" fmla="*/ 4267200 h 4496940"/>
              <a:gd name="connsiteX79" fmla="*/ 3068977 w 4519952"/>
              <a:gd name="connsiteY79" fmla="*/ 4286250 h 4496940"/>
              <a:gd name="connsiteX80" fmla="*/ 2935627 w 4519952"/>
              <a:gd name="connsiteY80" fmla="*/ 4333875 h 4496940"/>
              <a:gd name="connsiteX81" fmla="*/ 2811802 w 4519952"/>
              <a:gd name="connsiteY81" fmla="*/ 4371975 h 4496940"/>
              <a:gd name="connsiteX82" fmla="*/ 2745127 w 4519952"/>
              <a:gd name="connsiteY82" fmla="*/ 4410075 h 4496940"/>
              <a:gd name="connsiteX83" fmla="*/ 2697502 w 4519952"/>
              <a:gd name="connsiteY83" fmla="*/ 4429125 h 4496940"/>
              <a:gd name="connsiteX84" fmla="*/ 2640352 w 4519952"/>
              <a:gd name="connsiteY84" fmla="*/ 4457700 h 4496940"/>
              <a:gd name="connsiteX85" fmla="*/ 2583202 w 4519952"/>
              <a:gd name="connsiteY85" fmla="*/ 4467225 h 4496940"/>
              <a:gd name="connsiteX86" fmla="*/ 2545102 w 4519952"/>
              <a:gd name="connsiteY86" fmla="*/ 4486275 h 4496940"/>
              <a:gd name="connsiteX87" fmla="*/ 2306977 w 4519952"/>
              <a:gd name="connsiteY87" fmla="*/ 4476750 h 4496940"/>
              <a:gd name="connsiteX88" fmla="*/ 2202202 w 4519952"/>
              <a:gd name="connsiteY88" fmla="*/ 4457700 h 4496940"/>
              <a:gd name="connsiteX89" fmla="*/ 2126002 w 4519952"/>
              <a:gd name="connsiteY89" fmla="*/ 4429125 h 4496940"/>
              <a:gd name="connsiteX90" fmla="*/ 1935502 w 4519952"/>
              <a:gd name="connsiteY90" fmla="*/ 4400550 h 4496940"/>
              <a:gd name="connsiteX91" fmla="*/ 1821202 w 4519952"/>
              <a:gd name="connsiteY91" fmla="*/ 4371975 h 4496940"/>
              <a:gd name="connsiteX92" fmla="*/ 1754527 w 4519952"/>
              <a:gd name="connsiteY92" fmla="*/ 4352925 h 4496940"/>
              <a:gd name="connsiteX93" fmla="*/ 1687852 w 4519952"/>
              <a:gd name="connsiteY93" fmla="*/ 4343400 h 4496940"/>
              <a:gd name="connsiteX94" fmla="*/ 1573552 w 4519952"/>
              <a:gd name="connsiteY94" fmla="*/ 4305300 h 4496940"/>
              <a:gd name="connsiteX95" fmla="*/ 1402102 w 4519952"/>
              <a:gd name="connsiteY95" fmla="*/ 4276725 h 4496940"/>
              <a:gd name="connsiteX96" fmla="*/ 1287802 w 4519952"/>
              <a:gd name="connsiteY96" fmla="*/ 4229100 h 4496940"/>
              <a:gd name="connsiteX97" fmla="*/ 1221127 w 4519952"/>
              <a:gd name="connsiteY97" fmla="*/ 4200525 h 4496940"/>
              <a:gd name="connsiteX98" fmla="*/ 1144927 w 4519952"/>
              <a:gd name="connsiteY98" fmla="*/ 4171950 h 4496940"/>
              <a:gd name="connsiteX99" fmla="*/ 1087777 w 4519952"/>
              <a:gd name="connsiteY99" fmla="*/ 4143375 h 4496940"/>
              <a:gd name="connsiteX100" fmla="*/ 1030627 w 4519952"/>
              <a:gd name="connsiteY100" fmla="*/ 4124325 h 4496940"/>
              <a:gd name="connsiteX101" fmla="*/ 925852 w 4519952"/>
              <a:gd name="connsiteY101" fmla="*/ 4067175 h 4496940"/>
              <a:gd name="connsiteX102" fmla="*/ 830602 w 4519952"/>
              <a:gd name="connsiteY102" fmla="*/ 3981450 h 4496940"/>
              <a:gd name="connsiteX103" fmla="*/ 763927 w 4519952"/>
              <a:gd name="connsiteY103" fmla="*/ 3914775 h 4496940"/>
              <a:gd name="connsiteX104" fmla="*/ 725827 w 4519952"/>
              <a:gd name="connsiteY104" fmla="*/ 3876675 h 4496940"/>
              <a:gd name="connsiteX105" fmla="*/ 697252 w 4519952"/>
              <a:gd name="connsiteY105" fmla="*/ 3838575 h 4496940"/>
              <a:gd name="connsiteX106" fmla="*/ 640102 w 4519952"/>
              <a:gd name="connsiteY106" fmla="*/ 3781425 h 4496940"/>
              <a:gd name="connsiteX107" fmla="*/ 611527 w 4519952"/>
              <a:gd name="connsiteY107" fmla="*/ 3733800 h 4496940"/>
              <a:gd name="connsiteX108" fmla="*/ 554377 w 4519952"/>
              <a:gd name="connsiteY108" fmla="*/ 3657600 h 4496940"/>
              <a:gd name="connsiteX109" fmla="*/ 525802 w 4519952"/>
              <a:gd name="connsiteY109" fmla="*/ 3609975 h 4496940"/>
              <a:gd name="connsiteX110" fmla="*/ 497227 w 4519952"/>
              <a:gd name="connsiteY110" fmla="*/ 3552825 h 4496940"/>
              <a:gd name="connsiteX111" fmla="*/ 440077 w 4519952"/>
              <a:gd name="connsiteY111" fmla="*/ 3495675 h 4496940"/>
              <a:gd name="connsiteX112" fmla="*/ 411502 w 4519952"/>
              <a:gd name="connsiteY112" fmla="*/ 3448050 h 4496940"/>
              <a:gd name="connsiteX113" fmla="*/ 278152 w 4519952"/>
              <a:gd name="connsiteY113" fmla="*/ 3257550 h 4496940"/>
              <a:gd name="connsiteX114" fmla="*/ 249577 w 4519952"/>
              <a:gd name="connsiteY114" fmla="*/ 3200400 h 4496940"/>
              <a:gd name="connsiteX115" fmla="*/ 240052 w 4519952"/>
              <a:gd name="connsiteY115" fmla="*/ 3162300 h 4496940"/>
              <a:gd name="connsiteX116" fmla="*/ 221002 w 4519952"/>
              <a:gd name="connsiteY116" fmla="*/ 3105150 h 4496940"/>
              <a:gd name="connsiteX117" fmla="*/ 173377 w 4519952"/>
              <a:gd name="connsiteY117" fmla="*/ 3019425 h 4496940"/>
              <a:gd name="connsiteX118" fmla="*/ 144802 w 4519952"/>
              <a:gd name="connsiteY118" fmla="*/ 2924175 h 4496940"/>
              <a:gd name="connsiteX119" fmla="*/ 68602 w 4519952"/>
              <a:gd name="connsiteY119" fmla="*/ 2724150 h 4496940"/>
              <a:gd name="connsiteX120" fmla="*/ 49552 w 4519952"/>
              <a:gd name="connsiteY120" fmla="*/ 2638425 h 4496940"/>
              <a:gd name="connsiteX121" fmla="*/ 40027 w 4519952"/>
              <a:gd name="connsiteY121" fmla="*/ 2562225 h 4496940"/>
              <a:gd name="connsiteX122" fmla="*/ 30502 w 4519952"/>
              <a:gd name="connsiteY122" fmla="*/ 2514600 h 4496940"/>
              <a:gd name="connsiteX123" fmla="*/ 11452 w 4519952"/>
              <a:gd name="connsiteY123" fmla="*/ 2400300 h 4496940"/>
              <a:gd name="connsiteX124" fmla="*/ 20977 w 4519952"/>
              <a:gd name="connsiteY124" fmla="*/ 1905000 h 4496940"/>
              <a:gd name="connsiteX125" fmla="*/ 30502 w 4519952"/>
              <a:gd name="connsiteY125" fmla="*/ 1838325 h 4496940"/>
              <a:gd name="connsiteX126" fmla="*/ 49552 w 4519952"/>
              <a:gd name="connsiteY126" fmla="*/ 1781175 h 4496940"/>
              <a:gd name="connsiteX127" fmla="*/ 59077 w 4519952"/>
              <a:gd name="connsiteY127" fmla="*/ 1743075 h 4496940"/>
              <a:gd name="connsiteX128" fmla="*/ 78127 w 4519952"/>
              <a:gd name="connsiteY128" fmla="*/ 1685925 h 4496940"/>
              <a:gd name="connsiteX129" fmla="*/ 87652 w 4519952"/>
              <a:gd name="connsiteY129" fmla="*/ 1638300 h 4496940"/>
              <a:gd name="connsiteX130" fmla="*/ 106702 w 4519952"/>
              <a:gd name="connsiteY130" fmla="*/ 1590675 h 4496940"/>
              <a:gd name="connsiteX131" fmla="*/ 135277 w 4519952"/>
              <a:gd name="connsiteY131" fmla="*/ 1504950 h 4496940"/>
              <a:gd name="connsiteX132" fmla="*/ 154327 w 4519952"/>
              <a:gd name="connsiteY132" fmla="*/ 1419225 h 4496940"/>
              <a:gd name="connsiteX133" fmla="*/ 230527 w 4519952"/>
              <a:gd name="connsiteY133" fmla="*/ 1276350 h 4496940"/>
              <a:gd name="connsiteX134" fmla="*/ 240052 w 4519952"/>
              <a:gd name="connsiteY134" fmla="*/ 1247775 h 4496940"/>
              <a:gd name="connsiteX135" fmla="*/ 268627 w 4519952"/>
              <a:gd name="connsiteY135" fmla="*/ 1200150 h 4496940"/>
              <a:gd name="connsiteX136" fmla="*/ 287677 w 4519952"/>
              <a:gd name="connsiteY136" fmla="*/ 1152525 h 4496940"/>
              <a:gd name="connsiteX137" fmla="*/ 316252 w 4519952"/>
              <a:gd name="connsiteY137" fmla="*/ 1114425 h 4496940"/>
              <a:gd name="connsiteX138" fmla="*/ 363877 w 4519952"/>
              <a:gd name="connsiteY138" fmla="*/ 1038225 h 4496940"/>
              <a:gd name="connsiteX139" fmla="*/ 382927 w 4519952"/>
              <a:gd name="connsiteY139" fmla="*/ 1009650 h 4496940"/>
              <a:gd name="connsiteX140" fmla="*/ 440077 w 4519952"/>
              <a:gd name="connsiteY140" fmla="*/ 904875 h 4496940"/>
              <a:gd name="connsiteX141" fmla="*/ 478177 w 4519952"/>
              <a:gd name="connsiteY141" fmla="*/ 857250 h 4496940"/>
              <a:gd name="connsiteX142" fmla="*/ 497227 w 4519952"/>
              <a:gd name="connsiteY142" fmla="*/ 828675 h 4496940"/>
              <a:gd name="connsiteX143" fmla="*/ 535327 w 4519952"/>
              <a:gd name="connsiteY143" fmla="*/ 800100 h 4496940"/>
              <a:gd name="connsiteX144" fmla="*/ 602002 w 4519952"/>
              <a:gd name="connsiteY144" fmla="*/ 733425 h 4496940"/>
              <a:gd name="connsiteX145" fmla="*/ 668677 w 4519952"/>
              <a:gd name="connsiteY145" fmla="*/ 676275 h 4496940"/>
              <a:gd name="connsiteX146" fmla="*/ 697252 w 4519952"/>
              <a:gd name="connsiteY146" fmla="*/ 657225 h 4496940"/>
              <a:gd name="connsiteX147" fmla="*/ 840127 w 4519952"/>
              <a:gd name="connsiteY147" fmla="*/ 533400 h 4496940"/>
              <a:gd name="connsiteX148" fmla="*/ 887752 w 4519952"/>
              <a:gd name="connsiteY148" fmla="*/ 504825 h 4496940"/>
              <a:gd name="connsiteX149" fmla="*/ 1167152 w 4519952"/>
              <a:gd name="connsiteY149" fmla="*/ 311150 h 4496940"/>
              <a:gd name="connsiteX150" fmla="*/ 1268752 w 4519952"/>
              <a:gd name="connsiteY150" fmla="*/ 285750 h 4496940"/>
              <a:gd name="connsiteX151" fmla="*/ 1411627 w 4519952"/>
              <a:gd name="connsiteY151" fmla="*/ 190500 h 4496940"/>
              <a:gd name="connsiteX152" fmla="*/ 1449727 w 4519952"/>
              <a:gd name="connsiteY152" fmla="*/ 161925 h 4496940"/>
              <a:gd name="connsiteX153" fmla="*/ 1525927 w 4519952"/>
              <a:gd name="connsiteY153" fmla="*/ 152400 h 4496940"/>
              <a:gd name="connsiteX154" fmla="*/ 1583077 w 4519952"/>
              <a:gd name="connsiteY154" fmla="*/ 142875 h 4496940"/>
              <a:gd name="connsiteX155" fmla="*/ 1716427 w 4519952"/>
              <a:gd name="connsiteY155" fmla="*/ 123825 h 4496940"/>
              <a:gd name="connsiteX156" fmla="*/ 1811677 w 4519952"/>
              <a:gd name="connsiteY156" fmla="*/ 114300 h 4496940"/>
              <a:gd name="connsiteX157" fmla="*/ 1859302 w 4519952"/>
              <a:gd name="connsiteY157" fmla="*/ 104775 h 4496940"/>
              <a:gd name="connsiteX158" fmla="*/ 1916452 w 4519952"/>
              <a:gd name="connsiteY158" fmla="*/ 95250 h 4496940"/>
              <a:gd name="connsiteX159" fmla="*/ 2030752 w 4519952"/>
              <a:gd name="connsiteY159" fmla="*/ 66675 h 4496940"/>
              <a:gd name="connsiteX160" fmla="*/ 2097427 w 4519952"/>
              <a:gd name="connsiteY160" fmla="*/ 47625 h 4496940"/>
              <a:gd name="connsiteX161" fmla="*/ 2164102 w 4519952"/>
              <a:gd name="connsiteY161" fmla="*/ 38100 h 4496940"/>
              <a:gd name="connsiteX162" fmla="*/ 2392702 w 4519952"/>
              <a:gd name="connsiteY162" fmla="*/ 28575 h 4496940"/>
              <a:gd name="connsiteX0" fmla="*/ 2297452 w 4519983"/>
              <a:gd name="connsiteY0" fmla="*/ 0 h 4496940"/>
              <a:gd name="connsiteX1" fmla="*/ 2421277 w 4519983"/>
              <a:gd name="connsiteY1" fmla="*/ 28575 h 4496940"/>
              <a:gd name="connsiteX2" fmla="*/ 2497477 w 4519983"/>
              <a:gd name="connsiteY2" fmla="*/ 47625 h 4496940"/>
              <a:gd name="connsiteX3" fmla="*/ 2754652 w 4519983"/>
              <a:gd name="connsiteY3" fmla="*/ 66675 h 4496940"/>
              <a:gd name="connsiteX4" fmla="*/ 2830852 w 4519983"/>
              <a:gd name="connsiteY4" fmla="*/ 76200 h 4496940"/>
              <a:gd name="connsiteX5" fmla="*/ 2916577 w 4519983"/>
              <a:gd name="connsiteY5" fmla="*/ 85725 h 4496940"/>
              <a:gd name="connsiteX6" fmla="*/ 2973727 w 4519983"/>
              <a:gd name="connsiteY6" fmla="*/ 114300 h 4496940"/>
              <a:gd name="connsiteX7" fmla="*/ 3011827 w 4519983"/>
              <a:gd name="connsiteY7" fmla="*/ 123825 h 4496940"/>
              <a:gd name="connsiteX8" fmla="*/ 3135652 w 4519983"/>
              <a:gd name="connsiteY8" fmla="*/ 171450 h 4496940"/>
              <a:gd name="connsiteX9" fmla="*/ 3173752 w 4519983"/>
              <a:gd name="connsiteY9" fmla="*/ 190500 h 4496940"/>
              <a:gd name="connsiteX10" fmla="*/ 3240427 w 4519983"/>
              <a:gd name="connsiteY10" fmla="*/ 228600 h 4496940"/>
              <a:gd name="connsiteX11" fmla="*/ 3269002 w 4519983"/>
              <a:gd name="connsiteY11" fmla="*/ 238125 h 4496940"/>
              <a:gd name="connsiteX12" fmla="*/ 3297577 w 4519983"/>
              <a:gd name="connsiteY12" fmla="*/ 257175 h 4496940"/>
              <a:gd name="connsiteX13" fmla="*/ 3326152 w 4519983"/>
              <a:gd name="connsiteY13" fmla="*/ 266700 h 4496940"/>
              <a:gd name="connsiteX14" fmla="*/ 3354727 w 4519983"/>
              <a:gd name="connsiteY14" fmla="*/ 285750 h 4496940"/>
              <a:gd name="connsiteX15" fmla="*/ 3421402 w 4519983"/>
              <a:gd name="connsiteY15" fmla="*/ 323850 h 4496940"/>
              <a:gd name="connsiteX16" fmla="*/ 3469027 w 4519983"/>
              <a:gd name="connsiteY16" fmla="*/ 361950 h 4496940"/>
              <a:gd name="connsiteX17" fmla="*/ 3516652 w 4519983"/>
              <a:gd name="connsiteY17" fmla="*/ 390525 h 4496940"/>
              <a:gd name="connsiteX18" fmla="*/ 3545227 w 4519983"/>
              <a:gd name="connsiteY18" fmla="*/ 419100 h 4496940"/>
              <a:gd name="connsiteX19" fmla="*/ 3602377 w 4519983"/>
              <a:gd name="connsiteY19" fmla="*/ 457200 h 4496940"/>
              <a:gd name="connsiteX20" fmla="*/ 3630952 w 4519983"/>
              <a:gd name="connsiteY20" fmla="*/ 485775 h 4496940"/>
              <a:gd name="connsiteX21" fmla="*/ 3678577 w 4519983"/>
              <a:gd name="connsiteY21" fmla="*/ 504825 h 4496940"/>
              <a:gd name="connsiteX22" fmla="*/ 3745252 w 4519983"/>
              <a:gd name="connsiteY22" fmla="*/ 542925 h 4496940"/>
              <a:gd name="connsiteX23" fmla="*/ 3811927 w 4519983"/>
              <a:gd name="connsiteY23" fmla="*/ 581025 h 4496940"/>
              <a:gd name="connsiteX24" fmla="*/ 3840502 w 4519983"/>
              <a:gd name="connsiteY24" fmla="*/ 600075 h 4496940"/>
              <a:gd name="connsiteX25" fmla="*/ 3869077 w 4519983"/>
              <a:gd name="connsiteY25" fmla="*/ 628650 h 4496940"/>
              <a:gd name="connsiteX26" fmla="*/ 3907177 w 4519983"/>
              <a:gd name="connsiteY26" fmla="*/ 647700 h 4496940"/>
              <a:gd name="connsiteX27" fmla="*/ 3935752 w 4519983"/>
              <a:gd name="connsiteY27" fmla="*/ 676275 h 4496940"/>
              <a:gd name="connsiteX28" fmla="*/ 3992902 w 4519983"/>
              <a:gd name="connsiteY28" fmla="*/ 714375 h 4496940"/>
              <a:gd name="connsiteX29" fmla="*/ 4050052 w 4519983"/>
              <a:gd name="connsiteY29" fmla="*/ 790575 h 4496940"/>
              <a:gd name="connsiteX30" fmla="*/ 4078627 w 4519983"/>
              <a:gd name="connsiteY30" fmla="*/ 838200 h 4496940"/>
              <a:gd name="connsiteX31" fmla="*/ 4107202 w 4519983"/>
              <a:gd name="connsiteY31" fmla="*/ 876300 h 4496940"/>
              <a:gd name="connsiteX32" fmla="*/ 4116727 w 4519983"/>
              <a:gd name="connsiteY32" fmla="*/ 904875 h 4496940"/>
              <a:gd name="connsiteX33" fmla="*/ 4135777 w 4519983"/>
              <a:gd name="connsiteY33" fmla="*/ 933450 h 4496940"/>
              <a:gd name="connsiteX34" fmla="*/ 4164352 w 4519983"/>
              <a:gd name="connsiteY34" fmla="*/ 990600 h 4496940"/>
              <a:gd name="connsiteX35" fmla="*/ 4173877 w 4519983"/>
              <a:gd name="connsiteY35" fmla="*/ 1019175 h 4496940"/>
              <a:gd name="connsiteX36" fmla="*/ 4192927 w 4519983"/>
              <a:gd name="connsiteY36" fmla="*/ 1057275 h 4496940"/>
              <a:gd name="connsiteX37" fmla="*/ 4202452 w 4519983"/>
              <a:gd name="connsiteY37" fmla="*/ 1085850 h 4496940"/>
              <a:gd name="connsiteX38" fmla="*/ 4250077 w 4519983"/>
              <a:gd name="connsiteY38" fmla="*/ 1143000 h 4496940"/>
              <a:gd name="connsiteX39" fmla="*/ 4259602 w 4519983"/>
              <a:gd name="connsiteY39" fmla="*/ 1190625 h 4496940"/>
              <a:gd name="connsiteX40" fmla="*/ 4307227 w 4519983"/>
              <a:gd name="connsiteY40" fmla="*/ 1266825 h 4496940"/>
              <a:gd name="connsiteX41" fmla="*/ 4345327 w 4519983"/>
              <a:gd name="connsiteY41" fmla="*/ 1362075 h 4496940"/>
              <a:gd name="connsiteX42" fmla="*/ 4373902 w 4519983"/>
              <a:gd name="connsiteY42" fmla="*/ 1428750 h 4496940"/>
              <a:gd name="connsiteX43" fmla="*/ 4392952 w 4519983"/>
              <a:gd name="connsiteY43" fmla="*/ 1552575 h 4496940"/>
              <a:gd name="connsiteX44" fmla="*/ 4402477 w 4519983"/>
              <a:gd name="connsiteY44" fmla="*/ 1590675 h 4496940"/>
              <a:gd name="connsiteX45" fmla="*/ 4431052 w 4519983"/>
              <a:gd name="connsiteY45" fmla="*/ 1685925 h 4496940"/>
              <a:gd name="connsiteX46" fmla="*/ 4519952 w 4519983"/>
              <a:gd name="connsiteY46" fmla="*/ 2181225 h 4496940"/>
              <a:gd name="connsiteX47" fmla="*/ 4440577 w 4519983"/>
              <a:gd name="connsiteY47" fmla="*/ 2876550 h 4496940"/>
              <a:gd name="connsiteX48" fmla="*/ 4383427 w 4519983"/>
              <a:gd name="connsiteY48" fmla="*/ 2990850 h 4496940"/>
              <a:gd name="connsiteX49" fmla="*/ 4354852 w 4519983"/>
              <a:gd name="connsiteY49" fmla="*/ 3057525 h 4496940"/>
              <a:gd name="connsiteX50" fmla="*/ 4335802 w 4519983"/>
              <a:gd name="connsiteY50" fmla="*/ 3095625 h 4496940"/>
              <a:gd name="connsiteX51" fmla="*/ 4278652 w 4519983"/>
              <a:gd name="connsiteY51" fmla="*/ 3248025 h 4496940"/>
              <a:gd name="connsiteX52" fmla="*/ 4259602 w 4519983"/>
              <a:gd name="connsiteY52" fmla="*/ 3276600 h 4496940"/>
              <a:gd name="connsiteX53" fmla="*/ 4221502 w 4519983"/>
              <a:gd name="connsiteY53" fmla="*/ 3333750 h 4496940"/>
              <a:gd name="connsiteX54" fmla="*/ 4211977 w 4519983"/>
              <a:gd name="connsiteY54" fmla="*/ 3362325 h 4496940"/>
              <a:gd name="connsiteX55" fmla="*/ 4183402 w 4519983"/>
              <a:gd name="connsiteY55" fmla="*/ 3400425 h 4496940"/>
              <a:gd name="connsiteX56" fmla="*/ 4164352 w 4519983"/>
              <a:gd name="connsiteY56" fmla="*/ 3429000 h 4496940"/>
              <a:gd name="connsiteX57" fmla="*/ 4088152 w 4519983"/>
              <a:gd name="connsiteY57" fmla="*/ 3495675 h 4496940"/>
              <a:gd name="connsiteX58" fmla="*/ 4059577 w 4519983"/>
              <a:gd name="connsiteY58" fmla="*/ 3533775 h 4496940"/>
              <a:gd name="connsiteX59" fmla="*/ 4002427 w 4519983"/>
              <a:gd name="connsiteY59" fmla="*/ 3600450 h 4496940"/>
              <a:gd name="connsiteX60" fmla="*/ 3983377 w 4519983"/>
              <a:gd name="connsiteY60" fmla="*/ 3629025 h 4496940"/>
              <a:gd name="connsiteX61" fmla="*/ 3954802 w 4519983"/>
              <a:gd name="connsiteY61" fmla="*/ 3648075 h 4496940"/>
              <a:gd name="connsiteX62" fmla="*/ 3907177 w 4519983"/>
              <a:gd name="connsiteY62" fmla="*/ 3686175 h 4496940"/>
              <a:gd name="connsiteX63" fmla="*/ 3869077 w 4519983"/>
              <a:gd name="connsiteY63" fmla="*/ 3724275 h 4496940"/>
              <a:gd name="connsiteX64" fmla="*/ 3792877 w 4519983"/>
              <a:gd name="connsiteY64" fmla="*/ 3781425 h 4496940"/>
              <a:gd name="connsiteX65" fmla="*/ 3783352 w 4519983"/>
              <a:gd name="connsiteY65" fmla="*/ 3810000 h 4496940"/>
              <a:gd name="connsiteX66" fmla="*/ 3745252 w 4519983"/>
              <a:gd name="connsiteY66" fmla="*/ 3819525 h 4496940"/>
              <a:gd name="connsiteX67" fmla="*/ 3678577 w 4519983"/>
              <a:gd name="connsiteY67" fmla="*/ 3848100 h 4496940"/>
              <a:gd name="connsiteX68" fmla="*/ 3659527 w 4519983"/>
              <a:gd name="connsiteY68" fmla="*/ 3971925 h 4496940"/>
              <a:gd name="connsiteX69" fmla="*/ 3630952 w 4519983"/>
              <a:gd name="connsiteY69" fmla="*/ 4010025 h 4496940"/>
              <a:gd name="connsiteX70" fmla="*/ 3621427 w 4519983"/>
              <a:gd name="connsiteY70" fmla="*/ 4038600 h 4496940"/>
              <a:gd name="connsiteX71" fmla="*/ 3554752 w 4519983"/>
              <a:gd name="connsiteY71" fmla="*/ 4095750 h 4496940"/>
              <a:gd name="connsiteX72" fmla="*/ 3516652 w 4519983"/>
              <a:gd name="connsiteY72" fmla="*/ 4114800 h 4496940"/>
              <a:gd name="connsiteX73" fmla="*/ 3497602 w 4519983"/>
              <a:gd name="connsiteY73" fmla="*/ 4143375 h 4496940"/>
              <a:gd name="connsiteX74" fmla="*/ 3383302 w 4519983"/>
              <a:gd name="connsiteY74" fmla="*/ 4210050 h 4496940"/>
              <a:gd name="connsiteX75" fmla="*/ 3335677 w 4519983"/>
              <a:gd name="connsiteY75" fmla="*/ 4238625 h 4496940"/>
              <a:gd name="connsiteX76" fmla="*/ 3288052 w 4519983"/>
              <a:gd name="connsiteY76" fmla="*/ 4248150 h 4496940"/>
              <a:gd name="connsiteX77" fmla="*/ 3240427 w 4519983"/>
              <a:gd name="connsiteY77" fmla="*/ 4267200 h 4496940"/>
              <a:gd name="connsiteX78" fmla="*/ 3068977 w 4519983"/>
              <a:gd name="connsiteY78" fmla="*/ 4286250 h 4496940"/>
              <a:gd name="connsiteX79" fmla="*/ 2935627 w 4519983"/>
              <a:gd name="connsiteY79" fmla="*/ 4333875 h 4496940"/>
              <a:gd name="connsiteX80" fmla="*/ 2811802 w 4519983"/>
              <a:gd name="connsiteY80" fmla="*/ 4371975 h 4496940"/>
              <a:gd name="connsiteX81" fmla="*/ 2745127 w 4519983"/>
              <a:gd name="connsiteY81" fmla="*/ 4410075 h 4496940"/>
              <a:gd name="connsiteX82" fmla="*/ 2697502 w 4519983"/>
              <a:gd name="connsiteY82" fmla="*/ 4429125 h 4496940"/>
              <a:gd name="connsiteX83" fmla="*/ 2640352 w 4519983"/>
              <a:gd name="connsiteY83" fmla="*/ 4457700 h 4496940"/>
              <a:gd name="connsiteX84" fmla="*/ 2583202 w 4519983"/>
              <a:gd name="connsiteY84" fmla="*/ 4467225 h 4496940"/>
              <a:gd name="connsiteX85" fmla="*/ 2545102 w 4519983"/>
              <a:gd name="connsiteY85" fmla="*/ 4486275 h 4496940"/>
              <a:gd name="connsiteX86" fmla="*/ 2306977 w 4519983"/>
              <a:gd name="connsiteY86" fmla="*/ 4476750 h 4496940"/>
              <a:gd name="connsiteX87" fmla="*/ 2202202 w 4519983"/>
              <a:gd name="connsiteY87" fmla="*/ 4457700 h 4496940"/>
              <a:gd name="connsiteX88" fmla="*/ 2126002 w 4519983"/>
              <a:gd name="connsiteY88" fmla="*/ 4429125 h 4496940"/>
              <a:gd name="connsiteX89" fmla="*/ 1935502 w 4519983"/>
              <a:gd name="connsiteY89" fmla="*/ 4400550 h 4496940"/>
              <a:gd name="connsiteX90" fmla="*/ 1821202 w 4519983"/>
              <a:gd name="connsiteY90" fmla="*/ 4371975 h 4496940"/>
              <a:gd name="connsiteX91" fmla="*/ 1754527 w 4519983"/>
              <a:gd name="connsiteY91" fmla="*/ 4352925 h 4496940"/>
              <a:gd name="connsiteX92" fmla="*/ 1687852 w 4519983"/>
              <a:gd name="connsiteY92" fmla="*/ 4343400 h 4496940"/>
              <a:gd name="connsiteX93" fmla="*/ 1573552 w 4519983"/>
              <a:gd name="connsiteY93" fmla="*/ 4305300 h 4496940"/>
              <a:gd name="connsiteX94" fmla="*/ 1402102 w 4519983"/>
              <a:gd name="connsiteY94" fmla="*/ 4276725 h 4496940"/>
              <a:gd name="connsiteX95" fmla="*/ 1287802 w 4519983"/>
              <a:gd name="connsiteY95" fmla="*/ 4229100 h 4496940"/>
              <a:gd name="connsiteX96" fmla="*/ 1221127 w 4519983"/>
              <a:gd name="connsiteY96" fmla="*/ 4200525 h 4496940"/>
              <a:gd name="connsiteX97" fmla="*/ 1144927 w 4519983"/>
              <a:gd name="connsiteY97" fmla="*/ 4171950 h 4496940"/>
              <a:gd name="connsiteX98" fmla="*/ 1087777 w 4519983"/>
              <a:gd name="connsiteY98" fmla="*/ 4143375 h 4496940"/>
              <a:gd name="connsiteX99" fmla="*/ 1030627 w 4519983"/>
              <a:gd name="connsiteY99" fmla="*/ 4124325 h 4496940"/>
              <a:gd name="connsiteX100" fmla="*/ 925852 w 4519983"/>
              <a:gd name="connsiteY100" fmla="*/ 4067175 h 4496940"/>
              <a:gd name="connsiteX101" fmla="*/ 830602 w 4519983"/>
              <a:gd name="connsiteY101" fmla="*/ 3981450 h 4496940"/>
              <a:gd name="connsiteX102" fmla="*/ 763927 w 4519983"/>
              <a:gd name="connsiteY102" fmla="*/ 3914775 h 4496940"/>
              <a:gd name="connsiteX103" fmla="*/ 725827 w 4519983"/>
              <a:gd name="connsiteY103" fmla="*/ 3876675 h 4496940"/>
              <a:gd name="connsiteX104" fmla="*/ 697252 w 4519983"/>
              <a:gd name="connsiteY104" fmla="*/ 3838575 h 4496940"/>
              <a:gd name="connsiteX105" fmla="*/ 640102 w 4519983"/>
              <a:gd name="connsiteY105" fmla="*/ 3781425 h 4496940"/>
              <a:gd name="connsiteX106" fmla="*/ 611527 w 4519983"/>
              <a:gd name="connsiteY106" fmla="*/ 3733800 h 4496940"/>
              <a:gd name="connsiteX107" fmla="*/ 554377 w 4519983"/>
              <a:gd name="connsiteY107" fmla="*/ 3657600 h 4496940"/>
              <a:gd name="connsiteX108" fmla="*/ 525802 w 4519983"/>
              <a:gd name="connsiteY108" fmla="*/ 3609975 h 4496940"/>
              <a:gd name="connsiteX109" fmla="*/ 497227 w 4519983"/>
              <a:gd name="connsiteY109" fmla="*/ 3552825 h 4496940"/>
              <a:gd name="connsiteX110" fmla="*/ 440077 w 4519983"/>
              <a:gd name="connsiteY110" fmla="*/ 3495675 h 4496940"/>
              <a:gd name="connsiteX111" fmla="*/ 411502 w 4519983"/>
              <a:gd name="connsiteY111" fmla="*/ 3448050 h 4496940"/>
              <a:gd name="connsiteX112" fmla="*/ 278152 w 4519983"/>
              <a:gd name="connsiteY112" fmla="*/ 3257550 h 4496940"/>
              <a:gd name="connsiteX113" fmla="*/ 249577 w 4519983"/>
              <a:gd name="connsiteY113" fmla="*/ 3200400 h 4496940"/>
              <a:gd name="connsiteX114" fmla="*/ 240052 w 4519983"/>
              <a:gd name="connsiteY114" fmla="*/ 3162300 h 4496940"/>
              <a:gd name="connsiteX115" fmla="*/ 221002 w 4519983"/>
              <a:gd name="connsiteY115" fmla="*/ 3105150 h 4496940"/>
              <a:gd name="connsiteX116" fmla="*/ 173377 w 4519983"/>
              <a:gd name="connsiteY116" fmla="*/ 3019425 h 4496940"/>
              <a:gd name="connsiteX117" fmla="*/ 144802 w 4519983"/>
              <a:gd name="connsiteY117" fmla="*/ 2924175 h 4496940"/>
              <a:gd name="connsiteX118" fmla="*/ 68602 w 4519983"/>
              <a:gd name="connsiteY118" fmla="*/ 2724150 h 4496940"/>
              <a:gd name="connsiteX119" fmla="*/ 49552 w 4519983"/>
              <a:gd name="connsiteY119" fmla="*/ 2638425 h 4496940"/>
              <a:gd name="connsiteX120" fmla="*/ 40027 w 4519983"/>
              <a:gd name="connsiteY120" fmla="*/ 2562225 h 4496940"/>
              <a:gd name="connsiteX121" fmla="*/ 30502 w 4519983"/>
              <a:gd name="connsiteY121" fmla="*/ 2514600 h 4496940"/>
              <a:gd name="connsiteX122" fmla="*/ 11452 w 4519983"/>
              <a:gd name="connsiteY122" fmla="*/ 2400300 h 4496940"/>
              <a:gd name="connsiteX123" fmla="*/ 20977 w 4519983"/>
              <a:gd name="connsiteY123" fmla="*/ 1905000 h 4496940"/>
              <a:gd name="connsiteX124" fmla="*/ 30502 w 4519983"/>
              <a:gd name="connsiteY124" fmla="*/ 1838325 h 4496940"/>
              <a:gd name="connsiteX125" fmla="*/ 49552 w 4519983"/>
              <a:gd name="connsiteY125" fmla="*/ 1781175 h 4496940"/>
              <a:gd name="connsiteX126" fmla="*/ 59077 w 4519983"/>
              <a:gd name="connsiteY126" fmla="*/ 1743075 h 4496940"/>
              <a:gd name="connsiteX127" fmla="*/ 78127 w 4519983"/>
              <a:gd name="connsiteY127" fmla="*/ 1685925 h 4496940"/>
              <a:gd name="connsiteX128" fmla="*/ 87652 w 4519983"/>
              <a:gd name="connsiteY128" fmla="*/ 1638300 h 4496940"/>
              <a:gd name="connsiteX129" fmla="*/ 106702 w 4519983"/>
              <a:gd name="connsiteY129" fmla="*/ 1590675 h 4496940"/>
              <a:gd name="connsiteX130" fmla="*/ 135277 w 4519983"/>
              <a:gd name="connsiteY130" fmla="*/ 1504950 h 4496940"/>
              <a:gd name="connsiteX131" fmla="*/ 154327 w 4519983"/>
              <a:gd name="connsiteY131" fmla="*/ 1419225 h 4496940"/>
              <a:gd name="connsiteX132" fmla="*/ 230527 w 4519983"/>
              <a:gd name="connsiteY132" fmla="*/ 1276350 h 4496940"/>
              <a:gd name="connsiteX133" fmla="*/ 240052 w 4519983"/>
              <a:gd name="connsiteY133" fmla="*/ 1247775 h 4496940"/>
              <a:gd name="connsiteX134" fmla="*/ 268627 w 4519983"/>
              <a:gd name="connsiteY134" fmla="*/ 1200150 h 4496940"/>
              <a:gd name="connsiteX135" fmla="*/ 287677 w 4519983"/>
              <a:gd name="connsiteY135" fmla="*/ 1152525 h 4496940"/>
              <a:gd name="connsiteX136" fmla="*/ 316252 w 4519983"/>
              <a:gd name="connsiteY136" fmla="*/ 1114425 h 4496940"/>
              <a:gd name="connsiteX137" fmla="*/ 363877 w 4519983"/>
              <a:gd name="connsiteY137" fmla="*/ 1038225 h 4496940"/>
              <a:gd name="connsiteX138" fmla="*/ 382927 w 4519983"/>
              <a:gd name="connsiteY138" fmla="*/ 1009650 h 4496940"/>
              <a:gd name="connsiteX139" fmla="*/ 440077 w 4519983"/>
              <a:gd name="connsiteY139" fmla="*/ 904875 h 4496940"/>
              <a:gd name="connsiteX140" fmla="*/ 478177 w 4519983"/>
              <a:gd name="connsiteY140" fmla="*/ 857250 h 4496940"/>
              <a:gd name="connsiteX141" fmla="*/ 497227 w 4519983"/>
              <a:gd name="connsiteY141" fmla="*/ 828675 h 4496940"/>
              <a:gd name="connsiteX142" fmla="*/ 535327 w 4519983"/>
              <a:gd name="connsiteY142" fmla="*/ 800100 h 4496940"/>
              <a:gd name="connsiteX143" fmla="*/ 602002 w 4519983"/>
              <a:gd name="connsiteY143" fmla="*/ 733425 h 4496940"/>
              <a:gd name="connsiteX144" fmla="*/ 668677 w 4519983"/>
              <a:gd name="connsiteY144" fmla="*/ 676275 h 4496940"/>
              <a:gd name="connsiteX145" fmla="*/ 697252 w 4519983"/>
              <a:gd name="connsiteY145" fmla="*/ 657225 h 4496940"/>
              <a:gd name="connsiteX146" fmla="*/ 840127 w 4519983"/>
              <a:gd name="connsiteY146" fmla="*/ 533400 h 4496940"/>
              <a:gd name="connsiteX147" fmla="*/ 887752 w 4519983"/>
              <a:gd name="connsiteY147" fmla="*/ 504825 h 4496940"/>
              <a:gd name="connsiteX148" fmla="*/ 1167152 w 4519983"/>
              <a:gd name="connsiteY148" fmla="*/ 311150 h 4496940"/>
              <a:gd name="connsiteX149" fmla="*/ 1268752 w 4519983"/>
              <a:gd name="connsiteY149" fmla="*/ 285750 h 4496940"/>
              <a:gd name="connsiteX150" fmla="*/ 1411627 w 4519983"/>
              <a:gd name="connsiteY150" fmla="*/ 190500 h 4496940"/>
              <a:gd name="connsiteX151" fmla="*/ 1449727 w 4519983"/>
              <a:gd name="connsiteY151" fmla="*/ 161925 h 4496940"/>
              <a:gd name="connsiteX152" fmla="*/ 1525927 w 4519983"/>
              <a:gd name="connsiteY152" fmla="*/ 152400 h 4496940"/>
              <a:gd name="connsiteX153" fmla="*/ 1583077 w 4519983"/>
              <a:gd name="connsiteY153" fmla="*/ 142875 h 4496940"/>
              <a:gd name="connsiteX154" fmla="*/ 1716427 w 4519983"/>
              <a:gd name="connsiteY154" fmla="*/ 123825 h 4496940"/>
              <a:gd name="connsiteX155" fmla="*/ 1811677 w 4519983"/>
              <a:gd name="connsiteY155" fmla="*/ 114300 h 4496940"/>
              <a:gd name="connsiteX156" fmla="*/ 1859302 w 4519983"/>
              <a:gd name="connsiteY156" fmla="*/ 104775 h 4496940"/>
              <a:gd name="connsiteX157" fmla="*/ 1916452 w 4519983"/>
              <a:gd name="connsiteY157" fmla="*/ 95250 h 4496940"/>
              <a:gd name="connsiteX158" fmla="*/ 2030752 w 4519983"/>
              <a:gd name="connsiteY158" fmla="*/ 66675 h 4496940"/>
              <a:gd name="connsiteX159" fmla="*/ 2097427 w 4519983"/>
              <a:gd name="connsiteY159" fmla="*/ 47625 h 4496940"/>
              <a:gd name="connsiteX160" fmla="*/ 2164102 w 4519983"/>
              <a:gd name="connsiteY160" fmla="*/ 38100 h 4496940"/>
              <a:gd name="connsiteX161" fmla="*/ 2392702 w 4519983"/>
              <a:gd name="connsiteY16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354852 w 4519987"/>
              <a:gd name="connsiteY49" fmla="*/ 3057525 h 4496940"/>
              <a:gd name="connsiteX50" fmla="*/ 4335802 w 4519987"/>
              <a:gd name="connsiteY50" fmla="*/ 3095625 h 4496940"/>
              <a:gd name="connsiteX51" fmla="*/ 4278652 w 4519987"/>
              <a:gd name="connsiteY51" fmla="*/ 3248025 h 4496940"/>
              <a:gd name="connsiteX52" fmla="*/ 4259602 w 4519987"/>
              <a:gd name="connsiteY52" fmla="*/ 3276600 h 4496940"/>
              <a:gd name="connsiteX53" fmla="*/ 4221502 w 4519987"/>
              <a:gd name="connsiteY53" fmla="*/ 3333750 h 4496940"/>
              <a:gd name="connsiteX54" fmla="*/ 4211977 w 4519987"/>
              <a:gd name="connsiteY54" fmla="*/ 3362325 h 4496940"/>
              <a:gd name="connsiteX55" fmla="*/ 4183402 w 4519987"/>
              <a:gd name="connsiteY55" fmla="*/ 3400425 h 4496940"/>
              <a:gd name="connsiteX56" fmla="*/ 4164352 w 4519987"/>
              <a:gd name="connsiteY56" fmla="*/ 3429000 h 4496940"/>
              <a:gd name="connsiteX57" fmla="*/ 4088152 w 4519987"/>
              <a:gd name="connsiteY57" fmla="*/ 3495675 h 4496940"/>
              <a:gd name="connsiteX58" fmla="*/ 4059577 w 4519987"/>
              <a:gd name="connsiteY58" fmla="*/ 3533775 h 4496940"/>
              <a:gd name="connsiteX59" fmla="*/ 4002427 w 4519987"/>
              <a:gd name="connsiteY59" fmla="*/ 3600450 h 4496940"/>
              <a:gd name="connsiteX60" fmla="*/ 3983377 w 4519987"/>
              <a:gd name="connsiteY60" fmla="*/ 3629025 h 4496940"/>
              <a:gd name="connsiteX61" fmla="*/ 3954802 w 4519987"/>
              <a:gd name="connsiteY61" fmla="*/ 3648075 h 4496940"/>
              <a:gd name="connsiteX62" fmla="*/ 3907177 w 4519987"/>
              <a:gd name="connsiteY62" fmla="*/ 3686175 h 4496940"/>
              <a:gd name="connsiteX63" fmla="*/ 3869077 w 4519987"/>
              <a:gd name="connsiteY63" fmla="*/ 3724275 h 4496940"/>
              <a:gd name="connsiteX64" fmla="*/ 3792877 w 4519987"/>
              <a:gd name="connsiteY64" fmla="*/ 3781425 h 4496940"/>
              <a:gd name="connsiteX65" fmla="*/ 3783352 w 4519987"/>
              <a:gd name="connsiteY65" fmla="*/ 3810000 h 4496940"/>
              <a:gd name="connsiteX66" fmla="*/ 3745252 w 4519987"/>
              <a:gd name="connsiteY66" fmla="*/ 3819525 h 4496940"/>
              <a:gd name="connsiteX67" fmla="*/ 3678577 w 4519987"/>
              <a:gd name="connsiteY67" fmla="*/ 3848100 h 4496940"/>
              <a:gd name="connsiteX68" fmla="*/ 3659527 w 4519987"/>
              <a:gd name="connsiteY68" fmla="*/ 3971925 h 4496940"/>
              <a:gd name="connsiteX69" fmla="*/ 3630952 w 4519987"/>
              <a:gd name="connsiteY69" fmla="*/ 4010025 h 4496940"/>
              <a:gd name="connsiteX70" fmla="*/ 3621427 w 4519987"/>
              <a:gd name="connsiteY70" fmla="*/ 4038600 h 4496940"/>
              <a:gd name="connsiteX71" fmla="*/ 3554752 w 4519987"/>
              <a:gd name="connsiteY71" fmla="*/ 4095750 h 4496940"/>
              <a:gd name="connsiteX72" fmla="*/ 3516652 w 4519987"/>
              <a:gd name="connsiteY72" fmla="*/ 4114800 h 4496940"/>
              <a:gd name="connsiteX73" fmla="*/ 3497602 w 4519987"/>
              <a:gd name="connsiteY73" fmla="*/ 4143375 h 4496940"/>
              <a:gd name="connsiteX74" fmla="*/ 3383302 w 4519987"/>
              <a:gd name="connsiteY74" fmla="*/ 4210050 h 4496940"/>
              <a:gd name="connsiteX75" fmla="*/ 3335677 w 4519987"/>
              <a:gd name="connsiteY75" fmla="*/ 4238625 h 4496940"/>
              <a:gd name="connsiteX76" fmla="*/ 3288052 w 4519987"/>
              <a:gd name="connsiteY76" fmla="*/ 4248150 h 4496940"/>
              <a:gd name="connsiteX77" fmla="*/ 3240427 w 4519987"/>
              <a:gd name="connsiteY77" fmla="*/ 4267200 h 4496940"/>
              <a:gd name="connsiteX78" fmla="*/ 3068977 w 4519987"/>
              <a:gd name="connsiteY78" fmla="*/ 4286250 h 4496940"/>
              <a:gd name="connsiteX79" fmla="*/ 2935627 w 4519987"/>
              <a:gd name="connsiteY79" fmla="*/ 4333875 h 4496940"/>
              <a:gd name="connsiteX80" fmla="*/ 2811802 w 4519987"/>
              <a:gd name="connsiteY80" fmla="*/ 4371975 h 4496940"/>
              <a:gd name="connsiteX81" fmla="*/ 2745127 w 4519987"/>
              <a:gd name="connsiteY81" fmla="*/ 4410075 h 4496940"/>
              <a:gd name="connsiteX82" fmla="*/ 2697502 w 4519987"/>
              <a:gd name="connsiteY82" fmla="*/ 4429125 h 4496940"/>
              <a:gd name="connsiteX83" fmla="*/ 2640352 w 4519987"/>
              <a:gd name="connsiteY83" fmla="*/ 4457700 h 4496940"/>
              <a:gd name="connsiteX84" fmla="*/ 2583202 w 4519987"/>
              <a:gd name="connsiteY84" fmla="*/ 4467225 h 4496940"/>
              <a:gd name="connsiteX85" fmla="*/ 2545102 w 4519987"/>
              <a:gd name="connsiteY85" fmla="*/ 4486275 h 4496940"/>
              <a:gd name="connsiteX86" fmla="*/ 2306977 w 4519987"/>
              <a:gd name="connsiteY86" fmla="*/ 4476750 h 4496940"/>
              <a:gd name="connsiteX87" fmla="*/ 2202202 w 4519987"/>
              <a:gd name="connsiteY87" fmla="*/ 4457700 h 4496940"/>
              <a:gd name="connsiteX88" fmla="*/ 2126002 w 4519987"/>
              <a:gd name="connsiteY88" fmla="*/ 4429125 h 4496940"/>
              <a:gd name="connsiteX89" fmla="*/ 1935502 w 4519987"/>
              <a:gd name="connsiteY89" fmla="*/ 4400550 h 4496940"/>
              <a:gd name="connsiteX90" fmla="*/ 1821202 w 4519987"/>
              <a:gd name="connsiteY90" fmla="*/ 4371975 h 4496940"/>
              <a:gd name="connsiteX91" fmla="*/ 1754527 w 4519987"/>
              <a:gd name="connsiteY91" fmla="*/ 4352925 h 4496940"/>
              <a:gd name="connsiteX92" fmla="*/ 1687852 w 4519987"/>
              <a:gd name="connsiteY92" fmla="*/ 4343400 h 4496940"/>
              <a:gd name="connsiteX93" fmla="*/ 1573552 w 4519987"/>
              <a:gd name="connsiteY93" fmla="*/ 4305300 h 4496940"/>
              <a:gd name="connsiteX94" fmla="*/ 1402102 w 4519987"/>
              <a:gd name="connsiteY94" fmla="*/ 4276725 h 4496940"/>
              <a:gd name="connsiteX95" fmla="*/ 1287802 w 4519987"/>
              <a:gd name="connsiteY95" fmla="*/ 4229100 h 4496940"/>
              <a:gd name="connsiteX96" fmla="*/ 1221127 w 4519987"/>
              <a:gd name="connsiteY96" fmla="*/ 4200525 h 4496940"/>
              <a:gd name="connsiteX97" fmla="*/ 1144927 w 4519987"/>
              <a:gd name="connsiteY97" fmla="*/ 4171950 h 4496940"/>
              <a:gd name="connsiteX98" fmla="*/ 1087777 w 4519987"/>
              <a:gd name="connsiteY98" fmla="*/ 4143375 h 4496940"/>
              <a:gd name="connsiteX99" fmla="*/ 1030627 w 4519987"/>
              <a:gd name="connsiteY99" fmla="*/ 4124325 h 4496940"/>
              <a:gd name="connsiteX100" fmla="*/ 925852 w 4519987"/>
              <a:gd name="connsiteY100" fmla="*/ 4067175 h 4496940"/>
              <a:gd name="connsiteX101" fmla="*/ 830602 w 4519987"/>
              <a:gd name="connsiteY101" fmla="*/ 3981450 h 4496940"/>
              <a:gd name="connsiteX102" fmla="*/ 763927 w 4519987"/>
              <a:gd name="connsiteY102" fmla="*/ 3914775 h 4496940"/>
              <a:gd name="connsiteX103" fmla="*/ 725827 w 4519987"/>
              <a:gd name="connsiteY103" fmla="*/ 3876675 h 4496940"/>
              <a:gd name="connsiteX104" fmla="*/ 697252 w 4519987"/>
              <a:gd name="connsiteY104" fmla="*/ 3838575 h 4496940"/>
              <a:gd name="connsiteX105" fmla="*/ 640102 w 4519987"/>
              <a:gd name="connsiteY105" fmla="*/ 3781425 h 4496940"/>
              <a:gd name="connsiteX106" fmla="*/ 611527 w 4519987"/>
              <a:gd name="connsiteY106" fmla="*/ 3733800 h 4496940"/>
              <a:gd name="connsiteX107" fmla="*/ 554377 w 4519987"/>
              <a:gd name="connsiteY107" fmla="*/ 3657600 h 4496940"/>
              <a:gd name="connsiteX108" fmla="*/ 525802 w 4519987"/>
              <a:gd name="connsiteY108" fmla="*/ 3609975 h 4496940"/>
              <a:gd name="connsiteX109" fmla="*/ 497227 w 4519987"/>
              <a:gd name="connsiteY109" fmla="*/ 3552825 h 4496940"/>
              <a:gd name="connsiteX110" fmla="*/ 440077 w 4519987"/>
              <a:gd name="connsiteY110" fmla="*/ 3495675 h 4496940"/>
              <a:gd name="connsiteX111" fmla="*/ 411502 w 4519987"/>
              <a:gd name="connsiteY111" fmla="*/ 3448050 h 4496940"/>
              <a:gd name="connsiteX112" fmla="*/ 278152 w 4519987"/>
              <a:gd name="connsiteY112" fmla="*/ 3257550 h 4496940"/>
              <a:gd name="connsiteX113" fmla="*/ 249577 w 4519987"/>
              <a:gd name="connsiteY113" fmla="*/ 3200400 h 4496940"/>
              <a:gd name="connsiteX114" fmla="*/ 240052 w 4519987"/>
              <a:gd name="connsiteY114" fmla="*/ 3162300 h 4496940"/>
              <a:gd name="connsiteX115" fmla="*/ 221002 w 4519987"/>
              <a:gd name="connsiteY115" fmla="*/ 3105150 h 4496940"/>
              <a:gd name="connsiteX116" fmla="*/ 173377 w 4519987"/>
              <a:gd name="connsiteY116" fmla="*/ 3019425 h 4496940"/>
              <a:gd name="connsiteX117" fmla="*/ 144802 w 4519987"/>
              <a:gd name="connsiteY117" fmla="*/ 2924175 h 4496940"/>
              <a:gd name="connsiteX118" fmla="*/ 68602 w 4519987"/>
              <a:gd name="connsiteY118" fmla="*/ 2724150 h 4496940"/>
              <a:gd name="connsiteX119" fmla="*/ 49552 w 4519987"/>
              <a:gd name="connsiteY119" fmla="*/ 2638425 h 4496940"/>
              <a:gd name="connsiteX120" fmla="*/ 40027 w 4519987"/>
              <a:gd name="connsiteY120" fmla="*/ 2562225 h 4496940"/>
              <a:gd name="connsiteX121" fmla="*/ 30502 w 4519987"/>
              <a:gd name="connsiteY121" fmla="*/ 2514600 h 4496940"/>
              <a:gd name="connsiteX122" fmla="*/ 11452 w 4519987"/>
              <a:gd name="connsiteY122" fmla="*/ 2400300 h 4496940"/>
              <a:gd name="connsiteX123" fmla="*/ 20977 w 4519987"/>
              <a:gd name="connsiteY123" fmla="*/ 1905000 h 4496940"/>
              <a:gd name="connsiteX124" fmla="*/ 30502 w 4519987"/>
              <a:gd name="connsiteY124" fmla="*/ 1838325 h 4496940"/>
              <a:gd name="connsiteX125" fmla="*/ 49552 w 4519987"/>
              <a:gd name="connsiteY125" fmla="*/ 1781175 h 4496940"/>
              <a:gd name="connsiteX126" fmla="*/ 59077 w 4519987"/>
              <a:gd name="connsiteY126" fmla="*/ 1743075 h 4496940"/>
              <a:gd name="connsiteX127" fmla="*/ 78127 w 4519987"/>
              <a:gd name="connsiteY127" fmla="*/ 1685925 h 4496940"/>
              <a:gd name="connsiteX128" fmla="*/ 87652 w 4519987"/>
              <a:gd name="connsiteY128" fmla="*/ 1638300 h 4496940"/>
              <a:gd name="connsiteX129" fmla="*/ 106702 w 4519987"/>
              <a:gd name="connsiteY129" fmla="*/ 1590675 h 4496940"/>
              <a:gd name="connsiteX130" fmla="*/ 135277 w 4519987"/>
              <a:gd name="connsiteY130" fmla="*/ 1504950 h 4496940"/>
              <a:gd name="connsiteX131" fmla="*/ 154327 w 4519987"/>
              <a:gd name="connsiteY131" fmla="*/ 1419225 h 4496940"/>
              <a:gd name="connsiteX132" fmla="*/ 230527 w 4519987"/>
              <a:gd name="connsiteY132" fmla="*/ 1276350 h 4496940"/>
              <a:gd name="connsiteX133" fmla="*/ 240052 w 4519987"/>
              <a:gd name="connsiteY133" fmla="*/ 1247775 h 4496940"/>
              <a:gd name="connsiteX134" fmla="*/ 268627 w 4519987"/>
              <a:gd name="connsiteY134" fmla="*/ 1200150 h 4496940"/>
              <a:gd name="connsiteX135" fmla="*/ 287677 w 4519987"/>
              <a:gd name="connsiteY135" fmla="*/ 1152525 h 4496940"/>
              <a:gd name="connsiteX136" fmla="*/ 316252 w 4519987"/>
              <a:gd name="connsiteY136" fmla="*/ 1114425 h 4496940"/>
              <a:gd name="connsiteX137" fmla="*/ 363877 w 4519987"/>
              <a:gd name="connsiteY137" fmla="*/ 1038225 h 4496940"/>
              <a:gd name="connsiteX138" fmla="*/ 382927 w 4519987"/>
              <a:gd name="connsiteY138" fmla="*/ 1009650 h 4496940"/>
              <a:gd name="connsiteX139" fmla="*/ 440077 w 4519987"/>
              <a:gd name="connsiteY139" fmla="*/ 904875 h 4496940"/>
              <a:gd name="connsiteX140" fmla="*/ 478177 w 4519987"/>
              <a:gd name="connsiteY140" fmla="*/ 857250 h 4496940"/>
              <a:gd name="connsiteX141" fmla="*/ 497227 w 4519987"/>
              <a:gd name="connsiteY141" fmla="*/ 828675 h 4496940"/>
              <a:gd name="connsiteX142" fmla="*/ 535327 w 4519987"/>
              <a:gd name="connsiteY142" fmla="*/ 800100 h 4496940"/>
              <a:gd name="connsiteX143" fmla="*/ 602002 w 4519987"/>
              <a:gd name="connsiteY143" fmla="*/ 733425 h 4496940"/>
              <a:gd name="connsiteX144" fmla="*/ 668677 w 4519987"/>
              <a:gd name="connsiteY144" fmla="*/ 676275 h 4496940"/>
              <a:gd name="connsiteX145" fmla="*/ 697252 w 4519987"/>
              <a:gd name="connsiteY145" fmla="*/ 657225 h 4496940"/>
              <a:gd name="connsiteX146" fmla="*/ 840127 w 4519987"/>
              <a:gd name="connsiteY146" fmla="*/ 533400 h 4496940"/>
              <a:gd name="connsiteX147" fmla="*/ 887752 w 4519987"/>
              <a:gd name="connsiteY147" fmla="*/ 504825 h 4496940"/>
              <a:gd name="connsiteX148" fmla="*/ 1167152 w 4519987"/>
              <a:gd name="connsiteY148" fmla="*/ 311150 h 4496940"/>
              <a:gd name="connsiteX149" fmla="*/ 1268752 w 4519987"/>
              <a:gd name="connsiteY149" fmla="*/ 285750 h 4496940"/>
              <a:gd name="connsiteX150" fmla="*/ 1411627 w 4519987"/>
              <a:gd name="connsiteY150" fmla="*/ 190500 h 4496940"/>
              <a:gd name="connsiteX151" fmla="*/ 1449727 w 4519987"/>
              <a:gd name="connsiteY151" fmla="*/ 161925 h 4496940"/>
              <a:gd name="connsiteX152" fmla="*/ 1525927 w 4519987"/>
              <a:gd name="connsiteY152" fmla="*/ 152400 h 4496940"/>
              <a:gd name="connsiteX153" fmla="*/ 1583077 w 4519987"/>
              <a:gd name="connsiteY153" fmla="*/ 142875 h 4496940"/>
              <a:gd name="connsiteX154" fmla="*/ 1716427 w 4519987"/>
              <a:gd name="connsiteY154" fmla="*/ 123825 h 4496940"/>
              <a:gd name="connsiteX155" fmla="*/ 1811677 w 4519987"/>
              <a:gd name="connsiteY155" fmla="*/ 114300 h 4496940"/>
              <a:gd name="connsiteX156" fmla="*/ 1859302 w 4519987"/>
              <a:gd name="connsiteY156" fmla="*/ 104775 h 4496940"/>
              <a:gd name="connsiteX157" fmla="*/ 1916452 w 4519987"/>
              <a:gd name="connsiteY157" fmla="*/ 95250 h 4496940"/>
              <a:gd name="connsiteX158" fmla="*/ 2030752 w 4519987"/>
              <a:gd name="connsiteY158" fmla="*/ 66675 h 4496940"/>
              <a:gd name="connsiteX159" fmla="*/ 2097427 w 4519987"/>
              <a:gd name="connsiteY159" fmla="*/ 47625 h 4496940"/>
              <a:gd name="connsiteX160" fmla="*/ 2164102 w 4519987"/>
              <a:gd name="connsiteY160" fmla="*/ 38100 h 4496940"/>
              <a:gd name="connsiteX161" fmla="*/ 2392702 w 4519987"/>
              <a:gd name="connsiteY16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354852 w 4519987"/>
              <a:gd name="connsiteY49" fmla="*/ 3057525 h 4496940"/>
              <a:gd name="connsiteX50" fmla="*/ 4278652 w 4519987"/>
              <a:gd name="connsiteY50" fmla="*/ 3248025 h 4496940"/>
              <a:gd name="connsiteX51" fmla="*/ 4259602 w 4519987"/>
              <a:gd name="connsiteY51" fmla="*/ 3276600 h 4496940"/>
              <a:gd name="connsiteX52" fmla="*/ 4221502 w 4519987"/>
              <a:gd name="connsiteY52" fmla="*/ 3333750 h 4496940"/>
              <a:gd name="connsiteX53" fmla="*/ 4211977 w 4519987"/>
              <a:gd name="connsiteY53" fmla="*/ 3362325 h 4496940"/>
              <a:gd name="connsiteX54" fmla="*/ 4183402 w 4519987"/>
              <a:gd name="connsiteY54" fmla="*/ 3400425 h 4496940"/>
              <a:gd name="connsiteX55" fmla="*/ 4164352 w 4519987"/>
              <a:gd name="connsiteY55" fmla="*/ 3429000 h 4496940"/>
              <a:gd name="connsiteX56" fmla="*/ 4088152 w 4519987"/>
              <a:gd name="connsiteY56" fmla="*/ 3495675 h 4496940"/>
              <a:gd name="connsiteX57" fmla="*/ 4059577 w 4519987"/>
              <a:gd name="connsiteY57" fmla="*/ 3533775 h 4496940"/>
              <a:gd name="connsiteX58" fmla="*/ 4002427 w 4519987"/>
              <a:gd name="connsiteY58" fmla="*/ 3600450 h 4496940"/>
              <a:gd name="connsiteX59" fmla="*/ 3983377 w 4519987"/>
              <a:gd name="connsiteY59" fmla="*/ 3629025 h 4496940"/>
              <a:gd name="connsiteX60" fmla="*/ 3954802 w 4519987"/>
              <a:gd name="connsiteY60" fmla="*/ 3648075 h 4496940"/>
              <a:gd name="connsiteX61" fmla="*/ 3907177 w 4519987"/>
              <a:gd name="connsiteY61" fmla="*/ 3686175 h 4496940"/>
              <a:gd name="connsiteX62" fmla="*/ 3869077 w 4519987"/>
              <a:gd name="connsiteY62" fmla="*/ 3724275 h 4496940"/>
              <a:gd name="connsiteX63" fmla="*/ 3792877 w 4519987"/>
              <a:gd name="connsiteY63" fmla="*/ 3781425 h 4496940"/>
              <a:gd name="connsiteX64" fmla="*/ 3783352 w 4519987"/>
              <a:gd name="connsiteY64" fmla="*/ 3810000 h 4496940"/>
              <a:gd name="connsiteX65" fmla="*/ 3745252 w 4519987"/>
              <a:gd name="connsiteY65" fmla="*/ 3819525 h 4496940"/>
              <a:gd name="connsiteX66" fmla="*/ 3678577 w 4519987"/>
              <a:gd name="connsiteY66" fmla="*/ 3848100 h 4496940"/>
              <a:gd name="connsiteX67" fmla="*/ 3659527 w 4519987"/>
              <a:gd name="connsiteY67" fmla="*/ 3971925 h 4496940"/>
              <a:gd name="connsiteX68" fmla="*/ 3630952 w 4519987"/>
              <a:gd name="connsiteY68" fmla="*/ 4010025 h 4496940"/>
              <a:gd name="connsiteX69" fmla="*/ 3621427 w 4519987"/>
              <a:gd name="connsiteY69" fmla="*/ 4038600 h 4496940"/>
              <a:gd name="connsiteX70" fmla="*/ 3554752 w 4519987"/>
              <a:gd name="connsiteY70" fmla="*/ 4095750 h 4496940"/>
              <a:gd name="connsiteX71" fmla="*/ 3516652 w 4519987"/>
              <a:gd name="connsiteY71" fmla="*/ 4114800 h 4496940"/>
              <a:gd name="connsiteX72" fmla="*/ 3497602 w 4519987"/>
              <a:gd name="connsiteY72" fmla="*/ 4143375 h 4496940"/>
              <a:gd name="connsiteX73" fmla="*/ 3383302 w 4519987"/>
              <a:gd name="connsiteY73" fmla="*/ 4210050 h 4496940"/>
              <a:gd name="connsiteX74" fmla="*/ 3335677 w 4519987"/>
              <a:gd name="connsiteY74" fmla="*/ 4238625 h 4496940"/>
              <a:gd name="connsiteX75" fmla="*/ 3288052 w 4519987"/>
              <a:gd name="connsiteY75" fmla="*/ 4248150 h 4496940"/>
              <a:gd name="connsiteX76" fmla="*/ 3240427 w 4519987"/>
              <a:gd name="connsiteY76" fmla="*/ 4267200 h 4496940"/>
              <a:gd name="connsiteX77" fmla="*/ 3068977 w 4519987"/>
              <a:gd name="connsiteY77" fmla="*/ 4286250 h 4496940"/>
              <a:gd name="connsiteX78" fmla="*/ 2935627 w 4519987"/>
              <a:gd name="connsiteY78" fmla="*/ 4333875 h 4496940"/>
              <a:gd name="connsiteX79" fmla="*/ 2811802 w 4519987"/>
              <a:gd name="connsiteY79" fmla="*/ 4371975 h 4496940"/>
              <a:gd name="connsiteX80" fmla="*/ 2745127 w 4519987"/>
              <a:gd name="connsiteY80" fmla="*/ 4410075 h 4496940"/>
              <a:gd name="connsiteX81" fmla="*/ 2697502 w 4519987"/>
              <a:gd name="connsiteY81" fmla="*/ 4429125 h 4496940"/>
              <a:gd name="connsiteX82" fmla="*/ 2640352 w 4519987"/>
              <a:gd name="connsiteY82" fmla="*/ 4457700 h 4496940"/>
              <a:gd name="connsiteX83" fmla="*/ 2583202 w 4519987"/>
              <a:gd name="connsiteY83" fmla="*/ 4467225 h 4496940"/>
              <a:gd name="connsiteX84" fmla="*/ 2545102 w 4519987"/>
              <a:gd name="connsiteY84" fmla="*/ 4486275 h 4496940"/>
              <a:gd name="connsiteX85" fmla="*/ 2306977 w 4519987"/>
              <a:gd name="connsiteY85" fmla="*/ 4476750 h 4496940"/>
              <a:gd name="connsiteX86" fmla="*/ 2202202 w 4519987"/>
              <a:gd name="connsiteY86" fmla="*/ 4457700 h 4496940"/>
              <a:gd name="connsiteX87" fmla="*/ 2126002 w 4519987"/>
              <a:gd name="connsiteY87" fmla="*/ 4429125 h 4496940"/>
              <a:gd name="connsiteX88" fmla="*/ 1935502 w 4519987"/>
              <a:gd name="connsiteY88" fmla="*/ 4400550 h 4496940"/>
              <a:gd name="connsiteX89" fmla="*/ 1821202 w 4519987"/>
              <a:gd name="connsiteY89" fmla="*/ 4371975 h 4496940"/>
              <a:gd name="connsiteX90" fmla="*/ 1754527 w 4519987"/>
              <a:gd name="connsiteY90" fmla="*/ 4352925 h 4496940"/>
              <a:gd name="connsiteX91" fmla="*/ 1687852 w 4519987"/>
              <a:gd name="connsiteY91" fmla="*/ 4343400 h 4496940"/>
              <a:gd name="connsiteX92" fmla="*/ 1573552 w 4519987"/>
              <a:gd name="connsiteY92" fmla="*/ 4305300 h 4496940"/>
              <a:gd name="connsiteX93" fmla="*/ 1402102 w 4519987"/>
              <a:gd name="connsiteY93" fmla="*/ 4276725 h 4496940"/>
              <a:gd name="connsiteX94" fmla="*/ 1287802 w 4519987"/>
              <a:gd name="connsiteY94" fmla="*/ 4229100 h 4496940"/>
              <a:gd name="connsiteX95" fmla="*/ 1221127 w 4519987"/>
              <a:gd name="connsiteY95" fmla="*/ 4200525 h 4496940"/>
              <a:gd name="connsiteX96" fmla="*/ 1144927 w 4519987"/>
              <a:gd name="connsiteY96" fmla="*/ 4171950 h 4496940"/>
              <a:gd name="connsiteX97" fmla="*/ 1087777 w 4519987"/>
              <a:gd name="connsiteY97" fmla="*/ 4143375 h 4496940"/>
              <a:gd name="connsiteX98" fmla="*/ 1030627 w 4519987"/>
              <a:gd name="connsiteY98" fmla="*/ 4124325 h 4496940"/>
              <a:gd name="connsiteX99" fmla="*/ 925852 w 4519987"/>
              <a:gd name="connsiteY99" fmla="*/ 4067175 h 4496940"/>
              <a:gd name="connsiteX100" fmla="*/ 830602 w 4519987"/>
              <a:gd name="connsiteY100" fmla="*/ 3981450 h 4496940"/>
              <a:gd name="connsiteX101" fmla="*/ 763927 w 4519987"/>
              <a:gd name="connsiteY101" fmla="*/ 3914775 h 4496940"/>
              <a:gd name="connsiteX102" fmla="*/ 725827 w 4519987"/>
              <a:gd name="connsiteY102" fmla="*/ 3876675 h 4496940"/>
              <a:gd name="connsiteX103" fmla="*/ 697252 w 4519987"/>
              <a:gd name="connsiteY103" fmla="*/ 3838575 h 4496940"/>
              <a:gd name="connsiteX104" fmla="*/ 640102 w 4519987"/>
              <a:gd name="connsiteY104" fmla="*/ 3781425 h 4496940"/>
              <a:gd name="connsiteX105" fmla="*/ 611527 w 4519987"/>
              <a:gd name="connsiteY105" fmla="*/ 3733800 h 4496940"/>
              <a:gd name="connsiteX106" fmla="*/ 554377 w 4519987"/>
              <a:gd name="connsiteY106" fmla="*/ 3657600 h 4496940"/>
              <a:gd name="connsiteX107" fmla="*/ 525802 w 4519987"/>
              <a:gd name="connsiteY107" fmla="*/ 3609975 h 4496940"/>
              <a:gd name="connsiteX108" fmla="*/ 497227 w 4519987"/>
              <a:gd name="connsiteY108" fmla="*/ 3552825 h 4496940"/>
              <a:gd name="connsiteX109" fmla="*/ 440077 w 4519987"/>
              <a:gd name="connsiteY109" fmla="*/ 3495675 h 4496940"/>
              <a:gd name="connsiteX110" fmla="*/ 411502 w 4519987"/>
              <a:gd name="connsiteY110" fmla="*/ 3448050 h 4496940"/>
              <a:gd name="connsiteX111" fmla="*/ 278152 w 4519987"/>
              <a:gd name="connsiteY111" fmla="*/ 3257550 h 4496940"/>
              <a:gd name="connsiteX112" fmla="*/ 249577 w 4519987"/>
              <a:gd name="connsiteY112" fmla="*/ 3200400 h 4496940"/>
              <a:gd name="connsiteX113" fmla="*/ 240052 w 4519987"/>
              <a:gd name="connsiteY113" fmla="*/ 3162300 h 4496940"/>
              <a:gd name="connsiteX114" fmla="*/ 221002 w 4519987"/>
              <a:gd name="connsiteY114" fmla="*/ 3105150 h 4496940"/>
              <a:gd name="connsiteX115" fmla="*/ 173377 w 4519987"/>
              <a:gd name="connsiteY115" fmla="*/ 3019425 h 4496940"/>
              <a:gd name="connsiteX116" fmla="*/ 144802 w 4519987"/>
              <a:gd name="connsiteY116" fmla="*/ 2924175 h 4496940"/>
              <a:gd name="connsiteX117" fmla="*/ 68602 w 4519987"/>
              <a:gd name="connsiteY117" fmla="*/ 2724150 h 4496940"/>
              <a:gd name="connsiteX118" fmla="*/ 49552 w 4519987"/>
              <a:gd name="connsiteY118" fmla="*/ 2638425 h 4496940"/>
              <a:gd name="connsiteX119" fmla="*/ 40027 w 4519987"/>
              <a:gd name="connsiteY119" fmla="*/ 2562225 h 4496940"/>
              <a:gd name="connsiteX120" fmla="*/ 30502 w 4519987"/>
              <a:gd name="connsiteY120" fmla="*/ 2514600 h 4496940"/>
              <a:gd name="connsiteX121" fmla="*/ 11452 w 4519987"/>
              <a:gd name="connsiteY121" fmla="*/ 2400300 h 4496940"/>
              <a:gd name="connsiteX122" fmla="*/ 20977 w 4519987"/>
              <a:gd name="connsiteY122" fmla="*/ 1905000 h 4496940"/>
              <a:gd name="connsiteX123" fmla="*/ 30502 w 4519987"/>
              <a:gd name="connsiteY123" fmla="*/ 1838325 h 4496940"/>
              <a:gd name="connsiteX124" fmla="*/ 49552 w 4519987"/>
              <a:gd name="connsiteY124" fmla="*/ 1781175 h 4496940"/>
              <a:gd name="connsiteX125" fmla="*/ 59077 w 4519987"/>
              <a:gd name="connsiteY125" fmla="*/ 1743075 h 4496940"/>
              <a:gd name="connsiteX126" fmla="*/ 78127 w 4519987"/>
              <a:gd name="connsiteY126" fmla="*/ 1685925 h 4496940"/>
              <a:gd name="connsiteX127" fmla="*/ 87652 w 4519987"/>
              <a:gd name="connsiteY127" fmla="*/ 1638300 h 4496940"/>
              <a:gd name="connsiteX128" fmla="*/ 106702 w 4519987"/>
              <a:gd name="connsiteY128" fmla="*/ 1590675 h 4496940"/>
              <a:gd name="connsiteX129" fmla="*/ 135277 w 4519987"/>
              <a:gd name="connsiteY129" fmla="*/ 1504950 h 4496940"/>
              <a:gd name="connsiteX130" fmla="*/ 154327 w 4519987"/>
              <a:gd name="connsiteY130" fmla="*/ 1419225 h 4496940"/>
              <a:gd name="connsiteX131" fmla="*/ 230527 w 4519987"/>
              <a:gd name="connsiteY131" fmla="*/ 1276350 h 4496940"/>
              <a:gd name="connsiteX132" fmla="*/ 240052 w 4519987"/>
              <a:gd name="connsiteY132" fmla="*/ 1247775 h 4496940"/>
              <a:gd name="connsiteX133" fmla="*/ 268627 w 4519987"/>
              <a:gd name="connsiteY133" fmla="*/ 1200150 h 4496940"/>
              <a:gd name="connsiteX134" fmla="*/ 287677 w 4519987"/>
              <a:gd name="connsiteY134" fmla="*/ 1152525 h 4496940"/>
              <a:gd name="connsiteX135" fmla="*/ 316252 w 4519987"/>
              <a:gd name="connsiteY135" fmla="*/ 1114425 h 4496940"/>
              <a:gd name="connsiteX136" fmla="*/ 363877 w 4519987"/>
              <a:gd name="connsiteY136" fmla="*/ 1038225 h 4496940"/>
              <a:gd name="connsiteX137" fmla="*/ 382927 w 4519987"/>
              <a:gd name="connsiteY137" fmla="*/ 1009650 h 4496940"/>
              <a:gd name="connsiteX138" fmla="*/ 440077 w 4519987"/>
              <a:gd name="connsiteY138" fmla="*/ 904875 h 4496940"/>
              <a:gd name="connsiteX139" fmla="*/ 478177 w 4519987"/>
              <a:gd name="connsiteY139" fmla="*/ 857250 h 4496940"/>
              <a:gd name="connsiteX140" fmla="*/ 497227 w 4519987"/>
              <a:gd name="connsiteY140" fmla="*/ 828675 h 4496940"/>
              <a:gd name="connsiteX141" fmla="*/ 535327 w 4519987"/>
              <a:gd name="connsiteY141" fmla="*/ 800100 h 4496940"/>
              <a:gd name="connsiteX142" fmla="*/ 602002 w 4519987"/>
              <a:gd name="connsiteY142" fmla="*/ 733425 h 4496940"/>
              <a:gd name="connsiteX143" fmla="*/ 668677 w 4519987"/>
              <a:gd name="connsiteY143" fmla="*/ 676275 h 4496940"/>
              <a:gd name="connsiteX144" fmla="*/ 697252 w 4519987"/>
              <a:gd name="connsiteY144" fmla="*/ 657225 h 4496940"/>
              <a:gd name="connsiteX145" fmla="*/ 840127 w 4519987"/>
              <a:gd name="connsiteY145" fmla="*/ 533400 h 4496940"/>
              <a:gd name="connsiteX146" fmla="*/ 887752 w 4519987"/>
              <a:gd name="connsiteY146" fmla="*/ 504825 h 4496940"/>
              <a:gd name="connsiteX147" fmla="*/ 1167152 w 4519987"/>
              <a:gd name="connsiteY147" fmla="*/ 311150 h 4496940"/>
              <a:gd name="connsiteX148" fmla="*/ 1268752 w 4519987"/>
              <a:gd name="connsiteY148" fmla="*/ 285750 h 4496940"/>
              <a:gd name="connsiteX149" fmla="*/ 1411627 w 4519987"/>
              <a:gd name="connsiteY149" fmla="*/ 190500 h 4496940"/>
              <a:gd name="connsiteX150" fmla="*/ 1449727 w 4519987"/>
              <a:gd name="connsiteY150" fmla="*/ 161925 h 4496940"/>
              <a:gd name="connsiteX151" fmla="*/ 1525927 w 4519987"/>
              <a:gd name="connsiteY151" fmla="*/ 152400 h 4496940"/>
              <a:gd name="connsiteX152" fmla="*/ 1583077 w 4519987"/>
              <a:gd name="connsiteY152" fmla="*/ 142875 h 4496940"/>
              <a:gd name="connsiteX153" fmla="*/ 1716427 w 4519987"/>
              <a:gd name="connsiteY153" fmla="*/ 123825 h 4496940"/>
              <a:gd name="connsiteX154" fmla="*/ 1811677 w 4519987"/>
              <a:gd name="connsiteY154" fmla="*/ 114300 h 4496940"/>
              <a:gd name="connsiteX155" fmla="*/ 1859302 w 4519987"/>
              <a:gd name="connsiteY155" fmla="*/ 104775 h 4496940"/>
              <a:gd name="connsiteX156" fmla="*/ 1916452 w 4519987"/>
              <a:gd name="connsiteY156" fmla="*/ 95250 h 4496940"/>
              <a:gd name="connsiteX157" fmla="*/ 2030752 w 4519987"/>
              <a:gd name="connsiteY157" fmla="*/ 66675 h 4496940"/>
              <a:gd name="connsiteX158" fmla="*/ 2097427 w 4519987"/>
              <a:gd name="connsiteY158" fmla="*/ 47625 h 4496940"/>
              <a:gd name="connsiteX159" fmla="*/ 2164102 w 4519987"/>
              <a:gd name="connsiteY159" fmla="*/ 38100 h 4496940"/>
              <a:gd name="connsiteX160" fmla="*/ 2392702 w 4519987"/>
              <a:gd name="connsiteY16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278652 w 4519987"/>
              <a:gd name="connsiteY49" fmla="*/ 3248025 h 4496940"/>
              <a:gd name="connsiteX50" fmla="*/ 4259602 w 4519987"/>
              <a:gd name="connsiteY50" fmla="*/ 3276600 h 4496940"/>
              <a:gd name="connsiteX51" fmla="*/ 4221502 w 4519987"/>
              <a:gd name="connsiteY51" fmla="*/ 3333750 h 4496940"/>
              <a:gd name="connsiteX52" fmla="*/ 4211977 w 4519987"/>
              <a:gd name="connsiteY52" fmla="*/ 3362325 h 4496940"/>
              <a:gd name="connsiteX53" fmla="*/ 4183402 w 4519987"/>
              <a:gd name="connsiteY53" fmla="*/ 3400425 h 4496940"/>
              <a:gd name="connsiteX54" fmla="*/ 4164352 w 4519987"/>
              <a:gd name="connsiteY54" fmla="*/ 3429000 h 4496940"/>
              <a:gd name="connsiteX55" fmla="*/ 4088152 w 4519987"/>
              <a:gd name="connsiteY55" fmla="*/ 3495675 h 4496940"/>
              <a:gd name="connsiteX56" fmla="*/ 4059577 w 4519987"/>
              <a:gd name="connsiteY56" fmla="*/ 3533775 h 4496940"/>
              <a:gd name="connsiteX57" fmla="*/ 4002427 w 4519987"/>
              <a:gd name="connsiteY57" fmla="*/ 3600450 h 4496940"/>
              <a:gd name="connsiteX58" fmla="*/ 3983377 w 4519987"/>
              <a:gd name="connsiteY58" fmla="*/ 3629025 h 4496940"/>
              <a:gd name="connsiteX59" fmla="*/ 3954802 w 4519987"/>
              <a:gd name="connsiteY59" fmla="*/ 3648075 h 4496940"/>
              <a:gd name="connsiteX60" fmla="*/ 3907177 w 4519987"/>
              <a:gd name="connsiteY60" fmla="*/ 3686175 h 4496940"/>
              <a:gd name="connsiteX61" fmla="*/ 3869077 w 4519987"/>
              <a:gd name="connsiteY61" fmla="*/ 3724275 h 4496940"/>
              <a:gd name="connsiteX62" fmla="*/ 3792877 w 4519987"/>
              <a:gd name="connsiteY62" fmla="*/ 3781425 h 4496940"/>
              <a:gd name="connsiteX63" fmla="*/ 3783352 w 4519987"/>
              <a:gd name="connsiteY63" fmla="*/ 3810000 h 4496940"/>
              <a:gd name="connsiteX64" fmla="*/ 3745252 w 4519987"/>
              <a:gd name="connsiteY64" fmla="*/ 3819525 h 4496940"/>
              <a:gd name="connsiteX65" fmla="*/ 3678577 w 4519987"/>
              <a:gd name="connsiteY65" fmla="*/ 3848100 h 4496940"/>
              <a:gd name="connsiteX66" fmla="*/ 3659527 w 4519987"/>
              <a:gd name="connsiteY66" fmla="*/ 3971925 h 4496940"/>
              <a:gd name="connsiteX67" fmla="*/ 3630952 w 4519987"/>
              <a:gd name="connsiteY67" fmla="*/ 4010025 h 4496940"/>
              <a:gd name="connsiteX68" fmla="*/ 3621427 w 4519987"/>
              <a:gd name="connsiteY68" fmla="*/ 4038600 h 4496940"/>
              <a:gd name="connsiteX69" fmla="*/ 3554752 w 4519987"/>
              <a:gd name="connsiteY69" fmla="*/ 4095750 h 4496940"/>
              <a:gd name="connsiteX70" fmla="*/ 3516652 w 4519987"/>
              <a:gd name="connsiteY70" fmla="*/ 4114800 h 4496940"/>
              <a:gd name="connsiteX71" fmla="*/ 3497602 w 4519987"/>
              <a:gd name="connsiteY71" fmla="*/ 4143375 h 4496940"/>
              <a:gd name="connsiteX72" fmla="*/ 3383302 w 4519987"/>
              <a:gd name="connsiteY72" fmla="*/ 4210050 h 4496940"/>
              <a:gd name="connsiteX73" fmla="*/ 3335677 w 4519987"/>
              <a:gd name="connsiteY73" fmla="*/ 4238625 h 4496940"/>
              <a:gd name="connsiteX74" fmla="*/ 3288052 w 4519987"/>
              <a:gd name="connsiteY74" fmla="*/ 4248150 h 4496940"/>
              <a:gd name="connsiteX75" fmla="*/ 3240427 w 4519987"/>
              <a:gd name="connsiteY75" fmla="*/ 4267200 h 4496940"/>
              <a:gd name="connsiteX76" fmla="*/ 3068977 w 4519987"/>
              <a:gd name="connsiteY76" fmla="*/ 4286250 h 4496940"/>
              <a:gd name="connsiteX77" fmla="*/ 2935627 w 4519987"/>
              <a:gd name="connsiteY77" fmla="*/ 4333875 h 4496940"/>
              <a:gd name="connsiteX78" fmla="*/ 2811802 w 4519987"/>
              <a:gd name="connsiteY78" fmla="*/ 4371975 h 4496940"/>
              <a:gd name="connsiteX79" fmla="*/ 2745127 w 4519987"/>
              <a:gd name="connsiteY79" fmla="*/ 4410075 h 4496940"/>
              <a:gd name="connsiteX80" fmla="*/ 2697502 w 4519987"/>
              <a:gd name="connsiteY80" fmla="*/ 4429125 h 4496940"/>
              <a:gd name="connsiteX81" fmla="*/ 2640352 w 4519987"/>
              <a:gd name="connsiteY81" fmla="*/ 4457700 h 4496940"/>
              <a:gd name="connsiteX82" fmla="*/ 2583202 w 4519987"/>
              <a:gd name="connsiteY82" fmla="*/ 4467225 h 4496940"/>
              <a:gd name="connsiteX83" fmla="*/ 2545102 w 4519987"/>
              <a:gd name="connsiteY83" fmla="*/ 4486275 h 4496940"/>
              <a:gd name="connsiteX84" fmla="*/ 2306977 w 4519987"/>
              <a:gd name="connsiteY84" fmla="*/ 4476750 h 4496940"/>
              <a:gd name="connsiteX85" fmla="*/ 2202202 w 4519987"/>
              <a:gd name="connsiteY85" fmla="*/ 4457700 h 4496940"/>
              <a:gd name="connsiteX86" fmla="*/ 2126002 w 4519987"/>
              <a:gd name="connsiteY86" fmla="*/ 4429125 h 4496940"/>
              <a:gd name="connsiteX87" fmla="*/ 1935502 w 4519987"/>
              <a:gd name="connsiteY87" fmla="*/ 4400550 h 4496940"/>
              <a:gd name="connsiteX88" fmla="*/ 1821202 w 4519987"/>
              <a:gd name="connsiteY88" fmla="*/ 4371975 h 4496940"/>
              <a:gd name="connsiteX89" fmla="*/ 1754527 w 4519987"/>
              <a:gd name="connsiteY89" fmla="*/ 4352925 h 4496940"/>
              <a:gd name="connsiteX90" fmla="*/ 1687852 w 4519987"/>
              <a:gd name="connsiteY90" fmla="*/ 4343400 h 4496940"/>
              <a:gd name="connsiteX91" fmla="*/ 1573552 w 4519987"/>
              <a:gd name="connsiteY91" fmla="*/ 4305300 h 4496940"/>
              <a:gd name="connsiteX92" fmla="*/ 1402102 w 4519987"/>
              <a:gd name="connsiteY92" fmla="*/ 4276725 h 4496940"/>
              <a:gd name="connsiteX93" fmla="*/ 1287802 w 4519987"/>
              <a:gd name="connsiteY93" fmla="*/ 4229100 h 4496940"/>
              <a:gd name="connsiteX94" fmla="*/ 1221127 w 4519987"/>
              <a:gd name="connsiteY94" fmla="*/ 4200525 h 4496940"/>
              <a:gd name="connsiteX95" fmla="*/ 1144927 w 4519987"/>
              <a:gd name="connsiteY95" fmla="*/ 4171950 h 4496940"/>
              <a:gd name="connsiteX96" fmla="*/ 1087777 w 4519987"/>
              <a:gd name="connsiteY96" fmla="*/ 4143375 h 4496940"/>
              <a:gd name="connsiteX97" fmla="*/ 1030627 w 4519987"/>
              <a:gd name="connsiteY97" fmla="*/ 4124325 h 4496940"/>
              <a:gd name="connsiteX98" fmla="*/ 925852 w 4519987"/>
              <a:gd name="connsiteY98" fmla="*/ 4067175 h 4496940"/>
              <a:gd name="connsiteX99" fmla="*/ 830602 w 4519987"/>
              <a:gd name="connsiteY99" fmla="*/ 3981450 h 4496940"/>
              <a:gd name="connsiteX100" fmla="*/ 763927 w 4519987"/>
              <a:gd name="connsiteY100" fmla="*/ 3914775 h 4496940"/>
              <a:gd name="connsiteX101" fmla="*/ 725827 w 4519987"/>
              <a:gd name="connsiteY101" fmla="*/ 3876675 h 4496940"/>
              <a:gd name="connsiteX102" fmla="*/ 697252 w 4519987"/>
              <a:gd name="connsiteY102" fmla="*/ 3838575 h 4496940"/>
              <a:gd name="connsiteX103" fmla="*/ 640102 w 4519987"/>
              <a:gd name="connsiteY103" fmla="*/ 3781425 h 4496940"/>
              <a:gd name="connsiteX104" fmla="*/ 611527 w 4519987"/>
              <a:gd name="connsiteY104" fmla="*/ 3733800 h 4496940"/>
              <a:gd name="connsiteX105" fmla="*/ 554377 w 4519987"/>
              <a:gd name="connsiteY105" fmla="*/ 3657600 h 4496940"/>
              <a:gd name="connsiteX106" fmla="*/ 525802 w 4519987"/>
              <a:gd name="connsiteY106" fmla="*/ 3609975 h 4496940"/>
              <a:gd name="connsiteX107" fmla="*/ 497227 w 4519987"/>
              <a:gd name="connsiteY107" fmla="*/ 3552825 h 4496940"/>
              <a:gd name="connsiteX108" fmla="*/ 440077 w 4519987"/>
              <a:gd name="connsiteY108" fmla="*/ 3495675 h 4496940"/>
              <a:gd name="connsiteX109" fmla="*/ 411502 w 4519987"/>
              <a:gd name="connsiteY109" fmla="*/ 3448050 h 4496940"/>
              <a:gd name="connsiteX110" fmla="*/ 278152 w 4519987"/>
              <a:gd name="connsiteY110" fmla="*/ 3257550 h 4496940"/>
              <a:gd name="connsiteX111" fmla="*/ 249577 w 4519987"/>
              <a:gd name="connsiteY111" fmla="*/ 3200400 h 4496940"/>
              <a:gd name="connsiteX112" fmla="*/ 240052 w 4519987"/>
              <a:gd name="connsiteY112" fmla="*/ 3162300 h 4496940"/>
              <a:gd name="connsiteX113" fmla="*/ 221002 w 4519987"/>
              <a:gd name="connsiteY113" fmla="*/ 3105150 h 4496940"/>
              <a:gd name="connsiteX114" fmla="*/ 173377 w 4519987"/>
              <a:gd name="connsiteY114" fmla="*/ 3019425 h 4496940"/>
              <a:gd name="connsiteX115" fmla="*/ 144802 w 4519987"/>
              <a:gd name="connsiteY115" fmla="*/ 2924175 h 4496940"/>
              <a:gd name="connsiteX116" fmla="*/ 68602 w 4519987"/>
              <a:gd name="connsiteY116" fmla="*/ 2724150 h 4496940"/>
              <a:gd name="connsiteX117" fmla="*/ 49552 w 4519987"/>
              <a:gd name="connsiteY117" fmla="*/ 2638425 h 4496940"/>
              <a:gd name="connsiteX118" fmla="*/ 40027 w 4519987"/>
              <a:gd name="connsiteY118" fmla="*/ 2562225 h 4496940"/>
              <a:gd name="connsiteX119" fmla="*/ 30502 w 4519987"/>
              <a:gd name="connsiteY119" fmla="*/ 2514600 h 4496940"/>
              <a:gd name="connsiteX120" fmla="*/ 11452 w 4519987"/>
              <a:gd name="connsiteY120" fmla="*/ 2400300 h 4496940"/>
              <a:gd name="connsiteX121" fmla="*/ 20977 w 4519987"/>
              <a:gd name="connsiteY121" fmla="*/ 1905000 h 4496940"/>
              <a:gd name="connsiteX122" fmla="*/ 30502 w 4519987"/>
              <a:gd name="connsiteY122" fmla="*/ 1838325 h 4496940"/>
              <a:gd name="connsiteX123" fmla="*/ 49552 w 4519987"/>
              <a:gd name="connsiteY123" fmla="*/ 1781175 h 4496940"/>
              <a:gd name="connsiteX124" fmla="*/ 59077 w 4519987"/>
              <a:gd name="connsiteY124" fmla="*/ 1743075 h 4496940"/>
              <a:gd name="connsiteX125" fmla="*/ 78127 w 4519987"/>
              <a:gd name="connsiteY125" fmla="*/ 1685925 h 4496940"/>
              <a:gd name="connsiteX126" fmla="*/ 87652 w 4519987"/>
              <a:gd name="connsiteY126" fmla="*/ 1638300 h 4496940"/>
              <a:gd name="connsiteX127" fmla="*/ 106702 w 4519987"/>
              <a:gd name="connsiteY127" fmla="*/ 1590675 h 4496940"/>
              <a:gd name="connsiteX128" fmla="*/ 135277 w 4519987"/>
              <a:gd name="connsiteY128" fmla="*/ 1504950 h 4496940"/>
              <a:gd name="connsiteX129" fmla="*/ 154327 w 4519987"/>
              <a:gd name="connsiteY129" fmla="*/ 1419225 h 4496940"/>
              <a:gd name="connsiteX130" fmla="*/ 230527 w 4519987"/>
              <a:gd name="connsiteY130" fmla="*/ 1276350 h 4496940"/>
              <a:gd name="connsiteX131" fmla="*/ 240052 w 4519987"/>
              <a:gd name="connsiteY131" fmla="*/ 1247775 h 4496940"/>
              <a:gd name="connsiteX132" fmla="*/ 268627 w 4519987"/>
              <a:gd name="connsiteY132" fmla="*/ 1200150 h 4496940"/>
              <a:gd name="connsiteX133" fmla="*/ 287677 w 4519987"/>
              <a:gd name="connsiteY133" fmla="*/ 1152525 h 4496940"/>
              <a:gd name="connsiteX134" fmla="*/ 316252 w 4519987"/>
              <a:gd name="connsiteY134" fmla="*/ 1114425 h 4496940"/>
              <a:gd name="connsiteX135" fmla="*/ 363877 w 4519987"/>
              <a:gd name="connsiteY135" fmla="*/ 1038225 h 4496940"/>
              <a:gd name="connsiteX136" fmla="*/ 382927 w 4519987"/>
              <a:gd name="connsiteY136" fmla="*/ 1009650 h 4496940"/>
              <a:gd name="connsiteX137" fmla="*/ 440077 w 4519987"/>
              <a:gd name="connsiteY137" fmla="*/ 904875 h 4496940"/>
              <a:gd name="connsiteX138" fmla="*/ 478177 w 4519987"/>
              <a:gd name="connsiteY138" fmla="*/ 857250 h 4496940"/>
              <a:gd name="connsiteX139" fmla="*/ 497227 w 4519987"/>
              <a:gd name="connsiteY139" fmla="*/ 828675 h 4496940"/>
              <a:gd name="connsiteX140" fmla="*/ 535327 w 4519987"/>
              <a:gd name="connsiteY140" fmla="*/ 800100 h 4496940"/>
              <a:gd name="connsiteX141" fmla="*/ 602002 w 4519987"/>
              <a:gd name="connsiteY141" fmla="*/ 733425 h 4496940"/>
              <a:gd name="connsiteX142" fmla="*/ 668677 w 4519987"/>
              <a:gd name="connsiteY142" fmla="*/ 676275 h 4496940"/>
              <a:gd name="connsiteX143" fmla="*/ 697252 w 4519987"/>
              <a:gd name="connsiteY143" fmla="*/ 657225 h 4496940"/>
              <a:gd name="connsiteX144" fmla="*/ 840127 w 4519987"/>
              <a:gd name="connsiteY144" fmla="*/ 533400 h 4496940"/>
              <a:gd name="connsiteX145" fmla="*/ 887752 w 4519987"/>
              <a:gd name="connsiteY145" fmla="*/ 504825 h 4496940"/>
              <a:gd name="connsiteX146" fmla="*/ 1167152 w 4519987"/>
              <a:gd name="connsiteY146" fmla="*/ 311150 h 4496940"/>
              <a:gd name="connsiteX147" fmla="*/ 1268752 w 4519987"/>
              <a:gd name="connsiteY147" fmla="*/ 285750 h 4496940"/>
              <a:gd name="connsiteX148" fmla="*/ 1411627 w 4519987"/>
              <a:gd name="connsiteY148" fmla="*/ 190500 h 4496940"/>
              <a:gd name="connsiteX149" fmla="*/ 1449727 w 4519987"/>
              <a:gd name="connsiteY149" fmla="*/ 161925 h 4496940"/>
              <a:gd name="connsiteX150" fmla="*/ 1525927 w 4519987"/>
              <a:gd name="connsiteY150" fmla="*/ 152400 h 4496940"/>
              <a:gd name="connsiteX151" fmla="*/ 1583077 w 4519987"/>
              <a:gd name="connsiteY151" fmla="*/ 142875 h 4496940"/>
              <a:gd name="connsiteX152" fmla="*/ 1716427 w 4519987"/>
              <a:gd name="connsiteY152" fmla="*/ 123825 h 4496940"/>
              <a:gd name="connsiteX153" fmla="*/ 1811677 w 4519987"/>
              <a:gd name="connsiteY153" fmla="*/ 114300 h 4496940"/>
              <a:gd name="connsiteX154" fmla="*/ 1859302 w 4519987"/>
              <a:gd name="connsiteY154" fmla="*/ 104775 h 4496940"/>
              <a:gd name="connsiteX155" fmla="*/ 1916452 w 4519987"/>
              <a:gd name="connsiteY155" fmla="*/ 95250 h 4496940"/>
              <a:gd name="connsiteX156" fmla="*/ 2030752 w 4519987"/>
              <a:gd name="connsiteY156" fmla="*/ 66675 h 4496940"/>
              <a:gd name="connsiteX157" fmla="*/ 2097427 w 4519987"/>
              <a:gd name="connsiteY157" fmla="*/ 47625 h 4496940"/>
              <a:gd name="connsiteX158" fmla="*/ 2164102 w 4519987"/>
              <a:gd name="connsiteY158" fmla="*/ 38100 h 4496940"/>
              <a:gd name="connsiteX159" fmla="*/ 2392702 w 4519987"/>
              <a:gd name="connsiteY15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50052 w 4519987"/>
              <a:gd name="connsiteY28" fmla="*/ 790575 h 4496940"/>
              <a:gd name="connsiteX29" fmla="*/ 4078627 w 4519987"/>
              <a:gd name="connsiteY29" fmla="*/ 838200 h 4496940"/>
              <a:gd name="connsiteX30" fmla="*/ 4107202 w 4519987"/>
              <a:gd name="connsiteY30" fmla="*/ 876300 h 4496940"/>
              <a:gd name="connsiteX31" fmla="*/ 4116727 w 4519987"/>
              <a:gd name="connsiteY31" fmla="*/ 904875 h 4496940"/>
              <a:gd name="connsiteX32" fmla="*/ 4135777 w 4519987"/>
              <a:gd name="connsiteY32" fmla="*/ 933450 h 4496940"/>
              <a:gd name="connsiteX33" fmla="*/ 4164352 w 4519987"/>
              <a:gd name="connsiteY33" fmla="*/ 990600 h 4496940"/>
              <a:gd name="connsiteX34" fmla="*/ 4173877 w 4519987"/>
              <a:gd name="connsiteY34" fmla="*/ 1019175 h 4496940"/>
              <a:gd name="connsiteX35" fmla="*/ 4192927 w 4519987"/>
              <a:gd name="connsiteY35" fmla="*/ 1057275 h 4496940"/>
              <a:gd name="connsiteX36" fmla="*/ 4202452 w 4519987"/>
              <a:gd name="connsiteY36" fmla="*/ 1085850 h 4496940"/>
              <a:gd name="connsiteX37" fmla="*/ 4250077 w 4519987"/>
              <a:gd name="connsiteY37" fmla="*/ 1143000 h 4496940"/>
              <a:gd name="connsiteX38" fmla="*/ 4259602 w 4519987"/>
              <a:gd name="connsiteY38" fmla="*/ 1190625 h 4496940"/>
              <a:gd name="connsiteX39" fmla="*/ 4307227 w 4519987"/>
              <a:gd name="connsiteY39" fmla="*/ 1266825 h 4496940"/>
              <a:gd name="connsiteX40" fmla="*/ 4345327 w 4519987"/>
              <a:gd name="connsiteY40" fmla="*/ 1362075 h 4496940"/>
              <a:gd name="connsiteX41" fmla="*/ 4373902 w 4519987"/>
              <a:gd name="connsiteY41" fmla="*/ 1428750 h 4496940"/>
              <a:gd name="connsiteX42" fmla="*/ 4392952 w 4519987"/>
              <a:gd name="connsiteY42" fmla="*/ 1552575 h 4496940"/>
              <a:gd name="connsiteX43" fmla="*/ 4402477 w 4519987"/>
              <a:gd name="connsiteY43" fmla="*/ 1590675 h 4496940"/>
              <a:gd name="connsiteX44" fmla="*/ 4431052 w 4519987"/>
              <a:gd name="connsiteY44" fmla="*/ 1685925 h 4496940"/>
              <a:gd name="connsiteX45" fmla="*/ 4519952 w 4519987"/>
              <a:gd name="connsiteY45" fmla="*/ 2181225 h 4496940"/>
              <a:gd name="connsiteX46" fmla="*/ 4446927 w 4519987"/>
              <a:gd name="connsiteY46" fmla="*/ 2768600 h 4496940"/>
              <a:gd name="connsiteX47" fmla="*/ 4383427 w 4519987"/>
              <a:gd name="connsiteY47" fmla="*/ 2990850 h 4496940"/>
              <a:gd name="connsiteX48" fmla="*/ 4278652 w 4519987"/>
              <a:gd name="connsiteY48" fmla="*/ 3248025 h 4496940"/>
              <a:gd name="connsiteX49" fmla="*/ 4259602 w 4519987"/>
              <a:gd name="connsiteY49" fmla="*/ 3276600 h 4496940"/>
              <a:gd name="connsiteX50" fmla="*/ 4221502 w 4519987"/>
              <a:gd name="connsiteY50" fmla="*/ 3333750 h 4496940"/>
              <a:gd name="connsiteX51" fmla="*/ 4211977 w 4519987"/>
              <a:gd name="connsiteY51" fmla="*/ 3362325 h 4496940"/>
              <a:gd name="connsiteX52" fmla="*/ 4183402 w 4519987"/>
              <a:gd name="connsiteY52" fmla="*/ 3400425 h 4496940"/>
              <a:gd name="connsiteX53" fmla="*/ 4164352 w 4519987"/>
              <a:gd name="connsiteY53" fmla="*/ 3429000 h 4496940"/>
              <a:gd name="connsiteX54" fmla="*/ 4088152 w 4519987"/>
              <a:gd name="connsiteY54" fmla="*/ 3495675 h 4496940"/>
              <a:gd name="connsiteX55" fmla="*/ 4059577 w 4519987"/>
              <a:gd name="connsiteY55" fmla="*/ 3533775 h 4496940"/>
              <a:gd name="connsiteX56" fmla="*/ 4002427 w 4519987"/>
              <a:gd name="connsiteY56" fmla="*/ 3600450 h 4496940"/>
              <a:gd name="connsiteX57" fmla="*/ 3983377 w 4519987"/>
              <a:gd name="connsiteY57" fmla="*/ 3629025 h 4496940"/>
              <a:gd name="connsiteX58" fmla="*/ 3954802 w 4519987"/>
              <a:gd name="connsiteY58" fmla="*/ 3648075 h 4496940"/>
              <a:gd name="connsiteX59" fmla="*/ 3907177 w 4519987"/>
              <a:gd name="connsiteY59" fmla="*/ 3686175 h 4496940"/>
              <a:gd name="connsiteX60" fmla="*/ 3869077 w 4519987"/>
              <a:gd name="connsiteY60" fmla="*/ 3724275 h 4496940"/>
              <a:gd name="connsiteX61" fmla="*/ 3792877 w 4519987"/>
              <a:gd name="connsiteY61" fmla="*/ 3781425 h 4496940"/>
              <a:gd name="connsiteX62" fmla="*/ 3783352 w 4519987"/>
              <a:gd name="connsiteY62" fmla="*/ 3810000 h 4496940"/>
              <a:gd name="connsiteX63" fmla="*/ 3745252 w 4519987"/>
              <a:gd name="connsiteY63" fmla="*/ 3819525 h 4496940"/>
              <a:gd name="connsiteX64" fmla="*/ 3678577 w 4519987"/>
              <a:gd name="connsiteY64" fmla="*/ 3848100 h 4496940"/>
              <a:gd name="connsiteX65" fmla="*/ 3659527 w 4519987"/>
              <a:gd name="connsiteY65" fmla="*/ 3971925 h 4496940"/>
              <a:gd name="connsiteX66" fmla="*/ 3630952 w 4519987"/>
              <a:gd name="connsiteY66" fmla="*/ 4010025 h 4496940"/>
              <a:gd name="connsiteX67" fmla="*/ 3621427 w 4519987"/>
              <a:gd name="connsiteY67" fmla="*/ 4038600 h 4496940"/>
              <a:gd name="connsiteX68" fmla="*/ 3554752 w 4519987"/>
              <a:gd name="connsiteY68" fmla="*/ 4095750 h 4496940"/>
              <a:gd name="connsiteX69" fmla="*/ 3516652 w 4519987"/>
              <a:gd name="connsiteY69" fmla="*/ 4114800 h 4496940"/>
              <a:gd name="connsiteX70" fmla="*/ 3497602 w 4519987"/>
              <a:gd name="connsiteY70" fmla="*/ 4143375 h 4496940"/>
              <a:gd name="connsiteX71" fmla="*/ 3383302 w 4519987"/>
              <a:gd name="connsiteY71" fmla="*/ 4210050 h 4496940"/>
              <a:gd name="connsiteX72" fmla="*/ 3335677 w 4519987"/>
              <a:gd name="connsiteY72" fmla="*/ 4238625 h 4496940"/>
              <a:gd name="connsiteX73" fmla="*/ 3288052 w 4519987"/>
              <a:gd name="connsiteY73" fmla="*/ 4248150 h 4496940"/>
              <a:gd name="connsiteX74" fmla="*/ 3240427 w 4519987"/>
              <a:gd name="connsiteY74" fmla="*/ 4267200 h 4496940"/>
              <a:gd name="connsiteX75" fmla="*/ 3068977 w 4519987"/>
              <a:gd name="connsiteY75" fmla="*/ 4286250 h 4496940"/>
              <a:gd name="connsiteX76" fmla="*/ 2935627 w 4519987"/>
              <a:gd name="connsiteY76" fmla="*/ 4333875 h 4496940"/>
              <a:gd name="connsiteX77" fmla="*/ 2811802 w 4519987"/>
              <a:gd name="connsiteY77" fmla="*/ 4371975 h 4496940"/>
              <a:gd name="connsiteX78" fmla="*/ 2745127 w 4519987"/>
              <a:gd name="connsiteY78" fmla="*/ 4410075 h 4496940"/>
              <a:gd name="connsiteX79" fmla="*/ 2697502 w 4519987"/>
              <a:gd name="connsiteY79" fmla="*/ 4429125 h 4496940"/>
              <a:gd name="connsiteX80" fmla="*/ 2640352 w 4519987"/>
              <a:gd name="connsiteY80" fmla="*/ 4457700 h 4496940"/>
              <a:gd name="connsiteX81" fmla="*/ 2583202 w 4519987"/>
              <a:gd name="connsiteY81" fmla="*/ 4467225 h 4496940"/>
              <a:gd name="connsiteX82" fmla="*/ 2545102 w 4519987"/>
              <a:gd name="connsiteY82" fmla="*/ 4486275 h 4496940"/>
              <a:gd name="connsiteX83" fmla="*/ 2306977 w 4519987"/>
              <a:gd name="connsiteY83" fmla="*/ 4476750 h 4496940"/>
              <a:gd name="connsiteX84" fmla="*/ 2202202 w 4519987"/>
              <a:gd name="connsiteY84" fmla="*/ 4457700 h 4496940"/>
              <a:gd name="connsiteX85" fmla="*/ 2126002 w 4519987"/>
              <a:gd name="connsiteY85" fmla="*/ 4429125 h 4496940"/>
              <a:gd name="connsiteX86" fmla="*/ 1935502 w 4519987"/>
              <a:gd name="connsiteY86" fmla="*/ 4400550 h 4496940"/>
              <a:gd name="connsiteX87" fmla="*/ 1821202 w 4519987"/>
              <a:gd name="connsiteY87" fmla="*/ 4371975 h 4496940"/>
              <a:gd name="connsiteX88" fmla="*/ 1754527 w 4519987"/>
              <a:gd name="connsiteY88" fmla="*/ 4352925 h 4496940"/>
              <a:gd name="connsiteX89" fmla="*/ 1687852 w 4519987"/>
              <a:gd name="connsiteY89" fmla="*/ 4343400 h 4496940"/>
              <a:gd name="connsiteX90" fmla="*/ 1573552 w 4519987"/>
              <a:gd name="connsiteY90" fmla="*/ 4305300 h 4496940"/>
              <a:gd name="connsiteX91" fmla="*/ 1402102 w 4519987"/>
              <a:gd name="connsiteY91" fmla="*/ 4276725 h 4496940"/>
              <a:gd name="connsiteX92" fmla="*/ 1287802 w 4519987"/>
              <a:gd name="connsiteY92" fmla="*/ 4229100 h 4496940"/>
              <a:gd name="connsiteX93" fmla="*/ 1221127 w 4519987"/>
              <a:gd name="connsiteY93" fmla="*/ 4200525 h 4496940"/>
              <a:gd name="connsiteX94" fmla="*/ 1144927 w 4519987"/>
              <a:gd name="connsiteY94" fmla="*/ 4171950 h 4496940"/>
              <a:gd name="connsiteX95" fmla="*/ 1087777 w 4519987"/>
              <a:gd name="connsiteY95" fmla="*/ 4143375 h 4496940"/>
              <a:gd name="connsiteX96" fmla="*/ 1030627 w 4519987"/>
              <a:gd name="connsiteY96" fmla="*/ 4124325 h 4496940"/>
              <a:gd name="connsiteX97" fmla="*/ 925852 w 4519987"/>
              <a:gd name="connsiteY97" fmla="*/ 4067175 h 4496940"/>
              <a:gd name="connsiteX98" fmla="*/ 830602 w 4519987"/>
              <a:gd name="connsiteY98" fmla="*/ 3981450 h 4496940"/>
              <a:gd name="connsiteX99" fmla="*/ 763927 w 4519987"/>
              <a:gd name="connsiteY99" fmla="*/ 3914775 h 4496940"/>
              <a:gd name="connsiteX100" fmla="*/ 725827 w 4519987"/>
              <a:gd name="connsiteY100" fmla="*/ 3876675 h 4496940"/>
              <a:gd name="connsiteX101" fmla="*/ 697252 w 4519987"/>
              <a:gd name="connsiteY101" fmla="*/ 3838575 h 4496940"/>
              <a:gd name="connsiteX102" fmla="*/ 640102 w 4519987"/>
              <a:gd name="connsiteY102" fmla="*/ 3781425 h 4496940"/>
              <a:gd name="connsiteX103" fmla="*/ 611527 w 4519987"/>
              <a:gd name="connsiteY103" fmla="*/ 3733800 h 4496940"/>
              <a:gd name="connsiteX104" fmla="*/ 554377 w 4519987"/>
              <a:gd name="connsiteY104" fmla="*/ 3657600 h 4496940"/>
              <a:gd name="connsiteX105" fmla="*/ 525802 w 4519987"/>
              <a:gd name="connsiteY105" fmla="*/ 3609975 h 4496940"/>
              <a:gd name="connsiteX106" fmla="*/ 497227 w 4519987"/>
              <a:gd name="connsiteY106" fmla="*/ 3552825 h 4496940"/>
              <a:gd name="connsiteX107" fmla="*/ 440077 w 4519987"/>
              <a:gd name="connsiteY107" fmla="*/ 3495675 h 4496940"/>
              <a:gd name="connsiteX108" fmla="*/ 411502 w 4519987"/>
              <a:gd name="connsiteY108" fmla="*/ 3448050 h 4496940"/>
              <a:gd name="connsiteX109" fmla="*/ 278152 w 4519987"/>
              <a:gd name="connsiteY109" fmla="*/ 3257550 h 4496940"/>
              <a:gd name="connsiteX110" fmla="*/ 249577 w 4519987"/>
              <a:gd name="connsiteY110" fmla="*/ 3200400 h 4496940"/>
              <a:gd name="connsiteX111" fmla="*/ 240052 w 4519987"/>
              <a:gd name="connsiteY111" fmla="*/ 3162300 h 4496940"/>
              <a:gd name="connsiteX112" fmla="*/ 221002 w 4519987"/>
              <a:gd name="connsiteY112" fmla="*/ 3105150 h 4496940"/>
              <a:gd name="connsiteX113" fmla="*/ 173377 w 4519987"/>
              <a:gd name="connsiteY113" fmla="*/ 3019425 h 4496940"/>
              <a:gd name="connsiteX114" fmla="*/ 144802 w 4519987"/>
              <a:gd name="connsiteY114" fmla="*/ 2924175 h 4496940"/>
              <a:gd name="connsiteX115" fmla="*/ 68602 w 4519987"/>
              <a:gd name="connsiteY115" fmla="*/ 2724150 h 4496940"/>
              <a:gd name="connsiteX116" fmla="*/ 49552 w 4519987"/>
              <a:gd name="connsiteY116" fmla="*/ 2638425 h 4496940"/>
              <a:gd name="connsiteX117" fmla="*/ 40027 w 4519987"/>
              <a:gd name="connsiteY117" fmla="*/ 2562225 h 4496940"/>
              <a:gd name="connsiteX118" fmla="*/ 30502 w 4519987"/>
              <a:gd name="connsiteY118" fmla="*/ 2514600 h 4496940"/>
              <a:gd name="connsiteX119" fmla="*/ 11452 w 4519987"/>
              <a:gd name="connsiteY119" fmla="*/ 2400300 h 4496940"/>
              <a:gd name="connsiteX120" fmla="*/ 20977 w 4519987"/>
              <a:gd name="connsiteY120" fmla="*/ 1905000 h 4496940"/>
              <a:gd name="connsiteX121" fmla="*/ 30502 w 4519987"/>
              <a:gd name="connsiteY121" fmla="*/ 1838325 h 4496940"/>
              <a:gd name="connsiteX122" fmla="*/ 49552 w 4519987"/>
              <a:gd name="connsiteY122" fmla="*/ 1781175 h 4496940"/>
              <a:gd name="connsiteX123" fmla="*/ 59077 w 4519987"/>
              <a:gd name="connsiteY123" fmla="*/ 1743075 h 4496940"/>
              <a:gd name="connsiteX124" fmla="*/ 78127 w 4519987"/>
              <a:gd name="connsiteY124" fmla="*/ 1685925 h 4496940"/>
              <a:gd name="connsiteX125" fmla="*/ 87652 w 4519987"/>
              <a:gd name="connsiteY125" fmla="*/ 1638300 h 4496940"/>
              <a:gd name="connsiteX126" fmla="*/ 106702 w 4519987"/>
              <a:gd name="connsiteY126" fmla="*/ 1590675 h 4496940"/>
              <a:gd name="connsiteX127" fmla="*/ 135277 w 4519987"/>
              <a:gd name="connsiteY127" fmla="*/ 1504950 h 4496940"/>
              <a:gd name="connsiteX128" fmla="*/ 154327 w 4519987"/>
              <a:gd name="connsiteY128" fmla="*/ 1419225 h 4496940"/>
              <a:gd name="connsiteX129" fmla="*/ 230527 w 4519987"/>
              <a:gd name="connsiteY129" fmla="*/ 1276350 h 4496940"/>
              <a:gd name="connsiteX130" fmla="*/ 240052 w 4519987"/>
              <a:gd name="connsiteY130" fmla="*/ 1247775 h 4496940"/>
              <a:gd name="connsiteX131" fmla="*/ 268627 w 4519987"/>
              <a:gd name="connsiteY131" fmla="*/ 1200150 h 4496940"/>
              <a:gd name="connsiteX132" fmla="*/ 287677 w 4519987"/>
              <a:gd name="connsiteY132" fmla="*/ 1152525 h 4496940"/>
              <a:gd name="connsiteX133" fmla="*/ 316252 w 4519987"/>
              <a:gd name="connsiteY133" fmla="*/ 1114425 h 4496940"/>
              <a:gd name="connsiteX134" fmla="*/ 363877 w 4519987"/>
              <a:gd name="connsiteY134" fmla="*/ 1038225 h 4496940"/>
              <a:gd name="connsiteX135" fmla="*/ 382927 w 4519987"/>
              <a:gd name="connsiteY135" fmla="*/ 1009650 h 4496940"/>
              <a:gd name="connsiteX136" fmla="*/ 440077 w 4519987"/>
              <a:gd name="connsiteY136" fmla="*/ 904875 h 4496940"/>
              <a:gd name="connsiteX137" fmla="*/ 478177 w 4519987"/>
              <a:gd name="connsiteY137" fmla="*/ 857250 h 4496940"/>
              <a:gd name="connsiteX138" fmla="*/ 497227 w 4519987"/>
              <a:gd name="connsiteY138" fmla="*/ 828675 h 4496940"/>
              <a:gd name="connsiteX139" fmla="*/ 535327 w 4519987"/>
              <a:gd name="connsiteY139" fmla="*/ 800100 h 4496940"/>
              <a:gd name="connsiteX140" fmla="*/ 602002 w 4519987"/>
              <a:gd name="connsiteY140" fmla="*/ 733425 h 4496940"/>
              <a:gd name="connsiteX141" fmla="*/ 668677 w 4519987"/>
              <a:gd name="connsiteY141" fmla="*/ 676275 h 4496940"/>
              <a:gd name="connsiteX142" fmla="*/ 697252 w 4519987"/>
              <a:gd name="connsiteY142" fmla="*/ 657225 h 4496940"/>
              <a:gd name="connsiteX143" fmla="*/ 840127 w 4519987"/>
              <a:gd name="connsiteY143" fmla="*/ 533400 h 4496940"/>
              <a:gd name="connsiteX144" fmla="*/ 887752 w 4519987"/>
              <a:gd name="connsiteY144" fmla="*/ 504825 h 4496940"/>
              <a:gd name="connsiteX145" fmla="*/ 1167152 w 4519987"/>
              <a:gd name="connsiteY145" fmla="*/ 311150 h 4496940"/>
              <a:gd name="connsiteX146" fmla="*/ 1268752 w 4519987"/>
              <a:gd name="connsiteY146" fmla="*/ 285750 h 4496940"/>
              <a:gd name="connsiteX147" fmla="*/ 1411627 w 4519987"/>
              <a:gd name="connsiteY147" fmla="*/ 190500 h 4496940"/>
              <a:gd name="connsiteX148" fmla="*/ 1449727 w 4519987"/>
              <a:gd name="connsiteY148" fmla="*/ 161925 h 4496940"/>
              <a:gd name="connsiteX149" fmla="*/ 1525927 w 4519987"/>
              <a:gd name="connsiteY149" fmla="*/ 152400 h 4496940"/>
              <a:gd name="connsiteX150" fmla="*/ 1583077 w 4519987"/>
              <a:gd name="connsiteY150" fmla="*/ 142875 h 4496940"/>
              <a:gd name="connsiteX151" fmla="*/ 1716427 w 4519987"/>
              <a:gd name="connsiteY151" fmla="*/ 123825 h 4496940"/>
              <a:gd name="connsiteX152" fmla="*/ 1811677 w 4519987"/>
              <a:gd name="connsiteY152" fmla="*/ 114300 h 4496940"/>
              <a:gd name="connsiteX153" fmla="*/ 1859302 w 4519987"/>
              <a:gd name="connsiteY153" fmla="*/ 104775 h 4496940"/>
              <a:gd name="connsiteX154" fmla="*/ 1916452 w 4519987"/>
              <a:gd name="connsiteY154" fmla="*/ 95250 h 4496940"/>
              <a:gd name="connsiteX155" fmla="*/ 2030752 w 4519987"/>
              <a:gd name="connsiteY155" fmla="*/ 66675 h 4496940"/>
              <a:gd name="connsiteX156" fmla="*/ 2097427 w 4519987"/>
              <a:gd name="connsiteY156" fmla="*/ 47625 h 4496940"/>
              <a:gd name="connsiteX157" fmla="*/ 2164102 w 4519987"/>
              <a:gd name="connsiteY157" fmla="*/ 38100 h 4496940"/>
              <a:gd name="connsiteX158" fmla="*/ 2392702 w 4519987"/>
              <a:gd name="connsiteY15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07202 w 4519987"/>
              <a:gd name="connsiteY29" fmla="*/ 876300 h 4496940"/>
              <a:gd name="connsiteX30" fmla="*/ 4116727 w 4519987"/>
              <a:gd name="connsiteY30" fmla="*/ 904875 h 4496940"/>
              <a:gd name="connsiteX31" fmla="*/ 4135777 w 4519987"/>
              <a:gd name="connsiteY31" fmla="*/ 933450 h 4496940"/>
              <a:gd name="connsiteX32" fmla="*/ 4164352 w 4519987"/>
              <a:gd name="connsiteY32" fmla="*/ 990600 h 4496940"/>
              <a:gd name="connsiteX33" fmla="*/ 4173877 w 4519987"/>
              <a:gd name="connsiteY33" fmla="*/ 1019175 h 4496940"/>
              <a:gd name="connsiteX34" fmla="*/ 4192927 w 4519987"/>
              <a:gd name="connsiteY34" fmla="*/ 1057275 h 4496940"/>
              <a:gd name="connsiteX35" fmla="*/ 4202452 w 4519987"/>
              <a:gd name="connsiteY35" fmla="*/ 1085850 h 4496940"/>
              <a:gd name="connsiteX36" fmla="*/ 4250077 w 4519987"/>
              <a:gd name="connsiteY36" fmla="*/ 1143000 h 4496940"/>
              <a:gd name="connsiteX37" fmla="*/ 4259602 w 4519987"/>
              <a:gd name="connsiteY37" fmla="*/ 1190625 h 4496940"/>
              <a:gd name="connsiteX38" fmla="*/ 4307227 w 4519987"/>
              <a:gd name="connsiteY38" fmla="*/ 1266825 h 4496940"/>
              <a:gd name="connsiteX39" fmla="*/ 4345327 w 4519987"/>
              <a:gd name="connsiteY39" fmla="*/ 1362075 h 4496940"/>
              <a:gd name="connsiteX40" fmla="*/ 4373902 w 4519987"/>
              <a:gd name="connsiteY40" fmla="*/ 1428750 h 4496940"/>
              <a:gd name="connsiteX41" fmla="*/ 4392952 w 4519987"/>
              <a:gd name="connsiteY41" fmla="*/ 1552575 h 4496940"/>
              <a:gd name="connsiteX42" fmla="*/ 4402477 w 4519987"/>
              <a:gd name="connsiteY42" fmla="*/ 1590675 h 4496940"/>
              <a:gd name="connsiteX43" fmla="*/ 4431052 w 4519987"/>
              <a:gd name="connsiteY43" fmla="*/ 1685925 h 4496940"/>
              <a:gd name="connsiteX44" fmla="*/ 4519952 w 4519987"/>
              <a:gd name="connsiteY44" fmla="*/ 2181225 h 4496940"/>
              <a:gd name="connsiteX45" fmla="*/ 4446927 w 4519987"/>
              <a:gd name="connsiteY45" fmla="*/ 2768600 h 4496940"/>
              <a:gd name="connsiteX46" fmla="*/ 4383427 w 4519987"/>
              <a:gd name="connsiteY46" fmla="*/ 2990850 h 4496940"/>
              <a:gd name="connsiteX47" fmla="*/ 4278652 w 4519987"/>
              <a:gd name="connsiteY47" fmla="*/ 3248025 h 4496940"/>
              <a:gd name="connsiteX48" fmla="*/ 4259602 w 4519987"/>
              <a:gd name="connsiteY48" fmla="*/ 3276600 h 4496940"/>
              <a:gd name="connsiteX49" fmla="*/ 4221502 w 4519987"/>
              <a:gd name="connsiteY49" fmla="*/ 3333750 h 4496940"/>
              <a:gd name="connsiteX50" fmla="*/ 4211977 w 4519987"/>
              <a:gd name="connsiteY50" fmla="*/ 3362325 h 4496940"/>
              <a:gd name="connsiteX51" fmla="*/ 4183402 w 4519987"/>
              <a:gd name="connsiteY51" fmla="*/ 3400425 h 4496940"/>
              <a:gd name="connsiteX52" fmla="*/ 4164352 w 4519987"/>
              <a:gd name="connsiteY52" fmla="*/ 3429000 h 4496940"/>
              <a:gd name="connsiteX53" fmla="*/ 4088152 w 4519987"/>
              <a:gd name="connsiteY53" fmla="*/ 3495675 h 4496940"/>
              <a:gd name="connsiteX54" fmla="*/ 4059577 w 4519987"/>
              <a:gd name="connsiteY54" fmla="*/ 3533775 h 4496940"/>
              <a:gd name="connsiteX55" fmla="*/ 4002427 w 4519987"/>
              <a:gd name="connsiteY55" fmla="*/ 3600450 h 4496940"/>
              <a:gd name="connsiteX56" fmla="*/ 3983377 w 4519987"/>
              <a:gd name="connsiteY56" fmla="*/ 3629025 h 4496940"/>
              <a:gd name="connsiteX57" fmla="*/ 3954802 w 4519987"/>
              <a:gd name="connsiteY57" fmla="*/ 3648075 h 4496940"/>
              <a:gd name="connsiteX58" fmla="*/ 3907177 w 4519987"/>
              <a:gd name="connsiteY58" fmla="*/ 3686175 h 4496940"/>
              <a:gd name="connsiteX59" fmla="*/ 3869077 w 4519987"/>
              <a:gd name="connsiteY59" fmla="*/ 3724275 h 4496940"/>
              <a:gd name="connsiteX60" fmla="*/ 3792877 w 4519987"/>
              <a:gd name="connsiteY60" fmla="*/ 3781425 h 4496940"/>
              <a:gd name="connsiteX61" fmla="*/ 3783352 w 4519987"/>
              <a:gd name="connsiteY61" fmla="*/ 3810000 h 4496940"/>
              <a:gd name="connsiteX62" fmla="*/ 3745252 w 4519987"/>
              <a:gd name="connsiteY62" fmla="*/ 3819525 h 4496940"/>
              <a:gd name="connsiteX63" fmla="*/ 3678577 w 4519987"/>
              <a:gd name="connsiteY63" fmla="*/ 3848100 h 4496940"/>
              <a:gd name="connsiteX64" fmla="*/ 3659527 w 4519987"/>
              <a:gd name="connsiteY64" fmla="*/ 3971925 h 4496940"/>
              <a:gd name="connsiteX65" fmla="*/ 3630952 w 4519987"/>
              <a:gd name="connsiteY65" fmla="*/ 4010025 h 4496940"/>
              <a:gd name="connsiteX66" fmla="*/ 3621427 w 4519987"/>
              <a:gd name="connsiteY66" fmla="*/ 4038600 h 4496940"/>
              <a:gd name="connsiteX67" fmla="*/ 3554752 w 4519987"/>
              <a:gd name="connsiteY67" fmla="*/ 4095750 h 4496940"/>
              <a:gd name="connsiteX68" fmla="*/ 3516652 w 4519987"/>
              <a:gd name="connsiteY68" fmla="*/ 4114800 h 4496940"/>
              <a:gd name="connsiteX69" fmla="*/ 3497602 w 4519987"/>
              <a:gd name="connsiteY69" fmla="*/ 4143375 h 4496940"/>
              <a:gd name="connsiteX70" fmla="*/ 3383302 w 4519987"/>
              <a:gd name="connsiteY70" fmla="*/ 4210050 h 4496940"/>
              <a:gd name="connsiteX71" fmla="*/ 3335677 w 4519987"/>
              <a:gd name="connsiteY71" fmla="*/ 4238625 h 4496940"/>
              <a:gd name="connsiteX72" fmla="*/ 3288052 w 4519987"/>
              <a:gd name="connsiteY72" fmla="*/ 4248150 h 4496940"/>
              <a:gd name="connsiteX73" fmla="*/ 3240427 w 4519987"/>
              <a:gd name="connsiteY73" fmla="*/ 4267200 h 4496940"/>
              <a:gd name="connsiteX74" fmla="*/ 3068977 w 4519987"/>
              <a:gd name="connsiteY74" fmla="*/ 4286250 h 4496940"/>
              <a:gd name="connsiteX75" fmla="*/ 2935627 w 4519987"/>
              <a:gd name="connsiteY75" fmla="*/ 4333875 h 4496940"/>
              <a:gd name="connsiteX76" fmla="*/ 2811802 w 4519987"/>
              <a:gd name="connsiteY76" fmla="*/ 4371975 h 4496940"/>
              <a:gd name="connsiteX77" fmla="*/ 2745127 w 4519987"/>
              <a:gd name="connsiteY77" fmla="*/ 4410075 h 4496940"/>
              <a:gd name="connsiteX78" fmla="*/ 2697502 w 4519987"/>
              <a:gd name="connsiteY78" fmla="*/ 4429125 h 4496940"/>
              <a:gd name="connsiteX79" fmla="*/ 2640352 w 4519987"/>
              <a:gd name="connsiteY79" fmla="*/ 4457700 h 4496940"/>
              <a:gd name="connsiteX80" fmla="*/ 2583202 w 4519987"/>
              <a:gd name="connsiteY80" fmla="*/ 4467225 h 4496940"/>
              <a:gd name="connsiteX81" fmla="*/ 2545102 w 4519987"/>
              <a:gd name="connsiteY81" fmla="*/ 4486275 h 4496940"/>
              <a:gd name="connsiteX82" fmla="*/ 2306977 w 4519987"/>
              <a:gd name="connsiteY82" fmla="*/ 4476750 h 4496940"/>
              <a:gd name="connsiteX83" fmla="*/ 2202202 w 4519987"/>
              <a:gd name="connsiteY83" fmla="*/ 4457700 h 4496940"/>
              <a:gd name="connsiteX84" fmla="*/ 2126002 w 4519987"/>
              <a:gd name="connsiteY84" fmla="*/ 4429125 h 4496940"/>
              <a:gd name="connsiteX85" fmla="*/ 1935502 w 4519987"/>
              <a:gd name="connsiteY85" fmla="*/ 4400550 h 4496940"/>
              <a:gd name="connsiteX86" fmla="*/ 1821202 w 4519987"/>
              <a:gd name="connsiteY86" fmla="*/ 4371975 h 4496940"/>
              <a:gd name="connsiteX87" fmla="*/ 1754527 w 4519987"/>
              <a:gd name="connsiteY87" fmla="*/ 4352925 h 4496940"/>
              <a:gd name="connsiteX88" fmla="*/ 1687852 w 4519987"/>
              <a:gd name="connsiteY88" fmla="*/ 4343400 h 4496940"/>
              <a:gd name="connsiteX89" fmla="*/ 1573552 w 4519987"/>
              <a:gd name="connsiteY89" fmla="*/ 4305300 h 4496940"/>
              <a:gd name="connsiteX90" fmla="*/ 1402102 w 4519987"/>
              <a:gd name="connsiteY90" fmla="*/ 4276725 h 4496940"/>
              <a:gd name="connsiteX91" fmla="*/ 1287802 w 4519987"/>
              <a:gd name="connsiteY91" fmla="*/ 4229100 h 4496940"/>
              <a:gd name="connsiteX92" fmla="*/ 1221127 w 4519987"/>
              <a:gd name="connsiteY92" fmla="*/ 4200525 h 4496940"/>
              <a:gd name="connsiteX93" fmla="*/ 1144927 w 4519987"/>
              <a:gd name="connsiteY93" fmla="*/ 4171950 h 4496940"/>
              <a:gd name="connsiteX94" fmla="*/ 1087777 w 4519987"/>
              <a:gd name="connsiteY94" fmla="*/ 4143375 h 4496940"/>
              <a:gd name="connsiteX95" fmla="*/ 1030627 w 4519987"/>
              <a:gd name="connsiteY95" fmla="*/ 4124325 h 4496940"/>
              <a:gd name="connsiteX96" fmla="*/ 925852 w 4519987"/>
              <a:gd name="connsiteY96" fmla="*/ 4067175 h 4496940"/>
              <a:gd name="connsiteX97" fmla="*/ 830602 w 4519987"/>
              <a:gd name="connsiteY97" fmla="*/ 3981450 h 4496940"/>
              <a:gd name="connsiteX98" fmla="*/ 763927 w 4519987"/>
              <a:gd name="connsiteY98" fmla="*/ 3914775 h 4496940"/>
              <a:gd name="connsiteX99" fmla="*/ 725827 w 4519987"/>
              <a:gd name="connsiteY99" fmla="*/ 3876675 h 4496940"/>
              <a:gd name="connsiteX100" fmla="*/ 697252 w 4519987"/>
              <a:gd name="connsiteY100" fmla="*/ 3838575 h 4496940"/>
              <a:gd name="connsiteX101" fmla="*/ 640102 w 4519987"/>
              <a:gd name="connsiteY101" fmla="*/ 3781425 h 4496940"/>
              <a:gd name="connsiteX102" fmla="*/ 611527 w 4519987"/>
              <a:gd name="connsiteY102" fmla="*/ 3733800 h 4496940"/>
              <a:gd name="connsiteX103" fmla="*/ 554377 w 4519987"/>
              <a:gd name="connsiteY103" fmla="*/ 3657600 h 4496940"/>
              <a:gd name="connsiteX104" fmla="*/ 525802 w 4519987"/>
              <a:gd name="connsiteY104" fmla="*/ 3609975 h 4496940"/>
              <a:gd name="connsiteX105" fmla="*/ 497227 w 4519987"/>
              <a:gd name="connsiteY105" fmla="*/ 3552825 h 4496940"/>
              <a:gd name="connsiteX106" fmla="*/ 440077 w 4519987"/>
              <a:gd name="connsiteY106" fmla="*/ 3495675 h 4496940"/>
              <a:gd name="connsiteX107" fmla="*/ 411502 w 4519987"/>
              <a:gd name="connsiteY107" fmla="*/ 3448050 h 4496940"/>
              <a:gd name="connsiteX108" fmla="*/ 278152 w 4519987"/>
              <a:gd name="connsiteY108" fmla="*/ 3257550 h 4496940"/>
              <a:gd name="connsiteX109" fmla="*/ 249577 w 4519987"/>
              <a:gd name="connsiteY109" fmla="*/ 3200400 h 4496940"/>
              <a:gd name="connsiteX110" fmla="*/ 240052 w 4519987"/>
              <a:gd name="connsiteY110" fmla="*/ 3162300 h 4496940"/>
              <a:gd name="connsiteX111" fmla="*/ 221002 w 4519987"/>
              <a:gd name="connsiteY111" fmla="*/ 3105150 h 4496940"/>
              <a:gd name="connsiteX112" fmla="*/ 173377 w 4519987"/>
              <a:gd name="connsiteY112" fmla="*/ 3019425 h 4496940"/>
              <a:gd name="connsiteX113" fmla="*/ 144802 w 4519987"/>
              <a:gd name="connsiteY113" fmla="*/ 2924175 h 4496940"/>
              <a:gd name="connsiteX114" fmla="*/ 68602 w 4519987"/>
              <a:gd name="connsiteY114" fmla="*/ 2724150 h 4496940"/>
              <a:gd name="connsiteX115" fmla="*/ 49552 w 4519987"/>
              <a:gd name="connsiteY115" fmla="*/ 2638425 h 4496940"/>
              <a:gd name="connsiteX116" fmla="*/ 40027 w 4519987"/>
              <a:gd name="connsiteY116" fmla="*/ 2562225 h 4496940"/>
              <a:gd name="connsiteX117" fmla="*/ 30502 w 4519987"/>
              <a:gd name="connsiteY117" fmla="*/ 2514600 h 4496940"/>
              <a:gd name="connsiteX118" fmla="*/ 11452 w 4519987"/>
              <a:gd name="connsiteY118" fmla="*/ 2400300 h 4496940"/>
              <a:gd name="connsiteX119" fmla="*/ 20977 w 4519987"/>
              <a:gd name="connsiteY119" fmla="*/ 1905000 h 4496940"/>
              <a:gd name="connsiteX120" fmla="*/ 30502 w 4519987"/>
              <a:gd name="connsiteY120" fmla="*/ 1838325 h 4496940"/>
              <a:gd name="connsiteX121" fmla="*/ 49552 w 4519987"/>
              <a:gd name="connsiteY121" fmla="*/ 1781175 h 4496940"/>
              <a:gd name="connsiteX122" fmla="*/ 59077 w 4519987"/>
              <a:gd name="connsiteY122" fmla="*/ 1743075 h 4496940"/>
              <a:gd name="connsiteX123" fmla="*/ 78127 w 4519987"/>
              <a:gd name="connsiteY123" fmla="*/ 1685925 h 4496940"/>
              <a:gd name="connsiteX124" fmla="*/ 87652 w 4519987"/>
              <a:gd name="connsiteY124" fmla="*/ 1638300 h 4496940"/>
              <a:gd name="connsiteX125" fmla="*/ 106702 w 4519987"/>
              <a:gd name="connsiteY125" fmla="*/ 1590675 h 4496940"/>
              <a:gd name="connsiteX126" fmla="*/ 135277 w 4519987"/>
              <a:gd name="connsiteY126" fmla="*/ 1504950 h 4496940"/>
              <a:gd name="connsiteX127" fmla="*/ 154327 w 4519987"/>
              <a:gd name="connsiteY127" fmla="*/ 1419225 h 4496940"/>
              <a:gd name="connsiteX128" fmla="*/ 230527 w 4519987"/>
              <a:gd name="connsiteY128" fmla="*/ 1276350 h 4496940"/>
              <a:gd name="connsiteX129" fmla="*/ 240052 w 4519987"/>
              <a:gd name="connsiteY129" fmla="*/ 1247775 h 4496940"/>
              <a:gd name="connsiteX130" fmla="*/ 268627 w 4519987"/>
              <a:gd name="connsiteY130" fmla="*/ 1200150 h 4496940"/>
              <a:gd name="connsiteX131" fmla="*/ 287677 w 4519987"/>
              <a:gd name="connsiteY131" fmla="*/ 1152525 h 4496940"/>
              <a:gd name="connsiteX132" fmla="*/ 316252 w 4519987"/>
              <a:gd name="connsiteY132" fmla="*/ 1114425 h 4496940"/>
              <a:gd name="connsiteX133" fmla="*/ 363877 w 4519987"/>
              <a:gd name="connsiteY133" fmla="*/ 1038225 h 4496940"/>
              <a:gd name="connsiteX134" fmla="*/ 382927 w 4519987"/>
              <a:gd name="connsiteY134" fmla="*/ 1009650 h 4496940"/>
              <a:gd name="connsiteX135" fmla="*/ 440077 w 4519987"/>
              <a:gd name="connsiteY135" fmla="*/ 904875 h 4496940"/>
              <a:gd name="connsiteX136" fmla="*/ 478177 w 4519987"/>
              <a:gd name="connsiteY136" fmla="*/ 857250 h 4496940"/>
              <a:gd name="connsiteX137" fmla="*/ 497227 w 4519987"/>
              <a:gd name="connsiteY137" fmla="*/ 828675 h 4496940"/>
              <a:gd name="connsiteX138" fmla="*/ 535327 w 4519987"/>
              <a:gd name="connsiteY138" fmla="*/ 800100 h 4496940"/>
              <a:gd name="connsiteX139" fmla="*/ 602002 w 4519987"/>
              <a:gd name="connsiteY139" fmla="*/ 733425 h 4496940"/>
              <a:gd name="connsiteX140" fmla="*/ 668677 w 4519987"/>
              <a:gd name="connsiteY140" fmla="*/ 676275 h 4496940"/>
              <a:gd name="connsiteX141" fmla="*/ 697252 w 4519987"/>
              <a:gd name="connsiteY141" fmla="*/ 657225 h 4496940"/>
              <a:gd name="connsiteX142" fmla="*/ 840127 w 4519987"/>
              <a:gd name="connsiteY142" fmla="*/ 533400 h 4496940"/>
              <a:gd name="connsiteX143" fmla="*/ 887752 w 4519987"/>
              <a:gd name="connsiteY143" fmla="*/ 504825 h 4496940"/>
              <a:gd name="connsiteX144" fmla="*/ 1167152 w 4519987"/>
              <a:gd name="connsiteY144" fmla="*/ 311150 h 4496940"/>
              <a:gd name="connsiteX145" fmla="*/ 1268752 w 4519987"/>
              <a:gd name="connsiteY145" fmla="*/ 285750 h 4496940"/>
              <a:gd name="connsiteX146" fmla="*/ 1411627 w 4519987"/>
              <a:gd name="connsiteY146" fmla="*/ 190500 h 4496940"/>
              <a:gd name="connsiteX147" fmla="*/ 1449727 w 4519987"/>
              <a:gd name="connsiteY147" fmla="*/ 161925 h 4496940"/>
              <a:gd name="connsiteX148" fmla="*/ 1525927 w 4519987"/>
              <a:gd name="connsiteY148" fmla="*/ 152400 h 4496940"/>
              <a:gd name="connsiteX149" fmla="*/ 1583077 w 4519987"/>
              <a:gd name="connsiteY149" fmla="*/ 142875 h 4496940"/>
              <a:gd name="connsiteX150" fmla="*/ 1716427 w 4519987"/>
              <a:gd name="connsiteY150" fmla="*/ 123825 h 4496940"/>
              <a:gd name="connsiteX151" fmla="*/ 1811677 w 4519987"/>
              <a:gd name="connsiteY151" fmla="*/ 114300 h 4496940"/>
              <a:gd name="connsiteX152" fmla="*/ 1859302 w 4519987"/>
              <a:gd name="connsiteY152" fmla="*/ 104775 h 4496940"/>
              <a:gd name="connsiteX153" fmla="*/ 1916452 w 4519987"/>
              <a:gd name="connsiteY153" fmla="*/ 95250 h 4496940"/>
              <a:gd name="connsiteX154" fmla="*/ 2030752 w 4519987"/>
              <a:gd name="connsiteY154" fmla="*/ 66675 h 4496940"/>
              <a:gd name="connsiteX155" fmla="*/ 2097427 w 4519987"/>
              <a:gd name="connsiteY155" fmla="*/ 47625 h 4496940"/>
              <a:gd name="connsiteX156" fmla="*/ 2164102 w 4519987"/>
              <a:gd name="connsiteY156" fmla="*/ 38100 h 4496940"/>
              <a:gd name="connsiteX157" fmla="*/ 2392702 w 4519987"/>
              <a:gd name="connsiteY15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07202 w 4519987"/>
              <a:gd name="connsiteY29" fmla="*/ 876300 h 4496940"/>
              <a:gd name="connsiteX30" fmla="*/ 4135777 w 4519987"/>
              <a:gd name="connsiteY30" fmla="*/ 933450 h 4496940"/>
              <a:gd name="connsiteX31" fmla="*/ 4164352 w 4519987"/>
              <a:gd name="connsiteY31" fmla="*/ 990600 h 4496940"/>
              <a:gd name="connsiteX32" fmla="*/ 4173877 w 4519987"/>
              <a:gd name="connsiteY32" fmla="*/ 1019175 h 4496940"/>
              <a:gd name="connsiteX33" fmla="*/ 4192927 w 4519987"/>
              <a:gd name="connsiteY33" fmla="*/ 1057275 h 4496940"/>
              <a:gd name="connsiteX34" fmla="*/ 4202452 w 4519987"/>
              <a:gd name="connsiteY34" fmla="*/ 1085850 h 4496940"/>
              <a:gd name="connsiteX35" fmla="*/ 4250077 w 4519987"/>
              <a:gd name="connsiteY35" fmla="*/ 1143000 h 4496940"/>
              <a:gd name="connsiteX36" fmla="*/ 4259602 w 4519987"/>
              <a:gd name="connsiteY36" fmla="*/ 1190625 h 4496940"/>
              <a:gd name="connsiteX37" fmla="*/ 4307227 w 4519987"/>
              <a:gd name="connsiteY37" fmla="*/ 1266825 h 4496940"/>
              <a:gd name="connsiteX38" fmla="*/ 4345327 w 4519987"/>
              <a:gd name="connsiteY38" fmla="*/ 1362075 h 4496940"/>
              <a:gd name="connsiteX39" fmla="*/ 4373902 w 4519987"/>
              <a:gd name="connsiteY39" fmla="*/ 1428750 h 4496940"/>
              <a:gd name="connsiteX40" fmla="*/ 4392952 w 4519987"/>
              <a:gd name="connsiteY40" fmla="*/ 1552575 h 4496940"/>
              <a:gd name="connsiteX41" fmla="*/ 4402477 w 4519987"/>
              <a:gd name="connsiteY41" fmla="*/ 1590675 h 4496940"/>
              <a:gd name="connsiteX42" fmla="*/ 4431052 w 4519987"/>
              <a:gd name="connsiteY42" fmla="*/ 1685925 h 4496940"/>
              <a:gd name="connsiteX43" fmla="*/ 4519952 w 4519987"/>
              <a:gd name="connsiteY43" fmla="*/ 2181225 h 4496940"/>
              <a:gd name="connsiteX44" fmla="*/ 4446927 w 4519987"/>
              <a:gd name="connsiteY44" fmla="*/ 2768600 h 4496940"/>
              <a:gd name="connsiteX45" fmla="*/ 4383427 w 4519987"/>
              <a:gd name="connsiteY45" fmla="*/ 2990850 h 4496940"/>
              <a:gd name="connsiteX46" fmla="*/ 4278652 w 4519987"/>
              <a:gd name="connsiteY46" fmla="*/ 3248025 h 4496940"/>
              <a:gd name="connsiteX47" fmla="*/ 4259602 w 4519987"/>
              <a:gd name="connsiteY47" fmla="*/ 3276600 h 4496940"/>
              <a:gd name="connsiteX48" fmla="*/ 4221502 w 4519987"/>
              <a:gd name="connsiteY48" fmla="*/ 3333750 h 4496940"/>
              <a:gd name="connsiteX49" fmla="*/ 4211977 w 4519987"/>
              <a:gd name="connsiteY49" fmla="*/ 3362325 h 4496940"/>
              <a:gd name="connsiteX50" fmla="*/ 4183402 w 4519987"/>
              <a:gd name="connsiteY50" fmla="*/ 3400425 h 4496940"/>
              <a:gd name="connsiteX51" fmla="*/ 4164352 w 4519987"/>
              <a:gd name="connsiteY51" fmla="*/ 3429000 h 4496940"/>
              <a:gd name="connsiteX52" fmla="*/ 4088152 w 4519987"/>
              <a:gd name="connsiteY52" fmla="*/ 3495675 h 4496940"/>
              <a:gd name="connsiteX53" fmla="*/ 4059577 w 4519987"/>
              <a:gd name="connsiteY53" fmla="*/ 3533775 h 4496940"/>
              <a:gd name="connsiteX54" fmla="*/ 4002427 w 4519987"/>
              <a:gd name="connsiteY54" fmla="*/ 3600450 h 4496940"/>
              <a:gd name="connsiteX55" fmla="*/ 3983377 w 4519987"/>
              <a:gd name="connsiteY55" fmla="*/ 3629025 h 4496940"/>
              <a:gd name="connsiteX56" fmla="*/ 3954802 w 4519987"/>
              <a:gd name="connsiteY56" fmla="*/ 3648075 h 4496940"/>
              <a:gd name="connsiteX57" fmla="*/ 3907177 w 4519987"/>
              <a:gd name="connsiteY57" fmla="*/ 3686175 h 4496940"/>
              <a:gd name="connsiteX58" fmla="*/ 3869077 w 4519987"/>
              <a:gd name="connsiteY58" fmla="*/ 3724275 h 4496940"/>
              <a:gd name="connsiteX59" fmla="*/ 3792877 w 4519987"/>
              <a:gd name="connsiteY59" fmla="*/ 3781425 h 4496940"/>
              <a:gd name="connsiteX60" fmla="*/ 3783352 w 4519987"/>
              <a:gd name="connsiteY60" fmla="*/ 3810000 h 4496940"/>
              <a:gd name="connsiteX61" fmla="*/ 3745252 w 4519987"/>
              <a:gd name="connsiteY61" fmla="*/ 3819525 h 4496940"/>
              <a:gd name="connsiteX62" fmla="*/ 3678577 w 4519987"/>
              <a:gd name="connsiteY62" fmla="*/ 3848100 h 4496940"/>
              <a:gd name="connsiteX63" fmla="*/ 3659527 w 4519987"/>
              <a:gd name="connsiteY63" fmla="*/ 3971925 h 4496940"/>
              <a:gd name="connsiteX64" fmla="*/ 3630952 w 4519987"/>
              <a:gd name="connsiteY64" fmla="*/ 4010025 h 4496940"/>
              <a:gd name="connsiteX65" fmla="*/ 3621427 w 4519987"/>
              <a:gd name="connsiteY65" fmla="*/ 4038600 h 4496940"/>
              <a:gd name="connsiteX66" fmla="*/ 3554752 w 4519987"/>
              <a:gd name="connsiteY66" fmla="*/ 4095750 h 4496940"/>
              <a:gd name="connsiteX67" fmla="*/ 3516652 w 4519987"/>
              <a:gd name="connsiteY67" fmla="*/ 4114800 h 4496940"/>
              <a:gd name="connsiteX68" fmla="*/ 3497602 w 4519987"/>
              <a:gd name="connsiteY68" fmla="*/ 4143375 h 4496940"/>
              <a:gd name="connsiteX69" fmla="*/ 3383302 w 4519987"/>
              <a:gd name="connsiteY69" fmla="*/ 4210050 h 4496940"/>
              <a:gd name="connsiteX70" fmla="*/ 3335677 w 4519987"/>
              <a:gd name="connsiteY70" fmla="*/ 4238625 h 4496940"/>
              <a:gd name="connsiteX71" fmla="*/ 3288052 w 4519987"/>
              <a:gd name="connsiteY71" fmla="*/ 4248150 h 4496940"/>
              <a:gd name="connsiteX72" fmla="*/ 3240427 w 4519987"/>
              <a:gd name="connsiteY72" fmla="*/ 4267200 h 4496940"/>
              <a:gd name="connsiteX73" fmla="*/ 3068977 w 4519987"/>
              <a:gd name="connsiteY73" fmla="*/ 4286250 h 4496940"/>
              <a:gd name="connsiteX74" fmla="*/ 2935627 w 4519987"/>
              <a:gd name="connsiteY74" fmla="*/ 4333875 h 4496940"/>
              <a:gd name="connsiteX75" fmla="*/ 2811802 w 4519987"/>
              <a:gd name="connsiteY75" fmla="*/ 4371975 h 4496940"/>
              <a:gd name="connsiteX76" fmla="*/ 2745127 w 4519987"/>
              <a:gd name="connsiteY76" fmla="*/ 4410075 h 4496940"/>
              <a:gd name="connsiteX77" fmla="*/ 2697502 w 4519987"/>
              <a:gd name="connsiteY77" fmla="*/ 4429125 h 4496940"/>
              <a:gd name="connsiteX78" fmla="*/ 2640352 w 4519987"/>
              <a:gd name="connsiteY78" fmla="*/ 4457700 h 4496940"/>
              <a:gd name="connsiteX79" fmla="*/ 2583202 w 4519987"/>
              <a:gd name="connsiteY79" fmla="*/ 4467225 h 4496940"/>
              <a:gd name="connsiteX80" fmla="*/ 2545102 w 4519987"/>
              <a:gd name="connsiteY80" fmla="*/ 4486275 h 4496940"/>
              <a:gd name="connsiteX81" fmla="*/ 2306977 w 4519987"/>
              <a:gd name="connsiteY81" fmla="*/ 4476750 h 4496940"/>
              <a:gd name="connsiteX82" fmla="*/ 2202202 w 4519987"/>
              <a:gd name="connsiteY82" fmla="*/ 4457700 h 4496940"/>
              <a:gd name="connsiteX83" fmla="*/ 2126002 w 4519987"/>
              <a:gd name="connsiteY83" fmla="*/ 4429125 h 4496940"/>
              <a:gd name="connsiteX84" fmla="*/ 1935502 w 4519987"/>
              <a:gd name="connsiteY84" fmla="*/ 4400550 h 4496940"/>
              <a:gd name="connsiteX85" fmla="*/ 1821202 w 4519987"/>
              <a:gd name="connsiteY85" fmla="*/ 4371975 h 4496940"/>
              <a:gd name="connsiteX86" fmla="*/ 1754527 w 4519987"/>
              <a:gd name="connsiteY86" fmla="*/ 4352925 h 4496940"/>
              <a:gd name="connsiteX87" fmla="*/ 1687852 w 4519987"/>
              <a:gd name="connsiteY87" fmla="*/ 4343400 h 4496940"/>
              <a:gd name="connsiteX88" fmla="*/ 1573552 w 4519987"/>
              <a:gd name="connsiteY88" fmla="*/ 4305300 h 4496940"/>
              <a:gd name="connsiteX89" fmla="*/ 1402102 w 4519987"/>
              <a:gd name="connsiteY89" fmla="*/ 4276725 h 4496940"/>
              <a:gd name="connsiteX90" fmla="*/ 1287802 w 4519987"/>
              <a:gd name="connsiteY90" fmla="*/ 4229100 h 4496940"/>
              <a:gd name="connsiteX91" fmla="*/ 1221127 w 4519987"/>
              <a:gd name="connsiteY91" fmla="*/ 4200525 h 4496940"/>
              <a:gd name="connsiteX92" fmla="*/ 1144927 w 4519987"/>
              <a:gd name="connsiteY92" fmla="*/ 4171950 h 4496940"/>
              <a:gd name="connsiteX93" fmla="*/ 1087777 w 4519987"/>
              <a:gd name="connsiteY93" fmla="*/ 4143375 h 4496940"/>
              <a:gd name="connsiteX94" fmla="*/ 1030627 w 4519987"/>
              <a:gd name="connsiteY94" fmla="*/ 4124325 h 4496940"/>
              <a:gd name="connsiteX95" fmla="*/ 925852 w 4519987"/>
              <a:gd name="connsiteY95" fmla="*/ 4067175 h 4496940"/>
              <a:gd name="connsiteX96" fmla="*/ 830602 w 4519987"/>
              <a:gd name="connsiteY96" fmla="*/ 3981450 h 4496940"/>
              <a:gd name="connsiteX97" fmla="*/ 763927 w 4519987"/>
              <a:gd name="connsiteY97" fmla="*/ 3914775 h 4496940"/>
              <a:gd name="connsiteX98" fmla="*/ 725827 w 4519987"/>
              <a:gd name="connsiteY98" fmla="*/ 3876675 h 4496940"/>
              <a:gd name="connsiteX99" fmla="*/ 697252 w 4519987"/>
              <a:gd name="connsiteY99" fmla="*/ 3838575 h 4496940"/>
              <a:gd name="connsiteX100" fmla="*/ 640102 w 4519987"/>
              <a:gd name="connsiteY100" fmla="*/ 3781425 h 4496940"/>
              <a:gd name="connsiteX101" fmla="*/ 611527 w 4519987"/>
              <a:gd name="connsiteY101" fmla="*/ 3733800 h 4496940"/>
              <a:gd name="connsiteX102" fmla="*/ 554377 w 4519987"/>
              <a:gd name="connsiteY102" fmla="*/ 3657600 h 4496940"/>
              <a:gd name="connsiteX103" fmla="*/ 525802 w 4519987"/>
              <a:gd name="connsiteY103" fmla="*/ 3609975 h 4496940"/>
              <a:gd name="connsiteX104" fmla="*/ 497227 w 4519987"/>
              <a:gd name="connsiteY104" fmla="*/ 3552825 h 4496940"/>
              <a:gd name="connsiteX105" fmla="*/ 440077 w 4519987"/>
              <a:gd name="connsiteY105" fmla="*/ 3495675 h 4496940"/>
              <a:gd name="connsiteX106" fmla="*/ 411502 w 4519987"/>
              <a:gd name="connsiteY106" fmla="*/ 3448050 h 4496940"/>
              <a:gd name="connsiteX107" fmla="*/ 278152 w 4519987"/>
              <a:gd name="connsiteY107" fmla="*/ 3257550 h 4496940"/>
              <a:gd name="connsiteX108" fmla="*/ 249577 w 4519987"/>
              <a:gd name="connsiteY108" fmla="*/ 3200400 h 4496940"/>
              <a:gd name="connsiteX109" fmla="*/ 240052 w 4519987"/>
              <a:gd name="connsiteY109" fmla="*/ 3162300 h 4496940"/>
              <a:gd name="connsiteX110" fmla="*/ 221002 w 4519987"/>
              <a:gd name="connsiteY110" fmla="*/ 3105150 h 4496940"/>
              <a:gd name="connsiteX111" fmla="*/ 173377 w 4519987"/>
              <a:gd name="connsiteY111" fmla="*/ 3019425 h 4496940"/>
              <a:gd name="connsiteX112" fmla="*/ 144802 w 4519987"/>
              <a:gd name="connsiteY112" fmla="*/ 2924175 h 4496940"/>
              <a:gd name="connsiteX113" fmla="*/ 68602 w 4519987"/>
              <a:gd name="connsiteY113" fmla="*/ 2724150 h 4496940"/>
              <a:gd name="connsiteX114" fmla="*/ 49552 w 4519987"/>
              <a:gd name="connsiteY114" fmla="*/ 2638425 h 4496940"/>
              <a:gd name="connsiteX115" fmla="*/ 40027 w 4519987"/>
              <a:gd name="connsiteY115" fmla="*/ 2562225 h 4496940"/>
              <a:gd name="connsiteX116" fmla="*/ 30502 w 4519987"/>
              <a:gd name="connsiteY116" fmla="*/ 2514600 h 4496940"/>
              <a:gd name="connsiteX117" fmla="*/ 11452 w 4519987"/>
              <a:gd name="connsiteY117" fmla="*/ 2400300 h 4496940"/>
              <a:gd name="connsiteX118" fmla="*/ 20977 w 4519987"/>
              <a:gd name="connsiteY118" fmla="*/ 1905000 h 4496940"/>
              <a:gd name="connsiteX119" fmla="*/ 30502 w 4519987"/>
              <a:gd name="connsiteY119" fmla="*/ 1838325 h 4496940"/>
              <a:gd name="connsiteX120" fmla="*/ 49552 w 4519987"/>
              <a:gd name="connsiteY120" fmla="*/ 1781175 h 4496940"/>
              <a:gd name="connsiteX121" fmla="*/ 59077 w 4519987"/>
              <a:gd name="connsiteY121" fmla="*/ 1743075 h 4496940"/>
              <a:gd name="connsiteX122" fmla="*/ 78127 w 4519987"/>
              <a:gd name="connsiteY122" fmla="*/ 1685925 h 4496940"/>
              <a:gd name="connsiteX123" fmla="*/ 87652 w 4519987"/>
              <a:gd name="connsiteY123" fmla="*/ 1638300 h 4496940"/>
              <a:gd name="connsiteX124" fmla="*/ 106702 w 4519987"/>
              <a:gd name="connsiteY124" fmla="*/ 1590675 h 4496940"/>
              <a:gd name="connsiteX125" fmla="*/ 135277 w 4519987"/>
              <a:gd name="connsiteY125" fmla="*/ 1504950 h 4496940"/>
              <a:gd name="connsiteX126" fmla="*/ 154327 w 4519987"/>
              <a:gd name="connsiteY126" fmla="*/ 1419225 h 4496940"/>
              <a:gd name="connsiteX127" fmla="*/ 230527 w 4519987"/>
              <a:gd name="connsiteY127" fmla="*/ 1276350 h 4496940"/>
              <a:gd name="connsiteX128" fmla="*/ 240052 w 4519987"/>
              <a:gd name="connsiteY128" fmla="*/ 1247775 h 4496940"/>
              <a:gd name="connsiteX129" fmla="*/ 268627 w 4519987"/>
              <a:gd name="connsiteY129" fmla="*/ 1200150 h 4496940"/>
              <a:gd name="connsiteX130" fmla="*/ 287677 w 4519987"/>
              <a:gd name="connsiteY130" fmla="*/ 1152525 h 4496940"/>
              <a:gd name="connsiteX131" fmla="*/ 316252 w 4519987"/>
              <a:gd name="connsiteY131" fmla="*/ 1114425 h 4496940"/>
              <a:gd name="connsiteX132" fmla="*/ 363877 w 4519987"/>
              <a:gd name="connsiteY132" fmla="*/ 1038225 h 4496940"/>
              <a:gd name="connsiteX133" fmla="*/ 382927 w 4519987"/>
              <a:gd name="connsiteY133" fmla="*/ 1009650 h 4496940"/>
              <a:gd name="connsiteX134" fmla="*/ 440077 w 4519987"/>
              <a:gd name="connsiteY134" fmla="*/ 904875 h 4496940"/>
              <a:gd name="connsiteX135" fmla="*/ 478177 w 4519987"/>
              <a:gd name="connsiteY135" fmla="*/ 857250 h 4496940"/>
              <a:gd name="connsiteX136" fmla="*/ 497227 w 4519987"/>
              <a:gd name="connsiteY136" fmla="*/ 828675 h 4496940"/>
              <a:gd name="connsiteX137" fmla="*/ 535327 w 4519987"/>
              <a:gd name="connsiteY137" fmla="*/ 800100 h 4496940"/>
              <a:gd name="connsiteX138" fmla="*/ 602002 w 4519987"/>
              <a:gd name="connsiteY138" fmla="*/ 733425 h 4496940"/>
              <a:gd name="connsiteX139" fmla="*/ 668677 w 4519987"/>
              <a:gd name="connsiteY139" fmla="*/ 676275 h 4496940"/>
              <a:gd name="connsiteX140" fmla="*/ 697252 w 4519987"/>
              <a:gd name="connsiteY140" fmla="*/ 657225 h 4496940"/>
              <a:gd name="connsiteX141" fmla="*/ 840127 w 4519987"/>
              <a:gd name="connsiteY141" fmla="*/ 533400 h 4496940"/>
              <a:gd name="connsiteX142" fmla="*/ 887752 w 4519987"/>
              <a:gd name="connsiteY142" fmla="*/ 504825 h 4496940"/>
              <a:gd name="connsiteX143" fmla="*/ 1167152 w 4519987"/>
              <a:gd name="connsiteY143" fmla="*/ 311150 h 4496940"/>
              <a:gd name="connsiteX144" fmla="*/ 1268752 w 4519987"/>
              <a:gd name="connsiteY144" fmla="*/ 285750 h 4496940"/>
              <a:gd name="connsiteX145" fmla="*/ 1411627 w 4519987"/>
              <a:gd name="connsiteY145" fmla="*/ 190500 h 4496940"/>
              <a:gd name="connsiteX146" fmla="*/ 1449727 w 4519987"/>
              <a:gd name="connsiteY146" fmla="*/ 161925 h 4496940"/>
              <a:gd name="connsiteX147" fmla="*/ 1525927 w 4519987"/>
              <a:gd name="connsiteY147" fmla="*/ 152400 h 4496940"/>
              <a:gd name="connsiteX148" fmla="*/ 1583077 w 4519987"/>
              <a:gd name="connsiteY148" fmla="*/ 142875 h 4496940"/>
              <a:gd name="connsiteX149" fmla="*/ 1716427 w 4519987"/>
              <a:gd name="connsiteY149" fmla="*/ 123825 h 4496940"/>
              <a:gd name="connsiteX150" fmla="*/ 1811677 w 4519987"/>
              <a:gd name="connsiteY150" fmla="*/ 114300 h 4496940"/>
              <a:gd name="connsiteX151" fmla="*/ 1859302 w 4519987"/>
              <a:gd name="connsiteY151" fmla="*/ 104775 h 4496940"/>
              <a:gd name="connsiteX152" fmla="*/ 1916452 w 4519987"/>
              <a:gd name="connsiteY152" fmla="*/ 95250 h 4496940"/>
              <a:gd name="connsiteX153" fmla="*/ 2030752 w 4519987"/>
              <a:gd name="connsiteY153" fmla="*/ 66675 h 4496940"/>
              <a:gd name="connsiteX154" fmla="*/ 2097427 w 4519987"/>
              <a:gd name="connsiteY154" fmla="*/ 47625 h 4496940"/>
              <a:gd name="connsiteX155" fmla="*/ 2164102 w 4519987"/>
              <a:gd name="connsiteY155" fmla="*/ 38100 h 4496940"/>
              <a:gd name="connsiteX156" fmla="*/ 2392702 w 4519987"/>
              <a:gd name="connsiteY15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35777 w 4519987"/>
              <a:gd name="connsiteY29" fmla="*/ 933450 h 4496940"/>
              <a:gd name="connsiteX30" fmla="*/ 4164352 w 4519987"/>
              <a:gd name="connsiteY30" fmla="*/ 990600 h 4496940"/>
              <a:gd name="connsiteX31" fmla="*/ 4173877 w 4519987"/>
              <a:gd name="connsiteY31" fmla="*/ 1019175 h 4496940"/>
              <a:gd name="connsiteX32" fmla="*/ 4192927 w 4519987"/>
              <a:gd name="connsiteY32" fmla="*/ 1057275 h 4496940"/>
              <a:gd name="connsiteX33" fmla="*/ 4202452 w 4519987"/>
              <a:gd name="connsiteY33" fmla="*/ 1085850 h 4496940"/>
              <a:gd name="connsiteX34" fmla="*/ 4250077 w 4519987"/>
              <a:gd name="connsiteY34" fmla="*/ 1143000 h 4496940"/>
              <a:gd name="connsiteX35" fmla="*/ 4259602 w 4519987"/>
              <a:gd name="connsiteY35" fmla="*/ 1190625 h 4496940"/>
              <a:gd name="connsiteX36" fmla="*/ 4307227 w 4519987"/>
              <a:gd name="connsiteY36" fmla="*/ 1266825 h 4496940"/>
              <a:gd name="connsiteX37" fmla="*/ 4345327 w 4519987"/>
              <a:gd name="connsiteY37" fmla="*/ 1362075 h 4496940"/>
              <a:gd name="connsiteX38" fmla="*/ 4373902 w 4519987"/>
              <a:gd name="connsiteY38" fmla="*/ 1428750 h 4496940"/>
              <a:gd name="connsiteX39" fmla="*/ 4392952 w 4519987"/>
              <a:gd name="connsiteY39" fmla="*/ 1552575 h 4496940"/>
              <a:gd name="connsiteX40" fmla="*/ 4402477 w 4519987"/>
              <a:gd name="connsiteY40" fmla="*/ 1590675 h 4496940"/>
              <a:gd name="connsiteX41" fmla="*/ 4431052 w 4519987"/>
              <a:gd name="connsiteY41" fmla="*/ 1685925 h 4496940"/>
              <a:gd name="connsiteX42" fmla="*/ 4519952 w 4519987"/>
              <a:gd name="connsiteY42" fmla="*/ 2181225 h 4496940"/>
              <a:gd name="connsiteX43" fmla="*/ 4446927 w 4519987"/>
              <a:gd name="connsiteY43" fmla="*/ 2768600 h 4496940"/>
              <a:gd name="connsiteX44" fmla="*/ 4383427 w 4519987"/>
              <a:gd name="connsiteY44" fmla="*/ 2990850 h 4496940"/>
              <a:gd name="connsiteX45" fmla="*/ 4278652 w 4519987"/>
              <a:gd name="connsiteY45" fmla="*/ 3248025 h 4496940"/>
              <a:gd name="connsiteX46" fmla="*/ 4259602 w 4519987"/>
              <a:gd name="connsiteY46" fmla="*/ 3276600 h 4496940"/>
              <a:gd name="connsiteX47" fmla="*/ 4221502 w 4519987"/>
              <a:gd name="connsiteY47" fmla="*/ 3333750 h 4496940"/>
              <a:gd name="connsiteX48" fmla="*/ 4211977 w 4519987"/>
              <a:gd name="connsiteY48" fmla="*/ 3362325 h 4496940"/>
              <a:gd name="connsiteX49" fmla="*/ 4183402 w 4519987"/>
              <a:gd name="connsiteY49" fmla="*/ 3400425 h 4496940"/>
              <a:gd name="connsiteX50" fmla="*/ 4164352 w 4519987"/>
              <a:gd name="connsiteY50" fmla="*/ 3429000 h 4496940"/>
              <a:gd name="connsiteX51" fmla="*/ 4088152 w 4519987"/>
              <a:gd name="connsiteY51" fmla="*/ 3495675 h 4496940"/>
              <a:gd name="connsiteX52" fmla="*/ 4059577 w 4519987"/>
              <a:gd name="connsiteY52" fmla="*/ 3533775 h 4496940"/>
              <a:gd name="connsiteX53" fmla="*/ 4002427 w 4519987"/>
              <a:gd name="connsiteY53" fmla="*/ 3600450 h 4496940"/>
              <a:gd name="connsiteX54" fmla="*/ 3983377 w 4519987"/>
              <a:gd name="connsiteY54" fmla="*/ 3629025 h 4496940"/>
              <a:gd name="connsiteX55" fmla="*/ 3954802 w 4519987"/>
              <a:gd name="connsiteY55" fmla="*/ 3648075 h 4496940"/>
              <a:gd name="connsiteX56" fmla="*/ 3907177 w 4519987"/>
              <a:gd name="connsiteY56" fmla="*/ 3686175 h 4496940"/>
              <a:gd name="connsiteX57" fmla="*/ 3869077 w 4519987"/>
              <a:gd name="connsiteY57" fmla="*/ 3724275 h 4496940"/>
              <a:gd name="connsiteX58" fmla="*/ 3792877 w 4519987"/>
              <a:gd name="connsiteY58" fmla="*/ 3781425 h 4496940"/>
              <a:gd name="connsiteX59" fmla="*/ 3783352 w 4519987"/>
              <a:gd name="connsiteY59" fmla="*/ 3810000 h 4496940"/>
              <a:gd name="connsiteX60" fmla="*/ 3745252 w 4519987"/>
              <a:gd name="connsiteY60" fmla="*/ 3819525 h 4496940"/>
              <a:gd name="connsiteX61" fmla="*/ 3678577 w 4519987"/>
              <a:gd name="connsiteY61" fmla="*/ 3848100 h 4496940"/>
              <a:gd name="connsiteX62" fmla="*/ 3659527 w 4519987"/>
              <a:gd name="connsiteY62" fmla="*/ 3971925 h 4496940"/>
              <a:gd name="connsiteX63" fmla="*/ 3630952 w 4519987"/>
              <a:gd name="connsiteY63" fmla="*/ 4010025 h 4496940"/>
              <a:gd name="connsiteX64" fmla="*/ 3621427 w 4519987"/>
              <a:gd name="connsiteY64" fmla="*/ 4038600 h 4496940"/>
              <a:gd name="connsiteX65" fmla="*/ 3554752 w 4519987"/>
              <a:gd name="connsiteY65" fmla="*/ 4095750 h 4496940"/>
              <a:gd name="connsiteX66" fmla="*/ 3516652 w 4519987"/>
              <a:gd name="connsiteY66" fmla="*/ 4114800 h 4496940"/>
              <a:gd name="connsiteX67" fmla="*/ 3497602 w 4519987"/>
              <a:gd name="connsiteY67" fmla="*/ 4143375 h 4496940"/>
              <a:gd name="connsiteX68" fmla="*/ 3383302 w 4519987"/>
              <a:gd name="connsiteY68" fmla="*/ 4210050 h 4496940"/>
              <a:gd name="connsiteX69" fmla="*/ 3335677 w 4519987"/>
              <a:gd name="connsiteY69" fmla="*/ 4238625 h 4496940"/>
              <a:gd name="connsiteX70" fmla="*/ 3288052 w 4519987"/>
              <a:gd name="connsiteY70" fmla="*/ 4248150 h 4496940"/>
              <a:gd name="connsiteX71" fmla="*/ 3240427 w 4519987"/>
              <a:gd name="connsiteY71" fmla="*/ 4267200 h 4496940"/>
              <a:gd name="connsiteX72" fmla="*/ 3068977 w 4519987"/>
              <a:gd name="connsiteY72" fmla="*/ 4286250 h 4496940"/>
              <a:gd name="connsiteX73" fmla="*/ 2935627 w 4519987"/>
              <a:gd name="connsiteY73" fmla="*/ 4333875 h 4496940"/>
              <a:gd name="connsiteX74" fmla="*/ 2811802 w 4519987"/>
              <a:gd name="connsiteY74" fmla="*/ 4371975 h 4496940"/>
              <a:gd name="connsiteX75" fmla="*/ 2745127 w 4519987"/>
              <a:gd name="connsiteY75" fmla="*/ 4410075 h 4496940"/>
              <a:gd name="connsiteX76" fmla="*/ 2697502 w 4519987"/>
              <a:gd name="connsiteY76" fmla="*/ 4429125 h 4496940"/>
              <a:gd name="connsiteX77" fmla="*/ 2640352 w 4519987"/>
              <a:gd name="connsiteY77" fmla="*/ 4457700 h 4496940"/>
              <a:gd name="connsiteX78" fmla="*/ 2583202 w 4519987"/>
              <a:gd name="connsiteY78" fmla="*/ 4467225 h 4496940"/>
              <a:gd name="connsiteX79" fmla="*/ 2545102 w 4519987"/>
              <a:gd name="connsiteY79" fmla="*/ 4486275 h 4496940"/>
              <a:gd name="connsiteX80" fmla="*/ 2306977 w 4519987"/>
              <a:gd name="connsiteY80" fmla="*/ 4476750 h 4496940"/>
              <a:gd name="connsiteX81" fmla="*/ 2202202 w 4519987"/>
              <a:gd name="connsiteY81" fmla="*/ 4457700 h 4496940"/>
              <a:gd name="connsiteX82" fmla="*/ 2126002 w 4519987"/>
              <a:gd name="connsiteY82" fmla="*/ 4429125 h 4496940"/>
              <a:gd name="connsiteX83" fmla="*/ 1935502 w 4519987"/>
              <a:gd name="connsiteY83" fmla="*/ 4400550 h 4496940"/>
              <a:gd name="connsiteX84" fmla="*/ 1821202 w 4519987"/>
              <a:gd name="connsiteY84" fmla="*/ 4371975 h 4496940"/>
              <a:gd name="connsiteX85" fmla="*/ 1754527 w 4519987"/>
              <a:gd name="connsiteY85" fmla="*/ 4352925 h 4496940"/>
              <a:gd name="connsiteX86" fmla="*/ 1687852 w 4519987"/>
              <a:gd name="connsiteY86" fmla="*/ 4343400 h 4496940"/>
              <a:gd name="connsiteX87" fmla="*/ 1573552 w 4519987"/>
              <a:gd name="connsiteY87" fmla="*/ 4305300 h 4496940"/>
              <a:gd name="connsiteX88" fmla="*/ 1402102 w 4519987"/>
              <a:gd name="connsiteY88" fmla="*/ 4276725 h 4496940"/>
              <a:gd name="connsiteX89" fmla="*/ 1287802 w 4519987"/>
              <a:gd name="connsiteY89" fmla="*/ 4229100 h 4496940"/>
              <a:gd name="connsiteX90" fmla="*/ 1221127 w 4519987"/>
              <a:gd name="connsiteY90" fmla="*/ 4200525 h 4496940"/>
              <a:gd name="connsiteX91" fmla="*/ 1144927 w 4519987"/>
              <a:gd name="connsiteY91" fmla="*/ 4171950 h 4496940"/>
              <a:gd name="connsiteX92" fmla="*/ 1087777 w 4519987"/>
              <a:gd name="connsiteY92" fmla="*/ 4143375 h 4496940"/>
              <a:gd name="connsiteX93" fmla="*/ 1030627 w 4519987"/>
              <a:gd name="connsiteY93" fmla="*/ 4124325 h 4496940"/>
              <a:gd name="connsiteX94" fmla="*/ 925852 w 4519987"/>
              <a:gd name="connsiteY94" fmla="*/ 4067175 h 4496940"/>
              <a:gd name="connsiteX95" fmla="*/ 830602 w 4519987"/>
              <a:gd name="connsiteY95" fmla="*/ 3981450 h 4496940"/>
              <a:gd name="connsiteX96" fmla="*/ 763927 w 4519987"/>
              <a:gd name="connsiteY96" fmla="*/ 3914775 h 4496940"/>
              <a:gd name="connsiteX97" fmla="*/ 725827 w 4519987"/>
              <a:gd name="connsiteY97" fmla="*/ 3876675 h 4496940"/>
              <a:gd name="connsiteX98" fmla="*/ 697252 w 4519987"/>
              <a:gd name="connsiteY98" fmla="*/ 3838575 h 4496940"/>
              <a:gd name="connsiteX99" fmla="*/ 640102 w 4519987"/>
              <a:gd name="connsiteY99" fmla="*/ 3781425 h 4496940"/>
              <a:gd name="connsiteX100" fmla="*/ 611527 w 4519987"/>
              <a:gd name="connsiteY100" fmla="*/ 3733800 h 4496940"/>
              <a:gd name="connsiteX101" fmla="*/ 554377 w 4519987"/>
              <a:gd name="connsiteY101" fmla="*/ 3657600 h 4496940"/>
              <a:gd name="connsiteX102" fmla="*/ 525802 w 4519987"/>
              <a:gd name="connsiteY102" fmla="*/ 3609975 h 4496940"/>
              <a:gd name="connsiteX103" fmla="*/ 497227 w 4519987"/>
              <a:gd name="connsiteY103" fmla="*/ 3552825 h 4496940"/>
              <a:gd name="connsiteX104" fmla="*/ 440077 w 4519987"/>
              <a:gd name="connsiteY104" fmla="*/ 3495675 h 4496940"/>
              <a:gd name="connsiteX105" fmla="*/ 411502 w 4519987"/>
              <a:gd name="connsiteY105" fmla="*/ 3448050 h 4496940"/>
              <a:gd name="connsiteX106" fmla="*/ 278152 w 4519987"/>
              <a:gd name="connsiteY106" fmla="*/ 3257550 h 4496940"/>
              <a:gd name="connsiteX107" fmla="*/ 249577 w 4519987"/>
              <a:gd name="connsiteY107" fmla="*/ 3200400 h 4496940"/>
              <a:gd name="connsiteX108" fmla="*/ 240052 w 4519987"/>
              <a:gd name="connsiteY108" fmla="*/ 3162300 h 4496940"/>
              <a:gd name="connsiteX109" fmla="*/ 221002 w 4519987"/>
              <a:gd name="connsiteY109" fmla="*/ 3105150 h 4496940"/>
              <a:gd name="connsiteX110" fmla="*/ 173377 w 4519987"/>
              <a:gd name="connsiteY110" fmla="*/ 3019425 h 4496940"/>
              <a:gd name="connsiteX111" fmla="*/ 144802 w 4519987"/>
              <a:gd name="connsiteY111" fmla="*/ 2924175 h 4496940"/>
              <a:gd name="connsiteX112" fmla="*/ 68602 w 4519987"/>
              <a:gd name="connsiteY112" fmla="*/ 2724150 h 4496940"/>
              <a:gd name="connsiteX113" fmla="*/ 49552 w 4519987"/>
              <a:gd name="connsiteY113" fmla="*/ 2638425 h 4496940"/>
              <a:gd name="connsiteX114" fmla="*/ 40027 w 4519987"/>
              <a:gd name="connsiteY114" fmla="*/ 2562225 h 4496940"/>
              <a:gd name="connsiteX115" fmla="*/ 30502 w 4519987"/>
              <a:gd name="connsiteY115" fmla="*/ 2514600 h 4496940"/>
              <a:gd name="connsiteX116" fmla="*/ 11452 w 4519987"/>
              <a:gd name="connsiteY116" fmla="*/ 2400300 h 4496940"/>
              <a:gd name="connsiteX117" fmla="*/ 20977 w 4519987"/>
              <a:gd name="connsiteY117" fmla="*/ 1905000 h 4496940"/>
              <a:gd name="connsiteX118" fmla="*/ 30502 w 4519987"/>
              <a:gd name="connsiteY118" fmla="*/ 1838325 h 4496940"/>
              <a:gd name="connsiteX119" fmla="*/ 49552 w 4519987"/>
              <a:gd name="connsiteY119" fmla="*/ 1781175 h 4496940"/>
              <a:gd name="connsiteX120" fmla="*/ 59077 w 4519987"/>
              <a:gd name="connsiteY120" fmla="*/ 1743075 h 4496940"/>
              <a:gd name="connsiteX121" fmla="*/ 78127 w 4519987"/>
              <a:gd name="connsiteY121" fmla="*/ 1685925 h 4496940"/>
              <a:gd name="connsiteX122" fmla="*/ 87652 w 4519987"/>
              <a:gd name="connsiteY122" fmla="*/ 1638300 h 4496940"/>
              <a:gd name="connsiteX123" fmla="*/ 106702 w 4519987"/>
              <a:gd name="connsiteY123" fmla="*/ 1590675 h 4496940"/>
              <a:gd name="connsiteX124" fmla="*/ 135277 w 4519987"/>
              <a:gd name="connsiteY124" fmla="*/ 1504950 h 4496940"/>
              <a:gd name="connsiteX125" fmla="*/ 154327 w 4519987"/>
              <a:gd name="connsiteY125" fmla="*/ 1419225 h 4496940"/>
              <a:gd name="connsiteX126" fmla="*/ 230527 w 4519987"/>
              <a:gd name="connsiteY126" fmla="*/ 1276350 h 4496940"/>
              <a:gd name="connsiteX127" fmla="*/ 240052 w 4519987"/>
              <a:gd name="connsiteY127" fmla="*/ 1247775 h 4496940"/>
              <a:gd name="connsiteX128" fmla="*/ 268627 w 4519987"/>
              <a:gd name="connsiteY128" fmla="*/ 1200150 h 4496940"/>
              <a:gd name="connsiteX129" fmla="*/ 287677 w 4519987"/>
              <a:gd name="connsiteY129" fmla="*/ 1152525 h 4496940"/>
              <a:gd name="connsiteX130" fmla="*/ 316252 w 4519987"/>
              <a:gd name="connsiteY130" fmla="*/ 1114425 h 4496940"/>
              <a:gd name="connsiteX131" fmla="*/ 363877 w 4519987"/>
              <a:gd name="connsiteY131" fmla="*/ 1038225 h 4496940"/>
              <a:gd name="connsiteX132" fmla="*/ 382927 w 4519987"/>
              <a:gd name="connsiteY132" fmla="*/ 1009650 h 4496940"/>
              <a:gd name="connsiteX133" fmla="*/ 440077 w 4519987"/>
              <a:gd name="connsiteY133" fmla="*/ 904875 h 4496940"/>
              <a:gd name="connsiteX134" fmla="*/ 478177 w 4519987"/>
              <a:gd name="connsiteY134" fmla="*/ 857250 h 4496940"/>
              <a:gd name="connsiteX135" fmla="*/ 497227 w 4519987"/>
              <a:gd name="connsiteY135" fmla="*/ 828675 h 4496940"/>
              <a:gd name="connsiteX136" fmla="*/ 535327 w 4519987"/>
              <a:gd name="connsiteY136" fmla="*/ 800100 h 4496940"/>
              <a:gd name="connsiteX137" fmla="*/ 602002 w 4519987"/>
              <a:gd name="connsiteY137" fmla="*/ 733425 h 4496940"/>
              <a:gd name="connsiteX138" fmla="*/ 668677 w 4519987"/>
              <a:gd name="connsiteY138" fmla="*/ 676275 h 4496940"/>
              <a:gd name="connsiteX139" fmla="*/ 697252 w 4519987"/>
              <a:gd name="connsiteY139" fmla="*/ 657225 h 4496940"/>
              <a:gd name="connsiteX140" fmla="*/ 840127 w 4519987"/>
              <a:gd name="connsiteY140" fmla="*/ 533400 h 4496940"/>
              <a:gd name="connsiteX141" fmla="*/ 887752 w 4519987"/>
              <a:gd name="connsiteY141" fmla="*/ 504825 h 4496940"/>
              <a:gd name="connsiteX142" fmla="*/ 1167152 w 4519987"/>
              <a:gd name="connsiteY142" fmla="*/ 311150 h 4496940"/>
              <a:gd name="connsiteX143" fmla="*/ 1268752 w 4519987"/>
              <a:gd name="connsiteY143" fmla="*/ 285750 h 4496940"/>
              <a:gd name="connsiteX144" fmla="*/ 1411627 w 4519987"/>
              <a:gd name="connsiteY144" fmla="*/ 190500 h 4496940"/>
              <a:gd name="connsiteX145" fmla="*/ 1449727 w 4519987"/>
              <a:gd name="connsiteY145" fmla="*/ 161925 h 4496940"/>
              <a:gd name="connsiteX146" fmla="*/ 1525927 w 4519987"/>
              <a:gd name="connsiteY146" fmla="*/ 152400 h 4496940"/>
              <a:gd name="connsiteX147" fmla="*/ 1583077 w 4519987"/>
              <a:gd name="connsiteY147" fmla="*/ 142875 h 4496940"/>
              <a:gd name="connsiteX148" fmla="*/ 1716427 w 4519987"/>
              <a:gd name="connsiteY148" fmla="*/ 123825 h 4496940"/>
              <a:gd name="connsiteX149" fmla="*/ 1811677 w 4519987"/>
              <a:gd name="connsiteY149" fmla="*/ 114300 h 4496940"/>
              <a:gd name="connsiteX150" fmla="*/ 1859302 w 4519987"/>
              <a:gd name="connsiteY150" fmla="*/ 104775 h 4496940"/>
              <a:gd name="connsiteX151" fmla="*/ 1916452 w 4519987"/>
              <a:gd name="connsiteY151" fmla="*/ 95250 h 4496940"/>
              <a:gd name="connsiteX152" fmla="*/ 2030752 w 4519987"/>
              <a:gd name="connsiteY152" fmla="*/ 66675 h 4496940"/>
              <a:gd name="connsiteX153" fmla="*/ 2097427 w 4519987"/>
              <a:gd name="connsiteY153" fmla="*/ 47625 h 4496940"/>
              <a:gd name="connsiteX154" fmla="*/ 2164102 w 4519987"/>
              <a:gd name="connsiteY154" fmla="*/ 38100 h 4496940"/>
              <a:gd name="connsiteX155" fmla="*/ 2392702 w 4519987"/>
              <a:gd name="connsiteY15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907177 w 4519987"/>
              <a:gd name="connsiteY25" fmla="*/ 647700 h 4496940"/>
              <a:gd name="connsiteX26" fmla="*/ 3935752 w 4519987"/>
              <a:gd name="connsiteY26" fmla="*/ 676275 h 4496940"/>
              <a:gd name="connsiteX27" fmla="*/ 4078627 w 4519987"/>
              <a:gd name="connsiteY27" fmla="*/ 838200 h 4496940"/>
              <a:gd name="connsiteX28" fmla="*/ 4135777 w 4519987"/>
              <a:gd name="connsiteY28" fmla="*/ 933450 h 4496940"/>
              <a:gd name="connsiteX29" fmla="*/ 4164352 w 4519987"/>
              <a:gd name="connsiteY29" fmla="*/ 990600 h 4496940"/>
              <a:gd name="connsiteX30" fmla="*/ 4173877 w 4519987"/>
              <a:gd name="connsiteY30" fmla="*/ 1019175 h 4496940"/>
              <a:gd name="connsiteX31" fmla="*/ 4192927 w 4519987"/>
              <a:gd name="connsiteY31" fmla="*/ 1057275 h 4496940"/>
              <a:gd name="connsiteX32" fmla="*/ 4202452 w 4519987"/>
              <a:gd name="connsiteY32" fmla="*/ 1085850 h 4496940"/>
              <a:gd name="connsiteX33" fmla="*/ 4250077 w 4519987"/>
              <a:gd name="connsiteY33" fmla="*/ 1143000 h 4496940"/>
              <a:gd name="connsiteX34" fmla="*/ 4259602 w 4519987"/>
              <a:gd name="connsiteY34" fmla="*/ 1190625 h 4496940"/>
              <a:gd name="connsiteX35" fmla="*/ 4307227 w 4519987"/>
              <a:gd name="connsiteY35" fmla="*/ 1266825 h 4496940"/>
              <a:gd name="connsiteX36" fmla="*/ 4345327 w 4519987"/>
              <a:gd name="connsiteY36" fmla="*/ 1362075 h 4496940"/>
              <a:gd name="connsiteX37" fmla="*/ 4373902 w 4519987"/>
              <a:gd name="connsiteY37" fmla="*/ 1428750 h 4496940"/>
              <a:gd name="connsiteX38" fmla="*/ 4392952 w 4519987"/>
              <a:gd name="connsiteY38" fmla="*/ 1552575 h 4496940"/>
              <a:gd name="connsiteX39" fmla="*/ 4402477 w 4519987"/>
              <a:gd name="connsiteY39" fmla="*/ 1590675 h 4496940"/>
              <a:gd name="connsiteX40" fmla="*/ 4431052 w 4519987"/>
              <a:gd name="connsiteY40" fmla="*/ 1685925 h 4496940"/>
              <a:gd name="connsiteX41" fmla="*/ 4519952 w 4519987"/>
              <a:gd name="connsiteY41" fmla="*/ 2181225 h 4496940"/>
              <a:gd name="connsiteX42" fmla="*/ 4446927 w 4519987"/>
              <a:gd name="connsiteY42" fmla="*/ 2768600 h 4496940"/>
              <a:gd name="connsiteX43" fmla="*/ 4383427 w 4519987"/>
              <a:gd name="connsiteY43" fmla="*/ 2990850 h 4496940"/>
              <a:gd name="connsiteX44" fmla="*/ 4278652 w 4519987"/>
              <a:gd name="connsiteY44" fmla="*/ 3248025 h 4496940"/>
              <a:gd name="connsiteX45" fmla="*/ 4259602 w 4519987"/>
              <a:gd name="connsiteY45" fmla="*/ 3276600 h 4496940"/>
              <a:gd name="connsiteX46" fmla="*/ 4221502 w 4519987"/>
              <a:gd name="connsiteY46" fmla="*/ 3333750 h 4496940"/>
              <a:gd name="connsiteX47" fmla="*/ 4211977 w 4519987"/>
              <a:gd name="connsiteY47" fmla="*/ 3362325 h 4496940"/>
              <a:gd name="connsiteX48" fmla="*/ 4183402 w 4519987"/>
              <a:gd name="connsiteY48" fmla="*/ 3400425 h 4496940"/>
              <a:gd name="connsiteX49" fmla="*/ 4164352 w 4519987"/>
              <a:gd name="connsiteY49" fmla="*/ 3429000 h 4496940"/>
              <a:gd name="connsiteX50" fmla="*/ 4088152 w 4519987"/>
              <a:gd name="connsiteY50" fmla="*/ 3495675 h 4496940"/>
              <a:gd name="connsiteX51" fmla="*/ 4059577 w 4519987"/>
              <a:gd name="connsiteY51" fmla="*/ 3533775 h 4496940"/>
              <a:gd name="connsiteX52" fmla="*/ 4002427 w 4519987"/>
              <a:gd name="connsiteY52" fmla="*/ 3600450 h 4496940"/>
              <a:gd name="connsiteX53" fmla="*/ 3983377 w 4519987"/>
              <a:gd name="connsiteY53" fmla="*/ 3629025 h 4496940"/>
              <a:gd name="connsiteX54" fmla="*/ 3954802 w 4519987"/>
              <a:gd name="connsiteY54" fmla="*/ 3648075 h 4496940"/>
              <a:gd name="connsiteX55" fmla="*/ 3907177 w 4519987"/>
              <a:gd name="connsiteY55" fmla="*/ 3686175 h 4496940"/>
              <a:gd name="connsiteX56" fmla="*/ 3869077 w 4519987"/>
              <a:gd name="connsiteY56" fmla="*/ 3724275 h 4496940"/>
              <a:gd name="connsiteX57" fmla="*/ 3792877 w 4519987"/>
              <a:gd name="connsiteY57" fmla="*/ 3781425 h 4496940"/>
              <a:gd name="connsiteX58" fmla="*/ 3783352 w 4519987"/>
              <a:gd name="connsiteY58" fmla="*/ 3810000 h 4496940"/>
              <a:gd name="connsiteX59" fmla="*/ 3745252 w 4519987"/>
              <a:gd name="connsiteY59" fmla="*/ 3819525 h 4496940"/>
              <a:gd name="connsiteX60" fmla="*/ 3678577 w 4519987"/>
              <a:gd name="connsiteY60" fmla="*/ 3848100 h 4496940"/>
              <a:gd name="connsiteX61" fmla="*/ 3659527 w 4519987"/>
              <a:gd name="connsiteY61" fmla="*/ 3971925 h 4496940"/>
              <a:gd name="connsiteX62" fmla="*/ 3630952 w 4519987"/>
              <a:gd name="connsiteY62" fmla="*/ 4010025 h 4496940"/>
              <a:gd name="connsiteX63" fmla="*/ 3621427 w 4519987"/>
              <a:gd name="connsiteY63" fmla="*/ 4038600 h 4496940"/>
              <a:gd name="connsiteX64" fmla="*/ 3554752 w 4519987"/>
              <a:gd name="connsiteY64" fmla="*/ 4095750 h 4496940"/>
              <a:gd name="connsiteX65" fmla="*/ 3516652 w 4519987"/>
              <a:gd name="connsiteY65" fmla="*/ 4114800 h 4496940"/>
              <a:gd name="connsiteX66" fmla="*/ 3497602 w 4519987"/>
              <a:gd name="connsiteY66" fmla="*/ 4143375 h 4496940"/>
              <a:gd name="connsiteX67" fmla="*/ 3383302 w 4519987"/>
              <a:gd name="connsiteY67" fmla="*/ 4210050 h 4496940"/>
              <a:gd name="connsiteX68" fmla="*/ 3335677 w 4519987"/>
              <a:gd name="connsiteY68" fmla="*/ 4238625 h 4496940"/>
              <a:gd name="connsiteX69" fmla="*/ 3288052 w 4519987"/>
              <a:gd name="connsiteY69" fmla="*/ 4248150 h 4496940"/>
              <a:gd name="connsiteX70" fmla="*/ 3240427 w 4519987"/>
              <a:gd name="connsiteY70" fmla="*/ 4267200 h 4496940"/>
              <a:gd name="connsiteX71" fmla="*/ 3068977 w 4519987"/>
              <a:gd name="connsiteY71" fmla="*/ 4286250 h 4496940"/>
              <a:gd name="connsiteX72" fmla="*/ 2935627 w 4519987"/>
              <a:gd name="connsiteY72" fmla="*/ 4333875 h 4496940"/>
              <a:gd name="connsiteX73" fmla="*/ 2811802 w 4519987"/>
              <a:gd name="connsiteY73" fmla="*/ 4371975 h 4496940"/>
              <a:gd name="connsiteX74" fmla="*/ 2745127 w 4519987"/>
              <a:gd name="connsiteY74" fmla="*/ 4410075 h 4496940"/>
              <a:gd name="connsiteX75" fmla="*/ 2697502 w 4519987"/>
              <a:gd name="connsiteY75" fmla="*/ 4429125 h 4496940"/>
              <a:gd name="connsiteX76" fmla="*/ 2640352 w 4519987"/>
              <a:gd name="connsiteY76" fmla="*/ 4457700 h 4496940"/>
              <a:gd name="connsiteX77" fmla="*/ 2583202 w 4519987"/>
              <a:gd name="connsiteY77" fmla="*/ 4467225 h 4496940"/>
              <a:gd name="connsiteX78" fmla="*/ 2545102 w 4519987"/>
              <a:gd name="connsiteY78" fmla="*/ 4486275 h 4496940"/>
              <a:gd name="connsiteX79" fmla="*/ 2306977 w 4519987"/>
              <a:gd name="connsiteY79" fmla="*/ 4476750 h 4496940"/>
              <a:gd name="connsiteX80" fmla="*/ 2202202 w 4519987"/>
              <a:gd name="connsiteY80" fmla="*/ 4457700 h 4496940"/>
              <a:gd name="connsiteX81" fmla="*/ 2126002 w 4519987"/>
              <a:gd name="connsiteY81" fmla="*/ 4429125 h 4496940"/>
              <a:gd name="connsiteX82" fmla="*/ 1935502 w 4519987"/>
              <a:gd name="connsiteY82" fmla="*/ 4400550 h 4496940"/>
              <a:gd name="connsiteX83" fmla="*/ 1821202 w 4519987"/>
              <a:gd name="connsiteY83" fmla="*/ 4371975 h 4496940"/>
              <a:gd name="connsiteX84" fmla="*/ 1754527 w 4519987"/>
              <a:gd name="connsiteY84" fmla="*/ 4352925 h 4496940"/>
              <a:gd name="connsiteX85" fmla="*/ 1687852 w 4519987"/>
              <a:gd name="connsiteY85" fmla="*/ 4343400 h 4496940"/>
              <a:gd name="connsiteX86" fmla="*/ 1573552 w 4519987"/>
              <a:gd name="connsiteY86" fmla="*/ 4305300 h 4496940"/>
              <a:gd name="connsiteX87" fmla="*/ 1402102 w 4519987"/>
              <a:gd name="connsiteY87" fmla="*/ 4276725 h 4496940"/>
              <a:gd name="connsiteX88" fmla="*/ 1287802 w 4519987"/>
              <a:gd name="connsiteY88" fmla="*/ 4229100 h 4496940"/>
              <a:gd name="connsiteX89" fmla="*/ 1221127 w 4519987"/>
              <a:gd name="connsiteY89" fmla="*/ 4200525 h 4496940"/>
              <a:gd name="connsiteX90" fmla="*/ 1144927 w 4519987"/>
              <a:gd name="connsiteY90" fmla="*/ 4171950 h 4496940"/>
              <a:gd name="connsiteX91" fmla="*/ 1087777 w 4519987"/>
              <a:gd name="connsiteY91" fmla="*/ 4143375 h 4496940"/>
              <a:gd name="connsiteX92" fmla="*/ 1030627 w 4519987"/>
              <a:gd name="connsiteY92" fmla="*/ 4124325 h 4496940"/>
              <a:gd name="connsiteX93" fmla="*/ 925852 w 4519987"/>
              <a:gd name="connsiteY93" fmla="*/ 4067175 h 4496940"/>
              <a:gd name="connsiteX94" fmla="*/ 830602 w 4519987"/>
              <a:gd name="connsiteY94" fmla="*/ 3981450 h 4496940"/>
              <a:gd name="connsiteX95" fmla="*/ 763927 w 4519987"/>
              <a:gd name="connsiteY95" fmla="*/ 3914775 h 4496940"/>
              <a:gd name="connsiteX96" fmla="*/ 725827 w 4519987"/>
              <a:gd name="connsiteY96" fmla="*/ 3876675 h 4496940"/>
              <a:gd name="connsiteX97" fmla="*/ 697252 w 4519987"/>
              <a:gd name="connsiteY97" fmla="*/ 3838575 h 4496940"/>
              <a:gd name="connsiteX98" fmla="*/ 640102 w 4519987"/>
              <a:gd name="connsiteY98" fmla="*/ 3781425 h 4496940"/>
              <a:gd name="connsiteX99" fmla="*/ 611527 w 4519987"/>
              <a:gd name="connsiteY99" fmla="*/ 3733800 h 4496940"/>
              <a:gd name="connsiteX100" fmla="*/ 554377 w 4519987"/>
              <a:gd name="connsiteY100" fmla="*/ 3657600 h 4496940"/>
              <a:gd name="connsiteX101" fmla="*/ 525802 w 4519987"/>
              <a:gd name="connsiteY101" fmla="*/ 3609975 h 4496940"/>
              <a:gd name="connsiteX102" fmla="*/ 497227 w 4519987"/>
              <a:gd name="connsiteY102" fmla="*/ 3552825 h 4496940"/>
              <a:gd name="connsiteX103" fmla="*/ 440077 w 4519987"/>
              <a:gd name="connsiteY103" fmla="*/ 3495675 h 4496940"/>
              <a:gd name="connsiteX104" fmla="*/ 411502 w 4519987"/>
              <a:gd name="connsiteY104" fmla="*/ 3448050 h 4496940"/>
              <a:gd name="connsiteX105" fmla="*/ 278152 w 4519987"/>
              <a:gd name="connsiteY105" fmla="*/ 3257550 h 4496940"/>
              <a:gd name="connsiteX106" fmla="*/ 249577 w 4519987"/>
              <a:gd name="connsiteY106" fmla="*/ 3200400 h 4496940"/>
              <a:gd name="connsiteX107" fmla="*/ 240052 w 4519987"/>
              <a:gd name="connsiteY107" fmla="*/ 3162300 h 4496940"/>
              <a:gd name="connsiteX108" fmla="*/ 221002 w 4519987"/>
              <a:gd name="connsiteY108" fmla="*/ 3105150 h 4496940"/>
              <a:gd name="connsiteX109" fmla="*/ 173377 w 4519987"/>
              <a:gd name="connsiteY109" fmla="*/ 3019425 h 4496940"/>
              <a:gd name="connsiteX110" fmla="*/ 144802 w 4519987"/>
              <a:gd name="connsiteY110" fmla="*/ 2924175 h 4496940"/>
              <a:gd name="connsiteX111" fmla="*/ 68602 w 4519987"/>
              <a:gd name="connsiteY111" fmla="*/ 2724150 h 4496940"/>
              <a:gd name="connsiteX112" fmla="*/ 49552 w 4519987"/>
              <a:gd name="connsiteY112" fmla="*/ 2638425 h 4496940"/>
              <a:gd name="connsiteX113" fmla="*/ 40027 w 4519987"/>
              <a:gd name="connsiteY113" fmla="*/ 2562225 h 4496940"/>
              <a:gd name="connsiteX114" fmla="*/ 30502 w 4519987"/>
              <a:gd name="connsiteY114" fmla="*/ 2514600 h 4496940"/>
              <a:gd name="connsiteX115" fmla="*/ 11452 w 4519987"/>
              <a:gd name="connsiteY115" fmla="*/ 2400300 h 4496940"/>
              <a:gd name="connsiteX116" fmla="*/ 20977 w 4519987"/>
              <a:gd name="connsiteY116" fmla="*/ 1905000 h 4496940"/>
              <a:gd name="connsiteX117" fmla="*/ 30502 w 4519987"/>
              <a:gd name="connsiteY117" fmla="*/ 1838325 h 4496940"/>
              <a:gd name="connsiteX118" fmla="*/ 49552 w 4519987"/>
              <a:gd name="connsiteY118" fmla="*/ 1781175 h 4496940"/>
              <a:gd name="connsiteX119" fmla="*/ 59077 w 4519987"/>
              <a:gd name="connsiteY119" fmla="*/ 1743075 h 4496940"/>
              <a:gd name="connsiteX120" fmla="*/ 78127 w 4519987"/>
              <a:gd name="connsiteY120" fmla="*/ 1685925 h 4496940"/>
              <a:gd name="connsiteX121" fmla="*/ 87652 w 4519987"/>
              <a:gd name="connsiteY121" fmla="*/ 1638300 h 4496940"/>
              <a:gd name="connsiteX122" fmla="*/ 106702 w 4519987"/>
              <a:gd name="connsiteY122" fmla="*/ 1590675 h 4496940"/>
              <a:gd name="connsiteX123" fmla="*/ 135277 w 4519987"/>
              <a:gd name="connsiteY123" fmla="*/ 1504950 h 4496940"/>
              <a:gd name="connsiteX124" fmla="*/ 154327 w 4519987"/>
              <a:gd name="connsiteY124" fmla="*/ 1419225 h 4496940"/>
              <a:gd name="connsiteX125" fmla="*/ 230527 w 4519987"/>
              <a:gd name="connsiteY125" fmla="*/ 1276350 h 4496940"/>
              <a:gd name="connsiteX126" fmla="*/ 240052 w 4519987"/>
              <a:gd name="connsiteY126" fmla="*/ 1247775 h 4496940"/>
              <a:gd name="connsiteX127" fmla="*/ 268627 w 4519987"/>
              <a:gd name="connsiteY127" fmla="*/ 1200150 h 4496940"/>
              <a:gd name="connsiteX128" fmla="*/ 287677 w 4519987"/>
              <a:gd name="connsiteY128" fmla="*/ 1152525 h 4496940"/>
              <a:gd name="connsiteX129" fmla="*/ 316252 w 4519987"/>
              <a:gd name="connsiteY129" fmla="*/ 1114425 h 4496940"/>
              <a:gd name="connsiteX130" fmla="*/ 363877 w 4519987"/>
              <a:gd name="connsiteY130" fmla="*/ 1038225 h 4496940"/>
              <a:gd name="connsiteX131" fmla="*/ 382927 w 4519987"/>
              <a:gd name="connsiteY131" fmla="*/ 1009650 h 4496940"/>
              <a:gd name="connsiteX132" fmla="*/ 440077 w 4519987"/>
              <a:gd name="connsiteY132" fmla="*/ 904875 h 4496940"/>
              <a:gd name="connsiteX133" fmla="*/ 478177 w 4519987"/>
              <a:gd name="connsiteY133" fmla="*/ 857250 h 4496940"/>
              <a:gd name="connsiteX134" fmla="*/ 497227 w 4519987"/>
              <a:gd name="connsiteY134" fmla="*/ 828675 h 4496940"/>
              <a:gd name="connsiteX135" fmla="*/ 535327 w 4519987"/>
              <a:gd name="connsiteY135" fmla="*/ 800100 h 4496940"/>
              <a:gd name="connsiteX136" fmla="*/ 602002 w 4519987"/>
              <a:gd name="connsiteY136" fmla="*/ 733425 h 4496940"/>
              <a:gd name="connsiteX137" fmla="*/ 668677 w 4519987"/>
              <a:gd name="connsiteY137" fmla="*/ 676275 h 4496940"/>
              <a:gd name="connsiteX138" fmla="*/ 697252 w 4519987"/>
              <a:gd name="connsiteY138" fmla="*/ 657225 h 4496940"/>
              <a:gd name="connsiteX139" fmla="*/ 840127 w 4519987"/>
              <a:gd name="connsiteY139" fmla="*/ 533400 h 4496940"/>
              <a:gd name="connsiteX140" fmla="*/ 887752 w 4519987"/>
              <a:gd name="connsiteY140" fmla="*/ 504825 h 4496940"/>
              <a:gd name="connsiteX141" fmla="*/ 1167152 w 4519987"/>
              <a:gd name="connsiteY141" fmla="*/ 311150 h 4496940"/>
              <a:gd name="connsiteX142" fmla="*/ 1268752 w 4519987"/>
              <a:gd name="connsiteY142" fmla="*/ 285750 h 4496940"/>
              <a:gd name="connsiteX143" fmla="*/ 1411627 w 4519987"/>
              <a:gd name="connsiteY143" fmla="*/ 190500 h 4496940"/>
              <a:gd name="connsiteX144" fmla="*/ 1449727 w 4519987"/>
              <a:gd name="connsiteY144" fmla="*/ 161925 h 4496940"/>
              <a:gd name="connsiteX145" fmla="*/ 1525927 w 4519987"/>
              <a:gd name="connsiteY145" fmla="*/ 152400 h 4496940"/>
              <a:gd name="connsiteX146" fmla="*/ 1583077 w 4519987"/>
              <a:gd name="connsiteY146" fmla="*/ 142875 h 4496940"/>
              <a:gd name="connsiteX147" fmla="*/ 1716427 w 4519987"/>
              <a:gd name="connsiteY147" fmla="*/ 123825 h 4496940"/>
              <a:gd name="connsiteX148" fmla="*/ 1811677 w 4519987"/>
              <a:gd name="connsiteY148" fmla="*/ 114300 h 4496940"/>
              <a:gd name="connsiteX149" fmla="*/ 1859302 w 4519987"/>
              <a:gd name="connsiteY149" fmla="*/ 104775 h 4496940"/>
              <a:gd name="connsiteX150" fmla="*/ 1916452 w 4519987"/>
              <a:gd name="connsiteY150" fmla="*/ 95250 h 4496940"/>
              <a:gd name="connsiteX151" fmla="*/ 2030752 w 4519987"/>
              <a:gd name="connsiteY151" fmla="*/ 66675 h 4496940"/>
              <a:gd name="connsiteX152" fmla="*/ 2097427 w 4519987"/>
              <a:gd name="connsiteY152" fmla="*/ 47625 h 4496940"/>
              <a:gd name="connsiteX153" fmla="*/ 2164102 w 4519987"/>
              <a:gd name="connsiteY153" fmla="*/ 38100 h 4496940"/>
              <a:gd name="connsiteX154" fmla="*/ 2392702 w 4519987"/>
              <a:gd name="connsiteY15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907177 w 4519987"/>
              <a:gd name="connsiteY24" fmla="*/ 647700 h 4496940"/>
              <a:gd name="connsiteX25" fmla="*/ 3935752 w 4519987"/>
              <a:gd name="connsiteY25" fmla="*/ 676275 h 4496940"/>
              <a:gd name="connsiteX26" fmla="*/ 4078627 w 4519987"/>
              <a:gd name="connsiteY26" fmla="*/ 838200 h 4496940"/>
              <a:gd name="connsiteX27" fmla="*/ 4135777 w 4519987"/>
              <a:gd name="connsiteY27" fmla="*/ 933450 h 4496940"/>
              <a:gd name="connsiteX28" fmla="*/ 4164352 w 4519987"/>
              <a:gd name="connsiteY28" fmla="*/ 990600 h 4496940"/>
              <a:gd name="connsiteX29" fmla="*/ 4173877 w 4519987"/>
              <a:gd name="connsiteY29" fmla="*/ 1019175 h 4496940"/>
              <a:gd name="connsiteX30" fmla="*/ 4192927 w 4519987"/>
              <a:gd name="connsiteY30" fmla="*/ 1057275 h 4496940"/>
              <a:gd name="connsiteX31" fmla="*/ 4202452 w 4519987"/>
              <a:gd name="connsiteY31" fmla="*/ 1085850 h 4496940"/>
              <a:gd name="connsiteX32" fmla="*/ 4250077 w 4519987"/>
              <a:gd name="connsiteY32" fmla="*/ 1143000 h 4496940"/>
              <a:gd name="connsiteX33" fmla="*/ 4259602 w 4519987"/>
              <a:gd name="connsiteY33" fmla="*/ 1190625 h 4496940"/>
              <a:gd name="connsiteX34" fmla="*/ 4307227 w 4519987"/>
              <a:gd name="connsiteY34" fmla="*/ 1266825 h 4496940"/>
              <a:gd name="connsiteX35" fmla="*/ 4345327 w 4519987"/>
              <a:gd name="connsiteY35" fmla="*/ 1362075 h 4496940"/>
              <a:gd name="connsiteX36" fmla="*/ 4373902 w 4519987"/>
              <a:gd name="connsiteY36" fmla="*/ 1428750 h 4496940"/>
              <a:gd name="connsiteX37" fmla="*/ 4392952 w 4519987"/>
              <a:gd name="connsiteY37" fmla="*/ 1552575 h 4496940"/>
              <a:gd name="connsiteX38" fmla="*/ 4402477 w 4519987"/>
              <a:gd name="connsiteY38" fmla="*/ 1590675 h 4496940"/>
              <a:gd name="connsiteX39" fmla="*/ 4431052 w 4519987"/>
              <a:gd name="connsiteY39" fmla="*/ 1685925 h 4496940"/>
              <a:gd name="connsiteX40" fmla="*/ 4519952 w 4519987"/>
              <a:gd name="connsiteY40" fmla="*/ 2181225 h 4496940"/>
              <a:gd name="connsiteX41" fmla="*/ 4446927 w 4519987"/>
              <a:gd name="connsiteY41" fmla="*/ 2768600 h 4496940"/>
              <a:gd name="connsiteX42" fmla="*/ 4383427 w 4519987"/>
              <a:gd name="connsiteY42" fmla="*/ 2990850 h 4496940"/>
              <a:gd name="connsiteX43" fmla="*/ 4278652 w 4519987"/>
              <a:gd name="connsiteY43" fmla="*/ 3248025 h 4496940"/>
              <a:gd name="connsiteX44" fmla="*/ 4259602 w 4519987"/>
              <a:gd name="connsiteY44" fmla="*/ 3276600 h 4496940"/>
              <a:gd name="connsiteX45" fmla="*/ 4221502 w 4519987"/>
              <a:gd name="connsiteY45" fmla="*/ 3333750 h 4496940"/>
              <a:gd name="connsiteX46" fmla="*/ 4211977 w 4519987"/>
              <a:gd name="connsiteY46" fmla="*/ 3362325 h 4496940"/>
              <a:gd name="connsiteX47" fmla="*/ 4183402 w 4519987"/>
              <a:gd name="connsiteY47" fmla="*/ 3400425 h 4496940"/>
              <a:gd name="connsiteX48" fmla="*/ 4164352 w 4519987"/>
              <a:gd name="connsiteY48" fmla="*/ 3429000 h 4496940"/>
              <a:gd name="connsiteX49" fmla="*/ 4088152 w 4519987"/>
              <a:gd name="connsiteY49" fmla="*/ 3495675 h 4496940"/>
              <a:gd name="connsiteX50" fmla="*/ 4059577 w 4519987"/>
              <a:gd name="connsiteY50" fmla="*/ 3533775 h 4496940"/>
              <a:gd name="connsiteX51" fmla="*/ 4002427 w 4519987"/>
              <a:gd name="connsiteY51" fmla="*/ 3600450 h 4496940"/>
              <a:gd name="connsiteX52" fmla="*/ 3983377 w 4519987"/>
              <a:gd name="connsiteY52" fmla="*/ 3629025 h 4496940"/>
              <a:gd name="connsiteX53" fmla="*/ 3954802 w 4519987"/>
              <a:gd name="connsiteY53" fmla="*/ 3648075 h 4496940"/>
              <a:gd name="connsiteX54" fmla="*/ 3907177 w 4519987"/>
              <a:gd name="connsiteY54" fmla="*/ 3686175 h 4496940"/>
              <a:gd name="connsiteX55" fmla="*/ 3869077 w 4519987"/>
              <a:gd name="connsiteY55" fmla="*/ 3724275 h 4496940"/>
              <a:gd name="connsiteX56" fmla="*/ 3792877 w 4519987"/>
              <a:gd name="connsiteY56" fmla="*/ 3781425 h 4496940"/>
              <a:gd name="connsiteX57" fmla="*/ 3783352 w 4519987"/>
              <a:gd name="connsiteY57" fmla="*/ 3810000 h 4496940"/>
              <a:gd name="connsiteX58" fmla="*/ 3745252 w 4519987"/>
              <a:gd name="connsiteY58" fmla="*/ 3819525 h 4496940"/>
              <a:gd name="connsiteX59" fmla="*/ 3678577 w 4519987"/>
              <a:gd name="connsiteY59" fmla="*/ 3848100 h 4496940"/>
              <a:gd name="connsiteX60" fmla="*/ 3659527 w 4519987"/>
              <a:gd name="connsiteY60" fmla="*/ 3971925 h 4496940"/>
              <a:gd name="connsiteX61" fmla="*/ 3630952 w 4519987"/>
              <a:gd name="connsiteY61" fmla="*/ 4010025 h 4496940"/>
              <a:gd name="connsiteX62" fmla="*/ 3621427 w 4519987"/>
              <a:gd name="connsiteY62" fmla="*/ 4038600 h 4496940"/>
              <a:gd name="connsiteX63" fmla="*/ 3554752 w 4519987"/>
              <a:gd name="connsiteY63" fmla="*/ 4095750 h 4496940"/>
              <a:gd name="connsiteX64" fmla="*/ 3516652 w 4519987"/>
              <a:gd name="connsiteY64" fmla="*/ 4114800 h 4496940"/>
              <a:gd name="connsiteX65" fmla="*/ 3497602 w 4519987"/>
              <a:gd name="connsiteY65" fmla="*/ 4143375 h 4496940"/>
              <a:gd name="connsiteX66" fmla="*/ 3383302 w 4519987"/>
              <a:gd name="connsiteY66" fmla="*/ 4210050 h 4496940"/>
              <a:gd name="connsiteX67" fmla="*/ 3335677 w 4519987"/>
              <a:gd name="connsiteY67" fmla="*/ 4238625 h 4496940"/>
              <a:gd name="connsiteX68" fmla="*/ 3288052 w 4519987"/>
              <a:gd name="connsiteY68" fmla="*/ 4248150 h 4496940"/>
              <a:gd name="connsiteX69" fmla="*/ 3240427 w 4519987"/>
              <a:gd name="connsiteY69" fmla="*/ 4267200 h 4496940"/>
              <a:gd name="connsiteX70" fmla="*/ 3068977 w 4519987"/>
              <a:gd name="connsiteY70" fmla="*/ 4286250 h 4496940"/>
              <a:gd name="connsiteX71" fmla="*/ 2935627 w 4519987"/>
              <a:gd name="connsiteY71" fmla="*/ 4333875 h 4496940"/>
              <a:gd name="connsiteX72" fmla="*/ 2811802 w 4519987"/>
              <a:gd name="connsiteY72" fmla="*/ 4371975 h 4496940"/>
              <a:gd name="connsiteX73" fmla="*/ 2745127 w 4519987"/>
              <a:gd name="connsiteY73" fmla="*/ 4410075 h 4496940"/>
              <a:gd name="connsiteX74" fmla="*/ 2697502 w 4519987"/>
              <a:gd name="connsiteY74" fmla="*/ 4429125 h 4496940"/>
              <a:gd name="connsiteX75" fmla="*/ 2640352 w 4519987"/>
              <a:gd name="connsiteY75" fmla="*/ 4457700 h 4496940"/>
              <a:gd name="connsiteX76" fmla="*/ 2583202 w 4519987"/>
              <a:gd name="connsiteY76" fmla="*/ 4467225 h 4496940"/>
              <a:gd name="connsiteX77" fmla="*/ 2545102 w 4519987"/>
              <a:gd name="connsiteY77" fmla="*/ 4486275 h 4496940"/>
              <a:gd name="connsiteX78" fmla="*/ 2306977 w 4519987"/>
              <a:gd name="connsiteY78" fmla="*/ 4476750 h 4496940"/>
              <a:gd name="connsiteX79" fmla="*/ 2202202 w 4519987"/>
              <a:gd name="connsiteY79" fmla="*/ 4457700 h 4496940"/>
              <a:gd name="connsiteX80" fmla="*/ 2126002 w 4519987"/>
              <a:gd name="connsiteY80" fmla="*/ 4429125 h 4496940"/>
              <a:gd name="connsiteX81" fmla="*/ 1935502 w 4519987"/>
              <a:gd name="connsiteY81" fmla="*/ 4400550 h 4496940"/>
              <a:gd name="connsiteX82" fmla="*/ 1821202 w 4519987"/>
              <a:gd name="connsiteY82" fmla="*/ 4371975 h 4496940"/>
              <a:gd name="connsiteX83" fmla="*/ 1754527 w 4519987"/>
              <a:gd name="connsiteY83" fmla="*/ 4352925 h 4496940"/>
              <a:gd name="connsiteX84" fmla="*/ 1687852 w 4519987"/>
              <a:gd name="connsiteY84" fmla="*/ 4343400 h 4496940"/>
              <a:gd name="connsiteX85" fmla="*/ 1573552 w 4519987"/>
              <a:gd name="connsiteY85" fmla="*/ 4305300 h 4496940"/>
              <a:gd name="connsiteX86" fmla="*/ 1402102 w 4519987"/>
              <a:gd name="connsiteY86" fmla="*/ 4276725 h 4496940"/>
              <a:gd name="connsiteX87" fmla="*/ 1287802 w 4519987"/>
              <a:gd name="connsiteY87" fmla="*/ 4229100 h 4496940"/>
              <a:gd name="connsiteX88" fmla="*/ 1221127 w 4519987"/>
              <a:gd name="connsiteY88" fmla="*/ 4200525 h 4496940"/>
              <a:gd name="connsiteX89" fmla="*/ 1144927 w 4519987"/>
              <a:gd name="connsiteY89" fmla="*/ 4171950 h 4496940"/>
              <a:gd name="connsiteX90" fmla="*/ 1087777 w 4519987"/>
              <a:gd name="connsiteY90" fmla="*/ 4143375 h 4496940"/>
              <a:gd name="connsiteX91" fmla="*/ 1030627 w 4519987"/>
              <a:gd name="connsiteY91" fmla="*/ 4124325 h 4496940"/>
              <a:gd name="connsiteX92" fmla="*/ 925852 w 4519987"/>
              <a:gd name="connsiteY92" fmla="*/ 4067175 h 4496940"/>
              <a:gd name="connsiteX93" fmla="*/ 830602 w 4519987"/>
              <a:gd name="connsiteY93" fmla="*/ 3981450 h 4496940"/>
              <a:gd name="connsiteX94" fmla="*/ 763927 w 4519987"/>
              <a:gd name="connsiteY94" fmla="*/ 3914775 h 4496940"/>
              <a:gd name="connsiteX95" fmla="*/ 725827 w 4519987"/>
              <a:gd name="connsiteY95" fmla="*/ 3876675 h 4496940"/>
              <a:gd name="connsiteX96" fmla="*/ 697252 w 4519987"/>
              <a:gd name="connsiteY96" fmla="*/ 3838575 h 4496940"/>
              <a:gd name="connsiteX97" fmla="*/ 640102 w 4519987"/>
              <a:gd name="connsiteY97" fmla="*/ 3781425 h 4496940"/>
              <a:gd name="connsiteX98" fmla="*/ 611527 w 4519987"/>
              <a:gd name="connsiteY98" fmla="*/ 3733800 h 4496940"/>
              <a:gd name="connsiteX99" fmla="*/ 554377 w 4519987"/>
              <a:gd name="connsiteY99" fmla="*/ 3657600 h 4496940"/>
              <a:gd name="connsiteX100" fmla="*/ 525802 w 4519987"/>
              <a:gd name="connsiteY100" fmla="*/ 3609975 h 4496940"/>
              <a:gd name="connsiteX101" fmla="*/ 497227 w 4519987"/>
              <a:gd name="connsiteY101" fmla="*/ 3552825 h 4496940"/>
              <a:gd name="connsiteX102" fmla="*/ 440077 w 4519987"/>
              <a:gd name="connsiteY102" fmla="*/ 3495675 h 4496940"/>
              <a:gd name="connsiteX103" fmla="*/ 411502 w 4519987"/>
              <a:gd name="connsiteY103" fmla="*/ 3448050 h 4496940"/>
              <a:gd name="connsiteX104" fmla="*/ 278152 w 4519987"/>
              <a:gd name="connsiteY104" fmla="*/ 3257550 h 4496940"/>
              <a:gd name="connsiteX105" fmla="*/ 249577 w 4519987"/>
              <a:gd name="connsiteY105" fmla="*/ 3200400 h 4496940"/>
              <a:gd name="connsiteX106" fmla="*/ 240052 w 4519987"/>
              <a:gd name="connsiteY106" fmla="*/ 3162300 h 4496940"/>
              <a:gd name="connsiteX107" fmla="*/ 221002 w 4519987"/>
              <a:gd name="connsiteY107" fmla="*/ 3105150 h 4496940"/>
              <a:gd name="connsiteX108" fmla="*/ 173377 w 4519987"/>
              <a:gd name="connsiteY108" fmla="*/ 3019425 h 4496940"/>
              <a:gd name="connsiteX109" fmla="*/ 144802 w 4519987"/>
              <a:gd name="connsiteY109" fmla="*/ 2924175 h 4496940"/>
              <a:gd name="connsiteX110" fmla="*/ 68602 w 4519987"/>
              <a:gd name="connsiteY110" fmla="*/ 2724150 h 4496940"/>
              <a:gd name="connsiteX111" fmla="*/ 49552 w 4519987"/>
              <a:gd name="connsiteY111" fmla="*/ 2638425 h 4496940"/>
              <a:gd name="connsiteX112" fmla="*/ 40027 w 4519987"/>
              <a:gd name="connsiteY112" fmla="*/ 2562225 h 4496940"/>
              <a:gd name="connsiteX113" fmla="*/ 30502 w 4519987"/>
              <a:gd name="connsiteY113" fmla="*/ 2514600 h 4496940"/>
              <a:gd name="connsiteX114" fmla="*/ 11452 w 4519987"/>
              <a:gd name="connsiteY114" fmla="*/ 2400300 h 4496940"/>
              <a:gd name="connsiteX115" fmla="*/ 20977 w 4519987"/>
              <a:gd name="connsiteY115" fmla="*/ 1905000 h 4496940"/>
              <a:gd name="connsiteX116" fmla="*/ 30502 w 4519987"/>
              <a:gd name="connsiteY116" fmla="*/ 1838325 h 4496940"/>
              <a:gd name="connsiteX117" fmla="*/ 49552 w 4519987"/>
              <a:gd name="connsiteY117" fmla="*/ 1781175 h 4496940"/>
              <a:gd name="connsiteX118" fmla="*/ 59077 w 4519987"/>
              <a:gd name="connsiteY118" fmla="*/ 1743075 h 4496940"/>
              <a:gd name="connsiteX119" fmla="*/ 78127 w 4519987"/>
              <a:gd name="connsiteY119" fmla="*/ 1685925 h 4496940"/>
              <a:gd name="connsiteX120" fmla="*/ 87652 w 4519987"/>
              <a:gd name="connsiteY120" fmla="*/ 1638300 h 4496940"/>
              <a:gd name="connsiteX121" fmla="*/ 106702 w 4519987"/>
              <a:gd name="connsiteY121" fmla="*/ 1590675 h 4496940"/>
              <a:gd name="connsiteX122" fmla="*/ 135277 w 4519987"/>
              <a:gd name="connsiteY122" fmla="*/ 1504950 h 4496940"/>
              <a:gd name="connsiteX123" fmla="*/ 154327 w 4519987"/>
              <a:gd name="connsiteY123" fmla="*/ 1419225 h 4496940"/>
              <a:gd name="connsiteX124" fmla="*/ 230527 w 4519987"/>
              <a:gd name="connsiteY124" fmla="*/ 1276350 h 4496940"/>
              <a:gd name="connsiteX125" fmla="*/ 240052 w 4519987"/>
              <a:gd name="connsiteY125" fmla="*/ 1247775 h 4496940"/>
              <a:gd name="connsiteX126" fmla="*/ 268627 w 4519987"/>
              <a:gd name="connsiteY126" fmla="*/ 1200150 h 4496940"/>
              <a:gd name="connsiteX127" fmla="*/ 287677 w 4519987"/>
              <a:gd name="connsiteY127" fmla="*/ 1152525 h 4496940"/>
              <a:gd name="connsiteX128" fmla="*/ 316252 w 4519987"/>
              <a:gd name="connsiteY128" fmla="*/ 1114425 h 4496940"/>
              <a:gd name="connsiteX129" fmla="*/ 363877 w 4519987"/>
              <a:gd name="connsiteY129" fmla="*/ 1038225 h 4496940"/>
              <a:gd name="connsiteX130" fmla="*/ 382927 w 4519987"/>
              <a:gd name="connsiteY130" fmla="*/ 1009650 h 4496940"/>
              <a:gd name="connsiteX131" fmla="*/ 440077 w 4519987"/>
              <a:gd name="connsiteY131" fmla="*/ 904875 h 4496940"/>
              <a:gd name="connsiteX132" fmla="*/ 478177 w 4519987"/>
              <a:gd name="connsiteY132" fmla="*/ 857250 h 4496940"/>
              <a:gd name="connsiteX133" fmla="*/ 497227 w 4519987"/>
              <a:gd name="connsiteY133" fmla="*/ 828675 h 4496940"/>
              <a:gd name="connsiteX134" fmla="*/ 535327 w 4519987"/>
              <a:gd name="connsiteY134" fmla="*/ 800100 h 4496940"/>
              <a:gd name="connsiteX135" fmla="*/ 602002 w 4519987"/>
              <a:gd name="connsiteY135" fmla="*/ 733425 h 4496940"/>
              <a:gd name="connsiteX136" fmla="*/ 668677 w 4519987"/>
              <a:gd name="connsiteY136" fmla="*/ 676275 h 4496940"/>
              <a:gd name="connsiteX137" fmla="*/ 697252 w 4519987"/>
              <a:gd name="connsiteY137" fmla="*/ 657225 h 4496940"/>
              <a:gd name="connsiteX138" fmla="*/ 840127 w 4519987"/>
              <a:gd name="connsiteY138" fmla="*/ 533400 h 4496940"/>
              <a:gd name="connsiteX139" fmla="*/ 887752 w 4519987"/>
              <a:gd name="connsiteY139" fmla="*/ 504825 h 4496940"/>
              <a:gd name="connsiteX140" fmla="*/ 1167152 w 4519987"/>
              <a:gd name="connsiteY140" fmla="*/ 311150 h 4496940"/>
              <a:gd name="connsiteX141" fmla="*/ 1268752 w 4519987"/>
              <a:gd name="connsiteY141" fmla="*/ 285750 h 4496940"/>
              <a:gd name="connsiteX142" fmla="*/ 1411627 w 4519987"/>
              <a:gd name="connsiteY142" fmla="*/ 190500 h 4496940"/>
              <a:gd name="connsiteX143" fmla="*/ 1449727 w 4519987"/>
              <a:gd name="connsiteY143" fmla="*/ 161925 h 4496940"/>
              <a:gd name="connsiteX144" fmla="*/ 1525927 w 4519987"/>
              <a:gd name="connsiteY144" fmla="*/ 152400 h 4496940"/>
              <a:gd name="connsiteX145" fmla="*/ 1583077 w 4519987"/>
              <a:gd name="connsiteY145" fmla="*/ 142875 h 4496940"/>
              <a:gd name="connsiteX146" fmla="*/ 1716427 w 4519987"/>
              <a:gd name="connsiteY146" fmla="*/ 123825 h 4496940"/>
              <a:gd name="connsiteX147" fmla="*/ 1811677 w 4519987"/>
              <a:gd name="connsiteY147" fmla="*/ 114300 h 4496940"/>
              <a:gd name="connsiteX148" fmla="*/ 1859302 w 4519987"/>
              <a:gd name="connsiteY148" fmla="*/ 104775 h 4496940"/>
              <a:gd name="connsiteX149" fmla="*/ 1916452 w 4519987"/>
              <a:gd name="connsiteY149" fmla="*/ 95250 h 4496940"/>
              <a:gd name="connsiteX150" fmla="*/ 2030752 w 4519987"/>
              <a:gd name="connsiteY150" fmla="*/ 66675 h 4496940"/>
              <a:gd name="connsiteX151" fmla="*/ 2097427 w 4519987"/>
              <a:gd name="connsiteY151" fmla="*/ 47625 h 4496940"/>
              <a:gd name="connsiteX152" fmla="*/ 2164102 w 4519987"/>
              <a:gd name="connsiteY152" fmla="*/ 38100 h 4496940"/>
              <a:gd name="connsiteX153" fmla="*/ 2392702 w 4519987"/>
              <a:gd name="connsiteY15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02377 w 4519987"/>
              <a:gd name="connsiteY18" fmla="*/ 457200 h 4496940"/>
              <a:gd name="connsiteX19" fmla="*/ 3630952 w 4519987"/>
              <a:gd name="connsiteY19" fmla="*/ 485775 h 4496940"/>
              <a:gd name="connsiteX20" fmla="*/ 3678577 w 4519987"/>
              <a:gd name="connsiteY20" fmla="*/ 504825 h 4496940"/>
              <a:gd name="connsiteX21" fmla="*/ 3745252 w 4519987"/>
              <a:gd name="connsiteY21" fmla="*/ 542925 h 4496940"/>
              <a:gd name="connsiteX22" fmla="*/ 3811927 w 4519987"/>
              <a:gd name="connsiteY22" fmla="*/ 581025 h 4496940"/>
              <a:gd name="connsiteX23" fmla="*/ 3907177 w 4519987"/>
              <a:gd name="connsiteY23" fmla="*/ 647700 h 4496940"/>
              <a:gd name="connsiteX24" fmla="*/ 3935752 w 4519987"/>
              <a:gd name="connsiteY24" fmla="*/ 676275 h 4496940"/>
              <a:gd name="connsiteX25" fmla="*/ 4078627 w 4519987"/>
              <a:gd name="connsiteY25" fmla="*/ 838200 h 4496940"/>
              <a:gd name="connsiteX26" fmla="*/ 4135777 w 4519987"/>
              <a:gd name="connsiteY26" fmla="*/ 933450 h 4496940"/>
              <a:gd name="connsiteX27" fmla="*/ 4164352 w 4519987"/>
              <a:gd name="connsiteY27" fmla="*/ 990600 h 4496940"/>
              <a:gd name="connsiteX28" fmla="*/ 4173877 w 4519987"/>
              <a:gd name="connsiteY28" fmla="*/ 1019175 h 4496940"/>
              <a:gd name="connsiteX29" fmla="*/ 4192927 w 4519987"/>
              <a:gd name="connsiteY29" fmla="*/ 1057275 h 4496940"/>
              <a:gd name="connsiteX30" fmla="*/ 4202452 w 4519987"/>
              <a:gd name="connsiteY30" fmla="*/ 1085850 h 4496940"/>
              <a:gd name="connsiteX31" fmla="*/ 4250077 w 4519987"/>
              <a:gd name="connsiteY31" fmla="*/ 1143000 h 4496940"/>
              <a:gd name="connsiteX32" fmla="*/ 4259602 w 4519987"/>
              <a:gd name="connsiteY32" fmla="*/ 1190625 h 4496940"/>
              <a:gd name="connsiteX33" fmla="*/ 4307227 w 4519987"/>
              <a:gd name="connsiteY33" fmla="*/ 1266825 h 4496940"/>
              <a:gd name="connsiteX34" fmla="*/ 4345327 w 4519987"/>
              <a:gd name="connsiteY34" fmla="*/ 1362075 h 4496940"/>
              <a:gd name="connsiteX35" fmla="*/ 4373902 w 4519987"/>
              <a:gd name="connsiteY35" fmla="*/ 1428750 h 4496940"/>
              <a:gd name="connsiteX36" fmla="*/ 4392952 w 4519987"/>
              <a:gd name="connsiteY36" fmla="*/ 1552575 h 4496940"/>
              <a:gd name="connsiteX37" fmla="*/ 4402477 w 4519987"/>
              <a:gd name="connsiteY37" fmla="*/ 1590675 h 4496940"/>
              <a:gd name="connsiteX38" fmla="*/ 4431052 w 4519987"/>
              <a:gd name="connsiteY38" fmla="*/ 1685925 h 4496940"/>
              <a:gd name="connsiteX39" fmla="*/ 4519952 w 4519987"/>
              <a:gd name="connsiteY39" fmla="*/ 2181225 h 4496940"/>
              <a:gd name="connsiteX40" fmla="*/ 4446927 w 4519987"/>
              <a:gd name="connsiteY40" fmla="*/ 2768600 h 4496940"/>
              <a:gd name="connsiteX41" fmla="*/ 4383427 w 4519987"/>
              <a:gd name="connsiteY41" fmla="*/ 2990850 h 4496940"/>
              <a:gd name="connsiteX42" fmla="*/ 4278652 w 4519987"/>
              <a:gd name="connsiteY42" fmla="*/ 3248025 h 4496940"/>
              <a:gd name="connsiteX43" fmla="*/ 4259602 w 4519987"/>
              <a:gd name="connsiteY43" fmla="*/ 3276600 h 4496940"/>
              <a:gd name="connsiteX44" fmla="*/ 4221502 w 4519987"/>
              <a:gd name="connsiteY44" fmla="*/ 3333750 h 4496940"/>
              <a:gd name="connsiteX45" fmla="*/ 4211977 w 4519987"/>
              <a:gd name="connsiteY45" fmla="*/ 3362325 h 4496940"/>
              <a:gd name="connsiteX46" fmla="*/ 4183402 w 4519987"/>
              <a:gd name="connsiteY46" fmla="*/ 3400425 h 4496940"/>
              <a:gd name="connsiteX47" fmla="*/ 4164352 w 4519987"/>
              <a:gd name="connsiteY47" fmla="*/ 3429000 h 4496940"/>
              <a:gd name="connsiteX48" fmla="*/ 4088152 w 4519987"/>
              <a:gd name="connsiteY48" fmla="*/ 3495675 h 4496940"/>
              <a:gd name="connsiteX49" fmla="*/ 4059577 w 4519987"/>
              <a:gd name="connsiteY49" fmla="*/ 3533775 h 4496940"/>
              <a:gd name="connsiteX50" fmla="*/ 4002427 w 4519987"/>
              <a:gd name="connsiteY50" fmla="*/ 3600450 h 4496940"/>
              <a:gd name="connsiteX51" fmla="*/ 3983377 w 4519987"/>
              <a:gd name="connsiteY51" fmla="*/ 3629025 h 4496940"/>
              <a:gd name="connsiteX52" fmla="*/ 3954802 w 4519987"/>
              <a:gd name="connsiteY52" fmla="*/ 3648075 h 4496940"/>
              <a:gd name="connsiteX53" fmla="*/ 3907177 w 4519987"/>
              <a:gd name="connsiteY53" fmla="*/ 3686175 h 4496940"/>
              <a:gd name="connsiteX54" fmla="*/ 3869077 w 4519987"/>
              <a:gd name="connsiteY54" fmla="*/ 3724275 h 4496940"/>
              <a:gd name="connsiteX55" fmla="*/ 3792877 w 4519987"/>
              <a:gd name="connsiteY55" fmla="*/ 3781425 h 4496940"/>
              <a:gd name="connsiteX56" fmla="*/ 3783352 w 4519987"/>
              <a:gd name="connsiteY56" fmla="*/ 3810000 h 4496940"/>
              <a:gd name="connsiteX57" fmla="*/ 3745252 w 4519987"/>
              <a:gd name="connsiteY57" fmla="*/ 3819525 h 4496940"/>
              <a:gd name="connsiteX58" fmla="*/ 3678577 w 4519987"/>
              <a:gd name="connsiteY58" fmla="*/ 3848100 h 4496940"/>
              <a:gd name="connsiteX59" fmla="*/ 3659527 w 4519987"/>
              <a:gd name="connsiteY59" fmla="*/ 3971925 h 4496940"/>
              <a:gd name="connsiteX60" fmla="*/ 3630952 w 4519987"/>
              <a:gd name="connsiteY60" fmla="*/ 4010025 h 4496940"/>
              <a:gd name="connsiteX61" fmla="*/ 3621427 w 4519987"/>
              <a:gd name="connsiteY61" fmla="*/ 4038600 h 4496940"/>
              <a:gd name="connsiteX62" fmla="*/ 3554752 w 4519987"/>
              <a:gd name="connsiteY62" fmla="*/ 4095750 h 4496940"/>
              <a:gd name="connsiteX63" fmla="*/ 3516652 w 4519987"/>
              <a:gd name="connsiteY63" fmla="*/ 4114800 h 4496940"/>
              <a:gd name="connsiteX64" fmla="*/ 3497602 w 4519987"/>
              <a:gd name="connsiteY64" fmla="*/ 4143375 h 4496940"/>
              <a:gd name="connsiteX65" fmla="*/ 3383302 w 4519987"/>
              <a:gd name="connsiteY65" fmla="*/ 4210050 h 4496940"/>
              <a:gd name="connsiteX66" fmla="*/ 3335677 w 4519987"/>
              <a:gd name="connsiteY66" fmla="*/ 4238625 h 4496940"/>
              <a:gd name="connsiteX67" fmla="*/ 3288052 w 4519987"/>
              <a:gd name="connsiteY67" fmla="*/ 4248150 h 4496940"/>
              <a:gd name="connsiteX68" fmla="*/ 3240427 w 4519987"/>
              <a:gd name="connsiteY68" fmla="*/ 4267200 h 4496940"/>
              <a:gd name="connsiteX69" fmla="*/ 3068977 w 4519987"/>
              <a:gd name="connsiteY69" fmla="*/ 4286250 h 4496940"/>
              <a:gd name="connsiteX70" fmla="*/ 2935627 w 4519987"/>
              <a:gd name="connsiteY70" fmla="*/ 4333875 h 4496940"/>
              <a:gd name="connsiteX71" fmla="*/ 2811802 w 4519987"/>
              <a:gd name="connsiteY71" fmla="*/ 4371975 h 4496940"/>
              <a:gd name="connsiteX72" fmla="*/ 2745127 w 4519987"/>
              <a:gd name="connsiteY72" fmla="*/ 4410075 h 4496940"/>
              <a:gd name="connsiteX73" fmla="*/ 2697502 w 4519987"/>
              <a:gd name="connsiteY73" fmla="*/ 4429125 h 4496940"/>
              <a:gd name="connsiteX74" fmla="*/ 2640352 w 4519987"/>
              <a:gd name="connsiteY74" fmla="*/ 4457700 h 4496940"/>
              <a:gd name="connsiteX75" fmla="*/ 2583202 w 4519987"/>
              <a:gd name="connsiteY75" fmla="*/ 4467225 h 4496940"/>
              <a:gd name="connsiteX76" fmla="*/ 2545102 w 4519987"/>
              <a:gd name="connsiteY76" fmla="*/ 4486275 h 4496940"/>
              <a:gd name="connsiteX77" fmla="*/ 2306977 w 4519987"/>
              <a:gd name="connsiteY77" fmla="*/ 4476750 h 4496940"/>
              <a:gd name="connsiteX78" fmla="*/ 2202202 w 4519987"/>
              <a:gd name="connsiteY78" fmla="*/ 4457700 h 4496940"/>
              <a:gd name="connsiteX79" fmla="*/ 2126002 w 4519987"/>
              <a:gd name="connsiteY79" fmla="*/ 4429125 h 4496940"/>
              <a:gd name="connsiteX80" fmla="*/ 1935502 w 4519987"/>
              <a:gd name="connsiteY80" fmla="*/ 4400550 h 4496940"/>
              <a:gd name="connsiteX81" fmla="*/ 1821202 w 4519987"/>
              <a:gd name="connsiteY81" fmla="*/ 4371975 h 4496940"/>
              <a:gd name="connsiteX82" fmla="*/ 1754527 w 4519987"/>
              <a:gd name="connsiteY82" fmla="*/ 4352925 h 4496940"/>
              <a:gd name="connsiteX83" fmla="*/ 1687852 w 4519987"/>
              <a:gd name="connsiteY83" fmla="*/ 4343400 h 4496940"/>
              <a:gd name="connsiteX84" fmla="*/ 1573552 w 4519987"/>
              <a:gd name="connsiteY84" fmla="*/ 4305300 h 4496940"/>
              <a:gd name="connsiteX85" fmla="*/ 1402102 w 4519987"/>
              <a:gd name="connsiteY85" fmla="*/ 4276725 h 4496940"/>
              <a:gd name="connsiteX86" fmla="*/ 1287802 w 4519987"/>
              <a:gd name="connsiteY86" fmla="*/ 4229100 h 4496940"/>
              <a:gd name="connsiteX87" fmla="*/ 1221127 w 4519987"/>
              <a:gd name="connsiteY87" fmla="*/ 4200525 h 4496940"/>
              <a:gd name="connsiteX88" fmla="*/ 1144927 w 4519987"/>
              <a:gd name="connsiteY88" fmla="*/ 4171950 h 4496940"/>
              <a:gd name="connsiteX89" fmla="*/ 1087777 w 4519987"/>
              <a:gd name="connsiteY89" fmla="*/ 4143375 h 4496940"/>
              <a:gd name="connsiteX90" fmla="*/ 1030627 w 4519987"/>
              <a:gd name="connsiteY90" fmla="*/ 4124325 h 4496940"/>
              <a:gd name="connsiteX91" fmla="*/ 925852 w 4519987"/>
              <a:gd name="connsiteY91" fmla="*/ 4067175 h 4496940"/>
              <a:gd name="connsiteX92" fmla="*/ 830602 w 4519987"/>
              <a:gd name="connsiteY92" fmla="*/ 3981450 h 4496940"/>
              <a:gd name="connsiteX93" fmla="*/ 763927 w 4519987"/>
              <a:gd name="connsiteY93" fmla="*/ 3914775 h 4496940"/>
              <a:gd name="connsiteX94" fmla="*/ 725827 w 4519987"/>
              <a:gd name="connsiteY94" fmla="*/ 3876675 h 4496940"/>
              <a:gd name="connsiteX95" fmla="*/ 697252 w 4519987"/>
              <a:gd name="connsiteY95" fmla="*/ 3838575 h 4496940"/>
              <a:gd name="connsiteX96" fmla="*/ 640102 w 4519987"/>
              <a:gd name="connsiteY96" fmla="*/ 3781425 h 4496940"/>
              <a:gd name="connsiteX97" fmla="*/ 611527 w 4519987"/>
              <a:gd name="connsiteY97" fmla="*/ 3733800 h 4496940"/>
              <a:gd name="connsiteX98" fmla="*/ 554377 w 4519987"/>
              <a:gd name="connsiteY98" fmla="*/ 3657600 h 4496940"/>
              <a:gd name="connsiteX99" fmla="*/ 525802 w 4519987"/>
              <a:gd name="connsiteY99" fmla="*/ 3609975 h 4496940"/>
              <a:gd name="connsiteX100" fmla="*/ 497227 w 4519987"/>
              <a:gd name="connsiteY100" fmla="*/ 3552825 h 4496940"/>
              <a:gd name="connsiteX101" fmla="*/ 440077 w 4519987"/>
              <a:gd name="connsiteY101" fmla="*/ 3495675 h 4496940"/>
              <a:gd name="connsiteX102" fmla="*/ 411502 w 4519987"/>
              <a:gd name="connsiteY102" fmla="*/ 3448050 h 4496940"/>
              <a:gd name="connsiteX103" fmla="*/ 278152 w 4519987"/>
              <a:gd name="connsiteY103" fmla="*/ 3257550 h 4496940"/>
              <a:gd name="connsiteX104" fmla="*/ 249577 w 4519987"/>
              <a:gd name="connsiteY104" fmla="*/ 3200400 h 4496940"/>
              <a:gd name="connsiteX105" fmla="*/ 240052 w 4519987"/>
              <a:gd name="connsiteY105" fmla="*/ 3162300 h 4496940"/>
              <a:gd name="connsiteX106" fmla="*/ 221002 w 4519987"/>
              <a:gd name="connsiteY106" fmla="*/ 3105150 h 4496940"/>
              <a:gd name="connsiteX107" fmla="*/ 173377 w 4519987"/>
              <a:gd name="connsiteY107" fmla="*/ 3019425 h 4496940"/>
              <a:gd name="connsiteX108" fmla="*/ 144802 w 4519987"/>
              <a:gd name="connsiteY108" fmla="*/ 2924175 h 4496940"/>
              <a:gd name="connsiteX109" fmla="*/ 68602 w 4519987"/>
              <a:gd name="connsiteY109" fmla="*/ 2724150 h 4496940"/>
              <a:gd name="connsiteX110" fmla="*/ 49552 w 4519987"/>
              <a:gd name="connsiteY110" fmla="*/ 2638425 h 4496940"/>
              <a:gd name="connsiteX111" fmla="*/ 40027 w 4519987"/>
              <a:gd name="connsiteY111" fmla="*/ 2562225 h 4496940"/>
              <a:gd name="connsiteX112" fmla="*/ 30502 w 4519987"/>
              <a:gd name="connsiteY112" fmla="*/ 2514600 h 4496940"/>
              <a:gd name="connsiteX113" fmla="*/ 11452 w 4519987"/>
              <a:gd name="connsiteY113" fmla="*/ 2400300 h 4496940"/>
              <a:gd name="connsiteX114" fmla="*/ 20977 w 4519987"/>
              <a:gd name="connsiteY114" fmla="*/ 1905000 h 4496940"/>
              <a:gd name="connsiteX115" fmla="*/ 30502 w 4519987"/>
              <a:gd name="connsiteY115" fmla="*/ 1838325 h 4496940"/>
              <a:gd name="connsiteX116" fmla="*/ 49552 w 4519987"/>
              <a:gd name="connsiteY116" fmla="*/ 1781175 h 4496940"/>
              <a:gd name="connsiteX117" fmla="*/ 59077 w 4519987"/>
              <a:gd name="connsiteY117" fmla="*/ 1743075 h 4496940"/>
              <a:gd name="connsiteX118" fmla="*/ 78127 w 4519987"/>
              <a:gd name="connsiteY118" fmla="*/ 1685925 h 4496940"/>
              <a:gd name="connsiteX119" fmla="*/ 87652 w 4519987"/>
              <a:gd name="connsiteY119" fmla="*/ 1638300 h 4496940"/>
              <a:gd name="connsiteX120" fmla="*/ 106702 w 4519987"/>
              <a:gd name="connsiteY120" fmla="*/ 1590675 h 4496940"/>
              <a:gd name="connsiteX121" fmla="*/ 135277 w 4519987"/>
              <a:gd name="connsiteY121" fmla="*/ 1504950 h 4496940"/>
              <a:gd name="connsiteX122" fmla="*/ 154327 w 4519987"/>
              <a:gd name="connsiteY122" fmla="*/ 1419225 h 4496940"/>
              <a:gd name="connsiteX123" fmla="*/ 230527 w 4519987"/>
              <a:gd name="connsiteY123" fmla="*/ 1276350 h 4496940"/>
              <a:gd name="connsiteX124" fmla="*/ 240052 w 4519987"/>
              <a:gd name="connsiteY124" fmla="*/ 1247775 h 4496940"/>
              <a:gd name="connsiteX125" fmla="*/ 268627 w 4519987"/>
              <a:gd name="connsiteY125" fmla="*/ 1200150 h 4496940"/>
              <a:gd name="connsiteX126" fmla="*/ 287677 w 4519987"/>
              <a:gd name="connsiteY126" fmla="*/ 1152525 h 4496940"/>
              <a:gd name="connsiteX127" fmla="*/ 316252 w 4519987"/>
              <a:gd name="connsiteY127" fmla="*/ 1114425 h 4496940"/>
              <a:gd name="connsiteX128" fmla="*/ 363877 w 4519987"/>
              <a:gd name="connsiteY128" fmla="*/ 1038225 h 4496940"/>
              <a:gd name="connsiteX129" fmla="*/ 382927 w 4519987"/>
              <a:gd name="connsiteY129" fmla="*/ 1009650 h 4496940"/>
              <a:gd name="connsiteX130" fmla="*/ 440077 w 4519987"/>
              <a:gd name="connsiteY130" fmla="*/ 904875 h 4496940"/>
              <a:gd name="connsiteX131" fmla="*/ 478177 w 4519987"/>
              <a:gd name="connsiteY131" fmla="*/ 857250 h 4496940"/>
              <a:gd name="connsiteX132" fmla="*/ 497227 w 4519987"/>
              <a:gd name="connsiteY132" fmla="*/ 828675 h 4496940"/>
              <a:gd name="connsiteX133" fmla="*/ 535327 w 4519987"/>
              <a:gd name="connsiteY133" fmla="*/ 800100 h 4496940"/>
              <a:gd name="connsiteX134" fmla="*/ 602002 w 4519987"/>
              <a:gd name="connsiteY134" fmla="*/ 733425 h 4496940"/>
              <a:gd name="connsiteX135" fmla="*/ 668677 w 4519987"/>
              <a:gd name="connsiteY135" fmla="*/ 676275 h 4496940"/>
              <a:gd name="connsiteX136" fmla="*/ 697252 w 4519987"/>
              <a:gd name="connsiteY136" fmla="*/ 657225 h 4496940"/>
              <a:gd name="connsiteX137" fmla="*/ 840127 w 4519987"/>
              <a:gd name="connsiteY137" fmla="*/ 533400 h 4496940"/>
              <a:gd name="connsiteX138" fmla="*/ 887752 w 4519987"/>
              <a:gd name="connsiteY138" fmla="*/ 504825 h 4496940"/>
              <a:gd name="connsiteX139" fmla="*/ 1167152 w 4519987"/>
              <a:gd name="connsiteY139" fmla="*/ 311150 h 4496940"/>
              <a:gd name="connsiteX140" fmla="*/ 1268752 w 4519987"/>
              <a:gd name="connsiteY140" fmla="*/ 285750 h 4496940"/>
              <a:gd name="connsiteX141" fmla="*/ 1411627 w 4519987"/>
              <a:gd name="connsiteY141" fmla="*/ 190500 h 4496940"/>
              <a:gd name="connsiteX142" fmla="*/ 1449727 w 4519987"/>
              <a:gd name="connsiteY142" fmla="*/ 161925 h 4496940"/>
              <a:gd name="connsiteX143" fmla="*/ 1525927 w 4519987"/>
              <a:gd name="connsiteY143" fmla="*/ 152400 h 4496940"/>
              <a:gd name="connsiteX144" fmla="*/ 1583077 w 4519987"/>
              <a:gd name="connsiteY144" fmla="*/ 142875 h 4496940"/>
              <a:gd name="connsiteX145" fmla="*/ 1716427 w 4519987"/>
              <a:gd name="connsiteY145" fmla="*/ 123825 h 4496940"/>
              <a:gd name="connsiteX146" fmla="*/ 1811677 w 4519987"/>
              <a:gd name="connsiteY146" fmla="*/ 114300 h 4496940"/>
              <a:gd name="connsiteX147" fmla="*/ 1859302 w 4519987"/>
              <a:gd name="connsiteY147" fmla="*/ 104775 h 4496940"/>
              <a:gd name="connsiteX148" fmla="*/ 1916452 w 4519987"/>
              <a:gd name="connsiteY148" fmla="*/ 95250 h 4496940"/>
              <a:gd name="connsiteX149" fmla="*/ 2030752 w 4519987"/>
              <a:gd name="connsiteY149" fmla="*/ 66675 h 4496940"/>
              <a:gd name="connsiteX150" fmla="*/ 2097427 w 4519987"/>
              <a:gd name="connsiteY150" fmla="*/ 47625 h 4496940"/>
              <a:gd name="connsiteX151" fmla="*/ 2164102 w 4519987"/>
              <a:gd name="connsiteY151" fmla="*/ 38100 h 4496940"/>
              <a:gd name="connsiteX152" fmla="*/ 2392702 w 4519987"/>
              <a:gd name="connsiteY15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02377 w 4519987"/>
              <a:gd name="connsiteY18" fmla="*/ 457200 h 4496940"/>
              <a:gd name="connsiteX19" fmla="*/ 3630952 w 4519987"/>
              <a:gd name="connsiteY19" fmla="*/ 485775 h 4496940"/>
              <a:gd name="connsiteX20" fmla="*/ 3745252 w 4519987"/>
              <a:gd name="connsiteY20" fmla="*/ 542925 h 4496940"/>
              <a:gd name="connsiteX21" fmla="*/ 3811927 w 4519987"/>
              <a:gd name="connsiteY21" fmla="*/ 581025 h 4496940"/>
              <a:gd name="connsiteX22" fmla="*/ 3907177 w 4519987"/>
              <a:gd name="connsiteY22" fmla="*/ 647700 h 4496940"/>
              <a:gd name="connsiteX23" fmla="*/ 3935752 w 4519987"/>
              <a:gd name="connsiteY23" fmla="*/ 676275 h 4496940"/>
              <a:gd name="connsiteX24" fmla="*/ 4078627 w 4519987"/>
              <a:gd name="connsiteY24" fmla="*/ 838200 h 4496940"/>
              <a:gd name="connsiteX25" fmla="*/ 4135777 w 4519987"/>
              <a:gd name="connsiteY25" fmla="*/ 933450 h 4496940"/>
              <a:gd name="connsiteX26" fmla="*/ 4164352 w 4519987"/>
              <a:gd name="connsiteY26" fmla="*/ 990600 h 4496940"/>
              <a:gd name="connsiteX27" fmla="*/ 4173877 w 4519987"/>
              <a:gd name="connsiteY27" fmla="*/ 1019175 h 4496940"/>
              <a:gd name="connsiteX28" fmla="*/ 4192927 w 4519987"/>
              <a:gd name="connsiteY28" fmla="*/ 1057275 h 4496940"/>
              <a:gd name="connsiteX29" fmla="*/ 4202452 w 4519987"/>
              <a:gd name="connsiteY29" fmla="*/ 1085850 h 4496940"/>
              <a:gd name="connsiteX30" fmla="*/ 4250077 w 4519987"/>
              <a:gd name="connsiteY30" fmla="*/ 1143000 h 4496940"/>
              <a:gd name="connsiteX31" fmla="*/ 4259602 w 4519987"/>
              <a:gd name="connsiteY31" fmla="*/ 1190625 h 4496940"/>
              <a:gd name="connsiteX32" fmla="*/ 4307227 w 4519987"/>
              <a:gd name="connsiteY32" fmla="*/ 1266825 h 4496940"/>
              <a:gd name="connsiteX33" fmla="*/ 4345327 w 4519987"/>
              <a:gd name="connsiteY33" fmla="*/ 1362075 h 4496940"/>
              <a:gd name="connsiteX34" fmla="*/ 4373902 w 4519987"/>
              <a:gd name="connsiteY34" fmla="*/ 1428750 h 4496940"/>
              <a:gd name="connsiteX35" fmla="*/ 4392952 w 4519987"/>
              <a:gd name="connsiteY35" fmla="*/ 1552575 h 4496940"/>
              <a:gd name="connsiteX36" fmla="*/ 4402477 w 4519987"/>
              <a:gd name="connsiteY36" fmla="*/ 1590675 h 4496940"/>
              <a:gd name="connsiteX37" fmla="*/ 4431052 w 4519987"/>
              <a:gd name="connsiteY37" fmla="*/ 1685925 h 4496940"/>
              <a:gd name="connsiteX38" fmla="*/ 4519952 w 4519987"/>
              <a:gd name="connsiteY38" fmla="*/ 2181225 h 4496940"/>
              <a:gd name="connsiteX39" fmla="*/ 4446927 w 4519987"/>
              <a:gd name="connsiteY39" fmla="*/ 2768600 h 4496940"/>
              <a:gd name="connsiteX40" fmla="*/ 4383427 w 4519987"/>
              <a:gd name="connsiteY40" fmla="*/ 2990850 h 4496940"/>
              <a:gd name="connsiteX41" fmla="*/ 4278652 w 4519987"/>
              <a:gd name="connsiteY41" fmla="*/ 3248025 h 4496940"/>
              <a:gd name="connsiteX42" fmla="*/ 4259602 w 4519987"/>
              <a:gd name="connsiteY42" fmla="*/ 3276600 h 4496940"/>
              <a:gd name="connsiteX43" fmla="*/ 4221502 w 4519987"/>
              <a:gd name="connsiteY43" fmla="*/ 3333750 h 4496940"/>
              <a:gd name="connsiteX44" fmla="*/ 4211977 w 4519987"/>
              <a:gd name="connsiteY44" fmla="*/ 3362325 h 4496940"/>
              <a:gd name="connsiteX45" fmla="*/ 4183402 w 4519987"/>
              <a:gd name="connsiteY45" fmla="*/ 3400425 h 4496940"/>
              <a:gd name="connsiteX46" fmla="*/ 4164352 w 4519987"/>
              <a:gd name="connsiteY46" fmla="*/ 3429000 h 4496940"/>
              <a:gd name="connsiteX47" fmla="*/ 4088152 w 4519987"/>
              <a:gd name="connsiteY47" fmla="*/ 3495675 h 4496940"/>
              <a:gd name="connsiteX48" fmla="*/ 4059577 w 4519987"/>
              <a:gd name="connsiteY48" fmla="*/ 3533775 h 4496940"/>
              <a:gd name="connsiteX49" fmla="*/ 4002427 w 4519987"/>
              <a:gd name="connsiteY49" fmla="*/ 3600450 h 4496940"/>
              <a:gd name="connsiteX50" fmla="*/ 3983377 w 4519987"/>
              <a:gd name="connsiteY50" fmla="*/ 3629025 h 4496940"/>
              <a:gd name="connsiteX51" fmla="*/ 3954802 w 4519987"/>
              <a:gd name="connsiteY51" fmla="*/ 3648075 h 4496940"/>
              <a:gd name="connsiteX52" fmla="*/ 3907177 w 4519987"/>
              <a:gd name="connsiteY52" fmla="*/ 3686175 h 4496940"/>
              <a:gd name="connsiteX53" fmla="*/ 3869077 w 4519987"/>
              <a:gd name="connsiteY53" fmla="*/ 3724275 h 4496940"/>
              <a:gd name="connsiteX54" fmla="*/ 3792877 w 4519987"/>
              <a:gd name="connsiteY54" fmla="*/ 3781425 h 4496940"/>
              <a:gd name="connsiteX55" fmla="*/ 3783352 w 4519987"/>
              <a:gd name="connsiteY55" fmla="*/ 3810000 h 4496940"/>
              <a:gd name="connsiteX56" fmla="*/ 3745252 w 4519987"/>
              <a:gd name="connsiteY56" fmla="*/ 3819525 h 4496940"/>
              <a:gd name="connsiteX57" fmla="*/ 3678577 w 4519987"/>
              <a:gd name="connsiteY57" fmla="*/ 3848100 h 4496940"/>
              <a:gd name="connsiteX58" fmla="*/ 3659527 w 4519987"/>
              <a:gd name="connsiteY58" fmla="*/ 3971925 h 4496940"/>
              <a:gd name="connsiteX59" fmla="*/ 3630952 w 4519987"/>
              <a:gd name="connsiteY59" fmla="*/ 4010025 h 4496940"/>
              <a:gd name="connsiteX60" fmla="*/ 3621427 w 4519987"/>
              <a:gd name="connsiteY60" fmla="*/ 4038600 h 4496940"/>
              <a:gd name="connsiteX61" fmla="*/ 3554752 w 4519987"/>
              <a:gd name="connsiteY61" fmla="*/ 4095750 h 4496940"/>
              <a:gd name="connsiteX62" fmla="*/ 3516652 w 4519987"/>
              <a:gd name="connsiteY62" fmla="*/ 4114800 h 4496940"/>
              <a:gd name="connsiteX63" fmla="*/ 3497602 w 4519987"/>
              <a:gd name="connsiteY63" fmla="*/ 4143375 h 4496940"/>
              <a:gd name="connsiteX64" fmla="*/ 3383302 w 4519987"/>
              <a:gd name="connsiteY64" fmla="*/ 4210050 h 4496940"/>
              <a:gd name="connsiteX65" fmla="*/ 3335677 w 4519987"/>
              <a:gd name="connsiteY65" fmla="*/ 4238625 h 4496940"/>
              <a:gd name="connsiteX66" fmla="*/ 3288052 w 4519987"/>
              <a:gd name="connsiteY66" fmla="*/ 4248150 h 4496940"/>
              <a:gd name="connsiteX67" fmla="*/ 3240427 w 4519987"/>
              <a:gd name="connsiteY67" fmla="*/ 4267200 h 4496940"/>
              <a:gd name="connsiteX68" fmla="*/ 3068977 w 4519987"/>
              <a:gd name="connsiteY68" fmla="*/ 4286250 h 4496940"/>
              <a:gd name="connsiteX69" fmla="*/ 2935627 w 4519987"/>
              <a:gd name="connsiteY69" fmla="*/ 4333875 h 4496940"/>
              <a:gd name="connsiteX70" fmla="*/ 2811802 w 4519987"/>
              <a:gd name="connsiteY70" fmla="*/ 4371975 h 4496940"/>
              <a:gd name="connsiteX71" fmla="*/ 2745127 w 4519987"/>
              <a:gd name="connsiteY71" fmla="*/ 4410075 h 4496940"/>
              <a:gd name="connsiteX72" fmla="*/ 2697502 w 4519987"/>
              <a:gd name="connsiteY72" fmla="*/ 4429125 h 4496940"/>
              <a:gd name="connsiteX73" fmla="*/ 2640352 w 4519987"/>
              <a:gd name="connsiteY73" fmla="*/ 4457700 h 4496940"/>
              <a:gd name="connsiteX74" fmla="*/ 2583202 w 4519987"/>
              <a:gd name="connsiteY74" fmla="*/ 4467225 h 4496940"/>
              <a:gd name="connsiteX75" fmla="*/ 2545102 w 4519987"/>
              <a:gd name="connsiteY75" fmla="*/ 4486275 h 4496940"/>
              <a:gd name="connsiteX76" fmla="*/ 2306977 w 4519987"/>
              <a:gd name="connsiteY76" fmla="*/ 4476750 h 4496940"/>
              <a:gd name="connsiteX77" fmla="*/ 2202202 w 4519987"/>
              <a:gd name="connsiteY77" fmla="*/ 4457700 h 4496940"/>
              <a:gd name="connsiteX78" fmla="*/ 2126002 w 4519987"/>
              <a:gd name="connsiteY78" fmla="*/ 4429125 h 4496940"/>
              <a:gd name="connsiteX79" fmla="*/ 1935502 w 4519987"/>
              <a:gd name="connsiteY79" fmla="*/ 4400550 h 4496940"/>
              <a:gd name="connsiteX80" fmla="*/ 1821202 w 4519987"/>
              <a:gd name="connsiteY80" fmla="*/ 4371975 h 4496940"/>
              <a:gd name="connsiteX81" fmla="*/ 1754527 w 4519987"/>
              <a:gd name="connsiteY81" fmla="*/ 4352925 h 4496940"/>
              <a:gd name="connsiteX82" fmla="*/ 1687852 w 4519987"/>
              <a:gd name="connsiteY82" fmla="*/ 4343400 h 4496940"/>
              <a:gd name="connsiteX83" fmla="*/ 1573552 w 4519987"/>
              <a:gd name="connsiteY83" fmla="*/ 4305300 h 4496940"/>
              <a:gd name="connsiteX84" fmla="*/ 1402102 w 4519987"/>
              <a:gd name="connsiteY84" fmla="*/ 4276725 h 4496940"/>
              <a:gd name="connsiteX85" fmla="*/ 1287802 w 4519987"/>
              <a:gd name="connsiteY85" fmla="*/ 4229100 h 4496940"/>
              <a:gd name="connsiteX86" fmla="*/ 1221127 w 4519987"/>
              <a:gd name="connsiteY86" fmla="*/ 4200525 h 4496940"/>
              <a:gd name="connsiteX87" fmla="*/ 1144927 w 4519987"/>
              <a:gd name="connsiteY87" fmla="*/ 4171950 h 4496940"/>
              <a:gd name="connsiteX88" fmla="*/ 1087777 w 4519987"/>
              <a:gd name="connsiteY88" fmla="*/ 4143375 h 4496940"/>
              <a:gd name="connsiteX89" fmla="*/ 1030627 w 4519987"/>
              <a:gd name="connsiteY89" fmla="*/ 4124325 h 4496940"/>
              <a:gd name="connsiteX90" fmla="*/ 925852 w 4519987"/>
              <a:gd name="connsiteY90" fmla="*/ 4067175 h 4496940"/>
              <a:gd name="connsiteX91" fmla="*/ 830602 w 4519987"/>
              <a:gd name="connsiteY91" fmla="*/ 3981450 h 4496940"/>
              <a:gd name="connsiteX92" fmla="*/ 763927 w 4519987"/>
              <a:gd name="connsiteY92" fmla="*/ 3914775 h 4496940"/>
              <a:gd name="connsiteX93" fmla="*/ 725827 w 4519987"/>
              <a:gd name="connsiteY93" fmla="*/ 3876675 h 4496940"/>
              <a:gd name="connsiteX94" fmla="*/ 697252 w 4519987"/>
              <a:gd name="connsiteY94" fmla="*/ 3838575 h 4496940"/>
              <a:gd name="connsiteX95" fmla="*/ 640102 w 4519987"/>
              <a:gd name="connsiteY95" fmla="*/ 3781425 h 4496940"/>
              <a:gd name="connsiteX96" fmla="*/ 611527 w 4519987"/>
              <a:gd name="connsiteY96" fmla="*/ 3733800 h 4496940"/>
              <a:gd name="connsiteX97" fmla="*/ 554377 w 4519987"/>
              <a:gd name="connsiteY97" fmla="*/ 3657600 h 4496940"/>
              <a:gd name="connsiteX98" fmla="*/ 525802 w 4519987"/>
              <a:gd name="connsiteY98" fmla="*/ 3609975 h 4496940"/>
              <a:gd name="connsiteX99" fmla="*/ 497227 w 4519987"/>
              <a:gd name="connsiteY99" fmla="*/ 3552825 h 4496940"/>
              <a:gd name="connsiteX100" fmla="*/ 440077 w 4519987"/>
              <a:gd name="connsiteY100" fmla="*/ 3495675 h 4496940"/>
              <a:gd name="connsiteX101" fmla="*/ 411502 w 4519987"/>
              <a:gd name="connsiteY101" fmla="*/ 3448050 h 4496940"/>
              <a:gd name="connsiteX102" fmla="*/ 278152 w 4519987"/>
              <a:gd name="connsiteY102" fmla="*/ 3257550 h 4496940"/>
              <a:gd name="connsiteX103" fmla="*/ 249577 w 4519987"/>
              <a:gd name="connsiteY103" fmla="*/ 3200400 h 4496940"/>
              <a:gd name="connsiteX104" fmla="*/ 240052 w 4519987"/>
              <a:gd name="connsiteY104" fmla="*/ 3162300 h 4496940"/>
              <a:gd name="connsiteX105" fmla="*/ 221002 w 4519987"/>
              <a:gd name="connsiteY105" fmla="*/ 3105150 h 4496940"/>
              <a:gd name="connsiteX106" fmla="*/ 173377 w 4519987"/>
              <a:gd name="connsiteY106" fmla="*/ 3019425 h 4496940"/>
              <a:gd name="connsiteX107" fmla="*/ 144802 w 4519987"/>
              <a:gd name="connsiteY107" fmla="*/ 2924175 h 4496940"/>
              <a:gd name="connsiteX108" fmla="*/ 68602 w 4519987"/>
              <a:gd name="connsiteY108" fmla="*/ 2724150 h 4496940"/>
              <a:gd name="connsiteX109" fmla="*/ 49552 w 4519987"/>
              <a:gd name="connsiteY109" fmla="*/ 2638425 h 4496940"/>
              <a:gd name="connsiteX110" fmla="*/ 40027 w 4519987"/>
              <a:gd name="connsiteY110" fmla="*/ 2562225 h 4496940"/>
              <a:gd name="connsiteX111" fmla="*/ 30502 w 4519987"/>
              <a:gd name="connsiteY111" fmla="*/ 2514600 h 4496940"/>
              <a:gd name="connsiteX112" fmla="*/ 11452 w 4519987"/>
              <a:gd name="connsiteY112" fmla="*/ 2400300 h 4496940"/>
              <a:gd name="connsiteX113" fmla="*/ 20977 w 4519987"/>
              <a:gd name="connsiteY113" fmla="*/ 1905000 h 4496940"/>
              <a:gd name="connsiteX114" fmla="*/ 30502 w 4519987"/>
              <a:gd name="connsiteY114" fmla="*/ 1838325 h 4496940"/>
              <a:gd name="connsiteX115" fmla="*/ 49552 w 4519987"/>
              <a:gd name="connsiteY115" fmla="*/ 1781175 h 4496940"/>
              <a:gd name="connsiteX116" fmla="*/ 59077 w 4519987"/>
              <a:gd name="connsiteY116" fmla="*/ 1743075 h 4496940"/>
              <a:gd name="connsiteX117" fmla="*/ 78127 w 4519987"/>
              <a:gd name="connsiteY117" fmla="*/ 1685925 h 4496940"/>
              <a:gd name="connsiteX118" fmla="*/ 87652 w 4519987"/>
              <a:gd name="connsiteY118" fmla="*/ 1638300 h 4496940"/>
              <a:gd name="connsiteX119" fmla="*/ 106702 w 4519987"/>
              <a:gd name="connsiteY119" fmla="*/ 1590675 h 4496940"/>
              <a:gd name="connsiteX120" fmla="*/ 135277 w 4519987"/>
              <a:gd name="connsiteY120" fmla="*/ 1504950 h 4496940"/>
              <a:gd name="connsiteX121" fmla="*/ 154327 w 4519987"/>
              <a:gd name="connsiteY121" fmla="*/ 1419225 h 4496940"/>
              <a:gd name="connsiteX122" fmla="*/ 230527 w 4519987"/>
              <a:gd name="connsiteY122" fmla="*/ 1276350 h 4496940"/>
              <a:gd name="connsiteX123" fmla="*/ 240052 w 4519987"/>
              <a:gd name="connsiteY123" fmla="*/ 1247775 h 4496940"/>
              <a:gd name="connsiteX124" fmla="*/ 268627 w 4519987"/>
              <a:gd name="connsiteY124" fmla="*/ 1200150 h 4496940"/>
              <a:gd name="connsiteX125" fmla="*/ 287677 w 4519987"/>
              <a:gd name="connsiteY125" fmla="*/ 1152525 h 4496940"/>
              <a:gd name="connsiteX126" fmla="*/ 316252 w 4519987"/>
              <a:gd name="connsiteY126" fmla="*/ 1114425 h 4496940"/>
              <a:gd name="connsiteX127" fmla="*/ 363877 w 4519987"/>
              <a:gd name="connsiteY127" fmla="*/ 1038225 h 4496940"/>
              <a:gd name="connsiteX128" fmla="*/ 382927 w 4519987"/>
              <a:gd name="connsiteY128" fmla="*/ 1009650 h 4496940"/>
              <a:gd name="connsiteX129" fmla="*/ 440077 w 4519987"/>
              <a:gd name="connsiteY129" fmla="*/ 904875 h 4496940"/>
              <a:gd name="connsiteX130" fmla="*/ 478177 w 4519987"/>
              <a:gd name="connsiteY130" fmla="*/ 857250 h 4496940"/>
              <a:gd name="connsiteX131" fmla="*/ 497227 w 4519987"/>
              <a:gd name="connsiteY131" fmla="*/ 828675 h 4496940"/>
              <a:gd name="connsiteX132" fmla="*/ 535327 w 4519987"/>
              <a:gd name="connsiteY132" fmla="*/ 800100 h 4496940"/>
              <a:gd name="connsiteX133" fmla="*/ 602002 w 4519987"/>
              <a:gd name="connsiteY133" fmla="*/ 733425 h 4496940"/>
              <a:gd name="connsiteX134" fmla="*/ 668677 w 4519987"/>
              <a:gd name="connsiteY134" fmla="*/ 676275 h 4496940"/>
              <a:gd name="connsiteX135" fmla="*/ 697252 w 4519987"/>
              <a:gd name="connsiteY135" fmla="*/ 657225 h 4496940"/>
              <a:gd name="connsiteX136" fmla="*/ 840127 w 4519987"/>
              <a:gd name="connsiteY136" fmla="*/ 533400 h 4496940"/>
              <a:gd name="connsiteX137" fmla="*/ 887752 w 4519987"/>
              <a:gd name="connsiteY137" fmla="*/ 504825 h 4496940"/>
              <a:gd name="connsiteX138" fmla="*/ 1167152 w 4519987"/>
              <a:gd name="connsiteY138" fmla="*/ 311150 h 4496940"/>
              <a:gd name="connsiteX139" fmla="*/ 1268752 w 4519987"/>
              <a:gd name="connsiteY139" fmla="*/ 285750 h 4496940"/>
              <a:gd name="connsiteX140" fmla="*/ 1411627 w 4519987"/>
              <a:gd name="connsiteY140" fmla="*/ 190500 h 4496940"/>
              <a:gd name="connsiteX141" fmla="*/ 1449727 w 4519987"/>
              <a:gd name="connsiteY141" fmla="*/ 161925 h 4496940"/>
              <a:gd name="connsiteX142" fmla="*/ 1525927 w 4519987"/>
              <a:gd name="connsiteY142" fmla="*/ 152400 h 4496940"/>
              <a:gd name="connsiteX143" fmla="*/ 1583077 w 4519987"/>
              <a:gd name="connsiteY143" fmla="*/ 142875 h 4496940"/>
              <a:gd name="connsiteX144" fmla="*/ 1716427 w 4519987"/>
              <a:gd name="connsiteY144" fmla="*/ 123825 h 4496940"/>
              <a:gd name="connsiteX145" fmla="*/ 1811677 w 4519987"/>
              <a:gd name="connsiteY145" fmla="*/ 114300 h 4496940"/>
              <a:gd name="connsiteX146" fmla="*/ 1859302 w 4519987"/>
              <a:gd name="connsiteY146" fmla="*/ 104775 h 4496940"/>
              <a:gd name="connsiteX147" fmla="*/ 1916452 w 4519987"/>
              <a:gd name="connsiteY147" fmla="*/ 95250 h 4496940"/>
              <a:gd name="connsiteX148" fmla="*/ 2030752 w 4519987"/>
              <a:gd name="connsiteY148" fmla="*/ 66675 h 4496940"/>
              <a:gd name="connsiteX149" fmla="*/ 2097427 w 4519987"/>
              <a:gd name="connsiteY149" fmla="*/ 47625 h 4496940"/>
              <a:gd name="connsiteX150" fmla="*/ 2164102 w 4519987"/>
              <a:gd name="connsiteY150" fmla="*/ 38100 h 4496940"/>
              <a:gd name="connsiteX151" fmla="*/ 2392702 w 4519987"/>
              <a:gd name="connsiteY15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3907177 w 4519987"/>
              <a:gd name="connsiteY21" fmla="*/ 647700 h 4496940"/>
              <a:gd name="connsiteX22" fmla="*/ 3935752 w 4519987"/>
              <a:gd name="connsiteY22" fmla="*/ 676275 h 4496940"/>
              <a:gd name="connsiteX23" fmla="*/ 4078627 w 4519987"/>
              <a:gd name="connsiteY23" fmla="*/ 838200 h 4496940"/>
              <a:gd name="connsiteX24" fmla="*/ 4135777 w 4519987"/>
              <a:gd name="connsiteY24" fmla="*/ 933450 h 4496940"/>
              <a:gd name="connsiteX25" fmla="*/ 4164352 w 4519987"/>
              <a:gd name="connsiteY25" fmla="*/ 990600 h 4496940"/>
              <a:gd name="connsiteX26" fmla="*/ 4173877 w 4519987"/>
              <a:gd name="connsiteY26" fmla="*/ 1019175 h 4496940"/>
              <a:gd name="connsiteX27" fmla="*/ 4192927 w 4519987"/>
              <a:gd name="connsiteY27" fmla="*/ 1057275 h 4496940"/>
              <a:gd name="connsiteX28" fmla="*/ 4202452 w 4519987"/>
              <a:gd name="connsiteY28" fmla="*/ 1085850 h 4496940"/>
              <a:gd name="connsiteX29" fmla="*/ 4250077 w 4519987"/>
              <a:gd name="connsiteY29" fmla="*/ 1143000 h 4496940"/>
              <a:gd name="connsiteX30" fmla="*/ 4259602 w 4519987"/>
              <a:gd name="connsiteY30" fmla="*/ 1190625 h 4496940"/>
              <a:gd name="connsiteX31" fmla="*/ 4307227 w 4519987"/>
              <a:gd name="connsiteY31" fmla="*/ 1266825 h 4496940"/>
              <a:gd name="connsiteX32" fmla="*/ 4345327 w 4519987"/>
              <a:gd name="connsiteY32" fmla="*/ 1362075 h 4496940"/>
              <a:gd name="connsiteX33" fmla="*/ 4373902 w 4519987"/>
              <a:gd name="connsiteY33" fmla="*/ 1428750 h 4496940"/>
              <a:gd name="connsiteX34" fmla="*/ 4392952 w 4519987"/>
              <a:gd name="connsiteY34" fmla="*/ 1552575 h 4496940"/>
              <a:gd name="connsiteX35" fmla="*/ 4402477 w 4519987"/>
              <a:gd name="connsiteY35" fmla="*/ 1590675 h 4496940"/>
              <a:gd name="connsiteX36" fmla="*/ 4431052 w 4519987"/>
              <a:gd name="connsiteY36" fmla="*/ 1685925 h 4496940"/>
              <a:gd name="connsiteX37" fmla="*/ 4519952 w 4519987"/>
              <a:gd name="connsiteY37" fmla="*/ 2181225 h 4496940"/>
              <a:gd name="connsiteX38" fmla="*/ 4446927 w 4519987"/>
              <a:gd name="connsiteY38" fmla="*/ 2768600 h 4496940"/>
              <a:gd name="connsiteX39" fmla="*/ 4383427 w 4519987"/>
              <a:gd name="connsiteY39" fmla="*/ 2990850 h 4496940"/>
              <a:gd name="connsiteX40" fmla="*/ 4278652 w 4519987"/>
              <a:gd name="connsiteY40" fmla="*/ 3248025 h 4496940"/>
              <a:gd name="connsiteX41" fmla="*/ 4259602 w 4519987"/>
              <a:gd name="connsiteY41" fmla="*/ 3276600 h 4496940"/>
              <a:gd name="connsiteX42" fmla="*/ 4221502 w 4519987"/>
              <a:gd name="connsiteY42" fmla="*/ 3333750 h 4496940"/>
              <a:gd name="connsiteX43" fmla="*/ 4211977 w 4519987"/>
              <a:gd name="connsiteY43" fmla="*/ 3362325 h 4496940"/>
              <a:gd name="connsiteX44" fmla="*/ 4183402 w 4519987"/>
              <a:gd name="connsiteY44" fmla="*/ 3400425 h 4496940"/>
              <a:gd name="connsiteX45" fmla="*/ 4164352 w 4519987"/>
              <a:gd name="connsiteY45" fmla="*/ 3429000 h 4496940"/>
              <a:gd name="connsiteX46" fmla="*/ 4088152 w 4519987"/>
              <a:gd name="connsiteY46" fmla="*/ 3495675 h 4496940"/>
              <a:gd name="connsiteX47" fmla="*/ 4059577 w 4519987"/>
              <a:gd name="connsiteY47" fmla="*/ 3533775 h 4496940"/>
              <a:gd name="connsiteX48" fmla="*/ 4002427 w 4519987"/>
              <a:gd name="connsiteY48" fmla="*/ 3600450 h 4496940"/>
              <a:gd name="connsiteX49" fmla="*/ 3983377 w 4519987"/>
              <a:gd name="connsiteY49" fmla="*/ 3629025 h 4496940"/>
              <a:gd name="connsiteX50" fmla="*/ 3954802 w 4519987"/>
              <a:gd name="connsiteY50" fmla="*/ 3648075 h 4496940"/>
              <a:gd name="connsiteX51" fmla="*/ 3907177 w 4519987"/>
              <a:gd name="connsiteY51" fmla="*/ 3686175 h 4496940"/>
              <a:gd name="connsiteX52" fmla="*/ 3869077 w 4519987"/>
              <a:gd name="connsiteY52" fmla="*/ 3724275 h 4496940"/>
              <a:gd name="connsiteX53" fmla="*/ 3792877 w 4519987"/>
              <a:gd name="connsiteY53" fmla="*/ 3781425 h 4496940"/>
              <a:gd name="connsiteX54" fmla="*/ 3783352 w 4519987"/>
              <a:gd name="connsiteY54" fmla="*/ 3810000 h 4496940"/>
              <a:gd name="connsiteX55" fmla="*/ 3745252 w 4519987"/>
              <a:gd name="connsiteY55" fmla="*/ 3819525 h 4496940"/>
              <a:gd name="connsiteX56" fmla="*/ 3678577 w 4519987"/>
              <a:gd name="connsiteY56" fmla="*/ 3848100 h 4496940"/>
              <a:gd name="connsiteX57" fmla="*/ 3659527 w 4519987"/>
              <a:gd name="connsiteY57" fmla="*/ 3971925 h 4496940"/>
              <a:gd name="connsiteX58" fmla="*/ 3630952 w 4519987"/>
              <a:gd name="connsiteY58" fmla="*/ 4010025 h 4496940"/>
              <a:gd name="connsiteX59" fmla="*/ 3621427 w 4519987"/>
              <a:gd name="connsiteY59" fmla="*/ 4038600 h 4496940"/>
              <a:gd name="connsiteX60" fmla="*/ 3554752 w 4519987"/>
              <a:gd name="connsiteY60" fmla="*/ 4095750 h 4496940"/>
              <a:gd name="connsiteX61" fmla="*/ 3516652 w 4519987"/>
              <a:gd name="connsiteY61" fmla="*/ 4114800 h 4496940"/>
              <a:gd name="connsiteX62" fmla="*/ 3497602 w 4519987"/>
              <a:gd name="connsiteY62" fmla="*/ 4143375 h 4496940"/>
              <a:gd name="connsiteX63" fmla="*/ 3383302 w 4519987"/>
              <a:gd name="connsiteY63" fmla="*/ 4210050 h 4496940"/>
              <a:gd name="connsiteX64" fmla="*/ 3335677 w 4519987"/>
              <a:gd name="connsiteY64" fmla="*/ 4238625 h 4496940"/>
              <a:gd name="connsiteX65" fmla="*/ 3288052 w 4519987"/>
              <a:gd name="connsiteY65" fmla="*/ 4248150 h 4496940"/>
              <a:gd name="connsiteX66" fmla="*/ 3240427 w 4519987"/>
              <a:gd name="connsiteY66" fmla="*/ 4267200 h 4496940"/>
              <a:gd name="connsiteX67" fmla="*/ 3068977 w 4519987"/>
              <a:gd name="connsiteY67" fmla="*/ 4286250 h 4496940"/>
              <a:gd name="connsiteX68" fmla="*/ 2935627 w 4519987"/>
              <a:gd name="connsiteY68" fmla="*/ 4333875 h 4496940"/>
              <a:gd name="connsiteX69" fmla="*/ 2811802 w 4519987"/>
              <a:gd name="connsiteY69" fmla="*/ 4371975 h 4496940"/>
              <a:gd name="connsiteX70" fmla="*/ 2745127 w 4519987"/>
              <a:gd name="connsiteY70" fmla="*/ 4410075 h 4496940"/>
              <a:gd name="connsiteX71" fmla="*/ 2697502 w 4519987"/>
              <a:gd name="connsiteY71" fmla="*/ 4429125 h 4496940"/>
              <a:gd name="connsiteX72" fmla="*/ 2640352 w 4519987"/>
              <a:gd name="connsiteY72" fmla="*/ 4457700 h 4496940"/>
              <a:gd name="connsiteX73" fmla="*/ 2583202 w 4519987"/>
              <a:gd name="connsiteY73" fmla="*/ 4467225 h 4496940"/>
              <a:gd name="connsiteX74" fmla="*/ 2545102 w 4519987"/>
              <a:gd name="connsiteY74" fmla="*/ 4486275 h 4496940"/>
              <a:gd name="connsiteX75" fmla="*/ 2306977 w 4519987"/>
              <a:gd name="connsiteY75" fmla="*/ 4476750 h 4496940"/>
              <a:gd name="connsiteX76" fmla="*/ 2202202 w 4519987"/>
              <a:gd name="connsiteY76" fmla="*/ 4457700 h 4496940"/>
              <a:gd name="connsiteX77" fmla="*/ 2126002 w 4519987"/>
              <a:gd name="connsiteY77" fmla="*/ 4429125 h 4496940"/>
              <a:gd name="connsiteX78" fmla="*/ 1935502 w 4519987"/>
              <a:gd name="connsiteY78" fmla="*/ 4400550 h 4496940"/>
              <a:gd name="connsiteX79" fmla="*/ 1821202 w 4519987"/>
              <a:gd name="connsiteY79" fmla="*/ 4371975 h 4496940"/>
              <a:gd name="connsiteX80" fmla="*/ 1754527 w 4519987"/>
              <a:gd name="connsiteY80" fmla="*/ 4352925 h 4496940"/>
              <a:gd name="connsiteX81" fmla="*/ 1687852 w 4519987"/>
              <a:gd name="connsiteY81" fmla="*/ 4343400 h 4496940"/>
              <a:gd name="connsiteX82" fmla="*/ 1573552 w 4519987"/>
              <a:gd name="connsiteY82" fmla="*/ 4305300 h 4496940"/>
              <a:gd name="connsiteX83" fmla="*/ 1402102 w 4519987"/>
              <a:gd name="connsiteY83" fmla="*/ 4276725 h 4496940"/>
              <a:gd name="connsiteX84" fmla="*/ 1287802 w 4519987"/>
              <a:gd name="connsiteY84" fmla="*/ 4229100 h 4496940"/>
              <a:gd name="connsiteX85" fmla="*/ 1221127 w 4519987"/>
              <a:gd name="connsiteY85" fmla="*/ 4200525 h 4496940"/>
              <a:gd name="connsiteX86" fmla="*/ 1144927 w 4519987"/>
              <a:gd name="connsiteY86" fmla="*/ 4171950 h 4496940"/>
              <a:gd name="connsiteX87" fmla="*/ 1087777 w 4519987"/>
              <a:gd name="connsiteY87" fmla="*/ 4143375 h 4496940"/>
              <a:gd name="connsiteX88" fmla="*/ 1030627 w 4519987"/>
              <a:gd name="connsiteY88" fmla="*/ 4124325 h 4496940"/>
              <a:gd name="connsiteX89" fmla="*/ 925852 w 4519987"/>
              <a:gd name="connsiteY89" fmla="*/ 4067175 h 4496940"/>
              <a:gd name="connsiteX90" fmla="*/ 830602 w 4519987"/>
              <a:gd name="connsiteY90" fmla="*/ 3981450 h 4496940"/>
              <a:gd name="connsiteX91" fmla="*/ 763927 w 4519987"/>
              <a:gd name="connsiteY91" fmla="*/ 3914775 h 4496940"/>
              <a:gd name="connsiteX92" fmla="*/ 725827 w 4519987"/>
              <a:gd name="connsiteY92" fmla="*/ 3876675 h 4496940"/>
              <a:gd name="connsiteX93" fmla="*/ 697252 w 4519987"/>
              <a:gd name="connsiteY93" fmla="*/ 3838575 h 4496940"/>
              <a:gd name="connsiteX94" fmla="*/ 640102 w 4519987"/>
              <a:gd name="connsiteY94" fmla="*/ 3781425 h 4496940"/>
              <a:gd name="connsiteX95" fmla="*/ 611527 w 4519987"/>
              <a:gd name="connsiteY95" fmla="*/ 3733800 h 4496940"/>
              <a:gd name="connsiteX96" fmla="*/ 554377 w 4519987"/>
              <a:gd name="connsiteY96" fmla="*/ 3657600 h 4496940"/>
              <a:gd name="connsiteX97" fmla="*/ 525802 w 4519987"/>
              <a:gd name="connsiteY97" fmla="*/ 3609975 h 4496940"/>
              <a:gd name="connsiteX98" fmla="*/ 497227 w 4519987"/>
              <a:gd name="connsiteY98" fmla="*/ 3552825 h 4496940"/>
              <a:gd name="connsiteX99" fmla="*/ 440077 w 4519987"/>
              <a:gd name="connsiteY99" fmla="*/ 3495675 h 4496940"/>
              <a:gd name="connsiteX100" fmla="*/ 411502 w 4519987"/>
              <a:gd name="connsiteY100" fmla="*/ 3448050 h 4496940"/>
              <a:gd name="connsiteX101" fmla="*/ 278152 w 4519987"/>
              <a:gd name="connsiteY101" fmla="*/ 3257550 h 4496940"/>
              <a:gd name="connsiteX102" fmla="*/ 249577 w 4519987"/>
              <a:gd name="connsiteY102" fmla="*/ 3200400 h 4496940"/>
              <a:gd name="connsiteX103" fmla="*/ 240052 w 4519987"/>
              <a:gd name="connsiteY103" fmla="*/ 3162300 h 4496940"/>
              <a:gd name="connsiteX104" fmla="*/ 221002 w 4519987"/>
              <a:gd name="connsiteY104" fmla="*/ 3105150 h 4496940"/>
              <a:gd name="connsiteX105" fmla="*/ 173377 w 4519987"/>
              <a:gd name="connsiteY105" fmla="*/ 3019425 h 4496940"/>
              <a:gd name="connsiteX106" fmla="*/ 144802 w 4519987"/>
              <a:gd name="connsiteY106" fmla="*/ 2924175 h 4496940"/>
              <a:gd name="connsiteX107" fmla="*/ 68602 w 4519987"/>
              <a:gd name="connsiteY107" fmla="*/ 2724150 h 4496940"/>
              <a:gd name="connsiteX108" fmla="*/ 49552 w 4519987"/>
              <a:gd name="connsiteY108" fmla="*/ 2638425 h 4496940"/>
              <a:gd name="connsiteX109" fmla="*/ 40027 w 4519987"/>
              <a:gd name="connsiteY109" fmla="*/ 2562225 h 4496940"/>
              <a:gd name="connsiteX110" fmla="*/ 30502 w 4519987"/>
              <a:gd name="connsiteY110" fmla="*/ 2514600 h 4496940"/>
              <a:gd name="connsiteX111" fmla="*/ 11452 w 4519987"/>
              <a:gd name="connsiteY111" fmla="*/ 2400300 h 4496940"/>
              <a:gd name="connsiteX112" fmla="*/ 20977 w 4519987"/>
              <a:gd name="connsiteY112" fmla="*/ 1905000 h 4496940"/>
              <a:gd name="connsiteX113" fmla="*/ 30502 w 4519987"/>
              <a:gd name="connsiteY113" fmla="*/ 1838325 h 4496940"/>
              <a:gd name="connsiteX114" fmla="*/ 49552 w 4519987"/>
              <a:gd name="connsiteY114" fmla="*/ 1781175 h 4496940"/>
              <a:gd name="connsiteX115" fmla="*/ 59077 w 4519987"/>
              <a:gd name="connsiteY115" fmla="*/ 1743075 h 4496940"/>
              <a:gd name="connsiteX116" fmla="*/ 78127 w 4519987"/>
              <a:gd name="connsiteY116" fmla="*/ 1685925 h 4496940"/>
              <a:gd name="connsiteX117" fmla="*/ 87652 w 4519987"/>
              <a:gd name="connsiteY117" fmla="*/ 1638300 h 4496940"/>
              <a:gd name="connsiteX118" fmla="*/ 106702 w 4519987"/>
              <a:gd name="connsiteY118" fmla="*/ 1590675 h 4496940"/>
              <a:gd name="connsiteX119" fmla="*/ 135277 w 4519987"/>
              <a:gd name="connsiteY119" fmla="*/ 1504950 h 4496940"/>
              <a:gd name="connsiteX120" fmla="*/ 154327 w 4519987"/>
              <a:gd name="connsiteY120" fmla="*/ 1419225 h 4496940"/>
              <a:gd name="connsiteX121" fmla="*/ 230527 w 4519987"/>
              <a:gd name="connsiteY121" fmla="*/ 1276350 h 4496940"/>
              <a:gd name="connsiteX122" fmla="*/ 240052 w 4519987"/>
              <a:gd name="connsiteY122" fmla="*/ 1247775 h 4496940"/>
              <a:gd name="connsiteX123" fmla="*/ 268627 w 4519987"/>
              <a:gd name="connsiteY123" fmla="*/ 1200150 h 4496940"/>
              <a:gd name="connsiteX124" fmla="*/ 287677 w 4519987"/>
              <a:gd name="connsiteY124" fmla="*/ 1152525 h 4496940"/>
              <a:gd name="connsiteX125" fmla="*/ 316252 w 4519987"/>
              <a:gd name="connsiteY125" fmla="*/ 1114425 h 4496940"/>
              <a:gd name="connsiteX126" fmla="*/ 363877 w 4519987"/>
              <a:gd name="connsiteY126" fmla="*/ 1038225 h 4496940"/>
              <a:gd name="connsiteX127" fmla="*/ 382927 w 4519987"/>
              <a:gd name="connsiteY127" fmla="*/ 1009650 h 4496940"/>
              <a:gd name="connsiteX128" fmla="*/ 440077 w 4519987"/>
              <a:gd name="connsiteY128" fmla="*/ 904875 h 4496940"/>
              <a:gd name="connsiteX129" fmla="*/ 478177 w 4519987"/>
              <a:gd name="connsiteY129" fmla="*/ 857250 h 4496940"/>
              <a:gd name="connsiteX130" fmla="*/ 497227 w 4519987"/>
              <a:gd name="connsiteY130" fmla="*/ 828675 h 4496940"/>
              <a:gd name="connsiteX131" fmla="*/ 535327 w 4519987"/>
              <a:gd name="connsiteY131" fmla="*/ 800100 h 4496940"/>
              <a:gd name="connsiteX132" fmla="*/ 602002 w 4519987"/>
              <a:gd name="connsiteY132" fmla="*/ 733425 h 4496940"/>
              <a:gd name="connsiteX133" fmla="*/ 668677 w 4519987"/>
              <a:gd name="connsiteY133" fmla="*/ 676275 h 4496940"/>
              <a:gd name="connsiteX134" fmla="*/ 697252 w 4519987"/>
              <a:gd name="connsiteY134" fmla="*/ 657225 h 4496940"/>
              <a:gd name="connsiteX135" fmla="*/ 840127 w 4519987"/>
              <a:gd name="connsiteY135" fmla="*/ 533400 h 4496940"/>
              <a:gd name="connsiteX136" fmla="*/ 887752 w 4519987"/>
              <a:gd name="connsiteY136" fmla="*/ 504825 h 4496940"/>
              <a:gd name="connsiteX137" fmla="*/ 1167152 w 4519987"/>
              <a:gd name="connsiteY137" fmla="*/ 311150 h 4496940"/>
              <a:gd name="connsiteX138" fmla="*/ 1268752 w 4519987"/>
              <a:gd name="connsiteY138" fmla="*/ 285750 h 4496940"/>
              <a:gd name="connsiteX139" fmla="*/ 1411627 w 4519987"/>
              <a:gd name="connsiteY139" fmla="*/ 190500 h 4496940"/>
              <a:gd name="connsiteX140" fmla="*/ 1449727 w 4519987"/>
              <a:gd name="connsiteY140" fmla="*/ 161925 h 4496940"/>
              <a:gd name="connsiteX141" fmla="*/ 1525927 w 4519987"/>
              <a:gd name="connsiteY141" fmla="*/ 152400 h 4496940"/>
              <a:gd name="connsiteX142" fmla="*/ 1583077 w 4519987"/>
              <a:gd name="connsiteY142" fmla="*/ 142875 h 4496940"/>
              <a:gd name="connsiteX143" fmla="*/ 1716427 w 4519987"/>
              <a:gd name="connsiteY143" fmla="*/ 123825 h 4496940"/>
              <a:gd name="connsiteX144" fmla="*/ 1811677 w 4519987"/>
              <a:gd name="connsiteY144" fmla="*/ 114300 h 4496940"/>
              <a:gd name="connsiteX145" fmla="*/ 1859302 w 4519987"/>
              <a:gd name="connsiteY145" fmla="*/ 104775 h 4496940"/>
              <a:gd name="connsiteX146" fmla="*/ 1916452 w 4519987"/>
              <a:gd name="connsiteY146" fmla="*/ 95250 h 4496940"/>
              <a:gd name="connsiteX147" fmla="*/ 2030752 w 4519987"/>
              <a:gd name="connsiteY147" fmla="*/ 66675 h 4496940"/>
              <a:gd name="connsiteX148" fmla="*/ 2097427 w 4519987"/>
              <a:gd name="connsiteY148" fmla="*/ 47625 h 4496940"/>
              <a:gd name="connsiteX149" fmla="*/ 2164102 w 4519987"/>
              <a:gd name="connsiteY149" fmla="*/ 38100 h 4496940"/>
              <a:gd name="connsiteX150" fmla="*/ 2392702 w 4519987"/>
              <a:gd name="connsiteY15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3907177 w 4519987"/>
              <a:gd name="connsiteY21" fmla="*/ 647700 h 4496940"/>
              <a:gd name="connsiteX22" fmla="*/ 4078627 w 4519987"/>
              <a:gd name="connsiteY22" fmla="*/ 838200 h 4496940"/>
              <a:gd name="connsiteX23" fmla="*/ 4135777 w 4519987"/>
              <a:gd name="connsiteY23" fmla="*/ 933450 h 4496940"/>
              <a:gd name="connsiteX24" fmla="*/ 4164352 w 4519987"/>
              <a:gd name="connsiteY24" fmla="*/ 990600 h 4496940"/>
              <a:gd name="connsiteX25" fmla="*/ 4173877 w 4519987"/>
              <a:gd name="connsiteY25" fmla="*/ 1019175 h 4496940"/>
              <a:gd name="connsiteX26" fmla="*/ 4192927 w 4519987"/>
              <a:gd name="connsiteY26" fmla="*/ 1057275 h 4496940"/>
              <a:gd name="connsiteX27" fmla="*/ 4202452 w 4519987"/>
              <a:gd name="connsiteY27" fmla="*/ 1085850 h 4496940"/>
              <a:gd name="connsiteX28" fmla="*/ 4250077 w 4519987"/>
              <a:gd name="connsiteY28" fmla="*/ 1143000 h 4496940"/>
              <a:gd name="connsiteX29" fmla="*/ 4259602 w 4519987"/>
              <a:gd name="connsiteY29" fmla="*/ 1190625 h 4496940"/>
              <a:gd name="connsiteX30" fmla="*/ 4307227 w 4519987"/>
              <a:gd name="connsiteY30" fmla="*/ 1266825 h 4496940"/>
              <a:gd name="connsiteX31" fmla="*/ 4345327 w 4519987"/>
              <a:gd name="connsiteY31" fmla="*/ 1362075 h 4496940"/>
              <a:gd name="connsiteX32" fmla="*/ 4373902 w 4519987"/>
              <a:gd name="connsiteY32" fmla="*/ 1428750 h 4496940"/>
              <a:gd name="connsiteX33" fmla="*/ 4392952 w 4519987"/>
              <a:gd name="connsiteY33" fmla="*/ 1552575 h 4496940"/>
              <a:gd name="connsiteX34" fmla="*/ 4402477 w 4519987"/>
              <a:gd name="connsiteY34" fmla="*/ 1590675 h 4496940"/>
              <a:gd name="connsiteX35" fmla="*/ 4431052 w 4519987"/>
              <a:gd name="connsiteY35" fmla="*/ 1685925 h 4496940"/>
              <a:gd name="connsiteX36" fmla="*/ 4519952 w 4519987"/>
              <a:gd name="connsiteY36" fmla="*/ 2181225 h 4496940"/>
              <a:gd name="connsiteX37" fmla="*/ 4446927 w 4519987"/>
              <a:gd name="connsiteY37" fmla="*/ 2768600 h 4496940"/>
              <a:gd name="connsiteX38" fmla="*/ 4383427 w 4519987"/>
              <a:gd name="connsiteY38" fmla="*/ 2990850 h 4496940"/>
              <a:gd name="connsiteX39" fmla="*/ 4278652 w 4519987"/>
              <a:gd name="connsiteY39" fmla="*/ 3248025 h 4496940"/>
              <a:gd name="connsiteX40" fmla="*/ 4259602 w 4519987"/>
              <a:gd name="connsiteY40" fmla="*/ 3276600 h 4496940"/>
              <a:gd name="connsiteX41" fmla="*/ 4221502 w 4519987"/>
              <a:gd name="connsiteY41" fmla="*/ 3333750 h 4496940"/>
              <a:gd name="connsiteX42" fmla="*/ 4211977 w 4519987"/>
              <a:gd name="connsiteY42" fmla="*/ 3362325 h 4496940"/>
              <a:gd name="connsiteX43" fmla="*/ 4183402 w 4519987"/>
              <a:gd name="connsiteY43" fmla="*/ 3400425 h 4496940"/>
              <a:gd name="connsiteX44" fmla="*/ 4164352 w 4519987"/>
              <a:gd name="connsiteY44" fmla="*/ 3429000 h 4496940"/>
              <a:gd name="connsiteX45" fmla="*/ 4088152 w 4519987"/>
              <a:gd name="connsiteY45" fmla="*/ 3495675 h 4496940"/>
              <a:gd name="connsiteX46" fmla="*/ 4059577 w 4519987"/>
              <a:gd name="connsiteY46" fmla="*/ 3533775 h 4496940"/>
              <a:gd name="connsiteX47" fmla="*/ 4002427 w 4519987"/>
              <a:gd name="connsiteY47" fmla="*/ 3600450 h 4496940"/>
              <a:gd name="connsiteX48" fmla="*/ 3983377 w 4519987"/>
              <a:gd name="connsiteY48" fmla="*/ 3629025 h 4496940"/>
              <a:gd name="connsiteX49" fmla="*/ 3954802 w 4519987"/>
              <a:gd name="connsiteY49" fmla="*/ 3648075 h 4496940"/>
              <a:gd name="connsiteX50" fmla="*/ 3907177 w 4519987"/>
              <a:gd name="connsiteY50" fmla="*/ 3686175 h 4496940"/>
              <a:gd name="connsiteX51" fmla="*/ 3869077 w 4519987"/>
              <a:gd name="connsiteY51" fmla="*/ 3724275 h 4496940"/>
              <a:gd name="connsiteX52" fmla="*/ 3792877 w 4519987"/>
              <a:gd name="connsiteY52" fmla="*/ 3781425 h 4496940"/>
              <a:gd name="connsiteX53" fmla="*/ 3783352 w 4519987"/>
              <a:gd name="connsiteY53" fmla="*/ 3810000 h 4496940"/>
              <a:gd name="connsiteX54" fmla="*/ 3745252 w 4519987"/>
              <a:gd name="connsiteY54" fmla="*/ 3819525 h 4496940"/>
              <a:gd name="connsiteX55" fmla="*/ 3678577 w 4519987"/>
              <a:gd name="connsiteY55" fmla="*/ 3848100 h 4496940"/>
              <a:gd name="connsiteX56" fmla="*/ 3659527 w 4519987"/>
              <a:gd name="connsiteY56" fmla="*/ 3971925 h 4496940"/>
              <a:gd name="connsiteX57" fmla="*/ 3630952 w 4519987"/>
              <a:gd name="connsiteY57" fmla="*/ 4010025 h 4496940"/>
              <a:gd name="connsiteX58" fmla="*/ 3621427 w 4519987"/>
              <a:gd name="connsiteY58" fmla="*/ 4038600 h 4496940"/>
              <a:gd name="connsiteX59" fmla="*/ 3554752 w 4519987"/>
              <a:gd name="connsiteY59" fmla="*/ 4095750 h 4496940"/>
              <a:gd name="connsiteX60" fmla="*/ 3516652 w 4519987"/>
              <a:gd name="connsiteY60" fmla="*/ 4114800 h 4496940"/>
              <a:gd name="connsiteX61" fmla="*/ 3497602 w 4519987"/>
              <a:gd name="connsiteY61" fmla="*/ 4143375 h 4496940"/>
              <a:gd name="connsiteX62" fmla="*/ 3383302 w 4519987"/>
              <a:gd name="connsiteY62" fmla="*/ 4210050 h 4496940"/>
              <a:gd name="connsiteX63" fmla="*/ 3335677 w 4519987"/>
              <a:gd name="connsiteY63" fmla="*/ 4238625 h 4496940"/>
              <a:gd name="connsiteX64" fmla="*/ 3288052 w 4519987"/>
              <a:gd name="connsiteY64" fmla="*/ 4248150 h 4496940"/>
              <a:gd name="connsiteX65" fmla="*/ 3240427 w 4519987"/>
              <a:gd name="connsiteY65" fmla="*/ 4267200 h 4496940"/>
              <a:gd name="connsiteX66" fmla="*/ 3068977 w 4519987"/>
              <a:gd name="connsiteY66" fmla="*/ 4286250 h 4496940"/>
              <a:gd name="connsiteX67" fmla="*/ 2935627 w 4519987"/>
              <a:gd name="connsiteY67" fmla="*/ 4333875 h 4496940"/>
              <a:gd name="connsiteX68" fmla="*/ 2811802 w 4519987"/>
              <a:gd name="connsiteY68" fmla="*/ 4371975 h 4496940"/>
              <a:gd name="connsiteX69" fmla="*/ 2745127 w 4519987"/>
              <a:gd name="connsiteY69" fmla="*/ 4410075 h 4496940"/>
              <a:gd name="connsiteX70" fmla="*/ 2697502 w 4519987"/>
              <a:gd name="connsiteY70" fmla="*/ 4429125 h 4496940"/>
              <a:gd name="connsiteX71" fmla="*/ 2640352 w 4519987"/>
              <a:gd name="connsiteY71" fmla="*/ 4457700 h 4496940"/>
              <a:gd name="connsiteX72" fmla="*/ 2583202 w 4519987"/>
              <a:gd name="connsiteY72" fmla="*/ 4467225 h 4496940"/>
              <a:gd name="connsiteX73" fmla="*/ 2545102 w 4519987"/>
              <a:gd name="connsiteY73" fmla="*/ 4486275 h 4496940"/>
              <a:gd name="connsiteX74" fmla="*/ 2306977 w 4519987"/>
              <a:gd name="connsiteY74" fmla="*/ 4476750 h 4496940"/>
              <a:gd name="connsiteX75" fmla="*/ 2202202 w 4519987"/>
              <a:gd name="connsiteY75" fmla="*/ 4457700 h 4496940"/>
              <a:gd name="connsiteX76" fmla="*/ 2126002 w 4519987"/>
              <a:gd name="connsiteY76" fmla="*/ 4429125 h 4496940"/>
              <a:gd name="connsiteX77" fmla="*/ 1935502 w 4519987"/>
              <a:gd name="connsiteY77" fmla="*/ 4400550 h 4496940"/>
              <a:gd name="connsiteX78" fmla="*/ 1821202 w 4519987"/>
              <a:gd name="connsiteY78" fmla="*/ 4371975 h 4496940"/>
              <a:gd name="connsiteX79" fmla="*/ 1754527 w 4519987"/>
              <a:gd name="connsiteY79" fmla="*/ 4352925 h 4496940"/>
              <a:gd name="connsiteX80" fmla="*/ 1687852 w 4519987"/>
              <a:gd name="connsiteY80" fmla="*/ 4343400 h 4496940"/>
              <a:gd name="connsiteX81" fmla="*/ 1573552 w 4519987"/>
              <a:gd name="connsiteY81" fmla="*/ 4305300 h 4496940"/>
              <a:gd name="connsiteX82" fmla="*/ 1402102 w 4519987"/>
              <a:gd name="connsiteY82" fmla="*/ 4276725 h 4496940"/>
              <a:gd name="connsiteX83" fmla="*/ 1287802 w 4519987"/>
              <a:gd name="connsiteY83" fmla="*/ 4229100 h 4496940"/>
              <a:gd name="connsiteX84" fmla="*/ 1221127 w 4519987"/>
              <a:gd name="connsiteY84" fmla="*/ 4200525 h 4496940"/>
              <a:gd name="connsiteX85" fmla="*/ 1144927 w 4519987"/>
              <a:gd name="connsiteY85" fmla="*/ 4171950 h 4496940"/>
              <a:gd name="connsiteX86" fmla="*/ 1087777 w 4519987"/>
              <a:gd name="connsiteY86" fmla="*/ 4143375 h 4496940"/>
              <a:gd name="connsiteX87" fmla="*/ 1030627 w 4519987"/>
              <a:gd name="connsiteY87" fmla="*/ 4124325 h 4496940"/>
              <a:gd name="connsiteX88" fmla="*/ 925852 w 4519987"/>
              <a:gd name="connsiteY88" fmla="*/ 4067175 h 4496940"/>
              <a:gd name="connsiteX89" fmla="*/ 830602 w 4519987"/>
              <a:gd name="connsiteY89" fmla="*/ 3981450 h 4496940"/>
              <a:gd name="connsiteX90" fmla="*/ 763927 w 4519987"/>
              <a:gd name="connsiteY90" fmla="*/ 3914775 h 4496940"/>
              <a:gd name="connsiteX91" fmla="*/ 725827 w 4519987"/>
              <a:gd name="connsiteY91" fmla="*/ 3876675 h 4496940"/>
              <a:gd name="connsiteX92" fmla="*/ 697252 w 4519987"/>
              <a:gd name="connsiteY92" fmla="*/ 3838575 h 4496940"/>
              <a:gd name="connsiteX93" fmla="*/ 640102 w 4519987"/>
              <a:gd name="connsiteY93" fmla="*/ 3781425 h 4496940"/>
              <a:gd name="connsiteX94" fmla="*/ 611527 w 4519987"/>
              <a:gd name="connsiteY94" fmla="*/ 3733800 h 4496940"/>
              <a:gd name="connsiteX95" fmla="*/ 554377 w 4519987"/>
              <a:gd name="connsiteY95" fmla="*/ 3657600 h 4496940"/>
              <a:gd name="connsiteX96" fmla="*/ 525802 w 4519987"/>
              <a:gd name="connsiteY96" fmla="*/ 3609975 h 4496940"/>
              <a:gd name="connsiteX97" fmla="*/ 497227 w 4519987"/>
              <a:gd name="connsiteY97" fmla="*/ 3552825 h 4496940"/>
              <a:gd name="connsiteX98" fmla="*/ 440077 w 4519987"/>
              <a:gd name="connsiteY98" fmla="*/ 3495675 h 4496940"/>
              <a:gd name="connsiteX99" fmla="*/ 411502 w 4519987"/>
              <a:gd name="connsiteY99" fmla="*/ 3448050 h 4496940"/>
              <a:gd name="connsiteX100" fmla="*/ 278152 w 4519987"/>
              <a:gd name="connsiteY100" fmla="*/ 3257550 h 4496940"/>
              <a:gd name="connsiteX101" fmla="*/ 249577 w 4519987"/>
              <a:gd name="connsiteY101" fmla="*/ 3200400 h 4496940"/>
              <a:gd name="connsiteX102" fmla="*/ 240052 w 4519987"/>
              <a:gd name="connsiteY102" fmla="*/ 3162300 h 4496940"/>
              <a:gd name="connsiteX103" fmla="*/ 221002 w 4519987"/>
              <a:gd name="connsiteY103" fmla="*/ 3105150 h 4496940"/>
              <a:gd name="connsiteX104" fmla="*/ 173377 w 4519987"/>
              <a:gd name="connsiteY104" fmla="*/ 3019425 h 4496940"/>
              <a:gd name="connsiteX105" fmla="*/ 144802 w 4519987"/>
              <a:gd name="connsiteY105" fmla="*/ 2924175 h 4496940"/>
              <a:gd name="connsiteX106" fmla="*/ 68602 w 4519987"/>
              <a:gd name="connsiteY106" fmla="*/ 2724150 h 4496940"/>
              <a:gd name="connsiteX107" fmla="*/ 49552 w 4519987"/>
              <a:gd name="connsiteY107" fmla="*/ 2638425 h 4496940"/>
              <a:gd name="connsiteX108" fmla="*/ 40027 w 4519987"/>
              <a:gd name="connsiteY108" fmla="*/ 2562225 h 4496940"/>
              <a:gd name="connsiteX109" fmla="*/ 30502 w 4519987"/>
              <a:gd name="connsiteY109" fmla="*/ 2514600 h 4496940"/>
              <a:gd name="connsiteX110" fmla="*/ 11452 w 4519987"/>
              <a:gd name="connsiteY110" fmla="*/ 2400300 h 4496940"/>
              <a:gd name="connsiteX111" fmla="*/ 20977 w 4519987"/>
              <a:gd name="connsiteY111" fmla="*/ 1905000 h 4496940"/>
              <a:gd name="connsiteX112" fmla="*/ 30502 w 4519987"/>
              <a:gd name="connsiteY112" fmla="*/ 1838325 h 4496940"/>
              <a:gd name="connsiteX113" fmla="*/ 49552 w 4519987"/>
              <a:gd name="connsiteY113" fmla="*/ 1781175 h 4496940"/>
              <a:gd name="connsiteX114" fmla="*/ 59077 w 4519987"/>
              <a:gd name="connsiteY114" fmla="*/ 1743075 h 4496940"/>
              <a:gd name="connsiteX115" fmla="*/ 78127 w 4519987"/>
              <a:gd name="connsiteY115" fmla="*/ 1685925 h 4496940"/>
              <a:gd name="connsiteX116" fmla="*/ 87652 w 4519987"/>
              <a:gd name="connsiteY116" fmla="*/ 1638300 h 4496940"/>
              <a:gd name="connsiteX117" fmla="*/ 106702 w 4519987"/>
              <a:gd name="connsiteY117" fmla="*/ 1590675 h 4496940"/>
              <a:gd name="connsiteX118" fmla="*/ 135277 w 4519987"/>
              <a:gd name="connsiteY118" fmla="*/ 1504950 h 4496940"/>
              <a:gd name="connsiteX119" fmla="*/ 154327 w 4519987"/>
              <a:gd name="connsiteY119" fmla="*/ 1419225 h 4496940"/>
              <a:gd name="connsiteX120" fmla="*/ 230527 w 4519987"/>
              <a:gd name="connsiteY120" fmla="*/ 1276350 h 4496940"/>
              <a:gd name="connsiteX121" fmla="*/ 240052 w 4519987"/>
              <a:gd name="connsiteY121" fmla="*/ 1247775 h 4496940"/>
              <a:gd name="connsiteX122" fmla="*/ 268627 w 4519987"/>
              <a:gd name="connsiteY122" fmla="*/ 1200150 h 4496940"/>
              <a:gd name="connsiteX123" fmla="*/ 287677 w 4519987"/>
              <a:gd name="connsiteY123" fmla="*/ 1152525 h 4496940"/>
              <a:gd name="connsiteX124" fmla="*/ 316252 w 4519987"/>
              <a:gd name="connsiteY124" fmla="*/ 1114425 h 4496940"/>
              <a:gd name="connsiteX125" fmla="*/ 363877 w 4519987"/>
              <a:gd name="connsiteY125" fmla="*/ 1038225 h 4496940"/>
              <a:gd name="connsiteX126" fmla="*/ 382927 w 4519987"/>
              <a:gd name="connsiteY126" fmla="*/ 1009650 h 4496940"/>
              <a:gd name="connsiteX127" fmla="*/ 440077 w 4519987"/>
              <a:gd name="connsiteY127" fmla="*/ 904875 h 4496940"/>
              <a:gd name="connsiteX128" fmla="*/ 478177 w 4519987"/>
              <a:gd name="connsiteY128" fmla="*/ 857250 h 4496940"/>
              <a:gd name="connsiteX129" fmla="*/ 497227 w 4519987"/>
              <a:gd name="connsiteY129" fmla="*/ 828675 h 4496940"/>
              <a:gd name="connsiteX130" fmla="*/ 535327 w 4519987"/>
              <a:gd name="connsiteY130" fmla="*/ 800100 h 4496940"/>
              <a:gd name="connsiteX131" fmla="*/ 602002 w 4519987"/>
              <a:gd name="connsiteY131" fmla="*/ 733425 h 4496940"/>
              <a:gd name="connsiteX132" fmla="*/ 668677 w 4519987"/>
              <a:gd name="connsiteY132" fmla="*/ 676275 h 4496940"/>
              <a:gd name="connsiteX133" fmla="*/ 697252 w 4519987"/>
              <a:gd name="connsiteY133" fmla="*/ 657225 h 4496940"/>
              <a:gd name="connsiteX134" fmla="*/ 840127 w 4519987"/>
              <a:gd name="connsiteY134" fmla="*/ 533400 h 4496940"/>
              <a:gd name="connsiteX135" fmla="*/ 887752 w 4519987"/>
              <a:gd name="connsiteY135" fmla="*/ 504825 h 4496940"/>
              <a:gd name="connsiteX136" fmla="*/ 1167152 w 4519987"/>
              <a:gd name="connsiteY136" fmla="*/ 311150 h 4496940"/>
              <a:gd name="connsiteX137" fmla="*/ 1268752 w 4519987"/>
              <a:gd name="connsiteY137" fmla="*/ 285750 h 4496940"/>
              <a:gd name="connsiteX138" fmla="*/ 1411627 w 4519987"/>
              <a:gd name="connsiteY138" fmla="*/ 190500 h 4496940"/>
              <a:gd name="connsiteX139" fmla="*/ 1449727 w 4519987"/>
              <a:gd name="connsiteY139" fmla="*/ 161925 h 4496940"/>
              <a:gd name="connsiteX140" fmla="*/ 1525927 w 4519987"/>
              <a:gd name="connsiteY140" fmla="*/ 152400 h 4496940"/>
              <a:gd name="connsiteX141" fmla="*/ 1583077 w 4519987"/>
              <a:gd name="connsiteY141" fmla="*/ 142875 h 4496940"/>
              <a:gd name="connsiteX142" fmla="*/ 1716427 w 4519987"/>
              <a:gd name="connsiteY142" fmla="*/ 123825 h 4496940"/>
              <a:gd name="connsiteX143" fmla="*/ 1811677 w 4519987"/>
              <a:gd name="connsiteY143" fmla="*/ 114300 h 4496940"/>
              <a:gd name="connsiteX144" fmla="*/ 1859302 w 4519987"/>
              <a:gd name="connsiteY144" fmla="*/ 104775 h 4496940"/>
              <a:gd name="connsiteX145" fmla="*/ 1916452 w 4519987"/>
              <a:gd name="connsiteY145" fmla="*/ 95250 h 4496940"/>
              <a:gd name="connsiteX146" fmla="*/ 2030752 w 4519987"/>
              <a:gd name="connsiteY146" fmla="*/ 66675 h 4496940"/>
              <a:gd name="connsiteX147" fmla="*/ 2097427 w 4519987"/>
              <a:gd name="connsiteY147" fmla="*/ 47625 h 4496940"/>
              <a:gd name="connsiteX148" fmla="*/ 2164102 w 4519987"/>
              <a:gd name="connsiteY148" fmla="*/ 38100 h 4496940"/>
              <a:gd name="connsiteX149" fmla="*/ 2392702 w 4519987"/>
              <a:gd name="connsiteY14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78627 w 4519987"/>
              <a:gd name="connsiteY21" fmla="*/ 838200 h 4496940"/>
              <a:gd name="connsiteX22" fmla="*/ 4135777 w 4519987"/>
              <a:gd name="connsiteY22" fmla="*/ 933450 h 4496940"/>
              <a:gd name="connsiteX23" fmla="*/ 4164352 w 4519987"/>
              <a:gd name="connsiteY23" fmla="*/ 990600 h 4496940"/>
              <a:gd name="connsiteX24" fmla="*/ 4173877 w 4519987"/>
              <a:gd name="connsiteY24" fmla="*/ 1019175 h 4496940"/>
              <a:gd name="connsiteX25" fmla="*/ 4192927 w 4519987"/>
              <a:gd name="connsiteY25" fmla="*/ 1057275 h 4496940"/>
              <a:gd name="connsiteX26" fmla="*/ 4202452 w 4519987"/>
              <a:gd name="connsiteY26" fmla="*/ 1085850 h 4496940"/>
              <a:gd name="connsiteX27" fmla="*/ 4250077 w 4519987"/>
              <a:gd name="connsiteY27" fmla="*/ 1143000 h 4496940"/>
              <a:gd name="connsiteX28" fmla="*/ 4259602 w 4519987"/>
              <a:gd name="connsiteY28" fmla="*/ 1190625 h 4496940"/>
              <a:gd name="connsiteX29" fmla="*/ 4307227 w 4519987"/>
              <a:gd name="connsiteY29" fmla="*/ 1266825 h 4496940"/>
              <a:gd name="connsiteX30" fmla="*/ 4345327 w 4519987"/>
              <a:gd name="connsiteY30" fmla="*/ 1362075 h 4496940"/>
              <a:gd name="connsiteX31" fmla="*/ 4373902 w 4519987"/>
              <a:gd name="connsiteY31" fmla="*/ 1428750 h 4496940"/>
              <a:gd name="connsiteX32" fmla="*/ 4392952 w 4519987"/>
              <a:gd name="connsiteY32" fmla="*/ 1552575 h 4496940"/>
              <a:gd name="connsiteX33" fmla="*/ 4402477 w 4519987"/>
              <a:gd name="connsiteY33" fmla="*/ 1590675 h 4496940"/>
              <a:gd name="connsiteX34" fmla="*/ 4431052 w 4519987"/>
              <a:gd name="connsiteY34" fmla="*/ 1685925 h 4496940"/>
              <a:gd name="connsiteX35" fmla="*/ 4519952 w 4519987"/>
              <a:gd name="connsiteY35" fmla="*/ 2181225 h 4496940"/>
              <a:gd name="connsiteX36" fmla="*/ 4446927 w 4519987"/>
              <a:gd name="connsiteY36" fmla="*/ 2768600 h 4496940"/>
              <a:gd name="connsiteX37" fmla="*/ 4383427 w 4519987"/>
              <a:gd name="connsiteY37" fmla="*/ 2990850 h 4496940"/>
              <a:gd name="connsiteX38" fmla="*/ 4278652 w 4519987"/>
              <a:gd name="connsiteY38" fmla="*/ 3248025 h 4496940"/>
              <a:gd name="connsiteX39" fmla="*/ 4259602 w 4519987"/>
              <a:gd name="connsiteY39" fmla="*/ 3276600 h 4496940"/>
              <a:gd name="connsiteX40" fmla="*/ 4221502 w 4519987"/>
              <a:gd name="connsiteY40" fmla="*/ 3333750 h 4496940"/>
              <a:gd name="connsiteX41" fmla="*/ 4211977 w 4519987"/>
              <a:gd name="connsiteY41" fmla="*/ 3362325 h 4496940"/>
              <a:gd name="connsiteX42" fmla="*/ 4183402 w 4519987"/>
              <a:gd name="connsiteY42" fmla="*/ 3400425 h 4496940"/>
              <a:gd name="connsiteX43" fmla="*/ 4164352 w 4519987"/>
              <a:gd name="connsiteY43" fmla="*/ 3429000 h 4496940"/>
              <a:gd name="connsiteX44" fmla="*/ 4088152 w 4519987"/>
              <a:gd name="connsiteY44" fmla="*/ 3495675 h 4496940"/>
              <a:gd name="connsiteX45" fmla="*/ 4059577 w 4519987"/>
              <a:gd name="connsiteY45" fmla="*/ 3533775 h 4496940"/>
              <a:gd name="connsiteX46" fmla="*/ 4002427 w 4519987"/>
              <a:gd name="connsiteY46" fmla="*/ 3600450 h 4496940"/>
              <a:gd name="connsiteX47" fmla="*/ 3983377 w 4519987"/>
              <a:gd name="connsiteY47" fmla="*/ 3629025 h 4496940"/>
              <a:gd name="connsiteX48" fmla="*/ 3954802 w 4519987"/>
              <a:gd name="connsiteY48" fmla="*/ 3648075 h 4496940"/>
              <a:gd name="connsiteX49" fmla="*/ 3907177 w 4519987"/>
              <a:gd name="connsiteY49" fmla="*/ 3686175 h 4496940"/>
              <a:gd name="connsiteX50" fmla="*/ 3869077 w 4519987"/>
              <a:gd name="connsiteY50" fmla="*/ 3724275 h 4496940"/>
              <a:gd name="connsiteX51" fmla="*/ 3792877 w 4519987"/>
              <a:gd name="connsiteY51" fmla="*/ 3781425 h 4496940"/>
              <a:gd name="connsiteX52" fmla="*/ 3783352 w 4519987"/>
              <a:gd name="connsiteY52" fmla="*/ 3810000 h 4496940"/>
              <a:gd name="connsiteX53" fmla="*/ 3745252 w 4519987"/>
              <a:gd name="connsiteY53" fmla="*/ 3819525 h 4496940"/>
              <a:gd name="connsiteX54" fmla="*/ 3678577 w 4519987"/>
              <a:gd name="connsiteY54" fmla="*/ 3848100 h 4496940"/>
              <a:gd name="connsiteX55" fmla="*/ 3659527 w 4519987"/>
              <a:gd name="connsiteY55" fmla="*/ 3971925 h 4496940"/>
              <a:gd name="connsiteX56" fmla="*/ 3630952 w 4519987"/>
              <a:gd name="connsiteY56" fmla="*/ 4010025 h 4496940"/>
              <a:gd name="connsiteX57" fmla="*/ 3621427 w 4519987"/>
              <a:gd name="connsiteY57" fmla="*/ 4038600 h 4496940"/>
              <a:gd name="connsiteX58" fmla="*/ 3554752 w 4519987"/>
              <a:gd name="connsiteY58" fmla="*/ 4095750 h 4496940"/>
              <a:gd name="connsiteX59" fmla="*/ 3516652 w 4519987"/>
              <a:gd name="connsiteY59" fmla="*/ 4114800 h 4496940"/>
              <a:gd name="connsiteX60" fmla="*/ 3497602 w 4519987"/>
              <a:gd name="connsiteY60" fmla="*/ 4143375 h 4496940"/>
              <a:gd name="connsiteX61" fmla="*/ 3383302 w 4519987"/>
              <a:gd name="connsiteY61" fmla="*/ 4210050 h 4496940"/>
              <a:gd name="connsiteX62" fmla="*/ 3335677 w 4519987"/>
              <a:gd name="connsiteY62" fmla="*/ 4238625 h 4496940"/>
              <a:gd name="connsiteX63" fmla="*/ 3288052 w 4519987"/>
              <a:gd name="connsiteY63" fmla="*/ 4248150 h 4496940"/>
              <a:gd name="connsiteX64" fmla="*/ 3240427 w 4519987"/>
              <a:gd name="connsiteY64" fmla="*/ 4267200 h 4496940"/>
              <a:gd name="connsiteX65" fmla="*/ 3068977 w 4519987"/>
              <a:gd name="connsiteY65" fmla="*/ 4286250 h 4496940"/>
              <a:gd name="connsiteX66" fmla="*/ 2935627 w 4519987"/>
              <a:gd name="connsiteY66" fmla="*/ 4333875 h 4496940"/>
              <a:gd name="connsiteX67" fmla="*/ 2811802 w 4519987"/>
              <a:gd name="connsiteY67" fmla="*/ 4371975 h 4496940"/>
              <a:gd name="connsiteX68" fmla="*/ 2745127 w 4519987"/>
              <a:gd name="connsiteY68" fmla="*/ 4410075 h 4496940"/>
              <a:gd name="connsiteX69" fmla="*/ 2697502 w 4519987"/>
              <a:gd name="connsiteY69" fmla="*/ 4429125 h 4496940"/>
              <a:gd name="connsiteX70" fmla="*/ 2640352 w 4519987"/>
              <a:gd name="connsiteY70" fmla="*/ 4457700 h 4496940"/>
              <a:gd name="connsiteX71" fmla="*/ 2583202 w 4519987"/>
              <a:gd name="connsiteY71" fmla="*/ 4467225 h 4496940"/>
              <a:gd name="connsiteX72" fmla="*/ 2545102 w 4519987"/>
              <a:gd name="connsiteY72" fmla="*/ 4486275 h 4496940"/>
              <a:gd name="connsiteX73" fmla="*/ 2306977 w 4519987"/>
              <a:gd name="connsiteY73" fmla="*/ 4476750 h 4496940"/>
              <a:gd name="connsiteX74" fmla="*/ 2202202 w 4519987"/>
              <a:gd name="connsiteY74" fmla="*/ 4457700 h 4496940"/>
              <a:gd name="connsiteX75" fmla="*/ 2126002 w 4519987"/>
              <a:gd name="connsiteY75" fmla="*/ 4429125 h 4496940"/>
              <a:gd name="connsiteX76" fmla="*/ 1935502 w 4519987"/>
              <a:gd name="connsiteY76" fmla="*/ 4400550 h 4496940"/>
              <a:gd name="connsiteX77" fmla="*/ 1821202 w 4519987"/>
              <a:gd name="connsiteY77" fmla="*/ 4371975 h 4496940"/>
              <a:gd name="connsiteX78" fmla="*/ 1754527 w 4519987"/>
              <a:gd name="connsiteY78" fmla="*/ 4352925 h 4496940"/>
              <a:gd name="connsiteX79" fmla="*/ 1687852 w 4519987"/>
              <a:gd name="connsiteY79" fmla="*/ 4343400 h 4496940"/>
              <a:gd name="connsiteX80" fmla="*/ 1573552 w 4519987"/>
              <a:gd name="connsiteY80" fmla="*/ 4305300 h 4496940"/>
              <a:gd name="connsiteX81" fmla="*/ 1402102 w 4519987"/>
              <a:gd name="connsiteY81" fmla="*/ 4276725 h 4496940"/>
              <a:gd name="connsiteX82" fmla="*/ 1287802 w 4519987"/>
              <a:gd name="connsiteY82" fmla="*/ 4229100 h 4496940"/>
              <a:gd name="connsiteX83" fmla="*/ 1221127 w 4519987"/>
              <a:gd name="connsiteY83" fmla="*/ 4200525 h 4496940"/>
              <a:gd name="connsiteX84" fmla="*/ 1144927 w 4519987"/>
              <a:gd name="connsiteY84" fmla="*/ 4171950 h 4496940"/>
              <a:gd name="connsiteX85" fmla="*/ 1087777 w 4519987"/>
              <a:gd name="connsiteY85" fmla="*/ 4143375 h 4496940"/>
              <a:gd name="connsiteX86" fmla="*/ 1030627 w 4519987"/>
              <a:gd name="connsiteY86" fmla="*/ 4124325 h 4496940"/>
              <a:gd name="connsiteX87" fmla="*/ 925852 w 4519987"/>
              <a:gd name="connsiteY87" fmla="*/ 4067175 h 4496940"/>
              <a:gd name="connsiteX88" fmla="*/ 830602 w 4519987"/>
              <a:gd name="connsiteY88" fmla="*/ 3981450 h 4496940"/>
              <a:gd name="connsiteX89" fmla="*/ 763927 w 4519987"/>
              <a:gd name="connsiteY89" fmla="*/ 3914775 h 4496940"/>
              <a:gd name="connsiteX90" fmla="*/ 725827 w 4519987"/>
              <a:gd name="connsiteY90" fmla="*/ 3876675 h 4496940"/>
              <a:gd name="connsiteX91" fmla="*/ 697252 w 4519987"/>
              <a:gd name="connsiteY91" fmla="*/ 3838575 h 4496940"/>
              <a:gd name="connsiteX92" fmla="*/ 640102 w 4519987"/>
              <a:gd name="connsiteY92" fmla="*/ 3781425 h 4496940"/>
              <a:gd name="connsiteX93" fmla="*/ 611527 w 4519987"/>
              <a:gd name="connsiteY93" fmla="*/ 3733800 h 4496940"/>
              <a:gd name="connsiteX94" fmla="*/ 554377 w 4519987"/>
              <a:gd name="connsiteY94" fmla="*/ 3657600 h 4496940"/>
              <a:gd name="connsiteX95" fmla="*/ 525802 w 4519987"/>
              <a:gd name="connsiteY95" fmla="*/ 3609975 h 4496940"/>
              <a:gd name="connsiteX96" fmla="*/ 497227 w 4519987"/>
              <a:gd name="connsiteY96" fmla="*/ 3552825 h 4496940"/>
              <a:gd name="connsiteX97" fmla="*/ 440077 w 4519987"/>
              <a:gd name="connsiteY97" fmla="*/ 3495675 h 4496940"/>
              <a:gd name="connsiteX98" fmla="*/ 411502 w 4519987"/>
              <a:gd name="connsiteY98" fmla="*/ 3448050 h 4496940"/>
              <a:gd name="connsiteX99" fmla="*/ 278152 w 4519987"/>
              <a:gd name="connsiteY99" fmla="*/ 3257550 h 4496940"/>
              <a:gd name="connsiteX100" fmla="*/ 249577 w 4519987"/>
              <a:gd name="connsiteY100" fmla="*/ 3200400 h 4496940"/>
              <a:gd name="connsiteX101" fmla="*/ 240052 w 4519987"/>
              <a:gd name="connsiteY101" fmla="*/ 3162300 h 4496940"/>
              <a:gd name="connsiteX102" fmla="*/ 221002 w 4519987"/>
              <a:gd name="connsiteY102" fmla="*/ 3105150 h 4496940"/>
              <a:gd name="connsiteX103" fmla="*/ 173377 w 4519987"/>
              <a:gd name="connsiteY103" fmla="*/ 3019425 h 4496940"/>
              <a:gd name="connsiteX104" fmla="*/ 144802 w 4519987"/>
              <a:gd name="connsiteY104" fmla="*/ 2924175 h 4496940"/>
              <a:gd name="connsiteX105" fmla="*/ 68602 w 4519987"/>
              <a:gd name="connsiteY105" fmla="*/ 2724150 h 4496940"/>
              <a:gd name="connsiteX106" fmla="*/ 49552 w 4519987"/>
              <a:gd name="connsiteY106" fmla="*/ 2638425 h 4496940"/>
              <a:gd name="connsiteX107" fmla="*/ 40027 w 4519987"/>
              <a:gd name="connsiteY107" fmla="*/ 2562225 h 4496940"/>
              <a:gd name="connsiteX108" fmla="*/ 30502 w 4519987"/>
              <a:gd name="connsiteY108" fmla="*/ 2514600 h 4496940"/>
              <a:gd name="connsiteX109" fmla="*/ 11452 w 4519987"/>
              <a:gd name="connsiteY109" fmla="*/ 2400300 h 4496940"/>
              <a:gd name="connsiteX110" fmla="*/ 20977 w 4519987"/>
              <a:gd name="connsiteY110" fmla="*/ 1905000 h 4496940"/>
              <a:gd name="connsiteX111" fmla="*/ 30502 w 4519987"/>
              <a:gd name="connsiteY111" fmla="*/ 1838325 h 4496940"/>
              <a:gd name="connsiteX112" fmla="*/ 49552 w 4519987"/>
              <a:gd name="connsiteY112" fmla="*/ 1781175 h 4496940"/>
              <a:gd name="connsiteX113" fmla="*/ 59077 w 4519987"/>
              <a:gd name="connsiteY113" fmla="*/ 1743075 h 4496940"/>
              <a:gd name="connsiteX114" fmla="*/ 78127 w 4519987"/>
              <a:gd name="connsiteY114" fmla="*/ 1685925 h 4496940"/>
              <a:gd name="connsiteX115" fmla="*/ 87652 w 4519987"/>
              <a:gd name="connsiteY115" fmla="*/ 1638300 h 4496940"/>
              <a:gd name="connsiteX116" fmla="*/ 106702 w 4519987"/>
              <a:gd name="connsiteY116" fmla="*/ 1590675 h 4496940"/>
              <a:gd name="connsiteX117" fmla="*/ 135277 w 4519987"/>
              <a:gd name="connsiteY117" fmla="*/ 1504950 h 4496940"/>
              <a:gd name="connsiteX118" fmla="*/ 154327 w 4519987"/>
              <a:gd name="connsiteY118" fmla="*/ 1419225 h 4496940"/>
              <a:gd name="connsiteX119" fmla="*/ 230527 w 4519987"/>
              <a:gd name="connsiteY119" fmla="*/ 1276350 h 4496940"/>
              <a:gd name="connsiteX120" fmla="*/ 240052 w 4519987"/>
              <a:gd name="connsiteY120" fmla="*/ 1247775 h 4496940"/>
              <a:gd name="connsiteX121" fmla="*/ 268627 w 4519987"/>
              <a:gd name="connsiteY121" fmla="*/ 1200150 h 4496940"/>
              <a:gd name="connsiteX122" fmla="*/ 287677 w 4519987"/>
              <a:gd name="connsiteY122" fmla="*/ 1152525 h 4496940"/>
              <a:gd name="connsiteX123" fmla="*/ 316252 w 4519987"/>
              <a:gd name="connsiteY123" fmla="*/ 1114425 h 4496940"/>
              <a:gd name="connsiteX124" fmla="*/ 363877 w 4519987"/>
              <a:gd name="connsiteY124" fmla="*/ 1038225 h 4496940"/>
              <a:gd name="connsiteX125" fmla="*/ 382927 w 4519987"/>
              <a:gd name="connsiteY125" fmla="*/ 1009650 h 4496940"/>
              <a:gd name="connsiteX126" fmla="*/ 440077 w 4519987"/>
              <a:gd name="connsiteY126" fmla="*/ 904875 h 4496940"/>
              <a:gd name="connsiteX127" fmla="*/ 478177 w 4519987"/>
              <a:gd name="connsiteY127" fmla="*/ 857250 h 4496940"/>
              <a:gd name="connsiteX128" fmla="*/ 497227 w 4519987"/>
              <a:gd name="connsiteY128" fmla="*/ 828675 h 4496940"/>
              <a:gd name="connsiteX129" fmla="*/ 535327 w 4519987"/>
              <a:gd name="connsiteY129" fmla="*/ 800100 h 4496940"/>
              <a:gd name="connsiteX130" fmla="*/ 602002 w 4519987"/>
              <a:gd name="connsiteY130" fmla="*/ 733425 h 4496940"/>
              <a:gd name="connsiteX131" fmla="*/ 668677 w 4519987"/>
              <a:gd name="connsiteY131" fmla="*/ 676275 h 4496940"/>
              <a:gd name="connsiteX132" fmla="*/ 697252 w 4519987"/>
              <a:gd name="connsiteY132" fmla="*/ 657225 h 4496940"/>
              <a:gd name="connsiteX133" fmla="*/ 840127 w 4519987"/>
              <a:gd name="connsiteY133" fmla="*/ 533400 h 4496940"/>
              <a:gd name="connsiteX134" fmla="*/ 887752 w 4519987"/>
              <a:gd name="connsiteY134" fmla="*/ 504825 h 4496940"/>
              <a:gd name="connsiteX135" fmla="*/ 1167152 w 4519987"/>
              <a:gd name="connsiteY135" fmla="*/ 311150 h 4496940"/>
              <a:gd name="connsiteX136" fmla="*/ 1268752 w 4519987"/>
              <a:gd name="connsiteY136" fmla="*/ 285750 h 4496940"/>
              <a:gd name="connsiteX137" fmla="*/ 1411627 w 4519987"/>
              <a:gd name="connsiteY137" fmla="*/ 190500 h 4496940"/>
              <a:gd name="connsiteX138" fmla="*/ 1449727 w 4519987"/>
              <a:gd name="connsiteY138" fmla="*/ 161925 h 4496940"/>
              <a:gd name="connsiteX139" fmla="*/ 1525927 w 4519987"/>
              <a:gd name="connsiteY139" fmla="*/ 152400 h 4496940"/>
              <a:gd name="connsiteX140" fmla="*/ 1583077 w 4519987"/>
              <a:gd name="connsiteY140" fmla="*/ 142875 h 4496940"/>
              <a:gd name="connsiteX141" fmla="*/ 1716427 w 4519987"/>
              <a:gd name="connsiteY141" fmla="*/ 123825 h 4496940"/>
              <a:gd name="connsiteX142" fmla="*/ 1811677 w 4519987"/>
              <a:gd name="connsiteY142" fmla="*/ 114300 h 4496940"/>
              <a:gd name="connsiteX143" fmla="*/ 1859302 w 4519987"/>
              <a:gd name="connsiteY143" fmla="*/ 104775 h 4496940"/>
              <a:gd name="connsiteX144" fmla="*/ 1916452 w 4519987"/>
              <a:gd name="connsiteY144" fmla="*/ 95250 h 4496940"/>
              <a:gd name="connsiteX145" fmla="*/ 2030752 w 4519987"/>
              <a:gd name="connsiteY145" fmla="*/ 66675 h 4496940"/>
              <a:gd name="connsiteX146" fmla="*/ 2097427 w 4519987"/>
              <a:gd name="connsiteY146" fmla="*/ 47625 h 4496940"/>
              <a:gd name="connsiteX147" fmla="*/ 2164102 w 4519987"/>
              <a:gd name="connsiteY147" fmla="*/ 38100 h 4496940"/>
              <a:gd name="connsiteX148" fmla="*/ 2392702 w 4519987"/>
              <a:gd name="connsiteY14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135777 w 4519987"/>
              <a:gd name="connsiteY21" fmla="*/ 9334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192927 w 4519987"/>
              <a:gd name="connsiteY24" fmla="*/ 1057275 h 4496940"/>
              <a:gd name="connsiteX25" fmla="*/ 4202452 w 4519987"/>
              <a:gd name="connsiteY25" fmla="*/ 1085850 h 4496940"/>
              <a:gd name="connsiteX26" fmla="*/ 4250077 w 4519987"/>
              <a:gd name="connsiteY26" fmla="*/ 1143000 h 4496940"/>
              <a:gd name="connsiteX27" fmla="*/ 4259602 w 4519987"/>
              <a:gd name="connsiteY27" fmla="*/ 1190625 h 4496940"/>
              <a:gd name="connsiteX28" fmla="*/ 4307227 w 4519987"/>
              <a:gd name="connsiteY28" fmla="*/ 1266825 h 4496940"/>
              <a:gd name="connsiteX29" fmla="*/ 4345327 w 4519987"/>
              <a:gd name="connsiteY29" fmla="*/ 1362075 h 4496940"/>
              <a:gd name="connsiteX30" fmla="*/ 4373902 w 4519987"/>
              <a:gd name="connsiteY30" fmla="*/ 1428750 h 4496940"/>
              <a:gd name="connsiteX31" fmla="*/ 4392952 w 4519987"/>
              <a:gd name="connsiteY31" fmla="*/ 1552575 h 4496940"/>
              <a:gd name="connsiteX32" fmla="*/ 4402477 w 4519987"/>
              <a:gd name="connsiteY32" fmla="*/ 1590675 h 4496940"/>
              <a:gd name="connsiteX33" fmla="*/ 4431052 w 4519987"/>
              <a:gd name="connsiteY33" fmla="*/ 1685925 h 4496940"/>
              <a:gd name="connsiteX34" fmla="*/ 4519952 w 4519987"/>
              <a:gd name="connsiteY34" fmla="*/ 2181225 h 4496940"/>
              <a:gd name="connsiteX35" fmla="*/ 4446927 w 4519987"/>
              <a:gd name="connsiteY35" fmla="*/ 2768600 h 4496940"/>
              <a:gd name="connsiteX36" fmla="*/ 4383427 w 4519987"/>
              <a:gd name="connsiteY36" fmla="*/ 2990850 h 4496940"/>
              <a:gd name="connsiteX37" fmla="*/ 4278652 w 4519987"/>
              <a:gd name="connsiteY37" fmla="*/ 3248025 h 4496940"/>
              <a:gd name="connsiteX38" fmla="*/ 4259602 w 4519987"/>
              <a:gd name="connsiteY38" fmla="*/ 3276600 h 4496940"/>
              <a:gd name="connsiteX39" fmla="*/ 4221502 w 4519987"/>
              <a:gd name="connsiteY39" fmla="*/ 3333750 h 4496940"/>
              <a:gd name="connsiteX40" fmla="*/ 4211977 w 4519987"/>
              <a:gd name="connsiteY40" fmla="*/ 3362325 h 4496940"/>
              <a:gd name="connsiteX41" fmla="*/ 4183402 w 4519987"/>
              <a:gd name="connsiteY41" fmla="*/ 3400425 h 4496940"/>
              <a:gd name="connsiteX42" fmla="*/ 4164352 w 4519987"/>
              <a:gd name="connsiteY42" fmla="*/ 3429000 h 4496940"/>
              <a:gd name="connsiteX43" fmla="*/ 4088152 w 4519987"/>
              <a:gd name="connsiteY43" fmla="*/ 3495675 h 4496940"/>
              <a:gd name="connsiteX44" fmla="*/ 4059577 w 4519987"/>
              <a:gd name="connsiteY44" fmla="*/ 3533775 h 4496940"/>
              <a:gd name="connsiteX45" fmla="*/ 4002427 w 4519987"/>
              <a:gd name="connsiteY45" fmla="*/ 3600450 h 4496940"/>
              <a:gd name="connsiteX46" fmla="*/ 3983377 w 4519987"/>
              <a:gd name="connsiteY46" fmla="*/ 3629025 h 4496940"/>
              <a:gd name="connsiteX47" fmla="*/ 3954802 w 4519987"/>
              <a:gd name="connsiteY47" fmla="*/ 3648075 h 4496940"/>
              <a:gd name="connsiteX48" fmla="*/ 3907177 w 4519987"/>
              <a:gd name="connsiteY48" fmla="*/ 3686175 h 4496940"/>
              <a:gd name="connsiteX49" fmla="*/ 3869077 w 4519987"/>
              <a:gd name="connsiteY49" fmla="*/ 3724275 h 4496940"/>
              <a:gd name="connsiteX50" fmla="*/ 3792877 w 4519987"/>
              <a:gd name="connsiteY50" fmla="*/ 3781425 h 4496940"/>
              <a:gd name="connsiteX51" fmla="*/ 3783352 w 4519987"/>
              <a:gd name="connsiteY51" fmla="*/ 3810000 h 4496940"/>
              <a:gd name="connsiteX52" fmla="*/ 3745252 w 4519987"/>
              <a:gd name="connsiteY52" fmla="*/ 3819525 h 4496940"/>
              <a:gd name="connsiteX53" fmla="*/ 3678577 w 4519987"/>
              <a:gd name="connsiteY53" fmla="*/ 3848100 h 4496940"/>
              <a:gd name="connsiteX54" fmla="*/ 3659527 w 4519987"/>
              <a:gd name="connsiteY54" fmla="*/ 3971925 h 4496940"/>
              <a:gd name="connsiteX55" fmla="*/ 3630952 w 4519987"/>
              <a:gd name="connsiteY55" fmla="*/ 4010025 h 4496940"/>
              <a:gd name="connsiteX56" fmla="*/ 3621427 w 4519987"/>
              <a:gd name="connsiteY56" fmla="*/ 4038600 h 4496940"/>
              <a:gd name="connsiteX57" fmla="*/ 3554752 w 4519987"/>
              <a:gd name="connsiteY57" fmla="*/ 4095750 h 4496940"/>
              <a:gd name="connsiteX58" fmla="*/ 3516652 w 4519987"/>
              <a:gd name="connsiteY58" fmla="*/ 4114800 h 4496940"/>
              <a:gd name="connsiteX59" fmla="*/ 3497602 w 4519987"/>
              <a:gd name="connsiteY59" fmla="*/ 4143375 h 4496940"/>
              <a:gd name="connsiteX60" fmla="*/ 3383302 w 4519987"/>
              <a:gd name="connsiteY60" fmla="*/ 4210050 h 4496940"/>
              <a:gd name="connsiteX61" fmla="*/ 3335677 w 4519987"/>
              <a:gd name="connsiteY61" fmla="*/ 4238625 h 4496940"/>
              <a:gd name="connsiteX62" fmla="*/ 3288052 w 4519987"/>
              <a:gd name="connsiteY62" fmla="*/ 4248150 h 4496940"/>
              <a:gd name="connsiteX63" fmla="*/ 3240427 w 4519987"/>
              <a:gd name="connsiteY63" fmla="*/ 4267200 h 4496940"/>
              <a:gd name="connsiteX64" fmla="*/ 3068977 w 4519987"/>
              <a:gd name="connsiteY64" fmla="*/ 4286250 h 4496940"/>
              <a:gd name="connsiteX65" fmla="*/ 2935627 w 4519987"/>
              <a:gd name="connsiteY65" fmla="*/ 4333875 h 4496940"/>
              <a:gd name="connsiteX66" fmla="*/ 2811802 w 4519987"/>
              <a:gd name="connsiteY66" fmla="*/ 4371975 h 4496940"/>
              <a:gd name="connsiteX67" fmla="*/ 2745127 w 4519987"/>
              <a:gd name="connsiteY67" fmla="*/ 4410075 h 4496940"/>
              <a:gd name="connsiteX68" fmla="*/ 2697502 w 4519987"/>
              <a:gd name="connsiteY68" fmla="*/ 4429125 h 4496940"/>
              <a:gd name="connsiteX69" fmla="*/ 2640352 w 4519987"/>
              <a:gd name="connsiteY69" fmla="*/ 4457700 h 4496940"/>
              <a:gd name="connsiteX70" fmla="*/ 2583202 w 4519987"/>
              <a:gd name="connsiteY70" fmla="*/ 4467225 h 4496940"/>
              <a:gd name="connsiteX71" fmla="*/ 2545102 w 4519987"/>
              <a:gd name="connsiteY71" fmla="*/ 4486275 h 4496940"/>
              <a:gd name="connsiteX72" fmla="*/ 2306977 w 4519987"/>
              <a:gd name="connsiteY72" fmla="*/ 4476750 h 4496940"/>
              <a:gd name="connsiteX73" fmla="*/ 2202202 w 4519987"/>
              <a:gd name="connsiteY73" fmla="*/ 4457700 h 4496940"/>
              <a:gd name="connsiteX74" fmla="*/ 2126002 w 4519987"/>
              <a:gd name="connsiteY74" fmla="*/ 4429125 h 4496940"/>
              <a:gd name="connsiteX75" fmla="*/ 1935502 w 4519987"/>
              <a:gd name="connsiteY75" fmla="*/ 4400550 h 4496940"/>
              <a:gd name="connsiteX76" fmla="*/ 1821202 w 4519987"/>
              <a:gd name="connsiteY76" fmla="*/ 4371975 h 4496940"/>
              <a:gd name="connsiteX77" fmla="*/ 1754527 w 4519987"/>
              <a:gd name="connsiteY77" fmla="*/ 4352925 h 4496940"/>
              <a:gd name="connsiteX78" fmla="*/ 1687852 w 4519987"/>
              <a:gd name="connsiteY78" fmla="*/ 4343400 h 4496940"/>
              <a:gd name="connsiteX79" fmla="*/ 1573552 w 4519987"/>
              <a:gd name="connsiteY79" fmla="*/ 4305300 h 4496940"/>
              <a:gd name="connsiteX80" fmla="*/ 1402102 w 4519987"/>
              <a:gd name="connsiteY80" fmla="*/ 4276725 h 4496940"/>
              <a:gd name="connsiteX81" fmla="*/ 1287802 w 4519987"/>
              <a:gd name="connsiteY81" fmla="*/ 4229100 h 4496940"/>
              <a:gd name="connsiteX82" fmla="*/ 1221127 w 4519987"/>
              <a:gd name="connsiteY82" fmla="*/ 4200525 h 4496940"/>
              <a:gd name="connsiteX83" fmla="*/ 1144927 w 4519987"/>
              <a:gd name="connsiteY83" fmla="*/ 4171950 h 4496940"/>
              <a:gd name="connsiteX84" fmla="*/ 1087777 w 4519987"/>
              <a:gd name="connsiteY84" fmla="*/ 4143375 h 4496940"/>
              <a:gd name="connsiteX85" fmla="*/ 1030627 w 4519987"/>
              <a:gd name="connsiteY85" fmla="*/ 4124325 h 4496940"/>
              <a:gd name="connsiteX86" fmla="*/ 925852 w 4519987"/>
              <a:gd name="connsiteY86" fmla="*/ 4067175 h 4496940"/>
              <a:gd name="connsiteX87" fmla="*/ 830602 w 4519987"/>
              <a:gd name="connsiteY87" fmla="*/ 3981450 h 4496940"/>
              <a:gd name="connsiteX88" fmla="*/ 763927 w 4519987"/>
              <a:gd name="connsiteY88" fmla="*/ 3914775 h 4496940"/>
              <a:gd name="connsiteX89" fmla="*/ 725827 w 4519987"/>
              <a:gd name="connsiteY89" fmla="*/ 3876675 h 4496940"/>
              <a:gd name="connsiteX90" fmla="*/ 697252 w 4519987"/>
              <a:gd name="connsiteY90" fmla="*/ 3838575 h 4496940"/>
              <a:gd name="connsiteX91" fmla="*/ 640102 w 4519987"/>
              <a:gd name="connsiteY91" fmla="*/ 3781425 h 4496940"/>
              <a:gd name="connsiteX92" fmla="*/ 611527 w 4519987"/>
              <a:gd name="connsiteY92" fmla="*/ 3733800 h 4496940"/>
              <a:gd name="connsiteX93" fmla="*/ 554377 w 4519987"/>
              <a:gd name="connsiteY93" fmla="*/ 3657600 h 4496940"/>
              <a:gd name="connsiteX94" fmla="*/ 525802 w 4519987"/>
              <a:gd name="connsiteY94" fmla="*/ 3609975 h 4496940"/>
              <a:gd name="connsiteX95" fmla="*/ 497227 w 4519987"/>
              <a:gd name="connsiteY95" fmla="*/ 3552825 h 4496940"/>
              <a:gd name="connsiteX96" fmla="*/ 440077 w 4519987"/>
              <a:gd name="connsiteY96" fmla="*/ 3495675 h 4496940"/>
              <a:gd name="connsiteX97" fmla="*/ 411502 w 4519987"/>
              <a:gd name="connsiteY97" fmla="*/ 3448050 h 4496940"/>
              <a:gd name="connsiteX98" fmla="*/ 278152 w 4519987"/>
              <a:gd name="connsiteY98" fmla="*/ 3257550 h 4496940"/>
              <a:gd name="connsiteX99" fmla="*/ 249577 w 4519987"/>
              <a:gd name="connsiteY99" fmla="*/ 3200400 h 4496940"/>
              <a:gd name="connsiteX100" fmla="*/ 240052 w 4519987"/>
              <a:gd name="connsiteY100" fmla="*/ 3162300 h 4496940"/>
              <a:gd name="connsiteX101" fmla="*/ 221002 w 4519987"/>
              <a:gd name="connsiteY101" fmla="*/ 3105150 h 4496940"/>
              <a:gd name="connsiteX102" fmla="*/ 173377 w 4519987"/>
              <a:gd name="connsiteY102" fmla="*/ 3019425 h 4496940"/>
              <a:gd name="connsiteX103" fmla="*/ 144802 w 4519987"/>
              <a:gd name="connsiteY103" fmla="*/ 2924175 h 4496940"/>
              <a:gd name="connsiteX104" fmla="*/ 68602 w 4519987"/>
              <a:gd name="connsiteY104" fmla="*/ 2724150 h 4496940"/>
              <a:gd name="connsiteX105" fmla="*/ 49552 w 4519987"/>
              <a:gd name="connsiteY105" fmla="*/ 2638425 h 4496940"/>
              <a:gd name="connsiteX106" fmla="*/ 40027 w 4519987"/>
              <a:gd name="connsiteY106" fmla="*/ 2562225 h 4496940"/>
              <a:gd name="connsiteX107" fmla="*/ 30502 w 4519987"/>
              <a:gd name="connsiteY107" fmla="*/ 2514600 h 4496940"/>
              <a:gd name="connsiteX108" fmla="*/ 11452 w 4519987"/>
              <a:gd name="connsiteY108" fmla="*/ 2400300 h 4496940"/>
              <a:gd name="connsiteX109" fmla="*/ 20977 w 4519987"/>
              <a:gd name="connsiteY109" fmla="*/ 1905000 h 4496940"/>
              <a:gd name="connsiteX110" fmla="*/ 30502 w 4519987"/>
              <a:gd name="connsiteY110" fmla="*/ 1838325 h 4496940"/>
              <a:gd name="connsiteX111" fmla="*/ 49552 w 4519987"/>
              <a:gd name="connsiteY111" fmla="*/ 1781175 h 4496940"/>
              <a:gd name="connsiteX112" fmla="*/ 59077 w 4519987"/>
              <a:gd name="connsiteY112" fmla="*/ 1743075 h 4496940"/>
              <a:gd name="connsiteX113" fmla="*/ 78127 w 4519987"/>
              <a:gd name="connsiteY113" fmla="*/ 1685925 h 4496940"/>
              <a:gd name="connsiteX114" fmla="*/ 87652 w 4519987"/>
              <a:gd name="connsiteY114" fmla="*/ 1638300 h 4496940"/>
              <a:gd name="connsiteX115" fmla="*/ 106702 w 4519987"/>
              <a:gd name="connsiteY115" fmla="*/ 1590675 h 4496940"/>
              <a:gd name="connsiteX116" fmla="*/ 135277 w 4519987"/>
              <a:gd name="connsiteY116" fmla="*/ 1504950 h 4496940"/>
              <a:gd name="connsiteX117" fmla="*/ 154327 w 4519987"/>
              <a:gd name="connsiteY117" fmla="*/ 1419225 h 4496940"/>
              <a:gd name="connsiteX118" fmla="*/ 230527 w 4519987"/>
              <a:gd name="connsiteY118" fmla="*/ 1276350 h 4496940"/>
              <a:gd name="connsiteX119" fmla="*/ 240052 w 4519987"/>
              <a:gd name="connsiteY119" fmla="*/ 1247775 h 4496940"/>
              <a:gd name="connsiteX120" fmla="*/ 268627 w 4519987"/>
              <a:gd name="connsiteY120" fmla="*/ 1200150 h 4496940"/>
              <a:gd name="connsiteX121" fmla="*/ 287677 w 4519987"/>
              <a:gd name="connsiteY121" fmla="*/ 1152525 h 4496940"/>
              <a:gd name="connsiteX122" fmla="*/ 316252 w 4519987"/>
              <a:gd name="connsiteY122" fmla="*/ 1114425 h 4496940"/>
              <a:gd name="connsiteX123" fmla="*/ 363877 w 4519987"/>
              <a:gd name="connsiteY123" fmla="*/ 1038225 h 4496940"/>
              <a:gd name="connsiteX124" fmla="*/ 382927 w 4519987"/>
              <a:gd name="connsiteY124" fmla="*/ 1009650 h 4496940"/>
              <a:gd name="connsiteX125" fmla="*/ 440077 w 4519987"/>
              <a:gd name="connsiteY125" fmla="*/ 904875 h 4496940"/>
              <a:gd name="connsiteX126" fmla="*/ 478177 w 4519987"/>
              <a:gd name="connsiteY126" fmla="*/ 857250 h 4496940"/>
              <a:gd name="connsiteX127" fmla="*/ 497227 w 4519987"/>
              <a:gd name="connsiteY127" fmla="*/ 828675 h 4496940"/>
              <a:gd name="connsiteX128" fmla="*/ 535327 w 4519987"/>
              <a:gd name="connsiteY128" fmla="*/ 800100 h 4496940"/>
              <a:gd name="connsiteX129" fmla="*/ 602002 w 4519987"/>
              <a:gd name="connsiteY129" fmla="*/ 733425 h 4496940"/>
              <a:gd name="connsiteX130" fmla="*/ 668677 w 4519987"/>
              <a:gd name="connsiteY130" fmla="*/ 676275 h 4496940"/>
              <a:gd name="connsiteX131" fmla="*/ 697252 w 4519987"/>
              <a:gd name="connsiteY131" fmla="*/ 657225 h 4496940"/>
              <a:gd name="connsiteX132" fmla="*/ 840127 w 4519987"/>
              <a:gd name="connsiteY132" fmla="*/ 533400 h 4496940"/>
              <a:gd name="connsiteX133" fmla="*/ 887752 w 4519987"/>
              <a:gd name="connsiteY133" fmla="*/ 504825 h 4496940"/>
              <a:gd name="connsiteX134" fmla="*/ 1167152 w 4519987"/>
              <a:gd name="connsiteY134" fmla="*/ 311150 h 4496940"/>
              <a:gd name="connsiteX135" fmla="*/ 1268752 w 4519987"/>
              <a:gd name="connsiteY135" fmla="*/ 285750 h 4496940"/>
              <a:gd name="connsiteX136" fmla="*/ 1411627 w 4519987"/>
              <a:gd name="connsiteY136" fmla="*/ 190500 h 4496940"/>
              <a:gd name="connsiteX137" fmla="*/ 1449727 w 4519987"/>
              <a:gd name="connsiteY137" fmla="*/ 161925 h 4496940"/>
              <a:gd name="connsiteX138" fmla="*/ 1525927 w 4519987"/>
              <a:gd name="connsiteY138" fmla="*/ 152400 h 4496940"/>
              <a:gd name="connsiteX139" fmla="*/ 1583077 w 4519987"/>
              <a:gd name="connsiteY139" fmla="*/ 142875 h 4496940"/>
              <a:gd name="connsiteX140" fmla="*/ 1716427 w 4519987"/>
              <a:gd name="connsiteY140" fmla="*/ 123825 h 4496940"/>
              <a:gd name="connsiteX141" fmla="*/ 1811677 w 4519987"/>
              <a:gd name="connsiteY141" fmla="*/ 114300 h 4496940"/>
              <a:gd name="connsiteX142" fmla="*/ 1859302 w 4519987"/>
              <a:gd name="connsiteY142" fmla="*/ 104775 h 4496940"/>
              <a:gd name="connsiteX143" fmla="*/ 1916452 w 4519987"/>
              <a:gd name="connsiteY143" fmla="*/ 95250 h 4496940"/>
              <a:gd name="connsiteX144" fmla="*/ 2030752 w 4519987"/>
              <a:gd name="connsiteY144" fmla="*/ 66675 h 4496940"/>
              <a:gd name="connsiteX145" fmla="*/ 2097427 w 4519987"/>
              <a:gd name="connsiteY145" fmla="*/ 47625 h 4496940"/>
              <a:gd name="connsiteX146" fmla="*/ 2164102 w 4519987"/>
              <a:gd name="connsiteY146" fmla="*/ 38100 h 4496940"/>
              <a:gd name="connsiteX147" fmla="*/ 2392702 w 4519987"/>
              <a:gd name="connsiteY14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192927 w 4519987"/>
              <a:gd name="connsiteY24" fmla="*/ 1057275 h 4496940"/>
              <a:gd name="connsiteX25" fmla="*/ 4202452 w 4519987"/>
              <a:gd name="connsiteY25" fmla="*/ 1085850 h 4496940"/>
              <a:gd name="connsiteX26" fmla="*/ 4250077 w 4519987"/>
              <a:gd name="connsiteY26" fmla="*/ 1143000 h 4496940"/>
              <a:gd name="connsiteX27" fmla="*/ 4259602 w 4519987"/>
              <a:gd name="connsiteY27" fmla="*/ 1190625 h 4496940"/>
              <a:gd name="connsiteX28" fmla="*/ 4307227 w 4519987"/>
              <a:gd name="connsiteY28" fmla="*/ 1266825 h 4496940"/>
              <a:gd name="connsiteX29" fmla="*/ 4345327 w 4519987"/>
              <a:gd name="connsiteY29" fmla="*/ 1362075 h 4496940"/>
              <a:gd name="connsiteX30" fmla="*/ 4373902 w 4519987"/>
              <a:gd name="connsiteY30" fmla="*/ 1428750 h 4496940"/>
              <a:gd name="connsiteX31" fmla="*/ 4392952 w 4519987"/>
              <a:gd name="connsiteY31" fmla="*/ 1552575 h 4496940"/>
              <a:gd name="connsiteX32" fmla="*/ 4402477 w 4519987"/>
              <a:gd name="connsiteY32" fmla="*/ 1590675 h 4496940"/>
              <a:gd name="connsiteX33" fmla="*/ 4431052 w 4519987"/>
              <a:gd name="connsiteY33" fmla="*/ 1685925 h 4496940"/>
              <a:gd name="connsiteX34" fmla="*/ 4519952 w 4519987"/>
              <a:gd name="connsiteY34" fmla="*/ 2181225 h 4496940"/>
              <a:gd name="connsiteX35" fmla="*/ 4446927 w 4519987"/>
              <a:gd name="connsiteY35" fmla="*/ 2768600 h 4496940"/>
              <a:gd name="connsiteX36" fmla="*/ 4383427 w 4519987"/>
              <a:gd name="connsiteY36" fmla="*/ 2990850 h 4496940"/>
              <a:gd name="connsiteX37" fmla="*/ 4278652 w 4519987"/>
              <a:gd name="connsiteY37" fmla="*/ 3248025 h 4496940"/>
              <a:gd name="connsiteX38" fmla="*/ 4259602 w 4519987"/>
              <a:gd name="connsiteY38" fmla="*/ 3276600 h 4496940"/>
              <a:gd name="connsiteX39" fmla="*/ 4221502 w 4519987"/>
              <a:gd name="connsiteY39" fmla="*/ 3333750 h 4496940"/>
              <a:gd name="connsiteX40" fmla="*/ 4211977 w 4519987"/>
              <a:gd name="connsiteY40" fmla="*/ 3362325 h 4496940"/>
              <a:gd name="connsiteX41" fmla="*/ 4183402 w 4519987"/>
              <a:gd name="connsiteY41" fmla="*/ 3400425 h 4496940"/>
              <a:gd name="connsiteX42" fmla="*/ 4164352 w 4519987"/>
              <a:gd name="connsiteY42" fmla="*/ 3429000 h 4496940"/>
              <a:gd name="connsiteX43" fmla="*/ 4088152 w 4519987"/>
              <a:gd name="connsiteY43" fmla="*/ 3495675 h 4496940"/>
              <a:gd name="connsiteX44" fmla="*/ 4059577 w 4519987"/>
              <a:gd name="connsiteY44" fmla="*/ 3533775 h 4496940"/>
              <a:gd name="connsiteX45" fmla="*/ 4002427 w 4519987"/>
              <a:gd name="connsiteY45" fmla="*/ 3600450 h 4496940"/>
              <a:gd name="connsiteX46" fmla="*/ 3983377 w 4519987"/>
              <a:gd name="connsiteY46" fmla="*/ 3629025 h 4496940"/>
              <a:gd name="connsiteX47" fmla="*/ 3954802 w 4519987"/>
              <a:gd name="connsiteY47" fmla="*/ 3648075 h 4496940"/>
              <a:gd name="connsiteX48" fmla="*/ 3907177 w 4519987"/>
              <a:gd name="connsiteY48" fmla="*/ 3686175 h 4496940"/>
              <a:gd name="connsiteX49" fmla="*/ 3869077 w 4519987"/>
              <a:gd name="connsiteY49" fmla="*/ 3724275 h 4496940"/>
              <a:gd name="connsiteX50" fmla="*/ 3792877 w 4519987"/>
              <a:gd name="connsiteY50" fmla="*/ 3781425 h 4496940"/>
              <a:gd name="connsiteX51" fmla="*/ 3783352 w 4519987"/>
              <a:gd name="connsiteY51" fmla="*/ 3810000 h 4496940"/>
              <a:gd name="connsiteX52" fmla="*/ 3745252 w 4519987"/>
              <a:gd name="connsiteY52" fmla="*/ 3819525 h 4496940"/>
              <a:gd name="connsiteX53" fmla="*/ 3678577 w 4519987"/>
              <a:gd name="connsiteY53" fmla="*/ 3848100 h 4496940"/>
              <a:gd name="connsiteX54" fmla="*/ 3659527 w 4519987"/>
              <a:gd name="connsiteY54" fmla="*/ 3971925 h 4496940"/>
              <a:gd name="connsiteX55" fmla="*/ 3630952 w 4519987"/>
              <a:gd name="connsiteY55" fmla="*/ 4010025 h 4496940"/>
              <a:gd name="connsiteX56" fmla="*/ 3621427 w 4519987"/>
              <a:gd name="connsiteY56" fmla="*/ 4038600 h 4496940"/>
              <a:gd name="connsiteX57" fmla="*/ 3554752 w 4519987"/>
              <a:gd name="connsiteY57" fmla="*/ 4095750 h 4496940"/>
              <a:gd name="connsiteX58" fmla="*/ 3516652 w 4519987"/>
              <a:gd name="connsiteY58" fmla="*/ 4114800 h 4496940"/>
              <a:gd name="connsiteX59" fmla="*/ 3497602 w 4519987"/>
              <a:gd name="connsiteY59" fmla="*/ 4143375 h 4496940"/>
              <a:gd name="connsiteX60" fmla="*/ 3383302 w 4519987"/>
              <a:gd name="connsiteY60" fmla="*/ 4210050 h 4496940"/>
              <a:gd name="connsiteX61" fmla="*/ 3335677 w 4519987"/>
              <a:gd name="connsiteY61" fmla="*/ 4238625 h 4496940"/>
              <a:gd name="connsiteX62" fmla="*/ 3288052 w 4519987"/>
              <a:gd name="connsiteY62" fmla="*/ 4248150 h 4496940"/>
              <a:gd name="connsiteX63" fmla="*/ 3240427 w 4519987"/>
              <a:gd name="connsiteY63" fmla="*/ 4267200 h 4496940"/>
              <a:gd name="connsiteX64" fmla="*/ 3068977 w 4519987"/>
              <a:gd name="connsiteY64" fmla="*/ 4286250 h 4496940"/>
              <a:gd name="connsiteX65" fmla="*/ 2935627 w 4519987"/>
              <a:gd name="connsiteY65" fmla="*/ 4333875 h 4496940"/>
              <a:gd name="connsiteX66" fmla="*/ 2811802 w 4519987"/>
              <a:gd name="connsiteY66" fmla="*/ 4371975 h 4496940"/>
              <a:gd name="connsiteX67" fmla="*/ 2745127 w 4519987"/>
              <a:gd name="connsiteY67" fmla="*/ 4410075 h 4496940"/>
              <a:gd name="connsiteX68" fmla="*/ 2697502 w 4519987"/>
              <a:gd name="connsiteY68" fmla="*/ 4429125 h 4496940"/>
              <a:gd name="connsiteX69" fmla="*/ 2640352 w 4519987"/>
              <a:gd name="connsiteY69" fmla="*/ 4457700 h 4496940"/>
              <a:gd name="connsiteX70" fmla="*/ 2583202 w 4519987"/>
              <a:gd name="connsiteY70" fmla="*/ 4467225 h 4496940"/>
              <a:gd name="connsiteX71" fmla="*/ 2545102 w 4519987"/>
              <a:gd name="connsiteY71" fmla="*/ 4486275 h 4496940"/>
              <a:gd name="connsiteX72" fmla="*/ 2306977 w 4519987"/>
              <a:gd name="connsiteY72" fmla="*/ 4476750 h 4496940"/>
              <a:gd name="connsiteX73" fmla="*/ 2202202 w 4519987"/>
              <a:gd name="connsiteY73" fmla="*/ 4457700 h 4496940"/>
              <a:gd name="connsiteX74" fmla="*/ 2126002 w 4519987"/>
              <a:gd name="connsiteY74" fmla="*/ 4429125 h 4496940"/>
              <a:gd name="connsiteX75" fmla="*/ 1935502 w 4519987"/>
              <a:gd name="connsiteY75" fmla="*/ 4400550 h 4496940"/>
              <a:gd name="connsiteX76" fmla="*/ 1821202 w 4519987"/>
              <a:gd name="connsiteY76" fmla="*/ 4371975 h 4496940"/>
              <a:gd name="connsiteX77" fmla="*/ 1754527 w 4519987"/>
              <a:gd name="connsiteY77" fmla="*/ 4352925 h 4496940"/>
              <a:gd name="connsiteX78" fmla="*/ 1687852 w 4519987"/>
              <a:gd name="connsiteY78" fmla="*/ 4343400 h 4496940"/>
              <a:gd name="connsiteX79" fmla="*/ 1573552 w 4519987"/>
              <a:gd name="connsiteY79" fmla="*/ 4305300 h 4496940"/>
              <a:gd name="connsiteX80" fmla="*/ 1402102 w 4519987"/>
              <a:gd name="connsiteY80" fmla="*/ 4276725 h 4496940"/>
              <a:gd name="connsiteX81" fmla="*/ 1287802 w 4519987"/>
              <a:gd name="connsiteY81" fmla="*/ 4229100 h 4496940"/>
              <a:gd name="connsiteX82" fmla="*/ 1221127 w 4519987"/>
              <a:gd name="connsiteY82" fmla="*/ 4200525 h 4496940"/>
              <a:gd name="connsiteX83" fmla="*/ 1144927 w 4519987"/>
              <a:gd name="connsiteY83" fmla="*/ 4171950 h 4496940"/>
              <a:gd name="connsiteX84" fmla="*/ 1087777 w 4519987"/>
              <a:gd name="connsiteY84" fmla="*/ 4143375 h 4496940"/>
              <a:gd name="connsiteX85" fmla="*/ 1030627 w 4519987"/>
              <a:gd name="connsiteY85" fmla="*/ 4124325 h 4496940"/>
              <a:gd name="connsiteX86" fmla="*/ 925852 w 4519987"/>
              <a:gd name="connsiteY86" fmla="*/ 4067175 h 4496940"/>
              <a:gd name="connsiteX87" fmla="*/ 830602 w 4519987"/>
              <a:gd name="connsiteY87" fmla="*/ 3981450 h 4496940"/>
              <a:gd name="connsiteX88" fmla="*/ 763927 w 4519987"/>
              <a:gd name="connsiteY88" fmla="*/ 3914775 h 4496940"/>
              <a:gd name="connsiteX89" fmla="*/ 725827 w 4519987"/>
              <a:gd name="connsiteY89" fmla="*/ 3876675 h 4496940"/>
              <a:gd name="connsiteX90" fmla="*/ 697252 w 4519987"/>
              <a:gd name="connsiteY90" fmla="*/ 3838575 h 4496940"/>
              <a:gd name="connsiteX91" fmla="*/ 640102 w 4519987"/>
              <a:gd name="connsiteY91" fmla="*/ 3781425 h 4496940"/>
              <a:gd name="connsiteX92" fmla="*/ 611527 w 4519987"/>
              <a:gd name="connsiteY92" fmla="*/ 3733800 h 4496940"/>
              <a:gd name="connsiteX93" fmla="*/ 554377 w 4519987"/>
              <a:gd name="connsiteY93" fmla="*/ 3657600 h 4496940"/>
              <a:gd name="connsiteX94" fmla="*/ 525802 w 4519987"/>
              <a:gd name="connsiteY94" fmla="*/ 3609975 h 4496940"/>
              <a:gd name="connsiteX95" fmla="*/ 497227 w 4519987"/>
              <a:gd name="connsiteY95" fmla="*/ 3552825 h 4496940"/>
              <a:gd name="connsiteX96" fmla="*/ 440077 w 4519987"/>
              <a:gd name="connsiteY96" fmla="*/ 3495675 h 4496940"/>
              <a:gd name="connsiteX97" fmla="*/ 411502 w 4519987"/>
              <a:gd name="connsiteY97" fmla="*/ 3448050 h 4496940"/>
              <a:gd name="connsiteX98" fmla="*/ 278152 w 4519987"/>
              <a:gd name="connsiteY98" fmla="*/ 3257550 h 4496940"/>
              <a:gd name="connsiteX99" fmla="*/ 249577 w 4519987"/>
              <a:gd name="connsiteY99" fmla="*/ 3200400 h 4496940"/>
              <a:gd name="connsiteX100" fmla="*/ 240052 w 4519987"/>
              <a:gd name="connsiteY100" fmla="*/ 3162300 h 4496940"/>
              <a:gd name="connsiteX101" fmla="*/ 221002 w 4519987"/>
              <a:gd name="connsiteY101" fmla="*/ 3105150 h 4496940"/>
              <a:gd name="connsiteX102" fmla="*/ 173377 w 4519987"/>
              <a:gd name="connsiteY102" fmla="*/ 3019425 h 4496940"/>
              <a:gd name="connsiteX103" fmla="*/ 144802 w 4519987"/>
              <a:gd name="connsiteY103" fmla="*/ 2924175 h 4496940"/>
              <a:gd name="connsiteX104" fmla="*/ 68602 w 4519987"/>
              <a:gd name="connsiteY104" fmla="*/ 2724150 h 4496940"/>
              <a:gd name="connsiteX105" fmla="*/ 49552 w 4519987"/>
              <a:gd name="connsiteY105" fmla="*/ 2638425 h 4496940"/>
              <a:gd name="connsiteX106" fmla="*/ 40027 w 4519987"/>
              <a:gd name="connsiteY106" fmla="*/ 2562225 h 4496940"/>
              <a:gd name="connsiteX107" fmla="*/ 30502 w 4519987"/>
              <a:gd name="connsiteY107" fmla="*/ 2514600 h 4496940"/>
              <a:gd name="connsiteX108" fmla="*/ 11452 w 4519987"/>
              <a:gd name="connsiteY108" fmla="*/ 2400300 h 4496940"/>
              <a:gd name="connsiteX109" fmla="*/ 20977 w 4519987"/>
              <a:gd name="connsiteY109" fmla="*/ 1905000 h 4496940"/>
              <a:gd name="connsiteX110" fmla="*/ 30502 w 4519987"/>
              <a:gd name="connsiteY110" fmla="*/ 1838325 h 4496940"/>
              <a:gd name="connsiteX111" fmla="*/ 49552 w 4519987"/>
              <a:gd name="connsiteY111" fmla="*/ 1781175 h 4496940"/>
              <a:gd name="connsiteX112" fmla="*/ 59077 w 4519987"/>
              <a:gd name="connsiteY112" fmla="*/ 1743075 h 4496940"/>
              <a:gd name="connsiteX113" fmla="*/ 78127 w 4519987"/>
              <a:gd name="connsiteY113" fmla="*/ 1685925 h 4496940"/>
              <a:gd name="connsiteX114" fmla="*/ 87652 w 4519987"/>
              <a:gd name="connsiteY114" fmla="*/ 1638300 h 4496940"/>
              <a:gd name="connsiteX115" fmla="*/ 106702 w 4519987"/>
              <a:gd name="connsiteY115" fmla="*/ 1590675 h 4496940"/>
              <a:gd name="connsiteX116" fmla="*/ 135277 w 4519987"/>
              <a:gd name="connsiteY116" fmla="*/ 1504950 h 4496940"/>
              <a:gd name="connsiteX117" fmla="*/ 154327 w 4519987"/>
              <a:gd name="connsiteY117" fmla="*/ 1419225 h 4496940"/>
              <a:gd name="connsiteX118" fmla="*/ 230527 w 4519987"/>
              <a:gd name="connsiteY118" fmla="*/ 1276350 h 4496940"/>
              <a:gd name="connsiteX119" fmla="*/ 240052 w 4519987"/>
              <a:gd name="connsiteY119" fmla="*/ 1247775 h 4496940"/>
              <a:gd name="connsiteX120" fmla="*/ 268627 w 4519987"/>
              <a:gd name="connsiteY120" fmla="*/ 1200150 h 4496940"/>
              <a:gd name="connsiteX121" fmla="*/ 287677 w 4519987"/>
              <a:gd name="connsiteY121" fmla="*/ 1152525 h 4496940"/>
              <a:gd name="connsiteX122" fmla="*/ 316252 w 4519987"/>
              <a:gd name="connsiteY122" fmla="*/ 1114425 h 4496940"/>
              <a:gd name="connsiteX123" fmla="*/ 363877 w 4519987"/>
              <a:gd name="connsiteY123" fmla="*/ 1038225 h 4496940"/>
              <a:gd name="connsiteX124" fmla="*/ 382927 w 4519987"/>
              <a:gd name="connsiteY124" fmla="*/ 1009650 h 4496940"/>
              <a:gd name="connsiteX125" fmla="*/ 440077 w 4519987"/>
              <a:gd name="connsiteY125" fmla="*/ 904875 h 4496940"/>
              <a:gd name="connsiteX126" fmla="*/ 478177 w 4519987"/>
              <a:gd name="connsiteY126" fmla="*/ 857250 h 4496940"/>
              <a:gd name="connsiteX127" fmla="*/ 497227 w 4519987"/>
              <a:gd name="connsiteY127" fmla="*/ 828675 h 4496940"/>
              <a:gd name="connsiteX128" fmla="*/ 535327 w 4519987"/>
              <a:gd name="connsiteY128" fmla="*/ 800100 h 4496940"/>
              <a:gd name="connsiteX129" fmla="*/ 602002 w 4519987"/>
              <a:gd name="connsiteY129" fmla="*/ 733425 h 4496940"/>
              <a:gd name="connsiteX130" fmla="*/ 668677 w 4519987"/>
              <a:gd name="connsiteY130" fmla="*/ 676275 h 4496940"/>
              <a:gd name="connsiteX131" fmla="*/ 697252 w 4519987"/>
              <a:gd name="connsiteY131" fmla="*/ 657225 h 4496940"/>
              <a:gd name="connsiteX132" fmla="*/ 840127 w 4519987"/>
              <a:gd name="connsiteY132" fmla="*/ 533400 h 4496940"/>
              <a:gd name="connsiteX133" fmla="*/ 887752 w 4519987"/>
              <a:gd name="connsiteY133" fmla="*/ 504825 h 4496940"/>
              <a:gd name="connsiteX134" fmla="*/ 1167152 w 4519987"/>
              <a:gd name="connsiteY134" fmla="*/ 311150 h 4496940"/>
              <a:gd name="connsiteX135" fmla="*/ 1268752 w 4519987"/>
              <a:gd name="connsiteY135" fmla="*/ 285750 h 4496940"/>
              <a:gd name="connsiteX136" fmla="*/ 1411627 w 4519987"/>
              <a:gd name="connsiteY136" fmla="*/ 190500 h 4496940"/>
              <a:gd name="connsiteX137" fmla="*/ 1449727 w 4519987"/>
              <a:gd name="connsiteY137" fmla="*/ 161925 h 4496940"/>
              <a:gd name="connsiteX138" fmla="*/ 1525927 w 4519987"/>
              <a:gd name="connsiteY138" fmla="*/ 152400 h 4496940"/>
              <a:gd name="connsiteX139" fmla="*/ 1583077 w 4519987"/>
              <a:gd name="connsiteY139" fmla="*/ 142875 h 4496940"/>
              <a:gd name="connsiteX140" fmla="*/ 1716427 w 4519987"/>
              <a:gd name="connsiteY140" fmla="*/ 123825 h 4496940"/>
              <a:gd name="connsiteX141" fmla="*/ 1811677 w 4519987"/>
              <a:gd name="connsiteY141" fmla="*/ 114300 h 4496940"/>
              <a:gd name="connsiteX142" fmla="*/ 1859302 w 4519987"/>
              <a:gd name="connsiteY142" fmla="*/ 104775 h 4496940"/>
              <a:gd name="connsiteX143" fmla="*/ 1916452 w 4519987"/>
              <a:gd name="connsiteY143" fmla="*/ 95250 h 4496940"/>
              <a:gd name="connsiteX144" fmla="*/ 2030752 w 4519987"/>
              <a:gd name="connsiteY144" fmla="*/ 66675 h 4496940"/>
              <a:gd name="connsiteX145" fmla="*/ 2097427 w 4519987"/>
              <a:gd name="connsiteY145" fmla="*/ 47625 h 4496940"/>
              <a:gd name="connsiteX146" fmla="*/ 2164102 w 4519987"/>
              <a:gd name="connsiteY146" fmla="*/ 38100 h 4496940"/>
              <a:gd name="connsiteX147" fmla="*/ 2392702 w 4519987"/>
              <a:gd name="connsiteY14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202452 w 4519987"/>
              <a:gd name="connsiteY24" fmla="*/ 1085850 h 4496940"/>
              <a:gd name="connsiteX25" fmla="*/ 4250077 w 4519987"/>
              <a:gd name="connsiteY25" fmla="*/ 1143000 h 4496940"/>
              <a:gd name="connsiteX26" fmla="*/ 4259602 w 4519987"/>
              <a:gd name="connsiteY26" fmla="*/ 1190625 h 4496940"/>
              <a:gd name="connsiteX27" fmla="*/ 4307227 w 4519987"/>
              <a:gd name="connsiteY27" fmla="*/ 1266825 h 4496940"/>
              <a:gd name="connsiteX28" fmla="*/ 4345327 w 4519987"/>
              <a:gd name="connsiteY28" fmla="*/ 1362075 h 4496940"/>
              <a:gd name="connsiteX29" fmla="*/ 4373902 w 4519987"/>
              <a:gd name="connsiteY29" fmla="*/ 1428750 h 4496940"/>
              <a:gd name="connsiteX30" fmla="*/ 4392952 w 4519987"/>
              <a:gd name="connsiteY30" fmla="*/ 1552575 h 4496940"/>
              <a:gd name="connsiteX31" fmla="*/ 4402477 w 4519987"/>
              <a:gd name="connsiteY31" fmla="*/ 1590675 h 4496940"/>
              <a:gd name="connsiteX32" fmla="*/ 4431052 w 4519987"/>
              <a:gd name="connsiteY32" fmla="*/ 1685925 h 4496940"/>
              <a:gd name="connsiteX33" fmla="*/ 4519952 w 4519987"/>
              <a:gd name="connsiteY33" fmla="*/ 2181225 h 4496940"/>
              <a:gd name="connsiteX34" fmla="*/ 4446927 w 4519987"/>
              <a:gd name="connsiteY34" fmla="*/ 2768600 h 4496940"/>
              <a:gd name="connsiteX35" fmla="*/ 4383427 w 4519987"/>
              <a:gd name="connsiteY35" fmla="*/ 2990850 h 4496940"/>
              <a:gd name="connsiteX36" fmla="*/ 4278652 w 4519987"/>
              <a:gd name="connsiteY36" fmla="*/ 3248025 h 4496940"/>
              <a:gd name="connsiteX37" fmla="*/ 4259602 w 4519987"/>
              <a:gd name="connsiteY37" fmla="*/ 3276600 h 4496940"/>
              <a:gd name="connsiteX38" fmla="*/ 4221502 w 4519987"/>
              <a:gd name="connsiteY38" fmla="*/ 3333750 h 4496940"/>
              <a:gd name="connsiteX39" fmla="*/ 4211977 w 4519987"/>
              <a:gd name="connsiteY39" fmla="*/ 3362325 h 4496940"/>
              <a:gd name="connsiteX40" fmla="*/ 4183402 w 4519987"/>
              <a:gd name="connsiteY40" fmla="*/ 3400425 h 4496940"/>
              <a:gd name="connsiteX41" fmla="*/ 4164352 w 4519987"/>
              <a:gd name="connsiteY41" fmla="*/ 3429000 h 4496940"/>
              <a:gd name="connsiteX42" fmla="*/ 4088152 w 4519987"/>
              <a:gd name="connsiteY42" fmla="*/ 3495675 h 4496940"/>
              <a:gd name="connsiteX43" fmla="*/ 4059577 w 4519987"/>
              <a:gd name="connsiteY43" fmla="*/ 3533775 h 4496940"/>
              <a:gd name="connsiteX44" fmla="*/ 4002427 w 4519987"/>
              <a:gd name="connsiteY44" fmla="*/ 3600450 h 4496940"/>
              <a:gd name="connsiteX45" fmla="*/ 3983377 w 4519987"/>
              <a:gd name="connsiteY45" fmla="*/ 3629025 h 4496940"/>
              <a:gd name="connsiteX46" fmla="*/ 3954802 w 4519987"/>
              <a:gd name="connsiteY46" fmla="*/ 3648075 h 4496940"/>
              <a:gd name="connsiteX47" fmla="*/ 3907177 w 4519987"/>
              <a:gd name="connsiteY47" fmla="*/ 3686175 h 4496940"/>
              <a:gd name="connsiteX48" fmla="*/ 3869077 w 4519987"/>
              <a:gd name="connsiteY48" fmla="*/ 3724275 h 4496940"/>
              <a:gd name="connsiteX49" fmla="*/ 3792877 w 4519987"/>
              <a:gd name="connsiteY49" fmla="*/ 3781425 h 4496940"/>
              <a:gd name="connsiteX50" fmla="*/ 3783352 w 4519987"/>
              <a:gd name="connsiteY50" fmla="*/ 3810000 h 4496940"/>
              <a:gd name="connsiteX51" fmla="*/ 3745252 w 4519987"/>
              <a:gd name="connsiteY51" fmla="*/ 3819525 h 4496940"/>
              <a:gd name="connsiteX52" fmla="*/ 3678577 w 4519987"/>
              <a:gd name="connsiteY52" fmla="*/ 3848100 h 4496940"/>
              <a:gd name="connsiteX53" fmla="*/ 3659527 w 4519987"/>
              <a:gd name="connsiteY53" fmla="*/ 3971925 h 4496940"/>
              <a:gd name="connsiteX54" fmla="*/ 3630952 w 4519987"/>
              <a:gd name="connsiteY54" fmla="*/ 4010025 h 4496940"/>
              <a:gd name="connsiteX55" fmla="*/ 3621427 w 4519987"/>
              <a:gd name="connsiteY55" fmla="*/ 4038600 h 4496940"/>
              <a:gd name="connsiteX56" fmla="*/ 3554752 w 4519987"/>
              <a:gd name="connsiteY56" fmla="*/ 4095750 h 4496940"/>
              <a:gd name="connsiteX57" fmla="*/ 3516652 w 4519987"/>
              <a:gd name="connsiteY57" fmla="*/ 4114800 h 4496940"/>
              <a:gd name="connsiteX58" fmla="*/ 3497602 w 4519987"/>
              <a:gd name="connsiteY58" fmla="*/ 4143375 h 4496940"/>
              <a:gd name="connsiteX59" fmla="*/ 3383302 w 4519987"/>
              <a:gd name="connsiteY59" fmla="*/ 4210050 h 4496940"/>
              <a:gd name="connsiteX60" fmla="*/ 3335677 w 4519987"/>
              <a:gd name="connsiteY60" fmla="*/ 4238625 h 4496940"/>
              <a:gd name="connsiteX61" fmla="*/ 3288052 w 4519987"/>
              <a:gd name="connsiteY61" fmla="*/ 4248150 h 4496940"/>
              <a:gd name="connsiteX62" fmla="*/ 3240427 w 4519987"/>
              <a:gd name="connsiteY62" fmla="*/ 4267200 h 4496940"/>
              <a:gd name="connsiteX63" fmla="*/ 3068977 w 4519987"/>
              <a:gd name="connsiteY63" fmla="*/ 4286250 h 4496940"/>
              <a:gd name="connsiteX64" fmla="*/ 2935627 w 4519987"/>
              <a:gd name="connsiteY64" fmla="*/ 4333875 h 4496940"/>
              <a:gd name="connsiteX65" fmla="*/ 2811802 w 4519987"/>
              <a:gd name="connsiteY65" fmla="*/ 4371975 h 4496940"/>
              <a:gd name="connsiteX66" fmla="*/ 2745127 w 4519987"/>
              <a:gd name="connsiteY66" fmla="*/ 4410075 h 4496940"/>
              <a:gd name="connsiteX67" fmla="*/ 2697502 w 4519987"/>
              <a:gd name="connsiteY67" fmla="*/ 4429125 h 4496940"/>
              <a:gd name="connsiteX68" fmla="*/ 2640352 w 4519987"/>
              <a:gd name="connsiteY68" fmla="*/ 4457700 h 4496940"/>
              <a:gd name="connsiteX69" fmla="*/ 2583202 w 4519987"/>
              <a:gd name="connsiteY69" fmla="*/ 4467225 h 4496940"/>
              <a:gd name="connsiteX70" fmla="*/ 2545102 w 4519987"/>
              <a:gd name="connsiteY70" fmla="*/ 4486275 h 4496940"/>
              <a:gd name="connsiteX71" fmla="*/ 2306977 w 4519987"/>
              <a:gd name="connsiteY71" fmla="*/ 4476750 h 4496940"/>
              <a:gd name="connsiteX72" fmla="*/ 2202202 w 4519987"/>
              <a:gd name="connsiteY72" fmla="*/ 4457700 h 4496940"/>
              <a:gd name="connsiteX73" fmla="*/ 2126002 w 4519987"/>
              <a:gd name="connsiteY73" fmla="*/ 4429125 h 4496940"/>
              <a:gd name="connsiteX74" fmla="*/ 1935502 w 4519987"/>
              <a:gd name="connsiteY74" fmla="*/ 4400550 h 4496940"/>
              <a:gd name="connsiteX75" fmla="*/ 1821202 w 4519987"/>
              <a:gd name="connsiteY75" fmla="*/ 4371975 h 4496940"/>
              <a:gd name="connsiteX76" fmla="*/ 1754527 w 4519987"/>
              <a:gd name="connsiteY76" fmla="*/ 4352925 h 4496940"/>
              <a:gd name="connsiteX77" fmla="*/ 1687852 w 4519987"/>
              <a:gd name="connsiteY77" fmla="*/ 4343400 h 4496940"/>
              <a:gd name="connsiteX78" fmla="*/ 1573552 w 4519987"/>
              <a:gd name="connsiteY78" fmla="*/ 4305300 h 4496940"/>
              <a:gd name="connsiteX79" fmla="*/ 1402102 w 4519987"/>
              <a:gd name="connsiteY79" fmla="*/ 4276725 h 4496940"/>
              <a:gd name="connsiteX80" fmla="*/ 1287802 w 4519987"/>
              <a:gd name="connsiteY80" fmla="*/ 4229100 h 4496940"/>
              <a:gd name="connsiteX81" fmla="*/ 1221127 w 4519987"/>
              <a:gd name="connsiteY81" fmla="*/ 4200525 h 4496940"/>
              <a:gd name="connsiteX82" fmla="*/ 1144927 w 4519987"/>
              <a:gd name="connsiteY82" fmla="*/ 4171950 h 4496940"/>
              <a:gd name="connsiteX83" fmla="*/ 1087777 w 4519987"/>
              <a:gd name="connsiteY83" fmla="*/ 4143375 h 4496940"/>
              <a:gd name="connsiteX84" fmla="*/ 1030627 w 4519987"/>
              <a:gd name="connsiteY84" fmla="*/ 4124325 h 4496940"/>
              <a:gd name="connsiteX85" fmla="*/ 925852 w 4519987"/>
              <a:gd name="connsiteY85" fmla="*/ 4067175 h 4496940"/>
              <a:gd name="connsiteX86" fmla="*/ 830602 w 4519987"/>
              <a:gd name="connsiteY86" fmla="*/ 3981450 h 4496940"/>
              <a:gd name="connsiteX87" fmla="*/ 763927 w 4519987"/>
              <a:gd name="connsiteY87" fmla="*/ 3914775 h 4496940"/>
              <a:gd name="connsiteX88" fmla="*/ 725827 w 4519987"/>
              <a:gd name="connsiteY88" fmla="*/ 3876675 h 4496940"/>
              <a:gd name="connsiteX89" fmla="*/ 697252 w 4519987"/>
              <a:gd name="connsiteY89" fmla="*/ 3838575 h 4496940"/>
              <a:gd name="connsiteX90" fmla="*/ 640102 w 4519987"/>
              <a:gd name="connsiteY90" fmla="*/ 3781425 h 4496940"/>
              <a:gd name="connsiteX91" fmla="*/ 611527 w 4519987"/>
              <a:gd name="connsiteY91" fmla="*/ 3733800 h 4496940"/>
              <a:gd name="connsiteX92" fmla="*/ 554377 w 4519987"/>
              <a:gd name="connsiteY92" fmla="*/ 3657600 h 4496940"/>
              <a:gd name="connsiteX93" fmla="*/ 525802 w 4519987"/>
              <a:gd name="connsiteY93" fmla="*/ 3609975 h 4496940"/>
              <a:gd name="connsiteX94" fmla="*/ 497227 w 4519987"/>
              <a:gd name="connsiteY94" fmla="*/ 3552825 h 4496940"/>
              <a:gd name="connsiteX95" fmla="*/ 440077 w 4519987"/>
              <a:gd name="connsiteY95" fmla="*/ 3495675 h 4496940"/>
              <a:gd name="connsiteX96" fmla="*/ 411502 w 4519987"/>
              <a:gd name="connsiteY96" fmla="*/ 3448050 h 4496940"/>
              <a:gd name="connsiteX97" fmla="*/ 278152 w 4519987"/>
              <a:gd name="connsiteY97" fmla="*/ 3257550 h 4496940"/>
              <a:gd name="connsiteX98" fmla="*/ 249577 w 4519987"/>
              <a:gd name="connsiteY98" fmla="*/ 3200400 h 4496940"/>
              <a:gd name="connsiteX99" fmla="*/ 240052 w 4519987"/>
              <a:gd name="connsiteY99" fmla="*/ 3162300 h 4496940"/>
              <a:gd name="connsiteX100" fmla="*/ 221002 w 4519987"/>
              <a:gd name="connsiteY100" fmla="*/ 3105150 h 4496940"/>
              <a:gd name="connsiteX101" fmla="*/ 173377 w 4519987"/>
              <a:gd name="connsiteY101" fmla="*/ 3019425 h 4496940"/>
              <a:gd name="connsiteX102" fmla="*/ 144802 w 4519987"/>
              <a:gd name="connsiteY102" fmla="*/ 2924175 h 4496940"/>
              <a:gd name="connsiteX103" fmla="*/ 68602 w 4519987"/>
              <a:gd name="connsiteY103" fmla="*/ 2724150 h 4496940"/>
              <a:gd name="connsiteX104" fmla="*/ 49552 w 4519987"/>
              <a:gd name="connsiteY104" fmla="*/ 2638425 h 4496940"/>
              <a:gd name="connsiteX105" fmla="*/ 40027 w 4519987"/>
              <a:gd name="connsiteY105" fmla="*/ 2562225 h 4496940"/>
              <a:gd name="connsiteX106" fmla="*/ 30502 w 4519987"/>
              <a:gd name="connsiteY106" fmla="*/ 2514600 h 4496940"/>
              <a:gd name="connsiteX107" fmla="*/ 11452 w 4519987"/>
              <a:gd name="connsiteY107" fmla="*/ 2400300 h 4496940"/>
              <a:gd name="connsiteX108" fmla="*/ 20977 w 4519987"/>
              <a:gd name="connsiteY108" fmla="*/ 1905000 h 4496940"/>
              <a:gd name="connsiteX109" fmla="*/ 30502 w 4519987"/>
              <a:gd name="connsiteY109" fmla="*/ 1838325 h 4496940"/>
              <a:gd name="connsiteX110" fmla="*/ 49552 w 4519987"/>
              <a:gd name="connsiteY110" fmla="*/ 1781175 h 4496940"/>
              <a:gd name="connsiteX111" fmla="*/ 59077 w 4519987"/>
              <a:gd name="connsiteY111" fmla="*/ 1743075 h 4496940"/>
              <a:gd name="connsiteX112" fmla="*/ 78127 w 4519987"/>
              <a:gd name="connsiteY112" fmla="*/ 1685925 h 4496940"/>
              <a:gd name="connsiteX113" fmla="*/ 87652 w 4519987"/>
              <a:gd name="connsiteY113" fmla="*/ 1638300 h 4496940"/>
              <a:gd name="connsiteX114" fmla="*/ 106702 w 4519987"/>
              <a:gd name="connsiteY114" fmla="*/ 1590675 h 4496940"/>
              <a:gd name="connsiteX115" fmla="*/ 135277 w 4519987"/>
              <a:gd name="connsiteY115" fmla="*/ 1504950 h 4496940"/>
              <a:gd name="connsiteX116" fmla="*/ 154327 w 4519987"/>
              <a:gd name="connsiteY116" fmla="*/ 1419225 h 4496940"/>
              <a:gd name="connsiteX117" fmla="*/ 230527 w 4519987"/>
              <a:gd name="connsiteY117" fmla="*/ 1276350 h 4496940"/>
              <a:gd name="connsiteX118" fmla="*/ 240052 w 4519987"/>
              <a:gd name="connsiteY118" fmla="*/ 1247775 h 4496940"/>
              <a:gd name="connsiteX119" fmla="*/ 268627 w 4519987"/>
              <a:gd name="connsiteY119" fmla="*/ 1200150 h 4496940"/>
              <a:gd name="connsiteX120" fmla="*/ 287677 w 4519987"/>
              <a:gd name="connsiteY120" fmla="*/ 1152525 h 4496940"/>
              <a:gd name="connsiteX121" fmla="*/ 316252 w 4519987"/>
              <a:gd name="connsiteY121" fmla="*/ 1114425 h 4496940"/>
              <a:gd name="connsiteX122" fmla="*/ 363877 w 4519987"/>
              <a:gd name="connsiteY122" fmla="*/ 1038225 h 4496940"/>
              <a:gd name="connsiteX123" fmla="*/ 382927 w 4519987"/>
              <a:gd name="connsiteY123" fmla="*/ 1009650 h 4496940"/>
              <a:gd name="connsiteX124" fmla="*/ 440077 w 4519987"/>
              <a:gd name="connsiteY124" fmla="*/ 904875 h 4496940"/>
              <a:gd name="connsiteX125" fmla="*/ 478177 w 4519987"/>
              <a:gd name="connsiteY125" fmla="*/ 857250 h 4496940"/>
              <a:gd name="connsiteX126" fmla="*/ 497227 w 4519987"/>
              <a:gd name="connsiteY126" fmla="*/ 828675 h 4496940"/>
              <a:gd name="connsiteX127" fmla="*/ 535327 w 4519987"/>
              <a:gd name="connsiteY127" fmla="*/ 800100 h 4496940"/>
              <a:gd name="connsiteX128" fmla="*/ 602002 w 4519987"/>
              <a:gd name="connsiteY128" fmla="*/ 733425 h 4496940"/>
              <a:gd name="connsiteX129" fmla="*/ 668677 w 4519987"/>
              <a:gd name="connsiteY129" fmla="*/ 676275 h 4496940"/>
              <a:gd name="connsiteX130" fmla="*/ 697252 w 4519987"/>
              <a:gd name="connsiteY130" fmla="*/ 657225 h 4496940"/>
              <a:gd name="connsiteX131" fmla="*/ 840127 w 4519987"/>
              <a:gd name="connsiteY131" fmla="*/ 533400 h 4496940"/>
              <a:gd name="connsiteX132" fmla="*/ 887752 w 4519987"/>
              <a:gd name="connsiteY132" fmla="*/ 504825 h 4496940"/>
              <a:gd name="connsiteX133" fmla="*/ 1167152 w 4519987"/>
              <a:gd name="connsiteY133" fmla="*/ 311150 h 4496940"/>
              <a:gd name="connsiteX134" fmla="*/ 1268752 w 4519987"/>
              <a:gd name="connsiteY134" fmla="*/ 285750 h 4496940"/>
              <a:gd name="connsiteX135" fmla="*/ 1411627 w 4519987"/>
              <a:gd name="connsiteY135" fmla="*/ 190500 h 4496940"/>
              <a:gd name="connsiteX136" fmla="*/ 1449727 w 4519987"/>
              <a:gd name="connsiteY136" fmla="*/ 161925 h 4496940"/>
              <a:gd name="connsiteX137" fmla="*/ 1525927 w 4519987"/>
              <a:gd name="connsiteY137" fmla="*/ 152400 h 4496940"/>
              <a:gd name="connsiteX138" fmla="*/ 1583077 w 4519987"/>
              <a:gd name="connsiteY138" fmla="*/ 142875 h 4496940"/>
              <a:gd name="connsiteX139" fmla="*/ 1716427 w 4519987"/>
              <a:gd name="connsiteY139" fmla="*/ 123825 h 4496940"/>
              <a:gd name="connsiteX140" fmla="*/ 1811677 w 4519987"/>
              <a:gd name="connsiteY140" fmla="*/ 114300 h 4496940"/>
              <a:gd name="connsiteX141" fmla="*/ 1859302 w 4519987"/>
              <a:gd name="connsiteY141" fmla="*/ 104775 h 4496940"/>
              <a:gd name="connsiteX142" fmla="*/ 1916452 w 4519987"/>
              <a:gd name="connsiteY142" fmla="*/ 95250 h 4496940"/>
              <a:gd name="connsiteX143" fmla="*/ 2030752 w 4519987"/>
              <a:gd name="connsiteY143" fmla="*/ 66675 h 4496940"/>
              <a:gd name="connsiteX144" fmla="*/ 2097427 w 4519987"/>
              <a:gd name="connsiteY144" fmla="*/ 47625 h 4496940"/>
              <a:gd name="connsiteX145" fmla="*/ 2164102 w 4519987"/>
              <a:gd name="connsiteY145" fmla="*/ 38100 h 4496940"/>
              <a:gd name="connsiteX146" fmla="*/ 2392702 w 4519987"/>
              <a:gd name="connsiteY14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250077 w 4519987"/>
              <a:gd name="connsiteY24" fmla="*/ 1143000 h 4496940"/>
              <a:gd name="connsiteX25" fmla="*/ 4259602 w 4519987"/>
              <a:gd name="connsiteY25" fmla="*/ 1190625 h 4496940"/>
              <a:gd name="connsiteX26" fmla="*/ 4307227 w 4519987"/>
              <a:gd name="connsiteY26" fmla="*/ 1266825 h 4496940"/>
              <a:gd name="connsiteX27" fmla="*/ 4345327 w 4519987"/>
              <a:gd name="connsiteY27" fmla="*/ 1362075 h 4496940"/>
              <a:gd name="connsiteX28" fmla="*/ 4373902 w 4519987"/>
              <a:gd name="connsiteY28" fmla="*/ 1428750 h 4496940"/>
              <a:gd name="connsiteX29" fmla="*/ 4392952 w 4519987"/>
              <a:gd name="connsiteY29" fmla="*/ 1552575 h 4496940"/>
              <a:gd name="connsiteX30" fmla="*/ 4402477 w 4519987"/>
              <a:gd name="connsiteY30" fmla="*/ 1590675 h 4496940"/>
              <a:gd name="connsiteX31" fmla="*/ 4431052 w 4519987"/>
              <a:gd name="connsiteY31" fmla="*/ 1685925 h 4496940"/>
              <a:gd name="connsiteX32" fmla="*/ 4519952 w 4519987"/>
              <a:gd name="connsiteY32" fmla="*/ 2181225 h 4496940"/>
              <a:gd name="connsiteX33" fmla="*/ 4446927 w 4519987"/>
              <a:gd name="connsiteY33" fmla="*/ 2768600 h 4496940"/>
              <a:gd name="connsiteX34" fmla="*/ 4383427 w 4519987"/>
              <a:gd name="connsiteY34" fmla="*/ 2990850 h 4496940"/>
              <a:gd name="connsiteX35" fmla="*/ 4278652 w 4519987"/>
              <a:gd name="connsiteY35" fmla="*/ 3248025 h 4496940"/>
              <a:gd name="connsiteX36" fmla="*/ 4259602 w 4519987"/>
              <a:gd name="connsiteY36" fmla="*/ 3276600 h 4496940"/>
              <a:gd name="connsiteX37" fmla="*/ 4221502 w 4519987"/>
              <a:gd name="connsiteY37" fmla="*/ 3333750 h 4496940"/>
              <a:gd name="connsiteX38" fmla="*/ 4211977 w 4519987"/>
              <a:gd name="connsiteY38" fmla="*/ 3362325 h 4496940"/>
              <a:gd name="connsiteX39" fmla="*/ 4183402 w 4519987"/>
              <a:gd name="connsiteY39" fmla="*/ 3400425 h 4496940"/>
              <a:gd name="connsiteX40" fmla="*/ 4164352 w 4519987"/>
              <a:gd name="connsiteY40" fmla="*/ 3429000 h 4496940"/>
              <a:gd name="connsiteX41" fmla="*/ 4088152 w 4519987"/>
              <a:gd name="connsiteY41" fmla="*/ 3495675 h 4496940"/>
              <a:gd name="connsiteX42" fmla="*/ 4059577 w 4519987"/>
              <a:gd name="connsiteY42" fmla="*/ 3533775 h 4496940"/>
              <a:gd name="connsiteX43" fmla="*/ 4002427 w 4519987"/>
              <a:gd name="connsiteY43" fmla="*/ 3600450 h 4496940"/>
              <a:gd name="connsiteX44" fmla="*/ 3983377 w 4519987"/>
              <a:gd name="connsiteY44" fmla="*/ 3629025 h 4496940"/>
              <a:gd name="connsiteX45" fmla="*/ 3954802 w 4519987"/>
              <a:gd name="connsiteY45" fmla="*/ 3648075 h 4496940"/>
              <a:gd name="connsiteX46" fmla="*/ 3907177 w 4519987"/>
              <a:gd name="connsiteY46" fmla="*/ 3686175 h 4496940"/>
              <a:gd name="connsiteX47" fmla="*/ 3869077 w 4519987"/>
              <a:gd name="connsiteY47" fmla="*/ 3724275 h 4496940"/>
              <a:gd name="connsiteX48" fmla="*/ 3792877 w 4519987"/>
              <a:gd name="connsiteY48" fmla="*/ 3781425 h 4496940"/>
              <a:gd name="connsiteX49" fmla="*/ 3783352 w 4519987"/>
              <a:gd name="connsiteY49" fmla="*/ 3810000 h 4496940"/>
              <a:gd name="connsiteX50" fmla="*/ 3745252 w 4519987"/>
              <a:gd name="connsiteY50" fmla="*/ 3819525 h 4496940"/>
              <a:gd name="connsiteX51" fmla="*/ 3678577 w 4519987"/>
              <a:gd name="connsiteY51" fmla="*/ 3848100 h 4496940"/>
              <a:gd name="connsiteX52" fmla="*/ 3659527 w 4519987"/>
              <a:gd name="connsiteY52" fmla="*/ 3971925 h 4496940"/>
              <a:gd name="connsiteX53" fmla="*/ 3630952 w 4519987"/>
              <a:gd name="connsiteY53" fmla="*/ 4010025 h 4496940"/>
              <a:gd name="connsiteX54" fmla="*/ 3621427 w 4519987"/>
              <a:gd name="connsiteY54" fmla="*/ 4038600 h 4496940"/>
              <a:gd name="connsiteX55" fmla="*/ 3554752 w 4519987"/>
              <a:gd name="connsiteY55" fmla="*/ 4095750 h 4496940"/>
              <a:gd name="connsiteX56" fmla="*/ 3516652 w 4519987"/>
              <a:gd name="connsiteY56" fmla="*/ 4114800 h 4496940"/>
              <a:gd name="connsiteX57" fmla="*/ 3497602 w 4519987"/>
              <a:gd name="connsiteY57" fmla="*/ 4143375 h 4496940"/>
              <a:gd name="connsiteX58" fmla="*/ 3383302 w 4519987"/>
              <a:gd name="connsiteY58" fmla="*/ 4210050 h 4496940"/>
              <a:gd name="connsiteX59" fmla="*/ 3335677 w 4519987"/>
              <a:gd name="connsiteY59" fmla="*/ 4238625 h 4496940"/>
              <a:gd name="connsiteX60" fmla="*/ 3288052 w 4519987"/>
              <a:gd name="connsiteY60" fmla="*/ 4248150 h 4496940"/>
              <a:gd name="connsiteX61" fmla="*/ 3240427 w 4519987"/>
              <a:gd name="connsiteY61" fmla="*/ 4267200 h 4496940"/>
              <a:gd name="connsiteX62" fmla="*/ 3068977 w 4519987"/>
              <a:gd name="connsiteY62" fmla="*/ 4286250 h 4496940"/>
              <a:gd name="connsiteX63" fmla="*/ 2935627 w 4519987"/>
              <a:gd name="connsiteY63" fmla="*/ 4333875 h 4496940"/>
              <a:gd name="connsiteX64" fmla="*/ 2811802 w 4519987"/>
              <a:gd name="connsiteY64" fmla="*/ 4371975 h 4496940"/>
              <a:gd name="connsiteX65" fmla="*/ 2745127 w 4519987"/>
              <a:gd name="connsiteY65" fmla="*/ 4410075 h 4496940"/>
              <a:gd name="connsiteX66" fmla="*/ 2697502 w 4519987"/>
              <a:gd name="connsiteY66" fmla="*/ 4429125 h 4496940"/>
              <a:gd name="connsiteX67" fmla="*/ 2640352 w 4519987"/>
              <a:gd name="connsiteY67" fmla="*/ 4457700 h 4496940"/>
              <a:gd name="connsiteX68" fmla="*/ 2583202 w 4519987"/>
              <a:gd name="connsiteY68" fmla="*/ 4467225 h 4496940"/>
              <a:gd name="connsiteX69" fmla="*/ 2545102 w 4519987"/>
              <a:gd name="connsiteY69" fmla="*/ 4486275 h 4496940"/>
              <a:gd name="connsiteX70" fmla="*/ 2306977 w 4519987"/>
              <a:gd name="connsiteY70" fmla="*/ 4476750 h 4496940"/>
              <a:gd name="connsiteX71" fmla="*/ 2202202 w 4519987"/>
              <a:gd name="connsiteY71" fmla="*/ 4457700 h 4496940"/>
              <a:gd name="connsiteX72" fmla="*/ 2126002 w 4519987"/>
              <a:gd name="connsiteY72" fmla="*/ 4429125 h 4496940"/>
              <a:gd name="connsiteX73" fmla="*/ 1935502 w 4519987"/>
              <a:gd name="connsiteY73" fmla="*/ 4400550 h 4496940"/>
              <a:gd name="connsiteX74" fmla="*/ 1821202 w 4519987"/>
              <a:gd name="connsiteY74" fmla="*/ 4371975 h 4496940"/>
              <a:gd name="connsiteX75" fmla="*/ 1754527 w 4519987"/>
              <a:gd name="connsiteY75" fmla="*/ 4352925 h 4496940"/>
              <a:gd name="connsiteX76" fmla="*/ 1687852 w 4519987"/>
              <a:gd name="connsiteY76" fmla="*/ 4343400 h 4496940"/>
              <a:gd name="connsiteX77" fmla="*/ 1573552 w 4519987"/>
              <a:gd name="connsiteY77" fmla="*/ 4305300 h 4496940"/>
              <a:gd name="connsiteX78" fmla="*/ 1402102 w 4519987"/>
              <a:gd name="connsiteY78" fmla="*/ 4276725 h 4496940"/>
              <a:gd name="connsiteX79" fmla="*/ 1287802 w 4519987"/>
              <a:gd name="connsiteY79" fmla="*/ 4229100 h 4496940"/>
              <a:gd name="connsiteX80" fmla="*/ 1221127 w 4519987"/>
              <a:gd name="connsiteY80" fmla="*/ 4200525 h 4496940"/>
              <a:gd name="connsiteX81" fmla="*/ 1144927 w 4519987"/>
              <a:gd name="connsiteY81" fmla="*/ 4171950 h 4496940"/>
              <a:gd name="connsiteX82" fmla="*/ 1087777 w 4519987"/>
              <a:gd name="connsiteY82" fmla="*/ 4143375 h 4496940"/>
              <a:gd name="connsiteX83" fmla="*/ 1030627 w 4519987"/>
              <a:gd name="connsiteY83" fmla="*/ 4124325 h 4496940"/>
              <a:gd name="connsiteX84" fmla="*/ 925852 w 4519987"/>
              <a:gd name="connsiteY84" fmla="*/ 4067175 h 4496940"/>
              <a:gd name="connsiteX85" fmla="*/ 830602 w 4519987"/>
              <a:gd name="connsiteY85" fmla="*/ 3981450 h 4496940"/>
              <a:gd name="connsiteX86" fmla="*/ 763927 w 4519987"/>
              <a:gd name="connsiteY86" fmla="*/ 3914775 h 4496940"/>
              <a:gd name="connsiteX87" fmla="*/ 725827 w 4519987"/>
              <a:gd name="connsiteY87" fmla="*/ 3876675 h 4496940"/>
              <a:gd name="connsiteX88" fmla="*/ 697252 w 4519987"/>
              <a:gd name="connsiteY88" fmla="*/ 3838575 h 4496940"/>
              <a:gd name="connsiteX89" fmla="*/ 640102 w 4519987"/>
              <a:gd name="connsiteY89" fmla="*/ 3781425 h 4496940"/>
              <a:gd name="connsiteX90" fmla="*/ 611527 w 4519987"/>
              <a:gd name="connsiteY90" fmla="*/ 3733800 h 4496940"/>
              <a:gd name="connsiteX91" fmla="*/ 554377 w 4519987"/>
              <a:gd name="connsiteY91" fmla="*/ 3657600 h 4496940"/>
              <a:gd name="connsiteX92" fmla="*/ 525802 w 4519987"/>
              <a:gd name="connsiteY92" fmla="*/ 3609975 h 4496940"/>
              <a:gd name="connsiteX93" fmla="*/ 497227 w 4519987"/>
              <a:gd name="connsiteY93" fmla="*/ 3552825 h 4496940"/>
              <a:gd name="connsiteX94" fmla="*/ 440077 w 4519987"/>
              <a:gd name="connsiteY94" fmla="*/ 3495675 h 4496940"/>
              <a:gd name="connsiteX95" fmla="*/ 411502 w 4519987"/>
              <a:gd name="connsiteY95" fmla="*/ 3448050 h 4496940"/>
              <a:gd name="connsiteX96" fmla="*/ 278152 w 4519987"/>
              <a:gd name="connsiteY96" fmla="*/ 3257550 h 4496940"/>
              <a:gd name="connsiteX97" fmla="*/ 249577 w 4519987"/>
              <a:gd name="connsiteY97" fmla="*/ 3200400 h 4496940"/>
              <a:gd name="connsiteX98" fmla="*/ 240052 w 4519987"/>
              <a:gd name="connsiteY98" fmla="*/ 3162300 h 4496940"/>
              <a:gd name="connsiteX99" fmla="*/ 221002 w 4519987"/>
              <a:gd name="connsiteY99" fmla="*/ 3105150 h 4496940"/>
              <a:gd name="connsiteX100" fmla="*/ 173377 w 4519987"/>
              <a:gd name="connsiteY100" fmla="*/ 3019425 h 4496940"/>
              <a:gd name="connsiteX101" fmla="*/ 144802 w 4519987"/>
              <a:gd name="connsiteY101" fmla="*/ 2924175 h 4496940"/>
              <a:gd name="connsiteX102" fmla="*/ 68602 w 4519987"/>
              <a:gd name="connsiteY102" fmla="*/ 2724150 h 4496940"/>
              <a:gd name="connsiteX103" fmla="*/ 49552 w 4519987"/>
              <a:gd name="connsiteY103" fmla="*/ 2638425 h 4496940"/>
              <a:gd name="connsiteX104" fmla="*/ 40027 w 4519987"/>
              <a:gd name="connsiteY104" fmla="*/ 2562225 h 4496940"/>
              <a:gd name="connsiteX105" fmla="*/ 30502 w 4519987"/>
              <a:gd name="connsiteY105" fmla="*/ 2514600 h 4496940"/>
              <a:gd name="connsiteX106" fmla="*/ 11452 w 4519987"/>
              <a:gd name="connsiteY106" fmla="*/ 2400300 h 4496940"/>
              <a:gd name="connsiteX107" fmla="*/ 20977 w 4519987"/>
              <a:gd name="connsiteY107" fmla="*/ 1905000 h 4496940"/>
              <a:gd name="connsiteX108" fmla="*/ 30502 w 4519987"/>
              <a:gd name="connsiteY108" fmla="*/ 1838325 h 4496940"/>
              <a:gd name="connsiteX109" fmla="*/ 49552 w 4519987"/>
              <a:gd name="connsiteY109" fmla="*/ 1781175 h 4496940"/>
              <a:gd name="connsiteX110" fmla="*/ 59077 w 4519987"/>
              <a:gd name="connsiteY110" fmla="*/ 1743075 h 4496940"/>
              <a:gd name="connsiteX111" fmla="*/ 78127 w 4519987"/>
              <a:gd name="connsiteY111" fmla="*/ 1685925 h 4496940"/>
              <a:gd name="connsiteX112" fmla="*/ 87652 w 4519987"/>
              <a:gd name="connsiteY112" fmla="*/ 1638300 h 4496940"/>
              <a:gd name="connsiteX113" fmla="*/ 106702 w 4519987"/>
              <a:gd name="connsiteY113" fmla="*/ 1590675 h 4496940"/>
              <a:gd name="connsiteX114" fmla="*/ 135277 w 4519987"/>
              <a:gd name="connsiteY114" fmla="*/ 1504950 h 4496940"/>
              <a:gd name="connsiteX115" fmla="*/ 154327 w 4519987"/>
              <a:gd name="connsiteY115" fmla="*/ 1419225 h 4496940"/>
              <a:gd name="connsiteX116" fmla="*/ 230527 w 4519987"/>
              <a:gd name="connsiteY116" fmla="*/ 1276350 h 4496940"/>
              <a:gd name="connsiteX117" fmla="*/ 240052 w 4519987"/>
              <a:gd name="connsiteY117" fmla="*/ 1247775 h 4496940"/>
              <a:gd name="connsiteX118" fmla="*/ 268627 w 4519987"/>
              <a:gd name="connsiteY118" fmla="*/ 1200150 h 4496940"/>
              <a:gd name="connsiteX119" fmla="*/ 287677 w 4519987"/>
              <a:gd name="connsiteY119" fmla="*/ 1152525 h 4496940"/>
              <a:gd name="connsiteX120" fmla="*/ 316252 w 4519987"/>
              <a:gd name="connsiteY120" fmla="*/ 1114425 h 4496940"/>
              <a:gd name="connsiteX121" fmla="*/ 363877 w 4519987"/>
              <a:gd name="connsiteY121" fmla="*/ 1038225 h 4496940"/>
              <a:gd name="connsiteX122" fmla="*/ 382927 w 4519987"/>
              <a:gd name="connsiteY122" fmla="*/ 1009650 h 4496940"/>
              <a:gd name="connsiteX123" fmla="*/ 440077 w 4519987"/>
              <a:gd name="connsiteY123" fmla="*/ 904875 h 4496940"/>
              <a:gd name="connsiteX124" fmla="*/ 478177 w 4519987"/>
              <a:gd name="connsiteY124" fmla="*/ 857250 h 4496940"/>
              <a:gd name="connsiteX125" fmla="*/ 497227 w 4519987"/>
              <a:gd name="connsiteY125" fmla="*/ 828675 h 4496940"/>
              <a:gd name="connsiteX126" fmla="*/ 535327 w 4519987"/>
              <a:gd name="connsiteY126" fmla="*/ 800100 h 4496940"/>
              <a:gd name="connsiteX127" fmla="*/ 602002 w 4519987"/>
              <a:gd name="connsiteY127" fmla="*/ 733425 h 4496940"/>
              <a:gd name="connsiteX128" fmla="*/ 668677 w 4519987"/>
              <a:gd name="connsiteY128" fmla="*/ 676275 h 4496940"/>
              <a:gd name="connsiteX129" fmla="*/ 697252 w 4519987"/>
              <a:gd name="connsiteY129" fmla="*/ 657225 h 4496940"/>
              <a:gd name="connsiteX130" fmla="*/ 840127 w 4519987"/>
              <a:gd name="connsiteY130" fmla="*/ 533400 h 4496940"/>
              <a:gd name="connsiteX131" fmla="*/ 887752 w 4519987"/>
              <a:gd name="connsiteY131" fmla="*/ 504825 h 4496940"/>
              <a:gd name="connsiteX132" fmla="*/ 1167152 w 4519987"/>
              <a:gd name="connsiteY132" fmla="*/ 311150 h 4496940"/>
              <a:gd name="connsiteX133" fmla="*/ 1268752 w 4519987"/>
              <a:gd name="connsiteY133" fmla="*/ 285750 h 4496940"/>
              <a:gd name="connsiteX134" fmla="*/ 1411627 w 4519987"/>
              <a:gd name="connsiteY134" fmla="*/ 190500 h 4496940"/>
              <a:gd name="connsiteX135" fmla="*/ 1449727 w 4519987"/>
              <a:gd name="connsiteY135" fmla="*/ 161925 h 4496940"/>
              <a:gd name="connsiteX136" fmla="*/ 1525927 w 4519987"/>
              <a:gd name="connsiteY136" fmla="*/ 152400 h 4496940"/>
              <a:gd name="connsiteX137" fmla="*/ 1583077 w 4519987"/>
              <a:gd name="connsiteY137" fmla="*/ 142875 h 4496940"/>
              <a:gd name="connsiteX138" fmla="*/ 1716427 w 4519987"/>
              <a:gd name="connsiteY138" fmla="*/ 123825 h 4496940"/>
              <a:gd name="connsiteX139" fmla="*/ 1811677 w 4519987"/>
              <a:gd name="connsiteY139" fmla="*/ 114300 h 4496940"/>
              <a:gd name="connsiteX140" fmla="*/ 1859302 w 4519987"/>
              <a:gd name="connsiteY140" fmla="*/ 104775 h 4496940"/>
              <a:gd name="connsiteX141" fmla="*/ 1916452 w 4519987"/>
              <a:gd name="connsiteY141" fmla="*/ 95250 h 4496940"/>
              <a:gd name="connsiteX142" fmla="*/ 2030752 w 4519987"/>
              <a:gd name="connsiteY142" fmla="*/ 66675 h 4496940"/>
              <a:gd name="connsiteX143" fmla="*/ 2097427 w 4519987"/>
              <a:gd name="connsiteY143" fmla="*/ 47625 h 4496940"/>
              <a:gd name="connsiteX144" fmla="*/ 2164102 w 4519987"/>
              <a:gd name="connsiteY144" fmla="*/ 38100 h 4496940"/>
              <a:gd name="connsiteX145" fmla="*/ 2392702 w 4519987"/>
              <a:gd name="connsiteY14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259602 w 4519987"/>
              <a:gd name="connsiteY24" fmla="*/ 1190625 h 4496940"/>
              <a:gd name="connsiteX25" fmla="*/ 4307227 w 4519987"/>
              <a:gd name="connsiteY25" fmla="*/ 1266825 h 4496940"/>
              <a:gd name="connsiteX26" fmla="*/ 4345327 w 4519987"/>
              <a:gd name="connsiteY26" fmla="*/ 1362075 h 4496940"/>
              <a:gd name="connsiteX27" fmla="*/ 4373902 w 4519987"/>
              <a:gd name="connsiteY27" fmla="*/ 1428750 h 4496940"/>
              <a:gd name="connsiteX28" fmla="*/ 4392952 w 4519987"/>
              <a:gd name="connsiteY28" fmla="*/ 1552575 h 4496940"/>
              <a:gd name="connsiteX29" fmla="*/ 4402477 w 4519987"/>
              <a:gd name="connsiteY29" fmla="*/ 1590675 h 4496940"/>
              <a:gd name="connsiteX30" fmla="*/ 4431052 w 4519987"/>
              <a:gd name="connsiteY30" fmla="*/ 1685925 h 4496940"/>
              <a:gd name="connsiteX31" fmla="*/ 4519952 w 4519987"/>
              <a:gd name="connsiteY31" fmla="*/ 2181225 h 4496940"/>
              <a:gd name="connsiteX32" fmla="*/ 4446927 w 4519987"/>
              <a:gd name="connsiteY32" fmla="*/ 2768600 h 4496940"/>
              <a:gd name="connsiteX33" fmla="*/ 4383427 w 4519987"/>
              <a:gd name="connsiteY33" fmla="*/ 2990850 h 4496940"/>
              <a:gd name="connsiteX34" fmla="*/ 4278652 w 4519987"/>
              <a:gd name="connsiteY34" fmla="*/ 3248025 h 4496940"/>
              <a:gd name="connsiteX35" fmla="*/ 4259602 w 4519987"/>
              <a:gd name="connsiteY35" fmla="*/ 3276600 h 4496940"/>
              <a:gd name="connsiteX36" fmla="*/ 4221502 w 4519987"/>
              <a:gd name="connsiteY36" fmla="*/ 3333750 h 4496940"/>
              <a:gd name="connsiteX37" fmla="*/ 4211977 w 4519987"/>
              <a:gd name="connsiteY37" fmla="*/ 3362325 h 4496940"/>
              <a:gd name="connsiteX38" fmla="*/ 4183402 w 4519987"/>
              <a:gd name="connsiteY38" fmla="*/ 3400425 h 4496940"/>
              <a:gd name="connsiteX39" fmla="*/ 4164352 w 4519987"/>
              <a:gd name="connsiteY39" fmla="*/ 3429000 h 4496940"/>
              <a:gd name="connsiteX40" fmla="*/ 4088152 w 4519987"/>
              <a:gd name="connsiteY40" fmla="*/ 3495675 h 4496940"/>
              <a:gd name="connsiteX41" fmla="*/ 4059577 w 4519987"/>
              <a:gd name="connsiteY41" fmla="*/ 3533775 h 4496940"/>
              <a:gd name="connsiteX42" fmla="*/ 4002427 w 4519987"/>
              <a:gd name="connsiteY42" fmla="*/ 3600450 h 4496940"/>
              <a:gd name="connsiteX43" fmla="*/ 3983377 w 4519987"/>
              <a:gd name="connsiteY43" fmla="*/ 3629025 h 4496940"/>
              <a:gd name="connsiteX44" fmla="*/ 3954802 w 4519987"/>
              <a:gd name="connsiteY44" fmla="*/ 3648075 h 4496940"/>
              <a:gd name="connsiteX45" fmla="*/ 3907177 w 4519987"/>
              <a:gd name="connsiteY45" fmla="*/ 3686175 h 4496940"/>
              <a:gd name="connsiteX46" fmla="*/ 3869077 w 4519987"/>
              <a:gd name="connsiteY46" fmla="*/ 3724275 h 4496940"/>
              <a:gd name="connsiteX47" fmla="*/ 3792877 w 4519987"/>
              <a:gd name="connsiteY47" fmla="*/ 3781425 h 4496940"/>
              <a:gd name="connsiteX48" fmla="*/ 3783352 w 4519987"/>
              <a:gd name="connsiteY48" fmla="*/ 3810000 h 4496940"/>
              <a:gd name="connsiteX49" fmla="*/ 3745252 w 4519987"/>
              <a:gd name="connsiteY49" fmla="*/ 3819525 h 4496940"/>
              <a:gd name="connsiteX50" fmla="*/ 3678577 w 4519987"/>
              <a:gd name="connsiteY50" fmla="*/ 3848100 h 4496940"/>
              <a:gd name="connsiteX51" fmla="*/ 3659527 w 4519987"/>
              <a:gd name="connsiteY51" fmla="*/ 3971925 h 4496940"/>
              <a:gd name="connsiteX52" fmla="*/ 3630952 w 4519987"/>
              <a:gd name="connsiteY52" fmla="*/ 4010025 h 4496940"/>
              <a:gd name="connsiteX53" fmla="*/ 3621427 w 4519987"/>
              <a:gd name="connsiteY53" fmla="*/ 4038600 h 4496940"/>
              <a:gd name="connsiteX54" fmla="*/ 3554752 w 4519987"/>
              <a:gd name="connsiteY54" fmla="*/ 4095750 h 4496940"/>
              <a:gd name="connsiteX55" fmla="*/ 3516652 w 4519987"/>
              <a:gd name="connsiteY55" fmla="*/ 4114800 h 4496940"/>
              <a:gd name="connsiteX56" fmla="*/ 3497602 w 4519987"/>
              <a:gd name="connsiteY56" fmla="*/ 4143375 h 4496940"/>
              <a:gd name="connsiteX57" fmla="*/ 3383302 w 4519987"/>
              <a:gd name="connsiteY57" fmla="*/ 4210050 h 4496940"/>
              <a:gd name="connsiteX58" fmla="*/ 3335677 w 4519987"/>
              <a:gd name="connsiteY58" fmla="*/ 4238625 h 4496940"/>
              <a:gd name="connsiteX59" fmla="*/ 3288052 w 4519987"/>
              <a:gd name="connsiteY59" fmla="*/ 4248150 h 4496940"/>
              <a:gd name="connsiteX60" fmla="*/ 3240427 w 4519987"/>
              <a:gd name="connsiteY60" fmla="*/ 4267200 h 4496940"/>
              <a:gd name="connsiteX61" fmla="*/ 3068977 w 4519987"/>
              <a:gd name="connsiteY61" fmla="*/ 4286250 h 4496940"/>
              <a:gd name="connsiteX62" fmla="*/ 2935627 w 4519987"/>
              <a:gd name="connsiteY62" fmla="*/ 4333875 h 4496940"/>
              <a:gd name="connsiteX63" fmla="*/ 2811802 w 4519987"/>
              <a:gd name="connsiteY63" fmla="*/ 4371975 h 4496940"/>
              <a:gd name="connsiteX64" fmla="*/ 2745127 w 4519987"/>
              <a:gd name="connsiteY64" fmla="*/ 4410075 h 4496940"/>
              <a:gd name="connsiteX65" fmla="*/ 2697502 w 4519987"/>
              <a:gd name="connsiteY65" fmla="*/ 4429125 h 4496940"/>
              <a:gd name="connsiteX66" fmla="*/ 2640352 w 4519987"/>
              <a:gd name="connsiteY66" fmla="*/ 4457700 h 4496940"/>
              <a:gd name="connsiteX67" fmla="*/ 2583202 w 4519987"/>
              <a:gd name="connsiteY67" fmla="*/ 4467225 h 4496940"/>
              <a:gd name="connsiteX68" fmla="*/ 2545102 w 4519987"/>
              <a:gd name="connsiteY68" fmla="*/ 4486275 h 4496940"/>
              <a:gd name="connsiteX69" fmla="*/ 2306977 w 4519987"/>
              <a:gd name="connsiteY69" fmla="*/ 4476750 h 4496940"/>
              <a:gd name="connsiteX70" fmla="*/ 2202202 w 4519987"/>
              <a:gd name="connsiteY70" fmla="*/ 4457700 h 4496940"/>
              <a:gd name="connsiteX71" fmla="*/ 2126002 w 4519987"/>
              <a:gd name="connsiteY71" fmla="*/ 4429125 h 4496940"/>
              <a:gd name="connsiteX72" fmla="*/ 1935502 w 4519987"/>
              <a:gd name="connsiteY72" fmla="*/ 4400550 h 4496940"/>
              <a:gd name="connsiteX73" fmla="*/ 1821202 w 4519987"/>
              <a:gd name="connsiteY73" fmla="*/ 4371975 h 4496940"/>
              <a:gd name="connsiteX74" fmla="*/ 1754527 w 4519987"/>
              <a:gd name="connsiteY74" fmla="*/ 4352925 h 4496940"/>
              <a:gd name="connsiteX75" fmla="*/ 1687852 w 4519987"/>
              <a:gd name="connsiteY75" fmla="*/ 4343400 h 4496940"/>
              <a:gd name="connsiteX76" fmla="*/ 1573552 w 4519987"/>
              <a:gd name="connsiteY76" fmla="*/ 4305300 h 4496940"/>
              <a:gd name="connsiteX77" fmla="*/ 1402102 w 4519987"/>
              <a:gd name="connsiteY77" fmla="*/ 4276725 h 4496940"/>
              <a:gd name="connsiteX78" fmla="*/ 1287802 w 4519987"/>
              <a:gd name="connsiteY78" fmla="*/ 4229100 h 4496940"/>
              <a:gd name="connsiteX79" fmla="*/ 1221127 w 4519987"/>
              <a:gd name="connsiteY79" fmla="*/ 4200525 h 4496940"/>
              <a:gd name="connsiteX80" fmla="*/ 1144927 w 4519987"/>
              <a:gd name="connsiteY80" fmla="*/ 4171950 h 4496940"/>
              <a:gd name="connsiteX81" fmla="*/ 1087777 w 4519987"/>
              <a:gd name="connsiteY81" fmla="*/ 4143375 h 4496940"/>
              <a:gd name="connsiteX82" fmla="*/ 1030627 w 4519987"/>
              <a:gd name="connsiteY82" fmla="*/ 4124325 h 4496940"/>
              <a:gd name="connsiteX83" fmla="*/ 925852 w 4519987"/>
              <a:gd name="connsiteY83" fmla="*/ 4067175 h 4496940"/>
              <a:gd name="connsiteX84" fmla="*/ 830602 w 4519987"/>
              <a:gd name="connsiteY84" fmla="*/ 3981450 h 4496940"/>
              <a:gd name="connsiteX85" fmla="*/ 763927 w 4519987"/>
              <a:gd name="connsiteY85" fmla="*/ 3914775 h 4496940"/>
              <a:gd name="connsiteX86" fmla="*/ 725827 w 4519987"/>
              <a:gd name="connsiteY86" fmla="*/ 3876675 h 4496940"/>
              <a:gd name="connsiteX87" fmla="*/ 697252 w 4519987"/>
              <a:gd name="connsiteY87" fmla="*/ 3838575 h 4496940"/>
              <a:gd name="connsiteX88" fmla="*/ 640102 w 4519987"/>
              <a:gd name="connsiteY88" fmla="*/ 3781425 h 4496940"/>
              <a:gd name="connsiteX89" fmla="*/ 611527 w 4519987"/>
              <a:gd name="connsiteY89" fmla="*/ 3733800 h 4496940"/>
              <a:gd name="connsiteX90" fmla="*/ 554377 w 4519987"/>
              <a:gd name="connsiteY90" fmla="*/ 3657600 h 4496940"/>
              <a:gd name="connsiteX91" fmla="*/ 525802 w 4519987"/>
              <a:gd name="connsiteY91" fmla="*/ 3609975 h 4496940"/>
              <a:gd name="connsiteX92" fmla="*/ 497227 w 4519987"/>
              <a:gd name="connsiteY92" fmla="*/ 3552825 h 4496940"/>
              <a:gd name="connsiteX93" fmla="*/ 440077 w 4519987"/>
              <a:gd name="connsiteY93" fmla="*/ 3495675 h 4496940"/>
              <a:gd name="connsiteX94" fmla="*/ 411502 w 4519987"/>
              <a:gd name="connsiteY94" fmla="*/ 3448050 h 4496940"/>
              <a:gd name="connsiteX95" fmla="*/ 278152 w 4519987"/>
              <a:gd name="connsiteY95" fmla="*/ 3257550 h 4496940"/>
              <a:gd name="connsiteX96" fmla="*/ 249577 w 4519987"/>
              <a:gd name="connsiteY96" fmla="*/ 3200400 h 4496940"/>
              <a:gd name="connsiteX97" fmla="*/ 240052 w 4519987"/>
              <a:gd name="connsiteY97" fmla="*/ 3162300 h 4496940"/>
              <a:gd name="connsiteX98" fmla="*/ 221002 w 4519987"/>
              <a:gd name="connsiteY98" fmla="*/ 3105150 h 4496940"/>
              <a:gd name="connsiteX99" fmla="*/ 173377 w 4519987"/>
              <a:gd name="connsiteY99" fmla="*/ 3019425 h 4496940"/>
              <a:gd name="connsiteX100" fmla="*/ 144802 w 4519987"/>
              <a:gd name="connsiteY100" fmla="*/ 2924175 h 4496940"/>
              <a:gd name="connsiteX101" fmla="*/ 68602 w 4519987"/>
              <a:gd name="connsiteY101" fmla="*/ 2724150 h 4496940"/>
              <a:gd name="connsiteX102" fmla="*/ 49552 w 4519987"/>
              <a:gd name="connsiteY102" fmla="*/ 2638425 h 4496940"/>
              <a:gd name="connsiteX103" fmla="*/ 40027 w 4519987"/>
              <a:gd name="connsiteY103" fmla="*/ 2562225 h 4496940"/>
              <a:gd name="connsiteX104" fmla="*/ 30502 w 4519987"/>
              <a:gd name="connsiteY104" fmla="*/ 2514600 h 4496940"/>
              <a:gd name="connsiteX105" fmla="*/ 11452 w 4519987"/>
              <a:gd name="connsiteY105" fmla="*/ 2400300 h 4496940"/>
              <a:gd name="connsiteX106" fmla="*/ 20977 w 4519987"/>
              <a:gd name="connsiteY106" fmla="*/ 1905000 h 4496940"/>
              <a:gd name="connsiteX107" fmla="*/ 30502 w 4519987"/>
              <a:gd name="connsiteY107" fmla="*/ 1838325 h 4496940"/>
              <a:gd name="connsiteX108" fmla="*/ 49552 w 4519987"/>
              <a:gd name="connsiteY108" fmla="*/ 1781175 h 4496940"/>
              <a:gd name="connsiteX109" fmla="*/ 59077 w 4519987"/>
              <a:gd name="connsiteY109" fmla="*/ 1743075 h 4496940"/>
              <a:gd name="connsiteX110" fmla="*/ 78127 w 4519987"/>
              <a:gd name="connsiteY110" fmla="*/ 1685925 h 4496940"/>
              <a:gd name="connsiteX111" fmla="*/ 87652 w 4519987"/>
              <a:gd name="connsiteY111" fmla="*/ 1638300 h 4496940"/>
              <a:gd name="connsiteX112" fmla="*/ 106702 w 4519987"/>
              <a:gd name="connsiteY112" fmla="*/ 1590675 h 4496940"/>
              <a:gd name="connsiteX113" fmla="*/ 135277 w 4519987"/>
              <a:gd name="connsiteY113" fmla="*/ 1504950 h 4496940"/>
              <a:gd name="connsiteX114" fmla="*/ 154327 w 4519987"/>
              <a:gd name="connsiteY114" fmla="*/ 1419225 h 4496940"/>
              <a:gd name="connsiteX115" fmla="*/ 230527 w 4519987"/>
              <a:gd name="connsiteY115" fmla="*/ 1276350 h 4496940"/>
              <a:gd name="connsiteX116" fmla="*/ 240052 w 4519987"/>
              <a:gd name="connsiteY116" fmla="*/ 1247775 h 4496940"/>
              <a:gd name="connsiteX117" fmla="*/ 268627 w 4519987"/>
              <a:gd name="connsiteY117" fmla="*/ 1200150 h 4496940"/>
              <a:gd name="connsiteX118" fmla="*/ 287677 w 4519987"/>
              <a:gd name="connsiteY118" fmla="*/ 1152525 h 4496940"/>
              <a:gd name="connsiteX119" fmla="*/ 316252 w 4519987"/>
              <a:gd name="connsiteY119" fmla="*/ 1114425 h 4496940"/>
              <a:gd name="connsiteX120" fmla="*/ 363877 w 4519987"/>
              <a:gd name="connsiteY120" fmla="*/ 1038225 h 4496940"/>
              <a:gd name="connsiteX121" fmla="*/ 382927 w 4519987"/>
              <a:gd name="connsiteY121" fmla="*/ 1009650 h 4496940"/>
              <a:gd name="connsiteX122" fmla="*/ 440077 w 4519987"/>
              <a:gd name="connsiteY122" fmla="*/ 904875 h 4496940"/>
              <a:gd name="connsiteX123" fmla="*/ 478177 w 4519987"/>
              <a:gd name="connsiteY123" fmla="*/ 857250 h 4496940"/>
              <a:gd name="connsiteX124" fmla="*/ 497227 w 4519987"/>
              <a:gd name="connsiteY124" fmla="*/ 828675 h 4496940"/>
              <a:gd name="connsiteX125" fmla="*/ 535327 w 4519987"/>
              <a:gd name="connsiteY125" fmla="*/ 800100 h 4496940"/>
              <a:gd name="connsiteX126" fmla="*/ 602002 w 4519987"/>
              <a:gd name="connsiteY126" fmla="*/ 733425 h 4496940"/>
              <a:gd name="connsiteX127" fmla="*/ 668677 w 4519987"/>
              <a:gd name="connsiteY127" fmla="*/ 676275 h 4496940"/>
              <a:gd name="connsiteX128" fmla="*/ 697252 w 4519987"/>
              <a:gd name="connsiteY128" fmla="*/ 657225 h 4496940"/>
              <a:gd name="connsiteX129" fmla="*/ 840127 w 4519987"/>
              <a:gd name="connsiteY129" fmla="*/ 533400 h 4496940"/>
              <a:gd name="connsiteX130" fmla="*/ 887752 w 4519987"/>
              <a:gd name="connsiteY130" fmla="*/ 504825 h 4496940"/>
              <a:gd name="connsiteX131" fmla="*/ 1167152 w 4519987"/>
              <a:gd name="connsiteY131" fmla="*/ 311150 h 4496940"/>
              <a:gd name="connsiteX132" fmla="*/ 1268752 w 4519987"/>
              <a:gd name="connsiteY132" fmla="*/ 285750 h 4496940"/>
              <a:gd name="connsiteX133" fmla="*/ 1411627 w 4519987"/>
              <a:gd name="connsiteY133" fmla="*/ 190500 h 4496940"/>
              <a:gd name="connsiteX134" fmla="*/ 1449727 w 4519987"/>
              <a:gd name="connsiteY134" fmla="*/ 161925 h 4496940"/>
              <a:gd name="connsiteX135" fmla="*/ 1525927 w 4519987"/>
              <a:gd name="connsiteY135" fmla="*/ 152400 h 4496940"/>
              <a:gd name="connsiteX136" fmla="*/ 1583077 w 4519987"/>
              <a:gd name="connsiteY136" fmla="*/ 142875 h 4496940"/>
              <a:gd name="connsiteX137" fmla="*/ 1716427 w 4519987"/>
              <a:gd name="connsiteY137" fmla="*/ 123825 h 4496940"/>
              <a:gd name="connsiteX138" fmla="*/ 1811677 w 4519987"/>
              <a:gd name="connsiteY138" fmla="*/ 114300 h 4496940"/>
              <a:gd name="connsiteX139" fmla="*/ 1859302 w 4519987"/>
              <a:gd name="connsiteY139" fmla="*/ 104775 h 4496940"/>
              <a:gd name="connsiteX140" fmla="*/ 1916452 w 4519987"/>
              <a:gd name="connsiteY140" fmla="*/ 95250 h 4496940"/>
              <a:gd name="connsiteX141" fmla="*/ 2030752 w 4519987"/>
              <a:gd name="connsiteY141" fmla="*/ 66675 h 4496940"/>
              <a:gd name="connsiteX142" fmla="*/ 2097427 w 4519987"/>
              <a:gd name="connsiteY142" fmla="*/ 47625 h 4496940"/>
              <a:gd name="connsiteX143" fmla="*/ 2164102 w 4519987"/>
              <a:gd name="connsiteY143" fmla="*/ 38100 h 4496940"/>
              <a:gd name="connsiteX144" fmla="*/ 2392702 w 4519987"/>
              <a:gd name="connsiteY14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73902 w 4519987"/>
              <a:gd name="connsiteY26" fmla="*/ 1428750 h 4496940"/>
              <a:gd name="connsiteX27" fmla="*/ 4392952 w 4519987"/>
              <a:gd name="connsiteY27" fmla="*/ 1552575 h 4496940"/>
              <a:gd name="connsiteX28" fmla="*/ 4402477 w 4519987"/>
              <a:gd name="connsiteY28" fmla="*/ 1590675 h 4496940"/>
              <a:gd name="connsiteX29" fmla="*/ 4431052 w 4519987"/>
              <a:gd name="connsiteY29" fmla="*/ 1685925 h 4496940"/>
              <a:gd name="connsiteX30" fmla="*/ 4519952 w 4519987"/>
              <a:gd name="connsiteY30" fmla="*/ 2181225 h 4496940"/>
              <a:gd name="connsiteX31" fmla="*/ 4446927 w 4519987"/>
              <a:gd name="connsiteY31" fmla="*/ 2768600 h 4496940"/>
              <a:gd name="connsiteX32" fmla="*/ 4383427 w 4519987"/>
              <a:gd name="connsiteY32" fmla="*/ 2990850 h 4496940"/>
              <a:gd name="connsiteX33" fmla="*/ 4278652 w 4519987"/>
              <a:gd name="connsiteY33" fmla="*/ 3248025 h 4496940"/>
              <a:gd name="connsiteX34" fmla="*/ 4259602 w 4519987"/>
              <a:gd name="connsiteY34" fmla="*/ 3276600 h 4496940"/>
              <a:gd name="connsiteX35" fmla="*/ 4221502 w 4519987"/>
              <a:gd name="connsiteY35" fmla="*/ 3333750 h 4496940"/>
              <a:gd name="connsiteX36" fmla="*/ 4211977 w 4519987"/>
              <a:gd name="connsiteY36" fmla="*/ 3362325 h 4496940"/>
              <a:gd name="connsiteX37" fmla="*/ 4183402 w 4519987"/>
              <a:gd name="connsiteY37" fmla="*/ 3400425 h 4496940"/>
              <a:gd name="connsiteX38" fmla="*/ 4164352 w 4519987"/>
              <a:gd name="connsiteY38" fmla="*/ 3429000 h 4496940"/>
              <a:gd name="connsiteX39" fmla="*/ 4088152 w 4519987"/>
              <a:gd name="connsiteY39" fmla="*/ 3495675 h 4496940"/>
              <a:gd name="connsiteX40" fmla="*/ 4059577 w 4519987"/>
              <a:gd name="connsiteY40" fmla="*/ 3533775 h 4496940"/>
              <a:gd name="connsiteX41" fmla="*/ 4002427 w 4519987"/>
              <a:gd name="connsiteY41" fmla="*/ 3600450 h 4496940"/>
              <a:gd name="connsiteX42" fmla="*/ 3983377 w 4519987"/>
              <a:gd name="connsiteY42" fmla="*/ 3629025 h 4496940"/>
              <a:gd name="connsiteX43" fmla="*/ 3954802 w 4519987"/>
              <a:gd name="connsiteY43" fmla="*/ 3648075 h 4496940"/>
              <a:gd name="connsiteX44" fmla="*/ 3907177 w 4519987"/>
              <a:gd name="connsiteY44" fmla="*/ 3686175 h 4496940"/>
              <a:gd name="connsiteX45" fmla="*/ 3869077 w 4519987"/>
              <a:gd name="connsiteY45" fmla="*/ 3724275 h 4496940"/>
              <a:gd name="connsiteX46" fmla="*/ 3792877 w 4519987"/>
              <a:gd name="connsiteY46" fmla="*/ 3781425 h 4496940"/>
              <a:gd name="connsiteX47" fmla="*/ 3783352 w 4519987"/>
              <a:gd name="connsiteY47" fmla="*/ 3810000 h 4496940"/>
              <a:gd name="connsiteX48" fmla="*/ 3745252 w 4519987"/>
              <a:gd name="connsiteY48" fmla="*/ 3819525 h 4496940"/>
              <a:gd name="connsiteX49" fmla="*/ 3678577 w 4519987"/>
              <a:gd name="connsiteY49" fmla="*/ 3848100 h 4496940"/>
              <a:gd name="connsiteX50" fmla="*/ 3659527 w 4519987"/>
              <a:gd name="connsiteY50" fmla="*/ 3971925 h 4496940"/>
              <a:gd name="connsiteX51" fmla="*/ 3630952 w 4519987"/>
              <a:gd name="connsiteY51" fmla="*/ 4010025 h 4496940"/>
              <a:gd name="connsiteX52" fmla="*/ 3621427 w 4519987"/>
              <a:gd name="connsiteY52" fmla="*/ 4038600 h 4496940"/>
              <a:gd name="connsiteX53" fmla="*/ 3554752 w 4519987"/>
              <a:gd name="connsiteY53" fmla="*/ 4095750 h 4496940"/>
              <a:gd name="connsiteX54" fmla="*/ 3516652 w 4519987"/>
              <a:gd name="connsiteY54" fmla="*/ 4114800 h 4496940"/>
              <a:gd name="connsiteX55" fmla="*/ 3497602 w 4519987"/>
              <a:gd name="connsiteY55" fmla="*/ 4143375 h 4496940"/>
              <a:gd name="connsiteX56" fmla="*/ 3383302 w 4519987"/>
              <a:gd name="connsiteY56" fmla="*/ 4210050 h 4496940"/>
              <a:gd name="connsiteX57" fmla="*/ 3335677 w 4519987"/>
              <a:gd name="connsiteY57" fmla="*/ 4238625 h 4496940"/>
              <a:gd name="connsiteX58" fmla="*/ 3288052 w 4519987"/>
              <a:gd name="connsiteY58" fmla="*/ 4248150 h 4496940"/>
              <a:gd name="connsiteX59" fmla="*/ 3240427 w 4519987"/>
              <a:gd name="connsiteY59" fmla="*/ 4267200 h 4496940"/>
              <a:gd name="connsiteX60" fmla="*/ 3068977 w 4519987"/>
              <a:gd name="connsiteY60" fmla="*/ 4286250 h 4496940"/>
              <a:gd name="connsiteX61" fmla="*/ 2935627 w 4519987"/>
              <a:gd name="connsiteY61" fmla="*/ 4333875 h 4496940"/>
              <a:gd name="connsiteX62" fmla="*/ 2811802 w 4519987"/>
              <a:gd name="connsiteY62" fmla="*/ 4371975 h 4496940"/>
              <a:gd name="connsiteX63" fmla="*/ 2745127 w 4519987"/>
              <a:gd name="connsiteY63" fmla="*/ 4410075 h 4496940"/>
              <a:gd name="connsiteX64" fmla="*/ 2697502 w 4519987"/>
              <a:gd name="connsiteY64" fmla="*/ 4429125 h 4496940"/>
              <a:gd name="connsiteX65" fmla="*/ 2640352 w 4519987"/>
              <a:gd name="connsiteY65" fmla="*/ 4457700 h 4496940"/>
              <a:gd name="connsiteX66" fmla="*/ 2583202 w 4519987"/>
              <a:gd name="connsiteY66" fmla="*/ 4467225 h 4496940"/>
              <a:gd name="connsiteX67" fmla="*/ 2545102 w 4519987"/>
              <a:gd name="connsiteY67" fmla="*/ 4486275 h 4496940"/>
              <a:gd name="connsiteX68" fmla="*/ 2306977 w 4519987"/>
              <a:gd name="connsiteY68" fmla="*/ 4476750 h 4496940"/>
              <a:gd name="connsiteX69" fmla="*/ 2202202 w 4519987"/>
              <a:gd name="connsiteY69" fmla="*/ 4457700 h 4496940"/>
              <a:gd name="connsiteX70" fmla="*/ 2126002 w 4519987"/>
              <a:gd name="connsiteY70" fmla="*/ 4429125 h 4496940"/>
              <a:gd name="connsiteX71" fmla="*/ 1935502 w 4519987"/>
              <a:gd name="connsiteY71" fmla="*/ 4400550 h 4496940"/>
              <a:gd name="connsiteX72" fmla="*/ 1821202 w 4519987"/>
              <a:gd name="connsiteY72" fmla="*/ 4371975 h 4496940"/>
              <a:gd name="connsiteX73" fmla="*/ 1754527 w 4519987"/>
              <a:gd name="connsiteY73" fmla="*/ 4352925 h 4496940"/>
              <a:gd name="connsiteX74" fmla="*/ 1687852 w 4519987"/>
              <a:gd name="connsiteY74" fmla="*/ 4343400 h 4496940"/>
              <a:gd name="connsiteX75" fmla="*/ 1573552 w 4519987"/>
              <a:gd name="connsiteY75" fmla="*/ 4305300 h 4496940"/>
              <a:gd name="connsiteX76" fmla="*/ 1402102 w 4519987"/>
              <a:gd name="connsiteY76" fmla="*/ 4276725 h 4496940"/>
              <a:gd name="connsiteX77" fmla="*/ 1287802 w 4519987"/>
              <a:gd name="connsiteY77" fmla="*/ 4229100 h 4496940"/>
              <a:gd name="connsiteX78" fmla="*/ 1221127 w 4519987"/>
              <a:gd name="connsiteY78" fmla="*/ 4200525 h 4496940"/>
              <a:gd name="connsiteX79" fmla="*/ 1144927 w 4519987"/>
              <a:gd name="connsiteY79" fmla="*/ 4171950 h 4496940"/>
              <a:gd name="connsiteX80" fmla="*/ 1087777 w 4519987"/>
              <a:gd name="connsiteY80" fmla="*/ 4143375 h 4496940"/>
              <a:gd name="connsiteX81" fmla="*/ 1030627 w 4519987"/>
              <a:gd name="connsiteY81" fmla="*/ 4124325 h 4496940"/>
              <a:gd name="connsiteX82" fmla="*/ 925852 w 4519987"/>
              <a:gd name="connsiteY82" fmla="*/ 4067175 h 4496940"/>
              <a:gd name="connsiteX83" fmla="*/ 830602 w 4519987"/>
              <a:gd name="connsiteY83" fmla="*/ 3981450 h 4496940"/>
              <a:gd name="connsiteX84" fmla="*/ 763927 w 4519987"/>
              <a:gd name="connsiteY84" fmla="*/ 3914775 h 4496940"/>
              <a:gd name="connsiteX85" fmla="*/ 725827 w 4519987"/>
              <a:gd name="connsiteY85" fmla="*/ 3876675 h 4496940"/>
              <a:gd name="connsiteX86" fmla="*/ 697252 w 4519987"/>
              <a:gd name="connsiteY86" fmla="*/ 3838575 h 4496940"/>
              <a:gd name="connsiteX87" fmla="*/ 640102 w 4519987"/>
              <a:gd name="connsiteY87" fmla="*/ 3781425 h 4496940"/>
              <a:gd name="connsiteX88" fmla="*/ 611527 w 4519987"/>
              <a:gd name="connsiteY88" fmla="*/ 3733800 h 4496940"/>
              <a:gd name="connsiteX89" fmla="*/ 554377 w 4519987"/>
              <a:gd name="connsiteY89" fmla="*/ 3657600 h 4496940"/>
              <a:gd name="connsiteX90" fmla="*/ 525802 w 4519987"/>
              <a:gd name="connsiteY90" fmla="*/ 3609975 h 4496940"/>
              <a:gd name="connsiteX91" fmla="*/ 497227 w 4519987"/>
              <a:gd name="connsiteY91" fmla="*/ 3552825 h 4496940"/>
              <a:gd name="connsiteX92" fmla="*/ 440077 w 4519987"/>
              <a:gd name="connsiteY92" fmla="*/ 3495675 h 4496940"/>
              <a:gd name="connsiteX93" fmla="*/ 411502 w 4519987"/>
              <a:gd name="connsiteY93" fmla="*/ 3448050 h 4496940"/>
              <a:gd name="connsiteX94" fmla="*/ 278152 w 4519987"/>
              <a:gd name="connsiteY94" fmla="*/ 3257550 h 4496940"/>
              <a:gd name="connsiteX95" fmla="*/ 249577 w 4519987"/>
              <a:gd name="connsiteY95" fmla="*/ 3200400 h 4496940"/>
              <a:gd name="connsiteX96" fmla="*/ 240052 w 4519987"/>
              <a:gd name="connsiteY96" fmla="*/ 3162300 h 4496940"/>
              <a:gd name="connsiteX97" fmla="*/ 221002 w 4519987"/>
              <a:gd name="connsiteY97" fmla="*/ 3105150 h 4496940"/>
              <a:gd name="connsiteX98" fmla="*/ 173377 w 4519987"/>
              <a:gd name="connsiteY98" fmla="*/ 3019425 h 4496940"/>
              <a:gd name="connsiteX99" fmla="*/ 144802 w 4519987"/>
              <a:gd name="connsiteY99" fmla="*/ 2924175 h 4496940"/>
              <a:gd name="connsiteX100" fmla="*/ 68602 w 4519987"/>
              <a:gd name="connsiteY100" fmla="*/ 2724150 h 4496940"/>
              <a:gd name="connsiteX101" fmla="*/ 49552 w 4519987"/>
              <a:gd name="connsiteY101" fmla="*/ 2638425 h 4496940"/>
              <a:gd name="connsiteX102" fmla="*/ 40027 w 4519987"/>
              <a:gd name="connsiteY102" fmla="*/ 2562225 h 4496940"/>
              <a:gd name="connsiteX103" fmla="*/ 30502 w 4519987"/>
              <a:gd name="connsiteY103" fmla="*/ 2514600 h 4496940"/>
              <a:gd name="connsiteX104" fmla="*/ 11452 w 4519987"/>
              <a:gd name="connsiteY104" fmla="*/ 2400300 h 4496940"/>
              <a:gd name="connsiteX105" fmla="*/ 20977 w 4519987"/>
              <a:gd name="connsiteY105" fmla="*/ 1905000 h 4496940"/>
              <a:gd name="connsiteX106" fmla="*/ 30502 w 4519987"/>
              <a:gd name="connsiteY106" fmla="*/ 1838325 h 4496940"/>
              <a:gd name="connsiteX107" fmla="*/ 49552 w 4519987"/>
              <a:gd name="connsiteY107" fmla="*/ 1781175 h 4496940"/>
              <a:gd name="connsiteX108" fmla="*/ 59077 w 4519987"/>
              <a:gd name="connsiteY108" fmla="*/ 1743075 h 4496940"/>
              <a:gd name="connsiteX109" fmla="*/ 78127 w 4519987"/>
              <a:gd name="connsiteY109" fmla="*/ 1685925 h 4496940"/>
              <a:gd name="connsiteX110" fmla="*/ 87652 w 4519987"/>
              <a:gd name="connsiteY110" fmla="*/ 1638300 h 4496940"/>
              <a:gd name="connsiteX111" fmla="*/ 106702 w 4519987"/>
              <a:gd name="connsiteY111" fmla="*/ 1590675 h 4496940"/>
              <a:gd name="connsiteX112" fmla="*/ 135277 w 4519987"/>
              <a:gd name="connsiteY112" fmla="*/ 1504950 h 4496940"/>
              <a:gd name="connsiteX113" fmla="*/ 154327 w 4519987"/>
              <a:gd name="connsiteY113" fmla="*/ 1419225 h 4496940"/>
              <a:gd name="connsiteX114" fmla="*/ 230527 w 4519987"/>
              <a:gd name="connsiteY114" fmla="*/ 1276350 h 4496940"/>
              <a:gd name="connsiteX115" fmla="*/ 240052 w 4519987"/>
              <a:gd name="connsiteY115" fmla="*/ 1247775 h 4496940"/>
              <a:gd name="connsiteX116" fmla="*/ 268627 w 4519987"/>
              <a:gd name="connsiteY116" fmla="*/ 1200150 h 4496940"/>
              <a:gd name="connsiteX117" fmla="*/ 287677 w 4519987"/>
              <a:gd name="connsiteY117" fmla="*/ 1152525 h 4496940"/>
              <a:gd name="connsiteX118" fmla="*/ 316252 w 4519987"/>
              <a:gd name="connsiteY118" fmla="*/ 1114425 h 4496940"/>
              <a:gd name="connsiteX119" fmla="*/ 363877 w 4519987"/>
              <a:gd name="connsiteY119" fmla="*/ 1038225 h 4496940"/>
              <a:gd name="connsiteX120" fmla="*/ 382927 w 4519987"/>
              <a:gd name="connsiteY120" fmla="*/ 1009650 h 4496940"/>
              <a:gd name="connsiteX121" fmla="*/ 440077 w 4519987"/>
              <a:gd name="connsiteY121" fmla="*/ 904875 h 4496940"/>
              <a:gd name="connsiteX122" fmla="*/ 478177 w 4519987"/>
              <a:gd name="connsiteY122" fmla="*/ 857250 h 4496940"/>
              <a:gd name="connsiteX123" fmla="*/ 497227 w 4519987"/>
              <a:gd name="connsiteY123" fmla="*/ 828675 h 4496940"/>
              <a:gd name="connsiteX124" fmla="*/ 535327 w 4519987"/>
              <a:gd name="connsiteY124" fmla="*/ 800100 h 4496940"/>
              <a:gd name="connsiteX125" fmla="*/ 602002 w 4519987"/>
              <a:gd name="connsiteY125" fmla="*/ 733425 h 4496940"/>
              <a:gd name="connsiteX126" fmla="*/ 668677 w 4519987"/>
              <a:gd name="connsiteY126" fmla="*/ 676275 h 4496940"/>
              <a:gd name="connsiteX127" fmla="*/ 697252 w 4519987"/>
              <a:gd name="connsiteY127" fmla="*/ 657225 h 4496940"/>
              <a:gd name="connsiteX128" fmla="*/ 840127 w 4519987"/>
              <a:gd name="connsiteY128" fmla="*/ 533400 h 4496940"/>
              <a:gd name="connsiteX129" fmla="*/ 887752 w 4519987"/>
              <a:gd name="connsiteY129" fmla="*/ 504825 h 4496940"/>
              <a:gd name="connsiteX130" fmla="*/ 1167152 w 4519987"/>
              <a:gd name="connsiteY130" fmla="*/ 311150 h 4496940"/>
              <a:gd name="connsiteX131" fmla="*/ 1268752 w 4519987"/>
              <a:gd name="connsiteY131" fmla="*/ 285750 h 4496940"/>
              <a:gd name="connsiteX132" fmla="*/ 1411627 w 4519987"/>
              <a:gd name="connsiteY132" fmla="*/ 190500 h 4496940"/>
              <a:gd name="connsiteX133" fmla="*/ 1449727 w 4519987"/>
              <a:gd name="connsiteY133" fmla="*/ 161925 h 4496940"/>
              <a:gd name="connsiteX134" fmla="*/ 1525927 w 4519987"/>
              <a:gd name="connsiteY134" fmla="*/ 152400 h 4496940"/>
              <a:gd name="connsiteX135" fmla="*/ 1583077 w 4519987"/>
              <a:gd name="connsiteY135" fmla="*/ 142875 h 4496940"/>
              <a:gd name="connsiteX136" fmla="*/ 1716427 w 4519987"/>
              <a:gd name="connsiteY136" fmla="*/ 123825 h 4496940"/>
              <a:gd name="connsiteX137" fmla="*/ 1811677 w 4519987"/>
              <a:gd name="connsiteY137" fmla="*/ 114300 h 4496940"/>
              <a:gd name="connsiteX138" fmla="*/ 1859302 w 4519987"/>
              <a:gd name="connsiteY138" fmla="*/ 104775 h 4496940"/>
              <a:gd name="connsiteX139" fmla="*/ 1916452 w 4519987"/>
              <a:gd name="connsiteY139" fmla="*/ 95250 h 4496940"/>
              <a:gd name="connsiteX140" fmla="*/ 2030752 w 4519987"/>
              <a:gd name="connsiteY140" fmla="*/ 66675 h 4496940"/>
              <a:gd name="connsiteX141" fmla="*/ 2097427 w 4519987"/>
              <a:gd name="connsiteY141" fmla="*/ 47625 h 4496940"/>
              <a:gd name="connsiteX142" fmla="*/ 2164102 w 4519987"/>
              <a:gd name="connsiteY142" fmla="*/ 38100 h 4496940"/>
              <a:gd name="connsiteX143" fmla="*/ 2392702 w 4519987"/>
              <a:gd name="connsiteY14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02477 w 4519987"/>
              <a:gd name="connsiteY27" fmla="*/ 1590675 h 4496940"/>
              <a:gd name="connsiteX28" fmla="*/ 4431052 w 4519987"/>
              <a:gd name="connsiteY28" fmla="*/ 1685925 h 4496940"/>
              <a:gd name="connsiteX29" fmla="*/ 4519952 w 4519987"/>
              <a:gd name="connsiteY29" fmla="*/ 2181225 h 4496940"/>
              <a:gd name="connsiteX30" fmla="*/ 4446927 w 4519987"/>
              <a:gd name="connsiteY30" fmla="*/ 2768600 h 4496940"/>
              <a:gd name="connsiteX31" fmla="*/ 4383427 w 4519987"/>
              <a:gd name="connsiteY31" fmla="*/ 2990850 h 4496940"/>
              <a:gd name="connsiteX32" fmla="*/ 4278652 w 4519987"/>
              <a:gd name="connsiteY32" fmla="*/ 3248025 h 4496940"/>
              <a:gd name="connsiteX33" fmla="*/ 4259602 w 4519987"/>
              <a:gd name="connsiteY33" fmla="*/ 3276600 h 4496940"/>
              <a:gd name="connsiteX34" fmla="*/ 4221502 w 4519987"/>
              <a:gd name="connsiteY34" fmla="*/ 3333750 h 4496940"/>
              <a:gd name="connsiteX35" fmla="*/ 4211977 w 4519987"/>
              <a:gd name="connsiteY35" fmla="*/ 3362325 h 4496940"/>
              <a:gd name="connsiteX36" fmla="*/ 4183402 w 4519987"/>
              <a:gd name="connsiteY36" fmla="*/ 3400425 h 4496940"/>
              <a:gd name="connsiteX37" fmla="*/ 4164352 w 4519987"/>
              <a:gd name="connsiteY37" fmla="*/ 3429000 h 4496940"/>
              <a:gd name="connsiteX38" fmla="*/ 4088152 w 4519987"/>
              <a:gd name="connsiteY38" fmla="*/ 3495675 h 4496940"/>
              <a:gd name="connsiteX39" fmla="*/ 4059577 w 4519987"/>
              <a:gd name="connsiteY39" fmla="*/ 3533775 h 4496940"/>
              <a:gd name="connsiteX40" fmla="*/ 4002427 w 4519987"/>
              <a:gd name="connsiteY40" fmla="*/ 3600450 h 4496940"/>
              <a:gd name="connsiteX41" fmla="*/ 3983377 w 4519987"/>
              <a:gd name="connsiteY41" fmla="*/ 3629025 h 4496940"/>
              <a:gd name="connsiteX42" fmla="*/ 3954802 w 4519987"/>
              <a:gd name="connsiteY42" fmla="*/ 3648075 h 4496940"/>
              <a:gd name="connsiteX43" fmla="*/ 3907177 w 4519987"/>
              <a:gd name="connsiteY43" fmla="*/ 3686175 h 4496940"/>
              <a:gd name="connsiteX44" fmla="*/ 3869077 w 4519987"/>
              <a:gd name="connsiteY44" fmla="*/ 3724275 h 4496940"/>
              <a:gd name="connsiteX45" fmla="*/ 3792877 w 4519987"/>
              <a:gd name="connsiteY45" fmla="*/ 3781425 h 4496940"/>
              <a:gd name="connsiteX46" fmla="*/ 3783352 w 4519987"/>
              <a:gd name="connsiteY46" fmla="*/ 3810000 h 4496940"/>
              <a:gd name="connsiteX47" fmla="*/ 3745252 w 4519987"/>
              <a:gd name="connsiteY47" fmla="*/ 3819525 h 4496940"/>
              <a:gd name="connsiteX48" fmla="*/ 3678577 w 4519987"/>
              <a:gd name="connsiteY48" fmla="*/ 3848100 h 4496940"/>
              <a:gd name="connsiteX49" fmla="*/ 3659527 w 4519987"/>
              <a:gd name="connsiteY49" fmla="*/ 3971925 h 4496940"/>
              <a:gd name="connsiteX50" fmla="*/ 3630952 w 4519987"/>
              <a:gd name="connsiteY50" fmla="*/ 4010025 h 4496940"/>
              <a:gd name="connsiteX51" fmla="*/ 3621427 w 4519987"/>
              <a:gd name="connsiteY51" fmla="*/ 4038600 h 4496940"/>
              <a:gd name="connsiteX52" fmla="*/ 3554752 w 4519987"/>
              <a:gd name="connsiteY52" fmla="*/ 4095750 h 4496940"/>
              <a:gd name="connsiteX53" fmla="*/ 3516652 w 4519987"/>
              <a:gd name="connsiteY53" fmla="*/ 4114800 h 4496940"/>
              <a:gd name="connsiteX54" fmla="*/ 3497602 w 4519987"/>
              <a:gd name="connsiteY54" fmla="*/ 4143375 h 4496940"/>
              <a:gd name="connsiteX55" fmla="*/ 3383302 w 4519987"/>
              <a:gd name="connsiteY55" fmla="*/ 4210050 h 4496940"/>
              <a:gd name="connsiteX56" fmla="*/ 3335677 w 4519987"/>
              <a:gd name="connsiteY56" fmla="*/ 4238625 h 4496940"/>
              <a:gd name="connsiteX57" fmla="*/ 3288052 w 4519987"/>
              <a:gd name="connsiteY57" fmla="*/ 4248150 h 4496940"/>
              <a:gd name="connsiteX58" fmla="*/ 3240427 w 4519987"/>
              <a:gd name="connsiteY58" fmla="*/ 4267200 h 4496940"/>
              <a:gd name="connsiteX59" fmla="*/ 3068977 w 4519987"/>
              <a:gd name="connsiteY59" fmla="*/ 4286250 h 4496940"/>
              <a:gd name="connsiteX60" fmla="*/ 2935627 w 4519987"/>
              <a:gd name="connsiteY60" fmla="*/ 4333875 h 4496940"/>
              <a:gd name="connsiteX61" fmla="*/ 2811802 w 4519987"/>
              <a:gd name="connsiteY61" fmla="*/ 4371975 h 4496940"/>
              <a:gd name="connsiteX62" fmla="*/ 2745127 w 4519987"/>
              <a:gd name="connsiteY62" fmla="*/ 4410075 h 4496940"/>
              <a:gd name="connsiteX63" fmla="*/ 2697502 w 4519987"/>
              <a:gd name="connsiteY63" fmla="*/ 4429125 h 4496940"/>
              <a:gd name="connsiteX64" fmla="*/ 2640352 w 4519987"/>
              <a:gd name="connsiteY64" fmla="*/ 4457700 h 4496940"/>
              <a:gd name="connsiteX65" fmla="*/ 2583202 w 4519987"/>
              <a:gd name="connsiteY65" fmla="*/ 4467225 h 4496940"/>
              <a:gd name="connsiteX66" fmla="*/ 2545102 w 4519987"/>
              <a:gd name="connsiteY66" fmla="*/ 4486275 h 4496940"/>
              <a:gd name="connsiteX67" fmla="*/ 2306977 w 4519987"/>
              <a:gd name="connsiteY67" fmla="*/ 4476750 h 4496940"/>
              <a:gd name="connsiteX68" fmla="*/ 2202202 w 4519987"/>
              <a:gd name="connsiteY68" fmla="*/ 4457700 h 4496940"/>
              <a:gd name="connsiteX69" fmla="*/ 2126002 w 4519987"/>
              <a:gd name="connsiteY69" fmla="*/ 4429125 h 4496940"/>
              <a:gd name="connsiteX70" fmla="*/ 1935502 w 4519987"/>
              <a:gd name="connsiteY70" fmla="*/ 4400550 h 4496940"/>
              <a:gd name="connsiteX71" fmla="*/ 1821202 w 4519987"/>
              <a:gd name="connsiteY71" fmla="*/ 4371975 h 4496940"/>
              <a:gd name="connsiteX72" fmla="*/ 1754527 w 4519987"/>
              <a:gd name="connsiteY72" fmla="*/ 4352925 h 4496940"/>
              <a:gd name="connsiteX73" fmla="*/ 1687852 w 4519987"/>
              <a:gd name="connsiteY73" fmla="*/ 4343400 h 4496940"/>
              <a:gd name="connsiteX74" fmla="*/ 1573552 w 4519987"/>
              <a:gd name="connsiteY74" fmla="*/ 4305300 h 4496940"/>
              <a:gd name="connsiteX75" fmla="*/ 1402102 w 4519987"/>
              <a:gd name="connsiteY75" fmla="*/ 4276725 h 4496940"/>
              <a:gd name="connsiteX76" fmla="*/ 1287802 w 4519987"/>
              <a:gd name="connsiteY76" fmla="*/ 4229100 h 4496940"/>
              <a:gd name="connsiteX77" fmla="*/ 1221127 w 4519987"/>
              <a:gd name="connsiteY77" fmla="*/ 4200525 h 4496940"/>
              <a:gd name="connsiteX78" fmla="*/ 1144927 w 4519987"/>
              <a:gd name="connsiteY78" fmla="*/ 4171950 h 4496940"/>
              <a:gd name="connsiteX79" fmla="*/ 1087777 w 4519987"/>
              <a:gd name="connsiteY79" fmla="*/ 4143375 h 4496940"/>
              <a:gd name="connsiteX80" fmla="*/ 1030627 w 4519987"/>
              <a:gd name="connsiteY80" fmla="*/ 4124325 h 4496940"/>
              <a:gd name="connsiteX81" fmla="*/ 925852 w 4519987"/>
              <a:gd name="connsiteY81" fmla="*/ 4067175 h 4496940"/>
              <a:gd name="connsiteX82" fmla="*/ 830602 w 4519987"/>
              <a:gd name="connsiteY82" fmla="*/ 3981450 h 4496940"/>
              <a:gd name="connsiteX83" fmla="*/ 763927 w 4519987"/>
              <a:gd name="connsiteY83" fmla="*/ 3914775 h 4496940"/>
              <a:gd name="connsiteX84" fmla="*/ 725827 w 4519987"/>
              <a:gd name="connsiteY84" fmla="*/ 3876675 h 4496940"/>
              <a:gd name="connsiteX85" fmla="*/ 697252 w 4519987"/>
              <a:gd name="connsiteY85" fmla="*/ 3838575 h 4496940"/>
              <a:gd name="connsiteX86" fmla="*/ 640102 w 4519987"/>
              <a:gd name="connsiteY86" fmla="*/ 3781425 h 4496940"/>
              <a:gd name="connsiteX87" fmla="*/ 611527 w 4519987"/>
              <a:gd name="connsiteY87" fmla="*/ 3733800 h 4496940"/>
              <a:gd name="connsiteX88" fmla="*/ 554377 w 4519987"/>
              <a:gd name="connsiteY88" fmla="*/ 3657600 h 4496940"/>
              <a:gd name="connsiteX89" fmla="*/ 525802 w 4519987"/>
              <a:gd name="connsiteY89" fmla="*/ 3609975 h 4496940"/>
              <a:gd name="connsiteX90" fmla="*/ 497227 w 4519987"/>
              <a:gd name="connsiteY90" fmla="*/ 3552825 h 4496940"/>
              <a:gd name="connsiteX91" fmla="*/ 440077 w 4519987"/>
              <a:gd name="connsiteY91" fmla="*/ 3495675 h 4496940"/>
              <a:gd name="connsiteX92" fmla="*/ 411502 w 4519987"/>
              <a:gd name="connsiteY92" fmla="*/ 3448050 h 4496940"/>
              <a:gd name="connsiteX93" fmla="*/ 278152 w 4519987"/>
              <a:gd name="connsiteY93" fmla="*/ 3257550 h 4496940"/>
              <a:gd name="connsiteX94" fmla="*/ 249577 w 4519987"/>
              <a:gd name="connsiteY94" fmla="*/ 3200400 h 4496940"/>
              <a:gd name="connsiteX95" fmla="*/ 240052 w 4519987"/>
              <a:gd name="connsiteY95" fmla="*/ 3162300 h 4496940"/>
              <a:gd name="connsiteX96" fmla="*/ 221002 w 4519987"/>
              <a:gd name="connsiteY96" fmla="*/ 3105150 h 4496940"/>
              <a:gd name="connsiteX97" fmla="*/ 173377 w 4519987"/>
              <a:gd name="connsiteY97" fmla="*/ 3019425 h 4496940"/>
              <a:gd name="connsiteX98" fmla="*/ 144802 w 4519987"/>
              <a:gd name="connsiteY98" fmla="*/ 2924175 h 4496940"/>
              <a:gd name="connsiteX99" fmla="*/ 68602 w 4519987"/>
              <a:gd name="connsiteY99" fmla="*/ 2724150 h 4496940"/>
              <a:gd name="connsiteX100" fmla="*/ 49552 w 4519987"/>
              <a:gd name="connsiteY100" fmla="*/ 2638425 h 4496940"/>
              <a:gd name="connsiteX101" fmla="*/ 40027 w 4519987"/>
              <a:gd name="connsiteY101" fmla="*/ 2562225 h 4496940"/>
              <a:gd name="connsiteX102" fmla="*/ 30502 w 4519987"/>
              <a:gd name="connsiteY102" fmla="*/ 2514600 h 4496940"/>
              <a:gd name="connsiteX103" fmla="*/ 11452 w 4519987"/>
              <a:gd name="connsiteY103" fmla="*/ 2400300 h 4496940"/>
              <a:gd name="connsiteX104" fmla="*/ 20977 w 4519987"/>
              <a:gd name="connsiteY104" fmla="*/ 1905000 h 4496940"/>
              <a:gd name="connsiteX105" fmla="*/ 30502 w 4519987"/>
              <a:gd name="connsiteY105" fmla="*/ 1838325 h 4496940"/>
              <a:gd name="connsiteX106" fmla="*/ 49552 w 4519987"/>
              <a:gd name="connsiteY106" fmla="*/ 1781175 h 4496940"/>
              <a:gd name="connsiteX107" fmla="*/ 59077 w 4519987"/>
              <a:gd name="connsiteY107" fmla="*/ 1743075 h 4496940"/>
              <a:gd name="connsiteX108" fmla="*/ 78127 w 4519987"/>
              <a:gd name="connsiteY108" fmla="*/ 1685925 h 4496940"/>
              <a:gd name="connsiteX109" fmla="*/ 87652 w 4519987"/>
              <a:gd name="connsiteY109" fmla="*/ 1638300 h 4496940"/>
              <a:gd name="connsiteX110" fmla="*/ 106702 w 4519987"/>
              <a:gd name="connsiteY110" fmla="*/ 1590675 h 4496940"/>
              <a:gd name="connsiteX111" fmla="*/ 135277 w 4519987"/>
              <a:gd name="connsiteY111" fmla="*/ 1504950 h 4496940"/>
              <a:gd name="connsiteX112" fmla="*/ 154327 w 4519987"/>
              <a:gd name="connsiteY112" fmla="*/ 1419225 h 4496940"/>
              <a:gd name="connsiteX113" fmla="*/ 230527 w 4519987"/>
              <a:gd name="connsiteY113" fmla="*/ 1276350 h 4496940"/>
              <a:gd name="connsiteX114" fmla="*/ 240052 w 4519987"/>
              <a:gd name="connsiteY114" fmla="*/ 1247775 h 4496940"/>
              <a:gd name="connsiteX115" fmla="*/ 268627 w 4519987"/>
              <a:gd name="connsiteY115" fmla="*/ 1200150 h 4496940"/>
              <a:gd name="connsiteX116" fmla="*/ 287677 w 4519987"/>
              <a:gd name="connsiteY116" fmla="*/ 1152525 h 4496940"/>
              <a:gd name="connsiteX117" fmla="*/ 316252 w 4519987"/>
              <a:gd name="connsiteY117" fmla="*/ 1114425 h 4496940"/>
              <a:gd name="connsiteX118" fmla="*/ 363877 w 4519987"/>
              <a:gd name="connsiteY118" fmla="*/ 1038225 h 4496940"/>
              <a:gd name="connsiteX119" fmla="*/ 382927 w 4519987"/>
              <a:gd name="connsiteY119" fmla="*/ 1009650 h 4496940"/>
              <a:gd name="connsiteX120" fmla="*/ 440077 w 4519987"/>
              <a:gd name="connsiteY120" fmla="*/ 904875 h 4496940"/>
              <a:gd name="connsiteX121" fmla="*/ 478177 w 4519987"/>
              <a:gd name="connsiteY121" fmla="*/ 857250 h 4496940"/>
              <a:gd name="connsiteX122" fmla="*/ 497227 w 4519987"/>
              <a:gd name="connsiteY122" fmla="*/ 828675 h 4496940"/>
              <a:gd name="connsiteX123" fmla="*/ 535327 w 4519987"/>
              <a:gd name="connsiteY123" fmla="*/ 800100 h 4496940"/>
              <a:gd name="connsiteX124" fmla="*/ 602002 w 4519987"/>
              <a:gd name="connsiteY124" fmla="*/ 733425 h 4496940"/>
              <a:gd name="connsiteX125" fmla="*/ 668677 w 4519987"/>
              <a:gd name="connsiteY125" fmla="*/ 676275 h 4496940"/>
              <a:gd name="connsiteX126" fmla="*/ 697252 w 4519987"/>
              <a:gd name="connsiteY126" fmla="*/ 657225 h 4496940"/>
              <a:gd name="connsiteX127" fmla="*/ 840127 w 4519987"/>
              <a:gd name="connsiteY127" fmla="*/ 533400 h 4496940"/>
              <a:gd name="connsiteX128" fmla="*/ 887752 w 4519987"/>
              <a:gd name="connsiteY128" fmla="*/ 504825 h 4496940"/>
              <a:gd name="connsiteX129" fmla="*/ 1167152 w 4519987"/>
              <a:gd name="connsiteY129" fmla="*/ 311150 h 4496940"/>
              <a:gd name="connsiteX130" fmla="*/ 1268752 w 4519987"/>
              <a:gd name="connsiteY130" fmla="*/ 285750 h 4496940"/>
              <a:gd name="connsiteX131" fmla="*/ 1411627 w 4519987"/>
              <a:gd name="connsiteY131" fmla="*/ 190500 h 4496940"/>
              <a:gd name="connsiteX132" fmla="*/ 1449727 w 4519987"/>
              <a:gd name="connsiteY132" fmla="*/ 161925 h 4496940"/>
              <a:gd name="connsiteX133" fmla="*/ 1525927 w 4519987"/>
              <a:gd name="connsiteY133" fmla="*/ 152400 h 4496940"/>
              <a:gd name="connsiteX134" fmla="*/ 1583077 w 4519987"/>
              <a:gd name="connsiteY134" fmla="*/ 142875 h 4496940"/>
              <a:gd name="connsiteX135" fmla="*/ 1716427 w 4519987"/>
              <a:gd name="connsiteY135" fmla="*/ 123825 h 4496940"/>
              <a:gd name="connsiteX136" fmla="*/ 1811677 w 4519987"/>
              <a:gd name="connsiteY136" fmla="*/ 114300 h 4496940"/>
              <a:gd name="connsiteX137" fmla="*/ 1859302 w 4519987"/>
              <a:gd name="connsiteY137" fmla="*/ 104775 h 4496940"/>
              <a:gd name="connsiteX138" fmla="*/ 1916452 w 4519987"/>
              <a:gd name="connsiteY138" fmla="*/ 95250 h 4496940"/>
              <a:gd name="connsiteX139" fmla="*/ 2030752 w 4519987"/>
              <a:gd name="connsiteY139" fmla="*/ 66675 h 4496940"/>
              <a:gd name="connsiteX140" fmla="*/ 2097427 w 4519987"/>
              <a:gd name="connsiteY140" fmla="*/ 47625 h 4496940"/>
              <a:gd name="connsiteX141" fmla="*/ 2164102 w 4519987"/>
              <a:gd name="connsiteY141" fmla="*/ 38100 h 4496940"/>
              <a:gd name="connsiteX142" fmla="*/ 2392702 w 4519987"/>
              <a:gd name="connsiteY14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211977 w 4519987"/>
              <a:gd name="connsiteY34" fmla="*/ 3362325 h 4496940"/>
              <a:gd name="connsiteX35" fmla="*/ 4183402 w 4519987"/>
              <a:gd name="connsiteY35" fmla="*/ 3400425 h 4496940"/>
              <a:gd name="connsiteX36" fmla="*/ 4164352 w 4519987"/>
              <a:gd name="connsiteY36" fmla="*/ 3429000 h 4496940"/>
              <a:gd name="connsiteX37" fmla="*/ 4088152 w 4519987"/>
              <a:gd name="connsiteY37" fmla="*/ 3495675 h 4496940"/>
              <a:gd name="connsiteX38" fmla="*/ 4059577 w 4519987"/>
              <a:gd name="connsiteY38" fmla="*/ 3533775 h 4496940"/>
              <a:gd name="connsiteX39" fmla="*/ 4002427 w 4519987"/>
              <a:gd name="connsiteY39" fmla="*/ 3600450 h 4496940"/>
              <a:gd name="connsiteX40" fmla="*/ 3983377 w 4519987"/>
              <a:gd name="connsiteY40" fmla="*/ 3629025 h 4496940"/>
              <a:gd name="connsiteX41" fmla="*/ 3954802 w 4519987"/>
              <a:gd name="connsiteY41" fmla="*/ 3648075 h 4496940"/>
              <a:gd name="connsiteX42" fmla="*/ 3907177 w 4519987"/>
              <a:gd name="connsiteY42" fmla="*/ 3686175 h 4496940"/>
              <a:gd name="connsiteX43" fmla="*/ 3869077 w 4519987"/>
              <a:gd name="connsiteY43" fmla="*/ 3724275 h 4496940"/>
              <a:gd name="connsiteX44" fmla="*/ 3792877 w 4519987"/>
              <a:gd name="connsiteY44" fmla="*/ 3781425 h 4496940"/>
              <a:gd name="connsiteX45" fmla="*/ 3783352 w 4519987"/>
              <a:gd name="connsiteY45" fmla="*/ 3810000 h 4496940"/>
              <a:gd name="connsiteX46" fmla="*/ 3745252 w 4519987"/>
              <a:gd name="connsiteY46" fmla="*/ 3819525 h 4496940"/>
              <a:gd name="connsiteX47" fmla="*/ 3678577 w 4519987"/>
              <a:gd name="connsiteY47" fmla="*/ 3848100 h 4496940"/>
              <a:gd name="connsiteX48" fmla="*/ 3659527 w 4519987"/>
              <a:gd name="connsiteY48" fmla="*/ 3971925 h 4496940"/>
              <a:gd name="connsiteX49" fmla="*/ 3630952 w 4519987"/>
              <a:gd name="connsiteY49" fmla="*/ 4010025 h 4496940"/>
              <a:gd name="connsiteX50" fmla="*/ 3621427 w 4519987"/>
              <a:gd name="connsiteY50" fmla="*/ 4038600 h 4496940"/>
              <a:gd name="connsiteX51" fmla="*/ 3554752 w 4519987"/>
              <a:gd name="connsiteY51" fmla="*/ 4095750 h 4496940"/>
              <a:gd name="connsiteX52" fmla="*/ 3516652 w 4519987"/>
              <a:gd name="connsiteY52" fmla="*/ 4114800 h 4496940"/>
              <a:gd name="connsiteX53" fmla="*/ 3497602 w 4519987"/>
              <a:gd name="connsiteY53" fmla="*/ 4143375 h 4496940"/>
              <a:gd name="connsiteX54" fmla="*/ 3383302 w 4519987"/>
              <a:gd name="connsiteY54" fmla="*/ 4210050 h 4496940"/>
              <a:gd name="connsiteX55" fmla="*/ 3335677 w 4519987"/>
              <a:gd name="connsiteY55" fmla="*/ 4238625 h 4496940"/>
              <a:gd name="connsiteX56" fmla="*/ 3288052 w 4519987"/>
              <a:gd name="connsiteY56" fmla="*/ 4248150 h 4496940"/>
              <a:gd name="connsiteX57" fmla="*/ 3240427 w 4519987"/>
              <a:gd name="connsiteY57" fmla="*/ 4267200 h 4496940"/>
              <a:gd name="connsiteX58" fmla="*/ 3068977 w 4519987"/>
              <a:gd name="connsiteY58" fmla="*/ 4286250 h 4496940"/>
              <a:gd name="connsiteX59" fmla="*/ 2935627 w 4519987"/>
              <a:gd name="connsiteY59" fmla="*/ 4333875 h 4496940"/>
              <a:gd name="connsiteX60" fmla="*/ 2811802 w 4519987"/>
              <a:gd name="connsiteY60" fmla="*/ 4371975 h 4496940"/>
              <a:gd name="connsiteX61" fmla="*/ 2745127 w 4519987"/>
              <a:gd name="connsiteY61" fmla="*/ 4410075 h 4496940"/>
              <a:gd name="connsiteX62" fmla="*/ 2697502 w 4519987"/>
              <a:gd name="connsiteY62" fmla="*/ 4429125 h 4496940"/>
              <a:gd name="connsiteX63" fmla="*/ 2640352 w 4519987"/>
              <a:gd name="connsiteY63" fmla="*/ 4457700 h 4496940"/>
              <a:gd name="connsiteX64" fmla="*/ 2583202 w 4519987"/>
              <a:gd name="connsiteY64" fmla="*/ 4467225 h 4496940"/>
              <a:gd name="connsiteX65" fmla="*/ 2545102 w 4519987"/>
              <a:gd name="connsiteY65" fmla="*/ 4486275 h 4496940"/>
              <a:gd name="connsiteX66" fmla="*/ 2306977 w 4519987"/>
              <a:gd name="connsiteY66" fmla="*/ 4476750 h 4496940"/>
              <a:gd name="connsiteX67" fmla="*/ 2202202 w 4519987"/>
              <a:gd name="connsiteY67" fmla="*/ 4457700 h 4496940"/>
              <a:gd name="connsiteX68" fmla="*/ 2126002 w 4519987"/>
              <a:gd name="connsiteY68" fmla="*/ 4429125 h 4496940"/>
              <a:gd name="connsiteX69" fmla="*/ 1935502 w 4519987"/>
              <a:gd name="connsiteY69" fmla="*/ 4400550 h 4496940"/>
              <a:gd name="connsiteX70" fmla="*/ 1821202 w 4519987"/>
              <a:gd name="connsiteY70" fmla="*/ 4371975 h 4496940"/>
              <a:gd name="connsiteX71" fmla="*/ 1754527 w 4519987"/>
              <a:gd name="connsiteY71" fmla="*/ 4352925 h 4496940"/>
              <a:gd name="connsiteX72" fmla="*/ 1687852 w 4519987"/>
              <a:gd name="connsiteY72" fmla="*/ 4343400 h 4496940"/>
              <a:gd name="connsiteX73" fmla="*/ 1573552 w 4519987"/>
              <a:gd name="connsiteY73" fmla="*/ 4305300 h 4496940"/>
              <a:gd name="connsiteX74" fmla="*/ 1402102 w 4519987"/>
              <a:gd name="connsiteY74" fmla="*/ 4276725 h 4496940"/>
              <a:gd name="connsiteX75" fmla="*/ 1287802 w 4519987"/>
              <a:gd name="connsiteY75" fmla="*/ 4229100 h 4496940"/>
              <a:gd name="connsiteX76" fmla="*/ 1221127 w 4519987"/>
              <a:gd name="connsiteY76" fmla="*/ 4200525 h 4496940"/>
              <a:gd name="connsiteX77" fmla="*/ 1144927 w 4519987"/>
              <a:gd name="connsiteY77" fmla="*/ 4171950 h 4496940"/>
              <a:gd name="connsiteX78" fmla="*/ 1087777 w 4519987"/>
              <a:gd name="connsiteY78" fmla="*/ 4143375 h 4496940"/>
              <a:gd name="connsiteX79" fmla="*/ 1030627 w 4519987"/>
              <a:gd name="connsiteY79" fmla="*/ 4124325 h 4496940"/>
              <a:gd name="connsiteX80" fmla="*/ 925852 w 4519987"/>
              <a:gd name="connsiteY80" fmla="*/ 4067175 h 4496940"/>
              <a:gd name="connsiteX81" fmla="*/ 830602 w 4519987"/>
              <a:gd name="connsiteY81" fmla="*/ 3981450 h 4496940"/>
              <a:gd name="connsiteX82" fmla="*/ 763927 w 4519987"/>
              <a:gd name="connsiteY82" fmla="*/ 3914775 h 4496940"/>
              <a:gd name="connsiteX83" fmla="*/ 725827 w 4519987"/>
              <a:gd name="connsiteY83" fmla="*/ 3876675 h 4496940"/>
              <a:gd name="connsiteX84" fmla="*/ 697252 w 4519987"/>
              <a:gd name="connsiteY84" fmla="*/ 3838575 h 4496940"/>
              <a:gd name="connsiteX85" fmla="*/ 640102 w 4519987"/>
              <a:gd name="connsiteY85" fmla="*/ 3781425 h 4496940"/>
              <a:gd name="connsiteX86" fmla="*/ 611527 w 4519987"/>
              <a:gd name="connsiteY86" fmla="*/ 3733800 h 4496940"/>
              <a:gd name="connsiteX87" fmla="*/ 554377 w 4519987"/>
              <a:gd name="connsiteY87" fmla="*/ 3657600 h 4496940"/>
              <a:gd name="connsiteX88" fmla="*/ 525802 w 4519987"/>
              <a:gd name="connsiteY88" fmla="*/ 3609975 h 4496940"/>
              <a:gd name="connsiteX89" fmla="*/ 497227 w 4519987"/>
              <a:gd name="connsiteY89" fmla="*/ 3552825 h 4496940"/>
              <a:gd name="connsiteX90" fmla="*/ 440077 w 4519987"/>
              <a:gd name="connsiteY90" fmla="*/ 3495675 h 4496940"/>
              <a:gd name="connsiteX91" fmla="*/ 411502 w 4519987"/>
              <a:gd name="connsiteY91" fmla="*/ 3448050 h 4496940"/>
              <a:gd name="connsiteX92" fmla="*/ 278152 w 4519987"/>
              <a:gd name="connsiteY92" fmla="*/ 3257550 h 4496940"/>
              <a:gd name="connsiteX93" fmla="*/ 249577 w 4519987"/>
              <a:gd name="connsiteY93" fmla="*/ 3200400 h 4496940"/>
              <a:gd name="connsiteX94" fmla="*/ 240052 w 4519987"/>
              <a:gd name="connsiteY94" fmla="*/ 3162300 h 4496940"/>
              <a:gd name="connsiteX95" fmla="*/ 221002 w 4519987"/>
              <a:gd name="connsiteY95" fmla="*/ 3105150 h 4496940"/>
              <a:gd name="connsiteX96" fmla="*/ 173377 w 4519987"/>
              <a:gd name="connsiteY96" fmla="*/ 3019425 h 4496940"/>
              <a:gd name="connsiteX97" fmla="*/ 144802 w 4519987"/>
              <a:gd name="connsiteY97" fmla="*/ 2924175 h 4496940"/>
              <a:gd name="connsiteX98" fmla="*/ 68602 w 4519987"/>
              <a:gd name="connsiteY98" fmla="*/ 2724150 h 4496940"/>
              <a:gd name="connsiteX99" fmla="*/ 49552 w 4519987"/>
              <a:gd name="connsiteY99" fmla="*/ 2638425 h 4496940"/>
              <a:gd name="connsiteX100" fmla="*/ 40027 w 4519987"/>
              <a:gd name="connsiteY100" fmla="*/ 2562225 h 4496940"/>
              <a:gd name="connsiteX101" fmla="*/ 30502 w 4519987"/>
              <a:gd name="connsiteY101" fmla="*/ 2514600 h 4496940"/>
              <a:gd name="connsiteX102" fmla="*/ 11452 w 4519987"/>
              <a:gd name="connsiteY102" fmla="*/ 2400300 h 4496940"/>
              <a:gd name="connsiteX103" fmla="*/ 20977 w 4519987"/>
              <a:gd name="connsiteY103" fmla="*/ 1905000 h 4496940"/>
              <a:gd name="connsiteX104" fmla="*/ 30502 w 4519987"/>
              <a:gd name="connsiteY104" fmla="*/ 1838325 h 4496940"/>
              <a:gd name="connsiteX105" fmla="*/ 49552 w 4519987"/>
              <a:gd name="connsiteY105" fmla="*/ 1781175 h 4496940"/>
              <a:gd name="connsiteX106" fmla="*/ 59077 w 4519987"/>
              <a:gd name="connsiteY106" fmla="*/ 1743075 h 4496940"/>
              <a:gd name="connsiteX107" fmla="*/ 78127 w 4519987"/>
              <a:gd name="connsiteY107" fmla="*/ 1685925 h 4496940"/>
              <a:gd name="connsiteX108" fmla="*/ 87652 w 4519987"/>
              <a:gd name="connsiteY108" fmla="*/ 1638300 h 4496940"/>
              <a:gd name="connsiteX109" fmla="*/ 106702 w 4519987"/>
              <a:gd name="connsiteY109" fmla="*/ 1590675 h 4496940"/>
              <a:gd name="connsiteX110" fmla="*/ 135277 w 4519987"/>
              <a:gd name="connsiteY110" fmla="*/ 1504950 h 4496940"/>
              <a:gd name="connsiteX111" fmla="*/ 154327 w 4519987"/>
              <a:gd name="connsiteY111" fmla="*/ 1419225 h 4496940"/>
              <a:gd name="connsiteX112" fmla="*/ 230527 w 4519987"/>
              <a:gd name="connsiteY112" fmla="*/ 1276350 h 4496940"/>
              <a:gd name="connsiteX113" fmla="*/ 240052 w 4519987"/>
              <a:gd name="connsiteY113" fmla="*/ 1247775 h 4496940"/>
              <a:gd name="connsiteX114" fmla="*/ 268627 w 4519987"/>
              <a:gd name="connsiteY114" fmla="*/ 1200150 h 4496940"/>
              <a:gd name="connsiteX115" fmla="*/ 287677 w 4519987"/>
              <a:gd name="connsiteY115" fmla="*/ 1152525 h 4496940"/>
              <a:gd name="connsiteX116" fmla="*/ 316252 w 4519987"/>
              <a:gd name="connsiteY116" fmla="*/ 1114425 h 4496940"/>
              <a:gd name="connsiteX117" fmla="*/ 363877 w 4519987"/>
              <a:gd name="connsiteY117" fmla="*/ 1038225 h 4496940"/>
              <a:gd name="connsiteX118" fmla="*/ 382927 w 4519987"/>
              <a:gd name="connsiteY118" fmla="*/ 1009650 h 4496940"/>
              <a:gd name="connsiteX119" fmla="*/ 440077 w 4519987"/>
              <a:gd name="connsiteY119" fmla="*/ 904875 h 4496940"/>
              <a:gd name="connsiteX120" fmla="*/ 478177 w 4519987"/>
              <a:gd name="connsiteY120" fmla="*/ 857250 h 4496940"/>
              <a:gd name="connsiteX121" fmla="*/ 497227 w 4519987"/>
              <a:gd name="connsiteY121" fmla="*/ 828675 h 4496940"/>
              <a:gd name="connsiteX122" fmla="*/ 535327 w 4519987"/>
              <a:gd name="connsiteY122" fmla="*/ 800100 h 4496940"/>
              <a:gd name="connsiteX123" fmla="*/ 602002 w 4519987"/>
              <a:gd name="connsiteY123" fmla="*/ 733425 h 4496940"/>
              <a:gd name="connsiteX124" fmla="*/ 668677 w 4519987"/>
              <a:gd name="connsiteY124" fmla="*/ 676275 h 4496940"/>
              <a:gd name="connsiteX125" fmla="*/ 697252 w 4519987"/>
              <a:gd name="connsiteY125" fmla="*/ 657225 h 4496940"/>
              <a:gd name="connsiteX126" fmla="*/ 840127 w 4519987"/>
              <a:gd name="connsiteY126" fmla="*/ 533400 h 4496940"/>
              <a:gd name="connsiteX127" fmla="*/ 887752 w 4519987"/>
              <a:gd name="connsiteY127" fmla="*/ 504825 h 4496940"/>
              <a:gd name="connsiteX128" fmla="*/ 1167152 w 4519987"/>
              <a:gd name="connsiteY128" fmla="*/ 311150 h 4496940"/>
              <a:gd name="connsiteX129" fmla="*/ 1268752 w 4519987"/>
              <a:gd name="connsiteY129" fmla="*/ 285750 h 4496940"/>
              <a:gd name="connsiteX130" fmla="*/ 1411627 w 4519987"/>
              <a:gd name="connsiteY130" fmla="*/ 190500 h 4496940"/>
              <a:gd name="connsiteX131" fmla="*/ 1449727 w 4519987"/>
              <a:gd name="connsiteY131" fmla="*/ 161925 h 4496940"/>
              <a:gd name="connsiteX132" fmla="*/ 1525927 w 4519987"/>
              <a:gd name="connsiteY132" fmla="*/ 152400 h 4496940"/>
              <a:gd name="connsiteX133" fmla="*/ 1583077 w 4519987"/>
              <a:gd name="connsiteY133" fmla="*/ 142875 h 4496940"/>
              <a:gd name="connsiteX134" fmla="*/ 1716427 w 4519987"/>
              <a:gd name="connsiteY134" fmla="*/ 123825 h 4496940"/>
              <a:gd name="connsiteX135" fmla="*/ 1811677 w 4519987"/>
              <a:gd name="connsiteY135" fmla="*/ 114300 h 4496940"/>
              <a:gd name="connsiteX136" fmla="*/ 1859302 w 4519987"/>
              <a:gd name="connsiteY136" fmla="*/ 104775 h 4496940"/>
              <a:gd name="connsiteX137" fmla="*/ 1916452 w 4519987"/>
              <a:gd name="connsiteY137" fmla="*/ 95250 h 4496940"/>
              <a:gd name="connsiteX138" fmla="*/ 2030752 w 4519987"/>
              <a:gd name="connsiteY138" fmla="*/ 66675 h 4496940"/>
              <a:gd name="connsiteX139" fmla="*/ 2097427 w 4519987"/>
              <a:gd name="connsiteY139" fmla="*/ 47625 h 4496940"/>
              <a:gd name="connsiteX140" fmla="*/ 2164102 w 4519987"/>
              <a:gd name="connsiteY140" fmla="*/ 38100 h 4496940"/>
              <a:gd name="connsiteX141" fmla="*/ 2392702 w 4519987"/>
              <a:gd name="connsiteY14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211977 w 4519987"/>
              <a:gd name="connsiteY34" fmla="*/ 3362325 h 4496940"/>
              <a:gd name="connsiteX35" fmla="*/ 4183402 w 4519987"/>
              <a:gd name="connsiteY35" fmla="*/ 3400425 h 4496940"/>
              <a:gd name="connsiteX36" fmla="*/ 4088152 w 4519987"/>
              <a:gd name="connsiteY36" fmla="*/ 3495675 h 4496940"/>
              <a:gd name="connsiteX37" fmla="*/ 4059577 w 4519987"/>
              <a:gd name="connsiteY37" fmla="*/ 3533775 h 4496940"/>
              <a:gd name="connsiteX38" fmla="*/ 4002427 w 4519987"/>
              <a:gd name="connsiteY38" fmla="*/ 3600450 h 4496940"/>
              <a:gd name="connsiteX39" fmla="*/ 3983377 w 4519987"/>
              <a:gd name="connsiteY39" fmla="*/ 3629025 h 4496940"/>
              <a:gd name="connsiteX40" fmla="*/ 3954802 w 4519987"/>
              <a:gd name="connsiteY40" fmla="*/ 3648075 h 4496940"/>
              <a:gd name="connsiteX41" fmla="*/ 3907177 w 4519987"/>
              <a:gd name="connsiteY41" fmla="*/ 3686175 h 4496940"/>
              <a:gd name="connsiteX42" fmla="*/ 3869077 w 4519987"/>
              <a:gd name="connsiteY42" fmla="*/ 3724275 h 4496940"/>
              <a:gd name="connsiteX43" fmla="*/ 3792877 w 4519987"/>
              <a:gd name="connsiteY43" fmla="*/ 3781425 h 4496940"/>
              <a:gd name="connsiteX44" fmla="*/ 3783352 w 4519987"/>
              <a:gd name="connsiteY44" fmla="*/ 3810000 h 4496940"/>
              <a:gd name="connsiteX45" fmla="*/ 3745252 w 4519987"/>
              <a:gd name="connsiteY45" fmla="*/ 3819525 h 4496940"/>
              <a:gd name="connsiteX46" fmla="*/ 3678577 w 4519987"/>
              <a:gd name="connsiteY46" fmla="*/ 3848100 h 4496940"/>
              <a:gd name="connsiteX47" fmla="*/ 3659527 w 4519987"/>
              <a:gd name="connsiteY47" fmla="*/ 3971925 h 4496940"/>
              <a:gd name="connsiteX48" fmla="*/ 3630952 w 4519987"/>
              <a:gd name="connsiteY48" fmla="*/ 4010025 h 4496940"/>
              <a:gd name="connsiteX49" fmla="*/ 3621427 w 4519987"/>
              <a:gd name="connsiteY49" fmla="*/ 4038600 h 4496940"/>
              <a:gd name="connsiteX50" fmla="*/ 3554752 w 4519987"/>
              <a:gd name="connsiteY50" fmla="*/ 4095750 h 4496940"/>
              <a:gd name="connsiteX51" fmla="*/ 3516652 w 4519987"/>
              <a:gd name="connsiteY51" fmla="*/ 4114800 h 4496940"/>
              <a:gd name="connsiteX52" fmla="*/ 3497602 w 4519987"/>
              <a:gd name="connsiteY52" fmla="*/ 4143375 h 4496940"/>
              <a:gd name="connsiteX53" fmla="*/ 3383302 w 4519987"/>
              <a:gd name="connsiteY53" fmla="*/ 4210050 h 4496940"/>
              <a:gd name="connsiteX54" fmla="*/ 3335677 w 4519987"/>
              <a:gd name="connsiteY54" fmla="*/ 4238625 h 4496940"/>
              <a:gd name="connsiteX55" fmla="*/ 3288052 w 4519987"/>
              <a:gd name="connsiteY55" fmla="*/ 4248150 h 4496940"/>
              <a:gd name="connsiteX56" fmla="*/ 3240427 w 4519987"/>
              <a:gd name="connsiteY56" fmla="*/ 4267200 h 4496940"/>
              <a:gd name="connsiteX57" fmla="*/ 3068977 w 4519987"/>
              <a:gd name="connsiteY57" fmla="*/ 4286250 h 4496940"/>
              <a:gd name="connsiteX58" fmla="*/ 2935627 w 4519987"/>
              <a:gd name="connsiteY58" fmla="*/ 4333875 h 4496940"/>
              <a:gd name="connsiteX59" fmla="*/ 2811802 w 4519987"/>
              <a:gd name="connsiteY59" fmla="*/ 4371975 h 4496940"/>
              <a:gd name="connsiteX60" fmla="*/ 2745127 w 4519987"/>
              <a:gd name="connsiteY60" fmla="*/ 4410075 h 4496940"/>
              <a:gd name="connsiteX61" fmla="*/ 2697502 w 4519987"/>
              <a:gd name="connsiteY61" fmla="*/ 4429125 h 4496940"/>
              <a:gd name="connsiteX62" fmla="*/ 2640352 w 4519987"/>
              <a:gd name="connsiteY62" fmla="*/ 4457700 h 4496940"/>
              <a:gd name="connsiteX63" fmla="*/ 2583202 w 4519987"/>
              <a:gd name="connsiteY63" fmla="*/ 4467225 h 4496940"/>
              <a:gd name="connsiteX64" fmla="*/ 2545102 w 4519987"/>
              <a:gd name="connsiteY64" fmla="*/ 4486275 h 4496940"/>
              <a:gd name="connsiteX65" fmla="*/ 2306977 w 4519987"/>
              <a:gd name="connsiteY65" fmla="*/ 4476750 h 4496940"/>
              <a:gd name="connsiteX66" fmla="*/ 2202202 w 4519987"/>
              <a:gd name="connsiteY66" fmla="*/ 4457700 h 4496940"/>
              <a:gd name="connsiteX67" fmla="*/ 2126002 w 4519987"/>
              <a:gd name="connsiteY67" fmla="*/ 4429125 h 4496940"/>
              <a:gd name="connsiteX68" fmla="*/ 1935502 w 4519987"/>
              <a:gd name="connsiteY68" fmla="*/ 4400550 h 4496940"/>
              <a:gd name="connsiteX69" fmla="*/ 1821202 w 4519987"/>
              <a:gd name="connsiteY69" fmla="*/ 4371975 h 4496940"/>
              <a:gd name="connsiteX70" fmla="*/ 1754527 w 4519987"/>
              <a:gd name="connsiteY70" fmla="*/ 4352925 h 4496940"/>
              <a:gd name="connsiteX71" fmla="*/ 1687852 w 4519987"/>
              <a:gd name="connsiteY71" fmla="*/ 4343400 h 4496940"/>
              <a:gd name="connsiteX72" fmla="*/ 1573552 w 4519987"/>
              <a:gd name="connsiteY72" fmla="*/ 4305300 h 4496940"/>
              <a:gd name="connsiteX73" fmla="*/ 1402102 w 4519987"/>
              <a:gd name="connsiteY73" fmla="*/ 4276725 h 4496940"/>
              <a:gd name="connsiteX74" fmla="*/ 1287802 w 4519987"/>
              <a:gd name="connsiteY74" fmla="*/ 4229100 h 4496940"/>
              <a:gd name="connsiteX75" fmla="*/ 1221127 w 4519987"/>
              <a:gd name="connsiteY75" fmla="*/ 4200525 h 4496940"/>
              <a:gd name="connsiteX76" fmla="*/ 1144927 w 4519987"/>
              <a:gd name="connsiteY76" fmla="*/ 4171950 h 4496940"/>
              <a:gd name="connsiteX77" fmla="*/ 1087777 w 4519987"/>
              <a:gd name="connsiteY77" fmla="*/ 4143375 h 4496940"/>
              <a:gd name="connsiteX78" fmla="*/ 1030627 w 4519987"/>
              <a:gd name="connsiteY78" fmla="*/ 4124325 h 4496940"/>
              <a:gd name="connsiteX79" fmla="*/ 925852 w 4519987"/>
              <a:gd name="connsiteY79" fmla="*/ 4067175 h 4496940"/>
              <a:gd name="connsiteX80" fmla="*/ 830602 w 4519987"/>
              <a:gd name="connsiteY80" fmla="*/ 3981450 h 4496940"/>
              <a:gd name="connsiteX81" fmla="*/ 763927 w 4519987"/>
              <a:gd name="connsiteY81" fmla="*/ 3914775 h 4496940"/>
              <a:gd name="connsiteX82" fmla="*/ 725827 w 4519987"/>
              <a:gd name="connsiteY82" fmla="*/ 3876675 h 4496940"/>
              <a:gd name="connsiteX83" fmla="*/ 697252 w 4519987"/>
              <a:gd name="connsiteY83" fmla="*/ 3838575 h 4496940"/>
              <a:gd name="connsiteX84" fmla="*/ 640102 w 4519987"/>
              <a:gd name="connsiteY84" fmla="*/ 3781425 h 4496940"/>
              <a:gd name="connsiteX85" fmla="*/ 611527 w 4519987"/>
              <a:gd name="connsiteY85" fmla="*/ 3733800 h 4496940"/>
              <a:gd name="connsiteX86" fmla="*/ 554377 w 4519987"/>
              <a:gd name="connsiteY86" fmla="*/ 3657600 h 4496940"/>
              <a:gd name="connsiteX87" fmla="*/ 525802 w 4519987"/>
              <a:gd name="connsiteY87" fmla="*/ 3609975 h 4496940"/>
              <a:gd name="connsiteX88" fmla="*/ 497227 w 4519987"/>
              <a:gd name="connsiteY88" fmla="*/ 3552825 h 4496940"/>
              <a:gd name="connsiteX89" fmla="*/ 440077 w 4519987"/>
              <a:gd name="connsiteY89" fmla="*/ 3495675 h 4496940"/>
              <a:gd name="connsiteX90" fmla="*/ 411502 w 4519987"/>
              <a:gd name="connsiteY90" fmla="*/ 3448050 h 4496940"/>
              <a:gd name="connsiteX91" fmla="*/ 278152 w 4519987"/>
              <a:gd name="connsiteY91" fmla="*/ 3257550 h 4496940"/>
              <a:gd name="connsiteX92" fmla="*/ 249577 w 4519987"/>
              <a:gd name="connsiteY92" fmla="*/ 3200400 h 4496940"/>
              <a:gd name="connsiteX93" fmla="*/ 240052 w 4519987"/>
              <a:gd name="connsiteY93" fmla="*/ 3162300 h 4496940"/>
              <a:gd name="connsiteX94" fmla="*/ 221002 w 4519987"/>
              <a:gd name="connsiteY94" fmla="*/ 3105150 h 4496940"/>
              <a:gd name="connsiteX95" fmla="*/ 173377 w 4519987"/>
              <a:gd name="connsiteY95" fmla="*/ 3019425 h 4496940"/>
              <a:gd name="connsiteX96" fmla="*/ 144802 w 4519987"/>
              <a:gd name="connsiteY96" fmla="*/ 2924175 h 4496940"/>
              <a:gd name="connsiteX97" fmla="*/ 68602 w 4519987"/>
              <a:gd name="connsiteY97" fmla="*/ 2724150 h 4496940"/>
              <a:gd name="connsiteX98" fmla="*/ 49552 w 4519987"/>
              <a:gd name="connsiteY98" fmla="*/ 2638425 h 4496940"/>
              <a:gd name="connsiteX99" fmla="*/ 40027 w 4519987"/>
              <a:gd name="connsiteY99" fmla="*/ 2562225 h 4496940"/>
              <a:gd name="connsiteX100" fmla="*/ 30502 w 4519987"/>
              <a:gd name="connsiteY100" fmla="*/ 2514600 h 4496940"/>
              <a:gd name="connsiteX101" fmla="*/ 11452 w 4519987"/>
              <a:gd name="connsiteY101" fmla="*/ 2400300 h 4496940"/>
              <a:gd name="connsiteX102" fmla="*/ 20977 w 4519987"/>
              <a:gd name="connsiteY102" fmla="*/ 1905000 h 4496940"/>
              <a:gd name="connsiteX103" fmla="*/ 30502 w 4519987"/>
              <a:gd name="connsiteY103" fmla="*/ 1838325 h 4496940"/>
              <a:gd name="connsiteX104" fmla="*/ 49552 w 4519987"/>
              <a:gd name="connsiteY104" fmla="*/ 1781175 h 4496940"/>
              <a:gd name="connsiteX105" fmla="*/ 59077 w 4519987"/>
              <a:gd name="connsiteY105" fmla="*/ 1743075 h 4496940"/>
              <a:gd name="connsiteX106" fmla="*/ 78127 w 4519987"/>
              <a:gd name="connsiteY106" fmla="*/ 1685925 h 4496940"/>
              <a:gd name="connsiteX107" fmla="*/ 87652 w 4519987"/>
              <a:gd name="connsiteY107" fmla="*/ 1638300 h 4496940"/>
              <a:gd name="connsiteX108" fmla="*/ 106702 w 4519987"/>
              <a:gd name="connsiteY108" fmla="*/ 1590675 h 4496940"/>
              <a:gd name="connsiteX109" fmla="*/ 135277 w 4519987"/>
              <a:gd name="connsiteY109" fmla="*/ 1504950 h 4496940"/>
              <a:gd name="connsiteX110" fmla="*/ 154327 w 4519987"/>
              <a:gd name="connsiteY110" fmla="*/ 1419225 h 4496940"/>
              <a:gd name="connsiteX111" fmla="*/ 230527 w 4519987"/>
              <a:gd name="connsiteY111" fmla="*/ 1276350 h 4496940"/>
              <a:gd name="connsiteX112" fmla="*/ 240052 w 4519987"/>
              <a:gd name="connsiteY112" fmla="*/ 1247775 h 4496940"/>
              <a:gd name="connsiteX113" fmla="*/ 268627 w 4519987"/>
              <a:gd name="connsiteY113" fmla="*/ 1200150 h 4496940"/>
              <a:gd name="connsiteX114" fmla="*/ 287677 w 4519987"/>
              <a:gd name="connsiteY114" fmla="*/ 1152525 h 4496940"/>
              <a:gd name="connsiteX115" fmla="*/ 316252 w 4519987"/>
              <a:gd name="connsiteY115" fmla="*/ 1114425 h 4496940"/>
              <a:gd name="connsiteX116" fmla="*/ 363877 w 4519987"/>
              <a:gd name="connsiteY116" fmla="*/ 1038225 h 4496940"/>
              <a:gd name="connsiteX117" fmla="*/ 382927 w 4519987"/>
              <a:gd name="connsiteY117" fmla="*/ 1009650 h 4496940"/>
              <a:gd name="connsiteX118" fmla="*/ 440077 w 4519987"/>
              <a:gd name="connsiteY118" fmla="*/ 904875 h 4496940"/>
              <a:gd name="connsiteX119" fmla="*/ 478177 w 4519987"/>
              <a:gd name="connsiteY119" fmla="*/ 857250 h 4496940"/>
              <a:gd name="connsiteX120" fmla="*/ 497227 w 4519987"/>
              <a:gd name="connsiteY120" fmla="*/ 828675 h 4496940"/>
              <a:gd name="connsiteX121" fmla="*/ 535327 w 4519987"/>
              <a:gd name="connsiteY121" fmla="*/ 800100 h 4496940"/>
              <a:gd name="connsiteX122" fmla="*/ 602002 w 4519987"/>
              <a:gd name="connsiteY122" fmla="*/ 733425 h 4496940"/>
              <a:gd name="connsiteX123" fmla="*/ 668677 w 4519987"/>
              <a:gd name="connsiteY123" fmla="*/ 676275 h 4496940"/>
              <a:gd name="connsiteX124" fmla="*/ 697252 w 4519987"/>
              <a:gd name="connsiteY124" fmla="*/ 657225 h 4496940"/>
              <a:gd name="connsiteX125" fmla="*/ 840127 w 4519987"/>
              <a:gd name="connsiteY125" fmla="*/ 533400 h 4496940"/>
              <a:gd name="connsiteX126" fmla="*/ 887752 w 4519987"/>
              <a:gd name="connsiteY126" fmla="*/ 504825 h 4496940"/>
              <a:gd name="connsiteX127" fmla="*/ 1167152 w 4519987"/>
              <a:gd name="connsiteY127" fmla="*/ 311150 h 4496940"/>
              <a:gd name="connsiteX128" fmla="*/ 1268752 w 4519987"/>
              <a:gd name="connsiteY128" fmla="*/ 285750 h 4496940"/>
              <a:gd name="connsiteX129" fmla="*/ 1411627 w 4519987"/>
              <a:gd name="connsiteY129" fmla="*/ 190500 h 4496940"/>
              <a:gd name="connsiteX130" fmla="*/ 1449727 w 4519987"/>
              <a:gd name="connsiteY130" fmla="*/ 161925 h 4496940"/>
              <a:gd name="connsiteX131" fmla="*/ 1525927 w 4519987"/>
              <a:gd name="connsiteY131" fmla="*/ 152400 h 4496940"/>
              <a:gd name="connsiteX132" fmla="*/ 1583077 w 4519987"/>
              <a:gd name="connsiteY132" fmla="*/ 142875 h 4496940"/>
              <a:gd name="connsiteX133" fmla="*/ 1716427 w 4519987"/>
              <a:gd name="connsiteY133" fmla="*/ 123825 h 4496940"/>
              <a:gd name="connsiteX134" fmla="*/ 1811677 w 4519987"/>
              <a:gd name="connsiteY134" fmla="*/ 114300 h 4496940"/>
              <a:gd name="connsiteX135" fmla="*/ 1859302 w 4519987"/>
              <a:gd name="connsiteY135" fmla="*/ 104775 h 4496940"/>
              <a:gd name="connsiteX136" fmla="*/ 1916452 w 4519987"/>
              <a:gd name="connsiteY136" fmla="*/ 95250 h 4496940"/>
              <a:gd name="connsiteX137" fmla="*/ 2030752 w 4519987"/>
              <a:gd name="connsiteY137" fmla="*/ 66675 h 4496940"/>
              <a:gd name="connsiteX138" fmla="*/ 2097427 w 4519987"/>
              <a:gd name="connsiteY138" fmla="*/ 47625 h 4496940"/>
              <a:gd name="connsiteX139" fmla="*/ 2164102 w 4519987"/>
              <a:gd name="connsiteY139" fmla="*/ 38100 h 4496940"/>
              <a:gd name="connsiteX140" fmla="*/ 2392702 w 4519987"/>
              <a:gd name="connsiteY14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183402 w 4519987"/>
              <a:gd name="connsiteY34" fmla="*/ 3400425 h 4496940"/>
              <a:gd name="connsiteX35" fmla="*/ 4088152 w 4519987"/>
              <a:gd name="connsiteY35" fmla="*/ 3495675 h 4496940"/>
              <a:gd name="connsiteX36" fmla="*/ 4059577 w 4519987"/>
              <a:gd name="connsiteY36" fmla="*/ 3533775 h 4496940"/>
              <a:gd name="connsiteX37" fmla="*/ 4002427 w 4519987"/>
              <a:gd name="connsiteY37" fmla="*/ 3600450 h 4496940"/>
              <a:gd name="connsiteX38" fmla="*/ 3983377 w 4519987"/>
              <a:gd name="connsiteY38" fmla="*/ 3629025 h 4496940"/>
              <a:gd name="connsiteX39" fmla="*/ 3954802 w 4519987"/>
              <a:gd name="connsiteY39" fmla="*/ 3648075 h 4496940"/>
              <a:gd name="connsiteX40" fmla="*/ 3907177 w 4519987"/>
              <a:gd name="connsiteY40" fmla="*/ 3686175 h 4496940"/>
              <a:gd name="connsiteX41" fmla="*/ 3869077 w 4519987"/>
              <a:gd name="connsiteY41" fmla="*/ 3724275 h 4496940"/>
              <a:gd name="connsiteX42" fmla="*/ 3792877 w 4519987"/>
              <a:gd name="connsiteY42" fmla="*/ 3781425 h 4496940"/>
              <a:gd name="connsiteX43" fmla="*/ 3783352 w 4519987"/>
              <a:gd name="connsiteY43" fmla="*/ 3810000 h 4496940"/>
              <a:gd name="connsiteX44" fmla="*/ 3745252 w 4519987"/>
              <a:gd name="connsiteY44" fmla="*/ 3819525 h 4496940"/>
              <a:gd name="connsiteX45" fmla="*/ 3678577 w 4519987"/>
              <a:gd name="connsiteY45" fmla="*/ 3848100 h 4496940"/>
              <a:gd name="connsiteX46" fmla="*/ 3659527 w 4519987"/>
              <a:gd name="connsiteY46" fmla="*/ 3971925 h 4496940"/>
              <a:gd name="connsiteX47" fmla="*/ 3630952 w 4519987"/>
              <a:gd name="connsiteY47" fmla="*/ 4010025 h 4496940"/>
              <a:gd name="connsiteX48" fmla="*/ 3621427 w 4519987"/>
              <a:gd name="connsiteY48" fmla="*/ 4038600 h 4496940"/>
              <a:gd name="connsiteX49" fmla="*/ 3554752 w 4519987"/>
              <a:gd name="connsiteY49" fmla="*/ 4095750 h 4496940"/>
              <a:gd name="connsiteX50" fmla="*/ 3516652 w 4519987"/>
              <a:gd name="connsiteY50" fmla="*/ 4114800 h 4496940"/>
              <a:gd name="connsiteX51" fmla="*/ 3497602 w 4519987"/>
              <a:gd name="connsiteY51" fmla="*/ 4143375 h 4496940"/>
              <a:gd name="connsiteX52" fmla="*/ 3383302 w 4519987"/>
              <a:gd name="connsiteY52" fmla="*/ 4210050 h 4496940"/>
              <a:gd name="connsiteX53" fmla="*/ 3335677 w 4519987"/>
              <a:gd name="connsiteY53" fmla="*/ 4238625 h 4496940"/>
              <a:gd name="connsiteX54" fmla="*/ 3288052 w 4519987"/>
              <a:gd name="connsiteY54" fmla="*/ 4248150 h 4496940"/>
              <a:gd name="connsiteX55" fmla="*/ 3240427 w 4519987"/>
              <a:gd name="connsiteY55" fmla="*/ 4267200 h 4496940"/>
              <a:gd name="connsiteX56" fmla="*/ 3068977 w 4519987"/>
              <a:gd name="connsiteY56" fmla="*/ 4286250 h 4496940"/>
              <a:gd name="connsiteX57" fmla="*/ 2935627 w 4519987"/>
              <a:gd name="connsiteY57" fmla="*/ 4333875 h 4496940"/>
              <a:gd name="connsiteX58" fmla="*/ 2811802 w 4519987"/>
              <a:gd name="connsiteY58" fmla="*/ 4371975 h 4496940"/>
              <a:gd name="connsiteX59" fmla="*/ 2745127 w 4519987"/>
              <a:gd name="connsiteY59" fmla="*/ 4410075 h 4496940"/>
              <a:gd name="connsiteX60" fmla="*/ 2697502 w 4519987"/>
              <a:gd name="connsiteY60" fmla="*/ 4429125 h 4496940"/>
              <a:gd name="connsiteX61" fmla="*/ 2640352 w 4519987"/>
              <a:gd name="connsiteY61" fmla="*/ 4457700 h 4496940"/>
              <a:gd name="connsiteX62" fmla="*/ 2583202 w 4519987"/>
              <a:gd name="connsiteY62" fmla="*/ 4467225 h 4496940"/>
              <a:gd name="connsiteX63" fmla="*/ 2545102 w 4519987"/>
              <a:gd name="connsiteY63" fmla="*/ 4486275 h 4496940"/>
              <a:gd name="connsiteX64" fmla="*/ 2306977 w 4519987"/>
              <a:gd name="connsiteY64" fmla="*/ 4476750 h 4496940"/>
              <a:gd name="connsiteX65" fmla="*/ 2202202 w 4519987"/>
              <a:gd name="connsiteY65" fmla="*/ 4457700 h 4496940"/>
              <a:gd name="connsiteX66" fmla="*/ 2126002 w 4519987"/>
              <a:gd name="connsiteY66" fmla="*/ 4429125 h 4496940"/>
              <a:gd name="connsiteX67" fmla="*/ 1935502 w 4519987"/>
              <a:gd name="connsiteY67" fmla="*/ 4400550 h 4496940"/>
              <a:gd name="connsiteX68" fmla="*/ 1821202 w 4519987"/>
              <a:gd name="connsiteY68" fmla="*/ 4371975 h 4496940"/>
              <a:gd name="connsiteX69" fmla="*/ 1754527 w 4519987"/>
              <a:gd name="connsiteY69" fmla="*/ 4352925 h 4496940"/>
              <a:gd name="connsiteX70" fmla="*/ 1687852 w 4519987"/>
              <a:gd name="connsiteY70" fmla="*/ 4343400 h 4496940"/>
              <a:gd name="connsiteX71" fmla="*/ 1573552 w 4519987"/>
              <a:gd name="connsiteY71" fmla="*/ 4305300 h 4496940"/>
              <a:gd name="connsiteX72" fmla="*/ 1402102 w 4519987"/>
              <a:gd name="connsiteY72" fmla="*/ 4276725 h 4496940"/>
              <a:gd name="connsiteX73" fmla="*/ 1287802 w 4519987"/>
              <a:gd name="connsiteY73" fmla="*/ 4229100 h 4496940"/>
              <a:gd name="connsiteX74" fmla="*/ 1221127 w 4519987"/>
              <a:gd name="connsiteY74" fmla="*/ 4200525 h 4496940"/>
              <a:gd name="connsiteX75" fmla="*/ 1144927 w 4519987"/>
              <a:gd name="connsiteY75" fmla="*/ 4171950 h 4496940"/>
              <a:gd name="connsiteX76" fmla="*/ 1087777 w 4519987"/>
              <a:gd name="connsiteY76" fmla="*/ 4143375 h 4496940"/>
              <a:gd name="connsiteX77" fmla="*/ 1030627 w 4519987"/>
              <a:gd name="connsiteY77" fmla="*/ 4124325 h 4496940"/>
              <a:gd name="connsiteX78" fmla="*/ 925852 w 4519987"/>
              <a:gd name="connsiteY78" fmla="*/ 4067175 h 4496940"/>
              <a:gd name="connsiteX79" fmla="*/ 830602 w 4519987"/>
              <a:gd name="connsiteY79" fmla="*/ 3981450 h 4496940"/>
              <a:gd name="connsiteX80" fmla="*/ 763927 w 4519987"/>
              <a:gd name="connsiteY80" fmla="*/ 3914775 h 4496940"/>
              <a:gd name="connsiteX81" fmla="*/ 725827 w 4519987"/>
              <a:gd name="connsiteY81" fmla="*/ 3876675 h 4496940"/>
              <a:gd name="connsiteX82" fmla="*/ 697252 w 4519987"/>
              <a:gd name="connsiteY82" fmla="*/ 3838575 h 4496940"/>
              <a:gd name="connsiteX83" fmla="*/ 640102 w 4519987"/>
              <a:gd name="connsiteY83" fmla="*/ 3781425 h 4496940"/>
              <a:gd name="connsiteX84" fmla="*/ 611527 w 4519987"/>
              <a:gd name="connsiteY84" fmla="*/ 3733800 h 4496940"/>
              <a:gd name="connsiteX85" fmla="*/ 554377 w 4519987"/>
              <a:gd name="connsiteY85" fmla="*/ 3657600 h 4496940"/>
              <a:gd name="connsiteX86" fmla="*/ 525802 w 4519987"/>
              <a:gd name="connsiteY86" fmla="*/ 3609975 h 4496940"/>
              <a:gd name="connsiteX87" fmla="*/ 497227 w 4519987"/>
              <a:gd name="connsiteY87" fmla="*/ 3552825 h 4496940"/>
              <a:gd name="connsiteX88" fmla="*/ 440077 w 4519987"/>
              <a:gd name="connsiteY88" fmla="*/ 3495675 h 4496940"/>
              <a:gd name="connsiteX89" fmla="*/ 411502 w 4519987"/>
              <a:gd name="connsiteY89" fmla="*/ 3448050 h 4496940"/>
              <a:gd name="connsiteX90" fmla="*/ 278152 w 4519987"/>
              <a:gd name="connsiteY90" fmla="*/ 3257550 h 4496940"/>
              <a:gd name="connsiteX91" fmla="*/ 249577 w 4519987"/>
              <a:gd name="connsiteY91" fmla="*/ 3200400 h 4496940"/>
              <a:gd name="connsiteX92" fmla="*/ 240052 w 4519987"/>
              <a:gd name="connsiteY92" fmla="*/ 3162300 h 4496940"/>
              <a:gd name="connsiteX93" fmla="*/ 221002 w 4519987"/>
              <a:gd name="connsiteY93" fmla="*/ 3105150 h 4496940"/>
              <a:gd name="connsiteX94" fmla="*/ 173377 w 4519987"/>
              <a:gd name="connsiteY94" fmla="*/ 3019425 h 4496940"/>
              <a:gd name="connsiteX95" fmla="*/ 144802 w 4519987"/>
              <a:gd name="connsiteY95" fmla="*/ 2924175 h 4496940"/>
              <a:gd name="connsiteX96" fmla="*/ 68602 w 4519987"/>
              <a:gd name="connsiteY96" fmla="*/ 2724150 h 4496940"/>
              <a:gd name="connsiteX97" fmla="*/ 49552 w 4519987"/>
              <a:gd name="connsiteY97" fmla="*/ 2638425 h 4496940"/>
              <a:gd name="connsiteX98" fmla="*/ 40027 w 4519987"/>
              <a:gd name="connsiteY98" fmla="*/ 2562225 h 4496940"/>
              <a:gd name="connsiteX99" fmla="*/ 30502 w 4519987"/>
              <a:gd name="connsiteY99" fmla="*/ 2514600 h 4496940"/>
              <a:gd name="connsiteX100" fmla="*/ 11452 w 4519987"/>
              <a:gd name="connsiteY100" fmla="*/ 2400300 h 4496940"/>
              <a:gd name="connsiteX101" fmla="*/ 20977 w 4519987"/>
              <a:gd name="connsiteY101" fmla="*/ 1905000 h 4496940"/>
              <a:gd name="connsiteX102" fmla="*/ 30502 w 4519987"/>
              <a:gd name="connsiteY102" fmla="*/ 1838325 h 4496940"/>
              <a:gd name="connsiteX103" fmla="*/ 49552 w 4519987"/>
              <a:gd name="connsiteY103" fmla="*/ 1781175 h 4496940"/>
              <a:gd name="connsiteX104" fmla="*/ 59077 w 4519987"/>
              <a:gd name="connsiteY104" fmla="*/ 1743075 h 4496940"/>
              <a:gd name="connsiteX105" fmla="*/ 78127 w 4519987"/>
              <a:gd name="connsiteY105" fmla="*/ 1685925 h 4496940"/>
              <a:gd name="connsiteX106" fmla="*/ 87652 w 4519987"/>
              <a:gd name="connsiteY106" fmla="*/ 1638300 h 4496940"/>
              <a:gd name="connsiteX107" fmla="*/ 106702 w 4519987"/>
              <a:gd name="connsiteY107" fmla="*/ 1590675 h 4496940"/>
              <a:gd name="connsiteX108" fmla="*/ 135277 w 4519987"/>
              <a:gd name="connsiteY108" fmla="*/ 1504950 h 4496940"/>
              <a:gd name="connsiteX109" fmla="*/ 154327 w 4519987"/>
              <a:gd name="connsiteY109" fmla="*/ 1419225 h 4496940"/>
              <a:gd name="connsiteX110" fmla="*/ 230527 w 4519987"/>
              <a:gd name="connsiteY110" fmla="*/ 1276350 h 4496940"/>
              <a:gd name="connsiteX111" fmla="*/ 240052 w 4519987"/>
              <a:gd name="connsiteY111" fmla="*/ 1247775 h 4496940"/>
              <a:gd name="connsiteX112" fmla="*/ 268627 w 4519987"/>
              <a:gd name="connsiteY112" fmla="*/ 1200150 h 4496940"/>
              <a:gd name="connsiteX113" fmla="*/ 287677 w 4519987"/>
              <a:gd name="connsiteY113" fmla="*/ 1152525 h 4496940"/>
              <a:gd name="connsiteX114" fmla="*/ 316252 w 4519987"/>
              <a:gd name="connsiteY114" fmla="*/ 1114425 h 4496940"/>
              <a:gd name="connsiteX115" fmla="*/ 363877 w 4519987"/>
              <a:gd name="connsiteY115" fmla="*/ 1038225 h 4496940"/>
              <a:gd name="connsiteX116" fmla="*/ 382927 w 4519987"/>
              <a:gd name="connsiteY116" fmla="*/ 1009650 h 4496940"/>
              <a:gd name="connsiteX117" fmla="*/ 440077 w 4519987"/>
              <a:gd name="connsiteY117" fmla="*/ 904875 h 4496940"/>
              <a:gd name="connsiteX118" fmla="*/ 478177 w 4519987"/>
              <a:gd name="connsiteY118" fmla="*/ 857250 h 4496940"/>
              <a:gd name="connsiteX119" fmla="*/ 497227 w 4519987"/>
              <a:gd name="connsiteY119" fmla="*/ 828675 h 4496940"/>
              <a:gd name="connsiteX120" fmla="*/ 535327 w 4519987"/>
              <a:gd name="connsiteY120" fmla="*/ 800100 h 4496940"/>
              <a:gd name="connsiteX121" fmla="*/ 602002 w 4519987"/>
              <a:gd name="connsiteY121" fmla="*/ 733425 h 4496940"/>
              <a:gd name="connsiteX122" fmla="*/ 668677 w 4519987"/>
              <a:gd name="connsiteY122" fmla="*/ 676275 h 4496940"/>
              <a:gd name="connsiteX123" fmla="*/ 697252 w 4519987"/>
              <a:gd name="connsiteY123" fmla="*/ 657225 h 4496940"/>
              <a:gd name="connsiteX124" fmla="*/ 840127 w 4519987"/>
              <a:gd name="connsiteY124" fmla="*/ 533400 h 4496940"/>
              <a:gd name="connsiteX125" fmla="*/ 887752 w 4519987"/>
              <a:gd name="connsiteY125" fmla="*/ 504825 h 4496940"/>
              <a:gd name="connsiteX126" fmla="*/ 1167152 w 4519987"/>
              <a:gd name="connsiteY126" fmla="*/ 311150 h 4496940"/>
              <a:gd name="connsiteX127" fmla="*/ 1268752 w 4519987"/>
              <a:gd name="connsiteY127" fmla="*/ 285750 h 4496940"/>
              <a:gd name="connsiteX128" fmla="*/ 1411627 w 4519987"/>
              <a:gd name="connsiteY128" fmla="*/ 190500 h 4496940"/>
              <a:gd name="connsiteX129" fmla="*/ 1449727 w 4519987"/>
              <a:gd name="connsiteY129" fmla="*/ 161925 h 4496940"/>
              <a:gd name="connsiteX130" fmla="*/ 1525927 w 4519987"/>
              <a:gd name="connsiteY130" fmla="*/ 152400 h 4496940"/>
              <a:gd name="connsiteX131" fmla="*/ 1583077 w 4519987"/>
              <a:gd name="connsiteY131" fmla="*/ 142875 h 4496940"/>
              <a:gd name="connsiteX132" fmla="*/ 1716427 w 4519987"/>
              <a:gd name="connsiteY132" fmla="*/ 123825 h 4496940"/>
              <a:gd name="connsiteX133" fmla="*/ 1811677 w 4519987"/>
              <a:gd name="connsiteY133" fmla="*/ 114300 h 4496940"/>
              <a:gd name="connsiteX134" fmla="*/ 1859302 w 4519987"/>
              <a:gd name="connsiteY134" fmla="*/ 104775 h 4496940"/>
              <a:gd name="connsiteX135" fmla="*/ 1916452 w 4519987"/>
              <a:gd name="connsiteY135" fmla="*/ 95250 h 4496940"/>
              <a:gd name="connsiteX136" fmla="*/ 2030752 w 4519987"/>
              <a:gd name="connsiteY136" fmla="*/ 66675 h 4496940"/>
              <a:gd name="connsiteX137" fmla="*/ 2097427 w 4519987"/>
              <a:gd name="connsiteY137" fmla="*/ 47625 h 4496940"/>
              <a:gd name="connsiteX138" fmla="*/ 2164102 w 4519987"/>
              <a:gd name="connsiteY138" fmla="*/ 38100 h 4496940"/>
              <a:gd name="connsiteX139" fmla="*/ 2392702 w 4519987"/>
              <a:gd name="connsiteY13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83377 w 4519987"/>
              <a:gd name="connsiteY37" fmla="*/ 3629025 h 4496940"/>
              <a:gd name="connsiteX38" fmla="*/ 3954802 w 4519987"/>
              <a:gd name="connsiteY38" fmla="*/ 3648075 h 4496940"/>
              <a:gd name="connsiteX39" fmla="*/ 3907177 w 4519987"/>
              <a:gd name="connsiteY39" fmla="*/ 3686175 h 4496940"/>
              <a:gd name="connsiteX40" fmla="*/ 3869077 w 4519987"/>
              <a:gd name="connsiteY40" fmla="*/ 3724275 h 4496940"/>
              <a:gd name="connsiteX41" fmla="*/ 3792877 w 4519987"/>
              <a:gd name="connsiteY41" fmla="*/ 3781425 h 4496940"/>
              <a:gd name="connsiteX42" fmla="*/ 3783352 w 4519987"/>
              <a:gd name="connsiteY42" fmla="*/ 3810000 h 4496940"/>
              <a:gd name="connsiteX43" fmla="*/ 3745252 w 4519987"/>
              <a:gd name="connsiteY43" fmla="*/ 3819525 h 4496940"/>
              <a:gd name="connsiteX44" fmla="*/ 3678577 w 4519987"/>
              <a:gd name="connsiteY44" fmla="*/ 3848100 h 4496940"/>
              <a:gd name="connsiteX45" fmla="*/ 3659527 w 4519987"/>
              <a:gd name="connsiteY45" fmla="*/ 3971925 h 4496940"/>
              <a:gd name="connsiteX46" fmla="*/ 3630952 w 4519987"/>
              <a:gd name="connsiteY46" fmla="*/ 4010025 h 4496940"/>
              <a:gd name="connsiteX47" fmla="*/ 3621427 w 4519987"/>
              <a:gd name="connsiteY47" fmla="*/ 4038600 h 4496940"/>
              <a:gd name="connsiteX48" fmla="*/ 3554752 w 4519987"/>
              <a:gd name="connsiteY48" fmla="*/ 4095750 h 4496940"/>
              <a:gd name="connsiteX49" fmla="*/ 3516652 w 4519987"/>
              <a:gd name="connsiteY49" fmla="*/ 4114800 h 4496940"/>
              <a:gd name="connsiteX50" fmla="*/ 3497602 w 4519987"/>
              <a:gd name="connsiteY50" fmla="*/ 4143375 h 4496940"/>
              <a:gd name="connsiteX51" fmla="*/ 3383302 w 4519987"/>
              <a:gd name="connsiteY51" fmla="*/ 4210050 h 4496940"/>
              <a:gd name="connsiteX52" fmla="*/ 3335677 w 4519987"/>
              <a:gd name="connsiteY52" fmla="*/ 4238625 h 4496940"/>
              <a:gd name="connsiteX53" fmla="*/ 3288052 w 4519987"/>
              <a:gd name="connsiteY53" fmla="*/ 4248150 h 4496940"/>
              <a:gd name="connsiteX54" fmla="*/ 3240427 w 4519987"/>
              <a:gd name="connsiteY54" fmla="*/ 4267200 h 4496940"/>
              <a:gd name="connsiteX55" fmla="*/ 3068977 w 4519987"/>
              <a:gd name="connsiteY55" fmla="*/ 4286250 h 4496940"/>
              <a:gd name="connsiteX56" fmla="*/ 2935627 w 4519987"/>
              <a:gd name="connsiteY56" fmla="*/ 4333875 h 4496940"/>
              <a:gd name="connsiteX57" fmla="*/ 2811802 w 4519987"/>
              <a:gd name="connsiteY57" fmla="*/ 4371975 h 4496940"/>
              <a:gd name="connsiteX58" fmla="*/ 2745127 w 4519987"/>
              <a:gd name="connsiteY58" fmla="*/ 4410075 h 4496940"/>
              <a:gd name="connsiteX59" fmla="*/ 2697502 w 4519987"/>
              <a:gd name="connsiteY59" fmla="*/ 4429125 h 4496940"/>
              <a:gd name="connsiteX60" fmla="*/ 2640352 w 4519987"/>
              <a:gd name="connsiteY60" fmla="*/ 4457700 h 4496940"/>
              <a:gd name="connsiteX61" fmla="*/ 2583202 w 4519987"/>
              <a:gd name="connsiteY61" fmla="*/ 4467225 h 4496940"/>
              <a:gd name="connsiteX62" fmla="*/ 2545102 w 4519987"/>
              <a:gd name="connsiteY62" fmla="*/ 4486275 h 4496940"/>
              <a:gd name="connsiteX63" fmla="*/ 2306977 w 4519987"/>
              <a:gd name="connsiteY63" fmla="*/ 4476750 h 4496940"/>
              <a:gd name="connsiteX64" fmla="*/ 2202202 w 4519987"/>
              <a:gd name="connsiteY64" fmla="*/ 4457700 h 4496940"/>
              <a:gd name="connsiteX65" fmla="*/ 2126002 w 4519987"/>
              <a:gd name="connsiteY65" fmla="*/ 4429125 h 4496940"/>
              <a:gd name="connsiteX66" fmla="*/ 1935502 w 4519987"/>
              <a:gd name="connsiteY66" fmla="*/ 4400550 h 4496940"/>
              <a:gd name="connsiteX67" fmla="*/ 1821202 w 4519987"/>
              <a:gd name="connsiteY67" fmla="*/ 4371975 h 4496940"/>
              <a:gd name="connsiteX68" fmla="*/ 1754527 w 4519987"/>
              <a:gd name="connsiteY68" fmla="*/ 4352925 h 4496940"/>
              <a:gd name="connsiteX69" fmla="*/ 1687852 w 4519987"/>
              <a:gd name="connsiteY69" fmla="*/ 4343400 h 4496940"/>
              <a:gd name="connsiteX70" fmla="*/ 1573552 w 4519987"/>
              <a:gd name="connsiteY70" fmla="*/ 4305300 h 4496940"/>
              <a:gd name="connsiteX71" fmla="*/ 1402102 w 4519987"/>
              <a:gd name="connsiteY71" fmla="*/ 4276725 h 4496940"/>
              <a:gd name="connsiteX72" fmla="*/ 1287802 w 4519987"/>
              <a:gd name="connsiteY72" fmla="*/ 4229100 h 4496940"/>
              <a:gd name="connsiteX73" fmla="*/ 1221127 w 4519987"/>
              <a:gd name="connsiteY73" fmla="*/ 4200525 h 4496940"/>
              <a:gd name="connsiteX74" fmla="*/ 1144927 w 4519987"/>
              <a:gd name="connsiteY74" fmla="*/ 4171950 h 4496940"/>
              <a:gd name="connsiteX75" fmla="*/ 1087777 w 4519987"/>
              <a:gd name="connsiteY75" fmla="*/ 4143375 h 4496940"/>
              <a:gd name="connsiteX76" fmla="*/ 1030627 w 4519987"/>
              <a:gd name="connsiteY76" fmla="*/ 4124325 h 4496940"/>
              <a:gd name="connsiteX77" fmla="*/ 925852 w 4519987"/>
              <a:gd name="connsiteY77" fmla="*/ 4067175 h 4496940"/>
              <a:gd name="connsiteX78" fmla="*/ 830602 w 4519987"/>
              <a:gd name="connsiteY78" fmla="*/ 3981450 h 4496940"/>
              <a:gd name="connsiteX79" fmla="*/ 763927 w 4519987"/>
              <a:gd name="connsiteY79" fmla="*/ 3914775 h 4496940"/>
              <a:gd name="connsiteX80" fmla="*/ 725827 w 4519987"/>
              <a:gd name="connsiteY80" fmla="*/ 3876675 h 4496940"/>
              <a:gd name="connsiteX81" fmla="*/ 697252 w 4519987"/>
              <a:gd name="connsiteY81" fmla="*/ 3838575 h 4496940"/>
              <a:gd name="connsiteX82" fmla="*/ 640102 w 4519987"/>
              <a:gd name="connsiteY82" fmla="*/ 3781425 h 4496940"/>
              <a:gd name="connsiteX83" fmla="*/ 611527 w 4519987"/>
              <a:gd name="connsiteY83" fmla="*/ 3733800 h 4496940"/>
              <a:gd name="connsiteX84" fmla="*/ 554377 w 4519987"/>
              <a:gd name="connsiteY84" fmla="*/ 3657600 h 4496940"/>
              <a:gd name="connsiteX85" fmla="*/ 525802 w 4519987"/>
              <a:gd name="connsiteY85" fmla="*/ 3609975 h 4496940"/>
              <a:gd name="connsiteX86" fmla="*/ 497227 w 4519987"/>
              <a:gd name="connsiteY86" fmla="*/ 3552825 h 4496940"/>
              <a:gd name="connsiteX87" fmla="*/ 440077 w 4519987"/>
              <a:gd name="connsiteY87" fmla="*/ 3495675 h 4496940"/>
              <a:gd name="connsiteX88" fmla="*/ 411502 w 4519987"/>
              <a:gd name="connsiteY88" fmla="*/ 3448050 h 4496940"/>
              <a:gd name="connsiteX89" fmla="*/ 278152 w 4519987"/>
              <a:gd name="connsiteY89" fmla="*/ 3257550 h 4496940"/>
              <a:gd name="connsiteX90" fmla="*/ 249577 w 4519987"/>
              <a:gd name="connsiteY90" fmla="*/ 3200400 h 4496940"/>
              <a:gd name="connsiteX91" fmla="*/ 240052 w 4519987"/>
              <a:gd name="connsiteY91" fmla="*/ 3162300 h 4496940"/>
              <a:gd name="connsiteX92" fmla="*/ 221002 w 4519987"/>
              <a:gd name="connsiteY92" fmla="*/ 3105150 h 4496940"/>
              <a:gd name="connsiteX93" fmla="*/ 173377 w 4519987"/>
              <a:gd name="connsiteY93" fmla="*/ 3019425 h 4496940"/>
              <a:gd name="connsiteX94" fmla="*/ 144802 w 4519987"/>
              <a:gd name="connsiteY94" fmla="*/ 2924175 h 4496940"/>
              <a:gd name="connsiteX95" fmla="*/ 68602 w 4519987"/>
              <a:gd name="connsiteY95" fmla="*/ 2724150 h 4496940"/>
              <a:gd name="connsiteX96" fmla="*/ 49552 w 4519987"/>
              <a:gd name="connsiteY96" fmla="*/ 2638425 h 4496940"/>
              <a:gd name="connsiteX97" fmla="*/ 40027 w 4519987"/>
              <a:gd name="connsiteY97" fmla="*/ 2562225 h 4496940"/>
              <a:gd name="connsiteX98" fmla="*/ 30502 w 4519987"/>
              <a:gd name="connsiteY98" fmla="*/ 2514600 h 4496940"/>
              <a:gd name="connsiteX99" fmla="*/ 11452 w 4519987"/>
              <a:gd name="connsiteY99" fmla="*/ 2400300 h 4496940"/>
              <a:gd name="connsiteX100" fmla="*/ 20977 w 4519987"/>
              <a:gd name="connsiteY100" fmla="*/ 1905000 h 4496940"/>
              <a:gd name="connsiteX101" fmla="*/ 30502 w 4519987"/>
              <a:gd name="connsiteY101" fmla="*/ 1838325 h 4496940"/>
              <a:gd name="connsiteX102" fmla="*/ 49552 w 4519987"/>
              <a:gd name="connsiteY102" fmla="*/ 1781175 h 4496940"/>
              <a:gd name="connsiteX103" fmla="*/ 59077 w 4519987"/>
              <a:gd name="connsiteY103" fmla="*/ 1743075 h 4496940"/>
              <a:gd name="connsiteX104" fmla="*/ 78127 w 4519987"/>
              <a:gd name="connsiteY104" fmla="*/ 1685925 h 4496940"/>
              <a:gd name="connsiteX105" fmla="*/ 87652 w 4519987"/>
              <a:gd name="connsiteY105" fmla="*/ 1638300 h 4496940"/>
              <a:gd name="connsiteX106" fmla="*/ 106702 w 4519987"/>
              <a:gd name="connsiteY106" fmla="*/ 1590675 h 4496940"/>
              <a:gd name="connsiteX107" fmla="*/ 135277 w 4519987"/>
              <a:gd name="connsiteY107" fmla="*/ 1504950 h 4496940"/>
              <a:gd name="connsiteX108" fmla="*/ 154327 w 4519987"/>
              <a:gd name="connsiteY108" fmla="*/ 1419225 h 4496940"/>
              <a:gd name="connsiteX109" fmla="*/ 230527 w 4519987"/>
              <a:gd name="connsiteY109" fmla="*/ 1276350 h 4496940"/>
              <a:gd name="connsiteX110" fmla="*/ 240052 w 4519987"/>
              <a:gd name="connsiteY110" fmla="*/ 1247775 h 4496940"/>
              <a:gd name="connsiteX111" fmla="*/ 268627 w 4519987"/>
              <a:gd name="connsiteY111" fmla="*/ 1200150 h 4496940"/>
              <a:gd name="connsiteX112" fmla="*/ 287677 w 4519987"/>
              <a:gd name="connsiteY112" fmla="*/ 1152525 h 4496940"/>
              <a:gd name="connsiteX113" fmla="*/ 316252 w 4519987"/>
              <a:gd name="connsiteY113" fmla="*/ 1114425 h 4496940"/>
              <a:gd name="connsiteX114" fmla="*/ 363877 w 4519987"/>
              <a:gd name="connsiteY114" fmla="*/ 1038225 h 4496940"/>
              <a:gd name="connsiteX115" fmla="*/ 382927 w 4519987"/>
              <a:gd name="connsiteY115" fmla="*/ 1009650 h 4496940"/>
              <a:gd name="connsiteX116" fmla="*/ 440077 w 4519987"/>
              <a:gd name="connsiteY116" fmla="*/ 904875 h 4496940"/>
              <a:gd name="connsiteX117" fmla="*/ 478177 w 4519987"/>
              <a:gd name="connsiteY117" fmla="*/ 857250 h 4496940"/>
              <a:gd name="connsiteX118" fmla="*/ 497227 w 4519987"/>
              <a:gd name="connsiteY118" fmla="*/ 828675 h 4496940"/>
              <a:gd name="connsiteX119" fmla="*/ 535327 w 4519987"/>
              <a:gd name="connsiteY119" fmla="*/ 800100 h 4496940"/>
              <a:gd name="connsiteX120" fmla="*/ 602002 w 4519987"/>
              <a:gd name="connsiteY120" fmla="*/ 733425 h 4496940"/>
              <a:gd name="connsiteX121" fmla="*/ 668677 w 4519987"/>
              <a:gd name="connsiteY121" fmla="*/ 676275 h 4496940"/>
              <a:gd name="connsiteX122" fmla="*/ 697252 w 4519987"/>
              <a:gd name="connsiteY122" fmla="*/ 657225 h 4496940"/>
              <a:gd name="connsiteX123" fmla="*/ 840127 w 4519987"/>
              <a:gd name="connsiteY123" fmla="*/ 533400 h 4496940"/>
              <a:gd name="connsiteX124" fmla="*/ 887752 w 4519987"/>
              <a:gd name="connsiteY124" fmla="*/ 504825 h 4496940"/>
              <a:gd name="connsiteX125" fmla="*/ 1167152 w 4519987"/>
              <a:gd name="connsiteY125" fmla="*/ 311150 h 4496940"/>
              <a:gd name="connsiteX126" fmla="*/ 1268752 w 4519987"/>
              <a:gd name="connsiteY126" fmla="*/ 285750 h 4496940"/>
              <a:gd name="connsiteX127" fmla="*/ 1411627 w 4519987"/>
              <a:gd name="connsiteY127" fmla="*/ 190500 h 4496940"/>
              <a:gd name="connsiteX128" fmla="*/ 1449727 w 4519987"/>
              <a:gd name="connsiteY128" fmla="*/ 161925 h 4496940"/>
              <a:gd name="connsiteX129" fmla="*/ 1525927 w 4519987"/>
              <a:gd name="connsiteY129" fmla="*/ 152400 h 4496940"/>
              <a:gd name="connsiteX130" fmla="*/ 1583077 w 4519987"/>
              <a:gd name="connsiteY130" fmla="*/ 142875 h 4496940"/>
              <a:gd name="connsiteX131" fmla="*/ 1716427 w 4519987"/>
              <a:gd name="connsiteY131" fmla="*/ 123825 h 4496940"/>
              <a:gd name="connsiteX132" fmla="*/ 1811677 w 4519987"/>
              <a:gd name="connsiteY132" fmla="*/ 114300 h 4496940"/>
              <a:gd name="connsiteX133" fmla="*/ 1859302 w 4519987"/>
              <a:gd name="connsiteY133" fmla="*/ 104775 h 4496940"/>
              <a:gd name="connsiteX134" fmla="*/ 1916452 w 4519987"/>
              <a:gd name="connsiteY134" fmla="*/ 95250 h 4496940"/>
              <a:gd name="connsiteX135" fmla="*/ 2030752 w 4519987"/>
              <a:gd name="connsiteY135" fmla="*/ 66675 h 4496940"/>
              <a:gd name="connsiteX136" fmla="*/ 2097427 w 4519987"/>
              <a:gd name="connsiteY136" fmla="*/ 47625 h 4496940"/>
              <a:gd name="connsiteX137" fmla="*/ 2164102 w 4519987"/>
              <a:gd name="connsiteY137" fmla="*/ 38100 h 4496940"/>
              <a:gd name="connsiteX138" fmla="*/ 2392702 w 4519987"/>
              <a:gd name="connsiteY13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869077 w 4519987"/>
              <a:gd name="connsiteY39" fmla="*/ 3724275 h 4496940"/>
              <a:gd name="connsiteX40" fmla="*/ 3792877 w 4519987"/>
              <a:gd name="connsiteY40" fmla="*/ 3781425 h 4496940"/>
              <a:gd name="connsiteX41" fmla="*/ 3783352 w 4519987"/>
              <a:gd name="connsiteY41" fmla="*/ 3810000 h 4496940"/>
              <a:gd name="connsiteX42" fmla="*/ 3745252 w 4519987"/>
              <a:gd name="connsiteY42" fmla="*/ 3819525 h 4496940"/>
              <a:gd name="connsiteX43" fmla="*/ 3678577 w 4519987"/>
              <a:gd name="connsiteY43" fmla="*/ 3848100 h 4496940"/>
              <a:gd name="connsiteX44" fmla="*/ 3659527 w 4519987"/>
              <a:gd name="connsiteY44" fmla="*/ 3971925 h 4496940"/>
              <a:gd name="connsiteX45" fmla="*/ 3630952 w 4519987"/>
              <a:gd name="connsiteY45" fmla="*/ 4010025 h 4496940"/>
              <a:gd name="connsiteX46" fmla="*/ 3621427 w 4519987"/>
              <a:gd name="connsiteY46" fmla="*/ 4038600 h 4496940"/>
              <a:gd name="connsiteX47" fmla="*/ 3554752 w 4519987"/>
              <a:gd name="connsiteY47" fmla="*/ 4095750 h 4496940"/>
              <a:gd name="connsiteX48" fmla="*/ 3516652 w 4519987"/>
              <a:gd name="connsiteY48" fmla="*/ 4114800 h 4496940"/>
              <a:gd name="connsiteX49" fmla="*/ 3497602 w 4519987"/>
              <a:gd name="connsiteY49" fmla="*/ 4143375 h 4496940"/>
              <a:gd name="connsiteX50" fmla="*/ 3383302 w 4519987"/>
              <a:gd name="connsiteY50" fmla="*/ 4210050 h 4496940"/>
              <a:gd name="connsiteX51" fmla="*/ 3335677 w 4519987"/>
              <a:gd name="connsiteY51" fmla="*/ 4238625 h 4496940"/>
              <a:gd name="connsiteX52" fmla="*/ 3288052 w 4519987"/>
              <a:gd name="connsiteY52" fmla="*/ 4248150 h 4496940"/>
              <a:gd name="connsiteX53" fmla="*/ 3240427 w 4519987"/>
              <a:gd name="connsiteY53" fmla="*/ 4267200 h 4496940"/>
              <a:gd name="connsiteX54" fmla="*/ 3068977 w 4519987"/>
              <a:gd name="connsiteY54" fmla="*/ 4286250 h 4496940"/>
              <a:gd name="connsiteX55" fmla="*/ 2935627 w 4519987"/>
              <a:gd name="connsiteY55" fmla="*/ 4333875 h 4496940"/>
              <a:gd name="connsiteX56" fmla="*/ 2811802 w 4519987"/>
              <a:gd name="connsiteY56" fmla="*/ 4371975 h 4496940"/>
              <a:gd name="connsiteX57" fmla="*/ 2745127 w 4519987"/>
              <a:gd name="connsiteY57" fmla="*/ 4410075 h 4496940"/>
              <a:gd name="connsiteX58" fmla="*/ 2697502 w 4519987"/>
              <a:gd name="connsiteY58" fmla="*/ 4429125 h 4496940"/>
              <a:gd name="connsiteX59" fmla="*/ 2640352 w 4519987"/>
              <a:gd name="connsiteY59" fmla="*/ 4457700 h 4496940"/>
              <a:gd name="connsiteX60" fmla="*/ 2583202 w 4519987"/>
              <a:gd name="connsiteY60" fmla="*/ 4467225 h 4496940"/>
              <a:gd name="connsiteX61" fmla="*/ 2545102 w 4519987"/>
              <a:gd name="connsiteY61" fmla="*/ 4486275 h 4496940"/>
              <a:gd name="connsiteX62" fmla="*/ 2306977 w 4519987"/>
              <a:gd name="connsiteY62" fmla="*/ 4476750 h 4496940"/>
              <a:gd name="connsiteX63" fmla="*/ 2202202 w 4519987"/>
              <a:gd name="connsiteY63" fmla="*/ 4457700 h 4496940"/>
              <a:gd name="connsiteX64" fmla="*/ 2126002 w 4519987"/>
              <a:gd name="connsiteY64" fmla="*/ 4429125 h 4496940"/>
              <a:gd name="connsiteX65" fmla="*/ 1935502 w 4519987"/>
              <a:gd name="connsiteY65" fmla="*/ 4400550 h 4496940"/>
              <a:gd name="connsiteX66" fmla="*/ 1821202 w 4519987"/>
              <a:gd name="connsiteY66" fmla="*/ 4371975 h 4496940"/>
              <a:gd name="connsiteX67" fmla="*/ 1754527 w 4519987"/>
              <a:gd name="connsiteY67" fmla="*/ 4352925 h 4496940"/>
              <a:gd name="connsiteX68" fmla="*/ 1687852 w 4519987"/>
              <a:gd name="connsiteY68" fmla="*/ 4343400 h 4496940"/>
              <a:gd name="connsiteX69" fmla="*/ 1573552 w 4519987"/>
              <a:gd name="connsiteY69" fmla="*/ 4305300 h 4496940"/>
              <a:gd name="connsiteX70" fmla="*/ 1402102 w 4519987"/>
              <a:gd name="connsiteY70" fmla="*/ 4276725 h 4496940"/>
              <a:gd name="connsiteX71" fmla="*/ 1287802 w 4519987"/>
              <a:gd name="connsiteY71" fmla="*/ 4229100 h 4496940"/>
              <a:gd name="connsiteX72" fmla="*/ 1221127 w 4519987"/>
              <a:gd name="connsiteY72" fmla="*/ 4200525 h 4496940"/>
              <a:gd name="connsiteX73" fmla="*/ 1144927 w 4519987"/>
              <a:gd name="connsiteY73" fmla="*/ 4171950 h 4496940"/>
              <a:gd name="connsiteX74" fmla="*/ 1087777 w 4519987"/>
              <a:gd name="connsiteY74" fmla="*/ 4143375 h 4496940"/>
              <a:gd name="connsiteX75" fmla="*/ 1030627 w 4519987"/>
              <a:gd name="connsiteY75" fmla="*/ 4124325 h 4496940"/>
              <a:gd name="connsiteX76" fmla="*/ 925852 w 4519987"/>
              <a:gd name="connsiteY76" fmla="*/ 4067175 h 4496940"/>
              <a:gd name="connsiteX77" fmla="*/ 830602 w 4519987"/>
              <a:gd name="connsiteY77" fmla="*/ 3981450 h 4496940"/>
              <a:gd name="connsiteX78" fmla="*/ 763927 w 4519987"/>
              <a:gd name="connsiteY78" fmla="*/ 3914775 h 4496940"/>
              <a:gd name="connsiteX79" fmla="*/ 725827 w 4519987"/>
              <a:gd name="connsiteY79" fmla="*/ 3876675 h 4496940"/>
              <a:gd name="connsiteX80" fmla="*/ 697252 w 4519987"/>
              <a:gd name="connsiteY80" fmla="*/ 3838575 h 4496940"/>
              <a:gd name="connsiteX81" fmla="*/ 640102 w 4519987"/>
              <a:gd name="connsiteY81" fmla="*/ 3781425 h 4496940"/>
              <a:gd name="connsiteX82" fmla="*/ 611527 w 4519987"/>
              <a:gd name="connsiteY82" fmla="*/ 3733800 h 4496940"/>
              <a:gd name="connsiteX83" fmla="*/ 554377 w 4519987"/>
              <a:gd name="connsiteY83" fmla="*/ 3657600 h 4496940"/>
              <a:gd name="connsiteX84" fmla="*/ 525802 w 4519987"/>
              <a:gd name="connsiteY84" fmla="*/ 3609975 h 4496940"/>
              <a:gd name="connsiteX85" fmla="*/ 497227 w 4519987"/>
              <a:gd name="connsiteY85" fmla="*/ 3552825 h 4496940"/>
              <a:gd name="connsiteX86" fmla="*/ 440077 w 4519987"/>
              <a:gd name="connsiteY86" fmla="*/ 3495675 h 4496940"/>
              <a:gd name="connsiteX87" fmla="*/ 411502 w 4519987"/>
              <a:gd name="connsiteY87" fmla="*/ 3448050 h 4496940"/>
              <a:gd name="connsiteX88" fmla="*/ 278152 w 4519987"/>
              <a:gd name="connsiteY88" fmla="*/ 3257550 h 4496940"/>
              <a:gd name="connsiteX89" fmla="*/ 249577 w 4519987"/>
              <a:gd name="connsiteY89" fmla="*/ 3200400 h 4496940"/>
              <a:gd name="connsiteX90" fmla="*/ 240052 w 4519987"/>
              <a:gd name="connsiteY90" fmla="*/ 3162300 h 4496940"/>
              <a:gd name="connsiteX91" fmla="*/ 221002 w 4519987"/>
              <a:gd name="connsiteY91" fmla="*/ 3105150 h 4496940"/>
              <a:gd name="connsiteX92" fmla="*/ 173377 w 4519987"/>
              <a:gd name="connsiteY92" fmla="*/ 3019425 h 4496940"/>
              <a:gd name="connsiteX93" fmla="*/ 144802 w 4519987"/>
              <a:gd name="connsiteY93" fmla="*/ 2924175 h 4496940"/>
              <a:gd name="connsiteX94" fmla="*/ 68602 w 4519987"/>
              <a:gd name="connsiteY94" fmla="*/ 2724150 h 4496940"/>
              <a:gd name="connsiteX95" fmla="*/ 49552 w 4519987"/>
              <a:gd name="connsiteY95" fmla="*/ 2638425 h 4496940"/>
              <a:gd name="connsiteX96" fmla="*/ 40027 w 4519987"/>
              <a:gd name="connsiteY96" fmla="*/ 2562225 h 4496940"/>
              <a:gd name="connsiteX97" fmla="*/ 30502 w 4519987"/>
              <a:gd name="connsiteY97" fmla="*/ 2514600 h 4496940"/>
              <a:gd name="connsiteX98" fmla="*/ 11452 w 4519987"/>
              <a:gd name="connsiteY98" fmla="*/ 2400300 h 4496940"/>
              <a:gd name="connsiteX99" fmla="*/ 20977 w 4519987"/>
              <a:gd name="connsiteY99" fmla="*/ 1905000 h 4496940"/>
              <a:gd name="connsiteX100" fmla="*/ 30502 w 4519987"/>
              <a:gd name="connsiteY100" fmla="*/ 1838325 h 4496940"/>
              <a:gd name="connsiteX101" fmla="*/ 49552 w 4519987"/>
              <a:gd name="connsiteY101" fmla="*/ 1781175 h 4496940"/>
              <a:gd name="connsiteX102" fmla="*/ 59077 w 4519987"/>
              <a:gd name="connsiteY102" fmla="*/ 1743075 h 4496940"/>
              <a:gd name="connsiteX103" fmla="*/ 78127 w 4519987"/>
              <a:gd name="connsiteY103" fmla="*/ 1685925 h 4496940"/>
              <a:gd name="connsiteX104" fmla="*/ 87652 w 4519987"/>
              <a:gd name="connsiteY104" fmla="*/ 1638300 h 4496940"/>
              <a:gd name="connsiteX105" fmla="*/ 106702 w 4519987"/>
              <a:gd name="connsiteY105" fmla="*/ 1590675 h 4496940"/>
              <a:gd name="connsiteX106" fmla="*/ 135277 w 4519987"/>
              <a:gd name="connsiteY106" fmla="*/ 1504950 h 4496940"/>
              <a:gd name="connsiteX107" fmla="*/ 154327 w 4519987"/>
              <a:gd name="connsiteY107" fmla="*/ 1419225 h 4496940"/>
              <a:gd name="connsiteX108" fmla="*/ 230527 w 4519987"/>
              <a:gd name="connsiteY108" fmla="*/ 1276350 h 4496940"/>
              <a:gd name="connsiteX109" fmla="*/ 240052 w 4519987"/>
              <a:gd name="connsiteY109" fmla="*/ 1247775 h 4496940"/>
              <a:gd name="connsiteX110" fmla="*/ 268627 w 4519987"/>
              <a:gd name="connsiteY110" fmla="*/ 1200150 h 4496940"/>
              <a:gd name="connsiteX111" fmla="*/ 287677 w 4519987"/>
              <a:gd name="connsiteY111" fmla="*/ 1152525 h 4496940"/>
              <a:gd name="connsiteX112" fmla="*/ 316252 w 4519987"/>
              <a:gd name="connsiteY112" fmla="*/ 1114425 h 4496940"/>
              <a:gd name="connsiteX113" fmla="*/ 363877 w 4519987"/>
              <a:gd name="connsiteY113" fmla="*/ 1038225 h 4496940"/>
              <a:gd name="connsiteX114" fmla="*/ 382927 w 4519987"/>
              <a:gd name="connsiteY114" fmla="*/ 1009650 h 4496940"/>
              <a:gd name="connsiteX115" fmla="*/ 440077 w 4519987"/>
              <a:gd name="connsiteY115" fmla="*/ 904875 h 4496940"/>
              <a:gd name="connsiteX116" fmla="*/ 478177 w 4519987"/>
              <a:gd name="connsiteY116" fmla="*/ 857250 h 4496940"/>
              <a:gd name="connsiteX117" fmla="*/ 497227 w 4519987"/>
              <a:gd name="connsiteY117" fmla="*/ 828675 h 4496940"/>
              <a:gd name="connsiteX118" fmla="*/ 535327 w 4519987"/>
              <a:gd name="connsiteY118" fmla="*/ 800100 h 4496940"/>
              <a:gd name="connsiteX119" fmla="*/ 602002 w 4519987"/>
              <a:gd name="connsiteY119" fmla="*/ 733425 h 4496940"/>
              <a:gd name="connsiteX120" fmla="*/ 668677 w 4519987"/>
              <a:gd name="connsiteY120" fmla="*/ 676275 h 4496940"/>
              <a:gd name="connsiteX121" fmla="*/ 697252 w 4519987"/>
              <a:gd name="connsiteY121" fmla="*/ 657225 h 4496940"/>
              <a:gd name="connsiteX122" fmla="*/ 840127 w 4519987"/>
              <a:gd name="connsiteY122" fmla="*/ 533400 h 4496940"/>
              <a:gd name="connsiteX123" fmla="*/ 887752 w 4519987"/>
              <a:gd name="connsiteY123" fmla="*/ 504825 h 4496940"/>
              <a:gd name="connsiteX124" fmla="*/ 1167152 w 4519987"/>
              <a:gd name="connsiteY124" fmla="*/ 311150 h 4496940"/>
              <a:gd name="connsiteX125" fmla="*/ 1268752 w 4519987"/>
              <a:gd name="connsiteY125" fmla="*/ 285750 h 4496940"/>
              <a:gd name="connsiteX126" fmla="*/ 1411627 w 4519987"/>
              <a:gd name="connsiteY126" fmla="*/ 190500 h 4496940"/>
              <a:gd name="connsiteX127" fmla="*/ 1449727 w 4519987"/>
              <a:gd name="connsiteY127" fmla="*/ 161925 h 4496940"/>
              <a:gd name="connsiteX128" fmla="*/ 1525927 w 4519987"/>
              <a:gd name="connsiteY128" fmla="*/ 152400 h 4496940"/>
              <a:gd name="connsiteX129" fmla="*/ 1583077 w 4519987"/>
              <a:gd name="connsiteY129" fmla="*/ 142875 h 4496940"/>
              <a:gd name="connsiteX130" fmla="*/ 1716427 w 4519987"/>
              <a:gd name="connsiteY130" fmla="*/ 123825 h 4496940"/>
              <a:gd name="connsiteX131" fmla="*/ 1811677 w 4519987"/>
              <a:gd name="connsiteY131" fmla="*/ 114300 h 4496940"/>
              <a:gd name="connsiteX132" fmla="*/ 1859302 w 4519987"/>
              <a:gd name="connsiteY132" fmla="*/ 104775 h 4496940"/>
              <a:gd name="connsiteX133" fmla="*/ 1916452 w 4519987"/>
              <a:gd name="connsiteY133" fmla="*/ 95250 h 4496940"/>
              <a:gd name="connsiteX134" fmla="*/ 2030752 w 4519987"/>
              <a:gd name="connsiteY134" fmla="*/ 66675 h 4496940"/>
              <a:gd name="connsiteX135" fmla="*/ 2097427 w 4519987"/>
              <a:gd name="connsiteY135" fmla="*/ 47625 h 4496940"/>
              <a:gd name="connsiteX136" fmla="*/ 2164102 w 4519987"/>
              <a:gd name="connsiteY136" fmla="*/ 38100 h 4496940"/>
              <a:gd name="connsiteX137" fmla="*/ 2392702 w 4519987"/>
              <a:gd name="connsiteY13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783352 w 4519987"/>
              <a:gd name="connsiteY40" fmla="*/ 3810000 h 4496940"/>
              <a:gd name="connsiteX41" fmla="*/ 3745252 w 4519987"/>
              <a:gd name="connsiteY41" fmla="*/ 3819525 h 4496940"/>
              <a:gd name="connsiteX42" fmla="*/ 3678577 w 4519987"/>
              <a:gd name="connsiteY42" fmla="*/ 3848100 h 4496940"/>
              <a:gd name="connsiteX43" fmla="*/ 3659527 w 4519987"/>
              <a:gd name="connsiteY43" fmla="*/ 3971925 h 4496940"/>
              <a:gd name="connsiteX44" fmla="*/ 3630952 w 4519987"/>
              <a:gd name="connsiteY44" fmla="*/ 4010025 h 4496940"/>
              <a:gd name="connsiteX45" fmla="*/ 3621427 w 4519987"/>
              <a:gd name="connsiteY45" fmla="*/ 4038600 h 4496940"/>
              <a:gd name="connsiteX46" fmla="*/ 3554752 w 4519987"/>
              <a:gd name="connsiteY46" fmla="*/ 4095750 h 4496940"/>
              <a:gd name="connsiteX47" fmla="*/ 3516652 w 4519987"/>
              <a:gd name="connsiteY47" fmla="*/ 4114800 h 4496940"/>
              <a:gd name="connsiteX48" fmla="*/ 3497602 w 4519987"/>
              <a:gd name="connsiteY48" fmla="*/ 4143375 h 4496940"/>
              <a:gd name="connsiteX49" fmla="*/ 3383302 w 4519987"/>
              <a:gd name="connsiteY49" fmla="*/ 4210050 h 4496940"/>
              <a:gd name="connsiteX50" fmla="*/ 3335677 w 4519987"/>
              <a:gd name="connsiteY50" fmla="*/ 4238625 h 4496940"/>
              <a:gd name="connsiteX51" fmla="*/ 3288052 w 4519987"/>
              <a:gd name="connsiteY51" fmla="*/ 4248150 h 4496940"/>
              <a:gd name="connsiteX52" fmla="*/ 3240427 w 4519987"/>
              <a:gd name="connsiteY52" fmla="*/ 4267200 h 4496940"/>
              <a:gd name="connsiteX53" fmla="*/ 3068977 w 4519987"/>
              <a:gd name="connsiteY53" fmla="*/ 4286250 h 4496940"/>
              <a:gd name="connsiteX54" fmla="*/ 2935627 w 4519987"/>
              <a:gd name="connsiteY54" fmla="*/ 4333875 h 4496940"/>
              <a:gd name="connsiteX55" fmla="*/ 2811802 w 4519987"/>
              <a:gd name="connsiteY55" fmla="*/ 4371975 h 4496940"/>
              <a:gd name="connsiteX56" fmla="*/ 2745127 w 4519987"/>
              <a:gd name="connsiteY56" fmla="*/ 4410075 h 4496940"/>
              <a:gd name="connsiteX57" fmla="*/ 2697502 w 4519987"/>
              <a:gd name="connsiteY57" fmla="*/ 4429125 h 4496940"/>
              <a:gd name="connsiteX58" fmla="*/ 2640352 w 4519987"/>
              <a:gd name="connsiteY58" fmla="*/ 4457700 h 4496940"/>
              <a:gd name="connsiteX59" fmla="*/ 2583202 w 4519987"/>
              <a:gd name="connsiteY59" fmla="*/ 4467225 h 4496940"/>
              <a:gd name="connsiteX60" fmla="*/ 2545102 w 4519987"/>
              <a:gd name="connsiteY60" fmla="*/ 4486275 h 4496940"/>
              <a:gd name="connsiteX61" fmla="*/ 2306977 w 4519987"/>
              <a:gd name="connsiteY61" fmla="*/ 4476750 h 4496940"/>
              <a:gd name="connsiteX62" fmla="*/ 2202202 w 4519987"/>
              <a:gd name="connsiteY62" fmla="*/ 4457700 h 4496940"/>
              <a:gd name="connsiteX63" fmla="*/ 2126002 w 4519987"/>
              <a:gd name="connsiteY63" fmla="*/ 4429125 h 4496940"/>
              <a:gd name="connsiteX64" fmla="*/ 1935502 w 4519987"/>
              <a:gd name="connsiteY64" fmla="*/ 4400550 h 4496940"/>
              <a:gd name="connsiteX65" fmla="*/ 1821202 w 4519987"/>
              <a:gd name="connsiteY65" fmla="*/ 4371975 h 4496940"/>
              <a:gd name="connsiteX66" fmla="*/ 1754527 w 4519987"/>
              <a:gd name="connsiteY66" fmla="*/ 4352925 h 4496940"/>
              <a:gd name="connsiteX67" fmla="*/ 1687852 w 4519987"/>
              <a:gd name="connsiteY67" fmla="*/ 4343400 h 4496940"/>
              <a:gd name="connsiteX68" fmla="*/ 1573552 w 4519987"/>
              <a:gd name="connsiteY68" fmla="*/ 4305300 h 4496940"/>
              <a:gd name="connsiteX69" fmla="*/ 1402102 w 4519987"/>
              <a:gd name="connsiteY69" fmla="*/ 4276725 h 4496940"/>
              <a:gd name="connsiteX70" fmla="*/ 1287802 w 4519987"/>
              <a:gd name="connsiteY70" fmla="*/ 4229100 h 4496940"/>
              <a:gd name="connsiteX71" fmla="*/ 1221127 w 4519987"/>
              <a:gd name="connsiteY71" fmla="*/ 4200525 h 4496940"/>
              <a:gd name="connsiteX72" fmla="*/ 1144927 w 4519987"/>
              <a:gd name="connsiteY72" fmla="*/ 4171950 h 4496940"/>
              <a:gd name="connsiteX73" fmla="*/ 1087777 w 4519987"/>
              <a:gd name="connsiteY73" fmla="*/ 4143375 h 4496940"/>
              <a:gd name="connsiteX74" fmla="*/ 1030627 w 4519987"/>
              <a:gd name="connsiteY74" fmla="*/ 4124325 h 4496940"/>
              <a:gd name="connsiteX75" fmla="*/ 925852 w 4519987"/>
              <a:gd name="connsiteY75" fmla="*/ 4067175 h 4496940"/>
              <a:gd name="connsiteX76" fmla="*/ 830602 w 4519987"/>
              <a:gd name="connsiteY76" fmla="*/ 3981450 h 4496940"/>
              <a:gd name="connsiteX77" fmla="*/ 763927 w 4519987"/>
              <a:gd name="connsiteY77" fmla="*/ 3914775 h 4496940"/>
              <a:gd name="connsiteX78" fmla="*/ 725827 w 4519987"/>
              <a:gd name="connsiteY78" fmla="*/ 3876675 h 4496940"/>
              <a:gd name="connsiteX79" fmla="*/ 697252 w 4519987"/>
              <a:gd name="connsiteY79" fmla="*/ 3838575 h 4496940"/>
              <a:gd name="connsiteX80" fmla="*/ 640102 w 4519987"/>
              <a:gd name="connsiteY80" fmla="*/ 3781425 h 4496940"/>
              <a:gd name="connsiteX81" fmla="*/ 611527 w 4519987"/>
              <a:gd name="connsiteY81" fmla="*/ 3733800 h 4496940"/>
              <a:gd name="connsiteX82" fmla="*/ 554377 w 4519987"/>
              <a:gd name="connsiteY82" fmla="*/ 3657600 h 4496940"/>
              <a:gd name="connsiteX83" fmla="*/ 525802 w 4519987"/>
              <a:gd name="connsiteY83" fmla="*/ 3609975 h 4496940"/>
              <a:gd name="connsiteX84" fmla="*/ 497227 w 4519987"/>
              <a:gd name="connsiteY84" fmla="*/ 3552825 h 4496940"/>
              <a:gd name="connsiteX85" fmla="*/ 440077 w 4519987"/>
              <a:gd name="connsiteY85" fmla="*/ 3495675 h 4496940"/>
              <a:gd name="connsiteX86" fmla="*/ 411502 w 4519987"/>
              <a:gd name="connsiteY86" fmla="*/ 3448050 h 4496940"/>
              <a:gd name="connsiteX87" fmla="*/ 278152 w 4519987"/>
              <a:gd name="connsiteY87" fmla="*/ 3257550 h 4496940"/>
              <a:gd name="connsiteX88" fmla="*/ 249577 w 4519987"/>
              <a:gd name="connsiteY88" fmla="*/ 3200400 h 4496940"/>
              <a:gd name="connsiteX89" fmla="*/ 240052 w 4519987"/>
              <a:gd name="connsiteY89" fmla="*/ 3162300 h 4496940"/>
              <a:gd name="connsiteX90" fmla="*/ 221002 w 4519987"/>
              <a:gd name="connsiteY90" fmla="*/ 3105150 h 4496940"/>
              <a:gd name="connsiteX91" fmla="*/ 173377 w 4519987"/>
              <a:gd name="connsiteY91" fmla="*/ 3019425 h 4496940"/>
              <a:gd name="connsiteX92" fmla="*/ 144802 w 4519987"/>
              <a:gd name="connsiteY92" fmla="*/ 2924175 h 4496940"/>
              <a:gd name="connsiteX93" fmla="*/ 68602 w 4519987"/>
              <a:gd name="connsiteY93" fmla="*/ 2724150 h 4496940"/>
              <a:gd name="connsiteX94" fmla="*/ 49552 w 4519987"/>
              <a:gd name="connsiteY94" fmla="*/ 2638425 h 4496940"/>
              <a:gd name="connsiteX95" fmla="*/ 40027 w 4519987"/>
              <a:gd name="connsiteY95" fmla="*/ 2562225 h 4496940"/>
              <a:gd name="connsiteX96" fmla="*/ 30502 w 4519987"/>
              <a:gd name="connsiteY96" fmla="*/ 2514600 h 4496940"/>
              <a:gd name="connsiteX97" fmla="*/ 11452 w 4519987"/>
              <a:gd name="connsiteY97" fmla="*/ 2400300 h 4496940"/>
              <a:gd name="connsiteX98" fmla="*/ 20977 w 4519987"/>
              <a:gd name="connsiteY98" fmla="*/ 1905000 h 4496940"/>
              <a:gd name="connsiteX99" fmla="*/ 30502 w 4519987"/>
              <a:gd name="connsiteY99" fmla="*/ 1838325 h 4496940"/>
              <a:gd name="connsiteX100" fmla="*/ 49552 w 4519987"/>
              <a:gd name="connsiteY100" fmla="*/ 1781175 h 4496940"/>
              <a:gd name="connsiteX101" fmla="*/ 59077 w 4519987"/>
              <a:gd name="connsiteY101" fmla="*/ 1743075 h 4496940"/>
              <a:gd name="connsiteX102" fmla="*/ 78127 w 4519987"/>
              <a:gd name="connsiteY102" fmla="*/ 1685925 h 4496940"/>
              <a:gd name="connsiteX103" fmla="*/ 87652 w 4519987"/>
              <a:gd name="connsiteY103" fmla="*/ 1638300 h 4496940"/>
              <a:gd name="connsiteX104" fmla="*/ 106702 w 4519987"/>
              <a:gd name="connsiteY104" fmla="*/ 1590675 h 4496940"/>
              <a:gd name="connsiteX105" fmla="*/ 135277 w 4519987"/>
              <a:gd name="connsiteY105" fmla="*/ 1504950 h 4496940"/>
              <a:gd name="connsiteX106" fmla="*/ 154327 w 4519987"/>
              <a:gd name="connsiteY106" fmla="*/ 1419225 h 4496940"/>
              <a:gd name="connsiteX107" fmla="*/ 230527 w 4519987"/>
              <a:gd name="connsiteY107" fmla="*/ 1276350 h 4496940"/>
              <a:gd name="connsiteX108" fmla="*/ 240052 w 4519987"/>
              <a:gd name="connsiteY108" fmla="*/ 1247775 h 4496940"/>
              <a:gd name="connsiteX109" fmla="*/ 268627 w 4519987"/>
              <a:gd name="connsiteY109" fmla="*/ 1200150 h 4496940"/>
              <a:gd name="connsiteX110" fmla="*/ 287677 w 4519987"/>
              <a:gd name="connsiteY110" fmla="*/ 1152525 h 4496940"/>
              <a:gd name="connsiteX111" fmla="*/ 316252 w 4519987"/>
              <a:gd name="connsiteY111" fmla="*/ 1114425 h 4496940"/>
              <a:gd name="connsiteX112" fmla="*/ 363877 w 4519987"/>
              <a:gd name="connsiteY112" fmla="*/ 1038225 h 4496940"/>
              <a:gd name="connsiteX113" fmla="*/ 382927 w 4519987"/>
              <a:gd name="connsiteY113" fmla="*/ 1009650 h 4496940"/>
              <a:gd name="connsiteX114" fmla="*/ 440077 w 4519987"/>
              <a:gd name="connsiteY114" fmla="*/ 904875 h 4496940"/>
              <a:gd name="connsiteX115" fmla="*/ 478177 w 4519987"/>
              <a:gd name="connsiteY115" fmla="*/ 857250 h 4496940"/>
              <a:gd name="connsiteX116" fmla="*/ 497227 w 4519987"/>
              <a:gd name="connsiteY116" fmla="*/ 828675 h 4496940"/>
              <a:gd name="connsiteX117" fmla="*/ 535327 w 4519987"/>
              <a:gd name="connsiteY117" fmla="*/ 800100 h 4496940"/>
              <a:gd name="connsiteX118" fmla="*/ 602002 w 4519987"/>
              <a:gd name="connsiteY118" fmla="*/ 733425 h 4496940"/>
              <a:gd name="connsiteX119" fmla="*/ 668677 w 4519987"/>
              <a:gd name="connsiteY119" fmla="*/ 676275 h 4496940"/>
              <a:gd name="connsiteX120" fmla="*/ 697252 w 4519987"/>
              <a:gd name="connsiteY120" fmla="*/ 657225 h 4496940"/>
              <a:gd name="connsiteX121" fmla="*/ 840127 w 4519987"/>
              <a:gd name="connsiteY121" fmla="*/ 533400 h 4496940"/>
              <a:gd name="connsiteX122" fmla="*/ 887752 w 4519987"/>
              <a:gd name="connsiteY122" fmla="*/ 504825 h 4496940"/>
              <a:gd name="connsiteX123" fmla="*/ 1167152 w 4519987"/>
              <a:gd name="connsiteY123" fmla="*/ 311150 h 4496940"/>
              <a:gd name="connsiteX124" fmla="*/ 1268752 w 4519987"/>
              <a:gd name="connsiteY124" fmla="*/ 285750 h 4496940"/>
              <a:gd name="connsiteX125" fmla="*/ 1411627 w 4519987"/>
              <a:gd name="connsiteY125" fmla="*/ 190500 h 4496940"/>
              <a:gd name="connsiteX126" fmla="*/ 1449727 w 4519987"/>
              <a:gd name="connsiteY126" fmla="*/ 161925 h 4496940"/>
              <a:gd name="connsiteX127" fmla="*/ 1525927 w 4519987"/>
              <a:gd name="connsiteY127" fmla="*/ 152400 h 4496940"/>
              <a:gd name="connsiteX128" fmla="*/ 1583077 w 4519987"/>
              <a:gd name="connsiteY128" fmla="*/ 142875 h 4496940"/>
              <a:gd name="connsiteX129" fmla="*/ 1716427 w 4519987"/>
              <a:gd name="connsiteY129" fmla="*/ 123825 h 4496940"/>
              <a:gd name="connsiteX130" fmla="*/ 1811677 w 4519987"/>
              <a:gd name="connsiteY130" fmla="*/ 114300 h 4496940"/>
              <a:gd name="connsiteX131" fmla="*/ 1859302 w 4519987"/>
              <a:gd name="connsiteY131" fmla="*/ 104775 h 4496940"/>
              <a:gd name="connsiteX132" fmla="*/ 1916452 w 4519987"/>
              <a:gd name="connsiteY132" fmla="*/ 95250 h 4496940"/>
              <a:gd name="connsiteX133" fmla="*/ 2030752 w 4519987"/>
              <a:gd name="connsiteY133" fmla="*/ 66675 h 4496940"/>
              <a:gd name="connsiteX134" fmla="*/ 2097427 w 4519987"/>
              <a:gd name="connsiteY134" fmla="*/ 47625 h 4496940"/>
              <a:gd name="connsiteX135" fmla="*/ 2164102 w 4519987"/>
              <a:gd name="connsiteY135" fmla="*/ 38100 h 4496940"/>
              <a:gd name="connsiteX136" fmla="*/ 2392702 w 4519987"/>
              <a:gd name="connsiteY13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783352 w 4519987"/>
              <a:gd name="connsiteY40" fmla="*/ 3810000 h 4496940"/>
              <a:gd name="connsiteX41" fmla="*/ 3678577 w 4519987"/>
              <a:gd name="connsiteY41" fmla="*/ 3848100 h 4496940"/>
              <a:gd name="connsiteX42" fmla="*/ 3659527 w 4519987"/>
              <a:gd name="connsiteY42" fmla="*/ 3971925 h 4496940"/>
              <a:gd name="connsiteX43" fmla="*/ 3630952 w 4519987"/>
              <a:gd name="connsiteY43" fmla="*/ 4010025 h 4496940"/>
              <a:gd name="connsiteX44" fmla="*/ 3621427 w 4519987"/>
              <a:gd name="connsiteY44" fmla="*/ 4038600 h 4496940"/>
              <a:gd name="connsiteX45" fmla="*/ 3554752 w 4519987"/>
              <a:gd name="connsiteY45" fmla="*/ 4095750 h 4496940"/>
              <a:gd name="connsiteX46" fmla="*/ 3516652 w 4519987"/>
              <a:gd name="connsiteY46" fmla="*/ 4114800 h 4496940"/>
              <a:gd name="connsiteX47" fmla="*/ 3497602 w 4519987"/>
              <a:gd name="connsiteY47" fmla="*/ 4143375 h 4496940"/>
              <a:gd name="connsiteX48" fmla="*/ 3383302 w 4519987"/>
              <a:gd name="connsiteY48" fmla="*/ 4210050 h 4496940"/>
              <a:gd name="connsiteX49" fmla="*/ 3335677 w 4519987"/>
              <a:gd name="connsiteY49" fmla="*/ 4238625 h 4496940"/>
              <a:gd name="connsiteX50" fmla="*/ 3288052 w 4519987"/>
              <a:gd name="connsiteY50" fmla="*/ 4248150 h 4496940"/>
              <a:gd name="connsiteX51" fmla="*/ 3240427 w 4519987"/>
              <a:gd name="connsiteY51" fmla="*/ 4267200 h 4496940"/>
              <a:gd name="connsiteX52" fmla="*/ 3068977 w 4519987"/>
              <a:gd name="connsiteY52" fmla="*/ 4286250 h 4496940"/>
              <a:gd name="connsiteX53" fmla="*/ 2935627 w 4519987"/>
              <a:gd name="connsiteY53" fmla="*/ 4333875 h 4496940"/>
              <a:gd name="connsiteX54" fmla="*/ 2811802 w 4519987"/>
              <a:gd name="connsiteY54" fmla="*/ 4371975 h 4496940"/>
              <a:gd name="connsiteX55" fmla="*/ 2745127 w 4519987"/>
              <a:gd name="connsiteY55" fmla="*/ 4410075 h 4496940"/>
              <a:gd name="connsiteX56" fmla="*/ 2697502 w 4519987"/>
              <a:gd name="connsiteY56" fmla="*/ 4429125 h 4496940"/>
              <a:gd name="connsiteX57" fmla="*/ 2640352 w 4519987"/>
              <a:gd name="connsiteY57" fmla="*/ 4457700 h 4496940"/>
              <a:gd name="connsiteX58" fmla="*/ 2583202 w 4519987"/>
              <a:gd name="connsiteY58" fmla="*/ 4467225 h 4496940"/>
              <a:gd name="connsiteX59" fmla="*/ 2545102 w 4519987"/>
              <a:gd name="connsiteY59" fmla="*/ 4486275 h 4496940"/>
              <a:gd name="connsiteX60" fmla="*/ 2306977 w 4519987"/>
              <a:gd name="connsiteY60" fmla="*/ 4476750 h 4496940"/>
              <a:gd name="connsiteX61" fmla="*/ 2202202 w 4519987"/>
              <a:gd name="connsiteY61" fmla="*/ 4457700 h 4496940"/>
              <a:gd name="connsiteX62" fmla="*/ 2126002 w 4519987"/>
              <a:gd name="connsiteY62" fmla="*/ 4429125 h 4496940"/>
              <a:gd name="connsiteX63" fmla="*/ 1935502 w 4519987"/>
              <a:gd name="connsiteY63" fmla="*/ 4400550 h 4496940"/>
              <a:gd name="connsiteX64" fmla="*/ 1821202 w 4519987"/>
              <a:gd name="connsiteY64" fmla="*/ 4371975 h 4496940"/>
              <a:gd name="connsiteX65" fmla="*/ 1754527 w 4519987"/>
              <a:gd name="connsiteY65" fmla="*/ 4352925 h 4496940"/>
              <a:gd name="connsiteX66" fmla="*/ 1687852 w 4519987"/>
              <a:gd name="connsiteY66" fmla="*/ 4343400 h 4496940"/>
              <a:gd name="connsiteX67" fmla="*/ 1573552 w 4519987"/>
              <a:gd name="connsiteY67" fmla="*/ 4305300 h 4496940"/>
              <a:gd name="connsiteX68" fmla="*/ 1402102 w 4519987"/>
              <a:gd name="connsiteY68" fmla="*/ 4276725 h 4496940"/>
              <a:gd name="connsiteX69" fmla="*/ 1287802 w 4519987"/>
              <a:gd name="connsiteY69" fmla="*/ 4229100 h 4496940"/>
              <a:gd name="connsiteX70" fmla="*/ 1221127 w 4519987"/>
              <a:gd name="connsiteY70" fmla="*/ 4200525 h 4496940"/>
              <a:gd name="connsiteX71" fmla="*/ 1144927 w 4519987"/>
              <a:gd name="connsiteY71" fmla="*/ 4171950 h 4496940"/>
              <a:gd name="connsiteX72" fmla="*/ 1087777 w 4519987"/>
              <a:gd name="connsiteY72" fmla="*/ 4143375 h 4496940"/>
              <a:gd name="connsiteX73" fmla="*/ 1030627 w 4519987"/>
              <a:gd name="connsiteY73" fmla="*/ 4124325 h 4496940"/>
              <a:gd name="connsiteX74" fmla="*/ 925852 w 4519987"/>
              <a:gd name="connsiteY74" fmla="*/ 4067175 h 4496940"/>
              <a:gd name="connsiteX75" fmla="*/ 830602 w 4519987"/>
              <a:gd name="connsiteY75" fmla="*/ 3981450 h 4496940"/>
              <a:gd name="connsiteX76" fmla="*/ 763927 w 4519987"/>
              <a:gd name="connsiteY76" fmla="*/ 3914775 h 4496940"/>
              <a:gd name="connsiteX77" fmla="*/ 725827 w 4519987"/>
              <a:gd name="connsiteY77" fmla="*/ 3876675 h 4496940"/>
              <a:gd name="connsiteX78" fmla="*/ 697252 w 4519987"/>
              <a:gd name="connsiteY78" fmla="*/ 3838575 h 4496940"/>
              <a:gd name="connsiteX79" fmla="*/ 640102 w 4519987"/>
              <a:gd name="connsiteY79" fmla="*/ 3781425 h 4496940"/>
              <a:gd name="connsiteX80" fmla="*/ 611527 w 4519987"/>
              <a:gd name="connsiteY80" fmla="*/ 3733800 h 4496940"/>
              <a:gd name="connsiteX81" fmla="*/ 554377 w 4519987"/>
              <a:gd name="connsiteY81" fmla="*/ 3657600 h 4496940"/>
              <a:gd name="connsiteX82" fmla="*/ 525802 w 4519987"/>
              <a:gd name="connsiteY82" fmla="*/ 3609975 h 4496940"/>
              <a:gd name="connsiteX83" fmla="*/ 497227 w 4519987"/>
              <a:gd name="connsiteY83" fmla="*/ 3552825 h 4496940"/>
              <a:gd name="connsiteX84" fmla="*/ 440077 w 4519987"/>
              <a:gd name="connsiteY84" fmla="*/ 3495675 h 4496940"/>
              <a:gd name="connsiteX85" fmla="*/ 411502 w 4519987"/>
              <a:gd name="connsiteY85" fmla="*/ 3448050 h 4496940"/>
              <a:gd name="connsiteX86" fmla="*/ 278152 w 4519987"/>
              <a:gd name="connsiteY86" fmla="*/ 3257550 h 4496940"/>
              <a:gd name="connsiteX87" fmla="*/ 249577 w 4519987"/>
              <a:gd name="connsiteY87" fmla="*/ 3200400 h 4496940"/>
              <a:gd name="connsiteX88" fmla="*/ 240052 w 4519987"/>
              <a:gd name="connsiteY88" fmla="*/ 3162300 h 4496940"/>
              <a:gd name="connsiteX89" fmla="*/ 221002 w 4519987"/>
              <a:gd name="connsiteY89" fmla="*/ 3105150 h 4496940"/>
              <a:gd name="connsiteX90" fmla="*/ 173377 w 4519987"/>
              <a:gd name="connsiteY90" fmla="*/ 3019425 h 4496940"/>
              <a:gd name="connsiteX91" fmla="*/ 144802 w 4519987"/>
              <a:gd name="connsiteY91" fmla="*/ 2924175 h 4496940"/>
              <a:gd name="connsiteX92" fmla="*/ 68602 w 4519987"/>
              <a:gd name="connsiteY92" fmla="*/ 2724150 h 4496940"/>
              <a:gd name="connsiteX93" fmla="*/ 49552 w 4519987"/>
              <a:gd name="connsiteY93" fmla="*/ 2638425 h 4496940"/>
              <a:gd name="connsiteX94" fmla="*/ 40027 w 4519987"/>
              <a:gd name="connsiteY94" fmla="*/ 2562225 h 4496940"/>
              <a:gd name="connsiteX95" fmla="*/ 30502 w 4519987"/>
              <a:gd name="connsiteY95" fmla="*/ 2514600 h 4496940"/>
              <a:gd name="connsiteX96" fmla="*/ 11452 w 4519987"/>
              <a:gd name="connsiteY96" fmla="*/ 2400300 h 4496940"/>
              <a:gd name="connsiteX97" fmla="*/ 20977 w 4519987"/>
              <a:gd name="connsiteY97" fmla="*/ 1905000 h 4496940"/>
              <a:gd name="connsiteX98" fmla="*/ 30502 w 4519987"/>
              <a:gd name="connsiteY98" fmla="*/ 1838325 h 4496940"/>
              <a:gd name="connsiteX99" fmla="*/ 49552 w 4519987"/>
              <a:gd name="connsiteY99" fmla="*/ 1781175 h 4496940"/>
              <a:gd name="connsiteX100" fmla="*/ 59077 w 4519987"/>
              <a:gd name="connsiteY100" fmla="*/ 1743075 h 4496940"/>
              <a:gd name="connsiteX101" fmla="*/ 78127 w 4519987"/>
              <a:gd name="connsiteY101" fmla="*/ 1685925 h 4496940"/>
              <a:gd name="connsiteX102" fmla="*/ 87652 w 4519987"/>
              <a:gd name="connsiteY102" fmla="*/ 1638300 h 4496940"/>
              <a:gd name="connsiteX103" fmla="*/ 106702 w 4519987"/>
              <a:gd name="connsiteY103" fmla="*/ 1590675 h 4496940"/>
              <a:gd name="connsiteX104" fmla="*/ 135277 w 4519987"/>
              <a:gd name="connsiteY104" fmla="*/ 1504950 h 4496940"/>
              <a:gd name="connsiteX105" fmla="*/ 154327 w 4519987"/>
              <a:gd name="connsiteY105" fmla="*/ 1419225 h 4496940"/>
              <a:gd name="connsiteX106" fmla="*/ 230527 w 4519987"/>
              <a:gd name="connsiteY106" fmla="*/ 1276350 h 4496940"/>
              <a:gd name="connsiteX107" fmla="*/ 240052 w 4519987"/>
              <a:gd name="connsiteY107" fmla="*/ 1247775 h 4496940"/>
              <a:gd name="connsiteX108" fmla="*/ 268627 w 4519987"/>
              <a:gd name="connsiteY108" fmla="*/ 1200150 h 4496940"/>
              <a:gd name="connsiteX109" fmla="*/ 287677 w 4519987"/>
              <a:gd name="connsiteY109" fmla="*/ 1152525 h 4496940"/>
              <a:gd name="connsiteX110" fmla="*/ 316252 w 4519987"/>
              <a:gd name="connsiteY110" fmla="*/ 1114425 h 4496940"/>
              <a:gd name="connsiteX111" fmla="*/ 363877 w 4519987"/>
              <a:gd name="connsiteY111" fmla="*/ 1038225 h 4496940"/>
              <a:gd name="connsiteX112" fmla="*/ 382927 w 4519987"/>
              <a:gd name="connsiteY112" fmla="*/ 1009650 h 4496940"/>
              <a:gd name="connsiteX113" fmla="*/ 440077 w 4519987"/>
              <a:gd name="connsiteY113" fmla="*/ 904875 h 4496940"/>
              <a:gd name="connsiteX114" fmla="*/ 478177 w 4519987"/>
              <a:gd name="connsiteY114" fmla="*/ 857250 h 4496940"/>
              <a:gd name="connsiteX115" fmla="*/ 497227 w 4519987"/>
              <a:gd name="connsiteY115" fmla="*/ 828675 h 4496940"/>
              <a:gd name="connsiteX116" fmla="*/ 535327 w 4519987"/>
              <a:gd name="connsiteY116" fmla="*/ 800100 h 4496940"/>
              <a:gd name="connsiteX117" fmla="*/ 602002 w 4519987"/>
              <a:gd name="connsiteY117" fmla="*/ 733425 h 4496940"/>
              <a:gd name="connsiteX118" fmla="*/ 668677 w 4519987"/>
              <a:gd name="connsiteY118" fmla="*/ 676275 h 4496940"/>
              <a:gd name="connsiteX119" fmla="*/ 697252 w 4519987"/>
              <a:gd name="connsiteY119" fmla="*/ 657225 h 4496940"/>
              <a:gd name="connsiteX120" fmla="*/ 840127 w 4519987"/>
              <a:gd name="connsiteY120" fmla="*/ 533400 h 4496940"/>
              <a:gd name="connsiteX121" fmla="*/ 887752 w 4519987"/>
              <a:gd name="connsiteY121" fmla="*/ 504825 h 4496940"/>
              <a:gd name="connsiteX122" fmla="*/ 1167152 w 4519987"/>
              <a:gd name="connsiteY122" fmla="*/ 311150 h 4496940"/>
              <a:gd name="connsiteX123" fmla="*/ 1268752 w 4519987"/>
              <a:gd name="connsiteY123" fmla="*/ 285750 h 4496940"/>
              <a:gd name="connsiteX124" fmla="*/ 1411627 w 4519987"/>
              <a:gd name="connsiteY124" fmla="*/ 190500 h 4496940"/>
              <a:gd name="connsiteX125" fmla="*/ 1449727 w 4519987"/>
              <a:gd name="connsiteY125" fmla="*/ 161925 h 4496940"/>
              <a:gd name="connsiteX126" fmla="*/ 1525927 w 4519987"/>
              <a:gd name="connsiteY126" fmla="*/ 152400 h 4496940"/>
              <a:gd name="connsiteX127" fmla="*/ 1583077 w 4519987"/>
              <a:gd name="connsiteY127" fmla="*/ 142875 h 4496940"/>
              <a:gd name="connsiteX128" fmla="*/ 1716427 w 4519987"/>
              <a:gd name="connsiteY128" fmla="*/ 123825 h 4496940"/>
              <a:gd name="connsiteX129" fmla="*/ 1811677 w 4519987"/>
              <a:gd name="connsiteY129" fmla="*/ 114300 h 4496940"/>
              <a:gd name="connsiteX130" fmla="*/ 1859302 w 4519987"/>
              <a:gd name="connsiteY130" fmla="*/ 104775 h 4496940"/>
              <a:gd name="connsiteX131" fmla="*/ 1916452 w 4519987"/>
              <a:gd name="connsiteY131" fmla="*/ 95250 h 4496940"/>
              <a:gd name="connsiteX132" fmla="*/ 2030752 w 4519987"/>
              <a:gd name="connsiteY132" fmla="*/ 66675 h 4496940"/>
              <a:gd name="connsiteX133" fmla="*/ 2097427 w 4519987"/>
              <a:gd name="connsiteY133" fmla="*/ 47625 h 4496940"/>
              <a:gd name="connsiteX134" fmla="*/ 2164102 w 4519987"/>
              <a:gd name="connsiteY134" fmla="*/ 38100 h 4496940"/>
              <a:gd name="connsiteX135" fmla="*/ 2392702 w 4519987"/>
              <a:gd name="connsiteY13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678577 w 4519987"/>
              <a:gd name="connsiteY40" fmla="*/ 3848100 h 4496940"/>
              <a:gd name="connsiteX41" fmla="*/ 3659527 w 4519987"/>
              <a:gd name="connsiteY41" fmla="*/ 3971925 h 4496940"/>
              <a:gd name="connsiteX42" fmla="*/ 3630952 w 4519987"/>
              <a:gd name="connsiteY42" fmla="*/ 4010025 h 4496940"/>
              <a:gd name="connsiteX43" fmla="*/ 3621427 w 4519987"/>
              <a:gd name="connsiteY43" fmla="*/ 4038600 h 4496940"/>
              <a:gd name="connsiteX44" fmla="*/ 3554752 w 4519987"/>
              <a:gd name="connsiteY44" fmla="*/ 4095750 h 4496940"/>
              <a:gd name="connsiteX45" fmla="*/ 3516652 w 4519987"/>
              <a:gd name="connsiteY45" fmla="*/ 4114800 h 4496940"/>
              <a:gd name="connsiteX46" fmla="*/ 3497602 w 4519987"/>
              <a:gd name="connsiteY46" fmla="*/ 4143375 h 4496940"/>
              <a:gd name="connsiteX47" fmla="*/ 3383302 w 4519987"/>
              <a:gd name="connsiteY47" fmla="*/ 4210050 h 4496940"/>
              <a:gd name="connsiteX48" fmla="*/ 3335677 w 4519987"/>
              <a:gd name="connsiteY48" fmla="*/ 4238625 h 4496940"/>
              <a:gd name="connsiteX49" fmla="*/ 3288052 w 4519987"/>
              <a:gd name="connsiteY49" fmla="*/ 4248150 h 4496940"/>
              <a:gd name="connsiteX50" fmla="*/ 3240427 w 4519987"/>
              <a:gd name="connsiteY50" fmla="*/ 4267200 h 4496940"/>
              <a:gd name="connsiteX51" fmla="*/ 3068977 w 4519987"/>
              <a:gd name="connsiteY51" fmla="*/ 4286250 h 4496940"/>
              <a:gd name="connsiteX52" fmla="*/ 2935627 w 4519987"/>
              <a:gd name="connsiteY52" fmla="*/ 4333875 h 4496940"/>
              <a:gd name="connsiteX53" fmla="*/ 2811802 w 4519987"/>
              <a:gd name="connsiteY53" fmla="*/ 4371975 h 4496940"/>
              <a:gd name="connsiteX54" fmla="*/ 2745127 w 4519987"/>
              <a:gd name="connsiteY54" fmla="*/ 4410075 h 4496940"/>
              <a:gd name="connsiteX55" fmla="*/ 2697502 w 4519987"/>
              <a:gd name="connsiteY55" fmla="*/ 4429125 h 4496940"/>
              <a:gd name="connsiteX56" fmla="*/ 2640352 w 4519987"/>
              <a:gd name="connsiteY56" fmla="*/ 4457700 h 4496940"/>
              <a:gd name="connsiteX57" fmla="*/ 2583202 w 4519987"/>
              <a:gd name="connsiteY57" fmla="*/ 4467225 h 4496940"/>
              <a:gd name="connsiteX58" fmla="*/ 2545102 w 4519987"/>
              <a:gd name="connsiteY58" fmla="*/ 4486275 h 4496940"/>
              <a:gd name="connsiteX59" fmla="*/ 2306977 w 4519987"/>
              <a:gd name="connsiteY59" fmla="*/ 4476750 h 4496940"/>
              <a:gd name="connsiteX60" fmla="*/ 2202202 w 4519987"/>
              <a:gd name="connsiteY60" fmla="*/ 4457700 h 4496940"/>
              <a:gd name="connsiteX61" fmla="*/ 2126002 w 4519987"/>
              <a:gd name="connsiteY61" fmla="*/ 4429125 h 4496940"/>
              <a:gd name="connsiteX62" fmla="*/ 1935502 w 4519987"/>
              <a:gd name="connsiteY62" fmla="*/ 4400550 h 4496940"/>
              <a:gd name="connsiteX63" fmla="*/ 1821202 w 4519987"/>
              <a:gd name="connsiteY63" fmla="*/ 4371975 h 4496940"/>
              <a:gd name="connsiteX64" fmla="*/ 1754527 w 4519987"/>
              <a:gd name="connsiteY64" fmla="*/ 4352925 h 4496940"/>
              <a:gd name="connsiteX65" fmla="*/ 1687852 w 4519987"/>
              <a:gd name="connsiteY65" fmla="*/ 4343400 h 4496940"/>
              <a:gd name="connsiteX66" fmla="*/ 1573552 w 4519987"/>
              <a:gd name="connsiteY66" fmla="*/ 4305300 h 4496940"/>
              <a:gd name="connsiteX67" fmla="*/ 1402102 w 4519987"/>
              <a:gd name="connsiteY67" fmla="*/ 4276725 h 4496940"/>
              <a:gd name="connsiteX68" fmla="*/ 1287802 w 4519987"/>
              <a:gd name="connsiteY68" fmla="*/ 4229100 h 4496940"/>
              <a:gd name="connsiteX69" fmla="*/ 1221127 w 4519987"/>
              <a:gd name="connsiteY69" fmla="*/ 4200525 h 4496940"/>
              <a:gd name="connsiteX70" fmla="*/ 1144927 w 4519987"/>
              <a:gd name="connsiteY70" fmla="*/ 4171950 h 4496940"/>
              <a:gd name="connsiteX71" fmla="*/ 1087777 w 4519987"/>
              <a:gd name="connsiteY71" fmla="*/ 4143375 h 4496940"/>
              <a:gd name="connsiteX72" fmla="*/ 1030627 w 4519987"/>
              <a:gd name="connsiteY72" fmla="*/ 4124325 h 4496940"/>
              <a:gd name="connsiteX73" fmla="*/ 925852 w 4519987"/>
              <a:gd name="connsiteY73" fmla="*/ 4067175 h 4496940"/>
              <a:gd name="connsiteX74" fmla="*/ 830602 w 4519987"/>
              <a:gd name="connsiteY74" fmla="*/ 3981450 h 4496940"/>
              <a:gd name="connsiteX75" fmla="*/ 763927 w 4519987"/>
              <a:gd name="connsiteY75" fmla="*/ 3914775 h 4496940"/>
              <a:gd name="connsiteX76" fmla="*/ 725827 w 4519987"/>
              <a:gd name="connsiteY76" fmla="*/ 3876675 h 4496940"/>
              <a:gd name="connsiteX77" fmla="*/ 697252 w 4519987"/>
              <a:gd name="connsiteY77" fmla="*/ 3838575 h 4496940"/>
              <a:gd name="connsiteX78" fmla="*/ 640102 w 4519987"/>
              <a:gd name="connsiteY78" fmla="*/ 3781425 h 4496940"/>
              <a:gd name="connsiteX79" fmla="*/ 611527 w 4519987"/>
              <a:gd name="connsiteY79" fmla="*/ 3733800 h 4496940"/>
              <a:gd name="connsiteX80" fmla="*/ 554377 w 4519987"/>
              <a:gd name="connsiteY80" fmla="*/ 3657600 h 4496940"/>
              <a:gd name="connsiteX81" fmla="*/ 525802 w 4519987"/>
              <a:gd name="connsiteY81" fmla="*/ 3609975 h 4496940"/>
              <a:gd name="connsiteX82" fmla="*/ 497227 w 4519987"/>
              <a:gd name="connsiteY82" fmla="*/ 3552825 h 4496940"/>
              <a:gd name="connsiteX83" fmla="*/ 440077 w 4519987"/>
              <a:gd name="connsiteY83" fmla="*/ 3495675 h 4496940"/>
              <a:gd name="connsiteX84" fmla="*/ 411502 w 4519987"/>
              <a:gd name="connsiteY84" fmla="*/ 3448050 h 4496940"/>
              <a:gd name="connsiteX85" fmla="*/ 278152 w 4519987"/>
              <a:gd name="connsiteY85" fmla="*/ 3257550 h 4496940"/>
              <a:gd name="connsiteX86" fmla="*/ 249577 w 4519987"/>
              <a:gd name="connsiteY86" fmla="*/ 3200400 h 4496940"/>
              <a:gd name="connsiteX87" fmla="*/ 240052 w 4519987"/>
              <a:gd name="connsiteY87" fmla="*/ 3162300 h 4496940"/>
              <a:gd name="connsiteX88" fmla="*/ 221002 w 4519987"/>
              <a:gd name="connsiteY88" fmla="*/ 3105150 h 4496940"/>
              <a:gd name="connsiteX89" fmla="*/ 173377 w 4519987"/>
              <a:gd name="connsiteY89" fmla="*/ 3019425 h 4496940"/>
              <a:gd name="connsiteX90" fmla="*/ 144802 w 4519987"/>
              <a:gd name="connsiteY90" fmla="*/ 2924175 h 4496940"/>
              <a:gd name="connsiteX91" fmla="*/ 68602 w 4519987"/>
              <a:gd name="connsiteY91" fmla="*/ 2724150 h 4496940"/>
              <a:gd name="connsiteX92" fmla="*/ 49552 w 4519987"/>
              <a:gd name="connsiteY92" fmla="*/ 2638425 h 4496940"/>
              <a:gd name="connsiteX93" fmla="*/ 40027 w 4519987"/>
              <a:gd name="connsiteY93" fmla="*/ 2562225 h 4496940"/>
              <a:gd name="connsiteX94" fmla="*/ 30502 w 4519987"/>
              <a:gd name="connsiteY94" fmla="*/ 2514600 h 4496940"/>
              <a:gd name="connsiteX95" fmla="*/ 11452 w 4519987"/>
              <a:gd name="connsiteY95" fmla="*/ 2400300 h 4496940"/>
              <a:gd name="connsiteX96" fmla="*/ 20977 w 4519987"/>
              <a:gd name="connsiteY96" fmla="*/ 1905000 h 4496940"/>
              <a:gd name="connsiteX97" fmla="*/ 30502 w 4519987"/>
              <a:gd name="connsiteY97" fmla="*/ 1838325 h 4496940"/>
              <a:gd name="connsiteX98" fmla="*/ 49552 w 4519987"/>
              <a:gd name="connsiteY98" fmla="*/ 1781175 h 4496940"/>
              <a:gd name="connsiteX99" fmla="*/ 59077 w 4519987"/>
              <a:gd name="connsiteY99" fmla="*/ 1743075 h 4496940"/>
              <a:gd name="connsiteX100" fmla="*/ 78127 w 4519987"/>
              <a:gd name="connsiteY100" fmla="*/ 1685925 h 4496940"/>
              <a:gd name="connsiteX101" fmla="*/ 87652 w 4519987"/>
              <a:gd name="connsiteY101" fmla="*/ 1638300 h 4496940"/>
              <a:gd name="connsiteX102" fmla="*/ 106702 w 4519987"/>
              <a:gd name="connsiteY102" fmla="*/ 1590675 h 4496940"/>
              <a:gd name="connsiteX103" fmla="*/ 135277 w 4519987"/>
              <a:gd name="connsiteY103" fmla="*/ 1504950 h 4496940"/>
              <a:gd name="connsiteX104" fmla="*/ 154327 w 4519987"/>
              <a:gd name="connsiteY104" fmla="*/ 1419225 h 4496940"/>
              <a:gd name="connsiteX105" fmla="*/ 230527 w 4519987"/>
              <a:gd name="connsiteY105" fmla="*/ 1276350 h 4496940"/>
              <a:gd name="connsiteX106" fmla="*/ 240052 w 4519987"/>
              <a:gd name="connsiteY106" fmla="*/ 1247775 h 4496940"/>
              <a:gd name="connsiteX107" fmla="*/ 268627 w 4519987"/>
              <a:gd name="connsiteY107" fmla="*/ 1200150 h 4496940"/>
              <a:gd name="connsiteX108" fmla="*/ 287677 w 4519987"/>
              <a:gd name="connsiteY108" fmla="*/ 1152525 h 4496940"/>
              <a:gd name="connsiteX109" fmla="*/ 316252 w 4519987"/>
              <a:gd name="connsiteY109" fmla="*/ 1114425 h 4496940"/>
              <a:gd name="connsiteX110" fmla="*/ 363877 w 4519987"/>
              <a:gd name="connsiteY110" fmla="*/ 1038225 h 4496940"/>
              <a:gd name="connsiteX111" fmla="*/ 382927 w 4519987"/>
              <a:gd name="connsiteY111" fmla="*/ 1009650 h 4496940"/>
              <a:gd name="connsiteX112" fmla="*/ 440077 w 4519987"/>
              <a:gd name="connsiteY112" fmla="*/ 904875 h 4496940"/>
              <a:gd name="connsiteX113" fmla="*/ 478177 w 4519987"/>
              <a:gd name="connsiteY113" fmla="*/ 857250 h 4496940"/>
              <a:gd name="connsiteX114" fmla="*/ 497227 w 4519987"/>
              <a:gd name="connsiteY114" fmla="*/ 828675 h 4496940"/>
              <a:gd name="connsiteX115" fmla="*/ 535327 w 4519987"/>
              <a:gd name="connsiteY115" fmla="*/ 800100 h 4496940"/>
              <a:gd name="connsiteX116" fmla="*/ 602002 w 4519987"/>
              <a:gd name="connsiteY116" fmla="*/ 733425 h 4496940"/>
              <a:gd name="connsiteX117" fmla="*/ 668677 w 4519987"/>
              <a:gd name="connsiteY117" fmla="*/ 676275 h 4496940"/>
              <a:gd name="connsiteX118" fmla="*/ 697252 w 4519987"/>
              <a:gd name="connsiteY118" fmla="*/ 657225 h 4496940"/>
              <a:gd name="connsiteX119" fmla="*/ 840127 w 4519987"/>
              <a:gd name="connsiteY119" fmla="*/ 533400 h 4496940"/>
              <a:gd name="connsiteX120" fmla="*/ 887752 w 4519987"/>
              <a:gd name="connsiteY120" fmla="*/ 504825 h 4496940"/>
              <a:gd name="connsiteX121" fmla="*/ 1167152 w 4519987"/>
              <a:gd name="connsiteY121" fmla="*/ 311150 h 4496940"/>
              <a:gd name="connsiteX122" fmla="*/ 1268752 w 4519987"/>
              <a:gd name="connsiteY122" fmla="*/ 285750 h 4496940"/>
              <a:gd name="connsiteX123" fmla="*/ 1411627 w 4519987"/>
              <a:gd name="connsiteY123" fmla="*/ 190500 h 4496940"/>
              <a:gd name="connsiteX124" fmla="*/ 1449727 w 4519987"/>
              <a:gd name="connsiteY124" fmla="*/ 161925 h 4496940"/>
              <a:gd name="connsiteX125" fmla="*/ 1525927 w 4519987"/>
              <a:gd name="connsiteY125" fmla="*/ 152400 h 4496940"/>
              <a:gd name="connsiteX126" fmla="*/ 1583077 w 4519987"/>
              <a:gd name="connsiteY126" fmla="*/ 142875 h 4496940"/>
              <a:gd name="connsiteX127" fmla="*/ 1716427 w 4519987"/>
              <a:gd name="connsiteY127" fmla="*/ 123825 h 4496940"/>
              <a:gd name="connsiteX128" fmla="*/ 1811677 w 4519987"/>
              <a:gd name="connsiteY128" fmla="*/ 114300 h 4496940"/>
              <a:gd name="connsiteX129" fmla="*/ 1859302 w 4519987"/>
              <a:gd name="connsiteY129" fmla="*/ 104775 h 4496940"/>
              <a:gd name="connsiteX130" fmla="*/ 1916452 w 4519987"/>
              <a:gd name="connsiteY130" fmla="*/ 95250 h 4496940"/>
              <a:gd name="connsiteX131" fmla="*/ 2030752 w 4519987"/>
              <a:gd name="connsiteY131" fmla="*/ 66675 h 4496940"/>
              <a:gd name="connsiteX132" fmla="*/ 2097427 w 4519987"/>
              <a:gd name="connsiteY132" fmla="*/ 47625 h 4496940"/>
              <a:gd name="connsiteX133" fmla="*/ 2164102 w 4519987"/>
              <a:gd name="connsiteY133" fmla="*/ 38100 h 4496940"/>
              <a:gd name="connsiteX134" fmla="*/ 2392702 w 4519987"/>
              <a:gd name="connsiteY13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659527 w 4519987"/>
              <a:gd name="connsiteY40" fmla="*/ 3971925 h 4496940"/>
              <a:gd name="connsiteX41" fmla="*/ 3630952 w 4519987"/>
              <a:gd name="connsiteY41" fmla="*/ 4010025 h 4496940"/>
              <a:gd name="connsiteX42" fmla="*/ 3621427 w 4519987"/>
              <a:gd name="connsiteY42" fmla="*/ 4038600 h 4496940"/>
              <a:gd name="connsiteX43" fmla="*/ 3554752 w 4519987"/>
              <a:gd name="connsiteY43" fmla="*/ 4095750 h 4496940"/>
              <a:gd name="connsiteX44" fmla="*/ 3516652 w 4519987"/>
              <a:gd name="connsiteY44" fmla="*/ 4114800 h 4496940"/>
              <a:gd name="connsiteX45" fmla="*/ 3497602 w 4519987"/>
              <a:gd name="connsiteY45" fmla="*/ 4143375 h 4496940"/>
              <a:gd name="connsiteX46" fmla="*/ 3383302 w 4519987"/>
              <a:gd name="connsiteY46" fmla="*/ 4210050 h 4496940"/>
              <a:gd name="connsiteX47" fmla="*/ 3335677 w 4519987"/>
              <a:gd name="connsiteY47" fmla="*/ 4238625 h 4496940"/>
              <a:gd name="connsiteX48" fmla="*/ 3288052 w 4519987"/>
              <a:gd name="connsiteY48" fmla="*/ 4248150 h 4496940"/>
              <a:gd name="connsiteX49" fmla="*/ 3240427 w 4519987"/>
              <a:gd name="connsiteY49" fmla="*/ 4267200 h 4496940"/>
              <a:gd name="connsiteX50" fmla="*/ 3068977 w 4519987"/>
              <a:gd name="connsiteY50" fmla="*/ 4286250 h 4496940"/>
              <a:gd name="connsiteX51" fmla="*/ 2935627 w 4519987"/>
              <a:gd name="connsiteY51" fmla="*/ 4333875 h 4496940"/>
              <a:gd name="connsiteX52" fmla="*/ 2811802 w 4519987"/>
              <a:gd name="connsiteY52" fmla="*/ 4371975 h 4496940"/>
              <a:gd name="connsiteX53" fmla="*/ 2745127 w 4519987"/>
              <a:gd name="connsiteY53" fmla="*/ 4410075 h 4496940"/>
              <a:gd name="connsiteX54" fmla="*/ 2697502 w 4519987"/>
              <a:gd name="connsiteY54" fmla="*/ 4429125 h 4496940"/>
              <a:gd name="connsiteX55" fmla="*/ 2640352 w 4519987"/>
              <a:gd name="connsiteY55" fmla="*/ 4457700 h 4496940"/>
              <a:gd name="connsiteX56" fmla="*/ 2583202 w 4519987"/>
              <a:gd name="connsiteY56" fmla="*/ 4467225 h 4496940"/>
              <a:gd name="connsiteX57" fmla="*/ 2545102 w 4519987"/>
              <a:gd name="connsiteY57" fmla="*/ 4486275 h 4496940"/>
              <a:gd name="connsiteX58" fmla="*/ 2306977 w 4519987"/>
              <a:gd name="connsiteY58" fmla="*/ 4476750 h 4496940"/>
              <a:gd name="connsiteX59" fmla="*/ 2202202 w 4519987"/>
              <a:gd name="connsiteY59" fmla="*/ 4457700 h 4496940"/>
              <a:gd name="connsiteX60" fmla="*/ 2126002 w 4519987"/>
              <a:gd name="connsiteY60" fmla="*/ 4429125 h 4496940"/>
              <a:gd name="connsiteX61" fmla="*/ 1935502 w 4519987"/>
              <a:gd name="connsiteY61" fmla="*/ 4400550 h 4496940"/>
              <a:gd name="connsiteX62" fmla="*/ 1821202 w 4519987"/>
              <a:gd name="connsiteY62" fmla="*/ 4371975 h 4496940"/>
              <a:gd name="connsiteX63" fmla="*/ 1754527 w 4519987"/>
              <a:gd name="connsiteY63" fmla="*/ 4352925 h 4496940"/>
              <a:gd name="connsiteX64" fmla="*/ 1687852 w 4519987"/>
              <a:gd name="connsiteY64" fmla="*/ 4343400 h 4496940"/>
              <a:gd name="connsiteX65" fmla="*/ 1573552 w 4519987"/>
              <a:gd name="connsiteY65" fmla="*/ 4305300 h 4496940"/>
              <a:gd name="connsiteX66" fmla="*/ 1402102 w 4519987"/>
              <a:gd name="connsiteY66" fmla="*/ 4276725 h 4496940"/>
              <a:gd name="connsiteX67" fmla="*/ 1287802 w 4519987"/>
              <a:gd name="connsiteY67" fmla="*/ 4229100 h 4496940"/>
              <a:gd name="connsiteX68" fmla="*/ 1221127 w 4519987"/>
              <a:gd name="connsiteY68" fmla="*/ 4200525 h 4496940"/>
              <a:gd name="connsiteX69" fmla="*/ 1144927 w 4519987"/>
              <a:gd name="connsiteY69" fmla="*/ 4171950 h 4496940"/>
              <a:gd name="connsiteX70" fmla="*/ 1087777 w 4519987"/>
              <a:gd name="connsiteY70" fmla="*/ 4143375 h 4496940"/>
              <a:gd name="connsiteX71" fmla="*/ 1030627 w 4519987"/>
              <a:gd name="connsiteY71" fmla="*/ 4124325 h 4496940"/>
              <a:gd name="connsiteX72" fmla="*/ 925852 w 4519987"/>
              <a:gd name="connsiteY72" fmla="*/ 4067175 h 4496940"/>
              <a:gd name="connsiteX73" fmla="*/ 830602 w 4519987"/>
              <a:gd name="connsiteY73" fmla="*/ 3981450 h 4496940"/>
              <a:gd name="connsiteX74" fmla="*/ 763927 w 4519987"/>
              <a:gd name="connsiteY74" fmla="*/ 3914775 h 4496940"/>
              <a:gd name="connsiteX75" fmla="*/ 725827 w 4519987"/>
              <a:gd name="connsiteY75" fmla="*/ 3876675 h 4496940"/>
              <a:gd name="connsiteX76" fmla="*/ 697252 w 4519987"/>
              <a:gd name="connsiteY76" fmla="*/ 3838575 h 4496940"/>
              <a:gd name="connsiteX77" fmla="*/ 640102 w 4519987"/>
              <a:gd name="connsiteY77" fmla="*/ 3781425 h 4496940"/>
              <a:gd name="connsiteX78" fmla="*/ 611527 w 4519987"/>
              <a:gd name="connsiteY78" fmla="*/ 3733800 h 4496940"/>
              <a:gd name="connsiteX79" fmla="*/ 554377 w 4519987"/>
              <a:gd name="connsiteY79" fmla="*/ 3657600 h 4496940"/>
              <a:gd name="connsiteX80" fmla="*/ 525802 w 4519987"/>
              <a:gd name="connsiteY80" fmla="*/ 3609975 h 4496940"/>
              <a:gd name="connsiteX81" fmla="*/ 497227 w 4519987"/>
              <a:gd name="connsiteY81" fmla="*/ 3552825 h 4496940"/>
              <a:gd name="connsiteX82" fmla="*/ 440077 w 4519987"/>
              <a:gd name="connsiteY82" fmla="*/ 3495675 h 4496940"/>
              <a:gd name="connsiteX83" fmla="*/ 411502 w 4519987"/>
              <a:gd name="connsiteY83" fmla="*/ 3448050 h 4496940"/>
              <a:gd name="connsiteX84" fmla="*/ 278152 w 4519987"/>
              <a:gd name="connsiteY84" fmla="*/ 3257550 h 4496940"/>
              <a:gd name="connsiteX85" fmla="*/ 249577 w 4519987"/>
              <a:gd name="connsiteY85" fmla="*/ 3200400 h 4496940"/>
              <a:gd name="connsiteX86" fmla="*/ 240052 w 4519987"/>
              <a:gd name="connsiteY86" fmla="*/ 3162300 h 4496940"/>
              <a:gd name="connsiteX87" fmla="*/ 221002 w 4519987"/>
              <a:gd name="connsiteY87" fmla="*/ 3105150 h 4496940"/>
              <a:gd name="connsiteX88" fmla="*/ 173377 w 4519987"/>
              <a:gd name="connsiteY88" fmla="*/ 3019425 h 4496940"/>
              <a:gd name="connsiteX89" fmla="*/ 144802 w 4519987"/>
              <a:gd name="connsiteY89" fmla="*/ 2924175 h 4496940"/>
              <a:gd name="connsiteX90" fmla="*/ 68602 w 4519987"/>
              <a:gd name="connsiteY90" fmla="*/ 2724150 h 4496940"/>
              <a:gd name="connsiteX91" fmla="*/ 49552 w 4519987"/>
              <a:gd name="connsiteY91" fmla="*/ 2638425 h 4496940"/>
              <a:gd name="connsiteX92" fmla="*/ 40027 w 4519987"/>
              <a:gd name="connsiteY92" fmla="*/ 2562225 h 4496940"/>
              <a:gd name="connsiteX93" fmla="*/ 30502 w 4519987"/>
              <a:gd name="connsiteY93" fmla="*/ 2514600 h 4496940"/>
              <a:gd name="connsiteX94" fmla="*/ 11452 w 4519987"/>
              <a:gd name="connsiteY94" fmla="*/ 2400300 h 4496940"/>
              <a:gd name="connsiteX95" fmla="*/ 20977 w 4519987"/>
              <a:gd name="connsiteY95" fmla="*/ 1905000 h 4496940"/>
              <a:gd name="connsiteX96" fmla="*/ 30502 w 4519987"/>
              <a:gd name="connsiteY96" fmla="*/ 1838325 h 4496940"/>
              <a:gd name="connsiteX97" fmla="*/ 49552 w 4519987"/>
              <a:gd name="connsiteY97" fmla="*/ 1781175 h 4496940"/>
              <a:gd name="connsiteX98" fmla="*/ 59077 w 4519987"/>
              <a:gd name="connsiteY98" fmla="*/ 1743075 h 4496940"/>
              <a:gd name="connsiteX99" fmla="*/ 78127 w 4519987"/>
              <a:gd name="connsiteY99" fmla="*/ 1685925 h 4496940"/>
              <a:gd name="connsiteX100" fmla="*/ 87652 w 4519987"/>
              <a:gd name="connsiteY100" fmla="*/ 1638300 h 4496940"/>
              <a:gd name="connsiteX101" fmla="*/ 106702 w 4519987"/>
              <a:gd name="connsiteY101" fmla="*/ 1590675 h 4496940"/>
              <a:gd name="connsiteX102" fmla="*/ 135277 w 4519987"/>
              <a:gd name="connsiteY102" fmla="*/ 1504950 h 4496940"/>
              <a:gd name="connsiteX103" fmla="*/ 154327 w 4519987"/>
              <a:gd name="connsiteY103" fmla="*/ 1419225 h 4496940"/>
              <a:gd name="connsiteX104" fmla="*/ 230527 w 4519987"/>
              <a:gd name="connsiteY104" fmla="*/ 1276350 h 4496940"/>
              <a:gd name="connsiteX105" fmla="*/ 240052 w 4519987"/>
              <a:gd name="connsiteY105" fmla="*/ 1247775 h 4496940"/>
              <a:gd name="connsiteX106" fmla="*/ 268627 w 4519987"/>
              <a:gd name="connsiteY106" fmla="*/ 1200150 h 4496940"/>
              <a:gd name="connsiteX107" fmla="*/ 287677 w 4519987"/>
              <a:gd name="connsiteY107" fmla="*/ 1152525 h 4496940"/>
              <a:gd name="connsiteX108" fmla="*/ 316252 w 4519987"/>
              <a:gd name="connsiteY108" fmla="*/ 1114425 h 4496940"/>
              <a:gd name="connsiteX109" fmla="*/ 363877 w 4519987"/>
              <a:gd name="connsiteY109" fmla="*/ 1038225 h 4496940"/>
              <a:gd name="connsiteX110" fmla="*/ 382927 w 4519987"/>
              <a:gd name="connsiteY110" fmla="*/ 1009650 h 4496940"/>
              <a:gd name="connsiteX111" fmla="*/ 440077 w 4519987"/>
              <a:gd name="connsiteY111" fmla="*/ 904875 h 4496940"/>
              <a:gd name="connsiteX112" fmla="*/ 478177 w 4519987"/>
              <a:gd name="connsiteY112" fmla="*/ 857250 h 4496940"/>
              <a:gd name="connsiteX113" fmla="*/ 497227 w 4519987"/>
              <a:gd name="connsiteY113" fmla="*/ 828675 h 4496940"/>
              <a:gd name="connsiteX114" fmla="*/ 535327 w 4519987"/>
              <a:gd name="connsiteY114" fmla="*/ 800100 h 4496940"/>
              <a:gd name="connsiteX115" fmla="*/ 602002 w 4519987"/>
              <a:gd name="connsiteY115" fmla="*/ 733425 h 4496940"/>
              <a:gd name="connsiteX116" fmla="*/ 668677 w 4519987"/>
              <a:gd name="connsiteY116" fmla="*/ 676275 h 4496940"/>
              <a:gd name="connsiteX117" fmla="*/ 697252 w 4519987"/>
              <a:gd name="connsiteY117" fmla="*/ 657225 h 4496940"/>
              <a:gd name="connsiteX118" fmla="*/ 840127 w 4519987"/>
              <a:gd name="connsiteY118" fmla="*/ 533400 h 4496940"/>
              <a:gd name="connsiteX119" fmla="*/ 887752 w 4519987"/>
              <a:gd name="connsiteY119" fmla="*/ 504825 h 4496940"/>
              <a:gd name="connsiteX120" fmla="*/ 1167152 w 4519987"/>
              <a:gd name="connsiteY120" fmla="*/ 311150 h 4496940"/>
              <a:gd name="connsiteX121" fmla="*/ 1268752 w 4519987"/>
              <a:gd name="connsiteY121" fmla="*/ 285750 h 4496940"/>
              <a:gd name="connsiteX122" fmla="*/ 1411627 w 4519987"/>
              <a:gd name="connsiteY122" fmla="*/ 190500 h 4496940"/>
              <a:gd name="connsiteX123" fmla="*/ 1449727 w 4519987"/>
              <a:gd name="connsiteY123" fmla="*/ 161925 h 4496940"/>
              <a:gd name="connsiteX124" fmla="*/ 1525927 w 4519987"/>
              <a:gd name="connsiteY124" fmla="*/ 152400 h 4496940"/>
              <a:gd name="connsiteX125" fmla="*/ 1583077 w 4519987"/>
              <a:gd name="connsiteY125" fmla="*/ 142875 h 4496940"/>
              <a:gd name="connsiteX126" fmla="*/ 1716427 w 4519987"/>
              <a:gd name="connsiteY126" fmla="*/ 123825 h 4496940"/>
              <a:gd name="connsiteX127" fmla="*/ 1811677 w 4519987"/>
              <a:gd name="connsiteY127" fmla="*/ 114300 h 4496940"/>
              <a:gd name="connsiteX128" fmla="*/ 1859302 w 4519987"/>
              <a:gd name="connsiteY128" fmla="*/ 104775 h 4496940"/>
              <a:gd name="connsiteX129" fmla="*/ 1916452 w 4519987"/>
              <a:gd name="connsiteY129" fmla="*/ 95250 h 4496940"/>
              <a:gd name="connsiteX130" fmla="*/ 2030752 w 4519987"/>
              <a:gd name="connsiteY130" fmla="*/ 66675 h 4496940"/>
              <a:gd name="connsiteX131" fmla="*/ 2097427 w 4519987"/>
              <a:gd name="connsiteY131" fmla="*/ 47625 h 4496940"/>
              <a:gd name="connsiteX132" fmla="*/ 2164102 w 4519987"/>
              <a:gd name="connsiteY132" fmla="*/ 38100 h 4496940"/>
              <a:gd name="connsiteX133" fmla="*/ 2392702 w 4519987"/>
              <a:gd name="connsiteY13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659527 w 4519987"/>
              <a:gd name="connsiteY39" fmla="*/ 3971925 h 4496940"/>
              <a:gd name="connsiteX40" fmla="*/ 3630952 w 4519987"/>
              <a:gd name="connsiteY40" fmla="*/ 4010025 h 4496940"/>
              <a:gd name="connsiteX41" fmla="*/ 3621427 w 4519987"/>
              <a:gd name="connsiteY41" fmla="*/ 4038600 h 4496940"/>
              <a:gd name="connsiteX42" fmla="*/ 3554752 w 4519987"/>
              <a:gd name="connsiteY42" fmla="*/ 4095750 h 4496940"/>
              <a:gd name="connsiteX43" fmla="*/ 3516652 w 4519987"/>
              <a:gd name="connsiteY43" fmla="*/ 4114800 h 4496940"/>
              <a:gd name="connsiteX44" fmla="*/ 3497602 w 4519987"/>
              <a:gd name="connsiteY44" fmla="*/ 4143375 h 4496940"/>
              <a:gd name="connsiteX45" fmla="*/ 3383302 w 4519987"/>
              <a:gd name="connsiteY45" fmla="*/ 4210050 h 4496940"/>
              <a:gd name="connsiteX46" fmla="*/ 3335677 w 4519987"/>
              <a:gd name="connsiteY46" fmla="*/ 4238625 h 4496940"/>
              <a:gd name="connsiteX47" fmla="*/ 3288052 w 4519987"/>
              <a:gd name="connsiteY47" fmla="*/ 4248150 h 4496940"/>
              <a:gd name="connsiteX48" fmla="*/ 3240427 w 4519987"/>
              <a:gd name="connsiteY48" fmla="*/ 4267200 h 4496940"/>
              <a:gd name="connsiteX49" fmla="*/ 3068977 w 4519987"/>
              <a:gd name="connsiteY49" fmla="*/ 4286250 h 4496940"/>
              <a:gd name="connsiteX50" fmla="*/ 2935627 w 4519987"/>
              <a:gd name="connsiteY50" fmla="*/ 4333875 h 4496940"/>
              <a:gd name="connsiteX51" fmla="*/ 2811802 w 4519987"/>
              <a:gd name="connsiteY51" fmla="*/ 4371975 h 4496940"/>
              <a:gd name="connsiteX52" fmla="*/ 2745127 w 4519987"/>
              <a:gd name="connsiteY52" fmla="*/ 4410075 h 4496940"/>
              <a:gd name="connsiteX53" fmla="*/ 2697502 w 4519987"/>
              <a:gd name="connsiteY53" fmla="*/ 4429125 h 4496940"/>
              <a:gd name="connsiteX54" fmla="*/ 2640352 w 4519987"/>
              <a:gd name="connsiteY54" fmla="*/ 4457700 h 4496940"/>
              <a:gd name="connsiteX55" fmla="*/ 2583202 w 4519987"/>
              <a:gd name="connsiteY55" fmla="*/ 4467225 h 4496940"/>
              <a:gd name="connsiteX56" fmla="*/ 2545102 w 4519987"/>
              <a:gd name="connsiteY56" fmla="*/ 4486275 h 4496940"/>
              <a:gd name="connsiteX57" fmla="*/ 2306977 w 4519987"/>
              <a:gd name="connsiteY57" fmla="*/ 4476750 h 4496940"/>
              <a:gd name="connsiteX58" fmla="*/ 2202202 w 4519987"/>
              <a:gd name="connsiteY58" fmla="*/ 4457700 h 4496940"/>
              <a:gd name="connsiteX59" fmla="*/ 2126002 w 4519987"/>
              <a:gd name="connsiteY59" fmla="*/ 4429125 h 4496940"/>
              <a:gd name="connsiteX60" fmla="*/ 1935502 w 4519987"/>
              <a:gd name="connsiteY60" fmla="*/ 4400550 h 4496940"/>
              <a:gd name="connsiteX61" fmla="*/ 1821202 w 4519987"/>
              <a:gd name="connsiteY61" fmla="*/ 4371975 h 4496940"/>
              <a:gd name="connsiteX62" fmla="*/ 1754527 w 4519987"/>
              <a:gd name="connsiteY62" fmla="*/ 4352925 h 4496940"/>
              <a:gd name="connsiteX63" fmla="*/ 1687852 w 4519987"/>
              <a:gd name="connsiteY63" fmla="*/ 4343400 h 4496940"/>
              <a:gd name="connsiteX64" fmla="*/ 1573552 w 4519987"/>
              <a:gd name="connsiteY64" fmla="*/ 4305300 h 4496940"/>
              <a:gd name="connsiteX65" fmla="*/ 1402102 w 4519987"/>
              <a:gd name="connsiteY65" fmla="*/ 4276725 h 4496940"/>
              <a:gd name="connsiteX66" fmla="*/ 1287802 w 4519987"/>
              <a:gd name="connsiteY66" fmla="*/ 4229100 h 4496940"/>
              <a:gd name="connsiteX67" fmla="*/ 1221127 w 4519987"/>
              <a:gd name="connsiteY67" fmla="*/ 4200525 h 4496940"/>
              <a:gd name="connsiteX68" fmla="*/ 1144927 w 4519987"/>
              <a:gd name="connsiteY68" fmla="*/ 4171950 h 4496940"/>
              <a:gd name="connsiteX69" fmla="*/ 1087777 w 4519987"/>
              <a:gd name="connsiteY69" fmla="*/ 4143375 h 4496940"/>
              <a:gd name="connsiteX70" fmla="*/ 1030627 w 4519987"/>
              <a:gd name="connsiteY70" fmla="*/ 4124325 h 4496940"/>
              <a:gd name="connsiteX71" fmla="*/ 925852 w 4519987"/>
              <a:gd name="connsiteY71" fmla="*/ 4067175 h 4496940"/>
              <a:gd name="connsiteX72" fmla="*/ 830602 w 4519987"/>
              <a:gd name="connsiteY72" fmla="*/ 3981450 h 4496940"/>
              <a:gd name="connsiteX73" fmla="*/ 763927 w 4519987"/>
              <a:gd name="connsiteY73" fmla="*/ 3914775 h 4496940"/>
              <a:gd name="connsiteX74" fmla="*/ 725827 w 4519987"/>
              <a:gd name="connsiteY74" fmla="*/ 3876675 h 4496940"/>
              <a:gd name="connsiteX75" fmla="*/ 697252 w 4519987"/>
              <a:gd name="connsiteY75" fmla="*/ 3838575 h 4496940"/>
              <a:gd name="connsiteX76" fmla="*/ 640102 w 4519987"/>
              <a:gd name="connsiteY76" fmla="*/ 3781425 h 4496940"/>
              <a:gd name="connsiteX77" fmla="*/ 611527 w 4519987"/>
              <a:gd name="connsiteY77" fmla="*/ 3733800 h 4496940"/>
              <a:gd name="connsiteX78" fmla="*/ 554377 w 4519987"/>
              <a:gd name="connsiteY78" fmla="*/ 3657600 h 4496940"/>
              <a:gd name="connsiteX79" fmla="*/ 525802 w 4519987"/>
              <a:gd name="connsiteY79" fmla="*/ 3609975 h 4496940"/>
              <a:gd name="connsiteX80" fmla="*/ 497227 w 4519987"/>
              <a:gd name="connsiteY80" fmla="*/ 3552825 h 4496940"/>
              <a:gd name="connsiteX81" fmla="*/ 440077 w 4519987"/>
              <a:gd name="connsiteY81" fmla="*/ 3495675 h 4496940"/>
              <a:gd name="connsiteX82" fmla="*/ 411502 w 4519987"/>
              <a:gd name="connsiteY82" fmla="*/ 3448050 h 4496940"/>
              <a:gd name="connsiteX83" fmla="*/ 278152 w 4519987"/>
              <a:gd name="connsiteY83" fmla="*/ 3257550 h 4496940"/>
              <a:gd name="connsiteX84" fmla="*/ 249577 w 4519987"/>
              <a:gd name="connsiteY84" fmla="*/ 3200400 h 4496940"/>
              <a:gd name="connsiteX85" fmla="*/ 240052 w 4519987"/>
              <a:gd name="connsiteY85" fmla="*/ 3162300 h 4496940"/>
              <a:gd name="connsiteX86" fmla="*/ 221002 w 4519987"/>
              <a:gd name="connsiteY86" fmla="*/ 3105150 h 4496940"/>
              <a:gd name="connsiteX87" fmla="*/ 173377 w 4519987"/>
              <a:gd name="connsiteY87" fmla="*/ 3019425 h 4496940"/>
              <a:gd name="connsiteX88" fmla="*/ 144802 w 4519987"/>
              <a:gd name="connsiteY88" fmla="*/ 2924175 h 4496940"/>
              <a:gd name="connsiteX89" fmla="*/ 68602 w 4519987"/>
              <a:gd name="connsiteY89" fmla="*/ 2724150 h 4496940"/>
              <a:gd name="connsiteX90" fmla="*/ 49552 w 4519987"/>
              <a:gd name="connsiteY90" fmla="*/ 2638425 h 4496940"/>
              <a:gd name="connsiteX91" fmla="*/ 40027 w 4519987"/>
              <a:gd name="connsiteY91" fmla="*/ 2562225 h 4496940"/>
              <a:gd name="connsiteX92" fmla="*/ 30502 w 4519987"/>
              <a:gd name="connsiteY92" fmla="*/ 2514600 h 4496940"/>
              <a:gd name="connsiteX93" fmla="*/ 11452 w 4519987"/>
              <a:gd name="connsiteY93" fmla="*/ 2400300 h 4496940"/>
              <a:gd name="connsiteX94" fmla="*/ 20977 w 4519987"/>
              <a:gd name="connsiteY94" fmla="*/ 1905000 h 4496940"/>
              <a:gd name="connsiteX95" fmla="*/ 30502 w 4519987"/>
              <a:gd name="connsiteY95" fmla="*/ 1838325 h 4496940"/>
              <a:gd name="connsiteX96" fmla="*/ 49552 w 4519987"/>
              <a:gd name="connsiteY96" fmla="*/ 1781175 h 4496940"/>
              <a:gd name="connsiteX97" fmla="*/ 59077 w 4519987"/>
              <a:gd name="connsiteY97" fmla="*/ 1743075 h 4496940"/>
              <a:gd name="connsiteX98" fmla="*/ 78127 w 4519987"/>
              <a:gd name="connsiteY98" fmla="*/ 1685925 h 4496940"/>
              <a:gd name="connsiteX99" fmla="*/ 87652 w 4519987"/>
              <a:gd name="connsiteY99" fmla="*/ 1638300 h 4496940"/>
              <a:gd name="connsiteX100" fmla="*/ 106702 w 4519987"/>
              <a:gd name="connsiteY100" fmla="*/ 1590675 h 4496940"/>
              <a:gd name="connsiteX101" fmla="*/ 135277 w 4519987"/>
              <a:gd name="connsiteY101" fmla="*/ 1504950 h 4496940"/>
              <a:gd name="connsiteX102" fmla="*/ 154327 w 4519987"/>
              <a:gd name="connsiteY102" fmla="*/ 1419225 h 4496940"/>
              <a:gd name="connsiteX103" fmla="*/ 230527 w 4519987"/>
              <a:gd name="connsiteY103" fmla="*/ 1276350 h 4496940"/>
              <a:gd name="connsiteX104" fmla="*/ 240052 w 4519987"/>
              <a:gd name="connsiteY104" fmla="*/ 1247775 h 4496940"/>
              <a:gd name="connsiteX105" fmla="*/ 268627 w 4519987"/>
              <a:gd name="connsiteY105" fmla="*/ 1200150 h 4496940"/>
              <a:gd name="connsiteX106" fmla="*/ 287677 w 4519987"/>
              <a:gd name="connsiteY106" fmla="*/ 1152525 h 4496940"/>
              <a:gd name="connsiteX107" fmla="*/ 316252 w 4519987"/>
              <a:gd name="connsiteY107" fmla="*/ 1114425 h 4496940"/>
              <a:gd name="connsiteX108" fmla="*/ 363877 w 4519987"/>
              <a:gd name="connsiteY108" fmla="*/ 1038225 h 4496940"/>
              <a:gd name="connsiteX109" fmla="*/ 382927 w 4519987"/>
              <a:gd name="connsiteY109" fmla="*/ 1009650 h 4496940"/>
              <a:gd name="connsiteX110" fmla="*/ 440077 w 4519987"/>
              <a:gd name="connsiteY110" fmla="*/ 904875 h 4496940"/>
              <a:gd name="connsiteX111" fmla="*/ 478177 w 4519987"/>
              <a:gd name="connsiteY111" fmla="*/ 857250 h 4496940"/>
              <a:gd name="connsiteX112" fmla="*/ 497227 w 4519987"/>
              <a:gd name="connsiteY112" fmla="*/ 828675 h 4496940"/>
              <a:gd name="connsiteX113" fmla="*/ 535327 w 4519987"/>
              <a:gd name="connsiteY113" fmla="*/ 800100 h 4496940"/>
              <a:gd name="connsiteX114" fmla="*/ 602002 w 4519987"/>
              <a:gd name="connsiteY114" fmla="*/ 733425 h 4496940"/>
              <a:gd name="connsiteX115" fmla="*/ 668677 w 4519987"/>
              <a:gd name="connsiteY115" fmla="*/ 676275 h 4496940"/>
              <a:gd name="connsiteX116" fmla="*/ 697252 w 4519987"/>
              <a:gd name="connsiteY116" fmla="*/ 657225 h 4496940"/>
              <a:gd name="connsiteX117" fmla="*/ 840127 w 4519987"/>
              <a:gd name="connsiteY117" fmla="*/ 533400 h 4496940"/>
              <a:gd name="connsiteX118" fmla="*/ 887752 w 4519987"/>
              <a:gd name="connsiteY118" fmla="*/ 504825 h 4496940"/>
              <a:gd name="connsiteX119" fmla="*/ 1167152 w 4519987"/>
              <a:gd name="connsiteY119" fmla="*/ 311150 h 4496940"/>
              <a:gd name="connsiteX120" fmla="*/ 1268752 w 4519987"/>
              <a:gd name="connsiteY120" fmla="*/ 285750 h 4496940"/>
              <a:gd name="connsiteX121" fmla="*/ 1411627 w 4519987"/>
              <a:gd name="connsiteY121" fmla="*/ 190500 h 4496940"/>
              <a:gd name="connsiteX122" fmla="*/ 1449727 w 4519987"/>
              <a:gd name="connsiteY122" fmla="*/ 161925 h 4496940"/>
              <a:gd name="connsiteX123" fmla="*/ 1525927 w 4519987"/>
              <a:gd name="connsiteY123" fmla="*/ 152400 h 4496940"/>
              <a:gd name="connsiteX124" fmla="*/ 1583077 w 4519987"/>
              <a:gd name="connsiteY124" fmla="*/ 142875 h 4496940"/>
              <a:gd name="connsiteX125" fmla="*/ 1716427 w 4519987"/>
              <a:gd name="connsiteY125" fmla="*/ 123825 h 4496940"/>
              <a:gd name="connsiteX126" fmla="*/ 1811677 w 4519987"/>
              <a:gd name="connsiteY126" fmla="*/ 114300 h 4496940"/>
              <a:gd name="connsiteX127" fmla="*/ 1859302 w 4519987"/>
              <a:gd name="connsiteY127" fmla="*/ 104775 h 4496940"/>
              <a:gd name="connsiteX128" fmla="*/ 1916452 w 4519987"/>
              <a:gd name="connsiteY128" fmla="*/ 95250 h 4496940"/>
              <a:gd name="connsiteX129" fmla="*/ 2030752 w 4519987"/>
              <a:gd name="connsiteY129" fmla="*/ 66675 h 4496940"/>
              <a:gd name="connsiteX130" fmla="*/ 2097427 w 4519987"/>
              <a:gd name="connsiteY130" fmla="*/ 47625 h 4496940"/>
              <a:gd name="connsiteX131" fmla="*/ 2164102 w 4519987"/>
              <a:gd name="connsiteY131" fmla="*/ 38100 h 4496940"/>
              <a:gd name="connsiteX132" fmla="*/ 2392702 w 4519987"/>
              <a:gd name="connsiteY13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659527 w 4519987"/>
              <a:gd name="connsiteY38" fmla="*/ 3971925 h 4496940"/>
              <a:gd name="connsiteX39" fmla="*/ 3630952 w 4519987"/>
              <a:gd name="connsiteY39" fmla="*/ 4010025 h 4496940"/>
              <a:gd name="connsiteX40" fmla="*/ 3621427 w 4519987"/>
              <a:gd name="connsiteY40" fmla="*/ 4038600 h 4496940"/>
              <a:gd name="connsiteX41" fmla="*/ 3554752 w 4519987"/>
              <a:gd name="connsiteY41" fmla="*/ 4095750 h 4496940"/>
              <a:gd name="connsiteX42" fmla="*/ 3516652 w 4519987"/>
              <a:gd name="connsiteY42" fmla="*/ 4114800 h 4496940"/>
              <a:gd name="connsiteX43" fmla="*/ 3497602 w 4519987"/>
              <a:gd name="connsiteY43" fmla="*/ 4143375 h 4496940"/>
              <a:gd name="connsiteX44" fmla="*/ 3383302 w 4519987"/>
              <a:gd name="connsiteY44" fmla="*/ 4210050 h 4496940"/>
              <a:gd name="connsiteX45" fmla="*/ 3335677 w 4519987"/>
              <a:gd name="connsiteY45" fmla="*/ 4238625 h 4496940"/>
              <a:gd name="connsiteX46" fmla="*/ 3288052 w 4519987"/>
              <a:gd name="connsiteY46" fmla="*/ 4248150 h 4496940"/>
              <a:gd name="connsiteX47" fmla="*/ 3240427 w 4519987"/>
              <a:gd name="connsiteY47" fmla="*/ 4267200 h 4496940"/>
              <a:gd name="connsiteX48" fmla="*/ 3068977 w 4519987"/>
              <a:gd name="connsiteY48" fmla="*/ 4286250 h 4496940"/>
              <a:gd name="connsiteX49" fmla="*/ 2935627 w 4519987"/>
              <a:gd name="connsiteY49" fmla="*/ 4333875 h 4496940"/>
              <a:gd name="connsiteX50" fmla="*/ 2811802 w 4519987"/>
              <a:gd name="connsiteY50" fmla="*/ 4371975 h 4496940"/>
              <a:gd name="connsiteX51" fmla="*/ 2745127 w 4519987"/>
              <a:gd name="connsiteY51" fmla="*/ 4410075 h 4496940"/>
              <a:gd name="connsiteX52" fmla="*/ 2697502 w 4519987"/>
              <a:gd name="connsiteY52" fmla="*/ 4429125 h 4496940"/>
              <a:gd name="connsiteX53" fmla="*/ 2640352 w 4519987"/>
              <a:gd name="connsiteY53" fmla="*/ 4457700 h 4496940"/>
              <a:gd name="connsiteX54" fmla="*/ 2583202 w 4519987"/>
              <a:gd name="connsiteY54" fmla="*/ 4467225 h 4496940"/>
              <a:gd name="connsiteX55" fmla="*/ 2545102 w 4519987"/>
              <a:gd name="connsiteY55" fmla="*/ 4486275 h 4496940"/>
              <a:gd name="connsiteX56" fmla="*/ 2306977 w 4519987"/>
              <a:gd name="connsiteY56" fmla="*/ 4476750 h 4496940"/>
              <a:gd name="connsiteX57" fmla="*/ 2202202 w 4519987"/>
              <a:gd name="connsiteY57" fmla="*/ 4457700 h 4496940"/>
              <a:gd name="connsiteX58" fmla="*/ 2126002 w 4519987"/>
              <a:gd name="connsiteY58" fmla="*/ 4429125 h 4496940"/>
              <a:gd name="connsiteX59" fmla="*/ 1935502 w 4519987"/>
              <a:gd name="connsiteY59" fmla="*/ 4400550 h 4496940"/>
              <a:gd name="connsiteX60" fmla="*/ 1821202 w 4519987"/>
              <a:gd name="connsiteY60" fmla="*/ 4371975 h 4496940"/>
              <a:gd name="connsiteX61" fmla="*/ 1754527 w 4519987"/>
              <a:gd name="connsiteY61" fmla="*/ 4352925 h 4496940"/>
              <a:gd name="connsiteX62" fmla="*/ 1687852 w 4519987"/>
              <a:gd name="connsiteY62" fmla="*/ 4343400 h 4496940"/>
              <a:gd name="connsiteX63" fmla="*/ 1573552 w 4519987"/>
              <a:gd name="connsiteY63" fmla="*/ 4305300 h 4496940"/>
              <a:gd name="connsiteX64" fmla="*/ 1402102 w 4519987"/>
              <a:gd name="connsiteY64" fmla="*/ 4276725 h 4496940"/>
              <a:gd name="connsiteX65" fmla="*/ 1287802 w 4519987"/>
              <a:gd name="connsiteY65" fmla="*/ 4229100 h 4496940"/>
              <a:gd name="connsiteX66" fmla="*/ 1221127 w 4519987"/>
              <a:gd name="connsiteY66" fmla="*/ 4200525 h 4496940"/>
              <a:gd name="connsiteX67" fmla="*/ 1144927 w 4519987"/>
              <a:gd name="connsiteY67" fmla="*/ 4171950 h 4496940"/>
              <a:gd name="connsiteX68" fmla="*/ 1087777 w 4519987"/>
              <a:gd name="connsiteY68" fmla="*/ 4143375 h 4496940"/>
              <a:gd name="connsiteX69" fmla="*/ 1030627 w 4519987"/>
              <a:gd name="connsiteY69" fmla="*/ 4124325 h 4496940"/>
              <a:gd name="connsiteX70" fmla="*/ 925852 w 4519987"/>
              <a:gd name="connsiteY70" fmla="*/ 4067175 h 4496940"/>
              <a:gd name="connsiteX71" fmla="*/ 830602 w 4519987"/>
              <a:gd name="connsiteY71" fmla="*/ 3981450 h 4496940"/>
              <a:gd name="connsiteX72" fmla="*/ 763927 w 4519987"/>
              <a:gd name="connsiteY72" fmla="*/ 3914775 h 4496940"/>
              <a:gd name="connsiteX73" fmla="*/ 725827 w 4519987"/>
              <a:gd name="connsiteY73" fmla="*/ 3876675 h 4496940"/>
              <a:gd name="connsiteX74" fmla="*/ 697252 w 4519987"/>
              <a:gd name="connsiteY74" fmla="*/ 3838575 h 4496940"/>
              <a:gd name="connsiteX75" fmla="*/ 640102 w 4519987"/>
              <a:gd name="connsiteY75" fmla="*/ 3781425 h 4496940"/>
              <a:gd name="connsiteX76" fmla="*/ 611527 w 4519987"/>
              <a:gd name="connsiteY76" fmla="*/ 3733800 h 4496940"/>
              <a:gd name="connsiteX77" fmla="*/ 554377 w 4519987"/>
              <a:gd name="connsiteY77" fmla="*/ 3657600 h 4496940"/>
              <a:gd name="connsiteX78" fmla="*/ 525802 w 4519987"/>
              <a:gd name="connsiteY78" fmla="*/ 3609975 h 4496940"/>
              <a:gd name="connsiteX79" fmla="*/ 497227 w 4519987"/>
              <a:gd name="connsiteY79" fmla="*/ 3552825 h 4496940"/>
              <a:gd name="connsiteX80" fmla="*/ 440077 w 4519987"/>
              <a:gd name="connsiteY80" fmla="*/ 3495675 h 4496940"/>
              <a:gd name="connsiteX81" fmla="*/ 411502 w 4519987"/>
              <a:gd name="connsiteY81" fmla="*/ 3448050 h 4496940"/>
              <a:gd name="connsiteX82" fmla="*/ 278152 w 4519987"/>
              <a:gd name="connsiteY82" fmla="*/ 3257550 h 4496940"/>
              <a:gd name="connsiteX83" fmla="*/ 249577 w 4519987"/>
              <a:gd name="connsiteY83" fmla="*/ 3200400 h 4496940"/>
              <a:gd name="connsiteX84" fmla="*/ 240052 w 4519987"/>
              <a:gd name="connsiteY84" fmla="*/ 3162300 h 4496940"/>
              <a:gd name="connsiteX85" fmla="*/ 221002 w 4519987"/>
              <a:gd name="connsiteY85" fmla="*/ 3105150 h 4496940"/>
              <a:gd name="connsiteX86" fmla="*/ 173377 w 4519987"/>
              <a:gd name="connsiteY86" fmla="*/ 3019425 h 4496940"/>
              <a:gd name="connsiteX87" fmla="*/ 144802 w 4519987"/>
              <a:gd name="connsiteY87" fmla="*/ 2924175 h 4496940"/>
              <a:gd name="connsiteX88" fmla="*/ 68602 w 4519987"/>
              <a:gd name="connsiteY88" fmla="*/ 2724150 h 4496940"/>
              <a:gd name="connsiteX89" fmla="*/ 49552 w 4519987"/>
              <a:gd name="connsiteY89" fmla="*/ 2638425 h 4496940"/>
              <a:gd name="connsiteX90" fmla="*/ 40027 w 4519987"/>
              <a:gd name="connsiteY90" fmla="*/ 2562225 h 4496940"/>
              <a:gd name="connsiteX91" fmla="*/ 30502 w 4519987"/>
              <a:gd name="connsiteY91" fmla="*/ 2514600 h 4496940"/>
              <a:gd name="connsiteX92" fmla="*/ 11452 w 4519987"/>
              <a:gd name="connsiteY92" fmla="*/ 2400300 h 4496940"/>
              <a:gd name="connsiteX93" fmla="*/ 20977 w 4519987"/>
              <a:gd name="connsiteY93" fmla="*/ 1905000 h 4496940"/>
              <a:gd name="connsiteX94" fmla="*/ 30502 w 4519987"/>
              <a:gd name="connsiteY94" fmla="*/ 1838325 h 4496940"/>
              <a:gd name="connsiteX95" fmla="*/ 49552 w 4519987"/>
              <a:gd name="connsiteY95" fmla="*/ 1781175 h 4496940"/>
              <a:gd name="connsiteX96" fmla="*/ 59077 w 4519987"/>
              <a:gd name="connsiteY96" fmla="*/ 1743075 h 4496940"/>
              <a:gd name="connsiteX97" fmla="*/ 78127 w 4519987"/>
              <a:gd name="connsiteY97" fmla="*/ 1685925 h 4496940"/>
              <a:gd name="connsiteX98" fmla="*/ 87652 w 4519987"/>
              <a:gd name="connsiteY98" fmla="*/ 1638300 h 4496940"/>
              <a:gd name="connsiteX99" fmla="*/ 106702 w 4519987"/>
              <a:gd name="connsiteY99" fmla="*/ 1590675 h 4496940"/>
              <a:gd name="connsiteX100" fmla="*/ 135277 w 4519987"/>
              <a:gd name="connsiteY100" fmla="*/ 1504950 h 4496940"/>
              <a:gd name="connsiteX101" fmla="*/ 154327 w 4519987"/>
              <a:gd name="connsiteY101" fmla="*/ 1419225 h 4496940"/>
              <a:gd name="connsiteX102" fmla="*/ 230527 w 4519987"/>
              <a:gd name="connsiteY102" fmla="*/ 1276350 h 4496940"/>
              <a:gd name="connsiteX103" fmla="*/ 240052 w 4519987"/>
              <a:gd name="connsiteY103" fmla="*/ 1247775 h 4496940"/>
              <a:gd name="connsiteX104" fmla="*/ 268627 w 4519987"/>
              <a:gd name="connsiteY104" fmla="*/ 1200150 h 4496940"/>
              <a:gd name="connsiteX105" fmla="*/ 287677 w 4519987"/>
              <a:gd name="connsiteY105" fmla="*/ 1152525 h 4496940"/>
              <a:gd name="connsiteX106" fmla="*/ 316252 w 4519987"/>
              <a:gd name="connsiteY106" fmla="*/ 1114425 h 4496940"/>
              <a:gd name="connsiteX107" fmla="*/ 363877 w 4519987"/>
              <a:gd name="connsiteY107" fmla="*/ 1038225 h 4496940"/>
              <a:gd name="connsiteX108" fmla="*/ 382927 w 4519987"/>
              <a:gd name="connsiteY108" fmla="*/ 1009650 h 4496940"/>
              <a:gd name="connsiteX109" fmla="*/ 440077 w 4519987"/>
              <a:gd name="connsiteY109" fmla="*/ 904875 h 4496940"/>
              <a:gd name="connsiteX110" fmla="*/ 478177 w 4519987"/>
              <a:gd name="connsiteY110" fmla="*/ 857250 h 4496940"/>
              <a:gd name="connsiteX111" fmla="*/ 497227 w 4519987"/>
              <a:gd name="connsiteY111" fmla="*/ 828675 h 4496940"/>
              <a:gd name="connsiteX112" fmla="*/ 535327 w 4519987"/>
              <a:gd name="connsiteY112" fmla="*/ 800100 h 4496940"/>
              <a:gd name="connsiteX113" fmla="*/ 602002 w 4519987"/>
              <a:gd name="connsiteY113" fmla="*/ 733425 h 4496940"/>
              <a:gd name="connsiteX114" fmla="*/ 668677 w 4519987"/>
              <a:gd name="connsiteY114" fmla="*/ 676275 h 4496940"/>
              <a:gd name="connsiteX115" fmla="*/ 697252 w 4519987"/>
              <a:gd name="connsiteY115" fmla="*/ 657225 h 4496940"/>
              <a:gd name="connsiteX116" fmla="*/ 840127 w 4519987"/>
              <a:gd name="connsiteY116" fmla="*/ 533400 h 4496940"/>
              <a:gd name="connsiteX117" fmla="*/ 887752 w 4519987"/>
              <a:gd name="connsiteY117" fmla="*/ 504825 h 4496940"/>
              <a:gd name="connsiteX118" fmla="*/ 1167152 w 4519987"/>
              <a:gd name="connsiteY118" fmla="*/ 311150 h 4496940"/>
              <a:gd name="connsiteX119" fmla="*/ 1268752 w 4519987"/>
              <a:gd name="connsiteY119" fmla="*/ 285750 h 4496940"/>
              <a:gd name="connsiteX120" fmla="*/ 1411627 w 4519987"/>
              <a:gd name="connsiteY120" fmla="*/ 190500 h 4496940"/>
              <a:gd name="connsiteX121" fmla="*/ 1449727 w 4519987"/>
              <a:gd name="connsiteY121" fmla="*/ 161925 h 4496940"/>
              <a:gd name="connsiteX122" fmla="*/ 1525927 w 4519987"/>
              <a:gd name="connsiteY122" fmla="*/ 152400 h 4496940"/>
              <a:gd name="connsiteX123" fmla="*/ 1583077 w 4519987"/>
              <a:gd name="connsiteY123" fmla="*/ 142875 h 4496940"/>
              <a:gd name="connsiteX124" fmla="*/ 1716427 w 4519987"/>
              <a:gd name="connsiteY124" fmla="*/ 123825 h 4496940"/>
              <a:gd name="connsiteX125" fmla="*/ 1811677 w 4519987"/>
              <a:gd name="connsiteY125" fmla="*/ 114300 h 4496940"/>
              <a:gd name="connsiteX126" fmla="*/ 1859302 w 4519987"/>
              <a:gd name="connsiteY126" fmla="*/ 104775 h 4496940"/>
              <a:gd name="connsiteX127" fmla="*/ 1916452 w 4519987"/>
              <a:gd name="connsiteY127" fmla="*/ 95250 h 4496940"/>
              <a:gd name="connsiteX128" fmla="*/ 2030752 w 4519987"/>
              <a:gd name="connsiteY128" fmla="*/ 66675 h 4496940"/>
              <a:gd name="connsiteX129" fmla="*/ 2097427 w 4519987"/>
              <a:gd name="connsiteY129" fmla="*/ 47625 h 4496940"/>
              <a:gd name="connsiteX130" fmla="*/ 2164102 w 4519987"/>
              <a:gd name="connsiteY130" fmla="*/ 38100 h 4496940"/>
              <a:gd name="connsiteX131" fmla="*/ 2392702 w 4519987"/>
              <a:gd name="connsiteY13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88152 w 4519987"/>
              <a:gd name="connsiteY33" fmla="*/ 3495675 h 4496940"/>
              <a:gd name="connsiteX34" fmla="*/ 4059577 w 4519987"/>
              <a:gd name="connsiteY34" fmla="*/ 3533775 h 4496940"/>
              <a:gd name="connsiteX35" fmla="*/ 4002427 w 4519987"/>
              <a:gd name="connsiteY35" fmla="*/ 3600450 h 4496940"/>
              <a:gd name="connsiteX36" fmla="*/ 3954802 w 4519987"/>
              <a:gd name="connsiteY36" fmla="*/ 3648075 h 4496940"/>
              <a:gd name="connsiteX37" fmla="*/ 3659527 w 4519987"/>
              <a:gd name="connsiteY37" fmla="*/ 3971925 h 4496940"/>
              <a:gd name="connsiteX38" fmla="*/ 3630952 w 4519987"/>
              <a:gd name="connsiteY38" fmla="*/ 4010025 h 4496940"/>
              <a:gd name="connsiteX39" fmla="*/ 3621427 w 4519987"/>
              <a:gd name="connsiteY39" fmla="*/ 4038600 h 4496940"/>
              <a:gd name="connsiteX40" fmla="*/ 3554752 w 4519987"/>
              <a:gd name="connsiteY40" fmla="*/ 4095750 h 4496940"/>
              <a:gd name="connsiteX41" fmla="*/ 3516652 w 4519987"/>
              <a:gd name="connsiteY41" fmla="*/ 4114800 h 4496940"/>
              <a:gd name="connsiteX42" fmla="*/ 3497602 w 4519987"/>
              <a:gd name="connsiteY42" fmla="*/ 4143375 h 4496940"/>
              <a:gd name="connsiteX43" fmla="*/ 3383302 w 4519987"/>
              <a:gd name="connsiteY43" fmla="*/ 4210050 h 4496940"/>
              <a:gd name="connsiteX44" fmla="*/ 3335677 w 4519987"/>
              <a:gd name="connsiteY44" fmla="*/ 4238625 h 4496940"/>
              <a:gd name="connsiteX45" fmla="*/ 3288052 w 4519987"/>
              <a:gd name="connsiteY45" fmla="*/ 4248150 h 4496940"/>
              <a:gd name="connsiteX46" fmla="*/ 3240427 w 4519987"/>
              <a:gd name="connsiteY46" fmla="*/ 4267200 h 4496940"/>
              <a:gd name="connsiteX47" fmla="*/ 3068977 w 4519987"/>
              <a:gd name="connsiteY47" fmla="*/ 4286250 h 4496940"/>
              <a:gd name="connsiteX48" fmla="*/ 2935627 w 4519987"/>
              <a:gd name="connsiteY48" fmla="*/ 4333875 h 4496940"/>
              <a:gd name="connsiteX49" fmla="*/ 2811802 w 4519987"/>
              <a:gd name="connsiteY49" fmla="*/ 4371975 h 4496940"/>
              <a:gd name="connsiteX50" fmla="*/ 2745127 w 4519987"/>
              <a:gd name="connsiteY50" fmla="*/ 4410075 h 4496940"/>
              <a:gd name="connsiteX51" fmla="*/ 2697502 w 4519987"/>
              <a:gd name="connsiteY51" fmla="*/ 4429125 h 4496940"/>
              <a:gd name="connsiteX52" fmla="*/ 2640352 w 4519987"/>
              <a:gd name="connsiteY52" fmla="*/ 4457700 h 4496940"/>
              <a:gd name="connsiteX53" fmla="*/ 2583202 w 4519987"/>
              <a:gd name="connsiteY53" fmla="*/ 4467225 h 4496940"/>
              <a:gd name="connsiteX54" fmla="*/ 2545102 w 4519987"/>
              <a:gd name="connsiteY54" fmla="*/ 4486275 h 4496940"/>
              <a:gd name="connsiteX55" fmla="*/ 2306977 w 4519987"/>
              <a:gd name="connsiteY55" fmla="*/ 4476750 h 4496940"/>
              <a:gd name="connsiteX56" fmla="*/ 2202202 w 4519987"/>
              <a:gd name="connsiteY56" fmla="*/ 4457700 h 4496940"/>
              <a:gd name="connsiteX57" fmla="*/ 2126002 w 4519987"/>
              <a:gd name="connsiteY57" fmla="*/ 4429125 h 4496940"/>
              <a:gd name="connsiteX58" fmla="*/ 1935502 w 4519987"/>
              <a:gd name="connsiteY58" fmla="*/ 4400550 h 4496940"/>
              <a:gd name="connsiteX59" fmla="*/ 1821202 w 4519987"/>
              <a:gd name="connsiteY59" fmla="*/ 4371975 h 4496940"/>
              <a:gd name="connsiteX60" fmla="*/ 1754527 w 4519987"/>
              <a:gd name="connsiteY60" fmla="*/ 4352925 h 4496940"/>
              <a:gd name="connsiteX61" fmla="*/ 1687852 w 4519987"/>
              <a:gd name="connsiteY61" fmla="*/ 4343400 h 4496940"/>
              <a:gd name="connsiteX62" fmla="*/ 1573552 w 4519987"/>
              <a:gd name="connsiteY62" fmla="*/ 4305300 h 4496940"/>
              <a:gd name="connsiteX63" fmla="*/ 1402102 w 4519987"/>
              <a:gd name="connsiteY63" fmla="*/ 4276725 h 4496940"/>
              <a:gd name="connsiteX64" fmla="*/ 1287802 w 4519987"/>
              <a:gd name="connsiteY64" fmla="*/ 4229100 h 4496940"/>
              <a:gd name="connsiteX65" fmla="*/ 1221127 w 4519987"/>
              <a:gd name="connsiteY65" fmla="*/ 4200525 h 4496940"/>
              <a:gd name="connsiteX66" fmla="*/ 1144927 w 4519987"/>
              <a:gd name="connsiteY66" fmla="*/ 4171950 h 4496940"/>
              <a:gd name="connsiteX67" fmla="*/ 1087777 w 4519987"/>
              <a:gd name="connsiteY67" fmla="*/ 4143375 h 4496940"/>
              <a:gd name="connsiteX68" fmla="*/ 1030627 w 4519987"/>
              <a:gd name="connsiteY68" fmla="*/ 4124325 h 4496940"/>
              <a:gd name="connsiteX69" fmla="*/ 925852 w 4519987"/>
              <a:gd name="connsiteY69" fmla="*/ 4067175 h 4496940"/>
              <a:gd name="connsiteX70" fmla="*/ 830602 w 4519987"/>
              <a:gd name="connsiteY70" fmla="*/ 3981450 h 4496940"/>
              <a:gd name="connsiteX71" fmla="*/ 763927 w 4519987"/>
              <a:gd name="connsiteY71" fmla="*/ 3914775 h 4496940"/>
              <a:gd name="connsiteX72" fmla="*/ 725827 w 4519987"/>
              <a:gd name="connsiteY72" fmla="*/ 3876675 h 4496940"/>
              <a:gd name="connsiteX73" fmla="*/ 697252 w 4519987"/>
              <a:gd name="connsiteY73" fmla="*/ 3838575 h 4496940"/>
              <a:gd name="connsiteX74" fmla="*/ 640102 w 4519987"/>
              <a:gd name="connsiteY74" fmla="*/ 3781425 h 4496940"/>
              <a:gd name="connsiteX75" fmla="*/ 611527 w 4519987"/>
              <a:gd name="connsiteY75" fmla="*/ 3733800 h 4496940"/>
              <a:gd name="connsiteX76" fmla="*/ 554377 w 4519987"/>
              <a:gd name="connsiteY76" fmla="*/ 3657600 h 4496940"/>
              <a:gd name="connsiteX77" fmla="*/ 525802 w 4519987"/>
              <a:gd name="connsiteY77" fmla="*/ 3609975 h 4496940"/>
              <a:gd name="connsiteX78" fmla="*/ 497227 w 4519987"/>
              <a:gd name="connsiteY78" fmla="*/ 3552825 h 4496940"/>
              <a:gd name="connsiteX79" fmla="*/ 440077 w 4519987"/>
              <a:gd name="connsiteY79" fmla="*/ 3495675 h 4496940"/>
              <a:gd name="connsiteX80" fmla="*/ 411502 w 4519987"/>
              <a:gd name="connsiteY80" fmla="*/ 3448050 h 4496940"/>
              <a:gd name="connsiteX81" fmla="*/ 278152 w 4519987"/>
              <a:gd name="connsiteY81" fmla="*/ 3257550 h 4496940"/>
              <a:gd name="connsiteX82" fmla="*/ 249577 w 4519987"/>
              <a:gd name="connsiteY82" fmla="*/ 3200400 h 4496940"/>
              <a:gd name="connsiteX83" fmla="*/ 240052 w 4519987"/>
              <a:gd name="connsiteY83" fmla="*/ 3162300 h 4496940"/>
              <a:gd name="connsiteX84" fmla="*/ 221002 w 4519987"/>
              <a:gd name="connsiteY84" fmla="*/ 3105150 h 4496940"/>
              <a:gd name="connsiteX85" fmla="*/ 173377 w 4519987"/>
              <a:gd name="connsiteY85" fmla="*/ 3019425 h 4496940"/>
              <a:gd name="connsiteX86" fmla="*/ 144802 w 4519987"/>
              <a:gd name="connsiteY86" fmla="*/ 2924175 h 4496940"/>
              <a:gd name="connsiteX87" fmla="*/ 68602 w 4519987"/>
              <a:gd name="connsiteY87" fmla="*/ 2724150 h 4496940"/>
              <a:gd name="connsiteX88" fmla="*/ 49552 w 4519987"/>
              <a:gd name="connsiteY88" fmla="*/ 2638425 h 4496940"/>
              <a:gd name="connsiteX89" fmla="*/ 40027 w 4519987"/>
              <a:gd name="connsiteY89" fmla="*/ 2562225 h 4496940"/>
              <a:gd name="connsiteX90" fmla="*/ 30502 w 4519987"/>
              <a:gd name="connsiteY90" fmla="*/ 2514600 h 4496940"/>
              <a:gd name="connsiteX91" fmla="*/ 11452 w 4519987"/>
              <a:gd name="connsiteY91" fmla="*/ 2400300 h 4496940"/>
              <a:gd name="connsiteX92" fmla="*/ 20977 w 4519987"/>
              <a:gd name="connsiteY92" fmla="*/ 1905000 h 4496940"/>
              <a:gd name="connsiteX93" fmla="*/ 30502 w 4519987"/>
              <a:gd name="connsiteY93" fmla="*/ 1838325 h 4496940"/>
              <a:gd name="connsiteX94" fmla="*/ 49552 w 4519987"/>
              <a:gd name="connsiteY94" fmla="*/ 1781175 h 4496940"/>
              <a:gd name="connsiteX95" fmla="*/ 59077 w 4519987"/>
              <a:gd name="connsiteY95" fmla="*/ 1743075 h 4496940"/>
              <a:gd name="connsiteX96" fmla="*/ 78127 w 4519987"/>
              <a:gd name="connsiteY96" fmla="*/ 1685925 h 4496940"/>
              <a:gd name="connsiteX97" fmla="*/ 87652 w 4519987"/>
              <a:gd name="connsiteY97" fmla="*/ 1638300 h 4496940"/>
              <a:gd name="connsiteX98" fmla="*/ 106702 w 4519987"/>
              <a:gd name="connsiteY98" fmla="*/ 1590675 h 4496940"/>
              <a:gd name="connsiteX99" fmla="*/ 135277 w 4519987"/>
              <a:gd name="connsiteY99" fmla="*/ 1504950 h 4496940"/>
              <a:gd name="connsiteX100" fmla="*/ 154327 w 4519987"/>
              <a:gd name="connsiteY100" fmla="*/ 1419225 h 4496940"/>
              <a:gd name="connsiteX101" fmla="*/ 230527 w 4519987"/>
              <a:gd name="connsiteY101" fmla="*/ 1276350 h 4496940"/>
              <a:gd name="connsiteX102" fmla="*/ 240052 w 4519987"/>
              <a:gd name="connsiteY102" fmla="*/ 1247775 h 4496940"/>
              <a:gd name="connsiteX103" fmla="*/ 268627 w 4519987"/>
              <a:gd name="connsiteY103" fmla="*/ 1200150 h 4496940"/>
              <a:gd name="connsiteX104" fmla="*/ 287677 w 4519987"/>
              <a:gd name="connsiteY104" fmla="*/ 1152525 h 4496940"/>
              <a:gd name="connsiteX105" fmla="*/ 316252 w 4519987"/>
              <a:gd name="connsiteY105" fmla="*/ 1114425 h 4496940"/>
              <a:gd name="connsiteX106" fmla="*/ 363877 w 4519987"/>
              <a:gd name="connsiteY106" fmla="*/ 1038225 h 4496940"/>
              <a:gd name="connsiteX107" fmla="*/ 382927 w 4519987"/>
              <a:gd name="connsiteY107" fmla="*/ 1009650 h 4496940"/>
              <a:gd name="connsiteX108" fmla="*/ 440077 w 4519987"/>
              <a:gd name="connsiteY108" fmla="*/ 904875 h 4496940"/>
              <a:gd name="connsiteX109" fmla="*/ 478177 w 4519987"/>
              <a:gd name="connsiteY109" fmla="*/ 857250 h 4496940"/>
              <a:gd name="connsiteX110" fmla="*/ 497227 w 4519987"/>
              <a:gd name="connsiteY110" fmla="*/ 828675 h 4496940"/>
              <a:gd name="connsiteX111" fmla="*/ 535327 w 4519987"/>
              <a:gd name="connsiteY111" fmla="*/ 800100 h 4496940"/>
              <a:gd name="connsiteX112" fmla="*/ 602002 w 4519987"/>
              <a:gd name="connsiteY112" fmla="*/ 733425 h 4496940"/>
              <a:gd name="connsiteX113" fmla="*/ 668677 w 4519987"/>
              <a:gd name="connsiteY113" fmla="*/ 676275 h 4496940"/>
              <a:gd name="connsiteX114" fmla="*/ 697252 w 4519987"/>
              <a:gd name="connsiteY114" fmla="*/ 657225 h 4496940"/>
              <a:gd name="connsiteX115" fmla="*/ 840127 w 4519987"/>
              <a:gd name="connsiteY115" fmla="*/ 533400 h 4496940"/>
              <a:gd name="connsiteX116" fmla="*/ 887752 w 4519987"/>
              <a:gd name="connsiteY116" fmla="*/ 504825 h 4496940"/>
              <a:gd name="connsiteX117" fmla="*/ 1167152 w 4519987"/>
              <a:gd name="connsiteY117" fmla="*/ 311150 h 4496940"/>
              <a:gd name="connsiteX118" fmla="*/ 1268752 w 4519987"/>
              <a:gd name="connsiteY118" fmla="*/ 285750 h 4496940"/>
              <a:gd name="connsiteX119" fmla="*/ 1411627 w 4519987"/>
              <a:gd name="connsiteY119" fmla="*/ 190500 h 4496940"/>
              <a:gd name="connsiteX120" fmla="*/ 1449727 w 4519987"/>
              <a:gd name="connsiteY120" fmla="*/ 161925 h 4496940"/>
              <a:gd name="connsiteX121" fmla="*/ 1525927 w 4519987"/>
              <a:gd name="connsiteY121" fmla="*/ 152400 h 4496940"/>
              <a:gd name="connsiteX122" fmla="*/ 1583077 w 4519987"/>
              <a:gd name="connsiteY122" fmla="*/ 142875 h 4496940"/>
              <a:gd name="connsiteX123" fmla="*/ 1716427 w 4519987"/>
              <a:gd name="connsiteY123" fmla="*/ 123825 h 4496940"/>
              <a:gd name="connsiteX124" fmla="*/ 1811677 w 4519987"/>
              <a:gd name="connsiteY124" fmla="*/ 114300 h 4496940"/>
              <a:gd name="connsiteX125" fmla="*/ 1859302 w 4519987"/>
              <a:gd name="connsiteY125" fmla="*/ 104775 h 4496940"/>
              <a:gd name="connsiteX126" fmla="*/ 1916452 w 4519987"/>
              <a:gd name="connsiteY126" fmla="*/ 95250 h 4496940"/>
              <a:gd name="connsiteX127" fmla="*/ 2030752 w 4519987"/>
              <a:gd name="connsiteY127" fmla="*/ 66675 h 4496940"/>
              <a:gd name="connsiteX128" fmla="*/ 2097427 w 4519987"/>
              <a:gd name="connsiteY128" fmla="*/ 47625 h 4496940"/>
              <a:gd name="connsiteX129" fmla="*/ 2164102 w 4519987"/>
              <a:gd name="connsiteY129" fmla="*/ 38100 h 4496940"/>
              <a:gd name="connsiteX130" fmla="*/ 2392702 w 4519987"/>
              <a:gd name="connsiteY13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4002427 w 4519987"/>
              <a:gd name="connsiteY34" fmla="*/ 3600450 h 4496940"/>
              <a:gd name="connsiteX35" fmla="*/ 3954802 w 4519987"/>
              <a:gd name="connsiteY35" fmla="*/ 3648075 h 4496940"/>
              <a:gd name="connsiteX36" fmla="*/ 3659527 w 4519987"/>
              <a:gd name="connsiteY36" fmla="*/ 3971925 h 4496940"/>
              <a:gd name="connsiteX37" fmla="*/ 3630952 w 4519987"/>
              <a:gd name="connsiteY37" fmla="*/ 4010025 h 4496940"/>
              <a:gd name="connsiteX38" fmla="*/ 3621427 w 4519987"/>
              <a:gd name="connsiteY38" fmla="*/ 4038600 h 4496940"/>
              <a:gd name="connsiteX39" fmla="*/ 3554752 w 4519987"/>
              <a:gd name="connsiteY39" fmla="*/ 4095750 h 4496940"/>
              <a:gd name="connsiteX40" fmla="*/ 3516652 w 4519987"/>
              <a:gd name="connsiteY40" fmla="*/ 4114800 h 4496940"/>
              <a:gd name="connsiteX41" fmla="*/ 3497602 w 4519987"/>
              <a:gd name="connsiteY41" fmla="*/ 4143375 h 4496940"/>
              <a:gd name="connsiteX42" fmla="*/ 3383302 w 4519987"/>
              <a:gd name="connsiteY42" fmla="*/ 4210050 h 4496940"/>
              <a:gd name="connsiteX43" fmla="*/ 3335677 w 4519987"/>
              <a:gd name="connsiteY43" fmla="*/ 4238625 h 4496940"/>
              <a:gd name="connsiteX44" fmla="*/ 3288052 w 4519987"/>
              <a:gd name="connsiteY44" fmla="*/ 4248150 h 4496940"/>
              <a:gd name="connsiteX45" fmla="*/ 3240427 w 4519987"/>
              <a:gd name="connsiteY45" fmla="*/ 4267200 h 4496940"/>
              <a:gd name="connsiteX46" fmla="*/ 3068977 w 4519987"/>
              <a:gd name="connsiteY46" fmla="*/ 4286250 h 4496940"/>
              <a:gd name="connsiteX47" fmla="*/ 2935627 w 4519987"/>
              <a:gd name="connsiteY47" fmla="*/ 4333875 h 4496940"/>
              <a:gd name="connsiteX48" fmla="*/ 2811802 w 4519987"/>
              <a:gd name="connsiteY48" fmla="*/ 4371975 h 4496940"/>
              <a:gd name="connsiteX49" fmla="*/ 2745127 w 4519987"/>
              <a:gd name="connsiteY49" fmla="*/ 4410075 h 4496940"/>
              <a:gd name="connsiteX50" fmla="*/ 2697502 w 4519987"/>
              <a:gd name="connsiteY50" fmla="*/ 4429125 h 4496940"/>
              <a:gd name="connsiteX51" fmla="*/ 2640352 w 4519987"/>
              <a:gd name="connsiteY51" fmla="*/ 4457700 h 4496940"/>
              <a:gd name="connsiteX52" fmla="*/ 2583202 w 4519987"/>
              <a:gd name="connsiteY52" fmla="*/ 4467225 h 4496940"/>
              <a:gd name="connsiteX53" fmla="*/ 2545102 w 4519987"/>
              <a:gd name="connsiteY53" fmla="*/ 4486275 h 4496940"/>
              <a:gd name="connsiteX54" fmla="*/ 2306977 w 4519987"/>
              <a:gd name="connsiteY54" fmla="*/ 4476750 h 4496940"/>
              <a:gd name="connsiteX55" fmla="*/ 2202202 w 4519987"/>
              <a:gd name="connsiteY55" fmla="*/ 4457700 h 4496940"/>
              <a:gd name="connsiteX56" fmla="*/ 2126002 w 4519987"/>
              <a:gd name="connsiteY56" fmla="*/ 4429125 h 4496940"/>
              <a:gd name="connsiteX57" fmla="*/ 1935502 w 4519987"/>
              <a:gd name="connsiteY57" fmla="*/ 4400550 h 4496940"/>
              <a:gd name="connsiteX58" fmla="*/ 1821202 w 4519987"/>
              <a:gd name="connsiteY58" fmla="*/ 4371975 h 4496940"/>
              <a:gd name="connsiteX59" fmla="*/ 1754527 w 4519987"/>
              <a:gd name="connsiteY59" fmla="*/ 4352925 h 4496940"/>
              <a:gd name="connsiteX60" fmla="*/ 1687852 w 4519987"/>
              <a:gd name="connsiteY60" fmla="*/ 4343400 h 4496940"/>
              <a:gd name="connsiteX61" fmla="*/ 1573552 w 4519987"/>
              <a:gd name="connsiteY61" fmla="*/ 4305300 h 4496940"/>
              <a:gd name="connsiteX62" fmla="*/ 1402102 w 4519987"/>
              <a:gd name="connsiteY62" fmla="*/ 4276725 h 4496940"/>
              <a:gd name="connsiteX63" fmla="*/ 1287802 w 4519987"/>
              <a:gd name="connsiteY63" fmla="*/ 4229100 h 4496940"/>
              <a:gd name="connsiteX64" fmla="*/ 1221127 w 4519987"/>
              <a:gd name="connsiteY64" fmla="*/ 4200525 h 4496940"/>
              <a:gd name="connsiteX65" fmla="*/ 1144927 w 4519987"/>
              <a:gd name="connsiteY65" fmla="*/ 4171950 h 4496940"/>
              <a:gd name="connsiteX66" fmla="*/ 1087777 w 4519987"/>
              <a:gd name="connsiteY66" fmla="*/ 4143375 h 4496940"/>
              <a:gd name="connsiteX67" fmla="*/ 1030627 w 4519987"/>
              <a:gd name="connsiteY67" fmla="*/ 4124325 h 4496940"/>
              <a:gd name="connsiteX68" fmla="*/ 925852 w 4519987"/>
              <a:gd name="connsiteY68" fmla="*/ 4067175 h 4496940"/>
              <a:gd name="connsiteX69" fmla="*/ 830602 w 4519987"/>
              <a:gd name="connsiteY69" fmla="*/ 3981450 h 4496940"/>
              <a:gd name="connsiteX70" fmla="*/ 763927 w 4519987"/>
              <a:gd name="connsiteY70" fmla="*/ 3914775 h 4496940"/>
              <a:gd name="connsiteX71" fmla="*/ 725827 w 4519987"/>
              <a:gd name="connsiteY71" fmla="*/ 3876675 h 4496940"/>
              <a:gd name="connsiteX72" fmla="*/ 697252 w 4519987"/>
              <a:gd name="connsiteY72" fmla="*/ 3838575 h 4496940"/>
              <a:gd name="connsiteX73" fmla="*/ 640102 w 4519987"/>
              <a:gd name="connsiteY73" fmla="*/ 3781425 h 4496940"/>
              <a:gd name="connsiteX74" fmla="*/ 611527 w 4519987"/>
              <a:gd name="connsiteY74" fmla="*/ 3733800 h 4496940"/>
              <a:gd name="connsiteX75" fmla="*/ 554377 w 4519987"/>
              <a:gd name="connsiteY75" fmla="*/ 3657600 h 4496940"/>
              <a:gd name="connsiteX76" fmla="*/ 525802 w 4519987"/>
              <a:gd name="connsiteY76" fmla="*/ 3609975 h 4496940"/>
              <a:gd name="connsiteX77" fmla="*/ 497227 w 4519987"/>
              <a:gd name="connsiteY77" fmla="*/ 3552825 h 4496940"/>
              <a:gd name="connsiteX78" fmla="*/ 440077 w 4519987"/>
              <a:gd name="connsiteY78" fmla="*/ 3495675 h 4496940"/>
              <a:gd name="connsiteX79" fmla="*/ 411502 w 4519987"/>
              <a:gd name="connsiteY79" fmla="*/ 3448050 h 4496940"/>
              <a:gd name="connsiteX80" fmla="*/ 278152 w 4519987"/>
              <a:gd name="connsiteY80" fmla="*/ 3257550 h 4496940"/>
              <a:gd name="connsiteX81" fmla="*/ 249577 w 4519987"/>
              <a:gd name="connsiteY81" fmla="*/ 3200400 h 4496940"/>
              <a:gd name="connsiteX82" fmla="*/ 240052 w 4519987"/>
              <a:gd name="connsiteY82" fmla="*/ 3162300 h 4496940"/>
              <a:gd name="connsiteX83" fmla="*/ 221002 w 4519987"/>
              <a:gd name="connsiteY83" fmla="*/ 3105150 h 4496940"/>
              <a:gd name="connsiteX84" fmla="*/ 173377 w 4519987"/>
              <a:gd name="connsiteY84" fmla="*/ 3019425 h 4496940"/>
              <a:gd name="connsiteX85" fmla="*/ 144802 w 4519987"/>
              <a:gd name="connsiteY85" fmla="*/ 2924175 h 4496940"/>
              <a:gd name="connsiteX86" fmla="*/ 68602 w 4519987"/>
              <a:gd name="connsiteY86" fmla="*/ 2724150 h 4496940"/>
              <a:gd name="connsiteX87" fmla="*/ 49552 w 4519987"/>
              <a:gd name="connsiteY87" fmla="*/ 2638425 h 4496940"/>
              <a:gd name="connsiteX88" fmla="*/ 40027 w 4519987"/>
              <a:gd name="connsiteY88" fmla="*/ 2562225 h 4496940"/>
              <a:gd name="connsiteX89" fmla="*/ 30502 w 4519987"/>
              <a:gd name="connsiteY89" fmla="*/ 2514600 h 4496940"/>
              <a:gd name="connsiteX90" fmla="*/ 11452 w 4519987"/>
              <a:gd name="connsiteY90" fmla="*/ 2400300 h 4496940"/>
              <a:gd name="connsiteX91" fmla="*/ 20977 w 4519987"/>
              <a:gd name="connsiteY91" fmla="*/ 1905000 h 4496940"/>
              <a:gd name="connsiteX92" fmla="*/ 30502 w 4519987"/>
              <a:gd name="connsiteY92" fmla="*/ 1838325 h 4496940"/>
              <a:gd name="connsiteX93" fmla="*/ 49552 w 4519987"/>
              <a:gd name="connsiteY93" fmla="*/ 1781175 h 4496940"/>
              <a:gd name="connsiteX94" fmla="*/ 59077 w 4519987"/>
              <a:gd name="connsiteY94" fmla="*/ 1743075 h 4496940"/>
              <a:gd name="connsiteX95" fmla="*/ 78127 w 4519987"/>
              <a:gd name="connsiteY95" fmla="*/ 1685925 h 4496940"/>
              <a:gd name="connsiteX96" fmla="*/ 87652 w 4519987"/>
              <a:gd name="connsiteY96" fmla="*/ 1638300 h 4496940"/>
              <a:gd name="connsiteX97" fmla="*/ 106702 w 4519987"/>
              <a:gd name="connsiteY97" fmla="*/ 1590675 h 4496940"/>
              <a:gd name="connsiteX98" fmla="*/ 135277 w 4519987"/>
              <a:gd name="connsiteY98" fmla="*/ 1504950 h 4496940"/>
              <a:gd name="connsiteX99" fmla="*/ 154327 w 4519987"/>
              <a:gd name="connsiteY99" fmla="*/ 1419225 h 4496940"/>
              <a:gd name="connsiteX100" fmla="*/ 230527 w 4519987"/>
              <a:gd name="connsiteY100" fmla="*/ 1276350 h 4496940"/>
              <a:gd name="connsiteX101" fmla="*/ 240052 w 4519987"/>
              <a:gd name="connsiteY101" fmla="*/ 1247775 h 4496940"/>
              <a:gd name="connsiteX102" fmla="*/ 268627 w 4519987"/>
              <a:gd name="connsiteY102" fmla="*/ 1200150 h 4496940"/>
              <a:gd name="connsiteX103" fmla="*/ 287677 w 4519987"/>
              <a:gd name="connsiteY103" fmla="*/ 1152525 h 4496940"/>
              <a:gd name="connsiteX104" fmla="*/ 316252 w 4519987"/>
              <a:gd name="connsiteY104" fmla="*/ 1114425 h 4496940"/>
              <a:gd name="connsiteX105" fmla="*/ 363877 w 4519987"/>
              <a:gd name="connsiteY105" fmla="*/ 1038225 h 4496940"/>
              <a:gd name="connsiteX106" fmla="*/ 382927 w 4519987"/>
              <a:gd name="connsiteY106" fmla="*/ 1009650 h 4496940"/>
              <a:gd name="connsiteX107" fmla="*/ 440077 w 4519987"/>
              <a:gd name="connsiteY107" fmla="*/ 904875 h 4496940"/>
              <a:gd name="connsiteX108" fmla="*/ 478177 w 4519987"/>
              <a:gd name="connsiteY108" fmla="*/ 857250 h 4496940"/>
              <a:gd name="connsiteX109" fmla="*/ 497227 w 4519987"/>
              <a:gd name="connsiteY109" fmla="*/ 828675 h 4496940"/>
              <a:gd name="connsiteX110" fmla="*/ 535327 w 4519987"/>
              <a:gd name="connsiteY110" fmla="*/ 800100 h 4496940"/>
              <a:gd name="connsiteX111" fmla="*/ 602002 w 4519987"/>
              <a:gd name="connsiteY111" fmla="*/ 733425 h 4496940"/>
              <a:gd name="connsiteX112" fmla="*/ 668677 w 4519987"/>
              <a:gd name="connsiteY112" fmla="*/ 676275 h 4496940"/>
              <a:gd name="connsiteX113" fmla="*/ 697252 w 4519987"/>
              <a:gd name="connsiteY113" fmla="*/ 657225 h 4496940"/>
              <a:gd name="connsiteX114" fmla="*/ 840127 w 4519987"/>
              <a:gd name="connsiteY114" fmla="*/ 533400 h 4496940"/>
              <a:gd name="connsiteX115" fmla="*/ 887752 w 4519987"/>
              <a:gd name="connsiteY115" fmla="*/ 504825 h 4496940"/>
              <a:gd name="connsiteX116" fmla="*/ 1167152 w 4519987"/>
              <a:gd name="connsiteY116" fmla="*/ 311150 h 4496940"/>
              <a:gd name="connsiteX117" fmla="*/ 1268752 w 4519987"/>
              <a:gd name="connsiteY117" fmla="*/ 285750 h 4496940"/>
              <a:gd name="connsiteX118" fmla="*/ 1411627 w 4519987"/>
              <a:gd name="connsiteY118" fmla="*/ 190500 h 4496940"/>
              <a:gd name="connsiteX119" fmla="*/ 1449727 w 4519987"/>
              <a:gd name="connsiteY119" fmla="*/ 161925 h 4496940"/>
              <a:gd name="connsiteX120" fmla="*/ 1525927 w 4519987"/>
              <a:gd name="connsiteY120" fmla="*/ 152400 h 4496940"/>
              <a:gd name="connsiteX121" fmla="*/ 1583077 w 4519987"/>
              <a:gd name="connsiteY121" fmla="*/ 142875 h 4496940"/>
              <a:gd name="connsiteX122" fmla="*/ 1716427 w 4519987"/>
              <a:gd name="connsiteY122" fmla="*/ 123825 h 4496940"/>
              <a:gd name="connsiteX123" fmla="*/ 1811677 w 4519987"/>
              <a:gd name="connsiteY123" fmla="*/ 114300 h 4496940"/>
              <a:gd name="connsiteX124" fmla="*/ 1859302 w 4519987"/>
              <a:gd name="connsiteY124" fmla="*/ 104775 h 4496940"/>
              <a:gd name="connsiteX125" fmla="*/ 1916452 w 4519987"/>
              <a:gd name="connsiteY125" fmla="*/ 95250 h 4496940"/>
              <a:gd name="connsiteX126" fmla="*/ 2030752 w 4519987"/>
              <a:gd name="connsiteY126" fmla="*/ 66675 h 4496940"/>
              <a:gd name="connsiteX127" fmla="*/ 2097427 w 4519987"/>
              <a:gd name="connsiteY127" fmla="*/ 47625 h 4496940"/>
              <a:gd name="connsiteX128" fmla="*/ 2164102 w 4519987"/>
              <a:gd name="connsiteY128" fmla="*/ 38100 h 4496940"/>
              <a:gd name="connsiteX129" fmla="*/ 2392702 w 4519987"/>
              <a:gd name="connsiteY12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516652 w 4519987"/>
              <a:gd name="connsiteY39" fmla="*/ 4114800 h 4496940"/>
              <a:gd name="connsiteX40" fmla="*/ 3497602 w 4519987"/>
              <a:gd name="connsiteY40" fmla="*/ 4143375 h 4496940"/>
              <a:gd name="connsiteX41" fmla="*/ 3383302 w 4519987"/>
              <a:gd name="connsiteY41" fmla="*/ 4210050 h 4496940"/>
              <a:gd name="connsiteX42" fmla="*/ 3335677 w 4519987"/>
              <a:gd name="connsiteY42" fmla="*/ 4238625 h 4496940"/>
              <a:gd name="connsiteX43" fmla="*/ 3288052 w 4519987"/>
              <a:gd name="connsiteY43" fmla="*/ 4248150 h 4496940"/>
              <a:gd name="connsiteX44" fmla="*/ 3240427 w 4519987"/>
              <a:gd name="connsiteY44" fmla="*/ 4267200 h 4496940"/>
              <a:gd name="connsiteX45" fmla="*/ 3068977 w 4519987"/>
              <a:gd name="connsiteY45" fmla="*/ 4286250 h 4496940"/>
              <a:gd name="connsiteX46" fmla="*/ 2935627 w 4519987"/>
              <a:gd name="connsiteY46" fmla="*/ 4333875 h 4496940"/>
              <a:gd name="connsiteX47" fmla="*/ 2811802 w 4519987"/>
              <a:gd name="connsiteY47" fmla="*/ 4371975 h 4496940"/>
              <a:gd name="connsiteX48" fmla="*/ 2745127 w 4519987"/>
              <a:gd name="connsiteY48" fmla="*/ 4410075 h 4496940"/>
              <a:gd name="connsiteX49" fmla="*/ 2697502 w 4519987"/>
              <a:gd name="connsiteY49" fmla="*/ 4429125 h 4496940"/>
              <a:gd name="connsiteX50" fmla="*/ 2640352 w 4519987"/>
              <a:gd name="connsiteY50" fmla="*/ 4457700 h 4496940"/>
              <a:gd name="connsiteX51" fmla="*/ 2583202 w 4519987"/>
              <a:gd name="connsiteY51" fmla="*/ 4467225 h 4496940"/>
              <a:gd name="connsiteX52" fmla="*/ 2545102 w 4519987"/>
              <a:gd name="connsiteY52" fmla="*/ 4486275 h 4496940"/>
              <a:gd name="connsiteX53" fmla="*/ 2306977 w 4519987"/>
              <a:gd name="connsiteY53" fmla="*/ 4476750 h 4496940"/>
              <a:gd name="connsiteX54" fmla="*/ 2202202 w 4519987"/>
              <a:gd name="connsiteY54" fmla="*/ 4457700 h 4496940"/>
              <a:gd name="connsiteX55" fmla="*/ 2126002 w 4519987"/>
              <a:gd name="connsiteY55" fmla="*/ 4429125 h 4496940"/>
              <a:gd name="connsiteX56" fmla="*/ 1935502 w 4519987"/>
              <a:gd name="connsiteY56" fmla="*/ 4400550 h 4496940"/>
              <a:gd name="connsiteX57" fmla="*/ 1821202 w 4519987"/>
              <a:gd name="connsiteY57" fmla="*/ 4371975 h 4496940"/>
              <a:gd name="connsiteX58" fmla="*/ 1754527 w 4519987"/>
              <a:gd name="connsiteY58" fmla="*/ 4352925 h 4496940"/>
              <a:gd name="connsiteX59" fmla="*/ 1687852 w 4519987"/>
              <a:gd name="connsiteY59" fmla="*/ 4343400 h 4496940"/>
              <a:gd name="connsiteX60" fmla="*/ 1573552 w 4519987"/>
              <a:gd name="connsiteY60" fmla="*/ 4305300 h 4496940"/>
              <a:gd name="connsiteX61" fmla="*/ 1402102 w 4519987"/>
              <a:gd name="connsiteY61" fmla="*/ 4276725 h 4496940"/>
              <a:gd name="connsiteX62" fmla="*/ 1287802 w 4519987"/>
              <a:gd name="connsiteY62" fmla="*/ 4229100 h 4496940"/>
              <a:gd name="connsiteX63" fmla="*/ 1221127 w 4519987"/>
              <a:gd name="connsiteY63" fmla="*/ 4200525 h 4496940"/>
              <a:gd name="connsiteX64" fmla="*/ 1144927 w 4519987"/>
              <a:gd name="connsiteY64" fmla="*/ 4171950 h 4496940"/>
              <a:gd name="connsiteX65" fmla="*/ 1087777 w 4519987"/>
              <a:gd name="connsiteY65" fmla="*/ 4143375 h 4496940"/>
              <a:gd name="connsiteX66" fmla="*/ 1030627 w 4519987"/>
              <a:gd name="connsiteY66" fmla="*/ 4124325 h 4496940"/>
              <a:gd name="connsiteX67" fmla="*/ 925852 w 4519987"/>
              <a:gd name="connsiteY67" fmla="*/ 4067175 h 4496940"/>
              <a:gd name="connsiteX68" fmla="*/ 830602 w 4519987"/>
              <a:gd name="connsiteY68" fmla="*/ 3981450 h 4496940"/>
              <a:gd name="connsiteX69" fmla="*/ 763927 w 4519987"/>
              <a:gd name="connsiteY69" fmla="*/ 3914775 h 4496940"/>
              <a:gd name="connsiteX70" fmla="*/ 725827 w 4519987"/>
              <a:gd name="connsiteY70" fmla="*/ 3876675 h 4496940"/>
              <a:gd name="connsiteX71" fmla="*/ 697252 w 4519987"/>
              <a:gd name="connsiteY71" fmla="*/ 3838575 h 4496940"/>
              <a:gd name="connsiteX72" fmla="*/ 640102 w 4519987"/>
              <a:gd name="connsiteY72" fmla="*/ 3781425 h 4496940"/>
              <a:gd name="connsiteX73" fmla="*/ 611527 w 4519987"/>
              <a:gd name="connsiteY73" fmla="*/ 3733800 h 4496940"/>
              <a:gd name="connsiteX74" fmla="*/ 554377 w 4519987"/>
              <a:gd name="connsiteY74" fmla="*/ 3657600 h 4496940"/>
              <a:gd name="connsiteX75" fmla="*/ 525802 w 4519987"/>
              <a:gd name="connsiteY75" fmla="*/ 3609975 h 4496940"/>
              <a:gd name="connsiteX76" fmla="*/ 497227 w 4519987"/>
              <a:gd name="connsiteY76" fmla="*/ 3552825 h 4496940"/>
              <a:gd name="connsiteX77" fmla="*/ 440077 w 4519987"/>
              <a:gd name="connsiteY77" fmla="*/ 3495675 h 4496940"/>
              <a:gd name="connsiteX78" fmla="*/ 411502 w 4519987"/>
              <a:gd name="connsiteY78" fmla="*/ 3448050 h 4496940"/>
              <a:gd name="connsiteX79" fmla="*/ 278152 w 4519987"/>
              <a:gd name="connsiteY79" fmla="*/ 3257550 h 4496940"/>
              <a:gd name="connsiteX80" fmla="*/ 249577 w 4519987"/>
              <a:gd name="connsiteY80" fmla="*/ 3200400 h 4496940"/>
              <a:gd name="connsiteX81" fmla="*/ 240052 w 4519987"/>
              <a:gd name="connsiteY81" fmla="*/ 3162300 h 4496940"/>
              <a:gd name="connsiteX82" fmla="*/ 221002 w 4519987"/>
              <a:gd name="connsiteY82" fmla="*/ 3105150 h 4496940"/>
              <a:gd name="connsiteX83" fmla="*/ 173377 w 4519987"/>
              <a:gd name="connsiteY83" fmla="*/ 3019425 h 4496940"/>
              <a:gd name="connsiteX84" fmla="*/ 144802 w 4519987"/>
              <a:gd name="connsiteY84" fmla="*/ 2924175 h 4496940"/>
              <a:gd name="connsiteX85" fmla="*/ 68602 w 4519987"/>
              <a:gd name="connsiteY85" fmla="*/ 2724150 h 4496940"/>
              <a:gd name="connsiteX86" fmla="*/ 49552 w 4519987"/>
              <a:gd name="connsiteY86" fmla="*/ 2638425 h 4496940"/>
              <a:gd name="connsiteX87" fmla="*/ 40027 w 4519987"/>
              <a:gd name="connsiteY87" fmla="*/ 2562225 h 4496940"/>
              <a:gd name="connsiteX88" fmla="*/ 30502 w 4519987"/>
              <a:gd name="connsiteY88" fmla="*/ 2514600 h 4496940"/>
              <a:gd name="connsiteX89" fmla="*/ 11452 w 4519987"/>
              <a:gd name="connsiteY89" fmla="*/ 2400300 h 4496940"/>
              <a:gd name="connsiteX90" fmla="*/ 20977 w 4519987"/>
              <a:gd name="connsiteY90" fmla="*/ 1905000 h 4496940"/>
              <a:gd name="connsiteX91" fmla="*/ 30502 w 4519987"/>
              <a:gd name="connsiteY91" fmla="*/ 1838325 h 4496940"/>
              <a:gd name="connsiteX92" fmla="*/ 49552 w 4519987"/>
              <a:gd name="connsiteY92" fmla="*/ 1781175 h 4496940"/>
              <a:gd name="connsiteX93" fmla="*/ 59077 w 4519987"/>
              <a:gd name="connsiteY93" fmla="*/ 1743075 h 4496940"/>
              <a:gd name="connsiteX94" fmla="*/ 78127 w 4519987"/>
              <a:gd name="connsiteY94" fmla="*/ 1685925 h 4496940"/>
              <a:gd name="connsiteX95" fmla="*/ 87652 w 4519987"/>
              <a:gd name="connsiteY95" fmla="*/ 1638300 h 4496940"/>
              <a:gd name="connsiteX96" fmla="*/ 106702 w 4519987"/>
              <a:gd name="connsiteY96" fmla="*/ 1590675 h 4496940"/>
              <a:gd name="connsiteX97" fmla="*/ 135277 w 4519987"/>
              <a:gd name="connsiteY97" fmla="*/ 1504950 h 4496940"/>
              <a:gd name="connsiteX98" fmla="*/ 154327 w 4519987"/>
              <a:gd name="connsiteY98" fmla="*/ 1419225 h 4496940"/>
              <a:gd name="connsiteX99" fmla="*/ 230527 w 4519987"/>
              <a:gd name="connsiteY99" fmla="*/ 1276350 h 4496940"/>
              <a:gd name="connsiteX100" fmla="*/ 240052 w 4519987"/>
              <a:gd name="connsiteY100" fmla="*/ 1247775 h 4496940"/>
              <a:gd name="connsiteX101" fmla="*/ 268627 w 4519987"/>
              <a:gd name="connsiteY101" fmla="*/ 1200150 h 4496940"/>
              <a:gd name="connsiteX102" fmla="*/ 287677 w 4519987"/>
              <a:gd name="connsiteY102" fmla="*/ 1152525 h 4496940"/>
              <a:gd name="connsiteX103" fmla="*/ 316252 w 4519987"/>
              <a:gd name="connsiteY103" fmla="*/ 1114425 h 4496940"/>
              <a:gd name="connsiteX104" fmla="*/ 363877 w 4519987"/>
              <a:gd name="connsiteY104" fmla="*/ 1038225 h 4496940"/>
              <a:gd name="connsiteX105" fmla="*/ 382927 w 4519987"/>
              <a:gd name="connsiteY105" fmla="*/ 1009650 h 4496940"/>
              <a:gd name="connsiteX106" fmla="*/ 440077 w 4519987"/>
              <a:gd name="connsiteY106" fmla="*/ 904875 h 4496940"/>
              <a:gd name="connsiteX107" fmla="*/ 478177 w 4519987"/>
              <a:gd name="connsiteY107" fmla="*/ 857250 h 4496940"/>
              <a:gd name="connsiteX108" fmla="*/ 497227 w 4519987"/>
              <a:gd name="connsiteY108" fmla="*/ 828675 h 4496940"/>
              <a:gd name="connsiteX109" fmla="*/ 535327 w 4519987"/>
              <a:gd name="connsiteY109" fmla="*/ 800100 h 4496940"/>
              <a:gd name="connsiteX110" fmla="*/ 602002 w 4519987"/>
              <a:gd name="connsiteY110" fmla="*/ 733425 h 4496940"/>
              <a:gd name="connsiteX111" fmla="*/ 668677 w 4519987"/>
              <a:gd name="connsiteY111" fmla="*/ 676275 h 4496940"/>
              <a:gd name="connsiteX112" fmla="*/ 697252 w 4519987"/>
              <a:gd name="connsiteY112" fmla="*/ 657225 h 4496940"/>
              <a:gd name="connsiteX113" fmla="*/ 840127 w 4519987"/>
              <a:gd name="connsiteY113" fmla="*/ 533400 h 4496940"/>
              <a:gd name="connsiteX114" fmla="*/ 887752 w 4519987"/>
              <a:gd name="connsiteY114" fmla="*/ 504825 h 4496940"/>
              <a:gd name="connsiteX115" fmla="*/ 1167152 w 4519987"/>
              <a:gd name="connsiteY115" fmla="*/ 311150 h 4496940"/>
              <a:gd name="connsiteX116" fmla="*/ 1268752 w 4519987"/>
              <a:gd name="connsiteY116" fmla="*/ 285750 h 4496940"/>
              <a:gd name="connsiteX117" fmla="*/ 1411627 w 4519987"/>
              <a:gd name="connsiteY117" fmla="*/ 190500 h 4496940"/>
              <a:gd name="connsiteX118" fmla="*/ 1449727 w 4519987"/>
              <a:gd name="connsiteY118" fmla="*/ 161925 h 4496940"/>
              <a:gd name="connsiteX119" fmla="*/ 1525927 w 4519987"/>
              <a:gd name="connsiteY119" fmla="*/ 152400 h 4496940"/>
              <a:gd name="connsiteX120" fmla="*/ 1583077 w 4519987"/>
              <a:gd name="connsiteY120" fmla="*/ 142875 h 4496940"/>
              <a:gd name="connsiteX121" fmla="*/ 1716427 w 4519987"/>
              <a:gd name="connsiteY121" fmla="*/ 123825 h 4496940"/>
              <a:gd name="connsiteX122" fmla="*/ 1811677 w 4519987"/>
              <a:gd name="connsiteY122" fmla="*/ 114300 h 4496940"/>
              <a:gd name="connsiteX123" fmla="*/ 1859302 w 4519987"/>
              <a:gd name="connsiteY123" fmla="*/ 104775 h 4496940"/>
              <a:gd name="connsiteX124" fmla="*/ 1916452 w 4519987"/>
              <a:gd name="connsiteY124" fmla="*/ 95250 h 4496940"/>
              <a:gd name="connsiteX125" fmla="*/ 2030752 w 4519987"/>
              <a:gd name="connsiteY125" fmla="*/ 66675 h 4496940"/>
              <a:gd name="connsiteX126" fmla="*/ 2097427 w 4519987"/>
              <a:gd name="connsiteY126" fmla="*/ 47625 h 4496940"/>
              <a:gd name="connsiteX127" fmla="*/ 2164102 w 4519987"/>
              <a:gd name="connsiteY127" fmla="*/ 38100 h 4496940"/>
              <a:gd name="connsiteX128" fmla="*/ 2392702 w 4519987"/>
              <a:gd name="connsiteY12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516652 w 4519987"/>
              <a:gd name="connsiteY39" fmla="*/ 4114800 h 4496940"/>
              <a:gd name="connsiteX40" fmla="*/ 3383302 w 4519987"/>
              <a:gd name="connsiteY40" fmla="*/ 4210050 h 4496940"/>
              <a:gd name="connsiteX41" fmla="*/ 3335677 w 4519987"/>
              <a:gd name="connsiteY41" fmla="*/ 4238625 h 4496940"/>
              <a:gd name="connsiteX42" fmla="*/ 3288052 w 4519987"/>
              <a:gd name="connsiteY42" fmla="*/ 4248150 h 4496940"/>
              <a:gd name="connsiteX43" fmla="*/ 3240427 w 4519987"/>
              <a:gd name="connsiteY43" fmla="*/ 4267200 h 4496940"/>
              <a:gd name="connsiteX44" fmla="*/ 3068977 w 4519987"/>
              <a:gd name="connsiteY44" fmla="*/ 4286250 h 4496940"/>
              <a:gd name="connsiteX45" fmla="*/ 2935627 w 4519987"/>
              <a:gd name="connsiteY45" fmla="*/ 4333875 h 4496940"/>
              <a:gd name="connsiteX46" fmla="*/ 2811802 w 4519987"/>
              <a:gd name="connsiteY46" fmla="*/ 4371975 h 4496940"/>
              <a:gd name="connsiteX47" fmla="*/ 2745127 w 4519987"/>
              <a:gd name="connsiteY47" fmla="*/ 4410075 h 4496940"/>
              <a:gd name="connsiteX48" fmla="*/ 2697502 w 4519987"/>
              <a:gd name="connsiteY48" fmla="*/ 4429125 h 4496940"/>
              <a:gd name="connsiteX49" fmla="*/ 2640352 w 4519987"/>
              <a:gd name="connsiteY49" fmla="*/ 4457700 h 4496940"/>
              <a:gd name="connsiteX50" fmla="*/ 2583202 w 4519987"/>
              <a:gd name="connsiteY50" fmla="*/ 4467225 h 4496940"/>
              <a:gd name="connsiteX51" fmla="*/ 2545102 w 4519987"/>
              <a:gd name="connsiteY51" fmla="*/ 4486275 h 4496940"/>
              <a:gd name="connsiteX52" fmla="*/ 2306977 w 4519987"/>
              <a:gd name="connsiteY52" fmla="*/ 4476750 h 4496940"/>
              <a:gd name="connsiteX53" fmla="*/ 2202202 w 4519987"/>
              <a:gd name="connsiteY53" fmla="*/ 4457700 h 4496940"/>
              <a:gd name="connsiteX54" fmla="*/ 2126002 w 4519987"/>
              <a:gd name="connsiteY54" fmla="*/ 4429125 h 4496940"/>
              <a:gd name="connsiteX55" fmla="*/ 1935502 w 4519987"/>
              <a:gd name="connsiteY55" fmla="*/ 4400550 h 4496940"/>
              <a:gd name="connsiteX56" fmla="*/ 1821202 w 4519987"/>
              <a:gd name="connsiteY56" fmla="*/ 4371975 h 4496940"/>
              <a:gd name="connsiteX57" fmla="*/ 1754527 w 4519987"/>
              <a:gd name="connsiteY57" fmla="*/ 4352925 h 4496940"/>
              <a:gd name="connsiteX58" fmla="*/ 1687852 w 4519987"/>
              <a:gd name="connsiteY58" fmla="*/ 4343400 h 4496940"/>
              <a:gd name="connsiteX59" fmla="*/ 1573552 w 4519987"/>
              <a:gd name="connsiteY59" fmla="*/ 4305300 h 4496940"/>
              <a:gd name="connsiteX60" fmla="*/ 1402102 w 4519987"/>
              <a:gd name="connsiteY60" fmla="*/ 4276725 h 4496940"/>
              <a:gd name="connsiteX61" fmla="*/ 1287802 w 4519987"/>
              <a:gd name="connsiteY61" fmla="*/ 4229100 h 4496940"/>
              <a:gd name="connsiteX62" fmla="*/ 1221127 w 4519987"/>
              <a:gd name="connsiteY62" fmla="*/ 4200525 h 4496940"/>
              <a:gd name="connsiteX63" fmla="*/ 1144927 w 4519987"/>
              <a:gd name="connsiteY63" fmla="*/ 4171950 h 4496940"/>
              <a:gd name="connsiteX64" fmla="*/ 1087777 w 4519987"/>
              <a:gd name="connsiteY64" fmla="*/ 4143375 h 4496940"/>
              <a:gd name="connsiteX65" fmla="*/ 1030627 w 4519987"/>
              <a:gd name="connsiteY65" fmla="*/ 4124325 h 4496940"/>
              <a:gd name="connsiteX66" fmla="*/ 925852 w 4519987"/>
              <a:gd name="connsiteY66" fmla="*/ 4067175 h 4496940"/>
              <a:gd name="connsiteX67" fmla="*/ 830602 w 4519987"/>
              <a:gd name="connsiteY67" fmla="*/ 3981450 h 4496940"/>
              <a:gd name="connsiteX68" fmla="*/ 763927 w 4519987"/>
              <a:gd name="connsiteY68" fmla="*/ 3914775 h 4496940"/>
              <a:gd name="connsiteX69" fmla="*/ 725827 w 4519987"/>
              <a:gd name="connsiteY69" fmla="*/ 3876675 h 4496940"/>
              <a:gd name="connsiteX70" fmla="*/ 697252 w 4519987"/>
              <a:gd name="connsiteY70" fmla="*/ 3838575 h 4496940"/>
              <a:gd name="connsiteX71" fmla="*/ 640102 w 4519987"/>
              <a:gd name="connsiteY71" fmla="*/ 3781425 h 4496940"/>
              <a:gd name="connsiteX72" fmla="*/ 611527 w 4519987"/>
              <a:gd name="connsiteY72" fmla="*/ 3733800 h 4496940"/>
              <a:gd name="connsiteX73" fmla="*/ 554377 w 4519987"/>
              <a:gd name="connsiteY73" fmla="*/ 3657600 h 4496940"/>
              <a:gd name="connsiteX74" fmla="*/ 525802 w 4519987"/>
              <a:gd name="connsiteY74" fmla="*/ 3609975 h 4496940"/>
              <a:gd name="connsiteX75" fmla="*/ 497227 w 4519987"/>
              <a:gd name="connsiteY75" fmla="*/ 3552825 h 4496940"/>
              <a:gd name="connsiteX76" fmla="*/ 440077 w 4519987"/>
              <a:gd name="connsiteY76" fmla="*/ 3495675 h 4496940"/>
              <a:gd name="connsiteX77" fmla="*/ 411502 w 4519987"/>
              <a:gd name="connsiteY77" fmla="*/ 3448050 h 4496940"/>
              <a:gd name="connsiteX78" fmla="*/ 278152 w 4519987"/>
              <a:gd name="connsiteY78" fmla="*/ 3257550 h 4496940"/>
              <a:gd name="connsiteX79" fmla="*/ 249577 w 4519987"/>
              <a:gd name="connsiteY79" fmla="*/ 3200400 h 4496940"/>
              <a:gd name="connsiteX80" fmla="*/ 240052 w 4519987"/>
              <a:gd name="connsiteY80" fmla="*/ 3162300 h 4496940"/>
              <a:gd name="connsiteX81" fmla="*/ 221002 w 4519987"/>
              <a:gd name="connsiteY81" fmla="*/ 3105150 h 4496940"/>
              <a:gd name="connsiteX82" fmla="*/ 173377 w 4519987"/>
              <a:gd name="connsiteY82" fmla="*/ 3019425 h 4496940"/>
              <a:gd name="connsiteX83" fmla="*/ 144802 w 4519987"/>
              <a:gd name="connsiteY83" fmla="*/ 2924175 h 4496940"/>
              <a:gd name="connsiteX84" fmla="*/ 68602 w 4519987"/>
              <a:gd name="connsiteY84" fmla="*/ 2724150 h 4496940"/>
              <a:gd name="connsiteX85" fmla="*/ 49552 w 4519987"/>
              <a:gd name="connsiteY85" fmla="*/ 2638425 h 4496940"/>
              <a:gd name="connsiteX86" fmla="*/ 40027 w 4519987"/>
              <a:gd name="connsiteY86" fmla="*/ 2562225 h 4496940"/>
              <a:gd name="connsiteX87" fmla="*/ 30502 w 4519987"/>
              <a:gd name="connsiteY87" fmla="*/ 2514600 h 4496940"/>
              <a:gd name="connsiteX88" fmla="*/ 11452 w 4519987"/>
              <a:gd name="connsiteY88" fmla="*/ 2400300 h 4496940"/>
              <a:gd name="connsiteX89" fmla="*/ 20977 w 4519987"/>
              <a:gd name="connsiteY89" fmla="*/ 1905000 h 4496940"/>
              <a:gd name="connsiteX90" fmla="*/ 30502 w 4519987"/>
              <a:gd name="connsiteY90" fmla="*/ 1838325 h 4496940"/>
              <a:gd name="connsiteX91" fmla="*/ 49552 w 4519987"/>
              <a:gd name="connsiteY91" fmla="*/ 1781175 h 4496940"/>
              <a:gd name="connsiteX92" fmla="*/ 59077 w 4519987"/>
              <a:gd name="connsiteY92" fmla="*/ 1743075 h 4496940"/>
              <a:gd name="connsiteX93" fmla="*/ 78127 w 4519987"/>
              <a:gd name="connsiteY93" fmla="*/ 1685925 h 4496940"/>
              <a:gd name="connsiteX94" fmla="*/ 87652 w 4519987"/>
              <a:gd name="connsiteY94" fmla="*/ 1638300 h 4496940"/>
              <a:gd name="connsiteX95" fmla="*/ 106702 w 4519987"/>
              <a:gd name="connsiteY95" fmla="*/ 1590675 h 4496940"/>
              <a:gd name="connsiteX96" fmla="*/ 135277 w 4519987"/>
              <a:gd name="connsiteY96" fmla="*/ 1504950 h 4496940"/>
              <a:gd name="connsiteX97" fmla="*/ 154327 w 4519987"/>
              <a:gd name="connsiteY97" fmla="*/ 1419225 h 4496940"/>
              <a:gd name="connsiteX98" fmla="*/ 230527 w 4519987"/>
              <a:gd name="connsiteY98" fmla="*/ 1276350 h 4496940"/>
              <a:gd name="connsiteX99" fmla="*/ 240052 w 4519987"/>
              <a:gd name="connsiteY99" fmla="*/ 1247775 h 4496940"/>
              <a:gd name="connsiteX100" fmla="*/ 268627 w 4519987"/>
              <a:gd name="connsiteY100" fmla="*/ 1200150 h 4496940"/>
              <a:gd name="connsiteX101" fmla="*/ 287677 w 4519987"/>
              <a:gd name="connsiteY101" fmla="*/ 1152525 h 4496940"/>
              <a:gd name="connsiteX102" fmla="*/ 316252 w 4519987"/>
              <a:gd name="connsiteY102" fmla="*/ 1114425 h 4496940"/>
              <a:gd name="connsiteX103" fmla="*/ 363877 w 4519987"/>
              <a:gd name="connsiteY103" fmla="*/ 1038225 h 4496940"/>
              <a:gd name="connsiteX104" fmla="*/ 382927 w 4519987"/>
              <a:gd name="connsiteY104" fmla="*/ 1009650 h 4496940"/>
              <a:gd name="connsiteX105" fmla="*/ 440077 w 4519987"/>
              <a:gd name="connsiteY105" fmla="*/ 904875 h 4496940"/>
              <a:gd name="connsiteX106" fmla="*/ 478177 w 4519987"/>
              <a:gd name="connsiteY106" fmla="*/ 857250 h 4496940"/>
              <a:gd name="connsiteX107" fmla="*/ 497227 w 4519987"/>
              <a:gd name="connsiteY107" fmla="*/ 828675 h 4496940"/>
              <a:gd name="connsiteX108" fmla="*/ 535327 w 4519987"/>
              <a:gd name="connsiteY108" fmla="*/ 800100 h 4496940"/>
              <a:gd name="connsiteX109" fmla="*/ 602002 w 4519987"/>
              <a:gd name="connsiteY109" fmla="*/ 733425 h 4496940"/>
              <a:gd name="connsiteX110" fmla="*/ 668677 w 4519987"/>
              <a:gd name="connsiteY110" fmla="*/ 676275 h 4496940"/>
              <a:gd name="connsiteX111" fmla="*/ 697252 w 4519987"/>
              <a:gd name="connsiteY111" fmla="*/ 657225 h 4496940"/>
              <a:gd name="connsiteX112" fmla="*/ 840127 w 4519987"/>
              <a:gd name="connsiteY112" fmla="*/ 533400 h 4496940"/>
              <a:gd name="connsiteX113" fmla="*/ 887752 w 4519987"/>
              <a:gd name="connsiteY113" fmla="*/ 504825 h 4496940"/>
              <a:gd name="connsiteX114" fmla="*/ 1167152 w 4519987"/>
              <a:gd name="connsiteY114" fmla="*/ 311150 h 4496940"/>
              <a:gd name="connsiteX115" fmla="*/ 1268752 w 4519987"/>
              <a:gd name="connsiteY115" fmla="*/ 285750 h 4496940"/>
              <a:gd name="connsiteX116" fmla="*/ 1411627 w 4519987"/>
              <a:gd name="connsiteY116" fmla="*/ 190500 h 4496940"/>
              <a:gd name="connsiteX117" fmla="*/ 1449727 w 4519987"/>
              <a:gd name="connsiteY117" fmla="*/ 161925 h 4496940"/>
              <a:gd name="connsiteX118" fmla="*/ 1525927 w 4519987"/>
              <a:gd name="connsiteY118" fmla="*/ 152400 h 4496940"/>
              <a:gd name="connsiteX119" fmla="*/ 1583077 w 4519987"/>
              <a:gd name="connsiteY119" fmla="*/ 142875 h 4496940"/>
              <a:gd name="connsiteX120" fmla="*/ 1716427 w 4519987"/>
              <a:gd name="connsiteY120" fmla="*/ 123825 h 4496940"/>
              <a:gd name="connsiteX121" fmla="*/ 1811677 w 4519987"/>
              <a:gd name="connsiteY121" fmla="*/ 114300 h 4496940"/>
              <a:gd name="connsiteX122" fmla="*/ 1859302 w 4519987"/>
              <a:gd name="connsiteY122" fmla="*/ 104775 h 4496940"/>
              <a:gd name="connsiteX123" fmla="*/ 1916452 w 4519987"/>
              <a:gd name="connsiteY123" fmla="*/ 95250 h 4496940"/>
              <a:gd name="connsiteX124" fmla="*/ 2030752 w 4519987"/>
              <a:gd name="connsiteY124" fmla="*/ 66675 h 4496940"/>
              <a:gd name="connsiteX125" fmla="*/ 2097427 w 4519987"/>
              <a:gd name="connsiteY125" fmla="*/ 47625 h 4496940"/>
              <a:gd name="connsiteX126" fmla="*/ 2164102 w 4519987"/>
              <a:gd name="connsiteY126" fmla="*/ 38100 h 4496940"/>
              <a:gd name="connsiteX127" fmla="*/ 2392702 w 4519987"/>
              <a:gd name="connsiteY12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383302 w 4519987"/>
              <a:gd name="connsiteY39" fmla="*/ 4210050 h 4496940"/>
              <a:gd name="connsiteX40" fmla="*/ 3335677 w 4519987"/>
              <a:gd name="connsiteY40" fmla="*/ 4238625 h 4496940"/>
              <a:gd name="connsiteX41" fmla="*/ 3288052 w 4519987"/>
              <a:gd name="connsiteY41" fmla="*/ 4248150 h 4496940"/>
              <a:gd name="connsiteX42" fmla="*/ 3240427 w 4519987"/>
              <a:gd name="connsiteY42" fmla="*/ 4267200 h 4496940"/>
              <a:gd name="connsiteX43" fmla="*/ 3068977 w 4519987"/>
              <a:gd name="connsiteY43" fmla="*/ 4286250 h 4496940"/>
              <a:gd name="connsiteX44" fmla="*/ 2935627 w 4519987"/>
              <a:gd name="connsiteY44" fmla="*/ 4333875 h 4496940"/>
              <a:gd name="connsiteX45" fmla="*/ 2811802 w 4519987"/>
              <a:gd name="connsiteY45" fmla="*/ 4371975 h 4496940"/>
              <a:gd name="connsiteX46" fmla="*/ 2745127 w 4519987"/>
              <a:gd name="connsiteY46" fmla="*/ 4410075 h 4496940"/>
              <a:gd name="connsiteX47" fmla="*/ 2697502 w 4519987"/>
              <a:gd name="connsiteY47" fmla="*/ 4429125 h 4496940"/>
              <a:gd name="connsiteX48" fmla="*/ 2640352 w 4519987"/>
              <a:gd name="connsiteY48" fmla="*/ 4457700 h 4496940"/>
              <a:gd name="connsiteX49" fmla="*/ 2583202 w 4519987"/>
              <a:gd name="connsiteY49" fmla="*/ 4467225 h 4496940"/>
              <a:gd name="connsiteX50" fmla="*/ 2545102 w 4519987"/>
              <a:gd name="connsiteY50" fmla="*/ 4486275 h 4496940"/>
              <a:gd name="connsiteX51" fmla="*/ 2306977 w 4519987"/>
              <a:gd name="connsiteY51" fmla="*/ 4476750 h 4496940"/>
              <a:gd name="connsiteX52" fmla="*/ 2202202 w 4519987"/>
              <a:gd name="connsiteY52" fmla="*/ 4457700 h 4496940"/>
              <a:gd name="connsiteX53" fmla="*/ 2126002 w 4519987"/>
              <a:gd name="connsiteY53" fmla="*/ 4429125 h 4496940"/>
              <a:gd name="connsiteX54" fmla="*/ 1935502 w 4519987"/>
              <a:gd name="connsiteY54" fmla="*/ 4400550 h 4496940"/>
              <a:gd name="connsiteX55" fmla="*/ 1821202 w 4519987"/>
              <a:gd name="connsiteY55" fmla="*/ 4371975 h 4496940"/>
              <a:gd name="connsiteX56" fmla="*/ 1754527 w 4519987"/>
              <a:gd name="connsiteY56" fmla="*/ 4352925 h 4496940"/>
              <a:gd name="connsiteX57" fmla="*/ 1687852 w 4519987"/>
              <a:gd name="connsiteY57" fmla="*/ 4343400 h 4496940"/>
              <a:gd name="connsiteX58" fmla="*/ 1573552 w 4519987"/>
              <a:gd name="connsiteY58" fmla="*/ 4305300 h 4496940"/>
              <a:gd name="connsiteX59" fmla="*/ 1402102 w 4519987"/>
              <a:gd name="connsiteY59" fmla="*/ 4276725 h 4496940"/>
              <a:gd name="connsiteX60" fmla="*/ 1287802 w 4519987"/>
              <a:gd name="connsiteY60" fmla="*/ 4229100 h 4496940"/>
              <a:gd name="connsiteX61" fmla="*/ 1221127 w 4519987"/>
              <a:gd name="connsiteY61" fmla="*/ 4200525 h 4496940"/>
              <a:gd name="connsiteX62" fmla="*/ 1144927 w 4519987"/>
              <a:gd name="connsiteY62" fmla="*/ 4171950 h 4496940"/>
              <a:gd name="connsiteX63" fmla="*/ 1087777 w 4519987"/>
              <a:gd name="connsiteY63" fmla="*/ 4143375 h 4496940"/>
              <a:gd name="connsiteX64" fmla="*/ 1030627 w 4519987"/>
              <a:gd name="connsiteY64" fmla="*/ 4124325 h 4496940"/>
              <a:gd name="connsiteX65" fmla="*/ 925852 w 4519987"/>
              <a:gd name="connsiteY65" fmla="*/ 4067175 h 4496940"/>
              <a:gd name="connsiteX66" fmla="*/ 830602 w 4519987"/>
              <a:gd name="connsiteY66" fmla="*/ 3981450 h 4496940"/>
              <a:gd name="connsiteX67" fmla="*/ 763927 w 4519987"/>
              <a:gd name="connsiteY67" fmla="*/ 3914775 h 4496940"/>
              <a:gd name="connsiteX68" fmla="*/ 725827 w 4519987"/>
              <a:gd name="connsiteY68" fmla="*/ 3876675 h 4496940"/>
              <a:gd name="connsiteX69" fmla="*/ 697252 w 4519987"/>
              <a:gd name="connsiteY69" fmla="*/ 3838575 h 4496940"/>
              <a:gd name="connsiteX70" fmla="*/ 640102 w 4519987"/>
              <a:gd name="connsiteY70" fmla="*/ 3781425 h 4496940"/>
              <a:gd name="connsiteX71" fmla="*/ 611527 w 4519987"/>
              <a:gd name="connsiteY71" fmla="*/ 3733800 h 4496940"/>
              <a:gd name="connsiteX72" fmla="*/ 554377 w 4519987"/>
              <a:gd name="connsiteY72" fmla="*/ 3657600 h 4496940"/>
              <a:gd name="connsiteX73" fmla="*/ 525802 w 4519987"/>
              <a:gd name="connsiteY73" fmla="*/ 3609975 h 4496940"/>
              <a:gd name="connsiteX74" fmla="*/ 497227 w 4519987"/>
              <a:gd name="connsiteY74" fmla="*/ 3552825 h 4496940"/>
              <a:gd name="connsiteX75" fmla="*/ 440077 w 4519987"/>
              <a:gd name="connsiteY75" fmla="*/ 3495675 h 4496940"/>
              <a:gd name="connsiteX76" fmla="*/ 411502 w 4519987"/>
              <a:gd name="connsiteY76" fmla="*/ 3448050 h 4496940"/>
              <a:gd name="connsiteX77" fmla="*/ 278152 w 4519987"/>
              <a:gd name="connsiteY77" fmla="*/ 3257550 h 4496940"/>
              <a:gd name="connsiteX78" fmla="*/ 249577 w 4519987"/>
              <a:gd name="connsiteY78" fmla="*/ 3200400 h 4496940"/>
              <a:gd name="connsiteX79" fmla="*/ 240052 w 4519987"/>
              <a:gd name="connsiteY79" fmla="*/ 3162300 h 4496940"/>
              <a:gd name="connsiteX80" fmla="*/ 221002 w 4519987"/>
              <a:gd name="connsiteY80" fmla="*/ 3105150 h 4496940"/>
              <a:gd name="connsiteX81" fmla="*/ 173377 w 4519987"/>
              <a:gd name="connsiteY81" fmla="*/ 3019425 h 4496940"/>
              <a:gd name="connsiteX82" fmla="*/ 144802 w 4519987"/>
              <a:gd name="connsiteY82" fmla="*/ 2924175 h 4496940"/>
              <a:gd name="connsiteX83" fmla="*/ 68602 w 4519987"/>
              <a:gd name="connsiteY83" fmla="*/ 2724150 h 4496940"/>
              <a:gd name="connsiteX84" fmla="*/ 49552 w 4519987"/>
              <a:gd name="connsiteY84" fmla="*/ 2638425 h 4496940"/>
              <a:gd name="connsiteX85" fmla="*/ 40027 w 4519987"/>
              <a:gd name="connsiteY85" fmla="*/ 2562225 h 4496940"/>
              <a:gd name="connsiteX86" fmla="*/ 30502 w 4519987"/>
              <a:gd name="connsiteY86" fmla="*/ 2514600 h 4496940"/>
              <a:gd name="connsiteX87" fmla="*/ 11452 w 4519987"/>
              <a:gd name="connsiteY87" fmla="*/ 2400300 h 4496940"/>
              <a:gd name="connsiteX88" fmla="*/ 20977 w 4519987"/>
              <a:gd name="connsiteY88" fmla="*/ 1905000 h 4496940"/>
              <a:gd name="connsiteX89" fmla="*/ 30502 w 4519987"/>
              <a:gd name="connsiteY89" fmla="*/ 1838325 h 4496940"/>
              <a:gd name="connsiteX90" fmla="*/ 49552 w 4519987"/>
              <a:gd name="connsiteY90" fmla="*/ 1781175 h 4496940"/>
              <a:gd name="connsiteX91" fmla="*/ 59077 w 4519987"/>
              <a:gd name="connsiteY91" fmla="*/ 1743075 h 4496940"/>
              <a:gd name="connsiteX92" fmla="*/ 78127 w 4519987"/>
              <a:gd name="connsiteY92" fmla="*/ 1685925 h 4496940"/>
              <a:gd name="connsiteX93" fmla="*/ 87652 w 4519987"/>
              <a:gd name="connsiteY93" fmla="*/ 1638300 h 4496940"/>
              <a:gd name="connsiteX94" fmla="*/ 106702 w 4519987"/>
              <a:gd name="connsiteY94" fmla="*/ 1590675 h 4496940"/>
              <a:gd name="connsiteX95" fmla="*/ 135277 w 4519987"/>
              <a:gd name="connsiteY95" fmla="*/ 1504950 h 4496940"/>
              <a:gd name="connsiteX96" fmla="*/ 154327 w 4519987"/>
              <a:gd name="connsiteY96" fmla="*/ 1419225 h 4496940"/>
              <a:gd name="connsiteX97" fmla="*/ 230527 w 4519987"/>
              <a:gd name="connsiteY97" fmla="*/ 1276350 h 4496940"/>
              <a:gd name="connsiteX98" fmla="*/ 240052 w 4519987"/>
              <a:gd name="connsiteY98" fmla="*/ 1247775 h 4496940"/>
              <a:gd name="connsiteX99" fmla="*/ 268627 w 4519987"/>
              <a:gd name="connsiteY99" fmla="*/ 1200150 h 4496940"/>
              <a:gd name="connsiteX100" fmla="*/ 287677 w 4519987"/>
              <a:gd name="connsiteY100" fmla="*/ 1152525 h 4496940"/>
              <a:gd name="connsiteX101" fmla="*/ 316252 w 4519987"/>
              <a:gd name="connsiteY101" fmla="*/ 1114425 h 4496940"/>
              <a:gd name="connsiteX102" fmla="*/ 363877 w 4519987"/>
              <a:gd name="connsiteY102" fmla="*/ 1038225 h 4496940"/>
              <a:gd name="connsiteX103" fmla="*/ 382927 w 4519987"/>
              <a:gd name="connsiteY103" fmla="*/ 1009650 h 4496940"/>
              <a:gd name="connsiteX104" fmla="*/ 440077 w 4519987"/>
              <a:gd name="connsiteY104" fmla="*/ 904875 h 4496940"/>
              <a:gd name="connsiteX105" fmla="*/ 478177 w 4519987"/>
              <a:gd name="connsiteY105" fmla="*/ 857250 h 4496940"/>
              <a:gd name="connsiteX106" fmla="*/ 497227 w 4519987"/>
              <a:gd name="connsiteY106" fmla="*/ 828675 h 4496940"/>
              <a:gd name="connsiteX107" fmla="*/ 535327 w 4519987"/>
              <a:gd name="connsiteY107" fmla="*/ 800100 h 4496940"/>
              <a:gd name="connsiteX108" fmla="*/ 602002 w 4519987"/>
              <a:gd name="connsiteY108" fmla="*/ 733425 h 4496940"/>
              <a:gd name="connsiteX109" fmla="*/ 668677 w 4519987"/>
              <a:gd name="connsiteY109" fmla="*/ 676275 h 4496940"/>
              <a:gd name="connsiteX110" fmla="*/ 697252 w 4519987"/>
              <a:gd name="connsiteY110" fmla="*/ 657225 h 4496940"/>
              <a:gd name="connsiteX111" fmla="*/ 840127 w 4519987"/>
              <a:gd name="connsiteY111" fmla="*/ 533400 h 4496940"/>
              <a:gd name="connsiteX112" fmla="*/ 887752 w 4519987"/>
              <a:gd name="connsiteY112" fmla="*/ 504825 h 4496940"/>
              <a:gd name="connsiteX113" fmla="*/ 1167152 w 4519987"/>
              <a:gd name="connsiteY113" fmla="*/ 311150 h 4496940"/>
              <a:gd name="connsiteX114" fmla="*/ 1268752 w 4519987"/>
              <a:gd name="connsiteY114" fmla="*/ 285750 h 4496940"/>
              <a:gd name="connsiteX115" fmla="*/ 1411627 w 4519987"/>
              <a:gd name="connsiteY115" fmla="*/ 190500 h 4496940"/>
              <a:gd name="connsiteX116" fmla="*/ 1449727 w 4519987"/>
              <a:gd name="connsiteY116" fmla="*/ 161925 h 4496940"/>
              <a:gd name="connsiteX117" fmla="*/ 1525927 w 4519987"/>
              <a:gd name="connsiteY117" fmla="*/ 152400 h 4496940"/>
              <a:gd name="connsiteX118" fmla="*/ 1583077 w 4519987"/>
              <a:gd name="connsiteY118" fmla="*/ 142875 h 4496940"/>
              <a:gd name="connsiteX119" fmla="*/ 1716427 w 4519987"/>
              <a:gd name="connsiteY119" fmla="*/ 123825 h 4496940"/>
              <a:gd name="connsiteX120" fmla="*/ 1811677 w 4519987"/>
              <a:gd name="connsiteY120" fmla="*/ 114300 h 4496940"/>
              <a:gd name="connsiteX121" fmla="*/ 1859302 w 4519987"/>
              <a:gd name="connsiteY121" fmla="*/ 104775 h 4496940"/>
              <a:gd name="connsiteX122" fmla="*/ 1916452 w 4519987"/>
              <a:gd name="connsiteY122" fmla="*/ 95250 h 4496940"/>
              <a:gd name="connsiteX123" fmla="*/ 2030752 w 4519987"/>
              <a:gd name="connsiteY123" fmla="*/ 66675 h 4496940"/>
              <a:gd name="connsiteX124" fmla="*/ 2097427 w 4519987"/>
              <a:gd name="connsiteY124" fmla="*/ 47625 h 4496940"/>
              <a:gd name="connsiteX125" fmla="*/ 2164102 w 4519987"/>
              <a:gd name="connsiteY125" fmla="*/ 38100 h 4496940"/>
              <a:gd name="connsiteX126" fmla="*/ 2392702 w 4519987"/>
              <a:gd name="connsiteY12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554752 w 4519987"/>
              <a:gd name="connsiteY37" fmla="*/ 4095750 h 4496940"/>
              <a:gd name="connsiteX38" fmla="*/ 3383302 w 4519987"/>
              <a:gd name="connsiteY38" fmla="*/ 4210050 h 4496940"/>
              <a:gd name="connsiteX39" fmla="*/ 3335677 w 4519987"/>
              <a:gd name="connsiteY39" fmla="*/ 4238625 h 4496940"/>
              <a:gd name="connsiteX40" fmla="*/ 3288052 w 4519987"/>
              <a:gd name="connsiteY40" fmla="*/ 4248150 h 4496940"/>
              <a:gd name="connsiteX41" fmla="*/ 3240427 w 4519987"/>
              <a:gd name="connsiteY41" fmla="*/ 4267200 h 4496940"/>
              <a:gd name="connsiteX42" fmla="*/ 3068977 w 4519987"/>
              <a:gd name="connsiteY42" fmla="*/ 4286250 h 4496940"/>
              <a:gd name="connsiteX43" fmla="*/ 2935627 w 4519987"/>
              <a:gd name="connsiteY43" fmla="*/ 4333875 h 4496940"/>
              <a:gd name="connsiteX44" fmla="*/ 2811802 w 4519987"/>
              <a:gd name="connsiteY44" fmla="*/ 4371975 h 4496940"/>
              <a:gd name="connsiteX45" fmla="*/ 2745127 w 4519987"/>
              <a:gd name="connsiteY45" fmla="*/ 4410075 h 4496940"/>
              <a:gd name="connsiteX46" fmla="*/ 2697502 w 4519987"/>
              <a:gd name="connsiteY46" fmla="*/ 4429125 h 4496940"/>
              <a:gd name="connsiteX47" fmla="*/ 2640352 w 4519987"/>
              <a:gd name="connsiteY47" fmla="*/ 4457700 h 4496940"/>
              <a:gd name="connsiteX48" fmla="*/ 2583202 w 4519987"/>
              <a:gd name="connsiteY48" fmla="*/ 4467225 h 4496940"/>
              <a:gd name="connsiteX49" fmla="*/ 2545102 w 4519987"/>
              <a:gd name="connsiteY49" fmla="*/ 4486275 h 4496940"/>
              <a:gd name="connsiteX50" fmla="*/ 2306977 w 4519987"/>
              <a:gd name="connsiteY50" fmla="*/ 4476750 h 4496940"/>
              <a:gd name="connsiteX51" fmla="*/ 2202202 w 4519987"/>
              <a:gd name="connsiteY51" fmla="*/ 4457700 h 4496940"/>
              <a:gd name="connsiteX52" fmla="*/ 2126002 w 4519987"/>
              <a:gd name="connsiteY52" fmla="*/ 4429125 h 4496940"/>
              <a:gd name="connsiteX53" fmla="*/ 1935502 w 4519987"/>
              <a:gd name="connsiteY53" fmla="*/ 4400550 h 4496940"/>
              <a:gd name="connsiteX54" fmla="*/ 1821202 w 4519987"/>
              <a:gd name="connsiteY54" fmla="*/ 4371975 h 4496940"/>
              <a:gd name="connsiteX55" fmla="*/ 1754527 w 4519987"/>
              <a:gd name="connsiteY55" fmla="*/ 4352925 h 4496940"/>
              <a:gd name="connsiteX56" fmla="*/ 1687852 w 4519987"/>
              <a:gd name="connsiteY56" fmla="*/ 4343400 h 4496940"/>
              <a:gd name="connsiteX57" fmla="*/ 1573552 w 4519987"/>
              <a:gd name="connsiteY57" fmla="*/ 4305300 h 4496940"/>
              <a:gd name="connsiteX58" fmla="*/ 1402102 w 4519987"/>
              <a:gd name="connsiteY58" fmla="*/ 4276725 h 4496940"/>
              <a:gd name="connsiteX59" fmla="*/ 1287802 w 4519987"/>
              <a:gd name="connsiteY59" fmla="*/ 4229100 h 4496940"/>
              <a:gd name="connsiteX60" fmla="*/ 1221127 w 4519987"/>
              <a:gd name="connsiteY60" fmla="*/ 4200525 h 4496940"/>
              <a:gd name="connsiteX61" fmla="*/ 1144927 w 4519987"/>
              <a:gd name="connsiteY61" fmla="*/ 4171950 h 4496940"/>
              <a:gd name="connsiteX62" fmla="*/ 1087777 w 4519987"/>
              <a:gd name="connsiteY62" fmla="*/ 4143375 h 4496940"/>
              <a:gd name="connsiteX63" fmla="*/ 1030627 w 4519987"/>
              <a:gd name="connsiteY63" fmla="*/ 4124325 h 4496940"/>
              <a:gd name="connsiteX64" fmla="*/ 925852 w 4519987"/>
              <a:gd name="connsiteY64" fmla="*/ 4067175 h 4496940"/>
              <a:gd name="connsiteX65" fmla="*/ 830602 w 4519987"/>
              <a:gd name="connsiteY65" fmla="*/ 3981450 h 4496940"/>
              <a:gd name="connsiteX66" fmla="*/ 763927 w 4519987"/>
              <a:gd name="connsiteY66" fmla="*/ 3914775 h 4496940"/>
              <a:gd name="connsiteX67" fmla="*/ 725827 w 4519987"/>
              <a:gd name="connsiteY67" fmla="*/ 3876675 h 4496940"/>
              <a:gd name="connsiteX68" fmla="*/ 697252 w 4519987"/>
              <a:gd name="connsiteY68" fmla="*/ 3838575 h 4496940"/>
              <a:gd name="connsiteX69" fmla="*/ 640102 w 4519987"/>
              <a:gd name="connsiteY69" fmla="*/ 3781425 h 4496940"/>
              <a:gd name="connsiteX70" fmla="*/ 611527 w 4519987"/>
              <a:gd name="connsiteY70" fmla="*/ 3733800 h 4496940"/>
              <a:gd name="connsiteX71" fmla="*/ 554377 w 4519987"/>
              <a:gd name="connsiteY71" fmla="*/ 3657600 h 4496940"/>
              <a:gd name="connsiteX72" fmla="*/ 525802 w 4519987"/>
              <a:gd name="connsiteY72" fmla="*/ 3609975 h 4496940"/>
              <a:gd name="connsiteX73" fmla="*/ 497227 w 4519987"/>
              <a:gd name="connsiteY73" fmla="*/ 3552825 h 4496940"/>
              <a:gd name="connsiteX74" fmla="*/ 440077 w 4519987"/>
              <a:gd name="connsiteY74" fmla="*/ 3495675 h 4496940"/>
              <a:gd name="connsiteX75" fmla="*/ 411502 w 4519987"/>
              <a:gd name="connsiteY75" fmla="*/ 3448050 h 4496940"/>
              <a:gd name="connsiteX76" fmla="*/ 278152 w 4519987"/>
              <a:gd name="connsiteY76" fmla="*/ 3257550 h 4496940"/>
              <a:gd name="connsiteX77" fmla="*/ 249577 w 4519987"/>
              <a:gd name="connsiteY77" fmla="*/ 3200400 h 4496940"/>
              <a:gd name="connsiteX78" fmla="*/ 240052 w 4519987"/>
              <a:gd name="connsiteY78" fmla="*/ 3162300 h 4496940"/>
              <a:gd name="connsiteX79" fmla="*/ 221002 w 4519987"/>
              <a:gd name="connsiteY79" fmla="*/ 3105150 h 4496940"/>
              <a:gd name="connsiteX80" fmla="*/ 173377 w 4519987"/>
              <a:gd name="connsiteY80" fmla="*/ 3019425 h 4496940"/>
              <a:gd name="connsiteX81" fmla="*/ 144802 w 4519987"/>
              <a:gd name="connsiteY81" fmla="*/ 2924175 h 4496940"/>
              <a:gd name="connsiteX82" fmla="*/ 68602 w 4519987"/>
              <a:gd name="connsiteY82" fmla="*/ 2724150 h 4496940"/>
              <a:gd name="connsiteX83" fmla="*/ 49552 w 4519987"/>
              <a:gd name="connsiteY83" fmla="*/ 2638425 h 4496940"/>
              <a:gd name="connsiteX84" fmla="*/ 40027 w 4519987"/>
              <a:gd name="connsiteY84" fmla="*/ 2562225 h 4496940"/>
              <a:gd name="connsiteX85" fmla="*/ 30502 w 4519987"/>
              <a:gd name="connsiteY85" fmla="*/ 2514600 h 4496940"/>
              <a:gd name="connsiteX86" fmla="*/ 11452 w 4519987"/>
              <a:gd name="connsiteY86" fmla="*/ 2400300 h 4496940"/>
              <a:gd name="connsiteX87" fmla="*/ 20977 w 4519987"/>
              <a:gd name="connsiteY87" fmla="*/ 1905000 h 4496940"/>
              <a:gd name="connsiteX88" fmla="*/ 30502 w 4519987"/>
              <a:gd name="connsiteY88" fmla="*/ 1838325 h 4496940"/>
              <a:gd name="connsiteX89" fmla="*/ 49552 w 4519987"/>
              <a:gd name="connsiteY89" fmla="*/ 1781175 h 4496940"/>
              <a:gd name="connsiteX90" fmla="*/ 59077 w 4519987"/>
              <a:gd name="connsiteY90" fmla="*/ 1743075 h 4496940"/>
              <a:gd name="connsiteX91" fmla="*/ 78127 w 4519987"/>
              <a:gd name="connsiteY91" fmla="*/ 1685925 h 4496940"/>
              <a:gd name="connsiteX92" fmla="*/ 87652 w 4519987"/>
              <a:gd name="connsiteY92" fmla="*/ 1638300 h 4496940"/>
              <a:gd name="connsiteX93" fmla="*/ 106702 w 4519987"/>
              <a:gd name="connsiteY93" fmla="*/ 1590675 h 4496940"/>
              <a:gd name="connsiteX94" fmla="*/ 135277 w 4519987"/>
              <a:gd name="connsiteY94" fmla="*/ 1504950 h 4496940"/>
              <a:gd name="connsiteX95" fmla="*/ 154327 w 4519987"/>
              <a:gd name="connsiteY95" fmla="*/ 1419225 h 4496940"/>
              <a:gd name="connsiteX96" fmla="*/ 230527 w 4519987"/>
              <a:gd name="connsiteY96" fmla="*/ 1276350 h 4496940"/>
              <a:gd name="connsiteX97" fmla="*/ 240052 w 4519987"/>
              <a:gd name="connsiteY97" fmla="*/ 1247775 h 4496940"/>
              <a:gd name="connsiteX98" fmla="*/ 268627 w 4519987"/>
              <a:gd name="connsiteY98" fmla="*/ 1200150 h 4496940"/>
              <a:gd name="connsiteX99" fmla="*/ 287677 w 4519987"/>
              <a:gd name="connsiteY99" fmla="*/ 1152525 h 4496940"/>
              <a:gd name="connsiteX100" fmla="*/ 316252 w 4519987"/>
              <a:gd name="connsiteY100" fmla="*/ 1114425 h 4496940"/>
              <a:gd name="connsiteX101" fmla="*/ 363877 w 4519987"/>
              <a:gd name="connsiteY101" fmla="*/ 1038225 h 4496940"/>
              <a:gd name="connsiteX102" fmla="*/ 382927 w 4519987"/>
              <a:gd name="connsiteY102" fmla="*/ 1009650 h 4496940"/>
              <a:gd name="connsiteX103" fmla="*/ 440077 w 4519987"/>
              <a:gd name="connsiteY103" fmla="*/ 904875 h 4496940"/>
              <a:gd name="connsiteX104" fmla="*/ 478177 w 4519987"/>
              <a:gd name="connsiteY104" fmla="*/ 857250 h 4496940"/>
              <a:gd name="connsiteX105" fmla="*/ 497227 w 4519987"/>
              <a:gd name="connsiteY105" fmla="*/ 828675 h 4496940"/>
              <a:gd name="connsiteX106" fmla="*/ 535327 w 4519987"/>
              <a:gd name="connsiteY106" fmla="*/ 800100 h 4496940"/>
              <a:gd name="connsiteX107" fmla="*/ 602002 w 4519987"/>
              <a:gd name="connsiteY107" fmla="*/ 733425 h 4496940"/>
              <a:gd name="connsiteX108" fmla="*/ 668677 w 4519987"/>
              <a:gd name="connsiteY108" fmla="*/ 676275 h 4496940"/>
              <a:gd name="connsiteX109" fmla="*/ 697252 w 4519987"/>
              <a:gd name="connsiteY109" fmla="*/ 657225 h 4496940"/>
              <a:gd name="connsiteX110" fmla="*/ 840127 w 4519987"/>
              <a:gd name="connsiteY110" fmla="*/ 533400 h 4496940"/>
              <a:gd name="connsiteX111" fmla="*/ 887752 w 4519987"/>
              <a:gd name="connsiteY111" fmla="*/ 504825 h 4496940"/>
              <a:gd name="connsiteX112" fmla="*/ 1167152 w 4519987"/>
              <a:gd name="connsiteY112" fmla="*/ 311150 h 4496940"/>
              <a:gd name="connsiteX113" fmla="*/ 1268752 w 4519987"/>
              <a:gd name="connsiteY113" fmla="*/ 285750 h 4496940"/>
              <a:gd name="connsiteX114" fmla="*/ 1411627 w 4519987"/>
              <a:gd name="connsiteY114" fmla="*/ 190500 h 4496940"/>
              <a:gd name="connsiteX115" fmla="*/ 1449727 w 4519987"/>
              <a:gd name="connsiteY115" fmla="*/ 161925 h 4496940"/>
              <a:gd name="connsiteX116" fmla="*/ 1525927 w 4519987"/>
              <a:gd name="connsiteY116" fmla="*/ 152400 h 4496940"/>
              <a:gd name="connsiteX117" fmla="*/ 1583077 w 4519987"/>
              <a:gd name="connsiteY117" fmla="*/ 142875 h 4496940"/>
              <a:gd name="connsiteX118" fmla="*/ 1716427 w 4519987"/>
              <a:gd name="connsiteY118" fmla="*/ 123825 h 4496940"/>
              <a:gd name="connsiteX119" fmla="*/ 1811677 w 4519987"/>
              <a:gd name="connsiteY119" fmla="*/ 114300 h 4496940"/>
              <a:gd name="connsiteX120" fmla="*/ 1859302 w 4519987"/>
              <a:gd name="connsiteY120" fmla="*/ 104775 h 4496940"/>
              <a:gd name="connsiteX121" fmla="*/ 1916452 w 4519987"/>
              <a:gd name="connsiteY121" fmla="*/ 95250 h 4496940"/>
              <a:gd name="connsiteX122" fmla="*/ 2030752 w 4519987"/>
              <a:gd name="connsiteY122" fmla="*/ 66675 h 4496940"/>
              <a:gd name="connsiteX123" fmla="*/ 2097427 w 4519987"/>
              <a:gd name="connsiteY123" fmla="*/ 47625 h 4496940"/>
              <a:gd name="connsiteX124" fmla="*/ 2164102 w 4519987"/>
              <a:gd name="connsiteY124" fmla="*/ 38100 h 4496940"/>
              <a:gd name="connsiteX125" fmla="*/ 2392702 w 4519987"/>
              <a:gd name="connsiteY12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54752 w 4519987"/>
              <a:gd name="connsiteY36" fmla="*/ 4095750 h 4496940"/>
              <a:gd name="connsiteX37" fmla="*/ 3383302 w 4519987"/>
              <a:gd name="connsiteY37" fmla="*/ 4210050 h 4496940"/>
              <a:gd name="connsiteX38" fmla="*/ 3335677 w 4519987"/>
              <a:gd name="connsiteY38" fmla="*/ 4238625 h 4496940"/>
              <a:gd name="connsiteX39" fmla="*/ 3288052 w 4519987"/>
              <a:gd name="connsiteY39" fmla="*/ 4248150 h 4496940"/>
              <a:gd name="connsiteX40" fmla="*/ 3240427 w 4519987"/>
              <a:gd name="connsiteY40" fmla="*/ 4267200 h 4496940"/>
              <a:gd name="connsiteX41" fmla="*/ 3068977 w 4519987"/>
              <a:gd name="connsiteY41" fmla="*/ 4286250 h 4496940"/>
              <a:gd name="connsiteX42" fmla="*/ 2935627 w 4519987"/>
              <a:gd name="connsiteY42" fmla="*/ 4333875 h 4496940"/>
              <a:gd name="connsiteX43" fmla="*/ 2811802 w 4519987"/>
              <a:gd name="connsiteY43" fmla="*/ 4371975 h 4496940"/>
              <a:gd name="connsiteX44" fmla="*/ 2745127 w 4519987"/>
              <a:gd name="connsiteY44" fmla="*/ 4410075 h 4496940"/>
              <a:gd name="connsiteX45" fmla="*/ 2697502 w 4519987"/>
              <a:gd name="connsiteY45" fmla="*/ 4429125 h 4496940"/>
              <a:gd name="connsiteX46" fmla="*/ 2640352 w 4519987"/>
              <a:gd name="connsiteY46" fmla="*/ 4457700 h 4496940"/>
              <a:gd name="connsiteX47" fmla="*/ 2583202 w 4519987"/>
              <a:gd name="connsiteY47" fmla="*/ 4467225 h 4496940"/>
              <a:gd name="connsiteX48" fmla="*/ 2545102 w 4519987"/>
              <a:gd name="connsiteY48" fmla="*/ 4486275 h 4496940"/>
              <a:gd name="connsiteX49" fmla="*/ 2306977 w 4519987"/>
              <a:gd name="connsiteY49" fmla="*/ 4476750 h 4496940"/>
              <a:gd name="connsiteX50" fmla="*/ 2202202 w 4519987"/>
              <a:gd name="connsiteY50" fmla="*/ 4457700 h 4496940"/>
              <a:gd name="connsiteX51" fmla="*/ 2126002 w 4519987"/>
              <a:gd name="connsiteY51" fmla="*/ 4429125 h 4496940"/>
              <a:gd name="connsiteX52" fmla="*/ 1935502 w 4519987"/>
              <a:gd name="connsiteY52" fmla="*/ 4400550 h 4496940"/>
              <a:gd name="connsiteX53" fmla="*/ 1821202 w 4519987"/>
              <a:gd name="connsiteY53" fmla="*/ 4371975 h 4496940"/>
              <a:gd name="connsiteX54" fmla="*/ 1754527 w 4519987"/>
              <a:gd name="connsiteY54" fmla="*/ 4352925 h 4496940"/>
              <a:gd name="connsiteX55" fmla="*/ 1687852 w 4519987"/>
              <a:gd name="connsiteY55" fmla="*/ 4343400 h 4496940"/>
              <a:gd name="connsiteX56" fmla="*/ 1573552 w 4519987"/>
              <a:gd name="connsiteY56" fmla="*/ 4305300 h 4496940"/>
              <a:gd name="connsiteX57" fmla="*/ 1402102 w 4519987"/>
              <a:gd name="connsiteY57" fmla="*/ 4276725 h 4496940"/>
              <a:gd name="connsiteX58" fmla="*/ 1287802 w 4519987"/>
              <a:gd name="connsiteY58" fmla="*/ 4229100 h 4496940"/>
              <a:gd name="connsiteX59" fmla="*/ 1221127 w 4519987"/>
              <a:gd name="connsiteY59" fmla="*/ 4200525 h 4496940"/>
              <a:gd name="connsiteX60" fmla="*/ 1144927 w 4519987"/>
              <a:gd name="connsiteY60" fmla="*/ 4171950 h 4496940"/>
              <a:gd name="connsiteX61" fmla="*/ 1087777 w 4519987"/>
              <a:gd name="connsiteY61" fmla="*/ 4143375 h 4496940"/>
              <a:gd name="connsiteX62" fmla="*/ 1030627 w 4519987"/>
              <a:gd name="connsiteY62" fmla="*/ 4124325 h 4496940"/>
              <a:gd name="connsiteX63" fmla="*/ 925852 w 4519987"/>
              <a:gd name="connsiteY63" fmla="*/ 4067175 h 4496940"/>
              <a:gd name="connsiteX64" fmla="*/ 830602 w 4519987"/>
              <a:gd name="connsiteY64" fmla="*/ 3981450 h 4496940"/>
              <a:gd name="connsiteX65" fmla="*/ 763927 w 4519987"/>
              <a:gd name="connsiteY65" fmla="*/ 3914775 h 4496940"/>
              <a:gd name="connsiteX66" fmla="*/ 725827 w 4519987"/>
              <a:gd name="connsiteY66" fmla="*/ 3876675 h 4496940"/>
              <a:gd name="connsiteX67" fmla="*/ 697252 w 4519987"/>
              <a:gd name="connsiteY67" fmla="*/ 3838575 h 4496940"/>
              <a:gd name="connsiteX68" fmla="*/ 640102 w 4519987"/>
              <a:gd name="connsiteY68" fmla="*/ 3781425 h 4496940"/>
              <a:gd name="connsiteX69" fmla="*/ 611527 w 4519987"/>
              <a:gd name="connsiteY69" fmla="*/ 3733800 h 4496940"/>
              <a:gd name="connsiteX70" fmla="*/ 554377 w 4519987"/>
              <a:gd name="connsiteY70" fmla="*/ 3657600 h 4496940"/>
              <a:gd name="connsiteX71" fmla="*/ 525802 w 4519987"/>
              <a:gd name="connsiteY71" fmla="*/ 3609975 h 4496940"/>
              <a:gd name="connsiteX72" fmla="*/ 497227 w 4519987"/>
              <a:gd name="connsiteY72" fmla="*/ 3552825 h 4496940"/>
              <a:gd name="connsiteX73" fmla="*/ 440077 w 4519987"/>
              <a:gd name="connsiteY73" fmla="*/ 3495675 h 4496940"/>
              <a:gd name="connsiteX74" fmla="*/ 411502 w 4519987"/>
              <a:gd name="connsiteY74" fmla="*/ 3448050 h 4496940"/>
              <a:gd name="connsiteX75" fmla="*/ 278152 w 4519987"/>
              <a:gd name="connsiteY75" fmla="*/ 3257550 h 4496940"/>
              <a:gd name="connsiteX76" fmla="*/ 249577 w 4519987"/>
              <a:gd name="connsiteY76" fmla="*/ 3200400 h 4496940"/>
              <a:gd name="connsiteX77" fmla="*/ 240052 w 4519987"/>
              <a:gd name="connsiteY77" fmla="*/ 3162300 h 4496940"/>
              <a:gd name="connsiteX78" fmla="*/ 221002 w 4519987"/>
              <a:gd name="connsiteY78" fmla="*/ 3105150 h 4496940"/>
              <a:gd name="connsiteX79" fmla="*/ 173377 w 4519987"/>
              <a:gd name="connsiteY79" fmla="*/ 3019425 h 4496940"/>
              <a:gd name="connsiteX80" fmla="*/ 144802 w 4519987"/>
              <a:gd name="connsiteY80" fmla="*/ 2924175 h 4496940"/>
              <a:gd name="connsiteX81" fmla="*/ 68602 w 4519987"/>
              <a:gd name="connsiteY81" fmla="*/ 2724150 h 4496940"/>
              <a:gd name="connsiteX82" fmla="*/ 49552 w 4519987"/>
              <a:gd name="connsiteY82" fmla="*/ 2638425 h 4496940"/>
              <a:gd name="connsiteX83" fmla="*/ 40027 w 4519987"/>
              <a:gd name="connsiteY83" fmla="*/ 2562225 h 4496940"/>
              <a:gd name="connsiteX84" fmla="*/ 30502 w 4519987"/>
              <a:gd name="connsiteY84" fmla="*/ 2514600 h 4496940"/>
              <a:gd name="connsiteX85" fmla="*/ 11452 w 4519987"/>
              <a:gd name="connsiteY85" fmla="*/ 2400300 h 4496940"/>
              <a:gd name="connsiteX86" fmla="*/ 20977 w 4519987"/>
              <a:gd name="connsiteY86" fmla="*/ 1905000 h 4496940"/>
              <a:gd name="connsiteX87" fmla="*/ 30502 w 4519987"/>
              <a:gd name="connsiteY87" fmla="*/ 1838325 h 4496940"/>
              <a:gd name="connsiteX88" fmla="*/ 49552 w 4519987"/>
              <a:gd name="connsiteY88" fmla="*/ 1781175 h 4496940"/>
              <a:gd name="connsiteX89" fmla="*/ 59077 w 4519987"/>
              <a:gd name="connsiteY89" fmla="*/ 1743075 h 4496940"/>
              <a:gd name="connsiteX90" fmla="*/ 78127 w 4519987"/>
              <a:gd name="connsiteY90" fmla="*/ 1685925 h 4496940"/>
              <a:gd name="connsiteX91" fmla="*/ 87652 w 4519987"/>
              <a:gd name="connsiteY91" fmla="*/ 1638300 h 4496940"/>
              <a:gd name="connsiteX92" fmla="*/ 106702 w 4519987"/>
              <a:gd name="connsiteY92" fmla="*/ 1590675 h 4496940"/>
              <a:gd name="connsiteX93" fmla="*/ 135277 w 4519987"/>
              <a:gd name="connsiteY93" fmla="*/ 1504950 h 4496940"/>
              <a:gd name="connsiteX94" fmla="*/ 154327 w 4519987"/>
              <a:gd name="connsiteY94" fmla="*/ 1419225 h 4496940"/>
              <a:gd name="connsiteX95" fmla="*/ 230527 w 4519987"/>
              <a:gd name="connsiteY95" fmla="*/ 1276350 h 4496940"/>
              <a:gd name="connsiteX96" fmla="*/ 240052 w 4519987"/>
              <a:gd name="connsiteY96" fmla="*/ 1247775 h 4496940"/>
              <a:gd name="connsiteX97" fmla="*/ 268627 w 4519987"/>
              <a:gd name="connsiteY97" fmla="*/ 1200150 h 4496940"/>
              <a:gd name="connsiteX98" fmla="*/ 287677 w 4519987"/>
              <a:gd name="connsiteY98" fmla="*/ 1152525 h 4496940"/>
              <a:gd name="connsiteX99" fmla="*/ 316252 w 4519987"/>
              <a:gd name="connsiteY99" fmla="*/ 1114425 h 4496940"/>
              <a:gd name="connsiteX100" fmla="*/ 363877 w 4519987"/>
              <a:gd name="connsiteY100" fmla="*/ 1038225 h 4496940"/>
              <a:gd name="connsiteX101" fmla="*/ 382927 w 4519987"/>
              <a:gd name="connsiteY101" fmla="*/ 1009650 h 4496940"/>
              <a:gd name="connsiteX102" fmla="*/ 440077 w 4519987"/>
              <a:gd name="connsiteY102" fmla="*/ 904875 h 4496940"/>
              <a:gd name="connsiteX103" fmla="*/ 478177 w 4519987"/>
              <a:gd name="connsiteY103" fmla="*/ 857250 h 4496940"/>
              <a:gd name="connsiteX104" fmla="*/ 497227 w 4519987"/>
              <a:gd name="connsiteY104" fmla="*/ 828675 h 4496940"/>
              <a:gd name="connsiteX105" fmla="*/ 535327 w 4519987"/>
              <a:gd name="connsiteY105" fmla="*/ 800100 h 4496940"/>
              <a:gd name="connsiteX106" fmla="*/ 602002 w 4519987"/>
              <a:gd name="connsiteY106" fmla="*/ 733425 h 4496940"/>
              <a:gd name="connsiteX107" fmla="*/ 668677 w 4519987"/>
              <a:gd name="connsiteY107" fmla="*/ 676275 h 4496940"/>
              <a:gd name="connsiteX108" fmla="*/ 697252 w 4519987"/>
              <a:gd name="connsiteY108" fmla="*/ 657225 h 4496940"/>
              <a:gd name="connsiteX109" fmla="*/ 840127 w 4519987"/>
              <a:gd name="connsiteY109" fmla="*/ 533400 h 4496940"/>
              <a:gd name="connsiteX110" fmla="*/ 887752 w 4519987"/>
              <a:gd name="connsiteY110" fmla="*/ 504825 h 4496940"/>
              <a:gd name="connsiteX111" fmla="*/ 1167152 w 4519987"/>
              <a:gd name="connsiteY111" fmla="*/ 311150 h 4496940"/>
              <a:gd name="connsiteX112" fmla="*/ 1268752 w 4519987"/>
              <a:gd name="connsiteY112" fmla="*/ 285750 h 4496940"/>
              <a:gd name="connsiteX113" fmla="*/ 1411627 w 4519987"/>
              <a:gd name="connsiteY113" fmla="*/ 190500 h 4496940"/>
              <a:gd name="connsiteX114" fmla="*/ 1449727 w 4519987"/>
              <a:gd name="connsiteY114" fmla="*/ 161925 h 4496940"/>
              <a:gd name="connsiteX115" fmla="*/ 1525927 w 4519987"/>
              <a:gd name="connsiteY115" fmla="*/ 152400 h 4496940"/>
              <a:gd name="connsiteX116" fmla="*/ 1583077 w 4519987"/>
              <a:gd name="connsiteY116" fmla="*/ 142875 h 4496940"/>
              <a:gd name="connsiteX117" fmla="*/ 1716427 w 4519987"/>
              <a:gd name="connsiteY117" fmla="*/ 123825 h 4496940"/>
              <a:gd name="connsiteX118" fmla="*/ 1811677 w 4519987"/>
              <a:gd name="connsiteY118" fmla="*/ 114300 h 4496940"/>
              <a:gd name="connsiteX119" fmla="*/ 1859302 w 4519987"/>
              <a:gd name="connsiteY119" fmla="*/ 104775 h 4496940"/>
              <a:gd name="connsiteX120" fmla="*/ 1916452 w 4519987"/>
              <a:gd name="connsiteY120" fmla="*/ 95250 h 4496940"/>
              <a:gd name="connsiteX121" fmla="*/ 2030752 w 4519987"/>
              <a:gd name="connsiteY121" fmla="*/ 66675 h 4496940"/>
              <a:gd name="connsiteX122" fmla="*/ 2097427 w 4519987"/>
              <a:gd name="connsiteY122" fmla="*/ 47625 h 4496940"/>
              <a:gd name="connsiteX123" fmla="*/ 2164102 w 4519987"/>
              <a:gd name="connsiteY123" fmla="*/ 38100 h 4496940"/>
              <a:gd name="connsiteX124" fmla="*/ 2392702 w 4519987"/>
              <a:gd name="connsiteY12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83302 w 4519987"/>
              <a:gd name="connsiteY37" fmla="*/ 4210050 h 4496940"/>
              <a:gd name="connsiteX38" fmla="*/ 3335677 w 4519987"/>
              <a:gd name="connsiteY38" fmla="*/ 4238625 h 4496940"/>
              <a:gd name="connsiteX39" fmla="*/ 3288052 w 4519987"/>
              <a:gd name="connsiteY39" fmla="*/ 4248150 h 4496940"/>
              <a:gd name="connsiteX40" fmla="*/ 3240427 w 4519987"/>
              <a:gd name="connsiteY40" fmla="*/ 4267200 h 4496940"/>
              <a:gd name="connsiteX41" fmla="*/ 3068977 w 4519987"/>
              <a:gd name="connsiteY41" fmla="*/ 4286250 h 4496940"/>
              <a:gd name="connsiteX42" fmla="*/ 2935627 w 4519987"/>
              <a:gd name="connsiteY42" fmla="*/ 4333875 h 4496940"/>
              <a:gd name="connsiteX43" fmla="*/ 2811802 w 4519987"/>
              <a:gd name="connsiteY43" fmla="*/ 4371975 h 4496940"/>
              <a:gd name="connsiteX44" fmla="*/ 2745127 w 4519987"/>
              <a:gd name="connsiteY44" fmla="*/ 4410075 h 4496940"/>
              <a:gd name="connsiteX45" fmla="*/ 2697502 w 4519987"/>
              <a:gd name="connsiteY45" fmla="*/ 4429125 h 4496940"/>
              <a:gd name="connsiteX46" fmla="*/ 2640352 w 4519987"/>
              <a:gd name="connsiteY46" fmla="*/ 4457700 h 4496940"/>
              <a:gd name="connsiteX47" fmla="*/ 2583202 w 4519987"/>
              <a:gd name="connsiteY47" fmla="*/ 4467225 h 4496940"/>
              <a:gd name="connsiteX48" fmla="*/ 2545102 w 4519987"/>
              <a:gd name="connsiteY48" fmla="*/ 4486275 h 4496940"/>
              <a:gd name="connsiteX49" fmla="*/ 2306977 w 4519987"/>
              <a:gd name="connsiteY49" fmla="*/ 4476750 h 4496940"/>
              <a:gd name="connsiteX50" fmla="*/ 2202202 w 4519987"/>
              <a:gd name="connsiteY50" fmla="*/ 4457700 h 4496940"/>
              <a:gd name="connsiteX51" fmla="*/ 2126002 w 4519987"/>
              <a:gd name="connsiteY51" fmla="*/ 4429125 h 4496940"/>
              <a:gd name="connsiteX52" fmla="*/ 1935502 w 4519987"/>
              <a:gd name="connsiteY52" fmla="*/ 4400550 h 4496940"/>
              <a:gd name="connsiteX53" fmla="*/ 1821202 w 4519987"/>
              <a:gd name="connsiteY53" fmla="*/ 4371975 h 4496940"/>
              <a:gd name="connsiteX54" fmla="*/ 1754527 w 4519987"/>
              <a:gd name="connsiteY54" fmla="*/ 4352925 h 4496940"/>
              <a:gd name="connsiteX55" fmla="*/ 1687852 w 4519987"/>
              <a:gd name="connsiteY55" fmla="*/ 4343400 h 4496940"/>
              <a:gd name="connsiteX56" fmla="*/ 1573552 w 4519987"/>
              <a:gd name="connsiteY56" fmla="*/ 4305300 h 4496940"/>
              <a:gd name="connsiteX57" fmla="*/ 1402102 w 4519987"/>
              <a:gd name="connsiteY57" fmla="*/ 4276725 h 4496940"/>
              <a:gd name="connsiteX58" fmla="*/ 1287802 w 4519987"/>
              <a:gd name="connsiteY58" fmla="*/ 4229100 h 4496940"/>
              <a:gd name="connsiteX59" fmla="*/ 1221127 w 4519987"/>
              <a:gd name="connsiteY59" fmla="*/ 4200525 h 4496940"/>
              <a:gd name="connsiteX60" fmla="*/ 1144927 w 4519987"/>
              <a:gd name="connsiteY60" fmla="*/ 4171950 h 4496940"/>
              <a:gd name="connsiteX61" fmla="*/ 1087777 w 4519987"/>
              <a:gd name="connsiteY61" fmla="*/ 4143375 h 4496940"/>
              <a:gd name="connsiteX62" fmla="*/ 1030627 w 4519987"/>
              <a:gd name="connsiteY62" fmla="*/ 4124325 h 4496940"/>
              <a:gd name="connsiteX63" fmla="*/ 925852 w 4519987"/>
              <a:gd name="connsiteY63" fmla="*/ 4067175 h 4496940"/>
              <a:gd name="connsiteX64" fmla="*/ 830602 w 4519987"/>
              <a:gd name="connsiteY64" fmla="*/ 3981450 h 4496940"/>
              <a:gd name="connsiteX65" fmla="*/ 763927 w 4519987"/>
              <a:gd name="connsiteY65" fmla="*/ 3914775 h 4496940"/>
              <a:gd name="connsiteX66" fmla="*/ 725827 w 4519987"/>
              <a:gd name="connsiteY66" fmla="*/ 3876675 h 4496940"/>
              <a:gd name="connsiteX67" fmla="*/ 697252 w 4519987"/>
              <a:gd name="connsiteY67" fmla="*/ 3838575 h 4496940"/>
              <a:gd name="connsiteX68" fmla="*/ 640102 w 4519987"/>
              <a:gd name="connsiteY68" fmla="*/ 3781425 h 4496940"/>
              <a:gd name="connsiteX69" fmla="*/ 611527 w 4519987"/>
              <a:gd name="connsiteY69" fmla="*/ 3733800 h 4496940"/>
              <a:gd name="connsiteX70" fmla="*/ 554377 w 4519987"/>
              <a:gd name="connsiteY70" fmla="*/ 3657600 h 4496940"/>
              <a:gd name="connsiteX71" fmla="*/ 525802 w 4519987"/>
              <a:gd name="connsiteY71" fmla="*/ 3609975 h 4496940"/>
              <a:gd name="connsiteX72" fmla="*/ 497227 w 4519987"/>
              <a:gd name="connsiteY72" fmla="*/ 3552825 h 4496940"/>
              <a:gd name="connsiteX73" fmla="*/ 440077 w 4519987"/>
              <a:gd name="connsiteY73" fmla="*/ 3495675 h 4496940"/>
              <a:gd name="connsiteX74" fmla="*/ 411502 w 4519987"/>
              <a:gd name="connsiteY74" fmla="*/ 3448050 h 4496940"/>
              <a:gd name="connsiteX75" fmla="*/ 278152 w 4519987"/>
              <a:gd name="connsiteY75" fmla="*/ 3257550 h 4496940"/>
              <a:gd name="connsiteX76" fmla="*/ 249577 w 4519987"/>
              <a:gd name="connsiteY76" fmla="*/ 3200400 h 4496940"/>
              <a:gd name="connsiteX77" fmla="*/ 240052 w 4519987"/>
              <a:gd name="connsiteY77" fmla="*/ 3162300 h 4496940"/>
              <a:gd name="connsiteX78" fmla="*/ 221002 w 4519987"/>
              <a:gd name="connsiteY78" fmla="*/ 3105150 h 4496940"/>
              <a:gd name="connsiteX79" fmla="*/ 173377 w 4519987"/>
              <a:gd name="connsiteY79" fmla="*/ 3019425 h 4496940"/>
              <a:gd name="connsiteX80" fmla="*/ 144802 w 4519987"/>
              <a:gd name="connsiteY80" fmla="*/ 2924175 h 4496940"/>
              <a:gd name="connsiteX81" fmla="*/ 68602 w 4519987"/>
              <a:gd name="connsiteY81" fmla="*/ 2724150 h 4496940"/>
              <a:gd name="connsiteX82" fmla="*/ 49552 w 4519987"/>
              <a:gd name="connsiteY82" fmla="*/ 2638425 h 4496940"/>
              <a:gd name="connsiteX83" fmla="*/ 40027 w 4519987"/>
              <a:gd name="connsiteY83" fmla="*/ 2562225 h 4496940"/>
              <a:gd name="connsiteX84" fmla="*/ 30502 w 4519987"/>
              <a:gd name="connsiteY84" fmla="*/ 2514600 h 4496940"/>
              <a:gd name="connsiteX85" fmla="*/ 11452 w 4519987"/>
              <a:gd name="connsiteY85" fmla="*/ 2400300 h 4496940"/>
              <a:gd name="connsiteX86" fmla="*/ 20977 w 4519987"/>
              <a:gd name="connsiteY86" fmla="*/ 1905000 h 4496940"/>
              <a:gd name="connsiteX87" fmla="*/ 30502 w 4519987"/>
              <a:gd name="connsiteY87" fmla="*/ 1838325 h 4496940"/>
              <a:gd name="connsiteX88" fmla="*/ 49552 w 4519987"/>
              <a:gd name="connsiteY88" fmla="*/ 1781175 h 4496940"/>
              <a:gd name="connsiteX89" fmla="*/ 59077 w 4519987"/>
              <a:gd name="connsiteY89" fmla="*/ 1743075 h 4496940"/>
              <a:gd name="connsiteX90" fmla="*/ 78127 w 4519987"/>
              <a:gd name="connsiteY90" fmla="*/ 1685925 h 4496940"/>
              <a:gd name="connsiteX91" fmla="*/ 87652 w 4519987"/>
              <a:gd name="connsiteY91" fmla="*/ 1638300 h 4496940"/>
              <a:gd name="connsiteX92" fmla="*/ 106702 w 4519987"/>
              <a:gd name="connsiteY92" fmla="*/ 1590675 h 4496940"/>
              <a:gd name="connsiteX93" fmla="*/ 135277 w 4519987"/>
              <a:gd name="connsiteY93" fmla="*/ 1504950 h 4496940"/>
              <a:gd name="connsiteX94" fmla="*/ 154327 w 4519987"/>
              <a:gd name="connsiteY94" fmla="*/ 1419225 h 4496940"/>
              <a:gd name="connsiteX95" fmla="*/ 230527 w 4519987"/>
              <a:gd name="connsiteY95" fmla="*/ 1276350 h 4496940"/>
              <a:gd name="connsiteX96" fmla="*/ 240052 w 4519987"/>
              <a:gd name="connsiteY96" fmla="*/ 1247775 h 4496940"/>
              <a:gd name="connsiteX97" fmla="*/ 268627 w 4519987"/>
              <a:gd name="connsiteY97" fmla="*/ 1200150 h 4496940"/>
              <a:gd name="connsiteX98" fmla="*/ 287677 w 4519987"/>
              <a:gd name="connsiteY98" fmla="*/ 1152525 h 4496940"/>
              <a:gd name="connsiteX99" fmla="*/ 316252 w 4519987"/>
              <a:gd name="connsiteY99" fmla="*/ 1114425 h 4496940"/>
              <a:gd name="connsiteX100" fmla="*/ 363877 w 4519987"/>
              <a:gd name="connsiteY100" fmla="*/ 1038225 h 4496940"/>
              <a:gd name="connsiteX101" fmla="*/ 382927 w 4519987"/>
              <a:gd name="connsiteY101" fmla="*/ 1009650 h 4496940"/>
              <a:gd name="connsiteX102" fmla="*/ 440077 w 4519987"/>
              <a:gd name="connsiteY102" fmla="*/ 904875 h 4496940"/>
              <a:gd name="connsiteX103" fmla="*/ 478177 w 4519987"/>
              <a:gd name="connsiteY103" fmla="*/ 857250 h 4496940"/>
              <a:gd name="connsiteX104" fmla="*/ 497227 w 4519987"/>
              <a:gd name="connsiteY104" fmla="*/ 828675 h 4496940"/>
              <a:gd name="connsiteX105" fmla="*/ 535327 w 4519987"/>
              <a:gd name="connsiteY105" fmla="*/ 800100 h 4496940"/>
              <a:gd name="connsiteX106" fmla="*/ 602002 w 4519987"/>
              <a:gd name="connsiteY106" fmla="*/ 733425 h 4496940"/>
              <a:gd name="connsiteX107" fmla="*/ 668677 w 4519987"/>
              <a:gd name="connsiteY107" fmla="*/ 676275 h 4496940"/>
              <a:gd name="connsiteX108" fmla="*/ 697252 w 4519987"/>
              <a:gd name="connsiteY108" fmla="*/ 657225 h 4496940"/>
              <a:gd name="connsiteX109" fmla="*/ 840127 w 4519987"/>
              <a:gd name="connsiteY109" fmla="*/ 533400 h 4496940"/>
              <a:gd name="connsiteX110" fmla="*/ 887752 w 4519987"/>
              <a:gd name="connsiteY110" fmla="*/ 504825 h 4496940"/>
              <a:gd name="connsiteX111" fmla="*/ 1167152 w 4519987"/>
              <a:gd name="connsiteY111" fmla="*/ 311150 h 4496940"/>
              <a:gd name="connsiteX112" fmla="*/ 1268752 w 4519987"/>
              <a:gd name="connsiteY112" fmla="*/ 285750 h 4496940"/>
              <a:gd name="connsiteX113" fmla="*/ 1411627 w 4519987"/>
              <a:gd name="connsiteY113" fmla="*/ 190500 h 4496940"/>
              <a:gd name="connsiteX114" fmla="*/ 1449727 w 4519987"/>
              <a:gd name="connsiteY114" fmla="*/ 161925 h 4496940"/>
              <a:gd name="connsiteX115" fmla="*/ 1525927 w 4519987"/>
              <a:gd name="connsiteY115" fmla="*/ 152400 h 4496940"/>
              <a:gd name="connsiteX116" fmla="*/ 1583077 w 4519987"/>
              <a:gd name="connsiteY116" fmla="*/ 142875 h 4496940"/>
              <a:gd name="connsiteX117" fmla="*/ 1716427 w 4519987"/>
              <a:gd name="connsiteY117" fmla="*/ 123825 h 4496940"/>
              <a:gd name="connsiteX118" fmla="*/ 1811677 w 4519987"/>
              <a:gd name="connsiteY118" fmla="*/ 114300 h 4496940"/>
              <a:gd name="connsiteX119" fmla="*/ 1859302 w 4519987"/>
              <a:gd name="connsiteY119" fmla="*/ 104775 h 4496940"/>
              <a:gd name="connsiteX120" fmla="*/ 1916452 w 4519987"/>
              <a:gd name="connsiteY120" fmla="*/ 95250 h 4496940"/>
              <a:gd name="connsiteX121" fmla="*/ 2030752 w 4519987"/>
              <a:gd name="connsiteY121" fmla="*/ 66675 h 4496940"/>
              <a:gd name="connsiteX122" fmla="*/ 2097427 w 4519987"/>
              <a:gd name="connsiteY122" fmla="*/ 47625 h 4496940"/>
              <a:gd name="connsiteX123" fmla="*/ 2164102 w 4519987"/>
              <a:gd name="connsiteY123" fmla="*/ 38100 h 4496940"/>
              <a:gd name="connsiteX124" fmla="*/ 2392702 w 4519987"/>
              <a:gd name="connsiteY12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35677 w 4519987"/>
              <a:gd name="connsiteY37" fmla="*/ 4238625 h 4496940"/>
              <a:gd name="connsiteX38" fmla="*/ 3288052 w 4519987"/>
              <a:gd name="connsiteY38" fmla="*/ 4248150 h 4496940"/>
              <a:gd name="connsiteX39" fmla="*/ 3240427 w 4519987"/>
              <a:gd name="connsiteY39" fmla="*/ 4267200 h 4496940"/>
              <a:gd name="connsiteX40" fmla="*/ 3068977 w 4519987"/>
              <a:gd name="connsiteY40" fmla="*/ 4286250 h 4496940"/>
              <a:gd name="connsiteX41" fmla="*/ 2935627 w 4519987"/>
              <a:gd name="connsiteY41" fmla="*/ 4333875 h 4496940"/>
              <a:gd name="connsiteX42" fmla="*/ 2811802 w 4519987"/>
              <a:gd name="connsiteY42" fmla="*/ 4371975 h 4496940"/>
              <a:gd name="connsiteX43" fmla="*/ 2745127 w 4519987"/>
              <a:gd name="connsiteY43" fmla="*/ 4410075 h 4496940"/>
              <a:gd name="connsiteX44" fmla="*/ 2697502 w 4519987"/>
              <a:gd name="connsiteY44" fmla="*/ 4429125 h 4496940"/>
              <a:gd name="connsiteX45" fmla="*/ 2640352 w 4519987"/>
              <a:gd name="connsiteY45" fmla="*/ 4457700 h 4496940"/>
              <a:gd name="connsiteX46" fmla="*/ 2583202 w 4519987"/>
              <a:gd name="connsiteY46" fmla="*/ 4467225 h 4496940"/>
              <a:gd name="connsiteX47" fmla="*/ 2545102 w 4519987"/>
              <a:gd name="connsiteY47" fmla="*/ 4486275 h 4496940"/>
              <a:gd name="connsiteX48" fmla="*/ 2306977 w 4519987"/>
              <a:gd name="connsiteY48" fmla="*/ 4476750 h 4496940"/>
              <a:gd name="connsiteX49" fmla="*/ 2202202 w 4519987"/>
              <a:gd name="connsiteY49" fmla="*/ 4457700 h 4496940"/>
              <a:gd name="connsiteX50" fmla="*/ 2126002 w 4519987"/>
              <a:gd name="connsiteY50" fmla="*/ 4429125 h 4496940"/>
              <a:gd name="connsiteX51" fmla="*/ 1935502 w 4519987"/>
              <a:gd name="connsiteY51" fmla="*/ 4400550 h 4496940"/>
              <a:gd name="connsiteX52" fmla="*/ 1821202 w 4519987"/>
              <a:gd name="connsiteY52" fmla="*/ 4371975 h 4496940"/>
              <a:gd name="connsiteX53" fmla="*/ 1754527 w 4519987"/>
              <a:gd name="connsiteY53" fmla="*/ 4352925 h 4496940"/>
              <a:gd name="connsiteX54" fmla="*/ 1687852 w 4519987"/>
              <a:gd name="connsiteY54" fmla="*/ 4343400 h 4496940"/>
              <a:gd name="connsiteX55" fmla="*/ 1573552 w 4519987"/>
              <a:gd name="connsiteY55" fmla="*/ 4305300 h 4496940"/>
              <a:gd name="connsiteX56" fmla="*/ 1402102 w 4519987"/>
              <a:gd name="connsiteY56" fmla="*/ 4276725 h 4496940"/>
              <a:gd name="connsiteX57" fmla="*/ 1287802 w 4519987"/>
              <a:gd name="connsiteY57" fmla="*/ 4229100 h 4496940"/>
              <a:gd name="connsiteX58" fmla="*/ 1221127 w 4519987"/>
              <a:gd name="connsiteY58" fmla="*/ 4200525 h 4496940"/>
              <a:gd name="connsiteX59" fmla="*/ 1144927 w 4519987"/>
              <a:gd name="connsiteY59" fmla="*/ 4171950 h 4496940"/>
              <a:gd name="connsiteX60" fmla="*/ 1087777 w 4519987"/>
              <a:gd name="connsiteY60" fmla="*/ 4143375 h 4496940"/>
              <a:gd name="connsiteX61" fmla="*/ 1030627 w 4519987"/>
              <a:gd name="connsiteY61" fmla="*/ 4124325 h 4496940"/>
              <a:gd name="connsiteX62" fmla="*/ 925852 w 4519987"/>
              <a:gd name="connsiteY62" fmla="*/ 4067175 h 4496940"/>
              <a:gd name="connsiteX63" fmla="*/ 830602 w 4519987"/>
              <a:gd name="connsiteY63" fmla="*/ 3981450 h 4496940"/>
              <a:gd name="connsiteX64" fmla="*/ 763927 w 4519987"/>
              <a:gd name="connsiteY64" fmla="*/ 3914775 h 4496940"/>
              <a:gd name="connsiteX65" fmla="*/ 725827 w 4519987"/>
              <a:gd name="connsiteY65" fmla="*/ 3876675 h 4496940"/>
              <a:gd name="connsiteX66" fmla="*/ 697252 w 4519987"/>
              <a:gd name="connsiteY66" fmla="*/ 3838575 h 4496940"/>
              <a:gd name="connsiteX67" fmla="*/ 640102 w 4519987"/>
              <a:gd name="connsiteY67" fmla="*/ 3781425 h 4496940"/>
              <a:gd name="connsiteX68" fmla="*/ 611527 w 4519987"/>
              <a:gd name="connsiteY68" fmla="*/ 3733800 h 4496940"/>
              <a:gd name="connsiteX69" fmla="*/ 554377 w 4519987"/>
              <a:gd name="connsiteY69" fmla="*/ 3657600 h 4496940"/>
              <a:gd name="connsiteX70" fmla="*/ 525802 w 4519987"/>
              <a:gd name="connsiteY70" fmla="*/ 3609975 h 4496940"/>
              <a:gd name="connsiteX71" fmla="*/ 497227 w 4519987"/>
              <a:gd name="connsiteY71" fmla="*/ 3552825 h 4496940"/>
              <a:gd name="connsiteX72" fmla="*/ 440077 w 4519987"/>
              <a:gd name="connsiteY72" fmla="*/ 3495675 h 4496940"/>
              <a:gd name="connsiteX73" fmla="*/ 411502 w 4519987"/>
              <a:gd name="connsiteY73" fmla="*/ 3448050 h 4496940"/>
              <a:gd name="connsiteX74" fmla="*/ 278152 w 4519987"/>
              <a:gd name="connsiteY74" fmla="*/ 3257550 h 4496940"/>
              <a:gd name="connsiteX75" fmla="*/ 249577 w 4519987"/>
              <a:gd name="connsiteY75" fmla="*/ 3200400 h 4496940"/>
              <a:gd name="connsiteX76" fmla="*/ 240052 w 4519987"/>
              <a:gd name="connsiteY76" fmla="*/ 3162300 h 4496940"/>
              <a:gd name="connsiteX77" fmla="*/ 221002 w 4519987"/>
              <a:gd name="connsiteY77" fmla="*/ 3105150 h 4496940"/>
              <a:gd name="connsiteX78" fmla="*/ 173377 w 4519987"/>
              <a:gd name="connsiteY78" fmla="*/ 3019425 h 4496940"/>
              <a:gd name="connsiteX79" fmla="*/ 144802 w 4519987"/>
              <a:gd name="connsiteY79" fmla="*/ 2924175 h 4496940"/>
              <a:gd name="connsiteX80" fmla="*/ 68602 w 4519987"/>
              <a:gd name="connsiteY80" fmla="*/ 2724150 h 4496940"/>
              <a:gd name="connsiteX81" fmla="*/ 49552 w 4519987"/>
              <a:gd name="connsiteY81" fmla="*/ 2638425 h 4496940"/>
              <a:gd name="connsiteX82" fmla="*/ 40027 w 4519987"/>
              <a:gd name="connsiteY82" fmla="*/ 2562225 h 4496940"/>
              <a:gd name="connsiteX83" fmla="*/ 30502 w 4519987"/>
              <a:gd name="connsiteY83" fmla="*/ 2514600 h 4496940"/>
              <a:gd name="connsiteX84" fmla="*/ 11452 w 4519987"/>
              <a:gd name="connsiteY84" fmla="*/ 2400300 h 4496940"/>
              <a:gd name="connsiteX85" fmla="*/ 20977 w 4519987"/>
              <a:gd name="connsiteY85" fmla="*/ 1905000 h 4496940"/>
              <a:gd name="connsiteX86" fmla="*/ 30502 w 4519987"/>
              <a:gd name="connsiteY86" fmla="*/ 1838325 h 4496940"/>
              <a:gd name="connsiteX87" fmla="*/ 49552 w 4519987"/>
              <a:gd name="connsiteY87" fmla="*/ 1781175 h 4496940"/>
              <a:gd name="connsiteX88" fmla="*/ 59077 w 4519987"/>
              <a:gd name="connsiteY88" fmla="*/ 1743075 h 4496940"/>
              <a:gd name="connsiteX89" fmla="*/ 78127 w 4519987"/>
              <a:gd name="connsiteY89" fmla="*/ 1685925 h 4496940"/>
              <a:gd name="connsiteX90" fmla="*/ 87652 w 4519987"/>
              <a:gd name="connsiteY90" fmla="*/ 1638300 h 4496940"/>
              <a:gd name="connsiteX91" fmla="*/ 106702 w 4519987"/>
              <a:gd name="connsiteY91" fmla="*/ 1590675 h 4496940"/>
              <a:gd name="connsiteX92" fmla="*/ 135277 w 4519987"/>
              <a:gd name="connsiteY92" fmla="*/ 1504950 h 4496940"/>
              <a:gd name="connsiteX93" fmla="*/ 154327 w 4519987"/>
              <a:gd name="connsiteY93" fmla="*/ 1419225 h 4496940"/>
              <a:gd name="connsiteX94" fmla="*/ 230527 w 4519987"/>
              <a:gd name="connsiteY94" fmla="*/ 1276350 h 4496940"/>
              <a:gd name="connsiteX95" fmla="*/ 240052 w 4519987"/>
              <a:gd name="connsiteY95" fmla="*/ 1247775 h 4496940"/>
              <a:gd name="connsiteX96" fmla="*/ 268627 w 4519987"/>
              <a:gd name="connsiteY96" fmla="*/ 1200150 h 4496940"/>
              <a:gd name="connsiteX97" fmla="*/ 287677 w 4519987"/>
              <a:gd name="connsiteY97" fmla="*/ 1152525 h 4496940"/>
              <a:gd name="connsiteX98" fmla="*/ 316252 w 4519987"/>
              <a:gd name="connsiteY98" fmla="*/ 1114425 h 4496940"/>
              <a:gd name="connsiteX99" fmla="*/ 363877 w 4519987"/>
              <a:gd name="connsiteY99" fmla="*/ 1038225 h 4496940"/>
              <a:gd name="connsiteX100" fmla="*/ 382927 w 4519987"/>
              <a:gd name="connsiteY100" fmla="*/ 1009650 h 4496940"/>
              <a:gd name="connsiteX101" fmla="*/ 440077 w 4519987"/>
              <a:gd name="connsiteY101" fmla="*/ 904875 h 4496940"/>
              <a:gd name="connsiteX102" fmla="*/ 478177 w 4519987"/>
              <a:gd name="connsiteY102" fmla="*/ 857250 h 4496940"/>
              <a:gd name="connsiteX103" fmla="*/ 497227 w 4519987"/>
              <a:gd name="connsiteY103" fmla="*/ 828675 h 4496940"/>
              <a:gd name="connsiteX104" fmla="*/ 535327 w 4519987"/>
              <a:gd name="connsiteY104" fmla="*/ 800100 h 4496940"/>
              <a:gd name="connsiteX105" fmla="*/ 602002 w 4519987"/>
              <a:gd name="connsiteY105" fmla="*/ 733425 h 4496940"/>
              <a:gd name="connsiteX106" fmla="*/ 668677 w 4519987"/>
              <a:gd name="connsiteY106" fmla="*/ 676275 h 4496940"/>
              <a:gd name="connsiteX107" fmla="*/ 697252 w 4519987"/>
              <a:gd name="connsiteY107" fmla="*/ 657225 h 4496940"/>
              <a:gd name="connsiteX108" fmla="*/ 840127 w 4519987"/>
              <a:gd name="connsiteY108" fmla="*/ 533400 h 4496940"/>
              <a:gd name="connsiteX109" fmla="*/ 887752 w 4519987"/>
              <a:gd name="connsiteY109" fmla="*/ 504825 h 4496940"/>
              <a:gd name="connsiteX110" fmla="*/ 1167152 w 4519987"/>
              <a:gd name="connsiteY110" fmla="*/ 311150 h 4496940"/>
              <a:gd name="connsiteX111" fmla="*/ 1268752 w 4519987"/>
              <a:gd name="connsiteY111" fmla="*/ 285750 h 4496940"/>
              <a:gd name="connsiteX112" fmla="*/ 1411627 w 4519987"/>
              <a:gd name="connsiteY112" fmla="*/ 190500 h 4496940"/>
              <a:gd name="connsiteX113" fmla="*/ 1449727 w 4519987"/>
              <a:gd name="connsiteY113" fmla="*/ 161925 h 4496940"/>
              <a:gd name="connsiteX114" fmla="*/ 1525927 w 4519987"/>
              <a:gd name="connsiteY114" fmla="*/ 152400 h 4496940"/>
              <a:gd name="connsiteX115" fmla="*/ 1583077 w 4519987"/>
              <a:gd name="connsiteY115" fmla="*/ 142875 h 4496940"/>
              <a:gd name="connsiteX116" fmla="*/ 1716427 w 4519987"/>
              <a:gd name="connsiteY116" fmla="*/ 123825 h 4496940"/>
              <a:gd name="connsiteX117" fmla="*/ 1811677 w 4519987"/>
              <a:gd name="connsiteY117" fmla="*/ 114300 h 4496940"/>
              <a:gd name="connsiteX118" fmla="*/ 1859302 w 4519987"/>
              <a:gd name="connsiteY118" fmla="*/ 104775 h 4496940"/>
              <a:gd name="connsiteX119" fmla="*/ 1916452 w 4519987"/>
              <a:gd name="connsiteY119" fmla="*/ 95250 h 4496940"/>
              <a:gd name="connsiteX120" fmla="*/ 2030752 w 4519987"/>
              <a:gd name="connsiteY120" fmla="*/ 66675 h 4496940"/>
              <a:gd name="connsiteX121" fmla="*/ 2097427 w 4519987"/>
              <a:gd name="connsiteY121" fmla="*/ 47625 h 4496940"/>
              <a:gd name="connsiteX122" fmla="*/ 2164102 w 4519987"/>
              <a:gd name="connsiteY122" fmla="*/ 38100 h 4496940"/>
              <a:gd name="connsiteX123" fmla="*/ 2392702 w 4519987"/>
              <a:gd name="connsiteY12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35677 w 4519987"/>
              <a:gd name="connsiteY37" fmla="*/ 4238625 h 4496940"/>
              <a:gd name="connsiteX38" fmla="*/ 3240427 w 4519987"/>
              <a:gd name="connsiteY38" fmla="*/ 4267200 h 4496940"/>
              <a:gd name="connsiteX39" fmla="*/ 3068977 w 4519987"/>
              <a:gd name="connsiteY39" fmla="*/ 4286250 h 4496940"/>
              <a:gd name="connsiteX40" fmla="*/ 2935627 w 4519987"/>
              <a:gd name="connsiteY40" fmla="*/ 4333875 h 4496940"/>
              <a:gd name="connsiteX41" fmla="*/ 2811802 w 4519987"/>
              <a:gd name="connsiteY41" fmla="*/ 4371975 h 4496940"/>
              <a:gd name="connsiteX42" fmla="*/ 2745127 w 4519987"/>
              <a:gd name="connsiteY42" fmla="*/ 4410075 h 4496940"/>
              <a:gd name="connsiteX43" fmla="*/ 2697502 w 4519987"/>
              <a:gd name="connsiteY43" fmla="*/ 4429125 h 4496940"/>
              <a:gd name="connsiteX44" fmla="*/ 2640352 w 4519987"/>
              <a:gd name="connsiteY44" fmla="*/ 4457700 h 4496940"/>
              <a:gd name="connsiteX45" fmla="*/ 2583202 w 4519987"/>
              <a:gd name="connsiteY45" fmla="*/ 4467225 h 4496940"/>
              <a:gd name="connsiteX46" fmla="*/ 2545102 w 4519987"/>
              <a:gd name="connsiteY46" fmla="*/ 4486275 h 4496940"/>
              <a:gd name="connsiteX47" fmla="*/ 2306977 w 4519987"/>
              <a:gd name="connsiteY47" fmla="*/ 4476750 h 4496940"/>
              <a:gd name="connsiteX48" fmla="*/ 2202202 w 4519987"/>
              <a:gd name="connsiteY48" fmla="*/ 4457700 h 4496940"/>
              <a:gd name="connsiteX49" fmla="*/ 2126002 w 4519987"/>
              <a:gd name="connsiteY49" fmla="*/ 4429125 h 4496940"/>
              <a:gd name="connsiteX50" fmla="*/ 1935502 w 4519987"/>
              <a:gd name="connsiteY50" fmla="*/ 4400550 h 4496940"/>
              <a:gd name="connsiteX51" fmla="*/ 1821202 w 4519987"/>
              <a:gd name="connsiteY51" fmla="*/ 4371975 h 4496940"/>
              <a:gd name="connsiteX52" fmla="*/ 1754527 w 4519987"/>
              <a:gd name="connsiteY52" fmla="*/ 4352925 h 4496940"/>
              <a:gd name="connsiteX53" fmla="*/ 1687852 w 4519987"/>
              <a:gd name="connsiteY53" fmla="*/ 4343400 h 4496940"/>
              <a:gd name="connsiteX54" fmla="*/ 1573552 w 4519987"/>
              <a:gd name="connsiteY54" fmla="*/ 4305300 h 4496940"/>
              <a:gd name="connsiteX55" fmla="*/ 1402102 w 4519987"/>
              <a:gd name="connsiteY55" fmla="*/ 4276725 h 4496940"/>
              <a:gd name="connsiteX56" fmla="*/ 1287802 w 4519987"/>
              <a:gd name="connsiteY56" fmla="*/ 4229100 h 4496940"/>
              <a:gd name="connsiteX57" fmla="*/ 1221127 w 4519987"/>
              <a:gd name="connsiteY57" fmla="*/ 4200525 h 4496940"/>
              <a:gd name="connsiteX58" fmla="*/ 1144927 w 4519987"/>
              <a:gd name="connsiteY58" fmla="*/ 4171950 h 4496940"/>
              <a:gd name="connsiteX59" fmla="*/ 1087777 w 4519987"/>
              <a:gd name="connsiteY59" fmla="*/ 4143375 h 4496940"/>
              <a:gd name="connsiteX60" fmla="*/ 1030627 w 4519987"/>
              <a:gd name="connsiteY60" fmla="*/ 4124325 h 4496940"/>
              <a:gd name="connsiteX61" fmla="*/ 925852 w 4519987"/>
              <a:gd name="connsiteY61" fmla="*/ 4067175 h 4496940"/>
              <a:gd name="connsiteX62" fmla="*/ 830602 w 4519987"/>
              <a:gd name="connsiteY62" fmla="*/ 3981450 h 4496940"/>
              <a:gd name="connsiteX63" fmla="*/ 763927 w 4519987"/>
              <a:gd name="connsiteY63" fmla="*/ 3914775 h 4496940"/>
              <a:gd name="connsiteX64" fmla="*/ 725827 w 4519987"/>
              <a:gd name="connsiteY64" fmla="*/ 3876675 h 4496940"/>
              <a:gd name="connsiteX65" fmla="*/ 697252 w 4519987"/>
              <a:gd name="connsiteY65" fmla="*/ 3838575 h 4496940"/>
              <a:gd name="connsiteX66" fmla="*/ 640102 w 4519987"/>
              <a:gd name="connsiteY66" fmla="*/ 3781425 h 4496940"/>
              <a:gd name="connsiteX67" fmla="*/ 611527 w 4519987"/>
              <a:gd name="connsiteY67" fmla="*/ 3733800 h 4496940"/>
              <a:gd name="connsiteX68" fmla="*/ 554377 w 4519987"/>
              <a:gd name="connsiteY68" fmla="*/ 3657600 h 4496940"/>
              <a:gd name="connsiteX69" fmla="*/ 525802 w 4519987"/>
              <a:gd name="connsiteY69" fmla="*/ 3609975 h 4496940"/>
              <a:gd name="connsiteX70" fmla="*/ 497227 w 4519987"/>
              <a:gd name="connsiteY70" fmla="*/ 3552825 h 4496940"/>
              <a:gd name="connsiteX71" fmla="*/ 440077 w 4519987"/>
              <a:gd name="connsiteY71" fmla="*/ 3495675 h 4496940"/>
              <a:gd name="connsiteX72" fmla="*/ 411502 w 4519987"/>
              <a:gd name="connsiteY72" fmla="*/ 3448050 h 4496940"/>
              <a:gd name="connsiteX73" fmla="*/ 278152 w 4519987"/>
              <a:gd name="connsiteY73" fmla="*/ 3257550 h 4496940"/>
              <a:gd name="connsiteX74" fmla="*/ 249577 w 4519987"/>
              <a:gd name="connsiteY74" fmla="*/ 3200400 h 4496940"/>
              <a:gd name="connsiteX75" fmla="*/ 240052 w 4519987"/>
              <a:gd name="connsiteY75" fmla="*/ 3162300 h 4496940"/>
              <a:gd name="connsiteX76" fmla="*/ 221002 w 4519987"/>
              <a:gd name="connsiteY76" fmla="*/ 3105150 h 4496940"/>
              <a:gd name="connsiteX77" fmla="*/ 173377 w 4519987"/>
              <a:gd name="connsiteY77" fmla="*/ 3019425 h 4496940"/>
              <a:gd name="connsiteX78" fmla="*/ 144802 w 4519987"/>
              <a:gd name="connsiteY78" fmla="*/ 2924175 h 4496940"/>
              <a:gd name="connsiteX79" fmla="*/ 68602 w 4519987"/>
              <a:gd name="connsiteY79" fmla="*/ 2724150 h 4496940"/>
              <a:gd name="connsiteX80" fmla="*/ 49552 w 4519987"/>
              <a:gd name="connsiteY80" fmla="*/ 2638425 h 4496940"/>
              <a:gd name="connsiteX81" fmla="*/ 40027 w 4519987"/>
              <a:gd name="connsiteY81" fmla="*/ 2562225 h 4496940"/>
              <a:gd name="connsiteX82" fmla="*/ 30502 w 4519987"/>
              <a:gd name="connsiteY82" fmla="*/ 2514600 h 4496940"/>
              <a:gd name="connsiteX83" fmla="*/ 11452 w 4519987"/>
              <a:gd name="connsiteY83" fmla="*/ 2400300 h 4496940"/>
              <a:gd name="connsiteX84" fmla="*/ 20977 w 4519987"/>
              <a:gd name="connsiteY84" fmla="*/ 1905000 h 4496940"/>
              <a:gd name="connsiteX85" fmla="*/ 30502 w 4519987"/>
              <a:gd name="connsiteY85" fmla="*/ 1838325 h 4496940"/>
              <a:gd name="connsiteX86" fmla="*/ 49552 w 4519987"/>
              <a:gd name="connsiteY86" fmla="*/ 1781175 h 4496940"/>
              <a:gd name="connsiteX87" fmla="*/ 59077 w 4519987"/>
              <a:gd name="connsiteY87" fmla="*/ 1743075 h 4496940"/>
              <a:gd name="connsiteX88" fmla="*/ 78127 w 4519987"/>
              <a:gd name="connsiteY88" fmla="*/ 1685925 h 4496940"/>
              <a:gd name="connsiteX89" fmla="*/ 87652 w 4519987"/>
              <a:gd name="connsiteY89" fmla="*/ 1638300 h 4496940"/>
              <a:gd name="connsiteX90" fmla="*/ 106702 w 4519987"/>
              <a:gd name="connsiteY90" fmla="*/ 1590675 h 4496940"/>
              <a:gd name="connsiteX91" fmla="*/ 135277 w 4519987"/>
              <a:gd name="connsiteY91" fmla="*/ 1504950 h 4496940"/>
              <a:gd name="connsiteX92" fmla="*/ 154327 w 4519987"/>
              <a:gd name="connsiteY92" fmla="*/ 1419225 h 4496940"/>
              <a:gd name="connsiteX93" fmla="*/ 230527 w 4519987"/>
              <a:gd name="connsiteY93" fmla="*/ 1276350 h 4496940"/>
              <a:gd name="connsiteX94" fmla="*/ 240052 w 4519987"/>
              <a:gd name="connsiteY94" fmla="*/ 1247775 h 4496940"/>
              <a:gd name="connsiteX95" fmla="*/ 268627 w 4519987"/>
              <a:gd name="connsiteY95" fmla="*/ 1200150 h 4496940"/>
              <a:gd name="connsiteX96" fmla="*/ 287677 w 4519987"/>
              <a:gd name="connsiteY96" fmla="*/ 1152525 h 4496940"/>
              <a:gd name="connsiteX97" fmla="*/ 316252 w 4519987"/>
              <a:gd name="connsiteY97" fmla="*/ 1114425 h 4496940"/>
              <a:gd name="connsiteX98" fmla="*/ 363877 w 4519987"/>
              <a:gd name="connsiteY98" fmla="*/ 1038225 h 4496940"/>
              <a:gd name="connsiteX99" fmla="*/ 382927 w 4519987"/>
              <a:gd name="connsiteY99" fmla="*/ 1009650 h 4496940"/>
              <a:gd name="connsiteX100" fmla="*/ 440077 w 4519987"/>
              <a:gd name="connsiteY100" fmla="*/ 904875 h 4496940"/>
              <a:gd name="connsiteX101" fmla="*/ 478177 w 4519987"/>
              <a:gd name="connsiteY101" fmla="*/ 857250 h 4496940"/>
              <a:gd name="connsiteX102" fmla="*/ 497227 w 4519987"/>
              <a:gd name="connsiteY102" fmla="*/ 828675 h 4496940"/>
              <a:gd name="connsiteX103" fmla="*/ 535327 w 4519987"/>
              <a:gd name="connsiteY103" fmla="*/ 800100 h 4496940"/>
              <a:gd name="connsiteX104" fmla="*/ 602002 w 4519987"/>
              <a:gd name="connsiteY104" fmla="*/ 733425 h 4496940"/>
              <a:gd name="connsiteX105" fmla="*/ 668677 w 4519987"/>
              <a:gd name="connsiteY105" fmla="*/ 676275 h 4496940"/>
              <a:gd name="connsiteX106" fmla="*/ 697252 w 4519987"/>
              <a:gd name="connsiteY106" fmla="*/ 657225 h 4496940"/>
              <a:gd name="connsiteX107" fmla="*/ 840127 w 4519987"/>
              <a:gd name="connsiteY107" fmla="*/ 533400 h 4496940"/>
              <a:gd name="connsiteX108" fmla="*/ 887752 w 4519987"/>
              <a:gd name="connsiteY108" fmla="*/ 504825 h 4496940"/>
              <a:gd name="connsiteX109" fmla="*/ 1167152 w 4519987"/>
              <a:gd name="connsiteY109" fmla="*/ 311150 h 4496940"/>
              <a:gd name="connsiteX110" fmla="*/ 1268752 w 4519987"/>
              <a:gd name="connsiteY110" fmla="*/ 285750 h 4496940"/>
              <a:gd name="connsiteX111" fmla="*/ 1411627 w 4519987"/>
              <a:gd name="connsiteY111" fmla="*/ 190500 h 4496940"/>
              <a:gd name="connsiteX112" fmla="*/ 1449727 w 4519987"/>
              <a:gd name="connsiteY112" fmla="*/ 161925 h 4496940"/>
              <a:gd name="connsiteX113" fmla="*/ 1525927 w 4519987"/>
              <a:gd name="connsiteY113" fmla="*/ 152400 h 4496940"/>
              <a:gd name="connsiteX114" fmla="*/ 1583077 w 4519987"/>
              <a:gd name="connsiteY114" fmla="*/ 142875 h 4496940"/>
              <a:gd name="connsiteX115" fmla="*/ 1716427 w 4519987"/>
              <a:gd name="connsiteY115" fmla="*/ 123825 h 4496940"/>
              <a:gd name="connsiteX116" fmla="*/ 1811677 w 4519987"/>
              <a:gd name="connsiteY116" fmla="*/ 114300 h 4496940"/>
              <a:gd name="connsiteX117" fmla="*/ 1859302 w 4519987"/>
              <a:gd name="connsiteY117" fmla="*/ 104775 h 4496940"/>
              <a:gd name="connsiteX118" fmla="*/ 1916452 w 4519987"/>
              <a:gd name="connsiteY118" fmla="*/ 95250 h 4496940"/>
              <a:gd name="connsiteX119" fmla="*/ 2030752 w 4519987"/>
              <a:gd name="connsiteY119" fmla="*/ 66675 h 4496940"/>
              <a:gd name="connsiteX120" fmla="*/ 2097427 w 4519987"/>
              <a:gd name="connsiteY120" fmla="*/ 47625 h 4496940"/>
              <a:gd name="connsiteX121" fmla="*/ 2164102 w 4519987"/>
              <a:gd name="connsiteY121" fmla="*/ 38100 h 4496940"/>
              <a:gd name="connsiteX122" fmla="*/ 2392702 w 4519987"/>
              <a:gd name="connsiteY12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40427 w 4519987"/>
              <a:gd name="connsiteY37" fmla="*/ 426720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97502 w 4519987"/>
              <a:gd name="connsiteY42" fmla="*/ 4429125 h 4496940"/>
              <a:gd name="connsiteX43" fmla="*/ 2640352 w 4519987"/>
              <a:gd name="connsiteY43" fmla="*/ 4457700 h 4496940"/>
              <a:gd name="connsiteX44" fmla="*/ 2583202 w 4519987"/>
              <a:gd name="connsiteY44" fmla="*/ 4467225 h 4496940"/>
              <a:gd name="connsiteX45" fmla="*/ 2545102 w 4519987"/>
              <a:gd name="connsiteY45" fmla="*/ 4486275 h 4496940"/>
              <a:gd name="connsiteX46" fmla="*/ 2306977 w 4519987"/>
              <a:gd name="connsiteY46" fmla="*/ 4476750 h 4496940"/>
              <a:gd name="connsiteX47" fmla="*/ 2202202 w 4519987"/>
              <a:gd name="connsiteY47" fmla="*/ 4457700 h 4496940"/>
              <a:gd name="connsiteX48" fmla="*/ 2126002 w 4519987"/>
              <a:gd name="connsiteY48" fmla="*/ 4429125 h 4496940"/>
              <a:gd name="connsiteX49" fmla="*/ 1935502 w 4519987"/>
              <a:gd name="connsiteY49" fmla="*/ 4400550 h 4496940"/>
              <a:gd name="connsiteX50" fmla="*/ 1821202 w 4519987"/>
              <a:gd name="connsiteY50" fmla="*/ 4371975 h 4496940"/>
              <a:gd name="connsiteX51" fmla="*/ 1754527 w 4519987"/>
              <a:gd name="connsiteY51" fmla="*/ 4352925 h 4496940"/>
              <a:gd name="connsiteX52" fmla="*/ 1687852 w 4519987"/>
              <a:gd name="connsiteY52" fmla="*/ 4343400 h 4496940"/>
              <a:gd name="connsiteX53" fmla="*/ 1573552 w 4519987"/>
              <a:gd name="connsiteY53" fmla="*/ 4305300 h 4496940"/>
              <a:gd name="connsiteX54" fmla="*/ 1402102 w 4519987"/>
              <a:gd name="connsiteY54" fmla="*/ 4276725 h 4496940"/>
              <a:gd name="connsiteX55" fmla="*/ 1287802 w 4519987"/>
              <a:gd name="connsiteY55" fmla="*/ 4229100 h 4496940"/>
              <a:gd name="connsiteX56" fmla="*/ 1221127 w 4519987"/>
              <a:gd name="connsiteY56" fmla="*/ 4200525 h 4496940"/>
              <a:gd name="connsiteX57" fmla="*/ 1144927 w 4519987"/>
              <a:gd name="connsiteY57" fmla="*/ 4171950 h 4496940"/>
              <a:gd name="connsiteX58" fmla="*/ 1087777 w 4519987"/>
              <a:gd name="connsiteY58" fmla="*/ 4143375 h 4496940"/>
              <a:gd name="connsiteX59" fmla="*/ 1030627 w 4519987"/>
              <a:gd name="connsiteY59" fmla="*/ 4124325 h 4496940"/>
              <a:gd name="connsiteX60" fmla="*/ 925852 w 4519987"/>
              <a:gd name="connsiteY60" fmla="*/ 4067175 h 4496940"/>
              <a:gd name="connsiteX61" fmla="*/ 830602 w 4519987"/>
              <a:gd name="connsiteY61" fmla="*/ 3981450 h 4496940"/>
              <a:gd name="connsiteX62" fmla="*/ 763927 w 4519987"/>
              <a:gd name="connsiteY62" fmla="*/ 3914775 h 4496940"/>
              <a:gd name="connsiteX63" fmla="*/ 725827 w 4519987"/>
              <a:gd name="connsiteY63" fmla="*/ 3876675 h 4496940"/>
              <a:gd name="connsiteX64" fmla="*/ 697252 w 4519987"/>
              <a:gd name="connsiteY64" fmla="*/ 3838575 h 4496940"/>
              <a:gd name="connsiteX65" fmla="*/ 640102 w 4519987"/>
              <a:gd name="connsiteY65" fmla="*/ 3781425 h 4496940"/>
              <a:gd name="connsiteX66" fmla="*/ 611527 w 4519987"/>
              <a:gd name="connsiteY66" fmla="*/ 3733800 h 4496940"/>
              <a:gd name="connsiteX67" fmla="*/ 554377 w 4519987"/>
              <a:gd name="connsiteY67" fmla="*/ 3657600 h 4496940"/>
              <a:gd name="connsiteX68" fmla="*/ 525802 w 4519987"/>
              <a:gd name="connsiteY68" fmla="*/ 3609975 h 4496940"/>
              <a:gd name="connsiteX69" fmla="*/ 497227 w 4519987"/>
              <a:gd name="connsiteY69" fmla="*/ 3552825 h 4496940"/>
              <a:gd name="connsiteX70" fmla="*/ 440077 w 4519987"/>
              <a:gd name="connsiteY70" fmla="*/ 3495675 h 4496940"/>
              <a:gd name="connsiteX71" fmla="*/ 411502 w 4519987"/>
              <a:gd name="connsiteY71" fmla="*/ 3448050 h 4496940"/>
              <a:gd name="connsiteX72" fmla="*/ 278152 w 4519987"/>
              <a:gd name="connsiteY72" fmla="*/ 3257550 h 4496940"/>
              <a:gd name="connsiteX73" fmla="*/ 249577 w 4519987"/>
              <a:gd name="connsiteY73" fmla="*/ 3200400 h 4496940"/>
              <a:gd name="connsiteX74" fmla="*/ 240052 w 4519987"/>
              <a:gd name="connsiteY74" fmla="*/ 3162300 h 4496940"/>
              <a:gd name="connsiteX75" fmla="*/ 221002 w 4519987"/>
              <a:gd name="connsiteY75" fmla="*/ 3105150 h 4496940"/>
              <a:gd name="connsiteX76" fmla="*/ 173377 w 4519987"/>
              <a:gd name="connsiteY76" fmla="*/ 3019425 h 4496940"/>
              <a:gd name="connsiteX77" fmla="*/ 144802 w 4519987"/>
              <a:gd name="connsiteY77" fmla="*/ 2924175 h 4496940"/>
              <a:gd name="connsiteX78" fmla="*/ 68602 w 4519987"/>
              <a:gd name="connsiteY78" fmla="*/ 2724150 h 4496940"/>
              <a:gd name="connsiteX79" fmla="*/ 49552 w 4519987"/>
              <a:gd name="connsiteY79" fmla="*/ 2638425 h 4496940"/>
              <a:gd name="connsiteX80" fmla="*/ 40027 w 4519987"/>
              <a:gd name="connsiteY80" fmla="*/ 2562225 h 4496940"/>
              <a:gd name="connsiteX81" fmla="*/ 30502 w 4519987"/>
              <a:gd name="connsiteY81" fmla="*/ 2514600 h 4496940"/>
              <a:gd name="connsiteX82" fmla="*/ 11452 w 4519987"/>
              <a:gd name="connsiteY82" fmla="*/ 2400300 h 4496940"/>
              <a:gd name="connsiteX83" fmla="*/ 20977 w 4519987"/>
              <a:gd name="connsiteY83" fmla="*/ 1905000 h 4496940"/>
              <a:gd name="connsiteX84" fmla="*/ 30502 w 4519987"/>
              <a:gd name="connsiteY84" fmla="*/ 1838325 h 4496940"/>
              <a:gd name="connsiteX85" fmla="*/ 49552 w 4519987"/>
              <a:gd name="connsiteY85" fmla="*/ 1781175 h 4496940"/>
              <a:gd name="connsiteX86" fmla="*/ 59077 w 4519987"/>
              <a:gd name="connsiteY86" fmla="*/ 1743075 h 4496940"/>
              <a:gd name="connsiteX87" fmla="*/ 78127 w 4519987"/>
              <a:gd name="connsiteY87" fmla="*/ 1685925 h 4496940"/>
              <a:gd name="connsiteX88" fmla="*/ 87652 w 4519987"/>
              <a:gd name="connsiteY88" fmla="*/ 1638300 h 4496940"/>
              <a:gd name="connsiteX89" fmla="*/ 106702 w 4519987"/>
              <a:gd name="connsiteY89" fmla="*/ 1590675 h 4496940"/>
              <a:gd name="connsiteX90" fmla="*/ 135277 w 4519987"/>
              <a:gd name="connsiteY90" fmla="*/ 1504950 h 4496940"/>
              <a:gd name="connsiteX91" fmla="*/ 154327 w 4519987"/>
              <a:gd name="connsiteY91" fmla="*/ 1419225 h 4496940"/>
              <a:gd name="connsiteX92" fmla="*/ 230527 w 4519987"/>
              <a:gd name="connsiteY92" fmla="*/ 1276350 h 4496940"/>
              <a:gd name="connsiteX93" fmla="*/ 240052 w 4519987"/>
              <a:gd name="connsiteY93" fmla="*/ 1247775 h 4496940"/>
              <a:gd name="connsiteX94" fmla="*/ 268627 w 4519987"/>
              <a:gd name="connsiteY94" fmla="*/ 1200150 h 4496940"/>
              <a:gd name="connsiteX95" fmla="*/ 287677 w 4519987"/>
              <a:gd name="connsiteY95" fmla="*/ 1152525 h 4496940"/>
              <a:gd name="connsiteX96" fmla="*/ 316252 w 4519987"/>
              <a:gd name="connsiteY96" fmla="*/ 1114425 h 4496940"/>
              <a:gd name="connsiteX97" fmla="*/ 363877 w 4519987"/>
              <a:gd name="connsiteY97" fmla="*/ 1038225 h 4496940"/>
              <a:gd name="connsiteX98" fmla="*/ 382927 w 4519987"/>
              <a:gd name="connsiteY98" fmla="*/ 1009650 h 4496940"/>
              <a:gd name="connsiteX99" fmla="*/ 440077 w 4519987"/>
              <a:gd name="connsiteY99" fmla="*/ 904875 h 4496940"/>
              <a:gd name="connsiteX100" fmla="*/ 478177 w 4519987"/>
              <a:gd name="connsiteY100" fmla="*/ 857250 h 4496940"/>
              <a:gd name="connsiteX101" fmla="*/ 497227 w 4519987"/>
              <a:gd name="connsiteY101" fmla="*/ 828675 h 4496940"/>
              <a:gd name="connsiteX102" fmla="*/ 535327 w 4519987"/>
              <a:gd name="connsiteY102" fmla="*/ 800100 h 4496940"/>
              <a:gd name="connsiteX103" fmla="*/ 602002 w 4519987"/>
              <a:gd name="connsiteY103" fmla="*/ 733425 h 4496940"/>
              <a:gd name="connsiteX104" fmla="*/ 668677 w 4519987"/>
              <a:gd name="connsiteY104" fmla="*/ 676275 h 4496940"/>
              <a:gd name="connsiteX105" fmla="*/ 697252 w 4519987"/>
              <a:gd name="connsiteY105" fmla="*/ 657225 h 4496940"/>
              <a:gd name="connsiteX106" fmla="*/ 840127 w 4519987"/>
              <a:gd name="connsiteY106" fmla="*/ 533400 h 4496940"/>
              <a:gd name="connsiteX107" fmla="*/ 887752 w 4519987"/>
              <a:gd name="connsiteY107" fmla="*/ 504825 h 4496940"/>
              <a:gd name="connsiteX108" fmla="*/ 1167152 w 4519987"/>
              <a:gd name="connsiteY108" fmla="*/ 311150 h 4496940"/>
              <a:gd name="connsiteX109" fmla="*/ 1268752 w 4519987"/>
              <a:gd name="connsiteY109" fmla="*/ 285750 h 4496940"/>
              <a:gd name="connsiteX110" fmla="*/ 1411627 w 4519987"/>
              <a:gd name="connsiteY110" fmla="*/ 190500 h 4496940"/>
              <a:gd name="connsiteX111" fmla="*/ 1449727 w 4519987"/>
              <a:gd name="connsiteY111" fmla="*/ 161925 h 4496940"/>
              <a:gd name="connsiteX112" fmla="*/ 1525927 w 4519987"/>
              <a:gd name="connsiteY112" fmla="*/ 152400 h 4496940"/>
              <a:gd name="connsiteX113" fmla="*/ 1583077 w 4519987"/>
              <a:gd name="connsiteY113" fmla="*/ 142875 h 4496940"/>
              <a:gd name="connsiteX114" fmla="*/ 1716427 w 4519987"/>
              <a:gd name="connsiteY114" fmla="*/ 123825 h 4496940"/>
              <a:gd name="connsiteX115" fmla="*/ 1811677 w 4519987"/>
              <a:gd name="connsiteY115" fmla="*/ 114300 h 4496940"/>
              <a:gd name="connsiteX116" fmla="*/ 1859302 w 4519987"/>
              <a:gd name="connsiteY116" fmla="*/ 104775 h 4496940"/>
              <a:gd name="connsiteX117" fmla="*/ 1916452 w 4519987"/>
              <a:gd name="connsiteY117" fmla="*/ 95250 h 4496940"/>
              <a:gd name="connsiteX118" fmla="*/ 2030752 w 4519987"/>
              <a:gd name="connsiteY118" fmla="*/ 66675 h 4496940"/>
              <a:gd name="connsiteX119" fmla="*/ 2097427 w 4519987"/>
              <a:gd name="connsiteY119" fmla="*/ 47625 h 4496940"/>
              <a:gd name="connsiteX120" fmla="*/ 2164102 w 4519987"/>
              <a:gd name="connsiteY120" fmla="*/ 38100 h 4496940"/>
              <a:gd name="connsiteX121" fmla="*/ 2392702 w 4519987"/>
              <a:gd name="connsiteY12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21377 w 4519987"/>
              <a:gd name="connsiteY37" fmla="*/ 422275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97502 w 4519987"/>
              <a:gd name="connsiteY42" fmla="*/ 4429125 h 4496940"/>
              <a:gd name="connsiteX43" fmla="*/ 2640352 w 4519987"/>
              <a:gd name="connsiteY43" fmla="*/ 4457700 h 4496940"/>
              <a:gd name="connsiteX44" fmla="*/ 2583202 w 4519987"/>
              <a:gd name="connsiteY44" fmla="*/ 4467225 h 4496940"/>
              <a:gd name="connsiteX45" fmla="*/ 2545102 w 4519987"/>
              <a:gd name="connsiteY45" fmla="*/ 4486275 h 4496940"/>
              <a:gd name="connsiteX46" fmla="*/ 2306977 w 4519987"/>
              <a:gd name="connsiteY46" fmla="*/ 4476750 h 4496940"/>
              <a:gd name="connsiteX47" fmla="*/ 2202202 w 4519987"/>
              <a:gd name="connsiteY47" fmla="*/ 4457700 h 4496940"/>
              <a:gd name="connsiteX48" fmla="*/ 2126002 w 4519987"/>
              <a:gd name="connsiteY48" fmla="*/ 4429125 h 4496940"/>
              <a:gd name="connsiteX49" fmla="*/ 1935502 w 4519987"/>
              <a:gd name="connsiteY49" fmla="*/ 4400550 h 4496940"/>
              <a:gd name="connsiteX50" fmla="*/ 1821202 w 4519987"/>
              <a:gd name="connsiteY50" fmla="*/ 4371975 h 4496940"/>
              <a:gd name="connsiteX51" fmla="*/ 1754527 w 4519987"/>
              <a:gd name="connsiteY51" fmla="*/ 4352925 h 4496940"/>
              <a:gd name="connsiteX52" fmla="*/ 1687852 w 4519987"/>
              <a:gd name="connsiteY52" fmla="*/ 4343400 h 4496940"/>
              <a:gd name="connsiteX53" fmla="*/ 1573552 w 4519987"/>
              <a:gd name="connsiteY53" fmla="*/ 4305300 h 4496940"/>
              <a:gd name="connsiteX54" fmla="*/ 1402102 w 4519987"/>
              <a:gd name="connsiteY54" fmla="*/ 4276725 h 4496940"/>
              <a:gd name="connsiteX55" fmla="*/ 1287802 w 4519987"/>
              <a:gd name="connsiteY55" fmla="*/ 4229100 h 4496940"/>
              <a:gd name="connsiteX56" fmla="*/ 1221127 w 4519987"/>
              <a:gd name="connsiteY56" fmla="*/ 4200525 h 4496940"/>
              <a:gd name="connsiteX57" fmla="*/ 1144927 w 4519987"/>
              <a:gd name="connsiteY57" fmla="*/ 4171950 h 4496940"/>
              <a:gd name="connsiteX58" fmla="*/ 1087777 w 4519987"/>
              <a:gd name="connsiteY58" fmla="*/ 4143375 h 4496940"/>
              <a:gd name="connsiteX59" fmla="*/ 1030627 w 4519987"/>
              <a:gd name="connsiteY59" fmla="*/ 4124325 h 4496940"/>
              <a:gd name="connsiteX60" fmla="*/ 925852 w 4519987"/>
              <a:gd name="connsiteY60" fmla="*/ 4067175 h 4496940"/>
              <a:gd name="connsiteX61" fmla="*/ 830602 w 4519987"/>
              <a:gd name="connsiteY61" fmla="*/ 3981450 h 4496940"/>
              <a:gd name="connsiteX62" fmla="*/ 763927 w 4519987"/>
              <a:gd name="connsiteY62" fmla="*/ 3914775 h 4496940"/>
              <a:gd name="connsiteX63" fmla="*/ 725827 w 4519987"/>
              <a:gd name="connsiteY63" fmla="*/ 3876675 h 4496940"/>
              <a:gd name="connsiteX64" fmla="*/ 697252 w 4519987"/>
              <a:gd name="connsiteY64" fmla="*/ 3838575 h 4496940"/>
              <a:gd name="connsiteX65" fmla="*/ 640102 w 4519987"/>
              <a:gd name="connsiteY65" fmla="*/ 3781425 h 4496940"/>
              <a:gd name="connsiteX66" fmla="*/ 611527 w 4519987"/>
              <a:gd name="connsiteY66" fmla="*/ 3733800 h 4496940"/>
              <a:gd name="connsiteX67" fmla="*/ 554377 w 4519987"/>
              <a:gd name="connsiteY67" fmla="*/ 3657600 h 4496940"/>
              <a:gd name="connsiteX68" fmla="*/ 525802 w 4519987"/>
              <a:gd name="connsiteY68" fmla="*/ 3609975 h 4496940"/>
              <a:gd name="connsiteX69" fmla="*/ 497227 w 4519987"/>
              <a:gd name="connsiteY69" fmla="*/ 3552825 h 4496940"/>
              <a:gd name="connsiteX70" fmla="*/ 440077 w 4519987"/>
              <a:gd name="connsiteY70" fmla="*/ 3495675 h 4496940"/>
              <a:gd name="connsiteX71" fmla="*/ 411502 w 4519987"/>
              <a:gd name="connsiteY71" fmla="*/ 3448050 h 4496940"/>
              <a:gd name="connsiteX72" fmla="*/ 278152 w 4519987"/>
              <a:gd name="connsiteY72" fmla="*/ 3257550 h 4496940"/>
              <a:gd name="connsiteX73" fmla="*/ 249577 w 4519987"/>
              <a:gd name="connsiteY73" fmla="*/ 3200400 h 4496940"/>
              <a:gd name="connsiteX74" fmla="*/ 240052 w 4519987"/>
              <a:gd name="connsiteY74" fmla="*/ 3162300 h 4496940"/>
              <a:gd name="connsiteX75" fmla="*/ 221002 w 4519987"/>
              <a:gd name="connsiteY75" fmla="*/ 3105150 h 4496940"/>
              <a:gd name="connsiteX76" fmla="*/ 173377 w 4519987"/>
              <a:gd name="connsiteY76" fmla="*/ 3019425 h 4496940"/>
              <a:gd name="connsiteX77" fmla="*/ 144802 w 4519987"/>
              <a:gd name="connsiteY77" fmla="*/ 2924175 h 4496940"/>
              <a:gd name="connsiteX78" fmla="*/ 68602 w 4519987"/>
              <a:gd name="connsiteY78" fmla="*/ 2724150 h 4496940"/>
              <a:gd name="connsiteX79" fmla="*/ 49552 w 4519987"/>
              <a:gd name="connsiteY79" fmla="*/ 2638425 h 4496940"/>
              <a:gd name="connsiteX80" fmla="*/ 40027 w 4519987"/>
              <a:gd name="connsiteY80" fmla="*/ 2562225 h 4496940"/>
              <a:gd name="connsiteX81" fmla="*/ 30502 w 4519987"/>
              <a:gd name="connsiteY81" fmla="*/ 2514600 h 4496940"/>
              <a:gd name="connsiteX82" fmla="*/ 11452 w 4519987"/>
              <a:gd name="connsiteY82" fmla="*/ 2400300 h 4496940"/>
              <a:gd name="connsiteX83" fmla="*/ 20977 w 4519987"/>
              <a:gd name="connsiteY83" fmla="*/ 1905000 h 4496940"/>
              <a:gd name="connsiteX84" fmla="*/ 30502 w 4519987"/>
              <a:gd name="connsiteY84" fmla="*/ 1838325 h 4496940"/>
              <a:gd name="connsiteX85" fmla="*/ 49552 w 4519987"/>
              <a:gd name="connsiteY85" fmla="*/ 1781175 h 4496940"/>
              <a:gd name="connsiteX86" fmla="*/ 59077 w 4519987"/>
              <a:gd name="connsiteY86" fmla="*/ 1743075 h 4496940"/>
              <a:gd name="connsiteX87" fmla="*/ 78127 w 4519987"/>
              <a:gd name="connsiteY87" fmla="*/ 1685925 h 4496940"/>
              <a:gd name="connsiteX88" fmla="*/ 87652 w 4519987"/>
              <a:gd name="connsiteY88" fmla="*/ 1638300 h 4496940"/>
              <a:gd name="connsiteX89" fmla="*/ 106702 w 4519987"/>
              <a:gd name="connsiteY89" fmla="*/ 1590675 h 4496940"/>
              <a:gd name="connsiteX90" fmla="*/ 135277 w 4519987"/>
              <a:gd name="connsiteY90" fmla="*/ 1504950 h 4496940"/>
              <a:gd name="connsiteX91" fmla="*/ 154327 w 4519987"/>
              <a:gd name="connsiteY91" fmla="*/ 1419225 h 4496940"/>
              <a:gd name="connsiteX92" fmla="*/ 230527 w 4519987"/>
              <a:gd name="connsiteY92" fmla="*/ 1276350 h 4496940"/>
              <a:gd name="connsiteX93" fmla="*/ 240052 w 4519987"/>
              <a:gd name="connsiteY93" fmla="*/ 1247775 h 4496940"/>
              <a:gd name="connsiteX94" fmla="*/ 268627 w 4519987"/>
              <a:gd name="connsiteY94" fmla="*/ 1200150 h 4496940"/>
              <a:gd name="connsiteX95" fmla="*/ 287677 w 4519987"/>
              <a:gd name="connsiteY95" fmla="*/ 1152525 h 4496940"/>
              <a:gd name="connsiteX96" fmla="*/ 316252 w 4519987"/>
              <a:gd name="connsiteY96" fmla="*/ 1114425 h 4496940"/>
              <a:gd name="connsiteX97" fmla="*/ 363877 w 4519987"/>
              <a:gd name="connsiteY97" fmla="*/ 1038225 h 4496940"/>
              <a:gd name="connsiteX98" fmla="*/ 382927 w 4519987"/>
              <a:gd name="connsiteY98" fmla="*/ 1009650 h 4496940"/>
              <a:gd name="connsiteX99" fmla="*/ 440077 w 4519987"/>
              <a:gd name="connsiteY99" fmla="*/ 904875 h 4496940"/>
              <a:gd name="connsiteX100" fmla="*/ 478177 w 4519987"/>
              <a:gd name="connsiteY100" fmla="*/ 857250 h 4496940"/>
              <a:gd name="connsiteX101" fmla="*/ 497227 w 4519987"/>
              <a:gd name="connsiteY101" fmla="*/ 828675 h 4496940"/>
              <a:gd name="connsiteX102" fmla="*/ 535327 w 4519987"/>
              <a:gd name="connsiteY102" fmla="*/ 800100 h 4496940"/>
              <a:gd name="connsiteX103" fmla="*/ 602002 w 4519987"/>
              <a:gd name="connsiteY103" fmla="*/ 733425 h 4496940"/>
              <a:gd name="connsiteX104" fmla="*/ 668677 w 4519987"/>
              <a:gd name="connsiteY104" fmla="*/ 676275 h 4496940"/>
              <a:gd name="connsiteX105" fmla="*/ 697252 w 4519987"/>
              <a:gd name="connsiteY105" fmla="*/ 657225 h 4496940"/>
              <a:gd name="connsiteX106" fmla="*/ 840127 w 4519987"/>
              <a:gd name="connsiteY106" fmla="*/ 533400 h 4496940"/>
              <a:gd name="connsiteX107" fmla="*/ 887752 w 4519987"/>
              <a:gd name="connsiteY107" fmla="*/ 504825 h 4496940"/>
              <a:gd name="connsiteX108" fmla="*/ 1167152 w 4519987"/>
              <a:gd name="connsiteY108" fmla="*/ 311150 h 4496940"/>
              <a:gd name="connsiteX109" fmla="*/ 1268752 w 4519987"/>
              <a:gd name="connsiteY109" fmla="*/ 285750 h 4496940"/>
              <a:gd name="connsiteX110" fmla="*/ 1411627 w 4519987"/>
              <a:gd name="connsiteY110" fmla="*/ 190500 h 4496940"/>
              <a:gd name="connsiteX111" fmla="*/ 1449727 w 4519987"/>
              <a:gd name="connsiteY111" fmla="*/ 161925 h 4496940"/>
              <a:gd name="connsiteX112" fmla="*/ 1525927 w 4519987"/>
              <a:gd name="connsiteY112" fmla="*/ 152400 h 4496940"/>
              <a:gd name="connsiteX113" fmla="*/ 1583077 w 4519987"/>
              <a:gd name="connsiteY113" fmla="*/ 142875 h 4496940"/>
              <a:gd name="connsiteX114" fmla="*/ 1716427 w 4519987"/>
              <a:gd name="connsiteY114" fmla="*/ 123825 h 4496940"/>
              <a:gd name="connsiteX115" fmla="*/ 1811677 w 4519987"/>
              <a:gd name="connsiteY115" fmla="*/ 114300 h 4496940"/>
              <a:gd name="connsiteX116" fmla="*/ 1859302 w 4519987"/>
              <a:gd name="connsiteY116" fmla="*/ 104775 h 4496940"/>
              <a:gd name="connsiteX117" fmla="*/ 1916452 w 4519987"/>
              <a:gd name="connsiteY117" fmla="*/ 95250 h 4496940"/>
              <a:gd name="connsiteX118" fmla="*/ 2030752 w 4519987"/>
              <a:gd name="connsiteY118" fmla="*/ 66675 h 4496940"/>
              <a:gd name="connsiteX119" fmla="*/ 2097427 w 4519987"/>
              <a:gd name="connsiteY119" fmla="*/ 47625 h 4496940"/>
              <a:gd name="connsiteX120" fmla="*/ 2164102 w 4519987"/>
              <a:gd name="connsiteY120" fmla="*/ 38100 h 4496940"/>
              <a:gd name="connsiteX121" fmla="*/ 2392702 w 4519987"/>
              <a:gd name="connsiteY12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21377 w 4519987"/>
              <a:gd name="connsiteY37" fmla="*/ 422275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40352 w 4519987"/>
              <a:gd name="connsiteY42" fmla="*/ 4457700 h 4496940"/>
              <a:gd name="connsiteX43" fmla="*/ 2583202 w 4519987"/>
              <a:gd name="connsiteY43" fmla="*/ 4467225 h 4496940"/>
              <a:gd name="connsiteX44" fmla="*/ 2545102 w 4519987"/>
              <a:gd name="connsiteY44" fmla="*/ 4486275 h 4496940"/>
              <a:gd name="connsiteX45" fmla="*/ 2306977 w 4519987"/>
              <a:gd name="connsiteY45" fmla="*/ 4476750 h 4496940"/>
              <a:gd name="connsiteX46" fmla="*/ 2202202 w 4519987"/>
              <a:gd name="connsiteY46" fmla="*/ 4457700 h 4496940"/>
              <a:gd name="connsiteX47" fmla="*/ 2126002 w 4519987"/>
              <a:gd name="connsiteY47" fmla="*/ 4429125 h 4496940"/>
              <a:gd name="connsiteX48" fmla="*/ 1935502 w 4519987"/>
              <a:gd name="connsiteY48" fmla="*/ 4400550 h 4496940"/>
              <a:gd name="connsiteX49" fmla="*/ 1821202 w 4519987"/>
              <a:gd name="connsiteY49" fmla="*/ 4371975 h 4496940"/>
              <a:gd name="connsiteX50" fmla="*/ 1754527 w 4519987"/>
              <a:gd name="connsiteY50" fmla="*/ 4352925 h 4496940"/>
              <a:gd name="connsiteX51" fmla="*/ 1687852 w 4519987"/>
              <a:gd name="connsiteY51" fmla="*/ 4343400 h 4496940"/>
              <a:gd name="connsiteX52" fmla="*/ 1573552 w 4519987"/>
              <a:gd name="connsiteY52" fmla="*/ 4305300 h 4496940"/>
              <a:gd name="connsiteX53" fmla="*/ 1402102 w 4519987"/>
              <a:gd name="connsiteY53" fmla="*/ 4276725 h 4496940"/>
              <a:gd name="connsiteX54" fmla="*/ 1287802 w 4519987"/>
              <a:gd name="connsiteY54" fmla="*/ 4229100 h 4496940"/>
              <a:gd name="connsiteX55" fmla="*/ 1221127 w 4519987"/>
              <a:gd name="connsiteY55" fmla="*/ 4200525 h 4496940"/>
              <a:gd name="connsiteX56" fmla="*/ 1144927 w 4519987"/>
              <a:gd name="connsiteY56" fmla="*/ 4171950 h 4496940"/>
              <a:gd name="connsiteX57" fmla="*/ 1087777 w 4519987"/>
              <a:gd name="connsiteY57" fmla="*/ 4143375 h 4496940"/>
              <a:gd name="connsiteX58" fmla="*/ 1030627 w 4519987"/>
              <a:gd name="connsiteY58" fmla="*/ 4124325 h 4496940"/>
              <a:gd name="connsiteX59" fmla="*/ 925852 w 4519987"/>
              <a:gd name="connsiteY59" fmla="*/ 4067175 h 4496940"/>
              <a:gd name="connsiteX60" fmla="*/ 830602 w 4519987"/>
              <a:gd name="connsiteY60" fmla="*/ 3981450 h 4496940"/>
              <a:gd name="connsiteX61" fmla="*/ 763927 w 4519987"/>
              <a:gd name="connsiteY61" fmla="*/ 3914775 h 4496940"/>
              <a:gd name="connsiteX62" fmla="*/ 725827 w 4519987"/>
              <a:gd name="connsiteY62" fmla="*/ 3876675 h 4496940"/>
              <a:gd name="connsiteX63" fmla="*/ 697252 w 4519987"/>
              <a:gd name="connsiteY63" fmla="*/ 3838575 h 4496940"/>
              <a:gd name="connsiteX64" fmla="*/ 640102 w 4519987"/>
              <a:gd name="connsiteY64" fmla="*/ 3781425 h 4496940"/>
              <a:gd name="connsiteX65" fmla="*/ 611527 w 4519987"/>
              <a:gd name="connsiteY65" fmla="*/ 3733800 h 4496940"/>
              <a:gd name="connsiteX66" fmla="*/ 554377 w 4519987"/>
              <a:gd name="connsiteY66" fmla="*/ 3657600 h 4496940"/>
              <a:gd name="connsiteX67" fmla="*/ 525802 w 4519987"/>
              <a:gd name="connsiteY67" fmla="*/ 3609975 h 4496940"/>
              <a:gd name="connsiteX68" fmla="*/ 497227 w 4519987"/>
              <a:gd name="connsiteY68" fmla="*/ 3552825 h 4496940"/>
              <a:gd name="connsiteX69" fmla="*/ 440077 w 4519987"/>
              <a:gd name="connsiteY69" fmla="*/ 3495675 h 4496940"/>
              <a:gd name="connsiteX70" fmla="*/ 411502 w 4519987"/>
              <a:gd name="connsiteY70" fmla="*/ 3448050 h 4496940"/>
              <a:gd name="connsiteX71" fmla="*/ 278152 w 4519987"/>
              <a:gd name="connsiteY71" fmla="*/ 3257550 h 4496940"/>
              <a:gd name="connsiteX72" fmla="*/ 249577 w 4519987"/>
              <a:gd name="connsiteY72" fmla="*/ 3200400 h 4496940"/>
              <a:gd name="connsiteX73" fmla="*/ 240052 w 4519987"/>
              <a:gd name="connsiteY73" fmla="*/ 3162300 h 4496940"/>
              <a:gd name="connsiteX74" fmla="*/ 221002 w 4519987"/>
              <a:gd name="connsiteY74" fmla="*/ 3105150 h 4496940"/>
              <a:gd name="connsiteX75" fmla="*/ 173377 w 4519987"/>
              <a:gd name="connsiteY75" fmla="*/ 3019425 h 4496940"/>
              <a:gd name="connsiteX76" fmla="*/ 144802 w 4519987"/>
              <a:gd name="connsiteY76" fmla="*/ 2924175 h 4496940"/>
              <a:gd name="connsiteX77" fmla="*/ 68602 w 4519987"/>
              <a:gd name="connsiteY77" fmla="*/ 2724150 h 4496940"/>
              <a:gd name="connsiteX78" fmla="*/ 49552 w 4519987"/>
              <a:gd name="connsiteY78" fmla="*/ 2638425 h 4496940"/>
              <a:gd name="connsiteX79" fmla="*/ 40027 w 4519987"/>
              <a:gd name="connsiteY79" fmla="*/ 2562225 h 4496940"/>
              <a:gd name="connsiteX80" fmla="*/ 30502 w 4519987"/>
              <a:gd name="connsiteY80" fmla="*/ 2514600 h 4496940"/>
              <a:gd name="connsiteX81" fmla="*/ 11452 w 4519987"/>
              <a:gd name="connsiteY81" fmla="*/ 2400300 h 4496940"/>
              <a:gd name="connsiteX82" fmla="*/ 20977 w 4519987"/>
              <a:gd name="connsiteY82" fmla="*/ 1905000 h 4496940"/>
              <a:gd name="connsiteX83" fmla="*/ 30502 w 4519987"/>
              <a:gd name="connsiteY83" fmla="*/ 1838325 h 4496940"/>
              <a:gd name="connsiteX84" fmla="*/ 49552 w 4519987"/>
              <a:gd name="connsiteY84" fmla="*/ 1781175 h 4496940"/>
              <a:gd name="connsiteX85" fmla="*/ 59077 w 4519987"/>
              <a:gd name="connsiteY85" fmla="*/ 1743075 h 4496940"/>
              <a:gd name="connsiteX86" fmla="*/ 78127 w 4519987"/>
              <a:gd name="connsiteY86" fmla="*/ 1685925 h 4496940"/>
              <a:gd name="connsiteX87" fmla="*/ 87652 w 4519987"/>
              <a:gd name="connsiteY87" fmla="*/ 1638300 h 4496940"/>
              <a:gd name="connsiteX88" fmla="*/ 106702 w 4519987"/>
              <a:gd name="connsiteY88" fmla="*/ 1590675 h 4496940"/>
              <a:gd name="connsiteX89" fmla="*/ 135277 w 4519987"/>
              <a:gd name="connsiteY89" fmla="*/ 1504950 h 4496940"/>
              <a:gd name="connsiteX90" fmla="*/ 154327 w 4519987"/>
              <a:gd name="connsiteY90" fmla="*/ 1419225 h 4496940"/>
              <a:gd name="connsiteX91" fmla="*/ 230527 w 4519987"/>
              <a:gd name="connsiteY91" fmla="*/ 1276350 h 4496940"/>
              <a:gd name="connsiteX92" fmla="*/ 240052 w 4519987"/>
              <a:gd name="connsiteY92" fmla="*/ 1247775 h 4496940"/>
              <a:gd name="connsiteX93" fmla="*/ 268627 w 4519987"/>
              <a:gd name="connsiteY93" fmla="*/ 1200150 h 4496940"/>
              <a:gd name="connsiteX94" fmla="*/ 287677 w 4519987"/>
              <a:gd name="connsiteY94" fmla="*/ 1152525 h 4496940"/>
              <a:gd name="connsiteX95" fmla="*/ 316252 w 4519987"/>
              <a:gd name="connsiteY95" fmla="*/ 1114425 h 4496940"/>
              <a:gd name="connsiteX96" fmla="*/ 363877 w 4519987"/>
              <a:gd name="connsiteY96" fmla="*/ 1038225 h 4496940"/>
              <a:gd name="connsiteX97" fmla="*/ 382927 w 4519987"/>
              <a:gd name="connsiteY97" fmla="*/ 1009650 h 4496940"/>
              <a:gd name="connsiteX98" fmla="*/ 440077 w 4519987"/>
              <a:gd name="connsiteY98" fmla="*/ 904875 h 4496940"/>
              <a:gd name="connsiteX99" fmla="*/ 478177 w 4519987"/>
              <a:gd name="connsiteY99" fmla="*/ 857250 h 4496940"/>
              <a:gd name="connsiteX100" fmla="*/ 497227 w 4519987"/>
              <a:gd name="connsiteY100" fmla="*/ 828675 h 4496940"/>
              <a:gd name="connsiteX101" fmla="*/ 535327 w 4519987"/>
              <a:gd name="connsiteY101" fmla="*/ 800100 h 4496940"/>
              <a:gd name="connsiteX102" fmla="*/ 602002 w 4519987"/>
              <a:gd name="connsiteY102" fmla="*/ 733425 h 4496940"/>
              <a:gd name="connsiteX103" fmla="*/ 668677 w 4519987"/>
              <a:gd name="connsiteY103" fmla="*/ 676275 h 4496940"/>
              <a:gd name="connsiteX104" fmla="*/ 697252 w 4519987"/>
              <a:gd name="connsiteY104" fmla="*/ 657225 h 4496940"/>
              <a:gd name="connsiteX105" fmla="*/ 840127 w 4519987"/>
              <a:gd name="connsiteY105" fmla="*/ 533400 h 4496940"/>
              <a:gd name="connsiteX106" fmla="*/ 887752 w 4519987"/>
              <a:gd name="connsiteY106" fmla="*/ 504825 h 4496940"/>
              <a:gd name="connsiteX107" fmla="*/ 1167152 w 4519987"/>
              <a:gd name="connsiteY107" fmla="*/ 311150 h 4496940"/>
              <a:gd name="connsiteX108" fmla="*/ 1268752 w 4519987"/>
              <a:gd name="connsiteY108" fmla="*/ 285750 h 4496940"/>
              <a:gd name="connsiteX109" fmla="*/ 1411627 w 4519987"/>
              <a:gd name="connsiteY109" fmla="*/ 190500 h 4496940"/>
              <a:gd name="connsiteX110" fmla="*/ 1449727 w 4519987"/>
              <a:gd name="connsiteY110" fmla="*/ 161925 h 4496940"/>
              <a:gd name="connsiteX111" fmla="*/ 1525927 w 4519987"/>
              <a:gd name="connsiteY111" fmla="*/ 152400 h 4496940"/>
              <a:gd name="connsiteX112" fmla="*/ 1583077 w 4519987"/>
              <a:gd name="connsiteY112" fmla="*/ 142875 h 4496940"/>
              <a:gd name="connsiteX113" fmla="*/ 1716427 w 4519987"/>
              <a:gd name="connsiteY113" fmla="*/ 123825 h 4496940"/>
              <a:gd name="connsiteX114" fmla="*/ 1811677 w 4519987"/>
              <a:gd name="connsiteY114" fmla="*/ 114300 h 4496940"/>
              <a:gd name="connsiteX115" fmla="*/ 1859302 w 4519987"/>
              <a:gd name="connsiteY115" fmla="*/ 104775 h 4496940"/>
              <a:gd name="connsiteX116" fmla="*/ 1916452 w 4519987"/>
              <a:gd name="connsiteY116" fmla="*/ 95250 h 4496940"/>
              <a:gd name="connsiteX117" fmla="*/ 2030752 w 4519987"/>
              <a:gd name="connsiteY117" fmla="*/ 66675 h 4496940"/>
              <a:gd name="connsiteX118" fmla="*/ 2097427 w 4519987"/>
              <a:gd name="connsiteY118" fmla="*/ 47625 h 4496940"/>
              <a:gd name="connsiteX119" fmla="*/ 2164102 w 4519987"/>
              <a:gd name="connsiteY119" fmla="*/ 38100 h 4496940"/>
              <a:gd name="connsiteX120" fmla="*/ 2392702 w 4519987"/>
              <a:gd name="connsiteY120" fmla="*/ 28575 h 4496940"/>
              <a:gd name="connsiteX0" fmla="*/ 2297452 w 4519987"/>
              <a:gd name="connsiteY0" fmla="*/ 0 h 4487372"/>
              <a:gd name="connsiteX1" fmla="*/ 2421277 w 4519987"/>
              <a:gd name="connsiteY1" fmla="*/ 28575 h 4487372"/>
              <a:gd name="connsiteX2" fmla="*/ 2497477 w 4519987"/>
              <a:gd name="connsiteY2" fmla="*/ 47625 h 4487372"/>
              <a:gd name="connsiteX3" fmla="*/ 2754652 w 4519987"/>
              <a:gd name="connsiteY3" fmla="*/ 66675 h 4487372"/>
              <a:gd name="connsiteX4" fmla="*/ 2830852 w 4519987"/>
              <a:gd name="connsiteY4" fmla="*/ 76200 h 4487372"/>
              <a:gd name="connsiteX5" fmla="*/ 2916577 w 4519987"/>
              <a:gd name="connsiteY5" fmla="*/ 85725 h 4487372"/>
              <a:gd name="connsiteX6" fmla="*/ 2973727 w 4519987"/>
              <a:gd name="connsiteY6" fmla="*/ 114300 h 4487372"/>
              <a:gd name="connsiteX7" fmla="*/ 3011827 w 4519987"/>
              <a:gd name="connsiteY7" fmla="*/ 123825 h 4487372"/>
              <a:gd name="connsiteX8" fmla="*/ 3135652 w 4519987"/>
              <a:gd name="connsiteY8" fmla="*/ 171450 h 4487372"/>
              <a:gd name="connsiteX9" fmla="*/ 3173752 w 4519987"/>
              <a:gd name="connsiteY9" fmla="*/ 190500 h 4487372"/>
              <a:gd name="connsiteX10" fmla="*/ 3240427 w 4519987"/>
              <a:gd name="connsiteY10" fmla="*/ 228600 h 4487372"/>
              <a:gd name="connsiteX11" fmla="*/ 3269002 w 4519987"/>
              <a:gd name="connsiteY11" fmla="*/ 238125 h 4487372"/>
              <a:gd name="connsiteX12" fmla="*/ 3297577 w 4519987"/>
              <a:gd name="connsiteY12" fmla="*/ 257175 h 4487372"/>
              <a:gd name="connsiteX13" fmla="*/ 3326152 w 4519987"/>
              <a:gd name="connsiteY13" fmla="*/ 266700 h 4487372"/>
              <a:gd name="connsiteX14" fmla="*/ 3354727 w 4519987"/>
              <a:gd name="connsiteY14" fmla="*/ 285750 h 4487372"/>
              <a:gd name="connsiteX15" fmla="*/ 3421402 w 4519987"/>
              <a:gd name="connsiteY15" fmla="*/ 323850 h 4487372"/>
              <a:gd name="connsiteX16" fmla="*/ 3469027 w 4519987"/>
              <a:gd name="connsiteY16" fmla="*/ 361950 h 4487372"/>
              <a:gd name="connsiteX17" fmla="*/ 3516652 w 4519987"/>
              <a:gd name="connsiteY17" fmla="*/ 390525 h 4487372"/>
              <a:gd name="connsiteX18" fmla="*/ 3630952 w 4519987"/>
              <a:gd name="connsiteY18" fmla="*/ 485775 h 4487372"/>
              <a:gd name="connsiteX19" fmla="*/ 3745252 w 4519987"/>
              <a:gd name="connsiteY19" fmla="*/ 542925 h 4487372"/>
              <a:gd name="connsiteX20" fmla="*/ 3811927 w 4519987"/>
              <a:gd name="connsiteY20" fmla="*/ 581025 h 4487372"/>
              <a:gd name="connsiteX21" fmla="*/ 4027827 w 4519987"/>
              <a:gd name="connsiteY21" fmla="*/ 819150 h 4487372"/>
              <a:gd name="connsiteX22" fmla="*/ 4164352 w 4519987"/>
              <a:gd name="connsiteY22" fmla="*/ 990600 h 4487372"/>
              <a:gd name="connsiteX23" fmla="*/ 4250077 w 4519987"/>
              <a:gd name="connsiteY23" fmla="*/ 1143000 h 4487372"/>
              <a:gd name="connsiteX24" fmla="*/ 4307227 w 4519987"/>
              <a:gd name="connsiteY24" fmla="*/ 1266825 h 4487372"/>
              <a:gd name="connsiteX25" fmla="*/ 4345327 w 4519987"/>
              <a:gd name="connsiteY25" fmla="*/ 1362075 h 4487372"/>
              <a:gd name="connsiteX26" fmla="*/ 4392952 w 4519987"/>
              <a:gd name="connsiteY26" fmla="*/ 1552575 h 4487372"/>
              <a:gd name="connsiteX27" fmla="*/ 4431052 w 4519987"/>
              <a:gd name="connsiteY27" fmla="*/ 1685925 h 4487372"/>
              <a:gd name="connsiteX28" fmla="*/ 4519952 w 4519987"/>
              <a:gd name="connsiteY28" fmla="*/ 2181225 h 4487372"/>
              <a:gd name="connsiteX29" fmla="*/ 4446927 w 4519987"/>
              <a:gd name="connsiteY29" fmla="*/ 2768600 h 4487372"/>
              <a:gd name="connsiteX30" fmla="*/ 4383427 w 4519987"/>
              <a:gd name="connsiteY30" fmla="*/ 2990850 h 4487372"/>
              <a:gd name="connsiteX31" fmla="*/ 4278652 w 4519987"/>
              <a:gd name="connsiteY31" fmla="*/ 3248025 h 4487372"/>
              <a:gd name="connsiteX32" fmla="*/ 4183402 w 4519987"/>
              <a:gd name="connsiteY32" fmla="*/ 3400425 h 4487372"/>
              <a:gd name="connsiteX33" fmla="*/ 4059577 w 4519987"/>
              <a:gd name="connsiteY33" fmla="*/ 3533775 h 4487372"/>
              <a:gd name="connsiteX34" fmla="*/ 3954802 w 4519987"/>
              <a:gd name="connsiteY34" fmla="*/ 3648075 h 4487372"/>
              <a:gd name="connsiteX35" fmla="*/ 3659527 w 4519987"/>
              <a:gd name="connsiteY35" fmla="*/ 3971925 h 4487372"/>
              <a:gd name="connsiteX36" fmla="*/ 3516652 w 4519987"/>
              <a:gd name="connsiteY36" fmla="*/ 4083050 h 4487372"/>
              <a:gd name="connsiteX37" fmla="*/ 3221377 w 4519987"/>
              <a:gd name="connsiteY37" fmla="*/ 4222750 h 4487372"/>
              <a:gd name="connsiteX38" fmla="*/ 3068977 w 4519987"/>
              <a:gd name="connsiteY38" fmla="*/ 4286250 h 4487372"/>
              <a:gd name="connsiteX39" fmla="*/ 2935627 w 4519987"/>
              <a:gd name="connsiteY39" fmla="*/ 4333875 h 4487372"/>
              <a:gd name="connsiteX40" fmla="*/ 2811802 w 4519987"/>
              <a:gd name="connsiteY40" fmla="*/ 4371975 h 4487372"/>
              <a:gd name="connsiteX41" fmla="*/ 2745127 w 4519987"/>
              <a:gd name="connsiteY41" fmla="*/ 4410075 h 4487372"/>
              <a:gd name="connsiteX42" fmla="*/ 2640352 w 4519987"/>
              <a:gd name="connsiteY42" fmla="*/ 4457700 h 4487372"/>
              <a:gd name="connsiteX43" fmla="*/ 2545102 w 4519987"/>
              <a:gd name="connsiteY43" fmla="*/ 4486275 h 4487372"/>
              <a:gd name="connsiteX44" fmla="*/ 2306977 w 4519987"/>
              <a:gd name="connsiteY44" fmla="*/ 4476750 h 4487372"/>
              <a:gd name="connsiteX45" fmla="*/ 2202202 w 4519987"/>
              <a:gd name="connsiteY45" fmla="*/ 4457700 h 4487372"/>
              <a:gd name="connsiteX46" fmla="*/ 2126002 w 4519987"/>
              <a:gd name="connsiteY46" fmla="*/ 4429125 h 4487372"/>
              <a:gd name="connsiteX47" fmla="*/ 1935502 w 4519987"/>
              <a:gd name="connsiteY47" fmla="*/ 4400550 h 4487372"/>
              <a:gd name="connsiteX48" fmla="*/ 1821202 w 4519987"/>
              <a:gd name="connsiteY48" fmla="*/ 4371975 h 4487372"/>
              <a:gd name="connsiteX49" fmla="*/ 1754527 w 4519987"/>
              <a:gd name="connsiteY49" fmla="*/ 4352925 h 4487372"/>
              <a:gd name="connsiteX50" fmla="*/ 1687852 w 4519987"/>
              <a:gd name="connsiteY50" fmla="*/ 4343400 h 4487372"/>
              <a:gd name="connsiteX51" fmla="*/ 1573552 w 4519987"/>
              <a:gd name="connsiteY51" fmla="*/ 4305300 h 4487372"/>
              <a:gd name="connsiteX52" fmla="*/ 1402102 w 4519987"/>
              <a:gd name="connsiteY52" fmla="*/ 4276725 h 4487372"/>
              <a:gd name="connsiteX53" fmla="*/ 1287802 w 4519987"/>
              <a:gd name="connsiteY53" fmla="*/ 4229100 h 4487372"/>
              <a:gd name="connsiteX54" fmla="*/ 1221127 w 4519987"/>
              <a:gd name="connsiteY54" fmla="*/ 4200525 h 4487372"/>
              <a:gd name="connsiteX55" fmla="*/ 1144927 w 4519987"/>
              <a:gd name="connsiteY55" fmla="*/ 4171950 h 4487372"/>
              <a:gd name="connsiteX56" fmla="*/ 1087777 w 4519987"/>
              <a:gd name="connsiteY56" fmla="*/ 4143375 h 4487372"/>
              <a:gd name="connsiteX57" fmla="*/ 1030627 w 4519987"/>
              <a:gd name="connsiteY57" fmla="*/ 4124325 h 4487372"/>
              <a:gd name="connsiteX58" fmla="*/ 925852 w 4519987"/>
              <a:gd name="connsiteY58" fmla="*/ 4067175 h 4487372"/>
              <a:gd name="connsiteX59" fmla="*/ 830602 w 4519987"/>
              <a:gd name="connsiteY59" fmla="*/ 3981450 h 4487372"/>
              <a:gd name="connsiteX60" fmla="*/ 763927 w 4519987"/>
              <a:gd name="connsiteY60" fmla="*/ 3914775 h 4487372"/>
              <a:gd name="connsiteX61" fmla="*/ 725827 w 4519987"/>
              <a:gd name="connsiteY61" fmla="*/ 3876675 h 4487372"/>
              <a:gd name="connsiteX62" fmla="*/ 697252 w 4519987"/>
              <a:gd name="connsiteY62" fmla="*/ 3838575 h 4487372"/>
              <a:gd name="connsiteX63" fmla="*/ 640102 w 4519987"/>
              <a:gd name="connsiteY63" fmla="*/ 3781425 h 4487372"/>
              <a:gd name="connsiteX64" fmla="*/ 611527 w 4519987"/>
              <a:gd name="connsiteY64" fmla="*/ 3733800 h 4487372"/>
              <a:gd name="connsiteX65" fmla="*/ 554377 w 4519987"/>
              <a:gd name="connsiteY65" fmla="*/ 3657600 h 4487372"/>
              <a:gd name="connsiteX66" fmla="*/ 525802 w 4519987"/>
              <a:gd name="connsiteY66" fmla="*/ 3609975 h 4487372"/>
              <a:gd name="connsiteX67" fmla="*/ 497227 w 4519987"/>
              <a:gd name="connsiteY67" fmla="*/ 3552825 h 4487372"/>
              <a:gd name="connsiteX68" fmla="*/ 440077 w 4519987"/>
              <a:gd name="connsiteY68" fmla="*/ 3495675 h 4487372"/>
              <a:gd name="connsiteX69" fmla="*/ 411502 w 4519987"/>
              <a:gd name="connsiteY69" fmla="*/ 3448050 h 4487372"/>
              <a:gd name="connsiteX70" fmla="*/ 278152 w 4519987"/>
              <a:gd name="connsiteY70" fmla="*/ 3257550 h 4487372"/>
              <a:gd name="connsiteX71" fmla="*/ 249577 w 4519987"/>
              <a:gd name="connsiteY71" fmla="*/ 3200400 h 4487372"/>
              <a:gd name="connsiteX72" fmla="*/ 240052 w 4519987"/>
              <a:gd name="connsiteY72" fmla="*/ 3162300 h 4487372"/>
              <a:gd name="connsiteX73" fmla="*/ 221002 w 4519987"/>
              <a:gd name="connsiteY73" fmla="*/ 3105150 h 4487372"/>
              <a:gd name="connsiteX74" fmla="*/ 173377 w 4519987"/>
              <a:gd name="connsiteY74" fmla="*/ 3019425 h 4487372"/>
              <a:gd name="connsiteX75" fmla="*/ 144802 w 4519987"/>
              <a:gd name="connsiteY75" fmla="*/ 2924175 h 4487372"/>
              <a:gd name="connsiteX76" fmla="*/ 68602 w 4519987"/>
              <a:gd name="connsiteY76" fmla="*/ 2724150 h 4487372"/>
              <a:gd name="connsiteX77" fmla="*/ 49552 w 4519987"/>
              <a:gd name="connsiteY77" fmla="*/ 2638425 h 4487372"/>
              <a:gd name="connsiteX78" fmla="*/ 40027 w 4519987"/>
              <a:gd name="connsiteY78" fmla="*/ 2562225 h 4487372"/>
              <a:gd name="connsiteX79" fmla="*/ 30502 w 4519987"/>
              <a:gd name="connsiteY79" fmla="*/ 2514600 h 4487372"/>
              <a:gd name="connsiteX80" fmla="*/ 11452 w 4519987"/>
              <a:gd name="connsiteY80" fmla="*/ 2400300 h 4487372"/>
              <a:gd name="connsiteX81" fmla="*/ 20977 w 4519987"/>
              <a:gd name="connsiteY81" fmla="*/ 1905000 h 4487372"/>
              <a:gd name="connsiteX82" fmla="*/ 30502 w 4519987"/>
              <a:gd name="connsiteY82" fmla="*/ 1838325 h 4487372"/>
              <a:gd name="connsiteX83" fmla="*/ 49552 w 4519987"/>
              <a:gd name="connsiteY83" fmla="*/ 1781175 h 4487372"/>
              <a:gd name="connsiteX84" fmla="*/ 59077 w 4519987"/>
              <a:gd name="connsiteY84" fmla="*/ 1743075 h 4487372"/>
              <a:gd name="connsiteX85" fmla="*/ 78127 w 4519987"/>
              <a:gd name="connsiteY85" fmla="*/ 1685925 h 4487372"/>
              <a:gd name="connsiteX86" fmla="*/ 87652 w 4519987"/>
              <a:gd name="connsiteY86" fmla="*/ 1638300 h 4487372"/>
              <a:gd name="connsiteX87" fmla="*/ 106702 w 4519987"/>
              <a:gd name="connsiteY87" fmla="*/ 1590675 h 4487372"/>
              <a:gd name="connsiteX88" fmla="*/ 135277 w 4519987"/>
              <a:gd name="connsiteY88" fmla="*/ 1504950 h 4487372"/>
              <a:gd name="connsiteX89" fmla="*/ 154327 w 4519987"/>
              <a:gd name="connsiteY89" fmla="*/ 1419225 h 4487372"/>
              <a:gd name="connsiteX90" fmla="*/ 230527 w 4519987"/>
              <a:gd name="connsiteY90" fmla="*/ 1276350 h 4487372"/>
              <a:gd name="connsiteX91" fmla="*/ 240052 w 4519987"/>
              <a:gd name="connsiteY91" fmla="*/ 1247775 h 4487372"/>
              <a:gd name="connsiteX92" fmla="*/ 268627 w 4519987"/>
              <a:gd name="connsiteY92" fmla="*/ 1200150 h 4487372"/>
              <a:gd name="connsiteX93" fmla="*/ 287677 w 4519987"/>
              <a:gd name="connsiteY93" fmla="*/ 1152525 h 4487372"/>
              <a:gd name="connsiteX94" fmla="*/ 316252 w 4519987"/>
              <a:gd name="connsiteY94" fmla="*/ 1114425 h 4487372"/>
              <a:gd name="connsiteX95" fmla="*/ 363877 w 4519987"/>
              <a:gd name="connsiteY95" fmla="*/ 1038225 h 4487372"/>
              <a:gd name="connsiteX96" fmla="*/ 382927 w 4519987"/>
              <a:gd name="connsiteY96" fmla="*/ 1009650 h 4487372"/>
              <a:gd name="connsiteX97" fmla="*/ 440077 w 4519987"/>
              <a:gd name="connsiteY97" fmla="*/ 904875 h 4487372"/>
              <a:gd name="connsiteX98" fmla="*/ 478177 w 4519987"/>
              <a:gd name="connsiteY98" fmla="*/ 857250 h 4487372"/>
              <a:gd name="connsiteX99" fmla="*/ 497227 w 4519987"/>
              <a:gd name="connsiteY99" fmla="*/ 828675 h 4487372"/>
              <a:gd name="connsiteX100" fmla="*/ 535327 w 4519987"/>
              <a:gd name="connsiteY100" fmla="*/ 800100 h 4487372"/>
              <a:gd name="connsiteX101" fmla="*/ 602002 w 4519987"/>
              <a:gd name="connsiteY101" fmla="*/ 733425 h 4487372"/>
              <a:gd name="connsiteX102" fmla="*/ 668677 w 4519987"/>
              <a:gd name="connsiteY102" fmla="*/ 676275 h 4487372"/>
              <a:gd name="connsiteX103" fmla="*/ 697252 w 4519987"/>
              <a:gd name="connsiteY103" fmla="*/ 657225 h 4487372"/>
              <a:gd name="connsiteX104" fmla="*/ 840127 w 4519987"/>
              <a:gd name="connsiteY104" fmla="*/ 533400 h 4487372"/>
              <a:gd name="connsiteX105" fmla="*/ 887752 w 4519987"/>
              <a:gd name="connsiteY105" fmla="*/ 504825 h 4487372"/>
              <a:gd name="connsiteX106" fmla="*/ 1167152 w 4519987"/>
              <a:gd name="connsiteY106" fmla="*/ 311150 h 4487372"/>
              <a:gd name="connsiteX107" fmla="*/ 1268752 w 4519987"/>
              <a:gd name="connsiteY107" fmla="*/ 285750 h 4487372"/>
              <a:gd name="connsiteX108" fmla="*/ 1411627 w 4519987"/>
              <a:gd name="connsiteY108" fmla="*/ 190500 h 4487372"/>
              <a:gd name="connsiteX109" fmla="*/ 1449727 w 4519987"/>
              <a:gd name="connsiteY109" fmla="*/ 161925 h 4487372"/>
              <a:gd name="connsiteX110" fmla="*/ 1525927 w 4519987"/>
              <a:gd name="connsiteY110" fmla="*/ 152400 h 4487372"/>
              <a:gd name="connsiteX111" fmla="*/ 1583077 w 4519987"/>
              <a:gd name="connsiteY111" fmla="*/ 142875 h 4487372"/>
              <a:gd name="connsiteX112" fmla="*/ 1716427 w 4519987"/>
              <a:gd name="connsiteY112" fmla="*/ 123825 h 4487372"/>
              <a:gd name="connsiteX113" fmla="*/ 1811677 w 4519987"/>
              <a:gd name="connsiteY113" fmla="*/ 114300 h 4487372"/>
              <a:gd name="connsiteX114" fmla="*/ 1859302 w 4519987"/>
              <a:gd name="connsiteY114" fmla="*/ 104775 h 4487372"/>
              <a:gd name="connsiteX115" fmla="*/ 1916452 w 4519987"/>
              <a:gd name="connsiteY115" fmla="*/ 95250 h 4487372"/>
              <a:gd name="connsiteX116" fmla="*/ 2030752 w 4519987"/>
              <a:gd name="connsiteY116" fmla="*/ 66675 h 4487372"/>
              <a:gd name="connsiteX117" fmla="*/ 2097427 w 4519987"/>
              <a:gd name="connsiteY117" fmla="*/ 47625 h 4487372"/>
              <a:gd name="connsiteX118" fmla="*/ 2164102 w 4519987"/>
              <a:gd name="connsiteY118" fmla="*/ 38100 h 4487372"/>
              <a:gd name="connsiteX119" fmla="*/ 2392702 w 4519987"/>
              <a:gd name="connsiteY119" fmla="*/ 28575 h 4487372"/>
              <a:gd name="connsiteX0" fmla="*/ 2297452 w 4519987"/>
              <a:gd name="connsiteY0" fmla="*/ 0 h 4476750"/>
              <a:gd name="connsiteX1" fmla="*/ 2421277 w 4519987"/>
              <a:gd name="connsiteY1" fmla="*/ 28575 h 4476750"/>
              <a:gd name="connsiteX2" fmla="*/ 2497477 w 4519987"/>
              <a:gd name="connsiteY2" fmla="*/ 47625 h 4476750"/>
              <a:gd name="connsiteX3" fmla="*/ 2754652 w 4519987"/>
              <a:gd name="connsiteY3" fmla="*/ 66675 h 4476750"/>
              <a:gd name="connsiteX4" fmla="*/ 2830852 w 4519987"/>
              <a:gd name="connsiteY4" fmla="*/ 76200 h 4476750"/>
              <a:gd name="connsiteX5" fmla="*/ 2916577 w 4519987"/>
              <a:gd name="connsiteY5" fmla="*/ 85725 h 4476750"/>
              <a:gd name="connsiteX6" fmla="*/ 2973727 w 4519987"/>
              <a:gd name="connsiteY6" fmla="*/ 114300 h 4476750"/>
              <a:gd name="connsiteX7" fmla="*/ 3011827 w 4519987"/>
              <a:gd name="connsiteY7" fmla="*/ 123825 h 4476750"/>
              <a:gd name="connsiteX8" fmla="*/ 3135652 w 4519987"/>
              <a:gd name="connsiteY8" fmla="*/ 171450 h 4476750"/>
              <a:gd name="connsiteX9" fmla="*/ 3173752 w 4519987"/>
              <a:gd name="connsiteY9" fmla="*/ 190500 h 4476750"/>
              <a:gd name="connsiteX10" fmla="*/ 3240427 w 4519987"/>
              <a:gd name="connsiteY10" fmla="*/ 228600 h 4476750"/>
              <a:gd name="connsiteX11" fmla="*/ 3269002 w 4519987"/>
              <a:gd name="connsiteY11" fmla="*/ 238125 h 4476750"/>
              <a:gd name="connsiteX12" fmla="*/ 3297577 w 4519987"/>
              <a:gd name="connsiteY12" fmla="*/ 257175 h 4476750"/>
              <a:gd name="connsiteX13" fmla="*/ 3326152 w 4519987"/>
              <a:gd name="connsiteY13" fmla="*/ 266700 h 4476750"/>
              <a:gd name="connsiteX14" fmla="*/ 3354727 w 4519987"/>
              <a:gd name="connsiteY14" fmla="*/ 285750 h 4476750"/>
              <a:gd name="connsiteX15" fmla="*/ 3421402 w 4519987"/>
              <a:gd name="connsiteY15" fmla="*/ 323850 h 4476750"/>
              <a:gd name="connsiteX16" fmla="*/ 3469027 w 4519987"/>
              <a:gd name="connsiteY16" fmla="*/ 361950 h 4476750"/>
              <a:gd name="connsiteX17" fmla="*/ 3516652 w 4519987"/>
              <a:gd name="connsiteY17" fmla="*/ 390525 h 4476750"/>
              <a:gd name="connsiteX18" fmla="*/ 3630952 w 4519987"/>
              <a:gd name="connsiteY18" fmla="*/ 485775 h 4476750"/>
              <a:gd name="connsiteX19" fmla="*/ 3745252 w 4519987"/>
              <a:gd name="connsiteY19" fmla="*/ 542925 h 4476750"/>
              <a:gd name="connsiteX20" fmla="*/ 3811927 w 4519987"/>
              <a:gd name="connsiteY20" fmla="*/ 581025 h 4476750"/>
              <a:gd name="connsiteX21" fmla="*/ 4027827 w 4519987"/>
              <a:gd name="connsiteY21" fmla="*/ 819150 h 4476750"/>
              <a:gd name="connsiteX22" fmla="*/ 4164352 w 4519987"/>
              <a:gd name="connsiteY22" fmla="*/ 990600 h 4476750"/>
              <a:gd name="connsiteX23" fmla="*/ 4250077 w 4519987"/>
              <a:gd name="connsiteY23" fmla="*/ 1143000 h 4476750"/>
              <a:gd name="connsiteX24" fmla="*/ 4307227 w 4519987"/>
              <a:gd name="connsiteY24" fmla="*/ 1266825 h 4476750"/>
              <a:gd name="connsiteX25" fmla="*/ 4345327 w 4519987"/>
              <a:gd name="connsiteY25" fmla="*/ 1362075 h 4476750"/>
              <a:gd name="connsiteX26" fmla="*/ 4392952 w 4519987"/>
              <a:gd name="connsiteY26" fmla="*/ 1552575 h 4476750"/>
              <a:gd name="connsiteX27" fmla="*/ 4431052 w 4519987"/>
              <a:gd name="connsiteY27" fmla="*/ 1685925 h 4476750"/>
              <a:gd name="connsiteX28" fmla="*/ 4519952 w 4519987"/>
              <a:gd name="connsiteY28" fmla="*/ 2181225 h 4476750"/>
              <a:gd name="connsiteX29" fmla="*/ 4446927 w 4519987"/>
              <a:gd name="connsiteY29" fmla="*/ 2768600 h 4476750"/>
              <a:gd name="connsiteX30" fmla="*/ 4383427 w 4519987"/>
              <a:gd name="connsiteY30" fmla="*/ 2990850 h 4476750"/>
              <a:gd name="connsiteX31" fmla="*/ 4278652 w 4519987"/>
              <a:gd name="connsiteY31" fmla="*/ 3248025 h 4476750"/>
              <a:gd name="connsiteX32" fmla="*/ 4183402 w 4519987"/>
              <a:gd name="connsiteY32" fmla="*/ 3400425 h 4476750"/>
              <a:gd name="connsiteX33" fmla="*/ 4059577 w 4519987"/>
              <a:gd name="connsiteY33" fmla="*/ 3533775 h 4476750"/>
              <a:gd name="connsiteX34" fmla="*/ 3954802 w 4519987"/>
              <a:gd name="connsiteY34" fmla="*/ 3648075 h 4476750"/>
              <a:gd name="connsiteX35" fmla="*/ 3659527 w 4519987"/>
              <a:gd name="connsiteY35" fmla="*/ 3971925 h 4476750"/>
              <a:gd name="connsiteX36" fmla="*/ 3516652 w 4519987"/>
              <a:gd name="connsiteY36" fmla="*/ 4083050 h 4476750"/>
              <a:gd name="connsiteX37" fmla="*/ 3221377 w 4519987"/>
              <a:gd name="connsiteY37" fmla="*/ 4222750 h 4476750"/>
              <a:gd name="connsiteX38" fmla="*/ 3068977 w 4519987"/>
              <a:gd name="connsiteY38" fmla="*/ 4286250 h 4476750"/>
              <a:gd name="connsiteX39" fmla="*/ 2935627 w 4519987"/>
              <a:gd name="connsiteY39" fmla="*/ 4333875 h 4476750"/>
              <a:gd name="connsiteX40" fmla="*/ 2811802 w 4519987"/>
              <a:gd name="connsiteY40" fmla="*/ 4371975 h 4476750"/>
              <a:gd name="connsiteX41" fmla="*/ 2745127 w 4519987"/>
              <a:gd name="connsiteY41" fmla="*/ 4410075 h 4476750"/>
              <a:gd name="connsiteX42" fmla="*/ 2640352 w 4519987"/>
              <a:gd name="connsiteY42" fmla="*/ 4457700 h 4476750"/>
              <a:gd name="connsiteX43" fmla="*/ 2306977 w 4519987"/>
              <a:gd name="connsiteY43" fmla="*/ 4476750 h 4476750"/>
              <a:gd name="connsiteX44" fmla="*/ 2202202 w 4519987"/>
              <a:gd name="connsiteY44" fmla="*/ 4457700 h 4476750"/>
              <a:gd name="connsiteX45" fmla="*/ 2126002 w 4519987"/>
              <a:gd name="connsiteY45" fmla="*/ 4429125 h 4476750"/>
              <a:gd name="connsiteX46" fmla="*/ 1935502 w 4519987"/>
              <a:gd name="connsiteY46" fmla="*/ 4400550 h 4476750"/>
              <a:gd name="connsiteX47" fmla="*/ 1821202 w 4519987"/>
              <a:gd name="connsiteY47" fmla="*/ 4371975 h 4476750"/>
              <a:gd name="connsiteX48" fmla="*/ 1754527 w 4519987"/>
              <a:gd name="connsiteY48" fmla="*/ 4352925 h 4476750"/>
              <a:gd name="connsiteX49" fmla="*/ 1687852 w 4519987"/>
              <a:gd name="connsiteY49" fmla="*/ 4343400 h 4476750"/>
              <a:gd name="connsiteX50" fmla="*/ 1573552 w 4519987"/>
              <a:gd name="connsiteY50" fmla="*/ 4305300 h 4476750"/>
              <a:gd name="connsiteX51" fmla="*/ 1402102 w 4519987"/>
              <a:gd name="connsiteY51" fmla="*/ 4276725 h 4476750"/>
              <a:gd name="connsiteX52" fmla="*/ 1287802 w 4519987"/>
              <a:gd name="connsiteY52" fmla="*/ 4229100 h 4476750"/>
              <a:gd name="connsiteX53" fmla="*/ 1221127 w 4519987"/>
              <a:gd name="connsiteY53" fmla="*/ 4200525 h 4476750"/>
              <a:gd name="connsiteX54" fmla="*/ 1144927 w 4519987"/>
              <a:gd name="connsiteY54" fmla="*/ 4171950 h 4476750"/>
              <a:gd name="connsiteX55" fmla="*/ 1087777 w 4519987"/>
              <a:gd name="connsiteY55" fmla="*/ 4143375 h 4476750"/>
              <a:gd name="connsiteX56" fmla="*/ 1030627 w 4519987"/>
              <a:gd name="connsiteY56" fmla="*/ 4124325 h 4476750"/>
              <a:gd name="connsiteX57" fmla="*/ 925852 w 4519987"/>
              <a:gd name="connsiteY57" fmla="*/ 4067175 h 4476750"/>
              <a:gd name="connsiteX58" fmla="*/ 830602 w 4519987"/>
              <a:gd name="connsiteY58" fmla="*/ 3981450 h 4476750"/>
              <a:gd name="connsiteX59" fmla="*/ 763927 w 4519987"/>
              <a:gd name="connsiteY59" fmla="*/ 3914775 h 4476750"/>
              <a:gd name="connsiteX60" fmla="*/ 725827 w 4519987"/>
              <a:gd name="connsiteY60" fmla="*/ 3876675 h 4476750"/>
              <a:gd name="connsiteX61" fmla="*/ 697252 w 4519987"/>
              <a:gd name="connsiteY61" fmla="*/ 3838575 h 4476750"/>
              <a:gd name="connsiteX62" fmla="*/ 640102 w 4519987"/>
              <a:gd name="connsiteY62" fmla="*/ 3781425 h 4476750"/>
              <a:gd name="connsiteX63" fmla="*/ 611527 w 4519987"/>
              <a:gd name="connsiteY63" fmla="*/ 3733800 h 4476750"/>
              <a:gd name="connsiteX64" fmla="*/ 554377 w 4519987"/>
              <a:gd name="connsiteY64" fmla="*/ 3657600 h 4476750"/>
              <a:gd name="connsiteX65" fmla="*/ 525802 w 4519987"/>
              <a:gd name="connsiteY65" fmla="*/ 3609975 h 4476750"/>
              <a:gd name="connsiteX66" fmla="*/ 497227 w 4519987"/>
              <a:gd name="connsiteY66" fmla="*/ 3552825 h 4476750"/>
              <a:gd name="connsiteX67" fmla="*/ 440077 w 4519987"/>
              <a:gd name="connsiteY67" fmla="*/ 3495675 h 4476750"/>
              <a:gd name="connsiteX68" fmla="*/ 411502 w 4519987"/>
              <a:gd name="connsiteY68" fmla="*/ 3448050 h 4476750"/>
              <a:gd name="connsiteX69" fmla="*/ 278152 w 4519987"/>
              <a:gd name="connsiteY69" fmla="*/ 3257550 h 4476750"/>
              <a:gd name="connsiteX70" fmla="*/ 249577 w 4519987"/>
              <a:gd name="connsiteY70" fmla="*/ 3200400 h 4476750"/>
              <a:gd name="connsiteX71" fmla="*/ 240052 w 4519987"/>
              <a:gd name="connsiteY71" fmla="*/ 3162300 h 4476750"/>
              <a:gd name="connsiteX72" fmla="*/ 221002 w 4519987"/>
              <a:gd name="connsiteY72" fmla="*/ 3105150 h 4476750"/>
              <a:gd name="connsiteX73" fmla="*/ 173377 w 4519987"/>
              <a:gd name="connsiteY73" fmla="*/ 3019425 h 4476750"/>
              <a:gd name="connsiteX74" fmla="*/ 144802 w 4519987"/>
              <a:gd name="connsiteY74" fmla="*/ 2924175 h 4476750"/>
              <a:gd name="connsiteX75" fmla="*/ 68602 w 4519987"/>
              <a:gd name="connsiteY75" fmla="*/ 2724150 h 4476750"/>
              <a:gd name="connsiteX76" fmla="*/ 49552 w 4519987"/>
              <a:gd name="connsiteY76" fmla="*/ 2638425 h 4476750"/>
              <a:gd name="connsiteX77" fmla="*/ 40027 w 4519987"/>
              <a:gd name="connsiteY77" fmla="*/ 2562225 h 4476750"/>
              <a:gd name="connsiteX78" fmla="*/ 30502 w 4519987"/>
              <a:gd name="connsiteY78" fmla="*/ 2514600 h 4476750"/>
              <a:gd name="connsiteX79" fmla="*/ 11452 w 4519987"/>
              <a:gd name="connsiteY79" fmla="*/ 2400300 h 4476750"/>
              <a:gd name="connsiteX80" fmla="*/ 20977 w 4519987"/>
              <a:gd name="connsiteY80" fmla="*/ 1905000 h 4476750"/>
              <a:gd name="connsiteX81" fmla="*/ 30502 w 4519987"/>
              <a:gd name="connsiteY81" fmla="*/ 1838325 h 4476750"/>
              <a:gd name="connsiteX82" fmla="*/ 49552 w 4519987"/>
              <a:gd name="connsiteY82" fmla="*/ 1781175 h 4476750"/>
              <a:gd name="connsiteX83" fmla="*/ 59077 w 4519987"/>
              <a:gd name="connsiteY83" fmla="*/ 1743075 h 4476750"/>
              <a:gd name="connsiteX84" fmla="*/ 78127 w 4519987"/>
              <a:gd name="connsiteY84" fmla="*/ 1685925 h 4476750"/>
              <a:gd name="connsiteX85" fmla="*/ 87652 w 4519987"/>
              <a:gd name="connsiteY85" fmla="*/ 1638300 h 4476750"/>
              <a:gd name="connsiteX86" fmla="*/ 106702 w 4519987"/>
              <a:gd name="connsiteY86" fmla="*/ 1590675 h 4476750"/>
              <a:gd name="connsiteX87" fmla="*/ 135277 w 4519987"/>
              <a:gd name="connsiteY87" fmla="*/ 1504950 h 4476750"/>
              <a:gd name="connsiteX88" fmla="*/ 154327 w 4519987"/>
              <a:gd name="connsiteY88" fmla="*/ 1419225 h 4476750"/>
              <a:gd name="connsiteX89" fmla="*/ 230527 w 4519987"/>
              <a:gd name="connsiteY89" fmla="*/ 1276350 h 4476750"/>
              <a:gd name="connsiteX90" fmla="*/ 240052 w 4519987"/>
              <a:gd name="connsiteY90" fmla="*/ 1247775 h 4476750"/>
              <a:gd name="connsiteX91" fmla="*/ 268627 w 4519987"/>
              <a:gd name="connsiteY91" fmla="*/ 1200150 h 4476750"/>
              <a:gd name="connsiteX92" fmla="*/ 287677 w 4519987"/>
              <a:gd name="connsiteY92" fmla="*/ 1152525 h 4476750"/>
              <a:gd name="connsiteX93" fmla="*/ 316252 w 4519987"/>
              <a:gd name="connsiteY93" fmla="*/ 1114425 h 4476750"/>
              <a:gd name="connsiteX94" fmla="*/ 363877 w 4519987"/>
              <a:gd name="connsiteY94" fmla="*/ 1038225 h 4476750"/>
              <a:gd name="connsiteX95" fmla="*/ 382927 w 4519987"/>
              <a:gd name="connsiteY95" fmla="*/ 1009650 h 4476750"/>
              <a:gd name="connsiteX96" fmla="*/ 440077 w 4519987"/>
              <a:gd name="connsiteY96" fmla="*/ 904875 h 4476750"/>
              <a:gd name="connsiteX97" fmla="*/ 478177 w 4519987"/>
              <a:gd name="connsiteY97" fmla="*/ 857250 h 4476750"/>
              <a:gd name="connsiteX98" fmla="*/ 497227 w 4519987"/>
              <a:gd name="connsiteY98" fmla="*/ 828675 h 4476750"/>
              <a:gd name="connsiteX99" fmla="*/ 535327 w 4519987"/>
              <a:gd name="connsiteY99" fmla="*/ 800100 h 4476750"/>
              <a:gd name="connsiteX100" fmla="*/ 602002 w 4519987"/>
              <a:gd name="connsiteY100" fmla="*/ 733425 h 4476750"/>
              <a:gd name="connsiteX101" fmla="*/ 668677 w 4519987"/>
              <a:gd name="connsiteY101" fmla="*/ 676275 h 4476750"/>
              <a:gd name="connsiteX102" fmla="*/ 697252 w 4519987"/>
              <a:gd name="connsiteY102" fmla="*/ 657225 h 4476750"/>
              <a:gd name="connsiteX103" fmla="*/ 840127 w 4519987"/>
              <a:gd name="connsiteY103" fmla="*/ 533400 h 4476750"/>
              <a:gd name="connsiteX104" fmla="*/ 887752 w 4519987"/>
              <a:gd name="connsiteY104" fmla="*/ 504825 h 4476750"/>
              <a:gd name="connsiteX105" fmla="*/ 1167152 w 4519987"/>
              <a:gd name="connsiteY105" fmla="*/ 311150 h 4476750"/>
              <a:gd name="connsiteX106" fmla="*/ 1268752 w 4519987"/>
              <a:gd name="connsiteY106" fmla="*/ 285750 h 4476750"/>
              <a:gd name="connsiteX107" fmla="*/ 1411627 w 4519987"/>
              <a:gd name="connsiteY107" fmla="*/ 190500 h 4476750"/>
              <a:gd name="connsiteX108" fmla="*/ 1449727 w 4519987"/>
              <a:gd name="connsiteY108" fmla="*/ 161925 h 4476750"/>
              <a:gd name="connsiteX109" fmla="*/ 1525927 w 4519987"/>
              <a:gd name="connsiteY109" fmla="*/ 152400 h 4476750"/>
              <a:gd name="connsiteX110" fmla="*/ 1583077 w 4519987"/>
              <a:gd name="connsiteY110" fmla="*/ 142875 h 4476750"/>
              <a:gd name="connsiteX111" fmla="*/ 1716427 w 4519987"/>
              <a:gd name="connsiteY111" fmla="*/ 123825 h 4476750"/>
              <a:gd name="connsiteX112" fmla="*/ 1811677 w 4519987"/>
              <a:gd name="connsiteY112" fmla="*/ 114300 h 4476750"/>
              <a:gd name="connsiteX113" fmla="*/ 1859302 w 4519987"/>
              <a:gd name="connsiteY113" fmla="*/ 104775 h 4476750"/>
              <a:gd name="connsiteX114" fmla="*/ 1916452 w 4519987"/>
              <a:gd name="connsiteY114" fmla="*/ 95250 h 4476750"/>
              <a:gd name="connsiteX115" fmla="*/ 2030752 w 4519987"/>
              <a:gd name="connsiteY115" fmla="*/ 66675 h 4476750"/>
              <a:gd name="connsiteX116" fmla="*/ 2097427 w 4519987"/>
              <a:gd name="connsiteY116" fmla="*/ 47625 h 4476750"/>
              <a:gd name="connsiteX117" fmla="*/ 2164102 w 4519987"/>
              <a:gd name="connsiteY117" fmla="*/ 38100 h 4476750"/>
              <a:gd name="connsiteX118" fmla="*/ 2392702 w 4519987"/>
              <a:gd name="connsiteY118" fmla="*/ 28575 h 4476750"/>
              <a:gd name="connsiteX0" fmla="*/ 2297452 w 4519987"/>
              <a:gd name="connsiteY0" fmla="*/ 0 h 4478541"/>
              <a:gd name="connsiteX1" fmla="*/ 2421277 w 4519987"/>
              <a:gd name="connsiteY1" fmla="*/ 28575 h 4478541"/>
              <a:gd name="connsiteX2" fmla="*/ 2497477 w 4519987"/>
              <a:gd name="connsiteY2" fmla="*/ 47625 h 4478541"/>
              <a:gd name="connsiteX3" fmla="*/ 2754652 w 4519987"/>
              <a:gd name="connsiteY3" fmla="*/ 66675 h 4478541"/>
              <a:gd name="connsiteX4" fmla="*/ 2830852 w 4519987"/>
              <a:gd name="connsiteY4" fmla="*/ 76200 h 4478541"/>
              <a:gd name="connsiteX5" fmla="*/ 2916577 w 4519987"/>
              <a:gd name="connsiteY5" fmla="*/ 85725 h 4478541"/>
              <a:gd name="connsiteX6" fmla="*/ 2973727 w 4519987"/>
              <a:gd name="connsiteY6" fmla="*/ 114300 h 4478541"/>
              <a:gd name="connsiteX7" fmla="*/ 3011827 w 4519987"/>
              <a:gd name="connsiteY7" fmla="*/ 123825 h 4478541"/>
              <a:gd name="connsiteX8" fmla="*/ 3135652 w 4519987"/>
              <a:gd name="connsiteY8" fmla="*/ 171450 h 4478541"/>
              <a:gd name="connsiteX9" fmla="*/ 3173752 w 4519987"/>
              <a:gd name="connsiteY9" fmla="*/ 190500 h 4478541"/>
              <a:gd name="connsiteX10" fmla="*/ 3240427 w 4519987"/>
              <a:gd name="connsiteY10" fmla="*/ 228600 h 4478541"/>
              <a:gd name="connsiteX11" fmla="*/ 3269002 w 4519987"/>
              <a:gd name="connsiteY11" fmla="*/ 238125 h 4478541"/>
              <a:gd name="connsiteX12" fmla="*/ 3297577 w 4519987"/>
              <a:gd name="connsiteY12" fmla="*/ 257175 h 4478541"/>
              <a:gd name="connsiteX13" fmla="*/ 3326152 w 4519987"/>
              <a:gd name="connsiteY13" fmla="*/ 266700 h 4478541"/>
              <a:gd name="connsiteX14" fmla="*/ 3354727 w 4519987"/>
              <a:gd name="connsiteY14" fmla="*/ 285750 h 4478541"/>
              <a:gd name="connsiteX15" fmla="*/ 3421402 w 4519987"/>
              <a:gd name="connsiteY15" fmla="*/ 323850 h 4478541"/>
              <a:gd name="connsiteX16" fmla="*/ 3469027 w 4519987"/>
              <a:gd name="connsiteY16" fmla="*/ 361950 h 4478541"/>
              <a:gd name="connsiteX17" fmla="*/ 3516652 w 4519987"/>
              <a:gd name="connsiteY17" fmla="*/ 390525 h 4478541"/>
              <a:gd name="connsiteX18" fmla="*/ 3630952 w 4519987"/>
              <a:gd name="connsiteY18" fmla="*/ 485775 h 4478541"/>
              <a:gd name="connsiteX19" fmla="*/ 3745252 w 4519987"/>
              <a:gd name="connsiteY19" fmla="*/ 542925 h 4478541"/>
              <a:gd name="connsiteX20" fmla="*/ 3811927 w 4519987"/>
              <a:gd name="connsiteY20" fmla="*/ 581025 h 4478541"/>
              <a:gd name="connsiteX21" fmla="*/ 4027827 w 4519987"/>
              <a:gd name="connsiteY21" fmla="*/ 819150 h 4478541"/>
              <a:gd name="connsiteX22" fmla="*/ 4164352 w 4519987"/>
              <a:gd name="connsiteY22" fmla="*/ 990600 h 4478541"/>
              <a:gd name="connsiteX23" fmla="*/ 4250077 w 4519987"/>
              <a:gd name="connsiteY23" fmla="*/ 1143000 h 4478541"/>
              <a:gd name="connsiteX24" fmla="*/ 4307227 w 4519987"/>
              <a:gd name="connsiteY24" fmla="*/ 1266825 h 4478541"/>
              <a:gd name="connsiteX25" fmla="*/ 4345327 w 4519987"/>
              <a:gd name="connsiteY25" fmla="*/ 1362075 h 4478541"/>
              <a:gd name="connsiteX26" fmla="*/ 4392952 w 4519987"/>
              <a:gd name="connsiteY26" fmla="*/ 1552575 h 4478541"/>
              <a:gd name="connsiteX27" fmla="*/ 4431052 w 4519987"/>
              <a:gd name="connsiteY27" fmla="*/ 1685925 h 4478541"/>
              <a:gd name="connsiteX28" fmla="*/ 4519952 w 4519987"/>
              <a:gd name="connsiteY28" fmla="*/ 2181225 h 4478541"/>
              <a:gd name="connsiteX29" fmla="*/ 4446927 w 4519987"/>
              <a:gd name="connsiteY29" fmla="*/ 2768600 h 4478541"/>
              <a:gd name="connsiteX30" fmla="*/ 4383427 w 4519987"/>
              <a:gd name="connsiteY30" fmla="*/ 2990850 h 4478541"/>
              <a:gd name="connsiteX31" fmla="*/ 4278652 w 4519987"/>
              <a:gd name="connsiteY31" fmla="*/ 3248025 h 4478541"/>
              <a:gd name="connsiteX32" fmla="*/ 4183402 w 4519987"/>
              <a:gd name="connsiteY32" fmla="*/ 3400425 h 4478541"/>
              <a:gd name="connsiteX33" fmla="*/ 4059577 w 4519987"/>
              <a:gd name="connsiteY33" fmla="*/ 3533775 h 4478541"/>
              <a:gd name="connsiteX34" fmla="*/ 3954802 w 4519987"/>
              <a:gd name="connsiteY34" fmla="*/ 3648075 h 4478541"/>
              <a:gd name="connsiteX35" fmla="*/ 3659527 w 4519987"/>
              <a:gd name="connsiteY35" fmla="*/ 3971925 h 4478541"/>
              <a:gd name="connsiteX36" fmla="*/ 3516652 w 4519987"/>
              <a:gd name="connsiteY36" fmla="*/ 4083050 h 4478541"/>
              <a:gd name="connsiteX37" fmla="*/ 3221377 w 4519987"/>
              <a:gd name="connsiteY37" fmla="*/ 4222750 h 4478541"/>
              <a:gd name="connsiteX38" fmla="*/ 3068977 w 4519987"/>
              <a:gd name="connsiteY38" fmla="*/ 4286250 h 4478541"/>
              <a:gd name="connsiteX39" fmla="*/ 2935627 w 4519987"/>
              <a:gd name="connsiteY39" fmla="*/ 4333875 h 4478541"/>
              <a:gd name="connsiteX40" fmla="*/ 2811802 w 4519987"/>
              <a:gd name="connsiteY40" fmla="*/ 4371975 h 4478541"/>
              <a:gd name="connsiteX41" fmla="*/ 2745127 w 4519987"/>
              <a:gd name="connsiteY41" fmla="*/ 4410075 h 4478541"/>
              <a:gd name="connsiteX42" fmla="*/ 2306977 w 4519987"/>
              <a:gd name="connsiteY42" fmla="*/ 4476750 h 4478541"/>
              <a:gd name="connsiteX43" fmla="*/ 2202202 w 4519987"/>
              <a:gd name="connsiteY43" fmla="*/ 4457700 h 4478541"/>
              <a:gd name="connsiteX44" fmla="*/ 2126002 w 4519987"/>
              <a:gd name="connsiteY44" fmla="*/ 4429125 h 4478541"/>
              <a:gd name="connsiteX45" fmla="*/ 1935502 w 4519987"/>
              <a:gd name="connsiteY45" fmla="*/ 4400550 h 4478541"/>
              <a:gd name="connsiteX46" fmla="*/ 1821202 w 4519987"/>
              <a:gd name="connsiteY46" fmla="*/ 4371975 h 4478541"/>
              <a:gd name="connsiteX47" fmla="*/ 1754527 w 4519987"/>
              <a:gd name="connsiteY47" fmla="*/ 4352925 h 4478541"/>
              <a:gd name="connsiteX48" fmla="*/ 1687852 w 4519987"/>
              <a:gd name="connsiteY48" fmla="*/ 4343400 h 4478541"/>
              <a:gd name="connsiteX49" fmla="*/ 1573552 w 4519987"/>
              <a:gd name="connsiteY49" fmla="*/ 4305300 h 4478541"/>
              <a:gd name="connsiteX50" fmla="*/ 1402102 w 4519987"/>
              <a:gd name="connsiteY50" fmla="*/ 4276725 h 4478541"/>
              <a:gd name="connsiteX51" fmla="*/ 1287802 w 4519987"/>
              <a:gd name="connsiteY51" fmla="*/ 4229100 h 4478541"/>
              <a:gd name="connsiteX52" fmla="*/ 1221127 w 4519987"/>
              <a:gd name="connsiteY52" fmla="*/ 4200525 h 4478541"/>
              <a:gd name="connsiteX53" fmla="*/ 1144927 w 4519987"/>
              <a:gd name="connsiteY53" fmla="*/ 4171950 h 4478541"/>
              <a:gd name="connsiteX54" fmla="*/ 1087777 w 4519987"/>
              <a:gd name="connsiteY54" fmla="*/ 4143375 h 4478541"/>
              <a:gd name="connsiteX55" fmla="*/ 1030627 w 4519987"/>
              <a:gd name="connsiteY55" fmla="*/ 4124325 h 4478541"/>
              <a:gd name="connsiteX56" fmla="*/ 925852 w 4519987"/>
              <a:gd name="connsiteY56" fmla="*/ 4067175 h 4478541"/>
              <a:gd name="connsiteX57" fmla="*/ 830602 w 4519987"/>
              <a:gd name="connsiteY57" fmla="*/ 3981450 h 4478541"/>
              <a:gd name="connsiteX58" fmla="*/ 763927 w 4519987"/>
              <a:gd name="connsiteY58" fmla="*/ 3914775 h 4478541"/>
              <a:gd name="connsiteX59" fmla="*/ 725827 w 4519987"/>
              <a:gd name="connsiteY59" fmla="*/ 3876675 h 4478541"/>
              <a:gd name="connsiteX60" fmla="*/ 697252 w 4519987"/>
              <a:gd name="connsiteY60" fmla="*/ 3838575 h 4478541"/>
              <a:gd name="connsiteX61" fmla="*/ 640102 w 4519987"/>
              <a:gd name="connsiteY61" fmla="*/ 3781425 h 4478541"/>
              <a:gd name="connsiteX62" fmla="*/ 611527 w 4519987"/>
              <a:gd name="connsiteY62" fmla="*/ 3733800 h 4478541"/>
              <a:gd name="connsiteX63" fmla="*/ 554377 w 4519987"/>
              <a:gd name="connsiteY63" fmla="*/ 3657600 h 4478541"/>
              <a:gd name="connsiteX64" fmla="*/ 525802 w 4519987"/>
              <a:gd name="connsiteY64" fmla="*/ 3609975 h 4478541"/>
              <a:gd name="connsiteX65" fmla="*/ 497227 w 4519987"/>
              <a:gd name="connsiteY65" fmla="*/ 3552825 h 4478541"/>
              <a:gd name="connsiteX66" fmla="*/ 440077 w 4519987"/>
              <a:gd name="connsiteY66" fmla="*/ 3495675 h 4478541"/>
              <a:gd name="connsiteX67" fmla="*/ 411502 w 4519987"/>
              <a:gd name="connsiteY67" fmla="*/ 3448050 h 4478541"/>
              <a:gd name="connsiteX68" fmla="*/ 278152 w 4519987"/>
              <a:gd name="connsiteY68" fmla="*/ 3257550 h 4478541"/>
              <a:gd name="connsiteX69" fmla="*/ 249577 w 4519987"/>
              <a:gd name="connsiteY69" fmla="*/ 3200400 h 4478541"/>
              <a:gd name="connsiteX70" fmla="*/ 240052 w 4519987"/>
              <a:gd name="connsiteY70" fmla="*/ 3162300 h 4478541"/>
              <a:gd name="connsiteX71" fmla="*/ 221002 w 4519987"/>
              <a:gd name="connsiteY71" fmla="*/ 3105150 h 4478541"/>
              <a:gd name="connsiteX72" fmla="*/ 173377 w 4519987"/>
              <a:gd name="connsiteY72" fmla="*/ 3019425 h 4478541"/>
              <a:gd name="connsiteX73" fmla="*/ 144802 w 4519987"/>
              <a:gd name="connsiteY73" fmla="*/ 2924175 h 4478541"/>
              <a:gd name="connsiteX74" fmla="*/ 68602 w 4519987"/>
              <a:gd name="connsiteY74" fmla="*/ 2724150 h 4478541"/>
              <a:gd name="connsiteX75" fmla="*/ 49552 w 4519987"/>
              <a:gd name="connsiteY75" fmla="*/ 2638425 h 4478541"/>
              <a:gd name="connsiteX76" fmla="*/ 40027 w 4519987"/>
              <a:gd name="connsiteY76" fmla="*/ 2562225 h 4478541"/>
              <a:gd name="connsiteX77" fmla="*/ 30502 w 4519987"/>
              <a:gd name="connsiteY77" fmla="*/ 2514600 h 4478541"/>
              <a:gd name="connsiteX78" fmla="*/ 11452 w 4519987"/>
              <a:gd name="connsiteY78" fmla="*/ 2400300 h 4478541"/>
              <a:gd name="connsiteX79" fmla="*/ 20977 w 4519987"/>
              <a:gd name="connsiteY79" fmla="*/ 1905000 h 4478541"/>
              <a:gd name="connsiteX80" fmla="*/ 30502 w 4519987"/>
              <a:gd name="connsiteY80" fmla="*/ 1838325 h 4478541"/>
              <a:gd name="connsiteX81" fmla="*/ 49552 w 4519987"/>
              <a:gd name="connsiteY81" fmla="*/ 1781175 h 4478541"/>
              <a:gd name="connsiteX82" fmla="*/ 59077 w 4519987"/>
              <a:gd name="connsiteY82" fmla="*/ 1743075 h 4478541"/>
              <a:gd name="connsiteX83" fmla="*/ 78127 w 4519987"/>
              <a:gd name="connsiteY83" fmla="*/ 1685925 h 4478541"/>
              <a:gd name="connsiteX84" fmla="*/ 87652 w 4519987"/>
              <a:gd name="connsiteY84" fmla="*/ 1638300 h 4478541"/>
              <a:gd name="connsiteX85" fmla="*/ 106702 w 4519987"/>
              <a:gd name="connsiteY85" fmla="*/ 1590675 h 4478541"/>
              <a:gd name="connsiteX86" fmla="*/ 135277 w 4519987"/>
              <a:gd name="connsiteY86" fmla="*/ 1504950 h 4478541"/>
              <a:gd name="connsiteX87" fmla="*/ 154327 w 4519987"/>
              <a:gd name="connsiteY87" fmla="*/ 1419225 h 4478541"/>
              <a:gd name="connsiteX88" fmla="*/ 230527 w 4519987"/>
              <a:gd name="connsiteY88" fmla="*/ 1276350 h 4478541"/>
              <a:gd name="connsiteX89" fmla="*/ 240052 w 4519987"/>
              <a:gd name="connsiteY89" fmla="*/ 1247775 h 4478541"/>
              <a:gd name="connsiteX90" fmla="*/ 268627 w 4519987"/>
              <a:gd name="connsiteY90" fmla="*/ 1200150 h 4478541"/>
              <a:gd name="connsiteX91" fmla="*/ 287677 w 4519987"/>
              <a:gd name="connsiteY91" fmla="*/ 1152525 h 4478541"/>
              <a:gd name="connsiteX92" fmla="*/ 316252 w 4519987"/>
              <a:gd name="connsiteY92" fmla="*/ 1114425 h 4478541"/>
              <a:gd name="connsiteX93" fmla="*/ 363877 w 4519987"/>
              <a:gd name="connsiteY93" fmla="*/ 1038225 h 4478541"/>
              <a:gd name="connsiteX94" fmla="*/ 382927 w 4519987"/>
              <a:gd name="connsiteY94" fmla="*/ 1009650 h 4478541"/>
              <a:gd name="connsiteX95" fmla="*/ 440077 w 4519987"/>
              <a:gd name="connsiteY95" fmla="*/ 904875 h 4478541"/>
              <a:gd name="connsiteX96" fmla="*/ 478177 w 4519987"/>
              <a:gd name="connsiteY96" fmla="*/ 857250 h 4478541"/>
              <a:gd name="connsiteX97" fmla="*/ 497227 w 4519987"/>
              <a:gd name="connsiteY97" fmla="*/ 828675 h 4478541"/>
              <a:gd name="connsiteX98" fmla="*/ 535327 w 4519987"/>
              <a:gd name="connsiteY98" fmla="*/ 800100 h 4478541"/>
              <a:gd name="connsiteX99" fmla="*/ 602002 w 4519987"/>
              <a:gd name="connsiteY99" fmla="*/ 733425 h 4478541"/>
              <a:gd name="connsiteX100" fmla="*/ 668677 w 4519987"/>
              <a:gd name="connsiteY100" fmla="*/ 676275 h 4478541"/>
              <a:gd name="connsiteX101" fmla="*/ 697252 w 4519987"/>
              <a:gd name="connsiteY101" fmla="*/ 657225 h 4478541"/>
              <a:gd name="connsiteX102" fmla="*/ 840127 w 4519987"/>
              <a:gd name="connsiteY102" fmla="*/ 533400 h 4478541"/>
              <a:gd name="connsiteX103" fmla="*/ 887752 w 4519987"/>
              <a:gd name="connsiteY103" fmla="*/ 504825 h 4478541"/>
              <a:gd name="connsiteX104" fmla="*/ 1167152 w 4519987"/>
              <a:gd name="connsiteY104" fmla="*/ 311150 h 4478541"/>
              <a:gd name="connsiteX105" fmla="*/ 1268752 w 4519987"/>
              <a:gd name="connsiteY105" fmla="*/ 285750 h 4478541"/>
              <a:gd name="connsiteX106" fmla="*/ 1411627 w 4519987"/>
              <a:gd name="connsiteY106" fmla="*/ 190500 h 4478541"/>
              <a:gd name="connsiteX107" fmla="*/ 1449727 w 4519987"/>
              <a:gd name="connsiteY107" fmla="*/ 161925 h 4478541"/>
              <a:gd name="connsiteX108" fmla="*/ 1525927 w 4519987"/>
              <a:gd name="connsiteY108" fmla="*/ 152400 h 4478541"/>
              <a:gd name="connsiteX109" fmla="*/ 1583077 w 4519987"/>
              <a:gd name="connsiteY109" fmla="*/ 142875 h 4478541"/>
              <a:gd name="connsiteX110" fmla="*/ 1716427 w 4519987"/>
              <a:gd name="connsiteY110" fmla="*/ 123825 h 4478541"/>
              <a:gd name="connsiteX111" fmla="*/ 1811677 w 4519987"/>
              <a:gd name="connsiteY111" fmla="*/ 114300 h 4478541"/>
              <a:gd name="connsiteX112" fmla="*/ 1859302 w 4519987"/>
              <a:gd name="connsiteY112" fmla="*/ 104775 h 4478541"/>
              <a:gd name="connsiteX113" fmla="*/ 1916452 w 4519987"/>
              <a:gd name="connsiteY113" fmla="*/ 95250 h 4478541"/>
              <a:gd name="connsiteX114" fmla="*/ 2030752 w 4519987"/>
              <a:gd name="connsiteY114" fmla="*/ 66675 h 4478541"/>
              <a:gd name="connsiteX115" fmla="*/ 2097427 w 4519987"/>
              <a:gd name="connsiteY115" fmla="*/ 47625 h 4478541"/>
              <a:gd name="connsiteX116" fmla="*/ 2164102 w 4519987"/>
              <a:gd name="connsiteY116" fmla="*/ 38100 h 4478541"/>
              <a:gd name="connsiteX117" fmla="*/ 2392702 w 4519987"/>
              <a:gd name="connsiteY117" fmla="*/ 28575 h 4478541"/>
              <a:gd name="connsiteX0" fmla="*/ 2297452 w 4519987"/>
              <a:gd name="connsiteY0" fmla="*/ 0 h 4476750"/>
              <a:gd name="connsiteX1" fmla="*/ 2421277 w 4519987"/>
              <a:gd name="connsiteY1" fmla="*/ 28575 h 4476750"/>
              <a:gd name="connsiteX2" fmla="*/ 2497477 w 4519987"/>
              <a:gd name="connsiteY2" fmla="*/ 47625 h 4476750"/>
              <a:gd name="connsiteX3" fmla="*/ 2754652 w 4519987"/>
              <a:gd name="connsiteY3" fmla="*/ 66675 h 4476750"/>
              <a:gd name="connsiteX4" fmla="*/ 2830852 w 4519987"/>
              <a:gd name="connsiteY4" fmla="*/ 76200 h 4476750"/>
              <a:gd name="connsiteX5" fmla="*/ 2916577 w 4519987"/>
              <a:gd name="connsiteY5" fmla="*/ 85725 h 4476750"/>
              <a:gd name="connsiteX6" fmla="*/ 2973727 w 4519987"/>
              <a:gd name="connsiteY6" fmla="*/ 114300 h 4476750"/>
              <a:gd name="connsiteX7" fmla="*/ 3011827 w 4519987"/>
              <a:gd name="connsiteY7" fmla="*/ 123825 h 4476750"/>
              <a:gd name="connsiteX8" fmla="*/ 3135652 w 4519987"/>
              <a:gd name="connsiteY8" fmla="*/ 171450 h 4476750"/>
              <a:gd name="connsiteX9" fmla="*/ 3173752 w 4519987"/>
              <a:gd name="connsiteY9" fmla="*/ 190500 h 4476750"/>
              <a:gd name="connsiteX10" fmla="*/ 3240427 w 4519987"/>
              <a:gd name="connsiteY10" fmla="*/ 228600 h 4476750"/>
              <a:gd name="connsiteX11" fmla="*/ 3269002 w 4519987"/>
              <a:gd name="connsiteY11" fmla="*/ 238125 h 4476750"/>
              <a:gd name="connsiteX12" fmla="*/ 3297577 w 4519987"/>
              <a:gd name="connsiteY12" fmla="*/ 257175 h 4476750"/>
              <a:gd name="connsiteX13" fmla="*/ 3326152 w 4519987"/>
              <a:gd name="connsiteY13" fmla="*/ 266700 h 4476750"/>
              <a:gd name="connsiteX14" fmla="*/ 3354727 w 4519987"/>
              <a:gd name="connsiteY14" fmla="*/ 285750 h 4476750"/>
              <a:gd name="connsiteX15" fmla="*/ 3421402 w 4519987"/>
              <a:gd name="connsiteY15" fmla="*/ 323850 h 4476750"/>
              <a:gd name="connsiteX16" fmla="*/ 3469027 w 4519987"/>
              <a:gd name="connsiteY16" fmla="*/ 361950 h 4476750"/>
              <a:gd name="connsiteX17" fmla="*/ 3516652 w 4519987"/>
              <a:gd name="connsiteY17" fmla="*/ 390525 h 4476750"/>
              <a:gd name="connsiteX18" fmla="*/ 3630952 w 4519987"/>
              <a:gd name="connsiteY18" fmla="*/ 485775 h 4476750"/>
              <a:gd name="connsiteX19" fmla="*/ 3745252 w 4519987"/>
              <a:gd name="connsiteY19" fmla="*/ 542925 h 4476750"/>
              <a:gd name="connsiteX20" fmla="*/ 3811927 w 4519987"/>
              <a:gd name="connsiteY20" fmla="*/ 581025 h 4476750"/>
              <a:gd name="connsiteX21" fmla="*/ 4027827 w 4519987"/>
              <a:gd name="connsiteY21" fmla="*/ 819150 h 4476750"/>
              <a:gd name="connsiteX22" fmla="*/ 4164352 w 4519987"/>
              <a:gd name="connsiteY22" fmla="*/ 990600 h 4476750"/>
              <a:gd name="connsiteX23" fmla="*/ 4250077 w 4519987"/>
              <a:gd name="connsiteY23" fmla="*/ 1143000 h 4476750"/>
              <a:gd name="connsiteX24" fmla="*/ 4307227 w 4519987"/>
              <a:gd name="connsiteY24" fmla="*/ 1266825 h 4476750"/>
              <a:gd name="connsiteX25" fmla="*/ 4345327 w 4519987"/>
              <a:gd name="connsiteY25" fmla="*/ 1362075 h 4476750"/>
              <a:gd name="connsiteX26" fmla="*/ 4392952 w 4519987"/>
              <a:gd name="connsiteY26" fmla="*/ 1552575 h 4476750"/>
              <a:gd name="connsiteX27" fmla="*/ 4431052 w 4519987"/>
              <a:gd name="connsiteY27" fmla="*/ 1685925 h 4476750"/>
              <a:gd name="connsiteX28" fmla="*/ 4519952 w 4519987"/>
              <a:gd name="connsiteY28" fmla="*/ 2181225 h 4476750"/>
              <a:gd name="connsiteX29" fmla="*/ 4446927 w 4519987"/>
              <a:gd name="connsiteY29" fmla="*/ 2768600 h 4476750"/>
              <a:gd name="connsiteX30" fmla="*/ 4383427 w 4519987"/>
              <a:gd name="connsiteY30" fmla="*/ 2990850 h 4476750"/>
              <a:gd name="connsiteX31" fmla="*/ 4278652 w 4519987"/>
              <a:gd name="connsiteY31" fmla="*/ 3248025 h 4476750"/>
              <a:gd name="connsiteX32" fmla="*/ 4183402 w 4519987"/>
              <a:gd name="connsiteY32" fmla="*/ 3400425 h 4476750"/>
              <a:gd name="connsiteX33" fmla="*/ 4059577 w 4519987"/>
              <a:gd name="connsiteY33" fmla="*/ 3533775 h 4476750"/>
              <a:gd name="connsiteX34" fmla="*/ 3954802 w 4519987"/>
              <a:gd name="connsiteY34" fmla="*/ 3648075 h 4476750"/>
              <a:gd name="connsiteX35" fmla="*/ 3659527 w 4519987"/>
              <a:gd name="connsiteY35" fmla="*/ 3971925 h 4476750"/>
              <a:gd name="connsiteX36" fmla="*/ 3516652 w 4519987"/>
              <a:gd name="connsiteY36" fmla="*/ 4083050 h 4476750"/>
              <a:gd name="connsiteX37" fmla="*/ 3221377 w 4519987"/>
              <a:gd name="connsiteY37" fmla="*/ 4222750 h 4476750"/>
              <a:gd name="connsiteX38" fmla="*/ 3068977 w 4519987"/>
              <a:gd name="connsiteY38" fmla="*/ 4286250 h 4476750"/>
              <a:gd name="connsiteX39" fmla="*/ 2935627 w 4519987"/>
              <a:gd name="connsiteY39" fmla="*/ 4333875 h 4476750"/>
              <a:gd name="connsiteX40" fmla="*/ 2811802 w 4519987"/>
              <a:gd name="connsiteY40" fmla="*/ 4371975 h 4476750"/>
              <a:gd name="connsiteX41" fmla="*/ 2580027 w 4519987"/>
              <a:gd name="connsiteY41" fmla="*/ 4391025 h 4476750"/>
              <a:gd name="connsiteX42" fmla="*/ 2306977 w 4519987"/>
              <a:gd name="connsiteY42" fmla="*/ 4476750 h 4476750"/>
              <a:gd name="connsiteX43" fmla="*/ 2202202 w 4519987"/>
              <a:gd name="connsiteY43" fmla="*/ 4457700 h 4476750"/>
              <a:gd name="connsiteX44" fmla="*/ 2126002 w 4519987"/>
              <a:gd name="connsiteY44" fmla="*/ 4429125 h 4476750"/>
              <a:gd name="connsiteX45" fmla="*/ 1935502 w 4519987"/>
              <a:gd name="connsiteY45" fmla="*/ 4400550 h 4476750"/>
              <a:gd name="connsiteX46" fmla="*/ 1821202 w 4519987"/>
              <a:gd name="connsiteY46" fmla="*/ 4371975 h 4476750"/>
              <a:gd name="connsiteX47" fmla="*/ 1754527 w 4519987"/>
              <a:gd name="connsiteY47" fmla="*/ 4352925 h 4476750"/>
              <a:gd name="connsiteX48" fmla="*/ 1687852 w 4519987"/>
              <a:gd name="connsiteY48" fmla="*/ 4343400 h 4476750"/>
              <a:gd name="connsiteX49" fmla="*/ 1573552 w 4519987"/>
              <a:gd name="connsiteY49" fmla="*/ 4305300 h 4476750"/>
              <a:gd name="connsiteX50" fmla="*/ 1402102 w 4519987"/>
              <a:gd name="connsiteY50" fmla="*/ 4276725 h 4476750"/>
              <a:gd name="connsiteX51" fmla="*/ 1287802 w 4519987"/>
              <a:gd name="connsiteY51" fmla="*/ 4229100 h 4476750"/>
              <a:gd name="connsiteX52" fmla="*/ 1221127 w 4519987"/>
              <a:gd name="connsiteY52" fmla="*/ 4200525 h 4476750"/>
              <a:gd name="connsiteX53" fmla="*/ 1144927 w 4519987"/>
              <a:gd name="connsiteY53" fmla="*/ 4171950 h 4476750"/>
              <a:gd name="connsiteX54" fmla="*/ 1087777 w 4519987"/>
              <a:gd name="connsiteY54" fmla="*/ 4143375 h 4476750"/>
              <a:gd name="connsiteX55" fmla="*/ 1030627 w 4519987"/>
              <a:gd name="connsiteY55" fmla="*/ 4124325 h 4476750"/>
              <a:gd name="connsiteX56" fmla="*/ 925852 w 4519987"/>
              <a:gd name="connsiteY56" fmla="*/ 4067175 h 4476750"/>
              <a:gd name="connsiteX57" fmla="*/ 830602 w 4519987"/>
              <a:gd name="connsiteY57" fmla="*/ 3981450 h 4476750"/>
              <a:gd name="connsiteX58" fmla="*/ 763927 w 4519987"/>
              <a:gd name="connsiteY58" fmla="*/ 3914775 h 4476750"/>
              <a:gd name="connsiteX59" fmla="*/ 725827 w 4519987"/>
              <a:gd name="connsiteY59" fmla="*/ 3876675 h 4476750"/>
              <a:gd name="connsiteX60" fmla="*/ 697252 w 4519987"/>
              <a:gd name="connsiteY60" fmla="*/ 3838575 h 4476750"/>
              <a:gd name="connsiteX61" fmla="*/ 640102 w 4519987"/>
              <a:gd name="connsiteY61" fmla="*/ 3781425 h 4476750"/>
              <a:gd name="connsiteX62" fmla="*/ 611527 w 4519987"/>
              <a:gd name="connsiteY62" fmla="*/ 3733800 h 4476750"/>
              <a:gd name="connsiteX63" fmla="*/ 554377 w 4519987"/>
              <a:gd name="connsiteY63" fmla="*/ 3657600 h 4476750"/>
              <a:gd name="connsiteX64" fmla="*/ 525802 w 4519987"/>
              <a:gd name="connsiteY64" fmla="*/ 3609975 h 4476750"/>
              <a:gd name="connsiteX65" fmla="*/ 497227 w 4519987"/>
              <a:gd name="connsiteY65" fmla="*/ 3552825 h 4476750"/>
              <a:gd name="connsiteX66" fmla="*/ 440077 w 4519987"/>
              <a:gd name="connsiteY66" fmla="*/ 3495675 h 4476750"/>
              <a:gd name="connsiteX67" fmla="*/ 411502 w 4519987"/>
              <a:gd name="connsiteY67" fmla="*/ 3448050 h 4476750"/>
              <a:gd name="connsiteX68" fmla="*/ 278152 w 4519987"/>
              <a:gd name="connsiteY68" fmla="*/ 3257550 h 4476750"/>
              <a:gd name="connsiteX69" fmla="*/ 249577 w 4519987"/>
              <a:gd name="connsiteY69" fmla="*/ 3200400 h 4476750"/>
              <a:gd name="connsiteX70" fmla="*/ 240052 w 4519987"/>
              <a:gd name="connsiteY70" fmla="*/ 3162300 h 4476750"/>
              <a:gd name="connsiteX71" fmla="*/ 221002 w 4519987"/>
              <a:gd name="connsiteY71" fmla="*/ 3105150 h 4476750"/>
              <a:gd name="connsiteX72" fmla="*/ 173377 w 4519987"/>
              <a:gd name="connsiteY72" fmla="*/ 3019425 h 4476750"/>
              <a:gd name="connsiteX73" fmla="*/ 144802 w 4519987"/>
              <a:gd name="connsiteY73" fmla="*/ 2924175 h 4476750"/>
              <a:gd name="connsiteX74" fmla="*/ 68602 w 4519987"/>
              <a:gd name="connsiteY74" fmla="*/ 2724150 h 4476750"/>
              <a:gd name="connsiteX75" fmla="*/ 49552 w 4519987"/>
              <a:gd name="connsiteY75" fmla="*/ 2638425 h 4476750"/>
              <a:gd name="connsiteX76" fmla="*/ 40027 w 4519987"/>
              <a:gd name="connsiteY76" fmla="*/ 2562225 h 4476750"/>
              <a:gd name="connsiteX77" fmla="*/ 30502 w 4519987"/>
              <a:gd name="connsiteY77" fmla="*/ 2514600 h 4476750"/>
              <a:gd name="connsiteX78" fmla="*/ 11452 w 4519987"/>
              <a:gd name="connsiteY78" fmla="*/ 2400300 h 4476750"/>
              <a:gd name="connsiteX79" fmla="*/ 20977 w 4519987"/>
              <a:gd name="connsiteY79" fmla="*/ 1905000 h 4476750"/>
              <a:gd name="connsiteX80" fmla="*/ 30502 w 4519987"/>
              <a:gd name="connsiteY80" fmla="*/ 1838325 h 4476750"/>
              <a:gd name="connsiteX81" fmla="*/ 49552 w 4519987"/>
              <a:gd name="connsiteY81" fmla="*/ 1781175 h 4476750"/>
              <a:gd name="connsiteX82" fmla="*/ 59077 w 4519987"/>
              <a:gd name="connsiteY82" fmla="*/ 1743075 h 4476750"/>
              <a:gd name="connsiteX83" fmla="*/ 78127 w 4519987"/>
              <a:gd name="connsiteY83" fmla="*/ 1685925 h 4476750"/>
              <a:gd name="connsiteX84" fmla="*/ 87652 w 4519987"/>
              <a:gd name="connsiteY84" fmla="*/ 1638300 h 4476750"/>
              <a:gd name="connsiteX85" fmla="*/ 106702 w 4519987"/>
              <a:gd name="connsiteY85" fmla="*/ 1590675 h 4476750"/>
              <a:gd name="connsiteX86" fmla="*/ 135277 w 4519987"/>
              <a:gd name="connsiteY86" fmla="*/ 1504950 h 4476750"/>
              <a:gd name="connsiteX87" fmla="*/ 154327 w 4519987"/>
              <a:gd name="connsiteY87" fmla="*/ 1419225 h 4476750"/>
              <a:gd name="connsiteX88" fmla="*/ 230527 w 4519987"/>
              <a:gd name="connsiteY88" fmla="*/ 1276350 h 4476750"/>
              <a:gd name="connsiteX89" fmla="*/ 240052 w 4519987"/>
              <a:gd name="connsiteY89" fmla="*/ 1247775 h 4476750"/>
              <a:gd name="connsiteX90" fmla="*/ 268627 w 4519987"/>
              <a:gd name="connsiteY90" fmla="*/ 1200150 h 4476750"/>
              <a:gd name="connsiteX91" fmla="*/ 287677 w 4519987"/>
              <a:gd name="connsiteY91" fmla="*/ 1152525 h 4476750"/>
              <a:gd name="connsiteX92" fmla="*/ 316252 w 4519987"/>
              <a:gd name="connsiteY92" fmla="*/ 1114425 h 4476750"/>
              <a:gd name="connsiteX93" fmla="*/ 363877 w 4519987"/>
              <a:gd name="connsiteY93" fmla="*/ 1038225 h 4476750"/>
              <a:gd name="connsiteX94" fmla="*/ 382927 w 4519987"/>
              <a:gd name="connsiteY94" fmla="*/ 1009650 h 4476750"/>
              <a:gd name="connsiteX95" fmla="*/ 440077 w 4519987"/>
              <a:gd name="connsiteY95" fmla="*/ 904875 h 4476750"/>
              <a:gd name="connsiteX96" fmla="*/ 478177 w 4519987"/>
              <a:gd name="connsiteY96" fmla="*/ 857250 h 4476750"/>
              <a:gd name="connsiteX97" fmla="*/ 497227 w 4519987"/>
              <a:gd name="connsiteY97" fmla="*/ 828675 h 4476750"/>
              <a:gd name="connsiteX98" fmla="*/ 535327 w 4519987"/>
              <a:gd name="connsiteY98" fmla="*/ 800100 h 4476750"/>
              <a:gd name="connsiteX99" fmla="*/ 602002 w 4519987"/>
              <a:gd name="connsiteY99" fmla="*/ 733425 h 4476750"/>
              <a:gd name="connsiteX100" fmla="*/ 668677 w 4519987"/>
              <a:gd name="connsiteY100" fmla="*/ 676275 h 4476750"/>
              <a:gd name="connsiteX101" fmla="*/ 697252 w 4519987"/>
              <a:gd name="connsiteY101" fmla="*/ 657225 h 4476750"/>
              <a:gd name="connsiteX102" fmla="*/ 840127 w 4519987"/>
              <a:gd name="connsiteY102" fmla="*/ 533400 h 4476750"/>
              <a:gd name="connsiteX103" fmla="*/ 887752 w 4519987"/>
              <a:gd name="connsiteY103" fmla="*/ 504825 h 4476750"/>
              <a:gd name="connsiteX104" fmla="*/ 1167152 w 4519987"/>
              <a:gd name="connsiteY104" fmla="*/ 311150 h 4476750"/>
              <a:gd name="connsiteX105" fmla="*/ 1268752 w 4519987"/>
              <a:gd name="connsiteY105" fmla="*/ 285750 h 4476750"/>
              <a:gd name="connsiteX106" fmla="*/ 1411627 w 4519987"/>
              <a:gd name="connsiteY106" fmla="*/ 190500 h 4476750"/>
              <a:gd name="connsiteX107" fmla="*/ 1449727 w 4519987"/>
              <a:gd name="connsiteY107" fmla="*/ 161925 h 4476750"/>
              <a:gd name="connsiteX108" fmla="*/ 1525927 w 4519987"/>
              <a:gd name="connsiteY108" fmla="*/ 152400 h 4476750"/>
              <a:gd name="connsiteX109" fmla="*/ 1583077 w 4519987"/>
              <a:gd name="connsiteY109" fmla="*/ 142875 h 4476750"/>
              <a:gd name="connsiteX110" fmla="*/ 1716427 w 4519987"/>
              <a:gd name="connsiteY110" fmla="*/ 123825 h 4476750"/>
              <a:gd name="connsiteX111" fmla="*/ 1811677 w 4519987"/>
              <a:gd name="connsiteY111" fmla="*/ 114300 h 4476750"/>
              <a:gd name="connsiteX112" fmla="*/ 1859302 w 4519987"/>
              <a:gd name="connsiteY112" fmla="*/ 104775 h 4476750"/>
              <a:gd name="connsiteX113" fmla="*/ 1916452 w 4519987"/>
              <a:gd name="connsiteY113" fmla="*/ 95250 h 4476750"/>
              <a:gd name="connsiteX114" fmla="*/ 2030752 w 4519987"/>
              <a:gd name="connsiteY114" fmla="*/ 66675 h 4476750"/>
              <a:gd name="connsiteX115" fmla="*/ 2097427 w 4519987"/>
              <a:gd name="connsiteY115" fmla="*/ 47625 h 4476750"/>
              <a:gd name="connsiteX116" fmla="*/ 2164102 w 4519987"/>
              <a:gd name="connsiteY116" fmla="*/ 38100 h 4476750"/>
              <a:gd name="connsiteX117" fmla="*/ 2392702 w 4519987"/>
              <a:gd name="connsiteY117" fmla="*/ 28575 h 4476750"/>
              <a:gd name="connsiteX0" fmla="*/ 2297452 w 4519987"/>
              <a:gd name="connsiteY0" fmla="*/ 0 h 4457700"/>
              <a:gd name="connsiteX1" fmla="*/ 2421277 w 4519987"/>
              <a:gd name="connsiteY1" fmla="*/ 28575 h 4457700"/>
              <a:gd name="connsiteX2" fmla="*/ 2497477 w 4519987"/>
              <a:gd name="connsiteY2" fmla="*/ 47625 h 4457700"/>
              <a:gd name="connsiteX3" fmla="*/ 2754652 w 4519987"/>
              <a:gd name="connsiteY3" fmla="*/ 66675 h 4457700"/>
              <a:gd name="connsiteX4" fmla="*/ 2830852 w 4519987"/>
              <a:gd name="connsiteY4" fmla="*/ 76200 h 4457700"/>
              <a:gd name="connsiteX5" fmla="*/ 2916577 w 4519987"/>
              <a:gd name="connsiteY5" fmla="*/ 85725 h 4457700"/>
              <a:gd name="connsiteX6" fmla="*/ 2973727 w 4519987"/>
              <a:gd name="connsiteY6" fmla="*/ 114300 h 4457700"/>
              <a:gd name="connsiteX7" fmla="*/ 3011827 w 4519987"/>
              <a:gd name="connsiteY7" fmla="*/ 123825 h 4457700"/>
              <a:gd name="connsiteX8" fmla="*/ 3135652 w 4519987"/>
              <a:gd name="connsiteY8" fmla="*/ 171450 h 4457700"/>
              <a:gd name="connsiteX9" fmla="*/ 3173752 w 4519987"/>
              <a:gd name="connsiteY9" fmla="*/ 190500 h 4457700"/>
              <a:gd name="connsiteX10" fmla="*/ 3240427 w 4519987"/>
              <a:gd name="connsiteY10" fmla="*/ 228600 h 4457700"/>
              <a:gd name="connsiteX11" fmla="*/ 3269002 w 4519987"/>
              <a:gd name="connsiteY11" fmla="*/ 238125 h 4457700"/>
              <a:gd name="connsiteX12" fmla="*/ 3297577 w 4519987"/>
              <a:gd name="connsiteY12" fmla="*/ 257175 h 4457700"/>
              <a:gd name="connsiteX13" fmla="*/ 3326152 w 4519987"/>
              <a:gd name="connsiteY13" fmla="*/ 266700 h 4457700"/>
              <a:gd name="connsiteX14" fmla="*/ 3354727 w 4519987"/>
              <a:gd name="connsiteY14" fmla="*/ 285750 h 4457700"/>
              <a:gd name="connsiteX15" fmla="*/ 3421402 w 4519987"/>
              <a:gd name="connsiteY15" fmla="*/ 323850 h 4457700"/>
              <a:gd name="connsiteX16" fmla="*/ 3469027 w 4519987"/>
              <a:gd name="connsiteY16" fmla="*/ 361950 h 4457700"/>
              <a:gd name="connsiteX17" fmla="*/ 3516652 w 4519987"/>
              <a:gd name="connsiteY17" fmla="*/ 390525 h 4457700"/>
              <a:gd name="connsiteX18" fmla="*/ 3630952 w 4519987"/>
              <a:gd name="connsiteY18" fmla="*/ 485775 h 4457700"/>
              <a:gd name="connsiteX19" fmla="*/ 3745252 w 4519987"/>
              <a:gd name="connsiteY19" fmla="*/ 542925 h 4457700"/>
              <a:gd name="connsiteX20" fmla="*/ 3811927 w 4519987"/>
              <a:gd name="connsiteY20" fmla="*/ 581025 h 4457700"/>
              <a:gd name="connsiteX21" fmla="*/ 4027827 w 4519987"/>
              <a:gd name="connsiteY21" fmla="*/ 819150 h 4457700"/>
              <a:gd name="connsiteX22" fmla="*/ 4164352 w 4519987"/>
              <a:gd name="connsiteY22" fmla="*/ 990600 h 4457700"/>
              <a:gd name="connsiteX23" fmla="*/ 4250077 w 4519987"/>
              <a:gd name="connsiteY23" fmla="*/ 1143000 h 4457700"/>
              <a:gd name="connsiteX24" fmla="*/ 4307227 w 4519987"/>
              <a:gd name="connsiteY24" fmla="*/ 1266825 h 4457700"/>
              <a:gd name="connsiteX25" fmla="*/ 4345327 w 4519987"/>
              <a:gd name="connsiteY25" fmla="*/ 1362075 h 4457700"/>
              <a:gd name="connsiteX26" fmla="*/ 4392952 w 4519987"/>
              <a:gd name="connsiteY26" fmla="*/ 1552575 h 4457700"/>
              <a:gd name="connsiteX27" fmla="*/ 4431052 w 4519987"/>
              <a:gd name="connsiteY27" fmla="*/ 1685925 h 4457700"/>
              <a:gd name="connsiteX28" fmla="*/ 4519952 w 4519987"/>
              <a:gd name="connsiteY28" fmla="*/ 2181225 h 4457700"/>
              <a:gd name="connsiteX29" fmla="*/ 4446927 w 4519987"/>
              <a:gd name="connsiteY29" fmla="*/ 2768600 h 4457700"/>
              <a:gd name="connsiteX30" fmla="*/ 4383427 w 4519987"/>
              <a:gd name="connsiteY30" fmla="*/ 2990850 h 4457700"/>
              <a:gd name="connsiteX31" fmla="*/ 4278652 w 4519987"/>
              <a:gd name="connsiteY31" fmla="*/ 3248025 h 4457700"/>
              <a:gd name="connsiteX32" fmla="*/ 4183402 w 4519987"/>
              <a:gd name="connsiteY32" fmla="*/ 3400425 h 4457700"/>
              <a:gd name="connsiteX33" fmla="*/ 4059577 w 4519987"/>
              <a:gd name="connsiteY33" fmla="*/ 3533775 h 4457700"/>
              <a:gd name="connsiteX34" fmla="*/ 3954802 w 4519987"/>
              <a:gd name="connsiteY34" fmla="*/ 3648075 h 4457700"/>
              <a:gd name="connsiteX35" fmla="*/ 3659527 w 4519987"/>
              <a:gd name="connsiteY35" fmla="*/ 3971925 h 4457700"/>
              <a:gd name="connsiteX36" fmla="*/ 3516652 w 4519987"/>
              <a:gd name="connsiteY36" fmla="*/ 4083050 h 4457700"/>
              <a:gd name="connsiteX37" fmla="*/ 3221377 w 4519987"/>
              <a:gd name="connsiteY37" fmla="*/ 4222750 h 4457700"/>
              <a:gd name="connsiteX38" fmla="*/ 3068977 w 4519987"/>
              <a:gd name="connsiteY38" fmla="*/ 4286250 h 4457700"/>
              <a:gd name="connsiteX39" fmla="*/ 2935627 w 4519987"/>
              <a:gd name="connsiteY39" fmla="*/ 4333875 h 4457700"/>
              <a:gd name="connsiteX40" fmla="*/ 2811802 w 4519987"/>
              <a:gd name="connsiteY40" fmla="*/ 4371975 h 4457700"/>
              <a:gd name="connsiteX41" fmla="*/ 2580027 w 4519987"/>
              <a:gd name="connsiteY41" fmla="*/ 4391025 h 4457700"/>
              <a:gd name="connsiteX42" fmla="*/ 2202202 w 4519987"/>
              <a:gd name="connsiteY42" fmla="*/ 4457700 h 4457700"/>
              <a:gd name="connsiteX43" fmla="*/ 2126002 w 4519987"/>
              <a:gd name="connsiteY43" fmla="*/ 4429125 h 4457700"/>
              <a:gd name="connsiteX44" fmla="*/ 1935502 w 4519987"/>
              <a:gd name="connsiteY44" fmla="*/ 4400550 h 4457700"/>
              <a:gd name="connsiteX45" fmla="*/ 1821202 w 4519987"/>
              <a:gd name="connsiteY45" fmla="*/ 4371975 h 4457700"/>
              <a:gd name="connsiteX46" fmla="*/ 1754527 w 4519987"/>
              <a:gd name="connsiteY46" fmla="*/ 4352925 h 4457700"/>
              <a:gd name="connsiteX47" fmla="*/ 1687852 w 4519987"/>
              <a:gd name="connsiteY47" fmla="*/ 4343400 h 4457700"/>
              <a:gd name="connsiteX48" fmla="*/ 1573552 w 4519987"/>
              <a:gd name="connsiteY48" fmla="*/ 4305300 h 4457700"/>
              <a:gd name="connsiteX49" fmla="*/ 1402102 w 4519987"/>
              <a:gd name="connsiteY49" fmla="*/ 4276725 h 4457700"/>
              <a:gd name="connsiteX50" fmla="*/ 1287802 w 4519987"/>
              <a:gd name="connsiteY50" fmla="*/ 4229100 h 4457700"/>
              <a:gd name="connsiteX51" fmla="*/ 1221127 w 4519987"/>
              <a:gd name="connsiteY51" fmla="*/ 4200525 h 4457700"/>
              <a:gd name="connsiteX52" fmla="*/ 1144927 w 4519987"/>
              <a:gd name="connsiteY52" fmla="*/ 4171950 h 4457700"/>
              <a:gd name="connsiteX53" fmla="*/ 1087777 w 4519987"/>
              <a:gd name="connsiteY53" fmla="*/ 4143375 h 4457700"/>
              <a:gd name="connsiteX54" fmla="*/ 1030627 w 4519987"/>
              <a:gd name="connsiteY54" fmla="*/ 4124325 h 4457700"/>
              <a:gd name="connsiteX55" fmla="*/ 925852 w 4519987"/>
              <a:gd name="connsiteY55" fmla="*/ 4067175 h 4457700"/>
              <a:gd name="connsiteX56" fmla="*/ 830602 w 4519987"/>
              <a:gd name="connsiteY56" fmla="*/ 3981450 h 4457700"/>
              <a:gd name="connsiteX57" fmla="*/ 763927 w 4519987"/>
              <a:gd name="connsiteY57" fmla="*/ 3914775 h 4457700"/>
              <a:gd name="connsiteX58" fmla="*/ 725827 w 4519987"/>
              <a:gd name="connsiteY58" fmla="*/ 3876675 h 4457700"/>
              <a:gd name="connsiteX59" fmla="*/ 697252 w 4519987"/>
              <a:gd name="connsiteY59" fmla="*/ 3838575 h 4457700"/>
              <a:gd name="connsiteX60" fmla="*/ 640102 w 4519987"/>
              <a:gd name="connsiteY60" fmla="*/ 3781425 h 4457700"/>
              <a:gd name="connsiteX61" fmla="*/ 611527 w 4519987"/>
              <a:gd name="connsiteY61" fmla="*/ 3733800 h 4457700"/>
              <a:gd name="connsiteX62" fmla="*/ 554377 w 4519987"/>
              <a:gd name="connsiteY62" fmla="*/ 3657600 h 4457700"/>
              <a:gd name="connsiteX63" fmla="*/ 525802 w 4519987"/>
              <a:gd name="connsiteY63" fmla="*/ 3609975 h 4457700"/>
              <a:gd name="connsiteX64" fmla="*/ 497227 w 4519987"/>
              <a:gd name="connsiteY64" fmla="*/ 3552825 h 4457700"/>
              <a:gd name="connsiteX65" fmla="*/ 440077 w 4519987"/>
              <a:gd name="connsiteY65" fmla="*/ 3495675 h 4457700"/>
              <a:gd name="connsiteX66" fmla="*/ 411502 w 4519987"/>
              <a:gd name="connsiteY66" fmla="*/ 3448050 h 4457700"/>
              <a:gd name="connsiteX67" fmla="*/ 278152 w 4519987"/>
              <a:gd name="connsiteY67" fmla="*/ 3257550 h 4457700"/>
              <a:gd name="connsiteX68" fmla="*/ 249577 w 4519987"/>
              <a:gd name="connsiteY68" fmla="*/ 3200400 h 4457700"/>
              <a:gd name="connsiteX69" fmla="*/ 240052 w 4519987"/>
              <a:gd name="connsiteY69" fmla="*/ 3162300 h 4457700"/>
              <a:gd name="connsiteX70" fmla="*/ 221002 w 4519987"/>
              <a:gd name="connsiteY70" fmla="*/ 3105150 h 4457700"/>
              <a:gd name="connsiteX71" fmla="*/ 173377 w 4519987"/>
              <a:gd name="connsiteY71" fmla="*/ 3019425 h 4457700"/>
              <a:gd name="connsiteX72" fmla="*/ 144802 w 4519987"/>
              <a:gd name="connsiteY72" fmla="*/ 2924175 h 4457700"/>
              <a:gd name="connsiteX73" fmla="*/ 68602 w 4519987"/>
              <a:gd name="connsiteY73" fmla="*/ 2724150 h 4457700"/>
              <a:gd name="connsiteX74" fmla="*/ 49552 w 4519987"/>
              <a:gd name="connsiteY74" fmla="*/ 2638425 h 4457700"/>
              <a:gd name="connsiteX75" fmla="*/ 40027 w 4519987"/>
              <a:gd name="connsiteY75" fmla="*/ 2562225 h 4457700"/>
              <a:gd name="connsiteX76" fmla="*/ 30502 w 4519987"/>
              <a:gd name="connsiteY76" fmla="*/ 2514600 h 4457700"/>
              <a:gd name="connsiteX77" fmla="*/ 11452 w 4519987"/>
              <a:gd name="connsiteY77" fmla="*/ 2400300 h 4457700"/>
              <a:gd name="connsiteX78" fmla="*/ 20977 w 4519987"/>
              <a:gd name="connsiteY78" fmla="*/ 1905000 h 4457700"/>
              <a:gd name="connsiteX79" fmla="*/ 30502 w 4519987"/>
              <a:gd name="connsiteY79" fmla="*/ 1838325 h 4457700"/>
              <a:gd name="connsiteX80" fmla="*/ 49552 w 4519987"/>
              <a:gd name="connsiteY80" fmla="*/ 1781175 h 4457700"/>
              <a:gd name="connsiteX81" fmla="*/ 59077 w 4519987"/>
              <a:gd name="connsiteY81" fmla="*/ 1743075 h 4457700"/>
              <a:gd name="connsiteX82" fmla="*/ 78127 w 4519987"/>
              <a:gd name="connsiteY82" fmla="*/ 1685925 h 4457700"/>
              <a:gd name="connsiteX83" fmla="*/ 87652 w 4519987"/>
              <a:gd name="connsiteY83" fmla="*/ 1638300 h 4457700"/>
              <a:gd name="connsiteX84" fmla="*/ 106702 w 4519987"/>
              <a:gd name="connsiteY84" fmla="*/ 1590675 h 4457700"/>
              <a:gd name="connsiteX85" fmla="*/ 135277 w 4519987"/>
              <a:gd name="connsiteY85" fmla="*/ 1504950 h 4457700"/>
              <a:gd name="connsiteX86" fmla="*/ 154327 w 4519987"/>
              <a:gd name="connsiteY86" fmla="*/ 1419225 h 4457700"/>
              <a:gd name="connsiteX87" fmla="*/ 230527 w 4519987"/>
              <a:gd name="connsiteY87" fmla="*/ 1276350 h 4457700"/>
              <a:gd name="connsiteX88" fmla="*/ 240052 w 4519987"/>
              <a:gd name="connsiteY88" fmla="*/ 1247775 h 4457700"/>
              <a:gd name="connsiteX89" fmla="*/ 268627 w 4519987"/>
              <a:gd name="connsiteY89" fmla="*/ 1200150 h 4457700"/>
              <a:gd name="connsiteX90" fmla="*/ 287677 w 4519987"/>
              <a:gd name="connsiteY90" fmla="*/ 1152525 h 4457700"/>
              <a:gd name="connsiteX91" fmla="*/ 316252 w 4519987"/>
              <a:gd name="connsiteY91" fmla="*/ 1114425 h 4457700"/>
              <a:gd name="connsiteX92" fmla="*/ 363877 w 4519987"/>
              <a:gd name="connsiteY92" fmla="*/ 1038225 h 4457700"/>
              <a:gd name="connsiteX93" fmla="*/ 382927 w 4519987"/>
              <a:gd name="connsiteY93" fmla="*/ 1009650 h 4457700"/>
              <a:gd name="connsiteX94" fmla="*/ 440077 w 4519987"/>
              <a:gd name="connsiteY94" fmla="*/ 904875 h 4457700"/>
              <a:gd name="connsiteX95" fmla="*/ 478177 w 4519987"/>
              <a:gd name="connsiteY95" fmla="*/ 857250 h 4457700"/>
              <a:gd name="connsiteX96" fmla="*/ 497227 w 4519987"/>
              <a:gd name="connsiteY96" fmla="*/ 828675 h 4457700"/>
              <a:gd name="connsiteX97" fmla="*/ 535327 w 4519987"/>
              <a:gd name="connsiteY97" fmla="*/ 800100 h 4457700"/>
              <a:gd name="connsiteX98" fmla="*/ 602002 w 4519987"/>
              <a:gd name="connsiteY98" fmla="*/ 733425 h 4457700"/>
              <a:gd name="connsiteX99" fmla="*/ 668677 w 4519987"/>
              <a:gd name="connsiteY99" fmla="*/ 676275 h 4457700"/>
              <a:gd name="connsiteX100" fmla="*/ 697252 w 4519987"/>
              <a:gd name="connsiteY100" fmla="*/ 657225 h 4457700"/>
              <a:gd name="connsiteX101" fmla="*/ 840127 w 4519987"/>
              <a:gd name="connsiteY101" fmla="*/ 533400 h 4457700"/>
              <a:gd name="connsiteX102" fmla="*/ 887752 w 4519987"/>
              <a:gd name="connsiteY102" fmla="*/ 504825 h 4457700"/>
              <a:gd name="connsiteX103" fmla="*/ 1167152 w 4519987"/>
              <a:gd name="connsiteY103" fmla="*/ 311150 h 4457700"/>
              <a:gd name="connsiteX104" fmla="*/ 1268752 w 4519987"/>
              <a:gd name="connsiteY104" fmla="*/ 285750 h 4457700"/>
              <a:gd name="connsiteX105" fmla="*/ 1411627 w 4519987"/>
              <a:gd name="connsiteY105" fmla="*/ 190500 h 4457700"/>
              <a:gd name="connsiteX106" fmla="*/ 1449727 w 4519987"/>
              <a:gd name="connsiteY106" fmla="*/ 161925 h 4457700"/>
              <a:gd name="connsiteX107" fmla="*/ 1525927 w 4519987"/>
              <a:gd name="connsiteY107" fmla="*/ 152400 h 4457700"/>
              <a:gd name="connsiteX108" fmla="*/ 1583077 w 4519987"/>
              <a:gd name="connsiteY108" fmla="*/ 142875 h 4457700"/>
              <a:gd name="connsiteX109" fmla="*/ 1716427 w 4519987"/>
              <a:gd name="connsiteY109" fmla="*/ 123825 h 4457700"/>
              <a:gd name="connsiteX110" fmla="*/ 1811677 w 4519987"/>
              <a:gd name="connsiteY110" fmla="*/ 114300 h 4457700"/>
              <a:gd name="connsiteX111" fmla="*/ 1859302 w 4519987"/>
              <a:gd name="connsiteY111" fmla="*/ 104775 h 4457700"/>
              <a:gd name="connsiteX112" fmla="*/ 1916452 w 4519987"/>
              <a:gd name="connsiteY112" fmla="*/ 95250 h 4457700"/>
              <a:gd name="connsiteX113" fmla="*/ 2030752 w 4519987"/>
              <a:gd name="connsiteY113" fmla="*/ 66675 h 4457700"/>
              <a:gd name="connsiteX114" fmla="*/ 2097427 w 4519987"/>
              <a:gd name="connsiteY114" fmla="*/ 47625 h 4457700"/>
              <a:gd name="connsiteX115" fmla="*/ 2164102 w 4519987"/>
              <a:gd name="connsiteY115" fmla="*/ 38100 h 4457700"/>
              <a:gd name="connsiteX116" fmla="*/ 2392702 w 4519987"/>
              <a:gd name="connsiteY116" fmla="*/ 28575 h 4457700"/>
              <a:gd name="connsiteX0" fmla="*/ 2297452 w 4519987"/>
              <a:gd name="connsiteY0" fmla="*/ 0 h 4429260"/>
              <a:gd name="connsiteX1" fmla="*/ 2421277 w 4519987"/>
              <a:gd name="connsiteY1" fmla="*/ 28575 h 4429260"/>
              <a:gd name="connsiteX2" fmla="*/ 2497477 w 4519987"/>
              <a:gd name="connsiteY2" fmla="*/ 47625 h 4429260"/>
              <a:gd name="connsiteX3" fmla="*/ 2754652 w 4519987"/>
              <a:gd name="connsiteY3" fmla="*/ 66675 h 4429260"/>
              <a:gd name="connsiteX4" fmla="*/ 2830852 w 4519987"/>
              <a:gd name="connsiteY4" fmla="*/ 76200 h 4429260"/>
              <a:gd name="connsiteX5" fmla="*/ 2916577 w 4519987"/>
              <a:gd name="connsiteY5" fmla="*/ 85725 h 4429260"/>
              <a:gd name="connsiteX6" fmla="*/ 2973727 w 4519987"/>
              <a:gd name="connsiteY6" fmla="*/ 114300 h 4429260"/>
              <a:gd name="connsiteX7" fmla="*/ 3011827 w 4519987"/>
              <a:gd name="connsiteY7" fmla="*/ 123825 h 4429260"/>
              <a:gd name="connsiteX8" fmla="*/ 3135652 w 4519987"/>
              <a:gd name="connsiteY8" fmla="*/ 171450 h 4429260"/>
              <a:gd name="connsiteX9" fmla="*/ 3173752 w 4519987"/>
              <a:gd name="connsiteY9" fmla="*/ 190500 h 4429260"/>
              <a:gd name="connsiteX10" fmla="*/ 3240427 w 4519987"/>
              <a:gd name="connsiteY10" fmla="*/ 228600 h 4429260"/>
              <a:gd name="connsiteX11" fmla="*/ 3269002 w 4519987"/>
              <a:gd name="connsiteY11" fmla="*/ 238125 h 4429260"/>
              <a:gd name="connsiteX12" fmla="*/ 3297577 w 4519987"/>
              <a:gd name="connsiteY12" fmla="*/ 257175 h 4429260"/>
              <a:gd name="connsiteX13" fmla="*/ 3326152 w 4519987"/>
              <a:gd name="connsiteY13" fmla="*/ 266700 h 4429260"/>
              <a:gd name="connsiteX14" fmla="*/ 3354727 w 4519987"/>
              <a:gd name="connsiteY14" fmla="*/ 285750 h 4429260"/>
              <a:gd name="connsiteX15" fmla="*/ 3421402 w 4519987"/>
              <a:gd name="connsiteY15" fmla="*/ 323850 h 4429260"/>
              <a:gd name="connsiteX16" fmla="*/ 3469027 w 4519987"/>
              <a:gd name="connsiteY16" fmla="*/ 361950 h 4429260"/>
              <a:gd name="connsiteX17" fmla="*/ 3516652 w 4519987"/>
              <a:gd name="connsiteY17" fmla="*/ 390525 h 4429260"/>
              <a:gd name="connsiteX18" fmla="*/ 3630952 w 4519987"/>
              <a:gd name="connsiteY18" fmla="*/ 485775 h 4429260"/>
              <a:gd name="connsiteX19" fmla="*/ 3745252 w 4519987"/>
              <a:gd name="connsiteY19" fmla="*/ 542925 h 4429260"/>
              <a:gd name="connsiteX20" fmla="*/ 3811927 w 4519987"/>
              <a:gd name="connsiteY20" fmla="*/ 581025 h 4429260"/>
              <a:gd name="connsiteX21" fmla="*/ 4027827 w 4519987"/>
              <a:gd name="connsiteY21" fmla="*/ 819150 h 4429260"/>
              <a:gd name="connsiteX22" fmla="*/ 4164352 w 4519987"/>
              <a:gd name="connsiteY22" fmla="*/ 990600 h 4429260"/>
              <a:gd name="connsiteX23" fmla="*/ 4250077 w 4519987"/>
              <a:gd name="connsiteY23" fmla="*/ 1143000 h 4429260"/>
              <a:gd name="connsiteX24" fmla="*/ 4307227 w 4519987"/>
              <a:gd name="connsiteY24" fmla="*/ 1266825 h 4429260"/>
              <a:gd name="connsiteX25" fmla="*/ 4345327 w 4519987"/>
              <a:gd name="connsiteY25" fmla="*/ 1362075 h 4429260"/>
              <a:gd name="connsiteX26" fmla="*/ 4392952 w 4519987"/>
              <a:gd name="connsiteY26" fmla="*/ 1552575 h 4429260"/>
              <a:gd name="connsiteX27" fmla="*/ 4431052 w 4519987"/>
              <a:gd name="connsiteY27" fmla="*/ 1685925 h 4429260"/>
              <a:gd name="connsiteX28" fmla="*/ 4519952 w 4519987"/>
              <a:gd name="connsiteY28" fmla="*/ 2181225 h 4429260"/>
              <a:gd name="connsiteX29" fmla="*/ 4446927 w 4519987"/>
              <a:gd name="connsiteY29" fmla="*/ 2768600 h 4429260"/>
              <a:gd name="connsiteX30" fmla="*/ 4383427 w 4519987"/>
              <a:gd name="connsiteY30" fmla="*/ 2990850 h 4429260"/>
              <a:gd name="connsiteX31" fmla="*/ 4278652 w 4519987"/>
              <a:gd name="connsiteY31" fmla="*/ 3248025 h 4429260"/>
              <a:gd name="connsiteX32" fmla="*/ 4183402 w 4519987"/>
              <a:gd name="connsiteY32" fmla="*/ 3400425 h 4429260"/>
              <a:gd name="connsiteX33" fmla="*/ 4059577 w 4519987"/>
              <a:gd name="connsiteY33" fmla="*/ 3533775 h 4429260"/>
              <a:gd name="connsiteX34" fmla="*/ 3954802 w 4519987"/>
              <a:gd name="connsiteY34" fmla="*/ 3648075 h 4429260"/>
              <a:gd name="connsiteX35" fmla="*/ 3659527 w 4519987"/>
              <a:gd name="connsiteY35" fmla="*/ 3971925 h 4429260"/>
              <a:gd name="connsiteX36" fmla="*/ 3516652 w 4519987"/>
              <a:gd name="connsiteY36" fmla="*/ 4083050 h 4429260"/>
              <a:gd name="connsiteX37" fmla="*/ 3221377 w 4519987"/>
              <a:gd name="connsiteY37" fmla="*/ 4222750 h 4429260"/>
              <a:gd name="connsiteX38" fmla="*/ 3068977 w 4519987"/>
              <a:gd name="connsiteY38" fmla="*/ 4286250 h 4429260"/>
              <a:gd name="connsiteX39" fmla="*/ 2935627 w 4519987"/>
              <a:gd name="connsiteY39" fmla="*/ 4333875 h 4429260"/>
              <a:gd name="connsiteX40" fmla="*/ 2811802 w 4519987"/>
              <a:gd name="connsiteY40" fmla="*/ 4371975 h 4429260"/>
              <a:gd name="connsiteX41" fmla="*/ 2580027 w 4519987"/>
              <a:gd name="connsiteY41" fmla="*/ 4391025 h 4429260"/>
              <a:gd name="connsiteX42" fmla="*/ 2126002 w 4519987"/>
              <a:gd name="connsiteY42" fmla="*/ 4429125 h 4429260"/>
              <a:gd name="connsiteX43" fmla="*/ 1935502 w 4519987"/>
              <a:gd name="connsiteY43" fmla="*/ 4400550 h 4429260"/>
              <a:gd name="connsiteX44" fmla="*/ 1821202 w 4519987"/>
              <a:gd name="connsiteY44" fmla="*/ 4371975 h 4429260"/>
              <a:gd name="connsiteX45" fmla="*/ 1754527 w 4519987"/>
              <a:gd name="connsiteY45" fmla="*/ 4352925 h 4429260"/>
              <a:gd name="connsiteX46" fmla="*/ 1687852 w 4519987"/>
              <a:gd name="connsiteY46" fmla="*/ 4343400 h 4429260"/>
              <a:gd name="connsiteX47" fmla="*/ 1573552 w 4519987"/>
              <a:gd name="connsiteY47" fmla="*/ 4305300 h 4429260"/>
              <a:gd name="connsiteX48" fmla="*/ 1402102 w 4519987"/>
              <a:gd name="connsiteY48" fmla="*/ 4276725 h 4429260"/>
              <a:gd name="connsiteX49" fmla="*/ 1287802 w 4519987"/>
              <a:gd name="connsiteY49" fmla="*/ 4229100 h 4429260"/>
              <a:gd name="connsiteX50" fmla="*/ 1221127 w 4519987"/>
              <a:gd name="connsiteY50" fmla="*/ 4200525 h 4429260"/>
              <a:gd name="connsiteX51" fmla="*/ 1144927 w 4519987"/>
              <a:gd name="connsiteY51" fmla="*/ 4171950 h 4429260"/>
              <a:gd name="connsiteX52" fmla="*/ 1087777 w 4519987"/>
              <a:gd name="connsiteY52" fmla="*/ 4143375 h 4429260"/>
              <a:gd name="connsiteX53" fmla="*/ 1030627 w 4519987"/>
              <a:gd name="connsiteY53" fmla="*/ 4124325 h 4429260"/>
              <a:gd name="connsiteX54" fmla="*/ 925852 w 4519987"/>
              <a:gd name="connsiteY54" fmla="*/ 4067175 h 4429260"/>
              <a:gd name="connsiteX55" fmla="*/ 830602 w 4519987"/>
              <a:gd name="connsiteY55" fmla="*/ 3981450 h 4429260"/>
              <a:gd name="connsiteX56" fmla="*/ 763927 w 4519987"/>
              <a:gd name="connsiteY56" fmla="*/ 3914775 h 4429260"/>
              <a:gd name="connsiteX57" fmla="*/ 725827 w 4519987"/>
              <a:gd name="connsiteY57" fmla="*/ 3876675 h 4429260"/>
              <a:gd name="connsiteX58" fmla="*/ 697252 w 4519987"/>
              <a:gd name="connsiteY58" fmla="*/ 3838575 h 4429260"/>
              <a:gd name="connsiteX59" fmla="*/ 640102 w 4519987"/>
              <a:gd name="connsiteY59" fmla="*/ 3781425 h 4429260"/>
              <a:gd name="connsiteX60" fmla="*/ 611527 w 4519987"/>
              <a:gd name="connsiteY60" fmla="*/ 3733800 h 4429260"/>
              <a:gd name="connsiteX61" fmla="*/ 554377 w 4519987"/>
              <a:gd name="connsiteY61" fmla="*/ 3657600 h 4429260"/>
              <a:gd name="connsiteX62" fmla="*/ 525802 w 4519987"/>
              <a:gd name="connsiteY62" fmla="*/ 3609975 h 4429260"/>
              <a:gd name="connsiteX63" fmla="*/ 497227 w 4519987"/>
              <a:gd name="connsiteY63" fmla="*/ 3552825 h 4429260"/>
              <a:gd name="connsiteX64" fmla="*/ 440077 w 4519987"/>
              <a:gd name="connsiteY64" fmla="*/ 3495675 h 4429260"/>
              <a:gd name="connsiteX65" fmla="*/ 411502 w 4519987"/>
              <a:gd name="connsiteY65" fmla="*/ 3448050 h 4429260"/>
              <a:gd name="connsiteX66" fmla="*/ 278152 w 4519987"/>
              <a:gd name="connsiteY66" fmla="*/ 3257550 h 4429260"/>
              <a:gd name="connsiteX67" fmla="*/ 249577 w 4519987"/>
              <a:gd name="connsiteY67" fmla="*/ 3200400 h 4429260"/>
              <a:gd name="connsiteX68" fmla="*/ 240052 w 4519987"/>
              <a:gd name="connsiteY68" fmla="*/ 3162300 h 4429260"/>
              <a:gd name="connsiteX69" fmla="*/ 221002 w 4519987"/>
              <a:gd name="connsiteY69" fmla="*/ 3105150 h 4429260"/>
              <a:gd name="connsiteX70" fmla="*/ 173377 w 4519987"/>
              <a:gd name="connsiteY70" fmla="*/ 3019425 h 4429260"/>
              <a:gd name="connsiteX71" fmla="*/ 144802 w 4519987"/>
              <a:gd name="connsiteY71" fmla="*/ 2924175 h 4429260"/>
              <a:gd name="connsiteX72" fmla="*/ 68602 w 4519987"/>
              <a:gd name="connsiteY72" fmla="*/ 2724150 h 4429260"/>
              <a:gd name="connsiteX73" fmla="*/ 49552 w 4519987"/>
              <a:gd name="connsiteY73" fmla="*/ 2638425 h 4429260"/>
              <a:gd name="connsiteX74" fmla="*/ 40027 w 4519987"/>
              <a:gd name="connsiteY74" fmla="*/ 2562225 h 4429260"/>
              <a:gd name="connsiteX75" fmla="*/ 30502 w 4519987"/>
              <a:gd name="connsiteY75" fmla="*/ 2514600 h 4429260"/>
              <a:gd name="connsiteX76" fmla="*/ 11452 w 4519987"/>
              <a:gd name="connsiteY76" fmla="*/ 2400300 h 4429260"/>
              <a:gd name="connsiteX77" fmla="*/ 20977 w 4519987"/>
              <a:gd name="connsiteY77" fmla="*/ 1905000 h 4429260"/>
              <a:gd name="connsiteX78" fmla="*/ 30502 w 4519987"/>
              <a:gd name="connsiteY78" fmla="*/ 1838325 h 4429260"/>
              <a:gd name="connsiteX79" fmla="*/ 49552 w 4519987"/>
              <a:gd name="connsiteY79" fmla="*/ 1781175 h 4429260"/>
              <a:gd name="connsiteX80" fmla="*/ 59077 w 4519987"/>
              <a:gd name="connsiteY80" fmla="*/ 1743075 h 4429260"/>
              <a:gd name="connsiteX81" fmla="*/ 78127 w 4519987"/>
              <a:gd name="connsiteY81" fmla="*/ 1685925 h 4429260"/>
              <a:gd name="connsiteX82" fmla="*/ 87652 w 4519987"/>
              <a:gd name="connsiteY82" fmla="*/ 1638300 h 4429260"/>
              <a:gd name="connsiteX83" fmla="*/ 106702 w 4519987"/>
              <a:gd name="connsiteY83" fmla="*/ 1590675 h 4429260"/>
              <a:gd name="connsiteX84" fmla="*/ 135277 w 4519987"/>
              <a:gd name="connsiteY84" fmla="*/ 1504950 h 4429260"/>
              <a:gd name="connsiteX85" fmla="*/ 154327 w 4519987"/>
              <a:gd name="connsiteY85" fmla="*/ 1419225 h 4429260"/>
              <a:gd name="connsiteX86" fmla="*/ 230527 w 4519987"/>
              <a:gd name="connsiteY86" fmla="*/ 1276350 h 4429260"/>
              <a:gd name="connsiteX87" fmla="*/ 240052 w 4519987"/>
              <a:gd name="connsiteY87" fmla="*/ 1247775 h 4429260"/>
              <a:gd name="connsiteX88" fmla="*/ 268627 w 4519987"/>
              <a:gd name="connsiteY88" fmla="*/ 1200150 h 4429260"/>
              <a:gd name="connsiteX89" fmla="*/ 287677 w 4519987"/>
              <a:gd name="connsiteY89" fmla="*/ 1152525 h 4429260"/>
              <a:gd name="connsiteX90" fmla="*/ 316252 w 4519987"/>
              <a:gd name="connsiteY90" fmla="*/ 1114425 h 4429260"/>
              <a:gd name="connsiteX91" fmla="*/ 363877 w 4519987"/>
              <a:gd name="connsiteY91" fmla="*/ 1038225 h 4429260"/>
              <a:gd name="connsiteX92" fmla="*/ 382927 w 4519987"/>
              <a:gd name="connsiteY92" fmla="*/ 1009650 h 4429260"/>
              <a:gd name="connsiteX93" fmla="*/ 440077 w 4519987"/>
              <a:gd name="connsiteY93" fmla="*/ 904875 h 4429260"/>
              <a:gd name="connsiteX94" fmla="*/ 478177 w 4519987"/>
              <a:gd name="connsiteY94" fmla="*/ 857250 h 4429260"/>
              <a:gd name="connsiteX95" fmla="*/ 497227 w 4519987"/>
              <a:gd name="connsiteY95" fmla="*/ 828675 h 4429260"/>
              <a:gd name="connsiteX96" fmla="*/ 535327 w 4519987"/>
              <a:gd name="connsiteY96" fmla="*/ 800100 h 4429260"/>
              <a:gd name="connsiteX97" fmla="*/ 602002 w 4519987"/>
              <a:gd name="connsiteY97" fmla="*/ 733425 h 4429260"/>
              <a:gd name="connsiteX98" fmla="*/ 668677 w 4519987"/>
              <a:gd name="connsiteY98" fmla="*/ 676275 h 4429260"/>
              <a:gd name="connsiteX99" fmla="*/ 697252 w 4519987"/>
              <a:gd name="connsiteY99" fmla="*/ 657225 h 4429260"/>
              <a:gd name="connsiteX100" fmla="*/ 840127 w 4519987"/>
              <a:gd name="connsiteY100" fmla="*/ 533400 h 4429260"/>
              <a:gd name="connsiteX101" fmla="*/ 887752 w 4519987"/>
              <a:gd name="connsiteY101" fmla="*/ 504825 h 4429260"/>
              <a:gd name="connsiteX102" fmla="*/ 1167152 w 4519987"/>
              <a:gd name="connsiteY102" fmla="*/ 311150 h 4429260"/>
              <a:gd name="connsiteX103" fmla="*/ 1268752 w 4519987"/>
              <a:gd name="connsiteY103" fmla="*/ 285750 h 4429260"/>
              <a:gd name="connsiteX104" fmla="*/ 1411627 w 4519987"/>
              <a:gd name="connsiteY104" fmla="*/ 190500 h 4429260"/>
              <a:gd name="connsiteX105" fmla="*/ 1449727 w 4519987"/>
              <a:gd name="connsiteY105" fmla="*/ 161925 h 4429260"/>
              <a:gd name="connsiteX106" fmla="*/ 1525927 w 4519987"/>
              <a:gd name="connsiteY106" fmla="*/ 152400 h 4429260"/>
              <a:gd name="connsiteX107" fmla="*/ 1583077 w 4519987"/>
              <a:gd name="connsiteY107" fmla="*/ 142875 h 4429260"/>
              <a:gd name="connsiteX108" fmla="*/ 1716427 w 4519987"/>
              <a:gd name="connsiteY108" fmla="*/ 123825 h 4429260"/>
              <a:gd name="connsiteX109" fmla="*/ 1811677 w 4519987"/>
              <a:gd name="connsiteY109" fmla="*/ 114300 h 4429260"/>
              <a:gd name="connsiteX110" fmla="*/ 1859302 w 4519987"/>
              <a:gd name="connsiteY110" fmla="*/ 104775 h 4429260"/>
              <a:gd name="connsiteX111" fmla="*/ 1916452 w 4519987"/>
              <a:gd name="connsiteY111" fmla="*/ 95250 h 4429260"/>
              <a:gd name="connsiteX112" fmla="*/ 2030752 w 4519987"/>
              <a:gd name="connsiteY112" fmla="*/ 66675 h 4429260"/>
              <a:gd name="connsiteX113" fmla="*/ 2097427 w 4519987"/>
              <a:gd name="connsiteY113" fmla="*/ 47625 h 4429260"/>
              <a:gd name="connsiteX114" fmla="*/ 2164102 w 4519987"/>
              <a:gd name="connsiteY114" fmla="*/ 38100 h 4429260"/>
              <a:gd name="connsiteX115" fmla="*/ 2392702 w 4519987"/>
              <a:gd name="connsiteY115" fmla="*/ 28575 h 4429260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687852 w 4519987"/>
              <a:gd name="connsiteY45" fmla="*/ 4343400 h 4429225"/>
              <a:gd name="connsiteX46" fmla="*/ 1573552 w 4519987"/>
              <a:gd name="connsiteY46" fmla="*/ 4305300 h 4429225"/>
              <a:gd name="connsiteX47" fmla="*/ 1402102 w 4519987"/>
              <a:gd name="connsiteY47" fmla="*/ 4276725 h 4429225"/>
              <a:gd name="connsiteX48" fmla="*/ 1287802 w 4519987"/>
              <a:gd name="connsiteY48" fmla="*/ 4229100 h 4429225"/>
              <a:gd name="connsiteX49" fmla="*/ 1221127 w 4519987"/>
              <a:gd name="connsiteY49" fmla="*/ 4200525 h 4429225"/>
              <a:gd name="connsiteX50" fmla="*/ 1144927 w 4519987"/>
              <a:gd name="connsiteY50" fmla="*/ 4171950 h 4429225"/>
              <a:gd name="connsiteX51" fmla="*/ 1087777 w 4519987"/>
              <a:gd name="connsiteY51" fmla="*/ 4143375 h 4429225"/>
              <a:gd name="connsiteX52" fmla="*/ 1030627 w 4519987"/>
              <a:gd name="connsiteY52" fmla="*/ 4124325 h 4429225"/>
              <a:gd name="connsiteX53" fmla="*/ 925852 w 4519987"/>
              <a:gd name="connsiteY53" fmla="*/ 4067175 h 4429225"/>
              <a:gd name="connsiteX54" fmla="*/ 830602 w 4519987"/>
              <a:gd name="connsiteY54" fmla="*/ 3981450 h 4429225"/>
              <a:gd name="connsiteX55" fmla="*/ 763927 w 4519987"/>
              <a:gd name="connsiteY55" fmla="*/ 3914775 h 4429225"/>
              <a:gd name="connsiteX56" fmla="*/ 725827 w 4519987"/>
              <a:gd name="connsiteY56" fmla="*/ 3876675 h 4429225"/>
              <a:gd name="connsiteX57" fmla="*/ 697252 w 4519987"/>
              <a:gd name="connsiteY57" fmla="*/ 3838575 h 4429225"/>
              <a:gd name="connsiteX58" fmla="*/ 640102 w 4519987"/>
              <a:gd name="connsiteY58" fmla="*/ 3781425 h 4429225"/>
              <a:gd name="connsiteX59" fmla="*/ 611527 w 4519987"/>
              <a:gd name="connsiteY59" fmla="*/ 3733800 h 4429225"/>
              <a:gd name="connsiteX60" fmla="*/ 554377 w 4519987"/>
              <a:gd name="connsiteY60" fmla="*/ 3657600 h 4429225"/>
              <a:gd name="connsiteX61" fmla="*/ 525802 w 4519987"/>
              <a:gd name="connsiteY61" fmla="*/ 3609975 h 4429225"/>
              <a:gd name="connsiteX62" fmla="*/ 497227 w 4519987"/>
              <a:gd name="connsiteY62" fmla="*/ 3552825 h 4429225"/>
              <a:gd name="connsiteX63" fmla="*/ 440077 w 4519987"/>
              <a:gd name="connsiteY63" fmla="*/ 3495675 h 4429225"/>
              <a:gd name="connsiteX64" fmla="*/ 411502 w 4519987"/>
              <a:gd name="connsiteY64" fmla="*/ 3448050 h 4429225"/>
              <a:gd name="connsiteX65" fmla="*/ 278152 w 4519987"/>
              <a:gd name="connsiteY65" fmla="*/ 3257550 h 4429225"/>
              <a:gd name="connsiteX66" fmla="*/ 249577 w 4519987"/>
              <a:gd name="connsiteY66" fmla="*/ 3200400 h 4429225"/>
              <a:gd name="connsiteX67" fmla="*/ 240052 w 4519987"/>
              <a:gd name="connsiteY67" fmla="*/ 3162300 h 4429225"/>
              <a:gd name="connsiteX68" fmla="*/ 221002 w 4519987"/>
              <a:gd name="connsiteY68" fmla="*/ 3105150 h 4429225"/>
              <a:gd name="connsiteX69" fmla="*/ 173377 w 4519987"/>
              <a:gd name="connsiteY69" fmla="*/ 3019425 h 4429225"/>
              <a:gd name="connsiteX70" fmla="*/ 144802 w 4519987"/>
              <a:gd name="connsiteY70" fmla="*/ 2924175 h 4429225"/>
              <a:gd name="connsiteX71" fmla="*/ 68602 w 4519987"/>
              <a:gd name="connsiteY71" fmla="*/ 2724150 h 4429225"/>
              <a:gd name="connsiteX72" fmla="*/ 49552 w 4519987"/>
              <a:gd name="connsiteY72" fmla="*/ 2638425 h 4429225"/>
              <a:gd name="connsiteX73" fmla="*/ 40027 w 4519987"/>
              <a:gd name="connsiteY73" fmla="*/ 2562225 h 4429225"/>
              <a:gd name="connsiteX74" fmla="*/ 30502 w 4519987"/>
              <a:gd name="connsiteY74" fmla="*/ 2514600 h 4429225"/>
              <a:gd name="connsiteX75" fmla="*/ 11452 w 4519987"/>
              <a:gd name="connsiteY75" fmla="*/ 2400300 h 4429225"/>
              <a:gd name="connsiteX76" fmla="*/ 20977 w 4519987"/>
              <a:gd name="connsiteY76" fmla="*/ 1905000 h 4429225"/>
              <a:gd name="connsiteX77" fmla="*/ 30502 w 4519987"/>
              <a:gd name="connsiteY77" fmla="*/ 1838325 h 4429225"/>
              <a:gd name="connsiteX78" fmla="*/ 49552 w 4519987"/>
              <a:gd name="connsiteY78" fmla="*/ 1781175 h 4429225"/>
              <a:gd name="connsiteX79" fmla="*/ 59077 w 4519987"/>
              <a:gd name="connsiteY79" fmla="*/ 1743075 h 4429225"/>
              <a:gd name="connsiteX80" fmla="*/ 78127 w 4519987"/>
              <a:gd name="connsiteY80" fmla="*/ 1685925 h 4429225"/>
              <a:gd name="connsiteX81" fmla="*/ 87652 w 4519987"/>
              <a:gd name="connsiteY81" fmla="*/ 1638300 h 4429225"/>
              <a:gd name="connsiteX82" fmla="*/ 106702 w 4519987"/>
              <a:gd name="connsiteY82" fmla="*/ 1590675 h 4429225"/>
              <a:gd name="connsiteX83" fmla="*/ 135277 w 4519987"/>
              <a:gd name="connsiteY83" fmla="*/ 1504950 h 4429225"/>
              <a:gd name="connsiteX84" fmla="*/ 154327 w 4519987"/>
              <a:gd name="connsiteY84" fmla="*/ 1419225 h 4429225"/>
              <a:gd name="connsiteX85" fmla="*/ 230527 w 4519987"/>
              <a:gd name="connsiteY85" fmla="*/ 1276350 h 4429225"/>
              <a:gd name="connsiteX86" fmla="*/ 240052 w 4519987"/>
              <a:gd name="connsiteY86" fmla="*/ 1247775 h 4429225"/>
              <a:gd name="connsiteX87" fmla="*/ 268627 w 4519987"/>
              <a:gd name="connsiteY87" fmla="*/ 1200150 h 4429225"/>
              <a:gd name="connsiteX88" fmla="*/ 287677 w 4519987"/>
              <a:gd name="connsiteY88" fmla="*/ 1152525 h 4429225"/>
              <a:gd name="connsiteX89" fmla="*/ 316252 w 4519987"/>
              <a:gd name="connsiteY89" fmla="*/ 1114425 h 4429225"/>
              <a:gd name="connsiteX90" fmla="*/ 363877 w 4519987"/>
              <a:gd name="connsiteY90" fmla="*/ 1038225 h 4429225"/>
              <a:gd name="connsiteX91" fmla="*/ 382927 w 4519987"/>
              <a:gd name="connsiteY91" fmla="*/ 1009650 h 4429225"/>
              <a:gd name="connsiteX92" fmla="*/ 440077 w 4519987"/>
              <a:gd name="connsiteY92" fmla="*/ 904875 h 4429225"/>
              <a:gd name="connsiteX93" fmla="*/ 478177 w 4519987"/>
              <a:gd name="connsiteY93" fmla="*/ 857250 h 4429225"/>
              <a:gd name="connsiteX94" fmla="*/ 497227 w 4519987"/>
              <a:gd name="connsiteY94" fmla="*/ 828675 h 4429225"/>
              <a:gd name="connsiteX95" fmla="*/ 535327 w 4519987"/>
              <a:gd name="connsiteY95" fmla="*/ 800100 h 4429225"/>
              <a:gd name="connsiteX96" fmla="*/ 602002 w 4519987"/>
              <a:gd name="connsiteY96" fmla="*/ 733425 h 4429225"/>
              <a:gd name="connsiteX97" fmla="*/ 668677 w 4519987"/>
              <a:gd name="connsiteY97" fmla="*/ 676275 h 4429225"/>
              <a:gd name="connsiteX98" fmla="*/ 697252 w 4519987"/>
              <a:gd name="connsiteY98" fmla="*/ 657225 h 4429225"/>
              <a:gd name="connsiteX99" fmla="*/ 840127 w 4519987"/>
              <a:gd name="connsiteY99" fmla="*/ 533400 h 4429225"/>
              <a:gd name="connsiteX100" fmla="*/ 887752 w 4519987"/>
              <a:gd name="connsiteY100" fmla="*/ 504825 h 4429225"/>
              <a:gd name="connsiteX101" fmla="*/ 1167152 w 4519987"/>
              <a:gd name="connsiteY101" fmla="*/ 311150 h 4429225"/>
              <a:gd name="connsiteX102" fmla="*/ 1268752 w 4519987"/>
              <a:gd name="connsiteY102" fmla="*/ 285750 h 4429225"/>
              <a:gd name="connsiteX103" fmla="*/ 1411627 w 4519987"/>
              <a:gd name="connsiteY103" fmla="*/ 190500 h 4429225"/>
              <a:gd name="connsiteX104" fmla="*/ 1449727 w 4519987"/>
              <a:gd name="connsiteY104" fmla="*/ 161925 h 4429225"/>
              <a:gd name="connsiteX105" fmla="*/ 1525927 w 4519987"/>
              <a:gd name="connsiteY105" fmla="*/ 152400 h 4429225"/>
              <a:gd name="connsiteX106" fmla="*/ 1583077 w 4519987"/>
              <a:gd name="connsiteY106" fmla="*/ 142875 h 4429225"/>
              <a:gd name="connsiteX107" fmla="*/ 1716427 w 4519987"/>
              <a:gd name="connsiteY107" fmla="*/ 123825 h 4429225"/>
              <a:gd name="connsiteX108" fmla="*/ 1811677 w 4519987"/>
              <a:gd name="connsiteY108" fmla="*/ 114300 h 4429225"/>
              <a:gd name="connsiteX109" fmla="*/ 1859302 w 4519987"/>
              <a:gd name="connsiteY109" fmla="*/ 104775 h 4429225"/>
              <a:gd name="connsiteX110" fmla="*/ 1916452 w 4519987"/>
              <a:gd name="connsiteY110" fmla="*/ 95250 h 4429225"/>
              <a:gd name="connsiteX111" fmla="*/ 2030752 w 4519987"/>
              <a:gd name="connsiteY111" fmla="*/ 66675 h 4429225"/>
              <a:gd name="connsiteX112" fmla="*/ 2097427 w 4519987"/>
              <a:gd name="connsiteY112" fmla="*/ 47625 h 4429225"/>
              <a:gd name="connsiteX113" fmla="*/ 2164102 w 4519987"/>
              <a:gd name="connsiteY113" fmla="*/ 38100 h 4429225"/>
              <a:gd name="connsiteX114" fmla="*/ 2392702 w 4519987"/>
              <a:gd name="connsiteY114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402102 w 4519987"/>
              <a:gd name="connsiteY46" fmla="*/ 4276725 h 4429225"/>
              <a:gd name="connsiteX47" fmla="*/ 1287802 w 4519987"/>
              <a:gd name="connsiteY47" fmla="*/ 4229100 h 4429225"/>
              <a:gd name="connsiteX48" fmla="*/ 1221127 w 4519987"/>
              <a:gd name="connsiteY48" fmla="*/ 4200525 h 4429225"/>
              <a:gd name="connsiteX49" fmla="*/ 1144927 w 4519987"/>
              <a:gd name="connsiteY49" fmla="*/ 4171950 h 4429225"/>
              <a:gd name="connsiteX50" fmla="*/ 1087777 w 4519987"/>
              <a:gd name="connsiteY50" fmla="*/ 4143375 h 4429225"/>
              <a:gd name="connsiteX51" fmla="*/ 1030627 w 4519987"/>
              <a:gd name="connsiteY51" fmla="*/ 4124325 h 4429225"/>
              <a:gd name="connsiteX52" fmla="*/ 925852 w 4519987"/>
              <a:gd name="connsiteY52" fmla="*/ 4067175 h 4429225"/>
              <a:gd name="connsiteX53" fmla="*/ 830602 w 4519987"/>
              <a:gd name="connsiteY53" fmla="*/ 3981450 h 4429225"/>
              <a:gd name="connsiteX54" fmla="*/ 763927 w 4519987"/>
              <a:gd name="connsiteY54" fmla="*/ 3914775 h 4429225"/>
              <a:gd name="connsiteX55" fmla="*/ 725827 w 4519987"/>
              <a:gd name="connsiteY55" fmla="*/ 3876675 h 4429225"/>
              <a:gd name="connsiteX56" fmla="*/ 697252 w 4519987"/>
              <a:gd name="connsiteY56" fmla="*/ 3838575 h 4429225"/>
              <a:gd name="connsiteX57" fmla="*/ 640102 w 4519987"/>
              <a:gd name="connsiteY57" fmla="*/ 3781425 h 4429225"/>
              <a:gd name="connsiteX58" fmla="*/ 611527 w 4519987"/>
              <a:gd name="connsiteY58" fmla="*/ 3733800 h 4429225"/>
              <a:gd name="connsiteX59" fmla="*/ 554377 w 4519987"/>
              <a:gd name="connsiteY59" fmla="*/ 3657600 h 4429225"/>
              <a:gd name="connsiteX60" fmla="*/ 525802 w 4519987"/>
              <a:gd name="connsiteY60" fmla="*/ 3609975 h 4429225"/>
              <a:gd name="connsiteX61" fmla="*/ 497227 w 4519987"/>
              <a:gd name="connsiteY61" fmla="*/ 3552825 h 4429225"/>
              <a:gd name="connsiteX62" fmla="*/ 440077 w 4519987"/>
              <a:gd name="connsiteY62" fmla="*/ 3495675 h 4429225"/>
              <a:gd name="connsiteX63" fmla="*/ 411502 w 4519987"/>
              <a:gd name="connsiteY63" fmla="*/ 3448050 h 4429225"/>
              <a:gd name="connsiteX64" fmla="*/ 278152 w 4519987"/>
              <a:gd name="connsiteY64" fmla="*/ 3257550 h 4429225"/>
              <a:gd name="connsiteX65" fmla="*/ 249577 w 4519987"/>
              <a:gd name="connsiteY65" fmla="*/ 3200400 h 4429225"/>
              <a:gd name="connsiteX66" fmla="*/ 240052 w 4519987"/>
              <a:gd name="connsiteY66" fmla="*/ 3162300 h 4429225"/>
              <a:gd name="connsiteX67" fmla="*/ 221002 w 4519987"/>
              <a:gd name="connsiteY67" fmla="*/ 3105150 h 4429225"/>
              <a:gd name="connsiteX68" fmla="*/ 173377 w 4519987"/>
              <a:gd name="connsiteY68" fmla="*/ 3019425 h 4429225"/>
              <a:gd name="connsiteX69" fmla="*/ 144802 w 4519987"/>
              <a:gd name="connsiteY69" fmla="*/ 2924175 h 4429225"/>
              <a:gd name="connsiteX70" fmla="*/ 68602 w 4519987"/>
              <a:gd name="connsiteY70" fmla="*/ 2724150 h 4429225"/>
              <a:gd name="connsiteX71" fmla="*/ 49552 w 4519987"/>
              <a:gd name="connsiteY71" fmla="*/ 2638425 h 4429225"/>
              <a:gd name="connsiteX72" fmla="*/ 40027 w 4519987"/>
              <a:gd name="connsiteY72" fmla="*/ 2562225 h 4429225"/>
              <a:gd name="connsiteX73" fmla="*/ 30502 w 4519987"/>
              <a:gd name="connsiteY73" fmla="*/ 2514600 h 4429225"/>
              <a:gd name="connsiteX74" fmla="*/ 11452 w 4519987"/>
              <a:gd name="connsiteY74" fmla="*/ 2400300 h 4429225"/>
              <a:gd name="connsiteX75" fmla="*/ 20977 w 4519987"/>
              <a:gd name="connsiteY75" fmla="*/ 1905000 h 4429225"/>
              <a:gd name="connsiteX76" fmla="*/ 30502 w 4519987"/>
              <a:gd name="connsiteY76" fmla="*/ 1838325 h 4429225"/>
              <a:gd name="connsiteX77" fmla="*/ 49552 w 4519987"/>
              <a:gd name="connsiteY77" fmla="*/ 1781175 h 4429225"/>
              <a:gd name="connsiteX78" fmla="*/ 59077 w 4519987"/>
              <a:gd name="connsiteY78" fmla="*/ 1743075 h 4429225"/>
              <a:gd name="connsiteX79" fmla="*/ 78127 w 4519987"/>
              <a:gd name="connsiteY79" fmla="*/ 1685925 h 4429225"/>
              <a:gd name="connsiteX80" fmla="*/ 87652 w 4519987"/>
              <a:gd name="connsiteY80" fmla="*/ 1638300 h 4429225"/>
              <a:gd name="connsiteX81" fmla="*/ 106702 w 4519987"/>
              <a:gd name="connsiteY81" fmla="*/ 1590675 h 4429225"/>
              <a:gd name="connsiteX82" fmla="*/ 135277 w 4519987"/>
              <a:gd name="connsiteY82" fmla="*/ 1504950 h 4429225"/>
              <a:gd name="connsiteX83" fmla="*/ 154327 w 4519987"/>
              <a:gd name="connsiteY83" fmla="*/ 1419225 h 4429225"/>
              <a:gd name="connsiteX84" fmla="*/ 230527 w 4519987"/>
              <a:gd name="connsiteY84" fmla="*/ 1276350 h 4429225"/>
              <a:gd name="connsiteX85" fmla="*/ 240052 w 4519987"/>
              <a:gd name="connsiteY85" fmla="*/ 1247775 h 4429225"/>
              <a:gd name="connsiteX86" fmla="*/ 268627 w 4519987"/>
              <a:gd name="connsiteY86" fmla="*/ 1200150 h 4429225"/>
              <a:gd name="connsiteX87" fmla="*/ 287677 w 4519987"/>
              <a:gd name="connsiteY87" fmla="*/ 1152525 h 4429225"/>
              <a:gd name="connsiteX88" fmla="*/ 316252 w 4519987"/>
              <a:gd name="connsiteY88" fmla="*/ 1114425 h 4429225"/>
              <a:gd name="connsiteX89" fmla="*/ 363877 w 4519987"/>
              <a:gd name="connsiteY89" fmla="*/ 1038225 h 4429225"/>
              <a:gd name="connsiteX90" fmla="*/ 382927 w 4519987"/>
              <a:gd name="connsiteY90" fmla="*/ 1009650 h 4429225"/>
              <a:gd name="connsiteX91" fmla="*/ 440077 w 4519987"/>
              <a:gd name="connsiteY91" fmla="*/ 904875 h 4429225"/>
              <a:gd name="connsiteX92" fmla="*/ 478177 w 4519987"/>
              <a:gd name="connsiteY92" fmla="*/ 857250 h 4429225"/>
              <a:gd name="connsiteX93" fmla="*/ 497227 w 4519987"/>
              <a:gd name="connsiteY93" fmla="*/ 828675 h 4429225"/>
              <a:gd name="connsiteX94" fmla="*/ 535327 w 4519987"/>
              <a:gd name="connsiteY94" fmla="*/ 800100 h 4429225"/>
              <a:gd name="connsiteX95" fmla="*/ 602002 w 4519987"/>
              <a:gd name="connsiteY95" fmla="*/ 733425 h 4429225"/>
              <a:gd name="connsiteX96" fmla="*/ 668677 w 4519987"/>
              <a:gd name="connsiteY96" fmla="*/ 676275 h 4429225"/>
              <a:gd name="connsiteX97" fmla="*/ 697252 w 4519987"/>
              <a:gd name="connsiteY97" fmla="*/ 657225 h 4429225"/>
              <a:gd name="connsiteX98" fmla="*/ 840127 w 4519987"/>
              <a:gd name="connsiteY98" fmla="*/ 533400 h 4429225"/>
              <a:gd name="connsiteX99" fmla="*/ 887752 w 4519987"/>
              <a:gd name="connsiteY99" fmla="*/ 504825 h 4429225"/>
              <a:gd name="connsiteX100" fmla="*/ 1167152 w 4519987"/>
              <a:gd name="connsiteY100" fmla="*/ 311150 h 4429225"/>
              <a:gd name="connsiteX101" fmla="*/ 1268752 w 4519987"/>
              <a:gd name="connsiteY101" fmla="*/ 285750 h 4429225"/>
              <a:gd name="connsiteX102" fmla="*/ 1411627 w 4519987"/>
              <a:gd name="connsiteY102" fmla="*/ 190500 h 4429225"/>
              <a:gd name="connsiteX103" fmla="*/ 1449727 w 4519987"/>
              <a:gd name="connsiteY103" fmla="*/ 161925 h 4429225"/>
              <a:gd name="connsiteX104" fmla="*/ 1525927 w 4519987"/>
              <a:gd name="connsiteY104" fmla="*/ 152400 h 4429225"/>
              <a:gd name="connsiteX105" fmla="*/ 1583077 w 4519987"/>
              <a:gd name="connsiteY105" fmla="*/ 142875 h 4429225"/>
              <a:gd name="connsiteX106" fmla="*/ 1716427 w 4519987"/>
              <a:gd name="connsiteY106" fmla="*/ 123825 h 4429225"/>
              <a:gd name="connsiteX107" fmla="*/ 1811677 w 4519987"/>
              <a:gd name="connsiteY107" fmla="*/ 114300 h 4429225"/>
              <a:gd name="connsiteX108" fmla="*/ 1859302 w 4519987"/>
              <a:gd name="connsiteY108" fmla="*/ 104775 h 4429225"/>
              <a:gd name="connsiteX109" fmla="*/ 1916452 w 4519987"/>
              <a:gd name="connsiteY109" fmla="*/ 95250 h 4429225"/>
              <a:gd name="connsiteX110" fmla="*/ 2030752 w 4519987"/>
              <a:gd name="connsiteY110" fmla="*/ 66675 h 4429225"/>
              <a:gd name="connsiteX111" fmla="*/ 2097427 w 4519987"/>
              <a:gd name="connsiteY111" fmla="*/ 47625 h 4429225"/>
              <a:gd name="connsiteX112" fmla="*/ 2164102 w 4519987"/>
              <a:gd name="connsiteY112" fmla="*/ 38100 h 4429225"/>
              <a:gd name="connsiteX113" fmla="*/ 2392702 w 4519987"/>
              <a:gd name="connsiteY113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221127 w 4519987"/>
              <a:gd name="connsiteY47" fmla="*/ 4200525 h 4429225"/>
              <a:gd name="connsiteX48" fmla="*/ 1144927 w 4519987"/>
              <a:gd name="connsiteY48" fmla="*/ 4171950 h 4429225"/>
              <a:gd name="connsiteX49" fmla="*/ 1087777 w 4519987"/>
              <a:gd name="connsiteY49" fmla="*/ 4143375 h 4429225"/>
              <a:gd name="connsiteX50" fmla="*/ 1030627 w 4519987"/>
              <a:gd name="connsiteY50" fmla="*/ 4124325 h 4429225"/>
              <a:gd name="connsiteX51" fmla="*/ 925852 w 4519987"/>
              <a:gd name="connsiteY51" fmla="*/ 4067175 h 4429225"/>
              <a:gd name="connsiteX52" fmla="*/ 830602 w 4519987"/>
              <a:gd name="connsiteY52" fmla="*/ 3981450 h 4429225"/>
              <a:gd name="connsiteX53" fmla="*/ 763927 w 4519987"/>
              <a:gd name="connsiteY53" fmla="*/ 3914775 h 4429225"/>
              <a:gd name="connsiteX54" fmla="*/ 725827 w 4519987"/>
              <a:gd name="connsiteY54" fmla="*/ 3876675 h 4429225"/>
              <a:gd name="connsiteX55" fmla="*/ 697252 w 4519987"/>
              <a:gd name="connsiteY55" fmla="*/ 3838575 h 4429225"/>
              <a:gd name="connsiteX56" fmla="*/ 640102 w 4519987"/>
              <a:gd name="connsiteY56" fmla="*/ 3781425 h 4429225"/>
              <a:gd name="connsiteX57" fmla="*/ 611527 w 4519987"/>
              <a:gd name="connsiteY57" fmla="*/ 3733800 h 4429225"/>
              <a:gd name="connsiteX58" fmla="*/ 554377 w 4519987"/>
              <a:gd name="connsiteY58" fmla="*/ 3657600 h 4429225"/>
              <a:gd name="connsiteX59" fmla="*/ 525802 w 4519987"/>
              <a:gd name="connsiteY59" fmla="*/ 3609975 h 4429225"/>
              <a:gd name="connsiteX60" fmla="*/ 497227 w 4519987"/>
              <a:gd name="connsiteY60" fmla="*/ 3552825 h 4429225"/>
              <a:gd name="connsiteX61" fmla="*/ 440077 w 4519987"/>
              <a:gd name="connsiteY61" fmla="*/ 3495675 h 4429225"/>
              <a:gd name="connsiteX62" fmla="*/ 411502 w 4519987"/>
              <a:gd name="connsiteY62" fmla="*/ 3448050 h 4429225"/>
              <a:gd name="connsiteX63" fmla="*/ 278152 w 4519987"/>
              <a:gd name="connsiteY63" fmla="*/ 3257550 h 4429225"/>
              <a:gd name="connsiteX64" fmla="*/ 249577 w 4519987"/>
              <a:gd name="connsiteY64" fmla="*/ 3200400 h 4429225"/>
              <a:gd name="connsiteX65" fmla="*/ 240052 w 4519987"/>
              <a:gd name="connsiteY65" fmla="*/ 3162300 h 4429225"/>
              <a:gd name="connsiteX66" fmla="*/ 221002 w 4519987"/>
              <a:gd name="connsiteY66" fmla="*/ 3105150 h 4429225"/>
              <a:gd name="connsiteX67" fmla="*/ 173377 w 4519987"/>
              <a:gd name="connsiteY67" fmla="*/ 3019425 h 4429225"/>
              <a:gd name="connsiteX68" fmla="*/ 144802 w 4519987"/>
              <a:gd name="connsiteY68" fmla="*/ 2924175 h 4429225"/>
              <a:gd name="connsiteX69" fmla="*/ 68602 w 4519987"/>
              <a:gd name="connsiteY69" fmla="*/ 2724150 h 4429225"/>
              <a:gd name="connsiteX70" fmla="*/ 49552 w 4519987"/>
              <a:gd name="connsiteY70" fmla="*/ 2638425 h 4429225"/>
              <a:gd name="connsiteX71" fmla="*/ 40027 w 4519987"/>
              <a:gd name="connsiteY71" fmla="*/ 2562225 h 4429225"/>
              <a:gd name="connsiteX72" fmla="*/ 30502 w 4519987"/>
              <a:gd name="connsiteY72" fmla="*/ 2514600 h 4429225"/>
              <a:gd name="connsiteX73" fmla="*/ 11452 w 4519987"/>
              <a:gd name="connsiteY73" fmla="*/ 2400300 h 4429225"/>
              <a:gd name="connsiteX74" fmla="*/ 20977 w 4519987"/>
              <a:gd name="connsiteY74" fmla="*/ 1905000 h 4429225"/>
              <a:gd name="connsiteX75" fmla="*/ 30502 w 4519987"/>
              <a:gd name="connsiteY75" fmla="*/ 1838325 h 4429225"/>
              <a:gd name="connsiteX76" fmla="*/ 49552 w 4519987"/>
              <a:gd name="connsiteY76" fmla="*/ 1781175 h 4429225"/>
              <a:gd name="connsiteX77" fmla="*/ 59077 w 4519987"/>
              <a:gd name="connsiteY77" fmla="*/ 1743075 h 4429225"/>
              <a:gd name="connsiteX78" fmla="*/ 78127 w 4519987"/>
              <a:gd name="connsiteY78" fmla="*/ 1685925 h 4429225"/>
              <a:gd name="connsiteX79" fmla="*/ 87652 w 4519987"/>
              <a:gd name="connsiteY79" fmla="*/ 1638300 h 4429225"/>
              <a:gd name="connsiteX80" fmla="*/ 106702 w 4519987"/>
              <a:gd name="connsiteY80" fmla="*/ 1590675 h 4429225"/>
              <a:gd name="connsiteX81" fmla="*/ 135277 w 4519987"/>
              <a:gd name="connsiteY81" fmla="*/ 1504950 h 4429225"/>
              <a:gd name="connsiteX82" fmla="*/ 154327 w 4519987"/>
              <a:gd name="connsiteY82" fmla="*/ 1419225 h 4429225"/>
              <a:gd name="connsiteX83" fmla="*/ 230527 w 4519987"/>
              <a:gd name="connsiteY83" fmla="*/ 1276350 h 4429225"/>
              <a:gd name="connsiteX84" fmla="*/ 240052 w 4519987"/>
              <a:gd name="connsiteY84" fmla="*/ 1247775 h 4429225"/>
              <a:gd name="connsiteX85" fmla="*/ 268627 w 4519987"/>
              <a:gd name="connsiteY85" fmla="*/ 1200150 h 4429225"/>
              <a:gd name="connsiteX86" fmla="*/ 287677 w 4519987"/>
              <a:gd name="connsiteY86" fmla="*/ 1152525 h 4429225"/>
              <a:gd name="connsiteX87" fmla="*/ 316252 w 4519987"/>
              <a:gd name="connsiteY87" fmla="*/ 1114425 h 4429225"/>
              <a:gd name="connsiteX88" fmla="*/ 363877 w 4519987"/>
              <a:gd name="connsiteY88" fmla="*/ 1038225 h 4429225"/>
              <a:gd name="connsiteX89" fmla="*/ 382927 w 4519987"/>
              <a:gd name="connsiteY89" fmla="*/ 1009650 h 4429225"/>
              <a:gd name="connsiteX90" fmla="*/ 440077 w 4519987"/>
              <a:gd name="connsiteY90" fmla="*/ 904875 h 4429225"/>
              <a:gd name="connsiteX91" fmla="*/ 478177 w 4519987"/>
              <a:gd name="connsiteY91" fmla="*/ 857250 h 4429225"/>
              <a:gd name="connsiteX92" fmla="*/ 497227 w 4519987"/>
              <a:gd name="connsiteY92" fmla="*/ 828675 h 4429225"/>
              <a:gd name="connsiteX93" fmla="*/ 535327 w 4519987"/>
              <a:gd name="connsiteY93" fmla="*/ 800100 h 4429225"/>
              <a:gd name="connsiteX94" fmla="*/ 602002 w 4519987"/>
              <a:gd name="connsiteY94" fmla="*/ 733425 h 4429225"/>
              <a:gd name="connsiteX95" fmla="*/ 668677 w 4519987"/>
              <a:gd name="connsiteY95" fmla="*/ 676275 h 4429225"/>
              <a:gd name="connsiteX96" fmla="*/ 697252 w 4519987"/>
              <a:gd name="connsiteY96" fmla="*/ 657225 h 4429225"/>
              <a:gd name="connsiteX97" fmla="*/ 840127 w 4519987"/>
              <a:gd name="connsiteY97" fmla="*/ 533400 h 4429225"/>
              <a:gd name="connsiteX98" fmla="*/ 887752 w 4519987"/>
              <a:gd name="connsiteY98" fmla="*/ 504825 h 4429225"/>
              <a:gd name="connsiteX99" fmla="*/ 1167152 w 4519987"/>
              <a:gd name="connsiteY99" fmla="*/ 311150 h 4429225"/>
              <a:gd name="connsiteX100" fmla="*/ 1268752 w 4519987"/>
              <a:gd name="connsiteY100" fmla="*/ 285750 h 4429225"/>
              <a:gd name="connsiteX101" fmla="*/ 1411627 w 4519987"/>
              <a:gd name="connsiteY101" fmla="*/ 190500 h 4429225"/>
              <a:gd name="connsiteX102" fmla="*/ 1449727 w 4519987"/>
              <a:gd name="connsiteY102" fmla="*/ 161925 h 4429225"/>
              <a:gd name="connsiteX103" fmla="*/ 1525927 w 4519987"/>
              <a:gd name="connsiteY103" fmla="*/ 152400 h 4429225"/>
              <a:gd name="connsiteX104" fmla="*/ 1583077 w 4519987"/>
              <a:gd name="connsiteY104" fmla="*/ 142875 h 4429225"/>
              <a:gd name="connsiteX105" fmla="*/ 1716427 w 4519987"/>
              <a:gd name="connsiteY105" fmla="*/ 123825 h 4429225"/>
              <a:gd name="connsiteX106" fmla="*/ 1811677 w 4519987"/>
              <a:gd name="connsiteY106" fmla="*/ 114300 h 4429225"/>
              <a:gd name="connsiteX107" fmla="*/ 1859302 w 4519987"/>
              <a:gd name="connsiteY107" fmla="*/ 104775 h 4429225"/>
              <a:gd name="connsiteX108" fmla="*/ 1916452 w 4519987"/>
              <a:gd name="connsiteY108" fmla="*/ 95250 h 4429225"/>
              <a:gd name="connsiteX109" fmla="*/ 2030752 w 4519987"/>
              <a:gd name="connsiteY109" fmla="*/ 66675 h 4429225"/>
              <a:gd name="connsiteX110" fmla="*/ 2097427 w 4519987"/>
              <a:gd name="connsiteY110" fmla="*/ 47625 h 4429225"/>
              <a:gd name="connsiteX111" fmla="*/ 2164102 w 4519987"/>
              <a:gd name="connsiteY111" fmla="*/ 38100 h 4429225"/>
              <a:gd name="connsiteX112" fmla="*/ 2392702 w 4519987"/>
              <a:gd name="connsiteY112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221127 w 4519987"/>
              <a:gd name="connsiteY47" fmla="*/ 4200525 h 4429225"/>
              <a:gd name="connsiteX48" fmla="*/ 1087777 w 4519987"/>
              <a:gd name="connsiteY48" fmla="*/ 4143375 h 4429225"/>
              <a:gd name="connsiteX49" fmla="*/ 1030627 w 4519987"/>
              <a:gd name="connsiteY49" fmla="*/ 4124325 h 4429225"/>
              <a:gd name="connsiteX50" fmla="*/ 925852 w 4519987"/>
              <a:gd name="connsiteY50" fmla="*/ 4067175 h 4429225"/>
              <a:gd name="connsiteX51" fmla="*/ 830602 w 4519987"/>
              <a:gd name="connsiteY51" fmla="*/ 3981450 h 4429225"/>
              <a:gd name="connsiteX52" fmla="*/ 763927 w 4519987"/>
              <a:gd name="connsiteY52" fmla="*/ 3914775 h 4429225"/>
              <a:gd name="connsiteX53" fmla="*/ 725827 w 4519987"/>
              <a:gd name="connsiteY53" fmla="*/ 3876675 h 4429225"/>
              <a:gd name="connsiteX54" fmla="*/ 697252 w 4519987"/>
              <a:gd name="connsiteY54" fmla="*/ 3838575 h 4429225"/>
              <a:gd name="connsiteX55" fmla="*/ 640102 w 4519987"/>
              <a:gd name="connsiteY55" fmla="*/ 3781425 h 4429225"/>
              <a:gd name="connsiteX56" fmla="*/ 611527 w 4519987"/>
              <a:gd name="connsiteY56" fmla="*/ 3733800 h 4429225"/>
              <a:gd name="connsiteX57" fmla="*/ 554377 w 4519987"/>
              <a:gd name="connsiteY57" fmla="*/ 3657600 h 4429225"/>
              <a:gd name="connsiteX58" fmla="*/ 525802 w 4519987"/>
              <a:gd name="connsiteY58" fmla="*/ 3609975 h 4429225"/>
              <a:gd name="connsiteX59" fmla="*/ 497227 w 4519987"/>
              <a:gd name="connsiteY59" fmla="*/ 3552825 h 4429225"/>
              <a:gd name="connsiteX60" fmla="*/ 440077 w 4519987"/>
              <a:gd name="connsiteY60" fmla="*/ 3495675 h 4429225"/>
              <a:gd name="connsiteX61" fmla="*/ 411502 w 4519987"/>
              <a:gd name="connsiteY61" fmla="*/ 3448050 h 4429225"/>
              <a:gd name="connsiteX62" fmla="*/ 278152 w 4519987"/>
              <a:gd name="connsiteY62" fmla="*/ 3257550 h 4429225"/>
              <a:gd name="connsiteX63" fmla="*/ 249577 w 4519987"/>
              <a:gd name="connsiteY63" fmla="*/ 3200400 h 4429225"/>
              <a:gd name="connsiteX64" fmla="*/ 240052 w 4519987"/>
              <a:gd name="connsiteY64" fmla="*/ 3162300 h 4429225"/>
              <a:gd name="connsiteX65" fmla="*/ 221002 w 4519987"/>
              <a:gd name="connsiteY65" fmla="*/ 3105150 h 4429225"/>
              <a:gd name="connsiteX66" fmla="*/ 173377 w 4519987"/>
              <a:gd name="connsiteY66" fmla="*/ 3019425 h 4429225"/>
              <a:gd name="connsiteX67" fmla="*/ 144802 w 4519987"/>
              <a:gd name="connsiteY67" fmla="*/ 2924175 h 4429225"/>
              <a:gd name="connsiteX68" fmla="*/ 68602 w 4519987"/>
              <a:gd name="connsiteY68" fmla="*/ 2724150 h 4429225"/>
              <a:gd name="connsiteX69" fmla="*/ 49552 w 4519987"/>
              <a:gd name="connsiteY69" fmla="*/ 2638425 h 4429225"/>
              <a:gd name="connsiteX70" fmla="*/ 40027 w 4519987"/>
              <a:gd name="connsiteY70" fmla="*/ 2562225 h 4429225"/>
              <a:gd name="connsiteX71" fmla="*/ 30502 w 4519987"/>
              <a:gd name="connsiteY71" fmla="*/ 2514600 h 4429225"/>
              <a:gd name="connsiteX72" fmla="*/ 11452 w 4519987"/>
              <a:gd name="connsiteY72" fmla="*/ 2400300 h 4429225"/>
              <a:gd name="connsiteX73" fmla="*/ 20977 w 4519987"/>
              <a:gd name="connsiteY73" fmla="*/ 1905000 h 4429225"/>
              <a:gd name="connsiteX74" fmla="*/ 30502 w 4519987"/>
              <a:gd name="connsiteY74" fmla="*/ 1838325 h 4429225"/>
              <a:gd name="connsiteX75" fmla="*/ 49552 w 4519987"/>
              <a:gd name="connsiteY75" fmla="*/ 1781175 h 4429225"/>
              <a:gd name="connsiteX76" fmla="*/ 59077 w 4519987"/>
              <a:gd name="connsiteY76" fmla="*/ 1743075 h 4429225"/>
              <a:gd name="connsiteX77" fmla="*/ 78127 w 4519987"/>
              <a:gd name="connsiteY77" fmla="*/ 1685925 h 4429225"/>
              <a:gd name="connsiteX78" fmla="*/ 87652 w 4519987"/>
              <a:gd name="connsiteY78" fmla="*/ 1638300 h 4429225"/>
              <a:gd name="connsiteX79" fmla="*/ 106702 w 4519987"/>
              <a:gd name="connsiteY79" fmla="*/ 1590675 h 4429225"/>
              <a:gd name="connsiteX80" fmla="*/ 135277 w 4519987"/>
              <a:gd name="connsiteY80" fmla="*/ 1504950 h 4429225"/>
              <a:gd name="connsiteX81" fmla="*/ 154327 w 4519987"/>
              <a:gd name="connsiteY81" fmla="*/ 1419225 h 4429225"/>
              <a:gd name="connsiteX82" fmla="*/ 230527 w 4519987"/>
              <a:gd name="connsiteY82" fmla="*/ 1276350 h 4429225"/>
              <a:gd name="connsiteX83" fmla="*/ 240052 w 4519987"/>
              <a:gd name="connsiteY83" fmla="*/ 1247775 h 4429225"/>
              <a:gd name="connsiteX84" fmla="*/ 268627 w 4519987"/>
              <a:gd name="connsiteY84" fmla="*/ 1200150 h 4429225"/>
              <a:gd name="connsiteX85" fmla="*/ 287677 w 4519987"/>
              <a:gd name="connsiteY85" fmla="*/ 1152525 h 4429225"/>
              <a:gd name="connsiteX86" fmla="*/ 316252 w 4519987"/>
              <a:gd name="connsiteY86" fmla="*/ 1114425 h 4429225"/>
              <a:gd name="connsiteX87" fmla="*/ 363877 w 4519987"/>
              <a:gd name="connsiteY87" fmla="*/ 1038225 h 4429225"/>
              <a:gd name="connsiteX88" fmla="*/ 382927 w 4519987"/>
              <a:gd name="connsiteY88" fmla="*/ 1009650 h 4429225"/>
              <a:gd name="connsiteX89" fmla="*/ 440077 w 4519987"/>
              <a:gd name="connsiteY89" fmla="*/ 904875 h 4429225"/>
              <a:gd name="connsiteX90" fmla="*/ 478177 w 4519987"/>
              <a:gd name="connsiteY90" fmla="*/ 857250 h 4429225"/>
              <a:gd name="connsiteX91" fmla="*/ 497227 w 4519987"/>
              <a:gd name="connsiteY91" fmla="*/ 828675 h 4429225"/>
              <a:gd name="connsiteX92" fmla="*/ 535327 w 4519987"/>
              <a:gd name="connsiteY92" fmla="*/ 800100 h 4429225"/>
              <a:gd name="connsiteX93" fmla="*/ 602002 w 4519987"/>
              <a:gd name="connsiteY93" fmla="*/ 733425 h 4429225"/>
              <a:gd name="connsiteX94" fmla="*/ 668677 w 4519987"/>
              <a:gd name="connsiteY94" fmla="*/ 676275 h 4429225"/>
              <a:gd name="connsiteX95" fmla="*/ 697252 w 4519987"/>
              <a:gd name="connsiteY95" fmla="*/ 657225 h 4429225"/>
              <a:gd name="connsiteX96" fmla="*/ 840127 w 4519987"/>
              <a:gd name="connsiteY96" fmla="*/ 533400 h 4429225"/>
              <a:gd name="connsiteX97" fmla="*/ 887752 w 4519987"/>
              <a:gd name="connsiteY97" fmla="*/ 504825 h 4429225"/>
              <a:gd name="connsiteX98" fmla="*/ 1167152 w 4519987"/>
              <a:gd name="connsiteY98" fmla="*/ 311150 h 4429225"/>
              <a:gd name="connsiteX99" fmla="*/ 1268752 w 4519987"/>
              <a:gd name="connsiteY99" fmla="*/ 285750 h 4429225"/>
              <a:gd name="connsiteX100" fmla="*/ 1411627 w 4519987"/>
              <a:gd name="connsiteY100" fmla="*/ 190500 h 4429225"/>
              <a:gd name="connsiteX101" fmla="*/ 1449727 w 4519987"/>
              <a:gd name="connsiteY101" fmla="*/ 161925 h 4429225"/>
              <a:gd name="connsiteX102" fmla="*/ 1525927 w 4519987"/>
              <a:gd name="connsiteY102" fmla="*/ 152400 h 4429225"/>
              <a:gd name="connsiteX103" fmla="*/ 1583077 w 4519987"/>
              <a:gd name="connsiteY103" fmla="*/ 142875 h 4429225"/>
              <a:gd name="connsiteX104" fmla="*/ 1716427 w 4519987"/>
              <a:gd name="connsiteY104" fmla="*/ 123825 h 4429225"/>
              <a:gd name="connsiteX105" fmla="*/ 1811677 w 4519987"/>
              <a:gd name="connsiteY105" fmla="*/ 114300 h 4429225"/>
              <a:gd name="connsiteX106" fmla="*/ 1859302 w 4519987"/>
              <a:gd name="connsiteY106" fmla="*/ 104775 h 4429225"/>
              <a:gd name="connsiteX107" fmla="*/ 1916452 w 4519987"/>
              <a:gd name="connsiteY107" fmla="*/ 95250 h 4429225"/>
              <a:gd name="connsiteX108" fmla="*/ 2030752 w 4519987"/>
              <a:gd name="connsiteY108" fmla="*/ 66675 h 4429225"/>
              <a:gd name="connsiteX109" fmla="*/ 2097427 w 4519987"/>
              <a:gd name="connsiteY109" fmla="*/ 47625 h 4429225"/>
              <a:gd name="connsiteX110" fmla="*/ 2164102 w 4519987"/>
              <a:gd name="connsiteY110" fmla="*/ 38100 h 4429225"/>
              <a:gd name="connsiteX111" fmla="*/ 2392702 w 4519987"/>
              <a:gd name="connsiteY111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1030627 w 4519987"/>
              <a:gd name="connsiteY48" fmla="*/ 4124325 h 4429225"/>
              <a:gd name="connsiteX49" fmla="*/ 925852 w 4519987"/>
              <a:gd name="connsiteY49" fmla="*/ 4067175 h 4429225"/>
              <a:gd name="connsiteX50" fmla="*/ 830602 w 4519987"/>
              <a:gd name="connsiteY50" fmla="*/ 3981450 h 4429225"/>
              <a:gd name="connsiteX51" fmla="*/ 763927 w 4519987"/>
              <a:gd name="connsiteY51" fmla="*/ 3914775 h 4429225"/>
              <a:gd name="connsiteX52" fmla="*/ 725827 w 4519987"/>
              <a:gd name="connsiteY52" fmla="*/ 3876675 h 4429225"/>
              <a:gd name="connsiteX53" fmla="*/ 697252 w 4519987"/>
              <a:gd name="connsiteY53" fmla="*/ 3838575 h 4429225"/>
              <a:gd name="connsiteX54" fmla="*/ 640102 w 4519987"/>
              <a:gd name="connsiteY54" fmla="*/ 3781425 h 4429225"/>
              <a:gd name="connsiteX55" fmla="*/ 611527 w 4519987"/>
              <a:gd name="connsiteY55" fmla="*/ 3733800 h 4429225"/>
              <a:gd name="connsiteX56" fmla="*/ 554377 w 4519987"/>
              <a:gd name="connsiteY56" fmla="*/ 3657600 h 4429225"/>
              <a:gd name="connsiteX57" fmla="*/ 525802 w 4519987"/>
              <a:gd name="connsiteY57" fmla="*/ 3609975 h 4429225"/>
              <a:gd name="connsiteX58" fmla="*/ 497227 w 4519987"/>
              <a:gd name="connsiteY58" fmla="*/ 3552825 h 4429225"/>
              <a:gd name="connsiteX59" fmla="*/ 440077 w 4519987"/>
              <a:gd name="connsiteY59" fmla="*/ 3495675 h 4429225"/>
              <a:gd name="connsiteX60" fmla="*/ 411502 w 4519987"/>
              <a:gd name="connsiteY60" fmla="*/ 3448050 h 4429225"/>
              <a:gd name="connsiteX61" fmla="*/ 278152 w 4519987"/>
              <a:gd name="connsiteY61" fmla="*/ 3257550 h 4429225"/>
              <a:gd name="connsiteX62" fmla="*/ 249577 w 4519987"/>
              <a:gd name="connsiteY62" fmla="*/ 3200400 h 4429225"/>
              <a:gd name="connsiteX63" fmla="*/ 240052 w 4519987"/>
              <a:gd name="connsiteY63" fmla="*/ 3162300 h 4429225"/>
              <a:gd name="connsiteX64" fmla="*/ 221002 w 4519987"/>
              <a:gd name="connsiteY64" fmla="*/ 3105150 h 4429225"/>
              <a:gd name="connsiteX65" fmla="*/ 173377 w 4519987"/>
              <a:gd name="connsiteY65" fmla="*/ 3019425 h 4429225"/>
              <a:gd name="connsiteX66" fmla="*/ 144802 w 4519987"/>
              <a:gd name="connsiteY66" fmla="*/ 2924175 h 4429225"/>
              <a:gd name="connsiteX67" fmla="*/ 68602 w 4519987"/>
              <a:gd name="connsiteY67" fmla="*/ 2724150 h 4429225"/>
              <a:gd name="connsiteX68" fmla="*/ 49552 w 4519987"/>
              <a:gd name="connsiteY68" fmla="*/ 2638425 h 4429225"/>
              <a:gd name="connsiteX69" fmla="*/ 40027 w 4519987"/>
              <a:gd name="connsiteY69" fmla="*/ 2562225 h 4429225"/>
              <a:gd name="connsiteX70" fmla="*/ 30502 w 4519987"/>
              <a:gd name="connsiteY70" fmla="*/ 2514600 h 4429225"/>
              <a:gd name="connsiteX71" fmla="*/ 11452 w 4519987"/>
              <a:gd name="connsiteY71" fmla="*/ 2400300 h 4429225"/>
              <a:gd name="connsiteX72" fmla="*/ 20977 w 4519987"/>
              <a:gd name="connsiteY72" fmla="*/ 1905000 h 4429225"/>
              <a:gd name="connsiteX73" fmla="*/ 30502 w 4519987"/>
              <a:gd name="connsiteY73" fmla="*/ 1838325 h 4429225"/>
              <a:gd name="connsiteX74" fmla="*/ 49552 w 4519987"/>
              <a:gd name="connsiteY74" fmla="*/ 1781175 h 4429225"/>
              <a:gd name="connsiteX75" fmla="*/ 59077 w 4519987"/>
              <a:gd name="connsiteY75" fmla="*/ 1743075 h 4429225"/>
              <a:gd name="connsiteX76" fmla="*/ 78127 w 4519987"/>
              <a:gd name="connsiteY76" fmla="*/ 1685925 h 4429225"/>
              <a:gd name="connsiteX77" fmla="*/ 87652 w 4519987"/>
              <a:gd name="connsiteY77" fmla="*/ 1638300 h 4429225"/>
              <a:gd name="connsiteX78" fmla="*/ 106702 w 4519987"/>
              <a:gd name="connsiteY78" fmla="*/ 1590675 h 4429225"/>
              <a:gd name="connsiteX79" fmla="*/ 135277 w 4519987"/>
              <a:gd name="connsiteY79" fmla="*/ 1504950 h 4429225"/>
              <a:gd name="connsiteX80" fmla="*/ 154327 w 4519987"/>
              <a:gd name="connsiteY80" fmla="*/ 1419225 h 4429225"/>
              <a:gd name="connsiteX81" fmla="*/ 230527 w 4519987"/>
              <a:gd name="connsiteY81" fmla="*/ 1276350 h 4429225"/>
              <a:gd name="connsiteX82" fmla="*/ 240052 w 4519987"/>
              <a:gd name="connsiteY82" fmla="*/ 1247775 h 4429225"/>
              <a:gd name="connsiteX83" fmla="*/ 268627 w 4519987"/>
              <a:gd name="connsiteY83" fmla="*/ 1200150 h 4429225"/>
              <a:gd name="connsiteX84" fmla="*/ 287677 w 4519987"/>
              <a:gd name="connsiteY84" fmla="*/ 1152525 h 4429225"/>
              <a:gd name="connsiteX85" fmla="*/ 316252 w 4519987"/>
              <a:gd name="connsiteY85" fmla="*/ 1114425 h 4429225"/>
              <a:gd name="connsiteX86" fmla="*/ 363877 w 4519987"/>
              <a:gd name="connsiteY86" fmla="*/ 1038225 h 4429225"/>
              <a:gd name="connsiteX87" fmla="*/ 382927 w 4519987"/>
              <a:gd name="connsiteY87" fmla="*/ 1009650 h 4429225"/>
              <a:gd name="connsiteX88" fmla="*/ 440077 w 4519987"/>
              <a:gd name="connsiteY88" fmla="*/ 904875 h 4429225"/>
              <a:gd name="connsiteX89" fmla="*/ 478177 w 4519987"/>
              <a:gd name="connsiteY89" fmla="*/ 857250 h 4429225"/>
              <a:gd name="connsiteX90" fmla="*/ 497227 w 4519987"/>
              <a:gd name="connsiteY90" fmla="*/ 828675 h 4429225"/>
              <a:gd name="connsiteX91" fmla="*/ 535327 w 4519987"/>
              <a:gd name="connsiteY91" fmla="*/ 800100 h 4429225"/>
              <a:gd name="connsiteX92" fmla="*/ 602002 w 4519987"/>
              <a:gd name="connsiteY92" fmla="*/ 733425 h 4429225"/>
              <a:gd name="connsiteX93" fmla="*/ 668677 w 4519987"/>
              <a:gd name="connsiteY93" fmla="*/ 676275 h 4429225"/>
              <a:gd name="connsiteX94" fmla="*/ 697252 w 4519987"/>
              <a:gd name="connsiteY94" fmla="*/ 657225 h 4429225"/>
              <a:gd name="connsiteX95" fmla="*/ 840127 w 4519987"/>
              <a:gd name="connsiteY95" fmla="*/ 533400 h 4429225"/>
              <a:gd name="connsiteX96" fmla="*/ 887752 w 4519987"/>
              <a:gd name="connsiteY96" fmla="*/ 504825 h 4429225"/>
              <a:gd name="connsiteX97" fmla="*/ 1167152 w 4519987"/>
              <a:gd name="connsiteY97" fmla="*/ 311150 h 4429225"/>
              <a:gd name="connsiteX98" fmla="*/ 1268752 w 4519987"/>
              <a:gd name="connsiteY98" fmla="*/ 285750 h 4429225"/>
              <a:gd name="connsiteX99" fmla="*/ 1411627 w 4519987"/>
              <a:gd name="connsiteY99" fmla="*/ 190500 h 4429225"/>
              <a:gd name="connsiteX100" fmla="*/ 1449727 w 4519987"/>
              <a:gd name="connsiteY100" fmla="*/ 161925 h 4429225"/>
              <a:gd name="connsiteX101" fmla="*/ 1525927 w 4519987"/>
              <a:gd name="connsiteY101" fmla="*/ 152400 h 4429225"/>
              <a:gd name="connsiteX102" fmla="*/ 1583077 w 4519987"/>
              <a:gd name="connsiteY102" fmla="*/ 142875 h 4429225"/>
              <a:gd name="connsiteX103" fmla="*/ 1716427 w 4519987"/>
              <a:gd name="connsiteY103" fmla="*/ 123825 h 4429225"/>
              <a:gd name="connsiteX104" fmla="*/ 1811677 w 4519987"/>
              <a:gd name="connsiteY104" fmla="*/ 114300 h 4429225"/>
              <a:gd name="connsiteX105" fmla="*/ 1859302 w 4519987"/>
              <a:gd name="connsiteY105" fmla="*/ 104775 h 4429225"/>
              <a:gd name="connsiteX106" fmla="*/ 1916452 w 4519987"/>
              <a:gd name="connsiteY106" fmla="*/ 95250 h 4429225"/>
              <a:gd name="connsiteX107" fmla="*/ 2030752 w 4519987"/>
              <a:gd name="connsiteY107" fmla="*/ 66675 h 4429225"/>
              <a:gd name="connsiteX108" fmla="*/ 2097427 w 4519987"/>
              <a:gd name="connsiteY108" fmla="*/ 47625 h 4429225"/>
              <a:gd name="connsiteX109" fmla="*/ 2164102 w 4519987"/>
              <a:gd name="connsiteY109" fmla="*/ 38100 h 4429225"/>
              <a:gd name="connsiteX110" fmla="*/ 2392702 w 4519987"/>
              <a:gd name="connsiteY110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925852 w 4519987"/>
              <a:gd name="connsiteY48" fmla="*/ 4067175 h 4429225"/>
              <a:gd name="connsiteX49" fmla="*/ 830602 w 4519987"/>
              <a:gd name="connsiteY49" fmla="*/ 3981450 h 4429225"/>
              <a:gd name="connsiteX50" fmla="*/ 763927 w 4519987"/>
              <a:gd name="connsiteY50" fmla="*/ 3914775 h 4429225"/>
              <a:gd name="connsiteX51" fmla="*/ 725827 w 4519987"/>
              <a:gd name="connsiteY51" fmla="*/ 3876675 h 4429225"/>
              <a:gd name="connsiteX52" fmla="*/ 697252 w 4519987"/>
              <a:gd name="connsiteY52" fmla="*/ 3838575 h 4429225"/>
              <a:gd name="connsiteX53" fmla="*/ 640102 w 4519987"/>
              <a:gd name="connsiteY53" fmla="*/ 3781425 h 4429225"/>
              <a:gd name="connsiteX54" fmla="*/ 611527 w 4519987"/>
              <a:gd name="connsiteY54" fmla="*/ 3733800 h 4429225"/>
              <a:gd name="connsiteX55" fmla="*/ 554377 w 4519987"/>
              <a:gd name="connsiteY55" fmla="*/ 3657600 h 4429225"/>
              <a:gd name="connsiteX56" fmla="*/ 525802 w 4519987"/>
              <a:gd name="connsiteY56" fmla="*/ 3609975 h 4429225"/>
              <a:gd name="connsiteX57" fmla="*/ 497227 w 4519987"/>
              <a:gd name="connsiteY57" fmla="*/ 3552825 h 4429225"/>
              <a:gd name="connsiteX58" fmla="*/ 440077 w 4519987"/>
              <a:gd name="connsiteY58" fmla="*/ 3495675 h 4429225"/>
              <a:gd name="connsiteX59" fmla="*/ 411502 w 4519987"/>
              <a:gd name="connsiteY59" fmla="*/ 3448050 h 4429225"/>
              <a:gd name="connsiteX60" fmla="*/ 278152 w 4519987"/>
              <a:gd name="connsiteY60" fmla="*/ 3257550 h 4429225"/>
              <a:gd name="connsiteX61" fmla="*/ 249577 w 4519987"/>
              <a:gd name="connsiteY61" fmla="*/ 3200400 h 4429225"/>
              <a:gd name="connsiteX62" fmla="*/ 240052 w 4519987"/>
              <a:gd name="connsiteY62" fmla="*/ 3162300 h 4429225"/>
              <a:gd name="connsiteX63" fmla="*/ 221002 w 4519987"/>
              <a:gd name="connsiteY63" fmla="*/ 3105150 h 4429225"/>
              <a:gd name="connsiteX64" fmla="*/ 173377 w 4519987"/>
              <a:gd name="connsiteY64" fmla="*/ 3019425 h 4429225"/>
              <a:gd name="connsiteX65" fmla="*/ 144802 w 4519987"/>
              <a:gd name="connsiteY65" fmla="*/ 2924175 h 4429225"/>
              <a:gd name="connsiteX66" fmla="*/ 68602 w 4519987"/>
              <a:gd name="connsiteY66" fmla="*/ 2724150 h 4429225"/>
              <a:gd name="connsiteX67" fmla="*/ 49552 w 4519987"/>
              <a:gd name="connsiteY67" fmla="*/ 2638425 h 4429225"/>
              <a:gd name="connsiteX68" fmla="*/ 40027 w 4519987"/>
              <a:gd name="connsiteY68" fmla="*/ 2562225 h 4429225"/>
              <a:gd name="connsiteX69" fmla="*/ 30502 w 4519987"/>
              <a:gd name="connsiteY69" fmla="*/ 2514600 h 4429225"/>
              <a:gd name="connsiteX70" fmla="*/ 11452 w 4519987"/>
              <a:gd name="connsiteY70" fmla="*/ 2400300 h 4429225"/>
              <a:gd name="connsiteX71" fmla="*/ 20977 w 4519987"/>
              <a:gd name="connsiteY71" fmla="*/ 1905000 h 4429225"/>
              <a:gd name="connsiteX72" fmla="*/ 30502 w 4519987"/>
              <a:gd name="connsiteY72" fmla="*/ 1838325 h 4429225"/>
              <a:gd name="connsiteX73" fmla="*/ 49552 w 4519987"/>
              <a:gd name="connsiteY73" fmla="*/ 1781175 h 4429225"/>
              <a:gd name="connsiteX74" fmla="*/ 59077 w 4519987"/>
              <a:gd name="connsiteY74" fmla="*/ 1743075 h 4429225"/>
              <a:gd name="connsiteX75" fmla="*/ 78127 w 4519987"/>
              <a:gd name="connsiteY75" fmla="*/ 1685925 h 4429225"/>
              <a:gd name="connsiteX76" fmla="*/ 87652 w 4519987"/>
              <a:gd name="connsiteY76" fmla="*/ 1638300 h 4429225"/>
              <a:gd name="connsiteX77" fmla="*/ 106702 w 4519987"/>
              <a:gd name="connsiteY77" fmla="*/ 1590675 h 4429225"/>
              <a:gd name="connsiteX78" fmla="*/ 135277 w 4519987"/>
              <a:gd name="connsiteY78" fmla="*/ 1504950 h 4429225"/>
              <a:gd name="connsiteX79" fmla="*/ 154327 w 4519987"/>
              <a:gd name="connsiteY79" fmla="*/ 1419225 h 4429225"/>
              <a:gd name="connsiteX80" fmla="*/ 230527 w 4519987"/>
              <a:gd name="connsiteY80" fmla="*/ 1276350 h 4429225"/>
              <a:gd name="connsiteX81" fmla="*/ 240052 w 4519987"/>
              <a:gd name="connsiteY81" fmla="*/ 1247775 h 4429225"/>
              <a:gd name="connsiteX82" fmla="*/ 268627 w 4519987"/>
              <a:gd name="connsiteY82" fmla="*/ 1200150 h 4429225"/>
              <a:gd name="connsiteX83" fmla="*/ 287677 w 4519987"/>
              <a:gd name="connsiteY83" fmla="*/ 1152525 h 4429225"/>
              <a:gd name="connsiteX84" fmla="*/ 316252 w 4519987"/>
              <a:gd name="connsiteY84" fmla="*/ 1114425 h 4429225"/>
              <a:gd name="connsiteX85" fmla="*/ 363877 w 4519987"/>
              <a:gd name="connsiteY85" fmla="*/ 1038225 h 4429225"/>
              <a:gd name="connsiteX86" fmla="*/ 382927 w 4519987"/>
              <a:gd name="connsiteY86" fmla="*/ 1009650 h 4429225"/>
              <a:gd name="connsiteX87" fmla="*/ 440077 w 4519987"/>
              <a:gd name="connsiteY87" fmla="*/ 904875 h 4429225"/>
              <a:gd name="connsiteX88" fmla="*/ 478177 w 4519987"/>
              <a:gd name="connsiteY88" fmla="*/ 857250 h 4429225"/>
              <a:gd name="connsiteX89" fmla="*/ 497227 w 4519987"/>
              <a:gd name="connsiteY89" fmla="*/ 828675 h 4429225"/>
              <a:gd name="connsiteX90" fmla="*/ 535327 w 4519987"/>
              <a:gd name="connsiteY90" fmla="*/ 800100 h 4429225"/>
              <a:gd name="connsiteX91" fmla="*/ 602002 w 4519987"/>
              <a:gd name="connsiteY91" fmla="*/ 733425 h 4429225"/>
              <a:gd name="connsiteX92" fmla="*/ 668677 w 4519987"/>
              <a:gd name="connsiteY92" fmla="*/ 676275 h 4429225"/>
              <a:gd name="connsiteX93" fmla="*/ 697252 w 4519987"/>
              <a:gd name="connsiteY93" fmla="*/ 657225 h 4429225"/>
              <a:gd name="connsiteX94" fmla="*/ 840127 w 4519987"/>
              <a:gd name="connsiteY94" fmla="*/ 533400 h 4429225"/>
              <a:gd name="connsiteX95" fmla="*/ 887752 w 4519987"/>
              <a:gd name="connsiteY95" fmla="*/ 504825 h 4429225"/>
              <a:gd name="connsiteX96" fmla="*/ 1167152 w 4519987"/>
              <a:gd name="connsiteY96" fmla="*/ 311150 h 4429225"/>
              <a:gd name="connsiteX97" fmla="*/ 1268752 w 4519987"/>
              <a:gd name="connsiteY97" fmla="*/ 285750 h 4429225"/>
              <a:gd name="connsiteX98" fmla="*/ 1411627 w 4519987"/>
              <a:gd name="connsiteY98" fmla="*/ 190500 h 4429225"/>
              <a:gd name="connsiteX99" fmla="*/ 1449727 w 4519987"/>
              <a:gd name="connsiteY99" fmla="*/ 161925 h 4429225"/>
              <a:gd name="connsiteX100" fmla="*/ 1525927 w 4519987"/>
              <a:gd name="connsiteY100" fmla="*/ 152400 h 4429225"/>
              <a:gd name="connsiteX101" fmla="*/ 1583077 w 4519987"/>
              <a:gd name="connsiteY101" fmla="*/ 142875 h 4429225"/>
              <a:gd name="connsiteX102" fmla="*/ 1716427 w 4519987"/>
              <a:gd name="connsiteY102" fmla="*/ 123825 h 4429225"/>
              <a:gd name="connsiteX103" fmla="*/ 1811677 w 4519987"/>
              <a:gd name="connsiteY103" fmla="*/ 114300 h 4429225"/>
              <a:gd name="connsiteX104" fmla="*/ 1859302 w 4519987"/>
              <a:gd name="connsiteY104" fmla="*/ 104775 h 4429225"/>
              <a:gd name="connsiteX105" fmla="*/ 1916452 w 4519987"/>
              <a:gd name="connsiteY105" fmla="*/ 95250 h 4429225"/>
              <a:gd name="connsiteX106" fmla="*/ 2030752 w 4519987"/>
              <a:gd name="connsiteY106" fmla="*/ 66675 h 4429225"/>
              <a:gd name="connsiteX107" fmla="*/ 2097427 w 4519987"/>
              <a:gd name="connsiteY107" fmla="*/ 47625 h 4429225"/>
              <a:gd name="connsiteX108" fmla="*/ 2164102 w 4519987"/>
              <a:gd name="connsiteY108" fmla="*/ 38100 h 4429225"/>
              <a:gd name="connsiteX109" fmla="*/ 2392702 w 4519987"/>
              <a:gd name="connsiteY109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725827 w 4519987"/>
              <a:gd name="connsiteY50" fmla="*/ 3876675 h 4429225"/>
              <a:gd name="connsiteX51" fmla="*/ 697252 w 4519987"/>
              <a:gd name="connsiteY51" fmla="*/ 3838575 h 4429225"/>
              <a:gd name="connsiteX52" fmla="*/ 640102 w 4519987"/>
              <a:gd name="connsiteY52" fmla="*/ 3781425 h 4429225"/>
              <a:gd name="connsiteX53" fmla="*/ 611527 w 4519987"/>
              <a:gd name="connsiteY53" fmla="*/ 3733800 h 4429225"/>
              <a:gd name="connsiteX54" fmla="*/ 554377 w 4519987"/>
              <a:gd name="connsiteY54" fmla="*/ 3657600 h 4429225"/>
              <a:gd name="connsiteX55" fmla="*/ 525802 w 4519987"/>
              <a:gd name="connsiteY55" fmla="*/ 3609975 h 4429225"/>
              <a:gd name="connsiteX56" fmla="*/ 497227 w 4519987"/>
              <a:gd name="connsiteY56" fmla="*/ 3552825 h 4429225"/>
              <a:gd name="connsiteX57" fmla="*/ 440077 w 4519987"/>
              <a:gd name="connsiteY57" fmla="*/ 3495675 h 4429225"/>
              <a:gd name="connsiteX58" fmla="*/ 411502 w 4519987"/>
              <a:gd name="connsiteY58" fmla="*/ 3448050 h 4429225"/>
              <a:gd name="connsiteX59" fmla="*/ 278152 w 4519987"/>
              <a:gd name="connsiteY59" fmla="*/ 3257550 h 4429225"/>
              <a:gd name="connsiteX60" fmla="*/ 249577 w 4519987"/>
              <a:gd name="connsiteY60" fmla="*/ 3200400 h 4429225"/>
              <a:gd name="connsiteX61" fmla="*/ 240052 w 4519987"/>
              <a:gd name="connsiteY61" fmla="*/ 3162300 h 4429225"/>
              <a:gd name="connsiteX62" fmla="*/ 221002 w 4519987"/>
              <a:gd name="connsiteY62" fmla="*/ 3105150 h 4429225"/>
              <a:gd name="connsiteX63" fmla="*/ 173377 w 4519987"/>
              <a:gd name="connsiteY63" fmla="*/ 3019425 h 4429225"/>
              <a:gd name="connsiteX64" fmla="*/ 144802 w 4519987"/>
              <a:gd name="connsiteY64" fmla="*/ 2924175 h 4429225"/>
              <a:gd name="connsiteX65" fmla="*/ 68602 w 4519987"/>
              <a:gd name="connsiteY65" fmla="*/ 2724150 h 4429225"/>
              <a:gd name="connsiteX66" fmla="*/ 49552 w 4519987"/>
              <a:gd name="connsiteY66" fmla="*/ 2638425 h 4429225"/>
              <a:gd name="connsiteX67" fmla="*/ 40027 w 4519987"/>
              <a:gd name="connsiteY67" fmla="*/ 2562225 h 4429225"/>
              <a:gd name="connsiteX68" fmla="*/ 30502 w 4519987"/>
              <a:gd name="connsiteY68" fmla="*/ 2514600 h 4429225"/>
              <a:gd name="connsiteX69" fmla="*/ 11452 w 4519987"/>
              <a:gd name="connsiteY69" fmla="*/ 2400300 h 4429225"/>
              <a:gd name="connsiteX70" fmla="*/ 20977 w 4519987"/>
              <a:gd name="connsiteY70" fmla="*/ 1905000 h 4429225"/>
              <a:gd name="connsiteX71" fmla="*/ 30502 w 4519987"/>
              <a:gd name="connsiteY71" fmla="*/ 1838325 h 4429225"/>
              <a:gd name="connsiteX72" fmla="*/ 49552 w 4519987"/>
              <a:gd name="connsiteY72" fmla="*/ 1781175 h 4429225"/>
              <a:gd name="connsiteX73" fmla="*/ 59077 w 4519987"/>
              <a:gd name="connsiteY73" fmla="*/ 1743075 h 4429225"/>
              <a:gd name="connsiteX74" fmla="*/ 78127 w 4519987"/>
              <a:gd name="connsiteY74" fmla="*/ 1685925 h 4429225"/>
              <a:gd name="connsiteX75" fmla="*/ 87652 w 4519987"/>
              <a:gd name="connsiteY75" fmla="*/ 1638300 h 4429225"/>
              <a:gd name="connsiteX76" fmla="*/ 106702 w 4519987"/>
              <a:gd name="connsiteY76" fmla="*/ 1590675 h 4429225"/>
              <a:gd name="connsiteX77" fmla="*/ 135277 w 4519987"/>
              <a:gd name="connsiteY77" fmla="*/ 1504950 h 4429225"/>
              <a:gd name="connsiteX78" fmla="*/ 154327 w 4519987"/>
              <a:gd name="connsiteY78" fmla="*/ 1419225 h 4429225"/>
              <a:gd name="connsiteX79" fmla="*/ 230527 w 4519987"/>
              <a:gd name="connsiteY79" fmla="*/ 1276350 h 4429225"/>
              <a:gd name="connsiteX80" fmla="*/ 240052 w 4519987"/>
              <a:gd name="connsiteY80" fmla="*/ 1247775 h 4429225"/>
              <a:gd name="connsiteX81" fmla="*/ 268627 w 4519987"/>
              <a:gd name="connsiteY81" fmla="*/ 1200150 h 4429225"/>
              <a:gd name="connsiteX82" fmla="*/ 287677 w 4519987"/>
              <a:gd name="connsiteY82" fmla="*/ 1152525 h 4429225"/>
              <a:gd name="connsiteX83" fmla="*/ 316252 w 4519987"/>
              <a:gd name="connsiteY83" fmla="*/ 1114425 h 4429225"/>
              <a:gd name="connsiteX84" fmla="*/ 363877 w 4519987"/>
              <a:gd name="connsiteY84" fmla="*/ 1038225 h 4429225"/>
              <a:gd name="connsiteX85" fmla="*/ 382927 w 4519987"/>
              <a:gd name="connsiteY85" fmla="*/ 1009650 h 4429225"/>
              <a:gd name="connsiteX86" fmla="*/ 440077 w 4519987"/>
              <a:gd name="connsiteY86" fmla="*/ 904875 h 4429225"/>
              <a:gd name="connsiteX87" fmla="*/ 478177 w 4519987"/>
              <a:gd name="connsiteY87" fmla="*/ 857250 h 4429225"/>
              <a:gd name="connsiteX88" fmla="*/ 497227 w 4519987"/>
              <a:gd name="connsiteY88" fmla="*/ 828675 h 4429225"/>
              <a:gd name="connsiteX89" fmla="*/ 535327 w 4519987"/>
              <a:gd name="connsiteY89" fmla="*/ 800100 h 4429225"/>
              <a:gd name="connsiteX90" fmla="*/ 602002 w 4519987"/>
              <a:gd name="connsiteY90" fmla="*/ 733425 h 4429225"/>
              <a:gd name="connsiteX91" fmla="*/ 668677 w 4519987"/>
              <a:gd name="connsiteY91" fmla="*/ 676275 h 4429225"/>
              <a:gd name="connsiteX92" fmla="*/ 697252 w 4519987"/>
              <a:gd name="connsiteY92" fmla="*/ 657225 h 4429225"/>
              <a:gd name="connsiteX93" fmla="*/ 840127 w 4519987"/>
              <a:gd name="connsiteY93" fmla="*/ 533400 h 4429225"/>
              <a:gd name="connsiteX94" fmla="*/ 887752 w 4519987"/>
              <a:gd name="connsiteY94" fmla="*/ 504825 h 4429225"/>
              <a:gd name="connsiteX95" fmla="*/ 1167152 w 4519987"/>
              <a:gd name="connsiteY95" fmla="*/ 311150 h 4429225"/>
              <a:gd name="connsiteX96" fmla="*/ 1268752 w 4519987"/>
              <a:gd name="connsiteY96" fmla="*/ 285750 h 4429225"/>
              <a:gd name="connsiteX97" fmla="*/ 1411627 w 4519987"/>
              <a:gd name="connsiteY97" fmla="*/ 190500 h 4429225"/>
              <a:gd name="connsiteX98" fmla="*/ 1449727 w 4519987"/>
              <a:gd name="connsiteY98" fmla="*/ 161925 h 4429225"/>
              <a:gd name="connsiteX99" fmla="*/ 1525927 w 4519987"/>
              <a:gd name="connsiteY99" fmla="*/ 152400 h 4429225"/>
              <a:gd name="connsiteX100" fmla="*/ 1583077 w 4519987"/>
              <a:gd name="connsiteY100" fmla="*/ 142875 h 4429225"/>
              <a:gd name="connsiteX101" fmla="*/ 1716427 w 4519987"/>
              <a:gd name="connsiteY101" fmla="*/ 123825 h 4429225"/>
              <a:gd name="connsiteX102" fmla="*/ 1811677 w 4519987"/>
              <a:gd name="connsiteY102" fmla="*/ 114300 h 4429225"/>
              <a:gd name="connsiteX103" fmla="*/ 1859302 w 4519987"/>
              <a:gd name="connsiteY103" fmla="*/ 104775 h 4429225"/>
              <a:gd name="connsiteX104" fmla="*/ 1916452 w 4519987"/>
              <a:gd name="connsiteY104" fmla="*/ 95250 h 4429225"/>
              <a:gd name="connsiteX105" fmla="*/ 2030752 w 4519987"/>
              <a:gd name="connsiteY105" fmla="*/ 66675 h 4429225"/>
              <a:gd name="connsiteX106" fmla="*/ 2097427 w 4519987"/>
              <a:gd name="connsiteY106" fmla="*/ 47625 h 4429225"/>
              <a:gd name="connsiteX107" fmla="*/ 2164102 w 4519987"/>
              <a:gd name="connsiteY107" fmla="*/ 38100 h 4429225"/>
              <a:gd name="connsiteX108" fmla="*/ 2392702 w 4519987"/>
              <a:gd name="connsiteY108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640102 w 4519987"/>
              <a:gd name="connsiteY51" fmla="*/ 3781425 h 4429225"/>
              <a:gd name="connsiteX52" fmla="*/ 611527 w 4519987"/>
              <a:gd name="connsiteY52" fmla="*/ 3733800 h 4429225"/>
              <a:gd name="connsiteX53" fmla="*/ 554377 w 4519987"/>
              <a:gd name="connsiteY53" fmla="*/ 3657600 h 4429225"/>
              <a:gd name="connsiteX54" fmla="*/ 525802 w 4519987"/>
              <a:gd name="connsiteY54" fmla="*/ 3609975 h 4429225"/>
              <a:gd name="connsiteX55" fmla="*/ 497227 w 4519987"/>
              <a:gd name="connsiteY55" fmla="*/ 3552825 h 4429225"/>
              <a:gd name="connsiteX56" fmla="*/ 440077 w 4519987"/>
              <a:gd name="connsiteY56" fmla="*/ 3495675 h 4429225"/>
              <a:gd name="connsiteX57" fmla="*/ 411502 w 4519987"/>
              <a:gd name="connsiteY57" fmla="*/ 3448050 h 4429225"/>
              <a:gd name="connsiteX58" fmla="*/ 278152 w 4519987"/>
              <a:gd name="connsiteY58" fmla="*/ 3257550 h 4429225"/>
              <a:gd name="connsiteX59" fmla="*/ 249577 w 4519987"/>
              <a:gd name="connsiteY59" fmla="*/ 3200400 h 4429225"/>
              <a:gd name="connsiteX60" fmla="*/ 240052 w 4519987"/>
              <a:gd name="connsiteY60" fmla="*/ 3162300 h 4429225"/>
              <a:gd name="connsiteX61" fmla="*/ 221002 w 4519987"/>
              <a:gd name="connsiteY61" fmla="*/ 3105150 h 4429225"/>
              <a:gd name="connsiteX62" fmla="*/ 173377 w 4519987"/>
              <a:gd name="connsiteY62" fmla="*/ 3019425 h 4429225"/>
              <a:gd name="connsiteX63" fmla="*/ 144802 w 4519987"/>
              <a:gd name="connsiteY63" fmla="*/ 2924175 h 4429225"/>
              <a:gd name="connsiteX64" fmla="*/ 68602 w 4519987"/>
              <a:gd name="connsiteY64" fmla="*/ 2724150 h 4429225"/>
              <a:gd name="connsiteX65" fmla="*/ 49552 w 4519987"/>
              <a:gd name="connsiteY65" fmla="*/ 2638425 h 4429225"/>
              <a:gd name="connsiteX66" fmla="*/ 40027 w 4519987"/>
              <a:gd name="connsiteY66" fmla="*/ 2562225 h 4429225"/>
              <a:gd name="connsiteX67" fmla="*/ 30502 w 4519987"/>
              <a:gd name="connsiteY67" fmla="*/ 2514600 h 4429225"/>
              <a:gd name="connsiteX68" fmla="*/ 11452 w 4519987"/>
              <a:gd name="connsiteY68" fmla="*/ 2400300 h 4429225"/>
              <a:gd name="connsiteX69" fmla="*/ 20977 w 4519987"/>
              <a:gd name="connsiteY69" fmla="*/ 1905000 h 4429225"/>
              <a:gd name="connsiteX70" fmla="*/ 30502 w 4519987"/>
              <a:gd name="connsiteY70" fmla="*/ 1838325 h 4429225"/>
              <a:gd name="connsiteX71" fmla="*/ 49552 w 4519987"/>
              <a:gd name="connsiteY71" fmla="*/ 1781175 h 4429225"/>
              <a:gd name="connsiteX72" fmla="*/ 59077 w 4519987"/>
              <a:gd name="connsiteY72" fmla="*/ 1743075 h 4429225"/>
              <a:gd name="connsiteX73" fmla="*/ 78127 w 4519987"/>
              <a:gd name="connsiteY73" fmla="*/ 1685925 h 4429225"/>
              <a:gd name="connsiteX74" fmla="*/ 87652 w 4519987"/>
              <a:gd name="connsiteY74" fmla="*/ 1638300 h 4429225"/>
              <a:gd name="connsiteX75" fmla="*/ 106702 w 4519987"/>
              <a:gd name="connsiteY75" fmla="*/ 1590675 h 4429225"/>
              <a:gd name="connsiteX76" fmla="*/ 135277 w 4519987"/>
              <a:gd name="connsiteY76" fmla="*/ 1504950 h 4429225"/>
              <a:gd name="connsiteX77" fmla="*/ 154327 w 4519987"/>
              <a:gd name="connsiteY77" fmla="*/ 1419225 h 4429225"/>
              <a:gd name="connsiteX78" fmla="*/ 230527 w 4519987"/>
              <a:gd name="connsiteY78" fmla="*/ 1276350 h 4429225"/>
              <a:gd name="connsiteX79" fmla="*/ 240052 w 4519987"/>
              <a:gd name="connsiteY79" fmla="*/ 1247775 h 4429225"/>
              <a:gd name="connsiteX80" fmla="*/ 268627 w 4519987"/>
              <a:gd name="connsiteY80" fmla="*/ 1200150 h 4429225"/>
              <a:gd name="connsiteX81" fmla="*/ 287677 w 4519987"/>
              <a:gd name="connsiteY81" fmla="*/ 1152525 h 4429225"/>
              <a:gd name="connsiteX82" fmla="*/ 316252 w 4519987"/>
              <a:gd name="connsiteY82" fmla="*/ 1114425 h 4429225"/>
              <a:gd name="connsiteX83" fmla="*/ 363877 w 4519987"/>
              <a:gd name="connsiteY83" fmla="*/ 1038225 h 4429225"/>
              <a:gd name="connsiteX84" fmla="*/ 382927 w 4519987"/>
              <a:gd name="connsiteY84" fmla="*/ 1009650 h 4429225"/>
              <a:gd name="connsiteX85" fmla="*/ 440077 w 4519987"/>
              <a:gd name="connsiteY85" fmla="*/ 904875 h 4429225"/>
              <a:gd name="connsiteX86" fmla="*/ 478177 w 4519987"/>
              <a:gd name="connsiteY86" fmla="*/ 857250 h 4429225"/>
              <a:gd name="connsiteX87" fmla="*/ 497227 w 4519987"/>
              <a:gd name="connsiteY87" fmla="*/ 828675 h 4429225"/>
              <a:gd name="connsiteX88" fmla="*/ 535327 w 4519987"/>
              <a:gd name="connsiteY88" fmla="*/ 800100 h 4429225"/>
              <a:gd name="connsiteX89" fmla="*/ 602002 w 4519987"/>
              <a:gd name="connsiteY89" fmla="*/ 733425 h 4429225"/>
              <a:gd name="connsiteX90" fmla="*/ 668677 w 4519987"/>
              <a:gd name="connsiteY90" fmla="*/ 676275 h 4429225"/>
              <a:gd name="connsiteX91" fmla="*/ 697252 w 4519987"/>
              <a:gd name="connsiteY91" fmla="*/ 657225 h 4429225"/>
              <a:gd name="connsiteX92" fmla="*/ 840127 w 4519987"/>
              <a:gd name="connsiteY92" fmla="*/ 533400 h 4429225"/>
              <a:gd name="connsiteX93" fmla="*/ 887752 w 4519987"/>
              <a:gd name="connsiteY93" fmla="*/ 504825 h 4429225"/>
              <a:gd name="connsiteX94" fmla="*/ 1167152 w 4519987"/>
              <a:gd name="connsiteY94" fmla="*/ 311150 h 4429225"/>
              <a:gd name="connsiteX95" fmla="*/ 1268752 w 4519987"/>
              <a:gd name="connsiteY95" fmla="*/ 285750 h 4429225"/>
              <a:gd name="connsiteX96" fmla="*/ 1411627 w 4519987"/>
              <a:gd name="connsiteY96" fmla="*/ 190500 h 4429225"/>
              <a:gd name="connsiteX97" fmla="*/ 1449727 w 4519987"/>
              <a:gd name="connsiteY97" fmla="*/ 161925 h 4429225"/>
              <a:gd name="connsiteX98" fmla="*/ 1525927 w 4519987"/>
              <a:gd name="connsiteY98" fmla="*/ 152400 h 4429225"/>
              <a:gd name="connsiteX99" fmla="*/ 1583077 w 4519987"/>
              <a:gd name="connsiteY99" fmla="*/ 142875 h 4429225"/>
              <a:gd name="connsiteX100" fmla="*/ 1716427 w 4519987"/>
              <a:gd name="connsiteY100" fmla="*/ 123825 h 4429225"/>
              <a:gd name="connsiteX101" fmla="*/ 1811677 w 4519987"/>
              <a:gd name="connsiteY101" fmla="*/ 114300 h 4429225"/>
              <a:gd name="connsiteX102" fmla="*/ 1859302 w 4519987"/>
              <a:gd name="connsiteY102" fmla="*/ 104775 h 4429225"/>
              <a:gd name="connsiteX103" fmla="*/ 1916452 w 4519987"/>
              <a:gd name="connsiteY103" fmla="*/ 95250 h 4429225"/>
              <a:gd name="connsiteX104" fmla="*/ 2030752 w 4519987"/>
              <a:gd name="connsiteY104" fmla="*/ 66675 h 4429225"/>
              <a:gd name="connsiteX105" fmla="*/ 2097427 w 4519987"/>
              <a:gd name="connsiteY105" fmla="*/ 47625 h 4429225"/>
              <a:gd name="connsiteX106" fmla="*/ 2164102 w 4519987"/>
              <a:gd name="connsiteY106" fmla="*/ 38100 h 4429225"/>
              <a:gd name="connsiteX107" fmla="*/ 2392702 w 4519987"/>
              <a:gd name="connsiteY107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611527 w 4519987"/>
              <a:gd name="connsiteY51" fmla="*/ 3733800 h 4429225"/>
              <a:gd name="connsiteX52" fmla="*/ 554377 w 4519987"/>
              <a:gd name="connsiteY52" fmla="*/ 3657600 h 4429225"/>
              <a:gd name="connsiteX53" fmla="*/ 525802 w 4519987"/>
              <a:gd name="connsiteY53" fmla="*/ 3609975 h 4429225"/>
              <a:gd name="connsiteX54" fmla="*/ 497227 w 4519987"/>
              <a:gd name="connsiteY54" fmla="*/ 3552825 h 4429225"/>
              <a:gd name="connsiteX55" fmla="*/ 440077 w 4519987"/>
              <a:gd name="connsiteY55" fmla="*/ 3495675 h 4429225"/>
              <a:gd name="connsiteX56" fmla="*/ 411502 w 4519987"/>
              <a:gd name="connsiteY56" fmla="*/ 3448050 h 4429225"/>
              <a:gd name="connsiteX57" fmla="*/ 278152 w 4519987"/>
              <a:gd name="connsiteY57" fmla="*/ 3257550 h 4429225"/>
              <a:gd name="connsiteX58" fmla="*/ 249577 w 4519987"/>
              <a:gd name="connsiteY58" fmla="*/ 3200400 h 4429225"/>
              <a:gd name="connsiteX59" fmla="*/ 240052 w 4519987"/>
              <a:gd name="connsiteY59" fmla="*/ 3162300 h 4429225"/>
              <a:gd name="connsiteX60" fmla="*/ 221002 w 4519987"/>
              <a:gd name="connsiteY60" fmla="*/ 3105150 h 4429225"/>
              <a:gd name="connsiteX61" fmla="*/ 173377 w 4519987"/>
              <a:gd name="connsiteY61" fmla="*/ 3019425 h 4429225"/>
              <a:gd name="connsiteX62" fmla="*/ 144802 w 4519987"/>
              <a:gd name="connsiteY62" fmla="*/ 2924175 h 4429225"/>
              <a:gd name="connsiteX63" fmla="*/ 68602 w 4519987"/>
              <a:gd name="connsiteY63" fmla="*/ 2724150 h 4429225"/>
              <a:gd name="connsiteX64" fmla="*/ 49552 w 4519987"/>
              <a:gd name="connsiteY64" fmla="*/ 2638425 h 4429225"/>
              <a:gd name="connsiteX65" fmla="*/ 40027 w 4519987"/>
              <a:gd name="connsiteY65" fmla="*/ 2562225 h 4429225"/>
              <a:gd name="connsiteX66" fmla="*/ 30502 w 4519987"/>
              <a:gd name="connsiteY66" fmla="*/ 2514600 h 4429225"/>
              <a:gd name="connsiteX67" fmla="*/ 11452 w 4519987"/>
              <a:gd name="connsiteY67" fmla="*/ 2400300 h 4429225"/>
              <a:gd name="connsiteX68" fmla="*/ 20977 w 4519987"/>
              <a:gd name="connsiteY68" fmla="*/ 1905000 h 4429225"/>
              <a:gd name="connsiteX69" fmla="*/ 30502 w 4519987"/>
              <a:gd name="connsiteY69" fmla="*/ 1838325 h 4429225"/>
              <a:gd name="connsiteX70" fmla="*/ 49552 w 4519987"/>
              <a:gd name="connsiteY70" fmla="*/ 1781175 h 4429225"/>
              <a:gd name="connsiteX71" fmla="*/ 59077 w 4519987"/>
              <a:gd name="connsiteY71" fmla="*/ 1743075 h 4429225"/>
              <a:gd name="connsiteX72" fmla="*/ 78127 w 4519987"/>
              <a:gd name="connsiteY72" fmla="*/ 1685925 h 4429225"/>
              <a:gd name="connsiteX73" fmla="*/ 87652 w 4519987"/>
              <a:gd name="connsiteY73" fmla="*/ 1638300 h 4429225"/>
              <a:gd name="connsiteX74" fmla="*/ 106702 w 4519987"/>
              <a:gd name="connsiteY74" fmla="*/ 1590675 h 4429225"/>
              <a:gd name="connsiteX75" fmla="*/ 135277 w 4519987"/>
              <a:gd name="connsiteY75" fmla="*/ 1504950 h 4429225"/>
              <a:gd name="connsiteX76" fmla="*/ 154327 w 4519987"/>
              <a:gd name="connsiteY76" fmla="*/ 1419225 h 4429225"/>
              <a:gd name="connsiteX77" fmla="*/ 230527 w 4519987"/>
              <a:gd name="connsiteY77" fmla="*/ 1276350 h 4429225"/>
              <a:gd name="connsiteX78" fmla="*/ 240052 w 4519987"/>
              <a:gd name="connsiteY78" fmla="*/ 1247775 h 4429225"/>
              <a:gd name="connsiteX79" fmla="*/ 268627 w 4519987"/>
              <a:gd name="connsiteY79" fmla="*/ 1200150 h 4429225"/>
              <a:gd name="connsiteX80" fmla="*/ 287677 w 4519987"/>
              <a:gd name="connsiteY80" fmla="*/ 1152525 h 4429225"/>
              <a:gd name="connsiteX81" fmla="*/ 316252 w 4519987"/>
              <a:gd name="connsiteY81" fmla="*/ 1114425 h 4429225"/>
              <a:gd name="connsiteX82" fmla="*/ 363877 w 4519987"/>
              <a:gd name="connsiteY82" fmla="*/ 1038225 h 4429225"/>
              <a:gd name="connsiteX83" fmla="*/ 382927 w 4519987"/>
              <a:gd name="connsiteY83" fmla="*/ 1009650 h 4429225"/>
              <a:gd name="connsiteX84" fmla="*/ 440077 w 4519987"/>
              <a:gd name="connsiteY84" fmla="*/ 904875 h 4429225"/>
              <a:gd name="connsiteX85" fmla="*/ 478177 w 4519987"/>
              <a:gd name="connsiteY85" fmla="*/ 857250 h 4429225"/>
              <a:gd name="connsiteX86" fmla="*/ 497227 w 4519987"/>
              <a:gd name="connsiteY86" fmla="*/ 828675 h 4429225"/>
              <a:gd name="connsiteX87" fmla="*/ 535327 w 4519987"/>
              <a:gd name="connsiteY87" fmla="*/ 800100 h 4429225"/>
              <a:gd name="connsiteX88" fmla="*/ 602002 w 4519987"/>
              <a:gd name="connsiteY88" fmla="*/ 733425 h 4429225"/>
              <a:gd name="connsiteX89" fmla="*/ 668677 w 4519987"/>
              <a:gd name="connsiteY89" fmla="*/ 676275 h 4429225"/>
              <a:gd name="connsiteX90" fmla="*/ 697252 w 4519987"/>
              <a:gd name="connsiteY90" fmla="*/ 657225 h 4429225"/>
              <a:gd name="connsiteX91" fmla="*/ 840127 w 4519987"/>
              <a:gd name="connsiteY91" fmla="*/ 533400 h 4429225"/>
              <a:gd name="connsiteX92" fmla="*/ 887752 w 4519987"/>
              <a:gd name="connsiteY92" fmla="*/ 504825 h 4429225"/>
              <a:gd name="connsiteX93" fmla="*/ 1167152 w 4519987"/>
              <a:gd name="connsiteY93" fmla="*/ 311150 h 4429225"/>
              <a:gd name="connsiteX94" fmla="*/ 1268752 w 4519987"/>
              <a:gd name="connsiteY94" fmla="*/ 285750 h 4429225"/>
              <a:gd name="connsiteX95" fmla="*/ 1411627 w 4519987"/>
              <a:gd name="connsiteY95" fmla="*/ 190500 h 4429225"/>
              <a:gd name="connsiteX96" fmla="*/ 1449727 w 4519987"/>
              <a:gd name="connsiteY96" fmla="*/ 161925 h 4429225"/>
              <a:gd name="connsiteX97" fmla="*/ 1525927 w 4519987"/>
              <a:gd name="connsiteY97" fmla="*/ 152400 h 4429225"/>
              <a:gd name="connsiteX98" fmla="*/ 1583077 w 4519987"/>
              <a:gd name="connsiteY98" fmla="*/ 142875 h 4429225"/>
              <a:gd name="connsiteX99" fmla="*/ 1716427 w 4519987"/>
              <a:gd name="connsiteY99" fmla="*/ 123825 h 4429225"/>
              <a:gd name="connsiteX100" fmla="*/ 1811677 w 4519987"/>
              <a:gd name="connsiteY100" fmla="*/ 114300 h 4429225"/>
              <a:gd name="connsiteX101" fmla="*/ 1859302 w 4519987"/>
              <a:gd name="connsiteY101" fmla="*/ 104775 h 4429225"/>
              <a:gd name="connsiteX102" fmla="*/ 1916452 w 4519987"/>
              <a:gd name="connsiteY102" fmla="*/ 95250 h 4429225"/>
              <a:gd name="connsiteX103" fmla="*/ 2030752 w 4519987"/>
              <a:gd name="connsiteY103" fmla="*/ 66675 h 4429225"/>
              <a:gd name="connsiteX104" fmla="*/ 2097427 w 4519987"/>
              <a:gd name="connsiteY104" fmla="*/ 47625 h 4429225"/>
              <a:gd name="connsiteX105" fmla="*/ 2164102 w 4519987"/>
              <a:gd name="connsiteY105" fmla="*/ 38100 h 4429225"/>
              <a:gd name="connsiteX106" fmla="*/ 2392702 w 4519987"/>
              <a:gd name="connsiteY106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525802 w 4519987"/>
              <a:gd name="connsiteY52" fmla="*/ 3609975 h 4429225"/>
              <a:gd name="connsiteX53" fmla="*/ 497227 w 4519987"/>
              <a:gd name="connsiteY53" fmla="*/ 3552825 h 4429225"/>
              <a:gd name="connsiteX54" fmla="*/ 440077 w 4519987"/>
              <a:gd name="connsiteY54" fmla="*/ 3495675 h 4429225"/>
              <a:gd name="connsiteX55" fmla="*/ 411502 w 4519987"/>
              <a:gd name="connsiteY55" fmla="*/ 3448050 h 4429225"/>
              <a:gd name="connsiteX56" fmla="*/ 278152 w 4519987"/>
              <a:gd name="connsiteY56" fmla="*/ 3257550 h 4429225"/>
              <a:gd name="connsiteX57" fmla="*/ 249577 w 4519987"/>
              <a:gd name="connsiteY57" fmla="*/ 3200400 h 4429225"/>
              <a:gd name="connsiteX58" fmla="*/ 240052 w 4519987"/>
              <a:gd name="connsiteY58" fmla="*/ 3162300 h 4429225"/>
              <a:gd name="connsiteX59" fmla="*/ 221002 w 4519987"/>
              <a:gd name="connsiteY59" fmla="*/ 3105150 h 4429225"/>
              <a:gd name="connsiteX60" fmla="*/ 173377 w 4519987"/>
              <a:gd name="connsiteY60" fmla="*/ 3019425 h 4429225"/>
              <a:gd name="connsiteX61" fmla="*/ 144802 w 4519987"/>
              <a:gd name="connsiteY61" fmla="*/ 2924175 h 4429225"/>
              <a:gd name="connsiteX62" fmla="*/ 68602 w 4519987"/>
              <a:gd name="connsiteY62" fmla="*/ 2724150 h 4429225"/>
              <a:gd name="connsiteX63" fmla="*/ 49552 w 4519987"/>
              <a:gd name="connsiteY63" fmla="*/ 2638425 h 4429225"/>
              <a:gd name="connsiteX64" fmla="*/ 40027 w 4519987"/>
              <a:gd name="connsiteY64" fmla="*/ 2562225 h 4429225"/>
              <a:gd name="connsiteX65" fmla="*/ 30502 w 4519987"/>
              <a:gd name="connsiteY65" fmla="*/ 2514600 h 4429225"/>
              <a:gd name="connsiteX66" fmla="*/ 11452 w 4519987"/>
              <a:gd name="connsiteY66" fmla="*/ 2400300 h 4429225"/>
              <a:gd name="connsiteX67" fmla="*/ 20977 w 4519987"/>
              <a:gd name="connsiteY67" fmla="*/ 1905000 h 4429225"/>
              <a:gd name="connsiteX68" fmla="*/ 30502 w 4519987"/>
              <a:gd name="connsiteY68" fmla="*/ 1838325 h 4429225"/>
              <a:gd name="connsiteX69" fmla="*/ 49552 w 4519987"/>
              <a:gd name="connsiteY69" fmla="*/ 1781175 h 4429225"/>
              <a:gd name="connsiteX70" fmla="*/ 59077 w 4519987"/>
              <a:gd name="connsiteY70" fmla="*/ 1743075 h 4429225"/>
              <a:gd name="connsiteX71" fmla="*/ 78127 w 4519987"/>
              <a:gd name="connsiteY71" fmla="*/ 1685925 h 4429225"/>
              <a:gd name="connsiteX72" fmla="*/ 87652 w 4519987"/>
              <a:gd name="connsiteY72" fmla="*/ 1638300 h 4429225"/>
              <a:gd name="connsiteX73" fmla="*/ 106702 w 4519987"/>
              <a:gd name="connsiteY73" fmla="*/ 1590675 h 4429225"/>
              <a:gd name="connsiteX74" fmla="*/ 135277 w 4519987"/>
              <a:gd name="connsiteY74" fmla="*/ 1504950 h 4429225"/>
              <a:gd name="connsiteX75" fmla="*/ 154327 w 4519987"/>
              <a:gd name="connsiteY75" fmla="*/ 1419225 h 4429225"/>
              <a:gd name="connsiteX76" fmla="*/ 230527 w 4519987"/>
              <a:gd name="connsiteY76" fmla="*/ 1276350 h 4429225"/>
              <a:gd name="connsiteX77" fmla="*/ 240052 w 4519987"/>
              <a:gd name="connsiteY77" fmla="*/ 1247775 h 4429225"/>
              <a:gd name="connsiteX78" fmla="*/ 268627 w 4519987"/>
              <a:gd name="connsiteY78" fmla="*/ 1200150 h 4429225"/>
              <a:gd name="connsiteX79" fmla="*/ 287677 w 4519987"/>
              <a:gd name="connsiteY79" fmla="*/ 1152525 h 4429225"/>
              <a:gd name="connsiteX80" fmla="*/ 316252 w 4519987"/>
              <a:gd name="connsiteY80" fmla="*/ 1114425 h 4429225"/>
              <a:gd name="connsiteX81" fmla="*/ 363877 w 4519987"/>
              <a:gd name="connsiteY81" fmla="*/ 1038225 h 4429225"/>
              <a:gd name="connsiteX82" fmla="*/ 382927 w 4519987"/>
              <a:gd name="connsiteY82" fmla="*/ 1009650 h 4429225"/>
              <a:gd name="connsiteX83" fmla="*/ 440077 w 4519987"/>
              <a:gd name="connsiteY83" fmla="*/ 904875 h 4429225"/>
              <a:gd name="connsiteX84" fmla="*/ 478177 w 4519987"/>
              <a:gd name="connsiteY84" fmla="*/ 857250 h 4429225"/>
              <a:gd name="connsiteX85" fmla="*/ 497227 w 4519987"/>
              <a:gd name="connsiteY85" fmla="*/ 828675 h 4429225"/>
              <a:gd name="connsiteX86" fmla="*/ 535327 w 4519987"/>
              <a:gd name="connsiteY86" fmla="*/ 800100 h 4429225"/>
              <a:gd name="connsiteX87" fmla="*/ 602002 w 4519987"/>
              <a:gd name="connsiteY87" fmla="*/ 733425 h 4429225"/>
              <a:gd name="connsiteX88" fmla="*/ 668677 w 4519987"/>
              <a:gd name="connsiteY88" fmla="*/ 676275 h 4429225"/>
              <a:gd name="connsiteX89" fmla="*/ 697252 w 4519987"/>
              <a:gd name="connsiteY89" fmla="*/ 657225 h 4429225"/>
              <a:gd name="connsiteX90" fmla="*/ 840127 w 4519987"/>
              <a:gd name="connsiteY90" fmla="*/ 533400 h 4429225"/>
              <a:gd name="connsiteX91" fmla="*/ 887752 w 4519987"/>
              <a:gd name="connsiteY91" fmla="*/ 504825 h 4429225"/>
              <a:gd name="connsiteX92" fmla="*/ 1167152 w 4519987"/>
              <a:gd name="connsiteY92" fmla="*/ 311150 h 4429225"/>
              <a:gd name="connsiteX93" fmla="*/ 1268752 w 4519987"/>
              <a:gd name="connsiteY93" fmla="*/ 285750 h 4429225"/>
              <a:gd name="connsiteX94" fmla="*/ 1411627 w 4519987"/>
              <a:gd name="connsiteY94" fmla="*/ 190500 h 4429225"/>
              <a:gd name="connsiteX95" fmla="*/ 1449727 w 4519987"/>
              <a:gd name="connsiteY95" fmla="*/ 161925 h 4429225"/>
              <a:gd name="connsiteX96" fmla="*/ 1525927 w 4519987"/>
              <a:gd name="connsiteY96" fmla="*/ 152400 h 4429225"/>
              <a:gd name="connsiteX97" fmla="*/ 1583077 w 4519987"/>
              <a:gd name="connsiteY97" fmla="*/ 142875 h 4429225"/>
              <a:gd name="connsiteX98" fmla="*/ 1716427 w 4519987"/>
              <a:gd name="connsiteY98" fmla="*/ 123825 h 4429225"/>
              <a:gd name="connsiteX99" fmla="*/ 1811677 w 4519987"/>
              <a:gd name="connsiteY99" fmla="*/ 114300 h 4429225"/>
              <a:gd name="connsiteX100" fmla="*/ 1859302 w 4519987"/>
              <a:gd name="connsiteY100" fmla="*/ 104775 h 4429225"/>
              <a:gd name="connsiteX101" fmla="*/ 1916452 w 4519987"/>
              <a:gd name="connsiteY101" fmla="*/ 95250 h 4429225"/>
              <a:gd name="connsiteX102" fmla="*/ 2030752 w 4519987"/>
              <a:gd name="connsiteY102" fmla="*/ 66675 h 4429225"/>
              <a:gd name="connsiteX103" fmla="*/ 2097427 w 4519987"/>
              <a:gd name="connsiteY103" fmla="*/ 47625 h 4429225"/>
              <a:gd name="connsiteX104" fmla="*/ 2164102 w 4519987"/>
              <a:gd name="connsiteY104" fmla="*/ 38100 h 4429225"/>
              <a:gd name="connsiteX105" fmla="*/ 2392702 w 4519987"/>
              <a:gd name="connsiteY105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97227 w 4519987"/>
              <a:gd name="connsiteY52" fmla="*/ 3552825 h 4429225"/>
              <a:gd name="connsiteX53" fmla="*/ 440077 w 4519987"/>
              <a:gd name="connsiteY53" fmla="*/ 3495675 h 4429225"/>
              <a:gd name="connsiteX54" fmla="*/ 411502 w 4519987"/>
              <a:gd name="connsiteY54" fmla="*/ 3448050 h 4429225"/>
              <a:gd name="connsiteX55" fmla="*/ 278152 w 4519987"/>
              <a:gd name="connsiteY55" fmla="*/ 3257550 h 4429225"/>
              <a:gd name="connsiteX56" fmla="*/ 249577 w 4519987"/>
              <a:gd name="connsiteY56" fmla="*/ 3200400 h 4429225"/>
              <a:gd name="connsiteX57" fmla="*/ 240052 w 4519987"/>
              <a:gd name="connsiteY57" fmla="*/ 3162300 h 4429225"/>
              <a:gd name="connsiteX58" fmla="*/ 221002 w 4519987"/>
              <a:gd name="connsiteY58" fmla="*/ 3105150 h 4429225"/>
              <a:gd name="connsiteX59" fmla="*/ 173377 w 4519987"/>
              <a:gd name="connsiteY59" fmla="*/ 3019425 h 4429225"/>
              <a:gd name="connsiteX60" fmla="*/ 144802 w 4519987"/>
              <a:gd name="connsiteY60" fmla="*/ 2924175 h 4429225"/>
              <a:gd name="connsiteX61" fmla="*/ 68602 w 4519987"/>
              <a:gd name="connsiteY61" fmla="*/ 2724150 h 4429225"/>
              <a:gd name="connsiteX62" fmla="*/ 49552 w 4519987"/>
              <a:gd name="connsiteY62" fmla="*/ 2638425 h 4429225"/>
              <a:gd name="connsiteX63" fmla="*/ 40027 w 4519987"/>
              <a:gd name="connsiteY63" fmla="*/ 2562225 h 4429225"/>
              <a:gd name="connsiteX64" fmla="*/ 30502 w 4519987"/>
              <a:gd name="connsiteY64" fmla="*/ 2514600 h 4429225"/>
              <a:gd name="connsiteX65" fmla="*/ 11452 w 4519987"/>
              <a:gd name="connsiteY65" fmla="*/ 2400300 h 4429225"/>
              <a:gd name="connsiteX66" fmla="*/ 20977 w 4519987"/>
              <a:gd name="connsiteY66" fmla="*/ 1905000 h 4429225"/>
              <a:gd name="connsiteX67" fmla="*/ 30502 w 4519987"/>
              <a:gd name="connsiteY67" fmla="*/ 1838325 h 4429225"/>
              <a:gd name="connsiteX68" fmla="*/ 49552 w 4519987"/>
              <a:gd name="connsiteY68" fmla="*/ 1781175 h 4429225"/>
              <a:gd name="connsiteX69" fmla="*/ 59077 w 4519987"/>
              <a:gd name="connsiteY69" fmla="*/ 1743075 h 4429225"/>
              <a:gd name="connsiteX70" fmla="*/ 78127 w 4519987"/>
              <a:gd name="connsiteY70" fmla="*/ 1685925 h 4429225"/>
              <a:gd name="connsiteX71" fmla="*/ 87652 w 4519987"/>
              <a:gd name="connsiteY71" fmla="*/ 1638300 h 4429225"/>
              <a:gd name="connsiteX72" fmla="*/ 106702 w 4519987"/>
              <a:gd name="connsiteY72" fmla="*/ 1590675 h 4429225"/>
              <a:gd name="connsiteX73" fmla="*/ 135277 w 4519987"/>
              <a:gd name="connsiteY73" fmla="*/ 1504950 h 4429225"/>
              <a:gd name="connsiteX74" fmla="*/ 154327 w 4519987"/>
              <a:gd name="connsiteY74" fmla="*/ 1419225 h 4429225"/>
              <a:gd name="connsiteX75" fmla="*/ 230527 w 4519987"/>
              <a:gd name="connsiteY75" fmla="*/ 1276350 h 4429225"/>
              <a:gd name="connsiteX76" fmla="*/ 240052 w 4519987"/>
              <a:gd name="connsiteY76" fmla="*/ 1247775 h 4429225"/>
              <a:gd name="connsiteX77" fmla="*/ 268627 w 4519987"/>
              <a:gd name="connsiteY77" fmla="*/ 1200150 h 4429225"/>
              <a:gd name="connsiteX78" fmla="*/ 287677 w 4519987"/>
              <a:gd name="connsiteY78" fmla="*/ 1152525 h 4429225"/>
              <a:gd name="connsiteX79" fmla="*/ 316252 w 4519987"/>
              <a:gd name="connsiteY79" fmla="*/ 1114425 h 4429225"/>
              <a:gd name="connsiteX80" fmla="*/ 363877 w 4519987"/>
              <a:gd name="connsiteY80" fmla="*/ 1038225 h 4429225"/>
              <a:gd name="connsiteX81" fmla="*/ 382927 w 4519987"/>
              <a:gd name="connsiteY81" fmla="*/ 1009650 h 4429225"/>
              <a:gd name="connsiteX82" fmla="*/ 440077 w 4519987"/>
              <a:gd name="connsiteY82" fmla="*/ 904875 h 4429225"/>
              <a:gd name="connsiteX83" fmla="*/ 478177 w 4519987"/>
              <a:gd name="connsiteY83" fmla="*/ 857250 h 4429225"/>
              <a:gd name="connsiteX84" fmla="*/ 497227 w 4519987"/>
              <a:gd name="connsiteY84" fmla="*/ 828675 h 4429225"/>
              <a:gd name="connsiteX85" fmla="*/ 535327 w 4519987"/>
              <a:gd name="connsiteY85" fmla="*/ 800100 h 4429225"/>
              <a:gd name="connsiteX86" fmla="*/ 602002 w 4519987"/>
              <a:gd name="connsiteY86" fmla="*/ 733425 h 4429225"/>
              <a:gd name="connsiteX87" fmla="*/ 668677 w 4519987"/>
              <a:gd name="connsiteY87" fmla="*/ 676275 h 4429225"/>
              <a:gd name="connsiteX88" fmla="*/ 697252 w 4519987"/>
              <a:gd name="connsiteY88" fmla="*/ 657225 h 4429225"/>
              <a:gd name="connsiteX89" fmla="*/ 840127 w 4519987"/>
              <a:gd name="connsiteY89" fmla="*/ 533400 h 4429225"/>
              <a:gd name="connsiteX90" fmla="*/ 887752 w 4519987"/>
              <a:gd name="connsiteY90" fmla="*/ 504825 h 4429225"/>
              <a:gd name="connsiteX91" fmla="*/ 1167152 w 4519987"/>
              <a:gd name="connsiteY91" fmla="*/ 311150 h 4429225"/>
              <a:gd name="connsiteX92" fmla="*/ 1268752 w 4519987"/>
              <a:gd name="connsiteY92" fmla="*/ 285750 h 4429225"/>
              <a:gd name="connsiteX93" fmla="*/ 1411627 w 4519987"/>
              <a:gd name="connsiteY93" fmla="*/ 190500 h 4429225"/>
              <a:gd name="connsiteX94" fmla="*/ 1449727 w 4519987"/>
              <a:gd name="connsiteY94" fmla="*/ 161925 h 4429225"/>
              <a:gd name="connsiteX95" fmla="*/ 1525927 w 4519987"/>
              <a:gd name="connsiteY95" fmla="*/ 152400 h 4429225"/>
              <a:gd name="connsiteX96" fmla="*/ 1583077 w 4519987"/>
              <a:gd name="connsiteY96" fmla="*/ 142875 h 4429225"/>
              <a:gd name="connsiteX97" fmla="*/ 1716427 w 4519987"/>
              <a:gd name="connsiteY97" fmla="*/ 123825 h 4429225"/>
              <a:gd name="connsiteX98" fmla="*/ 1811677 w 4519987"/>
              <a:gd name="connsiteY98" fmla="*/ 114300 h 4429225"/>
              <a:gd name="connsiteX99" fmla="*/ 1859302 w 4519987"/>
              <a:gd name="connsiteY99" fmla="*/ 104775 h 4429225"/>
              <a:gd name="connsiteX100" fmla="*/ 1916452 w 4519987"/>
              <a:gd name="connsiteY100" fmla="*/ 95250 h 4429225"/>
              <a:gd name="connsiteX101" fmla="*/ 2030752 w 4519987"/>
              <a:gd name="connsiteY101" fmla="*/ 66675 h 4429225"/>
              <a:gd name="connsiteX102" fmla="*/ 2097427 w 4519987"/>
              <a:gd name="connsiteY102" fmla="*/ 47625 h 4429225"/>
              <a:gd name="connsiteX103" fmla="*/ 2164102 w 4519987"/>
              <a:gd name="connsiteY103" fmla="*/ 38100 h 4429225"/>
              <a:gd name="connsiteX104" fmla="*/ 2392702 w 4519987"/>
              <a:gd name="connsiteY104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97227 w 4519987"/>
              <a:gd name="connsiteY52" fmla="*/ 3552825 h 4429225"/>
              <a:gd name="connsiteX53" fmla="*/ 440077 w 4519987"/>
              <a:gd name="connsiteY53" fmla="*/ 3495675 h 4429225"/>
              <a:gd name="connsiteX54" fmla="*/ 278152 w 4519987"/>
              <a:gd name="connsiteY54" fmla="*/ 3257550 h 4429225"/>
              <a:gd name="connsiteX55" fmla="*/ 249577 w 4519987"/>
              <a:gd name="connsiteY55" fmla="*/ 3200400 h 4429225"/>
              <a:gd name="connsiteX56" fmla="*/ 240052 w 4519987"/>
              <a:gd name="connsiteY56" fmla="*/ 3162300 h 4429225"/>
              <a:gd name="connsiteX57" fmla="*/ 221002 w 4519987"/>
              <a:gd name="connsiteY57" fmla="*/ 3105150 h 4429225"/>
              <a:gd name="connsiteX58" fmla="*/ 173377 w 4519987"/>
              <a:gd name="connsiteY58" fmla="*/ 3019425 h 4429225"/>
              <a:gd name="connsiteX59" fmla="*/ 144802 w 4519987"/>
              <a:gd name="connsiteY59" fmla="*/ 2924175 h 4429225"/>
              <a:gd name="connsiteX60" fmla="*/ 68602 w 4519987"/>
              <a:gd name="connsiteY60" fmla="*/ 2724150 h 4429225"/>
              <a:gd name="connsiteX61" fmla="*/ 49552 w 4519987"/>
              <a:gd name="connsiteY61" fmla="*/ 2638425 h 4429225"/>
              <a:gd name="connsiteX62" fmla="*/ 40027 w 4519987"/>
              <a:gd name="connsiteY62" fmla="*/ 2562225 h 4429225"/>
              <a:gd name="connsiteX63" fmla="*/ 30502 w 4519987"/>
              <a:gd name="connsiteY63" fmla="*/ 2514600 h 4429225"/>
              <a:gd name="connsiteX64" fmla="*/ 11452 w 4519987"/>
              <a:gd name="connsiteY64" fmla="*/ 2400300 h 4429225"/>
              <a:gd name="connsiteX65" fmla="*/ 20977 w 4519987"/>
              <a:gd name="connsiteY65" fmla="*/ 1905000 h 4429225"/>
              <a:gd name="connsiteX66" fmla="*/ 30502 w 4519987"/>
              <a:gd name="connsiteY66" fmla="*/ 1838325 h 4429225"/>
              <a:gd name="connsiteX67" fmla="*/ 49552 w 4519987"/>
              <a:gd name="connsiteY67" fmla="*/ 1781175 h 4429225"/>
              <a:gd name="connsiteX68" fmla="*/ 59077 w 4519987"/>
              <a:gd name="connsiteY68" fmla="*/ 1743075 h 4429225"/>
              <a:gd name="connsiteX69" fmla="*/ 78127 w 4519987"/>
              <a:gd name="connsiteY69" fmla="*/ 1685925 h 4429225"/>
              <a:gd name="connsiteX70" fmla="*/ 87652 w 4519987"/>
              <a:gd name="connsiteY70" fmla="*/ 1638300 h 4429225"/>
              <a:gd name="connsiteX71" fmla="*/ 106702 w 4519987"/>
              <a:gd name="connsiteY71" fmla="*/ 1590675 h 4429225"/>
              <a:gd name="connsiteX72" fmla="*/ 135277 w 4519987"/>
              <a:gd name="connsiteY72" fmla="*/ 1504950 h 4429225"/>
              <a:gd name="connsiteX73" fmla="*/ 154327 w 4519987"/>
              <a:gd name="connsiteY73" fmla="*/ 1419225 h 4429225"/>
              <a:gd name="connsiteX74" fmla="*/ 230527 w 4519987"/>
              <a:gd name="connsiteY74" fmla="*/ 1276350 h 4429225"/>
              <a:gd name="connsiteX75" fmla="*/ 240052 w 4519987"/>
              <a:gd name="connsiteY75" fmla="*/ 1247775 h 4429225"/>
              <a:gd name="connsiteX76" fmla="*/ 268627 w 4519987"/>
              <a:gd name="connsiteY76" fmla="*/ 1200150 h 4429225"/>
              <a:gd name="connsiteX77" fmla="*/ 287677 w 4519987"/>
              <a:gd name="connsiteY77" fmla="*/ 1152525 h 4429225"/>
              <a:gd name="connsiteX78" fmla="*/ 316252 w 4519987"/>
              <a:gd name="connsiteY78" fmla="*/ 1114425 h 4429225"/>
              <a:gd name="connsiteX79" fmla="*/ 363877 w 4519987"/>
              <a:gd name="connsiteY79" fmla="*/ 1038225 h 4429225"/>
              <a:gd name="connsiteX80" fmla="*/ 382927 w 4519987"/>
              <a:gd name="connsiteY80" fmla="*/ 1009650 h 4429225"/>
              <a:gd name="connsiteX81" fmla="*/ 440077 w 4519987"/>
              <a:gd name="connsiteY81" fmla="*/ 904875 h 4429225"/>
              <a:gd name="connsiteX82" fmla="*/ 478177 w 4519987"/>
              <a:gd name="connsiteY82" fmla="*/ 857250 h 4429225"/>
              <a:gd name="connsiteX83" fmla="*/ 497227 w 4519987"/>
              <a:gd name="connsiteY83" fmla="*/ 828675 h 4429225"/>
              <a:gd name="connsiteX84" fmla="*/ 535327 w 4519987"/>
              <a:gd name="connsiteY84" fmla="*/ 800100 h 4429225"/>
              <a:gd name="connsiteX85" fmla="*/ 602002 w 4519987"/>
              <a:gd name="connsiteY85" fmla="*/ 733425 h 4429225"/>
              <a:gd name="connsiteX86" fmla="*/ 668677 w 4519987"/>
              <a:gd name="connsiteY86" fmla="*/ 676275 h 4429225"/>
              <a:gd name="connsiteX87" fmla="*/ 697252 w 4519987"/>
              <a:gd name="connsiteY87" fmla="*/ 657225 h 4429225"/>
              <a:gd name="connsiteX88" fmla="*/ 840127 w 4519987"/>
              <a:gd name="connsiteY88" fmla="*/ 533400 h 4429225"/>
              <a:gd name="connsiteX89" fmla="*/ 887752 w 4519987"/>
              <a:gd name="connsiteY89" fmla="*/ 504825 h 4429225"/>
              <a:gd name="connsiteX90" fmla="*/ 1167152 w 4519987"/>
              <a:gd name="connsiteY90" fmla="*/ 311150 h 4429225"/>
              <a:gd name="connsiteX91" fmla="*/ 1268752 w 4519987"/>
              <a:gd name="connsiteY91" fmla="*/ 285750 h 4429225"/>
              <a:gd name="connsiteX92" fmla="*/ 1411627 w 4519987"/>
              <a:gd name="connsiteY92" fmla="*/ 190500 h 4429225"/>
              <a:gd name="connsiteX93" fmla="*/ 1449727 w 4519987"/>
              <a:gd name="connsiteY93" fmla="*/ 161925 h 4429225"/>
              <a:gd name="connsiteX94" fmla="*/ 1525927 w 4519987"/>
              <a:gd name="connsiteY94" fmla="*/ 152400 h 4429225"/>
              <a:gd name="connsiteX95" fmla="*/ 1583077 w 4519987"/>
              <a:gd name="connsiteY95" fmla="*/ 142875 h 4429225"/>
              <a:gd name="connsiteX96" fmla="*/ 1716427 w 4519987"/>
              <a:gd name="connsiteY96" fmla="*/ 123825 h 4429225"/>
              <a:gd name="connsiteX97" fmla="*/ 1811677 w 4519987"/>
              <a:gd name="connsiteY97" fmla="*/ 114300 h 4429225"/>
              <a:gd name="connsiteX98" fmla="*/ 1859302 w 4519987"/>
              <a:gd name="connsiteY98" fmla="*/ 104775 h 4429225"/>
              <a:gd name="connsiteX99" fmla="*/ 1916452 w 4519987"/>
              <a:gd name="connsiteY99" fmla="*/ 95250 h 4429225"/>
              <a:gd name="connsiteX100" fmla="*/ 2030752 w 4519987"/>
              <a:gd name="connsiteY100" fmla="*/ 66675 h 4429225"/>
              <a:gd name="connsiteX101" fmla="*/ 2097427 w 4519987"/>
              <a:gd name="connsiteY101" fmla="*/ 47625 h 4429225"/>
              <a:gd name="connsiteX102" fmla="*/ 2164102 w 4519987"/>
              <a:gd name="connsiteY102" fmla="*/ 38100 h 4429225"/>
              <a:gd name="connsiteX103" fmla="*/ 2392702 w 4519987"/>
              <a:gd name="connsiteY103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40077 w 4519987"/>
              <a:gd name="connsiteY52" fmla="*/ 3495675 h 4429225"/>
              <a:gd name="connsiteX53" fmla="*/ 278152 w 4519987"/>
              <a:gd name="connsiteY53" fmla="*/ 3257550 h 4429225"/>
              <a:gd name="connsiteX54" fmla="*/ 249577 w 4519987"/>
              <a:gd name="connsiteY54" fmla="*/ 3200400 h 4429225"/>
              <a:gd name="connsiteX55" fmla="*/ 240052 w 4519987"/>
              <a:gd name="connsiteY55" fmla="*/ 3162300 h 4429225"/>
              <a:gd name="connsiteX56" fmla="*/ 221002 w 4519987"/>
              <a:gd name="connsiteY56" fmla="*/ 3105150 h 4429225"/>
              <a:gd name="connsiteX57" fmla="*/ 173377 w 4519987"/>
              <a:gd name="connsiteY57" fmla="*/ 3019425 h 4429225"/>
              <a:gd name="connsiteX58" fmla="*/ 144802 w 4519987"/>
              <a:gd name="connsiteY58" fmla="*/ 2924175 h 4429225"/>
              <a:gd name="connsiteX59" fmla="*/ 68602 w 4519987"/>
              <a:gd name="connsiteY59" fmla="*/ 2724150 h 4429225"/>
              <a:gd name="connsiteX60" fmla="*/ 49552 w 4519987"/>
              <a:gd name="connsiteY60" fmla="*/ 2638425 h 4429225"/>
              <a:gd name="connsiteX61" fmla="*/ 40027 w 4519987"/>
              <a:gd name="connsiteY61" fmla="*/ 2562225 h 4429225"/>
              <a:gd name="connsiteX62" fmla="*/ 30502 w 4519987"/>
              <a:gd name="connsiteY62" fmla="*/ 2514600 h 4429225"/>
              <a:gd name="connsiteX63" fmla="*/ 11452 w 4519987"/>
              <a:gd name="connsiteY63" fmla="*/ 2400300 h 4429225"/>
              <a:gd name="connsiteX64" fmla="*/ 20977 w 4519987"/>
              <a:gd name="connsiteY64" fmla="*/ 1905000 h 4429225"/>
              <a:gd name="connsiteX65" fmla="*/ 30502 w 4519987"/>
              <a:gd name="connsiteY65" fmla="*/ 1838325 h 4429225"/>
              <a:gd name="connsiteX66" fmla="*/ 49552 w 4519987"/>
              <a:gd name="connsiteY66" fmla="*/ 1781175 h 4429225"/>
              <a:gd name="connsiteX67" fmla="*/ 59077 w 4519987"/>
              <a:gd name="connsiteY67" fmla="*/ 1743075 h 4429225"/>
              <a:gd name="connsiteX68" fmla="*/ 78127 w 4519987"/>
              <a:gd name="connsiteY68" fmla="*/ 1685925 h 4429225"/>
              <a:gd name="connsiteX69" fmla="*/ 87652 w 4519987"/>
              <a:gd name="connsiteY69" fmla="*/ 1638300 h 4429225"/>
              <a:gd name="connsiteX70" fmla="*/ 106702 w 4519987"/>
              <a:gd name="connsiteY70" fmla="*/ 1590675 h 4429225"/>
              <a:gd name="connsiteX71" fmla="*/ 135277 w 4519987"/>
              <a:gd name="connsiteY71" fmla="*/ 1504950 h 4429225"/>
              <a:gd name="connsiteX72" fmla="*/ 154327 w 4519987"/>
              <a:gd name="connsiteY72" fmla="*/ 1419225 h 4429225"/>
              <a:gd name="connsiteX73" fmla="*/ 230527 w 4519987"/>
              <a:gd name="connsiteY73" fmla="*/ 1276350 h 4429225"/>
              <a:gd name="connsiteX74" fmla="*/ 240052 w 4519987"/>
              <a:gd name="connsiteY74" fmla="*/ 1247775 h 4429225"/>
              <a:gd name="connsiteX75" fmla="*/ 268627 w 4519987"/>
              <a:gd name="connsiteY75" fmla="*/ 1200150 h 4429225"/>
              <a:gd name="connsiteX76" fmla="*/ 287677 w 4519987"/>
              <a:gd name="connsiteY76" fmla="*/ 1152525 h 4429225"/>
              <a:gd name="connsiteX77" fmla="*/ 316252 w 4519987"/>
              <a:gd name="connsiteY77" fmla="*/ 1114425 h 4429225"/>
              <a:gd name="connsiteX78" fmla="*/ 363877 w 4519987"/>
              <a:gd name="connsiteY78" fmla="*/ 1038225 h 4429225"/>
              <a:gd name="connsiteX79" fmla="*/ 382927 w 4519987"/>
              <a:gd name="connsiteY79" fmla="*/ 1009650 h 4429225"/>
              <a:gd name="connsiteX80" fmla="*/ 440077 w 4519987"/>
              <a:gd name="connsiteY80" fmla="*/ 904875 h 4429225"/>
              <a:gd name="connsiteX81" fmla="*/ 478177 w 4519987"/>
              <a:gd name="connsiteY81" fmla="*/ 857250 h 4429225"/>
              <a:gd name="connsiteX82" fmla="*/ 497227 w 4519987"/>
              <a:gd name="connsiteY82" fmla="*/ 828675 h 4429225"/>
              <a:gd name="connsiteX83" fmla="*/ 535327 w 4519987"/>
              <a:gd name="connsiteY83" fmla="*/ 800100 h 4429225"/>
              <a:gd name="connsiteX84" fmla="*/ 602002 w 4519987"/>
              <a:gd name="connsiteY84" fmla="*/ 733425 h 4429225"/>
              <a:gd name="connsiteX85" fmla="*/ 668677 w 4519987"/>
              <a:gd name="connsiteY85" fmla="*/ 676275 h 4429225"/>
              <a:gd name="connsiteX86" fmla="*/ 697252 w 4519987"/>
              <a:gd name="connsiteY86" fmla="*/ 657225 h 4429225"/>
              <a:gd name="connsiteX87" fmla="*/ 840127 w 4519987"/>
              <a:gd name="connsiteY87" fmla="*/ 533400 h 4429225"/>
              <a:gd name="connsiteX88" fmla="*/ 887752 w 4519987"/>
              <a:gd name="connsiteY88" fmla="*/ 504825 h 4429225"/>
              <a:gd name="connsiteX89" fmla="*/ 1167152 w 4519987"/>
              <a:gd name="connsiteY89" fmla="*/ 311150 h 4429225"/>
              <a:gd name="connsiteX90" fmla="*/ 1268752 w 4519987"/>
              <a:gd name="connsiteY90" fmla="*/ 285750 h 4429225"/>
              <a:gd name="connsiteX91" fmla="*/ 1411627 w 4519987"/>
              <a:gd name="connsiteY91" fmla="*/ 190500 h 4429225"/>
              <a:gd name="connsiteX92" fmla="*/ 1449727 w 4519987"/>
              <a:gd name="connsiteY92" fmla="*/ 161925 h 4429225"/>
              <a:gd name="connsiteX93" fmla="*/ 1525927 w 4519987"/>
              <a:gd name="connsiteY93" fmla="*/ 152400 h 4429225"/>
              <a:gd name="connsiteX94" fmla="*/ 1583077 w 4519987"/>
              <a:gd name="connsiteY94" fmla="*/ 142875 h 4429225"/>
              <a:gd name="connsiteX95" fmla="*/ 1716427 w 4519987"/>
              <a:gd name="connsiteY95" fmla="*/ 123825 h 4429225"/>
              <a:gd name="connsiteX96" fmla="*/ 1811677 w 4519987"/>
              <a:gd name="connsiteY96" fmla="*/ 114300 h 4429225"/>
              <a:gd name="connsiteX97" fmla="*/ 1859302 w 4519987"/>
              <a:gd name="connsiteY97" fmla="*/ 104775 h 4429225"/>
              <a:gd name="connsiteX98" fmla="*/ 1916452 w 4519987"/>
              <a:gd name="connsiteY98" fmla="*/ 95250 h 4429225"/>
              <a:gd name="connsiteX99" fmla="*/ 2030752 w 4519987"/>
              <a:gd name="connsiteY99" fmla="*/ 66675 h 4429225"/>
              <a:gd name="connsiteX100" fmla="*/ 2097427 w 4519987"/>
              <a:gd name="connsiteY100" fmla="*/ 47625 h 4429225"/>
              <a:gd name="connsiteX101" fmla="*/ 2164102 w 4519987"/>
              <a:gd name="connsiteY101" fmla="*/ 38100 h 4429225"/>
              <a:gd name="connsiteX102" fmla="*/ 2392702 w 4519987"/>
              <a:gd name="connsiteY102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49577 w 4519987"/>
              <a:gd name="connsiteY53" fmla="*/ 3200400 h 4429225"/>
              <a:gd name="connsiteX54" fmla="*/ 240052 w 4519987"/>
              <a:gd name="connsiteY54" fmla="*/ 3162300 h 4429225"/>
              <a:gd name="connsiteX55" fmla="*/ 221002 w 4519987"/>
              <a:gd name="connsiteY55" fmla="*/ 3105150 h 4429225"/>
              <a:gd name="connsiteX56" fmla="*/ 173377 w 4519987"/>
              <a:gd name="connsiteY56" fmla="*/ 3019425 h 4429225"/>
              <a:gd name="connsiteX57" fmla="*/ 144802 w 4519987"/>
              <a:gd name="connsiteY57" fmla="*/ 2924175 h 4429225"/>
              <a:gd name="connsiteX58" fmla="*/ 68602 w 4519987"/>
              <a:gd name="connsiteY58" fmla="*/ 2724150 h 4429225"/>
              <a:gd name="connsiteX59" fmla="*/ 49552 w 4519987"/>
              <a:gd name="connsiteY59" fmla="*/ 2638425 h 4429225"/>
              <a:gd name="connsiteX60" fmla="*/ 40027 w 4519987"/>
              <a:gd name="connsiteY60" fmla="*/ 2562225 h 4429225"/>
              <a:gd name="connsiteX61" fmla="*/ 30502 w 4519987"/>
              <a:gd name="connsiteY61" fmla="*/ 2514600 h 4429225"/>
              <a:gd name="connsiteX62" fmla="*/ 11452 w 4519987"/>
              <a:gd name="connsiteY62" fmla="*/ 2400300 h 4429225"/>
              <a:gd name="connsiteX63" fmla="*/ 20977 w 4519987"/>
              <a:gd name="connsiteY63" fmla="*/ 1905000 h 4429225"/>
              <a:gd name="connsiteX64" fmla="*/ 30502 w 4519987"/>
              <a:gd name="connsiteY64" fmla="*/ 1838325 h 4429225"/>
              <a:gd name="connsiteX65" fmla="*/ 49552 w 4519987"/>
              <a:gd name="connsiteY65" fmla="*/ 1781175 h 4429225"/>
              <a:gd name="connsiteX66" fmla="*/ 59077 w 4519987"/>
              <a:gd name="connsiteY66" fmla="*/ 1743075 h 4429225"/>
              <a:gd name="connsiteX67" fmla="*/ 78127 w 4519987"/>
              <a:gd name="connsiteY67" fmla="*/ 1685925 h 4429225"/>
              <a:gd name="connsiteX68" fmla="*/ 87652 w 4519987"/>
              <a:gd name="connsiteY68" fmla="*/ 1638300 h 4429225"/>
              <a:gd name="connsiteX69" fmla="*/ 106702 w 4519987"/>
              <a:gd name="connsiteY69" fmla="*/ 1590675 h 4429225"/>
              <a:gd name="connsiteX70" fmla="*/ 135277 w 4519987"/>
              <a:gd name="connsiteY70" fmla="*/ 1504950 h 4429225"/>
              <a:gd name="connsiteX71" fmla="*/ 154327 w 4519987"/>
              <a:gd name="connsiteY71" fmla="*/ 1419225 h 4429225"/>
              <a:gd name="connsiteX72" fmla="*/ 230527 w 4519987"/>
              <a:gd name="connsiteY72" fmla="*/ 1276350 h 4429225"/>
              <a:gd name="connsiteX73" fmla="*/ 240052 w 4519987"/>
              <a:gd name="connsiteY73" fmla="*/ 1247775 h 4429225"/>
              <a:gd name="connsiteX74" fmla="*/ 268627 w 4519987"/>
              <a:gd name="connsiteY74" fmla="*/ 1200150 h 4429225"/>
              <a:gd name="connsiteX75" fmla="*/ 287677 w 4519987"/>
              <a:gd name="connsiteY75" fmla="*/ 1152525 h 4429225"/>
              <a:gd name="connsiteX76" fmla="*/ 316252 w 4519987"/>
              <a:gd name="connsiteY76" fmla="*/ 1114425 h 4429225"/>
              <a:gd name="connsiteX77" fmla="*/ 363877 w 4519987"/>
              <a:gd name="connsiteY77" fmla="*/ 1038225 h 4429225"/>
              <a:gd name="connsiteX78" fmla="*/ 382927 w 4519987"/>
              <a:gd name="connsiteY78" fmla="*/ 1009650 h 4429225"/>
              <a:gd name="connsiteX79" fmla="*/ 440077 w 4519987"/>
              <a:gd name="connsiteY79" fmla="*/ 904875 h 4429225"/>
              <a:gd name="connsiteX80" fmla="*/ 478177 w 4519987"/>
              <a:gd name="connsiteY80" fmla="*/ 857250 h 4429225"/>
              <a:gd name="connsiteX81" fmla="*/ 497227 w 4519987"/>
              <a:gd name="connsiteY81" fmla="*/ 828675 h 4429225"/>
              <a:gd name="connsiteX82" fmla="*/ 535327 w 4519987"/>
              <a:gd name="connsiteY82" fmla="*/ 800100 h 4429225"/>
              <a:gd name="connsiteX83" fmla="*/ 602002 w 4519987"/>
              <a:gd name="connsiteY83" fmla="*/ 733425 h 4429225"/>
              <a:gd name="connsiteX84" fmla="*/ 668677 w 4519987"/>
              <a:gd name="connsiteY84" fmla="*/ 676275 h 4429225"/>
              <a:gd name="connsiteX85" fmla="*/ 697252 w 4519987"/>
              <a:gd name="connsiteY85" fmla="*/ 657225 h 4429225"/>
              <a:gd name="connsiteX86" fmla="*/ 840127 w 4519987"/>
              <a:gd name="connsiteY86" fmla="*/ 533400 h 4429225"/>
              <a:gd name="connsiteX87" fmla="*/ 887752 w 4519987"/>
              <a:gd name="connsiteY87" fmla="*/ 504825 h 4429225"/>
              <a:gd name="connsiteX88" fmla="*/ 1167152 w 4519987"/>
              <a:gd name="connsiteY88" fmla="*/ 311150 h 4429225"/>
              <a:gd name="connsiteX89" fmla="*/ 1268752 w 4519987"/>
              <a:gd name="connsiteY89" fmla="*/ 285750 h 4429225"/>
              <a:gd name="connsiteX90" fmla="*/ 1411627 w 4519987"/>
              <a:gd name="connsiteY90" fmla="*/ 190500 h 4429225"/>
              <a:gd name="connsiteX91" fmla="*/ 1449727 w 4519987"/>
              <a:gd name="connsiteY91" fmla="*/ 161925 h 4429225"/>
              <a:gd name="connsiteX92" fmla="*/ 1525927 w 4519987"/>
              <a:gd name="connsiteY92" fmla="*/ 152400 h 4429225"/>
              <a:gd name="connsiteX93" fmla="*/ 1583077 w 4519987"/>
              <a:gd name="connsiteY93" fmla="*/ 142875 h 4429225"/>
              <a:gd name="connsiteX94" fmla="*/ 1716427 w 4519987"/>
              <a:gd name="connsiteY94" fmla="*/ 123825 h 4429225"/>
              <a:gd name="connsiteX95" fmla="*/ 1811677 w 4519987"/>
              <a:gd name="connsiteY95" fmla="*/ 114300 h 4429225"/>
              <a:gd name="connsiteX96" fmla="*/ 1859302 w 4519987"/>
              <a:gd name="connsiteY96" fmla="*/ 104775 h 4429225"/>
              <a:gd name="connsiteX97" fmla="*/ 1916452 w 4519987"/>
              <a:gd name="connsiteY97" fmla="*/ 95250 h 4429225"/>
              <a:gd name="connsiteX98" fmla="*/ 2030752 w 4519987"/>
              <a:gd name="connsiteY98" fmla="*/ 66675 h 4429225"/>
              <a:gd name="connsiteX99" fmla="*/ 2097427 w 4519987"/>
              <a:gd name="connsiteY99" fmla="*/ 47625 h 4429225"/>
              <a:gd name="connsiteX100" fmla="*/ 2164102 w 4519987"/>
              <a:gd name="connsiteY100" fmla="*/ 38100 h 4429225"/>
              <a:gd name="connsiteX101" fmla="*/ 2392702 w 4519987"/>
              <a:gd name="connsiteY101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49577 w 4519987"/>
              <a:gd name="connsiteY53" fmla="*/ 3200400 h 4429225"/>
              <a:gd name="connsiteX54" fmla="*/ 221002 w 4519987"/>
              <a:gd name="connsiteY54" fmla="*/ 3105150 h 4429225"/>
              <a:gd name="connsiteX55" fmla="*/ 173377 w 4519987"/>
              <a:gd name="connsiteY55" fmla="*/ 3019425 h 4429225"/>
              <a:gd name="connsiteX56" fmla="*/ 144802 w 4519987"/>
              <a:gd name="connsiteY56" fmla="*/ 2924175 h 4429225"/>
              <a:gd name="connsiteX57" fmla="*/ 68602 w 4519987"/>
              <a:gd name="connsiteY57" fmla="*/ 2724150 h 4429225"/>
              <a:gd name="connsiteX58" fmla="*/ 49552 w 4519987"/>
              <a:gd name="connsiteY58" fmla="*/ 2638425 h 4429225"/>
              <a:gd name="connsiteX59" fmla="*/ 40027 w 4519987"/>
              <a:gd name="connsiteY59" fmla="*/ 2562225 h 4429225"/>
              <a:gd name="connsiteX60" fmla="*/ 30502 w 4519987"/>
              <a:gd name="connsiteY60" fmla="*/ 2514600 h 4429225"/>
              <a:gd name="connsiteX61" fmla="*/ 11452 w 4519987"/>
              <a:gd name="connsiteY61" fmla="*/ 2400300 h 4429225"/>
              <a:gd name="connsiteX62" fmla="*/ 20977 w 4519987"/>
              <a:gd name="connsiteY62" fmla="*/ 1905000 h 4429225"/>
              <a:gd name="connsiteX63" fmla="*/ 30502 w 4519987"/>
              <a:gd name="connsiteY63" fmla="*/ 1838325 h 4429225"/>
              <a:gd name="connsiteX64" fmla="*/ 49552 w 4519987"/>
              <a:gd name="connsiteY64" fmla="*/ 1781175 h 4429225"/>
              <a:gd name="connsiteX65" fmla="*/ 59077 w 4519987"/>
              <a:gd name="connsiteY65" fmla="*/ 1743075 h 4429225"/>
              <a:gd name="connsiteX66" fmla="*/ 78127 w 4519987"/>
              <a:gd name="connsiteY66" fmla="*/ 1685925 h 4429225"/>
              <a:gd name="connsiteX67" fmla="*/ 87652 w 4519987"/>
              <a:gd name="connsiteY67" fmla="*/ 1638300 h 4429225"/>
              <a:gd name="connsiteX68" fmla="*/ 106702 w 4519987"/>
              <a:gd name="connsiteY68" fmla="*/ 1590675 h 4429225"/>
              <a:gd name="connsiteX69" fmla="*/ 135277 w 4519987"/>
              <a:gd name="connsiteY69" fmla="*/ 1504950 h 4429225"/>
              <a:gd name="connsiteX70" fmla="*/ 154327 w 4519987"/>
              <a:gd name="connsiteY70" fmla="*/ 1419225 h 4429225"/>
              <a:gd name="connsiteX71" fmla="*/ 230527 w 4519987"/>
              <a:gd name="connsiteY71" fmla="*/ 1276350 h 4429225"/>
              <a:gd name="connsiteX72" fmla="*/ 240052 w 4519987"/>
              <a:gd name="connsiteY72" fmla="*/ 1247775 h 4429225"/>
              <a:gd name="connsiteX73" fmla="*/ 268627 w 4519987"/>
              <a:gd name="connsiteY73" fmla="*/ 1200150 h 4429225"/>
              <a:gd name="connsiteX74" fmla="*/ 287677 w 4519987"/>
              <a:gd name="connsiteY74" fmla="*/ 1152525 h 4429225"/>
              <a:gd name="connsiteX75" fmla="*/ 316252 w 4519987"/>
              <a:gd name="connsiteY75" fmla="*/ 1114425 h 4429225"/>
              <a:gd name="connsiteX76" fmla="*/ 363877 w 4519987"/>
              <a:gd name="connsiteY76" fmla="*/ 1038225 h 4429225"/>
              <a:gd name="connsiteX77" fmla="*/ 382927 w 4519987"/>
              <a:gd name="connsiteY77" fmla="*/ 1009650 h 4429225"/>
              <a:gd name="connsiteX78" fmla="*/ 440077 w 4519987"/>
              <a:gd name="connsiteY78" fmla="*/ 904875 h 4429225"/>
              <a:gd name="connsiteX79" fmla="*/ 478177 w 4519987"/>
              <a:gd name="connsiteY79" fmla="*/ 857250 h 4429225"/>
              <a:gd name="connsiteX80" fmla="*/ 497227 w 4519987"/>
              <a:gd name="connsiteY80" fmla="*/ 828675 h 4429225"/>
              <a:gd name="connsiteX81" fmla="*/ 535327 w 4519987"/>
              <a:gd name="connsiteY81" fmla="*/ 800100 h 4429225"/>
              <a:gd name="connsiteX82" fmla="*/ 602002 w 4519987"/>
              <a:gd name="connsiteY82" fmla="*/ 733425 h 4429225"/>
              <a:gd name="connsiteX83" fmla="*/ 668677 w 4519987"/>
              <a:gd name="connsiteY83" fmla="*/ 676275 h 4429225"/>
              <a:gd name="connsiteX84" fmla="*/ 697252 w 4519987"/>
              <a:gd name="connsiteY84" fmla="*/ 657225 h 4429225"/>
              <a:gd name="connsiteX85" fmla="*/ 840127 w 4519987"/>
              <a:gd name="connsiteY85" fmla="*/ 533400 h 4429225"/>
              <a:gd name="connsiteX86" fmla="*/ 887752 w 4519987"/>
              <a:gd name="connsiteY86" fmla="*/ 504825 h 4429225"/>
              <a:gd name="connsiteX87" fmla="*/ 1167152 w 4519987"/>
              <a:gd name="connsiteY87" fmla="*/ 311150 h 4429225"/>
              <a:gd name="connsiteX88" fmla="*/ 1268752 w 4519987"/>
              <a:gd name="connsiteY88" fmla="*/ 285750 h 4429225"/>
              <a:gd name="connsiteX89" fmla="*/ 1411627 w 4519987"/>
              <a:gd name="connsiteY89" fmla="*/ 190500 h 4429225"/>
              <a:gd name="connsiteX90" fmla="*/ 1449727 w 4519987"/>
              <a:gd name="connsiteY90" fmla="*/ 161925 h 4429225"/>
              <a:gd name="connsiteX91" fmla="*/ 1525927 w 4519987"/>
              <a:gd name="connsiteY91" fmla="*/ 152400 h 4429225"/>
              <a:gd name="connsiteX92" fmla="*/ 1583077 w 4519987"/>
              <a:gd name="connsiteY92" fmla="*/ 142875 h 4429225"/>
              <a:gd name="connsiteX93" fmla="*/ 1716427 w 4519987"/>
              <a:gd name="connsiteY93" fmla="*/ 123825 h 4429225"/>
              <a:gd name="connsiteX94" fmla="*/ 1811677 w 4519987"/>
              <a:gd name="connsiteY94" fmla="*/ 114300 h 4429225"/>
              <a:gd name="connsiteX95" fmla="*/ 1859302 w 4519987"/>
              <a:gd name="connsiteY95" fmla="*/ 104775 h 4429225"/>
              <a:gd name="connsiteX96" fmla="*/ 1916452 w 4519987"/>
              <a:gd name="connsiteY96" fmla="*/ 95250 h 4429225"/>
              <a:gd name="connsiteX97" fmla="*/ 2030752 w 4519987"/>
              <a:gd name="connsiteY97" fmla="*/ 66675 h 4429225"/>
              <a:gd name="connsiteX98" fmla="*/ 2097427 w 4519987"/>
              <a:gd name="connsiteY98" fmla="*/ 47625 h 4429225"/>
              <a:gd name="connsiteX99" fmla="*/ 2164102 w 4519987"/>
              <a:gd name="connsiteY99" fmla="*/ 38100 h 4429225"/>
              <a:gd name="connsiteX100" fmla="*/ 2392702 w 4519987"/>
              <a:gd name="connsiteY100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73377 w 4519987"/>
              <a:gd name="connsiteY54" fmla="*/ 3019425 h 4429225"/>
              <a:gd name="connsiteX55" fmla="*/ 144802 w 4519987"/>
              <a:gd name="connsiteY55" fmla="*/ 2924175 h 4429225"/>
              <a:gd name="connsiteX56" fmla="*/ 68602 w 4519987"/>
              <a:gd name="connsiteY56" fmla="*/ 2724150 h 4429225"/>
              <a:gd name="connsiteX57" fmla="*/ 49552 w 4519987"/>
              <a:gd name="connsiteY57" fmla="*/ 2638425 h 4429225"/>
              <a:gd name="connsiteX58" fmla="*/ 40027 w 4519987"/>
              <a:gd name="connsiteY58" fmla="*/ 2562225 h 4429225"/>
              <a:gd name="connsiteX59" fmla="*/ 30502 w 4519987"/>
              <a:gd name="connsiteY59" fmla="*/ 2514600 h 4429225"/>
              <a:gd name="connsiteX60" fmla="*/ 11452 w 4519987"/>
              <a:gd name="connsiteY60" fmla="*/ 2400300 h 4429225"/>
              <a:gd name="connsiteX61" fmla="*/ 20977 w 4519987"/>
              <a:gd name="connsiteY61" fmla="*/ 1905000 h 4429225"/>
              <a:gd name="connsiteX62" fmla="*/ 30502 w 4519987"/>
              <a:gd name="connsiteY62" fmla="*/ 1838325 h 4429225"/>
              <a:gd name="connsiteX63" fmla="*/ 49552 w 4519987"/>
              <a:gd name="connsiteY63" fmla="*/ 1781175 h 4429225"/>
              <a:gd name="connsiteX64" fmla="*/ 59077 w 4519987"/>
              <a:gd name="connsiteY64" fmla="*/ 1743075 h 4429225"/>
              <a:gd name="connsiteX65" fmla="*/ 78127 w 4519987"/>
              <a:gd name="connsiteY65" fmla="*/ 1685925 h 4429225"/>
              <a:gd name="connsiteX66" fmla="*/ 87652 w 4519987"/>
              <a:gd name="connsiteY66" fmla="*/ 1638300 h 4429225"/>
              <a:gd name="connsiteX67" fmla="*/ 106702 w 4519987"/>
              <a:gd name="connsiteY67" fmla="*/ 1590675 h 4429225"/>
              <a:gd name="connsiteX68" fmla="*/ 135277 w 4519987"/>
              <a:gd name="connsiteY68" fmla="*/ 1504950 h 4429225"/>
              <a:gd name="connsiteX69" fmla="*/ 154327 w 4519987"/>
              <a:gd name="connsiteY69" fmla="*/ 1419225 h 4429225"/>
              <a:gd name="connsiteX70" fmla="*/ 230527 w 4519987"/>
              <a:gd name="connsiteY70" fmla="*/ 1276350 h 4429225"/>
              <a:gd name="connsiteX71" fmla="*/ 240052 w 4519987"/>
              <a:gd name="connsiteY71" fmla="*/ 1247775 h 4429225"/>
              <a:gd name="connsiteX72" fmla="*/ 268627 w 4519987"/>
              <a:gd name="connsiteY72" fmla="*/ 1200150 h 4429225"/>
              <a:gd name="connsiteX73" fmla="*/ 287677 w 4519987"/>
              <a:gd name="connsiteY73" fmla="*/ 1152525 h 4429225"/>
              <a:gd name="connsiteX74" fmla="*/ 316252 w 4519987"/>
              <a:gd name="connsiteY74" fmla="*/ 1114425 h 4429225"/>
              <a:gd name="connsiteX75" fmla="*/ 363877 w 4519987"/>
              <a:gd name="connsiteY75" fmla="*/ 1038225 h 4429225"/>
              <a:gd name="connsiteX76" fmla="*/ 382927 w 4519987"/>
              <a:gd name="connsiteY76" fmla="*/ 1009650 h 4429225"/>
              <a:gd name="connsiteX77" fmla="*/ 440077 w 4519987"/>
              <a:gd name="connsiteY77" fmla="*/ 904875 h 4429225"/>
              <a:gd name="connsiteX78" fmla="*/ 478177 w 4519987"/>
              <a:gd name="connsiteY78" fmla="*/ 857250 h 4429225"/>
              <a:gd name="connsiteX79" fmla="*/ 497227 w 4519987"/>
              <a:gd name="connsiteY79" fmla="*/ 828675 h 4429225"/>
              <a:gd name="connsiteX80" fmla="*/ 535327 w 4519987"/>
              <a:gd name="connsiteY80" fmla="*/ 800100 h 4429225"/>
              <a:gd name="connsiteX81" fmla="*/ 602002 w 4519987"/>
              <a:gd name="connsiteY81" fmla="*/ 733425 h 4429225"/>
              <a:gd name="connsiteX82" fmla="*/ 668677 w 4519987"/>
              <a:gd name="connsiteY82" fmla="*/ 676275 h 4429225"/>
              <a:gd name="connsiteX83" fmla="*/ 697252 w 4519987"/>
              <a:gd name="connsiteY83" fmla="*/ 657225 h 4429225"/>
              <a:gd name="connsiteX84" fmla="*/ 840127 w 4519987"/>
              <a:gd name="connsiteY84" fmla="*/ 533400 h 4429225"/>
              <a:gd name="connsiteX85" fmla="*/ 887752 w 4519987"/>
              <a:gd name="connsiteY85" fmla="*/ 504825 h 4429225"/>
              <a:gd name="connsiteX86" fmla="*/ 1167152 w 4519987"/>
              <a:gd name="connsiteY86" fmla="*/ 311150 h 4429225"/>
              <a:gd name="connsiteX87" fmla="*/ 1268752 w 4519987"/>
              <a:gd name="connsiteY87" fmla="*/ 285750 h 4429225"/>
              <a:gd name="connsiteX88" fmla="*/ 1411627 w 4519987"/>
              <a:gd name="connsiteY88" fmla="*/ 190500 h 4429225"/>
              <a:gd name="connsiteX89" fmla="*/ 1449727 w 4519987"/>
              <a:gd name="connsiteY89" fmla="*/ 161925 h 4429225"/>
              <a:gd name="connsiteX90" fmla="*/ 1525927 w 4519987"/>
              <a:gd name="connsiteY90" fmla="*/ 152400 h 4429225"/>
              <a:gd name="connsiteX91" fmla="*/ 1583077 w 4519987"/>
              <a:gd name="connsiteY91" fmla="*/ 142875 h 4429225"/>
              <a:gd name="connsiteX92" fmla="*/ 1716427 w 4519987"/>
              <a:gd name="connsiteY92" fmla="*/ 123825 h 4429225"/>
              <a:gd name="connsiteX93" fmla="*/ 1811677 w 4519987"/>
              <a:gd name="connsiteY93" fmla="*/ 114300 h 4429225"/>
              <a:gd name="connsiteX94" fmla="*/ 1859302 w 4519987"/>
              <a:gd name="connsiteY94" fmla="*/ 104775 h 4429225"/>
              <a:gd name="connsiteX95" fmla="*/ 1916452 w 4519987"/>
              <a:gd name="connsiteY95" fmla="*/ 95250 h 4429225"/>
              <a:gd name="connsiteX96" fmla="*/ 2030752 w 4519987"/>
              <a:gd name="connsiteY96" fmla="*/ 66675 h 4429225"/>
              <a:gd name="connsiteX97" fmla="*/ 2097427 w 4519987"/>
              <a:gd name="connsiteY97" fmla="*/ 47625 h 4429225"/>
              <a:gd name="connsiteX98" fmla="*/ 2164102 w 4519987"/>
              <a:gd name="connsiteY98" fmla="*/ 38100 h 4429225"/>
              <a:gd name="connsiteX99" fmla="*/ 2392702 w 4519987"/>
              <a:gd name="connsiteY99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9552 w 4519987"/>
              <a:gd name="connsiteY56" fmla="*/ 2638425 h 4429225"/>
              <a:gd name="connsiteX57" fmla="*/ 40027 w 4519987"/>
              <a:gd name="connsiteY57" fmla="*/ 2562225 h 4429225"/>
              <a:gd name="connsiteX58" fmla="*/ 30502 w 4519987"/>
              <a:gd name="connsiteY58" fmla="*/ 2514600 h 4429225"/>
              <a:gd name="connsiteX59" fmla="*/ 11452 w 4519987"/>
              <a:gd name="connsiteY59" fmla="*/ 2400300 h 4429225"/>
              <a:gd name="connsiteX60" fmla="*/ 20977 w 4519987"/>
              <a:gd name="connsiteY60" fmla="*/ 1905000 h 4429225"/>
              <a:gd name="connsiteX61" fmla="*/ 30502 w 4519987"/>
              <a:gd name="connsiteY61" fmla="*/ 1838325 h 4429225"/>
              <a:gd name="connsiteX62" fmla="*/ 49552 w 4519987"/>
              <a:gd name="connsiteY62" fmla="*/ 1781175 h 4429225"/>
              <a:gd name="connsiteX63" fmla="*/ 59077 w 4519987"/>
              <a:gd name="connsiteY63" fmla="*/ 1743075 h 4429225"/>
              <a:gd name="connsiteX64" fmla="*/ 78127 w 4519987"/>
              <a:gd name="connsiteY64" fmla="*/ 1685925 h 4429225"/>
              <a:gd name="connsiteX65" fmla="*/ 87652 w 4519987"/>
              <a:gd name="connsiteY65" fmla="*/ 1638300 h 4429225"/>
              <a:gd name="connsiteX66" fmla="*/ 106702 w 4519987"/>
              <a:gd name="connsiteY66" fmla="*/ 1590675 h 4429225"/>
              <a:gd name="connsiteX67" fmla="*/ 135277 w 4519987"/>
              <a:gd name="connsiteY67" fmla="*/ 1504950 h 4429225"/>
              <a:gd name="connsiteX68" fmla="*/ 154327 w 4519987"/>
              <a:gd name="connsiteY68" fmla="*/ 1419225 h 4429225"/>
              <a:gd name="connsiteX69" fmla="*/ 230527 w 4519987"/>
              <a:gd name="connsiteY69" fmla="*/ 1276350 h 4429225"/>
              <a:gd name="connsiteX70" fmla="*/ 240052 w 4519987"/>
              <a:gd name="connsiteY70" fmla="*/ 1247775 h 4429225"/>
              <a:gd name="connsiteX71" fmla="*/ 268627 w 4519987"/>
              <a:gd name="connsiteY71" fmla="*/ 1200150 h 4429225"/>
              <a:gd name="connsiteX72" fmla="*/ 287677 w 4519987"/>
              <a:gd name="connsiteY72" fmla="*/ 1152525 h 4429225"/>
              <a:gd name="connsiteX73" fmla="*/ 316252 w 4519987"/>
              <a:gd name="connsiteY73" fmla="*/ 1114425 h 4429225"/>
              <a:gd name="connsiteX74" fmla="*/ 363877 w 4519987"/>
              <a:gd name="connsiteY74" fmla="*/ 1038225 h 4429225"/>
              <a:gd name="connsiteX75" fmla="*/ 382927 w 4519987"/>
              <a:gd name="connsiteY75" fmla="*/ 1009650 h 4429225"/>
              <a:gd name="connsiteX76" fmla="*/ 440077 w 4519987"/>
              <a:gd name="connsiteY76" fmla="*/ 904875 h 4429225"/>
              <a:gd name="connsiteX77" fmla="*/ 478177 w 4519987"/>
              <a:gd name="connsiteY77" fmla="*/ 857250 h 4429225"/>
              <a:gd name="connsiteX78" fmla="*/ 497227 w 4519987"/>
              <a:gd name="connsiteY78" fmla="*/ 828675 h 4429225"/>
              <a:gd name="connsiteX79" fmla="*/ 535327 w 4519987"/>
              <a:gd name="connsiteY79" fmla="*/ 800100 h 4429225"/>
              <a:gd name="connsiteX80" fmla="*/ 602002 w 4519987"/>
              <a:gd name="connsiteY80" fmla="*/ 733425 h 4429225"/>
              <a:gd name="connsiteX81" fmla="*/ 668677 w 4519987"/>
              <a:gd name="connsiteY81" fmla="*/ 676275 h 4429225"/>
              <a:gd name="connsiteX82" fmla="*/ 697252 w 4519987"/>
              <a:gd name="connsiteY82" fmla="*/ 657225 h 4429225"/>
              <a:gd name="connsiteX83" fmla="*/ 840127 w 4519987"/>
              <a:gd name="connsiteY83" fmla="*/ 533400 h 4429225"/>
              <a:gd name="connsiteX84" fmla="*/ 887752 w 4519987"/>
              <a:gd name="connsiteY84" fmla="*/ 504825 h 4429225"/>
              <a:gd name="connsiteX85" fmla="*/ 1167152 w 4519987"/>
              <a:gd name="connsiteY85" fmla="*/ 311150 h 4429225"/>
              <a:gd name="connsiteX86" fmla="*/ 1268752 w 4519987"/>
              <a:gd name="connsiteY86" fmla="*/ 285750 h 4429225"/>
              <a:gd name="connsiteX87" fmla="*/ 1411627 w 4519987"/>
              <a:gd name="connsiteY87" fmla="*/ 190500 h 4429225"/>
              <a:gd name="connsiteX88" fmla="*/ 1449727 w 4519987"/>
              <a:gd name="connsiteY88" fmla="*/ 161925 h 4429225"/>
              <a:gd name="connsiteX89" fmla="*/ 1525927 w 4519987"/>
              <a:gd name="connsiteY89" fmla="*/ 152400 h 4429225"/>
              <a:gd name="connsiteX90" fmla="*/ 1583077 w 4519987"/>
              <a:gd name="connsiteY90" fmla="*/ 142875 h 4429225"/>
              <a:gd name="connsiteX91" fmla="*/ 1716427 w 4519987"/>
              <a:gd name="connsiteY91" fmla="*/ 123825 h 4429225"/>
              <a:gd name="connsiteX92" fmla="*/ 1811677 w 4519987"/>
              <a:gd name="connsiteY92" fmla="*/ 114300 h 4429225"/>
              <a:gd name="connsiteX93" fmla="*/ 1859302 w 4519987"/>
              <a:gd name="connsiteY93" fmla="*/ 104775 h 4429225"/>
              <a:gd name="connsiteX94" fmla="*/ 1916452 w 4519987"/>
              <a:gd name="connsiteY94" fmla="*/ 95250 h 4429225"/>
              <a:gd name="connsiteX95" fmla="*/ 2030752 w 4519987"/>
              <a:gd name="connsiteY95" fmla="*/ 66675 h 4429225"/>
              <a:gd name="connsiteX96" fmla="*/ 2097427 w 4519987"/>
              <a:gd name="connsiteY96" fmla="*/ 47625 h 4429225"/>
              <a:gd name="connsiteX97" fmla="*/ 2164102 w 4519987"/>
              <a:gd name="connsiteY97" fmla="*/ 38100 h 4429225"/>
              <a:gd name="connsiteX98" fmla="*/ 2392702 w 4519987"/>
              <a:gd name="connsiteY98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0027 w 4519987"/>
              <a:gd name="connsiteY56" fmla="*/ 2562225 h 4429225"/>
              <a:gd name="connsiteX57" fmla="*/ 30502 w 4519987"/>
              <a:gd name="connsiteY57" fmla="*/ 2514600 h 4429225"/>
              <a:gd name="connsiteX58" fmla="*/ 11452 w 4519987"/>
              <a:gd name="connsiteY58" fmla="*/ 2400300 h 4429225"/>
              <a:gd name="connsiteX59" fmla="*/ 20977 w 4519987"/>
              <a:gd name="connsiteY59" fmla="*/ 1905000 h 4429225"/>
              <a:gd name="connsiteX60" fmla="*/ 30502 w 4519987"/>
              <a:gd name="connsiteY60" fmla="*/ 1838325 h 4429225"/>
              <a:gd name="connsiteX61" fmla="*/ 49552 w 4519987"/>
              <a:gd name="connsiteY61" fmla="*/ 1781175 h 4429225"/>
              <a:gd name="connsiteX62" fmla="*/ 59077 w 4519987"/>
              <a:gd name="connsiteY62" fmla="*/ 1743075 h 4429225"/>
              <a:gd name="connsiteX63" fmla="*/ 78127 w 4519987"/>
              <a:gd name="connsiteY63" fmla="*/ 1685925 h 4429225"/>
              <a:gd name="connsiteX64" fmla="*/ 87652 w 4519987"/>
              <a:gd name="connsiteY64" fmla="*/ 1638300 h 4429225"/>
              <a:gd name="connsiteX65" fmla="*/ 106702 w 4519987"/>
              <a:gd name="connsiteY65" fmla="*/ 1590675 h 4429225"/>
              <a:gd name="connsiteX66" fmla="*/ 135277 w 4519987"/>
              <a:gd name="connsiteY66" fmla="*/ 1504950 h 4429225"/>
              <a:gd name="connsiteX67" fmla="*/ 154327 w 4519987"/>
              <a:gd name="connsiteY67" fmla="*/ 1419225 h 4429225"/>
              <a:gd name="connsiteX68" fmla="*/ 230527 w 4519987"/>
              <a:gd name="connsiteY68" fmla="*/ 1276350 h 4429225"/>
              <a:gd name="connsiteX69" fmla="*/ 240052 w 4519987"/>
              <a:gd name="connsiteY69" fmla="*/ 1247775 h 4429225"/>
              <a:gd name="connsiteX70" fmla="*/ 268627 w 4519987"/>
              <a:gd name="connsiteY70" fmla="*/ 1200150 h 4429225"/>
              <a:gd name="connsiteX71" fmla="*/ 287677 w 4519987"/>
              <a:gd name="connsiteY71" fmla="*/ 1152525 h 4429225"/>
              <a:gd name="connsiteX72" fmla="*/ 316252 w 4519987"/>
              <a:gd name="connsiteY72" fmla="*/ 1114425 h 4429225"/>
              <a:gd name="connsiteX73" fmla="*/ 363877 w 4519987"/>
              <a:gd name="connsiteY73" fmla="*/ 1038225 h 4429225"/>
              <a:gd name="connsiteX74" fmla="*/ 382927 w 4519987"/>
              <a:gd name="connsiteY74" fmla="*/ 1009650 h 4429225"/>
              <a:gd name="connsiteX75" fmla="*/ 440077 w 4519987"/>
              <a:gd name="connsiteY75" fmla="*/ 904875 h 4429225"/>
              <a:gd name="connsiteX76" fmla="*/ 478177 w 4519987"/>
              <a:gd name="connsiteY76" fmla="*/ 857250 h 4429225"/>
              <a:gd name="connsiteX77" fmla="*/ 497227 w 4519987"/>
              <a:gd name="connsiteY77" fmla="*/ 828675 h 4429225"/>
              <a:gd name="connsiteX78" fmla="*/ 535327 w 4519987"/>
              <a:gd name="connsiteY78" fmla="*/ 800100 h 4429225"/>
              <a:gd name="connsiteX79" fmla="*/ 602002 w 4519987"/>
              <a:gd name="connsiteY79" fmla="*/ 733425 h 4429225"/>
              <a:gd name="connsiteX80" fmla="*/ 668677 w 4519987"/>
              <a:gd name="connsiteY80" fmla="*/ 676275 h 4429225"/>
              <a:gd name="connsiteX81" fmla="*/ 697252 w 4519987"/>
              <a:gd name="connsiteY81" fmla="*/ 657225 h 4429225"/>
              <a:gd name="connsiteX82" fmla="*/ 840127 w 4519987"/>
              <a:gd name="connsiteY82" fmla="*/ 533400 h 4429225"/>
              <a:gd name="connsiteX83" fmla="*/ 887752 w 4519987"/>
              <a:gd name="connsiteY83" fmla="*/ 504825 h 4429225"/>
              <a:gd name="connsiteX84" fmla="*/ 1167152 w 4519987"/>
              <a:gd name="connsiteY84" fmla="*/ 311150 h 4429225"/>
              <a:gd name="connsiteX85" fmla="*/ 1268752 w 4519987"/>
              <a:gd name="connsiteY85" fmla="*/ 285750 h 4429225"/>
              <a:gd name="connsiteX86" fmla="*/ 1411627 w 4519987"/>
              <a:gd name="connsiteY86" fmla="*/ 190500 h 4429225"/>
              <a:gd name="connsiteX87" fmla="*/ 1449727 w 4519987"/>
              <a:gd name="connsiteY87" fmla="*/ 161925 h 4429225"/>
              <a:gd name="connsiteX88" fmla="*/ 1525927 w 4519987"/>
              <a:gd name="connsiteY88" fmla="*/ 152400 h 4429225"/>
              <a:gd name="connsiteX89" fmla="*/ 1583077 w 4519987"/>
              <a:gd name="connsiteY89" fmla="*/ 142875 h 4429225"/>
              <a:gd name="connsiteX90" fmla="*/ 1716427 w 4519987"/>
              <a:gd name="connsiteY90" fmla="*/ 123825 h 4429225"/>
              <a:gd name="connsiteX91" fmla="*/ 1811677 w 4519987"/>
              <a:gd name="connsiteY91" fmla="*/ 114300 h 4429225"/>
              <a:gd name="connsiteX92" fmla="*/ 1859302 w 4519987"/>
              <a:gd name="connsiteY92" fmla="*/ 104775 h 4429225"/>
              <a:gd name="connsiteX93" fmla="*/ 1916452 w 4519987"/>
              <a:gd name="connsiteY93" fmla="*/ 95250 h 4429225"/>
              <a:gd name="connsiteX94" fmla="*/ 2030752 w 4519987"/>
              <a:gd name="connsiteY94" fmla="*/ 66675 h 4429225"/>
              <a:gd name="connsiteX95" fmla="*/ 2097427 w 4519987"/>
              <a:gd name="connsiteY95" fmla="*/ 47625 h 4429225"/>
              <a:gd name="connsiteX96" fmla="*/ 2164102 w 4519987"/>
              <a:gd name="connsiteY96" fmla="*/ 38100 h 4429225"/>
              <a:gd name="connsiteX97" fmla="*/ 2392702 w 4519987"/>
              <a:gd name="connsiteY97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0027 w 4519987"/>
              <a:gd name="connsiteY56" fmla="*/ 2562225 h 4429225"/>
              <a:gd name="connsiteX57" fmla="*/ 11452 w 4519987"/>
              <a:gd name="connsiteY57" fmla="*/ 2400300 h 4429225"/>
              <a:gd name="connsiteX58" fmla="*/ 20977 w 4519987"/>
              <a:gd name="connsiteY58" fmla="*/ 1905000 h 4429225"/>
              <a:gd name="connsiteX59" fmla="*/ 30502 w 4519987"/>
              <a:gd name="connsiteY59" fmla="*/ 1838325 h 4429225"/>
              <a:gd name="connsiteX60" fmla="*/ 49552 w 4519987"/>
              <a:gd name="connsiteY60" fmla="*/ 1781175 h 4429225"/>
              <a:gd name="connsiteX61" fmla="*/ 59077 w 4519987"/>
              <a:gd name="connsiteY61" fmla="*/ 1743075 h 4429225"/>
              <a:gd name="connsiteX62" fmla="*/ 78127 w 4519987"/>
              <a:gd name="connsiteY62" fmla="*/ 1685925 h 4429225"/>
              <a:gd name="connsiteX63" fmla="*/ 87652 w 4519987"/>
              <a:gd name="connsiteY63" fmla="*/ 1638300 h 4429225"/>
              <a:gd name="connsiteX64" fmla="*/ 106702 w 4519987"/>
              <a:gd name="connsiteY64" fmla="*/ 1590675 h 4429225"/>
              <a:gd name="connsiteX65" fmla="*/ 135277 w 4519987"/>
              <a:gd name="connsiteY65" fmla="*/ 1504950 h 4429225"/>
              <a:gd name="connsiteX66" fmla="*/ 154327 w 4519987"/>
              <a:gd name="connsiteY66" fmla="*/ 1419225 h 4429225"/>
              <a:gd name="connsiteX67" fmla="*/ 230527 w 4519987"/>
              <a:gd name="connsiteY67" fmla="*/ 1276350 h 4429225"/>
              <a:gd name="connsiteX68" fmla="*/ 240052 w 4519987"/>
              <a:gd name="connsiteY68" fmla="*/ 1247775 h 4429225"/>
              <a:gd name="connsiteX69" fmla="*/ 268627 w 4519987"/>
              <a:gd name="connsiteY69" fmla="*/ 1200150 h 4429225"/>
              <a:gd name="connsiteX70" fmla="*/ 287677 w 4519987"/>
              <a:gd name="connsiteY70" fmla="*/ 1152525 h 4429225"/>
              <a:gd name="connsiteX71" fmla="*/ 316252 w 4519987"/>
              <a:gd name="connsiteY71" fmla="*/ 1114425 h 4429225"/>
              <a:gd name="connsiteX72" fmla="*/ 363877 w 4519987"/>
              <a:gd name="connsiteY72" fmla="*/ 1038225 h 4429225"/>
              <a:gd name="connsiteX73" fmla="*/ 382927 w 4519987"/>
              <a:gd name="connsiteY73" fmla="*/ 1009650 h 4429225"/>
              <a:gd name="connsiteX74" fmla="*/ 440077 w 4519987"/>
              <a:gd name="connsiteY74" fmla="*/ 904875 h 4429225"/>
              <a:gd name="connsiteX75" fmla="*/ 478177 w 4519987"/>
              <a:gd name="connsiteY75" fmla="*/ 857250 h 4429225"/>
              <a:gd name="connsiteX76" fmla="*/ 497227 w 4519987"/>
              <a:gd name="connsiteY76" fmla="*/ 828675 h 4429225"/>
              <a:gd name="connsiteX77" fmla="*/ 535327 w 4519987"/>
              <a:gd name="connsiteY77" fmla="*/ 800100 h 4429225"/>
              <a:gd name="connsiteX78" fmla="*/ 602002 w 4519987"/>
              <a:gd name="connsiteY78" fmla="*/ 733425 h 4429225"/>
              <a:gd name="connsiteX79" fmla="*/ 668677 w 4519987"/>
              <a:gd name="connsiteY79" fmla="*/ 676275 h 4429225"/>
              <a:gd name="connsiteX80" fmla="*/ 697252 w 4519987"/>
              <a:gd name="connsiteY80" fmla="*/ 657225 h 4429225"/>
              <a:gd name="connsiteX81" fmla="*/ 840127 w 4519987"/>
              <a:gd name="connsiteY81" fmla="*/ 533400 h 4429225"/>
              <a:gd name="connsiteX82" fmla="*/ 887752 w 4519987"/>
              <a:gd name="connsiteY82" fmla="*/ 504825 h 4429225"/>
              <a:gd name="connsiteX83" fmla="*/ 1167152 w 4519987"/>
              <a:gd name="connsiteY83" fmla="*/ 311150 h 4429225"/>
              <a:gd name="connsiteX84" fmla="*/ 1268752 w 4519987"/>
              <a:gd name="connsiteY84" fmla="*/ 285750 h 4429225"/>
              <a:gd name="connsiteX85" fmla="*/ 1411627 w 4519987"/>
              <a:gd name="connsiteY85" fmla="*/ 190500 h 4429225"/>
              <a:gd name="connsiteX86" fmla="*/ 1449727 w 4519987"/>
              <a:gd name="connsiteY86" fmla="*/ 161925 h 4429225"/>
              <a:gd name="connsiteX87" fmla="*/ 1525927 w 4519987"/>
              <a:gd name="connsiteY87" fmla="*/ 152400 h 4429225"/>
              <a:gd name="connsiteX88" fmla="*/ 1583077 w 4519987"/>
              <a:gd name="connsiteY88" fmla="*/ 142875 h 4429225"/>
              <a:gd name="connsiteX89" fmla="*/ 1716427 w 4519987"/>
              <a:gd name="connsiteY89" fmla="*/ 123825 h 4429225"/>
              <a:gd name="connsiteX90" fmla="*/ 1811677 w 4519987"/>
              <a:gd name="connsiteY90" fmla="*/ 114300 h 4429225"/>
              <a:gd name="connsiteX91" fmla="*/ 1859302 w 4519987"/>
              <a:gd name="connsiteY91" fmla="*/ 104775 h 4429225"/>
              <a:gd name="connsiteX92" fmla="*/ 1916452 w 4519987"/>
              <a:gd name="connsiteY92" fmla="*/ 95250 h 4429225"/>
              <a:gd name="connsiteX93" fmla="*/ 2030752 w 4519987"/>
              <a:gd name="connsiteY93" fmla="*/ 66675 h 4429225"/>
              <a:gd name="connsiteX94" fmla="*/ 2097427 w 4519987"/>
              <a:gd name="connsiteY94" fmla="*/ 47625 h 4429225"/>
              <a:gd name="connsiteX95" fmla="*/ 2164102 w 4519987"/>
              <a:gd name="connsiteY95" fmla="*/ 38100 h 4429225"/>
              <a:gd name="connsiteX96" fmla="*/ 2392702 w 4519987"/>
              <a:gd name="connsiteY96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11452 w 4519987"/>
              <a:gd name="connsiteY56" fmla="*/ 2400300 h 4429225"/>
              <a:gd name="connsiteX57" fmla="*/ 20977 w 4519987"/>
              <a:gd name="connsiteY57" fmla="*/ 1905000 h 4429225"/>
              <a:gd name="connsiteX58" fmla="*/ 30502 w 4519987"/>
              <a:gd name="connsiteY58" fmla="*/ 1838325 h 4429225"/>
              <a:gd name="connsiteX59" fmla="*/ 49552 w 4519987"/>
              <a:gd name="connsiteY59" fmla="*/ 1781175 h 4429225"/>
              <a:gd name="connsiteX60" fmla="*/ 59077 w 4519987"/>
              <a:gd name="connsiteY60" fmla="*/ 1743075 h 4429225"/>
              <a:gd name="connsiteX61" fmla="*/ 78127 w 4519987"/>
              <a:gd name="connsiteY61" fmla="*/ 1685925 h 4429225"/>
              <a:gd name="connsiteX62" fmla="*/ 87652 w 4519987"/>
              <a:gd name="connsiteY62" fmla="*/ 1638300 h 4429225"/>
              <a:gd name="connsiteX63" fmla="*/ 106702 w 4519987"/>
              <a:gd name="connsiteY63" fmla="*/ 1590675 h 4429225"/>
              <a:gd name="connsiteX64" fmla="*/ 135277 w 4519987"/>
              <a:gd name="connsiteY64" fmla="*/ 1504950 h 4429225"/>
              <a:gd name="connsiteX65" fmla="*/ 154327 w 4519987"/>
              <a:gd name="connsiteY65" fmla="*/ 1419225 h 4429225"/>
              <a:gd name="connsiteX66" fmla="*/ 230527 w 4519987"/>
              <a:gd name="connsiteY66" fmla="*/ 1276350 h 4429225"/>
              <a:gd name="connsiteX67" fmla="*/ 240052 w 4519987"/>
              <a:gd name="connsiteY67" fmla="*/ 1247775 h 4429225"/>
              <a:gd name="connsiteX68" fmla="*/ 268627 w 4519987"/>
              <a:gd name="connsiteY68" fmla="*/ 1200150 h 4429225"/>
              <a:gd name="connsiteX69" fmla="*/ 287677 w 4519987"/>
              <a:gd name="connsiteY69" fmla="*/ 1152525 h 4429225"/>
              <a:gd name="connsiteX70" fmla="*/ 316252 w 4519987"/>
              <a:gd name="connsiteY70" fmla="*/ 1114425 h 4429225"/>
              <a:gd name="connsiteX71" fmla="*/ 363877 w 4519987"/>
              <a:gd name="connsiteY71" fmla="*/ 1038225 h 4429225"/>
              <a:gd name="connsiteX72" fmla="*/ 382927 w 4519987"/>
              <a:gd name="connsiteY72" fmla="*/ 1009650 h 4429225"/>
              <a:gd name="connsiteX73" fmla="*/ 440077 w 4519987"/>
              <a:gd name="connsiteY73" fmla="*/ 904875 h 4429225"/>
              <a:gd name="connsiteX74" fmla="*/ 478177 w 4519987"/>
              <a:gd name="connsiteY74" fmla="*/ 857250 h 4429225"/>
              <a:gd name="connsiteX75" fmla="*/ 497227 w 4519987"/>
              <a:gd name="connsiteY75" fmla="*/ 828675 h 4429225"/>
              <a:gd name="connsiteX76" fmla="*/ 535327 w 4519987"/>
              <a:gd name="connsiteY76" fmla="*/ 800100 h 4429225"/>
              <a:gd name="connsiteX77" fmla="*/ 602002 w 4519987"/>
              <a:gd name="connsiteY77" fmla="*/ 733425 h 4429225"/>
              <a:gd name="connsiteX78" fmla="*/ 668677 w 4519987"/>
              <a:gd name="connsiteY78" fmla="*/ 676275 h 4429225"/>
              <a:gd name="connsiteX79" fmla="*/ 697252 w 4519987"/>
              <a:gd name="connsiteY79" fmla="*/ 657225 h 4429225"/>
              <a:gd name="connsiteX80" fmla="*/ 840127 w 4519987"/>
              <a:gd name="connsiteY80" fmla="*/ 533400 h 4429225"/>
              <a:gd name="connsiteX81" fmla="*/ 887752 w 4519987"/>
              <a:gd name="connsiteY81" fmla="*/ 504825 h 4429225"/>
              <a:gd name="connsiteX82" fmla="*/ 1167152 w 4519987"/>
              <a:gd name="connsiteY82" fmla="*/ 311150 h 4429225"/>
              <a:gd name="connsiteX83" fmla="*/ 1268752 w 4519987"/>
              <a:gd name="connsiteY83" fmla="*/ 285750 h 4429225"/>
              <a:gd name="connsiteX84" fmla="*/ 1411627 w 4519987"/>
              <a:gd name="connsiteY84" fmla="*/ 190500 h 4429225"/>
              <a:gd name="connsiteX85" fmla="*/ 1449727 w 4519987"/>
              <a:gd name="connsiteY85" fmla="*/ 161925 h 4429225"/>
              <a:gd name="connsiteX86" fmla="*/ 1525927 w 4519987"/>
              <a:gd name="connsiteY86" fmla="*/ 152400 h 4429225"/>
              <a:gd name="connsiteX87" fmla="*/ 1583077 w 4519987"/>
              <a:gd name="connsiteY87" fmla="*/ 142875 h 4429225"/>
              <a:gd name="connsiteX88" fmla="*/ 1716427 w 4519987"/>
              <a:gd name="connsiteY88" fmla="*/ 123825 h 4429225"/>
              <a:gd name="connsiteX89" fmla="*/ 1811677 w 4519987"/>
              <a:gd name="connsiteY89" fmla="*/ 114300 h 4429225"/>
              <a:gd name="connsiteX90" fmla="*/ 1859302 w 4519987"/>
              <a:gd name="connsiteY90" fmla="*/ 104775 h 4429225"/>
              <a:gd name="connsiteX91" fmla="*/ 1916452 w 4519987"/>
              <a:gd name="connsiteY91" fmla="*/ 95250 h 4429225"/>
              <a:gd name="connsiteX92" fmla="*/ 2030752 w 4519987"/>
              <a:gd name="connsiteY92" fmla="*/ 66675 h 4429225"/>
              <a:gd name="connsiteX93" fmla="*/ 2097427 w 4519987"/>
              <a:gd name="connsiteY93" fmla="*/ 47625 h 4429225"/>
              <a:gd name="connsiteX94" fmla="*/ 2164102 w 4519987"/>
              <a:gd name="connsiteY94" fmla="*/ 38100 h 4429225"/>
              <a:gd name="connsiteX95" fmla="*/ 2392702 w 4519987"/>
              <a:gd name="connsiteY95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202394 w 4501379"/>
              <a:gd name="connsiteY53" fmla="*/ 3105150 h 4429225"/>
              <a:gd name="connsiteX54" fmla="*/ 126194 w 4501379"/>
              <a:gd name="connsiteY54" fmla="*/ 2924175 h 4429225"/>
              <a:gd name="connsiteX55" fmla="*/ 49994 w 4501379"/>
              <a:gd name="connsiteY55" fmla="*/ 2724150 h 4429225"/>
              <a:gd name="connsiteX56" fmla="*/ 56344 w 4501379"/>
              <a:gd name="connsiteY56" fmla="*/ 2368550 h 4429225"/>
              <a:gd name="connsiteX57" fmla="*/ 2369 w 4501379"/>
              <a:gd name="connsiteY57" fmla="*/ 1905000 h 4429225"/>
              <a:gd name="connsiteX58" fmla="*/ 11894 w 4501379"/>
              <a:gd name="connsiteY58" fmla="*/ 1838325 h 4429225"/>
              <a:gd name="connsiteX59" fmla="*/ 30944 w 4501379"/>
              <a:gd name="connsiteY59" fmla="*/ 1781175 h 4429225"/>
              <a:gd name="connsiteX60" fmla="*/ 40469 w 4501379"/>
              <a:gd name="connsiteY60" fmla="*/ 1743075 h 4429225"/>
              <a:gd name="connsiteX61" fmla="*/ 59519 w 4501379"/>
              <a:gd name="connsiteY61" fmla="*/ 1685925 h 4429225"/>
              <a:gd name="connsiteX62" fmla="*/ 69044 w 4501379"/>
              <a:gd name="connsiteY62" fmla="*/ 1638300 h 4429225"/>
              <a:gd name="connsiteX63" fmla="*/ 88094 w 4501379"/>
              <a:gd name="connsiteY63" fmla="*/ 1590675 h 4429225"/>
              <a:gd name="connsiteX64" fmla="*/ 116669 w 4501379"/>
              <a:gd name="connsiteY64" fmla="*/ 1504950 h 4429225"/>
              <a:gd name="connsiteX65" fmla="*/ 135719 w 4501379"/>
              <a:gd name="connsiteY65" fmla="*/ 1419225 h 4429225"/>
              <a:gd name="connsiteX66" fmla="*/ 211919 w 4501379"/>
              <a:gd name="connsiteY66" fmla="*/ 1276350 h 4429225"/>
              <a:gd name="connsiteX67" fmla="*/ 221444 w 4501379"/>
              <a:gd name="connsiteY67" fmla="*/ 1247775 h 4429225"/>
              <a:gd name="connsiteX68" fmla="*/ 250019 w 4501379"/>
              <a:gd name="connsiteY68" fmla="*/ 1200150 h 4429225"/>
              <a:gd name="connsiteX69" fmla="*/ 269069 w 4501379"/>
              <a:gd name="connsiteY69" fmla="*/ 1152525 h 4429225"/>
              <a:gd name="connsiteX70" fmla="*/ 297644 w 4501379"/>
              <a:gd name="connsiteY70" fmla="*/ 1114425 h 4429225"/>
              <a:gd name="connsiteX71" fmla="*/ 345269 w 4501379"/>
              <a:gd name="connsiteY71" fmla="*/ 1038225 h 4429225"/>
              <a:gd name="connsiteX72" fmla="*/ 364319 w 4501379"/>
              <a:gd name="connsiteY72" fmla="*/ 1009650 h 4429225"/>
              <a:gd name="connsiteX73" fmla="*/ 421469 w 4501379"/>
              <a:gd name="connsiteY73" fmla="*/ 904875 h 4429225"/>
              <a:gd name="connsiteX74" fmla="*/ 459569 w 4501379"/>
              <a:gd name="connsiteY74" fmla="*/ 857250 h 4429225"/>
              <a:gd name="connsiteX75" fmla="*/ 478619 w 4501379"/>
              <a:gd name="connsiteY75" fmla="*/ 828675 h 4429225"/>
              <a:gd name="connsiteX76" fmla="*/ 516719 w 4501379"/>
              <a:gd name="connsiteY76" fmla="*/ 800100 h 4429225"/>
              <a:gd name="connsiteX77" fmla="*/ 583394 w 4501379"/>
              <a:gd name="connsiteY77" fmla="*/ 733425 h 4429225"/>
              <a:gd name="connsiteX78" fmla="*/ 650069 w 4501379"/>
              <a:gd name="connsiteY78" fmla="*/ 676275 h 4429225"/>
              <a:gd name="connsiteX79" fmla="*/ 678644 w 4501379"/>
              <a:gd name="connsiteY79" fmla="*/ 657225 h 4429225"/>
              <a:gd name="connsiteX80" fmla="*/ 821519 w 4501379"/>
              <a:gd name="connsiteY80" fmla="*/ 533400 h 4429225"/>
              <a:gd name="connsiteX81" fmla="*/ 869144 w 4501379"/>
              <a:gd name="connsiteY81" fmla="*/ 504825 h 4429225"/>
              <a:gd name="connsiteX82" fmla="*/ 1148544 w 4501379"/>
              <a:gd name="connsiteY82" fmla="*/ 311150 h 4429225"/>
              <a:gd name="connsiteX83" fmla="*/ 1250144 w 4501379"/>
              <a:gd name="connsiteY83" fmla="*/ 285750 h 4429225"/>
              <a:gd name="connsiteX84" fmla="*/ 1393019 w 4501379"/>
              <a:gd name="connsiteY84" fmla="*/ 190500 h 4429225"/>
              <a:gd name="connsiteX85" fmla="*/ 1431119 w 4501379"/>
              <a:gd name="connsiteY85" fmla="*/ 161925 h 4429225"/>
              <a:gd name="connsiteX86" fmla="*/ 1507319 w 4501379"/>
              <a:gd name="connsiteY86" fmla="*/ 152400 h 4429225"/>
              <a:gd name="connsiteX87" fmla="*/ 1564469 w 4501379"/>
              <a:gd name="connsiteY87" fmla="*/ 142875 h 4429225"/>
              <a:gd name="connsiteX88" fmla="*/ 1697819 w 4501379"/>
              <a:gd name="connsiteY88" fmla="*/ 123825 h 4429225"/>
              <a:gd name="connsiteX89" fmla="*/ 1793069 w 4501379"/>
              <a:gd name="connsiteY89" fmla="*/ 114300 h 4429225"/>
              <a:gd name="connsiteX90" fmla="*/ 1840694 w 4501379"/>
              <a:gd name="connsiteY90" fmla="*/ 104775 h 4429225"/>
              <a:gd name="connsiteX91" fmla="*/ 1897844 w 4501379"/>
              <a:gd name="connsiteY91" fmla="*/ 95250 h 4429225"/>
              <a:gd name="connsiteX92" fmla="*/ 2012144 w 4501379"/>
              <a:gd name="connsiteY92" fmla="*/ 66675 h 4429225"/>
              <a:gd name="connsiteX93" fmla="*/ 2078819 w 4501379"/>
              <a:gd name="connsiteY93" fmla="*/ 47625 h 4429225"/>
              <a:gd name="connsiteX94" fmla="*/ 2145494 w 4501379"/>
              <a:gd name="connsiteY94" fmla="*/ 38100 h 4429225"/>
              <a:gd name="connsiteX95" fmla="*/ 2374094 w 4501379"/>
              <a:gd name="connsiteY95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202394 w 4501379"/>
              <a:gd name="connsiteY53" fmla="*/ 3105150 h 4429225"/>
              <a:gd name="connsiteX54" fmla="*/ 126194 w 4501379"/>
              <a:gd name="connsiteY54" fmla="*/ 2924175 h 4429225"/>
              <a:gd name="connsiteX55" fmla="*/ 56344 w 4501379"/>
              <a:gd name="connsiteY55" fmla="*/ 2368550 h 4429225"/>
              <a:gd name="connsiteX56" fmla="*/ 2369 w 4501379"/>
              <a:gd name="connsiteY56" fmla="*/ 1905000 h 4429225"/>
              <a:gd name="connsiteX57" fmla="*/ 11894 w 4501379"/>
              <a:gd name="connsiteY57" fmla="*/ 1838325 h 4429225"/>
              <a:gd name="connsiteX58" fmla="*/ 30944 w 4501379"/>
              <a:gd name="connsiteY58" fmla="*/ 1781175 h 4429225"/>
              <a:gd name="connsiteX59" fmla="*/ 40469 w 4501379"/>
              <a:gd name="connsiteY59" fmla="*/ 1743075 h 4429225"/>
              <a:gd name="connsiteX60" fmla="*/ 59519 w 4501379"/>
              <a:gd name="connsiteY60" fmla="*/ 1685925 h 4429225"/>
              <a:gd name="connsiteX61" fmla="*/ 69044 w 4501379"/>
              <a:gd name="connsiteY61" fmla="*/ 1638300 h 4429225"/>
              <a:gd name="connsiteX62" fmla="*/ 88094 w 4501379"/>
              <a:gd name="connsiteY62" fmla="*/ 1590675 h 4429225"/>
              <a:gd name="connsiteX63" fmla="*/ 116669 w 4501379"/>
              <a:gd name="connsiteY63" fmla="*/ 1504950 h 4429225"/>
              <a:gd name="connsiteX64" fmla="*/ 135719 w 4501379"/>
              <a:gd name="connsiteY64" fmla="*/ 1419225 h 4429225"/>
              <a:gd name="connsiteX65" fmla="*/ 211919 w 4501379"/>
              <a:gd name="connsiteY65" fmla="*/ 1276350 h 4429225"/>
              <a:gd name="connsiteX66" fmla="*/ 221444 w 4501379"/>
              <a:gd name="connsiteY66" fmla="*/ 1247775 h 4429225"/>
              <a:gd name="connsiteX67" fmla="*/ 250019 w 4501379"/>
              <a:gd name="connsiteY67" fmla="*/ 1200150 h 4429225"/>
              <a:gd name="connsiteX68" fmla="*/ 269069 w 4501379"/>
              <a:gd name="connsiteY68" fmla="*/ 1152525 h 4429225"/>
              <a:gd name="connsiteX69" fmla="*/ 297644 w 4501379"/>
              <a:gd name="connsiteY69" fmla="*/ 1114425 h 4429225"/>
              <a:gd name="connsiteX70" fmla="*/ 345269 w 4501379"/>
              <a:gd name="connsiteY70" fmla="*/ 1038225 h 4429225"/>
              <a:gd name="connsiteX71" fmla="*/ 364319 w 4501379"/>
              <a:gd name="connsiteY71" fmla="*/ 1009650 h 4429225"/>
              <a:gd name="connsiteX72" fmla="*/ 421469 w 4501379"/>
              <a:gd name="connsiteY72" fmla="*/ 904875 h 4429225"/>
              <a:gd name="connsiteX73" fmla="*/ 459569 w 4501379"/>
              <a:gd name="connsiteY73" fmla="*/ 857250 h 4429225"/>
              <a:gd name="connsiteX74" fmla="*/ 478619 w 4501379"/>
              <a:gd name="connsiteY74" fmla="*/ 828675 h 4429225"/>
              <a:gd name="connsiteX75" fmla="*/ 516719 w 4501379"/>
              <a:gd name="connsiteY75" fmla="*/ 800100 h 4429225"/>
              <a:gd name="connsiteX76" fmla="*/ 583394 w 4501379"/>
              <a:gd name="connsiteY76" fmla="*/ 733425 h 4429225"/>
              <a:gd name="connsiteX77" fmla="*/ 650069 w 4501379"/>
              <a:gd name="connsiteY77" fmla="*/ 676275 h 4429225"/>
              <a:gd name="connsiteX78" fmla="*/ 678644 w 4501379"/>
              <a:gd name="connsiteY78" fmla="*/ 657225 h 4429225"/>
              <a:gd name="connsiteX79" fmla="*/ 821519 w 4501379"/>
              <a:gd name="connsiteY79" fmla="*/ 533400 h 4429225"/>
              <a:gd name="connsiteX80" fmla="*/ 869144 w 4501379"/>
              <a:gd name="connsiteY80" fmla="*/ 504825 h 4429225"/>
              <a:gd name="connsiteX81" fmla="*/ 1148544 w 4501379"/>
              <a:gd name="connsiteY81" fmla="*/ 311150 h 4429225"/>
              <a:gd name="connsiteX82" fmla="*/ 1250144 w 4501379"/>
              <a:gd name="connsiteY82" fmla="*/ 285750 h 4429225"/>
              <a:gd name="connsiteX83" fmla="*/ 1393019 w 4501379"/>
              <a:gd name="connsiteY83" fmla="*/ 190500 h 4429225"/>
              <a:gd name="connsiteX84" fmla="*/ 1431119 w 4501379"/>
              <a:gd name="connsiteY84" fmla="*/ 161925 h 4429225"/>
              <a:gd name="connsiteX85" fmla="*/ 1507319 w 4501379"/>
              <a:gd name="connsiteY85" fmla="*/ 152400 h 4429225"/>
              <a:gd name="connsiteX86" fmla="*/ 1564469 w 4501379"/>
              <a:gd name="connsiteY86" fmla="*/ 142875 h 4429225"/>
              <a:gd name="connsiteX87" fmla="*/ 1697819 w 4501379"/>
              <a:gd name="connsiteY87" fmla="*/ 123825 h 4429225"/>
              <a:gd name="connsiteX88" fmla="*/ 1793069 w 4501379"/>
              <a:gd name="connsiteY88" fmla="*/ 114300 h 4429225"/>
              <a:gd name="connsiteX89" fmla="*/ 1840694 w 4501379"/>
              <a:gd name="connsiteY89" fmla="*/ 104775 h 4429225"/>
              <a:gd name="connsiteX90" fmla="*/ 1897844 w 4501379"/>
              <a:gd name="connsiteY90" fmla="*/ 95250 h 4429225"/>
              <a:gd name="connsiteX91" fmla="*/ 2012144 w 4501379"/>
              <a:gd name="connsiteY91" fmla="*/ 66675 h 4429225"/>
              <a:gd name="connsiteX92" fmla="*/ 2078819 w 4501379"/>
              <a:gd name="connsiteY92" fmla="*/ 47625 h 4429225"/>
              <a:gd name="connsiteX93" fmla="*/ 2145494 w 4501379"/>
              <a:gd name="connsiteY93" fmla="*/ 38100 h 4429225"/>
              <a:gd name="connsiteX94" fmla="*/ 2374094 w 4501379"/>
              <a:gd name="connsiteY94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126194 w 4501379"/>
              <a:gd name="connsiteY53" fmla="*/ 292417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4051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92919 w 4501379"/>
              <a:gd name="connsiteY50" fmla="*/ 3657600 h 4429225"/>
              <a:gd name="connsiteX51" fmla="*/ 44051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92919 w 4501379"/>
              <a:gd name="connsiteY50" fmla="*/ 3657600 h 4429225"/>
              <a:gd name="connsiteX51" fmla="*/ 446869 w 4501379"/>
              <a:gd name="connsiteY51" fmla="*/ 34702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145369 w 4501379"/>
              <a:gd name="connsiteY47" fmla="*/ 411162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313644 w 4501379"/>
              <a:gd name="connsiteY46" fmla="*/ 4216400 h 4429225"/>
              <a:gd name="connsiteX47" fmla="*/ 1145369 w 4501379"/>
              <a:gd name="connsiteY47" fmla="*/ 411162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94"/>
              <a:gd name="connsiteX1" fmla="*/ 2402669 w 4501379"/>
              <a:gd name="connsiteY1" fmla="*/ 28575 h 4429294"/>
              <a:gd name="connsiteX2" fmla="*/ 2478869 w 4501379"/>
              <a:gd name="connsiteY2" fmla="*/ 47625 h 4429294"/>
              <a:gd name="connsiteX3" fmla="*/ 2736044 w 4501379"/>
              <a:gd name="connsiteY3" fmla="*/ 66675 h 4429294"/>
              <a:gd name="connsiteX4" fmla="*/ 2812244 w 4501379"/>
              <a:gd name="connsiteY4" fmla="*/ 76200 h 4429294"/>
              <a:gd name="connsiteX5" fmla="*/ 2897969 w 4501379"/>
              <a:gd name="connsiteY5" fmla="*/ 85725 h 4429294"/>
              <a:gd name="connsiteX6" fmla="*/ 2955119 w 4501379"/>
              <a:gd name="connsiteY6" fmla="*/ 114300 h 4429294"/>
              <a:gd name="connsiteX7" fmla="*/ 2993219 w 4501379"/>
              <a:gd name="connsiteY7" fmla="*/ 123825 h 4429294"/>
              <a:gd name="connsiteX8" fmla="*/ 3117044 w 4501379"/>
              <a:gd name="connsiteY8" fmla="*/ 171450 h 4429294"/>
              <a:gd name="connsiteX9" fmla="*/ 3155144 w 4501379"/>
              <a:gd name="connsiteY9" fmla="*/ 190500 h 4429294"/>
              <a:gd name="connsiteX10" fmla="*/ 3221819 w 4501379"/>
              <a:gd name="connsiteY10" fmla="*/ 228600 h 4429294"/>
              <a:gd name="connsiteX11" fmla="*/ 3250394 w 4501379"/>
              <a:gd name="connsiteY11" fmla="*/ 238125 h 4429294"/>
              <a:gd name="connsiteX12" fmla="*/ 3278969 w 4501379"/>
              <a:gd name="connsiteY12" fmla="*/ 257175 h 4429294"/>
              <a:gd name="connsiteX13" fmla="*/ 3307544 w 4501379"/>
              <a:gd name="connsiteY13" fmla="*/ 266700 h 4429294"/>
              <a:gd name="connsiteX14" fmla="*/ 3336119 w 4501379"/>
              <a:gd name="connsiteY14" fmla="*/ 285750 h 4429294"/>
              <a:gd name="connsiteX15" fmla="*/ 3402794 w 4501379"/>
              <a:gd name="connsiteY15" fmla="*/ 323850 h 4429294"/>
              <a:gd name="connsiteX16" fmla="*/ 3450419 w 4501379"/>
              <a:gd name="connsiteY16" fmla="*/ 361950 h 4429294"/>
              <a:gd name="connsiteX17" fmla="*/ 3498044 w 4501379"/>
              <a:gd name="connsiteY17" fmla="*/ 390525 h 4429294"/>
              <a:gd name="connsiteX18" fmla="*/ 3612344 w 4501379"/>
              <a:gd name="connsiteY18" fmla="*/ 485775 h 4429294"/>
              <a:gd name="connsiteX19" fmla="*/ 3726644 w 4501379"/>
              <a:gd name="connsiteY19" fmla="*/ 542925 h 4429294"/>
              <a:gd name="connsiteX20" fmla="*/ 3793319 w 4501379"/>
              <a:gd name="connsiteY20" fmla="*/ 581025 h 4429294"/>
              <a:gd name="connsiteX21" fmla="*/ 4009219 w 4501379"/>
              <a:gd name="connsiteY21" fmla="*/ 819150 h 4429294"/>
              <a:gd name="connsiteX22" fmla="*/ 4145744 w 4501379"/>
              <a:gd name="connsiteY22" fmla="*/ 990600 h 4429294"/>
              <a:gd name="connsiteX23" fmla="*/ 4231469 w 4501379"/>
              <a:gd name="connsiteY23" fmla="*/ 1143000 h 4429294"/>
              <a:gd name="connsiteX24" fmla="*/ 4288619 w 4501379"/>
              <a:gd name="connsiteY24" fmla="*/ 1266825 h 4429294"/>
              <a:gd name="connsiteX25" fmla="*/ 4326719 w 4501379"/>
              <a:gd name="connsiteY25" fmla="*/ 1362075 h 4429294"/>
              <a:gd name="connsiteX26" fmla="*/ 4374344 w 4501379"/>
              <a:gd name="connsiteY26" fmla="*/ 1552575 h 4429294"/>
              <a:gd name="connsiteX27" fmla="*/ 4412444 w 4501379"/>
              <a:gd name="connsiteY27" fmla="*/ 1685925 h 4429294"/>
              <a:gd name="connsiteX28" fmla="*/ 4501344 w 4501379"/>
              <a:gd name="connsiteY28" fmla="*/ 2181225 h 4429294"/>
              <a:gd name="connsiteX29" fmla="*/ 4428319 w 4501379"/>
              <a:gd name="connsiteY29" fmla="*/ 2768600 h 4429294"/>
              <a:gd name="connsiteX30" fmla="*/ 4364819 w 4501379"/>
              <a:gd name="connsiteY30" fmla="*/ 2990850 h 4429294"/>
              <a:gd name="connsiteX31" fmla="*/ 4260044 w 4501379"/>
              <a:gd name="connsiteY31" fmla="*/ 3248025 h 4429294"/>
              <a:gd name="connsiteX32" fmla="*/ 4164794 w 4501379"/>
              <a:gd name="connsiteY32" fmla="*/ 3400425 h 4429294"/>
              <a:gd name="connsiteX33" fmla="*/ 4040969 w 4501379"/>
              <a:gd name="connsiteY33" fmla="*/ 3533775 h 4429294"/>
              <a:gd name="connsiteX34" fmla="*/ 3936194 w 4501379"/>
              <a:gd name="connsiteY34" fmla="*/ 3648075 h 4429294"/>
              <a:gd name="connsiteX35" fmla="*/ 3640919 w 4501379"/>
              <a:gd name="connsiteY35" fmla="*/ 3971925 h 4429294"/>
              <a:gd name="connsiteX36" fmla="*/ 3498044 w 4501379"/>
              <a:gd name="connsiteY36" fmla="*/ 4083050 h 4429294"/>
              <a:gd name="connsiteX37" fmla="*/ 3202769 w 4501379"/>
              <a:gd name="connsiteY37" fmla="*/ 4222750 h 4429294"/>
              <a:gd name="connsiteX38" fmla="*/ 3050369 w 4501379"/>
              <a:gd name="connsiteY38" fmla="*/ 4286250 h 4429294"/>
              <a:gd name="connsiteX39" fmla="*/ 2917019 w 4501379"/>
              <a:gd name="connsiteY39" fmla="*/ 4333875 h 4429294"/>
              <a:gd name="connsiteX40" fmla="*/ 2793194 w 4501379"/>
              <a:gd name="connsiteY40" fmla="*/ 4371975 h 4429294"/>
              <a:gd name="connsiteX41" fmla="*/ 2561419 w 4501379"/>
              <a:gd name="connsiteY41" fmla="*/ 4391025 h 4429294"/>
              <a:gd name="connsiteX42" fmla="*/ 2107394 w 4501379"/>
              <a:gd name="connsiteY42" fmla="*/ 4429125 h 4429294"/>
              <a:gd name="connsiteX43" fmla="*/ 1916894 w 4501379"/>
              <a:gd name="connsiteY43" fmla="*/ 4400550 h 4429294"/>
              <a:gd name="connsiteX44" fmla="*/ 1554944 w 4501379"/>
              <a:gd name="connsiteY44" fmla="*/ 4305300 h 4429294"/>
              <a:gd name="connsiteX45" fmla="*/ 1313644 w 4501379"/>
              <a:gd name="connsiteY45" fmla="*/ 4216400 h 4429294"/>
              <a:gd name="connsiteX46" fmla="*/ 1145369 w 4501379"/>
              <a:gd name="connsiteY46" fmla="*/ 4111625 h 4429294"/>
              <a:gd name="connsiteX47" fmla="*/ 926294 w 4501379"/>
              <a:gd name="connsiteY47" fmla="*/ 3968750 h 4429294"/>
              <a:gd name="connsiteX48" fmla="*/ 592919 w 4501379"/>
              <a:gd name="connsiteY48" fmla="*/ 3657600 h 4429294"/>
              <a:gd name="connsiteX49" fmla="*/ 446869 w 4501379"/>
              <a:gd name="connsiteY49" fmla="*/ 3470275 h 4429294"/>
              <a:gd name="connsiteX50" fmla="*/ 316694 w 4501379"/>
              <a:gd name="connsiteY50" fmla="*/ 3244850 h 4429294"/>
              <a:gd name="connsiteX51" fmla="*/ 164294 w 4501379"/>
              <a:gd name="connsiteY51" fmla="*/ 2892425 h 4429294"/>
              <a:gd name="connsiteX52" fmla="*/ 56344 w 4501379"/>
              <a:gd name="connsiteY52" fmla="*/ 2368550 h 4429294"/>
              <a:gd name="connsiteX53" fmla="*/ 2369 w 4501379"/>
              <a:gd name="connsiteY53" fmla="*/ 1905000 h 4429294"/>
              <a:gd name="connsiteX54" fmla="*/ 11894 w 4501379"/>
              <a:gd name="connsiteY54" fmla="*/ 1838325 h 4429294"/>
              <a:gd name="connsiteX55" fmla="*/ 30944 w 4501379"/>
              <a:gd name="connsiteY55" fmla="*/ 1781175 h 4429294"/>
              <a:gd name="connsiteX56" fmla="*/ 40469 w 4501379"/>
              <a:gd name="connsiteY56" fmla="*/ 1743075 h 4429294"/>
              <a:gd name="connsiteX57" fmla="*/ 59519 w 4501379"/>
              <a:gd name="connsiteY57" fmla="*/ 1685925 h 4429294"/>
              <a:gd name="connsiteX58" fmla="*/ 69044 w 4501379"/>
              <a:gd name="connsiteY58" fmla="*/ 1638300 h 4429294"/>
              <a:gd name="connsiteX59" fmla="*/ 88094 w 4501379"/>
              <a:gd name="connsiteY59" fmla="*/ 1590675 h 4429294"/>
              <a:gd name="connsiteX60" fmla="*/ 116669 w 4501379"/>
              <a:gd name="connsiteY60" fmla="*/ 1504950 h 4429294"/>
              <a:gd name="connsiteX61" fmla="*/ 135719 w 4501379"/>
              <a:gd name="connsiteY61" fmla="*/ 1419225 h 4429294"/>
              <a:gd name="connsiteX62" fmla="*/ 211919 w 4501379"/>
              <a:gd name="connsiteY62" fmla="*/ 1276350 h 4429294"/>
              <a:gd name="connsiteX63" fmla="*/ 221444 w 4501379"/>
              <a:gd name="connsiteY63" fmla="*/ 1247775 h 4429294"/>
              <a:gd name="connsiteX64" fmla="*/ 250019 w 4501379"/>
              <a:gd name="connsiteY64" fmla="*/ 1200150 h 4429294"/>
              <a:gd name="connsiteX65" fmla="*/ 269069 w 4501379"/>
              <a:gd name="connsiteY65" fmla="*/ 1152525 h 4429294"/>
              <a:gd name="connsiteX66" fmla="*/ 297644 w 4501379"/>
              <a:gd name="connsiteY66" fmla="*/ 1114425 h 4429294"/>
              <a:gd name="connsiteX67" fmla="*/ 345269 w 4501379"/>
              <a:gd name="connsiteY67" fmla="*/ 1038225 h 4429294"/>
              <a:gd name="connsiteX68" fmla="*/ 364319 w 4501379"/>
              <a:gd name="connsiteY68" fmla="*/ 1009650 h 4429294"/>
              <a:gd name="connsiteX69" fmla="*/ 421469 w 4501379"/>
              <a:gd name="connsiteY69" fmla="*/ 904875 h 4429294"/>
              <a:gd name="connsiteX70" fmla="*/ 459569 w 4501379"/>
              <a:gd name="connsiteY70" fmla="*/ 857250 h 4429294"/>
              <a:gd name="connsiteX71" fmla="*/ 478619 w 4501379"/>
              <a:gd name="connsiteY71" fmla="*/ 828675 h 4429294"/>
              <a:gd name="connsiteX72" fmla="*/ 516719 w 4501379"/>
              <a:gd name="connsiteY72" fmla="*/ 800100 h 4429294"/>
              <a:gd name="connsiteX73" fmla="*/ 583394 w 4501379"/>
              <a:gd name="connsiteY73" fmla="*/ 733425 h 4429294"/>
              <a:gd name="connsiteX74" fmla="*/ 650069 w 4501379"/>
              <a:gd name="connsiteY74" fmla="*/ 676275 h 4429294"/>
              <a:gd name="connsiteX75" fmla="*/ 678644 w 4501379"/>
              <a:gd name="connsiteY75" fmla="*/ 657225 h 4429294"/>
              <a:gd name="connsiteX76" fmla="*/ 821519 w 4501379"/>
              <a:gd name="connsiteY76" fmla="*/ 533400 h 4429294"/>
              <a:gd name="connsiteX77" fmla="*/ 869144 w 4501379"/>
              <a:gd name="connsiteY77" fmla="*/ 504825 h 4429294"/>
              <a:gd name="connsiteX78" fmla="*/ 1148544 w 4501379"/>
              <a:gd name="connsiteY78" fmla="*/ 311150 h 4429294"/>
              <a:gd name="connsiteX79" fmla="*/ 1250144 w 4501379"/>
              <a:gd name="connsiteY79" fmla="*/ 285750 h 4429294"/>
              <a:gd name="connsiteX80" fmla="*/ 1393019 w 4501379"/>
              <a:gd name="connsiteY80" fmla="*/ 190500 h 4429294"/>
              <a:gd name="connsiteX81" fmla="*/ 1431119 w 4501379"/>
              <a:gd name="connsiteY81" fmla="*/ 161925 h 4429294"/>
              <a:gd name="connsiteX82" fmla="*/ 1507319 w 4501379"/>
              <a:gd name="connsiteY82" fmla="*/ 152400 h 4429294"/>
              <a:gd name="connsiteX83" fmla="*/ 1564469 w 4501379"/>
              <a:gd name="connsiteY83" fmla="*/ 142875 h 4429294"/>
              <a:gd name="connsiteX84" fmla="*/ 1697819 w 4501379"/>
              <a:gd name="connsiteY84" fmla="*/ 123825 h 4429294"/>
              <a:gd name="connsiteX85" fmla="*/ 1793069 w 4501379"/>
              <a:gd name="connsiteY85" fmla="*/ 114300 h 4429294"/>
              <a:gd name="connsiteX86" fmla="*/ 1840694 w 4501379"/>
              <a:gd name="connsiteY86" fmla="*/ 104775 h 4429294"/>
              <a:gd name="connsiteX87" fmla="*/ 1897844 w 4501379"/>
              <a:gd name="connsiteY87" fmla="*/ 95250 h 4429294"/>
              <a:gd name="connsiteX88" fmla="*/ 2012144 w 4501379"/>
              <a:gd name="connsiteY88" fmla="*/ 66675 h 4429294"/>
              <a:gd name="connsiteX89" fmla="*/ 2078819 w 4501379"/>
              <a:gd name="connsiteY89" fmla="*/ 47625 h 4429294"/>
              <a:gd name="connsiteX90" fmla="*/ 2145494 w 4501379"/>
              <a:gd name="connsiteY90" fmla="*/ 38100 h 4429294"/>
              <a:gd name="connsiteX91" fmla="*/ 2374094 w 4501379"/>
              <a:gd name="connsiteY91" fmla="*/ 28575 h 4429294"/>
              <a:gd name="connsiteX0" fmla="*/ 2278844 w 4501379"/>
              <a:gd name="connsiteY0" fmla="*/ 0 h 4429294"/>
              <a:gd name="connsiteX1" fmla="*/ 2402669 w 4501379"/>
              <a:gd name="connsiteY1" fmla="*/ 28575 h 4429294"/>
              <a:gd name="connsiteX2" fmla="*/ 2478869 w 4501379"/>
              <a:gd name="connsiteY2" fmla="*/ 47625 h 4429294"/>
              <a:gd name="connsiteX3" fmla="*/ 2736044 w 4501379"/>
              <a:gd name="connsiteY3" fmla="*/ 66675 h 4429294"/>
              <a:gd name="connsiteX4" fmla="*/ 2812244 w 4501379"/>
              <a:gd name="connsiteY4" fmla="*/ 76200 h 4429294"/>
              <a:gd name="connsiteX5" fmla="*/ 2897969 w 4501379"/>
              <a:gd name="connsiteY5" fmla="*/ 85725 h 4429294"/>
              <a:gd name="connsiteX6" fmla="*/ 2955119 w 4501379"/>
              <a:gd name="connsiteY6" fmla="*/ 114300 h 4429294"/>
              <a:gd name="connsiteX7" fmla="*/ 2993219 w 4501379"/>
              <a:gd name="connsiteY7" fmla="*/ 123825 h 4429294"/>
              <a:gd name="connsiteX8" fmla="*/ 3117044 w 4501379"/>
              <a:gd name="connsiteY8" fmla="*/ 171450 h 4429294"/>
              <a:gd name="connsiteX9" fmla="*/ 3155144 w 4501379"/>
              <a:gd name="connsiteY9" fmla="*/ 190500 h 4429294"/>
              <a:gd name="connsiteX10" fmla="*/ 3221819 w 4501379"/>
              <a:gd name="connsiteY10" fmla="*/ 228600 h 4429294"/>
              <a:gd name="connsiteX11" fmla="*/ 3250394 w 4501379"/>
              <a:gd name="connsiteY11" fmla="*/ 238125 h 4429294"/>
              <a:gd name="connsiteX12" fmla="*/ 3278969 w 4501379"/>
              <a:gd name="connsiteY12" fmla="*/ 257175 h 4429294"/>
              <a:gd name="connsiteX13" fmla="*/ 3307544 w 4501379"/>
              <a:gd name="connsiteY13" fmla="*/ 266700 h 4429294"/>
              <a:gd name="connsiteX14" fmla="*/ 3336119 w 4501379"/>
              <a:gd name="connsiteY14" fmla="*/ 285750 h 4429294"/>
              <a:gd name="connsiteX15" fmla="*/ 3402794 w 4501379"/>
              <a:gd name="connsiteY15" fmla="*/ 323850 h 4429294"/>
              <a:gd name="connsiteX16" fmla="*/ 3450419 w 4501379"/>
              <a:gd name="connsiteY16" fmla="*/ 361950 h 4429294"/>
              <a:gd name="connsiteX17" fmla="*/ 3498044 w 4501379"/>
              <a:gd name="connsiteY17" fmla="*/ 390525 h 4429294"/>
              <a:gd name="connsiteX18" fmla="*/ 3612344 w 4501379"/>
              <a:gd name="connsiteY18" fmla="*/ 485775 h 4429294"/>
              <a:gd name="connsiteX19" fmla="*/ 3726644 w 4501379"/>
              <a:gd name="connsiteY19" fmla="*/ 542925 h 4429294"/>
              <a:gd name="connsiteX20" fmla="*/ 3793319 w 4501379"/>
              <a:gd name="connsiteY20" fmla="*/ 581025 h 4429294"/>
              <a:gd name="connsiteX21" fmla="*/ 4009219 w 4501379"/>
              <a:gd name="connsiteY21" fmla="*/ 819150 h 4429294"/>
              <a:gd name="connsiteX22" fmla="*/ 4145744 w 4501379"/>
              <a:gd name="connsiteY22" fmla="*/ 990600 h 4429294"/>
              <a:gd name="connsiteX23" fmla="*/ 4231469 w 4501379"/>
              <a:gd name="connsiteY23" fmla="*/ 1143000 h 4429294"/>
              <a:gd name="connsiteX24" fmla="*/ 4288619 w 4501379"/>
              <a:gd name="connsiteY24" fmla="*/ 1266825 h 4429294"/>
              <a:gd name="connsiteX25" fmla="*/ 4326719 w 4501379"/>
              <a:gd name="connsiteY25" fmla="*/ 1362075 h 4429294"/>
              <a:gd name="connsiteX26" fmla="*/ 4374344 w 4501379"/>
              <a:gd name="connsiteY26" fmla="*/ 1552575 h 4429294"/>
              <a:gd name="connsiteX27" fmla="*/ 4412444 w 4501379"/>
              <a:gd name="connsiteY27" fmla="*/ 1685925 h 4429294"/>
              <a:gd name="connsiteX28" fmla="*/ 4501344 w 4501379"/>
              <a:gd name="connsiteY28" fmla="*/ 2181225 h 4429294"/>
              <a:gd name="connsiteX29" fmla="*/ 4428319 w 4501379"/>
              <a:gd name="connsiteY29" fmla="*/ 2768600 h 4429294"/>
              <a:gd name="connsiteX30" fmla="*/ 4364819 w 4501379"/>
              <a:gd name="connsiteY30" fmla="*/ 2990850 h 4429294"/>
              <a:gd name="connsiteX31" fmla="*/ 4260044 w 4501379"/>
              <a:gd name="connsiteY31" fmla="*/ 3248025 h 4429294"/>
              <a:gd name="connsiteX32" fmla="*/ 4164794 w 4501379"/>
              <a:gd name="connsiteY32" fmla="*/ 3400425 h 4429294"/>
              <a:gd name="connsiteX33" fmla="*/ 4040969 w 4501379"/>
              <a:gd name="connsiteY33" fmla="*/ 3533775 h 4429294"/>
              <a:gd name="connsiteX34" fmla="*/ 3936194 w 4501379"/>
              <a:gd name="connsiteY34" fmla="*/ 3648075 h 4429294"/>
              <a:gd name="connsiteX35" fmla="*/ 3640919 w 4501379"/>
              <a:gd name="connsiteY35" fmla="*/ 3971925 h 4429294"/>
              <a:gd name="connsiteX36" fmla="*/ 3498044 w 4501379"/>
              <a:gd name="connsiteY36" fmla="*/ 4083050 h 4429294"/>
              <a:gd name="connsiteX37" fmla="*/ 3202769 w 4501379"/>
              <a:gd name="connsiteY37" fmla="*/ 4222750 h 4429294"/>
              <a:gd name="connsiteX38" fmla="*/ 3050369 w 4501379"/>
              <a:gd name="connsiteY38" fmla="*/ 4286250 h 4429294"/>
              <a:gd name="connsiteX39" fmla="*/ 2917019 w 4501379"/>
              <a:gd name="connsiteY39" fmla="*/ 4333875 h 4429294"/>
              <a:gd name="connsiteX40" fmla="*/ 2793194 w 4501379"/>
              <a:gd name="connsiteY40" fmla="*/ 4371975 h 4429294"/>
              <a:gd name="connsiteX41" fmla="*/ 2561419 w 4501379"/>
              <a:gd name="connsiteY41" fmla="*/ 4391025 h 4429294"/>
              <a:gd name="connsiteX42" fmla="*/ 2107394 w 4501379"/>
              <a:gd name="connsiteY42" fmla="*/ 4429125 h 4429294"/>
              <a:gd name="connsiteX43" fmla="*/ 1916894 w 4501379"/>
              <a:gd name="connsiteY43" fmla="*/ 4400550 h 4429294"/>
              <a:gd name="connsiteX44" fmla="*/ 1554944 w 4501379"/>
              <a:gd name="connsiteY44" fmla="*/ 4305300 h 4429294"/>
              <a:gd name="connsiteX45" fmla="*/ 1313644 w 4501379"/>
              <a:gd name="connsiteY45" fmla="*/ 4216400 h 4429294"/>
              <a:gd name="connsiteX46" fmla="*/ 1145369 w 4501379"/>
              <a:gd name="connsiteY46" fmla="*/ 4111625 h 4429294"/>
              <a:gd name="connsiteX47" fmla="*/ 926294 w 4501379"/>
              <a:gd name="connsiteY47" fmla="*/ 3968750 h 4429294"/>
              <a:gd name="connsiteX48" fmla="*/ 592919 w 4501379"/>
              <a:gd name="connsiteY48" fmla="*/ 3657600 h 4429294"/>
              <a:gd name="connsiteX49" fmla="*/ 446869 w 4501379"/>
              <a:gd name="connsiteY49" fmla="*/ 3470275 h 4429294"/>
              <a:gd name="connsiteX50" fmla="*/ 316694 w 4501379"/>
              <a:gd name="connsiteY50" fmla="*/ 3244850 h 4429294"/>
              <a:gd name="connsiteX51" fmla="*/ 164294 w 4501379"/>
              <a:gd name="connsiteY51" fmla="*/ 2892425 h 4429294"/>
              <a:gd name="connsiteX52" fmla="*/ 56344 w 4501379"/>
              <a:gd name="connsiteY52" fmla="*/ 2368550 h 4429294"/>
              <a:gd name="connsiteX53" fmla="*/ 2369 w 4501379"/>
              <a:gd name="connsiteY53" fmla="*/ 1905000 h 4429294"/>
              <a:gd name="connsiteX54" fmla="*/ 11894 w 4501379"/>
              <a:gd name="connsiteY54" fmla="*/ 1838325 h 4429294"/>
              <a:gd name="connsiteX55" fmla="*/ 30944 w 4501379"/>
              <a:gd name="connsiteY55" fmla="*/ 1781175 h 4429294"/>
              <a:gd name="connsiteX56" fmla="*/ 40469 w 4501379"/>
              <a:gd name="connsiteY56" fmla="*/ 1743075 h 4429294"/>
              <a:gd name="connsiteX57" fmla="*/ 59519 w 4501379"/>
              <a:gd name="connsiteY57" fmla="*/ 1685925 h 4429294"/>
              <a:gd name="connsiteX58" fmla="*/ 69044 w 4501379"/>
              <a:gd name="connsiteY58" fmla="*/ 1638300 h 4429294"/>
              <a:gd name="connsiteX59" fmla="*/ 88094 w 4501379"/>
              <a:gd name="connsiteY59" fmla="*/ 1590675 h 4429294"/>
              <a:gd name="connsiteX60" fmla="*/ 116669 w 4501379"/>
              <a:gd name="connsiteY60" fmla="*/ 1504950 h 4429294"/>
              <a:gd name="connsiteX61" fmla="*/ 135719 w 4501379"/>
              <a:gd name="connsiteY61" fmla="*/ 1419225 h 4429294"/>
              <a:gd name="connsiteX62" fmla="*/ 211919 w 4501379"/>
              <a:gd name="connsiteY62" fmla="*/ 1276350 h 4429294"/>
              <a:gd name="connsiteX63" fmla="*/ 221444 w 4501379"/>
              <a:gd name="connsiteY63" fmla="*/ 1247775 h 4429294"/>
              <a:gd name="connsiteX64" fmla="*/ 250019 w 4501379"/>
              <a:gd name="connsiteY64" fmla="*/ 1200150 h 4429294"/>
              <a:gd name="connsiteX65" fmla="*/ 269069 w 4501379"/>
              <a:gd name="connsiteY65" fmla="*/ 1152525 h 4429294"/>
              <a:gd name="connsiteX66" fmla="*/ 297644 w 4501379"/>
              <a:gd name="connsiteY66" fmla="*/ 1114425 h 4429294"/>
              <a:gd name="connsiteX67" fmla="*/ 345269 w 4501379"/>
              <a:gd name="connsiteY67" fmla="*/ 1038225 h 4429294"/>
              <a:gd name="connsiteX68" fmla="*/ 364319 w 4501379"/>
              <a:gd name="connsiteY68" fmla="*/ 1009650 h 4429294"/>
              <a:gd name="connsiteX69" fmla="*/ 421469 w 4501379"/>
              <a:gd name="connsiteY69" fmla="*/ 904875 h 4429294"/>
              <a:gd name="connsiteX70" fmla="*/ 459569 w 4501379"/>
              <a:gd name="connsiteY70" fmla="*/ 857250 h 4429294"/>
              <a:gd name="connsiteX71" fmla="*/ 478619 w 4501379"/>
              <a:gd name="connsiteY71" fmla="*/ 828675 h 4429294"/>
              <a:gd name="connsiteX72" fmla="*/ 516719 w 4501379"/>
              <a:gd name="connsiteY72" fmla="*/ 800100 h 4429294"/>
              <a:gd name="connsiteX73" fmla="*/ 583394 w 4501379"/>
              <a:gd name="connsiteY73" fmla="*/ 733425 h 4429294"/>
              <a:gd name="connsiteX74" fmla="*/ 650069 w 4501379"/>
              <a:gd name="connsiteY74" fmla="*/ 676275 h 4429294"/>
              <a:gd name="connsiteX75" fmla="*/ 678644 w 4501379"/>
              <a:gd name="connsiteY75" fmla="*/ 657225 h 4429294"/>
              <a:gd name="connsiteX76" fmla="*/ 821519 w 4501379"/>
              <a:gd name="connsiteY76" fmla="*/ 533400 h 4429294"/>
              <a:gd name="connsiteX77" fmla="*/ 869144 w 4501379"/>
              <a:gd name="connsiteY77" fmla="*/ 504825 h 4429294"/>
              <a:gd name="connsiteX78" fmla="*/ 1148544 w 4501379"/>
              <a:gd name="connsiteY78" fmla="*/ 311150 h 4429294"/>
              <a:gd name="connsiteX79" fmla="*/ 1250144 w 4501379"/>
              <a:gd name="connsiteY79" fmla="*/ 285750 h 4429294"/>
              <a:gd name="connsiteX80" fmla="*/ 1393019 w 4501379"/>
              <a:gd name="connsiteY80" fmla="*/ 190500 h 4429294"/>
              <a:gd name="connsiteX81" fmla="*/ 1431119 w 4501379"/>
              <a:gd name="connsiteY81" fmla="*/ 161925 h 4429294"/>
              <a:gd name="connsiteX82" fmla="*/ 1507319 w 4501379"/>
              <a:gd name="connsiteY82" fmla="*/ 152400 h 4429294"/>
              <a:gd name="connsiteX83" fmla="*/ 1564469 w 4501379"/>
              <a:gd name="connsiteY83" fmla="*/ 142875 h 4429294"/>
              <a:gd name="connsiteX84" fmla="*/ 1697819 w 4501379"/>
              <a:gd name="connsiteY84" fmla="*/ 123825 h 4429294"/>
              <a:gd name="connsiteX85" fmla="*/ 1793069 w 4501379"/>
              <a:gd name="connsiteY85" fmla="*/ 114300 h 4429294"/>
              <a:gd name="connsiteX86" fmla="*/ 1840694 w 4501379"/>
              <a:gd name="connsiteY86" fmla="*/ 104775 h 4429294"/>
              <a:gd name="connsiteX87" fmla="*/ 1897844 w 4501379"/>
              <a:gd name="connsiteY87" fmla="*/ 95250 h 4429294"/>
              <a:gd name="connsiteX88" fmla="*/ 2012144 w 4501379"/>
              <a:gd name="connsiteY88" fmla="*/ 66675 h 4429294"/>
              <a:gd name="connsiteX89" fmla="*/ 2078819 w 4501379"/>
              <a:gd name="connsiteY89" fmla="*/ 47625 h 4429294"/>
              <a:gd name="connsiteX90" fmla="*/ 2145494 w 4501379"/>
              <a:gd name="connsiteY90" fmla="*/ 38100 h 4429294"/>
              <a:gd name="connsiteX0" fmla="*/ 2278844 w 4501379"/>
              <a:gd name="connsiteY0" fmla="*/ 0 h 4429294"/>
              <a:gd name="connsiteX1" fmla="*/ 2478869 w 4501379"/>
              <a:gd name="connsiteY1" fmla="*/ 47625 h 4429294"/>
              <a:gd name="connsiteX2" fmla="*/ 2736044 w 4501379"/>
              <a:gd name="connsiteY2" fmla="*/ 66675 h 4429294"/>
              <a:gd name="connsiteX3" fmla="*/ 2812244 w 4501379"/>
              <a:gd name="connsiteY3" fmla="*/ 76200 h 4429294"/>
              <a:gd name="connsiteX4" fmla="*/ 2897969 w 4501379"/>
              <a:gd name="connsiteY4" fmla="*/ 85725 h 4429294"/>
              <a:gd name="connsiteX5" fmla="*/ 2955119 w 4501379"/>
              <a:gd name="connsiteY5" fmla="*/ 114300 h 4429294"/>
              <a:gd name="connsiteX6" fmla="*/ 2993219 w 4501379"/>
              <a:gd name="connsiteY6" fmla="*/ 123825 h 4429294"/>
              <a:gd name="connsiteX7" fmla="*/ 3117044 w 4501379"/>
              <a:gd name="connsiteY7" fmla="*/ 171450 h 4429294"/>
              <a:gd name="connsiteX8" fmla="*/ 3155144 w 4501379"/>
              <a:gd name="connsiteY8" fmla="*/ 190500 h 4429294"/>
              <a:gd name="connsiteX9" fmla="*/ 3221819 w 4501379"/>
              <a:gd name="connsiteY9" fmla="*/ 228600 h 4429294"/>
              <a:gd name="connsiteX10" fmla="*/ 3250394 w 4501379"/>
              <a:gd name="connsiteY10" fmla="*/ 238125 h 4429294"/>
              <a:gd name="connsiteX11" fmla="*/ 3278969 w 4501379"/>
              <a:gd name="connsiteY11" fmla="*/ 257175 h 4429294"/>
              <a:gd name="connsiteX12" fmla="*/ 3307544 w 4501379"/>
              <a:gd name="connsiteY12" fmla="*/ 266700 h 4429294"/>
              <a:gd name="connsiteX13" fmla="*/ 3336119 w 4501379"/>
              <a:gd name="connsiteY13" fmla="*/ 285750 h 4429294"/>
              <a:gd name="connsiteX14" fmla="*/ 3402794 w 4501379"/>
              <a:gd name="connsiteY14" fmla="*/ 323850 h 4429294"/>
              <a:gd name="connsiteX15" fmla="*/ 3450419 w 4501379"/>
              <a:gd name="connsiteY15" fmla="*/ 361950 h 4429294"/>
              <a:gd name="connsiteX16" fmla="*/ 3498044 w 4501379"/>
              <a:gd name="connsiteY16" fmla="*/ 390525 h 4429294"/>
              <a:gd name="connsiteX17" fmla="*/ 3612344 w 4501379"/>
              <a:gd name="connsiteY17" fmla="*/ 485775 h 4429294"/>
              <a:gd name="connsiteX18" fmla="*/ 3726644 w 4501379"/>
              <a:gd name="connsiteY18" fmla="*/ 542925 h 4429294"/>
              <a:gd name="connsiteX19" fmla="*/ 3793319 w 4501379"/>
              <a:gd name="connsiteY19" fmla="*/ 581025 h 4429294"/>
              <a:gd name="connsiteX20" fmla="*/ 4009219 w 4501379"/>
              <a:gd name="connsiteY20" fmla="*/ 819150 h 4429294"/>
              <a:gd name="connsiteX21" fmla="*/ 4145744 w 4501379"/>
              <a:gd name="connsiteY21" fmla="*/ 990600 h 4429294"/>
              <a:gd name="connsiteX22" fmla="*/ 4231469 w 4501379"/>
              <a:gd name="connsiteY22" fmla="*/ 1143000 h 4429294"/>
              <a:gd name="connsiteX23" fmla="*/ 4288619 w 4501379"/>
              <a:gd name="connsiteY23" fmla="*/ 1266825 h 4429294"/>
              <a:gd name="connsiteX24" fmla="*/ 4326719 w 4501379"/>
              <a:gd name="connsiteY24" fmla="*/ 1362075 h 4429294"/>
              <a:gd name="connsiteX25" fmla="*/ 4374344 w 4501379"/>
              <a:gd name="connsiteY25" fmla="*/ 1552575 h 4429294"/>
              <a:gd name="connsiteX26" fmla="*/ 4412444 w 4501379"/>
              <a:gd name="connsiteY26" fmla="*/ 1685925 h 4429294"/>
              <a:gd name="connsiteX27" fmla="*/ 4501344 w 4501379"/>
              <a:gd name="connsiteY27" fmla="*/ 2181225 h 4429294"/>
              <a:gd name="connsiteX28" fmla="*/ 4428319 w 4501379"/>
              <a:gd name="connsiteY28" fmla="*/ 2768600 h 4429294"/>
              <a:gd name="connsiteX29" fmla="*/ 4364819 w 4501379"/>
              <a:gd name="connsiteY29" fmla="*/ 2990850 h 4429294"/>
              <a:gd name="connsiteX30" fmla="*/ 4260044 w 4501379"/>
              <a:gd name="connsiteY30" fmla="*/ 3248025 h 4429294"/>
              <a:gd name="connsiteX31" fmla="*/ 4164794 w 4501379"/>
              <a:gd name="connsiteY31" fmla="*/ 3400425 h 4429294"/>
              <a:gd name="connsiteX32" fmla="*/ 4040969 w 4501379"/>
              <a:gd name="connsiteY32" fmla="*/ 3533775 h 4429294"/>
              <a:gd name="connsiteX33" fmla="*/ 3936194 w 4501379"/>
              <a:gd name="connsiteY33" fmla="*/ 3648075 h 4429294"/>
              <a:gd name="connsiteX34" fmla="*/ 3640919 w 4501379"/>
              <a:gd name="connsiteY34" fmla="*/ 3971925 h 4429294"/>
              <a:gd name="connsiteX35" fmla="*/ 3498044 w 4501379"/>
              <a:gd name="connsiteY35" fmla="*/ 4083050 h 4429294"/>
              <a:gd name="connsiteX36" fmla="*/ 3202769 w 4501379"/>
              <a:gd name="connsiteY36" fmla="*/ 4222750 h 4429294"/>
              <a:gd name="connsiteX37" fmla="*/ 3050369 w 4501379"/>
              <a:gd name="connsiteY37" fmla="*/ 4286250 h 4429294"/>
              <a:gd name="connsiteX38" fmla="*/ 2917019 w 4501379"/>
              <a:gd name="connsiteY38" fmla="*/ 4333875 h 4429294"/>
              <a:gd name="connsiteX39" fmla="*/ 2793194 w 4501379"/>
              <a:gd name="connsiteY39" fmla="*/ 4371975 h 4429294"/>
              <a:gd name="connsiteX40" fmla="*/ 2561419 w 4501379"/>
              <a:gd name="connsiteY40" fmla="*/ 4391025 h 4429294"/>
              <a:gd name="connsiteX41" fmla="*/ 2107394 w 4501379"/>
              <a:gd name="connsiteY41" fmla="*/ 4429125 h 4429294"/>
              <a:gd name="connsiteX42" fmla="*/ 1916894 w 4501379"/>
              <a:gd name="connsiteY42" fmla="*/ 4400550 h 4429294"/>
              <a:gd name="connsiteX43" fmla="*/ 1554944 w 4501379"/>
              <a:gd name="connsiteY43" fmla="*/ 4305300 h 4429294"/>
              <a:gd name="connsiteX44" fmla="*/ 1313644 w 4501379"/>
              <a:gd name="connsiteY44" fmla="*/ 4216400 h 4429294"/>
              <a:gd name="connsiteX45" fmla="*/ 1145369 w 4501379"/>
              <a:gd name="connsiteY45" fmla="*/ 4111625 h 4429294"/>
              <a:gd name="connsiteX46" fmla="*/ 926294 w 4501379"/>
              <a:gd name="connsiteY46" fmla="*/ 3968750 h 4429294"/>
              <a:gd name="connsiteX47" fmla="*/ 592919 w 4501379"/>
              <a:gd name="connsiteY47" fmla="*/ 3657600 h 4429294"/>
              <a:gd name="connsiteX48" fmla="*/ 446869 w 4501379"/>
              <a:gd name="connsiteY48" fmla="*/ 3470275 h 4429294"/>
              <a:gd name="connsiteX49" fmla="*/ 316694 w 4501379"/>
              <a:gd name="connsiteY49" fmla="*/ 3244850 h 4429294"/>
              <a:gd name="connsiteX50" fmla="*/ 164294 w 4501379"/>
              <a:gd name="connsiteY50" fmla="*/ 2892425 h 4429294"/>
              <a:gd name="connsiteX51" fmla="*/ 56344 w 4501379"/>
              <a:gd name="connsiteY51" fmla="*/ 2368550 h 4429294"/>
              <a:gd name="connsiteX52" fmla="*/ 2369 w 4501379"/>
              <a:gd name="connsiteY52" fmla="*/ 1905000 h 4429294"/>
              <a:gd name="connsiteX53" fmla="*/ 11894 w 4501379"/>
              <a:gd name="connsiteY53" fmla="*/ 1838325 h 4429294"/>
              <a:gd name="connsiteX54" fmla="*/ 30944 w 4501379"/>
              <a:gd name="connsiteY54" fmla="*/ 1781175 h 4429294"/>
              <a:gd name="connsiteX55" fmla="*/ 40469 w 4501379"/>
              <a:gd name="connsiteY55" fmla="*/ 1743075 h 4429294"/>
              <a:gd name="connsiteX56" fmla="*/ 59519 w 4501379"/>
              <a:gd name="connsiteY56" fmla="*/ 1685925 h 4429294"/>
              <a:gd name="connsiteX57" fmla="*/ 69044 w 4501379"/>
              <a:gd name="connsiteY57" fmla="*/ 1638300 h 4429294"/>
              <a:gd name="connsiteX58" fmla="*/ 88094 w 4501379"/>
              <a:gd name="connsiteY58" fmla="*/ 1590675 h 4429294"/>
              <a:gd name="connsiteX59" fmla="*/ 116669 w 4501379"/>
              <a:gd name="connsiteY59" fmla="*/ 1504950 h 4429294"/>
              <a:gd name="connsiteX60" fmla="*/ 135719 w 4501379"/>
              <a:gd name="connsiteY60" fmla="*/ 1419225 h 4429294"/>
              <a:gd name="connsiteX61" fmla="*/ 211919 w 4501379"/>
              <a:gd name="connsiteY61" fmla="*/ 1276350 h 4429294"/>
              <a:gd name="connsiteX62" fmla="*/ 221444 w 4501379"/>
              <a:gd name="connsiteY62" fmla="*/ 1247775 h 4429294"/>
              <a:gd name="connsiteX63" fmla="*/ 250019 w 4501379"/>
              <a:gd name="connsiteY63" fmla="*/ 1200150 h 4429294"/>
              <a:gd name="connsiteX64" fmla="*/ 269069 w 4501379"/>
              <a:gd name="connsiteY64" fmla="*/ 1152525 h 4429294"/>
              <a:gd name="connsiteX65" fmla="*/ 297644 w 4501379"/>
              <a:gd name="connsiteY65" fmla="*/ 1114425 h 4429294"/>
              <a:gd name="connsiteX66" fmla="*/ 345269 w 4501379"/>
              <a:gd name="connsiteY66" fmla="*/ 1038225 h 4429294"/>
              <a:gd name="connsiteX67" fmla="*/ 364319 w 4501379"/>
              <a:gd name="connsiteY67" fmla="*/ 1009650 h 4429294"/>
              <a:gd name="connsiteX68" fmla="*/ 421469 w 4501379"/>
              <a:gd name="connsiteY68" fmla="*/ 904875 h 4429294"/>
              <a:gd name="connsiteX69" fmla="*/ 459569 w 4501379"/>
              <a:gd name="connsiteY69" fmla="*/ 857250 h 4429294"/>
              <a:gd name="connsiteX70" fmla="*/ 478619 w 4501379"/>
              <a:gd name="connsiteY70" fmla="*/ 828675 h 4429294"/>
              <a:gd name="connsiteX71" fmla="*/ 516719 w 4501379"/>
              <a:gd name="connsiteY71" fmla="*/ 800100 h 4429294"/>
              <a:gd name="connsiteX72" fmla="*/ 583394 w 4501379"/>
              <a:gd name="connsiteY72" fmla="*/ 733425 h 4429294"/>
              <a:gd name="connsiteX73" fmla="*/ 650069 w 4501379"/>
              <a:gd name="connsiteY73" fmla="*/ 676275 h 4429294"/>
              <a:gd name="connsiteX74" fmla="*/ 678644 w 4501379"/>
              <a:gd name="connsiteY74" fmla="*/ 657225 h 4429294"/>
              <a:gd name="connsiteX75" fmla="*/ 821519 w 4501379"/>
              <a:gd name="connsiteY75" fmla="*/ 533400 h 4429294"/>
              <a:gd name="connsiteX76" fmla="*/ 869144 w 4501379"/>
              <a:gd name="connsiteY76" fmla="*/ 504825 h 4429294"/>
              <a:gd name="connsiteX77" fmla="*/ 1148544 w 4501379"/>
              <a:gd name="connsiteY77" fmla="*/ 311150 h 4429294"/>
              <a:gd name="connsiteX78" fmla="*/ 1250144 w 4501379"/>
              <a:gd name="connsiteY78" fmla="*/ 285750 h 4429294"/>
              <a:gd name="connsiteX79" fmla="*/ 1393019 w 4501379"/>
              <a:gd name="connsiteY79" fmla="*/ 190500 h 4429294"/>
              <a:gd name="connsiteX80" fmla="*/ 1431119 w 4501379"/>
              <a:gd name="connsiteY80" fmla="*/ 161925 h 4429294"/>
              <a:gd name="connsiteX81" fmla="*/ 1507319 w 4501379"/>
              <a:gd name="connsiteY81" fmla="*/ 152400 h 4429294"/>
              <a:gd name="connsiteX82" fmla="*/ 1564469 w 4501379"/>
              <a:gd name="connsiteY82" fmla="*/ 142875 h 4429294"/>
              <a:gd name="connsiteX83" fmla="*/ 1697819 w 4501379"/>
              <a:gd name="connsiteY83" fmla="*/ 123825 h 4429294"/>
              <a:gd name="connsiteX84" fmla="*/ 1793069 w 4501379"/>
              <a:gd name="connsiteY84" fmla="*/ 114300 h 4429294"/>
              <a:gd name="connsiteX85" fmla="*/ 1840694 w 4501379"/>
              <a:gd name="connsiteY85" fmla="*/ 104775 h 4429294"/>
              <a:gd name="connsiteX86" fmla="*/ 1897844 w 4501379"/>
              <a:gd name="connsiteY86" fmla="*/ 95250 h 4429294"/>
              <a:gd name="connsiteX87" fmla="*/ 2012144 w 4501379"/>
              <a:gd name="connsiteY87" fmla="*/ 66675 h 4429294"/>
              <a:gd name="connsiteX88" fmla="*/ 2078819 w 4501379"/>
              <a:gd name="connsiteY88" fmla="*/ 47625 h 4429294"/>
              <a:gd name="connsiteX89" fmla="*/ 2145494 w 4501379"/>
              <a:gd name="connsiteY89" fmla="*/ 38100 h 4429294"/>
              <a:gd name="connsiteX0" fmla="*/ 2278844 w 4501379"/>
              <a:gd name="connsiteY0" fmla="*/ 0 h 4429294"/>
              <a:gd name="connsiteX1" fmla="*/ 2736044 w 4501379"/>
              <a:gd name="connsiteY1" fmla="*/ 66675 h 4429294"/>
              <a:gd name="connsiteX2" fmla="*/ 2812244 w 4501379"/>
              <a:gd name="connsiteY2" fmla="*/ 76200 h 4429294"/>
              <a:gd name="connsiteX3" fmla="*/ 2897969 w 4501379"/>
              <a:gd name="connsiteY3" fmla="*/ 85725 h 4429294"/>
              <a:gd name="connsiteX4" fmla="*/ 2955119 w 4501379"/>
              <a:gd name="connsiteY4" fmla="*/ 114300 h 4429294"/>
              <a:gd name="connsiteX5" fmla="*/ 2993219 w 4501379"/>
              <a:gd name="connsiteY5" fmla="*/ 123825 h 4429294"/>
              <a:gd name="connsiteX6" fmla="*/ 3117044 w 4501379"/>
              <a:gd name="connsiteY6" fmla="*/ 171450 h 4429294"/>
              <a:gd name="connsiteX7" fmla="*/ 3155144 w 4501379"/>
              <a:gd name="connsiteY7" fmla="*/ 190500 h 4429294"/>
              <a:gd name="connsiteX8" fmla="*/ 3221819 w 4501379"/>
              <a:gd name="connsiteY8" fmla="*/ 228600 h 4429294"/>
              <a:gd name="connsiteX9" fmla="*/ 3250394 w 4501379"/>
              <a:gd name="connsiteY9" fmla="*/ 238125 h 4429294"/>
              <a:gd name="connsiteX10" fmla="*/ 3278969 w 4501379"/>
              <a:gd name="connsiteY10" fmla="*/ 257175 h 4429294"/>
              <a:gd name="connsiteX11" fmla="*/ 3307544 w 4501379"/>
              <a:gd name="connsiteY11" fmla="*/ 266700 h 4429294"/>
              <a:gd name="connsiteX12" fmla="*/ 3336119 w 4501379"/>
              <a:gd name="connsiteY12" fmla="*/ 285750 h 4429294"/>
              <a:gd name="connsiteX13" fmla="*/ 3402794 w 4501379"/>
              <a:gd name="connsiteY13" fmla="*/ 323850 h 4429294"/>
              <a:gd name="connsiteX14" fmla="*/ 3450419 w 4501379"/>
              <a:gd name="connsiteY14" fmla="*/ 361950 h 4429294"/>
              <a:gd name="connsiteX15" fmla="*/ 3498044 w 4501379"/>
              <a:gd name="connsiteY15" fmla="*/ 390525 h 4429294"/>
              <a:gd name="connsiteX16" fmla="*/ 3612344 w 4501379"/>
              <a:gd name="connsiteY16" fmla="*/ 485775 h 4429294"/>
              <a:gd name="connsiteX17" fmla="*/ 3726644 w 4501379"/>
              <a:gd name="connsiteY17" fmla="*/ 542925 h 4429294"/>
              <a:gd name="connsiteX18" fmla="*/ 3793319 w 4501379"/>
              <a:gd name="connsiteY18" fmla="*/ 581025 h 4429294"/>
              <a:gd name="connsiteX19" fmla="*/ 4009219 w 4501379"/>
              <a:gd name="connsiteY19" fmla="*/ 819150 h 4429294"/>
              <a:gd name="connsiteX20" fmla="*/ 4145744 w 4501379"/>
              <a:gd name="connsiteY20" fmla="*/ 990600 h 4429294"/>
              <a:gd name="connsiteX21" fmla="*/ 4231469 w 4501379"/>
              <a:gd name="connsiteY21" fmla="*/ 1143000 h 4429294"/>
              <a:gd name="connsiteX22" fmla="*/ 4288619 w 4501379"/>
              <a:gd name="connsiteY22" fmla="*/ 1266825 h 4429294"/>
              <a:gd name="connsiteX23" fmla="*/ 4326719 w 4501379"/>
              <a:gd name="connsiteY23" fmla="*/ 1362075 h 4429294"/>
              <a:gd name="connsiteX24" fmla="*/ 4374344 w 4501379"/>
              <a:gd name="connsiteY24" fmla="*/ 1552575 h 4429294"/>
              <a:gd name="connsiteX25" fmla="*/ 4412444 w 4501379"/>
              <a:gd name="connsiteY25" fmla="*/ 1685925 h 4429294"/>
              <a:gd name="connsiteX26" fmla="*/ 4501344 w 4501379"/>
              <a:gd name="connsiteY26" fmla="*/ 2181225 h 4429294"/>
              <a:gd name="connsiteX27" fmla="*/ 4428319 w 4501379"/>
              <a:gd name="connsiteY27" fmla="*/ 2768600 h 4429294"/>
              <a:gd name="connsiteX28" fmla="*/ 4364819 w 4501379"/>
              <a:gd name="connsiteY28" fmla="*/ 2990850 h 4429294"/>
              <a:gd name="connsiteX29" fmla="*/ 4260044 w 4501379"/>
              <a:gd name="connsiteY29" fmla="*/ 3248025 h 4429294"/>
              <a:gd name="connsiteX30" fmla="*/ 4164794 w 4501379"/>
              <a:gd name="connsiteY30" fmla="*/ 3400425 h 4429294"/>
              <a:gd name="connsiteX31" fmla="*/ 4040969 w 4501379"/>
              <a:gd name="connsiteY31" fmla="*/ 3533775 h 4429294"/>
              <a:gd name="connsiteX32" fmla="*/ 3936194 w 4501379"/>
              <a:gd name="connsiteY32" fmla="*/ 3648075 h 4429294"/>
              <a:gd name="connsiteX33" fmla="*/ 3640919 w 4501379"/>
              <a:gd name="connsiteY33" fmla="*/ 3971925 h 4429294"/>
              <a:gd name="connsiteX34" fmla="*/ 3498044 w 4501379"/>
              <a:gd name="connsiteY34" fmla="*/ 4083050 h 4429294"/>
              <a:gd name="connsiteX35" fmla="*/ 3202769 w 4501379"/>
              <a:gd name="connsiteY35" fmla="*/ 4222750 h 4429294"/>
              <a:gd name="connsiteX36" fmla="*/ 3050369 w 4501379"/>
              <a:gd name="connsiteY36" fmla="*/ 4286250 h 4429294"/>
              <a:gd name="connsiteX37" fmla="*/ 2917019 w 4501379"/>
              <a:gd name="connsiteY37" fmla="*/ 4333875 h 4429294"/>
              <a:gd name="connsiteX38" fmla="*/ 2793194 w 4501379"/>
              <a:gd name="connsiteY38" fmla="*/ 4371975 h 4429294"/>
              <a:gd name="connsiteX39" fmla="*/ 2561419 w 4501379"/>
              <a:gd name="connsiteY39" fmla="*/ 4391025 h 4429294"/>
              <a:gd name="connsiteX40" fmla="*/ 2107394 w 4501379"/>
              <a:gd name="connsiteY40" fmla="*/ 4429125 h 4429294"/>
              <a:gd name="connsiteX41" fmla="*/ 1916894 w 4501379"/>
              <a:gd name="connsiteY41" fmla="*/ 4400550 h 4429294"/>
              <a:gd name="connsiteX42" fmla="*/ 1554944 w 4501379"/>
              <a:gd name="connsiteY42" fmla="*/ 4305300 h 4429294"/>
              <a:gd name="connsiteX43" fmla="*/ 1313644 w 4501379"/>
              <a:gd name="connsiteY43" fmla="*/ 4216400 h 4429294"/>
              <a:gd name="connsiteX44" fmla="*/ 1145369 w 4501379"/>
              <a:gd name="connsiteY44" fmla="*/ 4111625 h 4429294"/>
              <a:gd name="connsiteX45" fmla="*/ 926294 w 4501379"/>
              <a:gd name="connsiteY45" fmla="*/ 3968750 h 4429294"/>
              <a:gd name="connsiteX46" fmla="*/ 592919 w 4501379"/>
              <a:gd name="connsiteY46" fmla="*/ 3657600 h 4429294"/>
              <a:gd name="connsiteX47" fmla="*/ 446869 w 4501379"/>
              <a:gd name="connsiteY47" fmla="*/ 3470275 h 4429294"/>
              <a:gd name="connsiteX48" fmla="*/ 316694 w 4501379"/>
              <a:gd name="connsiteY48" fmla="*/ 3244850 h 4429294"/>
              <a:gd name="connsiteX49" fmla="*/ 164294 w 4501379"/>
              <a:gd name="connsiteY49" fmla="*/ 2892425 h 4429294"/>
              <a:gd name="connsiteX50" fmla="*/ 56344 w 4501379"/>
              <a:gd name="connsiteY50" fmla="*/ 2368550 h 4429294"/>
              <a:gd name="connsiteX51" fmla="*/ 2369 w 4501379"/>
              <a:gd name="connsiteY51" fmla="*/ 1905000 h 4429294"/>
              <a:gd name="connsiteX52" fmla="*/ 11894 w 4501379"/>
              <a:gd name="connsiteY52" fmla="*/ 1838325 h 4429294"/>
              <a:gd name="connsiteX53" fmla="*/ 30944 w 4501379"/>
              <a:gd name="connsiteY53" fmla="*/ 1781175 h 4429294"/>
              <a:gd name="connsiteX54" fmla="*/ 40469 w 4501379"/>
              <a:gd name="connsiteY54" fmla="*/ 1743075 h 4429294"/>
              <a:gd name="connsiteX55" fmla="*/ 59519 w 4501379"/>
              <a:gd name="connsiteY55" fmla="*/ 1685925 h 4429294"/>
              <a:gd name="connsiteX56" fmla="*/ 69044 w 4501379"/>
              <a:gd name="connsiteY56" fmla="*/ 1638300 h 4429294"/>
              <a:gd name="connsiteX57" fmla="*/ 88094 w 4501379"/>
              <a:gd name="connsiteY57" fmla="*/ 1590675 h 4429294"/>
              <a:gd name="connsiteX58" fmla="*/ 116669 w 4501379"/>
              <a:gd name="connsiteY58" fmla="*/ 1504950 h 4429294"/>
              <a:gd name="connsiteX59" fmla="*/ 135719 w 4501379"/>
              <a:gd name="connsiteY59" fmla="*/ 1419225 h 4429294"/>
              <a:gd name="connsiteX60" fmla="*/ 211919 w 4501379"/>
              <a:gd name="connsiteY60" fmla="*/ 1276350 h 4429294"/>
              <a:gd name="connsiteX61" fmla="*/ 221444 w 4501379"/>
              <a:gd name="connsiteY61" fmla="*/ 1247775 h 4429294"/>
              <a:gd name="connsiteX62" fmla="*/ 250019 w 4501379"/>
              <a:gd name="connsiteY62" fmla="*/ 1200150 h 4429294"/>
              <a:gd name="connsiteX63" fmla="*/ 269069 w 4501379"/>
              <a:gd name="connsiteY63" fmla="*/ 1152525 h 4429294"/>
              <a:gd name="connsiteX64" fmla="*/ 297644 w 4501379"/>
              <a:gd name="connsiteY64" fmla="*/ 1114425 h 4429294"/>
              <a:gd name="connsiteX65" fmla="*/ 345269 w 4501379"/>
              <a:gd name="connsiteY65" fmla="*/ 1038225 h 4429294"/>
              <a:gd name="connsiteX66" fmla="*/ 364319 w 4501379"/>
              <a:gd name="connsiteY66" fmla="*/ 1009650 h 4429294"/>
              <a:gd name="connsiteX67" fmla="*/ 421469 w 4501379"/>
              <a:gd name="connsiteY67" fmla="*/ 904875 h 4429294"/>
              <a:gd name="connsiteX68" fmla="*/ 459569 w 4501379"/>
              <a:gd name="connsiteY68" fmla="*/ 857250 h 4429294"/>
              <a:gd name="connsiteX69" fmla="*/ 478619 w 4501379"/>
              <a:gd name="connsiteY69" fmla="*/ 828675 h 4429294"/>
              <a:gd name="connsiteX70" fmla="*/ 516719 w 4501379"/>
              <a:gd name="connsiteY70" fmla="*/ 800100 h 4429294"/>
              <a:gd name="connsiteX71" fmla="*/ 583394 w 4501379"/>
              <a:gd name="connsiteY71" fmla="*/ 733425 h 4429294"/>
              <a:gd name="connsiteX72" fmla="*/ 650069 w 4501379"/>
              <a:gd name="connsiteY72" fmla="*/ 676275 h 4429294"/>
              <a:gd name="connsiteX73" fmla="*/ 678644 w 4501379"/>
              <a:gd name="connsiteY73" fmla="*/ 657225 h 4429294"/>
              <a:gd name="connsiteX74" fmla="*/ 821519 w 4501379"/>
              <a:gd name="connsiteY74" fmla="*/ 533400 h 4429294"/>
              <a:gd name="connsiteX75" fmla="*/ 869144 w 4501379"/>
              <a:gd name="connsiteY75" fmla="*/ 504825 h 4429294"/>
              <a:gd name="connsiteX76" fmla="*/ 1148544 w 4501379"/>
              <a:gd name="connsiteY76" fmla="*/ 311150 h 4429294"/>
              <a:gd name="connsiteX77" fmla="*/ 1250144 w 4501379"/>
              <a:gd name="connsiteY77" fmla="*/ 285750 h 4429294"/>
              <a:gd name="connsiteX78" fmla="*/ 1393019 w 4501379"/>
              <a:gd name="connsiteY78" fmla="*/ 190500 h 4429294"/>
              <a:gd name="connsiteX79" fmla="*/ 1431119 w 4501379"/>
              <a:gd name="connsiteY79" fmla="*/ 161925 h 4429294"/>
              <a:gd name="connsiteX80" fmla="*/ 1507319 w 4501379"/>
              <a:gd name="connsiteY80" fmla="*/ 152400 h 4429294"/>
              <a:gd name="connsiteX81" fmla="*/ 1564469 w 4501379"/>
              <a:gd name="connsiteY81" fmla="*/ 142875 h 4429294"/>
              <a:gd name="connsiteX82" fmla="*/ 1697819 w 4501379"/>
              <a:gd name="connsiteY82" fmla="*/ 123825 h 4429294"/>
              <a:gd name="connsiteX83" fmla="*/ 1793069 w 4501379"/>
              <a:gd name="connsiteY83" fmla="*/ 114300 h 4429294"/>
              <a:gd name="connsiteX84" fmla="*/ 1840694 w 4501379"/>
              <a:gd name="connsiteY84" fmla="*/ 104775 h 4429294"/>
              <a:gd name="connsiteX85" fmla="*/ 1897844 w 4501379"/>
              <a:gd name="connsiteY85" fmla="*/ 95250 h 4429294"/>
              <a:gd name="connsiteX86" fmla="*/ 2012144 w 4501379"/>
              <a:gd name="connsiteY86" fmla="*/ 66675 h 4429294"/>
              <a:gd name="connsiteX87" fmla="*/ 2078819 w 4501379"/>
              <a:gd name="connsiteY87" fmla="*/ 47625 h 4429294"/>
              <a:gd name="connsiteX88" fmla="*/ 2145494 w 4501379"/>
              <a:gd name="connsiteY8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12244 w 4501379"/>
              <a:gd name="connsiteY2" fmla="*/ 76200 h 4429294"/>
              <a:gd name="connsiteX3" fmla="*/ 2897969 w 4501379"/>
              <a:gd name="connsiteY3" fmla="*/ 85725 h 4429294"/>
              <a:gd name="connsiteX4" fmla="*/ 2955119 w 4501379"/>
              <a:gd name="connsiteY4" fmla="*/ 114300 h 4429294"/>
              <a:gd name="connsiteX5" fmla="*/ 2993219 w 4501379"/>
              <a:gd name="connsiteY5" fmla="*/ 123825 h 4429294"/>
              <a:gd name="connsiteX6" fmla="*/ 3117044 w 4501379"/>
              <a:gd name="connsiteY6" fmla="*/ 171450 h 4429294"/>
              <a:gd name="connsiteX7" fmla="*/ 3155144 w 4501379"/>
              <a:gd name="connsiteY7" fmla="*/ 190500 h 4429294"/>
              <a:gd name="connsiteX8" fmla="*/ 3221819 w 4501379"/>
              <a:gd name="connsiteY8" fmla="*/ 228600 h 4429294"/>
              <a:gd name="connsiteX9" fmla="*/ 3250394 w 4501379"/>
              <a:gd name="connsiteY9" fmla="*/ 238125 h 4429294"/>
              <a:gd name="connsiteX10" fmla="*/ 3278969 w 4501379"/>
              <a:gd name="connsiteY10" fmla="*/ 257175 h 4429294"/>
              <a:gd name="connsiteX11" fmla="*/ 3307544 w 4501379"/>
              <a:gd name="connsiteY11" fmla="*/ 266700 h 4429294"/>
              <a:gd name="connsiteX12" fmla="*/ 3336119 w 4501379"/>
              <a:gd name="connsiteY12" fmla="*/ 285750 h 4429294"/>
              <a:gd name="connsiteX13" fmla="*/ 3402794 w 4501379"/>
              <a:gd name="connsiteY13" fmla="*/ 323850 h 4429294"/>
              <a:gd name="connsiteX14" fmla="*/ 3450419 w 4501379"/>
              <a:gd name="connsiteY14" fmla="*/ 361950 h 4429294"/>
              <a:gd name="connsiteX15" fmla="*/ 3498044 w 4501379"/>
              <a:gd name="connsiteY15" fmla="*/ 390525 h 4429294"/>
              <a:gd name="connsiteX16" fmla="*/ 3612344 w 4501379"/>
              <a:gd name="connsiteY16" fmla="*/ 485775 h 4429294"/>
              <a:gd name="connsiteX17" fmla="*/ 3726644 w 4501379"/>
              <a:gd name="connsiteY17" fmla="*/ 542925 h 4429294"/>
              <a:gd name="connsiteX18" fmla="*/ 3793319 w 4501379"/>
              <a:gd name="connsiteY18" fmla="*/ 581025 h 4429294"/>
              <a:gd name="connsiteX19" fmla="*/ 4009219 w 4501379"/>
              <a:gd name="connsiteY19" fmla="*/ 819150 h 4429294"/>
              <a:gd name="connsiteX20" fmla="*/ 4145744 w 4501379"/>
              <a:gd name="connsiteY20" fmla="*/ 990600 h 4429294"/>
              <a:gd name="connsiteX21" fmla="*/ 4231469 w 4501379"/>
              <a:gd name="connsiteY21" fmla="*/ 1143000 h 4429294"/>
              <a:gd name="connsiteX22" fmla="*/ 4288619 w 4501379"/>
              <a:gd name="connsiteY22" fmla="*/ 1266825 h 4429294"/>
              <a:gd name="connsiteX23" fmla="*/ 4326719 w 4501379"/>
              <a:gd name="connsiteY23" fmla="*/ 1362075 h 4429294"/>
              <a:gd name="connsiteX24" fmla="*/ 4374344 w 4501379"/>
              <a:gd name="connsiteY24" fmla="*/ 1552575 h 4429294"/>
              <a:gd name="connsiteX25" fmla="*/ 4412444 w 4501379"/>
              <a:gd name="connsiteY25" fmla="*/ 1685925 h 4429294"/>
              <a:gd name="connsiteX26" fmla="*/ 4501344 w 4501379"/>
              <a:gd name="connsiteY26" fmla="*/ 2181225 h 4429294"/>
              <a:gd name="connsiteX27" fmla="*/ 4428319 w 4501379"/>
              <a:gd name="connsiteY27" fmla="*/ 2768600 h 4429294"/>
              <a:gd name="connsiteX28" fmla="*/ 4364819 w 4501379"/>
              <a:gd name="connsiteY28" fmla="*/ 2990850 h 4429294"/>
              <a:gd name="connsiteX29" fmla="*/ 4260044 w 4501379"/>
              <a:gd name="connsiteY29" fmla="*/ 3248025 h 4429294"/>
              <a:gd name="connsiteX30" fmla="*/ 4164794 w 4501379"/>
              <a:gd name="connsiteY30" fmla="*/ 3400425 h 4429294"/>
              <a:gd name="connsiteX31" fmla="*/ 4040969 w 4501379"/>
              <a:gd name="connsiteY31" fmla="*/ 3533775 h 4429294"/>
              <a:gd name="connsiteX32" fmla="*/ 3936194 w 4501379"/>
              <a:gd name="connsiteY32" fmla="*/ 3648075 h 4429294"/>
              <a:gd name="connsiteX33" fmla="*/ 3640919 w 4501379"/>
              <a:gd name="connsiteY33" fmla="*/ 3971925 h 4429294"/>
              <a:gd name="connsiteX34" fmla="*/ 3498044 w 4501379"/>
              <a:gd name="connsiteY34" fmla="*/ 4083050 h 4429294"/>
              <a:gd name="connsiteX35" fmla="*/ 3202769 w 4501379"/>
              <a:gd name="connsiteY35" fmla="*/ 4222750 h 4429294"/>
              <a:gd name="connsiteX36" fmla="*/ 3050369 w 4501379"/>
              <a:gd name="connsiteY36" fmla="*/ 4286250 h 4429294"/>
              <a:gd name="connsiteX37" fmla="*/ 2917019 w 4501379"/>
              <a:gd name="connsiteY37" fmla="*/ 4333875 h 4429294"/>
              <a:gd name="connsiteX38" fmla="*/ 2793194 w 4501379"/>
              <a:gd name="connsiteY38" fmla="*/ 4371975 h 4429294"/>
              <a:gd name="connsiteX39" fmla="*/ 2561419 w 4501379"/>
              <a:gd name="connsiteY39" fmla="*/ 4391025 h 4429294"/>
              <a:gd name="connsiteX40" fmla="*/ 2107394 w 4501379"/>
              <a:gd name="connsiteY40" fmla="*/ 4429125 h 4429294"/>
              <a:gd name="connsiteX41" fmla="*/ 1916894 w 4501379"/>
              <a:gd name="connsiteY41" fmla="*/ 4400550 h 4429294"/>
              <a:gd name="connsiteX42" fmla="*/ 1554944 w 4501379"/>
              <a:gd name="connsiteY42" fmla="*/ 4305300 h 4429294"/>
              <a:gd name="connsiteX43" fmla="*/ 1313644 w 4501379"/>
              <a:gd name="connsiteY43" fmla="*/ 4216400 h 4429294"/>
              <a:gd name="connsiteX44" fmla="*/ 1145369 w 4501379"/>
              <a:gd name="connsiteY44" fmla="*/ 4111625 h 4429294"/>
              <a:gd name="connsiteX45" fmla="*/ 926294 w 4501379"/>
              <a:gd name="connsiteY45" fmla="*/ 3968750 h 4429294"/>
              <a:gd name="connsiteX46" fmla="*/ 592919 w 4501379"/>
              <a:gd name="connsiteY46" fmla="*/ 3657600 h 4429294"/>
              <a:gd name="connsiteX47" fmla="*/ 446869 w 4501379"/>
              <a:gd name="connsiteY47" fmla="*/ 3470275 h 4429294"/>
              <a:gd name="connsiteX48" fmla="*/ 316694 w 4501379"/>
              <a:gd name="connsiteY48" fmla="*/ 3244850 h 4429294"/>
              <a:gd name="connsiteX49" fmla="*/ 164294 w 4501379"/>
              <a:gd name="connsiteY49" fmla="*/ 2892425 h 4429294"/>
              <a:gd name="connsiteX50" fmla="*/ 56344 w 4501379"/>
              <a:gd name="connsiteY50" fmla="*/ 2368550 h 4429294"/>
              <a:gd name="connsiteX51" fmla="*/ 2369 w 4501379"/>
              <a:gd name="connsiteY51" fmla="*/ 1905000 h 4429294"/>
              <a:gd name="connsiteX52" fmla="*/ 11894 w 4501379"/>
              <a:gd name="connsiteY52" fmla="*/ 1838325 h 4429294"/>
              <a:gd name="connsiteX53" fmla="*/ 30944 w 4501379"/>
              <a:gd name="connsiteY53" fmla="*/ 1781175 h 4429294"/>
              <a:gd name="connsiteX54" fmla="*/ 40469 w 4501379"/>
              <a:gd name="connsiteY54" fmla="*/ 1743075 h 4429294"/>
              <a:gd name="connsiteX55" fmla="*/ 59519 w 4501379"/>
              <a:gd name="connsiteY55" fmla="*/ 1685925 h 4429294"/>
              <a:gd name="connsiteX56" fmla="*/ 69044 w 4501379"/>
              <a:gd name="connsiteY56" fmla="*/ 1638300 h 4429294"/>
              <a:gd name="connsiteX57" fmla="*/ 88094 w 4501379"/>
              <a:gd name="connsiteY57" fmla="*/ 1590675 h 4429294"/>
              <a:gd name="connsiteX58" fmla="*/ 116669 w 4501379"/>
              <a:gd name="connsiteY58" fmla="*/ 1504950 h 4429294"/>
              <a:gd name="connsiteX59" fmla="*/ 135719 w 4501379"/>
              <a:gd name="connsiteY59" fmla="*/ 1419225 h 4429294"/>
              <a:gd name="connsiteX60" fmla="*/ 211919 w 4501379"/>
              <a:gd name="connsiteY60" fmla="*/ 1276350 h 4429294"/>
              <a:gd name="connsiteX61" fmla="*/ 221444 w 4501379"/>
              <a:gd name="connsiteY61" fmla="*/ 1247775 h 4429294"/>
              <a:gd name="connsiteX62" fmla="*/ 250019 w 4501379"/>
              <a:gd name="connsiteY62" fmla="*/ 1200150 h 4429294"/>
              <a:gd name="connsiteX63" fmla="*/ 269069 w 4501379"/>
              <a:gd name="connsiteY63" fmla="*/ 1152525 h 4429294"/>
              <a:gd name="connsiteX64" fmla="*/ 297644 w 4501379"/>
              <a:gd name="connsiteY64" fmla="*/ 1114425 h 4429294"/>
              <a:gd name="connsiteX65" fmla="*/ 345269 w 4501379"/>
              <a:gd name="connsiteY65" fmla="*/ 1038225 h 4429294"/>
              <a:gd name="connsiteX66" fmla="*/ 364319 w 4501379"/>
              <a:gd name="connsiteY66" fmla="*/ 1009650 h 4429294"/>
              <a:gd name="connsiteX67" fmla="*/ 421469 w 4501379"/>
              <a:gd name="connsiteY67" fmla="*/ 904875 h 4429294"/>
              <a:gd name="connsiteX68" fmla="*/ 459569 w 4501379"/>
              <a:gd name="connsiteY68" fmla="*/ 857250 h 4429294"/>
              <a:gd name="connsiteX69" fmla="*/ 478619 w 4501379"/>
              <a:gd name="connsiteY69" fmla="*/ 828675 h 4429294"/>
              <a:gd name="connsiteX70" fmla="*/ 516719 w 4501379"/>
              <a:gd name="connsiteY70" fmla="*/ 800100 h 4429294"/>
              <a:gd name="connsiteX71" fmla="*/ 583394 w 4501379"/>
              <a:gd name="connsiteY71" fmla="*/ 733425 h 4429294"/>
              <a:gd name="connsiteX72" fmla="*/ 650069 w 4501379"/>
              <a:gd name="connsiteY72" fmla="*/ 676275 h 4429294"/>
              <a:gd name="connsiteX73" fmla="*/ 678644 w 4501379"/>
              <a:gd name="connsiteY73" fmla="*/ 657225 h 4429294"/>
              <a:gd name="connsiteX74" fmla="*/ 821519 w 4501379"/>
              <a:gd name="connsiteY74" fmla="*/ 533400 h 4429294"/>
              <a:gd name="connsiteX75" fmla="*/ 869144 w 4501379"/>
              <a:gd name="connsiteY75" fmla="*/ 504825 h 4429294"/>
              <a:gd name="connsiteX76" fmla="*/ 1148544 w 4501379"/>
              <a:gd name="connsiteY76" fmla="*/ 311150 h 4429294"/>
              <a:gd name="connsiteX77" fmla="*/ 1250144 w 4501379"/>
              <a:gd name="connsiteY77" fmla="*/ 285750 h 4429294"/>
              <a:gd name="connsiteX78" fmla="*/ 1393019 w 4501379"/>
              <a:gd name="connsiteY78" fmla="*/ 190500 h 4429294"/>
              <a:gd name="connsiteX79" fmla="*/ 1431119 w 4501379"/>
              <a:gd name="connsiteY79" fmla="*/ 161925 h 4429294"/>
              <a:gd name="connsiteX80" fmla="*/ 1507319 w 4501379"/>
              <a:gd name="connsiteY80" fmla="*/ 152400 h 4429294"/>
              <a:gd name="connsiteX81" fmla="*/ 1564469 w 4501379"/>
              <a:gd name="connsiteY81" fmla="*/ 142875 h 4429294"/>
              <a:gd name="connsiteX82" fmla="*/ 1697819 w 4501379"/>
              <a:gd name="connsiteY82" fmla="*/ 123825 h 4429294"/>
              <a:gd name="connsiteX83" fmla="*/ 1793069 w 4501379"/>
              <a:gd name="connsiteY83" fmla="*/ 114300 h 4429294"/>
              <a:gd name="connsiteX84" fmla="*/ 1840694 w 4501379"/>
              <a:gd name="connsiteY84" fmla="*/ 104775 h 4429294"/>
              <a:gd name="connsiteX85" fmla="*/ 1897844 w 4501379"/>
              <a:gd name="connsiteY85" fmla="*/ 95250 h 4429294"/>
              <a:gd name="connsiteX86" fmla="*/ 2012144 w 4501379"/>
              <a:gd name="connsiteY86" fmla="*/ 66675 h 4429294"/>
              <a:gd name="connsiteX87" fmla="*/ 2078819 w 4501379"/>
              <a:gd name="connsiteY87" fmla="*/ 47625 h 4429294"/>
              <a:gd name="connsiteX88" fmla="*/ 2145494 w 4501379"/>
              <a:gd name="connsiteY8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2955119 w 4501379"/>
              <a:gd name="connsiteY3" fmla="*/ 114300 h 4429294"/>
              <a:gd name="connsiteX4" fmla="*/ 2993219 w 4501379"/>
              <a:gd name="connsiteY4" fmla="*/ 123825 h 4429294"/>
              <a:gd name="connsiteX5" fmla="*/ 3117044 w 4501379"/>
              <a:gd name="connsiteY5" fmla="*/ 171450 h 4429294"/>
              <a:gd name="connsiteX6" fmla="*/ 3155144 w 4501379"/>
              <a:gd name="connsiteY6" fmla="*/ 190500 h 4429294"/>
              <a:gd name="connsiteX7" fmla="*/ 3221819 w 4501379"/>
              <a:gd name="connsiteY7" fmla="*/ 228600 h 4429294"/>
              <a:gd name="connsiteX8" fmla="*/ 3250394 w 4501379"/>
              <a:gd name="connsiteY8" fmla="*/ 238125 h 4429294"/>
              <a:gd name="connsiteX9" fmla="*/ 3278969 w 4501379"/>
              <a:gd name="connsiteY9" fmla="*/ 257175 h 4429294"/>
              <a:gd name="connsiteX10" fmla="*/ 3307544 w 4501379"/>
              <a:gd name="connsiteY10" fmla="*/ 266700 h 4429294"/>
              <a:gd name="connsiteX11" fmla="*/ 3336119 w 4501379"/>
              <a:gd name="connsiteY11" fmla="*/ 285750 h 4429294"/>
              <a:gd name="connsiteX12" fmla="*/ 3402794 w 4501379"/>
              <a:gd name="connsiteY12" fmla="*/ 323850 h 4429294"/>
              <a:gd name="connsiteX13" fmla="*/ 3450419 w 4501379"/>
              <a:gd name="connsiteY13" fmla="*/ 361950 h 4429294"/>
              <a:gd name="connsiteX14" fmla="*/ 3498044 w 4501379"/>
              <a:gd name="connsiteY14" fmla="*/ 390525 h 4429294"/>
              <a:gd name="connsiteX15" fmla="*/ 3612344 w 4501379"/>
              <a:gd name="connsiteY15" fmla="*/ 485775 h 4429294"/>
              <a:gd name="connsiteX16" fmla="*/ 3726644 w 4501379"/>
              <a:gd name="connsiteY16" fmla="*/ 542925 h 4429294"/>
              <a:gd name="connsiteX17" fmla="*/ 3793319 w 4501379"/>
              <a:gd name="connsiteY17" fmla="*/ 581025 h 4429294"/>
              <a:gd name="connsiteX18" fmla="*/ 4009219 w 4501379"/>
              <a:gd name="connsiteY18" fmla="*/ 819150 h 4429294"/>
              <a:gd name="connsiteX19" fmla="*/ 4145744 w 4501379"/>
              <a:gd name="connsiteY19" fmla="*/ 990600 h 4429294"/>
              <a:gd name="connsiteX20" fmla="*/ 4231469 w 4501379"/>
              <a:gd name="connsiteY20" fmla="*/ 1143000 h 4429294"/>
              <a:gd name="connsiteX21" fmla="*/ 4288619 w 4501379"/>
              <a:gd name="connsiteY21" fmla="*/ 1266825 h 4429294"/>
              <a:gd name="connsiteX22" fmla="*/ 4326719 w 4501379"/>
              <a:gd name="connsiteY22" fmla="*/ 1362075 h 4429294"/>
              <a:gd name="connsiteX23" fmla="*/ 4374344 w 4501379"/>
              <a:gd name="connsiteY23" fmla="*/ 1552575 h 4429294"/>
              <a:gd name="connsiteX24" fmla="*/ 4412444 w 4501379"/>
              <a:gd name="connsiteY24" fmla="*/ 1685925 h 4429294"/>
              <a:gd name="connsiteX25" fmla="*/ 4501344 w 4501379"/>
              <a:gd name="connsiteY25" fmla="*/ 2181225 h 4429294"/>
              <a:gd name="connsiteX26" fmla="*/ 4428319 w 4501379"/>
              <a:gd name="connsiteY26" fmla="*/ 2768600 h 4429294"/>
              <a:gd name="connsiteX27" fmla="*/ 4364819 w 4501379"/>
              <a:gd name="connsiteY27" fmla="*/ 2990850 h 4429294"/>
              <a:gd name="connsiteX28" fmla="*/ 4260044 w 4501379"/>
              <a:gd name="connsiteY28" fmla="*/ 3248025 h 4429294"/>
              <a:gd name="connsiteX29" fmla="*/ 4164794 w 4501379"/>
              <a:gd name="connsiteY29" fmla="*/ 3400425 h 4429294"/>
              <a:gd name="connsiteX30" fmla="*/ 4040969 w 4501379"/>
              <a:gd name="connsiteY30" fmla="*/ 3533775 h 4429294"/>
              <a:gd name="connsiteX31" fmla="*/ 3936194 w 4501379"/>
              <a:gd name="connsiteY31" fmla="*/ 3648075 h 4429294"/>
              <a:gd name="connsiteX32" fmla="*/ 3640919 w 4501379"/>
              <a:gd name="connsiteY32" fmla="*/ 3971925 h 4429294"/>
              <a:gd name="connsiteX33" fmla="*/ 3498044 w 4501379"/>
              <a:gd name="connsiteY33" fmla="*/ 4083050 h 4429294"/>
              <a:gd name="connsiteX34" fmla="*/ 3202769 w 4501379"/>
              <a:gd name="connsiteY34" fmla="*/ 4222750 h 4429294"/>
              <a:gd name="connsiteX35" fmla="*/ 3050369 w 4501379"/>
              <a:gd name="connsiteY35" fmla="*/ 4286250 h 4429294"/>
              <a:gd name="connsiteX36" fmla="*/ 2917019 w 4501379"/>
              <a:gd name="connsiteY36" fmla="*/ 4333875 h 4429294"/>
              <a:gd name="connsiteX37" fmla="*/ 2793194 w 4501379"/>
              <a:gd name="connsiteY37" fmla="*/ 4371975 h 4429294"/>
              <a:gd name="connsiteX38" fmla="*/ 2561419 w 4501379"/>
              <a:gd name="connsiteY38" fmla="*/ 4391025 h 4429294"/>
              <a:gd name="connsiteX39" fmla="*/ 2107394 w 4501379"/>
              <a:gd name="connsiteY39" fmla="*/ 4429125 h 4429294"/>
              <a:gd name="connsiteX40" fmla="*/ 1916894 w 4501379"/>
              <a:gd name="connsiteY40" fmla="*/ 4400550 h 4429294"/>
              <a:gd name="connsiteX41" fmla="*/ 1554944 w 4501379"/>
              <a:gd name="connsiteY41" fmla="*/ 4305300 h 4429294"/>
              <a:gd name="connsiteX42" fmla="*/ 1313644 w 4501379"/>
              <a:gd name="connsiteY42" fmla="*/ 4216400 h 4429294"/>
              <a:gd name="connsiteX43" fmla="*/ 1145369 w 4501379"/>
              <a:gd name="connsiteY43" fmla="*/ 4111625 h 4429294"/>
              <a:gd name="connsiteX44" fmla="*/ 926294 w 4501379"/>
              <a:gd name="connsiteY44" fmla="*/ 3968750 h 4429294"/>
              <a:gd name="connsiteX45" fmla="*/ 592919 w 4501379"/>
              <a:gd name="connsiteY45" fmla="*/ 3657600 h 4429294"/>
              <a:gd name="connsiteX46" fmla="*/ 446869 w 4501379"/>
              <a:gd name="connsiteY46" fmla="*/ 3470275 h 4429294"/>
              <a:gd name="connsiteX47" fmla="*/ 316694 w 4501379"/>
              <a:gd name="connsiteY47" fmla="*/ 3244850 h 4429294"/>
              <a:gd name="connsiteX48" fmla="*/ 164294 w 4501379"/>
              <a:gd name="connsiteY48" fmla="*/ 2892425 h 4429294"/>
              <a:gd name="connsiteX49" fmla="*/ 56344 w 4501379"/>
              <a:gd name="connsiteY49" fmla="*/ 2368550 h 4429294"/>
              <a:gd name="connsiteX50" fmla="*/ 2369 w 4501379"/>
              <a:gd name="connsiteY50" fmla="*/ 1905000 h 4429294"/>
              <a:gd name="connsiteX51" fmla="*/ 11894 w 4501379"/>
              <a:gd name="connsiteY51" fmla="*/ 1838325 h 4429294"/>
              <a:gd name="connsiteX52" fmla="*/ 30944 w 4501379"/>
              <a:gd name="connsiteY52" fmla="*/ 1781175 h 4429294"/>
              <a:gd name="connsiteX53" fmla="*/ 40469 w 4501379"/>
              <a:gd name="connsiteY53" fmla="*/ 1743075 h 4429294"/>
              <a:gd name="connsiteX54" fmla="*/ 59519 w 4501379"/>
              <a:gd name="connsiteY54" fmla="*/ 1685925 h 4429294"/>
              <a:gd name="connsiteX55" fmla="*/ 69044 w 4501379"/>
              <a:gd name="connsiteY55" fmla="*/ 1638300 h 4429294"/>
              <a:gd name="connsiteX56" fmla="*/ 88094 w 4501379"/>
              <a:gd name="connsiteY56" fmla="*/ 1590675 h 4429294"/>
              <a:gd name="connsiteX57" fmla="*/ 116669 w 4501379"/>
              <a:gd name="connsiteY57" fmla="*/ 1504950 h 4429294"/>
              <a:gd name="connsiteX58" fmla="*/ 135719 w 4501379"/>
              <a:gd name="connsiteY58" fmla="*/ 1419225 h 4429294"/>
              <a:gd name="connsiteX59" fmla="*/ 211919 w 4501379"/>
              <a:gd name="connsiteY59" fmla="*/ 1276350 h 4429294"/>
              <a:gd name="connsiteX60" fmla="*/ 221444 w 4501379"/>
              <a:gd name="connsiteY60" fmla="*/ 1247775 h 4429294"/>
              <a:gd name="connsiteX61" fmla="*/ 250019 w 4501379"/>
              <a:gd name="connsiteY61" fmla="*/ 1200150 h 4429294"/>
              <a:gd name="connsiteX62" fmla="*/ 269069 w 4501379"/>
              <a:gd name="connsiteY62" fmla="*/ 1152525 h 4429294"/>
              <a:gd name="connsiteX63" fmla="*/ 297644 w 4501379"/>
              <a:gd name="connsiteY63" fmla="*/ 1114425 h 4429294"/>
              <a:gd name="connsiteX64" fmla="*/ 345269 w 4501379"/>
              <a:gd name="connsiteY64" fmla="*/ 1038225 h 4429294"/>
              <a:gd name="connsiteX65" fmla="*/ 364319 w 4501379"/>
              <a:gd name="connsiteY65" fmla="*/ 1009650 h 4429294"/>
              <a:gd name="connsiteX66" fmla="*/ 421469 w 4501379"/>
              <a:gd name="connsiteY66" fmla="*/ 904875 h 4429294"/>
              <a:gd name="connsiteX67" fmla="*/ 459569 w 4501379"/>
              <a:gd name="connsiteY67" fmla="*/ 857250 h 4429294"/>
              <a:gd name="connsiteX68" fmla="*/ 478619 w 4501379"/>
              <a:gd name="connsiteY68" fmla="*/ 828675 h 4429294"/>
              <a:gd name="connsiteX69" fmla="*/ 516719 w 4501379"/>
              <a:gd name="connsiteY69" fmla="*/ 800100 h 4429294"/>
              <a:gd name="connsiteX70" fmla="*/ 583394 w 4501379"/>
              <a:gd name="connsiteY70" fmla="*/ 733425 h 4429294"/>
              <a:gd name="connsiteX71" fmla="*/ 650069 w 4501379"/>
              <a:gd name="connsiteY71" fmla="*/ 676275 h 4429294"/>
              <a:gd name="connsiteX72" fmla="*/ 678644 w 4501379"/>
              <a:gd name="connsiteY72" fmla="*/ 657225 h 4429294"/>
              <a:gd name="connsiteX73" fmla="*/ 821519 w 4501379"/>
              <a:gd name="connsiteY73" fmla="*/ 533400 h 4429294"/>
              <a:gd name="connsiteX74" fmla="*/ 869144 w 4501379"/>
              <a:gd name="connsiteY74" fmla="*/ 504825 h 4429294"/>
              <a:gd name="connsiteX75" fmla="*/ 1148544 w 4501379"/>
              <a:gd name="connsiteY75" fmla="*/ 311150 h 4429294"/>
              <a:gd name="connsiteX76" fmla="*/ 1250144 w 4501379"/>
              <a:gd name="connsiteY76" fmla="*/ 285750 h 4429294"/>
              <a:gd name="connsiteX77" fmla="*/ 1393019 w 4501379"/>
              <a:gd name="connsiteY77" fmla="*/ 190500 h 4429294"/>
              <a:gd name="connsiteX78" fmla="*/ 1431119 w 4501379"/>
              <a:gd name="connsiteY78" fmla="*/ 161925 h 4429294"/>
              <a:gd name="connsiteX79" fmla="*/ 1507319 w 4501379"/>
              <a:gd name="connsiteY79" fmla="*/ 152400 h 4429294"/>
              <a:gd name="connsiteX80" fmla="*/ 1564469 w 4501379"/>
              <a:gd name="connsiteY80" fmla="*/ 142875 h 4429294"/>
              <a:gd name="connsiteX81" fmla="*/ 1697819 w 4501379"/>
              <a:gd name="connsiteY81" fmla="*/ 123825 h 4429294"/>
              <a:gd name="connsiteX82" fmla="*/ 1793069 w 4501379"/>
              <a:gd name="connsiteY82" fmla="*/ 114300 h 4429294"/>
              <a:gd name="connsiteX83" fmla="*/ 1840694 w 4501379"/>
              <a:gd name="connsiteY83" fmla="*/ 104775 h 4429294"/>
              <a:gd name="connsiteX84" fmla="*/ 1897844 w 4501379"/>
              <a:gd name="connsiteY84" fmla="*/ 95250 h 4429294"/>
              <a:gd name="connsiteX85" fmla="*/ 2012144 w 4501379"/>
              <a:gd name="connsiteY85" fmla="*/ 66675 h 4429294"/>
              <a:gd name="connsiteX86" fmla="*/ 2078819 w 4501379"/>
              <a:gd name="connsiteY86" fmla="*/ 47625 h 4429294"/>
              <a:gd name="connsiteX87" fmla="*/ 2145494 w 4501379"/>
              <a:gd name="connsiteY8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2955119 w 4501379"/>
              <a:gd name="connsiteY3" fmla="*/ 114300 h 4429294"/>
              <a:gd name="connsiteX4" fmla="*/ 3117044 w 4501379"/>
              <a:gd name="connsiteY4" fmla="*/ 171450 h 4429294"/>
              <a:gd name="connsiteX5" fmla="*/ 3155144 w 4501379"/>
              <a:gd name="connsiteY5" fmla="*/ 190500 h 4429294"/>
              <a:gd name="connsiteX6" fmla="*/ 3221819 w 4501379"/>
              <a:gd name="connsiteY6" fmla="*/ 228600 h 4429294"/>
              <a:gd name="connsiteX7" fmla="*/ 3250394 w 4501379"/>
              <a:gd name="connsiteY7" fmla="*/ 238125 h 4429294"/>
              <a:gd name="connsiteX8" fmla="*/ 3278969 w 4501379"/>
              <a:gd name="connsiteY8" fmla="*/ 257175 h 4429294"/>
              <a:gd name="connsiteX9" fmla="*/ 3307544 w 4501379"/>
              <a:gd name="connsiteY9" fmla="*/ 266700 h 4429294"/>
              <a:gd name="connsiteX10" fmla="*/ 3336119 w 4501379"/>
              <a:gd name="connsiteY10" fmla="*/ 285750 h 4429294"/>
              <a:gd name="connsiteX11" fmla="*/ 3402794 w 4501379"/>
              <a:gd name="connsiteY11" fmla="*/ 323850 h 4429294"/>
              <a:gd name="connsiteX12" fmla="*/ 3450419 w 4501379"/>
              <a:gd name="connsiteY12" fmla="*/ 361950 h 4429294"/>
              <a:gd name="connsiteX13" fmla="*/ 3498044 w 4501379"/>
              <a:gd name="connsiteY13" fmla="*/ 390525 h 4429294"/>
              <a:gd name="connsiteX14" fmla="*/ 3612344 w 4501379"/>
              <a:gd name="connsiteY14" fmla="*/ 485775 h 4429294"/>
              <a:gd name="connsiteX15" fmla="*/ 3726644 w 4501379"/>
              <a:gd name="connsiteY15" fmla="*/ 542925 h 4429294"/>
              <a:gd name="connsiteX16" fmla="*/ 3793319 w 4501379"/>
              <a:gd name="connsiteY16" fmla="*/ 581025 h 4429294"/>
              <a:gd name="connsiteX17" fmla="*/ 4009219 w 4501379"/>
              <a:gd name="connsiteY17" fmla="*/ 819150 h 4429294"/>
              <a:gd name="connsiteX18" fmla="*/ 4145744 w 4501379"/>
              <a:gd name="connsiteY18" fmla="*/ 990600 h 4429294"/>
              <a:gd name="connsiteX19" fmla="*/ 4231469 w 4501379"/>
              <a:gd name="connsiteY19" fmla="*/ 1143000 h 4429294"/>
              <a:gd name="connsiteX20" fmla="*/ 4288619 w 4501379"/>
              <a:gd name="connsiteY20" fmla="*/ 1266825 h 4429294"/>
              <a:gd name="connsiteX21" fmla="*/ 4326719 w 4501379"/>
              <a:gd name="connsiteY21" fmla="*/ 1362075 h 4429294"/>
              <a:gd name="connsiteX22" fmla="*/ 4374344 w 4501379"/>
              <a:gd name="connsiteY22" fmla="*/ 1552575 h 4429294"/>
              <a:gd name="connsiteX23" fmla="*/ 4412444 w 4501379"/>
              <a:gd name="connsiteY23" fmla="*/ 1685925 h 4429294"/>
              <a:gd name="connsiteX24" fmla="*/ 4501344 w 4501379"/>
              <a:gd name="connsiteY24" fmla="*/ 2181225 h 4429294"/>
              <a:gd name="connsiteX25" fmla="*/ 4428319 w 4501379"/>
              <a:gd name="connsiteY25" fmla="*/ 2768600 h 4429294"/>
              <a:gd name="connsiteX26" fmla="*/ 4364819 w 4501379"/>
              <a:gd name="connsiteY26" fmla="*/ 2990850 h 4429294"/>
              <a:gd name="connsiteX27" fmla="*/ 4260044 w 4501379"/>
              <a:gd name="connsiteY27" fmla="*/ 3248025 h 4429294"/>
              <a:gd name="connsiteX28" fmla="*/ 4164794 w 4501379"/>
              <a:gd name="connsiteY28" fmla="*/ 3400425 h 4429294"/>
              <a:gd name="connsiteX29" fmla="*/ 4040969 w 4501379"/>
              <a:gd name="connsiteY29" fmla="*/ 3533775 h 4429294"/>
              <a:gd name="connsiteX30" fmla="*/ 3936194 w 4501379"/>
              <a:gd name="connsiteY30" fmla="*/ 3648075 h 4429294"/>
              <a:gd name="connsiteX31" fmla="*/ 3640919 w 4501379"/>
              <a:gd name="connsiteY31" fmla="*/ 3971925 h 4429294"/>
              <a:gd name="connsiteX32" fmla="*/ 3498044 w 4501379"/>
              <a:gd name="connsiteY32" fmla="*/ 4083050 h 4429294"/>
              <a:gd name="connsiteX33" fmla="*/ 3202769 w 4501379"/>
              <a:gd name="connsiteY33" fmla="*/ 4222750 h 4429294"/>
              <a:gd name="connsiteX34" fmla="*/ 3050369 w 4501379"/>
              <a:gd name="connsiteY34" fmla="*/ 4286250 h 4429294"/>
              <a:gd name="connsiteX35" fmla="*/ 2917019 w 4501379"/>
              <a:gd name="connsiteY35" fmla="*/ 4333875 h 4429294"/>
              <a:gd name="connsiteX36" fmla="*/ 2793194 w 4501379"/>
              <a:gd name="connsiteY36" fmla="*/ 4371975 h 4429294"/>
              <a:gd name="connsiteX37" fmla="*/ 2561419 w 4501379"/>
              <a:gd name="connsiteY37" fmla="*/ 4391025 h 4429294"/>
              <a:gd name="connsiteX38" fmla="*/ 2107394 w 4501379"/>
              <a:gd name="connsiteY38" fmla="*/ 4429125 h 4429294"/>
              <a:gd name="connsiteX39" fmla="*/ 1916894 w 4501379"/>
              <a:gd name="connsiteY39" fmla="*/ 4400550 h 4429294"/>
              <a:gd name="connsiteX40" fmla="*/ 1554944 w 4501379"/>
              <a:gd name="connsiteY40" fmla="*/ 4305300 h 4429294"/>
              <a:gd name="connsiteX41" fmla="*/ 1313644 w 4501379"/>
              <a:gd name="connsiteY41" fmla="*/ 4216400 h 4429294"/>
              <a:gd name="connsiteX42" fmla="*/ 1145369 w 4501379"/>
              <a:gd name="connsiteY42" fmla="*/ 4111625 h 4429294"/>
              <a:gd name="connsiteX43" fmla="*/ 926294 w 4501379"/>
              <a:gd name="connsiteY43" fmla="*/ 3968750 h 4429294"/>
              <a:gd name="connsiteX44" fmla="*/ 592919 w 4501379"/>
              <a:gd name="connsiteY44" fmla="*/ 3657600 h 4429294"/>
              <a:gd name="connsiteX45" fmla="*/ 446869 w 4501379"/>
              <a:gd name="connsiteY45" fmla="*/ 3470275 h 4429294"/>
              <a:gd name="connsiteX46" fmla="*/ 316694 w 4501379"/>
              <a:gd name="connsiteY46" fmla="*/ 3244850 h 4429294"/>
              <a:gd name="connsiteX47" fmla="*/ 164294 w 4501379"/>
              <a:gd name="connsiteY47" fmla="*/ 2892425 h 4429294"/>
              <a:gd name="connsiteX48" fmla="*/ 56344 w 4501379"/>
              <a:gd name="connsiteY48" fmla="*/ 2368550 h 4429294"/>
              <a:gd name="connsiteX49" fmla="*/ 2369 w 4501379"/>
              <a:gd name="connsiteY49" fmla="*/ 1905000 h 4429294"/>
              <a:gd name="connsiteX50" fmla="*/ 11894 w 4501379"/>
              <a:gd name="connsiteY50" fmla="*/ 1838325 h 4429294"/>
              <a:gd name="connsiteX51" fmla="*/ 30944 w 4501379"/>
              <a:gd name="connsiteY51" fmla="*/ 1781175 h 4429294"/>
              <a:gd name="connsiteX52" fmla="*/ 40469 w 4501379"/>
              <a:gd name="connsiteY52" fmla="*/ 1743075 h 4429294"/>
              <a:gd name="connsiteX53" fmla="*/ 59519 w 4501379"/>
              <a:gd name="connsiteY53" fmla="*/ 1685925 h 4429294"/>
              <a:gd name="connsiteX54" fmla="*/ 69044 w 4501379"/>
              <a:gd name="connsiteY54" fmla="*/ 1638300 h 4429294"/>
              <a:gd name="connsiteX55" fmla="*/ 88094 w 4501379"/>
              <a:gd name="connsiteY55" fmla="*/ 1590675 h 4429294"/>
              <a:gd name="connsiteX56" fmla="*/ 116669 w 4501379"/>
              <a:gd name="connsiteY56" fmla="*/ 1504950 h 4429294"/>
              <a:gd name="connsiteX57" fmla="*/ 135719 w 4501379"/>
              <a:gd name="connsiteY57" fmla="*/ 1419225 h 4429294"/>
              <a:gd name="connsiteX58" fmla="*/ 211919 w 4501379"/>
              <a:gd name="connsiteY58" fmla="*/ 1276350 h 4429294"/>
              <a:gd name="connsiteX59" fmla="*/ 221444 w 4501379"/>
              <a:gd name="connsiteY59" fmla="*/ 1247775 h 4429294"/>
              <a:gd name="connsiteX60" fmla="*/ 250019 w 4501379"/>
              <a:gd name="connsiteY60" fmla="*/ 1200150 h 4429294"/>
              <a:gd name="connsiteX61" fmla="*/ 269069 w 4501379"/>
              <a:gd name="connsiteY61" fmla="*/ 1152525 h 4429294"/>
              <a:gd name="connsiteX62" fmla="*/ 297644 w 4501379"/>
              <a:gd name="connsiteY62" fmla="*/ 1114425 h 4429294"/>
              <a:gd name="connsiteX63" fmla="*/ 345269 w 4501379"/>
              <a:gd name="connsiteY63" fmla="*/ 1038225 h 4429294"/>
              <a:gd name="connsiteX64" fmla="*/ 364319 w 4501379"/>
              <a:gd name="connsiteY64" fmla="*/ 1009650 h 4429294"/>
              <a:gd name="connsiteX65" fmla="*/ 421469 w 4501379"/>
              <a:gd name="connsiteY65" fmla="*/ 904875 h 4429294"/>
              <a:gd name="connsiteX66" fmla="*/ 459569 w 4501379"/>
              <a:gd name="connsiteY66" fmla="*/ 857250 h 4429294"/>
              <a:gd name="connsiteX67" fmla="*/ 478619 w 4501379"/>
              <a:gd name="connsiteY67" fmla="*/ 828675 h 4429294"/>
              <a:gd name="connsiteX68" fmla="*/ 516719 w 4501379"/>
              <a:gd name="connsiteY68" fmla="*/ 800100 h 4429294"/>
              <a:gd name="connsiteX69" fmla="*/ 583394 w 4501379"/>
              <a:gd name="connsiteY69" fmla="*/ 733425 h 4429294"/>
              <a:gd name="connsiteX70" fmla="*/ 650069 w 4501379"/>
              <a:gd name="connsiteY70" fmla="*/ 676275 h 4429294"/>
              <a:gd name="connsiteX71" fmla="*/ 678644 w 4501379"/>
              <a:gd name="connsiteY71" fmla="*/ 657225 h 4429294"/>
              <a:gd name="connsiteX72" fmla="*/ 821519 w 4501379"/>
              <a:gd name="connsiteY72" fmla="*/ 533400 h 4429294"/>
              <a:gd name="connsiteX73" fmla="*/ 869144 w 4501379"/>
              <a:gd name="connsiteY73" fmla="*/ 504825 h 4429294"/>
              <a:gd name="connsiteX74" fmla="*/ 1148544 w 4501379"/>
              <a:gd name="connsiteY74" fmla="*/ 311150 h 4429294"/>
              <a:gd name="connsiteX75" fmla="*/ 1250144 w 4501379"/>
              <a:gd name="connsiteY75" fmla="*/ 285750 h 4429294"/>
              <a:gd name="connsiteX76" fmla="*/ 1393019 w 4501379"/>
              <a:gd name="connsiteY76" fmla="*/ 190500 h 4429294"/>
              <a:gd name="connsiteX77" fmla="*/ 1431119 w 4501379"/>
              <a:gd name="connsiteY77" fmla="*/ 161925 h 4429294"/>
              <a:gd name="connsiteX78" fmla="*/ 1507319 w 4501379"/>
              <a:gd name="connsiteY78" fmla="*/ 152400 h 4429294"/>
              <a:gd name="connsiteX79" fmla="*/ 1564469 w 4501379"/>
              <a:gd name="connsiteY79" fmla="*/ 142875 h 4429294"/>
              <a:gd name="connsiteX80" fmla="*/ 1697819 w 4501379"/>
              <a:gd name="connsiteY80" fmla="*/ 123825 h 4429294"/>
              <a:gd name="connsiteX81" fmla="*/ 1793069 w 4501379"/>
              <a:gd name="connsiteY81" fmla="*/ 114300 h 4429294"/>
              <a:gd name="connsiteX82" fmla="*/ 1840694 w 4501379"/>
              <a:gd name="connsiteY82" fmla="*/ 104775 h 4429294"/>
              <a:gd name="connsiteX83" fmla="*/ 1897844 w 4501379"/>
              <a:gd name="connsiteY83" fmla="*/ 95250 h 4429294"/>
              <a:gd name="connsiteX84" fmla="*/ 2012144 w 4501379"/>
              <a:gd name="connsiteY84" fmla="*/ 66675 h 4429294"/>
              <a:gd name="connsiteX85" fmla="*/ 2078819 w 4501379"/>
              <a:gd name="connsiteY85" fmla="*/ 47625 h 4429294"/>
              <a:gd name="connsiteX86" fmla="*/ 2145494 w 4501379"/>
              <a:gd name="connsiteY86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155144 w 4501379"/>
              <a:gd name="connsiteY4" fmla="*/ 190500 h 4429294"/>
              <a:gd name="connsiteX5" fmla="*/ 3221819 w 4501379"/>
              <a:gd name="connsiteY5" fmla="*/ 228600 h 4429294"/>
              <a:gd name="connsiteX6" fmla="*/ 3250394 w 4501379"/>
              <a:gd name="connsiteY6" fmla="*/ 238125 h 4429294"/>
              <a:gd name="connsiteX7" fmla="*/ 3278969 w 4501379"/>
              <a:gd name="connsiteY7" fmla="*/ 257175 h 4429294"/>
              <a:gd name="connsiteX8" fmla="*/ 3307544 w 4501379"/>
              <a:gd name="connsiteY8" fmla="*/ 266700 h 4429294"/>
              <a:gd name="connsiteX9" fmla="*/ 3336119 w 4501379"/>
              <a:gd name="connsiteY9" fmla="*/ 285750 h 4429294"/>
              <a:gd name="connsiteX10" fmla="*/ 3402794 w 4501379"/>
              <a:gd name="connsiteY10" fmla="*/ 323850 h 4429294"/>
              <a:gd name="connsiteX11" fmla="*/ 3450419 w 4501379"/>
              <a:gd name="connsiteY11" fmla="*/ 361950 h 4429294"/>
              <a:gd name="connsiteX12" fmla="*/ 3498044 w 4501379"/>
              <a:gd name="connsiteY12" fmla="*/ 390525 h 4429294"/>
              <a:gd name="connsiteX13" fmla="*/ 3612344 w 4501379"/>
              <a:gd name="connsiteY13" fmla="*/ 485775 h 4429294"/>
              <a:gd name="connsiteX14" fmla="*/ 3726644 w 4501379"/>
              <a:gd name="connsiteY14" fmla="*/ 542925 h 4429294"/>
              <a:gd name="connsiteX15" fmla="*/ 3793319 w 4501379"/>
              <a:gd name="connsiteY15" fmla="*/ 581025 h 4429294"/>
              <a:gd name="connsiteX16" fmla="*/ 4009219 w 4501379"/>
              <a:gd name="connsiteY16" fmla="*/ 819150 h 4429294"/>
              <a:gd name="connsiteX17" fmla="*/ 4145744 w 4501379"/>
              <a:gd name="connsiteY17" fmla="*/ 990600 h 4429294"/>
              <a:gd name="connsiteX18" fmla="*/ 4231469 w 4501379"/>
              <a:gd name="connsiteY18" fmla="*/ 1143000 h 4429294"/>
              <a:gd name="connsiteX19" fmla="*/ 4288619 w 4501379"/>
              <a:gd name="connsiteY19" fmla="*/ 1266825 h 4429294"/>
              <a:gd name="connsiteX20" fmla="*/ 4326719 w 4501379"/>
              <a:gd name="connsiteY20" fmla="*/ 1362075 h 4429294"/>
              <a:gd name="connsiteX21" fmla="*/ 4374344 w 4501379"/>
              <a:gd name="connsiteY21" fmla="*/ 1552575 h 4429294"/>
              <a:gd name="connsiteX22" fmla="*/ 4412444 w 4501379"/>
              <a:gd name="connsiteY22" fmla="*/ 1685925 h 4429294"/>
              <a:gd name="connsiteX23" fmla="*/ 4501344 w 4501379"/>
              <a:gd name="connsiteY23" fmla="*/ 2181225 h 4429294"/>
              <a:gd name="connsiteX24" fmla="*/ 4428319 w 4501379"/>
              <a:gd name="connsiteY24" fmla="*/ 2768600 h 4429294"/>
              <a:gd name="connsiteX25" fmla="*/ 4364819 w 4501379"/>
              <a:gd name="connsiteY25" fmla="*/ 2990850 h 4429294"/>
              <a:gd name="connsiteX26" fmla="*/ 4260044 w 4501379"/>
              <a:gd name="connsiteY26" fmla="*/ 3248025 h 4429294"/>
              <a:gd name="connsiteX27" fmla="*/ 4164794 w 4501379"/>
              <a:gd name="connsiteY27" fmla="*/ 3400425 h 4429294"/>
              <a:gd name="connsiteX28" fmla="*/ 4040969 w 4501379"/>
              <a:gd name="connsiteY28" fmla="*/ 3533775 h 4429294"/>
              <a:gd name="connsiteX29" fmla="*/ 3936194 w 4501379"/>
              <a:gd name="connsiteY29" fmla="*/ 3648075 h 4429294"/>
              <a:gd name="connsiteX30" fmla="*/ 3640919 w 4501379"/>
              <a:gd name="connsiteY30" fmla="*/ 3971925 h 4429294"/>
              <a:gd name="connsiteX31" fmla="*/ 3498044 w 4501379"/>
              <a:gd name="connsiteY31" fmla="*/ 4083050 h 4429294"/>
              <a:gd name="connsiteX32" fmla="*/ 3202769 w 4501379"/>
              <a:gd name="connsiteY32" fmla="*/ 4222750 h 4429294"/>
              <a:gd name="connsiteX33" fmla="*/ 3050369 w 4501379"/>
              <a:gd name="connsiteY33" fmla="*/ 4286250 h 4429294"/>
              <a:gd name="connsiteX34" fmla="*/ 2917019 w 4501379"/>
              <a:gd name="connsiteY34" fmla="*/ 4333875 h 4429294"/>
              <a:gd name="connsiteX35" fmla="*/ 2793194 w 4501379"/>
              <a:gd name="connsiteY35" fmla="*/ 4371975 h 4429294"/>
              <a:gd name="connsiteX36" fmla="*/ 2561419 w 4501379"/>
              <a:gd name="connsiteY36" fmla="*/ 4391025 h 4429294"/>
              <a:gd name="connsiteX37" fmla="*/ 2107394 w 4501379"/>
              <a:gd name="connsiteY37" fmla="*/ 4429125 h 4429294"/>
              <a:gd name="connsiteX38" fmla="*/ 1916894 w 4501379"/>
              <a:gd name="connsiteY38" fmla="*/ 4400550 h 4429294"/>
              <a:gd name="connsiteX39" fmla="*/ 1554944 w 4501379"/>
              <a:gd name="connsiteY39" fmla="*/ 4305300 h 4429294"/>
              <a:gd name="connsiteX40" fmla="*/ 1313644 w 4501379"/>
              <a:gd name="connsiteY40" fmla="*/ 4216400 h 4429294"/>
              <a:gd name="connsiteX41" fmla="*/ 1145369 w 4501379"/>
              <a:gd name="connsiteY41" fmla="*/ 4111625 h 4429294"/>
              <a:gd name="connsiteX42" fmla="*/ 926294 w 4501379"/>
              <a:gd name="connsiteY42" fmla="*/ 3968750 h 4429294"/>
              <a:gd name="connsiteX43" fmla="*/ 592919 w 4501379"/>
              <a:gd name="connsiteY43" fmla="*/ 3657600 h 4429294"/>
              <a:gd name="connsiteX44" fmla="*/ 446869 w 4501379"/>
              <a:gd name="connsiteY44" fmla="*/ 3470275 h 4429294"/>
              <a:gd name="connsiteX45" fmla="*/ 316694 w 4501379"/>
              <a:gd name="connsiteY45" fmla="*/ 3244850 h 4429294"/>
              <a:gd name="connsiteX46" fmla="*/ 164294 w 4501379"/>
              <a:gd name="connsiteY46" fmla="*/ 2892425 h 4429294"/>
              <a:gd name="connsiteX47" fmla="*/ 56344 w 4501379"/>
              <a:gd name="connsiteY47" fmla="*/ 2368550 h 4429294"/>
              <a:gd name="connsiteX48" fmla="*/ 2369 w 4501379"/>
              <a:gd name="connsiteY48" fmla="*/ 1905000 h 4429294"/>
              <a:gd name="connsiteX49" fmla="*/ 11894 w 4501379"/>
              <a:gd name="connsiteY49" fmla="*/ 1838325 h 4429294"/>
              <a:gd name="connsiteX50" fmla="*/ 30944 w 4501379"/>
              <a:gd name="connsiteY50" fmla="*/ 1781175 h 4429294"/>
              <a:gd name="connsiteX51" fmla="*/ 40469 w 4501379"/>
              <a:gd name="connsiteY51" fmla="*/ 1743075 h 4429294"/>
              <a:gd name="connsiteX52" fmla="*/ 59519 w 4501379"/>
              <a:gd name="connsiteY52" fmla="*/ 1685925 h 4429294"/>
              <a:gd name="connsiteX53" fmla="*/ 69044 w 4501379"/>
              <a:gd name="connsiteY53" fmla="*/ 1638300 h 4429294"/>
              <a:gd name="connsiteX54" fmla="*/ 88094 w 4501379"/>
              <a:gd name="connsiteY54" fmla="*/ 1590675 h 4429294"/>
              <a:gd name="connsiteX55" fmla="*/ 116669 w 4501379"/>
              <a:gd name="connsiteY55" fmla="*/ 1504950 h 4429294"/>
              <a:gd name="connsiteX56" fmla="*/ 135719 w 4501379"/>
              <a:gd name="connsiteY56" fmla="*/ 1419225 h 4429294"/>
              <a:gd name="connsiteX57" fmla="*/ 211919 w 4501379"/>
              <a:gd name="connsiteY57" fmla="*/ 1276350 h 4429294"/>
              <a:gd name="connsiteX58" fmla="*/ 221444 w 4501379"/>
              <a:gd name="connsiteY58" fmla="*/ 1247775 h 4429294"/>
              <a:gd name="connsiteX59" fmla="*/ 250019 w 4501379"/>
              <a:gd name="connsiteY59" fmla="*/ 1200150 h 4429294"/>
              <a:gd name="connsiteX60" fmla="*/ 269069 w 4501379"/>
              <a:gd name="connsiteY60" fmla="*/ 1152525 h 4429294"/>
              <a:gd name="connsiteX61" fmla="*/ 297644 w 4501379"/>
              <a:gd name="connsiteY61" fmla="*/ 1114425 h 4429294"/>
              <a:gd name="connsiteX62" fmla="*/ 345269 w 4501379"/>
              <a:gd name="connsiteY62" fmla="*/ 1038225 h 4429294"/>
              <a:gd name="connsiteX63" fmla="*/ 364319 w 4501379"/>
              <a:gd name="connsiteY63" fmla="*/ 1009650 h 4429294"/>
              <a:gd name="connsiteX64" fmla="*/ 421469 w 4501379"/>
              <a:gd name="connsiteY64" fmla="*/ 904875 h 4429294"/>
              <a:gd name="connsiteX65" fmla="*/ 459569 w 4501379"/>
              <a:gd name="connsiteY65" fmla="*/ 857250 h 4429294"/>
              <a:gd name="connsiteX66" fmla="*/ 478619 w 4501379"/>
              <a:gd name="connsiteY66" fmla="*/ 828675 h 4429294"/>
              <a:gd name="connsiteX67" fmla="*/ 516719 w 4501379"/>
              <a:gd name="connsiteY67" fmla="*/ 800100 h 4429294"/>
              <a:gd name="connsiteX68" fmla="*/ 583394 w 4501379"/>
              <a:gd name="connsiteY68" fmla="*/ 733425 h 4429294"/>
              <a:gd name="connsiteX69" fmla="*/ 650069 w 4501379"/>
              <a:gd name="connsiteY69" fmla="*/ 676275 h 4429294"/>
              <a:gd name="connsiteX70" fmla="*/ 678644 w 4501379"/>
              <a:gd name="connsiteY70" fmla="*/ 657225 h 4429294"/>
              <a:gd name="connsiteX71" fmla="*/ 821519 w 4501379"/>
              <a:gd name="connsiteY71" fmla="*/ 533400 h 4429294"/>
              <a:gd name="connsiteX72" fmla="*/ 869144 w 4501379"/>
              <a:gd name="connsiteY72" fmla="*/ 504825 h 4429294"/>
              <a:gd name="connsiteX73" fmla="*/ 1148544 w 4501379"/>
              <a:gd name="connsiteY73" fmla="*/ 311150 h 4429294"/>
              <a:gd name="connsiteX74" fmla="*/ 1250144 w 4501379"/>
              <a:gd name="connsiteY74" fmla="*/ 285750 h 4429294"/>
              <a:gd name="connsiteX75" fmla="*/ 1393019 w 4501379"/>
              <a:gd name="connsiteY75" fmla="*/ 190500 h 4429294"/>
              <a:gd name="connsiteX76" fmla="*/ 1431119 w 4501379"/>
              <a:gd name="connsiteY76" fmla="*/ 161925 h 4429294"/>
              <a:gd name="connsiteX77" fmla="*/ 1507319 w 4501379"/>
              <a:gd name="connsiteY77" fmla="*/ 152400 h 4429294"/>
              <a:gd name="connsiteX78" fmla="*/ 1564469 w 4501379"/>
              <a:gd name="connsiteY78" fmla="*/ 142875 h 4429294"/>
              <a:gd name="connsiteX79" fmla="*/ 1697819 w 4501379"/>
              <a:gd name="connsiteY79" fmla="*/ 123825 h 4429294"/>
              <a:gd name="connsiteX80" fmla="*/ 1793069 w 4501379"/>
              <a:gd name="connsiteY80" fmla="*/ 114300 h 4429294"/>
              <a:gd name="connsiteX81" fmla="*/ 1840694 w 4501379"/>
              <a:gd name="connsiteY81" fmla="*/ 104775 h 4429294"/>
              <a:gd name="connsiteX82" fmla="*/ 1897844 w 4501379"/>
              <a:gd name="connsiteY82" fmla="*/ 95250 h 4429294"/>
              <a:gd name="connsiteX83" fmla="*/ 2012144 w 4501379"/>
              <a:gd name="connsiteY83" fmla="*/ 66675 h 4429294"/>
              <a:gd name="connsiteX84" fmla="*/ 2078819 w 4501379"/>
              <a:gd name="connsiteY84" fmla="*/ 47625 h 4429294"/>
              <a:gd name="connsiteX85" fmla="*/ 2145494 w 4501379"/>
              <a:gd name="connsiteY85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278969 w 4501379"/>
              <a:gd name="connsiteY6" fmla="*/ 257175 h 4429294"/>
              <a:gd name="connsiteX7" fmla="*/ 3307544 w 4501379"/>
              <a:gd name="connsiteY7" fmla="*/ 266700 h 4429294"/>
              <a:gd name="connsiteX8" fmla="*/ 3336119 w 4501379"/>
              <a:gd name="connsiteY8" fmla="*/ 285750 h 4429294"/>
              <a:gd name="connsiteX9" fmla="*/ 3402794 w 4501379"/>
              <a:gd name="connsiteY9" fmla="*/ 323850 h 4429294"/>
              <a:gd name="connsiteX10" fmla="*/ 3450419 w 4501379"/>
              <a:gd name="connsiteY10" fmla="*/ 361950 h 4429294"/>
              <a:gd name="connsiteX11" fmla="*/ 3498044 w 4501379"/>
              <a:gd name="connsiteY11" fmla="*/ 390525 h 4429294"/>
              <a:gd name="connsiteX12" fmla="*/ 3612344 w 4501379"/>
              <a:gd name="connsiteY12" fmla="*/ 485775 h 4429294"/>
              <a:gd name="connsiteX13" fmla="*/ 3726644 w 4501379"/>
              <a:gd name="connsiteY13" fmla="*/ 542925 h 4429294"/>
              <a:gd name="connsiteX14" fmla="*/ 3793319 w 4501379"/>
              <a:gd name="connsiteY14" fmla="*/ 581025 h 4429294"/>
              <a:gd name="connsiteX15" fmla="*/ 4009219 w 4501379"/>
              <a:gd name="connsiteY15" fmla="*/ 819150 h 4429294"/>
              <a:gd name="connsiteX16" fmla="*/ 4145744 w 4501379"/>
              <a:gd name="connsiteY16" fmla="*/ 990600 h 4429294"/>
              <a:gd name="connsiteX17" fmla="*/ 4231469 w 4501379"/>
              <a:gd name="connsiteY17" fmla="*/ 1143000 h 4429294"/>
              <a:gd name="connsiteX18" fmla="*/ 4288619 w 4501379"/>
              <a:gd name="connsiteY18" fmla="*/ 1266825 h 4429294"/>
              <a:gd name="connsiteX19" fmla="*/ 4326719 w 4501379"/>
              <a:gd name="connsiteY19" fmla="*/ 1362075 h 4429294"/>
              <a:gd name="connsiteX20" fmla="*/ 4374344 w 4501379"/>
              <a:gd name="connsiteY20" fmla="*/ 1552575 h 4429294"/>
              <a:gd name="connsiteX21" fmla="*/ 4412444 w 4501379"/>
              <a:gd name="connsiteY21" fmla="*/ 1685925 h 4429294"/>
              <a:gd name="connsiteX22" fmla="*/ 4501344 w 4501379"/>
              <a:gd name="connsiteY22" fmla="*/ 2181225 h 4429294"/>
              <a:gd name="connsiteX23" fmla="*/ 4428319 w 4501379"/>
              <a:gd name="connsiteY23" fmla="*/ 2768600 h 4429294"/>
              <a:gd name="connsiteX24" fmla="*/ 4364819 w 4501379"/>
              <a:gd name="connsiteY24" fmla="*/ 2990850 h 4429294"/>
              <a:gd name="connsiteX25" fmla="*/ 4260044 w 4501379"/>
              <a:gd name="connsiteY25" fmla="*/ 3248025 h 4429294"/>
              <a:gd name="connsiteX26" fmla="*/ 4164794 w 4501379"/>
              <a:gd name="connsiteY26" fmla="*/ 3400425 h 4429294"/>
              <a:gd name="connsiteX27" fmla="*/ 4040969 w 4501379"/>
              <a:gd name="connsiteY27" fmla="*/ 3533775 h 4429294"/>
              <a:gd name="connsiteX28" fmla="*/ 3936194 w 4501379"/>
              <a:gd name="connsiteY28" fmla="*/ 3648075 h 4429294"/>
              <a:gd name="connsiteX29" fmla="*/ 3640919 w 4501379"/>
              <a:gd name="connsiteY29" fmla="*/ 3971925 h 4429294"/>
              <a:gd name="connsiteX30" fmla="*/ 3498044 w 4501379"/>
              <a:gd name="connsiteY30" fmla="*/ 4083050 h 4429294"/>
              <a:gd name="connsiteX31" fmla="*/ 3202769 w 4501379"/>
              <a:gd name="connsiteY31" fmla="*/ 4222750 h 4429294"/>
              <a:gd name="connsiteX32" fmla="*/ 3050369 w 4501379"/>
              <a:gd name="connsiteY32" fmla="*/ 4286250 h 4429294"/>
              <a:gd name="connsiteX33" fmla="*/ 2917019 w 4501379"/>
              <a:gd name="connsiteY33" fmla="*/ 4333875 h 4429294"/>
              <a:gd name="connsiteX34" fmla="*/ 2793194 w 4501379"/>
              <a:gd name="connsiteY34" fmla="*/ 4371975 h 4429294"/>
              <a:gd name="connsiteX35" fmla="*/ 2561419 w 4501379"/>
              <a:gd name="connsiteY35" fmla="*/ 4391025 h 4429294"/>
              <a:gd name="connsiteX36" fmla="*/ 2107394 w 4501379"/>
              <a:gd name="connsiteY36" fmla="*/ 4429125 h 4429294"/>
              <a:gd name="connsiteX37" fmla="*/ 1916894 w 4501379"/>
              <a:gd name="connsiteY37" fmla="*/ 4400550 h 4429294"/>
              <a:gd name="connsiteX38" fmla="*/ 1554944 w 4501379"/>
              <a:gd name="connsiteY38" fmla="*/ 4305300 h 4429294"/>
              <a:gd name="connsiteX39" fmla="*/ 1313644 w 4501379"/>
              <a:gd name="connsiteY39" fmla="*/ 4216400 h 4429294"/>
              <a:gd name="connsiteX40" fmla="*/ 1145369 w 4501379"/>
              <a:gd name="connsiteY40" fmla="*/ 4111625 h 4429294"/>
              <a:gd name="connsiteX41" fmla="*/ 926294 w 4501379"/>
              <a:gd name="connsiteY41" fmla="*/ 3968750 h 4429294"/>
              <a:gd name="connsiteX42" fmla="*/ 592919 w 4501379"/>
              <a:gd name="connsiteY42" fmla="*/ 3657600 h 4429294"/>
              <a:gd name="connsiteX43" fmla="*/ 446869 w 4501379"/>
              <a:gd name="connsiteY43" fmla="*/ 3470275 h 4429294"/>
              <a:gd name="connsiteX44" fmla="*/ 316694 w 4501379"/>
              <a:gd name="connsiteY44" fmla="*/ 3244850 h 4429294"/>
              <a:gd name="connsiteX45" fmla="*/ 164294 w 4501379"/>
              <a:gd name="connsiteY45" fmla="*/ 2892425 h 4429294"/>
              <a:gd name="connsiteX46" fmla="*/ 56344 w 4501379"/>
              <a:gd name="connsiteY46" fmla="*/ 2368550 h 4429294"/>
              <a:gd name="connsiteX47" fmla="*/ 2369 w 4501379"/>
              <a:gd name="connsiteY47" fmla="*/ 1905000 h 4429294"/>
              <a:gd name="connsiteX48" fmla="*/ 11894 w 4501379"/>
              <a:gd name="connsiteY48" fmla="*/ 1838325 h 4429294"/>
              <a:gd name="connsiteX49" fmla="*/ 30944 w 4501379"/>
              <a:gd name="connsiteY49" fmla="*/ 1781175 h 4429294"/>
              <a:gd name="connsiteX50" fmla="*/ 40469 w 4501379"/>
              <a:gd name="connsiteY50" fmla="*/ 1743075 h 4429294"/>
              <a:gd name="connsiteX51" fmla="*/ 59519 w 4501379"/>
              <a:gd name="connsiteY51" fmla="*/ 1685925 h 4429294"/>
              <a:gd name="connsiteX52" fmla="*/ 69044 w 4501379"/>
              <a:gd name="connsiteY52" fmla="*/ 1638300 h 4429294"/>
              <a:gd name="connsiteX53" fmla="*/ 88094 w 4501379"/>
              <a:gd name="connsiteY53" fmla="*/ 1590675 h 4429294"/>
              <a:gd name="connsiteX54" fmla="*/ 116669 w 4501379"/>
              <a:gd name="connsiteY54" fmla="*/ 1504950 h 4429294"/>
              <a:gd name="connsiteX55" fmla="*/ 135719 w 4501379"/>
              <a:gd name="connsiteY55" fmla="*/ 1419225 h 4429294"/>
              <a:gd name="connsiteX56" fmla="*/ 211919 w 4501379"/>
              <a:gd name="connsiteY56" fmla="*/ 1276350 h 4429294"/>
              <a:gd name="connsiteX57" fmla="*/ 221444 w 4501379"/>
              <a:gd name="connsiteY57" fmla="*/ 1247775 h 4429294"/>
              <a:gd name="connsiteX58" fmla="*/ 250019 w 4501379"/>
              <a:gd name="connsiteY58" fmla="*/ 1200150 h 4429294"/>
              <a:gd name="connsiteX59" fmla="*/ 269069 w 4501379"/>
              <a:gd name="connsiteY59" fmla="*/ 1152525 h 4429294"/>
              <a:gd name="connsiteX60" fmla="*/ 297644 w 4501379"/>
              <a:gd name="connsiteY60" fmla="*/ 1114425 h 4429294"/>
              <a:gd name="connsiteX61" fmla="*/ 345269 w 4501379"/>
              <a:gd name="connsiteY61" fmla="*/ 1038225 h 4429294"/>
              <a:gd name="connsiteX62" fmla="*/ 364319 w 4501379"/>
              <a:gd name="connsiteY62" fmla="*/ 1009650 h 4429294"/>
              <a:gd name="connsiteX63" fmla="*/ 421469 w 4501379"/>
              <a:gd name="connsiteY63" fmla="*/ 904875 h 4429294"/>
              <a:gd name="connsiteX64" fmla="*/ 459569 w 4501379"/>
              <a:gd name="connsiteY64" fmla="*/ 857250 h 4429294"/>
              <a:gd name="connsiteX65" fmla="*/ 478619 w 4501379"/>
              <a:gd name="connsiteY65" fmla="*/ 828675 h 4429294"/>
              <a:gd name="connsiteX66" fmla="*/ 516719 w 4501379"/>
              <a:gd name="connsiteY66" fmla="*/ 800100 h 4429294"/>
              <a:gd name="connsiteX67" fmla="*/ 583394 w 4501379"/>
              <a:gd name="connsiteY67" fmla="*/ 733425 h 4429294"/>
              <a:gd name="connsiteX68" fmla="*/ 650069 w 4501379"/>
              <a:gd name="connsiteY68" fmla="*/ 676275 h 4429294"/>
              <a:gd name="connsiteX69" fmla="*/ 678644 w 4501379"/>
              <a:gd name="connsiteY69" fmla="*/ 657225 h 4429294"/>
              <a:gd name="connsiteX70" fmla="*/ 821519 w 4501379"/>
              <a:gd name="connsiteY70" fmla="*/ 533400 h 4429294"/>
              <a:gd name="connsiteX71" fmla="*/ 869144 w 4501379"/>
              <a:gd name="connsiteY71" fmla="*/ 504825 h 4429294"/>
              <a:gd name="connsiteX72" fmla="*/ 1148544 w 4501379"/>
              <a:gd name="connsiteY72" fmla="*/ 311150 h 4429294"/>
              <a:gd name="connsiteX73" fmla="*/ 1250144 w 4501379"/>
              <a:gd name="connsiteY73" fmla="*/ 285750 h 4429294"/>
              <a:gd name="connsiteX74" fmla="*/ 1393019 w 4501379"/>
              <a:gd name="connsiteY74" fmla="*/ 190500 h 4429294"/>
              <a:gd name="connsiteX75" fmla="*/ 1431119 w 4501379"/>
              <a:gd name="connsiteY75" fmla="*/ 161925 h 4429294"/>
              <a:gd name="connsiteX76" fmla="*/ 1507319 w 4501379"/>
              <a:gd name="connsiteY76" fmla="*/ 152400 h 4429294"/>
              <a:gd name="connsiteX77" fmla="*/ 1564469 w 4501379"/>
              <a:gd name="connsiteY77" fmla="*/ 142875 h 4429294"/>
              <a:gd name="connsiteX78" fmla="*/ 1697819 w 4501379"/>
              <a:gd name="connsiteY78" fmla="*/ 123825 h 4429294"/>
              <a:gd name="connsiteX79" fmla="*/ 1793069 w 4501379"/>
              <a:gd name="connsiteY79" fmla="*/ 114300 h 4429294"/>
              <a:gd name="connsiteX80" fmla="*/ 1840694 w 4501379"/>
              <a:gd name="connsiteY80" fmla="*/ 104775 h 4429294"/>
              <a:gd name="connsiteX81" fmla="*/ 1897844 w 4501379"/>
              <a:gd name="connsiteY81" fmla="*/ 95250 h 4429294"/>
              <a:gd name="connsiteX82" fmla="*/ 2012144 w 4501379"/>
              <a:gd name="connsiteY82" fmla="*/ 66675 h 4429294"/>
              <a:gd name="connsiteX83" fmla="*/ 2078819 w 4501379"/>
              <a:gd name="connsiteY83" fmla="*/ 47625 h 4429294"/>
              <a:gd name="connsiteX84" fmla="*/ 2145494 w 4501379"/>
              <a:gd name="connsiteY84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307544 w 4501379"/>
              <a:gd name="connsiteY6" fmla="*/ 266700 h 4429294"/>
              <a:gd name="connsiteX7" fmla="*/ 3336119 w 4501379"/>
              <a:gd name="connsiteY7" fmla="*/ 285750 h 4429294"/>
              <a:gd name="connsiteX8" fmla="*/ 3402794 w 4501379"/>
              <a:gd name="connsiteY8" fmla="*/ 323850 h 4429294"/>
              <a:gd name="connsiteX9" fmla="*/ 3450419 w 4501379"/>
              <a:gd name="connsiteY9" fmla="*/ 361950 h 4429294"/>
              <a:gd name="connsiteX10" fmla="*/ 3498044 w 4501379"/>
              <a:gd name="connsiteY10" fmla="*/ 390525 h 4429294"/>
              <a:gd name="connsiteX11" fmla="*/ 3612344 w 4501379"/>
              <a:gd name="connsiteY11" fmla="*/ 485775 h 4429294"/>
              <a:gd name="connsiteX12" fmla="*/ 3726644 w 4501379"/>
              <a:gd name="connsiteY12" fmla="*/ 542925 h 4429294"/>
              <a:gd name="connsiteX13" fmla="*/ 3793319 w 4501379"/>
              <a:gd name="connsiteY13" fmla="*/ 581025 h 4429294"/>
              <a:gd name="connsiteX14" fmla="*/ 4009219 w 4501379"/>
              <a:gd name="connsiteY14" fmla="*/ 819150 h 4429294"/>
              <a:gd name="connsiteX15" fmla="*/ 4145744 w 4501379"/>
              <a:gd name="connsiteY15" fmla="*/ 990600 h 4429294"/>
              <a:gd name="connsiteX16" fmla="*/ 4231469 w 4501379"/>
              <a:gd name="connsiteY16" fmla="*/ 1143000 h 4429294"/>
              <a:gd name="connsiteX17" fmla="*/ 4288619 w 4501379"/>
              <a:gd name="connsiteY17" fmla="*/ 1266825 h 4429294"/>
              <a:gd name="connsiteX18" fmla="*/ 4326719 w 4501379"/>
              <a:gd name="connsiteY18" fmla="*/ 1362075 h 4429294"/>
              <a:gd name="connsiteX19" fmla="*/ 4374344 w 4501379"/>
              <a:gd name="connsiteY19" fmla="*/ 1552575 h 4429294"/>
              <a:gd name="connsiteX20" fmla="*/ 4412444 w 4501379"/>
              <a:gd name="connsiteY20" fmla="*/ 1685925 h 4429294"/>
              <a:gd name="connsiteX21" fmla="*/ 4501344 w 4501379"/>
              <a:gd name="connsiteY21" fmla="*/ 2181225 h 4429294"/>
              <a:gd name="connsiteX22" fmla="*/ 4428319 w 4501379"/>
              <a:gd name="connsiteY22" fmla="*/ 2768600 h 4429294"/>
              <a:gd name="connsiteX23" fmla="*/ 4364819 w 4501379"/>
              <a:gd name="connsiteY23" fmla="*/ 2990850 h 4429294"/>
              <a:gd name="connsiteX24" fmla="*/ 4260044 w 4501379"/>
              <a:gd name="connsiteY24" fmla="*/ 3248025 h 4429294"/>
              <a:gd name="connsiteX25" fmla="*/ 4164794 w 4501379"/>
              <a:gd name="connsiteY25" fmla="*/ 3400425 h 4429294"/>
              <a:gd name="connsiteX26" fmla="*/ 4040969 w 4501379"/>
              <a:gd name="connsiteY26" fmla="*/ 3533775 h 4429294"/>
              <a:gd name="connsiteX27" fmla="*/ 3936194 w 4501379"/>
              <a:gd name="connsiteY27" fmla="*/ 3648075 h 4429294"/>
              <a:gd name="connsiteX28" fmla="*/ 3640919 w 4501379"/>
              <a:gd name="connsiteY28" fmla="*/ 3971925 h 4429294"/>
              <a:gd name="connsiteX29" fmla="*/ 3498044 w 4501379"/>
              <a:gd name="connsiteY29" fmla="*/ 4083050 h 4429294"/>
              <a:gd name="connsiteX30" fmla="*/ 3202769 w 4501379"/>
              <a:gd name="connsiteY30" fmla="*/ 4222750 h 4429294"/>
              <a:gd name="connsiteX31" fmla="*/ 3050369 w 4501379"/>
              <a:gd name="connsiteY31" fmla="*/ 4286250 h 4429294"/>
              <a:gd name="connsiteX32" fmla="*/ 2917019 w 4501379"/>
              <a:gd name="connsiteY32" fmla="*/ 4333875 h 4429294"/>
              <a:gd name="connsiteX33" fmla="*/ 2793194 w 4501379"/>
              <a:gd name="connsiteY33" fmla="*/ 4371975 h 4429294"/>
              <a:gd name="connsiteX34" fmla="*/ 2561419 w 4501379"/>
              <a:gd name="connsiteY34" fmla="*/ 4391025 h 4429294"/>
              <a:gd name="connsiteX35" fmla="*/ 2107394 w 4501379"/>
              <a:gd name="connsiteY35" fmla="*/ 4429125 h 4429294"/>
              <a:gd name="connsiteX36" fmla="*/ 1916894 w 4501379"/>
              <a:gd name="connsiteY36" fmla="*/ 4400550 h 4429294"/>
              <a:gd name="connsiteX37" fmla="*/ 1554944 w 4501379"/>
              <a:gd name="connsiteY37" fmla="*/ 4305300 h 4429294"/>
              <a:gd name="connsiteX38" fmla="*/ 1313644 w 4501379"/>
              <a:gd name="connsiteY38" fmla="*/ 4216400 h 4429294"/>
              <a:gd name="connsiteX39" fmla="*/ 1145369 w 4501379"/>
              <a:gd name="connsiteY39" fmla="*/ 4111625 h 4429294"/>
              <a:gd name="connsiteX40" fmla="*/ 926294 w 4501379"/>
              <a:gd name="connsiteY40" fmla="*/ 3968750 h 4429294"/>
              <a:gd name="connsiteX41" fmla="*/ 592919 w 4501379"/>
              <a:gd name="connsiteY41" fmla="*/ 3657600 h 4429294"/>
              <a:gd name="connsiteX42" fmla="*/ 446869 w 4501379"/>
              <a:gd name="connsiteY42" fmla="*/ 3470275 h 4429294"/>
              <a:gd name="connsiteX43" fmla="*/ 316694 w 4501379"/>
              <a:gd name="connsiteY43" fmla="*/ 3244850 h 4429294"/>
              <a:gd name="connsiteX44" fmla="*/ 164294 w 4501379"/>
              <a:gd name="connsiteY44" fmla="*/ 2892425 h 4429294"/>
              <a:gd name="connsiteX45" fmla="*/ 56344 w 4501379"/>
              <a:gd name="connsiteY45" fmla="*/ 2368550 h 4429294"/>
              <a:gd name="connsiteX46" fmla="*/ 2369 w 4501379"/>
              <a:gd name="connsiteY46" fmla="*/ 1905000 h 4429294"/>
              <a:gd name="connsiteX47" fmla="*/ 11894 w 4501379"/>
              <a:gd name="connsiteY47" fmla="*/ 1838325 h 4429294"/>
              <a:gd name="connsiteX48" fmla="*/ 30944 w 4501379"/>
              <a:gd name="connsiteY48" fmla="*/ 1781175 h 4429294"/>
              <a:gd name="connsiteX49" fmla="*/ 40469 w 4501379"/>
              <a:gd name="connsiteY49" fmla="*/ 1743075 h 4429294"/>
              <a:gd name="connsiteX50" fmla="*/ 59519 w 4501379"/>
              <a:gd name="connsiteY50" fmla="*/ 1685925 h 4429294"/>
              <a:gd name="connsiteX51" fmla="*/ 69044 w 4501379"/>
              <a:gd name="connsiteY51" fmla="*/ 1638300 h 4429294"/>
              <a:gd name="connsiteX52" fmla="*/ 88094 w 4501379"/>
              <a:gd name="connsiteY52" fmla="*/ 1590675 h 4429294"/>
              <a:gd name="connsiteX53" fmla="*/ 116669 w 4501379"/>
              <a:gd name="connsiteY53" fmla="*/ 1504950 h 4429294"/>
              <a:gd name="connsiteX54" fmla="*/ 135719 w 4501379"/>
              <a:gd name="connsiteY54" fmla="*/ 1419225 h 4429294"/>
              <a:gd name="connsiteX55" fmla="*/ 211919 w 4501379"/>
              <a:gd name="connsiteY55" fmla="*/ 1276350 h 4429294"/>
              <a:gd name="connsiteX56" fmla="*/ 221444 w 4501379"/>
              <a:gd name="connsiteY56" fmla="*/ 1247775 h 4429294"/>
              <a:gd name="connsiteX57" fmla="*/ 250019 w 4501379"/>
              <a:gd name="connsiteY57" fmla="*/ 1200150 h 4429294"/>
              <a:gd name="connsiteX58" fmla="*/ 269069 w 4501379"/>
              <a:gd name="connsiteY58" fmla="*/ 1152525 h 4429294"/>
              <a:gd name="connsiteX59" fmla="*/ 297644 w 4501379"/>
              <a:gd name="connsiteY59" fmla="*/ 1114425 h 4429294"/>
              <a:gd name="connsiteX60" fmla="*/ 345269 w 4501379"/>
              <a:gd name="connsiteY60" fmla="*/ 1038225 h 4429294"/>
              <a:gd name="connsiteX61" fmla="*/ 364319 w 4501379"/>
              <a:gd name="connsiteY61" fmla="*/ 1009650 h 4429294"/>
              <a:gd name="connsiteX62" fmla="*/ 421469 w 4501379"/>
              <a:gd name="connsiteY62" fmla="*/ 904875 h 4429294"/>
              <a:gd name="connsiteX63" fmla="*/ 459569 w 4501379"/>
              <a:gd name="connsiteY63" fmla="*/ 857250 h 4429294"/>
              <a:gd name="connsiteX64" fmla="*/ 478619 w 4501379"/>
              <a:gd name="connsiteY64" fmla="*/ 828675 h 4429294"/>
              <a:gd name="connsiteX65" fmla="*/ 516719 w 4501379"/>
              <a:gd name="connsiteY65" fmla="*/ 800100 h 4429294"/>
              <a:gd name="connsiteX66" fmla="*/ 583394 w 4501379"/>
              <a:gd name="connsiteY66" fmla="*/ 733425 h 4429294"/>
              <a:gd name="connsiteX67" fmla="*/ 650069 w 4501379"/>
              <a:gd name="connsiteY67" fmla="*/ 676275 h 4429294"/>
              <a:gd name="connsiteX68" fmla="*/ 678644 w 4501379"/>
              <a:gd name="connsiteY68" fmla="*/ 657225 h 4429294"/>
              <a:gd name="connsiteX69" fmla="*/ 821519 w 4501379"/>
              <a:gd name="connsiteY69" fmla="*/ 533400 h 4429294"/>
              <a:gd name="connsiteX70" fmla="*/ 869144 w 4501379"/>
              <a:gd name="connsiteY70" fmla="*/ 504825 h 4429294"/>
              <a:gd name="connsiteX71" fmla="*/ 1148544 w 4501379"/>
              <a:gd name="connsiteY71" fmla="*/ 311150 h 4429294"/>
              <a:gd name="connsiteX72" fmla="*/ 1250144 w 4501379"/>
              <a:gd name="connsiteY72" fmla="*/ 285750 h 4429294"/>
              <a:gd name="connsiteX73" fmla="*/ 1393019 w 4501379"/>
              <a:gd name="connsiteY73" fmla="*/ 190500 h 4429294"/>
              <a:gd name="connsiteX74" fmla="*/ 1431119 w 4501379"/>
              <a:gd name="connsiteY74" fmla="*/ 161925 h 4429294"/>
              <a:gd name="connsiteX75" fmla="*/ 1507319 w 4501379"/>
              <a:gd name="connsiteY75" fmla="*/ 152400 h 4429294"/>
              <a:gd name="connsiteX76" fmla="*/ 1564469 w 4501379"/>
              <a:gd name="connsiteY76" fmla="*/ 142875 h 4429294"/>
              <a:gd name="connsiteX77" fmla="*/ 1697819 w 4501379"/>
              <a:gd name="connsiteY77" fmla="*/ 123825 h 4429294"/>
              <a:gd name="connsiteX78" fmla="*/ 1793069 w 4501379"/>
              <a:gd name="connsiteY78" fmla="*/ 114300 h 4429294"/>
              <a:gd name="connsiteX79" fmla="*/ 1840694 w 4501379"/>
              <a:gd name="connsiteY79" fmla="*/ 104775 h 4429294"/>
              <a:gd name="connsiteX80" fmla="*/ 1897844 w 4501379"/>
              <a:gd name="connsiteY80" fmla="*/ 95250 h 4429294"/>
              <a:gd name="connsiteX81" fmla="*/ 2012144 w 4501379"/>
              <a:gd name="connsiteY81" fmla="*/ 66675 h 4429294"/>
              <a:gd name="connsiteX82" fmla="*/ 2078819 w 4501379"/>
              <a:gd name="connsiteY82" fmla="*/ 47625 h 4429294"/>
              <a:gd name="connsiteX83" fmla="*/ 2145494 w 4501379"/>
              <a:gd name="connsiteY83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307544 w 4501379"/>
              <a:gd name="connsiteY6" fmla="*/ 266700 h 4429294"/>
              <a:gd name="connsiteX7" fmla="*/ 3402794 w 4501379"/>
              <a:gd name="connsiteY7" fmla="*/ 323850 h 4429294"/>
              <a:gd name="connsiteX8" fmla="*/ 3450419 w 4501379"/>
              <a:gd name="connsiteY8" fmla="*/ 361950 h 4429294"/>
              <a:gd name="connsiteX9" fmla="*/ 3498044 w 4501379"/>
              <a:gd name="connsiteY9" fmla="*/ 390525 h 4429294"/>
              <a:gd name="connsiteX10" fmla="*/ 3612344 w 4501379"/>
              <a:gd name="connsiteY10" fmla="*/ 485775 h 4429294"/>
              <a:gd name="connsiteX11" fmla="*/ 3726644 w 4501379"/>
              <a:gd name="connsiteY11" fmla="*/ 542925 h 4429294"/>
              <a:gd name="connsiteX12" fmla="*/ 3793319 w 4501379"/>
              <a:gd name="connsiteY12" fmla="*/ 581025 h 4429294"/>
              <a:gd name="connsiteX13" fmla="*/ 4009219 w 4501379"/>
              <a:gd name="connsiteY13" fmla="*/ 819150 h 4429294"/>
              <a:gd name="connsiteX14" fmla="*/ 4145744 w 4501379"/>
              <a:gd name="connsiteY14" fmla="*/ 990600 h 4429294"/>
              <a:gd name="connsiteX15" fmla="*/ 4231469 w 4501379"/>
              <a:gd name="connsiteY15" fmla="*/ 1143000 h 4429294"/>
              <a:gd name="connsiteX16" fmla="*/ 4288619 w 4501379"/>
              <a:gd name="connsiteY16" fmla="*/ 1266825 h 4429294"/>
              <a:gd name="connsiteX17" fmla="*/ 4326719 w 4501379"/>
              <a:gd name="connsiteY17" fmla="*/ 1362075 h 4429294"/>
              <a:gd name="connsiteX18" fmla="*/ 4374344 w 4501379"/>
              <a:gd name="connsiteY18" fmla="*/ 1552575 h 4429294"/>
              <a:gd name="connsiteX19" fmla="*/ 4412444 w 4501379"/>
              <a:gd name="connsiteY19" fmla="*/ 1685925 h 4429294"/>
              <a:gd name="connsiteX20" fmla="*/ 4501344 w 4501379"/>
              <a:gd name="connsiteY20" fmla="*/ 2181225 h 4429294"/>
              <a:gd name="connsiteX21" fmla="*/ 4428319 w 4501379"/>
              <a:gd name="connsiteY21" fmla="*/ 2768600 h 4429294"/>
              <a:gd name="connsiteX22" fmla="*/ 4364819 w 4501379"/>
              <a:gd name="connsiteY22" fmla="*/ 2990850 h 4429294"/>
              <a:gd name="connsiteX23" fmla="*/ 4260044 w 4501379"/>
              <a:gd name="connsiteY23" fmla="*/ 3248025 h 4429294"/>
              <a:gd name="connsiteX24" fmla="*/ 4164794 w 4501379"/>
              <a:gd name="connsiteY24" fmla="*/ 3400425 h 4429294"/>
              <a:gd name="connsiteX25" fmla="*/ 4040969 w 4501379"/>
              <a:gd name="connsiteY25" fmla="*/ 3533775 h 4429294"/>
              <a:gd name="connsiteX26" fmla="*/ 3936194 w 4501379"/>
              <a:gd name="connsiteY26" fmla="*/ 3648075 h 4429294"/>
              <a:gd name="connsiteX27" fmla="*/ 3640919 w 4501379"/>
              <a:gd name="connsiteY27" fmla="*/ 3971925 h 4429294"/>
              <a:gd name="connsiteX28" fmla="*/ 3498044 w 4501379"/>
              <a:gd name="connsiteY28" fmla="*/ 4083050 h 4429294"/>
              <a:gd name="connsiteX29" fmla="*/ 3202769 w 4501379"/>
              <a:gd name="connsiteY29" fmla="*/ 4222750 h 4429294"/>
              <a:gd name="connsiteX30" fmla="*/ 3050369 w 4501379"/>
              <a:gd name="connsiteY30" fmla="*/ 4286250 h 4429294"/>
              <a:gd name="connsiteX31" fmla="*/ 2917019 w 4501379"/>
              <a:gd name="connsiteY31" fmla="*/ 4333875 h 4429294"/>
              <a:gd name="connsiteX32" fmla="*/ 2793194 w 4501379"/>
              <a:gd name="connsiteY32" fmla="*/ 4371975 h 4429294"/>
              <a:gd name="connsiteX33" fmla="*/ 2561419 w 4501379"/>
              <a:gd name="connsiteY33" fmla="*/ 4391025 h 4429294"/>
              <a:gd name="connsiteX34" fmla="*/ 2107394 w 4501379"/>
              <a:gd name="connsiteY34" fmla="*/ 4429125 h 4429294"/>
              <a:gd name="connsiteX35" fmla="*/ 1916894 w 4501379"/>
              <a:gd name="connsiteY35" fmla="*/ 4400550 h 4429294"/>
              <a:gd name="connsiteX36" fmla="*/ 1554944 w 4501379"/>
              <a:gd name="connsiteY36" fmla="*/ 4305300 h 4429294"/>
              <a:gd name="connsiteX37" fmla="*/ 1313644 w 4501379"/>
              <a:gd name="connsiteY37" fmla="*/ 4216400 h 4429294"/>
              <a:gd name="connsiteX38" fmla="*/ 1145369 w 4501379"/>
              <a:gd name="connsiteY38" fmla="*/ 4111625 h 4429294"/>
              <a:gd name="connsiteX39" fmla="*/ 926294 w 4501379"/>
              <a:gd name="connsiteY39" fmla="*/ 3968750 h 4429294"/>
              <a:gd name="connsiteX40" fmla="*/ 592919 w 4501379"/>
              <a:gd name="connsiteY40" fmla="*/ 3657600 h 4429294"/>
              <a:gd name="connsiteX41" fmla="*/ 446869 w 4501379"/>
              <a:gd name="connsiteY41" fmla="*/ 3470275 h 4429294"/>
              <a:gd name="connsiteX42" fmla="*/ 316694 w 4501379"/>
              <a:gd name="connsiteY42" fmla="*/ 3244850 h 4429294"/>
              <a:gd name="connsiteX43" fmla="*/ 164294 w 4501379"/>
              <a:gd name="connsiteY43" fmla="*/ 2892425 h 4429294"/>
              <a:gd name="connsiteX44" fmla="*/ 56344 w 4501379"/>
              <a:gd name="connsiteY44" fmla="*/ 2368550 h 4429294"/>
              <a:gd name="connsiteX45" fmla="*/ 2369 w 4501379"/>
              <a:gd name="connsiteY45" fmla="*/ 1905000 h 4429294"/>
              <a:gd name="connsiteX46" fmla="*/ 11894 w 4501379"/>
              <a:gd name="connsiteY46" fmla="*/ 1838325 h 4429294"/>
              <a:gd name="connsiteX47" fmla="*/ 30944 w 4501379"/>
              <a:gd name="connsiteY47" fmla="*/ 1781175 h 4429294"/>
              <a:gd name="connsiteX48" fmla="*/ 40469 w 4501379"/>
              <a:gd name="connsiteY48" fmla="*/ 1743075 h 4429294"/>
              <a:gd name="connsiteX49" fmla="*/ 59519 w 4501379"/>
              <a:gd name="connsiteY49" fmla="*/ 1685925 h 4429294"/>
              <a:gd name="connsiteX50" fmla="*/ 69044 w 4501379"/>
              <a:gd name="connsiteY50" fmla="*/ 1638300 h 4429294"/>
              <a:gd name="connsiteX51" fmla="*/ 88094 w 4501379"/>
              <a:gd name="connsiteY51" fmla="*/ 1590675 h 4429294"/>
              <a:gd name="connsiteX52" fmla="*/ 116669 w 4501379"/>
              <a:gd name="connsiteY52" fmla="*/ 1504950 h 4429294"/>
              <a:gd name="connsiteX53" fmla="*/ 135719 w 4501379"/>
              <a:gd name="connsiteY53" fmla="*/ 1419225 h 4429294"/>
              <a:gd name="connsiteX54" fmla="*/ 211919 w 4501379"/>
              <a:gd name="connsiteY54" fmla="*/ 1276350 h 4429294"/>
              <a:gd name="connsiteX55" fmla="*/ 221444 w 4501379"/>
              <a:gd name="connsiteY55" fmla="*/ 1247775 h 4429294"/>
              <a:gd name="connsiteX56" fmla="*/ 250019 w 4501379"/>
              <a:gd name="connsiteY56" fmla="*/ 1200150 h 4429294"/>
              <a:gd name="connsiteX57" fmla="*/ 269069 w 4501379"/>
              <a:gd name="connsiteY57" fmla="*/ 1152525 h 4429294"/>
              <a:gd name="connsiteX58" fmla="*/ 297644 w 4501379"/>
              <a:gd name="connsiteY58" fmla="*/ 1114425 h 4429294"/>
              <a:gd name="connsiteX59" fmla="*/ 345269 w 4501379"/>
              <a:gd name="connsiteY59" fmla="*/ 1038225 h 4429294"/>
              <a:gd name="connsiteX60" fmla="*/ 364319 w 4501379"/>
              <a:gd name="connsiteY60" fmla="*/ 1009650 h 4429294"/>
              <a:gd name="connsiteX61" fmla="*/ 421469 w 4501379"/>
              <a:gd name="connsiteY61" fmla="*/ 904875 h 4429294"/>
              <a:gd name="connsiteX62" fmla="*/ 459569 w 4501379"/>
              <a:gd name="connsiteY62" fmla="*/ 857250 h 4429294"/>
              <a:gd name="connsiteX63" fmla="*/ 478619 w 4501379"/>
              <a:gd name="connsiteY63" fmla="*/ 828675 h 4429294"/>
              <a:gd name="connsiteX64" fmla="*/ 516719 w 4501379"/>
              <a:gd name="connsiteY64" fmla="*/ 800100 h 4429294"/>
              <a:gd name="connsiteX65" fmla="*/ 583394 w 4501379"/>
              <a:gd name="connsiteY65" fmla="*/ 733425 h 4429294"/>
              <a:gd name="connsiteX66" fmla="*/ 650069 w 4501379"/>
              <a:gd name="connsiteY66" fmla="*/ 676275 h 4429294"/>
              <a:gd name="connsiteX67" fmla="*/ 678644 w 4501379"/>
              <a:gd name="connsiteY67" fmla="*/ 657225 h 4429294"/>
              <a:gd name="connsiteX68" fmla="*/ 821519 w 4501379"/>
              <a:gd name="connsiteY68" fmla="*/ 533400 h 4429294"/>
              <a:gd name="connsiteX69" fmla="*/ 869144 w 4501379"/>
              <a:gd name="connsiteY69" fmla="*/ 504825 h 4429294"/>
              <a:gd name="connsiteX70" fmla="*/ 1148544 w 4501379"/>
              <a:gd name="connsiteY70" fmla="*/ 311150 h 4429294"/>
              <a:gd name="connsiteX71" fmla="*/ 1250144 w 4501379"/>
              <a:gd name="connsiteY71" fmla="*/ 285750 h 4429294"/>
              <a:gd name="connsiteX72" fmla="*/ 1393019 w 4501379"/>
              <a:gd name="connsiteY72" fmla="*/ 190500 h 4429294"/>
              <a:gd name="connsiteX73" fmla="*/ 1431119 w 4501379"/>
              <a:gd name="connsiteY73" fmla="*/ 161925 h 4429294"/>
              <a:gd name="connsiteX74" fmla="*/ 1507319 w 4501379"/>
              <a:gd name="connsiteY74" fmla="*/ 152400 h 4429294"/>
              <a:gd name="connsiteX75" fmla="*/ 1564469 w 4501379"/>
              <a:gd name="connsiteY75" fmla="*/ 142875 h 4429294"/>
              <a:gd name="connsiteX76" fmla="*/ 1697819 w 4501379"/>
              <a:gd name="connsiteY76" fmla="*/ 123825 h 4429294"/>
              <a:gd name="connsiteX77" fmla="*/ 1793069 w 4501379"/>
              <a:gd name="connsiteY77" fmla="*/ 114300 h 4429294"/>
              <a:gd name="connsiteX78" fmla="*/ 1840694 w 4501379"/>
              <a:gd name="connsiteY78" fmla="*/ 104775 h 4429294"/>
              <a:gd name="connsiteX79" fmla="*/ 1897844 w 4501379"/>
              <a:gd name="connsiteY79" fmla="*/ 95250 h 4429294"/>
              <a:gd name="connsiteX80" fmla="*/ 2012144 w 4501379"/>
              <a:gd name="connsiteY80" fmla="*/ 66675 h 4429294"/>
              <a:gd name="connsiteX81" fmla="*/ 2078819 w 4501379"/>
              <a:gd name="connsiteY81" fmla="*/ 47625 h 4429294"/>
              <a:gd name="connsiteX82" fmla="*/ 2145494 w 4501379"/>
              <a:gd name="connsiteY82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307544 w 4501379"/>
              <a:gd name="connsiteY5" fmla="*/ 266700 h 4429294"/>
              <a:gd name="connsiteX6" fmla="*/ 3402794 w 4501379"/>
              <a:gd name="connsiteY6" fmla="*/ 323850 h 4429294"/>
              <a:gd name="connsiteX7" fmla="*/ 3450419 w 4501379"/>
              <a:gd name="connsiteY7" fmla="*/ 361950 h 4429294"/>
              <a:gd name="connsiteX8" fmla="*/ 3498044 w 4501379"/>
              <a:gd name="connsiteY8" fmla="*/ 390525 h 4429294"/>
              <a:gd name="connsiteX9" fmla="*/ 3612344 w 4501379"/>
              <a:gd name="connsiteY9" fmla="*/ 485775 h 4429294"/>
              <a:gd name="connsiteX10" fmla="*/ 3726644 w 4501379"/>
              <a:gd name="connsiteY10" fmla="*/ 542925 h 4429294"/>
              <a:gd name="connsiteX11" fmla="*/ 3793319 w 4501379"/>
              <a:gd name="connsiteY11" fmla="*/ 581025 h 4429294"/>
              <a:gd name="connsiteX12" fmla="*/ 4009219 w 4501379"/>
              <a:gd name="connsiteY12" fmla="*/ 819150 h 4429294"/>
              <a:gd name="connsiteX13" fmla="*/ 4145744 w 4501379"/>
              <a:gd name="connsiteY13" fmla="*/ 990600 h 4429294"/>
              <a:gd name="connsiteX14" fmla="*/ 4231469 w 4501379"/>
              <a:gd name="connsiteY14" fmla="*/ 1143000 h 4429294"/>
              <a:gd name="connsiteX15" fmla="*/ 4288619 w 4501379"/>
              <a:gd name="connsiteY15" fmla="*/ 1266825 h 4429294"/>
              <a:gd name="connsiteX16" fmla="*/ 4326719 w 4501379"/>
              <a:gd name="connsiteY16" fmla="*/ 1362075 h 4429294"/>
              <a:gd name="connsiteX17" fmla="*/ 4374344 w 4501379"/>
              <a:gd name="connsiteY17" fmla="*/ 1552575 h 4429294"/>
              <a:gd name="connsiteX18" fmla="*/ 4412444 w 4501379"/>
              <a:gd name="connsiteY18" fmla="*/ 1685925 h 4429294"/>
              <a:gd name="connsiteX19" fmla="*/ 4501344 w 4501379"/>
              <a:gd name="connsiteY19" fmla="*/ 2181225 h 4429294"/>
              <a:gd name="connsiteX20" fmla="*/ 4428319 w 4501379"/>
              <a:gd name="connsiteY20" fmla="*/ 2768600 h 4429294"/>
              <a:gd name="connsiteX21" fmla="*/ 4364819 w 4501379"/>
              <a:gd name="connsiteY21" fmla="*/ 2990850 h 4429294"/>
              <a:gd name="connsiteX22" fmla="*/ 4260044 w 4501379"/>
              <a:gd name="connsiteY22" fmla="*/ 3248025 h 4429294"/>
              <a:gd name="connsiteX23" fmla="*/ 4164794 w 4501379"/>
              <a:gd name="connsiteY23" fmla="*/ 3400425 h 4429294"/>
              <a:gd name="connsiteX24" fmla="*/ 4040969 w 4501379"/>
              <a:gd name="connsiteY24" fmla="*/ 3533775 h 4429294"/>
              <a:gd name="connsiteX25" fmla="*/ 3936194 w 4501379"/>
              <a:gd name="connsiteY25" fmla="*/ 3648075 h 4429294"/>
              <a:gd name="connsiteX26" fmla="*/ 3640919 w 4501379"/>
              <a:gd name="connsiteY26" fmla="*/ 3971925 h 4429294"/>
              <a:gd name="connsiteX27" fmla="*/ 3498044 w 4501379"/>
              <a:gd name="connsiteY27" fmla="*/ 4083050 h 4429294"/>
              <a:gd name="connsiteX28" fmla="*/ 3202769 w 4501379"/>
              <a:gd name="connsiteY28" fmla="*/ 4222750 h 4429294"/>
              <a:gd name="connsiteX29" fmla="*/ 3050369 w 4501379"/>
              <a:gd name="connsiteY29" fmla="*/ 4286250 h 4429294"/>
              <a:gd name="connsiteX30" fmla="*/ 2917019 w 4501379"/>
              <a:gd name="connsiteY30" fmla="*/ 4333875 h 4429294"/>
              <a:gd name="connsiteX31" fmla="*/ 2793194 w 4501379"/>
              <a:gd name="connsiteY31" fmla="*/ 4371975 h 4429294"/>
              <a:gd name="connsiteX32" fmla="*/ 2561419 w 4501379"/>
              <a:gd name="connsiteY32" fmla="*/ 4391025 h 4429294"/>
              <a:gd name="connsiteX33" fmla="*/ 2107394 w 4501379"/>
              <a:gd name="connsiteY33" fmla="*/ 4429125 h 4429294"/>
              <a:gd name="connsiteX34" fmla="*/ 1916894 w 4501379"/>
              <a:gd name="connsiteY34" fmla="*/ 4400550 h 4429294"/>
              <a:gd name="connsiteX35" fmla="*/ 1554944 w 4501379"/>
              <a:gd name="connsiteY35" fmla="*/ 4305300 h 4429294"/>
              <a:gd name="connsiteX36" fmla="*/ 1313644 w 4501379"/>
              <a:gd name="connsiteY36" fmla="*/ 4216400 h 4429294"/>
              <a:gd name="connsiteX37" fmla="*/ 1145369 w 4501379"/>
              <a:gd name="connsiteY37" fmla="*/ 4111625 h 4429294"/>
              <a:gd name="connsiteX38" fmla="*/ 926294 w 4501379"/>
              <a:gd name="connsiteY38" fmla="*/ 3968750 h 4429294"/>
              <a:gd name="connsiteX39" fmla="*/ 592919 w 4501379"/>
              <a:gd name="connsiteY39" fmla="*/ 3657600 h 4429294"/>
              <a:gd name="connsiteX40" fmla="*/ 446869 w 4501379"/>
              <a:gd name="connsiteY40" fmla="*/ 3470275 h 4429294"/>
              <a:gd name="connsiteX41" fmla="*/ 316694 w 4501379"/>
              <a:gd name="connsiteY41" fmla="*/ 3244850 h 4429294"/>
              <a:gd name="connsiteX42" fmla="*/ 164294 w 4501379"/>
              <a:gd name="connsiteY42" fmla="*/ 2892425 h 4429294"/>
              <a:gd name="connsiteX43" fmla="*/ 56344 w 4501379"/>
              <a:gd name="connsiteY43" fmla="*/ 2368550 h 4429294"/>
              <a:gd name="connsiteX44" fmla="*/ 2369 w 4501379"/>
              <a:gd name="connsiteY44" fmla="*/ 1905000 h 4429294"/>
              <a:gd name="connsiteX45" fmla="*/ 11894 w 4501379"/>
              <a:gd name="connsiteY45" fmla="*/ 1838325 h 4429294"/>
              <a:gd name="connsiteX46" fmla="*/ 30944 w 4501379"/>
              <a:gd name="connsiteY46" fmla="*/ 1781175 h 4429294"/>
              <a:gd name="connsiteX47" fmla="*/ 40469 w 4501379"/>
              <a:gd name="connsiteY47" fmla="*/ 1743075 h 4429294"/>
              <a:gd name="connsiteX48" fmla="*/ 59519 w 4501379"/>
              <a:gd name="connsiteY48" fmla="*/ 1685925 h 4429294"/>
              <a:gd name="connsiteX49" fmla="*/ 69044 w 4501379"/>
              <a:gd name="connsiteY49" fmla="*/ 1638300 h 4429294"/>
              <a:gd name="connsiteX50" fmla="*/ 88094 w 4501379"/>
              <a:gd name="connsiteY50" fmla="*/ 1590675 h 4429294"/>
              <a:gd name="connsiteX51" fmla="*/ 116669 w 4501379"/>
              <a:gd name="connsiteY51" fmla="*/ 1504950 h 4429294"/>
              <a:gd name="connsiteX52" fmla="*/ 135719 w 4501379"/>
              <a:gd name="connsiteY52" fmla="*/ 1419225 h 4429294"/>
              <a:gd name="connsiteX53" fmla="*/ 211919 w 4501379"/>
              <a:gd name="connsiteY53" fmla="*/ 1276350 h 4429294"/>
              <a:gd name="connsiteX54" fmla="*/ 221444 w 4501379"/>
              <a:gd name="connsiteY54" fmla="*/ 1247775 h 4429294"/>
              <a:gd name="connsiteX55" fmla="*/ 250019 w 4501379"/>
              <a:gd name="connsiteY55" fmla="*/ 1200150 h 4429294"/>
              <a:gd name="connsiteX56" fmla="*/ 269069 w 4501379"/>
              <a:gd name="connsiteY56" fmla="*/ 1152525 h 4429294"/>
              <a:gd name="connsiteX57" fmla="*/ 297644 w 4501379"/>
              <a:gd name="connsiteY57" fmla="*/ 1114425 h 4429294"/>
              <a:gd name="connsiteX58" fmla="*/ 345269 w 4501379"/>
              <a:gd name="connsiteY58" fmla="*/ 1038225 h 4429294"/>
              <a:gd name="connsiteX59" fmla="*/ 364319 w 4501379"/>
              <a:gd name="connsiteY59" fmla="*/ 1009650 h 4429294"/>
              <a:gd name="connsiteX60" fmla="*/ 421469 w 4501379"/>
              <a:gd name="connsiteY60" fmla="*/ 904875 h 4429294"/>
              <a:gd name="connsiteX61" fmla="*/ 459569 w 4501379"/>
              <a:gd name="connsiteY61" fmla="*/ 857250 h 4429294"/>
              <a:gd name="connsiteX62" fmla="*/ 478619 w 4501379"/>
              <a:gd name="connsiteY62" fmla="*/ 828675 h 4429294"/>
              <a:gd name="connsiteX63" fmla="*/ 516719 w 4501379"/>
              <a:gd name="connsiteY63" fmla="*/ 800100 h 4429294"/>
              <a:gd name="connsiteX64" fmla="*/ 583394 w 4501379"/>
              <a:gd name="connsiteY64" fmla="*/ 733425 h 4429294"/>
              <a:gd name="connsiteX65" fmla="*/ 650069 w 4501379"/>
              <a:gd name="connsiteY65" fmla="*/ 676275 h 4429294"/>
              <a:gd name="connsiteX66" fmla="*/ 678644 w 4501379"/>
              <a:gd name="connsiteY66" fmla="*/ 657225 h 4429294"/>
              <a:gd name="connsiteX67" fmla="*/ 821519 w 4501379"/>
              <a:gd name="connsiteY67" fmla="*/ 533400 h 4429294"/>
              <a:gd name="connsiteX68" fmla="*/ 869144 w 4501379"/>
              <a:gd name="connsiteY68" fmla="*/ 504825 h 4429294"/>
              <a:gd name="connsiteX69" fmla="*/ 1148544 w 4501379"/>
              <a:gd name="connsiteY69" fmla="*/ 311150 h 4429294"/>
              <a:gd name="connsiteX70" fmla="*/ 1250144 w 4501379"/>
              <a:gd name="connsiteY70" fmla="*/ 285750 h 4429294"/>
              <a:gd name="connsiteX71" fmla="*/ 1393019 w 4501379"/>
              <a:gd name="connsiteY71" fmla="*/ 190500 h 4429294"/>
              <a:gd name="connsiteX72" fmla="*/ 1431119 w 4501379"/>
              <a:gd name="connsiteY72" fmla="*/ 161925 h 4429294"/>
              <a:gd name="connsiteX73" fmla="*/ 1507319 w 4501379"/>
              <a:gd name="connsiteY73" fmla="*/ 152400 h 4429294"/>
              <a:gd name="connsiteX74" fmla="*/ 1564469 w 4501379"/>
              <a:gd name="connsiteY74" fmla="*/ 142875 h 4429294"/>
              <a:gd name="connsiteX75" fmla="*/ 1697819 w 4501379"/>
              <a:gd name="connsiteY75" fmla="*/ 123825 h 4429294"/>
              <a:gd name="connsiteX76" fmla="*/ 1793069 w 4501379"/>
              <a:gd name="connsiteY76" fmla="*/ 114300 h 4429294"/>
              <a:gd name="connsiteX77" fmla="*/ 1840694 w 4501379"/>
              <a:gd name="connsiteY77" fmla="*/ 104775 h 4429294"/>
              <a:gd name="connsiteX78" fmla="*/ 1897844 w 4501379"/>
              <a:gd name="connsiteY78" fmla="*/ 95250 h 4429294"/>
              <a:gd name="connsiteX79" fmla="*/ 2012144 w 4501379"/>
              <a:gd name="connsiteY79" fmla="*/ 66675 h 4429294"/>
              <a:gd name="connsiteX80" fmla="*/ 2078819 w 4501379"/>
              <a:gd name="connsiteY80" fmla="*/ 47625 h 4429294"/>
              <a:gd name="connsiteX81" fmla="*/ 2145494 w 4501379"/>
              <a:gd name="connsiteY81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450419 w 4501379"/>
              <a:gd name="connsiteY6" fmla="*/ 361950 h 4429294"/>
              <a:gd name="connsiteX7" fmla="*/ 3498044 w 4501379"/>
              <a:gd name="connsiteY7" fmla="*/ 390525 h 4429294"/>
              <a:gd name="connsiteX8" fmla="*/ 3612344 w 4501379"/>
              <a:gd name="connsiteY8" fmla="*/ 485775 h 4429294"/>
              <a:gd name="connsiteX9" fmla="*/ 3726644 w 4501379"/>
              <a:gd name="connsiteY9" fmla="*/ 542925 h 4429294"/>
              <a:gd name="connsiteX10" fmla="*/ 3793319 w 4501379"/>
              <a:gd name="connsiteY10" fmla="*/ 581025 h 4429294"/>
              <a:gd name="connsiteX11" fmla="*/ 4009219 w 4501379"/>
              <a:gd name="connsiteY11" fmla="*/ 819150 h 4429294"/>
              <a:gd name="connsiteX12" fmla="*/ 4145744 w 4501379"/>
              <a:gd name="connsiteY12" fmla="*/ 990600 h 4429294"/>
              <a:gd name="connsiteX13" fmla="*/ 4231469 w 4501379"/>
              <a:gd name="connsiteY13" fmla="*/ 1143000 h 4429294"/>
              <a:gd name="connsiteX14" fmla="*/ 4288619 w 4501379"/>
              <a:gd name="connsiteY14" fmla="*/ 1266825 h 4429294"/>
              <a:gd name="connsiteX15" fmla="*/ 4326719 w 4501379"/>
              <a:gd name="connsiteY15" fmla="*/ 1362075 h 4429294"/>
              <a:gd name="connsiteX16" fmla="*/ 4374344 w 4501379"/>
              <a:gd name="connsiteY16" fmla="*/ 1552575 h 4429294"/>
              <a:gd name="connsiteX17" fmla="*/ 4412444 w 4501379"/>
              <a:gd name="connsiteY17" fmla="*/ 1685925 h 4429294"/>
              <a:gd name="connsiteX18" fmla="*/ 4501344 w 4501379"/>
              <a:gd name="connsiteY18" fmla="*/ 2181225 h 4429294"/>
              <a:gd name="connsiteX19" fmla="*/ 4428319 w 4501379"/>
              <a:gd name="connsiteY19" fmla="*/ 2768600 h 4429294"/>
              <a:gd name="connsiteX20" fmla="*/ 4364819 w 4501379"/>
              <a:gd name="connsiteY20" fmla="*/ 2990850 h 4429294"/>
              <a:gd name="connsiteX21" fmla="*/ 4260044 w 4501379"/>
              <a:gd name="connsiteY21" fmla="*/ 3248025 h 4429294"/>
              <a:gd name="connsiteX22" fmla="*/ 4164794 w 4501379"/>
              <a:gd name="connsiteY22" fmla="*/ 3400425 h 4429294"/>
              <a:gd name="connsiteX23" fmla="*/ 4040969 w 4501379"/>
              <a:gd name="connsiteY23" fmla="*/ 3533775 h 4429294"/>
              <a:gd name="connsiteX24" fmla="*/ 3936194 w 4501379"/>
              <a:gd name="connsiteY24" fmla="*/ 3648075 h 4429294"/>
              <a:gd name="connsiteX25" fmla="*/ 3640919 w 4501379"/>
              <a:gd name="connsiteY25" fmla="*/ 3971925 h 4429294"/>
              <a:gd name="connsiteX26" fmla="*/ 3498044 w 4501379"/>
              <a:gd name="connsiteY26" fmla="*/ 4083050 h 4429294"/>
              <a:gd name="connsiteX27" fmla="*/ 3202769 w 4501379"/>
              <a:gd name="connsiteY27" fmla="*/ 4222750 h 4429294"/>
              <a:gd name="connsiteX28" fmla="*/ 3050369 w 4501379"/>
              <a:gd name="connsiteY28" fmla="*/ 4286250 h 4429294"/>
              <a:gd name="connsiteX29" fmla="*/ 2917019 w 4501379"/>
              <a:gd name="connsiteY29" fmla="*/ 4333875 h 4429294"/>
              <a:gd name="connsiteX30" fmla="*/ 2793194 w 4501379"/>
              <a:gd name="connsiteY30" fmla="*/ 4371975 h 4429294"/>
              <a:gd name="connsiteX31" fmla="*/ 2561419 w 4501379"/>
              <a:gd name="connsiteY31" fmla="*/ 4391025 h 4429294"/>
              <a:gd name="connsiteX32" fmla="*/ 2107394 w 4501379"/>
              <a:gd name="connsiteY32" fmla="*/ 4429125 h 4429294"/>
              <a:gd name="connsiteX33" fmla="*/ 1916894 w 4501379"/>
              <a:gd name="connsiteY33" fmla="*/ 4400550 h 4429294"/>
              <a:gd name="connsiteX34" fmla="*/ 1554944 w 4501379"/>
              <a:gd name="connsiteY34" fmla="*/ 4305300 h 4429294"/>
              <a:gd name="connsiteX35" fmla="*/ 1313644 w 4501379"/>
              <a:gd name="connsiteY35" fmla="*/ 4216400 h 4429294"/>
              <a:gd name="connsiteX36" fmla="*/ 1145369 w 4501379"/>
              <a:gd name="connsiteY36" fmla="*/ 4111625 h 4429294"/>
              <a:gd name="connsiteX37" fmla="*/ 926294 w 4501379"/>
              <a:gd name="connsiteY37" fmla="*/ 3968750 h 4429294"/>
              <a:gd name="connsiteX38" fmla="*/ 592919 w 4501379"/>
              <a:gd name="connsiteY38" fmla="*/ 3657600 h 4429294"/>
              <a:gd name="connsiteX39" fmla="*/ 446869 w 4501379"/>
              <a:gd name="connsiteY39" fmla="*/ 3470275 h 4429294"/>
              <a:gd name="connsiteX40" fmla="*/ 316694 w 4501379"/>
              <a:gd name="connsiteY40" fmla="*/ 3244850 h 4429294"/>
              <a:gd name="connsiteX41" fmla="*/ 164294 w 4501379"/>
              <a:gd name="connsiteY41" fmla="*/ 2892425 h 4429294"/>
              <a:gd name="connsiteX42" fmla="*/ 56344 w 4501379"/>
              <a:gd name="connsiteY42" fmla="*/ 2368550 h 4429294"/>
              <a:gd name="connsiteX43" fmla="*/ 2369 w 4501379"/>
              <a:gd name="connsiteY43" fmla="*/ 1905000 h 4429294"/>
              <a:gd name="connsiteX44" fmla="*/ 11894 w 4501379"/>
              <a:gd name="connsiteY44" fmla="*/ 1838325 h 4429294"/>
              <a:gd name="connsiteX45" fmla="*/ 30944 w 4501379"/>
              <a:gd name="connsiteY45" fmla="*/ 1781175 h 4429294"/>
              <a:gd name="connsiteX46" fmla="*/ 40469 w 4501379"/>
              <a:gd name="connsiteY46" fmla="*/ 1743075 h 4429294"/>
              <a:gd name="connsiteX47" fmla="*/ 59519 w 4501379"/>
              <a:gd name="connsiteY47" fmla="*/ 1685925 h 4429294"/>
              <a:gd name="connsiteX48" fmla="*/ 69044 w 4501379"/>
              <a:gd name="connsiteY48" fmla="*/ 1638300 h 4429294"/>
              <a:gd name="connsiteX49" fmla="*/ 88094 w 4501379"/>
              <a:gd name="connsiteY49" fmla="*/ 1590675 h 4429294"/>
              <a:gd name="connsiteX50" fmla="*/ 116669 w 4501379"/>
              <a:gd name="connsiteY50" fmla="*/ 1504950 h 4429294"/>
              <a:gd name="connsiteX51" fmla="*/ 135719 w 4501379"/>
              <a:gd name="connsiteY51" fmla="*/ 1419225 h 4429294"/>
              <a:gd name="connsiteX52" fmla="*/ 211919 w 4501379"/>
              <a:gd name="connsiteY52" fmla="*/ 1276350 h 4429294"/>
              <a:gd name="connsiteX53" fmla="*/ 221444 w 4501379"/>
              <a:gd name="connsiteY53" fmla="*/ 1247775 h 4429294"/>
              <a:gd name="connsiteX54" fmla="*/ 250019 w 4501379"/>
              <a:gd name="connsiteY54" fmla="*/ 1200150 h 4429294"/>
              <a:gd name="connsiteX55" fmla="*/ 269069 w 4501379"/>
              <a:gd name="connsiteY55" fmla="*/ 1152525 h 4429294"/>
              <a:gd name="connsiteX56" fmla="*/ 297644 w 4501379"/>
              <a:gd name="connsiteY56" fmla="*/ 1114425 h 4429294"/>
              <a:gd name="connsiteX57" fmla="*/ 345269 w 4501379"/>
              <a:gd name="connsiteY57" fmla="*/ 1038225 h 4429294"/>
              <a:gd name="connsiteX58" fmla="*/ 364319 w 4501379"/>
              <a:gd name="connsiteY58" fmla="*/ 1009650 h 4429294"/>
              <a:gd name="connsiteX59" fmla="*/ 421469 w 4501379"/>
              <a:gd name="connsiteY59" fmla="*/ 904875 h 4429294"/>
              <a:gd name="connsiteX60" fmla="*/ 459569 w 4501379"/>
              <a:gd name="connsiteY60" fmla="*/ 857250 h 4429294"/>
              <a:gd name="connsiteX61" fmla="*/ 478619 w 4501379"/>
              <a:gd name="connsiteY61" fmla="*/ 828675 h 4429294"/>
              <a:gd name="connsiteX62" fmla="*/ 516719 w 4501379"/>
              <a:gd name="connsiteY62" fmla="*/ 800100 h 4429294"/>
              <a:gd name="connsiteX63" fmla="*/ 583394 w 4501379"/>
              <a:gd name="connsiteY63" fmla="*/ 733425 h 4429294"/>
              <a:gd name="connsiteX64" fmla="*/ 650069 w 4501379"/>
              <a:gd name="connsiteY64" fmla="*/ 676275 h 4429294"/>
              <a:gd name="connsiteX65" fmla="*/ 678644 w 4501379"/>
              <a:gd name="connsiteY65" fmla="*/ 657225 h 4429294"/>
              <a:gd name="connsiteX66" fmla="*/ 821519 w 4501379"/>
              <a:gd name="connsiteY66" fmla="*/ 533400 h 4429294"/>
              <a:gd name="connsiteX67" fmla="*/ 869144 w 4501379"/>
              <a:gd name="connsiteY67" fmla="*/ 504825 h 4429294"/>
              <a:gd name="connsiteX68" fmla="*/ 1148544 w 4501379"/>
              <a:gd name="connsiteY68" fmla="*/ 311150 h 4429294"/>
              <a:gd name="connsiteX69" fmla="*/ 1250144 w 4501379"/>
              <a:gd name="connsiteY69" fmla="*/ 285750 h 4429294"/>
              <a:gd name="connsiteX70" fmla="*/ 1393019 w 4501379"/>
              <a:gd name="connsiteY70" fmla="*/ 190500 h 4429294"/>
              <a:gd name="connsiteX71" fmla="*/ 1431119 w 4501379"/>
              <a:gd name="connsiteY71" fmla="*/ 161925 h 4429294"/>
              <a:gd name="connsiteX72" fmla="*/ 1507319 w 4501379"/>
              <a:gd name="connsiteY72" fmla="*/ 152400 h 4429294"/>
              <a:gd name="connsiteX73" fmla="*/ 1564469 w 4501379"/>
              <a:gd name="connsiteY73" fmla="*/ 142875 h 4429294"/>
              <a:gd name="connsiteX74" fmla="*/ 1697819 w 4501379"/>
              <a:gd name="connsiteY74" fmla="*/ 123825 h 4429294"/>
              <a:gd name="connsiteX75" fmla="*/ 1793069 w 4501379"/>
              <a:gd name="connsiteY75" fmla="*/ 114300 h 4429294"/>
              <a:gd name="connsiteX76" fmla="*/ 1840694 w 4501379"/>
              <a:gd name="connsiteY76" fmla="*/ 104775 h 4429294"/>
              <a:gd name="connsiteX77" fmla="*/ 1897844 w 4501379"/>
              <a:gd name="connsiteY77" fmla="*/ 95250 h 4429294"/>
              <a:gd name="connsiteX78" fmla="*/ 2012144 w 4501379"/>
              <a:gd name="connsiteY78" fmla="*/ 66675 h 4429294"/>
              <a:gd name="connsiteX79" fmla="*/ 2078819 w 4501379"/>
              <a:gd name="connsiteY79" fmla="*/ 47625 h 4429294"/>
              <a:gd name="connsiteX80" fmla="*/ 2145494 w 4501379"/>
              <a:gd name="connsiteY80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450419 w 4501379"/>
              <a:gd name="connsiteY6" fmla="*/ 361950 h 4429294"/>
              <a:gd name="connsiteX7" fmla="*/ 3612344 w 4501379"/>
              <a:gd name="connsiteY7" fmla="*/ 485775 h 4429294"/>
              <a:gd name="connsiteX8" fmla="*/ 3726644 w 4501379"/>
              <a:gd name="connsiteY8" fmla="*/ 542925 h 4429294"/>
              <a:gd name="connsiteX9" fmla="*/ 3793319 w 4501379"/>
              <a:gd name="connsiteY9" fmla="*/ 581025 h 4429294"/>
              <a:gd name="connsiteX10" fmla="*/ 4009219 w 4501379"/>
              <a:gd name="connsiteY10" fmla="*/ 819150 h 4429294"/>
              <a:gd name="connsiteX11" fmla="*/ 4145744 w 4501379"/>
              <a:gd name="connsiteY11" fmla="*/ 990600 h 4429294"/>
              <a:gd name="connsiteX12" fmla="*/ 4231469 w 4501379"/>
              <a:gd name="connsiteY12" fmla="*/ 1143000 h 4429294"/>
              <a:gd name="connsiteX13" fmla="*/ 4288619 w 4501379"/>
              <a:gd name="connsiteY13" fmla="*/ 1266825 h 4429294"/>
              <a:gd name="connsiteX14" fmla="*/ 4326719 w 4501379"/>
              <a:gd name="connsiteY14" fmla="*/ 1362075 h 4429294"/>
              <a:gd name="connsiteX15" fmla="*/ 4374344 w 4501379"/>
              <a:gd name="connsiteY15" fmla="*/ 1552575 h 4429294"/>
              <a:gd name="connsiteX16" fmla="*/ 4412444 w 4501379"/>
              <a:gd name="connsiteY16" fmla="*/ 1685925 h 4429294"/>
              <a:gd name="connsiteX17" fmla="*/ 4501344 w 4501379"/>
              <a:gd name="connsiteY17" fmla="*/ 2181225 h 4429294"/>
              <a:gd name="connsiteX18" fmla="*/ 4428319 w 4501379"/>
              <a:gd name="connsiteY18" fmla="*/ 2768600 h 4429294"/>
              <a:gd name="connsiteX19" fmla="*/ 4364819 w 4501379"/>
              <a:gd name="connsiteY19" fmla="*/ 2990850 h 4429294"/>
              <a:gd name="connsiteX20" fmla="*/ 4260044 w 4501379"/>
              <a:gd name="connsiteY20" fmla="*/ 3248025 h 4429294"/>
              <a:gd name="connsiteX21" fmla="*/ 4164794 w 4501379"/>
              <a:gd name="connsiteY21" fmla="*/ 3400425 h 4429294"/>
              <a:gd name="connsiteX22" fmla="*/ 4040969 w 4501379"/>
              <a:gd name="connsiteY22" fmla="*/ 3533775 h 4429294"/>
              <a:gd name="connsiteX23" fmla="*/ 3936194 w 4501379"/>
              <a:gd name="connsiteY23" fmla="*/ 3648075 h 4429294"/>
              <a:gd name="connsiteX24" fmla="*/ 3640919 w 4501379"/>
              <a:gd name="connsiteY24" fmla="*/ 3971925 h 4429294"/>
              <a:gd name="connsiteX25" fmla="*/ 3498044 w 4501379"/>
              <a:gd name="connsiteY25" fmla="*/ 4083050 h 4429294"/>
              <a:gd name="connsiteX26" fmla="*/ 3202769 w 4501379"/>
              <a:gd name="connsiteY26" fmla="*/ 4222750 h 4429294"/>
              <a:gd name="connsiteX27" fmla="*/ 3050369 w 4501379"/>
              <a:gd name="connsiteY27" fmla="*/ 4286250 h 4429294"/>
              <a:gd name="connsiteX28" fmla="*/ 2917019 w 4501379"/>
              <a:gd name="connsiteY28" fmla="*/ 4333875 h 4429294"/>
              <a:gd name="connsiteX29" fmla="*/ 2793194 w 4501379"/>
              <a:gd name="connsiteY29" fmla="*/ 4371975 h 4429294"/>
              <a:gd name="connsiteX30" fmla="*/ 2561419 w 4501379"/>
              <a:gd name="connsiteY30" fmla="*/ 4391025 h 4429294"/>
              <a:gd name="connsiteX31" fmla="*/ 2107394 w 4501379"/>
              <a:gd name="connsiteY31" fmla="*/ 4429125 h 4429294"/>
              <a:gd name="connsiteX32" fmla="*/ 1916894 w 4501379"/>
              <a:gd name="connsiteY32" fmla="*/ 4400550 h 4429294"/>
              <a:gd name="connsiteX33" fmla="*/ 1554944 w 4501379"/>
              <a:gd name="connsiteY33" fmla="*/ 4305300 h 4429294"/>
              <a:gd name="connsiteX34" fmla="*/ 1313644 w 4501379"/>
              <a:gd name="connsiteY34" fmla="*/ 4216400 h 4429294"/>
              <a:gd name="connsiteX35" fmla="*/ 1145369 w 4501379"/>
              <a:gd name="connsiteY35" fmla="*/ 4111625 h 4429294"/>
              <a:gd name="connsiteX36" fmla="*/ 926294 w 4501379"/>
              <a:gd name="connsiteY36" fmla="*/ 3968750 h 4429294"/>
              <a:gd name="connsiteX37" fmla="*/ 592919 w 4501379"/>
              <a:gd name="connsiteY37" fmla="*/ 3657600 h 4429294"/>
              <a:gd name="connsiteX38" fmla="*/ 446869 w 4501379"/>
              <a:gd name="connsiteY38" fmla="*/ 3470275 h 4429294"/>
              <a:gd name="connsiteX39" fmla="*/ 316694 w 4501379"/>
              <a:gd name="connsiteY39" fmla="*/ 3244850 h 4429294"/>
              <a:gd name="connsiteX40" fmla="*/ 164294 w 4501379"/>
              <a:gd name="connsiteY40" fmla="*/ 2892425 h 4429294"/>
              <a:gd name="connsiteX41" fmla="*/ 56344 w 4501379"/>
              <a:gd name="connsiteY41" fmla="*/ 2368550 h 4429294"/>
              <a:gd name="connsiteX42" fmla="*/ 2369 w 4501379"/>
              <a:gd name="connsiteY42" fmla="*/ 1905000 h 4429294"/>
              <a:gd name="connsiteX43" fmla="*/ 11894 w 4501379"/>
              <a:gd name="connsiteY43" fmla="*/ 1838325 h 4429294"/>
              <a:gd name="connsiteX44" fmla="*/ 30944 w 4501379"/>
              <a:gd name="connsiteY44" fmla="*/ 1781175 h 4429294"/>
              <a:gd name="connsiteX45" fmla="*/ 40469 w 4501379"/>
              <a:gd name="connsiteY45" fmla="*/ 1743075 h 4429294"/>
              <a:gd name="connsiteX46" fmla="*/ 59519 w 4501379"/>
              <a:gd name="connsiteY46" fmla="*/ 1685925 h 4429294"/>
              <a:gd name="connsiteX47" fmla="*/ 69044 w 4501379"/>
              <a:gd name="connsiteY47" fmla="*/ 1638300 h 4429294"/>
              <a:gd name="connsiteX48" fmla="*/ 88094 w 4501379"/>
              <a:gd name="connsiteY48" fmla="*/ 1590675 h 4429294"/>
              <a:gd name="connsiteX49" fmla="*/ 116669 w 4501379"/>
              <a:gd name="connsiteY49" fmla="*/ 1504950 h 4429294"/>
              <a:gd name="connsiteX50" fmla="*/ 135719 w 4501379"/>
              <a:gd name="connsiteY50" fmla="*/ 1419225 h 4429294"/>
              <a:gd name="connsiteX51" fmla="*/ 211919 w 4501379"/>
              <a:gd name="connsiteY51" fmla="*/ 1276350 h 4429294"/>
              <a:gd name="connsiteX52" fmla="*/ 221444 w 4501379"/>
              <a:gd name="connsiteY52" fmla="*/ 1247775 h 4429294"/>
              <a:gd name="connsiteX53" fmla="*/ 250019 w 4501379"/>
              <a:gd name="connsiteY53" fmla="*/ 1200150 h 4429294"/>
              <a:gd name="connsiteX54" fmla="*/ 269069 w 4501379"/>
              <a:gd name="connsiteY54" fmla="*/ 1152525 h 4429294"/>
              <a:gd name="connsiteX55" fmla="*/ 297644 w 4501379"/>
              <a:gd name="connsiteY55" fmla="*/ 1114425 h 4429294"/>
              <a:gd name="connsiteX56" fmla="*/ 345269 w 4501379"/>
              <a:gd name="connsiteY56" fmla="*/ 1038225 h 4429294"/>
              <a:gd name="connsiteX57" fmla="*/ 364319 w 4501379"/>
              <a:gd name="connsiteY57" fmla="*/ 1009650 h 4429294"/>
              <a:gd name="connsiteX58" fmla="*/ 421469 w 4501379"/>
              <a:gd name="connsiteY58" fmla="*/ 904875 h 4429294"/>
              <a:gd name="connsiteX59" fmla="*/ 459569 w 4501379"/>
              <a:gd name="connsiteY59" fmla="*/ 857250 h 4429294"/>
              <a:gd name="connsiteX60" fmla="*/ 478619 w 4501379"/>
              <a:gd name="connsiteY60" fmla="*/ 828675 h 4429294"/>
              <a:gd name="connsiteX61" fmla="*/ 516719 w 4501379"/>
              <a:gd name="connsiteY61" fmla="*/ 800100 h 4429294"/>
              <a:gd name="connsiteX62" fmla="*/ 583394 w 4501379"/>
              <a:gd name="connsiteY62" fmla="*/ 733425 h 4429294"/>
              <a:gd name="connsiteX63" fmla="*/ 650069 w 4501379"/>
              <a:gd name="connsiteY63" fmla="*/ 676275 h 4429294"/>
              <a:gd name="connsiteX64" fmla="*/ 678644 w 4501379"/>
              <a:gd name="connsiteY64" fmla="*/ 657225 h 4429294"/>
              <a:gd name="connsiteX65" fmla="*/ 821519 w 4501379"/>
              <a:gd name="connsiteY65" fmla="*/ 533400 h 4429294"/>
              <a:gd name="connsiteX66" fmla="*/ 869144 w 4501379"/>
              <a:gd name="connsiteY66" fmla="*/ 504825 h 4429294"/>
              <a:gd name="connsiteX67" fmla="*/ 1148544 w 4501379"/>
              <a:gd name="connsiteY67" fmla="*/ 311150 h 4429294"/>
              <a:gd name="connsiteX68" fmla="*/ 1250144 w 4501379"/>
              <a:gd name="connsiteY68" fmla="*/ 285750 h 4429294"/>
              <a:gd name="connsiteX69" fmla="*/ 1393019 w 4501379"/>
              <a:gd name="connsiteY69" fmla="*/ 190500 h 4429294"/>
              <a:gd name="connsiteX70" fmla="*/ 1431119 w 4501379"/>
              <a:gd name="connsiteY70" fmla="*/ 161925 h 4429294"/>
              <a:gd name="connsiteX71" fmla="*/ 1507319 w 4501379"/>
              <a:gd name="connsiteY71" fmla="*/ 152400 h 4429294"/>
              <a:gd name="connsiteX72" fmla="*/ 1564469 w 4501379"/>
              <a:gd name="connsiteY72" fmla="*/ 142875 h 4429294"/>
              <a:gd name="connsiteX73" fmla="*/ 1697819 w 4501379"/>
              <a:gd name="connsiteY73" fmla="*/ 123825 h 4429294"/>
              <a:gd name="connsiteX74" fmla="*/ 1793069 w 4501379"/>
              <a:gd name="connsiteY74" fmla="*/ 114300 h 4429294"/>
              <a:gd name="connsiteX75" fmla="*/ 1840694 w 4501379"/>
              <a:gd name="connsiteY75" fmla="*/ 104775 h 4429294"/>
              <a:gd name="connsiteX76" fmla="*/ 1897844 w 4501379"/>
              <a:gd name="connsiteY76" fmla="*/ 95250 h 4429294"/>
              <a:gd name="connsiteX77" fmla="*/ 2012144 w 4501379"/>
              <a:gd name="connsiteY77" fmla="*/ 66675 h 4429294"/>
              <a:gd name="connsiteX78" fmla="*/ 2078819 w 4501379"/>
              <a:gd name="connsiteY78" fmla="*/ 47625 h 4429294"/>
              <a:gd name="connsiteX79" fmla="*/ 2145494 w 4501379"/>
              <a:gd name="connsiteY79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612344 w 4501379"/>
              <a:gd name="connsiteY6" fmla="*/ 485775 h 4429294"/>
              <a:gd name="connsiteX7" fmla="*/ 3726644 w 4501379"/>
              <a:gd name="connsiteY7" fmla="*/ 542925 h 4429294"/>
              <a:gd name="connsiteX8" fmla="*/ 3793319 w 4501379"/>
              <a:gd name="connsiteY8" fmla="*/ 581025 h 4429294"/>
              <a:gd name="connsiteX9" fmla="*/ 4009219 w 4501379"/>
              <a:gd name="connsiteY9" fmla="*/ 819150 h 4429294"/>
              <a:gd name="connsiteX10" fmla="*/ 4145744 w 4501379"/>
              <a:gd name="connsiteY10" fmla="*/ 990600 h 4429294"/>
              <a:gd name="connsiteX11" fmla="*/ 4231469 w 4501379"/>
              <a:gd name="connsiteY11" fmla="*/ 1143000 h 4429294"/>
              <a:gd name="connsiteX12" fmla="*/ 4288619 w 4501379"/>
              <a:gd name="connsiteY12" fmla="*/ 1266825 h 4429294"/>
              <a:gd name="connsiteX13" fmla="*/ 4326719 w 4501379"/>
              <a:gd name="connsiteY13" fmla="*/ 1362075 h 4429294"/>
              <a:gd name="connsiteX14" fmla="*/ 4374344 w 4501379"/>
              <a:gd name="connsiteY14" fmla="*/ 1552575 h 4429294"/>
              <a:gd name="connsiteX15" fmla="*/ 4412444 w 4501379"/>
              <a:gd name="connsiteY15" fmla="*/ 1685925 h 4429294"/>
              <a:gd name="connsiteX16" fmla="*/ 4501344 w 4501379"/>
              <a:gd name="connsiteY16" fmla="*/ 2181225 h 4429294"/>
              <a:gd name="connsiteX17" fmla="*/ 4428319 w 4501379"/>
              <a:gd name="connsiteY17" fmla="*/ 2768600 h 4429294"/>
              <a:gd name="connsiteX18" fmla="*/ 4364819 w 4501379"/>
              <a:gd name="connsiteY18" fmla="*/ 2990850 h 4429294"/>
              <a:gd name="connsiteX19" fmla="*/ 4260044 w 4501379"/>
              <a:gd name="connsiteY19" fmla="*/ 3248025 h 4429294"/>
              <a:gd name="connsiteX20" fmla="*/ 4164794 w 4501379"/>
              <a:gd name="connsiteY20" fmla="*/ 3400425 h 4429294"/>
              <a:gd name="connsiteX21" fmla="*/ 4040969 w 4501379"/>
              <a:gd name="connsiteY21" fmla="*/ 3533775 h 4429294"/>
              <a:gd name="connsiteX22" fmla="*/ 3936194 w 4501379"/>
              <a:gd name="connsiteY22" fmla="*/ 3648075 h 4429294"/>
              <a:gd name="connsiteX23" fmla="*/ 3640919 w 4501379"/>
              <a:gd name="connsiteY23" fmla="*/ 3971925 h 4429294"/>
              <a:gd name="connsiteX24" fmla="*/ 3498044 w 4501379"/>
              <a:gd name="connsiteY24" fmla="*/ 4083050 h 4429294"/>
              <a:gd name="connsiteX25" fmla="*/ 3202769 w 4501379"/>
              <a:gd name="connsiteY25" fmla="*/ 4222750 h 4429294"/>
              <a:gd name="connsiteX26" fmla="*/ 3050369 w 4501379"/>
              <a:gd name="connsiteY26" fmla="*/ 4286250 h 4429294"/>
              <a:gd name="connsiteX27" fmla="*/ 2917019 w 4501379"/>
              <a:gd name="connsiteY27" fmla="*/ 4333875 h 4429294"/>
              <a:gd name="connsiteX28" fmla="*/ 2793194 w 4501379"/>
              <a:gd name="connsiteY28" fmla="*/ 4371975 h 4429294"/>
              <a:gd name="connsiteX29" fmla="*/ 2561419 w 4501379"/>
              <a:gd name="connsiteY29" fmla="*/ 4391025 h 4429294"/>
              <a:gd name="connsiteX30" fmla="*/ 2107394 w 4501379"/>
              <a:gd name="connsiteY30" fmla="*/ 4429125 h 4429294"/>
              <a:gd name="connsiteX31" fmla="*/ 1916894 w 4501379"/>
              <a:gd name="connsiteY31" fmla="*/ 4400550 h 4429294"/>
              <a:gd name="connsiteX32" fmla="*/ 1554944 w 4501379"/>
              <a:gd name="connsiteY32" fmla="*/ 4305300 h 4429294"/>
              <a:gd name="connsiteX33" fmla="*/ 1313644 w 4501379"/>
              <a:gd name="connsiteY33" fmla="*/ 4216400 h 4429294"/>
              <a:gd name="connsiteX34" fmla="*/ 1145369 w 4501379"/>
              <a:gd name="connsiteY34" fmla="*/ 4111625 h 4429294"/>
              <a:gd name="connsiteX35" fmla="*/ 926294 w 4501379"/>
              <a:gd name="connsiteY35" fmla="*/ 3968750 h 4429294"/>
              <a:gd name="connsiteX36" fmla="*/ 592919 w 4501379"/>
              <a:gd name="connsiteY36" fmla="*/ 3657600 h 4429294"/>
              <a:gd name="connsiteX37" fmla="*/ 446869 w 4501379"/>
              <a:gd name="connsiteY37" fmla="*/ 3470275 h 4429294"/>
              <a:gd name="connsiteX38" fmla="*/ 316694 w 4501379"/>
              <a:gd name="connsiteY38" fmla="*/ 3244850 h 4429294"/>
              <a:gd name="connsiteX39" fmla="*/ 164294 w 4501379"/>
              <a:gd name="connsiteY39" fmla="*/ 2892425 h 4429294"/>
              <a:gd name="connsiteX40" fmla="*/ 56344 w 4501379"/>
              <a:gd name="connsiteY40" fmla="*/ 2368550 h 4429294"/>
              <a:gd name="connsiteX41" fmla="*/ 2369 w 4501379"/>
              <a:gd name="connsiteY41" fmla="*/ 1905000 h 4429294"/>
              <a:gd name="connsiteX42" fmla="*/ 11894 w 4501379"/>
              <a:gd name="connsiteY42" fmla="*/ 1838325 h 4429294"/>
              <a:gd name="connsiteX43" fmla="*/ 30944 w 4501379"/>
              <a:gd name="connsiteY43" fmla="*/ 1781175 h 4429294"/>
              <a:gd name="connsiteX44" fmla="*/ 40469 w 4501379"/>
              <a:gd name="connsiteY44" fmla="*/ 1743075 h 4429294"/>
              <a:gd name="connsiteX45" fmla="*/ 59519 w 4501379"/>
              <a:gd name="connsiteY45" fmla="*/ 1685925 h 4429294"/>
              <a:gd name="connsiteX46" fmla="*/ 69044 w 4501379"/>
              <a:gd name="connsiteY46" fmla="*/ 1638300 h 4429294"/>
              <a:gd name="connsiteX47" fmla="*/ 88094 w 4501379"/>
              <a:gd name="connsiteY47" fmla="*/ 1590675 h 4429294"/>
              <a:gd name="connsiteX48" fmla="*/ 116669 w 4501379"/>
              <a:gd name="connsiteY48" fmla="*/ 1504950 h 4429294"/>
              <a:gd name="connsiteX49" fmla="*/ 135719 w 4501379"/>
              <a:gd name="connsiteY49" fmla="*/ 1419225 h 4429294"/>
              <a:gd name="connsiteX50" fmla="*/ 211919 w 4501379"/>
              <a:gd name="connsiteY50" fmla="*/ 1276350 h 4429294"/>
              <a:gd name="connsiteX51" fmla="*/ 221444 w 4501379"/>
              <a:gd name="connsiteY51" fmla="*/ 1247775 h 4429294"/>
              <a:gd name="connsiteX52" fmla="*/ 250019 w 4501379"/>
              <a:gd name="connsiteY52" fmla="*/ 1200150 h 4429294"/>
              <a:gd name="connsiteX53" fmla="*/ 269069 w 4501379"/>
              <a:gd name="connsiteY53" fmla="*/ 1152525 h 4429294"/>
              <a:gd name="connsiteX54" fmla="*/ 297644 w 4501379"/>
              <a:gd name="connsiteY54" fmla="*/ 1114425 h 4429294"/>
              <a:gd name="connsiteX55" fmla="*/ 345269 w 4501379"/>
              <a:gd name="connsiteY55" fmla="*/ 1038225 h 4429294"/>
              <a:gd name="connsiteX56" fmla="*/ 364319 w 4501379"/>
              <a:gd name="connsiteY56" fmla="*/ 1009650 h 4429294"/>
              <a:gd name="connsiteX57" fmla="*/ 421469 w 4501379"/>
              <a:gd name="connsiteY57" fmla="*/ 904875 h 4429294"/>
              <a:gd name="connsiteX58" fmla="*/ 459569 w 4501379"/>
              <a:gd name="connsiteY58" fmla="*/ 857250 h 4429294"/>
              <a:gd name="connsiteX59" fmla="*/ 478619 w 4501379"/>
              <a:gd name="connsiteY59" fmla="*/ 828675 h 4429294"/>
              <a:gd name="connsiteX60" fmla="*/ 516719 w 4501379"/>
              <a:gd name="connsiteY60" fmla="*/ 800100 h 4429294"/>
              <a:gd name="connsiteX61" fmla="*/ 583394 w 4501379"/>
              <a:gd name="connsiteY61" fmla="*/ 733425 h 4429294"/>
              <a:gd name="connsiteX62" fmla="*/ 650069 w 4501379"/>
              <a:gd name="connsiteY62" fmla="*/ 676275 h 4429294"/>
              <a:gd name="connsiteX63" fmla="*/ 678644 w 4501379"/>
              <a:gd name="connsiteY63" fmla="*/ 657225 h 4429294"/>
              <a:gd name="connsiteX64" fmla="*/ 821519 w 4501379"/>
              <a:gd name="connsiteY64" fmla="*/ 533400 h 4429294"/>
              <a:gd name="connsiteX65" fmla="*/ 869144 w 4501379"/>
              <a:gd name="connsiteY65" fmla="*/ 504825 h 4429294"/>
              <a:gd name="connsiteX66" fmla="*/ 1148544 w 4501379"/>
              <a:gd name="connsiteY66" fmla="*/ 311150 h 4429294"/>
              <a:gd name="connsiteX67" fmla="*/ 1250144 w 4501379"/>
              <a:gd name="connsiteY67" fmla="*/ 285750 h 4429294"/>
              <a:gd name="connsiteX68" fmla="*/ 1393019 w 4501379"/>
              <a:gd name="connsiteY68" fmla="*/ 190500 h 4429294"/>
              <a:gd name="connsiteX69" fmla="*/ 1431119 w 4501379"/>
              <a:gd name="connsiteY69" fmla="*/ 161925 h 4429294"/>
              <a:gd name="connsiteX70" fmla="*/ 1507319 w 4501379"/>
              <a:gd name="connsiteY70" fmla="*/ 152400 h 4429294"/>
              <a:gd name="connsiteX71" fmla="*/ 1564469 w 4501379"/>
              <a:gd name="connsiteY71" fmla="*/ 142875 h 4429294"/>
              <a:gd name="connsiteX72" fmla="*/ 1697819 w 4501379"/>
              <a:gd name="connsiteY72" fmla="*/ 123825 h 4429294"/>
              <a:gd name="connsiteX73" fmla="*/ 1793069 w 4501379"/>
              <a:gd name="connsiteY73" fmla="*/ 114300 h 4429294"/>
              <a:gd name="connsiteX74" fmla="*/ 1840694 w 4501379"/>
              <a:gd name="connsiteY74" fmla="*/ 104775 h 4429294"/>
              <a:gd name="connsiteX75" fmla="*/ 1897844 w 4501379"/>
              <a:gd name="connsiteY75" fmla="*/ 95250 h 4429294"/>
              <a:gd name="connsiteX76" fmla="*/ 2012144 w 4501379"/>
              <a:gd name="connsiteY76" fmla="*/ 66675 h 4429294"/>
              <a:gd name="connsiteX77" fmla="*/ 2078819 w 4501379"/>
              <a:gd name="connsiteY77" fmla="*/ 47625 h 4429294"/>
              <a:gd name="connsiteX78" fmla="*/ 2145494 w 4501379"/>
              <a:gd name="connsiteY7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612344 w 4501379"/>
              <a:gd name="connsiteY6" fmla="*/ 485775 h 4429294"/>
              <a:gd name="connsiteX7" fmla="*/ 3793319 w 4501379"/>
              <a:gd name="connsiteY7" fmla="*/ 581025 h 4429294"/>
              <a:gd name="connsiteX8" fmla="*/ 4009219 w 4501379"/>
              <a:gd name="connsiteY8" fmla="*/ 819150 h 4429294"/>
              <a:gd name="connsiteX9" fmla="*/ 4145744 w 4501379"/>
              <a:gd name="connsiteY9" fmla="*/ 990600 h 4429294"/>
              <a:gd name="connsiteX10" fmla="*/ 4231469 w 4501379"/>
              <a:gd name="connsiteY10" fmla="*/ 1143000 h 4429294"/>
              <a:gd name="connsiteX11" fmla="*/ 4288619 w 4501379"/>
              <a:gd name="connsiteY11" fmla="*/ 1266825 h 4429294"/>
              <a:gd name="connsiteX12" fmla="*/ 4326719 w 4501379"/>
              <a:gd name="connsiteY12" fmla="*/ 1362075 h 4429294"/>
              <a:gd name="connsiteX13" fmla="*/ 4374344 w 4501379"/>
              <a:gd name="connsiteY13" fmla="*/ 1552575 h 4429294"/>
              <a:gd name="connsiteX14" fmla="*/ 4412444 w 4501379"/>
              <a:gd name="connsiteY14" fmla="*/ 1685925 h 4429294"/>
              <a:gd name="connsiteX15" fmla="*/ 4501344 w 4501379"/>
              <a:gd name="connsiteY15" fmla="*/ 2181225 h 4429294"/>
              <a:gd name="connsiteX16" fmla="*/ 4428319 w 4501379"/>
              <a:gd name="connsiteY16" fmla="*/ 2768600 h 4429294"/>
              <a:gd name="connsiteX17" fmla="*/ 4364819 w 4501379"/>
              <a:gd name="connsiteY17" fmla="*/ 2990850 h 4429294"/>
              <a:gd name="connsiteX18" fmla="*/ 4260044 w 4501379"/>
              <a:gd name="connsiteY18" fmla="*/ 3248025 h 4429294"/>
              <a:gd name="connsiteX19" fmla="*/ 4164794 w 4501379"/>
              <a:gd name="connsiteY19" fmla="*/ 3400425 h 4429294"/>
              <a:gd name="connsiteX20" fmla="*/ 4040969 w 4501379"/>
              <a:gd name="connsiteY20" fmla="*/ 3533775 h 4429294"/>
              <a:gd name="connsiteX21" fmla="*/ 3936194 w 4501379"/>
              <a:gd name="connsiteY21" fmla="*/ 3648075 h 4429294"/>
              <a:gd name="connsiteX22" fmla="*/ 3640919 w 4501379"/>
              <a:gd name="connsiteY22" fmla="*/ 3971925 h 4429294"/>
              <a:gd name="connsiteX23" fmla="*/ 3498044 w 4501379"/>
              <a:gd name="connsiteY23" fmla="*/ 4083050 h 4429294"/>
              <a:gd name="connsiteX24" fmla="*/ 3202769 w 4501379"/>
              <a:gd name="connsiteY24" fmla="*/ 4222750 h 4429294"/>
              <a:gd name="connsiteX25" fmla="*/ 3050369 w 4501379"/>
              <a:gd name="connsiteY25" fmla="*/ 4286250 h 4429294"/>
              <a:gd name="connsiteX26" fmla="*/ 2917019 w 4501379"/>
              <a:gd name="connsiteY26" fmla="*/ 4333875 h 4429294"/>
              <a:gd name="connsiteX27" fmla="*/ 2793194 w 4501379"/>
              <a:gd name="connsiteY27" fmla="*/ 4371975 h 4429294"/>
              <a:gd name="connsiteX28" fmla="*/ 2561419 w 4501379"/>
              <a:gd name="connsiteY28" fmla="*/ 4391025 h 4429294"/>
              <a:gd name="connsiteX29" fmla="*/ 2107394 w 4501379"/>
              <a:gd name="connsiteY29" fmla="*/ 4429125 h 4429294"/>
              <a:gd name="connsiteX30" fmla="*/ 1916894 w 4501379"/>
              <a:gd name="connsiteY30" fmla="*/ 4400550 h 4429294"/>
              <a:gd name="connsiteX31" fmla="*/ 1554944 w 4501379"/>
              <a:gd name="connsiteY31" fmla="*/ 4305300 h 4429294"/>
              <a:gd name="connsiteX32" fmla="*/ 1313644 w 4501379"/>
              <a:gd name="connsiteY32" fmla="*/ 4216400 h 4429294"/>
              <a:gd name="connsiteX33" fmla="*/ 1145369 w 4501379"/>
              <a:gd name="connsiteY33" fmla="*/ 4111625 h 4429294"/>
              <a:gd name="connsiteX34" fmla="*/ 926294 w 4501379"/>
              <a:gd name="connsiteY34" fmla="*/ 3968750 h 4429294"/>
              <a:gd name="connsiteX35" fmla="*/ 592919 w 4501379"/>
              <a:gd name="connsiteY35" fmla="*/ 3657600 h 4429294"/>
              <a:gd name="connsiteX36" fmla="*/ 446869 w 4501379"/>
              <a:gd name="connsiteY36" fmla="*/ 3470275 h 4429294"/>
              <a:gd name="connsiteX37" fmla="*/ 316694 w 4501379"/>
              <a:gd name="connsiteY37" fmla="*/ 3244850 h 4429294"/>
              <a:gd name="connsiteX38" fmla="*/ 164294 w 4501379"/>
              <a:gd name="connsiteY38" fmla="*/ 2892425 h 4429294"/>
              <a:gd name="connsiteX39" fmla="*/ 56344 w 4501379"/>
              <a:gd name="connsiteY39" fmla="*/ 2368550 h 4429294"/>
              <a:gd name="connsiteX40" fmla="*/ 2369 w 4501379"/>
              <a:gd name="connsiteY40" fmla="*/ 1905000 h 4429294"/>
              <a:gd name="connsiteX41" fmla="*/ 11894 w 4501379"/>
              <a:gd name="connsiteY41" fmla="*/ 1838325 h 4429294"/>
              <a:gd name="connsiteX42" fmla="*/ 30944 w 4501379"/>
              <a:gd name="connsiteY42" fmla="*/ 1781175 h 4429294"/>
              <a:gd name="connsiteX43" fmla="*/ 40469 w 4501379"/>
              <a:gd name="connsiteY43" fmla="*/ 1743075 h 4429294"/>
              <a:gd name="connsiteX44" fmla="*/ 59519 w 4501379"/>
              <a:gd name="connsiteY44" fmla="*/ 1685925 h 4429294"/>
              <a:gd name="connsiteX45" fmla="*/ 69044 w 4501379"/>
              <a:gd name="connsiteY45" fmla="*/ 1638300 h 4429294"/>
              <a:gd name="connsiteX46" fmla="*/ 88094 w 4501379"/>
              <a:gd name="connsiteY46" fmla="*/ 1590675 h 4429294"/>
              <a:gd name="connsiteX47" fmla="*/ 116669 w 4501379"/>
              <a:gd name="connsiteY47" fmla="*/ 1504950 h 4429294"/>
              <a:gd name="connsiteX48" fmla="*/ 135719 w 4501379"/>
              <a:gd name="connsiteY48" fmla="*/ 1419225 h 4429294"/>
              <a:gd name="connsiteX49" fmla="*/ 211919 w 4501379"/>
              <a:gd name="connsiteY49" fmla="*/ 1276350 h 4429294"/>
              <a:gd name="connsiteX50" fmla="*/ 221444 w 4501379"/>
              <a:gd name="connsiteY50" fmla="*/ 1247775 h 4429294"/>
              <a:gd name="connsiteX51" fmla="*/ 250019 w 4501379"/>
              <a:gd name="connsiteY51" fmla="*/ 1200150 h 4429294"/>
              <a:gd name="connsiteX52" fmla="*/ 269069 w 4501379"/>
              <a:gd name="connsiteY52" fmla="*/ 1152525 h 4429294"/>
              <a:gd name="connsiteX53" fmla="*/ 297644 w 4501379"/>
              <a:gd name="connsiteY53" fmla="*/ 1114425 h 4429294"/>
              <a:gd name="connsiteX54" fmla="*/ 345269 w 4501379"/>
              <a:gd name="connsiteY54" fmla="*/ 1038225 h 4429294"/>
              <a:gd name="connsiteX55" fmla="*/ 364319 w 4501379"/>
              <a:gd name="connsiteY55" fmla="*/ 1009650 h 4429294"/>
              <a:gd name="connsiteX56" fmla="*/ 421469 w 4501379"/>
              <a:gd name="connsiteY56" fmla="*/ 904875 h 4429294"/>
              <a:gd name="connsiteX57" fmla="*/ 459569 w 4501379"/>
              <a:gd name="connsiteY57" fmla="*/ 857250 h 4429294"/>
              <a:gd name="connsiteX58" fmla="*/ 478619 w 4501379"/>
              <a:gd name="connsiteY58" fmla="*/ 828675 h 4429294"/>
              <a:gd name="connsiteX59" fmla="*/ 516719 w 4501379"/>
              <a:gd name="connsiteY59" fmla="*/ 800100 h 4429294"/>
              <a:gd name="connsiteX60" fmla="*/ 583394 w 4501379"/>
              <a:gd name="connsiteY60" fmla="*/ 733425 h 4429294"/>
              <a:gd name="connsiteX61" fmla="*/ 650069 w 4501379"/>
              <a:gd name="connsiteY61" fmla="*/ 676275 h 4429294"/>
              <a:gd name="connsiteX62" fmla="*/ 678644 w 4501379"/>
              <a:gd name="connsiteY62" fmla="*/ 657225 h 4429294"/>
              <a:gd name="connsiteX63" fmla="*/ 821519 w 4501379"/>
              <a:gd name="connsiteY63" fmla="*/ 533400 h 4429294"/>
              <a:gd name="connsiteX64" fmla="*/ 869144 w 4501379"/>
              <a:gd name="connsiteY64" fmla="*/ 504825 h 4429294"/>
              <a:gd name="connsiteX65" fmla="*/ 1148544 w 4501379"/>
              <a:gd name="connsiteY65" fmla="*/ 311150 h 4429294"/>
              <a:gd name="connsiteX66" fmla="*/ 1250144 w 4501379"/>
              <a:gd name="connsiteY66" fmla="*/ 285750 h 4429294"/>
              <a:gd name="connsiteX67" fmla="*/ 1393019 w 4501379"/>
              <a:gd name="connsiteY67" fmla="*/ 190500 h 4429294"/>
              <a:gd name="connsiteX68" fmla="*/ 1431119 w 4501379"/>
              <a:gd name="connsiteY68" fmla="*/ 161925 h 4429294"/>
              <a:gd name="connsiteX69" fmla="*/ 1507319 w 4501379"/>
              <a:gd name="connsiteY69" fmla="*/ 152400 h 4429294"/>
              <a:gd name="connsiteX70" fmla="*/ 1564469 w 4501379"/>
              <a:gd name="connsiteY70" fmla="*/ 142875 h 4429294"/>
              <a:gd name="connsiteX71" fmla="*/ 1697819 w 4501379"/>
              <a:gd name="connsiteY71" fmla="*/ 123825 h 4429294"/>
              <a:gd name="connsiteX72" fmla="*/ 1793069 w 4501379"/>
              <a:gd name="connsiteY72" fmla="*/ 114300 h 4429294"/>
              <a:gd name="connsiteX73" fmla="*/ 1840694 w 4501379"/>
              <a:gd name="connsiteY73" fmla="*/ 104775 h 4429294"/>
              <a:gd name="connsiteX74" fmla="*/ 1897844 w 4501379"/>
              <a:gd name="connsiteY74" fmla="*/ 95250 h 4429294"/>
              <a:gd name="connsiteX75" fmla="*/ 2012144 w 4501379"/>
              <a:gd name="connsiteY75" fmla="*/ 66675 h 4429294"/>
              <a:gd name="connsiteX76" fmla="*/ 2078819 w 4501379"/>
              <a:gd name="connsiteY76" fmla="*/ 47625 h 4429294"/>
              <a:gd name="connsiteX77" fmla="*/ 2145494 w 4501379"/>
              <a:gd name="connsiteY7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393019 w 4501379"/>
              <a:gd name="connsiteY66" fmla="*/ 190500 h 4429294"/>
              <a:gd name="connsiteX67" fmla="*/ 1431119 w 4501379"/>
              <a:gd name="connsiteY67" fmla="*/ 161925 h 4429294"/>
              <a:gd name="connsiteX68" fmla="*/ 1507319 w 4501379"/>
              <a:gd name="connsiteY68" fmla="*/ 152400 h 4429294"/>
              <a:gd name="connsiteX69" fmla="*/ 1564469 w 4501379"/>
              <a:gd name="connsiteY69" fmla="*/ 142875 h 4429294"/>
              <a:gd name="connsiteX70" fmla="*/ 1697819 w 4501379"/>
              <a:gd name="connsiteY70" fmla="*/ 123825 h 4429294"/>
              <a:gd name="connsiteX71" fmla="*/ 1793069 w 4501379"/>
              <a:gd name="connsiteY71" fmla="*/ 114300 h 4429294"/>
              <a:gd name="connsiteX72" fmla="*/ 1840694 w 4501379"/>
              <a:gd name="connsiteY72" fmla="*/ 104775 h 4429294"/>
              <a:gd name="connsiteX73" fmla="*/ 1897844 w 4501379"/>
              <a:gd name="connsiteY73" fmla="*/ 95250 h 4429294"/>
              <a:gd name="connsiteX74" fmla="*/ 2012144 w 4501379"/>
              <a:gd name="connsiteY74" fmla="*/ 66675 h 4429294"/>
              <a:gd name="connsiteX75" fmla="*/ 2078819 w 4501379"/>
              <a:gd name="connsiteY75" fmla="*/ 47625 h 4429294"/>
              <a:gd name="connsiteX76" fmla="*/ 2145494 w 4501379"/>
              <a:gd name="connsiteY76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431119 w 4501379"/>
              <a:gd name="connsiteY66" fmla="*/ 161925 h 4429294"/>
              <a:gd name="connsiteX67" fmla="*/ 1507319 w 4501379"/>
              <a:gd name="connsiteY67" fmla="*/ 152400 h 4429294"/>
              <a:gd name="connsiteX68" fmla="*/ 1564469 w 4501379"/>
              <a:gd name="connsiteY68" fmla="*/ 142875 h 4429294"/>
              <a:gd name="connsiteX69" fmla="*/ 1697819 w 4501379"/>
              <a:gd name="connsiteY69" fmla="*/ 123825 h 4429294"/>
              <a:gd name="connsiteX70" fmla="*/ 1793069 w 4501379"/>
              <a:gd name="connsiteY70" fmla="*/ 114300 h 4429294"/>
              <a:gd name="connsiteX71" fmla="*/ 1840694 w 4501379"/>
              <a:gd name="connsiteY71" fmla="*/ 104775 h 4429294"/>
              <a:gd name="connsiteX72" fmla="*/ 1897844 w 4501379"/>
              <a:gd name="connsiteY72" fmla="*/ 95250 h 4429294"/>
              <a:gd name="connsiteX73" fmla="*/ 2012144 w 4501379"/>
              <a:gd name="connsiteY73" fmla="*/ 66675 h 4429294"/>
              <a:gd name="connsiteX74" fmla="*/ 2078819 w 4501379"/>
              <a:gd name="connsiteY74" fmla="*/ 47625 h 4429294"/>
              <a:gd name="connsiteX75" fmla="*/ 2145494 w 4501379"/>
              <a:gd name="connsiteY75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507319 w 4501379"/>
              <a:gd name="connsiteY66" fmla="*/ 152400 h 4429294"/>
              <a:gd name="connsiteX67" fmla="*/ 1564469 w 4501379"/>
              <a:gd name="connsiteY67" fmla="*/ 142875 h 4429294"/>
              <a:gd name="connsiteX68" fmla="*/ 1697819 w 4501379"/>
              <a:gd name="connsiteY68" fmla="*/ 123825 h 4429294"/>
              <a:gd name="connsiteX69" fmla="*/ 1793069 w 4501379"/>
              <a:gd name="connsiteY69" fmla="*/ 114300 h 4429294"/>
              <a:gd name="connsiteX70" fmla="*/ 1840694 w 4501379"/>
              <a:gd name="connsiteY70" fmla="*/ 104775 h 4429294"/>
              <a:gd name="connsiteX71" fmla="*/ 1897844 w 4501379"/>
              <a:gd name="connsiteY71" fmla="*/ 95250 h 4429294"/>
              <a:gd name="connsiteX72" fmla="*/ 2012144 w 4501379"/>
              <a:gd name="connsiteY72" fmla="*/ 66675 h 4429294"/>
              <a:gd name="connsiteX73" fmla="*/ 2078819 w 4501379"/>
              <a:gd name="connsiteY73" fmla="*/ 47625 h 4429294"/>
              <a:gd name="connsiteX74" fmla="*/ 2145494 w 4501379"/>
              <a:gd name="connsiteY74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697819 w 4501379"/>
              <a:gd name="connsiteY67" fmla="*/ 123825 h 4429294"/>
              <a:gd name="connsiteX68" fmla="*/ 1793069 w 4501379"/>
              <a:gd name="connsiteY68" fmla="*/ 114300 h 4429294"/>
              <a:gd name="connsiteX69" fmla="*/ 1840694 w 4501379"/>
              <a:gd name="connsiteY69" fmla="*/ 104775 h 4429294"/>
              <a:gd name="connsiteX70" fmla="*/ 1897844 w 4501379"/>
              <a:gd name="connsiteY70" fmla="*/ 95250 h 4429294"/>
              <a:gd name="connsiteX71" fmla="*/ 2012144 w 4501379"/>
              <a:gd name="connsiteY71" fmla="*/ 66675 h 4429294"/>
              <a:gd name="connsiteX72" fmla="*/ 2078819 w 4501379"/>
              <a:gd name="connsiteY72" fmla="*/ 47625 h 4429294"/>
              <a:gd name="connsiteX73" fmla="*/ 2145494 w 4501379"/>
              <a:gd name="connsiteY73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793069 w 4501379"/>
              <a:gd name="connsiteY67" fmla="*/ 114300 h 4429294"/>
              <a:gd name="connsiteX68" fmla="*/ 1840694 w 4501379"/>
              <a:gd name="connsiteY68" fmla="*/ 104775 h 4429294"/>
              <a:gd name="connsiteX69" fmla="*/ 1897844 w 4501379"/>
              <a:gd name="connsiteY69" fmla="*/ 95250 h 4429294"/>
              <a:gd name="connsiteX70" fmla="*/ 2012144 w 4501379"/>
              <a:gd name="connsiteY70" fmla="*/ 66675 h 4429294"/>
              <a:gd name="connsiteX71" fmla="*/ 2078819 w 4501379"/>
              <a:gd name="connsiteY71" fmla="*/ 47625 h 4429294"/>
              <a:gd name="connsiteX72" fmla="*/ 2145494 w 4501379"/>
              <a:gd name="connsiteY72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840694 w 4501379"/>
              <a:gd name="connsiteY67" fmla="*/ 104775 h 4429294"/>
              <a:gd name="connsiteX68" fmla="*/ 1897844 w 4501379"/>
              <a:gd name="connsiteY68" fmla="*/ 95250 h 4429294"/>
              <a:gd name="connsiteX69" fmla="*/ 2012144 w 4501379"/>
              <a:gd name="connsiteY69" fmla="*/ 66675 h 4429294"/>
              <a:gd name="connsiteX70" fmla="*/ 2078819 w 4501379"/>
              <a:gd name="connsiteY70" fmla="*/ 47625 h 4429294"/>
              <a:gd name="connsiteX71" fmla="*/ 2145494 w 4501379"/>
              <a:gd name="connsiteY71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897844 w 4501379"/>
              <a:gd name="connsiteY67" fmla="*/ 95250 h 4429294"/>
              <a:gd name="connsiteX68" fmla="*/ 2012144 w 4501379"/>
              <a:gd name="connsiteY68" fmla="*/ 66675 h 4429294"/>
              <a:gd name="connsiteX69" fmla="*/ 2078819 w 4501379"/>
              <a:gd name="connsiteY69" fmla="*/ 47625 h 4429294"/>
              <a:gd name="connsiteX70" fmla="*/ 2145494 w 4501379"/>
              <a:gd name="connsiteY70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012144 w 4501379"/>
              <a:gd name="connsiteY67" fmla="*/ 66675 h 4429294"/>
              <a:gd name="connsiteX68" fmla="*/ 2078819 w 4501379"/>
              <a:gd name="connsiteY68" fmla="*/ 47625 h 4429294"/>
              <a:gd name="connsiteX69" fmla="*/ 2145494 w 4501379"/>
              <a:gd name="connsiteY69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078819 w 4501379"/>
              <a:gd name="connsiteY67" fmla="*/ 47625 h 4429294"/>
              <a:gd name="connsiteX68" fmla="*/ 2145494 w 4501379"/>
              <a:gd name="connsiteY6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145494 w 4501379"/>
              <a:gd name="connsiteY6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621619 w 4501379"/>
              <a:gd name="connsiteY66" fmla="*/ 11112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678644 w 4501379"/>
              <a:gd name="connsiteY60" fmla="*/ 657225 h 4429294"/>
              <a:gd name="connsiteX61" fmla="*/ 821519 w 4501379"/>
              <a:gd name="connsiteY61" fmla="*/ 533400 h 4429294"/>
              <a:gd name="connsiteX62" fmla="*/ 869144 w 4501379"/>
              <a:gd name="connsiteY62" fmla="*/ 504825 h 4429294"/>
              <a:gd name="connsiteX63" fmla="*/ 1148544 w 4501379"/>
              <a:gd name="connsiteY63" fmla="*/ 311150 h 4429294"/>
              <a:gd name="connsiteX64" fmla="*/ 1507319 w 4501379"/>
              <a:gd name="connsiteY64" fmla="*/ 152400 h 4429294"/>
              <a:gd name="connsiteX65" fmla="*/ 1621619 w 4501379"/>
              <a:gd name="connsiteY65" fmla="*/ 111125 h 4429294"/>
              <a:gd name="connsiteX66" fmla="*/ 2253444 w 4501379"/>
              <a:gd name="connsiteY66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821519 w 4501379"/>
              <a:gd name="connsiteY60" fmla="*/ 533400 h 4429294"/>
              <a:gd name="connsiteX61" fmla="*/ 869144 w 4501379"/>
              <a:gd name="connsiteY61" fmla="*/ 504825 h 4429294"/>
              <a:gd name="connsiteX62" fmla="*/ 1148544 w 4501379"/>
              <a:gd name="connsiteY62" fmla="*/ 311150 h 4429294"/>
              <a:gd name="connsiteX63" fmla="*/ 1507319 w 4501379"/>
              <a:gd name="connsiteY63" fmla="*/ 152400 h 4429294"/>
              <a:gd name="connsiteX64" fmla="*/ 1621619 w 4501379"/>
              <a:gd name="connsiteY64" fmla="*/ 111125 h 4429294"/>
              <a:gd name="connsiteX65" fmla="*/ 2253444 w 4501379"/>
              <a:gd name="connsiteY65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869144 w 4501379"/>
              <a:gd name="connsiteY60" fmla="*/ 504825 h 4429294"/>
              <a:gd name="connsiteX61" fmla="*/ 1148544 w 4501379"/>
              <a:gd name="connsiteY61" fmla="*/ 311150 h 4429294"/>
              <a:gd name="connsiteX62" fmla="*/ 1507319 w 4501379"/>
              <a:gd name="connsiteY62" fmla="*/ 152400 h 4429294"/>
              <a:gd name="connsiteX63" fmla="*/ 1621619 w 4501379"/>
              <a:gd name="connsiteY63" fmla="*/ 111125 h 4429294"/>
              <a:gd name="connsiteX64" fmla="*/ 2253444 w 4501379"/>
              <a:gd name="connsiteY64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64319 w 4501379"/>
              <a:gd name="connsiteY53" fmla="*/ 1009650 h 4429294"/>
              <a:gd name="connsiteX54" fmla="*/ 421469 w 4501379"/>
              <a:gd name="connsiteY54" fmla="*/ 904875 h 4429294"/>
              <a:gd name="connsiteX55" fmla="*/ 459569 w 4501379"/>
              <a:gd name="connsiteY55" fmla="*/ 857250 h 4429294"/>
              <a:gd name="connsiteX56" fmla="*/ 478619 w 4501379"/>
              <a:gd name="connsiteY56" fmla="*/ 828675 h 4429294"/>
              <a:gd name="connsiteX57" fmla="*/ 516719 w 4501379"/>
              <a:gd name="connsiteY57" fmla="*/ 800100 h 4429294"/>
              <a:gd name="connsiteX58" fmla="*/ 650069 w 4501379"/>
              <a:gd name="connsiteY58" fmla="*/ 676275 h 4429294"/>
              <a:gd name="connsiteX59" fmla="*/ 869144 w 4501379"/>
              <a:gd name="connsiteY59" fmla="*/ 504825 h 4429294"/>
              <a:gd name="connsiteX60" fmla="*/ 1148544 w 4501379"/>
              <a:gd name="connsiteY60" fmla="*/ 311150 h 4429294"/>
              <a:gd name="connsiteX61" fmla="*/ 1507319 w 4501379"/>
              <a:gd name="connsiteY61" fmla="*/ 152400 h 4429294"/>
              <a:gd name="connsiteX62" fmla="*/ 1621619 w 4501379"/>
              <a:gd name="connsiteY62" fmla="*/ 111125 h 4429294"/>
              <a:gd name="connsiteX63" fmla="*/ 2253444 w 4501379"/>
              <a:gd name="connsiteY63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21469 w 4501379"/>
              <a:gd name="connsiteY53" fmla="*/ 904875 h 4429294"/>
              <a:gd name="connsiteX54" fmla="*/ 459569 w 4501379"/>
              <a:gd name="connsiteY54" fmla="*/ 857250 h 4429294"/>
              <a:gd name="connsiteX55" fmla="*/ 478619 w 4501379"/>
              <a:gd name="connsiteY55" fmla="*/ 828675 h 4429294"/>
              <a:gd name="connsiteX56" fmla="*/ 516719 w 4501379"/>
              <a:gd name="connsiteY56" fmla="*/ 800100 h 4429294"/>
              <a:gd name="connsiteX57" fmla="*/ 650069 w 4501379"/>
              <a:gd name="connsiteY57" fmla="*/ 676275 h 4429294"/>
              <a:gd name="connsiteX58" fmla="*/ 869144 w 4501379"/>
              <a:gd name="connsiteY58" fmla="*/ 504825 h 4429294"/>
              <a:gd name="connsiteX59" fmla="*/ 1148544 w 4501379"/>
              <a:gd name="connsiteY59" fmla="*/ 311150 h 4429294"/>
              <a:gd name="connsiteX60" fmla="*/ 1507319 w 4501379"/>
              <a:gd name="connsiteY60" fmla="*/ 152400 h 4429294"/>
              <a:gd name="connsiteX61" fmla="*/ 1621619 w 4501379"/>
              <a:gd name="connsiteY61" fmla="*/ 111125 h 4429294"/>
              <a:gd name="connsiteX62" fmla="*/ 2253444 w 4501379"/>
              <a:gd name="connsiteY62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59569 w 4501379"/>
              <a:gd name="connsiteY53" fmla="*/ 857250 h 4429294"/>
              <a:gd name="connsiteX54" fmla="*/ 478619 w 4501379"/>
              <a:gd name="connsiteY54" fmla="*/ 828675 h 4429294"/>
              <a:gd name="connsiteX55" fmla="*/ 516719 w 4501379"/>
              <a:gd name="connsiteY55" fmla="*/ 800100 h 4429294"/>
              <a:gd name="connsiteX56" fmla="*/ 650069 w 4501379"/>
              <a:gd name="connsiteY56" fmla="*/ 676275 h 4429294"/>
              <a:gd name="connsiteX57" fmla="*/ 869144 w 4501379"/>
              <a:gd name="connsiteY57" fmla="*/ 504825 h 4429294"/>
              <a:gd name="connsiteX58" fmla="*/ 1148544 w 4501379"/>
              <a:gd name="connsiteY58" fmla="*/ 311150 h 4429294"/>
              <a:gd name="connsiteX59" fmla="*/ 1507319 w 4501379"/>
              <a:gd name="connsiteY59" fmla="*/ 152400 h 4429294"/>
              <a:gd name="connsiteX60" fmla="*/ 1621619 w 4501379"/>
              <a:gd name="connsiteY60" fmla="*/ 111125 h 4429294"/>
              <a:gd name="connsiteX61" fmla="*/ 2253444 w 4501379"/>
              <a:gd name="connsiteY61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59569 w 4501379"/>
              <a:gd name="connsiteY53" fmla="*/ 857250 h 4429294"/>
              <a:gd name="connsiteX54" fmla="*/ 516719 w 4501379"/>
              <a:gd name="connsiteY54" fmla="*/ 800100 h 4429294"/>
              <a:gd name="connsiteX55" fmla="*/ 650069 w 4501379"/>
              <a:gd name="connsiteY55" fmla="*/ 676275 h 4429294"/>
              <a:gd name="connsiteX56" fmla="*/ 869144 w 4501379"/>
              <a:gd name="connsiteY56" fmla="*/ 504825 h 4429294"/>
              <a:gd name="connsiteX57" fmla="*/ 1148544 w 4501379"/>
              <a:gd name="connsiteY57" fmla="*/ 311150 h 4429294"/>
              <a:gd name="connsiteX58" fmla="*/ 1507319 w 4501379"/>
              <a:gd name="connsiteY58" fmla="*/ 152400 h 4429294"/>
              <a:gd name="connsiteX59" fmla="*/ 1621619 w 4501379"/>
              <a:gd name="connsiteY59" fmla="*/ 111125 h 4429294"/>
              <a:gd name="connsiteX60" fmla="*/ 2253444 w 4501379"/>
              <a:gd name="connsiteY60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69069 w 4501379"/>
              <a:gd name="connsiteY50" fmla="*/ 1152525 h 4429294"/>
              <a:gd name="connsiteX51" fmla="*/ 297644 w 4501379"/>
              <a:gd name="connsiteY51" fmla="*/ 1114425 h 4429294"/>
              <a:gd name="connsiteX52" fmla="*/ 459569 w 4501379"/>
              <a:gd name="connsiteY52" fmla="*/ 857250 h 4429294"/>
              <a:gd name="connsiteX53" fmla="*/ 516719 w 4501379"/>
              <a:gd name="connsiteY53" fmla="*/ 800100 h 4429294"/>
              <a:gd name="connsiteX54" fmla="*/ 650069 w 4501379"/>
              <a:gd name="connsiteY54" fmla="*/ 676275 h 4429294"/>
              <a:gd name="connsiteX55" fmla="*/ 869144 w 4501379"/>
              <a:gd name="connsiteY55" fmla="*/ 504825 h 4429294"/>
              <a:gd name="connsiteX56" fmla="*/ 1148544 w 4501379"/>
              <a:gd name="connsiteY56" fmla="*/ 311150 h 4429294"/>
              <a:gd name="connsiteX57" fmla="*/ 1507319 w 4501379"/>
              <a:gd name="connsiteY57" fmla="*/ 152400 h 4429294"/>
              <a:gd name="connsiteX58" fmla="*/ 1621619 w 4501379"/>
              <a:gd name="connsiteY58" fmla="*/ 111125 h 4429294"/>
              <a:gd name="connsiteX59" fmla="*/ 2253444 w 4501379"/>
              <a:gd name="connsiteY59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97644 w 4501379"/>
              <a:gd name="connsiteY50" fmla="*/ 1114425 h 4429294"/>
              <a:gd name="connsiteX51" fmla="*/ 459569 w 4501379"/>
              <a:gd name="connsiteY51" fmla="*/ 857250 h 4429294"/>
              <a:gd name="connsiteX52" fmla="*/ 516719 w 4501379"/>
              <a:gd name="connsiteY52" fmla="*/ 800100 h 4429294"/>
              <a:gd name="connsiteX53" fmla="*/ 650069 w 4501379"/>
              <a:gd name="connsiteY53" fmla="*/ 676275 h 4429294"/>
              <a:gd name="connsiteX54" fmla="*/ 869144 w 4501379"/>
              <a:gd name="connsiteY54" fmla="*/ 504825 h 4429294"/>
              <a:gd name="connsiteX55" fmla="*/ 1148544 w 4501379"/>
              <a:gd name="connsiteY55" fmla="*/ 311150 h 4429294"/>
              <a:gd name="connsiteX56" fmla="*/ 1507319 w 4501379"/>
              <a:gd name="connsiteY56" fmla="*/ 152400 h 4429294"/>
              <a:gd name="connsiteX57" fmla="*/ 1621619 w 4501379"/>
              <a:gd name="connsiteY57" fmla="*/ 111125 h 4429294"/>
              <a:gd name="connsiteX58" fmla="*/ 2253444 w 4501379"/>
              <a:gd name="connsiteY58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97644 w 4501379"/>
              <a:gd name="connsiteY49" fmla="*/ 1114425 h 4429294"/>
              <a:gd name="connsiteX50" fmla="*/ 459569 w 4501379"/>
              <a:gd name="connsiteY50" fmla="*/ 857250 h 4429294"/>
              <a:gd name="connsiteX51" fmla="*/ 516719 w 4501379"/>
              <a:gd name="connsiteY51" fmla="*/ 800100 h 4429294"/>
              <a:gd name="connsiteX52" fmla="*/ 650069 w 4501379"/>
              <a:gd name="connsiteY52" fmla="*/ 676275 h 4429294"/>
              <a:gd name="connsiteX53" fmla="*/ 869144 w 4501379"/>
              <a:gd name="connsiteY53" fmla="*/ 504825 h 4429294"/>
              <a:gd name="connsiteX54" fmla="*/ 1148544 w 4501379"/>
              <a:gd name="connsiteY54" fmla="*/ 311150 h 4429294"/>
              <a:gd name="connsiteX55" fmla="*/ 1507319 w 4501379"/>
              <a:gd name="connsiteY55" fmla="*/ 152400 h 4429294"/>
              <a:gd name="connsiteX56" fmla="*/ 1621619 w 4501379"/>
              <a:gd name="connsiteY56" fmla="*/ 111125 h 4429294"/>
              <a:gd name="connsiteX57" fmla="*/ 2253444 w 4501379"/>
              <a:gd name="connsiteY5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35719 w 4501379"/>
              <a:gd name="connsiteY46" fmla="*/ 1419225 h 4429294"/>
              <a:gd name="connsiteX47" fmla="*/ 211919 w 4501379"/>
              <a:gd name="connsiteY47" fmla="*/ 1276350 h 4429294"/>
              <a:gd name="connsiteX48" fmla="*/ 297644 w 4501379"/>
              <a:gd name="connsiteY48" fmla="*/ 1114425 h 4429294"/>
              <a:gd name="connsiteX49" fmla="*/ 459569 w 4501379"/>
              <a:gd name="connsiteY49" fmla="*/ 857250 h 4429294"/>
              <a:gd name="connsiteX50" fmla="*/ 516719 w 4501379"/>
              <a:gd name="connsiteY50" fmla="*/ 800100 h 4429294"/>
              <a:gd name="connsiteX51" fmla="*/ 650069 w 4501379"/>
              <a:gd name="connsiteY51" fmla="*/ 676275 h 4429294"/>
              <a:gd name="connsiteX52" fmla="*/ 869144 w 4501379"/>
              <a:gd name="connsiteY52" fmla="*/ 504825 h 4429294"/>
              <a:gd name="connsiteX53" fmla="*/ 1148544 w 4501379"/>
              <a:gd name="connsiteY53" fmla="*/ 311150 h 4429294"/>
              <a:gd name="connsiteX54" fmla="*/ 1507319 w 4501379"/>
              <a:gd name="connsiteY54" fmla="*/ 152400 h 4429294"/>
              <a:gd name="connsiteX55" fmla="*/ 1621619 w 4501379"/>
              <a:gd name="connsiteY55" fmla="*/ 111125 h 4429294"/>
              <a:gd name="connsiteX56" fmla="*/ 2253444 w 4501379"/>
              <a:gd name="connsiteY56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88094 w 4501379"/>
              <a:gd name="connsiteY44" fmla="*/ 1590675 h 4429294"/>
              <a:gd name="connsiteX45" fmla="*/ 135719 w 4501379"/>
              <a:gd name="connsiteY45" fmla="*/ 1419225 h 4429294"/>
              <a:gd name="connsiteX46" fmla="*/ 211919 w 4501379"/>
              <a:gd name="connsiteY46" fmla="*/ 1276350 h 4429294"/>
              <a:gd name="connsiteX47" fmla="*/ 297644 w 4501379"/>
              <a:gd name="connsiteY47" fmla="*/ 1114425 h 4429294"/>
              <a:gd name="connsiteX48" fmla="*/ 459569 w 4501379"/>
              <a:gd name="connsiteY48" fmla="*/ 857250 h 4429294"/>
              <a:gd name="connsiteX49" fmla="*/ 516719 w 4501379"/>
              <a:gd name="connsiteY49" fmla="*/ 800100 h 4429294"/>
              <a:gd name="connsiteX50" fmla="*/ 650069 w 4501379"/>
              <a:gd name="connsiteY50" fmla="*/ 676275 h 4429294"/>
              <a:gd name="connsiteX51" fmla="*/ 869144 w 4501379"/>
              <a:gd name="connsiteY51" fmla="*/ 504825 h 4429294"/>
              <a:gd name="connsiteX52" fmla="*/ 1148544 w 4501379"/>
              <a:gd name="connsiteY52" fmla="*/ 311150 h 4429294"/>
              <a:gd name="connsiteX53" fmla="*/ 1507319 w 4501379"/>
              <a:gd name="connsiteY53" fmla="*/ 152400 h 4429294"/>
              <a:gd name="connsiteX54" fmla="*/ 1621619 w 4501379"/>
              <a:gd name="connsiteY54" fmla="*/ 111125 h 4429294"/>
              <a:gd name="connsiteX55" fmla="*/ 2253444 w 4501379"/>
              <a:gd name="connsiteY55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88094 w 4501379"/>
              <a:gd name="connsiteY43" fmla="*/ 1590675 h 4429294"/>
              <a:gd name="connsiteX44" fmla="*/ 135719 w 4501379"/>
              <a:gd name="connsiteY44" fmla="*/ 1419225 h 4429294"/>
              <a:gd name="connsiteX45" fmla="*/ 211919 w 4501379"/>
              <a:gd name="connsiteY45" fmla="*/ 1276350 h 4429294"/>
              <a:gd name="connsiteX46" fmla="*/ 297644 w 4501379"/>
              <a:gd name="connsiteY46" fmla="*/ 1114425 h 4429294"/>
              <a:gd name="connsiteX47" fmla="*/ 459569 w 4501379"/>
              <a:gd name="connsiteY47" fmla="*/ 857250 h 4429294"/>
              <a:gd name="connsiteX48" fmla="*/ 516719 w 4501379"/>
              <a:gd name="connsiteY48" fmla="*/ 800100 h 4429294"/>
              <a:gd name="connsiteX49" fmla="*/ 650069 w 4501379"/>
              <a:gd name="connsiteY49" fmla="*/ 676275 h 4429294"/>
              <a:gd name="connsiteX50" fmla="*/ 869144 w 4501379"/>
              <a:gd name="connsiteY50" fmla="*/ 504825 h 4429294"/>
              <a:gd name="connsiteX51" fmla="*/ 1148544 w 4501379"/>
              <a:gd name="connsiteY51" fmla="*/ 311150 h 4429294"/>
              <a:gd name="connsiteX52" fmla="*/ 1507319 w 4501379"/>
              <a:gd name="connsiteY52" fmla="*/ 152400 h 4429294"/>
              <a:gd name="connsiteX53" fmla="*/ 1621619 w 4501379"/>
              <a:gd name="connsiteY53" fmla="*/ 111125 h 4429294"/>
              <a:gd name="connsiteX54" fmla="*/ 2253444 w 4501379"/>
              <a:gd name="connsiteY54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88094 w 4501379"/>
              <a:gd name="connsiteY42" fmla="*/ 1590675 h 4429294"/>
              <a:gd name="connsiteX43" fmla="*/ 135719 w 4501379"/>
              <a:gd name="connsiteY43" fmla="*/ 1419225 h 4429294"/>
              <a:gd name="connsiteX44" fmla="*/ 211919 w 4501379"/>
              <a:gd name="connsiteY44" fmla="*/ 1276350 h 4429294"/>
              <a:gd name="connsiteX45" fmla="*/ 297644 w 4501379"/>
              <a:gd name="connsiteY45" fmla="*/ 1114425 h 4429294"/>
              <a:gd name="connsiteX46" fmla="*/ 459569 w 4501379"/>
              <a:gd name="connsiteY46" fmla="*/ 857250 h 4429294"/>
              <a:gd name="connsiteX47" fmla="*/ 516719 w 4501379"/>
              <a:gd name="connsiteY47" fmla="*/ 800100 h 4429294"/>
              <a:gd name="connsiteX48" fmla="*/ 650069 w 4501379"/>
              <a:gd name="connsiteY48" fmla="*/ 676275 h 4429294"/>
              <a:gd name="connsiteX49" fmla="*/ 869144 w 4501379"/>
              <a:gd name="connsiteY49" fmla="*/ 504825 h 4429294"/>
              <a:gd name="connsiteX50" fmla="*/ 1148544 w 4501379"/>
              <a:gd name="connsiteY50" fmla="*/ 311150 h 4429294"/>
              <a:gd name="connsiteX51" fmla="*/ 1507319 w 4501379"/>
              <a:gd name="connsiteY51" fmla="*/ 152400 h 4429294"/>
              <a:gd name="connsiteX52" fmla="*/ 1621619 w 4501379"/>
              <a:gd name="connsiteY52" fmla="*/ 111125 h 4429294"/>
              <a:gd name="connsiteX53" fmla="*/ 2253444 w 4501379"/>
              <a:gd name="connsiteY53" fmla="*/ 12700 h 4429294"/>
              <a:gd name="connsiteX0" fmla="*/ 2277090 w 4499625"/>
              <a:gd name="connsiteY0" fmla="*/ 0 h 4429294"/>
              <a:gd name="connsiteX1" fmla="*/ 2600940 w 4499625"/>
              <a:gd name="connsiteY1" fmla="*/ 15875 h 4429294"/>
              <a:gd name="connsiteX2" fmla="*/ 2896215 w 4499625"/>
              <a:gd name="connsiteY2" fmla="*/ 85725 h 4429294"/>
              <a:gd name="connsiteX3" fmla="*/ 3115290 w 4499625"/>
              <a:gd name="connsiteY3" fmla="*/ 171450 h 4429294"/>
              <a:gd name="connsiteX4" fmla="*/ 3220065 w 4499625"/>
              <a:gd name="connsiteY4" fmla="*/ 228600 h 4429294"/>
              <a:gd name="connsiteX5" fmla="*/ 3401040 w 4499625"/>
              <a:gd name="connsiteY5" fmla="*/ 323850 h 4429294"/>
              <a:gd name="connsiteX6" fmla="*/ 3791565 w 4499625"/>
              <a:gd name="connsiteY6" fmla="*/ 581025 h 4429294"/>
              <a:gd name="connsiteX7" fmla="*/ 4007465 w 4499625"/>
              <a:gd name="connsiteY7" fmla="*/ 819150 h 4429294"/>
              <a:gd name="connsiteX8" fmla="*/ 4143990 w 4499625"/>
              <a:gd name="connsiteY8" fmla="*/ 990600 h 4429294"/>
              <a:gd name="connsiteX9" fmla="*/ 4229715 w 4499625"/>
              <a:gd name="connsiteY9" fmla="*/ 1143000 h 4429294"/>
              <a:gd name="connsiteX10" fmla="*/ 4286865 w 4499625"/>
              <a:gd name="connsiteY10" fmla="*/ 1266825 h 4429294"/>
              <a:gd name="connsiteX11" fmla="*/ 4324965 w 4499625"/>
              <a:gd name="connsiteY11" fmla="*/ 1362075 h 4429294"/>
              <a:gd name="connsiteX12" fmla="*/ 4372590 w 4499625"/>
              <a:gd name="connsiteY12" fmla="*/ 1552575 h 4429294"/>
              <a:gd name="connsiteX13" fmla="*/ 4410690 w 4499625"/>
              <a:gd name="connsiteY13" fmla="*/ 1685925 h 4429294"/>
              <a:gd name="connsiteX14" fmla="*/ 4499590 w 4499625"/>
              <a:gd name="connsiteY14" fmla="*/ 2181225 h 4429294"/>
              <a:gd name="connsiteX15" fmla="*/ 4426565 w 4499625"/>
              <a:gd name="connsiteY15" fmla="*/ 2768600 h 4429294"/>
              <a:gd name="connsiteX16" fmla="*/ 4363065 w 4499625"/>
              <a:gd name="connsiteY16" fmla="*/ 2990850 h 4429294"/>
              <a:gd name="connsiteX17" fmla="*/ 4258290 w 4499625"/>
              <a:gd name="connsiteY17" fmla="*/ 3248025 h 4429294"/>
              <a:gd name="connsiteX18" fmla="*/ 4163040 w 4499625"/>
              <a:gd name="connsiteY18" fmla="*/ 3400425 h 4429294"/>
              <a:gd name="connsiteX19" fmla="*/ 4039215 w 4499625"/>
              <a:gd name="connsiteY19" fmla="*/ 3533775 h 4429294"/>
              <a:gd name="connsiteX20" fmla="*/ 3934440 w 4499625"/>
              <a:gd name="connsiteY20" fmla="*/ 3648075 h 4429294"/>
              <a:gd name="connsiteX21" fmla="*/ 3639165 w 4499625"/>
              <a:gd name="connsiteY21" fmla="*/ 3971925 h 4429294"/>
              <a:gd name="connsiteX22" fmla="*/ 3496290 w 4499625"/>
              <a:gd name="connsiteY22" fmla="*/ 4083050 h 4429294"/>
              <a:gd name="connsiteX23" fmla="*/ 3201015 w 4499625"/>
              <a:gd name="connsiteY23" fmla="*/ 4222750 h 4429294"/>
              <a:gd name="connsiteX24" fmla="*/ 3048615 w 4499625"/>
              <a:gd name="connsiteY24" fmla="*/ 4286250 h 4429294"/>
              <a:gd name="connsiteX25" fmla="*/ 2915265 w 4499625"/>
              <a:gd name="connsiteY25" fmla="*/ 4333875 h 4429294"/>
              <a:gd name="connsiteX26" fmla="*/ 2791440 w 4499625"/>
              <a:gd name="connsiteY26" fmla="*/ 4371975 h 4429294"/>
              <a:gd name="connsiteX27" fmla="*/ 2559665 w 4499625"/>
              <a:gd name="connsiteY27" fmla="*/ 4391025 h 4429294"/>
              <a:gd name="connsiteX28" fmla="*/ 2105640 w 4499625"/>
              <a:gd name="connsiteY28" fmla="*/ 4429125 h 4429294"/>
              <a:gd name="connsiteX29" fmla="*/ 1915140 w 4499625"/>
              <a:gd name="connsiteY29" fmla="*/ 4400550 h 4429294"/>
              <a:gd name="connsiteX30" fmla="*/ 1553190 w 4499625"/>
              <a:gd name="connsiteY30" fmla="*/ 4305300 h 4429294"/>
              <a:gd name="connsiteX31" fmla="*/ 1311890 w 4499625"/>
              <a:gd name="connsiteY31" fmla="*/ 4216400 h 4429294"/>
              <a:gd name="connsiteX32" fmla="*/ 1143615 w 4499625"/>
              <a:gd name="connsiteY32" fmla="*/ 4111625 h 4429294"/>
              <a:gd name="connsiteX33" fmla="*/ 924540 w 4499625"/>
              <a:gd name="connsiteY33" fmla="*/ 3968750 h 4429294"/>
              <a:gd name="connsiteX34" fmla="*/ 591165 w 4499625"/>
              <a:gd name="connsiteY34" fmla="*/ 3657600 h 4429294"/>
              <a:gd name="connsiteX35" fmla="*/ 445115 w 4499625"/>
              <a:gd name="connsiteY35" fmla="*/ 3470275 h 4429294"/>
              <a:gd name="connsiteX36" fmla="*/ 314940 w 4499625"/>
              <a:gd name="connsiteY36" fmla="*/ 3244850 h 4429294"/>
              <a:gd name="connsiteX37" fmla="*/ 162540 w 4499625"/>
              <a:gd name="connsiteY37" fmla="*/ 2892425 h 4429294"/>
              <a:gd name="connsiteX38" fmla="*/ 54590 w 4499625"/>
              <a:gd name="connsiteY38" fmla="*/ 2368550 h 4429294"/>
              <a:gd name="connsiteX39" fmla="*/ 615 w 4499625"/>
              <a:gd name="connsiteY39" fmla="*/ 1905000 h 4429294"/>
              <a:gd name="connsiteX40" fmla="*/ 29190 w 4499625"/>
              <a:gd name="connsiteY40" fmla="*/ 1781175 h 4429294"/>
              <a:gd name="connsiteX41" fmla="*/ 86340 w 4499625"/>
              <a:gd name="connsiteY41" fmla="*/ 1590675 h 4429294"/>
              <a:gd name="connsiteX42" fmla="*/ 133965 w 4499625"/>
              <a:gd name="connsiteY42" fmla="*/ 1419225 h 4429294"/>
              <a:gd name="connsiteX43" fmla="*/ 210165 w 4499625"/>
              <a:gd name="connsiteY43" fmla="*/ 1276350 h 4429294"/>
              <a:gd name="connsiteX44" fmla="*/ 295890 w 4499625"/>
              <a:gd name="connsiteY44" fmla="*/ 1114425 h 4429294"/>
              <a:gd name="connsiteX45" fmla="*/ 457815 w 4499625"/>
              <a:gd name="connsiteY45" fmla="*/ 857250 h 4429294"/>
              <a:gd name="connsiteX46" fmla="*/ 514965 w 4499625"/>
              <a:gd name="connsiteY46" fmla="*/ 800100 h 4429294"/>
              <a:gd name="connsiteX47" fmla="*/ 648315 w 4499625"/>
              <a:gd name="connsiteY47" fmla="*/ 676275 h 4429294"/>
              <a:gd name="connsiteX48" fmla="*/ 867390 w 4499625"/>
              <a:gd name="connsiteY48" fmla="*/ 504825 h 4429294"/>
              <a:gd name="connsiteX49" fmla="*/ 1146790 w 4499625"/>
              <a:gd name="connsiteY49" fmla="*/ 311150 h 4429294"/>
              <a:gd name="connsiteX50" fmla="*/ 1505565 w 4499625"/>
              <a:gd name="connsiteY50" fmla="*/ 152400 h 4429294"/>
              <a:gd name="connsiteX51" fmla="*/ 1619865 w 4499625"/>
              <a:gd name="connsiteY51" fmla="*/ 111125 h 4429294"/>
              <a:gd name="connsiteX52" fmla="*/ 2251690 w 4499625"/>
              <a:gd name="connsiteY52" fmla="*/ 12700 h 4429294"/>
              <a:gd name="connsiteX0" fmla="*/ 2249427 w 4471962"/>
              <a:gd name="connsiteY0" fmla="*/ 0 h 4429294"/>
              <a:gd name="connsiteX1" fmla="*/ 2573277 w 4471962"/>
              <a:gd name="connsiteY1" fmla="*/ 15875 h 4429294"/>
              <a:gd name="connsiteX2" fmla="*/ 2868552 w 4471962"/>
              <a:gd name="connsiteY2" fmla="*/ 85725 h 4429294"/>
              <a:gd name="connsiteX3" fmla="*/ 3087627 w 4471962"/>
              <a:gd name="connsiteY3" fmla="*/ 171450 h 4429294"/>
              <a:gd name="connsiteX4" fmla="*/ 3192402 w 4471962"/>
              <a:gd name="connsiteY4" fmla="*/ 228600 h 4429294"/>
              <a:gd name="connsiteX5" fmla="*/ 3373377 w 4471962"/>
              <a:gd name="connsiteY5" fmla="*/ 323850 h 4429294"/>
              <a:gd name="connsiteX6" fmla="*/ 3763902 w 4471962"/>
              <a:gd name="connsiteY6" fmla="*/ 581025 h 4429294"/>
              <a:gd name="connsiteX7" fmla="*/ 3979802 w 4471962"/>
              <a:gd name="connsiteY7" fmla="*/ 819150 h 4429294"/>
              <a:gd name="connsiteX8" fmla="*/ 4116327 w 4471962"/>
              <a:gd name="connsiteY8" fmla="*/ 990600 h 4429294"/>
              <a:gd name="connsiteX9" fmla="*/ 4202052 w 4471962"/>
              <a:gd name="connsiteY9" fmla="*/ 1143000 h 4429294"/>
              <a:gd name="connsiteX10" fmla="*/ 4259202 w 4471962"/>
              <a:gd name="connsiteY10" fmla="*/ 1266825 h 4429294"/>
              <a:gd name="connsiteX11" fmla="*/ 4297302 w 4471962"/>
              <a:gd name="connsiteY11" fmla="*/ 1362075 h 4429294"/>
              <a:gd name="connsiteX12" fmla="*/ 4344927 w 4471962"/>
              <a:gd name="connsiteY12" fmla="*/ 1552575 h 4429294"/>
              <a:gd name="connsiteX13" fmla="*/ 4383027 w 4471962"/>
              <a:gd name="connsiteY13" fmla="*/ 1685925 h 4429294"/>
              <a:gd name="connsiteX14" fmla="*/ 4471927 w 4471962"/>
              <a:gd name="connsiteY14" fmla="*/ 2181225 h 4429294"/>
              <a:gd name="connsiteX15" fmla="*/ 4398902 w 4471962"/>
              <a:gd name="connsiteY15" fmla="*/ 2768600 h 4429294"/>
              <a:gd name="connsiteX16" fmla="*/ 4335402 w 4471962"/>
              <a:gd name="connsiteY16" fmla="*/ 2990850 h 4429294"/>
              <a:gd name="connsiteX17" fmla="*/ 4230627 w 4471962"/>
              <a:gd name="connsiteY17" fmla="*/ 3248025 h 4429294"/>
              <a:gd name="connsiteX18" fmla="*/ 4135377 w 4471962"/>
              <a:gd name="connsiteY18" fmla="*/ 3400425 h 4429294"/>
              <a:gd name="connsiteX19" fmla="*/ 4011552 w 4471962"/>
              <a:gd name="connsiteY19" fmla="*/ 3533775 h 4429294"/>
              <a:gd name="connsiteX20" fmla="*/ 3906777 w 4471962"/>
              <a:gd name="connsiteY20" fmla="*/ 3648075 h 4429294"/>
              <a:gd name="connsiteX21" fmla="*/ 3611502 w 4471962"/>
              <a:gd name="connsiteY21" fmla="*/ 3971925 h 4429294"/>
              <a:gd name="connsiteX22" fmla="*/ 3468627 w 4471962"/>
              <a:gd name="connsiteY22" fmla="*/ 4083050 h 4429294"/>
              <a:gd name="connsiteX23" fmla="*/ 3173352 w 4471962"/>
              <a:gd name="connsiteY23" fmla="*/ 4222750 h 4429294"/>
              <a:gd name="connsiteX24" fmla="*/ 3020952 w 4471962"/>
              <a:gd name="connsiteY24" fmla="*/ 4286250 h 4429294"/>
              <a:gd name="connsiteX25" fmla="*/ 2887602 w 4471962"/>
              <a:gd name="connsiteY25" fmla="*/ 4333875 h 4429294"/>
              <a:gd name="connsiteX26" fmla="*/ 2763777 w 4471962"/>
              <a:gd name="connsiteY26" fmla="*/ 4371975 h 4429294"/>
              <a:gd name="connsiteX27" fmla="*/ 2532002 w 4471962"/>
              <a:gd name="connsiteY27" fmla="*/ 4391025 h 4429294"/>
              <a:gd name="connsiteX28" fmla="*/ 2077977 w 4471962"/>
              <a:gd name="connsiteY28" fmla="*/ 4429125 h 4429294"/>
              <a:gd name="connsiteX29" fmla="*/ 1887477 w 4471962"/>
              <a:gd name="connsiteY29" fmla="*/ 4400550 h 4429294"/>
              <a:gd name="connsiteX30" fmla="*/ 1525527 w 4471962"/>
              <a:gd name="connsiteY30" fmla="*/ 4305300 h 4429294"/>
              <a:gd name="connsiteX31" fmla="*/ 1284227 w 4471962"/>
              <a:gd name="connsiteY31" fmla="*/ 4216400 h 4429294"/>
              <a:gd name="connsiteX32" fmla="*/ 1115952 w 4471962"/>
              <a:gd name="connsiteY32" fmla="*/ 4111625 h 4429294"/>
              <a:gd name="connsiteX33" fmla="*/ 896877 w 4471962"/>
              <a:gd name="connsiteY33" fmla="*/ 3968750 h 4429294"/>
              <a:gd name="connsiteX34" fmla="*/ 563502 w 4471962"/>
              <a:gd name="connsiteY34" fmla="*/ 3657600 h 4429294"/>
              <a:gd name="connsiteX35" fmla="*/ 417452 w 4471962"/>
              <a:gd name="connsiteY35" fmla="*/ 3470275 h 4429294"/>
              <a:gd name="connsiteX36" fmla="*/ 287277 w 4471962"/>
              <a:gd name="connsiteY36" fmla="*/ 3244850 h 4429294"/>
              <a:gd name="connsiteX37" fmla="*/ 134877 w 4471962"/>
              <a:gd name="connsiteY37" fmla="*/ 2892425 h 4429294"/>
              <a:gd name="connsiteX38" fmla="*/ 26927 w 4471962"/>
              <a:gd name="connsiteY38" fmla="*/ 2368550 h 4429294"/>
              <a:gd name="connsiteX39" fmla="*/ 1527 w 4471962"/>
              <a:gd name="connsiteY39" fmla="*/ 1781175 h 4429294"/>
              <a:gd name="connsiteX40" fmla="*/ 58677 w 4471962"/>
              <a:gd name="connsiteY40" fmla="*/ 1590675 h 4429294"/>
              <a:gd name="connsiteX41" fmla="*/ 106302 w 4471962"/>
              <a:gd name="connsiteY41" fmla="*/ 1419225 h 4429294"/>
              <a:gd name="connsiteX42" fmla="*/ 182502 w 4471962"/>
              <a:gd name="connsiteY42" fmla="*/ 1276350 h 4429294"/>
              <a:gd name="connsiteX43" fmla="*/ 268227 w 4471962"/>
              <a:gd name="connsiteY43" fmla="*/ 1114425 h 4429294"/>
              <a:gd name="connsiteX44" fmla="*/ 430152 w 4471962"/>
              <a:gd name="connsiteY44" fmla="*/ 857250 h 4429294"/>
              <a:gd name="connsiteX45" fmla="*/ 487302 w 4471962"/>
              <a:gd name="connsiteY45" fmla="*/ 800100 h 4429294"/>
              <a:gd name="connsiteX46" fmla="*/ 620652 w 4471962"/>
              <a:gd name="connsiteY46" fmla="*/ 676275 h 4429294"/>
              <a:gd name="connsiteX47" fmla="*/ 839727 w 4471962"/>
              <a:gd name="connsiteY47" fmla="*/ 504825 h 4429294"/>
              <a:gd name="connsiteX48" fmla="*/ 1119127 w 4471962"/>
              <a:gd name="connsiteY48" fmla="*/ 311150 h 4429294"/>
              <a:gd name="connsiteX49" fmla="*/ 1477902 w 4471962"/>
              <a:gd name="connsiteY49" fmla="*/ 152400 h 4429294"/>
              <a:gd name="connsiteX50" fmla="*/ 1592202 w 4471962"/>
              <a:gd name="connsiteY50" fmla="*/ 111125 h 4429294"/>
              <a:gd name="connsiteX51" fmla="*/ 2224027 w 4471962"/>
              <a:gd name="connsiteY51" fmla="*/ 12700 h 4429294"/>
              <a:gd name="connsiteX0" fmla="*/ 2231942 w 4454477"/>
              <a:gd name="connsiteY0" fmla="*/ 0 h 4429294"/>
              <a:gd name="connsiteX1" fmla="*/ 2555792 w 4454477"/>
              <a:gd name="connsiteY1" fmla="*/ 15875 h 4429294"/>
              <a:gd name="connsiteX2" fmla="*/ 2851067 w 4454477"/>
              <a:gd name="connsiteY2" fmla="*/ 85725 h 4429294"/>
              <a:gd name="connsiteX3" fmla="*/ 3070142 w 4454477"/>
              <a:gd name="connsiteY3" fmla="*/ 171450 h 4429294"/>
              <a:gd name="connsiteX4" fmla="*/ 3174917 w 4454477"/>
              <a:gd name="connsiteY4" fmla="*/ 228600 h 4429294"/>
              <a:gd name="connsiteX5" fmla="*/ 3355892 w 4454477"/>
              <a:gd name="connsiteY5" fmla="*/ 323850 h 4429294"/>
              <a:gd name="connsiteX6" fmla="*/ 3746417 w 4454477"/>
              <a:gd name="connsiteY6" fmla="*/ 581025 h 4429294"/>
              <a:gd name="connsiteX7" fmla="*/ 3962317 w 4454477"/>
              <a:gd name="connsiteY7" fmla="*/ 819150 h 4429294"/>
              <a:gd name="connsiteX8" fmla="*/ 4098842 w 4454477"/>
              <a:gd name="connsiteY8" fmla="*/ 990600 h 4429294"/>
              <a:gd name="connsiteX9" fmla="*/ 4184567 w 4454477"/>
              <a:gd name="connsiteY9" fmla="*/ 1143000 h 4429294"/>
              <a:gd name="connsiteX10" fmla="*/ 4241717 w 4454477"/>
              <a:gd name="connsiteY10" fmla="*/ 1266825 h 4429294"/>
              <a:gd name="connsiteX11" fmla="*/ 4279817 w 4454477"/>
              <a:gd name="connsiteY11" fmla="*/ 1362075 h 4429294"/>
              <a:gd name="connsiteX12" fmla="*/ 4327442 w 4454477"/>
              <a:gd name="connsiteY12" fmla="*/ 1552575 h 4429294"/>
              <a:gd name="connsiteX13" fmla="*/ 4365542 w 4454477"/>
              <a:gd name="connsiteY13" fmla="*/ 1685925 h 4429294"/>
              <a:gd name="connsiteX14" fmla="*/ 4454442 w 4454477"/>
              <a:gd name="connsiteY14" fmla="*/ 2181225 h 4429294"/>
              <a:gd name="connsiteX15" fmla="*/ 4381417 w 4454477"/>
              <a:gd name="connsiteY15" fmla="*/ 2768600 h 4429294"/>
              <a:gd name="connsiteX16" fmla="*/ 4317917 w 4454477"/>
              <a:gd name="connsiteY16" fmla="*/ 2990850 h 4429294"/>
              <a:gd name="connsiteX17" fmla="*/ 4213142 w 4454477"/>
              <a:gd name="connsiteY17" fmla="*/ 3248025 h 4429294"/>
              <a:gd name="connsiteX18" fmla="*/ 4117892 w 4454477"/>
              <a:gd name="connsiteY18" fmla="*/ 3400425 h 4429294"/>
              <a:gd name="connsiteX19" fmla="*/ 3994067 w 4454477"/>
              <a:gd name="connsiteY19" fmla="*/ 3533775 h 4429294"/>
              <a:gd name="connsiteX20" fmla="*/ 3889292 w 4454477"/>
              <a:gd name="connsiteY20" fmla="*/ 3648075 h 4429294"/>
              <a:gd name="connsiteX21" fmla="*/ 3594017 w 4454477"/>
              <a:gd name="connsiteY21" fmla="*/ 3971925 h 4429294"/>
              <a:gd name="connsiteX22" fmla="*/ 3451142 w 4454477"/>
              <a:gd name="connsiteY22" fmla="*/ 4083050 h 4429294"/>
              <a:gd name="connsiteX23" fmla="*/ 3155867 w 4454477"/>
              <a:gd name="connsiteY23" fmla="*/ 4222750 h 4429294"/>
              <a:gd name="connsiteX24" fmla="*/ 3003467 w 4454477"/>
              <a:gd name="connsiteY24" fmla="*/ 4286250 h 4429294"/>
              <a:gd name="connsiteX25" fmla="*/ 2870117 w 4454477"/>
              <a:gd name="connsiteY25" fmla="*/ 4333875 h 4429294"/>
              <a:gd name="connsiteX26" fmla="*/ 2746292 w 4454477"/>
              <a:gd name="connsiteY26" fmla="*/ 4371975 h 4429294"/>
              <a:gd name="connsiteX27" fmla="*/ 2514517 w 4454477"/>
              <a:gd name="connsiteY27" fmla="*/ 4391025 h 4429294"/>
              <a:gd name="connsiteX28" fmla="*/ 2060492 w 4454477"/>
              <a:gd name="connsiteY28" fmla="*/ 4429125 h 4429294"/>
              <a:gd name="connsiteX29" fmla="*/ 1869992 w 4454477"/>
              <a:gd name="connsiteY29" fmla="*/ 4400550 h 4429294"/>
              <a:gd name="connsiteX30" fmla="*/ 1508042 w 4454477"/>
              <a:gd name="connsiteY30" fmla="*/ 4305300 h 4429294"/>
              <a:gd name="connsiteX31" fmla="*/ 1266742 w 4454477"/>
              <a:gd name="connsiteY31" fmla="*/ 4216400 h 4429294"/>
              <a:gd name="connsiteX32" fmla="*/ 1098467 w 4454477"/>
              <a:gd name="connsiteY32" fmla="*/ 4111625 h 4429294"/>
              <a:gd name="connsiteX33" fmla="*/ 879392 w 4454477"/>
              <a:gd name="connsiteY33" fmla="*/ 3968750 h 4429294"/>
              <a:gd name="connsiteX34" fmla="*/ 546017 w 4454477"/>
              <a:gd name="connsiteY34" fmla="*/ 3657600 h 4429294"/>
              <a:gd name="connsiteX35" fmla="*/ 399967 w 4454477"/>
              <a:gd name="connsiteY35" fmla="*/ 3470275 h 4429294"/>
              <a:gd name="connsiteX36" fmla="*/ 269792 w 4454477"/>
              <a:gd name="connsiteY36" fmla="*/ 3244850 h 4429294"/>
              <a:gd name="connsiteX37" fmla="*/ 117392 w 4454477"/>
              <a:gd name="connsiteY37" fmla="*/ 2892425 h 4429294"/>
              <a:gd name="connsiteX38" fmla="*/ 9442 w 4454477"/>
              <a:gd name="connsiteY38" fmla="*/ 2368550 h 4429294"/>
              <a:gd name="connsiteX39" fmla="*/ 15792 w 4454477"/>
              <a:gd name="connsiteY39" fmla="*/ 1870075 h 4429294"/>
              <a:gd name="connsiteX40" fmla="*/ 41192 w 4454477"/>
              <a:gd name="connsiteY40" fmla="*/ 1590675 h 4429294"/>
              <a:gd name="connsiteX41" fmla="*/ 88817 w 4454477"/>
              <a:gd name="connsiteY41" fmla="*/ 1419225 h 4429294"/>
              <a:gd name="connsiteX42" fmla="*/ 165017 w 4454477"/>
              <a:gd name="connsiteY42" fmla="*/ 1276350 h 4429294"/>
              <a:gd name="connsiteX43" fmla="*/ 250742 w 4454477"/>
              <a:gd name="connsiteY43" fmla="*/ 1114425 h 4429294"/>
              <a:gd name="connsiteX44" fmla="*/ 412667 w 4454477"/>
              <a:gd name="connsiteY44" fmla="*/ 857250 h 4429294"/>
              <a:gd name="connsiteX45" fmla="*/ 469817 w 4454477"/>
              <a:gd name="connsiteY45" fmla="*/ 800100 h 4429294"/>
              <a:gd name="connsiteX46" fmla="*/ 603167 w 4454477"/>
              <a:gd name="connsiteY46" fmla="*/ 676275 h 4429294"/>
              <a:gd name="connsiteX47" fmla="*/ 822242 w 4454477"/>
              <a:gd name="connsiteY47" fmla="*/ 504825 h 4429294"/>
              <a:gd name="connsiteX48" fmla="*/ 1101642 w 4454477"/>
              <a:gd name="connsiteY48" fmla="*/ 311150 h 4429294"/>
              <a:gd name="connsiteX49" fmla="*/ 1460417 w 4454477"/>
              <a:gd name="connsiteY49" fmla="*/ 152400 h 4429294"/>
              <a:gd name="connsiteX50" fmla="*/ 1574717 w 4454477"/>
              <a:gd name="connsiteY50" fmla="*/ 111125 h 4429294"/>
              <a:gd name="connsiteX51" fmla="*/ 2206542 w 4454477"/>
              <a:gd name="connsiteY51" fmla="*/ 12700 h 4429294"/>
              <a:gd name="connsiteX0" fmla="*/ 2233750 w 4456285"/>
              <a:gd name="connsiteY0" fmla="*/ 0 h 4429294"/>
              <a:gd name="connsiteX1" fmla="*/ 2557600 w 4456285"/>
              <a:gd name="connsiteY1" fmla="*/ 15875 h 4429294"/>
              <a:gd name="connsiteX2" fmla="*/ 2852875 w 4456285"/>
              <a:gd name="connsiteY2" fmla="*/ 85725 h 4429294"/>
              <a:gd name="connsiteX3" fmla="*/ 3071950 w 4456285"/>
              <a:gd name="connsiteY3" fmla="*/ 171450 h 4429294"/>
              <a:gd name="connsiteX4" fmla="*/ 3176725 w 4456285"/>
              <a:gd name="connsiteY4" fmla="*/ 228600 h 4429294"/>
              <a:gd name="connsiteX5" fmla="*/ 3357700 w 4456285"/>
              <a:gd name="connsiteY5" fmla="*/ 323850 h 4429294"/>
              <a:gd name="connsiteX6" fmla="*/ 3748225 w 4456285"/>
              <a:gd name="connsiteY6" fmla="*/ 581025 h 4429294"/>
              <a:gd name="connsiteX7" fmla="*/ 3964125 w 4456285"/>
              <a:gd name="connsiteY7" fmla="*/ 819150 h 4429294"/>
              <a:gd name="connsiteX8" fmla="*/ 4100650 w 4456285"/>
              <a:gd name="connsiteY8" fmla="*/ 990600 h 4429294"/>
              <a:gd name="connsiteX9" fmla="*/ 4186375 w 4456285"/>
              <a:gd name="connsiteY9" fmla="*/ 1143000 h 4429294"/>
              <a:gd name="connsiteX10" fmla="*/ 4243525 w 4456285"/>
              <a:gd name="connsiteY10" fmla="*/ 1266825 h 4429294"/>
              <a:gd name="connsiteX11" fmla="*/ 4281625 w 4456285"/>
              <a:gd name="connsiteY11" fmla="*/ 1362075 h 4429294"/>
              <a:gd name="connsiteX12" fmla="*/ 4329250 w 4456285"/>
              <a:gd name="connsiteY12" fmla="*/ 1552575 h 4429294"/>
              <a:gd name="connsiteX13" fmla="*/ 4367350 w 4456285"/>
              <a:gd name="connsiteY13" fmla="*/ 1685925 h 4429294"/>
              <a:gd name="connsiteX14" fmla="*/ 4456250 w 4456285"/>
              <a:gd name="connsiteY14" fmla="*/ 2181225 h 4429294"/>
              <a:gd name="connsiteX15" fmla="*/ 4383225 w 4456285"/>
              <a:gd name="connsiteY15" fmla="*/ 2768600 h 4429294"/>
              <a:gd name="connsiteX16" fmla="*/ 4319725 w 4456285"/>
              <a:gd name="connsiteY16" fmla="*/ 2990850 h 4429294"/>
              <a:gd name="connsiteX17" fmla="*/ 4214950 w 4456285"/>
              <a:gd name="connsiteY17" fmla="*/ 3248025 h 4429294"/>
              <a:gd name="connsiteX18" fmla="*/ 4119700 w 4456285"/>
              <a:gd name="connsiteY18" fmla="*/ 3400425 h 4429294"/>
              <a:gd name="connsiteX19" fmla="*/ 3995875 w 4456285"/>
              <a:gd name="connsiteY19" fmla="*/ 3533775 h 4429294"/>
              <a:gd name="connsiteX20" fmla="*/ 3891100 w 4456285"/>
              <a:gd name="connsiteY20" fmla="*/ 3648075 h 4429294"/>
              <a:gd name="connsiteX21" fmla="*/ 3595825 w 4456285"/>
              <a:gd name="connsiteY21" fmla="*/ 3971925 h 4429294"/>
              <a:gd name="connsiteX22" fmla="*/ 3452950 w 4456285"/>
              <a:gd name="connsiteY22" fmla="*/ 4083050 h 4429294"/>
              <a:gd name="connsiteX23" fmla="*/ 3157675 w 4456285"/>
              <a:gd name="connsiteY23" fmla="*/ 4222750 h 4429294"/>
              <a:gd name="connsiteX24" fmla="*/ 3005275 w 4456285"/>
              <a:gd name="connsiteY24" fmla="*/ 4286250 h 4429294"/>
              <a:gd name="connsiteX25" fmla="*/ 2871925 w 4456285"/>
              <a:gd name="connsiteY25" fmla="*/ 4333875 h 4429294"/>
              <a:gd name="connsiteX26" fmla="*/ 2748100 w 4456285"/>
              <a:gd name="connsiteY26" fmla="*/ 4371975 h 4429294"/>
              <a:gd name="connsiteX27" fmla="*/ 2516325 w 4456285"/>
              <a:gd name="connsiteY27" fmla="*/ 4391025 h 4429294"/>
              <a:gd name="connsiteX28" fmla="*/ 2062300 w 4456285"/>
              <a:gd name="connsiteY28" fmla="*/ 4429125 h 4429294"/>
              <a:gd name="connsiteX29" fmla="*/ 1871800 w 4456285"/>
              <a:gd name="connsiteY29" fmla="*/ 4400550 h 4429294"/>
              <a:gd name="connsiteX30" fmla="*/ 1509850 w 4456285"/>
              <a:gd name="connsiteY30" fmla="*/ 4305300 h 4429294"/>
              <a:gd name="connsiteX31" fmla="*/ 1268550 w 4456285"/>
              <a:gd name="connsiteY31" fmla="*/ 4216400 h 4429294"/>
              <a:gd name="connsiteX32" fmla="*/ 1100275 w 4456285"/>
              <a:gd name="connsiteY32" fmla="*/ 4111625 h 4429294"/>
              <a:gd name="connsiteX33" fmla="*/ 881200 w 4456285"/>
              <a:gd name="connsiteY33" fmla="*/ 3968750 h 4429294"/>
              <a:gd name="connsiteX34" fmla="*/ 547825 w 4456285"/>
              <a:gd name="connsiteY34" fmla="*/ 3657600 h 4429294"/>
              <a:gd name="connsiteX35" fmla="*/ 401775 w 4456285"/>
              <a:gd name="connsiteY35" fmla="*/ 3470275 h 4429294"/>
              <a:gd name="connsiteX36" fmla="*/ 271600 w 4456285"/>
              <a:gd name="connsiteY36" fmla="*/ 3244850 h 4429294"/>
              <a:gd name="connsiteX37" fmla="*/ 119200 w 4456285"/>
              <a:gd name="connsiteY37" fmla="*/ 2892425 h 4429294"/>
              <a:gd name="connsiteX38" fmla="*/ 11250 w 4456285"/>
              <a:gd name="connsiteY38" fmla="*/ 2368550 h 4429294"/>
              <a:gd name="connsiteX39" fmla="*/ 17600 w 4456285"/>
              <a:gd name="connsiteY39" fmla="*/ 1870075 h 4429294"/>
              <a:gd name="connsiteX40" fmla="*/ 90625 w 4456285"/>
              <a:gd name="connsiteY40" fmla="*/ 1419225 h 4429294"/>
              <a:gd name="connsiteX41" fmla="*/ 166825 w 4456285"/>
              <a:gd name="connsiteY41" fmla="*/ 1276350 h 4429294"/>
              <a:gd name="connsiteX42" fmla="*/ 252550 w 4456285"/>
              <a:gd name="connsiteY42" fmla="*/ 1114425 h 4429294"/>
              <a:gd name="connsiteX43" fmla="*/ 414475 w 4456285"/>
              <a:gd name="connsiteY43" fmla="*/ 857250 h 4429294"/>
              <a:gd name="connsiteX44" fmla="*/ 471625 w 4456285"/>
              <a:gd name="connsiteY44" fmla="*/ 800100 h 4429294"/>
              <a:gd name="connsiteX45" fmla="*/ 604975 w 4456285"/>
              <a:gd name="connsiteY45" fmla="*/ 676275 h 4429294"/>
              <a:gd name="connsiteX46" fmla="*/ 824050 w 4456285"/>
              <a:gd name="connsiteY46" fmla="*/ 504825 h 4429294"/>
              <a:gd name="connsiteX47" fmla="*/ 1103450 w 4456285"/>
              <a:gd name="connsiteY47" fmla="*/ 311150 h 4429294"/>
              <a:gd name="connsiteX48" fmla="*/ 1462225 w 4456285"/>
              <a:gd name="connsiteY48" fmla="*/ 152400 h 4429294"/>
              <a:gd name="connsiteX49" fmla="*/ 1576525 w 4456285"/>
              <a:gd name="connsiteY49" fmla="*/ 111125 h 4429294"/>
              <a:gd name="connsiteX50" fmla="*/ 2208350 w 4456285"/>
              <a:gd name="connsiteY50" fmla="*/ 12700 h 4429294"/>
              <a:gd name="connsiteX0" fmla="*/ 2237540 w 4460075"/>
              <a:gd name="connsiteY0" fmla="*/ 0 h 4429294"/>
              <a:gd name="connsiteX1" fmla="*/ 2561390 w 4460075"/>
              <a:gd name="connsiteY1" fmla="*/ 15875 h 4429294"/>
              <a:gd name="connsiteX2" fmla="*/ 2856665 w 4460075"/>
              <a:gd name="connsiteY2" fmla="*/ 85725 h 4429294"/>
              <a:gd name="connsiteX3" fmla="*/ 3075740 w 4460075"/>
              <a:gd name="connsiteY3" fmla="*/ 171450 h 4429294"/>
              <a:gd name="connsiteX4" fmla="*/ 3180515 w 4460075"/>
              <a:gd name="connsiteY4" fmla="*/ 228600 h 4429294"/>
              <a:gd name="connsiteX5" fmla="*/ 3361490 w 4460075"/>
              <a:gd name="connsiteY5" fmla="*/ 323850 h 4429294"/>
              <a:gd name="connsiteX6" fmla="*/ 3752015 w 4460075"/>
              <a:gd name="connsiteY6" fmla="*/ 581025 h 4429294"/>
              <a:gd name="connsiteX7" fmla="*/ 3967915 w 4460075"/>
              <a:gd name="connsiteY7" fmla="*/ 819150 h 4429294"/>
              <a:gd name="connsiteX8" fmla="*/ 4104440 w 4460075"/>
              <a:gd name="connsiteY8" fmla="*/ 990600 h 4429294"/>
              <a:gd name="connsiteX9" fmla="*/ 4190165 w 4460075"/>
              <a:gd name="connsiteY9" fmla="*/ 1143000 h 4429294"/>
              <a:gd name="connsiteX10" fmla="*/ 4247315 w 4460075"/>
              <a:gd name="connsiteY10" fmla="*/ 1266825 h 4429294"/>
              <a:gd name="connsiteX11" fmla="*/ 4285415 w 4460075"/>
              <a:gd name="connsiteY11" fmla="*/ 1362075 h 4429294"/>
              <a:gd name="connsiteX12" fmla="*/ 4333040 w 4460075"/>
              <a:gd name="connsiteY12" fmla="*/ 1552575 h 4429294"/>
              <a:gd name="connsiteX13" fmla="*/ 4371140 w 4460075"/>
              <a:gd name="connsiteY13" fmla="*/ 1685925 h 4429294"/>
              <a:gd name="connsiteX14" fmla="*/ 4460040 w 4460075"/>
              <a:gd name="connsiteY14" fmla="*/ 2181225 h 4429294"/>
              <a:gd name="connsiteX15" fmla="*/ 4387015 w 4460075"/>
              <a:gd name="connsiteY15" fmla="*/ 2768600 h 4429294"/>
              <a:gd name="connsiteX16" fmla="*/ 4323515 w 4460075"/>
              <a:gd name="connsiteY16" fmla="*/ 2990850 h 4429294"/>
              <a:gd name="connsiteX17" fmla="*/ 4218740 w 4460075"/>
              <a:gd name="connsiteY17" fmla="*/ 3248025 h 4429294"/>
              <a:gd name="connsiteX18" fmla="*/ 4123490 w 4460075"/>
              <a:gd name="connsiteY18" fmla="*/ 3400425 h 4429294"/>
              <a:gd name="connsiteX19" fmla="*/ 3999665 w 4460075"/>
              <a:gd name="connsiteY19" fmla="*/ 3533775 h 4429294"/>
              <a:gd name="connsiteX20" fmla="*/ 3894890 w 4460075"/>
              <a:gd name="connsiteY20" fmla="*/ 3648075 h 4429294"/>
              <a:gd name="connsiteX21" fmla="*/ 3599615 w 4460075"/>
              <a:gd name="connsiteY21" fmla="*/ 3971925 h 4429294"/>
              <a:gd name="connsiteX22" fmla="*/ 3456740 w 4460075"/>
              <a:gd name="connsiteY22" fmla="*/ 4083050 h 4429294"/>
              <a:gd name="connsiteX23" fmla="*/ 3161465 w 4460075"/>
              <a:gd name="connsiteY23" fmla="*/ 4222750 h 4429294"/>
              <a:gd name="connsiteX24" fmla="*/ 3009065 w 4460075"/>
              <a:gd name="connsiteY24" fmla="*/ 4286250 h 4429294"/>
              <a:gd name="connsiteX25" fmla="*/ 2875715 w 4460075"/>
              <a:gd name="connsiteY25" fmla="*/ 4333875 h 4429294"/>
              <a:gd name="connsiteX26" fmla="*/ 2751890 w 4460075"/>
              <a:gd name="connsiteY26" fmla="*/ 4371975 h 4429294"/>
              <a:gd name="connsiteX27" fmla="*/ 2520115 w 4460075"/>
              <a:gd name="connsiteY27" fmla="*/ 4391025 h 4429294"/>
              <a:gd name="connsiteX28" fmla="*/ 2066090 w 4460075"/>
              <a:gd name="connsiteY28" fmla="*/ 4429125 h 4429294"/>
              <a:gd name="connsiteX29" fmla="*/ 1875590 w 4460075"/>
              <a:gd name="connsiteY29" fmla="*/ 4400550 h 4429294"/>
              <a:gd name="connsiteX30" fmla="*/ 1513640 w 4460075"/>
              <a:gd name="connsiteY30" fmla="*/ 4305300 h 4429294"/>
              <a:gd name="connsiteX31" fmla="*/ 1272340 w 4460075"/>
              <a:gd name="connsiteY31" fmla="*/ 4216400 h 4429294"/>
              <a:gd name="connsiteX32" fmla="*/ 1104065 w 4460075"/>
              <a:gd name="connsiteY32" fmla="*/ 4111625 h 4429294"/>
              <a:gd name="connsiteX33" fmla="*/ 884990 w 4460075"/>
              <a:gd name="connsiteY33" fmla="*/ 3968750 h 4429294"/>
              <a:gd name="connsiteX34" fmla="*/ 551615 w 4460075"/>
              <a:gd name="connsiteY34" fmla="*/ 3657600 h 4429294"/>
              <a:gd name="connsiteX35" fmla="*/ 405565 w 4460075"/>
              <a:gd name="connsiteY35" fmla="*/ 3470275 h 4429294"/>
              <a:gd name="connsiteX36" fmla="*/ 275390 w 4460075"/>
              <a:gd name="connsiteY36" fmla="*/ 3244850 h 4429294"/>
              <a:gd name="connsiteX37" fmla="*/ 122990 w 4460075"/>
              <a:gd name="connsiteY37" fmla="*/ 2892425 h 4429294"/>
              <a:gd name="connsiteX38" fmla="*/ 15040 w 4460075"/>
              <a:gd name="connsiteY38" fmla="*/ 2368550 h 4429294"/>
              <a:gd name="connsiteX39" fmla="*/ 21390 w 4460075"/>
              <a:gd name="connsiteY39" fmla="*/ 1870075 h 4429294"/>
              <a:gd name="connsiteX40" fmla="*/ 170615 w 4460075"/>
              <a:gd name="connsiteY40" fmla="*/ 1276350 h 4429294"/>
              <a:gd name="connsiteX41" fmla="*/ 256340 w 4460075"/>
              <a:gd name="connsiteY41" fmla="*/ 1114425 h 4429294"/>
              <a:gd name="connsiteX42" fmla="*/ 418265 w 4460075"/>
              <a:gd name="connsiteY42" fmla="*/ 857250 h 4429294"/>
              <a:gd name="connsiteX43" fmla="*/ 475415 w 4460075"/>
              <a:gd name="connsiteY43" fmla="*/ 800100 h 4429294"/>
              <a:gd name="connsiteX44" fmla="*/ 608765 w 4460075"/>
              <a:gd name="connsiteY44" fmla="*/ 676275 h 4429294"/>
              <a:gd name="connsiteX45" fmla="*/ 827840 w 4460075"/>
              <a:gd name="connsiteY45" fmla="*/ 504825 h 4429294"/>
              <a:gd name="connsiteX46" fmla="*/ 1107240 w 4460075"/>
              <a:gd name="connsiteY46" fmla="*/ 311150 h 4429294"/>
              <a:gd name="connsiteX47" fmla="*/ 1466015 w 4460075"/>
              <a:gd name="connsiteY47" fmla="*/ 152400 h 4429294"/>
              <a:gd name="connsiteX48" fmla="*/ 1580315 w 4460075"/>
              <a:gd name="connsiteY48" fmla="*/ 111125 h 4429294"/>
              <a:gd name="connsiteX49" fmla="*/ 2212140 w 4460075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57065 w 4460800"/>
              <a:gd name="connsiteY41" fmla="*/ 1114425 h 4429294"/>
              <a:gd name="connsiteX42" fmla="*/ 418990 w 4460800"/>
              <a:gd name="connsiteY42" fmla="*/ 857250 h 4429294"/>
              <a:gd name="connsiteX43" fmla="*/ 476140 w 4460800"/>
              <a:gd name="connsiteY43" fmla="*/ 800100 h 4429294"/>
              <a:gd name="connsiteX44" fmla="*/ 609490 w 4460800"/>
              <a:gd name="connsiteY44" fmla="*/ 676275 h 4429294"/>
              <a:gd name="connsiteX45" fmla="*/ 828565 w 4460800"/>
              <a:gd name="connsiteY45" fmla="*/ 504825 h 4429294"/>
              <a:gd name="connsiteX46" fmla="*/ 1107965 w 4460800"/>
              <a:gd name="connsiteY46" fmla="*/ 311150 h 4429294"/>
              <a:gd name="connsiteX47" fmla="*/ 1466740 w 4460800"/>
              <a:gd name="connsiteY47" fmla="*/ 152400 h 4429294"/>
              <a:gd name="connsiteX48" fmla="*/ 1581040 w 4460800"/>
              <a:gd name="connsiteY48" fmla="*/ 111125 h 4429294"/>
              <a:gd name="connsiteX49" fmla="*/ 2212865 w 4460800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418990 w 4460800"/>
              <a:gd name="connsiteY42" fmla="*/ 857250 h 4429294"/>
              <a:gd name="connsiteX43" fmla="*/ 476140 w 4460800"/>
              <a:gd name="connsiteY43" fmla="*/ 800100 h 4429294"/>
              <a:gd name="connsiteX44" fmla="*/ 609490 w 4460800"/>
              <a:gd name="connsiteY44" fmla="*/ 676275 h 4429294"/>
              <a:gd name="connsiteX45" fmla="*/ 828565 w 4460800"/>
              <a:gd name="connsiteY45" fmla="*/ 504825 h 4429294"/>
              <a:gd name="connsiteX46" fmla="*/ 1107965 w 4460800"/>
              <a:gd name="connsiteY46" fmla="*/ 311150 h 4429294"/>
              <a:gd name="connsiteX47" fmla="*/ 1466740 w 4460800"/>
              <a:gd name="connsiteY47" fmla="*/ 152400 h 4429294"/>
              <a:gd name="connsiteX48" fmla="*/ 1581040 w 4460800"/>
              <a:gd name="connsiteY48" fmla="*/ 111125 h 4429294"/>
              <a:gd name="connsiteX49" fmla="*/ 2212865 w 4460800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476140 w 4460800"/>
              <a:gd name="connsiteY42" fmla="*/ 800100 h 4429294"/>
              <a:gd name="connsiteX43" fmla="*/ 609490 w 4460800"/>
              <a:gd name="connsiteY43" fmla="*/ 676275 h 4429294"/>
              <a:gd name="connsiteX44" fmla="*/ 828565 w 4460800"/>
              <a:gd name="connsiteY44" fmla="*/ 504825 h 4429294"/>
              <a:gd name="connsiteX45" fmla="*/ 1107965 w 4460800"/>
              <a:gd name="connsiteY45" fmla="*/ 311150 h 4429294"/>
              <a:gd name="connsiteX46" fmla="*/ 1466740 w 4460800"/>
              <a:gd name="connsiteY46" fmla="*/ 152400 h 4429294"/>
              <a:gd name="connsiteX47" fmla="*/ 1581040 w 4460800"/>
              <a:gd name="connsiteY47" fmla="*/ 111125 h 4429294"/>
              <a:gd name="connsiteX48" fmla="*/ 2212865 w 4460800"/>
              <a:gd name="connsiteY48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609490 w 4460800"/>
              <a:gd name="connsiteY42" fmla="*/ 676275 h 4429294"/>
              <a:gd name="connsiteX43" fmla="*/ 828565 w 4460800"/>
              <a:gd name="connsiteY43" fmla="*/ 504825 h 4429294"/>
              <a:gd name="connsiteX44" fmla="*/ 1107965 w 4460800"/>
              <a:gd name="connsiteY44" fmla="*/ 311150 h 4429294"/>
              <a:gd name="connsiteX45" fmla="*/ 1466740 w 4460800"/>
              <a:gd name="connsiteY45" fmla="*/ 152400 h 4429294"/>
              <a:gd name="connsiteX46" fmla="*/ 1581040 w 4460800"/>
              <a:gd name="connsiteY46" fmla="*/ 111125 h 4429294"/>
              <a:gd name="connsiteX47" fmla="*/ 2212865 w 4460800"/>
              <a:gd name="connsiteY47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609490 w 4460800"/>
              <a:gd name="connsiteY42" fmla="*/ 676275 h 4429294"/>
              <a:gd name="connsiteX43" fmla="*/ 828565 w 4460800"/>
              <a:gd name="connsiteY43" fmla="*/ 504825 h 4429294"/>
              <a:gd name="connsiteX44" fmla="*/ 1107965 w 4460800"/>
              <a:gd name="connsiteY44" fmla="*/ 311150 h 4429294"/>
              <a:gd name="connsiteX45" fmla="*/ 1466740 w 4460800"/>
              <a:gd name="connsiteY45" fmla="*/ 152400 h 4429294"/>
              <a:gd name="connsiteX46" fmla="*/ 1581040 w 4460800"/>
              <a:gd name="connsiteY46" fmla="*/ 111125 h 4429294"/>
              <a:gd name="connsiteX47" fmla="*/ 2212865 w 4460800"/>
              <a:gd name="connsiteY47" fmla="*/ 12700 h 4429294"/>
              <a:gd name="connsiteX48" fmla="*/ 2238265 w 4460800"/>
              <a:gd name="connsiteY48" fmla="*/ 0 h 4429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460800" h="4429294">
                <a:moveTo>
                  <a:pt x="2238265" y="0"/>
                </a:moveTo>
                <a:cubicBezTo>
                  <a:pt x="2346215" y="5292"/>
                  <a:pt x="2458928" y="1588"/>
                  <a:pt x="2562115" y="15875"/>
                </a:cubicBezTo>
                <a:cubicBezTo>
                  <a:pt x="2665302" y="30162"/>
                  <a:pt x="2798653" y="69321"/>
                  <a:pt x="2857390" y="85725"/>
                </a:cubicBezTo>
                <a:cubicBezTo>
                  <a:pt x="2943115" y="111654"/>
                  <a:pt x="3033603" y="153988"/>
                  <a:pt x="3076465" y="171450"/>
                </a:cubicBezTo>
                <a:cubicBezTo>
                  <a:pt x="3130440" y="195262"/>
                  <a:pt x="3133615" y="203200"/>
                  <a:pt x="3181240" y="228600"/>
                </a:cubicBezTo>
                <a:cubicBezTo>
                  <a:pt x="3228865" y="254000"/>
                  <a:pt x="3266965" y="265113"/>
                  <a:pt x="3362215" y="323850"/>
                </a:cubicBezTo>
                <a:cubicBezTo>
                  <a:pt x="3457465" y="382588"/>
                  <a:pt x="3651669" y="498475"/>
                  <a:pt x="3752740" y="581025"/>
                </a:cubicBezTo>
                <a:cubicBezTo>
                  <a:pt x="3853811" y="663575"/>
                  <a:pt x="3909903" y="750888"/>
                  <a:pt x="3968640" y="819150"/>
                </a:cubicBezTo>
                <a:cubicBezTo>
                  <a:pt x="4027378" y="887413"/>
                  <a:pt x="4068123" y="936625"/>
                  <a:pt x="4105165" y="990600"/>
                </a:cubicBezTo>
                <a:cubicBezTo>
                  <a:pt x="4142207" y="1044575"/>
                  <a:pt x="4175015" y="1109663"/>
                  <a:pt x="4190890" y="1143000"/>
                </a:cubicBezTo>
                <a:cubicBezTo>
                  <a:pt x="4214703" y="1189038"/>
                  <a:pt x="4232165" y="1230313"/>
                  <a:pt x="4248040" y="1266825"/>
                </a:cubicBezTo>
                <a:cubicBezTo>
                  <a:pt x="4263915" y="1303338"/>
                  <a:pt x="4271853" y="1314450"/>
                  <a:pt x="4286140" y="1362075"/>
                </a:cubicBezTo>
                <a:cubicBezTo>
                  <a:pt x="4300427" y="1409700"/>
                  <a:pt x="4319478" y="1498600"/>
                  <a:pt x="4333765" y="1552575"/>
                </a:cubicBezTo>
                <a:cubicBezTo>
                  <a:pt x="4348053" y="1606550"/>
                  <a:pt x="4350698" y="1581150"/>
                  <a:pt x="4371865" y="1685925"/>
                </a:cubicBezTo>
                <a:cubicBezTo>
                  <a:pt x="4393032" y="1790700"/>
                  <a:pt x="4459178" y="1982788"/>
                  <a:pt x="4460765" y="2181225"/>
                </a:cubicBezTo>
                <a:cubicBezTo>
                  <a:pt x="4462352" y="2379662"/>
                  <a:pt x="4410494" y="2633663"/>
                  <a:pt x="4387740" y="2768600"/>
                </a:cubicBezTo>
                <a:cubicBezTo>
                  <a:pt x="4364986" y="2903537"/>
                  <a:pt x="4352286" y="2910946"/>
                  <a:pt x="4324240" y="2990850"/>
                </a:cubicBezTo>
                <a:cubicBezTo>
                  <a:pt x="4296194" y="3070754"/>
                  <a:pt x="4252802" y="3179763"/>
                  <a:pt x="4219465" y="3248025"/>
                </a:cubicBezTo>
                <a:cubicBezTo>
                  <a:pt x="4186128" y="3316287"/>
                  <a:pt x="4160728" y="3352800"/>
                  <a:pt x="4124215" y="3400425"/>
                </a:cubicBezTo>
                <a:cubicBezTo>
                  <a:pt x="4087703" y="3448050"/>
                  <a:pt x="4038490" y="3492500"/>
                  <a:pt x="4000390" y="3533775"/>
                </a:cubicBezTo>
                <a:lnTo>
                  <a:pt x="3895615" y="3648075"/>
                </a:lnTo>
                <a:cubicBezTo>
                  <a:pt x="3797190" y="3756025"/>
                  <a:pt x="3673365" y="3899429"/>
                  <a:pt x="3600340" y="3971925"/>
                </a:cubicBezTo>
                <a:cubicBezTo>
                  <a:pt x="3527315" y="4044421"/>
                  <a:pt x="3530490" y="4041246"/>
                  <a:pt x="3457465" y="4083050"/>
                </a:cubicBezTo>
                <a:cubicBezTo>
                  <a:pt x="3384440" y="4124854"/>
                  <a:pt x="3236802" y="4188883"/>
                  <a:pt x="3162190" y="4222750"/>
                </a:cubicBezTo>
                <a:cubicBezTo>
                  <a:pt x="3087578" y="4256617"/>
                  <a:pt x="3038173" y="4283885"/>
                  <a:pt x="3009790" y="4286250"/>
                </a:cubicBezTo>
                <a:cubicBezTo>
                  <a:pt x="2947977" y="4310975"/>
                  <a:pt x="2954113" y="4309602"/>
                  <a:pt x="2876440" y="4333875"/>
                </a:cubicBezTo>
                <a:cubicBezTo>
                  <a:pt x="2853306" y="4341104"/>
                  <a:pt x="2811882" y="4362450"/>
                  <a:pt x="2752615" y="4371975"/>
                </a:cubicBezTo>
                <a:cubicBezTo>
                  <a:pt x="2693348" y="4381500"/>
                  <a:pt x="2635140" y="4381500"/>
                  <a:pt x="2520840" y="4391025"/>
                </a:cubicBezTo>
                <a:cubicBezTo>
                  <a:pt x="2406540" y="4400550"/>
                  <a:pt x="2174236" y="4427538"/>
                  <a:pt x="2066815" y="4429125"/>
                </a:cubicBezTo>
                <a:cubicBezTo>
                  <a:pt x="1959394" y="4430712"/>
                  <a:pt x="1968390" y="4421187"/>
                  <a:pt x="1876315" y="4400550"/>
                </a:cubicBezTo>
                <a:cubicBezTo>
                  <a:pt x="1784240" y="4379913"/>
                  <a:pt x="1614907" y="4335992"/>
                  <a:pt x="1514365" y="4305300"/>
                </a:cubicBezTo>
                <a:cubicBezTo>
                  <a:pt x="1413823" y="4274608"/>
                  <a:pt x="1353498" y="4246033"/>
                  <a:pt x="1273065" y="4216400"/>
                </a:cubicBezTo>
                <a:cubicBezTo>
                  <a:pt x="1206390" y="4187825"/>
                  <a:pt x="1169348" y="4152900"/>
                  <a:pt x="1104790" y="4111625"/>
                </a:cubicBezTo>
                <a:cubicBezTo>
                  <a:pt x="1040232" y="4070350"/>
                  <a:pt x="977790" y="4044421"/>
                  <a:pt x="885715" y="3968750"/>
                </a:cubicBezTo>
                <a:cubicBezTo>
                  <a:pt x="793640" y="3893079"/>
                  <a:pt x="632244" y="3740679"/>
                  <a:pt x="552340" y="3657600"/>
                </a:cubicBezTo>
                <a:cubicBezTo>
                  <a:pt x="472436" y="3574521"/>
                  <a:pt x="452327" y="3539067"/>
                  <a:pt x="406290" y="3470275"/>
                </a:cubicBezTo>
                <a:cubicBezTo>
                  <a:pt x="360253" y="3401483"/>
                  <a:pt x="323211" y="3341158"/>
                  <a:pt x="276115" y="3244850"/>
                </a:cubicBezTo>
                <a:cubicBezTo>
                  <a:pt x="229019" y="3148542"/>
                  <a:pt x="167107" y="3038475"/>
                  <a:pt x="123715" y="2892425"/>
                </a:cubicBezTo>
                <a:cubicBezTo>
                  <a:pt x="80323" y="2746375"/>
                  <a:pt x="37990" y="2553758"/>
                  <a:pt x="15765" y="2368550"/>
                </a:cubicBezTo>
                <a:cubicBezTo>
                  <a:pt x="-6460" y="2183342"/>
                  <a:pt x="-5931" y="2044700"/>
                  <a:pt x="22115" y="1870075"/>
                </a:cubicBezTo>
                <a:cubicBezTo>
                  <a:pt x="50161" y="1695450"/>
                  <a:pt x="139590" y="1446742"/>
                  <a:pt x="184040" y="1320800"/>
                </a:cubicBezTo>
                <a:cubicBezTo>
                  <a:pt x="228490" y="1194858"/>
                  <a:pt x="217907" y="1221846"/>
                  <a:pt x="288815" y="1114425"/>
                </a:cubicBezTo>
                <a:cubicBezTo>
                  <a:pt x="359723" y="1007004"/>
                  <a:pt x="519532" y="777875"/>
                  <a:pt x="609490" y="676275"/>
                </a:cubicBezTo>
                <a:cubicBezTo>
                  <a:pt x="699448" y="574675"/>
                  <a:pt x="745486" y="565679"/>
                  <a:pt x="828565" y="504825"/>
                </a:cubicBezTo>
                <a:cubicBezTo>
                  <a:pt x="911644" y="443971"/>
                  <a:pt x="997898" y="379942"/>
                  <a:pt x="1107965" y="311150"/>
                </a:cubicBezTo>
                <a:cubicBezTo>
                  <a:pt x="1214328" y="252413"/>
                  <a:pt x="1387894" y="185737"/>
                  <a:pt x="1466740" y="152400"/>
                </a:cubicBezTo>
                <a:cubicBezTo>
                  <a:pt x="1545586" y="119063"/>
                  <a:pt x="1456686" y="134408"/>
                  <a:pt x="1581040" y="111125"/>
                </a:cubicBezTo>
                <a:cubicBezTo>
                  <a:pt x="1810698" y="67733"/>
                  <a:pt x="1945107" y="-7408"/>
                  <a:pt x="2212865" y="12700"/>
                </a:cubicBezTo>
                <a:lnTo>
                  <a:pt x="2238265" y="0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40" tIns="45720" rIns="91440" bIns="45720" rtlCol="0" anchor="ctr"/>
          <a:lstStyle/>
          <a:p>
            <a:pPr algn="ctr" fontAlgn="t"/>
            <a:endParaRPr lang="da-DK" sz="1200" b="1">
              <a:solidFill>
                <a:srgbClr val="004C45"/>
              </a:solidFill>
            </a:endParaRP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CDF58458-9F5D-4C68-8CCF-F6C1E2B3AE33}"/>
              </a:ext>
            </a:extLst>
          </p:cNvPr>
          <p:cNvGrpSpPr/>
          <p:nvPr/>
        </p:nvGrpSpPr>
        <p:grpSpPr>
          <a:xfrm>
            <a:off x="2905803" y="1776007"/>
            <a:ext cx="498628" cy="498626"/>
            <a:chOff x="-1159155" y="1739431"/>
            <a:chExt cx="563866" cy="563864"/>
          </a:xfrm>
        </p:grpSpPr>
        <p:sp>
          <p:nvSpPr>
            <p:cNvPr id="44" name="Oval 587">
              <a:extLst>
                <a:ext uri="{FF2B5EF4-FFF2-40B4-BE49-F238E27FC236}">
                  <a16:creationId xmlns:a16="http://schemas.microsoft.com/office/drawing/2014/main" id="{52FB9530-6734-4372-8E6D-2E63CB72FE4E}"/>
                </a:ext>
              </a:extLst>
            </p:cNvPr>
            <p:cNvSpPr/>
            <p:nvPr/>
          </p:nvSpPr>
          <p:spPr>
            <a:xfrm>
              <a:off x="-1159155" y="1739431"/>
              <a:ext cx="563866" cy="563864"/>
            </a:xfrm>
            <a:prstGeom prst="ellipse">
              <a:avLst/>
            </a:pr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52" name="Freeform: Shape 591">
              <a:extLst>
                <a:ext uri="{FF2B5EF4-FFF2-40B4-BE49-F238E27FC236}">
                  <a16:creationId xmlns:a16="http://schemas.microsoft.com/office/drawing/2014/main" id="{4B50D5E9-92F7-4ABD-B540-3E26908709C0}"/>
                </a:ext>
              </a:extLst>
            </p:cNvPr>
            <p:cNvSpPr/>
            <p:nvPr/>
          </p:nvSpPr>
          <p:spPr>
            <a:xfrm>
              <a:off x="-1023531" y="1910589"/>
              <a:ext cx="292618" cy="221550"/>
            </a:xfrm>
            <a:custGeom>
              <a:avLst/>
              <a:gdLst/>
              <a:ahLst/>
              <a:cxnLst/>
              <a:rect l="l" t="t" r="r" b="b"/>
              <a:pathLst>
                <a:path w="75629" h="57261">
                  <a:moveTo>
                    <a:pt x="70210" y="0"/>
                  </a:moveTo>
                  <a:cubicBezTo>
                    <a:pt x="71401" y="0"/>
                    <a:pt x="72405" y="55"/>
                    <a:pt x="73224" y="167"/>
                  </a:cubicBezTo>
                  <a:cubicBezTo>
                    <a:pt x="74042" y="279"/>
                    <a:pt x="74638" y="465"/>
                    <a:pt x="75010" y="725"/>
                  </a:cubicBezTo>
                  <a:cubicBezTo>
                    <a:pt x="75382" y="985"/>
                    <a:pt x="75587" y="1339"/>
                    <a:pt x="75624" y="1785"/>
                  </a:cubicBezTo>
                  <a:cubicBezTo>
                    <a:pt x="75661" y="2232"/>
                    <a:pt x="75494" y="2753"/>
                    <a:pt x="75121" y="3348"/>
                  </a:cubicBezTo>
                  <a:lnTo>
                    <a:pt x="60499" y="34044"/>
                  </a:lnTo>
                  <a:lnTo>
                    <a:pt x="60499" y="48108"/>
                  </a:lnTo>
                  <a:cubicBezTo>
                    <a:pt x="60499" y="50043"/>
                    <a:pt x="60294" y="51606"/>
                    <a:pt x="59885" y="52796"/>
                  </a:cubicBezTo>
                  <a:cubicBezTo>
                    <a:pt x="59476" y="53987"/>
                    <a:pt x="58843" y="54917"/>
                    <a:pt x="57988" y="55587"/>
                  </a:cubicBezTo>
                  <a:cubicBezTo>
                    <a:pt x="57132" y="56257"/>
                    <a:pt x="56053" y="56703"/>
                    <a:pt x="54751" y="56926"/>
                  </a:cubicBezTo>
                  <a:cubicBezTo>
                    <a:pt x="53448" y="57150"/>
                    <a:pt x="51904" y="57261"/>
                    <a:pt x="50118" y="57261"/>
                  </a:cubicBezTo>
                  <a:cubicBezTo>
                    <a:pt x="48332" y="57261"/>
                    <a:pt x="46807" y="57150"/>
                    <a:pt x="45542" y="56926"/>
                  </a:cubicBezTo>
                  <a:cubicBezTo>
                    <a:pt x="44277" y="56703"/>
                    <a:pt x="43235" y="56257"/>
                    <a:pt x="42416" y="55587"/>
                  </a:cubicBezTo>
                  <a:cubicBezTo>
                    <a:pt x="41598" y="54917"/>
                    <a:pt x="40984" y="53987"/>
                    <a:pt x="40575" y="52796"/>
                  </a:cubicBezTo>
                  <a:cubicBezTo>
                    <a:pt x="40165" y="51606"/>
                    <a:pt x="39961" y="50043"/>
                    <a:pt x="39961" y="48108"/>
                  </a:cubicBezTo>
                  <a:cubicBezTo>
                    <a:pt x="39961" y="45876"/>
                    <a:pt x="40072" y="43811"/>
                    <a:pt x="40296" y="41913"/>
                  </a:cubicBezTo>
                  <a:cubicBezTo>
                    <a:pt x="40519" y="40016"/>
                    <a:pt x="40872" y="38211"/>
                    <a:pt x="41356" y="36500"/>
                  </a:cubicBezTo>
                  <a:cubicBezTo>
                    <a:pt x="41840" y="34788"/>
                    <a:pt x="42509" y="33095"/>
                    <a:pt x="43365" y="31421"/>
                  </a:cubicBezTo>
                  <a:cubicBezTo>
                    <a:pt x="44221" y="29747"/>
                    <a:pt x="45244" y="27979"/>
                    <a:pt x="46435" y="26119"/>
                  </a:cubicBezTo>
                  <a:lnTo>
                    <a:pt x="61504" y="3237"/>
                  </a:lnTo>
                  <a:cubicBezTo>
                    <a:pt x="61876" y="2641"/>
                    <a:pt x="62285" y="2158"/>
                    <a:pt x="62732" y="1785"/>
                  </a:cubicBezTo>
                  <a:cubicBezTo>
                    <a:pt x="63178" y="1413"/>
                    <a:pt x="63736" y="1097"/>
                    <a:pt x="64406" y="837"/>
                  </a:cubicBezTo>
                  <a:cubicBezTo>
                    <a:pt x="65076" y="576"/>
                    <a:pt x="65876" y="372"/>
                    <a:pt x="66806" y="223"/>
                  </a:cubicBezTo>
                  <a:cubicBezTo>
                    <a:pt x="67736" y="74"/>
                    <a:pt x="68871" y="0"/>
                    <a:pt x="70210" y="0"/>
                  </a:cubicBezTo>
                  <a:close/>
                  <a:moveTo>
                    <a:pt x="30250" y="0"/>
                  </a:moveTo>
                  <a:cubicBezTo>
                    <a:pt x="31440" y="0"/>
                    <a:pt x="32426" y="55"/>
                    <a:pt x="33208" y="167"/>
                  </a:cubicBezTo>
                  <a:cubicBezTo>
                    <a:pt x="33989" y="279"/>
                    <a:pt x="34584" y="465"/>
                    <a:pt x="34994" y="725"/>
                  </a:cubicBezTo>
                  <a:cubicBezTo>
                    <a:pt x="35403" y="985"/>
                    <a:pt x="35608" y="1339"/>
                    <a:pt x="35608" y="1785"/>
                  </a:cubicBezTo>
                  <a:cubicBezTo>
                    <a:pt x="35608" y="2232"/>
                    <a:pt x="35459" y="2753"/>
                    <a:pt x="35161" y="3348"/>
                  </a:cubicBezTo>
                  <a:lnTo>
                    <a:pt x="20539" y="34044"/>
                  </a:lnTo>
                  <a:lnTo>
                    <a:pt x="20539" y="48108"/>
                  </a:lnTo>
                  <a:cubicBezTo>
                    <a:pt x="20539" y="50043"/>
                    <a:pt x="20334" y="51606"/>
                    <a:pt x="19925" y="52796"/>
                  </a:cubicBezTo>
                  <a:cubicBezTo>
                    <a:pt x="19516" y="53987"/>
                    <a:pt x="18883" y="54917"/>
                    <a:pt x="18027" y="55587"/>
                  </a:cubicBezTo>
                  <a:cubicBezTo>
                    <a:pt x="17172" y="56257"/>
                    <a:pt x="16093" y="56703"/>
                    <a:pt x="14790" y="56926"/>
                  </a:cubicBezTo>
                  <a:cubicBezTo>
                    <a:pt x="13488" y="57150"/>
                    <a:pt x="11944" y="57261"/>
                    <a:pt x="10158" y="57261"/>
                  </a:cubicBezTo>
                  <a:cubicBezTo>
                    <a:pt x="8372" y="57261"/>
                    <a:pt x="6847" y="57150"/>
                    <a:pt x="5582" y="56926"/>
                  </a:cubicBezTo>
                  <a:cubicBezTo>
                    <a:pt x="4316" y="56703"/>
                    <a:pt x="3275" y="56257"/>
                    <a:pt x="2456" y="55587"/>
                  </a:cubicBezTo>
                  <a:cubicBezTo>
                    <a:pt x="1638" y="54917"/>
                    <a:pt x="1024" y="53987"/>
                    <a:pt x="614" y="52796"/>
                  </a:cubicBezTo>
                  <a:cubicBezTo>
                    <a:pt x="205" y="51606"/>
                    <a:pt x="0" y="50043"/>
                    <a:pt x="0" y="48108"/>
                  </a:cubicBezTo>
                  <a:cubicBezTo>
                    <a:pt x="0" y="45876"/>
                    <a:pt x="112" y="43811"/>
                    <a:pt x="335" y="41913"/>
                  </a:cubicBezTo>
                  <a:cubicBezTo>
                    <a:pt x="559" y="40016"/>
                    <a:pt x="912" y="38211"/>
                    <a:pt x="1396" y="36500"/>
                  </a:cubicBezTo>
                  <a:cubicBezTo>
                    <a:pt x="1879" y="34788"/>
                    <a:pt x="2549" y="33095"/>
                    <a:pt x="3405" y="31421"/>
                  </a:cubicBezTo>
                  <a:cubicBezTo>
                    <a:pt x="4261" y="29747"/>
                    <a:pt x="5284" y="27979"/>
                    <a:pt x="6474" y="26119"/>
                  </a:cubicBezTo>
                  <a:lnTo>
                    <a:pt x="21543" y="3237"/>
                  </a:lnTo>
                  <a:cubicBezTo>
                    <a:pt x="21915" y="2641"/>
                    <a:pt x="22325" y="2158"/>
                    <a:pt x="22771" y="1785"/>
                  </a:cubicBezTo>
                  <a:cubicBezTo>
                    <a:pt x="23218" y="1413"/>
                    <a:pt x="23776" y="1097"/>
                    <a:pt x="24445" y="837"/>
                  </a:cubicBezTo>
                  <a:cubicBezTo>
                    <a:pt x="25115" y="576"/>
                    <a:pt x="25915" y="372"/>
                    <a:pt x="26845" y="223"/>
                  </a:cubicBezTo>
                  <a:cubicBezTo>
                    <a:pt x="27776" y="74"/>
                    <a:pt x="28910" y="0"/>
                    <a:pt x="30250" y="0"/>
                  </a:cubicBezTo>
                  <a:close/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a-DK" sz="1400"/>
            </a:p>
          </p:txBody>
        </p:sp>
      </p:grpSp>
      <p:sp>
        <p:nvSpPr>
          <p:cNvPr id="54" name="Freeform: Shape 4">
            <a:extLst>
              <a:ext uri="{FF2B5EF4-FFF2-40B4-BE49-F238E27FC236}">
                <a16:creationId xmlns:a16="http://schemas.microsoft.com/office/drawing/2014/main" id="{C0F69960-ADFC-454E-B2F0-82E3171822BF}"/>
              </a:ext>
            </a:extLst>
          </p:cNvPr>
          <p:cNvSpPr/>
          <p:nvPr/>
        </p:nvSpPr>
        <p:spPr>
          <a:xfrm>
            <a:off x="2850241" y="2689417"/>
            <a:ext cx="609752" cy="580470"/>
          </a:xfrm>
          <a:custGeom>
            <a:avLst/>
            <a:gdLst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944902 w 4469152"/>
              <a:gd name="connsiteY150" fmla="*/ 476250 h 4496940"/>
              <a:gd name="connsiteX151" fmla="*/ 1087777 w 4469152"/>
              <a:gd name="connsiteY151" fmla="*/ 409575 h 4496940"/>
              <a:gd name="connsiteX152" fmla="*/ 1202077 w 4469152"/>
              <a:gd name="connsiteY152" fmla="*/ 314325 h 4496940"/>
              <a:gd name="connsiteX153" fmla="*/ 1268752 w 4469152"/>
              <a:gd name="connsiteY153" fmla="*/ 285750 h 4496940"/>
              <a:gd name="connsiteX154" fmla="*/ 1411627 w 4469152"/>
              <a:gd name="connsiteY154" fmla="*/ 190500 h 4496940"/>
              <a:gd name="connsiteX155" fmla="*/ 1449727 w 4469152"/>
              <a:gd name="connsiteY155" fmla="*/ 161925 h 4496940"/>
              <a:gd name="connsiteX156" fmla="*/ 1525927 w 4469152"/>
              <a:gd name="connsiteY156" fmla="*/ 152400 h 4496940"/>
              <a:gd name="connsiteX157" fmla="*/ 1583077 w 4469152"/>
              <a:gd name="connsiteY157" fmla="*/ 142875 h 4496940"/>
              <a:gd name="connsiteX158" fmla="*/ 1716427 w 4469152"/>
              <a:gd name="connsiteY158" fmla="*/ 123825 h 4496940"/>
              <a:gd name="connsiteX159" fmla="*/ 1811677 w 4469152"/>
              <a:gd name="connsiteY159" fmla="*/ 114300 h 4496940"/>
              <a:gd name="connsiteX160" fmla="*/ 1859302 w 4469152"/>
              <a:gd name="connsiteY160" fmla="*/ 104775 h 4496940"/>
              <a:gd name="connsiteX161" fmla="*/ 1916452 w 4469152"/>
              <a:gd name="connsiteY161" fmla="*/ 95250 h 4496940"/>
              <a:gd name="connsiteX162" fmla="*/ 2030752 w 4469152"/>
              <a:gd name="connsiteY162" fmla="*/ 66675 h 4496940"/>
              <a:gd name="connsiteX163" fmla="*/ 2097427 w 4469152"/>
              <a:gd name="connsiteY163" fmla="*/ 47625 h 4496940"/>
              <a:gd name="connsiteX164" fmla="*/ 2164102 w 4469152"/>
              <a:gd name="connsiteY164" fmla="*/ 38100 h 4496940"/>
              <a:gd name="connsiteX165" fmla="*/ 2392702 w 4469152"/>
              <a:gd name="connsiteY165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087777 w 4469152"/>
              <a:gd name="connsiteY150" fmla="*/ 409575 h 4496940"/>
              <a:gd name="connsiteX151" fmla="*/ 1202077 w 4469152"/>
              <a:gd name="connsiteY151" fmla="*/ 314325 h 4496940"/>
              <a:gd name="connsiteX152" fmla="*/ 1268752 w 4469152"/>
              <a:gd name="connsiteY152" fmla="*/ 285750 h 4496940"/>
              <a:gd name="connsiteX153" fmla="*/ 1411627 w 4469152"/>
              <a:gd name="connsiteY153" fmla="*/ 190500 h 4496940"/>
              <a:gd name="connsiteX154" fmla="*/ 1449727 w 4469152"/>
              <a:gd name="connsiteY154" fmla="*/ 161925 h 4496940"/>
              <a:gd name="connsiteX155" fmla="*/ 1525927 w 4469152"/>
              <a:gd name="connsiteY155" fmla="*/ 152400 h 4496940"/>
              <a:gd name="connsiteX156" fmla="*/ 1583077 w 4469152"/>
              <a:gd name="connsiteY156" fmla="*/ 142875 h 4496940"/>
              <a:gd name="connsiteX157" fmla="*/ 1716427 w 4469152"/>
              <a:gd name="connsiteY157" fmla="*/ 123825 h 4496940"/>
              <a:gd name="connsiteX158" fmla="*/ 1811677 w 4469152"/>
              <a:gd name="connsiteY158" fmla="*/ 114300 h 4496940"/>
              <a:gd name="connsiteX159" fmla="*/ 1859302 w 4469152"/>
              <a:gd name="connsiteY159" fmla="*/ 104775 h 4496940"/>
              <a:gd name="connsiteX160" fmla="*/ 1916452 w 4469152"/>
              <a:gd name="connsiteY160" fmla="*/ 95250 h 4496940"/>
              <a:gd name="connsiteX161" fmla="*/ 2030752 w 4469152"/>
              <a:gd name="connsiteY161" fmla="*/ 66675 h 4496940"/>
              <a:gd name="connsiteX162" fmla="*/ 2097427 w 4469152"/>
              <a:gd name="connsiteY162" fmla="*/ 47625 h 4496940"/>
              <a:gd name="connsiteX163" fmla="*/ 2164102 w 4469152"/>
              <a:gd name="connsiteY163" fmla="*/ 38100 h 4496940"/>
              <a:gd name="connsiteX164" fmla="*/ 2392702 w 4469152"/>
              <a:gd name="connsiteY164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202077 w 4469152"/>
              <a:gd name="connsiteY150" fmla="*/ 314325 h 4496940"/>
              <a:gd name="connsiteX151" fmla="*/ 1268752 w 4469152"/>
              <a:gd name="connsiteY151" fmla="*/ 285750 h 4496940"/>
              <a:gd name="connsiteX152" fmla="*/ 1411627 w 4469152"/>
              <a:gd name="connsiteY152" fmla="*/ 190500 h 4496940"/>
              <a:gd name="connsiteX153" fmla="*/ 1449727 w 4469152"/>
              <a:gd name="connsiteY153" fmla="*/ 161925 h 4496940"/>
              <a:gd name="connsiteX154" fmla="*/ 1525927 w 4469152"/>
              <a:gd name="connsiteY154" fmla="*/ 152400 h 4496940"/>
              <a:gd name="connsiteX155" fmla="*/ 1583077 w 4469152"/>
              <a:gd name="connsiteY155" fmla="*/ 142875 h 4496940"/>
              <a:gd name="connsiteX156" fmla="*/ 1716427 w 4469152"/>
              <a:gd name="connsiteY156" fmla="*/ 123825 h 4496940"/>
              <a:gd name="connsiteX157" fmla="*/ 1811677 w 4469152"/>
              <a:gd name="connsiteY157" fmla="*/ 114300 h 4496940"/>
              <a:gd name="connsiteX158" fmla="*/ 1859302 w 4469152"/>
              <a:gd name="connsiteY158" fmla="*/ 104775 h 4496940"/>
              <a:gd name="connsiteX159" fmla="*/ 1916452 w 4469152"/>
              <a:gd name="connsiteY159" fmla="*/ 95250 h 4496940"/>
              <a:gd name="connsiteX160" fmla="*/ 2030752 w 4469152"/>
              <a:gd name="connsiteY160" fmla="*/ 66675 h 4496940"/>
              <a:gd name="connsiteX161" fmla="*/ 2097427 w 4469152"/>
              <a:gd name="connsiteY161" fmla="*/ 47625 h 4496940"/>
              <a:gd name="connsiteX162" fmla="*/ 2164102 w 4469152"/>
              <a:gd name="connsiteY162" fmla="*/ 38100 h 4496940"/>
              <a:gd name="connsiteX163" fmla="*/ 2392702 w 4469152"/>
              <a:gd name="connsiteY163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268752 w 4469152"/>
              <a:gd name="connsiteY150" fmla="*/ 285750 h 4496940"/>
              <a:gd name="connsiteX151" fmla="*/ 1411627 w 4469152"/>
              <a:gd name="connsiteY151" fmla="*/ 190500 h 4496940"/>
              <a:gd name="connsiteX152" fmla="*/ 1449727 w 4469152"/>
              <a:gd name="connsiteY152" fmla="*/ 161925 h 4496940"/>
              <a:gd name="connsiteX153" fmla="*/ 1525927 w 4469152"/>
              <a:gd name="connsiteY153" fmla="*/ 152400 h 4496940"/>
              <a:gd name="connsiteX154" fmla="*/ 1583077 w 4469152"/>
              <a:gd name="connsiteY154" fmla="*/ 142875 h 4496940"/>
              <a:gd name="connsiteX155" fmla="*/ 1716427 w 4469152"/>
              <a:gd name="connsiteY155" fmla="*/ 123825 h 4496940"/>
              <a:gd name="connsiteX156" fmla="*/ 1811677 w 4469152"/>
              <a:gd name="connsiteY156" fmla="*/ 114300 h 4496940"/>
              <a:gd name="connsiteX157" fmla="*/ 1859302 w 4469152"/>
              <a:gd name="connsiteY157" fmla="*/ 104775 h 4496940"/>
              <a:gd name="connsiteX158" fmla="*/ 1916452 w 4469152"/>
              <a:gd name="connsiteY158" fmla="*/ 95250 h 4496940"/>
              <a:gd name="connsiteX159" fmla="*/ 2030752 w 4469152"/>
              <a:gd name="connsiteY159" fmla="*/ 66675 h 4496940"/>
              <a:gd name="connsiteX160" fmla="*/ 2097427 w 4469152"/>
              <a:gd name="connsiteY160" fmla="*/ 47625 h 4496940"/>
              <a:gd name="connsiteX161" fmla="*/ 2164102 w 4469152"/>
              <a:gd name="connsiteY161" fmla="*/ 38100 h 4496940"/>
              <a:gd name="connsiteX162" fmla="*/ 2392702 w 4469152"/>
              <a:gd name="connsiteY162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167152 w 4469152"/>
              <a:gd name="connsiteY150" fmla="*/ 311150 h 4496940"/>
              <a:gd name="connsiteX151" fmla="*/ 1268752 w 4469152"/>
              <a:gd name="connsiteY151" fmla="*/ 285750 h 4496940"/>
              <a:gd name="connsiteX152" fmla="*/ 1411627 w 4469152"/>
              <a:gd name="connsiteY152" fmla="*/ 190500 h 4496940"/>
              <a:gd name="connsiteX153" fmla="*/ 1449727 w 4469152"/>
              <a:gd name="connsiteY153" fmla="*/ 161925 h 4496940"/>
              <a:gd name="connsiteX154" fmla="*/ 1525927 w 4469152"/>
              <a:gd name="connsiteY154" fmla="*/ 152400 h 4496940"/>
              <a:gd name="connsiteX155" fmla="*/ 1583077 w 4469152"/>
              <a:gd name="connsiteY155" fmla="*/ 142875 h 4496940"/>
              <a:gd name="connsiteX156" fmla="*/ 1716427 w 4469152"/>
              <a:gd name="connsiteY156" fmla="*/ 123825 h 4496940"/>
              <a:gd name="connsiteX157" fmla="*/ 1811677 w 4469152"/>
              <a:gd name="connsiteY157" fmla="*/ 114300 h 4496940"/>
              <a:gd name="connsiteX158" fmla="*/ 1859302 w 4469152"/>
              <a:gd name="connsiteY158" fmla="*/ 104775 h 4496940"/>
              <a:gd name="connsiteX159" fmla="*/ 1916452 w 4469152"/>
              <a:gd name="connsiteY159" fmla="*/ 95250 h 4496940"/>
              <a:gd name="connsiteX160" fmla="*/ 2030752 w 4469152"/>
              <a:gd name="connsiteY160" fmla="*/ 66675 h 4496940"/>
              <a:gd name="connsiteX161" fmla="*/ 2097427 w 4469152"/>
              <a:gd name="connsiteY161" fmla="*/ 47625 h 4496940"/>
              <a:gd name="connsiteX162" fmla="*/ 2164102 w 4469152"/>
              <a:gd name="connsiteY162" fmla="*/ 38100 h 4496940"/>
              <a:gd name="connsiteX163" fmla="*/ 2392702 w 4469152"/>
              <a:gd name="connsiteY163" fmla="*/ 28575 h 4496940"/>
              <a:gd name="connsiteX0" fmla="*/ 2297452 w 4519952"/>
              <a:gd name="connsiteY0" fmla="*/ 0 h 4496940"/>
              <a:gd name="connsiteX1" fmla="*/ 2421277 w 4519952"/>
              <a:gd name="connsiteY1" fmla="*/ 28575 h 4496940"/>
              <a:gd name="connsiteX2" fmla="*/ 2497477 w 4519952"/>
              <a:gd name="connsiteY2" fmla="*/ 47625 h 4496940"/>
              <a:gd name="connsiteX3" fmla="*/ 2754652 w 4519952"/>
              <a:gd name="connsiteY3" fmla="*/ 66675 h 4496940"/>
              <a:gd name="connsiteX4" fmla="*/ 2830852 w 4519952"/>
              <a:gd name="connsiteY4" fmla="*/ 76200 h 4496940"/>
              <a:gd name="connsiteX5" fmla="*/ 2916577 w 4519952"/>
              <a:gd name="connsiteY5" fmla="*/ 85725 h 4496940"/>
              <a:gd name="connsiteX6" fmla="*/ 2973727 w 4519952"/>
              <a:gd name="connsiteY6" fmla="*/ 114300 h 4496940"/>
              <a:gd name="connsiteX7" fmla="*/ 3011827 w 4519952"/>
              <a:gd name="connsiteY7" fmla="*/ 123825 h 4496940"/>
              <a:gd name="connsiteX8" fmla="*/ 3135652 w 4519952"/>
              <a:gd name="connsiteY8" fmla="*/ 171450 h 4496940"/>
              <a:gd name="connsiteX9" fmla="*/ 3173752 w 4519952"/>
              <a:gd name="connsiteY9" fmla="*/ 190500 h 4496940"/>
              <a:gd name="connsiteX10" fmla="*/ 3240427 w 4519952"/>
              <a:gd name="connsiteY10" fmla="*/ 228600 h 4496940"/>
              <a:gd name="connsiteX11" fmla="*/ 3269002 w 4519952"/>
              <a:gd name="connsiteY11" fmla="*/ 238125 h 4496940"/>
              <a:gd name="connsiteX12" fmla="*/ 3297577 w 4519952"/>
              <a:gd name="connsiteY12" fmla="*/ 257175 h 4496940"/>
              <a:gd name="connsiteX13" fmla="*/ 3326152 w 4519952"/>
              <a:gd name="connsiteY13" fmla="*/ 266700 h 4496940"/>
              <a:gd name="connsiteX14" fmla="*/ 3354727 w 4519952"/>
              <a:gd name="connsiteY14" fmla="*/ 285750 h 4496940"/>
              <a:gd name="connsiteX15" fmla="*/ 3421402 w 4519952"/>
              <a:gd name="connsiteY15" fmla="*/ 323850 h 4496940"/>
              <a:gd name="connsiteX16" fmla="*/ 3469027 w 4519952"/>
              <a:gd name="connsiteY16" fmla="*/ 361950 h 4496940"/>
              <a:gd name="connsiteX17" fmla="*/ 3516652 w 4519952"/>
              <a:gd name="connsiteY17" fmla="*/ 390525 h 4496940"/>
              <a:gd name="connsiteX18" fmla="*/ 3545227 w 4519952"/>
              <a:gd name="connsiteY18" fmla="*/ 419100 h 4496940"/>
              <a:gd name="connsiteX19" fmla="*/ 3602377 w 4519952"/>
              <a:gd name="connsiteY19" fmla="*/ 457200 h 4496940"/>
              <a:gd name="connsiteX20" fmla="*/ 3630952 w 4519952"/>
              <a:gd name="connsiteY20" fmla="*/ 485775 h 4496940"/>
              <a:gd name="connsiteX21" fmla="*/ 3678577 w 4519952"/>
              <a:gd name="connsiteY21" fmla="*/ 504825 h 4496940"/>
              <a:gd name="connsiteX22" fmla="*/ 3745252 w 4519952"/>
              <a:gd name="connsiteY22" fmla="*/ 542925 h 4496940"/>
              <a:gd name="connsiteX23" fmla="*/ 3811927 w 4519952"/>
              <a:gd name="connsiteY23" fmla="*/ 581025 h 4496940"/>
              <a:gd name="connsiteX24" fmla="*/ 3840502 w 4519952"/>
              <a:gd name="connsiteY24" fmla="*/ 600075 h 4496940"/>
              <a:gd name="connsiteX25" fmla="*/ 3869077 w 4519952"/>
              <a:gd name="connsiteY25" fmla="*/ 628650 h 4496940"/>
              <a:gd name="connsiteX26" fmla="*/ 3907177 w 4519952"/>
              <a:gd name="connsiteY26" fmla="*/ 647700 h 4496940"/>
              <a:gd name="connsiteX27" fmla="*/ 3935752 w 4519952"/>
              <a:gd name="connsiteY27" fmla="*/ 676275 h 4496940"/>
              <a:gd name="connsiteX28" fmla="*/ 3992902 w 4519952"/>
              <a:gd name="connsiteY28" fmla="*/ 714375 h 4496940"/>
              <a:gd name="connsiteX29" fmla="*/ 4050052 w 4519952"/>
              <a:gd name="connsiteY29" fmla="*/ 790575 h 4496940"/>
              <a:gd name="connsiteX30" fmla="*/ 4078627 w 4519952"/>
              <a:gd name="connsiteY30" fmla="*/ 838200 h 4496940"/>
              <a:gd name="connsiteX31" fmla="*/ 4107202 w 4519952"/>
              <a:gd name="connsiteY31" fmla="*/ 876300 h 4496940"/>
              <a:gd name="connsiteX32" fmla="*/ 4116727 w 4519952"/>
              <a:gd name="connsiteY32" fmla="*/ 904875 h 4496940"/>
              <a:gd name="connsiteX33" fmla="*/ 4135777 w 4519952"/>
              <a:gd name="connsiteY33" fmla="*/ 933450 h 4496940"/>
              <a:gd name="connsiteX34" fmla="*/ 4164352 w 4519952"/>
              <a:gd name="connsiteY34" fmla="*/ 990600 h 4496940"/>
              <a:gd name="connsiteX35" fmla="*/ 4173877 w 4519952"/>
              <a:gd name="connsiteY35" fmla="*/ 1019175 h 4496940"/>
              <a:gd name="connsiteX36" fmla="*/ 4192927 w 4519952"/>
              <a:gd name="connsiteY36" fmla="*/ 1057275 h 4496940"/>
              <a:gd name="connsiteX37" fmla="*/ 4202452 w 4519952"/>
              <a:gd name="connsiteY37" fmla="*/ 1085850 h 4496940"/>
              <a:gd name="connsiteX38" fmla="*/ 4250077 w 4519952"/>
              <a:gd name="connsiteY38" fmla="*/ 1143000 h 4496940"/>
              <a:gd name="connsiteX39" fmla="*/ 4259602 w 4519952"/>
              <a:gd name="connsiteY39" fmla="*/ 1190625 h 4496940"/>
              <a:gd name="connsiteX40" fmla="*/ 4307227 w 4519952"/>
              <a:gd name="connsiteY40" fmla="*/ 1266825 h 4496940"/>
              <a:gd name="connsiteX41" fmla="*/ 4345327 w 4519952"/>
              <a:gd name="connsiteY41" fmla="*/ 1362075 h 4496940"/>
              <a:gd name="connsiteX42" fmla="*/ 4373902 w 4519952"/>
              <a:gd name="connsiteY42" fmla="*/ 1428750 h 4496940"/>
              <a:gd name="connsiteX43" fmla="*/ 4392952 w 4519952"/>
              <a:gd name="connsiteY43" fmla="*/ 1552575 h 4496940"/>
              <a:gd name="connsiteX44" fmla="*/ 4402477 w 4519952"/>
              <a:gd name="connsiteY44" fmla="*/ 1590675 h 4496940"/>
              <a:gd name="connsiteX45" fmla="*/ 4431052 w 4519952"/>
              <a:gd name="connsiteY45" fmla="*/ 1685925 h 4496940"/>
              <a:gd name="connsiteX46" fmla="*/ 4440577 w 4519952"/>
              <a:gd name="connsiteY46" fmla="*/ 1762125 h 4496940"/>
              <a:gd name="connsiteX47" fmla="*/ 4459627 w 4519952"/>
              <a:gd name="connsiteY47" fmla="*/ 1828800 h 4496940"/>
              <a:gd name="connsiteX48" fmla="*/ 4519952 w 4519952"/>
              <a:gd name="connsiteY48" fmla="*/ 2181225 h 4496940"/>
              <a:gd name="connsiteX49" fmla="*/ 4440577 w 4519952"/>
              <a:gd name="connsiteY49" fmla="*/ 2876550 h 4496940"/>
              <a:gd name="connsiteX50" fmla="*/ 4383427 w 4519952"/>
              <a:gd name="connsiteY50" fmla="*/ 2990850 h 4496940"/>
              <a:gd name="connsiteX51" fmla="*/ 4354852 w 4519952"/>
              <a:gd name="connsiteY51" fmla="*/ 3057525 h 4496940"/>
              <a:gd name="connsiteX52" fmla="*/ 4335802 w 4519952"/>
              <a:gd name="connsiteY52" fmla="*/ 3095625 h 4496940"/>
              <a:gd name="connsiteX53" fmla="*/ 4278652 w 4519952"/>
              <a:gd name="connsiteY53" fmla="*/ 3248025 h 4496940"/>
              <a:gd name="connsiteX54" fmla="*/ 4259602 w 4519952"/>
              <a:gd name="connsiteY54" fmla="*/ 3276600 h 4496940"/>
              <a:gd name="connsiteX55" fmla="*/ 4221502 w 4519952"/>
              <a:gd name="connsiteY55" fmla="*/ 3333750 h 4496940"/>
              <a:gd name="connsiteX56" fmla="*/ 4211977 w 4519952"/>
              <a:gd name="connsiteY56" fmla="*/ 3362325 h 4496940"/>
              <a:gd name="connsiteX57" fmla="*/ 4183402 w 4519952"/>
              <a:gd name="connsiteY57" fmla="*/ 3400425 h 4496940"/>
              <a:gd name="connsiteX58" fmla="*/ 4164352 w 4519952"/>
              <a:gd name="connsiteY58" fmla="*/ 3429000 h 4496940"/>
              <a:gd name="connsiteX59" fmla="*/ 4088152 w 4519952"/>
              <a:gd name="connsiteY59" fmla="*/ 3495675 h 4496940"/>
              <a:gd name="connsiteX60" fmla="*/ 4059577 w 4519952"/>
              <a:gd name="connsiteY60" fmla="*/ 3533775 h 4496940"/>
              <a:gd name="connsiteX61" fmla="*/ 4002427 w 4519952"/>
              <a:gd name="connsiteY61" fmla="*/ 3600450 h 4496940"/>
              <a:gd name="connsiteX62" fmla="*/ 3983377 w 4519952"/>
              <a:gd name="connsiteY62" fmla="*/ 3629025 h 4496940"/>
              <a:gd name="connsiteX63" fmla="*/ 3954802 w 4519952"/>
              <a:gd name="connsiteY63" fmla="*/ 3648075 h 4496940"/>
              <a:gd name="connsiteX64" fmla="*/ 3907177 w 4519952"/>
              <a:gd name="connsiteY64" fmla="*/ 3686175 h 4496940"/>
              <a:gd name="connsiteX65" fmla="*/ 3869077 w 4519952"/>
              <a:gd name="connsiteY65" fmla="*/ 3724275 h 4496940"/>
              <a:gd name="connsiteX66" fmla="*/ 3792877 w 4519952"/>
              <a:gd name="connsiteY66" fmla="*/ 3781425 h 4496940"/>
              <a:gd name="connsiteX67" fmla="*/ 3783352 w 4519952"/>
              <a:gd name="connsiteY67" fmla="*/ 3810000 h 4496940"/>
              <a:gd name="connsiteX68" fmla="*/ 3745252 w 4519952"/>
              <a:gd name="connsiteY68" fmla="*/ 3819525 h 4496940"/>
              <a:gd name="connsiteX69" fmla="*/ 3678577 w 4519952"/>
              <a:gd name="connsiteY69" fmla="*/ 3848100 h 4496940"/>
              <a:gd name="connsiteX70" fmla="*/ 3659527 w 4519952"/>
              <a:gd name="connsiteY70" fmla="*/ 3971925 h 4496940"/>
              <a:gd name="connsiteX71" fmla="*/ 3630952 w 4519952"/>
              <a:gd name="connsiteY71" fmla="*/ 4010025 h 4496940"/>
              <a:gd name="connsiteX72" fmla="*/ 3621427 w 4519952"/>
              <a:gd name="connsiteY72" fmla="*/ 4038600 h 4496940"/>
              <a:gd name="connsiteX73" fmla="*/ 3554752 w 4519952"/>
              <a:gd name="connsiteY73" fmla="*/ 4095750 h 4496940"/>
              <a:gd name="connsiteX74" fmla="*/ 3516652 w 4519952"/>
              <a:gd name="connsiteY74" fmla="*/ 4114800 h 4496940"/>
              <a:gd name="connsiteX75" fmla="*/ 3497602 w 4519952"/>
              <a:gd name="connsiteY75" fmla="*/ 4143375 h 4496940"/>
              <a:gd name="connsiteX76" fmla="*/ 3383302 w 4519952"/>
              <a:gd name="connsiteY76" fmla="*/ 4210050 h 4496940"/>
              <a:gd name="connsiteX77" fmla="*/ 3335677 w 4519952"/>
              <a:gd name="connsiteY77" fmla="*/ 4238625 h 4496940"/>
              <a:gd name="connsiteX78" fmla="*/ 3288052 w 4519952"/>
              <a:gd name="connsiteY78" fmla="*/ 4248150 h 4496940"/>
              <a:gd name="connsiteX79" fmla="*/ 3240427 w 4519952"/>
              <a:gd name="connsiteY79" fmla="*/ 4267200 h 4496940"/>
              <a:gd name="connsiteX80" fmla="*/ 3068977 w 4519952"/>
              <a:gd name="connsiteY80" fmla="*/ 4286250 h 4496940"/>
              <a:gd name="connsiteX81" fmla="*/ 2935627 w 4519952"/>
              <a:gd name="connsiteY81" fmla="*/ 4333875 h 4496940"/>
              <a:gd name="connsiteX82" fmla="*/ 2811802 w 4519952"/>
              <a:gd name="connsiteY82" fmla="*/ 4371975 h 4496940"/>
              <a:gd name="connsiteX83" fmla="*/ 2745127 w 4519952"/>
              <a:gd name="connsiteY83" fmla="*/ 4410075 h 4496940"/>
              <a:gd name="connsiteX84" fmla="*/ 2697502 w 4519952"/>
              <a:gd name="connsiteY84" fmla="*/ 4429125 h 4496940"/>
              <a:gd name="connsiteX85" fmla="*/ 2640352 w 4519952"/>
              <a:gd name="connsiteY85" fmla="*/ 4457700 h 4496940"/>
              <a:gd name="connsiteX86" fmla="*/ 2583202 w 4519952"/>
              <a:gd name="connsiteY86" fmla="*/ 4467225 h 4496940"/>
              <a:gd name="connsiteX87" fmla="*/ 2545102 w 4519952"/>
              <a:gd name="connsiteY87" fmla="*/ 4486275 h 4496940"/>
              <a:gd name="connsiteX88" fmla="*/ 2306977 w 4519952"/>
              <a:gd name="connsiteY88" fmla="*/ 4476750 h 4496940"/>
              <a:gd name="connsiteX89" fmla="*/ 2202202 w 4519952"/>
              <a:gd name="connsiteY89" fmla="*/ 4457700 h 4496940"/>
              <a:gd name="connsiteX90" fmla="*/ 2126002 w 4519952"/>
              <a:gd name="connsiteY90" fmla="*/ 4429125 h 4496940"/>
              <a:gd name="connsiteX91" fmla="*/ 1935502 w 4519952"/>
              <a:gd name="connsiteY91" fmla="*/ 4400550 h 4496940"/>
              <a:gd name="connsiteX92" fmla="*/ 1821202 w 4519952"/>
              <a:gd name="connsiteY92" fmla="*/ 4371975 h 4496940"/>
              <a:gd name="connsiteX93" fmla="*/ 1754527 w 4519952"/>
              <a:gd name="connsiteY93" fmla="*/ 4352925 h 4496940"/>
              <a:gd name="connsiteX94" fmla="*/ 1687852 w 4519952"/>
              <a:gd name="connsiteY94" fmla="*/ 4343400 h 4496940"/>
              <a:gd name="connsiteX95" fmla="*/ 1573552 w 4519952"/>
              <a:gd name="connsiteY95" fmla="*/ 4305300 h 4496940"/>
              <a:gd name="connsiteX96" fmla="*/ 1402102 w 4519952"/>
              <a:gd name="connsiteY96" fmla="*/ 4276725 h 4496940"/>
              <a:gd name="connsiteX97" fmla="*/ 1287802 w 4519952"/>
              <a:gd name="connsiteY97" fmla="*/ 4229100 h 4496940"/>
              <a:gd name="connsiteX98" fmla="*/ 1221127 w 4519952"/>
              <a:gd name="connsiteY98" fmla="*/ 4200525 h 4496940"/>
              <a:gd name="connsiteX99" fmla="*/ 1144927 w 4519952"/>
              <a:gd name="connsiteY99" fmla="*/ 4171950 h 4496940"/>
              <a:gd name="connsiteX100" fmla="*/ 1087777 w 4519952"/>
              <a:gd name="connsiteY100" fmla="*/ 4143375 h 4496940"/>
              <a:gd name="connsiteX101" fmla="*/ 1030627 w 4519952"/>
              <a:gd name="connsiteY101" fmla="*/ 4124325 h 4496940"/>
              <a:gd name="connsiteX102" fmla="*/ 925852 w 4519952"/>
              <a:gd name="connsiteY102" fmla="*/ 4067175 h 4496940"/>
              <a:gd name="connsiteX103" fmla="*/ 830602 w 4519952"/>
              <a:gd name="connsiteY103" fmla="*/ 3981450 h 4496940"/>
              <a:gd name="connsiteX104" fmla="*/ 763927 w 4519952"/>
              <a:gd name="connsiteY104" fmla="*/ 3914775 h 4496940"/>
              <a:gd name="connsiteX105" fmla="*/ 725827 w 4519952"/>
              <a:gd name="connsiteY105" fmla="*/ 3876675 h 4496940"/>
              <a:gd name="connsiteX106" fmla="*/ 697252 w 4519952"/>
              <a:gd name="connsiteY106" fmla="*/ 3838575 h 4496940"/>
              <a:gd name="connsiteX107" fmla="*/ 640102 w 4519952"/>
              <a:gd name="connsiteY107" fmla="*/ 3781425 h 4496940"/>
              <a:gd name="connsiteX108" fmla="*/ 611527 w 4519952"/>
              <a:gd name="connsiteY108" fmla="*/ 3733800 h 4496940"/>
              <a:gd name="connsiteX109" fmla="*/ 554377 w 4519952"/>
              <a:gd name="connsiteY109" fmla="*/ 3657600 h 4496940"/>
              <a:gd name="connsiteX110" fmla="*/ 525802 w 4519952"/>
              <a:gd name="connsiteY110" fmla="*/ 3609975 h 4496940"/>
              <a:gd name="connsiteX111" fmla="*/ 497227 w 4519952"/>
              <a:gd name="connsiteY111" fmla="*/ 3552825 h 4496940"/>
              <a:gd name="connsiteX112" fmla="*/ 440077 w 4519952"/>
              <a:gd name="connsiteY112" fmla="*/ 3495675 h 4496940"/>
              <a:gd name="connsiteX113" fmla="*/ 411502 w 4519952"/>
              <a:gd name="connsiteY113" fmla="*/ 3448050 h 4496940"/>
              <a:gd name="connsiteX114" fmla="*/ 278152 w 4519952"/>
              <a:gd name="connsiteY114" fmla="*/ 3257550 h 4496940"/>
              <a:gd name="connsiteX115" fmla="*/ 249577 w 4519952"/>
              <a:gd name="connsiteY115" fmla="*/ 3200400 h 4496940"/>
              <a:gd name="connsiteX116" fmla="*/ 240052 w 4519952"/>
              <a:gd name="connsiteY116" fmla="*/ 3162300 h 4496940"/>
              <a:gd name="connsiteX117" fmla="*/ 221002 w 4519952"/>
              <a:gd name="connsiteY117" fmla="*/ 3105150 h 4496940"/>
              <a:gd name="connsiteX118" fmla="*/ 173377 w 4519952"/>
              <a:gd name="connsiteY118" fmla="*/ 3019425 h 4496940"/>
              <a:gd name="connsiteX119" fmla="*/ 144802 w 4519952"/>
              <a:gd name="connsiteY119" fmla="*/ 2924175 h 4496940"/>
              <a:gd name="connsiteX120" fmla="*/ 68602 w 4519952"/>
              <a:gd name="connsiteY120" fmla="*/ 2724150 h 4496940"/>
              <a:gd name="connsiteX121" fmla="*/ 49552 w 4519952"/>
              <a:gd name="connsiteY121" fmla="*/ 2638425 h 4496940"/>
              <a:gd name="connsiteX122" fmla="*/ 40027 w 4519952"/>
              <a:gd name="connsiteY122" fmla="*/ 2562225 h 4496940"/>
              <a:gd name="connsiteX123" fmla="*/ 30502 w 4519952"/>
              <a:gd name="connsiteY123" fmla="*/ 2514600 h 4496940"/>
              <a:gd name="connsiteX124" fmla="*/ 11452 w 4519952"/>
              <a:gd name="connsiteY124" fmla="*/ 2400300 h 4496940"/>
              <a:gd name="connsiteX125" fmla="*/ 20977 w 4519952"/>
              <a:gd name="connsiteY125" fmla="*/ 1905000 h 4496940"/>
              <a:gd name="connsiteX126" fmla="*/ 30502 w 4519952"/>
              <a:gd name="connsiteY126" fmla="*/ 1838325 h 4496940"/>
              <a:gd name="connsiteX127" fmla="*/ 49552 w 4519952"/>
              <a:gd name="connsiteY127" fmla="*/ 1781175 h 4496940"/>
              <a:gd name="connsiteX128" fmla="*/ 59077 w 4519952"/>
              <a:gd name="connsiteY128" fmla="*/ 1743075 h 4496940"/>
              <a:gd name="connsiteX129" fmla="*/ 78127 w 4519952"/>
              <a:gd name="connsiteY129" fmla="*/ 1685925 h 4496940"/>
              <a:gd name="connsiteX130" fmla="*/ 87652 w 4519952"/>
              <a:gd name="connsiteY130" fmla="*/ 1638300 h 4496940"/>
              <a:gd name="connsiteX131" fmla="*/ 106702 w 4519952"/>
              <a:gd name="connsiteY131" fmla="*/ 1590675 h 4496940"/>
              <a:gd name="connsiteX132" fmla="*/ 135277 w 4519952"/>
              <a:gd name="connsiteY132" fmla="*/ 1504950 h 4496940"/>
              <a:gd name="connsiteX133" fmla="*/ 154327 w 4519952"/>
              <a:gd name="connsiteY133" fmla="*/ 1419225 h 4496940"/>
              <a:gd name="connsiteX134" fmla="*/ 230527 w 4519952"/>
              <a:gd name="connsiteY134" fmla="*/ 1276350 h 4496940"/>
              <a:gd name="connsiteX135" fmla="*/ 240052 w 4519952"/>
              <a:gd name="connsiteY135" fmla="*/ 1247775 h 4496940"/>
              <a:gd name="connsiteX136" fmla="*/ 268627 w 4519952"/>
              <a:gd name="connsiteY136" fmla="*/ 1200150 h 4496940"/>
              <a:gd name="connsiteX137" fmla="*/ 287677 w 4519952"/>
              <a:gd name="connsiteY137" fmla="*/ 1152525 h 4496940"/>
              <a:gd name="connsiteX138" fmla="*/ 316252 w 4519952"/>
              <a:gd name="connsiteY138" fmla="*/ 1114425 h 4496940"/>
              <a:gd name="connsiteX139" fmla="*/ 363877 w 4519952"/>
              <a:gd name="connsiteY139" fmla="*/ 1038225 h 4496940"/>
              <a:gd name="connsiteX140" fmla="*/ 382927 w 4519952"/>
              <a:gd name="connsiteY140" fmla="*/ 1009650 h 4496940"/>
              <a:gd name="connsiteX141" fmla="*/ 440077 w 4519952"/>
              <a:gd name="connsiteY141" fmla="*/ 904875 h 4496940"/>
              <a:gd name="connsiteX142" fmla="*/ 478177 w 4519952"/>
              <a:gd name="connsiteY142" fmla="*/ 857250 h 4496940"/>
              <a:gd name="connsiteX143" fmla="*/ 497227 w 4519952"/>
              <a:gd name="connsiteY143" fmla="*/ 828675 h 4496940"/>
              <a:gd name="connsiteX144" fmla="*/ 535327 w 4519952"/>
              <a:gd name="connsiteY144" fmla="*/ 800100 h 4496940"/>
              <a:gd name="connsiteX145" fmla="*/ 602002 w 4519952"/>
              <a:gd name="connsiteY145" fmla="*/ 733425 h 4496940"/>
              <a:gd name="connsiteX146" fmla="*/ 668677 w 4519952"/>
              <a:gd name="connsiteY146" fmla="*/ 676275 h 4496940"/>
              <a:gd name="connsiteX147" fmla="*/ 697252 w 4519952"/>
              <a:gd name="connsiteY147" fmla="*/ 657225 h 4496940"/>
              <a:gd name="connsiteX148" fmla="*/ 840127 w 4519952"/>
              <a:gd name="connsiteY148" fmla="*/ 533400 h 4496940"/>
              <a:gd name="connsiteX149" fmla="*/ 887752 w 4519952"/>
              <a:gd name="connsiteY149" fmla="*/ 504825 h 4496940"/>
              <a:gd name="connsiteX150" fmla="*/ 1167152 w 4519952"/>
              <a:gd name="connsiteY150" fmla="*/ 311150 h 4496940"/>
              <a:gd name="connsiteX151" fmla="*/ 1268752 w 4519952"/>
              <a:gd name="connsiteY151" fmla="*/ 285750 h 4496940"/>
              <a:gd name="connsiteX152" fmla="*/ 1411627 w 4519952"/>
              <a:gd name="connsiteY152" fmla="*/ 190500 h 4496940"/>
              <a:gd name="connsiteX153" fmla="*/ 1449727 w 4519952"/>
              <a:gd name="connsiteY153" fmla="*/ 161925 h 4496940"/>
              <a:gd name="connsiteX154" fmla="*/ 1525927 w 4519952"/>
              <a:gd name="connsiteY154" fmla="*/ 152400 h 4496940"/>
              <a:gd name="connsiteX155" fmla="*/ 1583077 w 4519952"/>
              <a:gd name="connsiteY155" fmla="*/ 142875 h 4496940"/>
              <a:gd name="connsiteX156" fmla="*/ 1716427 w 4519952"/>
              <a:gd name="connsiteY156" fmla="*/ 123825 h 4496940"/>
              <a:gd name="connsiteX157" fmla="*/ 1811677 w 4519952"/>
              <a:gd name="connsiteY157" fmla="*/ 114300 h 4496940"/>
              <a:gd name="connsiteX158" fmla="*/ 1859302 w 4519952"/>
              <a:gd name="connsiteY158" fmla="*/ 104775 h 4496940"/>
              <a:gd name="connsiteX159" fmla="*/ 1916452 w 4519952"/>
              <a:gd name="connsiteY159" fmla="*/ 95250 h 4496940"/>
              <a:gd name="connsiteX160" fmla="*/ 2030752 w 4519952"/>
              <a:gd name="connsiteY160" fmla="*/ 66675 h 4496940"/>
              <a:gd name="connsiteX161" fmla="*/ 2097427 w 4519952"/>
              <a:gd name="connsiteY161" fmla="*/ 47625 h 4496940"/>
              <a:gd name="connsiteX162" fmla="*/ 2164102 w 4519952"/>
              <a:gd name="connsiteY162" fmla="*/ 38100 h 4496940"/>
              <a:gd name="connsiteX163" fmla="*/ 2392702 w 4519952"/>
              <a:gd name="connsiteY163" fmla="*/ 28575 h 4496940"/>
              <a:gd name="connsiteX0" fmla="*/ 2297452 w 4519952"/>
              <a:gd name="connsiteY0" fmla="*/ 0 h 4496940"/>
              <a:gd name="connsiteX1" fmla="*/ 2421277 w 4519952"/>
              <a:gd name="connsiteY1" fmla="*/ 28575 h 4496940"/>
              <a:gd name="connsiteX2" fmla="*/ 2497477 w 4519952"/>
              <a:gd name="connsiteY2" fmla="*/ 47625 h 4496940"/>
              <a:gd name="connsiteX3" fmla="*/ 2754652 w 4519952"/>
              <a:gd name="connsiteY3" fmla="*/ 66675 h 4496940"/>
              <a:gd name="connsiteX4" fmla="*/ 2830852 w 4519952"/>
              <a:gd name="connsiteY4" fmla="*/ 76200 h 4496940"/>
              <a:gd name="connsiteX5" fmla="*/ 2916577 w 4519952"/>
              <a:gd name="connsiteY5" fmla="*/ 85725 h 4496940"/>
              <a:gd name="connsiteX6" fmla="*/ 2973727 w 4519952"/>
              <a:gd name="connsiteY6" fmla="*/ 114300 h 4496940"/>
              <a:gd name="connsiteX7" fmla="*/ 3011827 w 4519952"/>
              <a:gd name="connsiteY7" fmla="*/ 123825 h 4496940"/>
              <a:gd name="connsiteX8" fmla="*/ 3135652 w 4519952"/>
              <a:gd name="connsiteY8" fmla="*/ 171450 h 4496940"/>
              <a:gd name="connsiteX9" fmla="*/ 3173752 w 4519952"/>
              <a:gd name="connsiteY9" fmla="*/ 190500 h 4496940"/>
              <a:gd name="connsiteX10" fmla="*/ 3240427 w 4519952"/>
              <a:gd name="connsiteY10" fmla="*/ 228600 h 4496940"/>
              <a:gd name="connsiteX11" fmla="*/ 3269002 w 4519952"/>
              <a:gd name="connsiteY11" fmla="*/ 238125 h 4496940"/>
              <a:gd name="connsiteX12" fmla="*/ 3297577 w 4519952"/>
              <a:gd name="connsiteY12" fmla="*/ 257175 h 4496940"/>
              <a:gd name="connsiteX13" fmla="*/ 3326152 w 4519952"/>
              <a:gd name="connsiteY13" fmla="*/ 266700 h 4496940"/>
              <a:gd name="connsiteX14" fmla="*/ 3354727 w 4519952"/>
              <a:gd name="connsiteY14" fmla="*/ 285750 h 4496940"/>
              <a:gd name="connsiteX15" fmla="*/ 3421402 w 4519952"/>
              <a:gd name="connsiteY15" fmla="*/ 323850 h 4496940"/>
              <a:gd name="connsiteX16" fmla="*/ 3469027 w 4519952"/>
              <a:gd name="connsiteY16" fmla="*/ 361950 h 4496940"/>
              <a:gd name="connsiteX17" fmla="*/ 3516652 w 4519952"/>
              <a:gd name="connsiteY17" fmla="*/ 390525 h 4496940"/>
              <a:gd name="connsiteX18" fmla="*/ 3545227 w 4519952"/>
              <a:gd name="connsiteY18" fmla="*/ 419100 h 4496940"/>
              <a:gd name="connsiteX19" fmla="*/ 3602377 w 4519952"/>
              <a:gd name="connsiteY19" fmla="*/ 457200 h 4496940"/>
              <a:gd name="connsiteX20" fmla="*/ 3630952 w 4519952"/>
              <a:gd name="connsiteY20" fmla="*/ 485775 h 4496940"/>
              <a:gd name="connsiteX21" fmla="*/ 3678577 w 4519952"/>
              <a:gd name="connsiteY21" fmla="*/ 504825 h 4496940"/>
              <a:gd name="connsiteX22" fmla="*/ 3745252 w 4519952"/>
              <a:gd name="connsiteY22" fmla="*/ 542925 h 4496940"/>
              <a:gd name="connsiteX23" fmla="*/ 3811927 w 4519952"/>
              <a:gd name="connsiteY23" fmla="*/ 581025 h 4496940"/>
              <a:gd name="connsiteX24" fmla="*/ 3840502 w 4519952"/>
              <a:gd name="connsiteY24" fmla="*/ 600075 h 4496940"/>
              <a:gd name="connsiteX25" fmla="*/ 3869077 w 4519952"/>
              <a:gd name="connsiteY25" fmla="*/ 628650 h 4496940"/>
              <a:gd name="connsiteX26" fmla="*/ 3907177 w 4519952"/>
              <a:gd name="connsiteY26" fmla="*/ 647700 h 4496940"/>
              <a:gd name="connsiteX27" fmla="*/ 3935752 w 4519952"/>
              <a:gd name="connsiteY27" fmla="*/ 676275 h 4496940"/>
              <a:gd name="connsiteX28" fmla="*/ 3992902 w 4519952"/>
              <a:gd name="connsiteY28" fmla="*/ 714375 h 4496940"/>
              <a:gd name="connsiteX29" fmla="*/ 4050052 w 4519952"/>
              <a:gd name="connsiteY29" fmla="*/ 790575 h 4496940"/>
              <a:gd name="connsiteX30" fmla="*/ 4078627 w 4519952"/>
              <a:gd name="connsiteY30" fmla="*/ 838200 h 4496940"/>
              <a:gd name="connsiteX31" fmla="*/ 4107202 w 4519952"/>
              <a:gd name="connsiteY31" fmla="*/ 876300 h 4496940"/>
              <a:gd name="connsiteX32" fmla="*/ 4116727 w 4519952"/>
              <a:gd name="connsiteY32" fmla="*/ 904875 h 4496940"/>
              <a:gd name="connsiteX33" fmla="*/ 4135777 w 4519952"/>
              <a:gd name="connsiteY33" fmla="*/ 933450 h 4496940"/>
              <a:gd name="connsiteX34" fmla="*/ 4164352 w 4519952"/>
              <a:gd name="connsiteY34" fmla="*/ 990600 h 4496940"/>
              <a:gd name="connsiteX35" fmla="*/ 4173877 w 4519952"/>
              <a:gd name="connsiteY35" fmla="*/ 1019175 h 4496940"/>
              <a:gd name="connsiteX36" fmla="*/ 4192927 w 4519952"/>
              <a:gd name="connsiteY36" fmla="*/ 1057275 h 4496940"/>
              <a:gd name="connsiteX37" fmla="*/ 4202452 w 4519952"/>
              <a:gd name="connsiteY37" fmla="*/ 1085850 h 4496940"/>
              <a:gd name="connsiteX38" fmla="*/ 4250077 w 4519952"/>
              <a:gd name="connsiteY38" fmla="*/ 1143000 h 4496940"/>
              <a:gd name="connsiteX39" fmla="*/ 4259602 w 4519952"/>
              <a:gd name="connsiteY39" fmla="*/ 1190625 h 4496940"/>
              <a:gd name="connsiteX40" fmla="*/ 4307227 w 4519952"/>
              <a:gd name="connsiteY40" fmla="*/ 1266825 h 4496940"/>
              <a:gd name="connsiteX41" fmla="*/ 4345327 w 4519952"/>
              <a:gd name="connsiteY41" fmla="*/ 1362075 h 4496940"/>
              <a:gd name="connsiteX42" fmla="*/ 4373902 w 4519952"/>
              <a:gd name="connsiteY42" fmla="*/ 1428750 h 4496940"/>
              <a:gd name="connsiteX43" fmla="*/ 4392952 w 4519952"/>
              <a:gd name="connsiteY43" fmla="*/ 1552575 h 4496940"/>
              <a:gd name="connsiteX44" fmla="*/ 4402477 w 4519952"/>
              <a:gd name="connsiteY44" fmla="*/ 1590675 h 4496940"/>
              <a:gd name="connsiteX45" fmla="*/ 4431052 w 4519952"/>
              <a:gd name="connsiteY45" fmla="*/ 1685925 h 4496940"/>
              <a:gd name="connsiteX46" fmla="*/ 4459627 w 4519952"/>
              <a:gd name="connsiteY46" fmla="*/ 1828800 h 4496940"/>
              <a:gd name="connsiteX47" fmla="*/ 4519952 w 4519952"/>
              <a:gd name="connsiteY47" fmla="*/ 2181225 h 4496940"/>
              <a:gd name="connsiteX48" fmla="*/ 4440577 w 4519952"/>
              <a:gd name="connsiteY48" fmla="*/ 2876550 h 4496940"/>
              <a:gd name="connsiteX49" fmla="*/ 4383427 w 4519952"/>
              <a:gd name="connsiteY49" fmla="*/ 2990850 h 4496940"/>
              <a:gd name="connsiteX50" fmla="*/ 4354852 w 4519952"/>
              <a:gd name="connsiteY50" fmla="*/ 3057525 h 4496940"/>
              <a:gd name="connsiteX51" fmla="*/ 4335802 w 4519952"/>
              <a:gd name="connsiteY51" fmla="*/ 3095625 h 4496940"/>
              <a:gd name="connsiteX52" fmla="*/ 4278652 w 4519952"/>
              <a:gd name="connsiteY52" fmla="*/ 3248025 h 4496940"/>
              <a:gd name="connsiteX53" fmla="*/ 4259602 w 4519952"/>
              <a:gd name="connsiteY53" fmla="*/ 3276600 h 4496940"/>
              <a:gd name="connsiteX54" fmla="*/ 4221502 w 4519952"/>
              <a:gd name="connsiteY54" fmla="*/ 3333750 h 4496940"/>
              <a:gd name="connsiteX55" fmla="*/ 4211977 w 4519952"/>
              <a:gd name="connsiteY55" fmla="*/ 3362325 h 4496940"/>
              <a:gd name="connsiteX56" fmla="*/ 4183402 w 4519952"/>
              <a:gd name="connsiteY56" fmla="*/ 3400425 h 4496940"/>
              <a:gd name="connsiteX57" fmla="*/ 4164352 w 4519952"/>
              <a:gd name="connsiteY57" fmla="*/ 3429000 h 4496940"/>
              <a:gd name="connsiteX58" fmla="*/ 4088152 w 4519952"/>
              <a:gd name="connsiteY58" fmla="*/ 3495675 h 4496940"/>
              <a:gd name="connsiteX59" fmla="*/ 4059577 w 4519952"/>
              <a:gd name="connsiteY59" fmla="*/ 3533775 h 4496940"/>
              <a:gd name="connsiteX60" fmla="*/ 4002427 w 4519952"/>
              <a:gd name="connsiteY60" fmla="*/ 3600450 h 4496940"/>
              <a:gd name="connsiteX61" fmla="*/ 3983377 w 4519952"/>
              <a:gd name="connsiteY61" fmla="*/ 3629025 h 4496940"/>
              <a:gd name="connsiteX62" fmla="*/ 3954802 w 4519952"/>
              <a:gd name="connsiteY62" fmla="*/ 3648075 h 4496940"/>
              <a:gd name="connsiteX63" fmla="*/ 3907177 w 4519952"/>
              <a:gd name="connsiteY63" fmla="*/ 3686175 h 4496940"/>
              <a:gd name="connsiteX64" fmla="*/ 3869077 w 4519952"/>
              <a:gd name="connsiteY64" fmla="*/ 3724275 h 4496940"/>
              <a:gd name="connsiteX65" fmla="*/ 3792877 w 4519952"/>
              <a:gd name="connsiteY65" fmla="*/ 3781425 h 4496940"/>
              <a:gd name="connsiteX66" fmla="*/ 3783352 w 4519952"/>
              <a:gd name="connsiteY66" fmla="*/ 3810000 h 4496940"/>
              <a:gd name="connsiteX67" fmla="*/ 3745252 w 4519952"/>
              <a:gd name="connsiteY67" fmla="*/ 3819525 h 4496940"/>
              <a:gd name="connsiteX68" fmla="*/ 3678577 w 4519952"/>
              <a:gd name="connsiteY68" fmla="*/ 3848100 h 4496940"/>
              <a:gd name="connsiteX69" fmla="*/ 3659527 w 4519952"/>
              <a:gd name="connsiteY69" fmla="*/ 3971925 h 4496940"/>
              <a:gd name="connsiteX70" fmla="*/ 3630952 w 4519952"/>
              <a:gd name="connsiteY70" fmla="*/ 4010025 h 4496940"/>
              <a:gd name="connsiteX71" fmla="*/ 3621427 w 4519952"/>
              <a:gd name="connsiteY71" fmla="*/ 4038600 h 4496940"/>
              <a:gd name="connsiteX72" fmla="*/ 3554752 w 4519952"/>
              <a:gd name="connsiteY72" fmla="*/ 4095750 h 4496940"/>
              <a:gd name="connsiteX73" fmla="*/ 3516652 w 4519952"/>
              <a:gd name="connsiteY73" fmla="*/ 4114800 h 4496940"/>
              <a:gd name="connsiteX74" fmla="*/ 3497602 w 4519952"/>
              <a:gd name="connsiteY74" fmla="*/ 4143375 h 4496940"/>
              <a:gd name="connsiteX75" fmla="*/ 3383302 w 4519952"/>
              <a:gd name="connsiteY75" fmla="*/ 4210050 h 4496940"/>
              <a:gd name="connsiteX76" fmla="*/ 3335677 w 4519952"/>
              <a:gd name="connsiteY76" fmla="*/ 4238625 h 4496940"/>
              <a:gd name="connsiteX77" fmla="*/ 3288052 w 4519952"/>
              <a:gd name="connsiteY77" fmla="*/ 4248150 h 4496940"/>
              <a:gd name="connsiteX78" fmla="*/ 3240427 w 4519952"/>
              <a:gd name="connsiteY78" fmla="*/ 4267200 h 4496940"/>
              <a:gd name="connsiteX79" fmla="*/ 3068977 w 4519952"/>
              <a:gd name="connsiteY79" fmla="*/ 4286250 h 4496940"/>
              <a:gd name="connsiteX80" fmla="*/ 2935627 w 4519952"/>
              <a:gd name="connsiteY80" fmla="*/ 4333875 h 4496940"/>
              <a:gd name="connsiteX81" fmla="*/ 2811802 w 4519952"/>
              <a:gd name="connsiteY81" fmla="*/ 4371975 h 4496940"/>
              <a:gd name="connsiteX82" fmla="*/ 2745127 w 4519952"/>
              <a:gd name="connsiteY82" fmla="*/ 4410075 h 4496940"/>
              <a:gd name="connsiteX83" fmla="*/ 2697502 w 4519952"/>
              <a:gd name="connsiteY83" fmla="*/ 4429125 h 4496940"/>
              <a:gd name="connsiteX84" fmla="*/ 2640352 w 4519952"/>
              <a:gd name="connsiteY84" fmla="*/ 4457700 h 4496940"/>
              <a:gd name="connsiteX85" fmla="*/ 2583202 w 4519952"/>
              <a:gd name="connsiteY85" fmla="*/ 4467225 h 4496940"/>
              <a:gd name="connsiteX86" fmla="*/ 2545102 w 4519952"/>
              <a:gd name="connsiteY86" fmla="*/ 4486275 h 4496940"/>
              <a:gd name="connsiteX87" fmla="*/ 2306977 w 4519952"/>
              <a:gd name="connsiteY87" fmla="*/ 4476750 h 4496940"/>
              <a:gd name="connsiteX88" fmla="*/ 2202202 w 4519952"/>
              <a:gd name="connsiteY88" fmla="*/ 4457700 h 4496940"/>
              <a:gd name="connsiteX89" fmla="*/ 2126002 w 4519952"/>
              <a:gd name="connsiteY89" fmla="*/ 4429125 h 4496940"/>
              <a:gd name="connsiteX90" fmla="*/ 1935502 w 4519952"/>
              <a:gd name="connsiteY90" fmla="*/ 4400550 h 4496940"/>
              <a:gd name="connsiteX91" fmla="*/ 1821202 w 4519952"/>
              <a:gd name="connsiteY91" fmla="*/ 4371975 h 4496940"/>
              <a:gd name="connsiteX92" fmla="*/ 1754527 w 4519952"/>
              <a:gd name="connsiteY92" fmla="*/ 4352925 h 4496940"/>
              <a:gd name="connsiteX93" fmla="*/ 1687852 w 4519952"/>
              <a:gd name="connsiteY93" fmla="*/ 4343400 h 4496940"/>
              <a:gd name="connsiteX94" fmla="*/ 1573552 w 4519952"/>
              <a:gd name="connsiteY94" fmla="*/ 4305300 h 4496940"/>
              <a:gd name="connsiteX95" fmla="*/ 1402102 w 4519952"/>
              <a:gd name="connsiteY95" fmla="*/ 4276725 h 4496940"/>
              <a:gd name="connsiteX96" fmla="*/ 1287802 w 4519952"/>
              <a:gd name="connsiteY96" fmla="*/ 4229100 h 4496940"/>
              <a:gd name="connsiteX97" fmla="*/ 1221127 w 4519952"/>
              <a:gd name="connsiteY97" fmla="*/ 4200525 h 4496940"/>
              <a:gd name="connsiteX98" fmla="*/ 1144927 w 4519952"/>
              <a:gd name="connsiteY98" fmla="*/ 4171950 h 4496940"/>
              <a:gd name="connsiteX99" fmla="*/ 1087777 w 4519952"/>
              <a:gd name="connsiteY99" fmla="*/ 4143375 h 4496940"/>
              <a:gd name="connsiteX100" fmla="*/ 1030627 w 4519952"/>
              <a:gd name="connsiteY100" fmla="*/ 4124325 h 4496940"/>
              <a:gd name="connsiteX101" fmla="*/ 925852 w 4519952"/>
              <a:gd name="connsiteY101" fmla="*/ 4067175 h 4496940"/>
              <a:gd name="connsiteX102" fmla="*/ 830602 w 4519952"/>
              <a:gd name="connsiteY102" fmla="*/ 3981450 h 4496940"/>
              <a:gd name="connsiteX103" fmla="*/ 763927 w 4519952"/>
              <a:gd name="connsiteY103" fmla="*/ 3914775 h 4496940"/>
              <a:gd name="connsiteX104" fmla="*/ 725827 w 4519952"/>
              <a:gd name="connsiteY104" fmla="*/ 3876675 h 4496940"/>
              <a:gd name="connsiteX105" fmla="*/ 697252 w 4519952"/>
              <a:gd name="connsiteY105" fmla="*/ 3838575 h 4496940"/>
              <a:gd name="connsiteX106" fmla="*/ 640102 w 4519952"/>
              <a:gd name="connsiteY106" fmla="*/ 3781425 h 4496940"/>
              <a:gd name="connsiteX107" fmla="*/ 611527 w 4519952"/>
              <a:gd name="connsiteY107" fmla="*/ 3733800 h 4496940"/>
              <a:gd name="connsiteX108" fmla="*/ 554377 w 4519952"/>
              <a:gd name="connsiteY108" fmla="*/ 3657600 h 4496940"/>
              <a:gd name="connsiteX109" fmla="*/ 525802 w 4519952"/>
              <a:gd name="connsiteY109" fmla="*/ 3609975 h 4496940"/>
              <a:gd name="connsiteX110" fmla="*/ 497227 w 4519952"/>
              <a:gd name="connsiteY110" fmla="*/ 3552825 h 4496940"/>
              <a:gd name="connsiteX111" fmla="*/ 440077 w 4519952"/>
              <a:gd name="connsiteY111" fmla="*/ 3495675 h 4496940"/>
              <a:gd name="connsiteX112" fmla="*/ 411502 w 4519952"/>
              <a:gd name="connsiteY112" fmla="*/ 3448050 h 4496940"/>
              <a:gd name="connsiteX113" fmla="*/ 278152 w 4519952"/>
              <a:gd name="connsiteY113" fmla="*/ 3257550 h 4496940"/>
              <a:gd name="connsiteX114" fmla="*/ 249577 w 4519952"/>
              <a:gd name="connsiteY114" fmla="*/ 3200400 h 4496940"/>
              <a:gd name="connsiteX115" fmla="*/ 240052 w 4519952"/>
              <a:gd name="connsiteY115" fmla="*/ 3162300 h 4496940"/>
              <a:gd name="connsiteX116" fmla="*/ 221002 w 4519952"/>
              <a:gd name="connsiteY116" fmla="*/ 3105150 h 4496940"/>
              <a:gd name="connsiteX117" fmla="*/ 173377 w 4519952"/>
              <a:gd name="connsiteY117" fmla="*/ 3019425 h 4496940"/>
              <a:gd name="connsiteX118" fmla="*/ 144802 w 4519952"/>
              <a:gd name="connsiteY118" fmla="*/ 2924175 h 4496940"/>
              <a:gd name="connsiteX119" fmla="*/ 68602 w 4519952"/>
              <a:gd name="connsiteY119" fmla="*/ 2724150 h 4496940"/>
              <a:gd name="connsiteX120" fmla="*/ 49552 w 4519952"/>
              <a:gd name="connsiteY120" fmla="*/ 2638425 h 4496940"/>
              <a:gd name="connsiteX121" fmla="*/ 40027 w 4519952"/>
              <a:gd name="connsiteY121" fmla="*/ 2562225 h 4496940"/>
              <a:gd name="connsiteX122" fmla="*/ 30502 w 4519952"/>
              <a:gd name="connsiteY122" fmla="*/ 2514600 h 4496940"/>
              <a:gd name="connsiteX123" fmla="*/ 11452 w 4519952"/>
              <a:gd name="connsiteY123" fmla="*/ 2400300 h 4496940"/>
              <a:gd name="connsiteX124" fmla="*/ 20977 w 4519952"/>
              <a:gd name="connsiteY124" fmla="*/ 1905000 h 4496940"/>
              <a:gd name="connsiteX125" fmla="*/ 30502 w 4519952"/>
              <a:gd name="connsiteY125" fmla="*/ 1838325 h 4496940"/>
              <a:gd name="connsiteX126" fmla="*/ 49552 w 4519952"/>
              <a:gd name="connsiteY126" fmla="*/ 1781175 h 4496940"/>
              <a:gd name="connsiteX127" fmla="*/ 59077 w 4519952"/>
              <a:gd name="connsiteY127" fmla="*/ 1743075 h 4496940"/>
              <a:gd name="connsiteX128" fmla="*/ 78127 w 4519952"/>
              <a:gd name="connsiteY128" fmla="*/ 1685925 h 4496940"/>
              <a:gd name="connsiteX129" fmla="*/ 87652 w 4519952"/>
              <a:gd name="connsiteY129" fmla="*/ 1638300 h 4496940"/>
              <a:gd name="connsiteX130" fmla="*/ 106702 w 4519952"/>
              <a:gd name="connsiteY130" fmla="*/ 1590675 h 4496940"/>
              <a:gd name="connsiteX131" fmla="*/ 135277 w 4519952"/>
              <a:gd name="connsiteY131" fmla="*/ 1504950 h 4496940"/>
              <a:gd name="connsiteX132" fmla="*/ 154327 w 4519952"/>
              <a:gd name="connsiteY132" fmla="*/ 1419225 h 4496940"/>
              <a:gd name="connsiteX133" fmla="*/ 230527 w 4519952"/>
              <a:gd name="connsiteY133" fmla="*/ 1276350 h 4496940"/>
              <a:gd name="connsiteX134" fmla="*/ 240052 w 4519952"/>
              <a:gd name="connsiteY134" fmla="*/ 1247775 h 4496940"/>
              <a:gd name="connsiteX135" fmla="*/ 268627 w 4519952"/>
              <a:gd name="connsiteY135" fmla="*/ 1200150 h 4496940"/>
              <a:gd name="connsiteX136" fmla="*/ 287677 w 4519952"/>
              <a:gd name="connsiteY136" fmla="*/ 1152525 h 4496940"/>
              <a:gd name="connsiteX137" fmla="*/ 316252 w 4519952"/>
              <a:gd name="connsiteY137" fmla="*/ 1114425 h 4496940"/>
              <a:gd name="connsiteX138" fmla="*/ 363877 w 4519952"/>
              <a:gd name="connsiteY138" fmla="*/ 1038225 h 4496940"/>
              <a:gd name="connsiteX139" fmla="*/ 382927 w 4519952"/>
              <a:gd name="connsiteY139" fmla="*/ 1009650 h 4496940"/>
              <a:gd name="connsiteX140" fmla="*/ 440077 w 4519952"/>
              <a:gd name="connsiteY140" fmla="*/ 904875 h 4496940"/>
              <a:gd name="connsiteX141" fmla="*/ 478177 w 4519952"/>
              <a:gd name="connsiteY141" fmla="*/ 857250 h 4496940"/>
              <a:gd name="connsiteX142" fmla="*/ 497227 w 4519952"/>
              <a:gd name="connsiteY142" fmla="*/ 828675 h 4496940"/>
              <a:gd name="connsiteX143" fmla="*/ 535327 w 4519952"/>
              <a:gd name="connsiteY143" fmla="*/ 800100 h 4496940"/>
              <a:gd name="connsiteX144" fmla="*/ 602002 w 4519952"/>
              <a:gd name="connsiteY144" fmla="*/ 733425 h 4496940"/>
              <a:gd name="connsiteX145" fmla="*/ 668677 w 4519952"/>
              <a:gd name="connsiteY145" fmla="*/ 676275 h 4496940"/>
              <a:gd name="connsiteX146" fmla="*/ 697252 w 4519952"/>
              <a:gd name="connsiteY146" fmla="*/ 657225 h 4496940"/>
              <a:gd name="connsiteX147" fmla="*/ 840127 w 4519952"/>
              <a:gd name="connsiteY147" fmla="*/ 533400 h 4496940"/>
              <a:gd name="connsiteX148" fmla="*/ 887752 w 4519952"/>
              <a:gd name="connsiteY148" fmla="*/ 504825 h 4496940"/>
              <a:gd name="connsiteX149" fmla="*/ 1167152 w 4519952"/>
              <a:gd name="connsiteY149" fmla="*/ 311150 h 4496940"/>
              <a:gd name="connsiteX150" fmla="*/ 1268752 w 4519952"/>
              <a:gd name="connsiteY150" fmla="*/ 285750 h 4496940"/>
              <a:gd name="connsiteX151" fmla="*/ 1411627 w 4519952"/>
              <a:gd name="connsiteY151" fmla="*/ 190500 h 4496940"/>
              <a:gd name="connsiteX152" fmla="*/ 1449727 w 4519952"/>
              <a:gd name="connsiteY152" fmla="*/ 161925 h 4496940"/>
              <a:gd name="connsiteX153" fmla="*/ 1525927 w 4519952"/>
              <a:gd name="connsiteY153" fmla="*/ 152400 h 4496940"/>
              <a:gd name="connsiteX154" fmla="*/ 1583077 w 4519952"/>
              <a:gd name="connsiteY154" fmla="*/ 142875 h 4496940"/>
              <a:gd name="connsiteX155" fmla="*/ 1716427 w 4519952"/>
              <a:gd name="connsiteY155" fmla="*/ 123825 h 4496940"/>
              <a:gd name="connsiteX156" fmla="*/ 1811677 w 4519952"/>
              <a:gd name="connsiteY156" fmla="*/ 114300 h 4496940"/>
              <a:gd name="connsiteX157" fmla="*/ 1859302 w 4519952"/>
              <a:gd name="connsiteY157" fmla="*/ 104775 h 4496940"/>
              <a:gd name="connsiteX158" fmla="*/ 1916452 w 4519952"/>
              <a:gd name="connsiteY158" fmla="*/ 95250 h 4496940"/>
              <a:gd name="connsiteX159" fmla="*/ 2030752 w 4519952"/>
              <a:gd name="connsiteY159" fmla="*/ 66675 h 4496940"/>
              <a:gd name="connsiteX160" fmla="*/ 2097427 w 4519952"/>
              <a:gd name="connsiteY160" fmla="*/ 47625 h 4496940"/>
              <a:gd name="connsiteX161" fmla="*/ 2164102 w 4519952"/>
              <a:gd name="connsiteY161" fmla="*/ 38100 h 4496940"/>
              <a:gd name="connsiteX162" fmla="*/ 2392702 w 4519952"/>
              <a:gd name="connsiteY162" fmla="*/ 28575 h 4496940"/>
              <a:gd name="connsiteX0" fmla="*/ 2297452 w 4519983"/>
              <a:gd name="connsiteY0" fmla="*/ 0 h 4496940"/>
              <a:gd name="connsiteX1" fmla="*/ 2421277 w 4519983"/>
              <a:gd name="connsiteY1" fmla="*/ 28575 h 4496940"/>
              <a:gd name="connsiteX2" fmla="*/ 2497477 w 4519983"/>
              <a:gd name="connsiteY2" fmla="*/ 47625 h 4496940"/>
              <a:gd name="connsiteX3" fmla="*/ 2754652 w 4519983"/>
              <a:gd name="connsiteY3" fmla="*/ 66675 h 4496940"/>
              <a:gd name="connsiteX4" fmla="*/ 2830852 w 4519983"/>
              <a:gd name="connsiteY4" fmla="*/ 76200 h 4496940"/>
              <a:gd name="connsiteX5" fmla="*/ 2916577 w 4519983"/>
              <a:gd name="connsiteY5" fmla="*/ 85725 h 4496940"/>
              <a:gd name="connsiteX6" fmla="*/ 2973727 w 4519983"/>
              <a:gd name="connsiteY6" fmla="*/ 114300 h 4496940"/>
              <a:gd name="connsiteX7" fmla="*/ 3011827 w 4519983"/>
              <a:gd name="connsiteY7" fmla="*/ 123825 h 4496940"/>
              <a:gd name="connsiteX8" fmla="*/ 3135652 w 4519983"/>
              <a:gd name="connsiteY8" fmla="*/ 171450 h 4496940"/>
              <a:gd name="connsiteX9" fmla="*/ 3173752 w 4519983"/>
              <a:gd name="connsiteY9" fmla="*/ 190500 h 4496940"/>
              <a:gd name="connsiteX10" fmla="*/ 3240427 w 4519983"/>
              <a:gd name="connsiteY10" fmla="*/ 228600 h 4496940"/>
              <a:gd name="connsiteX11" fmla="*/ 3269002 w 4519983"/>
              <a:gd name="connsiteY11" fmla="*/ 238125 h 4496940"/>
              <a:gd name="connsiteX12" fmla="*/ 3297577 w 4519983"/>
              <a:gd name="connsiteY12" fmla="*/ 257175 h 4496940"/>
              <a:gd name="connsiteX13" fmla="*/ 3326152 w 4519983"/>
              <a:gd name="connsiteY13" fmla="*/ 266700 h 4496940"/>
              <a:gd name="connsiteX14" fmla="*/ 3354727 w 4519983"/>
              <a:gd name="connsiteY14" fmla="*/ 285750 h 4496940"/>
              <a:gd name="connsiteX15" fmla="*/ 3421402 w 4519983"/>
              <a:gd name="connsiteY15" fmla="*/ 323850 h 4496940"/>
              <a:gd name="connsiteX16" fmla="*/ 3469027 w 4519983"/>
              <a:gd name="connsiteY16" fmla="*/ 361950 h 4496940"/>
              <a:gd name="connsiteX17" fmla="*/ 3516652 w 4519983"/>
              <a:gd name="connsiteY17" fmla="*/ 390525 h 4496940"/>
              <a:gd name="connsiteX18" fmla="*/ 3545227 w 4519983"/>
              <a:gd name="connsiteY18" fmla="*/ 419100 h 4496940"/>
              <a:gd name="connsiteX19" fmla="*/ 3602377 w 4519983"/>
              <a:gd name="connsiteY19" fmla="*/ 457200 h 4496940"/>
              <a:gd name="connsiteX20" fmla="*/ 3630952 w 4519983"/>
              <a:gd name="connsiteY20" fmla="*/ 485775 h 4496940"/>
              <a:gd name="connsiteX21" fmla="*/ 3678577 w 4519983"/>
              <a:gd name="connsiteY21" fmla="*/ 504825 h 4496940"/>
              <a:gd name="connsiteX22" fmla="*/ 3745252 w 4519983"/>
              <a:gd name="connsiteY22" fmla="*/ 542925 h 4496940"/>
              <a:gd name="connsiteX23" fmla="*/ 3811927 w 4519983"/>
              <a:gd name="connsiteY23" fmla="*/ 581025 h 4496940"/>
              <a:gd name="connsiteX24" fmla="*/ 3840502 w 4519983"/>
              <a:gd name="connsiteY24" fmla="*/ 600075 h 4496940"/>
              <a:gd name="connsiteX25" fmla="*/ 3869077 w 4519983"/>
              <a:gd name="connsiteY25" fmla="*/ 628650 h 4496940"/>
              <a:gd name="connsiteX26" fmla="*/ 3907177 w 4519983"/>
              <a:gd name="connsiteY26" fmla="*/ 647700 h 4496940"/>
              <a:gd name="connsiteX27" fmla="*/ 3935752 w 4519983"/>
              <a:gd name="connsiteY27" fmla="*/ 676275 h 4496940"/>
              <a:gd name="connsiteX28" fmla="*/ 3992902 w 4519983"/>
              <a:gd name="connsiteY28" fmla="*/ 714375 h 4496940"/>
              <a:gd name="connsiteX29" fmla="*/ 4050052 w 4519983"/>
              <a:gd name="connsiteY29" fmla="*/ 790575 h 4496940"/>
              <a:gd name="connsiteX30" fmla="*/ 4078627 w 4519983"/>
              <a:gd name="connsiteY30" fmla="*/ 838200 h 4496940"/>
              <a:gd name="connsiteX31" fmla="*/ 4107202 w 4519983"/>
              <a:gd name="connsiteY31" fmla="*/ 876300 h 4496940"/>
              <a:gd name="connsiteX32" fmla="*/ 4116727 w 4519983"/>
              <a:gd name="connsiteY32" fmla="*/ 904875 h 4496940"/>
              <a:gd name="connsiteX33" fmla="*/ 4135777 w 4519983"/>
              <a:gd name="connsiteY33" fmla="*/ 933450 h 4496940"/>
              <a:gd name="connsiteX34" fmla="*/ 4164352 w 4519983"/>
              <a:gd name="connsiteY34" fmla="*/ 990600 h 4496940"/>
              <a:gd name="connsiteX35" fmla="*/ 4173877 w 4519983"/>
              <a:gd name="connsiteY35" fmla="*/ 1019175 h 4496940"/>
              <a:gd name="connsiteX36" fmla="*/ 4192927 w 4519983"/>
              <a:gd name="connsiteY36" fmla="*/ 1057275 h 4496940"/>
              <a:gd name="connsiteX37" fmla="*/ 4202452 w 4519983"/>
              <a:gd name="connsiteY37" fmla="*/ 1085850 h 4496940"/>
              <a:gd name="connsiteX38" fmla="*/ 4250077 w 4519983"/>
              <a:gd name="connsiteY38" fmla="*/ 1143000 h 4496940"/>
              <a:gd name="connsiteX39" fmla="*/ 4259602 w 4519983"/>
              <a:gd name="connsiteY39" fmla="*/ 1190625 h 4496940"/>
              <a:gd name="connsiteX40" fmla="*/ 4307227 w 4519983"/>
              <a:gd name="connsiteY40" fmla="*/ 1266825 h 4496940"/>
              <a:gd name="connsiteX41" fmla="*/ 4345327 w 4519983"/>
              <a:gd name="connsiteY41" fmla="*/ 1362075 h 4496940"/>
              <a:gd name="connsiteX42" fmla="*/ 4373902 w 4519983"/>
              <a:gd name="connsiteY42" fmla="*/ 1428750 h 4496940"/>
              <a:gd name="connsiteX43" fmla="*/ 4392952 w 4519983"/>
              <a:gd name="connsiteY43" fmla="*/ 1552575 h 4496940"/>
              <a:gd name="connsiteX44" fmla="*/ 4402477 w 4519983"/>
              <a:gd name="connsiteY44" fmla="*/ 1590675 h 4496940"/>
              <a:gd name="connsiteX45" fmla="*/ 4431052 w 4519983"/>
              <a:gd name="connsiteY45" fmla="*/ 1685925 h 4496940"/>
              <a:gd name="connsiteX46" fmla="*/ 4519952 w 4519983"/>
              <a:gd name="connsiteY46" fmla="*/ 2181225 h 4496940"/>
              <a:gd name="connsiteX47" fmla="*/ 4440577 w 4519983"/>
              <a:gd name="connsiteY47" fmla="*/ 2876550 h 4496940"/>
              <a:gd name="connsiteX48" fmla="*/ 4383427 w 4519983"/>
              <a:gd name="connsiteY48" fmla="*/ 2990850 h 4496940"/>
              <a:gd name="connsiteX49" fmla="*/ 4354852 w 4519983"/>
              <a:gd name="connsiteY49" fmla="*/ 3057525 h 4496940"/>
              <a:gd name="connsiteX50" fmla="*/ 4335802 w 4519983"/>
              <a:gd name="connsiteY50" fmla="*/ 3095625 h 4496940"/>
              <a:gd name="connsiteX51" fmla="*/ 4278652 w 4519983"/>
              <a:gd name="connsiteY51" fmla="*/ 3248025 h 4496940"/>
              <a:gd name="connsiteX52" fmla="*/ 4259602 w 4519983"/>
              <a:gd name="connsiteY52" fmla="*/ 3276600 h 4496940"/>
              <a:gd name="connsiteX53" fmla="*/ 4221502 w 4519983"/>
              <a:gd name="connsiteY53" fmla="*/ 3333750 h 4496940"/>
              <a:gd name="connsiteX54" fmla="*/ 4211977 w 4519983"/>
              <a:gd name="connsiteY54" fmla="*/ 3362325 h 4496940"/>
              <a:gd name="connsiteX55" fmla="*/ 4183402 w 4519983"/>
              <a:gd name="connsiteY55" fmla="*/ 3400425 h 4496940"/>
              <a:gd name="connsiteX56" fmla="*/ 4164352 w 4519983"/>
              <a:gd name="connsiteY56" fmla="*/ 3429000 h 4496940"/>
              <a:gd name="connsiteX57" fmla="*/ 4088152 w 4519983"/>
              <a:gd name="connsiteY57" fmla="*/ 3495675 h 4496940"/>
              <a:gd name="connsiteX58" fmla="*/ 4059577 w 4519983"/>
              <a:gd name="connsiteY58" fmla="*/ 3533775 h 4496940"/>
              <a:gd name="connsiteX59" fmla="*/ 4002427 w 4519983"/>
              <a:gd name="connsiteY59" fmla="*/ 3600450 h 4496940"/>
              <a:gd name="connsiteX60" fmla="*/ 3983377 w 4519983"/>
              <a:gd name="connsiteY60" fmla="*/ 3629025 h 4496940"/>
              <a:gd name="connsiteX61" fmla="*/ 3954802 w 4519983"/>
              <a:gd name="connsiteY61" fmla="*/ 3648075 h 4496940"/>
              <a:gd name="connsiteX62" fmla="*/ 3907177 w 4519983"/>
              <a:gd name="connsiteY62" fmla="*/ 3686175 h 4496940"/>
              <a:gd name="connsiteX63" fmla="*/ 3869077 w 4519983"/>
              <a:gd name="connsiteY63" fmla="*/ 3724275 h 4496940"/>
              <a:gd name="connsiteX64" fmla="*/ 3792877 w 4519983"/>
              <a:gd name="connsiteY64" fmla="*/ 3781425 h 4496940"/>
              <a:gd name="connsiteX65" fmla="*/ 3783352 w 4519983"/>
              <a:gd name="connsiteY65" fmla="*/ 3810000 h 4496940"/>
              <a:gd name="connsiteX66" fmla="*/ 3745252 w 4519983"/>
              <a:gd name="connsiteY66" fmla="*/ 3819525 h 4496940"/>
              <a:gd name="connsiteX67" fmla="*/ 3678577 w 4519983"/>
              <a:gd name="connsiteY67" fmla="*/ 3848100 h 4496940"/>
              <a:gd name="connsiteX68" fmla="*/ 3659527 w 4519983"/>
              <a:gd name="connsiteY68" fmla="*/ 3971925 h 4496940"/>
              <a:gd name="connsiteX69" fmla="*/ 3630952 w 4519983"/>
              <a:gd name="connsiteY69" fmla="*/ 4010025 h 4496940"/>
              <a:gd name="connsiteX70" fmla="*/ 3621427 w 4519983"/>
              <a:gd name="connsiteY70" fmla="*/ 4038600 h 4496940"/>
              <a:gd name="connsiteX71" fmla="*/ 3554752 w 4519983"/>
              <a:gd name="connsiteY71" fmla="*/ 4095750 h 4496940"/>
              <a:gd name="connsiteX72" fmla="*/ 3516652 w 4519983"/>
              <a:gd name="connsiteY72" fmla="*/ 4114800 h 4496940"/>
              <a:gd name="connsiteX73" fmla="*/ 3497602 w 4519983"/>
              <a:gd name="connsiteY73" fmla="*/ 4143375 h 4496940"/>
              <a:gd name="connsiteX74" fmla="*/ 3383302 w 4519983"/>
              <a:gd name="connsiteY74" fmla="*/ 4210050 h 4496940"/>
              <a:gd name="connsiteX75" fmla="*/ 3335677 w 4519983"/>
              <a:gd name="connsiteY75" fmla="*/ 4238625 h 4496940"/>
              <a:gd name="connsiteX76" fmla="*/ 3288052 w 4519983"/>
              <a:gd name="connsiteY76" fmla="*/ 4248150 h 4496940"/>
              <a:gd name="connsiteX77" fmla="*/ 3240427 w 4519983"/>
              <a:gd name="connsiteY77" fmla="*/ 4267200 h 4496940"/>
              <a:gd name="connsiteX78" fmla="*/ 3068977 w 4519983"/>
              <a:gd name="connsiteY78" fmla="*/ 4286250 h 4496940"/>
              <a:gd name="connsiteX79" fmla="*/ 2935627 w 4519983"/>
              <a:gd name="connsiteY79" fmla="*/ 4333875 h 4496940"/>
              <a:gd name="connsiteX80" fmla="*/ 2811802 w 4519983"/>
              <a:gd name="connsiteY80" fmla="*/ 4371975 h 4496940"/>
              <a:gd name="connsiteX81" fmla="*/ 2745127 w 4519983"/>
              <a:gd name="connsiteY81" fmla="*/ 4410075 h 4496940"/>
              <a:gd name="connsiteX82" fmla="*/ 2697502 w 4519983"/>
              <a:gd name="connsiteY82" fmla="*/ 4429125 h 4496940"/>
              <a:gd name="connsiteX83" fmla="*/ 2640352 w 4519983"/>
              <a:gd name="connsiteY83" fmla="*/ 4457700 h 4496940"/>
              <a:gd name="connsiteX84" fmla="*/ 2583202 w 4519983"/>
              <a:gd name="connsiteY84" fmla="*/ 4467225 h 4496940"/>
              <a:gd name="connsiteX85" fmla="*/ 2545102 w 4519983"/>
              <a:gd name="connsiteY85" fmla="*/ 4486275 h 4496940"/>
              <a:gd name="connsiteX86" fmla="*/ 2306977 w 4519983"/>
              <a:gd name="connsiteY86" fmla="*/ 4476750 h 4496940"/>
              <a:gd name="connsiteX87" fmla="*/ 2202202 w 4519983"/>
              <a:gd name="connsiteY87" fmla="*/ 4457700 h 4496940"/>
              <a:gd name="connsiteX88" fmla="*/ 2126002 w 4519983"/>
              <a:gd name="connsiteY88" fmla="*/ 4429125 h 4496940"/>
              <a:gd name="connsiteX89" fmla="*/ 1935502 w 4519983"/>
              <a:gd name="connsiteY89" fmla="*/ 4400550 h 4496940"/>
              <a:gd name="connsiteX90" fmla="*/ 1821202 w 4519983"/>
              <a:gd name="connsiteY90" fmla="*/ 4371975 h 4496940"/>
              <a:gd name="connsiteX91" fmla="*/ 1754527 w 4519983"/>
              <a:gd name="connsiteY91" fmla="*/ 4352925 h 4496940"/>
              <a:gd name="connsiteX92" fmla="*/ 1687852 w 4519983"/>
              <a:gd name="connsiteY92" fmla="*/ 4343400 h 4496940"/>
              <a:gd name="connsiteX93" fmla="*/ 1573552 w 4519983"/>
              <a:gd name="connsiteY93" fmla="*/ 4305300 h 4496940"/>
              <a:gd name="connsiteX94" fmla="*/ 1402102 w 4519983"/>
              <a:gd name="connsiteY94" fmla="*/ 4276725 h 4496940"/>
              <a:gd name="connsiteX95" fmla="*/ 1287802 w 4519983"/>
              <a:gd name="connsiteY95" fmla="*/ 4229100 h 4496940"/>
              <a:gd name="connsiteX96" fmla="*/ 1221127 w 4519983"/>
              <a:gd name="connsiteY96" fmla="*/ 4200525 h 4496940"/>
              <a:gd name="connsiteX97" fmla="*/ 1144927 w 4519983"/>
              <a:gd name="connsiteY97" fmla="*/ 4171950 h 4496940"/>
              <a:gd name="connsiteX98" fmla="*/ 1087777 w 4519983"/>
              <a:gd name="connsiteY98" fmla="*/ 4143375 h 4496940"/>
              <a:gd name="connsiteX99" fmla="*/ 1030627 w 4519983"/>
              <a:gd name="connsiteY99" fmla="*/ 4124325 h 4496940"/>
              <a:gd name="connsiteX100" fmla="*/ 925852 w 4519983"/>
              <a:gd name="connsiteY100" fmla="*/ 4067175 h 4496940"/>
              <a:gd name="connsiteX101" fmla="*/ 830602 w 4519983"/>
              <a:gd name="connsiteY101" fmla="*/ 3981450 h 4496940"/>
              <a:gd name="connsiteX102" fmla="*/ 763927 w 4519983"/>
              <a:gd name="connsiteY102" fmla="*/ 3914775 h 4496940"/>
              <a:gd name="connsiteX103" fmla="*/ 725827 w 4519983"/>
              <a:gd name="connsiteY103" fmla="*/ 3876675 h 4496940"/>
              <a:gd name="connsiteX104" fmla="*/ 697252 w 4519983"/>
              <a:gd name="connsiteY104" fmla="*/ 3838575 h 4496940"/>
              <a:gd name="connsiteX105" fmla="*/ 640102 w 4519983"/>
              <a:gd name="connsiteY105" fmla="*/ 3781425 h 4496940"/>
              <a:gd name="connsiteX106" fmla="*/ 611527 w 4519983"/>
              <a:gd name="connsiteY106" fmla="*/ 3733800 h 4496940"/>
              <a:gd name="connsiteX107" fmla="*/ 554377 w 4519983"/>
              <a:gd name="connsiteY107" fmla="*/ 3657600 h 4496940"/>
              <a:gd name="connsiteX108" fmla="*/ 525802 w 4519983"/>
              <a:gd name="connsiteY108" fmla="*/ 3609975 h 4496940"/>
              <a:gd name="connsiteX109" fmla="*/ 497227 w 4519983"/>
              <a:gd name="connsiteY109" fmla="*/ 3552825 h 4496940"/>
              <a:gd name="connsiteX110" fmla="*/ 440077 w 4519983"/>
              <a:gd name="connsiteY110" fmla="*/ 3495675 h 4496940"/>
              <a:gd name="connsiteX111" fmla="*/ 411502 w 4519983"/>
              <a:gd name="connsiteY111" fmla="*/ 3448050 h 4496940"/>
              <a:gd name="connsiteX112" fmla="*/ 278152 w 4519983"/>
              <a:gd name="connsiteY112" fmla="*/ 3257550 h 4496940"/>
              <a:gd name="connsiteX113" fmla="*/ 249577 w 4519983"/>
              <a:gd name="connsiteY113" fmla="*/ 3200400 h 4496940"/>
              <a:gd name="connsiteX114" fmla="*/ 240052 w 4519983"/>
              <a:gd name="connsiteY114" fmla="*/ 3162300 h 4496940"/>
              <a:gd name="connsiteX115" fmla="*/ 221002 w 4519983"/>
              <a:gd name="connsiteY115" fmla="*/ 3105150 h 4496940"/>
              <a:gd name="connsiteX116" fmla="*/ 173377 w 4519983"/>
              <a:gd name="connsiteY116" fmla="*/ 3019425 h 4496940"/>
              <a:gd name="connsiteX117" fmla="*/ 144802 w 4519983"/>
              <a:gd name="connsiteY117" fmla="*/ 2924175 h 4496940"/>
              <a:gd name="connsiteX118" fmla="*/ 68602 w 4519983"/>
              <a:gd name="connsiteY118" fmla="*/ 2724150 h 4496940"/>
              <a:gd name="connsiteX119" fmla="*/ 49552 w 4519983"/>
              <a:gd name="connsiteY119" fmla="*/ 2638425 h 4496940"/>
              <a:gd name="connsiteX120" fmla="*/ 40027 w 4519983"/>
              <a:gd name="connsiteY120" fmla="*/ 2562225 h 4496940"/>
              <a:gd name="connsiteX121" fmla="*/ 30502 w 4519983"/>
              <a:gd name="connsiteY121" fmla="*/ 2514600 h 4496940"/>
              <a:gd name="connsiteX122" fmla="*/ 11452 w 4519983"/>
              <a:gd name="connsiteY122" fmla="*/ 2400300 h 4496940"/>
              <a:gd name="connsiteX123" fmla="*/ 20977 w 4519983"/>
              <a:gd name="connsiteY123" fmla="*/ 1905000 h 4496940"/>
              <a:gd name="connsiteX124" fmla="*/ 30502 w 4519983"/>
              <a:gd name="connsiteY124" fmla="*/ 1838325 h 4496940"/>
              <a:gd name="connsiteX125" fmla="*/ 49552 w 4519983"/>
              <a:gd name="connsiteY125" fmla="*/ 1781175 h 4496940"/>
              <a:gd name="connsiteX126" fmla="*/ 59077 w 4519983"/>
              <a:gd name="connsiteY126" fmla="*/ 1743075 h 4496940"/>
              <a:gd name="connsiteX127" fmla="*/ 78127 w 4519983"/>
              <a:gd name="connsiteY127" fmla="*/ 1685925 h 4496940"/>
              <a:gd name="connsiteX128" fmla="*/ 87652 w 4519983"/>
              <a:gd name="connsiteY128" fmla="*/ 1638300 h 4496940"/>
              <a:gd name="connsiteX129" fmla="*/ 106702 w 4519983"/>
              <a:gd name="connsiteY129" fmla="*/ 1590675 h 4496940"/>
              <a:gd name="connsiteX130" fmla="*/ 135277 w 4519983"/>
              <a:gd name="connsiteY130" fmla="*/ 1504950 h 4496940"/>
              <a:gd name="connsiteX131" fmla="*/ 154327 w 4519983"/>
              <a:gd name="connsiteY131" fmla="*/ 1419225 h 4496940"/>
              <a:gd name="connsiteX132" fmla="*/ 230527 w 4519983"/>
              <a:gd name="connsiteY132" fmla="*/ 1276350 h 4496940"/>
              <a:gd name="connsiteX133" fmla="*/ 240052 w 4519983"/>
              <a:gd name="connsiteY133" fmla="*/ 1247775 h 4496940"/>
              <a:gd name="connsiteX134" fmla="*/ 268627 w 4519983"/>
              <a:gd name="connsiteY134" fmla="*/ 1200150 h 4496940"/>
              <a:gd name="connsiteX135" fmla="*/ 287677 w 4519983"/>
              <a:gd name="connsiteY135" fmla="*/ 1152525 h 4496940"/>
              <a:gd name="connsiteX136" fmla="*/ 316252 w 4519983"/>
              <a:gd name="connsiteY136" fmla="*/ 1114425 h 4496940"/>
              <a:gd name="connsiteX137" fmla="*/ 363877 w 4519983"/>
              <a:gd name="connsiteY137" fmla="*/ 1038225 h 4496940"/>
              <a:gd name="connsiteX138" fmla="*/ 382927 w 4519983"/>
              <a:gd name="connsiteY138" fmla="*/ 1009650 h 4496940"/>
              <a:gd name="connsiteX139" fmla="*/ 440077 w 4519983"/>
              <a:gd name="connsiteY139" fmla="*/ 904875 h 4496940"/>
              <a:gd name="connsiteX140" fmla="*/ 478177 w 4519983"/>
              <a:gd name="connsiteY140" fmla="*/ 857250 h 4496940"/>
              <a:gd name="connsiteX141" fmla="*/ 497227 w 4519983"/>
              <a:gd name="connsiteY141" fmla="*/ 828675 h 4496940"/>
              <a:gd name="connsiteX142" fmla="*/ 535327 w 4519983"/>
              <a:gd name="connsiteY142" fmla="*/ 800100 h 4496940"/>
              <a:gd name="connsiteX143" fmla="*/ 602002 w 4519983"/>
              <a:gd name="connsiteY143" fmla="*/ 733425 h 4496940"/>
              <a:gd name="connsiteX144" fmla="*/ 668677 w 4519983"/>
              <a:gd name="connsiteY144" fmla="*/ 676275 h 4496940"/>
              <a:gd name="connsiteX145" fmla="*/ 697252 w 4519983"/>
              <a:gd name="connsiteY145" fmla="*/ 657225 h 4496940"/>
              <a:gd name="connsiteX146" fmla="*/ 840127 w 4519983"/>
              <a:gd name="connsiteY146" fmla="*/ 533400 h 4496940"/>
              <a:gd name="connsiteX147" fmla="*/ 887752 w 4519983"/>
              <a:gd name="connsiteY147" fmla="*/ 504825 h 4496940"/>
              <a:gd name="connsiteX148" fmla="*/ 1167152 w 4519983"/>
              <a:gd name="connsiteY148" fmla="*/ 311150 h 4496940"/>
              <a:gd name="connsiteX149" fmla="*/ 1268752 w 4519983"/>
              <a:gd name="connsiteY149" fmla="*/ 285750 h 4496940"/>
              <a:gd name="connsiteX150" fmla="*/ 1411627 w 4519983"/>
              <a:gd name="connsiteY150" fmla="*/ 190500 h 4496940"/>
              <a:gd name="connsiteX151" fmla="*/ 1449727 w 4519983"/>
              <a:gd name="connsiteY151" fmla="*/ 161925 h 4496940"/>
              <a:gd name="connsiteX152" fmla="*/ 1525927 w 4519983"/>
              <a:gd name="connsiteY152" fmla="*/ 152400 h 4496940"/>
              <a:gd name="connsiteX153" fmla="*/ 1583077 w 4519983"/>
              <a:gd name="connsiteY153" fmla="*/ 142875 h 4496940"/>
              <a:gd name="connsiteX154" fmla="*/ 1716427 w 4519983"/>
              <a:gd name="connsiteY154" fmla="*/ 123825 h 4496940"/>
              <a:gd name="connsiteX155" fmla="*/ 1811677 w 4519983"/>
              <a:gd name="connsiteY155" fmla="*/ 114300 h 4496940"/>
              <a:gd name="connsiteX156" fmla="*/ 1859302 w 4519983"/>
              <a:gd name="connsiteY156" fmla="*/ 104775 h 4496940"/>
              <a:gd name="connsiteX157" fmla="*/ 1916452 w 4519983"/>
              <a:gd name="connsiteY157" fmla="*/ 95250 h 4496940"/>
              <a:gd name="connsiteX158" fmla="*/ 2030752 w 4519983"/>
              <a:gd name="connsiteY158" fmla="*/ 66675 h 4496940"/>
              <a:gd name="connsiteX159" fmla="*/ 2097427 w 4519983"/>
              <a:gd name="connsiteY159" fmla="*/ 47625 h 4496940"/>
              <a:gd name="connsiteX160" fmla="*/ 2164102 w 4519983"/>
              <a:gd name="connsiteY160" fmla="*/ 38100 h 4496940"/>
              <a:gd name="connsiteX161" fmla="*/ 2392702 w 4519983"/>
              <a:gd name="connsiteY16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354852 w 4519987"/>
              <a:gd name="connsiteY49" fmla="*/ 3057525 h 4496940"/>
              <a:gd name="connsiteX50" fmla="*/ 4335802 w 4519987"/>
              <a:gd name="connsiteY50" fmla="*/ 3095625 h 4496940"/>
              <a:gd name="connsiteX51" fmla="*/ 4278652 w 4519987"/>
              <a:gd name="connsiteY51" fmla="*/ 3248025 h 4496940"/>
              <a:gd name="connsiteX52" fmla="*/ 4259602 w 4519987"/>
              <a:gd name="connsiteY52" fmla="*/ 3276600 h 4496940"/>
              <a:gd name="connsiteX53" fmla="*/ 4221502 w 4519987"/>
              <a:gd name="connsiteY53" fmla="*/ 3333750 h 4496940"/>
              <a:gd name="connsiteX54" fmla="*/ 4211977 w 4519987"/>
              <a:gd name="connsiteY54" fmla="*/ 3362325 h 4496940"/>
              <a:gd name="connsiteX55" fmla="*/ 4183402 w 4519987"/>
              <a:gd name="connsiteY55" fmla="*/ 3400425 h 4496940"/>
              <a:gd name="connsiteX56" fmla="*/ 4164352 w 4519987"/>
              <a:gd name="connsiteY56" fmla="*/ 3429000 h 4496940"/>
              <a:gd name="connsiteX57" fmla="*/ 4088152 w 4519987"/>
              <a:gd name="connsiteY57" fmla="*/ 3495675 h 4496940"/>
              <a:gd name="connsiteX58" fmla="*/ 4059577 w 4519987"/>
              <a:gd name="connsiteY58" fmla="*/ 3533775 h 4496940"/>
              <a:gd name="connsiteX59" fmla="*/ 4002427 w 4519987"/>
              <a:gd name="connsiteY59" fmla="*/ 3600450 h 4496940"/>
              <a:gd name="connsiteX60" fmla="*/ 3983377 w 4519987"/>
              <a:gd name="connsiteY60" fmla="*/ 3629025 h 4496940"/>
              <a:gd name="connsiteX61" fmla="*/ 3954802 w 4519987"/>
              <a:gd name="connsiteY61" fmla="*/ 3648075 h 4496940"/>
              <a:gd name="connsiteX62" fmla="*/ 3907177 w 4519987"/>
              <a:gd name="connsiteY62" fmla="*/ 3686175 h 4496940"/>
              <a:gd name="connsiteX63" fmla="*/ 3869077 w 4519987"/>
              <a:gd name="connsiteY63" fmla="*/ 3724275 h 4496940"/>
              <a:gd name="connsiteX64" fmla="*/ 3792877 w 4519987"/>
              <a:gd name="connsiteY64" fmla="*/ 3781425 h 4496940"/>
              <a:gd name="connsiteX65" fmla="*/ 3783352 w 4519987"/>
              <a:gd name="connsiteY65" fmla="*/ 3810000 h 4496940"/>
              <a:gd name="connsiteX66" fmla="*/ 3745252 w 4519987"/>
              <a:gd name="connsiteY66" fmla="*/ 3819525 h 4496940"/>
              <a:gd name="connsiteX67" fmla="*/ 3678577 w 4519987"/>
              <a:gd name="connsiteY67" fmla="*/ 3848100 h 4496940"/>
              <a:gd name="connsiteX68" fmla="*/ 3659527 w 4519987"/>
              <a:gd name="connsiteY68" fmla="*/ 3971925 h 4496940"/>
              <a:gd name="connsiteX69" fmla="*/ 3630952 w 4519987"/>
              <a:gd name="connsiteY69" fmla="*/ 4010025 h 4496940"/>
              <a:gd name="connsiteX70" fmla="*/ 3621427 w 4519987"/>
              <a:gd name="connsiteY70" fmla="*/ 4038600 h 4496940"/>
              <a:gd name="connsiteX71" fmla="*/ 3554752 w 4519987"/>
              <a:gd name="connsiteY71" fmla="*/ 4095750 h 4496940"/>
              <a:gd name="connsiteX72" fmla="*/ 3516652 w 4519987"/>
              <a:gd name="connsiteY72" fmla="*/ 4114800 h 4496940"/>
              <a:gd name="connsiteX73" fmla="*/ 3497602 w 4519987"/>
              <a:gd name="connsiteY73" fmla="*/ 4143375 h 4496940"/>
              <a:gd name="connsiteX74" fmla="*/ 3383302 w 4519987"/>
              <a:gd name="connsiteY74" fmla="*/ 4210050 h 4496940"/>
              <a:gd name="connsiteX75" fmla="*/ 3335677 w 4519987"/>
              <a:gd name="connsiteY75" fmla="*/ 4238625 h 4496940"/>
              <a:gd name="connsiteX76" fmla="*/ 3288052 w 4519987"/>
              <a:gd name="connsiteY76" fmla="*/ 4248150 h 4496940"/>
              <a:gd name="connsiteX77" fmla="*/ 3240427 w 4519987"/>
              <a:gd name="connsiteY77" fmla="*/ 4267200 h 4496940"/>
              <a:gd name="connsiteX78" fmla="*/ 3068977 w 4519987"/>
              <a:gd name="connsiteY78" fmla="*/ 4286250 h 4496940"/>
              <a:gd name="connsiteX79" fmla="*/ 2935627 w 4519987"/>
              <a:gd name="connsiteY79" fmla="*/ 4333875 h 4496940"/>
              <a:gd name="connsiteX80" fmla="*/ 2811802 w 4519987"/>
              <a:gd name="connsiteY80" fmla="*/ 4371975 h 4496940"/>
              <a:gd name="connsiteX81" fmla="*/ 2745127 w 4519987"/>
              <a:gd name="connsiteY81" fmla="*/ 4410075 h 4496940"/>
              <a:gd name="connsiteX82" fmla="*/ 2697502 w 4519987"/>
              <a:gd name="connsiteY82" fmla="*/ 4429125 h 4496940"/>
              <a:gd name="connsiteX83" fmla="*/ 2640352 w 4519987"/>
              <a:gd name="connsiteY83" fmla="*/ 4457700 h 4496940"/>
              <a:gd name="connsiteX84" fmla="*/ 2583202 w 4519987"/>
              <a:gd name="connsiteY84" fmla="*/ 4467225 h 4496940"/>
              <a:gd name="connsiteX85" fmla="*/ 2545102 w 4519987"/>
              <a:gd name="connsiteY85" fmla="*/ 4486275 h 4496940"/>
              <a:gd name="connsiteX86" fmla="*/ 2306977 w 4519987"/>
              <a:gd name="connsiteY86" fmla="*/ 4476750 h 4496940"/>
              <a:gd name="connsiteX87" fmla="*/ 2202202 w 4519987"/>
              <a:gd name="connsiteY87" fmla="*/ 4457700 h 4496940"/>
              <a:gd name="connsiteX88" fmla="*/ 2126002 w 4519987"/>
              <a:gd name="connsiteY88" fmla="*/ 4429125 h 4496940"/>
              <a:gd name="connsiteX89" fmla="*/ 1935502 w 4519987"/>
              <a:gd name="connsiteY89" fmla="*/ 4400550 h 4496940"/>
              <a:gd name="connsiteX90" fmla="*/ 1821202 w 4519987"/>
              <a:gd name="connsiteY90" fmla="*/ 4371975 h 4496940"/>
              <a:gd name="connsiteX91" fmla="*/ 1754527 w 4519987"/>
              <a:gd name="connsiteY91" fmla="*/ 4352925 h 4496940"/>
              <a:gd name="connsiteX92" fmla="*/ 1687852 w 4519987"/>
              <a:gd name="connsiteY92" fmla="*/ 4343400 h 4496940"/>
              <a:gd name="connsiteX93" fmla="*/ 1573552 w 4519987"/>
              <a:gd name="connsiteY93" fmla="*/ 4305300 h 4496940"/>
              <a:gd name="connsiteX94" fmla="*/ 1402102 w 4519987"/>
              <a:gd name="connsiteY94" fmla="*/ 4276725 h 4496940"/>
              <a:gd name="connsiteX95" fmla="*/ 1287802 w 4519987"/>
              <a:gd name="connsiteY95" fmla="*/ 4229100 h 4496940"/>
              <a:gd name="connsiteX96" fmla="*/ 1221127 w 4519987"/>
              <a:gd name="connsiteY96" fmla="*/ 4200525 h 4496940"/>
              <a:gd name="connsiteX97" fmla="*/ 1144927 w 4519987"/>
              <a:gd name="connsiteY97" fmla="*/ 4171950 h 4496940"/>
              <a:gd name="connsiteX98" fmla="*/ 1087777 w 4519987"/>
              <a:gd name="connsiteY98" fmla="*/ 4143375 h 4496940"/>
              <a:gd name="connsiteX99" fmla="*/ 1030627 w 4519987"/>
              <a:gd name="connsiteY99" fmla="*/ 4124325 h 4496940"/>
              <a:gd name="connsiteX100" fmla="*/ 925852 w 4519987"/>
              <a:gd name="connsiteY100" fmla="*/ 4067175 h 4496940"/>
              <a:gd name="connsiteX101" fmla="*/ 830602 w 4519987"/>
              <a:gd name="connsiteY101" fmla="*/ 3981450 h 4496940"/>
              <a:gd name="connsiteX102" fmla="*/ 763927 w 4519987"/>
              <a:gd name="connsiteY102" fmla="*/ 3914775 h 4496940"/>
              <a:gd name="connsiteX103" fmla="*/ 725827 w 4519987"/>
              <a:gd name="connsiteY103" fmla="*/ 3876675 h 4496940"/>
              <a:gd name="connsiteX104" fmla="*/ 697252 w 4519987"/>
              <a:gd name="connsiteY104" fmla="*/ 3838575 h 4496940"/>
              <a:gd name="connsiteX105" fmla="*/ 640102 w 4519987"/>
              <a:gd name="connsiteY105" fmla="*/ 3781425 h 4496940"/>
              <a:gd name="connsiteX106" fmla="*/ 611527 w 4519987"/>
              <a:gd name="connsiteY106" fmla="*/ 3733800 h 4496940"/>
              <a:gd name="connsiteX107" fmla="*/ 554377 w 4519987"/>
              <a:gd name="connsiteY107" fmla="*/ 3657600 h 4496940"/>
              <a:gd name="connsiteX108" fmla="*/ 525802 w 4519987"/>
              <a:gd name="connsiteY108" fmla="*/ 3609975 h 4496940"/>
              <a:gd name="connsiteX109" fmla="*/ 497227 w 4519987"/>
              <a:gd name="connsiteY109" fmla="*/ 3552825 h 4496940"/>
              <a:gd name="connsiteX110" fmla="*/ 440077 w 4519987"/>
              <a:gd name="connsiteY110" fmla="*/ 3495675 h 4496940"/>
              <a:gd name="connsiteX111" fmla="*/ 411502 w 4519987"/>
              <a:gd name="connsiteY111" fmla="*/ 3448050 h 4496940"/>
              <a:gd name="connsiteX112" fmla="*/ 278152 w 4519987"/>
              <a:gd name="connsiteY112" fmla="*/ 3257550 h 4496940"/>
              <a:gd name="connsiteX113" fmla="*/ 249577 w 4519987"/>
              <a:gd name="connsiteY113" fmla="*/ 3200400 h 4496940"/>
              <a:gd name="connsiteX114" fmla="*/ 240052 w 4519987"/>
              <a:gd name="connsiteY114" fmla="*/ 3162300 h 4496940"/>
              <a:gd name="connsiteX115" fmla="*/ 221002 w 4519987"/>
              <a:gd name="connsiteY115" fmla="*/ 3105150 h 4496940"/>
              <a:gd name="connsiteX116" fmla="*/ 173377 w 4519987"/>
              <a:gd name="connsiteY116" fmla="*/ 3019425 h 4496940"/>
              <a:gd name="connsiteX117" fmla="*/ 144802 w 4519987"/>
              <a:gd name="connsiteY117" fmla="*/ 2924175 h 4496940"/>
              <a:gd name="connsiteX118" fmla="*/ 68602 w 4519987"/>
              <a:gd name="connsiteY118" fmla="*/ 2724150 h 4496940"/>
              <a:gd name="connsiteX119" fmla="*/ 49552 w 4519987"/>
              <a:gd name="connsiteY119" fmla="*/ 2638425 h 4496940"/>
              <a:gd name="connsiteX120" fmla="*/ 40027 w 4519987"/>
              <a:gd name="connsiteY120" fmla="*/ 2562225 h 4496940"/>
              <a:gd name="connsiteX121" fmla="*/ 30502 w 4519987"/>
              <a:gd name="connsiteY121" fmla="*/ 2514600 h 4496940"/>
              <a:gd name="connsiteX122" fmla="*/ 11452 w 4519987"/>
              <a:gd name="connsiteY122" fmla="*/ 2400300 h 4496940"/>
              <a:gd name="connsiteX123" fmla="*/ 20977 w 4519987"/>
              <a:gd name="connsiteY123" fmla="*/ 1905000 h 4496940"/>
              <a:gd name="connsiteX124" fmla="*/ 30502 w 4519987"/>
              <a:gd name="connsiteY124" fmla="*/ 1838325 h 4496940"/>
              <a:gd name="connsiteX125" fmla="*/ 49552 w 4519987"/>
              <a:gd name="connsiteY125" fmla="*/ 1781175 h 4496940"/>
              <a:gd name="connsiteX126" fmla="*/ 59077 w 4519987"/>
              <a:gd name="connsiteY126" fmla="*/ 1743075 h 4496940"/>
              <a:gd name="connsiteX127" fmla="*/ 78127 w 4519987"/>
              <a:gd name="connsiteY127" fmla="*/ 1685925 h 4496940"/>
              <a:gd name="connsiteX128" fmla="*/ 87652 w 4519987"/>
              <a:gd name="connsiteY128" fmla="*/ 1638300 h 4496940"/>
              <a:gd name="connsiteX129" fmla="*/ 106702 w 4519987"/>
              <a:gd name="connsiteY129" fmla="*/ 1590675 h 4496940"/>
              <a:gd name="connsiteX130" fmla="*/ 135277 w 4519987"/>
              <a:gd name="connsiteY130" fmla="*/ 1504950 h 4496940"/>
              <a:gd name="connsiteX131" fmla="*/ 154327 w 4519987"/>
              <a:gd name="connsiteY131" fmla="*/ 1419225 h 4496940"/>
              <a:gd name="connsiteX132" fmla="*/ 230527 w 4519987"/>
              <a:gd name="connsiteY132" fmla="*/ 1276350 h 4496940"/>
              <a:gd name="connsiteX133" fmla="*/ 240052 w 4519987"/>
              <a:gd name="connsiteY133" fmla="*/ 1247775 h 4496940"/>
              <a:gd name="connsiteX134" fmla="*/ 268627 w 4519987"/>
              <a:gd name="connsiteY134" fmla="*/ 1200150 h 4496940"/>
              <a:gd name="connsiteX135" fmla="*/ 287677 w 4519987"/>
              <a:gd name="connsiteY135" fmla="*/ 1152525 h 4496940"/>
              <a:gd name="connsiteX136" fmla="*/ 316252 w 4519987"/>
              <a:gd name="connsiteY136" fmla="*/ 1114425 h 4496940"/>
              <a:gd name="connsiteX137" fmla="*/ 363877 w 4519987"/>
              <a:gd name="connsiteY137" fmla="*/ 1038225 h 4496940"/>
              <a:gd name="connsiteX138" fmla="*/ 382927 w 4519987"/>
              <a:gd name="connsiteY138" fmla="*/ 1009650 h 4496940"/>
              <a:gd name="connsiteX139" fmla="*/ 440077 w 4519987"/>
              <a:gd name="connsiteY139" fmla="*/ 904875 h 4496940"/>
              <a:gd name="connsiteX140" fmla="*/ 478177 w 4519987"/>
              <a:gd name="connsiteY140" fmla="*/ 857250 h 4496940"/>
              <a:gd name="connsiteX141" fmla="*/ 497227 w 4519987"/>
              <a:gd name="connsiteY141" fmla="*/ 828675 h 4496940"/>
              <a:gd name="connsiteX142" fmla="*/ 535327 w 4519987"/>
              <a:gd name="connsiteY142" fmla="*/ 800100 h 4496940"/>
              <a:gd name="connsiteX143" fmla="*/ 602002 w 4519987"/>
              <a:gd name="connsiteY143" fmla="*/ 733425 h 4496940"/>
              <a:gd name="connsiteX144" fmla="*/ 668677 w 4519987"/>
              <a:gd name="connsiteY144" fmla="*/ 676275 h 4496940"/>
              <a:gd name="connsiteX145" fmla="*/ 697252 w 4519987"/>
              <a:gd name="connsiteY145" fmla="*/ 657225 h 4496940"/>
              <a:gd name="connsiteX146" fmla="*/ 840127 w 4519987"/>
              <a:gd name="connsiteY146" fmla="*/ 533400 h 4496940"/>
              <a:gd name="connsiteX147" fmla="*/ 887752 w 4519987"/>
              <a:gd name="connsiteY147" fmla="*/ 504825 h 4496940"/>
              <a:gd name="connsiteX148" fmla="*/ 1167152 w 4519987"/>
              <a:gd name="connsiteY148" fmla="*/ 311150 h 4496940"/>
              <a:gd name="connsiteX149" fmla="*/ 1268752 w 4519987"/>
              <a:gd name="connsiteY149" fmla="*/ 285750 h 4496940"/>
              <a:gd name="connsiteX150" fmla="*/ 1411627 w 4519987"/>
              <a:gd name="connsiteY150" fmla="*/ 190500 h 4496940"/>
              <a:gd name="connsiteX151" fmla="*/ 1449727 w 4519987"/>
              <a:gd name="connsiteY151" fmla="*/ 161925 h 4496940"/>
              <a:gd name="connsiteX152" fmla="*/ 1525927 w 4519987"/>
              <a:gd name="connsiteY152" fmla="*/ 152400 h 4496940"/>
              <a:gd name="connsiteX153" fmla="*/ 1583077 w 4519987"/>
              <a:gd name="connsiteY153" fmla="*/ 142875 h 4496940"/>
              <a:gd name="connsiteX154" fmla="*/ 1716427 w 4519987"/>
              <a:gd name="connsiteY154" fmla="*/ 123825 h 4496940"/>
              <a:gd name="connsiteX155" fmla="*/ 1811677 w 4519987"/>
              <a:gd name="connsiteY155" fmla="*/ 114300 h 4496940"/>
              <a:gd name="connsiteX156" fmla="*/ 1859302 w 4519987"/>
              <a:gd name="connsiteY156" fmla="*/ 104775 h 4496940"/>
              <a:gd name="connsiteX157" fmla="*/ 1916452 w 4519987"/>
              <a:gd name="connsiteY157" fmla="*/ 95250 h 4496940"/>
              <a:gd name="connsiteX158" fmla="*/ 2030752 w 4519987"/>
              <a:gd name="connsiteY158" fmla="*/ 66675 h 4496940"/>
              <a:gd name="connsiteX159" fmla="*/ 2097427 w 4519987"/>
              <a:gd name="connsiteY159" fmla="*/ 47625 h 4496940"/>
              <a:gd name="connsiteX160" fmla="*/ 2164102 w 4519987"/>
              <a:gd name="connsiteY160" fmla="*/ 38100 h 4496940"/>
              <a:gd name="connsiteX161" fmla="*/ 2392702 w 4519987"/>
              <a:gd name="connsiteY16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354852 w 4519987"/>
              <a:gd name="connsiteY49" fmla="*/ 3057525 h 4496940"/>
              <a:gd name="connsiteX50" fmla="*/ 4278652 w 4519987"/>
              <a:gd name="connsiteY50" fmla="*/ 3248025 h 4496940"/>
              <a:gd name="connsiteX51" fmla="*/ 4259602 w 4519987"/>
              <a:gd name="connsiteY51" fmla="*/ 3276600 h 4496940"/>
              <a:gd name="connsiteX52" fmla="*/ 4221502 w 4519987"/>
              <a:gd name="connsiteY52" fmla="*/ 3333750 h 4496940"/>
              <a:gd name="connsiteX53" fmla="*/ 4211977 w 4519987"/>
              <a:gd name="connsiteY53" fmla="*/ 3362325 h 4496940"/>
              <a:gd name="connsiteX54" fmla="*/ 4183402 w 4519987"/>
              <a:gd name="connsiteY54" fmla="*/ 3400425 h 4496940"/>
              <a:gd name="connsiteX55" fmla="*/ 4164352 w 4519987"/>
              <a:gd name="connsiteY55" fmla="*/ 3429000 h 4496940"/>
              <a:gd name="connsiteX56" fmla="*/ 4088152 w 4519987"/>
              <a:gd name="connsiteY56" fmla="*/ 3495675 h 4496940"/>
              <a:gd name="connsiteX57" fmla="*/ 4059577 w 4519987"/>
              <a:gd name="connsiteY57" fmla="*/ 3533775 h 4496940"/>
              <a:gd name="connsiteX58" fmla="*/ 4002427 w 4519987"/>
              <a:gd name="connsiteY58" fmla="*/ 3600450 h 4496940"/>
              <a:gd name="connsiteX59" fmla="*/ 3983377 w 4519987"/>
              <a:gd name="connsiteY59" fmla="*/ 3629025 h 4496940"/>
              <a:gd name="connsiteX60" fmla="*/ 3954802 w 4519987"/>
              <a:gd name="connsiteY60" fmla="*/ 3648075 h 4496940"/>
              <a:gd name="connsiteX61" fmla="*/ 3907177 w 4519987"/>
              <a:gd name="connsiteY61" fmla="*/ 3686175 h 4496940"/>
              <a:gd name="connsiteX62" fmla="*/ 3869077 w 4519987"/>
              <a:gd name="connsiteY62" fmla="*/ 3724275 h 4496940"/>
              <a:gd name="connsiteX63" fmla="*/ 3792877 w 4519987"/>
              <a:gd name="connsiteY63" fmla="*/ 3781425 h 4496940"/>
              <a:gd name="connsiteX64" fmla="*/ 3783352 w 4519987"/>
              <a:gd name="connsiteY64" fmla="*/ 3810000 h 4496940"/>
              <a:gd name="connsiteX65" fmla="*/ 3745252 w 4519987"/>
              <a:gd name="connsiteY65" fmla="*/ 3819525 h 4496940"/>
              <a:gd name="connsiteX66" fmla="*/ 3678577 w 4519987"/>
              <a:gd name="connsiteY66" fmla="*/ 3848100 h 4496940"/>
              <a:gd name="connsiteX67" fmla="*/ 3659527 w 4519987"/>
              <a:gd name="connsiteY67" fmla="*/ 3971925 h 4496940"/>
              <a:gd name="connsiteX68" fmla="*/ 3630952 w 4519987"/>
              <a:gd name="connsiteY68" fmla="*/ 4010025 h 4496940"/>
              <a:gd name="connsiteX69" fmla="*/ 3621427 w 4519987"/>
              <a:gd name="connsiteY69" fmla="*/ 4038600 h 4496940"/>
              <a:gd name="connsiteX70" fmla="*/ 3554752 w 4519987"/>
              <a:gd name="connsiteY70" fmla="*/ 4095750 h 4496940"/>
              <a:gd name="connsiteX71" fmla="*/ 3516652 w 4519987"/>
              <a:gd name="connsiteY71" fmla="*/ 4114800 h 4496940"/>
              <a:gd name="connsiteX72" fmla="*/ 3497602 w 4519987"/>
              <a:gd name="connsiteY72" fmla="*/ 4143375 h 4496940"/>
              <a:gd name="connsiteX73" fmla="*/ 3383302 w 4519987"/>
              <a:gd name="connsiteY73" fmla="*/ 4210050 h 4496940"/>
              <a:gd name="connsiteX74" fmla="*/ 3335677 w 4519987"/>
              <a:gd name="connsiteY74" fmla="*/ 4238625 h 4496940"/>
              <a:gd name="connsiteX75" fmla="*/ 3288052 w 4519987"/>
              <a:gd name="connsiteY75" fmla="*/ 4248150 h 4496940"/>
              <a:gd name="connsiteX76" fmla="*/ 3240427 w 4519987"/>
              <a:gd name="connsiteY76" fmla="*/ 4267200 h 4496940"/>
              <a:gd name="connsiteX77" fmla="*/ 3068977 w 4519987"/>
              <a:gd name="connsiteY77" fmla="*/ 4286250 h 4496940"/>
              <a:gd name="connsiteX78" fmla="*/ 2935627 w 4519987"/>
              <a:gd name="connsiteY78" fmla="*/ 4333875 h 4496940"/>
              <a:gd name="connsiteX79" fmla="*/ 2811802 w 4519987"/>
              <a:gd name="connsiteY79" fmla="*/ 4371975 h 4496940"/>
              <a:gd name="connsiteX80" fmla="*/ 2745127 w 4519987"/>
              <a:gd name="connsiteY80" fmla="*/ 4410075 h 4496940"/>
              <a:gd name="connsiteX81" fmla="*/ 2697502 w 4519987"/>
              <a:gd name="connsiteY81" fmla="*/ 4429125 h 4496940"/>
              <a:gd name="connsiteX82" fmla="*/ 2640352 w 4519987"/>
              <a:gd name="connsiteY82" fmla="*/ 4457700 h 4496940"/>
              <a:gd name="connsiteX83" fmla="*/ 2583202 w 4519987"/>
              <a:gd name="connsiteY83" fmla="*/ 4467225 h 4496940"/>
              <a:gd name="connsiteX84" fmla="*/ 2545102 w 4519987"/>
              <a:gd name="connsiteY84" fmla="*/ 4486275 h 4496940"/>
              <a:gd name="connsiteX85" fmla="*/ 2306977 w 4519987"/>
              <a:gd name="connsiteY85" fmla="*/ 4476750 h 4496940"/>
              <a:gd name="connsiteX86" fmla="*/ 2202202 w 4519987"/>
              <a:gd name="connsiteY86" fmla="*/ 4457700 h 4496940"/>
              <a:gd name="connsiteX87" fmla="*/ 2126002 w 4519987"/>
              <a:gd name="connsiteY87" fmla="*/ 4429125 h 4496940"/>
              <a:gd name="connsiteX88" fmla="*/ 1935502 w 4519987"/>
              <a:gd name="connsiteY88" fmla="*/ 4400550 h 4496940"/>
              <a:gd name="connsiteX89" fmla="*/ 1821202 w 4519987"/>
              <a:gd name="connsiteY89" fmla="*/ 4371975 h 4496940"/>
              <a:gd name="connsiteX90" fmla="*/ 1754527 w 4519987"/>
              <a:gd name="connsiteY90" fmla="*/ 4352925 h 4496940"/>
              <a:gd name="connsiteX91" fmla="*/ 1687852 w 4519987"/>
              <a:gd name="connsiteY91" fmla="*/ 4343400 h 4496940"/>
              <a:gd name="connsiteX92" fmla="*/ 1573552 w 4519987"/>
              <a:gd name="connsiteY92" fmla="*/ 4305300 h 4496940"/>
              <a:gd name="connsiteX93" fmla="*/ 1402102 w 4519987"/>
              <a:gd name="connsiteY93" fmla="*/ 4276725 h 4496940"/>
              <a:gd name="connsiteX94" fmla="*/ 1287802 w 4519987"/>
              <a:gd name="connsiteY94" fmla="*/ 4229100 h 4496940"/>
              <a:gd name="connsiteX95" fmla="*/ 1221127 w 4519987"/>
              <a:gd name="connsiteY95" fmla="*/ 4200525 h 4496940"/>
              <a:gd name="connsiteX96" fmla="*/ 1144927 w 4519987"/>
              <a:gd name="connsiteY96" fmla="*/ 4171950 h 4496940"/>
              <a:gd name="connsiteX97" fmla="*/ 1087777 w 4519987"/>
              <a:gd name="connsiteY97" fmla="*/ 4143375 h 4496940"/>
              <a:gd name="connsiteX98" fmla="*/ 1030627 w 4519987"/>
              <a:gd name="connsiteY98" fmla="*/ 4124325 h 4496940"/>
              <a:gd name="connsiteX99" fmla="*/ 925852 w 4519987"/>
              <a:gd name="connsiteY99" fmla="*/ 4067175 h 4496940"/>
              <a:gd name="connsiteX100" fmla="*/ 830602 w 4519987"/>
              <a:gd name="connsiteY100" fmla="*/ 3981450 h 4496940"/>
              <a:gd name="connsiteX101" fmla="*/ 763927 w 4519987"/>
              <a:gd name="connsiteY101" fmla="*/ 3914775 h 4496940"/>
              <a:gd name="connsiteX102" fmla="*/ 725827 w 4519987"/>
              <a:gd name="connsiteY102" fmla="*/ 3876675 h 4496940"/>
              <a:gd name="connsiteX103" fmla="*/ 697252 w 4519987"/>
              <a:gd name="connsiteY103" fmla="*/ 3838575 h 4496940"/>
              <a:gd name="connsiteX104" fmla="*/ 640102 w 4519987"/>
              <a:gd name="connsiteY104" fmla="*/ 3781425 h 4496940"/>
              <a:gd name="connsiteX105" fmla="*/ 611527 w 4519987"/>
              <a:gd name="connsiteY105" fmla="*/ 3733800 h 4496940"/>
              <a:gd name="connsiteX106" fmla="*/ 554377 w 4519987"/>
              <a:gd name="connsiteY106" fmla="*/ 3657600 h 4496940"/>
              <a:gd name="connsiteX107" fmla="*/ 525802 w 4519987"/>
              <a:gd name="connsiteY107" fmla="*/ 3609975 h 4496940"/>
              <a:gd name="connsiteX108" fmla="*/ 497227 w 4519987"/>
              <a:gd name="connsiteY108" fmla="*/ 3552825 h 4496940"/>
              <a:gd name="connsiteX109" fmla="*/ 440077 w 4519987"/>
              <a:gd name="connsiteY109" fmla="*/ 3495675 h 4496940"/>
              <a:gd name="connsiteX110" fmla="*/ 411502 w 4519987"/>
              <a:gd name="connsiteY110" fmla="*/ 3448050 h 4496940"/>
              <a:gd name="connsiteX111" fmla="*/ 278152 w 4519987"/>
              <a:gd name="connsiteY111" fmla="*/ 3257550 h 4496940"/>
              <a:gd name="connsiteX112" fmla="*/ 249577 w 4519987"/>
              <a:gd name="connsiteY112" fmla="*/ 3200400 h 4496940"/>
              <a:gd name="connsiteX113" fmla="*/ 240052 w 4519987"/>
              <a:gd name="connsiteY113" fmla="*/ 3162300 h 4496940"/>
              <a:gd name="connsiteX114" fmla="*/ 221002 w 4519987"/>
              <a:gd name="connsiteY114" fmla="*/ 3105150 h 4496940"/>
              <a:gd name="connsiteX115" fmla="*/ 173377 w 4519987"/>
              <a:gd name="connsiteY115" fmla="*/ 3019425 h 4496940"/>
              <a:gd name="connsiteX116" fmla="*/ 144802 w 4519987"/>
              <a:gd name="connsiteY116" fmla="*/ 2924175 h 4496940"/>
              <a:gd name="connsiteX117" fmla="*/ 68602 w 4519987"/>
              <a:gd name="connsiteY117" fmla="*/ 2724150 h 4496940"/>
              <a:gd name="connsiteX118" fmla="*/ 49552 w 4519987"/>
              <a:gd name="connsiteY118" fmla="*/ 2638425 h 4496940"/>
              <a:gd name="connsiteX119" fmla="*/ 40027 w 4519987"/>
              <a:gd name="connsiteY119" fmla="*/ 2562225 h 4496940"/>
              <a:gd name="connsiteX120" fmla="*/ 30502 w 4519987"/>
              <a:gd name="connsiteY120" fmla="*/ 2514600 h 4496940"/>
              <a:gd name="connsiteX121" fmla="*/ 11452 w 4519987"/>
              <a:gd name="connsiteY121" fmla="*/ 2400300 h 4496940"/>
              <a:gd name="connsiteX122" fmla="*/ 20977 w 4519987"/>
              <a:gd name="connsiteY122" fmla="*/ 1905000 h 4496940"/>
              <a:gd name="connsiteX123" fmla="*/ 30502 w 4519987"/>
              <a:gd name="connsiteY123" fmla="*/ 1838325 h 4496940"/>
              <a:gd name="connsiteX124" fmla="*/ 49552 w 4519987"/>
              <a:gd name="connsiteY124" fmla="*/ 1781175 h 4496940"/>
              <a:gd name="connsiteX125" fmla="*/ 59077 w 4519987"/>
              <a:gd name="connsiteY125" fmla="*/ 1743075 h 4496940"/>
              <a:gd name="connsiteX126" fmla="*/ 78127 w 4519987"/>
              <a:gd name="connsiteY126" fmla="*/ 1685925 h 4496940"/>
              <a:gd name="connsiteX127" fmla="*/ 87652 w 4519987"/>
              <a:gd name="connsiteY127" fmla="*/ 1638300 h 4496940"/>
              <a:gd name="connsiteX128" fmla="*/ 106702 w 4519987"/>
              <a:gd name="connsiteY128" fmla="*/ 1590675 h 4496940"/>
              <a:gd name="connsiteX129" fmla="*/ 135277 w 4519987"/>
              <a:gd name="connsiteY129" fmla="*/ 1504950 h 4496940"/>
              <a:gd name="connsiteX130" fmla="*/ 154327 w 4519987"/>
              <a:gd name="connsiteY130" fmla="*/ 1419225 h 4496940"/>
              <a:gd name="connsiteX131" fmla="*/ 230527 w 4519987"/>
              <a:gd name="connsiteY131" fmla="*/ 1276350 h 4496940"/>
              <a:gd name="connsiteX132" fmla="*/ 240052 w 4519987"/>
              <a:gd name="connsiteY132" fmla="*/ 1247775 h 4496940"/>
              <a:gd name="connsiteX133" fmla="*/ 268627 w 4519987"/>
              <a:gd name="connsiteY133" fmla="*/ 1200150 h 4496940"/>
              <a:gd name="connsiteX134" fmla="*/ 287677 w 4519987"/>
              <a:gd name="connsiteY134" fmla="*/ 1152525 h 4496940"/>
              <a:gd name="connsiteX135" fmla="*/ 316252 w 4519987"/>
              <a:gd name="connsiteY135" fmla="*/ 1114425 h 4496940"/>
              <a:gd name="connsiteX136" fmla="*/ 363877 w 4519987"/>
              <a:gd name="connsiteY136" fmla="*/ 1038225 h 4496940"/>
              <a:gd name="connsiteX137" fmla="*/ 382927 w 4519987"/>
              <a:gd name="connsiteY137" fmla="*/ 1009650 h 4496940"/>
              <a:gd name="connsiteX138" fmla="*/ 440077 w 4519987"/>
              <a:gd name="connsiteY138" fmla="*/ 904875 h 4496940"/>
              <a:gd name="connsiteX139" fmla="*/ 478177 w 4519987"/>
              <a:gd name="connsiteY139" fmla="*/ 857250 h 4496940"/>
              <a:gd name="connsiteX140" fmla="*/ 497227 w 4519987"/>
              <a:gd name="connsiteY140" fmla="*/ 828675 h 4496940"/>
              <a:gd name="connsiteX141" fmla="*/ 535327 w 4519987"/>
              <a:gd name="connsiteY141" fmla="*/ 800100 h 4496940"/>
              <a:gd name="connsiteX142" fmla="*/ 602002 w 4519987"/>
              <a:gd name="connsiteY142" fmla="*/ 733425 h 4496940"/>
              <a:gd name="connsiteX143" fmla="*/ 668677 w 4519987"/>
              <a:gd name="connsiteY143" fmla="*/ 676275 h 4496940"/>
              <a:gd name="connsiteX144" fmla="*/ 697252 w 4519987"/>
              <a:gd name="connsiteY144" fmla="*/ 657225 h 4496940"/>
              <a:gd name="connsiteX145" fmla="*/ 840127 w 4519987"/>
              <a:gd name="connsiteY145" fmla="*/ 533400 h 4496940"/>
              <a:gd name="connsiteX146" fmla="*/ 887752 w 4519987"/>
              <a:gd name="connsiteY146" fmla="*/ 504825 h 4496940"/>
              <a:gd name="connsiteX147" fmla="*/ 1167152 w 4519987"/>
              <a:gd name="connsiteY147" fmla="*/ 311150 h 4496940"/>
              <a:gd name="connsiteX148" fmla="*/ 1268752 w 4519987"/>
              <a:gd name="connsiteY148" fmla="*/ 285750 h 4496940"/>
              <a:gd name="connsiteX149" fmla="*/ 1411627 w 4519987"/>
              <a:gd name="connsiteY149" fmla="*/ 190500 h 4496940"/>
              <a:gd name="connsiteX150" fmla="*/ 1449727 w 4519987"/>
              <a:gd name="connsiteY150" fmla="*/ 161925 h 4496940"/>
              <a:gd name="connsiteX151" fmla="*/ 1525927 w 4519987"/>
              <a:gd name="connsiteY151" fmla="*/ 152400 h 4496940"/>
              <a:gd name="connsiteX152" fmla="*/ 1583077 w 4519987"/>
              <a:gd name="connsiteY152" fmla="*/ 142875 h 4496940"/>
              <a:gd name="connsiteX153" fmla="*/ 1716427 w 4519987"/>
              <a:gd name="connsiteY153" fmla="*/ 123825 h 4496940"/>
              <a:gd name="connsiteX154" fmla="*/ 1811677 w 4519987"/>
              <a:gd name="connsiteY154" fmla="*/ 114300 h 4496940"/>
              <a:gd name="connsiteX155" fmla="*/ 1859302 w 4519987"/>
              <a:gd name="connsiteY155" fmla="*/ 104775 h 4496940"/>
              <a:gd name="connsiteX156" fmla="*/ 1916452 w 4519987"/>
              <a:gd name="connsiteY156" fmla="*/ 95250 h 4496940"/>
              <a:gd name="connsiteX157" fmla="*/ 2030752 w 4519987"/>
              <a:gd name="connsiteY157" fmla="*/ 66675 h 4496940"/>
              <a:gd name="connsiteX158" fmla="*/ 2097427 w 4519987"/>
              <a:gd name="connsiteY158" fmla="*/ 47625 h 4496940"/>
              <a:gd name="connsiteX159" fmla="*/ 2164102 w 4519987"/>
              <a:gd name="connsiteY159" fmla="*/ 38100 h 4496940"/>
              <a:gd name="connsiteX160" fmla="*/ 2392702 w 4519987"/>
              <a:gd name="connsiteY16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278652 w 4519987"/>
              <a:gd name="connsiteY49" fmla="*/ 3248025 h 4496940"/>
              <a:gd name="connsiteX50" fmla="*/ 4259602 w 4519987"/>
              <a:gd name="connsiteY50" fmla="*/ 3276600 h 4496940"/>
              <a:gd name="connsiteX51" fmla="*/ 4221502 w 4519987"/>
              <a:gd name="connsiteY51" fmla="*/ 3333750 h 4496940"/>
              <a:gd name="connsiteX52" fmla="*/ 4211977 w 4519987"/>
              <a:gd name="connsiteY52" fmla="*/ 3362325 h 4496940"/>
              <a:gd name="connsiteX53" fmla="*/ 4183402 w 4519987"/>
              <a:gd name="connsiteY53" fmla="*/ 3400425 h 4496940"/>
              <a:gd name="connsiteX54" fmla="*/ 4164352 w 4519987"/>
              <a:gd name="connsiteY54" fmla="*/ 3429000 h 4496940"/>
              <a:gd name="connsiteX55" fmla="*/ 4088152 w 4519987"/>
              <a:gd name="connsiteY55" fmla="*/ 3495675 h 4496940"/>
              <a:gd name="connsiteX56" fmla="*/ 4059577 w 4519987"/>
              <a:gd name="connsiteY56" fmla="*/ 3533775 h 4496940"/>
              <a:gd name="connsiteX57" fmla="*/ 4002427 w 4519987"/>
              <a:gd name="connsiteY57" fmla="*/ 3600450 h 4496940"/>
              <a:gd name="connsiteX58" fmla="*/ 3983377 w 4519987"/>
              <a:gd name="connsiteY58" fmla="*/ 3629025 h 4496940"/>
              <a:gd name="connsiteX59" fmla="*/ 3954802 w 4519987"/>
              <a:gd name="connsiteY59" fmla="*/ 3648075 h 4496940"/>
              <a:gd name="connsiteX60" fmla="*/ 3907177 w 4519987"/>
              <a:gd name="connsiteY60" fmla="*/ 3686175 h 4496940"/>
              <a:gd name="connsiteX61" fmla="*/ 3869077 w 4519987"/>
              <a:gd name="connsiteY61" fmla="*/ 3724275 h 4496940"/>
              <a:gd name="connsiteX62" fmla="*/ 3792877 w 4519987"/>
              <a:gd name="connsiteY62" fmla="*/ 3781425 h 4496940"/>
              <a:gd name="connsiteX63" fmla="*/ 3783352 w 4519987"/>
              <a:gd name="connsiteY63" fmla="*/ 3810000 h 4496940"/>
              <a:gd name="connsiteX64" fmla="*/ 3745252 w 4519987"/>
              <a:gd name="connsiteY64" fmla="*/ 3819525 h 4496940"/>
              <a:gd name="connsiteX65" fmla="*/ 3678577 w 4519987"/>
              <a:gd name="connsiteY65" fmla="*/ 3848100 h 4496940"/>
              <a:gd name="connsiteX66" fmla="*/ 3659527 w 4519987"/>
              <a:gd name="connsiteY66" fmla="*/ 3971925 h 4496940"/>
              <a:gd name="connsiteX67" fmla="*/ 3630952 w 4519987"/>
              <a:gd name="connsiteY67" fmla="*/ 4010025 h 4496940"/>
              <a:gd name="connsiteX68" fmla="*/ 3621427 w 4519987"/>
              <a:gd name="connsiteY68" fmla="*/ 4038600 h 4496940"/>
              <a:gd name="connsiteX69" fmla="*/ 3554752 w 4519987"/>
              <a:gd name="connsiteY69" fmla="*/ 4095750 h 4496940"/>
              <a:gd name="connsiteX70" fmla="*/ 3516652 w 4519987"/>
              <a:gd name="connsiteY70" fmla="*/ 4114800 h 4496940"/>
              <a:gd name="connsiteX71" fmla="*/ 3497602 w 4519987"/>
              <a:gd name="connsiteY71" fmla="*/ 4143375 h 4496940"/>
              <a:gd name="connsiteX72" fmla="*/ 3383302 w 4519987"/>
              <a:gd name="connsiteY72" fmla="*/ 4210050 h 4496940"/>
              <a:gd name="connsiteX73" fmla="*/ 3335677 w 4519987"/>
              <a:gd name="connsiteY73" fmla="*/ 4238625 h 4496940"/>
              <a:gd name="connsiteX74" fmla="*/ 3288052 w 4519987"/>
              <a:gd name="connsiteY74" fmla="*/ 4248150 h 4496940"/>
              <a:gd name="connsiteX75" fmla="*/ 3240427 w 4519987"/>
              <a:gd name="connsiteY75" fmla="*/ 4267200 h 4496940"/>
              <a:gd name="connsiteX76" fmla="*/ 3068977 w 4519987"/>
              <a:gd name="connsiteY76" fmla="*/ 4286250 h 4496940"/>
              <a:gd name="connsiteX77" fmla="*/ 2935627 w 4519987"/>
              <a:gd name="connsiteY77" fmla="*/ 4333875 h 4496940"/>
              <a:gd name="connsiteX78" fmla="*/ 2811802 w 4519987"/>
              <a:gd name="connsiteY78" fmla="*/ 4371975 h 4496940"/>
              <a:gd name="connsiteX79" fmla="*/ 2745127 w 4519987"/>
              <a:gd name="connsiteY79" fmla="*/ 4410075 h 4496940"/>
              <a:gd name="connsiteX80" fmla="*/ 2697502 w 4519987"/>
              <a:gd name="connsiteY80" fmla="*/ 4429125 h 4496940"/>
              <a:gd name="connsiteX81" fmla="*/ 2640352 w 4519987"/>
              <a:gd name="connsiteY81" fmla="*/ 4457700 h 4496940"/>
              <a:gd name="connsiteX82" fmla="*/ 2583202 w 4519987"/>
              <a:gd name="connsiteY82" fmla="*/ 4467225 h 4496940"/>
              <a:gd name="connsiteX83" fmla="*/ 2545102 w 4519987"/>
              <a:gd name="connsiteY83" fmla="*/ 4486275 h 4496940"/>
              <a:gd name="connsiteX84" fmla="*/ 2306977 w 4519987"/>
              <a:gd name="connsiteY84" fmla="*/ 4476750 h 4496940"/>
              <a:gd name="connsiteX85" fmla="*/ 2202202 w 4519987"/>
              <a:gd name="connsiteY85" fmla="*/ 4457700 h 4496940"/>
              <a:gd name="connsiteX86" fmla="*/ 2126002 w 4519987"/>
              <a:gd name="connsiteY86" fmla="*/ 4429125 h 4496940"/>
              <a:gd name="connsiteX87" fmla="*/ 1935502 w 4519987"/>
              <a:gd name="connsiteY87" fmla="*/ 4400550 h 4496940"/>
              <a:gd name="connsiteX88" fmla="*/ 1821202 w 4519987"/>
              <a:gd name="connsiteY88" fmla="*/ 4371975 h 4496940"/>
              <a:gd name="connsiteX89" fmla="*/ 1754527 w 4519987"/>
              <a:gd name="connsiteY89" fmla="*/ 4352925 h 4496940"/>
              <a:gd name="connsiteX90" fmla="*/ 1687852 w 4519987"/>
              <a:gd name="connsiteY90" fmla="*/ 4343400 h 4496940"/>
              <a:gd name="connsiteX91" fmla="*/ 1573552 w 4519987"/>
              <a:gd name="connsiteY91" fmla="*/ 4305300 h 4496940"/>
              <a:gd name="connsiteX92" fmla="*/ 1402102 w 4519987"/>
              <a:gd name="connsiteY92" fmla="*/ 4276725 h 4496940"/>
              <a:gd name="connsiteX93" fmla="*/ 1287802 w 4519987"/>
              <a:gd name="connsiteY93" fmla="*/ 4229100 h 4496940"/>
              <a:gd name="connsiteX94" fmla="*/ 1221127 w 4519987"/>
              <a:gd name="connsiteY94" fmla="*/ 4200525 h 4496940"/>
              <a:gd name="connsiteX95" fmla="*/ 1144927 w 4519987"/>
              <a:gd name="connsiteY95" fmla="*/ 4171950 h 4496940"/>
              <a:gd name="connsiteX96" fmla="*/ 1087777 w 4519987"/>
              <a:gd name="connsiteY96" fmla="*/ 4143375 h 4496940"/>
              <a:gd name="connsiteX97" fmla="*/ 1030627 w 4519987"/>
              <a:gd name="connsiteY97" fmla="*/ 4124325 h 4496940"/>
              <a:gd name="connsiteX98" fmla="*/ 925852 w 4519987"/>
              <a:gd name="connsiteY98" fmla="*/ 4067175 h 4496940"/>
              <a:gd name="connsiteX99" fmla="*/ 830602 w 4519987"/>
              <a:gd name="connsiteY99" fmla="*/ 3981450 h 4496940"/>
              <a:gd name="connsiteX100" fmla="*/ 763927 w 4519987"/>
              <a:gd name="connsiteY100" fmla="*/ 3914775 h 4496940"/>
              <a:gd name="connsiteX101" fmla="*/ 725827 w 4519987"/>
              <a:gd name="connsiteY101" fmla="*/ 3876675 h 4496940"/>
              <a:gd name="connsiteX102" fmla="*/ 697252 w 4519987"/>
              <a:gd name="connsiteY102" fmla="*/ 3838575 h 4496940"/>
              <a:gd name="connsiteX103" fmla="*/ 640102 w 4519987"/>
              <a:gd name="connsiteY103" fmla="*/ 3781425 h 4496940"/>
              <a:gd name="connsiteX104" fmla="*/ 611527 w 4519987"/>
              <a:gd name="connsiteY104" fmla="*/ 3733800 h 4496940"/>
              <a:gd name="connsiteX105" fmla="*/ 554377 w 4519987"/>
              <a:gd name="connsiteY105" fmla="*/ 3657600 h 4496940"/>
              <a:gd name="connsiteX106" fmla="*/ 525802 w 4519987"/>
              <a:gd name="connsiteY106" fmla="*/ 3609975 h 4496940"/>
              <a:gd name="connsiteX107" fmla="*/ 497227 w 4519987"/>
              <a:gd name="connsiteY107" fmla="*/ 3552825 h 4496940"/>
              <a:gd name="connsiteX108" fmla="*/ 440077 w 4519987"/>
              <a:gd name="connsiteY108" fmla="*/ 3495675 h 4496940"/>
              <a:gd name="connsiteX109" fmla="*/ 411502 w 4519987"/>
              <a:gd name="connsiteY109" fmla="*/ 3448050 h 4496940"/>
              <a:gd name="connsiteX110" fmla="*/ 278152 w 4519987"/>
              <a:gd name="connsiteY110" fmla="*/ 3257550 h 4496940"/>
              <a:gd name="connsiteX111" fmla="*/ 249577 w 4519987"/>
              <a:gd name="connsiteY111" fmla="*/ 3200400 h 4496940"/>
              <a:gd name="connsiteX112" fmla="*/ 240052 w 4519987"/>
              <a:gd name="connsiteY112" fmla="*/ 3162300 h 4496940"/>
              <a:gd name="connsiteX113" fmla="*/ 221002 w 4519987"/>
              <a:gd name="connsiteY113" fmla="*/ 3105150 h 4496940"/>
              <a:gd name="connsiteX114" fmla="*/ 173377 w 4519987"/>
              <a:gd name="connsiteY114" fmla="*/ 3019425 h 4496940"/>
              <a:gd name="connsiteX115" fmla="*/ 144802 w 4519987"/>
              <a:gd name="connsiteY115" fmla="*/ 2924175 h 4496940"/>
              <a:gd name="connsiteX116" fmla="*/ 68602 w 4519987"/>
              <a:gd name="connsiteY116" fmla="*/ 2724150 h 4496940"/>
              <a:gd name="connsiteX117" fmla="*/ 49552 w 4519987"/>
              <a:gd name="connsiteY117" fmla="*/ 2638425 h 4496940"/>
              <a:gd name="connsiteX118" fmla="*/ 40027 w 4519987"/>
              <a:gd name="connsiteY118" fmla="*/ 2562225 h 4496940"/>
              <a:gd name="connsiteX119" fmla="*/ 30502 w 4519987"/>
              <a:gd name="connsiteY119" fmla="*/ 2514600 h 4496940"/>
              <a:gd name="connsiteX120" fmla="*/ 11452 w 4519987"/>
              <a:gd name="connsiteY120" fmla="*/ 2400300 h 4496940"/>
              <a:gd name="connsiteX121" fmla="*/ 20977 w 4519987"/>
              <a:gd name="connsiteY121" fmla="*/ 1905000 h 4496940"/>
              <a:gd name="connsiteX122" fmla="*/ 30502 w 4519987"/>
              <a:gd name="connsiteY122" fmla="*/ 1838325 h 4496940"/>
              <a:gd name="connsiteX123" fmla="*/ 49552 w 4519987"/>
              <a:gd name="connsiteY123" fmla="*/ 1781175 h 4496940"/>
              <a:gd name="connsiteX124" fmla="*/ 59077 w 4519987"/>
              <a:gd name="connsiteY124" fmla="*/ 1743075 h 4496940"/>
              <a:gd name="connsiteX125" fmla="*/ 78127 w 4519987"/>
              <a:gd name="connsiteY125" fmla="*/ 1685925 h 4496940"/>
              <a:gd name="connsiteX126" fmla="*/ 87652 w 4519987"/>
              <a:gd name="connsiteY126" fmla="*/ 1638300 h 4496940"/>
              <a:gd name="connsiteX127" fmla="*/ 106702 w 4519987"/>
              <a:gd name="connsiteY127" fmla="*/ 1590675 h 4496940"/>
              <a:gd name="connsiteX128" fmla="*/ 135277 w 4519987"/>
              <a:gd name="connsiteY128" fmla="*/ 1504950 h 4496940"/>
              <a:gd name="connsiteX129" fmla="*/ 154327 w 4519987"/>
              <a:gd name="connsiteY129" fmla="*/ 1419225 h 4496940"/>
              <a:gd name="connsiteX130" fmla="*/ 230527 w 4519987"/>
              <a:gd name="connsiteY130" fmla="*/ 1276350 h 4496940"/>
              <a:gd name="connsiteX131" fmla="*/ 240052 w 4519987"/>
              <a:gd name="connsiteY131" fmla="*/ 1247775 h 4496940"/>
              <a:gd name="connsiteX132" fmla="*/ 268627 w 4519987"/>
              <a:gd name="connsiteY132" fmla="*/ 1200150 h 4496940"/>
              <a:gd name="connsiteX133" fmla="*/ 287677 w 4519987"/>
              <a:gd name="connsiteY133" fmla="*/ 1152525 h 4496940"/>
              <a:gd name="connsiteX134" fmla="*/ 316252 w 4519987"/>
              <a:gd name="connsiteY134" fmla="*/ 1114425 h 4496940"/>
              <a:gd name="connsiteX135" fmla="*/ 363877 w 4519987"/>
              <a:gd name="connsiteY135" fmla="*/ 1038225 h 4496940"/>
              <a:gd name="connsiteX136" fmla="*/ 382927 w 4519987"/>
              <a:gd name="connsiteY136" fmla="*/ 1009650 h 4496940"/>
              <a:gd name="connsiteX137" fmla="*/ 440077 w 4519987"/>
              <a:gd name="connsiteY137" fmla="*/ 904875 h 4496940"/>
              <a:gd name="connsiteX138" fmla="*/ 478177 w 4519987"/>
              <a:gd name="connsiteY138" fmla="*/ 857250 h 4496940"/>
              <a:gd name="connsiteX139" fmla="*/ 497227 w 4519987"/>
              <a:gd name="connsiteY139" fmla="*/ 828675 h 4496940"/>
              <a:gd name="connsiteX140" fmla="*/ 535327 w 4519987"/>
              <a:gd name="connsiteY140" fmla="*/ 800100 h 4496940"/>
              <a:gd name="connsiteX141" fmla="*/ 602002 w 4519987"/>
              <a:gd name="connsiteY141" fmla="*/ 733425 h 4496940"/>
              <a:gd name="connsiteX142" fmla="*/ 668677 w 4519987"/>
              <a:gd name="connsiteY142" fmla="*/ 676275 h 4496940"/>
              <a:gd name="connsiteX143" fmla="*/ 697252 w 4519987"/>
              <a:gd name="connsiteY143" fmla="*/ 657225 h 4496940"/>
              <a:gd name="connsiteX144" fmla="*/ 840127 w 4519987"/>
              <a:gd name="connsiteY144" fmla="*/ 533400 h 4496940"/>
              <a:gd name="connsiteX145" fmla="*/ 887752 w 4519987"/>
              <a:gd name="connsiteY145" fmla="*/ 504825 h 4496940"/>
              <a:gd name="connsiteX146" fmla="*/ 1167152 w 4519987"/>
              <a:gd name="connsiteY146" fmla="*/ 311150 h 4496940"/>
              <a:gd name="connsiteX147" fmla="*/ 1268752 w 4519987"/>
              <a:gd name="connsiteY147" fmla="*/ 285750 h 4496940"/>
              <a:gd name="connsiteX148" fmla="*/ 1411627 w 4519987"/>
              <a:gd name="connsiteY148" fmla="*/ 190500 h 4496940"/>
              <a:gd name="connsiteX149" fmla="*/ 1449727 w 4519987"/>
              <a:gd name="connsiteY149" fmla="*/ 161925 h 4496940"/>
              <a:gd name="connsiteX150" fmla="*/ 1525927 w 4519987"/>
              <a:gd name="connsiteY150" fmla="*/ 152400 h 4496940"/>
              <a:gd name="connsiteX151" fmla="*/ 1583077 w 4519987"/>
              <a:gd name="connsiteY151" fmla="*/ 142875 h 4496940"/>
              <a:gd name="connsiteX152" fmla="*/ 1716427 w 4519987"/>
              <a:gd name="connsiteY152" fmla="*/ 123825 h 4496940"/>
              <a:gd name="connsiteX153" fmla="*/ 1811677 w 4519987"/>
              <a:gd name="connsiteY153" fmla="*/ 114300 h 4496940"/>
              <a:gd name="connsiteX154" fmla="*/ 1859302 w 4519987"/>
              <a:gd name="connsiteY154" fmla="*/ 104775 h 4496940"/>
              <a:gd name="connsiteX155" fmla="*/ 1916452 w 4519987"/>
              <a:gd name="connsiteY155" fmla="*/ 95250 h 4496940"/>
              <a:gd name="connsiteX156" fmla="*/ 2030752 w 4519987"/>
              <a:gd name="connsiteY156" fmla="*/ 66675 h 4496940"/>
              <a:gd name="connsiteX157" fmla="*/ 2097427 w 4519987"/>
              <a:gd name="connsiteY157" fmla="*/ 47625 h 4496940"/>
              <a:gd name="connsiteX158" fmla="*/ 2164102 w 4519987"/>
              <a:gd name="connsiteY158" fmla="*/ 38100 h 4496940"/>
              <a:gd name="connsiteX159" fmla="*/ 2392702 w 4519987"/>
              <a:gd name="connsiteY15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50052 w 4519987"/>
              <a:gd name="connsiteY28" fmla="*/ 790575 h 4496940"/>
              <a:gd name="connsiteX29" fmla="*/ 4078627 w 4519987"/>
              <a:gd name="connsiteY29" fmla="*/ 838200 h 4496940"/>
              <a:gd name="connsiteX30" fmla="*/ 4107202 w 4519987"/>
              <a:gd name="connsiteY30" fmla="*/ 876300 h 4496940"/>
              <a:gd name="connsiteX31" fmla="*/ 4116727 w 4519987"/>
              <a:gd name="connsiteY31" fmla="*/ 904875 h 4496940"/>
              <a:gd name="connsiteX32" fmla="*/ 4135777 w 4519987"/>
              <a:gd name="connsiteY32" fmla="*/ 933450 h 4496940"/>
              <a:gd name="connsiteX33" fmla="*/ 4164352 w 4519987"/>
              <a:gd name="connsiteY33" fmla="*/ 990600 h 4496940"/>
              <a:gd name="connsiteX34" fmla="*/ 4173877 w 4519987"/>
              <a:gd name="connsiteY34" fmla="*/ 1019175 h 4496940"/>
              <a:gd name="connsiteX35" fmla="*/ 4192927 w 4519987"/>
              <a:gd name="connsiteY35" fmla="*/ 1057275 h 4496940"/>
              <a:gd name="connsiteX36" fmla="*/ 4202452 w 4519987"/>
              <a:gd name="connsiteY36" fmla="*/ 1085850 h 4496940"/>
              <a:gd name="connsiteX37" fmla="*/ 4250077 w 4519987"/>
              <a:gd name="connsiteY37" fmla="*/ 1143000 h 4496940"/>
              <a:gd name="connsiteX38" fmla="*/ 4259602 w 4519987"/>
              <a:gd name="connsiteY38" fmla="*/ 1190625 h 4496940"/>
              <a:gd name="connsiteX39" fmla="*/ 4307227 w 4519987"/>
              <a:gd name="connsiteY39" fmla="*/ 1266825 h 4496940"/>
              <a:gd name="connsiteX40" fmla="*/ 4345327 w 4519987"/>
              <a:gd name="connsiteY40" fmla="*/ 1362075 h 4496940"/>
              <a:gd name="connsiteX41" fmla="*/ 4373902 w 4519987"/>
              <a:gd name="connsiteY41" fmla="*/ 1428750 h 4496940"/>
              <a:gd name="connsiteX42" fmla="*/ 4392952 w 4519987"/>
              <a:gd name="connsiteY42" fmla="*/ 1552575 h 4496940"/>
              <a:gd name="connsiteX43" fmla="*/ 4402477 w 4519987"/>
              <a:gd name="connsiteY43" fmla="*/ 1590675 h 4496940"/>
              <a:gd name="connsiteX44" fmla="*/ 4431052 w 4519987"/>
              <a:gd name="connsiteY44" fmla="*/ 1685925 h 4496940"/>
              <a:gd name="connsiteX45" fmla="*/ 4519952 w 4519987"/>
              <a:gd name="connsiteY45" fmla="*/ 2181225 h 4496940"/>
              <a:gd name="connsiteX46" fmla="*/ 4446927 w 4519987"/>
              <a:gd name="connsiteY46" fmla="*/ 2768600 h 4496940"/>
              <a:gd name="connsiteX47" fmla="*/ 4383427 w 4519987"/>
              <a:gd name="connsiteY47" fmla="*/ 2990850 h 4496940"/>
              <a:gd name="connsiteX48" fmla="*/ 4278652 w 4519987"/>
              <a:gd name="connsiteY48" fmla="*/ 3248025 h 4496940"/>
              <a:gd name="connsiteX49" fmla="*/ 4259602 w 4519987"/>
              <a:gd name="connsiteY49" fmla="*/ 3276600 h 4496940"/>
              <a:gd name="connsiteX50" fmla="*/ 4221502 w 4519987"/>
              <a:gd name="connsiteY50" fmla="*/ 3333750 h 4496940"/>
              <a:gd name="connsiteX51" fmla="*/ 4211977 w 4519987"/>
              <a:gd name="connsiteY51" fmla="*/ 3362325 h 4496940"/>
              <a:gd name="connsiteX52" fmla="*/ 4183402 w 4519987"/>
              <a:gd name="connsiteY52" fmla="*/ 3400425 h 4496940"/>
              <a:gd name="connsiteX53" fmla="*/ 4164352 w 4519987"/>
              <a:gd name="connsiteY53" fmla="*/ 3429000 h 4496940"/>
              <a:gd name="connsiteX54" fmla="*/ 4088152 w 4519987"/>
              <a:gd name="connsiteY54" fmla="*/ 3495675 h 4496940"/>
              <a:gd name="connsiteX55" fmla="*/ 4059577 w 4519987"/>
              <a:gd name="connsiteY55" fmla="*/ 3533775 h 4496940"/>
              <a:gd name="connsiteX56" fmla="*/ 4002427 w 4519987"/>
              <a:gd name="connsiteY56" fmla="*/ 3600450 h 4496940"/>
              <a:gd name="connsiteX57" fmla="*/ 3983377 w 4519987"/>
              <a:gd name="connsiteY57" fmla="*/ 3629025 h 4496940"/>
              <a:gd name="connsiteX58" fmla="*/ 3954802 w 4519987"/>
              <a:gd name="connsiteY58" fmla="*/ 3648075 h 4496940"/>
              <a:gd name="connsiteX59" fmla="*/ 3907177 w 4519987"/>
              <a:gd name="connsiteY59" fmla="*/ 3686175 h 4496940"/>
              <a:gd name="connsiteX60" fmla="*/ 3869077 w 4519987"/>
              <a:gd name="connsiteY60" fmla="*/ 3724275 h 4496940"/>
              <a:gd name="connsiteX61" fmla="*/ 3792877 w 4519987"/>
              <a:gd name="connsiteY61" fmla="*/ 3781425 h 4496940"/>
              <a:gd name="connsiteX62" fmla="*/ 3783352 w 4519987"/>
              <a:gd name="connsiteY62" fmla="*/ 3810000 h 4496940"/>
              <a:gd name="connsiteX63" fmla="*/ 3745252 w 4519987"/>
              <a:gd name="connsiteY63" fmla="*/ 3819525 h 4496940"/>
              <a:gd name="connsiteX64" fmla="*/ 3678577 w 4519987"/>
              <a:gd name="connsiteY64" fmla="*/ 3848100 h 4496940"/>
              <a:gd name="connsiteX65" fmla="*/ 3659527 w 4519987"/>
              <a:gd name="connsiteY65" fmla="*/ 3971925 h 4496940"/>
              <a:gd name="connsiteX66" fmla="*/ 3630952 w 4519987"/>
              <a:gd name="connsiteY66" fmla="*/ 4010025 h 4496940"/>
              <a:gd name="connsiteX67" fmla="*/ 3621427 w 4519987"/>
              <a:gd name="connsiteY67" fmla="*/ 4038600 h 4496940"/>
              <a:gd name="connsiteX68" fmla="*/ 3554752 w 4519987"/>
              <a:gd name="connsiteY68" fmla="*/ 4095750 h 4496940"/>
              <a:gd name="connsiteX69" fmla="*/ 3516652 w 4519987"/>
              <a:gd name="connsiteY69" fmla="*/ 4114800 h 4496940"/>
              <a:gd name="connsiteX70" fmla="*/ 3497602 w 4519987"/>
              <a:gd name="connsiteY70" fmla="*/ 4143375 h 4496940"/>
              <a:gd name="connsiteX71" fmla="*/ 3383302 w 4519987"/>
              <a:gd name="connsiteY71" fmla="*/ 4210050 h 4496940"/>
              <a:gd name="connsiteX72" fmla="*/ 3335677 w 4519987"/>
              <a:gd name="connsiteY72" fmla="*/ 4238625 h 4496940"/>
              <a:gd name="connsiteX73" fmla="*/ 3288052 w 4519987"/>
              <a:gd name="connsiteY73" fmla="*/ 4248150 h 4496940"/>
              <a:gd name="connsiteX74" fmla="*/ 3240427 w 4519987"/>
              <a:gd name="connsiteY74" fmla="*/ 4267200 h 4496940"/>
              <a:gd name="connsiteX75" fmla="*/ 3068977 w 4519987"/>
              <a:gd name="connsiteY75" fmla="*/ 4286250 h 4496940"/>
              <a:gd name="connsiteX76" fmla="*/ 2935627 w 4519987"/>
              <a:gd name="connsiteY76" fmla="*/ 4333875 h 4496940"/>
              <a:gd name="connsiteX77" fmla="*/ 2811802 w 4519987"/>
              <a:gd name="connsiteY77" fmla="*/ 4371975 h 4496940"/>
              <a:gd name="connsiteX78" fmla="*/ 2745127 w 4519987"/>
              <a:gd name="connsiteY78" fmla="*/ 4410075 h 4496940"/>
              <a:gd name="connsiteX79" fmla="*/ 2697502 w 4519987"/>
              <a:gd name="connsiteY79" fmla="*/ 4429125 h 4496940"/>
              <a:gd name="connsiteX80" fmla="*/ 2640352 w 4519987"/>
              <a:gd name="connsiteY80" fmla="*/ 4457700 h 4496940"/>
              <a:gd name="connsiteX81" fmla="*/ 2583202 w 4519987"/>
              <a:gd name="connsiteY81" fmla="*/ 4467225 h 4496940"/>
              <a:gd name="connsiteX82" fmla="*/ 2545102 w 4519987"/>
              <a:gd name="connsiteY82" fmla="*/ 4486275 h 4496940"/>
              <a:gd name="connsiteX83" fmla="*/ 2306977 w 4519987"/>
              <a:gd name="connsiteY83" fmla="*/ 4476750 h 4496940"/>
              <a:gd name="connsiteX84" fmla="*/ 2202202 w 4519987"/>
              <a:gd name="connsiteY84" fmla="*/ 4457700 h 4496940"/>
              <a:gd name="connsiteX85" fmla="*/ 2126002 w 4519987"/>
              <a:gd name="connsiteY85" fmla="*/ 4429125 h 4496940"/>
              <a:gd name="connsiteX86" fmla="*/ 1935502 w 4519987"/>
              <a:gd name="connsiteY86" fmla="*/ 4400550 h 4496940"/>
              <a:gd name="connsiteX87" fmla="*/ 1821202 w 4519987"/>
              <a:gd name="connsiteY87" fmla="*/ 4371975 h 4496940"/>
              <a:gd name="connsiteX88" fmla="*/ 1754527 w 4519987"/>
              <a:gd name="connsiteY88" fmla="*/ 4352925 h 4496940"/>
              <a:gd name="connsiteX89" fmla="*/ 1687852 w 4519987"/>
              <a:gd name="connsiteY89" fmla="*/ 4343400 h 4496940"/>
              <a:gd name="connsiteX90" fmla="*/ 1573552 w 4519987"/>
              <a:gd name="connsiteY90" fmla="*/ 4305300 h 4496940"/>
              <a:gd name="connsiteX91" fmla="*/ 1402102 w 4519987"/>
              <a:gd name="connsiteY91" fmla="*/ 4276725 h 4496940"/>
              <a:gd name="connsiteX92" fmla="*/ 1287802 w 4519987"/>
              <a:gd name="connsiteY92" fmla="*/ 4229100 h 4496940"/>
              <a:gd name="connsiteX93" fmla="*/ 1221127 w 4519987"/>
              <a:gd name="connsiteY93" fmla="*/ 4200525 h 4496940"/>
              <a:gd name="connsiteX94" fmla="*/ 1144927 w 4519987"/>
              <a:gd name="connsiteY94" fmla="*/ 4171950 h 4496940"/>
              <a:gd name="connsiteX95" fmla="*/ 1087777 w 4519987"/>
              <a:gd name="connsiteY95" fmla="*/ 4143375 h 4496940"/>
              <a:gd name="connsiteX96" fmla="*/ 1030627 w 4519987"/>
              <a:gd name="connsiteY96" fmla="*/ 4124325 h 4496940"/>
              <a:gd name="connsiteX97" fmla="*/ 925852 w 4519987"/>
              <a:gd name="connsiteY97" fmla="*/ 4067175 h 4496940"/>
              <a:gd name="connsiteX98" fmla="*/ 830602 w 4519987"/>
              <a:gd name="connsiteY98" fmla="*/ 3981450 h 4496940"/>
              <a:gd name="connsiteX99" fmla="*/ 763927 w 4519987"/>
              <a:gd name="connsiteY99" fmla="*/ 3914775 h 4496940"/>
              <a:gd name="connsiteX100" fmla="*/ 725827 w 4519987"/>
              <a:gd name="connsiteY100" fmla="*/ 3876675 h 4496940"/>
              <a:gd name="connsiteX101" fmla="*/ 697252 w 4519987"/>
              <a:gd name="connsiteY101" fmla="*/ 3838575 h 4496940"/>
              <a:gd name="connsiteX102" fmla="*/ 640102 w 4519987"/>
              <a:gd name="connsiteY102" fmla="*/ 3781425 h 4496940"/>
              <a:gd name="connsiteX103" fmla="*/ 611527 w 4519987"/>
              <a:gd name="connsiteY103" fmla="*/ 3733800 h 4496940"/>
              <a:gd name="connsiteX104" fmla="*/ 554377 w 4519987"/>
              <a:gd name="connsiteY104" fmla="*/ 3657600 h 4496940"/>
              <a:gd name="connsiteX105" fmla="*/ 525802 w 4519987"/>
              <a:gd name="connsiteY105" fmla="*/ 3609975 h 4496940"/>
              <a:gd name="connsiteX106" fmla="*/ 497227 w 4519987"/>
              <a:gd name="connsiteY106" fmla="*/ 3552825 h 4496940"/>
              <a:gd name="connsiteX107" fmla="*/ 440077 w 4519987"/>
              <a:gd name="connsiteY107" fmla="*/ 3495675 h 4496940"/>
              <a:gd name="connsiteX108" fmla="*/ 411502 w 4519987"/>
              <a:gd name="connsiteY108" fmla="*/ 3448050 h 4496940"/>
              <a:gd name="connsiteX109" fmla="*/ 278152 w 4519987"/>
              <a:gd name="connsiteY109" fmla="*/ 3257550 h 4496940"/>
              <a:gd name="connsiteX110" fmla="*/ 249577 w 4519987"/>
              <a:gd name="connsiteY110" fmla="*/ 3200400 h 4496940"/>
              <a:gd name="connsiteX111" fmla="*/ 240052 w 4519987"/>
              <a:gd name="connsiteY111" fmla="*/ 3162300 h 4496940"/>
              <a:gd name="connsiteX112" fmla="*/ 221002 w 4519987"/>
              <a:gd name="connsiteY112" fmla="*/ 3105150 h 4496940"/>
              <a:gd name="connsiteX113" fmla="*/ 173377 w 4519987"/>
              <a:gd name="connsiteY113" fmla="*/ 3019425 h 4496940"/>
              <a:gd name="connsiteX114" fmla="*/ 144802 w 4519987"/>
              <a:gd name="connsiteY114" fmla="*/ 2924175 h 4496940"/>
              <a:gd name="connsiteX115" fmla="*/ 68602 w 4519987"/>
              <a:gd name="connsiteY115" fmla="*/ 2724150 h 4496940"/>
              <a:gd name="connsiteX116" fmla="*/ 49552 w 4519987"/>
              <a:gd name="connsiteY116" fmla="*/ 2638425 h 4496940"/>
              <a:gd name="connsiteX117" fmla="*/ 40027 w 4519987"/>
              <a:gd name="connsiteY117" fmla="*/ 2562225 h 4496940"/>
              <a:gd name="connsiteX118" fmla="*/ 30502 w 4519987"/>
              <a:gd name="connsiteY118" fmla="*/ 2514600 h 4496940"/>
              <a:gd name="connsiteX119" fmla="*/ 11452 w 4519987"/>
              <a:gd name="connsiteY119" fmla="*/ 2400300 h 4496940"/>
              <a:gd name="connsiteX120" fmla="*/ 20977 w 4519987"/>
              <a:gd name="connsiteY120" fmla="*/ 1905000 h 4496940"/>
              <a:gd name="connsiteX121" fmla="*/ 30502 w 4519987"/>
              <a:gd name="connsiteY121" fmla="*/ 1838325 h 4496940"/>
              <a:gd name="connsiteX122" fmla="*/ 49552 w 4519987"/>
              <a:gd name="connsiteY122" fmla="*/ 1781175 h 4496940"/>
              <a:gd name="connsiteX123" fmla="*/ 59077 w 4519987"/>
              <a:gd name="connsiteY123" fmla="*/ 1743075 h 4496940"/>
              <a:gd name="connsiteX124" fmla="*/ 78127 w 4519987"/>
              <a:gd name="connsiteY124" fmla="*/ 1685925 h 4496940"/>
              <a:gd name="connsiteX125" fmla="*/ 87652 w 4519987"/>
              <a:gd name="connsiteY125" fmla="*/ 1638300 h 4496940"/>
              <a:gd name="connsiteX126" fmla="*/ 106702 w 4519987"/>
              <a:gd name="connsiteY126" fmla="*/ 1590675 h 4496940"/>
              <a:gd name="connsiteX127" fmla="*/ 135277 w 4519987"/>
              <a:gd name="connsiteY127" fmla="*/ 1504950 h 4496940"/>
              <a:gd name="connsiteX128" fmla="*/ 154327 w 4519987"/>
              <a:gd name="connsiteY128" fmla="*/ 1419225 h 4496940"/>
              <a:gd name="connsiteX129" fmla="*/ 230527 w 4519987"/>
              <a:gd name="connsiteY129" fmla="*/ 1276350 h 4496940"/>
              <a:gd name="connsiteX130" fmla="*/ 240052 w 4519987"/>
              <a:gd name="connsiteY130" fmla="*/ 1247775 h 4496940"/>
              <a:gd name="connsiteX131" fmla="*/ 268627 w 4519987"/>
              <a:gd name="connsiteY131" fmla="*/ 1200150 h 4496940"/>
              <a:gd name="connsiteX132" fmla="*/ 287677 w 4519987"/>
              <a:gd name="connsiteY132" fmla="*/ 1152525 h 4496940"/>
              <a:gd name="connsiteX133" fmla="*/ 316252 w 4519987"/>
              <a:gd name="connsiteY133" fmla="*/ 1114425 h 4496940"/>
              <a:gd name="connsiteX134" fmla="*/ 363877 w 4519987"/>
              <a:gd name="connsiteY134" fmla="*/ 1038225 h 4496940"/>
              <a:gd name="connsiteX135" fmla="*/ 382927 w 4519987"/>
              <a:gd name="connsiteY135" fmla="*/ 1009650 h 4496940"/>
              <a:gd name="connsiteX136" fmla="*/ 440077 w 4519987"/>
              <a:gd name="connsiteY136" fmla="*/ 904875 h 4496940"/>
              <a:gd name="connsiteX137" fmla="*/ 478177 w 4519987"/>
              <a:gd name="connsiteY137" fmla="*/ 857250 h 4496940"/>
              <a:gd name="connsiteX138" fmla="*/ 497227 w 4519987"/>
              <a:gd name="connsiteY138" fmla="*/ 828675 h 4496940"/>
              <a:gd name="connsiteX139" fmla="*/ 535327 w 4519987"/>
              <a:gd name="connsiteY139" fmla="*/ 800100 h 4496940"/>
              <a:gd name="connsiteX140" fmla="*/ 602002 w 4519987"/>
              <a:gd name="connsiteY140" fmla="*/ 733425 h 4496940"/>
              <a:gd name="connsiteX141" fmla="*/ 668677 w 4519987"/>
              <a:gd name="connsiteY141" fmla="*/ 676275 h 4496940"/>
              <a:gd name="connsiteX142" fmla="*/ 697252 w 4519987"/>
              <a:gd name="connsiteY142" fmla="*/ 657225 h 4496940"/>
              <a:gd name="connsiteX143" fmla="*/ 840127 w 4519987"/>
              <a:gd name="connsiteY143" fmla="*/ 533400 h 4496940"/>
              <a:gd name="connsiteX144" fmla="*/ 887752 w 4519987"/>
              <a:gd name="connsiteY144" fmla="*/ 504825 h 4496940"/>
              <a:gd name="connsiteX145" fmla="*/ 1167152 w 4519987"/>
              <a:gd name="connsiteY145" fmla="*/ 311150 h 4496940"/>
              <a:gd name="connsiteX146" fmla="*/ 1268752 w 4519987"/>
              <a:gd name="connsiteY146" fmla="*/ 285750 h 4496940"/>
              <a:gd name="connsiteX147" fmla="*/ 1411627 w 4519987"/>
              <a:gd name="connsiteY147" fmla="*/ 190500 h 4496940"/>
              <a:gd name="connsiteX148" fmla="*/ 1449727 w 4519987"/>
              <a:gd name="connsiteY148" fmla="*/ 161925 h 4496940"/>
              <a:gd name="connsiteX149" fmla="*/ 1525927 w 4519987"/>
              <a:gd name="connsiteY149" fmla="*/ 152400 h 4496940"/>
              <a:gd name="connsiteX150" fmla="*/ 1583077 w 4519987"/>
              <a:gd name="connsiteY150" fmla="*/ 142875 h 4496940"/>
              <a:gd name="connsiteX151" fmla="*/ 1716427 w 4519987"/>
              <a:gd name="connsiteY151" fmla="*/ 123825 h 4496940"/>
              <a:gd name="connsiteX152" fmla="*/ 1811677 w 4519987"/>
              <a:gd name="connsiteY152" fmla="*/ 114300 h 4496940"/>
              <a:gd name="connsiteX153" fmla="*/ 1859302 w 4519987"/>
              <a:gd name="connsiteY153" fmla="*/ 104775 h 4496940"/>
              <a:gd name="connsiteX154" fmla="*/ 1916452 w 4519987"/>
              <a:gd name="connsiteY154" fmla="*/ 95250 h 4496940"/>
              <a:gd name="connsiteX155" fmla="*/ 2030752 w 4519987"/>
              <a:gd name="connsiteY155" fmla="*/ 66675 h 4496940"/>
              <a:gd name="connsiteX156" fmla="*/ 2097427 w 4519987"/>
              <a:gd name="connsiteY156" fmla="*/ 47625 h 4496940"/>
              <a:gd name="connsiteX157" fmla="*/ 2164102 w 4519987"/>
              <a:gd name="connsiteY157" fmla="*/ 38100 h 4496940"/>
              <a:gd name="connsiteX158" fmla="*/ 2392702 w 4519987"/>
              <a:gd name="connsiteY15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07202 w 4519987"/>
              <a:gd name="connsiteY29" fmla="*/ 876300 h 4496940"/>
              <a:gd name="connsiteX30" fmla="*/ 4116727 w 4519987"/>
              <a:gd name="connsiteY30" fmla="*/ 904875 h 4496940"/>
              <a:gd name="connsiteX31" fmla="*/ 4135777 w 4519987"/>
              <a:gd name="connsiteY31" fmla="*/ 933450 h 4496940"/>
              <a:gd name="connsiteX32" fmla="*/ 4164352 w 4519987"/>
              <a:gd name="connsiteY32" fmla="*/ 990600 h 4496940"/>
              <a:gd name="connsiteX33" fmla="*/ 4173877 w 4519987"/>
              <a:gd name="connsiteY33" fmla="*/ 1019175 h 4496940"/>
              <a:gd name="connsiteX34" fmla="*/ 4192927 w 4519987"/>
              <a:gd name="connsiteY34" fmla="*/ 1057275 h 4496940"/>
              <a:gd name="connsiteX35" fmla="*/ 4202452 w 4519987"/>
              <a:gd name="connsiteY35" fmla="*/ 1085850 h 4496940"/>
              <a:gd name="connsiteX36" fmla="*/ 4250077 w 4519987"/>
              <a:gd name="connsiteY36" fmla="*/ 1143000 h 4496940"/>
              <a:gd name="connsiteX37" fmla="*/ 4259602 w 4519987"/>
              <a:gd name="connsiteY37" fmla="*/ 1190625 h 4496940"/>
              <a:gd name="connsiteX38" fmla="*/ 4307227 w 4519987"/>
              <a:gd name="connsiteY38" fmla="*/ 1266825 h 4496940"/>
              <a:gd name="connsiteX39" fmla="*/ 4345327 w 4519987"/>
              <a:gd name="connsiteY39" fmla="*/ 1362075 h 4496940"/>
              <a:gd name="connsiteX40" fmla="*/ 4373902 w 4519987"/>
              <a:gd name="connsiteY40" fmla="*/ 1428750 h 4496940"/>
              <a:gd name="connsiteX41" fmla="*/ 4392952 w 4519987"/>
              <a:gd name="connsiteY41" fmla="*/ 1552575 h 4496940"/>
              <a:gd name="connsiteX42" fmla="*/ 4402477 w 4519987"/>
              <a:gd name="connsiteY42" fmla="*/ 1590675 h 4496940"/>
              <a:gd name="connsiteX43" fmla="*/ 4431052 w 4519987"/>
              <a:gd name="connsiteY43" fmla="*/ 1685925 h 4496940"/>
              <a:gd name="connsiteX44" fmla="*/ 4519952 w 4519987"/>
              <a:gd name="connsiteY44" fmla="*/ 2181225 h 4496940"/>
              <a:gd name="connsiteX45" fmla="*/ 4446927 w 4519987"/>
              <a:gd name="connsiteY45" fmla="*/ 2768600 h 4496940"/>
              <a:gd name="connsiteX46" fmla="*/ 4383427 w 4519987"/>
              <a:gd name="connsiteY46" fmla="*/ 2990850 h 4496940"/>
              <a:gd name="connsiteX47" fmla="*/ 4278652 w 4519987"/>
              <a:gd name="connsiteY47" fmla="*/ 3248025 h 4496940"/>
              <a:gd name="connsiteX48" fmla="*/ 4259602 w 4519987"/>
              <a:gd name="connsiteY48" fmla="*/ 3276600 h 4496940"/>
              <a:gd name="connsiteX49" fmla="*/ 4221502 w 4519987"/>
              <a:gd name="connsiteY49" fmla="*/ 3333750 h 4496940"/>
              <a:gd name="connsiteX50" fmla="*/ 4211977 w 4519987"/>
              <a:gd name="connsiteY50" fmla="*/ 3362325 h 4496940"/>
              <a:gd name="connsiteX51" fmla="*/ 4183402 w 4519987"/>
              <a:gd name="connsiteY51" fmla="*/ 3400425 h 4496940"/>
              <a:gd name="connsiteX52" fmla="*/ 4164352 w 4519987"/>
              <a:gd name="connsiteY52" fmla="*/ 3429000 h 4496940"/>
              <a:gd name="connsiteX53" fmla="*/ 4088152 w 4519987"/>
              <a:gd name="connsiteY53" fmla="*/ 3495675 h 4496940"/>
              <a:gd name="connsiteX54" fmla="*/ 4059577 w 4519987"/>
              <a:gd name="connsiteY54" fmla="*/ 3533775 h 4496940"/>
              <a:gd name="connsiteX55" fmla="*/ 4002427 w 4519987"/>
              <a:gd name="connsiteY55" fmla="*/ 3600450 h 4496940"/>
              <a:gd name="connsiteX56" fmla="*/ 3983377 w 4519987"/>
              <a:gd name="connsiteY56" fmla="*/ 3629025 h 4496940"/>
              <a:gd name="connsiteX57" fmla="*/ 3954802 w 4519987"/>
              <a:gd name="connsiteY57" fmla="*/ 3648075 h 4496940"/>
              <a:gd name="connsiteX58" fmla="*/ 3907177 w 4519987"/>
              <a:gd name="connsiteY58" fmla="*/ 3686175 h 4496940"/>
              <a:gd name="connsiteX59" fmla="*/ 3869077 w 4519987"/>
              <a:gd name="connsiteY59" fmla="*/ 3724275 h 4496940"/>
              <a:gd name="connsiteX60" fmla="*/ 3792877 w 4519987"/>
              <a:gd name="connsiteY60" fmla="*/ 3781425 h 4496940"/>
              <a:gd name="connsiteX61" fmla="*/ 3783352 w 4519987"/>
              <a:gd name="connsiteY61" fmla="*/ 3810000 h 4496940"/>
              <a:gd name="connsiteX62" fmla="*/ 3745252 w 4519987"/>
              <a:gd name="connsiteY62" fmla="*/ 3819525 h 4496940"/>
              <a:gd name="connsiteX63" fmla="*/ 3678577 w 4519987"/>
              <a:gd name="connsiteY63" fmla="*/ 3848100 h 4496940"/>
              <a:gd name="connsiteX64" fmla="*/ 3659527 w 4519987"/>
              <a:gd name="connsiteY64" fmla="*/ 3971925 h 4496940"/>
              <a:gd name="connsiteX65" fmla="*/ 3630952 w 4519987"/>
              <a:gd name="connsiteY65" fmla="*/ 4010025 h 4496940"/>
              <a:gd name="connsiteX66" fmla="*/ 3621427 w 4519987"/>
              <a:gd name="connsiteY66" fmla="*/ 4038600 h 4496940"/>
              <a:gd name="connsiteX67" fmla="*/ 3554752 w 4519987"/>
              <a:gd name="connsiteY67" fmla="*/ 4095750 h 4496940"/>
              <a:gd name="connsiteX68" fmla="*/ 3516652 w 4519987"/>
              <a:gd name="connsiteY68" fmla="*/ 4114800 h 4496940"/>
              <a:gd name="connsiteX69" fmla="*/ 3497602 w 4519987"/>
              <a:gd name="connsiteY69" fmla="*/ 4143375 h 4496940"/>
              <a:gd name="connsiteX70" fmla="*/ 3383302 w 4519987"/>
              <a:gd name="connsiteY70" fmla="*/ 4210050 h 4496940"/>
              <a:gd name="connsiteX71" fmla="*/ 3335677 w 4519987"/>
              <a:gd name="connsiteY71" fmla="*/ 4238625 h 4496940"/>
              <a:gd name="connsiteX72" fmla="*/ 3288052 w 4519987"/>
              <a:gd name="connsiteY72" fmla="*/ 4248150 h 4496940"/>
              <a:gd name="connsiteX73" fmla="*/ 3240427 w 4519987"/>
              <a:gd name="connsiteY73" fmla="*/ 4267200 h 4496940"/>
              <a:gd name="connsiteX74" fmla="*/ 3068977 w 4519987"/>
              <a:gd name="connsiteY74" fmla="*/ 4286250 h 4496940"/>
              <a:gd name="connsiteX75" fmla="*/ 2935627 w 4519987"/>
              <a:gd name="connsiteY75" fmla="*/ 4333875 h 4496940"/>
              <a:gd name="connsiteX76" fmla="*/ 2811802 w 4519987"/>
              <a:gd name="connsiteY76" fmla="*/ 4371975 h 4496940"/>
              <a:gd name="connsiteX77" fmla="*/ 2745127 w 4519987"/>
              <a:gd name="connsiteY77" fmla="*/ 4410075 h 4496940"/>
              <a:gd name="connsiteX78" fmla="*/ 2697502 w 4519987"/>
              <a:gd name="connsiteY78" fmla="*/ 4429125 h 4496940"/>
              <a:gd name="connsiteX79" fmla="*/ 2640352 w 4519987"/>
              <a:gd name="connsiteY79" fmla="*/ 4457700 h 4496940"/>
              <a:gd name="connsiteX80" fmla="*/ 2583202 w 4519987"/>
              <a:gd name="connsiteY80" fmla="*/ 4467225 h 4496940"/>
              <a:gd name="connsiteX81" fmla="*/ 2545102 w 4519987"/>
              <a:gd name="connsiteY81" fmla="*/ 4486275 h 4496940"/>
              <a:gd name="connsiteX82" fmla="*/ 2306977 w 4519987"/>
              <a:gd name="connsiteY82" fmla="*/ 4476750 h 4496940"/>
              <a:gd name="connsiteX83" fmla="*/ 2202202 w 4519987"/>
              <a:gd name="connsiteY83" fmla="*/ 4457700 h 4496940"/>
              <a:gd name="connsiteX84" fmla="*/ 2126002 w 4519987"/>
              <a:gd name="connsiteY84" fmla="*/ 4429125 h 4496940"/>
              <a:gd name="connsiteX85" fmla="*/ 1935502 w 4519987"/>
              <a:gd name="connsiteY85" fmla="*/ 4400550 h 4496940"/>
              <a:gd name="connsiteX86" fmla="*/ 1821202 w 4519987"/>
              <a:gd name="connsiteY86" fmla="*/ 4371975 h 4496940"/>
              <a:gd name="connsiteX87" fmla="*/ 1754527 w 4519987"/>
              <a:gd name="connsiteY87" fmla="*/ 4352925 h 4496940"/>
              <a:gd name="connsiteX88" fmla="*/ 1687852 w 4519987"/>
              <a:gd name="connsiteY88" fmla="*/ 4343400 h 4496940"/>
              <a:gd name="connsiteX89" fmla="*/ 1573552 w 4519987"/>
              <a:gd name="connsiteY89" fmla="*/ 4305300 h 4496940"/>
              <a:gd name="connsiteX90" fmla="*/ 1402102 w 4519987"/>
              <a:gd name="connsiteY90" fmla="*/ 4276725 h 4496940"/>
              <a:gd name="connsiteX91" fmla="*/ 1287802 w 4519987"/>
              <a:gd name="connsiteY91" fmla="*/ 4229100 h 4496940"/>
              <a:gd name="connsiteX92" fmla="*/ 1221127 w 4519987"/>
              <a:gd name="connsiteY92" fmla="*/ 4200525 h 4496940"/>
              <a:gd name="connsiteX93" fmla="*/ 1144927 w 4519987"/>
              <a:gd name="connsiteY93" fmla="*/ 4171950 h 4496940"/>
              <a:gd name="connsiteX94" fmla="*/ 1087777 w 4519987"/>
              <a:gd name="connsiteY94" fmla="*/ 4143375 h 4496940"/>
              <a:gd name="connsiteX95" fmla="*/ 1030627 w 4519987"/>
              <a:gd name="connsiteY95" fmla="*/ 4124325 h 4496940"/>
              <a:gd name="connsiteX96" fmla="*/ 925852 w 4519987"/>
              <a:gd name="connsiteY96" fmla="*/ 4067175 h 4496940"/>
              <a:gd name="connsiteX97" fmla="*/ 830602 w 4519987"/>
              <a:gd name="connsiteY97" fmla="*/ 3981450 h 4496940"/>
              <a:gd name="connsiteX98" fmla="*/ 763927 w 4519987"/>
              <a:gd name="connsiteY98" fmla="*/ 3914775 h 4496940"/>
              <a:gd name="connsiteX99" fmla="*/ 725827 w 4519987"/>
              <a:gd name="connsiteY99" fmla="*/ 3876675 h 4496940"/>
              <a:gd name="connsiteX100" fmla="*/ 697252 w 4519987"/>
              <a:gd name="connsiteY100" fmla="*/ 3838575 h 4496940"/>
              <a:gd name="connsiteX101" fmla="*/ 640102 w 4519987"/>
              <a:gd name="connsiteY101" fmla="*/ 3781425 h 4496940"/>
              <a:gd name="connsiteX102" fmla="*/ 611527 w 4519987"/>
              <a:gd name="connsiteY102" fmla="*/ 3733800 h 4496940"/>
              <a:gd name="connsiteX103" fmla="*/ 554377 w 4519987"/>
              <a:gd name="connsiteY103" fmla="*/ 3657600 h 4496940"/>
              <a:gd name="connsiteX104" fmla="*/ 525802 w 4519987"/>
              <a:gd name="connsiteY104" fmla="*/ 3609975 h 4496940"/>
              <a:gd name="connsiteX105" fmla="*/ 497227 w 4519987"/>
              <a:gd name="connsiteY105" fmla="*/ 3552825 h 4496940"/>
              <a:gd name="connsiteX106" fmla="*/ 440077 w 4519987"/>
              <a:gd name="connsiteY106" fmla="*/ 3495675 h 4496940"/>
              <a:gd name="connsiteX107" fmla="*/ 411502 w 4519987"/>
              <a:gd name="connsiteY107" fmla="*/ 3448050 h 4496940"/>
              <a:gd name="connsiteX108" fmla="*/ 278152 w 4519987"/>
              <a:gd name="connsiteY108" fmla="*/ 3257550 h 4496940"/>
              <a:gd name="connsiteX109" fmla="*/ 249577 w 4519987"/>
              <a:gd name="connsiteY109" fmla="*/ 3200400 h 4496940"/>
              <a:gd name="connsiteX110" fmla="*/ 240052 w 4519987"/>
              <a:gd name="connsiteY110" fmla="*/ 3162300 h 4496940"/>
              <a:gd name="connsiteX111" fmla="*/ 221002 w 4519987"/>
              <a:gd name="connsiteY111" fmla="*/ 3105150 h 4496940"/>
              <a:gd name="connsiteX112" fmla="*/ 173377 w 4519987"/>
              <a:gd name="connsiteY112" fmla="*/ 3019425 h 4496940"/>
              <a:gd name="connsiteX113" fmla="*/ 144802 w 4519987"/>
              <a:gd name="connsiteY113" fmla="*/ 2924175 h 4496940"/>
              <a:gd name="connsiteX114" fmla="*/ 68602 w 4519987"/>
              <a:gd name="connsiteY114" fmla="*/ 2724150 h 4496940"/>
              <a:gd name="connsiteX115" fmla="*/ 49552 w 4519987"/>
              <a:gd name="connsiteY115" fmla="*/ 2638425 h 4496940"/>
              <a:gd name="connsiteX116" fmla="*/ 40027 w 4519987"/>
              <a:gd name="connsiteY116" fmla="*/ 2562225 h 4496940"/>
              <a:gd name="connsiteX117" fmla="*/ 30502 w 4519987"/>
              <a:gd name="connsiteY117" fmla="*/ 2514600 h 4496940"/>
              <a:gd name="connsiteX118" fmla="*/ 11452 w 4519987"/>
              <a:gd name="connsiteY118" fmla="*/ 2400300 h 4496940"/>
              <a:gd name="connsiteX119" fmla="*/ 20977 w 4519987"/>
              <a:gd name="connsiteY119" fmla="*/ 1905000 h 4496940"/>
              <a:gd name="connsiteX120" fmla="*/ 30502 w 4519987"/>
              <a:gd name="connsiteY120" fmla="*/ 1838325 h 4496940"/>
              <a:gd name="connsiteX121" fmla="*/ 49552 w 4519987"/>
              <a:gd name="connsiteY121" fmla="*/ 1781175 h 4496940"/>
              <a:gd name="connsiteX122" fmla="*/ 59077 w 4519987"/>
              <a:gd name="connsiteY122" fmla="*/ 1743075 h 4496940"/>
              <a:gd name="connsiteX123" fmla="*/ 78127 w 4519987"/>
              <a:gd name="connsiteY123" fmla="*/ 1685925 h 4496940"/>
              <a:gd name="connsiteX124" fmla="*/ 87652 w 4519987"/>
              <a:gd name="connsiteY124" fmla="*/ 1638300 h 4496940"/>
              <a:gd name="connsiteX125" fmla="*/ 106702 w 4519987"/>
              <a:gd name="connsiteY125" fmla="*/ 1590675 h 4496940"/>
              <a:gd name="connsiteX126" fmla="*/ 135277 w 4519987"/>
              <a:gd name="connsiteY126" fmla="*/ 1504950 h 4496940"/>
              <a:gd name="connsiteX127" fmla="*/ 154327 w 4519987"/>
              <a:gd name="connsiteY127" fmla="*/ 1419225 h 4496940"/>
              <a:gd name="connsiteX128" fmla="*/ 230527 w 4519987"/>
              <a:gd name="connsiteY128" fmla="*/ 1276350 h 4496940"/>
              <a:gd name="connsiteX129" fmla="*/ 240052 w 4519987"/>
              <a:gd name="connsiteY129" fmla="*/ 1247775 h 4496940"/>
              <a:gd name="connsiteX130" fmla="*/ 268627 w 4519987"/>
              <a:gd name="connsiteY130" fmla="*/ 1200150 h 4496940"/>
              <a:gd name="connsiteX131" fmla="*/ 287677 w 4519987"/>
              <a:gd name="connsiteY131" fmla="*/ 1152525 h 4496940"/>
              <a:gd name="connsiteX132" fmla="*/ 316252 w 4519987"/>
              <a:gd name="connsiteY132" fmla="*/ 1114425 h 4496940"/>
              <a:gd name="connsiteX133" fmla="*/ 363877 w 4519987"/>
              <a:gd name="connsiteY133" fmla="*/ 1038225 h 4496940"/>
              <a:gd name="connsiteX134" fmla="*/ 382927 w 4519987"/>
              <a:gd name="connsiteY134" fmla="*/ 1009650 h 4496940"/>
              <a:gd name="connsiteX135" fmla="*/ 440077 w 4519987"/>
              <a:gd name="connsiteY135" fmla="*/ 904875 h 4496940"/>
              <a:gd name="connsiteX136" fmla="*/ 478177 w 4519987"/>
              <a:gd name="connsiteY136" fmla="*/ 857250 h 4496940"/>
              <a:gd name="connsiteX137" fmla="*/ 497227 w 4519987"/>
              <a:gd name="connsiteY137" fmla="*/ 828675 h 4496940"/>
              <a:gd name="connsiteX138" fmla="*/ 535327 w 4519987"/>
              <a:gd name="connsiteY138" fmla="*/ 800100 h 4496940"/>
              <a:gd name="connsiteX139" fmla="*/ 602002 w 4519987"/>
              <a:gd name="connsiteY139" fmla="*/ 733425 h 4496940"/>
              <a:gd name="connsiteX140" fmla="*/ 668677 w 4519987"/>
              <a:gd name="connsiteY140" fmla="*/ 676275 h 4496940"/>
              <a:gd name="connsiteX141" fmla="*/ 697252 w 4519987"/>
              <a:gd name="connsiteY141" fmla="*/ 657225 h 4496940"/>
              <a:gd name="connsiteX142" fmla="*/ 840127 w 4519987"/>
              <a:gd name="connsiteY142" fmla="*/ 533400 h 4496940"/>
              <a:gd name="connsiteX143" fmla="*/ 887752 w 4519987"/>
              <a:gd name="connsiteY143" fmla="*/ 504825 h 4496940"/>
              <a:gd name="connsiteX144" fmla="*/ 1167152 w 4519987"/>
              <a:gd name="connsiteY144" fmla="*/ 311150 h 4496940"/>
              <a:gd name="connsiteX145" fmla="*/ 1268752 w 4519987"/>
              <a:gd name="connsiteY145" fmla="*/ 285750 h 4496940"/>
              <a:gd name="connsiteX146" fmla="*/ 1411627 w 4519987"/>
              <a:gd name="connsiteY146" fmla="*/ 190500 h 4496940"/>
              <a:gd name="connsiteX147" fmla="*/ 1449727 w 4519987"/>
              <a:gd name="connsiteY147" fmla="*/ 161925 h 4496940"/>
              <a:gd name="connsiteX148" fmla="*/ 1525927 w 4519987"/>
              <a:gd name="connsiteY148" fmla="*/ 152400 h 4496940"/>
              <a:gd name="connsiteX149" fmla="*/ 1583077 w 4519987"/>
              <a:gd name="connsiteY149" fmla="*/ 142875 h 4496940"/>
              <a:gd name="connsiteX150" fmla="*/ 1716427 w 4519987"/>
              <a:gd name="connsiteY150" fmla="*/ 123825 h 4496940"/>
              <a:gd name="connsiteX151" fmla="*/ 1811677 w 4519987"/>
              <a:gd name="connsiteY151" fmla="*/ 114300 h 4496940"/>
              <a:gd name="connsiteX152" fmla="*/ 1859302 w 4519987"/>
              <a:gd name="connsiteY152" fmla="*/ 104775 h 4496940"/>
              <a:gd name="connsiteX153" fmla="*/ 1916452 w 4519987"/>
              <a:gd name="connsiteY153" fmla="*/ 95250 h 4496940"/>
              <a:gd name="connsiteX154" fmla="*/ 2030752 w 4519987"/>
              <a:gd name="connsiteY154" fmla="*/ 66675 h 4496940"/>
              <a:gd name="connsiteX155" fmla="*/ 2097427 w 4519987"/>
              <a:gd name="connsiteY155" fmla="*/ 47625 h 4496940"/>
              <a:gd name="connsiteX156" fmla="*/ 2164102 w 4519987"/>
              <a:gd name="connsiteY156" fmla="*/ 38100 h 4496940"/>
              <a:gd name="connsiteX157" fmla="*/ 2392702 w 4519987"/>
              <a:gd name="connsiteY15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07202 w 4519987"/>
              <a:gd name="connsiteY29" fmla="*/ 876300 h 4496940"/>
              <a:gd name="connsiteX30" fmla="*/ 4135777 w 4519987"/>
              <a:gd name="connsiteY30" fmla="*/ 933450 h 4496940"/>
              <a:gd name="connsiteX31" fmla="*/ 4164352 w 4519987"/>
              <a:gd name="connsiteY31" fmla="*/ 990600 h 4496940"/>
              <a:gd name="connsiteX32" fmla="*/ 4173877 w 4519987"/>
              <a:gd name="connsiteY32" fmla="*/ 1019175 h 4496940"/>
              <a:gd name="connsiteX33" fmla="*/ 4192927 w 4519987"/>
              <a:gd name="connsiteY33" fmla="*/ 1057275 h 4496940"/>
              <a:gd name="connsiteX34" fmla="*/ 4202452 w 4519987"/>
              <a:gd name="connsiteY34" fmla="*/ 1085850 h 4496940"/>
              <a:gd name="connsiteX35" fmla="*/ 4250077 w 4519987"/>
              <a:gd name="connsiteY35" fmla="*/ 1143000 h 4496940"/>
              <a:gd name="connsiteX36" fmla="*/ 4259602 w 4519987"/>
              <a:gd name="connsiteY36" fmla="*/ 1190625 h 4496940"/>
              <a:gd name="connsiteX37" fmla="*/ 4307227 w 4519987"/>
              <a:gd name="connsiteY37" fmla="*/ 1266825 h 4496940"/>
              <a:gd name="connsiteX38" fmla="*/ 4345327 w 4519987"/>
              <a:gd name="connsiteY38" fmla="*/ 1362075 h 4496940"/>
              <a:gd name="connsiteX39" fmla="*/ 4373902 w 4519987"/>
              <a:gd name="connsiteY39" fmla="*/ 1428750 h 4496940"/>
              <a:gd name="connsiteX40" fmla="*/ 4392952 w 4519987"/>
              <a:gd name="connsiteY40" fmla="*/ 1552575 h 4496940"/>
              <a:gd name="connsiteX41" fmla="*/ 4402477 w 4519987"/>
              <a:gd name="connsiteY41" fmla="*/ 1590675 h 4496940"/>
              <a:gd name="connsiteX42" fmla="*/ 4431052 w 4519987"/>
              <a:gd name="connsiteY42" fmla="*/ 1685925 h 4496940"/>
              <a:gd name="connsiteX43" fmla="*/ 4519952 w 4519987"/>
              <a:gd name="connsiteY43" fmla="*/ 2181225 h 4496940"/>
              <a:gd name="connsiteX44" fmla="*/ 4446927 w 4519987"/>
              <a:gd name="connsiteY44" fmla="*/ 2768600 h 4496940"/>
              <a:gd name="connsiteX45" fmla="*/ 4383427 w 4519987"/>
              <a:gd name="connsiteY45" fmla="*/ 2990850 h 4496940"/>
              <a:gd name="connsiteX46" fmla="*/ 4278652 w 4519987"/>
              <a:gd name="connsiteY46" fmla="*/ 3248025 h 4496940"/>
              <a:gd name="connsiteX47" fmla="*/ 4259602 w 4519987"/>
              <a:gd name="connsiteY47" fmla="*/ 3276600 h 4496940"/>
              <a:gd name="connsiteX48" fmla="*/ 4221502 w 4519987"/>
              <a:gd name="connsiteY48" fmla="*/ 3333750 h 4496940"/>
              <a:gd name="connsiteX49" fmla="*/ 4211977 w 4519987"/>
              <a:gd name="connsiteY49" fmla="*/ 3362325 h 4496940"/>
              <a:gd name="connsiteX50" fmla="*/ 4183402 w 4519987"/>
              <a:gd name="connsiteY50" fmla="*/ 3400425 h 4496940"/>
              <a:gd name="connsiteX51" fmla="*/ 4164352 w 4519987"/>
              <a:gd name="connsiteY51" fmla="*/ 3429000 h 4496940"/>
              <a:gd name="connsiteX52" fmla="*/ 4088152 w 4519987"/>
              <a:gd name="connsiteY52" fmla="*/ 3495675 h 4496940"/>
              <a:gd name="connsiteX53" fmla="*/ 4059577 w 4519987"/>
              <a:gd name="connsiteY53" fmla="*/ 3533775 h 4496940"/>
              <a:gd name="connsiteX54" fmla="*/ 4002427 w 4519987"/>
              <a:gd name="connsiteY54" fmla="*/ 3600450 h 4496940"/>
              <a:gd name="connsiteX55" fmla="*/ 3983377 w 4519987"/>
              <a:gd name="connsiteY55" fmla="*/ 3629025 h 4496940"/>
              <a:gd name="connsiteX56" fmla="*/ 3954802 w 4519987"/>
              <a:gd name="connsiteY56" fmla="*/ 3648075 h 4496940"/>
              <a:gd name="connsiteX57" fmla="*/ 3907177 w 4519987"/>
              <a:gd name="connsiteY57" fmla="*/ 3686175 h 4496940"/>
              <a:gd name="connsiteX58" fmla="*/ 3869077 w 4519987"/>
              <a:gd name="connsiteY58" fmla="*/ 3724275 h 4496940"/>
              <a:gd name="connsiteX59" fmla="*/ 3792877 w 4519987"/>
              <a:gd name="connsiteY59" fmla="*/ 3781425 h 4496940"/>
              <a:gd name="connsiteX60" fmla="*/ 3783352 w 4519987"/>
              <a:gd name="connsiteY60" fmla="*/ 3810000 h 4496940"/>
              <a:gd name="connsiteX61" fmla="*/ 3745252 w 4519987"/>
              <a:gd name="connsiteY61" fmla="*/ 3819525 h 4496940"/>
              <a:gd name="connsiteX62" fmla="*/ 3678577 w 4519987"/>
              <a:gd name="connsiteY62" fmla="*/ 3848100 h 4496940"/>
              <a:gd name="connsiteX63" fmla="*/ 3659527 w 4519987"/>
              <a:gd name="connsiteY63" fmla="*/ 3971925 h 4496940"/>
              <a:gd name="connsiteX64" fmla="*/ 3630952 w 4519987"/>
              <a:gd name="connsiteY64" fmla="*/ 4010025 h 4496940"/>
              <a:gd name="connsiteX65" fmla="*/ 3621427 w 4519987"/>
              <a:gd name="connsiteY65" fmla="*/ 4038600 h 4496940"/>
              <a:gd name="connsiteX66" fmla="*/ 3554752 w 4519987"/>
              <a:gd name="connsiteY66" fmla="*/ 4095750 h 4496940"/>
              <a:gd name="connsiteX67" fmla="*/ 3516652 w 4519987"/>
              <a:gd name="connsiteY67" fmla="*/ 4114800 h 4496940"/>
              <a:gd name="connsiteX68" fmla="*/ 3497602 w 4519987"/>
              <a:gd name="connsiteY68" fmla="*/ 4143375 h 4496940"/>
              <a:gd name="connsiteX69" fmla="*/ 3383302 w 4519987"/>
              <a:gd name="connsiteY69" fmla="*/ 4210050 h 4496940"/>
              <a:gd name="connsiteX70" fmla="*/ 3335677 w 4519987"/>
              <a:gd name="connsiteY70" fmla="*/ 4238625 h 4496940"/>
              <a:gd name="connsiteX71" fmla="*/ 3288052 w 4519987"/>
              <a:gd name="connsiteY71" fmla="*/ 4248150 h 4496940"/>
              <a:gd name="connsiteX72" fmla="*/ 3240427 w 4519987"/>
              <a:gd name="connsiteY72" fmla="*/ 4267200 h 4496940"/>
              <a:gd name="connsiteX73" fmla="*/ 3068977 w 4519987"/>
              <a:gd name="connsiteY73" fmla="*/ 4286250 h 4496940"/>
              <a:gd name="connsiteX74" fmla="*/ 2935627 w 4519987"/>
              <a:gd name="connsiteY74" fmla="*/ 4333875 h 4496940"/>
              <a:gd name="connsiteX75" fmla="*/ 2811802 w 4519987"/>
              <a:gd name="connsiteY75" fmla="*/ 4371975 h 4496940"/>
              <a:gd name="connsiteX76" fmla="*/ 2745127 w 4519987"/>
              <a:gd name="connsiteY76" fmla="*/ 4410075 h 4496940"/>
              <a:gd name="connsiteX77" fmla="*/ 2697502 w 4519987"/>
              <a:gd name="connsiteY77" fmla="*/ 4429125 h 4496940"/>
              <a:gd name="connsiteX78" fmla="*/ 2640352 w 4519987"/>
              <a:gd name="connsiteY78" fmla="*/ 4457700 h 4496940"/>
              <a:gd name="connsiteX79" fmla="*/ 2583202 w 4519987"/>
              <a:gd name="connsiteY79" fmla="*/ 4467225 h 4496940"/>
              <a:gd name="connsiteX80" fmla="*/ 2545102 w 4519987"/>
              <a:gd name="connsiteY80" fmla="*/ 4486275 h 4496940"/>
              <a:gd name="connsiteX81" fmla="*/ 2306977 w 4519987"/>
              <a:gd name="connsiteY81" fmla="*/ 4476750 h 4496940"/>
              <a:gd name="connsiteX82" fmla="*/ 2202202 w 4519987"/>
              <a:gd name="connsiteY82" fmla="*/ 4457700 h 4496940"/>
              <a:gd name="connsiteX83" fmla="*/ 2126002 w 4519987"/>
              <a:gd name="connsiteY83" fmla="*/ 4429125 h 4496940"/>
              <a:gd name="connsiteX84" fmla="*/ 1935502 w 4519987"/>
              <a:gd name="connsiteY84" fmla="*/ 4400550 h 4496940"/>
              <a:gd name="connsiteX85" fmla="*/ 1821202 w 4519987"/>
              <a:gd name="connsiteY85" fmla="*/ 4371975 h 4496940"/>
              <a:gd name="connsiteX86" fmla="*/ 1754527 w 4519987"/>
              <a:gd name="connsiteY86" fmla="*/ 4352925 h 4496940"/>
              <a:gd name="connsiteX87" fmla="*/ 1687852 w 4519987"/>
              <a:gd name="connsiteY87" fmla="*/ 4343400 h 4496940"/>
              <a:gd name="connsiteX88" fmla="*/ 1573552 w 4519987"/>
              <a:gd name="connsiteY88" fmla="*/ 4305300 h 4496940"/>
              <a:gd name="connsiteX89" fmla="*/ 1402102 w 4519987"/>
              <a:gd name="connsiteY89" fmla="*/ 4276725 h 4496940"/>
              <a:gd name="connsiteX90" fmla="*/ 1287802 w 4519987"/>
              <a:gd name="connsiteY90" fmla="*/ 4229100 h 4496940"/>
              <a:gd name="connsiteX91" fmla="*/ 1221127 w 4519987"/>
              <a:gd name="connsiteY91" fmla="*/ 4200525 h 4496940"/>
              <a:gd name="connsiteX92" fmla="*/ 1144927 w 4519987"/>
              <a:gd name="connsiteY92" fmla="*/ 4171950 h 4496940"/>
              <a:gd name="connsiteX93" fmla="*/ 1087777 w 4519987"/>
              <a:gd name="connsiteY93" fmla="*/ 4143375 h 4496940"/>
              <a:gd name="connsiteX94" fmla="*/ 1030627 w 4519987"/>
              <a:gd name="connsiteY94" fmla="*/ 4124325 h 4496940"/>
              <a:gd name="connsiteX95" fmla="*/ 925852 w 4519987"/>
              <a:gd name="connsiteY95" fmla="*/ 4067175 h 4496940"/>
              <a:gd name="connsiteX96" fmla="*/ 830602 w 4519987"/>
              <a:gd name="connsiteY96" fmla="*/ 3981450 h 4496940"/>
              <a:gd name="connsiteX97" fmla="*/ 763927 w 4519987"/>
              <a:gd name="connsiteY97" fmla="*/ 3914775 h 4496940"/>
              <a:gd name="connsiteX98" fmla="*/ 725827 w 4519987"/>
              <a:gd name="connsiteY98" fmla="*/ 3876675 h 4496940"/>
              <a:gd name="connsiteX99" fmla="*/ 697252 w 4519987"/>
              <a:gd name="connsiteY99" fmla="*/ 3838575 h 4496940"/>
              <a:gd name="connsiteX100" fmla="*/ 640102 w 4519987"/>
              <a:gd name="connsiteY100" fmla="*/ 3781425 h 4496940"/>
              <a:gd name="connsiteX101" fmla="*/ 611527 w 4519987"/>
              <a:gd name="connsiteY101" fmla="*/ 3733800 h 4496940"/>
              <a:gd name="connsiteX102" fmla="*/ 554377 w 4519987"/>
              <a:gd name="connsiteY102" fmla="*/ 3657600 h 4496940"/>
              <a:gd name="connsiteX103" fmla="*/ 525802 w 4519987"/>
              <a:gd name="connsiteY103" fmla="*/ 3609975 h 4496940"/>
              <a:gd name="connsiteX104" fmla="*/ 497227 w 4519987"/>
              <a:gd name="connsiteY104" fmla="*/ 3552825 h 4496940"/>
              <a:gd name="connsiteX105" fmla="*/ 440077 w 4519987"/>
              <a:gd name="connsiteY105" fmla="*/ 3495675 h 4496940"/>
              <a:gd name="connsiteX106" fmla="*/ 411502 w 4519987"/>
              <a:gd name="connsiteY106" fmla="*/ 3448050 h 4496940"/>
              <a:gd name="connsiteX107" fmla="*/ 278152 w 4519987"/>
              <a:gd name="connsiteY107" fmla="*/ 3257550 h 4496940"/>
              <a:gd name="connsiteX108" fmla="*/ 249577 w 4519987"/>
              <a:gd name="connsiteY108" fmla="*/ 3200400 h 4496940"/>
              <a:gd name="connsiteX109" fmla="*/ 240052 w 4519987"/>
              <a:gd name="connsiteY109" fmla="*/ 3162300 h 4496940"/>
              <a:gd name="connsiteX110" fmla="*/ 221002 w 4519987"/>
              <a:gd name="connsiteY110" fmla="*/ 3105150 h 4496940"/>
              <a:gd name="connsiteX111" fmla="*/ 173377 w 4519987"/>
              <a:gd name="connsiteY111" fmla="*/ 3019425 h 4496940"/>
              <a:gd name="connsiteX112" fmla="*/ 144802 w 4519987"/>
              <a:gd name="connsiteY112" fmla="*/ 2924175 h 4496940"/>
              <a:gd name="connsiteX113" fmla="*/ 68602 w 4519987"/>
              <a:gd name="connsiteY113" fmla="*/ 2724150 h 4496940"/>
              <a:gd name="connsiteX114" fmla="*/ 49552 w 4519987"/>
              <a:gd name="connsiteY114" fmla="*/ 2638425 h 4496940"/>
              <a:gd name="connsiteX115" fmla="*/ 40027 w 4519987"/>
              <a:gd name="connsiteY115" fmla="*/ 2562225 h 4496940"/>
              <a:gd name="connsiteX116" fmla="*/ 30502 w 4519987"/>
              <a:gd name="connsiteY116" fmla="*/ 2514600 h 4496940"/>
              <a:gd name="connsiteX117" fmla="*/ 11452 w 4519987"/>
              <a:gd name="connsiteY117" fmla="*/ 2400300 h 4496940"/>
              <a:gd name="connsiteX118" fmla="*/ 20977 w 4519987"/>
              <a:gd name="connsiteY118" fmla="*/ 1905000 h 4496940"/>
              <a:gd name="connsiteX119" fmla="*/ 30502 w 4519987"/>
              <a:gd name="connsiteY119" fmla="*/ 1838325 h 4496940"/>
              <a:gd name="connsiteX120" fmla="*/ 49552 w 4519987"/>
              <a:gd name="connsiteY120" fmla="*/ 1781175 h 4496940"/>
              <a:gd name="connsiteX121" fmla="*/ 59077 w 4519987"/>
              <a:gd name="connsiteY121" fmla="*/ 1743075 h 4496940"/>
              <a:gd name="connsiteX122" fmla="*/ 78127 w 4519987"/>
              <a:gd name="connsiteY122" fmla="*/ 1685925 h 4496940"/>
              <a:gd name="connsiteX123" fmla="*/ 87652 w 4519987"/>
              <a:gd name="connsiteY123" fmla="*/ 1638300 h 4496940"/>
              <a:gd name="connsiteX124" fmla="*/ 106702 w 4519987"/>
              <a:gd name="connsiteY124" fmla="*/ 1590675 h 4496940"/>
              <a:gd name="connsiteX125" fmla="*/ 135277 w 4519987"/>
              <a:gd name="connsiteY125" fmla="*/ 1504950 h 4496940"/>
              <a:gd name="connsiteX126" fmla="*/ 154327 w 4519987"/>
              <a:gd name="connsiteY126" fmla="*/ 1419225 h 4496940"/>
              <a:gd name="connsiteX127" fmla="*/ 230527 w 4519987"/>
              <a:gd name="connsiteY127" fmla="*/ 1276350 h 4496940"/>
              <a:gd name="connsiteX128" fmla="*/ 240052 w 4519987"/>
              <a:gd name="connsiteY128" fmla="*/ 1247775 h 4496940"/>
              <a:gd name="connsiteX129" fmla="*/ 268627 w 4519987"/>
              <a:gd name="connsiteY129" fmla="*/ 1200150 h 4496940"/>
              <a:gd name="connsiteX130" fmla="*/ 287677 w 4519987"/>
              <a:gd name="connsiteY130" fmla="*/ 1152525 h 4496940"/>
              <a:gd name="connsiteX131" fmla="*/ 316252 w 4519987"/>
              <a:gd name="connsiteY131" fmla="*/ 1114425 h 4496940"/>
              <a:gd name="connsiteX132" fmla="*/ 363877 w 4519987"/>
              <a:gd name="connsiteY132" fmla="*/ 1038225 h 4496940"/>
              <a:gd name="connsiteX133" fmla="*/ 382927 w 4519987"/>
              <a:gd name="connsiteY133" fmla="*/ 1009650 h 4496940"/>
              <a:gd name="connsiteX134" fmla="*/ 440077 w 4519987"/>
              <a:gd name="connsiteY134" fmla="*/ 904875 h 4496940"/>
              <a:gd name="connsiteX135" fmla="*/ 478177 w 4519987"/>
              <a:gd name="connsiteY135" fmla="*/ 857250 h 4496940"/>
              <a:gd name="connsiteX136" fmla="*/ 497227 w 4519987"/>
              <a:gd name="connsiteY136" fmla="*/ 828675 h 4496940"/>
              <a:gd name="connsiteX137" fmla="*/ 535327 w 4519987"/>
              <a:gd name="connsiteY137" fmla="*/ 800100 h 4496940"/>
              <a:gd name="connsiteX138" fmla="*/ 602002 w 4519987"/>
              <a:gd name="connsiteY138" fmla="*/ 733425 h 4496940"/>
              <a:gd name="connsiteX139" fmla="*/ 668677 w 4519987"/>
              <a:gd name="connsiteY139" fmla="*/ 676275 h 4496940"/>
              <a:gd name="connsiteX140" fmla="*/ 697252 w 4519987"/>
              <a:gd name="connsiteY140" fmla="*/ 657225 h 4496940"/>
              <a:gd name="connsiteX141" fmla="*/ 840127 w 4519987"/>
              <a:gd name="connsiteY141" fmla="*/ 533400 h 4496940"/>
              <a:gd name="connsiteX142" fmla="*/ 887752 w 4519987"/>
              <a:gd name="connsiteY142" fmla="*/ 504825 h 4496940"/>
              <a:gd name="connsiteX143" fmla="*/ 1167152 w 4519987"/>
              <a:gd name="connsiteY143" fmla="*/ 311150 h 4496940"/>
              <a:gd name="connsiteX144" fmla="*/ 1268752 w 4519987"/>
              <a:gd name="connsiteY144" fmla="*/ 285750 h 4496940"/>
              <a:gd name="connsiteX145" fmla="*/ 1411627 w 4519987"/>
              <a:gd name="connsiteY145" fmla="*/ 190500 h 4496940"/>
              <a:gd name="connsiteX146" fmla="*/ 1449727 w 4519987"/>
              <a:gd name="connsiteY146" fmla="*/ 161925 h 4496940"/>
              <a:gd name="connsiteX147" fmla="*/ 1525927 w 4519987"/>
              <a:gd name="connsiteY147" fmla="*/ 152400 h 4496940"/>
              <a:gd name="connsiteX148" fmla="*/ 1583077 w 4519987"/>
              <a:gd name="connsiteY148" fmla="*/ 142875 h 4496940"/>
              <a:gd name="connsiteX149" fmla="*/ 1716427 w 4519987"/>
              <a:gd name="connsiteY149" fmla="*/ 123825 h 4496940"/>
              <a:gd name="connsiteX150" fmla="*/ 1811677 w 4519987"/>
              <a:gd name="connsiteY150" fmla="*/ 114300 h 4496940"/>
              <a:gd name="connsiteX151" fmla="*/ 1859302 w 4519987"/>
              <a:gd name="connsiteY151" fmla="*/ 104775 h 4496940"/>
              <a:gd name="connsiteX152" fmla="*/ 1916452 w 4519987"/>
              <a:gd name="connsiteY152" fmla="*/ 95250 h 4496940"/>
              <a:gd name="connsiteX153" fmla="*/ 2030752 w 4519987"/>
              <a:gd name="connsiteY153" fmla="*/ 66675 h 4496940"/>
              <a:gd name="connsiteX154" fmla="*/ 2097427 w 4519987"/>
              <a:gd name="connsiteY154" fmla="*/ 47625 h 4496940"/>
              <a:gd name="connsiteX155" fmla="*/ 2164102 w 4519987"/>
              <a:gd name="connsiteY155" fmla="*/ 38100 h 4496940"/>
              <a:gd name="connsiteX156" fmla="*/ 2392702 w 4519987"/>
              <a:gd name="connsiteY15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35777 w 4519987"/>
              <a:gd name="connsiteY29" fmla="*/ 933450 h 4496940"/>
              <a:gd name="connsiteX30" fmla="*/ 4164352 w 4519987"/>
              <a:gd name="connsiteY30" fmla="*/ 990600 h 4496940"/>
              <a:gd name="connsiteX31" fmla="*/ 4173877 w 4519987"/>
              <a:gd name="connsiteY31" fmla="*/ 1019175 h 4496940"/>
              <a:gd name="connsiteX32" fmla="*/ 4192927 w 4519987"/>
              <a:gd name="connsiteY32" fmla="*/ 1057275 h 4496940"/>
              <a:gd name="connsiteX33" fmla="*/ 4202452 w 4519987"/>
              <a:gd name="connsiteY33" fmla="*/ 1085850 h 4496940"/>
              <a:gd name="connsiteX34" fmla="*/ 4250077 w 4519987"/>
              <a:gd name="connsiteY34" fmla="*/ 1143000 h 4496940"/>
              <a:gd name="connsiteX35" fmla="*/ 4259602 w 4519987"/>
              <a:gd name="connsiteY35" fmla="*/ 1190625 h 4496940"/>
              <a:gd name="connsiteX36" fmla="*/ 4307227 w 4519987"/>
              <a:gd name="connsiteY36" fmla="*/ 1266825 h 4496940"/>
              <a:gd name="connsiteX37" fmla="*/ 4345327 w 4519987"/>
              <a:gd name="connsiteY37" fmla="*/ 1362075 h 4496940"/>
              <a:gd name="connsiteX38" fmla="*/ 4373902 w 4519987"/>
              <a:gd name="connsiteY38" fmla="*/ 1428750 h 4496940"/>
              <a:gd name="connsiteX39" fmla="*/ 4392952 w 4519987"/>
              <a:gd name="connsiteY39" fmla="*/ 1552575 h 4496940"/>
              <a:gd name="connsiteX40" fmla="*/ 4402477 w 4519987"/>
              <a:gd name="connsiteY40" fmla="*/ 1590675 h 4496940"/>
              <a:gd name="connsiteX41" fmla="*/ 4431052 w 4519987"/>
              <a:gd name="connsiteY41" fmla="*/ 1685925 h 4496940"/>
              <a:gd name="connsiteX42" fmla="*/ 4519952 w 4519987"/>
              <a:gd name="connsiteY42" fmla="*/ 2181225 h 4496940"/>
              <a:gd name="connsiteX43" fmla="*/ 4446927 w 4519987"/>
              <a:gd name="connsiteY43" fmla="*/ 2768600 h 4496940"/>
              <a:gd name="connsiteX44" fmla="*/ 4383427 w 4519987"/>
              <a:gd name="connsiteY44" fmla="*/ 2990850 h 4496940"/>
              <a:gd name="connsiteX45" fmla="*/ 4278652 w 4519987"/>
              <a:gd name="connsiteY45" fmla="*/ 3248025 h 4496940"/>
              <a:gd name="connsiteX46" fmla="*/ 4259602 w 4519987"/>
              <a:gd name="connsiteY46" fmla="*/ 3276600 h 4496940"/>
              <a:gd name="connsiteX47" fmla="*/ 4221502 w 4519987"/>
              <a:gd name="connsiteY47" fmla="*/ 3333750 h 4496940"/>
              <a:gd name="connsiteX48" fmla="*/ 4211977 w 4519987"/>
              <a:gd name="connsiteY48" fmla="*/ 3362325 h 4496940"/>
              <a:gd name="connsiteX49" fmla="*/ 4183402 w 4519987"/>
              <a:gd name="connsiteY49" fmla="*/ 3400425 h 4496940"/>
              <a:gd name="connsiteX50" fmla="*/ 4164352 w 4519987"/>
              <a:gd name="connsiteY50" fmla="*/ 3429000 h 4496940"/>
              <a:gd name="connsiteX51" fmla="*/ 4088152 w 4519987"/>
              <a:gd name="connsiteY51" fmla="*/ 3495675 h 4496940"/>
              <a:gd name="connsiteX52" fmla="*/ 4059577 w 4519987"/>
              <a:gd name="connsiteY52" fmla="*/ 3533775 h 4496940"/>
              <a:gd name="connsiteX53" fmla="*/ 4002427 w 4519987"/>
              <a:gd name="connsiteY53" fmla="*/ 3600450 h 4496940"/>
              <a:gd name="connsiteX54" fmla="*/ 3983377 w 4519987"/>
              <a:gd name="connsiteY54" fmla="*/ 3629025 h 4496940"/>
              <a:gd name="connsiteX55" fmla="*/ 3954802 w 4519987"/>
              <a:gd name="connsiteY55" fmla="*/ 3648075 h 4496940"/>
              <a:gd name="connsiteX56" fmla="*/ 3907177 w 4519987"/>
              <a:gd name="connsiteY56" fmla="*/ 3686175 h 4496940"/>
              <a:gd name="connsiteX57" fmla="*/ 3869077 w 4519987"/>
              <a:gd name="connsiteY57" fmla="*/ 3724275 h 4496940"/>
              <a:gd name="connsiteX58" fmla="*/ 3792877 w 4519987"/>
              <a:gd name="connsiteY58" fmla="*/ 3781425 h 4496940"/>
              <a:gd name="connsiteX59" fmla="*/ 3783352 w 4519987"/>
              <a:gd name="connsiteY59" fmla="*/ 3810000 h 4496940"/>
              <a:gd name="connsiteX60" fmla="*/ 3745252 w 4519987"/>
              <a:gd name="connsiteY60" fmla="*/ 3819525 h 4496940"/>
              <a:gd name="connsiteX61" fmla="*/ 3678577 w 4519987"/>
              <a:gd name="connsiteY61" fmla="*/ 3848100 h 4496940"/>
              <a:gd name="connsiteX62" fmla="*/ 3659527 w 4519987"/>
              <a:gd name="connsiteY62" fmla="*/ 3971925 h 4496940"/>
              <a:gd name="connsiteX63" fmla="*/ 3630952 w 4519987"/>
              <a:gd name="connsiteY63" fmla="*/ 4010025 h 4496940"/>
              <a:gd name="connsiteX64" fmla="*/ 3621427 w 4519987"/>
              <a:gd name="connsiteY64" fmla="*/ 4038600 h 4496940"/>
              <a:gd name="connsiteX65" fmla="*/ 3554752 w 4519987"/>
              <a:gd name="connsiteY65" fmla="*/ 4095750 h 4496940"/>
              <a:gd name="connsiteX66" fmla="*/ 3516652 w 4519987"/>
              <a:gd name="connsiteY66" fmla="*/ 4114800 h 4496940"/>
              <a:gd name="connsiteX67" fmla="*/ 3497602 w 4519987"/>
              <a:gd name="connsiteY67" fmla="*/ 4143375 h 4496940"/>
              <a:gd name="connsiteX68" fmla="*/ 3383302 w 4519987"/>
              <a:gd name="connsiteY68" fmla="*/ 4210050 h 4496940"/>
              <a:gd name="connsiteX69" fmla="*/ 3335677 w 4519987"/>
              <a:gd name="connsiteY69" fmla="*/ 4238625 h 4496940"/>
              <a:gd name="connsiteX70" fmla="*/ 3288052 w 4519987"/>
              <a:gd name="connsiteY70" fmla="*/ 4248150 h 4496940"/>
              <a:gd name="connsiteX71" fmla="*/ 3240427 w 4519987"/>
              <a:gd name="connsiteY71" fmla="*/ 4267200 h 4496940"/>
              <a:gd name="connsiteX72" fmla="*/ 3068977 w 4519987"/>
              <a:gd name="connsiteY72" fmla="*/ 4286250 h 4496940"/>
              <a:gd name="connsiteX73" fmla="*/ 2935627 w 4519987"/>
              <a:gd name="connsiteY73" fmla="*/ 4333875 h 4496940"/>
              <a:gd name="connsiteX74" fmla="*/ 2811802 w 4519987"/>
              <a:gd name="connsiteY74" fmla="*/ 4371975 h 4496940"/>
              <a:gd name="connsiteX75" fmla="*/ 2745127 w 4519987"/>
              <a:gd name="connsiteY75" fmla="*/ 4410075 h 4496940"/>
              <a:gd name="connsiteX76" fmla="*/ 2697502 w 4519987"/>
              <a:gd name="connsiteY76" fmla="*/ 4429125 h 4496940"/>
              <a:gd name="connsiteX77" fmla="*/ 2640352 w 4519987"/>
              <a:gd name="connsiteY77" fmla="*/ 4457700 h 4496940"/>
              <a:gd name="connsiteX78" fmla="*/ 2583202 w 4519987"/>
              <a:gd name="connsiteY78" fmla="*/ 4467225 h 4496940"/>
              <a:gd name="connsiteX79" fmla="*/ 2545102 w 4519987"/>
              <a:gd name="connsiteY79" fmla="*/ 4486275 h 4496940"/>
              <a:gd name="connsiteX80" fmla="*/ 2306977 w 4519987"/>
              <a:gd name="connsiteY80" fmla="*/ 4476750 h 4496940"/>
              <a:gd name="connsiteX81" fmla="*/ 2202202 w 4519987"/>
              <a:gd name="connsiteY81" fmla="*/ 4457700 h 4496940"/>
              <a:gd name="connsiteX82" fmla="*/ 2126002 w 4519987"/>
              <a:gd name="connsiteY82" fmla="*/ 4429125 h 4496940"/>
              <a:gd name="connsiteX83" fmla="*/ 1935502 w 4519987"/>
              <a:gd name="connsiteY83" fmla="*/ 4400550 h 4496940"/>
              <a:gd name="connsiteX84" fmla="*/ 1821202 w 4519987"/>
              <a:gd name="connsiteY84" fmla="*/ 4371975 h 4496940"/>
              <a:gd name="connsiteX85" fmla="*/ 1754527 w 4519987"/>
              <a:gd name="connsiteY85" fmla="*/ 4352925 h 4496940"/>
              <a:gd name="connsiteX86" fmla="*/ 1687852 w 4519987"/>
              <a:gd name="connsiteY86" fmla="*/ 4343400 h 4496940"/>
              <a:gd name="connsiteX87" fmla="*/ 1573552 w 4519987"/>
              <a:gd name="connsiteY87" fmla="*/ 4305300 h 4496940"/>
              <a:gd name="connsiteX88" fmla="*/ 1402102 w 4519987"/>
              <a:gd name="connsiteY88" fmla="*/ 4276725 h 4496940"/>
              <a:gd name="connsiteX89" fmla="*/ 1287802 w 4519987"/>
              <a:gd name="connsiteY89" fmla="*/ 4229100 h 4496940"/>
              <a:gd name="connsiteX90" fmla="*/ 1221127 w 4519987"/>
              <a:gd name="connsiteY90" fmla="*/ 4200525 h 4496940"/>
              <a:gd name="connsiteX91" fmla="*/ 1144927 w 4519987"/>
              <a:gd name="connsiteY91" fmla="*/ 4171950 h 4496940"/>
              <a:gd name="connsiteX92" fmla="*/ 1087777 w 4519987"/>
              <a:gd name="connsiteY92" fmla="*/ 4143375 h 4496940"/>
              <a:gd name="connsiteX93" fmla="*/ 1030627 w 4519987"/>
              <a:gd name="connsiteY93" fmla="*/ 4124325 h 4496940"/>
              <a:gd name="connsiteX94" fmla="*/ 925852 w 4519987"/>
              <a:gd name="connsiteY94" fmla="*/ 4067175 h 4496940"/>
              <a:gd name="connsiteX95" fmla="*/ 830602 w 4519987"/>
              <a:gd name="connsiteY95" fmla="*/ 3981450 h 4496940"/>
              <a:gd name="connsiteX96" fmla="*/ 763927 w 4519987"/>
              <a:gd name="connsiteY96" fmla="*/ 3914775 h 4496940"/>
              <a:gd name="connsiteX97" fmla="*/ 725827 w 4519987"/>
              <a:gd name="connsiteY97" fmla="*/ 3876675 h 4496940"/>
              <a:gd name="connsiteX98" fmla="*/ 697252 w 4519987"/>
              <a:gd name="connsiteY98" fmla="*/ 3838575 h 4496940"/>
              <a:gd name="connsiteX99" fmla="*/ 640102 w 4519987"/>
              <a:gd name="connsiteY99" fmla="*/ 3781425 h 4496940"/>
              <a:gd name="connsiteX100" fmla="*/ 611527 w 4519987"/>
              <a:gd name="connsiteY100" fmla="*/ 3733800 h 4496940"/>
              <a:gd name="connsiteX101" fmla="*/ 554377 w 4519987"/>
              <a:gd name="connsiteY101" fmla="*/ 3657600 h 4496940"/>
              <a:gd name="connsiteX102" fmla="*/ 525802 w 4519987"/>
              <a:gd name="connsiteY102" fmla="*/ 3609975 h 4496940"/>
              <a:gd name="connsiteX103" fmla="*/ 497227 w 4519987"/>
              <a:gd name="connsiteY103" fmla="*/ 3552825 h 4496940"/>
              <a:gd name="connsiteX104" fmla="*/ 440077 w 4519987"/>
              <a:gd name="connsiteY104" fmla="*/ 3495675 h 4496940"/>
              <a:gd name="connsiteX105" fmla="*/ 411502 w 4519987"/>
              <a:gd name="connsiteY105" fmla="*/ 3448050 h 4496940"/>
              <a:gd name="connsiteX106" fmla="*/ 278152 w 4519987"/>
              <a:gd name="connsiteY106" fmla="*/ 3257550 h 4496940"/>
              <a:gd name="connsiteX107" fmla="*/ 249577 w 4519987"/>
              <a:gd name="connsiteY107" fmla="*/ 3200400 h 4496940"/>
              <a:gd name="connsiteX108" fmla="*/ 240052 w 4519987"/>
              <a:gd name="connsiteY108" fmla="*/ 3162300 h 4496940"/>
              <a:gd name="connsiteX109" fmla="*/ 221002 w 4519987"/>
              <a:gd name="connsiteY109" fmla="*/ 3105150 h 4496940"/>
              <a:gd name="connsiteX110" fmla="*/ 173377 w 4519987"/>
              <a:gd name="connsiteY110" fmla="*/ 3019425 h 4496940"/>
              <a:gd name="connsiteX111" fmla="*/ 144802 w 4519987"/>
              <a:gd name="connsiteY111" fmla="*/ 2924175 h 4496940"/>
              <a:gd name="connsiteX112" fmla="*/ 68602 w 4519987"/>
              <a:gd name="connsiteY112" fmla="*/ 2724150 h 4496940"/>
              <a:gd name="connsiteX113" fmla="*/ 49552 w 4519987"/>
              <a:gd name="connsiteY113" fmla="*/ 2638425 h 4496940"/>
              <a:gd name="connsiteX114" fmla="*/ 40027 w 4519987"/>
              <a:gd name="connsiteY114" fmla="*/ 2562225 h 4496940"/>
              <a:gd name="connsiteX115" fmla="*/ 30502 w 4519987"/>
              <a:gd name="connsiteY115" fmla="*/ 2514600 h 4496940"/>
              <a:gd name="connsiteX116" fmla="*/ 11452 w 4519987"/>
              <a:gd name="connsiteY116" fmla="*/ 2400300 h 4496940"/>
              <a:gd name="connsiteX117" fmla="*/ 20977 w 4519987"/>
              <a:gd name="connsiteY117" fmla="*/ 1905000 h 4496940"/>
              <a:gd name="connsiteX118" fmla="*/ 30502 w 4519987"/>
              <a:gd name="connsiteY118" fmla="*/ 1838325 h 4496940"/>
              <a:gd name="connsiteX119" fmla="*/ 49552 w 4519987"/>
              <a:gd name="connsiteY119" fmla="*/ 1781175 h 4496940"/>
              <a:gd name="connsiteX120" fmla="*/ 59077 w 4519987"/>
              <a:gd name="connsiteY120" fmla="*/ 1743075 h 4496940"/>
              <a:gd name="connsiteX121" fmla="*/ 78127 w 4519987"/>
              <a:gd name="connsiteY121" fmla="*/ 1685925 h 4496940"/>
              <a:gd name="connsiteX122" fmla="*/ 87652 w 4519987"/>
              <a:gd name="connsiteY122" fmla="*/ 1638300 h 4496940"/>
              <a:gd name="connsiteX123" fmla="*/ 106702 w 4519987"/>
              <a:gd name="connsiteY123" fmla="*/ 1590675 h 4496940"/>
              <a:gd name="connsiteX124" fmla="*/ 135277 w 4519987"/>
              <a:gd name="connsiteY124" fmla="*/ 1504950 h 4496940"/>
              <a:gd name="connsiteX125" fmla="*/ 154327 w 4519987"/>
              <a:gd name="connsiteY125" fmla="*/ 1419225 h 4496940"/>
              <a:gd name="connsiteX126" fmla="*/ 230527 w 4519987"/>
              <a:gd name="connsiteY126" fmla="*/ 1276350 h 4496940"/>
              <a:gd name="connsiteX127" fmla="*/ 240052 w 4519987"/>
              <a:gd name="connsiteY127" fmla="*/ 1247775 h 4496940"/>
              <a:gd name="connsiteX128" fmla="*/ 268627 w 4519987"/>
              <a:gd name="connsiteY128" fmla="*/ 1200150 h 4496940"/>
              <a:gd name="connsiteX129" fmla="*/ 287677 w 4519987"/>
              <a:gd name="connsiteY129" fmla="*/ 1152525 h 4496940"/>
              <a:gd name="connsiteX130" fmla="*/ 316252 w 4519987"/>
              <a:gd name="connsiteY130" fmla="*/ 1114425 h 4496940"/>
              <a:gd name="connsiteX131" fmla="*/ 363877 w 4519987"/>
              <a:gd name="connsiteY131" fmla="*/ 1038225 h 4496940"/>
              <a:gd name="connsiteX132" fmla="*/ 382927 w 4519987"/>
              <a:gd name="connsiteY132" fmla="*/ 1009650 h 4496940"/>
              <a:gd name="connsiteX133" fmla="*/ 440077 w 4519987"/>
              <a:gd name="connsiteY133" fmla="*/ 904875 h 4496940"/>
              <a:gd name="connsiteX134" fmla="*/ 478177 w 4519987"/>
              <a:gd name="connsiteY134" fmla="*/ 857250 h 4496940"/>
              <a:gd name="connsiteX135" fmla="*/ 497227 w 4519987"/>
              <a:gd name="connsiteY135" fmla="*/ 828675 h 4496940"/>
              <a:gd name="connsiteX136" fmla="*/ 535327 w 4519987"/>
              <a:gd name="connsiteY136" fmla="*/ 800100 h 4496940"/>
              <a:gd name="connsiteX137" fmla="*/ 602002 w 4519987"/>
              <a:gd name="connsiteY137" fmla="*/ 733425 h 4496940"/>
              <a:gd name="connsiteX138" fmla="*/ 668677 w 4519987"/>
              <a:gd name="connsiteY138" fmla="*/ 676275 h 4496940"/>
              <a:gd name="connsiteX139" fmla="*/ 697252 w 4519987"/>
              <a:gd name="connsiteY139" fmla="*/ 657225 h 4496940"/>
              <a:gd name="connsiteX140" fmla="*/ 840127 w 4519987"/>
              <a:gd name="connsiteY140" fmla="*/ 533400 h 4496940"/>
              <a:gd name="connsiteX141" fmla="*/ 887752 w 4519987"/>
              <a:gd name="connsiteY141" fmla="*/ 504825 h 4496940"/>
              <a:gd name="connsiteX142" fmla="*/ 1167152 w 4519987"/>
              <a:gd name="connsiteY142" fmla="*/ 311150 h 4496940"/>
              <a:gd name="connsiteX143" fmla="*/ 1268752 w 4519987"/>
              <a:gd name="connsiteY143" fmla="*/ 285750 h 4496940"/>
              <a:gd name="connsiteX144" fmla="*/ 1411627 w 4519987"/>
              <a:gd name="connsiteY144" fmla="*/ 190500 h 4496940"/>
              <a:gd name="connsiteX145" fmla="*/ 1449727 w 4519987"/>
              <a:gd name="connsiteY145" fmla="*/ 161925 h 4496940"/>
              <a:gd name="connsiteX146" fmla="*/ 1525927 w 4519987"/>
              <a:gd name="connsiteY146" fmla="*/ 152400 h 4496940"/>
              <a:gd name="connsiteX147" fmla="*/ 1583077 w 4519987"/>
              <a:gd name="connsiteY147" fmla="*/ 142875 h 4496940"/>
              <a:gd name="connsiteX148" fmla="*/ 1716427 w 4519987"/>
              <a:gd name="connsiteY148" fmla="*/ 123825 h 4496940"/>
              <a:gd name="connsiteX149" fmla="*/ 1811677 w 4519987"/>
              <a:gd name="connsiteY149" fmla="*/ 114300 h 4496940"/>
              <a:gd name="connsiteX150" fmla="*/ 1859302 w 4519987"/>
              <a:gd name="connsiteY150" fmla="*/ 104775 h 4496940"/>
              <a:gd name="connsiteX151" fmla="*/ 1916452 w 4519987"/>
              <a:gd name="connsiteY151" fmla="*/ 95250 h 4496940"/>
              <a:gd name="connsiteX152" fmla="*/ 2030752 w 4519987"/>
              <a:gd name="connsiteY152" fmla="*/ 66675 h 4496940"/>
              <a:gd name="connsiteX153" fmla="*/ 2097427 w 4519987"/>
              <a:gd name="connsiteY153" fmla="*/ 47625 h 4496940"/>
              <a:gd name="connsiteX154" fmla="*/ 2164102 w 4519987"/>
              <a:gd name="connsiteY154" fmla="*/ 38100 h 4496940"/>
              <a:gd name="connsiteX155" fmla="*/ 2392702 w 4519987"/>
              <a:gd name="connsiteY15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907177 w 4519987"/>
              <a:gd name="connsiteY25" fmla="*/ 647700 h 4496940"/>
              <a:gd name="connsiteX26" fmla="*/ 3935752 w 4519987"/>
              <a:gd name="connsiteY26" fmla="*/ 676275 h 4496940"/>
              <a:gd name="connsiteX27" fmla="*/ 4078627 w 4519987"/>
              <a:gd name="connsiteY27" fmla="*/ 838200 h 4496940"/>
              <a:gd name="connsiteX28" fmla="*/ 4135777 w 4519987"/>
              <a:gd name="connsiteY28" fmla="*/ 933450 h 4496940"/>
              <a:gd name="connsiteX29" fmla="*/ 4164352 w 4519987"/>
              <a:gd name="connsiteY29" fmla="*/ 990600 h 4496940"/>
              <a:gd name="connsiteX30" fmla="*/ 4173877 w 4519987"/>
              <a:gd name="connsiteY30" fmla="*/ 1019175 h 4496940"/>
              <a:gd name="connsiteX31" fmla="*/ 4192927 w 4519987"/>
              <a:gd name="connsiteY31" fmla="*/ 1057275 h 4496940"/>
              <a:gd name="connsiteX32" fmla="*/ 4202452 w 4519987"/>
              <a:gd name="connsiteY32" fmla="*/ 1085850 h 4496940"/>
              <a:gd name="connsiteX33" fmla="*/ 4250077 w 4519987"/>
              <a:gd name="connsiteY33" fmla="*/ 1143000 h 4496940"/>
              <a:gd name="connsiteX34" fmla="*/ 4259602 w 4519987"/>
              <a:gd name="connsiteY34" fmla="*/ 1190625 h 4496940"/>
              <a:gd name="connsiteX35" fmla="*/ 4307227 w 4519987"/>
              <a:gd name="connsiteY35" fmla="*/ 1266825 h 4496940"/>
              <a:gd name="connsiteX36" fmla="*/ 4345327 w 4519987"/>
              <a:gd name="connsiteY36" fmla="*/ 1362075 h 4496940"/>
              <a:gd name="connsiteX37" fmla="*/ 4373902 w 4519987"/>
              <a:gd name="connsiteY37" fmla="*/ 1428750 h 4496940"/>
              <a:gd name="connsiteX38" fmla="*/ 4392952 w 4519987"/>
              <a:gd name="connsiteY38" fmla="*/ 1552575 h 4496940"/>
              <a:gd name="connsiteX39" fmla="*/ 4402477 w 4519987"/>
              <a:gd name="connsiteY39" fmla="*/ 1590675 h 4496940"/>
              <a:gd name="connsiteX40" fmla="*/ 4431052 w 4519987"/>
              <a:gd name="connsiteY40" fmla="*/ 1685925 h 4496940"/>
              <a:gd name="connsiteX41" fmla="*/ 4519952 w 4519987"/>
              <a:gd name="connsiteY41" fmla="*/ 2181225 h 4496940"/>
              <a:gd name="connsiteX42" fmla="*/ 4446927 w 4519987"/>
              <a:gd name="connsiteY42" fmla="*/ 2768600 h 4496940"/>
              <a:gd name="connsiteX43" fmla="*/ 4383427 w 4519987"/>
              <a:gd name="connsiteY43" fmla="*/ 2990850 h 4496940"/>
              <a:gd name="connsiteX44" fmla="*/ 4278652 w 4519987"/>
              <a:gd name="connsiteY44" fmla="*/ 3248025 h 4496940"/>
              <a:gd name="connsiteX45" fmla="*/ 4259602 w 4519987"/>
              <a:gd name="connsiteY45" fmla="*/ 3276600 h 4496940"/>
              <a:gd name="connsiteX46" fmla="*/ 4221502 w 4519987"/>
              <a:gd name="connsiteY46" fmla="*/ 3333750 h 4496940"/>
              <a:gd name="connsiteX47" fmla="*/ 4211977 w 4519987"/>
              <a:gd name="connsiteY47" fmla="*/ 3362325 h 4496940"/>
              <a:gd name="connsiteX48" fmla="*/ 4183402 w 4519987"/>
              <a:gd name="connsiteY48" fmla="*/ 3400425 h 4496940"/>
              <a:gd name="connsiteX49" fmla="*/ 4164352 w 4519987"/>
              <a:gd name="connsiteY49" fmla="*/ 3429000 h 4496940"/>
              <a:gd name="connsiteX50" fmla="*/ 4088152 w 4519987"/>
              <a:gd name="connsiteY50" fmla="*/ 3495675 h 4496940"/>
              <a:gd name="connsiteX51" fmla="*/ 4059577 w 4519987"/>
              <a:gd name="connsiteY51" fmla="*/ 3533775 h 4496940"/>
              <a:gd name="connsiteX52" fmla="*/ 4002427 w 4519987"/>
              <a:gd name="connsiteY52" fmla="*/ 3600450 h 4496940"/>
              <a:gd name="connsiteX53" fmla="*/ 3983377 w 4519987"/>
              <a:gd name="connsiteY53" fmla="*/ 3629025 h 4496940"/>
              <a:gd name="connsiteX54" fmla="*/ 3954802 w 4519987"/>
              <a:gd name="connsiteY54" fmla="*/ 3648075 h 4496940"/>
              <a:gd name="connsiteX55" fmla="*/ 3907177 w 4519987"/>
              <a:gd name="connsiteY55" fmla="*/ 3686175 h 4496940"/>
              <a:gd name="connsiteX56" fmla="*/ 3869077 w 4519987"/>
              <a:gd name="connsiteY56" fmla="*/ 3724275 h 4496940"/>
              <a:gd name="connsiteX57" fmla="*/ 3792877 w 4519987"/>
              <a:gd name="connsiteY57" fmla="*/ 3781425 h 4496940"/>
              <a:gd name="connsiteX58" fmla="*/ 3783352 w 4519987"/>
              <a:gd name="connsiteY58" fmla="*/ 3810000 h 4496940"/>
              <a:gd name="connsiteX59" fmla="*/ 3745252 w 4519987"/>
              <a:gd name="connsiteY59" fmla="*/ 3819525 h 4496940"/>
              <a:gd name="connsiteX60" fmla="*/ 3678577 w 4519987"/>
              <a:gd name="connsiteY60" fmla="*/ 3848100 h 4496940"/>
              <a:gd name="connsiteX61" fmla="*/ 3659527 w 4519987"/>
              <a:gd name="connsiteY61" fmla="*/ 3971925 h 4496940"/>
              <a:gd name="connsiteX62" fmla="*/ 3630952 w 4519987"/>
              <a:gd name="connsiteY62" fmla="*/ 4010025 h 4496940"/>
              <a:gd name="connsiteX63" fmla="*/ 3621427 w 4519987"/>
              <a:gd name="connsiteY63" fmla="*/ 4038600 h 4496940"/>
              <a:gd name="connsiteX64" fmla="*/ 3554752 w 4519987"/>
              <a:gd name="connsiteY64" fmla="*/ 4095750 h 4496940"/>
              <a:gd name="connsiteX65" fmla="*/ 3516652 w 4519987"/>
              <a:gd name="connsiteY65" fmla="*/ 4114800 h 4496940"/>
              <a:gd name="connsiteX66" fmla="*/ 3497602 w 4519987"/>
              <a:gd name="connsiteY66" fmla="*/ 4143375 h 4496940"/>
              <a:gd name="connsiteX67" fmla="*/ 3383302 w 4519987"/>
              <a:gd name="connsiteY67" fmla="*/ 4210050 h 4496940"/>
              <a:gd name="connsiteX68" fmla="*/ 3335677 w 4519987"/>
              <a:gd name="connsiteY68" fmla="*/ 4238625 h 4496940"/>
              <a:gd name="connsiteX69" fmla="*/ 3288052 w 4519987"/>
              <a:gd name="connsiteY69" fmla="*/ 4248150 h 4496940"/>
              <a:gd name="connsiteX70" fmla="*/ 3240427 w 4519987"/>
              <a:gd name="connsiteY70" fmla="*/ 4267200 h 4496940"/>
              <a:gd name="connsiteX71" fmla="*/ 3068977 w 4519987"/>
              <a:gd name="connsiteY71" fmla="*/ 4286250 h 4496940"/>
              <a:gd name="connsiteX72" fmla="*/ 2935627 w 4519987"/>
              <a:gd name="connsiteY72" fmla="*/ 4333875 h 4496940"/>
              <a:gd name="connsiteX73" fmla="*/ 2811802 w 4519987"/>
              <a:gd name="connsiteY73" fmla="*/ 4371975 h 4496940"/>
              <a:gd name="connsiteX74" fmla="*/ 2745127 w 4519987"/>
              <a:gd name="connsiteY74" fmla="*/ 4410075 h 4496940"/>
              <a:gd name="connsiteX75" fmla="*/ 2697502 w 4519987"/>
              <a:gd name="connsiteY75" fmla="*/ 4429125 h 4496940"/>
              <a:gd name="connsiteX76" fmla="*/ 2640352 w 4519987"/>
              <a:gd name="connsiteY76" fmla="*/ 4457700 h 4496940"/>
              <a:gd name="connsiteX77" fmla="*/ 2583202 w 4519987"/>
              <a:gd name="connsiteY77" fmla="*/ 4467225 h 4496940"/>
              <a:gd name="connsiteX78" fmla="*/ 2545102 w 4519987"/>
              <a:gd name="connsiteY78" fmla="*/ 4486275 h 4496940"/>
              <a:gd name="connsiteX79" fmla="*/ 2306977 w 4519987"/>
              <a:gd name="connsiteY79" fmla="*/ 4476750 h 4496940"/>
              <a:gd name="connsiteX80" fmla="*/ 2202202 w 4519987"/>
              <a:gd name="connsiteY80" fmla="*/ 4457700 h 4496940"/>
              <a:gd name="connsiteX81" fmla="*/ 2126002 w 4519987"/>
              <a:gd name="connsiteY81" fmla="*/ 4429125 h 4496940"/>
              <a:gd name="connsiteX82" fmla="*/ 1935502 w 4519987"/>
              <a:gd name="connsiteY82" fmla="*/ 4400550 h 4496940"/>
              <a:gd name="connsiteX83" fmla="*/ 1821202 w 4519987"/>
              <a:gd name="connsiteY83" fmla="*/ 4371975 h 4496940"/>
              <a:gd name="connsiteX84" fmla="*/ 1754527 w 4519987"/>
              <a:gd name="connsiteY84" fmla="*/ 4352925 h 4496940"/>
              <a:gd name="connsiteX85" fmla="*/ 1687852 w 4519987"/>
              <a:gd name="connsiteY85" fmla="*/ 4343400 h 4496940"/>
              <a:gd name="connsiteX86" fmla="*/ 1573552 w 4519987"/>
              <a:gd name="connsiteY86" fmla="*/ 4305300 h 4496940"/>
              <a:gd name="connsiteX87" fmla="*/ 1402102 w 4519987"/>
              <a:gd name="connsiteY87" fmla="*/ 4276725 h 4496940"/>
              <a:gd name="connsiteX88" fmla="*/ 1287802 w 4519987"/>
              <a:gd name="connsiteY88" fmla="*/ 4229100 h 4496940"/>
              <a:gd name="connsiteX89" fmla="*/ 1221127 w 4519987"/>
              <a:gd name="connsiteY89" fmla="*/ 4200525 h 4496940"/>
              <a:gd name="connsiteX90" fmla="*/ 1144927 w 4519987"/>
              <a:gd name="connsiteY90" fmla="*/ 4171950 h 4496940"/>
              <a:gd name="connsiteX91" fmla="*/ 1087777 w 4519987"/>
              <a:gd name="connsiteY91" fmla="*/ 4143375 h 4496940"/>
              <a:gd name="connsiteX92" fmla="*/ 1030627 w 4519987"/>
              <a:gd name="connsiteY92" fmla="*/ 4124325 h 4496940"/>
              <a:gd name="connsiteX93" fmla="*/ 925852 w 4519987"/>
              <a:gd name="connsiteY93" fmla="*/ 4067175 h 4496940"/>
              <a:gd name="connsiteX94" fmla="*/ 830602 w 4519987"/>
              <a:gd name="connsiteY94" fmla="*/ 3981450 h 4496940"/>
              <a:gd name="connsiteX95" fmla="*/ 763927 w 4519987"/>
              <a:gd name="connsiteY95" fmla="*/ 3914775 h 4496940"/>
              <a:gd name="connsiteX96" fmla="*/ 725827 w 4519987"/>
              <a:gd name="connsiteY96" fmla="*/ 3876675 h 4496940"/>
              <a:gd name="connsiteX97" fmla="*/ 697252 w 4519987"/>
              <a:gd name="connsiteY97" fmla="*/ 3838575 h 4496940"/>
              <a:gd name="connsiteX98" fmla="*/ 640102 w 4519987"/>
              <a:gd name="connsiteY98" fmla="*/ 3781425 h 4496940"/>
              <a:gd name="connsiteX99" fmla="*/ 611527 w 4519987"/>
              <a:gd name="connsiteY99" fmla="*/ 3733800 h 4496940"/>
              <a:gd name="connsiteX100" fmla="*/ 554377 w 4519987"/>
              <a:gd name="connsiteY100" fmla="*/ 3657600 h 4496940"/>
              <a:gd name="connsiteX101" fmla="*/ 525802 w 4519987"/>
              <a:gd name="connsiteY101" fmla="*/ 3609975 h 4496940"/>
              <a:gd name="connsiteX102" fmla="*/ 497227 w 4519987"/>
              <a:gd name="connsiteY102" fmla="*/ 3552825 h 4496940"/>
              <a:gd name="connsiteX103" fmla="*/ 440077 w 4519987"/>
              <a:gd name="connsiteY103" fmla="*/ 3495675 h 4496940"/>
              <a:gd name="connsiteX104" fmla="*/ 411502 w 4519987"/>
              <a:gd name="connsiteY104" fmla="*/ 3448050 h 4496940"/>
              <a:gd name="connsiteX105" fmla="*/ 278152 w 4519987"/>
              <a:gd name="connsiteY105" fmla="*/ 3257550 h 4496940"/>
              <a:gd name="connsiteX106" fmla="*/ 249577 w 4519987"/>
              <a:gd name="connsiteY106" fmla="*/ 3200400 h 4496940"/>
              <a:gd name="connsiteX107" fmla="*/ 240052 w 4519987"/>
              <a:gd name="connsiteY107" fmla="*/ 3162300 h 4496940"/>
              <a:gd name="connsiteX108" fmla="*/ 221002 w 4519987"/>
              <a:gd name="connsiteY108" fmla="*/ 3105150 h 4496940"/>
              <a:gd name="connsiteX109" fmla="*/ 173377 w 4519987"/>
              <a:gd name="connsiteY109" fmla="*/ 3019425 h 4496940"/>
              <a:gd name="connsiteX110" fmla="*/ 144802 w 4519987"/>
              <a:gd name="connsiteY110" fmla="*/ 2924175 h 4496940"/>
              <a:gd name="connsiteX111" fmla="*/ 68602 w 4519987"/>
              <a:gd name="connsiteY111" fmla="*/ 2724150 h 4496940"/>
              <a:gd name="connsiteX112" fmla="*/ 49552 w 4519987"/>
              <a:gd name="connsiteY112" fmla="*/ 2638425 h 4496940"/>
              <a:gd name="connsiteX113" fmla="*/ 40027 w 4519987"/>
              <a:gd name="connsiteY113" fmla="*/ 2562225 h 4496940"/>
              <a:gd name="connsiteX114" fmla="*/ 30502 w 4519987"/>
              <a:gd name="connsiteY114" fmla="*/ 2514600 h 4496940"/>
              <a:gd name="connsiteX115" fmla="*/ 11452 w 4519987"/>
              <a:gd name="connsiteY115" fmla="*/ 2400300 h 4496940"/>
              <a:gd name="connsiteX116" fmla="*/ 20977 w 4519987"/>
              <a:gd name="connsiteY116" fmla="*/ 1905000 h 4496940"/>
              <a:gd name="connsiteX117" fmla="*/ 30502 w 4519987"/>
              <a:gd name="connsiteY117" fmla="*/ 1838325 h 4496940"/>
              <a:gd name="connsiteX118" fmla="*/ 49552 w 4519987"/>
              <a:gd name="connsiteY118" fmla="*/ 1781175 h 4496940"/>
              <a:gd name="connsiteX119" fmla="*/ 59077 w 4519987"/>
              <a:gd name="connsiteY119" fmla="*/ 1743075 h 4496940"/>
              <a:gd name="connsiteX120" fmla="*/ 78127 w 4519987"/>
              <a:gd name="connsiteY120" fmla="*/ 1685925 h 4496940"/>
              <a:gd name="connsiteX121" fmla="*/ 87652 w 4519987"/>
              <a:gd name="connsiteY121" fmla="*/ 1638300 h 4496940"/>
              <a:gd name="connsiteX122" fmla="*/ 106702 w 4519987"/>
              <a:gd name="connsiteY122" fmla="*/ 1590675 h 4496940"/>
              <a:gd name="connsiteX123" fmla="*/ 135277 w 4519987"/>
              <a:gd name="connsiteY123" fmla="*/ 1504950 h 4496940"/>
              <a:gd name="connsiteX124" fmla="*/ 154327 w 4519987"/>
              <a:gd name="connsiteY124" fmla="*/ 1419225 h 4496940"/>
              <a:gd name="connsiteX125" fmla="*/ 230527 w 4519987"/>
              <a:gd name="connsiteY125" fmla="*/ 1276350 h 4496940"/>
              <a:gd name="connsiteX126" fmla="*/ 240052 w 4519987"/>
              <a:gd name="connsiteY126" fmla="*/ 1247775 h 4496940"/>
              <a:gd name="connsiteX127" fmla="*/ 268627 w 4519987"/>
              <a:gd name="connsiteY127" fmla="*/ 1200150 h 4496940"/>
              <a:gd name="connsiteX128" fmla="*/ 287677 w 4519987"/>
              <a:gd name="connsiteY128" fmla="*/ 1152525 h 4496940"/>
              <a:gd name="connsiteX129" fmla="*/ 316252 w 4519987"/>
              <a:gd name="connsiteY129" fmla="*/ 1114425 h 4496940"/>
              <a:gd name="connsiteX130" fmla="*/ 363877 w 4519987"/>
              <a:gd name="connsiteY130" fmla="*/ 1038225 h 4496940"/>
              <a:gd name="connsiteX131" fmla="*/ 382927 w 4519987"/>
              <a:gd name="connsiteY131" fmla="*/ 1009650 h 4496940"/>
              <a:gd name="connsiteX132" fmla="*/ 440077 w 4519987"/>
              <a:gd name="connsiteY132" fmla="*/ 904875 h 4496940"/>
              <a:gd name="connsiteX133" fmla="*/ 478177 w 4519987"/>
              <a:gd name="connsiteY133" fmla="*/ 857250 h 4496940"/>
              <a:gd name="connsiteX134" fmla="*/ 497227 w 4519987"/>
              <a:gd name="connsiteY134" fmla="*/ 828675 h 4496940"/>
              <a:gd name="connsiteX135" fmla="*/ 535327 w 4519987"/>
              <a:gd name="connsiteY135" fmla="*/ 800100 h 4496940"/>
              <a:gd name="connsiteX136" fmla="*/ 602002 w 4519987"/>
              <a:gd name="connsiteY136" fmla="*/ 733425 h 4496940"/>
              <a:gd name="connsiteX137" fmla="*/ 668677 w 4519987"/>
              <a:gd name="connsiteY137" fmla="*/ 676275 h 4496940"/>
              <a:gd name="connsiteX138" fmla="*/ 697252 w 4519987"/>
              <a:gd name="connsiteY138" fmla="*/ 657225 h 4496940"/>
              <a:gd name="connsiteX139" fmla="*/ 840127 w 4519987"/>
              <a:gd name="connsiteY139" fmla="*/ 533400 h 4496940"/>
              <a:gd name="connsiteX140" fmla="*/ 887752 w 4519987"/>
              <a:gd name="connsiteY140" fmla="*/ 504825 h 4496940"/>
              <a:gd name="connsiteX141" fmla="*/ 1167152 w 4519987"/>
              <a:gd name="connsiteY141" fmla="*/ 311150 h 4496940"/>
              <a:gd name="connsiteX142" fmla="*/ 1268752 w 4519987"/>
              <a:gd name="connsiteY142" fmla="*/ 285750 h 4496940"/>
              <a:gd name="connsiteX143" fmla="*/ 1411627 w 4519987"/>
              <a:gd name="connsiteY143" fmla="*/ 190500 h 4496940"/>
              <a:gd name="connsiteX144" fmla="*/ 1449727 w 4519987"/>
              <a:gd name="connsiteY144" fmla="*/ 161925 h 4496940"/>
              <a:gd name="connsiteX145" fmla="*/ 1525927 w 4519987"/>
              <a:gd name="connsiteY145" fmla="*/ 152400 h 4496940"/>
              <a:gd name="connsiteX146" fmla="*/ 1583077 w 4519987"/>
              <a:gd name="connsiteY146" fmla="*/ 142875 h 4496940"/>
              <a:gd name="connsiteX147" fmla="*/ 1716427 w 4519987"/>
              <a:gd name="connsiteY147" fmla="*/ 123825 h 4496940"/>
              <a:gd name="connsiteX148" fmla="*/ 1811677 w 4519987"/>
              <a:gd name="connsiteY148" fmla="*/ 114300 h 4496940"/>
              <a:gd name="connsiteX149" fmla="*/ 1859302 w 4519987"/>
              <a:gd name="connsiteY149" fmla="*/ 104775 h 4496940"/>
              <a:gd name="connsiteX150" fmla="*/ 1916452 w 4519987"/>
              <a:gd name="connsiteY150" fmla="*/ 95250 h 4496940"/>
              <a:gd name="connsiteX151" fmla="*/ 2030752 w 4519987"/>
              <a:gd name="connsiteY151" fmla="*/ 66675 h 4496940"/>
              <a:gd name="connsiteX152" fmla="*/ 2097427 w 4519987"/>
              <a:gd name="connsiteY152" fmla="*/ 47625 h 4496940"/>
              <a:gd name="connsiteX153" fmla="*/ 2164102 w 4519987"/>
              <a:gd name="connsiteY153" fmla="*/ 38100 h 4496940"/>
              <a:gd name="connsiteX154" fmla="*/ 2392702 w 4519987"/>
              <a:gd name="connsiteY15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907177 w 4519987"/>
              <a:gd name="connsiteY24" fmla="*/ 647700 h 4496940"/>
              <a:gd name="connsiteX25" fmla="*/ 3935752 w 4519987"/>
              <a:gd name="connsiteY25" fmla="*/ 676275 h 4496940"/>
              <a:gd name="connsiteX26" fmla="*/ 4078627 w 4519987"/>
              <a:gd name="connsiteY26" fmla="*/ 838200 h 4496940"/>
              <a:gd name="connsiteX27" fmla="*/ 4135777 w 4519987"/>
              <a:gd name="connsiteY27" fmla="*/ 933450 h 4496940"/>
              <a:gd name="connsiteX28" fmla="*/ 4164352 w 4519987"/>
              <a:gd name="connsiteY28" fmla="*/ 990600 h 4496940"/>
              <a:gd name="connsiteX29" fmla="*/ 4173877 w 4519987"/>
              <a:gd name="connsiteY29" fmla="*/ 1019175 h 4496940"/>
              <a:gd name="connsiteX30" fmla="*/ 4192927 w 4519987"/>
              <a:gd name="connsiteY30" fmla="*/ 1057275 h 4496940"/>
              <a:gd name="connsiteX31" fmla="*/ 4202452 w 4519987"/>
              <a:gd name="connsiteY31" fmla="*/ 1085850 h 4496940"/>
              <a:gd name="connsiteX32" fmla="*/ 4250077 w 4519987"/>
              <a:gd name="connsiteY32" fmla="*/ 1143000 h 4496940"/>
              <a:gd name="connsiteX33" fmla="*/ 4259602 w 4519987"/>
              <a:gd name="connsiteY33" fmla="*/ 1190625 h 4496940"/>
              <a:gd name="connsiteX34" fmla="*/ 4307227 w 4519987"/>
              <a:gd name="connsiteY34" fmla="*/ 1266825 h 4496940"/>
              <a:gd name="connsiteX35" fmla="*/ 4345327 w 4519987"/>
              <a:gd name="connsiteY35" fmla="*/ 1362075 h 4496940"/>
              <a:gd name="connsiteX36" fmla="*/ 4373902 w 4519987"/>
              <a:gd name="connsiteY36" fmla="*/ 1428750 h 4496940"/>
              <a:gd name="connsiteX37" fmla="*/ 4392952 w 4519987"/>
              <a:gd name="connsiteY37" fmla="*/ 1552575 h 4496940"/>
              <a:gd name="connsiteX38" fmla="*/ 4402477 w 4519987"/>
              <a:gd name="connsiteY38" fmla="*/ 1590675 h 4496940"/>
              <a:gd name="connsiteX39" fmla="*/ 4431052 w 4519987"/>
              <a:gd name="connsiteY39" fmla="*/ 1685925 h 4496940"/>
              <a:gd name="connsiteX40" fmla="*/ 4519952 w 4519987"/>
              <a:gd name="connsiteY40" fmla="*/ 2181225 h 4496940"/>
              <a:gd name="connsiteX41" fmla="*/ 4446927 w 4519987"/>
              <a:gd name="connsiteY41" fmla="*/ 2768600 h 4496940"/>
              <a:gd name="connsiteX42" fmla="*/ 4383427 w 4519987"/>
              <a:gd name="connsiteY42" fmla="*/ 2990850 h 4496940"/>
              <a:gd name="connsiteX43" fmla="*/ 4278652 w 4519987"/>
              <a:gd name="connsiteY43" fmla="*/ 3248025 h 4496940"/>
              <a:gd name="connsiteX44" fmla="*/ 4259602 w 4519987"/>
              <a:gd name="connsiteY44" fmla="*/ 3276600 h 4496940"/>
              <a:gd name="connsiteX45" fmla="*/ 4221502 w 4519987"/>
              <a:gd name="connsiteY45" fmla="*/ 3333750 h 4496940"/>
              <a:gd name="connsiteX46" fmla="*/ 4211977 w 4519987"/>
              <a:gd name="connsiteY46" fmla="*/ 3362325 h 4496940"/>
              <a:gd name="connsiteX47" fmla="*/ 4183402 w 4519987"/>
              <a:gd name="connsiteY47" fmla="*/ 3400425 h 4496940"/>
              <a:gd name="connsiteX48" fmla="*/ 4164352 w 4519987"/>
              <a:gd name="connsiteY48" fmla="*/ 3429000 h 4496940"/>
              <a:gd name="connsiteX49" fmla="*/ 4088152 w 4519987"/>
              <a:gd name="connsiteY49" fmla="*/ 3495675 h 4496940"/>
              <a:gd name="connsiteX50" fmla="*/ 4059577 w 4519987"/>
              <a:gd name="connsiteY50" fmla="*/ 3533775 h 4496940"/>
              <a:gd name="connsiteX51" fmla="*/ 4002427 w 4519987"/>
              <a:gd name="connsiteY51" fmla="*/ 3600450 h 4496940"/>
              <a:gd name="connsiteX52" fmla="*/ 3983377 w 4519987"/>
              <a:gd name="connsiteY52" fmla="*/ 3629025 h 4496940"/>
              <a:gd name="connsiteX53" fmla="*/ 3954802 w 4519987"/>
              <a:gd name="connsiteY53" fmla="*/ 3648075 h 4496940"/>
              <a:gd name="connsiteX54" fmla="*/ 3907177 w 4519987"/>
              <a:gd name="connsiteY54" fmla="*/ 3686175 h 4496940"/>
              <a:gd name="connsiteX55" fmla="*/ 3869077 w 4519987"/>
              <a:gd name="connsiteY55" fmla="*/ 3724275 h 4496940"/>
              <a:gd name="connsiteX56" fmla="*/ 3792877 w 4519987"/>
              <a:gd name="connsiteY56" fmla="*/ 3781425 h 4496940"/>
              <a:gd name="connsiteX57" fmla="*/ 3783352 w 4519987"/>
              <a:gd name="connsiteY57" fmla="*/ 3810000 h 4496940"/>
              <a:gd name="connsiteX58" fmla="*/ 3745252 w 4519987"/>
              <a:gd name="connsiteY58" fmla="*/ 3819525 h 4496940"/>
              <a:gd name="connsiteX59" fmla="*/ 3678577 w 4519987"/>
              <a:gd name="connsiteY59" fmla="*/ 3848100 h 4496940"/>
              <a:gd name="connsiteX60" fmla="*/ 3659527 w 4519987"/>
              <a:gd name="connsiteY60" fmla="*/ 3971925 h 4496940"/>
              <a:gd name="connsiteX61" fmla="*/ 3630952 w 4519987"/>
              <a:gd name="connsiteY61" fmla="*/ 4010025 h 4496940"/>
              <a:gd name="connsiteX62" fmla="*/ 3621427 w 4519987"/>
              <a:gd name="connsiteY62" fmla="*/ 4038600 h 4496940"/>
              <a:gd name="connsiteX63" fmla="*/ 3554752 w 4519987"/>
              <a:gd name="connsiteY63" fmla="*/ 4095750 h 4496940"/>
              <a:gd name="connsiteX64" fmla="*/ 3516652 w 4519987"/>
              <a:gd name="connsiteY64" fmla="*/ 4114800 h 4496940"/>
              <a:gd name="connsiteX65" fmla="*/ 3497602 w 4519987"/>
              <a:gd name="connsiteY65" fmla="*/ 4143375 h 4496940"/>
              <a:gd name="connsiteX66" fmla="*/ 3383302 w 4519987"/>
              <a:gd name="connsiteY66" fmla="*/ 4210050 h 4496940"/>
              <a:gd name="connsiteX67" fmla="*/ 3335677 w 4519987"/>
              <a:gd name="connsiteY67" fmla="*/ 4238625 h 4496940"/>
              <a:gd name="connsiteX68" fmla="*/ 3288052 w 4519987"/>
              <a:gd name="connsiteY68" fmla="*/ 4248150 h 4496940"/>
              <a:gd name="connsiteX69" fmla="*/ 3240427 w 4519987"/>
              <a:gd name="connsiteY69" fmla="*/ 4267200 h 4496940"/>
              <a:gd name="connsiteX70" fmla="*/ 3068977 w 4519987"/>
              <a:gd name="connsiteY70" fmla="*/ 4286250 h 4496940"/>
              <a:gd name="connsiteX71" fmla="*/ 2935627 w 4519987"/>
              <a:gd name="connsiteY71" fmla="*/ 4333875 h 4496940"/>
              <a:gd name="connsiteX72" fmla="*/ 2811802 w 4519987"/>
              <a:gd name="connsiteY72" fmla="*/ 4371975 h 4496940"/>
              <a:gd name="connsiteX73" fmla="*/ 2745127 w 4519987"/>
              <a:gd name="connsiteY73" fmla="*/ 4410075 h 4496940"/>
              <a:gd name="connsiteX74" fmla="*/ 2697502 w 4519987"/>
              <a:gd name="connsiteY74" fmla="*/ 4429125 h 4496940"/>
              <a:gd name="connsiteX75" fmla="*/ 2640352 w 4519987"/>
              <a:gd name="connsiteY75" fmla="*/ 4457700 h 4496940"/>
              <a:gd name="connsiteX76" fmla="*/ 2583202 w 4519987"/>
              <a:gd name="connsiteY76" fmla="*/ 4467225 h 4496940"/>
              <a:gd name="connsiteX77" fmla="*/ 2545102 w 4519987"/>
              <a:gd name="connsiteY77" fmla="*/ 4486275 h 4496940"/>
              <a:gd name="connsiteX78" fmla="*/ 2306977 w 4519987"/>
              <a:gd name="connsiteY78" fmla="*/ 4476750 h 4496940"/>
              <a:gd name="connsiteX79" fmla="*/ 2202202 w 4519987"/>
              <a:gd name="connsiteY79" fmla="*/ 4457700 h 4496940"/>
              <a:gd name="connsiteX80" fmla="*/ 2126002 w 4519987"/>
              <a:gd name="connsiteY80" fmla="*/ 4429125 h 4496940"/>
              <a:gd name="connsiteX81" fmla="*/ 1935502 w 4519987"/>
              <a:gd name="connsiteY81" fmla="*/ 4400550 h 4496940"/>
              <a:gd name="connsiteX82" fmla="*/ 1821202 w 4519987"/>
              <a:gd name="connsiteY82" fmla="*/ 4371975 h 4496940"/>
              <a:gd name="connsiteX83" fmla="*/ 1754527 w 4519987"/>
              <a:gd name="connsiteY83" fmla="*/ 4352925 h 4496940"/>
              <a:gd name="connsiteX84" fmla="*/ 1687852 w 4519987"/>
              <a:gd name="connsiteY84" fmla="*/ 4343400 h 4496940"/>
              <a:gd name="connsiteX85" fmla="*/ 1573552 w 4519987"/>
              <a:gd name="connsiteY85" fmla="*/ 4305300 h 4496940"/>
              <a:gd name="connsiteX86" fmla="*/ 1402102 w 4519987"/>
              <a:gd name="connsiteY86" fmla="*/ 4276725 h 4496940"/>
              <a:gd name="connsiteX87" fmla="*/ 1287802 w 4519987"/>
              <a:gd name="connsiteY87" fmla="*/ 4229100 h 4496940"/>
              <a:gd name="connsiteX88" fmla="*/ 1221127 w 4519987"/>
              <a:gd name="connsiteY88" fmla="*/ 4200525 h 4496940"/>
              <a:gd name="connsiteX89" fmla="*/ 1144927 w 4519987"/>
              <a:gd name="connsiteY89" fmla="*/ 4171950 h 4496940"/>
              <a:gd name="connsiteX90" fmla="*/ 1087777 w 4519987"/>
              <a:gd name="connsiteY90" fmla="*/ 4143375 h 4496940"/>
              <a:gd name="connsiteX91" fmla="*/ 1030627 w 4519987"/>
              <a:gd name="connsiteY91" fmla="*/ 4124325 h 4496940"/>
              <a:gd name="connsiteX92" fmla="*/ 925852 w 4519987"/>
              <a:gd name="connsiteY92" fmla="*/ 4067175 h 4496940"/>
              <a:gd name="connsiteX93" fmla="*/ 830602 w 4519987"/>
              <a:gd name="connsiteY93" fmla="*/ 3981450 h 4496940"/>
              <a:gd name="connsiteX94" fmla="*/ 763927 w 4519987"/>
              <a:gd name="connsiteY94" fmla="*/ 3914775 h 4496940"/>
              <a:gd name="connsiteX95" fmla="*/ 725827 w 4519987"/>
              <a:gd name="connsiteY95" fmla="*/ 3876675 h 4496940"/>
              <a:gd name="connsiteX96" fmla="*/ 697252 w 4519987"/>
              <a:gd name="connsiteY96" fmla="*/ 3838575 h 4496940"/>
              <a:gd name="connsiteX97" fmla="*/ 640102 w 4519987"/>
              <a:gd name="connsiteY97" fmla="*/ 3781425 h 4496940"/>
              <a:gd name="connsiteX98" fmla="*/ 611527 w 4519987"/>
              <a:gd name="connsiteY98" fmla="*/ 3733800 h 4496940"/>
              <a:gd name="connsiteX99" fmla="*/ 554377 w 4519987"/>
              <a:gd name="connsiteY99" fmla="*/ 3657600 h 4496940"/>
              <a:gd name="connsiteX100" fmla="*/ 525802 w 4519987"/>
              <a:gd name="connsiteY100" fmla="*/ 3609975 h 4496940"/>
              <a:gd name="connsiteX101" fmla="*/ 497227 w 4519987"/>
              <a:gd name="connsiteY101" fmla="*/ 3552825 h 4496940"/>
              <a:gd name="connsiteX102" fmla="*/ 440077 w 4519987"/>
              <a:gd name="connsiteY102" fmla="*/ 3495675 h 4496940"/>
              <a:gd name="connsiteX103" fmla="*/ 411502 w 4519987"/>
              <a:gd name="connsiteY103" fmla="*/ 3448050 h 4496940"/>
              <a:gd name="connsiteX104" fmla="*/ 278152 w 4519987"/>
              <a:gd name="connsiteY104" fmla="*/ 3257550 h 4496940"/>
              <a:gd name="connsiteX105" fmla="*/ 249577 w 4519987"/>
              <a:gd name="connsiteY105" fmla="*/ 3200400 h 4496940"/>
              <a:gd name="connsiteX106" fmla="*/ 240052 w 4519987"/>
              <a:gd name="connsiteY106" fmla="*/ 3162300 h 4496940"/>
              <a:gd name="connsiteX107" fmla="*/ 221002 w 4519987"/>
              <a:gd name="connsiteY107" fmla="*/ 3105150 h 4496940"/>
              <a:gd name="connsiteX108" fmla="*/ 173377 w 4519987"/>
              <a:gd name="connsiteY108" fmla="*/ 3019425 h 4496940"/>
              <a:gd name="connsiteX109" fmla="*/ 144802 w 4519987"/>
              <a:gd name="connsiteY109" fmla="*/ 2924175 h 4496940"/>
              <a:gd name="connsiteX110" fmla="*/ 68602 w 4519987"/>
              <a:gd name="connsiteY110" fmla="*/ 2724150 h 4496940"/>
              <a:gd name="connsiteX111" fmla="*/ 49552 w 4519987"/>
              <a:gd name="connsiteY111" fmla="*/ 2638425 h 4496940"/>
              <a:gd name="connsiteX112" fmla="*/ 40027 w 4519987"/>
              <a:gd name="connsiteY112" fmla="*/ 2562225 h 4496940"/>
              <a:gd name="connsiteX113" fmla="*/ 30502 w 4519987"/>
              <a:gd name="connsiteY113" fmla="*/ 2514600 h 4496940"/>
              <a:gd name="connsiteX114" fmla="*/ 11452 w 4519987"/>
              <a:gd name="connsiteY114" fmla="*/ 2400300 h 4496940"/>
              <a:gd name="connsiteX115" fmla="*/ 20977 w 4519987"/>
              <a:gd name="connsiteY115" fmla="*/ 1905000 h 4496940"/>
              <a:gd name="connsiteX116" fmla="*/ 30502 w 4519987"/>
              <a:gd name="connsiteY116" fmla="*/ 1838325 h 4496940"/>
              <a:gd name="connsiteX117" fmla="*/ 49552 w 4519987"/>
              <a:gd name="connsiteY117" fmla="*/ 1781175 h 4496940"/>
              <a:gd name="connsiteX118" fmla="*/ 59077 w 4519987"/>
              <a:gd name="connsiteY118" fmla="*/ 1743075 h 4496940"/>
              <a:gd name="connsiteX119" fmla="*/ 78127 w 4519987"/>
              <a:gd name="connsiteY119" fmla="*/ 1685925 h 4496940"/>
              <a:gd name="connsiteX120" fmla="*/ 87652 w 4519987"/>
              <a:gd name="connsiteY120" fmla="*/ 1638300 h 4496940"/>
              <a:gd name="connsiteX121" fmla="*/ 106702 w 4519987"/>
              <a:gd name="connsiteY121" fmla="*/ 1590675 h 4496940"/>
              <a:gd name="connsiteX122" fmla="*/ 135277 w 4519987"/>
              <a:gd name="connsiteY122" fmla="*/ 1504950 h 4496940"/>
              <a:gd name="connsiteX123" fmla="*/ 154327 w 4519987"/>
              <a:gd name="connsiteY123" fmla="*/ 1419225 h 4496940"/>
              <a:gd name="connsiteX124" fmla="*/ 230527 w 4519987"/>
              <a:gd name="connsiteY124" fmla="*/ 1276350 h 4496940"/>
              <a:gd name="connsiteX125" fmla="*/ 240052 w 4519987"/>
              <a:gd name="connsiteY125" fmla="*/ 1247775 h 4496940"/>
              <a:gd name="connsiteX126" fmla="*/ 268627 w 4519987"/>
              <a:gd name="connsiteY126" fmla="*/ 1200150 h 4496940"/>
              <a:gd name="connsiteX127" fmla="*/ 287677 w 4519987"/>
              <a:gd name="connsiteY127" fmla="*/ 1152525 h 4496940"/>
              <a:gd name="connsiteX128" fmla="*/ 316252 w 4519987"/>
              <a:gd name="connsiteY128" fmla="*/ 1114425 h 4496940"/>
              <a:gd name="connsiteX129" fmla="*/ 363877 w 4519987"/>
              <a:gd name="connsiteY129" fmla="*/ 1038225 h 4496940"/>
              <a:gd name="connsiteX130" fmla="*/ 382927 w 4519987"/>
              <a:gd name="connsiteY130" fmla="*/ 1009650 h 4496940"/>
              <a:gd name="connsiteX131" fmla="*/ 440077 w 4519987"/>
              <a:gd name="connsiteY131" fmla="*/ 904875 h 4496940"/>
              <a:gd name="connsiteX132" fmla="*/ 478177 w 4519987"/>
              <a:gd name="connsiteY132" fmla="*/ 857250 h 4496940"/>
              <a:gd name="connsiteX133" fmla="*/ 497227 w 4519987"/>
              <a:gd name="connsiteY133" fmla="*/ 828675 h 4496940"/>
              <a:gd name="connsiteX134" fmla="*/ 535327 w 4519987"/>
              <a:gd name="connsiteY134" fmla="*/ 800100 h 4496940"/>
              <a:gd name="connsiteX135" fmla="*/ 602002 w 4519987"/>
              <a:gd name="connsiteY135" fmla="*/ 733425 h 4496940"/>
              <a:gd name="connsiteX136" fmla="*/ 668677 w 4519987"/>
              <a:gd name="connsiteY136" fmla="*/ 676275 h 4496940"/>
              <a:gd name="connsiteX137" fmla="*/ 697252 w 4519987"/>
              <a:gd name="connsiteY137" fmla="*/ 657225 h 4496940"/>
              <a:gd name="connsiteX138" fmla="*/ 840127 w 4519987"/>
              <a:gd name="connsiteY138" fmla="*/ 533400 h 4496940"/>
              <a:gd name="connsiteX139" fmla="*/ 887752 w 4519987"/>
              <a:gd name="connsiteY139" fmla="*/ 504825 h 4496940"/>
              <a:gd name="connsiteX140" fmla="*/ 1167152 w 4519987"/>
              <a:gd name="connsiteY140" fmla="*/ 311150 h 4496940"/>
              <a:gd name="connsiteX141" fmla="*/ 1268752 w 4519987"/>
              <a:gd name="connsiteY141" fmla="*/ 285750 h 4496940"/>
              <a:gd name="connsiteX142" fmla="*/ 1411627 w 4519987"/>
              <a:gd name="connsiteY142" fmla="*/ 190500 h 4496940"/>
              <a:gd name="connsiteX143" fmla="*/ 1449727 w 4519987"/>
              <a:gd name="connsiteY143" fmla="*/ 161925 h 4496940"/>
              <a:gd name="connsiteX144" fmla="*/ 1525927 w 4519987"/>
              <a:gd name="connsiteY144" fmla="*/ 152400 h 4496940"/>
              <a:gd name="connsiteX145" fmla="*/ 1583077 w 4519987"/>
              <a:gd name="connsiteY145" fmla="*/ 142875 h 4496940"/>
              <a:gd name="connsiteX146" fmla="*/ 1716427 w 4519987"/>
              <a:gd name="connsiteY146" fmla="*/ 123825 h 4496940"/>
              <a:gd name="connsiteX147" fmla="*/ 1811677 w 4519987"/>
              <a:gd name="connsiteY147" fmla="*/ 114300 h 4496940"/>
              <a:gd name="connsiteX148" fmla="*/ 1859302 w 4519987"/>
              <a:gd name="connsiteY148" fmla="*/ 104775 h 4496940"/>
              <a:gd name="connsiteX149" fmla="*/ 1916452 w 4519987"/>
              <a:gd name="connsiteY149" fmla="*/ 95250 h 4496940"/>
              <a:gd name="connsiteX150" fmla="*/ 2030752 w 4519987"/>
              <a:gd name="connsiteY150" fmla="*/ 66675 h 4496940"/>
              <a:gd name="connsiteX151" fmla="*/ 2097427 w 4519987"/>
              <a:gd name="connsiteY151" fmla="*/ 47625 h 4496940"/>
              <a:gd name="connsiteX152" fmla="*/ 2164102 w 4519987"/>
              <a:gd name="connsiteY152" fmla="*/ 38100 h 4496940"/>
              <a:gd name="connsiteX153" fmla="*/ 2392702 w 4519987"/>
              <a:gd name="connsiteY15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02377 w 4519987"/>
              <a:gd name="connsiteY18" fmla="*/ 457200 h 4496940"/>
              <a:gd name="connsiteX19" fmla="*/ 3630952 w 4519987"/>
              <a:gd name="connsiteY19" fmla="*/ 485775 h 4496940"/>
              <a:gd name="connsiteX20" fmla="*/ 3678577 w 4519987"/>
              <a:gd name="connsiteY20" fmla="*/ 504825 h 4496940"/>
              <a:gd name="connsiteX21" fmla="*/ 3745252 w 4519987"/>
              <a:gd name="connsiteY21" fmla="*/ 542925 h 4496940"/>
              <a:gd name="connsiteX22" fmla="*/ 3811927 w 4519987"/>
              <a:gd name="connsiteY22" fmla="*/ 581025 h 4496940"/>
              <a:gd name="connsiteX23" fmla="*/ 3907177 w 4519987"/>
              <a:gd name="connsiteY23" fmla="*/ 647700 h 4496940"/>
              <a:gd name="connsiteX24" fmla="*/ 3935752 w 4519987"/>
              <a:gd name="connsiteY24" fmla="*/ 676275 h 4496940"/>
              <a:gd name="connsiteX25" fmla="*/ 4078627 w 4519987"/>
              <a:gd name="connsiteY25" fmla="*/ 838200 h 4496940"/>
              <a:gd name="connsiteX26" fmla="*/ 4135777 w 4519987"/>
              <a:gd name="connsiteY26" fmla="*/ 933450 h 4496940"/>
              <a:gd name="connsiteX27" fmla="*/ 4164352 w 4519987"/>
              <a:gd name="connsiteY27" fmla="*/ 990600 h 4496940"/>
              <a:gd name="connsiteX28" fmla="*/ 4173877 w 4519987"/>
              <a:gd name="connsiteY28" fmla="*/ 1019175 h 4496940"/>
              <a:gd name="connsiteX29" fmla="*/ 4192927 w 4519987"/>
              <a:gd name="connsiteY29" fmla="*/ 1057275 h 4496940"/>
              <a:gd name="connsiteX30" fmla="*/ 4202452 w 4519987"/>
              <a:gd name="connsiteY30" fmla="*/ 1085850 h 4496940"/>
              <a:gd name="connsiteX31" fmla="*/ 4250077 w 4519987"/>
              <a:gd name="connsiteY31" fmla="*/ 1143000 h 4496940"/>
              <a:gd name="connsiteX32" fmla="*/ 4259602 w 4519987"/>
              <a:gd name="connsiteY32" fmla="*/ 1190625 h 4496940"/>
              <a:gd name="connsiteX33" fmla="*/ 4307227 w 4519987"/>
              <a:gd name="connsiteY33" fmla="*/ 1266825 h 4496940"/>
              <a:gd name="connsiteX34" fmla="*/ 4345327 w 4519987"/>
              <a:gd name="connsiteY34" fmla="*/ 1362075 h 4496940"/>
              <a:gd name="connsiteX35" fmla="*/ 4373902 w 4519987"/>
              <a:gd name="connsiteY35" fmla="*/ 1428750 h 4496940"/>
              <a:gd name="connsiteX36" fmla="*/ 4392952 w 4519987"/>
              <a:gd name="connsiteY36" fmla="*/ 1552575 h 4496940"/>
              <a:gd name="connsiteX37" fmla="*/ 4402477 w 4519987"/>
              <a:gd name="connsiteY37" fmla="*/ 1590675 h 4496940"/>
              <a:gd name="connsiteX38" fmla="*/ 4431052 w 4519987"/>
              <a:gd name="connsiteY38" fmla="*/ 1685925 h 4496940"/>
              <a:gd name="connsiteX39" fmla="*/ 4519952 w 4519987"/>
              <a:gd name="connsiteY39" fmla="*/ 2181225 h 4496940"/>
              <a:gd name="connsiteX40" fmla="*/ 4446927 w 4519987"/>
              <a:gd name="connsiteY40" fmla="*/ 2768600 h 4496940"/>
              <a:gd name="connsiteX41" fmla="*/ 4383427 w 4519987"/>
              <a:gd name="connsiteY41" fmla="*/ 2990850 h 4496940"/>
              <a:gd name="connsiteX42" fmla="*/ 4278652 w 4519987"/>
              <a:gd name="connsiteY42" fmla="*/ 3248025 h 4496940"/>
              <a:gd name="connsiteX43" fmla="*/ 4259602 w 4519987"/>
              <a:gd name="connsiteY43" fmla="*/ 3276600 h 4496940"/>
              <a:gd name="connsiteX44" fmla="*/ 4221502 w 4519987"/>
              <a:gd name="connsiteY44" fmla="*/ 3333750 h 4496940"/>
              <a:gd name="connsiteX45" fmla="*/ 4211977 w 4519987"/>
              <a:gd name="connsiteY45" fmla="*/ 3362325 h 4496940"/>
              <a:gd name="connsiteX46" fmla="*/ 4183402 w 4519987"/>
              <a:gd name="connsiteY46" fmla="*/ 3400425 h 4496940"/>
              <a:gd name="connsiteX47" fmla="*/ 4164352 w 4519987"/>
              <a:gd name="connsiteY47" fmla="*/ 3429000 h 4496940"/>
              <a:gd name="connsiteX48" fmla="*/ 4088152 w 4519987"/>
              <a:gd name="connsiteY48" fmla="*/ 3495675 h 4496940"/>
              <a:gd name="connsiteX49" fmla="*/ 4059577 w 4519987"/>
              <a:gd name="connsiteY49" fmla="*/ 3533775 h 4496940"/>
              <a:gd name="connsiteX50" fmla="*/ 4002427 w 4519987"/>
              <a:gd name="connsiteY50" fmla="*/ 3600450 h 4496940"/>
              <a:gd name="connsiteX51" fmla="*/ 3983377 w 4519987"/>
              <a:gd name="connsiteY51" fmla="*/ 3629025 h 4496940"/>
              <a:gd name="connsiteX52" fmla="*/ 3954802 w 4519987"/>
              <a:gd name="connsiteY52" fmla="*/ 3648075 h 4496940"/>
              <a:gd name="connsiteX53" fmla="*/ 3907177 w 4519987"/>
              <a:gd name="connsiteY53" fmla="*/ 3686175 h 4496940"/>
              <a:gd name="connsiteX54" fmla="*/ 3869077 w 4519987"/>
              <a:gd name="connsiteY54" fmla="*/ 3724275 h 4496940"/>
              <a:gd name="connsiteX55" fmla="*/ 3792877 w 4519987"/>
              <a:gd name="connsiteY55" fmla="*/ 3781425 h 4496940"/>
              <a:gd name="connsiteX56" fmla="*/ 3783352 w 4519987"/>
              <a:gd name="connsiteY56" fmla="*/ 3810000 h 4496940"/>
              <a:gd name="connsiteX57" fmla="*/ 3745252 w 4519987"/>
              <a:gd name="connsiteY57" fmla="*/ 3819525 h 4496940"/>
              <a:gd name="connsiteX58" fmla="*/ 3678577 w 4519987"/>
              <a:gd name="connsiteY58" fmla="*/ 3848100 h 4496940"/>
              <a:gd name="connsiteX59" fmla="*/ 3659527 w 4519987"/>
              <a:gd name="connsiteY59" fmla="*/ 3971925 h 4496940"/>
              <a:gd name="connsiteX60" fmla="*/ 3630952 w 4519987"/>
              <a:gd name="connsiteY60" fmla="*/ 4010025 h 4496940"/>
              <a:gd name="connsiteX61" fmla="*/ 3621427 w 4519987"/>
              <a:gd name="connsiteY61" fmla="*/ 4038600 h 4496940"/>
              <a:gd name="connsiteX62" fmla="*/ 3554752 w 4519987"/>
              <a:gd name="connsiteY62" fmla="*/ 4095750 h 4496940"/>
              <a:gd name="connsiteX63" fmla="*/ 3516652 w 4519987"/>
              <a:gd name="connsiteY63" fmla="*/ 4114800 h 4496940"/>
              <a:gd name="connsiteX64" fmla="*/ 3497602 w 4519987"/>
              <a:gd name="connsiteY64" fmla="*/ 4143375 h 4496940"/>
              <a:gd name="connsiteX65" fmla="*/ 3383302 w 4519987"/>
              <a:gd name="connsiteY65" fmla="*/ 4210050 h 4496940"/>
              <a:gd name="connsiteX66" fmla="*/ 3335677 w 4519987"/>
              <a:gd name="connsiteY66" fmla="*/ 4238625 h 4496940"/>
              <a:gd name="connsiteX67" fmla="*/ 3288052 w 4519987"/>
              <a:gd name="connsiteY67" fmla="*/ 4248150 h 4496940"/>
              <a:gd name="connsiteX68" fmla="*/ 3240427 w 4519987"/>
              <a:gd name="connsiteY68" fmla="*/ 4267200 h 4496940"/>
              <a:gd name="connsiteX69" fmla="*/ 3068977 w 4519987"/>
              <a:gd name="connsiteY69" fmla="*/ 4286250 h 4496940"/>
              <a:gd name="connsiteX70" fmla="*/ 2935627 w 4519987"/>
              <a:gd name="connsiteY70" fmla="*/ 4333875 h 4496940"/>
              <a:gd name="connsiteX71" fmla="*/ 2811802 w 4519987"/>
              <a:gd name="connsiteY71" fmla="*/ 4371975 h 4496940"/>
              <a:gd name="connsiteX72" fmla="*/ 2745127 w 4519987"/>
              <a:gd name="connsiteY72" fmla="*/ 4410075 h 4496940"/>
              <a:gd name="connsiteX73" fmla="*/ 2697502 w 4519987"/>
              <a:gd name="connsiteY73" fmla="*/ 4429125 h 4496940"/>
              <a:gd name="connsiteX74" fmla="*/ 2640352 w 4519987"/>
              <a:gd name="connsiteY74" fmla="*/ 4457700 h 4496940"/>
              <a:gd name="connsiteX75" fmla="*/ 2583202 w 4519987"/>
              <a:gd name="connsiteY75" fmla="*/ 4467225 h 4496940"/>
              <a:gd name="connsiteX76" fmla="*/ 2545102 w 4519987"/>
              <a:gd name="connsiteY76" fmla="*/ 4486275 h 4496940"/>
              <a:gd name="connsiteX77" fmla="*/ 2306977 w 4519987"/>
              <a:gd name="connsiteY77" fmla="*/ 4476750 h 4496940"/>
              <a:gd name="connsiteX78" fmla="*/ 2202202 w 4519987"/>
              <a:gd name="connsiteY78" fmla="*/ 4457700 h 4496940"/>
              <a:gd name="connsiteX79" fmla="*/ 2126002 w 4519987"/>
              <a:gd name="connsiteY79" fmla="*/ 4429125 h 4496940"/>
              <a:gd name="connsiteX80" fmla="*/ 1935502 w 4519987"/>
              <a:gd name="connsiteY80" fmla="*/ 4400550 h 4496940"/>
              <a:gd name="connsiteX81" fmla="*/ 1821202 w 4519987"/>
              <a:gd name="connsiteY81" fmla="*/ 4371975 h 4496940"/>
              <a:gd name="connsiteX82" fmla="*/ 1754527 w 4519987"/>
              <a:gd name="connsiteY82" fmla="*/ 4352925 h 4496940"/>
              <a:gd name="connsiteX83" fmla="*/ 1687852 w 4519987"/>
              <a:gd name="connsiteY83" fmla="*/ 4343400 h 4496940"/>
              <a:gd name="connsiteX84" fmla="*/ 1573552 w 4519987"/>
              <a:gd name="connsiteY84" fmla="*/ 4305300 h 4496940"/>
              <a:gd name="connsiteX85" fmla="*/ 1402102 w 4519987"/>
              <a:gd name="connsiteY85" fmla="*/ 4276725 h 4496940"/>
              <a:gd name="connsiteX86" fmla="*/ 1287802 w 4519987"/>
              <a:gd name="connsiteY86" fmla="*/ 4229100 h 4496940"/>
              <a:gd name="connsiteX87" fmla="*/ 1221127 w 4519987"/>
              <a:gd name="connsiteY87" fmla="*/ 4200525 h 4496940"/>
              <a:gd name="connsiteX88" fmla="*/ 1144927 w 4519987"/>
              <a:gd name="connsiteY88" fmla="*/ 4171950 h 4496940"/>
              <a:gd name="connsiteX89" fmla="*/ 1087777 w 4519987"/>
              <a:gd name="connsiteY89" fmla="*/ 4143375 h 4496940"/>
              <a:gd name="connsiteX90" fmla="*/ 1030627 w 4519987"/>
              <a:gd name="connsiteY90" fmla="*/ 4124325 h 4496940"/>
              <a:gd name="connsiteX91" fmla="*/ 925852 w 4519987"/>
              <a:gd name="connsiteY91" fmla="*/ 4067175 h 4496940"/>
              <a:gd name="connsiteX92" fmla="*/ 830602 w 4519987"/>
              <a:gd name="connsiteY92" fmla="*/ 3981450 h 4496940"/>
              <a:gd name="connsiteX93" fmla="*/ 763927 w 4519987"/>
              <a:gd name="connsiteY93" fmla="*/ 3914775 h 4496940"/>
              <a:gd name="connsiteX94" fmla="*/ 725827 w 4519987"/>
              <a:gd name="connsiteY94" fmla="*/ 3876675 h 4496940"/>
              <a:gd name="connsiteX95" fmla="*/ 697252 w 4519987"/>
              <a:gd name="connsiteY95" fmla="*/ 3838575 h 4496940"/>
              <a:gd name="connsiteX96" fmla="*/ 640102 w 4519987"/>
              <a:gd name="connsiteY96" fmla="*/ 3781425 h 4496940"/>
              <a:gd name="connsiteX97" fmla="*/ 611527 w 4519987"/>
              <a:gd name="connsiteY97" fmla="*/ 3733800 h 4496940"/>
              <a:gd name="connsiteX98" fmla="*/ 554377 w 4519987"/>
              <a:gd name="connsiteY98" fmla="*/ 3657600 h 4496940"/>
              <a:gd name="connsiteX99" fmla="*/ 525802 w 4519987"/>
              <a:gd name="connsiteY99" fmla="*/ 3609975 h 4496940"/>
              <a:gd name="connsiteX100" fmla="*/ 497227 w 4519987"/>
              <a:gd name="connsiteY100" fmla="*/ 3552825 h 4496940"/>
              <a:gd name="connsiteX101" fmla="*/ 440077 w 4519987"/>
              <a:gd name="connsiteY101" fmla="*/ 3495675 h 4496940"/>
              <a:gd name="connsiteX102" fmla="*/ 411502 w 4519987"/>
              <a:gd name="connsiteY102" fmla="*/ 3448050 h 4496940"/>
              <a:gd name="connsiteX103" fmla="*/ 278152 w 4519987"/>
              <a:gd name="connsiteY103" fmla="*/ 3257550 h 4496940"/>
              <a:gd name="connsiteX104" fmla="*/ 249577 w 4519987"/>
              <a:gd name="connsiteY104" fmla="*/ 3200400 h 4496940"/>
              <a:gd name="connsiteX105" fmla="*/ 240052 w 4519987"/>
              <a:gd name="connsiteY105" fmla="*/ 3162300 h 4496940"/>
              <a:gd name="connsiteX106" fmla="*/ 221002 w 4519987"/>
              <a:gd name="connsiteY106" fmla="*/ 3105150 h 4496940"/>
              <a:gd name="connsiteX107" fmla="*/ 173377 w 4519987"/>
              <a:gd name="connsiteY107" fmla="*/ 3019425 h 4496940"/>
              <a:gd name="connsiteX108" fmla="*/ 144802 w 4519987"/>
              <a:gd name="connsiteY108" fmla="*/ 2924175 h 4496940"/>
              <a:gd name="connsiteX109" fmla="*/ 68602 w 4519987"/>
              <a:gd name="connsiteY109" fmla="*/ 2724150 h 4496940"/>
              <a:gd name="connsiteX110" fmla="*/ 49552 w 4519987"/>
              <a:gd name="connsiteY110" fmla="*/ 2638425 h 4496940"/>
              <a:gd name="connsiteX111" fmla="*/ 40027 w 4519987"/>
              <a:gd name="connsiteY111" fmla="*/ 2562225 h 4496940"/>
              <a:gd name="connsiteX112" fmla="*/ 30502 w 4519987"/>
              <a:gd name="connsiteY112" fmla="*/ 2514600 h 4496940"/>
              <a:gd name="connsiteX113" fmla="*/ 11452 w 4519987"/>
              <a:gd name="connsiteY113" fmla="*/ 2400300 h 4496940"/>
              <a:gd name="connsiteX114" fmla="*/ 20977 w 4519987"/>
              <a:gd name="connsiteY114" fmla="*/ 1905000 h 4496940"/>
              <a:gd name="connsiteX115" fmla="*/ 30502 w 4519987"/>
              <a:gd name="connsiteY115" fmla="*/ 1838325 h 4496940"/>
              <a:gd name="connsiteX116" fmla="*/ 49552 w 4519987"/>
              <a:gd name="connsiteY116" fmla="*/ 1781175 h 4496940"/>
              <a:gd name="connsiteX117" fmla="*/ 59077 w 4519987"/>
              <a:gd name="connsiteY117" fmla="*/ 1743075 h 4496940"/>
              <a:gd name="connsiteX118" fmla="*/ 78127 w 4519987"/>
              <a:gd name="connsiteY118" fmla="*/ 1685925 h 4496940"/>
              <a:gd name="connsiteX119" fmla="*/ 87652 w 4519987"/>
              <a:gd name="connsiteY119" fmla="*/ 1638300 h 4496940"/>
              <a:gd name="connsiteX120" fmla="*/ 106702 w 4519987"/>
              <a:gd name="connsiteY120" fmla="*/ 1590675 h 4496940"/>
              <a:gd name="connsiteX121" fmla="*/ 135277 w 4519987"/>
              <a:gd name="connsiteY121" fmla="*/ 1504950 h 4496940"/>
              <a:gd name="connsiteX122" fmla="*/ 154327 w 4519987"/>
              <a:gd name="connsiteY122" fmla="*/ 1419225 h 4496940"/>
              <a:gd name="connsiteX123" fmla="*/ 230527 w 4519987"/>
              <a:gd name="connsiteY123" fmla="*/ 1276350 h 4496940"/>
              <a:gd name="connsiteX124" fmla="*/ 240052 w 4519987"/>
              <a:gd name="connsiteY124" fmla="*/ 1247775 h 4496940"/>
              <a:gd name="connsiteX125" fmla="*/ 268627 w 4519987"/>
              <a:gd name="connsiteY125" fmla="*/ 1200150 h 4496940"/>
              <a:gd name="connsiteX126" fmla="*/ 287677 w 4519987"/>
              <a:gd name="connsiteY126" fmla="*/ 1152525 h 4496940"/>
              <a:gd name="connsiteX127" fmla="*/ 316252 w 4519987"/>
              <a:gd name="connsiteY127" fmla="*/ 1114425 h 4496940"/>
              <a:gd name="connsiteX128" fmla="*/ 363877 w 4519987"/>
              <a:gd name="connsiteY128" fmla="*/ 1038225 h 4496940"/>
              <a:gd name="connsiteX129" fmla="*/ 382927 w 4519987"/>
              <a:gd name="connsiteY129" fmla="*/ 1009650 h 4496940"/>
              <a:gd name="connsiteX130" fmla="*/ 440077 w 4519987"/>
              <a:gd name="connsiteY130" fmla="*/ 904875 h 4496940"/>
              <a:gd name="connsiteX131" fmla="*/ 478177 w 4519987"/>
              <a:gd name="connsiteY131" fmla="*/ 857250 h 4496940"/>
              <a:gd name="connsiteX132" fmla="*/ 497227 w 4519987"/>
              <a:gd name="connsiteY132" fmla="*/ 828675 h 4496940"/>
              <a:gd name="connsiteX133" fmla="*/ 535327 w 4519987"/>
              <a:gd name="connsiteY133" fmla="*/ 800100 h 4496940"/>
              <a:gd name="connsiteX134" fmla="*/ 602002 w 4519987"/>
              <a:gd name="connsiteY134" fmla="*/ 733425 h 4496940"/>
              <a:gd name="connsiteX135" fmla="*/ 668677 w 4519987"/>
              <a:gd name="connsiteY135" fmla="*/ 676275 h 4496940"/>
              <a:gd name="connsiteX136" fmla="*/ 697252 w 4519987"/>
              <a:gd name="connsiteY136" fmla="*/ 657225 h 4496940"/>
              <a:gd name="connsiteX137" fmla="*/ 840127 w 4519987"/>
              <a:gd name="connsiteY137" fmla="*/ 533400 h 4496940"/>
              <a:gd name="connsiteX138" fmla="*/ 887752 w 4519987"/>
              <a:gd name="connsiteY138" fmla="*/ 504825 h 4496940"/>
              <a:gd name="connsiteX139" fmla="*/ 1167152 w 4519987"/>
              <a:gd name="connsiteY139" fmla="*/ 311150 h 4496940"/>
              <a:gd name="connsiteX140" fmla="*/ 1268752 w 4519987"/>
              <a:gd name="connsiteY140" fmla="*/ 285750 h 4496940"/>
              <a:gd name="connsiteX141" fmla="*/ 1411627 w 4519987"/>
              <a:gd name="connsiteY141" fmla="*/ 190500 h 4496940"/>
              <a:gd name="connsiteX142" fmla="*/ 1449727 w 4519987"/>
              <a:gd name="connsiteY142" fmla="*/ 161925 h 4496940"/>
              <a:gd name="connsiteX143" fmla="*/ 1525927 w 4519987"/>
              <a:gd name="connsiteY143" fmla="*/ 152400 h 4496940"/>
              <a:gd name="connsiteX144" fmla="*/ 1583077 w 4519987"/>
              <a:gd name="connsiteY144" fmla="*/ 142875 h 4496940"/>
              <a:gd name="connsiteX145" fmla="*/ 1716427 w 4519987"/>
              <a:gd name="connsiteY145" fmla="*/ 123825 h 4496940"/>
              <a:gd name="connsiteX146" fmla="*/ 1811677 w 4519987"/>
              <a:gd name="connsiteY146" fmla="*/ 114300 h 4496940"/>
              <a:gd name="connsiteX147" fmla="*/ 1859302 w 4519987"/>
              <a:gd name="connsiteY147" fmla="*/ 104775 h 4496940"/>
              <a:gd name="connsiteX148" fmla="*/ 1916452 w 4519987"/>
              <a:gd name="connsiteY148" fmla="*/ 95250 h 4496940"/>
              <a:gd name="connsiteX149" fmla="*/ 2030752 w 4519987"/>
              <a:gd name="connsiteY149" fmla="*/ 66675 h 4496940"/>
              <a:gd name="connsiteX150" fmla="*/ 2097427 w 4519987"/>
              <a:gd name="connsiteY150" fmla="*/ 47625 h 4496940"/>
              <a:gd name="connsiteX151" fmla="*/ 2164102 w 4519987"/>
              <a:gd name="connsiteY151" fmla="*/ 38100 h 4496940"/>
              <a:gd name="connsiteX152" fmla="*/ 2392702 w 4519987"/>
              <a:gd name="connsiteY15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02377 w 4519987"/>
              <a:gd name="connsiteY18" fmla="*/ 457200 h 4496940"/>
              <a:gd name="connsiteX19" fmla="*/ 3630952 w 4519987"/>
              <a:gd name="connsiteY19" fmla="*/ 485775 h 4496940"/>
              <a:gd name="connsiteX20" fmla="*/ 3745252 w 4519987"/>
              <a:gd name="connsiteY20" fmla="*/ 542925 h 4496940"/>
              <a:gd name="connsiteX21" fmla="*/ 3811927 w 4519987"/>
              <a:gd name="connsiteY21" fmla="*/ 581025 h 4496940"/>
              <a:gd name="connsiteX22" fmla="*/ 3907177 w 4519987"/>
              <a:gd name="connsiteY22" fmla="*/ 647700 h 4496940"/>
              <a:gd name="connsiteX23" fmla="*/ 3935752 w 4519987"/>
              <a:gd name="connsiteY23" fmla="*/ 676275 h 4496940"/>
              <a:gd name="connsiteX24" fmla="*/ 4078627 w 4519987"/>
              <a:gd name="connsiteY24" fmla="*/ 838200 h 4496940"/>
              <a:gd name="connsiteX25" fmla="*/ 4135777 w 4519987"/>
              <a:gd name="connsiteY25" fmla="*/ 933450 h 4496940"/>
              <a:gd name="connsiteX26" fmla="*/ 4164352 w 4519987"/>
              <a:gd name="connsiteY26" fmla="*/ 990600 h 4496940"/>
              <a:gd name="connsiteX27" fmla="*/ 4173877 w 4519987"/>
              <a:gd name="connsiteY27" fmla="*/ 1019175 h 4496940"/>
              <a:gd name="connsiteX28" fmla="*/ 4192927 w 4519987"/>
              <a:gd name="connsiteY28" fmla="*/ 1057275 h 4496940"/>
              <a:gd name="connsiteX29" fmla="*/ 4202452 w 4519987"/>
              <a:gd name="connsiteY29" fmla="*/ 1085850 h 4496940"/>
              <a:gd name="connsiteX30" fmla="*/ 4250077 w 4519987"/>
              <a:gd name="connsiteY30" fmla="*/ 1143000 h 4496940"/>
              <a:gd name="connsiteX31" fmla="*/ 4259602 w 4519987"/>
              <a:gd name="connsiteY31" fmla="*/ 1190625 h 4496940"/>
              <a:gd name="connsiteX32" fmla="*/ 4307227 w 4519987"/>
              <a:gd name="connsiteY32" fmla="*/ 1266825 h 4496940"/>
              <a:gd name="connsiteX33" fmla="*/ 4345327 w 4519987"/>
              <a:gd name="connsiteY33" fmla="*/ 1362075 h 4496940"/>
              <a:gd name="connsiteX34" fmla="*/ 4373902 w 4519987"/>
              <a:gd name="connsiteY34" fmla="*/ 1428750 h 4496940"/>
              <a:gd name="connsiteX35" fmla="*/ 4392952 w 4519987"/>
              <a:gd name="connsiteY35" fmla="*/ 1552575 h 4496940"/>
              <a:gd name="connsiteX36" fmla="*/ 4402477 w 4519987"/>
              <a:gd name="connsiteY36" fmla="*/ 1590675 h 4496940"/>
              <a:gd name="connsiteX37" fmla="*/ 4431052 w 4519987"/>
              <a:gd name="connsiteY37" fmla="*/ 1685925 h 4496940"/>
              <a:gd name="connsiteX38" fmla="*/ 4519952 w 4519987"/>
              <a:gd name="connsiteY38" fmla="*/ 2181225 h 4496940"/>
              <a:gd name="connsiteX39" fmla="*/ 4446927 w 4519987"/>
              <a:gd name="connsiteY39" fmla="*/ 2768600 h 4496940"/>
              <a:gd name="connsiteX40" fmla="*/ 4383427 w 4519987"/>
              <a:gd name="connsiteY40" fmla="*/ 2990850 h 4496940"/>
              <a:gd name="connsiteX41" fmla="*/ 4278652 w 4519987"/>
              <a:gd name="connsiteY41" fmla="*/ 3248025 h 4496940"/>
              <a:gd name="connsiteX42" fmla="*/ 4259602 w 4519987"/>
              <a:gd name="connsiteY42" fmla="*/ 3276600 h 4496940"/>
              <a:gd name="connsiteX43" fmla="*/ 4221502 w 4519987"/>
              <a:gd name="connsiteY43" fmla="*/ 3333750 h 4496940"/>
              <a:gd name="connsiteX44" fmla="*/ 4211977 w 4519987"/>
              <a:gd name="connsiteY44" fmla="*/ 3362325 h 4496940"/>
              <a:gd name="connsiteX45" fmla="*/ 4183402 w 4519987"/>
              <a:gd name="connsiteY45" fmla="*/ 3400425 h 4496940"/>
              <a:gd name="connsiteX46" fmla="*/ 4164352 w 4519987"/>
              <a:gd name="connsiteY46" fmla="*/ 3429000 h 4496940"/>
              <a:gd name="connsiteX47" fmla="*/ 4088152 w 4519987"/>
              <a:gd name="connsiteY47" fmla="*/ 3495675 h 4496940"/>
              <a:gd name="connsiteX48" fmla="*/ 4059577 w 4519987"/>
              <a:gd name="connsiteY48" fmla="*/ 3533775 h 4496940"/>
              <a:gd name="connsiteX49" fmla="*/ 4002427 w 4519987"/>
              <a:gd name="connsiteY49" fmla="*/ 3600450 h 4496940"/>
              <a:gd name="connsiteX50" fmla="*/ 3983377 w 4519987"/>
              <a:gd name="connsiteY50" fmla="*/ 3629025 h 4496940"/>
              <a:gd name="connsiteX51" fmla="*/ 3954802 w 4519987"/>
              <a:gd name="connsiteY51" fmla="*/ 3648075 h 4496940"/>
              <a:gd name="connsiteX52" fmla="*/ 3907177 w 4519987"/>
              <a:gd name="connsiteY52" fmla="*/ 3686175 h 4496940"/>
              <a:gd name="connsiteX53" fmla="*/ 3869077 w 4519987"/>
              <a:gd name="connsiteY53" fmla="*/ 3724275 h 4496940"/>
              <a:gd name="connsiteX54" fmla="*/ 3792877 w 4519987"/>
              <a:gd name="connsiteY54" fmla="*/ 3781425 h 4496940"/>
              <a:gd name="connsiteX55" fmla="*/ 3783352 w 4519987"/>
              <a:gd name="connsiteY55" fmla="*/ 3810000 h 4496940"/>
              <a:gd name="connsiteX56" fmla="*/ 3745252 w 4519987"/>
              <a:gd name="connsiteY56" fmla="*/ 3819525 h 4496940"/>
              <a:gd name="connsiteX57" fmla="*/ 3678577 w 4519987"/>
              <a:gd name="connsiteY57" fmla="*/ 3848100 h 4496940"/>
              <a:gd name="connsiteX58" fmla="*/ 3659527 w 4519987"/>
              <a:gd name="connsiteY58" fmla="*/ 3971925 h 4496940"/>
              <a:gd name="connsiteX59" fmla="*/ 3630952 w 4519987"/>
              <a:gd name="connsiteY59" fmla="*/ 4010025 h 4496940"/>
              <a:gd name="connsiteX60" fmla="*/ 3621427 w 4519987"/>
              <a:gd name="connsiteY60" fmla="*/ 4038600 h 4496940"/>
              <a:gd name="connsiteX61" fmla="*/ 3554752 w 4519987"/>
              <a:gd name="connsiteY61" fmla="*/ 4095750 h 4496940"/>
              <a:gd name="connsiteX62" fmla="*/ 3516652 w 4519987"/>
              <a:gd name="connsiteY62" fmla="*/ 4114800 h 4496940"/>
              <a:gd name="connsiteX63" fmla="*/ 3497602 w 4519987"/>
              <a:gd name="connsiteY63" fmla="*/ 4143375 h 4496940"/>
              <a:gd name="connsiteX64" fmla="*/ 3383302 w 4519987"/>
              <a:gd name="connsiteY64" fmla="*/ 4210050 h 4496940"/>
              <a:gd name="connsiteX65" fmla="*/ 3335677 w 4519987"/>
              <a:gd name="connsiteY65" fmla="*/ 4238625 h 4496940"/>
              <a:gd name="connsiteX66" fmla="*/ 3288052 w 4519987"/>
              <a:gd name="connsiteY66" fmla="*/ 4248150 h 4496940"/>
              <a:gd name="connsiteX67" fmla="*/ 3240427 w 4519987"/>
              <a:gd name="connsiteY67" fmla="*/ 4267200 h 4496940"/>
              <a:gd name="connsiteX68" fmla="*/ 3068977 w 4519987"/>
              <a:gd name="connsiteY68" fmla="*/ 4286250 h 4496940"/>
              <a:gd name="connsiteX69" fmla="*/ 2935627 w 4519987"/>
              <a:gd name="connsiteY69" fmla="*/ 4333875 h 4496940"/>
              <a:gd name="connsiteX70" fmla="*/ 2811802 w 4519987"/>
              <a:gd name="connsiteY70" fmla="*/ 4371975 h 4496940"/>
              <a:gd name="connsiteX71" fmla="*/ 2745127 w 4519987"/>
              <a:gd name="connsiteY71" fmla="*/ 4410075 h 4496940"/>
              <a:gd name="connsiteX72" fmla="*/ 2697502 w 4519987"/>
              <a:gd name="connsiteY72" fmla="*/ 4429125 h 4496940"/>
              <a:gd name="connsiteX73" fmla="*/ 2640352 w 4519987"/>
              <a:gd name="connsiteY73" fmla="*/ 4457700 h 4496940"/>
              <a:gd name="connsiteX74" fmla="*/ 2583202 w 4519987"/>
              <a:gd name="connsiteY74" fmla="*/ 4467225 h 4496940"/>
              <a:gd name="connsiteX75" fmla="*/ 2545102 w 4519987"/>
              <a:gd name="connsiteY75" fmla="*/ 4486275 h 4496940"/>
              <a:gd name="connsiteX76" fmla="*/ 2306977 w 4519987"/>
              <a:gd name="connsiteY76" fmla="*/ 4476750 h 4496940"/>
              <a:gd name="connsiteX77" fmla="*/ 2202202 w 4519987"/>
              <a:gd name="connsiteY77" fmla="*/ 4457700 h 4496940"/>
              <a:gd name="connsiteX78" fmla="*/ 2126002 w 4519987"/>
              <a:gd name="connsiteY78" fmla="*/ 4429125 h 4496940"/>
              <a:gd name="connsiteX79" fmla="*/ 1935502 w 4519987"/>
              <a:gd name="connsiteY79" fmla="*/ 4400550 h 4496940"/>
              <a:gd name="connsiteX80" fmla="*/ 1821202 w 4519987"/>
              <a:gd name="connsiteY80" fmla="*/ 4371975 h 4496940"/>
              <a:gd name="connsiteX81" fmla="*/ 1754527 w 4519987"/>
              <a:gd name="connsiteY81" fmla="*/ 4352925 h 4496940"/>
              <a:gd name="connsiteX82" fmla="*/ 1687852 w 4519987"/>
              <a:gd name="connsiteY82" fmla="*/ 4343400 h 4496940"/>
              <a:gd name="connsiteX83" fmla="*/ 1573552 w 4519987"/>
              <a:gd name="connsiteY83" fmla="*/ 4305300 h 4496940"/>
              <a:gd name="connsiteX84" fmla="*/ 1402102 w 4519987"/>
              <a:gd name="connsiteY84" fmla="*/ 4276725 h 4496940"/>
              <a:gd name="connsiteX85" fmla="*/ 1287802 w 4519987"/>
              <a:gd name="connsiteY85" fmla="*/ 4229100 h 4496940"/>
              <a:gd name="connsiteX86" fmla="*/ 1221127 w 4519987"/>
              <a:gd name="connsiteY86" fmla="*/ 4200525 h 4496940"/>
              <a:gd name="connsiteX87" fmla="*/ 1144927 w 4519987"/>
              <a:gd name="connsiteY87" fmla="*/ 4171950 h 4496940"/>
              <a:gd name="connsiteX88" fmla="*/ 1087777 w 4519987"/>
              <a:gd name="connsiteY88" fmla="*/ 4143375 h 4496940"/>
              <a:gd name="connsiteX89" fmla="*/ 1030627 w 4519987"/>
              <a:gd name="connsiteY89" fmla="*/ 4124325 h 4496940"/>
              <a:gd name="connsiteX90" fmla="*/ 925852 w 4519987"/>
              <a:gd name="connsiteY90" fmla="*/ 4067175 h 4496940"/>
              <a:gd name="connsiteX91" fmla="*/ 830602 w 4519987"/>
              <a:gd name="connsiteY91" fmla="*/ 3981450 h 4496940"/>
              <a:gd name="connsiteX92" fmla="*/ 763927 w 4519987"/>
              <a:gd name="connsiteY92" fmla="*/ 3914775 h 4496940"/>
              <a:gd name="connsiteX93" fmla="*/ 725827 w 4519987"/>
              <a:gd name="connsiteY93" fmla="*/ 3876675 h 4496940"/>
              <a:gd name="connsiteX94" fmla="*/ 697252 w 4519987"/>
              <a:gd name="connsiteY94" fmla="*/ 3838575 h 4496940"/>
              <a:gd name="connsiteX95" fmla="*/ 640102 w 4519987"/>
              <a:gd name="connsiteY95" fmla="*/ 3781425 h 4496940"/>
              <a:gd name="connsiteX96" fmla="*/ 611527 w 4519987"/>
              <a:gd name="connsiteY96" fmla="*/ 3733800 h 4496940"/>
              <a:gd name="connsiteX97" fmla="*/ 554377 w 4519987"/>
              <a:gd name="connsiteY97" fmla="*/ 3657600 h 4496940"/>
              <a:gd name="connsiteX98" fmla="*/ 525802 w 4519987"/>
              <a:gd name="connsiteY98" fmla="*/ 3609975 h 4496940"/>
              <a:gd name="connsiteX99" fmla="*/ 497227 w 4519987"/>
              <a:gd name="connsiteY99" fmla="*/ 3552825 h 4496940"/>
              <a:gd name="connsiteX100" fmla="*/ 440077 w 4519987"/>
              <a:gd name="connsiteY100" fmla="*/ 3495675 h 4496940"/>
              <a:gd name="connsiteX101" fmla="*/ 411502 w 4519987"/>
              <a:gd name="connsiteY101" fmla="*/ 3448050 h 4496940"/>
              <a:gd name="connsiteX102" fmla="*/ 278152 w 4519987"/>
              <a:gd name="connsiteY102" fmla="*/ 3257550 h 4496940"/>
              <a:gd name="connsiteX103" fmla="*/ 249577 w 4519987"/>
              <a:gd name="connsiteY103" fmla="*/ 3200400 h 4496940"/>
              <a:gd name="connsiteX104" fmla="*/ 240052 w 4519987"/>
              <a:gd name="connsiteY104" fmla="*/ 3162300 h 4496940"/>
              <a:gd name="connsiteX105" fmla="*/ 221002 w 4519987"/>
              <a:gd name="connsiteY105" fmla="*/ 3105150 h 4496940"/>
              <a:gd name="connsiteX106" fmla="*/ 173377 w 4519987"/>
              <a:gd name="connsiteY106" fmla="*/ 3019425 h 4496940"/>
              <a:gd name="connsiteX107" fmla="*/ 144802 w 4519987"/>
              <a:gd name="connsiteY107" fmla="*/ 2924175 h 4496940"/>
              <a:gd name="connsiteX108" fmla="*/ 68602 w 4519987"/>
              <a:gd name="connsiteY108" fmla="*/ 2724150 h 4496940"/>
              <a:gd name="connsiteX109" fmla="*/ 49552 w 4519987"/>
              <a:gd name="connsiteY109" fmla="*/ 2638425 h 4496940"/>
              <a:gd name="connsiteX110" fmla="*/ 40027 w 4519987"/>
              <a:gd name="connsiteY110" fmla="*/ 2562225 h 4496940"/>
              <a:gd name="connsiteX111" fmla="*/ 30502 w 4519987"/>
              <a:gd name="connsiteY111" fmla="*/ 2514600 h 4496940"/>
              <a:gd name="connsiteX112" fmla="*/ 11452 w 4519987"/>
              <a:gd name="connsiteY112" fmla="*/ 2400300 h 4496940"/>
              <a:gd name="connsiteX113" fmla="*/ 20977 w 4519987"/>
              <a:gd name="connsiteY113" fmla="*/ 1905000 h 4496940"/>
              <a:gd name="connsiteX114" fmla="*/ 30502 w 4519987"/>
              <a:gd name="connsiteY114" fmla="*/ 1838325 h 4496940"/>
              <a:gd name="connsiteX115" fmla="*/ 49552 w 4519987"/>
              <a:gd name="connsiteY115" fmla="*/ 1781175 h 4496940"/>
              <a:gd name="connsiteX116" fmla="*/ 59077 w 4519987"/>
              <a:gd name="connsiteY116" fmla="*/ 1743075 h 4496940"/>
              <a:gd name="connsiteX117" fmla="*/ 78127 w 4519987"/>
              <a:gd name="connsiteY117" fmla="*/ 1685925 h 4496940"/>
              <a:gd name="connsiteX118" fmla="*/ 87652 w 4519987"/>
              <a:gd name="connsiteY118" fmla="*/ 1638300 h 4496940"/>
              <a:gd name="connsiteX119" fmla="*/ 106702 w 4519987"/>
              <a:gd name="connsiteY119" fmla="*/ 1590675 h 4496940"/>
              <a:gd name="connsiteX120" fmla="*/ 135277 w 4519987"/>
              <a:gd name="connsiteY120" fmla="*/ 1504950 h 4496940"/>
              <a:gd name="connsiteX121" fmla="*/ 154327 w 4519987"/>
              <a:gd name="connsiteY121" fmla="*/ 1419225 h 4496940"/>
              <a:gd name="connsiteX122" fmla="*/ 230527 w 4519987"/>
              <a:gd name="connsiteY122" fmla="*/ 1276350 h 4496940"/>
              <a:gd name="connsiteX123" fmla="*/ 240052 w 4519987"/>
              <a:gd name="connsiteY123" fmla="*/ 1247775 h 4496940"/>
              <a:gd name="connsiteX124" fmla="*/ 268627 w 4519987"/>
              <a:gd name="connsiteY124" fmla="*/ 1200150 h 4496940"/>
              <a:gd name="connsiteX125" fmla="*/ 287677 w 4519987"/>
              <a:gd name="connsiteY125" fmla="*/ 1152525 h 4496940"/>
              <a:gd name="connsiteX126" fmla="*/ 316252 w 4519987"/>
              <a:gd name="connsiteY126" fmla="*/ 1114425 h 4496940"/>
              <a:gd name="connsiteX127" fmla="*/ 363877 w 4519987"/>
              <a:gd name="connsiteY127" fmla="*/ 1038225 h 4496940"/>
              <a:gd name="connsiteX128" fmla="*/ 382927 w 4519987"/>
              <a:gd name="connsiteY128" fmla="*/ 1009650 h 4496940"/>
              <a:gd name="connsiteX129" fmla="*/ 440077 w 4519987"/>
              <a:gd name="connsiteY129" fmla="*/ 904875 h 4496940"/>
              <a:gd name="connsiteX130" fmla="*/ 478177 w 4519987"/>
              <a:gd name="connsiteY130" fmla="*/ 857250 h 4496940"/>
              <a:gd name="connsiteX131" fmla="*/ 497227 w 4519987"/>
              <a:gd name="connsiteY131" fmla="*/ 828675 h 4496940"/>
              <a:gd name="connsiteX132" fmla="*/ 535327 w 4519987"/>
              <a:gd name="connsiteY132" fmla="*/ 800100 h 4496940"/>
              <a:gd name="connsiteX133" fmla="*/ 602002 w 4519987"/>
              <a:gd name="connsiteY133" fmla="*/ 733425 h 4496940"/>
              <a:gd name="connsiteX134" fmla="*/ 668677 w 4519987"/>
              <a:gd name="connsiteY134" fmla="*/ 676275 h 4496940"/>
              <a:gd name="connsiteX135" fmla="*/ 697252 w 4519987"/>
              <a:gd name="connsiteY135" fmla="*/ 657225 h 4496940"/>
              <a:gd name="connsiteX136" fmla="*/ 840127 w 4519987"/>
              <a:gd name="connsiteY136" fmla="*/ 533400 h 4496940"/>
              <a:gd name="connsiteX137" fmla="*/ 887752 w 4519987"/>
              <a:gd name="connsiteY137" fmla="*/ 504825 h 4496940"/>
              <a:gd name="connsiteX138" fmla="*/ 1167152 w 4519987"/>
              <a:gd name="connsiteY138" fmla="*/ 311150 h 4496940"/>
              <a:gd name="connsiteX139" fmla="*/ 1268752 w 4519987"/>
              <a:gd name="connsiteY139" fmla="*/ 285750 h 4496940"/>
              <a:gd name="connsiteX140" fmla="*/ 1411627 w 4519987"/>
              <a:gd name="connsiteY140" fmla="*/ 190500 h 4496940"/>
              <a:gd name="connsiteX141" fmla="*/ 1449727 w 4519987"/>
              <a:gd name="connsiteY141" fmla="*/ 161925 h 4496940"/>
              <a:gd name="connsiteX142" fmla="*/ 1525927 w 4519987"/>
              <a:gd name="connsiteY142" fmla="*/ 152400 h 4496940"/>
              <a:gd name="connsiteX143" fmla="*/ 1583077 w 4519987"/>
              <a:gd name="connsiteY143" fmla="*/ 142875 h 4496940"/>
              <a:gd name="connsiteX144" fmla="*/ 1716427 w 4519987"/>
              <a:gd name="connsiteY144" fmla="*/ 123825 h 4496940"/>
              <a:gd name="connsiteX145" fmla="*/ 1811677 w 4519987"/>
              <a:gd name="connsiteY145" fmla="*/ 114300 h 4496940"/>
              <a:gd name="connsiteX146" fmla="*/ 1859302 w 4519987"/>
              <a:gd name="connsiteY146" fmla="*/ 104775 h 4496940"/>
              <a:gd name="connsiteX147" fmla="*/ 1916452 w 4519987"/>
              <a:gd name="connsiteY147" fmla="*/ 95250 h 4496940"/>
              <a:gd name="connsiteX148" fmla="*/ 2030752 w 4519987"/>
              <a:gd name="connsiteY148" fmla="*/ 66675 h 4496940"/>
              <a:gd name="connsiteX149" fmla="*/ 2097427 w 4519987"/>
              <a:gd name="connsiteY149" fmla="*/ 47625 h 4496940"/>
              <a:gd name="connsiteX150" fmla="*/ 2164102 w 4519987"/>
              <a:gd name="connsiteY150" fmla="*/ 38100 h 4496940"/>
              <a:gd name="connsiteX151" fmla="*/ 2392702 w 4519987"/>
              <a:gd name="connsiteY15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3907177 w 4519987"/>
              <a:gd name="connsiteY21" fmla="*/ 647700 h 4496940"/>
              <a:gd name="connsiteX22" fmla="*/ 3935752 w 4519987"/>
              <a:gd name="connsiteY22" fmla="*/ 676275 h 4496940"/>
              <a:gd name="connsiteX23" fmla="*/ 4078627 w 4519987"/>
              <a:gd name="connsiteY23" fmla="*/ 838200 h 4496940"/>
              <a:gd name="connsiteX24" fmla="*/ 4135777 w 4519987"/>
              <a:gd name="connsiteY24" fmla="*/ 933450 h 4496940"/>
              <a:gd name="connsiteX25" fmla="*/ 4164352 w 4519987"/>
              <a:gd name="connsiteY25" fmla="*/ 990600 h 4496940"/>
              <a:gd name="connsiteX26" fmla="*/ 4173877 w 4519987"/>
              <a:gd name="connsiteY26" fmla="*/ 1019175 h 4496940"/>
              <a:gd name="connsiteX27" fmla="*/ 4192927 w 4519987"/>
              <a:gd name="connsiteY27" fmla="*/ 1057275 h 4496940"/>
              <a:gd name="connsiteX28" fmla="*/ 4202452 w 4519987"/>
              <a:gd name="connsiteY28" fmla="*/ 1085850 h 4496940"/>
              <a:gd name="connsiteX29" fmla="*/ 4250077 w 4519987"/>
              <a:gd name="connsiteY29" fmla="*/ 1143000 h 4496940"/>
              <a:gd name="connsiteX30" fmla="*/ 4259602 w 4519987"/>
              <a:gd name="connsiteY30" fmla="*/ 1190625 h 4496940"/>
              <a:gd name="connsiteX31" fmla="*/ 4307227 w 4519987"/>
              <a:gd name="connsiteY31" fmla="*/ 1266825 h 4496940"/>
              <a:gd name="connsiteX32" fmla="*/ 4345327 w 4519987"/>
              <a:gd name="connsiteY32" fmla="*/ 1362075 h 4496940"/>
              <a:gd name="connsiteX33" fmla="*/ 4373902 w 4519987"/>
              <a:gd name="connsiteY33" fmla="*/ 1428750 h 4496940"/>
              <a:gd name="connsiteX34" fmla="*/ 4392952 w 4519987"/>
              <a:gd name="connsiteY34" fmla="*/ 1552575 h 4496940"/>
              <a:gd name="connsiteX35" fmla="*/ 4402477 w 4519987"/>
              <a:gd name="connsiteY35" fmla="*/ 1590675 h 4496940"/>
              <a:gd name="connsiteX36" fmla="*/ 4431052 w 4519987"/>
              <a:gd name="connsiteY36" fmla="*/ 1685925 h 4496940"/>
              <a:gd name="connsiteX37" fmla="*/ 4519952 w 4519987"/>
              <a:gd name="connsiteY37" fmla="*/ 2181225 h 4496940"/>
              <a:gd name="connsiteX38" fmla="*/ 4446927 w 4519987"/>
              <a:gd name="connsiteY38" fmla="*/ 2768600 h 4496940"/>
              <a:gd name="connsiteX39" fmla="*/ 4383427 w 4519987"/>
              <a:gd name="connsiteY39" fmla="*/ 2990850 h 4496940"/>
              <a:gd name="connsiteX40" fmla="*/ 4278652 w 4519987"/>
              <a:gd name="connsiteY40" fmla="*/ 3248025 h 4496940"/>
              <a:gd name="connsiteX41" fmla="*/ 4259602 w 4519987"/>
              <a:gd name="connsiteY41" fmla="*/ 3276600 h 4496940"/>
              <a:gd name="connsiteX42" fmla="*/ 4221502 w 4519987"/>
              <a:gd name="connsiteY42" fmla="*/ 3333750 h 4496940"/>
              <a:gd name="connsiteX43" fmla="*/ 4211977 w 4519987"/>
              <a:gd name="connsiteY43" fmla="*/ 3362325 h 4496940"/>
              <a:gd name="connsiteX44" fmla="*/ 4183402 w 4519987"/>
              <a:gd name="connsiteY44" fmla="*/ 3400425 h 4496940"/>
              <a:gd name="connsiteX45" fmla="*/ 4164352 w 4519987"/>
              <a:gd name="connsiteY45" fmla="*/ 3429000 h 4496940"/>
              <a:gd name="connsiteX46" fmla="*/ 4088152 w 4519987"/>
              <a:gd name="connsiteY46" fmla="*/ 3495675 h 4496940"/>
              <a:gd name="connsiteX47" fmla="*/ 4059577 w 4519987"/>
              <a:gd name="connsiteY47" fmla="*/ 3533775 h 4496940"/>
              <a:gd name="connsiteX48" fmla="*/ 4002427 w 4519987"/>
              <a:gd name="connsiteY48" fmla="*/ 3600450 h 4496940"/>
              <a:gd name="connsiteX49" fmla="*/ 3983377 w 4519987"/>
              <a:gd name="connsiteY49" fmla="*/ 3629025 h 4496940"/>
              <a:gd name="connsiteX50" fmla="*/ 3954802 w 4519987"/>
              <a:gd name="connsiteY50" fmla="*/ 3648075 h 4496940"/>
              <a:gd name="connsiteX51" fmla="*/ 3907177 w 4519987"/>
              <a:gd name="connsiteY51" fmla="*/ 3686175 h 4496940"/>
              <a:gd name="connsiteX52" fmla="*/ 3869077 w 4519987"/>
              <a:gd name="connsiteY52" fmla="*/ 3724275 h 4496940"/>
              <a:gd name="connsiteX53" fmla="*/ 3792877 w 4519987"/>
              <a:gd name="connsiteY53" fmla="*/ 3781425 h 4496940"/>
              <a:gd name="connsiteX54" fmla="*/ 3783352 w 4519987"/>
              <a:gd name="connsiteY54" fmla="*/ 3810000 h 4496940"/>
              <a:gd name="connsiteX55" fmla="*/ 3745252 w 4519987"/>
              <a:gd name="connsiteY55" fmla="*/ 3819525 h 4496940"/>
              <a:gd name="connsiteX56" fmla="*/ 3678577 w 4519987"/>
              <a:gd name="connsiteY56" fmla="*/ 3848100 h 4496940"/>
              <a:gd name="connsiteX57" fmla="*/ 3659527 w 4519987"/>
              <a:gd name="connsiteY57" fmla="*/ 3971925 h 4496940"/>
              <a:gd name="connsiteX58" fmla="*/ 3630952 w 4519987"/>
              <a:gd name="connsiteY58" fmla="*/ 4010025 h 4496940"/>
              <a:gd name="connsiteX59" fmla="*/ 3621427 w 4519987"/>
              <a:gd name="connsiteY59" fmla="*/ 4038600 h 4496940"/>
              <a:gd name="connsiteX60" fmla="*/ 3554752 w 4519987"/>
              <a:gd name="connsiteY60" fmla="*/ 4095750 h 4496940"/>
              <a:gd name="connsiteX61" fmla="*/ 3516652 w 4519987"/>
              <a:gd name="connsiteY61" fmla="*/ 4114800 h 4496940"/>
              <a:gd name="connsiteX62" fmla="*/ 3497602 w 4519987"/>
              <a:gd name="connsiteY62" fmla="*/ 4143375 h 4496940"/>
              <a:gd name="connsiteX63" fmla="*/ 3383302 w 4519987"/>
              <a:gd name="connsiteY63" fmla="*/ 4210050 h 4496940"/>
              <a:gd name="connsiteX64" fmla="*/ 3335677 w 4519987"/>
              <a:gd name="connsiteY64" fmla="*/ 4238625 h 4496940"/>
              <a:gd name="connsiteX65" fmla="*/ 3288052 w 4519987"/>
              <a:gd name="connsiteY65" fmla="*/ 4248150 h 4496940"/>
              <a:gd name="connsiteX66" fmla="*/ 3240427 w 4519987"/>
              <a:gd name="connsiteY66" fmla="*/ 4267200 h 4496940"/>
              <a:gd name="connsiteX67" fmla="*/ 3068977 w 4519987"/>
              <a:gd name="connsiteY67" fmla="*/ 4286250 h 4496940"/>
              <a:gd name="connsiteX68" fmla="*/ 2935627 w 4519987"/>
              <a:gd name="connsiteY68" fmla="*/ 4333875 h 4496940"/>
              <a:gd name="connsiteX69" fmla="*/ 2811802 w 4519987"/>
              <a:gd name="connsiteY69" fmla="*/ 4371975 h 4496940"/>
              <a:gd name="connsiteX70" fmla="*/ 2745127 w 4519987"/>
              <a:gd name="connsiteY70" fmla="*/ 4410075 h 4496940"/>
              <a:gd name="connsiteX71" fmla="*/ 2697502 w 4519987"/>
              <a:gd name="connsiteY71" fmla="*/ 4429125 h 4496940"/>
              <a:gd name="connsiteX72" fmla="*/ 2640352 w 4519987"/>
              <a:gd name="connsiteY72" fmla="*/ 4457700 h 4496940"/>
              <a:gd name="connsiteX73" fmla="*/ 2583202 w 4519987"/>
              <a:gd name="connsiteY73" fmla="*/ 4467225 h 4496940"/>
              <a:gd name="connsiteX74" fmla="*/ 2545102 w 4519987"/>
              <a:gd name="connsiteY74" fmla="*/ 4486275 h 4496940"/>
              <a:gd name="connsiteX75" fmla="*/ 2306977 w 4519987"/>
              <a:gd name="connsiteY75" fmla="*/ 4476750 h 4496940"/>
              <a:gd name="connsiteX76" fmla="*/ 2202202 w 4519987"/>
              <a:gd name="connsiteY76" fmla="*/ 4457700 h 4496940"/>
              <a:gd name="connsiteX77" fmla="*/ 2126002 w 4519987"/>
              <a:gd name="connsiteY77" fmla="*/ 4429125 h 4496940"/>
              <a:gd name="connsiteX78" fmla="*/ 1935502 w 4519987"/>
              <a:gd name="connsiteY78" fmla="*/ 4400550 h 4496940"/>
              <a:gd name="connsiteX79" fmla="*/ 1821202 w 4519987"/>
              <a:gd name="connsiteY79" fmla="*/ 4371975 h 4496940"/>
              <a:gd name="connsiteX80" fmla="*/ 1754527 w 4519987"/>
              <a:gd name="connsiteY80" fmla="*/ 4352925 h 4496940"/>
              <a:gd name="connsiteX81" fmla="*/ 1687852 w 4519987"/>
              <a:gd name="connsiteY81" fmla="*/ 4343400 h 4496940"/>
              <a:gd name="connsiteX82" fmla="*/ 1573552 w 4519987"/>
              <a:gd name="connsiteY82" fmla="*/ 4305300 h 4496940"/>
              <a:gd name="connsiteX83" fmla="*/ 1402102 w 4519987"/>
              <a:gd name="connsiteY83" fmla="*/ 4276725 h 4496940"/>
              <a:gd name="connsiteX84" fmla="*/ 1287802 w 4519987"/>
              <a:gd name="connsiteY84" fmla="*/ 4229100 h 4496940"/>
              <a:gd name="connsiteX85" fmla="*/ 1221127 w 4519987"/>
              <a:gd name="connsiteY85" fmla="*/ 4200525 h 4496940"/>
              <a:gd name="connsiteX86" fmla="*/ 1144927 w 4519987"/>
              <a:gd name="connsiteY86" fmla="*/ 4171950 h 4496940"/>
              <a:gd name="connsiteX87" fmla="*/ 1087777 w 4519987"/>
              <a:gd name="connsiteY87" fmla="*/ 4143375 h 4496940"/>
              <a:gd name="connsiteX88" fmla="*/ 1030627 w 4519987"/>
              <a:gd name="connsiteY88" fmla="*/ 4124325 h 4496940"/>
              <a:gd name="connsiteX89" fmla="*/ 925852 w 4519987"/>
              <a:gd name="connsiteY89" fmla="*/ 4067175 h 4496940"/>
              <a:gd name="connsiteX90" fmla="*/ 830602 w 4519987"/>
              <a:gd name="connsiteY90" fmla="*/ 3981450 h 4496940"/>
              <a:gd name="connsiteX91" fmla="*/ 763927 w 4519987"/>
              <a:gd name="connsiteY91" fmla="*/ 3914775 h 4496940"/>
              <a:gd name="connsiteX92" fmla="*/ 725827 w 4519987"/>
              <a:gd name="connsiteY92" fmla="*/ 3876675 h 4496940"/>
              <a:gd name="connsiteX93" fmla="*/ 697252 w 4519987"/>
              <a:gd name="connsiteY93" fmla="*/ 3838575 h 4496940"/>
              <a:gd name="connsiteX94" fmla="*/ 640102 w 4519987"/>
              <a:gd name="connsiteY94" fmla="*/ 3781425 h 4496940"/>
              <a:gd name="connsiteX95" fmla="*/ 611527 w 4519987"/>
              <a:gd name="connsiteY95" fmla="*/ 3733800 h 4496940"/>
              <a:gd name="connsiteX96" fmla="*/ 554377 w 4519987"/>
              <a:gd name="connsiteY96" fmla="*/ 3657600 h 4496940"/>
              <a:gd name="connsiteX97" fmla="*/ 525802 w 4519987"/>
              <a:gd name="connsiteY97" fmla="*/ 3609975 h 4496940"/>
              <a:gd name="connsiteX98" fmla="*/ 497227 w 4519987"/>
              <a:gd name="connsiteY98" fmla="*/ 3552825 h 4496940"/>
              <a:gd name="connsiteX99" fmla="*/ 440077 w 4519987"/>
              <a:gd name="connsiteY99" fmla="*/ 3495675 h 4496940"/>
              <a:gd name="connsiteX100" fmla="*/ 411502 w 4519987"/>
              <a:gd name="connsiteY100" fmla="*/ 3448050 h 4496940"/>
              <a:gd name="connsiteX101" fmla="*/ 278152 w 4519987"/>
              <a:gd name="connsiteY101" fmla="*/ 3257550 h 4496940"/>
              <a:gd name="connsiteX102" fmla="*/ 249577 w 4519987"/>
              <a:gd name="connsiteY102" fmla="*/ 3200400 h 4496940"/>
              <a:gd name="connsiteX103" fmla="*/ 240052 w 4519987"/>
              <a:gd name="connsiteY103" fmla="*/ 3162300 h 4496940"/>
              <a:gd name="connsiteX104" fmla="*/ 221002 w 4519987"/>
              <a:gd name="connsiteY104" fmla="*/ 3105150 h 4496940"/>
              <a:gd name="connsiteX105" fmla="*/ 173377 w 4519987"/>
              <a:gd name="connsiteY105" fmla="*/ 3019425 h 4496940"/>
              <a:gd name="connsiteX106" fmla="*/ 144802 w 4519987"/>
              <a:gd name="connsiteY106" fmla="*/ 2924175 h 4496940"/>
              <a:gd name="connsiteX107" fmla="*/ 68602 w 4519987"/>
              <a:gd name="connsiteY107" fmla="*/ 2724150 h 4496940"/>
              <a:gd name="connsiteX108" fmla="*/ 49552 w 4519987"/>
              <a:gd name="connsiteY108" fmla="*/ 2638425 h 4496940"/>
              <a:gd name="connsiteX109" fmla="*/ 40027 w 4519987"/>
              <a:gd name="connsiteY109" fmla="*/ 2562225 h 4496940"/>
              <a:gd name="connsiteX110" fmla="*/ 30502 w 4519987"/>
              <a:gd name="connsiteY110" fmla="*/ 2514600 h 4496940"/>
              <a:gd name="connsiteX111" fmla="*/ 11452 w 4519987"/>
              <a:gd name="connsiteY111" fmla="*/ 2400300 h 4496940"/>
              <a:gd name="connsiteX112" fmla="*/ 20977 w 4519987"/>
              <a:gd name="connsiteY112" fmla="*/ 1905000 h 4496940"/>
              <a:gd name="connsiteX113" fmla="*/ 30502 w 4519987"/>
              <a:gd name="connsiteY113" fmla="*/ 1838325 h 4496940"/>
              <a:gd name="connsiteX114" fmla="*/ 49552 w 4519987"/>
              <a:gd name="connsiteY114" fmla="*/ 1781175 h 4496940"/>
              <a:gd name="connsiteX115" fmla="*/ 59077 w 4519987"/>
              <a:gd name="connsiteY115" fmla="*/ 1743075 h 4496940"/>
              <a:gd name="connsiteX116" fmla="*/ 78127 w 4519987"/>
              <a:gd name="connsiteY116" fmla="*/ 1685925 h 4496940"/>
              <a:gd name="connsiteX117" fmla="*/ 87652 w 4519987"/>
              <a:gd name="connsiteY117" fmla="*/ 1638300 h 4496940"/>
              <a:gd name="connsiteX118" fmla="*/ 106702 w 4519987"/>
              <a:gd name="connsiteY118" fmla="*/ 1590675 h 4496940"/>
              <a:gd name="connsiteX119" fmla="*/ 135277 w 4519987"/>
              <a:gd name="connsiteY119" fmla="*/ 1504950 h 4496940"/>
              <a:gd name="connsiteX120" fmla="*/ 154327 w 4519987"/>
              <a:gd name="connsiteY120" fmla="*/ 1419225 h 4496940"/>
              <a:gd name="connsiteX121" fmla="*/ 230527 w 4519987"/>
              <a:gd name="connsiteY121" fmla="*/ 1276350 h 4496940"/>
              <a:gd name="connsiteX122" fmla="*/ 240052 w 4519987"/>
              <a:gd name="connsiteY122" fmla="*/ 1247775 h 4496940"/>
              <a:gd name="connsiteX123" fmla="*/ 268627 w 4519987"/>
              <a:gd name="connsiteY123" fmla="*/ 1200150 h 4496940"/>
              <a:gd name="connsiteX124" fmla="*/ 287677 w 4519987"/>
              <a:gd name="connsiteY124" fmla="*/ 1152525 h 4496940"/>
              <a:gd name="connsiteX125" fmla="*/ 316252 w 4519987"/>
              <a:gd name="connsiteY125" fmla="*/ 1114425 h 4496940"/>
              <a:gd name="connsiteX126" fmla="*/ 363877 w 4519987"/>
              <a:gd name="connsiteY126" fmla="*/ 1038225 h 4496940"/>
              <a:gd name="connsiteX127" fmla="*/ 382927 w 4519987"/>
              <a:gd name="connsiteY127" fmla="*/ 1009650 h 4496940"/>
              <a:gd name="connsiteX128" fmla="*/ 440077 w 4519987"/>
              <a:gd name="connsiteY128" fmla="*/ 904875 h 4496940"/>
              <a:gd name="connsiteX129" fmla="*/ 478177 w 4519987"/>
              <a:gd name="connsiteY129" fmla="*/ 857250 h 4496940"/>
              <a:gd name="connsiteX130" fmla="*/ 497227 w 4519987"/>
              <a:gd name="connsiteY130" fmla="*/ 828675 h 4496940"/>
              <a:gd name="connsiteX131" fmla="*/ 535327 w 4519987"/>
              <a:gd name="connsiteY131" fmla="*/ 800100 h 4496940"/>
              <a:gd name="connsiteX132" fmla="*/ 602002 w 4519987"/>
              <a:gd name="connsiteY132" fmla="*/ 733425 h 4496940"/>
              <a:gd name="connsiteX133" fmla="*/ 668677 w 4519987"/>
              <a:gd name="connsiteY133" fmla="*/ 676275 h 4496940"/>
              <a:gd name="connsiteX134" fmla="*/ 697252 w 4519987"/>
              <a:gd name="connsiteY134" fmla="*/ 657225 h 4496940"/>
              <a:gd name="connsiteX135" fmla="*/ 840127 w 4519987"/>
              <a:gd name="connsiteY135" fmla="*/ 533400 h 4496940"/>
              <a:gd name="connsiteX136" fmla="*/ 887752 w 4519987"/>
              <a:gd name="connsiteY136" fmla="*/ 504825 h 4496940"/>
              <a:gd name="connsiteX137" fmla="*/ 1167152 w 4519987"/>
              <a:gd name="connsiteY137" fmla="*/ 311150 h 4496940"/>
              <a:gd name="connsiteX138" fmla="*/ 1268752 w 4519987"/>
              <a:gd name="connsiteY138" fmla="*/ 285750 h 4496940"/>
              <a:gd name="connsiteX139" fmla="*/ 1411627 w 4519987"/>
              <a:gd name="connsiteY139" fmla="*/ 190500 h 4496940"/>
              <a:gd name="connsiteX140" fmla="*/ 1449727 w 4519987"/>
              <a:gd name="connsiteY140" fmla="*/ 161925 h 4496940"/>
              <a:gd name="connsiteX141" fmla="*/ 1525927 w 4519987"/>
              <a:gd name="connsiteY141" fmla="*/ 152400 h 4496940"/>
              <a:gd name="connsiteX142" fmla="*/ 1583077 w 4519987"/>
              <a:gd name="connsiteY142" fmla="*/ 142875 h 4496940"/>
              <a:gd name="connsiteX143" fmla="*/ 1716427 w 4519987"/>
              <a:gd name="connsiteY143" fmla="*/ 123825 h 4496940"/>
              <a:gd name="connsiteX144" fmla="*/ 1811677 w 4519987"/>
              <a:gd name="connsiteY144" fmla="*/ 114300 h 4496940"/>
              <a:gd name="connsiteX145" fmla="*/ 1859302 w 4519987"/>
              <a:gd name="connsiteY145" fmla="*/ 104775 h 4496940"/>
              <a:gd name="connsiteX146" fmla="*/ 1916452 w 4519987"/>
              <a:gd name="connsiteY146" fmla="*/ 95250 h 4496940"/>
              <a:gd name="connsiteX147" fmla="*/ 2030752 w 4519987"/>
              <a:gd name="connsiteY147" fmla="*/ 66675 h 4496940"/>
              <a:gd name="connsiteX148" fmla="*/ 2097427 w 4519987"/>
              <a:gd name="connsiteY148" fmla="*/ 47625 h 4496940"/>
              <a:gd name="connsiteX149" fmla="*/ 2164102 w 4519987"/>
              <a:gd name="connsiteY149" fmla="*/ 38100 h 4496940"/>
              <a:gd name="connsiteX150" fmla="*/ 2392702 w 4519987"/>
              <a:gd name="connsiteY15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3907177 w 4519987"/>
              <a:gd name="connsiteY21" fmla="*/ 647700 h 4496940"/>
              <a:gd name="connsiteX22" fmla="*/ 4078627 w 4519987"/>
              <a:gd name="connsiteY22" fmla="*/ 838200 h 4496940"/>
              <a:gd name="connsiteX23" fmla="*/ 4135777 w 4519987"/>
              <a:gd name="connsiteY23" fmla="*/ 933450 h 4496940"/>
              <a:gd name="connsiteX24" fmla="*/ 4164352 w 4519987"/>
              <a:gd name="connsiteY24" fmla="*/ 990600 h 4496940"/>
              <a:gd name="connsiteX25" fmla="*/ 4173877 w 4519987"/>
              <a:gd name="connsiteY25" fmla="*/ 1019175 h 4496940"/>
              <a:gd name="connsiteX26" fmla="*/ 4192927 w 4519987"/>
              <a:gd name="connsiteY26" fmla="*/ 1057275 h 4496940"/>
              <a:gd name="connsiteX27" fmla="*/ 4202452 w 4519987"/>
              <a:gd name="connsiteY27" fmla="*/ 1085850 h 4496940"/>
              <a:gd name="connsiteX28" fmla="*/ 4250077 w 4519987"/>
              <a:gd name="connsiteY28" fmla="*/ 1143000 h 4496940"/>
              <a:gd name="connsiteX29" fmla="*/ 4259602 w 4519987"/>
              <a:gd name="connsiteY29" fmla="*/ 1190625 h 4496940"/>
              <a:gd name="connsiteX30" fmla="*/ 4307227 w 4519987"/>
              <a:gd name="connsiteY30" fmla="*/ 1266825 h 4496940"/>
              <a:gd name="connsiteX31" fmla="*/ 4345327 w 4519987"/>
              <a:gd name="connsiteY31" fmla="*/ 1362075 h 4496940"/>
              <a:gd name="connsiteX32" fmla="*/ 4373902 w 4519987"/>
              <a:gd name="connsiteY32" fmla="*/ 1428750 h 4496940"/>
              <a:gd name="connsiteX33" fmla="*/ 4392952 w 4519987"/>
              <a:gd name="connsiteY33" fmla="*/ 1552575 h 4496940"/>
              <a:gd name="connsiteX34" fmla="*/ 4402477 w 4519987"/>
              <a:gd name="connsiteY34" fmla="*/ 1590675 h 4496940"/>
              <a:gd name="connsiteX35" fmla="*/ 4431052 w 4519987"/>
              <a:gd name="connsiteY35" fmla="*/ 1685925 h 4496940"/>
              <a:gd name="connsiteX36" fmla="*/ 4519952 w 4519987"/>
              <a:gd name="connsiteY36" fmla="*/ 2181225 h 4496940"/>
              <a:gd name="connsiteX37" fmla="*/ 4446927 w 4519987"/>
              <a:gd name="connsiteY37" fmla="*/ 2768600 h 4496940"/>
              <a:gd name="connsiteX38" fmla="*/ 4383427 w 4519987"/>
              <a:gd name="connsiteY38" fmla="*/ 2990850 h 4496940"/>
              <a:gd name="connsiteX39" fmla="*/ 4278652 w 4519987"/>
              <a:gd name="connsiteY39" fmla="*/ 3248025 h 4496940"/>
              <a:gd name="connsiteX40" fmla="*/ 4259602 w 4519987"/>
              <a:gd name="connsiteY40" fmla="*/ 3276600 h 4496940"/>
              <a:gd name="connsiteX41" fmla="*/ 4221502 w 4519987"/>
              <a:gd name="connsiteY41" fmla="*/ 3333750 h 4496940"/>
              <a:gd name="connsiteX42" fmla="*/ 4211977 w 4519987"/>
              <a:gd name="connsiteY42" fmla="*/ 3362325 h 4496940"/>
              <a:gd name="connsiteX43" fmla="*/ 4183402 w 4519987"/>
              <a:gd name="connsiteY43" fmla="*/ 3400425 h 4496940"/>
              <a:gd name="connsiteX44" fmla="*/ 4164352 w 4519987"/>
              <a:gd name="connsiteY44" fmla="*/ 3429000 h 4496940"/>
              <a:gd name="connsiteX45" fmla="*/ 4088152 w 4519987"/>
              <a:gd name="connsiteY45" fmla="*/ 3495675 h 4496940"/>
              <a:gd name="connsiteX46" fmla="*/ 4059577 w 4519987"/>
              <a:gd name="connsiteY46" fmla="*/ 3533775 h 4496940"/>
              <a:gd name="connsiteX47" fmla="*/ 4002427 w 4519987"/>
              <a:gd name="connsiteY47" fmla="*/ 3600450 h 4496940"/>
              <a:gd name="connsiteX48" fmla="*/ 3983377 w 4519987"/>
              <a:gd name="connsiteY48" fmla="*/ 3629025 h 4496940"/>
              <a:gd name="connsiteX49" fmla="*/ 3954802 w 4519987"/>
              <a:gd name="connsiteY49" fmla="*/ 3648075 h 4496940"/>
              <a:gd name="connsiteX50" fmla="*/ 3907177 w 4519987"/>
              <a:gd name="connsiteY50" fmla="*/ 3686175 h 4496940"/>
              <a:gd name="connsiteX51" fmla="*/ 3869077 w 4519987"/>
              <a:gd name="connsiteY51" fmla="*/ 3724275 h 4496940"/>
              <a:gd name="connsiteX52" fmla="*/ 3792877 w 4519987"/>
              <a:gd name="connsiteY52" fmla="*/ 3781425 h 4496940"/>
              <a:gd name="connsiteX53" fmla="*/ 3783352 w 4519987"/>
              <a:gd name="connsiteY53" fmla="*/ 3810000 h 4496940"/>
              <a:gd name="connsiteX54" fmla="*/ 3745252 w 4519987"/>
              <a:gd name="connsiteY54" fmla="*/ 3819525 h 4496940"/>
              <a:gd name="connsiteX55" fmla="*/ 3678577 w 4519987"/>
              <a:gd name="connsiteY55" fmla="*/ 3848100 h 4496940"/>
              <a:gd name="connsiteX56" fmla="*/ 3659527 w 4519987"/>
              <a:gd name="connsiteY56" fmla="*/ 3971925 h 4496940"/>
              <a:gd name="connsiteX57" fmla="*/ 3630952 w 4519987"/>
              <a:gd name="connsiteY57" fmla="*/ 4010025 h 4496940"/>
              <a:gd name="connsiteX58" fmla="*/ 3621427 w 4519987"/>
              <a:gd name="connsiteY58" fmla="*/ 4038600 h 4496940"/>
              <a:gd name="connsiteX59" fmla="*/ 3554752 w 4519987"/>
              <a:gd name="connsiteY59" fmla="*/ 4095750 h 4496940"/>
              <a:gd name="connsiteX60" fmla="*/ 3516652 w 4519987"/>
              <a:gd name="connsiteY60" fmla="*/ 4114800 h 4496940"/>
              <a:gd name="connsiteX61" fmla="*/ 3497602 w 4519987"/>
              <a:gd name="connsiteY61" fmla="*/ 4143375 h 4496940"/>
              <a:gd name="connsiteX62" fmla="*/ 3383302 w 4519987"/>
              <a:gd name="connsiteY62" fmla="*/ 4210050 h 4496940"/>
              <a:gd name="connsiteX63" fmla="*/ 3335677 w 4519987"/>
              <a:gd name="connsiteY63" fmla="*/ 4238625 h 4496940"/>
              <a:gd name="connsiteX64" fmla="*/ 3288052 w 4519987"/>
              <a:gd name="connsiteY64" fmla="*/ 4248150 h 4496940"/>
              <a:gd name="connsiteX65" fmla="*/ 3240427 w 4519987"/>
              <a:gd name="connsiteY65" fmla="*/ 4267200 h 4496940"/>
              <a:gd name="connsiteX66" fmla="*/ 3068977 w 4519987"/>
              <a:gd name="connsiteY66" fmla="*/ 4286250 h 4496940"/>
              <a:gd name="connsiteX67" fmla="*/ 2935627 w 4519987"/>
              <a:gd name="connsiteY67" fmla="*/ 4333875 h 4496940"/>
              <a:gd name="connsiteX68" fmla="*/ 2811802 w 4519987"/>
              <a:gd name="connsiteY68" fmla="*/ 4371975 h 4496940"/>
              <a:gd name="connsiteX69" fmla="*/ 2745127 w 4519987"/>
              <a:gd name="connsiteY69" fmla="*/ 4410075 h 4496940"/>
              <a:gd name="connsiteX70" fmla="*/ 2697502 w 4519987"/>
              <a:gd name="connsiteY70" fmla="*/ 4429125 h 4496940"/>
              <a:gd name="connsiteX71" fmla="*/ 2640352 w 4519987"/>
              <a:gd name="connsiteY71" fmla="*/ 4457700 h 4496940"/>
              <a:gd name="connsiteX72" fmla="*/ 2583202 w 4519987"/>
              <a:gd name="connsiteY72" fmla="*/ 4467225 h 4496940"/>
              <a:gd name="connsiteX73" fmla="*/ 2545102 w 4519987"/>
              <a:gd name="connsiteY73" fmla="*/ 4486275 h 4496940"/>
              <a:gd name="connsiteX74" fmla="*/ 2306977 w 4519987"/>
              <a:gd name="connsiteY74" fmla="*/ 4476750 h 4496940"/>
              <a:gd name="connsiteX75" fmla="*/ 2202202 w 4519987"/>
              <a:gd name="connsiteY75" fmla="*/ 4457700 h 4496940"/>
              <a:gd name="connsiteX76" fmla="*/ 2126002 w 4519987"/>
              <a:gd name="connsiteY76" fmla="*/ 4429125 h 4496940"/>
              <a:gd name="connsiteX77" fmla="*/ 1935502 w 4519987"/>
              <a:gd name="connsiteY77" fmla="*/ 4400550 h 4496940"/>
              <a:gd name="connsiteX78" fmla="*/ 1821202 w 4519987"/>
              <a:gd name="connsiteY78" fmla="*/ 4371975 h 4496940"/>
              <a:gd name="connsiteX79" fmla="*/ 1754527 w 4519987"/>
              <a:gd name="connsiteY79" fmla="*/ 4352925 h 4496940"/>
              <a:gd name="connsiteX80" fmla="*/ 1687852 w 4519987"/>
              <a:gd name="connsiteY80" fmla="*/ 4343400 h 4496940"/>
              <a:gd name="connsiteX81" fmla="*/ 1573552 w 4519987"/>
              <a:gd name="connsiteY81" fmla="*/ 4305300 h 4496940"/>
              <a:gd name="connsiteX82" fmla="*/ 1402102 w 4519987"/>
              <a:gd name="connsiteY82" fmla="*/ 4276725 h 4496940"/>
              <a:gd name="connsiteX83" fmla="*/ 1287802 w 4519987"/>
              <a:gd name="connsiteY83" fmla="*/ 4229100 h 4496940"/>
              <a:gd name="connsiteX84" fmla="*/ 1221127 w 4519987"/>
              <a:gd name="connsiteY84" fmla="*/ 4200525 h 4496940"/>
              <a:gd name="connsiteX85" fmla="*/ 1144927 w 4519987"/>
              <a:gd name="connsiteY85" fmla="*/ 4171950 h 4496940"/>
              <a:gd name="connsiteX86" fmla="*/ 1087777 w 4519987"/>
              <a:gd name="connsiteY86" fmla="*/ 4143375 h 4496940"/>
              <a:gd name="connsiteX87" fmla="*/ 1030627 w 4519987"/>
              <a:gd name="connsiteY87" fmla="*/ 4124325 h 4496940"/>
              <a:gd name="connsiteX88" fmla="*/ 925852 w 4519987"/>
              <a:gd name="connsiteY88" fmla="*/ 4067175 h 4496940"/>
              <a:gd name="connsiteX89" fmla="*/ 830602 w 4519987"/>
              <a:gd name="connsiteY89" fmla="*/ 3981450 h 4496940"/>
              <a:gd name="connsiteX90" fmla="*/ 763927 w 4519987"/>
              <a:gd name="connsiteY90" fmla="*/ 3914775 h 4496940"/>
              <a:gd name="connsiteX91" fmla="*/ 725827 w 4519987"/>
              <a:gd name="connsiteY91" fmla="*/ 3876675 h 4496940"/>
              <a:gd name="connsiteX92" fmla="*/ 697252 w 4519987"/>
              <a:gd name="connsiteY92" fmla="*/ 3838575 h 4496940"/>
              <a:gd name="connsiteX93" fmla="*/ 640102 w 4519987"/>
              <a:gd name="connsiteY93" fmla="*/ 3781425 h 4496940"/>
              <a:gd name="connsiteX94" fmla="*/ 611527 w 4519987"/>
              <a:gd name="connsiteY94" fmla="*/ 3733800 h 4496940"/>
              <a:gd name="connsiteX95" fmla="*/ 554377 w 4519987"/>
              <a:gd name="connsiteY95" fmla="*/ 3657600 h 4496940"/>
              <a:gd name="connsiteX96" fmla="*/ 525802 w 4519987"/>
              <a:gd name="connsiteY96" fmla="*/ 3609975 h 4496940"/>
              <a:gd name="connsiteX97" fmla="*/ 497227 w 4519987"/>
              <a:gd name="connsiteY97" fmla="*/ 3552825 h 4496940"/>
              <a:gd name="connsiteX98" fmla="*/ 440077 w 4519987"/>
              <a:gd name="connsiteY98" fmla="*/ 3495675 h 4496940"/>
              <a:gd name="connsiteX99" fmla="*/ 411502 w 4519987"/>
              <a:gd name="connsiteY99" fmla="*/ 3448050 h 4496940"/>
              <a:gd name="connsiteX100" fmla="*/ 278152 w 4519987"/>
              <a:gd name="connsiteY100" fmla="*/ 3257550 h 4496940"/>
              <a:gd name="connsiteX101" fmla="*/ 249577 w 4519987"/>
              <a:gd name="connsiteY101" fmla="*/ 3200400 h 4496940"/>
              <a:gd name="connsiteX102" fmla="*/ 240052 w 4519987"/>
              <a:gd name="connsiteY102" fmla="*/ 3162300 h 4496940"/>
              <a:gd name="connsiteX103" fmla="*/ 221002 w 4519987"/>
              <a:gd name="connsiteY103" fmla="*/ 3105150 h 4496940"/>
              <a:gd name="connsiteX104" fmla="*/ 173377 w 4519987"/>
              <a:gd name="connsiteY104" fmla="*/ 3019425 h 4496940"/>
              <a:gd name="connsiteX105" fmla="*/ 144802 w 4519987"/>
              <a:gd name="connsiteY105" fmla="*/ 2924175 h 4496940"/>
              <a:gd name="connsiteX106" fmla="*/ 68602 w 4519987"/>
              <a:gd name="connsiteY106" fmla="*/ 2724150 h 4496940"/>
              <a:gd name="connsiteX107" fmla="*/ 49552 w 4519987"/>
              <a:gd name="connsiteY107" fmla="*/ 2638425 h 4496940"/>
              <a:gd name="connsiteX108" fmla="*/ 40027 w 4519987"/>
              <a:gd name="connsiteY108" fmla="*/ 2562225 h 4496940"/>
              <a:gd name="connsiteX109" fmla="*/ 30502 w 4519987"/>
              <a:gd name="connsiteY109" fmla="*/ 2514600 h 4496940"/>
              <a:gd name="connsiteX110" fmla="*/ 11452 w 4519987"/>
              <a:gd name="connsiteY110" fmla="*/ 2400300 h 4496940"/>
              <a:gd name="connsiteX111" fmla="*/ 20977 w 4519987"/>
              <a:gd name="connsiteY111" fmla="*/ 1905000 h 4496940"/>
              <a:gd name="connsiteX112" fmla="*/ 30502 w 4519987"/>
              <a:gd name="connsiteY112" fmla="*/ 1838325 h 4496940"/>
              <a:gd name="connsiteX113" fmla="*/ 49552 w 4519987"/>
              <a:gd name="connsiteY113" fmla="*/ 1781175 h 4496940"/>
              <a:gd name="connsiteX114" fmla="*/ 59077 w 4519987"/>
              <a:gd name="connsiteY114" fmla="*/ 1743075 h 4496940"/>
              <a:gd name="connsiteX115" fmla="*/ 78127 w 4519987"/>
              <a:gd name="connsiteY115" fmla="*/ 1685925 h 4496940"/>
              <a:gd name="connsiteX116" fmla="*/ 87652 w 4519987"/>
              <a:gd name="connsiteY116" fmla="*/ 1638300 h 4496940"/>
              <a:gd name="connsiteX117" fmla="*/ 106702 w 4519987"/>
              <a:gd name="connsiteY117" fmla="*/ 1590675 h 4496940"/>
              <a:gd name="connsiteX118" fmla="*/ 135277 w 4519987"/>
              <a:gd name="connsiteY118" fmla="*/ 1504950 h 4496940"/>
              <a:gd name="connsiteX119" fmla="*/ 154327 w 4519987"/>
              <a:gd name="connsiteY119" fmla="*/ 1419225 h 4496940"/>
              <a:gd name="connsiteX120" fmla="*/ 230527 w 4519987"/>
              <a:gd name="connsiteY120" fmla="*/ 1276350 h 4496940"/>
              <a:gd name="connsiteX121" fmla="*/ 240052 w 4519987"/>
              <a:gd name="connsiteY121" fmla="*/ 1247775 h 4496940"/>
              <a:gd name="connsiteX122" fmla="*/ 268627 w 4519987"/>
              <a:gd name="connsiteY122" fmla="*/ 1200150 h 4496940"/>
              <a:gd name="connsiteX123" fmla="*/ 287677 w 4519987"/>
              <a:gd name="connsiteY123" fmla="*/ 1152525 h 4496940"/>
              <a:gd name="connsiteX124" fmla="*/ 316252 w 4519987"/>
              <a:gd name="connsiteY124" fmla="*/ 1114425 h 4496940"/>
              <a:gd name="connsiteX125" fmla="*/ 363877 w 4519987"/>
              <a:gd name="connsiteY125" fmla="*/ 1038225 h 4496940"/>
              <a:gd name="connsiteX126" fmla="*/ 382927 w 4519987"/>
              <a:gd name="connsiteY126" fmla="*/ 1009650 h 4496940"/>
              <a:gd name="connsiteX127" fmla="*/ 440077 w 4519987"/>
              <a:gd name="connsiteY127" fmla="*/ 904875 h 4496940"/>
              <a:gd name="connsiteX128" fmla="*/ 478177 w 4519987"/>
              <a:gd name="connsiteY128" fmla="*/ 857250 h 4496940"/>
              <a:gd name="connsiteX129" fmla="*/ 497227 w 4519987"/>
              <a:gd name="connsiteY129" fmla="*/ 828675 h 4496940"/>
              <a:gd name="connsiteX130" fmla="*/ 535327 w 4519987"/>
              <a:gd name="connsiteY130" fmla="*/ 800100 h 4496940"/>
              <a:gd name="connsiteX131" fmla="*/ 602002 w 4519987"/>
              <a:gd name="connsiteY131" fmla="*/ 733425 h 4496940"/>
              <a:gd name="connsiteX132" fmla="*/ 668677 w 4519987"/>
              <a:gd name="connsiteY132" fmla="*/ 676275 h 4496940"/>
              <a:gd name="connsiteX133" fmla="*/ 697252 w 4519987"/>
              <a:gd name="connsiteY133" fmla="*/ 657225 h 4496940"/>
              <a:gd name="connsiteX134" fmla="*/ 840127 w 4519987"/>
              <a:gd name="connsiteY134" fmla="*/ 533400 h 4496940"/>
              <a:gd name="connsiteX135" fmla="*/ 887752 w 4519987"/>
              <a:gd name="connsiteY135" fmla="*/ 504825 h 4496940"/>
              <a:gd name="connsiteX136" fmla="*/ 1167152 w 4519987"/>
              <a:gd name="connsiteY136" fmla="*/ 311150 h 4496940"/>
              <a:gd name="connsiteX137" fmla="*/ 1268752 w 4519987"/>
              <a:gd name="connsiteY137" fmla="*/ 285750 h 4496940"/>
              <a:gd name="connsiteX138" fmla="*/ 1411627 w 4519987"/>
              <a:gd name="connsiteY138" fmla="*/ 190500 h 4496940"/>
              <a:gd name="connsiteX139" fmla="*/ 1449727 w 4519987"/>
              <a:gd name="connsiteY139" fmla="*/ 161925 h 4496940"/>
              <a:gd name="connsiteX140" fmla="*/ 1525927 w 4519987"/>
              <a:gd name="connsiteY140" fmla="*/ 152400 h 4496940"/>
              <a:gd name="connsiteX141" fmla="*/ 1583077 w 4519987"/>
              <a:gd name="connsiteY141" fmla="*/ 142875 h 4496940"/>
              <a:gd name="connsiteX142" fmla="*/ 1716427 w 4519987"/>
              <a:gd name="connsiteY142" fmla="*/ 123825 h 4496940"/>
              <a:gd name="connsiteX143" fmla="*/ 1811677 w 4519987"/>
              <a:gd name="connsiteY143" fmla="*/ 114300 h 4496940"/>
              <a:gd name="connsiteX144" fmla="*/ 1859302 w 4519987"/>
              <a:gd name="connsiteY144" fmla="*/ 104775 h 4496940"/>
              <a:gd name="connsiteX145" fmla="*/ 1916452 w 4519987"/>
              <a:gd name="connsiteY145" fmla="*/ 95250 h 4496940"/>
              <a:gd name="connsiteX146" fmla="*/ 2030752 w 4519987"/>
              <a:gd name="connsiteY146" fmla="*/ 66675 h 4496940"/>
              <a:gd name="connsiteX147" fmla="*/ 2097427 w 4519987"/>
              <a:gd name="connsiteY147" fmla="*/ 47625 h 4496940"/>
              <a:gd name="connsiteX148" fmla="*/ 2164102 w 4519987"/>
              <a:gd name="connsiteY148" fmla="*/ 38100 h 4496940"/>
              <a:gd name="connsiteX149" fmla="*/ 2392702 w 4519987"/>
              <a:gd name="connsiteY14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78627 w 4519987"/>
              <a:gd name="connsiteY21" fmla="*/ 838200 h 4496940"/>
              <a:gd name="connsiteX22" fmla="*/ 4135777 w 4519987"/>
              <a:gd name="connsiteY22" fmla="*/ 933450 h 4496940"/>
              <a:gd name="connsiteX23" fmla="*/ 4164352 w 4519987"/>
              <a:gd name="connsiteY23" fmla="*/ 990600 h 4496940"/>
              <a:gd name="connsiteX24" fmla="*/ 4173877 w 4519987"/>
              <a:gd name="connsiteY24" fmla="*/ 1019175 h 4496940"/>
              <a:gd name="connsiteX25" fmla="*/ 4192927 w 4519987"/>
              <a:gd name="connsiteY25" fmla="*/ 1057275 h 4496940"/>
              <a:gd name="connsiteX26" fmla="*/ 4202452 w 4519987"/>
              <a:gd name="connsiteY26" fmla="*/ 1085850 h 4496940"/>
              <a:gd name="connsiteX27" fmla="*/ 4250077 w 4519987"/>
              <a:gd name="connsiteY27" fmla="*/ 1143000 h 4496940"/>
              <a:gd name="connsiteX28" fmla="*/ 4259602 w 4519987"/>
              <a:gd name="connsiteY28" fmla="*/ 1190625 h 4496940"/>
              <a:gd name="connsiteX29" fmla="*/ 4307227 w 4519987"/>
              <a:gd name="connsiteY29" fmla="*/ 1266825 h 4496940"/>
              <a:gd name="connsiteX30" fmla="*/ 4345327 w 4519987"/>
              <a:gd name="connsiteY30" fmla="*/ 1362075 h 4496940"/>
              <a:gd name="connsiteX31" fmla="*/ 4373902 w 4519987"/>
              <a:gd name="connsiteY31" fmla="*/ 1428750 h 4496940"/>
              <a:gd name="connsiteX32" fmla="*/ 4392952 w 4519987"/>
              <a:gd name="connsiteY32" fmla="*/ 1552575 h 4496940"/>
              <a:gd name="connsiteX33" fmla="*/ 4402477 w 4519987"/>
              <a:gd name="connsiteY33" fmla="*/ 1590675 h 4496940"/>
              <a:gd name="connsiteX34" fmla="*/ 4431052 w 4519987"/>
              <a:gd name="connsiteY34" fmla="*/ 1685925 h 4496940"/>
              <a:gd name="connsiteX35" fmla="*/ 4519952 w 4519987"/>
              <a:gd name="connsiteY35" fmla="*/ 2181225 h 4496940"/>
              <a:gd name="connsiteX36" fmla="*/ 4446927 w 4519987"/>
              <a:gd name="connsiteY36" fmla="*/ 2768600 h 4496940"/>
              <a:gd name="connsiteX37" fmla="*/ 4383427 w 4519987"/>
              <a:gd name="connsiteY37" fmla="*/ 2990850 h 4496940"/>
              <a:gd name="connsiteX38" fmla="*/ 4278652 w 4519987"/>
              <a:gd name="connsiteY38" fmla="*/ 3248025 h 4496940"/>
              <a:gd name="connsiteX39" fmla="*/ 4259602 w 4519987"/>
              <a:gd name="connsiteY39" fmla="*/ 3276600 h 4496940"/>
              <a:gd name="connsiteX40" fmla="*/ 4221502 w 4519987"/>
              <a:gd name="connsiteY40" fmla="*/ 3333750 h 4496940"/>
              <a:gd name="connsiteX41" fmla="*/ 4211977 w 4519987"/>
              <a:gd name="connsiteY41" fmla="*/ 3362325 h 4496940"/>
              <a:gd name="connsiteX42" fmla="*/ 4183402 w 4519987"/>
              <a:gd name="connsiteY42" fmla="*/ 3400425 h 4496940"/>
              <a:gd name="connsiteX43" fmla="*/ 4164352 w 4519987"/>
              <a:gd name="connsiteY43" fmla="*/ 3429000 h 4496940"/>
              <a:gd name="connsiteX44" fmla="*/ 4088152 w 4519987"/>
              <a:gd name="connsiteY44" fmla="*/ 3495675 h 4496940"/>
              <a:gd name="connsiteX45" fmla="*/ 4059577 w 4519987"/>
              <a:gd name="connsiteY45" fmla="*/ 3533775 h 4496940"/>
              <a:gd name="connsiteX46" fmla="*/ 4002427 w 4519987"/>
              <a:gd name="connsiteY46" fmla="*/ 3600450 h 4496940"/>
              <a:gd name="connsiteX47" fmla="*/ 3983377 w 4519987"/>
              <a:gd name="connsiteY47" fmla="*/ 3629025 h 4496940"/>
              <a:gd name="connsiteX48" fmla="*/ 3954802 w 4519987"/>
              <a:gd name="connsiteY48" fmla="*/ 3648075 h 4496940"/>
              <a:gd name="connsiteX49" fmla="*/ 3907177 w 4519987"/>
              <a:gd name="connsiteY49" fmla="*/ 3686175 h 4496940"/>
              <a:gd name="connsiteX50" fmla="*/ 3869077 w 4519987"/>
              <a:gd name="connsiteY50" fmla="*/ 3724275 h 4496940"/>
              <a:gd name="connsiteX51" fmla="*/ 3792877 w 4519987"/>
              <a:gd name="connsiteY51" fmla="*/ 3781425 h 4496940"/>
              <a:gd name="connsiteX52" fmla="*/ 3783352 w 4519987"/>
              <a:gd name="connsiteY52" fmla="*/ 3810000 h 4496940"/>
              <a:gd name="connsiteX53" fmla="*/ 3745252 w 4519987"/>
              <a:gd name="connsiteY53" fmla="*/ 3819525 h 4496940"/>
              <a:gd name="connsiteX54" fmla="*/ 3678577 w 4519987"/>
              <a:gd name="connsiteY54" fmla="*/ 3848100 h 4496940"/>
              <a:gd name="connsiteX55" fmla="*/ 3659527 w 4519987"/>
              <a:gd name="connsiteY55" fmla="*/ 3971925 h 4496940"/>
              <a:gd name="connsiteX56" fmla="*/ 3630952 w 4519987"/>
              <a:gd name="connsiteY56" fmla="*/ 4010025 h 4496940"/>
              <a:gd name="connsiteX57" fmla="*/ 3621427 w 4519987"/>
              <a:gd name="connsiteY57" fmla="*/ 4038600 h 4496940"/>
              <a:gd name="connsiteX58" fmla="*/ 3554752 w 4519987"/>
              <a:gd name="connsiteY58" fmla="*/ 4095750 h 4496940"/>
              <a:gd name="connsiteX59" fmla="*/ 3516652 w 4519987"/>
              <a:gd name="connsiteY59" fmla="*/ 4114800 h 4496940"/>
              <a:gd name="connsiteX60" fmla="*/ 3497602 w 4519987"/>
              <a:gd name="connsiteY60" fmla="*/ 4143375 h 4496940"/>
              <a:gd name="connsiteX61" fmla="*/ 3383302 w 4519987"/>
              <a:gd name="connsiteY61" fmla="*/ 4210050 h 4496940"/>
              <a:gd name="connsiteX62" fmla="*/ 3335677 w 4519987"/>
              <a:gd name="connsiteY62" fmla="*/ 4238625 h 4496940"/>
              <a:gd name="connsiteX63" fmla="*/ 3288052 w 4519987"/>
              <a:gd name="connsiteY63" fmla="*/ 4248150 h 4496940"/>
              <a:gd name="connsiteX64" fmla="*/ 3240427 w 4519987"/>
              <a:gd name="connsiteY64" fmla="*/ 4267200 h 4496940"/>
              <a:gd name="connsiteX65" fmla="*/ 3068977 w 4519987"/>
              <a:gd name="connsiteY65" fmla="*/ 4286250 h 4496940"/>
              <a:gd name="connsiteX66" fmla="*/ 2935627 w 4519987"/>
              <a:gd name="connsiteY66" fmla="*/ 4333875 h 4496940"/>
              <a:gd name="connsiteX67" fmla="*/ 2811802 w 4519987"/>
              <a:gd name="connsiteY67" fmla="*/ 4371975 h 4496940"/>
              <a:gd name="connsiteX68" fmla="*/ 2745127 w 4519987"/>
              <a:gd name="connsiteY68" fmla="*/ 4410075 h 4496940"/>
              <a:gd name="connsiteX69" fmla="*/ 2697502 w 4519987"/>
              <a:gd name="connsiteY69" fmla="*/ 4429125 h 4496940"/>
              <a:gd name="connsiteX70" fmla="*/ 2640352 w 4519987"/>
              <a:gd name="connsiteY70" fmla="*/ 4457700 h 4496940"/>
              <a:gd name="connsiteX71" fmla="*/ 2583202 w 4519987"/>
              <a:gd name="connsiteY71" fmla="*/ 4467225 h 4496940"/>
              <a:gd name="connsiteX72" fmla="*/ 2545102 w 4519987"/>
              <a:gd name="connsiteY72" fmla="*/ 4486275 h 4496940"/>
              <a:gd name="connsiteX73" fmla="*/ 2306977 w 4519987"/>
              <a:gd name="connsiteY73" fmla="*/ 4476750 h 4496940"/>
              <a:gd name="connsiteX74" fmla="*/ 2202202 w 4519987"/>
              <a:gd name="connsiteY74" fmla="*/ 4457700 h 4496940"/>
              <a:gd name="connsiteX75" fmla="*/ 2126002 w 4519987"/>
              <a:gd name="connsiteY75" fmla="*/ 4429125 h 4496940"/>
              <a:gd name="connsiteX76" fmla="*/ 1935502 w 4519987"/>
              <a:gd name="connsiteY76" fmla="*/ 4400550 h 4496940"/>
              <a:gd name="connsiteX77" fmla="*/ 1821202 w 4519987"/>
              <a:gd name="connsiteY77" fmla="*/ 4371975 h 4496940"/>
              <a:gd name="connsiteX78" fmla="*/ 1754527 w 4519987"/>
              <a:gd name="connsiteY78" fmla="*/ 4352925 h 4496940"/>
              <a:gd name="connsiteX79" fmla="*/ 1687852 w 4519987"/>
              <a:gd name="connsiteY79" fmla="*/ 4343400 h 4496940"/>
              <a:gd name="connsiteX80" fmla="*/ 1573552 w 4519987"/>
              <a:gd name="connsiteY80" fmla="*/ 4305300 h 4496940"/>
              <a:gd name="connsiteX81" fmla="*/ 1402102 w 4519987"/>
              <a:gd name="connsiteY81" fmla="*/ 4276725 h 4496940"/>
              <a:gd name="connsiteX82" fmla="*/ 1287802 w 4519987"/>
              <a:gd name="connsiteY82" fmla="*/ 4229100 h 4496940"/>
              <a:gd name="connsiteX83" fmla="*/ 1221127 w 4519987"/>
              <a:gd name="connsiteY83" fmla="*/ 4200525 h 4496940"/>
              <a:gd name="connsiteX84" fmla="*/ 1144927 w 4519987"/>
              <a:gd name="connsiteY84" fmla="*/ 4171950 h 4496940"/>
              <a:gd name="connsiteX85" fmla="*/ 1087777 w 4519987"/>
              <a:gd name="connsiteY85" fmla="*/ 4143375 h 4496940"/>
              <a:gd name="connsiteX86" fmla="*/ 1030627 w 4519987"/>
              <a:gd name="connsiteY86" fmla="*/ 4124325 h 4496940"/>
              <a:gd name="connsiteX87" fmla="*/ 925852 w 4519987"/>
              <a:gd name="connsiteY87" fmla="*/ 4067175 h 4496940"/>
              <a:gd name="connsiteX88" fmla="*/ 830602 w 4519987"/>
              <a:gd name="connsiteY88" fmla="*/ 3981450 h 4496940"/>
              <a:gd name="connsiteX89" fmla="*/ 763927 w 4519987"/>
              <a:gd name="connsiteY89" fmla="*/ 3914775 h 4496940"/>
              <a:gd name="connsiteX90" fmla="*/ 725827 w 4519987"/>
              <a:gd name="connsiteY90" fmla="*/ 3876675 h 4496940"/>
              <a:gd name="connsiteX91" fmla="*/ 697252 w 4519987"/>
              <a:gd name="connsiteY91" fmla="*/ 3838575 h 4496940"/>
              <a:gd name="connsiteX92" fmla="*/ 640102 w 4519987"/>
              <a:gd name="connsiteY92" fmla="*/ 3781425 h 4496940"/>
              <a:gd name="connsiteX93" fmla="*/ 611527 w 4519987"/>
              <a:gd name="connsiteY93" fmla="*/ 3733800 h 4496940"/>
              <a:gd name="connsiteX94" fmla="*/ 554377 w 4519987"/>
              <a:gd name="connsiteY94" fmla="*/ 3657600 h 4496940"/>
              <a:gd name="connsiteX95" fmla="*/ 525802 w 4519987"/>
              <a:gd name="connsiteY95" fmla="*/ 3609975 h 4496940"/>
              <a:gd name="connsiteX96" fmla="*/ 497227 w 4519987"/>
              <a:gd name="connsiteY96" fmla="*/ 3552825 h 4496940"/>
              <a:gd name="connsiteX97" fmla="*/ 440077 w 4519987"/>
              <a:gd name="connsiteY97" fmla="*/ 3495675 h 4496940"/>
              <a:gd name="connsiteX98" fmla="*/ 411502 w 4519987"/>
              <a:gd name="connsiteY98" fmla="*/ 3448050 h 4496940"/>
              <a:gd name="connsiteX99" fmla="*/ 278152 w 4519987"/>
              <a:gd name="connsiteY99" fmla="*/ 3257550 h 4496940"/>
              <a:gd name="connsiteX100" fmla="*/ 249577 w 4519987"/>
              <a:gd name="connsiteY100" fmla="*/ 3200400 h 4496940"/>
              <a:gd name="connsiteX101" fmla="*/ 240052 w 4519987"/>
              <a:gd name="connsiteY101" fmla="*/ 3162300 h 4496940"/>
              <a:gd name="connsiteX102" fmla="*/ 221002 w 4519987"/>
              <a:gd name="connsiteY102" fmla="*/ 3105150 h 4496940"/>
              <a:gd name="connsiteX103" fmla="*/ 173377 w 4519987"/>
              <a:gd name="connsiteY103" fmla="*/ 3019425 h 4496940"/>
              <a:gd name="connsiteX104" fmla="*/ 144802 w 4519987"/>
              <a:gd name="connsiteY104" fmla="*/ 2924175 h 4496940"/>
              <a:gd name="connsiteX105" fmla="*/ 68602 w 4519987"/>
              <a:gd name="connsiteY105" fmla="*/ 2724150 h 4496940"/>
              <a:gd name="connsiteX106" fmla="*/ 49552 w 4519987"/>
              <a:gd name="connsiteY106" fmla="*/ 2638425 h 4496940"/>
              <a:gd name="connsiteX107" fmla="*/ 40027 w 4519987"/>
              <a:gd name="connsiteY107" fmla="*/ 2562225 h 4496940"/>
              <a:gd name="connsiteX108" fmla="*/ 30502 w 4519987"/>
              <a:gd name="connsiteY108" fmla="*/ 2514600 h 4496940"/>
              <a:gd name="connsiteX109" fmla="*/ 11452 w 4519987"/>
              <a:gd name="connsiteY109" fmla="*/ 2400300 h 4496940"/>
              <a:gd name="connsiteX110" fmla="*/ 20977 w 4519987"/>
              <a:gd name="connsiteY110" fmla="*/ 1905000 h 4496940"/>
              <a:gd name="connsiteX111" fmla="*/ 30502 w 4519987"/>
              <a:gd name="connsiteY111" fmla="*/ 1838325 h 4496940"/>
              <a:gd name="connsiteX112" fmla="*/ 49552 w 4519987"/>
              <a:gd name="connsiteY112" fmla="*/ 1781175 h 4496940"/>
              <a:gd name="connsiteX113" fmla="*/ 59077 w 4519987"/>
              <a:gd name="connsiteY113" fmla="*/ 1743075 h 4496940"/>
              <a:gd name="connsiteX114" fmla="*/ 78127 w 4519987"/>
              <a:gd name="connsiteY114" fmla="*/ 1685925 h 4496940"/>
              <a:gd name="connsiteX115" fmla="*/ 87652 w 4519987"/>
              <a:gd name="connsiteY115" fmla="*/ 1638300 h 4496940"/>
              <a:gd name="connsiteX116" fmla="*/ 106702 w 4519987"/>
              <a:gd name="connsiteY116" fmla="*/ 1590675 h 4496940"/>
              <a:gd name="connsiteX117" fmla="*/ 135277 w 4519987"/>
              <a:gd name="connsiteY117" fmla="*/ 1504950 h 4496940"/>
              <a:gd name="connsiteX118" fmla="*/ 154327 w 4519987"/>
              <a:gd name="connsiteY118" fmla="*/ 1419225 h 4496940"/>
              <a:gd name="connsiteX119" fmla="*/ 230527 w 4519987"/>
              <a:gd name="connsiteY119" fmla="*/ 1276350 h 4496940"/>
              <a:gd name="connsiteX120" fmla="*/ 240052 w 4519987"/>
              <a:gd name="connsiteY120" fmla="*/ 1247775 h 4496940"/>
              <a:gd name="connsiteX121" fmla="*/ 268627 w 4519987"/>
              <a:gd name="connsiteY121" fmla="*/ 1200150 h 4496940"/>
              <a:gd name="connsiteX122" fmla="*/ 287677 w 4519987"/>
              <a:gd name="connsiteY122" fmla="*/ 1152525 h 4496940"/>
              <a:gd name="connsiteX123" fmla="*/ 316252 w 4519987"/>
              <a:gd name="connsiteY123" fmla="*/ 1114425 h 4496940"/>
              <a:gd name="connsiteX124" fmla="*/ 363877 w 4519987"/>
              <a:gd name="connsiteY124" fmla="*/ 1038225 h 4496940"/>
              <a:gd name="connsiteX125" fmla="*/ 382927 w 4519987"/>
              <a:gd name="connsiteY125" fmla="*/ 1009650 h 4496940"/>
              <a:gd name="connsiteX126" fmla="*/ 440077 w 4519987"/>
              <a:gd name="connsiteY126" fmla="*/ 904875 h 4496940"/>
              <a:gd name="connsiteX127" fmla="*/ 478177 w 4519987"/>
              <a:gd name="connsiteY127" fmla="*/ 857250 h 4496940"/>
              <a:gd name="connsiteX128" fmla="*/ 497227 w 4519987"/>
              <a:gd name="connsiteY128" fmla="*/ 828675 h 4496940"/>
              <a:gd name="connsiteX129" fmla="*/ 535327 w 4519987"/>
              <a:gd name="connsiteY129" fmla="*/ 800100 h 4496940"/>
              <a:gd name="connsiteX130" fmla="*/ 602002 w 4519987"/>
              <a:gd name="connsiteY130" fmla="*/ 733425 h 4496940"/>
              <a:gd name="connsiteX131" fmla="*/ 668677 w 4519987"/>
              <a:gd name="connsiteY131" fmla="*/ 676275 h 4496940"/>
              <a:gd name="connsiteX132" fmla="*/ 697252 w 4519987"/>
              <a:gd name="connsiteY132" fmla="*/ 657225 h 4496940"/>
              <a:gd name="connsiteX133" fmla="*/ 840127 w 4519987"/>
              <a:gd name="connsiteY133" fmla="*/ 533400 h 4496940"/>
              <a:gd name="connsiteX134" fmla="*/ 887752 w 4519987"/>
              <a:gd name="connsiteY134" fmla="*/ 504825 h 4496940"/>
              <a:gd name="connsiteX135" fmla="*/ 1167152 w 4519987"/>
              <a:gd name="connsiteY135" fmla="*/ 311150 h 4496940"/>
              <a:gd name="connsiteX136" fmla="*/ 1268752 w 4519987"/>
              <a:gd name="connsiteY136" fmla="*/ 285750 h 4496940"/>
              <a:gd name="connsiteX137" fmla="*/ 1411627 w 4519987"/>
              <a:gd name="connsiteY137" fmla="*/ 190500 h 4496940"/>
              <a:gd name="connsiteX138" fmla="*/ 1449727 w 4519987"/>
              <a:gd name="connsiteY138" fmla="*/ 161925 h 4496940"/>
              <a:gd name="connsiteX139" fmla="*/ 1525927 w 4519987"/>
              <a:gd name="connsiteY139" fmla="*/ 152400 h 4496940"/>
              <a:gd name="connsiteX140" fmla="*/ 1583077 w 4519987"/>
              <a:gd name="connsiteY140" fmla="*/ 142875 h 4496940"/>
              <a:gd name="connsiteX141" fmla="*/ 1716427 w 4519987"/>
              <a:gd name="connsiteY141" fmla="*/ 123825 h 4496940"/>
              <a:gd name="connsiteX142" fmla="*/ 1811677 w 4519987"/>
              <a:gd name="connsiteY142" fmla="*/ 114300 h 4496940"/>
              <a:gd name="connsiteX143" fmla="*/ 1859302 w 4519987"/>
              <a:gd name="connsiteY143" fmla="*/ 104775 h 4496940"/>
              <a:gd name="connsiteX144" fmla="*/ 1916452 w 4519987"/>
              <a:gd name="connsiteY144" fmla="*/ 95250 h 4496940"/>
              <a:gd name="connsiteX145" fmla="*/ 2030752 w 4519987"/>
              <a:gd name="connsiteY145" fmla="*/ 66675 h 4496940"/>
              <a:gd name="connsiteX146" fmla="*/ 2097427 w 4519987"/>
              <a:gd name="connsiteY146" fmla="*/ 47625 h 4496940"/>
              <a:gd name="connsiteX147" fmla="*/ 2164102 w 4519987"/>
              <a:gd name="connsiteY147" fmla="*/ 38100 h 4496940"/>
              <a:gd name="connsiteX148" fmla="*/ 2392702 w 4519987"/>
              <a:gd name="connsiteY14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135777 w 4519987"/>
              <a:gd name="connsiteY21" fmla="*/ 9334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192927 w 4519987"/>
              <a:gd name="connsiteY24" fmla="*/ 1057275 h 4496940"/>
              <a:gd name="connsiteX25" fmla="*/ 4202452 w 4519987"/>
              <a:gd name="connsiteY25" fmla="*/ 1085850 h 4496940"/>
              <a:gd name="connsiteX26" fmla="*/ 4250077 w 4519987"/>
              <a:gd name="connsiteY26" fmla="*/ 1143000 h 4496940"/>
              <a:gd name="connsiteX27" fmla="*/ 4259602 w 4519987"/>
              <a:gd name="connsiteY27" fmla="*/ 1190625 h 4496940"/>
              <a:gd name="connsiteX28" fmla="*/ 4307227 w 4519987"/>
              <a:gd name="connsiteY28" fmla="*/ 1266825 h 4496940"/>
              <a:gd name="connsiteX29" fmla="*/ 4345327 w 4519987"/>
              <a:gd name="connsiteY29" fmla="*/ 1362075 h 4496940"/>
              <a:gd name="connsiteX30" fmla="*/ 4373902 w 4519987"/>
              <a:gd name="connsiteY30" fmla="*/ 1428750 h 4496940"/>
              <a:gd name="connsiteX31" fmla="*/ 4392952 w 4519987"/>
              <a:gd name="connsiteY31" fmla="*/ 1552575 h 4496940"/>
              <a:gd name="connsiteX32" fmla="*/ 4402477 w 4519987"/>
              <a:gd name="connsiteY32" fmla="*/ 1590675 h 4496940"/>
              <a:gd name="connsiteX33" fmla="*/ 4431052 w 4519987"/>
              <a:gd name="connsiteY33" fmla="*/ 1685925 h 4496940"/>
              <a:gd name="connsiteX34" fmla="*/ 4519952 w 4519987"/>
              <a:gd name="connsiteY34" fmla="*/ 2181225 h 4496940"/>
              <a:gd name="connsiteX35" fmla="*/ 4446927 w 4519987"/>
              <a:gd name="connsiteY35" fmla="*/ 2768600 h 4496940"/>
              <a:gd name="connsiteX36" fmla="*/ 4383427 w 4519987"/>
              <a:gd name="connsiteY36" fmla="*/ 2990850 h 4496940"/>
              <a:gd name="connsiteX37" fmla="*/ 4278652 w 4519987"/>
              <a:gd name="connsiteY37" fmla="*/ 3248025 h 4496940"/>
              <a:gd name="connsiteX38" fmla="*/ 4259602 w 4519987"/>
              <a:gd name="connsiteY38" fmla="*/ 3276600 h 4496940"/>
              <a:gd name="connsiteX39" fmla="*/ 4221502 w 4519987"/>
              <a:gd name="connsiteY39" fmla="*/ 3333750 h 4496940"/>
              <a:gd name="connsiteX40" fmla="*/ 4211977 w 4519987"/>
              <a:gd name="connsiteY40" fmla="*/ 3362325 h 4496940"/>
              <a:gd name="connsiteX41" fmla="*/ 4183402 w 4519987"/>
              <a:gd name="connsiteY41" fmla="*/ 3400425 h 4496940"/>
              <a:gd name="connsiteX42" fmla="*/ 4164352 w 4519987"/>
              <a:gd name="connsiteY42" fmla="*/ 3429000 h 4496940"/>
              <a:gd name="connsiteX43" fmla="*/ 4088152 w 4519987"/>
              <a:gd name="connsiteY43" fmla="*/ 3495675 h 4496940"/>
              <a:gd name="connsiteX44" fmla="*/ 4059577 w 4519987"/>
              <a:gd name="connsiteY44" fmla="*/ 3533775 h 4496940"/>
              <a:gd name="connsiteX45" fmla="*/ 4002427 w 4519987"/>
              <a:gd name="connsiteY45" fmla="*/ 3600450 h 4496940"/>
              <a:gd name="connsiteX46" fmla="*/ 3983377 w 4519987"/>
              <a:gd name="connsiteY46" fmla="*/ 3629025 h 4496940"/>
              <a:gd name="connsiteX47" fmla="*/ 3954802 w 4519987"/>
              <a:gd name="connsiteY47" fmla="*/ 3648075 h 4496940"/>
              <a:gd name="connsiteX48" fmla="*/ 3907177 w 4519987"/>
              <a:gd name="connsiteY48" fmla="*/ 3686175 h 4496940"/>
              <a:gd name="connsiteX49" fmla="*/ 3869077 w 4519987"/>
              <a:gd name="connsiteY49" fmla="*/ 3724275 h 4496940"/>
              <a:gd name="connsiteX50" fmla="*/ 3792877 w 4519987"/>
              <a:gd name="connsiteY50" fmla="*/ 3781425 h 4496940"/>
              <a:gd name="connsiteX51" fmla="*/ 3783352 w 4519987"/>
              <a:gd name="connsiteY51" fmla="*/ 3810000 h 4496940"/>
              <a:gd name="connsiteX52" fmla="*/ 3745252 w 4519987"/>
              <a:gd name="connsiteY52" fmla="*/ 3819525 h 4496940"/>
              <a:gd name="connsiteX53" fmla="*/ 3678577 w 4519987"/>
              <a:gd name="connsiteY53" fmla="*/ 3848100 h 4496940"/>
              <a:gd name="connsiteX54" fmla="*/ 3659527 w 4519987"/>
              <a:gd name="connsiteY54" fmla="*/ 3971925 h 4496940"/>
              <a:gd name="connsiteX55" fmla="*/ 3630952 w 4519987"/>
              <a:gd name="connsiteY55" fmla="*/ 4010025 h 4496940"/>
              <a:gd name="connsiteX56" fmla="*/ 3621427 w 4519987"/>
              <a:gd name="connsiteY56" fmla="*/ 4038600 h 4496940"/>
              <a:gd name="connsiteX57" fmla="*/ 3554752 w 4519987"/>
              <a:gd name="connsiteY57" fmla="*/ 4095750 h 4496940"/>
              <a:gd name="connsiteX58" fmla="*/ 3516652 w 4519987"/>
              <a:gd name="connsiteY58" fmla="*/ 4114800 h 4496940"/>
              <a:gd name="connsiteX59" fmla="*/ 3497602 w 4519987"/>
              <a:gd name="connsiteY59" fmla="*/ 4143375 h 4496940"/>
              <a:gd name="connsiteX60" fmla="*/ 3383302 w 4519987"/>
              <a:gd name="connsiteY60" fmla="*/ 4210050 h 4496940"/>
              <a:gd name="connsiteX61" fmla="*/ 3335677 w 4519987"/>
              <a:gd name="connsiteY61" fmla="*/ 4238625 h 4496940"/>
              <a:gd name="connsiteX62" fmla="*/ 3288052 w 4519987"/>
              <a:gd name="connsiteY62" fmla="*/ 4248150 h 4496940"/>
              <a:gd name="connsiteX63" fmla="*/ 3240427 w 4519987"/>
              <a:gd name="connsiteY63" fmla="*/ 4267200 h 4496940"/>
              <a:gd name="connsiteX64" fmla="*/ 3068977 w 4519987"/>
              <a:gd name="connsiteY64" fmla="*/ 4286250 h 4496940"/>
              <a:gd name="connsiteX65" fmla="*/ 2935627 w 4519987"/>
              <a:gd name="connsiteY65" fmla="*/ 4333875 h 4496940"/>
              <a:gd name="connsiteX66" fmla="*/ 2811802 w 4519987"/>
              <a:gd name="connsiteY66" fmla="*/ 4371975 h 4496940"/>
              <a:gd name="connsiteX67" fmla="*/ 2745127 w 4519987"/>
              <a:gd name="connsiteY67" fmla="*/ 4410075 h 4496940"/>
              <a:gd name="connsiteX68" fmla="*/ 2697502 w 4519987"/>
              <a:gd name="connsiteY68" fmla="*/ 4429125 h 4496940"/>
              <a:gd name="connsiteX69" fmla="*/ 2640352 w 4519987"/>
              <a:gd name="connsiteY69" fmla="*/ 4457700 h 4496940"/>
              <a:gd name="connsiteX70" fmla="*/ 2583202 w 4519987"/>
              <a:gd name="connsiteY70" fmla="*/ 4467225 h 4496940"/>
              <a:gd name="connsiteX71" fmla="*/ 2545102 w 4519987"/>
              <a:gd name="connsiteY71" fmla="*/ 4486275 h 4496940"/>
              <a:gd name="connsiteX72" fmla="*/ 2306977 w 4519987"/>
              <a:gd name="connsiteY72" fmla="*/ 4476750 h 4496940"/>
              <a:gd name="connsiteX73" fmla="*/ 2202202 w 4519987"/>
              <a:gd name="connsiteY73" fmla="*/ 4457700 h 4496940"/>
              <a:gd name="connsiteX74" fmla="*/ 2126002 w 4519987"/>
              <a:gd name="connsiteY74" fmla="*/ 4429125 h 4496940"/>
              <a:gd name="connsiteX75" fmla="*/ 1935502 w 4519987"/>
              <a:gd name="connsiteY75" fmla="*/ 4400550 h 4496940"/>
              <a:gd name="connsiteX76" fmla="*/ 1821202 w 4519987"/>
              <a:gd name="connsiteY76" fmla="*/ 4371975 h 4496940"/>
              <a:gd name="connsiteX77" fmla="*/ 1754527 w 4519987"/>
              <a:gd name="connsiteY77" fmla="*/ 4352925 h 4496940"/>
              <a:gd name="connsiteX78" fmla="*/ 1687852 w 4519987"/>
              <a:gd name="connsiteY78" fmla="*/ 4343400 h 4496940"/>
              <a:gd name="connsiteX79" fmla="*/ 1573552 w 4519987"/>
              <a:gd name="connsiteY79" fmla="*/ 4305300 h 4496940"/>
              <a:gd name="connsiteX80" fmla="*/ 1402102 w 4519987"/>
              <a:gd name="connsiteY80" fmla="*/ 4276725 h 4496940"/>
              <a:gd name="connsiteX81" fmla="*/ 1287802 w 4519987"/>
              <a:gd name="connsiteY81" fmla="*/ 4229100 h 4496940"/>
              <a:gd name="connsiteX82" fmla="*/ 1221127 w 4519987"/>
              <a:gd name="connsiteY82" fmla="*/ 4200525 h 4496940"/>
              <a:gd name="connsiteX83" fmla="*/ 1144927 w 4519987"/>
              <a:gd name="connsiteY83" fmla="*/ 4171950 h 4496940"/>
              <a:gd name="connsiteX84" fmla="*/ 1087777 w 4519987"/>
              <a:gd name="connsiteY84" fmla="*/ 4143375 h 4496940"/>
              <a:gd name="connsiteX85" fmla="*/ 1030627 w 4519987"/>
              <a:gd name="connsiteY85" fmla="*/ 4124325 h 4496940"/>
              <a:gd name="connsiteX86" fmla="*/ 925852 w 4519987"/>
              <a:gd name="connsiteY86" fmla="*/ 4067175 h 4496940"/>
              <a:gd name="connsiteX87" fmla="*/ 830602 w 4519987"/>
              <a:gd name="connsiteY87" fmla="*/ 3981450 h 4496940"/>
              <a:gd name="connsiteX88" fmla="*/ 763927 w 4519987"/>
              <a:gd name="connsiteY88" fmla="*/ 3914775 h 4496940"/>
              <a:gd name="connsiteX89" fmla="*/ 725827 w 4519987"/>
              <a:gd name="connsiteY89" fmla="*/ 3876675 h 4496940"/>
              <a:gd name="connsiteX90" fmla="*/ 697252 w 4519987"/>
              <a:gd name="connsiteY90" fmla="*/ 3838575 h 4496940"/>
              <a:gd name="connsiteX91" fmla="*/ 640102 w 4519987"/>
              <a:gd name="connsiteY91" fmla="*/ 3781425 h 4496940"/>
              <a:gd name="connsiteX92" fmla="*/ 611527 w 4519987"/>
              <a:gd name="connsiteY92" fmla="*/ 3733800 h 4496940"/>
              <a:gd name="connsiteX93" fmla="*/ 554377 w 4519987"/>
              <a:gd name="connsiteY93" fmla="*/ 3657600 h 4496940"/>
              <a:gd name="connsiteX94" fmla="*/ 525802 w 4519987"/>
              <a:gd name="connsiteY94" fmla="*/ 3609975 h 4496940"/>
              <a:gd name="connsiteX95" fmla="*/ 497227 w 4519987"/>
              <a:gd name="connsiteY95" fmla="*/ 3552825 h 4496940"/>
              <a:gd name="connsiteX96" fmla="*/ 440077 w 4519987"/>
              <a:gd name="connsiteY96" fmla="*/ 3495675 h 4496940"/>
              <a:gd name="connsiteX97" fmla="*/ 411502 w 4519987"/>
              <a:gd name="connsiteY97" fmla="*/ 3448050 h 4496940"/>
              <a:gd name="connsiteX98" fmla="*/ 278152 w 4519987"/>
              <a:gd name="connsiteY98" fmla="*/ 3257550 h 4496940"/>
              <a:gd name="connsiteX99" fmla="*/ 249577 w 4519987"/>
              <a:gd name="connsiteY99" fmla="*/ 3200400 h 4496940"/>
              <a:gd name="connsiteX100" fmla="*/ 240052 w 4519987"/>
              <a:gd name="connsiteY100" fmla="*/ 3162300 h 4496940"/>
              <a:gd name="connsiteX101" fmla="*/ 221002 w 4519987"/>
              <a:gd name="connsiteY101" fmla="*/ 3105150 h 4496940"/>
              <a:gd name="connsiteX102" fmla="*/ 173377 w 4519987"/>
              <a:gd name="connsiteY102" fmla="*/ 3019425 h 4496940"/>
              <a:gd name="connsiteX103" fmla="*/ 144802 w 4519987"/>
              <a:gd name="connsiteY103" fmla="*/ 2924175 h 4496940"/>
              <a:gd name="connsiteX104" fmla="*/ 68602 w 4519987"/>
              <a:gd name="connsiteY104" fmla="*/ 2724150 h 4496940"/>
              <a:gd name="connsiteX105" fmla="*/ 49552 w 4519987"/>
              <a:gd name="connsiteY105" fmla="*/ 2638425 h 4496940"/>
              <a:gd name="connsiteX106" fmla="*/ 40027 w 4519987"/>
              <a:gd name="connsiteY106" fmla="*/ 2562225 h 4496940"/>
              <a:gd name="connsiteX107" fmla="*/ 30502 w 4519987"/>
              <a:gd name="connsiteY107" fmla="*/ 2514600 h 4496940"/>
              <a:gd name="connsiteX108" fmla="*/ 11452 w 4519987"/>
              <a:gd name="connsiteY108" fmla="*/ 2400300 h 4496940"/>
              <a:gd name="connsiteX109" fmla="*/ 20977 w 4519987"/>
              <a:gd name="connsiteY109" fmla="*/ 1905000 h 4496940"/>
              <a:gd name="connsiteX110" fmla="*/ 30502 w 4519987"/>
              <a:gd name="connsiteY110" fmla="*/ 1838325 h 4496940"/>
              <a:gd name="connsiteX111" fmla="*/ 49552 w 4519987"/>
              <a:gd name="connsiteY111" fmla="*/ 1781175 h 4496940"/>
              <a:gd name="connsiteX112" fmla="*/ 59077 w 4519987"/>
              <a:gd name="connsiteY112" fmla="*/ 1743075 h 4496940"/>
              <a:gd name="connsiteX113" fmla="*/ 78127 w 4519987"/>
              <a:gd name="connsiteY113" fmla="*/ 1685925 h 4496940"/>
              <a:gd name="connsiteX114" fmla="*/ 87652 w 4519987"/>
              <a:gd name="connsiteY114" fmla="*/ 1638300 h 4496940"/>
              <a:gd name="connsiteX115" fmla="*/ 106702 w 4519987"/>
              <a:gd name="connsiteY115" fmla="*/ 1590675 h 4496940"/>
              <a:gd name="connsiteX116" fmla="*/ 135277 w 4519987"/>
              <a:gd name="connsiteY116" fmla="*/ 1504950 h 4496940"/>
              <a:gd name="connsiteX117" fmla="*/ 154327 w 4519987"/>
              <a:gd name="connsiteY117" fmla="*/ 1419225 h 4496940"/>
              <a:gd name="connsiteX118" fmla="*/ 230527 w 4519987"/>
              <a:gd name="connsiteY118" fmla="*/ 1276350 h 4496940"/>
              <a:gd name="connsiteX119" fmla="*/ 240052 w 4519987"/>
              <a:gd name="connsiteY119" fmla="*/ 1247775 h 4496940"/>
              <a:gd name="connsiteX120" fmla="*/ 268627 w 4519987"/>
              <a:gd name="connsiteY120" fmla="*/ 1200150 h 4496940"/>
              <a:gd name="connsiteX121" fmla="*/ 287677 w 4519987"/>
              <a:gd name="connsiteY121" fmla="*/ 1152525 h 4496940"/>
              <a:gd name="connsiteX122" fmla="*/ 316252 w 4519987"/>
              <a:gd name="connsiteY122" fmla="*/ 1114425 h 4496940"/>
              <a:gd name="connsiteX123" fmla="*/ 363877 w 4519987"/>
              <a:gd name="connsiteY123" fmla="*/ 1038225 h 4496940"/>
              <a:gd name="connsiteX124" fmla="*/ 382927 w 4519987"/>
              <a:gd name="connsiteY124" fmla="*/ 1009650 h 4496940"/>
              <a:gd name="connsiteX125" fmla="*/ 440077 w 4519987"/>
              <a:gd name="connsiteY125" fmla="*/ 904875 h 4496940"/>
              <a:gd name="connsiteX126" fmla="*/ 478177 w 4519987"/>
              <a:gd name="connsiteY126" fmla="*/ 857250 h 4496940"/>
              <a:gd name="connsiteX127" fmla="*/ 497227 w 4519987"/>
              <a:gd name="connsiteY127" fmla="*/ 828675 h 4496940"/>
              <a:gd name="connsiteX128" fmla="*/ 535327 w 4519987"/>
              <a:gd name="connsiteY128" fmla="*/ 800100 h 4496940"/>
              <a:gd name="connsiteX129" fmla="*/ 602002 w 4519987"/>
              <a:gd name="connsiteY129" fmla="*/ 733425 h 4496940"/>
              <a:gd name="connsiteX130" fmla="*/ 668677 w 4519987"/>
              <a:gd name="connsiteY130" fmla="*/ 676275 h 4496940"/>
              <a:gd name="connsiteX131" fmla="*/ 697252 w 4519987"/>
              <a:gd name="connsiteY131" fmla="*/ 657225 h 4496940"/>
              <a:gd name="connsiteX132" fmla="*/ 840127 w 4519987"/>
              <a:gd name="connsiteY132" fmla="*/ 533400 h 4496940"/>
              <a:gd name="connsiteX133" fmla="*/ 887752 w 4519987"/>
              <a:gd name="connsiteY133" fmla="*/ 504825 h 4496940"/>
              <a:gd name="connsiteX134" fmla="*/ 1167152 w 4519987"/>
              <a:gd name="connsiteY134" fmla="*/ 311150 h 4496940"/>
              <a:gd name="connsiteX135" fmla="*/ 1268752 w 4519987"/>
              <a:gd name="connsiteY135" fmla="*/ 285750 h 4496940"/>
              <a:gd name="connsiteX136" fmla="*/ 1411627 w 4519987"/>
              <a:gd name="connsiteY136" fmla="*/ 190500 h 4496940"/>
              <a:gd name="connsiteX137" fmla="*/ 1449727 w 4519987"/>
              <a:gd name="connsiteY137" fmla="*/ 161925 h 4496940"/>
              <a:gd name="connsiteX138" fmla="*/ 1525927 w 4519987"/>
              <a:gd name="connsiteY138" fmla="*/ 152400 h 4496940"/>
              <a:gd name="connsiteX139" fmla="*/ 1583077 w 4519987"/>
              <a:gd name="connsiteY139" fmla="*/ 142875 h 4496940"/>
              <a:gd name="connsiteX140" fmla="*/ 1716427 w 4519987"/>
              <a:gd name="connsiteY140" fmla="*/ 123825 h 4496940"/>
              <a:gd name="connsiteX141" fmla="*/ 1811677 w 4519987"/>
              <a:gd name="connsiteY141" fmla="*/ 114300 h 4496940"/>
              <a:gd name="connsiteX142" fmla="*/ 1859302 w 4519987"/>
              <a:gd name="connsiteY142" fmla="*/ 104775 h 4496940"/>
              <a:gd name="connsiteX143" fmla="*/ 1916452 w 4519987"/>
              <a:gd name="connsiteY143" fmla="*/ 95250 h 4496940"/>
              <a:gd name="connsiteX144" fmla="*/ 2030752 w 4519987"/>
              <a:gd name="connsiteY144" fmla="*/ 66675 h 4496940"/>
              <a:gd name="connsiteX145" fmla="*/ 2097427 w 4519987"/>
              <a:gd name="connsiteY145" fmla="*/ 47625 h 4496940"/>
              <a:gd name="connsiteX146" fmla="*/ 2164102 w 4519987"/>
              <a:gd name="connsiteY146" fmla="*/ 38100 h 4496940"/>
              <a:gd name="connsiteX147" fmla="*/ 2392702 w 4519987"/>
              <a:gd name="connsiteY14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192927 w 4519987"/>
              <a:gd name="connsiteY24" fmla="*/ 1057275 h 4496940"/>
              <a:gd name="connsiteX25" fmla="*/ 4202452 w 4519987"/>
              <a:gd name="connsiteY25" fmla="*/ 1085850 h 4496940"/>
              <a:gd name="connsiteX26" fmla="*/ 4250077 w 4519987"/>
              <a:gd name="connsiteY26" fmla="*/ 1143000 h 4496940"/>
              <a:gd name="connsiteX27" fmla="*/ 4259602 w 4519987"/>
              <a:gd name="connsiteY27" fmla="*/ 1190625 h 4496940"/>
              <a:gd name="connsiteX28" fmla="*/ 4307227 w 4519987"/>
              <a:gd name="connsiteY28" fmla="*/ 1266825 h 4496940"/>
              <a:gd name="connsiteX29" fmla="*/ 4345327 w 4519987"/>
              <a:gd name="connsiteY29" fmla="*/ 1362075 h 4496940"/>
              <a:gd name="connsiteX30" fmla="*/ 4373902 w 4519987"/>
              <a:gd name="connsiteY30" fmla="*/ 1428750 h 4496940"/>
              <a:gd name="connsiteX31" fmla="*/ 4392952 w 4519987"/>
              <a:gd name="connsiteY31" fmla="*/ 1552575 h 4496940"/>
              <a:gd name="connsiteX32" fmla="*/ 4402477 w 4519987"/>
              <a:gd name="connsiteY32" fmla="*/ 1590675 h 4496940"/>
              <a:gd name="connsiteX33" fmla="*/ 4431052 w 4519987"/>
              <a:gd name="connsiteY33" fmla="*/ 1685925 h 4496940"/>
              <a:gd name="connsiteX34" fmla="*/ 4519952 w 4519987"/>
              <a:gd name="connsiteY34" fmla="*/ 2181225 h 4496940"/>
              <a:gd name="connsiteX35" fmla="*/ 4446927 w 4519987"/>
              <a:gd name="connsiteY35" fmla="*/ 2768600 h 4496940"/>
              <a:gd name="connsiteX36" fmla="*/ 4383427 w 4519987"/>
              <a:gd name="connsiteY36" fmla="*/ 2990850 h 4496940"/>
              <a:gd name="connsiteX37" fmla="*/ 4278652 w 4519987"/>
              <a:gd name="connsiteY37" fmla="*/ 3248025 h 4496940"/>
              <a:gd name="connsiteX38" fmla="*/ 4259602 w 4519987"/>
              <a:gd name="connsiteY38" fmla="*/ 3276600 h 4496940"/>
              <a:gd name="connsiteX39" fmla="*/ 4221502 w 4519987"/>
              <a:gd name="connsiteY39" fmla="*/ 3333750 h 4496940"/>
              <a:gd name="connsiteX40" fmla="*/ 4211977 w 4519987"/>
              <a:gd name="connsiteY40" fmla="*/ 3362325 h 4496940"/>
              <a:gd name="connsiteX41" fmla="*/ 4183402 w 4519987"/>
              <a:gd name="connsiteY41" fmla="*/ 3400425 h 4496940"/>
              <a:gd name="connsiteX42" fmla="*/ 4164352 w 4519987"/>
              <a:gd name="connsiteY42" fmla="*/ 3429000 h 4496940"/>
              <a:gd name="connsiteX43" fmla="*/ 4088152 w 4519987"/>
              <a:gd name="connsiteY43" fmla="*/ 3495675 h 4496940"/>
              <a:gd name="connsiteX44" fmla="*/ 4059577 w 4519987"/>
              <a:gd name="connsiteY44" fmla="*/ 3533775 h 4496940"/>
              <a:gd name="connsiteX45" fmla="*/ 4002427 w 4519987"/>
              <a:gd name="connsiteY45" fmla="*/ 3600450 h 4496940"/>
              <a:gd name="connsiteX46" fmla="*/ 3983377 w 4519987"/>
              <a:gd name="connsiteY46" fmla="*/ 3629025 h 4496940"/>
              <a:gd name="connsiteX47" fmla="*/ 3954802 w 4519987"/>
              <a:gd name="connsiteY47" fmla="*/ 3648075 h 4496940"/>
              <a:gd name="connsiteX48" fmla="*/ 3907177 w 4519987"/>
              <a:gd name="connsiteY48" fmla="*/ 3686175 h 4496940"/>
              <a:gd name="connsiteX49" fmla="*/ 3869077 w 4519987"/>
              <a:gd name="connsiteY49" fmla="*/ 3724275 h 4496940"/>
              <a:gd name="connsiteX50" fmla="*/ 3792877 w 4519987"/>
              <a:gd name="connsiteY50" fmla="*/ 3781425 h 4496940"/>
              <a:gd name="connsiteX51" fmla="*/ 3783352 w 4519987"/>
              <a:gd name="connsiteY51" fmla="*/ 3810000 h 4496940"/>
              <a:gd name="connsiteX52" fmla="*/ 3745252 w 4519987"/>
              <a:gd name="connsiteY52" fmla="*/ 3819525 h 4496940"/>
              <a:gd name="connsiteX53" fmla="*/ 3678577 w 4519987"/>
              <a:gd name="connsiteY53" fmla="*/ 3848100 h 4496940"/>
              <a:gd name="connsiteX54" fmla="*/ 3659527 w 4519987"/>
              <a:gd name="connsiteY54" fmla="*/ 3971925 h 4496940"/>
              <a:gd name="connsiteX55" fmla="*/ 3630952 w 4519987"/>
              <a:gd name="connsiteY55" fmla="*/ 4010025 h 4496940"/>
              <a:gd name="connsiteX56" fmla="*/ 3621427 w 4519987"/>
              <a:gd name="connsiteY56" fmla="*/ 4038600 h 4496940"/>
              <a:gd name="connsiteX57" fmla="*/ 3554752 w 4519987"/>
              <a:gd name="connsiteY57" fmla="*/ 4095750 h 4496940"/>
              <a:gd name="connsiteX58" fmla="*/ 3516652 w 4519987"/>
              <a:gd name="connsiteY58" fmla="*/ 4114800 h 4496940"/>
              <a:gd name="connsiteX59" fmla="*/ 3497602 w 4519987"/>
              <a:gd name="connsiteY59" fmla="*/ 4143375 h 4496940"/>
              <a:gd name="connsiteX60" fmla="*/ 3383302 w 4519987"/>
              <a:gd name="connsiteY60" fmla="*/ 4210050 h 4496940"/>
              <a:gd name="connsiteX61" fmla="*/ 3335677 w 4519987"/>
              <a:gd name="connsiteY61" fmla="*/ 4238625 h 4496940"/>
              <a:gd name="connsiteX62" fmla="*/ 3288052 w 4519987"/>
              <a:gd name="connsiteY62" fmla="*/ 4248150 h 4496940"/>
              <a:gd name="connsiteX63" fmla="*/ 3240427 w 4519987"/>
              <a:gd name="connsiteY63" fmla="*/ 4267200 h 4496940"/>
              <a:gd name="connsiteX64" fmla="*/ 3068977 w 4519987"/>
              <a:gd name="connsiteY64" fmla="*/ 4286250 h 4496940"/>
              <a:gd name="connsiteX65" fmla="*/ 2935627 w 4519987"/>
              <a:gd name="connsiteY65" fmla="*/ 4333875 h 4496940"/>
              <a:gd name="connsiteX66" fmla="*/ 2811802 w 4519987"/>
              <a:gd name="connsiteY66" fmla="*/ 4371975 h 4496940"/>
              <a:gd name="connsiteX67" fmla="*/ 2745127 w 4519987"/>
              <a:gd name="connsiteY67" fmla="*/ 4410075 h 4496940"/>
              <a:gd name="connsiteX68" fmla="*/ 2697502 w 4519987"/>
              <a:gd name="connsiteY68" fmla="*/ 4429125 h 4496940"/>
              <a:gd name="connsiteX69" fmla="*/ 2640352 w 4519987"/>
              <a:gd name="connsiteY69" fmla="*/ 4457700 h 4496940"/>
              <a:gd name="connsiteX70" fmla="*/ 2583202 w 4519987"/>
              <a:gd name="connsiteY70" fmla="*/ 4467225 h 4496940"/>
              <a:gd name="connsiteX71" fmla="*/ 2545102 w 4519987"/>
              <a:gd name="connsiteY71" fmla="*/ 4486275 h 4496940"/>
              <a:gd name="connsiteX72" fmla="*/ 2306977 w 4519987"/>
              <a:gd name="connsiteY72" fmla="*/ 4476750 h 4496940"/>
              <a:gd name="connsiteX73" fmla="*/ 2202202 w 4519987"/>
              <a:gd name="connsiteY73" fmla="*/ 4457700 h 4496940"/>
              <a:gd name="connsiteX74" fmla="*/ 2126002 w 4519987"/>
              <a:gd name="connsiteY74" fmla="*/ 4429125 h 4496940"/>
              <a:gd name="connsiteX75" fmla="*/ 1935502 w 4519987"/>
              <a:gd name="connsiteY75" fmla="*/ 4400550 h 4496940"/>
              <a:gd name="connsiteX76" fmla="*/ 1821202 w 4519987"/>
              <a:gd name="connsiteY76" fmla="*/ 4371975 h 4496940"/>
              <a:gd name="connsiteX77" fmla="*/ 1754527 w 4519987"/>
              <a:gd name="connsiteY77" fmla="*/ 4352925 h 4496940"/>
              <a:gd name="connsiteX78" fmla="*/ 1687852 w 4519987"/>
              <a:gd name="connsiteY78" fmla="*/ 4343400 h 4496940"/>
              <a:gd name="connsiteX79" fmla="*/ 1573552 w 4519987"/>
              <a:gd name="connsiteY79" fmla="*/ 4305300 h 4496940"/>
              <a:gd name="connsiteX80" fmla="*/ 1402102 w 4519987"/>
              <a:gd name="connsiteY80" fmla="*/ 4276725 h 4496940"/>
              <a:gd name="connsiteX81" fmla="*/ 1287802 w 4519987"/>
              <a:gd name="connsiteY81" fmla="*/ 4229100 h 4496940"/>
              <a:gd name="connsiteX82" fmla="*/ 1221127 w 4519987"/>
              <a:gd name="connsiteY82" fmla="*/ 4200525 h 4496940"/>
              <a:gd name="connsiteX83" fmla="*/ 1144927 w 4519987"/>
              <a:gd name="connsiteY83" fmla="*/ 4171950 h 4496940"/>
              <a:gd name="connsiteX84" fmla="*/ 1087777 w 4519987"/>
              <a:gd name="connsiteY84" fmla="*/ 4143375 h 4496940"/>
              <a:gd name="connsiteX85" fmla="*/ 1030627 w 4519987"/>
              <a:gd name="connsiteY85" fmla="*/ 4124325 h 4496940"/>
              <a:gd name="connsiteX86" fmla="*/ 925852 w 4519987"/>
              <a:gd name="connsiteY86" fmla="*/ 4067175 h 4496940"/>
              <a:gd name="connsiteX87" fmla="*/ 830602 w 4519987"/>
              <a:gd name="connsiteY87" fmla="*/ 3981450 h 4496940"/>
              <a:gd name="connsiteX88" fmla="*/ 763927 w 4519987"/>
              <a:gd name="connsiteY88" fmla="*/ 3914775 h 4496940"/>
              <a:gd name="connsiteX89" fmla="*/ 725827 w 4519987"/>
              <a:gd name="connsiteY89" fmla="*/ 3876675 h 4496940"/>
              <a:gd name="connsiteX90" fmla="*/ 697252 w 4519987"/>
              <a:gd name="connsiteY90" fmla="*/ 3838575 h 4496940"/>
              <a:gd name="connsiteX91" fmla="*/ 640102 w 4519987"/>
              <a:gd name="connsiteY91" fmla="*/ 3781425 h 4496940"/>
              <a:gd name="connsiteX92" fmla="*/ 611527 w 4519987"/>
              <a:gd name="connsiteY92" fmla="*/ 3733800 h 4496940"/>
              <a:gd name="connsiteX93" fmla="*/ 554377 w 4519987"/>
              <a:gd name="connsiteY93" fmla="*/ 3657600 h 4496940"/>
              <a:gd name="connsiteX94" fmla="*/ 525802 w 4519987"/>
              <a:gd name="connsiteY94" fmla="*/ 3609975 h 4496940"/>
              <a:gd name="connsiteX95" fmla="*/ 497227 w 4519987"/>
              <a:gd name="connsiteY95" fmla="*/ 3552825 h 4496940"/>
              <a:gd name="connsiteX96" fmla="*/ 440077 w 4519987"/>
              <a:gd name="connsiteY96" fmla="*/ 3495675 h 4496940"/>
              <a:gd name="connsiteX97" fmla="*/ 411502 w 4519987"/>
              <a:gd name="connsiteY97" fmla="*/ 3448050 h 4496940"/>
              <a:gd name="connsiteX98" fmla="*/ 278152 w 4519987"/>
              <a:gd name="connsiteY98" fmla="*/ 3257550 h 4496940"/>
              <a:gd name="connsiteX99" fmla="*/ 249577 w 4519987"/>
              <a:gd name="connsiteY99" fmla="*/ 3200400 h 4496940"/>
              <a:gd name="connsiteX100" fmla="*/ 240052 w 4519987"/>
              <a:gd name="connsiteY100" fmla="*/ 3162300 h 4496940"/>
              <a:gd name="connsiteX101" fmla="*/ 221002 w 4519987"/>
              <a:gd name="connsiteY101" fmla="*/ 3105150 h 4496940"/>
              <a:gd name="connsiteX102" fmla="*/ 173377 w 4519987"/>
              <a:gd name="connsiteY102" fmla="*/ 3019425 h 4496940"/>
              <a:gd name="connsiteX103" fmla="*/ 144802 w 4519987"/>
              <a:gd name="connsiteY103" fmla="*/ 2924175 h 4496940"/>
              <a:gd name="connsiteX104" fmla="*/ 68602 w 4519987"/>
              <a:gd name="connsiteY104" fmla="*/ 2724150 h 4496940"/>
              <a:gd name="connsiteX105" fmla="*/ 49552 w 4519987"/>
              <a:gd name="connsiteY105" fmla="*/ 2638425 h 4496940"/>
              <a:gd name="connsiteX106" fmla="*/ 40027 w 4519987"/>
              <a:gd name="connsiteY106" fmla="*/ 2562225 h 4496940"/>
              <a:gd name="connsiteX107" fmla="*/ 30502 w 4519987"/>
              <a:gd name="connsiteY107" fmla="*/ 2514600 h 4496940"/>
              <a:gd name="connsiteX108" fmla="*/ 11452 w 4519987"/>
              <a:gd name="connsiteY108" fmla="*/ 2400300 h 4496940"/>
              <a:gd name="connsiteX109" fmla="*/ 20977 w 4519987"/>
              <a:gd name="connsiteY109" fmla="*/ 1905000 h 4496940"/>
              <a:gd name="connsiteX110" fmla="*/ 30502 w 4519987"/>
              <a:gd name="connsiteY110" fmla="*/ 1838325 h 4496940"/>
              <a:gd name="connsiteX111" fmla="*/ 49552 w 4519987"/>
              <a:gd name="connsiteY111" fmla="*/ 1781175 h 4496940"/>
              <a:gd name="connsiteX112" fmla="*/ 59077 w 4519987"/>
              <a:gd name="connsiteY112" fmla="*/ 1743075 h 4496940"/>
              <a:gd name="connsiteX113" fmla="*/ 78127 w 4519987"/>
              <a:gd name="connsiteY113" fmla="*/ 1685925 h 4496940"/>
              <a:gd name="connsiteX114" fmla="*/ 87652 w 4519987"/>
              <a:gd name="connsiteY114" fmla="*/ 1638300 h 4496940"/>
              <a:gd name="connsiteX115" fmla="*/ 106702 w 4519987"/>
              <a:gd name="connsiteY115" fmla="*/ 1590675 h 4496940"/>
              <a:gd name="connsiteX116" fmla="*/ 135277 w 4519987"/>
              <a:gd name="connsiteY116" fmla="*/ 1504950 h 4496940"/>
              <a:gd name="connsiteX117" fmla="*/ 154327 w 4519987"/>
              <a:gd name="connsiteY117" fmla="*/ 1419225 h 4496940"/>
              <a:gd name="connsiteX118" fmla="*/ 230527 w 4519987"/>
              <a:gd name="connsiteY118" fmla="*/ 1276350 h 4496940"/>
              <a:gd name="connsiteX119" fmla="*/ 240052 w 4519987"/>
              <a:gd name="connsiteY119" fmla="*/ 1247775 h 4496940"/>
              <a:gd name="connsiteX120" fmla="*/ 268627 w 4519987"/>
              <a:gd name="connsiteY120" fmla="*/ 1200150 h 4496940"/>
              <a:gd name="connsiteX121" fmla="*/ 287677 w 4519987"/>
              <a:gd name="connsiteY121" fmla="*/ 1152525 h 4496940"/>
              <a:gd name="connsiteX122" fmla="*/ 316252 w 4519987"/>
              <a:gd name="connsiteY122" fmla="*/ 1114425 h 4496940"/>
              <a:gd name="connsiteX123" fmla="*/ 363877 w 4519987"/>
              <a:gd name="connsiteY123" fmla="*/ 1038225 h 4496940"/>
              <a:gd name="connsiteX124" fmla="*/ 382927 w 4519987"/>
              <a:gd name="connsiteY124" fmla="*/ 1009650 h 4496940"/>
              <a:gd name="connsiteX125" fmla="*/ 440077 w 4519987"/>
              <a:gd name="connsiteY125" fmla="*/ 904875 h 4496940"/>
              <a:gd name="connsiteX126" fmla="*/ 478177 w 4519987"/>
              <a:gd name="connsiteY126" fmla="*/ 857250 h 4496940"/>
              <a:gd name="connsiteX127" fmla="*/ 497227 w 4519987"/>
              <a:gd name="connsiteY127" fmla="*/ 828675 h 4496940"/>
              <a:gd name="connsiteX128" fmla="*/ 535327 w 4519987"/>
              <a:gd name="connsiteY128" fmla="*/ 800100 h 4496940"/>
              <a:gd name="connsiteX129" fmla="*/ 602002 w 4519987"/>
              <a:gd name="connsiteY129" fmla="*/ 733425 h 4496940"/>
              <a:gd name="connsiteX130" fmla="*/ 668677 w 4519987"/>
              <a:gd name="connsiteY130" fmla="*/ 676275 h 4496940"/>
              <a:gd name="connsiteX131" fmla="*/ 697252 w 4519987"/>
              <a:gd name="connsiteY131" fmla="*/ 657225 h 4496940"/>
              <a:gd name="connsiteX132" fmla="*/ 840127 w 4519987"/>
              <a:gd name="connsiteY132" fmla="*/ 533400 h 4496940"/>
              <a:gd name="connsiteX133" fmla="*/ 887752 w 4519987"/>
              <a:gd name="connsiteY133" fmla="*/ 504825 h 4496940"/>
              <a:gd name="connsiteX134" fmla="*/ 1167152 w 4519987"/>
              <a:gd name="connsiteY134" fmla="*/ 311150 h 4496940"/>
              <a:gd name="connsiteX135" fmla="*/ 1268752 w 4519987"/>
              <a:gd name="connsiteY135" fmla="*/ 285750 h 4496940"/>
              <a:gd name="connsiteX136" fmla="*/ 1411627 w 4519987"/>
              <a:gd name="connsiteY136" fmla="*/ 190500 h 4496940"/>
              <a:gd name="connsiteX137" fmla="*/ 1449727 w 4519987"/>
              <a:gd name="connsiteY137" fmla="*/ 161925 h 4496940"/>
              <a:gd name="connsiteX138" fmla="*/ 1525927 w 4519987"/>
              <a:gd name="connsiteY138" fmla="*/ 152400 h 4496940"/>
              <a:gd name="connsiteX139" fmla="*/ 1583077 w 4519987"/>
              <a:gd name="connsiteY139" fmla="*/ 142875 h 4496940"/>
              <a:gd name="connsiteX140" fmla="*/ 1716427 w 4519987"/>
              <a:gd name="connsiteY140" fmla="*/ 123825 h 4496940"/>
              <a:gd name="connsiteX141" fmla="*/ 1811677 w 4519987"/>
              <a:gd name="connsiteY141" fmla="*/ 114300 h 4496940"/>
              <a:gd name="connsiteX142" fmla="*/ 1859302 w 4519987"/>
              <a:gd name="connsiteY142" fmla="*/ 104775 h 4496940"/>
              <a:gd name="connsiteX143" fmla="*/ 1916452 w 4519987"/>
              <a:gd name="connsiteY143" fmla="*/ 95250 h 4496940"/>
              <a:gd name="connsiteX144" fmla="*/ 2030752 w 4519987"/>
              <a:gd name="connsiteY144" fmla="*/ 66675 h 4496940"/>
              <a:gd name="connsiteX145" fmla="*/ 2097427 w 4519987"/>
              <a:gd name="connsiteY145" fmla="*/ 47625 h 4496940"/>
              <a:gd name="connsiteX146" fmla="*/ 2164102 w 4519987"/>
              <a:gd name="connsiteY146" fmla="*/ 38100 h 4496940"/>
              <a:gd name="connsiteX147" fmla="*/ 2392702 w 4519987"/>
              <a:gd name="connsiteY14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202452 w 4519987"/>
              <a:gd name="connsiteY24" fmla="*/ 1085850 h 4496940"/>
              <a:gd name="connsiteX25" fmla="*/ 4250077 w 4519987"/>
              <a:gd name="connsiteY25" fmla="*/ 1143000 h 4496940"/>
              <a:gd name="connsiteX26" fmla="*/ 4259602 w 4519987"/>
              <a:gd name="connsiteY26" fmla="*/ 1190625 h 4496940"/>
              <a:gd name="connsiteX27" fmla="*/ 4307227 w 4519987"/>
              <a:gd name="connsiteY27" fmla="*/ 1266825 h 4496940"/>
              <a:gd name="connsiteX28" fmla="*/ 4345327 w 4519987"/>
              <a:gd name="connsiteY28" fmla="*/ 1362075 h 4496940"/>
              <a:gd name="connsiteX29" fmla="*/ 4373902 w 4519987"/>
              <a:gd name="connsiteY29" fmla="*/ 1428750 h 4496940"/>
              <a:gd name="connsiteX30" fmla="*/ 4392952 w 4519987"/>
              <a:gd name="connsiteY30" fmla="*/ 1552575 h 4496940"/>
              <a:gd name="connsiteX31" fmla="*/ 4402477 w 4519987"/>
              <a:gd name="connsiteY31" fmla="*/ 1590675 h 4496940"/>
              <a:gd name="connsiteX32" fmla="*/ 4431052 w 4519987"/>
              <a:gd name="connsiteY32" fmla="*/ 1685925 h 4496940"/>
              <a:gd name="connsiteX33" fmla="*/ 4519952 w 4519987"/>
              <a:gd name="connsiteY33" fmla="*/ 2181225 h 4496940"/>
              <a:gd name="connsiteX34" fmla="*/ 4446927 w 4519987"/>
              <a:gd name="connsiteY34" fmla="*/ 2768600 h 4496940"/>
              <a:gd name="connsiteX35" fmla="*/ 4383427 w 4519987"/>
              <a:gd name="connsiteY35" fmla="*/ 2990850 h 4496940"/>
              <a:gd name="connsiteX36" fmla="*/ 4278652 w 4519987"/>
              <a:gd name="connsiteY36" fmla="*/ 3248025 h 4496940"/>
              <a:gd name="connsiteX37" fmla="*/ 4259602 w 4519987"/>
              <a:gd name="connsiteY37" fmla="*/ 3276600 h 4496940"/>
              <a:gd name="connsiteX38" fmla="*/ 4221502 w 4519987"/>
              <a:gd name="connsiteY38" fmla="*/ 3333750 h 4496940"/>
              <a:gd name="connsiteX39" fmla="*/ 4211977 w 4519987"/>
              <a:gd name="connsiteY39" fmla="*/ 3362325 h 4496940"/>
              <a:gd name="connsiteX40" fmla="*/ 4183402 w 4519987"/>
              <a:gd name="connsiteY40" fmla="*/ 3400425 h 4496940"/>
              <a:gd name="connsiteX41" fmla="*/ 4164352 w 4519987"/>
              <a:gd name="connsiteY41" fmla="*/ 3429000 h 4496940"/>
              <a:gd name="connsiteX42" fmla="*/ 4088152 w 4519987"/>
              <a:gd name="connsiteY42" fmla="*/ 3495675 h 4496940"/>
              <a:gd name="connsiteX43" fmla="*/ 4059577 w 4519987"/>
              <a:gd name="connsiteY43" fmla="*/ 3533775 h 4496940"/>
              <a:gd name="connsiteX44" fmla="*/ 4002427 w 4519987"/>
              <a:gd name="connsiteY44" fmla="*/ 3600450 h 4496940"/>
              <a:gd name="connsiteX45" fmla="*/ 3983377 w 4519987"/>
              <a:gd name="connsiteY45" fmla="*/ 3629025 h 4496940"/>
              <a:gd name="connsiteX46" fmla="*/ 3954802 w 4519987"/>
              <a:gd name="connsiteY46" fmla="*/ 3648075 h 4496940"/>
              <a:gd name="connsiteX47" fmla="*/ 3907177 w 4519987"/>
              <a:gd name="connsiteY47" fmla="*/ 3686175 h 4496940"/>
              <a:gd name="connsiteX48" fmla="*/ 3869077 w 4519987"/>
              <a:gd name="connsiteY48" fmla="*/ 3724275 h 4496940"/>
              <a:gd name="connsiteX49" fmla="*/ 3792877 w 4519987"/>
              <a:gd name="connsiteY49" fmla="*/ 3781425 h 4496940"/>
              <a:gd name="connsiteX50" fmla="*/ 3783352 w 4519987"/>
              <a:gd name="connsiteY50" fmla="*/ 3810000 h 4496940"/>
              <a:gd name="connsiteX51" fmla="*/ 3745252 w 4519987"/>
              <a:gd name="connsiteY51" fmla="*/ 3819525 h 4496940"/>
              <a:gd name="connsiteX52" fmla="*/ 3678577 w 4519987"/>
              <a:gd name="connsiteY52" fmla="*/ 3848100 h 4496940"/>
              <a:gd name="connsiteX53" fmla="*/ 3659527 w 4519987"/>
              <a:gd name="connsiteY53" fmla="*/ 3971925 h 4496940"/>
              <a:gd name="connsiteX54" fmla="*/ 3630952 w 4519987"/>
              <a:gd name="connsiteY54" fmla="*/ 4010025 h 4496940"/>
              <a:gd name="connsiteX55" fmla="*/ 3621427 w 4519987"/>
              <a:gd name="connsiteY55" fmla="*/ 4038600 h 4496940"/>
              <a:gd name="connsiteX56" fmla="*/ 3554752 w 4519987"/>
              <a:gd name="connsiteY56" fmla="*/ 4095750 h 4496940"/>
              <a:gd name="connsiteX57" fmla="*/ 3516652 w 4519987"/>
              <a:gd name="connsiteY57" fmla="*/ 4114800 h 4496940"/>
              <a:gd name="connsiteX58" fmla="*/ 3497602 w 4519987"/>
              <a:gd name="connsiteY58" fmla="*/ 4143375 h 4496940"/>
              <a:gd name="connsiteX59" fmla="*/ 3383302 w 4519987"/>
              <a:gd name="connsiteY59" fmla="*/ 4210050 h 4496940"/>
              <a:gd name="connsiteX60" fmla="*/ 3335677 w 4519987"/>
              <a:gd name="connsiteY60" fmla="*/ 4238625 h 4496940"/>
              <a:gd name="connsiteX61" fmla="*/ 3288052 w 4519987"/>
              <a:gd name="connsiteY61" fmla="*/ 4248150 h 4496940"/>
              <a:gd name="connsiteX62" fmla="*/ 3240427 w 4519987"/>
              <a:gd name="connsiteY62" fmla="*/ 4267200 h 4496940"/>
              <a:gd name="connsiteX63" fmla="*/ 3068977 w 4519987"/>
              <a:gd name="connsiteY63" fmla="*/ 4286250 h 4496940"/>
              <a:gd name="connsiteX64" fmla="*/ 2935627 w 4519987"/>
              <a:gd name="connsiteY64" fmla="*/ 4333875 h 4496940"/>
              <a:gd name="connsiteX65" fmla="*/ 2811802 w 4519987"/>
              <a:gd name="connsiteY65" fmla="*/ 4371975 h 4496940"/>
              <a:gd name="connsiteX66" fmla="*/ 2745127 w 4519987"/>
              <a:gd name="connsiteY66" fmla="*/ 4410075 h 4496940"/>
              <a:gd name="connsiteX67" fmla="*/ 2697502 w 4519987"/>
              <a:gd name="connsiteY67" fmla="*/ 4429125 h 4496940"/>
              <a:gd name="connsiteX68" fmla="*/ 2640352 w 4519987"/>
              <a:gd name="connsiteY68" fmla="*/ 4457700 h 4496940"/>
              <a:gd name="connsiteX69" fmla="*/ 2583202 w 4519987"/>
              <a:gd name="connsiteY69" fmla="*/ 4467225 h 4496940"/>
              <a:gd name="connsiteX70" fmla="*/ 2545102 w 4519987"/>
              <a:gd name="connsiteY70" fmla="*/ 4486275 h 4496940"/>
              <a:gd name="connsiteX71" fmla="*/ 2306977 w 4519987"/>
              <a:gd name="connsiteY71" fmla="*/ 4476750 h 4496940"/>
              <a:gd name="connsiteX72" fmla="*/ 2202202 w 4519987"/>
              <a:gd name="connsiteY72" fmla="*/ 4457700 h 4496940"/>
              <a:gd name="connsiteX73" fmla="*/ 2126002 w 4519987"/>
              <a:gd name="connsiteY73" fmla="*/ 4429125 h 4496940"/>
              <a:gd name="connsiteX74" fmla="*/ 1935502 w 4519987"/>
              <a:gd name="connsiteY74" fmla="*/ 4400550 h 4496940"/>
              <a:gd name="connsiteX75" fmla="*/ 1821202 w 4519987"/>
              <a:gd name="connsiteY75" fmla="*/ 4371975 h 4496940"/>
              <a:gd name="connsiteX76" fmla="*/ 1754527 w 4519987"/>
              <a:gd name="connsiteY76" fmla="*/ 4352925 h 4496940"/>
              <a:gd name="connsiteX77" fmla="*/ 1687852 w 4519987"/>
              <a:gd name="connsiteY77" fmla="*/ 4343400 h 4496940"/>
              <a:gd name="connsiteX78" fmla="*/ 1573552 w 4519987"/>
              <a:gd name="connsiteY78" fmla="*/ 4305300 h 4496940"/>
              <a:gd name="connsiteX79" fmla="*/ 1402102 w 4519987"/>
              <a:gd name="connsiteY79" fmla="*/ 4276725 h 4496940"/>
              <a:gd name="connsiteX80" fmla="*/ 1287802 w 4519987"/>
              <a:gd name="connsiteY80" fmla="*/ 4229100 h 4496940"/>
              <a:gd name="connsiteX81" fmla="*/ 1221127 w 4519987"/>
              <a:gd name="connsiteY81" fmla="*/ 4200525 h 4496940"/>
              <a:gd name="connsiteX82" fmla="*/ 1144927 w 4519987"/>
              <a:gd name="connsiteY82" fmla="*/ 4171950 h 4496940"/>
              <a:gd name="connsiteX83" fmla="*/ 1087777 w 4519987"/>
              <a:gd name="connsiteY83" fmla="*/ 4143375 h 4496940"/>
              <a:gd name="connsiteX84" fmla="*/ 1030627 w 4519987"/>
              <a:gd name="connsiteY84" fmla="*/ 4124325 h 4496940"/>
              <a:gd name="connsiteX85" fmla="*/ 925852 w 4519987"/>
              <a:gd name="connsiteY85" fmla="*/ 4067175 h 4496940"/>
              <a:gd name="connsiteX86" fmla="*/ 830602 w 4519987"/>
              <a:gd name="connsiteY86" fmla="*/ 3981450 h 4496940"/>
              <a:gd name="connsiteX87" fmla="*/ 763927 w 4519987"/>
              <a:gd name="connsiteY87" fmla="*/ 3914775 h 4496940"/>
              <a:gd name="connsiteX88" fmla="*/ 725827 w 4519987"/>
              <a:gd name="connsiteY88" fmla="*/ 3876675 h 4496940"/>
              <a:gd name="connsiteX89" fmla="*/ 697252 w 4519987"/>
              <a:gd name="connsiteY89" fmla="*/ 3838575 h 4496940"/>
              <a:gd name="connsiteX90" fmla="*/ 640102 w 4519987"/>
              <a:gd name="connsiteY90" fmla="*/ 3781425 h 4496940"/>
              <a:gd name="connsiteX91" fmla="*/ 611527 w 4519987"/>
              <a:gd name="connsiteY91" fmla="*/ 3733800 h 4496940"/>
              <a:gd name="connsiteX92" fmla="*/ 554377 w 4519987"/>
              <a:gd name="connsiteY92" fmla="*/ 3657600 h 4496940"/>
              <a:gd name="connsiteX93" fmla="*/ 525802 w 4519987"/>
              <a:gd name="connsiteY93" fmla="*/ 3609975 h 4496940"/>
              <a:gd name="connsiteX94" fmla="*/ 497227 w 4519987"/>
              <a:gd name="connsiteY94" fmla="*/ 3552825 h 4496940"/>
              <a:gd name="connsiteX95" fmla="*/ 440077 w 4519987"/>
              <a:gd name="connsiteY95" fmla="*/ 3495675 h 4496940"/>
              <a:gd name="connsiteX96" fmla="*/ 411502 w 4519987"/>
              <a:gd name="connsiteY96" fmla="*/ 3448050 h 4496940"/>
              <a:gd name="connsiteX97" fmla="*/ 278152 w 4519987"/>
              <a:gd name="connsiteY97" fmla="*/ 3257550 h 4496940"/>
              <a:gd name="connsiteX98" fmla="*/ 249577 w 4519987"/>
              <a:gd name="connsiteY98" fmla="*/ 3200400 h 4496940"/>
              <a:gd name="connsiteX99" fmla="*/ 240052 w 4519987"/>
              <a:gd name="connsiteY99" fmla="*/ 3162300 h 4496940"/>
              <a:gd name="connsiteX100" fmla="*/ 221002 w 4519987"/>
              <a:gd name="connsiteY100" fmla="*/ 3105150 h 4496940"/>
              <a:gd name="connsiteX101" fmla="*/ 173377 w 4519987"/>
              <a:gd name="connsiteY101" fmla="*/ 3019425 h 4496940"/>
              <a:gd name="connsiteX102" fmla="*/ 144802 w 4519987"/>
              <a:gd name="connsiteY102" fmla="*/ 2924175 h 4496940"/>
              <a:gd name="connsiteX103" fmla="*/ 68602 w 4519987"/>
              <a:gd name="connsiteY103" fmla="*/ 2724150 h 4496940"/>
              <a:gd name="connsiteX104" fmla="*/ 49552 w 4519987"/>
              <a:gd name="connsiteY104" fmla="*/ 2638425 h 4496940"/>
              <a:gd name="connsiteX105" fmla="*/ 40027 w 4519987"/>
              <a:gd name="connsiteY105" fmla="*/ 2562225 h 4496940"/>
              <a:gd name="connsiteX106" fmla="*/ 30502 w 4519987"/>
              <a:gd name="connsiteY106" fmla="*/ 2514600 h 4496940"/>
              <a:gd name="connsiteX107" fmla="*/ 11452 w 4519987"/>
              <a:gd name="connsiteY107" fmla="*/ 2400300 h 4496940"/>
              <a:gd name="connsiteX108" fmla="*/ 20977 w 4519987"/>
              <a:gd name="connsiteY108" fmla="*/ 1905000 h 4496940"/>
              <a:gd name="connsiteX109" fmla="*/ 30502 w 4519987"/>
              <a:gd name="connsiteY109" fmla="*/ 1838325 h 4496940"/>
              <a:gd name="connsiteX110" fmla="*/ 49552 w 4519987"/>
              <a:gd name="connsiteY110" fmla="*/ 1781175 h 4496940"/>
              <a:gd name="connsiteX111" fmla="*/ 59077 w 4519987"/>
              <a:gd name="connsiteY111" fmla="*/ 1743075 h 4496940"/>
              <a:gd name="connsiteX112" fmla="*/ 78127 w 4519987"/>
              <a:gd name="connsiteY112" fmla="*/ 1685925 h 4496940"/>
              <a:gd name="connsiteX113" fmla="*/ 87652 w 4519987"/>
              <a:gd name="connsiteY113" fmla="*/ 1638300 h 4496940"/>
              <a:gd name="connsiteX114" fmla="*/ 106702 w 4519987"/>
              <a:gd name="connsiteY114" fmla="*/ 1590675 h 4496940"/>
              <a:gd name="connsiteX115" fmla="*/ 135277 w 4519987"/>
              <a:gd name="connsiteY115" fmla="*/ 1504950 h 4496940"/>
              <a:gd name="connsiteX116" fmla="*/ 154327 w 4519987"/>
              <a:gd name="connsiteY116" fmla="*/ 1419225 h 4496940"/>
              <a:gd name="connsiteX117" fmla="*/ 230527 w 4519987"/>
              <a:gd name="connsiteY117" fmla="*/ 1276350 h 4496940"/>
              <a:gd name="connsiteX118" fmla="*/ 240052 w 4519987"/>
              <a:gd name="connsiteY118" fmla="*/ 1247775 h 4496940"/>
              <a:gd name="connsiteX119" fmla="*/ 268627 w 4519987"/>
              <a:gd name="connsiteY119" fmla="*/ 1200150 h 4496940"/>
              <a:gd name="connsiteX120" fmla="*/ 287677 w 4519987"/>
              <a:gd name="connsiteY120" fmla="*/ 1152525 h 4496940"/>
              <a:gd name="connsiteX121" fmla="*/ 316252 w 4519987"/>
              <a:gd name="connsiteY121" fmla="*/ 1114425 h 4496940"/>
              <a:gd name="connsiteX122" fmla="*/ 363877 w 4519987"/>
              <a:gd name="connsiteY122" fmla="*/ 1038225 h 4496940"/>
              <a:gd name="connsiteX123" fmla="*/ 382927 w 4519987"/>
              <a:gd name="connsiteY123" fmla="*/ 1009650 h 4496940"/>
              <a:gd name="connsiteX124" fmla="*/ 440077 w 4519987"/>
              <a:gd name="connsiteY124" fmla="*/ 904875 h 4496940"/>
              <a:gd name="connsiteX125" fmla="*/ 478177 w 4519987"/>
              <a:gd name="connsiteY125" fmla="*/ 857250 h 4496940"/>
              <a:gd name="connsiteX126" fmla="*/ 497227 w 4519987"/>
              <a:gd name="connsiteY126" fmla="*/ 828675 h 4496940"/>
              <a:gd name="connsiteX127" fmla="*/ 535327 w 4519987"/>
              <a:gd name="connsiteY127" fmla="*/ 800100 h 4496940"/>
              <a:gd name="connsiteX128" fmla="*/ 602002 w 4519987"/>
              <a:gd name="connsiteY128" fmla="*/ 733425 h 4496940"/>
              <a:gd name="connsiteX129" fmla="*/ 668677 w 4519987"/>
              <a:gd name="connsiteY129" fmla="*/ 676275 h 4496940"/>
              <a:gd name="connsiteX130" fmla="*/ 697252 w 4519987"/>
              <a:gd name="connsiteY130" fmla="*/ 657225 h 4496940"/>
              <a:gd name="connsiteX131" fmla="*/ 840127 w 4519987"/>
              <a:gd name="connsiteY131" fmla="*/ 533400 h 4496940"/>
              <a:gd name="connsiteX132" fmla="*/ 887752 w 4519987"/>
              <a:gd name="connsiteY132" fmla="*/ 504825 h 4496940"/>
              <a:gd name="connsiteX133" fmla="*/ 1167152 w 4519987"/>
              <a:gd name="connsiteY133" fmla="*/ 311150 h 4496940"/>
              <a:gd name="connsiteX134" fmla="*/ 1268752 w 4519987"/>
              <a:gd name="connsiteY134" fmla="*/ 285750 h 4496940"/>
              <a:gd name="connsiteX135" fmla="*/ 1411627 w 4519987"/>
              <a:gd name="connsiteY135" fmla="*/ 190500 h 4496940"/>
              <a:gd name="connsiteX136" fmla="*/ 1449727 w 4519987"/>
              <a:gd name="connsiteY136" fmla="*/ 161925 h 4496940"/>
              <a:gd name="connsiteX137" fmla="*/ 1525927 w 4519987"/>
              <a:gd name="connsiteY137" fmla="*/ 152400 h 4496940"/>
              <a:gd name="connsiteX138" fmla="*/ 1583077 w 4519987"/>
              <a:gd name="connsiteY138" fmla="*/ 142875 h 4496940"/>
              <a:gd name="connsiteX139" fmla="*/ 1716427 w 4519987"/>
              <a:gd name="connsiteY139" fmla="*/ 123825 h 4496940"/>
              <a:gd name="connsiteX140" fmla="*/ 1811677 w 4519987"/>
              <a:gd name="connsiteY140" fmla="*/ 114300 h 4496940"/>
              <a:gd name="connsiteX141" fmla="*/ 1859302 w 4519987"/>
              <a:gd name="connsiteY141" fmla="*/ 104775 h 4496940"/>
              <a:gd name="connsiteX142" fmla="*/ 1916452 w 4519987"/>
              <a:gd name="connsiteY142" fmla="*/ 95250 h 4496940"/>
              <a:gd name="connsiteX143" fmla="*/ 2030752 w 4519987"/>
              <a:gd name="connsiteY143" fmla="*/ 66675 h 4496940"/>
              <a:gd name="connsiteX144" fmla="*/ 2097427 w 4519987"/>
              <a:gd name="connsiteY144" fmla="*/ 47625 h 4496940"/>
              <a:gd name="connsiteX145" fmla="*/ 2164102 w 4519987"/>
              <a:gd name="connsiteY145" fmla="*/ 38100 h 4496940"/>
              <a:gd name="connsiteX146" fmla="*/ 2392702 w 4519987"/>
              <a:gd name="connsiteY14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250077 w 4519987"/>
              <a:gd name="connsiteY24" fmla="*/ 1143000 h 4496940"/>
              <a:gd name="connsiteX25" fmla="*/ 4259602 w 4519987"/>
              <a:gd name="connsiteY25" fmla="*/ 1190625 h 4496940"/>
              <a:gd name="connsiteX26" fmla="*/ 4307227 w 4519987"/>
              <a:gd name="connsiteY26" fmla="*/ 1266825 h 4496940"/>
              <a:gd name="connsiteX27" fmla="*/ 4345327 w 4519987"/>
              <a:gd name="connsiteY27" fmla="*/ 1362075 h 4496940"/>
              <a:gd name="connsiteX28" fmla="*/ 4373902 w 4519987"/>
              <a:gd name="connsiteY28" fmla="*/ 1428750 h 4496940"/>
              <a:gd name="connsiteX29" fmla="*/ 4392952 w 4519987"/>
              <a:gd name="connsiteY29" fmla="*/ 1552575 h 4496940"/>
              <a:gd name="connsiteX30" fmla="*/ 4402477 w 4519987"/>
              <a:gd name="connsiteY30" fmla="*/ 1590675 h 4496940"/>
              <a:gd name="connsiteX31" fmla="*/ 4431052 w 4519987"/>
              <a:gd name="connsiteY31" fmla="*/ 1685925 h 4496940"/>
              <a:gd name="connsiteX32" fmla="*/ 4519952 w 4519987"/>
              <a:gd name="connsiteY32" fmla="*/ 2181225 h 4496940"/>
              <a:gd name="connsiteX33" fmla="*/ 4446927 w 4519987"/>
              <a:gd name="connsiteY33" fmla="*/ 2768600 h 4496940"/>
              <a:gd name="connsiteX34" fmla="*/ 4383427 w 4519987"/>
              <a:gd name="connsiteY34" fmla="*/ 2990850 h 4496940"/>
              <a:gd name="connsiteX35" fmla="*/ 4278652 w 4519987"/>
              <a:gd name="connsiteY35" fmla="*/ 3248025 h 4496940"/>
              <a:gd name="connsiteX36" fmla="*/ 4259602 w 4519987"/>
              <a:gd name="connsiteY36" fmla="*/ 3276600 h 4496940"/>
              <a:gd name="connsiteX37" fmla="*/ 4221502 w 4519987"/>
              <a:gd name="connsiteY37" fmla="*/ 3333750 h 4496940"/>
              <a:gd name="connsiteX38" fmla="*/ 4211977 w 4519987"/>
              <a:gd name="connsiteY38" fmla="*/ 3362325 h 4496940"/>
              <a:gd name="connsiteX39" fmla="*/ 4183402 w 4519987"/>
              <a:gd name="connsiteY39" fmla="*/ 3400425 h 4496940"/>
              <a:gd name="connsiteX40" fmla="*/ 4164352 w 4519987"/>
              <a:gd name="connsiteY40" fmla="*/ 3429000 h 4496940"/>
              <a:gd name="connsiteX41" fmla="*/ 4088152 w 4519987"/>
              <a:gd name="connsiteY41" fmla="*/ 3495675 h 4496940"/>
              <a:gd name="connsiteX42" fmla="*/ 4059577 w 4519987"/>
              <a:gd name="connsiteY42" fmla="*/ 3533775 h 4496940"/>
              <a:gd name="connsiteX43" fmla="*/ 4002427 w 4519987"/>
              <a:gd name="connsiteY43" fmla="*/ 3600450 h 4496940"/>
              <a:gd name="connsiteX44" fmla="*/ 3983377 w 4519987"/>
              <a:gd name="connsiteY44" fmla="*/ 3629025 h 4496940"/>
              <a:gd name="connsiteX45" fmla="*/ 3954802 w 4519987"/>
              <a:gd name="connsiteY45" fmla="*/ 3648075 h 4496940"/>
              <a:gd name="connsiteX46" fmla="*/ 3907177 w 4519987"/>
              <a:gd name="connsiteY46" fmla="*/ 3686175 h 4496940"/>
              <a:gd name="connsiteX47" fmla="*/ 3869077 w 4519987"/>
              <a:gd name="connsiteY47" fmla="*/ 3724275 h 4496940"/>
              <a:gd name="connsiteX48" fmla="*/ 3792877 w 4519987"/>
              <a:gd name="connsiteY48" fmla="*/ 3781425 h 4496940"/>
              <a:gd name="connsiteX49" fmla="*/ 3783352 w 4519987"/>
              <a:gd name="connsiteY49" fmla="*/ 3810000 h 4496940"/>
              <a:gd name="connsiteX50" fmla="*/ 3745252 w 4519987"/>
              <a:gd name="connsiteY50" fmla="*/ 3819525 h 4496940"/>
              <a:gd name="connsiteX51" fmla="*/ 3678577 w 4519987"/>
              <a:gd name="connsiteY51" fmla="*/ 3848100 h 4496940"/>
              <a:gd name="connsiteX52" fmla="*/ 3659527 w 4519987"/>
              <a:gd name="connsiteY52" fmla="*/ 3971925 h 4496940"/>
              <a:gd name="connsiteX53" fmla="*/ 3630952 w 4519987"/>
              <a:gd name="connsiteY53" fmla="*/ 4010025 h 4496940"/>
              <a:gd name="connsiteX54" fmla="*/ 3621427 w 4519987"/>
              <a:gd name="connsiteY54" fmla="*/ 4038600 h 4496940"/>
              <a:gd name="connsiteX55" fmla="*/ 3554752 w 4519987"/>
              <a:gd name="connsiteY55" fmla="*/ 4095750 h 4496940"/>
              <a:gd name="connsiteX56" fmla="*/ 3516652 w 4519987"/>
              <a:gd name="connsiteY56" fmla="*/ 4114800 h 4496940"/>
              <a:gd name="connsiteX57" fmla="*/ 3497602 w 4519987"/>
              <a:gd name="connsiteY57" fmla="*/ 4143375 h 4496940"/>
              <a:gd name="connsiteX58" fmla="*/ 3383302 w 4519987"/>
              <a:gd name="connsiteY58" fmla="*/ 4210050 h 4496940"/>
              <a:gd name="connsiteX59" fmla="*/ 3335677 w 4519987"/>
              <a:gd name="connsiteY59" fmla="*/ 4238625 h 4496940"/>
              <a:gd name="connsiteX60" fmla="*/ 3288052 w 4519987"/>
              <a:gd name="connsiteY60" fmla="*/ 4248150 h 4496940"/>
              <a:gd name="connsiteX61" fmla="*/ 3240427 w 4519987"/>
              <a:gd name="connsiteY61" fmla="*/ 4267200 h 4496940"/>
              <a:gd name="connsiteX62" fmla="*/ 3068977 w 4519987"/>
              <a:gd name="connsiteY62" fmla="*/ 4286250 h 4496940"/>
              <a:gd name="connsiteX63" fmla="*/ 2935627 w 4519987"/>
              <a:gd name="connsiteY63" fmla="*/ 4333875 h 4496940"/>
              <a:gd name="connsiteX64" fmla="*/ 2811802 w 4519987"/>
              <a:gd name="connsiteY64" fmla="*/ 4371975 h 4496940"/>
              <a:gd name="connsiteX65" fmla="*/ 2745127 w 4519987"/>
              <a:gd name="connsiteY65" fmla="*/ 4410075 h 4496940"/>
              <a:gd name="connsiteX66" fmla="*/ 2697502 w 4519987"/>
              <a:gd name="connsiteY66" fmla="*/ 4429125 h 4496940"/>
              <a:gd name="connsiteX67" fmla="*/ 2640352 w 4519987"/>
              <a:gd name="connsiteY67" fmla="*/ 4457700 h 4496940"/>
              <a:gd name="connsiteX68" fmla="*/ 2583202 w 4519987"/>
              <a:gd name="connsiteY68" fmla="*/ 4467225 h 4496940"/>
              <a:gd name="connsiteX69" fmla="*/ 2545102 w 4519987"/>
              <a:gd name="connsiteY69" fmla="*/ 4486275 h 4496940"/>
              <a:gd name="connsiteX70" fmla="*/ 2306977 w 4519987"/>
              <a:gd name="connsiteY70" fmla="*/ 4476750 h 4496940"/>
              <a:gd name="connsiteX71" fmla="*/ 2202202 w 4519987"/>
              <a:gd name="connsiteY71" fmla="*/ 4457700 h 4496940"/>
              <a:gd name="connsiteX72" fmla="*/ 2126002 w 4519987"/>
              <a:gd name="connsiteY72" fmla="*/ 4429125 h 4496940"/>
              <a:gd name="connsiteX73" fmla="*/ 1935502 w 4519987"/>
              <a:gd name="connsiteY73" fmla="*/ 4400550 h 4496940"/>
              <a:gd name="connsiteX74" fmla="*/ 1821202 w 4519987"/>
              <a:gd name="connsiteY74" fmla="*/ 4371975 h 4496940"/>
              <a:gd name="connsiteX75" fmla="*/ 1754527 w 4519987"/>
              <a:gd name="connsiteY75" fmla="*/ 4352925 h 4496940"/>
              <a:gd name="connsiteX76" fmla="*/ 1687852 w 4519987"/>
              <a:gd name="connsiteY76" fmla="*/ 4343400 h 4496940"/>
              <a:gd name="connsiteX77" fmla="*/ 1573552 w 4519987"/>
              <a:gd name="connsiteY77" fmla="*/ 4305300 h 4496940"/>
              <a:gd name="connsiteX78" fmla="*/ 1402102 w 4519987"/>
              <a:gd name="connsiteY78" fmla="*/ 4276725 h 4496940"/>
              <a:gd name="connsiteX79" fmla="*/ 1287802 w 4519987"/>
              <a:gd name="connsiteY79" fmla="*/ 4229100 h 4496940"/>
              <a:gd name="connsiteX80" fmla="*/ 1221127 w 4519987"/>
              <a:gd name="connsiteY80" fmla="*/ 4200525 h 4496940"/>
              <a:gd name="connsiteX81" fmla="*/ 1144927 w 4519987"/>
              <a:gd name="connsiteY81" fmla="*/ 4171950 h 4496940"/>
              <a:gd name="connsiteX82" fmla="*/ 1087777 w 4519987"/>
              <a:gd name="connsiteY82" fmla="*/ 4143375 h 4496940"/>
              <a:gd name="connsiteX83" fmla="*/ 1030627 w 4519987"/>
              <a:gd name="connsiteY83" fmla="*/ 4124325 h 4496940"/>
              <a:gd name="connsiteX84" fmla="*/ 925852 w 4519987"/>
              <a:gd name="connsiteY84" fmla="*/ 4067175 h 4496940"/>
              <a:gd name="connsiteX85" fmla="*/ 830602 w 4519987"/>
              <a:gd name="connsiteY85" fmla="*/ 3981450 h 4496940"/>
              <a:gd name="connsiteX86" fmla="*/ 763927 w 4519987"/>
              <a:gd name="connsiteY86" fmla="*/ 3914775 h 4496940"/>
              <a:gd name="connsiteX87" fmla="*/ 725827 w 4519987"/>
              <a:gd name="connsiteY87" fmla="*/ 3876675 h 4496940"/>
              <a:gd name="connsiteX88" fmla="*/ 697252 w 4519987"/>
              <a:gd name="connsiteY88" fmla="*/ 3838575 h 4496940"/>
              <a:gd name="connsiteX89" fmla="*/ 640102 w 4519987"/>
              <a:gd name="connsiteY89" fmla="*/ 3781425 h 4496940"/>
              <a:gd name="connsiteX90" fmla="*/ 611527 w 4519987"/>
              <a:gd name="connsiteY90" fmla="*/ 3733800 h 4496940"/>
              <a:gd name="connsiteX91" fmla="*/ 554377 w 4519987"/>
              <a:gd name="connsiteY91" fmla="*/ 3657600 h 4496940"/>
              <a:gd name="connsiteX92" fmla="*/ 525802 w 4519987"/>
              <a:gd name="connsiteY92" fmla="*/ 3609975 h 4496940"/>
              <a:gd name="connsiteX93" fmla="*/ 497227 w 4519987"/>
              <a:gd name="connsiteY93" fmla="*/ 3552825 h 4496940"/>
              <a:gd name="connsiteX94" fmla="*/ 440077 w 4519987"/>
              <a:gd name="connsiteY94" fmla="*/ 3495675 h 4496940"/>
              <a:gd name="connsiteX95" fmla="*/ 411502 w 4519987"/>
              <a:gd name="connsiteY95" fmla="*/ 3448050 h 4496940"/>
              <a:gd name="connsiteX96" fmla="*/ 278152 w 4519987"/>
              <a:gd name="connsiteY96" fmla="*/ 3257550 h 4496940"/>
              <a:gd name="connsiteX97" fmla="*/ 249577 w 4519987"/>
              <a:gd name="connsiteY97" fmla="*/ 3200400 h 4496940"/>
              <a:gd name="connsiteX98" fmla="*/ 240052 w 4519987"/>
              <a:gd name="connsiteY98" fmla="*/ 3162300 h 4496940"/>
              <a:gd name="connsiteX99" fmla="*/ 221002 w 4519987"/>
              <a:gd name="connsiteY99" fmla="*/ 3105150 h 4496940"/>
              <a:gd name="connsiteX100" fmla="*/ 173377 w 4519987"/>
              <a:gd name="connsiteY100" fmla="*/ 3019425 h 4496940"/>
              <a:gd name="connsiteX101" fmla="*/ 144802 w 4519987"/>
              <a:gd name="connsiteY101" fmla="*/ 2924175 h 4496940"/>
              <a:gd name="connsiteX102" fmla="*/ 68602 w 4519987"/>
              <a:gd name="connsiteY102" fmla="*/ 2724150 h 4496940"/>
              <a:gd name="connsiteX103" fmla="*/ 49552 w 4519987"/>
              <a:gd name="connsiteY103" fmla="*/ 2638425 h 4496940"/>
              <a:gd name="connsiteX104" fmla="*/ 40027 w 4519987"/>
              <a:gd name="connsiteY104" fmla="*/ 2562225 h 4496940"/>
              <a:gd name="connsiteX105" fmla="*/ 30502 w 4519987"/>
              <a:gd name="connsiteY105" fmla="*/ 2514600 h 4496940"/>
              <a:gd name="connsiteX106" fmla="*/ 11452 w 4519987"/>
              <a:gd name="connsiteY106" fmla="*/ 2400300 h 4496940"/>
              <a:gd name="connsiteX107" fmla="*/ 20977 w 4519987"/>
              <a:gd name="connsiteY107" fmla="*/ 1905000 h 4496940"/>
              <a:gd name="connsiteX108" fmla="*/ 30502 w 4519987"/>
              <a:gd name="connsiteY108" fmla="*/ 1838325 h 4496940"/>
              <a:gd name="connsiteX109" fmla="*/ 49552 w 4519987"/>
              <a:gd name="connsiteY109" fmla="*/ 1781175 h 4496940"/>
              <a:gd name="connsiteX110" fmla="*/ 59077 w 4519987"/>
              <a:gd name="connsiteY110" fmla="*/ 1743075 h 4496940"/>
              <a:gd name="connsiteX111" fmla="*/ 78127 w 4519987"/>
              <a:gd name="connsiteY111" fmla="*/ 1685925 h 4496940"/>
              <a:gd name="connsiteX112" fmla="*/ 87652 w 4519987"/>
              <a:gd name="connsiteY112" fmla="*/ 1638300 h 4496940"/>
              <a:gd name="connsiteX113" fmla="*/ 106702 w 4519987"/>
              <a:gd name="connsiteY113" fmla="*/ 1590675 h 4496940"/>
              <a:gd name="connsiteX114" fmla="*/ 135277 w 4519987"/>
              <a:gd name="connsiteY114" fmla="*/ 1504950 h 4496940"/>
              <a:gd name="connsiteX115" fmla="*/ 154327 w 4519987"/>
              <a:gd name="connsiteY115" fmla="*/ 1419225 h 4496940"/>
              <a:gd name="connsiteX116" fmla="*/ 230527 w 4519987"/>
              <a:gd name="connsiteY116" fmla="*/ 1276350 h 4496940"/>
              <a:gd name="connsiteX117" fmla="*/ 240052 w 4519987"/>
              <a:gd name="connsiteY117" fmla="*/ 1247775 h 4496940"/>
              <a:gd name="connsiteX118" fmla="*/ 268627 w 4519987"/>
              <a:gd name="connsiteY118" fmla="*/ 1200150 h 4496940"/>
              <a:gd name="connsiteX119" fmla="*/ 287677 w 4519987"/>
              <a:gd name="connsiteY119" fmla="*/ 1152525 h 4496940"/>
              <a:gd name="connsiteX120" fmla="*/ 316252 w 4519987"/>
              <a:gd name="connsiteY120" fmla="*/ 1114425 h 4496940"/>
              <a:gd name="connsiteX121" fmla="*/ 363877 w 4519987"/>
              <a:gd name="connsiteY121" fmla="*/ 1038225 h 4496940"/>
              <a:gd name="connsiteX122" fmla="*/ 382927 w 4519987"/>
              <a:gd name="connsiteY122" fmla="*/ 1009650 h 4496940"/>
              <a:gd name="connsiteX123" fmla="*/ 440077 w 4519987"/>
              <a:gd name="connsiteY123" fmla="*/ 904875 h 4496940"/>
              <a:gd name="connsiteX124" fmla="*/ 478177 w 4519987"/>
              <a:gd name="connsiteY124" fmla="*/ 857250 h 4496940"/>
              <a:gd name="connsiteX125" fmla="*/ 497227 w 4519987"/>
              <a:gd name="connsiteY125" fmla="*/ 828675 h 4496940"/>
              <a:gd name="connsiteX126" fmla="*/ 535327 w 4519987"/>
              <a:gd name="connsiteY126" fmla="*/ 800100 h 4496940"/>
              <a:gd name="connsiteX127" fmla="*/ 602002 w 4519987"/>
              <a:gd name="connsiteY127" fmla="*/ 733425 h 4496940"/>
              <a:gd name="connsiteX128" fmla="*/ 668677 w 4519987"/>
              <a:gd name="connsiteY128" fmla="*/ 676275 h 4496940"/>
              <a:gd name="connsiteX129" fmla="*/ 697252 w 4519987"/>
              <a:gd name="connsiteY129" fmla="*/ 657225 h 4496940"/>
              <a:gd name="connsiteX130" fmla="*/ 840127 w 4519987"/>
              <a:gd name="connsiteY130" fmla="*/ 533400 h 4496940"/>
              <a:gd name="connsiteX131" fmla="*/ 887752 w 4519987"/>
              <a:gd name="connsiteY131" fmla="*/ 504825 h 4496940"/>
              <a:gd name="connsiteX132" fmla="*/ 1167152 w 4519987"/>
              <a:gd name="connsiteY132" fmla="*/ 311150 h 4496940"/>
              <a:gd name="connsiteX133" fmla="*/ 1268752 w 4519987"/>
              <a:gd name="connsiteY133" fmla="*/ 285750 h 4496940"/>
              <a:gd name="connsiteX134" fmla="*/ 1411627 w 4519987"/>
              <a:gd name="connsiteY134" fmla="*/ 190500 h 4496940"/>
              <a:gd name="connsiteX135" fmla="*/ 1449727 w 4519987"/>
              <a:gd name="connsiteY135" fmla="*/ 161925 h 4496940"/>
              <a:gd name="connsiteX136" fmla="*/ 1525927 w 4519987"/>
              <a:gd name="connsiteY136" fmla="*/ 152400 h 4496940"/>
              <a:gd name="connsiteX137" fmla="*/ 1583077 w 4519987"/>
              <a:gd name="connsiteY137" fmla="*/ 142875 h 4496940"/>
              <a:gd name="connsiteX138" fmla="*/ 1716427 w 4519987"/>
              <a:gd name="connsiteY138" fmla="*/ 123825 h 4496940"/>
              <a:gd name="connsiteX139" fmla="*/ 1811677 w 4519987"/>
              <a:gd name="connsiteY139" fmla="*/ 114300 h 4496940"/>
              <a:gd name="connsiteX140" fmla="*/ 1859302 w 4519987"/>
              <a:gd name="connsiteY140" fmla="*/ 104775 h 4496940"/>
              <a:gd name="connsiteX141" fmla="*/ 1916452 w 4519987"/>
              <a:gd name="connsiteY141" fmla="*/ 95250 h 4496940"/>
              <a:gd name="connsiteX142" fmla="*/ 2030752 w 4519987"/>
              <a:gd name="connsiteY142" fmla="*/ 66675 h 4496940"/>
              <a:gd name="connsiteX143" fmla="*/ 2097427 w 4519987"/>
              <a:gd name="connsiteY143" fmla="*/ 47625 h 4496940"/>
              <a:gd name="connsiteX144" fmla="*/ 2164102 w 4519987"/>
              <a:gd name="connsiteY144" fmla="*/ 38100 h 4496940"/>
              <a:gd name="connsiteX145" fmla="*/ 2392702 w 4519987"/>
              <a:gd name="connsiteY14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259602 w 4519987"/>
              <a:gd name="connsiteY24" fmla="*/ 1190625 h 4496940"/>
              <a:gd name="connsiteX25" fmla="*/ 4307227 w 4519987"/>
              <a:gd name="connsiteY25" fmla="*/ 1266825 h 4496940"/>
              <a:gd name="connsiteX26" fmla="*/ 4345327 w 4519987"/>
              <a:gd name="connsiteY26" fmla="*/ 1362075 h 4496940"/>
              <a:gd name="connsiteX27" fmla="*/ 4373902 w 4519987"/>
              <a:gd name="connsiteY27" fmla="*/ 1428750 h 4496940"/>
              <a:gd name="connsiteX28" fmla="*/ 4392952 w 4519987"/>
              <a:gd name="connsiteY28" fmla="*/ 1552575 h 4496940"/>
              <a:gd name="connsiteX29" fmla="*/ 4402477 w 4519987"/>
              <a:gd name="connsiteY29" fmla="*/ 1590675 h 4496940"/>
              <a:gd name="connsiteX30" fmla="*/ 4431052 w 4519987"/>
              <a:gd name="connsiteY30" fmla="*/ 1685925 h 4496940"/>
              <a:gd name="connsiteX31" fmla="*/ 4519952 w 4519987"/>
              <a:gd name="connsiteY31" fmla="*/ 2181225 h 4496940"/>
              <a:gd name="connsiteX32" fmla="*/ 4446927 w 4519987"/>
              <a:gd name="connsiteY32" fmla="*/ 2768600 h 4496940"/>
              <a:gd name="connsiteX33" fmla="*/ 4383427 w 4519987"/>
              <a:gd name="connsiteY33" fmla="*/ 2990850 h 4496940"/>
              <a:gd name="connsiteX34" fmla="*/ 4278652 w 4519987"/>
              <a:gd name="connsiteY34" fmla="*/ 3248025 h 4496940"/>
              <a:gd name="connsiteX35" fmla="*/ 4259602 w 4519987"/>
              <a:gd name="connsiteY35" fmla="*/ 3276600 h 4496940"/>
              <a:gd name="connsiteX36" fmla="*/ 4221502 w 4519987"/>
              <a:gd name="connsiteY36" fmla="*/ 3333750 h 4496940"/>
              <a:gd name="connsiteX37" fmla="*/ 4211977 w 4519987"/>
              <a:gd name="connsiteY37" fmla="*/ 3362325 h 4496940"/>
              <a:gd name="connsiteX38" fmla="*/ 4183402 w 4519987"/>
              <a:gd name="connsiteY38" fmla="*/ 3400425 h 4496940"/>
              <a:gd name="connsiteX39" fmla="*/ 4164352 w 4519987"/>
              <a:gd name="connsiteY39" fmla="*/ 3429000 h 4496940"/>
              <a:gd name="connsiteX40" fmla="*/ 4088152 w 4519987"/>
              <a:gd name="connsiteY40" fmla="*/ 3495675 h 4496940"/>
              <a:gd name="connsiteX41" fmla="*/ 4059577 w 4519987"/>
              <a:gd name="connsiteY41" fmla="*/ 3533775 h 4496940"/>
              <a:gd name="connsiteX42" fmla="*/ 4002427 w 4519987"/>
              <a:gd name="connsiteY42" fmla="*/ 3600450 h 4496940"/>
              <a:gd name="connsiteX43" fmla="*/ 3983377 w 4519987"/>
              <a:gd name="connsiteY43" fmla="*/ 3629025 h 4496940"/>
              <a:gd name="connsiteX44" fmla="*/ 3954802 w 4519987"/>
              <a:gd name="connsiteY44" fmla="*/ 3648075 h 4496940"/>
              <a:gd name="connsiteX45" fmla="*/ 3907177 w 4519987"/>
              <a:gd name="connsiteY45" fmla="*/ 3686175 h 4496940"/>
              <a:gd name="connsiteX46" fmla="*/ 3869077 w 4519987"/>
              <a:gd name="connsiteY46" fmla="*/ 3724275 h 4496940"/>
              <a:gd name="connsiteX47" fmla="*/ 3792877 w 4519987"/>
              <a:gd name="connsiteY47" fmla="*/ 3781425 h 4496940"/>
              <a:gd name="connsiteX48" fmla="*/ 3783352 w 4519987"/>
              <a:gd name="connsiteY48" fmla="*/ 3810000 h 4496940"/>
              <a:gd name="connsiteX49" fmla="*/ 3745252 w 4519987"/>
              <a:gd name="connsiteY49" fmla="*/ 3819525 h 4496940"/>
              <a:gd name="connsiteX50" fmla="*/ 3678577 w 4519987"/>
              <a:gd name="connsiteY50" fmla="*/ 3848100 h 4496940"/>
              <a:gd name="connsiteX51" fmla="*/ 3659527 w 4519987"/>
              <a:gd name="connsiteY51" fmla="*/ 3971925 h 4496940"/>
              <a:gd name="connsiteX52" fmla="*/ 3630952 w 4519987"/>
              <a:gd name="connsiteY52" fmla="*/ 4010025 h 4496940"/>
              <a:gd name="connsiteX53" fmla="*/ 3621427 w 4519987"/>
              <a:gd name="connsiteY53" fmla="*/ 4038600 h 4496940"/>
              <a:gd name="connsiteX54" fmla="*/ 3554752 w 4519987"/>
              <a:gd name="connsiteY54" fmla="*/ 4095750 h 4496940"/>
              <a:gd name="connsiteX55" fmla="*/ 3516652 w 4519987"/>
              <a:gd name="connsiteY55" fmla="*/ 4114800 h 4496940"/>
              <a:gd name="connsiteX56" fmla="*/ 3497602 w 4519987"/>
              <a:gd name="connsiteY56" fmla="*/ 4143375 h 4496940"/>
              <a:gd name="connsiteX57" fmla="*/ 3383302 w 4519987"/>
              <a:gd name="connsiteY57" fmla="*/ 4210050 h 4496940"/>
              <a:gd name="connsiteX58" fmla="*/ 3335677 w 4519987"/>
              <a:gd name="connsiteY58" fmla="*/ 4238625 h 4496940"/>
              <a:gd name="connsiteX59" fmla="*/ 3288052 w 4519987"/>
              <a:gd name="connsiteY59" fmla="*/ 4248150 h 4496940"/>
              <a:gd name="connsiteX60" fmla="*/ 3240427 w 4519987"/>
              <a:gd name="connsiteY60" fmla="*/ 4267200 h 4496940"/>
              <a:gd name="connsiteX61" fmla="*/ 3068977 w 4519987"/>
              <a:gd name="connsiteY61" fmla="*/ 4286250 h 4496940"/>
              <a:gd name="connsiteX62" fmla="*/ 2935627 w 4519987"/>
              <a:gd name="connsiteY62" fmla="*/ 4333875 h 4496940"/>
              <a:gd name="connsiteX63" fmla="*/ 2811802 w 4519987"/>
              <a:gd name="connsiteY63" fmla="*/ 4371975 h 4496940"/>
              <a:gd name="connsiteX64" fmla="*/ 2745127 w 4519987"/>
              <a:gd name="connsiteY64" fmla="*/ 4410075 h 4496940"/>
              <a:gd name="connsiteX65" fmla="*/ 2697502 w 4519987"/>
              <a:gd name="connsiteY65" fmla="*/ 4429125 h 4496940"/>
              <a:gd name="connsiteX66" fmla="*/ 2640352 w 4519987"/>
              <a:gd name="connsiteY66" fmla="*/ 4457700 h 4496940"/>
              <a:gd name="connsiteX67" fmla="*/ 2583202 w 4519987"/>
              <a:gd name="connsiteY67" fmla="*/ 4467225 h 4496940"/>
              <a:gd name="connsiteX68" fmla="*/ 2545102 w 4519987"/>
              <a:gd name="connsiteY68" fmla="*/ 4486275 h 4496940"/>
              <a:gd name="connsiteX69" fmla="*/ 2306977 w 4519987"/>
              <a:gd name="connsiteY69" fmla="*/ 4476750 h 4496940"/>
              <a:gd name="connsiteX70" fmla="*/ 2202202 w 4519987"/>
              <a:gd name="connsiteY70" fmla="*/ 4457700 h 4496940"/>
              <a:gd name="connsiteX71" fmla="*/ 2126002 w 4519987"/>
              <a:gd name="connsiteY71" fmla="*/ 4429125 h 4496940"/>
              <a:gd name="connsiteX72" fmla="*/ 1935502 w 4519987"/>
              <a:gd name="connsiteY72" fmla="*/ 4400550 h 4496940"/>
              <a:gd name="connsiteX73" fmla="*/ 1821202 w 4519987"/>
              <a:gd name="connsiteY73" fmla="*/ 4371975 h 4496940"/>
              <a:gd name="connsiteX74" fmla="*/ 1754527 w 4519987"/>
              <a:gd name="connsiteY74" fmla="*/ 4352925 h 4496940"/>
              <a:gd name="connsiteX75" fmla="*/ 1687852 w 4519987"/>
              <a:gd name="connsiteY75" fmla="*/ 4343400 h 4496940"/>
              <a:gd name="connsiteX76" fmla="*/ 1573552 w 4519987"/>
              <a:gd name="connsiteY76" fmla="*/ 4305300 h 4496940"/>
              <a:gd name="connsiteX77" fmla="*/ 1402102 w 4519987"/>
              <a:gd name="connsiteY77" fmla="*/ 4276725 h 4496940"/>
              <a:gd name="connsiteX78" fmla="*/ 1287802 w 4519987"/>
              <a:gd name="connsiteY78" fmla="*/ 4229100 h 4496940"/>
              <a:gd name="connsiteX79" fmla="*/ 1221127 w 4519987"/>
              <a:gd name="connsiteY79" fmla="*/ 4200525 h 4496940"/>
              <a:gd name="connsiteX80" fmla="*/ 1144927 w 4519987"/>
              <a:gd name="connsiteY80" fmla="*/ 4171950 h 4496940"/>
              <a:gd name="connsiteX81" fmla="*/ 1087777 w 4519987"/>
              <a:gd name="connsiteY81" fmla="*/ 4143375 h 4496940"/>
              <a:gd name="connsiteX82" fmla="*/ 1030627 w 4519987"/>
              <a:gd name="connsiteY82" fmla="*/ 4124325 h 4496940"/>
              <a:gd name="connsiteX83" fmla="*/ 925852 w 4519987"/>
              <a:gd name="connsiteY83" fmla="*/ 4067175 h 4496940"/>
              <a:gd name="connsiteX84" fmla="*/ 830602 w 4519987"/>
              <a:gd name="connsiteY84" fmla="*/ 3981450 h 4496940"/>
              <a:gd name="connsiteX85" fmla="*/ 763927 w 4519987"/>
              <a:gd name="connsiteY85" fmla="*/ 3914775 h 4496940"/>
              <a:gd name="connsiteX86" fmla="*/ 725827 w 4519987"/>
              <a:gd name="connsiteY86" fmla="*/ 3876675 h 4496940"/>
              <a:gd name="connsiteX87" fmla="*/ 697252 w 4519987"/>
              <a:gd name="connsiteY87" fmla="*/ 3838575 h 4496940"/>
              <a:gd name="connsiteX88" fmla="*/ 640102 w 4519987"/>
              <a:gd name="connsiteY88" fmla="*/ 3781425 h 4496940"/>
              <a:gd name="connsiteX89" fmla="*/ 611527 w 4519987"/>
              <a:gd name="connsiteY89" fmla="*/ 3733800 h 4496940"/>
              <a:gd name="connsiteX90" fmla="*/ 554377 w 4519987"/>
              <a:gd name="connsiteY90" fmla="*/ 3657600 h 4496940"/>
              <a:gd name="connsiteX91" fmla="*/ 525802 w 4519987"/>
              <a:gd name="connsiteY91" fmla="*/ 3609975 h 4496940"/>
              <a:gd name="connsiteX92" fmla="*/ 497227 w 4519987"/>
              <a:gd name="connsiteY92" fmla="*/ 3552825 h 4496940"/>
              <a:gd name="connsiteX93" fmla="*/ 440077 w 4519987"/>
              <a:gd name="connsiteY93" fmla="*/ 3495675 h 4496940"/>
              <a:gd name="connsiteX94" fmla="*/ 411502 w 4519987"/>
              <a:gd name="connsiteY94" fmla="*/ 3448050 h 4496940"/>
              <a:gd name="connsiteX95" fmla="*/ 278152 w 4519987"/>
              <a:gd name="connsiteY95" fmla="*/ 3257550 h 4496940"/>
              <a:gd name="connsiteX96" fmla="*/ 249577 w 4519987"/>
              <a:gd name="connsiteY96" fmla="*/ 3200400 h 4496940"/>
              <a:gd name="connsiteX97" fmla="*/ 240052 w 4519987"/>
              <a:gd name="connsiteY97" fmla="*/ 3162300 h 4496940"/>
              <a:gd name="connsiteX98" fmla="*/ 221002 w 4519987"/>
              <a:gd name="connsiteY98" fmla="*/ 3105150 h 4496940"/>
              <a:gd name="connsiteX99" fmla="*/ 173377 w 4519987"/>
              <a:gd name="connsiteY99" fmla="*/ 3019425 h 4496940"/>
              <a:gd name="connsiteX100" fmla="*/ 144802 w 4519987"/>
              <a:gd name="connsiteY100" fmla="*/ 2924175 h 4496940"/>
              <a:gd name="connsiteX101" fmla="*/ 68602 w 4519987"/>
              <a:gd name="connsiteY101" fmla="*/ 2724150 h 4496940"/>
              <a:gd name="connsiteX102" fmla="*/ 49552 w 4519987"/>
              <a:gd name="connsiteY102" fmla="*/ 2638425 h 4496940"/>
              <a:gd name="connsiteX103" fmla="*/ 40027 w 4519987"/>
              <a:gd name="connsiteY103" fmla="*/ 2562225 h 4496940"/>
              <a:gd name="connsiteX104" fmla="*/ 30502 w 4519987"/>
              <a:gd name="connsiteY104" fmla="*/ 2514600 h 4496940"/>
              <a:gd name="connsiteX105" fmla="*/ 11452 w 4519987"/>
              <a:gd name="connsiteY105" fmla="*/ 2400300 h 4496940"/>
              <a:gd name="connsiteX106" fmla="*/ 20977 w 4519987"/>
              <a:gd name="connsiteY106" fmla="*/ 1905000 h 4496940"/>
              <a:gd name="connsiteX107" fmla="*/ 30502 w 4519987"/>
              <a:gd name="connsiteY107" fmla="*/ 1838325 h 4496940"/>
              <a:gd name="connsiteX108" fmla="*/ 49552 w 4519987"/>
              <a:gd name="connsiteY108" fmla="*/ 1781175 h 4496940"/>
              <a:gd name="connsiteX109" fmla="*/ 59077 w 4519987"/>
              <a:gd name="connsiteY109" fmla="*/ 1743075 h 4496940"/>
              <a:gd name="connsiteX110" fmla="*/ 78127 w 4519987"/>
              <a:gd name="connsiteY110" fmla="*/ 1685925 h 4496940"/>
              <a:gd name="connsiteX111" fmla="*/ 87652 w 4519987"/>
              <a:gd name="connsiteY111" fmla="*/ 1638300 h 4496940"/>
              <a:gd name="connsiteX112" fmla="*/ 106702 w 4519987"/>
              <a:gd name="connsiteY112" fmla="*/ 1590675 h 4496940"/>
              <a:gd name="connsiteX113" fmla="*/ 135277 w 4519987"/>
              <a:gd name="connsiteY113" fmla="*/ 1504950 h 4496940"/>
              <a:gd name="connsiteX114" fmla="*/ 154327 w 4519987"/>
              <a:gd name="connsiteY114" fmla="*/ 1419225 h 4496940"/>
              <a:gd name="connsiteX115" fmla="*/ 230527 w 4519987"/>
              <a:gd name="connsiteY115" fmla="*/ 1276350 h 4496940"/>
              <a:gd name="connsiteX116" fmla="*/ 240052 w 4519987"/>
              <a:gd name="connsiteY116" fmla="*/ 1247775 h 4496940"/>
              <a:gd name="connsiteX117" fmla="*/ 268627 w 4519987"/>
              <a:gd name="connsiteY117" fmla="*/ 1200150 h 4496940"/>
              <a:gd name="connsiteX118" fmla="*/ 287677 w 4519987"/>
              <a:gd name="connsiteY118" fmla="*/ 1152525 h 4496940"/>
              <a:gd name="connsiteX119" fmla="*/ 316252 w 4519987"/>
              <a:gd name="connsiteY119" fmla="*/ 1114425 h 4496940"/>
              <a:gd name="connsiteX120" fmla="*/ 363877 w 4519987"/>
              <a:gd name="connsiteY120" fmla="*/ 1038225 h 4496940"/>
              <a:gd name="connsiteX121" fmla="*/ 382927 w 4519987"/>
              <a:gd name="connsiteY121" fmla="*/ 1009650 h 4496940"/>
              <a:gd name="connsiteX122" fmla="*/ 440077 w 4519987"/>
              <a:gd name="connsiteY122" fmla="*/ 904875 h 4496940"/>
              <a:gd name="connsiteX123" fmla="*/ 478177 w 4519987"/>
              <a:gd name="connsiteY123" fmla="*/ 857250 h 4496940"/>
              <a:gd name="connsiteX124" fmla="*/ 497227 w 4519987"/>
              <a:gd name="connsiteY124" fmla="*/ 828675 h 4496940"/>
              <a:gd name="connsiteX125" fmla="*/ 535327 w 4519987"/>
              <a:gd name="connsiteY125" fmla="*/ 800100 h 4496940"/>
              <a:gd name="connsiteX126" fmla="*/ 602002 w 4519987"/>
              <a:gd name="connsiteY126" fmla="*/ 733425 h 4496940"/>
              <a:gd name="connsiteX127" fmla="*/ 668677 w 4519987"/>
              <a:gd name="connsiteY127" fmla="*/ 676275 h 4496940"/>
              <a:gd name="connsiteX128" fmla="*/ 697252 w 4519987"/>
              <a:gd name="connsiteY128" fmla="*/ 657225 h 4496940"/>
              <a:gd name="connsiteX129" fmla="*/ 840127 w 4519987"/>
              <a:gd name="connsiteY129" fmla="*/ 533400 h 4496940"/>
              <a:gd name="connsiteX130" fmla="*/ 887752 w 4519987"/>
              <a:gd name="connsiteY130" fmla="*/ 504825 h 4496940"/>
              <a:gd name="connsiteX131" fmla="*/ 1167152 w 4519987"/>
              <a:gd name="connsiteY131" fmla="*/ 311150 h 4496940"/>
              <a:gd name="connsiteX132" fmla="*/ 1268752 w 4519987"/>
              <a:gd name="connsiteY132" fmla="*/ 285750 h 4496940"/>
              <a:gd name="connsiteX133" fmla="*/ 1411627 w 4519987"/>
              <a:gd name="connsiteY133" fmla="*/ 190500 h 4496940"/>
              <a:gd name="connsiteX134" fmla="*/ 1449727 w 4519987"/>
              <a:gd name="connsiteY134" fmla="*/ 161925 h 4496940"/>
              <a:gd name="connsiteX135" fmla="*/ 1525927 w 4519987"/>
              <a:gd name="connsiteY135" fmla="*/ 152400 h 4496940"/>
              <a:gd name="connsiteX136" fmla="*/ 1583077 w 4519987"/>
              <a:gd name="connsiteY136" fmla="*/ 142875 h 4496940"/>
              <a:gd name="connsiteX137" fmla="*/ 1716427 w 4519987"/>
              <a:gd name="connsiteY137" fmla="*/ 123825 h 4496940"/>
              <a:gd name="connsiteX138" fmla="*/ 1811677 w 4519987"/>
              <a:gd name="connsiteY138" fmla="*/ 114300 h 4496940"/>
              <a:gd name="connsiteX139" fmla="*/ 1859302 w 4519987"/>
              <a:gd name="connsiteY139" fmla="*/ 104775 h 4496940"/>
              <a:gd name="connsiteX140" fmla="*/ 1916452 w 4519987"/>
              <a:gd name="connsiteY140" fmla="*/ 95250 h 4496940"/>
              <a:gd name="connsiteX141" fmla="*/ 2030752 w 4519987"/>
              <a:gd name="connsiteY141" fmla="*/ 66675 h 4496940"/>
              <a:gd name="connsiteX142" fmla="*/ 2097427 w 4519987"/>
              <a:gd name="connsiteY142" fmla="*/ 47625 h 4496940"/>
              <a:gd name="connsiteX143" fmla="*/ 2164102 w 4519987"/>
              <a:gd name="connsiteY143" fmla="*/ 38100 h 4496940"/>
              <a:gd name="connsiteX144" fmla="*/ 2392702 w 4519987"/>
              <a:gd name="connsiteY14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73902 w 4519987"/>
              <a:gd name="connsiteY26" fmla="*/ 1428750 h 4496940"/>
              <a:gd name="connsiteX27" fmla="*/ 4392952 w 4519987"/>
              <a:gd name="connsiteY27" fmla="*/ 1552575 h 4496940"/>
              <a:gd name="connsiteX28" fmla="*/ 4402477 w 4519987"/>
              <a:gd name="connsiteY28" fmla="*/ 1590675 h 4496940"/>
              <a:gd name="connsiteX29" fmla="*/ 4431052 w 4519987"/>
              <a:gd name="connsiteY29" fmla="*/ 1685925 h 4496940"/>
              <a:gd name="connsiteX30" fmla="*/ 4519952 w 4519987"/>
              <a:gd name="connsiteY30" fmla="*/ 2181225 h 4496940"/>
              <a:gd name="connsiteX31" fmla="*/ 4446927 w 4519987"/>
              <a:gd name="connsiteY31" fmla="*/ 2768600 h 4496940"/>
              <a:gd name="connsiteX32" fmla="*/ 4383427 w 4519987"/>
              <a:gd name="connsiteY32" fmla="*/ 2990850 h 4496940"/>
              <a:gd name="connsiteX33" fmla="*/ 4278652 w 4519987"/>
              <a:gd name="connsiteY33" fmla="*/ 3248025 h 4496940"/>
              <a:gd name="connsiteX34" fmla="*/ 4259602 w 4519987"/>
              <a:gd name="connsiteY34" fmla="*/ 3276600 h 4496940"/>
              <a:gd name="connsiteX35" fmla="*/ 4221502 w 4519987"/>
              <a:gd name="connsiteY35" fmla="*/ 3333750 h 4496940"/>
              <a:gd name="connsiteX36" fmla="*/ 4211977 w 4519987"/>
              <a:gd name="connsiteY36" fmla="*/ 3362325 h 4496940"/>
              <a:gd name="connsiteX37" fmla="*/ 4183402 w 4519987"/>
              <a:gd name="connsiteY37" fmla="*/ 3400425 h 4496940"/>
              <a:gd name="connsiteX38" fmla="*/ 4164352 w 4519987"/>
              <a:gd name="connsiteY38" fmla="*/ 3429000 h 4496940"/>
              <a:gd name="connsiteX39" fmla="*/ 4088152 w 4519987"/>
              <a:gd name="connsiteY39" fmla="*/ 3495675 h 4496940"/>
              <a:gd name="connsiteX40" fmla="*/ 4059577 w 4519987"/>
              <a:gd name="connsiteY40" fmla="*/ 3533775 h 4496940"/>
              <a:gd name="connsiteX41" fmla="*/ 4002427 w 4519987"/>
              <a:gd name="connsiteY41" fmla="*/ 3600450 h 4496940"/>
              <a:gd name="connsiteX42" fmla="*/ 3983377 w 4519987"/>
              <a:gd name="connsiteY42" fmla="*/ 3629025 h 4496940"/>
              <a:gd name="connsiteX43" fmla="*/ 3954802 w 4519987"/>
              <a:gd name="connsiteY43" fmla="*/ 3648075 h 4496940"/>
              <a:gd name="connsiteX44" fmla="*/ 3907177 w 4519987"/>
              <a:gd name="connsiteY44" fmla="*/ 3686175 h 4496940"/>
              <a:gd name="connsiteX45" fmla="*/ 3869077 w 4519987"/>
              <a:gd name="connsiteY45" fmla="*/ 3724275 h 4496940"/>
              <a:gd name="connsiteX46" fmla="*/ 3792877 w 4519987"/>
              <a:gd name="connsiteY46" fmla="*/ 3781425 h 4496940"/>
              <a:gd name="connsiteX47" fmla="*/ 3783352 w 4519987"/>
              <a:gd name="connsiteY47" fmla="*/ 3810000 h 4496940"/>
              <a:gd name="connsiteX48" fmla="*/ 3745252 w 4519987"/>
              <a:gd name="connsiteY48" fmla="*/ 3819525 h 4496940"/>
              <a:gd name="connsiteX49" fmla="*/ 3678577 w 4519987"/>
              <a:gd name="connsiteY49" fmla="*/ 3848100 h 4496940"/>
              <a:gd name="connsiteX50" fmla="*/ 3659527 w 4519987"/>
              <a:gd name="connsiteY50" fmla="*/ 3971925 h 4496940"/>
              <a:gd name="connsiteX51" fmla="*/ 3630952 w 4519987"/>
              <a:gd name="connsiteY51" fmla="*/ 4010025 h 4496940"/>
              <a:gd name="connsiteX52" fmla="*/ 3621427 w 4519987"/>
              <a:gd name="connsiteY52" fmla="*/ 4038600 h 4496940"/>
              <a:gd name="connsiteX53" fmla="*/ 3554752 w 4519987"/>
              <a:gd name="connsiteY53" fmla="*/ 4095750 h 4496940"/>
              <a:gd name="connsiteX54" fmla="*/ 3516652 w 4519987"/>
              <a:gd name="connsiteY54" fmla="*/ 4114800 h 4496940"/>
              <a:gd name="connsiteX55" fmla="*/ 3497602 w 4519987"/>
              <a:gd name="connsiteY55" fmla="*/ 4143375 h 4496940"/>
              <a:gd name="connsiteX56" fmla="*/ 3383302 w 4519987"/>
              <a:gd name="connsiteY56" fmla="*/ 4210050 h 4496940"/>
              <a:gd name="connsiteX57" fmla="*/ 3335677 w 4519987"/>
              <a:gd name="connsiteY57" fmla="*/ 4238625 h 4496940"/>
              <a:gd name="connsiteX58" fmla="*/ 3288052 w 4519987"/>
              <a:gd name="connsiteY58" fmla="*/ 4248150 h 4496940"/>
              <a:gd name="connsiteX59" fmla="*/ 3240427 w 4519987"/>
              <a:gd name="connsiteY59" fmla="*/ 4267200 h 4496940"/>
              <a:gd name="connsiteX60" fmla="*/ 3068977 w 4519987"/>
              <a:gd name="connsiteY60" fmla="*/ 4286250 h 4496940"/>
              <a:gd name="connsiteX61" fmla="*/ 2935627 w 4519987"/>
              <a:gd name="connsiteY61" fmla="*/ 4333875 h 4496940"/>
              <a:gd name="connsiteX62" fmla="*/ 2811802 w 4519987"/>
              <a:gd name="connsiteY62" fmla="*/ 4371975 h 4496940"/>
              <a:gd name="connsiteX63" fmla="*/ 2745127 w 4519987"/>
              <a:gd name="connsiteY63" fmla="*/ 4410075 h 4496940"/>
              <a:gd name="connsiteX64" fmla="*/ 2697502 w 4519987"/>
              <a:gd name="connsiteY64" fmla="*/ 4429125 h 4496940"/>
              <a:gd name="connsiteX65" fmla="*/ 2640352 w 4519987"/>
              <a:gd name="connsiteY65" fmla="*/ 4457700 h 4496940"/>
              <a:gd name="connsiteX66" fmla="*/ 2583202 w 4519987"/>
              <a:gd name="connsiteY66" fmla="*/ 4467225 h 4496940"/>
              <a:gd name="connsiteX67" fmla="*/ 2545102 w 4519987"/>
              <a:gd name="connsiteY67" fmla="*/ 4486275 h 4496940"/>
              <a:gd name="connsiteX68" fmla="*/ 2306977 w 4519987"/>
              <a:gd name="connsiteY68" fmla="*/ 4476750 h 4496940"/>
              <a:gd name="connsiteX69" fmla="*/ 2202202 w 4519987"/>
              <a:gd name="connsiteY69" fmla="*/ 4457700 h 4496940"/>
              <a:gd name="connsiteX70" fmla="*/ 2126002 w 4519987"/>
              <a:gd name="connsiteY70" fmla="*/ 4429125 h 4496940"/>
              <a:gd name="connsiteX71" fmla="*/ 1935502 w 4519987"/>
              <a:gd name="connsiteY71" fmla="*/ 4400550 h 4496940"/>
              <a:gd name="connsiteX72" fmla="*/ 1821202 w 4519987"/>
              <a:gd name="connsiteY72" fmla="*/ 4371975 h 4496940"/>
              <a:gd name="connsiteX73" fmla="*/ 1754527 w 4519987"/>
              <a:gd name="connsiteY73" fmla="*/ 4352925 h 4496940"/>
              <a:gd name="connsiteX74" fmla="*/ 1687852 w 4519987"/>
              <a:gd name="connsiteY74" fmla="*/ 4343400 h 4496940"/>
              <a:gd name="connsiteX75" fmla="*/ 1573552 w 4519987"/>
              <a:gd name="connsiteY75" fmla="*/ 4305300 h 4496940"/>
              <a:gd name="connsiteX76" fmla="*/ 1402102 w 4519987"/>
              <a:gd name="connsiteY76" fmla="*/ 4276725 h 4496940"/>
              <a:gd name="connsiteX77" fmla="*/ 1287802 w 4519987"/>
              <a:gd name="connsiteY77" fmla="*/ 4229100 h 4496940"/>
              <a:gd name="connsiteX78" fmla="*/ 1221127 w 4519987"/>
              <a:gd name="connsiteY78" fmla="*/ 4200525 h 4496940"/>
              <a:gd name="connsiteX79" fmla="*/ 1144927 w 4519987"/>
              <a:gd name="connsiteY79" fmla="*/ 4171950 h 4496940"/>
              <a:gd name="connsiteX80" fmla="*/ 1087777 w 4519987"/>
              <a:gd name="connsiteY80" fmla="*/ 4143375 h 4496940"/>
              <a:gd name="connsiteX81" fmla="*/ 1030627 w 4519987"/>
              <a:gd name="connsiteY81" fmla="*/ 4124325 h 4496940"/>
              <a:gd name="connsiteX82" fmla="*/ 925852 w 4519987"/>
              <a:gd name="connsiteY82" fmla="*/ 4067175 h 4496940"/>
              <a:gd name="connsiteX83" fmla="*/ 830602 w 4519987"/>
              <a:gd name="connsiteY83" fmla="*/ 3981450 h 4496940"/>
              <a:gd name="connsiteX84" fmla="*/ 763927 w 4519987"/>
              <a:gd name="connsiteY84" fmla="*/ 3914775 h 4496940"/>
              <a:gd name="connsiteX85" fmla="*/ 725827 w 4519987"/>
              <a:gd name="connsiteY85" fmla="*/ 3876675 h 4496940"/>
              <a:gd name="connsiteX86" fmla="*/ 697252 w 4519987"/>
              <a:gd name="connsiteY86" fmla="*/ 3838575 h 4496940"/>
              <a:gd name="connsiteX87" fmla="*/ 640102 w 4519987"/>
              <a:gd name="connsiteY87" fmla="*/ 3781425 h 4496940"/>
              <a:gd name="connsiteX88" fmla="*/ 611527 w 4519987"/>
              <a:gd name="connsiteY88" fmla="*/ 3733800 h 4496940"/>
              <a:gd name="connsiteX89" fmla="*/ 554377 w 4519987"/>
              <a:gd name="connsiteY89" fmla="*/ 3657600 h 4496940"/>
              <a:gd name="connsiteX90" fmla="*/ 525802 w 4519987"/>
              <a:gd name="connsiteY90" fmla="*/ 3609975 h 4496940"/>
              <a:gd name="connsiteX91" fmla="*/ 497227 w 4519987"/>
              <a:gd name="connsiteY91" fmla="*/ 3552825 h 4496940"/>
              <a:gd name="connsiteX92" fmla="*/ 440077 w 4519987"/>
              <a:gd name="connsiteY92" fmla="*/ 3495675 h 4496940"/>
              <a:gd name="connsiteX93" fmla="*/ 411502 w 4519987"/>
              <a:gd name="connsiteY93" fmla="*/ 3448050 h 4496940"/>
              <a:gd name="connsiteX94" fmla="*/ 278152 w 4519987"/>
              <a:gd name="connsiteY94" fmla="*/ 3257550 h 4496940"/>
              <a:gd name="connsiteX95" fmla="*/ 249577 w 4519987"/>
              <a:gd name="connsiteY95" fmla="*/ 3200400 h 4496940"/>
              <a:gd name="connsiteX96" fmla="*/ 240052 w 4519987"/>
              <a:gd name="connsiteY96" fmla="*/ 3162300 h 4496940"/>
              <a:gd name="connsiteX97" fmla="*/ 221002 w 4519987"/>
              <a:gd name="connsiteY97" fmla="*/ 3105150 h 4496940"/>
              <a:gd name="connsiteX98" fmla="*/ 173377 w 4519987"/>
              <a:gd name="connsiteY98" fmla="*/ 3019425 h 4496940"/>
              <a:gd name="connsiteX99" fmla="*/ 144802 w 4519987"/>
              <a:gd name="connsiteY99" fmla="*/ 2924175 h 4496940"/>
              <a:gd name="connsiteX100" fmla="*/ 68602 w 4519987"/>
              <a:gd name="connsiteY100" fmla="*/ 2724150 h 4496940"/>
              <a:gd name="connsiteX101" fmla="*/ 49552 w 4519987"/>
              <a:gd name="connsiteY101" fmla="*/ 2638425 h 4496940"/>
              <a:gd name="connsiteX102" fmla="*/ 40027 w 4519987"/>
              <a:gd name="connsiteY102" fmla="*/ 2562225 h 4496940"/>
              <a:gd name="connsiteX103" fmla="*/ 30502 w 4519987"/>
              <a:gd name="connsiteY103" fmla="*/ 2514600 h 4496940"/>
              <a:gd name="connsiteX104" fmla="*/ 11452 w 4519987"/>
              <a:gd name="connsiteY104" fmla="*/ 2400300 h 4496940"/>
              <a:gd name="connsiteX105" fmla="*/ 20977 w 4519987"/>
              <a:gd name="connsiteY105" fmla="*/ 1905000 h 4496940"/>
              <a:gd name="connsiteX106" fmla="*/ 30502 w 4519987"/>
              <a:gd name="connsiteY106" fmla="*/ 1838325 h 4496940"/>
              <a:gd name="connsiteX107" fmla="*/ 49552 w 4519987"/>
              <a:gd name="connsiteY107" fmla="*/ 1781175 h 4496940"/>
              <a:gd name="connsiteX108" fmla="*/ 59077 w 4519987"/>
              <a:gd name="connsiteY108" fmla="*/ 1743075 h 4496940"/>
              <a:gd name="connsiteX109" fmla="*/ 78127 w 4519987"/>
              <a:gd name="connsiteY109" fmla="*/ 1685925 h 4496940"/>
              <a:gd name="connsiteX110" fmla="*/ 87652 w 4519987"/>
              <a:gd name="connsiteY110" fmla="*/ 1638300 h 4496940"/>
              <a:gd name="connsiteX111" fmla="*/ 106702 w 4519987"/>
              <a:gd name="connsiteY111" fmla="*/ 1590675 h 4496940"/>
              <a:gd name="connsiteX112" fmla="*/ 135277 w 4519987"/>
              <a:gd name="connsiteY112" fmla="*/ 1504950 h 4496940"/>
              <a:gd name="connsiteX113" fmla="*/ 154327 w 4519987"/>
              <a:gd name="connsiteY113" fmla="*/ 1419225 h 4496940"/>
              <a:gd name="connsiteX114" fmla="*/ 230527 w 4519987"/>
              <a:gd name="connsiteY114" fmla="*/ 1276350 h 4496940"/>
              <a:gd name="connsiteX115" fmla="*/ 240052 w 4519987"/>
              <a:gd name="connsiteY115" fmla="*/ 1247775 h 4496940"/>
              <a:gd name="connsiteX116" fmla="*/ 268627 w 4519987"/>
              <a:gd name="connsiteY116" fmla="*/ 1200150 h 4496940"/>
              <a:gd name="connsiteX117" fmla="*/ 287677 w 4519987"/>
              <a:gd name="connsiteY117" fmla="*/ 1152525 h 4496940"/>
              <a:gd name="connsiteX118" fmla="*/ 316252 w 4519987"/>
              <a:gd name="connsiteY118" fmla="*/ 1114425 h 4496940"/>
              <a:gd name="connsiteX119" fmla="*/ 363877 w 4519987"/>
              <a:gd name="connsiteY119" fmla="*/ 1038225 h 4496940"/>
              <a:gd name="connsiteX120" fmla="*/ 382927 w 4519987"/>
              <a:gd name="connsiteY120" fmla="*/ 1009650 h 4496940"/>
              <a:gd name="connsiteX121" fmla="*/ 440077 w 4519987"/>
              <a:gd name="connsiteY121" fmla="*/ 904875 h 4496940"/>
              <a:gd name="connsiteX122" fmla="*/ 478177 w 4519987"/>
              <a:gd name="connsiteY122" fmla="*/ 857250 h 4496940"/>
              <a:gd name="connsiteX123" fmla="*/ 497227 w 4519987"/>
              <a:gd name="connsiteY123" fmla="*/ 828675 h 4496940"/>
              <a:gd name="connsiteX124" fmla="*/ 535327 w 4519987"/>
              <a:gd name="connsiteY124" fmla="*/ 800100 h 4496940"/>
              <a:gd name="connsiteX125" fmla="*/ 602002 w 4519987"/>
              <a:gd name="connsiteY125" fmla="*/ 733425 h 4496940"/>
              <a:gd name="connsiteX126" fmla="*/ 668677 w 4519987"/>
              <a:gd name="connsiteY126" fmla="*/ 676275 h 4496940"/>
              <a:gd name="connsiteX127" fmla="*/ 697252 w 4519987"/>
              <a:gd name="connsiteY127" fmla="*/ 657225 h 4496940"/>
              <a:gd name="connsiteX128" fmla="*/ 840127 w 4519987"/>
              <a:gd name="connsiteY128" fmla="*/ 533400 h 4496940"/>
              <a:gd name="connsiteX129" fmla="*/ 887752 w 4519987"/>
              <a:gd name="connsiteY129" fmla="*/ 504825 h 4496940"/>
              <a:gd name="connsiteX130" fmla="*/ 1167152 w 4519987"/>
              <a:gd name="connsiteY130" fmla="*/ 311150 h 4496940"/>
              <a:gd name="connsiteX131" fmla="*/ 1268752 w 4519987"/>
              <a:gd name="connsiteY131" fmla="*/ 285750 h 4496940"/>
              <a:gd name="connsiteX132" fmla="*/ 1411627 w 4519987"/>
              <a:gd name="connsiteY132" fmla="*/ 190500 h 4496940"/>
              <a:gd name="connsiteX133" fmla="*/ 1449727 w 4519987"/>
              <a:gd name="connsiteY133" fmla="*/ 161925 h 4496940"/>
              <a:gd name="connsiteX134" fmla="*/ 1525927 w 4519987"/>
              <a:gd name="connsiteY134" fmla="*/ 152400 h 4496940"/>
              <a:gd name="connsiteX135" fmla="*/ 1583077 w 4519987"/>
              <a:gd name="connsiteY135" fmla="*/ 142875 h 4496940"/>
              <a:gd name="connsiteX136" fmla="*/ 1716427 w 4519987"/>
              <a:gd name="connsiteY136" fmla="*/ 123825 h 4496940"/>
              <a:gd name="connsiteX137" fmla="*/ 1811677 w 4519987"/>
              <a:gd name="connsiteY137" fmla="*/ 114300 h 4496940"/>
              <a:gd name="connsiteX138" fmla="*/ 1859302 w 4519987"/>
              <a:gd name="connsiteY138" fmla="*/ 104775 h 4496940"/>
              <a:gd name="connsiteX139" fmla="*/ 1916452 w 4519987"/>
              <a:gd name="connsiteY139" fmla="*/ 95250 h 4496940"/>
              <a:gd name="connsiteX140" fmla="*/ 2030752 w 4519987"/>
              <a:gd name="connsiteY140" fmla="*/ 66675 h 4496940"/>
              <a:gd name="connsiteX141" fmla="*/ 2097427 w 4519987"/>
              <a:gd name="connsiteY141" fmla="*/ 47625 h 4496940"/>
              <a:gd name="connsiteX142" fmla="*/ 2164102 w 4519987"/>
              <a:gd name="connsiteY142" fmla="*/ 38100 h 4496940"/>
              <a:gd name="connsiteX143" fmla="*/ 2392702 w 4519987"/>
              <a:gd name="connsiteY14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02477 w 4519987"/>
              <a:gd name="connsiteY27" fmla="*/ 1590675 h 4496940"/>
              <a:gd name="connsiteX28" fmla="*/ 4431052 w 4519987"/>
              <a:gd name="connsiteY28" fmla="*/ 1685925 h 4496940"/>
              <a:gd name="connsiteX29" fmla="*/ 4519952 w 4519987"/>
              <a:gd name="connsiteY29" fmla="*/ 2181225 h 4496940"/>
              <a:gd name="connsiteX30" fmla="*/ 4446927 w 4519987"/>
              <a:gd name="connsiteY30" fmla="*/ 2768600 h 4496940"/>
              <a:gd name="connsiteX31" fmla="*/ 4383427 w 4519987"/>
              <a:gd name="connsiteY31" fmla="*/ 2990850 h 4496940"/>
              <a:gd name="connsiteX32" fmla="*/ 4278652 w 4519987"/>
              <a:gd name="connsiteY32" fmla="*/ 3248025 h 4496940"/>
              <a:gd name="connsiteX33" fmla="*/ 4259602 w 4519987"/>
              <a:gd name="connsiteY33" fmla="*/ 3276600 h 4496940"/>
              <a:gd name="connsiteX34" fmla="*/ 4221502 w 4519987"/>
              <a:gd name="connsiteY34" fmla="*/ 3333750 h 4496940"/>
              <a:gd name="connsiteX35" fmla="*/ 4211977 w 4519987"/>
              <a:gd name="connsiteY35" fmla="*/ 3362325 h 4496940"/>
              <a:gd name="connsiteX36" fmla="*/ 4183402 w 4519987"/>
              <a:gd name="connsiteY36" fmla="*/ 3400425 h 4496940"/>
              <a:gd name="connsiteX37" fmla="*/ 4164352 w 4519987"/>
              <a:gd name="connsiteY37" fmla="*/ 3429000 h 4496940"/>
              <a:gd name="connsiteX38" fmla="*/ 4088152 w 4519987"/>
              <a:gd name="connsiteY38" fmla="*/ 3495675 h 4496940"/>
              <a:gd name="connsiteX39" fmla="*/ 4059577 w 4519987"/>
              <a:gd name="connsiteY39" fmla="*/ 3533775 h 4496940"/>
              <a:gd name="connsiteX40" fmla="*/ 4002427 w 4519987"/>
              <a:gd name="connsiteY40" fmla="*/ 3600450 h 4496940"/>
              <a:gd name="connsiteX41" fmla="*/ 3983377 w 4519987"/>
              <a:gd name="connsiteY41" fmla="*/ 3629025 h 4496940"/>
              <a:gd name="connsiteX42" fmla="*/ 3954802 w 4519987"/>
              <a:gd name="connsiteY42" fmla="*/ 3648075 h 4496940"/>
              <a:gd name="connsiteX43" fmla="*/ 3907177 w 4519987"/>
              <a:gd name="connsiteY43" fmla="*/ 3686175 h 4496940"/>
              <a:gd name="connsiteX44" fmla="*/ 3869077 w 4519987"/>
              <a:gd name="connsiteY44" fmla="*/ 3724275 h 4496940"/>
              <a:gd name="connsiteX45" fmla="*/ 3792877 w 4519987"/>
              <a:gd name="connsiteY45" fmla="*/ 3781425 h 4496940"/>
              <a:gd name="connsiteX46" fmla="*/ 3783352 w 4519987"/>
              <a:gd name="connsiteY46" fmla="*/ 3810000 h 4496940"/>
              <a:gd name="connsiteX47" fmla="*/ 3745252 w 4519987"/>
              <a:gd name="connsiteY47" fmla="*/ 3819525 h 4496940"/>
              <a:gd name="connsiteX48" fmla="*/ 3678577 w 4519987"/>
              <a:gd name="connsiteY48" fmla="*/ 3848100 h 4496940"/>
              <a:gd name="connsiteX49" fmla="*/ 3659527 w 4519987"/>
              <a:gd name="connsiteY49" fmla="*/ 3971925 h 4496940"/>
              <a:gd name="connsiteX50" fmla="*/ 3630952 w 4519987"/>
              <a:gd name="connsiteY50" fmla="*/ 4010025 h 4496940"/>
              <a:gd name="connsiteX51" fmla="*/ 3621427 w 4519987"/>
              <a:gd name="connsiteY51" fmla="*/ 4038600 h 4496940"/>
              <a:gd name="connsiteX52" fmla="*/ 3554752 w 4519987"/>
              <a:gd name="connsiteY52" fmla="*/ 4095750 h 4496940"/>
              <a:gd name="connsiteX53" fmla="*/ 3516652 w 4519987"/>
              <a:gd name="connsiteY53" fmla="*/ 4114800 h 4496940"/>
              <a:gd name="connsiteX54" fmla="*/ 3497602 w 4519987"/>
              <a:gd name="connsiteY54" fmla="*/ 4143375 h 4496940"/>
              <a:gd name="connsiteX55" fmla="*/ 3383302 w 4519987"/>
              <a:gd name="connsiteY55" fmla="*/ 4210050 h 4496940"/>
              <a:gd name="connsiteX56" fmla="*/ 3335677 w 4519987"/>
              <a:gd name="connsiteY56" fmla="*/ 4238625 h 4496940"/>
              <a:gd name="connsiteX57" fmla="*/ 3288052 w 4519987"/>
              <a:gd name="connsiteY57" fmla="*/ 4248150 h 4496940"/>
              <a:gd name="connsiteX58" fmla="*/ 3240427 w 4519987"/>
              <a:gd name="connsiteY58" fmla="*/ 4267200 h 4496940"/>
              <a:gd name="connsiteX59" fmla="*/ 3068977 w 4519987"/>
              <a:gd name="connsiteY59" fmla="*/ 4286250 h 4496940"/>
              <a:gd name="connsiteX60" fmla="*/ 2935627 w 4519987"/>
              <a:gd name="connsiteY60" fmla="*/ 4333875 h 4496940"/>
              <a:gd name="connsiteX61" fmla="*/ 2811802 w 4519987"/>
              <a:gd name="connsiteY61" fmla="*/ 4371975 h 4496940"/>
              <a:gd name="connsiteX62" fmla="*/ 2745127 w 4519987"/>
              <a:gd name="connsiteY62" fmla="*/ 4410075 h 4496940"/>
              <a:gd name="connsiteX63" fmla="*/ 2697502 w 4519987"/>
              <a:gd name="connsiteY63" fmla="*/ 4429125 h 4496940"/>
              <a:gd name="connsiteX64" fmla="*/ 2640352 w 4519987"/>
              <a:gd name="connsiteY64" fmla="*/ 4457700 h 4496940"/>
              <a:gd name="connsiteX65" fmla="*/ 2583202 w 4519987"/>
              <a:gd name="connsiteY65" fmla="*/ 4467225 h 4496940"/>
              <a:gd name="connsiteX66" fmla="*/ 2545102 w 4519987"/>
              <a:gd name="connsiteY66" fmla="*/ 4486275 h 4496940"/>
              <a:gd name="connsiteX67" fmla="*/ 2306977 w 4519987"/>
              <a:gd name="connsiteY67" fmla="*/ 4476750 h 4496940"/>
              <a:gd name="connsiteX68" fmla="*/ 2202202 w 4519987"/>
              <a:gd name="connsiteY68" fmla="*/ 4457700 h 4496940"/>
              <a:gd name="connsiteX69" fmla="*/ 2126002 w 4519987"/>
              <a:gd name="connsiteY69" fmla="*/ 4429125 h 4496940"/>
              <a:gd name="connsiteX70" fmla="*/ 1935502 w 4519987"/>
              <a:gd name="connsiteY70" fmla="*/ 4400550 h 4496940"/>
              <a:gd name="connsiteX71" fmla="*/ 1821202 w 4519987"/>
              <a:gd name="connsiteY71" fmla="*/ 4371975 h 4496940"/>
              <a:gd name="connsiteX72" fmla="*/ 1754527 w 4519987"/>
              <a:gd name="connsiteY72" fmla="*/ 4352925 h 4496940"/>
              <a:gd name="connsiteX73" fmla="*/ 1687852 w 4519987"/>
              <a:gd name="connsiteY73" fmla="*/ 4343400 h 4496940"/>
              <a:gd name="connsiteX74" fmla="*/ 1573552 w 4519987"/>
              <a:gd name="connsiteY74" fmla="*/ 4305300 h 4496940"/>
              <a:gd name="connsiteX75" fmla="*/ 1402102 w 4519987"/>
              <a:gd name="connsiteY75" fmla="*/ 4276725 h 4496940"/>
              <a:gd name="connsiteX76" fmla="*/ 1287802 w 4519987"/>
              <a:gd name="connsiteY76" fmla="*/ 4229100 h 4496940"/>
              <a:gd name="connsiteX77" fmla="*/ 1221127 w 4519987"/>
              <a:gd name="connsiteY77" fmla="*/ 4200525 h 4496940"/>
              <a:gd name="connsiteX78" fmla="*/ 1144927 w 4519987"/>
              <a:gd name="connsiteY78" fmla="*/ 4171950 h 4496940"/>
              <a:gd name="connsiteX79" fmla="*/ 1087777 w 4519987"/>
              <a:gd name="connsiteY79" fmla="*/ 4143375 h 4496940"/>
              <a:gd name="connsiteX80" fmla="*/ 1030627 w 4519987"/>
              <a:gd name="connsiteY80" fmla="*/ 4124325 h 4496940"/>
              <a:gd name="connsiteX81" fmla="*/ 925852 w 4519987"/>
              <a:gd name="connsiteY81" fmla="*/ 4067175 h 4496940"/>
              <a:gd name="connsiteX82" fmla="*/ 830602 w 4519987"/>
              <a:gd name="connsiteY82" fmla="*/ 3981450 h 4496940"/>
              <a:gd name="connsiteX83" fmla="*/ 763927 w 4519987"/>
              <a:gd name="connsiteY83" fmla="*/ 3914775 h 4496940"/>
              <a:gd name="connsiteX84" fmla="*/ 725827 w 4519987"/>
              <a:gd name="connsiteY84" fmla="*/ 3876675 h 4496940"/>
              <a:gd name="connsiteX85" fmla="*/ 697252 w 4519987"/>
              <a:gd name="connsiteY85" fmla="*/ 3838575 h 4496940"/>
              <a:gd name="connsiteX86" fmla="*/ 640102 w 4519987"/>
              <a:gd name="connsiteY86" fmla="*/ 3781425 h 4496940"/>
              <a:gd name="connsiteX87" fmla="*/ 611527 w 4519987"/>
              <a:gd name="connsiteY87" fmla="*/ 3733800 h 4496940"/>
              <a:gd name="connsiteX88" fmla="*/ 554377 w 4519987"/>
              <a:gd name="connsiteY88" fmla="*/ 3657600 h 4496940"/>
              <a:gd name="connsiteX89" fmla="*/ 525802 w 4519987"/>
              <a:gd name="connsiteY89" fmla="*/ 3609975 h 4496940"/>
              <a:gd name="connsiteX90" fmla="*/ 497227 w 4519987"/>
              <a:gd name="connsiteY90" fmla="*/ 3552825 h 4496940"/>
              <a:gd name="connsiteX91" fmla="*/ 440077 w 4519987"/>
              <a:gd name="connsiteY91" fmla="*/ 3495675 h 4496940"/>
              <a:gd name="connsiteX92" fmla="*/ 411502 w 4519987"/>
              <a:gd name="connsiteY92" fmla="*/ 3448050 h 4496940"/>
              <a:gd name="connsiteX93" fmla="*/ 278152 w 4519987"/>
              <a:gd name="connsiteY93" fmla="*/ 3257550 h 4496940"/>
              <a:gd name="connsiteX94" fmla="*/ 249577 w 4519987"/>
              <a:gd name="connsiteY94" fmla="*/ 3200400 h 4496940"/>
              <a:gd name="connsiteX95" fmla="*/ 240052 w 4519987"/>
              <a:gd name="connsiteY95" fmla="*/ 3162300 h 4496940"/>
              <a:gd name="connsiteX96" fmla="*/ 221002 w 4519987"/>
              <a:gd name="connsiteY96" fmla="*/ 3105150 h 4496940"/>
              <a:gd name="connsiteX97" fmla="*/ 173377 w 4519987"/>
              <a:gd name="connsiteY97" fmla="*/ 3019425 h 4496940"/>
              <a:gd name="connsiteX98" fmla="*/ 144802 w 4519987"/>
              <a:gd name="connsiteY98" fmla="*/ 2924175 h 4496940"/>
              <a:gd name="connsiteX99" fmla="*/ 68602 w 4519987"/>
              <a:gd name="connsiteY99" fmla="*/ 2724150 h 4496940"/>
              <a:gd name="connsiteX100" fmla="*/ 49552 w 4519987"/>
              <a:gd name="connsiteY100" fmla="*/ 2638425 h 4496940"/>
              <a:gd name="connsiteX101" fmla="*/ 40027 w 4519987"/>
              <a:gd name="connsiteY101" fmla="*/ 2562225 h 4496940"/>
              <a:gd name="connsiteX102" fmla="*/ 30502 w 4519987"/>
              <a:gd name="connsiteY102" fmla="*/ 2514600 h 4496940"/>
              <a:gd name="connsiteX103" fmla="*/ 11452 w 4519987"/>
              <a:gd name="connsiteY103" fmla="*/ 2400300 h 4496940"/>
              <a:gd name="connsiteX104" fmla="*/ 20977 w 4519987"/>
              <a:gd name="connsiteY104" fmla="*/ 1905000 h 4496940"/>
              <a:gd name="connsiteX105" fmla="*/ 30502 w 4519987"/>
              <a:gd name="connsiteY105" fmla="*/ 1838325 h 4496940"/>
              <a:gd name="connsiteX106" fmla="*/ 49552 w 4519987"/>
              <a:gd name="connsiteY106" fmla="*/ 1781175 h 4496940"/>
              <a:gd name="connsiteX107" fmla="*/ 59077 w 4519987"/>
              <a:gd name="connsiteY107" fmla="*/ 1743075 h 4496940"/>
              <a:gd name="connsiteX108" fmla="*/ 78127 w 4519987"/>
              <a:gd name="connsiteY108" fmla="*/ 1685925 h 4496940"/>
              <a:gd name="connsiteX109" fmla="*/ 87652 w 4519987"/>
              <a:gd name="connsiteY109" fmla="*/ 1638300 h 4496940"/>
              <a:gd name="connsiteX110" fmla="*/ 106702 w 4519987"/>
              <a:gd name="connsiteY110" fmla="*/ 1590675 h 4496940"/>
              <a:gd name="connsiteX111" fmla="*/ 135277 w 4519987"/>
              <a:gd name="connsiteY111" fmla="*/ 1504950 h 4496940"/>
              <a:gd name="connsiteX112" fmla="*/ 154327 w 4519987"/>
              <a:gd name="connsiteY112" fmla="*/ 1419225 h 4496940"/>
              <a:gd name="connsiteX113" fmla="*/ 230527 w 4519987"/>
              <a:gd name="connsiteY113" fmla="*/ 1276350 h 4496940"/>
              <a:gd name="connsiteX114" fmla="*/ 240052 w 4519987"/>
              <a:gd name="connsiteY114" fmla="*/ 1247775 h 4496940"/>
              <a:gd name="connsiteX115" fmla="*/ 268627 w 4519987"/>
              <a:gd name="connsiteY115" fmla="*/ 1200150 h 4496940"/>
              <a:gd name="connsiteX116" fmla="*/ 287677 w 4519987"/>
              <a:gd name="connsiteY116" fmla="*/ 1152525 h 4496940"/>
              <a:gd name="connsiteX117" fmla="*/ 316252 w 4519987"/>
              <a:gd name="connsiteY117" fmla="*/ 1114425 h 4496940"/>
              <a:gd name="connsiteX118" fmla="*/ 363877 w 4519987"/>
              <a:gd name="connsiteY118" fmla="*/ 1038225 h 4496940"/>
              <a:gd name="connsiteX119" fmla="*/ 382927 w 4519987"/>
              <a:gd name="connsiteY119" fmla="*/ 1009650 h 4496940"/>
              <a:gd name="connsiteX120" fmla="*/ 440077 w 4519987"/>
              <a:gd name="connsiteY120" fmla="*/ 904875 h 4496940"/>
              <a:gd name="connsiteX121" fmla="*/ 478177 w 4519987"/>
              <a:gd name="connsiteY121" fmla="*/ 857250 h 4496940"/>
              <a:gd name="connsiteX122" fmla="*/ 497227 w 4519987"/>
              <a:gd name="connsiteY122" fmla="*/ 828675 h 4496940"/>
              <a:gd name="connsiteX123" fmla="*/ 535327 w 4519987"/>
              <a:gd name="connsiteY123" fmla="*/ 800100 h 4496940"/>
              <a:gd name="connsiteX124" fmla="*/ 602002 w 4519987"/>
              <a:gd name="connsiteY124" fmla="*/ 733425 h 4496940"/>
              <a:gd name="connsiteX125" fmla="*/ 668677 w 4519987"/>
              <a:gd name="connsiteY125" fmla="*/ 676275 h 4496940"/>
              <a:gd name="connsiteX126" fmla="*/ 697252 w 4519987"/>
              <a:gd name="connsiteY126" fmla="*/ 657225 h 4496940"/>
              <a:gd name="connsiteX127" fmla="*/ 840127 w 4519987"/>
              <a:gd name="connsiteY127" fmla="*/ 533400 h 4496940"/>
              <a:gd name="connsiteX128" fmla="*/ 887752 w 4519987"/>
              <a:gd name="connsiteY128" fmla="*/ 504825 h 4496940"/>
              <a:gd name="connsiteX129" fmla="*/ 1167152 w 4519987"/>
              <a:gd name="connsiteY129" fmla="*/ 311150 h 4496940"/>
              <a:gd name="connsiteX130" fmla="*/ 1268752 w 4519987"/>
              <a:gd name="connsiteY130" fmla="*/ 285750 h 4496940"/>
              <a:gd name="connsiteX131" fmla="*/ 1411627 w 4519987"/>
              <a:gd name="connsiteY131" fmla="*/ 190500 h 4496940"/>
              <a:gd name="connsiteX132" fmla="*/ 1449727 w 4519987"/>
              <a:gd name="connsiteY132" fmla="*/ 161925 h 4496940"/>
              <a:gd name="connsiteX133" fmla="*/ 1525927 w 4519987"/>
              <a:gd name="connsiteY133" fmla="*/ 152400 h 4496940"/>
              <a:gd name="connsiteX134" fmla="*/ 1583077 w 4519987"/>
              <a:gd name="connsiteY134" fmla="*/ 142875 h 4496940"/>
              <a:gd name="connsiteX135" fmla="*/ 1716427 w 4519987"/>
              <a:gd name="connsiteY135" fmla="*/ 123825 h 4496940"/>
              <a:gd name="connsiteX136" fmla="*/ 1811677 w 4519987"/>
              <a:gd name="connsiteY136" fmla="*/ 114300 h 4496940"/>
              <a:gd name="connsiteX137" fmla="*/ 1859302 w 4519987"/>
              <a:gd name="connsiteY137" fmla="*/ 104775 h 4496940"/>
              <a:gd name="connsiteX138" fmla="*/ 1916452 w 4519987"/>
              <a:gd name="connsiteY138" fmla="*/ 95250 h 4496940"/>
              <a:gd name="connsiteX139" fmla="*/ 2030752 w 4519987"/>
              <a:gd name="connsiteY139" fmla="*/ 66675 h 4496940"/>
              <a:gd name="connsiteX140" fmla="*/ 2097427 w 4519987"/>
              <a:gd name="connsiteY140" fmla="*/ 47625 h 4496940"/>
              <a:gd name="connsiteX141" fmla="*/ 2164102 w 4519987"/>
              <a:gd name="connsiteY141" fmla="*/ 38100 h 4496940"/>
              <a:gd name="connsiteX142" fmla="*/ 2392702 w 4519987"/>
              <a:gd name="connsiteY14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211977 w 4519987"/>
              <a:gd name="connsiteY34" fmla="*/ 3362325 h 4496940"/>
              <a:gd name="connsiteX35" fmla="*/ 4183402 w 4519987"/>
              <a:gd name="connsiteY35" fmla="*/ 3400425 h 4496940"/>
              <a:gd name="connsiteX36" fmla="*/ 4164352 w 4519987"/>
              <a:gd name="connsiteY36" fmla="*/ 3429000 h 4496940"/>
              <a:gd name="connsiteX37" fmla="*/ 4088152 w 4519987"/>
              <a:gd name="connsiteY37" fmla="*/ 3495675 h 4496940"/>
              <a:gd name="connsiteX38" fmla="*/ 4059577 w 4519987"/>
              <a:gd name="connsiteY38" fmla="*/ 3533775 h 4496940"/>
              <a:gd name="connsiteX39" fmla="*/ 4002427 w 4519987"/>
              <a:gd name="connsiteY39" fmla="*/ 3600450 h 4496940"/>
              <a:gd name="connsiteX40" fmla="*/ 3983377 w 4519987"/>
              <a:gd name="connsiteY40" fmla="*/ 3629025 h 4496940"/>
              <a:gd name="connsiteX41" fmla="*/ 3954802 w 4519987"/>
              <a:gd name="connsiteY41" fmla="*/ 3648075 h 4496940"/>
              <a:gd name="connsiteX42" fmla="*/ 3907177 w 4519987"/>
              <a:gd name="connsiteY42" fmla="*/ 3686175 h 4496940"/>
              <a:gd name="connsiteX43" fmla="*/ 3869077 w 4519987"/>
              <a:gd name="connsiteY43" fmla="*/ 3724275 h 4496940"/>
              <a:gd name="connsiteX44" fmla="*/ 3792877 w 4519987"/>
              <a:gd name="connsiteY44" fmla="*/ 3781425 h 4496940"/>
              <a:gd name="connsiteX45" fmla="*/ 3783352 w 4519987"/>
              <a:gd name="connsiteY45" fmla="*/ 3810000 h 4496940"/>
              <a:gd name="connsiteX46" fmla="*/ 3745252 w 4519987"/>
              <a:gd name="connsiteY46" fmla="*/ 3819525 h 4496940"/>
              <a:gd name="connsiteX47" fmla="*/ 3678577 w 4519987"/>
              <a:gd name="connsiteY47" fmla="*/ 3848100 h 4496940"/>
              <a:gd name="connsiteX48" fmla="*/ 3659527 w 4519987"/>
              <a:gd name="connsiteY48" fmla="*/ 3971925 h 4496940"/>
              <a:gd name="connsiteX49" fmla="*/ 3630952 w 4519987"/>
              <a:gd name="connsiteY49" fmla="*/ 4010025 h 4496940"/>
              <a:gd name="connsiteX50" fmla="*/ 3621427 w 4519987"/>
              <a:gd name="connsiteY50" fmla="*/ 4038600 h 4496940"/>
              <a:gd name="connsiteX51" fmla="*/ 3554752 w 4519987"/>
              <a:gd name="connsiteY51" fmla="*/ 4095750 h 4496940"/>
              <a:gd name="connsiteX52" fmla="*/ 3516652 w 4519987"/>
              <a:gd name="connsiteY52" fmla="*/ 4114800 h 4496940"/>
              <a:gd name="connsiteX53" fmla="*/ 3497602 w 4519987"/>
              <a:gd name="connsiteY53" fmla="*/ 4143375 h 4496940"/>
              <a:gd name="connsiteX54" fmla="*/ 3383302 w 4519987"/>
              <a:gd name="connsiteY54" fmla="*/ 4210050 h 4496940"/>
              <a:gd name="connsiteX55" fmla="*/ 3335677 w 4519987"/>
              <a:gd name="connsiteY55" fmla="*/ 4238625 h 4496940"/>
              <a:gd name="connsiteX56" fmla="*/ 3288052 w 4519987"/>
              <a:gd name="connsiteY56" fmla="*/ 4248150 h 4496940"/>
              <a:gd name="connsiteX57" fmla="*/ 3240427 w 4519987"/>
              <a:gd name="connsiteY57" fmla="*/ 4267200 h 4496940"/>
              <a:gd name="connsiteX58" fmla="*/ 3068977 w 4519987"/>
              <a:gd name="connsiteY58" fmla="*/ 4286250 h 4496940"/>
              <a:gd name="connsiteX59" fmla="*/ 2935627 w 4519987"/>
              <a:gd name="connsiteY59" fmla="*/ 4333875 h 4496940"/>
              <a:gd name="connsiteX60" fmla="*/ 2811802 w 4519987"/>
              <a:gd name="connsiteY60" fmla="*/ 4371975 h 4496940"/>
              <a:gd name="connsiteX61" fmla="*/ 2745127 w 4519987"/>
              <a:gd name="connsiteY61" fmla="*/ 4410075 h 4496940"/>
              <a:gd name="connsiteX62" fmla="*/ 2697502 w 4519987"/>
              <a:gd name="connsiteY62" fmla="*/ 4429125 h 4496940"/>
              <a:gd name="connsiteX63" fmla="*/ 2640352 w 4519987"/>
              <a:gd name="connsiteY63" fmla="*/ 4457700 h 4496940"/>
              <a:gd name="connsiteX64" fmla="*/ 2583202 w 4519987"/>
              <a:gd name="connsiteY64" fmla="*/ 4467225 h 4496940"/>
              <a:gd name="connsiteX65" fmla="*/ 2545102 w 4519987"/>
              <a:gd name="connsiteY65" fmla="*/ 4486275 h 4496940"/>
              <a:gd name="connsiteX66" fmla="*/ 2306977 w 4519987"/>
              <a:gd name="connsiteY66" fmla="*/ 4476750 h 4496940"/>
              <a:gd name="connsiteX67" fmla="*/ 2202202 w 4519987"/>
              <a:gd name="connsiteY67" fmla="*/ 4457700 h 4496940"/>
              <a:gd name="connsiteX68" fmla="*/ 2126002 w 4519987"/>
              <a:gd name="connsiteY68" fmla="*/ 4429125 h 4496940"/>
              <a:gd name="connsiteX69" fmla="*/ 1935502 w 4519987"/>
              <a:gd name="connsiteY69" fmla="*/ 4400550 h 4496940"/>
              <a:gd name="connsiteX70" fmla="*/ 1821202 w 4519987"/>
              <a:gd name="connsiteY70" fmla="*/ 4371975 h 4496940"/>
              <a:gd name="connsiteX71" fmla="*/ 1754527 w 4519987"/>
              <a:gd name="connsiteY71" fmla="*/ 4352925 h 4496940"/>
              <a:gd name="connsiteX72" fmla="*/ 1687852 w 4519987"/>
              <a:gd name="connsiteY72" fmla="*/ 4343400 h 4496940"/>
              <a:gd name="connsiteX73" fmla="*/ 1573552 w 4519987"/>
              <a:gd name="connsiteY73" fmla="*/ 4305300 h 4496940"/>
              <a:gd name="connsiteX74" fmla="*/ 1402102 w 4519987"/>
              <a:gd name="connsiteY74" fmla="*/ 4276725 h 4496940"/>
              <a:gd name="connsiteX75" fmla="*/ 1287802 w 4519987"/>
              <a:gd name="connsiteY75" fmla="*/ 4229100 h 4496940"/>
              <a:gd name="connsiteX76" fmla="*/ 1221127 w 4519987"/>
              <a:gd name="connsiteY76" fmla="*/ 4200525 h 4496940"/>
              <a:gd name="connsiteX77" fmla="*/ 1144927 w 4519987"/>
              <a:gd name="connsiteY77" fmla="*/ 4171950 h 4496940"/>
              <a:gd name="connsiteX78" fmla="*/ 1087777 w 4519987"/>
              <a:gd name="connsiteY78" fmla="*/ 4143375 h 4496940"/>
              <a:gd name="connsiteX79" fmla="*/ 1030627 w 4519987"/>
              <a:gd name="connsiteY79" fmla="*/ 4124325 h 4496940"/>
              <a:gd name="connsiteX80" fmla="*/ 925852 w 4519987"/>
              <a:gd name="connsiteY80" fmla="*/ 4067175 h 4496940"/>
              <a:gd name="connsiteX81" fmla="*/ 830602 w 4519987"/>
              <a:gd name="connsiteY81" fmla="*/ 3981450 h 4496940"/>
              <a:gd name="connsiteX82" fmla="*/ 763927 w 4519987"/>
              <a:gd name="connsiteY82" fmla="*/ 3914775 h 4496940"/>
              <a:gd name="connsiteX83" fmla="*/ 725827 w 4519987"/>
              <a:gd name="connsiteY83" fmla="*/ 3876675 h 4496940"/>
              <a:gd name="connsiteX84" fmla="*/ 697252 w 4519987"/>
              <a:gd name="connsiteY84" fmla="*/ 3838575 h 4496940"/>
              <a:gd name="connsiteX85" fmla="*/ 640102 w 4519987"/>
              <a:gd name="connsiteY85" fmla="*/ 3781425 h 4496940"/>
              <a:gd name="connsiteX86" fmla="*/ 611527 w 4519987"/>
              <a:gd name="connsiteY86" fmla="*/ 3733800 h 4496940"/>
              <a:gd name="connsiteX87" fmla="*/ 554377 w 4519987"/>
              <a:gd name="connsiteY87" fmla="*/ 3657600 h 4496940"/>
              <a:gd name="connsiteX88" fmla="*/ 525802 w 4519987"/>
              <a:gd name="connsiteY88" fmla="*/ 3609975 h 4496940"/>
              <a:gd name="connsiteX89" fmla="*/ 497227 w 4519987"/>
              <a:gd name="connsiteY89" fmla="*/ 3552825 h 4496940"/>
              <a:gd name="connsiteX90" fmla="*/ 440077 w 4519987"/>
              <a:gd name="connsiteY90" fmla="*/ 3495675 h 4496940"/>
              <a:gd name="connsiteX91" fmla="*/ 411502 w 4519987"/>
              <a:gd name="connsiteY91" fmla="*/ 3448050 h 4496940"/>
              <a:gd name="connsiteX92" fmla="*/ 278152 w 4519987"/>
              <a:gd name="connsiteY92" fmla="*/ 3257550 h 4496940"/>
              <a:gd name="connsiteX93" fmla="*/ 249577 w 4519987"/>
              <a:gd name="connsiteY93" fmla="*/ 3200400 h 4496940"/>
              <a:gd name="connsiteX94" fmla="*/ 240052 w 4519987"/>
              <a:gd name="connsiteY94" fmla="*/ 3162300 h 4496940"/>
              <a:gd name="connsiteX95" fmla="*/ 221002 w 4519987"/>
              <a:gd name="connsiteY95" fmla="*/ 3105150 h 4496940"/>
              <a:gd name="connsiteX96" fmla="*/ 173377 w 4519987"/>
              <a:gd name="connsiteY96" fmla="*/ 3019425 h 4496940"/>
              <a:gd name="connsiteX97" fmla="*/ 144802 w 4519987"/>
              <a:gd name="connsiteY97" fmla="*/ 2924175 h 4496940"/>
              <a:gd name="connsiteX98" fmla="*/ 68602 w 4519987"/>
              <a:gd name="connsiteY98" fmla="*/ 2724150 h 4496940"/>
              <a:gd name="connsiteX99" fmla="*/ 49552 w 4519987"/>
              <a:gd name="connsiteY99" fmla="*/ 2638425 h 4496940"/>
              <a:gd name="connsiteX100" fmla="*/ 40027 w 4519987"/>
              <a:gd name="connsiteY100" fmla="*/ 2562225 h 4496940"/>
              <a:gd name="connsiteX101" fmla="*/ 30502 w 4519987"/>
              <a:gd name="connsiteY101" fmla="*/ 2514600 h 4496940"/>
              <a:gd name="connsiteX102" fmla="*/ 11452 w 4519987"/>
              <a:gd name="connsiteY102" fmla="*/ 2400300 h 4496940"/>
              <a:gd name="connsiteX103" fmla="*/ 20977 w 4519987"/>
              <a:gd name="connsiteY103" fmla="*/ 1905000 h 4496940"/>
              <a:gd name="connsiteX104" fmla="*/ 30502 w 4519987"/>
              <a:gd name="connsiteY104" fmla="*/ 1838325 h 4496940"/>
              <a:gd name="connsiteX105" fmla="*/ 49552 w 4519987"/>
              <a:gd name="connsiteY105" fmla="*/ 1781175 h 4496940"/>
              <a:gd name="connsiteX106" fmla="*/ 59077 w 4519987"/>
              <a:gd name="connsiteY106" fmla="*/ 1743075 h 4496940"/>
              <a:gd name="connsiteX107" fmla="*/ 78127 w 4519987"/>
              <a:gd name="connsiteY107" fmla="*/ 1685925 h 4496940"/>
              <a:gd name="connsiteX108" fmla="*/ 87652 w 4519987"/>
              <a:gd name="connsiteY108" fmla="*/ 1638300 h 4496940"/>
              <a:gd name="connsiteX109" fmla="*/ 106702 w 4519987"/>
              <a:gd name="connsiteY109" fmla="*/ 1590675 h 4496940"/>
              <a:gd name="connsiteX110" fmla="*/ 135277 w 4519987"/>
              <a:gd name="connsiteY110" fmla="*/ 1504950 h 4496940"/>
              <a:gd name="connsiteX111" fmla="*/ 154327 w 4519987"/>
              <a:gd name="connsiteY111" fmla="*/ 1419225 h 4496940"/>
              <a:gd name="connsiteX112" fmla="*/ 230527 w 4519987"/>
              <a:gd name="connsiteY112" fmla="*/ 1276350 h 4496940"/>
              <a:gd name="connsiteX113" fmla="*/ 240052 w 4519987"/>
              <a:gd name="connsiteY113" fmla="*/ 1247775 h 4496940"/>
              <a:gd name="connsiteX114" fmla="*/ 268627 w 4519987"/>
              <a:gd name="connsiteY114" fmla="*/ 1200150 h 4496940"/>
              <a:gd name="connsiteX115" fmla="*/ 287677 w 4519987"/>
              <a:gd name="connsiteY115" fmla="*/ 1152525 h 4496940"/>
              <a:gd name="connsiteX116" fmla="*/ 316252 w 4519987"/>
              <a:gd name="connsiteY116" fmla="*/ 1114425 h 4496940"/>
              <a:gd name="connsiteX117" fmla="*/ 363877 w 4519987"/>
              <a:gd name="connsiteY117" fmla="*/ 1038225 h 4496940"/>
              <a:gd name="connsiteX118" fmla="*/ 382927 w 4519987"/>
              <a:gd name="connsiteY118" fmla="*/ 1009650 h 4496940"/>
              <a:gd name="connsiteX119" fmla="*/ 440077 w 4519987"/>
              <a:gd name="connsiteY119" fmla="*/ 904875 h 4496940"/>
              <a:gd name="connsiteX120" fmla="*/ 478177 w 4519987"/>
              <a:gd name="connsiteY120" fmla="*/ 857250 h 4496940"/>
              <a:gd name="connsiteX121" fmla="*/ 497227 w 4519987"/>
              <a:gd name="connsiteY121" fmla="*/ 828675 h 4496940"/>
              <a:gd name="connsiteX122" fmla="*/ 535327 w 4519987"/>
              <a:gd name="connsiteY122" fmla="*/ 800100 h 4496940"/>
              <a:gd name="connsiteX123" fmla="*/ 602002 w 4519987"/>
              <a:gd name="connsiteY123" fmla="*/ 733425 h 4496940"/>
              <a:gd name="connsiteX124" fmla="*/ 668677 w 4519987"/>
              <a:gd name="connsiteY124" fmla="*/ 676275 h 4496940"/>
              <a:gd name="connsiteX125" fmla="*/ 697252 w 4519987"/>
              <a:gd name="connsiteY125" fmla="*/ 657225 h 4496940"/>
              <a:gd name="connsiteX126" fmla="*/ 840127 w 4519987"/>
              <a:gd name="connsiteY126" fmla="*/ 533400 h 4496940"/>
              <a:gd name="connsiteX127" fmla="*/ 887752 w 4519987"/>
              <a:gd name="connsiteY127" fmla="*/ 504825 h 4496940"/>
              <a:gd name="connsiteX128" fmla="*/ 1167152 w 4519987"/>
              <a:gd name="connsiteY128" fmla="*/ 311150 h 4496940"/>
              <a:gd name="connsiteX129" fmla="*/ 1268752 w 4519987"/>
              <a:gd name="connsiteY129" fmla="*/ 285750 h 4496940"/>
              <a:gd name="connsiteX130" fmla="*/ 1411627 w 4519987"/>
              <a:gd name="connsiteY130" fmla="*/ 190500 h 4496940"/>
              <a:gd name="connsiteX131" fmla="*/ 1449727 w 4519987"/>
              <a:gd name="connsiteY131" fmla="*/ 161925 h 4496940"/>
              <a:gd name="connsiteX132" fmla="*/ 1525927 w 4519987"/>
              <a:gd name="connsiteY132" fmla="*/ 152400 h 4496940"/>
              <a:gd name="connsiteX133" fmla="*/ 1583077 w 4519987"/>
              <a:gd name="connsiteY133" fmla="*/ 142875 h 4496940"/>
              <a:gd name="connsiteX134" fmla="*/ 1716427 w 4519987"/>
              <a:gd name="connsiteY134" fmla="*/ 123825 h 4496940"/>
              <a:gd name="connsiteX135" fmla="*/ 1811677 w 4519987"/>
              <a:gd name="connsiteY135" fmla="*/ 114300 h 4496940"/>
              <a:gd name="connsiteX136" fmla="*/ 1859302 w 4519987"/>
              <a:gd name="connsiteY136" fmla="*/ 104775 h 4496940"/>
              <a:gd name="connsiteX137" fmla="*/ 1916452 w 4519987"/>
              <a:gd name="connsiteY137" fmla="*/ 95250 h 4496940"/>
              <a:gd name="connsiteX138" fmla="*/ 2030752 w 4519987"/>
              <a:gd name="connsiteY138" fmla="*/ 66675 h 4496940"/>
              <a:gd name="connsiteX139" fmla="*/ 2097427 w 4519987"/>
              <a:gd name="connsiteY139" fmla="*/ 47625 h 4496940"/>
              <a:gd name="connsiteX140" fmla="*/ 2164102 w 4519987"/>
              <a:gd name="connsiteY140" fmla="*/ 38100 h 4496940"/>
              <a:gd name="connsiteX141" fmla="*/ 2392702 w 4519987"/>
              <a:gd name="connsiteY14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211977 w 4519987"/>
              <a:gd name="connsiteY34" fmla="*/ 3362325 h 4496940"/>
              <a:gd name="connsiteX35" fmla="*/ 4183402 w 4519987"/>
              <a:gd name="connsiteY35" fmla="*/ 3400425 h 4496940"/>
              <a:gd name="connsiteX36" fmla="*/ 4088152 w 4519987"/>
              <a:gd name="connsiteY36" fmla="*/ 3495675 h 4496940"/>
              <a:gd name="connsiteX37" fmla="*/ 4059577 w 4519987"/>
              <a:gd name="connsiteY37" fmla="*/ 3533775 h 4496940"/>
              <a:gd name="connsiteX38" fmla="*/ 4002427 w 4519987"/>
              <a:gd name="connsiteY38" fmla="*/ 3600450 h 4496940"/>
              <a:gd name="connsiteX39" fmla="*/ 3983377 w 4519987"/>
              <a:gd name="connsiteY39" fmla="*/ 3629025 h 4496940"/>
              <a:gd name="connsiteX40" fmla="*/ 3954802 w 4519987"/>
              <a:gd name="connsiteY40" fmla="*/ 3648075 h 4496940"/>
              <a:gd name="connsiteX41" fmla="*/ 3907177 w 4519987"/>
              <a:gd name="connsiteY41" fmla="*/ 3686175 h 4496940"/>
              <a:gd name="connsiteX42" fmla="*/ 3869077 w 4519987"/>
              <a:gd name="connsiteY42" fmla="*/ 3724275 h 4496940"/>
              <a:gd name="connsiteX43" fmla="*/ 3792877 w 4519987"/>
              <a:gd name="connsiteY43" fmla="*/ 3781425 h 4496940"/>
              <a:gd name="connsiteX44" fmla="*/ 3783352 w 4519987"/>
              <a:gd name="connsiteY44" fmla="*/ 3810000 h 4496940"/>
              <a:gd name="connsiteX45" fmla="*/ 3745252 w 4519987"/>
              <a:gd name="connsiteY45" fmla="*/ 3819525 h 4496940"/>
              <a:gd name="connsiteX46" fmla="*/ 3678577 w 4519987"/>
              <a:gd name="connsiteY46" fmla="*/ 3848100 h 4496940"/>
              <a:gd name="connsiteX47" fmla="*/ 3659527 w 4519987"/>
              <a:gd name="connsiteY47" fmla="*/ 3971925 h 4496940"/>
              <a:gd name="connsiteX48" fmla="*/ 3630952 w 4519987"/>
              <a:gd name="connsiteY48" fmla="*/ 4010025 h 4496940"/>
              <a:gd name="connsiteX49" fmla="*/ 3621427 w 4519987"/>
              <a:gd name="connsiteY49" fmla="*/ 4038600 h 4496940"/>
              <a:gd name="connsiteX50" fmla="*/ 3554752 w 4519987"/>
              <a:gd name="connsiteY50" fmla="*/ 4095750 h 4496940"/>
              <a:gd name="connsiteX51" fmla="*/ 3516652 w 4519987"/>
              <a:gd name="connsiteY51" fmla="*/ 4114800 h 4496940"/>
              <a:gd name="connsiteX52" fmla="*/ 3497602 w 4519987"/>
              <a:gd name="connsiteY52" fmla="*/ 4143375 h 4496940"/>
              <a:gd name="connsiteX53" fmla="*/ 3383302 w 4519987"/>
              <a:gd name="connsiteY53" fmla="*/ 4210050 h 4496940"/>
              <a:gd name="connsiteX54" fmla="*/ 3335677 w 4519987"/>
              <a:gd name="connsiteY54" fmla="*/ 4238625 h 4496940"/>
              <a:gd name="connsiteX55" fmla="*/ 3288052 w 4519987"/>
              <a:gd name="connsiteY55" fmla="*/ 4248150 h 4496940"/>
              <a:gd name="connsiteX56" fmla="*/ 3240427 w 4519987"/>
              <a:gd name="connsiteY56" fmla="*/ 4267200 h 4496940"/>
              <a:gd name="connsiteX57" fmla="*/ 3068977 w 4519987"/>
              <a:gd name="connsiteY57" fmla="*/ 4286250 h 4496940"/>
              <a:gd name="connsiteX58" fmla="*/ 2935627 w 4519987"/>
              <a:gd name="connsiteY58" fmla="*/ 4333875 h 4496940"/>
              <a:gd name="connsiteX59" fmla="*/ 2811802 w 4519987"/>
              <a:gd name="connsiteY59" fmla="*/ 4371975 h 4496940"/>
              <a:gd name="connsiteX60" fmla="*/ 2745127 w 4519987"/>
              <a:gd name="connsiteY60" fmla="*/ 4410075 h 4496940"/>
              <a:gd name="connsiteX61" fmla="*/ 2697502 w 4519987"/>
              <a:gd name="connsiteY61" fmla="*/ 4429125 h 4496940"/>
              <a:gd name="connsiteX62" fmla="*/ 2640352 w 4519987"/>
              <a:gd name="connsiteY62" fmla="*/ 4457700 h 4496940"/>
              <a:gd name="connsiteX63" fmla="*/ 2583202 w 4519987"/>
              <a:gd name="connsiteY63" fmla="*/ 4467225 h 4496940"/>
              <a:gd name="connsiteX64" fmla="*/ 2545102 w 4519987"/>
              <a:gd name="connsiteY64" fmla="*/ 4486275 h 4496940"/>
              <a:gd name="connsiteX65" fmla="*/ 2306977 w 4519987"/>
              <a:gd name="connsiteY65" fmla="*/ 4476750 h 4496940"/>
              <a:gd name="connsiteX66" fmla="*/ 2202202 w 4519987"/>
              <a:gd name="connsiteY66" fmla="*/ 4457700 h 4496940"/>
              <a:gd name="connsiteX67" fmla="*/ 2126002 w 4519987"/>
              <a:gd name="connsiteY67" fmla="*/ 4429125 h 4496940"/>
              <a:gd name="connsiteX68" fmla="*/ 1935502 w 4519987"/>
              <a:gd name="connsiteY68" fmla="*/ 4400550 h 4496940"/>
              <a:gd name="connsiteX69" fmla="*/ 1821202 w 4519987"/>
              <a:gd name="connsiteY69" fmla="*/ 4371975 h 4496940"/>
              <a:gd name="connsiteX70" fmla="*/ 1754527 w 4519987"/>
              <a:gd name="connsiteY70" fmla="*/ 4352925 h 4496940"/>
              <a:gd name="connsiteX71" fmla="*/ 1687852 w 4519987"/>
              <a:gd name="connsiteY71" fmla="*/ 4343400 h 4496940"/>
              <a:gd name="connsiteX72" fmla="*/ 1573552 w 4519987"/>
              <a:gd name="connsiteY72" fmla="*/ 4305300 h 4496940"/>
              <a:gd name="connsiteX73" fmla="*/ 1402102 w 4519987"/>
              <a:gd name="connsiteY73" fmla="*/ 4276725 h 4496940"/>
              <a:gd name="connsiteX74" fmla="*/ 1287802 w 4519987"/>
              <a:gd name="connsiteY74" fmla="*/ 4229100 h 4496940"/>
              <a:gd name="connsiteX75" fmla="*/ 1221127 w 4519987"/>
              <a:gd name="connsiteY75" fmla="*/ 4200525 h 4496940"/>
              <a:gd name="connsiteX76" fmla="*/ 1144927 w 4519987"/>
              <a:gd name="connsiteY76" fmla="*/ 4171950 h 4496940"/>
              <a:gd name="connsiteX77" fmla="*/ 1087777 w 4519987"/>
              <a:gd name="connsiteY77" fmla="*/ 4143375 h 4496940"/>
              <a:gd name="connsiteX78" fmla="*/ 1030627 w 4519987"/>
              <a:gd name="connsiteY78" fmla="*/ 4124325 h 4496940"/>
              <a:gd name="connsiteX79" fmla="*/ 925852 w 4519987"/>
              <a:gd name="connsiteY79" fmla="*/ 4067175 h 4496940"/>
              <a:gd name="connsiteX80" fmla="*/ 830602 w 4519987"/>
              <a:gd name="connsiteY80" fmla="*/ 3981450 h 4496940"/>
              <a:gd name="connsiteX81" fmla="*/ 763927 w 4519987"/>
              <a:gd name="connsiteY81" fmla="*/ 3914775 h 4496940"/>
              <a:gd name="connsiteX82" fmla="*/ 725827 w 4519987"/>
              <a:gd name="connsiteY82" fmla="*/ 3876675 h 4496940"/>
              <a:gd name="connsiteX83" fmla="*/ 697252 w 4519987"/>
              <a:gd name="connsiteY83" fmla="*/ 3838575 h 4496940"/>
              <a:gd name="connsiteX84" fmla="*/ 640102 w 4519987"/>
              <a:gd name="connsiteY84" fmla="*/ 3781425 h 4496940"/>
              <a:gd name="connsiteX85" fmla="*/ 611527 w 4519987"/>
              <a:gd name="connsiteY85" fmla="*/ 3733800 h 4496940"/>
              <a:gd name="connsiteX86" fmla="*/ 554377 w 4519987"/>
              <a:gd name="connsiteY86" fmla="*/ 3657600 h 4496940"/>
              <a:gd name="connsiteX87" fmla="*/ 525802 w 4519987"/>
              <a:gd name="connsiteY87" fmla="*/ 3609975 h 4496940"/>
              <a:gd name="connsiteX88" fmla="*/ 497227 w 4519987"/>
              <a:gd name="connsiteY88" fmla="*/ 3552825 h 4496940"/>
              <a:gd name="connsiteX89" fmla="*/ 440077 w 4519987"/>
              <a:gd name="connsiteY89" fmla="*/ 3495675 h 4496940"/>
              <a:gd name="connsiteX90" fmla="*/ 411502 w 4519987"/>
              <a:gd name="connsiteY90" fmla="*/ 3448050 h 4496940"/>
              <a:gd name="connsiteX91" fmla="*/ 278152 w 4519987"/>
              <a:gd name="connsiteY91" fmla="*/ 3257550 h 4496940"/>
              <a:gd name="connsiteX92" fmla="*/ 249577 w 4519987"/>
              <a:gd name="connsiteY92" fmla="*/ 3200400 h 4496940"/>
              <a:gd name="connsiteX93" fmla="*/ 240052 w 4519987"/>
              <a:gd name="connsiteY93" fmla="*/ 3162300 h 4496940"/>
              <a:gd name="connsiteX94" fmla="*/ 221002 w 4519987"/>
              <a:gd name="connsiteY94" fmla="*/ 3105150 h 4496940"/>
              <a:gd name="connsiteX95" fmla="*/ 173377 w 4519987"/>
              <a:gd name="connsiteY95" fmla="*/ 3019425 h 4496940"/>
              <a:gd name="connsiteX96" fmla="*/ 144802 w 4519987"/>
              <a:gd name="connsiteY96" fmla="*/ 2924175 h 4496940"/>
              <a:gd name="connsiteX97" fmla="*/ 68602 w 4519987"/>
              <a:gd name="connsiteY97" fmla="*/ 2724150 h 4496940"/>
              <a:gd name="connsiteX98" fmla="*/ 49552 w 4519987"/>
              <a:gd name="connsiteY98" fmla="*/ 2638425 h 4496940"/>
              <a:gd name="connsiteX99" fmla="*/ 40027 w 4519987"/>
              <a:gd name="connsiteY99" fmla="*/ 2562225 h 4496940"/>
              <a:gd name="connsiteX100" fmla="*/ 30502 w 4519987"/>
              <a:gd name="connsiteY100" fmla="*/ 2514600 h 4496940"/>
              <a:gd name="connsiteX101" fmla="*/ 11452 w 4519987"/>
              <a:gd name="connsiteY101" fmla="*/ 2400300 h 4496940"/>
              <a:gd name="connsiteX102" fmla="*/ 20977 w 4519987"/>
              <a:gd name="connsiteY102" fmla="*/ 1905000 h 4496940"/>
              <a:gd name="connsiteX103" fmla="*/ 30502 w 4519987"/>
              <a:gd name="connsiteY103" fmla="*/ 1838325 h 4496940"/>
              <a:gd name="connsiteX104" fmla="*/ 49552 w 4519987"/>
              <a:gd name="connsiteY104" fmla="*/ 1781175 h 4496940"/>
              <a:gd name="connsiteX105" fmla="*/ 59077 w 4519987"/>
              <a:gd name="connsiteY105" fmla="*/ 1743075 h 4496940"/>
              <a:gd name="connsiteX106" fmla="*/ 78127 w 4519987"/>
              <a:gd name="connsiteY106" fmla="*/ 1685925 h 4496940"/>
              <a:gd name="connsiteX107" fmla="*/ 87652 w 4519987"/>
              <a:gd name="connsiteY107" fmla="*/ 1638300 h 4496940"/>
              <a:gd name="connsiteX108" fmla="*/ 106702 w 4519987"/>
              <a:gd name="connsiteY108" fmla="*/ 1590675 h 4496940"/>
              <a:gd name="connsiteX109" fmla="*/ 135277 w 4519987"/>
              <a:gd name="connsiteY109" fmla="*/ 1504950 h 4496940"/>
              <a:gd name="connsiteX110" fmla="*/ 154327 w 4519987"/>
              <a:gd name="connsiteY110" fmla="*/ 1419225 h 4496940"/>
              <a:gd name="connsiteX111" fmla="*/ 230527 w 4519987"/>
              <a:gd name="connsiteY111" fmla="*/ 1276350 h 4496940"/>
              <a:gd name="connsiteX112" fmla="*/ 240052 w 4519987"/>
              <a:gd name="connsiteY112" fmla="*/ 1247775 h 4496940"/>
              <a:gd name="connsiteX113" fmla="*/ 268627 w 4519987"/>
              <a:gd name="connsiteY113" fmla="*/ 1200150 h 4496940"/>
              <a:gd name="connsiteX114" fmla="*/ 287677 w 4519987"/>
              <a:gd name="connsiteY114" fmla="*/ 1152525 h 4496940"/>
              <a:gd name="connsiteX115" fmla="*/ 316252 w 4519987"/>
              <a:gd name="connsiteY115" fmla="*/ 1114425 h 4496940"/>
              <a:gd name="connsiteX116" fmla="*/ 363877 w 4519987"/>
              <a:gd name="connsiteY116" fmla="*/ 1038225 h 4496940"/>
              <a:gd name="connsiteX117" fmla="*/ 382927 w 4519987"/>
              <a:gd name="connsiteY117" fmla="*/ 1009650 h 4496940"/>
              <a:gd name="connsiteX118" fmla="*/ 440077 w 4519987"/>
              <a:gd name="connsiteY118" fmla="*/ 904875 h 4496940"/>
              <a:gd name="connsiteX119" fmla="*/ 478177 w 4519987"/>
              <a:gd name="connsiteY119" fmla="*/ 857250 h 4496940"/>
              <a:gd name="connsiteX120" fmla="*/ 497227 w 4519987"/>
              <a:gd name="connsiteY120" fmla="*/ 828675 h 4496940"/>
              <a:gd name="connsiteX121" fmla="*/ 535327 w 4519987"/>
              <a:gd name="connsiteY121" fmla="*/ 800100 h 4496940"/>
              <a:gd name="connsiteX122" fmla="*/ 602002 w 4519987"/>
              <a:gd name="connsiteY122" fmla="*/ 733425 h 4496940"/>
              <a:gd name="connsiteX123" fmla="*/ 668677 w 4519987"/>
              <a:gd name="connsiteY123" fmla="*/ 676275 h 4496940"/>
              <a:gd name="connsiteX124" fmla="*/ 697252 w 4519987"/>
              <a:gd name="connsiteY124" fmla="*/ 657225 h 4496940"/>
              <a:gd name="connsiteX125" fmla="*/ 840127 w 4519987"/>
              <a:gd name="connsiteY125" fmla="*/ 533400 h 4496940"/>
              <a:gd name="connsiteX126" fmla="*/ 887752 w 4519987"/>
              <a:gd name="connsiteY126" fmla="*/ 504825 h 4496940"/>
              <a:gd name="connsiteX127" fmla="*/ 1167152 w 4519987"/>
              <a:gd name="connsiteY127" fmla="*/ 311150 h 4496940"/>
              <a:gd name="connsiteX128" fmla="*/ 1268752 w 4519987"/>
              <a:gd name="connsiteY128" fmla="*/ 285750 h 4496940"/>
              <a:gd name="connsiteX129" fmla="*/ 1411627 w 4519987"/>
              <a:gd name="connsiteY129" fmla="*/ 190500 h 4496940"/>
              <a:gd name="connsiteX130" fmla="*/ 1449727 w 4519987"/>
              <a:gd name="connsiteY130" fmla="*/ 161925 h 4496940"/>
              <a:gd name="connsiteX131" fmla="*/ 1525927 w 4519987"/>
              <a:gd name="connsiteY131" fmla="*/ 152400 h 4496940"/>
              <a:gd name="connsiteX132" fmla="*/ 1583077 w 4519987"/>
              <a:gd name="connsiteY132" fmla="*/ 142875 h 4496940"/>
              <a:gd name="connsiteX133" fmla="*/ 1716427 w 4519987"/>
              <a:gd name="connsiteY133" fmla="*/ 123825 h 4496940"/>
              <a:gd name="connsiteX134" fmla="*/ 1811677 w 4519987"/>
              <a:gd name="connsiteY134" fmla="*/ 114300 h 4496940"/>
              <a:gd name="connsiteX135" fmla="*/ 1859302 w 4519987"/>
              <a:gd name="connsiteY135" fmla="*/ 104775 h 4496940"/>
              <a:gd name="connsiteX136" fmla="*/ 1916452 w 4519987"/>
              <a:gd name="connsiteY136" fmla="*/ 95250 h 4496940"/>
              <a:gd name="connsiteX137" fmla="*/ 2030752 w 4519987"/>
              <a:gd name="connsiteY137" fmla="*/ 66675 h 4496940"/>
              <a:gd name="connsiteX138" fmla="*/ 2097427 w 4519987"/>
              <a:gd name="connsiteY138" fmla="*/ 47625 h 4496940"/>
              <a:gd name="connsiteX139" fmla="*/ 2164102 w 4519987"/>
              <a:gd name="connsiteY139" fmla="*/ 38100 h 4496940"/>
              <a:gd name="connsiteX140" fmla="*/ 2392702 w 4519987"/>
              <a:gd name="connsiteY14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183402 w 4519987"/>
              <a:gd name="connsiteY34" fmla="*/ 3400425 h 4496940"/>
              <a:gd name="connsiteX35" fmla="*/ 4088152 w 4519987"/>
              <a:gd name="connsiteY35" fmla="*/ 3495675 h 4496940"/>
              <a:gd name="connsiteX36" fmla="*/ 4059577 w 4519987"/>
              <a:gd name="connsiteY36" fmla="*/ 3533775 h 4496940"/>
              <a:gd name="connsiteX37" fmla="*/ 4002427 w 4519987"/>
              <a:gd name="connsiteY37" fmla="*/ 3600450 h 4496940"/>
              <a:gd name="connsiteX38" fmla="*/ 3983377 w 4519987"/>
              <a:gd name="connsiteY38" fmla="*/ 3629025 h 4496940"/>
              <a:gd name="connsiteX39" fmla="*/ 3954802 w 4519987"/>
              <a:gd name="connsiteY39" fmla="*/ 3648075 h 4496940"/>
              <a:gd name="connsiteX40" fmla="*/ 3907177 w 4519987"/>
              <a:gd name="connsiteY40" fmla="*/ 3686175 h 4496940"/>
              <a:gd name="connsiteX41" fmla="*/ 3869077 w 4519987"/>
              <a:gd name="connsiteY41" fmla="*/ 3724275 h 4496940"/>
              <a:gd name="connsiteX42" fmla="*/ 3792877 w 4519987"/>
              <a:gd name="connsiteY42" fmla="*/ 3781425 h 4496940"/>
              <a:gd name="connsiteX43" fmla="*/ 3783352 w 4519987"/>
              <a:gd name="connsiteY43" fmla="*/ 3810000 h 4496940"/>
              <a:gd name="connsiteX44" fmla="*/ 3745252 w 4519987"/>
              <a:gd name="connsiteY44" fmla="*/ 3819525 h 4496940"/>
              <a:gd name="connsiteX45" fmla="*/ 3678577 w 4519987"/>
              <a:gd name="connsiteY45" fmla="*/ 3848100 h 4496940"/>
              <a:gd name="connsiteX46" fmla="*/ 3659527 w 4519987"/>
              <a:gd name="connsiteY46" fmla="*/ 3971925 h 4496940"/>
              <a:gd name="connsiteX47" fmla="*/ 3630952 w 4519987"/>
              <a:gd name="connsiteY47" fmla="*/ 4010025 h 4496940"/>
              <a:gd name="connsiteX48" fmla="*/ 3621427 w 4519987"/>
              <a:gd name="connsiteY48" fmla="*/ 4038600 h 4496940"/>
              <a:gd name="connsiteX49" fmla="*/ 3554752 w 4519987"/>
              <a:gd name="connsiteY49" fmla="*/ 4095750 h 4496940"/>
              <a:gd name="connsiteX50" fmla="*/ 3516652 w 4519987"/>
              <a:gd name="connsiteY50" fmla="*/ 4114800 h 4496940"/>
              <a:gd name="connsiteX51" fmla="*/ 3497602 w 4519987"/>
              <a:gd name="connsiteY51" fmla="*/ 4143375 h 4496940"/>
              <a:gd name="connsiteX52" fmla="*/ 3383302 w 4519987"/>
              <a:gd name="connsiteY52" fmla="*/ 4210050 h 4496940"/>
              <a:gd name="connsiteX53" fmla="*/ 3335677 w 4519987"/>
              <a:gd name="connsiteY53" fmla="*/ 4238625 h 4496940"/>
              <a:gd name="connsiteX54" fmla="*/ 3288052 w 4519987"/>
              <a:gd name="connsiteY54" fmla="*/ 4248150 h 4496940"/>
              <a:gd name="connsiteX55" fmla="*/ 3240427 w 4519987"/>
              <a:gd name="connsiteY55" fmla="*/ 4267200 h 4496940"/>
              <a:gd name="connsiteX56" fmla="*/ 3068977 w 4519987"/>
              <a:gd name="connsiteY56" fmla="*/ 4286250 h 4496940"/>
              <a:gd name="connsiteX57" fmla="*/ 2935627 w 4519987"/>
              <a:gd name="connsiteY57" fmla="*/ 4333875 h 4496940"/>
              <a:gd name="connsiteX58" fmla="*/ 2811802 w 4519987"/>
              <a:gd name="connsiteY58" fmla="*/ 4371975 h 4496940"/>
              <a:gd name="connsiteX59" fmla="*/ 2745127 w 4519987"/>
              <a:gd name="connsiteY59" fmla="*/ 4410075 h 4496940"/>
              <a:gd name="connsiteX60" fmla="*/ 2697502 w 4519987"/>
              <a:gd name="connsiteY60" fmla="*/ 4429125 h 4496940"/>
              <a:gd name="connsiteX61" fmla="*/ 2640352 w 4519987"/>
              <a:gd name="connsiteY61" fmla="*/ 4457700 h 4496940"/>
              <a:gd name="connsiteX62" fmla="*/ 2583202 w 4519987"/>
              <a:gd name="connsiteY62" fmla="*/ 4467225 h 4496940"/>
              <a:gd name="connsiteX63" fmla="*/ 2545102 w 4519987"/>
              <a:gd name="connsiteY63" fmla="*/ 4486275 h 4496940"/>
              <a:gd name="connsiteX64" fmla="*/ 2306977 w 4519987"/>
              <a:gd name="connsiteY64" fmla="*/ 4476750 h 4496940"/>
              <a:gd name="connsiteX65" fmla="*/ 2202202 w 4519987"/>
              <a:gd name="connsiteY65" fmla="*/ 4457700 h 4496940"/>
              <a:gd name="connsiteX66" fmla="*/ 2126002 w 4519987"/>
              <a:gd name="connsiteY66" fmla="*/ 4429125 h 4496940"/>
              <a:gd name="connsiteX67" fmla="*/ 1935502 w 4519987"/>
              <a:gd name="connsiteY67" fmla="*/ 4400550 h 4496940"/>
              <a:gd name="connsiteX68" fmla="*/ 1821202 w 4519987"/>
              <a:gd name="connsiteY68" fmla="*/ 4371975 h 4496940"/>
              <a:gd name="connsiteX69" fmla="*/ 1754527 w 4519987"/>
              <a:gd name="connsiteY69" fmla="*/ 4352925 h 4496940"/>
              <a:gd name="connsiteX70" fmla="*/ 1687852 w 4519987"/>
              <a:gd name="connsiteY70" fmla="*/ 4343400 h 4496940"/>
              <a:gd name="connsiteX71" fmla="*/ 1573552 w 4519987"/>
              <a:gd name="connsiteY71" fmla="*/ 4305300 h 4496940"/>
              <a:gd name="connsiteX72" fmla="*/ 1402102 w 4519987"/>
              <a:gd name="connsiteY72" fmla="*/ 4276725 h 4496940"/>
              <a:gd name="connsiteX73" fmla="*/ 1287802 w 4519987"/>
              <a:gd name="connsiteY73" fmla="*/ 4229100 h 4496940"/>
              <a:gd name="connsiteX74" fmla="*/ 1221127 w 4519987"/>
              <a:gd name="connsiteY74" fmla="*/ 4200525 h 4496940"/>
              <a:gd name="connsiteX75" fmla="*/ 1144927 w 4519987"/>
              <a:gd name="connsiteY75" fmla="*/ 4171950 h 4496940"/>
              <a:gd name="connsiteX76" fmla="*/ 1087777 w 4519987"/>
              <a:gd name="connsiteY76" fmla="*/ 4143375 h 4496940"/>
              <a:gd name="connsiteX77" fmla="*/ 1030627 w 4519987"/>
              <a:gd name="connsiteY77" fmla="*/ 4124325 h 4496940"/>
              <a:gd name="connsiteX78" fmla="*/ 925852 w 4519987"/>
              <a:gd name="connsiteY78" fmla="*/ 4067175 h 4496940"/>
              <a:gd name="connsiteX79" fmla="*/ 830602 w 4519987"/>
              <a:gd name="connsiteY79" fmla="*/ 3981450 h 4496940"/>
              <a:gd name="connsiteX80" fmla="*/ 763927 w 4519987"/>
              <a:gd name="connsiteY80" fmla="*/ 3914775 h 4496940"/>
              <a:gd name="connsiteX81" fmla="*/ 725827 w 4519987"/>
              <a:gd name="connsiteY81" fmla="*/ 3876675 h 4496940"/>
              <a:gd name="connsiteX82" fmla="*/ 697252 w 4519987"/>
              <a:gd name="connsiteY82" fmla="*/ 3838575 h 4496940"/>
              <a:gd name="connsiteX83" fmla="*/ 640102 w 4519987"/>
              <a:gd name="connsiteY83" fmla="*/ 3781425 h 4496940"/>
              <a:gd name="connsiteX84" fmla="*/ 611527 w 4519987"/>
              <a:gd name="connsiteY84" fmla="*/ 3733800 h 4496940"/>
              <a:gd name="connsiteX85" fmla="*/ 554377 w 4519987"/>
              <a:gd name="connsiteY85" fmla="*/ 3657600 h 4496940"/>
              <a:gd name="connsiteX86" fmla="*/ 525802 w 4519987"/>
              <a:gd name="connsiteY86" fmla="*/ 3609975 h 4496940"/>
              <a:gd name="connsiteX87" fmla="*/ 497227 w 4519987"/>
              <a:gd name="connsiteY87" fmla="*/ 3552825 h 4496940"/>
              <a:gd name="connsiteX88" fmla="*/ 440077 w 4519987"/>
              <a:gd name="connsiteY88" fmla="*/ 3495675 h 4496940"/>
              <a:gd name="connsiteX89" fmla="*/ 411502 w 4519987"/>
              <a:gd name="connsiteY89" fmla="*/ 3448050 h 4496940"/>
              <a:gd name="connsiteX90" fmla="*/ 278152 w 4519987"/>
              <a:gd name="connsiteY90" fmla="*/ 3257550 h 4496940"/>
              <a:gd name="connsiteX91" fmla="*/ 249577 w 4519987"/>
              <a:gd name="connsiteY91" fmla="*/ 3200400 h 4496940"/>
              <a:gd name="connsiteX92" fmla="*/ 240052 w 4519987"/>
              <a:gd name="connsiteY92" fmla="*/ 3162300 h 4496940"/>
              <a:gd name="connsiteX93" fmla="*/ 221002 w 4519987"/>
              <a:gd name="connsiteY93" fmla="*/ 3105150 h 4496940"/>
              <a:gd name="connsiteX94" fmla="*/ 173377 w 4519987"/>
              <a:gd name="connsiteY94" fmla="*/ 3019425 h 4496940"/>
              <a:gd name="connsiteX95" fmla="*/ 144802 w 4519987"/>
              <a:gd name="connsiteY95" fmla="*/ 2924175 h 4496940"/>
              <a:gd name="connsiteX96" fmla="*/ 68602 w 4519987"/>
              <a:gd name="connsiteY96" fmla="*/ 2724150 h 4496940"/>
              <a:gd name="connsiteX97" fmla="*/ 49552 w 4519987"/>
              <a:gd name="connsiteY97" fmla="*/ 2638425 h 4496940"/>
              <a:gd name="connsiteX98" fmla="*/ 40027 w 4519987"/>
              <a:gd name="connsiteY98" fmla="*/ 2562225 h 4496940"/>
              <a:gd name="connsiteX99" fmla="*/ 30502 w 4519987"/>
              <a:gd name="connsiteY99" fmla="*/ 2514600 h 4496940"/>
              <a:gd name="connsiteX100" fmla="*/ 11452 w 4519987"/>
              <a:gd name="connsiteY100" fmla="*/ 2400300 h 4496940"/>
              <a:gd name="connsiteX101" fmla="*/ 20977 w 4519987"/>
              <a:gd name="connsiteY101" fmla="*/ 1905000 h 4496940"/>
              <a:gd name="connsiteX102" fmla="*/ 30502 w 4519987"/>
              <a:gd name="connsiteY102" fmla="*/ 1838325 h 4496940"/>
              <a:gd name="connsiteX103" fmla="*/ 49552 w 4519987"/>
              <a:gd name="connsiteY103" fmla="*/ 1781175 h 4496940"/>
              <a:gd name="connsiteX104" fmla="*/ 59077 w 4519987"/>
              <a:gd name="connsiteY104" fmla="*/ 1743075 h 4496940"/>
              <a:gd name="connsiteX105" fmla="*/ 78127 w 4519987"/>
              <a:gd name="connsiteY105" fmla="*/ 1685925 h 4496940"/>
              <a:gd name="connsiteX106" fmla="*/ 87652 w 4519987"/>
              <a:gd name="connsiteY106" fmla="*/ 1638300 h 4496940"/>
              <a:gd name="connsiteX107" fmla="*/ 106702 w 4519987"/>
              <a:gd name="connsiteY107" fmla="*/ 1590675 h 4496940"/>
              <a:gd name="connsiteX108" fmla="*/ 135277 w 4519987"/>
              <a:gd name="connsiteY108" fmla="*/ 1504950 h 4496940"/>
              <a:gd name="connsiteX109" fmla="*/ 154327 w 4519987"/>
              <a:gd name="connsiteY109" fmla="*/ 1419225 h 4496940"/>
              <a:gd name="connsiteX110" fmla="*/ 230527 w 4519987"/>
              <a:gd name="connsiteY110" fmla="*/ 1276350 h 4496940"/>
              <a:gd name="connsiteX111" fmla="*/ 240052 w 4519987"/>
              <a:gd name="connsiteY111" fmla="*/ 1247775 h 4496940"/>
              <a:gd name="connsiteX112" fmla="*/ 268627 w 4519987"/>
              <a:gd name="connsiteY112" fmla="*/ 1200150 h 4496940"/>
              <a:gd name="connsiteX113" fmla="*/ 287677 w 4519987"/>
              <a:gd name="connsiteY113" fmla="*/ 1152525 h 4496940"/>
              <a:gd name="connsiteX114" fmla="*/ 316252 w 4519987"/>
              <a:gd name="connsiteY114" fmla="*/ 1114425 h 4496940"/>
              <a:gd name="connsiteX115" fmla="*/ 363877 w 4519987"/>
              <a:gd name="connsiteY115" fmla="*/ 1038225 h 4496940"/>
              <a:gd name="connsiteX116" fmla="*/ 382927 w 4519987"/>
              <a:gd name="connsiteY116" fmla="*/ 1009650 h 4496940"/>
              <a:gd name="connsiteX117" fmla="*/ 440077 w 4519987"/>
              <a:gd name="connsiteY117" fmla="*/ 904875 h 4496940"/>
              <a:gd name="connsiteX118" fmla="*/ 478177 w 4519987"/>
              <a:gd name="connsiteY118" fmla="*/ 857250 h 4496940"/>
              <a:gd name="connsiteX119" fmla="*/ 497227 w 4519987"/>
              <a:gd name="connsiteY119" fmla="*/ 828675 h 4496940"/>
              <a:gd name="connsiteX120" fmla="*/ 535327 w 4519987"/>
              <a:gd name="connsiteY120" fmla="*/ 800100 h 4496940"/>
              <a:gd name="connsiteX121" fmla="*/ 602002 w 4519987"/>
              <a:gd name="connsiteY121" fmla="*/ 733425 h 4496940"/>
              <a:gd name="connsiteX122" fmla="*/ 668677 w 4519987"/>
              <a:gd name="connsiteY122" fmla="*/ 676275 h 4496940"/>
              <a:gd name="connsiteX123" fmla="*/ 697252 w 4519987"/>
              <a:gd name="connsiteY123" fmla="*/ 657225 h 4496940"/>
              <a:gd name="connsiteX124" fmla="*/ 840127 w 4519987"/>
              <a:gd name="connsiteY124" fmla="*/ 533400 h 4496940"/>
              <a:gd name="connsiteX125" fmla="*/ 887752 w 4519987"/>
              <a:gd name="connsiteY125" fmla="*/ 504825 h 4496940"/>
              <a:gd name="connsiteX126" fmla="*/ 1167152 w 4519987"/>
              <a:gd name="connsiteY126" fmla="*/ 311150 h 4496940"/>
              <a:gd name="connsiteX127" fmla="*/ 1268752 w 4519987"/>
              <a:gd name="connsiteY127" fmla="*/ 285750 h 4496940"/>
              <a:gd name="connsiteX128" fmla="*/ 1411627 w 4519987"/>
              <a:gd name="connsiteY128" fmla="*/ 190500 h 4496940"/>
              <a:gd name="connsiteX129" fmla="*/ 1449727 w 4519987"/>
              <a:gd name="connsiteY129" fmla="*/ 161925 h 4496940"/>
              <a:gd name="connsiteX130" fmla="*/ 1525927 w 4519987"/>
              <a:gd name="connsiteY130" fmla="*/ 152400 h 4496940"/>
              <a:gd name="connsiteX131" fmla="*/ 1583077 w 4519987"/>
              <a:gd name="connsiteY131" fmla="*/ 142875 h 4496940"/>
              <a:gd name="connsiteX132" fmla="*/ 1716427 w 4519987"/>
              <a:gd name="connsiteY132" fmla="*/ 123825 h 4496940"/>
              <a:gd name="connsiteX133" fmla="*/ 1811677 w 4519987"/>
              <a:gd name="connsiteY133" fmla="*/ 114300 h 4496940"/>
              <a:gd name="connsiteX134" fmla="*/ 1859302 w 4519987"/>
              <a:gd name="connsiteY134" fmla="*/ 104775 h 4496940"/>
              <a:gd name="connsiteX135" fmla="*/ 1916452 w 4519987"/>
              <a:gd name="connsiteY135" fmla="*/ 95250 h 4496940"/>
              <a:gd name="connsiteX136" fmla="*/ 2030752 w 4519987"/>
              <a:gd name="connsiteY136" fmla="*/ 66675 h 4496940"/>
              <a:gd name="connsiteX137" fmla="*/ 2097427 w 4519987"/>
              <a:gd name="connsiteY137" fmla="*/ 47625 h 4496940"/>
              <a:gd name="connsiteX138" fmla="*/ 2164102 w 4519987"/>
              <a:gd name="connsiteY138" fmla="*/ 38100 h 4496940"/>
              <a:gd name="connsiteX139" fmla="*/ 2392702 w 4519987"/>
              <a:gd name="connsiteY13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83377 w 4519987"/>
              <a:gd name="connsiteY37" fmla="*/ 3629025 h 4496940"/>
              <a:gd name="connsiteX38" fmla="*/ 3954802 w 4519987"/>
              <a:gd name="connsiteY38" fmla="*/ 3648075 h 4496940"/>
              <a:gd name="connsiteX39" fmla="*/ 3907177 w 4519987"/>
              <a:gd name="connsiteY39" fmla="*/ 3686175 h 4496940"/>
              <a:gd name="connsiteX40" fmla="*/ 3869077 w 4519987"/>
              <a:gd name="connsiteY40" fmla="*/ 3724275 h 4496940"/>
              <a:gd name="connsiteX41" fmla="*/ 3792877 w 4519987"/>
              <a:gd name="connsiteY41" fmla="*/ 3781425 h 4496940"/>
              <a:gd name="connsiteX42" fmla="*/ 3783352 w 4519987"/>
              <a:gd name="connsiteY42" fmla="*/ 3810000 h 4496940"/>
              <a:gd name="connsiteX43" fmla="*/ 3745252 w 4519987"/>
              <a:gd name="connsiteY43" fmla="*/ 3819525 h 4496940"/>
              <a:gd name="connsiteX44" fmla="*/ 3678577 w 4519987"/>
              <a:gd name="connsiteY44" fmla="*/ 3848100 h 4496940"/>
              <a:gd name="connsiteX45" fmla="*/ 3659527 w 4519987"/>
              <a:gd name="connsiteY45" fmla="*/ 3971925 h 4496940"/>
              <a:gd name="connsiteX46" fmla="*/ 3630952 w 4519987"/>
              <a:gd name="connsiteY46" fmla="*/ 4010025 h 4496940"/>
              <a:gd name="connsiteX47" fmla="*/ 3621427 w 4519987"/>
              <a:gd name="connsiteY47" fmla="*/ 4038600 h 4496940"/>
              <a:gd name="connsiteX48" fmla="*/ 3554752 w 4519987"/>
              <a:gd name="connsiteY48" fmla="*/ 4095750 h 4496940"/>
              <a:gd name="connsiteX49" fmla="*/ 3516652 w 4519987"/>
              <a:gd name="connsiteY49" fmla="*/ 4114800 h 4496940"/>
              <a:gd name="connsiteX50" fmla="*/ 3497602 w 4519987"/>
              <a:gd name="connsiteY50" fmla="*/ 4143375 h 4496940"/>
              <a:gd name="connsiteX51" fmla="*/ 3383302 w 4519987"/>
              <a:gd name="connsiteY51" fmla="*/ 4210050 h 4496940"/>
              <a:gd name="connsiteX52" fmla="*/ 3335677 w 4519987"/>
              <a:gd name="connsiteY52" fmla="*/ 4238625 h 4496940"/>
              <a:gd name="connsiteX53" fmla="*/ 3288052 w 4519987"/>
              <a:gd name="connsiteY53" fmla="*/ 4248150 h 4496940"/>
              <a:gd name="connsiteX54" fmla="*/ 3240427 w 4519987"/>
              <a:gd name="connsiteY54" fmla="*/ 4267200 h 4496940"/>
              <a:gd name="connsiteX55" fmla="*/ 3068977 w 4519987"/>
              <a:gd name="connsiteY55" fmla="*/ 4286250 h 4496940"/>
              <a:gd name="connsiteX56" fmla="*/ 2935627 w 4519987"/>
              <a:gd name="connsiteY56" fmla="*/ 4333875 h 4496940"/>
              <a:gd name="connsiteX57" fmla="*/ 2811802 w 4519987"/>
              <a:gd name="connsiteY57" fmla="*/ 4371975 h 4496940"/>
              <a:gd name="connsiteX58" fmla="*/ 2745127 w 4519987"/>
              <a:gd name="connsiteY58" fmla="*/ 4410075 h 4496940"/>
              <a:gd name="connsiteX59" fmla="*/ 2697502 w 4519987"/>
              <a:gd name="connsiteY59" fmla="*/ 4429125 h 4496940"/>
              <a:gd name="connsiteX60" fmla="*/ 2640352 w 4519987"/>
              <a:gd name="connsiteY60" fmla="*/ 4457700 h 4496940"/>
              <a:gd name="connsiteX61" fmla="*/ 2583202 w 4519987"/>
              <a:gd name="connsiteY61" fmla="*/ 4467225 h 4496940"/>
              <a:gd name="connsiteX62" fmla="*/ 2545102 w 4519987"/>
              <a:gd name="connsiteY62" fmla="*/ 4486275 h 4496940"/>
              <a:gd name="connsiteX63" fmla="*/ 2306977 w 4519987"/>
              <a:gd name="connsiteY63" fmla="*/ 4476750 h 4496940"/>
              <a:gd name="connsiteX64" fmla="*/ 2202202 w 4519987"/>
              <a:gd name="connsiteY64" fmla="*/ 4457700 h 4496940"/>
              <a:gd name="connsiteX65" fmla="*/ 2126002 w 4519987"/>
              <a:gd name="connsiteY65" fmla="*/ 4429125 h 4496940"/>
              <a:gd name="connsiteX66" fmla="*/ 1935502 w 4519987"/>
              <a:gd name="connsiteY66" fmla="*/ 4400550 h 4496940"/>
              <a:gd name="connsiteX67" fmla="*/ 1821202 w 4519987"/>
              <a:gd name="connsiteY67" fmla="*/ 4371975 h 4496940"/>
              <a:gd name="connsiteX68" fmla="*/ 1754527 w 4519987"/>
              <a:gd name="connsiteY68" fmla="*/ 4352925 h 4496940"/>
              <a:gd name="connsiteX69" fmla="*/ 1687852 w 4519987"/>
              <a:gd name="connsiteY69" fmla="*/ 4343400 h 4496940"/>
              <a:gd name="connsiteX70" fmla="*/ 1573552 w 4519987"/>
              <a:gd name="connsiteY70" fmla="*/ 4305300 h 4496940"/>
              <a:gd name="connsiteX71" fmla="*/ 1402102 w 4519987"/>
              <a:gd name="connsiteY71" fmla="*/ 4276725 h 4496940"/>
              <a:gd name="connsiteX72" fmla="*/ 1287802 w 4519987"/>
              <a:gd name="connsiteY72" fmla="*/ 4229100 h 4496940"/>
              <a:gd name="connsiteX73" fmla="*/ 1221127 w 4519987"/>
              <a:gd name="connsiteY73" fmla="*/ 4200525 h 4496940"/>
              <a:gd name="connsiteX74" fmla="*/ 1144927 w 4519987"/>
              <a:gd name="connsiteY74" fmla="*/ 4171950 h 4496940"/>
              <a:gd name="connsiteX75" fmla="*/ 1087777 w 4519987"/>
              <a:gd name="connsiteY75" fmla="*/ 4143375 h 4496940"/>
              <a:gd name="connsiteX76" fmla="*/ 1030627 w 4519987"/>
              <a:gd name="connsiteY76" fmla="*/ 4124325 h 4496940"/>
              <a:gd name="connsiteX77" fmla="*/ 925852 w 4519987"/>
              <a:gd name="connsiteY77" fmla="*/ 4067175 h 4496940"/>
              <a:gd name="connsiteX78" fmla="*/ 830602 w 4519987"/>
              <a:gd name="connsiteY78" fmla="*/ 3981450 h 4496940"/>
              <a:gd name="connsiteX79" fmla="*/ 763927 w 4519987"/>
              <a:gd name="connsiteY79" fmla="*/ 3914775 h 4496940"/>
              <a:gd name="connsiteX80" fmla="*/ 725827 w 4519987"/>
              <a:gd name="connsiteY80" fmla="*/ 3876675 h 4496940"/>
              <a:gd name="connsiteX81" fmla="*/ 697252 w 4519987"/>
              <a:gd name="connsiteY81" fmla="*/ 3838575 h 4496940"/>
              <a:gd name="connsiteX82" fmla="*/ 640102 w 4519987"/>
              <a:gd name="connsiteY82" fmla="*/ 3781425 h 4496940"/>
              <a:gd name="connsiteX83" fmla="*/ 611527 w 4519987"/>
              <a:gd name="connsiteY83" fmla="*/ 3733800 h 4496940"/>
              <a:gd name="connsiteX84" fmla="*/ 554377 w 4519987"/>
              <a:gd name="connsiteY84" fmla="*/ 3657600 h 4496940"/>
              <a:gd name="connsiteX85" fmla="*/ 525802 w 4519987"/>
              <a:gd name="connsiteY85" fmla="*/ 3609975 h 4496940"/>
              <a:gd name="connsiteX86" fmla="*/ 497227 w 4519987"/>
              <a:gd name="connsiteY86" fmla="*/ 3552825 h 4496940"/>
              <a:gd name="connsiteX87" fmla="*/ 440077 w 4519987"/>
              <a:gd name="connsiteY87" fmla="*/ 3495675 h 4496940"/>
              <a:gd name="connsiteX88" fmla="*/ 411502 w 4519987"/>
              <a:gd name="connsiteY88" fmla="*/ 3448050 h 4496940"/>
              <a:gd name="connsiteX89" fmla="*/ 278152 w 4519987"/>
              <a:gd name="connsiteY89" fmla="*/ 3257550 h 4496940"/>
              <a:gd name="connsiteX90" fmla="*/ 249577 w 4519987"/>
              <a:gd name="connsiteY90" fmla="*/ 3200400 h 4496940"/>
              <a:gd name="connsiteX91" fmla="*/ 240052 w 4519987"/>
              <a:gd name="connsiteY91" fmla="*/ 3162300 h 4496940"/>
              <a:gd name="connsiteX92" fmla="*/ 221002 w 4519987"/>
              <a:gd name="connsiteY92" fmla="*/ 3105150 h 4496940"/>
              <a:gd name="connsiteX93" fmla="*/ 173377 w 4519987"/>
              <a:gd name="connsiteY93" fmla="*/ 3019425 h 4496940"/>
              <a:gd name="connsiteX94" fmla="*/ 144802 w 4519987"/>
              <a:gd name="connsiteY94" fmla="*/ 2924175 h 4496940"/>
              <a:gd name="connsiteX95" fmla="*/ 68602 w 4519987"/>
              <a:gd name="connsiteY95" fmla="*/ 2724150 h 4496940"/>
              <a:gd name="connsiteX96" fmla="*/ 49552 w 4519987"/>
              <a:gd name="connsiteY96" fmla="*/ 2638425 h 4496940"/>
              <a:gd name="connsiteX97" fmla="*/ 40027 w 4519987"/>
              <a:gd name="connsiteY97" fmla="*/ 2562225 h 4496940"/>
              <a:gd name="connsiteX98" fmla="*/ 30502 w 4519987"/>
              <a:gd name="connsiteY98" fmla="*/ 2514600 h 4496940"/>
              <a:gd name="connsiteX99" fmla="*/ 11452 w 4519987"/>
              <a:gd name="connsiteY99" fmla="*/ 2400300 h 4496940"/>
              <a:gd name="connsiteX100" fmla="*/ 20977 w 4519987"/>
              <a:gd name="connsiteY100" fmla="*/ 1905000 h 4496940"/>
              <a:gd name="connsiteX101" fmla="*/ 30502 w 4519987"/>
              <a:gd name="connsiteY101" fmla="*/ 1838325 h 4496940"/>
              <a:gd name="connsiteX102" fmla="*/ 49552 w 4519987"/>
              <a:gd name="connsiteY102" fmla="*/ 1781175 h 4496940"/>
              <a:gd name="connsiteX103" fmla="*/ 59077 w 4519987"/>
              <a:gd name="connsiteY103" fmla="*/ 1743075 h 4496940"/>
              <a:gd name="connsiteX104" fmla="*/ 78127 w 4519987"/>
              <a:gd name="connsiteY104" fmla="*/ 1685925 h 4496940"/>
              <a:gd name="connsiteX105" fmla="*/ 87652 w 4519987"/>
              <a:gd name="connsiteY105" fmla="*/ 1638300 h 4496940"/>
              <a:gd name="connsiteX106" fmla="*/ 106702 w 4519987"/>
              <a:gd name="connsiteY106" fmla="*/ 1590675 h 4496940"/>
              <a:gd name="connsiteX107" fmla="*/ 135277 w 4519987"/>
              <a:gd name="connsiteY107" fmla="*/ 1504950 h 4496940"/>
              <a:gd name="connsiteX108" fmla="*/ 154327 w 4519987"/>
              <a:gd name="connsiteY108" fmla="*/ 1419225 h 4496940"/>
              <a:gd name="connsiteX109" fmla="*/ 230527 w 4519987"/>
              <a:gd name="connsiteY109" fmla="*/ 1276350 h 4496940"/>
              <a:gd name="connsiteX110" fmla="*/ 240052 w 4519987"/>
              <a:gd name="connsiteY110" fmla="*/ 1247775 h 4496940"/>
              <a:gd name="connsiteX111" fmla="*/ 268627 w 4519987"/>
              <a:gd name="connsiteY111" fmla="*/ 1200150 h 4496940"/>
              <a:gd name="connsiteX112" fmla="*/ 287677 w 4519987"/>
              <a:gd name="connsiteY112" fmla="*/ 1152525 h 4496940"/>
              <a:gd name="connsiteX113" fmla="*/ 316252 w 4519987"/>
              <a:gd name="connsiteY113" fmla="*/ 1114425 h 4496940"/>
              <a:gd name="connsiteX114" fmla="*/ 363877 w 4519987"/>
              <a:gd name="connsiteY114" fmla="*/ 1038225 h 4496940"/>
              <a:gd name="connsiteX115" fmla="*/ 382927 w 4519987"/>
              <a:gd name="connsiteY115" fmla="*/ 1009650 h 4496940"/>
              <a:gd name="connsiteX116" fmla="*/ 440077 w 4519987"/>
              <a:gd name="connsiteY116" fmla="*/ 904875 h 4496940"/>
              <a:gd name="connsiteX117" fmla="*/ 478177 w 4519987"/>
              <a:gd name="connsiteY117" fmla="*/ 857250 h 4496940"/>
              <a:gd name="connsiteX118" fmla="*/ 497227 w 4519987"/>
              <a:gd name="connsiteY118" fmla="*/ 828675 h 4496940"/>
              <a:gd name="connsiteX119" fmla="*/ 535327 w 4519987"/>
              <a:gd name="connsiteY119" fmla="*/ 800100 h 4496940"/>
              <a:gd name="connsiteX120" fmla="*/ 602002 w 4519987"/>
              <a:gd name="connsiteY120" fmla="*/ 733425 h 4496940"/>
              <a:gd name="connsiteX121" fmla="*/ 668677 w 4519987"/>
              <a:gd name="connsiteY121" fmla="*/ 676275 h 4496940"/>
              <a:gd name="connsiteX122" fmla="*/ 697252 w 4519987"/>
              <a:gd name="connsiteY122" fmla="*/ 657225 h 4496940"/>
              <a:gd name="connsiteX123" fmla="*/ 840127 w 4519987"/>
              <a:gd name="connsiteY123" fmla="*/ 533400 h 4496940"/>
              <a:gd name="connsiteX124" fmla="*/ 887752 w 4519987"/>
              <a:gd name="connsiteY124" fmla="*/ 504825 h 4496940"/>
              <a:gd name="connsiteX125" fmla="*/ 1167152 w 4519987"/>
              <a:gd name="connsiteY125" fmla="*/ 311150 h 4496940"/>
              <a:gd name="connsiteX126" fmla="*/ 1268752 w 4519987"/>
              <a:gd name="connsiteY126" fmla="*/ 285750 h 4496940"/>
              <a:gd name="connsiteX127" fmla="*/ 1411627 w 4519987"/>
              <a:gd name="connsiteY127" fmla="*/ 190500 h 4496940"/>
              <a:gd name="connsiteX128" fmla="*/ 1449727 w 4519987"/>
              <a:gd name="connsiteY128" fmla="*/ 161925 h 4496940"/>
              <a:gd name="connsiteX129" fmla="*/ 1525927 w 4519987"/>
              <a:gd name="connsiteY129" fmla="*/ 152400 h 4496940"/>
              <a:gd name="connsiteX130" fmla="*/ 1583077 w 4519987"/>
              <a:gd name="connsiteY130" fmla="*/ 142875 h 4496940"/>
              <a:gd name="connsiteX131" fmla="*/ 1716427 w 4519987"/>
              <a:gd name="connsiteY131" fmla="*/ 123825 h 4496940"/>
              <a:gd name="connsiteX132" fmla="*/ 1811677 w 4519987"/>
              <a:gd name="connsiteY132" fmla="*/ 114300 h 4496940"/>
              <a:gd name="connsiteX133" fmla="*/ 1859302 w 4519987"/>
              <a:gd name="connsiteY133" fmla="*/ 104775 h 4496940"/>
              <a:gd name="connsiteX134" fmla="*/ 1916452 w 4519987"/>
              <a:gd name="connsiteY134" fmla="*/ 95250 h 4496940"/>
              <a:gd name="connsiteX135" fmla="*/ 2030752 w 4519987"/>
              <a:gd name="connsiteY135" fmla="*/ 66675 h 4496940"/>
              <a:gd name="connsiteX136" fmla="*/ 2097427 w 4519987"/>
              <a:gd name="connsiteY136" fmla="*/ 47625 h 4496940"/>
              <a:gd name="connsiteX137" fmla="*/ 2164102 w 4519987"/>
              <a:gd name="connsiteY137" fmla="*/ 38100 h 4496940"/>
              <a:gd name="connsiteX138" fmla="*/ 2392702 w 4519987"/>
              <a:gd name="connsiteY13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869077 w 4519987"/>
              <a:gd name="connsiteY39" fmla="*/ 3724275 h 4496940"/>
              <a:gd name="connsiteX40" fmla="*/ 3792877 w 4519987"/>
              <a:gd name="connsiteY40" fmla="*/ 3781425 h 4496940"/>
              <a:gd name="connsiteX41" fmla="*/ 3783352 w 4519987"/>
              <a:gd name="connsiteY41" fmla="*/ 3810000 h 4496940"/>
              <a:gd name="connsiteX42" fmla="*/ 3745252 w 4519987"/>
              <a:gd name="connsiteY42" fmla="*/ 3819525 h 4496940"/>
              <a:gd name="connsiteX43" fmla="*/ 3678577 w 4519987"/>
              <a:gd name="connsiteY43" fmla="*/ 3848100 h 4496940"/>
              <a:gd name="connsiteX44" fmla="*/ 3659527 w 4519987"/>
              <a:gd name="connsiteY44" fmla="*/ 3971925 h 4496940"/>
              <a:gd name="connsiteX45" fmla="*/ 3630952 w 4519987"/>
              <a:gd name="connsiteY45" fmla="*/ 4010025 h 4496940"/>
              <a:gd name="connsiteX46" fmla="*/ 3621427 w 4519987"/>
              <a:gd name="connsiteY46" fmla="*/ 4038600 h 4496940"/>
              <a:gd name="connsiteX47" fmla="*/ 3554752 w 4519987"/>
              <a:gd name="connsiteY47" fmla="*/ 4095750 h 4496940"/>
              <a:gd name="connsiteX48" fmla="*/ 3516652 w 4519987"/>
              <a:gd name="connsiteY48" fmla="*/ 4114800 h 4496940"/>
              <a:gd name="connsiteX49" fmla="*/ 3497602 w 4519987"/>
              <a:gd name="connsiteY49" fmla="*/ 4143375 h 4496940"/>
              <a:gd name="connsiteX50" fmla="*/ 3383302 w 4519987"/>
              <a:gd name="connsiteY50" fmla="*/ 4210050 h 4496940"/>
              <a:gd name="connsiteX51" fmla="*/ 3335677 w 4519987"/>
              <a:gd name="connsiteY51" fmla="*/ 4238625 h 4496940"/>
              <a:gd name="connsiteX52" fmla="*/ 3288052 w 4519987"/>
              <a:gd name="connsiteY52" fmla="*/ 4248150 h 4496940"/>
              <a:gd name="connsiteX53" fmla="*/ 3240427 w 4519987"/>
              <a:gd name="connsiteY53" fmla="*/ 4267200 h 4496940"/>
              <a:gd name="connsiteX54" fmla="*/ 3068977 w 4519987"/>
              <a:gd name="connsiteY54" fmla="*/ 4286250 h 4496940"/>
              <a:gd name="connsiteX55" fmla="*/ 2935627 w 4519987"/>
              <a:gd name="connsiteY55" fmla="*/ 4333875 h 4496940"/>
              <a:gd name="connsiteX56" fmla="*/ 2811802 w 4519987"/>
              <a:gd name="connsiteY56" fmla="*/ 4371975 h 4496940"/>
              <a:gd name="connsiteX57" fmla="*/ 2745127 w 4519987"/>
              <a:gd name="connsiteY57" fmla="*/ 4410075 h 4496940"/>
              <a:gd name="connsiteX58" fmla="*/ 2697502 w 4519987"/>
              <a:gd name="connsiteY58" fmla="*/ 4429125 h 4496940"/>
              <a:gd name="connsiteX59" fmla="*/ 2640352 w 4519987"/>
              <a:gd name="connsiteY59" fmla="*/ 4457700 h 4496940"/>
              <a:gd name="connsiteX60" fmla="*/ 2583202 w 4519987"/>
              <a:gd name="connsiteY60" fmla="*/ 4467225 h 4496940"/>
              <a:gd name="connsiteX61" fmla="*/ 2545102 w 4519987"/>
              <a:gd name="connsiteY61" fmla="*/ 4486275 h 4496940"/>
              <a:gd name="connsiteX62" fmla="*/ 2306977 w 4519987"/>
              <a:gd name="connsiteY62" fmla="*/ 4476750 h 4496940"/>
              <a:gd name="connsiteX63" fmla="*/ 2202202 w 4519987"/>
              <a:gd name="connsiteY63" fmla="*/ 4457700 h 4496940"/>
              <a:gd name="connsiteX64" fmla="*/ 2126002 w 4519987"/>
              <a:gd name="connsiteY64" fmla="*/ 4429125 h 4496940"/>
              <a:gd name="connsiteX65" fmla="*/ 1935502 w 4519987"/>
              <a:gd name="connsiteY65" fmla="*/ 4400550 h 4496940"/>
              <a:gd name="connsiteX66" fmla="*/ 1821202 w 4519987"/>
              <a:gd name="connsiteY66" fmla="*/ 4371975 h 4496940"/>
              <a:gd name="connsiteX67" fmla="*/ 1754527 w 4519987"/>
              <a:gd name="connsiteY67" fmla="*/ 4352925 h 4496940"/>
              <a:gd name="connsiteX68" fmla="*/ 1687852 w 4519987"/>
              <a:gd name="connsiteY68" fmla="*/ 4343400 h 4496940"/>
              <a:gd name="connsiteX69" fmla="*/ 1573552 w 4519987"/>
              <a:gd name="connsiteY69" fmla="*/ 4305300 h 4496940"/>
              <a:gd name="connsiteX70" fmla="*/ 1402102 w 4519987"/>
              <a:gd name="connsiteY70" fmla="*/ 4276725 h 4496940"/>
              <a:gd name="connsiteX71" fmla="*/ 1287802 w 4519987"/>
              <a:gd name="connsiteY71" fmla="*/ 4229100 h 4496940"/>
              <a:gd name="connsiteX72" fmla="*/ 1221127 w 4519987"/>
              <a:gd name="connsiteY72" fmla="*/ 4200525 h 4496940"/>
              <a:gd name="connsiteX73" fmla="*/ 1144927 w 4519987"/>
              <a:gd name="connsiteY73" fmla="*/ 4171950 h 4496940"/>
              <a:gd name="connsiteX74" fmla="*/ 1087777 w 4519987"/>
              <a:gd name="connsiteY74" fmla="*/ 4143375 h 4496940"/>
              <a:gd name="connsiteX75" fmla="*/ 1030627 w 4519987"/>
              <a:gd name="connsiteY75" fmla="*/ 4124325 h 4496940"/>
              <a:gd name="connsiteX76" fmla="*/ 925852 w 4519987"/>
              <a:gd name="connsiteY76" fmla="*/ 4067175 h 4496940"/>
              <a:gd name="connsiteX77" fmla="*/ 830602 w 4519987"/>
              <a:gd name="connsiteY77" fmla="*/ 3981450 h 4496940"/>
              <a:gd name="connsiteX78" fmla="*/ 763927 w 4519987"/>
              <a:gd name="connsiteY78" fmla="*/ 3914775 h 4496940"/>
              <a:gd name="connsiteX79" fmla="*/ 725827 w 4519987"/>
              <a:gd name="connsiteY79" fmla="*/ 3876675 h 4496940"/>
              <a:gd name="connsiteX80" fmla="*/ 697252 w 4519987"/>
              <a:gd name="connsiteY80" fmla="*/ 3838575 h 4496940"/>
              <a:gd name="connsiteX81" fmla="*/ 640102 w 4519987"/>
              <a:gd name="connsiteY81" fmla="*/ 3781425 h 4496940"/>
              <a:gd name="connsiteX82" fmla="*/ 611527 w 4519987"/>
              <a:gd name="connsiteY82" fmla="*/ 3733800 h 4496940"/>
              <a:gd name="connsiteX83" fmla="*/ 554377 w 4519987"/>
              <a:gd name="connsiteY83" fmla="*/ 3657600 h 4496940"/>
              <a:gd name="connsiteX84" fmla="*/ 525802 w 4519987"/>
              <a:gd name="connsiteY84" fmla="*/ 3609975 h 4496940"/>
              <a:gd name="connsiteX85" fmla="*/ 497227 w 4519987"/>
              <a:gd name="connsiteY85" fmla="*/ 3552825 h 4496940"/>
              <a:gd name="connsiteX86" fmla="*/ 440077 w 4519987"/>
              <a:gd name="connsiteY86" fmla="*/ 3495675 h 4496940"/>
              <a:gd name="connsiteX87" fmla="*/ 411502 w 4519987"/>
              <a:gd name="connsiteY87" fmla="*/ 3448050 h 4496940"/>
              <a:gd name="connsiteX88" fmla="*/ 278152 w 4519987"/>
              <a:gd name="connsiteY88" fmla="*/ 3257550 h 4496940"/>
              <a:gd name="connsiteX89" fmla="*/ 249577 w 4519987"/>
              <a:gd name="connsiteY89" fmla="*/ 3200400 h 4496940"/>
              <a:gd name="connsiteX90" fmla="*/ 240052 w 4519987"/>
              <a:gd name="connsiteY90" fmla="*/ 3162300 h 4496940"/>
              <a:gd name="connsiteX91" fmla="*/ 221002 w 4519987"/>
              <a:gd name="connsiteY91" fmla="*/ 3105150 h 4496940"/>
              <a:gd name="connsiteX92" fmla="*/ 173377 w 4519987"/>
              <a:gd name="connsiteY92" fmla="*/ 3019425 h 4496940"/>
              <a:gd name="connsiteX93" fmla="*/ 144802 w 4519987"/>
              <a:gd name="connsiteY93" fmla="*/ 2924175 h 4496940"/>
              <a:gd name="connsiteX94" fmla="*/ 68602 w 4519987"/>
              <a:gd name="connsiteY94" fmla="*/ 2724150 h 4496940"/>
              <a:gd name="connsiteX95" fmla="*/ 49552 w 4519987"/>
              <a:gd name="connsiteY95" fmla="*/ 2638425 h 4496940"/>
              <a:gd name="connsiteX96" fmla="*/ 40027 w 4519987"/>
              <a:gd name="connsiteY96" fmla="*/ 2562225 h 4496940"/>
              <a:gd name="connsiteX97" fmla="*/ 30502 w 4519987"/>
              <a:gd name="connsiteY97" fmla="*/ 2514600 h 4496940"/>
              <a:gd name="connsiteX98" fmla="*/ 11452 w 4519987"/>
              <a:gd name="connsiteY98" fmla="*/ 2400300 h 4496940"/>
              <a:gd name="connsiteX99" fmla="*/ 20977 w 4519987"/>
              <a:gd name="connsiteY99" fmla="*/ 1905000 h 4496940"/>
              <a:gd name="connsiteX100" fmla="*/ 30502 w 4519987"/>
              <a:gd name="connsiteY100" fmla="*/ 1838325 h 4496940"/>
              <a:gd name="connsiteX101" fmla="*/ 49552 w 4519987"/>
              <a:gd name="connsiteY101" fmla="*/ 1781175 h 4496940"/>
              <a:gd name="connsiteX102" fmla="*/ 59077 w 4519987"/>
              <a:gd name="connsiteY102" fmla="*/ 1743075 h 4496940"/>
              <a:gd name="connsiteX103" fmla="*/ 78127 w 4519987"/>
              <a:gd name="connsiteY103" fmla="*/ 1685925 h 4496940"/>
              <a:gd name="connsiteX104" fmla="*/ 87652 w 4519987"/>
              <a:gd name="connsiteY104" fmla="*/ 1638300 h 4496940"/>
              <a:gd name="connsiteX105" fmla="*/ 106702 w 4519987"/>
              <a:gd name="connsiteY105" fmla="*/ 1590675 h 4496940"/>
              <a:gd name="connsiteX106" fmla="*/ 135277 w 4519987"/>
              <a:gd name="connsiteY106" fmla="*/ 1504950 h 4496940"/>
              <a:gd name="connsiteX107" fmla="*/ 154327 w 4519987"/>
              <a:gd name="connsiteY107" fmla="*/ 1419225 h 4496940"/>
              <a:gd name="connsiteX108" fmla="*/ 230527 w 4519987"/>
              <a:gd name="connsiteY108" fmla="*/ 1276350 h 4496940"/>
              <a:gd name="connsiteX109" fmla="*/ 240052 w 4519987"/>
              <a:gd name="connsiteY109" fmla="*/ 1247775 h 4496940"/>
              <a:gd name="connsiteX110" fmla="*/ 268627 w 4519987"/>
              <a:gd name="connsiteY110" fmla="*/ 1200150 h 4496940"/>
              <a:gd name="connsiteX111" fmla="*/ 287677 w 4519987"/>
              <a:gd name="connsiteY111" fmla="*/ 1152525 h 4496940"/>
              <a:gd name="connsiteX112" fmla="*/ 316252 w 4519987"/>
              <a:gd name="connsiteY112" fmla="*/ 1114425 h 4496940"/>
              <a:gd name="connsiteX113" fmla="*/ 363877 w 4519987"/>
              <a:gd name="connsiteY113" fmla="*/ 1038225 h 4496940"/>
              <a:gd name="connsiteX114" fmla="*/ 382927 w 4519987"/>
              <a:gd name="connsiteY114" fmla="*/ 1009650 h 4496940"/>
              <a:gd name="connsiteX115" fmla="*/ 440077 w 4519987"/>
              <a:gd name="connsiteY115" fmla="*/ 904875 h 4496940"/>
              <a:gd name="connsiteX116" fmla="*/ 478177 w 4519987"/>
              <a:gd name="connsiteY116" fmla="*/ 857250 h 4496940"/>
              <a:gd name="connsiteX117" fmla="*/ 497227 w 4519987"/>
              <a:gd name="connsiteY117" fmla="*/ 828675 h 4496940"/>
              <a:gd name="connsiteX118" fmla="*/ 535327 w 4519987"/>
              <a:gd name="connsiteY118" fmla="*/ 800100 h 4496940"/>
              <a:gd name="connsiteX119" fmla="*/ 602002 w 4519987"/>
              <a:gd name="connsiteY119" fmla="*/ 733425 h 4496940"/>
              <a:gd name="connsiteX120" fmla="*/ 668677 w 4519987"/>
              <a:gd name="connsiteY120" fmla="*/ 676275 h 4496940"/>
              <a:gd name="connsiteX121" fmla="*/ 697252 w 4519987"/>
              <a:gd name="connsiteY121" fmla="*/ 657225 h 4496940"/>
              <a:gd name="connsiteX122" fmla="*/ 840127 w 4519987"/>
              <a:gd name="connsiteY122" fmla="*/ 533400 h 4496940"/>
              <a:gd name="connsiteX123" fmla="*/ 887752 w 4519987"/>
              <a:gd name="connsiteY123" fmla="*/ 504825 h 4496940"/>
              <a:gd name="connsiteX124" fmla="*/ 1167152 w 4519987"/>
              <a:gd name="connsiteY124" fmla="*/ 311150 h 4496940"/>
              <a:gd name="connsiteX125" fmla="*/ 1268752 w 4519987"/>
              <a:gd name="connsiteY125" fmla="*/ 285750 h 4496940"/>
              <a:gd name="connsiteX126" fmla="*/ 1411627 w 4519987"/>
              <a:gd name="connsiteY126" fmla="*/ 190500 h 4496940"/>
              <a:gd name="connsiteX127" fmla="*/ 1449727 w 4519987"/>
              <a:gd name="connsiteY127" fmla="*/ 161925 h 4496940"/>
              <a:gd name="connsiteX128" fmla="*/ 1525927 w 4519987"/>
              <a:gd name="connsiteY128" fmla="*/ 152400 h 4496940"/>
              <a:gd name="connsiteX129" fmla="*/ 1583077 w 4519987"/>
              <a:gd name="connsiteY129" fmla="*/ 142875 h 4496940"/>
              <a:gd name="connsiteX130" fmla="*/ 1716427 w 4519987"/>
              <a:gd name="connsiteY130" fmla="*/ 123825 h 4496940"/>
              <a:gd name="connsiteX131" fmla="*/ 1811677 w 4519987"/>
              <a:gd name="connsiteY131" fmla="*/ 114300 h 4496940"/>
              <a:gd name="connsiteX132" fmla="*/ 1859302 w 4519987"/>
              <a:gd name="connsiteY132" fmla="*/ 104775 h 4496940"/>
              <a:gd name="connsiteX133" fmla="*/ 1916452 w 4519987"/>
              <a:gd name="connsiteY133" fmla="*/ 95250 h 4496940"/>
              <a:gd name="connsiteX134" fmla="*/ 2030752 w 4519987"/>
              <a:gd name="connsiteY134" fmla="*/ 66675 h 4496940"/>
              <a:gd name="connsiteX135" fmla="*/ 2097427 w 4519987"/>
              <a:gd name="connsiteY135" fmla="*/ 47625 h 4496940"/>
              <a:gd name="connsiteX136" fmla="*/ 2164102 w 4519987"/>
              <a:gd name="connsiteY136" fmla="*/ 38100 h 4496940"/>
              <a:gd name="connsiteX137" fmla="*/ 2392702 w 4519987"/>
              <a:gd name="connsiteY13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783352 w 4519987"/>
              <a:gd name="connsiteY40" fmla="*/ 3810000 h 4496940"/>
              <a:gd name="connsiteX41" fmla="*/ 3745252 w 4519987"/>
              <a:gd name="connsiteY41" fmla="*/ 3819525 h 4496940"/>
              <a:gd name="connsiteX42" fmla="*/ 3678577 w 4519987"/>
              <a:gd name="connsiteY42" fmla="*/ 3848100 h 4496940"/>
              <a:gd name="connsiteX43" fmla="*/ 3659527 w 4519987"/>
              <a:gd name="connsiteY43" fmla="*/ 3971925 h 4496940"/>
              <a:gd name="connsiteX44" fmla="*/ 3630952 w 4519987"/>
              <a:gd name="connsiteY44" fmla="*/ 4010025 h 4496940"/>
              <a:gd name="connsiteX45" fmla="*/ 3621427 w 4519987"/>
              <a:gd name="connsiteY45" fmla="*/ 4038600 h 4496940"/>
              <a:gd name="connsiteX46" fmla="*/ 3554752 w 4519987"/>
              <a:gd name="connsiteY46" fmla="*/ 4095750 h 4496940"/>
              <a:gd name="connsiteX47" fmla="*/ 3516652 w 4519987"/>
              <a:gd name="connsiteY47" fmla="*/ 4114800 h 4496940"/>
              <a:gd name="connsiteX48" fmla="*/ 3497602 w 4519987"/>
              <a:gd name="connsiteY48" fmla="*/ 4143375 h 4496940"/>
              <a:gd name="connsiteX49" fmla="*/ 3383302 w 4519987"/>
              <a:gd name="connsiteY49" fmla="*/ 4210050 h 4496940"/>
              <a:gd name="connsiteX50" fmla="*/ 3335677 w 4519987"/>
              <a:gd name="connsiteY50" fmla="*/ 4238625 h 4496940"/>
              <a:gd name="connsiteX51" fmla="*/ 3288052 w 4519987"/>
              <a:gd name="connsiteY51" fmla="*/ 4248150 h 4496940"/>
              <a:gd name="connsiteX52" fmla="*/ 3240427 w 4519987"/>
              <a:gd name="connsiteY52" fmla="*/ 4267200 h 4496940"/>
              <a:gd name="connsiteX53" fmla="*/ 3068977 w 4519987"/>
              <a:gd name="connsiteY53" fmla="*/ 4286250 h 4496940"/>
              <a:gd name="connsiteX54" fmla="*/ 2935627 w 4519987"/>
              <a:gd name="connsiteY54" fmla="*/ 4333875 h 4496940"/>
              <a:gd name="connsiteX55" fmla="*/ 2811802 w 4519987"/>
              <a:gd name="connsiteY55" fmla="*/ 4371975 h 4496940"/>
              <a:gd name="connsiteX56" fmla="*/ 2745127 w 4519987"/>
              <a:gd name="connsiteY56" fmla="*/ 4410075 h 4496940"/>
              <a:gd name="connsiteX57" fmla="*/ 2697502 w 4519987"/>
              <a:gd name="connsiteY57" fmla="*/ 4429125 h 4496940"/>
              <a:gd name="connsiteX58" fmla="*/ 2640352 w 4519987"/>
              <a:gd name="connsiteY58" fmla="*/ 4457700 h 4496940"/>
              <a:gd name="connsiteX59" fmla="*/ 2583202 w 4519987"/>
              <a:gd name="connsiteY59" fmla="*/ 4467225 h 4496940"/>
              <a:gd name="connsiteX60" fmla="*/ 2545102 w 4519987"/>
              <a:gd name="connsiteY60" fmla="*/ 4486275 h 4496940"/>
              <a:gd name="connsiteX61" fmla="*/ 2306977 w 4519987"/>
              <a:gd name="connsiteY61" fmla="*/ 4476750 h 4496940"/>
              <a:gd name="connsiteX62" fmla="*/ 2202202 w 4519987"/>
              <a:gd name="connsiteY62" fmla="*/ 4457700 h 4496940"/>
              <a:gd name="connsiteX63" fmla="*/ 2126002 w 4519987"/>
              <a:gd name="connsiteY63" fmla="*/ 4429125 h 4496940"/>
              <a:gd name="connsiteX64" fmla="*/ 1935502 w 4519987"/>
              <a:gd name="connsiteY64" fmla="*/ 4400550 h 4496940"/>
              <a:gd name="connsiteX65" fmla="*/ 1821202 w 4519987"/>
              <a:gd name="connsiteY65" fmla="*/ 4371975 h 4496940"/>
              <a:gd name="connsiteX66" fmla="*/ 1754527 w 4519987"/>
              <a:gd name="connsiteY66" fmla="*/ 4352925 h 4496940"/>
              <a:gd name="connsiteX67" fmla="*/ 1687852 w 4519987"/>
              <a:gd name="connsiteY67" fmla="*/ 4343400 h 4496940"/>
              <a:gd name="connsiteX68" fmla="*/ 1573552 w 4519987"/>
              <a:gd name="connsiteY68" fmla="*/ 4305300 h 4496940"/>
              <a:gd name="connsiteX69" fmla="*/ 1402102 w 4519987"/>
              <a:gd name="connsiteY69" fmla="*/ 4276725 h 4496940"/>
              <a:gd name="connsiteX70" fmla="*/ 1287802 w 4519987"/>
              <a:gd name="connsiteY70" fmla="*/ 4229100 h 4496940"/>
              <a:gd name="connsiteX71" fmla="*/ 1221127 w 4519987"/>
              <a:gd name="connsiteY71" fmla="*/ 4200525 h 4496940"/>
              <a:gd name="connsiteX72" fmla="*/ 1144927 w 4519987"/>
              <a:gd name="connsiteY72" fmla="*/ 4171950 h 4496940"/>
              <a:gd name="connsiteX73" fmla="*/ 1087777 w 4519987"/>
              <a:gd name="connsiteY73" fmla="*/ 4143375 h 4496940"/>
              <a:gd name="connsiteX74" fmla="*/ 1030627 w 4519987"/>
              <a:gd name="connsiteY74" fmla="*/ 4124325 h 4496940"/>
              <a:gd name="connsiteX75" fmla="*/ 925852 w 4519987"/>
              <a:gd name="connsiteY75" fmla="*/ 4067175 h 4496940"/>
              <a:gd name="connsiteX76" fmla="*/ 830602 w 4519987"/>
              <a:gd name="connsiteY76" fmla="*/ 3981450 h 4496940"/>
              <a:gd name="connsiteX77" fmla="*/ 763927 w 4519987"/>
              <a:gd name="connsiteY77" fmla="*/ 3914775 h 4496940"/>
              <a:gd name="connsiteX78" fmla="*/ 725827 w 4519987"/>
              <a:gd name="connsiteY78" fmla="*/ 3876675 h 4496940"/>
              <a:gd name="connsiteX79" fmla="*/ 697252 w 4519987"/>
              <a:gd name="connsiteY79" fmla="*/ 3838575 h 4496940"/>
              <a:gd name="connsiteX80" fmla="*/ 640102 w 4519987"/>
              <a:gd name="connsiteY80" fmla="*/ 3781425 h 4496940"/>
              <a:gd name="connsiteX81" fmla="*/ 611527 w 4519987"/>
              <a:gd name="connsiteY81" fmla="*/ 3733800 h 4496940"/>
              <a:gd name="connsiteX82" fmla="*/ 554377 w 4519987"/>
              <a:gd name="connsiteY82" fmla="*/ 3657600 h 4496940"/>
              <a:gd name="connsiteX83" fmla="*/ 525802 w 4519987"/>
              <a:gd name="connsiteY83" fmla="*/ 3609975 h 4496940"/>
              <a:gd name="connsiteX84" fmla="*/ 497227 w 4519987"/>
              <a:gd name="connsiteY84" fmla="*/ 3552825 h 4496940"/>
              <a:gd name="connsiteX85" fmla="*/ 440077 w 4519987"/>
              <a:gd name="connsiteY85" fmla="*/ 3495675 h 4496940"/>
              <a:gd name="connsiteX86" fmla="*/ 411502 w 4519987"/>
              <a:gd name="connsiteY86" fmla="*/ 3448050 h 4496940"/>
              <a:gd name="connsiteX87" fmla="*/ 278152 w 4519987"/>
              <a:gd name="connsiteY87" fmla="*/ 3257550 h 4496940"/>
              <a:gd name="connsiteX88" fmla="*/ 249577 w 4519987"/>
              <a:gd name="connsiteY88" fmla="*/ 3200400 h 4496940"/>
              <a:gd name="connsiteX89" fmla="*/ 240052 w 4519987"/>
              <a:gd name="connsiteY89" fmla="*/ 3162300 h 4496940"/>
              <a:gd name="connsiteX90" fmla="*/ 221002 w 4519987"/>
              <a:gd name="connsiteY90" fmla="*/ 3105150 h 4496940"/>
              <a:gd name="connsiteX91" fmla="*/ 173377 w 4519987"/>
              <a:gd name="connsiteY91" fmla="*/ 3019425 h 4496940"/>
              <a:gd name="connsiteX92" fmla="*/ 144802 w 4519987"/>
              <a:gd name="connsiteY92" fmla="*/ 2924175 h 4496940"/>
              <a:gd name="connsiteX93" fmla="*/ 68602 w 4519987"/>
              <a:gd name="connsiteY93" fmla="*/ 2724150 h 4496940"/>
              <a:gd name="connsiteX94" fmla="*/ 49552 w 4519987"/>
              <a:gd name="connsiteY94" fmla="*/ 2638425 h 4496940"/>
              <a:gd name="connsiteX95" fmla="*/ 40027 w 4519987"/>
              <a:gd name="connsiteY95" fmla="*/ 2562225 h 4496940"/>
              <a:gd name="connsiteX96" fmla="*/ 30502 w 4519987"/>
              <a:gd name="connsiteY96" fmla="*/ 2514600 h 4496940"/>
              <a:gd name="connsiteX97" fmla="*/ 11452 w 4519987"/>
              <a:gd name="connsiteY97" fmla="*/ 2400300 h 4496940"/>
              <a:gd name="connsiteX98" fmla="*/ 20977 w 4519987"/>
              <a:gd name="connsiteY98" fmla="*/ 1905000 h 4496940"/>
              <a:gd name="connsiteX99" fmla="*/ 30502 w 4519987"/>
              <a:gd name="connsiteY99" fmla="*/ 1838325 h 4496940"/>
              <a:gd name="connsiteX100" fmla="*/ 49552 w 4519987"/>
              <a:gd name="connsiteY100" fmla="*/ 1781175 h 4496940"/>
              <a:gd name="connsiteX101" fmla="*/ 59077 w 4519987"/>
              <a:gd name="connsiteY101" fmla="*/ 1743075 h 4496940"/>
              <a:gd name="connsiteX102" fmla="*/ 78127 w 4519987"/>
              <a:gd name="connsiteY102" fmla="*/ 1685925 h 4496940"/>
              <a:gd name="connsiteX103" fmla="*/ 87652 w 4519987"/>
              <a:gd name="connsiteY103" fmla="*/ 1638300 h 4496940"/>
              <a:gd name="connsiteX104" fmla="*/ 106702 w 4519987"/>
              <a:gd name="connsiteY104" fmla="*/ 1590675 h 4496940"/>
              <a:gd name="connsiteX105" fmla="*/ 135277 w 4519987"/>
              <a:gd name="connsiteY105" fmla="*/ 1504950 h 4496940"/>
              <a:gd name="connsiteX106" fmla="*/ 154327 w 4519987"/>
              <a:gd name="connsiteY106" fmla="*/ 1419225 h 4496940"/>
              <a:gd name="connsiteX107" fmla="*/ 230527 w 4519987"/>
              <a:gd name="connsiteY107" fmla="*/ 1276350 h 4496940"/>
              <a:gd name="connsiteX108" fmla="*/ 240052 w 4519987"/>
              <a:gd name="connsiteY108" fmla="*/ 1247775 h 4496940"/>
              <a:gd name="connsiteX109" fmla="*/ 268627 w 4519987"/>
              <a:gd name="connsiteY109" fmla="*/ 1200150 h 4496940"/>
              <a:gd name="connsiteX110" fmla="*/ 287677 w 4519987"/>
              <a:gd name="connsiteY110" fmla="*/ 1152525 h 4496940"/>
              <a:gd name="connsiteX111" fmla="*/ 316252 w 4519987"/>
              <a:gd name="connsiteY111" fmla="*/ 1114425 h 4496940"/>
              <a:gd name="connsiteX112" fmla="*/ 363877 w 4519987"/>
              <a:gd name="connsiteY112" fmla="*/ 1038225 h 4496940"/>
              <a:gd name="connsiteX113" fmla="*/ 382927 w 4519987"/>
              <a:gd name="connsiteY113" fmla="*/ 1009650 h 4496940"/>
              <a:gd name="connsiteX114" fmla="*/ 440077 w 4519987"/>
              <a:gd name="connsiteY114" fmla="*/ 904875 h 4496940"/>
              <a:gd name="connsiteX115" fmla="*/ 478177 w 4519987"/>
              <a:gd name="connsiteY115" fmla="*/ 857250 h 4496940"/>
              <a:gd name="connsiteX116" fmla="*/ 497227 w 4519987"/>
              <a:gd name="connsiteY116" fmla="*/ 828675 h 4496940"/>
              <a:gd name="connsiteX117" fmla="*/ 535327 w 4519987"/>
              <a:gd name="connsiteY117" fmla="*/ 800100 h 4496940"/>
              <a:gd name="connsiteX118" fmla="*/ 602002 w 4519987"/>
              <a:gd name="connsiteY118" fmla="*/ 733425 h 4496940"/>
              <a:gd name="connsiteX119" fmla="*/ 668677 w 4519987"/>
              <a:gd name="connsiteY119" fmla="*/ 676275 h 4496940"/>
              <a:gd name="connsiteX120" fmla="*/ 697252 w 4519987"/>
              <a:gd name="connsiteY120" fmla="*/ 657225 h 4496940"/>
              <a:gd name="connsiteX121" fmla="*/ 840127 w 4519987"/>
              <a:gd name="connsiteY121" fmla="*/ 533400 h 4496940"/>
              <a:gd name="connsiteX122" fmla="*/ 887752 w 4519987"/>
              <a:gd name="connsiteY122" fmla="*/ 504825 h 4496940"/>
              <a:gd name="connsiteX123" fmla="*/ 1167152 w 4519987"/>
              <a:gd name="connsiteY123" fmla="*/ 311150 h 4496940"/>
              <a:gd name="connsiteX124" fmla="*/ 1268752 w 4519987"/>
              <a:gd name="connsiteY124" fmla="*/ 285750 h 4496940"/>
              <a:gd name="connsiteX125" fmla="*/ 1411627 w 4519987"/>
              <a:gd name="connsiteY125" fmla="*/ 190500 h 4496940"/>
              <a:gd name="connsiteX126" fmla="*/ 1449727 w 4519987"/>
              <a:gd name="connsiteY126" fmla="*/ 161925 h 4496940"/>
              <a:gd name="connsiteX127" fmla="*/ 1525927 w 4519987"/>
              <a:gd name="connsiteY127" fmla="*/ 152400 h 4496940"/>
              <a:gd name="connsiteX128" fmla="*/ 1583077 w 4519987"/>
              <a:gd name="connsiteY128" fmla="*/ 142875 h 4496940"/>
              <a:gd name="connsiteX129" fmla="*/ 1716427 w 4519987"/>
              <a:gd name="connsiteY129" fmla="*/ 123825 h 4496940"/>
              <a:gd name="connsiteX130" fmla="*/ 1811677 w 4519987"/>
              <a:gd name="connsiteY130" fmla="*/ 114300 h 4496940"/>
              <a:gd name="connsiteX131" fmla="*/ 1859302 w 4519987"/>
              <a:gd name="connsiteY131" fmla="*/ 104775 h 4496940"/>
              <a:gd name="connsiteX132" fmla="*/ 1916452 w 4519987"/>
              <a:gd name="connsiteY132" fmla="*/ 95250 h 4496940"/>
              <a:gd name="connsiteX133" fmla="*/ 2030752 w 4519987"/>
              <a:gd name="connsiteY133" fmla="*/ 66675 h 4496940"/>
              <a:gd name="connsiteX134" fmla="*/ 2097427 w 4519987"/>
              <a:gd name="connsiteY134" fmla="*/ 47625 h 4496940"/>
              <a:gd name="connsiteX135" fmla="*/ 2164102 w 4519987"/>
              <a:gd name="connsiteY135" fmla="*/ 38100 h 4496940"/>
              <a:gd name="connsiteX136" fmla="*/ 2392702 w 4519987"/>
              <a:gd name="connsiteY13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783352 w 4519987"/>
              <a:gd name="connsiteY40" fmla="*/ 3810000 h 4496940"/>
              <a:gd name="connsiteX41" fmla="*/ 3678577 w 4519987"/>
              <a:gd name="connsiteY41" fmla="*/ 3848100 h 4496940"/>
              <a:gd name="connsiteX42" fmla="*/ 3659527 w 4519987"/>
              <a:gd name="connsiteY42" fmla="*/ 3971925 h 4496940"/>
              <a:gd name="connsiteX43" fmla="*/ 3630952 w 4519987"/>
              <a:gd name="connsiteY43" fmla="*/ 4010025 h 4496940"/>
              <a:gd name="connsiteX44" fmla="*/ 3621427 w 4519987"/>
              <a:gd name="connsiteY44" fmla="*/ 4038600 h 4496940"/>
              <a:gd name="connsiteX45" fmla="*/ 3554752 w 4519987"/>
              <a:gd name="connsiteY45" fmla="*/ 4095750 h 4496940"/>
              <a:gd name="connsiteX46" fmla="*/ 3516652 w 4519987"/>
              <a:gd name="connsiteY46" fmla="*/ 4114800 h 4496940"/>
              <a:gd name="connsiteX47" fmla="*/ 3497602 w 4519987"/>
              <a:gd name="connsiteY47" fmla="*/ 4143375 h 4496940"/>
              <a:gd name="connsiteX48" fmla="*/ 3383302 w 4519987"/>
              <a:gd name="connsiteY48" fmla="*/ 4210050 h 4496940"/>
              <a:gd name="connsiteX49" fmla="*/ 3335677 w 4519987"/>
              <a:gd name="connsiteY49" fmla="*/ 4238625 h 4496940"/>
              <a:gd name="connsiteX50" fmla="*/ 3288052 w 4519987"/>
              <a:gd name="connsiteY50" fmla="*/ 4248150 h 4496940"/>
              <a:gd name="connsiteX51" fmla="*/ 3240427 w 4519987"/>
              <a:gd name="connsiteY51" fmla="*/ 4267200 h 4496940"/>
              <a:gd name="connsiteX52" fmla="*/ 3068977 w 4519987"/>
              <a:gd name="connsiteY52" fmla="*/ 4286250 h 4496940"/>
              <a:gd name="connsiteX53" fmla="*/ 2935627 w 4519987"/>
              <a:gd name="connsiteY53" fmla="*/ 4333875 h 4496940"/>
              <a:gd name="connsiteX54" fmla="*/ 2811802 w 4519987"/>
              <a:gd name="connsiteY54" fmla="*/ 4371975 h 4496940"/>
              <a:gd name="connsiteX55" fmla="*/ 2745127 w 4519987"/>
              <a:gd name="connsiteY55" fmla="*/ 4410075 h 4496940"/>
              <a:gd name="connsiteX56" fmla="*/ 2697502 w 4519987"/>
              <a:gd name="connsiteY56" fmla="*/ 4429125 h 4496940"/>
              <a:gd name="connsiteX57" fmla="*/ 2640352 w 4519987"/>
              <a:gd name="connsiteY57" fmla="*/ 4457700 h 4496940"/>
              <a:gd name="connsiteX58" fmla="*/ 2583202 w 4519987"/>
              <a:gd name="connsiteY58" fmla="*/ 4467225 h 4496940"/>
              <a:gd name="connsiteX59" fmla="*/ 2545102 w 4519987"/>
              <a:gd name="connsiteY59" fmla="*/ 4486275 h 4496940"/>
              <a:gd name="connsiteX60" fmla="*/ 2306977 w 4519987"/>
              <a:gd name="connsiteY60" fmla="*/ 4476750 h 4496940"/>
              <a:gd name="connsiteX61" fmla="*/ 2202202 w 4519987"/>
              <a:gd name="connsiteY61" fmla="*/ 4457700 h 4496940"/>
              <a:gd name="connsiteX62" fmla="*/ 2126002 w 4519987"/>
              <a:gd name="connsiteY62" fmla="*/ 4429125 h 4496940"/>
              <a:gd name="connsiteX63" fmla="*/ 1935502 w 4519987"/>
              <a:gd name="connsiteY63" fmla="*/ 4400550 h 4496940"/>
              <a:gd name="connsiteX64" fmla="*/ 1821202 w 4519987"/>
              <a:gd name="connsiteY64" fmla="*/ 4371975 h 4496940"/>
              <a:gd name="connsiteX65" fmla="*/ 1754527 w 4519987"/>
              <a:gd name="connsiteY65" fmla="*/ 4352925 h 4496940"/>
              <a:gd name="connsiteX66" fmla="*/ 1687852 w 4519987"/>
              <a:gd name="connsiteY66" fmla="*/ 4343400 h 4496940"/>
              <a:gd name="connsiteX67" fmla="*/ 1573552 w 4519987"/>
              <a:gd name="connsiteY67" fmla="*/ 4305300 h 4496940"/>
              <a:gd name="connsiteX68" fmla="*/ 1402102 w 4519987"/>
              <a:gd name="connsiteY68" fmla="*/ 4276725 h 4496940"/>
              <a:gd name="connsiteX69" fmla="*/ 1287802 w 4519987"/>
              <a:gd name="connsiteY69" fmla="*/ 4229100 h 4496940"/>
              <a:gd name="connsiteX70" fmla="*/ 1221127 w 4519987"/>
              <a:gd name="connsiteY70" fmla="*/ 4200525 h 4496940"/>
              <a:gd name="connsiteX71" fmla="*/ 1144927 w 4519987"/>
              <a:gd name="connsiteY71" fmla="*/ 4171950 h 4496940"/>
              <a:gd name="connsiteX72" fmla="*/ 1087777 w 4519987"/>
              <a:gd name="connsiteY72" fmla="*/ 4143375 h 4496940"/>
              <a:gd name="connsiteX73" fmla="*/ 1030627 w 4519987"/>
              <a:gd name="connsiteY73" fmla="*/ 4124325 h 4496940"/>
              <a:gd name="connsiteX74" fmla="*/ 925852 w 4519987"/>
              <a:gd name="connsiteY74" fmla="*/ 4067175 h 4496940"/>
              <a:gd name="connsiteX75" fmla="*/ 830602 w 4519987"/>
              <a:gd name="connsiteY75" fmla="*/ 3981450 h 4496940"/>
              <a:gd name="connsiteX76" fmla="*/ 763927 w 4519987"/>
              <a:gd name="connsiteY76" fmla="*/ 3914775 h 4496940"/>
              <a:gd name="connsiteX77" fmla="*/ 725827 w 4519987"/>
              <a:gd name="connsiteY77" fmla="*/ 3876675 h 4496940"/>
              <a:gd name="connsiteX78" fmla="*/ 697252 w 4519987"/>
              <a:gd name="connsiteY78" fmla="*/ 3838575 h 4496940"/>
              <a:gd name="connsiteX79" fmla="*/ 640102 w 4519987"/>
              <a:gd name="connsiteY79" fmla="*/ 3781425 h 4496940"/>
              <a:gd name="connsiteX80" fmla="*/ 611527 w 4519987"/>
              <a:gd name="connsiteY80" fmla="*/ 3733800 h 4496940"/>
              <a:gd name="connsiteX81" fmla="*/ 554377 w 4519987"/>
              <a:gd name="connsiteY81" fmla="*/ 3657600 h 4496940"/>
              <a:gd name="connsiteX82" fmla="*/ 525802 w 4519987"/>
              <a:gd name="connsiteY82" fmla="*/ 3609975 h 4496940"/>
              <a:gd name="connsiteX83" fmla="*/ 497227 w 4519987"/>
              <a:gd name="connsiteY83" fmla="*/ 3552825 h 4496940"/>
              <a:gd name="connsiteX84" fmla="*/ 440077 w 4519987"/>
              <a:gd name="connsiteY84" fmla="*/ 3495675 h 4496940"/>
              <a:gd name="connsiteX85" fmla="*/ 411502 w 4519987"/>
              <a:gd name="connsiteY85" fmla="*/ 3448050 h 4496940"/>
              <a:gd name="connsiteX86" fmla="*/ 278152 w 4519987"/>
              <a:gd name="connsiteY86" fmla="*/ 3257550 h 4496940"/>
              <a:gd name="connsiteX87" fmla="*/ 249577 w 4519987"/>
              <a:gd name="connsiteY87" fmla="*/ 3200400 h 4496940"/>
              <a:gd name="connsiteX88" fmla="*/ 240052 w 4519987"/>
              <a:gd name="connsiteY88" fmla="*/ 3162300 h 4496940"/>
              <a:gd name="connsiteX89" fmla="*/ 221002 w 4519987"/>
              <a:gd name="connsiteY89" fmla="*/ 3105150 h 4496940"/>
              <a:gd name="connsiteX90" fmla="*/ 173377 w 4519987"/>
              <a:gd name="connsiteY90" fmla="*/ 3019425 h 4496940"/>
              <a:gd name="connsiteX91" fmla="*/ 144802 w 4519987"/>
              <a:gd name="connsiteY91" fmla="*/ 2924175 h 4496940"/>
              <a:gd name="connsiteX92" fmla="*/ 68602 w 4519987"/>
              <a:gd name="connsiteY92" fmla="*/ 2724150 h 4496940"/>
              <a:gd name="connsiteX93" fmla="*/ 49552 w 4519987"/>
              <a:gd name="connsiteY93" fmla="*/ 2638425 h 4496940"/>
              <a:gd name="connsiteX94" fmla="*/ 40027 w 4519987"/>
              <a:gd name="connsiteY94" fmla="*/ 2562225 h 4496940"/>
              <a:gd name="connsiteX95" fmla="*/ 30502 w 4519987"/>
              <a:gd name="connsiteY95" fmla="*/ 2514600 h 4496940"/>
              <a:gd name="connsiteX96" fmla="*/ 11452 w 4519987"/>
              <a:gd name="connsiteY96" fmla="*/ 2400300 h 4496940"/>
              <a:gd name="connsiteX97" fmla="*/ 20977 w 4519987"/>
              <a:gd name="connsiteY97" fmla="*/ 1905000 h 4496940"/>
              <a:gd name="connsiteX98" fmla="*/ 30502 w 4519987"/>
              <a:gd name="connsiteY98" fmla="*/ 1838325 h 4496940"/>
              <a:gd name="connsiteX99" fmla="*/ 49552 w 4519987"/>
              <a:gd name="connsiteY99" fmla="*/ 1781175 h 4496940"/>
              <a:gd name="connsiteX100" fmla="*/ 59077 w 4519987"/>
              <a:gd name="connsiteY100" fmla="*/ 1743075 h 4496940"/>
              <a:gd name="connsiteX101" fmla="*/ 78127 w 4519987"/>
              <a:gd name="connsiteY101" fmla="*/ 1685925 h 4496940"/>
              <a:gd name="connsiteX102" fmla="*/ 87652 w 4519987"/>
              <a:gd name="connsiteY102" fmla="*/ 1638300 h 4496940"/>
              <a:gd name="connsiteX103" fmla="*/ 106702 w 4519987"/>
              <a:gd name="connsiteY103" fmla="*/ 1590675 h 4496940"/>
              <a:gd name="connsiteX104" fmla="*/ 135277 w 4519987"/>
              <a:gd name="connsiteY104" fmla="*/ 1504950 h 4496940"/>
              <a:gd name="connsiteX105" fmla="*/ 154327 w 4519987"/>
              <a:gd name="connsiteY105" fmla="*/ 1419225 h 4496940"/>
              <a:gd name="connsiteX106" fmla="*/ 230527 w 4519987"/>
              <a:gd name="connsiteY106" fmla="*/ 1276350 h 4496940"/>
              <a:gd name="connsiteX107" fmla="*/ 240052 w 4519987"/>
              <a:gd name="connsiteY107" fmla="*/ 1247775 h 4496940"/>
              <a:gd name="connsiteX108" fmla="*/ 268627 w 4519987"/>
              <a:gd name="connsiteY108" fmla="*/ 1200150 h 4496940"/>
              <a:gd name="connsiteX109" fmla="*/ 287677 w 4519987"/>
              <a:gd name="connsiteY109" fmla="*/ 1152525 h 4496940"/>
              <a:gd name="connsiteX110" fmla="*/ 316252 w 4519987"/>
              <a:gd name="connsiteY110" fmla="*/ 1114425 h 4496940"/>
              <a:gd name="connsiteX111" fmla="*/ 363877 w 4519987"/>
              <a:gd name="connsiteY111" fmla="*/ 1038225 h 4496940"/>
              <a:gd name="connsiteX112" fmla="*/ 382927 w 4519987"/>
              <a:gd name="connsiteY112" fmla="*/ 1009650 h 4496940"/>
              <a:gd name="connsiteX113" fmla="*/ 440077 w 4519987"/>
              <a:gd name="connsiteY113" fmla="*/ 904875 h 4496940"/>
              <a:gd name="connsiteX114" fmla="*/ 478177 w 4519987"/>
              <a:gd name="connsiteY114" fmla="*/ 857250 h 4496940"/>
              <a:gd name="connsiteX115" fmla="*/ 497227 w 4519987"/>
              <a:gd name="connsiteY115" fmla="*/ 828675 h 4496940"/>
              <a:gd name="connsiteX116" fmla="*/ 535327 w 4519987"/>
              <a:gd name="connsiteY116" fmla="*/ 800100 h 4496940"/>
              <a:gd name="connsiteX117" fmla="*/ 602002 w 4519987"/>
              <a:gd name="connsiteY117" fmla="*/ 733425 h 4496940"/>
              <a:gd name="connsiteX118" fmla="*/ 668677 w 4519987"/>
              <a:gd name="connsiteY118" fmla="*/ 676275 h 4496940"/>
              <a:gd name="connsiteX119" fmla="*/ 697252 w 4519987"/>
              <a:gd name="connsiteY119" fmla="*/ 657225 h 4496940"/>
              <a:gd name="connsiteX120" fmla="*/ 840127 w 4519987"/>
              <a:gd name="connsiteY120" fmla="*/ 533400 h 4496940"/>
              <a:gd name="connsiteX121" fmla="*/ 887752 w 4519987"/>
              <a:gd name="connsiteY121" fmla="*/ 504825 h 4496940"/>
              <a:gd name="connsiteX122" fmla="*/ 1167152 w 4519987"/>
              <a:gd name="connsiteY122" fmla="*/ 311150 h 4496940"/>
              <a:gd name="connsiteX123" fmla="*/ 1268752 w 4519987"/>
              <a:gd name="connsiteY123" fmla="*/ 285750 h 4496940"/>
              <a:gd name="connsiteX124" fmla="*/ 1411627 w 4519987"/>
              <a:gd name="connsiteY124" fmla="*/ 190500 h 4496940"/>
              <a:gd name="connsiteX125" fmla="*/ 1449727 w 4519987"/>
              <a:gd name="connsiteY125" fmla="*/ 161925 h 4496940"/>
              <a:gd name="connsiteX126" fmla="*/ 1525927 w 4519987"/>
              <a:gd name="connsiteY126" fmla="*/ 152400 h 4496940"/>
              <a:gd name="connsiteX127" fmla="*/ 1583077 w 4519987"/>
              <a:gd name="connsiteY127" fmla="*/ 142875 h 4496940"/>
              <a:gd name="connsiteX128" fmla="*/ 1716427 w 4519987"/>
              <a:gd name="connsiteY128" fmla="*/ 123825 h 4496940"/>
              <a:gd name="connsiteX129" fmla="*/ 1811677 w 4519987"/>
              <a:gd name="connsiteY129" fmla="*/ 114300 h 4496940"/>
              <a:gd name="connsiteX130" fmla="*/ 1859302 w 4519987"/>
              <a:gd name="connsiteY130" fmla="*/ 104775 h 4496940"/>
              <a:gd name="connsiteX131" fmla="*/ 1916452 w 4519987"/>
              <a:gd name="connsiteY131" fmla="*/ 95250 h 4496940"/>
              <a:gd name="connsiteX132" fmla="*/ 2030752 w 4519987"/>
              <a:gd name="connsiteY132" fmla="*/ 66675 h 4496940"/>
              <a:gd name="connsiteX133" fmla="*/ 2097427 w 4519987"/>
              <a:gd name="connsiteY133" fmla="*/ 47625 h 4496940"/>
              <a:gd name="connsiteX134" fmla="*/ 2164102 w 4519987"/>
              <a:gd name="connsiteY134" fmla="*/ 38100 h 4496940"/>
              <a:gd name="connsiteX135" fmla="*/ 2392702 w 4519987"/>
              <a:gd name="connsiteY13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678577 w 4519987"/>
              <a:gd name="connsiteY40" fmla="*/ 3848100 h 4496940"/>
              <a:gd name="connsiteX41" fmla="*/ 3659527 w 4519987"/>
              <a:gd name="connsiteY41" fmla="*/ 3971925 h 4496940"/>
              <a:gd name="connsiteX42" fmla="*/ 3630952 w 4519987"/>
              <a:gd name="connsiteY42" fmla="*/ 4010025 h 4496940"/>
              <a:gd name="connsiteX43" fmla="*/ 3621427 w 4519987"/>
              <a:gd name="connsiteY43" fmla="*/ 4038600 h 4496940"/>
              <a:gd name="connsiteX44" fmla="*/ 3554752 w 4519987"/>
              <a:gd name="connsiteY44" fmla="*/ 4095750 h 4496940"/>
              <a:gd name="connsiteX45" fmla="*/ 3516652 w 4519987"/>
              <a:gd name="connsiteY45" fmla="*/ 4114800 h 4496940"/>
              <a:gd name="connsiteX46" fmla="*/ 3497602 w 4519987"/>
              <a:gd name="connsiteY46" fmla="*/ 4143375 h 4496940"/>
              <a:gd name="connsiteX47" fmla="*/ 3383302 w 4519987"/>
              <a:gd name="connsiteY47" fmla="*/ 4210050 h 4496940"/>
              <a:gd name="connsiteX48" fmla="*/ 3335677 w 4519987"/>
              <a:gd name="connsiteY48" fmla="*/ 4238625 h 4496940"/>
              <a:gd name="connsiteX49" fmla="*/ 3288052 w 4519987"/>
              <a:gd name="connsiteY49" fmla="*/ 4248150 h 4496940"/>
              <a:gd name="connsiteX50" fmla="*/ 3240427 w 4519987"/>
              <a:gd name="connsiteY50" fmla="*/ 4267200 h 4496940"/>
              <a:gd name="connsiteX51" fmla="*/ 3068977 w 4519987"/>
              <a:gd name="connsiteY51" fmla="*/ 4286250 h 4496940"/>
              <a:gd name="connsiteX52" fmla="*/ 2935627 w 4519987"/>
              <a:gd name="connsiteY52" fmla="*/ 4333875 h 4496940"/>
              <a:gd name="connsiteX53" fmla="*/ 2811802 w 4519987"/>
              <a:gd name="connsiteY53" fmla="*/ 4371975 h 4496940"/>
              <a:gd name="connsiteX54" fmla="*/ 2745127 w 4519987"/>
              <a:gd name="connsiteY54" fmla="*/ 4410075 h 4496940"/>
              <a:gd name="connsiteX55" fmla="*/ 2697502 w 4519987"/>
              <a:gd name="connsiteY55" fmla="*/ 4429125 h 4496940"/>
              <a:gd name="connsiteX56" fmla="*/ 2640352 w 4519987"/>
              <a:gd name="connsiteY56" fmla="*/ 4457700 h 4496940"/>
              <a:gd name="connsiteX57" fmla="*/ 2583202 w 4519987"/>
              <a:gd name="connsiteY57" fmla="*/ 4467225 h 4496940"/>
              <a:gd name="connsiteX58" fmla="*/ 2545102 w 4519987"/>
              <a:gd name="connsiteY58" fmla="*/ 4486275 h 4496940"/>
              <a:gd name="connsiteX59" fmla="*/ 2306977 w 4519987"/>
              <a:gd name="connsiteY59" fmla="*/ 4476750 h 4496940"/>
              <a:gd name="connsiteX60" fmla="*/ 2202202 w 4519987"/>
              <a:gd name="connsiteY60" fmla="*/ 4457700 h 4496940"/>
              <a:gd name="connsiteX61" fmla="*/ 2126002 w 4519987"/>
              <a:gd name="connsiteY61" fmla="*/ 4429125 h 4496940"/>
              <a:gd name="connsiteX62" fmla="*/ 1935502 w 4519987"/>
              <a:gd name="connsiteY62" fmla="*/ 4400550 h 4496940"/>
              <a:gd name="connsiteX63" fmla="*/ 1821202 w 4519987"/>
              <a:gd name="connsiteY63" fmla="*/ 4371975 h 4496940"/>
              <a:gd name="connsiteX64" fmla="*/ 1754527 w 4519987"/>
              <a:gd name="connsiteY64" fmla="*/ 4352925 h 4496940"/>
              <a:gd name="connsiteX65" fmla="*/ 1687852 w 4519987"/>
              <a:gd name="connsiteY65" fmla="*/ 4343400 h 4496940"/>
              <a:gd name="connsiteX66" fmla="*/ 1573552 w 4519987"/>
              <a:gd name="connsiteY66" fmla="*/ 4305300 h 4496940"/>
              <a:gd name="connsiteX67" fmla="*/ 1402102 w 4519987"/>
              <a:gd name="connsiteY67" fmla="*/ 4276725 h 4496940"/>
              <a:gd name="connsiteX68" fmla="*/ 1287802 w 4519987"/>
              <a:gd name="connsiteY68" fmla="*/ 4229100 h 4496940"/>
              <a:gd name="connsiteX69" fmla="*/ 1221127 w 4519987"/>
              <a:gd name="connsiteY69" fmla="*/ 4200525 h 4496940"/>
              <a:gd name="connsiteX70" fmla="*/ 1144927 w 4519987"/>
              <a:gd name="connsiteY70" fmla="*/ 4171950 h 4496940"/>
              <a:gd name="connsiteX71" fmla="*/ 1087777 w 4519987"/>
              <a:gd name="connsiteY71" fmla="*/ 4143375 h 4496940"/>
              <a:gd name="connsiteX72" fmla="*/ 1030627 w 4519987"/>
              <a:gd name="connsiteY72" fmla="*/ 4124325 h 4496940"/>
              <a:gd name="connsiteX73" fmla="*/ 925852 w 4519987"/>
              <a:gd name="connsiteY73" fmla="*/ 4067175 h 4496940"/>
              <a:gd name="connsiteX74" fmla="*/ 830602 w 4519987"/>
              <a:gd name="connsiteY74" fmla="*/ 3981450 h 4496940"/>
              <a:gd name="connsiteX75" fmla="*/ 763927 w 4519987"/>
              <a:gd name="connsiteY75" fmla="*/ 3914775 h 4496940"/>
              <a:gd name="connsiteX76" fmla="*/ 725827 w 4519987"/>
              <a:gd name="connsiteY76" fmla="*/ 3876675 h 4496940"/>
              <a:gd name="connsiteX77" fmla="*/ 697252 w 4519987"/>
              <a:gd name="connsiteY77" fmla="*/ 3838575 h 4496940"/>
              <a:gd name="connsiteX78" fmla="*/ 640102 w 4519987"/>
              <a:gd name="connsiteY78" fmla="*/ 3781425 h 4496940"/>
              <a:gd name="connsiteX79" fmla="*/ 611527 w 4519987"/>
              <a:gd name="connsiteY79" fmla="*/ 3733800 h 4496940"/>
              <a:gd name="connsiteX80" fmla="*/ 554377 w 4519987"/>
              <a:gd name="connsiteY80" fmla="*/ 3657600 h 4496940"/>
              <a:gd name="connsiteX81" fmla="*/ 525802 w 4519987"/>
              <a:gd name="connsiteY81" fmla="*/ 3609975 h 4496940"/>
              <a:gd name="connsiteX82" fmla="*/ 497227 w 4519987"/>
              <a:gd name="connsiteY82" fmla="*/ 3552825 h 4496940"/>
              <a:gd name="connsiteX83" fmla="*/ 440077 w 4519987"/>
              <a:gd name="connsiteY83" fmla="*/ 3495675 h 4496940"/>
              <a:gd name="connsiteX84" fmla="*/ 411502 w 4519987"/>
              <a:gd name="connsiteY84" fmla="*/ 3448050 h 4496940"/>
              <a:gd name="connsiteX85" fmla="*/ 278152 w 4519987"/>
              <a:gd name="connsiteY85" fmla="*/ 3257550 h 4496940"/>
              <a:gd name="connsiteX86" fmla="*/ 249577 w 4519987"/>
              <a:gd name="connsiteY86" fmla="*/ 3200400 h 4496940"/>
              <a:gd name="connsiteX87" fmla="*/ 240052 w 4519987"/>
              <a:gd name="connsiteY87" fmla="*/ 3162300 h 4496940"/>
              <a:gd name="connsiteX88" fmla="*/ 221002 w 4519987"/>
              <a:gd name="connsiteY88" fmla="*/ 3105150 h 4496940"/>
              <a:gd name="connsiteX89" fmla="*/ 173377 w 4519987"/>
              <a:gd name="connsiteY89" fmla="*/ 3019425 h 4496940"/>
              <a:gd name="connsiteX90" fmla="*/ 144802 w 4519987"/>
              <a:gd name="connsiteY90" fmla="*/ 2924175 h 4496940"/>
              <a:gd name="connsiteX91" fmla="*/ 68602 w 4519987"/>
              <a:gd name="connsiteY91" fmla="*/ 2724150 h 4496940"/>
              <a:gd name="connsiteX92" fmla="*/ 49552 w 4519987"/>
              <a:gd name="connsiteY92" fmla="*/ 2638425 h 4496940"/>
              <a:gd name="connsiteX93" fmla="*/ 40027 w 4519987"/>
              <a:gd name="connsiteY93" fmla="*/ 2562225 h 4496940"/>
              <a:gd name="connsiteX94" fmla="*/ 30502 w 4519987"/>
              <a:gd name="connsiteY94" fmla="*/ 2514600 h 4496940"/>
              <a:gd name="connsiteX95" fmla="*/ 11452 w 4519987"/>
              <a:gd name="connsiteY95" fmla="*/ 2400300 h 4496940"/>
              <a:gd name="connsiteX96" fmla="*/ 20977 w 4519987"/>
              <a:gd name="connsiteY96" fmla="*/ 1905000 h 4496940"/>
              <a:gd name="connsiteX97" fmla="*/ 30502 w 4519987"/>
              <a:gd name="connsiteY97" fmla="*/ 1838325 h 4496940"/>
              <a:gd name="connsiteX98" fmla="*/ 49552 w 4519987"/>
              <a:gd name="connsiteY98" fmla="*/ 1781175 h 4496940"/>
              <a:gd name="connsiteX99" fmla="*/ 59077 w 4519987"/>
              <a:gd name="connsiteY99" fmla="*/ 1743075 h 4496940"/>
              <a:gd name="connsiteX100" fmla="*/ 78127 w 4519987"/>
              <a:gd name="connsiteY100" fmla="*/ 1685925 h 4496940"/>
              <a:gd name="connsiteX101" fmla="*/ 87652 w 4519987"/>
              <a:gd name="connsiteY101" fmla="*/ 1638300 h 4496940"/>
              <a:gd name="connsiteX102" fmla="*/ 106702 w 4519987"/>
              <a:gd name="connsiteY102" fmla="*/ 1590675 h 4496940"/>
              <a:gd name="connsiteX103" fmla="*/ 135277 w 4519987"/>
              <a:gd name="connsiteY103" fmla="*/ 1504950 h 4496940"/>
              <a:gd name="connsiteX104" fmla="*/ 154327 w 4519987"/>
              <a:gd name="connsiteY104" fmla="*/ 1419225 h 4496940"/>
              <a:gd name="connsiteX105" fmla="*/ 230527 w 4519987"/>
              <a:gd name="connsiteY105" fmla="*/ 1276350 h 4496940"/>
              <a:gd name="connsiteX106" fmla="*/ 240052 w 4519987"/>
              <a:gd name="connsiteY106" fmla="*/ 1247775 h 4496940"/>
              <a:gd name="connsiteX107" fmla="*/ 268627 w 4519987"/>
              <a:gd name="connsiteY107" fmla="*/ 1200150 h 4496940"/>
              <a:gd name="connsiteX108" fmla="*/ 287677 w 4519987"/>
              <a:gd name="connsiteY108" fmla="*/ 1152525 h 4496940"/>
              <a:gd name="connsiteX109" fmla="*/ 316252 w 4519987"/>
              <a:gd name="connsiteY109" fmla="*/ 1114425 h 4496940"/>
              <a:gd name="connsiteX110" fmla="*/ 363877 w 4519987"/>
              <a:gd name="connsiteY110" fmla="*/ 1038225 h 4496940"/>
              <a:gd name="connsiteX111" fmla="*/ 382927 w 4519987"/>
              <a:gd name="connsiteY111" fmla="*/ 1009650 h 4496940"/>
              <a:gd name="connsiteX112" fmla="*/ 440077 w 4519987"/>
              <a:gd name="connsiteY112" fmla="*/ 904875 h 4496940"/>
              <a:gd name="connsiteX113" fmla="*/ 478177 w 4519987"/>
              <a:gd name="connsiteY113" fmla="*/ 857250 h 4496940"/>
              <a:gd name="connsiteX114" fmla="*/ 497227 w 4519987"/>
              <a:gd name="connsiteY114" fmla="*/ 828675 h 4496940"/>
              <a:gd name="connsiteX115" fmla="*/ 535327 w 4519987"/>
              <a:gd name="connsiteY115" fmla="*/ 800100 h 4496940"/>
              <a:gd name="connsiteX116" fmla="*/ 602002 w 4519987"/>
              <a:gd name="connsiteY116" fmla="*/ 733425 h 4496940"/>
              <a:gd name="connsiteX117" fmla="*/ 668677 w 4519987"/>
              <a:gd name="connsiteY117" fmla="*/ 676275 h 4496940"/>
              <a:gd name="connsiteX118" fmla="*/ 697252 w 4519987"/>
              <a:gd name="connsiteY118" fmla="*/ 657225 h 4496940"/>
              <a:gd name="connsiteX119" fmla="*/ 840127 w 4519987"/>
              <a:gd name="connsiteY119" fmla="*/ 533400 h 4496940"/>
              <a:gd name="connsiteX120" fmla="*/ 887752 w 4519987"/>
              <a:gd name="connsiteY120" fmla="*/ 504825 h 4496940"/>
              <a:gd name="connsiteX121" fmla="*/ 1167152 w 4519987"/>
              <a:gd name="connsiteY121" fmla="*/ 311150 h 4496940"/>
              <a:gd name="connsiteX122" fmla="*/ 1268752 w 4519987"/>
              <a:gd name="connsiteY122" fmla="*/ 285750 h 4496940"/>
              <a:gd name="connsiteX123" fmla="*/ 1411627 w 4519987"/>
              <a:gd name="connsiteY123" fmla="*/ 190500 h 4496940"/>
              <a:gd name="connsiteX124" fmla="*/ 1449727 w 4519987"/>
              <a:gd name="connsiteY124" fmla="*/ 161925 h 4496940"/>
              <a:gd name="connsiteX125" fmla="*/ 1525927 w 4519987"/>
              <a:gd name="connsiteY125" fmla="*/ 152400 h 4496940"/>
              <a:gd name="connsiteX126" fmla="*/ 1583077 w 4519987"/>
              <a:gd name="connsiteY126" fmla="*/ 142875 h 4496940"/>
              <a:gd name="connsiteX127" fmla="*/ 1716427 w 4519987"/>
              <a:gd name="connsiteY127" fmla="*/ 123825 h 4496940"/>
              <a:gd name="connsiteX128" fmla="*/ 1811677 w 4519987"/>
              <a:gd name="connsiteY128" fmla="*/ 114300 h 4496940"/>
              <a:gd name="connsiteX129" fmla="*/ 1859302 w 4519987"/>
              <a:gd name="connsiteY129" fmla="*/ 104775 h 4496940"/>
              <a:gd name="connsiteX130" fmla="*/ 1916452 w 4519987"/>
              <a:gd name="connsiteY130" fmla="*/ 95250 h 4496940"/>
              <a:gd name="connsiteX131" fmla="*/ 2030752 w 4519987"/>
              <a:gd name="connsiteY131" fmla="*/ 66675 h 4496940"/>
              <a:gd name="connsiteX132" fmla="*/ 2097427 w 4519987"/>
              <a:gd name="connsiteY132" fmla="*/ 47625 h 4496940"/>
              <a:gd name="connsiteX133" fmla="*/ 2164102 w 4519987"/>
              <a:gd name="connsiteY133" fmla="*/ 38100 h 4496940"/>
              <a:gd name="connsiteX134" fmla="*/ 2392702 w 4519987"/>
              <a:gd name="connsiteY13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659527 w 4519987"/>
              <a:gd name="connsiteY40" fmla="*/ 3971925 h 4496940"/>
              <a:gd name="connsiteX41" fmla="*/ 3630952 w 4519987"/>
              <a:gd name="connsiteY41" fmla="*/ 4010025 h 4496940"/>
              <a:gd name="connsiteX42" fmla="*/ 3621427 w 4519987"/>
              <a:gd name="connsiteY42" fmla="*/ 4038600 h 4496940"/>
              <a:gd name="connsiteX43" fmla="*/ 3554752 w 4519987"/>
              <a:gd name="connsiteY43" fmla="*/ 4095750 h 4496940"/>
              <a:gd name="connsiteX44" fmla="*/ 3516652 w 4519987"/>
              <a:gd name="connsiteY44" fmla="*/ 4114800 h 4496940"/>
              <a:gd name="connsiteX45" fmla="*/ 3497602 w 4519987"/>
              <a:gd name="connsiteY45" fmla="*/ 4143375 h 4496940"/>
              <a:gd name="connsiteX46" fmla="*/ 3383302 w 4519987"/>
              <a:gd name="connsiteY46" fmla="*/ 4210050 h 4496940"/>
              <a:gd name="connsiteX47" fmla="*/ 3335677 w 4519987"/>
              <a:gd name="connsiteY47" fmla="*/ 4238625 h 4496940"/>
              <a:gd name="connsiteX48" fmla="*/ 3288052 w 4519987"/>
              <a:gd name="connsiteY48" fmla="*/ 4248150 h 4496940"/>
              <a:gd name="connsiteX49" fmla="*/ 3240427 w 4519987"/>
              <a:gd name="connsiteY49" fmla="*/ 4267200 h 4496940"/>
              <a:gd name="connsiteX50" fmla="*/ 3068977 w 4519987"/>
              <a:gd name="connsiteY50" fmla="*/ 4286250 h 4496940"/>
              <a:gd name="connsiteX51" fmla="*/ 2935627 w 4519987"/>
              <a:gd name="connsiteY51" fmla="*/ 4333875 h 4496940"/>
              <a:gd name="connsiteX52" fmla="*/ 2811802 w 4519987"/>
              <a:gd name="connsiteY52" fmla="*/ 4371975 h 4496940"/>
              <a:gd name="connsiteX53" fmla="*/ 2745127 w 4519987"/>
              <a:gd name="connsiteY53" fmla="*/ 4410075 h 4496940"/>
              <a:gd name="connsiteX54" fmla="*/ 2697502 w 4519987"/>
              <a:gd name="connsiteY54" fmla="*/ 4429125 h 4496940"/>
              <a:gd name="connsiteX55" fmla="*/ 2640352 w 4519987"/>
              <a:gd name="connsiteY55" fmla="*/ 4457700 h 4496940"/>
              <a:gd name="connsiteX56" fmla="*/ 2583202 w 4519987"/>
              <a:gd name="connsiteY56" fmla="*/ 4467225 h 4496940"/>
              <a:gd name="connsiteX57" fmla="*/ 2545102 w 4519987"/>
              <a:gd name="connsiteY57" fmla="*/ 4486275 h 4496940"/>
              <a:gd name="connsiteX58" fmla="*/ 2306977 w 4519987"/>
              <a:gd name="connsiteY58" fmla="*/ 4476750 h 4496940"/>
              <a:gd name="connsiteX59" fmla="*/ 2202202 w 4519987"/>
              <a:gd name="connsiteY59" fmla="*/ 4457700 h 4496940"/>
              <a:gd name="connsiteX60" fmla="*/ 2126002 w 4519987"/>
              <a:gd name="connsiteY60" fmla="*/ 4429125 h 4496940"/>
              <a:gd name="connsiteX61" fmla="*/ 1935502 w 4519987"/>
              <a:gd name="connsiteY61" fmla="*/ 4400550 h 4496940"/>
              <a:gd name="connsiteX62" fmla="*/ 1821202 w 4519987"/>
              <a:gd name="connsiteY62" fmla="*/ 4371975 h 4496940"/>
              <a:gd name="connsiteX63" fmla="*/ 1754527 w 4519987"/>
              <a:gd name="connsiteY63" fmla="*/ 4352925 h 4496940"/>
              <a:gd name="connsiteX64" fmla="*/ 1687852 w 4519987"/>
              <a:gd name="connsiteY64" fmla="*/ 4343400 h 4496940"/>
              <a:gd name="connsiteX65" fmla="*/ 1573552 w 4519987"/>
              <a:gd name="connsiteY65" fmla="*/ 4305300 h 4496940"/>
              <a:gd name="connsiteX66" fmla="*/ 1402102 w 4519987"/>
              <a:gd name="connsiteY66" fmla="*/ 4276725 h 4496940"/>
              <a:gd name="connsiteX67" fmla="*/ 1287802 w 4519987"/>
              <a:gd name="connsiteY67" fmla="*/ 4229100 h 4496940"/>
              <a:gd name="connsiteX68" fmla="*/ 1221127 w 4519987"/>
              <a:gd name="connsiteY68" fmla="*/ 4200525 h 4496940"/>
              <a:gd name="connsiteX69" fmla="*/ 1144927 w 4519987"/>
              <a:gd name="connsiteY69" fmla="*/ 4171950 h 4496940"/>
              <a:gd name="connsiteX70" fmla="*/ 1087777 w 4519987"/>
              <a:gd name="connsiteY70" fmla="*/ 4143375 h 4496940"/>
              <a:gd name="connsiteX71" fmla="*/ 1030627 w 4519987"/>
              <a:gd name="connsiteY71" fmla="*/ 4124325 h 4496940"/>
              <a:gd name="connsiteX72" fmla="*/ 925852 w 4519987"/>
              <a:gd name="connsiteY72" fmla="*/ 4067175 h 4496940"/>
              <a:gd name="connsiteX73" fmla="*/ 830602 w 4519987"/>
              <a:gd name="connsiteY73" fmla="*/ 3981450 h 4496940"/>
              <a:gd name="connsiteX74" fmla="*/ 763927 w 4519987"/>
              <a:gd name="connsiteY74" fmla="*/ 3914775 h 4496940"/>
              <a:gd name="connsiteX75" fmla="*/ 725827 w 4519987"/>
              <a:gd name="connsiteY75" fmla="*/ 3876675 h 4496940"/>
              <a:gd name="connsiteX76" fmla="*/ 697252 w 4519987"/>
              <a:gd name="connsiteY76" fmla="*/ 3838575 h 4496940"/>
              <a:gd name="connsiteX77" fmla="*/ 640102 w 4519987"/>
              <a:gd name="connsiteY77" fmla="*/ 3781425 h 4496940"/>
              <a:gd name="connsiteX78" fmla="*/ 611527 w 4519987"/>
              <a:gd name="connsiteY78" fmla="*/ 3733800 h 4496940"/>
              <a:gd name="connsiteX79" fmla="*/ 554377 w 4519987"/>
              <a:gd name="connsiteY79" fmla="*/ 3657600 h 4496940"/>
              <a:gd name="connsiteX80" fmla="*/ 525802 w 4519987"/>
              <a:gd name="connsiteY80" fmla="*/ 3609975 h 4496940"/>
              <a:gd name="connsiteX81" fmla="*/ 497227 w 4519987"/>
              <a:gd name="connsiteY81" fmla="*/ 3552825 h 4496940"/>
              <a:gd name="connsiteX82" fmla="*/ 440077 w 4519987"/>
              <a:gd name="connsiteY82" fmla="*/ 3495675 h 4496940"/>
              <a:gd name="connsiteX83" fmla="*/ 411502 w 4519987"/>
              <a:gd name="connsiteY83" fmla="*/ 3448050 h 4496940"/>
              <a:gd name="connsiteX84" fmla="*/ 278152 w 4519987"/>
              <a:gd name="connsiteY84" fmla="*/ 3257550 h 4496940"/>
              <a:gd name="connsiteX85" fmla="*/ 249577 w 4519987"/>
              <a:gd name="connsiteY85" fmla="*/ 3200400 h 4496940"/>
              <a:gd name="connsiteX86" fmla="*/ 240052 w 4519987"/>
              <a:gd name="connsiteY86" fmla="*/ 3162300 h 4496940"/>
              <a:gd name="connsiteX87" fmla="*/ 221002 w 4519987"/>
              <a:gd name="connsiteY87" fmla="*/ 3105150 h 4496940"/>
              <a:gd name="connsiteX88" fmla="*/ 173377 w 4519987"/>
              <a:gd name="connsiteY88" fmla="*/ 3019425 h 4496940"/>
              <a:gd name="connsiteX89" fmla="*/ 144802 w 4519987"/>
              <a:gd name="connsiteY89" fmla="*/ 2924175 h 4496940"/>
              <a:gd name="connsiteX90" fmla="*/ 68602 w 4519987"/>
              <a:gd name="connsiteY90" fmla="*/ 2724150 h 4496940"/>
              <a:gd name="connsiteX91" fmla="*/ 49552 w 4519987"/>
              <a:gd name="connsiteY91" fmla="*/ 2638425 h 4496940"/>
              <a:gd name="connsiteX92" fmla="*/ 40027 w 4519987"/>
              <a:gd name="connsiteY92" fmla="*/ 2562225 h 4496940"/>
              <a:gd name="connsiteX93" fmla="*/ 30502 w 4519987"/>
              <a:gd name="connsiteY93" fmla="*/ 2514600 h 4496940"/>
              <a:gd name="connsiteX94" fmla="*/ 11452 w 4519987"/>
              <a:gd name="connsiteY94" fmla="*/ 2400300 h 4496940"/>
              <a:gd name="connsiteX95" fmla="*/ 20977 w 4519987"/>
              <a:gd name="connsiteY95" fmla="*/ 1905000 h 4496940"/>
              <a:gd name="connsiteX96" fmla="*/ 30502 w 4519987"/>
              <a:gd name="connsiteY96" fmla="*/ 1838325 h 4496940"/>
              <a:gd name="connsiteX97" fmla="*/ 49552 w 4519987"/>
              <a:gd name="connsiteY97" fmla="*/ 1781175 h 4496940"/>
              <a:gd name="connsiteX98" fmla="*/ 59077 w 4519987"/>
              <a:gd name="connsiteY98" fmla="*/ 1743075 h 4496940"/>
              <a:gd name="connsiteX99" fmla="*/ 78127 w 4519987"/>
              <a:gd name="connsiteY99" fmla="*/ 1685925 h 4496940"/>
              <a:gd name="connsiteX100" fmla="*/ 87652 w 4519987"/>
              <a:gd name="connsiteY100" fmla="*/ 1638300 h 4496940"/>
              <a:gd name="connsiteX101" fmla="*/ 106702 w 4519987"/>
              <a:gd name="connsiteY101" fmla="*/ 1590675 h 4496940"/>
              <a:gd name="connsiteX102" fmla="*/ 135277 w 4519987"/>
              <a:gd name="connsiteY102" fmla="*/ 1504950 h 4496940"/>
              <a:gd name="connsiteX103" fmla="*/ 154327 w 4519987"/>
              <a:gd name="connsiteY103" fmla="*/ 1419225 h 4496940"/>
              <a:gd name="connsiteX104" fmla="*/ 230527 w 4519987"/>
              <a:gd name="connsiteY104" fmla="*/ 1276350 h 4496940"/>
              <a:gd name="connsiteX105" fmla="*/ 240052 w 4519987"/>
              <a:gd name="connsiteY105" fmla="*/ 1247775 h 4496940"/>
              <a:gd name="connsiteX106" fmla="*/ 268627 w 4519987"/>
              <a:gd name="connsiteY106" fmla="*/ 1200150 h 4496940"/>
              <a:gd name="connsiteX107" fmla="*/ 287677 w 4519987"/>
              <a:gd name="connsiteY107" fmla="*/ 1152525 h 4496940"/>
              <a:gd name="connsiteX108" fmla="*/ 316252 w 4519987"/>
              <a:gd name="connsiteY108" fmla="*/ 1114425 h 4496940"/>
              <a:gd name="connsiteX109" fmla="*/ 363877 w 4519987"/>
              <a:gd name="connsiteY109" fmla="*/ 1038225 h 4496940"/>
              <a:gd name="connsiteX110" fmla="*/ 382927 w 4519987"/>
              <a:gd name="connsiteY110" fmla="*/ 1009650 h 4496940"/>
              <a:gd name="connsiteX111" fmla="*/ 440077 w 4519987"/>
              <a:gd name="connsiteY111" fmla="*/ 904875 h 4496940"/>
              <a:gd name="connsiteX112" fmla="*/ 478177 w 4519987"/>
              <a:gd name="connsiteY112" fmla="*/ 857250 h 4496940"/>
              <a:gd name="connsiteX113" fmla="*/ 497227 w 4519987"/>
              <a:gd name="connsiteY113" fmla="*/ 828675 h 4496940"/>
              <a:gd name="connsiteX114" fmla="*/ 535327 w 4519987"/>
              <a:gd name="connsiteY114" fmla="*/ 800100 h 4496940"/>
              <a:gd name="connsiteX115" fmla="*/ 602002 w 4519987"/>
              <a:gd name="connsiteY115" fmla="*/ 733425 h 4496940"/>
              <a:gd name="connsiteX116" fmla="*/ 668677 w 4519987"/>
              <a:gd name="connsiteY116" fmla="*/ 676275 h 4496940"/>
              <a:gd name="connsiteX117" fmla="*/ 697252 w 4519987"/>
              <a:gd name="connsiteY117" fmla="*/ 657225 h 4496940"/>
              <a:gd name="connsiteX118" fmla="*/ 840127 w 4519987"/>
              <a:gd name="connsiteY118" fmla="*/ 533400 h 4496940"/>
              <a:gd name="connsiteX119" fmla="*/ 887752 w 4519987"/>
              <a:gd name="connsiteY119" fmla="*/ 504825 h 4496940"/>
              <a:gd name="connsiteX120" fmla="*/ 1167152 w 4519987"/>
              <a:gd name="connsiteY120" fmla="*/ 311150 h 4496940"/>
              <a:gd name="connsiteX121" fmla="*/ 1268752 w 4519987"/>
              <a:gd name="connsiteY121" fmla="*/ 285750 h 4496940"/>
              <a:gd name="connsiteX122" fmla="*/ 1411627 w 4519987"/>
              <a:gd name="connsiteY122" fmla="*/ 190500 h 4496940"/>
              <a:gd name="connsiteX123" fmla="*/ 1449727 w 4519987"/>
              <a:gd name="connsiteY123" fmla="*/ 161925 h 4496940"/>
              <a:gd name="connsiteX124" fmla="*/ 1525927 w 4519987"/>
              <a:gd name="connsiteY124" fmla="*/ 152400 h 4496940"/>
              <a:gd name="connsiteX125" fmla="*/ 1583077 w 4519987"/>
              <a:gd name="connsiteY125" fmla="*/ 142875 h 4496940"/>
              <a:gd name="connsiteX126" fmla="*/ 1716427 w 4519987"/>
              <a:gd name="connsiteY126" fmla="*/ 123825 h 4496940"/>
              <a:gd name="connsiteX127" fmla="*/ 1811677 w 4519987"/>
              <a:gd name="connsiteY127" fmla="*/ 114300 h 4496940"/>
              <a:gd name="connsiteX128" fmla="*/ 1859302 w 4519987"/>
              <a:gd name="connsiteY128" fmla="*/ 104775 h 4496940"/>
              <a:gd name="connsiteX129" fmla="*/ 1916452 w 4519987"/>
              <a:gd name="connsiteY129" fmla="*/ 95250 h 4496940"/>
              <a:gd name="connsiteX130" fmla="*/ 2030752 w 4519987"/>
              <a:gd name="connsiteY130" fmla="*/ 66675 h 4496940"/>
              <a:gd name="connsiteX131" fmla="*/ 2097427 w 4519987"/>
              <a:gd name="connsiteY131" fmla="*/ 47625 h 4496940"/>
              <a:gd name="connsiteX132" fmla="*/ 2164102 w 4519987"/>
              <a:gd name="connsiteY132" fmla="*/ 38100 h 4496940"/>
              <a:gd name="connsiteX133" fmla="*/ 2392702 w 4519987"/>
              <a:gd name="connsiteY13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659527 w 4519987"/>
              <a:gd name="connsiteY39" fmla="*/ 3971925 h 4496940"/>
              <a:gd name="connsiteX40" fmla="*/ 3630952 w 4519987"/>
              <a:gd name="connsiteY40" fmla="*/ 4010025 h 4496940"/>
              <a:gd name="connsiteX41" fmla="*/ 3621427 w 4519987"/>
              <a:gd name="connsiteY41" fmla="*/ 4038600 h 4496940"/>
              <a:gd name="connsiteX42" fmla="*/ 3554752 w 4519987"/>
              <a:gd name="connsiteY42" fmla="*/ 4095750 h 4496940"/>
              <a:gd name="connsiteX43" fmla="*/ 3516652 w 4519987"/>
              <a:gd name="connsiteY43" fmla="*/ 4114800 h 4496940"/>
              <a:gd name="connsiteX44" fmla="*/ 3497602 w 4519987"/>
              <a:gd name="connsiteY44" fmla="*/ 4143375 h 4496940"/>
              <a:gd name="connsiteX45" fmla="*/ 3383302 w 4519987"/>
              <a:gd name="connsiteY45" fmla="*/ 4210050 h 4496940"/>
              <a:gd name="connsiteX46" fmla="*/ 3335677 w 4519987"/>
              <a:gd name="connsiteY46" fmla="*/ 4238625 h 4496940"/>
              <a:gd name="connsiteX47" fmla="*/ 3288052 w 4519987"/>
              <a:gd name="connsiteY47" fmla="*/ 4248150 h 4496940"/>
              <a:gd name="connsiteX48" fmla="*/ 3240427 w 4519987"/>
              <a:gd name="connsiteY48" fmla="*/ 4267200 h 4496940"/>
              <a:gd name="connsiteX49" fmla="*/ 3068977 w 4519987"/>
              <a:gd name="connsiteY49" fmla="*/ 4286250 h 4496940"/>
              <a:gd name="connsiteX50" fmla="*/ 2935627 w 4519987"/>
              <a:gd name="connsiteY50" fmla="*/ 4333875 h 4496940"/>
              <a:gd name="connsiteX51" fmla="*/ 2811802 w 4519987"/>
              <a:gd name="connsiteY51" fmla="*/ 4371975 h 4496940"/>
              <a:gd name="connsiteX52" fmla="*/ 2745127 w 4519987"/>
              <a:gd name="connsiteY52" fmla="*/ 4410075 h 4496940"/>
              <a:gd name="connsiteX53" fmla="*/ 2697502 w 4519987"/>
              <a:gd name="connsiteY53" fmla="*/ 4429125 h 4496940"/>
              <a:gd name="connsiteX54" fmla="*/ 2640352 w 4519987"/>
              <a:gd name="connsiteY54" fmla="*/ 4457700 h 4496940"/>
              <a:gd name="connsiteX55" fmla="*/ 2583202 w 4519987"/>
              <a:gd name="connsiteY55" fmla="*/ 4467225 h 4496940"/>
              <a:gd name="connsiteX56" fmla="*/ 2545102 w 4519987"/>
              <a:gd name="connsiteY56" fmla="*/ 4486275 h 4496940"/>
              <a:gd name="connsiteX57" fmla="*/ 2306977 w 4519987"/>
              <a:gd name="connsiteY57" fmla="*/ 4476750 h 4496940"/>
              <a:gd name="connsiteX58" fmla="*/ 2202202 w 4519987"/>
              <a:gd name="connsiteY58" fmla="*/ 4457700 h 4496940"/>
              <a:gd name="connsiteX59" fmla="*/ 2126002 w 4519987"/>
              <a:gd name="connsiteY59" fmla="*/ 4429125 h 4496940"/>
              <a:gd name="connsiteX60" fmla="*/ 1935502 w 4519987"/>
              <a:gd name="connsiteY60" fmla="*/ 4400550 h 4496940"/>
              <a:gd name="connsiteX61" fmla="*/ 1821202 w 4519987"/>
              <a:gd name="connsiteY61" fmla="*/ 4371975 h 4496940"/>
              <a:gd name="connsiteX62" fmla="*/ 1754527 w 4519987"/>
              <a:gd name="connsiteY62" fmla="*/ 4352925 h 4496940"/>
              <a:gd name="connsiteX63" fmla="*/ 1687852 w 4519987"/>
              <a:gd name="connsiteY63" fmla="*/ 4343400 h 4496940"/>
              <a:gd name="connsiteX64" fmla="*/ 1573552 w 4519987"/>
              <a:gd name="connsiteY64" fmla="*/ 4305300 h 4496940"/>
              <a:gd name="connsiteX65" fmla="*/ 1402102 w 4519987"/>
              <a:gd name="connsiteY65" fmla="*/ 4276725 h 4496940"/>
              <a:gd name="connsiteX66" fmla="*/ 1287802 w 4519987"/>
              <a:gd name="connsiteY66" fmla="*/ 4229100 h 4496940"/>
              <a:gd name="connsiteX67" fmla="*/ 1221127 w 4519987"/>
              <a:gd name="connsiteY67" fmla="*/ 4200525 h 4496940"/>
              <a:gd name="connsiteX68" fmla="*/ 1144927 w 4519987"/>
              <a:gd name="connsiteY68" fmla="*/ 4171950 h 4496940"/>
              <a:gd name="connsiteX69" fmla="*/ 1087777 w 4519987"/>
              <a:gd name="connsiteY69" fmla="*/ 4143375 h 4496940"/>
              <a:gd name="connsiteX70" fmla="*/ 1030627 w 4519987"/>
              <a:gd name="connsiteY70" fmla="*/ 4124325 h 4496940"/>
              <a:gd name="connsiteX71" fmla="*/ 925852 w 4519987"/>
              <a:gd name="connsiteY71" fmla="*/ 4067175 h 4496940"/>
              <a:gd name="connsiteX72" fmla="*/ 830602 w 4519987"/>
              <a:gd name="connsiteY72" fmla="*/ 3981450 h 4496940"/>
              <a:gd name="connsiteX73" fmla="*/ 763927 w 4519987"/>
              <a:gd name="connsiteY73" fmla="*/ 3914775 h 4496940"/>
              <a:gd name="connsiteX74" fmla="*/ 725827 w 4519987"/>
              <a:gd name="connsiteY74" fmla="*/ 3876675 h 4496940"/>
              <a:gd name="connsiteX75" fmla="*/ 697252 w 4519987"/>
              <a:gd name="connsiteY75" fmla="*/ 3838575 h 4496940"/>
              <a:gd name="connsiteX76" fmla="*/ 640102 w 4519987"/>
              <a:gd name="connsiteY76" fmla="*/ 3781425 h 4496940"/>
              <a:gd name="connsiteX77" fmla="*/ 611527 w 4519987"/>
              <a:gd name="connsiteY77" fmla="*/ 3733800 h 4496940"/>
              <a:gd name="connsiteX78" fmla="*/ 554377 w 4519987"/>
              <a:gd name="connsiteY78" fmla="*/ 3657600 h 4496940"/>
              <a:gd name="connsiteX79" fmla="*/ 525802 w 4519987"/>
              <a:gd name="connsiteY79" fmla="*/ 3609975 h 4496940"/>
              <a:gd name="connsiteX80" fmla="*/ 497227 w 4519987"/>
              <a:gd name="connsiteY80" fmla="*/ 3552825 h 4496940"/>
              <a:gd name="connsiteX81" fmla="*/ 440077 w 4519987"/>
              <a:gd name="connsiteY81" fmla="*/ 3495675 h 4496940"/>
              <a:gd name="connsiteX82" fmla="*/ 411502 w 4519987"/>
              <a:gd name="connsiteY82" fmla="*/ 3448050 h 4496940"/>
              <a:gd name="connsiteX83" fmla="*/ 278152 w 4519987"/>
              <a:gd name="connsiteY83" fmla="*/ 3257550 h 4496940"/>
              <a:gd name="connsiteX84" fmla="*/ 249577 w 4519987"/>
              <a:gd name="connsiteY84" fmla="*/ 3200400 h 4496940"/>
              <a:gd name="connsiteX85" fmla="*/ 240052 w 4519987"/>
              <a:gd name="connsiteY85" fmla="*/ 3162300 h 4496940"/>
              <a:gd name="connsiteX86" fmla="*/ 221002 w 4519987"/>
              <a:gd name="connsiteY86" fmla="*/ 3105150 h 4496940"/>
              <a:gd name="connsiteX87" fmla="*/ 173377 w 4519987"/>
              <a:gd name="connsiteY87" fmla="*/ 3019425 h 4496940"/>
              <a:gd name="connsiteX88" fmla="*/ 144802 w 4519987"/>
              <a:gd name="connsiteY88" fmla="*/ 2924175 h 4496940"/>
              <a:gd name="connsiteX89" fmla="*/ 68602 w 4519987"/>
              <a:gd name="connsiteY89" fmla="*/ 2724150 h 4496940"/>
              <a:gd name="connsiteX90" fmla="*/ 49552 w 4519987"/>
              <a:gd name="connsiteY90" fmla="*/ 2638425 h 4496940"/>
              <a:gd name="connsiteX91" fmla="*/ 40027 w 4519987"/>
              <a:gd name="connsiteY91" fmla="*/ 2562225 h 4496940"/>
              <a:gd name="connsiteX92" fmla="*/ 30502 w 4519987"/>
              <a:gd name="connsiteY92" fmla="*/ 2514600 h 4496940"/>
              <a:gd name="connsiteX93" fmla="*/ 11452 w 4519987"/>
              <a:gd name="connsiteY93" fmla="*/ 2400300 h 4496940"/>
              <a:gd name="connsiteX94" fmla="*/ 20977 w 4519987"/>
              <a:gd name="connsiteY94" fmla="*/ 1905000 h 4496940"/>
              <a:gd name="connsiteX95" fmla="*/ 30502 w 4519987"/>
              <a:gd name="connsiteY95" fmla="*/ 1838325 h 4496940"/>
              <a:gd name="connsiteX96" fmla="*/ 49552 w 4519987"/>
              <a:gd name="connsiteY96" fmla="*/ 1781175 h 4496940"/>
              <a:gd name="connsiteX97" fmla="*/ 59077 w 4519987"/>
              <a:gd name="connsiteY97" fmla="*/ 1743075 h 4496940"/>
              <a:gd name="connsiteX98" fmla="*/ 78127 w 4519987"/>
              <a:gd name="connsiteY98" fmla="*/ 1685925 h 4496940"/>
              <a:gd name="connsiteX99" fmla="*/ 87652 w 4519987"/>
              <a:gd name="connsiteY99" fmla="*/ 1638300 h 4496940"/>
              <a:gd name="connsiteX100" fmla="*/ 106702 w 4519987"/>
              <a:gd name="connsiteY100" fmla="*/ 1590675 h 4496940"/>
              <a:gd name="connsiteX101" fmla="*/ 135277 w 4519987"/>
              <a:gd name="connsiteY101" fmla="*/ 1504950 h 4496940"/>
              <a:gd name="connsiteX102" fmla="*/ 154327 w 4519987"/>
              <a:gd name="connsiteY102" fmla="*/ 1419225 h 4496940"/>
              <a:gd name="connsiteX103" fmla="*/ 230527 w 4519987"/>
              <a:gd name="connsiteY103" fmla="*/ 1276350 h 4496940"/>
              <a:gd name="connsiteX104" fmla="*/ 240052 w 4519987"/>
              <a:gd name="connsiteY104" fmla="*/ 1247775 h 4496940"/>
              <a:gd name="connsiteX105" fmla="*/ 268627 w 4519987"/>
              <a:gd name="connsiteY105" fmla="*/ 1200150 h 4496940"/>
              <a:gd name="connsiteX106" fmla="*/ 287677 w 4519987"/>
              <a:gd name="connsiteY106" fmla="*/ 1152525 h 4496940"/>
              <a:gd name="connsiteX107" fmla="*/ 316252 w 4519987"/>
              <a:gd name="connsiteY107" fmla="*/ 1114425 h 4496940"/>
              <a:gd name="connsiteX108" fmla="*/ 363877 w 4519987"/>
              <a:gd name="connsiteY108" fmla="*/ 1038225 h 4496940"/>
              <a:gd name="connsiteX109" fmla="*/ 382927 w 4519987"/>
              <a:gd name="connsiteY109" fmla="*/ 1009650 h 4496940"/>
              <a:gd name="connsiteX110" fmla="*/ 440077 w 4519987"/>
              <a:gd name="connsiteY110" fmla="*/ 904875 h 4496940"/>
              <a:gd name="connsiteX111" fmla="*/ 478177 w 4519987"/>
              <a:gd name="connsiteY111" fmla="*/ 857250 h 4496940"/>
              <a:gd name="connsiteX112" fmla="*/ 497227 w 4519987"/>
              <a:gd name="connsiteY112" fmla="*/ 828675 h 4496940"/>
              <a:gd name="connsiteX113" fmla="*/ 535327 w 4519987"/>
              <a:gd name="connsiteY113" fmla="*/ 800100 h 4496940"/>
              <a:gd name="connsiteX114" fmla="*/ 602002 w 4519987"/>
              <a:gd name="connsiteY114" fmla="*/ 733425 h 4496940"/>
              <a:gd name="connsiteX115" fmla="*/ 668677 w 4519987"/>
              <a:gd name="connsiteY115" fmla="*/ 676275 h 4496940"/>
              <a:gd name="connsiteX116" fmla="*/ 697252 w 4519987"/>
              <a:gd name="connsiteY116" fmla="*/ 657225 h 4496940"/>
              <a:gd name="connsiteX117" fmla="*/ 840127 w 4519987"/>
              <a:gd name="connsiteY117" fmla="*/ 533400 h 4496940"/>
              <a:gd name="connsiteX118" fmla="*/ 887752 w 4519987"/>
              <a:gd name="connsiteY118" fmla="*/ 504825 h 4496940"/>
              <a:gd name="connsiteX119" fmla="*/ 1167152 w 4519987"/>
              <a:gd name="connsiteY119" fmla="*/ 311150 h 4496940"/>
              <a:gd name="connsiteX120" fmla="*/ 1268752 w 4519987"/>
              <a:gd name="connsiteY120" fmla="*/ 285750 h 4496940"/>
              <a:gd name="connsiteX121" fmla="*/ 1411627 w 4519987"/>
              <a:gd name="connsiteY121" fmla="*/ 190500 h 4496940"/>
              <a:gd name="connsiteX122" fmla="*/ 1449727 w 4519987"/>
              <a:gd name="connsiteY122" fmla="*/ 161925 h 4496940"/>
              <a:gd name="connsiteX123" fmla="*/ 1525927 w 4519987"/>
              <a:gd name="connsiteY123" fmla="*/ 152400 h 4496940"/>
              <a:gd name="connsiteX124" fmla="*/ 1583077 w 4519987"/>
              <a:gd name="connsiteY124" fmla="*/ 142875 h 4496940"/>
              <a:gd name="connsiteX125" fmla="*/ 1716427 w 4519987"/>
              <a:gd name="connsiteY125" fmla="*/ 123825 h 4496940"/>
              <a:gd name="connsiteX126" fmla="*/ 1811677 w 4519987"/>
              <a:gd name="connsiteY126" fmla="*/ 114300 h 4496940"/>
              <a:gd name="connsiteX127" fmla="*/ 1859302 w 4519987"/>
              <a:gd name="connsiteY127" fmla="*/ 104775 h 4496940"/>
              <a:gd name="connsiteX128" fmla="*/ 1916452 w 4519987"/>
              <a:gd name="connsiteY128" fmla="*/ 95250 h 4496940"/>
              <a:gd name="connsiteX129" fmla="*/ 2030752 w 4519987"/>
              <a:gd name="connsiteY129" fmla="*/ 66675 h 4496940"/>
              <a:gd name="connsiteX130" fmla="*/ 2097427 w 4519987"/>
              <a:gd name="connsiteY130" fmla="*/ 47625 h 4496940"/>
              <a:gd name="connsiteX131" fmla="*/ 2164102 w 4519987"/>
              <a:gd name="connsiteY131" fmla="*/ 38100 h 4496940"/>
              <a:gd name="connsiteX132" fmla="*/ 2392702 w 4519987"/>
              <a:gd name="connsiteY13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659527 w 4519987"/>
              <a:gd name="connsiteY38" fmla="*/ 3971925 h 4496940"/>
              <a:gd name="connsiteX39" fmla="*/ 3630952 w 4519987"/>
              <a:gd name="connsiteY39" fmla="*/ 4010025 h 4496940"/>
              <a:gd name="connsiteX40" fmla="*/ 3621427 w 4519987"/>
              <a:gd name="connsiteY40" fmla="*/ 4038600 h 4496940"/>
              <a:gd name="connsiteX41" fmla="*/ 3554752 w 4519987"/>
              <a:gd name="connsiteY41" fmla="*/ 4095750 h 4496940"/>
              <a:gd name="connsiteX42" fmla="*/ 3516652 w 4519987"/>
              <a:gd name="connsiteY42" fmla="*/ 4114800 h 4496940"/>
              <a:gd name="connsiteX43" fmla="*/ 3497602 w 4519987"/>
              <a:gd name="connsiteY43" fmla="*/ 4143375 h 4496940"/>
              <a:gd name="connsiteX44" fmla="*/ 3383302 w 4519987"/>
              <a:gd name="connsiteY44" fmla="*/ 4210050 h 4496940"/>
              <a:gd name="connsiteX45" fmla="*/ 3335677 w 4519987"/>
              <a:gd name="connsiteY45" fmla="*/ 4238625 h 4496940"/>
              <a:gd name="connsiteX46" fmla="*/ 3288052 w 4519987"/>
              <a:gd name="connsiteY46" fmla="*/ 4248150 h 4496940"/>
              <a:gd name="connsiteX47" fmla="*/ 3240427 w 4519987"/>
              <a:gd name="connsiteY47" fmla="*/ 4267200 h 4496940"/>
              <a:gd name="connsiteX48" fmla="*/ 3068977 w 4519987"/>
              <a:gd name="connsiteY48" fmla="*/ 4286250 h 4496940"/>
              <a:gd name="connsiteX49" fmla="*/ 2935627 w 4519987"/>
              <a:gd name="connsiteY49" fmla="*/ 4333875 h 4496940"/>
              <a:gd name="connsiteX50" fmla="*/ 2811802 w 4519987"/>
              <a:gd name="connsiteY50" fmla="*/ 4371975 h 4496940"/>
              <a:gd name="connsiteX51" fmla="*/ 2745127 w 4519987"/>
              <a:gd name="connsiteY51" fmla="*/ 4410075 h 4496940"/>
              <a:gd name="connsiteX52" fmla="*/ 2697502 w 4519987"/>
              <a:gd name="connsiteY52" fmla="*/ 4429125 h 4496940"/>
              <a:gd name="connsiteX53" fmla="*/ 2640352 w 4519987"/>
              <a:gd name="connsiteY53" fmla="*/ 4457700 h 4496940"/>
              <a:gd name="connsiteX54" fmla="*/ 2583202 w 4519987"/>
              <a:gd name="connsiteY54" fmla="*/ 4467225 h 4496940"/>
              <a:gd name="connsiteX55" fmla="*/ 2545102 w 4519987"/>
              <a:gd name="connsiteY55" fmla="*/ 4486275 h 4496940"/>
              <a:gd name="connsiteX56" fmla="*/ 2306977 w 4519987"/>
              <a:gd name="connsiteY56" fmla="*/ 4476750 h 4496940"/>
              <a:gd name="connsiteX57" fmla="*/ 2202202 w 4519987"/>
              <a:gd name="connsiteY57" fmla="*/ 4457700 h 4496940"/>
              <a:gd name="connsiteX58" fmla="*/ 2126002 w 4519987"/>
              <a:gd name="connsiteY58" fmla="*/ 4429125 h 4496940"/>
              <a:gd name="connsiteX59" fmla="*/ 1935502 w 4519987"/>
              <a:gd name="connsiteY59" fmla="*/ 4400550 h 4496940"/>
              <a:gd name="connsiteX60" fmla="*/ 1821202 w 4519987"/>
              <a:gd name="connsiteY60" fmla="*/ 4371975 h 4496940"/>
              <a:gd name="connsiteX61" fmla="*/ 1754527 w 4519987"/>
              <a:gd name="connsiteY61" fmla="*/ 4352925 h 4496940"/>
              <a:gd name="connsiteX62" fmla="*/ 1687852 w 4519987"/>
              <a:gd name="connsiteY62" fmla="*/ 4343400 h 4496940"/>
              <a:gd name="connsiteX63" fmla="*/ 1573552 w 4519987"/>
              <a:gd name="connsiteY63" fmla="*/ 4305300 h 4496940"/>
              <a:gd name="connsiteX64" fmla="*/ 1402102 w 4519987"/>
              <a:gd name="connsiteY64" fmla="*/ 4276725 h 4496940"/>
              <a:gd name="connsiteX65" fmla="*/ 1287802 w 4519987"/>
              <a:gd name="connsiteY65" fmla="*/ 4229100 h 4496940"/>
              <a:gd name="connsiteX66" fmla="*/ 1221127 w 4519987"/>
              <a:gd name="connsiteY66" fmla="*/ 4200525 h 4496940"/>
              <a:gd name="connsiteX67" fmla="*/ 1144927 w 4519987"/>
              <a:gd name="connsiteY67" fmla="*/ 4171950 h 4496940"/>
              <a:gd name="connsiteX68" fmla="*/ 1087777 w 4519987"/>
              <a:gd name="connsiteY68" fmla="*/ 4143375 h 4496940"/>
              <a:gd name="connsiteX69" fmla="*/ 1030627 w 4519987"/>
              <a:gd name="connsiteY69" fmla="*/ 4124325 h 4496940"/>
              <a:gd name="connsiteX70" fmla="*/ 925852 w 4519987"/>
              <a:gd name="connsiteY70" fmla="*/ 4067175 h 4496940"/>
              <a:gd name="connsiteX71" fmla="*/ 830602 w 4519987"/>
              <a:gd name="connsiteY71" fmla="*/ 3981450 h 4496940"/>
              <a:gd name="connsiteX72" fmla="*/ 763927 w 4519987"/>
              <a:gd name="connsiteY72" fmla="*/ 3914775 h 4496940"/>
              <a:gd name="connsiteX73" fmla="*/ 725827 w 4519987"/>
              <a:gd name="connsiteY73" fmla="*/ 3876675 h 4496940"/>
              <a:gd name="connsiteX74" fmla="*/ 697252 w 4519987"/>
              <a:gd name="connsiteY74" fmla="*/ 3838575 h 4496940"/>
              <a:gd name="connsiteX75" fmla="*/ 640102 w 4519987"/>
              <a:gd name="connsiteY75" fmla="*/ 3781425 h 4496940"/>
              <a:gd name="connsiteX76" fmla="*/ 611527 w 4519987"/>
              <a:gd name="connsiteY76" fmla="*/ 3733800 h 4496940"/>
              <a:gd name="connsiteX77" fmla="*/ 554377 w 4519987"/>
              <a:gd name="connsiteY77" fmla="*/ 3657600 h 4496940"/>
              <a:gd name="connsiteX78" fmla="*/ 525802 w 4519987"/>
              <a:gd name="connsiteY78" fmla="*/ 3609975 h 4496940"/>
              <a:gd name="connsiteX79" fmla="*/ 497227 w 4519987"/>
              <a:gd name="connsiteY79" fmla="*/ 3552825 h 4496940"/>
              <a:gd name="connsiteX80" fmla="*/ 440077 w 4519987"/>
              <a:gd name="connsiteY80" fmla="*/ 3495675 h 4496940"/>
              <a:gd name="connsiteX81" fmla="*/ 411502 w 4519987"/>
              <a:gd name="connsiteY81" fmla="*/ 3448050 h 4496940"/>
              <a:gd name="connsiteX82" fmla="*/ 278152 w 4519987"/>
              <a:gd name="connsiteY82" fmla="*/ 3257550 h 4496940"/>
              <a:gd name="connsiteX83" fmla="*/ 249577 w 4519987"/>
              <a:gd name="connsiteY83" fmla="*/ 3200400 h 4496940"/>
              <a:gd name="connsiteX84" fmla="*/ 240052 w 4519987"/>
              <a:gd name="connsiteY84" fmla="*/ 3162300 h 4496940"/>
              <a:gd name="connsiteX85" fmla="*/ 221002 w 4519987"/>
              <a:gd name="connsiteY85" fmla="*/ 3105150 h 4496940"/>
              <a:gd name="connsiteX86" fmla="*/ 173377 w 4519987"/>
              <a:gd name="connsiteY86" fmla="*/ 3019425 h 4496940"/>
              <a:gd name="connsiteX87" fmla="*/ 144802 w 4519987"/>
              <a:gd name="connsiteY87" fmla="*/ 2924175 h 4496940"/>
              <a:gd name="connsiteX88" fmla="*/ 68602 w 4519987"/>
              <a:gd name="connsiteY88" fmla="*/ 2724150 h 4496940"/>
              <a:gd name="connsiteX89" fmla="*/ 49552 w 4519987"/>
              <a:gd name="connsiteY89" fmla="*/ 2638425 h 4496940"/>
              <a:gd name="connsiteX90" fmla="*/ 40027 w 4519987"/>
              <a:gd name="connsiteY90" fmla="*/ 2562225 h 4496940"/>
              <a:gd name="connsiteX91" fmla="*/ 30502 w 4519987"/>
              <a:gd name="connsiteY91" fmla="*/ 2514600 h 4496940"/>
              <a:gd name="connsiteX92" fmla="*/ 11452 w 4519987"/>
              <a:gd name="connsiteY92" fmla="*/ 2400300 h 4496940"/>
              <a:gd name="connsiteX93" fmla="*/ 20977 w 4519987"/>
              <a:gd name="connsiteY93" fmla="*/ 1905000 h 4496940"/>
              <a:gd name="connsiteX94" fmla="*/ 30502 w 4519987"/>
              <a:gd name="connsiteY94" fmla="*/ 1838325 h 4496940"/>
              <a:gd name="connsiteX95" fmla="*/ 49552 w 4519987"/>
              <a:gd name="connsiteY95" fmla="*/ 1781175 h 4496940"/>
              <a:gd name="connsiteX96" fmla="*/ 59077 w 4519987"/>
              <a:gd name="connsiteY96" fmla="*/ 1743075 h 4496940"/>
              <a:gd name="connsiteX97" fmla="*/ 78127 w 4519987"/>
              <a:gd name="connsiteY97" fmla="*/ 1685925 h 4496940"/>
              <a:gd name="connsiteX98" fmla="*/ 87652 w 4519987"/>
              <a:gd name="connsiteY98" fmla="*/ 1638300 h 4496940"/>
              <a:gd name="connsiteX99" fmla="*/ 106702 w 4519987"/>
              <a:gd name="connsiteY99" fmla="*/ 1590675 h 4496940"/>
              <a:gd name="connsiteX100" fmla="*/ 135277 w 4519987"/>
              <a:gd name="connsiteY100" fmla="*/ 1504950 h 4496940"/>
              <a:gd name="connsiteX101" fmla="*/ 154327 w 4519987"/>
              <a:gd name="connsiteY101" fmla="*/ 1419225 h 4496940"/>
              <a:gd name="connsiteX102" fmla="*/ 230527 w 4519987"/>
              <a:gd name="connsiteY102" fmla="*/ 1276350 h 4496940"/>
              <a:gd name="connsiteX103" fmla="*/ 240052 w 4519987"/>
              <a:gd name="connsiteY103" fmla="*/ 1247775 h 4496940"/>
              <a:gd name="connsiteX104" fmla="*/ 268627 w 4519987"/>
              <a:gd name="connsiteY104" fmla="*/ 1200150 h 4496940"/>
              <a:gd name="connsiteX105" fmla="*/ 287677 w 4519987"/>
              <a:gd name="connsiteY105" fmla="*/ 1152525 h 4496940"/>
              <a:gd name="connsiteX106" fmla="*/ 316252 w 4519987"/>
              <a:gd name="connsiteY106" fmla="*/ 1114425 h 4496940"/>
              <a:gd name="connsiteX107" fmla="*/ 363877 w 4519987"/>
              <a:gd name="connsiteY107" fmla="*/ 1038225 h 4496940"/>
              <a:gd name="connsiteX108" fmla="*/ 382927 w 4519987"/>
              <a:gd name="connsiteY108" fmla="*/ 1009650 h 4496940"/>
              <a:gd name="connsiteX109" fmla="*/ 440077 w 4519987"/>
              <a:gd name="connsiteY109" fmla="*/ 904875 h 4496940"/>
              <a:gd name="connsiteX110" fmla="*/ 478177 w 4519987"/>
              <a:gd name="connsiteY110" fmla="*/ 857250 h 4496940"/>
              <a:gd name="connsiteX111" fmla="*/ 497227 w 4519987"/>
              <a:gd name="connsiteY111" fmla="*/ 828675 h 4496940"/>
              <a:gd name="connsiteX112" fmla="*/ 535327 w 4519987"/>
              <a:gd name="connsiteY112" fmla="*/ 800100 h 4496940"/>
              <a:gd name="connsiteX113" fmla="*/ 602002 w 4519987"/>
              <a:gd name="connsiteY113" fmla="*/ 733425 h 4496940"/>
              <a:gd name="connsiteX114" fmla="*/ 668677 w 4519987"/>
              <a:gd name="connsiteY114" fmla="*/ 676275 h 4496940"/>
              <a:gd name="connsiteX115" fmla="*/ 697252 w 4519987"/>
              <a:gd name="connsiteY115" fmla="*/ 657225 h 4496940"/>
              <a:gd name="connsiteX116" fmla="*/ 840127 w 4519987"/>
              <a:gd name="connsiteY116" fmla="*/ 533400 h 4496940"/>
              <a:gd name="connsiteX117" fmla="*/ 887752 w 4519987"/>
              <a:gd name="connsiteY117" fmla="*/ 504825 h 4496940"/>
              <a:gd name="connsiteX118" fmla="*/ 1167152 w 4519987"/>
              <a:gd name="connsiteY118" fmla="*/ 311150 h 4496940"/>
              <a:gd name="connsiteX119" fmla="*/ 1268752 w 4519987"/>
              <a:gd name="connsiteY119" fmla="*/ 285750 h 4496940"/>
              <a:gd name="connsiteX120" fmla="*/ 1411627 w 4519987"/>
              <a:gd name="connsiteY120" fmla="*/ 190500 h 4496940"/>
              <a:gd name="connsiteX121" fmla="*/ 1449727 w 4519987"/>
              <a:gd name="connsiteY121" fmla="*/ 161925 h 4496940"/>
              <a:gd name="connsiteX122" fmla="*/ 1525927 w 4519987"/>
              <a:gd name="connsiteY122" fmla="*/ 152400 h 4496940"/>
              <a:gd name="connsiteX123" fmla="*/ 1583077 w 4519987"/>
              <a:gd name="connsiteY123" fmla="*/ 142875 h 4496940"/>
              <a:gd name="connsiteX124" fmla="*/ 1716427 w 4519987"/>
              <a:gd name="connsiteY124" fmla="*/ 123825 h 4496940"/>
              <a:gd name="connsiteX125" fmla="*/ 1811677 w 4519987"/>
              <a:gd name="connsiteY125" fmla="*/ 114300 h 4496940"/>
              <a:gd name="connsiteX126" fmla="*/ 1859302 w 4519987"/>
              <a:gd name="connsiteY126" fmla="*/ 104775 h 4496940"/>
              <a:gd name="connsiteX127" fmla="*/ 1916452 w 4519987"/>
              <a:gd name="connsiteY127" fmla="*/ 95250 h 4496940"/>
              <a:gd name="connsiteX128" fmla="*/ 2030752 w 4519987"/>
              <a:gd name="connsiteY128" fmla="*/ 66675 h 4496940"/>
              <a:gd name="connsiteX129" fmla="*/ 2097427 w 4519987"/>
              <a:gd name="connsiteY129" fmla="*/ 47625 h 4496940"/>
              <a:gd name="connsiteX130" fmla="*/ 2164102 w 4519987"/>
              <a:gd name="connsiteY130" fmla="*/ 38100 h 4496940"/>
              <a:gd name="connsiteX131" fmla="*/ 2392702 w 4519987"/>
              <a:gd name="connsiteY13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88152 w 4519987"/>
              <a:gd name="connsiteY33" fmla="*/ 3495675 h 4496940"/>
              <a:gd name="connsiteX34" fmla="*/ 4059577 w 4519987"/>
              <a:gd name="connsiteY34" fmla="*/ 3533775 h 4496940"/>
              <a:gd name="connsiteX35" fmla="*/ 4002427 w 4519987"/>
              <a:gd name="connsiteY35" fmla="*/ 3600450 h 4496940"/>
              <a:gd name="connsiteX36" fmla="*/ 3954802 w 4519987"/>
              <a:gd name="connsiteY36" fmla="*/ 3648075 h 4496940"/>
              <a:gd name="connsiteX37" fmla="*/ 3659527 w 4519987"/>
              <a:gd name="connsiteY37" fmla="*/ 3971925 h 4496940"/>
              <a:gd name="connsiteX38" fmla="*/ 3630952 w 4519987"/>
              <a:gd name="connsiteY38" fmla="*/ 4010025 h 4496940"/>
              <a:gd name="connsiteX39" fmla="*/ 3621427 w 4519987"/>
              <a:gd name="connsiteY39" fmla="*/ 4038600 h 4496940"/>
              <a:gd name="connsiteX40" fmla="*/ 3554752 w 4519987"/>
              <a:gd name="connsiteY40" fmla="*/ 4095750 h 4496940"/>
              <a:gd name="connsiteX41" fmla="*/ 3516652 w 4519987"/>
              <a:gd name="connsiteY41" fmla="*/ 4114800 h 4496940"/>
              <a:gd name="connsiteX42" fmla="*/ 3497602 w 4519987"/>
              <a:gd name="connsiteY42" fmla="*/ 4143375 h 4496940"/>
              <a:gd name="connsiteX43" fmla="*/ 3383302 w 4519987"/>
              <a:gd name="connsiteY43" fmla="*/ 4210050 h 4496940"/>
              <a:gd name="connsiteX44" fmla="*/ 3335677 w 4519987"/>
              <a:gd name="connsiteY44" fmla="*/ 4238625 h 4496940"/>
              <a:gd name="connsiteX45" fmla="*/ 3288052 w 4519987"/>
              <a:gd name="connsiteY45" fmla="*/ 4248150 h 4496940"/>
              <a:gd name="connsiteX46" fmla="*/ 3240427 w 4519987"/>
              <a:gd name="connsiteY46" fmla="*/ 4267200 h 4496940"/>
              <a:gd name="connsiteX47" fmla="*/ 3068977 w 4519987"/>
              <a:gd name="connsiteY47" fmla="*/ 4286250 h 4496940"/>
              <a:gd name="connsiteX48" fmla="*/ 2935627 w 4519987"/>
              <a:gd name="connsiteY48" fmla="*/ 4333875 h 4496940"/>
              <a:gd name="connsiteX49" fmla="*/ 2811802 w 4519987"/>
              <a:gd name="connsiteY49" fmla="*/ 4371975 h 4496940"/>
              <a:gd name="connsiteX50" fmla="*/ 2745127 w 4519987"/>
              <a:gd name="connsiteY50" fmla="*/ 4410075 h 4496940"/>
              <a:gd name="connsiteX51" fmla="*/ 2697502 w 4519987"/>
              <a:gd name="connsiteY51" fmla="*/ 4429125 h 4496940"/>
              <a:gd name="connsiteX52" fmla="*/ 2640352 w 4519987"/>
              <a:gd name="connsiteY52" fmla="*/ 4457700 h 4496940"/>
              <a:gd name="connsiteX53" fmla="*/ 2583202 w 4519987"/>
              <a:gd name="connsiteY53" fmla="*/ 4467225 h 4496940"/>
              <a:gd name="connsiteX54" fmla="*/ 2545102 w 4519987"/>
              <a:gd name="connsiteY54" fmla="*/ 4486275 h 4496940"/>
              <a:gd name="connsiteX55" fmla="*/ 2306977 w 4519987"/>
              <a:gd name="connsiteY55" fmla="*/ 4476750 h 4496940"/>
              <a:gd name="connsiteX56" fmla="*/ 2202202 w 4519987"/>
              <a:gd name="connsiteY56" fmla="*/ 4457700 h 4496940"/>
              <a:gd name="connsiteX57" fmla="*/ 2126002 w 4519987"/>
              <a:gd name="connsiteY57" fmla="*/ 4429125 h 4496940"/>
              <a:gd name="connsiteX58" fmla="*/ 1935502 w 4519987"/>
              <a:gd name="connsiteY58" fmla="*/ 4400550 h 4496940"/>
              <a:gd name="connsiteX59" fmla="*/ 1821202 w 4519987"/>
              <a:gd name="connsiteY59" fmla="*/ 4371975 h 4496940"/>
              <a:gd name="connsiteX60" fmla="*/ 1754527 w 4519987"/>
              <a:gd name="connsiteY60" fmla="*/ 4352925 h 4496940"/>
              <a:gd name="connsiteX61" fmla="*/ 1687852 w 4519987"/>
              <a:gd name="connsiteY61" fmla="*/ 4343400 h 4496940"/>
              <a:gd name="connsiteX62" fmla="*/ 1573552 w 4519987"/>
              <a:gd name="connsiteY62" fmla="*/ 4305300 h 4496940"/>
              <a:gd name="connsiteX63" fmla="*/ 1402102 w 4519987"/>
              <a:gd name="connsiteY63" fmla="*/ 4276725 h 4496940"/>
              <a:gd name="connsiteX64" fmla="*/ 1287802 w 4519987"/>
              <a:gd name="connsiteY64" fmla="*/ 4229100 h 4496940"/>
              <a:gd name="connsiteX65" fmla="*/ 1221127 w 4519987"/>
              <a:gd name="connsiteY65" fmla="*/ 4200525 h 4496940"/>
              <a:gd name="connsiteX66" fmla="*/ 1144927 w 4519987"/>
              <a:gd name="connsiteY66" fmla="*/ 4171950 h 4496940"/>
              <a:gd name="connsiteX67" fmla="*/ 1087777 w 4519987"/>
              <a:gd name="connsiteY67" fmla="*/ 4143375 h 4496940"/>
              <a:gd name="connsiteX68" fmla="*/ 1030627 w 4519987"/>
              <a:gd name="connsiteY68" fmla="*/ 4124325 h 4496940"/>
              <a:gd name="connsiteX69" fmla="*/ 925852 w 4519987"/>
              <a:gd name="connsiteY69" fmla="*/ 4067175 h 4496940"/>
              <a:gd name="connsiteX70" fmla="*/ 830602 w 4519987"/>
              <a:gd name="connsiteY70" fmla="*/ 3981450 h 4496940"/>
              <a:gd name="connsiteX71" fmla="*/ 763927 w 4519987"/>
              <a:gd name="connsiteY71" fmla="*/ 3914775 h 4496940"/>
              <a:gd name="connsiteX72" fmla="*/ 725827 w 4519987"/>
              <a:gd name="connsiteY72" fmla="*/ 3876675 h 4496940"/>
              <a:gd name="connsiteX73" fmla="*/ 697252 w 4519987"/>
              <a:gd name="connsiteY73" fmla="*/ 3838575 h 4496940"/>
              <a:gd name="connsiteX74" fmla="*/ 640102 w 4519987"/>
              <a:gd name="connsiteY74" fmla="*/ 3781425 h 4496940"/>
              <a:gd name="connsiteX75" fmla="*/ 611527 w 4519987"/>
              <a:gd name="connsiteY75" fmla="*/ 3733800 h 4496940"/>
              <a:gd name="connsiteX76" fmla="*/ 554377 w 4519987"/>
              <a:gd name="connsiteY76" fmla="*/ 3657600 h 4496940"/>
              <a:gd name="connsiteX77" fmla="*/ 525802 w 4519987"/>
              <a:gd name="connsiteY77" fmla="*/ 3609975 h 4496940"/>
              <a:gd name="connsiteX78" fmla="*/ 497227 w 4519987"/>
              <a:gd name="connsiteY78" fmla="*/ 3552825 h 4496940"/>
              <a:gd name="connsiteX79" fmla="*/ 440077 w 4519987"/>
              <a:gd name="connsiteY79" fmla="*/ 3495675 h 4496940"/>
              <a:gd name="connsiteX80" fmla="*/ 411502 w 4519987"/>
              <a:gd name="connsiteY80" fmla="*/ 3448050 h 4496940"/>
              <a:gd name="connsiteX81" fmla="*/ 278152 w 4519987"/>
              <a:gd name="connsiteY81" fmla="*/ 3257550 h 4496940"/>
              <a:gd name="connsiteX82" fmla="*/ 249577 w 4519987"/>
              <a:gd name="connsiteY82" fmla="*/ 3200400 h 4496940"/>
              <a:gd name="connsiteX83" fmla="*/ 240052 w 4519987"/>
              <a:gd name="connsiteY83" fmla="*/ 3162300 h 4496940"/>
              <a:gd name="connsiteX84" fmla="*/ 221002 w 4519987"/>
              <a:gd name="connsiteY84" fmla="*/ 3105150 h 4496940"/>
              <a:gd name="connsiteX85" fmla="*/ 173377 w 4519987"/>
              <a:gd name="connsiteY85" fmla="*/ 3019425 h 4496940"/>
              <a:gd name="connsiteX86" fmla="*/ 144802 w 4519987"/>
              <a:gd name="connsiteY86" fmla="*/ 2924175 h 4496940"/>
              <a:gd name="connsiteX87" fmla="*/ 68602 w 4519987"/>
              <a:gd name="connsiteY87" fmla="*/ 2724150 h 4496940"/>
              <a:gd name="connsiteX88" fmla="*/ 49552 w 4519987"/>
              <a:gd name="connsiteY88" fmla="*/ 2638425 h 4496940"/>
              <a:gd name="connsiteX89" fmla="*/ 40027 w 4519987"/>
              <a:gd name="connsiteY89" fmla="*/ 2562225 h 4496940"/>
              <a:gd name="connsiteX90" fmla="*/ 30502 w 4519987"/>
              <a:gd name="connsiteY90" fmla="*/ 2514600 h 4496940"/>
              <a:gd name="connsiteX91" fmla="*/ 11452 w 4519987"/>
              <a:gd name="connsiteY91" fmla="*/ 2400300 h 4496940"/>
              <a:gd name="connsiteX92" fmla="*/ 20977 w 4519987"/>
              <a:gd name="connsiteY92" fmla="*/ 1905000 h 4496940"/>
              <a:gd name="connsiteX93" fmla="*/ 30502 w 4519987"/>
              <a:gd name="connsiteY93" fmla="*/ 1838325 h 4496940"/>
              <a:gd name="connsiteX94" fmla="*/ 49552 w 4519987"/>
              <a:gd name="connsiteY94" fmla="*/ 1781175 h 4496940"/>
              <a:gd name="connsiteX95" fmla="*/ 59077 w 4519987"/>
              <a:gd name="connsiteY95" fmla="*/ 1743075 h 4496940"/>
              <a:gd name="connsiteX96" fmla="*/ 78127 w 4519987"/>
              <a:gd name="connsiteY96" fmla="*/ 1685925 h 4496940"/>
              <a:gd name="connsiteX97" fmla="*/ 87652 w 4519987"/>
              <a:gd name="connsiteY97" fmla="*/ 1638300 h 4496940"/>
              <a:gd name="connsiteX98" fmla="*/ 106702 w 4519987"/>
              <a:gd name="connsiteY98" fmla="*/ 1590675 h 4496940"/>
              <a:gd name="connsiteX99" fmla="*/ 135277 w 4519987"/>
              <a:gd name="connsiteY99" fmla="*/ 1504950 h 4496940"/>
              <a:gd name="connsiteX100" fmla="*/ 154327 w 4519987"/>
              <a:gd name="connsiteY100" fmla="*/ 1419225 h 4496940"/>
              <a:gd name="connsiteX101" fmla="*/ 230527 w 4519987"/>
              <a:gd name="connsiteY101" fmla="*/ 1276350 h 4496940"/>
              <a:gd name="connsiteX102" fmla="*/ 240052 w 4519987"/>
              <a:gd name="connsiteY102" fmla="*/ 1247775 h 4496940"/>
              <a:gd name="connsiteX103" fmla="*/ 268627 w 4519987"/>
              <a:gd name="connsiteY103" fmla="*/ 1200150 h 4496940"/>
              <a:gd name="connsiteX104" fmla="*/ 287677 w 4519987"/>
              <a:gd name="connsiteY104" fmla="*/ 1152525 h 4496940"/>
              <a:gd name="connsiteX105" fmla="*/ 316252 w 4519987"/>
              <a:gd name="connsiteY105" fmla="*/ 1114425 h 4496940"/>
              <a:gd name="connsiteX106" fmla="*/ 363877 w 4519987"/>
              <a:gd name="connsiteY106" fmla="*/ 1038225 h 4496940"/>
              <a:gd name="connsiteX107" fmla="*/ 382927 w 4519987"/>
              <a:gd name="connsiteY107" fmla="*/ 1009650 h 4496940"/>
              <a:gd name="connsiteX108" fmla="*/ 440077 w 4519987"/>
              <a:gd name="connsiteY108" fmla="*/ 904875 h 4496940"/>
              <a:gd name="connsiteX109" fmla="*/ 478177 w 4519987"/>
              <a:gd name="connsiteY109" fmla="*/ 857250 h 4496940"/>
              <a:gd name="connsiteX110" fmla="*/ 497227 w 4519987"/>
              <a:gd name="connsiteY110" fmla="*/ 828675 h 4496940"/>
              <a:gd name="connsiteX111" fmla="*/ 535327 w 4519987"/>
              <a:gd name="connsiteY111" fmla="*/ 800100 h 4496940"/>
              <a:gd name="connsiteX112" fmla="*/ 602002 w 4519987"/>
              <a:gd name="connsiteY112" fmla="*/ 733425 h 4496940"/>
              <a:gd name="connsiteX113" fmla="*/ 668677 w 4519987"/>
              <a:gd name="connsiteY113" fmla="*/ 676275 h 4496940"/>
              <a:gd name="connsiteX114" fmla="*/ 697252 w 4519987"/>
              <a:gd name="connsiteY114" fmla="*/ 657225 h 4496940"/>
              <a:gd name="connsiteX115" fmla="*/ 840127 w 4519987"/>
              <a:gd name="connsiteY115" fmla="*/ 533400 h 4496940"/>
              <a:gd name="connsiteX116" fmla="*/ 887752 w 4519987"/>
              <a:gd name="connsiteY116" fmla="*/ 504825 h 4496940"/>
              <a:gd name="connsiteX117" fmla="*/ 1167152 w 4519987"/>
              <a:gd name="connsiteY117" fmla="*/ 311150 h 4496940"/>
              <a:gd name="connsiteX118" fmla="*/ 1268752 w 4519987"/>
              <a:gd name="connsiteY118" fmla="*/ 285750 h 4496940"/>
              <a:gd name="connsiteX119" fmla="*/ 1411627 w 4519987"/>
              <a:gd name="connsiteY119" fmla="*/ 190500 h 4496940"/>
              <a:gd name="connsiteX120" fmla="*/ 1449727 w 4519987"/>
              <a:gd name="connsiteY120" fmla="*/ 161925 h 4496940"/>
              <a:gd name="connsiteX121" fmla="*/ 1525927 w 4519987"/>
              <a:gd name="connsiteY121" fmla="*/ 152400 h 4496940"/>
              <a:gd name="connsiteX122" fmla="*/ 1583077 w 4519987"/>
              <a:gd name="connsiteY122" fmla="*/ 142875 h 4496940"/>
              <a:gd name="connsiteX123" fmla="*/ 1716427 w 4519987"/>
              <a:gd name="connsiteY123" fmla="*/ 123825 h 4496940"/>
              <a:gd name="connsiteX124" fmla="*/ 1811677 w 4519987"/>
              <a:gd name="connsiteY124" fmla="*/ 114300 h 4496940"/>
              <a:gd name="connsiteX125" fmla="*/ 1859302 w 4519987"/>
              <a:gd name="connsiteY125" fmla="*/ 104775 h 4496940"/>
              <a:gd name="connsiteX126" fmla="*/ 1916452 w 4519987"/>
              <a:gd name="connsiteY126" fmla="*/ 95250 h 4496940"/>
              <a:gd name="connsiteX127" fmla="*/ 2030752 w 4519987"/>
              <a:gd name="connsiteY127" fmla="*/ 66675 h 4496940"/>
              <a:gd name="connsiteX128" fmla="*/ 2097427 w 4519987"/>
              <a:gd name="connsiteY128" fmla="*/ 47625 h 4496940"/>
              <a:gd name="connsiteX129" fmla="*/ 2164102 w 4519987"/>
              <a:gd name="connsiteY129" fmla="*/ 38100 h 4496940"/>
              <a:gd name="connsiteX130" fmla="*/ 2392702 w 4519987"/>
              <a:gd name="connsiteY13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4002427 w 4519987"/>
              <a:gd name="connsiteY34" fmla="*/ 3600450 h 4496940"/>
              <a:gd name="connsiteX35" fmla="*/ 3954802 w 4519987"/>
              <a:gd name="connsiteY35" fmla="*/ 3648075 h 4496940"/>
              <a:gd name="connsiteX36" fmla="*/ 3659527 w 4519987"/>
              <a:gd name="connsiteY36" fmla="*/ 3971925 h 4496940"/>
              <a:gd name="connsiteX37" fmla="*/ 3630952 w 4519987"/>
              <a:gd name="connsiteY37" fmla="*/ 4010025 h 4496940"/>
              <a:gd name="connsiteX38" fmla="*/ 3621427 w 4519987"/>
              <a:gd name="connsiteY38" fmla="*/ 4038600 h 4496940"/>
              <a:gd name="connsiteX39" fmla="*/ 3554752 w 4519987"/>
              <a:gd name="connsiteY39" fmla="*/ 4095750 h 4496940"/>
              <a:gd name="connsiteX40" fmla="*/ 3516652 w 4519987"/>
              <a:gd name="connsiteY40" fmla="*/ 4114800 h 4496940"/>
              <a:gd name="connsiteX41" fmla="*/ 3497602 w 4519987"/>
              <a:gd name="connsiteY41" fmla="*/ 4143375 h 4496940"/>
              <a:gd name="connsiteX42" fmla="*/ 3383302 w 4519987"/>
              <a:gd name="connsiteY42" fmla="*/ 4210050 h 4496940"/>
              <a:gd name="connsiteX43" fmla="*/ 3335677 w 4519987"/>
              <a:gd name="connsiteY43" fmla="*/ 4238625 h 4496940"/>
              <a:gd name="connsiteX44" fmla="*/ 3288052 w 4519987"/>
              <a:gd name="connsiteY44" fmla="*/ 4248150 h 4496940"/>
              <a:gd name="connsiteX45" fmla="*/ 3240427 w 4519987"/>
              <a:gd name="connsiteY45" fmla="*/ 4267200 h 4496940"/>
              <a:gd name="connsiteX46" fmla="*/ 3068977 w 4519987"/>
              <a:gd name="connsiteY46" fmla="*/ 4286250 h 4496940"/>
              <a:gd name="connsiteX47" fmla="*/ 2935627 w 4519987"/>
              <a:gd name="connsiteY47" fmla="*/ 4333875 h 4496940"/>
              <a:gd name="connsiteX48" fmla="*/ 2811802 w 4519987"/>
              <a:gd name="connsiteY48" fmla="*/ 4371975 h 4496940"/>
              <a:gd name="connsiteX49" fmla="*/ 2745127 w 4519987"/>
              <a:gd name="connsiteY49" fmla="*/ 4410075 h 4496940"/>
              <a:gd name="connsiteX50" fmla="*/ 2697502 w 4519987"/>
              <a:gd name="connsiteY50" fmla="*/ 4429125 h 4496940"/>
              <a:gd name="connsiteX51" fmla="*/ 2640352 w 4519987"/>
              <a:gd name="connsiteY51" fmla="*/ 4457700 h 4496940"/>
              <a:gd name="connsiteX52" fmla="*/ 2583202 w 4519987"/>
              <a:gd name="connsiteY52" fmla="*/ 4467225 h 4496940"/>
              <a:gd name="connsiteX53" fmla="*/ 2545102 w 4519987"/>
              <a:gd name="connsiteY53" fmla="*/ 4486275 h 4496940"/>
              <a:gd name="connsiteX54" fmla="*/ 2306977 w 4519987"/>
              <a:gd name="connsiteY54" fmla="*/ 4476750 h 4496940"/>
              <a:gd name="connsiteX55" fmla="*/ 2202202 w 4519987"/>
              <a:gd name="connsiteY55" fmla="*/ 4457700 h 4496940"/>
              <a:gd name="connsiteX56" fmla="*/ 2126002 w 4519987"/>
              <a:gd name="connsiteY56" fmla="*/ 4429125 h 4496940"/>
              <a:gd name="connsiteX57" fmla="*/ 1935502 w 4519987"/>
              <a:gd name="connsiteY57" fmla="*/ 4400550 h 4496940"/>
              <a:gd name="connsiteX58" fmla="*/ 1821202 w 4519987"/>
              <a:gd name="connsiteY58" fmla="*/ 4371975 h 4496940"/>
              <a:gd name="connsiteX59" fmla="*/ 1754527 w 4519987"/>
              <a:gd name="connsiteY59" fmla="*/ 4352925 h 4496940"/>
              <a:gd name="connsiteX60" fmla="*/ 1687852 w 4519987"/>
              <a:gd name="connsiteY60" fmla="*/ 4343400 h 4496940"/>
              <a:gd name="connsiteX61" fmla="*/ 1573552 w 4519987"/>
              <a:gd name="connsiteY61" fmla="*/ 4305300 h 4496940"/>
              <a:gd name="connsiteX62" fmla="*/ 1402102 w 4519987"/>
              <a:gd name="connsiteY62" fmla="*/ 4276725 h 4496940"/>
              <a:gd name="connsiteX63" fmla="*/ 1287802 w 4519987"/>
              <a:gd name="connsiteY63" fmla="*/ 4229100 h 4496940"/>
              <a:gd name="connsiteX64" fmla="*/ 1221127 w 4519987"/>
              <a:gd name="connsiteY64" fmla="*/ 4200525 h 4496940"/>
              <a:gd name="connsiteX65" fmla="*/ 1144927 w 4519987"/>
              <a:gd name="connsiteY65" fmla="*/ 4171950 h 4496940"/>
              <a:gd name="connsiteX66" fmla="*/ 1087777 w 4519987"/>
              <a:gd name="connsiteY66" fmla="*/ 4143375 h 4496940"/>
              <a:gd name="connsiteX67" fmla="*/ 1030627 w 4519987"/>
              <a:gd name="connsiteY67" fmla="*/ 4124325 h 4496940"/>
              <a:gd name="connsiteX68" fmla="*/ 925852 w 4519987"/>
              <a:gd name="connsiteY68" fmla="*/ 4067175 h 4496940"/>
              <a:gd name="connsiteX69" fmla="*/ 830602 w 4519987"/>
              <a:gd name="connsiteY69" fmla="*/ 3981450 h 4496940"/>
              <a:gd name="connsiteX70" fmla="*/ 763927 w 4519987"/>
              <a:gd name="connsiteY70" fmla="*/ 3914775 h 4496940"/>
              <a:gd name="connsiteX71" fmla="*/ 725827 w 4519987"/>
              <a:gd name="connsiteY71" fmla="*/ 3876675 h 4496940"/>
              <a:gd name="connsiteX72" fmla="*/ 697252 w 4519987"/>
              <a:gd name="connsiteY72" fmla="*/ 3838575 h 4496940"/>
              <a:gd name="connsiteX73" fmla="*/ 640102 w 4519987"/>
              <a:gd name="connsiteY73" fmla="*/ 3781425 h 4496940"/>
              <a:gd name="connsiteX74" fmla="*/ 611527 w 4519987"/>
              <a:gd name="connsiteY74" fmla="*/ 3733800 h 4496940"/>
              <a:gd name="connsiteX75" fmla="*/ 554377 w 4519987"/>
              <a:gd name="connsiteY75" fmla="*/ 3657600 h 4496940"/>
              <a:gd name="connsiteX76" fmla="*/ 525802 w 4519987"/>
              <a:gd name="connsiteY76" fmla="*/ 3609975 h 4496940"/>
              <a:gd name="connsiteX77" fmla="*/ 497227 w 4519987"/>
              <a:gd name="connsiteY77" fmla="*/ 3552825 h 4496940"/>
              <a:gd name="connsiteX78" fmla="*/ 440077 w 4519987"/>
              <a:gd name="connsiteY78" fmla="*/ 3495675 h 4496940"/>
              <a:gd name="connsiteX79" fmla="*/ 411502 w 4519987"/>
              <a:gd name="connsiteY79" fmla="*/ 3448050 h 4496940"/>
              <a:gd name="connsiteX80" fmla="*/ 278152 w 4519987"/>
              <a:gd name="connsiteY80" fmla="*/ 3257550 h 4496940"/>
              <a:gd name="connsiteX81" fmla="*/ 249577 w 4519987"/>
              <a:gd name="connsiteY81" fmla="*/ 3200400 h 4496940"/>
              <a:gd name="connsiteX82" fmla="*/ 240052 w 4519987"/>
              <a:gd name="connsiteY82" fmla="*/ 3162300 h 4496940"/>
              <a:gd name="connsiteX83" fmla="*/ 221002 w 4519987"/>
              <a:gd name="connsiteY83" fmla="*/ 3105150 h 4496940"/>
              <a:gd name="connsiteX84" fmla="*/ 173377 w 4519987"/>
              <a:gd name="connsiteY84" fmla="*/ 3019425 h 4496940"/>
              <a:gd name="connsiteX85" fmla="*/ 144802 w 4519987"/>
              <a:gd name="connsiteY85" fmla="*/ 2924175 h 4496940"/>
              <a:gd name="connsiteX86" fmla="*/ 68602 w 4519987"/>
              <a:gd name="connsiteY86" fmla="*/ 2724150 h 4496940"/>
              <a:gd name="connsiteX87" fmla="*/ 49552 w 4519987"/>
              <a:gd name="connsiteY87" fmla="*/ 2638425 h 4496940"/>
              <a:gd name="connsiteX88" fmla="*/ 40027 w 4519987"/>
              <a:gd name="connsiteY88" fmla="*/ 2562225 h 4496940"/>
              <a:gd name="connsiteX89" fmla="*/ 30502 w 4519987"/>
              <a:gd name="connsiteY89" fmla="*/ 2514600 h 4496940"/>
              <a:gd name="connsiteX90" fmla="*/ 11452 w 4519987"/>
              <a:gd name="connsiteY90" fmla="*/ 2400300 h 4496940"/>
              <a:gd name="connsiteX91" fmla="*/ 20977 w 4519987"/>
              <a:gd name="connsiteY91" fmla="*/ 1905000 h 4496940"/>
              <a:gd name="connsiteX92" fmla="*/ 30502 w 4519987"/>
              <a:gd name="connsiteY92" fmla="*/ 1838325 h 4496940"/>
              <a:gd name="connsiteX93" fmla="*/ 49552 w 4519987"/>
              <a:gd name="connsiteY93" fmla="*/ 1781175 h 4496940"/>
              <a:gd name="connsiteX94" fmla="*/ 59077 w 4519987"/>
              <a:gd name="connsiteY94" fmla="*/ 1743075 h 4496940"/>
              <a:gd name="connsiteX95" fmla="*/ 78127 w 4519987"/>
              <a:gd name="connsiteY95" fmla="*/ 1685925 h 4496940"/>
              <a:gd name="connsiteX96" fmla="*/ 87652 w 4519987"/>
              <a:gd name="connsiteY96" fmla="*/ 1638300 h 4496940"/>
              <a:gd name="connsiteX97" fmla="*/ 106702 w 4519987"/>
              <a:gd name="connsiteY97" fmla="*/ 1590675 h 4496940"/>
              <a:gd name="connsiteX98" fmla="*/ 135277 w 4519987"/>
              <a:gd name="connsiteY98" fmla="*/ 1504950 h 4496940"/>
              <a:gd name="connsiteX99" fmla="*/ 154327 w 4519987"/>
              <a:gd name="connsiteY99" fmla="*/ 1419225 h 4496940"/>
              <a:gd name="connsiteX100" fmla="*/ 230527 w 4519987"/>
              <a:gd name="connsiteY100" fmla="*/ 1276350 h 4496940"/>
              <a:gd name="connsiteX101" fmla="*/ 240052 w 4519987"/>
              <a:gd name="connsiteY101" fmla="*/ 1247775 h 4496940"/>
              <a:gd name="connsiteX102" fmla="*/ 268627 w 4519987"/>
              <a:gd name="connsiteY102" fmla="*/ 1200150 h 4496940"/>
              <a:gd name="connsiteX103" fmla="*/ 287677 w 4519987"/>
              <a:gd name="connsiteY103" fmla="*/ 1152525 h 4496940"/>
              <a:gd name="connsiteX104" fmla="*/ 316252 w 4519987"/>
              <a:gd name="connsiteY104" fmla="*/ 1114425 h 4496940"/>
              <a:gd name="connsiteX105" fmla="*/ 363877 w 4519987"/>
              <a:gd name="connsiteY105" fmla="*/ 1038225 h 4496940"/>
              <a:gd name="connsiteX106" fmla="*/ 382927 w 4519987"/>
              <a:gd name="connsiteY106" fmla="*/ 1009650 h 4496940"/>
              <a:gd name="connsiteX107" fmla="*/ 440077 w 4519987"/>
              <a:gd name="connsiteY107" fmla="*/ 904875 h 4496940"/>
              <a:gd name="connsiteX108" fmla="*/ 478177 w 4519987"/>
              <a:gd name="connsiteY108" fmla="*/ 857250 h 4496940"/>
              <a:gd name="connsiteX109" fmla="*/ 497227 w 4519987"/>
              <a:gd name="connsiteY109" fmla="*/ 828675 h 4496940"/>
              <a:gd name="connsiteX110" fmla="*/ 535327 w 4519987"/>
              <a:gd name="connsiteY110" fmla="*/ 800100 h 4496940"/>
              <a:gd name="connsiteX111" fmla="*/ 602002 w 4519987"/>
              <a:gd name="connsiteY111" fmla="*/ 733425 h 4496940"/>
              <a:gd name="connsiteX112" fmla="*/ 668677 w 4519987"/>
              <a:gd name="connsiteY112" fmla="*/ 676275 h 4496940"/>
              <a:gd name="connsiteX113" fmla="*/ 697252 w 4519987"/>
              <a:gd name="connsiteY113" fmla="*/ 657225 h 4496940"/>
              <a:gd name="connsiteX114" fmla="*/ 840127 w 4519987"/>
              <a:gd name="connsiteY114" fmla="*/ 533400 h 4496940"/>
              <a:gd name="connsiteX115" fmla="*/ 887752 w 4519987"/>
              <a:gd name="connsiteY115" fmla="*/ 504825 h 4496940"/>
              <a:gd name="connsiteX116" fmla="*/ 1167152 w 4519987"/>
              <a:gd name="connsiteY116" fmla="*/ 311150 h 4496940"/>
              <a:gd name="connsiteX117" fmla="*/ 1268752 w 4519987"/>
              <a:gd name="connsiteY117" fmla="*/ 285750 h 4496940"/>
              <a:gd name="connsiteX118" fmla="*/ 1411627 w 4519987"/>
              <a:gd name="connsiteY118" fmla="*/ 190500 h 4496940"/>
              <a:gd name="connsiteX119" fmla="*/ 1449727 w 4519987"/>
              <a:gd name="connsiteY119" fmla="*/ 161925 h 4496940"/>
              <a:gd name="connsiteX120" fmla="*/ 1525927 w 4519987"/>
              <a:gd name="connsiteY120" fmla="*/ 152400 h 4496940"/>
              <a:gd name="connsiteX121" fmla="*/ 1583077 w 4519987"/>
              <a:gd name="connsiteY121" fmla="*/ 142875 h 4496940"/>
              <a:gd name="connsiteX122" fmla="*/ 1716427 w 4519987"/>
              <a:gd name="connsiteY122" fmla="*/ 123825 h 4496940"/>
              <a:gd name="connsiteX123" fmla="*/ 1811677 w 4519987"/>
              <a:gd name="connsiteY123" fmla="*/ 114300 h 4496940"/>
              <a:gd name="connsiteX124" fmla="*/ 1859302 w 4519987"/>
              <a:gd name="connsiteY124" fmla="*/ 104775 h 4496940"/>
              <a:gd name="connsiteX125" fmla="*/ 1916452 w 4519987"/>
              <a:gd name="connsiteY125" fmla="*/ 95250 h 4496940"/>
              <a:gd name="connsiteX126" fmla="*/ 2030752 w 4519987"/>
              <a:gd name="connsiteY126" fmla="*/ 66675 h 4496940"/>
              <a:gd name="connsiteX127" fmla="*/ 2097427 w 4519987"/>
              <a:gd name="connsiteY127" fmla="*/ 47625 h 4496940"/>
              <a:gd name="connsiteX128" fmla="*/ 2164102 w 4519987"/>
              <a:gd name="connsiteY128" fmla="*/ 38100 h 4496940"/>
              <a:gd name="connsiteX129" fmla="*/ 2392702 w 4519987"/>
              <a:gd name="connsiteY12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516652 w 4519987"/>
              <a:gd name="connsiteY39" fmla="*/ 4114800 h 4496940"/>
              <a:gd name="connsiteX40" fmla="*/ 3497602 w 4519987"/>
              <a:gd name="connsiteY40" fmla="*/ 4143375 h 4496940"/>
              <a:gd name="connsiteX41" fmla="*/ 3383302 w 4519987"/>
              <a:gd name="connsiteY41" fmla="*/ 4210050 h 4496940"/>
              <a:gd name="connsiteX42" fmla="*/ 3335677 w 4519987"/>
              <a:gd name="connsiteY42" fmla="*/ 4238625 h 4496940"/>
              <a:gd name="connsiteX43" fmla="*/ 3288052 w 4519987"/>
              <a:gd name="connsiteY43" fmla="*/ 4248150 h 4496940"/>
              <a:gd name="connsiteX44" fmla="*/ 3240427 w 4519987"/>
              <a:gd name="connsiteY44" fmla="*/ 4267200 h 4496940"/>
              <a:gd name="connsiteX45" fmla="*/ 3068977 w 4519987"/>
              <a:gd name="connsiteY45" fmla="*/ 4286250 h 4496940"/>
              <a:gd name="connsiteX46" fmla="*/ 2935627 w 4519987"/>
              <a:gd name="connsiteY46" fmla="*/ 4333875 h 4496940"/>
              <a:gd name="connsiteX47" fmla="*/ 2811802 w 4519987"/>
              <a:gd name="connsiteY47" fmla="*/ 4371975 h 4496940"/>
              <a:gd name="connsiteX48" fmla="*/ 2745127 w 4519987"/>
              <a:gd name="connsiteY48" fmla="*/ 4410075 h 4496940"/>
              <a:gd name="connsiteX49" fmla="*/ 2697502 w 4519987"/>
              <a:gd name="connsiteY49" fmla="*/ 4429125 h 4496940"/>
              <a:gd name="connsiteX50" fmla="*/ 2640352 w 4519987"/>
              <a:gd name="connsiteY50" fmla="*/ 4457700 h 4496940"/>
              <a:gd name="connsiteX51" fmla="*/ 2583202 w 4519987"/>
              <a:gd name="connsiteY51" fmla="*/ 4467225 h 4496940"/>
              <a:gd name="connsiteX52" fmla="*/ 2545102 w 4519987"/>
              <a:gd name="connsiteY52" fmla="*/ 4486275 h 4496940"/>
              <a:gd name="connsiteX53" fmla="*/ 2306977 w 4519987"/>
              <a:gd name="connsiteY53" fmla="*/ 4476750 h 4496940"/>
              <a:gd name="connsiteX54" fmla="*/ 2202202 w 4519987"/>
              <a:gd name="connsiteY54" fmla="*/ 4457700 h 4496940"/>
              <a:gd name="connsiteX55" fmla="*/ 2126002 w 4519987"/>
              <a:gd name="connsiteY55" fmla="*/ 4429125 h 4496940"/>
              <a:gd name="connsiteX56" fmla="*/ 1935502 w 4519987"/>
              <a:gd name="connsiteY56" fmla="*/ 4400550 h 4496940"/>
              <a:gd name="connsiteX57" fmla="*/ 1821202 w 4519987"/>
              <a:gd name="connsiteY57" fmla="*/ 4371975 h 4496940"/>
              <a:gd name="connsiteX58" fmla="*/ 1754527 w 4519987"/>
              <a:gd name="connsiteY58" fmla="*/ 4352925 h 4496940"/>
              <a:gd name="connsiteX59" fmla="*/ 1687852 w 4519987"/>
              <a:gd name="connsiteY59" fmla="*/ 4343400 h 4496940"/>
              <a:gd name="connsiteX60" fmla="*/ 1573552 w 4519987"/>
              <a:gd name="connsiteY60" fmla="*/ 4305300 h 4496940"/>
              <a:gd name="connsiteX61" fmla="*/ 1402102 w 4519987"/>
              <a:gd name="connsiteY61" fmla="*/ 4276725 h 4496940"/>
              <a:gd name="connsiteX62" fmla="*/ 1287802 w 4519987"/>
              <a:gd name="connsiteY62" fmla="*/ 4229100 h 4496940"/>
              <a:gd name="connsiteX63" fmla="*/ 1221127 w 4519987"/>
              <a:gd name="connsiteY63" fmla="*/ 4200525 h 4496940"/>
              <a:gd name="connsiteX64" fmla="*/ 1144927 w 4519987"/>
              <a:gd name="connsiteY64" fmla="*/ 4171950 h 4496940"/>
              <a:gd name="connsiteX65" fmla="*/ 1087777 w 4519987"/>
              <a:gd name="connsiteY65" fmla="*/ 4143375 h 4496940"/>
              <a:gd name="connsiteX66" fmla="*/ 1030627 w 4519987"/>
              <a:gd name="connsiteY66" fmla="*/ 4124325 h 4496940"/>
              <a:gd name="connsiteX67" fmla="*/ 925852 w 4519987"/>
              <a:gd name="connsiteY67" fmla="*/ 4067175 h 4496940"/>
              <a:gd name="connsiteX68" fmla="*/ 830602 w 4519987"/>
              <a:gd name="connsiteY68" fmla="*/ 3981450 h 4496940"/>
              <a:gd name="connsiteX69" fmla="*/ 763927 w 4519987"/>
              <a:gd name="connsiteY69" fmla="*/ 3914775 h 4496940"/>
              <a:gd name="connsiteX70" fmla="*/ 725827 w 4519987"/>
              <a:gd name="connsiteY70" fmla="*/ 3876675 h 4496940"/>
              <a:gd name="connsiteX71" fmla="*/ 697252 w 4519987"/>
              <a:gd name="connsiteY71" fmla="*/ 3838575 h 4496940"/>
              <a:gd name="connsiteX72" fmla="*/ 640102 w 4519987"/>
              <a:gd name="connsiteY72" fmla="*/ 3781425 h 4496940"/>
              <a:gd name="connsiteX73" fmla="*/ 611527 w 4519987"/>
              <a:gd name="connsiteY73" fmla="*/ 3733800 h 4496940"/>
              <a:gd name="connsiteX74" fmla="*/ 554377 w 4519987"/>
              <a:gd name="connsiteY74" fmla="*/ 3657600 h 4496940"/>
              <a:gd name="connsiteX75" fmla="*/ 525802 w 4519987"/>
              <a:gd name="connsiteY75" fmla="*/ 3609975 h 4496940"/>
              <a:gd name="connsiteX76" fmla="*/ 497227 w 4519987"/>
              <a:gd name="connsiteY76" fmla="*/ 3552825 h 4496940"/>
              <a:gd name="connsiteX77" fmla="*/ 440077 w 4519987"/>
              <a:gd name="connsiteY77" fmla="*/ 3495675 h 4496940"/>
              <a:gd name="connsiteX78" fmla="*/ 411502 w 4519987"/>
              <a:gd name="connsiteY78" fmla="*/ 3448050 h 4496940"/>
              <a:gd name="connsiteX79" fmla="*/ 278152 w 4519987"/>
              <a:gd name="connsiteY79" fmla="*/ 3257550 h 4496940"/>
              <a:gd name="connsiteX80" fmla="*/ 249577 w 4519987"/>
              <a:gd name="connsiteY80" fmla="*/ 3200400 h 4496940"/>
              <a:gd name="connsiteX81" fmla="*/ 240052 w 4519987"/>
              <a:gd name="connsiteY81" fmla="*/ 3162300 h 4496940"/>
              <a:gd name="connsiteX82" fmla="*/ 221002 w 4519987"/>
              <a:gd name="connsiteY82" fmla="*/ 3105150 h 4496940"/>
              <a:gd name="connsiteX83" fmla="*/ 173377 w 4519987"/>
              <a:gd name="connsiteY83" fmla="*/ 3019425 h 4496940"/>
              <a:gd name="connsiteX84" fmla="*/ 144802 w 4519987"/>
              <a:gd name="connsiteY84" fmla="*/ 2924175 h 4496940"/>
              <a:gd name="connsiteX85" fmla="*/ 68602 w 4519987"/>
              <a:gd name="connsiteY85" fmla="*/ 2724150 h 4496940"/>
              <a:gd name="connsiteX86" fmla="*/ 49552 w 4519987"/>
              <a:gd name="connsiteY86" fmla="*/ 2638425 h 4496940"/>
              <a:gd name="connsiteX87" fmla="*/ 40027 w 4519987"/>
              <a:gd name="connsiteY87" fmla="*/ 2562225 h 4496940"/>
              <a:gd name="connsiteX88" fmla="*/ 30502 w 4519987"/>
              <a:gd name="connsiteY88" fmla="*/ 2514600 h 4496940"/>
              <a:gd name="connsiteX89" fmla="*/ 11452 w 4519987"/>
              <a:gd name="connsiteY89" fmla="*/ 2400300 h 4496940"/>
              <a:gd name="connsiteX90" fmla="*/ 20977 w 4519987"/>
              <a:gd name="connsiteY90" fmla="*/ 1905000 h 4496940"/>
              <a:gd name="connsiteX91" fmla="*/ 30502 w 4519987"/>
              <a:gd name="connsiteY91" fmla="*/ 1838325 h 4496940"/>
              <a:gd name="connsiteX92" fmla="*/ 49552 w 4519987"/>
              <a:gd name="connsiteY92" fmla="*/ 1781175 h 4496940"/>
              <a:gd name="connsiteX93" fmla="*/ 59077 w 4519987"/>
              <a:gd name="connsiteY93" fmla="*/ 1743075 h 4496940"/>
              <a:gd name="connsiteX94" fmla="*/ 78127 w 4519987"/>
              <a:gd name="connsiteY94" fmla="*/ 1685925 h 4496940"/>
              <a:gd name="connsiteX95" fmla="*/ 87652 w 4519987"/>
              <a:gd name="connsiteY95" fmla="*/ 1638300 h 4496940"/>
              <a:gd name="connsiteX96" fmla="*/ 106702 w 4519987"/>
              <a:gd name="connsiteY96" fmla="*/ 1590675 h 4496940"/>
              <a:gd name="connsiteX97" fmla="*/ 135277 w 4519987"/>
              <a:gd name="connsiteY97" fmla="*/ 1504950 h 4496940"/>
              <a:gd name="connsiteX98" fmla="*/ 154327 w 4519987"/>
              <a:gd name="connsiteY98" fmla="*/ 1419225 h 4496940"/>
              <a:gd name="connsiteX99" fmla="*/ 230527 w 4519987"/>
              <a:gd name="connsiteY99" fmla="*/ 1276350 h 4496940"/>
              <a:gd name="connsiteX100" fmla="*/ 240052 w 4519987"/>
              <a:gd name="connsiteY100" fmla="*/ 1247775 h 4496940"/>
              <a:gd name="connsiteX101" fmla="*/ 268627 w 4519987"/>
              <a:gd name="connsiteY101" fmla="*/ 1200150 h 4496940"/>
              <a:gd name="connsiteX102" fmla="*/ 287677 w 4519987"/>
              <a:gd name="connsiteY102" fmla="*/ 1152525 h 4496940"/>
              <a:gd name="connsiteX103" fmla="*/ 316252 w 4519987"/>
              <a:gd name="connsiteY103" fmla="*/ 1114425 h 4496940"/>
              <a:gd name="connsiteX104" fmla="*/ 363877 w 4519987"/>
              <a:gd name="connsiteY104" fmla="*/ 1038225 h 4496940"/>
              <a:gd name="connsiteX105" fmla="*/ 382927 w 4519987"/>
              <a:gd name="connsiteY105" fmla="*/ 1009650 h 4496940"/>
              <a:gd name="connsiteX106" fmla="*/ 440077 w 4519987"/>
              <a:gd name="connsiteY106" fmla="*/ 904875 h 4496940"/>
              <a:gd name="connsiteX107" fmla="*/ 478177 w 4519987"/>
              <a:gd name="connsiteY107" fmla="*/ 857250 h 4496940"/>
              <a:gd name="connsiteX108" fmla="*/ 497227 w 4519987"/>
              <a:gd name="connsiteY108" fmla="*/ 828675 h 4496940"/>
              <a:gd name="connsiteX109" fmla="*/ 535327 w 4519987"/>
              <a:gd name="connsiteY109" fmla="*/ 800100 h 4496940"/>
              <a:gd name="connsiteX110" fmla="*/ 602002 w 4519987"/>
              <a:gd name="connsiteY110" fmla="*/ 733425 h 4496940"/>
              <a:gd name="connsiteX111" fmla="*/ 668677 w 4519987"/>
              <a:gd name="connsiteY111" fmla="*/ 676275 h 4496940"/>
              <a:gd name="connsiteX112" fmla="*/ 697252 w 4519987"/>
              <a:gd name="connsiteY112" fmla="*/ 657225 h 4496940"/>
              <a:gd name="connsiteX113" fmla="*/ 840127 w 4519987"/>
              <a:gd name="connsiteY113" fmla="*/ 533400 h 4496940"/>
              <a:gd name="connsiteX114" fmla="*/ 887752 w 4519987"/>
              <a:gd name="connsiteY114" fmla="*/ 504825 h 4496940"/>
              <a:gd name="connsiteX115" fmla="*/ 1167152 w 4519987"/>
              <a:gd name="connsiteY115" fmla="*/ 311150 h 4496940"/>
              <a:gd name="connsiteX116" fmla="*/ 1268752 w 4519987"/>
              <a:gd name="connsiteY116" fmla="*/ 285750 h 4496940"/>
              <a:gd name="connsiteX117" fmla="*/ 1411627 w 4519987"/>
              <a:gd name="connsiteY117" fmla="*/ 190500 h 4496940"/>
              <a:gd name="connsiteX118" fmla="*/ 1449727 w 4519987"/>
              <a:gd name="connsiteY118" fmla="*/ 161925 h 4496940"/>
              <a:gd name="connsiteX119" fmla="*/ 1525927 w 4519987"/>
              <a:gd name="connsiteY119" fmla="*/ 152400 h 4496940"/>
              <a:gd name="connsiteX120" fmla="*/ 1583077 w 4519987"/>
              <a:gd name="connsiteY120" fmla="*/ 142875 h 4496940"/>
              <a:gd name="connsiteX121" fmla="*/ 1716427 w 4519987"/>
              <a:gd name="connsiteY121" fmla="*/ 123825 h 4496940"/>
              <a:gd name="connsiteX122" fmla="*/ 1811677 w 4519987"/>
              <a:gd name="connsiteY122" fmla="*/ 114300 h 4496940"/>
              <a:gd name="connsiteX123" fmla="*/ 1859302 w 4519987"/>
              <a:gd name="connsiteY123" fmla="*/ 104775 h 4496940"/>
              <a:gd name="connsiteX124" fmla="*/ 1916452 w 4519987"/>
              <a:gd name="connsiteY124" fmla="*/ 95250 h 4496940"/>
              <a:gd name="connsiteX125" fmla="*/ 2030752 w 4519987"/>
              <a:gd name="connsiteY125" fmla="*/ 66675 h 4496940"/>
              <a:gd name="connsiteX126" fmla="*/ 2097427 w 4519987"/>
              <a:gd name="connsiteY126" fmla="*/ 47625 h 4496940"/>
              <a:gd name="connsiteX127" fmla="*/ 2164102 w 4519987"/>
              <a:gd name="connsiteY127" fmla="*/ 38100 h 4496940"/>
              <a:gd name="connsiteX128" fmla="*/ 2392702 w 4519987"/>
              <a:gd name="connsiteY12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516652 w 4519987"/>
              <a:gd name="connsiteY39" fmla="*/ 4114800 h 4496940"/>
              <a:gd name="connsiteX40" fmla="*/ 3383302 w 4519987"/>
              <a:gd name="connsiteY40" fmla="*/ 4210050 h 4496940"/>
              <a:gd name="connsiteX41" fmla="*/ 3335677 w 4519987"/>
              <a:gd name="connsiteY41" fmla="*/ 4238625 h 4496940"/>
              <a:gd name="connsiteX42" fmla="*/ 3288052 w 4519987"/>
              <a:gd name="connsiteY42" fmla="*/ 4248150 h 4496940"/>
              <a:gd name="connsiteX43" fmla="*/ 3240427 w 4519987"/>
              <a:gd name="connsiteY43" fmla="*/ 4267200 h 4496940"/>
              <a:gd name="connsiteX44" fmla="*/ 3068977 w 4519987"/>
              <a:gd name="connsiteY44" fmla="*/ 4286250 h 4496940"/>
              <a:gd name="connsiteX45" fmla="*/ 2935627 w 4519987"/>
              <a:gd name="connsiteY45" fmla="*/ 4333875 h 4496940"/>
              <a:gd name="connsiteX46" fmla="*/ 2811802 w 4519987"/>
              <a:gd name="connsiteY46" fmla="*/ 4371975 h 4496940"/>
              <a:gd name="connsiteX47" fmla="*/ 2745127 w 4519987"/>
              <a:gd name="connsiteY47" fmla="*/ 4410075 h 4496940"/>
              <a:gd name="connsiteX48" fmla="*/ 2697502 w 4519987"/>
              <a:gd name="connsiteY48" fmla="*/ 4429125 h 4496940"/>
              <a:gd name="connsiteX49" fmla="*/ 2640352 w 4519987"/>
              <a:gd name="connsiteY49" fmla="*/ 4457700 h 4496940"/>
              <a:gd name="connsiteX50" fmla="*/ 2583202 w 4519987"/>
              <a:gd name="connsiteY50" fmla="*/ 4467225 h 4496940"/>
              <a:gd name="connsiteX51" fmla="*/ 2545102 w 4519987"/>
              <a:gd name="connsiteY51" fmla="*/ 4486275 h 4496940"/>
              <a:gd name="connsiteX52" fmla="*/ 2306977 w 4519987"/>
              <a:gd name="connsiteY52" fmla="*/ 4476750 h 4496940"/>
              <a:gd name="connsiteX53" fmla="*/ 2202202 w 4519987"/>
              <a:gd name="connsiteY53" fmla="*/ 4457700 h 4496940"/>
              <a:gd name="connsiteX54" fmla="*/ 2126002 w 4519987"/>
              <a:gd name="connsiteY54" fmla="*/ 4429125 h 4496940"/>
              <a:gd name="connsiteX55" fmla="*/ 1935502 w 4519987"/>
              <a:gd name="connsiteY55" fmla="*/ 4400550 h 4496940"/>
              <a:gd name="connsiteX56" fmla="*/ 1821202 w 4519987"/>
              <a:gd name="connsiteY56" fmla="*/ 4371975 h 4496940"/>
              <a:gd name="connsiteX57" fmla="*/ 1754527 w 4519987"/>
              <a:gd name="connsiteY57" fmla="*/ 4352925 h 4496940"/>
              <a:gd name="connsiteX58" fmla="*/ 1687852 w 4519987"/>
              <a:gd name="connsiteY58" fmla="*/ 4343400 h 4496940"/>
              <a:gd name="connsiteX59" fmla="*/ 1573552 w 4519987"/>
              <a:gd name="connsiteY59" fmla="*/ 4305300 h 4496940"/>
              <a:gd name="connsiteX60" fmla="*/ 1402102 w 4519987"/>
              <a:gd name="connsiteY60" fmla="*/ 4276725 h 4496940"/>
              <a:gd name="connsiteX61" fmla="*/ 1287802 w 4519987"/>
              <a:gd name="connsiteY61" fmla="*/ 4229100 h 4496940"/>
              <a:gd name="connsiteX62" fmla="*/ 1221127 w 4519987"/>
              <a:gd name="connsiteY62" fmla="*/ 4200525 h 4496940"/>
              <a:gd name="connsiteX63" fmla="*/ 1144927 w 4519987"/>
              <a:gd name="connsiteY63" fmla="*/ 4171950 h 4496940"/>
              <a:gd name="connsiteX64" fmla="*/ 1087777 w 4519987"/>
              <a:gd name="connsiteY64" fmla="*/ 4143375 h 4496940"/>
              <a:gd name="connsiteX65" fmla="*/ 1030627 w 4519987"/>
              <a:gd name="connsiteY65" fmla="*/ 4124325 h 4496940"/>
              <a:gd name="connsiteX66" fmla="*/ 925852 w 4519987"/>
              <a:gd name="connsiteY66" fmla="*/ 4067175 h 4496940"/>
              <a:gd name="connsiteX67" fmla="*/ 830602 w 4519987"/>
              <a:gd name="connsiteY67" fmla="*/ 3981450 h 4496940"/>
              <a:gd name="connsiteX68" fmla="*/ 763927 w 4519987"/>
              <a:gd name="connsiteY68" fmla="*/ 3914775 h 4496940"/>
              <a:gd name="connsiteX69" fmla="*/ 725827 w 4519987"/>
              <a:gd name="connsiteY69" fmla="*/ 3876675 h 4496940"/>
              <a:gd name="connsiteX70" fmla="*/ 697252 w 4519987"/>
              <a:gd name="connsiteY70" fmla="*/ 3838575 h 4496940"/>
              <a:gd name="connsiteX71" fmla="*/ 640102 w 4519987"/>
              <a:gd name="connsiteY71" fmla="*/ 3781425 h 4496940"/>
              <a:gd name="connsiteX72" fmla="*/ 611527 w 4519987"/>
              <a:gd name="connsiteY72" fmla="*/ 3733800 h 4496940"/>
              <a:gd name="connsiteX73" fmla="*/ 554377 w 4519987"/>
              <a:gd name="connsiteY73" fmla="*/ 3657600 h 4496940"/>
              <a:gd name="connsiteX74" fmla="*/ 525802 w 4519987"/>
              <a:gd name="connsiteY74" fmla="*/ 3609975 h 4496940"/>
              <a:gd name="connsiteX75" fmla="*/ 497227 w 4519987"/>
              <a:gd name="connsiteY75" fmla="*/ 3552825 h 4496940"/>
              <a:gd name="connsiteX76" fmla="*/ 440077 w 4519987"/>
              <a:gd name="connsiteY76" fmla="*/ 3495675 h 4496940"/>
              <a:gd name="connsiteX77" fmla="*/ 411502 w 4519987"/>
              <a:gd name="connsiteY77" fmla="*/ 3448050 h 4496940"/>
              <a:gd name="connsiteX78" fmla="*/ 278152 w 4519987"/>
              <a:gd name="connsiteY78" fmla="*/ 3257550 h 4496940"/>
              <a:gd name="connsiteX79" fmla="*/ 249577 w 4519987"/>
              <a:gd name="connsiteY79" fmla="*/ 3200400 h 4496940"/>
              <a:gd name="connsiteX80" fmla="*/ 240052 w 4519987"/>
              <a:gd name="connsiteY80" fmla="*/ 3162300 h 4496940"/>
              <a:gd name="connsiteX81" fmla="*/ 221002 w 4519987"/>
              <a:gd name="connsiteY81" fmla="*/ 3105150 h 4496940"/>
              <a:gd name="connsiteX82" fmla="*/ 173377 w 4519987"/>
              <a:gd name="connsiteY82" fmla="*/ 3019425 h 4496940"/>
              <a:gd name="connsiteX83" fmla="*/ 144802 w 4519987"/>
              <a:gd name="connsiteY83" fmla="*/ 2924175 h 4496940"/>
              <a:gd name="connsiteX84" fmla="*/ 68602 w 4519987"/>
              <a:gd name="connsiteY84" fmla="*/ 2724150 h 4496940"/>
              <a:gd name="connsiteX85" fmla="*/ 49552 w 4519987"/>
              <a:gd name="connsiteY85" fmla="*/ 2638425 h 4496940"/>
              <a:gd name="connsiteX86" fmla="*/ 40027 w 4519987"/>
              <a:gd name="connsiteY86" fmla="*/ 2562225 h 4496940"/>
              <a:gd name="connsiteX87" fmla="*/ 30502 w 4519987"/>
              <a:gd name="connsiteY87" fmla="*/ 2514600 h 4496940"/>
              <a:gd name="connsiteX88" fmla="*/ 11452 w 4519987"/>
              <a:gd name="connsiteY88" fmla="*/ 2400300 h 4496940"/>
              <a:gd name="connsiteX89" fmla="*/ 20977 w 4519987"/>
              <a:gd name="connsiteY89" fmla="*/ 1905000 h 4496940"/>
              <a:gd name="connsiteX90" fmla="*/ 30502 w 4519987"/>
              <a:gd name="connsiteY90" fmla="*/ 1838325 h 4496940"/>
              <a:gd name="connsiteX91" fmla="*/ 49552 w 4519987"/>
              <a:gd name="connsiteY91" fmla="*/ 1781175 h 4496940"/>
              <a:gd name="connsiteX92" fmla="*/ 59077 w 4519987"/>
              <a:gd name="connsiteY92" fmla="*/ 1743075 h 4496940"/>
              <a:gd name="connsiteX93" fmla="*/ 78127 w 4519987"/>
              <a:gd name="connsiteY93" fmla="*/ 1685925 h 4496940"/>
              <a:gd name="connsiteX94" fmla="*/ 87652 w 4519987"/>
              <a:gd name="connsiteY94" fmla="*/ 1638300 h 4496940"/>
              <a:gd name="connsiteX95" fmla="*/ 106702 w 4519987"/>
              <a:gd name="connsiteY95" fmla="*/ 1590675 h 4496940"/>
              <a:gd name="connsiteX96" fmla="*/ 135277 w 4519987"/>
              <a:gd name="connsiteY96" fmla="*/ 1504950 h 4496940"/>
              <a:gd name="connsiteX97" fmla="*/ 154327 w 4519987"/>
              <a:gd name="connsiteY97" fmla="*/ 1419225 h 4496940"/>
              <a:gd name="connsiteX98" fmla="*/ 230527 w 4519987"/>
              <a:gd name="connsiteY98" fmla="*/ 1276350 h 4496940"/>
              <a:gd name="connsiteX99" fmla="*/ 240052 w 4519987"/>
              <a:gd name="connsiteY99" fmla="*/ 1247775 h 4496940"/>
              <a:gd name="connsiteX100" fmla="*/ 268627 w 4519987"/>
              <a:gd name="connsiteY100" fmla="*/ 1200150 h 4496940"/>
              <a:gd name="connsiteX101" fmla="*/ 287677 w 4519987"/>
              <a:gd name="connsiteY101" fmla="*/ 1152525 h 4496940"/>
              <a:gd name="connsiteX102" fmla="*/ 316252 w 4519987"/>
              <a:gd name="connsiteY102" fmla="*/ 1114425 h 4496940"/>
              <a:gd name="connsiteX103" fmla="*/ 363877 w 4519987"/>
              <a:gd name="connsiteY103" fmla="*/ 1038225 h 4496940"/>
              <a:gd name="connsiteX104" fmla="*/ 382927 w 4519987"/>
              <a:gd name="connsiteY104" fmla="*/ 1009650 h 4496940"/>
              <a:gd name="connsiteX105" fmla="*/ 440077 w 4519987"/>
              <a:gd name="connsiteY105" fmla="*/ 904875 h 4496940"/>
              <a:gd name="connsiteX106" fmla="*/ 478177 w 4519987"/>
              <a:gd name="connsiteY106" fmla="*/ 857250 h 4496940"/>
              <a:gd name="connsiteX107" fmla="*/ 497227 w 4519987"/>
              <a:gd name="connsiteY107" fmla="*/ 828675 h 4496940"/>
              <a:gd name="connsiteX108" fmla="*/ 535327 w 4519987"/>
              <a:gd name="connsiteY108" fmla="*/ 800100 h 4496940"/>
              <a:gd name="connsiteX109" fmla="*/ 602002 w 4519987"/>
              <a:gd name="connsiteY109" fmla="*/ 733425 h 4496940"/>
              <a:gd name="connsiteX110" fmla="*/ 668677 w 4519987"/>
              <a:gd name="connsiteY110" fmla="*/ 676275 h 4496940"/>
              <a:gd name="connsiteX111" fmla="*/ 697252 w 4519987"/>
              <a:gd name="connsiteY111" fmla="*/ 657225 h 4496940"/>
              <a:gd name="connsiteX112" fmla="*/ 840127 w 4519987"/>
              <a:gd name="connsiteY112" fmla="*/ 533400 h 4496940"/>
              <a:gd name="connsiteX113" fmla="*/ 887752 w 4519987"/>
              <a:gd name="connsiteY113" fmla="*/ 504825 h 4496940"/>
              <a:gd name="connsiteX114" fmla="*/ 1167152 w 4519987"/>
              <a:gd name="connsiteY114" fmla="*/ 311150 h 4496940"/>
              <a:gd name="connsiteX115" fmla="*/ 1268752 w 4519987"/>
              <a:gd name="connsiteY115" fmla="*/ 285750 h 4496940"/>
              <a:gd name="connsiteX116" fmla="*/ 1411627 w 4519987"/>
              <a:gd name="connsiteY116" fmla="*/ 190500 h 4496940"/>
              <a:gd name="connsiteX117" fmla="*/ 1449727 w 4519987"/>
              <a:gd name="connsiteY117" fmla="*/ 161925 h 4496940"/>
              <a:gd name="connsiteX118" fmla="*/ 1525927 w 4519987"/>
              <a:gd name="connsiteY118" fmla="*/ 152400 h 4496940"/>
              <a:gd name="connsiteX119" fmla="*/ 1583077 w 4519987"/>
              <a:gd name="connsiteY119" fmla="*/ 142875 h 4496940"/>
              <a:gd name="connsiteX120" fmla="*/ 1716427 w 4519987"/>
              <a:gd name="connsiteY120" fmla="*/ 123825 h 4496940"/>
              <a:gd name="connsiteX121" fmla="*/ 1811677 w 4519987"/>
              <a:gd name="connsiteY121" fmla="*/ 114300 h 4496940"/>
              <a:gd name="connsiteX122" fmla="*/ 1859302 w 4519987"/>
              <a:gd name="connsiteY122" fmla="*/ 104775 h 4496940"/>
              <a:gd name="connsiteX123" fmla="*/ 1916452 w 4519987"/>
              <a:gd name="connsiteY123" fmla="*/ 95250 h 4496940"/>
              <a:gd name="connsiteX124" fmla="*/ 2030752 w 4519987"/>
              <a:gd name="connsiteY124" fmla="*/ 66675 h 4496940"/>
              <a:gd name="connsiteX125" fmla="*/ 2097427 w 4519987"/>
              <a:gd name="connsiteY125" fmla="*/ 47625 h 4496940"/>
              <a:gd name="connsiteX126" fmla="*/ 2164102 w 4519987"/>
              <a:gd name="connsiteY126" fmla="*/ 38100 h 4496940"/>
              <a:gd name="connsiteX127" fmla="*/ 2392702 w 4519987"/>
              <a:gd name="connsiteY12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383302 w 4519987"/>
              <a:gd name="connsiteY39" fmla="*/ 4210050 h 4496940"/>
              <a:gd name="connsiteX40" fmla="*/ 3335677 w 4519987"/>
              <a:gd name="connsiteY40" fmla="*/ 4238625 h 4496940"/>
              <a:gd name="connsiteX41" fmla="*/ 3288052 w 4519987"/>
              <a:gd name="connsiteY41" fmla="*/ 4248150 h 4496940"/>
              <a:gd name="connsiteX42" fmla="*/ 3240427 w 4519987"/>
              <a:gd name="connsiteY42" fmla="*/ 4267200 h 4496940"/>
              <a:gd name="connsiteX43" fmla="*/ 3068977 w 4519987"/>
              <a:gd name="connsiteY43" fmla="*/ 4286250 h 4496940"/>
              <a:gd name="connsiteX44" fmla="*/ 2935627 w 4519987"/>
              <a:gd name="connsiteY44" fmla="*/ 4333875 h 4496940"/>
              <a:gd name="connsiteX45" fmla="*/ 2811802 w 4519987"/>
              <a:gd name="connsiteY45" fmla="*/ 4371975 h 4496940"/>
              <a:gd name="connsiteX46" fmla="*/ 2745127 w 4519987"/>
              <a:gd name="connsiteY46" fmla="*/ 4410075 h 4496940"/>
              <a:gd name="connsiteX47" fmla="*/ 2697502 w 4519987"/>
              <a:gd name="connsiteY47" fmla="*/ 4429125 h 4496940"/>
              <a:gd name="connsiteX48" fmla="*/ 2640352 w 4519987"/>
              <a:gd name="connsiteY48" fmla="*/ 4457700 h 4496940"/>
              <a:gd name="connsiteX49" fmla="*/ 2583202 w 4519987"/>
              <a:gd name="connsiteY49" fmla="*/ 4467225 h 4496940"/>
              <a:gd name="connsiteX50" fmla="*/ 2545102 w 4519987"/>
              <a:gd name="connsiteY50" fmla="*/ 4486275 h 4496940"/>
              <a:gd name="connsiteX51" fmla="*/ 2306977 w 4519987"/>
              <a:gd name="connsiteY51" fmla="*/ 4476750 h 4496940"/>
              <a:gd name="connsiteX52" fmla="*/ 2202202 w 4519987"/>
              <a:gd name="connsiteY52" fmla="*/ 4457700 h 4496940"/>
              <a:gd name="connsiteX53" fmla="*/ 2126002 w 4519987"/>
              <a:gd name="connsiteY53" fmla="*/ 4429125 h 4496940"/>
              <a:gd name="connsiteX54" fmla="*/ 1935502 w 4519987"/>
              <a:gd name="connsiteY54" fmla="*/ 4400550 h 4496940"/>
              <a:gd name="connsiteX55" fmla="*/ 1821202 w 4519987"/>
              <a:gd name="connsiteY55" fmla="*/ 4371975 h 4496940"/>
              <a:gd name="connsiteX56" fmla="*/ 1754527 w 4519987"/>
              <a:gd name="connsiteY56" fmla="*/ 4352925 h 4496940"/>
              <a:gd name="connsiteX57" fmla="*/ 1687852 w 4519987"/>
              <a:gd name="connsiteY57" fmla="*/ 4343400 h 4496940"/>
              <a:gd name="connsiteX58" fmla="*/ 1573552 w 4519987"/>
              <a:gd name="connsiteY58" fmla="*/ 4305300 h 4496940"/>
              <a:gd name="connsiteX59" fmla="*/ 1402102 w 4519987"/>
              <a:gd name="connsiteY59" fmla="*/ 4276725 h 4496940"/>
              <a:gd name="connsiteX60" fmla="*/ 1287802 w 4519987"/>
              <a:gd name="connsiteY60" fmla="*/ 4229100 h 4496940"/>
              <a:gd name="connsiteX61" fmla="*/ 1221127 w 4519987"/>
              <a:gd name="connsiteY61" fmla="*/ 4200525 h 4496940"/>
              <a:gd name="connsiteX62" fmla="*/ 1144927 w 4519987"/>
              <a:gd name="connsiteY62" fmla="*/ 4171950 h 4496940"/>
              <a:gd name="connsiteX63" fmla="*/ 1087777 w 4519987"/>
              <a:gd name="connsiteY63" fmla="*/ 4143375 h 4496940"/>
              <a:gd name="connsiteX64" fmla="*/ 1030627 w 4519987"/>
              <a:gd name="connsiteY64" fmla="*/ 4124325 h 4496940"/>
              <a:gd name="connsiteX65" fmla="*/ 925852 w 4519987"/>
              <a:gd name="connsiteY65" fmla="*/ 4067175 h 4496940"/>
              <a:gd name="connsiteX66" fmla="*/ 830602 w 4519987"/>
              <a:gd name="connsiteY66" fmla="*/ 3981450 h 4496940"/>
              <a:gd name="connsiteX67" fmla="*/ 763927 w 4519987"/>
              <a:gd name="connsiteY67" fmla="*/ 3914775 h 4496940"/>
              <a:gd name="connsiteX68" fmla="*/ 725827 w 4519987"/>
              <a:gd name="connsiteY68" fmla="*/ 3876675 h 4496940"/>
              <a:gd name="connsiteX69" fmla="*/ 697252 w 4519987"/>
              <a:gd name="connsiteY69" fmla="*/ 3838575 h 4496940"/>
              <a:gd name="connsiteX70" fmla="*/ 640102 w 4519987"/>
              <a:gd name="connsiteY70" fmla="*/ 3781425 h 4496940"/>
              <a:gd name="connsiteX71" fmla="*/ 611527 w 4519987"/>
              <a:gd name="connsiteY71" fmla="*/ 3733800 h 4496940"/>
              <a:gd name="connsiteX72" fmla="*/ 554377 w 4519987"/>
              <a:gd name="connsiteY72" fmla="*/ 3657600 h 4496940"/>
              <a:gd name="connsiteX73" fmla="*/ 525802 w 4519987"/>
              <a:gd name="connsiteY73" fmla="*/ 3609975 h 4496940"/>
              <a:gd name="connsiteX74" fmla="*/ 497227 w 4519987"/>
              <a:gd name="connsiteY74" fmla="*/ 3552825 h 4496940"/>
              <a:gd name="connsiteX75" fmla="*/ 440077 w 4519987"/>
              <a:gd name="connsiteY75" fmla="*/ 3495675 h 4496940"/>
              <a:gd name="connsiteX76" fmla="*/ 411502 w 4519987"/>
              <a:gd name="connsiteY76" fmla="*/ 3448050 h 4496940"/>
              <a:gd name="connsiteX77" fmla="*/ 278152 w 4519987"/>
              <a:gd name="connsiteY77" fmla="*/ 3257550 h 4496940"/>
              <a:gd name="connsiteX78" fmla="*/ 249577 w 4519987"/>
              <a:gd name="connsiteY78" fmla="*/ 3200400 h 4496940"/>
              <a:gd name="connsiteX79" fmla="*/ 240052 w 4519987"/>
              <a:gd name="connsiteY79" fmla="*/ 3162300 h 4496940"/>
              <a:gd name="connsiteX80" fmla="*/ 221002 w 4519987"/>
              <a:gd name="connsiteY80" fmla="*/ 3105150 h 4496940"/>
              <a:gd name="connsiteX81" fmla="*/ 173377 w 4519987"/>
              <a:gd name="connsiteY81" fmla="*/ 3019425 h 4496940"/>
              <a:gd name="connsiteX82" fmla="*/ 144802 w 4519987"/>
              <a:gd name="connsiteY82" fmla="*/ 2924175 h 4496940"/>
              <a:gd name="connsiteX83" fmla="*/ 68602 w 4519987"/>
              <a:gd name="connsiteY83" fmla="*/ 2724150 h 4496940"/>
              <a:gd name="connsiteX84" fmla="*/ 49552 w 4519987"/>
              <a:gd name="connsiteY84" fmla="*/ 2638425 h 4496940"/>
              <a:gd name="connsiteX85" fmla="*/ 40027 w 4519987"/>
              <a:gd name="connsiteY85" fmla="*/ 2562225 h 4496940"/>
              <a:gd name="connsiteX86" fmla="*/ 30502 w 4519987"/>
              <a:gd name="connsiteY86" fmla="*/ 2514600 h 4496940"/>
              <a:gd name="connsiteX87" fmla="*/ 11452 w 4519987"/>
              <a:gd name="connsiteY87" fmla="*/ 2400300 h 4496940"/>
              <a:gd name="connsiteX88" fmla="*/ 20977 w 4519987"/>
              <a:gd name="connsiteY88" fmla="*/ 1905000 h 4496940"/>
              <a:gd name="connsiteX89" fmla="*/ 30502 w 4519987"/>
              <a:gd name="connsiteY89" fmla="*/ 1838325 h 4496940"/>
              <a:gd name="connsiteX90" fmla="*/ 49552 w 4519987"/>
              <a:gd name="connsiteY90" fmla="*/ 1781175 h 4496940"/>
              <a:gd name="connsiteX91" fmla="*/ 59077 w 4519987"/>
              <a:gd name="connsiteY91" fmla="*/ 1743075 h 4496940"/>
              <a:gd name="connsiteX92" fmla="*/ 78127 w 4519987"/>
              <a:gd name="connsiteY92" fmla="*/ 1685925 h 4496940"/>
              <a:gd name="connsiteX93" fmla="*/ 87652 w 4519987"/>
              <a:gd name="connsiteY93" fmla="*/ 1638300 h 4496940"/>
              <a:gd name="connsiteX94" fmla="*/ 106702 w 4519987"/>
              <a:gd name="connsiteY94" fmla="*/ 1590675 h 4496940"/>
              <a:gd name="connsiteX95" fmla="*/ 135277 w 4519987"/>
              <a:gd name="connsiteY95" fmla="*/ 1504950 h 4496940"/>
              <a:gd name="connsiteX96" fmla="*/ 154327 w 4519987"/>
              <a:gd name="connsiteY96" fmla="*/ 1419225 h 4496940"/>
              <a:gd name="connsiteX97" fmla="*/ 230527 w 4519987"/>
              <a:gd name="connsiteY97" fmla="*/ 1276350 h 4496940"/>
              <a:gd name="connsiteX98" fmla="*/ 240052 w 4519987"/>
              <a:gd name="connsiteY98" fmla="*/ 1247775 h 4496940"/>
              <a:gd name="connsiteX99" fmla="*/ 268627 w 4519987"/>
              <a:gd name="connsiteY99" fmla="*/ 1200150 h 4496940"/>
              <a:gd name="connsiteX100" fmla="*/ 287677 w 4519987"/>
              <a:gd name="connsiteY100" fmla="*/ 1152525 h 4496940"/>
              <a:gd name="connsiteX101" fmla="*/ 316252 w 4519987"/>
              <a:gd name="connsiteY101" fmla="*/ 1114425 h 4496940"/>
              <a:gd name="connsiteX102" fmla="*/ 363877 w 4519987"/>
              <a:gd name="connsiteY102" fmla="*/ 1038225 h 4496940"/>
              <a:gd name="connsiteX103" fmla="*/ 382927 w 4519987"/>
              <a:gd name="connsiteY103" fmla="*/ 1009650 h 4496940"/>
              <a:gd name="connsiteX104" fmla="*/ 440077 w 4519987"/>
              <a:gd name="connsiteY104" fmla="*/ 904875 h 4496940"/>
              <a:gd name="connsiteX105" fmla="*/ 478177 w 4519987"/>
              <a:gd name="connsiteY105" fmla="*/ 857250 h 4496940"/>
              <a:gd name="connsiteX106" fmla="*/ 497227 w 4519987"/>
              <a:gd name="connsiteY106" fmla="*/ 828675 h 4496940"/>
              <a:gd name="connsiteX107" fmla="*/ 535327 w 4519987"/>
              <a:gd name="connsiteY107" fmla="*/ 800100 h 4496940"/>
              <a:gd name="connsiteX108" fmla="*/ 602002 w 4519987"/>
              <a:gd name="connsiteY108" fmla="*/ 733425 h 4496940"/>
              <a:gd name="connsiteX109" fmla="*/ 668677 w 4519987"/>
              <a:gd name="connsiteY109" fmla="*/ 676275 h 4496940"/>
              <a:gd name="connsiteX110" fmla="*/ 697252 w 4519987"/>
              <a:gd name="connsiteY110" fmla="*/ 657225 h 4496940"/>
              <a:gd name="connsiteX111" fmla="*/ 840127 w 4519987"/>
              <a:gd name="connsiteY111" fmla="*/ 533400 h 4496940"/>
              <a:gd name="connsiteX112" fmla="*/ 887752 w 4519987"/>
              <a:gd name="connsiteY112" fmla="*/ 504825 h 4496940"/>
              <a:gd name="connsiteX113" fmla="*/ 1167152 w 4519987"/>
              <a:gd name="connsiteY113" fmla="*/ 311150 h 4496940"/>
              <a:gd name="connsiteX114" fmla="*/ 1268752 w 4519987"/>
              <a:gd name="connsiteY114" fmla="*/ 285750 h 4496940"/>
              <a:gd name="connsiteX115" fmla="*/ 1411627 w 4519987"/>
              <a:gd name="connsiteY115" fmla="*/ 190500 h 4496940"/>
              <a:gd name="connsiteX116" fmla="*/ 1449727 w 4519987"/>
              <a:gd name="connsiteY116" fmla="*/ 161925 h 4496940"/>
              <a:gd name="connsiteX117" fmla="*/ 1525927 w 4519987"/>
              <a:gd name="connsiteY117" fmla="*/ 152400 h 4496940"/>
              <a:gd name="connsiteX118" fmla="*/ 1583077 w 4519987"/>
              <a:gd name="connsiteY118" fmla="*/ 142875 h 4496940"/>
              <a:gd name="connsiteX119" fmla="*/ 1716427 w 4519987"/>
              <a:gd name="connsiteY119" fmla="*/ 123825 h 4496940"/>
              <a:gd name="connsiteX120" fmla="*/ 1811677 w 4519987"/>
              <a:gd name="connsiteY120" fmla="*/ 114300 h 4496940"/>
              <a:gd name="connsiteX121" fmla="*/ 1859302 w 4519987"/>
              <a:gd name="connsiteY121" fmla="*/ 104775 h 4496940"/>
              <a:gd name="connsiteX122" fmla="*/ 1916452 w 4519987"/>
              <a:gd name="connsiteY122" fmla="*/ 95250 h 4496940"/>
              <a:gd name="connsiteX123" fmla="*/ 2030752 w 4519987"/>
              <a:gd name="connsiteY123" fmla="*/ 66675 h 4496940"/>
              <a:gd name="connsiteX124" fmla="*/ 2097427 w 4519987"/>
              <a:gd name="connsiteY124" fmla="*/ 47625 h 4496940"/>
              <a:gd name="connsiteX125" fmla="*/ 2164102 w 4519987"/>
              <a:gd name="connsiteY125" fmla="*/ 38100 h 4496940"/>
              <a:gd name="connsiteX126" fmla="*/ 2392702 w 4519987"/>
              <a:gd name="connsiteY12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554752 w 4519987"/>
              <a:gd name="connsiteY37" fmla="*/ 4095750 h 4496940"/>
              <a:gd name="connsiteX38" fmla="*/ 3383302 w 4519987"/>
              <a:gd name="connsiteY38" fmla="*/ 4210050 h 4496940"/>
              <a:gd name="connsiteX39" fmla="*/ 3335677 w 4519987"/>
              <a:gd name="connsiteY39" fmla="*/ 4238625 h 4496940"/>
              <a:gd name="connsiteX40" fmla="*/ 3288052 w 4519987"/>
              <a:gd name="connsiteY40" fmla="*/ 4248150 h 4496940"/>
              <a:gd name="connsiteX41" fmla="*/ 3240427 w 4519987"/>
              <a:gd name="connsiteY41" fmla="*/ 4267200 h 4496940"/>
              <a:gd name="connsiteX42" fmla="*/ 3068977 w 4519987"/>
              <a:gd name="connsiteY42" fmla="*/ 4286250 h 4496940"/>
              <a:gd name="connsiteX43" fmla="*/ 2935627 w 4519987"/>
              <a:gd name="connsiteY43" fmla="*/ 4333875 h 4496940"/>
              <a:gd name="connsiteX44" fmla="*/ 2811802 w 4519987"/>
              <a:gd name="connsiteY44" fmla="*/ 4371975 h 4496940"/>
              <a:gd name="connsiteX45" fmla="*/ 2745127 w 4519987"/>
              <a:gd name="connsiteY45" fmla="*/ 4410075 h 4496940"/>
              <a:gd name="connsiteX46" fmla="*/ 2697502 w 4519987"/>
              <a:gd name="connsiteY46" fmla="*/ 4429125 h 4496940"/>
              <a:gd name="connsiteX47" fmla="*/ 2640352 w 4519987"/>
              <a:gd name="connsiteY47" fmla="*/ 4457700 h 4496940"/>
              <a:gd name="connsiteX48" fmla="*/ 2583202 w 4519987"/>
              <a:gd name="connsiteY48" fmla="*/ 4467225 h 4496940"/>
              <a:gd name="connsiteX49" fmla="*/ 2545102 w 4519987"/>
              <a:gd name="connsiteY49" fmla="*/ 4486275 h 4496940"/>
              <a:gd name="connsiteX50" fmla="*/ 2306977 w 4519987"/>
              <a:gd name="connsiteY50" fmla="*/ 4476750 h 4496940"/>
              <a:gd name="connsiteX51" fmla="*/ 2202202 w 4519987"/>
              <a:gd name="connsiteY51" fmla="*/ 4457700 h 4496940"/>
              <a:gd name="connsiteX52" fmla="*/ 2126002 w 4519987"/>
              <a:gd name="connsiteY52" fmla="*/ 4429125 h 4496940"/>
              <a:gd name="connsiteX53" fmla="*/ 1935502 w 4519987"/>
              <a:gd name="connsiteY53" fmla="*/ 4400550 h 4496940"/>
              <a:gd name="connsiteX54" fmla="*/ 1821202 w 4519987"/>
              <a:gd name="connsiteY54" fmla="*/ 4371975 h 4496940"/>
              <a:gd name="connsiteX55" fmla="*/ 1754527 w 4519987"/>
              <a:gd name="connsiteY55" fmla="*/ 4352925 h 4496940"/>
              <a:gd name="connsiteX56" fmla="*/ 1687852 w 4519987"/>
              <a:gd name="connsiteY56" fmla="*/ 4343400 h 4496940"/>
              <a:gd name="connsiteX57" fmla="*/ 1573552 w 4519987"/>
              <a:gd name="connsiteY57" fmla="*/ 4305300 h 4496940"/>
              <a:gd name="connsiteX58" fmla="*/ 1402102 w 4519987"/>
              <a:gd name="connsiteY58" fmla="*/ 4276725 h 4496940"/>
              <a:gd name="connsiteX59" fmla="*/ 1287802 w 4519987"/>
              <a:gd name="connsiteY59" fmla="*/ 4229100 h 4496940"/>
              <a:gd name="connsiteX60" fmla="*/ 1221127 w 4519987"/>
              <a:gd name="connsiteY60" fmla="*/ 4200525 h 4496940"/>
              <a:gd name="connsiteX61" fmla="*/ 1144927 w 4519987"/>
              <a:gd name="connsiteY61" fmla="*/ 4171950 h 4496940"/>
              <a:gd name="connsiteX62" fmla="*/ 1087777 w 4519987"/>
              <a:gd name="connsiteY62" fmla="*/ 4143375 h 4496940"/>
              <a:gd name="connsiteX63" fmla="*/ 1030627 w 4519987"/>
              <a:gd name="connsiteY63" fmla="*/ 4124325 h 4496940"/>
              <a:gd name="connsiteX64" fmla="*/ 925852 w 4519987"/>
              <a:gd name="connsiteY64" fmla="*/ 4067175 h 4496940"/>
              <a:gd name="connsiteX65" fmla="*/ 830602 w 4519987"/>
              <a:gd name="connsiteY65" fmla="*/ 3981450 h 4496940"/>
              <a:gd name="connsiteX66" fmla="*/ 763927 w 4519987"/>
              <a:gd name="connsiteY66" fmla="*/ 3914775 h 4496940"/>
              <a:gd name="connsiteX67" fmla="*/ 725827 w 4519987"/>
              <a:gd name="connsiteY67" fmla="*/ 3876675 h 4496940"/>
              <a:gd name="connsiteX68" fmla="*/ 697252 w 4519987"/>
              <a:gd name="connsiteY68" fmla="*/ 3838575 h 4496940"/>
              <a:gd name="connsiteX69" fmla="*/ 640102 w 4519987"/>
              <a:gd name="connsiteY69" fmla="*/ 3781425 h 4496940"/>
              <a:gd name="connsiteX70" fmla="*/ 611527 w 4519987"/>
              <a:gd name="connsiteY70" fmla="*/ 3733800 h 4496940"/>
              <a:gd name="connsiteX71" fmla="*/ 554377 w 4519987"/>
              <a:gd name="connsiteY71" fmla="*/ 3657600 h 4496940"/>
              <a:gd name="connsiteX72" fmla="*/ 525802 w 4519987"/>
              <a:gd name="connsiteY72" fmla="*/ 3609975 h 4496940"/>
              <a:gd name="connsiteX73" fmla="*/ 497227 w 4519987"/>
              <a:gd name="connsiteY73" fmla="*/ 3552825 h 4496940"/>
              <a:gd name="connsiteX74" fmla="*/ 440077 w 4519987"/>
              <a:gd name="connsiteY74" fmla="*/ 3495675 h 4496940"/>
              <a:gd name="connsiteX75" fmla="*/ 411502 w 4519987"/>
              <a:gd name="connsiteY75" fmla="*/ 3448050 h 4496940"/>
              <a:gd name="connsiteX76" fmla="*/ 278152 w 4519987"/>
              <a:gd name="connsiteY76" fmla="*/ 3257550 h 4496940"/>
              <a:gd name="connsiteX77" fmla="*/ 249577 w 4519987"/>
              <a:gd name="connsiteY77" fmla="*/ 3200400 h 4496940"/>
              <a:gd name="connsiteX78" fmla="*/ 240052 w 4519987"/>
              <a:gd name="connsiteY78" fmla="*/ 3162300 h 4496940"/>
              <a:gd name="connsiteX79" fmla="*/ 221002 w 4519987"/>
              <a:gd name="connsiteY79" fmla="*/ 3105150 h 4496940"/>
              <a:gd name="connsiteX80" fmla="*/ 173377 w 4519987"/>
              <a:gd name="connsiteY80" fmla="*/ 3019425 h 4496940"/>
              <a:gd name="connsiteX81" fmla="*/ 144802 w 4519987"/>
              <a:gd name="connsiteY81" fmla="*/ 2924175 h 4496940"/>
              <a:gd name="connsiteX82" fmla="*/ 68602 w 4519987"/>
              <a:gd name="connsiteY82" fmla="*/ 2724150 h 4496940"/>
              <a:gd name="connsiteX83" fmla="*/ 49552 w 4519987"/>
              <a:gd name="connsiteY83" fmla="*/ 2638425 h 4496940"/>
              <a:gd name="connsiteX84" fmla="*/ 40027 w 4519987"/>
              <a:gd name="connsiteY84" fmla="*/ 2562225 h 4496940"/>
              <a:gd name="connsiteX85" fmla="*/ 30502 w 4519987"/>
              <a:gd name="connsiteY85" fmla="*/ 2514600 h 4496940"/>
              <a:gd name="connsiteX86" fmla="*/ 11452 w 4519987"/>
              <a:gd name="connsiteY86" fmla="*/ 2400300 h 4496940"/>
              <a:gd name="connsiteX87" fmla="*/ 20977 w 4519987"/>
              <a:gd name="connsiteY87" fmla="*/ 1905000 h 4496940"/>
              <a:gd name="connsiteX88" fmla="*/ 30502 w 4519987"/>
              <a:gd name="connsiteY88" fmla="*/ 1838325 h 4496940"/>
              <a:gd name="connsiteX89" fmla="*/ 49552 w 4519987"/>
              <a:gd name="connsiteY89" fmla="*/ 1781175 h 4496940"/>
              <a:gd name="connsiteX90" fmla="*/ 59077 w 4519987"/>
              <a:gd name="connsiteY90" fmla="*/ 1743075 h 4496940"/>
              <a:gd name="connsiteX91" fmla="*/ 78127 w 4519987"/>
              <a:gd name="connsiteY91" fmla="*/ 1685925 h 4496940"/>
              <a:gd name="connsiteX92" fmla="*/ 87652 w 4519987"/>
              <a:gd name="connsiteY92" fmla="*/ 1638300 h 4496940"/>
              <a:gd name="connsiteX93" fmla="*/ 106702 w 4519987"/>
              <a:gd name="connsiteY93" fmla="*/ 1590675 h 4496940"/>
              <a:gd name="connsiteX94" fmla="*/ 135277 w 4519987"/>
              <a:gd name="connsiteY94" fmla="*/ 1504950 h 4496940"/>
              <a:gd name="connsiteX95" fmla="*/ 154327 w 4519987"/>
              <a:gd name="connsiteY95" fmla="*/ 1419225 h 4496940"/>
              <a:gd name="connsiteX96" fmla="*/ 230527 w 4519987"/>
              <a:gd name="connsiteY96" fmla="*/ 1276350 h 4496940"/>
              <a:gd name="connsiteX97" fmla="*/ 240052 w 4519987"/>
              <a:gd name="connsiteY97" fmla="*/ 1247775 h 4496940"/>
              <a:gd name="connsiteX98" fmla="*/ 268627 w 4519987"/>
              <a:gd name="connsiteY98" fmla="*/ 1200150 h 4496940"/>
              <a:gd name="connsiteX99" fmla="*/ 287677 w 4519987"/>
              <a:gd name="connsiteY99" fmla="*/ 1152525 h 4496940"/>
              <a:gd name="connsiteX100" fmla="*/ 316252 w 4519987"/>
              <a:gd name="connsiteY100" fmla="*/ 1114425 h 4496940"/>
              <a:gd name="connsiteX101" fmla="*/ 363877 w 4519987"/>
              <a:gd name="connsiteY101" fmla="*/ 1038225 h 4496940"/>
              <a:gd name="connsiteX102" fmla="*/ 382927 w 4519987"/>
              <a:gd name="connsiteY102" fmla="*/ 1009650 h 4496940"/>
              <a:gd name="connsiteX103" fmla="*/ 440077 w 4519987"/>
              <a:gd name="connsiteY103" fmla="*/ 904875 h 4496940"/>
              <a:gd name="connsiteX104" fmla="*/ 478177 w 4519987"/>
              <a:gd name="connsiteY104" fmla="*/ 857250 h 4496940"/>
              <a:gd name="connsiteX105" fmla="*/ 497227 w 4519987"/>
              <a:gd name="connsiteY105" fmla="*/ 828675 h 4496940"/>
              <a:gd name="connsiteX106" fmla="*/ 535327 w 4519987"/>
              <a:gd name="connsiteY106" fmla="*/ 800100 h 4496940"/>
              <a:gd name="connsiteX107" fmla="*/ 602002 w 4519987"/>
              <a:gd name="connsiteY107" fmla="*/ 733425 h 4496940"/>
              <a:gd name="connsiteX108" fmla="*/ 668677 w 4519987"/>
              <a:gd name="connsiteY108" fmla="*/ 676275 h 4496940"/>
              <a:gd name="connsiteX109" fmla="*/ 697252 w 4519987"/>
              <a:gd name="connsiteY109" fmla="*/ 657225 h 4496940"/>
              <a:gd name="connsiteX110" fmla="*/ 840127 w 4519987"/>
              <a:gd name="connsiteY110" fmla="*/ 533400 h 4496940"/>
              <a:gd name="connsiteX111" fmla="*/ 887752 w 4519987"/>
              <a:gd name="connsiteY111" fmla="*/ 504825 h 4496940"/>
              <a:gd name="connsiteX112" fmla="*/ 1167152 w 4519987"/>
              <a:gd name="connsiteY112" fmla="*/ 311150 h 4496940"/>
              <a:gd name="connsiteX113" fmla="*/ 1268752 w 4519987"/>
              <a:gd name="connsiteY113" fmla="*/ 285750 h 4496940"/>
              <a:gd name="connsiteX114" fmla="*/ 1411627 w 4519987"/>
              <a:gd name="connsiteY114" fmla="*/ 190500 h 4496940"/>
              <a:gd name="connsiteX115" fmla="*/ 1449727 w 4519987"/>
              <a:gd name="connsiteY115" fmla="*/ 161925 h 4496940"/>
              <a:gd name="connsiteX116" fmla="*/ 1525927 w 4519987"/>
              <a:gd name="connsiteY116" fmla="*/ 152400 h 4496940"/>
              <a:gd name="connsiteX117" fmla="*/ 1583077 w 4519987"/>
              <a:gd name="connsiteY117" fmla="*/ 142875 h 4496940"/>
              <a:gd name="connsiteX118" fmla="*/ 1716427 w 4519987"/>
              <a:gd name="connsiteY118" fmla="*/ 123825 h 4496940"/>
              <a:gd name="connsiteX119" fmla="*/ 1811677 w 4519987"/>
              <a:gd name="connsiteY119" fmla="*/ 114300 h 4496940"/>
              <a:gd name="connsiteX120" fmla="*/ 1859302 w 4519987"/>
              <a:gd name="connsiteY120" fmla="*/ 104775 h 4496940"/>
              <a:gd name="connsiteX121" fmla="*/ 1916452 w 4519987"/>
              <a:gd name="connsiteY121" fmla="*/ 95250 h 4496940"/>
              <a:gd name="connsiteX122" fmla="*/ 2030752 w 4519987"/>
              <a:gd name="connsiteY122" fmla="*/ 66675 h 4496940"/>
              <a:gd name="connsiteX123" fmla="*/ 2097427 w 4519987"/>
              <a:gd name="connsiteY123" fmla="*/ 47625 h 4496940"/>
              <a:gd name="connsiteX124" fmla="*/ 2164102 w 4519987"/>
              <a:gd name="connsiteY124" fmla="*/ 38100 h 4496940"/>
              <a:gd name="connsiteX125" fmla="*/ 2392702 w 4519987"/>
              <a:gd name="connsiteY12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54752 w 4519987"/>
              <a:gd name="connsiteY36" fmla="*/ 4095750 h 4496940"/>
              <a:gd name="connsiteX37" fmla="*/ 3383302 w 4519987"/>
              <a:gd name="connsiteY37" fmla="*/ 4210050 h 4496940"/>
              <a:gd name="connsiteX38" fmla="*/ 3335677 w 4519987"/>
              <a:gd name="connsiteY38" fmla="*/ 4238625 h 4496940"/>
              <a:gd name="connsiteX39" fmla="*/ 3288052 w 4519987"/>
              <a:gd name="connsiteY39" fmla="*/ 4248150 h 4496940"/>
              <a:gd name="connsiteX40" fmla="*/ 3240427 w 4519987"/>
              <a:gd name="connsiteY40" fmla="*/ 4267200 h 4496940"/>
              <a:gd name="connsiteX41" fmla="*/ 3068977 w 4519987"/>
              <a:gd name="connsiteY41" fmla="*/ 4286250 h 4496940"/>
              <a:gd name="connsiteX42" fmla="*/ 2935627 w 4519987"/>
              <a:gd name="connsiteY42" fmla="*/ 4333875 h 4496940"/>
              <a:gd name="connsiteX43" fmla="*/ 2811802 w 4519987"/>
              <a:gd name="connsiteY43" fmla="*/ 4371975 h 4496940"/>
              <a:gd name="connsiteX44" fmla="*/ 2745127 w 4519987"/>
              <a:gd name="connsiteY44" fmla="*/ 4410075 h 4496940"/>
              <a:gd name="connsiteX45" fmla="*/ 2697502 w 4519987"/>
              <a:gd name="connsiteY45" fmla="*/ 4429125 h 4496940"/>
              <a:gd name="connsiteX46" fmla="*/ 2640352 w 4519987"/>
              <a:gd name="connsiteY46" fmla="*/ 4457700 h 4496940"/>
              <a:gd name="connsiteX47" fmla="*/ 2583202 w 4519987"/>
              <a:gd name="connsiteY47" fmla="*/ 4467225 h 4496940"/>
              <a:gd name="connsiteX48" fmla="*/ 2545102 w 4519987"/>
              <a:gd name="connsiteY48" fmla="*/ 4486275 h 4496940"/>
              <a:gd name="connsiteX49" fmla="*/ 2306977 w 4519987"/>
              <a:gd name="connsiteY49" fmla="*/ 4476750 h 4496940"/>
              <a:gd name="connsiteX50" fmla="*/ 2202202 w 4519987"/>
              <a:gd name="connsiteY50" fmla="*/ 4457700 h 4496940"/>
              <a:gd name="connsiteX51" fmla="*/ 2126002 w 4519987"/>
              <a:gd name="connsiteY51" fmla="*/ 4429125 h 4496940"/>
              <a:gd name="connsiteX52" fmla="*/ 1935502 w 4519987"/>
              <a:gd name="connsiteY52" fmla="*/ 4400550 h 4496940"/>
              <a:gd name="connsiteX53" fmla="*/ 1821202 w 4519987"/>
              <a:gd name="connsiteY53" fmla="*/ 4371975 h 4496940"/>
              <a:gd name="connsiteX54" fmla="*/ 1754527 w 4519987"/>
              <a:gd name="connsiteY54" fmla="*/ 4352925 h 4496940"/>
              <a:gd name="connsiteX55" fmla="*/ 1687852 w 4519987"/>
              <a:gd name="connsiteY55" fmla="*/ 4343400 h 4496940"/>
              <a:gd name="connsiteX56" fmla="*/ 1573552 w 4519987"/>
              <a:gd name="connsiteY56" fmla="*/ 4305300 h 4496940"/>
              <a:gd name="connsiteX57" fmla="*/ 1402102 w 4519987"/>
              <a:gd name="connsiteY57" fmla="*/ 4276725 h 4496940"/>
              <a:gd name="connsiteX58" fmla="*/ 1287802 w 4519987"/>
              <a:gd name="connsiteY58" fmla="*/ 4229100 h 4496940"/>
              <a:gd name="connsiteX59" fmla="*/ 1221127 w 4519987"/>
              <a:gd name="connsiteY59" fmla="*/ 4200525 h 4496940"/>
              <a:gd name="connsiteX60" fmla="*/ 1144927 w 4519987"/>
              <a:gd name="connsiteY60" fmla="*/ 4171950 h 4496940"/>
              <a:gd name="connsiteX61" fmla="*/ 1087777 w 4519987"/>
              <a:gd name="connsiteY61" fmla="*/ 4143375 h 4496940"/>
              <a:gd name="connsiteX62" fmla="*/ 1030627 w 4519987"/>
              <a:gd name="connsiteY62" fmla="*/ 4124325 h 4496940"/>
              <a:gd name="connsiteX63" fmla="*/ 925852 w 4519987"/>
              <a:gd name="connsiteY63" fmla="*/ 4067175 h 4496940"/>
              <a:gd name="connsiteX64" fmla="*/ 830602 w 4519987"/>
              <a:gd name="connsiteY64" fmla="*/ 3981450 h 4496940"/>
              <a:gd name="connsiteX65" fmla="*/ 763927 w 4519987"/>
              <a:gd name="connsiteY65" fmla="*/ 3914775 h 4496940"/>
              <a:gd name="connsiteX66" fmla="*/ 725827 w 4519987"/>
              <a:gd name="connsiteY66" fmla="*/ 3876675 h 4496940"/>
              <a:gd name="connsiteX67" fmla="*/ 697252 w 4519987"/>
              <a:gd name="connsiteY67" fmla="*/ 3838575 h 4496940"/>
              <a:gd name="connsiteX68" fmla="*/ 640102 w 4519987"/>
              <a:gd name="connsiteY68" fmla="*/ 3781425 h 4496940"/>
              <a:gd name="connsiteX69" fmla="*/ 611527 w 4519987"/>
              <a:gd name="connsiteY69" fmla="*/ 3733800 h 4496940"/>
              <a:gd name="connsiteX70" fmla="*/ 554377 w 4519987"/>
              <a:gd name="connsiteY70" fmla="*/ 3657600 h 4496940"/>
              <a:gd name="connsiteX71" fmla="*/ 525802 w 4519987"/>
              <a:gd name="connsiteY71" fmla="*/ 3609975 h 4496940"/>
              <a:gd name="connsiteX72" fmla="*/ 497227 w 4519987"/>
              <a:gd name="connsiteY72" fmla="*/ 3552825 h 4496940"/>
              <a:gd name="connsiteX73" fmla="*/ 440077 w 4519987"/>
              <a:gd name="connsiteY73" fmla="*/ 3495675 h 4496940"/>
              <a:gd name="connsiteX74" fmla="*/ 411502 w 4519987"/>
              <a:gd name="connsiteY74" fmla="*/ 3448050 h 4496940"/>
              <a:gd name="connsiteX75" fmla="*/ 278152 w 4519987"/>
              <a:gd name="connsiteY75" fmla="*/ 3257550 h 4496940"/>
              <a:gd name="connsiteX76" fmla="*/ 249577 w 4519987"/>
              <a:gd name="connsiteY76" fmla="*/ 3200400 h 4496940"/>
              <a:gd name="connsiteX77" fmla="*/ 240052 w 4519987"/>
              <a:gd name="connsiteY77" fmla="*/ 3162300 h 4496940"/>
              <a:gd name="connsiteX78" fmla="*/ 221002 w 4519987"/>
              <a:gd name="connsiteY78" fmla="*/ 3105150 h 4496940"/>
              <a:gd name="connsiteX79" fmla="*/ 173377 w 4519987"/>
              <a:gd name="connsiteY79" fmla="*/ 3019425 h 4496940"/>
              <a:gd name="connsiteX80" fmla="*/ 144802 w 4519987"/>
              <a:gd name="connsiteY80" fmla="*/ 2924175 h 4496940"/>
              <a:gd name="connsiteX81" fmla="*/ 68602 w 4519987"/>
              <a:gd name="connsiteY81" fmla="*/ 2724150 h 4496940"/>
              <a:gd name="connsiteX82" fmla="*/ 49552 w 4519987"/>
              <a:gd name="connsiteY82" fmla="*/ 2638425 h 4496940"/>
              <a:gd name="connsiteX83" fmla="*/ 40027 w 4519987"/>
              <a:gd name="connsiteY83" fmla="*/ 2562225 h 4496940"/>
              <a:gd name="connsiteX84" fmla="*/ 30502 w 4519987"/>
              <a:gd name="connsiteY84" fmla="*/ 2514600 h 4496940"/>
              <a:gd name="connsiteX85" fmla="*/ 11452 w 4519987"/>
              <a:gd name="connsiteY85" fmla="*/ 2400300 h 4496940"/>
              <a:gd name="connsiteX86" fmla="*/ 20977 w 4519987"/>
              <a:gd name="connsiteY86" fmla="*/ 1905000 h 4496940"/>
              <a:gd name="connsiteX87" fmla="*/ 30502 w 4519987"/>
              <a:gd name="connsiteY87" fmla="*/ 1838325 h 4496940"/>
              <a:gd name="connsiteX88" fmla="*/ 49552 w 4519987"/>
              <a:gd name="connsiteY88" fmla="*/ 1781175 h 4496940"/>
              <a:gd name="connsiteX89" fmla="*/ 59077 w 4519987"/>
              <a:gd name="connsiteY89" fmla="*/ 1743075 h 4496940"/>
              <a:gd name="connsiteX90" fmla="*/ 78127 w 4519987"/>
              <a:gd name="connsiteY90" fmla="*/ 1685925 h 4496940"/>
              <a:gd name="connsiteX91" fmla="*/ 87652 w 4519987"/>
              <a:gd name="connsiteY91" fmla="*/ 1638300 h 4496940"/>
              <a:gd name="connsiteX92" fmla="*/ 106702 w 4519987"/>
              <a:gd name="connsiteY92" fmla="*/ 1590675 h 4496940"/>
              <a:gd name="connsiteX93" fmla="*/ 135277 w 4519987"/>
              <a:gd name="connsiteY93" fmla="*/ 1504950 h 4496940"/>
              <a:gd name="connsiteX94" fmla="*/ 154327 w 4519987"/>
              <a:gd name="connsiteY94" fmla="*/ 1419225 h 4496940"/>
              <a:gd name="connsiteX95" fmla="*/ 230527 w 4519987"/>
              <a:gd name="connsiteY95" fmla="*/ 1276350 h 4496940"/>
              <a:gd name="connsiteX96" fmla="*/ 240052 w 4519987"/>
              <a:gd name="connsiteY96" fmla="*/ 1247775 h 4496940"/>
              <a:gd name="connsiteX97" fmla="*/ 268627 w 4519987"/>
              <a:gd name="connsiteY97" fmla="*/ 1200150 h 4496940"/>
              <a:gd name="connsiteX98" fmla="*/ 287677 w 4519987"/>
              <a:gd name="connsiteY98" fmla="*/ 1152525 h 4496940"/>
              <a:gd name="connsiteX99" fmla="*/ 316252 w 4519987"/>
              <a:gd name="connsiteY99" fmla="*/ 1114425 h 4496940"/>
              <a:gd name="connsiteX100" fmla="*/ 363877 w 4519987"/>
              <a:gd name="connsiteY100" fmla="*/ 1038225 h 4496940"/>
              <a:gd name="connsiteX101" fmla="*/ 382927 w 4519987"/>
              <a:gd name="connsiteY101" fmla="*/ 1009650 h 4496940"/>
              <a:gd name="connsiteX102" fmla="*/ 440077 w 4519987"/>
              <a:gd name="connsiteY102" fmla="*/ 904875 h 4496940"/>
              <a:gd name="connsiteX103" fmla="*/ 478177 w 4519987"/>
              <a:gd name="connsiteY103" fmla="*/ 857250 h 4496940"/>
              <a:gd name="connsiteX104" fmla="*/ 497227 w 4519987"/>
              <a:gd name="connsiteY104" fmla="*/ 828675 h 4496940"/>
              <a:gd name="connsiteX105" fmla="*/ 535327 w 4519987"/>
              <a:gd name="connsiteY105" fmla="*/ 800100 h 4496940"/>
              <a:gd name="connsiteX106" fmla="*/ 602002 w 4519987"/>
              <a:gd name="connsiteY106" fmla="*/ 733425 h 4496940"/>
              <a:gd name="connsiteX107" fmla="*/ 668677 w 4519987"/>
              <a:gd name="connsiteY107" fmla="*/ 676275 h 4496940"/>
              <a:gd name="connsiteX108" fmla="*/ 697252 w 4519987"/>
              <a:gd name="connsiteY108" fmla="*/ 657225 h 4496940"/>
              <a:gd name="connsiteX109" fmla="*/ 840127 w 4519987"/>
              <a:gd name="connsiteY109" fmla="*/ 533400 h 4496940"/>
              <a:gd name="connsiteX110" fmla="*/ 887752 w 4519987"/>
              <a:gd name="connsiteY110" fmla="*/ 504825 h 4496940"/>
              <a:gd name="connsiteX111" fmla="*/ 1167152 w 4519987"/>
              <a:gd name="connsiteY111" fmla="*/ 311150 h 4496940"/>
              <a:gd name="connsiteX112" fmla="*/ 1268752 w 4519987"/>
              <a:gd name="connsiteY112" fmla="*/ 285750 h 4496940"/>
              <a:gd name="connsiteX113" fmla="*/ 1411627 w 4519987"/>
              <a:gd name="connsiteY113" fmla="*/ 190500 h 4496940"/>
              <a:gd name="connsiteX114" fmla="*/ 1449727 w 4519987"/>
              <a:gd name="connsiteY114" fmla="*/ 161925 h 4496940"/>
              <a:gd name="connsiteX115" fmla="*/ 1525927 w 4519987"/>
              <a:gd name="connsiteY115" fmla="*/ 152400 h 4496940"/>
              <a:gd name="connsiteX116" fmla="*/ 1583077 w 4519987"/>
              <a:gd name="connsiteY116" fmla="*/ 142875 h 4496940"/>
              <a:gd name="connsiteX117" fmla="*/ 1716427 w 4519987"/>
              <a:gd name="connsiteY117" fmla="*/ 123825 h 4496940"/>
              <a:gd name="connsiteX118" fmla="*/ 1811677 w 4519987"/>
              <a:gd name="connsiteY118" fmla="*/ 114300 h 4496940"/>
              <a:gd name="connsiteX119" fmla="*/ 1859302 w 4519987"/>
              <a:gd name="connsiteY119" fmla="*/ 104775 h 4496940"/>
              <a:gd name="connsiteX120" fmla="*/ 1916452 w 4519987"/>
              <a:gd name="connsiteY120" fmla="*/ 95250 h 4496940"/>
              <a:gd name="connsiteX121" fmla="*/ 2030752 w 4519987"/>
              <a:gd name="connsiteY121" fmla="*/ 66675 h 4496940"/>
              <a:gd name="connsiteX122" fmla="*/ 2097427 w 4519987"/>
              <a:gd name="connsiteY122" fmla="*/ 47625 h 4496940"/>
              <a:gd name="connsiteX123" fmla="*/ 2164102 w 4519987"/>
              <a:gd name="connsiteY123" fmla="*/ 38100 h 4496940"/>
              <a:gd name="connsiteX124" fmla="*/ 2392702 w 4519987"/>
              <a:gd name="connsiteY12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83302 w 4519987"/>
              <a:gd name="connsiteY37" fmla="*/ 4210050 h 4496940"/>
              <a:gd name="connsiteX38" fmla="*/ 3335677 w 4519987"/>
              <a:gd name="connsiteY38" fmla="*/ 4238625 h 4496940"/>
              <a:gd name="connsiteX39" fmla="*/ 3288052 w 4519987"/>
              <a:gd name="connsiteY39" fmla="*/ 4248150 h 4496940"/>
              <a:gd name="connsiteX40" fmla="*/ 3240427 w 4519987"/>
              <a:gd name="connsiteY40" fmla="*/ 4267200 h 4496940"/>
              <a:gd name="connsiteX41" fmla="*/ 3068977 w 4519987"/>
              <a:gd name="connsiteY41" fmla="*/ 4286250 h 4496940"/>
              <a:gd name="connsiteX42" fmla="*/ 2935627 w 4519987"/>
              <a:gd name="connsiteY42" fmla="*/ 4333875 h 4496940"/>
              <a:gd name="connsiteX43" fmla="*/ 2811802 w 4519987"/>
              <a:gd name="connsiteY43" fmla="*/ 4371975 h 4496940"/>
              <a:gd name="connsiteX44" fmla="*/ 2745127 w 4519987"/>
              <a:gd name="connsiteY44" fmla="*/ 4410075 h 4496940"/>
              <a:gd name="connsiteX45" fmla="*/ 2697502 w 4519987"/>
              <a:gd name="connsiteY45" fmla="*/ 4429125 h 4496940"/>
              <a:gd name="connsiteX46" fmla="*/ 2640352 w 4519987"/>
              <a:gd name="connsiteY46" fmla="*/ 4457700 h 4496940"/>
              <a:gd name="connsiteX47" fmla="*/ 2583202 w 4519987"/>
              <a:gd name="connsiteY47" fmla="*/ 4467225 h 4496940"/>
              <a:gd name="connsiteX48" fmla="*/ 2545102 w 4519987"/>
              <a:gd name="connsiteY48" fmla="*/ 4486275 h 4496940"/>
              <a:gd name="connsiteX49" fmla="*/ 2306977 w 4519987"/>
              <a:gd name="connsiteY49" fmla="*/ 4476750 h 4496940"/>
              <a:gd name="connsiteX50" fmla="*/ 2202202 w 4519987"/>
              <a:gd name="connsiteY50" fmla="*/ 4457700 h 4496940"/>
              <a:gd name="connsiteX51" fmla="*/ 2126002 w 4519987"/>
              <a:gd name="connsiteY51" fmla="*/ 4429125 h 4496940"/>
              <a:gd name="connsiteX52" fmla="*/ 1935502 w 4519987"/>
              <a:gd name="connsiteY52" fmla="*/ 4400550 h 4496940"/>
              <a:gd name="connsiteX53" fmla="*/ 1821202 w 4519987"/>
              <a:gd name="connsiteY53" fmla="*/ 4371975 h 4496940"/>
              <a:gd name="connsiteX54" fmla="*/ 1754527 w 4519987"/>
              <a:gd name="connsiteY54" fmla="*/ 4352925 h 4496940"/>
              <a:gd name="connsiteX55" fmla="*/ 1687852 w 4519987"/>
              <a:gd name="connsiteY55" fmla="*/ 4343400 h 4496940"/>
              <a:gd name="connsiteX56" fmla="*/ 1573552 w 4519987"/>
              <a:gd name="connsiteY56" fmla="*/ 4305300 h 4496940"/>
              <a:gd name="connsiteX57" fmla="*/ 1402102 w 4519987"/>
              <a:gd name="connsiteY57" fmla="*/ 4276725 h 4496940"/>
              <a:gd name="connsiteX58" fmla="*/ 1287802 w 4519987"/>
              <a:gd name="connsiteY58" fmla="*/ 4229100 h 4496940"/>
              <a:gd name="connsiteX59" fmla="*/ 1221127 w 4519987"/>
              <a:gd name="connsiteY59" fmla="*/ 4200525 h 4496940"/>
              <a:gd name="connsiteX60" fmla="*/ 1144927 w 4519987"/>
              <a:gd name="connsiteY60" fmla="*/ 4171950 h 4496940"/>
              <a:gd name="connsiteX61" fmla="*/ 1087777 w 4519987"/>
              <a:gd name="connsiteY61" fmla="*/ 4143375 h 4496940"/>
              <a:gd name="connsiteX62" fmla="*/ 1030627 w 4519987"/>
              <a:gd name="connsiteY62" fmla="*/ 4124325 h 4496940"/>
              <a:gd name="connsiteX63" fmla="*/ 925852 w 4519987"/>
              <a:gd name="connsiteY63" fmla="*/ 4067175 h 4496940"/>
              <a:gd name="connsiteX64" fmla="*/ 830602 w 4519987"/>
              <a:gd name="connsiteY64" fmla="*/ 3981450 h 4496940"/>
              <a:gd name="connsiteX65" fmla="*/ 763927 w 4519987"/>
              <a:gd name="connsiteY65" fmla="*/ 3914775 h 4496940"/>
              <a:gd name="connsiteX66" fmla="*/ 725827 w 4519987"/>
              <a:gd name="connsiteY66" fmla="*/ 3876675 h 4496940"/>
              <a:gd name="connsiteX67" fmla="*/ 697252 w 4519987"/>
              <a:gd name="connsiteY67" fmla="*/ 3838575 h 4496940"/>
              <a:gd name="connsiteX68" fmla="*/ 640102 w 4519987"/>
              <a:gd name="connsiteY68" fmla="*/ 3781425 h 4496940"/>
              <a:gd name="connsiteX69" fmla="*/ 611527 w 4519987"/>
              <a:gd name="connsiteY69" fmla="*/ 3733800 h 4496940"/>
              <a:gd name="connsiteX70" fmla="*/ 554377 w 4519987"/>
              <a:gd name="connsiteY70" fmla="*/ 3657600 h 4496940"/>
              <a:gd name="connsiteX71" fmla="*/ 525802 w 4519987"/>
              <a:gd name="connsiteY71" fmla="*/ 3609975 h 4496940"/>
              <a:gd name="connsiteX72" fmla="*/ 497227 w 4519987"/>
              <a:gd name="connsiteY72" fmla="*/ 3552825 h 4496940"/>
              <a:gd name="connsiteX73" fmla="*/ 440077 w 4519987"/>
              <a:gd name="connsiteY73" fmla="*/ 3495675 h 4496940"/>
              <a:gd name="connsiteX74" fmla="*/ 411502 w 4519987"/>
              <a:gd name="connsiteY74" fmla="*/ 3448050 h 4496940"/>
              <a:gd name="connsiteX75" fmla="*/ 278152 w 4519987"/>
              <a:gd name="connsiteY75" fmla="*/ 3257550 h 4496940"/>
              <a:gd name="connsiteX76" fmla="*/ 249577 w 4519987"/>
              <a:gd name="connsiteY76" fmla="*/ 3200400 h 4496940"/>
              <a:gd name="connsiteX77" fmla="*/ 240052 w 4519987"/>
              <a:gd name="connsiteY77" fmla="*/ 3162300 h 4496940"/>
              <a:gd name="connsiteX78" fmla="*/ 221002 w 4519987"/>
              <a:gd name="connsiteY78" fmla="*/ 3105150 h 4496940"/>
              <a:gd name="connsiteX79" fmla="*/ 173377 w 4519987"/>
              <a:gd name="connsiteY79" fmla="*/ 3019425 h 4496940"/>
              <a:gd name="connsiteX80" fmla="*/ 144802 w 4519987"/>
              <a:gd name="connsiteY80" fmla="*/ 2924175 h 4496940"/>
              <a:gd name="connsiteX81" fmla="*/ 68602 w 4519987"/>
              <a:gd name="connsiteY81" fmla="*/ 2724150 h 4496940"/>
              <a:gd name="connsiteX82" fmla="*/ 49552 w 4519987"/>
              <a:gd name="connsiteY82" fmla="*/ 2638425 h 4496940"/>
              <a:gd name="connsiteX83" fmla="*/ 40027 w 4519987"/>
              <a:gd name="connsiteY83" fmla="*/ 2562225 h 4496940"/>
              <a:gd name="connsiteX84" fmla="*/ 30502 w 4519987"/>
              <a:gd name="connsiteY84" fmla="*/ 2514600 h 4496940"/>
              <a:gd name="connsiteX85" fmla="*/ 11452 w 4519987"/>
              <a:gd name="connsiteY85" fmla="*/ 2400300 h 4496940"/>
              <a:gd name="connsiteX86" fmla="*/ 20977 w 4519987"/>
              <a:gd name="connsiteY86" fmla="*/ 1905000 h 4496940"/>
              <a:gd name="connsiteX87" fmla="*/ 30502 w 4519987"/>
              <a:gd name="connsiteY87" fmla="*/ 1838325 h 4496940"/>
              <a:gd name="connsiteX88" fmla="*/ 49552 w 4519987"/>
              <a:gd name="connsiteY88" fmla="*/ 1781175 h 4496940"/>
              <a:gd name="connsiteX89" fmla="*/ 59077 w 4519987"/>
              <a:gd name="connsiteY89" fmla="*/ 1743075 h 4496940"/>
              <a:gd name="connsiteX90" fmla="*/ 78127 w 4519987"/>
              <a:gd name="connsiteY90" fmla="*/ 1685925 h 4496940"/>
              <a:gd name="connsiteX91" fmla="*/ 87652 w 4519987"/>
              <a:gd name="connsiteY91" fmla="*/ 1638300 h 4496940"/>
              <a:gd name="connsiteX92" fmla="*/ 106702 w 4519987"/>
              <a:gd name="connsiteY92" fmla="*/ 1590675 h 4496940"/>
              <a:gd name="connsiteX93" fmla="*/ 135277 w 4519987"/>
              <a:gd name="connsiteY93" fmla="*/ 1504950 h 4496940"/>
              <a:gd name="connsiteX94" fmla="*/ 154327 w 4519987"/>
              <a:gd name="connsiteY94" fmla="*/ 1419225 h 4496940"/>
              <a:gd name="connsiteX95" fmla="*/ 230527 w 4519987"/>
              <a:gd name="connsiteY95" fmla="*/ 1276350 h 4496940"/>
              <a:gd name="connsiteX96" fmla="*/ 240052 w 4519987"/>
              <a:gd name="connsiteY96" fmla="*/ 1247775 h 4496940"/>
              <a:gd name="connsiteX97" fmla="*/ 268627 w 4519987"/>
              <a:gd name="connsiteY97" fmla="*/ 1200150 h 4496940"/>
              <a:gd name="connsiteX98" fmla="*/ 287677 w 4519987"/>
              <a:gd name="connsiteY98" fmla="*/ 1152525 h 4496940"/>
              <a:gd name="connsiteX99" fmla="*/ 316252 w 4519987"/>
              <a:gd name="connsiteY99" fmla="*/ 1114425 h 4496940"/>
              <a:gd name="connsiteX100" fmla="*/ 363877 w 4519987"/>
              <a:gd name="connsiteY100" fmla="*/ 1038225 h 4496940"/>
              <a:gd name="connsiteX101" fmla="*/ 382927 w 4519987"/>
              <a:gd name="connsiteY101" fmla="*/ 1009650 h 4496940"/>
              <a:gd name="connsiteX102" fmla="*/ 440077 w 4519987"/>
              <a:gd name="connsiteY102" fmla="*/ 904875 h 4496940"/>
              <a:gd name="connsiteX103" fmla="*/ 478177 w 4519987"/>
              <a:gd name="connsiteY103" fmla="*/ 857250 h 4496940"/>
              <a:gd name="connsiteX104" fmla="*/ 497227 w 4519987"/>
              <a:gd name="connsiteY104" fmla="*/ 828675 h 4496940"/>
              <a:gd name="connsiteX105" fmla="*/ 535327 w 4519987"/>
              <a:gd name="connsiteY105" fmla="*/ 800100 h 4496940"/>
              <a:gd name="connsiteX106" fmla="*/ 602002 w 4519987"/>
              <a:gd name="connsiteY106" fmla="*/ 733425 h 4496940"/>
              <a:gd name="connsiteX107" fmla="*/ 668677 w 4519987"/>
              <a:gd name="connsiteY107" fmla="*/ 676275 h 4496940"/>
              <a:gd name="connsiteX108" fmla="*/ 697252 w 4519987"/>
              <a:gd name="connsiteY108" fmla="*/ 657225 h 4496940"/>
              <a:gd name="connsiteX109" fmla="*/ 840127 w 4519987"/>
              <a:gd name="connsiteY109" fmla="*/ 533400 h 4496940"/>
              <a:gd name="connsiteX110" fmla="*/ 887752 w 4519987"/>
              <a:gd name="connsiteY110" fmla="*/ 504825 h 4496940"/>
              <a:gd name="connsiteX111" fmla="*/ 1167152 w 4519987"/>
              <a:gd name="connsiteY111" fmla="*/ 311150 h 4496940"/>
              <a:gd name="connsiteX112" fmla="*/ 1268752 w 4519987"/>
              <a:gd name="connsiteY112" fmla="*/ 285750 h 4496940"/>
              <a:gd name="connsiteX113" fmla="*/ 1411627 w 4519987"/>
              <a:gd name="connsiteY113" fmla="*/ 190500 h 4496940"/>
              <a:gd name="connsiteX114" fmla="*/ 1449727 w 4519987"/>
              <a:gd name="connsiteY114" fmla="*/ 161925 h 4496940"/>
              <a:gd name="connsiteX115" fmla="*/ 1525927 w 4519987"/>
              <a:gd name="connsiteY115" fmla="*/ 152400 h 4496940"/>
              <a:gd name="connsiteX116" fmla="*/ 1583077 w 4519987"/>
              <a:gd name="connsiteY116" fmla="*/ 142875 h 4496940"/>
              <a:gd name="connsiteX117" fmla="*/ 1716427 w 4519987"/>
              <a:gd name="connsiteY117" fmla="*/ 123825 h 4496940"/>
              <a:gd name="connsiteX118" fmla="*/ 1811677 w 4519987"/>
              <a:gd name="connsiteY118" fmla="*/ 114300 h 4496940"/>
              <a:gd name="connsiteX119" fmla="*/ 1859302 w 4519987"/>
              <a:gd name="connsiteY119" fmla="*/ 104775 h 4496940"/>
              <a:gd name="connsiteX120" fmla="*/ 1916452 w 4519987"/>
              <a:gd name="connsiteY120" fmla="*/ 95250 h 4496940"/>
              <a:gd name="connsiteX121" fmla="*/ 2030752 w 4519987"/>
              <a:gd name="connsiteY121" fmla="*/ 66675 h 4496940"/>
              <a:gd name="connsiteX122" fmla="*/ 2097427 w 4519987"/>
              <a:gd name="connsiteY122" fmla="*/ 47625 h 4496940"/>
              <a:gd name="connsiteX123" fmla="*/ 2164102 w 4519987"/>
              <a:gd name="connsiteY123" fmla="*/ 38100 h 4496940"/>
              <a:gd name="connsiteX124" fmla="*/ 2392702 w 4519987"/>
              <a:gd name="connsiteY12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35677 w 4519987"/>
              <a:gd name="connsiteY37" fmla="*/ 4238625 h 4496940"/>
              <a:gd name="connsiteX38" fmla="*/ 3288052 w 4519987"/>
              <a:gd name="connsiteY38" fmla="*/ 4248150 h 4496940"/>
              <a:gd name="connsiteX39" fmla="*/ 3240427 w 4519987"/>
              <a:gd name="connsiteY39" fmla="*/ 4267200 h 4496940"/>
              <a:gd name="connsiteX40" fmla="*/ 3068977 w 4519987"/>
              <a:gd name="connsiteY40" fmla="*/ 4286250 h 4496940"/>
              <a:gd name="connsiteX41" fmla="*/ 2935627 w 4519987"/>
              <a:gd name="connsiteY41" fmla="*/ 4333875 h 4496940"/>
              <a:gd name="connsiteX42" fmla="*/ 2811802 w 4519987"/>
              <a:gd name="connsiteY42" fmla="*/ 4371975 h 4496940"/>
              <a:gd name="connsiteX43" fmla="*/ 2745127 w 4519987"/>
              <a:gd name="connsiteY43" fmla="*/ 4410075 h 4496940"/>
              <a:gd name="connsiteX44" fmla="*/ 2697502 w 4519987"/>
              <a:gd name="connsiteY44" fmla="*/ 4429125 h 4496940"/>
              <a:gd name="connsiteX45" fmla="*/ 2640352 w 4519987"/>
              <a:gd name="connsiteY45" fmla="*/ 4457700 h 4496940"/>
              <a:gd name="connsiteX46" fmla="*/ 2583202 w 4519987"/>
              <a:gd name="connsiteY46" fmla="*/ 4467225 h 4496940"/>
              <a:gd name="connsiteX47" fmla="*/ 2545102 w 4519987"/>
              <a:gd name="connsiteY47" fmla="*/ 4486275 h 4496940"/>
              <a:gd name="connsiteX48" fmla="*/ 2306977 w 4519987"/>
              <a:gd name="connsiteY48" fmla="*/ 4476750 h 4496940"/>
              <a:gd name="connsiteX49" fmla="*/ 2202202 w 4519987"/>
              <a:gd name="connsiteY49" fmla="*/ 4457700 h 4496940"/>
              <a:gd name="connsiteX50" fmla="*/ 2126002 w 4519987"/>
              <a:gd name="connsiteY50" fmla="*/ 4429125 h 4496940"/>
              <a:gd name="connsiteX51" fmla="*/ 1935502 w 4519987"/>
              <a:gd name="connsiteY51" fmla="*/ 4400550 h 4496940"/>
              <a:gd name="connsiteX52" fmla="*/ 1821202 w 4519987"/>
              <a:gd name="connsiteY52" fmla="*/ 4371975 h 4496940"/>
              <a:gd name="connsiteX53" fmla="*/ 1754527 w 4519987"/>
              <a:gd name="connsiteY53" fmla="*/ 4352925 h 4496940"/>
              <a:gd name="connsiteX54" fmla="*/ 1687852 w 4519987"/>
              <a:gd name="connsiteY54" fmla="*/ 4343400 h 4496940"/>
              <a:gd name="connsiteX55" fmla="*/ 1573552 w 4519987"/>
              <a:gd name="connsiteY55" fmla="*/ 4305300 h 4496940"/>
              <a:gd name="connsiteX56" fmla="*/ 1402102 w 4519987"/>
              <a:gd name="connsiteY56" fmla="*/ 4276725 h 4496940"/>
              <a:gd name="connsiteX57" fmla="*/ 1287802 w 4519987"/>
              <a:gd name="connsiteY57" fmla="*/ 4229100 h 4496940"/>
              <a:gd name="connsiteX58" fmla="*/ 1221127 w 4519987"/>
              <a:gd name="connsiteY58" fmla="*/ 4200525 h 4496940"/>
              <a:gd name="connsiteX59" fmla="*/ 1144927 w 4519987"/>
              <a:gd name="connsiteY59" fmla="*/ 4171950 h 4496940"/>
              <a:gd name="connsiteX60" fmla="*/ 1087777 w 4519987"/>
              <a:gd name="connsiteY60" fmla="*/ 4143375 h 4496940"/>
              <a:gd name="connsiteX61" fmla="*/ 1030627 w 4519987"/>
              <a:gd name="connsiteY61" fmla="*/ 4124325 h 4496940"/>
              <a:gd name="connsiteX62" fmla="*/ 925852 w 4519987"/>
              <a:gd name="connsiteY62" fmla="*/ 4067175 h 4496940"/>
              <a:gd name="connsiteX63" fmla="*/ 830602 w 4519987"/>
              <a:gd name="connsiteY63" fmla="*/ 3981450 h 4496940"/>
              <a:gd name="connsiteX64" fmla="*/ 763927 w 4519987"/>
              <a:gd name="connsiteY64" fmla="*/ 3914775 h 4496940"/>
              <a:gd name="connsiteX65" fmla="*/ 725827 w 4519987"/>
              <a:gd name="connsiteY65" fmla="*/ 3876675 h 4496940"/>
              <a:gd name="connsiteX66" fmla="*/ 697252 w 4519987"/>
              <a:gd name="connsiteY66" fmla="*/ 3838575 h 4496940"/>
              <a:gd name="connsiteX67" fmla="*/ 640102 w 4519987"/>
              <a:gd name="connsiteY67" fmla="*/ 3781425 h 4496940"/>
              <a:gd name="connsiteX68" fmla="*/ 611527 w 4519987"/>
              <a:gd name="connsiteY68" fmla="*/ 3733800 h 4496940"/>
              <a:gd name="connsiteX69" fmla="*/ 554377 w 4519987"/>
              <a:gd name="connsiteY69" fmla="*/ 3657600 h 4496940"/>
              <a:gd name="connsiteX70" fmla="*/ 525802 w 4519987"/>
              <a:gd name="connsiteY70" fmla="*/ 3609975 h 4496940"/>
              <a:gd name="connsiteX71" fmla="*/ 497227 w 4519987"/>
              <a:gd name="connsiteY71" fmla="*/ 3552825 h 4496940"/>
              <a:gd name="connsiteX72" fmla="*/ 440077 w 4519987"/>
              <a:gd name="connsiteY72" fmla="*/ 3495675 h 4496940"/>
              <a:gd name="connsiteX73" fmla="*/ 411502 w 4519987"/>
              <a:gd name="connsiteY73" fmla="*/ 3448050 h 4496940"/>
              <a:gd name="connsiteX74" fmla="*/ 278152 w 4519987"/>
              <a:gd name="connsiteY74" fmla="*/ 3257550 h 4496940"/>
              <a:gd name="connsiteX75" fmla="*/ 249577 w 4519987"/>
              <a:gd name="connsiteY75" fmla="*/ 3200400 h 4496940"/>
              <a:gd name="connsiteX76" fmla="*/ 240052 w 4519987"/>
              <a:gd name="connsiteY76" fmla="*/ 3162300 h 4496940"/>
              <a:gd name="connsiteX77" fmla="*/ 221002 w 4519987"/>
              <a:gd name="connsiteY77" fmla="*/ 3105150 h 4496940"/>
              <a:gd name="connsiteX78" fmla="*/ 173377 w 4519987"/>
              <a:gd name="connsiteY78" fmla="*/ 3019425 h 4496940"/>
              <a:gd name="connsiteX79" fmla="*/ 144802 w 4519987"/>
              <a:gd name="connsiteY79" fmla="*/ 2924175 h 4496940"/>
              <a:gd name="connsiteX80" fmla="*/ 68602 w 4519987"/>
              <a:gd name="connsiteY80" fmla="*/ 2724150 h 4496940"/>
              <a:gd name="connsiteX81" fmla="*/ 49552 w 4519987"/>
              <a:gd name="connsiteY81" fmla="*/ 2638425 h 4496940"/>
              <a:gd name="connsiteX82" fmla="*/ 40027 w 4519987"/>
              <a:gd name="connsiteY82" fmla="*/ 2562225 h 4496940"/>
              <a:gd name="connsiteX83" fmla="*/ 30502 w 4519987"/>
              <a:gd name="connsiteY83" fmla="*/ 2514600 h 4496940"/>
              <a:gd name="connsiteX84" fmla="*/ 11452 w 4519987"/>
              <a:gd name="connsiteY84" fmla="*/ 2400300 h 4496940"/>
              <a:gd name="connsiteX85" fmla="*/ 20977 w 4519987"/>
              <a:gd name="connsiteY85" fmla="*/ 1905000 h 4496940"/>
              <a:gd name="connsiteX86" fmla="*/ 30502 w 4519987"/>
              <a:gd name="connsiteY86" fmla="*/ 1838325 h 4496940"/>
              <a:gd name="connsiteX87" fmla="*/ 49552 w 4519987"/>
              <a:gd name="connsiteY87" fmla="*/ 1781175 h 4496940"/>
              <a:gd name="connsiteX88" fmla="*/ 59077 w 4519987"/>
              <a:gd name="connsiteY88" fmla="*/ 1743075 h 4496940"/>
              <a:gd name="connsiteX89" fmla="*/ 78127 w 4519987"/>
              <a:gd name="connsiteY89" fmla="*/ 1685925 h 4496940"/>
              <a:gd name="connsiteX90" fmla="*/ 87652 w 4519987"/>
              <a:gd name="connsiteY90" fmla="*/ 1638300 h 4496940"/>
              <a:gd name="connsiteX91" fmla="*/ 106702 w 4519987"/>
              <a:gd name="connsiteY91" fmla="*/ 1590675 h 4496940"/>
              <a:gd name="connsiteX92" fmla="*/ 135277 w 4519987"/>
              <a:gd name="connsiteY92" fmla="*/ 1504950 h 4496940"/>
              <a:gd name="connsiteX93" fmla="*/ 154327 w 4519987"/>
              <a:gd name="connsiteY93" fmla="*/ 1419225 h 4496940"/>
              <a:gd name="connsiteX94" fmla="*/ 230527 w 4519987"/>
              <a:gd name="connsiteY94" fmla="*/ 1276350 h 4496940"/>
              <a:gd name="connsiteX95" fmla="*/ 240052 w 4519987"/>
              <a:gd name="connsiteY95" fmla="*/ 1247775 h 4496940"/>
              <a:gd name="connsiteX96" fmla="*/ 268627 w 4519987"/>
              <a:gd name="connsiteY96" fmla="*/ 1200150 h 4496940"/>
              <a:gd name="connsiteX97" fmla="*/ 287677 w 4519987"/>
              <a:gd name="connsiteY97" fmla="*/ 1152525 h 4496940"/>
              <a:gd name="connsiteX98" fmla="*/ 316252 w 4519987"/>
              <a:gd name="connsiteY98" fmla="*/ 1114425 h 4496940"/>
              <a:gd name="connsiteX99" fmla="*/ 363877 w 4519987"/>
              <a:gd name="connsiteY99" fmla="*/ 1038225 h 4496940"/>
              <a:gd name="connsiteX100" fmla="*/ 382927 w 4519987"/>
              <a:gd name="connsiteY100" fmla="*/ 1009650 h 4496940"/>
              <a:gd name="connsiteX101" fmla="*/ 440077 w 4519987"/>
              <a:gd name="connsiteY101" fmla="*/ 904875 h 4496940"/>
              <a:gd name="connsiteX102" fmla="*/ 478177 w 4519987"/>
              <a:gd name="connsiteY102" fmla="*/ 857250 h 4496940"/>
              <a:gd name="connsiteX103" fmla="*/ 497227 w 4519987"/>
              <a:gd name="connsiteY103" fmla="*/ 828675 h 4496940"/>
              <a:gd name="connsiteX104" fmla="*/ 535327 w 4519987"/>
              <a:gd name="connsiteY104" fmla="*/ 800100 h 4496940"/>
              <a:gd name="connsiteX105" fmla="*/ 602002 w 4519987"/>
              <a:gd name="connsiteY105" fmla="*/ 733425 h 4496940"/>
              <a:gd name="connsiteX106" fmla="*/ 668677 w 4519987"/>
              <a:gd name="connsiteY106" fmla="*/ 676275 h 4496940"/>
              <a:gd name="connsiteX107" fmla="*/ 697252 w 4519987"/>
              <a:gd name="connsiteY107" fmla="*/ 657225 h 4496940"/>
              <a:gd name="connsiteX108" fmla="*/ 840127 w 4519987"/>
              <a:gd name="connsiteY108" fmla="*/ 533400 h 4496940"/>
              <a:gd name="connsiteX109" fmla="*/ 887752 w 4519987"/>
              <a:gd name="connsiteY109" fmla="*/ 504825 h 4496940"/>
              <a:gd name="connsiteX110" fmla="*/ 1167152 w 4519987"/>
              <a:gd name="connsiteY110" fmla="*/ 311150 h 4496940"/>
              <a:gd name="connsiteX111" fmla="*/ 1268752 w 4519987"/>
              <a:gd name="connsiteY111" fmla="*/ 285750 h 4496940"/>
              <a:gd name="connsiteX112" fmla="*/ 1411627 w 4519987"/>
              <a:gd name="connsiteY112" fmla="*/ 190500 h 4496940"/>
              <a:gd name="connsiteX113" fmla="*/ 1449727 w 4519987"/>
              <a:gd name="connsiteY113" fmla="*/ 161925 h 4496940"/>
              <a:gd name="connsiteX114" fmla="*/ 1525927 w 4519987"/>
              <a:gd name="connsiteY114" fmla="*/ 152400 h 4496940"/>
              <a:gd name="connsiteX115" fmla="*/ 1583077 w 4519987"/>
              <a:gd name="connsiteY115" fmla="*/ 142875 h 4496940"/>
              <a:gd name="connsiteX116" fmla="*/ 1716427 w 4519987"/>
              <a:gd name="connsiteY116" fmla="*/ 123825 h 4496940"/>
              <a:gd name="connsiteX117" fmla="*/ 1811677 w 4519987"/>
              <a:gd name="connsiteY117" fmla="*/ 114300 h 4496940"/>
              <a:gd name="connsiteX118" fmla="*/ 1859302 w 4519987"/>
              <a:gd name="connsiteY118" fmla="*/ 104775 h 4496940"/>
              <a:gd name="connsiteX119" fmla="*/ 1916452 w 4519987"/>
              <a:gd name="connsiteY119" fmla="*/ 95250 h 4496940"/>
              <a:gd name="connsiteX120" fmla="*/ 2030752 w 4519987"/>
              <a:gd name="connsiteY120" fmla="*/ 66675 h 4496940"/>
              <a:gd name="connsiteX121" fmla="*/ 2097427 w 4519987"/>
              <a:gd name="connsiteY121" fmla="*/ 47625 h 4496940"/>
              <a:gd name="connsiteX122" fmla="*/ 2164102 w 4519987"/>
              <a:gd name="connsiteY122" fmla="*/ 38100 h 4496940"/>
              <a:gd name="connsiteX123" fmla="*/ 2392702 w 4519987"/>
              <a:gd name="connsiteY12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35677 w 4519987"/>
              <a:gd name="connsiteY37" fmla="*/ 4238625 h 4496940"/>
              <a:gd name="connsiteX38" fmla="*/ 3240427 w 4519987"/>
              <a:gd name="connsiteY38" fmla="*/ 4267200 h 4496940"/>
              <a:gd name="connsiteX39" fmla="*/ 3068977 w 4519987"/>
              <a:gd name="connsiteY39" fmla="*/ 4286250 h 4496940"/>
              <a:gd name="connsiteX40" fmla="*/ 2935627 w 4519987"/>
              <a:gd name="connsiteY40" fmla="*/ 4333875 h 4496940"/>
              <a:gd name="connsiteX41" fmla="*/ 2811802 w 4519987"/>
              <a:gd name="connsiteY41" fmla="*/ 4371975 h 4496940"/>
              <a:gd name="connsiteX42" fmla="*/ 2745127 w 4519987"/>
              <a:gd name="connsiteY42" fmla="*/ 4410075 h 4496940"/>
              <a:gd name="connsiteX43" fmla="*/ 2697502 w 4519987"/>
              <a:gd name="connsiteY43" fmla="*/ 4429125 h 4496940"/>
              <a:gd name="connsiteX44" fmla="*/ 2640352 w 4519987"/>
              <a:gd name="connsiteY44" fmla="*/ 4457700 h 4496940"/>
              <a:gd name="connsiteX45" fmla="*/ 2583202 w 4519987"/>
              <a:gd name="connsiteY45" fmla="*/ 4467225 h 4496940"/>
              <a:gd name="connsiteX46" fmla="*/ 2545102 w 4519987"/>
              <a:gd name="connsiteY46" fmla="*/ 4486275 h 4496940"/>
              <a:gd name="connsiteX47" fmla="*/ 2306977 w 4519987"/>
              <a:gd name="connsiteY47" fmla="*/ 4476750 h 4496940"/>
              <a:gd name="connsiteX48" fmla="*/ 2202202 w 4519987"/>
              <a:gd name="connsiteY48" fmla="*/ 4457700 h 4496940"/>
              <a:gd name="connsiteX49" fmla="*/ 2126002 w 4519987"/>
              <a:gd name="connsiteY49" fmla="*/ 4429125 h 4496940"/>
              <a:gd name="connsiteX50" fmla="*/ 1935502 w 4519987"/>
              <a:gd name="connsiteY50" fmla="*/ 4400550 h 4496940"/>
              <a:gd name="connsiteX51" fmla="*/ 1821202 w 4519987"/>
              <a:gd name="connsiteY51" fmla="*/ 4371975 h 4496940"/>
              <a:gd name="connsiteX52" fmla="*/ 1754527 w 4519987"/>
              <a:gd name="connsiteY52" fmla="*/ 4352925 h 4496940"/>
              <a:gd name="connsiteX53" fmla="*/ 1687852 w 4519987"/>
              <a:gd name="connsiteY53" fmla="*/ 4343400 h 4496940"/>
              <a:gd name="connsiteX54" fmla="*/ 1573552 w 4519987"/>
              <a:gd name="connsiteY54" fmla="*/ 4305300 h 4496940"/>
              <a:gd name="connsiteX55" fmla="*/ 1402102 w 4519987"/>
              <a:gd name="connsiteY55" fmla="*/ 4276725 h 4496940"/>
              <a:gd name="connsiteX56" fmla="*/ 1287802 w 4519987"/>
              <a:gd name="connsiteY56" fmla="*/ 4229100 h 4496940"/>
              <a:gd name="connsiteX57" fmla="*/ 1221127 w 4519987"/>
              <a:gd name="connsiteY57" fmla="*/ 4200525 h 4496940"/>
              <a:gd name="connsiteX58" fmla="*/ 1144927 w 4519987"/>
              <a:gd name="connsiteY58" fmla="*/ 4171950 h 4496940"/>
              <a:gd name="connsiteX59" fmla="*/ 1087777 w 4519987"/>
              <a:gd name="connsiteY59" fmla="*/ 4143375 h 4496940"/>
              <a:gd name="connsiteX60" fmla="*/ 1030627 w 4519987"/>
              <a:gd name="connsiteY60" fmla="*/ 4124325 h 4496940"/>
              <a:gd name="connsiteX61" fmla="*/ 925852 w 4519987"/>
              <a:gd name="connsiteY61" fmla="*/ 4067175 h 4496940"/>
              <a:gd name="connsiteX62" fmla="*/ 830602 w 4519987"/>
              <a:gd name="connsiteY62" fmla="*/ 3981450 h 4496940"/>
              <a:gd name="connsiteX63" fmla="*/ 763927 w 4519987"/>
              <a:gd name="connsiteY63" fmla="*/ 3914775 h 4496940"/>
              <a:gd name="connsiteX64" fmla="*/ 725827 w 4519987"/>
              <a:gd name="connsiteY64" fmla="*/ 3876675 h 4496940"/>
              <a:gd name="connsiteX65" fmla="*/ 697252 w 4519987"/>
              <a:gd name="connsiteY65" fmla="*/ 3838575 h 4496940"/>
              <a:gd name="connsiteX66" fmla="*/ 640102 w 4519987"/>
              <a:gd name="connsiteY66" fmla="*/ 3781425 h 4496940"/>
              <a:gd name="connsiteX67" fmla="*/ 611527 w 4519987"/>
              <a:gd name="connsiteY67" fmla="*/ 3733800 h 4496940"/>
              <a:gd name="connsiteX68" fmla="*/ 554377 w 4519987"/>
              <a:gd name="connsiteY68" fmla="*/ 3657600 h 4496940"/>
              <a:gd name="connsiteX69" fmla="*/ 525802 w 4519987"/>
              <a:gd name="connsiteY69" fmla="*/ 3609975 h 4496940"/>
              <a:gd name="connsiteX70" fmla="*/ 497227 w 4519987"/>
              <a:gd name="connsiteY70" fmla="*/ 3552825 h 4496940"/>
              <a:gd name="connsiteX71" fmla="*/ 440077 w 4519987"/>
              <a:gd name="connsiteY71" fmla="*/ 3495675 h 4496940"/>
              <a:gd name="connsiteX72" fmla="*/ 411502 w 4519987"/>
              <a:gd name="connsiteY72" fmla="*/ 3448050 h 4496940"/>
              <a:gd name="connsiteX73" fmla="*/ 278152 w 4519987"/>
              <a:gd name="connsiteY73" fmla="*/ 3257550 h 4496940"/>
              <a:gd name="connsiteX74" fmla="*/ 249577 w 4519987"/>
              <a:gd name="connsiteY74" fmla="*/ 3200400 h 4496940"/>
              <a:gd name="connsiteX75" fmla="*/ 240052 w 4519987"/>
              <a:gd name="connsiteY75" fmla="*/ 3162300 h 4496940"/>
              <a:gd name="connsiteX76" fmla="*/ 221002 w 4519987"/>
              <a:gd name="connsiteY76" fmla="*/ 3105150 h 4496940"/>
              <a:gd name="connsiteX77" fmla="*/ 173377 w 4519987"/>
              <a:gd name="connsiteY77" fmla="*/ 3019425 h 4496940"/>
              <a:gd name="connsiteX78" fmla="*/ 144802 w 4519987"/>
              <a:gd name="connsiteY78" fmla="*/ 2924175 h 4496940"/>
              <a:gd name="connsiteX79" fmla="*/ 68602 w 4519987"/>
              <a:gd name="connsiteY79" fmla="*/ 2724150 h 4496940"/>
              <a:gd name="connsiteX80" fmla="*/ 49552 w 4519987"/>
              <a:gd name="connsiteY80" fmla="*/ 2638425 h 4496940"/>
              <a:gd name="connsiteX81" fmla="*/ 40027 w 4519987"/>
              <a:gd name="connsiteY81" fmla="*/ 2562225 h 4496940"/>
              <a:gd name="connsiteX82" fmla="*/ 30502 w 4519987"/>
              <a:gd name="connsiteY82" fmla="*/ 2514600 h 4496940"/>
              <a:gd name="connsiteX83" fmla="*/ 11452 w 4519987"/>
              <a:gd name="connsiteY83" fmla="*/ 2400300 h 4496940"/>
              <a:gd name="connsiteX84" fmla="*/ 20977 w 4519987"/>
              <a:gd name="connsiteY84" fmla="*/ 1905000 h 4496940"/>
              <a:gd name="connsiteX85" fmla="*/ 30502 w 4519987"/>
              <a:gd name="connsiteY85" fmla="*/ 1838325 h 4496940"/>
              <a:gd name="connsiteX86" fmla="*/ 49552 w 4519987"/>
              <a:gd name="connsiteY86" fmla="*/ 1781175 h 4496940"/>
              <a:gd name="connsiteX87" fmla="*/ 59077 w 4519987"/>
              <a:gd name="connsiteY87" fmla="*/ 1743075 h 4496940"/>
              <a:gd name="connsiteX88" fmla="*/ 78127 w 4519987"/>
              <a:gd name="connsiteY88" fmla="*/ 1685925 h 4496940"/>
              <a:gd name="connsiteX89" fmla="*/ 87652 w 4519987"/>
              <a:gd name="connsiteY89" fmla="*/ 1638300 h 4496940"/>
              <a:gd name="connsiteX90" fmla="*/ 106702 w 4519987"/>
              <a:gd name="connsiteY90" fmla="*/ 1590675 h 4496940"/>
              <a:gd name="connsiteX91" fmla="*/ 135277 w 4519987"/>
              <a:gd name="connsiteY91" fmla="*/ 1504950 h 4496940"/>
              <a:gd name="connsiteX92" fmla="*/ 154327 w 4519987"/>
              <a:gd name="connsiteY92" fmla="*/ 1419225 h 4496940"/>
              <a:gd name="connsiteX93" fmla="*/ 230527 w 4519987"/>
              <a:gd name="connsiteY93" fmla="*/ 1276350 h 4496940"/>
              <a:gd name="connsiteX94" fmla="*/ 240052 w 4519987"/>
              <a:gd name="connsiteY94" fmla="*/ 1247775 h 4496940"/>
              <a:gd name="connsiteX95" fmla="*/ 268627 w 4519987"/>
              <a:gd name="connsiteY95" fmla="*/ 1200150 h 4496940"/>
              <a:gd name="connsiteX96" fmla="*/ 287677 w 4519987"/>
              <a:gd name="connsiteY96" fmla="*/ 1152525 h 4496940"/>
              <a:gd name="connsiteX97" fmla="*/ 316252 w 4519987"/>
              <a:gd name="connsiteY97" fmla="*/ 1114425 h 4496940"/>
              <a:gd name="connsiteX98" fmla="*/ 363877 w 4519987"/>
              <a:gd name="connsiteY98" fmla="*/ 1038225 h 4496940"/>
              <a:gd name="connsiteX99" fmla="*/ 382927 w 4519987"/>
              <a:gd name="connsiteY99" fmla="*/ 1009650 h 4496940"/>
              <a:gd name="connsiteX100" fmla="*/ 440077 w 4519987"/>
              <a:gd name="connsiteY100" fmla="*/ 904875 h 4496940"/>
              <a:gd name="connsiteX101" fmla="*/ 478177 w 4519987"/>
              <a:gd name="connsiteY101" fmla="*/ 857250 h 4496940"/>
              <a:gd name="connsiteX102" fmla="*/ 497227 w 4519987"/>
              <a:gd name="connsiteY102" fmla="*/ 828675 h 4496940"/>
              <a:gd name="connsiteX103" fmla="*/ 535327 w 4519987"/>
              <a:gd name="connsiteY103" fmla="*/ 800100 h 4496940"/>
              <a:gd name="connsiteX104" fmla="*/ 602002 w 4519987"/>
              <a:gd name="connsiteY104" fmla="*/ 733425 h 4496940"/>
              <a:gd name="connsiteX105" fmla="*/ 668677 w 4519987"/>
              <a:gd name="connsiteY105" fmla="*/ 676275 h 4496940"/>
              <a:gd name="connsiteX106" fmla="*/ 697252 w 4519987"/>
              <a:gd name="connsiteY106" fmla="*/ 657225 h 4496940"/>
              <a:gd name="connsiteX107" fmla="*/ 840127 w 4519987"/>
              <a:gd name="connsiteY107" fmla="*/ 533400 h 4496940"/>
              <a:gd name="connsiteX108" fmla="*/ 887752 w 4519987"/>
              <a:gd name="connsiteY108" fmla="*/ 504825 h 4496940"/>
              <a:gd name="connsiteX109" fmla="*/ 1167152 w 4519987"/>
              <a:gd name="connsiteY109" fmla="*/ 311150 h 4496940"/>
              <a:gd name="connsiteX110" fmla="*/ 1268752 w 4519987"/>
              <a:gd name="connsiteY110" fmla="*/ 285750 h 4496940"/>
              <a:gd name="connsiteX111" fmla="*/ 1411627 w 4519987"/>
              <a:gd name="connsiteY111" fmla="*/ 190500 h 4496940"/>
              <a:gd name="connsiteX112" fmla="*/ 1449727 w 4519987"/>
              <a:gd name="connsiteY112" fmla="*/ 161925 h 4496940"/>
              <a:gd name="connsiteX113" fmla="*/ 1525927 w 4519987"/>
              <a:gd name="connsiteY113" fmla="*/ 152400 h 4496940"/>
              <a:gd name="connsiteX114" fmla="*/ 1583077 w 4519987"/>
              <a:gd name="connsiteY114" fmla="*/ 142875 h 4496940"/>
              <a:gd name="connsiteX115" fmla="*/ 1716427 w 4519987"/>
              <a:gd name="connsiteY115" fmla="*/ 123825 h 4496940"/>
              <a:gd name="connsiteX116" fmla="*/ 1811677 w 4519987"/>
              <a:gd name="connsiteY116" fmla="*/ 114300 h 4496940"/>
              <a:gd name="connsiteX117" fmla="*/ 1859302 w 4519987"/>
              <a:gd name="connsiteY117" fmla="*/ 104775 h 4496940"/>
              <a:gd name="connsiteX118" fmla="*/ 1916452 w 4519987"/>
              <a:gd name="connsiteY118" fmla="*/ 95250 h 4496940"/>
              <a:gd name="connsiteX119" fmla="*/ 2030752 w 4519987"/>
              <a:gd name="connsiteY119" fmla="*/ 66675 h 4496940"/>
              <a:gd name="connsiteX120" fmla="*/ 2097427 w 4519987"/>
              <a:gd name="connsiteY120" fmla="*/ 47625 h 4496940"/>
              <a:gd name="connsiteX121" fmla="*/ 2164102 w 4519987"/>
              <a:gd name="connsiteY121" fmla="*/ 38100 h 4496940"/>
              <a:gd name="connsiteX122" fmla="*/ 2392702 w 4519987"/>
              <a:gd name="connsiteY12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40427 w 4519987"/>
              <a:gd name="connsiteY37" fmla="*/ 426720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97502 w 4519987"/>
              <a:gd name="connsiteY42" fmla="*/ 4429125 h 4496940"/>
              <a:gd name="connsiteX43" fmla="*/ 2640352 w 4519987"/>
              <a:gd name="connsiteY43" fmla="*/ 4457700 h 4496940"/>
              <a:gd name="connsiteX44" fmla="*/ 2583202 w 4519987"/>
              <a:gd name="connsiteY44" fmla="*/ 4467225 h 4496940"/>
              <a:gd name="connsiteX45" fmla="*/ 2545102 w 4519987"/>
              <a:gd name="connsiteY45" fmla="*/ 4486275 h 4496940"/>
              <a:gd name="connsiteX46" fmla="*/ 2306977 w 4519987"/>
              <a:gd name="connsiteY46" fmla="*/ 4476750 h 4496940"/>
              <a:gd name="connsiteX47" fmla="*/ 2202202 w 4519987"/>
              <a:gd name="connsiteY47" fmla="*/ 4457700 h 4496940"/>
              <a:gd name="connsiteX48" fmla="*/ 2126002 w 4519987"/>
              <a:gd name="connsiteY48" fmla="*/ 4429125 h 4496940"/>
              <a:gd name="connsiteX49" fmla="*/ 1935502 w 4519987"/>
              <a:gd name="connsiteY49" fmla="*/ 4400550 h 4496940"/>
              <a:gd name="connsiteX50" fmla="*/ 1821202 w 4519987"/>
              <a:gd name="connsiteY50" fmla="*/ 4371975 h 4496940"/>
              <a:gd name="connsiteX51" fmla="*/ 1754527 w 4519987"/>
              <a:gd name="connsiteY51" fmla="*/ 4352925 h 4496940"/>
              <a:gd name="connsiteX52" fmla="*/ 1687852 w 4519987"/>
              <a:gd name="connsiteY52" fmla="*/ 4343400 h 4496940"/>
              <a:gd name="connsiteX53" fmla="*/ 1573552 w 4519987"/>
              <a:gd name="connsiteY53" fmla="*/ 4305300 h 4496940"/>
              <a:gd name="connsiteX54" fmla="*/ 1402102 w 4519987"/>
              <a:gd name="connsiteY54" fmla="*/ 4276725 h 4496940"/>
              <a:gd name="connsiteX55" fmla="*/ 1287802 w 4519987"/>
              <a:gd name="connsiteY55" fmla="*/ 4229100 h 4496940"/>
              <a:gd name="connsiteX56" fmla="*/ 1221127 w 4519987"/>
              <a:gd name="connsiteY56" fmla="*/ 4200525 h 4496940"/>
              <a:gd name="connsiteX57" fmla="*/ 1144927 w 4519987"/>
              <a:gd name="connsiteY57" fmla="*/ 4171950 h 4496940"/>
              <a:gd name="connsiteX58" fmla="*/ 1087777 w 4519987"/>
              <a:gd name="connsiteY58" fmla="*/ 4143375 h 4496940"/>
              <a:gd name="connsiteX59" fmla="*/ 1030627 w 4519987"/>
              <a:gd name="connsiteY59" fmla="*/ 4124325 h 4496940"/>
              <a:gd name="connsiteX60" fmla="*/ 925852 w 4519987"/>
              <a:gd name="connsiteY60" fmla="*/ 4067175 h 4496940"/>
              <a:gd name="connsiteX61" fmla="*/ 830602 w 4519987"/>
              <a:gd name="connsiteY61" fmla="*/ 3981450 h 4496940"/>
              <a:gd name="connsiteX62" fmla="*/ 763927 w 4519987"/>
              <a:gd name="connsiteY62" fmla="*/ 3914775 h 4496940"/>
              <a:gd name="connsiteX63" fmla="*/ 725827 w 4519987"/>
              <a:gd name="connsiteY63" fmla="*/ 3876675 h 4496940"/>
              <a:gd name="connsiteX64" fmla="*/ 697252 w 4519987"/>
              <a:gd name="connsiteY64" fmla="*/ 3838575 h 4496940"/>
              <a:gd name="connsiteX65" fmla="*/ 640102 w 4519987"/>
              <a:gd name="connsiteY65" fmla="*/ 3781425 h 4496940"/>
              <a:gd name="connsiteX66" fmla="*/ 611527 w 4519987"/>
              <a:gd name="connsiteY66" fmla="*/ 3733800 h 4496940"/>
              <a:gd name="connsiteX67" fmla="*/ 554377 w 4519987"/>
              <a:gd name="connsiteY67" fmla="*/ 3657600 h 4496940"/>
              <a:gd name="connsiteX68" fmla="*/ 525802 w 4519987"/>
              <a:gd name="connsiteY68" fmla="*/ 3609975 h 4496940"/>
              <a:gd name="connsiteX69" fmla="*/ 497227 w 4519987"/>
              <a:gd name="connsiteY69" fmla="*/ 3552825 h 4496940"/>
              <a:gd name="connsiteX70" fmla="*/ 440077 w 4519987"/>
              <a:gd name="connsiteY70" fmla="*/ 3495675 h 4496940"/>
              <a:gd name="connsiteX71" fmla="*/ 411502 w 4519987"/>
              <a:gd name="connsiteY71" fmla="*/ 3448050 h 4496940"/>
              <a:gd name="connsiteX72" fmla="*/ 278152 w 4519987"/>
              <a:gd name="connsiteY72" fmla="*/ 3257550 h 4496940"/>
              <a:gd name="connsiteX73" fmla="*/ 249577 w 4519987"/>
              <a:gd name="connsiteY73" fmla="*/ 3200400 h 4496940"/>
              <a:gd name="connsiteX74" fmla="*/ 240052 w 4519987"/>
              <a:gd name="connsiteY74" fmla="*/ 3162300 h 4496940"/>
              <a:gd name="connsiteX75" fmla="*/ 221002 w 4519987"/>
              <a:gd name="connsiteY75" fmla="*/ 3105150 h 4496940"/>
              <a:gd name="connsiteX76" fmla="*/ 173377 w 4519987"/>
              <a:gd name="connsiteY76" fmla="*/ 3019425 h 4496940"/>
              <a:gd name="connsiteX77" fmla="*/ 144802 w 4519987"/>
              <a:gd name="connsiteY77" fmla="*/ 2924175 h 4496940"/>
              <a:gd name="connsiteX78" fmla="*/ 68602 w 4519987"/>
              <a:gd name="connsiteY78" fmla="*/ 2724150 h 4496940"/>
              <a:gd name="connsiteX79" fmla="*/ 49552 w 4519987"/>
              <a:gd name="connsiteY79" fmla="*/ 2638425 h 4496940"/>
              <a:gd name="connsiteX80" fmla="*/ 40027 w 4519987"/>
              <a:gd name="connsiteY80" fmla="*/ 2562225 h 4496940"/>
              <a:gd name="connsiteX81" fmla="*/ 30502 w 4519987"/>
              <a:gd name="connsiteY81" fmla="*/ 2514600 h 4496940"/>
              <a:gd name="connsiteX82" fmla="*/ 11452 w 4519987"/>
              <a:gd name="connsiteY82" fmla="*/ 2400300 h 4496940"/>
              <a:gd name="connsiteX83" fmla="*/ 20977 w 4519987"/>
              <a:gd name="connsiteY83" fmla="*/ 1905000 h 4496940"/>
              <a:gd name="connsiteX84" fmla="*/ 30502 w 4519987"/>
              <a:gd name="connsiteY84" fmla="*/ 1838325 h 4496940"/>
              <a:gd name="connsiteX85" fmla="*/ 49552 w 4519987"/>
              <a:gd name="connsiteY85" fmla="*/ 1781175 h 4496940"/>
              <a:gd name="connsiteX86" fmla="*/ 59077 w 4519987"/>
              <a:gd name="connsiteY86" fmla="*/ 1743075 h 4496940"/>
              <a:gd name="connsiteX87" fmla="*/ 78127 w 4519987"/>
              <a:gd name="connsiteY87" fmla="*/ 1685925 h 4496940"/>
              <a:gd name="connsiteX88" fmla="*/ 87652 w 4519987"/>
              <a:gd name="connsiteY88" fmla="*/ 1638300 h 4496940"/>
              <a:gd name="connsiteX89" fmla="*/ 106702 w 4519987"/>
              <a:gd name="connsiteY89" fmla="*/ 1590675 h 4496940"/>
              <a:gd name="connsiteX90" fmla="*/ 135277 w 4519987"/>
              <a:gd name="connsiteY90" fmla="*/ 1504950 h 4496940"/>
              <a:gd name="connsiteX91" fmla="*/ 154327 w 4519987"/>
              <a:gd name="connsiteY91" fmla="*/ 1419225 h 4496940"/>
              <a:gd name="connsiteX92" fmla="*/ 230527 w 4519987"/>
              <a:gd name="connsiteY92" fmla="*/ 1276350 h 4496940"/>
              <a:gd name="connsiteX93" fmla="*/ 240052 w 4519987"/>
              <a:gd name="connsiteY93" fmla="*/ 1247775 h 4496940"/>
              <a:gd name="connsiteX94" fmla="*/ 268627 w 4519987"/>
              <a:gd name="connsiteY94" fmla="*/ 1200150 h 4496940"/>
              <a:gd name="connsiteX95" fmla="*/ 287677 w 4519987"/>
              <a:gd name="connsiteY95" fmla="*/ 1152525 h 4496940"/>
              <a:gd name="connsiteX96" fmla="*/ 316252 w 4519987"/>
              <a:gd name="connsiteY96" fmla="*/ 1114425 h 4496940"/>
              <a:gd name="connsiteX97" fmla="*/ 363877 w 4519987"/>
              <a:gd name="connsiteY97" fmla="*/ 1038225 h 4496940"/>
              <a:gd name="connsiteX98" fmla="*/ 382927 w 4519987"/>
              <a:gd name="connsiteY98" fmla="*/ 1009650 h 4496940"/>
              <a:gd name="connsiteX99" fmla="*/ 440077 w 4519987"/>
              <a:gd name="connsiteY99" fmla="*/ 904875 h 4496940"/>
              <a:gd name="connsiteX100" fmla="*/ 478177 w 4519987"/>
              <a:gd name="connsiteY100" fmla="*/ 857250 h 4496940"/>
              <a:gd name="connsiteX101" fmla="*/ 497227 w 4519987"/>
              <a:gd name="connsiteY101" fmla="*/ 828675 h 4496940"/>
              <a:gd name="connsiteX102" fmla="*/ 535327 w 4519987"/>
              <a:gd name="connsiteY102" fmla="*/ 800100 h 4496940"/>
              <a:gd name="connsiteX103" fmla="*/ 602002 w 4519987"/>
              <a:gd name="connsiteY103" fmla="*/ 733425 h 4496940"/>
              <a:gd name="connsiteX104" fmla="*/ 668677 w 4519987"/>
              <a:gd name="connsiteY104" fmla="*/ 676275 h 4496940"/>
              <a:gd name="connsiteX105" fmla="*/ 697252 w 4519987"/>
              <a:gd name="connsiteY105" fmla="*/ 657225 h 4496940"/>
              <a:gd name="connsiteX106" fmla="*/ 840127 w 4519987"/>
              <a:gd name="connsiteY106" fmla="*/ 533400 h 4496940"/>
              <a:gd name="connsiteX107" fmla="*/ 887752 w 4519987"/>
              <a:gd name="connsiteY107" fmla="*/ 504825 h 4496940"/>
              <a:gd name="connsiteX108" fmla="*/ 1167152 w 4519987"/>
              <a:gd name="connsiteY108" fmla="*/ 311150 h 4496940"/>
              <a:gd name="connsiteX109" fmla="*/ 1268752 w 4519987"/>
              <a:gd name="connsiteY109" fmla="*/ 285750 h 4496940"/>
              <a:gd name="connsiteX110" fmla="*/ 1411627 w 4519987"/>
              <a:gd name="connsiteY110" fmla="*/ 190500 h 4496940"/>
              <a:gd name="connsiteX111" fmla="*/ 1449727 w 4519987"/>
              <a:gd name="connsiteY111" fmla="*/ 161925 h 4496940"/>
              <a:gd name="connsiteX112" fmla="*/ 1525927 w 4519987"/>
              <a:gd name="connsiteY112" fmla="*/ 152400 h 4496940"/>
              <a:gd name="connsiteX113" fmla="*/ 1583077 w 4519987"/>
              <a:gd name="connsiteY113" fmla="*/ 142875 h 4496940"/>
              <a:gd name="connsiteX114" fmla="*/ 1716427 w 4519987"/>
              <a:gd name="connsiteY114" fmla="*/ 123825 h 4496940"/>
              <a:gd name="connsiteX115" fmla="*/ 1811677 w 4519987"/>
              <a:gd name="connsiteY115" fmla="*/ 114300 h 4496940"/>
              <a:gd name="connsiteX116" fmla="*/ 1859302 w 4519987"/>
              <a:gd name="connsiteY116" fmla="*/ 104775 h 4496940"/>
              <a:gd name="connsiteX117" fmla="*/ 1916452 w 4519987"/>
              <a:gd name="connsiteY117" fmla="*/ 95250 h 4496940"/>
              <a:gd name="connsiteX118" fmla="*/ 2030752 w 4519987"/>
              <a:gd name="connsiteY118" fmla="*/ 66675 h 4496940"/>
              <a:gd name="connsiteX119" fmla="*/ 2097427 w 4519987"/>
              <a:gd name="connsiteY119" fmla="*/ 47625 h 4496940"/>
              <a:gd name="connsiteX120" fmla="*/ 2164102 w 4519987"/>
              <a:gd name="connsiteY120" fmla="*/ 38100 h 4496940"/>
              <a:gd name="connsiteX121" fmla="*/ 2392702 w 4519987"/>
              <a:gd name="connsiteY12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21377 w 4519987"/>
              <a:gd name="connsiteY37" fmla="*/ 422275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97502 w 4519987"/>
              <a:gd name="connsiteY42" fmla="*/ 4429125 h 4496940"/>
              <a:gd name="connsiteX43" fmla="*/ 2640352 w 4519987"/>
              <a:gd name="connsiteY43" fmla="*/ 4457700 h 4496940"/>
              <a:gd name="connsiteX44" fmla="*/ 2583202 w 4519987"/>
              <a:gd name="connsiteY44" fmla="*/ 4467225 h 4496940"/>
              <a:gd name="connsiteX45" fmla="*/ 2545102 w 4519987"/>
              <a:gd name="connsiteY45" fmla="*/ 4486275 h 4496940"/>
              <a:gd name="connsiteX46" fmla="*/ 2306977 w 4519987"/>
              <a:gd name="connsiteY46" fmla="*/ 4476750 h 4496940"/>
              <a:gd name="connsiteX47" fmla="*/ 2202202 w 4519987"/>
              <a:gd name="connsiteY47" fmla="*/ 4457700 h 4496940"/>
              <a:gd name="connsiteX48" fmla="*/ 2126002 w 4519987"/>
              <a:gd name="connsiteY48" fmla="*/ 4429125 h 4496940"/>
              <a:gd name="connsiteX49" fmla="*/ 1935502 w 4519987"/>
              <a:gd name="connsiteY49" fmla="*/ 4400550 h 4496940"/>
              <a:gd name="connsiteX50" fmla="*/ 1821202 w 4519987"/>
              <a:gd name="connsiteY50" fmla="*/ 4371975 h 4496940"/>
              <a:gd name="connsiteX51" fmla="*/ 1754527 w 4519987"/>
              <a:gd name="connsiteY51" fmla="*/ 4352925 h 4496940"/>
              <a:gd name="connsiteX52" fmla="*/ 1687852 w 4519987"/>
              <a:gd name="connsiteY52" fmla="*/ 4343400 h 4496940"/>
              <a:gd name="connsiteX53" fmla="*/ 1573552 w 4519987"/>
              <a:gd name="connsiteY53" fmla="*/ 4305300 h 4496940"/>
              <a:gd name="connsiteX54" fmla="*/ 1402102 w 4519987"/>
              <a:gd name="connsiteY54" fmla="*/ 4276725 h 4496940"/>
              <a:gd name="connsiteX55" fmla="*/ 1287802 w 4519987"/>
              <a:gd name="connsiteY55" fmla="*/ 4229100 h 4496940"/>
              <a:gd name="connsiteX56" fmla="*/ 1221127 w 4519987"/>
              <a:gd name="connsiteY56" fmla="*/ 4200525 h 4496940"/>
              <a:gd name="connsiteX57" fmla="*/ 1144927 w 4519987"/>
              <a:gd name="connsiteY57" fmla="*/ 4171950 h 4496940"/>
              <a:gd name="connsiteX58" fmla="*/ 1087777 w 4519987"/>
              <a:gd name="connsiteY58" fmla="*/ 4143375 h 4496940"/>
              <a:gd name="connsiteX59" fmla="*/ 1030627 w 4519987"/>
              <a:gd name="connsiteY59" fmla="*/ 4124325 h 4496940"/>
              <a:gd name="connsiteX60" fmla="*/ 925852 w 4519987"/>
              <a:gd name="connsiteY60" fmla="*/ 4067175 h 4496940"/>
              <a:gd name="connsiteX61" fmla="*/ 830602 w 4519987"/>
              <a:gd name="connsiteY61" fmla="*/ 3981450 h 4496940"/>
              <a:gd name="connsiteX62" fmla="*/ 763927 w 4519987"/>
              <a:gd name="connsiteY62" fmla="*/ 3914775 h 4496940"/>
              <a:gd name="connsiteX63" fmla="*/ 725827 w 4519987"/>
              <a:gd name="connsiteY63" fmla="*/ 3876675 h 4496940"/>
              <a:gd name="connsiteX64" fmla="*/ 697252 w 4519987"/>
              <a:gd name="connsiteY64" fmla="*/ 3838575 h 4496940"/>
              <a:gd name="connsiteX65" fmla="*/ 640102 w 4519987"/>
              <a:gd name="connsiteY65" fmla="*/ 3781425 h 4496940"/>
              <a:gd name="connsiteX66" fmla="*/ 611527 w 4519987"/>
              <a:gd name="connsiteY66" fmla="*/ 3733800 h 4496940"/>
              <a:gd name="connsiteX67" fmla="*/ 554377 w 4519987"/>
              <a:gd name="connsiteY67" fmla="*/ 3657600 h 4496940"/>
              <a:gd name="connsiteX68" fmla="*/ 525802 w 4519987"/>
              <a:gd name="connsiteY68" fmla="*/ 3609975 h 4496940"/>
              <a:gd name="connsiteX69" fmla="*/ 497227 w 4519987"/>
              <a:gd name="connsiteY69" fmla="*/ 3552825 h 4496940"/>
              <a:gd name="connsiteX70" fmla="*/ 440077 w 4519987"/>
              <a:gd name="connsiteY70" fmla="*/ 3495675 h 4496940"/>
              <a:gd name="connsiteX71" fmla="*/ 411502 w 4519987"/>
              <a:gd name="connsiteY71" fmla="*/ 3448050 h 4496940"/>
              <a:gd name="connsiteX72" fmla="*/ 278152 w 4519987"/>
              <a:gd name="connsiteY72" fmla="*/ 3257550 h 4496940"/>
              <a:gd name="connsiteX73" fmla="*/ 249577 w 4519987"/>
              <a:gd name="connsiteY73" fmla="*/ 3200400 h 4496940"/>
              <a:gd name="connsiteX74" fmla="*/ 240052 w 4519987"/>
              <a:gd name="connsiteY74" fmla="*/ 3162300 h 4496940"/>
              <a:gd name="connsiteX75" fmla="*/ 221002 w 4519987"/>
              <a:gd name="connsiteY75" fmla="*/ 3105150 h 4496940"/>
              <a:gd name="connsiteX76" fmla="*/ 173377 w 4519987"/>
              <a:gd name="connsiteY76" fmla="*/ 3019425 h 4496940"/>
              <a:gd name="connsiteX77" fmla="*/ 144802 w 4519987"/>
              <a:gd name="connsiteY77" fmla="*/ 2924175 h 4496940"/>
              <a:gd name="connsiteX78" fmla="*/ 68602 w 4519987"/>
              <a:gd name="connsiteY78" fmla="*/ 2724150 h 4496940"/>
              <a:gd name="connsiteX79" fmla="*/ 49552 w 4519987"/>
              <a:gd name="connsiteY79" fmla="*/ 2638425 h 4496940"/>
              <a:gd name="connsiteX80" fmla="*/ 40027 w 4519987"/>
              <a:gd name="connsiteY80" fmla="*/ 2562225 h 4496940"/>
              <a:gd name="connsiteX81" fmla="*/ 30502 w 4519987"/>
              <a:gd name="connsiteY81" fmla="*/ 2514600 h 4496940"/>
              <a:gd name="connsiteX82" fmla="*/ 11452 w 4519987"/>
              <a:gd name="connsiteY82" fmla="*/ 2400300 h 4496940"/>
              <a:gd name="connsiteX83" fmla="*/ 20977 w 4519987"/>
              <a:gd name="connsiteY83" fmla="*/ 1905000 h 4496940"/>
              <a:gd name="connsiteX84" fmla="*/ 30502 w 4519987"/>
              <a:gd name="connsiteY84" fmla="*/ 1838325 h 4496940"/>
              <a:gd name="connsiteX85" fmla="*/ 49552 w 4519987"/>
              <a:gd name="connsiteY85" fmla="*/ 1781175 h 4496940"/>
              <a:gd name="connsiteX86" fmla="*/ 59077 w 4519987"/>
              <a:gd name="connsiteY86" fmla="*/ 1743075 h 4496940"/>
              <a:gd name="connsiteX87" fmla="*/ 78127 w 4519987"/>
              <a:gd name="connsiteY87" fmla="*/ 1685925 h 4496940"/>
              <a:gd name="connsiteX88" fmla="*/ 87652 w 4519987"/>
              <a:gd name="connsiteY88" fmla="*/ 1638300 h 4496940"/>
              <a:gd name="connsiteX89" fmla="*/ 106702 w 4519987"/>
              <a:gd name="connsiteY89" fmla="*/ 1590675 h 4496940"/>
              <a:gd name="connsiteX90" fmla="*/ 135277 w 4519987"/>
              <a:gd name="connsiteY90" fmla="*/ 1504950 h 4496940"/>
              <a:gd name="connsiteX91" fmla="*/ 154327 w 4519987"/>
              <a:gd name="connsiteY91" fmla="*/ 1419225 h 4496940"/>
              <a:gd name="connsiteX92" fmla="*/ 230527 w 4519987"/>
              <a:gd name="connsiteY92" fmla="*/ 1276350 h 4496940"/>
              <a:gd name="connsiteX93" fmla="*/ 240052 w 4519987"/>
              <a:gd name="connsiteY93" fmla="*/ 1247775 h 4496940"/>
              <a:gd name="connsiteX94" fmla="*/ 268627 w 4519987"/>
              <a:gd name="connsiteY94" fmla="*/ 1200150 h 4496940"/>
              <a:gd name="connsiteX95" fmla="*/ 287677 w 4519987"/>
              <a:gd name="connsiteY95" fmla="*/ 1152525 h 4496940"/>
              <a:gd name="connsiteX96" fmla="*/ 316252 w 4519987"/>
              <a:gd name="connsiteY96" fmla="*/ 1114425 h 4496940"/>
              <a:gd name="connsiteX97" fmla="*/ 363877 w 4519987"/>
              <a:gd name="connsiteY97" fmla="*/ 1038225 h 4496940"/>
              <a:gd name="connsiteX98" fmla="*/ 382927 w 4519987"/>
              <a:gd name="connsiteY98" fmla="*/ 1009650 h 4496940"/>
              <a:gd name="connsiteX99" fmla="*/ 440077 w 4519987"/>
              <a:gd name="connsiteY99" fmla="*/ 904875 h 4496940"/>
              <a:gd name="connsiteX100" fmla="*/ 478177 w 4519987"/>
              <a:gd name="connsiteY100" fmla="*/ 857250 h 4496940"/>
              <a:gd name="connsiteX101" fmla="*/ 497227 w 4519987"/>
              <a:gd name="connsiteY101" fmla="*/ 828675 h 4496940"/>
              <a:gd name="connsiteX102" fmla="*/ 535327 w 4519987"/>
              <a:gd name="connsiteY102" fmla="*/ 800100 h 4496940"/>
              <a:gd name="connsiteX103" fmla="*/ 602002 w 4519987"/>
              <a:gd name="connsiteY103" fmla="*/ 733425 h 4496940"/>
              <a:gd name="connsiteX104" fmla="*/ 668677 w 4519987"/>
              <a:gd name="connsiteY104" fmla="*/ 676275 h 4496940"/>
              <a:gd name="connsiteX105" fmla="*/ 697252 w 4519987"/>
              <a:gd name="connsiteY105" fmla="*/ 657225 h 4496940"/>
              <a:gd name="connsiteX106" fmla="*/ 840127 w 4519987"/>
              <a:gd name="connsiteY106" fmla="*/ 533400 h 4496940"/>
              <a:gd name="connsiteX107" fmla="*/ 887752 w 4519987"/>
              <a:gd name="connsiteY107" fmla="*/ 504825 h 4496940"/>
              <a:gd name="connsiteX108" fmla="*/ 1167152 w 4519987"/>
              <a:gd name="connsiteY108" fmla="*/ 311150 h 4496940"/>
              <a:gd name="connsiteX109" fmla="*/ 1268752 w 4519987"/>
              <a:gd name="connsiteY109" fmla="*/ 285750 h 4496940"/>
              <a:gd name="connsiteX110" fmla="*/ 1411627 w 4519987"/>
              <a:gd name="connsiteY110" fmla="*/ 190500 h 4496940"/>
              <a:gd name="connsiteX111" fmla="*/ 1449727 w 4519987"/>
              <a:gd name="connsiteY111" fmla="*/ 161925 h 4496940"/>
              <a:gd name="connsiteX112" fmla="*/ 1525927 w 4519987"/>
              <a:gd name="connsiteY112" fmla="*/ 152400 h 4496940"/>
              <a:gd name="connsiteX113" fmla="*/ 1583077 w 4519987"/>
              <a:gd name="connsiteY113" fmla="*/ 142875 h 4496940"/>
              <a:gd name="connsiteX114" fmla="*/ 1716427 w 4519987"/>
              <a:gd name="connsiteY114" fmla="*/ 123825 h 4496940"/>
              <a:gd name="connsiteX115" fmla="*/ 1811677 w 4519987"/>
              <a:gd name="connsiteY115" fmla="*/ 114300 h 4496940"/>
              <a:gd name="connsiteX116" fmla="*/ 1859302 w 4519987"/>
              <a:gd name="connsiteY116" fmla="*/ 104775 h 4496940"/>
              <a:gd name="connsiteX117" fmla="*/ 1916452 w 4519987"/>
              <a:gd name="connsiteY117" fmla="*/ 95250 h 4496940"/>
              <a:gd name="connsiteX118" fmla="*/ 2030752 w 4519987"/>
              <a:gd name="connsiteY118" fmla="*/ 66675 h 4496940"/>
              <a:gd name="connsiteX119" fmla="*/ 2097427 w 4519987"/>
              <a:gd name="connsiteY119" fmla="*/ 47625 h 4496940"/>
              <a:gd name="connsiteX120" fmla="*/ 2164102 w 4519987"/>
              <a:gd name="connsiteY120" fmla="*/ 38100 h 4496940"/>
              <a:gd name="connsiteX121" fmla="*/ 2392702 w 4519987"/>
              <a:gd name="connsiteY12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21377 w 4519987"/>
              <a:gd name="connsiteY37" fmla="*/ 422275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40352 w 4519987"/>
              <a:gd name="connsiteY42" fmla="*/ 4457700 h 4496940"/>
              <a:gd name="connsiteX43" fmla="*/ 2583202 w 4519987"/>
              <a:gd name="connsiteY43" fmla="*/ 4467225 h 4496940"/>
              <a:gd name="connsiteX44" fmla="*/ 2545102 w 4519987"/>
              <a:gd name="connsiteY44" fmla="*/ 4486275 h 4496940"/>
              <a:gd name="connsiteX45" fmla="*/ 2306977 w 4519987"/>
              <a:gd name="connsiteY45" fmla="*/ 4476750 h 4496940"/>
              <a:gd name="connsiteX46" fmla="*/ 2202202 w 4519987"/>
              <a:gd name="connsiteY46" fmla="*/ 4457700 h 4496940"/>
              <a:gd name="connsiteX47" fmla="*/ 2126002 w 4519987"/>
              <a:gd name="connsiteY47" fmla="*/ 4429125 h 4496940"/>
              <a:gd name="connsiteX48" fmla="*/ 1935502 w 4519987"/>
              <a:gd name="connsiteY48" fmla="*/ 4400550 h 4496940"/>
              <a:gd name="connsiteX49" fmla="*/ 1821202 w 4519987"/>
              <a:gd name="connsiteY49" fmla="*/ 4371975 h 4496940"/>
              <a:gd name="connsiteX50" fmla="*/ 1754527 w 4519987"/>
              <a:gd name="connsiteY50" fmla="*/ 4352925 h 4496940"/>
              <a:gd name="connsiteX51" fmla="*/ 1687852 w 4519987"/>
              <a:gd name="connsiteY51" fmla="*/ 4343400 h 4496940"/>
              <a:gd name="connsiteX52" fmla="*/ 1573552 w 4519987"/>
              <a:gd name="connsiteY52" fmla="*/ 4305300 h 4496940"/>
              <a:gd name="connsiteX53" fmla="*/ 1402102 w 4519987"/>
              <a:gd name="connsiteY53" fmla="*/ 4276725 h 4496940"/>
              <a:gd name="connsiteX54" fmla="*/ 1287802 w 4519987"/>
              <a:gd name="connsiteY54" fmla="*/ 4229100 h 4496940"/>
              <a:gd name="connsiteX55" fmla="*/ 1221127 w 4519987"/>
              <a:gd name="connsiteY55" fmla="*/ 4200525 h 4496940"/>
              <a:gd name="connsiteX56" fmla="*/ 1144927 w 4519987"/>
              <a:gd name="connsiteY56" fmla="*/ 4171950 h 4496940"/>
              <a:gd name="connsiteX57" fmla="*/ 1087777 w 4519987"/>
              <a:gd name="connsiteY57" fmla="*/ 4143375 h 4496940"/>
              <a:gd name="connsiteX58" fmla="*/ 1030627 w 4519987"/>
              <a:gd name="connsiteY58" fmla="*/ 4124325 h 4496940"/>
              <a:gd name="connsiteX59" fmla="*/ 925852 w 4519987"/>
              <a:gd name="connsiteY59" fmla="*/ 4067175 h 4496940"/>
              <a:gd name="connsiteX60" fmla="*/ 830602 w 4519987"/>
              <a:gd name="connsiteY60" fmla="*/ 3981450 h 4496940"/>
              <a:gd name="connsiteX61" fmla="*/ 763927 w 4519987"/>
              <a:gd name="connsiteY61" fmla="*/ 3914775 h 4496940"/>
              <a:gd name="connsiteX62" fmla="*/ 725827 w 4519987"/>
              <a:gd name="connsiteY62" fmla="*/ 3876675 h 4496940"/>
              <a:gd name="connsiteX63" fmla="*/ 697252 w 4519987"/>
              <a:gd name="connsiteY63" fmla="*/ 3838575 h 4496940"/>
              <a:gd name="connsiteX64" fmla="*/ 640102 w 4519987"/>
              <a:gd name="connsiteY64" fmla="*/ 3781425 h 4496940"/>
              <a:gd name="connsiteX65" fmla="*/ 611527 w 4519987"/>
              <a:gd name="connsiteY65" fmla="*/ 3733800 h 4496940"/>
              <a:gd name="connsiteX66" fmla="*/ 554377 w 4519987"/>
              <a:gd name="connsiteY66" fmla="*/ 3657600 h 4496940"/>
              <a:gd name="connsiteX67" fmla="*/ 525802 w 4519987"/>
              <a:gd name="connsiteY67" fmla="*/ 3609975 h 4496940"/>
              <a:gd name="connsiteX68" fmla="*/ 497227 w 4519987"/>
              <a:gd name="connsiteY68" fmla="*/ 3552825 h 4496940"/>
              <a:gd name="connsiteX69" fmla="*/ 440077 w 4519987"/>
              <a:gd name="connsiteY69" fmla="*/ 3495675 h 4496940"/>
              <a:gd name="connsiteX70" fmla="*/ 411502 w 4519987"/>
              <a:gd name="connsiteY70" fmla="*/ 3448050 h 4496940"/>
              <a:gd name="connsiteX71" fmla="*/ 278152 w 4519987"/>
              <a:gd name="connsiteY71" fmla="*/ 3257550 h 4496940"/>
              <a:gd name="connsiteX72" fmla="*/ 249577 w 4519987"/>
              <a:gd name="connsiteY72" fmla="*/ 3200400 h 4496940"/>
              <a:gd name="connsiteX73" fmla="*/ 240052 w 4519987"/>
              <a:gd name="connsiteY73" fmla="*/ 3162300 h 4496940"/>
              <a:gd name="connsiteX74" fmla="*/ 221002 w 4519987"/>
              <a:gd name="connsiteY74" fmla="*/ 3105150 h 4496940"/>
              <a:gd name="connsiteX75" fmla="*/ 173377 w 4519987"/>
              <a:gd name="connsiteY75" fmla="*/ 3019425 h 4496940"/>
              <a:gd name="connsiteX76" fmla="*/ 144802 w 4519987"/>
              <a:gd name="connsiteY76" fmla="*/ 2924175 h 4496940"/>
              <a:gd name="connsiteX77" fmla="*/ 68602 w 4519987"/>
              <a:gd name="connsiteY77" fmla="*/ 2724150 h 4496940"/>
              <a:gd name="connsiteX78" fmla="*/ 49552 w 4519987"/>
              <a:gd name="connsiteY78" fmla="*/ 2638425 h 4496940"/>
              <a:gd name="connsiteX79" fmla="*/ 40027 w 4519987"/>
              <a:gd name="connsiteY79" fmla="*/ 2562225 h 4496940"/>
              <a:gd name="connsiteX80" fmla="*/ 30502 w 4519987"/>
              <a:gd name="connsiteY80" fmla="*/ 2514600 h 4496940"/>
              <a:gd name="connsiteX81" fmla="*/ 11452 w 4519987"/>
              <a:gd name="connsiteY81" fmla="*/ 2400300 h 4496940"/>
              <a:gd name="connsiteX82" fmla="*/ 20977 w 4519987"/>
              <a:gd name="connsiteY82" fmla="*/ 1905000 h 4496940"/>
              <a:gd name="connsiteX83" fmla="*/ 30502 w 4519987"/>
              <a:gd name="connsiteY83" fmla="*/ 1838325 h 4496940"/>
              <a:gd name="connsiteX84" fmla="*/ 49552 w 4519987"/>
              <a:gd name="connsiteY84" fmla="*/ 1781175 h 4496940"/>
              <a:gd name="connsiteX85" fmla="*/ 59077 w 4519987"/>
              <a:gd name="connsiteY85" fmla="*/ 1743075 h 4496940"/>
              <a:gd name="connsiteX86" fmla="*/ 78127 w 4519987"/>
              <a:gd name="connsiteY86" fmla="*/ 1685925 h 4496940"/>
              <a:gd name="connsiteX87" fmla="*/ 87652 w 4519987"/>
              <a:gd name="connsiteY87" fmla="*/ 1638300 h 4496940"/>
              <a:gd name="connsiteX88" fmla="*/ 106702 w 4519987"/>
              <a:gd name="connsiteY88" fmla="*/ 1590675 h 4496940"/>
              <a:gd name="connsiteX89" fmla="*/ 135277 w 4519987"/>
              <a:gd name="connsiteY89" fmla="*/ 1504950 h 4496940"/>
              <a:gd name="connsiteX90" fmla="*/ 154327 w 4519987"/>
              <a:gd name="connsiteY90" fmla="*/ 1419225 h 4496940"/>
              <a:gd name="connsiteX91" fmla="*/ 230527 w 4519987"/>
              <a:gd name="connsiteY91" fmla="*/ 1276350 h 4496940"/>
              <a:gd name="connsiteX92" fmla="*/ 240052 w 4519987"/>
              <a:gd name="connsiteY92" fmla="*/ 1247775 h 4496940"/>
              <a:gd name="connsiteX93" fmla="*/ 268627 w 4519987"/>
              <a:gd name="connsiteY93" fmla="*/ 1200150 h 4496940"/>
              <a:gd name="connsiteX94" fmla="*/ 287677 w 4519987"/>
              <a:gd name="connsiteY94" fmla="*/ 1152525 h 4496940"/>
              <a:gd name="connsiteX95" fmla="*/ 316252 w 4519987"/>
              <a:gd name="connsiteY95" fmla="*/ 1114425 h 4496940"/>
              <a:gd name="connsiteX96" fmla="*/ 363877 w 4519987"/>
              <a:gd name="connsiteY96" fmla="*/ 1038225 h 4496940"/>
              <a:gd name="connsiteX97" fmla="*/ 382927 w 4519987"/>
              <a:gd name="connsiteY97" fmla="*/ 1009650 h 4496940"/>
              <a:gd name="connsiteX98" fmla="*/ 440077 w 4519987"/>
              <a:gd name="connsiteY98" fmla="*/ 904875 h 4496940"/>
              <a:gd name="connsiteX99" fmla="*/ 478177 w 4519987"/>
              <a:gd name="connsiteY99" fmla="*/ 857250 h 4496940"/>
              <a:gd name="connsiteX100" fmla="*/ 497227 w 4519987"/>
              <a:gd name="connsiteY100" fmla="*/ 828675 h 4496940"/>
              <a:gd name="connsiteX101" fmla="*/ 535327 w 4519987"/>
              <a:gd name="connsiteY101" fmla="*/ 800100 h 4496940"/>
              <a:gd name="connsiteX102" fmla="*/ 602002 w 4519987"/>
              <a:gd name="connsiteY102" fmla="*/ 733425 h 4496940"/>
              <a:gd name="connsiteX103" fmla="*/ 668677 w 4519987"/>
              <a:gd name="connsiteY103" fmla="*/ 676275 h 4496940"/>
              <a:gd name="connsiteX104" fmla="*/ 697252 w 4519987"/>
              <a:gd name="connsiteY104" fmla="*/ 657225 h 4496940"/>
              <a:gd name="connsiteX105" fmla="*/ 840127 w 4519987"/>
              <a:gd name="connsiteY105" fmla="*/ 533400 h 4496940"/>
              <a:gd name="connsiteX106" fmla="*/ 887752 w 4519987"/>
              <a:gd name="connsiteY106" fmla="*/ 504825 h 4496940"/>
              <a:gd name="connsiteX107" fmla="*/ 1167152 w 4519987"/>
              <a:gd name="connsiteY107" fmla="*/ 311150 h 4496940"/>
              <a:gd name="connsiteX108" fmla="*/ 1268752 w 4519987"/>
              <a:gd name="connsiteY108" fmla="*/ 285750 h 4496940"/>
              <a:gd name="connsiteX109" fmla="*/ 1411627 w 4519987"/>
              <a:gd name="connsiteY109" fmla="*/ 190500 h 4496940"/>
              <a:gd name="connsiteX110" fmla="*/ 1449727 w 4519987"/>
              <a:gd name="connsiteY110" fmla="*/ 161925 h 4496940"/>
              <a:gd name="connsiteX111" fmla="*/ 1525927 w 4519987"/>
              <a:gd name="connsiteY111" fmla="*/ 152400 h 4496940"/>
              <a:gd name="connsiteX112" fmla="*/ 1583077 w 4519987"/>
              <a:gd name="connsiteY112" fmla="*/ 142875 h 4496940"/>
              <a:gd name="connsiteX113" fmla="*/ 1716427 w 4519987"/>
              <a:gd name="connsiteY113" fmla="*/ 123825 h 4496940"/>
              <a:gd name="connsiteX114" fmla="*/ 1811677 w 4519987"/>
              <a:gd name="connsiteY114" fmla="*/ 114300 h 4496940"/>
              <a:gd name="connsiteX115" fmla="*/ 1859302 w 4519987"/>
              <a:gd name="connsiteY115" fmla="*/ 104775 h 4496940"/>
              <a:gd name="connsiteX116" fmla="*/ 1916452 w 4519987"/>
              <a:gd name="connsiteY116" fmla="*/ 95250 h 4496940"/>
              <a:gd name="connsiteX117" fmla="*/ 2030752 w 4519987"/>
              <a:gd name="connsiteY117" fmla="*/ 66675 h 4496940"/>
              <a:gd name="connsiteX118" fmla="*/ 2097427 w 4519987"/>
              <a:gd name="connsiteY118" fmla="*/ 47625 h 4496940"/>
              <a:gd name="connsiteX119" fmla="*/ 2164102 w 4519987"/>
              <a:gd name="connsiteY119" fmla="*/ 38100 h 4496940"/>
              <a:gd name="connsiteX120" fmla="*/ 2392702 w 4519987"/>
              <a:gd name="connsiteY120" fmla="*/ 28575 h 4496940"/>
              <a:gd name="connsiteX0" fmla="*/ 2297452 w 4519987"/>
              <a:gd name="connsiteY0" fmla="*/ 0 h 4487372"/>
              <a:gd name="connsiteX1" fmla="*/ 2421277 w 4519987"/>
              <a:gd name="connsiteY1" fmla="*/ 28575 h 4487372"/>
              <a:gd name="connsiteX2" fmla="*/ 2497477 w 4519987"/>
              <a:gd name="connsiteY2" fmla="*/ 47625 h 4487372"/>
              <a:gd name="connsiteX3" fmla="*/ 2754652 w 4519987"/>
              <a:gd name="connsiteY3" fmla="*/ 66675 h 4487372"/>
              <a:gd name="connsiteX4" fmla="*/ 2830852 w 4519987"/>
              <a:gd name="connsiteY4" fmla="*/ 76200 h 4487372"/>
              <a:gd name="connsiteX5" fmla="*/ 2916577 w 4519987"/>
              <a:gd name="connsiteY5" fmla="*/ 85725 h 4487372"/>
              <a:gd name="connsiteX6" fmla="*/ 2973727 w 4519987"/>
              <a:gd name="connsiteY6" fmla="*/ 114300 h 4487372"/>
              <a:gd name="connsiteX7" fmla="*/ 3011827 w 4519987"/>
              <a:gd name="connsiteY7" fmla="*/ 123825 h 4487372"/>
              <a:gd name="connsiteX8" fmla="*/ 3135652 w 4519987"/>
              <a:gd name="connsiteY8" fmla="*/ 171450 h 4487372"/>
              <a:gd name="connsiteX9" fmla="*/ 3173752 w 4519987"/>
              <a:gd name="connsiteY9" fmla="*/ 190500 h 4487372"/>
              <a:gd name="connsiteX10" fmla="*/ 3240427 w 4519987"/>
              <a:gd name="connsiteY10" fmla="*/ 228600 h 4487372"/>
              <a:gd name="connsiteX11" fmla="*/ 3269002 w 4519987"/>
              <a:gd name="connsiteY11" fmla="*/ 238125 h 4487372"/>
              <a:gd name="connsiteX12" fmla="*/ 3297577 w 4519987"/>
              <a:gd name="connsiteY12" fmla="*/ 257175 h 4487372"/>
              <a:gd name="connsiteX13" fmla="*/ 3326152 w 4519987"/>
              <a:gd name="connsiteY13" fmla="*/ 266700 h 4487372"/>
              <a:gd name="connsiteX14" fmla="*/ 3354727 w 4519987"/>
              <a:gd name="connsiteY14" fmla="*/ 285750 h 4487372"/>
              <a:gd name="connsiteX15" fmla="*/ 3421402 w 4519987"/>
              <a:gd name="connsiteY15" fmla="*/ 323850 h 4487372"/>
              <a:gd name="connsiteX16" fmla="*/ 3469027 w 4519987"/>
              <a:gd name="connsiteY16" fmla="*/ 361950 h 4487372"/>
              <a:gd name="connsiteX17" fmla="*/ 3516652 w 4519987"/>
              <a:gd name="connsiteY17" fmla="*/ 390525 h 4487372"/>
              <a:gd name="connsiteX18" fmla="*/ 3630952 w 4519987"/>
              <a:gd name="connsiteY18" fmla="*/ 485775 h 4487372"/>
              <a:gd name="connsiteX19" fmla="*/ 3745252 w 4519987"/>
              <a:gd name="connsiteY19" fmla="*/ 542925 h 4487372"/>
              <a:gd name="connsiteX20" fmla="*/ 3811927 w 4519987"/>
              <a:gd name="connsiteY20" fmla="*/ 581025 h 4487372"/>
              <a:gd name="connsiteX21" fmla="*/ 4027827 w 4519987"/>
              <a:gd name="connsiteY21" fmla="*/ 819150 h 4487372"/>
              <a:gd name="connsiteX22" fmla="*/ 4164352 w 4519987"/>
              <a:gd name="connsiteY22" fmla="*/ 990600 h 4487372"/>
              <a:gd name="connsiteX23" fmla="*/ 4250077 w 4519987"/>
              <a:gd name="connsiteY23" fmla="*/ 1143000 h 4487372"/>
              <a:gd name="connsiteX24" fmla="*/ 4307227 w 4519987"/>
              <a:gd name="connsiteY24" fmla="*/ 1266825 h 4487372"/>
              <a:gd name="connsiteX25" fmla="*/ 4345327 w 4519987"/>
              <a:gd name="connsiteY25" fmla="*/ 1362075 h 4487372"/>
              <a:gd name="connsiteX26" fmla="*/ 4392952 w 4519987"/>
              <a:gd name="connsiteY26" fmla="*/ 1552575 h 4487372"/>
              <a:gd name="connsiteX27" fmla="*/ 4431052 w 4519987"/>
              <a:gd name="connsiteY27" fmla="*/ 1685925 h 4487372"/>
              <a:gd name="connsiteX28" fmla="*/ 4519952 w 4519987"/>
              <a:gd name="connsiteY28" fmla="*/ 2181225 h 4487372"/>
              <a:gd name="connsiteX29" fmla="*/ 4446927 w 4519987"/>
              <a:gd name="connsiteY29" fmla="*/ 2768600 h 4487372"/>
              <a:gd name="connsiteX30" fmla="*/ 4383427 w 4519987"/>
              <a:gd name="connsiteY30" fmla="*/ 2990850 h 4487372"/>
              <a:gd name="connsiteX31" fmla="*/ 4278652 w 4519987"/>
              <a:gd name="connsiteY31" fmla="*/ 3248025 h 4487372"/>
              <a:gd name="connsiteX32" fmla="*/ 4183402 w 4519987"/>
              <a:gd name="connsiteY32" fmla="*/ 3400425 h 4487372"/>
              <a:gd name="connsiteX33" fmla="*/ 4059577 w 4519987"/>
              <a:gd name="connsiteY33" fmla="*/ 3533775 h 4487372"/>
              <a:gd name="connsiteX34" fmla="*/ 3954802 w 4519987"/>
              <a:gd name="connsiteY34" fmla="*/ 3648075 h 4487372"/>
              <a:gd name="connsiteX35" fmla="*/ 3659527 w 4519987"/>
              <a:gd name="connsiteY35" fmla="*/ 3971925 h 4487372"/>
              <a:gd name="connsiteX36" fmla="*/ 3516652 w 4519987"/>
              <a:gd name="connsiteY36" fmla="*/ 4083050 h 4487372"/>
              <a:gd name="connsiteX37" fmla="*/ 3221377 w 4519987"/>
              <a:gd name="connsiteY37" fmla="*/ 4222750 h 4487372"/>
              <a:gd name="connsiteX38" fmla="*/ 3068977 w 4519987"/>
              <a:gd name="connsiteY38" fmla="*/ 4286250 h 4487372"/>
              <a:gd name="connsiteX39" fmla="*/ 2935627 w 4519987"/>
              <a:gd name="connsiteY39" fmla="*/ 4333875 h 4487372"/>
              <a:gd name="connsiteX40" fmla="*/ 2811802 w 4519987"/>
              <a:gd name="connsiteY40" fmla="*/ 4371975 h 4487372"/>
              <a:gd name="connsiteX41" fmla="*/ 2745127 w 4519987"/>
              <a:gd name="connsiteY41" fmla="*/ 4410075 h 4487372"/>
              <a:gd name="connsiteX42" fmla="*/ 2640352 w 4519987"/>
              <a:gd name="connsiteY42" fmla="*/ 4457700 h 4487372"/>
              <a:gd name="connsiteX43" fmla="*/ 2545102 w 4519987"/>
              <a:gd name="connsiteY43" fmla="*/ 4486275 h 4487372"/>
              <a:gd name="connsiteX44" fmla="*/ 2306977 w 4519987"/>
              <a:gd name="connsiteY44" fmla="*/ 4476750 h 4487372"/>
              <a:gd name="connsiteX45" fmla="*/ 2202202 w 4519987"/>
              <a:gd name="connsiteY45" fmla="*/ 4457700 h 4487372"/>
              <a:gd name="connsiteX46" fmla="*/ 2126002 w 4519987"/>
              <a:gd name="connsiteY46" fmla="*/ 4429125 h 4487372"/>
              <a:gd name="connsiteX47" fmla="*/ 1935502 w 4519987"/>
              <a:gd name="connsiteY47" fmla="*/ 4400550 h 4487372"/>
              <a:gd name="connsiteX48" fmla="*/ 1821202 w 4519987"/>
              <a:gd name="connsiteY48" fmla="*/ 4371975 h 4487372"/>
              <a:gd name="connsiteX49" fmla="*/ 1754527 w 4519987"/>
              <a:gd name="connsiteY49" fmla="*/ 4352925 h 4487372"/>
              <a:gd name="connsiteX50" fmla="*/ 1687852 w 4519987"/>
              <a:gd name="connsiteY50" fmla="*/ 4343400 h 4487372"/>
              <a:gd name="connsiteX51" fmla="*/ 1573552 w 4519987"/>
              <a:gd name="connsiteY51" fmla="*/ 4305300 h 4487372"/>
              <a:gd name="connsiteX52" fmla="*/ 1402102 w 4519987"/>
              <a:gd name="connsiteY52" fmla="*/ 4276725 h 4487372"/>
              <a:gd name="connsiteX53" fmla="*/ 1287802 w 4519987"/>
              <a:gd name="connsiteY53" fmla="*/ 4229100 h 4487372"/>
              <a:gd name="connsiteX54" fmla="*/ 1221127 w 4519987"/>
              <a:gd name="connsiteY54" fmla="*/ 4200525 h 4487372"/>
              <a:gd name="connsiteX55" fmla="*/ 1144927 w 4519987"/>
              <a:gd name="connsiteY55" fmla="*/ 4171950 h 4487372"/>
              <a:gd name="connsiteX56" fmla="*/ 1087777 w 4519987"/>
              <a:gd name="connsiteY56" fmla="*/ 4143375 h 4487372"/>
              <a:gd name="connsiteX57" fmla="*/ 1030627 w 4519987"/>
              <a:gd name="connsiteY57" fmla="*/ 4124325 h 4487372"/>
              <a:gd name="connsiteX58" fmla="*/ 925852 w 4519987"/>
              <a:gd name="connsiteY58" fmla="*/ 4067175 h 4487372"/>
              <a:gd name="connsiteX59" fmla="*/ 830602 w 4519987"/>
              <a:gd name="connsiteY59" fmla="*/ 3981450 h 4487372"/>
              <a:gd name="connsiteX60" fmla="*/ 763927 w 4519987"/>
              <a:gd name="connsiteY60" fmla="*/ 3914775 h 4487372"/>
              <a:gd name="connsiteX61" fmla="*/ 725827 w 4519987"/>
              <a:gd name="connsiteY61" fmla="*/ 3876675 h 4487372"/>
              <a:gd name="connsiteX62" fmla="*/ 697252 w 4519987"/>
              <a:gd name="connsiteY62" fmla="*/ 3838575 h 4487372"/>
              <a:gd name="connsiteX63" fmla="*/ 640102 w 4519987"/>
              <a:gd name="connsiteY63" fmla="*/ 3781425 h 4487372"/>
              <a:gd name="connsiteX64" fmla="*/ 611527 w 4519987"/>
              <a:gd name="connsiteY64" fmla="*/ 3733800 h 4487372"/>
              <a:gd name="connsiteX65" fmla="*/ 554377 w 4519987"/>
              <a:gd name="connsiteY65" fmla="*/ 3657600 h 4487372"/>
              <a:gd name="connsiteX66" fmla="*/ 525802 w 4519987"/>
              <a:gd name="connsiteY66" fmla="*/ 3609975 h 4487372"/>
              <a:gd name="connsiteX67" fmla="*/ 497227 w 4519987"/>
              <a:gd name="connsiteY67" fmla="*/ 3552825 h 4487372"/>
              <a:gd name="connsiteX68" fmla="*/ 440077 w 4519987"/>
              <a:gd name="connsiteY68" fmla="*/ 3495675 h 4487372"/>
              <a:gd name="connsiteX69" fmla="*/ 411502 w 4519987"/>
              <a:gd name="connsiteY69" fmla="*/ 3448050 h 4487372"/>
              <a:gd name="connsiteX70" fmla="*/ 278152 w 4519987"/>
              <a:gd name="connsiteY70" fmla="*/ 3257550 h 4487372"/>
              <a:gd name="connsiteX71" fmla="*/ 249577 w 4519987"/>
              <a:gd name="connsiteY71" fmla="*/ 3200400 h 4487372"/>
              <a:gd name="connsiteX72" fmla="*/ 240052 w 4519987"/>
              <a:gd name="connsiteY72" fmla="*/ 3162300 h 4487372"/>
              <a:gd name="connsiteX73" fmla="*/ 221002 w 4519987"/>
              <a:gd name="connsiteY73" fmla="*/ 3105150 h 4487372"/>
              <a:gd name="connsiteX74" fmla="*/ 173377 w 4519987"/>
              <a:gd name="connsiteY74" fmla="*/ 3019425 h 4487372"/>
              <a:gd name="connsiteX75" fmla="*/ 144802 w 4519987"/>
              <a:gd name="connsiteY75" fmla="*/ 2924175 h 4487372"/>
              <a:gd name="connsiteX76" fmla="*/ 68602 w 4519987"/>
              <a:gd name="connsiteY76" fmla="*/ 2724150 h 4487372"/>
              <a:gd name="connsiteX77" fmla="*/ 49552 w 4519987"/>
              <a:gd name="connsiteY77" fmla="*/ 2638425 h 4487372"/>
              <a:gd name="connsiteX78" fmla="*/ 40027 w 4519987"/>
              <a:gd name="connsiteY78" fmla="*/ 2562225 h 4487372"/>
              <a:gd name="connsiteX79" fmla="*/ 30502 w 4519987"/>
              <a:gd name="connsiteY79" fmla="*/ 2514600 h 4487372"/>
              <a:gd name="connsiteX80" fmla="*/ 11452 w 4519987"/>
              <a:gd name="connsiteY80" fmla="*/ 2400300 h 4487372"/>
              <a:gd name="connsiteX81" fmla="*/ 20977 w 4519987"/>
              <a:gd name="connsiteY81" fmla="*/ 1905000 h 4487372"/>
              <a:gd name="connsiteX82" fmla="*/ 30502 w 4519987"/>
              <a:gd name="connsiteY82" fmla="*/ 1838325 h 4487372"/>
              <a:gd name="connsiteX83" fmla="*/ 49552 w 4519987"/>
              <a:gd name="connsiteY83" fmla="*/ 1781175 h 4487372"/>
              <a:gd name="connsiteX84" fmla="*/ 59077 w 4519987"/>
              <a:gd name="connsiteY84" fmla="*/ 1743075 h 4487372"/>
              <a:gd name="connsiteX85" fmla="*/ 78127 w 4519987"/>
              <a:gd name="connsiteY85" fmla="*/ 1685925 h 4487372"/>
              <a:gd name="connsiteX86" fmla="*/ 87652 w 4519987"/>
              <a:gd name="connsiteY86" fmla="*/ 1638300 h 4487372"/>
              <a:gd name="connsiteX87" fmla="*/ 106702 w 4519987"/>
              <a:gd name="connsiteY87" fmla="*/ 1590675 h 4487372"/>
              <a:gd name="connsiteX88" fmla="*/ 135277 w 4519987"/>
              <a:gd name="connsiteY88" fmla="*/ 1504950 h 4487372"/>
              <a:gd name="connsiteX89" fmla="*/ 154327 w 4519987"/>
              <a:gd name="connsiteY89" fmla="*/ 1419225 h 4487372"/>
              <a:gd name="connsiteX90" fmla="*/ 230527 w 4519987"/>
              <a:gd name="connsiteY90" fmla="*/ 1276350 h 4487372"/>
              <a:gd name="connsiteX91" fmla="*/ 240052 w 4519987"/>
              <a:gd name="connsiteY91" fmla="*/ 1247775 h 4487372"/>
              <a:gd name="connsiteX92" fmla="*/ 268627 w 4519987"/>
              <a:gd name="connsiteY92" fmla="*/ 1200150 h 4487372"/>
              <a:gd name="connsiteX93" fmla="*/ 287677 w 4519987"/>
              <a:gd name="connsiteY93" fmla="*/ 1152525 h 4487372"/>
              <a:gd name="connsiteX94" fmla="*/ 316252 w 4519987"/>
              <a:gd name="connsiteY94" fmla="*/ 1114425 h 4487372"/>
              <a:gd name="connsiteX95" fmla="*/ 363877 w 4519987"/>
              <a:gd name="connsiteY95" fmla="*/ 1038225 h 4487372"/>
              <a:gd name="connsiteX96" fmla="*/ 382927 w 4519987"/>
              <a:gd name="connsiteY96" fmla="*/ 1009650 h 4487372"/>
              <a:gd name="connsiteX97" fmla="*/ 440077 w 4519987"/>
              <a:gd name="connsiteY97" fmla="*/ 904875 h 4487372"/>
              <a:gd name="connsiteX98" fmla="*/ 478177 w 4519987"/>
              <a:gd name="connsiteY98" fmla="*/ 857250 h 4487372"/>
              <a:gd name="connsiteX99" fmla="*/ 497227 w 4519987"/>
              <a:gd name="connsiteY99" fmla="*/ 828675 h 4487372"/>
              <a:gd name="connsiteX100" fmla="*/ 535327 w 4519987"/>
              <a:gd name="connsiteY100" fmla="*/ 800100 h 4487372"/>
              <a:gd name="connsiteX101" fmla="*/ 602002 w 4519987"/>
              <a:gd name="connsiteY101" fmla="*/ 733425 h 4487372"/>
              <a:gd name="connsiteX102" fmla="*/ 668677 w 4519987"/>
              <a:gd name="connsiteY102" fmla="*/ 676275 h 4487372"/>
              <a:gd name="connsiteX103" fmla="*/ 697252 w 4519987"/>
              <a:gd name="connsiteY103" fmla="*/ 657225 h 4487372"/>
              <a:gd name="connsiteX104" fmla="*/ 840127 w 4519987"/>
              <a:gd name="connsiteY104" fmla="*/ 533400 h 4487372"/>
              <a:gd name="connsiteX105" fmla="*/ 887752 w 4519987"/>
              <a:gd name="connsiteY105" fmla="*/ 504825 h 4487372"/>
              <a:gd name="connsiteX106" fmla="*/ 1167152 w 4519987"/>
              <a:gd name="connsiteY106" fmla="*/ 311150 h 4487372"/>
              <a:gd name="connsiteX107" fmla="*/ 1268752 w 4519987"/>
              <a:gd name="connsiteY107" fmla="*/ 285750 h 4487372"/>
              <a:gd name="connsiteX108" fmla="*/ 1411627 w 4519987"/>
              <a:gd name="connsiteY108" fmla="*/ 190500 h 4487372"/>
              <a:gd name="connsiteX109" fmla="*/ 1449727 w 4519987"/>
              <a:gd name="connsiteY109" fmla="*/ 161925 h 4487372"/>
              <a:gd name="connsiteX110" fmla="*/ 1525927 w 4519987"/>
              <a:gd name="connsiteY110" fmla="*/ 152400 h 4487372"/>
              <a:gd name="connsiteX111" fmla="*/ 1583077 w 4519987"/>
              <a:gd name="connsiteY111" fmla="*/ 142875 h 4487372"/>
              <a:gd name="connsiteX112" fmla="*/ 1716427 w 4519987"/>
              <a:gd name="connsiteY112" fmla="*/ 123825 h 4487372"/>
              <a:gd name="connsiteX113" fmla="*/ 1811677 w 4519987"/>
              <a:gd name="connsiteY113" fmla="*/ 114300 h 4487372"/>
              <a:gd name="connsiteX114" fmla="*/ 1859302 w 4519987"/>
              <a:gd name="connsiteY114" fmla="*/ 104775 h 4487372"/>
              <a:gd name="connsiteX115" fmla="*/ 1916452 w 4519987"/>
              <a:gd name="connsiteY115" fmla="*/ 95250 h 4487372"/>
              <a:gd name="connsiteX116" fmla="*/ 2030752 w 4519987"/>
              <a:gd name="connsiteY116" fmla="*/ 66675 h 4487372"/>
              <a:gd name="connsiteX117" fmla="*/ 2097427 w 4519987"/>
              <a:gd name="connsiteY117" fmla="*/ 47625 h 4487372"/>
              <a:gd name="connsiteX118" fmla="*/ 2164102 w 4519987"/>
              <a:gd name="connsiteY118" fmla="*/ 38100 h 4487372"/>
              <a:gd name="connsiteX119" fmla="*/ 2392702 w 4519987"/>
              <a:gd name="connsiteY119" fmla="*/ 28575 h 4487372"/>
              <a:gd name="connsiteX0" fmla="*/ 2297452 w 4519987"/>
              <a:gd name="connsiteY0" fmla="*/ 0 h 4476750"/>
              <a:gd name="connsiteX1" fmla="*/ 2421277 w 4519987"/>
              <a:gd name="connsiteY1" fmla="*/ 28575 h 4476750"/>
              <a:gd name="connsiteX2" fmla="*/ 2497477 w 4519987"/>
              <a:gd name="connsiteY2" fmla="*/ 47625 h 4476750"/>
              <a:gd name="connsiteX3" fmla="*/ 2754652 w 4519987"/>
              <a:gd name="connsiteY3" fmla="*/ 66675 h 4476750"/>
              <a:gd name="connsiteX4" fmla="*/ 2830852 w 4519987"/>
              <a:gd name="connsiteY4" fmla="*/ 76200 h 4476750"/>
              <a:gd name="connsiteX5" fmla="*/ 2916577 w 4519987"/>
              <a:gd name="connsiteY5" fmla="*/ 85725 h 4476750"/>
              <a:gd name="connsiteX6" fmla="*/ 2973727 w 4519987"/>
              <a:gd name="connsiteY6" fmla="*/ 114300 h 4476750"/>
              <a:gd name="connsiteX7" fmla="*/ 3011827 w 4519987"/>
              <a:gd name="connsiteY7" fmla="*/ 123825 h 4476750"/>
              <a:gd name="connsiteX8" fmla="*/ 3135652 w 4519987"/>
              <a:gd name="connsiteY8" fmla="*/ 171450 h 4476750"/>
              <a:gd name="connsiteX9" fmla="*/ 3173752 w 4519987"/>
              <a:gd name="connsiteY9" fmla="*/ 190500 h 4476750"/>
              <a:gd name="connsiteX10" fmla="*/ 3240427 w 4519987"/>
              <a:gd name="connsiteY10" fmla="*/ 228600 h 4476750"/>
              <a:gd name="connsiteX11" fmla="*/ 3269002 w 4519987"/>
              <a:gd name="connsiteY11" fmla="*/ 238125 h 4476750"/>
              <a:gd name="connsiteX12" fmla="*/ 3297577 w 4519987"/>
              <a:gd name="connsiteY12" fmla="*/ 257175 h 4476750"/>
              <a:gd name="connsiteX13" fmla="*/ 3326152 w 4519987"/>
              <a:gd name="connsiteY13" fmla="*/ 266700 h 4476750"/>
              <a:gd name="connsiteX14" fmla="*/ 3354727 w 4519987"/>
              <a:gd name="connsiteY14" fmla="*/ 285750 h 4476750"/>
              <a:gd name="connsiteX15" fmla="*/ 3421402 w 4519987"/>
              <a:gd name="connsiteY15" fmla="*/ 323850 h 4476750"/>
              <a:gd name="connsiteX16" fmla="*/ 3469027 w 4519987"/>
              <a:gd name="connsiteY16" fmla="*/ 361950 h 4476750"/>
              <a:gd name="connsiteX17" fmla="*/ 3516652 w 4519987"/>
              <a:gd name="connsiteY17" fmla="*/ 390525 h 4476750"/>
              <a:gd name="connsiteX18" fmla="*/ 3630952 w 4519987"/>
              <a:gd name="connsiteY18" fmla="*/ 485775 h 4476750"/>
              <a:gd name="connsiteX19" fmla="*/ 3745252 w 4519987"/>
              <a:gd name="connsiteY19" fmla="*/ 542925 h 4476750"/>
              <a:gd name="connsiteX20" fmla="*/ 3811927 w 4519987"/>
              <a:gd name="connsiteY20" fmla="*/ 581025 h 4476750"/>
              <a:gd name="connsiteX21" fmla="*/ 4027827 w 4519987"/>
              <a:gd name="connsiteY21" fmla="*/ 819150 h 4476750"/>
              <a:gd name="connsiteX22" fmla="*/ 4164352 w 4519987"/>
              <a:gd name="connsiteY22" fmla="*/ 990600 h 4476750"/>
              <a:gd name="connsiteX23" fmla="*/ 4250077 w 4519987"/>
              <a:gd name="connsiteY23" fmla="*/ 1143000 h 4476750"/>
              <a:gd name="connsiteX24" fmla="*/ 4307227 w 4519987"/>
              <a:gd name="connsiteY24" fmla="*/ 1266825 h 4476750"/>
              <a:gd name="connsiteX25" fmla="*/ 4345327 w 4519987"/>
              <a:gd name="connsiteY25" fmla="*/ 1362075 h 4476750"/>
              <a:gd name="connsiteX26" fmla="*/ 4392952 w 4519987"/>
              <a:gd name="connsiteY26" fmla="*/ 1552575 h 4476750"/>
              <a:gd name="connsiteX27" fmla="*/ 4431052 w 4519987"/>
              <a:gd name="connsiteY27" fmla="*/ 1685925 h 4476750"/>
              <a:gd name="connsiteX28" fmla="*/ 4519952 w 4519987"/>
              <a:gd name="connsiteY28" fmla="*/ 2181225 h 4476750"/>
              <a:gd name="connsiteX29" fmla="*/ 4446927 w 4519987"/>
              <a:gd name="connsiteY29" fmla="*/ 2768600 h 4476750"/>
              <a:gd name="connsiteX30" fmla="*/ 4383427 w 4519987"/>
              <a:gd name="connsiteY30" fmla="*/ 2990850 h 4476750"/>
              <a:gd name="connsiteX31" fmla="*/ 4278652 w 4519987"/>
              <a:gd name="connsiteY31" fmla="*/ 3248025 h 4476750"/>
              <a:gd name="connsiteX32" fmla="*/ 4183402 w 4519987"/>
              <a:gd name="connsiteY32" fmla="*/ 3400425 h 4476750"/>
              <a:gd name="connsiteX33" fmla="*/ 4059577 w 4519987"/>
              <a:gd name="connsiteY33" fmla="*/ 3533775 h 4476750"/>
              <a:gd name="connsiteX34" fmla="*/ 3954802 w 4519987"/>
              <a:gd name="connsiteY34" fmla="*/ 3648075 h 4476750"/>
              <a:gd name="connsiteX35" fmla="*/ 3659527 w 4519987"/>
              <a:gd name="connsiteY35" fmla="*/ 3971925 h 4476750"/>
              <a:gd name="connsiteX36" fmla="*/ 3516652 w 4519987"/>
              <a:gd name="connsiteY36" fmla="*/ 4083050 h 4476750"/>
              <a:gd name="connsiteX37" fmla="*/ 3221377 w 4519987"/>
              <a:gd name="connsiteY37" fmla="*/ 4222750 h 4476750"/>
              <a:gd name="connsiteX38" fmla="*/ 3068977 w 4519987"/>
              <a:gd name="connsiteY38" fmla="*/ 4286250 h 4476750"/>
              <a:gd name="connsiteX39" fmla="*/ 2935627 w 4519987"/>
              <a:gd name="connsiteY39" fmla="*/ 4333875 h 4476750"/>
              <a:gd name="connsiteX40" fmla="*/ 2811802 w 4519987"/>
              <a:gd name="connsiteY40" fmla="*/ 4371975 h 4476750"/>
              <a:gd name="connsiteX41" fmla="*/ 2745127 w 4519987"/>
              <a:gd name="connsiteY41" fmla="*/ 4410075 h 4476750"/>
              <a:gd name="connsiteX42" fmla="*/ 2640352 w 4519987"/>
              <a:gd name="connsiteY42" fmla="*/ 4457700 h 4476750"/>
              <a:gd name="connsiteX43" fmla="*/ 2306977 w 4519987"/>
              <a:gd name="connsiteY43" fmla="*/ 4476750 h 4476750"/>
              <a:gd name="connsiteX44" fmla="*/ 2202202 w 4519987"/>
              <a:gd name="connsiteY44" fmla="*/ 4457700 h 4476750"/>
              <a:gd name="connsiteX45" fmla="*/ 2126002 w 4519987"/>
              <a:gd name="connsiteY45" fmla="*/ 4429125 h 4476750"/>
              <a:gd name="connsiteX46" fmla="*/ 1935502 w 4519987"/>
              <a:gd name="connsiteY46" fmla="*/ 4400550 h 4476750"/>
              <a:gd name="connsiteX47" fmla="*/ 1821202 w 4519987"/>
              <a:gd name="connsiteY47" fmla="*/ 4371975 h 4476750"/>
              <a:gd name="connsiteX48" fmla="*/ 1754527 w 4519987"/>
              <a:gd name="connsiteY48" fmla="*/ 4352925 h 4476750"/>
              <a:gd name="connsiteX49" fmla="*/ 1687852 w 4519987"/>
              <a:gd name="connsiteY49" fmla="*/ 4343400 h 4476750"/>
              <a:gd name="connsiteX50" fmla="*/ 1573552 w 4519987"/>
              <a:gd name="connsiteY50" fmla="*/ 4305300 h 4476750"/>
              <a:gd name="connsiteX51" fmla="*/ 1402102 w 4519987"/>
              <a:gd name="connsiteY51" fmla="*/ 4276725 h 4476750"/>
              <a:gd name="connsiteX52" fmla="*/ 1287802 w 4519987"/>
              <a:gd name="connsiteY52" fmla="*/ 4229100 h 4476750"/>
              <a:gd name="connsiteX53" fmla="*/ 1221127 w 4519987"/>
              <a:gd name="connsiteY53" fmla="*/ 4200525 h 4476750"/>
              <a:gd name="connsiteX54" fmla="*/ 1144927 w 4519987"/>
              <a:gd name="connsiteY54" fmla="*/ 4171950 h 4476750"/>
              <a:gd name="connsiteX55" fmla="*/ 1087777 w 4519987"/>
              <a:gd name="connsiteY55" fmla="*/ 4143375 h 4476750"/>
              <a:gd name="connsiteX56" fmla="*/ 1030627 w 4519987"/>
              <a:gd name="connsiteY56" fmla="*/ 4124325 h 4476750"/>
              <a:gd name="connsiteX57" fmla="*/ 925852 w 4519987"/>
              <a:gd name="connsiteY57" fmla="*/ 4067175 h 4476750"/>
              <a:gd name="connsiteX58" fmla="*/ 830602 w 4519987"/>
              <a:gd name="connsiteY58" fmla="*/ 3981450 h 4476750"/>
              <a:gd name="connsiteX59" fmla="*/ 763927 w 4519987"/>
              <a:gd name="connsiteY59" fmla="*/ 3914775 h 4476750"/>
              <a:gd name="connsiteX60" fmla="*/ 725827 w 4519987"/>
              <a:gd name="connsiteY60" fmla="*/ 3876675 h 4476750"/>
              <a:gd name="connsiteX61" fmla="*/ 697252 w 4519987"/>
              <a:gd name="connsiteY61" fmla="*/ 3838575 h 4476750"/>
              <a:gd name="connsiteX62" fmla="*/ 640102 w 4519987"/>
              <a:gd name="connsiteY62" fmla="*/ 3781425 h 4476750"/>
              <a:gd name="connsiteX63" fmla="*/ 611527 w 4519987"/>
              <a:gd name="connsiteY63" fmla="*/ 3733800 h 4476750"/>
              <a:gd name="connsiteX64" fmla="*/ 554377 w 4519987"/>
              <a:gd name="connsiteY64" fmla="*/ 3657600 h 4476750"/>
              <a:gd name="connsiteX65" fmla="*/ 525802 w 4519987"/>
              <a:gd name="connsiteY65" fmla="*/ 3609975 h 4476750"/>
              <a:gd name="connsiteX66" fmla="*/ 497227 w 4519987"/>
              <a:gd name="connsiteY66" fmla="*/ 3552825 h 4476750"/>
              <a:gd name="connsiteX67" fmla="*/ 440077 w 4519987"/>
              <a:gd name="connsiteY67" fmla="*/ 3495675 h 4476750"/>
              <a:gd name="connsiteX68" fmla="*/ 411502 w 4519987"/>
              <a:gd name="connsiteY68" fmla="*/ 3448050 h 4476750"/>
              <a:gd name="connsiteX69" fmla="*/ 278152 w 4519987"/>
              <a:gd name="connsiteY69" fmla="*/ 3257550 h 4476750"/>
              <a:gd name="connsiteX70" fmla="*/ 249577 w 4519987"/>
              <a:gd name="connsiteY70" fmla="*/ 3200400 h 4476750"/>
              <a:gd name="connsiteX71" fmla="*/ 240052 w 4519987"/>
              <a:gd name="connsiteY71" fmla="*/ 3162300 h 4476750"/>
              <a:gd name="connsiteX72" fmla="*/ 221002 w 4519987"/>
              <a:gd name="connsiteY72" fmla="*/ 3105150 h 4476750"/>
              <a:gd name="connsiteX73" fmla="*/ 173377 w 4519987"/>
              <a:gd name="connsiteY73" fmla="*/ 3019425 h 4476750"/>
              <a:gd name="connsiteX74" fmla="*/ 144802 w 4519987"/>
              <a:gd name="connsiteY74" fmla="*/ 2924175 h 4476750"/>
              <a:gd name="connsiteX75" fmla="*/ 68602 w 4519987"/>
              <a:gd name="connsiteY75" fmla="*/ 2724150 h 4476750"/>
              <a:gd name="connsiteX76" fmla="*/ 49552 w 4519987"/>
              <a:gd name="connsiteY76" fmla="*/ 2638425 h 4476750"/>
              <a:gd name="connsiteX77" fmla="*/ 40027 w 4519987"/>
              <a:gd name="connsiteY77" fmla="*/ 2562225 h 4476750"/>
              <a:gd name="connsiteX78" fmla="*/ 30502 w 4519987"/>
              <a:gd name="connsiteY78" fmla="*/ 2514600 h 4476750"/>
              <a:gd name="connsiteX79" fmla="*/ 11452 w 4519987"/>
              <a:gd name="connsiteY79" fmla="*/ 2400300 h 4476750"/>
              <a:gd name="connsiteX80" fmla="*/ 20977 w 4519987"/>
              <a:gd name="connsiteY80" fmla="*/ 1905000 h 4476750"/>
              <a:gd name="connsiteX81" fmla="*/ 30502 w 4519987"/>
              <a:gd name="connsiteY81" fmla="*/ 1838325 h 4476750"/>
              <a:gd name="connsiteX82" fmla="*/ 49552 w 4519987"/>
              <a:gd name="connsiteY82" fmla="*/ 1781175 h 4476750"/>
              <a:gd name="connsiteX83" fmla="*/ 59077 w 4519987"/>
              <a:gd name="connsiteY83" fmla="*/ 1743075 h 4476750"/>
              <a:gd name="connsiteX84" fmla="*/ 78127 w 4519987"/>
              <a:gd name="connsiteY84" fmla="*/ 1685925 h 4476750"/>
              <a:gd name="connsiteX85" fmla="*/ 87652 w 4519987"/>
              <a:gd name="connsiteY85" fmla="*/ 1638300 h 4476750"/>
              <a:gd name="connsiteX86" fmla="*/ 106702 w 4519987"/>
              <a:gd name="connsiteY86" fmla="*/ 1590675 h 4476750"/>
              <a:gd name="connsiteX87" fmla="*/ 135277 w 4519987"/>
              <a:gd name="connsiteY87" fmla="*/ 1504950 h 4476750"/>
              <a:gd name="connsiteX88" fmla="*/ 154327 w 4519987"/>
              <a:gd name="connsiteY88" fmla="*/ 1419225 h 4476750"/>
              <a:gd name="connsiteX89" fmla="*/ 230527 w 4519987"/>
              <a:gd name="connsiteY89" fmla="*/ 1276350 h 4476750"/>
              <a:gd name="connsiteX90" fmla="*/ 240052 w 4519987"/>
              <a:gd name="connsiteY90" fmla="*/ 1247775 h 4476750"/>
              <a:gd name="connsiteX91" fmla="*/ 268627 w 4519987"/>
              <a:gd name="connsiteY91" fmla="*/ 1200150 h 4476750"/>
              <a:gd name="connsiteX92" fmla="*/ 287677 w 4519987"/>
              <a:gd name="connsiteY92" fmla="*/ 1152525 h 4476750"/>
              <a:gd name="connsiteX93" fmla="*/ 316252 w 4519987"/>
              <a:gd name="connsiteY93" fmla="*/ 1114425 h 4476750"/>
              <a:gd name="connsiteX94" fmla="*/ 363877 w 4519987"/>
              <a:gd name="connsiteY94" fmla="*/ 1038225 h 4476750"/>
              <a:gd name="connsiteX95" fmla="*/ 382927 w 4519987"/>
              <a:gd name="connsiteY95" fmla="*/ 1009650 h 4476750"/>
              <a:gd name="connsiteX96" fmla="*/ 440077 w 4519987"/>
              <a:gd name="connsiteY96" fmla="*/ 904875 h 4476750"/>
              <a:gd name="connsiteX97" fmla="*/ 478177 w 4519987"/>
              <a:gd name="connsiteY97" fmla="*/ 857250 h 4476750"/>
              <a:gd name="connsiteX98" fmla="*/ 497227 w 4519987"/>
              <a:gd name="connsiteY98" fmla="*/ 828675 h 4476750"/>
              <a:gd name="connsiteX99" fmla="*/ 535327 w 4519987"/>
              <a:gd name="connsiteY99" fmla="*/ 800100 h 4476750"/>
              <a:gd name="connsiteX100" fmla="*/ 602002 w 4519987"/>
              <a:gd name="connsiteY100" fmla="*/ 733425 h 4476750"/>
              <a:gd name="connsiteX101" fmla="*/ 668677 w 4519987"/>
              <a:gd name="connsiteY101" fmla="*/ 676275 h 4476750"/>
              <a:gd name="connsiteX102" fmla="*/ 697252 w 4519987"/>
              <a:gd name="connsiteY102" fmla="*/ 657225 h 4476750"/>
              <a:gd name="connsiteX103" fmla="*/ 840127 w 4519987"/>
              <a:gd name="connsiteY103" fmla="*/ 533400 h 4476750"/>
              <a:gd name="connsiteX104" fmla="*/ 887752 w 4519987"/>
              <a:gd name="connsiteY104" fmla="*/ 504825 h 4476750"/>
              <a:gd name="connsiteX105" fmla="*/ 1167152 w 4519987"/>
              <a:gd name="connsiteY105" fmla="*/ 311150 h 4476750"/>
              <a:gd name="connsiteX106" fmla="*/ 1268752 w 4519987"/>
              <a:gd name="connsiteY106" fmla="*/ 285750 h 4476750"/>
              <a:gd name="connsiteX107" fmla="*/ 1411627 w 4519987"/>
              <a:gd name="connsiteY107" fmla="*/ 190500 h 4476750"/>
              <a:gd name="connsiteX108" fmla="*/ 1449727 w 4519987"/>
              <a:gd name="connsiteY108" fmla="*/ 161925 h 4476750"/>
              <a:gd name="connsiteX109" fmla="*/ 1525927 w 4519987"/>
              <a:gd name="connsiteY109" fmla="*/ 152400 h 4476750"/>
              <a:gd name="connsiteX110" fmla="*/ 1583077 w 4519987"/>
              <a:gd name="connsiteY110" fmla="*/ 142875 h 4476750"/>
              <a:gd name="connsiteX111" fmla="*/ 1716427 w 4519987"/>
              <a:gd name="connsiteY111" fmla="*/ 123825 h 4476750"/>
              <a:gd name="connsiteX112" fmla="*/ 1811677 w 4519987"/>
              <a:gd name="connsiteY112" fmla="*/ 114300 h 4476750"/>
              <a:gd name="connsiteX113" fmla="*/ 1859302 w 4519987"/>
              <a:gd name="connsiteY113" fmla="*/ 104775 h 4476750"/>
              <a:gd name="connsiteX114" fmla="*/ 1916452 w 4519987"/>
              <a:gd name="connsiteY114" fmla="*/ 95250 h 4476750"/>
              <a:gd name="connsiteX115" fmla="*/ 2030752 w 4519987"/>
              <a:gd name="connsiteY115" fmla="*/ 66675 h 4476750"/>
              <a:gd name="connsiteX116" fmla="*/ 2097427 w 4519987"/>
              <a:gd name="connsiteY116" fmla="*/ 47625 h 4476750"/>
              <a:gd name="connsiteX117" fmla="*/ 2164102 w 4519987"/>
              <a:gd name="connsiteY117" fmla="*/ 38100 h 4476750"/>
              <a:gd name="connsiteX118" fmla="*/ 2392702 w 4519987"/>
              <a:gd name="connsiteY118" fmla="*/ 28575 h 4476750"/>
              <a:gd name="connsiteX0" fmla="*/ 2297452 w 4519987"/>
              <a:gd name="connsiteY0" fmla="*/ 0 h 4478541"/>
              <a:gd name="connsiteX1" fmla="*/ 2421277 w 4519987"/>
              <a:gd name="connsiteY1" fmla="*/ 28575 h 4478541"/>
              <a:gd name="connsiteX2" fmla="*/ 2497477 w 4519987"/>
              <a:gd name="connsiteY2" fmla="*/ 47625 h 4478541"/>
              <a:gd name="connsiteX3" fmla="*/ 2754652 w 4519987"/>
              <a:gd name="connsiteY3" fmla="*/ 66675 h 4478541"/>
              <a:gd name="connsiteX4" fmla="*/ 2830852 w 4519987"/>
              <a:gd name="connsiteY4" fmla="*/ 76200 h 4478541"/>
              <a:gd name="connsiteX5" fmla="*/ 2916577 w 4519987"/>
              <a:gd name="connsiteY5" fmla="*/ 85725 h 4478541"/>
              <a:gd name="connsiteX6" fmla="*/ 2973727 w 4519987"/>
              <a:gd name="connsiteY6" fmla="*/ 114300 h 4478541"/>
              <a:gd name="connsiteX7" fmla="*/ 3011827 w 4519987"/>
              <a:gd name="connsiteY7" fmla="*/ 123825 h 4478541"/>
              <a:gd name="connsiteX8" fmla="*/ 3135652 w 4519987"/>
              <a:gd name="connsiteY8" fmla="*/ 171450 h 4478541"/>
              <a:gd name="connsiteX9" fmla="*/ 3173752 w 4519987"/>
              <a:gd name="connsiteY9" fmla="*/ 190500 h 4478541"/>
              <a:gd name="connsiteX10" fmla="*/ 3240427 w 4519987"/>
              <a:gd name="connsiteY10" fmla="*/ 228600 h 4478541"/>
              <a:gd name="connsiteX11" fmla="*/ 3269002 w 4519987"/>
              <a:gd name="connsiteY11" fmla="*/ 238125 h 4478541"/>
              <a:gd name="connsiteX12" fmla="*/ 3297577 w 4519987"/>
              <a:gd name="connsiteY12" fmla="*/ 257175 h 4478541"/>
              <a:gd name="connsiteX13" fmla="*/ 3326152 w 4519987"/>
              <a:gd name="connsiteY13" fmla="*/ 266700 h 4478541"/>
              <a:gd name="connsiteX14" fmla="*/ 3354727 w 4519987"/>
              <a:gd name="connsiteY14" fmla="*/ 285750 h 4478541"/>
              <a:gd name="connsiteX15" fmla="*/ 3421402 w 4519987"/>
              <a:gd name="connsiteY15" fmla="*/ 323850 h 4478541"/>
              <a:gd name="connsiteX16" fmla="*/ 3469027 w 4519987"/>
              <a:gd name="connsiteY16" fmla="*/ 361950 h 4478541"/>
              <a:gd name="connsiteX17" fmla="*/ 3516652 w 4519987"/>
              <a:gd name="connsiteY17" fmla="*/ 390525 h 4478541"/>
              <a:gd name="connsiteX18" fmla="*/ 3630952 w 4519987"/>
              <a:gd name="connsiteY18" fmla="*/ 485775 h 4478541"/>
              <a:gd name="connsiteX19" fmla="*/ 3745252 w 4519987"/>
              <a:gd name="connsiteY19" fmla="*/ 542925 h 4478541"/>
              <a:gd name="connsiteX20" fmla="*/ 3811927 w 4519987"/>
              <a:gd name="connsiteY20" fmla="*/ 581025 h 4478541"/>
              <a:gd name="connsiteX21" fmla="*/ 4027827 w 4519987"/>
              <a:gd name="connsiteY21" fmla="*/ 819150 h 4478541"/>
              <a:gd name="connsiteX22" fmla="*/ 4164352 w 4519987"/>
              <a:gd name="connsiteY22" fmla="*/ 990600 h 4478541"/>
              <a:gd name="connsiteX23" fmla="*/ 4250077 w 4519987"/>
              <a:gd name="connsiteY23" fmla="*/ 1143000 h 4478541"/>
              <a:gd name="connsiteX24" fmla="*/ 4307227 w 4519987"/>
              <a:gd name="connsiteY24" fmla="*/ 1266825 h 4478541"/>
              <a:gd name="connsiteX25" fmla="*/ 4345327 w 4519987"/>
              <a:gd name="connsiteY25" fmla="*/ 1362075 h 4478541"/>
              <a:gd name="connsiteX26" fmla="*/ 4392952 w 4519987"/>
              <a:gd name="connsiteY26" fmla="*/ 1552575 h 4478541"/>
              <a:gd name="connsiteX27" fmla="*/ 4431052 w 4519987"/>
              <a:gd name="connsiteY27" fmla="*/ 1685925 h 4478541"/>
              <a:gd name="connsiteX28" fmla="*/ 4519952 w 4519987"/>
              <a:gd name="connsiteY28" fmla="*/ 2181225 h 4478541"/>
              <a:gd name="connsiteX29" fmla="*/ 4446927 w 4519987"/>
              <a:gd name="connsiteY29" fmla="*/ 2768600 h 4478541"/>
              <a:gd name="connsiteX30" fmla="*/ 4383427 w 4519987"/>
              <a:gd name="connsiteY30" fmla="*/ 2990850 h 4478541"/>
              <a:gd name="connsiteX31" fmla="*/ 4278652 w 4519987"/>
              <a:gd name="connsiteY31" fmla="*/ 3248025 h 4478541"/>
              <a:gd name="connsiteX32" fmla="*/ 4183402 w 4519987"/>
              <a:gd name="connsiteY32" fmla="*/ 3400425 h 4478541"/>
              <a:gd name="connsiteX33" fmla="*/ 4059577 w 4519987"/>
              <a:gd name="connsiteY33" fmla="*/ 3533775 h 4478541"/>
              <a:gd name="connsiteX34" fmla="*/ 3954802 w 4519987"/>
              <a:gd name="connsiteY34" fmla="*/ 3648075 h 4478541"/>
              <a:gd name="connsiteX35" fmla="*/ 3659527 w 4519987"/>
              <a:gd name="connsiteY35" fmla="*/ 3971925 h 4478541"/>
              <a:gd name="connsiteX36" fmla="*/ 3516652 w 4519987"/>
              <a:gd name="connsiteY36" fmla="*/ 4083050 h 4478541"/>
              <a:gd name="connsiteX37" fmla="*/ 3221377 w 4519987"/>
              <a:gd name="connsiteY37" fmla="*/ 4222750 h 4478541"/>
              <a:gd name="connsiteX38" fmla="*/ 3068977 w 4519987"/>
              <a:gd name="connsiteY38" fmla="*/ 4286250 h 4478541"/>
              <a:gd name="connsiteX39" fmla="*/ 2935627 w 4519987"/>
              <a:gd name="connsiteY39" fmla="*/ 4333875 h 4478541"/>
              <a:gd name="connsiteX40" fmla="*/ 2811802 w 4519987"/>
              <a:gd name="connsiteY40" fmla="*/ 4371975 h 4478541"/>
              <a:gd name="connsiteX41" fmla="*/ 2745127 w 4519987"/>
              <a:gd name="connsiteY41" fmla="*/ 4410075 h 4478541"/>
              <a:gd name="connsiteX42" fmla="*/ 2306977 w 4519987"/>
              <a:gd name="connsiteY42" fmla="*/ 4476750 h 4478541"/>
              <a:gd name="connsiteX43" fmla="*/ 2202202 w 4519987"/>
              <a:gd name="connsiteY43" fmla="*/ 4457700 h 4478541"/>
              <a:gd name="connsiteX44" fmla="*/ 2126002 w 4519987"/>
              <a:gd name="connsiteY44" fmla="*/ 4429125 h 4478541"/>
              <a:gd name="connsiteX45" fmla="*/ 1935502 w 4519987"/>
              <a:gd name="connsiteY45" fmla="*/ 4400550 h 4478541"/>
              <a:gd name="connsiteX46" fmla="*/ 1821202 w 4519987"/>
              <a:gd name="connsiteY46" fmla="*/ 4371975 h 4478541"/>
              <a:gd name="connsiteX47" fmla="*/ 1754527 w 4519987"/>
              <a:gd name="connsiteY47" fmla="*/ 4352925 h 4478541"/>
              <a:gd name="connsiteX48" fmla="*/ 1687852 w 4519987"/>
              <a:gd name="connsiteY48" fmla="*/ 4343400 h 4478541"/>
              <a:gd name="connsiteX49" fmla="*/ 1573552 w 4519987"/>
              <a:gd name="connsiteY49" fmla="*/ 4305300 h 4478541"/>
              <a:gd name="connsiteX50" fmla="*/ 1402102 w 4519987"/>
              <a:gd name="connsiteY50" fmla="*/ 4276725 h 4478541"/>
              <a:gd name="connsiteX51" fmla="*/ 1287802 w 4519987"/>
              <a:gd name="connsiteY51" fmla="*/ 4229100 h 4478541"/>
              <a:gd name="connsiteX52" fmla="*/ 1221127 w 4519987"/>
              <a:gd name="connsiteY52" fmla="*/ 4200525 h 4478541"/>
              <a:gd name="connsiteX53" fmla="*/ 1144927 w 4519987"/>
              <a:gd name="connsiteY53" fmla="*/ 4171950 h 4478541"/>
              <a:gd name="connsiteX54" fmla="*/ 1087777 w 4519987"/>
              <a:gd name="connsiteY54" fmla="*/ 4143375 h 4478541"/>
              <a:gd name="connsiteX55" fmla="*/ 1030627 w 4519987"/>
              <a:gd name="connsiteY55" fmla="*/ 4124325 h 4478541"/>
              <a:gd name="connsiteX56" fmla="*/ 925852 w 4519987"/>
              <a:gd name="connsiteY56" fmla="*/ 4067175 h 4478541"/>
              <a:gd name="connsiteX57" fmla="*/ 830602 w 4519987"/>
              <a:gd name="connsiteY57" fmla="*/ 3981450 h 4478541"/>
              <a:gd name="connsiteX58" fmla="*/ 763927 w 4519987"/>
              <a:gd name="connsiteY58" fmla="*/ 3914775 h 4478541"/>
              <a:gd name="connsiteX59" fmla="*/ 725827 w 4519987"/>
              <a:gd name="connsiteY59" fmla="*/ 3876675 h 4478541"/>
              <a:gd name="connsiteX60" fmla="*/ 697252 w 4519987"/>
              <a:gd name="connsiteY60" fmla="*/ 3838575 h 4478541"/>
              <a:gd name="connsiteX61" fmla="*/ 640102 w 4519987"/>
              <a:gd name="connsiteY61" fmla="*/ 3781425 h 4478541"/>
              <a:gd name="connsiteX62" fmla="*/ 611527 w 4519987"/>
              <a:gd name="connsiteY62" fmla="*/ 3733800 h 4478541"/>
              <a:gd name="connsiteX63" fmla="*/ 554377 w 4519987"/>
              <a:gd name="connsiteY63" fmla="*/ 3657600 h 4478541"/>
              <a:gd name="connsiteX64" fmla="*/ 525802 w 4519987"/>
              <a:gd name="connsiteY64" fmla="*/ 3609975 h 4478541"/>
              <a:gd name="connsiteX65" fmla="*/ 497227 w 4519987"/>
              <a:gd name="connsiteY65" fmla="*/ 3552825 h 4478541"/>
              <a:gd name="connsiteX66" fmla="*/ 440077 w 4519987"/>
              <a:gd name="connsiteY66" fmla="*/ 3495675 h 4478541"/>
              <a:gd name="connsiteX67" fmla="*/ 411502 w 4519987"/>
              <a:gd name="connsiteY67" fmla="*/ 3448050 h 4478541"/>
              <a:gd name="connsiteX68" fmla="*/ 278152 w 4519987"/>
              <a:gd name="connsiteY68" fmla="*/ 3257550 h 4478541"/>
              <a:gd name="connsiteX69" fmla="*/ 249577 w 4519987"/>
              <a:gd name="connsiteY69" fmla="*/ 3200400 h 4478541"/>
              <a:gd name="connsiteX70" fmla="*/ 240052 w 4519987"/>
              <a:gd name="connsiteY70" fmla="*/ 3162300 h 4478541"/>
              <a:gd name="connsiteX71" fmla="*/ 221002 w 4519987"/>
              <a:gd name="connsiteY71" fmla="*/ 3105150 h 4478541"/>
              <a:gd name="connsiteX72" fmla="*/ 173377 w 4519987"/>
              <a:gd name="connsiteY72" fmla="*/ 3019425 h 4478541"/>
              <a:gd name="connsiteX73" fmla="*/ 144802 w 4519987"/>
              <a:gd name="connsiteY73" fmla="*/ 2924175 h 4478541"/>
              <a:gd name="connsiteX74" fmla="*/ 68602 w 4519987"/>
              <a:gd name="connsiteY74" fmla="*/ 2724150 h 4478541"/>
              <a:gd name="connsiteX75" fmla="*/ 49552 w 4519987"/>
              <a:gd name="connsiteY75" fmla="*/ 2638425 h 4478541"/>
              <a:gd name="connsiteX76" fmla="*/ 40027 w 4519987"/>
              <a:gd name="connsiteY76" fmla="*/ 2562225 h 4478541"/>
              <a:gd name="connsiteX77" fmla="*/ 30502 w 4519987"/>
              <a:gd name="connsiteY77" fmla="*/ 2514600 h 4478541"/>
              <a:gd name="connsiteX78" fmla="*/ 11452 w 4519987"/>
              <a:gd name="connsiteY78" fmla="*/ 2400300 h 4478541"/>
              <a:gd name="connsiteX79" fmla="*/ 20977 w 4519987"/>
              <a:gd name="connsiteY79" fmla="*/ 1905000 h 4478541"/>
              <a:gd name="connsiteX80" fmla="*/ 30502 w 4519987"/>
              <a:gd name="connsiteY80" fmla="*/ 1838325 h 4478541"/>
              <a:gd name="connsiteX81" fmla="*/ 49552 w 4519987"/>
              <a:gd name="connsiteY81" fmla="*/ 1781175 h 4478541"/>
              <a:gd name="connsiteX82" fmla="*/ 59077 w 4519987"/>
              <a:gd name="connsiteY82" fmla="*/ 1743075 h 4478541"/>
              <a:gd name="connsiteX83" fmla="*/ 78127 w 4519987"/>
              <a:gd name="connsiteY83" fmla="*/ 1685925 h 4478541"/>
              <a:gd name="connsiteX84" fmla="*/ 87652 w 4519987"/>
              <a:gd name="connsiteY84" fmla="*/ 1638300 h 4478541"/>
              <a:gd name="connsiteX85" fmla="*/ 106702 w 4519987"/>
              <a:gd name="connsiteY85" fmla="*/ 1590675 h 4478541"/>
              <a:gd name="connsiteX86" fmla="*/ 135277 w 4519987"/>
              <a:gd name="connsiteY86" fmla="*/ 1504950 h 4478541"/>
              <a:gd name="connsiteX87" fmla="*/ 154327 w 4519987"/>
              <a:gd name="connsiteY87" fmla="*/ 1419225 h 4478541"/>
              <a:gd name="connsiteX88" fmla="*/ 230527 w 4519987"/>
              <a:gd name="connsiteY88" fmla="*/ 1276350 h 4478541"/>
              <a:gd name="connsiteX89" fmla="*/ 240052 w 4519987"/>
              <a:gd name="connsiteY89" fmla="*/ 1247775 h 4478541"/>
              <a:gd name="connsiteX90" fmla="*/ 268627 w 4519987"/>
              <a:gd name="connsiteY90" fmla="*/ 1200150 h 4478541"/>
              <a:gd name="connsiteX91" fmla="*/ 287677 w 4519987"/>
              <a:gd name="connsiteY91" fmla="*/ 1152525 h 4478541"/>
              <a:gd name="connsiteX92" fmla="*/ 316252 w 4519987"/>
              <a:gd name="connsiteY92" fmla="*/ 1114425 h 4478541"/>
              <a:gd name="connsiteX93" fmla="*/ 363877 w 4519987"/>
              <a:gd name="connsiteY93" fmla="*/ 1038225 h 4478541"/>
              <a:gd name="connsiteX94" fmla="*/ 382927 w 4519987"/>
              <a:gd name="connsiteY94" fmla="*/ 1009650 h 4478541"/>
              <a:gd name="connsiteX95" fmla="*/ 440077 w 4519987"/>
              <a:gd name="connsiteY95" fmla="*/ 904875 h 4478541"/>
              <a:gd name="connsiteX96" fmla="*/ 478177 w 4519987"/>
              <a:gd name="connsiteY96" fmla="*/ 857250 h 4478541"/>
              <a:gd name="connsiteX97" fmla="*/ 497227 w 4519987"/>
              <a:gd name="connsiteY97" fmla="*/ 828675 h 4478541"/>
              <a:gd name="connsiteX98" fmla="*/ 535327 w 4519987"/>
              <a:gd name="connsiteY98" fmla="*/ 800100 h 4478541"/>
              <a:gd name="connsiteX99" fmla="*/ 602002 w 4519987"/>
              <a:gd name="connsiteY99" fmla="*/ 733425 h 4478541"/>
              <a:gd name="connsiteX100" fmla="*/ 668677 w 4519987"/>
              <a:gd name="connsiteY100" fmla="*/ 676275 h 4478541"/>
              <a:gd name="connsiteX101" fmla="*/ 697252 w 4519987"/>
              <a:gd name="connsiteY101" fmla="*/ 657225 h 4478541"/>
              <a:gd name="connsiteX102" fmla="*/ 840127 w 4519987"/>
              <a:gd name="connsiteY102" fmla="*/ 533400 h 4478541"/>
              <a:gd name="connsiteX103" fmla="*/ 887752 w 4519987"/>
              <a:gd name="connsiteY103" fmla="*/ 504825 h 4478541"/>
              <a:gd name="connsiteX104" fmla="*/ 1167152 w 4519987"/>
              <a:gd name="connsiteY104" fmla="*/ 311150 h 4478541"/>
              <a:gd name="connsiteX105" fmla="*/ 1268752 w 4519987"/>
              <a:gd name="connsiteY105" fmla="*/ 285750 h 4478541"/>
              <a:gd name="connsiteX106" fmla="*/ 1411627 w 4519987"/>
              <a:gd name="connsiteY106" fmla="*/ 190500 h 4478541"/>
              <a:gd name="connsiteX107" fmla="*/ 1449727 w 4519987"/>
              <a:gd name="connsiteY107" fmla="*/ 161925 h 4478541"/>
              <a:gd name="connsiteX108" fmla="*/ 1525927 w 4519987"/>
              <a:gd name="connsiteY108" fmla="*/ 152400 h 4478541"/>
              <a:gd name="connsiteX109" fmla="*/ 1583077 w 4519987"/>
              <a:gd name="connsiteY109" fmla="*/ 142875 h 4478541"/>
              <a:gd name="connsiteX110" fmla="*/ 1716427 w 4519987"/>
              <a:gd name="connsiteY110" fmla="*/ 123825 h 4478541"/>
              <a:gd name="connsiteX111" fmla="*/ 1811677 w 4519987"/>
              <a:gd name="connsiteY111" fmla="*/ 114300 h 4478541"/>
              <a:gd name="connsiteX112" fmla="*/ 1859302 w 4519987"/>
              <a:gd name="connsiteY112" fmla="*/ 104775 h 4478541"/>
              <a:gd name="connsiteX113" fmla="*/ 1916452 w 4519987"/>
              <a:gd name="connsiteY113" fmla="*/ 95250 h 4478541"/>
              <a:gd name="connsiteX114" fmla="*/ 2030752 w 4519987"/>
              <a:gd name="connsiteY114" fmla="*/ 66675 h 4478541"/>
              <a:gd name="connsiteX115" fmla="*/ 2097427 w 4519987"/>
              <a:gd name="connsiteY115" fmla="*/ 47625 h 4478541"/>
              <a:gd name="connsiteX116" fmla="*/ 2164102 w 4519987"/>
              <a:gd name="connsiteY116" fmla="*/ 38100 h 4478541"/>
              <a:gd name="connsiteX117" fmla="*/ 2392702 w 4519987"/>
              <a:gd name="connsiteY117" fmla="*/ 28575 h 4478541"/>
              <a:gd name="connsiteX0" fmla="*/ 2297452 w 4519987"/>
              <a:gd name="connsiteY0" fmla="*/ 0 h 4476750"/>
              <a:gd name="connsiteX1" fmla="*/ 2421277 w 4519987"/>
              <a:gd name="connsiteY1" fmla="*/ 28575 h 4476750"/>
              <a:gd name="connsiteX2" fmla="*/ 2497477 w 4519987"/>
              <a:gd name="connsiteY2" fmla="*/ 47625 h 4476750"/>
              <a:gd name="connsiteX3" fmla="*/ 2754652 w 4519987"/>
              <a:gd name="connsiteY3" fmla="*/ 66675 h 4476750"/>
              <a:gd name="connsiteX4" fmla="*/ 2830852 w 4519987"/>
              <a:gd name="connsiteY4" fmla="*/ 76200 h 4476750"/>
              <a:gd name="connsiteX5" fmla="*/ 2916577 w 4519987"/>
              <a:gd name="connsiteY5" fmla="*/ 85725 h 4476750"/>
              <a:gd name="connsiteX6" fmla="*/ 2973727 w 4519987"/>
              <a:gd name="connsiteY6" fmla="*/ 114300 h 4476750"/>
              <a:gd name="connsiteX7" fmla="*/ 3011827 w 4519987"/>
              <a:gd name="connsiteY7" fmla="*/ 123825 h 4476750"/>
              <a:gd name="connsiteX8" fmla="*/ 3135652 w 4519987"/>
              <a:gd name="connsiteY8" fmla="*/ 171450 h 4476750"/>
              <a:gd name="connsiteX9" fmla="*/ 3173752 w 4519987"/>
              <a:gd name="connsiteY9" fmla="*/ 190500 h 4476750"/>
              <a:gd name="connsiteX10" fmla="*/ 3240427 w 4519987"/>
              <a:gd name="connsiteY10" fmla="*/ 228600 h 4476750"/>
              <a:gd name="connsiteX11" fmla="*/ 3269002 w 4519987"/>
              <a:gd name="connsiteY11" fmla="*/ 238125 h 4476750"/>
              <a:gd name="connsiteX12" fmla="*/ 3297577 w 4519987"/>
              <a:gd name="connsiteY12" fmla="*/ 257175 h 4476750"/>
              <a:gd name="connsiteX13" fmla="*/ 3326152 w 4519987"/>
              <a:gd name="connsiteY13" fmla="*/ 266700 h 4476750"/>
              <a:gd name="connsiteX14" fmla="*/ 3354727 w 4519987"/>
              <a:gd name="connsiteY14" fmla="*/ 285750 h 4476750"/>
              <a:gd name="connsiteX15" fmla="*/ 3421402 w 4519987"/>
              <a:gd name="connsiteY15" fmla="*/ 323850 h 4476750"/>
              <a:gd name="connsiteX16" fmla="*/ 3469027 w 4519987"/>
              <a:gd name="connsiteY16" fmla="*/ 361950 h 4476750"/>
              <a:gd name="connsiteX17" fmla="*/ 3516652 w 4519987"/>
              <a:gd name="connsiteY17" fmla="*/ 390525 h 4476750"/>
              <a:gd name="connsiteX18" fmla="*/ 3630952 w 4519987"/>
              <a:gd name="connsiteY18" fmla="*/ 485775 h 4476750"/>
              <a:gd name="connsiteX19" fmla="*/ 3745252 w 4519987"/>
              <a:gd name="connsiteY19" fmla="*/ 542925 h 4476750"/>
              <a:gd name="connsiteX20" fmla="*/ 3811927 w 4519987"/>
              <a:gd name="connsiteY20" fmla="*/ 581025 h 4476750"/>
              <a:gd name="connsiteX21" fmla="*/ 4027827 w 4519987"/>
              <a:gd name="connsiteY21" fmla="*/ 819150 h 4476750"/>
              <a:gd name="connsiteX22" fmla="*/ 4164352 w 4519987"/>
              <a:gd name="connsiteY22" fmla="*/ 990600 h 4476750"/>
              <a:gd name="connsiteX23" fmla="*/ 4250077 w 4519987"/>
              <a:gd name="connsiteY23" fmla="*/ 1143000 h 4476750"/>
              <a:gd name="connsiteX24" fmla="*/ 4307227 w 4519987"/>
              <a:gd name="connsiteY24" fmla="*/ 1266825 h 4476750"/>
              <a:gd name="connsiteX25" fmla="*/ 4345327 w 4519987"/>
              <a:gd name="connsiteY25" fmla="*/ 1362075 h 4476750"/>
              <a:gd name="connsiteX26" fmla="*/ 4392952 w 4519987"/>
              <a:gd name="connsiteY26" fmla="*/ 1552575 h 4476750"/>
              <a:gd name="connsiteX27" fmla="*/ 4431052 w 4519987"/>
              <a:gd name="connsiteY27" fmla="*/ 1685925 h 4476750"/>
              <a:gd name="connsiteX28" fmla="*/ 4519952 w 4519987"/>
              <a:gd name="connsiteY28" fmla="*/ 2181225 h 4476750"/>
              <a:gd name="connsiteX29" fmla="*/ 4446927 w 4519987"/>
              <a:gd name="connsiteY29" fmla="*/ 2768600 h 4476750"/>
              <a:gd name="connsiteX30" fmla="*/ 4383427 w 4519987"/>
              <a:gd name="connsiteY30" fmla="*/ 2990850 h 4476750"/>
              <a:gd name="connsiteX31" fmla="*/ 4278652 w 4519987"/>
              <a:gd name="connsiteY31" fmla="*/ 3248025 h 4476750"/>
              <a:gd name="connsiteX32" fmla="*/ 4183402 w 4519987"/>
              <a:gd name="connsiteY32" fmla="*/ 3400425 h 4476750"/>
              <a:gd name="connsiteX33" fmla="*/ 4059577 w 4519987"/>
              <a:gd name="connsiteY33" fmla="*/ 3533775 h 4476750"/>
              <a:gd name="connsiteX34" fmla="*/ 3954802 w 4519987"/>
              <a:gd name="connsiteY34" fmla="*/ 3648075 h 4476750"/>
              <a:gd name="connsiteX35" fmla="*/ 3659527 w 4519987"/>
              <a:gd name="connsiteY35" fmla="*/ 3971925 h 4476750"/>
              <a:gd name="connsiteX36" fmla="*/ 3516652 w 4519987"/>
              <a:gd name="connsiteY36" fmla="*/ 4083050 h 4476750"/>
              <a:gd name="connsiteX37" fmla="*/ 3221377 w 4519987"/>
              <a:gd name="connsiteY37" fmla="*/ 4222750 h 4476750"/>
              <a:gd name="connsiteX38" fmla="*/ 3068977 w 4519987"/>
              <a:gd name="connsiteY38" fmla="*/ 4286250 h 4476750"/>
              <a:gd name="connsiteX39" fmla="*/ 2935627 w 4519987"/>
              <a:gd name="connsiteY39" fmla="*/ 4333875 h 4476750"/>
              <a:gd name="connsiteX40" fmla="*/ 2811802 w 4519987"/>
              <a:gd name="connsiteY40" fmla="*/ 4371975 h 4476750"/>
              <a:gd name="connsiteX41" fmla="*/ 2580027 w 4519987"/>
              <a:gd name="connsiteY41" fmla="*/ 4391025 h 4476750"/>
              <a:gd name="connsiteX42" fmla="*/ 2306977 w 4519987"/>
              <a:gd name="connsiteY42" fmla="*/ 4476750 h 4476750"/>
              <a:gd name="connsiteX43" fmla="*/ 2202202 w 4519987"/>
              <a:gd name="connsiteY43" fmla="*/ 4457700 h 4476750"/>
              <a:gd name="connsiteX44" fmla="*/ 2126002 w 4519987"/>
              <a:gd name="connsiteY44" fmla="*/ 4429125 h 4476750"/>
              <a:gd name="connsiteX45" fmla="*/ 1935502 w 4519987"/>
              <a:gd name="connsiteY45" fmla="*/ 4400550 h 4476750"/>
              <a:gd name="connsiteX46" fmla="*/ 1821202 w 4519987"/>
              <a:gd name="connsiteY46" fmla="*/ 4371975 h 4476750"/>
              <a:gd name="connsiteX47" fmla="*/ 1754527 w 4519987"/>
              <a:gd name="connsiteY47" fmla="*/ 4352925 h 4476750"/>
              <a:gd name="connsiteX48" fmla="*/ 1687852 w 4519987"/>
              <a:gd name="connsiteY48" fmla="*/ 4343400 h 4476750"/>
              <a:gd name="connsiteX49" fmla="*/ 1573552 w 4519987"/>
              <a:gd name="connsiteY49" fmla="*/ 4305300 h 4476750"/>
              <a:gd name="connsiteX50" fmla="*/ 1402102 w 4519987"/>
              <a:gd name="connsiteY50" fmla="*/ 4276725 h 4476750"/>
              <a:gd name="connsiteX51" fmla="*/ 1287802 w 4519987"/>
              <a:gd name="connsiteY51" fmla="*/ 4229100 h 4476750"/>
              <a:gd name="connsiteX52" fmla="*/ 1221127 w 4519987"/>
              <a:gd name="connsiteY52" fmla="*/ 4200525 h 4476750"/>
              <a:gd name="connsiteX53" fmla="*/ 1144927 w 4519987"/>
              <a:gd name="connsiteY53" fmla="*/ 4171950 h 4476750"/>
              <a:gd name="connsiteX54" fmla="*/ 1087777 w 4519987"/>
              <a:gd name="connsiteY54" fmla="*/ 4143375 h 4476750"/>
              <a:gd name="connsiteX55" fmla="*/ 1030627 w 4519987"/>
              <a:gd name="connsiteY55" fmla="*/ 4124325 h 4476750"/>
              <a:gd name="connsiteX56" fmla="*/ 925852 w 4519987"/>
              <a:gd name="connsiteY56" fmla="*/ 4067175 h 4476750"/>
              <a:gd name="connsiteX57" fmla="*/ 830602 w 4519987"/>
              <a:gd name="connsiteY57" fmla="*/ 3981450 h 4476750"/>
              <a:gd name="connsiteX58" fmla="*/ 763927 w 4519987"/>
              <a:gd name="connsiteY58" fmla="*/ 3914775 h 4476750"/>
              <a:gd name="connsiteX59" fmla="*/ 725827 w 4519987"/>
              <a:gd name="connsiteY59" fmla="*/ 3876675 h 4476750"/>
              <a:gd name="connsiteX60" fmla="*/ 697252 w 4519987"/>
              <a:gd name="connsiteY60" fmla="*/ 3838575 h 4476750"/>
              <a:gd name="connsiteX61" fmla="*/ 640102 w 4519987"/>
              <a:gd name="connsiteY61" fmla="*/ 3781425 h 4476750"/>
              <a:gd name="connsiteX62" fmla="*/ 611527 w 4519987"/>
              <a:gd name="connsiteY62" fmla="*/ 3733800 h 4476750"/>
              <a:gd name="connsiteX63" fmla="*/ 554377 w 4519987"/>
              <a:gd name="connsiteY63" fmla="*/ 3657600 h 4476750"/>
              <a:gd name="connsiteX64" fmla="*/ 525802 w 4519987"/>
              <a:gd name="connsiteY64" fmla="*/ 3609975 h 4476750"/>
              <a:gd name="connsiteX65" fmla="*/ 497227 w 4519987"/>
              <a:gd name="connsiteY65" fmla="*/ 3552825 h 4476750"/>
              <a:gd name="connsiteX66" fmla="*/ 440077 w 4519987"/>
              <a:gd name="connsiteY66" fmla="*/ 3495675 h 4476750"/>
              <a:gd name="connsiteX67" fmla="*/ 411502 w 4519987"/>
              <a:gd name="connsiteY67" fmla="*/ 3448050 h 4476750"/>
              <a:gd name="connsiteX68" fmla="*/ 278152 w 4519987"/>
              <a:gd name="connsiteY68" fmla="*/ 3257550 h 4476750"/>
              <a:gd name="connsiteX69" fmla="*/ 249577 w 4519987"/>
              <a:gd name="connsiteY69" fmla="*/ 3200400 h 4476750"/>
              <a:gd name="connsiteX70" fmla="*/ 240052 w 4519987"/>
              <a:gd name="connsiteY70" fmla="*/ 3162300 h 4476750"/>
              <a:gd name="connsiteX71" fmla="*/ 221002 w 4519987"/>
              <a:gd name="connsiteY71" fmla="*/ 3105150 h 4476750"/>
              <a:gd name="connsiteX72" fmla="*/ 173377 w 4519987"/>
              <a:gd name="connsiteY72" fmla="*/ 3019425 h 4476750"/>
              <a:gd name="connsiteX73" fmla="*/ 144802 w 4519987"/>
              <a:gd name="connsiteY73" fmla="*/ 2924175 h 4476750"/>
              <a:gd name="connsiteX74" fmla="*/ 68602 w 4519987"/>
              <a:gd name="connsiteY74" fmla="*/ 2724150 h 4476750"/>
              <a:gd name="connsiteX75" fmla="*/ 49552 w 4519987"/>
              <a:gd name="connsiteY75" fmla="*/ 2638425 h 4476750"/>
              <a:gd name="connsiteX76" fmla="*/ 40027 w 4519987"/>
              <a:gd name="connsiteY76" fmla="*/ 2562225 h 4476750"/>
              <a:gd name="connsiteX77" fmla="*/ 30502 w 4519987"/>
              <a:gd name="connsiteY77" fmla="*/ 2514600 h 4476750"/>
              <a:gd name="connsiteX78" fmla="*/ 11452 w 4519987"/>
              <a:gd name="connsiteY78" fmla="*/ 2400300 h 4476750"/>
              <a:gd name="connsiteX79" fmla="*/ 20977 w 4519987"/>
              <a:gd name="connsiteY79" fmla="*/ 1905000 h 4476750"/>
              <a:gd name="connsiteX80" fmla="*/ 30502 w 4519987"/>
              <a:gd name="connsiteY80" fmla="*/ 1838325 h 4476750"/>
              <a:gd name="connsiteX81" fmla="*/ 49552 w 4519987"/>
              <a:gd name="connsiteY81" fmla="*/ 1781175 h 4476750"/>
              <a:gd name="connsiteX82" fmla="*/ 59077 w 4519987"/>
              <a:gd name="connsiteY82" fmla="*/ 1743075 h 4476750"/>
              <a:gd name="connsiteX83" fmla="*/ 78127 w 4519987"/>
              <a:gd name="connsiteY83" fmla="*/ 1685925 h 4476750"/>
              <a:gd name="connsiteX84" fmla="*/ 87652 w 4519987"/>
              <a:gd name="connsiteY84" fmla="*/ 1638300 h 4476750"/>
              <a:gd name="connsiteX85" fmla="*/ 106702 w 4519987"/>
              <a:gd name="connsiteY85" fmla="*/ 1590675 h 4476750"/>
              <a:gd name="connsiteX86" fmla="*/ 135277 w 4519987"/>
              <a:gd name="connsiteY86" fmla="*/ 1504950 h 4476750"/>
              <a:gd name="connsiteX87" fmla="*/ 154327 w 4519987"/>
              <a:gd name="connsiteY87" fmla="*/ 1419225 h 4476750"/>
              <a:gd name="connsiteX88" fmla="*/ 230527 w 4519987"/>
              <a:gd name="connsiteY88" fmla="*/ 1276350 h 4476750"/>
              <a:gd name="connsiteX89" fmla="*/ 240052 w 4519987"/>
              <a:gd name="connsiteY89" fmla="*/ 1247775 h 4476750"/>
              <a:gd name="connsiteX90" fmla="*/ 268627 w 4519987"/>
              <a:gd name="connsiteY90" fmla="*/ 1200150 h 4476750"/>
              <a:gd name="connsiteX91" fmla="*/ 287677 w 4519987"/>
              <a:gd name="connsiteY91" fmla="*/ 1152525 h 4476750"/>
              <a:gd name="connsiteX92" fmla="*/ 316252 w 4519987"/>
              <a:gd name="connsiteY92" fmla="*/ 1114425 h 4476750"/>
              <a:gd name="connsiteX93" fmla="*/ 363877 w 4519987"/>
              <a:gd name="connsiteY93" fmla="*/ 1038225 h 4476750"/>
              <a:gd name="connsiteX94" fmla="*/ 382927 w 4519987"/>
              <a:gd name="connsiteY94" fmla="*/ 1009650 h 4476750"/>
              <a:gd name="connsiteX95" fmla="*/ 440077 w 4519987"/>
              <a:gd name="connsiteY95" fmla="*/ 904875 h 4476750"/>
              <a:gd name="connsiteX96" fmla="*/ 478177 w 4519987"/>
              <a:gd name="connsiteY96" fmla="*/ 857250 h 4476750"/>
              <a:gd name="connsiteX97" fmla="*/ 497227 w 4519987"/>
              <a:gd name="connsiteY97" fmla="*/ 828675 h 4476750"/>
              <a:gd name="connsiteX98" fmla="*/ 535327 w 4519987"/>
              <a:gd name="connsiteY98" fmla="*/ 800100 h 4476750"/>
              <a:gd name="connsiteX99" fmla="*/ 602002 w 4519987"/>
              <a:gd name="connsiteY99" fmla="*/ 733425 h 4476750"/>
              <a:gd name="connsiteX100" fmla="*/ 668677 w 4519987"/>
              <a:gd name="connsiteY100" fmla="*/ 676275 h 4476750"/>
              <a:gd name="connsiteX101" fmla="*/ 697252 w 4519987"/>
              <a:gd name="connsiteY101" fmla="*/ 657225 h 4476750"/>
              <a:gd name="connsiteX102" fmla="*/ 840127 w 4519987"/>
              <a:gd name="connsiteY102" fmla="*/ 533400 h 4476750"/>
              <a:gd name="connsiteX103" fmla="*/ 887752 w 4519987"/>
              <a:gd name="connsiteY103" fmla="*/ 504825 h 4476750"/>
              <a:gd name="connsiteX104" fmla="*/ 1167152 w 4519987"/>
              <a:gd name="connsiteY104" fmla="*/ 311150 h 4476750"/>
              <a:gd name="connsiteX105" fmla="*/ 1268752 w 4519987"/>
              <a:gd name="connsiteY105" fmla="*/ 285750 h 4476750"/>
              <a:gd name="connsiteX106" fmla="*/ 1411627 w 4519987"/>
              <a:gd name="connsiteY106" fmla="*/ 190500 h 4476750"/>
              <a:gd name="connsiteX107" fmla="*/ 1449727 w 4519987"/>
              <a:gd name="connsiteY107" fmla="*/ 161925 h 4476750"/>
              <a:gd name="connsiteX108" fmla="*/ 1525927 w 4519987"/>
              <a:gd name="connsiteY108" fmla="*/ 152400 h 4476750"/>
              <a:gd name="connsiteX109" fmla="*/ 1583077 w 4519987"/>
              <a:gd name="connsiteY109" fmla="*/ 142875 h 4476750"/>
              <a:gd name="connsiteX110" fmla="*/ 1716427 w 4519987"/>
              <a:gd name="connsiteY110" fmla="*/ 123825 h 4476750"/>
              <a:gd name="connsiteX111" fmla="*/ 1811677 w 4519987"/>
              <a:gd name="connsiteY111" fmla="*/ 114300 h 4476750"/>
              <a:gd name="connsiteX112" fmla="*/ 1859302 w 4519987"/>
              <a:gd name="connsiteY112" fmla="*/ 104775 h 4476750"/>
              <a:gd name="connsiteX113" fmla="*/ 1916452 w 4519987"/>
              <a:gd name="connsiteY113" fmla="*/ 95250 h 4476750"/>
              <a:gd name="connsiteX114" fmla="*/ 2030752 w 4519987"/>
              <a:gd name="connsiteY114" fmla="*/ 66675 h 4476750"/>
              <a:gd name="connsiteX115" fmla="*/ 2097427 w 4519987"/>
              <a:gd name="connsiteY115" fmla="*/ 47625 h 4476750"/>
              <a:gd name="connsiteX116" fmla="*/ 2164102 w 4519987"/>
              <a:gd name="connsiteY116" fmla="*/ 38100 h 4476750"/>
              <a:gd name="connsiteX117" fmla="*/ 2392702 w 4519987"/>
              <a:gd name="connsiteY117" fmla="*/ 28575 h 4476750"/>
              <a:gd name="connsiteX0" fmla="*/ 2297452 w 4519987"/>
              <a:gd name="connsiteY0" fmla="*/ 0 h 4457700"/>
              <a:gd name="connsiteX1" fmla="*/ 2421277 w 4519987"/>
              <a:gd name="connsiteY1" fmla="*/ 28575 h 4457700"/>
              <a:gd name="connsiteX2" fmla="*/ 2497477 w 4519987"/>
              <a:gd name="connsiteY2" fmla="*/ 47625 h 4457700"/>
              <a:gd name="connsiteX3" fmla="*/ 2754652 w 4519987"/>
              <a:gd name="connsiteY3" fmla="*/ 66675 h 4457700"/>
              <a:gd name="connsiteX4" fmla="*/ 2830852 w 4519987"/>
              <a:gd name="connsiteY4" fmla="*/ 76200 h 4457700"/>
              <a:gd name="connsiteX5" fmla="*/ 2916577 w 4519987"/>
              <a:gd name="connsiteY5" fmla="*/ 85725 h 4457700"/>
              <a:gd name="connsiteX6" fmla="*/ 2973727 w 4519987"/>
              <a:gd name="connsiteY6" fmla="*/ 114300 h 4457700"/>
              <a:gd name="connsiteX7" fmla="*/ 3011827 w 4519987"/>
              <a:gd name="connsiteY7" fmla="*/ 123825 h 4457700"/>
              <a:gd name="connsiteX8" fmla="*/ 3135652 w 4519987"/>
              <a:gd name="connsiteY8" fmla="*/ 171450 h 4457700"/>
              <a:gd name="connsiteX9" fmla="*/ 3173752 w 4519987"/>
              <a:gd name="connsiteY9" fmla="*/ 190500 h 4457700"/>
              <a:gd name="connsiteX10" fmla="*/ 3240427 w 4519987"/>
              <a:gd name="connsiteY10" fmla="*/ 228600 h 4457700"/>
              <a:gd name="connsiteX11" fmla="*/ 3269002 w 4519987"/>
              <a:gd name="connsiteY11" fmla="*/ 238125 h 4457700"/>
              <a:gd name="connsiteX12" fmla="*/ 3297577 w 4519987"/>
              <a:gd name="connsiteY12" fmla="*/ 257175 h 4457700"/>
              <a:gd name="connsiteX13" fmla="*/ 3326152 w 4519987"/>
              <a:gd name="connsiteY13" fmla="*/ 266700 h 4457700"/>
              <a:gd name="connsiteX14" fmla="*/ 3354727 w 4519987"/>
              <a:gd name="connsiteY14" fmla="*/ 285750 h 4457700"/>
              <a:gd name="connsiteX15" fmla="*/ 3421402 w 4519987"/>
              <a:gd name="connsiteY15" fmla="*/ 323850 h 4457700"/>
              <a:gd name="connsiteX16" fmla="*/ 3469027 w 4519987"/>
              <a:gd name="connsiteY16" fmla="*/ 361950 h 4457700"/>
              <a:gd name="connsiteX17" fmla="*/ 3516652 w 4519987"/>
              <a:gd name="connsiteY17" fmla="*/ 390525 h 4457700"/>
              <a:gd name="connsiteX18" fmla="*/ 3630952 w 4519987"/>
              <a:gd name="connsiteY18" fmla="*/ 485775 h 4457700"/>
              <a:gd name="connsiteX19" fmla="*/ 3745252 w 4519987"/>
              <a:gd name="connsiteY19" fmla="*/ 542925 h 4457700"/>
              <a:gd name="connsiteX20" fmla="*/ 3811927 w 4519987"/>
              <a:gd name="connsiteY20" fmla="*/ 581025 h 4457700"/>
              <a:gd name="connsiteX21" fmla="*/ 4027827 w 4519987"/>
              <a:gd name="connsiteY21" fmla="*/ 819150 h 4457700"/>
              <a:gd name="connsiteX22" fmla="*/ 4164352 w 4519987"/>
              <a:gd name="connsiteY22" fmla="*/ 990600 h 4457700"/>
              <a:gd name="connsiteX23" fmla="*/ 4250077 w 4519987"/>
              <a:gd name="connsiteY23" fmla="*/ 1143000 h 4457700"/>
              <a:gd name="connsiteX24" fmla="*/ 4307227 w 4519987"/>
              <a:gd name="connsiteY24" fmla="*/ 1266825 h 4457700"/>
              <a:gd name="connsiteX25" fmla="*/ 4345327 w 4519987"/>
              <a:gd name="connsiteY25" fmla="*/ 1362075 h 4457700"/>
              <a:gd name="connsiteX26" fmla="*/ 4392952 w 4519987"/>
              <a:gd name="connsiteY26" fmla="*/ 1552575 h 4457700"/>
              <a:gd name="connsiteX27" fmla="*/ 4431052 w 4519987"/>
              <a:gd name="connsiteY27" fmla="*/ 1685925 h 4457700"/>
              <a:gd name="connsiteX28" fmla="*/ 4519952 w 4519987"/>
              <a:gd name="connsiteY28" fmla="*/ 2181225 h 4457700"/>
              <a:gd name="connsiteX29" fmla="*/ 4446927 w 4519987"/>
              <a:gd name="connsiteY29" fmla="*/ 2768600 h 4457700"/>
              <a:gd name="connsiteX30" fmla="*/ 4383427 w 4519987"/>
              <a:gd name="connsiteY30" fmla="*/ 2990850 h 4457700"/>
              <a:gd name="connsiteX31" fmla="*/ 4278652 w 4519987"/>
              <a:gd name="connsiteY31" fmla="*/ 3248025 h 4457700"/>
              <a:gd name="connsiteX32" fmla="*/ 4183402 w 4519987"/>
              <a:gd name="connsiteY32" fmla="*/ 3400425 h 4457700"/>
              <a:gd name="connsiteX33" fmla="*/ 4059577 w 4519987"/>
              <a:gd name="connsiteY33" fmla="*/ 3533775 h 4457700"/>
              <a:gd name="connsiteX34" fmla="*/ 3954802 w 4519987"/>
              <a:gd name="connsiteY34" fmla="*/ 3648075 h 4457700"/>
              <a:gd name="connsiteX35" fmla="*/ 3659527 w 4519987"/>
              <a:gd name="connsiteY35" fmla="*/ 3971925 h 4457700"/>
              <a:gd name="connsiteX36" fmla="*/ 3516652 w 4519987"/>
              <a:gd name="connsiteY36" fmla="*/ 4083050 h 4457700"/>
              <a:gd name="connsiteX37" fmla="*/ 3221377 w 4519987"/>
              <a:gd name="connsiteY37" fmla="*/ 4222750 h 4457700"/>
              <a:gd name="connsiteX38" fmla="*/ 3068977 w 4519987"/>
              <a:gd name="connsiteY38" fmla="*/ 4286250 h 4457700"/>
              <a:gd name="connsiteX39" fmla="*/ 2935627 w 4519987"/>
              <a:gd name="connsiteY39" fmla="*/ 4333875 h 4457700"/>
              <a:gd name="connsiteX40" fmla="*/ 2811802 w 4519987"/>
              <a:gd name="connsiteY40" fmla="*/ 4371975 h 4457700"/>
              <a:gd name="connsiteX41" fmla="*/ 2580027 w 4519987"/>
              <a:gd name="connsiteY41" fmla="*/ 4391025 h 4457700"/>
              <a:gd name="connsiteX42" fmla="*/ 2202202 w 4519987"/>
              <a:gd name="connsiteY42" fmla="*/ 4457700 h 4457700"/>
              <a:gd name="connsiteX43" fmla="*/ 2126002 w 4519987"/>
              <a:gd name="connsiteY43" fmla="*/ 4429125 h 4457700"/>
              <a:gd name="connsiteX44" fmla="*/ 1935502 w 4519987"/>
              <a:gd name="connsiteY44" fmla="*/ 4400550 h 4457700"/>
              <a:gd name="connsiteX45" fmla="*/ 1821202 w 4519987"/>
              <a:gd name="connsiteY45" fmla="*/ 4371975 h 4457700"/>
              <a:gd name="connsiteX46" fmla="*/ 1754527 w 4519987"/>
              <a:gd name="connsiteY46" fmla="*/ 4352925 h 4457700"/>
              <a:gd name="connsiteX47" fmla="*/ 1687852 w 4519987"/>
              <a:gd name="connsiteY47" fmla="*/ 4343400 h 4457700"/>
              <a:gd name="connsiteX48" fmla="*/ 1573552 w 4519987"/>
              <a:gd name="connsiteY48" fmla="*/ 4305300 h 4457700"/>
              <a:gd name="connsiteX49" fmla="*/ 1402102 w 4519987"/>
              <a:gd name="connsiteY49" fmla="*/ 4276725 h 4457700"/>
              <a:gd name="connsiteX50" fmla="*/ 1287802 w 4519987"/>
              <a:gd name="connsiteY50" fmla="*/ 4229100 h 4457700"/>
              <a:gd name="connsiteX51" fmla="*/ 1221127 w 4519987"/>
              <a:gd name="connsiteY51" fmla="*/ 4200525 h 4457700"/>
              <a:gd name="connsiteX52" fmla="*/ 1144927 w 4519987"/>
              <a:gd name="connsiteY52" fmla="*/ 4171950 h 4457700"/>
              <a:gd name="connsiteX53" fmla="*/ 1087777 w 4519987"/>
              <a:gd name="connsiteY53" fmla="*/ 4143375 h 4457700"/>
              <a:gd name="connsiteX54" fmla="*/ 1030627 w 4519987"/>
              <a:gd name="connsiteY54" fmla="*/ 4124325 h 4457700"/>
              <a:gd name="connsiteX55" fmla="*/ 925852 w 4519987"/>
              <a:gd name="connsiteY55" fmla="*/ 4067175 h 4457700"/>
              <a:gd name="connsiteX56" fmla="*/ 830602 w 4519987"/>
              <a:gd name="connsiteY56" fmla="*/ 3981450 h 4457700"/>
              <a:gd name="connsiteX57" fmla="*/ 763927 w 4519987"/>
              <a:gd name="connsiteY57" fmla="*/ 3914775 h 4457700"/>
              <a:gd name="connsiteX58" fmla="*/ 725827 w 4519987"/>
              <a:gd name="connsiteY58" fmla="*/ 3876675 h 4457700"/>
              <a:gd name="connsiteX59" fmla="*/ 697252 w 4519987"/>
              <a:gd name="connsiteY59" fmla="*/ 3838575 h 4457700"/>
              <a:gd name="connsiteX60" fmla="*/ 640102 w 4519987"/>
              <a:gd name="connsiteY60" fmla="*/ 3781425 h 4457700"/>
              <a:gd name="connsiteX61" fmla="*/ 611527 w 4519987"/>
              <a:gd name="connsiteY61" fmla="*/ 3733800 h 4457700"/>
              <a:gd name="connsiteX62" fmla="*/ 554377 w 4519987"/>
              <a:gd name="connsiteY62" fmla="*/ 3657600 h 4457700"/>
              <a:gd name="connsiteX63" fmla="*/ 525802 w 4519987"/>
              <a:gd name="connsiteY63" fmla="*/ 3609975 h 4457700"/>
              <a:gd name="connsiteX64" fmla="*/ 497227 w 4519987"/>
              <a:gd name="connsiteY64" fmla="*/ 3552825 h 4457700"/>
              <a:gd name="connsiteX65" fmla="*/ 440077 w 4519987"/>
              <a:gd name="connsiteY65" fmla="*/ 3495675 h 4457700"/>
              <a:gd name="connsiteX66" fmla="*/ 411502 w 4519987"/>
              <a:gd name="connsiteY66" fmla="*/ 3448050 h 4457700"/>
              <a:gd name="connsiteX67" fmla="*/ 278152 w 4519987"/>
              <a:gd name="connsiteY67" fmla="*/ 3257550 h 4457700"/>
              <a:gd name="connsiteX68" fmla="*/ 249577 w 4519987"/>
              <a:gd name="connsiteY68" fmla="*/ 3200400 h 4457700"/>
              <a:gd name="connsiteX69" fmla="*/ 240052 w 4519987"/>
              <a:gd name="connsiteY69" fmla="*/ 3162300 h 4457700"/>
              <a:gd name="connsiteX70" fmla="*/ 221002 w 4519987"/>
              <a:gd name="connsiteY70" fmla="*/ 3105150 h 4457700"/>
              <a:gd name="connsiteX71" fmla="*/ 173377 w 4519987"/>
              <a:gd name="connsiteY71" fmla="*/ 3019425 h 4457700"/>
              <a:gd name="connsiteX72" fmla="*/ 144802 w 4519987"/>
              <a:gd name="connsiteY72" fmla="*/ 2924175 h 4457700"/>
              <a:gd name="connsiteX73" fmla="*/ 68602 w 4519987"/>
              <a:gd name="connsiteY73" fmla="*/ 2724150 h 4457700"/>
              <a:gd name="connsiteX74" fmla="*/ 49552 w 4519987"/>
              <a:gd name="connsiteY74" fmla="*/ 2638425 h 4457700"/>
              <a:gd name="connsiteX75" fmla="*/ 40027 w 4519987"/>
              <a:gd name="connsiteY75" fmla="*/ 2562225 h 4457700"/>
              <a:gd name="connsiteX76" fmla="*/ 30502 w 4519987"/>
              <a:gd name="connsiteY76" fmla="*/ 2514600 h 4457700"/>
              <a:gd name="connsiteX77" fmla="*/ 11452 w 4519987"/>
              <a:gd name="connsiteY77" fmla="*/ 2400300 h 4457700"/>
              <a:gd name="connsiteX78" fmla="*/ 20977 w 4519987"/>
              <a:gd name="connsiteY78" fmla="*/ 1905000 h 4457700"/>
              <a:gd name="connsiteX79" fmla="*/ 30502 w 4519987"/>
              <a:gd name="connsiteY79" fmla="*/ 1838325 h 4457700"/>
              <a:gd name="connsiteX80" fmla="*/ 49552 w 4519987"/>
              <a:gd name="connsiteY80" fmla="*/ 1781175 h 4457700"/>
              <a:gd name="connsiteX81" fmla="*/ 59077 w 4519987"/>
              <a:gd name="connsiteY81" fmla="*/ 1743075 h 4457700"/>
              <a:gd name="connsiteX82" fmla="*/ 78127 w 4519987"/>
              <a:gd name="connsiteY82" fmla="*/ 1685925 h 4457700"/>
              <a:gd name="connsiteX83" fmla="*/ 87652 w 4519987"/>
              <a:gd name="connsiteY83" fmla="*/ 1638300 h 4457700"/>
              <a:gd name="connsiteX84" fmla="*/ 106702 w 4519987"/>
              <a:gd name="connsiteY84" fmla="*/ 1590675 h 4457700"/>
              <a:gd name="connsiteX85" fmla="*/ 135277 w 4519987"/>
              <a:gd name="connsiteY85" fmla="*/ 1504950 h 4457700"/>
              <a:gd name="connsiteX86" fmla="*/ 154327 w 4519987"/>
              <a:gd name="connsiteY86" fmla="*/ 1419225 h 4457700"/>
              <a:gd name="connsiteX87" fmla="*/ 230527 w 4519987"/>
              <a:gd name="connsiteY87" fmla="*/ 1276350 h 4457700"/>
              <a:gd name="connsiteX88" fmla="*/ 240052 w 4519987"/>
              <a:gd name="connsiteY88" fmla="*/ 1247775 h 4457700"/>
              <a:gd name="connsiteX89" fmla="*/ 268627 w 4519987"/>
              <a:gd name="connsiteY89" fmla="*/ 1200150 h 4457700"/>
              <a:gd name="connsiteX90" fmla="*/ 287677 w 4519987"/>
              <a:gd name="connsiteY90" fmla="*/ 1152525 h 4457700"/>
              <a:gd name="connsiteX91" fmla="*/ 316252 w 4519987"/>
              <a:gd name="connsiteY91" fmla="*/ 1114425 h 4457700"/>
              <a:gd name="connsiteX92" fmla="*/ 363877 w 4519987"/>
              <a:gd name="connsiteY92" fmla="*/ 1038225 h 4457700"/>
              <a:gd name="connsiteX93" fmla="*/ 382927 w 4519987"/>
              <a:gd name="connsiteY93" fmla="*/ 1009650 h 4457700"/>
              <a:gd name="connsiteX94" fmla="*/ 440077 w 4519987"/>
              <a:gd name="connsiteY94" fmla="*/ 904875 h 4457700"/>
              <a:gd name="connsiteX95" fmla="*/ 478177 w 4519987"/>
              <a:gd name="connsiteY95" fmla="*/ 857250 h 4457700"/>
              <a:gd name="connsiteX96" fmla="*/ 497227 w 4519987"/>
              <a:gd name="connsiteY96" fmla="*/ 828675 h 4457700"/>
              <a:gd name="connsiteX97" fmla="*/ 535327 w 4519987"/>
              <a:gd name="connsiteY97" fmla="*/ 800100 h 4457700"/>
              <a:gd name="connsiteX98" fmla="*/ 602002 w 4519987"/>
              <a:gd name="connsiteY98" fmla="*/ 733425 h 4457700"/>
              <a:gd name="connsiteX99" fmla="*/ 668677 w 4519987"/>
              <a:gd name="connsiteY99" fmla="*/ 676275 h 4457700"/>
              <a:gd name="connsiteX100" fmla="*/ 697252 w 4519987"/>
              <a:gd name="connsiteY100" fmla="*/ 657225 h 4457700"/>
              <a:gd name="connsiteX101" fmla="*/ 840127 w 4519987"/>
              <a:gd name="connsiteY101" fmla="*/ 533400 h 4457700"/>
              <a:gd name="connsiteX102" fmla="*/ 887752 w 4519987"/>
              <a:gd name="connsiteY102" fmla="*/ 504825 h 4457700"/>
              <a:gd name="connsiteX103" fmla="*/ 1167152 w 4519987"/>
              <a:gd name="connsiteY103" fmla="*/ 311150 h 4457700"/>
              <a:gd name="connsiteX104" fmla="*/ 1268752 w 4519987"/>
              <a:gd name="connsiteY104" fmla="*/ 285750 h 4457700"/>
              <a:gd name="connsiteX105" fmla="*/ 1411627 w 4519987"/>
              <a:gd name="connsiteY105" fmla="*/ 190500 h 4457700"/>
              <a:gd name="connsiteX106" fmla="*/ 1449727 w 4519987"/>
              <a:gd name="connsiteY106" fmla="*/ 161925 h 4457700"/>
              <a:gd name="connsiteX107" fmla="*/ 1525927 w 4519987"/>
              <a:gd name="connsiteY107" fmla="*/ 152400 h 4457700"/>
              <a:gd name="connsiteX108" fmla="*/ 1583077 w 4519987"/>
              <a:gd name="connsiteY108" fmla="*/ 142875 h 4457700"/>
              <a:gd name="connsiteX109" fmla="*/ 1716427 w 4519987"/>
              <a:gd name="connsiteY109" fmla="*/ 123825 h 4457700"/>
              <a:gd name="connsiteX110" fmla="*/ 1811677 w 4519987"/>
              <a:gd name="connsiteY110" fmla="*/ 114300 h 4457700"/>
              <a:gd name="connsiteX111" fmla="*/ 1859302 w 4519987"/>
              <a:gd name="connsiteY111" fmla="*/ 104775 h 4457700"/>
              <a:gd name="connsiteX112" fmla="*/ 1916452 w 4519987"/>
              <a:gd name="connsiteY112" fmla="*/ 95250 h 4457700"/>
              <a:gd name="connsiteX113" fmla="*/ 2030752 w 4519987"/>
              <a:gd name="connsiteY113" fmla="*/ 66675 h 4457700"/>
              <a:gd name="connsiteX114" fmla="*/ 2097427 w 4519987"/>
              <a:gd name="connsiteY114" fmla="*/ 47625 h 4457700"/>
              <a:gd name="connsiteX115" fmla="*/ 2164102 w 4519987"/>
              <a:gd name="connsiteY115" fmla="*/ 38100 h 4457700"/>
              <a:gd name="connsiteX116" fmla="*/ 2392702 w 4519987"/>
              <a:gd name="connsiteY116" fmla="*/ 28575 h 4457700"/>
              <a:gd name="connsiteX0" fmla="*/ 2297452 w 4519987"/>
              <a:gd name="connsiteY0" fmla="*/ 0 h 4429260"/>
              <a:gd name="connsiteX1" fmla="*/ 2421277 w 4519987"/>
              <a:gd name="connsiteY1" fmla="*/ 28575 h 4429260"/>
              <a:gd name="connsiteX2" fmla="*/ 2497477 w 4519987"/>
              <a:gd name="connsiteY2" fmla="*/ 47625 h 4429260"/>
              <a:gd name="connsiteX3" fmla="*/ 2754652 w 4519987"/>
              <a:gd name="connsiteY3" fmla="*/ 66675 h 4429260"/>
              <a:gd name="connsiteX4" fmla="*/ 2830852 w 4519987"/>
              <a:gd name="connsiteY4" fmla="*/ 76200 h 4429260"/>
              <a:gd name="connsiteX5" fmla="*/ 2916577 w 4519987"/>
              <a:gd name="connsiteY5" fmla="*/ 85725 h 4429260"/>
              <a:gd name="connsiteX6" fmla="*/ 2973727 w 4519987"/>
              <a:gd name="connsiteY6" fmla="*/ 114300 h 4429260"/>
              <a:gd name="connsiteX7" fmla="*/ 3011827 w 4519987"/>
              <a:gd name="connsiteY7" fmla="*/ 123825 h 4429260"/>
              <a:gd name="connsiteX8" fmla="*/ 3135652 w 4519987"/>
              <a:gd name="connsiteY8" fmla="*/ 171450 h 4429260"/>
              <a:gd name="connsiteX9" fmla="*/ 3173752 w 4519987"/>
              <a:gd name="connsiteY9" fmla="*/ 190500 h 4429260"/>
              <a:gd name="connsiteX10" fmla="*/ 3240427 w 4519987"/>
              <a:gd name="connsiteY10" fmla="*/ 228600 h 4429260"/>
              <a:gd name="connsiteX11" fmla="*/ 3269002 w 4519987"/>
              <a:gd name="connsiteY11" fmla="*/ 238125 h 4429260"/>
              <a:gd name="connsiteX12" fmla="*/ 3297577 w 4519987"/>
              <a:gd name="connsiteY12" fmla="*/ 257175 h 4429260"/>
              <a:gd name="connsiteX13" fmla="*/ 3326152 w 4519987"/>
              <a:gd name="connsiteY13" fmla="*/ 266700 h 4429260"/>
              <a:gd name="connsiteX14" fmla="*/ 3354727 w 4519987"/>
              <a:gd name="connsiteY14" fmla="*/ 285750 h 4429260"/>
              <a:gd name="connsiteX15" fmla="*/ 3421402 w 4519987"/>
              <a:gd name="connsiteY15" fmla="*/ 323850 h 4429260"/>
              <a:gd name="connsiteX16" fmla="*/ 3469027 w 4519987"/>
              <a:gd name="connsiteY16" fmla="*/ 361950 h 4429260"/>
              <a:gd name="connsiteX17" fmla="*/ 3516652 w 4519987"/>
              <a:gd name="connsiteY17" fmla="*/ 390525 h 4429260"/>
              <a:gd name="connsiteX18" fmla="*/ 3630952 w 4519987"/>
              <a:gd name="connsiteY18" fmla="*/ 485775 h 4429260"/>
              <a:gd name="connsiteX19" fmla="*/ 3745252 w 4519987"/>
              <a:gd name="connsiteY19" fmla="*/ 542925 h 4429260"/>
              <a:gd name="connsiteX20" fmla="*/ 3811927 w 4519987"/>
              <a:gd name="connsiteY20" fmla="*/ 581025 h 4429260"/>
              <a:gd name="connsiteX21" fmla="*/ 4027827 w 4519987"/>
              <a:gd name="connsiteY21" fmla="*/ 819150 h 4429260"/>
              <a:gd name="connsiteX22" fmla="*/ 4164352 w 4519987"/>
              <a:gd name="connsiteY22" fmla="*/ 990600 h 4429260"/>
              <a:gd name="connsiteX23" fmla="*/ 4250077 w 4519987"/>
              <a:gd name="connsiteY23" fmla="*/ 1143000 h 4429260"/>
              <a:gd name="connsiteX24" fmla="*/ 4307227 w 4519987"/>
              <a:gd name="connsiteY24" fmla="*/ 1266825 h 4429260"/>
              <a:gd name="connsiteX25" fmla="*/ 4345327 w 4519987"/>
              <a:gd name="connsiteY25" fmla="*/ 1362075 h 4429260"/>
              <a:gd name="connsiteX26" fmla="*/ 4392952 w 4519987"/>
              <a:gd name="connsiteY26" fmla="*/ 1552575 h 4429260"/>
              <a:gd name="connsiteX27" fmla="*/ 4431052 w 4519987"/>
              <a:gd name="connsiteY27" fmla="*/ 1685925 h 4429260"/>
              <a:gd name="connsiteX28" fmla="*/ 4519952 w 4519987"/>
              <a:gd name="connsiteY28" fmla="*/ 2181225 h 4429260"/>
              <a:gd name="connsiteX29" fmla="*/ 4446927 w 4519987"/>
              <a:gd name="connsiteY29" fmla="*/ 2768600 h 4429260"/>
              <a:gd name="connsiteX30" fmla="*/ 4383427 w 4519987"/>
              <a:gd name="connsiteY30" fmla="*/ 2990850 h 4429260"/>
              <a:gd name="connsiteX31" fmla="*/ 4278652 w 4519987"/>
              <a:gd name="connsiteY31" fmla="*/ 3248025 h 4429260"/>
              <a:gd name="connsiteX32" fmla="*/ 4183402 w 4519987"/>
              <a:gd name="connsiteY32" fmla="*/ 3400425 h 4429260"/>
              <a:gd name="connsiteX33" fmla="*/ 4059577 w 4519987"/>
              <a:gd name="connsiteY33" fmla="*/ 3533775 h 4429260"/>
              <a:gd name="connsiteX34" fmla="*/ 3954802 w 4519987"/>
              <a:gd name="connsiteY34" fmla="*/ 3648075 h 4429260"/>
              <a:gd name="connsiteX35" fmla="*/ 3659527 w 4519987"/>
              <a:gd name="connsiteY35" fmla="*/ 3971925 h 4429260"/>
              <a:gd name="connsiteX36" fmla="*/ 3516652 w 4519987"/>
              <a:gd name="connsiteY36" fmla="*/ 4083050 h 4429260"/>
              <a:gd name="connsiteX37" fmla="*/ 3221377 w 4519987"/>
              <a:gd name="connsiteY37" fmla="*/ 4222750 h 4429260"/>
              <a:gd name="connsiteX38" fmla="*/ 3068977 w 4519987"/>
              <a:gd name="connsiteY38" fmla="*/ 4286250 h 4429260"/>
              <a:gd name="connsiteX39" fmla="*/ 2935627 w 4519987"/>
              <a:gd name="connsiteY39" fmla="*/ 4333875 h 4429260"/>
              <a:gd name="connsiteX40" fmla="*/ 2811802 w 4519987"/>
              <a:gd name="connsiteY40" fmla="*/ 4371975 h 4429260"/>
              <a:gd name="connsiteX41" fmla="*/ 2580027 w 4519987"/>
              <a:gd name="connsiteY41" fmla="*/ 4391025 h 4429260"/>
              <a:gd name="connsiteX42" fmla="*/ 2126002 w 4519987"/>
              <a:gd name="connsiteY42" fmla="*/ 4429125 h 4429260"/>
              <a:gd name="connsiteX43" fmla="*/ 1935502 w 4519987"/>
              <a:gd name="connsiteY43" fmla="*/ 4400550 h 4429260"/>
              <a:gd name="connsiteX44" fmla="*/ 1821202 w 4519987"/>
              <a:gd name="connsiteY44" fmla="*/ 4371975 h 4429260"/>
              <a:gd name="connsiteX45" fmla="*/ 1754527 w 4519987"/>
              <a:gd name="connsiteY45" fmla="*/ 4352925 h 4429260"/>
              <a:gd name="connsiteX46" fmla="*/ 1687852 w 4519987"/>
              <a:gd name="connsiteY46" fmla="*/ 4343400 h 4429260"/>
              <a:gd name="connsiteX47" fmla="*/ 1573552 w 4519987"/>
              <a:gd name="connsiteY47" fmla="*/ 4305300 h 4429260"/>
              <a:gd name="connsiteX48" fmla="*/ 1402102 w 4519987"/>
              <a:gd name="connsiteY48" fmla="*/ 4276725 h 4429260"/>
              <a:gd name="connsiteX49" fmla="*/ 1287802 w 4519987"/>
              <a:gd name="connsiteY49" fmla="*/ 4229100 h 4429260"/>
              <a:gd name="connsiteX50" fmla="*/ 1221127 w 4519987"/>
              <a:gd name="connsiteY50" fmla="*/ 4200525 h 4429260"/>
              <a:gd name="connsiteX51" fmla="*/ 1144927 w 4519987"/>
              <a:gd name="connsiteY51" fmla="*/ 4171950 h 4429260"/>
              <a:gd name="connsiteX52" fmla="*/ 1087777 w 4519987"/>
              <a:gd name="connsiteY52" fmla="*/ 4143375 h 4429260"/>
              <a:gd name="connsiteX53" fmla="*/ 1030627 w 4519987"/>
              <a:gd name="connsiteY53" fmla="*/ 4124325 h 4429260"/>
              <a:gd name="connsiteX54" fmla="*/ 925852 w 4519987"/>
              <a:gd name="connsiteY54" fmla="*/ 4067175 h 4429260"/>
              <a:gd name="connsiteX55" fmla="*/ 830602 w 4519987"/>
              <a:gd name="connsiteY55" fmla="*/ 3981450 h 4429260"/>
              <a:gd name="connsiteX56" fmla="*/ 763927 w 4519987"/>
              <a:gd name="connsiteY56" fmla="*/ 3914775 h 4429260"/>
              <a:gd name="connsiteX57" fmla="*/ 725827 w 4519987"/>
              <a:gd name="connsiteY57" fmla="*/ 3876675 h 4429260"/>
              <a:gd name="connsiteX58" fmla="*/ 697252 w 4519987"/>
              <a:gd name="connsiteY58" fmla="*/ 3838575 h 4429260"/>
              <a:gd name="connsiteX59" fmla="*/ 640102 w 4519987"/>
              <a:gd name="connsiteY59" fmla="*/ 3781425 h 4429260"/>
              <a:gd name="connsiteX60" fmla="*/ 611527 w 4519987"/>
              <a:gd name="connsiteY60" fmla="*/ 3733800 h 4429260"/>
              <a:gd name="connsiteX61" fmla="*/ 554377 w 4519987"/>
              <a:gd name="connsiteY61" fmla="*/ 3657600 h 4429260"/>
              <a:gd name="connsiteX62" fmla="*/ 525802 w 4519987"/>
              <a:gd name="connsiteY62" fmla="*/ 3609975 h 4429260"/>
              <a:gd name="connsiteX63" fmla="*/ 497227 w 4519987"/>
              <a:gd name="connsiteY63" fmla="*/ 3552825 h 4429260"/>
              <a:gd name="connsiteX64" fmla="*/ 440077 w 4519987"/>
              <a:gd name="connsiteY64" fmla="*/ 3495675 h 4429260"/>
              <a:gd name="connsiteX65" fmla="*/ 411502 w 4519987"/>
              <a:gd name="connsiteY65" fmla="*/ 3448050 h 4429260"/>
              <a:gd name="connsiteX66" fmla="*/ 278152 w 4519987"/>
              <a:gd name="connsiteY66" fmla="*/ 3257550 h 4429260"/>
              <a:gd name="connsiteX67" fmla="*/ 249577 w 4519987"/>
              <a:gd name="connsiteY67" fmla="*/ 3200400 h 4429260"/>
              <a:gd name="connsiteX68" fmla="*/ 240052 w 4519987"/>
              <a:gd name="connsiteY68" fmla="*/ 3162300 h 4429260"/>
              <a:gd name="connsiteX69" fmla="*/ 221002 w 4519987"/>
              <a:gd name="connsiteY69" fmla="*/ 3105150 h 4429260"/>
              <a:gd name="connsiteX70" fmla="*/ 173377 w 4519987"/>
              <a:gd name="connsiteY70" fmla="*/ 3019425 h 4429260"/>
              <a:gd name="connsiteX71" fmla="*/ 144802 w 4519987"/>
              <a:gd name="connsiteY71" fmla="*/ 2924175 h 4429260"/>
              <a:gd name="connsiteX72" fmla="*/ 68602 w 4519987"/>
              <a:gd name="connsiteY72" fmla="*/ 2724150 h 4429260"/>
              <a:gd name="connsiteX73" fmla="*/ 49552 w 4519987"/>
              <a:gd name="connsiteY73" fmla="*/ 2638425 h 4429260"/>
              <a:gd name="connsiteX74" fmla="*/ 40027 w 4519987"/>
              <a:gd name="connsiteY74" fmla="*/ 2562225 h 4429260"/>
              <a:gd name="connsiteX75" fmla="*/ 30502 w 4519987"/>
              <a:gd name="connsiteY75" fmla="*/ 2514600 h 4429260"/>
              <a:gd name="connsiteX76" fmla="*/ 11452 w 4519987"/>
              <a:gd name="connsiteY76" fmla="*/ 2400300 h 4429260"/>
              <a:gd name="connsiteX77" fmla="*/ 20977 w 4519987"/>
              <a:gd name="connsiteY77" fmla="*/ 1905000 h 4429260"/>
              <a:gd name="connsiteX78" fmla="*/ 30502 w 4519987"/>
              <a:gd name="connsiteY78" fmla="*/ 1838325 h 4429260"/>
              <a:gd name="connsiteX79" fmla="*/ 49552 w 4519987"/>
              <a:gd name="connsiteY79" fmla="*/ 1781175 h 4429260"/>
              <a:gd name="connsiteX80" fmla="*/ 59077 w 4519987"/>
              <a:gd name="connsiteY80" fmla="*/ 1743075 h 4429260"/>
              <a:gd name="connsiteX81" fmla="*/ 78127 w 4519987"/>
              <a:gd name="connsiteY81" fmla="*/ 1685925 h 4429260"/>
              <a:gd name="connsiteX82" fmla="*/ 87652 w 4519987"/>
              <a:gd name="connsiteY82" fmla="*/ 1638300 h 4429260"/>
              <a:gd name="connsiteX83" fmla="*/ 106702 w 4519987"/>
              <a:gd name="connsiteY83" fmla="*/ 1590675 h 4429260"/>
              <a:gd name="connsiteX84" fmla="*/ 135277 w 4519987"/>
              <a:gd name="connsiteY84" fmla="*/ 1504950 h 4429260"/>
              <a:gd name="connsiteX85" fmla="*/ 154327 w 4519987"/>
              <a:gd name="connsiteY85" fmla="*/ 1419225 h 4429260"/>
              <a:gd name="connsiteX86" fmla="*/ 230527 w 4519987"/>
              <a:gd name="connsiteY86" fmla="*/ 1276350 h 4429260"/>
              <a:gd name="connsiteX87" fmla="*/ 240052 w 4519987"/>
              <a:gd name="connsiteY87" fmla="*/ 1247775 h 4429260"/>
              <a:gd name="connsiteX88" fmla="*/ 268627 w 4519987"/>
              <a:gd name="connsiteY88" fmla="*/ 1200150 h 4429260"/>
              <a:gd name="connsiteX89" fmla="*/ 287677 w 4519987"/>
              <a:gd name="connsiteY89" fmla="*/ 1152525 h 4429260"/>
              <a:gd name="connsiteX90" fmla="*/ 316252 w 4519987"/>
              <a:gd name="connsiteY90" fmla="*/ 1114425 h 4429260"/>
              <a:gd name="connsiteX91" fmla="*/ 363877 w 4519987"/>
              <a:gd name="connsiteY91" fmla="*/ 1038225 h 4429260"/>
              <a:gd name="connsiteX92" fmla="*/ 382927 w 4519987"/>
              <a:gd name="connsiteY92" fmla="*/ 1009650 h 4429260"/>
              <a:gd name="connsiteX93" fmla="*/ 440077 w 4519987"/>
              <a:gd name="connsiteY93" fmla="*/ 904875 h 4429260"/>
              <a:gd name="connsiteX94" fmla="*/ 478177 w 4519987"/>
              <a:gd name="connsiteY94" fmla="*/ 857250 h 4429260"/>
              <a:gd name="connsiteX95" fmla="*/ 497227 w 4519987"/>
              <a:gd name="connsiteY95" fmla="*/ 828675 h 4429260"/>
              <a:gd name="connsiteX96" fmla="*/ 535327 w 4519987"/>
              <a:gd name="connsiteY96" fmla="*/ 800100 h 4429260"/>
              <a:gd name="connsiteX97" fmla="*/ 602002 w 4519987"/>
              <a:gd name="connsiteY97" fmla="*/ 733425 h 4429260"/>
              <a:gd name="connsiteX98" fmla="*/ 668677 w 4519987"/>
              <a:gd name="connsiteY98" fmla="*/ 676275 h 4429260"/>
              <a:gd name="connsiteX99" fmla="*/ 697252 w 4519987"/>
              <a:gd name="connsiteY99" fmla="*/ 657225 h 4429260"/>
              <a:gd name="connsiteX100" fmla="*/ 840127 w 4519987"/>
              <a:gd name="connsiteY100" fmla="*/ 533400 h 4429260"/>
              <a:gd name="connsiteX101" fmla="*/ 887752 w 4519987"/>
              <a:gd name="connsiteY101" fmla="*/ 504825 h 4429260"/>
              <a:gd name="connsiteX102" fmla="*/ 1167152 w 4519987"/>
              <a:gd name="connsiteY102" fmla="*/ 311150 h 4429260"/>
              <a:gd name="connsiteX103" fmla="*/ 1268752 w 4519987"/>
              <a:gd name="connsiteY103" fmla="*/ 285750 h 4429260"/>
              <a:gd name="connsiteX104" fmla="*/ 1411627 w 4519987"/>
              <a:gd name="connsiteY104" fmla="*/ 190500 h 4429260"/>
              <a:gd name="connsiteX105" fmla="*/ 1449727 w 4519987"/>
              <a:gd name="connsiteY105" fmla="*/ 161925 h 4429260"/>
              <a:gd name="connsiteX106" fmla="*/ 1525927 w 4519987"/>
              <a:gd name="connsiteY106" fmla="*/ 152400 h 4429260"/>
              <a:gd name="connsiteX107" fmla="*/ 1583077 w 4519987"/>
              <a:gd name="connsiteY107" fmla="*/ 142875 h 4429260"/>
              <a:gd name="connsiteX108" fmla="*/ 1716427 w 4519987"/>
              <a:gd name="connsiteY108" fmla="*/ 123825 h 4429260"/>
              <a:gd name="connsiteX109" fmla="*/ 1811677 w 4519987"/>
              <a:gd name="connsiteY109" fmla="*/ 114300 h 4429260"/>
              <a:gd name="connsiteX110" fmla="*/ 1859302 w 4519987"/>
              <a:gd name="connsiteY110" fmla="*/ 104775 h 4429260"/>
              <a:gd name="connsiteX111" fmla="*/ 1916452 w 4519987"/>
              <a:gd name="connsiteY111" fmla="*/ 95250 h 4429260"/>
              <a:gd name="connsiteX112" fmla="*/ 2030752 w 4519987"/>
              <a:gd name="connsiteY112" fmla="*/ 66675 h 4429260"/>
              <a:gd name="connsiteX113" fmla="*/ 2097427 w 4519987"/>
              <a:gd name="connsiteY113" fmla="*/ 47625 h 4429260"/>
              <a:gd name="connsiteX114" fmla="*/ 2164102 w 4519987"/>
              <a:gd name="connsiteY114" fmla="*/ 38100 h 4429260"/>
              <a:gd name="connsiteX115" fmla="*/ 2392702 w 4519987"/>
              <a:gd name="connsiteY115" fmla="*/ 28575 h 4429260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687852 w 4519987"/>
              <a:gd name="connsiteY45" fmla="*/ 4343400 h 4429225"/>
              <a:gd name="connsiteX46" fmla="*/ 1573552 w 4519987"/>
              <a:gd name="connsiteY46" fmla="*/ 4305300 h 4429225"/>
              <a:gd name="connsiteX47" fmla="*/ 1402102 w 4519987"/>
              <a:gd name="connsiteY47" fmla="*/ 4276725 h 4429225"/>
              <a:gd name="connsiteX48" fmla="*/ 1287802 w 4519987"/>
              <a:gd name="connsiteY48" fmla="*/ 4229100 h 4429225"/>
              <a:gd name="connsiteX49" fmla="*/ 1221127 w 4519987"/>
              <a:gd name="connsiteY49" fmla="*/ 4200525 h 4429225"/>
              <a:gd name="connsiteX50" fmla="*/ 1144927 w 4519987"/>
              <a:gd name="connsiteY50" fmla="*/ 4171950 h 4429225"/>
              <a:gd name="connsiteX51" fmla="*/ 1087777 w 4519987"/>
              <a:gd name="connsiteY51" fmla="*/ 4143375 h 4429225"/>
              <a:gd name="connsiteX52" fmla="*/ 1030627 w 4519987"/>
              <a:gd name="connsiteY52" fmla="*/ 4124325 h 4429225"/>
              <a:gd name="connsiteX53" fmla="*/ 925852 w 4519987"/>
              <a:gd name="connsiteY53" fmla="*/ 4067175 h 4429225"/>
              <a:gd name="connsiteX54" fmla="*/ 830602 w 4519987"/>
              <a:gd name="connsiteY54" fmla="*/ 3981450 h 4429225"/>
              <a:gd name="connsiteX55" fmla="*/ 763927 w 4519987"/>
              <a:gd name="connsiteY55" fmla="*/ 3914775 h 4429225"/>
              <a:gd name="connsiteX56" fmla="*/ 725827 w 4519987"/>
              <a:gd name="connsiteY56" fmla="*/ 3876675 h 4429225"/>
              <a:gd name="connsiteX57" fmla="*/ 697252 w 4519987"/>
              <a:gd name="connsiteY57" fmla="*/ 3838575 h 4429225"/>
              <a:gd name="connsiteX58" fmla="*/ 640102 w 4519987"/>
              <a:gd name="connsiteY58" fmla="*/ 3781425 h 4429225"/>
              <a:gd name="connsiteX59" fmla="*/ 611527 w 4519987"/>
              <a:gd name="connsiteY59" fmla="*/ 3733800 h 4429225"/>
              <a:gd name="connsiteX60" fmla="*/ 554377 w 4519987"/>
              <a:gd name="connsiteY60" fmla="*/ 3657600 h 4429225"/>
              <a:gd name="connsiteX61" fmla="*/ 525802 w 4519987"/>
              <a:gd name="connsiteY61" fmla="*/ 3609975 h 4429225"/>
              <a:gd name="connsiteX62" fmla="*/ 497227 w 4519987"/>
              <a:gd name="connsiteY62" fmla="*/ 3552825 h 4429225"/>
              <a:gd name="connsiteX63" fmla="*/ 440077 w 4519987"/>
              <a:gd name="connsiteY63" fmla="*/ 3495675 h 4429225"/>
              <a:gd name="connsiteX64" fmla="*/ 411502 w 4519987"/>
              <a:gd name="connsiteY64" fmla="*/ 3448050 h 4429225"/>
              <a:gd name="connsiteX65" fmla="*/ 278152 w 4519987"/>
              <a:gd name="connsiteY65" fmla="*/ 3257550 h 4429225"/>
              <a:gd name="connsiteX66" fmla="*/ 249577 w 4519987"/>
              <a:gd name="connsiteY66" fmla="*/ 3200400 h 4429225"/>
              <a:gd name="connsiteX67" fmla="*/ 240052 w 4519987"/>
              <a:gd name="connsiteY67" fmla="*/ 3162300 h 4429225"/>
              <a:gd name="connsiteX68" fmla="*/ 221002 w 4519987"/>
              <a:gd name="connsiteY68" fmla="*/ 3105150 h 4429225"/>
              <a:gd name="connsiteX69" fmla="*/ 173377 w 4519987"/>
              <a:gd name="connsiteY69" fmla="*/ 3019425 h 4429225"/>
              <a:gd name="connsiteX70" fmla="*/ 144802 w 4519987"/>
              <a:gd name="connsiteY70" fmla="*/ 2924175 h 4429225"/>
              <a:gd name="connsiteX71" fmla="*/ 68602 w 4519987"/>
              <a:gd name="connsiteY71" fmla="*/ 2724150 h 4429225"/>
              <a:gd name="connsiteX72" fmla="*/ 49552 w 4519987"/>
              <a:gd name="connsiteY72" fmla="*/ 2638425 h 4429225"/>
              <a:gd name="connsiteX73" fmla="*/ 40027 w 4519987"/>
              <a:gd name="connsiteY73" fmla="*/ 2562225 h 4429225"/>
              <a:gd name="connsiteX74" fmla="*/ 30502 w 4519987"/>
              <a:gd name="connsiteY74" fmla="*/ 2514600 h 4429225"/>
              <a:gd name="connsiteX75" fmla="*/ 11452 w 4519987"/>
              <a:gd name="connsiteY75" fmla="*/ 2400300 h 4429225"/>
              <a:gd name="connsiteX76" fmla="*/ 20977 w 4519987"/>
              <a:gd name="connsiteY76" fmla="*/ 1905000 h 4429225"/>
              <a:gd name="connsiteX77" fmla="*/ 30502 w 4519987"/>
              <a:gd name="connsiteY77" fmla="*/ 1838325 h 4429225"/>
              <a:gd name="connsiteX78" fmla="*/ 49552 w 4519987"/>
              <a:gd name="connsiteY78" fmla="*/ 1781175 h 4429225"/>
              <a:gd name="connsiteX79" fmla="*/ 59077 w 4519987"/>
              <a:gd name="connsiteY79" fmla="*/ 1743075 h 4429225"/>
              <a:gd name="connsiteX80" fmla="*/ 78127 w 4519987"/>
              <a:gd name="connsiteY80" fmla="*/ 1685925 h 4429225"/>
              <a:gd name="connsiteX81" fmla="*/ 87652 w 4519987"/>
              <a:gd name="connsiteY81" fmla="*/ 1638300 h 4429225"/>
              <a:gd name="connsiteX82" fmla="*/ 106702 w 4519987"/>
              <a:gd name="connsiteY82" fmla="*/ 1590675 h 4429225"/>
              <a:gd name="connsiteX83" fmla="*/ 135277 w 4519987"/>
              <a:gd name="connsiteY83" fmla="*/ 1504950 h 4429225"/>
              <a:gd name="connsiteX84" fmla="*/ 154327 w 4519987"/>
              <a:gd name="connsiteY84" fmla="*/ 1419225 h 4429225"/>
              <a:gd name="connsiteX85" fmla="*/ 230527 w 4519987"/>
              <a:gd name="connsiteY85" fmla="*/ 1276350 h 4429225"/>
              <a:gd name="connsiteX86" fmla="*/ 240052 w 4519987"/>
              <a:gd name="connsiteY86" fmla="*/ 1247775 h 4429225"/>
              <a:gd name="connsiteX87" fmla="*/ 268627 w 4519987"/>
              <a:gd name="connsiteY87" fmla="*/ 1200150 h 4429225"/>
              <a:gd name="connsiteX88" fmla="*/ 287677 w 4519987"/>
              <a:gd name="connsiteY88" fmla="*/ 1152525 h 4429225"/>
              <a:gd name="connsiteX89" fmla="*/ 316252 w 4519987"/>
              <a:gd name="connsiteY89" fmla="*/ 1114425 h 4429225"/>
              <a:gd name="connsiteX90" fmla="*/ 363877 w 4519987"/>
              <a:gd name="connsiteY90" fmla="*/ 1038225 h 4429225"/>
              <a:gd name="connsiteX91" fmla="*/ 382927 w 4519987"/>
              <a:gd name="connsiteY91" fmla="*/ 1009650 h 4429225"/>
              <a:gd name="connsiteX92" fmla="*/ 440077 w 4519987"/>
              <a:gd name="connsiteY92" fmla="*/ 904875 h 4429225"/>
              <a:gd name="connsiteX93" fmla="*/ 478177 w 4519987"/>
              <a:gd name="connsiteY93" fmla="*/ 857250 h 4429225"/>
              <a:gd name="connsiteX94" fmla="*/ 497227 w 4519987"/>
              <a:gd name="connsiteY94" fmla="*/ 828675 h 4429225"/>
              <a:gd name="connsiteX95" fmla="*/ 535327 w 4519987"/>
              <a:gd name="connsiteY95" fmla="*/ 800100 h 4429225"/>
              <a:gd name="connsiteX96" fmla="*/ 602002 w 4519987"/>
              <a:gd name="connsiteY96" fmla="*/ 733425 h 4429225"/>
              <a:gd name="connsiteX97" fmla="*/ 668677 w 4519987"/>
              <a:gd name="connsiteY97" fmla="*/ 676275 h 4429225"/>
              <a:gd name="connsiteX98" fmla="*/ 697252 w 4519987"/>
              <a:gd name="connsiteY98" fmla="*/ 657225 h 4429225"/>
              <a:gd name="connsiteX99" fmla="*/ 840127 w 4519987"/>
              <a:gd name="connsiteY99" fmla="*/ 533400 h 4429225"/>
              <a:gd name="connsiteX100" fmla="*/ 887752 w 4519987"/>
              <a:gd name="connsiteY100" fmla="*/ 504825 h 4429225"/>
              <a:gd name="connsiteX101" fmla="*/ 1167152 w 4519987"/>
              <a:gd name="connsiteY101" fmla="*/ 311150 h 4429225"/>
              <a:gd name="connsiteX102" fmla="*/ 1268752 w 4519987"/>
              <a:gd name="connsiteY102" fmla="*/ 285750 h 4429225"/>
              <a:gd name="connsiteX103" fmla="*/ 1411627 w 4519987"/>
              <a:gd name="connsiteY103" fmla="*/ 190500 h 4429225"/>
              <a:gd name="connsiteX104" fmla="*/ 1449727 w 4519987"/>
              <a:gd name="connsiteY104" fmla="*/ 161925 h 4429225"/>
              <a:gd name="connsiteX105" fmla="*/ 1525927 w 4519987"/>
              <a:gd name="connsiteY105" fmla="*/ 152400 h 4429225"/>
              <a:gd name="connsiteX106" fmla="*/ 1583077 w 4519987"/>
              <a:gd name="connsiteY106" fmla="*/ 142875 h 4429225"/>
              <a:gd name="connsiteX107" fmla="*/ 1716427 w 4519987"/>
              <a:gd name="connsiteY107" fmla="*/ 123825 h 4429225"/>
              <a:gd name="connsiteX108" fmla="*/ 1811677 w 4519987"/>
              <a:gd name="connsiteY108" fmla="*/ 114300 h 4429225"/>
              <a:gd name="connsiteX109" fmla="*/ 1859302 w 4519987"/>
              <a:gd name="connsiteY109" fmla="*/ 104775 h 4429225"/>
              <a:gd name="connsiteX110" fmla="*/ 1916452 w 4519987"/>
              <a:gd name="connsiteY110" fmla="*/ 95250 h 4429225"/>
              <a:gd name="connsiteX111" fmla="*/ 2030752 w 4519987"/>
              <a:gd name="connsiteY111" fmla="*/ 66675 h 4429225"/>
              <a:gd name="connsiteX112" fmla="*/ 2097427 w 4519987"/>
              <a:gd name="connsiteY112" fmla="*/ 47625 h 4429225"/>
              <a:gd name="connsiteX113" fmla="*/ 2164102 w 4519987"/>
              <a:gd name="connsiteY113" fmla="*/ 38100 h 4429225"/>
              <a:gd name="connsiteX114" fmla="*/ 2392702 w 4519987"/>
              <a:gd name="connsiteY114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402102 w 4519987"/>
              <a:gd name="connsiteY46" fmla="*/ 4276725 h 4429225"/>
              <a:gd name="connsiteX47" fmla="*/ 1287802 w 4519987"/>
              <a:gd name="connsiteY47" fmla="*/ 4229100 h 4429225"/>
              <a:gd name="connsiteX48" fmla="*/ 1221127 w 4519987"/>
              <a:gd name="connsiteY48" fmla="*/ 4200525 h 4429225"/>
              <a:gd name="connsiteX49" fmla="*/ 1144927 w 4519987"/>
              <a:gd name="connsiteY49" fmla="*/ 4171950 h 4429225"/>
              <a:gd name="connsiteX50" fmla="*/ 1087777 w 4519987"/>
              <a:gd name="connsiteY50" fmla="*/ 4143375 h 4429225"/>
              <a:gd name="connsiteX51" fmla="*/ 1030627 w 4519987"/>
              <a:gd name="connsiteY51" fmla="*/ 4124325 h 4429225"/>
              <a:gd name="connsiteX52" fmla="*/ 925852 w 4519987"/>
              <a:gd name="connsiteY52" fmla="*/ 4067175 h 4429225"/>
              <a:gd name="connsiteX53" fmla="*/ 830602 w 4519987"/>
              <a:gd name="connsiteY53" fmla="*/ 3981450 h 4429225"/>
              <a:gd name="connsiteX54" fmla="*/ 763927 w 4519987"/>
              <a:gd name="connsiteY54" fmla="*/ 3914775 h 4429225"/>
              <a:gd name="connsiteX55" fmla="*/ 725827 w 4519987"/>
              <a:gd name="connsiteY55" fmla="*/ 3876675 h 4429225"/>
              <a:gd name="connsiteX56" fmla="*/ 697252 w 4519987"/>
              <a:gd name="connsiteY56" fmla="*/ 3838575 h 4429225"/>
              <a:gd name="connsiteX57" fmla="*/ 640102 w 4519987"/>
              <a:gd name="connsiteY57" fmla="*/ 3781425 h 4429225"/>
              <a:gd name="connsiteX58" fmla="*/ 611527 w 4519987"/>
              <a:gd name="connsiteY58" fmla="*/ 3733800 h 4429225"/>
              <a:gd name="connsiteX59" fmla="*/ 554377 w 4519987"/>
              <a:gd name="connsiteY59" fmla="*/ 3657600 h 4429225"/>
              <a:gd name="connsiteX60" fmla="*/ 525802 w 4519987"/>
              <a:gd name="connsiteY60" fmla="*/ 3609975 h 4429225"/>
              <a:gd name="connsiteX61" fmla="*/ 497227 w 4519987"/>
              <a:gd name="connsiteY61" fmla="*/ 3552825 h 4429225"/>
              <a:gd name="connsiteX62" fmla="*/ 440077 w 4519987"/>
              <a:gd name="connsiteY62" fmla="*/ 3495675 h 4429225"/>
              <a:gd name="connsiteX63" fmla="*/ 411502 w 4519987"/>
              <a:gd name="connsiteY63" fmla="*/ 3448050 h 4429225"/>
              <a:gd name="connsiteX64" fmla="*/ 278152 w 4519987"/>
              <a:gd name="connsiteY64" fmla="*/ 3257550 h 4429225"/>
              <a:gd name="connsiteX65" fmla="*/ 249577 w 4519987"/>
              <a:gd name="connsiteY65" fmla="*/ 3200400 h 4429225"/>
              <a:gd name="connsiteX66" fmla="*/ 240052 w 4519987"/>
              <a:gd name="connsiteY66" fmla="*/ 3162300 h 4429225"/>
              <a:gd name="connsiteX67" fmla="*/ 221002 w 4519987"/>
              <a:gd name="connsiteY67" fmla="*/ 3105150 h 4429225"/>
              <a:gd name="connsiteX68" fmla="*/ 173377 w 4519987"/>
              <a:gd name="connsiteY68" fmla="*/ 3019425 h 4429225"/>
              <a:gd name="connsiteX69" fmla="*/ 144802 w 4519987"/>
              <a:gd name="connsiteY69" fmla="*/ 2924175 h 4429225"/>
              <a:gd name="connsiteX70" fmla="*/ 68602 w 4519987"/>
              <a:gd name="connsiteY70" fmla="*/ 2724150 h 4429225"/>
              <a:gd name="connsiteX71" fmla="*/ 49552 w 4519987"/>
              <a:gd name="connsiteY71" fmla="*/ 2638425 h 4429225"/>
              <a:gd name="connsiteX72" fmla="*/ 40027 w 4519987"/>
              <a:gd name="connsiteY72" fmla="*/ 2562225 h 4429225"/>
              <a:gd name="connsiteX73" fmla="*/ 30502 w 4519987"/>
              <a:gd name="connsiteY73" fmla="*/ 2514600 h 4429225"/>
              <a:gd name="connsiteX74" fmla="*/ 11452 w 4519987"/>
              <a:gd name="connsiteY74" fmla="*/ 2400300 h 4429225"/>
              <a:gd name="connsiteX75" fmla="*/ 20977 w 4519987"/>
              <a:gd name="connsiteY75" fmla="*/ 1905000 h 4429225"/>
              <a:gd name="connsiteX76" fmla="*/ 30502 w 4519987"/>
              <a:gd name="connsiteY76" fmla="*/ 1838325 h 4429225"/>
              <a:gd name="connsiteX77" fmla="*/ 49552 w 4519987"/>
              <a:gd name="connsiteY77" fmla="*/ 1781175 h 4429225"/>
              <a:gd name="connsiteX78" fmla="*/ 59077 w 4519987"/>
              <a:gd name="connsiteY78" fmla="*/ 1743075 h 4429225"/>
              <a:gd name="connsiteX79" fmla="*/ 78127 w 4519987"/>
              <a:gd name="connsiteY79" fmla="*/ 1685925 h 4429225"/>
              <a:gd name="connsiteX80" fmla="*/ 87652 w 4519987"/>
              <a:gd name="connsiteY80" fmla="*/ 1638300 h 4429225"/>
              <a:gd name="connsiteX81" fmla="*/ 106702 w 4519987"/>
              <a:gd name="connsiteY81" fmla="*/ 1590675 h 4429225"/>
              <a:gd name="connsiteX82" fmla="*/ 135277 w 4519987"/>
              <a:gd name="connsiteY82" fmla="*/ 1504950 h 4429225"/>
              <a:gd name="connsiteX83" fmla="*/ 154327 w 4519987"/>
              <a:gd name="connsiteY83" fmla="*/ 1419225 h 4429225"/>
              <a:gd name="connsiteX84" fmla="*/ 230527 w 4519987"/>
              <a:gd name="connsiteY84" fmla="*/ 1276350 h 4429225"/>
              <a:gd name="connsiteX85" fmla="*/ 240052 w 4519987"/>
              <a:gd name="connsiteY85" fmla="*/ 1247775 h 4429225"/>
              <a:gd name="connsiteX86" fmla="*/ 268627 w 4519987"/>
              <a:gd name="connsiteY86" fmla="*/ 1200150 h 4429225"/>
              <a:gd name="connsiteX87" fmla="*/ 287677 w 4519987"/>
              <a:gd name="connsiteY87" fmla="*/ 1152525 h 4429225"/>
              <a:gd name="connsiteX88" fmla="*/ 316252 w 4519987"/>
              <a:gd name="connsiteY88" fmla="*/ 1114425 h 4429225"/>
              <a:gd name="connsiteX89" fmla="*/ 363877 w 4519987"/>
              <a:gd name="connsiteY89" fmla="*/ 1038225 h 4429225"/>
              <a:gd name="connsiteX90" fmla="*/ 382927 w 4519987"/>
              <a:gd name="connsiteY90" fmla="*/ 1009650 h 4429225"/>
              <a:gd name="connsiteX91" fmla="*/ 440077 w 4519987"/>
              <a:gd name="connsiteY91" fmla="*/ 904875 h 4429225"/>
              <a:gd name="connsiteX92" fmla="*/ 478177 w 4519987"/>
              <a:gd name="connsiteY92" fmla="*/ 857250 h 4429225"/>
              <a:gd name="connsiteX93" fmla="*/ 497227 w 4519987"/>
              <a:gd name="connsiteY93" fmla="*/ 828675 h 4429225"/>
              <a:gd name="connsiteX94" fmla="*/ 535327 w 4519987"/>
              <a:gd name="connsiteY94" fmla="*/ 800100 h 4429225"/>
              <a:gd name="connsiteX95" fmla="*/ 602002 w 4519987"/>
              <a:gd name="connsiteY95" fmla="*/ 733425 h 4429225"/>
              <a:gd name="connsiteX96" fmla="*/ 668677 w 4519987"/>
              <a:gd name="connsiteY96" fmla="*/ 676275 h 4429225"/>
              <a:gd name="connsiteX97" fmla="*/ 697252 w 4519987"/>
              <a:gd name="connsiteY97" fmla="*/ 657225 h 4429225"/>
              <a:gd name="connsiteX98" fmla="*/ 840127 w 4519987"/>
              <a:gd name="connsiteY98" fmla="*/ 533400 h 4429225"/>
              <a:gd name="connsiteX99" fmla="*/ 887752 w 4519987"/>
              <a:gd name="connsiteY99" fmla="*/ 504825 h 4429225"/>
              <a:gd name="connsiteX100" fmla="*/ 1167152 w 4519987"/>
              <a:gd name="connsiteY100" fmla="*/ 311150 h 4429225"/>
              <a:gd name="connsiteX101" fmla="*/ 1268752 w 4519987"/>
              <a:gd name="connsiteY101" fmla="*/ 285750 h 4429225"/>
              <a:gd name="connsiteX102" fmla="*/ 1411627 w 4519987"/>
              <a:gd name="connsiteY102" fmla="*/ 190500 h 4429225"/>
              <a:gd name="connsiteX103" fmla="*/ 1449727 w 4519987"/>
              <a:gd name="connsiteY103" fmla="*/ 161925 h 4429225"/>
              <a:gd name="connsiteX104" fmla="*/ 1525927 w 4519987"/>
              <a:gd name="connsiteY104" fmla="*/ 152400 h 4429225"/>
              <a:gd name="connsiteX105" fmla="*/ 1583077 w 4519987"/>
              <a:gd name="connsiteY105" fmla="*/ 142875 h 4429225"/>
              <a:gd name="connsiteX106" fmla="*/ 1716427 w 4519987"/>
              <a:gd name="connsiteY106" fmla="*/ 123825 h 4429225"/>
              <a:gd name="connsiteX107" fmla="*/ 1811677 w 4519987"/>
              <a:gd name="connsiteY107" fmla="*/ 114300 h 4429225"/>
              <a:gd name="connsiteX108" fmla="*/ 1859302 w 4519987"/>
              <a:gd name="connsiteY108" fmla="*/ 104775 h 4429225"/>
              <a:gd name="connsiteX109" fmla="*/ 1916452 w 4519987"/>
              <a:gd name="connsiteY109" fmla="*/ 95250 h 4429225"/>
              <a:gd name="connsiteX110" fmla="*/ 2030752 w 4519987"/>
              <a:gd name="connsiteY110" fmla="*/ 66675 h 4429225"/>
              <a:gd name="connsiteX111" fmla="*/ 2097427 w 4519987"/>
              <a:gd name="connsiteY111" fmla="*/ 47625 h 4429225"/>
              <a:gd name="connsiteX112" fmla="*/ 2164102 w 4519987"/>
              <a:gd name="connsiteY112" fmla="*/ 38100 h 4429225"/>
              <a:gd name="connsiteX113" fmla="*/ 2392702 w 4519987"/>
              <a:gd name="connsiteY113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221127 w 4519987"/>
              <a:gd name="connsiteY47" fmla="*/ 4200525 h 4429225"/>
              <a:gd name="connsiteX48" fmla="*/ 1144927 w 4519987"/>
              <a:gd name="connsiteY48" fmla="*/ 4171950 h 4429225"/>
              <a:gd name="connsiteX49" fmla="*/ 1087777 w 4519987"/>
              <a:gd name="connsiteY49" fmla="*/ 4143375 h 4429225"/>
              <a:gd name="connsiteX50" fmla="*/ 1030627 w 4519987"/>
              <a:gd name="connsiteY50" fmla="*/ 4124325 h 4429225"/>
              <a:gd name="connsiteX51" fmla="*/ 925852 w 4519987"/>
              <a:gd name="connsiteY51" fmla="*/ 4067175 h 4429225"/>
              <a:gd name="connsiteX52" fmla="*/ 830602 w 4519987"/>
              <a:gd name="connsiteY52" fmla="*/ 3981450 h 4429225"/>
              <a:gd name="connsiteX53" fmla="*/ 763927 w 4519987"/>
              <a:gd name="connsiteY53" fmla="*/ 3914775 h 4429225"/>
              <a:gd name="connsiteX54" fmla="*/ 725827 w 4519987"/>
              <a:gd name="connsiteY54" fmla="*/ 3876675 h 4429225"/>
              <a:gd name="connsiteX55" fmla="*/ 697252 w 4519987"/>
              <a:gd name="connsiteY55" fmla="*/ 3838575 h 4429225"/>
              <a:gd name="connsiteX56" fmla="*/ 640102 w 4519987"/>
              <a:gd name="connsiteY56" fmla="*/ 3781425 h 4429225"/>
              <a:gd name="connsiteX57" fmla="*/ 611527 w 4519987"/>
              <a:gd name="connsiteY57" fmla="*/ 3733800 h 4429225"/>
              <a:gd name="connsiteX58" fmla="*/ 554377 w 4519987"/>
              <a:gd name="connsiteY58" fmla="*/ 3657600 h 4429225"/>
              <a:gd name="connsiteX59" fmla="*/ 525802 w 4519987"/>
              <a:gd name="connsiteY59" fmla="*/ 3609975 h 4429225"/>
              <a:gd name="connsiteX60" fmla="*/ 497227 w 4519987"/>
              <a:gd name="connsiteY60" fmla="*/ 3552825 h 4429225"/>
              <a:gd name="connsiteX61" fmla="*/ 440077 w 4519987"/>
              <a:gd name="connsiteY61" fmla="*/ 3495675 h 4429225"/>
              <a:gd name="connsiteX62" fmla="*/ 411502 w 4519987"/>
              <a:gd name="connsiteY62" fmla="*/ 3448050 h 4429225"/>
              <a:gd name="connsiteX63" fmla="*/ 278152 w 4519987"/>
              <a:gd name="connsiteY63" fmla="*/ 3257550 h 4429225"/>
              <a:gd name="connsiteX64" fmla="*/ 249577 w 4519987"/>
              <a:gd name="connsiteY64" fmla="*/ 3200400 h 4429225"/>
              <a:gd name="connsiteX65" fmla="*/ 240052 w 4519987"/>
              <a:gd name="connsiteY65" fmla="*/ 3162300 h 4429225"/>
              <a:gd name="connsiteX66" fmla="*/ 221002 w 4519987"/>
              <a:gd name="connsiteY66" fmla="*/ 3105150 h 4429225"/>
              <a:gd name="connsiteX67" fmla="*/ 173377 w 4519987"/>
              <a:gd name="connsiteY67" fmla="*/ 3019425 h 4429225"/>
              <a:gd name="connsiteX68" fmla="*/ 144802 w 4519987"/>
              <a:gd name="connsiteY68" fmla="*/ 2924175 h 4429225"/>
              <a:gd name="connsiteX69" fmla="*/ 68602 w 4519987"/>
              <a:gd name="connsiteY69" fmla="*/ 2724150 h 4429225"/>
              <a:gd name="connsiteX70" fmla="*/ 49552 w 4519987"/>
              <a:gd name="connsiteY70" fmla="*/ 2638425 h 4429225"/>
              <a:gd name="connsiteX71" fmla="*/ 40027 w 4519987"/>
              <a:gd name="connsiteY71" fmla="*/ 2562225 h 4429225"/>
              <a:gd name="connsiteX72" fmla="*/ 30502 w 4519987"/>
              <a:gd name="connsiteY72" fmla="*/ 2514600 h 4429225"/>
              <a:gd name="connsiteX73" fmla="*/ 11452 w 4519987"/>
              <a:gd name="connsiteY73" fmla="*/ 2400300 h 4429225"/>
              <a:gd name="connsiteX74" fmla="*/ 20977 w 4519987"/>
              <a:gd name="connsiteY74" fmla="*/ 1905000 h 4429225"/>
              <a:gd name="connsiteX75" fmla="*/ 30502 w 4519987"/>
              <a:gd name="connsiteY75" fmla="*/ 1838325 h 4429225"/>
              <a:gd name="connsiteX76" fmla="*/ 49552 w 4519987"/>
              <a:gd name="connsiteY76" fmla="*/ 1781175 h 4429225"/>
              <a:gd name="connsiteX77" fmla="*/ 59077 w 4519987"/>
              <a:gd name="connsiteY77" fmla="*/ 1743075 h 4429225"/>
              <a:gd name="connsiteX78" fmla="*/ 78127 w 4519987"/>
              <a:gd name="connsiteY78" fmla="*/ 1685925 h 4429225"/>
              <a:gd name="connsiteX79" fmla="*/ 87652 w 4519987"/>
              <a:gd name="connsiteY79" fmla="*/ 1638300 h 4429225"/>
              <a:gd name="connsiteX80" fmla="*/ 106702 w 4519987"/>
              <a:gd name="connsiteY80" fmla="*/ 1590675 h 4429225"/>
              <a:gd name="connsiteX81" fmla="*/ 135277 w 4519987"/>
              <a:gd name="connsiteY81" fmla="*/ 1504950 h 4429225"/>
              <a:gd name="connsiteX82" fmla="*/ 154327 w 4519987"/>
              <a:gd name="connsiteY82" fmla="*/ 1419225 h 4429225"/>
              <a:gd name="connsiteX83" fmla="*/ 230527 w 4519987"/>
              <a:gd name="connsiteY83" fmla="*/ 1276350 h 4429225"/>
              <a:gd name="connsiteX84" fmla="*/ 240052 w 4519987"/>
              <a:gd name="connsiteY84" fmla="*/ 1247775 h 4429225"/>
              <a:gd name="connsiteX85" fmla="*/ 268627 w 4519987"/>
              <a:gd name="connsiteY85" fmla="*/ 1200150 h 4429225"/>
              <a:gd name="connsiteX86" fmla="*/ 287677 w 4519987"/>
              <a:gd name="connsiteY86" fmla="*/ 1152525 h 4429225"/>
              <a:gd name="connsiteX87" fmla="*/ 316252 w 4519987"/>
              <a:gd name="connsiteY87" fmla="*/ 1114425 h 4429225"/>
              <a:gd name="connsiteX88" fmla="*/ 363877 w 4519987"/>
              <a:gd name="connsiteY88" fmla="*/ 1038225 h 4429225"/>
              <a:gd name="connsiteX89" fmla="*/ 382927 w 4519987"/>
              <a:gd name="connsiteY89" fmla="*/ 1009650 h 4429225"/>
              <a:gd name="connsiteX90" fmla="*/ 440077 w 4519987"/>
              <a:gd name="connsiteY90" fmla="*/ 904875 h 4429225"/>
              <a:gd name="connsiteX91" fmla="*/ 478177 w 4519987"/>
              <a:gd name="connsiteY91" fmla="*/ 857250 h 4429225"/>
              <a:gd name="connsiteX92" fmla="*/ 497227 w 4519987"/>
              <a:gd name="connsiteY92" fmla="*/ 828675 h 4429225"/>
              <a:gd name="connsiteX93" fmla="*/ 535327 w 4519987"/>
              <a:gd name="connsiteY93" fmla="*/ 800100 h 4429225"/>
              <a:gd name="connsiteX94" fmla="*/ 602002 w 4519987"/>
              <a:gd name="connsiteY94" fmla="*/ 733425 h 4429225"/>
              <a:gd name="connsiteX95" fmla="*/ 668677 w 4519987"/>
              <a:gd name="connsiteY95" fmla="*/ 676275 h 4429225"/>
              <a:gd name="connsiteX96" fmla="*/ 697252 w 4519987"/>
              <a:gd name="connsiteY96" fmla="*/ 657225 h 4429225"/>
              <a:gd name="connsiteX97" fmla="*/ 840127 w 4519987"/>
              <a:gd name="connsiteY97" fmla="*/ 533400 h 4429225"/>
              <a:gd name="connsiteX98" fmla="*/ 887752 w 4519987"/>
              <a:gd name="connsiteY98" fmla="*/ 504825 h 4429225"/>
              <a:gd name="connsiteX99" fmla="*/ 1167152 w 4519987"/>
              <a:gd name="connsiteY99" fmla="*/ 311150 h 4429225"/>
              <a:gd name="connsiteX100" fmla="*/ 1268752 w 4519987"/>
              <a:gd name="connsiteY100" fmla="*/ 285750 h 4429225"/>
              <a:gd name="connsiteX101" fmla="*/ 1411627 w 4519987"/>
              <a:gd name="connsiteY101" fmla="*/ 190500 h 4429225"/>
              <a:gd name="connsiteX102" fmla="*/ 1449727 w 4519987"/>
              <a:gd name="connsiteY102" fmla="*/ 161925 h 4429225"/>
              <a:gd name="connsiteX103" fmla="*/ 1525927 w 4519987"/>
              <a:gd name="connsiteY103" fmla="*/ 152400 h 4429225"/>
              <a:gd name="connsiteX104" fmla="*/ 1583077 w 4519987"/>
              <a:gd name="connsiteY104" fmla="*/ 142875 h 4429225"/>
              <a:gd name="connsiteX105" fmla="*/ 1716427 w 4519987"/>
              <a:gd name="connsiteY105" fmla="*/ 123825 h 4429225"/>
              <a:gd name="connsiteX106" fmla="*/ 1811677 w 4519987"/>
              <a:gd name="connsiteY106" fmla="*/ 114300 h 4429225"/>
              <a:gd name="connsiteX107" fmla="*/ 1859302 w 4519987"/>
              <a:gd name="connsiteY107" fmla="*/ 104775 h 4429225"/>
              <a:gd name="connsiteX108" fmla="*/ 1916452 w 4519987"/>
              <a:gd name="connsiteY108" fmla="*/ 95250 h 4429225"/>
              <a:gd name="connsiteX109" fmla="*/ 2030752 w 4519987"/>
              <a:gd name="connsiteY109" fmla="*/ 66675 h 4429225"/>
              <a:gd name="connsiteX110" fmla="*/ 2097427 w 4519987"/>
              <a:gd name="connsiteY110" fmla="*/ 47625 h 4429225"/>
              <a:gd name="connsiteX111" fmla="*/ 2164102 w 4519987"/>
              <a:gd name="connsiteY111" fmla="*/ 38100 h 4429225"/>
              <a:gd name="connsiteX112" fmla="*/ 2392702 w 4519987"/>
              <a:gd name="connsiteY112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221127 w 4519987"/>
              <a:gd name="connsiteY47" fmla="*/ 4200525 h 4429225"/>
              <a:gd name="connsiteX48" fmla="*/ 1087777 w 4519987"/>
              <a:gd name="connsiteY48" fmla="*/ 4143375 h 4429225"/>
              <a:gd name="connsiteX49" fmla="*/ 1030627 w 4519987"/>
              <a:gd name="connsiteY49" fmla="*/ 4124325 h 4429225"/>
              <a:gd name="connsiteX50" fmla="*/ 925852 w 4519987"/>
              <a:gd name="connsiteY50" fmla="*/ 4067175 h 4429225"/>
              <a:gd name="connsiteX51" fmla="*/ 830602 w 4519987"/>
              <a:gd name="connsiteY51" fmla="*/ 3981450 h 4429225"/>
              <a:gd name="connsiteX52" fmla="*/ 763927 w 4519987"/>
              <a:gd name="connsiteY52" fmla="*/ 3914775 h 4429225"/>
              <a:gd name="connsiteX53" fmla="*/ 725827 w 4519987"/>
              <a:gd name="connsiteY53" fmla="*/ 3876675 h 4429225"/>
              <a:gd name="connsiteX54" fmla="*/ 697252 w 4519987"/>
              <a:gd name="connsiteY54" fmla="*/ 3838575 h 4429225"/>
              <a:gd name="connsiteX55" fmla="*/ 640102 w 4519987"/>
              <a:gd name="connsiteY55" fmla="*/ 3781425 h 4429225"/>
              <a:gd name="connsiteX56" fmla="*/ 611527 w 4519987"/>
              <a:gd name="connsiteY56" fmla="*/ 3733800 h 4429225"/>
              <a:gd name="connsiteX57" fmla="*/ 554377 w 4519987"/>
              <a:gd name="connsiteY57" fmla="*/ 3657600 h 4429225"/>
              <a:gd name="connsiteX58" fmla="*/ 525802 w 4519987"/>
              <a:gd name="connsiteY58" fmla="*/ 3609975 h 4429225"/>
              <a:gd name="connsiteX59" fmla="*/ 497227 w 4519987"/>
              <a:gd name="connsiteY59" fmla="*/ 3552825 h 4429225"/>
              <a:gd name="connsiteX60" fmla="*/ 440077 w 4519987"/>
              <a:gd name="connsiteY60" fmla="*/ 3495675 h 4429225"/>
              <a:gd name="connsiteX61" fmla="*/ 411502 w 4519987"/>
              <a:gd name="connsiteY61" fmla="*/ 3448050 h 4429225"/>
              <a:gd name="connsiteX62" fmla="*/ 278152 w 4519987"/>
              <a:gd name="connsiteY62" fmla="*/ 3257550 h 4429225"/>
              <a:gd name="connsiteX63" fmla="*/ 249577 w 4519987"/>
              <a:gd name="connsiteY63" fmla="*/ 3200400 h 4429225"/>
              <a:gd name="connsiteX64" fmla="*/ 240052 w 4519987"/>
              <a:gd name="connsiteY64" fmla="*/ 3162300 h 4429225"/>
              <a:gd name="connsiteX65" fmla="*/ 221002 w 4519987"/>
              <a:gd name="connsiteY65" fmla="*/ 3105150 h 4429225"/>
              <a:gd name="connsiteX66" fmla="*/ 173377 w 4519987"/>
              <a:gd name="connsiteY66" fmla="*/ 3019425 h 4429225"/>
              <a:gd name="connsiteX67" fmla="*/ 144802 w 4519987"/>
              <a:gd name="connsiteY67" fmla="*/ 2924175 h 4429225"/>
              <a:gd name="connsiteX68" fmla="*/ 68602 w 4519987"/>
              <a:gd name="connsiteY68" fmla="*/ 2724150 h 4429225"/>
              <a:gd name="connsiteX69" fmla="*/ 49552 w 4519987"/>
              <a:gd name="connsiteY69" fmla="*/ 2638425 h 4429225"/>
              <a:gd name="connsiteX70" fmla="*/ 40027 w 4519987"/>
              <a:gd name="connsiteY70" fmla="*/ 2562225 h 4429225"/>
              <a:gd name="connsiteX71" fmla="*/ 30502 w 4519987"/>
              <a:gd name="connsiteY71" fmla="*/ 2514600 h 4429225"/>
              <a:gd name="connsiteX72" fmla="*/ 11452 w 4519987"/>
              <a:gd name="connsiteY72" fmla="*/ 2400300 h 4429225"/>
              <a:gd name="connsiteX73" fmla="*/ 20977 w 4519987"/>
              <a:gd name="connsiteY73" fmla="*/ 1905000 h 4429225"/>
              <a:gd name="connsiteX74" fmla="*/ 30502 w 4519987"/>
              <a:gd name="connsiteY74" fmla="*/ 1838325 h 4429225"/>
              <a:gd name="connsiteX75" fmla="*/ 49552 w 4519987"/>
              <a:gd name="connsiteY75" fmla="*/ 1781175 h 4429225"/>
              <a:gd name="connsiteX76" fmla="*/ 59077 w 4519987"/>
              <a:gd name="connsiteY76" fmla="*/ 1743075 h 4429225"/>
              <a:gd name="connsiteX77" fmla="*/ 78127 w 4519987"/>
              <a:gd name="connsiteY77" fmla="*/ 1685925 h 4429225"/>
              <a:gd name="connsiteX78" fmla="*/ 87652 w 4519987"/>
              <a:gd name="connsiteY78" fmla="*/ 1638300 h 4429225"/>
              <a:gd name="connsiteX79" fmla="*/ 106702 w 4519987"/>
              <a:gd name="connsiteY79" fmla="*/ 1590675 h 4429225"/>
              <a:gd name="connsiteX80" fmla="*/ 135277 w 4519987"/>
              <a:gd name="connsiteY80" fmla="*/ 1504950 h 4429225"/>
              <a:gd name="connsiteX81" fmla="*/ 154327 w 4519987"/>
              <a:gd name="connsiteY81" fmla="*/ 1419225 h 4429225"/>
              <a:gd name="connsiteX82" fmla="*/ 230527 w 4519987"/>
              <a:gd name="connsiteY82" fmla="*/ 1276350 h 4429225"/>
              <a:gd name="connsiteX83" fmla="*/ 240052 w 4519987"/>
              <a:gd name="connsiteY83" fmla="*/ 1247775 h 4429225"/>
              <a:gd name="connsiteX84" fmla="*/ 268627 w 4519987"/>
              <a:gd name="connsiteY84" fmla="*/ 1200150 h 4429225"/>
              <a:gd name="connsiteX85" fmla="*/ 287677 w 4519987"/>
              <a:gd name="connsiteY85" fmla="*/ 1152525 h 4429225"/>
              <a:gd name="connsiteX86" fmla="*/ 316252 w 4519987"/>
              <a:gd name="connsiteY86" fmla="*/ 1114425 h 4429225"/>
              <a:gd name="connsiteX87" fmla="*/ 363877 w 4519987"/>
              <a:gd name="connsiteY87" fmla="*/ 1038225 h 4429225"/>
              <a:gd name="connsiteX88" fmla="*/ 382927 w 4519987"/>
              <a:gd name="connsiteY88" fmla="*/ 1009650 h 4429225"/>
              <a:gd name="connsiteX89" fmla="*/ 440077 w 4519987"/>
              <a:gd name="connsiteY89" fmla="*/ 904875 h 4429225"/>
              <a:gd name="connsiteX90" fmla="*/ 478177 w 4519987"/>
              <a:gd name="connsiteY90" fmla="*/ 857250 h 4429225"/>
              <a:gd name="connsiteX91" fmla="*/ 497227 w 4519987"/>
              <a:gd name="connsiteY91" fmla="*/ 828675 h 4429225"/>
              <a:gd name="connsiteX92" fmla="*/ 535327 w 4519987"/>
              <a:gd name="connsiteY92" fmla="*/ 800100 h 4429225"/>
              <a:gd name="connsiteX93" fmla="*/ 602002 w 4519987"/>
              <a:gd name="connsiteY93" fmla="*/ 733425 h 4429225"/>
              <a:gd name="connsiteX94" fmla="*/ 668677 w 4519987"/>
              <a:gd name="connsiteY94" fmla="*/ 676275 h 4429225"/>
              <a:gd name="connsiteX95" fmla="*/ 697252 w 4519987"/>
              <a:gd name="connsiteY95" fmla="*/ 657225 h 4429225"/>
              <a:gd name="connsiteX96" fmla="*/ 840127 w 4519987"/>
              <a:gd name="connsiteY96" fmla="*/ 533400 h 4429225"/>
              <a:gd name="connsiteX97" fmla="*/ 887752 w 4519987"/>
              <a:gd name="connsiteY97" fmla="*/ 504825 h 4429225"/>
              <a:gd name="connsiteX98" fmla="*/ 1167152 w 4519987"/>
              <a:gd name="connsiteY98" fmla="*/ 311150 h 4429225"/>
              <a:gd name="connsiteX99" fmla="*/ 1268752 w 4519987"/>
              <a:gd name="connsiteY99" fmla="*/ 285750 h 4429225"/>
              <a:gd name="connsiteX100" fmla="*/ 1411627 w 4519987"/>
              <a:gd name="connsiteY100" fmla="*/ 190500 h 4429225"/>
              <a:gd name="connsiteX101" fmla="*/ 1449727 w 4519987"/>
              <a:gd name="connsiteY101" fmla="*/ 161925 h 4429225"/>
              <a:gd name="connsiteX102" fmla="*/ 1525927 w 4519987"/>
              <a:gd name="connsiteY102" fmla="*/ 152400 h 4429225"/>
              <a:gd name="connsiteX103" fmla="*/ 1583077 w 4519987"/>
              <a:gd name="connsiteY103" fmla="*/ 142875 h 4429225"/>
              <a:gd name="connsiteX104" fmla="*/ 1716427 w 4519987"/>
              <a:gd name="connsiteY104" fmla="*/ 123825 h 4429225"/>
              <a:gd name="connsiteX105" fmla="*/ 1811677 w 4519987"/>
              <a:gd name="connsiteY105" fmla="*/ 114300 h 4429225"/>
              <a:gd name="connsiteX106" fmla="*/ 1859302 w 4519987"/>
              <a:gd name="connsiteY106" fmla="*/ 104775 h 4429225"/>
              <a:gd name="connsiteX107" fmla="*/ 1916452 w 4519987"/>
              <a:gd name="connsiteY107" fmla="*/ 95250 h 4429225"/>
              <a:gd name="connsiteX108" fmla="*/ 2030752 w 4519987"/>
              <a:gd name="connsiteY108" fmla="*/ 66675 h 4429225"/>
              <a:gd name="connsiteX109" fmla="*/ 2097427 w 4519987"/>
              <a:gd name="connsiteY109" fmla="*/ 47625 h 4429225"/>
              <a:gd name="connsiteX110" fmla="*/ 2164102 w 4519987"/>
              <a:gd name="connsiteY110" fmla="*/ 38100 h 4429225"/>
              <a:gd name="connsiteX111" fmla="*/ 2392702 w 4519987"/>
              <a:gd name="connsiteY111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1030627 w 4519987"/>
              <a:gd name="connsiteY48" fmla="*/ 4124325 h 4429225"/>
              <a:gd name="connsiteX49" fmla="*/ 925852 w 4519987"/>
              <a:gd name="connsiteY49" fmla="*/ 4067175 h 4429225"/>
              <a:gd name="connsiteX50" fmla="*/ 830602 w 4519987"/>
              <a:gd name="connsiteY50" fmla="*/ 3981450 h 4429225"/>
              <a:gd name="connsiteX51" fmla="*/ 763927 w 4519987"/>
              <a:gd name="connsiteY51" fmla="*/ 3914775 h 4429225"/>
              <a:gd name="connsiteX52" fmla="*/ 725827 w 4519987"/>
              <a:gd name="connsiteY52" fmla="*/ 3876675 h 4429225"/>
              <a:gd name="connsiteX53" fmla="*/ 697252 w 4519987"/>
              <a:gd name="connsiteY53" fmla="*/ 3838575 h 4429225"/>
              <a:gd name="connsiteX54" fmla="*/ 640102 w 4519987"/>
              <a:gd name="connsiteY54" fmla="*/ 3781425 h 4429225"/>
              <a:gd name="connsiteX55" fmla="*/ 611527 w 4519987"/>
              <a:gd name="connsiteY55" fmla="*/ 3733800 h 4429225"/>
              <a:gd name="connsiteX56" fmla="*/ 554377 w 4519987"/>
              <a:gd name="connsiteY56" fmla="*/ 3657600 h 4429225"/>
              <a:gd name="connsiteX57" fmla="*/ 525802 w 4519987"/>
              <a:gd name="connsiteY57" fmla="*/ 3609975 h 4429225"/>
              <a:gd name="connsiteX58" fmla="*/ 497227 w 4519987"/>
              <a:gd name="connsiteY58" fmla="*/ 3552825 h 4429225"/>
              <a:gd name="connsiteX59" fmla="*/ 440077 w 4519987"/>
              <a:gd name="connsiteY59" fmla="*/ 3495675 h 4429225"/>
              <a:gd name="connsiteX60" fmla="*/ 411502 w 4519987"/>
              <a:gd name="connsiteY60" fmla="*/ 3448050 h 4429225"/>
              <a:gd name="connsiteX61" fmla="*/ 278152 w 4519987"/>
              <a:gd name="connsiteY61" fmla="*/ 3257550 h 4429225"/>
              <a:gd name="connsiteX62" fmla="*/ 249577 w 4519987"/>
              <a:gd name="connsiteY62" fmla="*/ 3200400 h 4429225"/>
              <a:gd name="connsiteX63" fmla="*/ 240052 w 4519987"/>
              <a:gd name="connsiteY63" fmla="*/ 3162300 h 4429225"/>
              <a:gd name="connsiteX64" fmla="*/ 221002 w 4519987"/>
              <a:gd name="connsiteY64" fmla="*/ 3105150 h 4429225"/>
              <a:gd name="connsiteX65" fmla="*/ 173377 w 4519987"/>
              <a:gd name="connsiteY65" fmla="*/ 3019425 h 4429225"/>
              <a:gd name="connsiteX66" fmla="*/ 144802 w 4519987"/>
              <a:gd name="connsiteY66" fmla="*/ 2924175 h 4429225"/>
              <a:gd name="connsiteX67" fmla="*/ 68602 w 4519987"/>
              <a:gd name="connsiteY67" fmla="*/ 2724150 h 4429225"/>
              <a:gd name="connsiteX68" fmla="*/ 49552 w 4519987"/>
              <a:gd name="connsiteY68" fmla="*/ 2638425 h 4429225"/>
              <a:gd name="connsiteX69" fmla="*/ 40027 w 4519987"/>
              <a:gd name="connsiteY69" fmla="*/ 2562225 h 4429225"/>
              <a:gd name="connsiteX70" fmla="*/ 30502 w 4519987"/>
              <a:gd name="connsiteY70" fmla="*/ 2514600 h 4429225"/>
              <a:gd name="connsiteX71" fmla="*/ 11452 w 4519987"/>
              <a:gd name="connsiteY71" fmla="*/ 2400300 h 4429225"/>
              <a:gd name="connsiteX72" fmla="*/ 20977 w 4519987"/>
              <a:gd name="connsiteY72" fmla="*/ 1905000 h 4429225"/>
              <a:gd name="connsiteX73" fmla="*/ 30502 w 4519987"/>
              <a:gd name="connsiteY73" fmla="*/ 1838325 h 4429225"/>
              <a:gd name="connsiteX74" fmla="*/ 49552 w 4519987"/>
              <a:gd name="connsiteY74" fmla="*/ 1781175 h 4429225"/>
              <a:gd name="connsiteX75" fmla="*/ 59077 w 4519987"/>
              <a:gd name="connsiteY75" fmla="*/ 1743075 h 4429225"/>
              <a:gd name="connsiteX76" fmla="*/ 78127 w 4519987"/>
              <a:gd name="connsiteY76" fmla="*/ 1685925 h 4429225"/>
              <a:gd name="connsiteX77" fmla="*/ 87652 w 4519987"/>
              <a:gd name="connsiteY77" fmla="*/ 1638300 h 4429225"/>
              <a:gd name="connsiteX78" fmla="*/ 106702 w 4519987"/>
              <a:gd name="connsiteY78" fmla="*/ 1590675 h 4429225"/>
              <a:gd name="connsiteX79" fmla="*/ 135277 w 4519987"/>
              <a:gd name="connsiteY79" fmla="*/ 1504950 h 4429225"/>
              <a:gd name="connsiteX80" fmla="*/ 154327 w 4519987"/>
              <a:gd name="connsiteY80" fmla="*/ 1419225 h 4429225"/>
              <a:gd name="connsiteX81" fmla="*/ 230527 w 4519987"/>
              <a:gd name="connsiteY81" fmla="*/ 1276350 h 4429225"/>
              <a:gd name="connsiteX82" fmla="*/ 240052 w 4519987"/>
              <a:gd name="connsiteY82" fmla="*/ 1247775 h 4429225"/>
              <a:gd name="connsiteX83" fmla="*/ 268627 w 4519987"/>
              <a:gd name="connsiteY83" fmla="*/ 1200150 h 4429225"/>
              <a:gd name="connsiteX84" fmla="*/ 287677 w 4519987"/>
              <a:gd name="connsiteY84" fmla="*/ 1152525 h 4429225"/>
              <a:gd name="connsiteX85" fmla="*/ 316252 w 4519987"/>
              <a:gd name="connsiteY85" fmla="*/ 1114425 h 4429225"/>
              <a:gd name="connsiteX86" fmla="*/ 363877 w 4519987"/>
              <a:gd name="connsiteY86" fmla="*/ 1038225 h 4429225"/>
              <a:gd name="connsiteX87" fmla="*/ 382927 w 4519987"/>
              <a:gd name="connsiteY87" fmla="*/ 1009650 h 4429225"/>
              <a:gd name="connsiteX88" fmla="*/ 440077 w 4519987"/>
              <a:gd name="connsiteY88" fmla="*/ 904875 h 4429225"/>
              <a:gd name="connsiteX89" fmla="*/ 478177 w 4519987"/>
              <a:gd name="connsiteY89" fmla="*/ 857250 h 4429225"/>
              <a:gd name="connsiteX90" fmla="*/ 497227 w 4519987"/>
              <a:gd name="connsiteY90" fmla="*/ 828675 h 4429225"/>
              <a:gd name="connsiteX91" fmla="*/ 535327 w 4519987"/>
              <a:gd name="connsiteY91" fmla="*/ 800100 h 4429225"/>
              <a:gd name="connsiteX92" fmla="*/ 602002 w 4519987"/>
              <a:gd name="connsiteY92" fmla="*/ 733425 h 4429225"/>
              <a:gd name="connsiteX93" fmla="*/ 668677 w 4519987"/>
              <a:gd name="connsiteY93" fmla="*/ 676275 h 4429225"/>
              <a:gd name="connsiteX94" fmla="*/ 697252 w 4519987"/>
              <a:gd name="connsiteY94" fmla="*/ 657225 h 4429225"/>
              <a:gd name="connsiteX95" fmla="*/ 840127 w 4519987"/>
              <a:gd name="connsiteY95" fmla="*/ 533400 h 4429225"/>
              <a:gd name="connsiteX96" fmla="*/ 887752 w 4519987"/>
              <a:gd name="connsiteY96" fmla="*/ 504825 h 4429225"/>
              <a:gd name="connsiteX97" fmla="*/ 1167152 w 4519987"/>
              <a:gd name="connsiteY97" fmla="*/ 311150 h 4429225"/>
              <a:gd name="connsiteX98" fmla="*/ 1268752 w 4519987"/>
              <a:gd name="connsiteY98" fmla="*/ 285750 h 4429225"/>
              <a:gd name="connsiteX99" fmla="*/ 1411627 w 4519987"/>
              <a:gd name="connsiteY99" fmla="*/ 190500 h 4429225"/>
              <a:gd name="connsiteX100" fmla="*/ 1449727 w 4519987"/>
              <a:gd name="connsiteY100" fmla="*/ 161925 h 4429225"/>
              <a:gd name="connsiteX101" fmla="*/ 1525927 w 4519987"/>
              <a:gd name="connsiteY101" fmla="*/ 152400 h 4429225"/>
              <a:gd name="connsiteX102" fmla="*/ 1583077 w 4519987"/>
              <a:gd name="connsiteY102" fmla="*/ 142875 h 4429225"/>
              <a:gd name="connsiteX103" fmla="*/ 1716427 w 4519987"/>
              <a:gd name="connsiteY103" fmla="*/ 123825 h 4429225"/>
              <a:gd name="connsiteX104" fmla="*/ 1811677 w 4519987"/>
              <a:gd name="connsiteY104" fmla="*/ 114300 h 4429225"/>
              <a:gd name="connsiteX105" fmla="*/ 1859302 w 4519987"/>
              <a:gd name="connsiteY105" fmla="*/ 104775 h 4429225"/>
              <a:gd name="connsiteX106" fmla="*/ 1916452 w 4519987"/>
              <a:gd name="connsiteY106" fmla="*/ 95250 h 4429225"/>
              <a:gd name="connsiteX107" fmla="*/ 2030752 w 4519987"/>
              <a:gd name="connsiteY107" fmla="*/ 66675 h 4429225"/>
              <a:gd name="connsiteX108" fmla="*/ 2097427 w 4519987"/>
              <a:gd name="connsiteY108" fmla="*/ 47625 h 4429225"/>
              <a:gd name="connsiteX109" fmla="*/ 2164102 w 4519987"/>
              <a:gd name="connsiteY109" fmla="*/ 38100 h 4429225"/>
              <a:gd name="connsiteX110" fmla="*/ 2392702 w 4519987"/>
              <a:gd name="connsiteY110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925852 w 4519987"/>
              <a:gd name="connsiteY48" fmla="*/ 4067175 h 4429225"/>
              <a:gd name="connsiteX49" fmla="*/ 830602 w 4519987"/>
              <a:gd name="connsiteY49" fmla="*/ 3981450 h 4429225"/>
              <a:gd name="connsiteX50" fmla="*/ 763927 w 4519987"/>
              <a:gd name="connsiteY50" fmla="*/ 3914775 h 4429225"/>
              <a:gd name="connsiteX51" fmla="*/ 725827 w 4519987"/>
              <a:gd name="connsiteY51" fmla="*/ 3876675 h 4429225"/>
              <a:gd name="connsiteX52" fmla="*/ 697252 w 4519987"/>
              <a:gd name="connsiteY52" fmla="*/ 3838575 h 4429225"/>
              <a:gd name="connsiteX53" fmla="*/ 640102 w 4519987"/>
              <a:gd name="connsiteY53" fmla="*/ 3781425 h 4429225"/>
              <a:gd name="connsiteX54" fmla="*/ 611527 w 4519987"/>
              <a:gd name="connsiteY54" fmla="*/ 3733800 h 4429225"/>
              <a:gd name="connsiteX55" fmla="*/ 554377 w 4519987"/>
              <a:gd name="connsiteY55" fmla="*/ 3657600 h 4429225"/>
              <a:gd name="connsiteX56" fmla="*/ 525802 w 4519987"/>
              <a:gd name="connsiteY56" fmla="*/ 3609975 h 4429225"/>
              <a:gd name="connsiteX57" fmla="*/ 497227 w 4519987"/>
              <a:gd name="connsiteY57" fmla="*/ 3552825 h 4429225"/>
              <a:gd name="connsiteX58" fmla="*/ 440077 w 4519987"/>
              <a:gd name="connsiteY58" fmla="*/ 3495675 h 4429225"/>
              <a:gd name="connsiteX59" fmla="*/ 411502 w 4519987"/>
              <a:gd name="connsiteY59" fmla="*/ 3448050 h 4429225"/>
              <a:gd name="connsiteX60" fmla="*/ 278152 w 4519987"/>
              <a:gd name="connsiteY60" fmla="*/ 3257550 h 4429225"/>
              <a:gd name="connsiteX61" fmla="*/ 249577 w 4519987"/>
              <a:gd name="connsiteY61" fmla="*/ 3200400 h 4429225"/>
              <a:gd name="connsiteX62" fmla="*/ 240052 w 4519987"/>
              <a:gd name="connsiteY62" fmla="*/ 3162300 h 4429225"/>
              <a:gd name="connsiteX63" fmla="*/ 221002 w 4519987"/>
              <a:gd name="connsiteY63" fmla="*/ 3105150 h 4429225"/>
              <a:gd name="connsiteX64" fmla="*/ 173377 w 4519987"/>
              <a:gd name="connsiteY64" fmla="*/ 3019425 h 4429225"/>
              <a:gd name="connsiteX65" fmla="*/ 144802 w 4519987"/>
              <a:gd name="connsiteY65" fmla="*/ 2924175 h 4429225"/>
              <a:gd name="connsiteX66" fmla="*/ 68602 w 4519987"/>
              <a:gd name="connsiteY66" fmla="*/ 2724150 h 4429225"/>
              <a:gd name="connsiteX67" fmla="*/ 49552 w 4519987"/>
              <a:gd name="connsiteY67" fmla="*/ 2638425 h 4429225"/>
              <a:gd name="connsiteX68" fmla="*/ 40027 w 4519987"/>
              <a:gd name="connsiteY68" fmla="*/ 2562225 h 4429225"/>
              <a:gd name="connsiteX69" fmla="*/ 30502 w 4519987"/>
              <a:gd name="connsiteY69" fmla="*/ 2514600 h 4429225"/>
              <a:gd name="connsiteX70" fmla="*/ 11452 w 4519987"/>
              <a:gd name="connsiteY70" fmla="*/ 2400300 h 4429225"/>
              <a:gd name="connsiteX71" fmla="*/ 20977 w 4519987"/>
              <a:gd name="connsiteY71" fmla="*/ 1905000 h 4429225"/>
              <a:gd name="connsiteX72" fmla="*/ 30502 w 4519987"/>
              <a:gd name="connsiteY72" fmla="*/ 1838325 h 4429225"/>
              <a:gd name="connsiteX73" fmla="*/ 49552 w 4519987"/>
              <a:gd name="connsiteY73" fmla="*/ 1781175 h 4429225"/>
              <a:gd name="connsiteX74" fmla="*/ 59077 w 4519987"/>
              <a:gd name="connsiteY74" fmla="*/ 1743075 h 4429225"/>
              <a:gd name="connsiteX75" fmla="*/ 78127 w 4519987"/>
              <a:gd name="connsiteY75" fmla="*/ 1685925 h 4429225"/>
              <a:gd name="connsiteX76" fmla="*/ 87652 w 4519987"/>
              <a:gd name="connsiteY76" fmla="*/ 1638300 h 4429225"/>
              <a:gd name="connsiteX77" fmla="*/ 106702 w 4519987"/>
              <a:gd name="connsiteY77" fmla="*/ 1590675 h 4429225"/>
              <a:gd name="connsiteX78" fmla="*/ 135277 w 4519987"/>
              <a:gd name="connsiteY78" fmla="*/ 1504950 h 4429225"/>
              <a:gd name="connsiteX79" fmla="*/ 154327 w 4519987"/>
              <a:gd name="connsiteY79" fmla="*/ 1419225 h 4429225"/>
              <a:gd name="connsiteX80" fmla="*/ 230527 w 4519987"/>
              <a:gd name="connsiteY80" fmla="*/ 1276350 h 4429225"/>
              <a:gd name="connsiteX81" fmla="*/ 240052 w 4519987"/>
              <a:gd name="connsiteY81" fmla="*/ 1247775 h 4429225"/>
              <a:gd name="connsiteX82" fmla="*/ 268627 w 4519987"/>
              <a:gd name="connsiteY82" fmla="*/ 1200150 h 4429225"/>
              <a:gd name="connsiteX83" fmla="*/ 287677 w 4519987"/>
              <a:gd name="connsiteY83" fmla="*/ 1152525 h 4429225"/>
              <a:gd name="connsiteX84" fmla="*/ 316252 w 4519987"/>
              <a:gd name="connsiteY84" fmla="*/ 1114425 h 4429225"/>
              <a:gd name="connsiteX85" fmla="*/ 363877 w 4519987"/>
              <a:gd name="connsiteY85" fmla="*/ 1038225 h 4429225"/>
              <a:gd name="connsiteX86" fmla="*/ 382927 w 4519987"/>
              <a:gd name="connsiteY86" fmla="*/ 1009650 h 4429225"/>
              <a:gd name="connsiteX87" fmla="*/ 440077 w 4519987"/>
              <a:gd name="connsiteY87" fmla="*/ 904875 h 4429225"/>
              <a:gd name="connsiteX88" fmla="*/ 478177 w 4519987"/>
              <a:gd name="connsiteY88" fmla="*/ 857250 h 4429225"/>
              <a:gd name="connsiteX89" fmla="*/ 497227 w 4519987"/>
              <a:gd name="connsiteY89" fmla="*/ 828675 h 4429225"/>
              <a:gd name="connsiteX90" fmla="*/ 535327 w 4519987"/>
              <a:gd name="connsiteY90" fmla="*/ 800100 h 4429225"/>
              <a:gd name="connsiteX91" fmla="*/ 602002 w 4519987"/>
              <a:gd name="connsiteY91" fmla="*/ 733425 h 4429225"/>
              <a:gd name="connsiteX92" fmla="*/ 668677 w 4519987"/>
              <a:gd name="connsiteY92" fmla="*/ 676275 h 4429225"/>
              <a:gd name="connsiteX93" fmla="*/ 697252 w 4519987"/>
              <a:gd name="connsiteY93" fmla="*/ 657225 h 4429225"/>
              <a:gd name="connsiteX94" fmla="*/ 840127 w 4519987"/>
              <a:gd name="connsiteY94" fmla="*/ 533400 h 4429225"/>
              <a:gd name="connsiteX95" fmla="*/ 887752 w 4519987"/>
              <a:gd name="connsiteY95" fmla="*/ 504825 h 4429225"/>
              <a:gd name="connsiteX96" fmla="*/ 1167152 w 4519987"/>
              <a:gd name="connsiteY96" fmla="*/ 311150 h 4429225"/>
              <a:gd name="connsiteX97" fmla="*/ 1268752 w 4519987"/>
              <a:gd name="connsiteY97" fmla="*/ 285750 h 4429225"/>
              <a:gd name="connsiteX98" fmla="*/ 1411627 w 4519987"/>
              <a:gd name="connsiteY98" fmla="*/ 190500 h 4429225"/>
              <a:gd name="connsiteX99" fmla="*/ 1449727 w 4519987"/>
              <a:gd name="connsiteY99" fmla="*/ 161925 h 4429225"/>
              <a:gd name="connsiteX100" fmla="*/ 1525927 w 4519987"/>
              <a:gd name="connsiteY100" fmla="*/ 152400 h 4429225"/>
              <a:gd name="connsiteX101" fmla="*/ 1583077 w 4519987"/>
              <a:gd name="connsiteY101" fmla="*/ 142875 h 4429225"/>
              <a:gd name="connsiteX102" fmla="*/ 1716427 w 4519987"/>
              <a:gd name="connsiteY102" fmla="*/ 123825 h 4429225"/>
              <a:gd name="connsiteX103" fmla="*/ 1811677 w 4519987"/>
              <a:gd name="connsiteY103" fmla="*/ 114300 h 4429225"/>
              <a:gd name="connsiteX104" fmla="*/ 1859302 w 4519987"/>
              <a:gd name="connsiteY104" fmla="*/ 104775 h 4429225"/>
              <a:gd name="connsiteX105" fmla="*/ 1916452 w 4519987"/>
              <a:gd name="connsiteY105" fmla="*/ 95250 h 4429225"/>
              <a:gd name="connsiteX106" fmla="*/ 2030752 w 4519987"/>
              <a:gd name="connsiteY106" fmla="*/ 66675 h 4429225"/>
              <a:gd name="connsiteX107" fmla="*/ 2097427 w 4519987"/>
              <a:gd name="connsiteY107" fmla="*/ 47625 h 4429225"/>
              <a:gd name="connsiteX108" fmla="*/ 2164102 w 4519987"/>
              <a:gd name="connsiteY108" fmla="*/ 38100 h 4429225"/>
              <a:gd name="connsiteX109" fmla="*/ 2392702 w 4519987"/>
              <a:gd name="connsiteY109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725827 w 4519987"/>
              <a:gd name="connsiteY50" fmla="*/ 3876675 h 4429225"/>
              <a:gd name="connsiteX51" fmla="*/ 697252 w 4519987"/>
              <a:gd name="connsiteY51" fmla="*/ 3838575 h 4429225"/>
              <a:gd name="connsiteX52" fmla="*/ 640102 w 4519987"/>
              <a:gd name="connsiteY52" fmla="*/ 3781425 h 4429225"/>
              <a:gd name="connsiteX53" fmla="*/ 611527 w 4519987"/>
              <a:gd name="connsiteY53" fmla="*/ 3733800 h 4429225"/>
              <a:gd name="connsiteX54" fmla="*/ 554377 w 4519987"/>
              <a:gd name="connsiteY54" fmla="*/ 3657600 h 4429225"/>
              <a:gd name="connsiteX55" fmla="*/ 525802 w 4519987"/>
              <a:gd name="connsiteY55" fmla="*/ 3609975 h 4429225"/>
              <a:gd name="connsiteX56" fmla="*/ 497227 w 4519987"/>
              <a:gd name="connsiteY56" fmla="*/ 3552825 h 4429225"/>
              <a:gd name="connsiteX57" fmla="*/ 440077 w 4519987"/>
              <a:gd name="connsiteY57" fmla="*/ 3495675 h 4429225"/>
              <a:gd name="connsiteX58" fmla="*/ 411502 w 4519987"/>
              <a:gd name="connsiteY58" fmla="*/ 3448050 h 4429225"/>
              <a:gd name="connsiteX59" fmla="*/ 278152 w 4519987"/>
              <a:gd name="connsiteY59" fmla="*/ 3257550 h 4429225"/>
              <a:gd name="connsiteX60" fmla="*/ 249577 w 4519987"/>
              <a:gd name="connsiteY60" fmla="*/ 3200400 h 4429225"/>
              <a:gd name="connsiteX61" fmla="*/ 240052 w 4519987"/>
              <a:gd name="connsiteY61" fmla="*/ 3162300 h 4429225"/>
              <a:gd name="connsiteX62" fmla="*/ 221002 w 4519987"/>
              <a:gd name="connsiteY62" fmla="*/ 3105150 h 4429225"/>
              <a:gd name="connsiteX63" fmla="*/ 173377 w 4519987"/>
              <a:gd name="connsiteY63" fmla="*/ 3019425 h 4429225"/>
              <a:gd name="connsiteX64" fmla="*/ 144802 w 4519987"/>
              <a:gd name="connsiteY64" fmla="*/ 2924175 h 4429225"/>
              <a:gd name="connsiteX65" fmla="*/ 68602 w 4519987"/>
              <a:gd name="connsiteY65" fmla="*/ 2724150 h 4429225"/>
              <a:gd name="connsiteX66" fmla="*/ 49552 w 4519987"/>
              <a:gd name="connsiteY66" fmla="*/ 2638425 h 4429225"/>
              <a:gd name="connsiteX67" fmla="*/ 40027 w 4519987"/>
              <a:gd name="connsiteY67" fmla="*/ 2562225 h 4429225"/>
              <a:gd name="connsiteX68" fmla="*/ 30502 w 4519987"/>
              <a:gd name="connsiteY68" fmla="*/ 2514600 h 4429225"/>
              <a:gd name="connsiteX69" fmla="*/ 11452 w 4519987"/>
              <a:gd name="connsiteY69" fmla="*/ 2400300 h 4429225"/>
              <a:gd name="connsiteX70" fmla="*/ 20977 w 4519987"/>
              <a:gd name="connsiteY70" fmla="*/ 1905000 h 4429225"/>
              <a:gd name="connsiteX71" fmla="*/ 30502 w 4519987"/>
              <a:gd name="connsiteY71" fmla="*/ 1838325 h 4429225"/>
              <a:gd name="connsiteX72" fmla="*/ 49552 w 4519987"/>
              <a:gd name="connsiteY72" fmla="*/ 1781175 h 4429225"/>
              <a:gd name="connsiteX73" fmla="*/ 59077 w 4519987"/>
              <a:gd name="connsiteY73" fmla="*/ 1743075 h 4429225"/>
              <a:gd name="connsiteX74" fmla="*/ 78127 w 4519987"/>
              <a:gd name="connsiteY74" fmla="*/ 1685925 h 4429225"/>
              <a:gd name="connsiteX75" fmla="*/ 87652 w 4519987"/>
              <a:gd name="connsiteY75" fmla="*/ 1638300 h 4429225"/>
              <a:gd name="connsiteX76" fmla="*/ 106702 w 4519987"/>
              <a:gd name="connsiteY76" fmla="*/ 1590675 h 4429225"/>
              <a:gd name="connsiteX77" fmla="*/ 135277 w 4519987"/>
              <a:gd name="connsiteY77" fmla="*/ 1504950 h 4429225"/>
              <a:gd name="connsiteX78" fmla="*/ 154327 w 4519987"/>
              <a:gd name="connsiteY78" fmla="*/ 1419225 h 4429225"/>
              <a:gd name="connsiteX79" fmla="*/ 230527 w 4519987"/>
              <a:gd name="connsiteY79" fmla="*/ 1276350 h 4429225"/>
              <a:gd name="connsiteX80" fmla="*/ 240052 w 4519987"/>
              <a:gd name="connsiteY80" fmla="*/ 1247775 h 4429225"/>
              <a:gd name="connsiteX81" fmla="*/ 268627 w 4519987"/>
              <a:gd name="connsiteY81" fmla="*/ 1200150 h 4429225"/>
              <a:gd name="connsiteX82" fmla="*/ 287677 w 4519987"/>
              <a:gd name="connsiteY82" fmla="*/ 1152525 h 4429225"/>
              <a:gd name="connsiteX83" fmla="*/ 316252 w 4519987"/>
              <a:gd name="connsiteY83" fmla="*/ 1114425 h 4429225"/>
              <a:gd name="connsiteX84" fmla="*/ 363877 w 4519987"/>
              <a:gd name="connsiteY84" fmla="*/ 1038225 h 4429225"/>
              <a:gd name="connsiteX85" fmla="*/ 382927 w 4519987"/>
              <a:gd name="connsiteY85" fmla="*/ 1009650 h 4429225"/>
              <a:gd name="connsiteX86" fmla="*/ 440077 w 4519987"/>
              <a:gd name="connsiteY86" fmla="*/ 904875 h 4429225"/>
              <a:gd name="connsiteX87" fmla="*/ 478177 w 4519987"/>
              <a:gd name="connsiteY87" fmla="*/ 857250 h 4429225"/>
              <a:gd name="connsiteX88" fmla="*/ 497227 w 4519987"/>
              <a:gd name="connsiteY88" fmla="*/ 828675 h 4429225"/>
              <a:gd name="connsiteX89" fmla="*/ 535327 w 4519987"/>
              <a:gd name="connsiteY89" fmla="*/ 800100 h 4429225"/>
              <a:gd name="connsiteX90" fmla="*/ 602002 w 4519987"/>
              <a:gd name="connsiteY90" fmla="*/ 733425 h 4429225"/>
              <a:gd name="connsiteX91" fmla="*/ 668677 w 4519987"/>
              <a:gd name="connsiteY91" fmla="*/ 676275 h 4429225"/>
              <a:gd name="connsiteX92" fmla="*/ 697252 w 4519987"/>
              <a:gd name="connsiteY92" fmla="*/ 657225 h 4429225"/>
              <a:gd name="connsiteX93" fmla="*/ 840127 w 4519987"/>
              <a:gd name="connsiteY93" fmla="*/ 533400 h 4429225"/>
              <a:gd name="connsiteX94" fmla="*/ 887752 w 4519987"/>
              <a:gd name="connsiteY94" fmla="*/ 504825 h 4429225"/>
              <a:gd name="connsiteX95" fmla="*/ 1167152 w 4519987"/>
              <a:gd name="connsiteY95" fmla="*/ 311150 h 4429225"/>
              <a:gd name="connsiteX96" fmla="*/ 1268752 w 4519987"/>
              <a:gd name="connsiteY96" fmla="*/ 285750 h 4429225"/>
              <a:gd name="connsiteX97" fmla="*/ 1411627 w 4519987"/>
              <a:gd name="connsiteY97" fmla="*/ 190500 h 4429225"/>
              <a:gd name="connsiteX98" fmla="*/ 1449727 w 4519987"/>
              <a:gd name="connsiteY98" fmla="*/ 161925 h 4429225"/>
              <a:gd name="connsiteX99" fmla="*/ 1525927 w 4519987"/>
              <a:gd name="connsiteY99" fmla="*/ 152400 h 4429225"/>
              <a:gd name="connsiteX100" fmla="*/ 1583077 w 4519987"/>
              <a:gd name="connsiteY100" fmla="*/ 142875 h 4429225"/>
              <a:gd name="connsiteX101" fmla="*/ 1716427 w 4519987"/>
              <a:gd name="connsiteY101" fmla="*/ 123825 h 4429225"/>
              <a:gd name="connsiteX102" fmla="*/ 1811677 w 4519987"/>
              <a:gd name="connsiteY102" fmla="*/ 114300 h 4429225"/>
              <a:gd name="connsiteX103" fmla="*/ 1859302 w 4519987"/>
              <a:gd name="connsiteY103" fmla="*/ 104775 h 4429225"/>
              <a:gd name="connsiteX104" fmla="*/ 1916452 w 4519987"/>
              <a:gd name="connsiteY104" fmla="*/ 95250 h 4429225"/>
              <a:gd name="connsiteX105" fmla="*/ 2030752 w 4519987"/>
              <a:gd name="connsiteY105" fmla="*/ 66675 h 4429225"/>
              <a:gd name="connsiteX106" fmla="*/ 2097427 w 4519987"/>
              <a:gd name="connsiteY106" fmla="*/ 47625 h 4429225"/>
              <a:gd name="connsiteX107" fmla="*/ 2164102 w 4519987"/>
              <a:gd name="connsiteY107" fmla="*/ 38100 h 4429225"/>
              <a:gd name="connsiteX108" fmla="*/ 2392702 w 4519987"/>
              <a:gd name="connsiteY108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640102 w 4519987"/>
              <a:gd name="connsiteY51" fmla="*/ 3781425 h 4429225"/>
              <a:gd name="connsiteX52" fmla="*/ 611527 w 4519987"/>
              <a:gd name="connsiteY52" fmla="*/ 3733800 h 4429225"/>
              <a:gd name="connsiteX53" fmla="*/ 554377 w 4519987"/>
              <a:gd name="connsiteY53" fmla="*/ 3657600 h 4429225"/>
              <a:gd name="connsiteX54" fmla="*/ 525802 w 4519987"/>
              <a:gd name="connsiteY54" fmla="*/ 3609975 h 4429225"/>
              <a:gd name="connsiteX55" fmla="*/ 497227 w 4519987"/>
              <a:gd name="connsiteY55" fmla="*/ 3552825 h 4429225"/>
              <a:gd name="connsiteX56" fmla="*/ 440077 w 4519987"/>
              <a:gd name="connsiteY56" fmla="*/ 3495675 h 4429225"/>
              <a:gd name="connsiteX57" fmla="*/ 411502 w 4519987"/>
              <a:gd name="connsiteY57" fmla="*/ 3448050 h 4429225"/>
              <a:gd name="connsiteX58" fmla="*/ 278152 w 4519987"/>
              <a:gd name="connsiteY58" fmla="*/ 3257550 h 4429225"/>
              <a:gd name="connsiteX59" fmla="*/ 249577 w 4519987"/>
              <a:gd name="connsiteY59" fmla="*/ 3200400 h 4429225"/>
              <a:gd name="connsiteX60" fmla="*/ 240052 w 4519987"/>
              <a:gd name="connsiteY60" fmla="*/ 3162300 h 4429225"/>
              <a:gd name="connsiteX61" fmla="*/ 221002 w 4519987"/>
              <a:gd name="connsiteY61" fmla="*/ 3105150 h 4429225"/>
              <a:gd name="connsiteX62" fmla="*/ 173377 w 4519987"/>
              <a:gd name="connsiteY62" fmla="*/ 3019425 h 4429225"/>
              <a:gd name="connsiteX63" fmla="*/ 144802 w 4519987"/>
              <a:gd name="connsiteY63" fmla="*/ 2924175 h 4429225"/>
              <a:gd name="connsiteX64" fmla="*/ 68602 w 4519987"/>
              <a:gd name="connsiteY64" fmla="*/ 2724150 h 4429225"/>
              <a:gd name="connsiteX65" fmla="*/ 49552 w 4519987"/>
              <a:gd name="connsiteY65" fmla="*/ 2638425 h 4429225"/>
              <a:gd name="connsiteX66" fmla="*/ 40027 w 4519987"/>
              <a:gd name="connsiteY66" fmla="*/ 2562225 h 4429225"/>
              <a:gd name="connsiteX67" fmla="*/ 30502 w 4519987"/>
              <a:gd name="connsiteY67" fmla="*/ 2514600 h 4429225"/>
              <a:gd name="connsiteX68" fmla="*/ 11452 w 4519987"/>
              <a:gd name="connsiteY68" fmla="*/ 2400300 h 4429225"/>
              <a:gd name="connsiteX69" fmla="*/ 20977 w 4519987"/>
              <a:gd name="connsiteY69" fmla="*/ 1905000 h 4429225"/>
              <a:gd name="connsiteX70" fmla="*/ 30502 w 4519987"/>
              <a:gd name="connsiteY70" fmla="*/ 1838325 h 4429225"/>
              <a:gd name="connsiteX71" fmla="*/ 49552 w 4519987"/>
              <a:gd name="connsiteY71" fmla="*/ 1781175 h 4429225"/>
              <a:gd name="connsiteX72" fmla="*/ 59077 w 4519987"/>
              <a:gd name="connsiteY72" fmla="*/ 1743075 h 4429225"/>
              <a:gd name="connsiteX73" fmla="*/ 78127 w 4519987"/>
              <a:gd name="connsiteY73" fmla="*/ 1685925 h 4429225"/>
              <a:gd name="connsiteX74" fmla="*/ 87652 w 4519987"/>
              <a:gd name="connsiteY74" fmla="*/ 1638300 h 4429225"/>
              <a:gd name="connsiteX75" fmla="*/ 106702 w 4519987"/>
              <a:gd name="connsiteY75" fmla="*/ 1590675 h 4429225"/>
              <a:gd name="connsiteX76" fmla="*/ 135277 w 4519987"/>
              <a:gd name="connsiteY76" fmla="*/ 1504950 h 4429225"/>
              <a:gd name="connsiteX77" fmla="*/ 154327 w 4519987"/>
              <a:gd name="connsiteY77" fmla="*/ 1419225 h 4429225"/>
              <a:gd name="connsiteX78" fmla="*/ 230527 w 4519987"/>
              <a:gd name="connsiteY78" fmla="*/ 1276350 h 4429225"/>
              <a:gd name="connsiteX79" fmla="*/ 240052 w 4519987"/>
              <a:gd name="connsiteY79" fmla="*/ 1247775 h 4429225"/>
              <a:gd name="connsiteX80" fmla="*/ 268627 w 4519987"/>
              <a:gd name="connsiteY80" fmla="*/ 1200150 h 4429225"/>
              <a:gd name="connsiteX81" fmla="*/ 287677 w 4519987"/>
              <a:gd name="connsiteY81" fmla="*/ 1152525 h 4429225"/>
              <a:gd name="connsiteX82" fmla="*/ 316252 w 4519987"/>
              <a:gd name="connsiteY82" fmla="*/ 1114425 h 4429225"/>
              <a:gd name="connsiteX83" fmla="*/ 363877 w 4519987"/>
              <a:gd name="connsiteY83" fmla="*/ 1038225 h 4429225"/>
              <a:gd name="connsiteX84" fmla="*/ 382927 w 4519987"/>
              <a:gd name="connsiteY84" fmla="*/ 1009650 h 4429225"/>
              <a:gd name="connsiteX85" fmla="*/ 440077 w 4519987"/>
              <a:gd name="connsiteY85" fmla="*/ 904875 h 4429225"/>
              <a:gd name="connsiteX86" fmla="*/ 478177 w 4519987"/>
              <a:gd name="connsiteY86" fmla="*/ 857250 h 4429225"/>
              <a:gd name="connsiteX87" fmla="*/ 497227 w 4519987"/>
              <a:gd name="connsiteY87" fmla="*/ 828675 h 4429225"/>
              <a:gd name="connsiteX88" fmla="*/ 535327 w 4519987"/>
              <a:gd name="connsiteY88" fmla="*/ 800100 h 4429225"/>
              <a:gd name="connsiteX89" fmla="*/ 602002 w 4519987"/>
              <a:gd name="connsiteY89" fmla="*/ 733425 h 4429225"/>
              <a:gd name="connsiteX90" fmla="*/ 668677 w 4519987"/>
              <a:gd name="connsiteY90" fmla="*/ 676275 h 4429225"/>
              <a:gd name="connsiteX91" fmla="*/ 697252 w 4519987"/>
              <a:gd name="connsiteY91" fmla="*/ 657225 h 4429225"/>
              <a:gd name="connsiteX92" fmla="*/ 840127 w 4519987"/>
              <a:gd name="connsiteY92" fmla="*/ 533400 h 4429225"/>
              <a:gd name="connsiteX93" fmla="*/ 887752 w 4519987"/>
              <a:gd name="connsiteY93" fmla="*/ 504825 h 4429225"/>
              <a:gd name="connsiteX94" fmla="*/ 1167152 w 4519987"/>
              <a:gd name="connsiteY94" fmla="*/ 311150 h 4429225"/>
              <a:gd name="connsiteX95" fmla="*/ 1268752 w 4519987"/>
              <a:gd name="connsiteY95" fmla="*/ 285750 h 4429225"/>
              <a:gd name="connsiteX96" fmla="*/ 1411627 w 4519987"/>
              <a:gd name="connsiteY96" fmla="*/ 190500 h 4429225"/>
              <a:gd name="connsiteX97" fmla="*/ 1449727 w 4519987"/>
              <a:gd name="connsiteY97" fmla="*/ 161925 h 4429225"/>
              <a:gd name="connsiteX98" fmla="*/ 1525927 w 4519987"/>
              <a:gd name="connsiteY98" fmla="*/ 152400 h 4429225"/>
              <a:gd name="connsiteX99" fmla="*/ 1583077 w 4519987"/>
              <a:gd name="connsiteY99" fmla="*/ 142875 h 4429225"/>
              <a:gd name="connsiteX100" fmla="*/ 1716427 w 4519987"/>
              <a:gd name="connsiteY100" fmla="*/ 123825 h 4429225"/>
              <a:gd name="connsiteX101" fmla="*/ 1811677 w 4519987"/>
              <a:gd name="connsiteY101" fmla="*/ 114300 h 4429225"/>
              <a:gd name="connsiteX102" fmla="*/ 1859302 w 4519987"/>
              <a:gd name="connsiteY102" fmla="*/ 104775 h 4429225"/>
              <a:gd name="connsiteX103" fmla="*/ 1916452 w 4519987"/>
              <a:gd name="connsiteY103" fmla="*/ 95250 h 4429225"/>
              <a:gd name="connsiteX104" fmla="*/ 2030752 w 4519987"/>
              <a:gd name="connsiteY104" fmla="*/ 66675 h 4429225"/>
              <a:gd name="connsiteX105" fmla="*/ 2097427 w 4519987"/>
              <a:gd name="connsiteY105" fmla="*/ 47625 h 4429225"/>
              <a:gd name="connsiteX106" fmla="*/ 2164102 w 4519987"/>
              <a:gd name="connsiteY106" fmla="*/ 38100 h 4429225"/>
              <a:gd name="connsiteX107" fmla="*/ 2392702 w 4519987"/>
              <a:gd name="connsiteY107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611527 w 4519987"/>
              <a:gd name="connsiteY51" fmla="*/ 3733800 h 4429225"/>
              <a:gd name="connsiteX52" fmla="*/ 554377 w 4519987"/>
              <a:gd name="connsiteY52" fmla="*/ 3657600 h 4429225"/>
              <a:gd name="connsiteX53" fmla="*/ 525802 w 4519987"/>
              <a:gd name="connsiteY53" fmla="*/ 3609975 h 4429225"/>
              <a:gd name="connsiteX54" fmla="*/ 497227 w 4519987"/>
              <a:gd name="connsiteY54" fmla="*/ 3552825 h 4429225"/>
              <a:gd name="connsiteX55" fmla="*/ 440077 w 4519987"/>
              <a:gd name="connsiteY55" fmla="*/ 3495675 h 4429225"/>
              <a:gd name="connsiteX56" fmla="*/ 411502 w 4519987"/>
              <a:gd name="connsiteY56" fmla="*/ 3448050 h 4429225"/>
              <a:gd name="connsiteX57" fmla="*/ 278152 w 4519987"/>
              <a:gd name="connsiteY57" fmla="*/ 3257550 h 4429225"/>
              <a:gd name="connsiteX58" fmla="*/ 249577 w 4519987"/>
              <a:gd name="connsiteY58" fmla="*/ 3200400 h 4429225"/>
              <a:gd name="connsiteX59" fmla="*/ 240052 w 4519987"/>
              <a:gd name="connsiteY59" fmla="*/ 3162300 h 4429225"/>
              <a:gd name="connsiteX60" fmla="*/ 221002 w 4519987"/>
              <a:gd name="connsiteY60" fmla="*/ 3105150 h 4429225"/>
              <a:gd name="connsiteX61" fmla="*/ 173377 w 4519987"/>
              <a:gd name="connsiteY61" fmla="*/ 3019425 h 4429225"/>
              <a:gd name="connsiteX62" fmla="*/ 144802 w 4519987"/>
              <a:gd name="connsiteY62" fmla="*/ 2924175 h 4429225"/>
              <a:gd name="connsiteX63" fmla="*/ 68602 w 4519987"/>
              <a:gd name="connsiteY63" fmla="*/ 2724150 h 4429225"/>
              <a:gd name="connsiteX64" fmla="*/ 49552 w 4519987"/>
              <a:gd name="connsiteY64" fmla="*/ 2638425 h 4429225"/>
              <a:gd name="connsiteX65" fmla="*/ 40027 w 4519987"/>
              <a:gd name="connsiteY65" fmla="*/ 2562225 h 4429225"/>
              <a:gd name="connsiteX66" fmla="*/ 30502 w 4519987"/>
              <a:gd name="connsiteY66" fmla="*/ 2514600 h 4429225"/>
              <a:gd name="connsiteX67" fmla="*/ 11452 w 4519987"/>
              <a:gd name="connsiteY67" fmla="*/ 2400300 h 4429225"/>
              <a:gd name="connsiteX68" fmla="*/ 20977 w 4519987"/>
              <a:gd name="connsiteY68" fmla="*/ 1905000 h 4429225"/>
              <a:gd name="connsiteX69" fmla="*/ 30502 w 4519987"/>
              <a:gd name="connsiteY69" fmla="*/ 1838325 h 4429225"/>
              <a:gd name="connsiteX70" fmla="*/ 49552 w 4519987"/>
              <a:gd name="connsiteY70" fmla="*/ 1781175 h 4429225"/>
              <a:gd name="connsiteX71" fmla="*/ 59077 w 4519987"/>
              <a:gd name="connsiteY71" fmla="*/ 1743075 h 4429225"/>
              <a:gd name="connsiteX72" fmla="*/ 78127 w 4519987"/>
              <a:gd name="connsiteY72" fmla="*/ 1685925 h 4429225"/>
              <a:gd name="connsiteX73" fmla="*/ 87652 w 4519987"/>
              <a:gd name="connsiteY73" fmla="*/ 1638300 h 4429225"/>
              <a:gd name="connsiteX74" fmla="*/ 106702 w 4519987"/>
              <a:gd name="connsiteY74" fmla="*/ 1590675 h 4429225"/>
              <a:gd name="connsiteX75" fmla="*/ 135277 w 4519987"/>
              <a:gd name="connsiteY75" fmla="*/ 1504950 h 4429225"/>
              <a:gd name="connsiteX76" fmla="*/ 154327 w 4519987"/>
              <a:gd name="connsiteY76" fmla="*/ 1419225 h 4429225"/>
              <a:gd name="connsiteX77" fmla="*/ 230527 w 4519987"/>
              <a:gd name="connsiteY77" fmla="*/ 1276350 h 4429225"/>
              <a:gd name="connsiteX78" fmla="*/ 240052 w 4519987"/>
              <a:gd name="connsiteY78" fmla="*/ 1247775 h 4429225"/>
              <a:gd name="connsiteX79" fmla="*/ 268627 w 4519987"/>
              <a:gd name="connsiteY79" fmla="*/ 1200150 h 4429225"/>
              <a:gd name="connsiteX80" fmla="*/ 287677 w 4519987"/>
              <a:gd name="connsiteY80" fmla="*/ 1152525 h 4429225"/>
              <a:gd name="connsiteX81" fmla="*/ 316252 w 4519987"/>
              <a:gd name="connsiteY81" fmla="*/ 1114425 h 4429225"/>
              <a:gd name="connsiteX82" fmla="*/ 363877 w 4519987"/>
              <a:gd name="connsiteY82" fmla="*/ 1038225 h 4429225"/>
              <a:gd name="connsiteX83" fmla="*/ 382927 w 4519987"/>
              <a:gd name="connsiteY83" fmla="*/ 1009650 h 4429225"/>
              <a:gd name="connsiteX84" fmla="*/ 440077 w 4519987"/>
              <a:gd name="connsiteY84" fmla="*/ 904875 h 4429225"/>
              <a:gd name="connsiteX85" fmla="*/ 478177 w 4519987"/>
              <a:gd name="connsiteY85" fmla="*/ 857250 h 4429225"/>
              <a:gd name="connsiteX86" fmla="*/ 497227 w 4519987"/>
              <a:gd name="connsiteY86" fmla="*/ 828675 h 4429225"/>
              <a:gd name="connsiteX87" fmla="*/ 535327 w 4519987"/>
              <a:gd name="connsiteY87" fmla="*/ 800100 h 4429225"/>
              <a:gd name="connsiteX88" fmla="*/ 602002 w 4519987"/>
              <a:gd name="connsiteY88" fmla="*/ 733425 h 4429225"/>
              <a:gd name="connsiteX89" fmla="*/ 668677 w 4519987"/>
              <a:gd name="connsiteY89" fmla="*/ 676275 h 4429225"/>
              <a:gd name="connsiteX90" fmla="*/ 697252 w 4519987"/>
              <a:gd name="connsiteY90" fmla="*/ 657225 h 4429225"/>
              <a:gd name="connsiteX91" fmla="*/ 840127 w 4519987"/>
              <a:gd name="connsiteY91" fmla="*/ 533400 h 4429225"/>
              <a:gd name="connsiteX92" fmla="*/ 887752 w 4519987"/>
              <a:gd name="connsiteY92" fmla="*/ 504825 h 4429225"/>
              <a:gd name="connsiteX93" fmla="*/ 1167152 w 4519987"/>
              <a:gd name="connsiteY93" fmla="*/ 311150 h 4429225"/>
              <a:gd name="connsiteX94" fmla="*/ 1268752 w 4519987"/>
              <a:gd name="connsiteY94" fmla="*/ 285750 h 4429225"/>
              <a:gd name="connsiteX95" fmla="*/ 1411627 w 4519987"/>
              <a:gd name="connsiteY95" fmla="*/ 190500 h 4429225"/>
              <a:gd name="connsiteX96" fmla="*/ 1449727 w 4519987"/>
              <a:gd name="connsiteY96" fmla="*/ 161925 h 4429225"/>
              <a:gd name="connsiteX97" fmla="*/ 1525927 w 4519987"/>
              <a:gd name="connsiteY97" fmla="*/ 152400 h 4429225"/>
              <a:gd name="connsiteX98" fmla="*/ 1583077 w 4519987"/>
              <a:gd name="connsiteY98" fmla="*/ 142875 h 4429225"/>
              <a:gd name="connsiteX99" fmla="*/ 1716427 w 4519987"/>
              <a:gd name="connsiteY99" fmla="*/ 123825 h 4429225"/>
              <a:gd name="connsiteX100" fmla="*/ 1811677 w 4519987"/>
              <a:gd name="connsiteY100" fmla="*/ 114300 h 4429225"/>
              <a:gd name="connsiteX101" fmla="*/ 1859302 w 4519987"/>
              <a:gd name="connsiteY101" fmla="*/ 104775 h 4429225"/>
              <a:gd name="connsiteX102" fmla="*/ 1916452 w 4519987"/>
              <a:gd name="connsiteY102" fmla="*/ 95250 h 4429225"/>
              <a:gd name="connsiteX103" fmla="*/ 2030752 w 4519987"/>
              <a:gd name="connsiteY103" fmla="*/ 66675 h 4429225"/>
              <a:gd name="connsiteX104" fmla="*/ 2097427 w 4519987"/>
              <a:gd name="connsiteY104" fmla="*/ 47625 h 4429225"/>
              <a:gd name="connsiteX105" fmla="*/ 2164102 w 4519987"/>
              <a:gd name="connsiteY105" fmla="*/ 38100 h 4429225"/>
              <a:gd name="connsiteX106" fmla="*/ 2392702 w 4519987"/>
              <a:gd name="connsiteY106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525802 w 4519987"/>
              <a:gd name="connsiteY52" fmla="*/ 3609975 h 4429225"/>
              <a:gd name="connsiteX53" fmla="*/ 497227 w 4519987"/>
              <a:gd name="connsiteY53" fmla="*/ 3552825 h 4429225"/>
              <a:gd name="connsiteX54" fmla="*/ 440077 w 4519987"/>
              <a:gd name="connsiteY54" fmla="*/ 3495675 h 4429225"/>
              <a:gd name="connsiteX55" fmla="*/ 411502 w 4519987"/>
              <a:gd name="connsiteY55" fmla="*/ 3448050 h 4429225"/>
              <a:gd name="connsiteX56" fmla="*/ 278152 w 4519987"/>
              <a:gd name="connsiteY56" fmla="*/ 3257550 h 4429225"/>
              <a:gd name="connsiteX57" fmla="*/ 249577 w 4519987"/>
              <a:gd name="connsiteY57" fmla="*/ 3200400 h 4429225"/>
              <a:gd name="connsiteX58" fmla="*/ 240052 w 4519987"/>
              <a:gd name="connsiteY58" fmla="*/ 3162300 h 4429225"/>
              <a:gd name="connsiteX59" fmla="*/ 221002 w 4519987"/>
              <a:gd name="connsiteY59" fmla="*/ 3105150 h 4429225"/>
              <a:gd name="connsiteX60" fmla="*/ 173377 w 4519987"/>
              <a:gd name="connsiteY60" fmla="*/ 3019425 h 4429225"/>
              <a:gd name="connsiteX61" fmla="*/ 144802 w 4519987"/>
              <a:gd name="connsiteY61" fmla="*/ 2924175 h 4429225"/>
              <a:gd name="connsiteX62" fmla="*/ 68602 w 4519987"/>
              <a:gd name="connsiteY62" fmla="*/ 2724150 h 4429225"/>
              <a:gd name="connsiteX63" fmla="*/ 49552 w 4519987"/>
              <a:gd name="connsiteY63" fmla="*/ 2638425 h 4429225"/>
              <a:gd name="connsiteX64" fmla="*/ 40027 w 4519987"/>
              <a:gd name="connsiteY64" fmla="*/ 2562225 h 4429225"/>
              <a:gd name="connsiteX65" fmla="*/ 30502 w 4519987"/>
              <a:gd name="connsiteY65" fmla="*/ 2514600 h 4429225"/>
              <a:gd name="connsiteX66" fmla="*/ 11452 w 4519987"/>
              <a:gd name="connsiteY66" fmla="*/ 2400300 h 4429225"/>
              <a:gd name="connsiteX67" fmla="*/ 20977 w 4519987"/>
              <a:gd name="connsiteY67" fmla="*/ 1905000 h 4429225"/>
              <a:gd name="connsiteX68" fmla="*/ 30502 w 4519987"/>
              <a:gd name="connsiteY68" fmla="*/ 1838325 h 4429225"/>
              <a:gd name="connsiteX69" fmla="*/ 49552 w 4519987"/>
              <a:gd name="connsiteY69" fmla="*/ 1781175 h 4429225"/>
              <a:gd name="connsiteX70" fmla="*/ 59077 w 4519987"/>
              <a:gd name="connsiteY70" fmla="*/ 1743075 h 4429225"/>
              <a:gd name="connsiteX71" fmla="*/ 78127 w 4519987"/>
              <a:gd name="connsiteY71" fmla="*/ 1685925 h 4429225"/>
              <a:gd name="connsiteX72" fmla="*/ 87652 w 4519987"/>
              <a:gd name="connsiteY72" fmla="*/ 1638300 h 4429225"/>
              <a:gd name="connsiteX73" fmla="*/ 106702 w 4519987"/>
              <a:gd name="connsiteY73" fmla="*/ 1590675 h 4429225"/>
              <a:gd name="connsiteX74" fmla="*/ 135277 w 4519987"/>
              <a:gd name="connsiteY74" fmla="*/ 1504950 h 4429225"/>
              <a:gd name="connsiteX75" fmla="*/ 154327 w 4519987"/>
              <a:gd name="connsiteY75" fmla="*/ 1419225 h 4429225"/>
              <a:gd name="connsiteX76" fmla="*/ 230527 w 4519987"/>
              <a:gd name="connsiteY76" fmla="*/ 1276350 h 4429225"/>
              <a:gd name="connsiteX77" fmla="*/ 240052 w 4519987"/>
              <a:gd name="connsiteY77" fmla="*/ 1247775 h 4429225"/>
              <a:gd name="connsiteX78" fmla="*/ 268627 w 4519987"/>
              <a:gd name="connsiteY78" fmla="*/ 1200150 h 4429225"/>
              <a:gd name="connsiteX79" fmla="*/ 287677 w 4519987"/>
              <a:gd name="connsiteY79" fmla="*/ 1152525 h 4429225"/>
              <a:gd name="connsiteX80" fmla="*/ 316252 w 4519987"/>
              <a:gd name="connsiteY80" fmla="*/ 1114425 h 4429225"/>
              <a:gd name="connsiteX81" fmla="*/ 363877 w 4519987"/>
              <a:gd name="connsiteY81" fmla="*/ 1038225 h 4429225"/>
              <a:gd name="connsiteX82" fmla="*/ 382927 w 4519987"/>
              <a:gd name="connsiteY82" fmla="*/ 1009650 h 4429225"/>
              <a:gd name="connsiteX83" fmla="*/ 440077 w 4519987"/>
              <a:gd name="connsiteY83" fmla="*/ 904875 h 4429225"/>
              <a:gd name="connsiteX84" fmla="*/ 478177 w 4519987"/>
              <a:gd name="connsiteY84" fmla="*/ 857250 h 4429225"/>
              <a:gd name="connsiteX85" fmla="*/ 497227 w 4519987"/>
              <a:gd name="connsiteY85" fmla="*/ 828675 h 4429225"/>
              <a:gd name="connsiteX86" fmla="*/ 535327 w 4519987"/>
              <a:gd name="connsiteY86" fmla="*/ 800100 h 4429225"/>
              <a:gd name="connsiteX87" fmla="*/ 602002 w 4519987"/>
              <a:gd name="connsiteY87" fmla="*/ 733425 h 4429225"/>
              <a:gd name="connsiteX88" fmla="*/ 668677 w 4519987"/>
              <a:gd name="connsiteY88" fmla="*/ 676275 h 4429225"/>
              <a:gd name="connsiteX89" fmla="*/ 697252 w 4519987"/>
              <a:gd name="connsiteY89" fmla="*/ 657225 h 4429225"/>
              <a:gd name="connsiteX90" fmla="*/ 840127 w 4519987"/>
              <a:gd name="connsiteY90" fmla="*/ 533400 h 4429225"/>
              <a:gd name="connsiteX91" fmla="*/ 887752 w 4519987"/>
              <a:gd name="connsiteY91" fmla="*/ 504825 h 4429225"/>
              <a:gd name="connsiteX92" fmla="*/ 1167152 w 4519987"/>
              <a:gd name="connsiteY92" fmla="*/ 311150 h 4429225"/>
              <a:gd name="connsiteX93" fmla="*/ 1268752 w 4519987"/>
              <a:gd name="connsiteY93" fmla="*/ 285750 h 4429225"/>
              <a:gd name="connsiteX94" fmla="*/ 1411627 w 4519987"/>
              <a:gd name="connsiteY94" fmla="*/ 190500 h 4429225"/>
              <a:gd name="connsiteX95" fmla="*/ 1449727 w 4519987"/>
              <a:gd name="connsiteY95" fmla="*/ 161925 h 4429225"/>
              <a:gd name="connsiteX96" fmla="*/ 1525927 w 4519987"/>
              <a:gd name="connsiteY96" fmla="*/ 152400 h 4429225"/>
              <a:gd name="connsiteX97" fmla="*/ 1583077 w 4519987"/>
              <a:gd name="connsiteY97" fmla="*/ 142875 h 4429225"/>
              <a:gd name="connsiteX98" fmla="*/ 1716427 w 4519987"/>
              <a:gd name="connsiteY98" fmla="*/ 123825 h 4429225"/>
              <a:gd name="connsiteX99" fmla="*/ 1811677 w 4519987"/>
              <a:gd name="connsiteY99" fmla="*/ 114300 h 4429225"/>
              <a:gd name="connsiteX100" fmla="*/ 1859302 w 4519987"/>
              <a:gd name="connsiteY100" fmla="*/ 104775 h 4429225"/>
              <a:gd name="connsiteX101" fmla="*/ 1916452 w 4519987"/>
              <a:gd name="connsiteY101" fmla="*/ 95250 h 4429225"/>
              <a:gd name="connsiteX102" fmla="*/ 2030752 w 4519987"/>
              <a:gd name="connsiteY102" fmla="*/ 66675 h 4429225"/>
              <a:gd name="connsiteX103" fmla="*/ 2097427 w 4519987"/>
              <a:gd name="connsiteY103" fmla="*/ 47625 h 4429225"/>
              <a:gd name="connsiteX104" fmla="*/ 2164102 w 4519987"/>
              <a:gd name="connsiteY104" fmla="*/ 38100 h 4429225"/>
              <a:gd name="connsiteX105" fmla="*/ 2392702 w 4519987"/>
              <a:gd name="connsiteY105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97227 w 4519987"/>
              <a:gd name="connsiteY52" fmla="*/ 3552825 h 4429225"/>
              <a:gd name="connsiteX53" fmla="*/ 440077 w 4519987"/>
              <a:gd name="connsiteY53" fmla="*/ 3495675 h 4429225"/>
              <a:gd name="connsiteX54" fmla="*/ 411502 w 4519987"/>
              <a:gd name="connsiteY54" fmla="*/ 3448050 h 4429225"/>
              <a:gd name="connsiteX55" fmla="*/ 278152 w 4519987"/>
              <a:gd name="connsiteY55" fmla="*/ 3257550 h 4429225"/>
              <a:gd name="connsiteX56" fmla="*/ 249577 w 4519987"/>
              <a:gd name="connsiteY56" fmla="*/ 3200400 h 4429225"/>
              <a:gd name="connsiteX57" fmla="*/ 240052 w 4519987"/>
              <a:gd name="connsiteY57" fmla="*/ 3162300 h 4429225"/>
              <a:gd name="connsiteX58" fmla="*/ 221002 w 4519987"/>
              <a:gd name="connsiteY58" fmla="*/ 3105150 h 4429225"/>
              <a:gd name="connsiteX59" fmla="*/ 173377 w 4519987"/>
              <a:gd name="connsiteY59" fmla="*/ 3019425 h 4429225"/>
              <a:gd name="connsiteX60" fmla="*/ 144802 w 4519987"/>
              <a:gd name="connsiteY60" fmla="*/ 2924175 h 4429225"/>
              <a:gd name="connsiteX61" fmla="*/ 68602 w 4519987"/>
              <a:gd name="connsiteY61" fmla="*/ 2724150 h 4429225"/>
              <a:gd name="connsiteX62" fmla="*/ 49552 w 4519987"/>
              <a:gd name="connsiteY62" fmla="*/ 2638425 h 4429225"/>
              <a:gd name="connsiteX63" fmla="*/ 40027 w 4519987"/>
              <a:gd name="connsiteY63" fmla="*/ 2562225 h 4429225"/>
              <a:gd name="connsiteX64" fmla="*/ 30502 w 4519987"/>
              <a:gd name="connsiteY64" fmla="*/ 2514600 h 4429225"/>
              <a:gd name="connsiteX65" fmla="*/ 11452 w 4519987"/>
              <a:gd name="connsiteY65" fmla="*/ 2400300 h 4429225"/>
              <a:gd name="connsiteX66" fmla="*/ 20977 w 4519987"/>
              <a:gd name="connsiteY66" fmla="*/ 1905000 h 4429225"/>
              <a:gd name="connsiteX67" fmla="*/ 30502 w 4519987"/>
              <a:gd name="connsiteY67" fmla="*/ 1838325 h 4429225"/>
              <a:gd name="connsiteX68" fmla="*/ 49552 w 4519987"/>
              <a:gd name="connsiteY68" fmla="*/ 1781175 h 4429225"/>
              <a:gd name="connsiteX69" fmla="*/ 59077 w 4519987"/>
              <a:gd name="connsiteY69" fmla="*/ 1743075 h 4429225"/>
              <a:gd name="connsiteX70" fmla="*/ 78127 w 4519987"/>
              <a:gd name="connsiteY70" fmla="*/ 1685925 h 4429225"/>
              <a:gd name="connsiteX71" fmla="*/ 87652 w 4519987"/>
              <a:gd name="connsiteY71" fmla="*/ 1638300 h 4429225"/>
              <a:gd name="connsiteX72" fmla="*/ 106702 w 4519987"/>
              <a:gd name="connsiteY72" fmla="*/ 1590675 h 4429225"/>
              <a:gd name="connsiteX73" fmla="*/ 135277 w 4519987"/>
              <a:gd name="connsiteY73" fmla="*/ 1504950 h 4429225"/>
              <a:gd name="connsiteX74" fmla="*/ 154327 w 4519987"/>
              <a:gd name="connsiteY74" fmla="*/ 1419225 h 4429225"/>
              <a:gd name="connsiteX75" fmla="*/ 230527 w 4519987"/>
              <a:gd name="connsiteY75" fmla="*/ 1276350 h 4429225"/>
              <a:gd name="connsiteX76" fmla="*/ 240052 w 4519987"/>
              <a:gd name="connsiteY76" fmla="*/ 1247775 h 4429225"/>
              <a:gd name="connsiteX77" fmla="*/ 268627 w 4519987"/>
              <a:gd name="connsiteY77" fmla="*/ 1200150 h 4429225"/>
              <a:gd name="connsiteX78" fmla="*/ 287677 w 4519987"/>
              <a:gd name="connsiteY78" fmla="*/ 1152525 h 4429225"/>
              <a:gd name="connsiteX79" fmla="*/ 316252 w 4519987"/>
              <a:gd name="connsiteY79" fmla="*/ 1114425 h 4429225"/>
              <a:gd name="connsiteX80" fmla="*/ 363877 w 4519987"/>
              <a:gd name="connsiteY80" fmla="*/ 1038225 h 4429225"/>
              <a:gd name="connsiteX81" fmla="*/ 382927 w 4519987"/>
              <a:gd name="connsiteY81" fmla="*/ 1009650 h 4429225"/>
              <a:gd name="connsiteX82" fmla="*/ 440077 w 4519987"/>
              <a:gd name="connsiteY82" fmla="*/ 904875 h 4429225"/>
              <a:gd name="connsiteX83" fmla="*/ 478177 w 4519987"/>
              <a:gd name="connsiteY83" fmla="*/ 857250 h 4429225"/>
              <a:gd name="connsiteX84" fmla="*/ 497227 w 4519987"/>
              <a:gd name="connsiteY84" fmla="*/ 828675 h 4429225"/>
              <a:gd name="connsiteX85" fmla="*/ 535327 w 4519987"/>
              <a:gd name="connsiteY85" fmla="*/ 800100 h 4429225"/>
              <a:gd name="connsiteX86" fmla="*/ 602002 w 4519987"/>
              <a:gd name="connsiteY86" fmla="*/ 733425 h 4429225"/>
              <a:gd name="connsiteX87" fmla="*/ 668677 w 4519987"/>
              <a:gd name="connsiteY87" fmla="*/ 676275 h 4429225"/>
              <a:gd name="connsiteX88" fmla="*/ 697252 w 4519987"/>
              <a:gd name="connsiteY88" fmla="*/ 657225 h 4429225"/>
              <a:gd name="connsiteX89" fmla="*/ 840127 w 4519987"/>
              <a:gd name="connsiteY89" fmla="*/ 533400 h 4429225"/>
              <a:gd name="connsiteX90" fmla="*/ 887752 w 4519987"/>
              <a:gd name="connsiteY90" fmla="*/ 504825 h 4429225"/>
              <a:gd name="connsiteX91" fmla="*/ 1167152 w 4519987"/>
              <a:gd name="connsiteY91" fmla="*/ 311150 h 4429225"/>
              <a:gd name="connsiteX92" fmla="*/ 1268752 w 4519987"/>
              <a:gd name="connsiteY92" fmla="*/ 285750 h 4429225"/>
              <a:gd name="connsiteX93" fmla="*/ 1411627 w 4519987"/>
              <a:gd name="connsiteY93" fmla="*/ 190500 h 4429225"/>
              <a:gd name="connsiteX94" fmla="*/ 1449727 w 4519987"/>
              <a:gd name="connsiteY94" fmla="*/ 161925 h 4429225"/>
              <a:gd name="connsiteX95" fmla="*/ 1525927 w 4519987"/>
              <a:gd name="connsiteY95" fmla="*/ 152400 h 4429225"/>
              <a:gd name="connsiteX96" fmla="*/ 1583077 w 4519987"/>
              <a:gd name="connsiteY96" fmla="*/ 142875 h 4429225"/>
              <a:gd name="connsiteX97" fmla="*/ 1716427 w 4519987"/>
              <a:gd name="connsiteY97" fmla="*/ 123825 h 4429225"/>
              <a:gd name="connsiteX98" fmla="*/ 1811677 w 4519987"/>
              <a:gd name="connsiteY98" fmla="*/ 114300 h 4429225"/>
              <a:gd name="connsiteX99" fmla="*/ 1859302 w 4519987"/>
              <a:gd name="connsiteY99" fmla="*/ 104775 h 4429225"/>
              <a:gd name="connsiteX100" fmla="*/ 1916452 w 4519987"/>
              <a:gd name="connsiteY100" fmla="*/ 95250 h 4429225"/>
              <a:gd name="connsiteX101" fmla="*/ 2030752 w 4519987"/>
              <a:gd name="connsiteY101" fmla="*/ 66675 h 4429225"/>
              <a:gd name="connsiteX102" fmla="*/ 2097427 w 4519987"/>
              <a:gd name="connsiteY102" fmla="*/ 47625 h 4429225"/>
              <a:gd name="connsiteX103" fmla="*/ 2164102 w 4519987"/>
              <a:gd name="connsiteY103" fmla="*/ 38100 h 4429225"/>
              <a:gd name="connsiteX104" fmla="*/ 2392702 w 4519987"/>
              <a:gd name="connsiteY104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97227 w 4519987"/>
              <a:gd name="connsiteY52" fmla="*/ 3552825 h 4429225"/>
              <a:gd name="connsiteX53" fmla="*/ 440077 w 4519987"/>
              <a:gd name="connsiteY53" fmla="*/ 3495675 h 4429225"/>
              <a:gd name="connsiteX54" fmla="*/ 278152 w 4519987"/>
              <a:gd name="connsiteY54" fmla="*/ 3257550 h 4429225"/>
              <a:gd name="connsiteX55" fmla="*/ 249577 w 4519987"/>
              <a:gd name="connsiteY55" fmla="*/ 3200400 h 4429225"/>
              <a:gd name="connsiteX56" fmla="*/ 240052 w 4519987"/>
              <a:gd name="connsiteY56" fmla="*/ 3162300 h 4429225"/>
              <a:gd name="connsiteX57" fmla="*/ 221002 w 4519987"/>
              <a:gd name="connsiteY57" fmla="*/ 3105150 h 4429225"/>
              <a:gd name="connsiteX58" fmla="*/ 173377 w 4519987"/>
              <a:gd name="connsiteY58" fmla="*/ 3019425 h 4429225"/>
              <a:gd name="connsiteX59" fmla="*/ 144802 w 4519987"/>
              <a:gd name="connsiteY59" fmla="*/ 2924175 h 4429225"/>
              <a:gd name="connsiteX60" fmla="*/ 68602 w 4519987"/>
              <a:gd name="connsiteY60" fmla="*/ 2724150 h 4429225"/>
              <a:gd name="connsiteX61" fmla="*/ 49552 w 4519987"/>
              <a:gd name="connsiteY61" fmla="*/ 2638425 h 4429225"/>
              <a:gd name="connsiteX62" fmla="*/ 40027 w 4519987"/>
              <a:gd name="connsiteY62" fmla="*/ 2562225 h 4429225"/>
              <a:gd name="connsiteX63" fmla="*/ 30502 w 4519987"/>
              <a:gd name="connsiteY63" fmla="*/ 2514600 h 4429225"/>
              <a:gd name="connsiteX64" fmla="*/ 11452 w 4519987"/>
              <a:gd name="connsiteY64" fmla="*/ 2400300 h 4429225"/>
              <a:gd name="connsiteX65" fmla="*/ 20977 w 4519987"/>
              <a:gd name="connsiteY65" fmla="*/ 1905000 h 4429225"/>
              <a:gd name="connsiteX66" fmla="*/ 30502 w 4519987"/>
              <a:gd name="connsiteY66" fmla="*/ 1838325 h 4429225"/>
              <a:gd name="connsiteX67" fmla="*/ 49552 w 4519987"/>
              <a:gd name="connsiteY67" fmla="*/ 1781175 h 4429225"/>
              <a:gd name="connsiteX68" fmla="*/ 59077 w 4519987"/>
              <a:gd name="connsiteY68" fmla="*/ 1743075 h 4429225"/>
              <a:gd name="connsiteX69" fmla="*/ 78127 w 4519987"/>
              <a:gd name="connsiteY69" fmla="*/ 1685925 h 4429225"/>
              <a:gd name="connsiteX70" fmla="*/ 87652 w 4519987"/>
              <a:gd name="connsiteY70" fmla="*/ 1638300 h 4429225"/>
              <a:gd name="connsiteX71" fmla="*/ 106702 w 4519987"/>
              <a:gd name="connsiteY71" fmla="*/ 1590675 h 4429225"/>
              <a:gd name="connsiteX72" fmla="*/ 135277 w 4519987"/>
              <a:gd name="connsiteY72" fmla="*/ 1504950 h 4429225"/>
              <a:gd name="connsiteX73" fmla="*/ 154327 w 4519987"/>
              <a:gd name="connsiteY73" fmla="*/ 1419225 h 4429225"/>
              <a:gd name="connsiteX74" fmla="*/ 230527 w 4519987"/>
              <a:gd name="connsiteY74" fmla="*/ 1276350 h 4429225"/>
              <a:gd name="connsiteX75" fmla="*/ 240052 w 4519987"/>
              <a:gd name="connsiteY75" fmla="*/ 1247775 h 4429225"/>
              <a:gd name="connsiteX76" fmla="*/ 268627 w 4519987"/>
              <a:gd name="connsiteY76" fmla="*/ 1200150 h 4429225"/>
              <a:gd name="connsiteX77" fmla="*/ 287677 w 4519987"/>
              <a:gd name="connsiteY77" fmla="*/ 1152525 h 4429225"/>
              <a:gd name="connsiteX78" fmla="*/ 316252 w 4519987"/>
              <a:gd name="connsiteY78" fmla="*/ 1114425 h 4429225"/>
              <a:gd name="connsiteX79" fmla="*/ 363877 w 4519987"/>
              <a:gd name="connsiteY79" fmla="*/ 1038225 h 4429225"/>
              <a:gd name="connsiteX80" fmla="*/ 382927 w 4519987"/>
              <a:gd name="connsiteY80" fmla="*/ 1009650 h 4429225"/>
              <a:gd name="connsiteX81" fmla="*/ 440077 w 4519987"/>
              <a:gd name="connsiteY81" fmla="*/ 904875 h 4429225"/>
              <a:gd name="connsiteX82" fmla="*/ 478177 w 4519987"/>
              <a:gd name="connsiteY82" fmla="*/ 857250 h 4429225"/>
              <a:gd name="connsiteX83" fmla="*/ 497227 w 4519987"/>
              <a:gd name="connsiteY83" fmla="*/ 828675 h 4429225"/>
              <a:gd name="connsiteX84" fmla="*/ 535327 w 4519987"/>
              <a:gd name="connsiteY84" fmla="*/ 800100 h 4429225"/>
              <a:gd name="connsiteX85" fmla="*/ 602002 w 4519987"/>
              <a:gd name="connsiteY85" fmla="*/ 733425 h 4429225"/>
              <a:gd name="connsiteX86" fmla="*/ 668677 w 4519987"/>
              <a:gd name="connsiteY86" fmla="*/ 676275 h 4429225"/>
              <a:gd name="connsiteX87" fmla="*/ 697252 w 4519987"/>
              <a:gd name="connsiteY87" fmla="*/ 657225 h 4429225"/>
              <a:gd name="connsiteX88" fmla="*/ 840127 w 4519987"/>
              <a:gd name="connsiteY88" fmla="*/ 533400 h 4429225"/>
              <a:gd name="connsiteX89" fmla="*/ 887752 w 4519987"/>
              <a:gd name="connsiteY89" fmla="*/ 504825 h 4429225"/>
              <a:gd name="connsiteX90" fmla="*/ 1167152 w 4519987"/>
              <a:gd name="connsiteY90" fmla="*/ 311150 h 4429225"/>
              <a:gd name="connsiteX91" fmla="*/ 1268752 w 4519987"/>
              <a:gd name="connsiteY91" fmla="*/ 285750 h 4429225"/>
              <a:gd name="connsiteX92" fmla="*/ 1411627 w 4519987"/>
              <a:gd name="connsiteY92" fmla="*/ 190500 h 4429225"/>
              <a:gd name="connsiteX93" fmla="*/ 1449727 w 4519987"/>
              <a:gd name="connsiteY93" fmla="*/ 161925 h 4429225"/>
              <a:gd name="connsiteX94" fmla="*/ 1525927 w 4519987"/>
              <a:gd name="connsiteY94" fmla="*/ 152400 h 4429225"/>
              <a:gd name="connsiteX95" fmla="*/ 1583077 w 4519987"/>
              <a:gd name="connsiteY95" fmla="*/ 142875 h 4429225"/>
              <a:gd name="connsiteX96" fmla="*/ 1716427 w 4519987"/>
              <a:gd name="connsiteY96" fmla="*/ 123825 h 4429225"/>
              <a:gd name="connsiteX97" fmla="*/ 1811677 w 4519987"/>
              <a:gd name="connsiteY97" fmla="*/ 114300 h 4429225"/>
              <a:gd name="connsiteX98" fmla="*/ 1859302 w 4519987"/>
              <a:gd name="connsiteY98" fmla="*/ 104775 h 4429225"/>
              <a:gd name="connsiteX99" fmla="*/ 1916452 w 4519987"/>
              <a:gd name="connsiteY99" fmla="*/ 95250 h 4429225"/>
              <a:gd name="connsiteX100" fmla="*/ 2030752 w 4519987"/>
              <a:gd name="connsiteY100" fmla="*/ 66675 h 4429225"/>
              <a:gd name="connsiteX101" fmla="*/ 2097427 w 4519987"/>
              <a:gd name="connsiteY101" fmla="*/ 47625 h 4429225"/>
              <a:gd name="connsiteX102" fmla="*/ 2164102 w 4519987"/>
              <a:gd name="connsiteY102" fmla="*/ 38100 h 4429225"/>
              <a:gd name="connsiteX103" fmla="*/ 2392702 w 4519987"/>
              <a:gd name="connsiteY103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40077 w 4519987"/>
              <a:gd name="connsiteY52" fmla="*/ 3495675 h 4429225"/>
              <a:gd name="connsiteX53" fmla="*/ 278152 w 4519987"/>
              <a:gd name="connsiteY53" fmla="*/ 3257550 h 4429225"/>
              <a:gd name="connsiteX54" fmla="*/ 249577 w 4519987"/>
              <a:gd name="connsiteY54" fmla="*/ 3200400 h 4429225"/>
              <a:gd name="connsiteX55" fmla="*/ 240052 w 4519987"/>
              <a:gd name="connsiteY55" fmla="*/ 3162300 h 4429225"/>
              <a:gd name="connsiteX56" fmla="*/ 221002 w 4519987"/>
              <a:gd name="connsiteY56" fmla="*/ 3105150 h 4429225"/>
              <a:gd name="connsiteX57" fmla="*/ 173377 w 4519987"/>
              <a:gd name="connsiteY57" fmla="*/ 3019425 h 4429225"/>
              <a:gd name="connsiteX58" fmla="*/ 144802 w 4519987"/>
              <a:gd name="connsiteY58" fmla="*/ 2924175 h 4429225"/>
              <a:gd name="connsiteX59" fmla="*/ 68602 w 4519987"/>
              <a:gd name="connsiteY59" fmla="*/ 2724150 h 4429225"/>
              <a:gd name="connsiteX60" fmla="*/ 49552 w 4519987"/>
              <a:gd name="connsiteY60" fmla="*/ 2638425 h 4429225"/>
              <a:gd name="connsiteX61" fmla="*/ 40027 w 4519987"/>
              <a:gd name="connsiteY61" fmla="*/ 2562225 h 4429225"/>
              <a:gd name="connsiteX62" fmla="*/ 30502 w 4519987"/>
              <a:gd name="connsiteY62" fmla="*/ 2514600 h 4429225"/>
              <a:gd name="connsiteX63" fmla="*/ 11452 w 4519987"/>
              <a:gd name="connsiteY63" fmla="*/ 2400300 h 4429225"/>
              <a:gd name="connsiteX64" fmla="*/ 20977 w 4519987"/>
              <a:gd name="connsiteY64" fmla="*/ 1905000 h 4429225"/>
              <a:gd name="connsiteX65" fmla="*/ 30502 w 4519987"/>
              <a:gd name="connsiteY65" fmla="*/ 1838325 h 4429225"/>
              <a:gd name="connsiteX66" fmla="*/ 49552 w 4519987"/>
              <a:gd name="connsiteY66" fmla="*/ 1781175 h 4429225"/>
              <a:gd name="connsiteX67" fmla="*/ 59077 w 4519987"/>
              <a:gd name="connsiteY67" fmla="*/ 1743075 h 4429225"/>
              <a:gd name="connsiteX68" fmla="*/ 78127 w 4519987"/>
              <a:gd name="connsiteY68" fmla="*/ 1685925 h 4429225"/>
              <a:gd name="connsiteX69" fmla="*/ 87652 w 4519987"/>
              <a:gd name="connsiteY69" fmla="*/ 1638300 h 4429225"/>
              <a:gd name="connsiteX70" fmla="*/ 106702 w 4519987"/>
              <a:gd name="connsiteY70" fmla="*/ 1590675 h 4429225"/>
              <a:gd name="connsiteX71" fmla="*/ 135277 w 4519987"/>
              <a:gd name="connsiteY71" fmla="*/ 1504950 h 4429225"/>
              <a:gd name="connsiteX72" fmla="*/ 154327 w 4519987"/>
              <a:gd name="connsiteY72" fmla="*/ 1419225 h 4429225"/>
              <a:gd name="connsiteX73" fmla="*/ 230527 w 4519987"/>
              <a:gd name="connsiteY73" fmla="*/ 1276350 h 4429225"/>
              <a:gd name="connsiteX74" fmla="*/ 240052 w 4519987"/>
              <a:gd name="connsiteY74" fmla="*/ 1247775 h 4429225"/>
              <a:gd name="connsiteX75" fmla="*/ 268627 w 4519987"/>
              <a:gd name="connsiteY75" fmla="*/ 1200150 h 4429225"/>
              <a:gd name="connsiteX76" fmla="*/ 287677 w 4519987"/>
              <a:gd name="connsiteY76" fmla="*/ 1152525 h 4429225"/>
              <a:gd name="connsiteX77" fmla="*/ 316252 w 4519987"/>
              <a:gd name="connsiteY77" fmla="*/ 1114425 h 4429225"/>
              <a:gd name="connsiteX78" fmla="*/ 363877 w 4519987"/>
              <a:gd name="connsiteY78" fmla="*/ 1038225 h 4429225"/>
              <a:gd name="connsiteX79" fmla="*/ 382927 w 4519987"/>
              <a:gd name="connsiteY79" fmla="*/ 1009650 h 4429225"/>
              <a:gd name="connsiteX80" fmla="*/ 440077 w 4519987"/>
              <a:gd name="connsiteY80" fmla="*/ 904875 h 4429225"/>
              <a:gd name="connsiteX81" fmla="*/ 478177 w 4519987"/>
              <a:gd name="connsiteY81" fmla="*/ 857250 h 4429225"/>
              <a:gd name="connsiteX82" fmla="*/ 497227 w 4519987"/>
              <a:gd name="connsiteY82" fmla="*/ 828675 h 4429225"/>
              <a:gd name="connsiteX83" fmla="*/ 535327 w 4519987"/>
              <a:gd name="connsiteY83" fmla="*/ 800100 h 4429225"/>
              <a:gd name="connsiteX84" fmla="*/ 602002 w 4519987"/>
              <a:gd name="connsiteY84" fmla="*/ 733425 h 4429225"/>
              <a:gd name="connsiteX85" fmla="*/ 668677 w 4519987"/>
              <a:gd name="connsiteY85" fmla="*/ 676275 h 4429225"/>
              <a:gd name="connsiteX86" fmla="*/ 697252 w 4519987"/>
              <a:gd name="connsiteY86" fmla="*/ 657225 h 4429225"/>
              <a:gd name="connsiteX87" fmla="*/ 840127 w 4519987"/>
              <a:gd name="connsiteY87" fmla="*/ 533400 h 4429225"/>
              <a:gd name="connsiteX88" fmla="*/ 887752 w 4519987"/>
              <a:gd name="connsiteY88" fmla="*/ 504825 h 4429225"/>
              <a:gd name="connsiteX89" fmla="*/ 1167152 w 4519987"/>
              <a:gd name="connsiteY89" fmla="*/ 311150 h 4429225"/>
              <a:gd name="connsiteX90" fmla="*/ 1268752 w 4519987"/>
              <a:gd name="connsiteY90" fmla="*/ 285750 h 4429225"/>
              <a:gd name="connsiteX91" fmla="*/ 1411627 w 4519987"/>
              <a:gd name="connsiteY91" fmla="*/ 190500 h 4429225"/>
              <a:gd name="connsiteX92" fmla="*/ 1449727 w 4519987"/>
              <a:gd name="connsiteY92" fmla="*/ 161925 h 4429225"/>
              <a:gd name="connsiteX93" fmla="*/ 1525927 w 4519987"/>
              <a:gd name="connsiteY93" fmla="*/ 152400 h 4429225"/>
              <a:gd name="connsiteX94" fmla="*/ 1583077 w 4519987"/>
              <a:gd name="connsiteY94" fmla="*/ 142875 h 4429225"/>
              <a:gd name="connsiteX95" fmla="*/ 1716427 w 4519987"/>
              <a:gd name="connsiteY95" fmla="*/ 123825 h 4429225"/>
              <a:gd name="connsiteX96" fmla="*/ 1811677 w 4519987"/>
              <a:gd name="connsiteY96" fmla="*/ 114300 h 4429225"/>
              <a:gd name="connsiteX97" fmla="*/ 1859302 w 4519987"/>
              <a:gd name="connsiteY97" fmla="*/ 104775 h 4429225"/>
              <a:gd name="connsiteX98" fmla="*/ 1916452 w 4519987"/>
              <a:gd name="connsiteY98" fmla="*/ 95250 h 4429225"/>
              <a:gd name="connsiteX99" fmla="*/ 2030752 w 4519987"/>
              <a:gd name="connsiteY99" fmla="*/ 66675 h 4429225"/>
              <a:gd name="connsiteX100" fmla="*/ 2097427 w 4519987"/>
              <a:gd name="connsiteY100" fmla="*/ 47625 h 4429225"/>
              <a:gd name="connsiteX101" fmla="*/ 2164102 w 4519987"/>
              <a:gd name="connsiteY101" fmla="*/ 38100 h 4429225"/>
              <a:gd name="connsiteX102" fmla="*/ 2392702 w 4519987"/>
              <a:gd name="connsiteY102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49577 w 4519987"/>
              <a:gd name="connsiteY53" fmla="*/ 3200400 h 4429225"/>
              <a:gd name="connsiteX54" fmla="*/ 240052 w 4519987"/>
              <a:gd name="connsiteY54" fmla="*/ 3162300 h 4429225"/>
              <a:gd name="connsiteX55" fmla="*/ 221002 w 4519987"/>
              <a:gd name="connsiteY55" fmla="*/ 3105150 h 4429225"/>
              <a:gd name="connsiteX56" fmla="*/ 173377 w 4519987"/>
              <a:gd name="connsiteY56" fmla="*/ 3019425 h 4429225"/>
              <a:gd name="connsiteX57" fmla="*/ 144802 w 4519987"/>
              <a:gd name="connsiteY57" fmla="*/ 2924175 h 4429225"/>
              <a:gd name="connsiteX58" fmla="*/ 68602 w 4519987"/>
              <a:gd name="connsiteY58" fmla="*/ 2724150 h 4429225"/>
              <a:gd name="connsiteX59" fmla="*/ 49552 w 4519987"/>
              <a:gd name="connsiteY59" fmla="*/ 2638425 h 4429225"/>
              <a:gd name="connsiteX60" fmla="*/ 40027 w 4519987"/>
              <a:gd name="connsiteY60" fmla="*/ 2562225 h 4429225"/>
              <a:gd name="connsiteX61" fmla="*/ 30502 w 4519987"/>
              <a:gd name="connsiteY61" fmla="*/ 2514600 h 4429225"/>
              <a:gd name="connsiteX62" fmla="*/ 11452 w 4519987"/>
              <a:gd name="connsiteY62" fmla="*/ 2400300 h 4429225"/>
              <a:gd name="connsiteX63" fmla="*/ 20977 w 4519987"/>
              <a:gd name="connsiteY63" fmla="*/ 1905000 h 4429225"/>
              <a:gd name="connsiteX64" fmla="*/ 30502 w 4519987"/>
              <a:gd name="connsiteY64" fmla="*/ 1838325 h 4429225"/>
              <a:gd name="connsiteX65" fmla="*/ 49552 w 4519987"/>
              <a:gd name="connsiteY65" fmla="*/ 1781175 h 4429225"/>
              <a:gd name="connsiteX66" fmla="*/ 59077 w 4519987"/>
              <a:gd name="connsiteY66" fmla="*/ 1743075 h 4429225"/>
              <a:gd name="connsiteX67" fmla="*/ 78127 w 4519987"/>
              <a:gd name="connsiteY67" fmla="*/ 1685925 h 4429225"/>
              <a:gd name="connsiteX68" fmla="*/ 87652 w 4519987"/>
              <a:gd name="connsiteY68" fmla="*/ 1638300 h 4429225"/>
              <a:gd name="connsiteX69" fmla="*/ 106702 w 4519987"/>
              <a:gd name="connsiteY69" fmla="*/ 1590675 h 4429225"/>
              <a:gd name="connsiteX70" fmla="*/ 135277 w 4519987"/>
              <a:gd name="connsiteY70" fmla="*/ 1504950 h 4429225"/>
              <a:gd name="connsiteX71" fmla="*/ 154327 w 4519987"/>
              <a:gd name="connsiteY71" fmla="*/ 1419225 h 4429225"/>
              <a:gd name="connsiteX72" fmla="*/ 230527 w 4519987"/>
              <a:gd name="connsiteY72" fmla="*/ 1276350 h 4429225"/>
              <a:gd name="connsiteX73" fmla="*/ 240052 w 4519987"/>
              <a:gd name="connsiteY73" fmla="*/ 1247775 h 4429225"/>
              <a:gd name="connsiteX74" fmla="*/ 268627 w 4519987"/>
              <a:gd name="connsiteY74" fmla="*/ 1200150 h 4429225"/>
              <a:gd name="connsiteX75" fmla="*/ 287677 w 4519987"/>
              <a:gd name="connsiteY75" fmla="*/ 1152525 h 4429225"/>
              <a:gd name="connsiteX76" fmla="*/ 316252 w 4519987"/>
              <a:gd name="connsiteY76" fmla="*/ 1114425 h 4429225"/>
              <a:gd name="connsiteX77" fmla="*/ 363877 w 4519987"/>
              <a:gd name="connsiteY77" fmla="*/ 1038225 h 4429225"/>
              <a:gd name="connsiteX78" fmla="*/ 382927 w 4519987"/>
              <a:gd name="connsiteY78" fmla="*/ 1009650 h 4429225"/>
              <a:gd name="connsiteX79" fmla="*/ 440077 w 4519987"/>
              <a:gd name="connsiteY79" fmla="*/ 904875 h 4429225"/>
              <a:gd name="connsiteX80" fmla="*/ 478177 w 4519987"/>
              <a:gd name="connsiteY80" fmla="*/ 857250 h 4429225"/>
              <a:gd name="connsiteX81" fmla="*/ 497227 w 4519987"/>
              <a:gd name="connsiteY81" fmla="*/ 828675 h 4429225"/>
              <a:gd name="connsiteX82" fmla="*/ 535327 w 4519987"/>
              <a:gd name="connsiteY82" fmla="*/ 800100 h 4429225"/>
              <a:gd name="connsiteX83" fmla="*/ 602002 w 4519987"/>
              <a:gd name="connsiteY83" fmla="*/ 733425 h 4429225"/>
              <a:gd name="connsiteX84" fmla="*/ 668677 w 4519987"/>
              <a:gd name="connsiteY84" fmla="*/ 676275 h 4429225"/>
              <a:gd name="connsiteX85" fmla="*/ 697252 w 4519987"/>
              <a:gd name="connsiteY85" fmla="*/ 657225 h 4429225"/>
              <a:gd name="connsiteX86" fmla="*/ 840127 w 4519987"/>
              <a:gd name="connsiteY86" fmla="*/ 533400 h 4429225"/>
              <a:gd name="connsiteX87" fmla="*/ 887752 w 4519987"/>
              <a:gd name="connsiteY87" fmla="*/ 504825 h 4429225"/>
              <a:gd name="connsiteX88" fmla="*/ 1167152 w 4519987"/>
              <a:gd name="connsiteY88" fmla="*/ 311150 h 4429225"/>
              <a:gd name="connsiteX89" fmla="*/ 1268752 w 4519987"/>
              <a:gd name="connsiteY89" fmla="*/ 285750 h 4429225"/>
              <a:gd name="connsiteX90" fmla="*/ 1411627 w 4519987"/>
              <a:gd name="connsiteY90" fmla="*/ 190500 h 4429225"/>
              <a:gd name="connsiteX91" fmla="*/ 1449727 w 4519987"/>
              <a:gd name="connsiteY91" fmla="*/ 161925 h 4429225"/>
              <a:gd name="connsiteX92" fmla="*/ 1525927 w 4519987"/>
              <a:gd name="connsiteY92" fmla="*/ 152400 h 4429225"/>
              <a:gd name="connsiteX93" fmla="*/ 1583077 w 4519987"/>
              <a:gd name="connsiteY93" fmla="*/ 142875 h 4429225"/>
              <a:gd name="connsiteX94" fmla="*/ 1716427 w 4519987"/>
              <a:gd name="connsiteY94" fmla="*/ 123825 h 4429225"/>
              <a:gd name="connsiteX95" fmla="*/ 1811677 w 4519987"/>
              <a:gd name="connsiteY95" fmla="*/ 114300 h 4429225"/>
              <a:gd name="connsiteX96" fmla="*/ 1859302 w 4519987"/>
              <a:gd name="connsiteY96" fmla="*/ 104775 h 4429225"/>
              <a:gd name="connsiteX97" fmla="*/ 1916452 w 4519987"/>
              <a:gd name="connsiteY97" fmla="*/ 95250 h 4429225"/>
              <a:gd name="connsiteX98" fmla="*/ 2030752 w 4519987"/>
              <a:gd name="connsiteY98" fmla="*/ 66675 h 4429225"/>
              <a:gd name="connsiteX99" fmla="*/ 2097427 w 4519987"/>
              <a:gd name="connsiteY99" fmla="*/ 47625 h 4429225"/>
              <a:gd name="connsiteX100" fmla="*/ 2164102 w 4519987"/>
              <a:gd name="connsiteY100" fmla="*/ 38100 h 4429225"/>
              <a:gd name="connsiteX101" fmla="*/ 2392702 w 4519987"/>
              <a:gd name="connsiteY101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49577 w 4519987"/>
              <a:gd name="connsiteY53" fmla="*/ 3200400 h 4429225"/>
              <a:gd name="connsiteX54" fmla="*/ 221002 w 4519987"/>
              <a:gd name="connsiteY54" fmla="*/ 3105150 h 4429225"/>
              <a:gd name="connsiteX55" fmla="*/ 173377 w 4519987"/>
              <a:gd name="connsiteY55" fmla="*/ 3019425 h 4429225"/>
              <a:gd name="connsiteX56" fmla="*/ 144802 w 4519987"/>
              <a:gd name="connsiteY56" fmla="*/ 2924175 h 4429225"/>
              <a:gd name="connsiteX57" fmla="*/ 68602 w 4519987"/>
              <a:gd name="connsiteY57" fmla="*/ 2724150 h 4429225"/>
              <a:gd name="connsiteX58" fmla="*/ 49552 w 4519987"/>
              <a:gd name="connsiteY58" fmla="*/ 2638425 h 4429225"/>
              <a:gd name="connsiteX59" fmla="*/ 40027 w 4519987"/>
              <a:gd name="connsiteY59" fmla="*/ 2562225 h 4429225"/>
              <a:gd name="connsiteX60" fmla="*/ 30502 w 4519987"/>
              <a:gd name="connsiteY60" fmla="*/ 2514600 h 4429225"/>
              <a:gd name="connsiteX61" fmla="*/ 11452 w 4519987"/>
              <a:gd name="connsiteY61" fmla="*/ 2400300 h 4429225"/>
              <a:gd name="connsiteX62" fmla="*/ 20977 w 4519987"/>
              <a:gd name="connsiteY62" fmla="*/ 1905000 h 4429225"/>
              <a:gd name="connsiteX63" fmla="*/ 30502 w 4519987"/>
              <a:gd name="connsiteY63" fmla="*/ 1838325 h 4429225"/>
              <a:gd name="connsiteX64" fmla="*/ 49552 w 4519987"/>
              <a:gd name="connsiteY64" fmla="*/ 1781175 h 4429225"/>
              <a:gd name="connsiteX65" fmla="*/ 59077 w 4519987"/>
              <a:gd name="connsiteY65" fmla="*/ 1743075 h 4429225"/>
              <a:gd name="connsiteX66" fmla="*/ 78127 w 4519987"/>
              <a:gd name="connsiteY66" fmla="*/ 1685925 h 4429225"/>
              <a:gd name="connsiteX67" fmla="*/ 87652 w 4519987"/>
              <a:gd name="connsiteY67" fmla="*/ 1638300 h 4429225"/>
              <a:gd name="connsiteX68" fmla="*/ 106702 w 4519987"/>
              <a:gd name="connsiteY68" fmla="*/ 1590675 h 4429225"/>
              <a:gd name="connsiteX69" fmla="*/ 135277 w 4519987"/>
              <a:gd name="connsiteY69" fmla="*/ 1504950 h 4429225"/>
              <a:gd name="connsiteX70" fmla="*/ 154327 w 4519987"/>
              <a:gd name="connsiteY70" fmla="*/ 1419225 h 4429225"/>
              <a:gd name="connsiteX71" fmla="*/ 230527 w 4519987"/>
              <a:gd name="connsiteY71" fmla="*/ 1276350 h 4429225"/>
              <a:gd name="connsiteX72" fmla="*/ 240052 w 4519987"/>
              <a:gd name="connsiteY72" fmla="*/ 1247775 h 4429225"/>
              <a:gd name="connsiteX73" fmla="*/ 268627 w 4519987"/>
              <a:gd name="connsiteY73" fmla="*/ 1200150 h 4429225"/>
              <a:gd name="connsiteX74" fmla="*/ 287677 w 4519987"/>
              <a:gd name="connsiteY74" fmla="*/ 1152525 h 4429225"/>
              <a:gd name="connsiteX75" fmla="*/ 316252 w 4519987"/>
              <a:gd name="connsiteY75" fmla="*/ 1114425 h 4429225"/>
              <a:gd name="connsiteX76" fmla="*/ 363877 w 4519987"/>
              <a:gd name="connsiteY76" fmla="*/ 1038225 h 4429225"/>
              <a:gd name="connsiteX77" fmla="*/ 382927 w 4519987"/>
              <a:gd name="connsiteY77" fmla="*/ 1009650 h 4429225"/>
              <a:gd name="connsiteX78" fmla="*/ 440077 w 4519987"/>
              <a:gd name="connsiteY78" fmla="*/ 904875 h 4429225"/>
              <a:gd name="connsiteX79" fmla="*/ 478177 w 4519987"/>
              <a:gd name="connsiteY79" fmla="*/ 857250 h 4429225"/>
              <a:gd name="connsiteX80" fmla="*/ 497227 w 4519987"/>
              <a:gd name="connsiteY80" fmla="*/ 828675 h 4429225"/>
              <a:gd name="connsiteX81" fmla="*/ 535327 w 4519987"/>
              <a:gd name="connsiteY81" fmla="*/ 800100 h 4429225"/>
              <a:gd name="connsiteX82" fmla="*/ 602002 w 4519987"/>
              <a:gd name="connsiteY82" fmla="*/ 733425 h 4429225"/>
              <a:gd name="connsiteX83" fmla="*/ 668677 w 4519987"/>
              <a:gd name="connsiteY83" fmla="*/ 676275 h 4429225"/>
              <a:gd name="connsiteX84" fmla="*/ 697252 w 4519987"/>
              <a:gd name="connsiteY84" fmla="*/ 657225 h 4429225"/>
              <a:gd name="connsiteX85" fmla="*/ 840127 w 4519987"/>
              <a:gd name="connsiteY85" fmla="*/ 533400 h 4429225"/>
              <a:gd name="connsiteX86" fmla="*/ 887752 w 4519987"/>
              <a:gd name="connsiteY86" fmla="*/ 504825 h 4429225"/>
              <a:gd name="connsiteX87" fmla="*/ 1167152 w 4519987"/>
              <a:gd name="connsiteY87" fmla="*/ 311150 h 4429225"/>
              <a:gd name="connsiteX88" fmla="*/ 1268752 w 4519987"/>
              <a:gd name="connsiteY88" fmla="*/ 285750 h 4429225"/>
              <a:gd name="connsiteX89" fmla="*/ 1411627 w 4519987"/>
              <a:gd name="connsiteY89" fmla="*/ 190500 h 4429225"/>
              <a:gd name="connsiteX90" fmla="*/ 1449727 w 4519987"/>
              <a:gd name="connsiteY90" fmla="*/ 161925 h 4429225"/>
              <a:gd name="connsiteX91" fmla="*/ 1525927 w 4519987"/>
              <a:gd name="connsiteY91" fmla="*/ 152400 h 4429225"/>
              <a:gd name="connsiteX92" fmla="*/ 1583077 w 4519987"/>
              <a:gd name="connsiteY92" fmla="*/ 142875 h 4429225"/>
              <a:gd name="connsiteX93" fmla="*/ 1716427 w 4519987"/>
              <a:gd name="connsiteY93" fmla="*/ 123825 h 4429225"/>
              <a:gd name="connsiteX94" fmla="*/ 1811677 w 4519987"/>
              <a:gd name="connsiteY94" fmla="*/ 114300 h 4429225"/>
              <a:gd name="connsiteX95" fmla="*/ 1859302 w 4519987"/>
              <a:gd name="connsiteY95" fmla="*/ 104775 h 4429225"/>
              <a:gd name="connsiteX96" fmla="*/ 1916452 w 4519987"/>
              <a:gd name="connsiteY96" fmla="*/ 95250 h 4429225"/>
              <a:gd name="connsiteX97" fmla="*/ 2030752 w 4519987"/>
              <a:gd name="connsiteY97" fmla="*/ 66675 h 4429225"/>
              <a:gd name="connsiteX98" fmla="*/ 2097427 w 4519987"/>
              <a:gd name="connsiteY98" fmla="*/ 47625 h 4429225"/>
              <a:gd name="connsiteX99" fmla="*/ 2164102 w 4519987"/>
              <a:gd name="connsiteY99" fmla="*/ 38100 h 4429225"/>
              <a:gd name="connsiteX100" fmla="*/ 2392702 w 4519987"/>
              <a:gd name="connsiteY100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73377 w 4519987"/>
              <a:gd name="connsiteY54" fmla="*/ 3019425 h 4429225"/>
              <a:gd name="connsiteX55" fmla="*/ 144802 w 4519987"/>
              <a:gd name="connsiteY55" fmla="*/ 2924175 h 4429225"/>
              <a:gd name="connsiteX56" fmla="*/ 68602 w 4519987"/>
              <a:gd name="connsiteY56" fmla="*/ 2724150 h 4429225"/>
              <a:gd name="connsiteX57" fmla="*/ 49552 w 4519987"/>
              <a:gd name="connsiteY57" fmla="*/ 2638425 h 4429225"/>
              <a:gd name="connsiteX58" fmla="*/ 40027 w 4519987"/>
              <a:gd name="connsiteY58" fmla="*/ 2562225 h 4429225"/>
              <a:gd name="connsiteX59" fmla="*/ 30502 w 4519987"/>
              <a:gd name="connsiteY59" fmla="*/ 2514600 h 4429225"/>
              <a:gd name="connsiteX60" fmla="*/ 11452 w 4519987"/>
              <a:gd name="connsiteY60" fmla="*/ 2400300 h 4429225"/>
              <a:gd name="connsiteX61" fmla="*/ 20977 w 4519987"/>
              <a:gd name="connsiteY61" fmla="*/ 1905000 h 4429225"/>
              <a:gd name="connsiteX62" fmla="*/ 30502 w 4519987"/>
              <a:gd name="connsiteY62" fmla="*/ 1838325 h 4429225"/>
              <a:gd name="connsiteX63" fmla="*/ 49552 w 4519987"/>
              <a:gd name="connsiteY63" fmla="*/ 1781175 h 4429225"/>
              <a:gd name="connsiteX64" fmla="*/ 59077 w 4519987"/>
              <a:gd name="connsiteY64" fmla="*/ 1743075 h 4429225"/>
              <a:gd name="connsiteX65" fmla="*/ 78127 w 4519987"/>
              <a:gd name="connsiteY65" fmla="*/ 1685925 h 4429225"/>
              <a:gd name="connsiteX66" fmla="*/ 87652 w 4519987"/>
              <a:gd name="connsiteY66" fmla="*/ 1638300 h 4429225"/>
              <a:gd name="connsiteX67" fmla="*/ 106702 w 4519987"/>
              <a:gd name="connsiteY67" fmla="*/ 1590675 h 4429225"/>
              <a:gd name="connsiteX68" fmla="*/ 135277 w 4519987"/>
              <a:gd name="connsiteY68" fmla="*/ 1504950 h 4429225"/>
              <a:gd name="connsiteX69" fmla="*/ 154327 w 4519987"/>
              <a:gd name="connsiteY69" fmla="*/ 1419225 h 4429225"/>
              <a:gd name="connsiteX70" fmla="*/ 230527 w 4519987"/>
              <a:gd name="connsiteY70" fmla="*/ 1276350 h 4429225"/>
              <a:gd name="connsiteX71" fmla="*/ 240052 w 4519987"/>
              <a:gd name="connsiteY71" fmla="*/ 1247775 h 4429225"/>
              <a:gd name="connsiteX72" fmla="*/ 268627 w 4519987"/>
              <a:gd name="connsiteY72" fmla="*/ 1200150 h 4429225"/>
              <a:gd name="connsiteX73" fmla="*/ 287677 w 4519987"/>
              <a:gd name="connsiteY73" fmla="*/ 1152525 h 4429225"/>
              <a:gd name="connsiteX74" fmla="*/ 316252 w 4519987"/>
              <a:gd name="connsiteY74" fmla="*/ 1114425 h 4429225"/>
              <a:gd name="connsiteX75" fmla="*/ 363877 w 4519987"/>
              <a:gd name="connsiteY75" fmla="*/ 1038225 h 4429225"/>
              <a:gd name="connsiteX76" fmla="*/ 382927 w 4519987"/>
              <a:gd name="connsiteY76" fmla="*/ 1009650 h 4429225"/>
              <a:gd name="connsiteX77" fmla="*/ 440077 w 4519987"/>
              <a:gd name="connsiteY77" fmla="*/ 904875 h 4429225"/>
              <a:gd name="connsiteX78" fmla="*/ 478177 w 4519987"/>
              <a:gd name="connsiteY78" fmla="*/ 857250 h 4429225"/>
              <a:gd name="connsiteX79" fmla="*/ 497227 w 4519987"/>
              <a:gd name="connsiteY79" fmla="*/ 828675 h 4429225"/>
              <a:gd name="connsiteX80" fmla="*/ 535327 w 4519987"/>
              <a:gd name="connsiteY80" fmla="*/ 800100 h 4429225"/>
              <a:gd name="connsiteX81" fmla="*/ 602002 w 4519987"/>
              <a:gd name="connsiteY81" fmla="*/ 733425 h 4429225"/>
              <a:gd name="connsiteX82" fmla="*/ 668677 w 4519987"/>
              <a:gd name="connsiteY82" fmla="*/ 676275 h 4429225"/>
              <a:gd name="connsiteX83" fmla="*/ 697252 w 4519987"/>
              <a:gd name="connsiteY83" fmla="*/ 657225 h 4429225"/>
              <a:gd name="connsiteX84" fmla="*/ 840127 w 4519987"/>
              <a:gd name="connsiteY84" fmla="*/ 533400 h 4429225"/>
              <a:gd name="connsiteX85" fmla="*/ 887752 w 4519987"/>
              <a:gd name="connsiteY85" fmla="*/ 504825 h 4429225"/>
              <a:gd name="connsiteX86" fmla="*/ 1167152 w 4519987"/>
              <a:gd name="connsiteY86" fmla="*/ 311150 h 4429225"/>
              <a:gd name="connsiteX87" fmla="*/ 1268752 w 4519987"/>
              <a:gd name="connsiteY87" fmla="*/ 285750 h 4429225"/>
              <a:gd name="connsiteX88" fmla="*/ 1411627 w 4519987"/>
              <a:gd name="connsiteY88" fmla="*/ 190500 h 4429225"/>
              <a:gd name="connsiteX89" fmla="*/ 1449727 w 4519987"/>
              <a:gd name="connsiteY89" fmla="*/ 161925 h 4429225"/>
              <a:gd name="connsiteX90" fmla="*/ 1525927 w 4519987"/>
              <a:gd name="connsiteY90" fmla="*/ 152400 h 4429225"/>
              <a:gd name="connsiteX91" fmla="*/ 1583077 w 4519987"/>
              <a:gd name="connsiteY91" fmla="*/ 142875 h 4429225"/>
              <a:gd name="connsiteX92" fmla="*/ 1716427 w 4519987"/>
              <a:gd name="connsiteY92" fmla="*/ 123825 h 4429225"/>
              <a:gd name="connsiteX93" fmla="*/ 1811677 w 4519987"/>
              <a:gd name="connsiteY93" fmla="*/ 114300 h 4429225"/>
              <a:gd name="connsiteX94" fmla="*/ 1859302 w 4519987"/>
              <a:gd name="connsiteY94" fmla="*/ 104775 h 4429225"/>
              <a:gd name="connsiteX95" fmla="*/ 1916452 w 4519987"/>
              <a:gd name="connsiteY95" fmla="*/ 95250 h 4429225"/>
              <a:gd name="connsiteX96" fmla="*/ 2030752 w 4519987"/>
              <a:gd name="connsiteY96" fmla="*/ 66675 h 4429225"/>
              <a:gd name="connsiteX97" fmla="*/ 2097427 w 4519987"/>
              <a:gd name="connsiteY97" fmla="*/ 47625 h 4429225"/>
              <a:gd name="connsiteX98" fmla="*/ 2164102 w 4519987"/>
              <a:gd name="connsiteY98" fmla="*/ 38100 h 4429225"/>
              <a:gd name="connsiteX99" fmla="*/ 2392702 w 4519987"/>
              <a:gd name="connsiteY99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9552 w 4519987"/>
              <a:gd name="connsiteY56" fmla="*/ 2638425 h 4429225"/>
              <a:gd name="connsiteX57" fmla="*/ 40027 w 4519987"/>
              <a:gd name="connsiteY57" fmla="*/ 2562225 h 4429225"/>
              <a:gd name="connsiteX58" fmla="*/ 30502 w 4519987"/>
              <a:gd name="connsiteY58" fmla="*/ 2514600 h 4429225"/>
              <a:gd name="connsiteX59" fmla="*/ 11452 w 4519987"/>
              <a:gd name="connsiteY59" fmla="*/ 2400300 h 4429225"/>
              <a:gd name="connsiteX60" fmla="*/ 20977 w 4519987"/>
              <a:gd name="connsiteY60" fmla="*/ 1905000 h 4429225"/>
              <a:gd name="connsiteX61" fmla="*/ 30502 w 4519987"/>
              <a:gd name="connsiteY61" fmla="*/ 1838325 h 4429225"/>
              <a:gd name="connsiteX62" fmla="*/ 49552 w 4519987"/>
              <a:gd name="connsiteY62" fmla="*/ 1781175 h 4429225"/>
              <a:gd name="connsiteX63" fmla="*/ 59077 w 4519987"/>
              <a:gd name="connsiteY63" fmla="*/ 1743075 h 4429225"/>
              <a:gd name="connsiteX64" fmla="*/ 78127 w 4519987"/>
              <a:gd name="connsiteY64" fmla="*/ 1685925 h 4429225"/>
              <a:gd name="connsiteX65" fmla="*/ 87652 w 4519987"/>
              <a:gd name="connsiteY65" fmla="*/ 1638300 h 4429225"/>
              <a:gd name="connsiteX66" fmla="*/ 106702 w 4519987"/>
              <a:gd name="connsiteY66" fmla="*/ 1590675 h 4429225"/>
              <a:gd name="connsiteX67" fmla="*/ 135277 w 4519987"/>
              <a:gd name="connsiteY67" fmla="*/ 1504950 h 4429225"/>
              <a:gd name="connsiteX68" fmla="*/ 154327 w 4519987"/>
              <a:gd name="connsiteY68" fmla="*/ 1419225 h 4429225"/>
              <a:gd name="connsiteX69" fmla="*/ 230527 w 4519987"/>
              <a:gd name="connsiteY69" fmla="*/ 1276350 h 4429225"/>
              <a:gd name="connsiteX70" fmla="*/ 240052 w 4519987"/>
              <a:gd name="connsiteY70" fmla="*/ 1247775 h 4429225"/>
              <a:gd name="connsiteX71" fmla="*/ 268627 w 4519987"/>
              <a:gd name="connsiteY71" fmla="*/ 1200150 h 4429225"/>
              <a:gd name="connsiteX72" fmla="*/ 287677 w 4519987"/>
              <a:gd name="connsiteY72" fmla="*/ 1152525 h 4429225"/>
              <a:gd name="connsiteX73" fmla="*/ 316252 w 4519987"/>
              <a:gd name="connsiteY73" fmla="*/ 1114425 h 4429225"/>
              <a:gd name="connsiteX74" fmla="*/ 363877 w 4519987"/>
              <a:gd name="connsiteY74" fmla="*/ 1038225 h 4429225"/>
              <a:gd name="connsiteX75" fmla="*/ 382927 w 4519987"/>
              <a:gd name="connsiteY75" fmla="*/ 1009650 h 4429225"/>
              <a:gd name="connsiteX76" fmla="*/ 440077 w 4519987"/>
              <a:gd name="connsiteY76" fmla="*/ 904875 h 4429225"/>
              <a:gd name="connsiteX77" fmla="*/ 478177 w 4519987"/>
              <a:gd name="connsiteY77" fmla="*/ 857250 h 4429225"/>
              <a:gd name="connsiteX78" fmla="*/ 497227 w 4519987"/>
              <a:gd name="connsiteY78" fmla="*/ 828675 h 4429225"/>
              <a:gd name="connsiteX79" fmla="*/ 535327 w 4519987"/>
              <a:gd name="connsiteY79" fmla="*/ 800100 h 4429225"/>
              <a:gd name="connsiteX80" fmla="*/ 602002 w 4519987"/>
              <a:gd name="connsiteY80" fmla="*/ 733425 h 4429225"/>
              <a:gd name="connsiteX81" fmla="*/ 668677 w 4519987"/>
              <a:gd name="connsiteY81" fmla="*/ 676275 h 4429225"/>
              <a:gd name="connsiteX82" fmla="*/ 697252 w 4519987"/>
              <a:gd name="connsiteY82" fmla="*/ 657225 h 4429225"/>
              <a:gd name="connsiteX83" fmla="*/ 840127 w 4519987"/>
              <a:gd name="connsiteY83" fmla="*/ 533400 h 4429225"/>
              <a:gd name="connsiteX84" fmla="*/ 887752 w 4519987"/>
              <a:gd name="connsiteY84" fmla="*/ 504825 h 4429225"/>
              <a:gd name="connsiteX85" fmla="*/ 1167152 w 4519987"/>
              <a:gd name="connsiteY85" fmla="*/ 311150 h 4429225"/>
              <a:gd name="connsiteX86" fmla="*/ 1268752 w 4519987"/>
              <a:gd name="connsiteY86" fmla="*/ 285750 h 4429225"/>
              <a:gd name="connsiteX87" fmla="*/ 1411627 w 4519987"/>
              <a:gd name="connsiteY87" fmla="*/ 190500 h 4429225"/>
              <a:gd name="connsiteX88" fmla="*/ 1449727 w 4519987"/>
              <a:gd name="connsiteY88" fmla="*/ 161925 h 4429225"/>
              <a:gd name="connsiteX89" fmla="*/ 1525927 w 4519987"/>
              <a:gd name="connsiteY89" fmla="*/ 152400 h 4429225"/>
              <a:gd name="connsiteX90" fmla="*/ 1583077 w 4519987"/>
              <a:gd name="connsiteY90" fmla="*/ 142875 h 4429225"/>
              <a:gd name="connsiteX91" fmla="*/ 1716427 w 4519987"/>
              <a:gd name="connsiteY91" fmla="*/ 123825 h 4429225"/>
              <a:gd name="connsiteX92" fmla="*/ 1811677 w 4519987"/>
              <a:gd name="connsiteY92" fmla="*/ 114300 h 4429225"/>
              <a:gd name="connsiteX93" fmla="*/ 1859302 w 4519987"/>
              <a:gd name="connsiteY93" fmla="*/ 104775 h 4429225"/>
              <a:gd name="connsiteX94" fmla="*/ 1916452 w 4519987"/>
              <a:gd name="connsiteY94" fmla="*/ 95250 h 4429225"/>
              <a:gd name="connsiteX95" fmla="*/ 2030752 w 4519987"/>
              <a:gd name="connsiteY95" fmla="*/ 66675 h 4429225"/>
              <a:gd name="connsiteX96" fmla="*/ 2097427 w 4519987"/>
              <a:gd name="connsiteY96" fmla="*/ 47625 h 4429225"/>
              <a:gd name="connsiteX97" fmla="*/ 2164102 w 4519987"/>
              <a:gd name="connsiteY97" fmla="*/ 38100 h 4429225"/>
              <a:gd name="connsiteX98" fmla="*/ 2392702 w 4519987"/>
              <a:gd name="connsiteY98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0027 w 4519987"/>
              <a:gd name="connsiteY56" fmla="*/ 2562225 h 4429225"/>
              <a:gd name="connsiteX57" fmla="*/ 30502 w 4519987"/>
              <a:gd name="connsiteY57" fmla="*/ 2514600 h 4429225"/>
              <a:gd name="connsiteX58" fmla="*/ 11452 w 4519987"/>
              <a:gd name="connsiteY58" fmla="*/ 2400300 h 4429225"/>
              <a:gd name="connsiteX59" fmla="*/ 20977 w 4519987"/>
              <a:gd name="connsiteY59" fmla="*/ 1905000 h 4429225"/>
              <a:gd name="connsiteX60" fmla="*/ 30502 w 4519987"/>
              <a:gd name="connsiteY60" fmla="*/ 1838325 h 4429225"/>
              <a:gd name="connsiteX61" fmla="*/ 49552 w 4519987"/>
              <a:gd name="connsiteY61" fmla="*/ 1781175 h 4429225"/>
              <a:gd name="connsiteX62" fmla="*/ 59077 w 4519987"/>
              <a:gd name="connsiteY62" fmla="*/ 1743075 h 4429225"/>
              <a:gd name="connsiteX63" fmla="*/ 78127 w 4519987"/>
              <a:gd name="connsiteY63" fmla="*/ 1685925 h 4429225"/>
              <a:gd name="connsiteX64" fmla="*/ 87652 w 4519987"/>
              <a:gd name="connsiteY64" fmla="*/ 1638300 h 4429225"/>
              <a:gd name="connsiteX65" fmla="*/ 106702 w 4519987"/>
              <a:gd name="connsiteY65" fmla="*/ 1590675 h 4429225"/>
              <a:gd name="connsiteX66" fmla="*/ 135277 w 4519987"/>
              <a:gd name="connsiteY66" fmla="*/ 1504950 h 4429225"/>
              <a:gd name="connsiteX67" fmla="*/ 154327 w 4519987"/>
              <a:gd name="connsiteY67" fmla="*/ 1419225 h 4429225"/>
              <a:gd name="connsiteX68" fmla="*/ 230527 w 4519987"/>
              <a:gd name="connsiteY68" fmla="*/ 1276350 h 4429225"/>
              <a:gd name="connsiteX69" fmla="*/ 240052 w 4519987"/>
              <a:gd name="connsiteY69" fmla="*/ 1247775 h 4429225"/>
              <a:gd name="connsiteX70" fmla="*/ 268627 w 4519987"/>
              <a:gd name="connsiteY70" fmla="*/ 1200150 h 4429225"/>
              <a:gd name="connsiteX71" fmla="*/ 287677 w 4519987"/>
              <a:gd name="connsiteY71" fmla="*/ 1152525 h 4429225"/>
              <a:gd name="connsiteX72" fmla="*/ 316252 w 4519987"/>
              <a:gd name="connsiteY72" fmla="*/ 1114425 h 4429225"/>
              <a:gd name="connsiteX73" fmla="*/ 363877 w 4519987"/>
              <a:gd name="connsiteY73" fmla="*/ 1038225 h 4429225"/>
              <a:gd name="connsiteX74" fmla="*/ 382927 w 4519987"/>
              <a:gd name="connsiteY74" fmla="*/ 1009650 h 4429225"/>
              <a:gd name="connsiteX75" fmla="*/ 440077 w 4519987"/>
              <a:gd name="connsiteY75" fmla="*/ 904875 h 4429225"/>
              <a:gd name="connsiteX76" fmla="*/ 478177 w 4519987"/>
              <a:gd name="connsiteY76" fmla="*/ 857250 h 4429225"/>
              <a:gd name="connsiteX77" fmla="*/ 497227 w 4519987"/>
              <a:gd name="connsiteY77" fmla="*/ 828675 h 4429225"/>
              <a:gd name="connsiteX78" fmla="*/ 535327 w 4519987"/>
              <a:gd name="connsiteY78" fmla="*/ 800100 h 4429225"/>
              <a:gd name="connsiteX79" fmla="*/ 602002 w 4519987"/>
              <a:gd name="connsiteY79" fmla="*/ 733425 h 4429225"/>
              <a:gd name="connsiteX80" fmla="*/ 668677 w 4519987"/>
              <a:gd name="connsiteY80" fmla="*/ 676275 h 4429225"/>
              <a:gd name="connsiteX81" fmla="*/ 697252 w 4519987"/>
              <a:gd name="connsiteY81" fmla="*/ 657225 h 4429225"/>
              <a:gd name="connsiteX82" fmla="*/ 840127 w 4519987"/>
              <a:gd name="connsiteY82" fmla="*/ 533400 h 4429225"/>
              <a:gd name="connsiteX83" fmla="*/ 887752 w 4519987"/>
              <a:gd name="connsiteY83" fmla="*/ 504825 h 4429225"/>
              <a:gd name="connsiteX84" fmla="*/ 1167152 w 4519987"/>
              <a:gd name="connsiteY84" fmla="*/ 311150 h 4429225"/>
              <a:gd name="connsiteX85" fmla="*/ 1268752 w 4519987"/>
              <a:gd name="connsiteY85" fmla="*/ 285750 h 4429225"/>
              <a:gd name="connsiteX86" fmla="*/ 1411627 w 4519987"/>
              <a:gd name="connsiteY86" fmla="*/ 190500 h 4429225"/>
              <a:gd name="connsiteX87" fmla="*/ 1449727 w 4519987"/>
              <a:gd name="connsiteY87" fmla="*/ 161925 h 4429225"/>
              <a:gd name="connsiteX88" fmla="*/ 1525927 w 4519987"/>
              <a:gd name="connsiteY88" fmla="*/ 152400 h 4429225"/>
              <a:gd name="connsiteX89" fmla="*/ 1583077 w 4519987"/>
              <a:gd name="connsiteY89" fmla="*/ 142875 h 4429225"/>
              <a:gd name="connsiteX90" fmla="*/ 1716427 w 4519987"/>
              <a:gd name="connsiteY90" fmla="*/ 123825 h 4429225"/>
              <a:gd name="connsiteX91" fmla="*/ 1811677 w 4519987"/>
              <a:gd name="connsiteY91" fmla="*/ 114300 h 4429225"/>
              <a:gd name="connsiteX92" fmla="*/ 1859302 w 4519987"/>
              <a:gd name="connsiteY92" fmla="*/ 104775 h 4429225"/>
              <a:gd name="connsiteX93" fmla="*/ 1916452 w 4519987"/>
              <a:gd name="connsiteY93" fmla="*/ 95250 h 4429225"/>
              <a:gd name="connsiteX94" fmla="*/ 2030752 w 4519987"/>
              <a:gd name="connsiteY94" fmla="*/ 66675 h 4429225"/>
              <a:gd name="connsiteX95" fmla="*/ 2097427 w 4519987"/>
              <a:gd name="connsiteY95" fmla="*/ 47625 h 4429225"/>
              <a:gd name="connsiteX96" fmla="*/ 2164102 w 4519987"/>
              <a:gd name="connsiteY96" fmla="*/ 38100 h 4429225"/>
              <a:gd name="connsiteX97" fmla="*/ 2392702 w 4519987"/>
              <a:gd name="connsiteY97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0027 w 4519987"/>
              <a:gd name="connsiteY56" fmla="*/ 2562225 h 4429225"/>
              <a:gd name="connsiteX57" fmla="*/ 11452 w 4519987"/>
              <a:gd name="connsiteY57" fmla="*/ 2400300 h 4429225"/>
              <a:gd name="connsiteX58" fmla="*/ 20977 w 4519987"/>
              <a:gd name="connsiteY58" fmla="*/ 1905000 h 4429225"/>
              <a:gd name="connsiteX59" fmla="*/ 30502 w 4519987"/>
              <a:gd name="connsiteY59" fmla="*/ 1838325 h 4429225"/>
              <a:gd name="connsiteX60" fmla="*/ 49552 w 4519987"/>
              <a:gd name="connsiteY60" fmla="*/ 1781175 h 4429225"/>
              <a:gd name="connsiteX61" fmla="*/ 59077 w 4519987"/>
              <a:gd name="connsiteY61" fmla="*/ 1743075 h 4429225"/>
              <a:gd name="connsiteX62" fmla="*/ 78127 w 4519987"/>
              <a:gd name="connsiteY62" fmla="*/ 1685925 h 4429225"/>
              <a:gd name="connsiteX63" fmla="*/ 87652 w 4519987"/>
              <a:gd name="connsiteY63" fmla="*/ 1638300 h 4429225"/>
              <a:gd name="connsiteX64" fmla="*/ 106702 w 4519987"/>
              <a:gd name="connsiteY64" fmla="*/ 1590675 h 4429225"/>
              <a:gd name="connsiteX65" fmla="*/ 135277 w 4519987"/>
              <a:gd name="connsiteY65" fmla="*/ 1504950 h 4429225"/>
              <a:gd name="connsiteX66" fmla="*/ 154327 w 4519987"/>
              <a:gd name="connsiteY66" fmla="*/ 1419225 h 4429225"/>
              <a:gd name="connsiteX67" fmla="*/ 230527 w 4519987"/>
              <a:gd name="connsiteY67" fmla="*/ 1276350 h 4429225"/>
              <a:gd name="connsiteX68" fmla="*/ 240052 w 4519987"/>
              <a:gd name="connsiteY68" fmla="*/ 1247775 h 4429225"/>
              <a:gd name="connsiteX69" fmla="*/ 268627 w 4519987"/>
              <a:gd name="connsiteY69" fmla="*/ 1200150 h 4429225"/>
              <a:gd name="connsiteX70" fmla="*/ 287677 w 4519987"/>
              <a:gd name="connsiteY70" fmla="*/ 1152525 h 4429225"/>
              <a:gd name="connsiteX71" fmla="*/ 316252 w 4519987"/>
              <a:gd name="connsiteY71" fmla="*/ 1114425 h 4429225"/>
              <a:gd name="connsiteX72" fmla="*/ 363877 w 4519987"/>
              <a:gd name="connsiteY72" fmla="*/ 1038225 h 4429225"/>
              <a:gd name="connsiteX73" fmla="*/ 382927 w 4519987"/>
              <a:gd name="connsiteY73" fmla="*/ 1009650 h 4429225"/>
              <a:gd name="connsiteX74" fmla="*/ 440077 w 4519987"/>
              <a:gd name="connsiteY74" fmla="*/ 904875 h 4429225"/>
              <a:gd name="connsiteX75" fmla="*/ 478177 w 4519987"/>
              <a:gd name="connsiteY75" fmla="*/ 857250 h 4429225"/>
              <a:gd name="connsiteX76" fmla="*/ 497227 w 4519987"/>
              <a:gd name="connsiteY76" fmla="*/ 828675 h 4429225"/>
              <a:gd name="connsiteX77" fmla="*/ 535327 w 4519987"/>
              <a:gd name="connsiteY77" fmla="*/ 800100 h 4429225"/>
              <a:gd name="connsiteX78" fmla="*/ 602002 w 4519987"/>
              <a:gd name="connsiteY78" fmla="*/ 733425 h 4429225"/>
              <a:gd name="connsiteX79" fmla="*/ 668677 w 4519987"/>
              <a:gd name="connsiteY79" fmla="*/ 676275 h 4429225"/>
              <a:gd name="connsiteX80" fmla="*/ 697252 w 4519987"/>
              <a:gd name="connsiteY80" fmla="*/ 657225 h 4429225"/>
              <a:gd name="connsiteX81" fmla="*/ 840127 w 4519987"/>
              <a:gd name="connsiteY81" fmla="*/ 533400 h 4429225"/>
              <a:gd name="connsiteX82" fmla="*/ 887752 w 4519987"/>
              <a:gd name="connsiteY82" fmla="*/ 504825 h 4429225"/>
              <a:gd name="connsiteX83" fmla="*/ 1167152 w 4519987"/>
              <a:gd name="connsiteY83" fmla="*/ 311150 h 4429225"/>
              <a:gd name="connsiteX84" fmla="*/ 1268752 w 4519987"/>
              <a:gd name="connsiteY84" fmla="*/ 285750 h 4429225"/>
              <a:gd name="connsiteX85" fmla="*/ 1411627 w 4519987"/>
              <a:gd name="connsiteY85" fmla="*/ 190500 h 4429225"/>
              <a:gd name="connsiteX86" fmla="*/ 1449727 w 4519987"/>
              <a:gd name="connsiteY86" fmla="*/ 161925 h 4429225"/>
              <a:gd name="connsiteX87" fmla="*/ 1525927 w 4519987"/>
              <a:gd name="connsiteY87" fmla="*/ 152400 h 4429225"/>
              <a:gd name="connsiteX88" fmla="*/ 1583077 w 4519987"/>
              <a:gd name="connsiteY88" fmla="*/ 142875 h 4429225"/>
              <a:gd name="connsiteX89" fmla="*/ 1716427 w 4519987"/>
              <a:gd name="connsiteY89" fmla="*/ 123825 h 4429225"/>
              <a:gd name="connsiteX90" fmla="*/ 1811677 w 4519987"/>
              <a:gd name="connsiteY90" fmla="*/ 114300 h 4429225"/>
              <a:gd name="connsiteX91" fmla="*/ 1859302 w 4519987"/>
              <a:gd name="connsiteY91" fmla="*/ 104775 h 4429225"/>
              <a:gd name="connsiteX92" fmla="*/ 1916452 w 4519987"/>
              <a:gd name="connsiteY92" fmla="*/ 95250 h 4429225"/>
              <a:gd name="connsiteX93" fmla="*/ 2030752 w 4519987"/>
              <a:gd name="connsiteY93" fmla="*/ 66675 h 4429225"/>
              <a:gd name="connsiteX94" fmla="*/ 2097427 w 4519987"/>
              <a:gd name="connsiteY94" fmla="*/ 47625 h 4429225"/>
              <a:gd name="connsiteX95" fmla="*/ 2164102 w 4519987"/>
              <a:gd name="connsiteY95" fmla="*/ 38100 h 4429225"/>
              <a:gd name="connsiteX96" fmla="*/ 2392702 w 4519987"/>
              <a:gd name="connsiteY96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11452 w 4519987"/>
              <a:gd name="connsiteY56" fmla="*/ 2400300 h 4429225"/>
              <a:gd name="connsiteX57" fmla="*/ 20977 w 4519987"/>
              <a:gd name="connsiteY57" fmla="*/ 1905000 h 4429225"/>
              <a:gd name="connsiteX58" fmla="*/ 30502 w 4519987"/>
              <a:gd name="connsiteY58" fmla="*/ 1838325 h 4429225"/>
              <a:gd name="connsiteX59" fmla="*/ 49552 w 4519987"/>
              <a:gd name="connsiteY59" fmla="*/ 1781175 h 4429225"/>
              <a:gd name="connsiteX60" fmla="*/ 59077 w 4519987"/>
              <a:gd name="connsiteY60" fmla="*/ 1743075 h 4429225"/>
              <a:gd name="connsiteX61" fmla="*/ 78127 w 4519987"/>
              <a:gd name="connsiteY61" fmla="*/ 1685925 h 4429225"/>
              <a:gd name="connsiteX62" fmla="*/ 87652 w 4519987"/>
              <a:gd name="connsiteY62" fmla="*/ 1638300 h 4429225"/>
              <a:gd name="connsiteX63" fmla="*/ 106702 w 4519987"/>
              <a:gd name="connsiteY63" fmla="*/ 1590675 h 4429225"/>
              <a:gd name="connsiteX64" fmla="*/ 135277 w 4519987"/>
              <a:gd name="connsiteY64" fmla="*/ 1504950 h 4429225"/>
              <a:gd name="connsiteX65" fmla="*/ 154327 w 4519987"/>
              <a:gd name="connsiteY65" fmla="*/ 1419225 h 4429225"/>
              <a:gd name="connsiteX66" fmla="*/ 230527 w 4519987"/>
              <a:gd name="connsiteY66" fmla="*/ 1276350 h 4429225"/>
              <a:gd name="connsiteX67" fmla="*/ 240052 w 4519987"/>
              <a:gd name="connsiteY67" fmla="*/ 1247775 h 4429225"/>
              <a:gd name="connsiteX68" fmla="*/ 268627 w 4519987"/>
              <a:gd name="connsiteY68" fmla="*/ 1200150 h 4429225"/>
              <a:gd name="connsiteX69" fmla="*/ 287677 w 4519987"/>
              <a:gd name="connsiteY69" fmla="*/ 1152525 h 4429225"/>
              <a:gd name="connsiteX70" fmla="*/ 316252 w 4519987"/>
              <a:gd name="connsiteY70" fmla="*/ 1114425 h 4429225"/>
              <a:gd name="connsiteX71" fmla="*/ 363877 w 4519987"/>
              <a:gd name="connsiteY71" fmla="*/ 1038225 h 4429225"/>
              <a:gd name="connsiteX72" fmla="*/ 382927 w 4519987"/>
              <a:gd name="connsiteY72" fmla="*/ 1009650 h 4429225"/>
              <a:gd name="connsiteX73" fmla="*/ 440077 w 4519987"/>
              <a:gd name="connsiteY73" fmla="*/ 904875 h 4429225"/>
              <a:gd name="connsiteX74" fmla="*/ 478177 w 4519987"/>
              <a:gd name="connsiteY74" fmla="*/ 857250 h 4429225"/>
              <a:gd name="connsiteX75" fmla="*/ 497227 w 4519987"/>
              <a:gd name="connsiteY75" fmla="*/ 828675 h 4429225"/>
              <a:gd name="connsiteX76" fmla="*/ 535327 w 4519987"/>
              <a:gd name="connsiteY76" fmla="*/ 800100 h 4429225"/>
              <a:gd name="connsiteX77" fmla="*/ 602002 w 4519987"/>
              <a:gd name="connsiteY77" fmla="*/ 733425 h 4429225"/>
              <a:gd name="connsiteX78" fmla="*/ 668677 w 4519987"/>
              <a:gd name="connsiteY78" fmla="*/ 676275 h 4429225"/>
              <a:gd name="connsiteX79" fmla="*/ 697252 w 4519987"/>
              <a:gd name="connsiteY79" fmla="*/ 657225 h 4429225"/>
              <a:gd name="connsiteX80" fmla="*/ 840127 w 4519987"/>
              <a:gd name="connsiteY80" fmla="*/ 533400 h 4429225"/>
              <a:gd name="connsiteX81" fmla="*/ 887752 w 4519987"/>
              <a:gd name="connsiteY81" fmla="*/ 504825 h 4429225"/>
              <a:gd name="connsiteX82" fmla="*/ 1167152 w 4519987"/>
              <a:gd name="connsiteY82" fmla="*/ 311150 h 4429225"/>
              <a:gd name="connsiteX83" fmla="*/ 1268752 w 4519987"/>
              <a:gd name="connsiteY83" fmla="*/ 285750 h 4429225"/>
              <a:gd name="connsiteX84" fmla="*/ 1411627 w 4519987"/>
              <a:gd name="connsiteY84" fmla="*/ 190500 h 4429225"/>
              <a:gd name="connsiteX85" fmla="*/ 1449727 w 4519987"/>
              <a:gd name="connsiteY85" fmla="*/ 161925 h 4429225"/>
              <a:gd name="connsiteX86" fmla="*/ 1525927 w 4519987"/>
              <a:gd name="connsiteY86" fmla="*/ 152400 h 4429225"/>
              <a:gd name="connsiteX87" fmla="*/ 1583077 w 4519987"/>
              <a:gd name="connsiteY87" fmla="*/ 142875 h 4429225"/>
              <a:gd name="connsiteX88" fmla="*/ 1716427 w 4519987"/>
              <a:gd name="connsiteY88" fmla="*/ 123825 h 4429225"/>
              <a:gd name="connsiteX89" fmla="*/ 1811677 w 4519987"/>
              <a:gd name="connsiteY89" fmla="*/ 114300 h 4429225"/>
              <a:gd name="connsiteX90" fmla="*/ 1859302 w 4519987"/>
              <a:gd name="connsiteY90" fmla="*/ 104775 h 4429225"/>
              <a:gd name="connsiteX91" fmla="*/ 1916452 w 4519987"/>
              <a:gd name="connsiteY91" fmla="*/ 95250 h 4429225"/>
              <a:gd name="connsiteX92" fmla="*/ 2030752 w 4519987"/>
              <a:gd name="connsiteY92" fmla="*/ 66675 h 4429225"/>
              <a:gd name="connsiteX93" fmla="*/ 2097427 w 4519987"/>
              <a:gd name="connsiteY93" fmla="*/ 47625 h 4429225"/>
              <a:gd name="connsiteX94" fmla="*/ 2164102 w 4519987"/>
              <a:gd name="connsiteY94" fmla="*/ 38100 h 4429225"/>
              <a:gd name="connsiteX95" fmla="*/ 2392702 w 4519987"/>
              <a:gd name="connsiteY95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202394 w 4501379"/>
              <a:gd name="connsiteY53" fmla="*/ 3105150 h 4429225"/>
              <a:gd name="connsiteX54" fmla="*/ 126194 w 4501379"/>
              <a:gd name="connsiteY54" fmla="*/ 2924175 h 4429225"/>
              <a:gd name="connsiteX55" fmla="*/ 49994 w 4501379"/>
              <a:gd name="connsiteY55" fmla="*/ 2724150 h 4429225"/>
              <a:gd name="connsiteX56" fmla="*/ 56344 w 4501379"/>
              <a:gd name="connsiteY56" fmla="*/ 2368550 h 4429225"/>
              <a:gd name="connsiteX57" fmla="*/ 2369 w 4501379"/>
              <a:gd name="connsiteY57" fmla="*/ 1905000 h 4429225"/>
              <a:gd name="connsiteX58" fmla="*/ 11894 w 4501379"/>
              <a:gd name="connsiteY58" fmla="*/ 1838325 h 4429225"/>
              <a:gd name="connsiteX59" fmla="*/ 30944 w 4501379"/>
              <a:gd name="connsiteY59" fmla="*/ 1781175 h 4429225"/>
              <a:gd name="connsiteX60" fmla="*/ 40469 w 4501379"/>
              <a:gd name="connsiteY60" fmla="*/ 1743075 h 4429225"/>
              <a:gd name="connsiteX61" fmla="*/ 59519 w 4501379"/>
              <a:gd name="connsiteY61" fmla="*/ 1685925 h 4429225"/>
              <a:gd name="connsiteX62" fmla="*/ 69044 w 4501379"/>
              <a:gd name="connsiteY62" fmla="*/ 1638300 h 4429225"/>
              <a:gd name="connsiteX63" fmla="*/ 88094 w 4501379"/>
              <a:gd name="connsiteY63" fmla="*/ 1590675 h 4429225"/>
              <a:gd name="connsiteX64" fmla="*/ 116669 w 4501379"/>
              <a:gd name="connsiteY64" fmla="*/ 1504950 h 4429225"/>
              <a:gd name="connsiteX65" fmla="*/ 135719 w 4501379"/>
              <a:gd name="connsiteY65" fmla="*/ 1419225 h 4429225"/>
              <a:gd name="connsiteX66" fmla="*/ 211919 w 4501379"/>
              <a:gd name="connsiteY66" fmla="*/ 1276350 h 4429225"/>
              <a:gd name="connsiteX67" fmla="*/ 221444 w 4501379"/>
              <a:gd name="connsiteY67" fmla="*/ 1247775 h 4429225"/>
              <a:gd name="connsiteX68" fmla="*/ 250019 w 4501379"/>
              <a:gd name="connsiteY68" fmla="*/ 1200150 h 4429225"/>
              <a:gd name="connsiteX69" fmla="*/ 269069 w 4501379"/>
              <a:gd name="connsiteY69" fmla="*/ 1152525 h 4429225"/>
              <a:gd name="connsiteX70" fmla="*/ 297644 w 4501379"/>
              <a:gd name="connsiteY70" fmla="*/ 1114425 h 4429225"/>
              <a:gd name="connsiteX71" fmla="*/ 345269 w 4501379"/>
              <a:gd name="connsiteY71" fmla="*/ 1038225 h 4429225"/>
              <a:gd name="connsiteX72" fmla="*/ 364319 w 4501379"/>
              <a:gd name="connsiteY72" fmla="*/ 1009650 h 4429225"/>
              <a:gd name="connsiteX73" fmla="*/ 421469 w 4501379"/>
              <a:gd name="connsiteY73" fmla="*/ 904875 h 4429225"/>
              <a:gd name="connsiteX74" fmla="*/ 459569 w 4501379"/>
              <a:gd name="connsiteY74" fmla="*/ 857250 h 4429225"/>
              <a:gd name="connsiteX75" fmla="*/ 478619 w 4501379"/>
              <a:gd name="connsiteY75" fmla="*/ 828675 h 4429225"/>
              <a:gd name="connsiteX76" fmla="*/ 516719 w 4501379"/>
              <a:gd name="connsiteY76" fmla="*/ 800100 h 4429225"/>
              <a:gd name="connsiteX77" fmla="*/ 583394 w 4501379"/>
              <a:gd name="connsiteY77" fmla="*/ 733425 h 4429225"/>
              <a:gd name="connsiteX78" fmla="*/ 650069 w 4501379"/>
              <a:gd name="connsiteY78" fmla="*/ 676275 h 4429225"/>
              <a:gd name="connsiteX79" fmla="*/ 678644 w 4501379"/>
              <a:gd name="connsiteY79" fmla="*/ 657225 h 4429225"/>
              <a:gd name="connsiteX80" fmla="*/ 821519 w 4501379"/>
              <a:gd name="connsiteY80" fmla="*/ 533400 h 4429225"/>
              <a:gd name="connsiteX81" fmla="*/ 869144 w 4501379"/>
              <a:gd name="connsiteY81" fmla="*/ 504825 h 4429225"/>
              <a:gd name="connsiteX82" fmla="*/ 1148544 w 4501379"/>
              <a:gd name="connsiteY82" fmla="*/ 311150 h 4429225"/>
              <a:gd name="connsiteX83" fmla="*/ 1250144 w 4501379"/>
              <a:gd name="connsiteY83" fmla="*/ 285750 h 4429225"/>
              <a:gd name="connsiteX84" fmla="*/ 1393019 w 4501379"/>
              <a:gd name="connsiteY84" fmla="*/ 190500 h 4429225"/>
              <a:gd name="connsiteX85" fmla="*/ 1431119 w 4501379"/>
              <a:gd name="connsiteY85" fmla="*/ 161925 h 4429225"/>
              <a:gd name="connsiteX86" fmla="*/ 1507319 w 4501379"/>
              <a:gd name="connsiteY86" fmla="*/ 152400 h 4429225"/>
              <a:gd name="connsiteX87" fmla="*/ 1564469 w 4501379"/>
              <a:gd name="connsiteY87" fmla="*/ 142875 h 4429225"/>
              <a:gd name="connsiteX88" fmla="*/ 1697819 w 4501379"/>
              <a:gd name="connsiteY88" fmla="*/ 123825 h 4429225"/>
              <a:gd name="connsiteX89" fmla="*/ 1793069 w 4501379"/>
              <a:gd name="connsiteY89" fmla="*/ 114300 h 4429225"/>
              <a:gd name="connsiteX90" fmla="*/ 1840694 w 4501379"/>
              <a:gd name="connsiteY90" fmla="*/ 104775 h 4429225"/>
              <a:gd name="connsiteX91" fmla="*/ 1897844 w 4501379"/>
              <a:gd name="connsiteY91" fmla="*/ 95250 h 4429225"/>
              <a:gd name="connsiteX92" fmla="*/ 2012144 w 4501379"/>
              <a:gd name="connsiteY92" fmla="*/ 66675 h 4429225"/>
              <a:gd name="connsiteX93" fmla="*/ 2078819 w 4501379"/>
              <a:gd name="connsiteY93" fmla="*/ 47625 h 4429225"/>
              <a:gd name="connsiteX94" fmla="*/ 2145494 w 4501379"/>
              <a:gd name="connsiteY94" fmla="*/ 38100 h 4429225"/>
              <a:gd name="connsiteX95" fmla="*/ 2374094 w 4501379"/>
              <a:gd name="connsiteY95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202394 w 4501379"/>
              <a:gd name="connsiteY53" fmla="*/ 3105150 h 4429225"/>
              <a:gd name="connsiteX54" fmla="*/ 126194 w 4501379"/>
              <a:gd name="connsiteY54" fmla="*/ 2924175 h 4429225"/>
              <a:gd name="connsiteX55" fmla="*/ 56344 w 4501379"/>
              <a:gd name="connsiteY55" fmla="*/ 2368550 h 4429225"/>
              <a:gd name="connsiteX56" fmla="*/ 2369 w 4501379"/>
              <a:gd name="connsiteY56" fmla="*/ 1905000 h 4429225"/>
              <a:gd name="connsiteX57" fmla="*/ 11894 w 4501379"/>
              <a:gd name="connsiteY57" fmla="*/ 1838325 h 4429225"/>
              <a:gd name="connsiteX58" fmla="*/ 30944 w 4501379"/>
              <a:gd name="connsiteY58" fmla="*/ 1781175 h 4429225"/>
              <a:gd name="connsiteX59" fmla="*/ 40469 w 4501379"/>
              <a:gd name="connsiteY59" fmla="*/ 1743075 h 4429225"/>
              <a:gd name="connsiteX60" fmla="*/ 59519 w 4501379"/>
              <a:gd name="connsiteY60" fmla="*/ 1685925 h 4429225"/>
              <a:gd name="connsiteX61" fmla="*/ 69044 w 4501379"/>
              <a:gd name="connsiteY61" fmla="*/ 1638300 h 4429225"/>
              <a:gd name="connsiteX62" fmla="*/ 88094 w 4501379"/>
              <a:gd name="connsiteY62" fmla="*/ 1590675 h 4429225"/>
              <a:gd name="connsiteX63" fmla="*/ 116669 w 4501379"/>
              <a:gd name="connsiteY63" fmla="*/ 1504950 h 4429225"/>
              <a:gd name="connsiteX64" fmla="*/ 135719 w 4501379"/>
              <a:gd name="connsiteY64" fmla="*/ 1419225 h 4429225"/>
              <a:gd name="connsiteX65" fmla="*/ 211919 w 4501379"/>
              <a:gd name="connsiteY65" fmla="*/ 1276350 h 4429225"/>
              <a:gd name="connsiteX66" fmla="*/ 221444 w 4501379"/>
              <a:gd name="connsiteY66" fmla="*/ 1247775 h 4429225"/>
              <a:gd name="connsiteX67" fmla="*/ 250019 w 4501379"/>
              <a:gd name="connsiteY67" fmla="*/ 1200150 h 4429225"/>
              <a:gd name="connsiteX68" fmla="*/ 269069 w 4501379"/>
              <a:gd name="connsiteY68" fmla="*/ 1152525 h 4429225"/>
              <a:gd name="connsiteX69" fmla="*/ 297644 w 4501379"/>
              <a:gd name="connsiteY69" fmla="*/ 1114425 h 4429225"/>
              <a:gd name="connsiteX70" fmla="*/ 345269 w 4501379"/>
              <a:gd name="connsiteY70" fmla="*/ 1038225 h 4429225"/>
              <a:gd name="connsiteX71" fmla="*/ 364319 w 4501379"/>
              <a:gd name="connsiteY71" fmla="*/ 1009650 h 4429225"/>
              <a:gd name="connsiteX72" fmla="*/ 421469 w 4501379"/>
              <a:gd name="connsiteY72" fmla="*/ 904875 h 4429225"/>
              <a:gd name="connsiteX73" fmla="*/ 459569 w 4501379"/>
              <a:gd name="connsiteY73" fmla="*/ 857250 h 4429225"/>
              <a:gd name="connsiteX74" fmla="*/ 478619 w 4501379"/>
              <a:gd name="connsiteY74" fmla="*/ 828675 h 4429225"/>
              <a:gd name="connsiteX75" fmla="*/ 516719 w 4501379"/>
              <a:gd name="connsiteY75" fmla="*/ 800100 h 4429225"/>
              <a:gd name="connsiteX76" fmla="*/ 583394 w 4501379"/>
              <a:gd name="connsiteY76" fmla="*/ 733425 h 4429225"/>
              <a:gd name="connsiteX77" fmla="*/ 650069 w 4501379"/>
              <a:gd name="connsiteY77" fmla="*/ 676275 h 4429225"/>
              <a:gd name="connsiteX78" fmla="*/ 678644 w 4501379"/>
              <a:gd name="connsiteY78" fmla="*/ 657225 h 4429225"/>
              <a:gd name="connsiteX79" fmla="*/ 821519 w 4501379"/>
              <a:gd name="connsiteY79" fmla="*/ 533400 h 4429225"/>
              <a:gd name="connsiteX80" fmla="*/ 869144 w 4501379"/>
              <a:gd name="connsiteY80" fmla="*/ 504825 h 4429225"/>
              <a:gd name="connsiteX81" fmla="*/ 1148544 w 4501379"/>
              <a:gd name="connsiteY81" fmla="*/ 311150 h 4429225"/>
              <a:gd name="connsiteX82" fmla="*/ 1250144 w 4501379"/>
              <a:gd name="connsiteY82" fmla="*/ 285750 h 4429225"/>
              <a:gd name="connsiteX83" fmla="*/ 1393019 w 4501379"/>
              <a:gd name="connsiteY83" fmla="*/ 190500 h 4429225"/>
              <a:gd name="connsiteX84" fmla="*/ 1431119 w 4501379"/>
              <a:gd name="connsiteY84" fmla="*/ 161925 h 4429225"/>
              <a:gd name="connsiteX85" fmla="*/ 1507319 w 4501379"/>
              <a:gd name="connsiteY85" fmla="*/ 152400 h 4429225"/>
              <a:gd name="connsiteX86" fmla="*/ 1564469 w 4501379"/>
              <a:gd name="connsiteY86" fmla="*/ 142875 h 4429225"/>
              <a:gd name="connsiteX87" fmla="*/ 1697819 w 4501379"/>
              <a:gd name="connsiteY87" fmla="*/ 123825 h 4429225"/>
              <a:gd name="connsiteX88" fmla="*/ 1793069 w 4501379"/>
              <a:gd name="connsiteY88" fmla="*/ 114300 h 4429225"/>
              <a:gd name="connsiteX89" fmla="*/ 1840694 w 4501379"/>
              <a:gd name="connsiteY89" fmla="*/ 104775 h 4429225"/>
              <a:gd name="connsiteX90" fmla="*/ 1897844 w 4501379"/>
              <a:gd name="connsiteY90" fmla="*/ 95250 h 4429225"/>
              <a:gd name="connsiteX91" fmla="*/ 2012144 w 4501379"/>
              <a:gd name="connsiteY91" fmla="*/ 66675 h 4429225"/>
              <a:gd name="connsiteX92" fmla="*/ 2078819 w 4501379"/>
              <a:gd name="connsiteY92" fmla="*/ 47625 h 4429225"/>
              <a:gd name="connsiteX93" fmla="*/ 2145494 w 4501379"/>
              <a:gd name="connsiteY93" fmla="*/ 38100 h 4429225"/>
              <a:gd name="connsiteX94" fmla="*/ 2374094 w 4501379"/>
              <a:gd name="connsiteY94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126194 w 4501379"/>
              <a:gd name="connsiteY53" fmla="*/ 292417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4051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92919 w 4501379"/>
              <a:gd name="connsiteY50" fmla="*/ 3657600 h 4429225"/>
              <a:gd name="connsiteX51" fmla="*/ 44051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92919 w 4501379"/>
              <a:gd name="connsiteY50" fmla="*/ 3657600 h 4429225"/>
              <a:gd name="connsiteX51" fmla="*/ 446869 w 4501379"/>
              <a:gd name="connsiteY51" fmla="*/ 34702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145369 w 4501379"/>
              <a:gd name="connsiteY47" fmla="*/ 411162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313644 w 4501379"/>
              <a:gd name="connsiteY46" fmla="*/ 4216400 h 4429225"/>
              <a:gd name="connsiteX47" fmla="*/ 1145369 w 4501379"/>
              <a:gd name="connsiteY47" fmla="*/ 411162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94"/>
              <a:gd name="connsiteX1" fmla="*/ 2402669 w 4501379"/>
              <a:gd name="connsiteY1" fmla="*/ 28575 h 4429294"/>
              <a:gd name="connsiteX2" fmla="*/ 2478869 w 4501379"/>
              <a:gd name="connsiteY2" fmla="*/ 47625 h 4429294"/>
              <a:gd name="connsiteX3" fmla="*/ 2736044 w 4501379"/>
              <a:gd name="connsiteY3" fmla="*/ 66675 h 4429294"/>
              <a:gd name="connsiteX4" fmla="*/ 2812244 w 4501379"/>
              <a:gd name="connsiteY4" fmla="*/ 76200 h 4429294"/>
              <a:gd name="connsiteX5" fmla="*/ 2897969 w 4501379"/>
              <a:gd name="connsiteY5" fmla="*/ 85725 h 4429294"/>
              <a:gd name="connsiteX6" fmla="*/ 2955119 w 4501379"/>
              <a:gd name="connsiteY6" fmla="*/ 114300 h 4429294"/>
              <a:gd name="connsiteX7" fmla="*/ 2993219 w 4501379"/>
              <a:gd name="connsiteY7" fmla="*/ 123825 h 4429294"/>
              <a:gd name="connsiteX8" fmla="*/ 3117044 w 4501379"/>
              <a:gd name="connsiteY8" fmla="*/ 171450 h 4429294"/>
              <a:gd name="connsiteX9" fmla="*/ 3155144 w 4501379"/>
              <a:gd name="connsiteY9" fmla="*/ 190500 h 4429294"/>
              <a:gd name="connsiteX10" fmla="*/ 3221819 w 4501379"/>
              <a:gd name="connsiteY10" fmla="*/ 228600 h 4429294"/>
              <a:gd name="connsiteX11" fmla="*/ 3250394 w 4501379"/>
              <a:gd name="connsiteY11" fmla="*/ 238125 h 4429294"/>
              <a:gd name="connsiteX12" fmla="*/ 3278969 w 4501379"/>
              <a:gd name="connsiteY12" fmla="*/ 257175 h 4429294"/>
              <a:gd name="connsiteX13" fmla="*/ 3307544 w 4501379"/>
              <a:gd name="connsiteY13" fmla="*/ 266700 h 4429294"/>
              <a:gd name="connsiteX14" fmla="*/ 3336119 w 4501379"/>
              <a:gd name="connsiteY14" fmla="*/ 285750 h 4429294"/>
              <a:gd name="connsiteX15" fmla="*/ 3402794 w 4501379"/>
              <a:gd name="connsiteY15" fmla="*/ 323850 h 4429294"/>
              <a:gd name="connsiteX16" fmla="*/ 3450419 w 4501379"/>
              <a:gd name="connsiteY16" fmla="*/ 361950 h 4429294"/>
              <a:gd name="connsiteX17" fmla="*/ 3498044 w 4501379"/>
              <a:gd name="connsiteY17" fmla="*/ 390525 h 4429294"/>
              <a:gd name="connsiteX18" fmla="*/ 3612344 w 4501379"/>
              <a:gd name="connsiteY18" fmla="*/ 485775 h 4429294"/>
              <a:gd name="connsiteX19" fmla="*/ 3726644 w 4501379"/>
              <a:gd name="connsiteY19" fmla="*/ 542925 h 4429294"/>
              <a:gd name="connsiteX20" fmla="*/ 3793319 w 4501379"/>
              <a:gd name="connsiteY20" fmla="*/ 581025 h 4429294"/>
              <a:gd name="connsiteX21" fmla="*/ 4009219 w 4501379"/>
              <a:gd name="connsiteY21" fmla="*/ 819150 h 4429294"/>
              <a:gd name="connsiteX22" fmla="*/ 4145744 w 4501379"/>
              <a:gd name="connsiteY22" fmla="*/ 990600 h 4429294"/>
              <a:gd name="connsiteX23" fmla="*/ 4231469 w 4501379"/>
              <a:gd name="connsiteY23" fmla="*/ 1143000 h 4429294"/>
              <a:gd name="connsiteX24" fmla="*/ 4288619 w 4501379"/>
              <a:gd name="connsiteY24" fmla="*/ 1266825 h 4429294"/>
              <a:gd name="connsiteX25" fmla="*/ 4326719 w 4501379"/>
              <a:gd name="connsiteY25" fmla="*/ 1362075 h 4429294"/>
              <a:gd name="connsiteX26" fmla="*/ 4374344 w 4501379"/>
              <a:gd name="connsiteY26" fmla="*/ 1552575 h 4429294"/>
              <a:gd name="connsiteX27" fmla="*/ 4412444 w 4501379"/>
              <a:gd name="connsiteY27" fmla="*/ 1685925 h 4429294"/>
              <a:gd name="connsiteX28" fmla="*/ 4501344 w 4501379"/>
              <a:gd name="connsiteY28" fmla="*/ 2181225 h 4429294"/>
              <a:gd name="connsiteX29" fmla="*/ 4428319 w 4501379"/>
              <a:gd name="connsiteY29" fmla="*/ 2768600 h 4429294"/>
              <a:gd name="connsiteX30" fmla="*/ 4364819 w 4501379"/>
              <a:gd name="connsiteY30" fmla="*/ 2990850 h 4429294"/>
              <a:gd name="connsiteX31" fmla="*/ 4260044 w 4501379"/>
              <a:gd name="connsiteY31" fmla="*/ 3248025 h 4429294"/>
              <a:gd name="connsiteX32" fmla="*/ 4164794 w 4501379"/>
              <a:gd name="connsiteY32" fmla="*/ 3400425 h 4429294"/>
              <a:gd name="connsiteX33" fmla="*/ 4040969 w 4501379"/>
              <a:gd name="connsiteY33" fmla="*/ 3533775 h 4429294"/>
              <a:gd name="connsiteX34" fmla="*/ 3936194 w 4501379"/>
              <a:gd name="connsiteY34" fmla="*/ 3648075 h 4429294"/>
              <a:gd name="connsiteX35" fmla="*/ 3640919 w 4501379"/>
              <a:gd name="connsiteY35" fmla="*/ 3971925 h 4429294"/>
              <a:gd name="connsiteX36" fmla="*/ 3498044 w 4501379"/>
              <a:gd name="connsiteY36" fmla="*/ 4083050 h 4429294"/>
              <a:gd name="connsiteX37" fmla="*/ 3202769 w 4501379"/>
              <a:gd name="connsiteY37" fmla="*/ 4222750 h 4429294"/>
              <a:gd name="connsiteX38" fmla="*/ 3050369 w 4501379"/>
              <a:gd name="connsiteY38" fmla="*/ 4286250 h 4429294"/>
              <a:gd name="connsiteX39" fmla="*/ 2917019 w 4501379"/>
              <a:gd name="connsiteY39" fmla="*/ 4333875 h 4429294"/>
              <a:gd name="connsiteX40" fmla="*/ 2793194 w 4501379"/>
              <a:gd name="connsiteY40" fmla="*/ 4371975 h 4429294"/>
              <a:gd name="connsiteX41" fmla="*/ 2561419 w 4501379"/>
              <a:gd name="connsiteY41" fmla="*/ 4391025 h 4429294"/>
              <a:gd name="connsiteX42" fmla="*/ 2107394 w 4501379"/>
              <a:gd name="connsiteY42" fmla="*/ 4429125 h 4429294"/>
              <a:gd name="connsiteX43" fmla="*/ 1916894 w 4501379"/>
              <a:gd name="connsiteY43" fmla="*/ 4400550 h 4429294"/>
              <a:gd name="connsiteX44" fmla="*/ 1554944 w 4501379"/>
              <a:gd name="connsiteY44" fmla="*/ 4305300 h 4429294"/>
              <a:gd name="connsiteX45" fmla="*/ 1313644 w 4501379"/>
              <a:gd name="connsiteY45" fmla="*/ 4216400 h 4429294"/>
              <a:gd name="connsiteX46" fmla="*/ 1145369 w 4501379"/>
              <a:gd name="connsiteY46" fmla="*/ 4111625 h 4429294"/>
              <a:gd name="connsiteX47" fmla="*/ 926294 w 4501379"/>
              <a:gd name="connsiteY47" fmla="*/ 3968750 h 4429294"/>
              <a:gd name="connsiteX48" fmla="*/ 592919 w 4501379"/>
              <a:gd name="connsiteY48" fmla="*/ 3657600 h 4429294"/>
              <a:gd name="connsiteX49" fmla="*/ 446869 w 4501379"/>
              <a:gd name="connsiteY49" fmla="*/ 3470275 h 4429294"/>
              <a:gd name="connsiteX50" fmla="*/ 316694 w 4501379"/>
              <a:gd name="connsiteY50" fmla="*/ 3244850 h 4429294"/>
              <a:gd name="connsiteX51" fmla="*/ 164294 w 4501379"/>
              <a:gd name="connsiteY51" fmla="*/ 2892425 h 4429294"/>
              <a:gd name="connsiteX52" fmla="*/ 56344 w 4501379"/>
              <a:gd name="connsiteY52" fmla="*/ 2368550 h 4429294"/>
              <a:gd name="connsiteX53" fmla="*/ 2369 w 4501379"/>
              <a:gd name="connsiteY53" fmla="*/ 1905000 h 4429294"/>
              <a:gd name="connsiteX54" fmla="*/ 11894 w 4501379"/>
              <a:gd name="connsiteY54" fmla="*/ 1838325 h 4429294"/>
              <a:gd name="connsiteX55" fmla="*/ 30944 w 4501379"/>
              <a:gd name="connsiteY55" fmla="*/ 1781175 h 4429294"/>
              <a:gd name="connsiteX56" fmla="*/ 40469 w 4501379"/>
              <a:gd name="connsiteY56" fmla="*/ 1743075 h 4429294"/>
              <a:gd name="connsiteX57" fmla="*/ 59519 w 4501379"/>
              <a:gd name="connsiteY57" fmla="*/ 1685925 h 4429294"/>
              <a:gd name="connsiteX58" fmla="*/ 69044 w 4501379"/>
              <a:gd name="connsiteY58" fmla="*/ 1638300 h 4429294"/>
              <a:gd name="connsiteX59" fmla="*/ 88094 w 4501379"/>
              <a:gd name="connsiteY59" fmla="*/ 1590675 h 4429294"/>
              <a:gd name="connsiteX60" fmla="*/ 116669 w 4501379"/>
              <a:gd name="connsiteY60" fmla="*/ 1504950 h 4429294"/>
              <a:gd name="connsiteX61" fmla="*/ 135719 w 4501379"/>
              <a:gd name="connsiteY61" fmla="*/ 1419225 h 4429294"/>
              <a:gd name="connsiteX62" fmla="*/ 211919 w 4501379"/>
              <a:gd name="connsiteY62" fmla="*/ 1276350 h 4429294"/>
              <a:gd name="connsiteX63" fmla="*/ 221444 w 4501379"/>
              <a:gd name="connsiteY63" fmla="*/ 1247775 h 4429294"/>
              <a:gd name="connsiteX64" fmla="*/ 250019 w 4501379"/>
              <a:gd name="connsiteY64" fmla="*/ 1200150 h 4429294"/>
              <a:gd name="connsiteX65" fmla="*/ 269069 w 4501379"/>
              <a:gd name="connsiteY65" fmla="*/ 1152525 h 4429294"/>
              <a:gd name="connsiteX66" fmla="*/ 297644 w 4501379"/>
              <a:gd name="connsiteY66" fmla="*/ 1114425 h 4429294"/>
              <a:gd name="connsiteX67" fmla="*/ 345269 w 4501379"/>
              <a:gd name="connsiteY67" fmla="*/ 1038225 h 4429294"/>
              <a:gd name="connsiteX68" fmla="*/ 364319 w 4501379"/>
              <a:gd name="connsiteY68" fmla="*/ 1009650 h 4429294"/>
              <a:gd name="connsiteX69" fmla="*/ 421469 w 4501379"/>
              <a:gd name="connsiteY69" fmla="*/ 904875 h 4429294"/>
              <a:gd name="connsiteX70" fmla="*/ 459569 w 4501379"/>
              <a:gd name="connsiteY70" fmla="*/ 857250 h 4429294"/>
              <a:gd name="connsiteX71" fmla="*/ 478619 w 4501379"/>
              <a:gd name="connsiteY71" fmla="*/ 828675 h 4429294"/>
              <a:gd name="connsiteX72" fmla="*/ 516719 w 4501379"/>
              <a:gd name="connsiteY72" fmla="*/ 800100 h 4429294"/>
              <a:gd name="connsiteX73" fmla="*/ 583394 w 4501379"/>
              <a:gd name="connsiteY73" fmla="*/ 733425 h 4429294"/>
              <a:gd name="connsiteX74" fmla="*/ 650069 w 4501379"/>
              <a:gd name="connsiteY74" fmla="*/ 676275 h 4429294"/>
              <a:gd name="connsiteX75" fmla="*/ 678644 w 4501379"/>
              <a:gd name="connsiteY75" fmla="*/ 657225 h 4429294"/>
              <a:gd name="connsiteX76" fmla="*/ 821519 w 4501379"/>
              <a:gd name="connsiteY76" fmla="*/ 533400 h 4429294"/>
              <a:gd name="connsiteX77" fmla="*/ 869144 w 4501379"/>
              <a:gd name="connsiteY77" fmla="*/ 504825 h 4429294"/>
              <a:gd name="connsiteX78" fmla="*/ 1148544 w 4501379"/>
              <a:gd name="connsiteY78" fmla="*/ 311150 h 4429294"/>
              <a:gd name="connsiteX79" fmla="*/ 1250144 w 4501379"/>
              <a:gd name="connsiteY79" fmla="*/ 285750 h 4429294"/>
              <a:gd name="connsiteX80" fmla="*/ 1393019 w 4501379"/>
              <a:gd name="connsiteY80" fmla="*/ 190500 h 4429294"/>
              <a:gd name="connsiteX81" fmla="*/ 1431119 w 4501379"/>
              <a:gd name="connsiteY81" fmla="*/ 161925 h 4429294"/>
              <a:gd name="connsiteX82" fmla="*/ 1507319 w 4501379"/>
              <a:gd name="connsiteY82" fmla="*/ 152400 h 4429294"/>
              <a:gd name="connsiteX83" fmla="*/ 1564469 w 4501379"/>
              <a:gd name="connsiteY83" fmla="*/ 142875 h 4429294"/>
              <a:gd name="connsiteX84" fmla="*/ 1697819 w 4501379"/>
              <a:gd name="connsiteY84" fmla="*/ 123825 h 4429294"/>
              <a:gd name="connsiteX85" fmla="*/ 1793069 w 4501379"/>
              <a:gd name="connsiteY85" fmla="*/ 114300 h 4429294"/>
              <a:gd name="connsiteX86" fmla="*/ 1840694 w 4501379"/>
              <a:gd name="connsiteY86" fmla="*/ 104775 h 4429294"/>
              <a:gd name="connsiteX87" fmla="*/ 1897844 w 4501379"/>
              <a:gd name="connsiteY87" fmla="*/ 95250 h 4429294"/>
              <a:gd name="connsiteX88" fmla="*/ 2012144 w 4501379"/>
              <a:gd name="connsiteY88" fmla="*/ 66675 h 4429294"/>
              <a:gd name="connsiteX89" fmla="*/ 2078819 w 4501379"/>
              <a:gd name="connsiteY89" fmla="*/ 47625 h 4429294"/>
              <a:gd name="connsiteX90" fmla="*/ 2145494 w 4501379"/>
              <a:gd name="connsiteY90" fmla="*/ 38100 h 4429294"/>
              <a:gd name="connsiteX91" fmla="*/ 2374094 w 4501379"/>
              <a:gd name="connsiteY91" fmla="*/ 28575 h 4429294"/>
              <a:gd name="connsiteX0" fmla="*/ 2278844 w 4501379"/>
              <a:gd name="connsiteY0" fmla="*/ 0 h 4429294"/>
              <a:gd name="connsiteX1" fmla="*/ 2402669 w 4501379"/>
              <a:gd name="connsiteY1" fmla="*/ 28575 h 4429294"/>
              <a:gd name="connsiteX2" fmla="*/ 2478869 w 4501379"/>
              <a:gd name="connsiteY2" fmla="*/ 47625 h 4429294"/>
              <a:gd name="connsiteX3" fmla="*/ 2736044 w 4501379"/>
              <a:gd name="connsiteY3" fmla="*/ 66675 h 4429294"/>
              <a:gd name="connsiteX4" fmla="*/ 2812244 w 4501379"/>
              <a:gd name="connsiteY4" fmla="*/ 76200 h 4429294"/>
              <a:gd name="connsiteX5" fmla="*/ 2897969 w 4501379"/>
              <a:gd name="connsiteY5" fmla="*/ 85725 h 4429294"/>
              <a:gd name="connsiteX6" fmla="*/ 2955119 w 4501379"/>
              <a:gd name="connsiteY6" fmla="*/ 114300 h 4429294"/>
              <a:gd name="connsiteX7" fmla="*/ 2993219 w 4501379"/>
              <a:gd name="connsiteY7" fmla="*/ 123825 h 4429294"/>
              <a:gd name="connsiteX8" fmla="*/ 3117044 w 4501379"/>
              <a:gd name="connsiteY8" fmla="*/ 171450 h 4429294"/>
              <a:gd name="connsiteX9" fmla="*/ 3155144 w 4501379"/>
              <a:gd name="connsiteY9" fmla="*/ 190500 h 4429294"/>
              <a:gd name="connsiteX10" fmla="*/ 3221819 w 4501379"/>
              <a:gd name="connsiteY10" fmla="*/ 228600 h 4429294"/>
              <a:gd name="connsiteX11" fmla="*/ 3250394 w 4501379"/>
              <a:gd name="connsiteY11" fmla="*/ 238125 h 4429294"/>
              <a:gd name="connsiteX12" fmla="*/ 3278969 w 4501379"/>
              <a:gd name="connsiteY12" fmla="*/ 257175 h 4429294"/>
              <a:gd name="connsiteX13" fmla="*/ 3307544 w 4501379"/>
              <a:gd name="connsiteY13" fmla="*/ 266700 h 4429294"/>
              <a:gd name="connsiteX14" fmla="*/ 3336119 w 4501379"/>
              <a:gd name="connsiteY14" fmla="*/ 285750 h 4429294"/>
              <a:gd name="connsiteX15" fmla="*/ 3402794 w 4501379"/>
              <a:gd name="connsiteY15" fmla="*/ 323850 h 4429294"/>
              <a:gd name="connsiteX16" fmla="*/ 3450419 w 4501379"/>
              <a:gd name="connsiteY16" fmla="*/ 361950 h 4429294"/>
              <a:gd name="connsiteX17" fmla="*/ 3498044 w 4501379"/>
              <a:gd name="connsiteY17" fmla="*/ 390525 h 4429294"/>
              <a:gd name="connsiteX18" fmla="*/ 3612344 w 4501379"/>
              <a:gd name="connsiteY18" fmla="*/ 485775 h 4429294"/>
              <a:gd name="connsiteX19" fmla="*/ 3726644 w 4501379"/>
              <a:gd name="connsiteY19" fmla="*/ 542925 h 4429294"/>
              <a:gd name="connsiteX20" fmla="*/ 3793319 w 4501379"/>
              <a:gd name="connsiteY20" fmla="*/ 581025 h 4429294"/>
              <a:gd name="connsiteX21" fmla="*/ 4009219 w 4501379"/>
              <a:gd name="connsiteY21" fmla="*/ 819150 h 4429294"/>
              <a:gd name="connsiteX22" fmla="*/ 4145744 w 4501379"/>
              <a:gd name="connsiteY22" fmla="*/ 990600 h 4429294"/>
              <a:gd name="connsiteX23" fmla="*/ 4231469 w 4501379"/>
              <a:gd name="connsiteY23" fmla="*/ 1143000 h 4429294"/>
              <a:gd name="connsiteX24" fmla="*/ 4288619 w 4501379"/>
              <a:gd name="connsiteY24" fmla="*/ 1266825 h 4429294"/>
              <a:gd name="connsiteX25" fmla="*/ 4326719 w 4501379"/>
              <a:gd name="connsiteY25" fmla="*/ 1362075 h 4429294"/>
              <a:gd name="connsiteX26" fmla="*/ 4374344 w 4501379"/>
              <a:gd name="connsiteY26" fmla="*/ 1552575 h 4429294"/>
              <a:gd name="connsiteX27" fmla="*/ 4412444 w 4501379"/>
              <a:gd name="connsiteY27" fmla="*/ 1685925 h 4429294"/>
              <a:gd name="connsiteX28" fmla="*/ 4501344 w 4501379"/>
              <a:gd name="connsiteY28" fmla="*/ 2181225 h 4429294"/>
              <a:gd name="connsiteX29" fmla="*/ 4428319 w 4501379"/>
              <a:gd name="connsiteY29" fmla="*/ 2768600 h 4429294"/>
              <a:gd name="connsiteX30" fmla="*/ 4364819 w 4501379"/>
              <a:gd name="connsiteY30" fmla="*/ 2990850 h 4429294"/>
              <a:gd name="connsiteX31" fmla="*/ 4260044 w 4501379"/>
              <a:gd name="connsiteY31" fmla="*/ 3248025 h 4429294"/>
              <a:gd name="connsiteX32" fmla="*/ 4164794 w 4501379"/>
              <a:gd name="connsiteY32" fmla="*/ 3400425 h 4429294"/>
              <a:gd name="connsiteX33" fmla="*/ 4040969 w 4501379"/>
              <a:gd name="connsiteY33" fmla="*/ 3533775 h 4429294"/>
              <a:gd name="connsiteX34" fmla="*/ 3936194 w 4501379"/>
              <a:gd name="connsiteY34" fmla="*/ 3648075 h 4429294"/>
              <a:gd name="connsiteX35" fmla="*/ 3640919 w 4501379"/>
              <a:gd name="connsiteY35" fmla="*/ 3971925 h 4429294"/>
              <a:gd name="connsiteX36" fmla="*/ 3498044 w 4501379"/>
              <a:gd name="connsiteY36" fmla="*/ 4083050 h 4429294"/>
              <a:gd name="connsiteX37" fmla="*/ 3202769 w 4501379"/>
              <a:gd name="connsiteY37" fmla="*/ 4222750 h 4429294"/>
              <a:gd name="connsiteX38" fmla="*/ 3050369 w 4501379"/>
              <a:gd name="connsiteY38" fmla="*/ 4286250 h 4429294"/>
              <a:gd name="connsiteX39" fmla="*/ 2917019 w 4501379"/>
              <a:gd name="connsiteY39" fmla="*/ 4333875 h 4429294"/>
              <a:gd name="connsiteX40" fmla="*/ 2793194 w 4501379"/>
              <a:gd name="connsiteY40" fmla="*/ 4371975 h 4429294"/>
              <a:gd name="connsiteX41" fmla="*/ 2561419 w 4501379"/>
              <a:gd name="connsiteY41" fmla="*/ 4391025 h 4429294"/>
              <a:gd name="connsiteX42" fmla="*/ 2107394 w 4501379"/>
              <a:gd name="connsiteY42" fmla="*/ 4429125 h 4429294"/>
              <a:gd name="connsiteX43" fmla="*/ 1916894 w 4501379"/>
              <a:gd name="connsiteY43" fmla="*/ 4400550 h 4429294"/>
              <a:gd name="connsiteX44" fmla="*/ 1554944 w 4501379"/>
              <a:gd name="connsiteY44" fmla="*/ 4305300 h 4429294"/>
              <a:gd name="connsiteX45" fmla="*/ 1313644 w 4501379"/>
              <a:gd name="connsiteY45" fmla="*/ 4216400 h 4429294"/>
              <a:gd name="connsiteX46" fmla="*/ 1145369 w 4501379"/>
              <a:gd name="connsiteY46" fmla="*/ 4111625 h 4429294"/>
              <a:gd name="connsiteX47" fmla="*/ 926294 w 4501379"/>
              <a:gd name="connsiteY47" fmla="*/ 3968750 h 4429294"/>
              <a:gd name="connsiteX48" fmla="*/ 592919 w 4501379"/>
              <a:gd name="connsiteY48" fmla="*/ 3657600 h 4429294"/>
              <a:gd name="connsiteX49" fmla="*/ 446869 w 4501379"/>
              <a:gd name="connsiteY49" fmla="*/ 3470275 h 4429294"/>
              <a:gd name="connsiteX50" fmla="*/ 316694 w 4501379"/>
              <a:gd name="connsiteY50" fmla="*/ 3244850 h 4429294"/>
              <a:gd name="connsiteX51" fmla="*/ 164294 w 4501379"/>
              <a:gd name="connsiteY51" fmla="*/ 2892425 h 4429294"/>
              <a:gd name="connsiteX52" fmla="*/ 56344 w 4501379"/>
              <a:gd name="connsiteY52" fmla="*/ 2368550 h 4429294"/>
              <a:gd name="connsiteX53" fmla="*/ 2369 w 4501379"/>
              <a:gd name="connsiteY53" fmla="*/ 1905000 h 4429294"/>
              <a:gd name="connsiteX54" fmla="*/ 11894 w 4501379"/>
              <a:gd name="connsiteY54" fmla="*/ 1838325 h 4429294"/>
              <a:gd name="connsiteX55" fmla="*/ 30944 w 4501379"/>
              <a:gd name="connsiteY55" fmla="*/ 1781175 h 4429294"/>
              <a:gd name="connsiteX56" fmla="*/ 40469 w 4501379"/>
              <a:gd name="connsiteY56" fmla="*/ 1743075 h 4429294"/>
              <a:gd name="connsiteX57" fmla="*/ 59519 w 4501379"/>
              <a:gd name="connsiteY57" fmla="*/ 1685925 h 4429294"/>
              <a:gd name="connsiteX58" fmla="*/ 69044 w 4501379"/>
              <a:gd name="connsiteY58" fmla="*/ 1638300 h 4429294"/>
              <a:gd name="connsiteX59" fmla="*/ 88094 w 4501379"/>
              <a:gd name="connsiteY59" fmla="*/ 1590675 h 4429294"/>
              <a:gd name="connsiteX60" fmla="*/ 116669 w 4501379"/>
              <a:gd name="connsiteY60" fmla="*/ 1504950 h 4429294"/>
              <a:gd name="connsiteX61" fmla="*/ 135719 w 4501379"/>
              <a:gd name="connsiteY61" fmla="*/ 1419225 h 4429294"/>
              <a:gd name="connsiteX62" fmla="*/ 211919 w 4501379"/>
              <a:gd name="connsiteY62" fmla="*/ 1276350 h 4429294"/>
              <a:gd name="connsiteX63" fmla="*/ 221444 w 4501379"/>
              <a:gd name="connsiteY63" fmla="*/ 1247775 h 4429294"/>
              <a:gd name="connsiteX64" fmla="*/ 250019 w 4501379"/>
              <a:gd name="connsiteY64" fmla="*/ 1200150 h 4429294"/>
              <a:gd name="connsiteX65" fmla="*/ 269069 w 4501379"/>
              <a:gd name="connsiteY65" fmla="*/ 1152525 h 4429294"/>
              <a:gd name="connsiteX66" fmla="*/ 297644 w 4501379"/>
              <a:gd name="connsiteY66" fmla="*/ 1114425 h 4429294"/>
              <a:gd name="connsiteX67" fmla="*/ 345269 w 4501379"/>
              <a:gd name="connsiteY67" fmla="*/ 1038225 h 4429294"/>
              <a:gd name="connsiteX68" fmla="*/ 364319 w 4501379"/>
              <a:gd name="connsiteY68" fmla="*/ 1009650 h 4429294"/>
              <a:gd name="connsiteX69" fmla="*/ 421469 w 4501379"/>
              <a:gd name="connsiteY69" fmla="*/ 904875 h 4429294"/>
              <a:gd name="connsiteX70" fmla="*/ 459569 w 4501379"/>
              <a:gd name="connsiteY70" fmla="*/ 857250 h 4429294"/>
              <a:gd name="connsiteX71" fmla="*/ 478619 w 4501379"/>
              <a:gd name="connsiteY71" fmla="*/ 828675 h 4429294"/>
              <a:gd name="connsiteX72" fmla="*/ 516719 w 4501379"/>
              <a:gd name="connsiteY72" fmla="*/ 800100 h 4429294"/>
              <a:gd name="connsiteX73" fmla="*/ 583394 w 4501379"/>
              <a:gd name="connsiteY73" fmla="*/ 733425 h 4429294"/>
              <a:gd name="connsiteX74" fmla="*/ 650069 w 4501379"/>
              <a:gd name="connsiteY74" fmla="*/ 676275 h 4429294"/>
              <a:gd name="connsiteX75" fmla="*/ 678644 w 4501379"/>
              <a:gd name="connsiteY75" fmla="*/ 657225 h 4429294"/>
              <a:gd name="connsiteX76" fmla="*/ 821519 w 4501379"/>
              <a:gd name="connsiteY76" fmla="*/ 533400 h 4429294"/>
              <a:gd name="connsiteX77" fmla="*/ 869144 w 4501379"/>
              <a:gd name="connsiteY77" fmla="*/ 504825 h 4429294"/>
              <a:gd name="connsiteX78" fmla="*/ 1148544 w 4501379"/>
              <a:gd name="connsiteY78" fmla="*/ 311150 h 4429294"/>
              <a:gd name="connsiteX79" fmla="*/ 1250144 w 4501379"/>
              <a:gd name="connsiteY79" fmla="*/ 285750 h 4429294"/>
              <a:gd name="connsiteX80" fmla="*/ 1393019 w 4501379"/>
              <a:gd name="connsiteY80" fmla="*/ 190500 h 4429294"/>
              <a:gd name="connsiteX81" fmla="*/ 1431119 w 4501379"/>
              <a:gd name="connsiteY81" fmla="*/ 161925 h 4429294"/>
              <a:gd name="connsiteX82" fmla="*/ 1507319 w 4501379"/>
              <a:gd name="connsiteY82" fmla="*/ 152400 h 4429294"/>
              <a:gd name="connsiteX83" fmla="*/ 1564469 w 4501379"/>
              <a:gd name="connsiteY83" fmla="*/ 142875 h 4429294"/>
              <a:gd name="connsiteX84" fmla="*/ 1697819 w 4501379"/>
              <a:gd name="connsiteY84" fmla="*/ 123825 h 4429294"/>
              <a:gd name="connsiteX85" fmla="*/ 1793069 w 4501379"/>
              <a:gd name="connsiteY85" fmla="*/ 114300 h 4429294"/>
              <a:gd name="connsiteX86" fmla="*/ 1840694 w 4501379"/>
              <a:gd name="connsiteY86" fmla="*/ 104775 h 4429294"/>
              <a:gd name="connsiteX87" fmla="*/ 1897844 w 4501379"/>
              <a:gd name="connsiteY87" fmla="*/ 95250 h 4429294"/>
              <a:gd name="connsiteX88" fmla="*/ 2012144 w 4501379"/>
              <a:gd name="connsiteY88" fmla="*/ 66675 h 4429294"/>
              <a:gd name="connsiteX89" fmla="*/ 2078819 w 4501379"/>
              <a:gd name="connsiteY89" fmla="*/ 47625 h 4429294"/>
              <a:gd name="connsiteX90" fmla="*/ 2145494 w 4501379"/>
              <a:gd name="connsiteY90" fmla="*/ 38100 h 4429294"/>
              <a:gd name="connsiteX0" fmla="*/ 2278844 w 4501379"/>
              <a:gd name="connsiteY0" fmla="*/ 0 h 4429294"/>
              <a:gd name="connsiteX1" fmla="*/ 2478869 w 4501379"/>
              <a:gd name="connsiteY1" fmla="*/ 47625 h 4429294"/>
              <a:gd name="connsiteX2" fmla="*/ 2736044 w 4501379"/>
              <a:gd name="connsiteY2" fmla="*/ 66675 h 4429294"/>
              <a:gd name="connsiteX3" fmla="*/ 2812244 w 4501379"/>
              <a:gd name="connsiteY3" fmla="*/ 76200 h 4429294"/>
              <a:gd name="connsiteX4" fmla="*/ 2897969 w 4501379"/>
              <a:gd name="connsiteY4" fmla="*/ 85725 h 4429294"/>
              <a:gd name="connsiteX5" fmla="*/ 2955119 w 4501379"/>
              <a:gd name="connsiteY5" fmla="*/ 114300 h 4429294"/>
              <a:gd name="connsiteX6" fmla="*/ 2993219 w 4501379"/>
              <a:gd name="connsiteY6" fmla="*/ 123825 h 4429294"/>
              <a:gd name="connsiteX7" fmla="*/ 3117044 w 4501379"/>
              <a:gd name="connsiteY7" fmla="*/ 171450 h 4429294"/>
              <a:gd name="connsiteX8" fmla="*/ 3155144 w 4501379"/>
              <a:gd name="connsiteY8" fmla="*/ 190500 h 4429294"/>
              <a:gd name="connsiteX9" fmla="*/ 3221819 w 4501379"/>
              <a:gd name="connsiteY9" fmla="*/ 228600 h 4429294"/>
              <a:gd name="connsiteX10" fmla="*/ 3250394 w 4501379"/>
              <a:gd name="connsiteY10" fmla="*/ 238125 h 4429294"/>
              <a:gd name="connsiteX11" fmla="*/ 3278969 w 4501379"/>
              <a:gd name="connsiteY11" fmla="*/ 257175 h 4429294"/>
              <a:gd name="connsiteX12" fmla="*/ 3307544 w 4501379"/>
              <a:gd name="connsiteY12" fmla="*/ 266700 h 4429294"/>
              <a:gd name="connsiteX13" fmla="*/ 3336119 w 4501379"/>
              <a:gd name="connsiteY13" fmla="*/ 285750 h 4429294"/>
              <a:gd name="connsiteX14" fmla="*/ 3402794 w 4501379"/>
              <a:gd name="connsiteY14" fmla="*/ 323850 h 4429294"/>
              <a:gd name="connsiteX15" fmla="*/ 3450419 w 4501379"/>
              <a:gd name="connsiteY15" fmla="*/ 361950 h 4429294"/>
              <a:gd name="connsiteX16" fmla="*/ 3498044 w 4501379"/>
              <a:gd name="connsiteY16" fmla="*/ 390525 h 4429294"/>
              <a:gd name="connsiteX17" fmla="*/ 3612344 w 4501379"/>
              <a:gd name="connsiteY17" fmla="*/ 485775 h 4429294"/>
              <a:gd name="connsiteX18" fmla="*/ 3726644 w 4501379"/>
              <a:gd name="connsiteY18" fmla="*/ 542925 h 4429294"/>
              <a:gd name="connsiteX19" fmla="*/ 3793319 w 4501379"/>
              <a:gd name="connsiteY19" fmla="*/ 581025 h 4429294"/>
              <a:gd name="connsiteX20" fmla="*/ 4009219 w 4501379"/>
              <a:gd name="connsiteY20" fmla="*/ 819150 h 4429294"/>
              <a:gd name="connsiteX21" fmla="*/ 4145744 w 4501379"/>
              <a:gd name="connsiteY21" fmla="*/ 990600 h 4429294"/>
              <a:gd name="connsiteX22" fmla="*/ 4231469 w 4501379"/>
              <a:gd name="connsiteY22" fmla="*/ 1143000 h 4429294"/>
              <a:gd name="connsiteX23" fmla="*/ 4288619 w 4501379"/>
              <a:gd name="connsiteY23" fmla="*/ 1266825 h 4429294"/>
              <a:gd name="connsiteX24" fmla="*/ 4326719 w 4501379"/>
              <a:gd name="connsiteY24" fmla="*/ 1362075 h 4429294"/>
              <a:gd name="connsiteX25" fmla="*/ 4374344 w 4501379"/>
              <a:gd name="connsiteY25" fmla="*/ 1552575 h 4429294"/>
              <a:gd name="connsiteX26" fmla="*/ 4412444 w 4501379"/>
              <a:gd name="connsiteY26" fmla="*/ 1685925 h 4429294"/>
              <a:gd name="connsiteX27" fmla="*/ 4501344 w 4501379"/>
              <a:gd name="connsiteY27" fmla="*/ 2181225 h 4429294"/>
              <a:gd name="connsiteX28" fmla="*/ 4428319 w 4501379"/>
              <a:gd name="connsiteY28" fmla="*/ 2768600 h 4429294"/>
              <a:gd name="connsiteX29" fmla="*/ 4364819 w 4501379"/>
              <a:gd name="connsiteY29" fmla="*/ 2990850 h 4429294"/>
              <a:gd name="connsiteX30" fmla="*/ 4260044 w 4501379"/>
              <a:gd name="connsiteY30" fmla="*/ 3248025 h 4429294"/>
              <a:gd name="connsiteX31" fmla="*/ 4164794 w 4501379"/>
              <a:gd name="connsiteY31" fmla="*/ 3400425 h 4429294"/>
              <a:gd name="connsiteX32" fmla="*/ 4040969 w 4501379"/>
              <a:gd name="connsiteY32" fmla="*/ 3533775 h 4429294"/>
              <a:gd name="connsiteX33" fmla="*/ 3936194 w 4501379"/>
              <a:gd name="connsiteY33" fmla="*/ 3648075 h 4429294"/>
              <a:gd name="connsiteX34" fmla="*/ 3640919 w 4501379"/>
              <a:gd name="connsiteY34" fmla="*/ 3971925 h 4429294"/>
              <a:gd name="connsiteX35" fmla="*/ 3498044 w 4501379"/>
              <a:gd name="connsiteY35" fmla="*/ 4083050 h 4429294"/>
              <a:gd name="connsiteX36" fmla="*/ 3202769 w 4501379"/>
              <a:gd name="connsiteY36" fmla="*/ 4222750 h 4429294"/>
              <a:gd name="connsiteX37" fmla="*/ 3050369 w 4501379"/>
              <a:gd name="connsiteY37" fmla="*/ 4286250 h 4429294"/>
              <a:gd name="connsiteX38" fmla="*/ 2917019 w 4501379"/>
              <a:gd name="connsiteY38" fmla="*/ 4333875 h 4429294"/>
              <a:gd name="connsiteX39" fmla="*/ 2793194 w 4501379"/>
              <a:gd name="connsiteY39" fmla="*/ 4371975 h 4429294"/>
              <a:gd name="connsiteX40" fmla="*/ 2561419 w 4501379"/>
              <a:gd name="connsiteY40" fmla="*/ 4391025 h 4429294"/>
              <a:gd name="connsiteX41" fmla="*/ 2107394 w 4501379"/>
              <a:gd name="connsiteY41" fmla="*/ 4429125 h 4429294"/>
              <a:gd name="connsiteX42" fmla="*/ 1916894 w 4501379"/>
              <a:gd name="connsiteY42" fmla="*/ 4400550 h 4429294"/>
              <a:gd name="connsiteX43" fmla="*/ 1554944 w 4501379"/>
              <a:gd name="connsiteY43" fmla="*/ 4305300 h 4429294"/>
              <a:gd name="connsiteX44" fmla="*/ 1313644 w 4501379"/>
              <a:gd name="connsiteY44" fmla="*/ 4216400 h 4429294"/>
              <a:gd name="connsiteX45" fmla="*/ 1145369 w 4501379"/>
              <a:gd name="connsiteY45" fmla="*/ 4111625 h 4429294"/>
              <a:gd name="connsiteX46" fmla="*/ 926294 w 4501379"/>
              <a:gd name="connsiteY46" fmla="*/ 3968750 h 4429294"/>
              <a:gd name="connsiteX47" fmla="*/ 592919 w 4501379"/>
              <a:gd name="connsiteY47" fmla="*/ 3657600 h 4429294"/>
              <a:gd name="connsiteX48" fmla="*/ 446869 w 4501379"/>
              <a:gd name="connsiteY48" fmla="*/ 3470275 h 4429294"/>
              <a:gd name="connsiteX49" fmla="*/ 316694 w 4501379"/>
              <a:gd name="connsiteY49" fmla="*/ 3244850 h 4429294"/>
              <a:gd name="connsiteX50" fmla="*/ 164294 w 4501379"/>
              <a:gd name="connsiteY50" fmla="*/ 2892425 h 4429294"/>
              <a:gd name="connsiteX51" fmla="*/ 56344 w 4501379"/>
              <a:gd name="connsiteY51" fmla="*/ 2368550 h 4429294"/>
              <a:gd name="connsiteX52" fmla="*/ 2369 w 4501379"/>
              <a:gd name="connsiteY52" fmla="*/ 1905000 h 4429294"/>
              <a:gd name="connsiteX53" fmla="*/ 11894 w 4501379"/>
              <a:gd name="connsiteY53" fmla="*/ 1838325 h 4429294"/>
              <a:gd name="connsiteX54" fmla="*/ 30944 w 4501379"/>
              <a:gd name="connsiteY54" fmla="*/ 1781175 h 4429294"/>
              <a:gd name="connsiteX55" fmla="*/ 40469 w 4501379"/>
              <a:gd name="connsiteY55" fmla="*/ 1743075 h 4429294"/>
              <a:gd name="connsiteX56" fmla="*/ 59519 w 4501379"/>
              <a:gd name="connsiteY56" fmla="*/ 1685925 h 4429294"/>
              <a:gd name="connsiteX57" fmla="*/ 69044 w 4501379"/>
              <a:gd name="connsiteY57" fmla="*/ 1638300 h 4429294"/>
              <a:gd name="connsiteX58" fmla="*/ 88094 w 4501379"/>
              <a:gd name="connsiteY58" fmla="*/ 1590675 h 4429294"/>
              <a:gd name="connsiteX59" fmla="*/ 116669 w 4501379"/>
              <a:gd name="connsiteY59" fmla="*/ 1504950 h 4429294"/>
              <a:gd name="connsiteX60" fmla="*/ 135719 w 4501379"/>
              <a:gd name="connsiteY60" fmla="*/ 1419225 h 4429294"/>
              <a:gd name="connsiteX61" fmla="*/ 211919 w 4501379"/>
              <a:gd name="connsiteY61" fmla="*/ 1276350 h 4429294"/>
              <a:gd name="connsiteX62" fmla="*/ 221444 w 4501379"/>
              <a:gd name="connsiteY62" fmla="*/ 1247775 h 4429294"/>
              <a:gd name="connsiteX63" fmla="*/ 250019 w 4501379"/>
              <a:gd name="connsiteY63" fmla="*/ 1200150 h 4429294"/>
              <a:gd name="connsiteX64" fmla="*/ 269069 w 4501379"/>
              <a:gd name="connsiteY64" fmla="*/ 1152525 h 4429294"/>
              <a:gd name="connsiteX65" fmla="*/ 297644 w 4501379"/>
              <a:gd name="connsiteY65" fmla="*/ 1114425 h 4429294"/>
              <a:gd name="connsiteX66" fmla="*/ 345269 w 4501379"/>
              <a:gd name="connsiteY66" fmla="*/ 1038225 h 4429294"/>
              <a:gd name="connsiteX67" fmla="*/ 364319 w 4501379"/>
              <a:gd name="connsiteY67" fmla="*/ 1009650 h 4429294"/>
              <a:gd name="connsiteX68" fmla="*/ 421469 w 4501379"/>
              <a:gd name="connsiteY68" fmla="*/ 904875 h 4429294"/>
              <a:gd name="connsiteX69" fmla="*/ 459569 w 4501379"/>
              <a:gd name="connsiteY69" fmla="*/ 857250 h 4429294"/>
              <a:gd name="connsiteX70" fmla="*/ 478619 w 4501379"/>
              <a:gd name="connsiteY70" fmla="*/ 828675 h 4429294"/>
              <a:gd name="connsiteX71" fmla="*/ 516719 w 4501379"/>
              <a:gd name="connsiteY71" fmla="*/ 800100 h 4429294"/>
              <a:gd name="connsiteX72" fmla="*/ 583394 w 4501379"/>
              <a:gd name="connsiteY72" fmla="*/ 733425 h 4429294"/>
              <a:gd name="connsiteX73" fmla="*/ 650069 w 4501379"/>
              <a:gd name="connsiteY73" fmla="*/ 676275 h 4429294"/>
              <a:gd name="connsiteX74" fmla="*/ 678644 w 4501379"/>
              <a:gd name="connsiteY74" fmla="*/ 657225 h 4429294"/>
              <a:gd name="connsiteX75" fmla="*/ 821519 w 4501379"/>
              <a:gd name="connsiteY75" fmla="*/ 533400 h 4429294"/>
              <a:gd name="connsiteX76" fmla="*/ 869144 w 4501379"/>
              <a:gd name="connsiteY76" fmla="*/ 504825 h 4429294"/>
              <a:gd name="connsiteX77" fmla="*/ 1148544 w 4501379"/>
              <a:gd name="connsiteY77" fmla="*/ 311150 h 4429294"/>
              <a:gd name="connsiteX78" fmla="*/ 1250144 w 4501379"/>
              <a:gd name="connsiteY78" fmla="*/ 285750 h 4429294"/>
              <a:gd name="connsiteX79" fmla="*/ 1393019 w 4501379"/>
              <a:gd name="connsiteY79" fmla="*/ 190500 h 4429294"/>
              <a:gd name="connsiteX80" fmla="*/ 1431119 w 4501379"/>
              <a:gd name="connsiteY80" fmla="*/ 161925 h 4429294"/>
              <a:gd name="connsiteX81" fmla="*/ 1507319 w 4501379"/>
              <a:gd name="connsiteY81" fmla="*/ 152400 h 4429294"/>
              <a:gd name="connsiteX82" fmla="*/ 1564469 w 4501379"/>
              <a:gd name="connsiteY82" fmla="*/ 142875 h 4429294"/>
              <a:gd name="connsiteX83" fmla="*/ 1697819 w 4501379"/>
              <a:gd name="connsiteY83" fmla="*/ 123825 h 4429294"/>
              <a:gd name="connsiteX84" fmla="*/ 1793069 w 4501379"/>
              <a:gd name="connsiteY84" fmla="*/ 114300 h 4429294"/>
              <a:gd name="connsiteX85" fmla="*/ 1840694 w 4501379"/>
              <a:gd name="connsiteY85" fmla="*/ 104775 h 4429294"/>
              <a:gd name="connsiteX86" fmla="*/ 1897844 w 4501379"/>
              <a:gd name="connsiteY86" fmla="*/ 95250 h 4429294"/>
              <a:gd name="connsiteX87" fmla="*/ 2012144 w 4501379"/>
              <a:gd name="connsiteY87" fmla="*/ 66675 h 4429294"/>
              <a:gd name="connsiteX88" fmla="*/ 2078819 w 4501379"/>
              <a:gd name="connsiteY88" fmla="*/ 47625 h 4429294"/>
              <a:gd name="connsiteX89" fmla="*/ 2145494 w 4501379"/>
              <a:gd name="connsiteY89" fmla="*/ 38100 h 4429294"/>
              <a:gd name="connsiteX0" fmla="*/ 2278844 w 4501379"/>
              <a:gd name="connsiteY0" fmla="*/ 0 h 4429294"/>
              <a:gd name="connsiteX1" fmla="*/ 2736044 w 4501379"/>
              <a:gd name="connsiteY1" fmla="*/ 66675 h 4429294"/>
              <a:gd name="connsiteX2" fmla="*/ 2812244 w 4501379"/>
              <a:gd name="connsiteY2" fmla="*/ 76200 h 4429294"/>
              <a:gd name="connsiteX3" fmla="*/ 2897969 w 4501379"/>
              <a:gd name="connsiteY3" fmla="*/ 85725 h 4429294"/>
              <a:gd name="connsiteX4" fmla="*/ 2955119 w 4501379"/>
              <a:gd name="connsiteY4" fmla="*/ 114300 h 4429294"/>
              <a:gd name="connsiteX5" fmla="*/ 2993219 w 4501379"/>
              <a:gd name="connsiteY5" fmla="*/ 123825 h 4429294"/>
              <a:gd name="connsiteX6" fmla="*/ 3117044 w 4501379"/>
              <a:gd name="connsiteY6" fmla="*/ 171450 h 4429294"/>
              <a:gd name="connsiteX7" fmla="*/ 3155144 w 4501379"/>
              <a:gd name="connsiteY7" fmla="*/ 190500 h 4429294"/>
              <a:gd name="connsiteX8" fmla="*/ 3221819 w 4501379"/>
              <a:gd name="connsiteY8" fmla="*/ 228600 h 4429294"/>
              <a:gd name="connsiteX9" fmla="*/ 3250394 w 4501379"/>
              <a:gd name="connsiteY9" fmla="*/ 238125 h 4429294"/>
              <a:gd name="connsiteX10" fmla="*/ 3278969 w 4501379"/>
              <a:gd name="connsiteY10" fmla="*/ 257175 h 4429294"/>
              <a:gd name="connsiteX11" fmla="*/ 3307544 w 4501379"/>
              <a:gd name="connsiteY11" fmla="*/ 266700 h 4429294"/>
              <a:gd name="connsiteX12" fmla="*/ 3336119 w 4501379"/>
              <a:gd name="connsiteY12" fmla="*/ 285750 h 4429294"/>
              <a:gd name="connsiteX13" fmla="*/ 3402794 w 4501379"/>
              <a:gd name="connsiteY13" fmla="*/ 323850 h 4429294"/>
              <a:gd name="connsiteX14" fmla="*/ 3450419 w 4501379"/>
              <a:gd name="connsiteY14" fmla="*/ 361950 h 4429294"/>
              <a:gd name="connsiteX15" fmla="*/ 3498044 w 4501379"/>
              <a:gd name="connsiteY15" fmla="*/ 390525 h 4429294"/>
              <a:gd name="connsiteX16" fmla="*/ 3612344 w 4501379"/>
              <a:gd name="connsiteY16" fmla="*/ 485775 h 4429294"/>
              <a:gd name="connsiteX17" fmla="*/ 3726644 w 4501379"/>
              <a:gd name="connsiteY17" fmla="*/ 542925 h 4429294"/>
              <a:gd name="connsiteX18" fmla="*/ 3793319 w 4501379"/>
              <a:gd name="connsiteY18" fmla="*/ 581025 h 4429294"/>
              <a:gd name="connsiteX19" fmla="*/ 4009219 w 4501379"/>
              <a:gd name="connsiteY19" fmla="*/ 819150 h 4429294"/>
              <a:gd name="connsiteX20" fmla="*/ 4145744 w 4501379"/>
              <a:gd name="connsiteY20" fmla="*/ 990600 h 4429294"/>
              <a:gd name="connsiteX21" fmla="*/ 4231469 w 4501379"/>
              <a:gd name="connsiteY21" fmla="*/ 1143000 h 4429294"/>
              <a:gd name="connsiteX22" fmla="*/ 4288619 w 4501379"/>
              <a:gd name="connsiteY22" fmla="*/ 1266825 h 4429294"/>
              <a:gd name="connsiteX23" fmla="*/ 4326719 w 4501379"/>
              <a:gd name="connsiteY23" fmla="*/ 1362075 h 4429294"/>
              <a:gd name="connsiteX24" fmla="*/ 4374344 w 4501379"/>
              <a:gd name="connsiteY24" fmla="*/ 1552575 h 4429294"/>
              <a:gd name="connsiteX25" fmla="*/ 4412444 w 4501379"/>
              <a:gd name="connsiteY25" fmla="*/ 1685925 h 4429294"/>
              <a:gd name="connsiteX26" fmla="*/ 4501344 w 4501379"/>
              <a:gd name="connsiteY26" fmla="*/ 2181225 h 4429294"/>
              <a:gd name="connsiteX27" fmla="*/ 4428319 w 4501379"/>
              <a:gd name="connsiteY27" fmla="*/ 2768600 h 4429294"/>
              <a:gd name="connsiteX28" fmla="*/ 4364819 w 4501379"/>
              <a:gd name="connsiteY28" fmla="*/ 2990850 h 4429294"/>
              <a:gd name="connsiteX29" fmla="*/ 4260044 w 4501379"/>
              <a:gd name="connsiteY29" fmla="*/ 3248025 h 4429294"/>
              <a:gd name="connsiteX30" fmla="*/ 4164794 w 4501379"/>
              <a:gd name="connsiteY30" fmla="*/ 3400425 h 4429294"/>
              <a:gd name="connsiteX31" fmla="*/ 4040969 w 4501379"/>
              <a:gd name="connsiteY31" fmla="*/ 3533775 h 4429294"/>
              <a:gd name="connsiteX32" fmla="*/ 3936194 w 4501379"/>
              <a:gd name="connsiteY32" fmla="*/ 3648075 h 4429294"/>
              <a:gd name="connsiteX33" fmla="*/ 3640919 w 4501379"/>
              <a:gd name="connsiteY33" fmla="*/ 3971925 h 4429294"/>
              <a:gd name="connsiteX34" fmla="*/ 3498044 w 4501379"/>
              <a:gd name="connsiteY34" fmla="*/ 4083050 h 4429294"/>
              <a:gd name="connsiteX35" fmla="*/ 3202769 w 4501379"/>
              <a:gd name="connsiteY35" fmla="*/ 4222750 h 4429294"/>
              <a:gd name="connsiteX36" fmla="*/ 3050369 w 4501379"/>
              <a:gd name="connsiteY36" fmla="*/ 4286250 h 4429294"/>
              <a:gd name="connsiteX37" fmla="*/ 2917019 w 4501379"/>
              <a:gd name="connsiteY37" fmla="*/ 4333875 h 4429294"/>
              <a:gd name="connsiteX38" fmla="*/ 2793194 w 4501379"/>
              <a:gd name="connsiteY38" fmla="*/ 4371975 h 4429294"/>
              <a:gd name="connsiteX39" fmla="*/ 2561419 w 4501379"/>
              <a:gd name="connsiteY39" fmla="*/ 4391025 h 4429294"/>
              <a:gd name="connsiteX40" fmla="*/ 2107394 w 4501379"/>
              <a:gd name="connsiteY40" fmla="*/ 4429125 h 4429294"/>
              <a:gd name="connsiteX41" fmla="*/ 1916894 w 4501379"/>
              <a:gd name="connsiteY41" fmla="*/ 4400550 h 4429294"/>
              <a:gd name="connsiteX42" fmla="*/ 1554944 w 4501379"/>
              <a:gd name="connsiteY42" fmla="*/ 4305300 h 4429294"/>
              <a:gd name="connsiteX43" fmla="*/ 1313644 w 4501379"/>
              <a:gd name="connsiteY43" fmla="*/ 4216400 h 4429294"/>
              <a:gd name="connsiteX44" fmla="*/ 1145369 w 4501379"/>
              <a:gd name="connsiteY44" fmla="*/ 4111625 h 4429294"/>
              <a:gd name="connsiteX45" fmla="*/ 926294 w 4501379"/>
              <a:gd name="connsiteY45" fmla="*/ 3968750 h 4429294"/>
              <a:gd name="connsiteX46" fmla="*/ 592919 w 4501379"/>
              <a:gd name="connsiteY46" fmla="*/ 3657600 h 4429294"/>
              <a:gd name="connsiteX47" fmla="*/ 446869 w 4501379"/>
              <a:gd name="connsiteY47" fmla="*/ 3470275 h 4429294"/>
              <a:gd name="connsiteX48" fmla="*/ 316694 w 4501379"/>
              <a:gd name="connsiteY48" fmla="*/ 3244850 h 4429294"/>
              <a:gd name="connsiteX49" fmla="*/ 164294 w 4501379"/>
              <a:gd name="connsiteY49" fmla="*/ 2892425 h 4429294"/>
              <a:gd name="connsiteX50" fmla="*/ 56344 w 4501379"/>
              <a:gd name="connsiteY50" fmla="*/ 2368550 h 4429294"/>
              <a:gd name="connsiteX51" fmla="*/ 2369 w 4501379"/>
              <a:gd name="connsiteY51" fmla="*/ 1905000 h 4429294"/>
              <a:gd name="connsiteX52" fmla="*/ 11894 w 4501379"/>
              <a:gd name="connsiteY52" fmla="*/ 1838325 h 4429294"/>
              <a:gd name="connsiteX53" fmla="*/ 30944 w 4501379"/>
              <a:gd name="connsiteY53" fmla="*/ 1781175 h 4429294"/>
              <a:gd name="connsiteX54" fmla="*/ 40469 w 4501379"/>
              <a:gd name="connsiteY54" fmla="*/ 1743075 h 4429294"/>
              <a:gd name="connsiteX55" fmla="*/ 59519 w 4501379"/>
              <a:gd name="connsiteY55" fmla="*/ 1685925 h 4429294"/>
              <a:gd name="connsiteX56" fmla="*/ 69044 w 4501379"/>
              <a:gd name="connsiteY56" fmla="*/ 1638300 h 4429294"/>
              <a:gd name="connsiteX57" fmla="*/ 88094 w 4501379"/>
              <a:gd name="connsiteY57" fmla="*/ 1590675 h 4429294"/>
              <a:gd name="connsiteX58" fmla="*/ 116669 w 4501379"/>
              <a:gd name="connsiteY58" fmla="*/ 1504950 h 4429294"/>
              <a:gd name="connsiteX59" fmla="*/ 135719 w 4501379"/>
              <a:gd name="connsiteY59" fmla="*/ 1419225 h 4429294"/>
              <a:gd name="connsiteX60" fmla="*/ 211919 w 4501379"/>
              <a:gd name="connsiteY60" fmla="*/ 1276350 h 4429294"/>
              <a:gd name="connsiteX61" fmla="*/ 221444 w 4501379"/>
              <a:gd name="connsiteY61" fmla="*/ 1247775 h 4429294"/>
              <a:gd name="connsiteX62" fmla="*/ 250019 w 4501379"/>
              <a:gd name="connsiteY62" fmla="*/ 1200150 h 4429294"/>
              <a:gd name="connsiteX63" fmla="*/ 269069 w 4501379"/>
              <a:gd name="connsiteY63" fmla="*/ 1152525 h 4429294"/>
              <a:gd name="connsiteX64" fmla="*/ 297644 w 4501379"/>
              <a:gd name="connsiteY64" fmla="*/ 1114425 h 4429294"/>
              <a:gd name="connsiteX65" fmla="*/ 345269 w 4501379"/>
              <a:gd name="connsiteY65" fmla="*/ 1038225 h 4429294"/>
              <a:gd name="connsiteX66" fmla="*/ 364319 w 4501379"/>
              <a:gd name="connsiteY66" fmla="*/ 1009650 h 4429294"/>
              <a:gd name="connsiteX67" fmla="*/ 421469 w 4501379"/>
              <a:gd name="connsiteY67" fmla="*/ 904875 h 4429294"/>
              <a:gd name="connsiteX68" fmla="*/ 459569 w 4501379"/>
              <a:gd name="connsiteY68" fmla="*/ 857250 h 4429294"/>
              <a:gd name="connsiteX69" fmla="*/ 478619 w 4501379"/>
              <a:gd name="connsiteY69" fmla="*/ 828675 h 4429294"/>
              <a:gd name="connsiteX70" fmla="*/ 516719 w 4501379"/>
              <a:gd name="connsiteY70" fmla="*/ 800100 h 4429294"/>
              <a:gd name="connsiteX71" fmla="*/ 583394 w 4501379"/>
              <a:gd name="connsiteY71" fmla="*/ 733425 h 4429294"/>
              <a:gd name="connsiteX72" fmla="*/ 650069 w 4501379"/>
              <a:gd name="connsiteY72" fmla="*/ 676275 h 4429294"/>
              <a:gd name="connsiteX73" fmla="*/ 678644 w 4501379"/>
              <a:gd name="connsiteY73" fmla="*/ 657225 h 4429294"/>
              <a:gd name="connsiteX74" fmla="*/ 821519 w 4501379"/>
              <a:gd name="connsiteY74" fmla="*/ 533400 h 4429294"/>
              <a:gd name="connsiteX75" fmla="*/ 869144 w 4501379"/>
              <a:gd name="connsiteY75" fmla="*/ 504825 h 4429294"/>
              <a:gd name="connsiteX76" fmla="*/ 1148544 w 4501379"/>
              <a:gd name="connsiteY76" fmla="*/ 311150 h 4429294"/>
              <a:gd name="connsiteX77" fmla="*/ 1250144 w 4501379"/>
              <a:gd name="connsiteY77" fmla="*/ 285750 h 4429294"/>
              <a:gd name="connsiteX78" fmla="*/ 1393019 w 4501379"/>
              <a:gd name="connsiteY78" fmla="*/ 190500 h 4429294"/>
              <a:gd name="connsiteX79" fmla="*/ 1431119 w 4501379"/>
              <a:gd name="connsiteY79" fmla="*/ 161925 h 4429294"/>
              <a:gd name="connsiteX80" fmla="*/ 1507319 w 4501379"/>
              <a:gd name="connsiteY80" fmla="*/ 152400 h 4429294"/>
              <a:gd name="connsiteX81" fmla="*/ 1564469 w 4501379"/>
              <a:gd name="connsiteY81" fmla="*/ 142875 h 4429294"/>
              <a:gd name="connsiteX82" fmla="*/ 1697819 w 4501379"/>
              <a:gd name="connsiteY82" fmla="*/ 123825 h 4429294"/>
              <a:gd name="connsiteX83" fmla="*/ 1793069 w 4501379"/>
              <a:gd name="connsiteY83" fmla="*/ 114300 h 4429294"/>
              <a:gd name="connsiteX84" fmla="*/ 1840694 w 4501379"/>
              <a:gd name="connsiteY84" fmla="*/ 104775 h 4429294"/>
              <a:gd name="connsiteX85" fmla="*/ 1897844 w 4501379"/>
              <a:gd name="connsiteY85" fmla="*/ 95250 h 4429294"/>
              <a:gd name="connsiteX86" fmla="*/ 2012144 w 4501379"/>
              <a:gd name="connsiteY86" fmla="*/ 66675 h 4429294"/>
              <a:gd name="connsiteX87" fmla="*/ 2078819 w 4501379"/>
              <a:gd name="connsiteY87" fmla="*/ 47625 h 4429294"/>
              <a:gd name="connsiteX88" fmla="*/ 2145494 w 4501379"/>
              <a:gd name="connsiteY8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12244 w 4501379"/>
              <a:gd name="connsiteY2" fmla="*/ 76200 h 4429294"/>
              <a:gd name="connsiteX3" fmla="*/ 2897969 w 4501379"/>
              <a:gd name="connsiteY3" fmla="*/ 85725 h 4429294"/>
              <a:gd name="connsiteX4" fmla="*/ 2955119 w 4501379"/>
              <a:gd name="connsiteY4" fmla="*/ 114300 h 4429294"/>
              <a:gd name="connsiteX5" fmla="*/ 2993219 w 4501379"/>
              <a:gd name="connsiteY5" fmla="*/ 123825 h 4429294"/>
              <a:gd name="connsiteX6" fmla="*/ 3117044 w 4501379"/>
              <a:gd name="connsiteY6" fmla="*/ 171450 h 4429294"/>
              <a:gd name="connsiteX7" fmla="*/ 3155144 w 4501379"/>
              <a:gd name="connsiteY7" fmla="*/ 190500 h 4429294"/>
              <a:gd name="connsiteX8" fmla="*/ 3221819 w 4501379"/>
              <a:gd name="connsiteY8" fmla="*/ 228600 h 4429294"/>
              <a:gd name="connsiteX9" fmla="*/ 3250394 w 4501379"/>
              <a:gd name="connsiteY9" fmla="*/ 238125 h 4429294"/>
              <a:gd name="connsiteX10" fmla="*/ 3278969 w 4501379"/>
              <a:gd name="connsiteY10" fmla="*/ 257175 h 4429294"/>
              <a:gd name="connsiteX11" fmla="*/ 3307544 w 4501379"/>
              <a:gd name="connsiteY11" fmla="*/ 266700 h 4429294"/>
              <a:gd name="connsiteX12" fmla="*/ 3336119 w 4501379"/>
              <a:gd name="connsiteY12" fmla="*/ 285750 h 4429294"/>
              <a:gd name="connsiteX13" fmla="*/ 3402794 w 4501379"/>
              <a:gd name="connsiteY13" fmla="*/ 323850 h 4429294"/>
              <a:gd name="connsiteX14" fmla="*/ 3450419 w 4501379"/>
              <a:gd name="connsiteY14" fmla="*/ 361950 h 4429294"/>
              <a:gd name="connsiteX15" fmla="*/ 3498044 w 4501379"/>
              <a:gd name="connsiteY15" fmla="*/ 390525 h 4429294"/>
              <a:gd name="connsiteX16" fmla="*/ 3612344 w 4501379"/>
              <a:gd name="connsiteY16" fmla="*/ 485775 h 4429294"/>
              <a:gd name="connsiteX17" fmla="*/ 3726644 w 4501379"/>
              <a:gd name="connsiteY17" fmla="*/ 542925 h 4429294"/>
              <a:gd name="connsiteX18" fmla="*/ 3793319 w 4501379"/>
              <a:gd name="connsiteY18" fmla="*/ 581025 h 4429294"/>
              <a:gd name="connsiteX19" fmla="*/ 4009219 w 4501379"/>
              <a:gd name="connsiteY19" fmla="*/ 819150 h 4429294"/>
              <a:gd name="connsiteX20" fmla="*/ 4145744 w 4501379"/>
              <a:gd name="connsiteY20" fmla="*/ 990600 h 4429294"/>
              <a:gd name="connsiteX21" fmla="*/ 4231469 w 4501379"/>
              <a:gd name="connsiteY21" fmla="*/ 1143000 h 4429294"/>
              <a:gd name="connsiteX22" fmla="*/ 4288619 w 4501379"/>
              <a:gd name="connsiteY22" fmla="*/ 1266825 h 4429294"/>
              <a:gd name="connsiteX23" fmla="*/ 4326719 w 4501379"/>
              <a:gd name="connsiteY23" fmla="*/ 1362075 h 4429294"/>
              <a:gd name="connsiteX24" fmla="*/ 4374344 w 4501379"/>
              <a:gd name="connsiteY24" fmla="*/ 1552575 h 4429294"/>
              <a:gd name="connsiteX25" fmla="*/ 4412444 w 4501379"/>
              <a:gd name="connsiteY25" fmla="*/ 1685925 h 4429294"/>
              <a:gd name="connsiteX26" fmla="*/ 4501344 w 4501379"/>
              <a:gd name="connsiteY26" fmla="*/ 2181225 h 4429294"/>
              <a:gd name="connsiteX27" fmla="*/ 4428319 w 4501379"/>
              <a:gd name="connsiteY27" fmla="*/ 2768600 h 4429294"/>
              <a:gd name="connsiteX28" fmla="*/ 4364819 w 4501379"/>
              <a:gd name="connsiteY28" fmla="*/ 2990850 h 4429294"/>
              <a:gd name="connsiteX29" fmla="*/ 4260044 w 4501379"/>
              <a:gd name="connsiteY29" fmla="*/ 3248025 h 4429294"/>
              <a:gd name="connsiteX30" fmla="*/ 4164794 w 4501379"/>
              <a:gd name="connsiteY30" fmla="*/ 3400425 h 4429294"/>
              <a:gd name="connsiteX31" fmla="*/ 4040969 w 4501379"/>
              <a:gd name="connsiteY31" fmla="*/ 3533775 h 4429294"/>
              <a:gd name="connsiteX32" fmla="*/ 3936194 w 4501379"/>
              <a:gd name="connsiteY32" fmla="*/ 3648075 h 4429294"/>
              <a:gd name="connsiteX33" fmla="*/ 3640919 w 4501379"/>
              <a:gd name="connsiteY33" fmla="*/ 3971925 h 4429294"/>
              <a:gd name="connsiteX34" fmla="*/ 3498044 w 4501379"/>
              <a:gd name="connsiteY34" fmla="*/ 4083050 h 4429294"/>
              <a:gd name="connsiteX35" fmla="*/ 3202769 w 4501379"/>
              <a:gd name="connsiteY35" fmla="*/ 4222750 h 4429294"/>
              <a:gd name="connsiteX36" fmla="*/ 3050369 w 4501379"/>
              <a:gd name="connsiteY36" fmla="*/ 4286250 h 4429294"/>
              <a:gd name="connsiteX37" fmla="*/ 2917019 w 4501379"/>
              <a:gd name="connsiteY37" fmla="*/ 4333875 h 4429294"/>
              <a:gd name="connsiteX38" fmla="*/ 2793194 w 4501379"/>
              <a:gd name="connsiteY38" fmla="*/ 4371975 h 4429294"/>
              <a:gd name="connsiteX39" fmla="*/ 2561419 w 4501379"/>
              <a:gd name="connsiteY39" fmla="*/ 4391025 h 4429294"/>
              <a:gd name="connsiteX40" fmla="*/ 2107394 w 4501379"/>
              <a:gd name="connsiteY40" fmla="*/ 4429125 h 4429294"/>
              <a:gd name="connsiteX41" fmla="*/ 1916894 w 4501379"/>
              <a:gd name="connsiteY41" fmla="*/ 4400550 h 4429294"/>
              <a:gd name="connsiteX42" fmla="*/ 1554944 w 4501379"/>
              <a:gd name="connsiteY42" fmla="*/ 4305300 h 4429294"/>
              <a:gd name="connsiteX43" fmla="*/ 1313644 w 4501379"/>
              <a:gd name="connsiteY43" fmla="*/ 4216400 h 4429294"/>
              <a:gd name="connsiteX44" fmla="*/ 1145369 w 4501379"/>
              <a:gd name="connsiteY44" fmla="*/ 4111625 h 4429294"/>
              <a:gd name="connsiteX45" fmla="*/ 926294 w 4501379"/>
              <a:gd name="connsiteY45" fmla="*/ 3968750 h 4429294"/>
              <a:gd name="connsiteX46" fmla="*/ 592919 w 4501379"/>
              <a:gd name="connsiteY46" fmla="*/ 3657600 h 4429294"/>
              <a:gd name="connsiteX47" fmla="*/ 446869 w 4501379"/>
              <a:gd name="connsiteY47" fmla="*/ 3470275 h 4429294"/>
              <a:gd name="connsiteX48" fmla="*/ 316694 w 4501379"/>
              <a:gd name="connsiteY48" fmla="*/ 3244850 h 4429294"/>
              <a:gd name="connsiteX49" fmla="*/ 164294 w 4501379"/>
              <a:gd name="connsiteY49" fmla="*/ 2892425 h 4429294"/>
              <a:gd name="connsiteX50" fmla="*/ 56344 w 4501379"/>
              <a:gd name="connsiteY50" fmla="*/ 2368550 h 4429294"/>
              <a:gd name="connsiteX51" fmla="*/ 2369 w 4501379"/>
              <a:gd name="connsiteY51" fmla="*/ 1905000 h 4429294"/>
              <a:gd name="connsiteX52" fmla="*/ 11894 w 4501379"/>
              <a:gd name="connsiteY52" fmla="*/ 1838325 h 4429294"/>
              <a:gd name="connsiteX53" fmla="*/ 30944 w 4501379"/>
              <a:gd name="connsiteY53" fmla="*/ 1781175 h 4429294"/>
              <a:gd name="connsiteX54" fmla="*/ 40469 w 4501379"/>
              <a:gd name="connsiteY54" fmla="*/ 1743075 h 4429294"/>
              <a:gd name="connsiteX55" fmla="*/ 59519 w 4501379"/>
              <a:gd name="connsiteY55" fmla="*/ 1685925 h 4429294"/>
              <a:gd name="connsiteX56" fmla="*/ 69044 w 4501379"/>
              <a:gd name="connsiteY56" fmla="*/ 1638300 h 4429294"/>
              <a:gd name="connsiteX57" fmla="*/ 88094 w 4501379"/>
              <a:gd name="connsiteY57" fmla="*/ 1590675 h 4429294"/>
              <a:gd name="connsiteX58" fmla="*/ 116669 w 4501379"/>
              <a:gd name="connsiteY58" fmla="*/ 1504950 h 4429294"/>
              <a:gd name="connsiteX59" fmla="*/ 135719 w 4501379"/>
              <a:gd name="connsiteY59" fmla="*/ 1419225 h 4429294"/>
              <a:gd name="connsiteX60" fmla="*/ 211919 w 4501379"/>
              <a:gd name="connsiteY60" fmla="*/ 1276350 h 4429294"/>
              <a:gd name="connsiteX61" fmla="*/ 221444 w 4501379"/>
              <a:gd name="connsiteY61" fmla="*/ 1247775 h 4429294"/>
              <a:gd name="connsiteX62" fmla="*/ 250019 w 4501379"/>
              <a:gd name="connsiteY62" fmla="*/ 1200150 h 4429294"/>
              <a:gd name="connsiteX63" fmla="*/ 269069 w 4501379"/>
              <a:gd name="connsiteY63" fmla="*/ 1152525 h 4429294"/>
              <a:gd name="connsiteX64" fmla="*/ 297644 w 4501379"/>
              <a:gd name="connsiteY64" fmla="*/ 1114425 h 4429294"/>
              <a:gd name="connsiteX65" fmla="*/ 345269 w 4501379"/>
              <a:gd name="connsiteY65" fmla="*/ 1038225 h 4429294"/>
              <a:gd name="connsiteX66" fmla="*/ 364319 w 4501379"/>
              <a:gd name="connsiteY66" fmla="*/ 1009650 h 4429294"/>
              <a:gd name="connsiteX67" fmla="*/ 421469 w 4501379"/>
              <a:gd name="connsiteY67" fmla="*/ 904875 h 4429294"/>
              <a:gd name="connsiteX68" fmla="*/ 459569 w 4501379"/>
              <a:gd name="connsiteY68" fmla="*/ 857250 h 4429294"/>
              <a:gd name="connsiteX69" fmla="*/ 478619 w 4501379"/>
              <a:gd name="connsiteY69" fmla="*/ 828675 h 4429294"/>
              <a:gd name="connsiteX70" fmla="*/ 516719 w 4501379"/>
              <a:gd name="connsiteY70" fmla="*/ 800100 h 4429294"/>
              <a:gd name="connsiteX71" fmla="*/ 583394 w 4501379"/>
              <a:gd name="connsiteY71" fmla="*/ 733425 h 4429294"/>
              <a:gd name="connsiteX72" fmla="*/ 650069 w 4501379"/>
              <a:gd name="connsiteY72" fmla="*/ 676275 h 4429294"/>
              <a:gd name="connsiteX73" fmla="*/ 678644 w 4501379"/>
              <a:gd name="connsiteY73" fmla="*/ 657225 h 4429294"/>
              <a:gd name="connsiteX74" fmla="*/ 821519 w 4501379"/>
              <a:gd name="connsiteY74" fmla="*/ 533400 h 4429294"/>
              <a:gd name="connsiteX75" fmla="*/ 869144 w 4501379"/>
              <a:gd name="connsiteY75" fmla="*/ 504825 h 4429294"/>
              <a:gd name="connsiteX76" fmla="*/ 1148544 w 4501379"/>
              <a:gd name="connsiteY76" fmla="*/ 311150 h 4429294"/>
              <a:gd name="connsiteX77" fmla="*/ 1250144 w 4501379"/>
              <a:gd name="connsiteY77" fmla="*/ 285750 h 4429294"/>
              <a:gd name="connsiteX78" fmla="*/ 1393019 w 4501379"/>
              <a:gd name="connsiteY78" fmla="*/ 190500 h 4429294"/>
              <a:gd name="connsiteX79" fmla="*/ 1431119 w 4501379"/>
              <a:gd name="connsiteY79" fmla="*/ 161925 h 4429294"/>
              <a:gd name="connsiteX80" fmla="*/ 1507319 w 4501379"/>
              <a:gd name="connsiteY80" fmla="*/ 152400 h 4429294"/>
              <a:gd name="connsiteX81" fmla="*/ 1564469 w 4501379"/>
              <a:gd name="connsiteY81" fmla="*/ 142875 h 4429294"/>
              <a:gd name="connsiteX82" fmla="*/ 1697819 w 4501379"/>
              <a:gd name="connsiteY82" fmla="*/ 123825 h 4429294"/>
              <a:gd name="connsiteX83" fmla="*/ 1793069 w 4501379"/>
              <a:gd name="connsiteY83" fmla="*/ 114300 h 4429294"/>
              <a:gd name="connsiteX84" fmla="*/ 1840694 w 4501379"/>
              <a:gd name="connsiteY84" fmla="*/ 104775 h 4429294"/>
              <a:gd name="connsiteX85" fmla="*/ 1897844 w 4501379"/>
              <a:gd name="connsiteY85" fmla="*/ 95250 h 4429294"/>
              <a:gd name="connsiteX86" fmla="*/ 2012144 w 4501379"/>
              <a:gd name="connsiteY86" fmla="*/ 66675 h 4429294"/>
              <a:gd name="connsiteX87" fmla="*/ 2078819 w 4501379"/>
              <a:gd name="connsiteY87" fmla="*/ 47625 h 4429294"/>
              <a:gd name="connsiteX88" fmla="*/ 2145494 w 4501379"/>
              <a:gd name="connsiteY8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2955119 w 4501379"/>
              <a:gd name="connsiteY3" fmla="*/ 114300 h 4429294"/>
              <a:gd name="connsiteX4" fmla="*/ 2993219 w 4501379"/>
              <a:gd name="connsiteY4" fmla="*/ 123825 h 4429294"/>
              <a:gd name="connsiteX5" fmla="*/ 3117044 w 4501379"/>
              <a:gd name="connsiteY5" fmla="*/ 171450 h 4429294"/>
              <a:gd name="connsiteX6" fmla="*/ 3155144 w 4501379"/>
              <a:gd name="connsiteY6" fmla="*/ 190500 h 4429294"/>
              <a:gd name="connsiteX7" fmla="*/ 3221819 w 4501379"/>
              <a:gd name="connsiteY7" fmla="*/ 228600 h 4429294"/>
              <a:gd name="connsiteX8" fmla="*/ 3250394 w 4501379"/>
              <a:gd name="connsiteY8" fmla="*/ 238125 h 4429294"/>
              <a:gd name="connsiteX9" fmla="*/ 3278969 w 4501379"/>
              <a:gd name="connsiteY9" fmla="*/ 257175 h 4429294"/>
              <a:gd name="connsiteX10" fmla="*/ 3307544 w 4501379"/>
              <a:gd name="connsiteY10" fmla="*/ 266700 h 4429294"/>
              <a:gd name="connsiteX11" fmla="*/ 3336119 w 4501379"/>
              <a:gd name="connsiteY11" fmla="*/ 285750 h 4429294"/>
              <a:gd name="connsiteX12" fmla="*/ 3402794 w 4501379"/>
              <a:gd name="connsiteY12" fmla="*/ 323850 h 4429294"/>
              <a:gd name="connsiteX13" fmla="*/ 3450419 w 4501379"/>
              <a:gd name="connsiteY13" fmla="*/ 361950 h 4429294"/>
              <a:gd name="connsiteX14" fmla="*/ 3498044 w 4501379"/>
              <a:gd name="connsiteY14" fmla="*/ 390525 h 4429294"/>
              <a:gd name="connsiteX15" fmla="*/ 3612344 w 4501379"/>
              <a:gd name="connsiteY15" fmla="*/ 485775 h 4429294"/>
              <a:gd name="connsiteX16" fmla="*/ 3726644 w 4501379"/>
              <a:gd name="connsiteY16" fmla="*/ 542925 h 4429294"/>
              <a:gd name="connsiteX17" fmla="*/ 3793319 w 4501379"/>
              <a:gd name="connsiteY17" fmla="*/ 581025 h 4429294"/>
              <a:gd name="connsiteX18" fmla="*/ 4009219 w 4501379"/>
              <a:gd name="connsiteY18" fmla="*/ 819150 h 4429294"/>
              <a:gd name="connsiteX19" fmla="*/ 4145744 w 4501379"/>
              <a:gd name="connsiteY19" fmla="*/ 990600 h 4429294"/>
              <a:gd name="connsiteX20" fmla="*/ 4231469 w 4501379"/>
              <a:gd name="connsiteY20" fmla="*/ 1143000 h 4429294"/>
              <a:gd name="connsiteX21" fmla="*/ 4288619 w 4501379"/>
              <a:gd name="connsiteY21" fmla="*/ 1266825 h 4429294"/>
              <a:gd name="connsiteX22" fmla="*/ 4326719 w 4501379"/>
              <a:gd name="connsiteY22" fmla="*/ 1362075 h 4429294"/>
              <a:gd name="connsiteX23" fmla="*/ 4374344 w 4501379"/>
              <a:gd name="connsiteY23" fmla="*/ 1552575 h 4429294"/>
              <a:gd name="connsiteX24" fmla="*/ 4412444 w 4501379"/>
              <a:gd name="connsiteY24" fmla="*/ 1685925 h 4429294"/>
              <a:gd name="connsiteX25" fmla="*/ 4501344 w 4501379"/>
              <a:gd name="connsiteY25" fmla="*/ 2181225 h 4429294"/>
              <a:gd name="connsiteX26" fmla="*/ 4428319 w 4501379"/>
              <a:gd name="connsiteY26" fmla="*/ 2768600 h 4429294"/>
              <a:gd name="connsiteX27" fmla="*/ 4364819 w 4501379"/>
              <a:gd name="connsiteY27" fmla="*/ 2990850 h 4429294"/>
              <a:gd name="connsiteX28" fmla="*/ 4260044 w 4501379"/>
              <a:gd name="connsiteY28" fmla="*/ 3248025 h 4429294"/>
              <a:gd name="connsiteX29" fmla="*/ 4164794 w 4501379"/>
              <a:gd name="connsiteY29" fmla="*/ 3400425 h 4429294"/>
              <a:gd name="connsiteX30" fmla="*/ 4040969 w 4501379"/>
              <a:gd name="connsiteY30" fmla="*/ 3533775 h 4429294"/>
              <a:gd name="connsiteX31" fmla="*/ 3936194 w 4501379"/>
              <a:gd name="connsiteY31" fmla="*/ 3648075 h 4429294"/>
              <a:gd name="connsiteX32" fmla="*/ 3640919 w 4501379"/>
              <a:gd name="connsiteY32" fmla="*/ 3971925 h 4429294"/>
              <a:gd name="connsiteX33" fmla="*/ 3498044 w 4501379"/>
              <a:gd name="connsiteY33" fmla="*/ 4083050 h 4429294"/>
              <a:gd name="connsiteX34" fmla="*/ 3202769 w 4501379"/>
              <a:gd name="connsiteY34" fmla="*/ 4222750 h 4429294"/>
              <a:gd name="connsiteX35" fmla="*/ 3050369 w 4501379"/>
              <a:gd name="connsiteY35" fmla="*/ 4286250 h 4429294"/>
              <a:gd name="connsiteX36" fmla="*/ 2917019 w 4501379"/>
              <a:gd name="connsiteY36" fmla="*/ 4333875 h 4429294"/>
              <a:gd name="connsiteX37" fmla="*/ 2793194 w 4501379"/>
              <a:gd name="connsiteY37" fmla="*/ 4371975 h 4429294"/>
              <a:gd name="connsiteX38" fmla="*/ 2561419 w 4501379"/>
              <a:gd name="connsiteY38" fmla="*/ 4391025 h 4429294"/>
              <a:gd name="connsiteX39" fmla="*/ 2107394 w 4501379"/>
              <a:gd name="connsiteY39" fmla="*/ 4429125 h 4429294"/>
              <a:gd name="connsiteX40" fmla="*/ 1916894 w 4501379"/>
              <a:gd name="connsiteY40" fmla="*/ 4400550 h 4429294"/>
              <a:gd name="connsiteX41" fmla="*/ 1554944 w 4501379"/>
              <a:gd name="connsiteY41" fmla="*/ 4305300 h 4429294"/>
              <a:gd name="connsiteX42" fmla="*/ 1313644 w 4501379"/>
              <a:gd name="connsiteY42" fmla="*/ 4216400 h 4429294"/>
              <a:gd name="connsiteX43" fmla="*/ 1145369 w 4501379"/>
              <a:gd name="connsiteY43" fmla="*/ 4111625 h 4429294"/>
              <a:gd name="connsiteX44" fmla="*/ 926294 w 4501379"/>
              <a:gd name="connsiteY44" fmla="*/ 3968750 h 4429294"/>
              <a:gd name="connsiteX45" fmla="*/ 592919 w 4501379"/>
              <a:gd name="connsiteY45" fmla="*/ 3657600 h 4429294"/>
              <a:gd name="connsiteX46" fmla="*/ 446869 w 4501379"/>
              <a:gd name="connsiteY46" fmla="*/ 3470275 h 4429294"/>
              <a:gd name="connsiteX47" fmla="*/ 316694 w 4501379"/>
              <a:gd name="connsiteY47" fmla="*/ 3244850 h 4429294"/>
              <a:gd name="connsiteX48" fmla="*/ 164294 w 4501379"/>
              <a:gd name="connsiteY48" fmla="*/ 2892425 h 4429294"/>
              <a:gd name="connsiteX49" fmla="*/ 56344 w 4501379"/>
              <a:gd name="connsiteY49" fmla="*/ 2368550 h 4429294"/>
              <a:gd name="connsiteX50" fmla="*/ 2369 w 4501379"/>
              <a:gd name="connsiteY50" fmla="*/ 1905000 h 4429294"/>
              <a:gd name="connsiteX51" fmla="*/ 11894 w 4501379"/>
              <a:gd name="connsiteY51" fmla="*/ 1838325 h 4429294"/>
              <a:gd name="connsiteX52" fmla="*/ 30944 w 4501379"/>
              <a:gd name="connsiteY52" fmla="*/ 1781175 h 4429294"/>
              <a:gd name="connsiteX53" fmla="*/ 40469 w 4501379"/>
              <a:gd name="connsiteY53" fmla="*/ 1743075 h 4429294"/>
              <a:gd name="connsiteX54" fmla="*/ 59519 w 4501379"/>
              <a:gd name="connsiteY54" fmla="*/ 1685925 h 4429294"/>
              <a:gd name="connsiteX55" fmla="*/ 69044 w 4501379"/>
              <a:gd name="connsiteY55" fmla="*/ 1638300 h 4429294"/>
              <a:gd name="connsiteX56" fmla="*/ 88094 w 4501379"/>
              <a:gd name="connsiteY56" fmla="*/ 1590675 h 4429294"/>
              <a:gd name="connsiteX57" fmla="*/ 116669 w 4501379"/>
              <a:gd name="connsiteY57" fmla="*/ 1504950 h 4429294"/>
              <a:gd name="connsiteX58" fmla="*/ 135719 w 4501379"/>
              <a:gd name="connsiteY58" fmla="*/ 1419225 h 4429294"/>
              <a:gd name="connsiteX59" fmla="*/ 211919 w 4501379"/>
              <a:gd name="connsiteY59" fmla="*/ 1276350 h 4429294"/>
              <a:gd name="connsiteX60" fmla="*/ 221444 w 4501379"/>
              <a:gd name="connsiteY60" fmla="*/ 1247775 h 4429294"/>
              <a:gd name="connsiteX61" fmla="*/ 250019 w 4501379"/>
              <a:gd name="connsiteY61" fmla="*/ 1200150 h 4429294"/>
              <a:gd name="connsiteX62" fmla="*/ 269069 w 4501379"/>
              <a:gd name="connsiteY62" fmla="*/ 1152525 h 4429294"/>
              <a:gd name="connsiteX63" fmla="*/ 297644 w 4501379"/>
              <a:gd name="connsiteY63" fmla="*/ 1114425 h 4429294"/>
              <a:gd name="connsiteX64" fmla="*/ 345269 w 4501379"/>
              <a:gd name="connsiteY64" fmla="*/ 1038225 h 4429294"/>
              <a:gd name="connsiteX65" fmla="*/ 364319 w 4501379"/>
              <a:gd name="connsiteY65" fmla="*/ 1009650 h 4429294"/>
              <a:gd name="connsiteX66" fmla="*/ 421469 w 4501379"/>
              <a:gd name="connsiteY66" fmla="*/ 904875 h 4429294"/>
              <a:gd name="connsiteX67" fmla="*/ 459569 w 4501379"/>
              <a:gd name="connsiteY67" fmla="*/ 857250 h 4429294"/>
              <a:gd name="connsiteX68" fmla="*/ 478619 w 4501379"/>
              <a:gd name="connsiteY68" fmla="*/ 828675 h 4429294"/>
              <a:gd name="connsiteX69" fmla="*/ 516719 w 4501379"/>
              <a:gd name="connsiteY69" fmla="*/ 800100 h 4429294"/>
              <a:gd name="connsiteX70" fmla="*/ 583394 w 4501379"/>
              <a:gd name="connsiteY70" fmla="*/ 733425 h 4429294"/>
              <a:gd name="connsiteX71" fmla="*/ 650069 w 4501379"/>
              <a:gd name="connsiteY71" fmla="*/ 676275 h 4429294"/>
              <a:gd name="connsiteX72" fmla="*/ 678644 w 4501379"/>
              <a:gd name="connsiteY72" fmla="*/ 657225 h 4429294"/>
              <a:gd name="connsiteX73" fmla="*/ 821519 w 4501379"/>
              <a:gd name="connsiteY73" fmla="*/ 533400 h 4429294"/>
              <a:gd name="connsiteX74" fmla="*/ 869144 w 4501379"/>
              <a:gd name="connsiteY74" fmla="*/ 504825 h 4429294"/>
              <a:gd name="connsiteX75" fmla="*/ 1148544 w 4501379"/>
              <a:gd name="connsiteY75" fmla="*/ 311150 h 4429294"/>
              <a:gd name="connsiteX76" fmla="*/ 1250144 w 4501379"/>
              <a:gd name="connsiteY76" fmla="*/ 285750 h 4429294"/>
              <a:gd name="connsiteX77" fmla="*/ 1393019 w 4501379"/>
              <a:gd name="connsiteY77" fmla="*/ 190500 h 4429294"/>
              <a:gd name="connsiteX78" fmla="*/ 1431119 w 4501379"/>
              <a:gd name="connsiteY78" fmla="*/ 161925 h 4429294"/>
              <a:gd name="connsiteX79" fmla="*/ 1507319 w 4501379"/>
              <a:gd name="connsiteY79" fmla="*/ 152400 h 4429294"/>
              <a:gd name="connsiteX80" fmla="*/ 1564469 w 4501379"/>
              <a:gd name="connsiteY80" fmla="*/ 142875 h 4429294"/>
              <a:gd name="connsiteX81" fmla="*/ 1697819 w 4501379"/>
              <a:gd name="connsiteY81" fmla="*/ 123825 h 4429294"/>
              <a:gd name="connsiteX82" fmla="*/ 1793069 w 4501379"/>
              <a:gd name="connsiteY82" fmla="*/ 114300 h 4429294"/>
              <a:gd name="connsiteX83" fmla="*/ 1840694 w 4501379"/>
              <a:gd name="connsiteY83" fmla="*/ 104775 h 4429294"/>
              <a:gd name="connsiteX84" fmla="*/ 1897844 w 4501379"/>
              <a:gd name="connsiteY84" fmla="*/ 95250 h 4429294"/>
              <a:gd name="connsiteX85" fmla="*/ 2012144 w 4501379"/>
              <a:gd name="connsiteY85" fmla="*/ 66675 h 4429294"/>
              <a:gd name="connsiteX86" fmla="*/ 2078819 w 4501379"/>
              <a:gd name="connsiteY86" fmla="*/ 47625 h 4429294"/>
              <a:gd name="connsiteX87" fmla="*/ 2145494 w 4501379"/>
              <a:gd name="connsiteY8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2955119 w 4501379"/>
              <a:gd name="connsiteY3" fmla="*/ 114300 h 4429294"/>
              <a:gd name="connsiteX4" fmla="*/ 3117044 w 4501379"/>
              <a:gd name="connsiteY4" fmla="*/ 171450 h 4429294"/>
              <a:gd name="connsiteX5" fmla="*/ 3155144 w 4501379"/>
              <a:gd name="connsiteY5" fmla="*/ 190500 h 4429294"/>
              <a:gd name="connsiteX6" fmla="*/ 3221819 w 4501379"/>
              <a:gd name="connsiteY6" fmla="*/ 228600 h 4429294"/>
              <a:gd name="connsiteX7" fmla="*/ 3250394 w 4501379"/>
              <a:gd name="connsiteY7" fmla="*/ 238125 h 4429294"/>
              <a:gd name="connsiteX8" fmla="*/ 3278969 w 4501379"/>
              <a:gd name="connsiteY8" fmla="*/ 257175 h 4429294"/>
              <a:gd name="connsiteX9" fmla="*/ 3307544 w 4501379"/>
              <a:gd name="connsiteY9" fmla="*/ 266700 h 4429294"/>
              <a:gd name="connsiteX10" fmla="*/ 3336119 w 4501379"/>
              <a:gd name="connsiteY10" fmla="*/ 285750 h 4429294"/>
              <a:gd name="connsiteX11" fmla="*/ 3402794 w 4501379"/>
              <a:gd name="connsiteY11" fmla="*/ 323850 h 4429294"/>
              <a:gd name="connsiteX12" fmla="*/ 3450419 w 4501379"/>
              <a:gd name="connsiteY12" fmla="*/ 361950 h 4429294"/>
              <a:gd name="connsiteX13" fmla="*/ 3498044 w 4501379"/>
              <a:gd name="connsiteY13" fmla="*/ 390525 h 4429294"/>
              <a:gd name="connsiteX14" fmla="*/ 3612344 w 4501379"/>
              <a:gd name="connsiteY14" fmla="*/ 485775 h 4429294"/>
              <a:gd name="connsiteX15" fmla="*/ 3726644 w 4501379"/>
              <a:gd name="connsiteY15" fmla="*/ 542925 h 4429294"/>
              <a:gd name="connsiteX16" fmla="*/ 3793319 w 4501379"/>
              <a:gd name="connsiteY16" fmla="*/ 581025 h 4429294"/>
              <a:gd name="connsiteX17" fmla="*/ 4009219 w 4501379"/>
              <a:gd name="connsiteY17" fmla="*/ 819150 h 4429294"/>
              <a:gd name="connsiteX18" fmla="*/ 4145744 w 4501379"/>
              <a:gd name="connsiteY18" fmla="*/ 990600 h 4429294"/>
              <a:gd name="connsiteX19" fmla="*/ 4231469 w 4501379"/>
              <a:gd name="connsiteY19" fmla="*/ 1143000 h 4429294"/>
              <a:gd name="connsiteX20" fmla="*/ 4288619 w 4501379"/>
              <a:gd name="connsiteY20" fmla="*/ 1266825 h 4429294"/>
              <a:gd name="connsiteX21" fmla="*/ 4326719 w 4501379"/>
              <a:gd name="connsiteY21" fmla="*/ 1362075 h 4429294"/>
              <a:gd name="connsiteX22" fmla="*/ 4374344 w 4501379"/>
              <a:gd name="connsiteY22" fmla="*/ 1552575 h 4429294"/>
              <a:gd name="connsiteX23" fmla="*/ 4412444 w 4501379"/>
              <a:gd name="connsiteY23" fmla="*/ 1685925 h 4429294"/>
              <a:gd name="connsiteX24" fmla="*/ 4501344 w 4501379"/>
              <a:gd name="connsiteY24" fmla="*/ 2181225 h 4429294"/>
              <a:gd name="connsiteX25" fmla="*/ 4428319 w 4501379"/>
              <a:gd name="connsiteY25" fmla="*/ 2768600 h 4429294"/>
              <a:gd name="connsiteX26" fmla="*/ 4364819 w 4501379"/>
              <a:gd name="connsiteY26" fmla="*/ 2990850 h 4429294"/>
              <a:gd name="connsiteX27" fmla="*/ 4260044 w 4501379"/>
              <a:gd name="connsiteY27" fmla="*/ 3248025 h 4429294"/>
              <a:gd name="connsiteX28" fmla="*/ 4164794 w 4501379"/>
              <a:gd name="connsiteY28" fmla="*/ 3400425 h 4429294"/>
              <a:gd name="connsiteX29" fmla="*/ 4040969 w 4501379"/>
              <a:gd name="connsiteY29" fmla="*/ 3533775 h 4429294"/>
              <a:gd name="connsiteX30" fmla="*/ 3936194 w 4501379"/>
              <a:gd name="connsiteY30" fmla="*/ 3648075 h 4429294"/>
              <a:gd name="connsiteX31" fmla="*/ 3640919 w 4501379"/>
              <a:gd name="connsiteY31" fmla="*/ 3971925 h 4429294"/>
              <a:gd name="connsiteX32" fmla="*/ 3498044 w 4501379"/>
              <a:gd name="connsiteY32" fmla="*/ 4083050 h 4429294"/>
              <a:gd name="connsiteX33" fmla="*/ 3202769 w 4501379"/>
              <a:gd name="connsiteY33" fmla="*/ 4222750 h 4429294"/>
              <a:gd name="connsiteX34" fmla="*/ 3050369 w 4501379"/>
              <a:gd name="connsiteY34" fmla="*/ 4286250 h 4429294"/>
              <a:gd name="connsiteX35" fmla="*/ 2917019 w 4501379"/>
              <a:gd name="connsiteY35" fmla="*/ 4333875 h 4429294"/>
              <a:gd name="connsiteX36" fmla="*/ 2793194 w 4501379"/>
              <a:gd name="connsiteY36" fmla="*/ 4371975 h 4429294"/>
              <a:gd name="connsiteX37" fmla="*/ 2561419 w 4501379"/>
              <a:gd name="connsiteY37" fmla="*/ 4391025 h 4429294"/>
              <a:gd name="connsiteX38" fmla="*/ 2107394 w 4501379"/>
              <a:gd name="connsiteY38" fmla="*/ 4429125 h 4429294"/>
              <a:gd name="connsiteX39" fmla="*/ 1916894 w 4501379"/>
              <a:gd name="connsiteY39" fmla="*/ 4400550 h 4429294"/>
              <a:gd name="connsiteX40" fmla="*/ 1554944 w 4501379"/>
              <a:gd name="connsiteY40" fmla="*/ 4305300 h 4429294"/>
              <a:gd name="connsiteX41" fmla="*/ 1313644 w 4501379"/>
              <a:gd name="connsiteY41" fmla="*/ 4216400 h 4429294"/>
              <a:gd name="connsiteX42" fmla="*/ 1145369 w 4501379"/>
              <a:gd name="connsiteY42" fmla="*/ 4111625 h 4429294"/>
              <a:gd name="connsiteX43" fmla="*/ 926294 w 4501379"/>
              <a:gd name="connsiteY43" fmla="*/ 3968750 h 4429294"/>
              <a:gd name="connsiteX44" fmla="*/ 592919 w 4501379"/>
              <a:gd name="connsiteY44" fmla="*/ 3657600 h 4429294"/>
              <a:gd name="connsiteX45" fmla="*/ 446869 w 4501379"/>
              <a:gd name="connsiteY45" fmla="*/ 3470275 h 4429294"/>
              <a:gd name="connsiteX46" fmla="*/ 316694 w 4501379"/>
              <a:gd name="connsiteY46" fmla="*/ 3244850 h 4429294"/>
              <a:gd name="connsiteX47" fmla="*/ 164294 w 4501379"/>
              <a:gd name="connsiteY47" fmla="*/ 2892425 h 4429294"/>
              <a:gd name="connsiteX48" fmla="*/ 56344 w 4501379"/>
              <a:gd name="connsiteY48" fmla="*/ 2368550 h 4429294"/>
              <a:gd name="connsiteX49" fmla="*/ 2369 w 4501379"/>
              <a:gd name="connsiteY49" fmla="*/ 1905000 h 4429294"/>
              <a:gd name="connsiteX50" fmla="*/ 11894 w 4501379"/>
              <a:gd name="connsiteY50" fmla="*/ 1838325 h 4429294"/>
              <a:gd name="connsiteX51" fmla="*/ 30944 w 4501379"/>
              <a:gd name="connsiteY51" fmla="*/ 1781175 h 4429294"/>
              <a:gd name="connsiteX52" fmla="*/ 40469 w 4501379"/>
              <a:gd name="connsiteY52" fmla="*/ 1743075 h 4429294"/>
              <a:gd name="connsiteX53" fmla="*/ 59519 w 4501379"/>
              <a:gd name="connsiteY53" fmla="*/ 1685925 h 4429294"/>
              <a:gd name="connsiteX54" fmla="*/ 69044 w 4501379"/>
              <a:gd name="connsiteY54" fmla="*/ 1638300 h 4429294"/>
              <a:gd name="connsiteX55" fmla="*/ 88094 w 4501379"/>
              <a:gd name="connsiteY55" fmla="*/ 1590675 h 4429294"/>
              <a:gd name="connsiteX56" fmla="*/ 116669 w 4501379"/>
              <a:gd name="connsiteY56" fmla="*/ 1504950 h 4429294"/>
              <a:gd name="connsiteX57" fmla="*/ 135719 w 4501379"/>
              <a:gd name="connsiteY57" fmla="*/ 1419225 h 4429294"/>
              <a:gd name="connsiteX58" fmla="*/ 211919 w 4501379"/>
              <a:gd name="connsiteY58" fmla="*/ 1276350 h 4429294"/>
              <a:gd name="connsiteX59" fmla="*/ 221444 w 4501379"/>
              <a:gd name="connsiteY59" fmla="*/ 1247775 h 4429294"/>
              <a:gd name="connsiteX60" fmla="*/ 250019 w 4501379"/>
              <a:gd name="connsiteY60" fmla="*/ 1200150 h 4429294"/>
              <a:gd name="connsiteX61" fmla="*/ 269069 w 4501379"/>
              <a:gd name="connsiteY61" fmla="*/ 1152525 h 4429294"/>
              <a:gd name="connsiteX62" fmla="*/ 297644 w 4501379"/>
              <a:gd name="connsiteY62" fmla="*/ 1114425 h 4429294"/>
              <a:gd name="connsiteX63" fmla="*/ 345269 w 4501379"/>
              <a:gd name="connsiteY63" fmla="*/ 1038225 h 4429294"/>
              <a:gd name="connsiteX64" fmla="*/ 364319 w 4501379"/>
              <a:gd name="connsiteY64" fmla="*/ 1009650 h 4429294"/>
              <a:gd name="connsiteX65" fmla="*/ 421469 w 4501379"/>
              <a:gd name="connsiteY65" fmla="*/ 904875 h 4429294"/>
              <a:gd name="connsiteX66" fmla="*/ 459569 w 4501379"/>
              <a:gd name="connsiteY66" fmla="*/ 857250 h 4429294"/>
              <a:gd name="connsiteX67" fmla="*/ 478619 w 4501379"/>
              <a:gd name="connsiteY67" fmla="*/ 828675 h 4429294"/>
              <a:gd name="connsiteX68" fmla="*/ 516719 w 4501379"/>
              <a:gd name="connsiteY68" fmla="*/ 800100 h 4429294"/>
              <a:gd name="connsiteX69" fmla="*/ 583394 w 4501379"/>
              <a:gd name="connsiteY69" fmla="*/ 733425 h 4429294"/>
              <a:gd name="connsiteX70" fmla="*/ 650069 w 4501379"/>
              <a:gd name="connsiteY70" fmla="*/ 676275 h 4429294"/>
              <a:gd name="connsiteX71" fmla="*/ 678644 w 4501379"/>
              <a:gd name="connsiteY71" fmla="*/ 657225 h 4429294"/>
              <a:gd name="connsiteX72" fmla="*/ 821519 w 4501379"/>
              <a:gd name="connsiteY72" fmla="*/ 533400 h 4429294"/>
              <a:gd name="connsiteX73" fmla="*/ 869144 w 4501379"/>
              <a:gd name="connsiteY73" fmla="*/ 504825 h 4429294"/>
              <a:gd name="connsiteX74" fmla="*/ 1148544 w 4501379"/>
              <a:gd name="connsiteY74" fmla="*/ 311150 h 4429294"/>
              <a:gd name="connsiteX75" fmla="*/ 1250144 w 4501379"/>
              <a:gd name="connsiteY75" fmla="*/ 285750 h 4429294"/>
              <a:gd name="connsiteX76" fmla="*/ 1393019 w 4501379"/>
              <a:gd name="connsiteY76" fmla="*/ 190500 h 4429294"/>
              <a:gd name="connsiteX77" fmla="*/ 1431119 w 4501379"/>
              <a:gd name="connsiteY77" fmla="*/ 161925 h 4429294"/>
              <a:gd name="connsiteX78" fmla="*/ 1507319 w 4501379"/>
              <a:gd name="connsiteY78" fmla="*/ 152400 h 4429294"/>
              <a:gd name="connsiteX79" fmla="*/ 1564469 w 4501379"/>
              <a:gd name="connsiteY79" fmla="*/ 142875 h 4429294"/>
              <a:gd name="connsiteX80" fmla="*/ 1697819 w 4501379"/>
              <a:gd name="connsiteY80" fmla="*/ 123825 h 4429294"/>
              <a:gd name="connsiteX81" fmla="*/ 1793069 w 4501379"/>
              <a:gd name="connsiteY81" fmla="*/ 114300 h 4429294"/>
              <a:gd name="connsiteX82" fmla="*/ 1840694 w 4501379"/>
              <a:gd name="connsiteY82" fmla="*/ 104775 h 4429294"/>
              <a:gd name="connsiteX83" fmla="*/ 1897844 w 4501379"/>
              <a:gd name="connsiteY83" fmla="*/ 95250 h 4429294"/>
              <a:gd name="connsiteX84" fmla="*/ 2012144 w 4501379"/>
              <a:gd name="connsiteY84" fmla="*/ 66675 h 4429294"/>
              <a:gd name="connsiteX85" fmla="*/ 2078819 w 4501379"/>
              <a:gd name="connsiteY85" fmla="*/ 47625 h 4429294"/>
              <a:gd name="connsiteX86" fmla="*/ 2145494 w 4501379"/>
              <a:gd name="connsiteY86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155144 w 4501379"/>
              <a:gd name="connsiteY4" fmla="*/ 190500 h 4429294"/>
              <a:gd name="connsiteX5" fmla="*/ 3221819 w 4501379"/>
              <a:gd name="connsiteY5" fmla="*/ 228600 h 4429294"/>
              <a:gd name="connsiteX6" fmla="*/ 3250394 w 4501379"/>
              <a:gd name="connsiteY6" fmla="*/ 238125 h 4429294"/>
              <a:gd name="connsiteX7" fmla="*/ 3278969 w 4501379"/>
              <a:gd name="connsiteY7" fmla="*/ 257175 h 4429294"/>
              <a:gd name="connsiteX8" fmla="*/ 3307544 w 4501379"/>
              <a:gd name="connsiteY8" fmla="*/ 266700 h 4429294"/>
              <a:gd name="connsiteX9" fmla="*/ 3336119 w 4501379"/>
              <a:gd name="connsiteY9" fmla="*/ 285750 h 4429294"/>
              <a:gd name="connsiteX10" fmla="*/ 3402794 w 4501379"/>
              <a:gd name="connsiteY10" fmla="*/ 323850 h 4429294"/>
              <a:gd name="connsiteX11" fmla="*/ 3450419 w 4501379"/>
              <a:gd name="connsiteY11" fmla="*/ 361950 h 4429294"/>
              <a:gd name="connsiteX12" fmla="*/ 3498044 w 4501379"/>
              <a:gd name="connsiteY12" fmla="*/ 390525 h 4429294"/>
              <a:gd name="connsiteX13" fmla="*/ 3612344 w 4501379"/>
              <a:gd name="connsiteY13" fmla="*/ 485775 h 4429294"/>
              <a:gd name="connsiteX14" fmla="*/ 3726644 w 4501379"/>
              <a:gd name="connsiteY14" fmla="*/ 542925 h 4429294"/>
              <a:gd name="connsiteX15" fmla="*/ 3793319 w 4501379"/>
              <a:gd name="connsiteY15" fmla="*/ 581025 h 4429294"/>
              <a:gd name="connsiteX16" fmla="*/ 4009219 w 4501379"/>
              <a:gd name="connsiteY16" fmla="*/ 819150 h 4429294"/>
              <a:gd name="connsiteX17" fmla="*/ 4145744 w 4501379"/>
              <a:gd name="connsiteY17" fmla="*/ 990600 h 4429294"/>
              <a:gd name="connsiteX18" fmla="*/ 4231469 w 4501379"/>
              <a:gd name="connsiteY18" fmla="*/ 1143000 h 4429294"/>
              <a:gd name="connsiteX19" fmla="*/ 4288619 w 4501379"/>
              <a:gd name="connsiteY19" fmla="*/ 1266825 h 4429294"/>
              <a:gd name="connsiteX20" fmla="*/ 4326719 w 4501379"/>
              <a:gd name="connsiteY20" fmla="*/ 1362075 h 4429294"/>
              <a:gd name="connsiteX21" fmla="*/ 4374344 w 4501379"/>
              <a:gd name="connsiteY21" fmla="*/ 1552575 h 4429294"/>
              <a:gd name="connsiteX22" fmla="*/ 4412444 w 4501379"/>
              <a:gd name="connsiteY22" fmla="*/ 1685925 h 4429294"/>
              <a:gd name="connsiteX23" fmla="*/ 4501344 w 4501379"/>
              <a:gd name="connsiteY23" fmla="*/ 2181225 h 4429294"/>
              <a:gd name="connsiteX24" fmla="*/ 4428319 w 4501379"/>
              <a:gd name="connsiteY24" fmla="*/ 2768600 h 4429294"/>
              <a:gd name="connsiteX25" fmla="*/ 4364819 w 4501379"/>
              <a:gd name="connsiteY25" fmla="*/ 2990850 h 4429294"/>
              <a:gd name="connsiteX26" fmla="*/ 4260044 w 4501379"/>
              <a:gd name="connsiteY26" fmla="*/ 3248025 h 4429294"/>
              <a:gd name="connsiteX27" fmla="*/ 4164794 w 4501379"/>
              <a:gd name="connsiteY27" fmla="*/ 3400425 h 4429294"/>
              <a:gd name="connsiteX28" fmla="*/ 4040969 w 4501379"/>
              <a:gd name="connsiteY28" fmla="*/ 3533775 h 4429294"/>
              <a:gd name="connsiteX29" fmla="*/ 3936194 w 4501379"/>
              <a:gd name="connsiteY29" fmla="*/ 3648075 h 4429294"/>
              <a:gd name="connsiteX30" fmla="*/ 3640919 w 4501379"/>
              <a:gd name="connsiteY30" fmla="*/ 3971925 h 4429294"/>
              <a:gd name="connsiteX31" fmla="*/ 3498044 w 4501379"/>
              <a:gd name="connsiteY31" fmla="*/ 4083050 h 4429294"/>
              <a:gd name="connsiteX32" fmla="*/ 3202769 w 4501379"/>
              <a:gd name="connsiteY32" fmla="*/ 4222750 h 4429294"/>
              <a:gd name="connsiteX33" fmla="*/ 3050369 w 4501379"/>
              <a:gd name="connsiteY33" fmla="*/ 4286250 h 4429294"/>
              <a:gd name="connsiteX34" fmla="*/ 2917019 w 4501379"/>
              <a:gd name="connsiteY34" fmla="*/ 4333875 h 4429294"/>
              <a:gd name="connsiteX35" fmla="*/ 2793194 w 4501379"/>
              <a:gd name="connsiteY35" fmla="*/ 4371975 h 4429294"/>
              <a:gd name="connsiteX36" fmla="*/ 2561419 w 4501379"/>
              <a:gd name="connsiteY36" fmla="*/ 4391025 h 4429294"/>
              <a:gd name="connsiteX37" fmla="*/ 2107394 w 4501379"/>
              <a:gd name="connsiteY37" fmla="*/ 4429125 h 4429294"/>
              <a:gd name="connsiteX38" fmla="*/ 1916894 w 4501379"/>
              <a:gd name="connsiteY38" fmla="*/ 4400550 h 4429294"/>
              <a:gd name="connsiteX39" fmla="*/ 1554944 w 4501379"/>
              <a:gd name="connsiteY39" fmla="*/ 4305300 h 4429294"/>
              <a:gd name="connsiteX40" fmla="*/ 1313644 w 4501379"/>
              <a:gd name="connsiteY40" fmla="*/ 4216400 h 4429294"/>
              <a:gd name="connsiteX41" fmla="*/ 1145369 w 4501379"/>
              <a:gd name="connsiteY41" fmla="*/ 4111625 h 4429294"/>
              <a:gd name="connsiteX42" fmla="*/ 926294 w 4501379"/>
              <a:gd name="connsiteY42" fmla="*/ 3968750 h 4429294"/>
              <a:gd name="connsiteX43" fmla="*/ 592919 w 4501379"/>
              <a:gd name="connsiteY43" fmla="*/ 3657600 h 4429294"/>
              <a:gd name="connsiteX44" fmla="*/ 446869 w 4501379"/>
              <a:gd name="connsiteY44" fmla="*/ 3470275 h 4429294"/>
              <a:gd name="connsiteX45" fmla="*/ 316694 w 4501379"/>
              <a:gd name="connsiteY45" fmla="*/ 3244850 h 4429294"/>
              <a:gd name="connsiteX46" fmla="*/ 164294 w 4501379"/>
              <a:gd name="connsiteY46" fmla="*/ 2892425 h 4429294"/>
              <a:gd name="connsiteX47" fmla="*/ 56344 w 4501379"/>
              <a:gd name="connsiteY47" fmla="*/ 2368550 h 4429294"/>
              <a:gd name="connsiteX48" fmla="*/ 2369 w 4501379"/>
              <a:gd name="connsiteY48" fmla="*/ 1905000 h 4429294"/>
              <a:gd name="connsiteX49" fmla="*/ 11894 w 4501379"/>
              <a:gd name="connsiteY49" fmla="*/ 1838325 h 4429294"/>
              <a:gd name="connsiteX50" fmla="*/ 30944 w 4501379"/>
              <a:gd name="connsiteY50" fmla="*/ 1781175 h 4429294"/>
              <a:gd name="connsiteX51" fmla="*/ 40469 w 4501379"/>
              <a:gd name="connsiteY51" fmla="*/ 1743075 h 4429294"/>
              <a:gd name="connsiteX52" fmla="*/ 59519 w 4501379"/>
              <a:gd name="connsiteY52" fmla="*/ 1685925 h 4429294"/>
              <a:gd name="connsiteX53" fmla="*/ 69044 w 4501379"/>
              <a:gd name="connsiteY53" fmla="*/ 1638300 h 4429294"/>
              <a:gd name="connsiteX54" fmla="*/ 88094 w 4501379"/>
              <a:gd name="connsiteY54" fmla="*/ 1590675 h 4429294"/>
              <a:gd name="connsiteX55" fmla="*/ 116669 w 4501379"/>
              <a:gd name="connsiteY55" fmla="*/ 1504950 h 4429294"/>
              <a:gd name="connsiteX56" fmla="*/ 135719 w 4501379"/>
              <a:gd name="connsiteY56" fmla="*/ 1419225 h 4429294"/>
              <a:gd name="connsiteX57" fmla="*/ 211919 w 4501379"/>
              <a:gd name="connsiteY57" fmla="*/ 1276350 h 4429294"/>
              <a:gd name="connsiteX58" fmla="*/ 221444 w 4501379"/>
              <a:gd name="connsiteY58" fmla="*/ 1247775 h 4429294"/>
              <a:gd name="connsiteX59" fmla="*/ 250019 w 4501379"/>
              <a:gd name="connsiteY59" fmla="*/ 1200150 h 4429294"/>
              <a:gd name="connsiteX60" fmla="*/ 269069 w 4501379"/>
              <a:gd name="connsiteY60" fmla="*/ 1152525 h 4429294"/>
              <a:gd name="connsiteX61" fmla="*/ 297644 w 4501379"/>
              <a:gd name="connsiteY61" fmla="*/ 1114425 h 4429294"/>
              <a:gd name="connsiteX62" fmla="*/ 345269 w 4501379"/>
              <a:gd name="connsiteY62" fmla="*/ 1038225 h 4429294"/>
              <a:gd name="connsiteX63" fmla="*/ 364319 w 4501379"/>
              <a:gd name="connsiteY63" fmla="*/ 1009650 h 4429294"/>
              <a:gd name="connsiteX64" fmla="*/ 421469 w 4501379"/>
              <a:gd name="connsiteY64" fmla="*/ 904875 h 4429294"/>
              <a:gd name="connsiteX65" fmla="*/ 459569 w 4501379"/>
              <a:gd name="connsiteY65" fmla="*/ 857250 h 4429294"/>
              <a:gd name="connsiteX66" fmla="*/ 478619 w 4501379"/>
              <a:gd name="connsiteY66" fmla="*/ 828675 h 4429294"/>
              <a:gd name="connsiteX67" fmla="*/ 516719 w 4501379"/>
              <a:gd name="connsiteY67" fmla="*/ 800100 h 4429294"/>
              <a:gd name="connsiteX68" fmla="*/ 583394 w 4501379"/>
              <a:gd name="connsiteY68" fmla="*/ 733425 h 4429294"/>
              <a:gd name="connsiteX69" fmla="*/ 650069 w 4501379"/>
              <a:gd name="connsiteY69" fmla="*/ 676275 h 4429294"/>
              <a:gd name="connsiteX70" fmla="*/ 678644 w 4501379"/>
              <a:gd name="connsiteY70" fmla="*/ 657225 h 4429294"/>
              <a:gd name="connsiteX71" fmla="*/ 821519 w 4501379"/>
              <a:gd name="connsiteY71" fmla="*/ 533400 h 4429294"/>
              <a:gd name="connsiteX72" fmla="*/ 869144 w 4501379"/>
              <a:gd name="connsiteY72" fmla="*/ 504825 h 4429294"/>
              <a:gd name="connsiteX73" fmla="*/ 1148544 w 4501379"/>
              <a:gd name="connsiteY73" fmla="*/ 311150 h 4429294"/>
              <a:gd name="connsiteX74" fmla="*/ 1250144 w 4501379"/>
              <a:gd name="connsiteY74" fmla="*/ 285750 h 4429294"/>
              <a:gd name="connsiteX75" fmla="*/ 1393019 w 4501379"/>
              <a:gd name="connsiteY75" fmla="*/ 190500 h 4429294"/>
              <a:gd name="connsiteX76" fmla="*/ 1431119 w 4501379"/>
              <a:gd name="connsiteY76" fmla="*/ 161925 h 4429294"/>
              <a:gd name="connsiteX77" fmla="*/ 1507319 w 4501379"/>
              <a:gd name="connsiteY77" fmla="*/ 152400 h 4429294"/>
              <a:gd name="connsiteX78" fmla="*/ 1564469 w 4501379"/>
              <a:gd name="connsiteY78" fmla="*/ 142875 h 4429294"/>
              <a:gd name="connsiteX79" fmla="*/ 1697819 w 4501379"/>
              <a:gd name="connsiteY79" fmla="*/ 123825 h 4429294"/>
              <a:gd name="connsiteX80" fmla="*/ 1793069 w 4501379"/>
              <a:gd name="connsiteY80" fmla="*/ 114300 h 4429294"/>
              <a:gd name="connsiteX81" fmla="*/ 1840694 w 4501379"/>
              <a:gd name="connsiteY81" fmla="*/ 104775 h 4429294"/>
              <a:gd name="connsiteX82" fmla="*/ 1897844 w 4501379"/>
              <a:gd name="connsiteY82" fmla="*/ 95250 h 4429294"/>
              <a:gd name="connsiteX83" fmla="*/ 2012144 w 4501379"/>
              <a:gd name="connsiteY83" fmla="*/ 66675 h 4429294"/>
              <a:gd name="connsiteX84" fmla="*/ 2078819 w 4501379"/>
              <a:gd name="connsiteY84" fmla="*/ 47625 h 4429294"/>
              <a:gd name="connsiteX85" fmla="*/ 2145494 w 4501379"/>
              <a:gd name="connsiteY85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278969 w 4501379"/>
              <a:gd name="connsiteY6" fmla="*/ 257175 h 4429294"/>
              <a:gd name="connsiteX7" fmla="*/ 3307544 w 4501379"/>
              <a:gd name="connsiteY7" fmla="*/ 266700 h 4429294"/>
              <a:gd name="connsiteX8" fmla="*/ 3336119 w 4501379"/>
              <a:gd name="connsiteY8" fmla="*/ 285750 h 4429294"/>
              <a:gd name="connsiteX9" fmla="*/ 3402794 w 4501379"/>
              <a:gd name="connsiteY9" fmla="*/ 323850 h 4429294"/>
              <a:gd name="connsiteX10" fmla="*/ 3450419 w 4501379"/>
              <a:gd name="connsiteY10" fmla="*/ 361950 h 4429294"/>
              <a:gd name="connsiteX11" fmla="*/ 3498044 w 4501379"/>
              <a:gd name="connsiteY11" fmla="*/ 390525 h 4429294"/>
              <a:gd name="connsiteX12" fmla="*/ 3612344 w 4501379"/>
              <a:gd name="connsiteY12" fmla="*/ 485775 h 4429294"/>
              <a:gd name="connsiteX13" fmla="*/ 3726644 w 4501379"/>
              <a:gd name="connsiteY13" fmla="*/ 542925 h 4429294"/>
              <a:gd name="connsiteX14" fmla="*/ 3793319 w 4501379"/>
              <a:gd name="connsiteY14" fmla="*/ 581025 h 4429294"/>
              <a:gd name="connsiteX15" fmla="*/ 4009219 w 4501379"/>
              <a:gd name="connsiteY15" fmla="*/ 819150 h 4429294"/>
              <a:gd name="connsiteX16" fmla="*/ 4145744 w 4501379"/>
              <a:gd name="connsiteY16" fmla="*/ 990600 h 4429294"/>
              <a:gd name="connsiteX17" fmla="*/ 4231469 w 4501379"/>
              <a:gd name="connsiteY17" fmla="*/ 1143000 h 4429294"/>
              <a:gd name="connsiteX18" fmla="*/ 4288619 w 4501379"/>
              <a:gd name="connsiteY18" fmla="*/ 1266825 h 4429294"/>
              <a:gd name="connsiteX19" fmla="*/ 4326719 w 4501379"/>
              <a:gd name="connsiteY19" fmla="*/ 1362075 h 4429294"/>
              <a:gd name="connsiteX20" fmla="*/ 4374344 w 4501379"/>
              <a:gd name="connsiteY20" fmla="*/ 1552575 h 4429294"/>
              <a:gd name="connsiteX21" fmla="*/ 4412444 w 4501379"/>
              <a:gd name="connsiteY21" fmla="*/ 1685925 h 4429294"/>
              <a:gd name="connsiteX22" fmla="*/ 4501344 w 4501379"/>
              <a:gd name="connsiteY22" fmla="*/ 2181225 h 4429294"/>
              <a:gd name="connsiteX23" fmla="*/ 4428319 w 4501379"/>
              <a:gd name="connsiteY23" fmla="*/ 2768600 h 4429294"/>
              <a:gd name="connsiteX24" fmla="*/ 4364819 w 4501379"/>
              <a:gd name="connsiteY24" fmla="*/ 2990850 h 4429294"/>
              <a:gd name="connsiteX25" fmla="*/ 4260044 w 4501379"/>
              <a:gd name="connsiteY25" fmla="*/ 3248025 h 4429294"/>
              <a:gd name="connsiteX26" fmla="*/ 4164794 w 4501379"/>
              <a:gd name="connsiteY26" fmla="*/ 3400425 h 4429294"/>
              <a:gd name="connsiteX27" fmla="*/ 4040969 w 4501379"/>
              <a:gd name="connsiteY27" fmla="*/ 3533775 h 4429294"/>
              <a:gd name="connsiteX28" fmla="*/ 3936194 w 4501379"/>
              <a:gd name="connsiteY28" fmla="*/ 3648075 h 4429294"/>
              <a:gd name="connsiteX29" fmla="*/ 3640919 w 4501379"/>
              <a:gd name="connsiteY29" fmla="*/ 3971925 h 4429294"/>
              <a:gd name="connsiteX30" fmla="*/ 3498044 w 4501379"/>
              <a:gd name="connsiteY30" fmla="*/ 4083050 h 4429294"/>
              <a:gd name="connsiteX31" fmla="*/ 3202769 w 4501379"/>
              <a:gd name="connsiteY31" fmla="*/ 4222750 h 4429294"/>
              <a:gd name="connsiteX32" fmla="*/ 3050369 w 4501379"/>
              <a:gd name="connsiteY32" fmla="*/ 4286250 h 4429294"/>
              <a:gd name="connsiteX33" fmla="*/ 2917019 w 4501379"/>
              <a:gd name="connsiteY33" fmla="*/ 4333875 h 4429294"/>
              <a:gd name="connsiteX34" fmla="*/ 2793194 w 4501379"/>
              <a:gd name="connsiteY34" fmla="*/ 4371975 h 4429294"/>
              <a:gd name="connsiteX35" fmla="*/ 2561419 w 4501379"/>
              <a:gd name="connsiteY35" fmla="*/ 4391025 h 4429294"/>
              <a:gd name="connsiteX36" fmla="*/ 2107394 w 4501379"/>
              <a:gd name="connsiteY36" fmla="*/ 4429125 h 4429294"/>
              <a:gd name="connsiteX37" fmla="*/ 1916894 w 4501379"/>
              <a:gd name="connsiteY37" fmla="*/ 4400550 h 4429294"/>
              <a:gd name="connsiteX38" fmla="*/ 1554944 w 4501379"/>
              <a:gd name="connsiteY38" fmla="*/ 4305300 h 4429294"/>
              <a:gd name="connsiteX39" fmla="*/ 1313644 w 4501379"/>
              <a:gd name="connsiteY39" fmla="*/ 4216400 h 4429294"/>
              <a:gd name="connsiteX40" fmla="*/ 1145369 w 4501379"/>
              <a:gd name="connsiteY40" fmla="*/ 4111625 h 4429294"/>
              <a:gd name="connsiteX41" fmla="*/ 926294 w 4501379"/>
              <a:gd name="connsiteY41" fmla="*/ 3968750 h 4429294"/>
              <a:gd name="connsiteX42" fmla="*/ 592919 w 4501379"/>
              <a:gd name="connsiteY42" fmla="*/ 3657600 h 4429294"/>
              <a:gd name="connsiteX43" fmla="*/ 446869 w 4501379"/>
              <a:gd name="connsiteY43" fmla="*/ 3470275 h 4429294"/>
              <a:gd name="connsiteX44" fmla="*/ 316694 w 4501379"/>
              <a:gd name="connsiteY44" fmla="*/ 3244850 h 4429294"/>
              <a:gd name="connsiteX45" fmla="*/ 164294 w 4501379"/>
              <a:gd name="connsiteY45" fmla="*/ 2892425 h 4429294"/>
              <a:gd name="connsiteX46" fmla="*/ 56344 w 4501379"/>
              <a:gd name="connsiteY46" fmla="*/ 2368550 h 4429294"/>
              <a:gd name="connsiteX47" fmla="*/ 2369 w 4501379"/>
              <a:gd name="connsiteY47" fmla="*/ 1905000 h 4429294"/>
              <a:gd name="connsiteX48" fmla="*/ 11894 w 4501379"/>
              <a:gd name="connsiteY48" fmla="*/ 1838325 h 4429294"/>
              <a:gd name="connsiteX49" fmla="*/ 30944 w 4501379"/>
              <a:gd name="connsiteY49" fmla="*/ 1781175 h 4429294"/>
              <a:gd name="connsiteX50" fmla="*/ 40469 w 4501379"/>
              <a:gd name="connsiteY50" fmla="*/ 1743075 h 4429294"/>
              <a:gd name="connsiteX51" fmla="*/ 59519 w 4501379"/>
              <a:gd name="connsiteY51" fmla="*/ 1685925 h 4429294"/>
              <a:gd name="connsiteX52" fmla="*/ 69044 w 4501379"/>
              <a:gd name="connsiteY52" fmla="*/ 1638300 h 4429294"/>
              <a:gd name="connsiteX53" fmla="*/ 88094 w 4501379"/>
              <a:gd name="connsiteY53" fmla="*/ 1590675 h 4429294"/>
              <a:gd name="connsiteX54" fmla="*/ 116669 w 4501379"/>
              <a:gd name="connsiteY54" fmla="*/ 1504950 h 4429294"/>
              <a:gd name="connsiteX55" fmla="*/ 135719 w 4501379"/>
              <a:gd name="connsiteY55" fmla="*/ 1419225 h 4429294"/>
              <a:gd name="connsiteX56" fmla="*/ 211919 w 4501379"/>
              <a:gd name="connsiteY56" fmla="*/ 1276350 h 4429294"/>
              <a:gd name="connsiteX57" fmla="*/ 221444 w 4501379"/>
              <a:gd name="connsiteY57" fmla="*/ 1247775 h 4429294"/>
              <a:gd name="connsiteX58" fmla="*/ 250019 w 4501379"/>
              <a:gd name="connsiteY58" fmla="*/ 1200150 h 4429294"/>
              <a:gd name="connsiteX59" fmla="*/ 269069 w 4501379"/>
              <a:gd name="connsiteY59" fmla="*/ 1152525 h 4429294"/>
              <a:gd name="connsiteX60" fmla="*/ 297644 w 4501379"/>
              <a:gd name="connsiteY60" fmla="*/ 1114425 h 4429294"/>
              <a:gd name="connsiteX61" fmla="*/ 345269 w 4501379"/>
              <a:gd name="connsiteY61" fmla="*/ 1038225 h 4429294"/>
              <a:gd name="connsiteX62" fmla="*/ 364319 w 4501379"/>
              <a:gd name="connsiteY62" fmla="*/ 1009650 h 4429294"/>
              <a:gd name="connsiteX63" fmla="*/ 421469 w 4501379"/>
              <a:gd name="connsiteY63" fmla="*/ 904875 h 4429294"/>
              <a:gd name="connsiteX64" fmla="*/ 459569 w 4501379"/>
              <a:gd name="connsiteY64" fmla="*/ 857250 h 4429294"/>
              <a:gd name="connsiteX65" fmla="*/ 478619 w 4501379"/>
              <a:gd name="connsiteY65" fmla="*/ 828675 h 4429294"/>
              <a:gd name="connsiteX66" fmla="*/ 516719 w 4501379"/>
              <a:gd name="connsiteY66" fmla="*/ 800100 h 4429294"/>
              <a:gd name="connsiteX67" fmla="*/ 583394 w 4501379"/>
              <a:gd name="connsiteY67" fmla="*/ 733425 h 4429294"/>
              <a:gd name="connsiteX68" fmla="*/ 650069 w 4501379"/>
              <a:gd name="connsiteY68" fmla="*/ 676275 h 4429294"/>
              <a:gd name="connsiteX69" fmla="*/ 678644 w 4501379"/>
              <a:gd name="connsiteY69" fmla="*/ 657225 h 4429294"/>
              <a:gd name="connsiteX70" fmla="*/ 821519 w 4501379"/>
              <a:gd name="connsiteY70" fmla="*/ 533400 h 4429294"/>
              <a:gd name="connsiteX71" fmla="*/ 869144 w 4501379"/>
              <a:gd name="connsiteY71" fmla="*/ 504825 h 4429294"/>
              <a:gd name="connsiteX72" fmla="*/ 1148544 w 4501379"/>
              <a:gd name="connsiteY72" fmla="*/ 311150 h 4429294"/>
              <a:gd name="connsiteX73" fmla="*/ 1250144 w 4501379"/>
              <a:gd name="connsiteY73" fmla="*/ 285750 h 4429294"/>
              <a:gd name="connsiteX74" fmla="*/ 1393019 w 4501379"/>
              <a:gd name="connsiteY74" fmla="*/ 190500 h 4429294"/>
              <a:gd name="connsiteX75" fmla="*/ 1431119 w 4501379"/>
              <a:gd name="connsiteY75" fmla="*/ 161925 h 4429294"/>
              <a:gd name="connsiteX76" fmla="*/ 1507319 w 4501379"/>
              <a:gd name="connsiteY76" fmla="*/ 152400 h 4429294"/>
              <a:gd name="connsiteX77" fmla="*/ 1564469 w 4501379"/>
              <a:gd name="connsiteY77" fmla="*/ 142875 h 4429294"/>
              <a:gd name="connsiteX78" fmla="*/ 1697819 w 4501379"/>
              <a:gd name="connsiteY78" fmla="*/ 123825 h 4429294"/>
              <a:gd name="connsiteX79" fmla="*/ 1793069 w 4501379"/>
              <a:gd name="connsiteY79" fmla="*/ 114300 h 4429294"/>
              <a:gd name="connsiteX80" fmla="*/ 1840694 w 4501379"/>
              <a:gd name="connsiteY80" fmla="*/ 104775 h 4429294"/>
              <a:gd name="connsiteX81" fmla="*/ 1897844 w 4501379"/>
              <a:gd name="connsiteY81" fmla="*/ 95250 h 4429294"/>
              <a:gd name="connsiteX82" fmla="*/ 2012144 w 4501379"/>
              <a:gd name="connsiteY82" fmla="*/ 66675 h 4429294"/>
              <a:gd name="connsiteX83" fmla="*/ 2078819 w 4501379"/>
              <a:gd name="connsiteY83" fmla="*/ 47625 h 4429294"/>
              <a:gd name="connsiteX84" fmla="*/ 2145494 w 4501379"/>
              <a:gd name="connsiteY84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307544 w 4501379"/>
              <a:gd name="connsiteY6" fmla="*/ 266700 h 4429294"/>
              <a:gd name="connsiteX7" fmla="*/ 3336119 w 4501379"/>
              <a:gd name="connsiteY7" fmla="*/ 285750 h 4429294"/>
              <a:gd name="connsiteX8" fmla="*/ 3402794 w 4501379"/>
              <a:gd name="connsiteY8" fmla="*/ 323850 h 4429294"/>
              <a:gd name="connsiteX9" fmla="*/ 3450419 w 4501379"/>
              <a:gd name="connsiteY9" fmla="*/ 361950 h 4429294"/>
              <a:gd name="connsiteX10" fmla="*/ 3498044 w 4501379"/>
              <a:gd name="connsiteY10" fmla="*/ 390525 h 4429294"/>
              <a:gd name="connsiteX11" fmla="*/ 3612344 w 4501379"/>
              <a:gd name="connsiteY11" fmla="*/ 485775 h 4429294"/>
              <a:gd name="connsiteX12" fmla="*/ 3726644 w 4501379"/>
              <a:gd name="connsiteY12" fmla="*/ 542925 h 4429294"/>
              <a:gd name="connsiteX13" fmla="*/ 3793319 w 4501379"/>
              <a:gd name="connsiteY13" fmla="*/ 581025 h 4429294"/>
              <a:gd name="connsiteX14" fmla="*/ 4009219 w 4501379"/>
              <a:gd name="connsiteY14" fmla="*/ 819150 h 4429294"/>
              <a:gd name="connsiteX15" fmla="*/ 4145744 w 4501379"/>
              <a:gd name="connsiteY15" fmla="*/ 990600 h 4429294"/>
              <a:gd name="connsiteX16" fmla="*/ 4231469 w 4501379"/>
              <a:gd name="connsiteY16" fmla="*/ 1143000 h 4429294"/>
              <a:gd name="connsiteX17" fmla="*/ 4288619 w 4501379"/>
              <a:gd name="connsiteY17" fmla="*/ 1266825 h 4429294"/>
              <a:gd name="connsiteX18" fmla="*/ 4326719 w 4501379"/>
              <a:gd name="connsiteY18" fmla="*/ 1362075 h 4429294"/>
              <a:gd name="connsiteX19" fmla="*/ 4374344 w 4501379"/>
              <a:gd name="connsiteY19" fmla="*/ 1552575 h 4429294"/>
              <a:gd name="connsiteX20" fmla="*/ 4412444 w 4501379"/>
              <a:gd name="connsiteY20" fmla="*/ 1685925 h 4429294"/>
              <a:gd name="connsiteX21" fmla="*/ 4501344 w 4501379"/>
              <a:gd name="connsiteY21" fmla="*/ 2181225 h 4429294"/>
              <a:gd name="connsiteX22" fmla="*/ 4428319 w 4501379"/>
              <a:gd name="connsiteY22" fmla="*/ 2768600 h 4429294"/>
              <a:gd name="connsiteX23" fmla="*/ 4364819 w 4501379"/>
              <a:gd name="connsiteY23" fmla="*/ 2990850 h 4429294"/>
              <a:gd name="connsiteX24" fmla="*/ 4260044 w 4501379"/>
              <a:gd name="connsiteY24" fmla="*/ 3248025 h 4429294"/>
              <a:gd name="connsiteX25" fmla="*/ 4164794 w 4501379"/>
              <a:gd name="connsiteY25" fmla="*/ 3400425 h 4429294"/>
              <a:gd name="connsiteX26" fmla="*/ 4040969 w 4501379"/>
              <a:gd name="connsiteY26" fmla="*/ 3533775 h 4429294"/>
              <a:gd name="connsiteX27" fmla="*/ 3936194 w 4501379"/>
              <a:gd name="connsiteY27" fmla="*/ 3648075 h 4429294"/>
              <a:gd name="connsiteX28" fmla="*/ 3640919 w 4501379"/>
              <a:gd name="connsiteY28" fmla="*/ 3971925 h 4429294"/>
              <a:gd name="connsiteX29" fmla="*/ 3498044 w 4501379"/>
              <a:gd name="connsiteY29" fmla="*/ 4083050 h 4429294"/>
              <a:gd name="connsiteX30" fmla="*/ 3202769 w 4501379"/>
              <a:gd name="connsiteY30" fmla="*/ 4222750 h 4429294"/>
              <a:gd name="connsiteX31" fmla="*/ 3050369 w 4501379"/>
              <a:gd name="connsiteY31" fmla="*/ 4286250 h 4429294"/>
              <a:gd name="connsiteX32" fmla="*/ 2917019 w 4501379"/>
              <a:gd name="connsiteY32" fmla="*/ 4333875 h 4429294"/>
              <a:gd name="connsiteX33" fmla="*/ 2793194 w 4501379"/>
              <a:gd name="connsiteY33" fmla="*/ 4371975 h 4429294"/>
              <a:gd name="connsiteX34" fmla="*/ 2561419 w 4501379"/>
              <a:gd name="connsiteY34" fmla="*/ 4391025 h 4429294"/>
              <a:gd name="connsiteX35" fmla="*/ 2107394 w 4501379"/>
              <a:gd name="connsiteY35" fmla="*/ 4429125 h 4429294"/>
              <a:gd name="connsiteX36" fmla="*/ 1916894 w 4501379"/>
              <a:gd name="connsiteY36" fmla="*/ 4400550 h 4429294"/>
              <a:gd name="connsiteX37" fmla="*/ 1554944 w 4501379"/>
              <a:gd name="connsiteY37" fmla="*/ 4305300 h 4429294"/>
              <a:gd name="connsiteX38" fmla="*/ 1313644 w 4501379"/>
              <a:gd name="connsiteY38" fmla="*/ 4216400 h 4429294"/>
              <a:gd name="connsiteX39" fmla="*/ 1145369 w 4501379"/>
              <a:gd name="connsiteY39" fmla="*/ 4111625 h 4429294"/>
              <a:gd name="connsiteX40" fmla="*/ 926294 w 4501379"/>
              <a:gd name="connsiteY40" fmla="*/ 3968750 h 4429294"/>
              <a:gd name="connsiteX41" fmla="*/ 592919 w 4501379"/>
              <a:gd name="connsiteY41" fmla="*/ 3657600 h 4429294"/>
              <a:gd name="connsiteX42" fmla="*/ 446869 w 4501379"/>
              <a:gd name="connsiteY42" fmla="*/ 3470275 h 4429294"/>
              <a:gd name="connsiteX43" fmla="*/ 316694 w 4501379"/>
              <a:gd name="connsiteY43" fmla="*/ 3244850 h 4429294"/>
              <a:gd name="connsiteX44" fmla="*/ 164294 w 4501379"/>
              <a:gd name="connsiteY44" fmla="*/ 2892425 h 4429294"/>
              <a:gd name="connsiteX45" fmla="*/ 56344 w 4501379"/>
              <a:gd name="connsiteY45" fmla="*/ 2368550 h 4429294"/>
              <a:gd name="connsiteX46" fmla="*/ 2369 w 4501379"/>
              <a:gd name="connsiteY46" fmla="*/ 1905000 h 4429294"/>
              <a:gd name="connsiteX47" fmla="*/ 11894 w 4501379"/>
              <a:gd name="connsiteY47" fmla="*/ 1838325 h 4429294"/>
              <a:gd name="connsiteX48" fmla="*/ 30944 w 4501379"/>
              <a:gd name="connsiteY48" fmla="*/ 1781175 h 4429294"/>
              <a:gd name="connsiteX49" fmla="*/ 40469 w 4501379"/>
              <a:gd name="connsiteY49" fmla="*/ 1743075 h 4429294"/>
              <a:gd name="connsiteX50" fmla="*/ 59519 w 4501379"/>
              <a:gd name="connsiteY50" fmla="*/ 1685925 h 4429294"/>
              <a:gd name="connsiteX51" fmla="*/ 69044 w 4501379"/>
              <a:gd name="connsiteY51" fmla="*/ 1638300 h 4429294"/>
              <a:gd name="connsiteX52" fmla="*/ 88094 w 4501379"/>
              <a:gd name="connsiteY52" fmla="*/ 1590675 h 4429294"/>
              <a:gd name="connsiteX53" fmla="*/ 116669 w 4501379"/>
              <a:gd name="connsiteY53" fmla="*/ 1504950 h 4429294"/>
              <a:gd name="connsiteX54" fmla="*/ 135719 w 4501379"/>
              <a:gd name="connsiteY54" fmla="*/ 1419225 h 4429294"/>
              <a:gd name="connsiteX55" fmla="*/ 211919 w 4501379"/>
              <a:gd name="connsiteY55" fmla="*/ 1276350 h 4429294"/>
              <a:gd name="connsiteX56" fmla="*/ 221444 w 4501379"/>
              <a:gd name="connsiteY56" fmla="*/ 1247775 h 4429294"/>
              <a:gd name="connsiteX57" fmla="*/ 250019 w 4501379"/>
              <a:gd name="connsiteY57" fmla="*/ 1200150 h 4429294"/>
              <a:gd name="connsiteX58" fmla="*/ 269069 w 4501379"/>
              <a:gd name="connsiteY58" fmla="*/ 1152525 h 4429294"/>
              <a:gd name="connsiteX59" fmla="*/ 297644 w 4501379"/>
              <a:gd name="connsiteY59" fmla="*/ 1114425 h 4429294"/>
              <a:gd name="connsiteX60" fmla="*/ 345269 w 4501379"/>
              <a:gd name="connsiteY60" fmla="*/ 1038225 h 4429294"/>
              <a:gd name="connsiteX61" fmla="*/ 364319 w 4501379"/>
              <a:gd name="connsiteY61" fmla="*/ 1009650 h 4429294"/>
              <a:gd name="connsiteX62" fmla="*/ 421469 w 4501379"/>
              <a:gd name="connsiteY62" fmla="*/ 904875 h 4429294"/>
              <a:gd name="connsiteX63" fmla="*/ 459569 w 4501379"/>
              <a:gd name="connsiteY63" fmla="*/ 857250 h 4429294"/>
              <a:gd name="connsiteX64" fmla="*/ 478619 w 4501379"/>
              <a:gd name="connsiteY64" fmla="*/ 828675 h 4429294"/>
              <a:gd name="connsiteX65" fmla="*/ 516719 w 4501379"/>
              <a:gd name="connsiteY65" fmla="*/ 800100 h 4429294"/>
              <a:gd name="connsiteX66" fmla="*/ 583394 w 4501379"/>
              <a:gd name="connsiteY66" fmla="*/ 733425 h 4429294"/>
              <a:gd name="connsiteX67" fmla="*/ 650069 w 4501379"/>
              <a:gd name="connsiteY67" fmla="*/ 676275 h 4429294"/>
              <a:gd name="connsiteX68" fmla="*/ 678644 w 4501379"/>
              <a:gd name="connsiteY68" fmla="*/ 657225 h 4429294"/>
              <a:gd name="connsiteX69" fmla="*/ 821519 w 4501379"/>
              <a:gd name="connsiteY69" fmla="*/ 533400 h 4429294"/>
              <a:gd name="connsiteX70" fmla="*/ 869144 w 4501379"/>
              <a:gd name="connsiteY70" fmla="*/ 504825 h 4429294"/>
              <a:gd name="connsiteX71" fmla="*/ 1148544 w 4501379"/>
              <a:gd name="connsiteY71" fmla="*/ 311150 h 4429294"/>
              <a:gd name="connsiteX72" fmla="*/ 1250144 w 4501379"/>
              <a:gd name="connsiteY72" fmla="*/ 285750 h 4429294"/>
              <a:gd name="connsiteX73" fmla="*/ 1393019 w 4501379"/>
              <a:gd name="connsiteY73" fmla="*/ 190500 h 4429294"/>
              <a:gd name="connsiteX74" fmla="*/ 1431119 w 4501379"/>
              <a:gd name="connsiteY74" fmla="*/ 161925 h 4429294"/>
              <a:gd name="connsiteX75" fmla="*/ 1507319 w 4501379"/>
              <a:gd name="connsiteY75" fmla="*/ 152400 h 4429294"/>
              <a:gd name="connsiteX76" fmla="*/ 1564469 w 4501379"/>
              <a:gd name="connsiteY76" fmla="*/ 142875 h 4429294"/>
              <a:gd name="connsiteX77" fmla="*/ 1697819 w 4501379"/>
              <a:gd name="connsiteY77" fmla="*/ 123825 h 4429294"/>
              <a:gd name="connsiteX78" fmla="*/ 1793069 w 4501379"/>
              <a:gd name="connsiteY78" fmla="*/ 114300 h 4429294"/>
              <a:gd name="connsiteX79" fmla="*/ 1840694 w 4501379"/>
              <a:gd name="connsiteY79" fmla="*/ 104775 h 4429294"/>
              <a:gd name="connsiteX80" fmla="*/ 1897844 w 4501379"/>
              <a:gd name="connsiteY80" fmla="*/ 95250 h 4429294"/>
              <a:gd name="connsiteX81" fmla="*/ 2012144 w 4501379"/>
              <a:gd name="connsiteY81" fmla="*/ 66675 h 4429294"/>
              <a:gd name="connsiteX82" fmla="*/ 2078819 w 4501379"/>
              <a:gd name="connsiteY82" fmla="*/ 47625 h 4429294"/>
              <a:gd name="connsiteX83" fmla="*/ 2145494 w 4501379"/>
              <a:gd name="connsiteY83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307544 w 4501379"/>
              <a:gd name="connsiteY6" fmla="*/ 266700 h 4429294"/>
              <a:gd name="connsiteX7" fmla="*/ 3402794 w 4501379"/>
              <a:gd name="connsiteY7" fmla="*/ 323850 h 4429294"/>
              <a:gd name="connsiteX8" fmla="*/ 3450419 w 4501379"/>
              <a:gd name="connsiteY8" fmla="*/ 361950 h 4429294"/>
              <a:gd name="connsiteX9" fmla="*/ 3498044 w 4501379"/>
              <a:gd name="connsiteY9" fmla="*/ 390525 h 4429294"/>
              <a:gd name="connsiteX10" fmla="*/ 3612344 w 4501379"/>
              <a:gd name="connsiteY10" fmla="*/ 485775 h 4429294"/>
              <a:gd name="connsiteX11" fmla="*/ 3726644 w 4501379"/>
              <a:gd name="connsiteY11" fmla="*/ 542925 h 4429294"/>
              <a:gd name="connsiteX12" fmla="*/ 3793319 w 4501379"/>
              <a:gd name="connsiteY12" fmla="*/ 581025 h 4429294"/>
              <a:gd name="connsiteX13" fmla="*/ 4009219 w 4501379"/>
              <a:gd name="connsiteY13" fmla="*/ 819150 h 4429294"/>
              <a:gd name="connsiteX14" fmla="*/ 4145744 w 4501379"/>
              <a:gd name="connsiteY14" fmla="*/ 990600 h 4429294"/>
              <a:gd name="connsiteX15" fmla="*/ 4231469 w 4501379"/>
              <a:gd name="connsiteY15" fmla="*/ 1143000 h 4429294"/>
              <a:gd name="connsiteX16" fmla="*/ 4288619 w 4501379"/>
              <a:gd name="connsiteY16" fmla="*/ 1266825 h 4429294"/>
              <a:gd name="connsiteX17" fmla="*/ 4326719 w 4501379"/>
              <a:gd name="connsiteY17" fmla="*/ 1362075 h 4429294"/>
              <a:gd name="connsiteX18" fmla="*/ 4374344 w 4501379"/>
              <a:gd name="connsiteY18" fmla="*/ 1552575 h 4429294"/>
              <a:gd name="connsiteX19" fmla="*/ 4412444 w 4501379"/>
              <a:gd name="connsiteY19" fmla="*/ 1685925 h 4429294"/>
              <a:gd name="connsiteX20" fmla="*/ 4501344 w 4501379"/>
              <a:gd name="connsiteY20" fmla="*/ 2181225 h 4429294"/>
              <a:gd name="connsiteX21" fmla="*/ 4428319 w 4501379"/>
              <a:gd name="connsiteY21" fmla="*/ 2768600 h 4429294"/>
              <a:gd name="connsiteX22" fmla="*/ 4364819 w 4501379"/>
              <a:gd name="connsiteY22" fmla="*/ 2990850 h 4429294"/>
              <a:gd name="connsiteX23" fmla="*/ 4260044 w 4501379"/>
              <a:gd name="connsiteY23" fmla="*/ 3248025 h 4429294"/>
              <a:gd name="connsiteX24" fmla="*/ 4164794 w 4501379"/>
              <a:gd name="connsiteY24" fmla="*/ 3400425 h 4429294"/>
              <a:gd name="connsiteX25" fmla="*/ 4040969 w 4501379"/>
              <a:gd name="connsiteY25" fmla="*/ 3533775 h 4429294"/>
              <a:gd name="connsiteX26" fmla="*/ 3936194 w 4501379"/>
              <a:gd name="connsiteY26" fmla="*/ 3648075 h 4429294"/>
              <a:gd name="connsiteX27" fmla="*/ 3640919 w 4501379"/>
              <a:gd name="connsiteY27" fmla="*/ 3971925 h 4429294"/>
              <a:gd name="connsiteX28" fmla="*/ 3498044 w 4501379"/>
              <a:gd name="connsiteY28" fmla="*/ 4083050 h 4429294"/>
              <a:gd name="connsiteX29" fmla="*/ 3202769 w 4501379"/>
              <a:gd name="connsiteY29" fmla="*/ 4222750 h 4429294"/>
              <a:gd name="connsiteX30" fmla="*/ 3050369 w 4501379"/>
              <a:gd name="connsiteY30" fmla="*/ 4286250 h 4429294"/>
              <a:gd name="connsiteX31" fmla="*/ 2917019 w 4501379"/>
              <a:gd name="connsiteY31" fmla="*/ 4333875 h 4429294"/>
              <a:gd name="connsiteX32" fmla="*/ 2793194 w 4501379"/>
              <a:gd name="connsiteY32" fmla="*/ 4371975 h 4429294"/>
              <a:gd name="connsiteX33" fmla="*/ 2561419 w 4501379"/>
              <a:gd name="connsiteY33" fmla="*/ 4391025 h 4429294"/>
              <a:gd name="connsiteX34" fmla="*/ 2107394 w 4501379"/>
              <a:gd name="connsiteY34" fmla="*/ 4429125 h 4429294"/>
              <a:gd name="connsiteX35" fmla="*/ 1916894 w 4501379"/>
              <a:gd name="connsiteY35" fmla="*/ 4400550 h 4429294"/>
              <a:gd name="connsiteX36" fmla="*/ 1554944 w 4501379"/>
              <a:gd name="connsiteY36" fmla="*/ 4305300 h 4429294"/>
              <a:gd name="connsiteX37" fmla="*/ 1313644 w 4501379"/>
              <a:gd name="connsiteY37" fmla="*/ 4216400 h 4429294"/>
              <a:gd name="connsiteX38" fmla="*/ 1145369 w 4501379"/>
              <a:gd name="connsiteY38" fmla="*/ 4111625 h 4429294"/>
              <a:gd name="connsiteX39" fmla="*/ 926294 w 4501379"/>
              <a:gd name="connsiteY39" fmla="*/ 3968750 h 4429294"/>
              <a:gd name="connsiteX40" fmla="*/ 592919 w 4501379"/>
              <a:gd name="connsiteY40" fmla="*/ 3657600 h 4429294"/>
              <a:gd name="connsiteX41" fmla="*/ 446869 w 4501379"/>
              <a:gd name="connsiteY41" fmla="*/ 3470275 h 4429294"/>
              <a:gd name="connsiteX42" fmla="*/ 316694 w 4501379"/>
              <a:gd name="connsiteY42" fmla="*/ 3244850 h 4429294"/>
              <a:gd name="connsiteX43" fmla="*/ 164294 w 4501379"/>
              <a:gd name="connsiteY43" fmla="*/ 2892425 h 4429294"/>
              <a:gd name="connsiteX44" fmla="*/ 56344 w 4501379"/>
              <a:gd name="connsiteY44" fmla="*/ 2368550 h 4429294"/>
              <a:gd name="connsiteX45" fmla="*/ 2369 w 4501379"/>
              <a:gd name="connsiteY45" fmla="*/ 1905000 h 4429294"/>
              <a:gd name="connsiteX46" fmla="*/ 11894 w 4501379"/>
              <a:gd name="connsiteY46" fmla="*/ 1838325 h 4429294"/>
              <a:gd name="connsiteX47" fmla="*/ 30944 w 4501379"/>
              <a:gd name="connsiteY47" fmla="*/ 1781175 h 4429294"/>
              <a:gd name="connsiteX48" fmla="*/ 40469 w 4501379"/>
              <a:gd name="connsiteY48" fmla="*/ 1743075 h 4429294"/>
              <a:gd name="connsiteX49" fmla="*/ 59519 w 4501379"/>
              <a:gd name="connsiteY49" fmla="*/ 1685925 h 4429294"/>
              <a:gd name="connsiteX50" fmla="*/ 69044 w 4501379"/>
              <a:gd name="connsiteY50" fmla="*/ 1638300 h 4429294"/>
              <a:gd name="connsiteX51" fmla="*/ 88094 w 4501379"/>
              <a:gd name="connsiteY51" fmla="*/ 1590675 h 4429294"/>
              <a:gd name="connsiteX52" fmla="*/ 116669 w 4501379"/>
              <a:gd name="connsiteY52" fmla="*/ 1504950 h 4429294"/>
              <a:gd name="connsiteX53" fmla="*/ 135719 w 4501379"/>
              <a:gd name="connsiteY53" fmla="*/ 1419225 h 4429294"/>
              <a:gd name="connsiteX54" fmla="*/ 211919 w 4501379"/>
              <a:gd name="connsiteY54" fmla="*/ 1276350 h 4429294"/>
              <a:gd name="connsiteX55" fmla="*/ 221444 w 4501379"/>
              <a:gd name="connsiteY55" fmla="*/ 1247775 h 4429294"/>
              <a:gd name="connsiteX56" fmla="*/ 250019 w 4501379"/>
              <a:gd name="connsiteY56" fmla="*/ 1200150 h 4429294"/>
              <a:gd name="connsiteX57" fmla="*/ 269069 w 4501379"/>
              <a:gd name="connsiteY57" fmla="*/ 1152525 h 4429294"/>
              <a:gd name="connsiteX58" fmla="*/ 297644 w 4501379"/>
              <a:gd name="connsiteY58" fmla="*/ 1114425 h 4429294"/>
              <a:gd name="connsiteX59" fmla="*/ 345269 w 4501379"/>
              <a:gd name="connsiteY59" fmla="*/ 1038225 h 4429294"/>
              <a:gd name="connsiteX60" fmla="*/ 364319 w 4501379"/>
              <a:gd name="connsiteY60" fmla="*/ 1009650 h 4429294"/>
              <a:gd name="connsiteX61" fmla="*/ 421469 w 4501379"/>
              <a:gd name="connsiteY61" fmla="*/ 904875 h 4429294"/>
              <a:gd name="connsiteX62" fmla="*/ 459569 w 4501379"/>
              <a:gd name="connsiteY62" fmla="*/ 857250 h 4429294"/>
              <a:gd name="connsiteX63" fmla="*/ 478619 w 4501379"/>
              <a:gd name="connsiteY63" fmla="*/ 828675 h 4429294"/>
              <a:gd name="connsiteX64" fmla="*/ 516719 w 4501379"/>
              <a:gd name="connsiteY64" fmla="*/ 800100 h 4429294"/>
              <a:gd name="connsiteX65" fmla="*/ 583394 w 4501379"/>
              <a:gd name="connsiteY65" fmla="*/ 733425 h 4429294"/>
              <a:gd name="connsiteX66" fmla="*/ 650069 w 4501379"/>
              <a:gd name="connsiteY66" fmla="*/ 676275 h 4429294"/>
              <a:gd name="connsiteX67" fmla="*/ 678644 w 4501379"/>
              <a:gd name="connsiteY67" fmla="*/ 657225 h 4429294"/>
              <a:gd name="connsiteX68" fmla="*/ 821519 w 4501379"/>
              <a:gd name="connsiteY68" fmla="*/ 533400 h 4429294"/>
              <a:gd name="connsiteX69" fmla="*/ 869144 w 4501379"/>
              <a:gd name="connsiteY69" fmla="*/ 504825 h 4429294"/>
              <a:gd name="connsiteX70" fmla="*/ 1148544 w 4501379"/>
              <a:gd name="connsiteY70" fmla="*/ 311150 h 4429294"/>
              <a:gd name="connsiteX71" fmla="*/ 1250144 w 4501379"/>
              <a:gd name="connsiteY71" fmla="*/ 285750 h 4429294"/>
              <a:gd name="connsiteX72" fmla="*/ 1393019 w 4501379"/>
              <a:gd name="connsiteY72" fmla="*/ 190500 h 4429294"/>
              <a:gd name="connsiteX73" fmla="*/ 1431119 w 4501379"/>
              <a:gd name="connsiteY73" fmla="*/ 161925 h 4429294"/>
              <a:gd name="connsiteX74" fmla="*/ 1507319 w 4501379"/>
              <a:gd name="connsiteY74" fmla="*/ 152400 h 4429294"/>
              <a:gd name="connsiteX75" fmla="*/ 1564469 w 4501379"/>
              <a:gd name="connsiteY75" fmla="*/ 142875 h 4429294"/>
              <a:gd name="connsiteX76" fmla="*/ 1697819 w 4501379"/>
              <a:gd name="connsiteY76" fmla="*/ 123825 h 4429294"/>
              <a:gd name="connsiteX77" fmla="*/ 1793069 w 4501379"/>
              <a:gd name="connsiteY77" fmla="*/ 114300 h 4429294"/>
              <a:gd name="connsiteX78" fmla="*/ 1840694 w 4501379"/>
              <a:gd name="connsiteY78" fmla="*/ 104775 h 4429294"/>
              <a:gd name="connsiteX79" fmla="*/ 1897844 w 4501379"/>
              <a:gd name="connsiteY79" fmla="*/ 95250 h 4429294"/>
              <a:gd name="connsiteX80" fmla="*/ 2012144 w 4501379"/>
              <a:gd name="connsiteY80" fmla="*/ 66675 h 4429294"/>
              <a:gd name="connsiteX81" fmla="*/ 2078819 w 4501379"/>
              <a:gd name="connsiteY81" fmla="*/ 47625 h 4429294"/>
              <a:gd name="connsiteX82" fmla="*/ 2145494 w 4501379"/>
              <a:gd name="connsiteY82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307544 w 4501379"/>
              <a:gd name="connsiteY5" fmla="*/ 266700 h 4429294"/>
              <a:gd name="connsiteX6" fmla="*/ 3402794 w 4501379"/>
              <a:gd name="connsiteY6" fmla="*/ 323850 h 4429294"/>
              <a:gd name="connsiteX7" fmla="*/ 3450419 w 4501379"/>
              <a:gd name="connsiteY7" fmla="*/ 361950 h 4429294"/>
              <a:gd name="connsiteX8" fmla="*/ 3498044 w 4501379"/>
              <a:gd name="connsiteY8" fmla="*/ 390525 h 4429294"/>
              <a:gd name="connsiteX9" fmla="*/ 3612344 w 4501379"/>
              <a:gd name="connsiteY9" fmla="*/ 485775 h 4429294"/>
              <a:gd name="connsiteX10" fmla="*/ 3726644 w 4501379"/>
              <a:gd name="connsiteY10" fmla="*/ 542925 h 4429294"/>
              <a:gd name="connsiteX11" fmla="*/ 3793319 w 4501379"/>
              <a:gd name="connsiteY11" fmla="*/ 581025 h 4429294"/>
              <a:gd name="connsiteX12" fmla="*/ 4009219 w 4501379"/>
              <a:gd name="connsiteY12" fmla="*/ 819150 h 4429294"/>
              <a:gd name="connsiteX13" fmla="*/ 4145744 w 4501379"/>
              <a:gd name="connsiteY13" fmla="*/ 990600 h 4429294"/>
              <a:gd name="connsiteX14" fmla="*/ 4231469 w 4501379"/>
              <a:gd name="connsiteY14" fmla="*/ 1143000 h 4429294"/>
              <a:gd name="connsiteX15" fmla="*/ 4288619 w 4501379"/>
              <a:gd name="connsiteY15" fmla="*/ 1266825 h 4429294"/>
              <a:gd name="connsiteX16" fmla="*/ 4326719 w 4501379"/>
              <a:gd name="connsiteY16" fmla="*/ 1362075 h 4429294"/>
              <a:gd name="connsiteX17" fmla="*/ 4374344 w 4501379"/>
              <a:gd name="connsiteY17" fmla="*/ 1552575 h 4429294"/>
              <a:gd name="connsiteX18" fmla="*/ 4412444 w 4501379"/>
              <a:gd name="connsiteY18" fmla="*/ 1685925 h 4429294"/>
              <a:gd name="connsiteX19" fmla="*/ 4501344 w 4501379"/>
              <a:gd name="connsiteY19" fmla="*/ 2181225 h 4429294"/>
              <a:gd name="connsiteX20" fmla="*/ 4428319 w 4501379"/>
              <a:gd name="connsiteY20" fmla="*/ 2768600 h 4429294"/>
              <a:gd name="connsiteX21" fmla="*/ 4364819 w 4501379"/>
              <a:gd name="connsiteY21" fmla="*/ 2990850 h 4429294"/>
              <a:gd name="connsiteX22" fmla="*/ 4260044 w 4501379"/>
              <a:gd name="connsiteY22" fmla="*/ 3248025 h 4429294"/>
              <a:gd name="connsiteX23" fmla="*/ 4164794 w 4501379"/>
              <a:gd name="connsiteY23" fmla="*/ 3400425 h 4429294"/>
              <a:gd name="connsiteX24" fmla="*/ 4040969 w 4501379"/>
              <a:gd name="connsiteY24" fmla="*/ 3533775 h 4429294"/>
              <a:gd name="connsiteX25" fmla="*/ 3936194 w 4501379"/>
              <a:gd name="connsiteY25" fmla="*/ 3648075 h 4429294"/>
              <a:gd name="connsiteX26" fmla="*/ 3640919 w 4501379"/>
              <a:gd name="connsiteY26" fmla="*/ 3971925 h 4429294"/>
              <a:gd name="connsiteX27" fmla="*/ 3498044 w 4501379"/>
              <a:gd name="connsiteY27" fmla="*/ 4083050 h 4429294"/>
              <a:gd name="connsiteX28" fmla="*/ 3202769 w 4501379"/>
              <a:gd name="connsiteY28" fmla="*/ 4222750 h 4429294"/>
              <a:gd name="connsiteX29" fmla="*/ 3050369 w 4501379"/>
              <a:gd name="connsiteY29" fmla="*/ 4286250 h 4429294"/>
              <a:gd name="connsiteX30" fmla="*/ 2917019 w 4501379"/>
              <a:gd name="connsiteY30" fmla="*/ 4333875 h 4429294"/>
              <a:gd name="connsiteX31" fmla="*/ 2793194 w 4501379"/>
              <a:gd name="connsiteY31" fmla="*/ 4371975 h 4429294"/>
              <a:gd name="connsiteX32" fmla="*/ 2561419 w 4501379"/>
              <a:gd name="connsiteY32" fmla="*/ 4391025 h 4429294"/>
              <a:gd name="connsiteX33" fmla="*/ 2107394 w 4501379"/>
              <a:gd name="connsiteY33" fmla="*/ 4429125 h 4429294"/>
              <a:gd name="connsiteX34" fmla="*/ 1916894 w 4501379"/>
              <a:gd name="connsiteY34" fmla="*/ 4400550 h 4429294"/>
              <a:gd name="connsiteX35" fmla="*/ 1554944 w 4501379"/>
              <a:gd name="connsiteY35" fmla="*/ 4305300 h 4429294"/>
              <a:gd name="connsiteX36" fmla="*/ 1313644 w 4501379"/>
              <a:gd name="connsiteY36" fmla="*/ 4216400 h 4429294"/>
              <a:gd name="connsiteX37" fmla="*/ 1145369 w 4501379"/>
              <a:gd name="connsiteY37" fmla="*/ 4111625 h 4429294"/>
              <a:gd name="connsiteX38" fmla="*/ 926294 w 4501379"/>
              <a:gd name="connsiteY38" fmla="*/ 3968750 h 4429294"/>
              <a:gd name="connsiteX39" fmla="*/ 592919 w 4501379"/>
              <a:gd name="connsiteY39" fmla="*/ 3657600 h 4429294"/>
              <a:gd name="connsiteX40" fmla="*/ 446869 w 4501379"/>
              <a:gd name="connsiteY40" fmla="*/ 3470275 h 4429294"/>
              <a:gd name="connsiteX41" fmla="*/ 316694 w 4501379"/>
              <a:gd name="connsiteY41" fmla="*/ 3244850 h 4429294"/>
              <a:gd name="connsiteX42" fmla="*/ 164294 w 4501379"/>
              <a:gd name="connsiteY42" fmla="*/ 2892425 h 4429294"/>
              <a:gd name="connsiteX43" fmla="*/ 56344 w 4501379"/>
              <a:gd name="connsiteY43" fmla="*/ 2368550 h 4429294"/>
              <a:gd name="connsiteX44" fmla="*/ 2369 w 4501379"/>
              <a:gd name="connsiteY44" fmla="*/ 1905000 h 4429294"/>
              <a:gd name="connsiteX45" fmla="*/ 11894 w 4501379"/>
              <a:gd name="connsiteY45" fmla="*/ 1838325 h 4429294"/>
              <a:gd name="connsiteX46" fmla="*/ 30944 w 4501379"/>
              <a:gd name="connsiteY46" fmla="*/ 1781175 h 4429294"/>
              <a:gd name="connsiteX47" fmla="*/ 40469 w 4501379"/>
              <a:gd name="connsiteY47" fmla="*/ 1743075 h 4429294"/>
              <a:gd name="connsiteX48" fmla="*/ 59519 w 4501379"/>
              <a:gd name="connsiteY48" fmla="*/ 1685925 h 4429294"/>
              <a:gd name="connsiteX49" fmla="*/ 69044 w 4501379"/>
              <a:gd name="connsiteY49" fmla="*/ 1638300 h 4429294"/>
              <a:gd name="connsiteX50" fmla="*/ 88094 w 4501379"/>
              <a:gd name="connsiteY50" fmla="*/ 1590675 h 4429294"/>
              <a:gd name="connsiteX51" fmla="*/ 116669 w 4501379"/>
              <a:gd name="connsiteY51" fmla="*/ 1504950 h 4429294"/>
              <a:gd name="connsiteX52" fmla="*/ 135719 w 4501379"/>
              <a:gd name="connsiteY52" fmla="*/ 1419225 h 4429294"/>
              <a:gd name="connsiteX53" fmla="*/ 211919 w 4501379"/>
              <a:gd name="connsiteY53" fmla="*/ 1276350 h 4429294"/>
              <a:gd name="connsiteX54" fmla="*/ 221444 w 4501379"/>
              <a:gd name="connsiteY54" fmla="*/ 1247775 h 4429294"/>
              <a:gd name="connsiteX55" fmla="*/ 250019 w 4501379"/>
              <a:gd name="connsiteY55" fmla="*/ 1200150 h 4429294"/>
              <a:gd name="connsiteX56" fmla="*/ 269069 w 4501379"/>
              <a:gd name="connsiteY56" fmla="*/ 1152525 h 4429294"/>
              <a:gd name="connsiteX57" fmla="*/ 297644 w 4501379"/>
              <a:gd name="connsiteY57" fmla="*/ 1114425 h 4429294"/>
              <a:gd name="connsiteX58" fmla="*/ 345269 w 4501379"/>
              <a:gd name="connsiteY58" fmla="*/ 1038225 h 4429294"/>
              <a:gd name="connsiteX59" fmla="*/ 364319 w 4501379"/>
              <a:gd name="connsiteY59" fmla="*/ 1009650 h 4429294"/>
              <a:gd name="connsiteX60" fmla="*/ 421469 w 4501379"/>
              <a:gd name="connsiteY60" fmla="*/ 904875 h 4429294"/>
              <a:gd name="connsiteX61" fmla="*/ 459569 w 4501379"/>
              <a:gd name="connsiteY61" fmla="*/ 857250 h 4429294"/>
              <a:gd name="connsiteX62" fmla="*/ 478619 w 4501379"/>
              <a:gd name="connsiteY62" fmla="*/ 828675 h 4429294"/>
              <a:gd name="connsiteX63" fmla="*/ 516719 w 4501379"/>
              <a:gd name="connsiteY63" fmla="*/ 800100 h 4429294"/>
              <a:gd name="connsiteX64" fmla="*/ 583394 w 4501379"/>
              <a:gd name="connsiteY64" fmla="*/ 733425 h 4429294"/>
              <a:gd name="connsiteX65" fmla="*/ 650069 w 4501379"/>
              <a:gd name="connsiteY65" fmla="*/ 676275 h 4429294"/>
              <a:gd name="connsiteX66" fmla="*/ 678644 w 4501379"/>
              <a:gd name="connsiteY66" fmla="*/ 657225 h 4429294"/>
              <a:gd name="connsiteX67" fmla="*/ 821519 w 4501379"/>
              <a:gd name="connsiteY67" fmla="*/ 533400 h 4429294"/>
              <a:gd name="connsiteX68" fmla="*/ 869144 w 4501379"/>
              <a:gd name="connsiteY68" fmla="*/ 504825 h 4429294"/>
              <a:gd name="connsiteX69" fmla="*/ 1148544 w 4501379"/>
              <a:gd name="connsiteY69" fmla="*/ 311150 h 4429294"/>
              <a:gd name="connsiteX70" fmla="*/ 1250144 w 4501379"/>
              <a:gd name="connsiteY70" fmla="*/ 285750 h 4429294"/>
              <a:gd name="connsiteX71" fmla="*/ 1393019 w 4501379"/>
              <a:gd name="connsiteY71" fmla="*/ 190500 h 4429294"/>
              <a:gd name="connsiteX72" fmla="*/ 1431119 w 4501379"/>
              <a:gd name="connsiteY72" fmla="*/ 161925 h 4429294"/>
              <a:gd name="connsiteX73" fmla="*/ 1507319 w 4501379"/>
              <a:gd name="connsiteY73" fmla="*/ 152400 h 4429294"/>
              <a:gd name="connsiteX74" fmla="*/ 1564469 w 4501379"/>
              <a:gd name="connsiteY74" fmla="*/ 142875 h 4429294"/>
              <a:gd name="connsiteX75" fmla="*/ 1697819 w 4501379"/>
              <a:gd name="connsiteY75" fmla="*/ 123825 h 4429294"/>
              <a:gd name="connsiteX76" fmla="*/ 1793069 w 4501379"/>
              <a:gd name="connsiteY76" fmla="*/ 114300 h 4429294"/>
              <a:gd name="connsiteX77" fmla="*/ 1840694 w 4501379"/>
              <a:gd name="connsiteY77" fmla="*/ 104775 h 4429294"/>
              <a:gd name="connsiteX78" fmla="*/ 1897844 w 4501379"/>
              <a:gd name="connsiteY78" fmla="*/ 95250 h 4429294"/>
              <a:gd name="connsiteX79" fmla="*/ 2012144 w 4501379"/>
              <a:gd name="connsiteY79" fmla="*/ 66675 h 4429294"/>
              <a:gd name="connsiteX80" fmla="*/ 2078819 w 4501379"/>
              <a:gd name="connsiteY80" fmla="*/ 47625 h 4429294"/>
              <a:gd name="connsiteX81" fmla="*/ 2145494 w 4501379"/>
              <a:gd name="connsiteY81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450419 w 4501379"/>
              <a:gd name="connsiteY6" fmla="*/ 361950 h 4429294"/>
              <a:gd name="connsiteX7" fmla="*/ 3498044 w 4501379"/>
              <a:gd name="connsiteY7" fmla="*/ 390525 h 4429294"/>
              <a:gd name="connsiteX8" fmla="*/ 3612344 w 4501379"/>
              <a:gd name="connsiteY8" fmla="*/ 485775 h 4429294"/>
              <a:gd name="connsiteX9" fmla="*/ 3726644 w 4501379"/>
              <a:gd name="connsiteY9" fmla="*/ 542925 h 4429294"/>
              <a:gd name="connsiteX10" fmla="*/ 3793319 w 4501379"/>
              <a:gd name="connsiteY10" fmla="*/ 581025 h 4429294"/>
              <a:gd name="connsiteX11" fmla="*/ 4009219 w 4501379"/>
              <a:gd name="connsiteY11" fmla="*/ 819150 h 4429294"/>
              <a:gd name="connsiteX12" fmla="*/ 4145744 w 4501379"/>
              <a:gd name="connsiteY12" fmla="*/ 990600 h 4429294"/>
              <a:gd name="connsiteX13" fmla="*/ 4231469 w 4501379"/>
              <a:gd name="connsiteY13" fmla="*/ 1143000 h 4429294"/>
              <a:gd name="connsiteX14" fmla="*/ 4288619 w 4501379"/>
              <a:gd name="connsiteY14" fmla="*/ 1266825 h 4429294"/>
              <a:gd name="connsiteX15" fmla="*/ 4326719 w 4501379"/>
              <a:gd name="connsiteY15" fmla="*/ 1362075 h 4429294"/>
              <a:gd name="connsiteX16" fmla="*/ 4374344 w 4501379"/>
              <a:gd name="connsiteY16" fmla="*/ 1552575 h 4429294"/>
              <a:gd name="connsiteX17" fmla="*/ 4412444 w 4501379"/>
              <a:gd name="connsiteY17" fmla="*/ 1685925 h 4429294"/>
              <a:gd name="connsiteX18" fmla="*/ 4501344 w 4501379"/>
              <a:gd name="connsiteY18" fmla="*/ 2181225 h 4429294"/>
              <a:gd name="connsiteX19" fmla="*/ 4428319 w 4501379"/>
              <a:gd name="connsiteY19" fmla="*/ 2768600 h 4429294"/>
              <a:gd name="connsiteX20" fmla="*/ 4364819 w 4501379"/>
              <a:gd name="connsiteY20" fmla="*/ 2990850 h 4429294"/>
              <a:gd name="connsiteX21" fmla="*/ 4260044 w 4501379"/>
              <a:gd name="connsiteY21" fmla="*/ 3248025 h 4429294"/>
              <a:gd name="connsiteX22" fmla="*/ 4164794 w 4501379"/>
              <a:gd name="connsiteY22" fmla="*/ 3400425 h 4429294"/>
              <a:gd name="connsiteX23" fmla="*/ 4040969 w 4501379"/>
              <a:gd name="connsiteY23" fmla="*/ 3533775 h 4429294"/>
              <a:gd name="connsiteX24" fmla="*/ 3936194 w 4501379"/>
              <a:gd name="connsiteY24" fmla="*/ 3648075 h 4429294"/>
              <a:gd name="connsiteX25" fmla="*/ 3640919 w 4501379"/>
              <a:gd name="connsiteY25" fmla="*/ 3971925 h 4429294"/>
              <a:gd name="connsiteX26" fmla="*/ 3498044 w 4501379"/>
              <a:gd name="connsiteY26" fmla="*/ 4083050 h 4429294"/>
              <a:gd name="connsiteX27" fmla="*/ 3202769 w 4501379"/>
              <a:gd name="connsiteY27" fmla="*/ 4222750 h 4429294"/>
              <a:gd name="connsiteX28" fmla="*/ 3050369 w 4501379"/>
              <a:gd name="connsiteY28" fmla="*/ 4286250 h 4429294"/>
              <a:gd name="connsiteX29" fmla="*/ 2917019 w 4501379"/>
              <a:gd name="connsiteY29" fmla="*/ 4333875 h 4429294"/>
              <a:gd name="connsiteX30" fmla="*/ 2793194 w 4501379"/>
              <a:gd name="connsiteY30" fmla="*/ 4371975 h 4429294"/>
              <a:gd name="connsiteX31" fmla="*/ 2561419 w 4501379"/>
              <a:gd name="connsiteY31" fmla="*/ 4391025 h 4429294"/>
              <a:gd name="connsiteX32" fmla="*/ 2107394 w 4501379"/>
              <a:gd name="connsiteY32" fmla="*/ 4429125 h 4429294"/>
              <a:gd name="connsiteX33" fmla="*/ 1916894 w 4501379"/>
              <a:gd name="connsiteY33" fmla="*/ 4400550 h 4429294"/>
              <a:gd name="connsiteX34" fmla="*/ 1554944 w 4501379"/>
              <a:gd name="connsiteY34" fmla="*/ 4305300 h 4429294"/>
              <a:gd name="connsiteX35" fmla="*/ 1313644 w 4501379"/>
              <a:gd name="connsiteY35" fmla="*/ 4216400 h 4429294"/>
              <a:gd name="connsiteX36" fmla="*/ 1145369 w 4501379"/>
              <a:gd name="connsiteY36" fmla="*/ 4111625 h 4429294"/>
              <a:gd name="connsiteX37" fmla="*/ 926294 w 4501379"/>
              <a:gd name="connsiteY37" fmla="*/ 3968750 h 4429294"/>
              <a:gd name="connsiteX38" fmla="*/ 592919 w 4501379"/>
              <a:gd name="connsiteY38" fmla="*/ 3657600 h 4429294"/>
              <a:gd name="connsiteX39" fmla="*/ 446869 w 4501379"/>
              <a:gd name="connsiteY39" fmla="*/ 3470275 h 4429294"/>
              <a:gd name="connsiteX40" fmla="*/ 316694 w 4501379"/>
              <a:gd name="connsiteY40" fmla="*/ 3244850 h 4429294"/>
              <a:gd name="connsiteX41" fmla="*/ 164294 w 4501379"/>
              <a:gd name="connsiteY41" fmla="*/ 2892425 h 4429294"/>
              <a:gd name="connsiteX42" fmla="*/ 56344 w 4501379"/>
              <a:gd name="connsiteY42" fmla="*/ 2368550 h 4429294"/>
              <a:gd name="connsiteX43" fmla="*/ 2369 w 4501379"/>
              <a:gd name="connsiteY43" fmla="*/ 1905000 h 4429294"/>
              <a:gd name="connsiteX44" fmla="*/ 11894 w 4501379"/>
              <a:gd name="connsiteY44" fmla="*/ 1838325 h 4429294"/>
              <a:gd name="connsiteX45" fmla="*/ 30944 w 4501379"/>
              <a:gd name="connsiteY45" fmla="*/ 1781175 h 4429294"/>
              <a:gd name="connsiteX46" fmla="*/ 40469 w 4501379"/>
              <a:gd name="connsiteY46" fmla="*/ 1743075 h 4429294"/>
              <a:gd name="connsiteX47" fmla="*/ 59519 w 4501379"/>
              <a:gd name="connsiteY47" fmla="*/ 1685925 h 4429294"/>
              <a:gd name="connsiteX48" fmla="*/ 69044 w 4501379"/>
              <a:gd name="connsiteY48" fmla="*/ 1638300 h 4429294"/>
              <a:gd name="connsiteX49" fmla="*/ 88094 w 4501379"/>
              <a:gd name="connsiteY49" fmla="*/ 1590675 h 4429294"/>
              <a:gd name="connsiteX50" fmla="*/ 116669 w 4501379"/>
              <a:gd name="connsiteY50" fmla="*/ 1504950 h 4429294"/>
              <a:gd name="connsiteX51" fmla="*/ 135719 w 4501379"/>
              <a:gd name="connsiteY51" fmla="*/ 1419225 h 4429294"/>
              <a:gd name="connsiteX52" fmla="*/ 211919 w 4501379"/>
              <a:gd name="connsiteY52" fmla="*/ 1276350 h 4429294"/>
              <a:gd name="connsiteX53" fmla="*/ 221444 w 4501379"/>
              <a:gd name="connsiteY53" fmla="*/ 1247775 h 4429294"/>
              <a:gd name="connsiteX54" fmla="*/ 250019 w 4501379"/>
              <a:gd name="connsiteY54" fmla="*/ 1200150 h 4429294"/>
              <a:gd name="connsiteX55" fmla="*/ 269069 w 4501379"/>
              <a:gd name="connsiteY55" fmla="*/ 1152525 h 4429294"/>
              <a:gd name="connsiteX56" fmla="*/ 297644 w 4501379"/>
              <a:gd name="connsiteY56" fmla="*/ 1114425 h 4429294"/>
              <a:gd name="connsiteX57" fmla="*/ 345269 w 4501379"/>
              <a:gd name="connsiteY57" fmla="*/ 1038225 h 4429294"/>
              <a:gd name="connsiteX58" fmla="*/ 364319 w 4501379"/>
              <a:gd name="connsiteY58" fmla="*/ 1009650 h 4429294"/>
              <a:gd name="connsiteX59" fmla="*/ 421469 w 4501379"/>
              <a:gd name="connsiteY59" fmla="*/ 904875 h 4429294"/>
              <a:gd name="connsiteX60" fmla="*/ 459569 w 4501379"/>
              <a:gd name="connsiteY60" fmla="*/ 857250 h 4429294"/>
              <a:gd name="connsiteX61" fmla="*/ 478619 w 4501379"/>
              <a:gd name="connsiteY61" fmla="*/ 828675 h 4429294"/>
              <a:gd name="connsiteX62" fmla="*/ 516719 w 4501379"/>
              <a:gd name="connsiteY62" fmla="*/ 800100 h 4429294"/>
              <a:gd name="connsiteX63" fmla="*/ 583394 w 4501379"/>
              <a:gd name="connsiteY63" fmla="*/ 733425 h 4429294"/>
              <a:gd name="connsiteX64" fmla="*/ 650069 w 4501379"/>
              <a:gd name="connsiteY64" fmla="*/ 676275 h 4429294"/>
              <a:gd name="connsiteX65" fmla="*/ 678644 w 4501379"/>
              <a:gd name="connsiteY65" fmla="*/ 657225 h 4429294"/>
              <a:gd name="connsiteX66" fmla="*/ 821519 w 4501379"/>
              <a:gd name="connsiteY66" fmla="*/ 533400 h 4429294"/>
              <a:gd name="connsiteX67" fmla="*/ 869144 w 4501379"/>
              <a:gd name="connsiteY67" fmla="*/ 504825 h 4429294"/>
              <a:gd name="connsiteX68" fmla="*/ 1148544 w 4501379"/>
              <a:gd name="connsiteY68" fmla="*/ 311150 h 4429294"/>
              <a:gd name="connsiteX69" fmla="*/ 1250144 w 4501379"/>
              <a:gd name="connsiteY69" fmla="*/ 285750 h 4429294"/>
              <a:gd name="connsiteX70" fmla="*/ 1393019 w 4501379"/>
              <a:gd name="connsiteY70" fmla="*/ 190500 h 4429294"/>
              <a:gd name="connsiteX71" fmla="*/ 1431119 w 4501379"/>
              <a:gd name="connsiteY71" fmla="*/ 161925 h 4429294"/>
              <a:gd name="connsiteX72" fmla="*/ 1507319 w 4501379"/>
              <a:gd name="connsiteY72" fmla="*/ 152400 h 4429294"/>
              <a:gd name="connsiteX73" fmla="*/ 1564469 w 4501379"/>
              <a:gd name="connsiteY73" fmla="*/ 142875 h 4429294"/>
              <a:gd name="connsiteX74" fmla="*/ 1697819 w 4501379"/>
              <a:gd name="connsiteY74" fmla="*/ 123825 h 4429294"/>
              <a:gd name="connsiteX75" fmla="*/ 1793069 w 4501379"/>
              <a:gd name="connsiteY75" fmla="*/ 114300 h 4429294"/>
              <a:gd name="connsiteX76" fmla="*/ 1840694 w 4501379"/>
              <a:gd name="connsiteY76" fmla="*/ 104775 h 4429294"/>
              <a:gd name="connsiteX77" fmla="*/ 1897844 w 4501379"/>
              <a:gd name="connsiteY77" fmla="*/ 95250 h 4429294"/>
              <a:gd name="connsiteX78" fmla="*/ 2012144 w 4501379"/>
              <a:gd name="connsiteY78" fmla="*/ 66675 h 4429294"/>
              <a:gd name="connsiteX79" fmla="*/ 2078819 w 4501379"/>
              <a:gd name="connsiteY79" fmla="*/ 47625 h 4429294"/>
              <a:gd name="connsiteX80" fmla="*/ 2145494 w 4501379"/>
              <a:gd name="connsiteY80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450419 w 4501379"/>
              <a:gd name="connsiteY6" fmla="*/ 361950 h 4429294"/>
              <a:gd name="connsiteX7" fmla="*/ 3612344 w 4501379"/>
              <a:gd name="connsiteY7" fmla="*/ 485775 h 4429294"/>
              <a:gd name="connsiteX8" fmla="*/ 3726644 w 4501379"/>
              <a:gd name="connsiteY8" fmla="*/ 542925 h 4429294"/>
              <a:gd name="connsiteX9" fmla="*/ 3793319 w 4501379"/>
              <a:gd name="connsiteY9" fmla="*/ 581025 h 4429294"/>
              <a:gd name="connsiteX10" fmla="*/ 4009219 w 4501379"/>
              <a:gd name="connsiteY10" fmla="*/ 819150 h 4429294"/>
              <a:gd name="connsiteX11" fmla="*/ 4145744 w 4501379"/>
              <a:gd name="connsiteY11" fmla="*/ 990600 h 4429294"/>
              <a:gd name="connsiteX12" fmla="*/ 4231469 w 4501379"/>
              <a:gd name="connsiteY12" fmla="*/ 1143000 h 4429294"/>
              <a:gd name="connsiteX13" fmla="*/ 4288619 w 4501379"/>
              <a:gd name="connsiteY13" fmla="*/ 1266825 h 4429294"/>
              <a:gd name="connsiteX14" fmla="*/ 4326719 w 4501379"/>
              <a:gd name="connsiteY14" fmla="*/ 1362075 h 4429294"/>
              <a:gd name="connsiteX15" fmla="*/ 4374344 w 4501379"/>
              <a:gd name="connsiteY15" fmla="*/ 1552575 h 4429294"/>
              <a:gd name="connsiteX16" fmla="*/ 4412444 w 4501379"/>
              <a:gd name="connsiteY16" fmla="*/ 1685925 h 4429294"/>
              <a:gd name="connsiteX17" fmla="*/ 4501344 w 4501379"/>
              <a:gd name="connsiteY17" fmla="*/ 2181225 h 4429294"/>
              <a:gd name="connsiteX18" fmla="*/ 4428319 w 4501379"/>
              <a:gd name="connsiteY18" fmla="*/ 2768600 h 4429294"/>
              <a:gd name="connsiteX19" fmla="*/ 4364819 w 4501379"/>
              <a:gd name="connsiteY19" fmla="*/ 2990850 h 4429294"/>
              <a:gd name="connsiteX20" fmla="*/ 4260044 w 4501379"/>
              <a:gd name="connsiteY20" fmla="*/ 3248025 h 4429294"/>
              <a:gd name="connsiteX21" fmla="*/ 4164794 w 4501379"/>
              <a:gd name="connsiteY21" fmla="*/ 3400425 h 4429294"/>
              <a:gd name="connsiteX22" fmla="*/ 4040969 w 4501379"/>
              <a:gd name="connsiteY22" fmla="*/ 3533775 h 4429294"/>
              <a:gd name="connsiteX23" fmla="*/ 3936194 w 4501379"/>
              <a:gd name="connsiteY23" fmla="*/ 3648075 h 4429294"/>
              <a:gd name="connsiteX24" fmla="*/ 3640919 w 4501379"/>
              <a:gd name="connsiteY24" fmla="*/ 3971925 h 4429294"/>
              <a:gd name="connsiteX25" fmla="*/ 3498044 w 4501379"/>
              <a:gd name="connsiteY25" fmla="*/ 4083050 h 4429294"/>
              <a:gd name="connsiteX26" fmla="*/ 3202769 w 4501379"/>
              <a:gd name="connsiteY26" fmla="*/ 4222750 h 4429294"/>
              <a:gd name="connsiteX27" fmla="*/ 3050369 w 4501379"/>
              <a:gd name="connsiteY27" fmla="*/ 4286250 h 4429294"/>
              <a:gd name="connsiteX28" fmla="*/ 2917019 w 4501379"/>
              <a:gd name="connsiteY28" fmla="*/ 4333875 h 4429294"/>
              <a:gd name="connsiteX29" fmla="*/ 2793194 w 4501379"/>
              <a:gd name="connsiteY29" fmla="*/ 4371975 h 4429294"/>
              <a:gd name="connsiteX30" fmla="*/ 2561419 w 4501379"/>
              <a:gd name="connsiteY30" fmla="*/ 4391025 h 4429294"/>
              <a:gd name="connsiteX31" fmla="*/ 2107394 w 4501379"/>
              <a:gd name="connsiteY31" fmla="*/ 4429125 h 4429294"/>
              <a:gd name="connsiteX32" fmla="*/ 1916894 w 4501379"/>
              <a:gd name="connsiteY32" fmla="*/ 4400550 h 4429294"/>
              <a:gd name="connsiteX33" fmla="*/ 1554944 w 4501379"/>
              <a:gd name="connsiteY33" fmla="*/ 4305300 h 4429294"/>
              <a:gd name="connsiteX34" fmla="*/ 1313644 w 4501379"/>
              <a:gd name="connsiteY34" fmla="*/ 4216400 h 4429294"/>
              <a:gd name="connsiteX35" fmla="*/ 1145369 w 4501379"/>
              <a:gd name="connsiteY35" fmla="*/ 4111625 h 4429294"/>
              <a:gd name="connsiteX36" fmla="*/ 926294 w 4501379"/>
              <a:gd name="connsiteY36" fmla="*/ 3968750 h 4429294"/>
              <a:gd name="connsiteX37" fmla="*/ 592919 w 4501379"/>
              <a:gd name="connsiteY37" fmla="*/ 3657600 h 4429294"/>
              <a:gd name="connsiteX38" fmla="*/ 446869 w 4501379"/>
              <a:gd name="connsiteY38" fmla="*/ 3470275 h 4429294"/>
              <a:gd name="connsiteX39" fmla="*/ 316694 w 4501379"/>
              <a:gd name="connsiteY39" fmla="*/ 3244850 h 4429294"/>
              <a:gd name="connsiteX40" fmla="*/ 164294 w 4501379"/>
              <a:gd name="connsiteY40" fmla="*/ 2892425 h 4429294"/>
              <a:gd name="connsiteX41" fmla="*/ 56344 w 4501379"/>
              <a:gd name="connsiteY41" fmla="*/ 2368550 h 4429294"/>
              <a:gd name="connsiteX42" fmla="*/ 2369 w 4501379"/>
              <a:gd name="connsiteY42" fmla="*/ 1905000 h 4429294"/>
              <a:gd name="connsiteX43" fmla="*/ 11894 w 4501379"/>
              <a:gd name="connsiteY43" fmla="*/ 1838325 h 4429294"/>
              <a:gd name="connsiteX44" fmla="*/ 30944 w 4501379"/>
              <a:gd name="connsiteY44" fmla="*/ 1781175 h 4429294"/>
              <a:gd name="connsiteX45" fmla="*/ 40469 w 4501379"/>
              <a:gd name="connsiteY45" fmla="*/ 1743075 h 4429294"/>
              <a:gd name="connsiteX46" fmla="*/ 59519 w 4501379"/>
              <a:gd name="connsiteY46" fmla="*/ 1685925 h 4429294"/>
              <a:gd name="connsiteX47" fmla="*/ 69044 w 4501379"/>
              <a:gd name="connsiteY47" fmla="*/ 1638300 h 4429294"/>
              <a:gd name="connsiteX48" fmla="*/ 88094 w 4501379"/>
              <a:gd name="connsiteY48" fmla="*/ 1590675 h 4429294"/>
              <a:gd name="connsiteX49" fmla="*/ 116669 w 4501379"/>
              <a:gd name="connsiteY49" fmla="*/ 1504950 h 4429294"/>
              <a:gd name="connsiteX50" fmla="*/ 135719 w 4501379"/>
              <a:gd name="connsiteY50" fmla="*/ 1419225 h 4429294"/>
              <a:gd name="connsiteX51" fmla="*/ 211919 w 4501379"/>
              <a:gd name="connsiteY51" fmla="*/ 1276350 h 4429294"/>
              <a:gd name="connsiteX52" fmla="*/ 221444 w 4501379"/>
              <a:gd name="connsiteY52" fmla="*/ 1247775 h 4429294"/>
              <a:gd name="connsiteX53" fmla="*/ 250019 w 4501379"/>
              <a:gd name="connsiteY53" fmla="*/ 1200150 h 4429294"/>
              <a:gd name="connsiteX54" fmla="*/ 269069 w 4501379"/>
              <a:gd name="connsiteY54" fmla="*/ 1152525 h 4429294"/>
              <a:gd name="connsiteX55" fmla="*/ 297644 w 4501379"/>
              <a:gd name="connsiteY55" fmla="*/ 1114425 h 4429294"/>
              <a:gd name="connsiteX56" fmla="*/ 345269 w 4501379"/>
              <a:gd name="connsiteY56" fmla="*/ 1038225 h 4429294"/>
              <a:gd name="connsiteX57" fmla="*/ 364319 w 4501379"/>
              <a:gd name="connsiteY57" fmla="*/ 1009650 h 4429294"/>
              <a:gd name="connsiteX58" fmla="*/ 421469 w 4501379"/>
              <a:gd name="connsiteY58" fmla="*/ 904875 h 4429294"/>
              <a:gd name="connsiteX59" fmla="*/ 459569 w 4501379"/>
              <a:gd name="connsiteY59" fmla="*/ 857250 h 4429294"/>
              <a:gd name="connsiteX60" fmla="*/ 478619 w 4501379"/>
              <a:gd name="connsiteY60" fmla="*/ 828675 h 4429294"/>
              <a:gd name="connsiteX61" fmla="*/ 516719 w 4501379"/>
              <a:gd name="connsiteY61" fmla="*/ 800100 h 4429294"/>
              <a:gd name="connsiteX62" fmla="*/ 583394 w 4501379"/>
              <a:gd name="connsiteY62" fmla="*/ 733425 h 4429294"/>
              <a:gd name="connsiteX63" fmla="*/ 650069 w 4501379"/>
              <a:gd name="connsiteY63" fmla="*/ 676275 h 4429294"/>
              <a:gd name="connsiteX64" fmla="*/ 678644 w 4501379"/>
              <a:gd name="connsiteY64" fmla="*/ 657225 h 4429294"/>
              <a:gd name="connsiteX65" fmla="*/ 821519 w 4501379"/>
              <a:gd name="connsiteY65" fmla="*/ 533400 h 4429294"/>
              <a:gd name="connsiteX66" fmla="*/ 869144 w 4501379"/>
              <a:gd name="connsiteY66" fmla="*/ 504825 h 4429294"/>
              <a:gd name="connsiteX67" fmla="*/ 1148544 w 4501379"/>
              <a:gd name="connsiteY67" fmla="*/ 311150 h 4429294"/>
              <a:gd name="connsiteX68" fmla="*/ 1250144 w 4501379"/>
              <a:gd name="connsiteY68" fmla="*/ 285750 h 4429294"/>
              <a:gd name="connsiteX69" fmla="*/ 1393019 w 4501379"/>
              <a:gd name="connsiteY69" fmla="*/ 190500 h 4429294"/>
              <a:gd name="connsiteX70" fmla="*/ 1431119 w 4501379"/>
              <a:gd name="connsiteY70" fmla="*/ 161925 h 4429294"/>
              <a:gd name="connsiteX71" fmla="*/ 1507319 w 4501379"/>
              <a:gd name="connsiteY71" fmla="*/ 152400 h 4429294"/>
              <a:gd name="connsiteX72" fmla="*/ 1564469 w 4501379"/>
              <a:gd name="connsiteY72" fmla="*/ 142875 h 4429294"/>
              <a:gd name="connsiteX73" fmla="*/ 1697819 w 4501379"/>
              <a:gd name="connsiteY73" fmla="*/ 123825 h 4429294"/>
              <a:gd name="connsiteX74" fmla="*/ 1793069 w 4501379"/>
              <a:gd name="connsiteY74" fmla="*/ 114300 h 4429294"/>
              <a:gd name="connsiteX75" fmla="*/ 1840694 w 4501379"/>
              <a:gd name="connsiteY75" fmla="*/ 104775 h 4429294"/>
              <a:gd name="connsiteX76" fmla="*/ 1897844 w 4501379"/>
              <a:gd name="connsiteY76" fmla="*/ 95250 h 4429294"/>
              <a:gd name="connsiteX77" fmla="*/ 2012144 w 4501379"/>
              <a:gd name="connsiteY77" fmla="*/ 66675 h 4429294"/>
              <a:gd name="connsiteX78" fmla="*/ 2078819 w 4501379"/>
              <a:gd name="connsiteY78" fmla="*/ 47625 h 4429294"/>
              <a:gd name="connsiteX79" fmla="*/ 2145494 w 4501379"/>
              <a:gd name="connsiteY79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612344 w 4501379"/>
              <a:gd name="connsiteY6" fmla="*/ 485775 h 4429294"/>
              <a:gd name="connsiteX7" fmla="*/ 3726644 w 4501379"/>
              <a:gd name="connsiteY7" fmla="*/ 542925 h 4429294"/>
              <a:gd name="connsiteX8" fmla="*/ 3793319 w 4501379"/>
              <a:gd name="connsiteY8" fmla="*/ 581025 h 4429294"/>
              <a:gd name="connsiteX9" fmla="*/ 4009219 w 4501379"/>
              <a:gd name="connsiteY9" fmla="*/ 819150 h 4429294"/>
              <a:gd name="connsiteX10" fmla="*/ 4145744 w 4501379"/>
              <a:gd name="connsiteY10" fmla="*/ 990600 h 4429294"/>
              <a:gd name="connsiteX11" fmla="*/ 4231469 w 4501379"/>
              <a:gd name="connsiteY11" fmla="*/ 1143000 h 4429294"/>
              <a:gd name="connsiteX12" fmla="*/ 4288619 w 4501379"/>
              <a:gd name="connsiteY12" fmla="*/ 1266825 h 4429294"/>
              <a:gd name="connsiteX13" fmla="*/ 4326719 w 4501379"/>
              <a:gd name="connsiteY13" fmla="*/ 1362075 h 4429294"/>
              <a:gd name="connsiteX14" fmla="*/ 4374344 w 4501379"/>
              <a:gd name="connsiteY14" fmla="*/ 1552575 h 4429294"/>
              <a:gd name="connsiteX15" fmla="*/ 4412444 w 4501379"/>
              <a:gd name="connsiteY15" fmla="*/ 1685925 h 4429294"/>
              <a:gd name="connsiteX16" fmla="*/ 4501344 w 4501379"/>
              <a:gd name="connsiteY16" fmla="*/ 2181225 h 4429294"/>
              <a:gd name="connsiteX17" fmla="*/ 4428319 w 4501379"/>
              <a:gd name="connsiteY17" fmla="*/ 2768600 h 4429294"/>
              <a:gd name="connsiteX18" fmla="*/ 4364819 w 4501379"/>
              <a:gd name="connsiteY18" fmla="*/ 2990850 h 4429294"/>
              <a:gd name="connsiteX19" fmla="*/ 4260044 w 4501379"/>
              <a:gd name="connsiteY19" fmla="*/ 3248025 h 4429294"/>
              <a:gd name="connsiteX20" fmla="*/ 4164794 w 4501379"/>
              <a:gd name="connsiteY20" fmla="*/ 3400425 h 4429294"/>
              <a:gd name="connsiteX21" fmla="*/ 4040969 w 4501379"/>
              <a:gd name="connsiteY21" fmla="*/ 3533775 h 4429294"/>
              <a:gd name="connsiteX22" fmla="*/ 3936194 w 4501379"/>
              <a:gd name="connsiteY22" fmla="*/ 3648075 h 4429294"/>
              <a:gd name="connsiteX23" fmla="*/ 3640919 w 4501379"/>
              <a:gd name="connsiteY23" fmla="*/ 3971925 h 4429294"/>
              <a:gd name="connsiteX24" fmla="*/ 3498044 w 4501379"/>
              <a:gd name="connsiteY24" fmla="*/ 4083050 h 4429294"/>
              <a:gd name="connsiteX25" fmla="*/ 3202769 w 4501379"/>
              <a:gd name="connsiteY25" fmla="*/ 4222750 h 4429294"/>
              <a:gd name="connsiteX26" fmla="*/ 3050369 w 4501379"/>
              <a:gd name="connsiteY26" fmla="*/ 4286250 h 4429294"/>
              <a:gd name="connsiteX27" fmla="*/ 2917019 w 4501379"/>
              <a:gd name="connsiteY27" fmla="*/ 4333875 h 4429294"/>
              <a:gd name="connsiteX28" fmla="*/ 2793194 w 4501379"/>
              <a:gd name="connsiteY28" fmla="*/ 4371975 h 4429294"/>
              <a:gd name="connsiteX29" fmla="*/ 2561419 w 4501379"/>
              <a:gd name="connsiteY29" fmla="*/ 4391025 h 4429294"/>
              <a:gd name="connsiteX30" fmla="*/ 2107394 w 4501379"/>
              <a:gd name="connsiteY30" fmla="*/ 4429125 h 4429294"/>
              <a:gd name="connsiteX31" fmla="*/ 1916894 w 4501379"/>
              <a:gd name="connsiteY31" fmla="*/ 4400550 h 4429294"/>
              <a:gd name="connsiteX32" fmla="*/ 1554944 w 4501379"/>
              <a:gd name="connsiteY32" fmla="*/ 4305300 h 4429294"/>
              <a:gd name="connsiteX33" fmla="*/ 1313644 w 4501379"/>
              <a:gd name="connsiteY33" fmla="*/ 4216400 h 4429294"/>
              <a:gd name="connsiteX34" fmla="*/ 1145369 w 4501379"/>
              <a:gd name="connsiteY34" fmla="*/ 4111625 h 4429294"/>
              <a:gd name="connsiteX35" fmla="*/ 926294 w 4501379"/>
              <a:gd name="connsiteY35" fmla="*/ 3968750 h 4429294"/>
              <a:gd name="connsiteX36" fmla="*/ 592919 w 4501379"/>
              <a:gd name="connsiteY36" fmla="*/ 3657600 h 4429294"/>
              <a:gd name="connsiteX37" fmla="*/ 446869 w 4501379"/>
              <a:gd name="connsiteY37" fmla="*/ 3470275 h 4429294"/>
              <a:gd name="connsiteX38" fmla="*/ 316694 w 4501379"/>
              <a:gd name="connsiteY38" fmla="*/ 3244850 h 4429294"/>
              <a:gd name="connsiteX39" fmla="*/ 164294 w 4501379"/>
              <a:gd name="connsiteY39" fmla="*/ 2892425 h 4429294"/>
              <a:gd name="connsiteX40" fmla="*/ 56344 w 4501379"/>
              <a:gd name="connsiteY40" fmla="*/ 2368550 h 4429294"/>
              <a:gd name="connsiteX41" fmla="*/ 2369 w 4501379"/>
              <a:gd name="connsiteY41" fmla="*/ 1905000 h 4429294"/>
              <a:gd name="connsiteX42" fmla="*/ 11894 w 4501379"/>
              <a:gd name="connsiteY42" fmla="*/ 1838325 h 4429294"/>
              <a:gd name="connsiteX43" fmla="*/ 30944 w 4501379"/>
              <a:gd name="connsiteY43" fmla="*/ 1781175 h 4429294"/>
              <a:gd name="connsiteX44" fmla="*/ 40469 w 4501379"/>
              <a:gd name="connsiteY44" fmla="*/ 1743075 h 4429294"/>
              <a:gd name="connsiteX45" fmla="*/ 59519 w 4501379"/>
              <a:gd name="connsiteY45" fmla="*/ 1685925 h 4429294"/>
              <a:gd name="connsiteX46" fmla="*/ 69044 w 4501379"/>
              <a:gd name="connsiteY46" fmla="*/ 1638300 h 4429294"/>
              <a:gd name="connsiteX47" fmla="*/ 88094 w 4501379"/>
              <a:gd name="connsiteY47" fmla="*/ 1590675 h 4429294"/>
              <a:gd name="connsiteX48" fmla="*/ 116669 w 4501379"/>
              <a:gd name="connsiteY48" fmla="*/ 1504950 h 4429294"/>
              <a:gd name="connsiteX49" fmla="*/ 135719 w 4501379"/>
              <a:gd name="connsiteY49" fmla="*/ 1419225 h 4429294"/>
              <a:gd name="connsiteX50" fmla="*/ 211919 w 4501379"/>
              <a:gd name="connsiteY50" fmla="*/ 1276350 h 4429294"/>
              <a:gd name="connsiteX51" fmla="*/ 221444 w 4501379"/>
              <a:gd name="connsiteY51" fmla="*/ 1247775 h 4429294"/>
              <a:gd name="connsiteX52" fmla="*/ 250019 w 4501379"/>
              <a:gd name="connsiteY52" fmla="*/ 1200150 h 4429294"/>
              <a:gd name="connsiteX53" fmla="*/ 269069 w 4501379"/>
              <a:gd name="connsiteY53" fmla="*/ 1152525 h 4429294"/>
              <a:gd name="connsiteX54" fmla="*/ 297644 w 4501379"/>
              <a:gd name="connsiteY54" fmla="*/ 1114425 h 4429294"/>
              <a:gd name="connsiteX55" fmla="*/ 345269 w 4501379"/>
              <a:gd name="connsiteY55" fmla="*/ 1038225 h 4429294"/>
              <a:gd name="connsiteX56" fmla="*/ 364319 w 4501379"/>
              <a:gd name="connsiteY56" fmla="*/ 1009650 h 4429294"/>
              <a:gd name="connsiteX57" fmla="*/ 421469 w 4501379"/>
              <a:gd name="connsiteY57" fmla="*/ 904875 h 4429294"/>
              <a:gd name="connsiteX58" fmla="*/ 459569 w 4501379"/>
              <a:gd name="connsiteY58" fmla="*/ 857250 h 4429294"/>
              <a:gd name="connsiteX59" fmla="*/ 478619 w 4501379"/>
              <a:gd name="connsiteY59" fmla="*/ 828675 h 4429294"/>
              <a:gd name="connsiteX60" fmla="*/ 516719 w 4501379"/>
              <a:gd name="connsiteY60" fmla="*/ 800100 h 4429294"/>
              <a:gd name="connsiteX61" fmla="*/ 583394 w 4501379"/>
              <a:gd name="connsiteY61" fmla="*/ 733425 h 4429294"/>
              <a:gd name="connsiteX62" fmla="*/ 650069 w 4501379"/>
              <a:gd name="connsiteY62" fmla="*/ 676275 h 4429294"/>
              <a:gd name="connsiteX63" fmla="*/ 678644 w 4501379"/>
              <a:gd name="connsiteY63" fmla="*/ 657225 h 4429294"/>
              <a:gd name="connsiteX64" fmla="*/ 821519 w 4501379"/>
              <a:gd name="connsiteY64" fmla="*/ 533400 h 4429294"/>
              <a:gd name="connsiteX65" fmla="*/ 869144 w 4501379"/>
              <a:gd name="connsiteY65" fmla="*/ 504825 h 4429294"/>
              <a:gd name="connsiteX66" fmla="*/ 1148544 w 4501379"/>
              <a:gd name="connsiteY66" fmla="*/ 311150 h 4429294"/>
              <a:gd name="connsiteX67" fmla="*/ 1250144 w 4501379"/>
              <a:gd name="connsiteY67" fmla="*/ 285750 h 4429294"/>
              <a:gd name="connsiteX68" fmla="*/ 1393019 w 4501379"/>
              <a:gd name="connsiteY68" fmla="*/ 190500 h 4429294"/>
              <a:gd name="connsiteX69" fmla="*/ 1431119 w 4501379"/>
              <a:gd name="connsiteY69" fmla="*/ 161925 h 4429294"/>
              <a:gd name="connsiteX70" fmla="*/ 1507319 w 4501379"/>
              <a:gd name="connsiteY70" fmla="*/ 152400 h 4429294"/>
              <a:gd name="connsiteX71" fmla="*/ 1564469 w 4501379"/>
              <a:gd name="connsiteY71" fmla="*/ 142875 h 4429294"/>
              <a:gd name="connsiteX72" fmla="*/ 1697819 w 4501379"/>
              <a:gd name="connsiteY72" fmla="*/ 123825 h 4429294"/>
              <a:gd name="connsiteX73" fmla="*/ 1793069 w 4501379"/>
              <a:gd name="connsiteY73" fmla="*/ 114300 h 4429294"/>
              <a:gd name="connsiteX74" fmla="*/ 1840694 w 4501379"/>
              <a:gd name="connsiteY74" fmla="*/ 104775 h 4429294"/>
              <a:gd name="connsiteX75" fmla="*/ 1897844 w 4501379"/>
              <a:gd name="connsiteY75" fmla="*/ 95250 h 4429294"/>
              <a:gd name="connsiteX76" fmla="*/ 2012144 w 4501379"/>
              <a:gd name="connsiteY76" fmla="*/ 66675 h 4429294"/>
              <a:gd name="connsiteX77" fmla="*/ 2078819 w 4501379"/>
              <a:gd name="connsiteY77" fmla="*/ 47625 h 4429294"/>
              <a:gd name="connsiteX78" fmla="*/ 2145494 w 4501379"/>
              <a:gd name="connsiteY7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612344 w 4501379"/>
              <a:gd name="connsiteY6" fmla="*/ 485775 h 4429294"/>
              <a:gd name="connsiteX7" fmla="*/ 3793319 w 4501379"/>
              <a:gd name="connsiteY7" fmla="*/ 581025 h 4429294"/>
              <a:gd name="connsiteX8" fmla="*/ 4009219 w 4501379"/>
              <a:gd name="connsiteY8" fmla="*/ 819150 h 4429294"/>
              <a:gd name="connsiteX9" fmla="*/ 4145744 w 4501379"/>
              <a:gd name="connsiteY9" fmla="*/ 990600 h 4429294"/>
              <a:gd name="connsiteX10" fmla="*/ 4231469 w 4501379"/>
              <a:gd name="connsiteY10" fmla="*/ 1143000 h 4429294"/>
              <a:gd name="connsiteX11" fmla="*/ 4288619 w 4501379"/>
              <a:gd name="connsiteY11" fmla="*/ 1266825 h 4429294"/>
              <a:gd name="connsiteX12" fmla="*/ 4326719 w 4501379"/>
              <a:gd name="connsiteY12" fmla="*/ 1362075 h 4429294"/>
              <a:gd name="connsiteX13" fmla="*/ 4374344 w 4501379"/>
              <a:gd name="connsiteY13" fmla="*/ 1552575 h 4429294"/>
              <a:gd name="connsiteX14" fmla="*/ 4412444 w 4501379"/>
              <a:gd name="connsiteY14" fmla="*/ 1685925 h 4429294"/>
              <a:gd name="connsiteX15" fmla="*/ 4501344 w 4501379"/>
              <a:gd name="connsiteY15" fmla="*/ 2181225 h 4429294"/>
              <a:gd name="connsiteX16" fmla="*/ 4428319 w 4501379"/>
              <a:gd name="connsiteY16" fmla="*/ 2768600 h 4429294"/>
              <a:gd name="connsiteX17" fmla="*/ 4364819 w 4501379"/>
              <a:gd name="connsiteY17" fmla="*/ 2990850 h 4429294"/>
              <a:gd name="connsiteX18" fmla="*/ 4260044 w 4501379"/>
              <a:gd name="connsiteY18" fmla="*/ 3248025 h 4429294"/>
              <a:gd name="connsiteX19" fmla="*/ 4164794 w 4501379"/>
              <a:gd name="connsiteY19" fmla="*/ 3400425 h 4429294"/>
              <a:gd name="connsiteX20" fmla="*/ 4040969 w 4501379"/>
              <a:gd name="connsiteY20" fmla="*/ 3533775 h 4429294"/>
              <a:gd name="connsiteX21" fmla="*/ 3936194 w 4501379"/>
              <a:gd name="connsiteY21" fmla="*/ 3648075 h 4429294"/>
              <a:gd name="connsiteX22" fmla="*/ 3640919 w 4501379"/>
              <a:gd name="connsiteY22" fmla="*/ 3971925 h 4429294"/>
              <a:gd name="connsiteX23" fmla="*/ 3498044 w 4501379"/>
              <a:gd name="connsiteY23" fmla="*/ 4083050 h 4429294"/>
              <a:gd name="connsiteX24" fmla="*/ 3202769 w 4501379"/>
              <a:gd name="connsiteY24" fmla="*/ 4222750 h 4429294"/>
              <a:gd name="connsiteX25" fmla="*/ 3050369 w 4501379"/>
              <a:gd name="connsiteY25" fmla="*/ 4286250 h 4429294"/>
              <a:gd name="connsiteX26" fmla="*/ 2917019 w 4501379"/>
              <a:gd name="connsiteY26" fmla="*/ 4333875 h 4429294"/>
              <a:gd name="connsiteX27" fmla="*/ 2793194 w 4501379"/>
              <a:gd name="connsiteY27" fmla="*/ 4371975 h 4429294"/>
              <a:gd name="connsiteX28" fmla="*/ 2561419 w 4501379"/>
              <a:gd name="connsiteY28" fmla="*/ 4391025 h 4429294"/>
              <a:gd name="connsiteX29" fmla="*/ 2107394 w 4501379"/>
              <a:gd name="connsiteY29" fmla="*/ 4429125 h 4429294"/>
              <a:gd name="connsiteX30" fmla="*/ 1916894 w 4501379"/>
              <a:gd name="connsiteY30" fmla="*/ 4400550 h 4429294"/>
              <a:gd name="connsiteX31" fmla="*/ 1554944 w 4501379"/>
              <a:gd name="connsiteY31" fmla="*/ 4305300 h 4429294"/>
              <a:gd name="connsiteX32" fmla="*/ 1313644 w 4501379"/>
              <a:gd name="connsiteY32" fmla="*/ 4216400 h 4429294"/>
              <a:gd name="connsiteX33" fmla="*/ 1145369 w 4501379"/>
              <a:gd name="connsiteY33" fmla="*/ 4111625 h 4429294"/>
              <a:gd name="connsiteX34" fmla="*/ 926294 w 4501379"/>
              <a:gd name="connsiteY34" fmla="*/ 3968750 h 4429294"/>
              <a:gd name="connsiteX35" fmla="*/ 592919 w 4501379"/>
              <a:gd name="connsiteY35" fmla="*/ 3657600 h 4429294"/>
              <a:gd name="connsiteX36" fmla="*/ 446869 w 4501379"/>
              <a:gd name="connsiteY36" fmla="*/ 3470275 h 4429294"/>
              <a:gd name="connsiteX37" fmla="*/ 316694 w 4501379"/>
              <a:gd name="connsiteY37" fmla="*/ 3244850 h 4429294"/>
              <a:gd name="connsiteX38" fmla="*/ 164294 w 4501379"/>
              <a:gd name="connsiteY38" fmla="*/ 2892425 h 4429294"/>
              <a:gd name="connsiteX39" fmla="*/ 56344 w 4501379"/>
              <a:gd name="connsiteY39" fmla="*/ 2368550 h 4429294"/>
              <a:gd name="connsiteX40" fmla="*/ 2369 w 4501379"/>
              <a:gd name="connsiteY40" fmla="*/ 1905000 h 4429294"/>
              <a:gd name="connsiteX41" fmla="*/ 11894 w 4501379"/>
              <a:gd name="connsiteY41" fmla="*/ 1838325 h 4429294"/>
              <a:gd name="connsiteX42" fmla="*/ 30944 w 4501379"/>
              <a:gd name="connsiteY42" fmla="*/ 1781175 h 4429294"/>
              <a:gd name="connsiteX43" fmla="*/ 40469 w 4501379"/>
              <a:gd name="connsiteY43" fmla="*/ 1743075 h 4429294"/>
              <a:gd name="connsiteX44" fmla="*/ 59519 w 4501379"/>
              <a:gd name="connsiteY44" fmla="*/ 1685925 h 4429294"/>
              <a:gd name="connsiteX45" fmla="*/ 69044 w 4501379"/>
              <a:gd name="connsiteY45" fmla="*/ 1638300 h 4429294"/>
              <a:gd name="connsiteX46" fmla="*/ 88094 w 4501379"/>
              <a:gd name="connsiteY46" fmla="*/ 1590675 h 4429294"/>
              <a:gd name="connsiteX47" fmla="*/ 116669 w 4501379"/>
              <a:gd name="connsiteY47" fmla="*/ 1504950 h 4429294"/>
              <a:gd name="connsiteX48" fmla="*/ 135719 w 4501379"/>
              <a:gd name="connsiteY48" fmla="*/ 1419225 h 4429294"/>
              <a:gd name="connsiteX49" fmla="*/ 211919 w 4501379"/>
              <a:gd name="connsiteY49" fmla="*/ 1276350 h 4429294"/>
              <a:gd name="connsiteX50" fmla="*/ 221444 w 4501379"/>
              <a:gd name="connsiteY50" fmla="*/ 1247775 h 4429294"/>
              <a:gd name="connsiteX51" fmla="*/ 250019 w 4501379"/>
              <a:gd name="connsiteY51" fmla="*/ 1200150 h 4429294"/>
              <a:gd name="connsiteX52" fmla="*/ 269069 w 4501379"/>
              <a:gd name="connsiteY52" fmla="*/ 1152525 h 4429294"/>
              <a:gd name="connsiteX53" fmla="*/ 297644 w 4501379"/>
              <a:gd name="connsiteY53" fmla="*/ 1114425 h 4429294"/>
              <a:gd name="connsiteX54" fmla="*/ 345269 w 4501379"/>
              <a:gd name="connsiteY54" fmla="*/ 1038225 h 4429294"/>
              <a:gd name="connsiteX55" fmla="*/ 364319 w 4501379"/>
              <a:gd name="connsiteY55" fmla="*/ 1009650 h 4429294"/>
              <a:gd name="connsiteX56" fmla="*/ 421469 w 4501379"/>
              <a:gd name="connsiteY56" fmla="*/ 904875 h 4429294"/>
              <a:gd name="connsiteX57" fmla="*/ 459569 w 4501379"/>
              <a:gd name="connsiteY57" fmla="*/ 857250 h 4429294"/>
              <a:gd name="connsiteX58" fmla="*/ 478619 w 4501379"/>
              <a:gd name="connsiteY58" fmla="*/ 828675 h 4429294"/>
              <a:gd name="connsiteX59" fmla="*/ 516719 w 4501379"/>
              <a:gd name="connsiteY59" fmla="*/ 800100 h 4429294"/>
              <a:gd name="connsiteX60" fmla="*/ 583394 w 4501379"/>
              <a:gd name="connsiteY60" fmla="*/ 733425 h 4429294"/>
              <a:gd name="connsiteX61" fmla="*/ 650069 w 4501379"/>
              <a:gd name="connsiteY61" fmla="*/ 676275 h 4429294"/>
              <a:gd name="connsiteX62" fmla="*/ 678644 w 4501379"/>
              <a:gd name="connsiteY62" fmla="*/ 657225 h 4429294"/>
              <a:gd name="connsiteX63" fmla="*/ 821519 w 4501379"/>
              <a:gd name="connsiteY63" fmla="*/ 533400 h 4429294"/>
              <a:gd name="connsiteX64" fmla="*/ 869144 w 4501379"/>
              <a:gd name="connsiteY64" fmla="*/ 504825 h 4429294"/>
              <a:gd name="connsiteX65" fmla="*/ 1148544 w 4501379"/>
              <a:gd name="connsiteY65" fmla="*/ 311150 h 4429294"/>
              <a:gd name="connsiteX66" fmla="*/ 1250144 w 4501379"/>
              <a:gd name="connsiteY66" fmla="*/ 285750 h 4429294"/>
              <a:gd name="connsiteX67" fmla="*/ 1393019 w 4501379"/>
              <a:gd name="connsiteY67" fmla="*/ 190500 h 4429294"/>
              <a:gd name="connsiteX68" fmla="*/ 1431119 w 4501379"/>
              <a:gd name="connsiteY68" fmla="*/ 161925 h 4429294"/>
              <a:gd name="connsiteX69" fmla="*/ 1507319 w 4501379"/>
              <a:gd name="connsiteY69" fmla="*/ 152400 h 4429294"/>
              <a:gd name="connsiteX70" fmla="*/ 1564469 w 4501379"/>
              <a:gd name="connsiteY70" fmla="*/ 142875 h 4429294"/>
              <a:gd name="connsiteX71" fmla="*/ 1697819 w 4501379"/>
              <a:gd name="connsiteY71" fmla="*/ 123825 h 4429294"/>
              <a:gd name="connsiteX72" fmla="*/ 1793069 w 4501379"/>
              <a:gd name="connsiteY72" fmla="*/ 114300 h 4429294"/>
              <a:gd name="connsiteX73" fmla="*/ 1840694 w 4501379"/>
              <a:gd name="connsiteY73" fmla="*/ 104775 h 4429294"/>
              <a:gd name="connsiteX74" fmla="*/ 1897844 w 4501379"/>
              <a:gd name="connsiteY74" fmla="*/ 95250 h 4429294"/>
              <a:gd name="connsiteX75" fmla="*/ 2012144 w 4501379"/>
              <a:gd name="connsiteY75" fmla="*/ 66675 h 4429294"/>
              <a:gd name="connsiteX76" fmla="*/ 2078819 w 4501379"/>
              <a:gd name="connsiteY76" fmla="*/ 47625 h 4429294"/>
              <a:gd name="connsiteX77" fmla="*/ 2145494 w 4501379"/>
              <a:gd name="connsiteY7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393019 w 4501379"/>
              <a:gd name="connsiteY66" fmla="*/ 190500 h 4429294"/>
              <a:gd name="connsiteX67" fmla="*/ 1431119 w 4501379"/>
              <a:gd name="connsiteY67" fmla="*/ 161925 h 4429294"/>
              <a:gd name="connsiteX68" fmla="*/ 1507319 w 4501379"/>
              <a:gd name="connsiteY68" fmla="*/ 152400 h 4429294"/>
              <a:gd name="connsiteX69" fmla="*/ 1564469 w 4501379"/>
              <a:gd name="connsiteY69" fmla="*/ 142875 h 4429294"/>
              <a:gd name="connsiteX70" fmla="*/ 1697819 w 4501379"/>
              <a:gd name="connsiteY70" fmla="*/ 123825 h 4429294"/>
              <a:gd name="connsiteX71" fmla="*/ 1793069 w 4501379"/>
              <a:gd name="connsiteY71" fmla="*/ 114300 h 4429294"/>
              <a:gd name="connsiteX72" fmla="*/ 1840694 w 4501379"/>
              <a:gd name="connsiteY72" fmla="*/ 104775 h 4429294"/>
              <a:gd name="connsiteX73" fmla="*/ 1897844 w 4501379"/>
              <a:gd name="connsiteY73" fmla="*/ 95250 h 4429294"/>
              <a:gd name="connsiteX74" fmla="*/ 2012144 w 4501379"/>
              <a:gd name="connsiteY74" fmla="*/ 66675 h 4429294"/>
              <a:gd name="connsiteX75" fmla="*/ 2078819 w 4501379"/>
              <a:gd name="connsiteY75" fmla="*/ 47625 h 4429294"/>
              <a:gd name="connsiteX76" fmla="*/ 2145494 w 4501379"/>
              <a:gd name="connsiteY76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431119 w 4501379"/>
              <a:gd name="connsiteY66" fmla="*/ 161925 h 4429294"/>
              <a:gd name="connsiteX67" fmla="*/ 1507319 w 4501379"/>
              <a:gd name="connsiteY67" fmla="*/ 152400 h 4429294"/>
              <a:gd name="connsiteX68" fmla="*/ 1564469 w 4501379"/>
              <a:gd name="connsiteY68" fmla="*/ 142875 h 4429294"/>
              <a:gd name="connsiteX69" fmla="*/ 1697819 w 4501379"/>
              <a:gd name="connsiteY69" fmla="*/ 123825 h 4429294"/>
              <a:gd name="connsiteX70" fmla="*/ 1793069 w 4501379"/>
              <a:gd name="connsiteY70" fmla="*/ 114300 h 4429294"/>
              <a:gd name="connsiteX71" fmla="*/ 1840694 w 4501379"/>
              <a:gd name="connsiteY71" fmla="*/ 104775 h 4429294"/>
              <a:gd name="connsiteX72" fmla="*/ 1897844 w 4501379"/>
              <a:gd name="connsiteY72" fmla="*/ 95250 h 4429294"/>
              <a:gd name="connsiteX73" fmla="*/ 2012144 w 4501379"/>
              <a:gd name="connsiteY73" fmla="*/ 66675 h 4429294"/>
              <a:gd name="connsiteX74" fmla="*/ 2078819 w 4501379"/>
              <a:gd name="connsiteY74" fmla="*/ 47625 h 4429294"/>
              <a:gd name="connsiteX75" fmla="*/ 2145494 w 4501379"/>
              <a:gd name="connsiteY75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507319 w 4501379"/>
              <a:gd name="connsiteY66" fmla="*/ 152400 h 4429294"/>
              <a:gd name="connsiteX67" fmla="*/ 1564469 w 4501379"/>
              <a:gd name="connsiteY67" fmla="*/ 142875 h 4429294"/>
              <a:gd name="connsiteX68" fmla="*/ 1697819 w 4501379"/>
              <a:gd name="connsiteY68" fmla="*/ 123825 h 4429294"/>
              <a:gd name="connsiteX69" fmla="*/ 1793069 w 4501379"/>
              <a:gd name="connsiteY69" fmla="*/ 114300 h 4429294"/>
              <a:gd name="connsiteX70" fmla="*/ 1840694 w 4501379"/>
              <a:gd name="connsiteY70" fmla="*/ 104775 h 4429294"/>
              <a:gd name="connsiteX71" fmla="*/ 1897844 w 4501379"/>
              <a:gd name="connsiteY71" fmla="*/ 95250 h 4429294"/>
              <a:gd name="connsiteX72" fmla="*/ 2012144 w 4501379"/>
              <a:gd name="connsiteY72" fmla="*/ 66675 h 4429294"/>
              <a:gd name="connsiteX73" fmla="*/ 2078819 w 4501379"/>
              <a:gd name="connsiteY73" fmla="*/ 47625 h 4429294"/>
              <a:gd name="connsiteX74" fmla="*/ 2145494 w 4501379"/>
              <a:gd name="connsiteY74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697819 w 4501379"/>
              <a:gd name="connsiteY67" fmla="*/ 123825 h 4429294"/>
              <a:gd name="connsiteX68" fmla="*/ 1793069 w 4501379"/>
              <a:gd name="connsiteY68" fmla="*/ 114300 h 4429294"/>
              <a:gd name="connsiteX69" fmla="*/ 1840694 w 4501379"/>
              <a:gd name="connsiteY69" fmla="*/ 104775 h 4429294"/>
              <a:gd name="connsiteX70" fmla="*/ 1897844 w 4501379"/>
              <a:gd name="connsiteY70" fmla="*/ 95250 h 4429294"/>
              <a:gd name="connsiteX71" fmla="*/ 2012144 w 4501379"/>
              <a:gd name="connsiteY71" fmla="*/ 66675 h 4429294"/>
              <a:gd name="connsiteX72" fmla="*/ 2078819 w 4501379"/>
              <a:gd name="connsiteY72" fmla="*/ 47625 h 4429294"/>
              <a:gd name="connsiteX73" fmla="*/ 2145494 w 4501379"/>
              <a:gd name="connsiteY73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793069 w 4501379"/>
              <a:gd name="connsiteY67" fmla="*/ 114300 h 4429294"/>
              <a:gd name="connsiteX68" fmla="*/ 1840694 w 4501379"/>
              <a:gd name="connsiteY68" fmla="*/ 104775 h 4429294"/>
              <a:gd name="connsiteX69" fmla="*/ 1897844 w 4501379"/>
              <a:gd name="connsiteY69" fmla="*/ 95250 h 4429294"/>
              <a:gd name="connsiteX70" fmla="*/ 2012144 w 4501379"/>
              <a:gd name="connsiteY70" fmla="*/ 66675 h 4429294"/>
              <a:gd name="connsiteX71" fmla="*/ 2078819 w 4501379"/>
              <a:gd name="connsiteY71" fmla="*/ 47625 h 4429294"/>
              <a:gd name="connsiteX72" fmla="*/ 2145494 w 4501379"/>
              <a:gd name="connsiteY72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840694 w 4501379"/>
              <a:gd name="connsiteY67" fmla="*/ 104775 h 4429294"/>
              <a:gd name="connsiteX68" fmla="*/ 1897844 w 4501379"/>
              <a:gd name="connsiteY68" fmla="*/ 95250 h 4429294"/>
              <a:gd name="connsiteX69" fmla="*/ 2012144 w 4501379"/>
              <a:gd name="connsiteY69" fmla="*/ 66675 h 4429294"/>
              <a:gd name="connsiteX70" fmla="*/ 2078819 w 4501379"/>
              <a:gd name="connsiteY70" fmla="*/ 47625 h 4429294"/>
              <a:gd name="connsiteX71" fmla="*/ 2145494 w 4501379"/>
              <a:gd name="connsiteY71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897844 w 4501379"/>
              <a:gd name="connsiteY67" fmla="*/ 95250 h 4429294"/>
              <a:gd name="connsiteX68" fmla="*/ 2012144 w 4501379"/>
              <a:gd name="connsiteY68" fmla="*/ 66675 h 4429294"/>
              <a:gd name="connsiteX69" fmla="*/ 2078819 w 4501379"/>
              <a:gd name="connsiteY69" fmla="*/ 47625 h 4429294"/>
              <a:gd name="connsiteX70" fmla="*/ 2145494 w 4501379"/>
              <a:gd name="connsiteY70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012144 w 4501379"/>
              <a:gd name="connsiteY67" fmla="*/ 66675 h 4429294"/>
              <a:gd name="connsiteX68" fmla="*/ 2078819 w 4501379"/>
              <a:gd name="connsiteY68" fmla="*/ 47625 h 4429294"/>
              <a:gd name="connsiteX69" fmla="*/ 2145494 w 4501379"/>
              <a:gd name="connsiteY69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078819 w 4501379"/>
              <a:gd name="connsiteY67" fmla="*/ 47625 h 4429294"/>
              <a:gd name="connsiteX68" fmla="*/ 2145494 w 4501379"/>
              <a:gd name="connsiteY6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145494 w 4501379"/>
              <a:gd name="connsiteY6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621619 w 4501379"/>
              <a:gd name="connsiteY66" fmla="*/ 11112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678644 w 4501379"/>
              <a:gd name="connsiteY60" fmla="*/ 657225 h 4429294"/>
              <a:gd name="connsiteX61" fmla="*/ 821519 w 4501379"/>
              <a:gd name="connsiteY61" fmla="*/ 533400 h 4429294"/>
              <a:gd name="connsiteX62" fmla="*/ 869144 w 4501379"/>
              <a:gd name="connsiteY62" fmla="*/ 504825 h 4429294"/>
              <a:gd name="connsiteX63" fmla="*/ 1148544 w 4501379"/>
              <a:gd name="connsiteY63" fmla="*/ 311150 h 4429294"/>
              <a:gd name="connsiteX64" fmla="*/ 1507319 w 4501379"/>
              <a:gd name="connsiteY64" fmla="*/ 152400 h 4429294"/>
              <a:gd name="connsiteX65" fmla="*/ 1621619 w 4501379"/>
              <a:gd name="connsiteY65" fmla="*/ 111125 h 4429294"/>
              <a:gd name="connsiteX66" fmla="*/ 2253444 w 4501379"/>
              <a:gd name="connsiteY66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821519 w 4501379"/>
              <a:gd name="connsiteY60" fmla="*/ 533400 h 4429294"/>
              <a:gd name="connsiteX61" fmla="*/ 869144 w 4501379"/>
              <a:gd name="connsiteY61" fmla="*/ 504825 h 4429294"/>
              <a:gd name="connsiteX62" fmla="*/ 1148544 w 4501379"/>
              <a:gd name="connsiteY62" fmla="*/ 311150 h 4429294"/>
              <a:gd name="connsiteX63" fmla="*/ 1507319 w 4501379"/>
              <a:gd name="connsiteY63" fmla="*/ 152400 h 4429294"/>
              <a:gd name="connsiteX64" fmla="*/ 1621619 w 4501379"/>
              <a:gd name="connsiteY64" fmla="*/ 111125 h 4429294"/>
              <a:gd name="connsiteX65" fmla="*/ 2253444 w 4501379"/>
              <a:gd name="connsiteY65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869144 w 4501379"/>
              <a:gd name="connsiteY60" fmla="*/ 504825 h 4429294"/>
              <a:gd name="connsiteX61" fmla="*/ 1148544 w 4501379"/>
              <a:gd name="connsiteY61" fmla="*/ 311150 h 4429294"/>
              <a:gd name="connsiteX62" fmla="*/ 1507319 w 4501379"/>
              <a:gd name="connsiteY62" fmla="*/ 152400 h 4429294"/>
              <a:gd name="connsiteX63" fmla="*/ 1621619 w 4501379"/>
              <a:gd name="connsiteY63" fmla="*/ 111125 h 4429294"/>
              <a:gd name="connsiteX64" fmla="*/ 2253444 w 4501379"/>
              <a:gd name="connsiteY64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64319 w 4501379"/>
              <a:gd name="connsiteY53" fmla="*/ 1009650 h 4429294"/>
              <a:gd name="connsiteX54" fmla="*/ 421469 w 4501379"/>
              <a:gd name="connsiteY54" fmla="*/ 904875 h 4429294"/>
              <a:gd name="connsiteX55" fmla="*/ 459569 w 4501379"/>
              <a:gd name="connsiteY55" fmla="*/ 857250 h 4429294"/>
              <a:gd name="connsiteX56" fmla="*/ 478619 w 4501379"/>
              <a:gd name="connsiteY56" fmla="*/ 828675 h 4429294"/>
              <a:gd name="connsiteX57" fmla="*/ 516719 w 4501379"/>
              <a:gd name="connsiteY57" fmla="*/ 800100 h 4429294"/>
              <a:gd name="connsiteX58" fmla="*/ 650069 w 4501379"/>
              <a:gd name="connsiteY58" fmla="*/ 676275 h 4429294"/>
              <a:gd name="connsiteX59" fmla="*/ 869144 w 4501379"/>
              <a:gd name="connsiteY59" fmla="*/ 504825 h 4429294"/>
              <a:gd name="connsiteX60" fmla="*/ 1148544 w 4501379"/>
              <a:gd name="connsiteY60" fmla="*/ 311150 h 4429294"/>
              <a:gd name="connsiteX61" fmla="*/ 1507319 w 4501379"/>
              <a:gd name="connsiteY61" fmla="*/ 152400 h 4429294"/>
              <a:gd name="connsiteX62" fmla="*/ 1621619 w 4501379"/>
              <a:gd name="connsiteY62" fmla="*/ 111125 h 4429294"/>
              <a:gd name="connsiteX63" fmla="*/ 2253444 w 4501379"/>
              <a:gd name="connsiteY63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21469 w 4501379"/>
              <a:gd name="connsiteY53" fmla="*/ 904875 h 4429294"/>
              <a:gd name="connsiteX54" fmla="*/ 459569 w 4501379"/>
              <a:gd name="connsiteY54" fmla="*/ 857250 h 4429294"/>
              <a:gd name="connsiteX55" fmla="*/ 478619 w 4501379"/>
              <a:gd name="connsiteY55" fmla="*/ 828675 h 4429294"/>
              <a:gd name="connsiteX56" fmla="*/ 516719 w 4501379"/>
              <a:gd name="connsiteY56" fmla="*/ 800100 h 4429294"/>
              <a:gd name="connsiteX57" fmla="*/ 650069 w 4501379"/>
              <a:gd name="connsiteY57" fmla="*/ 676275 h 4429294"/>
              <a:gd name="connsiteX58" fmla="*/ 869144 w 4501379"/>
              <a:gd name="connsiteY58" fmla="*/ 504825 h 4429294"/>
              <a:gd name="connsiteX59" fmla="*/ 1148544 w 4501379"/>
              <a:gd name="connsiteY59" fmla="*/ 311150 h 4429294"/>
              <a:gd name="connsiteX60" fmla="*/ 1507319 w 4501379"/>
              <a:gd name="connsiteY60" fmla="*/ 152400 h 4429294"/>
              <a:gd name="connsiteX61" fmla="*/ 1621619 w 4501379"/>
              <a:gd name="connsiteY61" fmla="*/ 111125 h 4429294"/>
              <a:gd name="connsiteX62" fmla="*/ 2253444 w 4501379"/>
              <a:gd name="connsiteY62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59569 w 4501379"/>
              <a:gd name="connsiteY53" fmla="*/ 857250 h 4429294"/>
              <a:gd name="connsiteX54" fmla="*/ 478619 w 4501379"/>
              <a:gd name="connsiteY54" fmla="*/ 828675 h 4429294"/>
              <a:gd name="connsiteX55" fmla="*/ 516719 w 4501379"/>
              <a:gd name="connsiteY55" fmla="*/ 800100 h 4429294"/>
              <a:gd name="connsiteX56" fmla="*/ 650069 w 4501379"/>
              <a:gd name="connsiteY56" fmla="*/ 676275 h 4429294"/>
              <a:gd name="connsiteX57" fmla="*/ 869144 w 4501379"/>
              <a:gd name="connsiteY57" fmla="*/ 504825 h 4429294"/>
              <a:gd name="connsiteX58" fmla="*/ 1148544 w 4501379"/>
              <a:gd name="connsiteY58" fmla="*/ 311150 h 4429294"/>
              <a:gd name="connsiteX59" fmla="*/ 1507319 w 4501379"/>
              <a:gd name="connsiteY59" fmla="*/ 152400 h 4429294"/>
              <a:gd name="connsiteX60" fmla="*/ 1621619 w 4501379"/>
              <a:gd name="connsiteY60" fmla="*/ 111125 h 4429294"/>
              <a:gd name="connsiteX61" fmla="*/ 2253444 w 4501379"/>
              <a:gd name="connsiteY61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59569 w 4501379"/>
              <a:gd name="connsiteY53" fmla="*/ 857250 h 4429294"/>
              <a:gd name="connsiteX54" fmla="*/ 516719 w 4501379"/>
              <a:gd name="connsiteY54" fmla="*/ 800100 h 4429294"/>
              <a:gd name="connsiteX55" fmla="*/ 650069 w 4501379"/>
              <a:gd name="connsiteY55" fmla="*/ 676275 h 4429294"/>
              <a:gd name="connsiteX56" fmla="*/ 869144 w 4501379"/>
              <a:gd name="connsiteY56" fmla="*/ 504825 h 4429294"/>
              <a:gd name="connsiteX57" fmla="*/ 1148544 w 4501379"/>
              <a:gd name="connsiteY57" fmla="*/ 311150 h 4429294"/>
              <a:gd name="connsiteX58" fmla="*/ 1507319 w 4501379"/>
              <a:gd name="connsiteY58" fmla="*/ 152400 h 4429294"/>
              <a:gd name="connsiteX59" fmla="*/ 1621619 w 4501379"/>
              <a:gd name="connsiteY59" fmla="*/ 111125 h 4429294"/>
              <a:gd name="connsiteX60" fmla="*/ 2253444 w 4501379"/>
              <a:gd name="connsiteY60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69069 w 4501379"/>
              <a:gd name="connsiteY50" fmla="*/ 1152525 h 4429294"/>
              <a:gd name="connsiteX51" fmla="*/ 297644 w 4501379"/>
              <a:gd name="connsiteY51" fmla="*/ 1114425 h 4429294"/>
              <a:gd name="connsiteX52" fmla="*/ 459569 w 4501379"/>
              <a:gd name="connsiteY52" fmla="*/ 857250 h 4429294"/>
              <a:gd name="connsiteX53" fmla="*/ 516719 w 4501379"/>
              <a:gd name="connsiteY53" fmla="*/ 800100 h 4429294"/>
              <a:gd name="connsiteX54" fmla="*/ 650069 w 4501379"/>
              <a:gd name="connsiteY54" fmla="*/ 676275 h 4429294"/>
              <a:gd name="connsiteX55" fmla="*/ 869144 w 4501379"/>
              <a:gd name="connsiteY55" fmla="*/ 504825 h 4429294"/>
              <a:gd name="connsiteX56" fmla="*/ 1148544 w 4501379"/>
              <a:gd name="connsiteY56" fmla="*/ 311150 h 4429294"/>
              <a:gd name="connsiteX57" fmla="*/ 1507319 w 4501379"/>
              <a:gd name="connsiteY57" fmla="*/ 152400 h 4429294"/>
              <a:gd name="connsiteX58" fmla="*/ 1621619 w 4501379"/>
              <a:gd name="connsiteY58" fmla="*/ 111125 h 4429294"/>
              <a:gd name="connsiteX59" fmla="*/ 2253444 w 4501379"/>
              <a:gd name="connsiteY59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97644 w 4501379"/>
              <a:gd name="connsiteY50" fmla="*/ 1114425 h 4429294"/>
              <a:gd name="connsiteX51" fmla="*/ 459569 w 4501379"/>
              <a:gd name="connsiteY51" fmla="*/ 857250 h 4429294"/>
              <a:gd name="connsiteX52" fmla="*/ 516719 w 4501379"/>
              <a:gd name="connsiteY52" fmla="*/ 800100 h 4429294"/>
              <a:gd name="connsiteX53" fmla="*/ 650069 w 4501379"/>
              <a:gd name="connsiteY53" fmla="*/ 676275 h 4429294"/>
              <a:gd name="connsiteX54" fmla="*/ 869144 w 4501379"/>
              <a:gd name="connsiteY54" fmla="*/ 504825 h 4429294"/>
              <a:gd name="connsiteX55" fmla="*/ 1148544 w 4501379"/>
              <a:gd name="connsiteY55" fmla="*/ 311150 h 4429294"/>
              <a:gd name="connsiteX56" fmla="*/ 1507319 w 4501379"/>
              <a:gd name="connsiteY56" fmla="*/ 152400 h 4429294"/>
              <a:gd name="connsiteX57" fmla="*/ 1621619 w 4501379"/>
              <a:gd name="connsiteY57" fmla="*/ 111125 h 4429294"/>
              <a:gd name="connsiteX58" fmla="*/ 2253444 w 4501379"/>
              <a:gd name="connsiteY58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97644 w 4501379"/>
              <a:gd name="connsiteY49" fmla="*/ 1114425 h 4429294"/>
              <a:gd name="connsiteX50" fmla="*/ 459569 w 4501379"/>
              <a:gd name="connsiteY50" fmla="*/ 857250 h 4429294"/>
              <a:gd name="connsiteX51" fmla="*/ 516719 w 4501379"/>
              <a:gd name="connsiteY51" fmla="*/ 800100 h 4429294"/>
              <a:gd name="connsiteX52" fmla="*/ 650069 w 4501379"/>
              <a:gd name="connsiteY52" fmla="*/ 676275 h 4429294"/>
              <a:gd name="connsiteX53" fmla="*/ 869144 w 4501379"/>
              <a:gd name="connsiteY53" fmla="*/ 504825 h 4429294"/>
              <a:gd name="connsiteX54" fmla="*/ 1148544 w 4501379"/>
              <a:gd name="connsiteY54" fmla="*/ 311150 h 4429294"/>
              <a:gd name="connsiteX55" fmla="*/ 1507319 w 4501379"/>
              <a:gd name="connsiteY55" fmla="*/ 152400 h 4429294"/>
              <a:gd name="connsiteX56" fmla="*/ 1621619 w 4501379"/>
              <a:gd name="connsiteY56" fmla="*/ 111125 h 4429294"/>
              <a:gd name="connsiteX57" fmla="*/ 2253444 w 4501379"/>
              <a:gd name="connsiteY5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35719 w 4501379"/>
              <a:gd name="connsiteY46" fmla="*/ 1419225 h 4429294"/>
              <a:gd name="connsiteX47" fmla="*/ 211919 w 4501379"/>
              <a:gd name="connsiteY47" fmla="*/ 1276350 h 4429294"/>
              <a:gd name="connsiteX48" fmla="*/ 297644 w 4501379"/>
              <a:gd name="connsiteY48" fmla="*/ 1114425 h 4429294"/>
              <a:gd name="connsiteX49" fmla="*/ 459569 w 4501379"/>
              <a:gd name="connsiteY49" fmla="*/ 857250 h 4429294"/>
              <a:gd name="connsiteX50" fmla="*/ 516719 w 4501379"/>
              <a:gd name="connsiteY50" fmla="*/ 800100 h 4429294"/>
              <a:gd name="connsiteX51" fmla="*/ 650069 w 4501379"/>
              <a:gd name="connsiteY51" fmla="*/ 676275 h 4429294"/>
              <a:gd name="connsiteX52" fmla="*/ 869144 w 4501379"/>
              <a:gd name="connsiteY52" fmla="*/ 504825 h 4429294"/>
              <a:gd name="connsiteX53" fmla="*/ 1148544 w 4501379"/>
              <a:gd name="connsiteY53" fmla="*/ 311150 h 4429294"/>
              <a:gd name="connsiteX54" fmla="*/ 1507319 w 4501379"/>
              <a:gd name="connsiteY54" fmla="*/ 152400 h 4429294"/>
              <a:gd name="connsiteX55" fmla="*/ 1621619 w 4501379"/>
              <a:gd name="connsiteY55" fmla="*/ 111125 h 4429294"/>
              <a:gd name="connsiteX56" fmla="*/ 2253444 w 4501379"/>
              <a:gd name="connsiteY56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88094 w 4501379"/>
              <a:gd name="connsiteY44" fmla="*/ 1590675 h 4429294"/>
              <a:gd name="connsiteX45" fmla="*/ 135719 w 4501379"/>
              <a:gd name="connsiteY45" fmla="*/ 1419225 h 4429294"/>
              <a:gd name="connsiteX46" fmla="*/ 211919 w 4501379"/>
              <a:gd name="connsiteY46" fmla="*/ 1276350 h 4429294"/>
              <a:gd name="connsiteX47" fmla="*/ 297644 w 4501379"/>
              <a:gd name="connsiteY47" fmla="*/ 1114425 h 4429294"/>
              <a:gd name="connsiteX48" fmla="*/ 459569 w 4501379"/>
              <a:gd name="connsiteY48" fmla="*/ 857250 h 4429294"/>
              <a:gd name="connsiteX49" fmla="*/ 516719 w 4501379"/>
              <a:gd name="connsiteY49" fmla="*/ 800100 h 4429294"/>
              <a:gd name="connsiteX50" fmla="*/ 650069 w 4501379"/>
              <a:gd name="connsiteY50" fmla="*/ 676275 h 4429294"/>
              <a:gd name="connsiteX51" fmla="*/ 869144 w 4501379"/>
              <a:gd name="connsiteY51" fmla="*/ 504825 h 4429294"/>
              <a:gd name="connsiteX52" fmla="*/ 1148544 w 4501379"/>
              <a:gd name="connsiteY52" fmla="*/ 311150 h 4429294"/>
              <a:gd name="connsiteX53" fmla="*/ 1507319 w 4501379"/>
              <a:gd name="connsiteY53" fmla="*/ 152400 h 4429294"/>
              <a:gd name="connsiteX54" fmla="*/ 1621619 w 4501379"/>
              <a:gd name="connsiteY54" fmla="*/ 111125 h 4429294"/>
              <a:gd name="connsiteX55" fmla="*/ 2253444 w 4501379"/>
              <a:gd name="connsiteY55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88094 w 4501379"/>
              <a:gd name="connsiteY43" fmla="*/ 1590675 h 4429294"/>
              <a:gd name="connsiteX44" fmla="*/ 135719 w 4501379"/>
              <a:gd name="connsiteY44" fmla="*/ 1419225 h 4429294"/>
              <a:gd name="connsiteX45" fmla="*/ 211919 w 4501379"/>
              <a:gd name="connsiteY45" fmla="*/ 1276350 h 4429294"/>
              <a:gd name="connsiteX46" fmla="*/ 297644 w 4501379"/>
              <a:gd name="connsiteY46" fmla="*/ 1114425 h 4429294"/>
              <a:gd name="connsiteX47" fmla="*/ 459569 w 4501379"/>
              <a:gd name="connsiteY47" fmla="*/ 857250 h 4429294"/>
              <a:gd name="connsiteX48" fmla="*/ 516719 w 4501379"/>
              <a:gd name="connsiteY48" fmla="*/ 800100 h 4429294"/>
              <a:gd name="connsiteX49" fmla="*/ 650069 w 4501379"/>
              <a:gd name="connsiteY49" fmla="*/ 676275 h 4429294"/>
              <a:gd name="connsiteX50" fmla="*/ 869144 w 4501379"/>
              <a:gd name="connsiteY50" fmla="*/ 504825 h 4429294"/>
              <a:gd name="connsiteX51" fmla="*/ 1148544 w 4501379"/>
              <a:gd name="connsiteY51" fmla="*/ 311150 h 4429294"/>
              <a:gd name="connsiteX52" fmla="*/ 1507319 w 4501379"/>
              <a:gd name="connsiteY52" fmla="*/ 152400 h 4429294"/>
              <a:gd name="connsiteX53" fmla="*/ 1621619 w 4501379"/>
              <a:gd name="connsiteY53" fmla="*/ 111125 h 4429294"/>
              <a:gd name="connsiteX54" fmla="*/ 2253444 w 4501379"/>
              <a:gd name="connsiteY54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88094 w 4501379"/>
              <a:gd name="connsiteY42" fmla="*/ 1590675 h 4429294"/>
              <a:gd name="connsiteX43" fmla="*/ 135719 w 4501379"/>
              <a:gd name="connsiteY43" fmla="*/ 1419225 h 4429294"/>
              <a:gd name="connsiteX44" fmla="*/ 211919 w 4501379"/>
              <a:gd name="connsiteY44" fmla="*/ 1276350 h 4429294"/>
              <a:gd name="connsiteX45" fmla="*/ 297644 w 4501379"/>
              <a:gd name="connsiteY45" fmla="*/ 1114425 h 4429294"/>
              <a:gd name="connsiteX46" fmla="*/ 459569 w 4501379"/>
              <a:gd name="connsiteY46" fmla="*/ 857250 h 4429294"/>
              <a:gd name="connsiteX47" fmla="*/ 516719 w 4501379"/>
              <a:gd name="connsiteY47" fmla="*/ 800100 h 4429294"/>
              <a:gd name="connsiteX48" fmla="*/ 650069 w 4501379"/>
              <a:gd name="connsiteY48" fmla="*/ 676275 h 4429294"/>
              <a:gd name="connsiteX49" fmla="*/ 869144 w 4501379"/>
              <a:gd name="connsiteY49" fmla="*/ 504825 h 4429294"/>
              <a:gd name="connsiteX50" fmla="*/ 1148544 w 4501379"/>
              <a:gd name="connsiteY50" fmla="*/ 311150 h 4429294"/>
              <a:gd name="connsiteX51" fmla="*/ 1507319 w 4501379"/>
              <a:gd name="connsiteY51" fmla="*/ 152400 h 4429294"/>
              <a:gd name="connsiteX52" fmla="*/ 1621619 w 4501379"/>
              <a:gd name="connsiteY52" fmla="*/ 111125 h 4429294"/>
              <a:gd name="connsiteX53" fmla="*/ 2253444 w 4501379"/>
              <a:gd name="connsiteY53" fmla="*/ 12700 h 4429294"/>
              <a:gd name="connsiteX0" fmla="*/ 2277090 w 4499625"/>
              <a:gd name="connsiteY0" fmla="*/ 0 h 4429294"/>
              <a:gd name="connsiteX1" fmla="*/ 2600940 w 4499625"/>
              <a:gd name="connsiteY1" fmla="*/ 15875 h 4429294"/>
              <a:gd name="connsiteX2" fmla="*/ 2896215 w 4499625"/>
              <a:gd name="connsiteY2" fmla="*/ 85725 h 4429294"/>
              <a:gd name="connsiteX3" fmla="*/ 3115290 w 4499625"/>
              <a:gd name="connsiteY3" fmla="*/ 171450 h 4429294"/>
              <a:gd name="connsiteX4" fmla="*/ 3220065 w 4499625"/>
              <a:gd name="connsiteY4" fmla="*/ 228600 h 4429294"/>
              <a:gd name="connsiteX5" fmla="*/ 3401040 w 4499625"/>
              <a:gd name="connsiteY5" fmla="*/ 323850 h 4429294"/>
              <a:gd name="connsiteX6" fmla="*/ 3791565 w 4499625"/>
              <a:gd name="connsiteY6" fmla="*/ 581025 h 4429294"/>
              <a:gd name="connsiteX7" fmla="*/ 4007465 w 4499625"/>
              <a:gd name="connsiteY7" fmla="*/ 819150 h 4429294"/>
              <a:gd name="connsiteX8" fmla="*/ 4143990 w 4499625"/>
              <a:gd name="connsiteY8" fmla="*/ 990600 h 4429294"/>
              <a:gd name="connsiteX9" fmla="*/ 4229715 w 4499625"/>
              <a:gd name="connsiteY9" fmla="*/ 1143000 h 4429294"/>
              <a:gd name="connsiteX10" fmla="*/ 4286865 w 4499625"/>
              <a:gd name="connsiteY10" fmla="*/ 1266825 h 4429294"/>
              <a:gd name="connsiteX11" fmla="*/ 4324965 w 4499625"/>
              <a:gd name="connsiteY11" fmla="*/ 1362075 h 4429294"/>
              <a:gd name="connsiteX12" fmla="*/ 4372590 w 4499625"/>
              <a:gd name="connsiteY12" fmla="*/ 1552575 h 4429294"/>
              <a:gd name="connsiteX13" fmla="*/ 4410690 w 4499625"/>
              <a:gd name="connsiteY13" fmla="*/ 1685925 h 4429294"/>
              <a:gd name="connsiteX14" fmla="*/ 4499590 w 4499625"/>
              <a:gd name="connsiteY14" fmla="*/ 2181225 h 4429294"/>
              <a:gd name="connsiteX15" fmla="*/ 4426565 w 4499625"/>
              <a:gd name="connsiteY15" fmla="*/ 2768600 h 4429294"/>
              <a:gd name="connsiteX16" fmla="*/ 4363065 w 4499625"/>
              <a:gd name="connsiteY16" fmla="*/ 2990850 h 4429294"/>
              <a:gd name="connsiteX17" fmla="*/ 4258290 w 4499625"/>
              <a:gd name="connsiteY17" fmla="*/ 3248025 h 4429294"/>
              <a:gd name="connsiteX18" fmla="*/ 4163040 w 4499625"/>
              <a:gd name="connsiteY18" fmla="*/ 3400425 h 4429294"/>
              <a:gd name="connsiteX19" fmla="*/ 4039215 w 4499625"/>
              <a:gd name="connsiteY19" fmla="*/ 3533775 h 4429294"/>
              <a:gd name="connsiteX20" fmla="*/ 3934440 w 4499625"/>
              <a:gd name="connsiteY20" fmla="*/ 3648075 h 4429294"/>
              <a:gd name="connsiteX21" fmla="*/ 3639165 w 4499625"/>
              <a:gd name="connsiteY21" fmla="*/ 3971925 h 4429294"/>
              <a:gd name="connsiteX22" fmla="*/ 3496290 w 4499625"/>
              <a:gd name="connsiteY22" fmla="*/ 4083050 h 4429294"/>
              <a:gd name="connsiteX23" fmla="*/ 3201015 w 4499625"/>
              <a:gd name="connsiteY23" fmla="*/ 4222750 h 4429294"/>
              <a:gd name="connsiteX24" fmla="*/ 3048615 w 4499625"/>
              <a:gd name="connsiteY24" fmla="*/ 4286250 h 4429294"/>
              <a:gd name="connsiteX25" fmla="*/ 2915265 w 4499625"/>
              <a:gd name="connsiteY25" fmla="*/ 4333875 h 4429294"/>
              <a:gd name="connsiteX26" fmla="*/ 2791440 w 4499625"/>
              <a:gd name="connsiteY26" fmla="*/ 4371975 h 4429294"/>
              <a:gd name="connsiteX27" fmla="*/ 2559665 w 4499625"/>
              <a:gd name="connsiteY27" fmla="*/ 4391025 h 4429294"/>
              <a:gd name="connsiteX28" fmla="*/ 2105640 w 4499625"/>
              <a:gd name="connsiteY28" fmla="*/ 4429125 h 4429294"/>
              <a:gd name="connsiteX29" fmla="*/ 1915140 w 4499625"/>
              <a:gd name="connsiteY29" fmla="*/ 4400550 h 4429294"/>
              <a:gd name="connsiteX30" fmla="*/ 1553190 w 4499625"/>
              <a:gd name="connsiteY30" fmla="*/ 4305300 h 4429294"/>
              <a:gd name="connsiteX31" fmla="*/ 1311890 w 4499625"/>
              <a:gd name="connsiteY31" fmla="*/ 4216400 h 4429294"/>
              <a:gd name="connsiteX32" fmla="*/ 1143615 w 4499625"/>
              <a:gd name="connsiteY32" fmla="*/ 4111625 h 4429294"/>
              <a:gd name="connsiteX33" fmla="*/ 924540 w 4499625"/>
              <a:gd name="connsiteY33" fmla="*/ 3968750 h 4429294"/>
              <a:gd name="connsiteX34" fmla="*/ 591165 w 4499625"/>
              <a:gd name="connsiteY34" fmla="*/ 3657600 h 4429294"/>
              <a:gd name="connsiteX35" fmla="*/ 445115 w 4499625"/>
              <a:gd name="connsiteY35" fmla="*/ 3470275 h 4429294"/>
              <a:gd name="connsiteX36" fmla="*/ 314940 w 4499625"/>
              <a:gd name="connsiteY36" fmla="*/ 3244850 h 4429294"/>
              <a:gd name="connsiteX37" fmla="*/ 162540 w 4499625"/>
              <a:gd name="connsiteY37" fmla="*/ 2892425 h 4429294"/>
              <a:gd name="connsiteX38" fmla="*/ 54590 w 4499625"/>
              <a:gd name="connsiteY38" fmla="*/ 2368550 h 4429294"/>
              <a:gd name="connsiteX39" fmla="*/ 615 w 4499625"/>
              <a:gd name="connsiteY39" fmla="*/ 1905000 h 4429294"/>
              <a:gd name="connsiteX40" fmla="*/ 29190 w 4499625"/>
              <a:gd name="connsiteY40" fmla="*/ 1781175 h 4429294"/>
              <a:gd name="connsiteX41" fmla="*/ 86340 w 4499625"/>
              <a:gd name="connsiteY41" fmla="*/ 1590675 h 4429294"/>
              <a:gd name="connsiteX42" fmla="*/ 133965 w 4499625"/>
              <a:gd name="connsiteY42" fmla="*/ 1419225 h 4429294"/>
              <a:gd name="connsiteX43" fmla="*/ 210165 w 4499625"/>
              <a:gd name="connsiteY43" fmla="*/ 1276350 h 4429294"/>
              <a:gd name="connsiteX44" fmla="*/ 295890 w 4499625"/>
              <a:gd name="connsiteY44" fmla="*/ 1114425 h 4429294"/>
              <a:gd name="connsiteX45" fmla="*/ 457815 w 4499625"/>
              <a:gd name="connsiteY45" fmla="*/ 857250 h 4429294"/>
              <a:gd name="connsiteX46" fmla="*/ 514965 w 4499625"/>
              <a:gd name="connsiteY46" fmla="*/ 800100 h 4429294"/>
              <a:gd name="connsiteX47" fmla="*/ 648315 w 4499625"/>
              <a:gd name="connsiteY47" fmla="*/ 676275 h 4429294"/>
              <a:gd name="connsiteX48" fmla="*/ 867390 w 4499625"/>
              <a:gd name="connsiteY48" fmla="*/ 504825 h 4429294"/>
              <a:gd name="connsiteX49" fmla="*/ 1146790 w 4499625"/>
              <a:gd name="connsiteY49" fmla="*/ 311150 h 4429294"/>
              <a:gd name="connsiteX50" fmla="*/ 1505565 w 4499625"/>
              <a:gd name="connsiteY50" fmla="*/ 152400 h 4429294"/>
              <a:gd name="connsiteX51" fmla="*/ 1619865 w 4499625"/>
              <a:gd name="connsiteY51" fmla="*/ 111125 h 4429294"/>
              <a:gd name="connsiteX52" fmla="*/ 2251690 w 4499625"/>
              <a:gd name="connsiteY52" fmla="*/ 12700 h 4429294"/>
              <a:gd name="connsiteX0" fmla="*/ 2249427 w 4471962"/>
              <a:gd name="connsiteY0" fmla="*/ 0 h 4429294"/>
              <a:gd name="connsiteX1" fmla="*/ 2573277 w 4471962"/>
              <a:gd name="connsiteY1" fmla="*/ 15875 h 4429294"/>
              <a:gd name="connsiteX2" fmla="*/ 2868552 w 4471962"/>
              <a:gd name="connsiteY2" fmla="*/ 85725 h 4429294"/>
              <a:gd name="connsiteX3" fmla="*/ 3087627 w 4471962"/>
              <a:gd name="connsiteY3" fmla="*/ 171450 h 4429294"/>
              <a:gd name="connsiteX4" fmla="*/ 3192402 w 4471962"/>
              <a:gd name="connsiteY4" fmla="*/ 228600 h 4429294"/>
              <a:gd name="connsiteX5" fmla="*/ 3373377 w 4471962"/>
              <a:gd name="connsiteY5" fmla="*/ 323850 h 4429294"/>
              <a:gd name="connsiteX6" fmla="*/ 3763902 w 4471962"/>
              <a:gd name="connsiteY6" fmla="*/ 581025 h 4429294"/>
              <a:gd name="connsiteX7" fmla="*/ 3979802 w 4471962"/>
              <a:gd name="connsiteY7" fmla="*/ 819150 h 4429294"/>
              <a:gd name="connsiteX8" fmla="*/ 4116327 w 4471962"/>
              <a:gd name="connsiteY8" fmla="*/ 990600 h 4429294"/>
              <a:gd name="connsiteX9" fmla="*/ 4202052 w 4471962"/>
              <a:gd name="connsiteY9" fmla="*/ 1143000 h 4429294"/>
              <a:gd name="connsiteX10" fmla="*/ 4259202 w 4471962"/>
              <a:gd name="connsiteY10" fmla="*/ 1266825 h 4429294"/>
              <a:gd name="connsiteX11" fmla="*/ 4297302 w 4471962"/>
              <a:gd name="connsiteY11" fmla="*/ 1362075 h 4429294"/>
              <a:gd name="connsiteX12" fmla="*/ 4344927 w 4471962"/>
              <a:gd name="connsiteY12" fmla="*/ 1552575 h 4429294"/>
              <a:gd name="connsiteX13" fmla="*/ 4383027 w 4471962"/>
              <a:gd name="connsiteY13" fmla="*/ 1685925 h 4429294"/>
              <a:gd name="connsiteX14" fmla="*/ 4471927 w 4471962"/>
              <a:gd name="connsiteY14" fmla="*/ 2181225 h 4429294"/>
              <a:gd name="connsiteX15" fmla="*/ 4398902 w 4471962"/>
              <a:gd name="connsiteY15" fmla="*/ 2768600 h 4429294"/>
              <a:gd name="connsiteX16" fmla="*/ 4335402 w 4471962"/>
              <a:gd name="connsiteY16" fmla="*/ 2990850 h 4429294"/>
              <a:gd name="connsiteX17" fmla="*/ 4230627 w 4471962"/>
              <a:gd name="connsiteY17" fmla="*/ 3248025 h 4429294"/>
              <a:gd name="connsiteX18" fmla="*/ 4135377 w 4471962"/>
              <a:gd name="connsiteY18" fmla="*/ 3400425 h 4429294"/>
              <a:gd name="connsiteX19" fmla="*/ 4011552 w 4471962"/>
              <a:gd name="connsiteY19" fmla="*/ 3533775 h 4429294"/>
              <a:gd name="connsiteX20" fmla="*/ 3906777 w 4471962"/>
              <a:gd name="connsiteY20" fmla="*/ 3648075 h 4429294"/>
              <a:gd name="connsiteX21" fmla="*/ 3611502 w 4471962"/>
              <a:gd name="connsiteY21" fmla="*/ 3971925 h 4429294"/>
              <a:gd name="connsiteX22" fmla="*/ 3468627 w 4471962"/>
              <a:gd name="connsiteY22" fmla="*/ 4083050 h 4429294"/>
              <a:gd name="connsiteX23" fmla="*/ 3173352 w 4471962"/>
              <a:gd name="connsiteY23" fmla="*/ 4222750 h 4429294"/>
              <a:gd name="connsiteX24" fmla="*/ 3020952 w 4471962"/>
              <a:gd name="connsiteY24" fmla="*/ 4286250 h 4429294"/>
              <a:gd name="connsiteX25" fmla="*/ 2887602 w 4471962"/>
              <a:gd name="connsiteY25" fmla="*/ 4333875 h 4429294"/>
              <a:gd name="connsiteX26" fmla="*/ 2763777 w 4471962"/>
              <a:gd name="connsiteY26" fmla="*/ 4371975 h 4429294"/>
              <a:gd name="connsiteX27" fmla="*/ 2532002 w 4471962"/>
              <a:gd name="connsiteY27" fmla="*/ 4391025 h 4429294"/>
              <a:gd name="connsiteX28" fmla="*/ 2077977 w 4471962"/>
              <a:gd name="connsiteY28" fmla="*/ 4429125 h 4429294"/>
              <a:gd name="connsiteX29" fmla="*/ 1887477 w 4471962"/>
              <a:gd name="connsiteY29" fmla="*/ 4400550 h 4429294"/>
              <a:gd name="connsiteX30" fmla="*/ 1525527 w 4471962"/>
              <a:gd name="connsiteY30" fmla="*/ 4305300 h 4429294"/>
              <a:gd name="connsiteX31" fmla="*/ 1284227 w 4471962"/>
              <a:gd name="connsiteY31" fmla="*/ 4216400 h 4429294"/>
              <a:gd name="connsiteX32" fmla="*/ 1115952 w 4471962"/>
              <a:gd name="connsiteY32" fmla="*/ 4111625 h 4429294"/>
              <a:gd name="connsiteX33" fmla="*/ 896877 w 4471962"/>
              <a:gd name="connsiteY33" fmla="*/ 3968750 h 4429294"/>
              <a:gd name="connsiteX34" fmla="*/ 563502 w 4471962"/>
              <a:gd name="connsiteY34" fmla="*/ 3657600 h 4429294"/>
              <a:gd name="connsiteX35" fmla="*/ 417452 w 4471962"/>
              <a:gd name="connsiteY35" fmla="*/ 3470275 h 4429294"/>
              <a:gd name="connsiteX36" fmla="*/ 287277 w 4471962"/>
              <a:gd name="connsiteY36" fmla="*/ 3244850 h 4429294"/>
              <a:gd name="connsiteX37" fmla="*/ 134877 w 4471962"/>
              <a:gd name="connsiteY37" fmla="*/ 2892425 h 4429294"/>
              <a:gd name="connsiteX38" fmla="*/ 26927 w 4471962"/>
              <a:gd name="connsiteY38" fmla="*/ 2368550 h 4429294"/>
              <a:gd name="connsiteX39" fmla="*/ 1527 w 4471962"/>
              <a:gd name="connsiteY39" fmla="*/ 1781175 h 4429294"/>
              <a:gd name="connsiteX40" fmla="*/ 58677 w 4471962"/>
              <a:gd name="connsiteY40" fmla="*/ 1590675 h 4429294"/>
              <a:gd name="connsiteX41" fmla="*/ 106302 w 4471962"/>
              <a:gd name="connsiteY41" fmla="*/ 1419225 h 4429294"/>
              <a:gd name="connsiteX42" fmla="*/ 182502 w 4471962"/>
              <a:gd name="connsiteY42" fmla="*/ 1276350 h 4429294"/>
              <a:gd name="connsiteX43" fmla="*/ 268227 w 4471962"/>
              <a:gd name="connsiteY43" fmla="*/ 1114425 h 4429294"/>
              <a:gd name="connsiteX44" fmla="*/ 430152 w 4471962"/>
              <a:gd name="connsiteY44" fmla="*/ 857250 h 4429294"/>
              <a:gd name="connsiteX45" fmla="*/ 487302 w 4471962"/>
              <a:gd name="connsiteY45" fmla="*/ 800100 h 4429294"/>
              <a:gd name="connsiteX46" fmla="*/ 620652 w 4471962"/>
              <a:gd name="connsiteY46" fmla="*/ 676275 h 4429294"/>
              <a:gd name="connsiteX47" fmla="*/ 839727 w 4471962"/>
              <a:gd name="connsiteY47" fmla="*/ 504825 h 4429294"/>
              <a:gd name="connsiteX48" fmla="*/ 1119127 w 4471962"/>
              <a:gd name="connsiteY48" fmla="*/ 311150 h 4429294"/>
              <a:gd name="connsiteX49" fmla="*/ 1477902 w 4471962"/>
              <a:gd name="connsiteY49" fmla="*/ 152400 h 4429294"/>
              <a:gd name="connsiteX50" fmla="*/ 1592202 w 4471962"/>
              <a:gd name="connsiteY50" fmla="*/ 111125 h 4429294"/>
              <a:gd name="connsiteX51" fmla="*/ 2224027 w 4471962"/>
              <a:gd name="connsiteY51" fmla="*/ 12700 h 4429294"/>
              <a:gd name="connsiteX0" fmla="*/ 2231942 w 4454477"/>
              <a:gd name="connsiteY0" fmla="*/ 0 h 4429294"/>
              <a:gd name="connsiteX1" fmla="*/ 2555792 w 4454477"/>
              <a:gd name="connsiteY1" fmla="*/ 15875 h 4429294"/>
              <a:gd name="connsiteX2" fmla="*/ 2851067 w 4454477"/>
              <a:gd name="connsiteY2" fmla="*/ 85725 h 4429294"/>
              <a:gd name="connsiteX3" fmla="*/ 3070142 w 4454477"/>
              <a:gd name="connsiteY3" fmla="*/ 171450 h 4429294"/>
              <a:gd name="connsiteX4" fmla="*/ 3174917 w 4454477"/>
              <a:gd name="connsiteY4" fmla="*/ 228600 h 4429294"/>
              <a:gd name="connsiteX5" fmla="*/ 3355892 w 4454477"/>
              <a:gd name="connsiteY5" fmla="*/ 323850 h 4429294"/>
              <a:gd name="connsiteX6" fmla="*/ 3746417 w 4454477"/>
              <a:gd name="connsiteY6" fmla="*/ 581025 h 4429294"/>
              <a:gd name="connsiteX7" fmla="*/ 3962317 w 4454477"/>
              <a:gd name="connsiteY7" fmla="*/ 819150 h 4429294"/>
              <a:gd name="connsiteX8" fmla="*/ 4098842 w 4454477"/>
              <a:gd name="connsiteY8" fmla="*/ 990600 h 4429294"/>
              <a:gd name="connsiteX9" fmla="*/ 4184567 w 4454477"/>
              <a:gd name="connsiteY9" fmla="*/ 1143000 h 4429294"/>
              <a:gd name="connsiteX10" fmla="*/ 4241717 w 4454477"/>
              <a:gd name="connsiteY10" fmla="*/ 1266825 h 4429294"/>
              <a:gd name="connsiteX11" fmla="*/ 4279817 w 4454477"/>
              <a:gd name="connsiteY11" fmla="*/ 1362075 h 4429294"/>
              <a:gd name="connsiteX12" fmla="*/ 4327442 w 4454477"/>
              <a:gd name="connsiteY12" fmla="*/ 1552575 h 4429294"/>
              <a:gd name="connsiteX13" fmla="*/ 4365542 w 4454477"/>
              <a:gd name="connsiteY13" fmla="*/ 1685925 h 4429294"/>
              <a:gd name="connsiteX14" fmla="*/ 4454442 w 4454477"/>
              <a:gd name="connsiteY14" fmla="*/ 2181225 h 4429294"/>
              <a:gd name="connsiteX15" fmla="*/ 4381417 w 4454477"/>
              <a:gd name="connsiteY15" fmla="*/ 2768600 h 4429294"/>
              <a:gd name="connsiteX16" fmla="*/ 4317917 w 4454477"/>
              <a:gd name="connsiteY16" fmla="*/ 2990850 h 4429294"/>
              <a:gd name="connsiteX17" fmla="*/ 4213142 w 4454477"/>
              <a:gd name="connsiteY17" fmla="*/ 3248025 h 4429294"/>
              <a:gd name="connsiteX18" fmla="*/ 4117892 w 4454477"/>
              <a:gd name="connsiteY18" fmla="*/ 3400425 h 4429294"/>
              <a:gd name="connsiteX19" fmla="*/ 3994067 w 4454477"/>
              <a:gd name="connsiteY19" fmla="*/ 3533775 h 4429294"/>
              <a:gd name="connsiteX20" fmla="*/ 3889292 w 4454477"/>
              <a:gd name="connsiteY20" fmla="*/ 3648075 h 4429294"/>
              <a:gd name="connsiteX21" fmla="*/ 3594017 w 4454477"/>
              <a:gd name="connsiteY21" fmla="*/ 3971925 h 4429294"/>
              <a:gd name="connsiteX22" fmla="*/ 3451142 w 4454477"/>
              <a:gd name="connsiteY22" fmla="*/ 4083050 h 4429294"/>
              <a:gd name="connsiteX23" fmla="*/ 3155867 w 4454477"/>
              <a:gd name="connsiteY23" fmla="*/ 4222750 h 4429294"/>
              <a:gd name="connsiteX24" fmla="*/ 3003467 w 4454477"/>
              <a:gd name="connsiteY24" fmla="*/ 4286250 h 4429294"/>
              <a:gd name="connsiteX25" fmla="*/ 2870117 w 4454477"/>
              <a:gd name="connsiteY25" fmla="*/ 4333875 h 4429294"/>
              <a:gd name="connsiteX26" fmla="*/ 2746292 w 4454477"/>
              <a:gd name="connsiteY26" fmla="*/ 4371975 h 4429294"/>
              <a:gd name="connsiteX27" fmla="*/ 2514517 w 4454477"/>
              <a:gd name="connsiteY27" fmla="*/ 4391025 h 4429294"/>
              <a:gd name="connsiteX28" fmla="*/ 2060492 w 4454477"/>
              <a:gd name="connsiteY28" fmla="*/ 4429125 h 4429294"/>
              <a:gd name="connsiteX29" fmla="*/ 1869992 w 4454477"/>
              <a:gd name="connsiteY29" fmla="*/ 4400550 h 4429294"/>
              <a:gd name="connsiteX30" fmla="*/ 1508042 w 4454477"/>
              <a:gd name="connsiteY30" fmla="*/ 4305300 h 4429294"/>
              <a:gd name="connsiteX31" fmla="*/ 1266742 w 4454477"/>
              <a:gd name="connsiteY31" fmla="*/ 4216400 h 4429294"/>
              <a:gd name="connsiteX32" fmla="*/ 1098467 w 4454477"/>
              <a:gd name="connsiteY32" fmla="*/ 4111625 h 4429294"/>
              <a:gd name="connsiteX33" fmla="*/ 879392 w 4454477"/>
              <a:gd name="connsiteY33" fmla="*/ 3968750 h 4429294"/>
              <a:gd name="connsiteX34" fmla="*/ 546017 w 4454477"/>
              <a:gd name="connsiteY34" fmla="*/ 3657600 h 4429294"/>
              <a:gd name="connsiteX35" fmla="*/ 399967 w 4454477"/>
              <a:gd name="connsiteY35" fmla="*/ 3470275 h 4429294"/>
              <a:gd name="connsiteX36" fmla="*/ 269792 w 4454477"/>
              <a:gd name="connsiteY36" fmla="*/ 3244850 h 4429294"/>
              <a:gd name="connsiteX37" fmla="*/ 117392 w 4454477"/>
              <a:gd name="connsiteY37" fmla="*/ 2892425 h 4429294"/>
              <a:gd name="connsiteX38" fmla="*/ 9442 w 4454477"/>
              <a:gd name="connsiteY38" fmla="*/ 2368550 h 4429294"/>
              <a:gd name="connsiteX39" fmla="*/ 15792 w 4454477"/>
              <a:gd name="connsiteY39" fmla="*/ 1870075 h 4429294"/>
              <a:gd name="connsiteX40" fmla="*/ 41192 w 4454477"/>
              <a:gd name="connsiteY40" fmla="*/ 1590675 h 4429294"/>
              <a:gd name="connsiteX41" fmla="*/ 88817 w 4454477"/>
              <a:gd name="connsiteY41" fmla="*/ 1419225 h 4429294"/>
              <a:gd name="connsiteX42" fmla="*/ 165017 w 4454477"/>
              <a:gd name="connsiteY42" fmla="*/ 1276350 h 4429294"/>
              <a:gd name="connsiteX43" fmla="*/ 250742 w 4454477"/>
              <a:gd name="connsiteY43" fmla="*/ 1114425 h 4429294"/>
              <a:gd name="connsiteX44" fmla="*/ 412667 w 4454477"/>
              <a:gd name="connsiteY44" fmla="*/ 857250 h 4429294"/>
              <a:gd name="connsiteX45" fmla="*/ 469817 w 4454477"/>
              <a:gd name="connsiteY45" fmla="*/ 800100 h 4429294"/>
              <a:gd name="connsiteX46" fmla="*/ 603167 w 4454477"/>
              <a:gd name="connsiteY46" fmla="*/ 676275 h 4429294"/>
              <a:gd name="connsiteX47" fmla="*/ 822242 w 4454477"/>
              <a:gd name="connsiteY47" fmla="*/ 504825 h 4429294"/>
              <a:gd name="connsiteX48" fmla="*/ 1101642 w 4454477"/>
              <a:gd name="connsiteY48" fmla="*/ 311150 h 4429294"/>
              <a:gd name="connsiteX49" fmla="*/ 1460417 w 4454477"/>
              <a:gd name="connsiteY49" fmla="*/ 152400 h 4429294"/>
              <a:gd name="connsiteX50" fmla="*/ 1574717 w 4454477"/>
              <a:gd name="connsiteY50" fmla="*/ 111125 h 4429294"/>
              <a:gd name="connsiteX51" fmla="*/ 2206542 w 4454477"/>
              <a:gd name="connsiteY51" fmla="*/ 12700 h 4429294"/>
              <a:gd name="connsiteX0" fmla="*/ 2233750 w 4456285"/>
              <a:gd name="connsiteY0" fmla="*/ 0 h 4429294"/>
              <a:gd name="connsiteX1" fmla="*/ 2557600 w 4456285"/>
              <a:gd name="connsiteY1" fmla="*/ 15875 h 4429294"/>
              <a:gd name="connsiteX2" fmla="*/ 2852875 w 4456285"/>
              <a:gd name="connsiteY2" fmla="*/ 85725 h 4429294"/>
              <a:gd name="connsiteX3" fmla="*/ 3071950 w 4456285"/>
              <a:gd name="connsiteY3" fmla="*/ 171450 h 4429294"/>
              <a:gd name="connsiteX4" fmla="*/ 3176725 w 4456285"/>
              <a:gd name="connsiteY4" fmla="*/ 228600 h 4429294"/>
              <a:gd name="connsiteX5" fmla="*/ 3357700 w 4456285"/>
              <a:gd name="connsiteY5" fmla="*/ 323850 h 4429294"/>
              <a:gd name="connsiteX6" fmla="*/ 3748225 w 4456285"/>
              <a:gd name="connsiteY6" fmla="*/ 581025 h 4429294"/>
              <a:gd name="connsiteX7" fmla="*/ 3964125 w 4456285"/>
              <a:gd name="connsiteY7" fmla="*/ 819150 h 4429294"/>
              <a:gd name="connsiteX8" fmla="*/ 4100650 w 4456285"/>
              <a:gd name="connsiteY8" fmla="*/ 990600 h 4429294"/>
              <a:gd name="connsiteX9" fmla="*/ 4186375 w 4456285"/>
              <a:gd name="connsiteY9" fmla="*/ 1143000 h 4429294"/>
              <a:gd name="connsiteX10" fmla="*/ 4243525 w 4456285"/>
              <a:gd name="connsiteY10" fmla="*/ 1266825 h 4429294"/>
              <a:gd name="connsiteX11" fmla="*/ 4281625 w 4456285"/>
              <a:gd name="connsiteY11" fmla="*/ 1362075 h 4429294"/>
              <a:gd name="connsiteX12" fmla="*/ 4329250 w 4456285"/>
              <a:gd name="connsiteY12" fmla="*/ 1552575 h 4429294"/>
              <a:gd name="connsiteX13" fmla="*/ 4367350 w 4456285"/>
              <a:gd name="connsiteY13" fmla="*/ 1685925 h 4429294"/>
              <a:gd name="connsiteX14" fmla="*/ 4456250 w 4456285"/>
              <a:gd name="connsiteY14" fmla="*/ 2181225 h 4429294"/>
              <a:gd name="connsiteX15" fmla="*/ 4383225 w 4456285"/>
              <a:gd name="connsiteY15" fmla="*/ 2768600 h 4429294"/>
              <a:gd name="connsiteX16" fmla="*/ 4319725 w 4456285"/>
              <a:gd name="connsiteY16" fmla="*/ 2990850 h 4429294"/>
              <a:gd name="connsiteX17" fmla="*/ 4214950 w 4456285"/>
              <a:gd name="connsiteY17" fmla="*/ 3248025 h 4429294"/>
              <a:gd name="connsiteX18" fmla="*/ 4119700 w 4456285"/>
              <a:gd name="connsiteY18" fmla="*/ 3400425 h 4429294"/>
              <a:gd name="connsiteX19" fmla="*/ 3995875 w 4456285"/>
              <a:gd name="connsiteY19" fmla="*/ 3533775 h 4429294"/>
              <a:gd name="connsiteX20" fmla="*/ 3891100 w 4456285"/>
              <a:gd name="connsiteY20" fmla="*/ 3648075 h 4429294"/>
              <a:gd name="connsiteX21" fmla="*/ 3595825 w 4456285"/>
              <a:gd name="connsiteY21" fmla="*/ 3971925 h 4429294"/>
              <a:gd name="connsiteX22" fmla="*/ 3452950 w 4456285"/>
              <a:gd name="connsiteY22" fmla="*/ 4083050 h 4429294"/>
              <a:gd name="connsiteX23" fmla="*/ 3157675 w 4456285"/>
              <a:gd name="connsiteY23" fmla="*/ 4222750 h 4429294"/>
              <a:gd name="connsiteX24" fmla="*/ 3005275 w 4456285"/>
              <a:gd name="connsiteY24" fmla="*/ 4286250 h 4429294"/>
              <a:gd name="connsiteX25" fmla="*/ 2871925 w 4456285"/>
              <a:gd name="connsiteY25" fmla="*/ 4333875 h 4429294"/>
              <a:gd name="connsiteX26" fmla="*/ 2748100 w 4456285"/>
              <a:gd name="connsiteY26" fmla="*/ 4371975 h 4429294"/>
              <a:gd name="connsiteX27" fmla="*/ 2516325 w 4456285"/>
              <a:gd name="connsiteY27" fmla="*/ 4391025 h 4429294"/>
              <a:gd name="connsiteX28" fmla="*/ 2062300 w 4456285"/>
              <a:gd name="connsiteY28" fmla="*/ 4429125 h 4429294"/>
              <a:gd name="connsiteX29" fmla="*/ 1871800 w 4456285"/>
              <a:gd name="connsiteY29" fmla="*/ 4400550 h 4429294"/>
              <a:gd name="connsiteX30" fmla="*/ 1509850 w 4456285"/>
              <a:gd name="connsiteY30" fmla="*/ 4305300 h 4429294"/>
              <a:gd name="connsiteX31" fmla="*/ 1268550 w 4456285"/>
              <a:gd name="connsiteY31" fmla="*/ 4216400 h 4429294"/>
              <a:gd name="connsiteX32" fmla="*/ 1100275 w 4456285"/>
              <a:gd name="connsiteY32" fmla="*/ 4111625 h 4429294"/>
              <a:gd name="connsiteX33" fmla="*/ 881200 w 4456285"/>
              <a:gd name="connsiteY33" fmla="*/ 3968750 h 4429294"/>
              <a:gd name="connsiteX34" fmla="*/ 547825 w 4456285"/>
              <a:gd name="connsiteY34" fmla="*/ 3657600 h 4429294"/>
              <a:gd name="connsiteX35" fmla="*/ 401775 w 4456285"/>
              <a:gd name="connsiteY35" fmla="*/ 3470275 h 4429294"/>
              <a:gd name="connsiteX36" fmla="*/ 271600 w 4456285"/>
              <a:gd name="connsiteY36" fmla="*/ 3244850 h 4429294"/>
              <a:gd name="connsiteX37" fmla="*/ 119200 w 4456285"/>
              <a:gd name="connsiteY37" fmla="*/ 2892425 h 4429294"/>
              <a:gd name="connsiteX38" fmla="*/ 11250 w 4456285"/>
              <a:gd name="connsiteY38" fmla="*/ 2368550 h 4429294"/>
              <a:gd name="connsiteX39" fmla="*/ 17600 w 4456285"/>
              <a:gd name="connsiteY39" fmla="*/ 1870075 h 4429294"/>
              <a:gd name="connsiteX40" fmla="*/ 90625 w 4456285"/>
              <a:gd name="connsiteY40" fmla="*/ 1419225 h 4429294"/>
              <a:gd name="connsiteX41" fmla="*/ 166825 w 4456285"/>
              <a:gd name="connsiteY41" fmla="*/ 1276350 h 4429294"/>
              <a:gd name="connsiteX42" fmla="*/ 252550 w 4456285"/>
              <a:gd name="connsiteY42" fmla="*/ 1114425 h 4429294"/>
              <a:gd name="connsiteX43" fmla="*/ 414475 w 4456285"/>
              <a:gd name="connsiteY43" fmla="*/ 857250 h 4429294"/>
              <a:gd name="connsiteX44" fmla="*/ 471625 w 4456285"/>
              <a:gd name="connsiteY44" fmla="*/ 800100 h 4429294"/>
              <a:gd name="connsiteX45" fmla="*/ 604975 w 4456285"/>
              <a:gd name="connsiteY45" fmla="*/ 676275 h 4429294"/>
              <a:gd name="connsiteX46" fmla="*/ 824050 w 4456285"/>
              <a:gd name="connsiteY46" fmla="*/ 504825 h 4429294"/>
              <a:gd name="connsiteX47" fmla="*/ 1103450 w 4456285"/>
              <a:gd name="connsiteY47" fmla="*/ 311150 h 4429294"/>
              <a:gd name="connsiteX48" fmla="*/ 1462225 w 4456285"/>
              <a:gd name="connsiteY48" fmla="*/ 152400 h 4429294"/>
              <a:gd name="connsiteX49" fmla="*/ 1576525 w 4456285"/>
              <a:gd name="connsiteY49" fmla="*/ 111125 h 4429294"/>
              <a:gd name="connsiteX50" fmla="*/ 2208350 w 4456285"/>
              <a:gd name="connsiteY50" fmla="*/ 12700 h 4429294"/>
              <a:gd name="connsiteX0" fmla="*/ 2237540 w 4460075"/>
              <a:gd name="connsiteY0" fmla="*/ 0 h 4429294"/>
              <a:gd name="connsiteX1" fmla="*/ 2561390 w 4460075"/>
              <a:gd name="connsiteY1" fmla="*/ 15875 h 4429294"/>
              <a:gd name="connsiteX2" fmla="*/ 2856665 w 4460075"/>
              <a:gd name="connsiteY2" fmla="*/ 85725 h 4429294"/>
              <a:gd name="connsiteX3" fmla="*/ 3075740 w 4460075"/>
              <a:gd name="connsiteY3" fmla="*/ 171450 h 4429294"/>
              <a:gd name="connsiteX4" fmla="*/ 3180515 w 4460075"/>
              <a:gd name="connsiteY4" fmla="*/ 228600 h 4429294"/>
              <a:gd name="connsiteX5" fmla="*/ 3361490 w 4460075"/>
              <a:gd name="connsiteY5" fmla="*/ 323850 h 4429294"/>
              <a:gd name="connsiteX6" fmla="*/ 3752015 w 4460075"/>
              <a:gd name="connsiteY6" fmla="*/ 581025 h 4429294"/>
              <a:gd name="connsiteX7" fmla="*/ 3967915 w 4460075"/>
              <a:gd name="connsiteY7" fmla="*/ 819150 h 4429294"/>
              <a:gd name="connsiteX8" fmla="*/ 4104440 w 4460075"/>
              <a:gd name="connsiteY8" fmla="*/ 990600 h 4429294"/>
              <a:gd name="connsiteX9" fmla="*/ 4190165 w 4460075"/>
              <a:gd name="connsiteY9" fmla="*/ 1143000 h 4429294"/>
              <a:gd name="connsiteX10" fmla="*/ 4247315 w 4460075"/>
              <a:gd name="connsiteY10" fmla="*/ 1266825 h 4429294"/>
              <a:gd name="connsiteX11" fmla="*/ 4285415 w 4460075"/>
              <a:gd name="connsiteY11" fmla="*/ 1362075 h 4429294"/>
              <a:gd name="connsiteX12" fmla="*/ 4333040 w 4460075"/>
              <a:gd name="connsiteY12" fmla="*/ 1552575 h 4429294"/>
              <a:gd name="connsiteX13" fmla="*/ 4371140 w 4460075"/>
              <a:gd name="connsiteY13" fmla="*/ 1685925 h 4429294"/>
              <a:gd name="connsiteX14" fmla="*/ 4460040 w 4460075"/>
              <a:gd name="connsiteY14" fmla="*/ 2181225 h 4429294"/>
              <a:gd name="connsiteX15" fmla="*/ 4387015 w 4460075"/>
              <a:gd name="connsiteY15" fmla="*/ 2768600 h 4429294"/>
              <a:gd name="connsiteX16" fmla="*/ 4323515 w 4460075"/>
              <a:gd name="connsiteY16" fmla="*/ 2990850 h 4429294"/>
              <a:gd name="connsiteX17" fmla="*/ 4218740 w 4460075"/>
              <a:gd name="connsiteY17" fmla="*/ 3248025 h 4429294"/>
              <a:gd name="connsiteX18" fmla="*/ 4123490 w 4460075"/>
              <a:gd name="connsiteY18" fmla="*/ 3400425 h 4429294"/>
              <a:gd name="connsiteX19" fmla="*/ 3999665 w 4460075"/>
              <a:gd name="connsiteY19" fmla="*/ 3533775 h 4429294"/>
              <a:gd name="connsiteX20" fmla="*/ 3894890 w 4460075"/>
              <a:gd name="connsiteY20" fmla="*/ 3648075 h 4429294"/>
              <a:gd name="connsiteX21" fmla="*/ 3599615 w 4460075"/>
              <a:gd name="connsiteY21" fmla="*/ 3971925 h 4429294"/>
              <a:gd name="connsiteX22" fmla="*/ 3456740 w 4460075"/>
              <a:gd name="connsiteY22" fmla="*/ 4083050 h 4429294"/>
              <a:gd name="connsiteX23" fmla="*/ 3161465 w 4460075"/>
              <a:gd name="connsiteY23" fmla="*/ 4222750 h 4429294"/>
              <a:gd name="connsiteX24" fmla="*/ 3009065 w 4460075"/>
              <a:gd name="connsiteY24" fmla="*/ 4286250 h 4429294"/>
              <a:gd name="connsiteX25" fmla="*/ 2875715 w 4460075"/>
              <a:gd name="connsiteY25" fmla="*/ 4333875 h 4429294"/>
              <a:gd name="connsiteX26" fmla="*/ 2751890 w 4460075"/>
              <a:gd name="connsiteY26" fmla="*/ 4371975 h 4429294"/>
              <a:gd name="connsiteX27" fmla="*/ 2520115 w 4460075"/>
              <a:gd name="connsiteY27" fmla="*/ 4391025 h 4429294"/>
              <a:gd name="connsiteX28" fmla="*/ 2066090 w 4460075"/>
              <a:gd name="connsiteY28" fmla="*/ 4429125 h 4429294"/>
              <a:gd name="connsiteX29" fmla="*/ 1875590 w 4460075"/>
              <a:gd name="connsiteY29" fmla="*/ 4400550 h 4429294"/>
              <a:gd name="connsiteX30" fmla="*/ 1513640 w 4460075"/>
              <a:gd name="connsiteY30" fmla="*/ 4305300 h 4429294"/>
              <a:gd name="connsiteX31" fmla="*/ 1272340 w 4460075"/>
              <a:gd name="connsiteY31" fmla="*/ 4216400 h 4429294"/>
              <a:gd name="connsiteX32" fmla="*/ 1104065 w 4460075"/>
              <a:gd name="connsiteY32" fmla="*/ 4111625 h 4429294"/>
              <a:gd name="connsiteX33" fmla="*/ 884990 w 4460075"/>
              <a:gd name="connsiteY33" fmla="*/ 3968750 h 4429294"/>
              <a:gd name="connsiteX34" fmla="*/ 551615 w 4460075"/>
              <a:gd name="connsiteY34" fmla="*/ 3657600 h 4429294"/>
              <a:gd name="connsiteX35" fmla="*/ 405565 w 4460075"/>
              <a:gd name="connsiteY35" fmla="*/ 3470275 h 4429294"/>
              <a:gd name="connsiteX36" fmla="*/ 275390 w 4460075"/>
              <a:gd name="connsiteY36" fmla="*/ 3244850 h 4429294"/>
              <a:gd name="connsiteX37" fmla="*/ 122990 w 4460075"/>
              <a:gd name="connsiteY37" fmla="*/ 2892425 h 4429294"/>
              <a:gd name="connsiteX38" fmla="*/ 15040 w 4460075"/>
              <a:gd name="connsiteY38" fmla="*/ 2368550 h 4429294"/>
              <a:gd name="connsiteX39" fmla="*/ 21390 w 4460075"/>
              <a:gd name="connsiteY39" fmla="*/ 1870075 h 4429294"/>
              <a:gd name="connsiteX40" fmla="*/ 170615 w 4460075"/>
              <a:gd name="connsiteY40" fmla="*/ 1276350 h 4429294"/>
              <a:gd name="connsiteX41" fmla="*/ 256340 w 4460075"/>
              <a:gd name="connsiteY41" fmla="*/ 1114425 h 4429294"/>
              <a:gd name="connsiteX42" fmla="*/ 418265 w 4460075"/>
              <a:gd name="connsiteY42" fmla="*/ 857250 h 4429294"/>
              <a:gd name="connsiteX43" fmla="*/ 475415 w 4460075"/>
              <a:gd name="connsiteY43" fmla="*/ 800100 h 4429294"/>
              <a:gd name="connsiteX44" fmla="*/ 608765 w 4460075"/>
              <a:gd name="connsiteY44" fmla="*/ 676275 h 4429294"/>
              <a:gd name="connsiteX45" fmla="*/ 827840 w 4460075"/>
              <a:gd name="connsiteY45" fmla="*/ 504825 h 4429294"/>
              <a:gd name="connsiteX46" fmla="*/ 1107240 w 4460075"/>
              <a:gd name="connsiteY46" fmla="*/ 311150 h 4429294"/>
              <a:gd name="connsiteX47" fmla="*/ 1466015 w 4460075"/>
              <a:gd name="connsiteY47" fmla="*/ 152400 h 4429294"/>
              <a:gd name="connsiteX48" fmla="*/ 1580315 w 4460075"/>
              <a:gd name="connsiteY48" fmla="*/ 111125 h 4429294"/>
              <a:gd name="connsiteX49" fmla="*/ 2212140 w 4460075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57065 w 4460800"/>
              <a:gd name="connsiteY41" fmla="*/ 1114425 h 4429294"/>
              <a:gd name="connsiteX42" fmla="*/ 418990 w 4460800"/>
              <a:gd name="connsiteY42" fmla="*/ 857250 h 4429294"/>
              <a:gd name="connsiteX43" fmla="*/ 476140 w 4460800"/>
              <a:gd name="connsiteY43" fmla="*/ 800100 h 4429294"/>
              <a:gd name="connsiteX44" fmla="*/ 609490 w 4460800"/>
              <a:gd name="connsiteY44" fmla="*/ 676275 h 4429294"/>
              <a:gd name="connsiteX45" fmla="*/ 828565 w 4460800"/>
              <a:gd name="connsiteY45" fmla="*/ 504825 h 4429294"/>
              <a:gd name="connsiteX46" fmla="*/ 1107965 w 4460800"/>
              <a:gd name="connsiteY46" fmla="*/ 311150 h 4429294"/>
              <a:gd name="connsiteX47" fmla="*/ 1466740 w 4460800"/>
              <a:gd name="connsiteY47" fmla="*/ 152400 h 4429294"/>
              <a:gd name="connsiteX48" fmla="*/ 1581040 w 4460800"/>
              <a:gd name="connsiteY48" fmla="*/ 111125 h 4429294"/>
              <a:gd name="connsiteX49" fmla="*/ 2212865 w 4460800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418990 w 4460800"/>
              <a:gd name="connsiteY42" fmla="*/ 857250 h 4429294"/>
              <a:gd name="connsiteX43" fmla="*/ 476140 w 4460800"/>
              <a:gd name="connsiteY43" fmla="*/ 800100 h 4429294"/>
              <a:gd name="connsiteX44" fmla="*/ 609490 w 4460800"/>
              <a:gd name="connsiteY44" fmla="*/ 676275 h 4429294"/>
              <a:gd name="connsiteX45" fmla="*/ 828565 w 4460800"/>
              <a:gd name="connsiteY45" fmla="*/ 504825 h 4429294"/>
              <a:gd name="connsiteX46" fmla="*/ 1107965 w 4460800"/>
              <a:gd name="connsiteY46" fmla="*/ 311150 h 4429294"/>
              <a:gd name="connsiteX47" fmla="*/ 1466740 w 4460800"/>
              <a:gd name="connsiteY47" fmla="*/ 152400 h 4429294"/>
              <a:gd name="connsiteX48" fmla="*/ 1581040 w 4460800"/>
              <a:gd name="connsiteY48" fmla="*/ 111125 h 4429294"/>
              <a:gd name="connsiteX49" fmla="*/ 2212865 w 4460800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476140 w 4460800"/>
              <a:gd name="connsiteY42" fmla="*/ 800100 h 4429294"/>
              <a:gd name="connsiteX43" fmla="*/ 609490 w 4460800"/>
              <a:gd name="connsiteY43" fmla="*/ 676275 h 4429294"/>
              <a:gd name="connsiteX44" fmla="*/ 828565 w 4460800"/>
              <a:gd name="connsiteY44" fmla="*/ 504825 h 4429294"/>
              <a:gd name="connsiteX45" fmla="*/ 1107965 w 4460800"/>
              <a:gd name="connsiteY45" fmla="*/ 311150 h 4429294"/>
              <a:gd name="connsiteX46" fmla="*/ 1466740 w 4460800"/>
              <a:gd name="connsiteY46" fmla="*/ 152400 h 4429294"/>
              <a:gd name="connsiteX47" fmla="*/ 1581040 w 4460800"/>
              <a:gd name="connsiteY47" fmla="*/ 111125 h 4429294"/>
              <a:gd name="connsiteX48" fmla="*/ 2212865 w 4460800"/>
              <a:gd name="connsiteY48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609490 w 4460800"/>
              <a:gd name="connsiteY42" fmla="*/ 676275 h 4429294"/>
              <a:gd name="connsiteX43" fmla="*/ 828565 w 4460800"/>
              <a:gd name="connsiteY43" fmla="*/ 504825 h 4429294"/>
              <a:gd name="connsiteX44" fmla="*/ 1107965 w 4460800"/>
              <a:gd name="connsiteY44" fmla="*/ 311150 h 4429294"/>
              <a:gd name="connsiteX45" fmla="*/ 1466740 w 4460800"/>
              <a:gd name="connsiteY45" fmla="*/ 152400 h 4429294"/>
              <a:gd name="connsiteX46" fmla="*/ 1581040 w 4460800"/>
              <a:gd name="connsiteY46" fmla="*/ 111125 h 4429294"/>
              <a:gd name="connsiteX47" fmla="*/ 2212865 w 4460800"/>
              <a:gd name="connsiteY47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609490 w 4460800"/>
              <a:gd name="connsiteY42" fmla="*/ 676275 h 4429294"/>
              <a:gd name="connsiteX43" fmla="*/ 828565 w 4460800"/>
              <a:gd name="connsiteY43" fmla="*/ 504825 h 4429294"/>
              <a:gd name="connsiteX44" fmla="*/ 1107965 w 4460800"/>
              <a:gd name="connsiteY44" fmla="*/ 311150 h 4429294"/>
              <a:gd name="connsiteX45" fmla="*/ 1466740 w 4460800"/>
              <a:gd name="connsiteY45" fmla="*/ 152400 h 4429294"/>
              <a:gd name="connsiteX46" fmla="*/ 1581040 w 4460800"/>
              <a:gd name="connsiteY46" fmla="*/ 111125 h 4429294"/>
              <a:gd name="connsiteX47" fmla="*/ 2212865 w 4460800"/>
              <a:gd name="connsiteY47" fmla="*/ 12700 h 4429294"/>
              <a:gd name="connsiteX48" fmla="*/ 2238265 w 4460800"/>
              <a:gd name="connsiteY48" fmla="*/ 0 h 4429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460800" h="4429294">
                <a:moveTo>
                  <a:pt x="2238265" y="0"/>
                </a:moveTo>
                <a:cubicBezTo>
                  <a:pt x="2346215" y="5292"/>
                  <a:pt x="2458928" y="1588"/>
                  <a:pt x="2562115" y="15875"/>
                </a:cubicBezTo>
                <a:cubicBezTo>
                  <a:pt x="2665302" y="30162"/>
                  <a:pt x="2798653" y="69321"/>
                  <a:pt x="2857390" y="85725"/>
                </a:cubicBezTo>
                <a:cubicBezTo>
                  <a:pt x="2943115" y="111654"/>
                  <a:pt x="3033603" y="153988"/>
                  <a:pt x="3076465" y="171450"/>
                </a:cubicBezTo>
                <a:cubicBezTo>
                  <a:pt x="3130440" y="195262"/>
                  <a:pt x="3133615" y="203200"/>
                  <a:pt x="3181240" y="228600"/>
                </a:cubicBezTo>
                <a:cubicBezTo>
                  <a:pt x="3228865" y="254000"/>
                  <a:pt x="3266965" y="265113"/>
                  <a:pt x="3362215" y="323850"/>
                </a:cubicBezTo>
                <a:cubicBezTo>
                  <a:pt x="3457465" y="382588"/>
                  <a:pt x="3651669" y="498475"/>
                  <a:pt x="3752740" y="581025"/>
                </a:cubicBezTo>
                <a:cubicBezTo>
                  <a:pt x="3853811" y="663575"/>
                  <a:pt x="3909903" y="750888"/>
                  <a:pt x="3968640" y="819150"/>
                </a:cubicBezTo>
                <a:cubicBezTo>
                  <a:pt x="4027378" y="887413"/>
                  <a:pt x="4068123" y="936625"/>
                  <a:pt x="4105165" y="990600"/>
                </a:cubicBezTo>
                <a:cubicBezTo>
                  <a:pt x="4142207" y="1044575"/>
                  <a:pt x="4175015" y="1109663"/>
                  <a:pt x="4190890" y="1143000"/>
                </a:cubicBezTo>
                <a:cubicBezTo>
                  <a:pt x="4214703" y="1189038"/>
                  <a:pt x="4232165" y="1230313"/>
                  <a:pt x="4248040" y="1266825"/>
                </a:cubicBezTo>
                <a:cubicBezTo>
                  <a:pt x="4263915" y="1303338"/>
                  <a:pt x="4271853" y="1314450"/>
                  <a:pt x="4286140" y="1362075"/>
                </a:cubicBezTo>
                <a:cubicBezTo>
                  <a:pt x="4300427" y="1409700"/>
                  <a:pt x="4319478" y="1498600"/>
                  <a:pt x="4333765" y="1552575"/>
                </a:cubicBezTo>
                <a:cubicBezTo>
                  <a:pt x="4348053" y="1606550"/>
                  <a:pt x="4350698" y="1581150"/>
                  <a:pt x="4371865" y="1685925"/>
                </a:cubicBezTo>
                <a:cubicBezTo>
                  <a:pt x="4393032" y="1790700"/>
                  <a:pt x="4459178" y="1982788"/>
                  <a:pt x="4460765" y="2181225"/>
                </a:cubicBezTo>
                <a:cubicBezTo>
                  <a:pt x="4462352" y="2379662"/>
                  <a:pt x="4410494" y="2633663"/>
                  <a:pt x="4387740" y="2768600"/>
                </a:cubicBezTo>
                <a:cubicBezTo>
                  <a:pt x="4364986" y="2903537"/>
                  <a:pt x="4352286" y="2910946"/>
                  <a:pt x="4324240" y="2990850"/>
                </a:cubicBezTo>
                <a:cubicBezTo>
                  <a:pt x="4296194" y="3070754"/>
                  <a:pt x="4252802" y="3179763"/>
                  <a:pt x="4219465" y="3248025"/>
                </a:cubicBezTo>
                <a:cubicBezTo>
                  <a:pt x="4186128" y="3316287"/>
                  <a:pt x="4160728" y="3352800"/>
                  <a:pt x="4124215" y="3400425"/>
                </a:cubicBezTo>
                <a:cubicBezTo>
                  <a:pt x="4087703" y="3448050"/>
                  <a:pt x="4038490" y="3492500"/>
                  <a:pt x="4000390" y="3533775"/>
                </a:cubicBezTo>
                <a:lnTo>
                  <a:pt x="3895615" y="3648075"/>
                </a:lnTo>
                <a:cubicBezTo>
                  <a:pt x="3797190" y="3756025"/>
                  <a:pt x="3673365" y="3899429"/>
                  <a:pt x="3600340" y="3971925"/>
                </a:cubicBezTo>
                <a:cubicBezTo>
                  <a:pt x="3527315" y="4044421"/>
                  <a:pt x="3530490" y="4041246"/>
                  <a:pt x="3457465" y="4083050"/>
                </a:cubicBezTo>
                <a:cubicBezTo>
                  <a:pt x="3384440" y="4124854"/>
                  <a:pt x="3236802" y="4188883"/>
                  <a:pt x="3162190" y="4222750"/>
                </a:cubicBezTo>
                <a:cubicBezTo>
                  <a:pt x="3087578" y="4256617"/>
                  <a:pt x="3038173" y="4283885"/>
                  <a:pt x="3009790" y="4286250"/>
                </a:cubicBezTo>
                <a:cubicBezTo>
                  <a:pt x="2947977" y="4310975"/>
                  <a:pt x="2954113" y="4309602"/>
                  <a:pt x="2876440" y="4333875"/>
                </a:cubicBezTo>
                <a:cubicBezTo>
                  <a:pt x="2853306" y="4341104"/>
                  <a:pt x="2811882" y="4362450"/>
                  <a:pt x="2752615" y="4371975"/>
                </a:cubicBezTo>
                <a:cubicBezTo>
                  <a:pt x="2693348" y="4381500"/>
                  <a:pt x="2635140" y="4381500"/>
                  <a:pt x="2520840" y="4391025"/>
                </a:cubicBezTo>
                <a:cubicBezTo>
                  <a:pt x="2406540" y="4400550"/>
                  <a:pt x="2174236" y="4427538"/>
                  <a:pt x="2066815" y="4429125"/>
                </a:cubicBezTo>
                <a:cubicBezTo>
                  <a:pt x="1959394" y="4430712"/>
                  <a:pt x="1968390" y="4421187"/>
                  <a:pt x="1876315" y="4400550"/>
                </a:cubicBezTo>
                <a:cubicBezTo>
                  <a:pt x="1784240" y="4379913"/>
                  <a:pt x="1614907" y="4335992"/>
                  <a:pt x="1514365" y="4305300"/>
                </a:cubicBezTo>
                <a:cubicBezTo>
                  <a:pt x="1413823" y="4274608"/>
                  <a:pt x="1353498" y="4246033"/>
                  <a:pt x="1273065" y="4216400"/>
                </a:cubicBezTo>
                <a:cubicBezTo>
                  <a:pt x="1206390" y="4187825"/>
                  <a:pt x="1169348" y="4152900"/>
                  <a:pt x="1104790" y="4111625"/>
                </a:cubicBezTo>
                <a:cubicBezTo>
                  <a:pt x="1040232" y="4070350"/>
                  <a:pt x="977790" y="4044421"/>
                  <a:pt x="885715" y="3968750"/>
                </a:cubicBezTo>
                <a:cubicBezTo>
                  <a:pt x="793640" y="3893079"/>
                  <a:pt x="632244" y="3740679"/>
                  <a:pt x="552340" y="3657600"/>
                </a:cubicBezTo>
                <a:cubicBezTo>
                  <a:pt x="472436" y="3574521"/>
                  <a:pt x="452327" y="3539067"/>
                  <a:pt x="406290" y="3470275"/>
                </a:cubicBezTo>
                <a:cubicBezTo>
                  <a:pt x="360253" y="3401483"/>
                  <a:pt x="323211" y="3341158"/>
                  <a:pt x="276115" y="3244850"/>
                </a:cubicBezTo>
                <a:cubicBezTo>
                  <a:pt x="229019" y="3148542"/>
                  <a:pt x="167107" y="3038475"/>
                  <a:pt x="123715" y="2892425"/>
                </a:cubicBezTo>
                <a:cubicBezTo>
                  <a:pt x="80323" y="2746375"/>
                  <a:pt x="37990" y="2553758"/>
                  <a:pt x="15765" y="2368550"/>
                </a:cubicBezTo>
                <a:cubicBezTo>
                  <a:pt x="-6460" y="2183342"/>
                  <a:pt x="-5931" y="2044700"/>
                  <a:pt x="22115" y="1870075"/>
                </a:cubicBezTo>
                <a:cubicBezTo>
                  <a:pt x="50161" y="1695450"/>
                  <a:pt x="139590" y="1446742"/>
                  <a:pt x="184040" y="1320800"/>
                </a:cubicBezTo>
                <a:cubicBezTo>
                  <a:pt x="228490" y="1194858"/>
                  <a:pt x="217907" y="1221846"/>
                  <a:pt x="288815" y="1114425"/>
                </a:cubicBezTo>
                <a:cubicBezTo>
                  <a:pt x="359723" y="1007004"/>
                  <a:pt x="519532" y="777875"/>
                  <a:pt x="609490" y="676275"/>
                </a:cubicBezTo>
                <a:cubicBezTo>
                  <a:pt x="699448" y="574675"/>
                  <a:pt x="745486" y="565679"/>
                  <a:pt x="828565" y="504825"/>
                </a:cubicBezTo>
                <a:cubicBezTo>
                  <a:pt x="911644" y="443971"/>
                  <a:pt x="997898" y="379942"/>
                  <a:pt x="1107965" y="311150"/>
                </a:cubicBezTo>
                <a:cubicBezTo>
                  <a:pt x="1214328" y="252413"/>
                  <a:pt x="1387894" y="185737"/>
                  <a:pt x="1466740" y="152400"/>
                </a:cubicBezTo>
                <a:cubicBezTo>
                  <a:pt x="1545586" y="119063"/>
                  <a:pt x="1456686" y="134408"/>
                  <a:pt x="1581040" y="111125"/>
                </a:cubicBezTo>
                <a:cubicBezTo>
                  <a:pt x="1810698" y="67733"/>
                  <a:pt x="1945107" y="-7408"/>
                  <a:pt x="2212865" y="12700"/>
                </a:cubicBezTo>
                <a:lnTo>
                  <a:pt x="2238265" y="0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40" tIns="45720" rIns="91440" bIns="45720" rtlCol="0" anchor="ctr"/>
          <a:lstStyle/>
          <a:p>
            <a:pPr algn="ctr" fontAlgn="t"/>
            <a:endParaRPr lang="da-DK" sz="1200" b="1">
              <a:solidFill>
                <a:srgbClr val="004C45"/>
              </a:solidFill>
            </a:endParaRP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F731938-42CE-4D46-AA7F-DEAFE45955AA}"/>
              </a:ext>
            </a:extLst>
          </p:cNvPr>
          <p:cNvGrpSpPr/>
          <p:nvPr/>
        </p:nvGrpSpPr>
        <p:grpSpPr>
          <a:xfrm>
            <a:off x="2905803" y="2730339"/>
            <a:ext cx="498628" cy="498626"/>
            <a:chOff x="-1159155" y="1739431"/>
            <a:chExt cx="563866" cy="563864"/>
          </a:xfrm>
        </p:grpSpPr>
        <p:sp>
          <p:nvSpPr>
            <p:cNvPr id="56" name="Oval 587">
              <a:extLst>
                <a:ext uri="{FF2B5EF4-FFF2-40B4-BE49-F238E27FC236}">
                  <a16:creationId xmlns:a16="http://schemas.microsoft.com/office/drawing/2014/main" id="{AF0B4162-8281-4556-AD25-BE7405C9AD7E}"/>
                </a:ext>
              </a:extLst>
            </p:cNvPr>
            <p:cNvSpPr/>
            <p:nvPr/>
          </p:nvSpPr>
          <p:spPr>
            <a:xfrm>
              <a:off x="-1159155" y="1739431"/>
              <a:ext cx="563866" cy="563864"/>
            </a:xfrm>
            <a:prstGeom prst="ellipse">
              <a:avLst/>
            </a:pr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57" name="Freeform: Shape 591">
              <a:extLst>
                <a:ext uri="{FF2B5EF4-FFF2-40B4-BE49-F238E27FC236}">
                  <a16:creationId xmlns:a16="http://schemas.microsoft.com/office/drawing/2014/main" id="{F7B69F55-AE0D-4F15-B1CD-DBE9CF54076E}"/>
                </a:ext>
              </a:extLst>
            </p:cNvPr>
            <p:cNvSpPr/>
            <p:nvPr/>
          </p:nvSpPr>
          <p:spPr>
            <a:xfrm>
              <a:off x="-1023531" y="1910589"/>
              <a:ext cx="292618" cy="221550"/>
            </a:xfrm>
            <a:custGeom>
              <a:avLst/>
              <a:gdLst/>
              <a:ahLst/>
              <a:cxnLst/>
              <a:rect l="l" t="t" r="r" b="b"/>
              <a:pathLst>
                <a:path w="75629" h="57261">
                  <a:moveTo>
                    <a:pt x="70210" y="0"/>
                  </a:moveTo>
                  <a:cubicBezTo>
                    <a:pt x="71401" y="0"/>
                    <a:pt x="72405" y="55"/>
                    <a:pt x="73224" y="167"/>
                  </a:cubicBezTo>
                  <a:cubicBezTo>
                    <a:pt x="74042" y="279"/>
                    <a:pt x="74638" y="465"/>
                    <a:pt x="75010" y="725"/>
                  </a:cubicBezTo>
                  <a:cubicBezTo>
                    <a:pt x="75382" y="985"/>
                    <a:pt x="75587" y="1339"/>
                    <a:pt x="75624" y="1785"/>
                  </a:cubicBezTo>
                  <a:cubicBezTo>
                    <a:pt x="75661" y="2232"/>
                    <a:pt x="75494" y="2753"/>
                    <a:pt x="75121" y="3348"/>
                  </a:cubicBezTo>
                  <a:lnTo>
                    <a:pt x="60499" y="34044"/>
                  </a:lnTo>
                  <a:lnTo>
                    <a:pt x="60499" y="48108"/>
                  </a:lnTo>
                  <a:cubicBezTo>
                    <a:pt x="60499" y="50043"/>
                    <a:pt x="60294" y="51606"/>
                    <a:pt x="59885" y="52796"/>
                  </a:cubicBezTo>
                  <a:cubicBezTo>
                    <a:pt x="59476" y="53987"/>
                    <a:pt x="58843" y="54917"/>
                    <a:pt x="57988" y="55587"/>
                  </a:cubicBezTo>
                  <a:cubicBezTo>
                    <a:pt x="57132" y="56257"/>
                    <a:pt x="56053" y="56703"/>
                    <a:pt x="54751" y="56926"/>
                  </a:cubicBezTo>
                  <a:cubicBezTo>
                    <a:pt x="53448" y="57150"/>
                    <a:pt x="51904" y="57261"/>
                    <a:pt x="50118" y="57261"/>
                  </a:cubicBezTo>
                  <a:cubicBezTo>
                    <a:pt x="48332" y="57261"/>
                    <a:pt x="46807" y="57150"/>
                    <a:pt x="45542" y="56926"/>
                  </a:cubicBezTo>
                  <a:cubicBezTo>
                    <a:pt x="44277" y="56703"/>
                    <a:pt x="43235" y="56257"/>
                    <a:pt x="42416" y="55587"/>
                  </a:cubicBezTo>
                  <a:cubicBezTo>
                    <a:pt x="41598" y="54917"/>
                    <a:pt x="40984" y="53987"/>
                    <a:pt x="40575" y="52796"/>
                  </a:cubicBezTo>
                  <a:cubicBezTo>
                    <a:pt x="40165" y="51606"/>
                    <a:pt x="39961" y="50043"/>
                    <a:pt x="39961" y="48108"/>
                  </a:cubicBezTo>
                  <a:cubicBezTo>
                    <a:pt x="39961" y="45876"/>
                    <a:pt x="40072" y="43811"/>
                    <a:pt x="40296" y="41913"/>
                  </a:cubicBezTo>
                  <a:cubicBezTo>
                    <a:pt x="40519" y="40016"/>
                    <a:pt x="40872" y="38211"/>
                    <a:pt x="41356" y="36500"/>
                  </a:cubicBezTo>
                  <a:cubicBezTo>
                    <a:pt x="41840" y="34788"/>
                    <a:pt x="42509" y="33095"/>
                    <a:pt x="43365" y="31421"/>
                  </a:cubicBezTo>
                  <a:cubicBezTo>
                    <a:pt x="44221" y="29747"/>
                    <a:pt x="45244" y="27979"/>
                    <a:pt x="46435" y="26119"/>
                  </a:cubicBezTo>
                  <a:lnTo>
                    <a:pt x="61504" y="3237"/>
                  </a:lnTo>
                  <a:cubicBezTo>
                    <a:pt x="61876" y="2641"/>
                    <a:pt x="62285" y="2158"/>
                    <a:pt x="62732" y="1785"/>
                  </a:cubicBezTo>
                  <a:cubicBezTo>
                    <a:pt x="63178" y="1413"/>
                    <a:pt x="63736" y="1097"/>
                    <a:pt x="64406" y="837"/>
                  </a:cubicBezTo>
                  <a:cubicBezTo>
                    <a:pt x="65076" y="576"/>
                    <a:pt x="65876" y="372"/>
                    <a:pt x="66806" y="223"/>
                  </a:cubicBezTo>
                  <a:cubicBezTo>
                    <a:pt x="67736" y="74"/>
                    <a:pt x="68871" y="0"/>
                    <a:pt x="70210" y="0"/>
                  </a:cubicBezTo>
                  <a:close/>
                  <a:moveTo>
                    <a:pt x="30250" y="0"/>
                  </a:moveTo>
                  <a:cubicBezTo>
                    <a:pt x="31440" y="0"/>
                    <a:pt x="32426" y="55"/>
                    <a:pt x="33208" y="167"/>
                  </a:cubicBezTo>
                  <a:cubicBezTo>
                    <a:pt x="33989" y="279"/>
                    <a:pt x="34584" y="465"/>
                    <a:pt x="34994" y="725"/>
                  </a:cubicBezTo>
                  <a:cubicBezTo>
                    <a:pt x="35403" y="985"/>
                    <a:pt x="35608" y="1339"/>
                    <a:pt x="35608" y="1785"/>
                  </a:cubicBezTo>
                  <a:cubicBezTo>
                    <a:pt x="35608" y="2232"/>
                    <a:pt x="35459" y="2753"/>
                    <a:pt x="35161" y="3348"/>
                  </a:cubicBezTo>
                  <a:lnTo>
                    <a:pt x="20539" y="34044"/>
                  </a:lnTo>
                  <a:lnTo>
                    <a:pt x="20539" y="48108"/>
                  </a:lnTo>
                  <a:cubicBezTo>
                    <a:pt x="20539" y="50043"/>
                    <a:pt x="20334" y="51606"/>
                    <a:pt x="19925" y="52796"/>
                  </a:cubicBezTo>
                  <a:cubicBezTo>
                    <a:pt x="19516" y="53987"/>
                    <a:pt x="18883" y="54917"/>
                    <a:pt x="18027" y="55587"/>
                  </a:cubicBezTo>
                  <a:cubicBezTo>
                    <a:pt x="17172" y="56257"/>
                    <a:pt x="16093" y="56703"/>
                    <a:pt x="14790" y="56926"/>
                  </a:cubicBezTo>
                  <a:cubicBezTo>
                    <a:pt x="13488" y="57150"/>
                    <a:pt x="11944" y="57261"/>
                    <a:pt x="10158" y="57261"/>
                  </a:cubicBezTo>
                  <a:cubicBezTo>
                    <a:pt x="8372" y="57261"/>
                    <a:pt x="6847" y="57150"/>
                    <a:pt x="5582" y="56926"/>
                  </a:cubicBezTo>
                  <a:cubicBezTo>
                    <a:pt x="4316" y="56703"/>
                    <a:pt x="3275" y="56257"/>
                    <a:pt x="2456" y="55587"/>
                  </a:cubicBezTo>
                  <a:cubicBezTo>
                    <a:pt x="1638" y="54917"/>
                    <a:pt x="1024" y="53987"/>
                    <a:pt x="614" y="52796"/>
                  </a:cubicBezTo>
                  <a:cubicBezTo>
                    <a:pt x="205" y="51606"/>
                    <a:pt x="0" y="50043"/>
                    <a:pt x="0" y="48108"/>
                  </a:cubicBezTo>
                  <a:cubicBezTo>
                    <a:pt x="0" y="45876"/>
                    <a:pt x="112" y="43811"/>
                    <a:pt x="335" y="41913"/>
                  </a:cubicBezTo>
                  <a:cubicBezTo>
                    <a:pt x="559" y="40016"/>
                    <a:pt x="912" y="38211"/>
                    <a:pt x="1396" y="36500"/>
                  </a:cubicBezTo>
                  <a:cubicBezTo>
                    <a:pt x="1879" y="34788"/>
                    <a:pt x="2549" y="33095"/>
                    <a:pt x="3405" y="31421"/>
                  </a:cubicBezTo>
                  <a:cubicBezTo>
                    <a:pt x="4261" y="29747"/>
                    <a:pt x="5284" y="27979"/>
                    <a:pt x="6474" y="26119"/>
                  </a:cubicBezTo>
                  <a:lnTo>
                    <a:pt x="21543" y="3237"/>
                  </a:lnTo>
                  <a:cubicBezTo>
                    <a:pt x="21915" y="2641"/>
                    <a:pt x="22325" y="2158"/>
                    <a:pt x="22771" y="1785"/>
                  </a:cubicBezTo>
                  <a:cubicBezTo>
                    <a:pt x="23218" y="1413"/>
                    <a:pt x="23776" y="1097"/>
                    <a:pt x="24445" y="837"/>
                  </a:cubicBezTo>
                  <a:cubicBezTo>
                    <a:pt x="25115" y="576"/>
                    <a:pt x="25915" y="372"/>
                    <a:pt x="26845" y="223"/>
                  </a:cubicBezTo>
                  <a:cubicBezTo>
                    <a:pt x="27776" y="74"/>
                    <a:pt x="28910" y="0"/>
                    <a:pt x="30250" y="0"/>
                  </a:cubicBezTo>
                  <a:close/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a-DK" sz="1400"/>
            </a:p>
          </p:txBody>
        </p:sp>
      </p:grpSp>
      <p:sp>
        <p:nvSpPr>
          <p:cNvPr id="59" name="Freeform: Shape 4">
            <a:extLst>
              <a:ext uri="{FF2B5EF4-FFF2-40B4-BE49-F238E27FC236}">
                <a16:creationId xmlns:a16="http://schemas.microsoft.com/office/drawing/2014/main" id="{643AA2EE-DE73-47DE-BC82-AB8062A1698E}"/>
              </a:ext>
            </a:extLst>
          </p:cNvPr>
          <p:cNvSpPr/>
          <p:nvPr/>
        </p:nvSpPr>
        <p:spPr>
          <a:xfrm>
            <a:off x="2850241" y="3643749"/>
            <a:ext cx="609752" cy="580470"/>
          </a:xfrm>
          <a:custGeom>
            <a:avLst/>
            <a:gdLst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944902 w 4469152"/>
              <a:gd name="connsiteY150" fmla="*/ 476250 h 4496940"/>
              <a:gd name="connsiteX151" fmla="*/ 1087777 w 4469152"/>
              <a:gd name="connsiteY151" fmla="*/ 409575 h 4496940"/>
              <a:gd name="connsiteX152" fmla="*/ 1202077 w 4469152"/>
              <a:gd name="connsiteY152" fmla="*/ 314325 h 4496940"/>
              <a:gd name="connsiteX153" fmla="*/ 1268752 w 4469152"/>
              <a:gd name="connsiteY153" fmla="*/ 285750 h 4496940"/>
              <a:gd name="connsiteX154" fmla="*/ 1411627 w 4469152"/>
              <a:gd name="connsiteY154" fmla="*/ 190500 h 4496940"/>
              <a:gd name="connsiteX155" fmla="*/ 1449727 w 4469152"/>
              <a:gd name="connsiteY155" fmla="*/ 161925 h 4496940"/>
              <a:gd name="connsiteX156" fmla="*/ 1525927 w 4469152"/>
              <a:gd name="connsiteY156" fmla="*/ 152400 h 4496940"/>
              <a:gd name="connsiteX157" fmla="*/ 1583077 w 4469152"/>
              <a:gd name="connsiteY157" fmla="*/ 142875 h 4496940"/>
              <a:gd name="connsiteX158" fmla="*/ 1716427 w 4469152"/>
              <a:gd name="connsiteY158" fmla="*/ 123825 h 4496940"/>
              <a:gd name="connsiteX159" fmla="*/ 1811677 w 4469152"/>
              <a:gd name="connsiteY159" fmla="*/ 114300 h 4496940"/>
              <a:gd name="connsiteX160" fmla="*/ 1859302 w 4469152"/>
              <a:gd name="connsiteY160" fmla="*/ 104775 h 4496940"/>
              <a:gd name="connsiteX161" fmla="*/ 1916452 w 4469152"/>
              <a:gd name="connsiteY161" fmla="*/ 95250 h 4496940"/>
              <a:gd name="connsiteX162" fmla="*/ 2030752 w 4469152"/>
              <a:gd name="connsiteY162" fmla="*/ 66675 h 4496940"/>
              <a:gd name="connsiteX163" fmla="*/ 2097427 w 4469152"/>
              <a:gd name="connsiteY163" fmla="*/ 47625 h 4496940"/>
              <a:gd name="connsiteX164" fmla="*/ 2164102 w 4469152"/>
              <a:gd name="connsiteY164" fmla="*/ 38100 h 4496940"/>
              <a:gd name="connsiteX165" fmla="*/ 2392702 w 4469152"/>
              <a:gd name="connsiteY165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087777 w 4469152"/>
              <a:gd name="connsiteY150" fmla="*/ 409575 h 4496940"/>
              <a:gd name="connsiteX151" fmla="*/ 1202077 w 4469152"/>
              <a:gd name="connsiteY151" fmla="*/ 314325 h 4496940"/>
              <a:gd name="connsiteX152" fmla="*/ 1268752 w 4469152"/>
              <a:gd name="connsiteY152" fmla="*/ 285750 h 4496940"/>
              <a:gd name="connsiteX153" fmla="*/ 1411627 w 4469152"/>
              <a:gd name="connsiteY153" fmla="*/ 190500 h 4496940"/>
              <a:gd name="connsiteX154" fmla="*/ 1449727 w 4469152"/>
              <a:gd name="connsiteY154" fmla="*/ 161925 h 4496940"/>
              <a:gd name="connsiteX155" fmla="*/ 1525927 w 4469152"/>
              <a:gd name="connsiteY155" fmla="*/ 152400 h 4496940"/>
              <a:gd name="connsiteX156" fmla="*/ 1583077 w 4469152"/>
              <a:gd name="connsiteY156" fmla="*/ 142875 h 4496940"/>
              <a:gd name="connsiteX157" fmla="*/ 1716427 w 4469152"/>
              <a:gd name="connsiteY157" fmla="*/ 123825 h 4496940"/>
              <a:gd name="connsiteX158" fmla="*/ 1811677 w 4469152"/>
              <a:gd name="connsiteY158" fmla="*/ 114300 h 4496940"/>
              <a:gd name="connsiteX159" fmla="*/ 1859302 w 4469152"/>
              <a:gd name="connsiteY159" fmla="*/ 104775 h 4496940"/>
              <a:gd name="connsiteX160" fmla="*/ 1916452 w 4469152"/>
              <a:gd name="connsiteY160" fmla="*/ 95250 h 4496940"/>
              <a:gd name="connsiteX161" fmla="*/ 2030752 w 4469152"/>
              <a:gd name="connsiteY161" fmla="*/ 66675 h 4496940"/>
              <a:gd name="connsiteX162" fmla="*/ 2097427 w 4469152"/>
              <a:gd name="connsiteY162" fmla="*/ 47625 h 4496940"/>
              <a:gd name="connsiteX163" fmla="*/ 2164102 w 4469152"/>
              <a:gd name="connsiteY163" fmla="*/ 38100 h 4496940"/>
              <a:gd name="connsiteX164" fmla="*/ 2392702 w 4469152"/>
              <a:gd name="connsiteY164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202077 w 4469152"/>
              <a:gd name="connsiteY150" fmla="*/ 314325 h 4496940"/>
              <a:gd name="connsiteX151" fmla="*/ 1268752 w 4469152"/>
              <a:gd name="connsiteY151" fmla="*/ 285750 h 4496940"/>
              <a:gd name="connsiteX152" fmla="*/ 1411627 w 4469152"/>
              <a:gd name="connsiteY152" fmla="*/ 190500 h 4496940"/>
              <a:gd name="connsiteX153" fmla="*/ 1449727 w 4469152"/>
              <a:gd name="connsiteY153" fmla="*/ 161925 h 4496940"/>
              <a:gd name="connsiteX154" fmla="*/ 1525927 w 4469152"/>
              <a:gd name="connsiteY154" fmla="*/ 152400 h 4496940"/>
              <a:gd name="connsiteX155" fmla="*/ 1583077 w 4469152"/>
              <a:gd name="connsiteY155" fmla="*/ 142875 h 4496940"/>
              <a:gd name="connsiteX156" fmla="*/ 1716427 w 4469152"/>
              <a:gd name="connsiteY156" fmla="*/ 123825 h 4496940"/>
              <a:gd name="connsiteX157" fmla="*/ 1811677 w 4469152"/>
              <a:gd name="connsiteY157" fmla="*/ 114300 h 4496940"/>
              <a:gd name="connsiteX158" fmla="*/ 1859302 w 4469152"/>
              <a:gd name="connsiteY158" fmla="*/ 104775 h 4496940"/>
              <a:gd name="connsiteX159" fmla="*/ 1916452 w 4469152"/>
              <a:gd name="connsiteY159" fmla="*/ 95250 h 4496940"/>
              <a:gd name="connsiteX160" fmla="*/ 2030752 w 4469152"/>
              <a:gd name="connsiteY160" fmla="*/ 66675 h 4496940"/>
              <a:gd name="connsiteX161" fmla="*/ 2097427 w 4469152"/>
              <a:gd name="connsiteY161" fmla="*/ 47625 h 4496940"/>
              <a:gd name="connsiteX162" fmla="*/ 2164102 w 4469152"/>
              <a:gd name="connsiteY162" fmla="*/ 38100 h 4496940"/>
              <a:gd name="connsiteX163" fmla="*/ 2392702 w 4469152"/>
              <a:gd name="connsiteY163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268752 w 4469152"/>
              <a:gd name="connsiteY150" fmla="*/ 285750 h 4496940"/>
              <a:gd name="connsiteX151" fmla="*/ 1411627 w 4469152"/>
              <a:gd name="connsiteY151" fmla="*/ 190500 h 4496940"/>
              <a:gd name="connsiteX152" fmla="*/ 1449727 w 4469152"/>
              <a:gd name="connsiteY152" fmla="*/ 161925 h 4496940"/>
              <a:gd name="connsiteX153" fmla="*/ 1525927 w 4469152"/>
              <a:gd name="connsiteY153" fmla="*/ 152400 h 4496940"/>
              <a:gd name="connsiteX154" fmla="*/ 1583077 w 4469152"/>
              <a:gd name="connsiteY154" fmla="*/ 142875 h 4496940"/>
              <a:gd name="connsiteX155" fmla="*/ 1716427 w 4469152"/>
              <a:gd name="connsiteY155" fmla="*/ 123825 h 4496940"/>
              <a:gd name="connsiteX156" fmla="*/ 1811677 w 4469152"/>
              <a:gd name="connsiteY156" fmla="*/ 114300 h 4496940"/>
              <a:gd name="connsiteX157" fmla="*/ 1859302 w 4469152"/>
              <a:gd name="connsiteY157" fmla="*/ 104775 h 4496940"/>
              <a:gd name="connsiteX158" fmla="*/ 1916452 w 4469152"/>
              <a:gd name="connsiteY158" fmla="*/ 95250 h 4496940"/>
              <a:gd name="connsiteX159" fmla="*/ 2030752 w 4469152"/>
              <a:gd name="connsiteY159" fmla="*/ 66675 h 4496940"/>
              <a:gd name="connsiteX160" fmla="*/ 2097427 w 4469152"/>
              <a:gd name="connsiteY160" fmla="*/ 47625 h 4496940"/>
              <a:gd name="connsiteX161" fmla="*/ 2164102 w 4469152"/>
              <a:gd name="connsiteY161" fmla="*/ 38100 h 4496940"/>
              <a:gd name="connsiteX162" fmla="*/ 2392702 w 4469152"/>
              <a:gd name="connsiteY162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167152 w 4469152"/>
              <a:gd name="connsiteY150" fmla="*/ 311150 h 4496940"/>
              <a:gd name="connsiteX151" fmla="*/ 1268752 w 4469152"/>
              <a:gd name="connsiteY151" fmla="*/ 285750 h 4496940"/>
              <a:gd name="connsiteX152" fmla="*/ 1411627 w 4469152"/>
              <a:gd name="connsiteY152" fmla="*/ 190500 h 4496940"/>
              <a:gd name="connsiteX153" fmla="*/ 1449727 w 4469152"/>
              <a:gd name="connsiteY153" fmla="*/ 161925 h 4496940"/>
              <a:gd name="connsiteX154" fmla="*/ 1525927 w 4469152"/>
              <a:gd name="connsiteY154" fmla="*/ 152400 h 4496940"/>
              <a:gd name="connsiteX155" fmla="*/ 1583077 w 4469152"/>
              <a:gd name="connsiteY155" fmla="*/ 142875 h 4496940"/>
              <a:gd name="connsiteX156" fmla="*/ 1716427 w 4469152"/>
              <a:gd name="connsiteY156" fmla="*/ 123825 h 4496940"/>
              <a:gd name="connsiteX157" fmla="*/ 1811677 w 4469152"/>
              <a:gd name="connsiteY157" fmla="*/ 114300 h 4496940"/>
              <a:gd name="connsiteX158" fmla="*/ 1859302 w 4469152"/>
              <a:gd name="connsiteY158" fmla="*/ 104775 h 4496940"/>
              <a:gd name="connsiteX159" fmla="*/ 1916452 w 4469152"/>
              <a:gd name="connsiteY159" fmla="*/ 95250 h 4496940"/>
              <a:gd name="connsiteX160" fmla="*/ 2030752 w 4469152"/>
              <a:gd name="connsiteY160" fmla="*/ 66675 h 4496940"/>
              <a:gd name="connsiteX161" fmla="*/ 2097427 w 4469152"/>
              <a:gd name="connsiteY161" fmla="*/ 47625 h 4496940"/>
              <a:gd name="connsiteX162" fmla="*/ 2164102 w 4469152"/>
              <a:gd name="connsiteY162" fmla="*/ 38100 h 4496940"/>
              <a:gd name="connsiteX163" fmla="*/ 2392702 w 4469152"/>
              <a:gd name="connsiteY163" fmla="*/ 28575 h 4496940"/>
              <a:gd name="connsiteX0" fmla="*/ 2297452 w 4519952"/>
              <a:gd name="connsiteY0" fmla="*/ 0 h 4496940"/>
              <a:gd name="connsiteX1" fmla="*/ 2421277 w 4519952"/>
              <a:gd name="connsiteY1" fmla="*/ 28575 h 4496940"/>
              <a:gd name="connsiteX2" fmla="*/ 2497477 w 4519952"/>
              <a:gd name="connsiteY2" fmla="*/ 47625 h 4496940"/>
              <a:gd name="connsiteX3" fmla="*/ 2754652 w 4519952"/>
              <a:gd name="connsiteY3" fmla="*/ 66675 h 4496940"/>
              <a:gd name="connsiteX4" fmla="*/ 2830852 w 4519952"/>
              <a:gd name="connsiteY4" fmla="*/ 76200 h 4496940"/>
              <a:gd name="connsiteX5" fmla="*/ 2916577 w 4519952"/>
              <a:gd name="connsiteY5" fmla="*/ 85725 h 4496940"/>
              <a:gd name="connsiteX6" fmla="*/ 2973727 w 4519952"/>
              <a:gd name="connsiteY6" fmla="*/ 114300 h 4496940"/>
              <a:gd name="connsiteX7" fmla="*/ 3011827 w 4519952"/>
              <a:gd name="connsiteY7" fmla="*/ 123825 h 4496940"/>
              <a:gd name="connsiteX8" fmla="*/ 3135652 w 4519952"/>
              <a:gd name="connsiteY8" fmla="*/ 171450 h 4496940"/>
              <a:gd name="connsiteX9" fmla="*/ 3173752 w 4519952"/>
              <a:gd name="connsiteY9" fmla="*/ 190500 h 4496940"/>
              <a:gd name="connsiteX10" fmla="*/ 3240427 w 4519952"/>
              <a:gd name="connsiteY10" fmla="*/ 228600 h 4496940"/>
              <a:gd name="connsiteX11" fmla="*/ 3269002 w 4519952"/>
              <a:gd name="connsiteY11" fmla="*/ 238125 h 4496940"/>
              <a:gd name="connsiteX12" fmla="*/ 3297577 w 4519952"/>
              <a:gd name="connsiteY12" fmla="*/ 257175 h 4496940"/>
              <a:gd name="connsiteX13" fmla="*/ 3326152 w 4519952"/>
              <a:gd name="connsiteY13" fmla="*/ 266700 h 4496940"/>
              <a:gd name="connsiteX14" fmla="*/ 3354727 w 4519952"/>
              <a:gd name="connsiteY14" fmla="*/ 285750 h 4496940"/>
              <a:gd name="connsiteX15" fmla="*/ 3421402 w 4519952"/>
              <a:gd name="connsiteY15" fmla="*/ 323850 h 4496940"/>
              <a:gd name="connsiteX16" fmla="*/ 3469027 w 4519952"/>
              <a:gd name="connsiteY16" fmla="*/ 361950 h 4496940"/>
              <a:gd name="connsiteX17" fmla="*/ 3516652 w 4519952"/>
              <a:gd name="connsiteY17" fmla="*/ 390525 h 4496940"/>
              <a:gd name="connsiteX18" fmla="*/ 3545227 w 4519952"/>
              <a:gd name="connsiteY18" fmla="*/ 419100 h 4496940"/>
              <a:gd name="connsiteX19" fmla="*/ 3602377 w 4519952"/>
              <a:gd name="connsiteY19" fmla="*/ 457200 h 4496940"/>
              <a:gd name="connsiteX20" fmla="*/ 3630952 w 4519952"/>
              <a:gd name="connsiteY20" fmla="*/ 485775 h 4496940"/>
              <a:gd name="connsiteX21" fmla="*/ 3678577 w 4519952"/>
              <a:gd name="connsiteY21" fmla="*/ 504825 h 4496940"/>
              <a:gd name="connsiteX22" fmla="*/ 3745252 w 4519952"/>
              <a:gd name="connsiteY22" fmla="*/ 542925 h 4496940"/>
              <a:gd name="connsiteX23" fmla="*/ 3811927 w 4519952"/>
              <a:gd name="connsiteY23" fmla="*/ 581025 h 4496940"/>
              <a:gd name="connsiteX24" fmla="*/ 3840502 w 4519952"/>
              <a:gd name="connsiteY24" fmla="*/ 600075 h 4496940"/>
              <a:gd name="connsiteX25" fmla="*/ 3869077 w 4519952"/>
              <a:gd name="connsiteY25" fmla="*/ 628650 h 4496940"/>
              <a:gd name="connsiteX26" fmla="*/ 3907177 w 4519952"/>
              <a:gd name="connsiteY26" fmla="*/ 647700 h 4496940"/>
              <a:gd name="connsiteX27" fmla="*/ 3935752 w 4519952"/>
              <a:gd name="connsiteY27" fmla="*/ 676275 h 4496940"/>
              <a:gd name="connsiteX28" fmla="*/ 3992902 w 4519952"/>
              <a:gd name="connsiteY28" fmla="*/ 714375 h 4496940"/>
              <a:gd name="connsiteX29" fmla="*/ 4050052 w 4519952"/>
              <a:gd name="connsiteY29" fmla="*/ 790575 h 4496940"/>
              <a:gd name="connsiteX30" fmla="*/ 4078627 w 4519952"/>
              <a:gd name="connsiteY30" fmla="*/ 838200 h 4496940"/>
              <a:gd name="connsiteX31" fmla="*/ 4107202 w 4519952"/>
              <a:gd name="connsiteY31" fmla="*/ 876300 h 4496940"/>
              <a:gd name="connsiteX32" fmla="*/ 4116727 w 4519952"/>
              <a:gd name="connsiteY32" fmla="*/ 904875 h 4496940"/>
              <a:gd name="connsiteX33" fmla="*/ 4135777 w 4519952"/>
              <a:gd name="connsiteY33" fmla="*/ 933450 h 4496940"/>
              <a:gd name="connsiteX34" fmla="*/ 4164352 w 4519952"/>
              <a:gd name="connsiteY34" fmla="*/ 990600 h 4496940"/>
              <a:gd name="connsiteX35" fmla="*/ 4173877 w 4519952"/>
              <a:gd name="connsiteY35" fmla="*/ 1019175 h 4496940"/>
              <a:gd name="connsiteX36" fmla="*/ 4192927 w 4519952"/>
              <a:gd name="connsiteY36" fmla="*/ 1057275 h 4496940"/>
              <a:gd name="connsiteX37" fmla="*/ 4202452 w 4519952"/>
              <a:gd name="connsiteY37" fmla="*/ 1085850 h 4496940"/>
              <a:gd name="connsiteX38" fmla="*/ 4250077 w 4519952"/>
              <a:gd name="connsiteY38" fmla="*/ 1143000 h 4496940"/>
              <a:gd name="connsiteX39" fmla="*/ 4259602 w 4519952"/>
              <a:gd name="connsiteY39" fmla="*/ 1190625 h 4496940"/>
              <a:gd name="connsiteX40" fmla="*/ 4307227 w 4519952"/>
              <a:gd name="connsiteY40" fmla="*/ 1266825 h 4496940"/>
              <a:gd name="connsiteX41" fmla="*/ 4345327 w 4519952"/>
              <a:gd name="connsiteY41" fmla="*/ 1362075 h 4496940"/>
              <a:gd name="connsiteX42" fmla="*/ 4373902 w 4519952"/>
              <a:gd name="connsiteY42" fmla="*/ 1428750 h 4496940"/>
              <a:gd name="connsiteX43" fmla="*/ 4392952 w 4519952"/>
              <a:gd name="connsiteY43" fmla="*/ 1552575 h 4496940"/>
              <a:gd name="connsiteX44" fmla="*/ 4402477 w 4519952"/>
              <a:gd name="connsiteY44" fmla="*/ 1590675 h 4496940"/>
              <a:gd name="connsiteX45" fmla="*/ 4431052 w 4519952"/>
              <a:gd name="connsiteY45" fmla="*/ 1685925 h 4496940"/>
              <a:gd name="connsiteX46" fmla="*/ 4440577 w 4519952"/>
              <a:gd name="connsiteY46" fmla="*/ 1762125 h 4496940"/>
              <a:gd name="connsiteX47" fmla="*/ 4459627 w 4519952"/>
              <a:gd name="connsiteY47" fmla="*/ 1828800 h 4496940"/>
              <a:gd name="connsiteX48" fmla="*/ 4519952 w 4519952"/>
              <a:gd name="connsiteY48" fmla="*/ 2181225 h 4496940"/>
              <a:gd name="connsiteX49" fmla="*/ 4440577 w 4519952"/>
              <a:gd name="connsiteY49" fmla="*/ 2876550 h 4496940"/>
              <a:gd name="connsiteX50" fmla="*/ 4383427 w 4519952"/>
              <a:gd name="connsiteY50" fmla="*/ 2990850 h 4496940"/>
              <a:gd name="connsiteX51" fmla="*/ 4354852 w 4519952"/>
              <a:gd name="connsiteY51" fmla="*/ 3057525 h 4496940"/>
              <a:gd name="connsiteX52" fmla="*/ 4335802 w 4519952"/>
              <a:gd name="connsiteY52" fmla="*/ 3095625 h 4496940"/>
              <a:gd name="connsiteX53" fmla="*/ 4278652 w 4519952"/>
              <a:gd name="connsiteY53" fmla="*/ 3248025 h 4496940"/>
              <a:gd name="connsiteX54" fmla="*/ 4259602 w 4519952"/>
              <a:gd name="connsiteY54" fmla="*/ 3276600 h 4496940"/>
              <a:gd name="connsiteX55" fmla="*/ 4221502 w 4519952"/>
              <a:gd name="connsiteY55" fmla="*/ 3333750 h 4496940"/>
              <a:gd name="connsiteX56" fmla="*/ 4211977 w 4519952"/>
              <a:gd name="connsiteY56" fmla="*/ 3362325 h 4496940"/>
              <a:gd name="connsiteX57" fmla="*/ 4183402 w 4519952"/>
              <a:gd name="connsiteY57" fmla="*/ 3400425 h 4496940"/>
              <a:gd name="connsiteX58" fmla="*/ 4164352 w 4519952"/>
              <a:gd name="connsiteY58" fmla="*/ 3429000 h 4496940"/>
              <a:gd name="connsiteX59" fmla="*/ 4088152 w 4519952"/>
              <a:gd name="connsiteY59" fmla="*/ 3495675 h 4496940"/>
              <a:gd name="connsiteX60" fmla="*/ 4059577 w 4519952"/>
              <a:gd name="connsiteY60" fmla="*/ 3533775 h 4496940"/>
              <a:gd name="connsiteX61" fmla="*/ 4002427 w 4519952"/>
              <a:gd name="connsiteY61" fmla="*/ 3600450 h 4496940"/>
              <a:gd name="connsiteX62" fmla="*/ 3983377 w 4519952"/>
              <a:gd name="connsiteY62" fmla="*/ 3629025 h 4496940"/>
              <a:gd name="connsiteX63" fmla="*/ 3954802 w 4519952"/>
              <a:gd name="connsiteY63" fmla="*/ 3648075 h 4496940"/>
              <a:gd name="connsiteX64" fmla="*/ 3907177 w 4519952"/>
              <a:gd name="connsiteY64" fmla="*/ 3686175 h 4496940"/>
              <a:gd name="connsiteX65" fmla="*/ 3869077 w 4519952"/>
              <a:gd name="connsiteY65" fmla="*/ 3724275 h 4496940"/>
              <a:gd name="connsiteX66" fmla="*/ 3792877 w 4519952"/>
              <a:gd name="connsiteY66" fmla="*/ 3781425 h 4496940"/>
              <a:gd name="connsiteX67" fmla="*/ 3783352 w 4519952"/>
              <a:gd name="connsiteY67" fmla="*/ 3810000 h 4496940"/>
              <a:gd name="connsiteX68" fmla="*/ 3745252 w 4519952"/>
              <a:gd name="connsiteY68" fmla="*/ 3819525 h 4496940"/>
              <a:gd name="connsiteX69" fmla="*/ 3678577 w 4519952"/>
              <a:gd name="connsiteY69" fmla="*/ 3848100 h 4496940"/>
              <a:gd name="connsiteX70" fmla="*/ 3659527 w 4519952"/>
              <a:gd name="connsiteY70" fmla="*/ 3971925 h 4496940"/>
              <a:gd name="connsiteX71" fmla="*/ 3630952 w 4519952"/>
              <a:gd name="connsiteY71" fmla="*/ 4010025 h 4496940"/>
              <a:gd name="connsiteX72" fmla="*/ 3621427 w 4519952"/>
              <a:gd name="connsiteY72" fmla="*/ 4038600 h 4496940"/>
              <a:gd name="connsiteX73" fmla="*/ 3554752 w 4519952"/>
              <a:gd name="connsiteY73" fmla="*/ 4095750 h 4496940"/>
              <a:gd name="connsiteX74" fmla="*/ 3516652 w 4519952"/>
              <a:gd name="connsiteY74" fmla="*/ 4114800 h 4496940"/>
              <a:gd name="connsiteX75" fmla="*/ 3497602 w 4519952"/>
              <a:gd name="connsiteY75" fmla="*/ 4143375 h 4496940"/>
              <a:gd name="connsiteX76" fmla="*/ 3383302 w 4519952"/>
              <a:gd name="connsiteY76" fmla="*/ 4210050 h 4496940"/>
              <a:gd name="connsiteX77" fmla="*/ 3335677 w 4519952"/>
              <a:gd name="connsiteY77" fmla="*/ 4238625 h 4496940"/>
              <a:gd name="connsiteX78" fmla="*/ 3288052 w 4519952"/>
              <a:gd name="connsiteY78" fmla="*/ 4248150 h 4496940"/>
              <a:gd name="connsiteX79" fmla="*/ 3240427 w 4519952"/>
              <a:gd name="connsiteY79" fmla="*/ 4267200 h 4496940"/>
              <a:gd name="connsiteX80" fmla="*/ 3068977 w 4519952"/>
              <a:gd name="connsiteY80" fmla="*/ 4286250 h 4496940"/>
              <a:gd name="connsiteX81" fmla="*/ 2935627 w 4519952"/>
              <a:gd name="connsiteY81" fmla="*/ 4333875 h 4496940"/>
              <a:gd name="connsiteX82" fmla="*/ 2811802 w 4519952"/>
              <a:gd name="connsiteY82" fmla="*/ 4371975 h 4496940"/>
              <a:gd name="connsiteX83" fmla="*/ 2745127 w 4519952"/>
              <a:gd name="connsiteY83" fmla="*/ 4410075 h 4496940"/>
              <a:gd name="connsiteX84" fmla="*/ 2697502 w 4519952"/>
              <a:gd name="connsiteY84" fmla="*/ 4429125 h 4496940"/>
              <a:gd name="connsiteX85" fmla="*/ 2640352 w 4519952"/>
              <a:gd name="connsiteY85" fmla="*/ 4457700 h 4496940"/>
              <a:gd name="connsiteX86" fmla="*/ 2583202 w 4519952"/>
              <a:gd name="connsiteY86" fmla="*/ 4467225 h 4496940"/>
              <a:gd name="connsiteX87" fmla="*/ 2545102 w 4519952"/>
              <a:gd name="connsiteY87" fmla="*/ 4486275 h 4496940"/>
              <a:gd name="connsiteX88" fmla="*/ 2306977 w 4519952"/>
              <a:gd name="connsiteY88" fmla="*/ 4476750 h 4496940"/>
              <a:gd name="connsiteX89" fmla="*/ 2202202 w 4519952"/>
              <a:gd name="connsiteY89" fmla="*/ 4457700 h 4496940"/>
              <a:gd name="connsiteX90" fmla="*/ 2126002 w 4519952"/>
              <a:gd name="connsiteY90" fmla="*/ 4429125 h 4496940"/>
              <a:gd name="connsiteX91" fmla="*/ 1935502 w 4519952"/>
              <a:gd name="connsiteY91" fmla="*/ 4400550 h 4496940"/>
              <a:gd name="connsiteX92" fmla="*/ 1821202 w 4519952"/>
              <a:gd name="connsiteY92" fmla="*/ 4371975 h 4496940"/>
              <a:gd name="connsiteX93" fmla="*/ 1754527 w 4519952"/>
              <a:gd name="connsiteY93" fmla="*/ 4352925 h 4496940"/>
              <a:gd name="connsiteX94" fmla="*/ 1687852 w 4519952"/>
              <a:gd name="connsiteY94" fmla="*/ 4343400 h 4496940"/>
              <a:gd name="connsiteX95" fmla="*/ 1573552 w 4519952"/>
              <a:gd name="connsiteY95" fmla="*/ 4305300 h 4496940"/>
              <a:gd name="connsiteX96" fmla="*/ 1402102 w 4519952"/>
              <a:gd name="connsiteY96" fmla="*/ 4276725 h 4496940"/>
              <a:gd name="connsiteX97" fmla="*/ 1287802 w 4519952"/>
              <a:gd name="connsiteY97" fmla="*/ 4229100 h 4496940"/>
              <a:gd name="connsiteX98" fmla="*/ 1221127 w 4519952"/>
              <a:gd name="connsiteY98" fmla="*/ 4200525 h 4496940"/>
              <a:gd name="connsiteX99" fmla="*/ 1144927 w 4519952"/>
              <a:gd name="connsiteY99" fmla="*/ 4171950 h 4496940"/>
              <a:gd name="connsiteX100" fmla="*/ 1087777 w 4519952"/>
              <a:gd name="connsiteY100" fmla="*/ 4143375 h 4496940"/>
              <a:gd name="connsiteX101" fmla="*/ 1030627 w 4519952"/>
              <a:gd name="connsiteY101" fmla="*/ 4124325 h 4496940"/>
              <a:gd name="connsiteX102" fmla="*/ 925852 w 4519952"/>
              <a:gd name="connsiteY102" fmla="*/ 4067175 h 4496940"/>
              <a:gd name="connsiteX103" fmla="*/ 830602 w 4519952"/>
              <a:gd name="connsiteY103" fmla="*/ 3981450 h 4496940"/>
              <a:gd name="connsiteX104" fmla="*/ 763927 w 4519952"/>
              <a:gd name="connsiteY104" fmla="*/ 3914775 h 4496940"/>
              <a:gd name="connsiteX105" fmla="*/ 725827 w 4519952"/>
              <a:gd name="connsiteY105" fmla="*/ 3876675 h 4496940"/>
              <a:gd name="connsiteX106" fmla="*/ 697252 w 4519952"/>
              <a:gd name="connsiteY106" fmla="*/ 3838575 h 4496940"/>
              <a:gd name="connsiteX107" fmla="*/ 640102 w 4519952"/>
              <a:gd name="connsiteY107" fmla="*/ 3781425 h 4496940"/>
              <a:gd name="connsiteX108" fmla="*/ 611527 w 4519952"/>
              <a:gd name="connsiteY108" fmla="*/ 3733800 h 4496940"/>
              <a:gd name="connsiteX109" fmla="*/ 554377 w 4519952"/>
              <a:gd name="connsiteY109" fmla="*/ 3657600 h 4496940"/>
              <a:gd name="connsiteX110" fmla="*/ 525802 w 4519952"/>
              <a:gd name="connsiteY110" fmla="*/ 3609975 h 4496940"/>
              <a:gd name="connsiteX111" fmla="*/ 497227 w 4519952"/>
              <a:gd name="connsiteY111" fmla="*/ 3552825 h 4496940"/>
              <a:gd name="connsiteX112" fmla="*/ 440077 w 4519952"/>
              <a:gd name="connsiteY112" fmla="*/ 3495675 h 4496940"/>
              <a:gd name="connsiteX113" fmla="*/ 411502 w 4519952"/>
              <a:gd name="connsiteY113" fmla="*/ 3448050 h 4496940"/>
              <a:gd name="connsiteX114" fmla="*/ 278152 w 4519952"/>
              <a:gd name="connsiteY114" fmla="*/ 3257550 h 4496940"/>
              <a:gd name="connsiteX115" fmla="*/ 249577 w 4519952"/>
              <a:gd name="connsiteY115" fmla="*/ 3200400 h 4496940"/>
              <a:gd name="connsiteX116" fmla="*/ 240052 w 4519952"/>
              <a:gd name="connsiteY116" fmla="*/ 3162300 h 4496940"/>
              <a:gd name="connsiteX117" fmla="*/ 221002 w 4519952"/>
              <a:gd name="connsiteY117" fmla="*/ 3105150 h 4496940"/>
              <a:gd name="connsiteX118" fmla="*/ 173377 w 4519952"/>
              <a:gd name="connsiteY118" fmla="*/ 3019425 h 4496940"/>
              <a:gd name="connsiteX119" fmla="*/ 144802 w 4519952"/>
              <a:gd name="connsiteY119" fmla="*/ 2924175 h 4496940"/>
              <a:gd name="connsiteX120" fmla="*/ 68602 w 4519952"/>
              <a:gd name="connsiteY120" fmla="*/ 2724150 h 4496940"/>
              <a:gd name="connsiteX121" fmla="*/ 49552 w 4519952"/>
              <a:gd name="connsiteY121" fmla="*/ 2638425 h 4496940"/>
              <a:gd name="connsiteX122" fmla="*/ 40027 w 4519952"/>
              <a:gd name="connsiteY122" fmla="*/ 2562225 h 4496940"/>
              <a:gd name="connsiteX123" fmla="*/ 30502 w 4519952"/>
              <a:gd name="connsiteY123" fmla="*/ 2514600 h 4496940"/>
              <a:gd name="connsiteX124" fmla="*/ 11452 w 4519952"/>
              <a:gd name="connsiteY124" fmla="*/ 2400300 h 4496940"/>
              <a:gd name="connsiteX125" fmla="*/ 20977 w 4519952"/>
              <a:gd name="connsiteY125" fmla="*/ 1905000 h 4496940"/>
              <a:gd name="connsiteX126" fmla="*/ 30502 w 4519952"/>
              <a:gd name="connsiteY126" fmla="*/ 1838325 h 4496940"/>
              <a:gd name="connsiteX127" fmla="*/ 49552 w 4519952"/>
              <a:gd name="connsiteY127" fmla="*/ 1781175 h 4496940"/>
              <a:gd name="connsiteX128" fmla="*/ 59077 w 4519952"/>
              <a:gd name="connsiteY128" fmla="*/ 1743075 h 4496940"/>
              <a:gd name="connsiteX129" fmla="*/ 78127 w 4519952"/>
              <a:gd name="connsiteY129" fmla="*/ 1685925 h 4496940"/>
              <a:gd name="connsiteX130" fmla="*/ 87652 w 4519952"/>
              <a:gd name="connsiteY130" fmla="*/ 1638300 h 4496940"/>
              <a:gd name="connsiteX131" fmla="*/ 106702 w 4519952"/>
              <a:gd name="connsiteY131" fmla="*/ 1590675 h 4496940"/>
              <a:gd name="connsiteX132" fmla="*/ 135277 w 4519952"/>
              <a:gd name="connsiteY132" fmla="*/ 1504950 h 4496940"/>
              <a:gd name="connsiteX133" fmla="*/ 154327 w 4519952"/>
              <a:gd name="connsiteY133" fmla="*/ 1419225 h 4496940"/>
              <a:gd name="connsiteX134" fmla="*/ 230527 w 4519952"/>
              <a:gd name="connsiteY134" fmla="*/ 1276350 h 4496940"/>
              <a:gd name="connsiteX135" fmla="*/ 240052 w 4519952"/>
              <a:gd name="connsiteY135" fmla="*/ 1247775 h 4496940"/>
              <a:gd name="connsiteX136" fmla="*/ 268627 w 4519952"/>
              <a:gd name="connsiteY136" fmla="*/ 1200150 h 4496940"/>
              <a:gd name="connsiteX137" fmla="*/ 287677 w 4519952"/>
              <a:gd name="connsiteY137" fmla="*/ 1152525 h 4496940"/>
              <a:gd name="connsiteX138" fmla="*/ 316252 w 4519952"/>
              <a:gd name="connsiteY138" fmla="*/ 1114425 h 4496940"/>
              <a:gd name="connsiteX139" fmla="*/ 363877 w 4519952"/>
              <a:gd name="connsiteY139" fmla="*/ 1038225 h 4496940"/>
              <a:gd name="connsiteX140" fmla="*/ 382927 w 4519952"/>
              <a:gd name="connsiteY140" fmla="*/ 1009650 h 4496940"/>
              <a:gd name="connsiteX141" fmla="*/ 440077 w 4519952"/>
              <a:gd name="connsiteY141" fmla="*/ 904875 h 4496940"/>
              <a:gd name="connsiteX142" fmla="*/ 478177 w 4519952"/>
              <a:gd name="connsiteY142" fmla="*/ 857250 h 4496940"/>
              <a:gd name="connsiteX143" fmla="*/ 497227 w 4519952"/>
              <a:gd name="connsiteY143" fmla="*/ 828675 h 4496940"/>
              <a:gd name="connsiteX144" fmla="*/ 535327 w 4519952"/>
              <a:gd name="connsiteY144" fmla="*/ 800100 h 4496940"/>
              <a:gd name="connsiteX145" fmla="*/ 602002 w 4519952"/>
              <a:gd name="connsiteY145" fmla="*/ 733425 h 4496940"/>
              <a:gd name="connsiteX146" fmla="*/ 668677 w 4519952"/>
              <a:gd name="connsiteY146" fmla="*/ 676275 h 4496940"/>
              <a:gd name="connsiteX147" fmla="*/ 697252 w 4519952"/>
              <a:gd name="connsiteY147" fmla="*/ 657225 h 4496940"/>
              <a:gd name="connsiteX148" fmla="*/ 840127 w 4519952"/>
              <a:gd name="connsiteY148" fmla="*/ 533400 h 4496940"/>
              <a:gd name="connsiteX149" fmla="*/ 887752 w 4519952"/>
              <a:gd name="connsiteY149" fmla="*/ 504825 h 4496940"/>
              <a:gd name="connsiteX150" fmla="*/ 1167152 w 4519952"/>
              <a:gd name="connsiteY150" fmla="*/ 311150 h 4496940"/>
              <a:gd name="connsiteX151" fmla="*/ 1268752 w 4519952"/>
              <a:gd name="connsiteY151" fmla="*/ 285750 h 4496940"/>
              <a:gd name="connsiteX152" fmla="*/ 1411627 w 4519952"/>
              <a:gd name="connsiteY152" fmla="*/ 190500 h 4496940"/>
              <a:gd name="connsiteX153" fmla="*/ 1449727 w 4519952"/>
              <a:gd name="connsiteY153" fmla="*/ 161925 h 4496940"/>
              <a:gd name="connsiteX154" fmla="*/ 1525927 w 4519952"/>
              <a:gd name="connsiteY154" fmla="*/ 152400 h 4496940"/>
              <a:gd name="connsiteX155" fmla="*/ 1583077 w 4519952"/>
              <a:gd name="connsiteY155" fmla="*/ 142875 h 4496940"/>
              <a:gd name="connsiteX156" fmla="*/ 1716427 w 4519952"/>
              <a:gd name="connsiteY156" fmla="*/ 123825 h 4496940"/>
              <a:gd name="connsiteX157" fmla="*/ 1811677 w 4519952"/>
              <a:gd name="connsiteY157" fmla="*/ 114300 h 4496940"/>
              <a:gd name="connsiteX158" fmla="*/ 1859302 w 4519952"/>
              <a:gd name="connsiteY158" fmla="*/ 104775 h 4496940"/>
              <a:gd name="connsiteX159" fmla="*/ 1916452 w 4519952"/>
              <a:gd name="connsiteY159" fmla="*/ 95250 h 4496940"/>
              <a:gd name="connsiteX160" fmla="*/ 2030752 w 4519952"/>
              <a:gd name="connsiteY160" fmla="*/ 66675 h 4496940"/>
              <a:gd name="connsiteX161" fmla="*/ 2097427 w 4519952"/>
              <a:gd name="connsiteY161" fmla="*/ 47625 h 4496940"/>
              <a:gd name="connsiteX162" fmla="*/ 2164102 w 4519952"/>
              <a:gd name="connsiteY162" fmla="*/ 38100 h 4496940"/>
              <a:gd name="connsiteX163" fmla="*/ 2392702 w 4519952"/>
              <a:gd name="connsiteY163" fmla="*/ 28575 h 4496940"/>
              <a:gd name="connsiteX0" fmla="*/ 2297452 w 4519952"/>
              <a:gd name="connsiteY0" fmla="*/ 0 h 4496940"/>
              <a:gd name="connsiteX1" fmla="*/ 2421277 w 4519952"/>
              <a:gd name="connsiteY1" fmla="*/ 28575 h 4496940"/>
              <a:gd name="connsiteX2" fmla="*/ 2497477 w 4519952"/>
              <a:gd name="connsiteY2" fmla="*/ 47625 h 4496940"/>
              <a:gd name="connsiteX3" fmla="*/ 2754652 w 4519952"/>
              <a:gd name="connsiteY3" fmla="*/ 66675 h 4496940"/>
              <a:gd name="connsiteX4" fmla="*/ 2830852 w 4519952"/>
              <a:gd name="connsiteY4" fmla="*/ 76200 h 4496940"/>
              <a:gd name="connsiteX5" fmla="*/ 2916577 w 4519952"/>
              <a:gd name="connsiteY5" fmla="*/ 85725 h 4496940"/>
              <a:gd name="connsiteX6" fmla="*/ 2973727 w 4519952"/>
              <a:gd name="connsiteY6" fmla="*/ 114300 h 4496940"/>
              <a:gd name="connsiteX7" fmla="*/ 3011827 w 4519952"/>
              <a:gd name="connsiteY7" fmla="*/ 123825 h 4496940"/>
              <a:gd name="connsiteX8" fmla="*/ 3135652 w 4519952"/>
              <a:gd name="connsiteY8" fmla="*/ 171450 h 4496940"/>
              <a:gd name="connsiteX9" fmla="*/ 3173752 w 4519952"/>
              <a:gd name="connsiteY9" fmla="*/ 190500 h 4496940"/>
              <a:gd name="connsiteX10" fmla="*/ 3240427 w 4519952"/>
              <a:gd name="connsiteY10" fmla="*/ 228600 h 4496940"/>
              <a:gd name="connsiteX11" fmla="*/ 3269002 w 4519952"/>
              <a:gd name="connsiteY11" fmla="*/ 238125 h 4496940"/>
              <a:gd name="connsiteX12" fmla="*/ 3297577 w 4519952"/>
              <a:gd name="connsiteY12" fmla="*/ 257175 h 4496940"/>
              <a:gd name="connsiteX13" fmla="*/ 3326152 w 4519952"/>
              <a:gd name="connsiteY13" fmla="*/ 266700 h 4496940"/>
              <a:gd name="connsiteX14" fmla="*/ 3354727 w 4519952"/>
              <a:gd name="connsiteY14" fmla="*/ 285750 h 4496940"/>
              <a:gd name="connsiteX15" fmla="*/ 3421402 w 4519952"/>
              <a:gd name="connsiteY15" fmla="*/ 323850 h 4496940"/>
              <a:gd name="connsiteX16" fmla="*/ 3469027 w 4519952"/>
              <a:gd name="connsiteY16" fmla="*/ 361950 h 4496940"/>
              <a:gd name="connsiteX17" fmla="*/ 3516652 w 4519952"/>
              <a:gd name="connsiteY17" fmla="*/ 390525 h 4496940"/>
              <a:gd name="connsiteX18" fmla="*/ 3545227 w 4519952"/>
              <a:gd name="connsiteY18" fmla="*/ 419100 h 4496940"/>
              <a:gd name="connsiteX19" fmla="*/ 3602377 w 4519952"/>
              <a:gd name="connsiteY19" fmla="*/ 457200 h 4496940"/>
              <a:gd name="connsiteX20" fmla="*/ 3630952 w 4519952"/>
              <a:gd name="connsiteY20" fmla="*/ 485775 h 4496940"/>
              <a:gd name="connsiteX21" fmla="*/ 3678577 w 4519952"/>
              <a:gd name="connsiteY21" fmla="*/ 504825 h 4496940"/>
              <a:gd name="connsiteX22" fmla="*/ 3745252 w 4519952"/>
              <a:gd name="connsiteY22" fmla="*/ 542925 h 4496940"/>
              <a:gd name="connsiteX23" fmla="*/ 3811927 w 4519952"/>
              <a:gd name="connsiteY23" fmla="*/ 581025 h 4496940"/>
              <a:gd name="connsiteX24" fmla="*/ 3840502 w 4519952"/>
              <a:gd name="connsiteY24" fmla="*/ 600075 h 4496940"/>
              <a:gd name="connsiteX25" fmla="*/ 3869077 w 4519952"/>
              <a:gd name="connsiteY25" fmla="*/ 628650 h 4496940"/>
              <a:gd name="connsiteX26" fmla="*/ 3907177 w 4519952"/>
              <a:gd name="connsiteY26" fmla="*/ 647700 h 4496940"/>
              <a:gd name="connsiteX27" fmla="*/ 3935752 w 4519952"/>
              <a:gd name="connsiteY27" fmla="*/ 676275 h 4496940"/>
              <a:gd name="connsiteX28" fmla="*/ 3992902 w 4519952"/>
              <a:gd name="connsiteY28" fmla="*/ 714375 h 4496940"/>
              <a:gd name="connsiteX29" fmla="*/ 4050052 w 4519952"/>
              <a:gd name="connsiteY29" fmla="*/ 790575 h 4496940"/>
              <a:gd name="connsiteX30" fmla="*/ 4078627 w 4519952"/>
              <a:gd name="connsiteY30" fmla="*/ 838200 h 4496940"/>
              <a:gd name="connsiteX31" fmla="*/ 4107202 w 4519952"/>
              <a:gd name="connsiteY31" fmla="*/ 876300 h 4496940"/>
              <a:gd name="connsiteX32" fmla="*/ 4116727 w 4519952"/>
              <a:gd name="connsiteY32" fmla="*/ 904875 h 4496940"/>
              <a:gd name="connsiteX33" fmla="*/ 4135777 w 4519952"/>
              <a:gd name="connsiteY33" fmla="*/ 933450 h 4496940"/>
              <a:gd name="connsiteX34" fmla="*/ 4164352 w 4519952"/>
              <a:gd name="connsiteY34" fmla="*/ 990600 h 4496940"/>
              <a:gd name="connsiteX35" fmla="*/ 4173877 w 4519952"/>
              <a:gd name="connsiteY35" fmla="*/ 1019175 h 4496940"/>
              <a:gd name="connsiteX36" fmla="*/ 4192927 w 4519952"/>
              <a:gd name="connsiteY36" fmla="*/ 1057275 h 4496940"/>
              <a:gd name="connsiteX37" fmla="*/ 4202452 w 4519952"/>
              <a:gd name="connsiteY37" fmla="*/ 1085850 h 4496940"/>
              <a:gd name="connsiteX38" fmla="*/ 4250077 w 4519952"/>
              <a:gd name="connsiteY38" fmla="*/ 1143000 h 4496940"/>
              <a:gd name="connsiteX39" fmla="*/ 4259602 w 4519952"/>
              <a:gd name="connsiteY39" fmla="*/ 1190625 h 4496940"/>
              <a:gd name="connsiteX40" fmla="*/ 4307227 w 4519952"/>
              <a:gd name="connsiteY40" fmla="*/ 1266825 h 4496940"/>
              <a:gd name="connsiteX41" fmla="*/ 4345327 w 4519952"/>
              <a:gd name="connsiteY41" fmla="*/ 1362075 h 4496940"/>
              <a:gd name="connsiteX42" fmla="*/ 4373902 w 4519952"/>
              <a:gd name="connsiteY42" fmla="*/ 1428750 h 4496940"/>
              <a:gd name="connsiteX43" fmla="*/ 4392952 w 4519952"/>
              <a:gd name="connsiteY43" fmla="*/ 1552575 h 4496940"/>
              <a:gd name="connsiteX44" fmla="*/ 4402477 w 4519952"/>
              <a:gd name="connsiteY44" fmla="*/ 1590675 h 4496940"/>
              <a:gd name="connsiteX45" fmla="*/ 4431052 w 4519952"/>
              <a:gd name="connsiteY45" fmla="*/ 1685925 h 4496940"/>
              <a:gd name="connsiteX46" fmla="*/ 4459627 w 4519952"/>
              <a:gd name="connsiteY46" fmla="*/ 1828800 h 4496940"/>
              <a:gd name="connsiteX47" fmla="*/ 4519952 w 4519952"/>
              <a:gd name="connsiteY47" fmla="*/ 2181225 h 4496940"/>
              <a:gd name="connsiteX48" fmla="*/ 4440577 w 4519952"/>
              <a:gd name="connsiteY48" fmla="*/ 2876550 h 4496940"/>
              <a:gd name="connsiteX49" fmla="*/ 4383427 w 4519952"/>
              <a:gd name="connsiteY49" fmla="*/ 2990850 h 4496940"/>
              <a:gd name="connsiteX50" fmla="*/ 4354852 w 4519952"/>
              <a:gd name="connsiteY50" fmla="*/ 3057525 h 4496940"/>
              <a:gd name="connsiteX51" fmla="*/ 4335802 w 4519952"/>
              <a:gd name="connsiteY51" fmla="*/ 3095625 h 4496940"/>
              <a:gd name="connsiteX52" fmla="*/ 4278652 w 4519952"/>
              <a:gd name="connsiteY52" fmla="*/ 3248025 h 4496940"/>
              <a:gd name="connsiteX53" fmla="*/ 4259602 w 4519952"/>
              <a:gd name="connsiteY53" fmla="*/ 3276600 h 4496940"/>
              <a:gd name="connsiteX54" fmla="*/ 4221502 w 4519952"/>
              <a:gd name="connsiteY54" fmla="*/ 3333750 h 4496940"/>
              <a:gd name="connsiteX55" fmla="*/ 4211977 w 4519952"/>
              <a:gd name="connsiteY55" fmla="*/ 3362325 h 4496940"/>
              <a:gd name="connsiteX56" fmla="*/ 4183402 w 4519952"/>
              <a:gd name="connsiteY56" fmla="*/ 3400425 h 4496940"/>
              <a:gd name="connsiteX57" fmla="*/ 4164352 w 4519952"/>
              <a:gd name="connsiteY57" fmla="*/ 3429000 h 4496940"/>
              <a:gd name="connsiteX58" fmla="*/ 4088152 w 4519952"/>
              <a:gd name="connsiteY58" fmla="*/ 3495675 h 4496940"/>
              <a:gd name="connsiteX59" fmla="*/ 4059577 w 4519952"/>
              <a:gd name="connsiteY59" fmla="*/ 3533775 h 4496940"/>
              <a:gd name="connsiteX60" fmla="*/ 4002427 w 4519952"/>
              <a:gd name="connsiteY60" fmla="*/ 3600450 h 4496940"/>
              <a:gd name="connsiteX61" fmla="*/ 3983377 w 4519952"/>
              <a:gd name="connsiteY61" fmla="*/ 3629025 h 4496940"/>
              <a:gd name="connsiteX62" fmla="*/ 3954802 w 4519952"/>
              <a:gd name="connsiteY62" fmla="*/ 3648075 h 4496940"/>
              <a:gd name="connsiteX63" fmla="*/ 3907177 w 4519952"/>
              <a:gd name="connsiteY63" fmla="*/ 3686175 h 4496940"/>
              <a:gd name="connsiteX64" fmla="*/ 3869077 w 4519952"/>
              <a:gd name="connsiteY64" fmla="*/ 3724275 h 4496940"/>
              <a:gd name="connsiteX65" fmla="*/ 3792877 w 4519952"/>
              <a:gd name="connsiteY65" fmla="*/ 3781425 h 4496940"/>
              <a:gd name="connsiteX66" fmla="*/ 3783352 w 4519952"/>
              <a:gd name="connsiteY66" fmla="*/ 3810000 h 4496940"/>
              <a:gd name="connsiteX67" fmla="*/ 3745252 w 4519952"/>
              <a:gd name="connsiteY67" fmla="*/ 3819525 h 4496940"/>
              <a:gd name="connsiteX68" fmla="*/ 3678577 w 4519952"/>
              <a:gd name="connsiteY68" fmla="*/ 3848100 h 4496940"/>
              <a:gd name="connsiteX69" fmla="*/ 3659527 w 4519952"/>
              <a:gd name="connsiteY69" fmla="*/ 3971925 h 4496940"/>
              <a:gd name="connsiteX70" fmla="*/ 3630952 w 4519952"/>
              <a:gd name="connsiteY70" fmla="*/ 4010025 h 4496940"/>
              <a:gd name="connsiteX71" fmla="*/ 3621427 w 4519952"/>
              <a:gd name="connsiteY71" fmla="*/ 4038600 h 4496940"/>
              <a:gd name="connsiteX72" fmla="*/ 3554752 w 4519952"/>
              <a:gd name="connsiteY72" fmla="*/ 4095750 h 4496940"/>
              <a:gd name="connsiteX73" fmla="*/ 3516652 w 4519952"/>
              <a:gd name="connsiteY73" fmla="*/ 4114800 h 4496940"/>
              <a:gd name="connsiteX74" fmla="*/ 3497602 w 4519952"/>
              <a:gd name="connsiteY74" fmla="*/ 4143375 h 4496940"/>
              <a:gd name="connsiteX75" fmla="*/ 3383302 w 4519952"/>
              <a:gd name="connsiteY75" fmla="*/ 4210050 h 4496940"/>
              <a:gd name="connsiteX76" fmla="*/ 3335677 w 4519952"/>
              <a:gd name="connsiteY76" fmla="*/ 4238625 h 4496940"/>
              <a:gd name="connsiteX77" fmla="*/ 3288052 w 4519952"/>
              <a:gd name="connsiteY77" fmla="*/ 4248150 h 4496940"/>
              <a:gd name="connsiteX78" fmla="*/ 3240427 w 4519952"/>
              <a:gd name="connsiteY78" fmla="*/ 4267200 h 4496940"/>
              <a:gd name="connsiteX79" fmla="*/ 3068977 w 4519952"/>
              <a:gd name="connsiteY79" fmla="*/ 4286250 h 4496940"/>
              <a:gd name="connsiteX80" fmla="*/ 2935627 w 4519952"/>
              <a:gd name="connsiteY80" fmla="*/ 4333875 h 4496940"/>
              <a:gd name="connsiteX81" fmla="*/ 2811802 w 4519952"/>
              <a:gd name="connsiteY81" fmla="*/ 4371975 h 4496940"/>
              <a:gd name="connsiteX82" fmla="*/ 2745127 w 4519952"/>
              <a:gd name="connsiteY82" fmla="*/ 4410075 h 4496940"/>
              <a:gd name="connsiteX83" fmla="*/ 2697502 w 4519952"/>
              <a:gd name="connsiteY83" fmla="*/ 4429125 h 4496940"/>
              <a:gd name="connsiteX84" fmla="*/ 2640352 w 4519952"/>
              <a:gd name="connsiteY84" fmla="*/ 4457700 h 4496940"/>
              <a:gd name="connsiteX85" fmla="*/ 2583202 w 4519952"/>
              <a:gd name="connsiteY85" fmla="*/ 4467225 h 4496940"/>
              <a:gd name="connsiteX86" fmla="*/ 2545102 w 4519952"/>
              <a:gd name="connsiteY86" fmla="*/ 4486275 h 4496940"/>
              <a:gd name="connsiteX87" fmla="*/ 2306977 w 4519952"/>
              <a:gd name="connsiteY87" fmla="*/ 4476750 h 4496940"/>
              <a:gd name="connsiteX88" fmla="*/ 2202202 w 4519952"/>
              <a:gd name="connsiteY88" fmla="*/ 4457700 h 4496940"/>
              <a:gd name="connsiteX89" fmla="*/ 2126002 w 4519952"/>
              <a:gd name="connsiteY89" fmla="*/ 4429125 h 4496940"/>
              <a:gd name="connsiteX90" fmla="*/ 1935502 w 4519952"/>
              <a:gd name="connsiteY90" fmla="*/ 4400550 h 4496940"/>
              <a:gd name="connsiteX91" fmla="*/ 1821202 w 4519952"/>
              <a:gd name="connsiteY91" fmla="*/ 4371975 h 4496940"/>
              <a:gd name="connsiteX92" fmla="*/ 1754527 w 4519952"/>
              <a:gd name="connsiteY92" fmla="*/ 4352925 h 4496940"/>
              <a:gd name="connsiteX93" fmla="*/ 1687852 w 4519952"/>
              <a:gd name="connsiteY93" fmla="*/ 4343400 h 4496940"/>
              <a:gd name="connsiteX94" fmla="*/ 1573552 w 4519952"/>
              <a:gd name="connsiteY94" fmla="*/ 4305300 h 4496940"/>
              <a:gd name="connsiteX95" fmla="*/ 1402102 w 4519952"/>
              <a:gd name="connsiteY95" fmla="*/ 4276725 h 4496940"/>
              <a:gd name="connsiteX96" fmla="*/ 1287802 w 4519952"/>
              <a:gd name="connsiteY96" fmla="*/ 4229100 h 4496940"/>
              <a:gd name="connsiteX97" fmla="*/ 1221127 w 4519952"/>
              <a:gd name="connsiteY97" fmla="*/ 4200525 h 4496940"/>
              <a:gd name="connsiteX98" fmla="*/ 1144927 w 4519952"/>
              <a:gd name="connsiteY98" fmla="*/ 4171950 h 4496940"/>
              <a:gd name="connsiteX99" fmla="*/ 1087777 w 4519952"/>
              <a:gd name="connsiteY99" fmla="*/ 4143375 h 4496940"/>
              <a:gd name="connsiteX100" fmla="*/ 1030627 w 4519952"/>
              <a:gd name="connsiteY100" fmla="*/ 4124325 h 4496940"/>
              <a:gd name="connsiteX101" fmla="*/ 925852 w 4519952"/>
              <a:gd name="connsiteY101" fmla="*/ 4067175 h 4496940"/>
              <a:gd name="connsiteX102" fmla="*/ 830602 w 4519952"/>
              <a:gd name="connsiteY102" fmla="*/ 3981450 h 4496940"/>
              <a:gd name="connsiteX103" fmla="*/ 763927 w 4519952"/>
              <a:gd name="connsiteY103" fmla="*/ 3914775 h 4496940"/>
              <a:gd name="connsiteX104" fmla="*/ 725827 w 4519952"/>
              <a:gd name="connsiteY104" fmla="*/ 3876675 h 4496940"/>
              <a:gd name="connsiteX105" fmla="*/ 697252 w 4519952"/>
              <a:gd name="connsiteY105" fmla="*/ 3838575 h 4496940"/>
              <a:gd name="connsiteX106" fmla="*/ 640102 w 4519952"/>
              <a:gd name="connsiteY106" fmla="*/ 3781425 h 4496940"/>
              <a:gd name="connsiteX107" fmla="*/ 611527 w 4519952"/>
              <a:gd name="connsiteY107" fmla="*/ 3733800 h 4496940"/>
              <a:gd name="connsiteX108" fmla="*/ 554377 w 4519952"/>
              <a:gd name="connsiteY108" fmla="*/ 3657600 h 4496940"/>
              <a:gd name="connsiteX109" fmla="*/ 525802 w 4519952"/>
              <a:gd name="connsiteY109" fmla="*/ 3609975 h 4496940"/>
              <a:gd name="connsiteX110" fmla="*/ 497227 w 4519952"/>
              <a:gd name="connsiteY110" fmla="*/ 3552825 h 4496940"/>
              <a:gd name="connsiteX111" fmla="*/ 440077 w 4519952"/>
              <a:gd name="connsiteY111" fmla="*/ 3495675 h 4496940"/>
              <a:gd name="connsiteX112" fmla="*/ 411502 w 4519952"/>
              <a:gd name="connsiteY112" fmla="*/ 3448050 h 4496940"/>
              <a:gd name="connsiteX113" fmla="*/ 278152 w 4519952"/>
              <a:gd name="connsiteY113" fmla="*/ 3257550 h 4496940"/>
              <a:gd name="connsiteX114" fmla="*/ 249577 w 4519952"/>
              <a:gd name="connsiteY114" fmla="*/ 3200400 h 4496940"/>
              <a:gd name="connsiteX115" fmla="*/ 240052 w 4519952"/>
              <a:gd name="connsiteY115" fmla="*/ 3162300 h 4496940"/>
              <a:gd name="connsiteX116" fmla="*/ 221002 w 4519952"/>
              <a:gd name="connsiteY116" fmla="*/ 3105150 h 4496940"/>
              <a:gd name="connsiteX117" fmla="*/ 173377 w 4519952"/>
              <a:gd name="connsiteY117" fmla="*/ 3019425 h 4496940"/>
              <a:gd name="connsiteX118" fmla="*/ 144802 w 4519952"/>
              <a:gd name="connsiteY118" fmla="*/ 2924175 h 4496940"/>
              <a:gd name="connsiteX119" fmla="*/ 68602 w 4519952"/>
              <a:gd name="connsiteY119" fmla="*/ 2724150 h 4496940"/>
              <a:gd name="connsiteX120" fmla="*/ 49552 w 4519952"/>
              <a:gd name="connsiteY120" fmla="*/ 2638425 h 4496940"/>
              <a:gd name="connsiteX121" fmla="*/ 40027 w 4519952"/>
              <a:gd name="connsiteY121" fmla="*/ 2562225 h 4496940"/>
              <a:gd name="connsiteX122" fmla="*/ 30502 w 4519952"/>
              <a:gd name="connsiteY122" fmla="*/ 2514600 h 4496940"/>
              <a:gd name="connsiteX123" fmla="*/ 11452 w 4519952"/>
              <a:gd name="connsiteY123" fmla="*/ 2400300 h 4496940"/>
              <a:gd name="connsiteX124" fmla="*/ 20977 w 4519952"/>
              <a:gd name="connsiteY124" fmla="*/ 1905000 h 4496940"/>
              <a:gd name="connsiteX125" fmla="*/ 30502 w 4519952"/>
              <a:gd name="connsiteY125" fmla="*/ 1838325 h 4496940"/>
              <a:gd name="connsiteX126" fmla="*/ 49552 w 4519952"/>
              <a:gd name="connsiteY126" fmla="*/ 1781175 h 4496940"/>
              <a:gd name="connsiteX127" fmla="*/ 59077 w 4519952"/>
              <a:gd name="connsiteY127" fmla="*/ 1743075 h 4496940"/>
              <a:gd name="connsiteX128" fmla="*/ 78127 w 4519952"/>
              <a:gd name="connsiteY128" fmla="*/ 1685925 h 4496940"/>
              <a:gd name="connsiteX129" fmla="*/ 87652 w 4519952"/>
              <a:gd name="connsiteY129" fmla="*/ 1638300 h 4496940"/>
              <a:gd name="connsiteX130" fmla="*/ 106702 w 4519952"/>
              <a:gd name="connsiteY130" fmla="*/ 1590675 h 4496940"/>
              <a:gd name="connsiteX131" fmla="*/ 135277 w 4519952"/>
              <a:gd name="connsiteY131" fmla="*/ 1504950 h 4496940"/>
              <a:gd name="connsiteX132" fmla="*/ 154327 w 4519952"/>
              <a:gd name="connsiteY132" fmla="*/ 1419225 h 4496940"/>
              <a:gd name="connsiteX133" fmla="*/ 230527 w 4519952"/>
              <a:gd name="connsiteY133" fmla="*/ 1276350 h 4496940"/>
              <a:gd name="connsiteX134" fmla="*/ 240052 w 4519952"/>
              <a:gd name="connsiteY134" fmla="*/ 1247775 h 4496940"/>
              <a:gd name="connsiteX135" fmla="*/ 268627 w 4519952"/>
              <a:gd name="connsiteY135" fmla="*/ 1200150 h 4496940"/>
              <a:gd name="connsiteX136" fmla="*/ 287677 w 4519952"/>
              <a:gd name="connsiteY136" fmla="*/ 1152525 h 4496940"/>
              <a:gd name="connsiteX137" fmla="*/ 316252 w 4519952"/>
              <a:gd name="connsiteY137" fmla="*/ 1114425 h 4496940"/>
              <a:gd name="connsiteX138" fmla="*/ 363877 w 4519952"/>
              <a:gd name="connsiteY138" fmla="*/ 1038225 h 4496940"/>
              <a:gd name="connsiteX139" fmla="*/ 382927 w 4519952"/>
              <a:gd name="connsiteY139" fmla="*/ 1009650 h 4496940"/>
              <a:gd name="connsiteX140" fmla="*/ 440077 w 4519952"/>
              <a:gd name="connsiteY140" fmla="*/ 904875 h 4496940"/>
              <a:gd name="connsiteX141" fmla="*/ 478177 w 4519952"/>
              <a:gd name="connsiteY141" fmla="*/ 857250 h 4496940"/>
              <a:gd name="connsiteX142" fmla="*/ 497227 w 4519952"/>
              <a:gd name="connsiteY142" fmla="*/ 828675 h 4496940"/>
              <a:gd name="connsiteX143" fmla="*/ 535327 w 4519952"/>
              <a:gd name="connsiteY143" fmla="*/ 800100 h 4496940"/>
              <a:gd name="connsiteX144" fmla="*/ 602002 w 4519952"/>
              <a:gd name="connsiteY144" fmla="*/ 733425 h 4496940"/>
              <a:gd name="connsiteX145" fmla="*/ 668677 w 4519952"/>
              <a:gd name="connsiteY145" fmla="*/ 676275 h 4496940"/>
              <a:gd name="connsiteX146" fmla="*/ 697252 w 4519952"/>
              <a:gd name="connsiteY146" fmla="*/ 657225 h 4496940"/>
              <a:gd name="connsiteX147" fmla="*/ 840127 w 4519952"/>
              <a:gd name="connsiteY147" fmla="*/ 533400 h 4496940"/>
              <a:gd name="connsiteX148" fmla="*/ 887752 w 4519952"/>
              <a:gd name="connsiteY148" fmla="*/ 504825 h 4496940"/>
              <a:gd name="connsiteX149" fmla="*/ 1167152 w 4519952"/>
              <a:gd name="connsiteY149" fmla="*/ 311150 h 4496940"/>
              <a:gd name="connsiteX150" fmla="*/ 1268752 w 4519952"/>
              <a:gd name="connsiteY150" fmla="*/ 285750 h 4496940"/>
              <a:gd name="connsiteX151" fmla="*/ 1411627 w 4519952"/>
              <a:gd name="connsiteY151" fmla="*/ 190500 h 4496940"/>
              <a:gd name="connsiteX152" fmla="*/ 1449727 w 4519952"/>
              <a:gd name="connsiteY152" fmla="*/ 161925 h 4496940"/>
              <a:gd name="connsiteX153" fmla="*/ 1525927 w 4519952"/>
              <a:gd name="connsiteY153" fmla="*/ 152400 h 4496940"/>
              <a:gd name="connsiteX154" fmla="*/ 1583077 w 4519952"/>
              <a:gd name="connsiteY154" fmla="*/ 142875 h 4496940"/>
              <a:gd name="connsiteX155" fmla="*/ 1716427 w 4519952"/>
              <a:gd name="connsiteY155" fmla="*/ 123825 h 4496940"/>
              <a:gd name="connsiteX156" fmla="*/ 1811677 w 4519952"/>
              <a:gd name="connsiteY156" fmla="*/ 114300 h 4496940"/>
              <a:gd name="connsiteX157" fmla="*/ 1859302 w 4519952"/>
              <a:gd name="connsiteY157" fmla="*/ 104775 h 4496940"/>
              <a:gd name="connsiteX158" fmla="*/ 1916452 w 4519952"/>
              <a:gd name="connsiteY158" fmla="*/ 95250 h 4496940"/>
              <a:gd name="connsiteX159" fmla="*/ 2030752 w 4519952"/>
              <a:gd name="connsiteY159" fmla="*/ 66675 h 4496940"/>
              <a:gd name="connsiteX160" fmla="*/ 2097427 w 4519952"/>
              <a:gd name="connsiteY160" fmla="*/ 47625 h 4496940"/>
              <a:gd name="connsiteX161" fmla="*/ 2164102 w 4519952"/>
              <a:gd name="connsiteY161" fmla="*/ 38100 h 4496940"/>
              <a:gd name="connsiteX162" fmla="*/ 2392702 w 4519952"/>
              <a:gd name="connsiteY162" fmla="*/ 28575 h 4496940"/>
              <a:gd name="connsiteX0" fmla="*/ 2297452 w 4519983"/>
              <a:gd name="connsiteY0" fmla="*/ 0 h 4496940"/>
              <a:gd name="connsiteX1" fmla="*/ 2421277 w 4519983"/>
              <a:gd name="connsiteY1" fmla="*/ 28575 h 4496940"/>
              <a:gd name="connsiteX2" fmla="*/ 2497477 w 4519983"/>
              <a:gd name="connsiteY2" fmla="*/ 47625 h 4496940"/>
              <a:gd name="connsiteX3" fmla="*/ 2754652 w 4519983"/>
              <a:gd name="connsiteY3" fmla="*/ 66675 h 4496940"/>
              <a:gd name="connsiteX4" fmla="*/ 2830852 w 4519983"/>
              <a:gd name="connsiteY4" fmla="*/ 76200 h 4496940"/>
              <a:gd name="connsiteX5" fmla="*/ 2916577 w 4519983"/>
              <a:gd name="connsiteY5" fmla="*/ 85725 h 4496940"/>
              <a:gd name="connsiteX6" fmla="*/ 2973727 w 4519983"/>
              <a:gd name="connsiteY6" fmla="*/ 114300 h 4496940"/>
              <a:gd name="connsiteX7" fmla="*/ 3011827 w 4519983"/>
              <a:gd name="connsiteY7" fmla="*/ 123825 h 4496940"/>
              <a:gd name="connsiteX8" fmla="*/ 3135652 w 4519983"/>
              <a:gd name="connsiteY8" fmla="*/ 171450 h 4496940"/>
              <a:gd name="connsiteX9" fmla="*/ 3173752 w 4519983"/>
              <a:gd name="connsiteY9" fmla="*/ 190500 h 4496940"/>
              <a:gd name="connsiteX10" fmla="*/ 3240427 w 4519983"/>
              <a:gd name="connsiteY10" fmla="*/ 228600 h 4496940"/>
              <a:gd name="connsiteX11" fmla="*/ 3269002 w 4519983"/>
              <a:gd name="connsiteY11" fmla="*/ 238125 h 4496940"/>
              <a:gd name="connsiteX12" fmla="*/ 3297577 w 4519983"/>
              <a:gd name="connsiteY12" fmla="*/ 257175 h 4496940"/>
              <a:gd name="connsiteX13" fmla="*/ 3326152 w 4519983"/>
              <a:gd name="connsiteY13" fmla="*/ 266700 h 4496940"/>
              <a:gd name="connsiteX14" fmla="*/ 3354727 w 4519983"/>
              <a:gd name="connsiteY14" fmla="*/ 285750 h 4496940"/>
              <a:gd name="connsiteX15" fmla="*/ 3421402 w 4519983"/>
              <a:gd name="connsiteY15" fmla="*/ 323850 h 4496940"/>
              <a:gd name="connsiteX16" fmla="*/ 3469027 w 4519983"/>
              <a:gd name="connsiteY16" fmla="*/ 361950 h 4496940"/>
              <a:gd name="connsiteX17" fmla="*/ 3516652 w 4519983"/>
              <a:gd name="connsiteY17" fmla="*/ 390525 h 4496940"/>
              <a:gd name="connsiteX18" fmla="*/ 3545227 w 4519983"/>
              <a:gd name="connsiteY18" fmla="*/ 419100 h 4496940"/>
              <a:gd name="connsiteX19" fmla="*/ 3602377 w 4519983"/>
              <a:gd name="connsiteY19" fmla="*/ 457200 h 4496940"/>
              <a:gd name="connsiteX20" fmla="*/ 3630952 w 4519983"/>
              <a:gd name="connsiteY20" fmla="*/ 485775 h 4496940"/>
              <a:gd name="connsiteX21" fmla="*/ 3678577 w 4519983"/>
              <a:gd name="connsiteY21" fmla="*/ 504825 h 4496940"/>
              <a:gd name="connsiteX22" fmla="*/ 3745252 w 4519983"/>
              <a:gd name="connsiteY22" fmla="*/ 542925 h 4496940"/>
              <a:gd name="connsiteX23" fmla="*/ 3811927 w 4519983"/>
              <a:gd name="connsiteY23" fmla="*/ 581025 h 4496940"/>
              <a:gd name="connsiteX24" fmla="*/ 3840502 w 4519983"/>
              <a:gd name="connsiteY24" fmla="*/ 600075 h 4496940"/>
              <a:gd name="connsiteX25" fmla="*/ 3869077 w 4519983"/>
              <a:gd name="connsiteY25" fmla="*/ 628650 h 4496940"/>
              <a:gd name="connsiteX26" fmla="*/ 3907177 w 4519983"/>
              <a:gd name="connsiteY26" fmla="*/ 647700 h 4496940"/>
              <a:gd name="connsiteX27" fmla="*/ 3935752 w 4519983"/>
              <a:gd name="connsiteY27" fmla="*/ 676275 h 4496940"/>
              <a:gd name="connsiteX28" fmla="*/ 3992902 w 4519983"/>
              <a:gd name="connsiteY28" fmla="*/ 714375 h 4496940"/>
              <a:gd name="connsiteX29" fmla="*/ 4050052 w 4519983"/>
              <a:gd name="connsiteY29" fmla="*/ 790575 h 4496940"/>
              <a:gd name="connsiteX30" fmla="*/ 4078627 w 4519983"/>
              <a:gd name="connsiteY30" fmla="*/ 838200 h 4496940"/>
              <a:gd name="connsiteX31" fmla="*/ 4107202 w 4519983"/>
              <a:gd name="connsiteY31" fmla="*/ 876300 h 4496940"/>
              <a:gd name="connsiteX32" fmla="*/ 4116727 w 4519983"/>
              <a:gd name="connsiteY32" fmla="*/ 904875 h 4496940"/>
              <a:gd name="connsiteX33" fmla="*/ 4135777 w 4519983"/>
              <a:gd name="connsiteY33" fmla="*/ 933450 h 4496940"/>
              <a:gd name="connsiteX34" fmla="*/ 4164352 w 4519983"/>
              <a:gd name="connsiteY34" fmla="*/ 990600 h 4496940"/>
              <a:gd name="connsiteX35" fmla="*/ 4173877 w 4519983"/>
              <a:gd name="connsiteY35" fmla="*/ 1019175 h 4496940"/>
              <a:gd name="connsiteX36" fmla="*/ 4192927 w 4519983"/>
              <a:gd name="connsiteY36" fmla="*/ 1057275 h 4496940"/>
              <a:gd name="connsiteX37" fmla="*/ 4202452 w 4519983"/>
              <a:gd name="connsiteY37" fmla="*/ 1085850 h 4496940"/>
              <a:gd name="connsiteX38" fmla="*/ 4250077 w 4519983"/>
              <a:gd name="connsiteY38" fmla="*/ 1143000 h 4496940"/>
              <a:gd name="connsiteX39" fmla="*/ 4259602 w 4519983"/>
              <a:gd name="connsiteY39" fmla="*/ 1190625 h 4496940"/>
              <a:gd name="connsiteX40" fmla="*/ 4307227 w 4519983"/>
              <a:gd name="connsiteY40" fmla="*/ 1266825 h 4496940"/>
              <a:gd name="connsiteX41" fmla="*/ 4345327 w 4519983"/>
              <a:gd name="connsiteY41" fmla="*/ 1362075 h 4496940"/>
              <a:gd name="connsiteX42" fmla="*/ 4373902 w 4519983"/>
              <a:gd name="connsiteY42" fmla="*/ 1428750 h 4496940"/>
              <a:gd name="connsiteX43" fmla="*/ 4392952 w 4519983"/>
              <a:gd name="connsiteY43" fmla="*/ 1552575 h 4496940"/>
              <a:gd name="connsiteX44" fmla="*/ 4402477 w 4519983"/>
              <a:gd name="connsiteY44" fmla="*/ 1590675 h 4496940"/>
              <a:gd name="connsiteX45" fmla="*/ 4431052 w 4519983"/>
              <a:gd name="connsiteY45" fmla="*/ 1685925 h 4496940"/>
              <a:gd name="connsiteX46" fmla="*/ 4519952 w 4519983"/>
              <a:gd name="connsiteY46" fmla="*/ 2181225 h 4496940"/>
              <a:gd name="connsiteX47" fmla="*/ 4440577 w 4519983"/>
              <a:gd name="connsiteY47" fmla="*/ 2876550 h 4496940"/>
              <a:gd name="connsiteX48" fmla="*/ 4383427 w 4519983"/>
              <a:gd name="connsiteY48" fmla="*/ 2990850 h 4496940"/>
              <a:gd name="connsiteX49" fmla="*/ 4354852 w 4519983"/>
              <a:gd name="connsiteY49" fmla="*/ 3057525 h 4496940"/>
              <a:gd name="connsiteX50" fmla="*/ 4335802 w 4519983"/>
              <a:gd name="connsiteY50" fmla="*/ 3095625 h 4496940"/>
              <a:gd name="connsiteX51" fmla="*/ 4278652 w 4519983"/>
              <a:gd name="connsiteY51" fmla="*/ 3248025 h 4496940"/>
              <a:gd name="connsiteX52" fmla="*/ 4259602 w 4519983"/>
              <a:gd name="connsiteY52" fmla="*/ 3276600 h 4496940"/>
              <a:gd name="connsiteX53" fmla="*/ 4221502 w 4519983"/>
              <a:gd name="connsiteY53" fmla="*/ 3333750 h 4496940"/>
              <a:gd name="connsiteX54" fmla="*/ 4211977 w 4519983"/>
              <a:gd name="connsiteY54" fmla="*/ 3362325 h 4496940"/>
              <a:gd name="connsiteX55" fmla="*/ 4183402 w 4519983"/>
              <a:gd name="connsiteY55" fmla="*/ 3400425 h 4496940"/>
              <a:gd name="connsiteX56" fmla="*/ 4164352 w 4519983"/>
              <a:gd name="connsiteY56" fmla="*/ 3429000 h 4496940"/>
              <a:gd name="connsiteX57" fmla="*/ 4088152 w 4519983"/>
              <a:gd name="connsiteY57" fmla="*/ 3495675 h 4496940"/>
              <a:gd name="connsiteX58" fmla="*/ 4059577 w 4519983"/>
              <a:gd name="connsiteY58" fmla="*/ 3533775 h 4496940"/>
              <a:gd name="connsiteX59" fmla="*/ 4002427 w 4519983"/>
              <a:gd name="connsiteY59" fmla="*/ 3600450 h 4496940"/>
              <a:gd name="connsiteX60" fmla="*/ 3983377 w 4519983"/>
              <a:gd name="connsiteY60" fmla="*/ 3629025 h 4496940"/>
              <a:gd name="connsiteX61" fmla="*/ 3954802 w 4519983"/>
              <a:gd name="connsiteY61" fmla="*/ 3648075 h 4496940"/>
              <a:gd name="connsiteX62" fmla="*/ 3907177 w 4519983"/>
              <a:gd name="connsiteY62" fmla="*/ 3686175 h 4496940"/>
              <a:gd name="connsiteX63" fmla="*/ 3869077 w 4519983"/>
              <a:gd name="connsiteY63" fmla="*/ 3724275 h 4496940"/>
              <a:gd name="connsiteX64" fmla="*/ 3792877 w 4519983"/>
              <a:gd name="connsiteY64" fmla="*/ 3781425 h 4496940"/>
              <a:gd name="connsiteX65" fmla="*/ 3783352 w 4519983"/>
              <a:gd name="connsiteY65" fmla="*/ 3810000 h 4496940"/>
              <a:gd name="connsiteX66" fmla="*/ 3745252 w 4519983"/>
              <a:gd name="connsiteY66" fmla="*/ 3819525 h 4496940"/>
              <a:gd name="connsiteX67" fmla="*/ 3678577 w 4519983"/>
              <a:gd name="connsiteY67" fmla="*/ 3848100 h 4496940"/>
              <a:gd name="connsiteX68" fmla="*/ 3659527 w 4519983"/>
              <a:gd name="connsiteY68" fmla="*/ 3971925 h 4496940"/>
              <a:gd name="connsiteX69" fmla="*/ 3630952 w 4519983"/>
              <a:gd name="connsiteY69" fmla="*/ 4010025 h 4496940"/>
              <a:gd name="connsiteX70" fmla="*/ 3621427 w 4519983"/>
              <a:gd name="connsiteY70" fmla="*/ 4038600 h 4496940"/>
              <a:gd name="connsiteX71" fmla="*/ 3554752 w 4519983"/>
              <a:gd name="connsiteY71" fmla="*/ 4095750 h 4496940"/>
              <a:gd name="connsiteX72" fmla="*/ 3516652 w 4519983"/>
              <a:gd name="connsiteY72" fmla="*/ 4114800 h 4496940"/>
              <a:gd name="connsiteX73" fmla="*/ 3497602 w 4519983"/>
              <a:gd name="connsiteY73" fmla="*/ 4143375 h 4496940"/>
              <a:gd name="connsiteX74" fmla="*/ 3383302 w 4519983"/>
              <a:gd name="connsiteY74" fmla="*/ 4210050 h 4496940"/>
              <a:gd name="connsiteX75" fmla="*/ 3335677 w 4519983"/>
              <a:gd name="connsiteY75" fmla="*/ 4238625 h 4496940"/>
              <a:gd name="connsiteX76" fmla="*/ 3288052 w 4519983"/>
              <a:gd name="connsiteY76" fmla="*/ 4248150 h 4496940"/>
              <a:gd name="connsiteX77" fmla="*/ 3240427 w 4519983"/>
              <a:gd name="connsiteY77" fmla="*/ 4267200 h 4496940"/>
              <a:gd name="connsiteX78" fmla="*/ 3068977 w 4519983"/>
              <a:gd name="connsiteY78" fmla="*/ 4286250 h 4496940"/>
              <a:gd name="connsiteX79" fmla="*/ 2935627 w 4519983"/>
              <a:gd name="connsiteY79" fmla="*/ 4333875 h 4496940"/>
              <a:gd name="connsiteX80" fmla="*/ 2811802 w 4519983"/>
              <a:gd name="connsiteY80" fmla="*/ 4371975 h 4496940"/>
              <a:gd name="connsiteX81" fmla="*/ 2745127 w 4519983"/>
              <a:gd name="connsiteY81" fmla="*/ 4410075 h 4496940"/>
              <a:gd name="connsiteX82" fmla="*/ 2697502 w 4519983"/>
              <a:gd name="connsiteY82" fmla="*/ 4429125 h 4496940"/>
              <a:gd name="connsiteX83" fmla="*/ 2640352 w 4519983"/>
              <a:gd name="connsiteY83" fmla="*/ 4457700 h 4496940"/>
              <a:gd name="connsiteX84" fmla="*/ 2583202 w 4519983"/>
              <a:gd name="connsiteY84" fmla="*/ 4467225 h 4496940"/>
              <a:gd name="connsiteX85" fmla="*/ 2545102 w 4519983"/>
              <a:gd name="connsiteY85" fmla="*/ 4486275 h 4496940"/>
              <a:gd name="connsiteX86" fmla="*/ 2306977 w 4519983"/>
              <a:gd name="connsiteY86" fmla="*/ 4476750 h 4496940"/>
              <a:gd name="connsiteX87" fmla="*/ 2202202 w 4519983"/>
              <a:gd name="connsiteY87" fmla="*/ 4457700 h 4496940"/>
              <a:gd name="connsiteX88" fmla="*/ 2126002 w 4519983"/>
              <a:gd name="connsiteY88" fmla="*/ 4429125 h 4496940"/>
              <a:gd name="connsiteX89" fmla="*/ 1935502 w 4519983"/>
              <a:gd name="connsiteY89" fmla="*/ 4400550 h 4496940"/>
              <a:gd name="connsiteX90" fmla="*/ 1821202 w 4519983"/>
              <a:gd name="connsiteY90" fmla="*/ 4371975 h 4496940"/>
              <a:gd name="connsiteX91" fmla="*/ 1754527 w 4519983"/>
              <a:gd name="connsiteY91" fmla="*/ 4352925 h 4496940"/>
              <a:gd name="connsiteX92" fmla="*/ 1687852 w 4519983"/>
              <a:gd name="connsiteY92" fmla="*/ 4343400 h 4496940"/>
              <a:gd name="connsiteX93" fmla="*/ 1573552 w 4519983"/>
              <a:gd name="connsiteY93" fmla="*/ 4305300 h 4496940"/>
              <a:gd name="connsiteX94" fmla="*/ 1402102 w 4519983"/>
              <a:gd name="connsiteY94" fmla="*/ 4276725 h 4496940"/>
              <a:gd name="connsiteX95" fmla="*/ 1287802 w 4519983"/>
              <a:gd name="connsiteY95" fmla="*/ 4229100 h 4496940"/>
              <a:gd name="connsiteX96" fmla="*/ 1221127 w 4519983"/>
              <a:gd name="connsiteY96" fmla="*/ 4200525 h 4496940"/>
              <a:gd name="connsiteX97" fmla="*/ 1144927 w 4519983"/>
              <a:gd name="connsiteY97" fmla="*/ 4171950 h 4496940"/>
              <a:gd name="connsiteX98" fmla="*/ 1087777 w 4519983"/>
              <a:gd name="connsiteY98" fmla="*/ 4143375 h 4496940"/>
              <a:gd name="connsiteX99" fmla="*/ 1030627 w 4519983"/>
              <a:gd name="connsiteY99" fmla="*/ 4124325 h 4496940"/>
              <a:gd name="connsiteX100" fmla="*/ 925852 w 4519983"/>
              <a:gd name="connsiteY100" fmla="*/ 4067175 h 4496940"/>
              <a:gd name="connsiteX101" fmla="*/ 830602 w 4519983"/>
              <a:gd name="connsiteY101" fmla="*/ 3981450 h 4496940"/>
              <a:gd name="connsiteX102" fmla="*/ 763927 w 4519983"/>
              <a:gd name="connsiteY102" fmla="*/ 3914775 h 4496940"/>
              <a:gd name="connsiteX103" fmla="*/ 725827 w 4519983"/>
              <a:gd name="connsiteY103" fmla="*/ 3876675 h 4496940"/>
              <a:gd name="connsiteX104" fmla="*/ 697252 w 4519983"/>
              <a:gd name="connsiteY104" fmla="*/ 3838575 h 4496940"/>
              <a:gd name="connsiteX105" fmla="*/ 640102 w 4519983"/>
              <a:gd name="connsiteY105" fmla="*/ 3781425 h 4496940"/>
              <a:gd name="connsiteX106" fmla="*/ 611527 w 4519983"/>
              <a:gd name="connsiteY106" fmla="*/ 3733800 h 4496940"/>
              <a:gd name="connsiteX107" fmla="*/ 554377 w 4519983"/>
              <a:gd name="connsiteY107" fmla="*/ 3657600 h 4496940"/>
              <a:gd name="connsiteX108" fmla="*/ 525802 w 4519983"/>
              <a:gd name="connsiteY108" fmla="*/ 3609975 h 4496940"/>
              <a:gd name="connsiteX109" fmla="*/ 497227 w 4519983"/>
              <a:gd name="connsiteY109" fmla="*/ 3552825 h 4496940"/>
              <a:gd name="connsiteX110" fmla="*/ 440077 w 4519983"/>
              <a:gd name="connsiteY110" fmla="*/ 3495675 h 4496940"/>
              <a:gd name="connsiteX111" fmla="*/ 411502 w 4519983"/>
              <a:gd name="connsiteY111" fmla="*/ 3448050 h 4496940"/>
              <a:gd name="connsiteX112" fmla="*/ 278152 w 4519983"/>
              <a:gd name="connsiteY112" fmla="*/ 3257550 h 4496940"/>
              <a:gd name="connsiteX113" fmla="*/ 249577 w 4519983"/>
              <a:gd name="connsiteY113" fmla="*/ 3200400 h 4496940"/>
              <a:gd name="connsiteX114" fmla="*/ 240052 w 4519983"/>
              <a:gd name="connsiteY114" fmla="*/ 3162300 h 4496940"/>
              <a:gd name="connsiteX115" fmla="*/ 221002 w 4519983"/>
              <a:gd name="connsiteY115" fmla="*/ 3105150 h 4496940"/>
              <a:gd name="connsiteX116" fmla="*/ 173377 w 4519983"/>
              <a:gd name="connsiteY116" fmla="*/ 3019425 h 4496940"/>
              <a:gd name="connsiteX117" fmla="*/ 144802 w 4519983"/>
              <a:gd name="connsiteY117" fmla="*/ 2924175 h 4496940"/>
              <a:gd name="connsiteX118" fmla="*/ 68602 w 4519983"/>
              <a:gd name="connsiteY118" fmla="*/ 2724150 h 4496940"/>
              <a:gd name="connsiteX119" fmla="*/ 49552 w 4519983"/>
              <a:gd name="connsiteY119" fmla="*/ 2638425 h 4496940"/>
              <a:gd name="connsiteX120" fmla="*/ 40027 w 4519983"/>
              <a:gd name="connsiteY120" fmla="*/ 2562225 h 4496940"/>
              <a:gd name="connsiteX121" fmla="*/ 30502 w 4519983"/>
              <a:gd name="connsiteY121" fmla="*/ 2514600 h 4496940"/>
              <a:gd name="connsiteX122" fmla="*/ 11452 w 4519983"/>
              <a:gd name="connsiteY122" fmla="*/ 2400300 h 4496940"/>
              <a:gd name="connsiteX123" fmla="*/ 20977 w 4519983"/>
              <a:gd name="connsiteY123" fmla="*/ 1905000 h 4496940"/>
              <a:gd name="connsiteX124" fmla="*/ 30502 w 4519983"/>
              <a:gd name="connsiteY124" fmla="*/ 1838325 h 4496940"/>
              <a:gd name="connsiteX125" fmla="*/ 49552 w 4519983"/>
              <a:gd name="connsiteY125" fmla="*/ 1781175 h 4496940"/>
              <a:gd name="connsiteX126" fmla="*/ 59077 w 4519983"/>
              <a:gd name="connsiteY126" fmla="*/ 1743075 h 4496940"/>
              <a:gd name="connsiteX127" fmla="*/ 78127 w 4519983"/>
              <a:gd name="connsiteY127" fmla="*/ 1685925 h 4496940"/>
              <a:gd name="connsiteX128" fmla="*/ 87652 w 4519983"/>
              <a:gd name="connsiteY128" fmla="*/ 1638300 h 4496940"/>
              <a:gd name="connsiteX129" fmla="*/ 106702 w 4519983"/>
              <a:gd name="connsiteY129" fmla="*/ 1590675 h 4496940"/>
              <a:gd name="connsiteX130" fmla="*/ 135277 w 4519983"/>
              <a:gd name="connsiteY130" fmla="*/ 1504950 h 4496940"/>
              <a:gd name="connsiteX131" fmla="*/ 154327 w 4519983"/>
              <a:gd name="connsiteY131" fmla="*/ 1419225 h 4496940"/>
              <a:gd name="connsiteX132" fmla="*/ 230527 w 4519983"/>
              <a:gd name="connsiteY132" fmla="*/ 1276350 h 4496940"/>
              <a:gd name="connsiteX133" fmla="*/ 240052 w 4519983"/>
              <a:gd name="connsiteY133" fmla="*/ 1247775 h 4496940"/>
              <a:gd name="connsiteX134" fmla="*/ 268627 w 4519983"/>
              <a:gd name="connsiteY134" fmla="*/ 1200150 h 4496940"/>
              <a:gd name="connsiteX135" fmla="*/ 287677 w 4519983"/>
              <a:gd name="connsiteY135" fmla="*/ 1152525 h 4496940"/>
              <a:gd name="connsiteX136" fmla="*/ 316252 w 4519983"/>
              <a:gd name="connsiteY136" fmla="*/ 1114425 h 4496940"/>
              <a:gd name="connsiteX137" fmla="*/ 363877 w 4519983"/>
              <a:gd name="connsiteY137" fmla="*/ 1038225 h 4496940"/>
              <a:gd name="connsiteX138" fmla="*/ 382927 w 4519983"/>
              <a:gd name="connsiteY138" fmla="*/ 1009650 h 4496940"/>
              <a:gd name="connsiteX139" fmla="*/ 440077 w 4519983"/>
              <a:gd name="connsiteY139" fmla="*/ 904875 h 4496940"/>
              <a:gd name="connsiteX140" fmla="*/ 478177 w 4519983"/>
              <a:gd name="connsiteY140" fmla="*/ 857250 h 4496940"/>
              <a:gd name="connsiteX141" fmla="*/ 497227 w 4519983"/>
              <a:gd name="connsiteY141" fmla="*/ 828675 h 4496940"/>
              <a:gd name="connsiteX142" fmla="*/ 535327 w 4519983"/>
              <a:gd name="connsiteY142" fmla="*/ 800100 h 4496940"/>
              <a:gd name="connsiteX143" fmla="*/ 602002 w 4519983"/>
              <a:gd name="connsiteY143" fmla="*/ 733425 h 4496940"/>
              <a:gd name="connsiteX144" fmla="*/ 668677 w 4519983"/>
              <a:gd name="connsiteY144" fmla="*/ 676275 h 4496940"/>
              <a:gd name="connsiteX145" fmla="*/ 697252 w 4519983"/>
              <a:gd name="connsiteY145" fmla="*/ 657225 h 4496940"/>
              <a:gd name="connsiteX146" fmla="*/ 840127 w 4519983"/>
              <a:gd name="connsiteY146" fmla="*/ 533400 h 4496940"/>
              <a:gd name="connsiteX147" fmla="*/ 887752 w 4519983"/>
              <a:gd name="connsiteY147" fmla="*/ 504825 h 4496940"/>
              <a:gd name="connsiteX148" fmla="*/ 1167152 w 4519983"/>
              <a:gd name="connsiteY148" fmla="*/ 311150 h 4496940"/>
              <a:gd name="connsiteX149" fmla="*/ 1268752 w 4519983"/>
              <a:gd name="connsiteY149" fmla="*/ 285750 h 4496940"/>
              <a:gd name="connsiteX150" fmla="*/ 1411627 w 4519983"/>
              <a:gd name="connsiteY150" fmla="*/ 190500 h 4496940"/>
              <a:gd name="connsiteX151" fmla="*/ 1449727 w 4519983"/>
              <a:gd name="connsiteY151" fmla="*/ 161925 h 4496940"/>
              <a:gd name="connsiteX152" fmla="*/ 1525927 w 4519983"/>
              <a:gd name="connsiteY152" fmla="*/ 152400 h 4496940"/>
              <a:gd name="connsiteX153" fmla="*/ 1583077 w 4519983"/>
              <a:gd name="connsiteY153" fmla="*/ 142875 h 4496940"/>
              <a:gd name="connsiteX154" fmla="*/ 1716427 w 4519983"/>
              <a:gd name="connsiteY154" fmla="*/ 123825 h 4496940"/>
              <a:gd name="connsiteX155" fmla="*/ 1811677 w 4519983"/>
              <a:gd name="connsiteY155" fmla="*/ 114300 h 4496940"/>
              <a:gd name="connsiteX156" fmla="*/ 1859302 w 4519983"/>
              <a:gd name="connsiteY156" fmla="*/ 104775 h 4496940"/>
              <a:gd name="connsiteX157" fmla="*/ 1916452 w 4519983"/>
              <a:gd name="connsiteY157" fmla="*/ 95250 h 4496940"/>
              <a:gd name="connsiteX158" fmla="*/ 2030752 w 4519983"/>
              <a:gd name="connsiteY158" fmla="*/ 66675 h 4496940"/>
              <a:gd name="connsiteX159" fmla="*/ 2097427 w 4519983"/>
              <a:gd name="connsiteY159" fmla="*/ 47625 h 4496940"/>
              <a:gd name="connsiteX160" fmla="*/ 2164102 w 4519983"/>
              <a:gd name="connsiteY160" fmla="*/ 38100 h 4496940"/>
              <a:gd name="connsiteX161" fmla="*/ 2392702 w 4519983"/>
              <a:gd name="connsiteY16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354852 w 4519987"/>
              <a:gd name="connsiteY49" fmla="*/ 3057525 h 4496940"/>
              <a:gd name="connsiteX50" fmla="*/ 4335802 w 4519987"/>
              <a:gd name="connsiteY50" fmla="*/ 3095625 h 4496940"/>
              <a:gd name="connsiteX51" fmla="*/ 4278652 w 4519987"/>
              <a:gd name="connsiteY51" fmla="*/ 3248025 h 4496940"/>
              <a:gd name="connsiteX52" fmla="*/ 4259602 w 4519987"/>
              <a:gd name="connsiteY52" fmla="*/ 3276600 h 4496940"/>
              <a:gd name="connsiteX53" fmla="*/ 4221502 w 4519987"/>
              <a:gd name="connsiteY53" fmla="*/ 3333750 h 4496940"/>
              <a:gd name="connsiteX54" fmla="*/ 4211977 w 4519987"/>
              <a:gd name="connsiteY54" fmla="*/ 3362325 h 4496940"/>
              <a:gd name="connsiteX55" fmla="*/ 4183402 w 4519987"/>
              <a:gd name="connsiteY55" fmla="*/ 3400425 h 4496940"/>
              <a:gd name="connsiteX56" fmla="*/ 4164352 w 4519987"/>
              <a:gd name="connsiteY56" fmla="*/ 3429000 h 4496940"/>
              <a:gd name="connsiteX57" fmla="*/ 4088152 w 4519987"/>
              <a:gd name="connsiteY57" fmla="*/ 3495675 h 4496940"/>
              <a:gd name="connsiteX58" fmla="*/ 4059577 w 4519987"/>
              <a:gd name="connsiteY58" fmla="*/ 3533775 h 4496940"/>
              <a:gd name="connsiteX59" fmla="*/ 4002427 w 4519987"/>
              <a:gd name="connsiteY59" fmla="*/ 3600450 h 4496940"/>
              <a:gd name="connsiteX60" fmla="*/ 3983377 w 4519987"/>
              <a:gd name="connsiteY60" fmla="*/ 3629025 h 4496940"/>
              <a:gd name="connsiteX61" fmla="*/ 3954802 w 4519987"/>
              <a:gd name="connsiteY61" fmla="*/ 3648075 h 4496940"/>
              <a:gd name="connsiteX62" fmla="*/ 3907177 w 4519987"/>
              <a:gd name="connsiteY62" fmla="*/ 3686175 h 4496940"/>
              <a:gd name="connsiteX63" fmla="*/ 3869077 w 4519987"/>
              <a:gd name="connsiteY63" fmla="*/ 3724275 h 4496940"/>
              <a:gd name="connsiteX64" fmla="*/ 3792877 w 4519987"/>
              <a:gd name="connsiteY64" fmla="*/ 3781425 h 4496940"/>
              <a:gd name="connsiteX65" fmla="*/ 3783352 w 4519987"/>
              <a:gd name="connsiteY65" fmla="*/ 3810000 h 4496940"/>
              <a:gd name="connsiteX66" fmla="*/ 3745252 w 4519987"/>
              <a:gd name="connsiteY66" fmla="*/ 3819525 h 4496940"/>
              <a:gd name="connsiteX67" fmla="*/ 3678577 w 4519987"/>
              <a:gd name="connsiteY67" fmla="*/ 3848100 h 4496940"/>
              <a:gd name="connsiteX68" fmla="*/ 3659527 w 4519987"/>
              <a:gd name="connsiteY68" fmla="*/ 3971925 h 4496940"/>
              <a:gd name="connsiteX69" fmla="*/ 3630952 w 4519987"/>
              <a:gd name="connsiteY69" fmla="*/ 4010025 h 4496940"/>
              <a:gd name="connsiteX70" fmla="*/ 3621427 w 4519987"/>
              <a:gd name="connsiteY70" fmla="*/ 4038600 h 4496940"/>
              <a:gd name="connsiteX71" fmla="*/ 3554752 w 4519987"/>
              <a:gd name="connsiteY71" fmla="*/ 4095750 h 4496940"/>
              <a:gd name="connsiteX72" fmla="*/ 3516652 w 4519987"/>
              <a:gd name="connsiteY72" fmla="*/ 4114800 h 4496940"/>
              <a:gd name="connsiteX73" fmla="*/ 3497602 w 4519987"/>
              <a:gd name="connsiteY73" fmla="*/ 4143375 h 4496940"/>
              <a:gd name="connsiteX74" fmla="*/ 3383302 w 4519987"/>
              <a:gd name="connsiteY74" fmla="*/ 4210050 h 4496940"/>
              <a:gd name="connsiteX75" fmla="*/ 3335677 w 4519987"/>
              <a:gd name="connsiteY75" fmla="*/ 4238625 h 4496940"/>
              <a:gd name="connsiteX76" fmla="*/ 3288052 w 4519987"/>
              <a:gd name="connsiteY76" fmla="*/ 4248150 h 4496940"/>
              <a:gd name="connsiteX77" fmla="*/ 3240427 w 4519987"/>
              <a:gd name="connsiteY77" fmla="*/ 4267200 h 4496940"/>
              <a:gd name="connsiteX78" fmla="*/ 3068977 w 4519987"/>
              <a:gd name="connsiteY78" fmla="*/ 4286250 h 4496940"/>
              <a:gd name="connsiteX79" fmla="*/ 2935627 w 4519987"/>
              <a:gd name="connsiteY79" fmla="*/ 4333875 h 4496940"/>
              <a:gd name="connsiteX80" fmla="*/ 2811802 w 4519987"/>
              <a:gd name="connsiteY80" fmla="*/ 4371975 h 4496940"/>
              <a:gd name="connsiteX81" fmla="*/ 2745127 w 4519987"/>
              <a:gd name="connsiteY81" fmla="*/ 4410075 h 4496940"/>
              <a:gd name="connsiteX82" fmla="*/ 2697502 w 4519987"/>
              <a:gd name="connsiteY82" fmla="*/ 4429125 h 4496940"/>
              <a:gd name="connsiteX83" fmla="*/ 2640352 w 4519987"/>
              <a:gd name="connsiteY83" fmla="*/ 4457700 h 4496940"/>
              <a:gd name="connsiteX84" fmla="*/ 2583202 w 4519987"/>
              <a:gd name="connsiteY84" fmla="*/ 4467225 h 4496940"/>
              <a:gd name="connsiteX85" fmla="*/ 2545102 w 4519987"/>
              <a:gd name="connsiteY85" fmla="*/ 4486275 h 4496940"/>
              <a:gd name="connsiteX86" fmla="*/ 2306977 w 4519987"/>
              <a:gd name="connsiteY86" fmla="*/ 4476750 h 4496940"/>
              <a:gd name="connsiteX87" fmla="*/ 2202202 w 4519987"/>
              <a:gd name="connsiteY87" fmla="*/ 4457700 h 4496940"/>
              <a:gd name="connsiteX88" fmla="*/ 2126002 w 4519987"/>
              <a:gd name="connsiteY88" fmla="*/ 4429125 h 4496940"/>
              <a:gd name="connsiteX89" fmla="*/ 1935502 w 4519987"/>
              <a:gd name="connsiteY89" fmla="*/ 4400550 h 4496940"/>
              <a:gd name="connsiteX90" fmla="*/ 1821202 w 4519987"/>
              <a:gd name="connsiteY90" fmla="*/ 4371975 h 4496940"/>
              <a:gd name="connsiteX91" fmla="*/ 1754527 w 4519987"/>
              <a:gd name="connsiteY91" fmla="*/ 4352925 h 4496940"/>
              <a:gd name="connsiteX92" fmla="*/ 1687852 w 4519987"/>
              <a:gd name="connsiteY92" fmla="*/ 4343400 h 4496940"/>
              <a:gd name="connsiteX93" fmla="*/ 1573552 w 4519987"/>
              <a:gd name="connsiteY93" fmla="*/ 4305300 h 4496940"/>
              <a:gd name="connsiteX94" fmla="*/ 1402102 w 4519987"/>
              <a:gd name="connsiteY94" fmla="*/ 4276725 h 4496940"/>
              <a:gd name="connsiteX95" fmla="*/ 1287802 w 4519987"/>
              <a:gd name="connsiteY95" fmla="*/ 4229100 h 4496940"/>
              <a:gd name="connsiteX96" fmla="*/ 1221127 w 4519987"/>
              <a:gd name="connsiteY96" fmla="*/ 4200525 h 4496940"/>
              <a:gd name="connsiteX97" fmla="*/ 1144927 w 4519987"/>
              <a:gd name="connsiteY97" fmla="*/ 4171950 h 4496940"/>
              <a:gd name="connsiteX98" fmla="*/ 1087777 w 4519987"/>
              <a:gd name="connsiteY98" fmla="*/ 4143375 h 4496940"/>
              <a:gd name="connsiteX99" fmla="*/ 1030627 w 4519987"/>
              <a:gd name="connsiteY99" fmla="*/ 4124325 h 4496940"/>
              <a:gd name="connsiteX100" fmla="*/ 925852 w 4519987"/>
              <a:gd name="connsiteY100" fmla="*/ 4067175 h 4496940"/>
              <a:gd name="connsiteX101" fmla="*/ 830602 w 4519987"/>
              <a:gd name="connsiteY101" fmla="*/ 3981450 h 4496940"/>
              <a:gd name="connsiteX102" fmla="*/ 763927 w 4519987"/>
              <a:gd name="connsiteY102" fmla="*/ 3914775 h 4496940"/>
              <a:gd name="connsiteX103" fmla="*/ 725827 w 4519987"/>
              <a:gd name="connsiteY103" fmla="*/ 3876675 h 4496940"/>
              <a:gd name="connsiteX104" fmla="*/ 697252 w 4519987"/>
              <a:gd name="connsiteY104" fmla="*/ 3838575 h 4496940"/>
              <a:gd name="connsiteX105" fmla="*/ 640102 w 4519987"/>
              <a:gd name="connsiteY105" fmla="*/ 3781425 h 4496940"/>
              <a:gd name="connsiteX106" fmla="*/ 611527 w 4519987"/>
              <a:gd name="connsiteY106" fmla="*/ 3733800 h 4496940"/>
              <a:gd name="connsiteX107" fmla="*/ 554377 w 4519987"/>
              <a:gd name="connsiteY107" fmla="*/ 3657600 h 4496940"/>
              <a:gd name="connsiteX108" fmla="*/ 525802 w 4519987"/>
              <a:gd name="connsiteY108" fmla="*/ 3609975 h 4496940"/>
              <a:gd name="connsiteX109" fmla="*/ 497227 w 4519987"/>
              <a:gd name="connsiteY109" fmla="*/ 3552825 h 4496940"/>
              <a:gd name="connsiteX110" fmla="*/ 440077 w 4519987"/>
              <a:gd name="connsiteY110" fmla="*/ 3495675 h 4496940"/>
              <a:gd name="connsiteX111" fmla="*/ 411502 w 4519987"/>
              <a:gd name="connsiteY111" fmla="*/ 3448050 h 4496940"/>
              <a:gd name="connsiteX112" fmla="*/ 278152 w 4519987"/>
              <a:gd name="connsiteY112" fmla="*/ 3257550 h 4496940"/>
              <a:gd name="connsiteX113" fmla="*/ 249577 w 4519987"/>
              <a:gd name="connsiteY113" fmla="*/ 3200400 h 4496940"/>
              <a:gd name="connsiteX114" fmla="*/ 240052 w 4519987"/>
              <a:gd name="connsiteY114" fmla="*/ 3162300 h 4496940"/>
              <a:gd name="connsiteX115" fmla="*/ 221002 w 4519987"/>
              <a:gd name="connsiteY115" fmla="*/ 3105150 h 4496940"/>
              <a:gd name="connsiteX116" fmla="*/ 173377 w 4519987"/>
              <a:gd name="connsiteY116" fmla="*/ 3019425 h 4496940"/>
              <a:gd name="connsiteX117" fmla="*/ 144802 w 4519987"/>
              <a:gd name="connsiteY117" fmla="*/ 2924175 h 4496940"/>
              <a:gd name="connsiteX118" fmla="*/ 68602 w 4519987"/>
              <a:gd name="connsiteY118" fmla="*/ 2724150 h 4496940"/>
              <a:gd name="connsiteX119" fmla="*/ 49552 w 4519987"/>
              <a:gd name="connsiteY119" fmla="*/ 2638425 h 4496940"/>
              <a:gd name="connsiteX120" fmla="*/ 40027 w 4519987"/>
              <a:gd name="connsiteY120" fmla="*/ 2562225 h 4496940"/>
              <a:gd name="connsiteX121" fmla="*/ 30502 w 4519987"/>
              <a:gd name="connsiteY121" fmla="*/ 2514600 h 4496940"/>
              <a:gd name="connsiteX122" fmla="*/ 11452 w 4519987"/>
              <a:gd name="connsiteY122" fmla="*/ 2400300 h 4496940"/>
              <a:gd name="connsiteX123" fmla="*/ 20977 w 4519987"/>
              <a:gd name="connsiteY123" fmla="*/ 1905000 h 4496940"/>
              <a:gd name="connsiteX124" fmla="*/ 30502 w 4519987"/>
              <a:gd name="connsiteY124" fmla="*/ 1838325 h 4496940"/>
              <a:gd name="connsiteX125" fmla="*/ 49552 w 4519987"/>
              <a:gd name="connsiteY125" fmla="*/ 1781175 h 4496940"/>
              <a:gd name="connsiteX126" fmla="*/ 59077 w 4519987"/>
              <a:gd name="connsiteY126" fmla="*/ 1743075 h 4496940"/>
              <a:gd name="connsiteX127" fmla="*/ 78127 w 4519987"/>
              <a:gd name="connsiteY127" fmla="*/ 1685925 h 4496940"/>
              <a:gd name="connsiteX128" fmla="*/ 87652 w 4519987"/>
              <a:gd name="connsiteY128" fmla="*/ 1638300 h 4496940"/>
              <a:gd name="connsiteX129" fmla="*/ 106702 w 4519987"/>
              <a:gd name="connsiteY129" fmla="*/ 1590675 h 4496940"/>
              <a:gd name="connsiteX130" fmla="*/ 135277 w 4519987"/>
              <a:gd name="connsiteY130" fmla="*/ 1504950 h 4496940"/>
              <a:gd name="connsiteX131" fmla="*/ 154327 w 4519987"/>
              <a:gd name="connsiteY131" fmla="*/ 1419225 h 4496940"/>
              <a:gd name="connsiteX132" fmla="*/ 230527 w 4519987"/>
              <a:gd name="connsiteY132" fmla="*/ 1276350 h 4496940"/>
              <a:gd name="connsiteX133" fmla="*/ 240052 w 4519987"/>
              <a:gd name="connsiteY133" fmla="*/ 1247775 h 4496940"/>
              <a:gd name="connsiteX134" fmla="*/ 268627 w 4519987"/>
              <a:gd name="connsiteY134" fmla="*/ 1200150 h 4496940"/>
              <a:gd name="connsiteX135" fmla="*/ 287677 w 4519987"/>
              <a:gd name="connsiteY135" fmla="*/ 1152525 h 4496940"/>
              <a:gd name="connsiteX136" fmla="*/ 316252 w 4519987"/>
              <a:gd name="connsiteY136" fmla="*/ 1114425 h 4496940"/>
              <a:gd name="connsiteX137" fmla="*/ 363877 w 4519987"/>
              <a:gd name="connsiteY137" fmla="*/ 1038225 h 4496940"/>
              <a:gd name="connsiteX138" fmla="*/ 382927 w 4519987"/>
              <a:gd name="connsiteY138" fmla="*/ 1009650 h 4496940"/>
              <a:gd name="connsiteX139" fmla="*/ 440077 w 4519987"/>
              <a:gd name="connsiteY139" fmla="*/ 904875 h 4496940"/>
              <a:gd name="connsiteX140" fmla="*/ 478177 w 4519987"/>
              <a:gd name="connsiteY140" fmla="*/ 857250 h 4496940"/>
              <a:gd name="connsiteX141" fmla="*/ 497227 w 4519987"/>
              <a:gd name="connsiteY141" fmla="*/ 828675 h 4496940"/>
              <a:gd name="connsiteX142" fmla="*/ 535327 w 4519987"/>
              <a:gd name="connsiteY142" fmla="*/ 800100 h 4496940"/>
              <a:gd name="connsiteX143" fmla="*/ 602002 w 4519987"/>
              <a:gd name="connsiteY143" fmla="*/ 733425 h 4496940"/>
              <a:gd name="connsiteX144" fmla="*/ 668677 w 4519987"/>
              <a:gd name="connsiteY144" fmla="*/ 676275 h 4496940"/>
              <a:gd name="connsiteX145" fmla="*/ 697252 w 4519987"/>
              <a:gd name="connsiteY145" fmla="*/ 657225 h 4496940"/>
              <a:gd name="connsiteX146" fmla="*/ 840127 w 4519987"/>
              <a:gd name="connsiteY146" fmla="*/ 533400 h 4496940"/>
              <a:gd name="connsiteX147" fmla="*/ 887752 w 4519987"/>
              <a:gd name="connsiteY147" fmla="*/ 504825 h 4496940"/>
              <a:gd name="connsiteX148" fmla="*/ 1167152 w 4519987"/>
              <a:gd name="connsiteY148" fmla="*/ 311150 h 4496940"/>
              <a:gd name="connsiteX149" fmla="*/ 1268752 w 4519987"/>
              <a:gd name="connsiteY149" fmla="*/ 285750 h 4496940"/>
              <a:gd name="connsiteX150" fmla="*/ 1411627 w 4519987"/>
              <a:gd name="connsiteY150" fmla="*/ 190500 h 4496940"/>
              <a:gd name="connsiteX151" fmla="*/ 1449727 w 4519987"/>
              <a:gd name="connsiteY151" fmla="*/ 161925 h 4496940"/>
              <a:gd name="connsiteX152" fmla="*/ 1525927 w 4519987"/>
              <a:gd name="connsiteY152" fmla="*/ 152400 h 4496940"/>
              <a:gd name="connsiteX153" fmla="*/ 1583077 w 4519987"/>
              <a:gd name="connsiteY153" fmla="*/ 142875 h 4496940"/>
              <a:gd name="connsiteX154" fmla="*/ 1716427 w 4519987"/>
              <a:gd name="connsiteY154" fmla="*/ 123825 h 4496940"/>
              <a:gd name="connsiteX155" fmla="*/ 1811677 w 4519987"/>
              <a:gd name="connsiteY155" fmla="*/ 114300 h 4496940"/>
              <a:gd name="connsiteX156" fmla="*/ 1859302 w 4519987"/>
              <a:gd name="connsiteY156" fmla="*/ 104775 h 4496940"/>
              <a:gd name="connsiteX157" fmla="*/ 1916452 w 4519987"/>
              <a:gd name="connsiteY157" fmla="*/ 95250 h 4496940"/>
              <a:gd name="connsiteX158" fmla="*/ 2030752 w 4519987"/>
              <a:gd name="connsiteY158" fmla="*/ 66675 h 4496940"/>
              <a:gd name="connsiteX159" fmla="*/ 2097427 w 4519987"/>
              <a:gd name="connsiteY159" fmla="*/ 47625 h 4496940"/>
              <a:gd name="connsiteX160" fmla="*/ 2164102 w 4519987"/>
              <a:gd name="connsiteY160" fmla="*/ 38100 h 4496940"/>
              <a:gd name="connsiteX161" fmla="*/ 2392702 w 4519987"/>
              <a:gd name="connsiteY16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354852 w 4519987"/>
              <a:gd name="connsiteY49" fmla="*/ 3057525 h 4496940"/>
              <a:gd name="connsiteX50" fmla="*/ 4278652 w 4519987"/>
              <a:gd name="connsiteY50" fmla="*/ 3248025 h 4496940"/>
              <a:gd name="connsiteX51" fmla="*/ 4259602 w 4519987"/>
              <a:gd name="connsiteY51" fmla="*/ 3276600 h 4496940"/>
              <a:gd name="connsiteX52" fmla="*/ 4221502 w 4519987"/>
              <a:gd name="connsiteY52" fmla="*/ 3333750 h 4496940"/>
              <a:gd name="connsiteX53" fmla="*/ 4211977 w 4519987"/>
              <a:gd name="connsiteY53" fmla="*/ 3362325 h 4496940"/>
              <a:gd name="connsiteX54" fmla="*/ 4183402 w 4519987"/>
              <a:gd name="connsiteY54" fmla="*/ 3400425 h 4496940"/>
              <a:gd name="connsiteX55" fmla="*/ 4164352 w 4519987"/>
              <a:gd name="connsiteY55" fmla="*/ 3429000 h 4496940"/>
              <a:gd name="connsiteX56" fmla="*/ 4088152 w 4519987"/>
              <a:gd name="connsiteY56" fmla="*/ 3495675 h 4496940"/>
              <a:gd name="connsiteX57" fmla="*/ 4059577 w 4519987"/>
              <a:gd name="connsiteY57" fmla="*/ 3533775 h 4496940"/>
              <a:gd name="connsiteX58" fmla="*/ 4002427 w 4519987"/>
              <a:gd name="connsiteY58" fmla="*/ 3600450 h 4496940"/>
              <a:gd name="connsiteX59" fmla="*/ 3983377 w 4519987"/>
              <a:gd name="connsiteY59" fmla="*/ 3629025 h 4496940"/>
              <a:gd name="connsiteX60" fmla="*/ 3954802 w 4519987"/>
              <a:gd name="connsiteY60" fmla="*/ 3648075 h 4496940"/>
              <a:gd name="connsiteX61" fmla="*/ 3907177 w 4519987"/>
              <a:gd name="connsiteY61" fmla="*/ 3686175 h 4496940"/>
              <a:gd name="connsiteX62" fmla="*/ 3869077 w 4519987"/>
              <a:gd name="connsiteY62" fmla="*/ 3724275 h 4496940"/>
              <a:gd name="connsiteX63" fmla="*/ 3792877 w 4519987"/>
              <a:gd name="connsiteY63" fmla="*/ 3781425 h 4496940"/>
              <a:gd name="connsiteX64" fmla="*/ 3783352 w 4519987"/>
              <a:gd name="connsiteY64" fmla="*/ 3810000 h 4496940"/>
              <a:gd name="connsiteX65" fmla="*/ 3745252 w 4519987"/>
              <a:gd name="connsiteY65" fmla="*/ 3819525 h 4496940"/>
              <a:gd name="connsiteX66" fmla="*/ 3678577 w 4519987"/>
              <a:gd name="connsiteY66" fmla="*/ 3848100 h 4496940"/>
              <a:gd name="connsiteX67" fmla="*/ 3659527 w 4519987"/>
              <a:gd name="connsiteY67" fmla="*/ 3971925 h 4496940"/>
              <a:gd name="connsiteX68" fmla="*/ 3630952 w 4519987"/>
              <a:gd name="connsiteY68" fmla="*/ 4010025 h 4496940"/>
              <a:gd name="connsiteX69" fmla="*/ 3621427 w 4519987"/>
              <a:gd name="connsiteY69" fmla="*/ 4038600 h 4496940"/>
              <a:gd name="connsiteX70" fmla="*/ 3554752 w 4519987"/>
              <a:gd name="connsiteY70" fmla="*/ 4095750 h 4496940"/>
              <a:gd name="connsiteX71" fmla="*/ 3516652 w 4519987"/>
              <a:gd name="connsiteY71" fmla="*/ 4114800 h 4496940"/>
              <a:gd name="connsiteX72" fmla="*/ 3497602 w 4519987"/>
              <a:gd name="connsiteY72" fmla="*/ 4143375 h 4496940"/>
              <a:gd name="connsiteX73" fmla="*/ 3383302 w 4519987"/>
              <a:gd name="connsiteY73" fmla="*/ 4210050 h 4496940"/>
              <a:gd name="connsiteX74" fmla="*/ 3335677 w 4519987"/>
              <a:gd name="connsiteY74" fmla="*/ 4238625 h 4496940"/>
              <a:gd name="connsiteX75" fmla="*/ 3288052 w 4519987"/>
              <a:gd name="connsiteY75" fmla="*/ 4248150 h 4496940"/>
              <a:gd name="connsiteX76" fmla="*/ 3240427 w 4519987"/>
              <a:gd name="connsiteY76" fmla="*/ 4267200 h 4496940"/>
              <a:gd name="connsiteX77" fmla="*/ 3068977 w 4519987"/>
              <a:gd name="connsiteY77" fmla="*/ 4286250 h 4496940"/>
              <a:gd name="connsiteX78" fmla="*/ 2935627 w 4519987"/>
              <a:gd name="connsiteY78" fmla="*/ 4333875 h 4496940"/>
              <a:gd name="connsiteX79" fmla="*/ 2811802 w 4519987"/>
              <a:gd name="connsiteY79" fmla="*/ 4371975 h 4496940"/>
              <a:gd name="connsiteX80" fmla="*/ 2745127 w 4519987"/>
              <a:gd name="connsiteY80" fmla="*/ 4410075 h 4496940"/>
              <a:gd name="connsiteX81" fmla="*/ 2697502 w 4519987"/>
              <a:gd name="connsiteY81" fmla="*/ 4429125 h 4496940"/>
              <a:gd name="connsiteX82" fmla="*/ 2640352 w 4519987"/>
              <a:gd name="connsiteY82" fmla="*/ 4457700 h 4496940"/>
              <a:gd name="connsiteX83" fmla="*/ 2583202 w 4519987"/>
              <a:gd name="connsiteY83" fmla="*/ 4467225 h 4496940"/>
              <a:gd name="connsiteX84" fmla="*/ 2545102 w 4519987"/>
              <a:gd name="connsiteY84" fmla="*/ 4486275 h 4496940"/>
              <a:gd name="connsiteX85" fmla="*/ 2306977 w 4519987"/>
              <a:gd name="connsiteY85" fmla="*/ 4476750 h 4496940"/>
              <a:gd name="connsiteX86" fmla="*/ 2202202 w 4519987"/>
              <a:gd name="connsiteY86" fmla="*/ 4457700 h 4496940"/>
              <a:gd name="connsiteX87" fmla="*/ 2126002 w 4519987"/>
              <a:gd name="connsiteY87" fmla="*/ 4429125 h 4496940"/>
              <a:gd name="connsiteX88" fmla="*/ 1935502 w 4519987"/>
              <a:gd name="connsiteY88" fmla="*/ 4400550 h 4496940"/>
              <a:gd name="connsiteX89" fmla="*/ 1821202 w 4519987"/>
              <a:gd name="connsiteY89" fmla="*/ 4371975 h 4496940"/>
              <a:gd name="connsiteX90" fmla="*/ 1754527 w 4519987"/>
              <a:gd name="connsiteY90" fmla="*/ 4352925 h 4496940"/>
              <a:gd name="connsiteX91" fmla="*/ 1687852 w 4519987"/>
              <a:gd name="connsiteY91" fmla="*/ 4343400 h 4496940"/>
              <a:gd name="connsiteX92" fmla="*/ 1573552 w 4519987"/>
              <a:gd name="connsiteY92" fmla="*/ 4305300 h 4496940"/>
              <a:gd name="connsiteX93" fmla="*/ 1402102 w 4519987"/>
              <a:gd name="connsiteY93" fmla="*/ 4276725 h 4496940"/>
              <a:gd name="connsiteX94" fmla="*/ 1287802 w 4519987"/>
              <a:gd name="connsiteY94" fmla="*/ 4229100 h 4496940"/>
              <a:gd name="connsiteX95" fmla="*/ 1221127 w 4519987"/>
              <a:gd name="connsiteY95" fmla="*/ 4200525 h 4496940"/>
              <a:gd name="connsiteX96" fmla="*/ 1144927 w 4519987"/>
              <a:gd name="connsiteY96" fmla="*/ 4171950 h 4496940"/>
              <a:gd name="connsiteX97" fmla="*/ 1087777 w 4519987"/>
              <a:gd name="connsiteY97" fmla="*/ 4143375 h 4496940"/>
              <a:gd name="connsiteX98" fmla="*/ 1030627 w 4519987"/>
              <a:gd name="connsiteY98" fmla="*/ 4124325 h 4496940"/>
              <a:gd name="connsiteX99" fmla="*/ 925852 w 4519987"/>
              <a:gd name="connsiteY99" fmla="*/ 4067175 h 4496940"/>
              <a:gd name="connsiteX100" fmla="*/ 830602 w 4519987"/>
              <a:gd name="connsiteY100" fmla="*/ 3981450 h 4496940"/>
              <a:gd name="connsiteX101" fmla="*/ 763927 w 4519987"/>
              <a:gd name="connsiteY101" fmla="*/ 3914775 h 4496940"/>
              <a:gd name="connsiteX102" fmla="*/ 725827 w 4519987"/>
              <a:gd name="connsiteY102" fmla="*/ 3876675 h 4496940"/>
              <a:gd name="connsiteX103" fmla="*/ 697252 w 4519987"/>
              <a:gd name="connsiteY103" fmla="*/ 3838575 h 4496940"/>
              <a:gd name="connsiteX104" fmla="*/ 640102 w 4519987"/>
              <a:gd name="connsiteY104" fmla="*/ 3781425 h 4496940"/>
              <a:gd name="connsiteX105" fmla="*/ 611527 w 4519987"/>
              <a:gd name="connsiteY105" fmla="*/ 3733800 h 4496940"/>
              <a:gd name="connsiteX106" fmla="*/ 554377 w 4519987"/>
              <a:gd name="connsiteY106" fmla="*/ 3657600 h 4496940"/>
              <a:gd name="connsiteX107" fmla="*/ 525802 w 4519987"/>
              <a:gd name="connsiteY107" fmla="*/ 3609975 h 4496940"/>
              <a:gd name="connsiteX108" fmla="*/ 497227 w 4519987"/>
              <a:gd name="connsiteY108" fmla="*/ 3552825 h 4496940"/>
              <a:gd name="connsiteX109" fmla="*/ 440077 w 4519987"/>
              <a:gd name="connsiteY109" fmla="*/ 3495675 h 4496940"/>
              <a:gd name="connsiteX110" fmla="*/ 411502 w 4519987"/>
              <a:gd name="connsiteY110" fmla="*/ 3448050 h 4496940"/>
              <a:gd name="connsiteX111" fmla="*/ 278152 w 4519987"/>
              <a:gd name="connsiteY111" fmla="*/ 3257550 h 4496940"/>
              <a:gd name="connsiteX112" fmla="*/ 249577 w 4519987"/>
              <a:gd name="connsiteY112" fmla="*/ 3200400 h 4496940"/>
              <a:gd name="connsiteX113" fmla="*/ 240052 w 4519987"/>
              <a:gd name="connsiteY113" fmla="*/ 3162300 h 4496940"/>
              <a:gd name="connsiteX114" fmla="*/ 221002 w 4519987"/>
              <a:gd name="connsiteY114" fmla="*/ 3105150 h 4496940"/>
              <a:gd name="connsiteX115" fmla="*/ 173377 w 4519987"/>
              <a:gd name="connsiteY115" fmla="*/ 3019425 h 4496940"/>
              <a:gd name="connsiteX116" fmla="*/ 144802 w 4519987"/>
              <a:gd name="connsiteY116" fmla="*/ 2924175 h 4496940"/>
              <a:gd name="connsiteX117" fmla="*/ 68602 w 4519987"/>
              <a:gd name="connsiteY117" fmla="*/ 2724150 h 4496940"/>
              <a:gd name="connsiteX118" fmla="*/ 49552 w 4519987"/>
              <a:gd name="connsiteY118" fmla="*/ 2638425 h 4496940"/>
              <a:gd name="connsiteX119" fmla="*/ 40027 w 4519987"/>
              <a:gd name="connsiteY119" fmla="*/ 2562225 h 4496940"/>
              <a:gd name="connsiteX120" fmla="*/ 30502 w 4519987"/>
              <a:gd name="connsiteY120" fmla="*/ 2514600 h 4496940"/>
              <a:gd name="connsiteX121" fmla="*/ 11452 w 4519987"/>
              <a:gd name="connsiteY121" fmla="*/ 2400300 h 4496940"/>
              <a:gd name="connsiteX122" fmla="*/ 20977 w 4519987"/>
              <a:gd name="connsiteY122" fmla="*/ 1905000 h 4496940"/>
              <a:gd name="connsiteX123" fmla="*/ 30502 w 4519987"/>
              <a:gd name="connsiteY123" fmla="*/ 1838325 h 4496940"/>
              <a:gd name="connsiteX124" fmla="*/ 49552 w 4519987"/>
              <a:gd name="connsiteY124" fmla="*/ 1781175 h 4496940"/>
              <a:gd name="connsiteX125" fmla="*/ 59077 w 4519987"/>
              <a:gd name="connsiteY125" fmla="*/ 1743075 h 4496940"/>
              <a:gd name="connsiteX126" fmla="*/ 78127 w 4519987"/>
              <a:gd name="connsiteY126" fmla="*/ 1685925 h 4496940"/>
              <a:gd name="connsiteX127" fmla="*/ 87652 w 4519987"/>
              <a:gd name="connsiteY127" fmla="*/ 1638300 h 4496940"/>
              <a:gd name="connsiteX128" fmla="*/ 106702 w 4519987"/>
              <a:gd name="connsiteY128" fmla="*/ 1590675 h 4496940"/>
              <a:gd name="connsiteX129" fmla="*/ 135277 w 4519987"/>
              <a:gd name="connsiteY129" fmla="*/ 1504950 h 4496940"/>
              <a:gd name="connsiteX130" fmla="*/ 154327 w 4519987"/>
              <a:gd name="connsiteY130" fmla="*/ 1419225 h 4496940"/>
              <a:gd name="connsiteX131" fmla="*/ 230527 w 4519987"/>
              <a:gd name="connsiteY131" fmla="*/ 1276350 h 4496940"/>
              <a:gd name="connsiteX132" fmla="*/ 240052 w 4519987"/>
              <a:gd name="connsiteY132" fmla="*/ 1247775 h 4496940"/>
              <a:gd name="connsiteX133" fmla="*/ 268627 w 4519987"/>
              <a:gd name="connsiteY133" fmla="*/ 1200150 h 4496940"/>
              <a:gd name="connsiteX134" fmla="*/ 287677 w 4519987"/>
              <a:gd name="connsiteY134" fmla="*/ 1152525 h 4496940"/>
              <a:gd name="connsiteX135" fmla="*/ 316252 w 4519987"/>
              <a:gd name="connsiteY135" fmla="*/ 1114425 h 4496940"/>
              <a:gd name="connsiteX136" fmla="*/ 363877 w 4519987"/>
              <a:gd name="connsiteY136" fmla="*/ 1038225 h 4496940"/>
              <a:gd name="connsiteX137" fmla="*/ 382927 w 4519987"/>
              <a:gd name="connsiteY137" fmla="*/ 1009650 h 4496940"/>
              <a:gd name="connsiteX138" fmla="*/ 440077 w 4519987"/>
              <a:gd name="connsiteY138" fmla="*/ 904875 h 4496940"/>
              <a:gd name="connsiteX139" fmla="*/ 478177 w 4519987"/>
              <a:gd name="connsiteY139" fmla="*/ 857250 h 4496940"/>
              <a:gd name="connsiteX140" fmla="*/ 497227 w 4519987"/>
              <a:gd name="connsiteY140" fmla="*/ 828675 h 4496940"/>
              <a:gd name="connsiteX141" fmla="*/ 535327 w 4519987"/>
              <a:gd name="connsiteY141" fmla="*/ 800100 h 4496940"/>
              <a:gd name="connsiteX142" fmla="*/ 602002 w 4519987"/>
              <a:gd name="connsiteY142" fmla="*/ 733425 h 4496940"/>
              <a:gd name="connsiteX143" fmla="*/ 668677 w 4519987"/>
              <a:gd name="connsiteY143" fmla="*/ 676275 h 4496940"/>
              <a:gd name="connsiteX144" fmla="*/ 697252 w 4519987"/>
              <a:gd name="connsiteY144" fmla="*/ 657225 h 4496940"/>
              <a:gd name="connsiteX145" fmla="*/ 840127 w 4519987"/>
              <a:gd name="connsiteY145" fmla="*/ 533400 h 4496940"/>
              <a:gd name="connsiteX146" fmla="*/ 887752 w 4519987"/>
              <a:gd name="connsiteY146" fmla="*/ 504825 h 4496940"/>
              <a:gd name="connsiteX147" fmla="*/ 1167152 w 4519987"/>
              <a:gd name="connsiteY147" fmla="*/ 311150 h 4496940"/>
              <a:gd name="connsiteX148" fmla="*/ 1268752 w 4519987"/>
              <a:gd name="connsiteY148" fmla="*/ 285750 h 4496940"/>
              <a:gd name="connsiteX149" fmla="*/ 1411627 w 4519987"/>
              <a:gd name="connsiteY149" fmla="*/ 190500 h 4496940"/>
              <a:gd name="connsiteX150" fmla="*/ 1449727 w 4519987"/>
              <a:gd name="connsiteY150" fmla="*/ 161925 h 4496940"/>
              <a:gd name="connsiteX151" fmla="*/ 1525927 w 4519987"/>
              <a:gd name="connsiteY151" fmla="*/ 152400 h 4496940"/>
              <a:gd name="connsiteX152" fmla="*/ 1583077 w 4519987"/>
              <a:gd name="connsiteY152" fmla="*/ 142875 h 4496940"/>
              <a:gd name="connsiteX153" fmla="*/ 1716427 w 4519987"/>
              <a:gd name="connsiteY153" fmla="*/ 123825 h 4496940"/>
              <a:gd name="connsiteX154" fmla="*/ 1811677 w 4519987"/>
              <a:gd name="connsiteY154" fmla="*/ 114300 h 4496940"/>
              <a:gd name="connsiteX155" fmla="*/ 1859302 w 4519987"/>
              <a:gd name="connsiteY155" fmla="*/ 104775 h 4496940"/>
              <a:gd name="connsiteX156" fmla="*/ 1916452 w 4519987"/>
              <a:gd name="connsiteY156" fmla="*/ 95250 h 4496940"/>
              <a:gd name="connsiteX157" fmla="*/ 2030752 w 4519987"/>
              <a:gd name="connsiteY157" fmla="*/ 66675 h 4496940"/>
              <a:gd name="connsiteX158" fmla="*/ 2097427 w 4519987"/>
              <a:gd name="connsiteY158" fmla="*/ 47625 h 4496940"/>
              <a:gd name="connsiteX159" fmla="*/ 2164102 w 4519987"/>
              <a:gd name="connsiteY159" fmla="*/ 38100 h 4496940"/>
              <a:gd name="connsiteX160" fmla="*/ 2392702 w 4519987"/>
              <a:gd name="connsiteY16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278652 w 4519987"/>
              <a:gd name="connsiteY49" fmla="*/ 3248025 h 4496940"/>
              <a:gd name="connsiteX50" fmla="*/ 4259602 w 4519987"/>
              <a:gd name="connsiteY50" fmla="*/ 3276600 h 4496940"/>
              <a:gd name="connsiteX51" fmla="*/ 4221502 w 4519987"/>
              <a:gd name="connsiteY51" fmla="*/ 3333750 h 4496940"/>
              <a:gd name="connsiteX52" fmla="*/ 4211977 w 4519987"/>
              <a:gd name="connsiteY52" fmla="*/ 3362325 h 4496940"/>
              <a:gd name="connsiteX53" fmla="*/ 4183402 w 4519987"/>
              <a:gd name="connsiteY53" fmla="*/ 3400425 h 4496940"/>
              <a:gd name="connsiteX54" fmla="*/ 4164352 w 4519987"/>
              <a:gd name="connsiteY54" fmla="*/ 3429000 h 4496940"/>
              <a:gd name="connsiteX55" fmla="*/ 4088152 w 4519987"/>
              <a:gd name="connsiteY55" fmla="*/ 3495675 h 4496940"/>
              <a:gd name="connsiteX56" fmla="*/ 4059577 w 4519987"/>
              <a:gd name="connsiteY56" fmla="*/ 3533775 h 4496940"/>
              <a:gd name="connsiteX57" fmla="*/ 4002427 w 4519987"/>
              <a:gd name="connsiteY57" fmla="*/ 3600450 h 4496940"/>
              <a:gd name="connsiteX58" fmla="*/ 3983377 w 4519987"/>
              <a:gd name="connsiteY58" fmla="*/ 3629025 h 4496940"/>
              <a:gd name="connsiteX59" fmla="*/ 3954802 w 4519987"/>
              <a:gd name="connsiteY59" fmla="*/ 3648075 h 4496940"/>
              <a:gd name="connsiteX60" fmla="*/ 3907177 w 4519987"/>
              <a:gd name="connsiteY60" fmla="*/ 3686175 h 4496940"/>
              <a:gd name="connsiteX61" fmla="*/ 3869077 w 4519987"/>
              <a:gd name="connsiteY61" fmla="*/ 3724275 h 4496940"/>
              <a:gd name="connsiteX62" fmla="*/ 3792877 w 4519987"/>
              <a:gd name="connsiteY62" fmla="*/ 3781425 h 4496940"/>
              <a:gd name="connsiteX63" fmla="*/ 3783352 w 4519987"/>
              <a:gd name="connsiteY63" fmla="*/ 3810000 h 4496940"/>
              <a:gd name="connsiteX64" fmla="*/ 3745252 w 4519987"/>
              <a:gd name="connsiteY64" fmla="*/ 3819525 h 4496940"/>
              <a:gd name="connsiteX65" fmla="*/ 3678577 w 4519987"/>
              <a:gd name="connsiteY65" fmla="*/ 3848100 h 4496940"/>
              <a:gd name="connsiteX66" fmla="*/ 3659527 w 4519987"/>
              <a:gd name="connsiteY66" fmla="*/ 3971925 h 4496940"/>
              <a:gd name="connsiteX67" fmla="*/ 3630952 w 4519987"/>
              <a:gd name="connsiteY67" fmla="*/ 4010025 h 4496940"/>
              <a:gd name="connsiteX68" fmla="*/ 3621427 w 4519987"/>
              <a:gd name="connsiteY68" fmla="*/ 4038600 h 4496940"/>
              <a:gd name="connsiteX69" fmla="*/ 3554752 w 4519987"/>
              <a:gd name="connsiteY69" fmla="*/ 4095750 h 4496940"/>
              <a:gd name="connsiteX70" fmla="*/ 3516652 w 4519987"/>
              <a:gd name="connsiteY70" fmla="*/ 4114800 h 4496940"/>
              <a:gd name="connsiteX71" fmla="*/ 3497602 w 4519987"/>
              <a:gd name="connsiteY71" fmla="*/ 4143375 h 4496940"/>
              <a:gd name="connsiteX72" fmla="*/ 3383302 w 4519987"/>
              <a:gd name="connsiteY72" fmla="*/ 4210050 h 4496940"/>
              <a:gd name="connsiteX73" fmla="*/ 3335677 w 4519987"/>
              <a:gd name="connsiteY73" fmla="*/ 4238625 h 4496940"/>
              <a:gd name="connsiteX74" fmla="*/ 3288052 w 4519987"/>
              <a:gd name="connsiteY74" fmla="*/ 4248150 h 4496940"/>
              <a:gd name="connsiteX75" fmla="*/ 3240427 w 4519987"/>
              <a:gd name="connsiteY75" fmla="*/ 4267200 h 4496940"/>
              <a:gd name="connsiteX76" fmla="*/ 3068977 w 4519987"/>
              <a:gd name="connsiteY76" fmla="*/ 4286250 h 4496940"/>
              <a:gd name="connsiteX77" fmla="*/ 2935627 w 4519987"/>
              <a:gd name="connsiteY77" fmla="*/ 4333875 h 4496940"/>
              <a:gd name="connsiteX78" fmla="*/ 2811802 w 4519987"/>
              <a:gd name="connsiteY78" fmla="*/ 4371975 h 4496940"/>
              <a:gd name="connsiteX79" fmla="*/ 2745127 w 4519987"/>
              <a:gd name="connsiteY79" fmla="*/ 4410075 h 4496940"/>
              <a:gd name="connsiteX80" fmla="*/ 2697502 w 4519987"/>
              <a:gd name="connsiteY80" fmla="*/ 4429125 h 4496940"/>
              <a:gd name="connsiteX81" fmla="*/ 2640352 w 4519987"/>
              <a:gd name="connsiteY81" fmla="*/ 4457700 h 4496940"/>
              <a:gd name="connsiteX82" fmla="*/ 2583202 w 4519987"/>
              <a:gd name="connsiteY82" fmla="*/ 4467225 h 4496940"/>
              <a:gd name="connsiteX83" fmla="*/ 2545102 w 4519987"/>
              <a:gd name="connsiteY83" fmla="*/ 4486275 h 4496940"/>
              <a:gd name="connsiteX84" fmla="*/ 2306977 w 4519987"/>
              <a:gd name="connsiteY84" fmla="*/ 4476750 h 4496940"/>
              <a:gd name="connsiteX85" fmla="*/ 2202202 w 4519987"/>
              <a:gd name="connsiteY85" fmla="*/ 4457700 h 4496940"/>
              <a:gd name="connsiteX86" fmla="*/ 2126002 w 4519987"/>
              <a:gd name="connsiteY86" fmla="*/ 4429125 h 4496940"/>
              <a:gd name="connsiteX87" fmla="*/ 1935502 w 4519987"/>
              <a:gd name="connsiteY87" fmla="*/ 4400550 h 4496940"/>
              <a:gd name="connsiteX88" fmla="*/ 1821202 w 4519987"/>
              <a:gd name="connsiteY88" fmla="*/ 4371975 h 4496940"/>
              <a:gd name="connsiteX89" fmla="*/ 1754527 w 4519987"/>
              <a:gd name="connsiteY89" fmla="*/ 4352925 h 4496940"/>
              <a:gd name="connsiteX90" fmla="*/ 1687852 w 4519987"/>
              <a:gd name="connsiteY90" fmla="*/ 4343400 h 4496940"/>
              <a:gd name="connsiteX91" fmla="*/ 1573552 w 4519987"/>
              <a:gd name="connsiteY91" fmla="*/ 4305300 h 4496940"/>
              <a:gd name="connsiteX92" fmla="*/ 1402102 w 4519987"/>
              <a:gd name="connsiteY92" fmla="*/ 4276725 h 4496940"/>
              <a:gd name="connsiteX93" fmla="*/ 1287802 w 4519987"/>
              <a:gd name="connsiteY93" fmla="*/ 4229100 h 4496940"/>
              <a:gd name="connsiteX94" fmla="*/ 1221127 w 4519987"/>
              <a:gd name="connsiteY94" fmla="*/ 4200525 h 4496940"/>
              <a:gd name="connsiteX95" fmla="*/ 1144927 w 4519987"/>
              <a:gd name="connsiteY95" fmla="*/ 4171950 h 4496940"/>
              <a:gd name="connsiteX96" fmla="*/ 1087777 w 4519987"/>
              <a:gd name="connsiteY96" fmla="*/ 4143375 h 4496940"/>
              <a:gd name="connsiteX97" fmla="*/ 1030627 w 4519987"/>
              <a:gd name="connsiteY97" fmla="*/ 4124325 h 4496940"/>
              <a:gd name="connsiteX98" fmla="*/ 925852 w 4519987"/>
              <a:gd name="connsiteY98" fmla="*/ 4067175 h 4496940"/>
              <a:gd name="connsiteX99" fmla="*/ 830602 w 4519987"/>
              <a:gd name="connsiteY99" fmla="*/ 3981450 h 4496940"/>
              <a:gd name="connsiteX100" fmla="*/ 763927 w 4519987"/>
              <a:gd name="connsiteY100" fmla="*/ 3914775 h 4496940"/>
              <a:gd name="connsiteX101" fmla="*/ 725827 w 4519987"/>
              <a:gd name="connsiteY101" fmla="*/ 3876675 h 4496940"/>
              <a:gd name="connsiteX102" fmla="*/ 697252 w 4519987"/>
              <a:gd name="connsiteY102" fmla="*/ 3838575 h 4496940"/>
              <a:gd name="connsiteX103" fmla="*/ 640102 w 4519987"/>
              <a:gd name="connsiteY103" fmla="*/ 3781425 h 4496940"/>
              <a:gd name="connsiteX104" fmla="*/ 611527 w 4519987"/>
              <a:gd name="connsiteY104" fmla="*/ 3733800 h 4496940"/>
              <a:gd name="connsiteX105" fmla="*/ 554377 w 4519987"/>
              <a:gd name="connsiteY105" fmla="*/ 3657600 h 4496940"/>
              <a:gd name="connsiteX106" fmla="*/ 525802 w 4519987"/>
              <a:gd name="connsiteY106" fmla="*/ 3609975 h 4496940"/>
              <a:gd name="connsiteX107" fmla="*/ 497227 w 4519987"/>
              <a:gd name="connsiteY107" fmla="*/ 3552825 h 4496940"/>
              <a:gd name="connsiteX108" fmla="*/ 440077 w 4519987"/>
              <a:gd name="connsiteY108" fmla="*/ 3495675 h 4496940"/>
              <a:gd name="connsiteX109" fmla="*/ 411502 w 4519987"/>
              <a:gd name="connsiteY109" fmla="*/ 3448050 h 4496940"/>
              <a:gd name="connsiteX110" fmla="*/ 278152 w 4519987"/>
              <a:gd name="connsiteY110" fmla="*/ 3257550 h 4496940"/>
              <a:gd name="connsiteX111" fmla="*/ 249577 w 4519987"/>
              <a:gd name="connsiteY111" fmla="*/ 3200400 h 4496940"/>
              <a:gd name="connsiteX112" fmla="*/ 240052 w 4519987"/>
              <a:gd name="connsiteY112" fmla="*/ 3162300 h 4496940"/>
              <a:gd name="connsiteX113" fmla="*/ 221002 w 4519987"/>
              <a:gd name="connsiteY113" fmla="*/ 3105150 h 4496940"/>
              <a:gd name="connsiteX114" fmla="*/ 173377 w 4519987"/>
              <a:gd name="connsiteY114" fmla="*/ 3019425 h 4496940"/>
              <a:gd name="connsiteX115" fmla="*/ 144802 w 4519987"/>
              <a:gd name="connsiteY115" fmla="*/ 2924175 h 4496940"/>
              <a:gd name="connsiteX116" fmla="*/ 68602 w 4519987"/>
              <a:gd name="connsiteY116" fmla="*/ 2724150 h 4496940"/>
              <a:gd name="connsiteX117" fmla="*/ 49552 w 4519987"/>
              <a:gd name="connsiteY117" fmla="*/ 2638425 h 4496940"/>
              <a:gd name="connsiteX118" fmla="*/ 40027 w 4519987"/>
              <a:gd name="connsiteY118" fmla="*/ 2562225 h 4496940"/>
              <a:gd name="connsiteX119" fmla="*/ 30502 w 4519987"/>
              <a:gd name="connsiteY119" fmla="*/ 2514600 h 4496940"/>
              <a:gd name="connsiteX120" fmla="*/ 11452 w 4519987"/>
              <a:gd name="connsiteY120" fmla="*/ 2400300 h 4496940"/>
              <a:gd name="connsiteX121" fmla="*/ 20977 w 4519987"/>
              <a:gd name="connsiteY121" fmla="*/ 1905000 h 4496940"/>
              <a:gd name="connsiteX122" fmla="*/ 30502 w 4519987"/>
              <a:gd name="connsiteY122" fmla="*/ 1838325 h 4496940"/>
              <a:gd name="connsiteX123" fmla="*/ 49552 w 4519987"/>
              <a:gd name="connsiteY123" fmla="*/ 1781175 h 4496940"/>
              <a:gd name="connsiteX124" fmla="*/ 59077 w 4519987"/>
              <a:gd name="connsiteY124" fmla="*/ 1743075 h 4496940"/>
              <a:gd name="connsiteX125" fmla="*/ 78127 w 4519987"/>
              <a:gd name="connsiteY125" fmla="*/ 1685925 h 4496940"/>
              <a:gd name="connsiteX126" fmla="*/ 87652 w 4519987"/>
              <a:gd name="connsiteY126" fmla="*/ 1638300 h 4496940"/>
              <a:gd name="connsiteX127" fmla="*/ 106702 w 4519987"/>
              <a:gd name="connsiteY127" fmla="*/ 1590675 h 4496940"/>
              <a:gd name="connsiteX128" fmla="*/ 135277 w 4519987"/>
              <a:gd name="connsiteY128" fmla="*/ 1504950 h 4496940"/>
              <a:gd name="connsiteX129" fmla="*/ 154327 w 4519987"/>
              <a:gd name="connsiteY129" fmla="*/ 1419225 h 4496940"/>
              <a:gd name="connsiteX130" fmla="*/ 230527 w 4519987"/>
              <a:gd name="connsiteY130" fmla="*/ 1276350 h 4496940"/>
              <a:gd name="connsiteX131" fmla="*/ 240052 w 4519987"/>
              <a:gd name="connsiteY131" fmla="*/ 1247775 h 4496940"/>
              <a:gd name="connsiteX132" fmla="*/ 268627 w 4519987"/>
              <a:gd name="connsiteY132" fmla="*/ 1200150 h 4496940"/>
              <a:gd name="connsiteX133" fmla="*/ 287677 w 4519987"/>
              <a:gd name="connsiteY133" fmla="*/ 1152525 h 4496940"/>
              <a:gd name="connsiteX134" fmla="*/ 316252 w 4519987"/>
              <a:gd name="connsiteY134" fmla="*/ 1114425 h 4496940"/>
              <a:gd name="connsiteX135" fmla="*/ 363877 w 4519987"/>
              <a:gd name="connsiteY135" fmla="*/ 1038225 h 4496940"/>
              <a:gd name="connsiteX136" fmla="*/ 382927 w 4519987"/>
              <a:gd name="connsiteY136" fmla="*/ 1009650 h 4496940"/>
              <a:gd name="connsiteX137" fmla="*/ 440077 w 4519987"/>
              <a:gd name="connsiteY137" fmla="*/ 904875 h 4496940"/>
              <a:gd name="connsiteX138" fmla="*/ 478177 w 4519987"/>
              <a:gd name="connsiteY138" fmla="*/ 857250 h 4496940"/>
              <a:gd name="connsiteX139" fmla="*/ 497227 w 4519987"/>
              <a:gd name="connsiteY139" fmla="*/ 828675 h 4496940"/>
              <a:gd name="connsiteX140" fmla="*/ 535327 w 4519987"/>
              <a:gd name="connsiteY140" fmla="*/ 800100 h 4496940"/>
              <a:gd name="connsiteX141" fmla="*/ 602002 w 4519987"/>
              <a:gd name="connsiteY141" fmla="*/ 733425 h 4496940"/>
              <a:gd name="connsiteX142" fmla="*/ 668677 w 4519987"/>
              <a:gd name="connsiteY142" fmla="*/ 676275 h 4496940"/>
              <a:gd name="connsiteX143" fmla="*/ 697252 w 4519987"/>
              <a:gd name="connsiteY143" fmla="*/ 657225 h 4496940"/>
              <a:gd name="connsiteX144" fmla="*/ 840127 w 4519987"/>
              <a:gd name="connsiteY144" fmla="*/ 533400 h 4496940"/>
              <a:gd name="connsiteX145" fmla="*/ 887752 w 4519987"/>
              <a:gd name="connsiteY145" fmla="*/ 504825 h 4496940"/>
              <a:gd name="connsiteX146" fmla="*/ 1167152 w 4519987"/>
              <a:gd name="connsiteY146" fmla="*/ 311150 h 4496940"/>
              <a:gd name="connsiteX147" fmla="*/ 1268752 w 4519987"/>
              <a:gd name="connsiteY147" fmla="*/ 285750 h 4496940"/>
              <a:gd name="connsiteX148" fmla="*/ 1411627 w 4519987"/>
              <a:gd name="connsiteY148" fmla="*/ 190500 h 4496940"/>
              <a:gd name="connsiteX149" fmla="*/ 1449727 w 4519987"/>
              <a:gd name="connsiteY149" fmla="*/ 161925 h 4496940"/>
              <a:gd name="connsiteX150" fmla="*/ 1525927 w 4519987"/>
              <a:gd name="connsiteY150" fmla="*/ 152400 h 4496940"/>
              <a:gd name="connsiteX151" fmla="*/ 1583077 w 4519987"/>
              <a:gd name="connsiteY151" fmla="*/ 142875 h 4496940"/>
              <a:gd name="connsiteX152" fmla="*/ 1716427 w 4519987"/>
              <a:gd name="connsiteY152" fmla="*/ 123825 h 4496940"/>
              <a:gd name="connsiteX153" fmla="*/ 1811677 w 4519987"/>
              <a:gd name="connsiteY153" fmla="*/ 114300 h 4496940"/>
              <a:gd name="connsiteX154" fmla="*/ 1859302 w 4519987"/>
              <a:gd name="connsiteY154" fmla="*/ 104775 h 4496940"/>
              <a:gd name="connsiteX155" fmla="*/ 1916452 w 4519987"/>
              <a:gd name="connsiteY155" fmla="*/ 95250 h 4496940"/>
              <a:gd name="connsiteX156" fmla="*/ 2030752 w 4519987"/>
              <a:gd name="connsiteY156" fmla="*/ 66675 h 4496940"/>
              <a:gd name="connsiteX157" fmla="*/ 2097427 w 4519987"/>
              <a:gd name="connsiteY157" fmla="*/ 47625 h 4496940"/>
              <a:gd name="connsiteX158" fmla="*/ 2164102 w 4519987"/>
              <a:gd name="connsiteY158" fmla="*/ 38100 h 4496940"/>
              <a:gd name="connsiteX159" fmla="*/ 2392702 w 4519987"/>
              <a:gd name="connsiteY15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50052 w 4519987"/>
              <a:gd name="connsiteY28" fmla="*/ 790575 h 4496940"/>
              <a:gd name="connsiteX29" fmla="*/ 4078627 w 4519987"/>
              <a:gd name="connsiteY29" fmla="*/ 838200 h 4496940"/>
              <a:gd name="connsiteX30" fmla="*/ 4107202 w 4519987"/>
              <a:gd name="connsiteY30" fmla="*/ 876300 h 4496940"/>
              <a:gd name="connsiteX31" fmla="*/ 4116727 w 4519987"/>
              <a:gd name="connsiteY31" fmla="*/ 904875 h 4496940"/>
              <a:gd name="connsiteX32" fmla="*/ 4135777 w 4519987"/>
              <a:gd name="connsiteY32" fmla="*/ 933450 h 4496940"/>
              <a:gd name="connsiteX33" fmla="*/ 4164352 w 4519987"/>
              <a:gd name="connsiteY33" fmla="*/ 990600 h 4496940"/>
              <a:gd name="connsiteX34" fmla="*/ 4173877 w 4519987"/>
              <a:gd name="connsiteY34" fmla="*/ 1019175 h 4496940"/>
              <a:gd name="connsiteX35" fmla="*/ 4192927 w 4519987"/>
              <a:gd name="connsiteY35" fmla="*/ 1057275 h 4496940"/>
              <a:gd name="connsiteX36" fmla="*/ 4202452 w 4519987"/>
              <a:gd name="connsiteY36" fmla="*/ 1085850 h 4496940"/>
              <a:gd name="connsiteX37" fmla="*/ 4250077 w 4519987"/>
              <a:gd name="connsiteY37" fmla="*/ 1143000 h 4496940"/>
              <a:gd name="connsiteX38" fmla="*/ 4259602 w 4519987"/>
              <a:gd name="connsiteY38" fmla="*/ 1190625 h 4496940"/>
              <a:gd name="connsiteX39" fmla="*/ 4307227 w 4519987"/>
              <a:gd name="connsiteY39" fmla="*/ 1266825 h 4496940"/>
              <a:gd name="connsiteX40" fmla="*/ 4345327 w 4519987"/>
              <a:gd name="connsiteY40" fmla="*/ 1362075 h 4496940"/>
              <a:gd name="connsiteX41" fmla="*/ 4373902 w 4519987"/>
              <a:gd name="connsiteY41" fmla="*/ 1428750 h 4496940"/>
              <a:gd name="connsiteX42" fmla="*/ 4392952 w 4519987"/>
              <a:gd name="connsiteY42" fmla="*/ 1552575 h 4496940"/>
              <a:gd name="connsiteX43" fmla="*/ 4402477 w 4519987"/>
              <a:gd name="connsiteY43" fmla="*/ 1590675 h 4496940"/>
              <a:gd name="connsiteX44" fmla="*/ 4431052 w 4519987"/>
              <a:gd name="connsiteY44" fmla="*/ 1685925 h 4496940"/>
              <a:gd name="connsiteX45" fmla="*/ 4519952 w 4519987"/>
              <a:gd name="connsiteY45" fmla="*/ 2181225 h 4496940"/>
              <a:gd name="connsiteX46" fmla="*/ 4446927 w 4519987"/>
              <a:gd name="connsiteY46" fmla="*/ 2768600 h 4496940"/>
              <a:gd name="connsiteX47" fmla="*/ 4383427 w 4519987"/>
              <a:gd name="connsiteY47" fmla="*/ 2990850 h 4496940"/>
              <a:gd name="connsiteX48" fmla="*/ 4278652 w 4519987"/>
              <a:gd name="connsiteY48" fmla="*/ 3248025 h 4496940"/>
              <a:gd name="connsiteX49" fmla="*/ 4259602 w 4519987"/>
              <a:gd name="connsiteY49" fmla="*/ 3276600 h 4496940"/>
              <a:gd name="connsiteX50" fmla="*/ 4221502 w 4519987"/>
              <a:gd name="connsiteY50" fmla="*/ 3333750 h 4496940"/>
              <a:gd name="connsiteX51" fmla="*/ 4211977 w 4519987"/>
              <a:gd name="connsiteY51" fmla="*/ 3362325 h 4496940"/>
              <a:gd name="connsiteX52" fmla="*/ 4183402 w 4519987"/>
              <a:gd name="connsiteY52" fmla="*/ 3400425 h 4496940"/>
              <a:gd name="connsiteX53" fmla="*/ 4164352 w 4519987"/>
              <a:gd name="connsiteY53" fmla="*/ 3429000 h 4496940"/>
              <a:gd name="connsiteX54" fmla="*/ 4088152 w 4519987"/>
              <a:gd name="connsiteY54" fmla="*/ 3495675 h 4496940"/>
              <a:gd name="connsiteX55" fmla="*/ 4059577 w 4519987"/>
              <a:gd name="connsiteY55" fmla="*/ 3533775 h 4496940"/>
              <a:gd name="connsiteX56" fmla="*/ 4002427 w 4519987"/>
              <a:gd name="connsiteY56" fmla="*/ 3600450 h 4496940"/>
              <a:gd name="connsiteX57" fmla="*/ 3983377 w 4519987"/>
              <a:gd name="connsiteY57" fmla="*/ 3629025 h 4496940"/>
              <a:gd name="connsiteX58" fmla="*/ 3954802 w 4519987"/>
              <a:gd name="connsiteY58" fmla="*/ 3648075 h 4496940"/>
              <a:gd name="connsiteX59" fmla="*/ 3907177 w 4519987"/>
              <a:gd name="connsiteY59" fmla="*/ 3686175 h 4496940"/>
              <a:gd name="connsiteX60" fmla="*/ 3869077 w 4519987"/>
              <a:gd name="connsiteY60" fmla="*/ 3724275 h 4496940"/>
              <a:gd name="connsiteX61" fmla="*/ 3792877 w 4519987"/>
              <a:gd name="connsiteY61" fmla="*/ 3781425 h 4496940"/>
              <a:gd name="connsiteX62" fmla="*/ 3783352 w 4519987"/>
              <a:gd name="connsiteY62" fmla="*/ 3810000 h 4496940"/>
              <a:gd name="connsiteX63" fmla="*/ 3745252 w 4519987"/>
              <a:gd name="connsiteY63" fmla="*/ 3819525 h 4496940"/>
              <a:gd name="connsiteX64" fmla="*/ 3678577 w 4519987"/>
              <a:gd name="connsiteY64" fmla="*/ 3848100 h 4496940"/>
              <a:gd name="connsiteX65" fmla="*/ 3659527 w 4519987"/>
              <a:gd name="connsiteY65" fmla="*/ 3971925 h 4496940"/>
              <a:gd name="connsiteX66" fmla="*/ 3630952 w 4519987"/>
              <a:gd name="connsiteY66" fmla="*/ 4010025 h 4496940"/>
              <a:gd name="connsiteX67" fmla="*/ 3621427 w 4519987"/>
              <a:gd name="connsiteY67" fmla="*/ 4038600 h 4496940"/>
              <a:gd name="connsiteX68" fmla="*/ 3554752 w 4519987"/>
              <a:gd name="connsiteY68" fmla="*/ 4095750 h 4496940"/>
              <a:gd name="connsiteX69" fmla="*/ 3516652 w 4519987"/>
              <a:gd name="connsiteY69" fmla="*/ 4114800 h 4496940"/>
              <a:gd name="connsiteX70" fmla="*/ 3497602 w 4519987"/>
              <a:gd name="connsiteY70" fmla="*/ 4143375 h 4496940"/>
              <a:gd name="connsiteX71" fmla="*/ 3383302 w 4519987"/>
              <a:gd name="connsiteY71" fmla="*/ 4210050 h 4496940"/>
              <a:gd name="connsiteX72" fmla="*/ 3335677 w 4519987"/>
              <a:gd name="connsiteY72" fmla="*/ 4238625 h 4496940"/>
              <a:gd name="connsiteX73" fmla="*/ 3288052 w 4519987"/>
              <a:gd name="connsiteY73" fmla="*/ 4248150 h 4496940"/>
              <a:gd name="connsiteX74" fmla="*/ 3240427 w 4519987"/>
              <a:gd name="connsiteY74" fmla="*/ 4267200 h 4496940"/>
              <a:gd name="connsiteX75" fmla="*/ 3068977 w 4519987"/>
              <a:gd name="connsiteY75" fmla="*/ 4286250 h 4496940"/>
              <a:gd name="connsiteX76" fmla="*/ 2935627 w 4519987"/>
              <a:gd name="connsiteY76" fmla="*/ 4333875 h 4496940"/>
              <a:gd name="connsiteX77" fmla="*/ 2811802 w 4519987"/>
              <a:gd name="connsiteY77" fmla="*/ 4371975 h 4496940"/>
              <a:gd name="connsiteX78" fmla="*/ 2745127 w 4519987"/>
              <a:gd name="connsiteY78" fmla="*/ 4410075 h 4496940"/>
              <a:gd name="connsiteX79" fmla="*/ 2697502 w 4519987"/>
              <a:gd name="connsiteY79" fmla="*/ 4429125 h 4496940"/>
              <a:gd name="connsiteX80" fmla="*/ 2640352 w 4519987"/>
              <a:gd name="connsiteY80" fmla="*/ 4457700 h 4496940"/>
              <a:gd name="connsiteX81" fmla="*/ 2583202 w 4519987"/>
              <a:gd name="connsiteY81" fmla="*/ 4467225 h 4496940"/>
              <a:gd name="connsiteX82" fmla="*/ 2545102 w 4519987"/>
              <a:gd name="connsiteY82" fmla="*/ 4486275 h 4496940"/>
              <a:gd name="connsiteX83" fmla="*/ 2306977 w 4519987"/>
              <a:gd name="connsiteY83" fmla="*/ 4476750 h 4496940"/>
              <a:gd name="connsiteX84" fmla="*/ 2202202 w 4519987"/>
              <a:gd name="connsiteY84" fmla="*/ 4457700 h 4496940"/>
              <a:gd name="connsiteX85" fmla="*/ 2126002 w 4519987"/>
              <a:gd name="connsiteY85" fmla="*/ 4429125 h 4496940"/>
              <a:gd name="connsiteX86" fmla="*/ 1935502 w 4519987"/>
              <a:gd name="connsiteY86" fmla="*/ 4400550 h 4496940"/>
              <a:gd name="connsiteX87" fmla="*/ 1821202 w 4519987"/>
              <a:gd name="connsiteY87" fmla="*/ 4371975 h 4496940"/>
              <a:gd name="connsiteX88" fmla="*/ 1754527 w 4519987"/>
              <a:gd name="connsiteY88" fmla="*/ 4352925 h 4496940"/>
              <a:gd name="connsiteX89" fmla="*/ 1687852 w 4519987"/>
              <a:gd name="connsiteY89" fmla="*/ 4343400 h 4496940"/>
              <a:gd name="connsiteX90" fmla="*/ 1573552 w 4519987"/>
              <a:gd name="connsiteY90" fmla="*/ 4305300 h 4496940"/>
              <a:gd name="connsiteX91" fmla="*/ 1402102 w 4519987"/>
              <a:gd name="connsiteY91" fmla="*/ 4276725 h 4496940"/>
              <a:gd name="connsiteX92" fmla="*/ 1287802 w 4519987"/>
              <a:gd name="connsiteY92" fmla="*/ 4229100 h 4496940"/>
              <a:gd name="connsiteX93" fmla="*/ 1221127 w 4519987"/>
              <a:gd name="connsiteY93" fmla="*/ 4200525 h 4496940"/>
              <a:gd name="connsiteX94" fmla="*/ 1144927 w 4519987"/>
              <a:gd name="connsiteY94" fmla="*/ 4171950 h 4496940"/>
              <a:gd name="connsiteX95" fmla="*/ 1087777 w 4519987"/>
              <a:gd name="connsiteY95" fmla="*/ 4143375 h 4496940"/>
              <a:gd name="connsiteX96" fmla="*/ 1030627 w 4519987"/>
              <a:gd name="connsiteY96" fmla="*/ 4124325 h 4496940"/>
              <a:gd name="connsiteX97" fmla="*/ 925852 w 4519987"/>
              <a:gd name="connsiteY97" fmla="*/ 4067175 h 4496940"/>
              <a:gd name="connsiteX98" fmla="*/ 830602 w 4519987"/>
              <a:gd name="connsiteY98" fmla="*/ 3981450 h 4496940"/>
              <a:gd name="connsiteX99" fmla="*/ 763927 w 4519987"/>
              <a:gd name="connsiteY99" fmla="*/ 3914775 h 4496940"/>
              <a:gd name="connsiteX100" fmla="*/ 725827 w 4519987"/>
              <a:gd name="connsiteY100" fmla="*/ 3876675 h 4496940"/>
              <a:gd name="connsiteX101" fmla="*/ 697252 w 4519987"/>
              <a:gd name="connsiteY101" fmla="*/ 3838575 h 4496940"/>
              <a:gd name="connsiteX102" fmla="*/ 640102 w 4519987"/>
              <a:gd name="connsiteY102" fmla="*/ 3781425 h 4496940"/>
              <a:gd name="connsiteX103" fmla="*/ 611527 w 4519987"/>
              <a:gd name="connsiteY103" fmla="*/ 3733800 h 4496940"/>
              <a:gd name="connsiteX104" fmla="*/ 554377 w 4519987"/>
              <a:gd name="connsiteY104" fmla="*/ 3657600 h 4496940"/>
              <a:gd name="connsiteX105" fmla="*/ 525802 w 4519987"/>
              <a:gd name="connsiteY105" fmla="*/ 3609975 h 4496940"/>
              <a:gd name="connsiteX106" fmla="*/ 497227 w 4519987"/>
              <a:gd name="connsiteY106" fmla="*/ 3552825 h 4496940"/>
              <a:gd name="connsiteX107" fmla="*/ 440077 w 4519987"/>
              <a:gd name="connsiteY107" fmla="*/ 3495675 h 4496940"/>
              <a:gd name="connsiteX108" fmla="*/ 411502 w 4519987"/>
              <a:gd name="connsiteY108" fmla="*/ 3448050 h 4496940"/>
              <a:gd name="connsiteX109" fmla="*/ 278152 w 4519987"/>
              <a:gd name="connsiteY109" fmla="*/ 3257550 h 4496940"/>
              <a:gd name="connsiteX110" fmla="*/ 249577 w 4519987"/>
              <a:gd name="connsiteY110" fmla="*/ 3200400 h 4496940"/>
              <a:gd name="connsiteX111" fmla="*/ 240052 w 4519987"/>
              <a:gd name="connsiteY111" fmla="*/ 3162300 h 4496940"/>
              <a:gd name="connsiteX112" fmla="*/ 221002 w 4519987"/>
              <a:gd name="connsiteY112" fmla="*/ 3105150 h 4496940"/>
              <a:gd name="connsiteX113" fmla="*/ 173377 w 4519987"/>
              <a:gd name="connsiteY113" fmla="*/ 3019425 h 4496940"/>
              <a:gd name="connsiteX114" fmla="*/ 144802 w 4519987"/>
              <a:gd name="connsiteY114" fmla="*/ 2924175 h 4496940"/>
              <a:gd name="connsiteX115" fmla="*/ 68602 w 4519987"/>
              <a:gd name="connsiteY115" fmla="*/ 2724150 h 4496940"/>
              <a:gd name="connsiteX116" fmla="*/ 49552 w 4519987"/>
              <a:gd name="connsiteY116" fmla="*/ 2638425 h 4496940"/>
              <a:gd name="connsiteX117" fmla="*/ 40027 w 4519987"/>
              <a:gd name="connsiteY117" fmla="*/ 2562225 h 4496940"/>
              <a:gd name="connsiteX118" fmla="*/ 30502 w 4519987"/>
              <a:gd name="connsiteY118" fmla="*/ 2514600 h 4496940"/>
              <a:gd name="connsiteX119" fmla="*/ 11452 w 4519987"/>
              <a:gd name="connsiteY119" fmla="*/ 2400300 h 4496940"/>
              <a:gd name="connsiteX120" fmla="*/ 20977 w 4519987"/>
              <a:gd name="connsiteY120" fmla="*/ 1905000 h 4496940"/>
              <a:gd name="connsiteX121" fmla="*/ 30502 w 4519987"/>
              <a:gd name="connsiteY121" fmla="*/ 1838325 h 4496940"/>
              <a:gd name="connsiteX122" fmla="*/ 49552 w 4519987"/>
              <a:gd name="connsiteY122" fmla="*/ 1781175 h 4496940"/>
              <a:gd name="connsiteX123" fmla="*/ 59077 w 4519987"/>
              <a:gd name="connsiteY123" fmla="*/ 1743075 h 4496940"/>
              <a:gd name="connsiteX124" fmla="*/ 78127 w 4519987"/>
              <a:gd name="connsiteY124" fmla="*/ 1685925 h 4496940"/>
              <a:gd name="connsiteX125" fmla="*/ 87652 w 4519987"/>
              <a:gd name="connsiteY125" fmla="*/ 1638300 h 4496940"/>
              <a:gd name="connsiteX126" fmla="*/ 106702 w 4519987"/>
              <a:gd name="connsiteY126" fmla="*/ 1590675 h 4496940"/>
              <a:gd name="connsiteX127" fmla="*/ 135277 w 4519987"/>
              <a:gd name="connsiteY127" fmla="*/ 1504950 h 4496940"/>
              <a:gd name="connsiteX128" fmla="*/ 154327 w 4519987"/>
              <a:gd name="connsiteY128" fmla="*/ 1419225 h 4496940"/>
              <a:gd name="connsiteX129" fmla="*/ 230527 w 4519987"/>
              <a:gd name="connsiteY129" fmla="*/ 1276350 h 4496940"/>
              <a:gd name="connsiteX130" fmla="*/ 240052 w 4519987"/>
              <a:gd name="connsiteY130" fmla="*/ 1247775 h 4496940"/>
              <a:gd name="connsiteX131" fmla="*/ 268627 w 4519987"/>
              <a:gd name="connsiteY131" fmla="*/ 1200150 h 4496940"/>
              <a:gd name="connsiteX132" fmla="*/ 287677 w 4519987"/>
              <a:gd name="connsiteY132" fmla="*/ 1152525 h 4496940"/>
              <a:gd name="connsiteX133" fmla="*/ 316252 w 4519987"/>
              <a:gd name="connsiteY133" fmla="*/ 1114425 h 4496940"/>
              <a:gd name="connsiteX134" fmla="*/ 363877 w 4519987"/>
              <a:gd name="connsiteY134" fmla="*/ 1038225 h 4496940"/>
              <a:gd name="connsiteX135" fmla="*/ 382927 w 4519987"/>
              <a:gd name="connsiteY135" fmla="*/ 1009650 h 4496940"/>
              <a:gd name="connsiteX136" fmla="*/ 440077 w 4519987"/>
              <a:gd name="connsiteY136" fmla="*/ 904875 h 4496940"/>
              <a:gd name="connsiteX137" fmla="*/ 478177 w 4519987"/>
              <a:gd name="connsiteY137" fmla="*/ 857250 h 4496940"/>
              <a:gd name="connsiteX138" fmla="*/ 497227 w 4519987"/>
              <a:gd name="connsiteY138" fmla="*/ 828675 h 4496940"/>
              <a:gd name="connsiteX139" fmla="*/ 535327 w 4519987"/>
              <a:gd name="connsiteY139" fmla="*/ 800100 h 4496940"/>
              <a:gd name="connsiteX140" fmla="*/ 602002 w 4519987"/>
              <a:gd name="connsiteY140" fmla="*/ 733425 h 4496940"/>
              <a:gd name="connsiteX141" fmla="*/ 668677 w 4519987"/>
              <a:gd name="connsiteY141" fmla="*/ 676275 h 4496940"/>
              <a:gd name="connsiteX142" fmla="*/ 697252 w 4519987"/>
              <a:gd name="connsiteY142" fmla="*/ 657225 h 4496940"/>
              <a:gd name="connsiteX143" fmla="*/ 840127 w 4519987"/>
              <a:gd name="connsiteY143" fmla="*/ 533400 h 4496940"/>
              <a:gd name="connsiteX144" fmla="*/ 887752 w 4519987"/>
              <a:gd name="connsiteY144" fmla="*/ 504825 h 4496940"/>
              <a:gd name="connsiteX145" fmla="*/ 1167152 w 4519987"/>
              <a:gd name="connsiteY145" fmla="*/ 311150 h 4496940"/>
              <a:gd name="connsiteX146" fmla="*/ 1268752 w 4519987"/>
              <a:gd name="connsiteY146" fmla="*/ 285750 h 4496940"/>
              <a:gd name="connsiteX147" fmla="*/ 1411627 w 4519987"/>
              <a:gd name="connsiteY147" fmla="*/ 190500 h 4496940"/>
              <a:gd name="connsiteX148" fmla="*/ 1449727 w 4519987"/>
              <a:gd name="connsiteY148" fmla="*/ 161925 h 4496940"/>
              <a:gd name="connsiteX149" fmla="*/ 1525927 w 4519987"/>
              <a:gd name="connsiteY149" fmla="*/ 152400 h 4496940"/>
              <a:gd name="connsiteX150" fmla="*/ 1583077 w 4519987"/>
              <a:gd name="connsiteY150" fmla="*/ 142875 h 4496940"/>
              <a:gd name="connsiteX151" fmla="*/ 1716427 w 4519987"/>
              <a:gd name="connsiteY151" fmla="*/ 123825 h 4496940"/>
              <a:gd name="connsiteX152" fmla="*/ 1811677 w 4519987"/>
              <a:gd name="connsiteY152" fmla="*/ 114300 h 4496940"/>
              <a:gd name="connsiteX153" fmla="*/ 1859302 w 4519987"/>
              <a:gd name="connsiteY153" fmla="*/ 104775 h 4496940"/>
              <a:gd name="connsiteX154" fmla="*/ 1916452 w 4519987"/>
              <a:gd name="connsiteY154" fmla="*/ 95250 h 4496940"/>
              <a:gd name="connsiteX155" fmla="*/ 2030752 w 4519987"/>
              <a:gd name="connsiteY155" fmla="*/ 66675 h 4496940"/>
              <a:gd name="connsiteX156" fmla="*/ 2097427 w 4519987"/>
              <a:gd name="connsiteY156" fmla="*/ 47625 h 4496940"/>
              <a:gd name="connsiteX157" fmla="*/ 2164102 w 4519987"/>
              <a:gd name="connsiteY157" fmla="*/ 38100 h 4496940"/>
              <a:gd name="connsiteX158" fmla="*/ 2392702 w 4519987"/>
              <a:gd name="connsiteY15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07202 w 4519987"/>
              <a:gd name="connsiteY29" fmla="*/ 876300 h 4496940"/>
              <a:gd name="connsiteX30" fmla="*/ 4116727 w 4519987"/>
              <a:gd name="connsiteY30" fmla="*/ 904875 h 4496940"/>
              <a:gd name="connsiteX31" fmla="*/ 4135777 w 4519987"/>
              <a:gd name="connsiteY31" fmla="*/ 933450 h 4496940"/>
              <a:gd name="connsiteX32" fmla="*/ 4164352 w 4519987"/>
              <a:gd name="connsiteY32" fmla="*/ 990600 h 4496940"/>
              <a:gd name="connsiteX33" fmla="*/ 4173877 w 4519987"/>
              <a:gd name="connsiteY33" fmla="*/ 1019175 h 4496940"/>
              <a:gd name="connsiteX34" fmla="*/ 4192927 w 4519987"/>
              <a:gd name="connsiteY34" fmla="*/ 1057275 h 4496940"/>
              <a:gd name="connsiteX35" fmla="*/ 4202452 w 4519987"/>
              <a:gd name="connsiteY35" fmla="*/ 1085850 h 4496940"/>
              <a:gd name="connsiteX36" fmla="*/ 4250077 w 4519987"/>
              <a:gd name="connsiteY36" fmla="*/ 1143000 h 4496940"/>
              <a:gd name="connsiteX37" fmla="*/ 4259602 w 4519987"/>
              <a:gd name="connsiteY37" fmla="*/ 1190625 h 4496940"/>
              <a:gd name="connsiteX38" fmla="*/ 4307227 w 4519987"/>
              <a:gd name="connsiteY38" fmla="*/ 1266825 h 4496940"/>
              <a:gd name="connsiteX39" fmla="*/ 4345327 w 4519987"/>
              <a:gd name="connsiteY39" fmla="*/ 1362075 h 4496940"/>
              <a:gd name="connsiteX40" fmla="*/ 4373902 w 4519987"/>
              <a:gd name="connsiteY40" fmla="*/ 1428750 h 4496940"/>
              <a:gd name="connsiteX41" fmla="*/ 4392952 w 4519987"/>
              <a:gd name="connsiteY41" fmla="*/ 1552575 h 4496940"/>
              <a:gd name="connsiteX42" fmla="*/ 4402477 w 4519987"/>
              <a:gd name="connsiteY42" fmla="*/ 1590675 h 4496940"/>
              <a:gd name="connsiteX43" fmla="*/ 4431052 w 4519987"/>
              <a:gd name="connsiteY43" fmla="*/ 1685925 h 4496940"/>
              <a:gd name="connsiteX44" fmla="*/ 4519952 w 4519987"/>
              <a:gd name="connsiteY44" fmla="*/ 2181225 h 4496940"/>
              <a:gd name="connsiteX45" fmla="*/ 4446927 w 4519987"/>
              <a:gd name="connsiteY45" fmla="*/ 2768600 h 4496940"/>
              <a:gd name="connsiteX46" fmla="*/ 4383427 w 4519987"/>
              <a:gd name="connsiteY46" fmla="*/ 2990850 h 4496940"/>
              <a:gd name="connsiteX47" fmla="*/ 4278652 w 4519987"/>
              <a:gd name="connsiteY47" fmla="*/ 3248025 h 4496940"/>
              <a:gd name="connsiteX48" fmla="*/ 4259602 w 4519987"/>
              <a:gd name="connsiteY48" fmla="*/ 3276600 h 4496940"/>
              <a:gd name="connsiteX49" fmla="*/ 4221502 w 4519987"/>
              <a:gd name="connsiteY49" fmla="*/ 3333750 h 4496940"/>
              <a:gd name="connsiteX50" fmla="*/ 4211977 w 4519987"/>
              <a:gd name="connsiteY50" fmla="*/ 3362325 h 4496940"/>
              <a:gd name="connsiteX51" fmla="*/ 4183402 w 4519987"/>
              <a:gd name="connsiteY51" fmla="*/ 3400425 h 4496940"/>
              <a:gd name="connsiteX52" fmla="*/ 4164352 w 4519987"/>
              <a:gd name="connsiteY52" fmla="*/ 3429000 h 4496940"/>
              <a:gd name="connsiteX53" fmla="*/ 4088152 w 4519987"/>
              <a:gd name="connsiteY53" fmla="*/ 3495675 h 4496940"/>
              <a:gd name="connsiteX54" fmla="*/ 4059577 w 4519987"/>
              <a:gd name="connsiteY54" fmla="*/ 3533775 h 4496940"/>
              <a:gd name="connsiteX55" fmla="*/ 4002427 w 4519987"/>
              <a:gd name="connsiteY55" fmla="*/ 3600450 h 4496940"/>
              <a:gd name="connsiteX56" fmla="*/ 3983377 w 4519987"/>
              <a:gd name="connsiteY56" fmla="*/ 3629025 h 4496940"/>
              <a:gd name="connsiteX57" fmla="*/ 3954802 w 4519987"/>
              <a:gd name="connsiteY57" fmla="*/ 3648075 h 4496940"/>
              <a:gd name="connsiteX58" fmla="*/ 3907177 w 4519987"/>
              <a:gd name="connsiteY58" fmla="*/ 3686175 h 4496940"/>
              <a:gd name="connsiteX59" fmla="*/ 3869077 w 4519987"/>
              <a:gd name="connsiteY59" fmla="*/ 3724275 h 4496940"/>
              <a:gd name="connsiteX60" fmla="*/ 3792877 w 4519987"/>
              <a:gd name="connsiteY60" fmla="*/ 3781425 h 4496940"/>
              <a:gd name="connsiteX61" fmla="*/ 3783352 w 4519987"/>
              <a:gd name="connsiteY61" fmla="*/ 3810000 h 4496940"/>
              <a:gd name="connsiteX62" fmla="*/ 3745252 w 4519987"/>
              <a:gd name="connsiteY62" fmla="*/ 3819525 h 4496940"/>
              <a:gd name="connsiteX63" fmla="*/ 3678577 w 4519987"/>
              <a:gd name="connsiteY63" fmla="*/ 3848100 h 4496940"/>
              <a:gd name="connsiteX64" fmla="*/ 3659527 w 4519987"/>
              <a:gd name="connsiteY64" fmla="*/ 3971925 h 4496940"/>
              <a:gd name="connsiteX65" fmla="*/ 3630952 w 4519987"/>
              <a:gd name="connsiteY65" fmla="*/ 4010025 h 4496940"/>
              <a:gd name="connsiteX66" fmla="*/ 3621427 w 4519987"/>
              <a:gd name="connsiteY66" fmla="*/ 4038600 h 4496940"/>
              <a:gd name="connsiteX67" fmla="*/ 3554752 w 4519987"/>
              <a:gd name="connsiteY67" fmla="*/ 4095750 h 4496940"/>
              <a:gd name="connsiteX68" fmla="*/ 3516652 w 4519987"/>
              <a:gd name="connsiteY68" fmla="*/ 4114800 h 4496940"/>
              <a:gd name="connsiteX69" fmla="*/ 3497602 w 4519987"/>
              <a:gd name="connsiteY69" fmla="*/ 4143375 h 4496940"/>
              <a:gd name="connsiteX70" fmla="*/ 3383302 w 4519987"/>
              <a:gd name="connsiteY70" fmla="*/ 4210050 h 4496940"/>
              <a:gd name="connsiteX71" fmla="*/ 3335677 w 4519987"/>
              <a:gd name="connsiteY71" fmla="*/ 4238625 h 4496940"/>
              <a:gd name="connsiteX72" fmla="*/ 3288052 w 4519987"/>
              <a:gd name="connsiteY72" fmla="*/ 4248150 h 4496940"/>
              <a:gd name="connsiteX73" fmla="*/ 3240427 w 4519987"/>
              <a:gd name="connsiteY73" fmla="*/ 4267200 h 4496940"/>
              <a:gd name="connsiteX74" fmla="*/ 3068977 w 4519987"/>
              <a:gd name="connsiteY74" fmla="*/ 4286250 h 4496940"/>
              <a:gd name="connsiteX75" fmla="*/ 2935627 w 4519987"/>
              <a:gd name="connsiteY75" fmla="*/ 4333875 h 4496940"/>
              <a:gd name="connsiteX76" fmla="*/ 2811802 w 4519987"/>
              <a:gd name="connsiteY76" fmla="*/ 4371975 h 4496940"/>
              <a:gd name="connsiteX77" fmla="*/ 2745127 w 4519987"/>
              <a:gd name="connsiteY77" fmla="*/ 4410075 h 4496940"/>
              <a:gd name="connsiteX78" fmla="*/ 2697502 w 4519987"/>
              <a:gd name="connsiteY78" fmla="*/ 4429125 h 4496940"/>
              <a:gd name="connsiteX79" fmla="*/ 2640352 w 4519987"/>
              <a:gd name="connsiteY79" fmla="*/ 4457700 h 4496940"/>
              <a:gd name="connsiteX80" fmla="*/ 2583202 w 4519987"/>
              <a:gd name="connsiteY80" fmla="*/ 4467225 h 4496940"/>
              <a:gd name="connsiteX81" fmla="*/ 2545102 w 4519987"/>
              <a:gd name="connsiteY81" fmla="*/ 4486275 h 4496940"/>
              <a:gd name="connsiteX82" fmla="*/ 2306977 w 4519987"/>
              <a:gd name="connsiteY82" fmla="*/ 4476750 h 4496940"/>
              <a:gd name="connsiteX83" fmla="*/ 2202202 w 4519987"/>
              <a:gd name="connsiteY83" fmla="*/ 4457700 h 4496940"/>
              <a:gd name="connsiteX84" fmla="*/ 2126002 w 4519987"/>
              <a:gd name="connsiteY84" fmla="*/ 4429125 h 4496940"/>
              <a:gd name="connsiteX85" fmla="*/ 1935502 w 4519987"/>
              <a:gd name="connsiteY85" fmla="*/ 4400550 h 4496940"/>
              <a:gd name="connsiteX86" fmla="*/ 1821202 w 4519987"/>
              <a:gd name="connsiteY86" fmla="*/ 4371975 h 4496940"/>
              <a:gd name="connsiteX87" fmla="*/ 1754527 w 4519987"/>
              <a:gd name="connsiteY87" fmla="*/ 4352925 h 4496940"/>
              <a:gd name="connsiteX88" fmla="*/ 1687852 w 4519987"/>
              <a:gd name="connsiteY88" fmla="*/ 4343400 h 4496940"/>
              <a:gd name="connsiteX89" fmla="*/ 1573552 w 4519987"/>
              <a:gd name="connsiteY89" fmla="*/ 4305300 h 4496940"/>
              <a:gd name="connsiteX90" fmla="*/ 1402102 w 4519987"/>
              <a:gd name="connsiteY90" fmla="*/ 4276725 h 4496940"/>
              <a:gd name="connsiteX91" fmla="*/ 1287802 w 4519987"/>
              <a:gd name="connsiteY91" fmla="*/ 4229100 h 4496940"/>
              <a:gd name="connsiteX92" fmla="*/ 1221127 w 4519987"/>
              <a:gd name="connsiteY92" fmla="*/ 4200525 h 4496940"/>
              <a:gd name="connsiteX93" fmla="*/ 1144927 w 4519987"/>
              <a:gd name="connsiteY93" fmla="*/ 4171950 h 4496940"/>
              <a:gd name="connsiteX94" fmla="*/ 1087777 w 4519987"/>
              <a:gd name="connsiteY94" fmla="*/ 4143375 h 4496940"/>
              <a:gd name="connsiteX95" fmla="*/ 1030627 w 4519987"/>
              <a:gd name="connsiteY95" fmla="*/ 4124325 h 4496940"/>
              <a:gd name="connsiteX96" fmla="*/ 925852 w 4519987"/>
              <a:gd name="connsiteY96" fmla="*/ 4067175 h 4496940"/>
              <a:gd name="connsiteX97" fmla="*/ 830602 w 4519987"/>
              <a:gd name="connsiteY97" fmla="*/ 3981450 h 4496940"/>
              <a:gd name="connsiteX98" fmla="*/ 763927 w 4519987"/>
              <a:gd name="connsiteY98" fmla="*/ 3914775 h 4496940"/>
              <a:gd name="connsiteX99" fmla="*/ 725827 w 4519987"/>
              <a:gd name="connsiteY99" fmla="*/ 3876675 h 4496940"/>
              <a:gd name="connsiteX100" fmla="*/ 697252 w 4519987"/>
              <a:gd name="connsiteY100" fmla="*/ 3838575 h 4496940"/>
              <a:gd name="connsiteX101" fmla="*/ 640102 w 4519987"/>
              <a:gd name="connsiteY101" fmla="*/ 3781425 h 4496940"/>
              <a:gd name="connsiteX102" fmla="*/ 611527 w 4519987"/>
              <a:gd name="connsiteY102" fmla="*/ 3733800 h 4496940"/>
              <a:gd name="connsiteX103" fmla="*/ 554377 w 4519987"/>
              <a:gd name="connsiteY103" fmla="*/ 3657600 h 4496940"/>
              <a:gd name="connsiteX104" fmla="*/ 525802 w 4519987"/>
              <a:gd name="connsiteY104" fmla="*/ 3609975 h 4496940"/>
              <a:gd name="connsiteX105" fmla="*/ 497227 w 4519987"/>
              <a:gd name="connsiteY105" fmla="*/ 3552825 h 4496940"/>
              <a:gd name="connsiteX106" fmla="*/ 440077 w 4519987"/>
              <a:gd name="connsiteY106" fmla="*/ 3495675 h 4496940"/>
              <a:gd name="connsiteX107" fmla="*/ 411502 w 4519987"/>
              <a:gd name="connsiteY107" fmla="*/ 3448050 h 4496940"/>
              <a:gd name="connsiteX108" fmla="*/ 278152 w 4519987"/>
              <a:gd name="connsiteY108" fmla="*/ 3257550 h 4496940"/>
              <a:gd name="connsiteX109" fmla="*/ 249577 w 4519987"/>
              <a:gd name="connsiteY109" fmla="*/ 3200400 h 4496940"/>
              <a:gd name="connsiteX110" fmla="*/ 240052 w 4519987"/>
              <a:gd name="connsiteY110" fmla="*/ 3162300 h 4496940"/>
              <a:gd name="connsiteX111" fmla="*/ 221002 w 4519987"/>
              <a:gd name="connsiteY111" fmla="*/ 3105150 h 4496940"/>
              <a:gd name="connsiteX112" fmla="*/ 173377 w 4519987"/>
              <a:gd name="connsiteY112" fmla="*/ 3019425 h 4496940"/>
              <a:gd name="connsiteX113" fmla="*/ 144802 w 4519987"/>
              <a:gd name="connsiteY113" fmla="*/ 2924175 h 4496940"/>
              <a:gd name="connsiteX114" fmla="*/ 68602 w 4519987"/>
              <a:gd name="connsiteY114" fmla="*/ 2724150 h 4496940"/>
              <a:gd name="connsiteX115" fmla="*/ 49552 w 4519987"/>
              <a:gd name="connsiteY115" fmla="*/ 2638425 h 4496940"/>
              <a:gd name="connsiteX116" fmla="*/ 40027 w 4519987"/>
              <a:gd name="connsiteY116" fmla="*/ 2562225 h 4496940"/>
              <a:gd name="connsiteX117" fmla="*/ 30502 w 4519987"/>
              <a:gd name="connsiteY117" fmla="*/ 2514600 h 4496940"/>
              <a:gd name="connsiteX118" fmla="*/ 11452 w 4519987"/>
              <a:gd name="connsiteY118" fmla="*/ 2400300 h 4496940"/>
              <a:gd name="connsiteX119" fmla="*/ 20977 w 4519987"/>
              <a:gd name="connsiteY119" fmla="*/ 1905000 h 4496940"/>
              <a:gd name="connsiteX120" fmla="*/ 30502 w 4519987"/>
              <a:gd name="connsiteY120" fmla="*/ 1838325 h 4496940"/>
              <a:gd name="connsiteX121" fmla="*/ 49552 w 4519987"/>
              <a:gd name="connsiteY121" fmla="*/ 1781175 h 4496940"/>
              <a:gd name="connsiteX122" fmla="*/ 59077 w 4519987"/>
              <a:gd name="connsiteY122" fmla="*/ 1743075 h 4496940"/>
              <a:gd name="connsiteX123" fmla="*/ 78127 w 4519987"/>
              <a:gd name="connsiteY123" fmla="*/ 1685925 h 4496940"/>
              <a:gd name="connsiteX124" fmla="*/ 87652 w 4519987"/>
              <a:gd name="connsiteY124" fmla="*/ 1638300 h 4496940"/>
              <a:gd name="connsiteX125" fmla="*/ 106702 w 4519987"/>
              <a:gd name="connsiteY125" fmla="*/ 1590675 h 4496940"/>
              <a:gd name="connsiteX126" fmla="*/ 135277 w 4519987"/>
              <a:gd name="connsiteY126" fmla="*/ 1504950 h 4496940"/>
              <a:gd name="connsiteX127" fmla="*/ 154327 w 4519987"/>
              <a:gd name="connsiteY127" fmla="*/ 1419225 h 4496940"/>
              <a:gd name="connsiteX128" fmla="*/ 230527 w 4519987"/>
              <a:gd name="connsiteY128" fmla="*/ 1276350 h 4496940"/>
              <a:gd name="connsiteX129" fmla="*/ 240052 w 4519987"/>
              <a:gd name="connsiteY129" fmla="*/ 1247775 h 4496940"/>
              <a:gd name="connsiteX130" fmla="*/ 268627 w 4519987"/>
              <a:gd name="connsiteY130" fmla="*/ 1200150 h 4496940"/>
              <a:gd name="connsiteX131" fmla="*/ 287677 w 4519987"/>
              <a:gd name="connsiteY131" fmla="*/ 1152525 h 4496940"/>
              <a:gd name="connsiteX132" fmla="*/ 316252 w 4519987"/>
              <a:gd name="connsiteY132" fmla="*/ 1114425 h 4496940"/>
              <a:gd name="connsiteX133" fmla="*/ 363877 w 4519987"/>
              <a:gd name="connsiteY133" fmla="*/ 1038225 h 4496940"/>
              <a:gd name="connsiteX134" fmla="*/ 382927 w 4519987"/>
              <a:gd name="connsiteY134" fmla="*/ 1009650 h 4496940"/>
              <a:gd name="connsiteX135" fmla="*/ 440077 w 4519987"/>
              <a:gd name="connsiteY135" fmla="*/ 904875 h 4496940"/>
              <a:gd name="connsiteX136" fmla="*/ 478177 w 4519987"/>
              <a:gd name="connsiteY136" fmla="*/ 857250 h 4496940"/>
              <a:gd name="connsiteX137" fmla="*/ 497227 w 4519987"/>
              <a:gd name="connsiteY137" fmla="*/ 828675 h 4496940"/>
              <a:gd name="connsiteX138" fmla="*/ 535327 w 4519987"/>
              <a:gd name="connsiteY138" fmla="*/ 800100 h 4496940"/>
              <a:gd name="connsiteX139" fmla="*/ 602002 w 4519987"/>
              <a:gd name="connsiteY139" fmla="*/ 733425 h 4496940"/>
              <a:gd name="connsiteX140" fmla="*/ 668677 w 4519987"/>
              <a:gd name="connsiteY140" fmla="*/ 676275 h 4496940"/>
              <a:gd name="connsiteX141" fmla="*/ 697252 w 4519987"/>
              <a:gd name="connsiteY141" fmla="*/ 657225 h 4496940"/>
              <a:gd name="connsiteX142" fmla="*/ 840127 w 4519987"/>
              <a:gd name="connsiteY142" fmla="*/ 533400 h 4496940"/>
              <a:gd name="connsiteX143" fmla="*/ 887752 w 4519987"/>
              <a:gd name="connsiteY143" fmla="*/ 504825 h 4496940"/>
              <a:gd name="connsiteX144" fmla="*/ 1167152 w 4519987"/>
              <a:gd name="connsiteY144" fmla="*/ 311150 h 4496940"/>
              <a:gd name="connsiteX145" fmla="*/ 1268752 w 4519987"/>
              <a:gd name="connsiteY145" fmla="*/ 285750 h 4496940"/>
              <a:gd name="connsiteX146" fmla="*/ 1411627 w 4519987"/>
              <a:gd name="connsiteY146" fmla="*/ 190500 h 4496940"/>
              <a:gd name="connsiteX147" fmla="*/ 1449727 w 4519987"/>
              <a:gd name="connsiteY147" fmla="*/ 161925 h 4496940"/>
              <a:gd name="connsiteX148" fmla="*/ 1525927 w 4519987"/>
              <a:gd name="connsiteY148" fmla="*/ 152400 h 4496940"/>
              <a:gd name="connsiteX149" fmla="*/ 1583077 w 4519987"/>
              <a:gd name="connsiteY149" fmla="*/ 142875 h 4496940"/>
              <a:gd name="connsiteX150" fmla="*/ 1716427 w 4519987"/>
              <a:gd name="connsiteY150" fmla="*/ 123825 h 4496940"/>
              <a:gd name="connsiteX151" fmla="*/ 1811677 w 4519987"/>
              <a:gd name="connsiteY151" fmla="*/ 114300 h 4496940"/>
              <a:gd name="connsiteX152" fmla="*/ 1859302 w 4519987"/>
              <a:gd name="connsiteY152" fmla="*/ 104775 h 4496940"/>
              <a:gd name="connsiteX153" fmla="*/ 1916452 w 4519987"/>
              <a:gd name="connsiteY153" fmla="*/ 95250 h 4496940"/>
              <a:gd name="connsiteX154" fmla="*/ 2030752 w 4519987"/>
              <a:gd name="connsiteY154" fmla="*/ 66675 h 4496940"/>
              <a:gd name="connsiteX155" fmla="*/ 2097427 w 4519987"/>
              <a:gd name="connsiteY155" fmla="*/ 47625 h 4496940"/>
              <a:gd name="connsiteX156" fmla="*/ 2164102 w 4519987"/>
              <a:gd name="connsiteY156" fmla="*/ 38100 h 4496940"/>
              <a:gd name="connsiteX157" fmla="*/ 2392702 w 4519987"/>
              <a:gd name="connsiteY15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07202 w 4519987"/>
              <a:gd name="connsiteY29" fmla="*/ 876300 h 4496940"/>
              <a:gd name="connsiteX30" fmla="*/ 4135777 w 4519987"/>
              <a:gd name="connsiteY30" fmla="*/ 933450 h 4496940"/>
              <a:gd name="connsiteX31" fmla="*/ 4164352 w 4519987"/>
              <a:gd name="connsiteY31" fmla="*/ 990600 h 4496940"/>
              <a:gd name="connsiteX32" fmla="*/ 4173877 w 4519987"/>
              <a:gd name="connsiteY32" fmla="*/ 1019175 h 4496940"/>
              <a:gd name="connsiteX33" fmla="*/ 4192927 w 4519987"/>
              <a:gd name="connsiteY33" fmla="*/ 1057275 h 4496940"/>
              <a:gd name="connsiteX34" fmla="*/ 4202452 w 4519987"/>
              <a:gd name="connsiteY34" fmla="*/ 1085850 h 4496940"/>
              <a:gd name="connsiteX35" fmla="*/ 4250077 w 4519987"/>
              <a:gd name="connsiteY35" fmla="*/ 1143000 h 4496940"/>
              <a:gd name="connsiteX36" fmla="*/ 4259602 w 4519987"/>
              <a:gd name="connsiteY36" fmla="*/ 1190625 h 4496940"/>
              <a:gd name="connsiteX37" fmla="*/ 4307227 w 4519987"/>
              <a:gd name="connsiteY37" fmla="*/ 1266825 h 4496940"/>
              <a:gd name="connsiteX38" fmla="*/ 4345327 w 4519987"/>
              <a:gd name="connsiteY38" fmla="*/ 1362075 h 4496940"/>
              <a:gd name="connsiteX39" fmla="*/ 4373902 w 4519987"/>
              <a:gd name="connsiteY39" fmla="*/ 1428750 h 4496940"/>
              <a:gd name="connsiteX40" fmla="*/ 4392952 w 4519987"/>
              <a:gd name="connsiteY40" fmla="*/ 1552575 h 4496940"/>
              <a:gd name="connsiteX41" fmla="*/ 4402477 w 4519987"/>
              <a:gd name="connsiteY41" fmla="*/ 1590675 h 4496940"/>
              <a:gd name="connsiteX42" fmla="*/ 4431052 w 4519987"/>
              <a:gd name="connsiteY42" fmla="*/ 1685925 h 4496940"/>
              <a:gd name="connsiteX43" fmla="*/ 4519952 w 4519987"/>
              <a:gd name="connsiteY43" fmla="*/ 2181225 h 4496940"/>
              <a:gd name="connsiteX44" fmla="*/ 4446927 w 4519987"/>
              <a:gd name="connsiteY44" fmla="*/ 2768600 h 4496940"/>
              <a:gd name="connsiteX45" fmla="*/ 4383427 w 4519987"/>
              <a:gd name="connsiteY45" fmla="*/ 2990850 h 4496940"/>
              <a:gd name="connsiteX46" fmla="*/ 4278652 w 4519987"/>
              <a:gd name="connsiteY46" fmla="*/ 3248025 h 4496940"/>
              <a:gd name="connsiteX47" fmla="*/ 4259602 w 4519987"/>
              <a:gd name="connsiteY47" fmla="*/ 3276600 h 4496940"/>
              <a:gd name="connsiteX48" fmla="*/ 4221502 w 4519987"/>
              <a:gd name="connsiteY48" fmla="*/ 3333750 h 4496940"/>
              <a:gd name="connsiteX49" fmla="*/ 4211977 w 4519987"/>
              <a:gd name="connsiteY49" fmla="*/ 3362325 h 4496940"/>
              <a:gd name="connsiteX50" fmla="*/ 4183402 w 4519987"/>
              <a:gd name="connsiteY50" fmla="*/ 3400425 h 4496940"/>
              <a:gd name="connsiteX51" fmla="*/ 4164352 w 4519987"/>
              <a:gd name="connsiteY51" fmla="*/ 3429000 h 4496940"/>
              <a:gd name="connsiteX52" fmla="*/ 4088152 w 4519987"/>
              <a:gd name="connsiteY52" fmla="*/ 3495675 h 4496940"/>
              <a:gd name="connsiteX53" fmla="*/ 4059577 w 4519987"/>
              <a:gd name="connsiteY53" fmla="*/ 3533775 h 4496940"/>
              <a:gd name="connsiteX54" fmla="*/ 4002427 w 4519987"/>
              <a:gd name="connsiteY54" fmla="*/ 3600450 h 4496940"/>
              <a:gd name="connsiteX55" fmla="*/ 3983377 w 4519987"/>
              <a:gd name="connsiteY55" fmla="*/ 3629025 h 4496940"/>
              <a:gd name="connsiteX56" fmla="*/ 3954802 w 4519987"/>
              <a:gd name="connsiteY56" fmla="*/ 3648075 h 4496940"/>
              <a:gd name="connsiteX57" fmla="*/ 3907177 w 4519987"/>
              <a:gd name="connsiteY57" fmla="*/ 3686175 h 4496940"/>
              <a:gd name="connsiteX58" fmla="*/ 3869077 w 4519987"/>
              <a:gd name="connsiteY58" fmla="*/ 3724275 h 4496940"/>
              <a:gd name="connsiteX59" fmla="*/ 3792877 w 4519987"/>
              <a:gd name="connsiteY59" fmla="*/ 3781425 h 4496940"/>
              <a:gd name="connsiteX60" fmla="*/ 3783352 w 4519987"/>
              <a:gd name="connsiteY60" fmla="*/ 3810000 h 4496940"/>
              <a:gd name="connsiteX61" fmla="*/ 3745252 w 4519987"/>
              <a:gd name="connsiteY61" fmla="*/ 3819525 h 4496940"/>
              <a:gd name="connsiteX62" fmla="*/ 3678577 w 4519987"/>
              <a:gd name="connsiteY62" fmla="*/ 3848100 h 4496940"/>
              <a:gd name="connsiteX63" fmla="*/ 3659527 w 4519987"/>
              <a:gd name="connsiteY63" fmla="*/ 3971925 h 4496940"/>
              <a:gd name="connsiteX64" fmla="*/ 3630952 w 4519987"/>
              <a:gd name="connsiteY64" fmla="*/ 4010025 h 4496940"/>
              <a:gd name="connsiteX65" fmla="*/ 3621427 w 4519987"/>
              <a:gd name="connsiteY65" fmla="*/ 4038600 h 4496940"/>
              <a:gd name="connsiteX66" fmla="*/ 3554752 w 4519987"/>
              <a:gd name="connsiteY66" fmla="*/ 4095750 h 4496940"/>
              <a:gd name="connsiteX67" fmla="*/ 3516652 w 4519987"/>
              <a:gd name="connsiteY67" fmla="*/ 4114800 h 4496940"/>
              <a:gd name="connsiteX68" fmla="*/ 3497602 w 4519987"/>
              <a:gd name="connsiteY68" fmla="*/ 4143375 h 4496940"/>
              <a:gd name="connsiteX69" fmla="*/ 3383302 w 4519987"/>
              <a:gd name="connsiteY69" fmla="*/ 4210050 h 4496940"/>
              <a:gd name="connsiteX70" fmla="*/ 3335677 w 4519987"/>
              <a:gd name="connsiteY70" fmla="*/ 4238625 h 4496940"/>
              <a:gd name="connsiteX71" fmla="*/ 3288052 w 4519987"/>
              <a:gd name="connsiteY71" fmla="*/ 4248150 h 4496940"/>
              <a:gd name="connsiteX72" fmla="*/ 3240427 w 4519987"/>
              <a:gd name="connsiteY72" fmla="*/ 4267200 h 4496940"/>
              <a:gd name="connsiteX73" fmla="*/ 3068977 w 4519987"/>
              <a:gd name="connsiteY73" fmla="*/ 4286250 h 4496940"/>
              <a:gd name="connsiteX74" fmla="*/ 2935627 w 4519987"/>
              <a:gd name="connsiteY74" fmla="*/ 4333875 h 4496940"/>
              <a:gd name="connsiteX75" fmla="*/ 2811802 w 4519987"/>
              <a:gd name="connsiteY75" fmla="*/ 4371975 h 4496940"/>
              <a:gd name="connsiteX76" fmla="*/ 2745127 w 4519987"/>
              <a:gd name="connsiteY76" fmla="*/ 4410075 h 4496940"/>
              <a:gd name="connsiteX77" fmla="*/ 2697502 w 4519987"/>
              <a:gd name="connsiteY77" fmla="*/ 4429125 h 4496940"/>
              <a:gd name="connsiteX78" fmla="*/ 2640352 w 4519987"/>
              <a:gd name="connsiteY78" fmla="*/ 4457700 h 4496940"/>
              <a:gd name="connsiteX79" fmla="*/ 2583202 w 4519987"/>
              <a:gd name="connsiteY79" fmla="*/ 4467225 h 4496940"/>
              <a:gd name="connsiteX80" fmla="*/ 2545102 w 4519987"/>
              <a:gd name="connsiteY80" fmla="*/ 4486275 h 4496940"/>
              <a:gd name="connsiteX81" fmla="*/ 2306977 w 4519987"/>
              <a:gd name="connsiteY81" fmla="*/ 4476750 h 4496940"/>
              <a:gd name="connsiteX82" fmla="*/ 2202202 w 4519987"/>
              <a:gd name="connsiteY82" fmla="*/ 4457700 h 4496940"/>
              <a:gd name="connsiteX83" fmla="*/ 2126002 w 4519987"/>
              <a:gd name="connsiteY83" fmla="*/ 4429125 h 4496940"/>
              <a:gd name="connsiteX84" fmla="*/ 1935502 w 4519987"/>
              <a:gd name="connsiteY84" fmla="*/ 4400550 h 4496940"/>
              <a:gd name="connsiteX85" fmla="*/ 1821202 w 4519987"/>
              <a:gd name="connsiteY85" fmla="*/ 4371975 h 4496940"/>
              <a:gd name="connsiteX86" fmla="*/ 1754527 w 4519987"/>
              <a:gd name="connsiteY86" fmla="*/ 4352925 h 4496940"/>
              <a:gd name="connsiteX87" fmla="*/ 1687852 w 4519987"/>
              <a:gd name="connsiteY87" fmla="*/ 4343400 h 4496940"/>
              <a:gd name="connsiteX88" fmla="*/ 1573552 w 4519987"/>
              <a:gd name="connsiteY88" fmla="*/ 4305300 h 4496940"/>
              <a:gd name="connsiteX89" fmla="*/ 1402102 w 4519987"/>
              <a:gd name="connsiteY89" fmla="*/ 4276725 h 4496940"/>
              <a:gd name="connsiteX90" fmla="*/ 1287802 w 4519987"/>
              <a:gd name="connsiteY90" fmla="*/ 4229100 h 4496940"/>
              <a:gd name="connsiteX91" fmla="*/ 1221127 w 4519987"/>
              <a:gd name="connsiteY91" fmla="*/ 4200525 h 4496940"/>
              <a:gd name="connsiteX92" fmla="*/ 1144927 w 4519987"/>
              <a:gd name="connsiteY92" fmla="*/ 4171950 h 4496940"/>
              <a:gd name="connsiteX93" fmla="*/ 1087777 w 4519987"/>
              <a:gd name="connsiteY93" fmla="*/ 4143375 h 4496940"/>
              <a:gd name="connsiteX94" fmla="*/ 1030627 w 4519987"/>
              <a:gd name="connsiteY94" fmla="*/ 4124325 h 4496940"/>
              <a:gd name="connsiteX95" fmla="*/ 925852 w 4519987"/>
              <a:gd name="connsiteY95" fmla="*/ 4067175 h 4496940"/>
              <a:gd name="connsiteX96" fmla="*/ 830602 w 4519987"/>
              <a:gd name="connsiteY96" fmla="*/ 3981450 h 4496940"/>
              <a:gd name="connsiteX97" fmla="*/ 763927 w 4519987"/>
              <a:gd name="connsiteY97" fmla="*/ 3914775 h 4496940"/>
              <a:gd name="connsiteX98" fmla="*/ 725827 w 4519987"/>
              <a:gd name="connsiteY98" fmla="*/ 3876675 h 4496940"/>
              <a:gd name="connsiteX99" fmla="*/ 697252 w 4519987"/>
              <a:gd name="connsiteY99" fmla="*/ 3838575 h 4496940"/>
              <a:gd name="connsiteX100" fmla="*/ 640102 w 4519987"/>
              <a:gd name="connsiteY100" fmla="*/ 3781425 h 4496940"/>
              <a:gd name="connsiteX101" fmla="*/ 611527 w 4519987"/>
              <a:gd name="connsiteY101" fmla="*/ 3733800 h 4496940"/>
              <a:gd name="connsiteX102" fmla="*/ 554377 w 4519987"/>
              <a:gd name="connsiteY102" fmla="*/ 3657600 h 4496940"/>
              <a:gd name="connsiteX103" fmla="*/ 525802 w 4519987"/>
              <a:gd name="connsiteY103" fmla="*/ 3609975 h 4496940"/>
              <a:gd name="connsiteX104" fmla="*/ 497227 w 4519987"/>
              <a:gd name="connsiteY104" fmla="*/ 3552825 h 4496940"/>
              <a:gd name="connsiteX105" fmla="*/ 440077 w 4519987"/>
              <a:gd name="connsiteY105" fmla="*/ 3495675 h 4496940"/>
              <a:gd name="connsiteX106" fmla="*/ 411502 w 4519987"/>
              <a:gd name="connsiteY106" fmla="*/ 3448050 h 4496940"/>
              <a:gd name="connsiteX107" fmla="*/ 278152 w 4519987"/>
              <a:gd name="connsiteY107" fmla="*/ 3257550 h 4496940"/>
              <a:gd name="connsiteX108" fmla="*/ 249577 w 4519987"/>
              <a:gd name="connsiteY108" fmla="*/ 3200400 h 4496940"/>
              <a:gd name="connsiteX109" fmla="*/ 240052 w 4519987"/>
              <a:gd name="connsiteY109" fmla="*/ 3162300 h 4496940"/>
              <a:gd name="connsiteX110" fmla="*/ 221002 w 4519987"/>
              <a:gd name="connsiteY110" fmla="*/ 3105150 h 4496940"/>
              <a:gd name="connsiteX111" fmla="*/ 173377 w 4519987"/>
              <a:gd name="connsiteY111" fmla="*/ 3019425 h 4496940"/>
              <a:gd name="connsiteX112" fmla="*/ 144802 w 4519987"/>
              <a:gd name="connsiteY112" fmla="*/ 2924175 h 4496940"/>
              <a:gd name="connsiteX113" fmla="*/ 68602 w 4519987"/>
              <a:gd name="connsiteY113" fmla="*/ 2724150 h 4496940"/>
              <a:gd name="connsiteX114" fmla="*/ 49552 w 4519987"/>
              <a:gd name="connsiteY114" fmla="*/ 2638425 h 4496940"/>
              <a:gd name="connsiteX115" fmla="*/ 40027 w 4519987"/>
              <a:gd name="connsiteY115" fmla="*/ 2562225 h 4496940"/>
              <a:gd name="connsiteX116" fmla="*/ 30502 w 4519987"/>
              <a:gd name="connsiteY116" fmla="*/ 2514600 h 4496940"/>
              <a:gd name="connsiteX117" fmla="*/ 11452 w 4519987"/>
              <a:gd name="connsiteY117" fmla="*/ 2400300 h 4496940"/>
              <a:gd name="connsiteX118" fmla="*/ 20977 w 4519987"/>
              <a:gd name="connsiteY118" fmla="*/ 1905000 h 4496940"/>
              <a:gd name="connsiteX119" fmla="*/ 30502 w 4519987"/>
              <a:gd name="connsiteY119" fmla="*/ 1838325 h 4496940"/>
              <a:gd name="connsiteX120" fmla="*/ 49552 w 4519987"/>
              <a:gd name="connsiteY120" fmla="*/ 1781175 h 4496940"/>
              <a:gd name="connsiteX121" fmla="*/ 59077 w 4519987"/>
              <a:gd name="connsiteY121" fmla="*/ 1743075 h 4496940"/>
              <a:gd name="connsiteX122" fmla="*/ 78127 w 4519987"/>
              <a:gd name="connsiteY122" fmla="*/ 1685925 h 4496940"/>
              <a:gd name="connsiteX123" fmla="*/ 87652 w 4519987"/>
              <a:gd name="connsiteY123" fmla="*/ 1638300 h 4496940"/>
              <a:gd name="connsiteX124" fmla="*/ 106702 w 4519987"/>
              <a:gd name="connsiteY124" fmla="*/ 1590675 h 4496940"/>
              <a:gd name="connsiteX125" fmla="*/ 135277 w 4519987"/>
              <a:gd name="connsiteY125" fmla="*/ 1504950 h 4496940"/>
              <a:gd name="connsiteX126" fmla="*/ 154327 w 4519987"/>
              <a:gd name="connsiteY126" fmla="*/ 1419225 h 4496940"/>
              <a:gd name="connsiteX127" fmla="*/ 230527 w 4519987"/>
              <a:gd name="connsiteY127" fmla="*/ 1276350 h 4496940"/>
              <a:gd name="connsiteX128" fmla="*/ 240052 w 4519987"/>
              <a:gd name="connsiteY128" fmla="*/ 1247775 h 4496940"/>
              <a:gd name="connsiteX129" fmla="*/ 268627 w 4519987"/>
              <a:gd name="connsiteY129" fmla="*/ 1200150 h 4496940"/>
              <a:gd name="connsiteX130" fmla="*/ 287677 w 4519987"/>
              <a:gd name="connsiteY130" fmla="*/ 1152525 h 4496940"/>
              <a:gd name="connsiteX131" fmla="*/ 316252 w 4519987"/>
              <a:gd name="connsiteY131" fmla="*/ 1114425 h 4496940"/>
              <a:gd name="connsiteX132" fmla="*/ 363877 w 4519987"/>
              <a:gd name="connsiteY132" fmla="*/ 1038225 h 4496940"/>
              <a:gd name="connsiteX133" fmla="*/ 382927 w 4519987"/>
              <a:gd name="connsiteY133" fmla="*/ 1009650 h 4496940"/>
              <a:gd name="connsiteX134" fmla="*/ 440077 w 4519987"/>
              <a:gd name="connsiteY134" fmla="*/ 904875 h 4496940"/>
              <a:gd name="connsiteX135" fmla="*/ 478177 w 4519987"/>
              <a:gd name="connsiteY135" fmla="*/ 857250 h 4496940"/>
              <a:gd name="connsiteX136" fmla="*/ 497227 w 4519987"/>
              <a:gd name="connsiteY136" fmla="*/ 828675 h 4496940"/>
              <a:gd name="connsiteX137" fmla="*/ 535327 w 4519987"/>
              <a:gd name="connsiteY137" fmla="*/ 800100 h 4496940"/>
              <a:gd name="connsiteX138" fmla="*/ 602002 w 4519987"/>
              <a:gd name="connsiteY138" fmla="*/ 733425 h 4496940"/>
              <a:gd name="connsiteX139" fmla="*/ 668677 w 4519987"/>
              <a:gd name="connsiteY139" fmla="*/ 676275 h 4496940"/>
              <a:gd name="connsiteX140" fmla="*/ 697252 w 4519987"/>
              <a:gd name="connsiteY140" fmla="*/ 657225 h 4496940"/>
              <a:gd name="connsiteX141" fmla="*/ 840127 w 4519987"/>
              <a:gd name="connsiteY141" fmla="*/ 533400 h 4496940"/>
              <a:gd name="connsiteX142" fmla="*/ 887752 w 4519987"/>
              <a:gd name="connsiteY142" fmla="*/ 504825 h 4496940"/>
              <a:gd name="connsiteX143" fmla="*/ 1167152 w 4519987"/>
              <a:gd name="connsiteY143" fmla="*/ 311150 h 4496940"/>
              <a:gd name="connsiteX144" fmla="*/ 1268752 w 4519987"/>
              <a:gd name="connsiteY144" fmla="*/ 285750 h 4496940"/>
              <a:gd name="connsiteX145" fmla="*/ 1411627 w 4519987"/>
              <a:gd name="connsiteY145" fmla="*/ 190500 h 4496940"/>
              <a:gd name="connsiteX146" fmla="*/ 1449727 w 4519987"/>
              <a:gd name="connsiteY146" fmla="*/ 161925 h 4496940"/>
              <a:gd name="connsiteX147" fmla="*/ 1525927 w 4519987"/>
              <a:gd name="connsiteY147" fmla="*/ 152400 h 4496940"/>
              <a:gd name="connsiteX148" fmla="*/ 1583077 w 4519987"/>
              <a:gd name="connsiteY148" fmla="*/ 142875 h 4496940"/>
              <a:gd name="connsiteX149" fmla="*/ 1716427 w 4519987"/>
              <a:gd name="connsiteY149" fmla="*/ 123825 h 4496940"/>
              <a:gd name="connsiteX150" fmla="*/ 1811677 w 4519987"/>
              <a:gd name="connsiteY150" fmla="*/ 114300 h 4496940"/>
              <a:gd name="connsiteX151" fmla="*/ 1859302 w 4519987"/>
              <a:gd name="connsiteY151" fmla="*/ 104775 h 4496940"/>
              <a:gd name="connsiteX152" fmla="*/ 1916452 w 4519987"/>
              <a:gd name="connsiteY152" fmla="*/ 95250 h 4496940"/>
              <a:gd name="connsiteX153" fmla="*/ 2030752 w 4519987"/>
              <a:gd name="connsiteY153" fmla="*/ 66675 h 4496940"/>
              <a:gd name="connsiteX154" fmla="*/ 2097427 w 4519987"/>
              <a:gd name="connsiteY154" fmla="*/ 47625 h 4496940"/>
              <a:gd name="connsiteX155" fmla="*/ 2164102 w 4519987"/>
              <a:gd name="connsiteY155" fmla="*/ 38100 h 4496940"/>
              <a:gd name="connsiteX156" fmla="*/ 2392702 w 4519987"/>
              <a:gd name="connsiteY15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35777 w 4519987"/>
              <a:gd name="connsiteY29" fmla="*/ 933450 h 4496940"/>
              <a:gd name="connsiteX30" fmla="*/ 4164352 w 4519987"/>
              <a:gd name="connsiteY30" fmla="*/ 990600 h 4496940"/>
              <a:gd name="connsiteX31" fmla="*/ 4173877 w 4519987"/>
              <a:gd name="connsiteY31" fmla="*/ 1019175 h 4496940"/>
              <a:gd name="connsiteX32" fmla="*/ 4192927 w 4519987"/>
              <a:gd name="connsiteY32" fmla="*/ 1057275 h 4496940"/>
              <a:gd name="connsiteX33" fmla="*/ 4202452 w 4519987"/>
              <a:gd name="connsiteY33" fmla="*/ 1085850 h 4496940"/>
              <a:gd name="connsiteX34" fmla="*/ 4250077 w 4519987"/>
              <a:gd name="connsiteY34" fmla="*/ 1143000 h 4496940"/>
              <a:gd name="connsiteX35" fmla="*/ 4259602 w 4519987"/>
              <a:gd name="connsiteY35" fmla="*/ 1190625 h 4496940"/>
              <a:gd name="connsiteX36" fmla="*/ 4307227 w 4519987"/>
              <a:gd name="connsiteY36" fmla="*/ 1266825 h 4496940"/>
              <a:gd name="connsiteX37" fmla="*/ 4345327 w 4519987"/>
              <a:gd name="connsiteY37" fmla="*/ 1362075 h 4496940"/>
              <a:gd name="connsiteX38" fmla="*/ 4373902 w 4519987"/>
              <a:gd name="connsiteY38" fmla="*/ 1428750 h 4496940"/>
              <a:gd name="connsiteX39" fmla="*/ 4392952 w 4519987"/>
              <a:gd name="connsiteY39" fmla="*/ 1552575 h 4496940"/>
              <a:gd name="connsiteX40" fmla="*/ 4402477 w 4519987"/>
              <a:gd name="connsiteY40" fmla="*/ 1590675 h 4496940"/>
              <a:gd name="connsiteX41" fmla="*/ 4431052 w 4519987"/>
              <a:gd name="connsiteY41" fmla="*/ 1685925 h 4496940"/>
              <a:gd name="connsiteX42" fmla="*/ 4519952 w 4519987"/>
              <a:gd name="connsiteY42" fmla="*/ 2181225 h 4496940"/>
              <a:gd name="connsiteX43" fmla="*/ 4446927 w 4519987"/>
              <a:gd name="connsiteY43" fmla="*/ 2768600 h 4496940"/>
              <a:gd name="connsiteX44" fmla="*/ 4383427 w 4519987"/>
              <a:gd name="connsiteY44" fmla="*/ 2990850 h 4496940"/>
              <a:gd name="connsiteX45" fmla="*/ 4278652 w 4519987"/>
              <a:gd name="connsiteY45" fmla="*/ 3248025 h 4496940"/>
              <a:gd name="connsiteX46" fmla="*/ 4259602 w 4519987"/>
              <a:gd name="connsiteY46" fmla="*/ 3276600 h 4496940"/>
              <a:gd name="connsiteX47" fmla="*/ 4221502 w 4519987"/>
              <a:gd name="connsiteY47" fmla="*/ 3333750 h 4496940"/>
              <a:gd name="connsiteX48" fmla="*/ 4211977 w 4519987"/>
              <a:gd name="connsiteY48" fmla="*/ 3362325 h 4496940"/>
              <a:gd name="connsiteX49" fmla="*/ 4183402 w 4519987"/>
              <a:gd name="connsiteY49" fmla="*/ 3400425 h 4496940"/>
              <a:gd name="connsiteX50" fmla="*/ 4164352 w 4519987"/>
              <a:gd name="connsiteY50" fmla="*/ 3429000 h 4496940"/>
              <a:gd name="connsiteX51" fmla="*/ 4088152 w 4519987"/>
              <a:gd name="connsiteY51" fmla="*/ 3495675 h 4496940"/>
              <a:gd name="connsiteX52" fmla="*/ 4059577 w 4519987"/>
              <a:gd name="connsiteY52" fmla="*/ 3533775 h 4496940"/>
              <a:gd name="connsiteX53" fmla="*/ 4002427 w 4519987"/>
              <a:gd name="connsiteY53" fmla="*/ 3600450 h 4496940"/>
              <a:gd name="connsiteX54" fmla="*/ 3983377 w 4519987"/>
              <a:gd name="connsiteY54" fmla="*/ 3629025 h 4496940"/>
              <a:gd name="connsiteX55" fmla="*/ 3954802 w 4519987"/>
              <a:gd name="connsiteY55" fmla="*/ 3648075 h 4496940"/>
              <a:gd name="connsiteX56" fmla="*/ 3907177 w 4519987"/>
              <a:gd name="connsiteY56" fmla="*/ 3686175 h 4496940"/>
              <a:gd name="connsiteX57" fmla="*/ 3869077 w 4519987"/>
              <a:gd name="connsiteY57" fmla="*/ 3724275 h 4496940"/>
              <a:gd name="connsiteX58" fmla="*/ 3792877 w 4519987"/>
              <a:gd name="connsiteY58" fmla="*/ 3781425 h 4496940"/>
              <a:gd name="connsiteX59" fmla="*/ 3783352 w 4519987"/>
              <a:gd name="connsiteY59" fmla="*/ 3810000 h 4496940"/>
              <a:gd name="connsiteX60" fmla="*/ 3745252 w 4519987"/>
              <a:gd name="connsiteY60" fmla="*/ 3819525 h 4496940"/>
              <a:gd name="connsiteX61" fmla="*/ 3678577 w 4519987"/>
              <a:gd name="connsiteY61" fmla="*/ 3848100 h 4496940"/>
              <a:gd name="connsiteX62" fmla="*/ 3659527 w 4519987"/>
              <a:gd name="connsiteY62" fmla="*/ 3971925 h 4496940"/>
              <a:gd name="connsiteX63" fmla="*/ 3630952 w 4519987"/>
              <a:gd name="connsiteY63" fmla="*/ 4010025 h 4496940"/>
              <a:gd name="connsiteX64" fmla="*/ 3621427 w 4519987"/>
              <a:gd name="connsiteY64" fmla="*/ 4038600 h 4496940"/>
              <a:gd name="connsiteX65" fmla="*/ 3554752 w 4519987"/>
              <a:gd name="connsiteY65" fmla="*/ 4095750 h 4496940"/>
              <a:gd name="connsiteX66" fmla="*/ 3516652 w 4519987"/>
              <a:gd name="connsiteY66" fmla="*/ 4114800 h 4496940"/>
              <a:gd name="connsiteX67" fmla="*/ 3497602 w 4519987"/>
              <a:gd name="connsiteY67" fmla="*/ 4143375 h 4496940"/>
              <a:gd name="connsiteX68" fmla="*/ 3383302 w 4519987"/>
              <a:gd name="connsiteY68" fmla="*/ 4210050 h 4496940"/>
              <a:gd name="connsiteX69" fmla="*/ 3335677 w 4519987"/>
              <a:gd name="connsiteY69" fmla="*/ 4238625 h 4496940"/>
              <a:gd name="connsiteX70" fmla="*/ 3288052 w 4519987"/>
              <a:gd name="connsiteY70" fmla="*/ 4248150 h 4496940"/>
              <a:gd name="connsiteX71" fmla="*/ 3240427 w 4519987"/>
              <a:gd name="connsiteY71" fmla="*/ 4267200 h 4496940"/>
              <a:gd name="connsiteX72" fmla="*/ 3068977 w 4519987"/>
              <a:gd name="connsiteY72" fmla="*/ 4286250 h 4496940"/>
              <a:gd name="connsiteX73" fmla="*/ 2935627 w 4519987"/>
              <a:gd name="connsiteY73" fmla="*/ 4333875 h 4496940"/>
              <a:gd name="connsiteX74" fmla="*/ 2811802 w 4519987"/>
              <a:gd name="connsiteY74" fmla="*/ 4371975 h 4496940"/>
              <a:gd name="connsiteX75" fmla="*/ 2745127 w 4519987"/>
              <a:gd name="connsiteY75" fmla="*/ 4410075 h 4496940"/>
              <a:gd name="connsiteX76" fmla="*/ 2697502 w 4519987"/>
              <a:gd name="connsiteY76" fmla="*/ 4429125 h 4496940"/>
              <a:gd name="connsiteX77" fmla="*/ 2640352 w 4519987"/>
              <a:gd name="connsiteY77" fmla="*/ 4457700 h 4496940"/>
              <a:gd name="connsiteX78" fmla="*/ 2583202 w 4519987"/>
              <a:gd name="connsiteY78" fmla="*/ 4467225 h 4496940"/>
              <a:gd name="connsiteX79" fmla="*/ 2545102 w 4519987"/>
              <a:gd name="connsiteY79" fmla="*/ 4486275 h 4496940"/>
              <a:gd name="connsiteX80" fmla="*/ 2306977 w 4519987"/>
              <a:gd name="connsiteY80" fmla="*/ 4476750 h 4496940"/>
              <a:gd name="connsiteX81" fmla="*/ 2202202 w 4519987"/>
              <a:gd name="connsiteY81" fmla="*/ 4457700 h 4496940"/>
              <a:gd name="connsiteX82" fmla="*/ 2126002 w 4519987"/>
              <a:gd name="connsiteY82" fmla="*/ 4429125 h 4496940"/>
              <a:gd name="connsiteX83" fmla="*/ 1935502 w 4519987"/>
              <a:gd name="connsiteY83" fmla="*/ 4400550 h 4496940"/>
              <a:gd name="connsiteX84" fmla="*/ 1821202 w 4519987"/>
              <a:gd name="connsiteY84" fmla="*/ 4371975 h 4496940"/>
              <a:gd name="connsiteX85" fmla="*/ 1754527 w 4519987"/>
              <a:gd name="connsiteY85" fmla="*/ 4352925 h 4496940"/>
              <a:gd name="connsiteX86" fmla="*/ 1687852 w 4519987"/>
              <a:gd name="connsiteY86" fmla="*/ 4343400 h 4496940"/>
              <a:gd name="connsiteX87" fmla="*/ 1573552 w 4519987"/>
              <a:gd name="connsiteY87" fmla="*/ 4305300 h 4496940"/>
              <a:gd name="connsiteX88" fmla="*/ 1402102 w 4519987"/>
              <a:gd name="connsiteY88" fmla="*/ 4276725 h 4496940"/>
              <a:gd name="connsiteX89" fmla="*/ 1287802 w 4519987"/>
              <a:gd name="connsiteY89" fmla="*/ 4229100 h 4496940"/>
              <a:gd name="connsiteX90" fmla="*/ 1221127 w 4519987"/>
              <a:gd name="connsiteY90" fmla="*/ 4200525 h 4496940"/>
              <a:gd name="connsiteX91" fmla="*/ 1144927 w 4519987"/>
              <a:gd name="connsiteY91" fmla="*/ 4171950 h 4496940"/>
              <a:gd name="connsiteX92" fmla="*/ 1087777 w 4519987"/>
              <a:gd name="connsiteY92" fmla="*/ 4143375 h 4496940"/>
              <a:gd name="connsiteX93" fmla="*/ 1030627 w 4519987"/>
              <a:gd name="connsiteY93" fmla="*/ 4124325 h 4496940"/>
              <a:gd name="connsiteX94" fmla="*/ 925852 w 4519987"/>
              <a:gd name="connsiteY94" fmla="*/ 4067175 h 4496940"/>
              <a:gd name="connsiteX95" fmla="*/ 830602 w 4519987"/>
              <a:gd name="connsiteY95" fmla="*/ 3981450 h 4496940"/>
              <a:gd name="connsiteX96" fmla="*/ 763927 w 4519987"/>
              <a:gd name="connsiteY96" fmla="*/ 3914775 h 4496940"/>
              <a:gd name="connsiteX97" fmla="*/ 725827 w 4519987"/>
              <a:gd name="connsiteY97" fmla="*/ 3876675 h 4496940"/>
              <a:gd name="connsiteX98" fmla="*/ 697252 w 4519987"/>
              <a:gd name="connsiteY98" fmla="*/ 3838575 h 4496940"/>
              <a:gd name="connsiteX99" fmla="*/ 640102 w 4519987"/>
              <a:gd name="connsiteY99" fmla="*/ 3781425 h 4496940"/>
              <a:gd name="connsiteX100" fmla="*/ 611527 w 4519987"/>
              <a:gd name="connsiteY100" fmla="*/ 3733800 h 4496940"/>
              <a:gd name="connsiteX101" fmla="*/ 554377 w 4519987"/>
              <a:gd name="connsiteY101" fmla="*/ 3657600 h 4496940"/>
              <a:gd name="connsiteX102" fmla="*/ 525802 w 4519987"/>
              <a:gd name="connsiteY102" fmla="*/ 3609975 h 4496940"/>
              <a:gd name="connsiteX103" fmla="*/ 497227 w 4519987"/>
              <a:gd name="connsiteY103" fmla="*/ 3552825 h 4496940"/>
              <a:gd name="connsiteX104" fmla="*/ 440077 w 4519987"/>
              <a:gd name="connsiteY104" fmla="*/ 3495675 h 4496940"/>
              <a:gd name="connsiteX105" fmla="*/ 411502 w 4519987"/>
              <a:gd name="connsiteY105" fmla="*/ 3448050 h 4496940"/>
              <a:gd name="connsiteX106" fmla="*/ 278152 w 4519987"/>
              <a:gd name="connsiteY106" fmla="*/ 3257550 h 4496940"/>
              <a:gd name="connsiteX107" fmla="*/ 249577 w 4519987"/>
              <a:gd name="connsiteY107" fmla="*/ 3200400 h 4496940"/>
              <a:gd name="connsiteX108" fmla="*/ 240052 w 4519987"/>
              <a:gd name="connsiteY108" fmla="*/ 3162300 h 4496940"/>
              <a:gd name="connsiteX109" fmla="*/ 221002 w 4519987"/>
              <a:gd name="connsiteY109" fmla="*/ 3105150 h 4496940"/>
              <a:gd name="connsiteX110" fmla="*/ 173377 w 4519987"/>
              <a:gd name="connsiteY110" fmla="*/ 3019425 h 4496940"/>
              <a:gd name="connsiteX111" fmla="*/ 144802 w 4519987"/>
              <a:gd name="connsiteY111" fmla="*/ 2924175 h 4496940"/>
              <a:gd name="connsiteX112" fmla="*/ 68602 w 4519987"/>
              <a:gd name="connsiteY112" fmla="*/ 2724150 h 4496940"/>
              <a:gd name="connsiteX113" fmla="*/ 49552 w 4519987"/>
              <a:gd name="connsiteY113" fmla="*/ 2638425 h 4496940"/>
              <a:gd name="connsiteX114" fmla="*/ 40027 w 4519987"/>
              <a:gd name="connsiteY114" fmla="*/ 2562225 h 4496940"/>
              <a:gd name="connsiteX115" fmla="*/ 30502 w 4519987"/>
              <a:gd name="connsiteY115" fmla="*/ 2514600 h 4496940"/>
              <a:gd name="connsiteX116" fmla="*/ 11452 w 4519987"/>
              <a:gd name="connsiteY116" fmla="*/ 2400300 h 4496940"/>
              <a:gd name="connsiteX117" fmla="*/ 20977 w 4519987"/>
              <a:gd name="connsiteY117" fmla="*/ 1905000 h 4496940"/>
              <a:gd name="connsiteX118" fmla="*/ 30502 w 4519987"/>
              <a:gd name="connsiteY118" fmla="*/ 1838325 h 4496940"/>
              <a:gd name="connsiteX119" fmla="*/ 49552 w 4519987"/>
              <a:gd name="connsiteY119" fmla="*/ 1781175 h 4496940"/>
              <a:gd name="connsiteX120" fmla="*/ 59077 w 4519987"/>
              <a:gd name="connsiteY120" fmla="*/ 1743075 h 4496940"/>
              <a:gd name="connsiteX121" fmla="*/ 78127 w 4519987"/>
              <a:gd name="connsiteY121" fmla="*/ 1685925 h 4496940"/>
              <a:gd name="connsiteX122" fmla="*/ 87652 w 4519987"/>
              <a:gd name="connsiteY122" fmla="*/ 1638300 h 4496940"/>
              <a:gd name="connsiteX123" fmla="*/ 106702 w 4519987"/>
              <a:gd name="connsiteY123" fmla="*/ 1590675 h 4496940"/>
              <a:gd name="connsiteX124" fmla="*/ 135277 w 4519987"/>
              <a:gd name="connsiteY124" fmla="*/ 1504950 h 4496940"/>
              <a:gd name="connsiteX125" fmla="*/ 154327 w 4519987"/>
              <a:gd name="connsiteY125" fmla="*/ 1419225 h 4496940"/>
              <a:gd name="connsiteX126" fmla="*/ 230527 w 4519987"/>
              <a:gd name="connsiteY126" fmla="*/ 1276350 h 4496940"/>
              <a:gd name="connsiteX127" fmla="*/ 240052 w 4519987"/>
              <a:gd name="connsiteY127" fmla="*/ 1247775 h 4496940"/>
              <a:gd name="connsiteX128" fmla="*/ 268627 w 4519987"/>
              <a:gd name="connsiteY128" fmla="*/ 1200150 h 4496940"/>
              <a:gd name="connsiteX129" fmla="*/ 287677 w 4519987"/>
              <a:gd name="connsiteY129" fmla="*/ 1152525 h 4496940"/>
              <a:gd name="connsiteX130" fmla="*/ 316252 w 4519987"/>
              <a:gd name="connsiteY130" fmla="*/ 1114425 h 4496940"/>
              <a:gd name="connsiteX131" fmla="*/ 363877 w 4519987"/>
              <a:gd name="connsiteY131" fmla="*/ 1038225 h 4496940"/>
              <a:gd name="connsiteX132" fmla="*/ 382927 w 4519987"/>
              <a:gd name="connsiteY132" fmla="*/ 1009650 h 4496940"/>
              <a:gd name="connsiteX133" fmla="*/ 440077 w 4519987"/>
              <a:gd name="connsiteY133" fmla="*/ 904875 h 4496940"/>
              <a:gd name="connsiteX134" fmla="*/ 478177 w 4519987"/>
              <a:gd name="connsiteY134" fmla="*/ 857250 h 4496940"/>
              <a:gd name="connsiteX135" fmla="*/ 497227 w 4519987"/>
              <a:gd name="connsiteY135" fmla="*/ 828675 h 4496940"/>
              <a:gd name="connsiteX136" fmla="*/ 535327 w 4519987"/>
              <a:gd name="connsiteY136" fmla="*/ 800100 h 4496940"/>
              <a:gd name="connsiteX137" fmla="*/ 602002 w 4519987"/>
              <a:gd name="connsiteY137" fmla="*/ 733425 h 4496940"/>
              <a:gd name="connsiteX138" fmla="*/ 668677 w 4519987"/>
              <a:gd name="connsiteY138" fmla="*/ 676275 h 4496940"/>
              <a:gd name="connsiteX139" fmla="*/ 697252 w 4519987"/>
              <a:gd name="connsiteY139" fmla="*/ 657225 h 4496940"/>
              <a:gd name="connsiteX140" fmla="*/ 840127 w 4519987"/>
              <a:gd name="connsiteY140" fmla="*/ 533400 h 4496940"/>
              <a:gd name="connsiteX141" fmla="*/ 887752 w 4519987"/>
              <a:gd name="connsiteY141" fmla="*/ 504825 h 4496940"/>
              <a:gd name="connsiteX142" fmla="*/ 1167152 w 4519987"/>
              <a:gd name="connsiteY142" fmla="*/ 311150 h 4496940"/>
              <a:gd name="connsiteX143" fmla="*/ 1268752 w 4519987"/>
              <a:gd name="connsiteY143" fmla="*/ 285750 h 4496940"/>
              <a:gd name="connsiteX144" fmla="*/ 1411627 w 4519987"/>
              <a:gd name="connsiteY144" fmla="*/ 190500 h 4496940"/>
              <a:gd name="connsiteX145" fmla="*/ 1449727 w 4519987"/>
              <a:gd name="connsiteY145" fmla="*/ 161925 h 4496940"/>
              <a:gd name="connsiteX146" fmla="*/ 1525927 w 4519987"/>
              <a:gd name="connsiteY146" fmla="*/ 152400 h 4496940"/>
              <a:gd name="connsiteX147" fmla="*/ 1583077 w 4519987"/>
              <a:gd name="connsiteY147" fmla="*/ 142875 h 4496940"/>
              <a:gd name="connsiteX148" fmla="*/ 1716427 w 4519987"/>
              <a:gd name="connsiteY148" fmla="*/ 123825 h 4496940"/>
              <a:gd name="connsiteX149" fmla="*/ 1811677 w 4519987"/>
              <a:gd name="connsiteY149" fmla="*/ 114300 h 4496940"/>
              <a:gd name="connsiteX150" fmla="*/ 1859302 w 4519987"/>
              <a:gd name="connsiteY150" fmla="*/ 104775 h 4496940"/>
              <a:gd name="connsiteX151" fmla="*/ 1916452 w 4519987"/>
              <a:gd name="connsiteY151" fmla="*/ 95250 h 4496940"/>
              <a:gd name="connsiteX152" fmla="*/ 2030752 w 4519987"/>
              <a:gd name="connsiteY152" fmla="*/ 66675 h 4496940"/>
              <a:gd name="connsiteX153" fmla="*/ 2097427 w 4519987"/>
              <a:gd name="connsiteY153" fmla="*/ 47625 h 4496940"/>
              <a:gd name="connsiteX154" fmla="*/ 2164102 w 4519987"/>
              <a:gd name="connsiteY154" fmla="*/ 38100 h 4496940"/>
              <a:gd name="connsiteX155" fmla="*/ 2392702 w 4519987"/>
              <a:gd name="connsiteY15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907177 w 4519987"/>
              <a:gd name="connsiteY25" fmla="*/ 647700 h 4496940"/>
              <a:gd name="connsiteX26" fmla="*/ 3935752 w 4519987"/>
              <a:gd name="connsiteY26" fmla="*/ 676275 h 4496940"/>
              <a:gd name="connsiteX27" fmla="*/ 4078627 w 4519987"/>
              <a:gd name="connsiteY27" fmla="*/ 838200 h 4496940"/>
              <a:gd name="connsiteX28" fmla="*/ 4135777 w 4519987"/>
              <a:gd name="connsiteY28" fmla="*/ 933450 h 4496940"/>
              <a:gd name="connsiteX29" fmla="*/ 4164352 w 4519987"/>
              <a:gd name="connsiteY29" fmla="*/ 990600 h 4496940"/>
              <a:gd name="connsiteX30" fmla="*/ 4173877 w 4519987"/>
              <a:gd name="connsiteY30" fmla="*/ 1019175 h 4496940"/>
              <a:gd name="connsiteX31" fmla="*/ 4192927 w 4519987"/>
              <a:gd name="connsiteY31" fmla="*/ 1057275 h 4496940"/>
              <a:gd name="connsiteX32" fmla="*/ 4202452 w 4519987"/>
              <a:gd name="connsiteY32" fmla="*/ 1085850 h 4496940"/>
              <a:gd name="connsiteX33" fmla="*/ 4250077 w 4519987"/>
              <a:gd name="connsiteY33" fmla="*/ 1143000 h 4496940"/>
              <a:gd name="connsiteX34" fmla="*/ 4259602 w 4519987"/>
              <a:gd name="connsiteY34" fmla="*/ 1190625 h 4496940"/>
              <a:gd name="connsiteX35" fmla="*/ 4307227 w 4519987"/>
              <a:gd name="connsiteY35" fmla="*/ 1266825 h 4496940"/>
              <a:gd name="connsiteX36" fmla="*/ 4345327 w 4519987"/>
              <a:gd name="connsiteY36" fmla="*/ 1362075 h 4496940"/>
              <a:gd name="connsiteX37" fmla="*/ 4373902 w 4519987"/>
              <a:gd name="connsiteY37" fmla="*/ 1428750 h 4496940"/>
              <a:gd name="connsiteX38" fmla="*/ 4392952 w 4519987"/>
              <a:gd name="connsiteY38" fmla="*/ 1552575 h 4496940"/>
              <a:gd name="connsiteX39" fmla="*/ 4402477 w 4519987"/>
              <a:gd name="connsiteY39" fmla="*/ 1590675 h 4496940"/>
              <a:gd name="connsiteX40" fmla="*/ 4431052 w 4519987"/>
              <a:gd name="connsiteY40" fmla="*/ 1685925 h 4496940"/>
              <a:gd name="connsiteX41" fmla="*/ 4519952 w 4519987"/>
              <a:gd name="connsiteY41" fmla="*/ 2181225 h 4496940"/>
              <a:gd name="connsiteX42" fmla="*/ 4446927 w 4519987"/>
              <a:gd name="connsiteY42" fmla="*/ 2768600 h 4496940"/>
              <a:gd name="connsiteX43" fmla="*/ 4383427 w 4519987"/>
              <a:gd name="connsiteY43" fmla="*/ 2990850 h 4496940"/>
              <a:gd name="connsiteX44" fmla="*/ 4278652 w 4519987"/>
              <a:gd name="connsiteY44" fmla="*/ 3248025 h 4496940"/>
              <a:gd name="connsiteX45" fmla="*/ 4259602 w 4519987"/>
              <a:gd name="connsiteY45" fmla="*/ 3276600 h 4496940"/>
              <a:gd name="connsiteX46" fmla="*/ 4221502 w 4519987"/>
              <a:gd name="connsiteY46" fmla="*/ 3333750 h 4496940"/>
              <a:gd name="connsiteX47" fmla="*/ 4211977 w 4519987"/>
              <a:gd name="connsiteY47" fmla="*/ 3362325 h 4496940"/>
              <a:gd name="connsiteX48" fmla="*/ 4183402 w 4519987"/>
              <a:gd name="connsiteY48" fmla="*/ 3400425 h 4496940"/>
              <a:gd name="connsiteX49" fmla="*/ 4164352 w 4519987"/>
              <a:gd name="connsiteY49" fmla="*/ 3429000 h 4496940"/>
              <a:gd name="connsiteX50" fmla="*/ 4088152 w 4519987"/>
              <a:gd name="connsiteY50" fmla="*/ 3495675 h 4496940"/>
              <a:gd name="connsiteX51" fmla="*/ 4059577 w 4519987"/>
              <a:gd name="connsiteY51" fmla="*/ 3533775 h 4496940"/>
              <a:gd name="connsiteX52" fmla="*/ 4002427 w 4519987"/>
              <a:gd name="connsiteY52" fmla="*/ 3600450 h 4496940"/>
              <a:gd name="connsiteX53" fmla="*/ 3983377 w 4519987"/>
              <a:gd name="connsiteY53" fmla="*/ 3629025 h 4496940"/>
              <a:gd name="connsiteX54" fmla="*/ 3954802 w 4519987"/>
              <a:gd name="connsiteY54" fmla="*/ 3648075 h 4496940"/>
              <a:gd name="connsiteX55" fmla="*/ 3907177 w 4519987"/>
              <a:gd name="connsiteY55" fmla="*/ 3686175 h 4496940"/>
              <a:gd name="connsiteX56" fmla="*/ 3869077 w 4519987"/>
              <a:gd name="connsiteY56" fmla="*/ 3724275 h 4496940"/>
              <a:gd name="connsiteX57" fmla="*/ 3792877 w 4519987"/>
              <a:gd name="connsiteY57" fmla="*/ 3781425 h 4496940"/>
              <a:gd name="connsiteX58" fmla="*/ 3783352 w 4519987"/>
              <a:gd name="connsiteY58" fmla="*/ 3810000 h 4496940"/>
              <a:gd name="connsiteX59" fmla="*/ 3745252 w 4519987"/>
              <a:gd name="connsiteY59" fmla="*/ 3819525 h 4496940"/>
              <a:gd name="connsiteX60" fmla="*/ 3678577 w 4519987"/>
              <a:gd name="connsiteY60" fmla="*/ 3848100 h 4496940"/>
              <a:gd name="connsiteX61" fmla="*/ 3659527 w 4519987"/>
              <a:gd name="connsiteY61" fmla="*/ 3971925 h 4496940"/>
              <a:gd name="connsiteX62" fmla="*/ 3630952 w 4519987"/>
              <a:gd name="connsiteY62" fmla="*/ 4010025 h 4496940"/>
              <a:gd name="connsiteX63" fmla="*/ 3621427 w 4519987"/>
              <a:gd name="connsiteY63" fmla="*/ 4038600 h 4496940"/>
              <a:gd name="connsiteX64" fmla="*/ 3554752 w 4519987"/>
              <a:gd name="connsiteY64" fmla="*/ 4095750 h 4496940"/>
              <a:gd name="connsiteX65" fmla="*/ 3516652 w 4519987"/>
              <a:gd name="connsiteY65" fmla="*/ 4114800 h 4496940"/>
              <a:gd name="connsiteX66" fmla="*/ 3497602 w 4519987"/>
              <a:gd name="connsiteY66" fmla="*/ 4143375 h 4496940"/>
              <a:gd name="connsiteX67" fmla="*/ 3383302 w 4519987"/>
              <a:gd name="connsiteY67" fmla="*/ 4210050 h 4496940"/>
              <a:gd name="connsiteX68" fmla="*/ 3335677 w 4519987"/>
              <a:gd name="connsiteY68" fmla="*/ 4238625 h 4496940"/>
              <a:gd name="connsiteX69" fmla="*/ 3288052 w 4519987"/>
              <a:gd name="connsiteY69" fmla="*/ 4248150 h 4496940"/>
              <a:gd name="connsiteX70" fmla="*/ 3240427 w 4519987"/>
              <a:gd name="connsiteY70" fmla="*/ 4267200 h 4496940"/>
              <a:gd name="connsiteX71" fmla="*/ 3068977 w 4519987"/>
              <a:gd name="connsiteY71" fmla="*/ 4286250 h 4496940"/>
              <a:gd name="connsiteX72" fmla="*/ 2935627 w 4519987"/>
              <a:gd name="connsiteY72" fmla="*/ 4333875 h 4496940"/>
              <a:gd name="connsiteX73" fmla="*/ 2811802 w 4519987"/>
              <a:gd name="connsiteY73" fmla="*/ 4371975 h 4496940"/>
              <a:gd name="connsiteX74" fmla="*/ 2745127 w 4519987"/>
              <a:gd name="connsiteY74" fmla="*/ 4410075 h 4496940"/>
              <a:gd name="connsiteX75" fmla="*/ 2697502 w 4519987"/>
              <a:gd name="connsiteY75" fmla="*/ 4429125 h 4496940"/>
              <a:gd name="connsiteX76" fmla="*/ 2640352 w 4519987"/>
              <a:gd name="connsiteY76" fmla="*/ 4457700 h 4496940"/>
              <a:gd name="connsiteX77" fmla="*/ 2583202 w 4519987"/>
              <a:gd name="connsiteY77" fmla="*/ 4467225 h 4496940"/>
              <a:gd name="connsiteX78" fmla="*/ 2545102 w 4519987"/>
              <a:gd name="connsiteY78" fmla="*/ 4486275 h 4496940"/>
              <a:gd name="connsiteX79" fmla="*/ 2306977 w 4519987"/>
              <a:gd name="connsiteY79" fmla="*/ 4476750 h 4496940"/>
              <a:gd name="connsiteX80" fmla="*/ 2202202 w 4519987"/>
              <a:gd name="connsiteY80" fmla="*/ 4457700 h 4496940"/>
              <a:gd name="connsiteX81" fmla="*/ 2126002 w 4519987"/>
              <a:gd name="connsiteY81" fmla="*/ 4429125 h 4496940"/>
              <a:gd name="connsiteX82" fmla="*/ 1935502 w 4519987"/>
              <a:gd name="connsiteY82" fmla="*/ 4400550 h 4496940"/>
              <a:gd name="connsiteX83" fmla="*/ 1821202 w 4519987"/>
              <a:gd name="connsiteY83" fmla="*/ 4371975 h 4496940"/>
              <a:gd name="connsiteX84" fmla="*/ 1754527 w 4519987"/>
              <a:gd name="connsiteY84" fmla="*/ 4352925 h 4496940"/>
              <a:gd name="connsiteX85" fmla="*/ 1687852 w 4519987"/>
              <a:gd name="connsiteY85" fmla="*/ 4343400 h 4496940"/>
              <a:gd name="connsiteX86" fmla="*/ 1573552 w 4519987"/>
              <a:gd name="connsiteY86" fmla="*/ 4305300 h 4496940"/>
              <a:gd name="connsiteX87" fmla="*/ 1402102 w 4519987"/>
              <a:gd name="connsiteY87" fmla="*/ 4276725 h 4496940"/>
              <a:gd name="connsiteX88" fmla="*/ 1287802 w 4519987"/>
              <a:gd name="connsiteY88" fmla="*/ 4229100 h 4496940"/>
              <a:gd name="connsiteX89" fmla="*/ 1221127 w 4519987"/>
              <a:gd name="connsiteY89" fmla="*/ 4200525 h 4496940"/>
              <a:gd name="connsiteX90" fmla="*/ 1144927 w 4519987"/>
              <a:gd name="connsiteY90" fmla="*/ 4171950 h 4496940"/>
              <a:gd name="connsiteX91" fmla="*/ 1087777 w 4519987"/>
              <a:gd name="connsiteY91" fmla="*/ 4143375 h 4496940"/>
              <a:gd name="connsiteX92" fmla="*/ 1030627 w 4519987"/>
              <a:gd name="connsiteY92" fmla="*/ 4124325 h 4496940"/>
              <a:gd name="connsiteX93" fmla="*/ 925852 w 4519987"/>
              <a:gd name="connsiteY93" fmla="*/ 4067175 h 4496940"/>
              <a:gd name="connsiteX94" fmla="*/ 830602 w 4519987"/>
              <a:gd name="connsiteY94" fmla="*/ 3981450 h 4496940"/>
              <a:gd name="connsiteX95" fmla="*/ 763927 w 4519987"/>
              <a:gd name="connsiteY95" fmla="*/ 3914775 h 4496940"/>
              <a:gd name="connsiteX96" fmla="*/ 725827 w 4519987"/>
              <a:gd name="connsiteY96" fmla="*/ 3876675 h 4496940"/>
              <a:gd name="connsiteX97" fmla="*/ 697252 w 4519987"/>
              <a:gd name="connsiteY97" fmla="*/ 3838575 h 4496940"/>
              <a:gd name="connsiteX98" fmla="*/ 640102 w 4519987"/>
              <a:gd name="connsiteY98" fmla="*/ 3781425 h 4496940"/>
              <a:gd name="connsiteX99" fmla="*/ 611527 w 4519987"/>
              <a:gd name="connsiteY99" fmla="*/ 3733800 h 4496940"/>
              <a:gd name="connsiteX100" fmla="*/ 554377 w 4519987"/>
              <a:gd name="connsiteY100" fmla="*/ 3657600 h 4496940"/>
              <a:gd name="connsiteX101" fmla="*/ 525802 w 4519987"/>
              <a:gd name="connsiteY101" fmla="*/ 3609975 h 4496940"/>
              <a:gd name="connsiteX102" fmla="*/ 497227 w 4519987"/>
              <a:gd name="connsiteY102" fmla="*/ 3552825 h 4496940"/>
              <a:gd name="connsiteX103" fmla="*/ 440077 w 4519987"/>
              <a:gd name="connsiteY103" fmla="*/ 3495675 h 4496940"/>
              <a:gd name="connsiteX104" fmla="*/ 411502 w 4519987"/>
              <a:gd name="connsiteY104" fmla="*/ 3448050 h 4496940"/>
              <a:gd name="connsiteX105" fmla="*/ 278152 w 4519987"/>
              <a:gd name="connsiteY105" fmla="*/ 3257550 h 4496940"/>
              <a:gd name="connsiteX106" fmla="*/ 249577 w 4519987"/>
              <a:gd name="connsiteY106" fmla="*/ 3200400 h 4496940"/>
              <a:gd name="connsiteX107" fmla="*/ 240052 w 4519987"/>
              <a:gd name="connsiteY107" fmla="*/ 3162300 h 4496940"/>
              <a:gd name="connsiteX108" fmla="*/ 221002 w 4519987"/>
              <a:gd name="connsiteY108" fmla="*/ 3105150 h 4496940"/>
              <a:gd name="connsiteX109" fmla="*/ 173377 w 4519987"/>
              <a:gd name="connsiteY109" fmla="*/ 3019425 h 4496940"/>
              <a:gd name="connsiteX110" fmla="*/ 144802 w 4519987"/>
              <a:gd name="connsiteY110" fmla="*/ 2924175 h 4496940"/>
              <a:gd name="connsiteX111" fmla="*/ 68602 w 4519987"/>
              <a:gd name="connsiteY111" fmla="*/ 2724150 h 4496940"/>
              <a:gd name="connsiteX112" fmla="*/ 49552 w 4519987"/>
              <a:gd name="connsiteY112" fmla="*/ 2638425 h 4496940"/>
              <a:gd name="connsiteX113" fmla="*/ 40027 w 4519987"/>
              <a:gd name="connsiteY113" fmla="*/ 2562225 h 4496940"/>
              <a:gd name="connsiteX114" fmla="*/ 30502 w 4519987"/>
              <a:gd name="connsiteY114" fmla="*/ 2514600 h 4496940"/>
              <a:gd name="connsiteX115" fmla="*/ 11452 w 4519987"/>
              <a:gd name="connsiteY115" fmla="*/ 2400300 h 4496940"/>
              <a:gd name="connsiteX116" fmla="*/ 20977 w 4519987"/>
              <a:gd name="connsiteY116" fmla="*/ 1905000 h 4496940"/>
              <a:gd name="connsiteX117" fmla="*/ 30502 w 4519987"/>
              <a:gd name="connsiteY117" fmla="*/ 1838325 h 4496940"/>
              <a:gd name="connsiteX118" fmla="*/ 49552 w 4519987"/>
              <a:gd name="connsiteY118" fmla="*/ 1781175 h 4496940"/>
              <a:gd name="connsiteX119" fmla="*/ 59077 w 4519987"/>
              <a:gd name="connsiteY119" fmla="*/ 1743075 h 4496940"/>
              <a:gd name="connsiteX120" fmla="*/ 78127 w 4519987"/>
              <a:gd name="connsiteY120" fmla="*/ 1685925 h 4496940"/>
              <a:gd name="connsiteX121" fmla="*/ 87652 w 4519987"/>
              <a:gd name="connsiteY121" fmla="*/ 1638300 h 4496940"/>
              <a:gd name="connsiteX122" fmla="*/ 106702 w 4519987"/>
              <a:gd name="connsiteY122" fmla="*/ 1590675 h 4496940"/>
              <a:gd name="connsiteX123" fmla="*/ 135277 w 4519987"/>
              <a:gd name="connsiteY123" fmla="*/ 1504950 h 4496940"/>
              <a:gd name="connsiteX124" fmla="*/ 154327 w 4519987"/>
              <a:gd name="connsiteY124" fmla="*/ 1419225 h 4496940"/>
              <a:gd name="connsiteX125" fmla="*/ 230527 w 4519987"/>
              <a:gd name="connsiteY125" fmla="*/ 1276350 h 4496940"/>
              <a:gd name="connsiteX126" fmla="*/ 240052 w 4519987"/>
              <a:gd name="connsiteY126" fmla="*/ 1247775 h 4496940"/>
              <a:gd name="connsiteX127" fmla="*/ 268627 w 4519987"/>
              <a:gd name="connsiteY127" fmla="*/ 1200150 h 4496940"/>
              <a:gd name="connsiteX128" fmla="*/ 287677 w 4519987"/>
              <a:gd name="connsiteY128" fmla="*/ 1152525 h 4496940"/>
              <a:gd name="connsiteX129" fmla="*/ 316252 w 4519987"/>
              <a:gd name="connsiteY129" fmla="*/ 1114425 h 4496940"/>
              <a:gd name="connsiteX130" fmla="*/ 363877 w 4519987"/>
              <a:gd name="connsiteY130" fmla="*/ 1038225 h 4496940"/>
              <a:gd name="connsiteX131" fmla="*/ 382927 w 4519987"/>
              <a:gd name="connsiteY131" fmla="*/ 1009650 h 4496940"/>
              <a:gd name="connsiteX132" fmla="*/ 440077 w 4519987"/>
              <a:gd name="connsiteY132" fmla="*/ 904875 h 4496940"/>
              <a:gd name="connsiteX133" fmla="*/ 478177 w 4519987"/>
              <a:gd name="connsiteY133" fmla="*/ 857250 h 4496940"/>
              <a:gd name="connsiteX134" fmla="*/ 497227 w 4519987"/>
              <a:gd name="connsiteY134" fmla="*/ 828675 h 4496940"/>
              <a:gd name="connsiteX135" fmla="*/ 535327 w 4519987"/>
              <a:gd name="connsiteY135" fmla="*/ 800100 h 4496940"/>
              <a:gd name="connsiteX136" fmla="*/ 602002 w 4519987"/>
              <a:gd name="connsiteY136" fmla="*/ 733425 h 4496940"/>
              <a:gd name="connsiteX137" fmla="*/ 668677 w 4519987"/>
              <a:gd name="connsiteY137" fmla="*/ 676275 h 4496940"/>
              <a:gd name="connsiteX138" fmla="*/ 697252 w 4519987"/>
              <a:gd name="connsiteY138" fmla="*/ 657225 h 4496940"/>
              <a:gd name="connsiteX139" fmla="*/ 840127 w 4519987"/>
              <a:gd name="connsiteY139" fmla="*/ 533400 h 4496940"/>
              <a:gd name="connsiteX140" fmla="*/ 887752 w 4519987"/>
              <a:gd name="connsiteY140" fmla="*/ 504825 h 4496940"/>
              <a:gd name="connsiteX141" fmla="*/ 1167152 w 4519987"/>
              <a:gd name="connsiteY141" fmla="*/ 311150 h 4496940"/>
              <a:gd name="connsiteX142" fmla="*/ 1268752 w 4519987"/>
              <a:gd name="connsiteY142" fmla="*/ 285750 h 4496940"/>
              <a:gd name="connsiteX143" fmla="*/ 1411627 w 4519987"/>
              <a:gd name="connsiteY143" fmla="*/ 190500 h 4496940"/>
              <a:gd name="connsiteX144" fmla="*/ 1449727 w 4519987"/>
              <a:gd name="connsiteY144" fmla="*/ 161925 h 4496940"/>
              <a:gd name="connsiteX145" fmla="*/ 1525927 w 4519987"/>
              <a:gd name="connsiteY145" fmla="*/ 152400 h 4496940"/>
              <a:gd name="connsiteX146" fmla="*/ 1583077 w 4519987"/>
              <a:gd name="connsiteY146" fmla="*/ 142875 h 4496940"/>
              <a:gd name="connsiteX147" fmla="*/ 1716427 w 4519987"/>
              <a:gd name="connsiteY147" fmla="*/ 123825 h 4496940"/>
              <a:gd name="connsiteX148" fmla="*/ 1811677 w 4519987"/>
              <a:gd name="connsiteY148" fmla="*/ 114300 h 4496940"/>
              <a:gd name="connsiteX149" fmla="*/ 1859302 w 4519987"/>
              <a:gd name="connsiteY149" fmla="*/ 104775 h 4496940"/>
              <a:gd name="connsiteX150" fmla="*/ 1916452 w 4519987"/>
              <a:gd name="connsiteY150" fmla="*/ 95250 h 4496940"/>
              <a:gd name="connsiteX151" fmla="*/ 2030752 w 4519987"/>
              <a:gd name="connsiteY151" fmla="*/ 66675 h 4496940"/>
              <a:gd name="connsiteX152" fmla="*/ 2097427 w 4519987"/>
              <a:gd name="connsiteY152" fmla="*/ 47625 h 4496940"/>
              <a:gd name="connsiteX153" fmla="*/ 2164102 w 4519987"/>
              <a:gd name="connsiteY153" fmla="*/ 38100 h 4496940"/>
              <a:gd name="connsiteX154" fmla="*/ 2392702 w 4519987"/>
              <a:gd name="connsiteY15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907177 w 4519987"/>
              <a:gd name="connsiteY24" fmla="*/ 647700 h 4496940"/>
              <a:gd name="connsiteX25" fmla="*/ 3935752 w 4519987"/>
              <a:gd name="connsiteY25" fmla="*/ 676275 h 4496940"/>
              <a:gd name="connsiteX26" fmla="*/ 4078627 w 4519987"/>
              <a:gd name="connsiteY26" fmla="*/ 838200 h 4496940"/>
              <a:gd name="connsiteX27" fmla="*/ 4135777 w 4519987"/>
              <a:gd name="connsiteY27" fmla="*/ 933450 h 4496940"/>
              <a:gd name="connsiteX28" fmla="*/ 4164352 w 4519987"/>
              <a:gd name="connsiteY28" fmla="*/ 990600 h 4496940"/>
              <a:gd name="connsiteX29" fmla="*/ 4173877 w 4519987"/>
              <a:gd name="connsiteY29" fmla="*/ 1019175 h 4496940"/>
              <a:gd name="connsiteX30" fmla="*/ 4192927 w 4519987"/>
              <a:gd name="connsiteY30" fmla="*/ 1057275 h 4496940"/>
              <a:gd name="connsiteX31" fmla="*/ 4202452 w 4519987"/>
              <a:gd name="connsiteY31" fmla="*/ 1085850 h 4496940"/>
              <a:gd name="connsiteX32" fmla="*/ 4250077 w 4519987"/>
              <a:gd name="connsiteY32" fmla="*/ 1143000 h 4496940"/>
              <a:gd name="connsiteX33" fmla="*/ 4259602 w 4519987"/>
              <a:gd name="connsiteY33" fmla="*/ 1190625 h 4496940"/>
              <a:gd name="connsiteX34" fmla="*/ 4307227 w 4519987"/>
              <a:gd name="connsiteY34" fmla="*/ 1266825 h 4496940"/>
              <a:gd name="connsiteX35" fmla="*/ 4345327 w 4519987"/>
              <a:gd name="connsiteY35" fmla="*/ 1362075 h 4496940"/>
              <a:gd name="connsiteX36" fmla="*/ 4373902 w 4519987"/>
              <a:gd name="connsiteY36" fmla="*/ 1428750 h 4496940"/>
              <a:gd name="connsiteX37" fmla="*/ 4392952 w 4519987"/>
              <a:gd name="connsiteY37" fmla="*/ 1552575 h 4496940"/>
              <a:gd name="connsiteX38" fmla="*/ 4402477 w 4519987"/>
              <a:gd name="connsiteY38" fmla="*/ 1590675 h 4496940"/>
              <a:gd name="connsiteX39" fmla="*/ 4431052 w 4519987"/>
              <a:gd name="connsiteY39" fmla="*/ 1685925 h 4496940"/>
              <a:gd name="connsiteX40" fmla="*/ 4519952 w 4519987"/>
              <a:gd name="connsiteY40" fmla="*/ 2181225 h 4496940"/>
              <a:gd name="connsiteX41" fmla="*/ 4446927 w 4519987"/>
              <a:gd name="connsiteY41" fmla="*/ 2768600 h 4496940"/>
              <a:gd name="connsiteX42" fmla="*/ 4383427 w 4519987"/>
              <a:gd name="connsiteY42" fmla="*/ 2990850 h 4496940"/>
              <a:gd name="connsiteX43" fmla="*/ 4278652 w 4519987"/>
              <a:gd name="connsiteY43" fmla="*/ 3248025 h 4496940"/>
              <a:gd name="connsiteX44" fmla="*/ 4259602 w 4519987"/>
              <a:gd name="connsiteY44" fmla="*/ 3276600 h 4496940"/>
              <a:gd name="connsiteX45" fmla="*/ 4221502 w 4519987"/>
              <a:gd name="connsiteY45" fmla="*/ 3333750 h 4496940"/>
              <a:gd name="connsiteX46" fmla="*/ 4211977 w 4519987"/>
              <a:gd name="connsiteY46" fmla="*/ 3362325 h 4496940"/>
              <a:gd name="connsiteX47" fmla="*/ 4183402 w 4519987"/>
              <a:gd name="connsiteY47" fmla="*/ 3400425 h 4496940"/>
              <a:gd name="connsiteX48" fmla="*/ 4164352 w 4519987"/>
              <a:gd name="connsiteY48" fmla="*/ 3429000 h 4496940"/>
              <a:gd name="connsiteX49" fmla="*/ 4088152 w 4519987"/>
              <a:gd name="connsiteY49" fmla="*/ 3495675 h 4496940"/>
              <a:gd name="connsiteX50" fmla="*/ 4059577 w 4519987"/>
              <a:gd name="connsiteY50" fmla="*/ 3533775 h 4496940"/>
              <a:gd name="connsiteX51" fmla="*/ 4002427 w 4519987"/>
              <a:gd name="connsiteY51" fmla="*/ 3600450 h 4496940"/>
              <a:gd name="connsiteX52" fmla="*/ 3983377 w 4519987"/>
              <a:gd name="connsiteY52" fmla="*/ 3629025 h 4496940"/>
              <a:gd name="connsiteX53" fmla="*/ 3954802 w 4519987"/>
              <a:gd name="connsiteY53" fmla="*/ 3648075 h 4496940"/>
              <a:gd name="connsiteX54" fmla="*/ 3907177 w 4519987"/>
              <a:gd name="connsiteY54" fmla="*/ 3686175 h 4496940"/>
              <a:gd name="connsiteX55" fmla="*/ 3869077 w 4519987"/>
              <a:gd name="connsiteY55" fmla="*/ 3724275 h 4496940"/>
              <a:gd name="connsiteX56" fmla="*/ 3792877 w 4519987"/>
              <a:gd name="connsiteY56" fmla="*/ 3781425 h 4496940"/>
              <a:gd name="connsiteX57" fmla="*/ 3783352 w 4519987"/>
              <a:gd name="connsiteY57" fmla="*/ 3810000 h 4496940"/>
              <a:gd name="connsiteX58" fmla="*/ 3745252 w 4519987"/>
              <a:gd name="connsiteY58" fmla="*/ 3819525 h 4496940"/>
              <a:gd name="connsiteX59" fmla="*/ 3678577 w 4519987"/>
              <a:gd name="connsiteY59" fmla="*/ 3848100 h 4496940"/>
              <a:gd name="connsiteX60" fmla="*/ 3659527 w 4519987"/>
              <a:gd name="connsiteY60" fmla="*/ 3971925 h 4496940"/>
              <a:gd name="connsiteX61" fmla="*/ 3630952 w 4519987"/>
              <a:gd name="connsiteY61" fmla="*/ 4010025 h 4496940"/>
              <a:gd name="connsiteX62" fmla="*/ 3621427 w 4519987"/>
              <a:gd name="connsiteY62" fmla="*/ 4038600 h 4496940"/>
              <a:gd name="connsiteX63" fmla="*/ 3554752 w 4519987"/>
              <a:gd name="connsiteY63" fmla="*/ 4095750 h 4496940"/>
              <a:gd name="connsiteX64" fmla="*/ 3516652 w 4519987"/>
              <a:gd name="connsiteY64" fmla="*/ 4114800 h 4496940"/>
              <a:gd name="connsiteX65" fmla="*/ 3497602 w 4519987"/>
              <a:gd name="connsiteY65" fmla="*/ 4143375 h 4496940"/>
              <a:gd name="connsiteX66" fmla="*/ 3383302 w 4519987"/>
              <a:gd name="connsiteY66" fmla="*/ 4210050 h 4496940"/>
              <a:gd name="connsiteX67" fmla="*/ 3335677 w 4519987"/>
              <a:gd name="connsiteY67" fmla="*/ 4238625 h 4496940"/>
              <a:gd name="connsiteX68" fmla="*/ 3288052 w 4519987"/>
              <a:gd name="connsiteY68" fmla="*/ 4248150 h 4496940"/>
              <a:gd name="connsiteX69" fmla="*/ 3240427 w 4519987"/>
              <a:gd name="connsiteY69" fmla="*/ 4267200 h 4496940"/>
              <a:gd name="connsiteX70" fmla="*/ 3068977 w 4519987"/>
              <a:gd name="connsiteY70" fmla="*/ 4286250 h 4496940"/>
              <a:gd name="connsiteX71" fmla="*/ 2935627 w 4519987"/>
              <a:gd name="connsiteY71" fmla="*/ 4333875 h 4496940"/>
              <a:gd name="connsiteX72" fmla="*/ 2811802 w 4519987"/>
              <a:gd name="connsiteY72" fmla="*/ 4371975 h 4496940"/>
              <a:gd name="connsiteX73" fmla="*/ 2745127 w 4519987"/>
              <a:gd name="connsiteY73" fmla="*/ 4410075 h 4496940"/>
              <a:gd name="connsiteX74" fmla="*/ 2697502 w 4519987"/>
              <a:gd name="connsiteY74" fmla="*/ 4429125 h 4496940"/>
              <a:gd name="connsiteX75" fmla="*/ 2640352 w 4519987"/>
              <a:gd name="connsiteY75" fmla="*/ 4457700 h 4496940"/>
              <a:gd name="connsiteX76" fmla="*/ 2583202 w 4519987"/>
              <a:gd name="connsiteY76" fmla="*/ 4467225 h 4496940"/>
              <a:gd name="connsiteX77" fmla="*/ 2545102 w 4519987"/>
              <a:gd name="connsiteY77" fmla="*/ 4486275 h 4496940"/>
              <a:gd name="connsiteX78" fmla="*/ 2306977 w 4519987"/>
              <a:gd name="connsiteY78" fmla="*/ 4476750 h 4496940"/>
              <a:gd name="connsiteX79" fmla="*/ 2202202 w 4519987"/>
              <a:gd name="connsiteY79" fmla="*/ 4457700 h 4496940"/>
              <a:gd name="connsiteX80" fmla="*/ 2126002 w 4519987"/>
              <a:gd name="connsiteY80" fmla="*/ 4429125 h 4496940"/>
              <a:gd name="connsiteX81" fmla="*/ 1935502 w 4519987"/>
              <a:gd name="connsiteY81" fmla="*/ 4400550 h 4496940"/>
              <a:gd name="connsiteX82" fmla="*/ 1821202 w 4519987"/>
              <a:gd name="connsiteY82" fmla="*/ 4371975 h 4496940"/>
              <a:gd name="connsiteX83" fmla="*/ 1754527 w 4519987"/>
              <a:gd name="connsiteY83" fmla="*/ 4352925 h 4496940"/>
              <a:gd name="connsiteX84" fmla="*/ 1687852 w 4519987"/>
              <a:gd name="connsiteY84" fmla="*/ 4343400 h 4496940"/>
              <a:gd name="connsiteX85" fmla="*/ 1573552 w 4519987"/>
              <a:gd name="connsiteY85" fmla="*/ 4305300 h 4496940"/>
              <a:gd name="connsiteX86" fmla="*/ 1402102 w 4519987"/>
              <a:gd name="connsiteY86" fmla="*/ 4276725 h 4496940"/>
              <a:gd name="connsiteX87" fmla="*/ 1287802 w 4519987"/>
              <a:gd name="connsiteY87" fmla="*/ 4229100 h 4496940"/>
              <a:gd name="connsiteX88" fmla="*/ 1221127 w 4519987"/>
              <a:gd name="connsiteY88" fmla="*/ 4200525 h 4496940"/>
              <a:gd name="connsiteX89" fmla="*/ 1144927 w 4519987"/>
              <a:gd name="connsiteY89" fmla="*/ 4171950 h 4496940"/>
              <a:gd name="connsiteX90" fmla="*/ 1087777 w 4519987"/>
              <a:gd name="connsiteY90" fmla="*/ 4143375 h 4496940"/>
              <a:gd name="connsiteX91" fmla="*/ 1030627 w 4519987"/>
              <a:gd name="connsiteY91" fmla="*/ 4124325 h 4496940"/>
              <a:gd name="connsiteX92" fmla="*/ 925852 w 4519987"/>
              <a:gd name="connsiteY92" fmla="*/ 4067175 h 4496940"/>
              <a:gd name="connsiteX93" fmla="*/ 830602 w 4519987"/>
              <a:gd name="connsiteY93" fmla="*/ 3981450 h 4496940"/>
              <a:gd name="connsiteX94" fmla="*/ 763927 w 4519987"/>
              <a:gd name="connsiteY94" fmla="*/ 3914775 h 4496940"/>
              <a:gd name="connsiteX95" fmla="*/ 725827 w 4519987"/>
              <a:gd name="connsiteY95" fmla="*/ 3876675 h 4496940"/>
              <a:gd name="connsiteX96" fmla="*/ 697252 w 4519987"/>
              <a:gd name="connsiteY96" fmla="*/ 3838575 h 4496940"/>
              <a:gd name="connsiteX97" fmla="*/ 640102 w 4519987"/>
              <a:gd name="connsiteY97" fmla="*/ 3781425 h 4496940"/>
              <a:gd name="connsiteX98" fmla="*/ 611527 w 4519987"/>
              <a:gd name="connsiteY98" fmla="*/ 3733800 h 4496940"/>
              <a:gd name="connsiteX99" fmla="*/ 554377 w 4519987"/>
              <a:gd name="connsiteY99" fmla="*/ 3657600 h 4496940"/>
              <a:gd name="connsiteX100" fmla="*/ 525802 w 4519987"/>
              <a:gd name="connsiteY100" fmla="*/ 3609975 h 4496940"/>
              <a:gd name="connsiteX101" fmla="*/ 497227 w 4519987"/>
              <a:gd name="connsiteY101" fmla="*/ 3552825 h 4496940"/>
              <a:gd name="connsiteX102" fmla="*/ 440077 w 4519987"/>
              <a:gd name="connsiteY102" fmla="*/ 3495675 h 4496940"/>
              <a:gd name="connsiteX103" fmla="*/ 411502 w 4519987"/>
              <a:gd name="connsiteY103" fmla="*/ 3448050 h 4496940"/>
              <a:gd name="connsiteX104" fmla="*/ 278152 w 4519987"/>
              <a:gd name="connsiteY104" fmla="*/ 3257550 h 4496940"/>
              <a:gd name="connsiteX105" fmla="*/ 249577 w 4519987"/>
              <a:gd name="connsiteY105" fmla="*/ 3200400 h 4496940"/>
              <a:gd name="connsiteX106" fmla="*/ 240052 w 4519987"/>
              <a:gd name="connsiteY106" fmla="*/ 3162300 h 4496940"/>
              <a:gd name="connsiteX107" fmla="*/ 221002 w 4519987"/>
              <a:gd name="connsiteY107" fmla="*/ 3105150 h 4496940"/>
              <a:gd name="connsiteX108" fmla="*/ 173377 w 4519987"/>
              <a:gd name="connsiteY108" fmla="*/ 3019425 h 4496940"/>
              <a:gd name="connsiteX109" fmla="*/ 144802 w 4519987"/>
              <a:gd name="connsiteY109" fmla="*/ 2924175 h 4496940"/>
              <a:gd name="connsiteX110" fmla="*/ 68602 w 4519987"/>
              <a:gd name="connsiteY110" fmla="*/ 2724150 h 4496940"/>
              <a:gd name="connsiteX111" fmla="*/ 49552 w 4519987"/>
              <a:gd name="connsiteY111" fmla="*/ 2638425 h 4496940"/>
              <a:gd name="connsiteX112" fmla="*/ 40027 w 4519987"/>
              <a:gd name="connsiteY112" fmla="*/ 2562225 h 4496940"/>
              <a:gd name="connsiteX113" fmla="*/ 30502 w 4519987"/>
              <a:gd name="connsiteY113" fmla="*/ 2514600 h 4496940"/>
              <a:gd name="connsiteX114" fmla="*/ 11452 w 4519987"/>
              <a:gd name="connsiteY114" fmla="*/ 2400300 h 4496940"/>
              <a:gd name="connsiteX115" fmla="*/ 20977 w 4519987"/>
              <a:gd name="connsiteY115" fmla="*/ 1905000 h 4496940"/>
              <a:gd name="connsiteX116" fmla="*/ 30502 w 4519987"/>
              <a:gd name="connsiteY116" fmla="*/ 1838325 h 4496940"/>
              <a:gd name="connsiteX117" fmla="*/ 49552 w 4519987"/>
              <a:gd name="connsiteY117" fmla="*/ 1781175 h 4496940"/>
              <a:gd name="connsiteX118" fmla="*/ 59077 w 4519987"/>
              <a:gd name="connsiteY118" fmla="*/ 1743075 h 4496940"/>
              <a:gd name="connsiteX119" fmla="*/ 78127 w 4519987"/>
              <a:gd name="connsiteY119" fmla="*/ 1685925 h 4496940"/>
              <a:gd name="connsiteX120" fmla="*/ 87652 w 4519987"/>
              <a:gd name="connsiteY120" fmla="*/ 1638300 h 4496940"/>
              <a:gd name="connsiteX121" fmla="*/ 106702 w 4519987"/>
              <a:gd name="connsiteY121" fmla="*/ 1590675 h 4496940"/>
              <a:gd name="connsiteX122" fmla="*/ 135277 w 4519987"/>
              <a:gd name="connsiteY122" fmla="*/ 1504950 h 4496940"/>
              <a:gd name="connsiteX123" fmla="*/ 154327 w 4519987"/>
              <a:gd name="connsiteY123" fmla="*/ 1419225 h 4496940"/>
              <a:gd name="connsiteX124" fmla="*/ 230527 w 4519987"/>
              <a:gd name="connsiteY124" fmla="*/ 1276350 h 4496940"/>
              <a:gd name="connsiteX125" fmla="*/ 240052 w 4519987"/>
              <a:gd name="connsiteY125" fmla="*/ 1247775 h 4496940"/>
              <a:gd name="connsiteX126" fmla="*/ 268627 w 4519987"/>
              <a:gd name="connsiteY126" fmla="*/ 1200150 h 4496940"/>
              <a:gd name="connsiteX127" fmla="*/ 287677 w 4519987"/>
              <a:gd name="connsiteY127" fmla="*/ 1152525 h 4496940"/>
              <a:gd name="connsiteX128" fmla="*/ 316252 w 4519987"/>
              <a:gd name="connsiteY128" fmla="*/ 1114425 h 4496940"/>
              <a:gd name="connsiteX129" fmla="*/ 363877 w 4519987"/>
              <a:gd name="connsiteY129" fmla="*/ 1038225 h 4496940"/>
              <a:gd name="connsiteX130" fmla="*/ 382927 w 4519987"/>
              <a:gd name="connsiteY130" fmla="*/ 1009650 h 4496940"/>
              <a:gd name="connsiteX131" fmla="*/ 440077 w 4519987"/>
              <a:gd name="connsiteY131" fmla="*/ 904875 h 4496940"/>
              <a:gd name="connsiteX132" fmla="*/ 478177 w 4519987"/>
              <a:gd name="connsiteY132" fmla="*/ 857250 h 4496940"/>
              <a:gd name="connsiteX133" fmla="*/ 497227 w 4519987"/>
              <a:gd name="connsiteY133" fmla="*/ 828675 h 4496940"/>
              <a:gd name="connsiteX134" fmla="*/ 535327 w 4519987"/>
              <a:gd name="connsiteY134" fmla="*/ 800100 h 4496940"/>
              <a:gd name="connsiteX135" fmla="*/ 602002 w 4519987"/>
              <a:gd name="connsiteY135" fmla="*/ 733425 h 4496940"/>
              <a:gd name="connsiteX136" fmla="*/ 668677 w 4519987"/>
              <a:gd name="connsiteY136" fmla="*/ 676275 h 4496940"/>
              <a:gd name="connsiteX137" fmla="*/ 697252 w 4519987"/>
              <a:gd name="connsiteY137" fmla="*/ 657225 h 4496940"/>
              <a:gd name="connsiteX138" fmla="*/ 840127 w 4519987"/>
              <a:gd name="connsiteY138" fmla="*/ 533400 h 4496940"/>
              <a:gd name="connsiteX139" fmla="*/ 887752 w 4519987"/>
              <a:gd name="connsiteY139" fmla="*/ 504825 h 4496940"/>
              <a:gd name="connsiteX140" fmla="*/ 1167152 w 4519987"/>
              <a:gd name="connsiteY140" fmla="*/ 311150 h 4496940"/>
              <a:gd name="connsiteX141" fmla="*/ 1268752 w 4519987"/>
              <a:gd name="connsiteY141" fmla="*/ 285750 h 4496940"/>
              <a:gd name="connsiteX142" fmla="*/ 1411627 w 4519987"/>
              <a:gd name="connsiteY142" fmla="*/ 190500 h 4496940"/>
              <a:gd name="connsiteX143" fmla="*/ 1449727 w 4519987"/>
              <a:gd name="connsiteY143" fmla="*/ 161925 h 4496940"/>
              <a:gd name="connsiteX144" fmla="*/ 1525927 w 4519987"/>
              <a:gd name="connsiteY144" fmla="*/ 152400 h 4496940"/>
              <a:gd name="connsiteX145" fmla="*/ 1583077 w 4519987"/>
              <a:gd name="connsiteY145" fmla="*/ 142875 h 4496940"/>
              <a:gd name="connsiteX146" fmla="*/ 1716427 w 4519987"/>
              <a:gd name="connsiteY146" fmla="*/ 123825 h 4496940"/>
              <a:gd name="connsiteX147" fmla="*/ 1811677 w 4519987"/>
              <a:gd name="connsiteY147" fmla="*/ 114300 h 4496940"/>
              <a:gd name="connsiteX148" fmla="*/ 1859302 w 4519987"/>
              <a:gd name="connsiteY148" fmla="*/ 104775 h 4496940"/>
              <a:gd name="connsiteX149" fmla="*/ 1916452 w 4519987"/>
              <a:gd name="connsiteY149" fmla="*/ 95250 h 4496940"/>
              <a:gd name="connsiteX150" fmla="*/ 2030752 w 4519987"/>
              <a:gd name="connsiteY150" fmla="*/ 66675 h 4496940"/>
              <a:gd name="connsiteX151" fmla="*/ 2097427 w 4519987"/>
              <a:gd name="connsiteY151" fmla="*/ 47625 h 4496940"/>
              <a:gd name="connsiteX152" fmla="*/ 2164102 w 4519987"/>
              <a:gd name="connsiteY152" fmla="*/ 38100 h 4496940"/>
              <a:gd name="connsiteX153" fmla="*/ 2392702 w 4519987"/>
              <a:gd name="connsiteY15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02377 w 4519987"/>
              <a:gd name="connsiteY18" fmla="*/ 457200 h 4496940"/>
              <a:gd name="connsiteX19" fmla="*/ 3630952 w 4519987"/>
              <a:gd name="connsiteY19" fmla="*/ 485775 h 4496940"/>
              <a:gd name="connsiteX20" fmla="*/ 3678577 w 4519987"/>
              <a:gd name="connsiteY20" fmla="*/ 504825 h 4496940"/>
              <a:gd name="connsiteX21" fmla="*/ 3745252 w 4519987"/>
              <a:gd name="connsiteY21" fmla="*/ 542925 h 4496940"/>
              <a:gd name="connsiteX22" fmla="*/ 3811927 w 4519987"/>
              <a:gd name="connsiteY22" fmla="*/ 581025 h 4496940"/>
              <a:gd name="connsiteX23" fmla="*/ 3907177 w 4519987"/>
              <a:gd name="connsiteY23" fmla="*/ 647700 h 4496940"/>
              <a:gd name="connsiteX24" fmla="*/ 3935752 w 4519987"/>
              <a:gd name="connsiteY24" fmla="*/ 676275 h 4496940"/>
              <a:gd name="connsiteX25" fmla="*/ 4078627 w 4519987"/>
              <a:gd name="connsiteY25" fmla="*/ 838200 h 4496940"/>
              <a:gd name="connsiteX26" fmla="*/ 4135777 w 4519987"/>
              <a:gd name="connsiteY26" fmla="*/ 933450 h 4496940"/>
              <a:gd name="connsiteX27" fmla="*/ 4164352 w 4519987"/>
              <a:gd name="connsiteY27" fmla="*/ 990600 h 4496940"/>
              <a:gd name="connsiteX28" fmla="*/ 4173877 w 4519987"/>
              <a:gd name="connsiteY28" fmla="*/ 1019175 h 4496940"/>
              <a:gd name="connsiteX29" fmla="*/ 4192927 w 4519987"/>
              <a:gd name="connsiteY29" fmla="*/ 1057275 h 4496940"/>
              <a:gd name="connsiteX30" fmla="*/ 4202452 w 4519987"/>
              <a:gd name="connsiteY30" fmla="*/ 1085850 h 4496940"/>
              <a:gd name="connsiteX31" fmla="*/ 4250077 w 4519987"/>
              <a:gd name="connsiteY31" fmla="*/ 1143000 h 4496940"/>
              <a:gd name="connsiteX32" fmla="*/ 4259602 w 4519987"/>
              <a:gd name="connsiteY32" fmla="*/ 1190625 h 4496940"/>
              <a:gd name="connsiteX33" fmla="*/ 4307227 w 4519987"/>
              <a:gd name="connsiteY33" fmla="*/ 1266825 h 4496940"/>
              <a:gd name="connsiteX34" fmla="*/ 4345327 w 4519987"/>
              <a:gd name="connsiteY34" fmla="*/ 1362075 h 4496940"/>
              <a:gd name="connsiteX35" fmla="*/ 4373902 w 4519987"/>
              <a:gd name="connsiteY35" fmla="*/ 1428750 h 4496940"/>
              <a:gd name="connsiteX36" fmla="*/ 4392952 w 4519987"/>
              <a:gd name="connsiteY36" fmla="*/ 1552575 h 4496940"/>
              <a:gd name="connsiteX37" fmla="*/ 4402477 w 4519987"/>
              <a:gd name="connsiteY37" fmla="*/ 1590675 h 4496940"/>
              <a:gd name="connsiteX38" fmla="*/ 4431052 w 4519987"/>
              <a:gd name="connsiteY38" fmla="*/ 1685925 h 4496940"/>
              <a:gd name="connsiteX39" fmla="*/ 4519952 w 4519987"/>
              <a:gd name="connsiteY39" fmla="*/ 2181225 h 4496940"/>
              <a:gd name="connsiteX40" fmla="*/ 4446927 w 4519987"/>
              <a:gd name="connsiteY40" fmla="*/ 2768600 h 4496940"/>
              <a:gd name="connsiteX41" fmla="*/ 4383427 w 4519987"/>
              <a:gd name="connsiteY41" fmla="*/ 2990850 h 4496940"/>
              <a:gd name="connsiteX42" fmla="*/ 4278652 w 4519987"/>
              <a:gd name="connsiteY42" fmla="*/ 3248025 h 4496940"/>
              <a:gd name="connsiteX43" fmla="*/ 4259602 w 4519987"/>
              <a:gd name="connsiteY43" fmla="*/ 3276600 h 4496940"/>
              <a:gd name="connsiteX44" fmla="*/ 4221502 w 4519987"/>
              <a:gd name="connsiteY44" fmla="*/ 3333750 h 4496940"/>
              <a:gd name="connsiteX45" fmla="*/ 4211977 w 4519987"/>
              <a:gd name="connsiteY45" fmla="*/ 3362325 h 4496940"/>
              <a:gd name="connsiteX46" fmla="*/ 4183402 w 4519987"/>
              <a:gd name="connsiteY46" fmla="*/ 3400425 h 4496940"/>
              <a:gd name="connsiteX47" fmla="*/ 4164352 w 4519987"/>
              <a:gd name="connsiteY47" fmla="*/ 3429000 h 4496940"/>
              <a:gd name="connsiteX48" fmla="*/ 4088152 w 4519987"/>
              <a:gd name="connsiteY48" fmla="*/ 3495675 h 4496940"/>
              <a:gd name="connsiteX49" fmla="*/ 4059577 w 4519987"/>
              <a:gd name="connsiteY49" fmla="*/ 3533775 h 4496940"/>
              <a:gd name="connsiteX50" fmla="*/ 4002427 w 4519987"/>
              <a:gd name="connsiteY50" fmla="*/ 3600450 h 4496940"/>
              <a:gd name="connsiteX51" fmla="*/ 3983377 w 4519987"/>
              <a:gd name="connsiteY51" fmla="*/ 3629025 h 4496940"/>
              <a:gd name="connsiteX52" fmla="*/ 3954802 w 4519987"/>
              <a:gd name="connsiteY52" fmla="*/ 3648075 h 4496940"/>
              <a:gd name="connsiteX53" fmla="*/ 3907177 w 4519987"/>
              <a:gd name="connsiteY53" fmla="*/ 3686175 h 4496940"/>
              <a:gd name="connsiteX54" fmla="*/ 3869077 w 4519987"/>
              <a:gd name="connsiteY54" fmla="*/ 3724275 h 4496940"/>
              <a:gd name="connsiteX55" fmla="*/ 3792877 w 4519987"/>
              <a:gd name="connsiteY55" fmla="*/ 3781425 h 4496940"/>
              <a:gd name="connsiteX56" fmla="*/ 3783352 w 4519987"/>
              <a:gd name="connsiteY56" fmla="*/ 3810000 h 4496940"/>
              <a:gd name="connsiteX57" fmla="*/ 3745252 w 4519987"/>
              <a:gd name="connsiteY57" fmla="*/ 3819525 h 4496940"/>
              <a:gd name="connsiteX58" fmla="*/ 3678577 w 4519987"/>
              <a:gd name="connsiteY58" fmla="*/ 3848100 h 4496940"/>
              <a:gd name="connsiteX59" fmla="*/ 3659527 w 4519987"/>
              <a:gd name="connsiteY59" fmla="*/ 3971925 h 4496940"/>
              <a:gd name="connsiteX60" fmla="*/ 3630952 w 4519987"/>
              <a:gd name="connsiteY60" fmla="*/ 4010025 h 4496940"/>
              <a:gd name="connsiteX61" fmla="*/ 3621427 w 4519987"/>
              <a:gd name="connsiteY61" fmla="*/ 4038600 h 4496940"/>
              <a:gd name="connsiteX62" fmla="*/ 3554752 w 4519987"/>
              <a:gd name="connsiteY62" fmla="*/ 4095750 h 4496940"/>
              <a:gd name="connsiteX63" fmla="*/ 3516652 w 4519987"/>
              <a:gd name="connsiteY63" fmla="*/ 4114800 h 4496940"/>
              <a:gd name="connsiteX64" fmla="*/ 3497602 w 4519987"/>
              <a:gd name="connsiteY64" fmla="*/ 4143375 h 4496940"/>
              <a:gd name="connsiteX65" fmla="*/ 3383302 w 4519987"/>
              <a:gd name="connsiteY65" fmla="*/ 4210050 h 4496940"/>
              <a:gd name="connsiteX66" fmla="*/ 3335677 w 4519987"/>
              <a:gd name="connsiteY66" fmla="*/ 4238625 h 4496940"/>
              <a:gd name="connsiteX67" fmla="*/ 3288052 w 4519987"/>
              <a:gd name="connsiteY67" fmla="*/ 4248150 h 4496940"/>
              <a:gd name="connsiteX68" fmla="*/ 3240427 w 4519987"/>
              <a:gd name="connsiteY68" fmla="*/ 4267200 h 4496940"/>
              <a:gd name="connsiteX69" fmla="*/ 3068977 w 4519987"/>
              <a:gd name="connsiteY69" fmla="*/ 4286250 h 4496940"/>
              <a:gd name="connsiteX70" fmla="*/ 2935627 w 4519987"/>
              <a:gd name="connsiteY70" fmla="*/ 4333875 h 4496940"/>
              <a:gd name="connsiteX71" fmla="*/ 2811802 w 4519987"/>
              <a:gd name="connsiteY71" fmla="*/ 4371975 h 4496940"/>
              <a:gd name="connsiteX72" fmla="*/ 2745127 w 4519987"/>
              <a:gd name="connsiteY72" fmla="*/ 4410075 h 4496940"/>
              <a:gd name="connsiteX73" fmla="*/ 2697502 w 4519987"/>
              <a:gd name="connsiteY73" fmla="*/ 4429125 h 4496940"/>
              <a:gd name="connsiteX74" fmla="*/ 2640352 w 4519987"/>
              <a:gd name="connsiteY74" fmla="*/ 4457700 h 4496940"/>
              <a:gd name="connsiteX75" fmla="*/ 2583202 w 4519987"/>
              <a:gd name="connsiteY75" fmla="*/ 4467225 h 4496940"/>
              <a:gd name="connsiteX76" fmla="*/ 2545102 w 4519987"/>
              <a:gd name="connsiteY76" fmla="*/ 4486275 h 4496940"/>
              <a:gd name="connsiteX77" fmla="*/ 2306977 w 4519987"/>
              <a:gd name="connsiteY77" fmla="*/ 4476750 h 4496940"/>
              <a:gd name="connsiteX78" fmla="*/ 2202202 w 4519987"/>
              <a:gd name="connsiteY78" fmla="*/ 4457700 h 4496940"/>
              <a:gd name="connsiteX79" fmla="*/ 2126002 w 4519987"/>
              <a:gd name="connsiteY79" fmla="*/ 4429125 h 4496940"/>
              <a:gd name="connsiteX80" fmla="*/ 1935502 w 4519987"/>
              <a:gd name="connsiteY80" fmla="*/ 4400550 h 4496940"/>
              <a:gd name="connsiteX81" fmla="*/ 1821202 w 4519987"/>
              <a:gd name="connsiteY81" fmla="*/ 4371975 h 4496940"/>
              <a:gd name="connsiteX82" fmla="*/ 1754527 w 4519987"/>
              <a:gd name="connsiteY82" fmla="*/ 4352925 h 4496940"/>
              <a:gd name="connsiteX83" fmla="*/ 1687852 w 4519987"/>
              <a:gd name="connsiteY83" fmla="*/ 4343400 h 4496940"/>
              <a:gd name="connsiteX84" fmla="*/ 1573552 w 4519987"/>
              <a:gd name="connsiteY84" fmla="*/ 4305300 h 4496940"/>
              <a:gd name="connsiteX85" fmla="*/ 1402102 w 4519987"/>
              <a:gd name="connsiteY85" fmla="*/ 4276725 h 4496940"/>
              <a:gd name="connsiteX86" fmla="*/ 1287802 w 4519987"/>
              <a:gd name="connsiteY86" fmla="*/ 4229100 h 4496940"/>
              <a:gd name="connsiteX87" fmla="*/ 1221127 w 4519987"/>
              <a:gd name="connsiteY87" fmla="*/ 4200525 h 4496940"/>
              <a:gd name="connsiteX88" fmla="*/ 1144927 w 4519987"/>
              <a:gd name="connsiteY88" fmla="*/ 4171950 h 4496940"/>
              <a:gd name="connsiteX89" fmla="*/ 1087777 w 4519987"/>
              <a:gd name="connsiteY89" fmla="*/ 4143375 h 4496940"/>
              <a:gd name="connsiteX90" fmla="*/ 1030627 w 4519987"/>
              <a:gd name="connsiteY90" fmla="*/ 4124325 h 4496940"/>
              <a:gd name="connsiteX91" fmla="*/ 925852 w 4519987"/>
              <a:gd name="connsiteY91" fmla="*/ 4067175 h 4496940"/>
              <a:gd name="connsiteX92" fmla="*/ 830602 w 4519987"/>
              <a:gd name="connsiteY92" fmla="*/ 3981450 h 4496940"/>
              <a:gd name="connsiteX93" fmla="*/ 763927 w 4519987"/>
              <a:gd name="connsiteY93" fmla="*/ 3914775 h 4496940"/>
              <a:gd name="connsiteX94" fmla="*/ 725827 w 4519987"/>
              <a:gd name="connsiteY94" fmla="*/ 3876675 h 4496940"/>
              <a:gd name="connsiteX95" fmla="*/ 697252 w 4519987"/>
              <a:gd name="connsiteY95" fmla="*/ 3838575 h 4496940"/>
              <a:gd name="connsiteX96" fmla="*/ 640102 w 4519987"/>
              <a:gd name="connsiteY96" fmla="*/ 3781425 h 4496940"/>
              <a:gd name="connsiteX97" fmla="*/ 611527 w 4519987"/>
              <a:gd name="connsiteY97" fmla="*/ 3733800 h 4496940"/>
              <a:gd name="connsiteX98" fmla="*/ 554377 w 4519987"/>
              <a:gd name="connsiteY98" fmla="*/ 3657600 h 4496940"/>
              <a:gd name="connsiteX99" fmla="*/ 525802 w 4519987"/>
              <a:gd name="connsiteY99" fmla="*/ 3609975 h 4496940"/>
              <a:gd name="connsiteX100" fmla="*/ 497227 w 4519987"/>
              <a:gd name="connsiteY100" fmla="*/ 3552825 h 4496940"/>
              <a:gd name="connsiteX101" fmla="*/ 440077 w 4519987"/>
              <a:gd name="connsiteY101" fmla="*/ 3495675 h 4496940"/>
              <a:gd name="connsiteX102" fmla="*/ 411502 w 4519987"/>
              <a:gd name="connsiteY102" fmla="*/ 3448050 h 4496940"/>
              <a:gd name="connsiteX103" fmla="*/ 278152 w 4519987"/>
              <a:gd name="connsiteY103" fmla="*/ 3257550 h 4496940"/>
              <a:gd name="connsiteX104" fmla="*/ 249577 w 4519987"/>
              <a:gd name="connsiteY104" fmla="*/ 3200400 h 4496940"/>
              <a:gd name="connsiteX105" fmla="*/ 240052 w 4519987"/>
              <a:gd name="connsiteY105" fmla="*/ 3162300 h 4496940"/>
              <a:gd name="connsiteX106" fmla="*/ 221002 w 4519987"/>
              <a:gd name="connsiteY106" fmla="*/ 3105150 h 4496940"/>
              <a:gd name="connsiteX107" fmla="*/ 173377 w 4519987"/>
              <a:gd name="connsiteY107" fmla="*/ 3019425 h 4496940"/>
              <a:gd name="connsiteX108" fmla="*/ 144802 w 4519987"/>
              <a:gd name="connsiteY108" fmla="*/ 2924175 h 4496940"/>
              <a:gd name="connsiteX109" fmla="*/ 68602 w 4519987"/>
              <a:gd name="connsiteY109" fmla="*/ 2724150 h 4496940"/>
              <a:gd name="connsiteX110" fmla="*/ 49552 w 4519987"/>
              <a:gd name="connsiteY110" fmla="*/ 2638425 h 4496940"/>
              <a:gd name="connsiteX111" fmla="*/ 40027 w 4519987"/>
              <a:gd name="connsiteY111" fmla="*/ 2562225 h 4496940"/>
              <a:gd name="connsiteX112" fmla="*/ 30502 w 4519987"/>
              <a:gd name="connsiteY112" fmla="*/ 2514600 h 4496940"/>
              <a:gd name="connsiteX113" fmla="*/ 11452 w 4519987"/>
              <a:gd name="connsiteY113" fmla="*/ 2400300 h 4496940"/>
              <a:gd name="connsiteX114" fmla="*/ 20977 w 4519987"/>
              <a:gd name="connsiteY114" fmla="*/ 1905000 h 4496940"/>
              <a:gd name="connsiteX115" fmla="*/ 30502 w 4519987"/>
              <a:gd name="connsiteY115" fmla="*/ 1838325 h 4496940"/>
              <a:gd name="connsiteX116" fmla="*/ 49552 w 4519987"/>
              <a:gd name="connsiteY116" fmla="*/ 1781175 h 4496940"/>
              <a:gd name="connsiteX117" fmla="*/ 59077 w 4519987"/>
              <a:gd name="connsiteY117" fmla="*/ 1743075 h 4496940"/>
              <a:gd name="connsiteX118" fmla="*/ 78127 w 4519987"/>
              <a:gd name="connsiteY118" fmla="*/ 1685925 h 4496940"/>
              <a:gd name="connsiteX119" fmla="*/ 87652 w 4519987"/>
              <a:gd name="connsiteY119" fmla="*/ 1638300 h 4496940"/>
              <a:gd name="connsiteX120" fmla="*/ 106702 w 4519987"/>
              <a:gd name="connsiteY120" fmla="*/ 1590675 h 4496940"/>
              <a:gd name="connsiteX121" fmla="*/ 135277 w 4519987"/>
              <a:gd name="connsiteY121" fmla="*/ 1504950 h 4496940"/>
              <a:gd name="connsiteX122" fmla="*/ 154327 w 4519987"/>
              <a:gd name="connsiteY122" fmla="*/ 1419225 h 4496940"/>
              <a:gd name="connsiteX123" fmla="*/ 230527 w 4519987"/>
              <a:gd name="connsiteY123" fmla="*/ 1276350 h 4496940"/>
              <a:gd name="connsiteX124" fmla="*/ 240052 w 4519987"/>
              <a:gd name="connsiteY124" fmla="*/ 1247775 h 4496940"/>
              <a:gd name="connsiteX125" fmla="*/ 268627 w 4519987"/>
              <a:gd name="connsiteY125" fmla="*/ 1200150 h 4496940"/>
              <a:gd name="connsiteX126" fmla="*/ 287677 w 4519987"/>
              <a:gd name="connsiteY126" fmla="*/ 1152525 h 4496940"/>
              <a:gd name="connsiteX127" fmla="*/ 316252 w 4519987"/>
              <a:gd name="connsiteY127" fmla="*/ 1114425 h 4496940"/>
              <a:gd name="connsiteX128" fmla="*/ 363877 w 4519987"/>
              <a:gd name="connsiteY128" fmla="*/ 1038225 h 4496940"/>
              <a:gd name="connsiteX129" fmla="*/ 382927 w 4519987"/>
              <a:gd name="connsiteY129" fmla="*/ 1009650 h 4496940"/>
              <a:gd name="connsiteX130" fmla="*/ 440077 w 4519987"/>
              <a:gd name="connsiteY130" fmla="*/ 904875 h 4496940"/>
              <a:gd name="connsiteX131" fmla="*/ 478177 w 4519987"/>
              <a:gd name="connsiteY131" fmla="*/ 857250 h 4496940"/>
              <a:gd name="connsiteX132" fmla="*/ 497227 w 4519987"/>
              <a:gd name="connsiteY132" fmla="*/ 828675 h 4496940"/>
              <a:gd name="connsiteX133" fmla="*/ 535327 w 4519987"/>
              <a:gd name="connsiteY133" fmla="*/ 800100 h 4496940"/>
              <a:gd name="connsiteX134" fmla="*/ 602002 w 4519987"/>
              <a:gd name="connsiteY134" fmla="*/ 733425 h 4496940"/>
              <a:gd name="connsiteX135" fmla="*/ 668677 w 4519987"/>
              <a:gd name="connsiteY135" fmla="*/ 676275 h 4496940"/>
              <a:gd name="connsiteX136" fmla="*/ 697252 w 4519987"/>
              <a:gd name="connsiteY136" fmla="*/ 657225 h 4496940"/>
              <a:gd name="connsiteX137" fmla="*/ 840127 w 4519987"/>
              <a:gd name="connsiteY137" fmla="*/ 533400 h 4496940"/>
              <a:gd name="connsiteX138" fmla="*/ 887752 w 4519987"/>
              <a:gd name="connsiteY138" fmla="*/ 504825 h 4496940"/>
              <a:gd name="connsiteX139" fmla="*/ 1167152 w 4519987"/>
              <a:gd name="connsiteY139" fmla="*/ 311150 h 4496940"/>
              <a:gd name="connsiteX140" fmla="*/ 1268752 w 4519987"/>
              <a:gd name="connsiteY140" fmla="*/ 285750 h 4496940"/>
              <a:gd name="connsiteX141" fmla="*/ 1411627 w 4519987"/>
              <a:gd name="connsiteY141" fmla="*/ 190500 h 4496940"/>
              <a:gd name="connsiteX142" fmla="*/ 1449727 w 4519987"/>
              <a:gd name="connsiteY142" fmla="*/ 161925 h 4496940"/>
              <a:gd name="connsiteX143" fmla="*/ 1525927 w 4519987"/>
              <a:gd name="connsiteY143" fmla="*/ 152400 h 4496940"/>
              <a:gd name="connsiteX144" fmla="*/ 1583077 w 4519987"/>
              <a:gd name="connsiteY144" fmla="*/ 142875 h 4496940"/>
              <a:gd name="connsiteX145" fmla="*/ 1716427 w 4519987"/>
              <a:gd name="connsiteY145" fmla="*/ 123825 h 4496940"/>
              <a:gd name="connsiteX146" fmla="*/ 1811677 w 4519987"/>
              <a:gd name="connsiteY146" fmla="*/ 114300 h 4496940"/>
              <a:gd name="connsiteX147" fmla="*/ 1859302 w 4519987"/>
              <a:gd name="connsiteY147" fmla="*/ 104775 h 4496940"/>
              <a:gd name="connsiteX148" fmla="*/ 1916452 w 4519987"/>
              <a:gd name="connsiteY148" fmla="*/ 95250 h 4496940"/>
              <a:gd name="connsiteX149" fmla="*/ 2030752 w 4519987"/>
              <a:gd name="connsiteY149" fmla="*/ 66675 h 4496940"/>
              <a:gd name="connsiteX150" fmla="*/ 2097427 w 4519987"/>
              <a:gd name="connsiteY150" fmla="*/ 47625 h 4496940"/>
              <a:gd name="connsiteX151" fmla="*/ 2164102 w 4519987"/>
              <a:gd name="connsiteY151" fmla="*/ 38100 h 4496940"/>
              <a:gd name="connsiteX152" fmla="*/ 2392702 w 4519987"/>
              <a:gd name="connsiteY15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02377 w 4519987"/>
              <a:gd name="connsiteY18" fmla="*/ 457200 h 4496940"/>
              <a:gd name="connsiteX19" fmla="*/ 3630952 w 4519987"/>
              <a:gd name="connsiteY19" fmla="*/ 485775 h 4496940"/>
              <a:gd name="connsiteX20" fmla="*/ 3745252 w 4519987"/>
              <a:gd name="connsiteY20" fmla="*/ 542925 h 4496940"/>
              <a:gd name="connsiteX21" fmla="*/ 3811927 w 4519987"/>
              <a:gd name="connsiteY21" fmla="*/ 581025 h 4496940"/>
              <a:gd name="connsiteX22" fmla="*/ 3907177 w 4519987"/>
              <a:gd name="connsiteY22" fmla="*/ 647700 h 4496940"/>
              <a:gd name="connsiteX23" fmla="*/ 3935752 w 4519987"/>
              <a:gd name="connsiteY23" fmla="*/ 676275 h 4496940"/>
              <a:gd name="connsiteX24" fmla="*/ 4078627 w 4519987"/>
              <a:gd name="connsiteY24" fmla="*/ 838200 h 4496940"/>
              <a:gd name="connsiteX25" fmla="*/ 4135777 w 4519987"/>
              <a:gd name="connsiteY25" fmla="*/ 933450 h 4496940"/>
              <a:gd name="connsiteX26" fmla="*/ 4164352 w 4519987"/>
              <a:gd name="connsiteY26" fmla="*/ 990600 h 4496940"/>
              <a:gd name="connsiteX27" fmla="*/ 4173877 w 4519987"/>
              <a:gd name="connsiteY27" fmla="*/ 1019175 h 4496940"/>
              <a:gd name="connsiteX28" fmla="*/ 4192927 w 4519987"/>
              <a:gd name="connsiteY28" fmla="*/ 1057275 h 4496940"/>
              <a:gd name="connsiteX29" fmla="*/ 4202452 w 4519987"/>
              <a:gd name="connsiteY29" fmla="*/ 1085850 h 4496940"/>
              <a:gd name="connsiteX30" fmla="*/ 4250077 w 4519987"/>
              <a:gd name="connsiteY30" fmla="*/ 1143000 h 4496940"/>
              <a:gd name="connsiteX31" fmla="*/ 4259602 w 4519987"/>
              <a:gd name="connsiteY31" fmla="*/ 1190625 h 4496940"/>
              <a:gd name="connsiteX32" fmla="*/ 4307227 w 4519987"/>
              <a:gd name="connsiteY32" fmla="*/ 1266825 h 4496940"/>
              <a:gd name="connsiteX33" fmla="*/ 4345327 w 4519987"/>
              <a:gd name="connsiteY33" fmla="*/ 1362075 h 4496940"/>
              <a:gd name="connsiteX34" fmla="*/ 4373902 w 4519987"/>
              <a:gd name="connsiteY34" fmla="*/ 1428750 h 4496940"/>
              <a:gd name="connsiteX35" fmla="*/ 4392952 w 4519987"/>
              <a:gd name="connsiteY35" fmla="*/ 1552575 h 4496940"/>
              <a:gd name="connsiteX36" fmla="*/ 4402477 w 4519987"/>
              <a:gd name="connsiteY36" fmla="*/ 1590675 h 4496940"/>
              <a:gd name="connsiteX37" fmla="*/ 4431052 w 4519987"/>
              <a:gd name="connsiteY37" fmla="*/ 1685925 h 4496940"/>
              <a:gd name="connsiteX38" fmla="*/ 4519952 w 4519987"/>
              <a:gd name="connsiteY38" fmla="*/ 2181225 h 4496940"/>
              <a:gd name="connsiteX39" fmla="*/ 4446927 w 4519987"/>
              <a:gd name="connsiteY39" fmla="*/ 2768600 h 4496940"/>
              <a:gd name="connsiteX40" fmla="*/ 4383427 w 4519987"/>
              <a:gd name="connsiteY40" fmla="*/ 2990850 h 4496940"/>
              <a:gd name="connsiteX41" fmla="*/ 4278652 w 4519987"/>
              <a:gd name="connsiteY41" fmla="*/ 3248025 h 4496940"/>
              <a:gd name="connsiteX42" fmla="*/ 4259602 w 4519987"/>
              <a:gd name="connsiteY42" fmla="*/ 3276600 h 4496940"/>
              <a:gd name="connsiteX43" fmla="*/ 4221502 w 4519987"/>
              <a:gd name="connsiteY43" fmla="*/ 3333750 h 4496940"/>
              <a:gd name="connsiteX44" fmla="*/ 4211977 w 4519987"/>
              <a:gd name="connsiteY44" fmla="*/ 3362325 h 4496940"/>
              <a:gd name="connsiteX45" fmla="*/ 4183402 w 4519987"/>
              <a:gd name="connsiteY45" fmla="*/ 3400425 h 4496940"/>
              <a:gd name="connsiteX46" fmla="*/ 4164352 w 4519987"/>
              <a:gd name="connsiteY46" fmla="*/ 3429000 h 4496940"/>
              <a:gd name="connsiteX47" fmla="*/ 4088152 w 4519987"/>
              <a:gd name="connsiteY47" fmla="*/ 3495675 h 4496940"/>
              <a:gd name="connsiteX48" fmla="*/ 4059577 w 4519987"/>
              <a:gd name="connsiteY48" fmla="*/ 3533775 h 4496940"/>
              <a:gd name="connsiteX49" fmla="*/ 4002427 w 4519987"/>
              <a:gd name="connsiteY49" fmla="*/ 3600450 h 4496940"/>
              <a:gd name="connsiteX50" fmla="*/ 3983377 w 4519987"/>
              <a:gd name="connsiteY50" fmla="*/ 3629025 h 4496940"/>
              <a:gd name="connsiteX51" fmla="*/ 3954802 w 4519987"/>
              <a:gd name="connsiteY51" fmla="*/ 3648075 h 4496940"/>
              <a:gd name="connsiteX52" fmla="*/ 3907177 w 4519987"/>
              <a:gd name="connsiteY52" fmla="*/ 3686175 h 4496940"/>
              <a:gd name="connsiteX53" fmla="*/ 3869077 w 4519987"/>
              <a:gd name="connsiteY53" fmla="*/ 3724275 h 4496940"/>
              <a:gd name="connsiteX54" fmla="*/ 3792877 w 4519987"/>
              <a:gd name="connsiteY54" fmla="*/ 3781425 h 4496940"/>
              <a:gd name="connsiteX55" fmla="*/ 3783352 w 4519987"/>
              <a:gd name="connsiteY55" fmla="*/ 3810000 h 4496940"/>
              <a:gd name="connsiteX56" fmla="*/ 3745252 w 4519987"/>
              <a:gd name="connsiteY56" fmla="*/ 3819525 h 4496940"/>
              <a:gd name="connsiteX57" fmla="*/ 3678577 w 4519987"/>
              <a:gd name="connsiteY57" fmla="*/ 3848100 h 4496940"/>
              <a:gd name="connsiteX58" fmla="*/ 3659527 w 4519987"/>
              <a:gd name="connsiteY58" fmla="*/ 3971925 h 4496940"/>
              <a:gd name="connsiteX59" fmla="*/ 3630952 w 4519987"/>
              <a:gd name="connsiteY59" fmla="*/ 4010025 h 4496940"/>
              <a:gd name="connsiteX60" fmla="*/ 3621427 w 4519987"/>
              <a:gd name="connsiteY60" fmla="*/ 4038600 h 4496940"/>
              <a:gd name="connsiteX61" fmla="*/ 3554752 w 4519987"/>
              <a:gd name="connsiteY61" fmla="*/ 4095750 h 4496940"/>
              <a:gd name="connsiteX62" fmla="*/ 3516652 w 4519987"/>
              <a:gd name="connsiteY62" fmla="*/ 4114800 h 4496940"/>
              <a:gd name="connsiteX63" fmla="*/ 3497602 w 4519987"/>
              <a:gd name="connsiteY63" fmla="*/ 4143375 h 4496940"/>
              <a:gd name="connsiteX64" fmla="*/ 3383302 w 4519987"/>
              <a:gd name="connsiteY64" fmla="*/ 4210050 h 4496940"/>
              <a:gd name="connsiteX65" fmla="*/ 3335677 w 4519987"/>
              <a:gd name="connsiteY65" fmla="*/ 4238625 h 4496940"/>
              <a:gd name="connsiteX66" fmla="*/ 3288052 w 4519987"/>
              <a:gd name="connsiteY66" fmla="*/ 4248150 h 4496940"/>
              <a:gd name="connsiteX67" fmla="*/ 3240427 w 4519987"/>
              <a:gd name="connsiteY67" fmla="*/ 4267200 h 4496940"/>
              <a:gd name="connsiteX68" fmla="*/ 3068977 w 4519987"/>
              <a:gd name="connsiteY68" fmla="*/ 4286250 h 4496940"/>
              <a:gd name="connsiteX69" fmla="*/ 2935627 w 4519987"/>
              <a:gd name="connsiteY69" fmla="*/ 4333875 h 4496940"/>
              <a:gd name="connsiteX70" fmla="*/ 2811802 w 4519987"/>
              <a:gd name="connsiteY70" fmla="*/ 4371975 h 4496940"/>
              <a:gd name="connsiteX71" fmla="*/ 2745127 w 4519987"/>
              <a:gd name="connsiteY71" fmla="*/ 4410075 h 4496940"/>
              <a:gd name="connsiteX72" fmla="*/ 2697502 w 4519987"/>
              <a:gd name="connsiteY72" fmla="*/ 4429125 h 4496940"/>
              <a:gd name="connsiteX73" fmla="*/ 2640352 w 4519987"/>
              <a:gd name="connsiteY73" fmla="*/ 4457700 h 4496940"/>
              <a:gd name="connsiteX74" fmla="*/ 2583202 w 4519987"/>
              <a:gd name="connsiteY74" fmla="*/ 4467225 h 4496940"/>
              <a:gd name="connsiteX75" fmla="*/ 2545102 w 4519987"/>
              <a:gd name="connsiteY75" fmla="*/ 4486275 h 4496940"/>
              <a:gd name="connsiteX76" fmla="*/ 2306977 w 4519987"/>
              <a:gd name="connsiteY76" fmla="*/ 4476750 h 4496940"/>
              <a:gd name="connsiteX77" fmla="*/ 2202202 w 4519987"/>
              <a:gd name="connsiteY77" fmla="*/ 4457700 h 4496940"/>
              <a:gd name="connsiteX78" fmla="*/ 2126002 w 4519987"/>
              <a:gd name="connsiteY78" fmla="*/ 4429125 h 4496940"/>
              <a:gd name="connsiteX79" fmla="*/ 1935502 w 4519987"/>
              <a:gd name="connsiteY79" fmla="*/ 4400550 h 4496940"/>
              <a:gd name="connsiteX80" fmla="*/ 1821202 w 4519987"/>
              <a:gd name="connsiteY80" fmla="*/ 4371975 h 4496940"/>
              <a:gd name="connsiteX81" fmla="*/ 1754527 w 4519987"/>
              <a:gd name="connsiteY81" fmla="*/ 4352925 h 4496940"/>
              <a:gd name="connsiteX82" fmla="*/ 1687852 w 4519987"/>
              <a:gd name="connsiteY82" fmla="*/ 4343400 h 4496940"/>
              <a:gd name="connsiteX83" fmla="*/ 1573552 w 4519987"/>
              <a:gd name="connsiteY83" fmla="*/ 4305300 h 4496940"/>
              <a:gd name="connsiteX84" fmla="*/ 1402102 w 4519987"/>
              <a:gd name="connsiteY84" fmla="*/ 4276725 h 4496940"/>
              <a:gd name="connsiteX85" fmla="*/ 1287802 w 4519987"/>
              <a:gd name="connsiteY85" fmla="*/ 4229100 h 4496940"/>
              <a:gd name="connsiteX86" fmla="*/ 1221127 w 4519987"/>
              <a:gd name="connsiteY86" fmla="*/ 4200525 h 4496940"/>
              <a:gd name="connsiteX87" fmla="*/ 1144927 w 4519987"/>
              <a:gd name="connsiteY87" fmla="*/ 4171950 h 4496940"/>
              <a:gd name="connsiteX88" fmla="*/ 1087777 w 4519987"/>
              <a:gd name="connsiteY88" fmla="*/ 4143375 h 4496940"/>
              <a:gd name="connsiteX89" fmla="*/ 1030627 w 4519987"/>
              <a:gd name="connsiteY89" fmla="*/ 4124325 h 4496940"/>
              <a:gd name="connsiteX90" fmla="*/ 925852 w 4519987"/>
              <a:gd name="connsiteY90" fmla="*/ 4067175 h 4496940"/>
              <a:gd name="connsiteX91" fmla="*/ 830602 w 4519987"/>
              <a:gd name="connsiteY91" fmla="*/ 3981450 h 4496940"/>
              <a:gd name="connsiteX92" fmla="*/ 763927 w 4519987"/>
              <a:gd name="connsiteY92" fmla="*/ 3914775 h 4496940"/>
              <a:gd name="connsiteX93" fmla="*/ 725827 w 4519987"/>
              <a:gd name="connsiteY93" fmla="*/ 3876675 h 4496940"/>
              <a:gd name="connsiteX94" fmla="*/ 697252 w 4519987"/>
              <a:gd name="connsiteY94" fmla="*/ 3838575 h 4496940"/>
              <a:gd name="connsiteX95" fmla="*/ 640102 w 4519987"/>
              <a:gd name="connsiteY95" fmla="*/ 3781425 h 4496940"/>
              <a:gd name="connsiteX96" fmla="*/ 611527 w 4519987"/>
              <a:gd name="connsiteY96" fmla="*/ 3733800 h 4496940"/>
              <a:gd name="connsiteX97" fmla="*/ 554377 w 4519987"/>
              <a:gd name="connsiteY97" fmla="*/ 3657600 h 4496940"/>
              <a:gd name="connsiteX98" fmla="*/ 525802 w 4519987"/>
              <a:gd name="connsiteY98" fmla="*/ 3609975 h 4496940"/>
              <a:gd name="connsiteX99" fmla="*/ 497227 w 4519987"/>
              <a:gd name="connsiteY99" fmla="*/ 3552825 h 4496940"/>
              <a:gd name="connsiteX100" fmla="*/ 440077 w 4519987"/>
              <a:gd name="connsiteY100" fmla="*/ 3495675 h 4496940"/>
              <a:gd name="connsiteX101" fmla="*/ 411502 w 4519987"/>
              <a:gd name="connsiteY101" fmla="*/ 3448050 h 4496940"/>
              <a:gd name="connsiteX102" fmla="*/ 278152 w 4519987"/>
              <a:gd name="connsiteY102" fmla="*/ 3257550 h 4496940"/>
              <a:gd name="connsiteX103" fmla="*/ 249577 w 4519987"/>
              <a:gd name="connsiteY103" fmla="*/ 3200400 h 4496940"/>
              <a:gd name="connsiteX104" fmla="*/ 240052 w 4519987"/>
              <a:gd name="connsiteY104" fmla="*/ 3162300 h 4496940"/>
              <a:gd name="connsiteX105" fmla="*/ 221002 w 4519987"/>
              <a:gd name="connsiteY105" fmla="*/ 3105150 h 4496940"/>
              <a:gd name="connsiteX106" fmla="*/ 173377 w 4519987"/>
              <a:gd name="connsiteY106" fmla="*/ 3019425 h 4496940"/>
              <a:gd name="connsiteX107" fmla="*/ 144802 w 4519987"/>
              <a:gd name="connsiteY107" fmla="*/ 2924175 h 4496940"/>
              <a:gd name="connsiteX108" fmla="*/ 68602 w 4519987"/>
              <a:gd name="connsiteY108" fmla="*/ 2724150 h 4496940"/>
              <a:gd name="connsiteX109" fmla="*/ 49552 w 4519987"/>
              <a:gd name="connsiteY109" fmla="*/ 2638425 h 4496940"/>
              <a:gd name="connsiteX110" fmla="*/ 40027 w 4519987"/>
              <a:gd name="connsiteY110" fmla="*/ 2562225 h 4496940"/>
              <a:gd name="connsiteX111" fmla="*/ 30502 w 4519987"/>
              <a:gd name="connsiteY111" fmla="*/ 2514600 h 4496940"/>
              <a:gd name="connsiteX112" fmla="*/ 11452 w 4519987"/>
              <a:gd name="connsiteY112" fmla="*/ 2400300 h 4496940"/>
              <a:gd name="connsiteX113" fmla="*/ 20977 w 4519987"/>
              <a:gd name="connsiteY113" fmla="*/ 1905000 h 4496940"/>
              <a:gd name="connsiteX114" fmla="*/ 30502 w 4519987"/>
              <a:gd name="connsiteY114" fmla="*/ 1838325 h 4496940"/>
              <a:gd name="connsiteX115" fmla="*/ 49552 w 4519987"/>
              <a:gd name="connsiteY115" fmla="*/ 1781175 h 4496940"/>
              <a:gd name="connsiteX116" fmla="*/ 59077 w 4519987"/>
              <a:gd name="connsiteY116" fmla="*/ 1743075 h 4496940"/>
              <a:gd name="connsiteX117" fmla="*/ 78127 w 4519987"/>
              <a:gd name="connsiteY117" fmla="*/ 1685925 h 4496940"/>
              <a:gd name="connsiteX118" fmla="*/ 87652 w 4519987"/>
              <a:gd name="connsiteY118" fmla="*/ 1638300 h 4496940"/>
              <a:gd name="connsiteX119" fmla="*/ 106702 w 4519987"/>
              <a:gd name="connsiteY119" fmla="*/ 1590675 h 4496940"/>
              <a:gd name="connsiteX120" fmla="*/ 135277 w 4519987"/>
              <a:gd name="connsiteY120" fmla="*/ 1504950 h 4496940"/>
              <a:gd name="connsiteX121" fmla="*/ 154327 w 4519987"/>
              <a:gd name="connsiteY121" fmla="*/ 1419225 h 4496940"/>
              <a:gd name="connsiteX122" fmla="*/ 230527 w 4519987"/>
              <a:gd name="connsiteY122" fmla="*/ 1276350 h 4496940"/>
              <a:gd name="connsiteX123" fmla="*/ 240052 w 4519987"/>
              <a:gd name="connsiteY123" fmla="*/ 1247775 h 4496940"/>
              <a:gd name="connsiteX124" fmla="*/ 268627 w 4519987"/>
              <a:gd name="connsiteY124" fmla="*/ 1200150 h 4496940"/>
              <a:gd name="connsiteX125" fmla="*/ 287677 w 4519987"/>
              <a:gd name="connsiteY125" fmla="*/ 1152525 h 4496940"/>
              <a:gd name="connsiteX126" fmla="*/ 316252 w 4519987"/>
              <a:gd name="connsiteY126" fmla="*/ 1114425 h 4496940"/>
              <a:gd name="connsiteX127" fmla="*/ 363877 w 4519987"/>
              <a:gd name="connsiteY127" fmla="*/ 1038225 h 4496940"/>
              <a:gd name="connsiteX128" fmla="*/ 382927 w 4519987"/>
              <a:gd name="connsiteY128" fmla="*/ 1009650 h 4496940"/>
              <a:gd name="connsiteX129" fmla="*/ 440077 w 4519987"/>
              <a:gd name="connsiteY129" fmla="*/ 904875 h 4496940"/>
              <a:gd name="connsiteX130" fmla="*/ 478177 w 4519987"/>
              <a:gd name="connsiteY130" fmla="*/ 857250 h 4496940"/>
              <a:gd name="connsiteX131" fmla="*/ 497227 w 4519987"/>
              <a:gd name="connsiteY131" fmla="*/ 828675 h 4496940"/>
              <a:gd name="connsiteX132" fmla="*/ 535327 w 4519987"/>
              <a:gd name="connsiteY132" fmla="*/ 800100 h 4496940"/>
              <a:gd name="connsiteX133" fmla="*/ 602002 w 4519987"/>
              <a:gd name="connsiteY133" fmla="*/ 733425 h 4496940"/>
              <a:gd name="connsiteX134" fmla="*/ 668677 w 4519987"/>
              <a:gd name="connsiteY134" fmla="*/ 676275 h 4496940"/>
              <a:gd name="connsiteX135" fmla="*/ 697252 w 4519987"/>
              <a:gd name="connsiteY135" fmla="*/ 657225 h 4496940"/>
              <a:gd name="connsiteX136" fmla="*/ 840127 w 4519987"/>
              <a:gd name="connsiteY136" fmla="*/ 533400 h 4496940"/>
              <a:gd name="connsiteX137" fmla="*/ 887752 w 4519987"/>
              <a:gd name="connsiteY137" fmla="*/ 504825 h 4496940"/>
              <a:gd name="connsiteX138" fmla="*/ 1167152 w 4519987"/>
              <a:gd name="connsiteY138" fmla="*/ 311150 h 4496940"/>
              <a:gd name="connsiteX139" fmla="*/ 1268752 w 4519987"/>
              <a:gd name="connsiteY139" fmla="*/ 285750 h 4496940"/>
              <a:gd name="connsiteX140" fmla="*/ 1411627 w 4519987"/>
              <a:gd name="connsiteY140" fmla="*/ 190500 h 4496940"/>
              <a:gd name="connsiteX141" fmla="*/ 1449727 w 4519987"/>
              <a:gd name="connsiteY141" fmla="*/ 161925 h 4496940"/>
              <a:gd name="connsiteX142" fmla="*/ 1525927 w 4519987"/>
              <a:gd name="connsiteY142" fmla="*/ 152400 h 4496940"/>
              <a:gd name="connsiteX143" fmla="*/ 1583077 w 4519987"/>
              <a:gd name="connsiteY143" fmla="*/ 142875 h 4496940"/>
              <a:gd name="connsiteX144" fmla="*/ 1716427 w 4519987"/>
              <a:gd name="connsiteY144" fmla="*/ 123825 h 4496940"/>
              <a:gd name="connsiteX145" fmla="*/ 1811677 w 4519987"/>
              <a:gd name="connsiteY145" fmla="*/ 114300 h 4496940"/>
              <a:gd name="connsiteX146" fmla="*/ 1859302 w 4519987"/>
              <a:gd name="connsiteY146" fmla="*/ 104775 h 4496940"/>
              <a:gd name="connsiteX147" fmla="*/ 1916452 w 4519987"/>
              <a:gd name="connsiteY147" fmla="*/ 95250 h 4496940"/>
              <a:gd name="connsiteX148" fmla="*/ 2030752 w 4519987"/>
              <a:gd name="connsiteY148" fmla="*/ 66675 h 4496940"/>
              <a:gd name="connsiteX149" fmla="*/ 2097427 w 4519987"/>
              <a:gd name="connsiteY149" fmla="*/ 47625 h 4496940"/>
              <a:gd name="connsiteX150" fmla="*/ 2164102 w 4519987"/>
              <a:gd name="connsiteY150" fmla="*/ 38100 h 4496940"/>
              <a:gd name="connsiteX151" fmla="*/ 2392702 w 4519987"/>
              <a:gd name="connsiteY15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3907177 w 4519987"/>
              <a:gd name="connsiteY21" fmla="*/ 647700 h 4496940"/>
              <a:gd name="connsiteX22" fmla="*/ 3935752 w 4519987"/>
              <a:gd name="connsiteY22" fmla="*/ 676275 h 4496940"/>
              <a:gd name="connsiteX23" fmla="*/ 4078627 w 4519987"/>
              <a:gd name="connsiteY23" fmla="*/ 838200 h 4496940"/>
              <a:gd name="connsiteX24" fmla="*/ 4135777 w 4519987"/>
              <a:gd name="connsiteY24" fmla="*/ 933450 h 4496940"/>
              <a:gd name="connsiteX25" fmla="*/ 4164352 w 4519987"/>
              <a:gd name="connsiteY25" fmla="*/ 990600 h 4496940"/>
              <a:gd name="connsiteX26" fmla="*/ 4173877 w 4519987"/>
              <a:gd name="connsiteY26" fmla="*/ 1019175 h 4496940"/>
              <a:gd name="connsiteX27" fmla="*/ 4192927 w 4519987"/>
              <a:gd name="connsiteY27" fmla="*/ 1057275 h 4496940"/>
              <a:gd name="connsiteX28" fmla="*/ 4202452 w 4519987"/>
              <a:gd name="connsiteY28" fmla="*/ 1085850 h 4496940"/>
              <a:gd name="connsiteX29" fmla="*/ 4250077 w 4519987"/>
              <a:gd name="connsiteY29" fmla="*/ 1143000 h 4496940"/>
              <a:gd name="connsiteX30" fmla="*/ 4259602 w 4519987"/>
              <a:gd name="connsiteY30" fmla="*/ 1190625 h 4496940"/>
              <a:gd name="connsiteX31" fmla="*/ 4307227 w 4519987"/>
              <a:gd name="connsiteY31" fmla="*/ 1266825 h 4496940"/>
              <a:gd name="connsiteX32" fmla="*/ 4345327 w 4519987"/>
              <a:gd name="connsiteY32" fmla="*/ 1362075 h 4496940"/>
              <a:gd name="connsiteX33" fmla="*/ 4373902 w 4519987"/>
              <a:gd name="connsiteY33" fmla="*/ 1428750 h 4496940"/>
              <a:gd name="connsiteX34" fmla="*/ 4392952 w 4519987"/>
              <a:gd name="connsiteY34" fmla="*/ 1552575 h 4496940"/>
              <a:gd name="connsiteX35" fmla="*/ 4402477 w 4519987"/>
              <a:gd name="connsiteY35" fmla="*/ 1590675 h 4496940"/>
              <a:gd name="connsiteX36" fmla="*/ 4431052 w 4519987"/>
              <a:gd name="connsiteY36" fmla="*/ 1685925 h 4496940"/>
              <a:gd name="connsiteX37" fmla="*/ 4519952 w 4519987"/>
              <a:gd name="connsiteY37" fmla="*/ 2181225 h 4496940"/>
              <a:gd name="connsiteX38" fmla="*/ 4446927 w 4519987"/>
              <a:gd name="connsiteY38" fmla="*/ 2768600 h 4496940"/>
              <a:gd name="connsiteX39" fmla="*/ 4383427 w 4519987"/>
              <a:gd name="connsiteY39" fmla="*/ 2990850 h 4496940"/>
              <a:gd name="connsiteX40" fmla="*/ 4278652 w 4519987"/>
              <a:gd name="connsiteY40" fmla="*/ 3248025 h 4496940"/>
              <a:gd name="connsiteX41" fmla="*/ 4259602 w 4519987"/>
              <a:gd name="connsiteY41" fmla="*/ 3276600 h 4496940"/>
              <a:gd name="connsiteX42" fmla="*/ 4221502 w 4519987"/>
              <a:gd name="connsiteY42" fmla="*/ 3333750 h 4496940"/>
              <a:gd name="connsiteX43" fmla="*/ 4211977 w 4519987"/>
              <a:gd name="connsiteY43" fmla="*/ 3362325 h 4496940"/>
              <a:gd name="connsiteX44" fmla="*/ 4183402 w 4519987"/>
              <a:gd name="connsiteY44" fmla="*/ 3400425 h 4496940"/>
              <a:gd name="connsiteX45" fmla="*/ 4164352 w 4519987"/>
              <a:gd name="connsiteY45" fmla="*/ 3429000 h 4496940"/>
              <a:gd name="connsiteX46" fmla="*/ 4088152 w 4519987"/>
              <a:gd name="connsiteY46" fmla="*/ 3495675 h 4496940"/>
              <a:gd name="connsiteX47" fmla="*/ 4059577 w 4519987"/>
              <a:gd name="connsiteY47" fmla="*/ 3533775 h 4496940"/>
              <a:gd name="connsiteX48" fmla="*/ 4002427 w 4519987"/>
              <a:gd name="connsiteY48" fmla="*/ 3600450 h 4496940"/>
              <a:gd name="connsiteX49" fmla="*/ 3983377 w 4519987"/>
              <a:gd name="connsiteY49" fmla="*/ 3629025 h 4496940"/>
              <a:gd name="connsiteX50" fmla="*/ 3954802 w 4519987"/>
              <a:gd name="connsiteY50" fmla="*/ 3648075 h 4496940"/>
              <a:gd name="connsiteX51" fmla="*/ 3907177 w 4519987"/>
              <a:gd name="connsiteY51" fmla="*/ 3686175 h 4496940"/>
              <a:gd name="connsiteX52" fmla="*/ 3869077 w 4519987"/>
              <a:gd name="connsiteY52" fmla="*/ 3724275 h 4496940"/>
              <a:gd name="connsiteX53" fmla="*/ 3792877 w 4519987"/>
              <a:gd name="connsiteY53" fmla="*/ 3781425 h 4496940"/>
              <a:gd name="connsiteX54" fmla="*/ 3783352 w 4519987"/>
              <a:gd name="connsiteY54" fmla="*/ 3810000 h 4496940"/>
              <a:gd name="connsiteX55" fmla="*/ 3745252 w 4519987"/>
              <a:gd name="connsiteY55" fmla="*/ 3819525 h 4496940"/>
              <a:gd name="connsiteX56" fmla="*/ 3678577 w 4519987"/>
              <a:gd name="connsiteY56" fmla="*/ 3848100 h 4496940"/>
              <a:gd name="connsiteX57" fmla="*/ 3659527 w 4519987"/>
              <a:gd name="connsiteY57" fmla="*/ 3971925 h 4496940"/>
              <a:gd name="connsiteX58" fmla="*/ 3630952 w 4519987"/>
              <a:gd name="connsiteY58" fmla="*/ 4010025 h 4496940"/>
              <a:gd name="connsiteX59" fmla="*/ 3621427 w 4519987"/>
              <a:gd name="connsiteY59" fmla="*/ 4038600 h 4496940"/>
              <a:gd name="connsiteX60" fmla="*/ 3554752 w 4519987"/>
              <a:gd name="connsiteY60" fmla="*/ 4095750 h 4496940"/>
              <a:gd name="connsiteX61" fmla="*/ 3516652 w 4519987"/>
              <a:gd name="connsiteY61" fmla="*/ 4114800 h 4496940"/>
              <a:gd name="connsiteX62" fmla="*/ 3497602 w 4519987"/>
              <a:gd name="connsiteY62" fmla="*/ 4143375 h 4496940"/>
              <a:gd name="connsiteX63" fmla="*/ 3383302 w 4519987"/>
              <a:gd name="connsiteY63" fmla="*/ 4210050 h 4496940"/>
              <a:gd name="connsiteX64" fmla="*/ 3335677 w 4519987"/>
              <a:gd name="connsiteY64" fmla="*/ 4238625 h 4496940"/>
              <a:gd name="connsiteX65" fmla="*/ 3288052 w 4519987"/>
              <a:gd name="connsiteY65" fmla="*/ 4248150 h 4496940"/>
              <a:gd name="connsiteX66" fmla="*/ 3240427 w 4519987"/>
              <a:gd name="connsiteY66" fmla="*/ 4267200 h 4496940"/>
              <a:gd name="connsiteX67" fmla="*/ 3068977 w 4519987"/>
              <a:gd name="connsiteY67" fmla="*/ 4286250 h 4496940"/>
              <a:gd name="connsiteX68" fmla="*/ 2935627 w 4519987"/>
              <a:gd name="connsiteY68" fmla="*/ 4333875 h 4496940"/>
              <a:gd name="connsiteX69" fmla="*/ 2811802 w 4519987"/>
              <a:gd name="connsiteY69" fmla="*/ 4371975 h 4496940"/>
              <a:gd name="connsiteX70" fmla="*/ 2745127 w 4519987"/>
              <a:gd name="connsiteY70" fmla="*/ 4410075 h 4496940"/>
              <a:gd name="connsiteX71" fmla="*/ 2697502 w 4519987"/>
              <a:gd name="connsiteY71" fmla="*/ 4429125 h 4496940"/>
              <a:gd name="connsiteX72" fmla="*/ 2640352 w 4519987"/>
              <a:gd name="connsiteY72" fmla="*/ 4457700 h 4496940"/>
              <a:gd name="connsiteX73" fmla="*/ 2583202 w 4519987"/>
              <a:gd name="connsiteY73" fmla="*/ 4467225 h 4496940"/>
              <a:gd name="connsiteX74" fmla="*/ 2545102 w 4519987"/>
              <a:gd name="connsiteY74" fmla="*/ 4486275 h 4496940"/>
              <a:gd name="connsiteX75" fmla="*/ 2306977 w 4519987"/>
              <a:gd name="connsiteY75" fmla="*/ 4476750 h 4496940"/>
              <a:gd name="connsiteX76" fmla="*/ 2202202 w 4519987"/>
              <a:gd name="connsiteY76" fmla="*/ 4457700 h 4496940"/>
              <a:gd name="connsiteX77" fmla="*/ 2126002 w 4519987"/>
              <a:gd name="connsiteY77" fmla="*/ 4429125 h 4496940"/>
              <a:gd name="connsiteX78" fmla="*/ 1935502 w 4519987"/>
              <a:gd name="connsiteY78" fmla="*/ 4400550 h 4496940"/>
              <a:gd name="connsiteX79" fmla="*/ 1821202 w 4519987"/>
              <a:gd name="connsiteY79" fmla="*/ 4371975 h 4496940"/>
              <a:gd name="connsiteX80" fmla="*/ 1754527 w 4519987"/>
              <a:gd name="connsiteY80" fmla="*/ 4352925 h 4496940"/>
              <a:gd name="connsiteX81" fmla="*/ 1687852 w 4519987"/>
              <a:gd name="connsiteY81" fmla="*/ 4343400 h 4496940"/>
              <a:gd name="connsiteX82" fmla="*/ 1573552 w 4519987"/>
              <a:gd name="connsiteY82" fmla="*/ 4305300 h 4496940"/>
              <a:gd name="connsiteX83" fmla="*/ 1402102 w 4519987"/>
              <a:gd name="connsiteY83" fmla="*/ 4276725 h 4496940"/>
              <a:gd name="connsiteX84" fmla="*/ 1287802 w 4519987"/>
              <a:gd name="connsiteY84" fmla="*/ 4229100 h 4496940"/>
              <a:gd name="connsiteX85" fmla="*/ 1221127 w 4519987"/>
              <a:gd name="connsiteY85" fmla="*/ 4200525 h 4496940"/>
              <a:gd name="connsiteX86" fmla="*/ 1144927 w 4519987"/>
              <a:gd name="connsiteY86" fmla="*/ 4171950 h 4496940"/>
              <a:gd name="connsiteX87" fmla="*/ 1087777 w 4519987"/>
              <a:gd name="connsiteY87" fmla="*/ 4143375 h 4496940"/>
              <a:gd name="connsiteX88" fmla="*/ 1030627 w 4519987"/>
              <a:gd name="connsiteY88" fmla="*/ 4124325 h 4496940"/>
              <a:gd name="connsiteX89" fmla="*/ 925852 w 4519987"/>
              <a:gd name="connsiteY89" fmla="*/ 4067175 h 4496940"/>
              <a:gd name="connsiteX90" fmla="*/ 830602 w 4519987"/>
              <a:gd name="connsiteY90" fmla="*/ 3981450 h 4496940"/>
              <a:gd name="connsiteX91" fmla="*/ 763927 w 4519987"/>
              <a:gd name="connsiteY91" fmla="*/ 3914775 h 4496940"/>
              <a:gd name="connsiteX92" fmla="*/ 725827 w 4519987"/>
              <a:gd name="connsiteY92" fmla="*/ 3876675 h 4496940"/>
              <a:gd name="connsiteX93" fmla="*/ 697252 w 4519987"/>
              <a:gd name="connsiteY93" fmla="*/ 3838575 h 4496940"/>
              <a:gd name="connsiteX94" fmla="*/ 640102 w 4519987"/>
              <a:gd name="connsiteY94" fmla="*/ 3781425 h 4496940"/>
              <a:gd name="connsiteX95" fmla="*/ 611527 w 4519987"/>
              <a:gd name="connsiteY95" fmla="*/ 3733800 h 4496940"/>
              <a:gd name="connsiteX96" fmla="*/ 554377 w 4519987"/>
              <a:gd name="connsiteY96" fmla="*/ 3657600 h 4496940"/>
              <a:gd name="connsiteX97" fmla="*/ 525802 w 4519987"/>
              <a:gd name="connsiteY97" fmla="*/ 3609975 h 4496940"/>
              <a:gd name="connsiteX98" fmla="*/ 497227 w 4519987"/>
              <a:gd name="connsiteY98" fmla="*/ 3552825 h 4496940"/>
              <a:gd name="connsiteX99" fmla="*/ 440077 w 4519987"/>
              <a:gd name="connsiteY99" fmla="*/ 3495675 h 4496940"/>
              <a:gd name="connsiteX100" fmla="*/ 411502 w 4519987"/>
              <a:gd name="connsiteY100" fmla="*/ 3448050 h 4496940"/>
              <a:gd name="connsiteX101" fmla="*/ 278152 w 4519987"/>
              <a:gd name="connsiteY101" fmla="*/ 3257550 h 4496940"/>
              <a:gd name="connsiteX102" fmla="*/ 249577 w 4519987"/>
              <a:gd name="connsiteY102" fmla="*/ 3200400 h 4496940"/>
              <a:gd name="connsiteX103" fmla="*/ 240052 w 4519987"/>
              <a:gd name="connsiteY103" fmla="*/ 3162300 h 4496940"/>
              <a:gd name="connsiteX104" fmla="*/ 221002 w 4519987"/>
              <a:gd name="connsiteY104" fmla="*/ 3105150 h 4496940"/>
              <a:gd name="connsiteX105" fmla="*/ 173377 w 4519987"/>
              <a:gd name="connsiteY105" fmla="*/ 3019425 h 4496940"/>
              <a:gd name="connsiteX106" fmla="*/ 144802 w 4519987"/>
              <a:gd name="connsiteY106" fmla="*/ 2924175 h 4496940"/>
              <a:gd name="connsiteX107" fmla="*/ 68602 w 4519987"/>
              <a:gd name="connsiteY107" fmla="*/ 2724150 h 4496940"/>
              <a:gd name="connsiteX108" fmla="*/ 49552 w 4519987"/>
              <a:gd name="connsiteY108" fmla="*/ 2638425 h 4496940"/>
              <a:gd name="connsiteX109" fmla="*/ 40027 w 4519987"/>
              <a:gd name="connsiteY109" fmla="*/ 2562225 h 4496940"/>
              <a:gd name="connsiteX110" fmla="*/ 30502 w 4519987"/>
              <a:gd name="connsiteY110" fmla="*/ 2514600 h 4496940"/>
              <a:gd name="connsiteX111" fmla="*/ 11452 w 4519987"/>
              <a:gd name="connsiteY111" fmla="*/ 2400300 h 4496940"/>
              <a:gd name="connsiteX112" fmla="*/ 20977 w 4519987"/>
              <a:gd name="connsiteY112" fmla="*/ 1905000 h 4496940"/>
              <a:gd name="connsiteX113" fmla="*/ 30502 w 4519987"/>
              <a:gd name="connsiteY113" fmla="*/ 1838325 h 4496940"/>
              <a:gd name="connsiteX114" fmla="*/ 49552 w 4519987"/>
              <a:gd name="connsiteY114" fmla="*/ 1781175 h 4496940"/>
              <a:gd name="connsiteX115" fmla="*/ 59077 w 4519987"/>
              <a:gd name="connsiteY115" fmla="*/ 1743075 h 4496940"/>
              <a:gd name="connsiteX116" fmla="*/ 78127 w 4519987"/>
              <a:gd name="connsiteY116" fmla="*/ 1685925 h 4496940"/>
              <a:gd name="connsiteX117" fmla="*/ 87652 w 4519987"/>
              <a:gd name="connsiteY117" fmla="*/ 1638300 h 4496940"/>
              <a:gd name="connsiteX118" fmla="*/ 106702 w 4519987"/>
              <a:gd name="connsiteY118" fmla="*/ 1590675 h 4496940"/>
              <a:gd name="connsiteX119" fmla="*/ 135277 w 4519987"/>
              <a:gd name="connsiteY119" fmla="*/ 1504950 h 4496940"/>
              <a:gd name="connsiteX120" fmla="*/ 154327 w 4519987"/>
              <a:gd name="connsiteY120" fmla="*/ 1419225 h 4496940"/>
              <a:gd name="connsiteX121" fmla="*/ 230527 w 4519987"/>
              <a:gd name="connsiteY121" fmla="*/ 1276350 h 4496940"/>
              <a:gd name="connsiteX122" fmla="*/ 240052 w 4519987"/>
              <a:gd name="connsiteY122" fmla="*/ 1247775 h 4496940"/>
              <a:gd name="connsiteX123" fmla="*/ 268627 w 4519987"/>
              <a:gd name="connsiteY123" fmla="*/ 1200150 h 4496940"/>
              <a:gd name="connsiteX124" fmla="*/ 287677 w 4519987"/>
              <a:gd name="connsiteY124" fmla="*/ 1152525 h 4496940"/>
              <a:gd name="connsiteX125" fmla="*/ 316252 w 4519987"/>
              <a:gd name="connsiteY125" fmla="*/ 1114425 h 4496940"/>
              <a:gd name="connsiteX126" fmla="*/ 363877 w 4519987"/>
              <a:gd name="connsiteY126" fmla="*/ 1038225 h 4496940"/>
              <a:gd name="connsiteX127" fmla="*/ 382927 w 4519987"/>
              <a:gd name="connsiteY127" fmla="*/ 1009650 h 4496940"/>
              <a:gd name="connsiteX128" fmla="*/ 440077 w 4519987"/>
              <a:gd name="connsiteY128" fmla="*/ 904875 h 4496940"/>
              <a:gd name="connsiteX129" fmla="*/ 478177 w 4519987"/>
              <a:gd name="connsiteY129" fmla="*/ 857250 h 4496940"/>
              <a:gd name="connsiteX130" fmla="*/ 497227 w 4519987"/>
              <a:gd name="connsiteY130" fmla="*/ 828675 h 4496940"/>
              <a:gd name="connsiteX131" fmla="*/ 535327 w 4519987"/>
              <a:gd name="connsiteY131" fmla="*/ 800100 h 4496940"/>
              <a:gd name="connsiteX132" fmla="*/ 602002 w 4519987"/>
              <a:gd name="connsiteY132" fmla="*/ 733425 h 4496940"/>
              <a:gd name="connsiteX133" fmla="*/ 668677 w 4519987"/>
              <a:gd name="connsiteY133" fmla="*/ 676275 h 4496940"/>
              <a:gd name="connsiteX134" fmla="*/ 697252 w 4519987"/>
              <a:gd name="connsiteY134" fmla="*/ 657225 h 4496940"/>
              <a:gd name="connsiteX135" fmla="*/ 840127 w 4519987"/>
              <a:gd name="connsiteY135" fmla="*/ 533400 h 4496940"/>
              <a:gd name="connsiteX136" fmla="*/ 887752 w 4519987"/>
              <a:gd name="connsiteY136" fmla="*/ 504825 h 4496940"/>
              <a:gd name="connsiteX137" fmla="*/ 1167152 w 4519987"/>
              <a:gd name="connsiteY137" fmla="*/ 311150 h 4496940"/>
              <a:gd name="connsiteX138" fmla="*/ 1268752 w 4519987"/>
              <a:gd name="connsiteY138" fmla="*/ 285750 h 4496940"/>
              <a:gd name="connsiteX139" fmla="*/ 1411627 w 4519987"/>
              <a:gd name="connsiteY139" fmla="*/ 190500 h 4496940"/>
              <a:gd name="connsiteX140" fmla="*/ 1449727 w 4519987"/>
              <a:gd name="connsiteY140" fmla="*/ 161925 h 4496940"/>
              <a:gd name="connsiteX141" fmla="*/ 1525927 w 4519987"/>
              <a:gd name="connsiteY141" fmla="*/ 152400 h 4496940"/>
              <a:gd name="connsiteX142" fmla="*/ 1583077 w 4519987"/>
              <a:gd name="connsiteY142" fmla="*/ 142875 h 4496940"/>
              <a:gd name="connsiteX143" fmla="*/ 1716427 w 4519987"/>
              <a:gd name="connsiteY143" fmla="*/ 123825 h 4496940"/>
              <a:gd name="connsiteX144" fmla="*/ 1811677 w 4519987"/>
              <a:gd name="connsiteY144" fmla="*/ 114300 h 4496940"/>
              <a:gd name="connsiteX145" fmla="*/ 1859302 w 4519987"/>
              <a:gd name="connsiteY145" fmla="*/ 104775 h 4496940"/>
              <a:gd name="connsiteX146" fmla="*/ 1916452 w 4519987"/>
              <a:gd name="connsiteY146" fmla="*/ 95250 h 4496940"/>
              <a:gd name="connsiteX147" fmla="*/ 2030752 w 4519987"/>
              <a:gd name="connsiteY147" fmla="*/ 66675 h 4496940"/>
              <a:gd name="connsiteX148" fmla="*/ 2097427 w 4519987"/>
              <a:gd name="connsiteY148" fmla="*/ 47625 h 4496940"/>
              <a:gd name="connsiteX149" fmla="*/ 2164102 w 4519987"/>
              <a:gd name="connsiteY149" fmla="*/ 38100 h 4496940"/>
              <a:gd name="connsiteX150" fmla="*/ 2392702 w 4519987"/>
              <a:gd name="connsiteY15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3907177 w 4519987"/>
              <a:gd name="connsiteY21" fmla="*/ 647700 h 4496940"/>
              <a:gd name="connsiteX22" fmla="*/ 4078627 w 4519987"/>
              <a:gd name="connsiteY22" fmla="*/ 838200 h 4496940"/>
              <a:gd name="connsiteX23" fmla="*/ 4135777 w 4519987"/>
              <a:gd name="connsiteY23" fmla="*/ 933450 h 4496940"/>
              <a:gd name="connsiteX24" fmla="*/ 4164352 w 4519987"/>
              <a:gd name="connsiteY24" fmla="*/ 990600 h 4496940"/>
              <a:gd name="connsiteX25" fmla="*/ 4173877 w 4519987"/>
              <a:gd name="connsiteY25" fmla="*/ 1019175 h 4496940"/>
              <a:gd name="connsiteX26" fmla="*/ 4192927 w 4519987"/>
              <a:gd name="connsiteY26" fmla="*/ 1057275 h 4496940"/>
              <a:gd name="connsiteX27" fmla="*/ 4202452 w 4519987"/>
              <a:gd name="connsiteY27" fmla="*/ 1085850 h 4496940"/>
              <a:gd name="connsiteX28" fmla="*/ 4250077 w 4519987"/>
              <a:gd name="connsiteY28" fmla="*/ 1143000 h 4496940"/>
              <a:gd name="connsiteX29" fmla="*/ 4259602 w 4519987"/>
              <a:gd name="connsiteY29" fmla="*/ 1190625 h 4496940"/>
              <a:gd name="connsiteX30" fmla="*/ 4307227 w 4519987"/>
              <a:gd name="connsiteY30" fmla="*/ 1266825 h 4496940"/>
              <a:gd name="connsiteX31" fmla="*/ 4345327 w 4519987"/>
              <a:gd name="connsiteY31" fmla="*/ 1362075 h 4496940"/>
              <a:gd name="connsiteX32" fmla="*/ 4373902 w 4519987"/>
              <a:gd name="connsiteY32" fmla="*/ 1428750 h 4496940"/>
              <a:gd name="connsiteX33" fmla="*/ 4392952 w 4519987"/>
              <a:gd name="connsiteY33" fmla="*/ 1552575 h 4496940"/>
              <a:gd name="connsiteX34" fmla="*/ 4402477 w 4519987"/>
              <a:gd name="connsiteY34" fmla="*/ 1590675 h 4496940"/>
              <a:gd name="connsiteX35" fmla="*/ 4431052 w 4519987"/>
              <a:gd name="connsiteY35" fmla="*/ 1685925 h 4496940"/>
              <a:gd name="connsiteX36" fmla="*/ 4519952 w 4519987"/>
              <a:gd name="connsiteY36" fmla="*/ 2181225 h 4496940"/>
              <a:gd name="connsiteX37" fmla="*/ 4446927 w 4519987"/>
              <a:gd name="connsiteY37" fmla="*/ 2768600 h 4496940"/>
              <a:gd name="connsiteX38" fmla="*/ 4383427 w 4519987"/>
              <a:gd name="connsiteY38" fmla="*/ 2990850 h 4496940"/>
              <a:gd name="connsiteX39" fmla="*/ 4278652 w 4519987"/>
              <a:gd name="connsiteY39" fmla="*/ 3248025 h 4496940"/>
              <a:gd name="connsiteX40" fmla="*/ 4259602 w 4519987"/>
              <a:gd name="connsiteY40" fmla="*/ 3276600 h 4496940"/>
              <a:gd name="connsiteX41" fmla="*/ 4221502 w 4519987"/>
              <a:gd name="connsiteY41" fmla="*/ 3333750 h 4496940"/>
              <a:gd name="connsiteX42" fmla="*/ 4211977 w 4519987"/>
              <a:gd name="connsiteY42" fmla="*/ 3362325 h 4496940"/>
              <a:gd name="connsiteX43" fmla="*/ 4183402 w 4519987"/>
              <a:gd name="connsiteY43" fmla="*/ 3400425 h 4496940"/>
              <a:gd name="connsiteX44" fmla="*/ 4164352 w 4519987"/>
              <a:gd name="connsiteY44" fmla="*/ 3429000 h 4496940"/>
              <a:gd name="connsiteX45" fmla="*/ 4088152 w 4519987"/>
              <a:gd name="connsiteY45" fmla="*/ 3495675 h 4496940"/>
              <a:gd name="connsiteX46" fmla="*/ 4059577 w 4519987"/>
              <a:gd name="connsiteY46" fmla="*/ 3533775 h 4496940"/>
              <a:gd name="connsiteX47" fmla="*/ 4002427 w 4519987"/>
              <a:gd name="connsiteY47" fmla="*/ 3600450 h 4496940"/>
              <a:gd name="connsiteX48" fmla="*/ 3983377 w 4519987"/>
              <a:gd name="connsiteY48" fmla="*/ 3629025 h 4496940"/>
              <a:gd name="connsiteX49" fmla="*/ 3954802 w 4519987"/>
              <a:gd name="connsiteY49" fmla="*/ 3648075 h 4496940"/>
              <a:gd name="connsiteX50" fmla="*/ 3907177 w 4519987"/>
              <a:gd name="connsiteY50" fmla="*/ 3686175 h 4496940"/>
              <a:gd name="connsiteX51" fmla="*/ 3869077 w 4519987"/>
              <a:gd name="connsiteY51" fmla="*/ 3724275 h 4496940"/>
              <a:gd name="connsiteX52" fmla="*/ 3792877 w 4519987"/>
              <a:gd name="connsiteY52" fmla="*/ 3781425 h 4496940"/>
              <a:gd name="connsiteX53" fmla="*/ 3783352 w 4519987"/>
              <a:gd name="connsiteY53" fmla="*/ 3810000 h 4496940"/>
              <a:gd name="connsiteX54" fmla="*/ 3745252 w 4519987"/>
              <a:gd name="connsiteY54" fmla="*/ 3819525 h 4496940"/>
              <a:gd name="connsiteX55" fmla="*/ 3678577 w 4519987"/>
              <a:gd name="connsiteY55" fmla="*/ 3848100 h 4496940"/>
              <a:gd name="connsiteX56" fmla="*/ 3659527 w 4519987"/>
              <a:gd name="connsiteY56" fmla="*/ 3971925 h 4496940"/>
              <a:gd name="connsiteX57" fmla="*/ 3630952 w 4519987"/>
              <a:gd name="connsiteY57" fmla="*/ 4010025 h 4496940"/>
              <a:gd name="connsiteX58" fmla="*/ 3621427 w 4519987"/>
              <a:gd name="connsiteY58" fmla="*/ 4038600 h 4496940"/>
              <a:gd name="connsiteX59" fmla="*/ 3554752 w 4519987"/>
              <a:gd name="connsiteY59" fmla="*/ 4095750 h 4496940"/>
              <a:gd name="connsiteX60" fmla="*/ 3516652 w 4519987"/>
              <a:gd name="connsiteY60" fmla="*/ 4114800 h 4496940"/>
              <a:gd name="connsiteX61" fmla="*/ 3497602 w 4519987"/>
              <a:gd name="connsiteY61" fmla="*/ 4143375 h 4496940"/>
              <a:gd name="connsiteX62" fmla="*/ 3383302 w 4519987"/>
              <a:gd name="connsiteY62" fmla="*/ 4210050 h 4496940"/>
              <a:gd name="connsiteX63" fmla="*/ 3335677 w 4519987"/>
              <a:gd name="connsiteY63" fmla="*/ 4238625 h 4496940"/>
              <a:gd name="connsiteX64" fmla="*/ 3288052 w 4519987"/>
              <a:gd name="connsiteY64" fmla="*/ 4248150 h 4496940"/>
              <a:gd name="connsiteX65" fmla="*/ 3240427 w 4519987"/>
              <a:gd name="connsiteY65" fmla="*/ 4267200 h 4496940"/>
              <a:gd name="connsiteX66" fmla="*/ 3068977 w 4519987"/>
              <a:gd name="connsiteY66" fmla="*/ 4286250 h 4496940"/>
              <a:gd name="connsiteX67" fmla="*/ 2935627 w 4519987"/>
              <a:gd name="connsiteY67" fmla="*/ 4333875 h 4496940"/>
              <a:gd name="connsiteX68" fmla="*/ 2811802 w 4519987"/>
              <a:gd name="connsiteY68" fmla="*/ 4371975 h 4496940"/>
              <a:gd name="connsiteX69" fmla="*/ 2745127 w 4519987"/>
              <a:gd name="connsiteY69" fmla="*/ 4410075 h 4496940"/>
              <a:gd name="connsiteX70" fmla="*/ 2697502 w 4519987"/>
              <a:gd name="connsiteY70" fmla="*/ 4429125 h 4496940"/>
              <a:gd name="connsiteX71" fmla="*/ 2640352 w 4519987"/>
              <a:gd name="connsiteY71" fmla="*/ 4457700 h 4496940"/>
              <a:gd name="connsiteX72" fmla="*/ 2583202 w 4519987"/>
              <a:gd name="connsiteY72" fmla="*/ 4467225 h 4496940"/>
              <a:gd name="connsiteX73" fmla="*/ 2545102 w 4519987"/>
              <a:gd name="connsiteY73" fmla="*/ 4486275 h 4496940"/>
              <a:gd name="connsiteX74" fmla="*/ 2306977 w 4519987"/>
              <a:gd name="connsiteY74" fmla="*/ 4476750 h 4496940"/>
              <a:gd name="connsiteX75" fmla="*/ 2202202 w 4519987"/>
              <a:gd name="connsiteY75" fmla="*/ 4457700 h 4496940"/>
              <a:gd name="connsiteX76" fmla="*/ 2126002 w 4519987"/>
              <a:gd name="connsiteY76" fmla="*/ 4429125 h 4496940"/>
              <a:gd name="connsiteX77" fmla="*/ 1935502 w 4519987"/>
              <a:gd name="connsiteY77" fmla="*/ 4400550 h 4496940"/>
              <a:gd name="connsiteX78" fmla="*/ 1821202 w 4519987"/>
              <a:gd name="connsiteY78" fmla="*/ 4371975 h 4496940"/>
              <a:gd name="connsiteX79" fmla="*/ 1754527 w 4519987"/>
              <a:gd name="connsiteY79" fmla="*/ 4352925 h 4496940"/>
              <a:gd name="connsiteX80" fmla="*/ 1687852 w 4519987"/>
              <a:gd name="connsiteY80" fmla="*/ 4343400 h 4496940"/>
              <a:gd name="connsiteX81" fmla="*/ 1573552 w 4519987"/>
              <a:gd name="connsiteY81" fmla="*/ 4305300 h 4496940"/>
              <a:gd name="connsiteX82" fmla="*/ 1402102 w 4519987"/>
              <a:gd name="connsiteY82" fmla="*/ 4276725 h 4496940"/>
              <a:gd name="connsiteX83" fmla="*/ 1287802 w 4519987"/>
              <a:gd name="connsiteY83" fmla="*/ 4229100 h 4496940"/>
              <a:gd name="connsiteX84" fmla="*/ 1221127 w 4519987"/>
              <a:gd name="connsiteY84" fmla="*/ 4200525 h 4496940"/>
              <a:gd name="connsiteX85" fmla="*/ 1144927 w 4519987"/>
              <a:gd name="connsiteY85" fmla="*/ 4171950 h 4496940"/>
              <a:gd name="connsiteX86" fmla="*/ 1087777 w 4519987"/>
              <a:gd name="connsiteY86" fmla="*/ 4143375 h 4496940"/>
              <a:gd name="connsiteX87" fmla="*/ 1030627 w 4519987"/>
              <a:gd name="connsiteY87" fmla="*/ 4124325 h 4496940"/>
              <a:gd name="connsiteX88" fmla="*/ 925852 w 4519987"/>
              <a:gd name="connsiteY88" fmla="*/ 4067175 h 4496940"/>
              <a:gd name="connsiteX89" fmla="*/ 830602 w 4519987"/>
              <a:gd name="connsiteY89" fmla="*/ 3981450 h 4496940"/>
              <a:gd name="connsiteX90" fmla="*/ 763927 w 4519987"/>
              <a:gd name="connsiteY90" fmla="*/ 3914775 h 4496940"/>
              <a:gd name="connsiteX91" fmla="*/ 725827 w 4519987"/>
              <a:gd name="connsiteY91" fmla="*/ 3876675 h 4496940"/>
              <a:gd name="connsiteX92" fmla="*/ 697252 w 4519987"/>
              <a:gd name="connsiteY92" fmla="*/ 3838575 h 4496940"/>
              <a:gd name="connsiteX93" fmla="*/ 640102 w 4519987"/>
              <a:gd name="connsiteY93" fmla="*/ 3781425 h 4496940"/>
              <a:gd name="connsiteX94" fmla="*/ 611527 w 4519987"/>
              <a:gd name="connsiteY94" fmla="*/ 3733800 h 4496940"/>
              <a:gd name="connsiteX95" fmla="*/ 554377 w 4519987"/>
              <a:gd name="connsiteY95" fmla="*/ 3657600 h 4496940"/>
              <a:gd name="connsiteX96" fmla="*/ 525802 w 4519987"/>
              <a:gd name="connsiteY96" fmla="*/ 3609975 h 4496940"/>
              <a:gd name="connsiteX97" fmla="*/ 497227 w 4519987"/>
              <a:gd name="connsiteY97" fmla="*/ 3552825 h 4496940"/>
              <a:gd name="connsiteX98" fmla="*/ 440077 w 4519987"/>
              <a:gd name="connsiteY98" fmla="*/ 3495675 h 4496940"/>
              <a:gd name="connsiteX99" fmla="*/ 411502 w 4519987"/>
              <a:gd name="connsiteY99" fmla="*/ 3448050 h 4496940"/>
              <a:gd name="connsiteX100" fmla="*/ 278152 w 4519987"/>
              <a:gd name="connsiteY100" fmla="*/ 3257550 h 4496940"/>
              <a:gd name="connsiteX101" fmla="*/ 249577 w 4519987"/>
              <a:gd name="connsiteY101" fmla="*/ 3200400 h 4496940"/>
              <a:gd name="connsiteX102" fmla="*/ 240052 w 4519987"/>
              <a:gd name="connsiteY102" fmla="*/ 3162300 h 4496940"/>
              <a:gd name="connsiteX103" fmla="*/ 221002 w 4519987"/>
              <a:gd name="connsiteY103" fmla="*/ 3105150 h 4496940"/>
              <a:gd name="connsiteX104" fmla="*/ 173377 w 4519987"/>
              <a:gd name="connsiteY104" fmla="*/ 3019425 h 4496940"/>
              <a:gd name="connsiteX105" fmla="*/ 144802 w 4519987"/>
              <a:gd name="connsiteY105" fmla="*/ 2924175 h 4496940"/>
              <a:gd name="connsiteX106" fmla="*/ 68602 w 4519987"/>
              <a:gd name="connsiteY106" fmla="*/ 2724150 h 4496940"/>
              <a:gd name="connsiteX107" fmla="*/ 49552 w 4519987"/>
              <a:gd name="connsiteY107" fmla="*/ 2638425 h 4496940"/>
              <a:gd name="connsiteX108" fmla="*/ 40027 w 4519987"/>
              <a:gd name="connsiteY108" fmla="*/ 2562225 h 4496940"/>
              <a:gd name="connsiteX109" fmla="*/ 30502 w 4519987"/>
              <a:gd name="connsiteY109" fmla="*/ 2514600 h 4496940"/>
              <a:gd name="connsiteX110" fmla="*/ 11452 w 4519987"/>
              <a:gd name="connsiteY110" fmla="*/ 2400300 h 4496940"/>
              <a:gd name="connsiteX111" fmla="*/ 20977 w 4519987"/>
              <a:gd name="connsiteY111" fmla="*/ 1905000 h 4496940"/>
              <a:gd name="connsiteX112" fmla="*/ 30502 w 4519987"/>
              <a:gd name="connsiteY112" fmla="*/ 1838325 h 4496940"/>
              <a:gd name="connsiteX113" fmla="*/ 49552 w 4519987"/>
              <a:gd name="connsiteY113" fmla="*/ 1781175 h 4496940"/>
              <a:gd name="connsiteX114" fmla="*/ 59077 w 4519987"/>
              <a:gd name="connsiteY114" fmla="*/ 1743075 h 4496940"/>
              <a:gd name="connsiteX115" fmla="*/ 78127 w 4519987"/>
              <a:gd name="connsiteY115" fmla="*/ 1685925 h 4496940"/>
              <a:gd name="connsiteX116" fmla="*/ 87652 w 4519987"/>
              <a:gd name="connsiteY116" fmla="*/ 1638300 h 4496940"/>
              <a:gd name="connsiteX117" fmla="*/ 106702 w 4519987"/>
              <a:gd name="connsiteY117" fmla="*/ 1590675 h 4496940"/>
              <a:gd name="connsiteX118" fmla="*/ 135277 w 4519987"/>
              <a:gd name="connsiteY118" fmla="*/ 1504950 h 4496940"/>
              <a:gd name="connsiteX119" fmla="*/ 154327 w 4519987"/>
              <a:gd name="connsiteY119" fmla="*/ 1419225 h 4496940"/>
              <a:gd name="connsiteX120" fmla="*/ 230527 w 4519987"/>
              <a:gd name="connsiteY120" fmla="*/ 1276350 h 4496940"/>
              <a:gd name="connsiteX121" fmla="*/ 240052 w 4519987"/>
              <a:gd name="connsiteY121" fmla="*/ 1247775 h 4496940"/>
              <a:gd name="connsiteX122" fmla="*/ 268627 w 4519987"/>
              <a:gd name="connsiteY122" fmla="*/ 1200150 h 4496940"/>
              <a:gd name="connsiteX123" fmla="*/ 287677 w 4519987"/>
              <a:gd name="connsiteY123" fmla="*/ 1152525 h 4496940"/>
              <a:gd name="connsiteX124" fmla="*/ 316252 w 4519987"/>
              <a:gd name="connsiteY124" fmla="*/ 1114425 h 4496940"/>
              <a:gd name="connsiteX125" fmla="*/ 363877 w 4519987"/>
              <a:gd name="connsiteY125" fmla="*/ 1038225 h 4496940"/>
              <a:gd name="connsiteX126" fmla="*/ 382927 w 4519987"/>
              <a:gd name="connsiteY126" fmla="*/ 1009650 h 4496940"/>
              <a:gd name="connsiteX127" fmla="*/ 440077 w 4519987"/>
              <a:gd name="connsiteY127" fmla="*/ 904875 h 4496940"/>
              <a:gd name="connsiteX128" fmla="*/ 478177 w 4519987"/>
              <a:gd name="connsiteY128" fmla="*/ 857250 h 4496940"/>
              <a:gd name="connsiteX129" fmla="*/ 497227 w 4519987"/>
              <a:gd name="connsiteY129" fmla="*/ 828675 h 4496940"/>
              <a:gd name="connsiteX130" fmla="*/ 535327 w 4519987"/>
              <a:gd name="connsiteY130" fmla="*/ 800100 h 4496940"/>
              <a:gd name="connsiteX131" fmla="*/ 602002 w 4519987"/>
              <a:gd name="connsiteY131" fmla="*/ 733425 h 4496940"/>
              <a:gd name="connsiteX132" fmla="*/ 668677 w 4519987"/>
              <a:gd name="connsiteY132" fmla="*/ 676275 h 4496940"/>
              <a:gd name="connsiteX133" fmla="*/ 697252 w 4519987"/>
              <a:gd name="connsiteY133" fmla="*/ 657225 h 4496940"/>
              <a:gd name="connsiteX134" fmla="*/ 840127 w 4519987"/>
              <a:gd name="connsiteY134" fmla="*/ 533400 h 4496940"/>
              <a:gd name="connsiteX135" fmla="*/ 887752 w 4519987"/>
              <a:gd name="connsiteY135" fmla="*/ 504825 h 4496940"/>
              <a:gd name="connsiteX136" fmla="*/ 1167152 w 4519987"/>
              <a:gd name="connsiteY136" fmla="*/ 311150 h 4496940"/>
              <a:gd name="connsiteX137" fmla="*/ 1268752 w 4519987"/>
              <a:gd name="connsiteY137" fmla="*/ 285750 h 4496940"/>
              <a:gd name="connsiteX138" fmla="*/ 1411627 w 4519987"/>
              <a:gd name="connsiteY138" fmla="*/ 190500 h 4496940"/>
              <a:gd name="connsiteX139" fmla="*/ 1449727 w 4519987"/>
              <a:gd name="connsiteY139" fmla="*/ 161925 h 4496940"/>
              <a:gd name="connsiteX140" fmla="*/ 1525927 w 4519987"/>
              <a:gd name="connsiteY140" fmla="*/ 152400 h 4496940"/>
              <a:gd name="connsiteX141" fmla="*/ 1583077 w 4519987"/>
              <a:gd name="connsiteY141" fmla="*/ 142875 h 4496940"/>
              <a:gd name="connsiteX142" fmla="*/ 1716427 w 4519987"/>
              <a:gd name="connsiteY142" fmla="*/ 123825 h 4496940"/>
              <a:gd name="connsiteX143" fmla="*/ 1811677 w 4519987"/>
              <a:gd name="connsiteY143" fmla="*/ 114300 h 4496940"/>
              <a:gd name="connsiteX144" fmla="*/ 1859302 w 4519987"/>
              <a:gd name="connsiteY144" fmla="*/ 104775 h 4496940"/>
              <a:gd name="connsiteX145" fmla="*/ 1916452 w 4519987"/>
              <a:gd name="connsiteY145" fmla="*/ 95250 h 4496940"/>
              <a:gd name="connsiteX146" fmla="*/ 2030752 w 4519987"/>
              <a:gd name="connsiteY146" fmla="*/ 66675 h 4496940"/>
              <a:gd name="connsiteX147" fmla="*/ 2097427 w 4519987"/>
              <a:gd name="connsiteY147" fmla="*/ 47625 h 4496940"/>
              <a:gd name="connsiteX148" fmla="*/ 2164102 w 4519987"/>
              <a:gd name="connsiteY148" fmla="*/ 38100 h 4496940"/>
              <a:gd name="connsiteX149" fmla="*/ 2392702 w 4519987"/>
              <a:gd name="connsiteY14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78627 w 4519987"/>
              <a:gd name="connsiteY21" fmla="*/ 838200 h 4496940"/>
              <a:gd name="connsiteX22" fmla="*/ 4135777 w 4519987"/>
              <a:gd name="connsiteY22" fmla="*/ 933450 h 4496940"/>
              <a:gd name="connsiteX23" fmla="*/ 4164352 w 4519987"/>
              <a:gd name="connsiteY23" fmla="*/ 990600 h 4496940"/>
              <a:gd name="connsiteX24" fmla="*/ 4173877 w 4519987"/>
              <a:gd name="connsiteY24" fmla="*/ 1019175 h 4496940"/>
              <a:gd name="connsiteX25" fmla="*/ 4192927 w 4519987"/>
              <a:gd name="connsiteY25" fmla="*/ 1057275 h 4496940"/>
              <a:gd name="connsiteX26" fmla="*/ 4202452 w 4519987"/>
              <a:gd name="connsiteY26" fmla="*/ 1085850 h 4496940"/>
              <a:gd name="connsiteX27" fmla="*/ 4250077 w 4519987"/>
              <a:gd name="connsiteY27" fmla="*/ 1143000 h 4496940"/>
              <a:gd name="connsiteX28" fmla="*/ 4259602 w 4519987"/>
              <a:gd name="connsiteY28" fmla="*/ 1190625 h 4496940"/>
              <a:gd name="connsiteX29" fmla="*/ 4307227 w 4519987"/>
              <a:gd name="connsiteY29" fmla="*/ 1266825 h 4496940"/>
              <a:gd name="connsiteX30" fmla="*/ 4345327 w 4519987"/>
              <a:gd name="connsiteY30" fmla="*/ 1362075 h 4496940"/>
              <a:gd name="connsiteX31" fmla="*/ 4373902 w 4519987"/>
              <a:gd name="connsiteY31" fmla="*/ 1428750 h 4496940"/>
              <a:gd name="connsiteX32" fmla="*/ 4392952 w 4519987"/>
              <a:gd name="connsiteY32" fmla="*/ 1552575 h 4496940"/>
              <a:gd name="connsiteX33" fmla="*/ 4402477 w 4519987"/>
              <a:gd name="connsiteY33" fmla="*/ 1590675 h 4496940"/>
              <a:gd name="connsiteX34" fmla="*/ 4431052 w 4519987"/>
              <a:gd name="connsiteY34" fmla="*/ 1685925 h 4496940"/>
              <a:gd name="connsiteX35" fmla="*/ 4519952 w 4519987"/>
              <a:gd name="connsiteY35" fmla="*/ 2181225 h 4496940"/>
              <a:gd name="connsiteX36" fmla="*/ 4446927 w 4519987"/>
              <a:gd name="connsiteY36" fmla="*/ 2768600 h 4496940"/>
              <a:gd name="connsiteX37" fmla="*/ 4383427 w 4519987"/>
              <a:gd name="connsiteY37" fmla="*/ 2990850 h 4496940"/>
              <a:gd name="connsiteX38" fmla="*/ 4278652 w 4519987"/>
              <a:gd name="connsiteY38" fmla="*/ 3248025 h 4496940"/>
              <a:gd name="connsiteX39" fmla="*/ 4259602 w 4519987"/>
              <a:gd name="connsiteY39" fmla="*/ 3276600 h 4496940"/>
              <a:gd name="connsiteX40" fmla="*/ 4221502 w 4519987"/>
              <a:gd name="connsiteY40" fmla="*/ 3333750 h 4496940"/>
              <a:gd name="connsiteX41" fmla="*/ 4211977 w 4519987"/>
              <a:gd name="connsiteY41" fmla="*/ 3362325 h 4496940"/>
              <a:gd name="connsiteX42" fmla="*/ 4183402 w 4519987"/>
              <a:gd name="connsiteY42" fmla="*/ 3400425 h 4496940"/>
              <a:gd name="connsiteX43" fmla="*/ 4164352 w 4519987"/>
              <a:gd name="connsiteY43" fmla="*/ 3429000 h 4496940"/>
              <a:gd name="connsiteX44" fmla="*/ 4088152 w 4519987"/>
              <a:gd name="connsiteY44" fmla="*/ 3495675 h 4496940"/>
              <a:gd name="connsiteX45" fmla="*/ 4059577 w 4519987"/>
              <a:gd name="connsiteY45" fmla="*/ 3533775 h 4496940"/>
              <a:gd name="connsiteX46" fmla="*/ 4002427 w 4519987"/>
              <a:gd name="connsiteY46" fmla="*/ 3600450 h 4496940"/>
              <a:gd name="connsiteX47" fmla="*/ 3983377 w 4519987"/>
              <a:gd name="connsiteY47" fmla="*/ 3629025 h 4496940"/>
              <a:gd name="connsiteX48" fmla="*/ 3954802 w 4519987"/>
              <a:gd name="connsiteY48" fmla="*/ 3648075 h 4496940"/>
              <a:gd name="connsiteX49" fmla="*/ 3907177 w 4519987"/>
              <a:gd name="connsiteY49" fmla="*/ 3686175 h 4496940"/>
              <a:gd name="connsiteX50" fmla="*/ 3869077 w 4519987"/>
              <a:gd name="connsiteY50" fmla="*/ 3724275 h 4496940"/>
              <a:gd name="connsiteX51" fmla="*/ 3792877 w 4519987"/>
              <a:gd name="connsiteY51" fmla="*/ 3781425 h 4496940"/>
              <a:gd name="connsiteX52" fmla="*/ 3783352 w 4519987"/>
              <a:gd name="connsiteY52" fmla="*/ 3810000 h 4496940"/>
              <a:gd name="connsiteX53" fmla="*/ 3745252 w 4519987"/>
              <a:gd name="connsiteY53" fmla="*/ 3819525 h 4496940"/>
              <a:gd name="connsiteX54" fmla="*/ 3678577 w 4519987"/>
              <a:gd name="connsiteY54" fmla="*/ 3848100 h 4496940"/>
              <a:gd name="connsiteX55" fmla="*/ 3659527 w 4519987"/>
              <a:gd name="connsiteY55" fmla="*/ 3971925 h 4496940"/>
              <a:gd name="connsiteX56" fmla="*/ 3630952 w 4519987"/>
              <a:gd name="connsiteY56" fmla="*/ 4010025 h 4496940"/>
              <a:gd name="connsiteX57" fmla="*/ 3621427 w 4519987"/>
              <a:gd name="connsiteY57" fmla="*/ 4038600 h 4496940"/>
              <a:gd name="connsiteX58" fmla="*/ 3554752 w 4519987"/>
              <a:gd name="connsiteY58" fmla="*/ 4095750 h 4496940"/>
              <a:gd name="connsiteX59" fmla="*/ 3516652 w 4519987"/>
              <a:gd name="connsiteY59" fmla="*/ 4114800 h 4496940"/>
              <a:gd name="connsiteX60" fmla="*/ 3497602 w 4519987"/>
              <a:gd name="connsiteY60" fmla="*/ 4143375 h 4496940"/>
              <a:gd name="connsiteX61" fmla="*/ 3383302 w 4519987"/>
              <a:gd name="connsiteY61" fmla="*/ 4210050 h 4496940"/>
              <a:gd name="connsiteX62" fmla="*/ 3335677 w 4519987"/>
              <a:gd name="connsiteY62" fmla="*/ 4238625 h 4496940"/>
              <a:gd name="connsiteX63" fmla="*/ 3288052 w 4519987"/>
              <a:gd name="connsiteY63" fmla="*/ 4248150 h 4496940"/>
              <a:gd name="connsiteX64" fmla="*/ 3240427 w 4519987"/>
              <a:gd name="connsiteY64" fmla="*/ 4267200 h 4496940"/>
              <a:gd name="connsiteX65" fmla="*/ 3068977 w 4519987"/>
              <a:gd name="connsiteY65" fmla="*/ 4286250 h 4496940"/>
              <a:gd name="connsiteX66" fmla="*/ 2935627 w 4519987"/>
              <a:gd name="connsiteY66" fmla="*/ 4333875 h 4496940"/>
              <a:gd name="connsiteX67" fmla="*/ 2811802 w 4519987"/>
              <a:gd name="connsiteY67" fmla="*/ 4371975 h 4496940"/>
              <a:gd name="connsiteX68" fmla="*/ 2745127 w 4519987"/>
              <a:gd name="connsiteY68" fmla="*/ 4410075 h 4496940"/>
              <a:gd name="connsiteX69" fmla="*/ 2697502 w 4519987"/>
              <a:gd name="connsiteY69" fmla="*/ 4429125 h 4496940"/>
              <a:gd name="connsiteX70" fmla="*/ 2640352 w 4519987"/>
              <a:gd name="connsiteY70" fmla="*/ 4457700 h 4496940"/>
              <a:gd name="connsiteX71" fmla="*/ 2583202 w 4519987"/>
              <a:gd name="connsiteY71" fmla="*/ 4467225 h 4496940"/>
              <a:gd name="connsiteX72" fmla="*/ 2545102 w 4519987"/>
              <a:gd name="connsiteY72" fmla="*/ 4486275 h 4496940"/>
              <a:gd name="connsiteX73" fmla="*/ 2306977 w 4519987"/>
              <a:gd name="connsiteY73" fmla="*/ 4476750 h 4496940"/>
              <a:gd name="connsiteX74" fmla="*/ 2202202 w 4519987"/>
              <a:gd name="connsiteY74" fmla="*/ 4457700 h 4496940"/>
              <a:gd name="connsiteX75" fmla="*/ 2126002 w 4519987"/>
              <a:gd name="connsiteY75" fmla="*/ 4429125 h 4496940"/>
              <a:gd name="connsiteX76" fmla="*/ 1935502 w 4519987"/>
              <a:gd name="connsiteY76" fmla="*/ 4400550 h 4496940"/>
              <a:gd name="connsiteX77" fmla="*/ 1821202 w 4519987"/>
              <a:gd name="connsiteY77" fmla="*/ 4371975 h 4496940"/>
              <a:gd name="connsiteX78" fmla="*/ 1754527 w 4519987"/>
              <a:gd name="connsiteY78" fmla="*/ 4352925 h 4496940"/>
              <a:gd name="connsiteX79" fmla="*/ 1687852 w 4519987"/>
              <a:gd name="connsiteY79" fmla="*/ 4343400 h 4496940"/>
              <a:gd name="connsiteX80" fmla="*/ 1573552 w 4519987"/>
              <a:gd name="connsiteY80" fmla="*/ 4305300 h 4496940"/>
              <a:gd name="connsiteX81" fmla="*/ 1402102 w 4519987"/>
              <a:gd name="connsiteY81" fmla="*/ 4276725 h 4496940"/>
              <a:gd name="connsiteX82" fmla="*/ 1287802 w 4519987"/>
              <a:gd name="connsiteY82" fmla="*/ 4229100 h 4496940"/>
              <a:gd name="connsiteX83" fmla="*/ 1221127 w 4519987"/>
              <a:gd name="connsiteY83" fmla="*/ 4200525 h 4496940"/>
              <a:gd name="connsiteX84" fmla="*/ 1144927 w 4519987"/>
              <a:gd name="connsiteY84" fmla="*/ 4171950 h 4496940"/>
              <a:gd name="connsiteX85" fmla="*/ 1087777 w 4519987"/>
              <a:gd name="connsiteY85" fmla="*/ 4143375 h 4496940"/>
              <a:gd name="connsiteX86" fmla="*/ 1030627 w 4519987"/>
              <a:gd name="connsiteY86" fmla="*/ 4124325 h 4496940"/>
              <a:gd name="connsiteX87" fmla="*/ 925852 w 4519987"/>
              <a:gd name="connsiteY87" fmla="*/ 4067175 h 4496940"/>
              <a:gd name="connsiteX88" fmla="*/ 830602 w 4519987"/>
              <a:gd name="connsiteY88" fmla="*/ 3981450 h 4496940"/>
              <a:gd name="connsiteX89" fmla="*/ 763927 w 4519987"/>
              <a:gd name="connsiteY89" fmla="*/ 3914775 h 4496940"/>
              <a:gd name="connsiteX90" fmla="*/ 725827 w 4519987"/>
              <a:gd name="connsiteY90" fmla="*/ 3876675 h 4496940"/>
              <a:gd name="connsiteX91" fmla="*/ 697252 w 4519987"/>
              <a:gd name="connsiteY91" fmla="*/ 3838575 h 4496940"/>
              <a:gd name="connsiteX92" fmla="*/ 640102 w 4519987"/>
              <a:gd name="connsiteY92" fmla="*/ 3781425 h 4496940"/>
              <a:gd name="connsiteX93" fmla="*/ 611527 w 4519987"/>
              <a:gd name="connsiteY93" fmla="*/ 3733800 h 4496940"/>
              <a:gd name="connsiteX94" fmla="*/ 554377 w 4519987"/>
              <a:gd name="connsiteY94" fmla="*/ 3657600 h 4496940"/>
              <a:gd name="connsiteX95" fmla="*/ 525802 w 4519987"/>
              <a:gd name="connsiteY95" fmla="*/ 3609975 h 4496940"/>
              <a:gd name="connsiteX96" fmla="*/ 497227 w 4519987"/>
              <a:gd name="connsiteY96" fmla="*/ 3552825 h 4496940"/>
              <a:gd name="connsiteX97" fmla="*/ 440077 w 4519987"/>
              <a:gd name="connsiteY97" fmla="*/ 3495675 h 4496940"/>
              <a:gd name="connsiteX98" fmla="*/ 411502 w 4519987"/>
              <a:gd name="connsiteY98" fmla="*/ 3448050 h 4496940"/>
              <a:gd name="connsiteX99" fmla="*/ 278152 w 4519987"/>
              <a:gd name="connsiteY99" fmla="*/ 3257550 h 4496940"/>
              <a:gd name="connsiteX100" fmla="*/ 249577 w 4519987"/>
              <a:gd name="connsiteY100" fmla="*/ 3200400 h 4496940"/>
              <a:gd name="connsiteX101" fmla="*/ 240052 w 4519987"/>
              <a:gd name="connsiteY101" fmla="*/ 3162300 h 4496940"/>
              <a:gd name="connsiteX102" fmla="*/ 221002 w 4519987"/>
              <a:gd name="connsiteY102" fmla="*/ 3105150 h 4496940"/>
              <a:gd name="connsiteX103" fmla="*/ 173377 w 4519987"/>
              <a:gd name="connsiteY103" fmla="*/ 3019425 h 4496940"/>
              <a:gd name="connsiteX104" fmla="*/ 144802 w 4519987"/>
              <a:gd name="connsiteY104" fmla="*/ 2924175 h 4496940"/>
              <a:gd name="connsiteX105" fmla="*/ 68602 w 4519987"/>
              <a:gd name="connsiteY105" fmla="*/ 2724150 h 4496940"/>
              <a:gd name="connsiteX106" fmla="*/ 49552 w 4519987"/>
              <a:gd name="connsiteY106" fmla="*/ 2638425 h 4496940"/>
              <a:gd name="connsiteX107" fmla="*/ 40027 w 4519987"/>
              <a:gd name="connsiteY107" fmla="*/ 2562225 h 4496940"/>
              <a:gd name="connsiteX108" fmla="*/ 30502 w 4519987"/>
              <a:gd name="connsiteY108" fmla="*/ 2514600 h 4496940"/>
              <a:gd name="connsiteX109" fmla="*/ 11452 w 4519987"/>
              <a:gd name="connsiteY109" fmla="*/ 2400300 h 4496940"/>
              <a:gd name="connsiteX110" fmla="*/ 20977 w 4519987"/>
              <a:gd name="connsiteY110" fmla="*/ 1905000 h 4496940"/>
              <a:gd name="connsiteX111" fmla="*/ 30502 w 4519987"/>
              <a:gd name="connsiteY111" fmla="*/ 1838325 h 4496940"/>
              <a:gd name="connsiteX112" fmla="*/ 49552 w 4519987"/>
              <a:gd name="connsiteY112" fmla="*/ 1781175 h 4496940"/>
              <a:gd name="connsiteX113" fmla="*/ 59077 w 4519987"/>
              <a:gd name="connsiteY113" fmla="*/ 1743075 h 4496940"/>
              <a:gd name="connsiteX114" fmla="*/ 78127 w 4519987"/>
              <a:gd name="connsiteY114" fmla="*/ 1685925 h 4496940"/>
              <a:gd name="connsiteX115" fmla="*/ 87652 w 4519987"/>
              <a:gd name="connsiteY115" fmla="*/ 1638300 h 4496940"/>
              <a:gd name="connsiteX116" fmla="*/ 106702 w 4519987"/>
              <a:gd name="connsiteY116" fmla="*/ 1590675 h 4496940"/>
              <a:gd name="connsiteX117" fmla="*/ 135277 w 4519987"/>
              <a:gd name="connsiteY117" fmla="*/ 1504950 h 4496940"/>
              <a:gd name="connsiteX118" fmla="*/ 154327 w 4519987"/>
              <a:gd name="connsiteY118" fmla="*/ 1419225 h 4496940"/>
              <a:gd name="connsiteX119" fmla="*/ 230527 w 4519987"/>
              <a:gd name="connsiteY119" fmla="*/ 1276350 h 4496940"/>
              <a:gd name="connsiteX120" fmla="*/ 240052 w 4519987"/>
              <a:gd name="connsiteY120" fmla="*/ 1247775 h 4496940"/>
              <a:gd name="connsiteX121" fmla="*/ 268627 w 4519987"/>
              <a:gd name="connsiteY121" fmla="*/ 1200150 h 4496940"/>
              <a:gd name="connsiteX122" fmla="*/ 287677 w 4519987"/>
              <a:gd name="connsiteY122" fmla="*/ 1152525 h 4496940"/>
              <a:gd name="connsiteX123" fmla="*/ 316252 w 4519987"/>
              <a:gd name="connsiteY123" fmla="*/ 1114425 h 4496940"/>
              <a:gd name="connsiteX124" fmla="*/ 363877 w 4519987"/>
              <a:gd name="connsiteY124" fmla="*/ 1038225 h 4496940"/>
              <a:gd name="connsiteX125" fmla="*/ 382927 w 4519987"/>
              <a:gd name="connsiteY125" fmla="*/ 1009650 h 4496940"/>
              <a:gd name="connsiteX126" fmla="*/ 440077 w 4519987"/>
              <a:gd name="connsiteY126" fmla="*/ 904875 h 4496940"/>
              <a:gd name="connsiteX127" fmla="*/ 478177 w 4519987"/>
              <a:gd name="connsiteY127" fmla="*/ 857250 h 4496940"/>
              <a:gd name="connsiteX128" fmla="*/ 497227 w 4519987"/>
              <a:gd name="connsiteY128" fmla="*/ 828675 h 4496940"/>
              <a:gd name="connsiteX129" fmla="*/ 535327 w 4519987"/>
              <a:gd name="connsiteY129" fmla="*/ 800100 h 4496940"/>
              <a:gd name="connsiteX130" fmla="*/ 602002 w 4519987"/>
              <a:gd name="connsiteY130" fmla="*/ 733425 h 4496940"/>
              <a:gd name="connsiteX131" fmla="*/ 668677 w 4519987"/>
              <a:gd name="connsiteY131" fmla="*/ 676275 h 4496940"/>
              <a:gd name="connsiteX132" fmla="*/ 697252 w 4519987"/>
              <a:gd name="connsiteY132" fmla="*/ 657225 h 4496940"/>
              <a:gd name="connsiteX133" fmla="*/ 840127 w 4519987"/>
              <a:gd name="connsiteY133" fmla="*/ 533400 h 4496940"/>
              <a:gd name="connsiteX134" fmla="*/ 887752 w 4519987"/>
              <a:gd name="connsiteY134" fmla="*/ 504825 h 4496940"/>
              <a:gd name="connsiteX135" fmla="*/ 1167152 w 4519987"/>
              <a:gd name="connsiteY135" fmla="*/ 311150 h 4496940"/>
              <a:gd name="connsiteX136" fmla="*/ 1268752 w 4519987"/>
              <a:gd name="connsiteY136" fmla="*/ 285750 h 4496940"/>
              <a:gd name="connsiteX137" fmla="*/ 1411627 w 4519987"/>
              <a:gd name="connsiteY137" fmla="*/ 190500 h 4496940"/>
              <a:gd name="connsiteX138" fmla="*/ 1449727 w 4519987"/>
              <a:gd name="connsiteY138" fmla="*/ 161925 h 4496940"/>
              <a:gd name="connsiteX139" fmla="*/ 1525927 w 4519987"/>
              <a:gd name="connsiteY139" fmla="*/ 152400 h 4496940"/>
              <a:gd name="connsiteX140" fmla="*/ 1583077 w 4519987"/>
              <a:gd name="connsiteY140" fmla="*/ 142875 h 4496940"/>
              <a:gd name="connsiteX141" fmla="*/ 1716427 w 4519987"/>
              <a:gd name="connsiteY141" fmla="*/ 123825 h 4496940"/>
              <a:gd name="connsiteX142" fmla="*/ 1811677 w 4519987"/>
              <a:gd name="connsiteY142" fmla="*/ 114300 h 4496940"/>
              <a:gd name="connsiteX143" fmla="*/ 1859302 w 4519987"/>
              <a:gd name="connsiteY143" fmla="*/ 104775 h 4496940"/>
              <a:gd name="connsiteX144" fmla="*/ 1916452 w 4519987"/>
              <a:gd name="connsiteY144" fmla="*/ 95250 h 4496940"/>
              <a:gd name="connsiteX145" fmla="*/ 2030752 w 4519987"/>
              <a:gd name="connsiteY145" fmla="*/ 66675 h 4496940"/>
              <a:gd name="connsiteX146" fmla="*/ 2097427 w 4519987"/>
              <a:gd name="connsiteY146" fmla="*/ 47625 h 4496940"/>
              <a:gd name="connsiteX147" fmla="*/ 2164102 w 4519987"/>
              <a:gd name="connsiteY147" fmla="*/ 38100 h 4496940"/>
              <a:gd name="connsiteX148" fmla="*/ 2392702 w 4519987"/>
              <a:gd name="connsiteY14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135777 w 4519987"/>
              <a:gd name="connsiteY21" fmla="*/ 9334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192927 w 4519987"/>
              <a:gd name="connsiteY24" fmla="*/ 1057275 h 4496940"/>
              <a:gd name="connsiteX25" fmla="*/ 4202452 w 4519987"/>
              <a:gd name="connsiteY25" fmla="*/ 1085850 h 4496940"/>
              <a:gd name="connsiteX26" fmla="*/ 4250077 w 4519987"/>
              <a:gd name="connsiteY26" fmla="*/ 1143000 h 4496940"/>
              <a:gd name="connsiteX27" fmla="*/ 4259602 w 4519987"/>
              <a:gd name="connsiteY27" fmla="*/ 1190625 h 4496940"/>
              <a:gd name="connsiteX28" fmla="*/ 4307227 w 4519987"/>
              <a:gd name="connsiteY28" fmla="*/ 1266825 h 4496940"/>
              <a:gd name="connsiteX29" fmla="*/ 4345327 w 4519987"/>
              <a:gd name="connsiteY29" fmla="*/ 1362075 h 4496940"/>
              <a:gd name="connsiteX30" fmla="*/ 4373902 w 4519987"/>
              <a:gd name="connsiteY30" fmla="*/ 1428750 h 4496940"/>
              <a:gd name="connsiteX31" fmla="*/ 4392952 w 4519987"/>
              <a:gd name="connsiteY31" fmla="*/ 1552575 h 4496940"/>
              <a:gd name="connsiteX32" fmla="*/ 4402477 w 4519987"/>
              <a:gd name="connsiteY32" fmla="*/ 1590675 h 4496940"/>
              <a:gd name="connsiteX33" fmla="*/ 4431052 w 4519987"/>
              <a:gd name="connsiteY33" fmla="*/ 1685925 h 4496940"/>
              <a:gd name="connsiteX34" fmla="*/ 4519952 w 4519987"/>
              <a:gd name="connsiteY34" fmla="*/ 2181225 h 4496940"/>
              <a:gd name="connsiteX35" fmla="*/ 4446927 w 4519987"/>
              <a:gd name="connsiteY35" fmla="*/ 2768600 h 4496940"/>
              <a:gd name="connsiteX36" fmla="*/ 4383427 w 4519987"/>
              <a:gd name="connsiteY36" fmla="*/ 2990850 h 4496940"/>
              <a:gd name="connsiteX37" fmla="*/ 4278652 w 4519987"/>
              <a:gd name="connsiteY37" fmla="*/ 3248025 h 4496940"/>
              <a:gd name="connsiteX38" fmla="*/ 4259602 w 4519987"/>
              <a:gd name="connsiteY38" fmla="*/ 3276600 h 4496940"/>
              <a:gd name="connsiteX39" fmla="*/ 4221502 w 4519987"/>
              <a:gd name="connsiteY39" fmla="*/ 3333750 h 4496940"/>
              <a:gd name="connsiteX40" fmla="*/ 4211977 w 4519987"/>
              <a:gd name="connsiteY40" fmla="*/ 3362325 h 4496940"/>
              <a:gd name="connsiteX41" fmla="*/ 4183402 w 4519987"/>
              <a:gd name="connsiteY41" fmla="*/ 3400425 h 4496940"/>
              <a:gd name="connsiteX42" fmla="*/ 4164352 w 4519987"/>
              <a:gd name="connsiteY42" fmla="*/ 3429000 h 4496940"/>
              <a:gd name="connsiteX43" fmla="*/ 4088152 w 4519987"/>
              <a:gd name="connsiteY43" fmla="*/ 3495675 h 4496940"/>
              <a:gd name="connsiteX44" fmla="*/ 4059577 w 4519987"/>
              <a:gd name="connsiteY44" fmla="*/ 3533775 h 4496940"/>
              <a:gd name="connsiteX45" fmla="*/ 4002427 w 4519987"/>
              <a:gd name="connsiteY45" fmla="*/ 3600450 h 4496940"/>
              <a:gd name="connsiteX46" fmla="*/ 3983377 w 4519987"/>
              <a:gd name="connsiteY46" fmla="*/ 3629025 h 4496940"/>
              <a:gd name="connsiteX47" fmla="*/ 3954802 w 4519987"/>
              <a:gd name="connsiteY47" fmla="*/ 3648075 h 4496940"/>
              <a:gd name="connsiteX48" fmla="*/ 3907177 w 4519987"/>
              <a:gd name="connsiteY48" fmla="*/ 3686175 h 4496940"/>
              <a:gd name="connsiteX49" fmla="*/ 3869077 w 4519987"/>
              <a:gd name="connsiteY49" fmla="*/ 3724275 h 4496940"/>
              <a:gd name="connsiteX50" fmla="*/ 3792877 w 4519987"/>
              <a:gd name="connsiteY50" fmla="*/ 3781425 h 4496940"/>
              <a:gd name="connsiteX51" fmla="*/ 3783352 w 4519987"/>
              <a:gd name="connsiteY51" fmla="*/ 3810000 h 4496940"/>
              <a:gd name="connsiteX52" fmla="*/ 3745252 w 4519987"/>
              <a:gd name="connsiteY52" fmla="*/ 3819525 h 4496940"/>
              <a:gd name="connsiteX53" fmla="*/ 3678577 w 4519987"/>
              <a:gd name="connsiteY53" fmla="*/ 3848100 h 4496940"/>
              <a:gd name="connsiteX54" fmla="*/ 3659527 w 4519987"/>
              <a:gd name="connsiteY54" fmla="*/ 3971925 h 4496940"/>
              <a:gd name="connsiteX55" fmla="*/ 3630952 w 4519987"/>
              <a:gd name="connsiteY55" fmla="*/ 4010025 h 4496940"/>
              <a:gd name="connsiteX56" fmla="*/ 3621427 w 4519987"/>
              <a:gd name="connsiteY56" fmla="*/ 4038600 h 4496940"/>
              <a:gd name="connsiteX57" fmla="*/ 3554752 w 4519987"/>
              <a:gd name="connsiteY57" fmla="*/ 4095750 h 4496940"/>
              <a:gd name="connsiteX58" fmla="*/ 3516652 w 4519987"/>
              <a:gd name="connsiteY58" fmla="*/ 4114800 h 4496940"/>
              <a:gd name="connsiteX59" fmla="*/ 3497602 w 4519987"/>
              <a:gd name="connsiteY59" fmla="*/ 4143375 h 4496940"/>
              <a:gd name="connsiteX60" fmla="*/ 3383302 w 4519987"/>
              <a:gd name="connsiteY60" fmla="*/ 4210050 h 4496940"/>
              <a:gd name="connsiteX61" fmla="*/ 3335677 w 4519987"/>
              <a:gd name="connsiteY61" fmla="*/ 4238625 h 4496940"/>
              <a:gd name="connsiteX62" fmla="*/ 3288052 w 4519987"/>
              <a:gd name="connsiteY62" fmla="*/ 4248150 h 4496940"/>
              <a:gd name="connsiteX63" fmla="*/ 3240427 w 4519987"/>
              <a:gd name="connsiteY63" fmla="*/ 4267200 h 4496940"/>
              <a:gd name="connsiteX64" fmla="*/ 3068977 w 4519987"/>
              <a:gd name="connsiteY64" fmla="*/ 4286250 h 4496940"/>
              <a:gd name="connsiteX65" fmla="*/ 2935627 w 4519987"/>
              <a:gd name="connsiteY65" fmla="*/ 4333875 h 4496940"/>
              <a:gd name="connsiteX66" fmla="*/ 2811802 w 4519987"/>
              <a:gd name="connsiteY66" fmla="*/ 4371975 h 4496940"/>
              <a:gd name="connsiteX67" fmla="*/ 2745127 w 4519987"/>
              <a:gd name="connsiteY67" fmla="*/ 4410075 h 4496940"/>
              <a:gd name="connsiteX68" fmla="*/ 2697502 w 4519987"/>
              <a:gd name="connsiteY68" fmla="*/ 4429125 h 4496940"/>
              <a:gd name="connsiteX69" fmla="*/ 2640352 w 4519987"/>
              <a:gd name="connsiteY69" fmla="*/ 4457700 h 4496940"/>
              <a:gd name="connsiteX70" fmla="*/ 2583202 w 4519987"/>
              <a:gd name="connsiteY70" fmla="*/ 4467225 h 4496940"/>
              <a:gd name="connsiteX71" fmla="*/ 2545102 w 4519987"/>
              <a:gd name="connsiteY71" fmla="*/ 4486275 h 4496940"/>
              <a:gd name="connsiteX72" fmla="*/ 2306977 w 4519987"/>
              <a:gd name="connsiteY72" fmla="*/ 4476750 h 4496940"/>
              <a:gd name="connsiteX73" fmla="*/ 2202202 w 4519987"/>
              <a:gd name="connsiteY73" fmla="*/ 4457700 h 4496940"/>
              <a:gd name="connsiteX74" fmla="*/ 2126002 w 4519987"/>
              <a:gd name="connsiteY74" fmla="*/ 4429125 h 4496940"/>
              <a:gd name="connsiteX75" fmla="*/ 1935502 w 4519987"/>
              <a:gd name="connsiteY75" fmla="*/ 4400550 h 4496940"/>
              <a:gd name="connsiteX76" fmla="*/ 1821202 w 4519987"/>
              <a:gd name="connsiteY76" fmla="*/ 4371975 h 4496940"/>
              <a:gd name="connsiteX77" fmla="*/ 1754527 w 4519987"/>
              <a:gd name="connsiteY77" fmla="*/ 4352925 h 4496940"/>
              <a:gd name="connsiteX78" fmla="*/ 1687852 w 4519987"/>
              <a:gd name="connsiteY78" fmla="*/ 4343400 h 4496940"/>
              <a:gd name="connsiteX79" fmla="*/ 1573552 w 4519987"/>
              <a:gd name="connsiteY79" fmla="*/ 4305300 h 4496940"/>
              <a:gd name="connsiteX80" fmla="*/ 1402102 w 4519987"/>
              <a:gd name="connsiteY80" fmla="*/ 4276725 h 4496940"/>
              <a:gd name="connsiteX81" fmla="*/ 1287802 w 4519987"/>
              <a:gd name="connsiteY81" fmla="*/ 4229100 h 4496940"/>
              <a:gd name="connsiteX82" fmla="*/ 1221127 w 4519987"/>
              <a:gd name="connsiteY82" fmla="*/ 4200525 h 4496940"/>
              <a:gd name="connsiteX83" fmla="*/ 1144927 w 4519987"/>
              <a:gd name="connsiteY83" fmla="*/ 4171950 h 4496940"/>
              <a:gd name="connsiteX84" fmla="*/ 1087777 w 4519987"/>
              <a:gd name="connsiteY84" fmla="*/ 4143375 h 4496940"/>
              <a:gd name="connsiteX85" fmla="*/ 1030627 w 4519987"/>
              <a:gd name="connsiteY85" fmla="*/ 4124325 h 4496940"/>
              <a:gd name="connsiteX86" fmla="*/ 925852 w 4519987"/>
              <a:gd name="connsiteY86" fmla="*/ 4067175 h 4496940"/>
              <a:gd name="connsiteX87" fmla="*/ 830602 w 4519987"/>
              <a:gd name="connsiteY87" fmla="*/ 3981450 h 4496940"/>
              <a:gd name="connsiteX88" fmla="*/ 763927 w 4519987"/>
              <a:gd name="connsiteY88" fmla="*/ 3914775 h 4496940"/>
              <a:gd name="connsiteX89" fmla="*/ 725827 w 4519987"/>
              <a:gd name="connsiteY89" fmla="*/ 3876675 h 4496940"/>
              <a:gd name="connsiteX90" fmla="*/ 697252 w 4519987"/>
              <a:gd name="connsiteY90" fmla="*/ 3838575 h 4496940"/>
              <a:gd name="connsiteX91" fmla="*/ 640102 w 4519987"/>
              <a:gd name="connsiteY91" fmla="*/ 3781425 h 4496940"/>
              <a:gd name="connsiteX92" fmla="*/ 611527 w 4519987"/>
              <a:gd name="connsiteY92" fmla="*/ 3733800 h 4496940"/>
              <a:gd name="connsiteX93" fmla="*/ 554377 w 4519987"/>
              <a:gd name="connsiteY93" fmla="*/ 3657600 h 4496940"/>
              <a:gd name="connsiteX94" fmla="*/ 525802 w 4519987"/>
              <a:gd name="connsiteY94" fmla="*/ 3609975 h 4496940"/>
              <a:gd name="connsiteX95" fmla="*/ 497227 w 4519987"/>
              <a:gd name="connsiteY95" fmla="*/ 3552825 h 4496940"/>
              <a:gd name="connsiteX96" fmla="*/ 440077 w 4519987"/>
              <a:gd name="connsiteY96" fmla="*/ 3495675 h 4496940"/>
              <a:gd name="connsiteX97" fmla="*/ 411502 w 4519987"/>
              <a:gd name="connsiteY97" fmla="*/ 3448050 h 4496940"/>
              <a:gd name="connsiteX98" fmla="*/ 278152 w 4519987"/>
              <a:gd name="connsiteY98" fmla="*/ 3257550 h 4496940"/>
              <a:gd name="connsiteX99" fmla="*/ 249577 w 4519987"/>
              <a:gd name="connsiteY99" fmla="*/ 3200400 h 4496940"/>
              <a:gd name="connsiteX100" fmla="*/ 240052 w 4519987"/>
              <a:gd name="connsiteY100" fmla="*/ 3162300 h 4496940"/>
              <a:gd name="connsiteX101" fmla="*/ 221002 w 4519987"/>
              <a:gd name="connsiteY101" fmla="*/ 3105150 h 4496940"/>
              <a:gd name="connsiteX102" fmla="*/ 173377 w 4519987"/>
              <a:gd name="connsiteY102" fmla="*/ 3019425 h 4496940"/>
              <a:gd name="connsiteX103" fmla="*/ 144802 w 4519987"/>
              <a:gd name="connsiteY103" fmla="*/ 2924175 h 4496940"/>
              <a:gd name="connsiteX104" fmla="*/ 68602 w 4519987"/>
              <a:gd name="connsiteY104" fmla="*/ 2724150 h 4496940"/>
              <a:gd name="connsiteX105" fmla="*/ 49552 w 4519987"/>
              <a:gd name="connsiteY105" fmla="*/ 2638425 h 4496940"/>
              <a:gd name="connsiteX106" fmla="*/ 40027 w 4519987"/>
              <a:gd name="connsiteY106" fmla="*/ 2562225 h 4496940"/>
              <a:gd name="connsiteX107" fmla="*/ 30502 w 4519987"/>
              <a:gd name="connsiteY107" fmla="*/ 2514600 h 4496940"/>
              <a:gd name="connsiteX108" fmla="*/ 11452 w 4519987"/>
              <a:gd name="connsiteY108" fmla="*/ 2400300 h 4496940"/>
              <a:gd name="connsiteX109" fmla="*/ 20977 w 4519987"/>
              <a:gd name="connsiteY109" fmla="*/ 1905000 h 4496940"/>
              <a:gd name="connsiteX110" fmla="*/ 30502 w 4519987"/>
              <a:gd name="connsiteY110" fmla="*/ 1838325 h 4496940"/>
              <a:gd name="connsiteX111" fmla="*/ 49552 w 4519987"/>
              <a:gd name="connsiteY111" fmla="*/ 1781175 h 4496940"/>
              <a:gd name="connsiteX112" fmla="*/ 59077 w 4519987"/>
              <a:gd name="connsiteY112" fmla="*/ 1743075 h 4496940"/>
              <a:gd name="connsiteX113" fmla="*/ 78127 w 4519987"/>
              <a:gd name="connsiteY113" fmla="*/ 1685925 h 4496940"/>
              <a:gd name="connsiteX114" fmla="*/ 87652 w 4519987"/>
              <a:gd name="connsiteY114" fmla="*/ 1638300 h 4496940"/>
              <a:gd name="connsiteX115" fmla="*/ 106702 w 4519987"/>
              <a:gd name="connsiteY115" fmla="*/ 1590675 h 4496940"/>
              <a:gd name="connsiteX116" fmla="*/ 135277 w 4519987"/>
              <a:gd name="connsiteY116" fmla="*/ 1504950 h 4496940"/>
              <a:gd name="connsiteX117" fmla="*/ 154327 w 4519987"/>
              <a:gd name="connsiteY117" fmla="*/ 1419225 h 4496940"/>
              <a:gd name="connsiteX118" fmla="*/ 230527 w 4519987"/>
              <a:gd name="connsiteY118" fmla="*/ 1276350 h 4496940"/>
              <a:gd name="connsiteX119" fmla="*/ 240052 w 4519987"/>
              <a:gd name="connsiteY119" fmla="*/ 1247775 h 4496940"/>
              <a:gd name="connsiteX120" fmla="*/ 268627 w 4519987"/>
              <a:gd name="connsiteY120" fmla="*/ 1200150 h 4496940"/>
              <a:gd name="connsiteX121" fmla="*/ 287677 w 4519987"/>
              <a:gd name="connsiteY121" fmla="*/ 1152525 h 4496940"/>
              <a:gd name="connsiteX122" fmla="*/ 316252 w 4519987"/>
              <a:gd name="connsiteY122" fmla="*/ 1114425 h 4496940"/>
              <a:gd name="connsiteX123" fmla="*/ 363877 w 4519987"/>
              <a:gd name="connsiteY123" fmla="*/ 1038225 h 4496940"/>
              <a:gd name="connsiteX124" fmla="*/ 382927 w 4519987"/>
              <a:gd name="connsiteY124" fmla="*/ 1009650 h 4496940"/>
              <a:gd name="connsiteX125" fmla="*/ 440077 w 4519987"/>
              <a:gd name="connsiteY125" fmla="*/ 904875 h 4496940"/>
              <a:gd name="connsiteX126" fmla="*/ 478177 w 4519987"/>
              <a:gd name="connsiteY126" fmla="*/ 857250 h 4496940"/>
              <a:gd name="connsiteX127" fmla="*/ 497227 w 4519987"/>
              <a:gd name="connsiteY127" fmla="*/ 828675 h 4496940"/>
              <a:gd name="connsiteX128" fmla="*/ 535327 w 4519987"/>
              <a:gd name="connsiteY128" fmla="*/ 800100 h 4496940"/>
              <a:gd name="connsiteX129" fmla="*/ 602002 w 4519987"/>
              <a:gd name="connsiteY129" fmla="*/ 733425 h 4496940"/>
              <a:gd name="connsiteX130" fmla="*/ 668677 w 4519987"/>
              <a:gd name="connsiteY130" fmla="*/ 676275 h 4496940"/>
              <a:gd name="connsiteX131" fmla="*/ 697252 w 4519987"/>
              <a:gd name="connsiteY131" fmla="*/ 657225 h 4496940"/>
              <a:gd name="connsiteX132" fmla="*/ 840127 w 4519987"/>
              <a:gd name="connsiteY132" fmla="*/ 533400 h 4496940"/>
              <a:gd name="connsiteX133" fmla="*/ 887752 w 4519987"/>
              <a:gd name="connsiteY133" fmla="*/ 504825 h 4496940"/>
              <a:gd name="connsiteX134" fmla="*/ 1167152 w 4519987"/>
              <a:gd name="connsiteY134" fmla="*/ 311150 h 4496940"/>
              <a:gd name="connsiteX135" fmla="*/ 1268752 w 4519987"/>
              <a:gd name="connsiteY135" fmla="*/ 285750 h 4496940"/>
              <a:gd name="connsiteX136" fmla="*/ 1411627 w 4519987"/>
              <a:gd name="connsiteY136" fmla="*/ 190500 h 4496940"/>
              <a:gd name="connsiteX137" fmla="*/ 1449727 w 4519987"/>
              <a:gd name="connsiteY137" fmla="*/ 161925 h 4496940"/>
              <a:gd name="connsiteX138" fmla="*/ 1525927 w 4519987"/>
              <a:gd name="connsiteY138" fmla="*/ 152400 h 4496940"/>
              <a:gd name="connsiteX139" fmla="*/ 1583077 w 4519987"/>
              <a:gd name="connsiteY139" fmla="*/ 142875 h 4496940"/>
              <a:gd name="connsiteX140" fmla="*/ 1716427 w 4519987"/>
              <a:gd name="connsiteY140" fmla="*/ 123825 h 4496940"/>
              <a:gd name="connsiteX141" fmla="*/ 1811677 w 4519987"/>
              <a:gd name="connsiteY141" fmla="*/ 114300 h 4496940"/>
              <a:gd name="connsiteX142" fmla="*/ 1859302 w 4519987"/>
              <a:gd name="connsiteY142" fmla="*/ 104775 h 4496940"/>
              <a:gd name="connsiteX143" fmla="*/ 1916452 w 4519987"/>
              <a:gd name="connsiteY143" fmla="*/ 95250 h 4496940"/>
              <a:gd name="connsiteX144" fmla="*/ 2030752 w 4519987"/>
              <a:gd name="connsiteY144" fmla="*/ 66675 h 4496940"/>
              <a:gd name="connsiteX145" fmla="*/ 2097427 w 4519987"/>
              <a:gd name="connsiteY145" fmla="*/ 47625 h 4496940"/>
              <a:gd name="connsiteX146" fmla="*/ 2164102 w 4519987"/>
              <a:gd name="connsiteY146" fmla="*/ 38100 h 4496940"/>
              <a:gd name="connsiteX147" fmla="*/ 2392702 w 4519987"/>
              <a:gd name="connsiteY14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192927 w 4519987"/>
              <a:gd name="connsiteY24" fmla="*/ 1057275 h 4496940"/>
              <a:gd name="connsiteX25" fmla="*/ 4202452 w 4519987"/>
              <a:gd name="connsiteY25" fmla="*/ 1085850 h 4496940"/>
              <a:gd name="connsiteX26" fmla="*/ 4250077 w 4519987"/>
              <a:gd name="connsiteY26" fmla="*/ 1143000 h 4496940"/>
              <a:gd name="connsiteX27" fmla="*/ 4259602 w 4519987"/>
              <a:gd name="connsiteY27" fmla="*/ 1190625 h 4496940"/>
              <a:gd name="connsiteX28" fmla="*/ 4307227 w 4519987"/>
              <a:gd name="connsiteY28" fmla="*/ 1266825 h 4496940"/>
              <a:gd name="connsiteX29" fmla="*/ 4345327 w 4519987"/>
              <a:gd name="connsiteY29" fmla="*/ 1362075 h 4496940"/>
              <a:gd name="connsiteX30" fmla="*/ 4373902 w 4519987"/>
              <a:gd name="connsiteY30" fmla="*/ 1428750 h 4496940"/>
              <a:gd name="connsiteX31" fmla="*/ 4392952 w 4519987"/>
              <a:gd name="connsiteY31" fmla="*/ 1552575 h 4496940"/>
              <a:gd name="connsiteX32" fmla="*/ 4402477 w 4519987"/>
              <a:gd name="connsiteY32" fmla="*/ 1590675 h 4496940"/>
              <a:gd name="connsiteX33" fmla="*/ 4431052 w 4519987"/>
              <a:gd name="connsiteY33" fmla="*/ 1685925 h 4496940"/>
              <a:gd name="connsiteX34" fmla="*/ 4519952 w 4519987"/>
              <a:gd name="connsiteY34" fmla="*/ 2181225 h 4496940"/>
              <a:gd name="connsiteX35" fmla="*/ 4446927 w 4519987"/>
              <a:gd name="connsiteY35" fmla="*/ 2768600 h 4496940"/>
              <a:gd name="connsiteX36" fmla="*/ 4383427 w 4519987"/>
              <a:gd name="connsiteY36" fmla="*/ 2990850 h 4496940"/>
              <a:gd name="connsiteX37" fmla="*/ 4278652 w 4519987"/>
              <a:gd name="connsiteY37" fmla="*/ 3248025 h 4496940"/>
              <a:gd name="connsiteX38" fmla="*/ 4259602 w 4519987"/>
              <a:gd name="connsiteY38" fmla="*/ 3276600 h 4496940"/>
              <a:gd name="connsiteX39" fmla="*/ 4221502 w 4519987"/>
              <a:gd name="connsiteY39" fmla="*/ 3333750 h 4496940"/>
              <a:gd name="connsiteX40" fmla="*/ 4211977 w 4519987"/>
              <a:gd name="connsiteY40" fmla="*/ 3362325 h 4496940"/>
              <a:gd name="connsiteX41" fmla="*/ 4183402 w 4519987"/>
              <a:gd name="connsiteY41" fmla="*/ 3400425 h 4496940"/>
              <a:gd name="connsiteX42" fmla="*/ 4164352 w 4519987"/>
              <a:gd name="connsiteY42" fmla="*/ 3429000 h 4496940"/>
              <a:gd name="connsiteX43" fmla="*/ 4088152 w 4519987"/>
              <a:gd name="connsiteY43" fmla="*/ 3495675 h 4496940"/>
              <a:gd name="connsiteX44" fmla="*/ 4059577 w 4519987"/>
              <a:gd name="connsiteY44" fmla="*/ 3533775 h 4496940"/>
              <a:gd name="connsiteX45" fmla="*/ 4002427 w 4519987"/>
              <a:gd name="connsiteY45" fmla="*/ 3600450 h 4496940"/>
              <a:gd name="connsiteX46" fmla="*/ 3983377 w 4519987"/>
              <a:gd name="connsiteY46" fmla="*/ 3629025 h 4496940"/>
              <a:gd name="connsiteX47" fmla="*/ 3954802 w 4519987"/>
              <a:gd name="connsiteY47" fmla="*/ 3648075 h 4496940"/>
              <a:gd name="connsiteX48" fmla="*/ 3907177 w 4519987"/>
              <a:gd name="connsiteY48" fmla="*/ 3686175 h 4496940"/>
              <a:gd name="connsiteX49" fmla="*/ 3869077 w 4519987"/>
              <a:gd name="connsiteY49" fmla="*/ 3724275 h 4496940"/>
              <a:gd name="connsiteX50" fmla="*/ 3792877 w 4519987"/>
              <a:gd name="connsiteY50" fmla="*/ 3781425 h 4496940"/>
              <a:gd name="connsiteX51" fmla="*/ 3783352 w 4519987"/>
              <a:gd name="connsiteY51" fmla="*/ 3810000 h 4496940"/>
              <a:gd name="connsiteX52" fmla="*/ 3745252 w 4519987"/>
              <a:gd name="connsiteY52" fmla="*/ 3819525 h 4496940"/>
              <a:gd name="connsiteX53" fmla="*/ 3678577 w 4519987"/>
              <a:gd name="connsiteY53" fmla="*/ 3848100 h 4496940"/>
              <a:gd name="connsiteX54" fmla="*/ 3659527 w 4519987"/>
              <a:gd name="connsiteY54" fmla="*/ 3971925 h 4496940"/>
              <a:gd name="connsiteX55" fmla="*/ 3630952 w 4519987"/>
              <a:gd name="connsiteY55" fmla="*/ 4010025 h 4496940"/>
              <a:gd name="connsiteX56" fmla="*/ 3621427 w 4519987"/>
              <a:gd name="connsiteY56" fmla="*/ 4038600 h 4496940"/>
              <a:gd name="connsiteX57" fmla="*/ 3554752 w 4519987"/>
              <a:gd name="connsiteY57" fmla="*/ 4095750 h 4496940"/>
              <a:gd name="connsiteX58" fmla="*/ 3516652 w 4519987"/>
              <a:gd name="connsiteY58" fmla="*/ 4114800 h 4496940"/>
              <a:gd name="connsiteX59" fmla="*/ 3497602 w 4519987"/>
              <a:gd name="connsiteY59" fmla="*/ 4143375 h 4496940"/>
              <a:gd name="connsiteX60" fmla="*/ 3383302 w 4519987"/>
              <a:gd name="connsiteY60" fmla="*/ 4210050 h 4496940"/>
              <a:gd name="connsiteX61" fmla="*/ 3335677 w 4519987"/>
              <a:gd name="connsiteY61" fmla="*/ 4238625 h 4496940"/>
              <a:gd name="connsiteX62" fmla="*/ 3288052 w 4519987"/>
              <a:gd name="connsiteY62" fmla="*/ 4248150 h 4496940"/>
              <a:gd name="connsiteX63" fmla="*/ 3240427 w 4519987"/>
              <a:gd name="connsiteY63" fmla="*/ 4267200 h 4496940"/>
              <a:gd name="connsiteX64" fmla="*/ 3068977 w 4519987"/>
              <a:gd name="connsiteY64" fmla="*/ 4286250 h 4496940"/>
              <a:gd name="connsiteX65" fmla="*/ 2935627 w 4519987"/>
              <a:gd name="connsiteY65" fmla="*/ 4333875 h 4496940"/>
              <a:gd name="connsiteX66" fmla="*/ 2811802 w 4519987"/>
              <a:gd name="connsiteY66" fmla="*/ 4371975 h 4496940"/>
              <a:gd name="connsiteX67" fmla="*/ 2745127 w 4519987"/>
              <a:gd name="connsiteY67" fmla="*/ 4410075 h 4496940"/>
              <a:gd name="connsiteX68" fmla="*/ 2697502 w 4519987"/>
              <a:gd name="connsiteY68" fmla="*/ 4429125 h 4496940"/>
              <a:gd name="connsiteX69" fmla="*/ 2640352 w 4519987"/>
              <a:gd name="connsiteY69" fmla="*/ 4457700 h 4496940"/>
              <a:gd name="connsiteX70" fmla="*/ 2583202 w 4519987"/>
              <a:gd name="connsiteY70" fmla="*/ 4467225 h 4496940"/>
              <a:gd name="connsiteX71" fmla="*/ 2545102 w 4519987"/>
              <a:gd name="connsiteY71" fmla="*/ 4486275 h 4496940"/>
              <a:gd name="connsiteX72" fmla="*/ 2306977 w 4519987"/>
              <a:gd name="connsiteY72" fmla="*/ 4476750 h 4496940"/>
              <a:gd name="connsiteX73" fmla="*/ 2202202 w 4519987"/>
              <a:gd name="connsiteY73" fmla="*/ 4457700 h 4496940"/>
              <a:gd name="connsiteX74" fmla="*/ 2126002 w 4519987"/>
              <a:gd name="connsiteY74" fmla="*/ 4429125 h 4496940"/>
              <a:gd name="connsiteX75" fmla="*/ 1935502 w 4519987"/>
              <a:gd name="connsiteY75" fmla="*/ 4400550 h 4496940"/>
              <a:gd name="connsiteX76" fmla="*/ 1821202 w 4519987"/>
              <a:gd name="connsiteY76" fmla="*/ 4371975 h 4496940"/>
              <a:gd name="connsiteX77" fmla="*/ 1754527 w 4519987"/>
              <a:gd name="connsiteY77" fmla="*/ 4352925 h 4496940"/>
              <a:gd name="connsiteX78" fmla="*/ 1687852 w 4519987"/>
              <a:gd name="connsiteY78" fmla="*/ 4343400 h 4496940"/>
              <a:gd name="connsiteX79" fmla="*/ 1573552 w 4519987"/>
              <a:gd name="connsiteY79" fmla="*/ 4305300 h 4496940"/>
              <a:gd name="connsiteX80" fmla="*/ 1402102 w 4519987"/>
              <a:gd name="connsiteY80" fmla="*/ 4276725 h 4496940"/>
              <a:gd name="connsiteX81" fmla="*/ 1287802 w 4519987"/>
              <a:gd name="connsiteY81" fmla="*/ 4229100 h 4496940"/>
              <a:gd name="connsiteX82" fmla="*/ 1221127 w 4519987"/>
              <a:gd name="connsiteY82" fmla="*/ 4200525 h 4496940"/>
              <a:gd name="connsiteX83" fmla="*/ 1144927 w 4519987"/>
              <a:gd name="connsiteY83" fmla="*/ 4171950 h 4496940"/>
              <a:gd name="connsiteX84" fmla="*/ 1087777 w 4519987"/>
              <a:gd name="connsiteY84" fmla="*/ 4143375 h 4496940"/>
              <a:gd name="connsiteX85" fmla="*/ 1030627 w 4519987"/>
              <a:gd name="connsiteY85" fmla="*/ 4124325 h 4496940"/>
              <a:gd name="connsiteX86" fmla="*/ 925852 w 4519987"/>
              <a:gd name="connsiteY86" fmla="*/ 4067175 h 4496940"/>
              <a:gd name="connsiteX87" fmla="*/ 830602 w 4519987"/>
              <a:gd name="connsiteY87" fmla="*/ 3981450 h 4496940"/>
              <a:gd name="connsiteX88" fmla="*/ 763927 w 4519987"/>
              <a:gd name="connsiteY88" fmla="*/ 3914775 h 4496940"/>
              <a:gd name="connsiteX89" fmla="*/ 725827 w 4519987"/>
              <a:gd name="connsiteY89" fmla="*/ 3876675 h 4496940"/>
              <a:gd name="connsiteX90" fmla="*/ 697252 w 4519987"/>
              <a:gd name="connsiteY90" fmla="*/ 3838575 h 4496940"/>
              <a:gd name="connsiteX91" fmla="*/ 640102 w 4519987"/>
              <a:gd name="connsiteY91" fmla="*/ 3781425 h 4496940"/>
              <a:gd name="connsiteX92" fmla="*/ 611527 w 4519987"/>
              <a:gd name="connsiteY92" fmla="*/ 3733800 h 4496940"/>
              <a:gd name="connsiteX93" fmla="*/ 554377 w 4519987"/>
              <a:gd name="connsiteY93" fmla="*/ 3657600 h 4496940"/>
              <a:gd name="connsiteX94" fmla="*/ 525802 w 4519987"/>
              <a:gd name="connsiteY94" fmla="*/ 3609975 h 4496940"/>
              <a:gd name="connsiteX95" fmla="*/ 497227 w 4519987"/>
              <a:gd name="connsiteY95" fmla="*/ 3552825 h 4496940"/>
              <a:gd name="connsiteX96" fmla="*/ 440077 w 4519987"/>
              <a:gd name="connsiteY96" fmla="*/ 3495675 h 4496940"/>
              <a:gd name="connsiteX97" fmla="*/ 411502 w 4519987"/>
              <a:gd name="connsiteY97" fmla="*/ 3448050 h 4496940"/>
              <a:gd name="connsiteX98" fmla="*/ 278152 w 4519987"/>
              <a:gd name="connsiteY98" fmla="*/ 3257550 h 4496940"/>
              <a:gd name="connsiteX99" fmla="*/ 249577 w 4519987"/>
              <a:gd name="connsiteY99" fmla="*/ 3200400 h 4496940"/>
              <a:gd name="connsiteX100" fmla="*/ 240052 w 4519987"/>
              <a:gd name="connsiteY100" fmla="*/ 3162300 h 4496940"/>
              <a:gd name="connsiteX101" fmla="*/ 221002 w 4519987"/>
              <a:gd name="connsiteY101" fmla="*/ 3105150 h 4496940"/>
              <a:gd name="connsiteX102" fmla="*/ 173377 w 4519987"/>
              <a:gd name="connsiteY102" fmla="*/ 3019425 h 4496940"/>
              <a:gd name="connsiteX103" fmla="*/ 144802 w 4519987"/>
              <a:gd name="connsiteY103" fmla="*/ 2924175 h 4496940"/>
              <a:gd name="connsiteX104" fmla="*/ 68602 w 4519987"/>
              <a:gd name="connsiteY104" fmla="*/ 2724150 h 4496940"/>
              <a:gd name="connsiteX105" fmla="*/ 49552 w 4519987"/>
              <a:gd name="connsiteY105" fmla="*/ 2638425 h 4496940"/>
              <a:gd name="connsiteX106" fmla="*/ 40027 w 4519987"/>
              <a:gd name="connsiteY106" fmla="*/ 2562225 h 4496940"/>
              <a:gd name="connsiteX107" fmla="*/ 30502 w 4519987"/>
              <a:gd name="connsiteY107" fmla="*/ 2514600 h 4496940"/>
              <a:gd name="connsiteX108" fmla="*/ 11452 w 4519987"/>
              <a:gd name="connsiteY108" fmla="*/ 2400300 h 4496940"/>
              <a:gd name="connsiteX109" fmla="*/ 20977 w 4519987"/>
              <a:gd name="connsiteY109" fmla="*/ 1905000 h 4496940"/>
              <a:gd name="connsiteX110" fmla="*/ 30502 w 4519987"/>
              <a:gd name="connsiteY110" fmla="*/ 1838325 h 4496940"/>
              <a:gd name="connsiteX111" fmla="*/ 49552 w 4519987"/>
              <a:gd name="connsiteY111" fmla="*/ 1781175 h 4496940"/>
              <a:gd name="connsiteX112" fmla="*/ 59077 w 4519987"/>
              <a:gd name="connsiteY112" fmla="*/ 1743075 h 4496940"/>
              <a:gd name="connsiteX113" fmla="*/ 78127 w 4519987"/>
              <a:gd name="connsiteY113" fmla="*/ 1685925 h 4496940"/>
              <a:gd name="connsiteX114" fmla="*/ 87652 w 4519987"/>
              <a:gd name="connsiteY114" fmla="*/ 1638300 h 4496940"/>
              <a:gd name="connsiteX115" fmla="*/ 106702 w 4519987"/>
              <a:gd name="connsiteY115" fmla="*/ 1590675 h 4496940"/>
              <a:gd name="connsiteX116" fmla="*/ 135277 w 4519987"/>
              <a:gd name="connsiteY116" fmla="*/ 1504950 h 4496940"/>
              <a:gd name="connsiteX117" fmla="*/ 154327 w 4519987"/>
              <a:gd name="connsiteY117" fmla="*/ 1419225 h 4496940"/>
              <a:gd name="connsiteX118" fmla="*/ 230527 w 4519987"/>
              <a:gd name="connsiteY118" fmla="*/ 1276350 h 4496940"/>
              <a:gd name="connsiteX119" fmla="*/ 240052 w 4519987"/>
              <a:gd name="connsiteY119" fmla="*/ 1247775 h 4496940"/>
              <a:gd name="connsiteX120" fmla="*/ 268627 w 4519987"/>
              <a:gd name="connsiteY120" fmla="*/ 1200150 h 4496940"/>
              <a:gd name="connsiteX121" fmla="*/ 287677 w 4519987"/>
              <a:gd name="connsiteY121" fmla="*/ 1152525 h 4496940"/>
              <a:gd name="connsiteX122" fmla="*/ 316252 w 4519987"/>
              <a:gd name="connsiteY122" fmla="*/ 1114425 h 4496940"/>
              <a:gd name="connsiteX123" fmla="*/ 363877 w 4519987"/>
              <a:gd name="connsiteY123" fmla="*/ 1038225 h 4496940"/>
              <a:gd name="connsiteX124" fmla="*/ 382927 w 4519987"/>
              <a:gd name="connsiteY124" fmla="*/ 1009650 h 4496940"/>
              <a:gd name="connsiteX125" fmla="*/ 440077 w 4519987"/>
              <a:gd name="connsiteY125" fmla="*/ 904875 h 4496940"/>
              <a:gd name="connsiteX126" fmla="*/ 478177 w 4519987"/>
              <a:gd name="connsiteY126" fmla="*/ 857250 h 4496940"/>
              <a:gd name="connsiteX127" fmla="*/ 497227 w 4519987"/>
              <a:gd name="connsiteY127" fmla="*/ 828675 h 4496940"/>
              <a:gd name="connsiteX128" fmla="*/ 535327 w 4519987"/>
              <a:gd name="connsiteY128" fmla="*/ 800100 h 4496940"/>
              <a:gd name="connsiteX129" fmla="*/ 602002 w 4519987"/>
              <a:gd name="connsiteY129" fmla="*/ 733425 h 4496940"/>
              <a:gd name="connsiteX130" fmla="*/ 668677 w 4519987"/>
              <a:gd name="connsiteY130" fmla="*/ 676275 h 4496940"/>
              <a:gd name="connsiteX131" fmla="*/ 697252 w 4519987"/>
              <a:gd name="connsiteY131" fmla="*/ 657225 h 4496940"/>
              <a:gd name="connsiteX132" fmla="*/ 840127 w 4519987"/>
              <a:gd name="connsiteY132" fmla="*/ 533400 h 4496940"/>
              <a:gd name="connsiteX133" fmla="*/ 887752 w 4519987"/>
              <a:gd name="connsiteY133" fmla="*/ 504825 h 4496940"/>
              <a:gd name="connsiteX134" fmla="*/ 1167152 w 4519987"/>
              <a:gd name="connsiteY134" fmla="*/ 311150 h 4496940"/>
              <a:gd name="connsiteX135" fmla="*/ 1268752 w 4519987"/>
              <a:gd name="connsiteY135" fmla="*/ 285750 h 4496940"/>
              <a:gd name="connsiteX136" fmla="*/ 1411627 w 4519987"/>
              <a:gd name="connsiteY136" fmla="*/ 190500 h 4496940"/>
              <a:gd name="connsiteX137" fmla="*/ 1449727 w 4519987"/>
              <a:gd name="connsiteY137" fmla="*/ 161925 h 4496940"/>
              <a:gd name="connsiteX138" fmla="*/ 1525927 w 4519987"/>
              <a:gd name="connsiteY138" fmla="*/ 152400 h 4496940"/>
              <a:gd name="connsiteX139" fmla="*/ 1583077 w 4519987"/>
              <a:gd name="connsiteY139" fmla="*/ 142875 h 4496940"/>
              <a:gd name="connsiteX140" fmla="*/ 1716427 w 4519987"/>
              <a:gd name="connsiteY140" fmla="*/ 123825 h 4496940"/>
              <a:gd name="connsiteX141" fmla="*/ 1811677 w 4519987"/>
              <a:gd name="connsiteY141" fmla="*/ 114300 h 4496940"/>
              <a:gd name="connsiteX142" fmla="*/ 1859302 w 4519987"/>
              <a:gd name="connsiteY142" fmla="*/ 104775 h 4496940"/>
              <a:gd name="connsiteX143" fmla="*/ 1916452 w 4519987"/>
              <a:gd name="connsiteY143" fmla="*/ 95250 h 4496940"/>
              <a:gd name="connsiteX144" fmla="*/ 2030752 w 4519987"/>
              <a:gd name="connsiteY144" fmla="*/ 66675 h 4496940"/>
              <a:gd name="connsiteX145" fmla="*/ 2097427 w 4519987"/>
              <a:gd name="connsiteY145" fmla="*/ 47625 h 4496940"/>
              <a:gd name="connsiteX146" fmla="*/ 2164102 w 4519987"/>
              <a:gd name="connsiteY146" fmla="*/ 38100 h 4496940"/>
              <a:gd name="connsiteX147" fmla="*/ 2392702 w 4519987"/>
              <a:gd name="connsiteY14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202452 w 4519987"/>
              <a:gd name="connsiteY24" fmla="*/ 1085850 h 4496940"/>
              <a:gd name="connsiteX25" fmla="*/ 4250077 w 4519987"/>
              <a:gd name="connsiteY25" fmla="*/ 1143000 h 4496940"/>
              <a:gd name="connsiteX26" fmla="*/ 4259602 w 4519987"/>
              <a:gd name="connsiteY26" fmla="*/ 1190625 h 4496940"/>
              <a:gd name="connsiteX27" fmla="*/ 4307227 w 4519987"/>
              <a:gd name="connsiteY27" fmla="*/ 1266825 h 4496940"/>
              <a:gd name="connsiteX28" fmla="*/ 4345327 w 4519987"/>
              <a:gd name="connsiteY28" fmla="*/ 1362075 h 4496940"/>
              <a:gd name="connsiteX29" fmla="*/ 4373902 w 4519987"/>
              <a:gd name="connsiteY29" fmla="*/ 1428750 h 4496940"/>
              <a:gd name="connsiteX30" fmla="*/ 4392952 w 4519987"/>
              <a:gd name="connsiteY30" fmla="*/ 1552575 h 4496940"/>
              <a:gd name="connsiteX31" fmla="*/ 4402477 w 4519987"/>
              <a:gd name="connsiteY31" fmla="*/ 1590675 h 4496940"/>
              <a:gd name="connsiteX32" fmla="*/ 4431052 w 4519987"/>
              <a:gd name="connsiteY32" fmla="*/ 1685925 h 4496940"/>
              <a:gd name="connsiteX33" fmla="*/ 4519952 w 4519987"/>
              <a:gd name="connsiteY33" fmla="*/ 2181225 h 4496940"/>
              <a:gd name="connsiteX34" fmla="*/ 4446927 w 4519987"/>
              <a:gd name="connsiteY34" fmla="*/ 2768600 h 4496940"/>
              <a:gd name="connsiteX35" fmla="*/ 4383427 w 4519987"/>
              <a:gd name="connsiteY35" fmla="*/ 2990850 h 4496940"/>
              <a:gd name="connsiteX36" fmla="*/ 4278652 w 4519987"/>
              <a:gd name="connsiteY36" fmla="*/ 3248025 h 4496940"/>
              <a:gd name="connsiteX37" fmla="*/ 4259602 w 4519987"/>
              <a:gd name="connsiteY37" fmla="*/ 3276600 h 4496940"/>
              <a:gd name="connsiteX38" fmla="*/ 4221502 w 4519987"/>
              <a:gd name="connsiteY38" fmla="*/ 3333750 h 4496940"/>
              <a:gd name="connsiteX39" fmla="*/ 4211977 w 4519987"/>
              <a:gd name="connsiteY39" fmla="*/ 3362325 h 4496940"/>
              <a:gd name="connsiteX40" fmla="*/ 4183402 w 4519987"/>
              <a:gd name="connsiteY40" fmla="*/ 3400425 h 4496940"/>
              <a:gd name="connsiteX41" fmla="*/ 4164352 w 4519987"/>
              <a:gd name="connsiteY41" fmla="*/ 3429000 h 4496940"/>
              <a:gd name="connsiteX42" fmla="*/ 4088152 w 4519987"/>
              <a:gd name="connsiteY42" fmla="*/ 3495675 h 4496940"/>
              <a:gd name="connsiteX43" fmla="*/ 4059577 w 4519987"/>
              <a:gd name="connsiteY43" fmla="*/ 3533775 h 4496940"/>
              <a:gd name="connsiteX44" fmla="*/ 4002427 w 4519987"/>
              <a:gd name="connsiteY44" fmla="*/ 3600450 h 4496940"/>
              <a:gd name="connsiteX45" fmla="*/ 3983377 w 4519987"/>
              <a:gd name="connsiteY45" fmla="*/ 3629025 h 4496940"/>
              <a:gd name="connsiteX46" fmla="*/ 3954802 w 4519987"/>
              <a:gd name="connsiteY46" fmla="*/ 3648075 h 4496940"/>
              <a:gd name="connsiteX47" fmla="*/ 3907177 w 4519987"/>
              <a:gd name="connsiteY47" fmla="*/ 3686175 h 4496940"/>
              <a:gd name="connsiteX48" fmla="*/ 3869077 w 4519987"/>
              <a:gd name="connsiteY48" fmla="*/ 3724275 h 4496940"/>
              <a:gd name="connsiteX49" fmla="*/ 3792877 w 4519987"/>
              <a:gd name="connsiteY49" fmla="*/ 3781425 h 4496940"/>
              <a:gd name="connsiteX50" fmla="*/ 3783352 w 4519987"/>
              <a:gd name="connsiteY50" fmla="*/ 3810000 h 4496940"/>
              <a:gd name="connsiteX51" fmla="*/ 3745252 w 4519987"/>
              <a:gd name="connsiteY51" fmla="*/ 3819525 h 4496940"/>
              <a:gd name="connsiteX52" fmla="*/ 3678577 w 4519987"/>
              <a:gd name="connsiteY52" fmla="*/ 3848100 h 4496940"/>
              <a:gd name="connsiteX53" fmla="*/ 3659527 w 4519987"/>
              <a:gd name="connsiteY53" fmla="*/ 3971925 h 4496940"/>
              <a:gd name="connsiteX54" fmla="*/ 3630952 w 4519987"/>
              <a:gd name="connsiteY54" fmla="*/ 4010025 h 4496940"/>
              <a:gd name="connsiteX55" fmla="*/ 3621427 w 4519987"/>
              <a:gd name="connsiteY55" fmla="*/ 4038600 h 4496940"/>
              <a:gd name="connsiteX56" fmla="*/ 3554752 w 4519987"/>
              <a:gd name="connsiteY56" fmla="*/ 4095750 h 4496940"/>
              <a:gd name="connsiteX57" fmla="*/ 3516652 w 4519987"/>
              <a:gd name="connsiteY57" fmla="*/ 4114800 h 4496940"/>
              <a:gd name="connsiteX58" fmla="*/ 3497602 w 4519987"/>
              <a:gd name="connsiteY58" fmla="*/ 4143375 h 4496940"/>
              <a:gd name="connsiteX59" fmla="*/ 3383302 w 4519987"/>
              <a:gd name="connsiteY59" fmla="*/ 4210050 h 4496940"/>
              <a:gd name="connsiteX60" fmla="*/ 3335677 w 4519987"/>
              <a:gd name="connsiteY60" fmla="*/ 4238625 h 4496940"/>
              <a:gd name="connsiteX61" fmla="*/ 3288052 w 4519987"/>
              <a:gd name="connsiteY61" fmla="*/ 4248150 h 4496940"/>
              <a:gd name="connsiteX62" fmla="*/ 3240427 w 4519987"/>
              <a:gd name="connsiteY62" fmla="*/ 4267200 h 4496940"/>
              <a:gd name="connsiteX63" fmla="*/ 3068977 w 4519987"/>
              <a:gd name="connsiteY63" fmla="*/ 4286250 h 4496940"/>
              <a:gd name="connsiteX64" fmla="*/ 2935627 w 4519987"/>
              <a:gd name="connsiteY64" fmla="*/ 4333875 h 4496940"/>
              <a:gd name="connsiteX65" fmla="*/ 2811802 w 4519987"/>
              <a:gd name="connsiteY65" fmla="*/ 4371975 h 4496940"/>
              <a:gd name="connsiteX66" fmla="*/ 2745127 w 4519987"/>
              <a:gd name="connsiteY66" fmla="*/ 4410075 h 4496940"/>
              <a:gd name="connsiteX67" fmla="*/ 2697502 w 4519987"/>
              <a:gd name="connsiteY67" fmla="*/ 4429125 h 4496940"/>
              <a:gd name="connsiteX68" fmla="*/ 2640352 w 4519987"/>
              <a:gd name="connsiteY68" fmla="*/ 4457700 h 4496940"/>
              <a:gd name="connsiteX69" fmla="*/ 2583202 w 4519987"/>
              <a:gd name="connsiteY69" fmla="*/ 4467225 h 4496940"/>
              <a:gd name="connsiteX70" fmla="*/ 2545102 w 4519987"/>
              <a:gd name="connsiteY70" fmla="*/ 4486275 h 4496940"/>
              <a:gd name="connsiteX71" fmla="*/ 2306977 w 4519987"/>
              <a:gd name="connsiteY71" fmla="*/ 4476750 h 4496940"/>
              <a:gd name="connsiteX72" fmla="*/ 2202202 w 4519987"/>
              <a:gd name="connsiteY72" fmla="*/ 4457700 h 4496940"/>
              <a:gd name="connsiteX73" fmla="*/ 2126002 w 4519987"/>
              <a:gd name="connsiteY73" fmla="*/ 4429125 h 4496940"/>
              <a:gd name="connsiteX74" fmla="*/ 1935502 w 4519987"/>
              <a:gd name="connsiteY74" fmla="*/ 4400550 h 4496940"/>
              <a:gd name="connsiteX75" fmla="*/ 1821202 w 4519987"/>
              <a:gd name="connsiteY75" fmla="*/ 4371975 h 4496940"/>
              <a:gd name="connsiteX76" fmla="*/ 1754527 w 4519987"/>
              <a:gd name="connsiteY76" fmla="*/ 4352925 h 4496940"/>
              <a:gd name="connsiteX77" fmla="*/ 1687852 w 4519987"/>
              <a:gd name="connsiteY77" fmla="*/ 4343400 h 4496940"/>
              <a:gd name="connsiteX78" fmla="*/ 1573552 w 4519987"/>
              <a:gd name="connsiteY78" fmla="*/ 4305300 h 4496940"/>
              <a:gd name="connsiteX79" fmla="*/ 1402102 w 4519987"/>
              <a:gd name="connsiteY79" fmla="*/ 4276725 h 4496940"/>
              <a:gd name="connsiteX80" fmla="*/ 1287802 w 4519987"/>
              <a:gd name="connsiteY80" fmla="*/ 4229100 h 4496940"/>
              <a:gd name="connsiteX81" fmla="*/ 1221127 w 4519987"/>
              <a:gd name="connsiteY81" fmla="*/ 4200525 h 4496940"/>
              <a:gd name="connsiteX82" fmla="*/ 1144927 w 4519987"/>
              <a:gd name="connsiteY82" fmla="*/ 4171950 h 4496940"/>
              <a:gd name="connsiteX83" fmla="*/ 1087777 w 4519987"/>
              <a:gd name="connsiteY83" fmla="*/ 4143375 h 4496940"/>
              <a:gd name="connsiteX84" fmla="*/ 1030627 w 4519987"/>
              <a:gd name="connsiteY84" fmla="*/ 4124325 h 4496940"/>
              <a:gd name="connsiteX85" fmla="*/ 925852 w 4519987"/>
              <a:gd name="connsiteY85" fmla="*/ 4067175 h 4496940"/>
              <a:gd name="connsiteX86" fmla="*/ 830602 w 4519987"/>
              <a:gd name="connsiteY86" fmla="*/ 3981450 h 4496940"/>
              <a:gd name="connsiteX87" fmla="*/ 763927 w 4519987"/>
              <a:gd name="connsiteY87" fmla="*/ 3914775 h 4496940"/>
              <a:gd name="connsiteX88" fmla="*/ 725827 w 4519987"/>
              <a:gd name="connsiteY88" fmla="*/ 3876675 h 4496940"/>
              <a:gd name="connsiteX89" fmla="*/ 697252 w 4519987"/>
              <a:gd name="connsiteY89" fmla="*/ 3838575 h 4496940"/>
              <a:gd name="connsiteX90" fmla="*/ 640102 w 4519987"/>
              <a:gd name="connsiteY90" fmla="*/ 3781425 h 4496940"/>
              <a:gd name="connsiteX91" fmla="*/ 611527 w 4519987"/>
              <a:gd name="connsiteY91" fmla="*/ 3733800 h 4496940"/>
              <a:gd name="connsiteX92" fmla="*/ 554377 w 4519987"/>
              <a:gd name="connsiteY92" fmla="*/ 3657600 h 4496940"/>
              <a:gd name="connsiteX93" fmla="*/ 525802 w 4519987"/>
              <a:gd name="connsiteY93" fmla="*/ 3609975 h 4496940"/>
              <a:gd name="connsiteX94" fmla="*/ 497227 w 4519987"/>
              <a:gd name="connsiteY94" fmla="*/ 3552825 h 4496940"/>
              <a:gd name="connsiteX95" fmla="*/ 440077 w 4519987"/>
              <a:gd name="connsiteY95" fmla="*/ 3495675 h 4496940"/>
              <a:gd name="connsiteX96" fmla="*/ 411502 w 4519987"/>
              <a:gd name="connsiteY96" fmla="*/ 3448050 h 4496940"/>
              <a:gd name="connsiteX97" fmla="*/ 278152 w 4519987"/>
              <a:gd name="connsiteY97" fmla="*/ 3257550 h 4496940"/>
              <a:gd name="connsiteX98" fmla="*/ 249577 w 4519987"/>
              <a:gd name="connsiteY98" fmla="*/ 3200400 h 4496940"/>
              <a:gd name="connsiteX99" fmla="*/ 240052 w 4519987"/>
              <a:gd name="connsiteY99" fmla="*/ 3162300 h 4496940"/>
              <a:gd name="connsiteX100" fmla="*/ 221002 w 4519987"/>
              <a:gd name="connsiteY100" fmla="*/ 3105150 h 4496940"/>
              <a:gd name="connsiteX101" fmla="*/ 173377 w 4519987"/>
              <a:gd name="connsiteY101" fmla="*/ 3019425 h 4496940"/>
              <a:gd name="connsiteX102" fmla="*/ 144802 w 4519987"/>
              <a:gd name="connsiteY102" fmla="*/ 2924175 h 4496940"/>
              <a:gd name="connsiteX103" fmla="*/ 68602 w 4519987"/>
              <a:gd name="connsiteY103" fmla="*/ 2724150 h 4496940"/>
              <a:gd name="connsiteX104" fmla="*/ 49552 w 4519987"/>
              <a:gd name="connsiteY104" fmla="*/ 2638425 h 4496940"/>
              <a:gd name="connsiteX105" fmla="*/ 40027 w 4519987"/>
              <a:gd name="connsiteY105" fmla="*/ 2562225 h 4496940"/>
              <a:gd name="connsiteX106" fmla="*/ 30502 w 4519987"/>
              <a:gd name="connsiteY106" fmla="*/ 2514600 h 4496940"/>
              <a:gd name="connsiteX107" fmla="*/ 11452 w 4519987"/>
              <a:gd name="connsiteY107" fmla="*/ 2400300 h 4496940"/>
              <a:gd name="connsiteX108" fmla="*/ 20977 w 4519987"/>
              <a:gd name="connsiteY108" fmla="*/ 1905000 h 4496940"/>
              <a:gd name="connsiteX109" fmla="*/ 30502 w 4519987"/>
              <a:gd name="connsiteY109" fmla="*/ 1838325 h 4496940"/>
              <a:gd name="connsiteX110" fmla="*/ 49552 w 4519987"/>
              <a:gd name="connsiteY110" fmla="*/ 1781175 h 4496940"/>
              <a:gd name="connsiteX111" fmla="*/ 59077 w 4519987"/>
              <a:gd name="connsiteY111" fmla="*/ 1743075 h 4496940"/>
              <a:gd name="connsiteX112" fmla="*/ 78127 w 4519987"/>
              <a:gd name="connsiteY112" fmla="*/ 1685925 h 4496940"/>
              <a:gd name="connsiteX113" fmla="*/ 87652 w 4519987"/>
              <a:gd name="connsiteY113" fmla="*/ 1638300 h 4496940"/>
              <a:gd name="connsiteX114" fmla="*/ 106702 w 4519987"/>
              <a:gd name="connsiteY114" fmla="*/ 1590675 h 4496940"/>
              <a:gd name="connsiteX115" fmla="*/ 135277 w 4519987"/>
              <a:gd name="connsiteY115" fmla="*/ 1504950 h 4496940"/>
              <a:gd name="connsiteX116" fmla="*/ 154327 w 4519987"/>
              <a:gd name="connsiteY116" fmla="*/ 1419225 h 4496940"/>
              <a:gd name="connsiteX117" fmla="*/ 230527 w 4519987"/>
              <a:gd name="connsiteY117" fmla="*/ 1276350 h 4496940"/>
              <a:gd name="connsiteX118" fmla="*/ 240052 w 4519987"/>
              <a:gd name="connsiteY118" fmla="*/ 1247775 h 4496940"/>
              <a:gd name="connsiteX119" fmla="*/ 268627 w 4519987"/>
              <a:gd name="connsiteY119" fmla="*/ 1200150 h 4496940"/>
              <a:gd name="connsiteX120" fmla="*/ 287677 w 4519987"/>
              <a:gd name="connsiteY120" fmla="*/ 1152525 h 4496940"/>
              <a:gd name="connsiteX121" fmla="*/ 316252 w 4519987"/>
              <a:gd name="connsiteY121" fmla="*/ 1114425 h 4496940"/>
              <a:gd name="connsiteX122" fmla="*/ 363877 w 4519987"/>
              <a:gd name="connsiteY122" fmla="*/ 1038225 h 4496940"/>
              <a:gd name="connsiteX123" fmla="*/ 382927 w 4519987"/>
              <a:gd name="connsiteY123" fmla="*/ 1009650 h 4496940"/>
              <a:gd name="connsiteX124" fmla="*/ 440077 w 4519987"/>
              <a:gd name="connsiteY124" fmla="*/ 904875 h 4496940"/>
              <a:gd name="connsiteX125" fmla="*/ 478177 w 4519987"/>
              <a:gd name="connsiteY125" fmla="*/ 857250 h 4496940"/>
              <a:gd name="connsiteX126" fmla="*/ 497227 w 4519987"/>
              <a:gd name="connsiteY126" fmla="*/ 828675 h 4496940"/>
              <a:gd name="connsiteX127" fmla="*/ 535327 w 4519987"/>
              <a:gd name="connsiteY127" fmla="*/ 800100 h 4496940"/>
              <a:gd name="connsiteX128" fmla="*/ 602002 w 4519987"/>
              <a:gd name="connsiteY128" fmla="*/ 733425 h 4496940"/>
              <a:gd name="connsiteX129" fmla="*/ 668677 w 4519987"/>
              <a:gd name="connsiteY129" fmla="*/ 676275 h 4496940"/>
              <a:gd name="connsiteX130" fmla="*/ 697252 w 4519987"/>
              <a:gd name="connsiteY130" fmla="*/ 657225 h 4496940"/>
              <a:gd name="connsiteX131" fmla="*/ 840127 w 4519987"/>
              <a:gd name="connsiteY131" fmla="*/ 533400 h 4496940"/>
              <a:gd name="connsiteX132" fmla="*/ 887752 w 4519987"/>
              <a:gd name="connsiteY132" fmla="*/ 504825 h 4496940"/>
              <a:gd name="connsiteX133" fmla="*/ 1167152 w 4519987"/>
              <a:gd name="connsiteY133" fmla="*/ 311150 h 4496940"/>
              <a:gd name="connsiteX134" fmla="*/ 1268752 w 4519987"/>
              <a:gd name="connsiteY134" fmla="*/ 285750 h 4496940"/>
              <a:gd name="connsiteX135" fmla="*/ 1411627 w 4519987"/>
              <a:gd name="connsiteY135" fmla="*/ 190500 h 4496940"/>
              <a:gd name="connsiteX136" fmla="*/ 1449727 w 4519987"/>
              <a:gd name="connsiteY136" fmla="*/ 161925 h 4496940"/>
              <a:gd name="connsiteX137" fmla="*/ 1525927 w 4519987"/>
              <a:gd name="connsiteY137" fmla="*/ 152400 h 4496940"/>
              <a:gd name="connsiteX138" fmla="*/ 1583077 w 4519987"/>
              <a:gd name="connsiteY138" fmla="*/ 142875 h 4496940"/>
              <a:gd name="connsiteX139" fmla="*/ 1716427 w 4519987"/>
              <a:gd name="connsiteY139" fmla="*/ 123825 h 4496940"/>
              <a:gd name="connsiteX140" fmla="*/ 1811677 w 4519987"/>
              <a:gd name="connsiteY140" fmla="*/ 114300 h 4496940"/>
              <a:gd name="connsiteX141" fmla="*/ 1859302 w 4519987"/>
              <a:gd name="connsiteY141" fmla="*/ 104775 h 4496940"/>
              <a:gd name="connsiteX142" fmla="*/ 1916452 w 4519987"/>
              <a:gd name="connsiteY142" fmla="*/ 95250 h 4496940"/>
              <a:gd name="connsiteX143" fmla="*/ 2030752 w 4519987"/>
              <a:gd name="connsiteY143" fmla="*/ 66675 h 4496940"/>
              <a:gd name="connsiteX144" fmla="*/ 2097427 w 4519987"/>
              <a:gd name="connsiteY144" fmla="*/ 47625 h 4496940"/>
              <a:gd name="connsiteX145" fmla="*/ 2164102 w 4519987"/>
              <a:gd name="connsiteY145" fmla="*/ 38100 h 4496940"/>
              <a:gd name="connsiteX146" fmla="*/ 2392702 w 4519987"/>
              <a:gd name="connsiteY14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250077 w 4519987"/>
              <a:gd name="connsiteY24" fmla="*/ 1143000 h 4496940"/>
              <a:gd name="connsiteX25" fmla="*/ 4259602 w 4519987"/>
              <a:gd name="connsiteY25" fmla="*/ 1190625 h 4496940"/>
              <a:gd name="connsiteX26" fmla="*/ 4307227 w 4519987"/>
              <a:gd name="connsiteY26" fmla="*/ 1266825 h 4496940"/>
              <a:gd name="connsiteX27" fmla="*/ 4345327 w 4519987"/>
              <a:gd name="connsiteY27" fmla="*/ 1362075 h 4496940"/>
              <a:gd name="connsiteX28" fmla="*/ 4373902 w 4519987"/>
              <a:gd name="connsiteY28" fmla="*/ 1428750 h 4496940"/>
              <a:gd name="connsiteX29" fmla="*/ 4392952 w 4519987"/>
              <a:gd name="connsiteY29" fmla="*/ 1552575 h 4496940"/>
              <a:gd name="connsiteX30" fmla="*/ 4402477 w 4519987"/>
              <a:gd name="connsiteY30" fmla="*/ 1590675 h 4496940"/>
              <a:gd name="connsiteX31" fmla="*/ 4431052 w 4519987"/>
              <a:gd name="connsiteY31" fmla="*/ 1685925 h 4496940"/>
              <a:gd name="connsiteX32" fmla="*/ 4519952 w 4519987"/>
              <a:gd name="connsiteY32" fmla="*/ 2181225 h 4496940"/>
              <a:gd name="connsiteX33" fmla="*/ 4446927 w 4519987"/>
              <a:gd name="connsiteY33" fmla="*/ 2768600 h 4496940"/>
              <a:gd name="connsiteX34" fmla="*/ 4383427 w 4519987"/>
              <a:gd name="connsiteY34" fmla="*/ 2990850 h 4496940"/>
              <a:gd name="connsiteX35" fmla="*/ 4278652 w 4519987"/>
              <a:gd name="connsiteY35" fmla="*/ 3248025 h 4496940"/>
              <a:gd name="connsiteX36" fmla="*/ 4259602 w 4519987"/>
              <a:gd name="connsiteY36" fmla="*/ 3276600 h 4496940"/>
              <a:gd name="connsiteX37" fmla="*/ 4221502 w 4519987"/>
              <a:gd name="connsiteY37" fmla="*/ 3333750 h 4496940"/>
              <a:gd name="connsiteX38" fmla="*/ 4211977 w 4519987"/>
              <a:gd name="connsiteY38" fmla="*/ 3362325 h 4496940"/>
              <a:gd name="connsiteX39" fmla="*/ 4183402 w 4519987"/>
              <a:gd name="connsiteY39" fmla="*/ 3400425 h 4496940"/>
              <a:gd name="connsiteX40" fmla="*/ 4164352 w 4519987"/>
              <a:gd name="connsiteY40" fmla="*/ 3429000 h 4496940"/>
              <a:gd name="connsiteX41" fmla="*/ 4088152 w 4519987"/>
              <a:gd name="connsiteY41" fmla="*/ 3495675 h 4496940"/>
              <a:gd name="connsiteX42" fmla="*/ 4059577 w 4519987"/>
              <a:gd name="connsiteY42" fmla="*/ 3533775 h 4496940"/>
              <a:gd name="connsiteX43" fmla="*/ 4002427 w 4519987"/>
              <a:gd name="connsiteY43" fmla="*/ 3600450 h 4496940"/>
              <a:gd name="connsiteX44" fmla="*/ 3983377 w 4519987"/>
              <a:gd name="connsiteY44" fmla="*/ 3629025 h 4496940"/>
              <a:gd name="connsiteX45" fmla="*/ 3954802 w 4519987"/>
              <a:gd name="connsiteY45" fmla="*/ 3648075 h 4496940"/>
              <a:gd name="connsiteX46" fmla="*/ 3907177 w 4519987"/>
              <a:gd name="connsiteY46" fmla="*/ 3686175 h 4496940"/>
              <a:gd name="connsiteX47" fmla="*/ 3869077 w 4519987"/>
              <a:gd name="connsiteY47" fmla="*/ 3724275 h 4496940"/>
              <a:gd name="connsiteX48" fmla="*/ 3792877 w 4519987"/>
              <a:gd name="connsiteY48" fmla="*/ 3781425 h 4496940"/>
              <a:gd name="connsiteX49" fmla="*/ 3783352 w 4519987"/>
              <a:gd name="connsiteY49" fmla="*/ 3810000 h 4496940"/>
              <a:gd name="connsiteX50" fmla="*/ 3745252 w 4519987"/>
              <a:gd name="connsiteY50" fmla="*/ 3819525 h 4496940"/>
              <a:gd name="connsiteX51" fmla="*/ 3678577 w 4519987"/>
              <a:gd name="connsiteY51" fmla="*/ 3848100 h 4496940"/>
              <a:gd name="connsiteX52" fmla="*/ 3659527 w 4519987"/>
              <a:gd name="connsiteY52" fmla="*/ 3971925 h 4496940"/>
              <a:gd name="connsiteX53" fmla="*/ 3630952 w 4519987"/>
              <a:gd name="connsiteY53" fmla="*/ 4010025 h 4496940"/>
              <a:gd name="connsiteX54" fmla="*/ 3621427 w 4519987"/>
              <a:gd name="connsiteY54" fmla="*/ 4038600 h 4496940"/>
              <a:gd name="connsiteX55" fmla="*/ 3554752 w 4519987"/>
              <a:gd name="connsiteY55" fmla="*/ 4095750 h 4496940"/>
              <a:gd name="connsiteX56" fmla="*/ 3516652 w 4519987"/>
              <a:gd name="connsiteY56" fmla="*/ 4114800 h 4496940"/>
              <a:gd name="connsiteX57" fmla="*/ 3497602 w 4519987"/>
              <a:gd name="connsiteY57" fmla="*/ 4143375 h 4496940"/>
              <a:gd name="connsiteX58" fmla="*/ 3383302 w 4519987"/>
              <a:gd name="connsiteY58" fmla="*/ 4210050 h 4496940"/>
              <a:gd name="connsiteX59" fmla="*/ 3335677 w 4519987"/>
              <a:gd name="connsiteY59" fmla="*/ 4238625 h 4496940"/>
              <a:gd name="connsiteX60" fmla="*/ 3288052 w 4519987"/>
              <a:gd name="connsiteY60" fmla="*/ 4248150 h 4496940"/>
              <a:gd name="connsiteX61" fmla="*/ 3240427 w 4519987"/>
              <a:gd name="connsiteY61" fmla="*/ 4267200 h 4496940"/>
              <a:gd name="connsiteX62" fmla="*/ 3068977 w 4519987"/>
              <a:gd name="connsiteY62" fmla="*/ 4286250 h 4496940"/>
              <a:gd name="connsiteX63" fmla="*/ 2935627 w 4519987"/>
              <a:gd name="connsiteY63" fmla="*/ 4333875 h 4496940"/>
              <a:gd name="connsiteX64" fmla="*/ 2811802 w 4519987"/>
              <a:gd name="connsiteY64" fmla="*/ 4371975 h 4496940"/>
              <a:gd name="connsiteX65" fmla="*/ 2745127 w 4519987"/>
              <a:gd name="connsiteY65" fmla="*/ 4410075 h 4496940"/>
              <a:gd name="connsiteX66" fmla="*/ 2697502 w 4519987"/>
              <a:gd name="connsiteY66" fmla="*/ 4429125 h 4496940"/>
              <a:gd name="connsiteX67" fmla="*/ 2640352 w 4519987"/>
              <a:gd name="connsiteY67" fmla="*/ 4457700 h 4496940"/>
              <a:gd name="connsiteX68" fmla="*/ 2583202 w 4519987"/>
              <a:gd name="connsiteY68" fmla="*/ 4467225 h 4496940"/>
              <a:gd name="connsiteX69" fmla="*/ 2545102 w 4519987"/>
              <a:gd name="connsiteY69" fmla="*/ 4486275 h 4496940"/>
              <a:gd name="connsiteX70" fmla="*/ 2306977 w 4519987"/>
              <a:gd name="connsiteY70" fmla="*/ 4476750 h 4496940"/>
              <a:gd name="connsiteX71" fmla="*/ 2202202 w 4519987"/>
              <a:gd name="connsiteY71" fmla="*/ 4457700 h 4496940"/>
              <a:gd name="connsiteX72" fmla="*/ 2126002 w 4519987"/>
              <a:gd name="connsiteY72" fmla="*/ 4429125 h 4496940"/>
              <a:gd name="connsiteX73" fmla="*/ 1935502 w 4519987"/>
              <a:gd name="connsiteY73" fmla="*/ 4400550 h 4496940"/>
              <a:gd name="connsiteX74" fmla="*/ 1821202 w 4519987"/>
              <a:gd name="connsiteY74" fmla="*/ 4371975 h 4496940"/>
              <a:gd name="connsiteX75" fmla="*/ 1754527 w 4519987"/>
              <a:gd name="connsiteY75" fmla="*/ 4352925 h 4496940"/>
              <a:gd name="connsiteX76" fmla="*/ 1687852 w 4519987"/>
              <a:gd name="connsiteY76" fmla="*/ 4343400 h 4496940"/>
              <a:gd name="connsiteX77" fmla="*/ 1573552 w 4519987"/>
              <a:gd name="connsiteY77" fmla="*/ 4305300 h 4496940"/>
              <a:gd name="connsiteX78" fmla="*/ 1402102 w 4519987"/>
              <a:gd name="connsiteY78" fmla="*/ 4276725 h 4496940"/>
              <a:gd name="connsiteX79" fmla="*/ 1287802 w 4519987"/>
              <a:gd name="connsiteY79" fmla="*/ 4229100 h 4496940"/>
              <a:gd name="connsiteX80" fmla="*/ 1221127 w 4519987"/>
              <a:gd name="connsiteY80" fmla="*/ 4200525 h 4496940"/>
              <a:gd name="connsiteX81" fmla="*/ 1144927 w 4519987"/>
              <a:gd name="connsiteY81" fmla="*/ 4171950 h 4496940"/>
              <a:gd name="connsiteX82" fmla="*/ 1087777 w 4519987"/>
              <a:gd name="connsiteY82" fmla="*/ 4143375 h 4496940"/>
              <a:gd name="connsiteX83" fmla="*/ 1030627 w 4519987"/>
              <a:gd name="connsiteY83" fmla="*/ 4124325 h 4496940"/>
              <a:gd name="connsiteX84" fmla="*/ 925852 w 4519987"/>
              <a:gd name="connsiteY84" fmla="*/ 4067175 h 4496940"/>
              <a:gd name="connsiteX85" fmla="*/ 830602 w 4519987"/>
              <a:gd name="connsiteY85" fmla="*/ 3981450 h 4496940"/>
              <a:gd name="connsiteX86" fmla="*/ 763927 w 4519987"/>
              <a:gd name="connsiteY86" fmla="*/ 3914775 h 4496940"/>
              <a:gd name="connsiteX87" fmla="*/ 725827 w 4519987"/>
              <a:gd name="connsiteY87" fmla="*/ 3876675 h 4496940"/>
              <a:gd name="connsiteX88" fmla="*/ 697252 w 4519987"/>
              <a:gd name="connsiteY88" fmla="*/ 3838575 h 4496940"/>
              <a:gd name="connsiteX89" fmla="*/ 640102 w 4519987"/>
              <a:gd name="connsiteY89" fmla="*/ 3781425 h 4496940"/>
              <a:gd name="connsiteX90" fmla="*/ 611527 w 4519987"/>
              <a:gd name="connsiteY90" fmla="*/ 3733800 h 4496940"/>
              <a:gd name="connsiteX91" fmla="*/ 554377 w 4519987"/>
              <a:gd name="connsiteY91" fmla="*/ 3657600 h 4496940"/>
              <a:gd name="connsiteX92" fmla="*/ 525802 w 4519987"/>
              <a:gd name="connsiteY92" fmla="*/ 3609975 h 4496940"/>
              <a:gd name="connsiteX93" fmla="*/ 497227 w 4519987"/>
              <a:gd name="connsiteY93" fmla="*/ 3552825 h 4496940"/>
              <a:gd name="connsiteX94" fmla="*/ 440077 w 4519987"/>
              <a:gd name="connsiteY94" fmla="*/ 3495675 h 4496940"/>
              <a:gd name="connsiteX95" fmla="*/ 411502 w 4519987"/>
              <a:gd name="connsiteY95" fmla="*/ 3448050 h 4496940"/>
              <a:gd name="connsiteX96" fmla="*/ 278152 w 4519987"/>
              <a:gd name="connsiteY96" fmla="*/ 3257550 h 4496940"/>
              <a:gd name="connsiteX97" fmla="*/ 249577 w 4519987"/>
              <a:gd name="connsiteY97" fmla="*/ 3200400 h 4496940"/>
              <a:gd name="connsiteX98" fmla="*/ 240052 w 4519987"/>
              <a:gd name="connsiteY98" fmla="*/ 3162300 h 4496940"/>
              <a:gd name="connsiteX99" fmla="*/ 221002 w 4519987"/>
              <a:gd name="connsiteY99" fmla="*/ 3105150 h 4496940"/>
              <a:gd name="connsiteX100" fmla="*/ 173377 w 4519987"/>
              <a:gd name="connsiteY100" fmla="*/ 3019425 h 4496940"/>
              <a:gd name="connsiteX101" fmla="*/ 144802 w 4519987"/>
              <a:gd name="connsiteY101" fmla="*/ 2924175 h 4496940"/>
              <a:gd name="connsiteX102" fmla="*/ 68602 w 4519987"/>
              <a:gd name="connsiteY102" fmla="*/ 2724150 h 4496940"/>
              <a:gd name="connsiteX103" fmla="*/ 49552 w 4519987"/>
              <a:gd name="connsiteY103" fmla="*/ 2638425 h 4496940"/>
              <a:gd name="connsiteX104" fmla="*/ 40027 w 4519987"/>
              <a:gd name="connsiteY104" fmla="*/ 2562225 h 4496940"/>
              <a:gd name="connsiteX105" fmla="*/ 30502 w 4519987"/>
              <a:gd name="connsiteY105" fmla="*/ 2514600 h 4496940"/>
              <a:gd name="connsiteX106" fmla="*/ 11452 w 4519987"/>
              <a:gd name="connsiteY106" fmla="*/ 2400300 h 4496940"/>
              <a:gd name="connsiteX107" fmla="*/ 20977 w 4519987"/>
              <a:gd name="connsiteY107" fmla="*/ 1905000 h 4496940"/>
              <a:gd name="connsiteX108" fmla="*/ 30502 w 4519987"/>
              <a:gd name="connsiteY108" fmla="*/ 1838325 h 4496940"/>
              <a:gd name="connsiteX109" fmla="*/ 49552 w 4519987"/>
              <a:gd name="connsiteY109" fmla="*/ 1781175 h 4496940"/>
              <a:gd name="connsiteX110" fmla="*/ 59077 w 4519987"/>
              <a:gd name="connsiteY110" fmla="*/ 1743075 h 4496940"/>
              <a:gd name="connsiteX111" fmla="*/ 78127 w 4519987"/>
              <a:gd name="connsiteY111" fmla="*/ 1685925 h 4496940"/>
              <a:gd name="connsiteX112" fmla="*/ 87652 w 4519987"/>
              <a:gd name="connsiteY112" fmla="*/ 1638300 h 4496940"/>
              <a:gd name="connsiteX113" fmla="*/ 106702 w 4519987"/>
              <a:gd name="connsiteY113" fmla="*/ 1590675 h 4496940"/>
              <a:gd name="connsiteX114" fmla="*/ 135277 w 4519987"/>
              <a:gd name="connsiteY114" fmla="*/ 1504950 h 4496940"/>
              <a:gd name="connsiteX115" fmla="*/ 154327 w 4519987"/>
              <a:gd name="connsiteY115" fmla="*/ 1419225 h 4496940"/>
              <a:gd name="connsiteX116" fmla="*/ 230527 w 4519987"/>
              <a:gd name="connsiteY116" fmla="*/ 1276350 h 4496940"/>
              <a:gd name="connsiteX117" fmla="*/ 240052 w 4519987"/>
              <a:gd name="connsiteY117" fmla="*/ 1247775 h 4496940"/>
              <a:gd name="connsiteX118" fmla="*/ 268627 w 4519987"/>
              <a:gd name="connsiteY118" fmla="*/ 1200150 h 4496940"/>
              <a:gd name="connsiteX119" fmla="*/ 287677 w 4519987"/>
              <a:gd name="connsiteY119" fmla="*/ 1152525 h 4496940"/>
              <a:gd name="connsiteX120" fmla="*/ 316252 w 4519987"/>
              <a:gd name="connsiteY120" fmla="*/ 1114425 h 4496940"/>
              <a:gd name="connsiteX121" fmla="*/ 363877 w 4519987"/>
              <a:gd name="connsiteY121" fmla="*/ 1038225 h 4496940"/>
              <a:gd name="connsiteX122" fmla="*/ 382927 w 4519987"/>
              <a:gd name="connsiteY122" fmla="*/ 1009650 h 4496940"/>
              <a:gd name="connsiteX123" fmla="*/ 440077 w 4519987"/>
              <a:gd name="connsiteY123" fmla="*/ 904875 h 4496940"/>
              <a:gd name="connsiteX124" fmla="*/ 478177 w 4519987"/>
              <a:gd name="connsiteY124" fmla="*/ 857250 h 4496940"/>
              <a:gd name="connsiteX125" fmla="*/ 497227 w 4519987"/>
              <a:gd name="connsiteY125" fmla="*/ 828675 h 4496940"/>
              <a:gd name="connsiteX126" fmla="*/ 535327 w 4519987"/>
              <a:gd name="connsiteY126" fmla="*/ 800100 h 4496940"/>
              <a:gd name="connsiteX127" fmla="*/ 602002 w 4519987"/>
              <a:gd name="connsiteY127" fmla="*/ 733425 h 4496940"/>
              <a:gd name="connsiteX128" fmla="*/ 668677 w 4519987"/>
              <a:gd name="connsiteY128" fmla="*/ 676275 h 4496940"/>
              <a:gd name="connsiteX129" fmla="*/ 697252 w 4519987"/>
              <a:gd name="connsiteY129" fmla="*/ 657225 h 4496940"/>
              <a:gd name="connsiteX130" fmla="*/ 840127 w 4519987"/>
              <a:gd name="connsiteY130" fmla="*/ 533400 h 4496940"/>
              <a:gd name="connsiteX131" fmla="*/ 887752 w 4519987"/>
              <a:gd name="connsiteY131" fmla="*/ 504825 h 4496940"/>
              <a:gd name="connsiteX132" fmla="*/ 1167152 w 4519987"/>
              <a:gd name="connsiteY132" fmla="*/ 311150 h 4496940"/>
              <a:gd name="connsiteX133" fmla="*/ 1268752 w 4519987"/>
              <a:gd name="connsiteY133" fmla="*/ 285750 h 4496940"/>
              <a:gd name="connsiteX134" fmla="*/ 1411627 w 4519987"/>
              <a:gd name="connsiteY134" fmla="*/ 190500 h 4496940"/>
              <a:gd name="connsiteX135" fmla="*/ 1449727 w 4519987"/>
              <a:gd name="connsiteY135" fmla="*/ 161925 h 4496940"/>
              <a:gd name="connsiteX136" fmla="*/ 1525927 w 4519987"/>
              <a:gd name="connsiteY136" fmla="*/ 152400 h 4496940"/>
              <a:gd name="connsiteX137" fmla="*/ 1583077 w 4519987"/>
              <a:gd name="connsiteY137" fmla="*/ 142875 h 4496940"/>
              <a:gd name="connsiteX138" fmla="*/ 1716427 w 4519987"/>
              <a:gd name="connsiteY138" fmla="*/ 123825 h 4496940"/>
              <a:gd name="connsiteX139" fmla="*/ 1811677 w 4519987"/>
              <a:gd name="connsiteY139" fmla="*/ 114300 h 4496940"/>
              <a:gd name="connsiteX140" fmla="*/ 1859302 w 4519987"/>
              <a:gd name="connsiteY140" fmla="*/ 104775 h 4496940"/>
              <a:gd name="connsiteX141" fmla="*/ 1916452 w 4519987"/>
              <a:gd name="connsiteY141" fmla="*/ 95250 h 4496940"/>
              <a:gd name="connsiteX142" fmla="*/ 2030752 w 4519987"/>
              <a:gd name="connsiteY142" fmla="*/ 66675 h 4496940"/>
              <a:gd name="connsiteX143" fmla="*/ 2097427 w 4519987"/>
              <a:gd name="connsiteY143" fmla="*/ 47625 h 4496940"/>
              <a:gd name="connsiteX144" fmla="*/ 2164102 w 4519987"/>
              <a:gd name="connsiteY144" fmla="*/ 38100 h 4496940"/>
              <a:gd name="connsiteX145" fmla="*/ 2392702 w 4519987"/>
              <a:gd name="connsiteY14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259602 w 4519987"/>
              <a:gd name="connsiteY24" fmla="*/ 1190625 h 4496940"/>
              <a:gd name="connsiteX25" fmla="*/ 4307227 w 4519987"/>
              <a:gd name="connsiteY25" fmla="*/ 1266825 h 4496940"/>
              <a:gd name="connsiteX26" fmla="*/ 4345327 w 4519987"/>
              <a:gd name="connsiteY26" fmla="*/ 1362075 h 4496940"/>
              <a:gd name="connsiteX27" fmla="*/ 4373902 w 4519987"/>
              <a:gd name="connsiteY27" fmla="*/ 1428750 h 4496940"/>
              <a:gd name="connsiteX28" fmla="*/ 4392952 w 4519987"/>
              <a:gd name="connsiteY28" fmla="*/ 1552575 h 4496940"/>
              <a:gd name="connsiteX29" fmla="*/ 4402477 w 4519987"/>
              <a:gd name="connsiteY29" fmla="*/ 1590675 h 4496940"/>
              <a:gd name="connsiteX30" fmla="*/ 4431052 w 4519987"/>
              <a:gd name="connsiteY30" fmla="*/ 1685925 h 4496940"/>
              <a:gd name="connsiteX31" fmla="*/ 4519952 w 4519987"/>
              <a:gd name="connsiteY31" fmla="*/ 2181225 h 4496940"/>
              <a:gd name="connsiteX32" fmla="*/ 4446927 w 4519987"/>
              <a:gd name="connsiteY32" fmla="*/ 2768600 h 4496940"/>
              <a:gd name="connsiteX33" fmla="*/ 4383427 w 4519987"/>
              <a:gd name="connsiteY33" fmla="*/ 2990850 h 4496940"/>
              <a:gd name="connsiteX34" fmla="*/ 4278652 w 4519987"/>
              <a:gd name="connsiteY34" fmla="*/ 3248025 h 4496940"/>
              <a:gd name="connsiteX35" fmla="*/ 4259602 w 4519987"/>
              <a:gd name="connsiteY35" fmla="*/ 3276600 h 4496940"/>
              <a:gd name="connsiteX36" fmla="*/ 4221502 w 4519987"/>
              <a:gd name="connsiteY36" fmla="*/ 3333750 h 4496940"/>
              <a:gd name="connsiteX37" fmla="*/ 4211977 w 4519987"/>
              <a:gd name="connsiteY37" fmla="*/ 3362325 h 4496940"/>
              <a:gd name="connsiteX38" fmla="*/ 4183402 w 4519987"/>
              <a:gd name="connsiteY38" fmla="*/ 3400425 h 4496940"/>
              <a:gd name="connsiteX39" fmla="*/ 4164352 w 4519987"/>
              <a:gd name="connsiteY39" fmla="*/ 3429000 h 4496940"/>
              <a:gd name="connsiteX40" fmla="*/ 4088152 w 4519987"/>
              <a:gd name="connsiteY40" fmla="*/ 3495675 h 4496940"/>
              <a:gd name="connsiteX41" fmla="*/ 4059577 w 4519987"/>
              <a:gd name="connsiteY41" fmla="*/ 3533775 h 4496940"/>
              <a:gd name="connsiteX42" fmla="*/ 4002427 w 4519987"/>
              <a:gd name="connsiteY42" fmla="*/ 3600450 h 4496940"/>
              <a:gd name="connsiteX43" fmla="*/ 3983377 w 4519987"/>
              <a:gd name="connsiteY43" fmla="*/ 3629025 h 4496940"/>
              <a:gd name="connsiteX44" fmla="*/ 3954802 w 4519987"/>
              <a:gd name="connsiteY44" fmla="*/ 3648075 h 4496940"/>
              <a:gd name="connsiteX45" fmla="*/ 3907177 w 4519987"/>
              <a:gd name="connsiteY45" fmla="*/ 3686175 h 4496940"/>
              <a:gd name="connsiteX46" fmla="*/ 3869077 w 4519987"/>
              <a:gd name="connsiteY46" fmla="*/ 3724275 h 4496940"/>
              <a:gd name="connsiteX47" fmla="*/ 3792877 w 4519987"/>
              <a:gd name="connsiteY47" fmla="*/ 3781425 h 4496940"/>
              <a:gd name="connsiteX48" fmla="*/ 3783352 w 4519987"/>
              <a:gd name="connsiteY48" fmla="*/ 3810000 h 4496940"/>
              <a:gd name="connsiteX49" fmla="*/ 3745252 w 4519987"/>
              <a:gd name="connsiteY49" fmla="*/ 3819525 h 4496940"/>
              <a:gd name="connsiteX50" fmla="*/ 3678577 w 4519987"/>
              <a:gd name="connsiteY50" fmla="*/ 3848100 h 4496940"/>
              <a:gd name="connsiteX51" fmla="*/ 3659527 w 4519987"/>
              <a:gd name="connsiteY51" fmla="*/ 3971925 h 4496940"/>
              <a:gd name="connsiteX52" fmla="*/ 3630952 w 4519987"/>
              <a:gd name="connsiteY52" fmla="*/ 4010025 h 4496940"/>
              <a:gd name="connsiteX53" fmla="*/ 3621427 w 4519987"/>
              <a:gd name="connsiteY53" fmla="*/ 4038600 h 4496940"/>
              <a:gd name="connsiteX54" fmla="*/ 3554752 w 4519987"/>
              <a:gd name="connsiteY54" fmla="*/ 4095750 h 4496940"/>
              <a:gd name="connsiteX55" fmla="*/ 3516652 w 4519987"/>
              <a:gd name="connsiteY55" fmla="*/ 4114800 h 4496940"/>
              <a:gd name="connsiteX56" fmla="*/ 3497602 w 4519987"/>
              <a:gd name="connsiteY56" fmla="*/ 4143375 h 4496940"/>
              <a:gd name="connsiteX57" fmla="*/ 3383302 w 4519987"/>
              <a:gd name="connsiteY57" fmla="*/ 4210050 h 4496940"/>
              <a:gd name="connsiteX58" fmla="*/ 3335677 w 4519987"/>
              <a:gd name="connsiteY58" fmla="*/ 4238625 h 4496940"/>
              <a:gd name="connsiteX59" fmla="*/ 3288052 w 4519987"/>
              <a:gd name="connsiteY59" fmla="*/ 4248150 h 4496940"/>
              <a:gd name="connsiteX60" fmla="*/ 3240427 w 4519987"/>
              <a:gd name="connsiteY60" fmla="*/ 4267200 h 4496940"/>
              <a:gd name="connsiteX61" fmla="*/ 3068977 w 4519987"/>
              <a:gd name="connsiteY61" fmla="*/ 4286250 h 4496940"/>
              <a:gd name="connsiteX62" fmla="*/ 2935627 w 4519987"/>
              <a:gd name="connsiteY62" fmla="*/ 4333875 h 4496940"/>
              <a:gd name="connsiteX63" fmla="*/ 2811802 w 4519987"/>
              <a:gd name="connsiteY63" fmla="*/ 4371975 h 4496940"/>
              <a:gd name="connsiteX64" fmla="*/ 2745127 w 4519987"/>
              <a:gd name="connsiteY64" fmla="*/ 4410075 h 4496940"/>
              <a:gd name="connsiteX65" fmla="*/ 2697502 w 4519987"/>
              <a:gd name="connsiteY65" fmla="*/ 4429125 h 4496940"/>
              <a:gd name="connsiteX66" fmla="*/ 2640352 w 4519987"/>
              <a:gd name="connsiteY66" fmla="*/ 4457700 h 4496940"/>
              <a:gd name="connsiteX67" fmla="*/ 2583202 w 4519987"/>
              <a:gd name="connsiteY67" fmla="*/ 4467225 h 4496940"/>
              <a:gd name="connsiteX68" fmla="*/ 2545102 w 4519987"/>
              <a:gd name="connsiteY68" fmla="*/ 4486275 h 4496940"/>
              <a:gd name="connsiteX69" fmla="*/ 2306977 w 4519987"/>
              <a:gd name="connsiteY69" fmla="*/ 4476750 h 4496940"/>
              <a:gd name="connsiteX70" fmla="*/ 2202202 w 4519987"/>
              <a:gd name="connsiteY70" fmla="*/ 4457700 h 4496940"/>
              <a:gd name="connsiteX71" fmla="*/ 2126002 w 4519987"/>
              <a:gd name="connsiteY71" fmla="*/ 4429125 h 4496940"/>
              <a:gd name="connsiteX72" fmla="*/ 1935502 w 4519987"/>
              <a:gd name="connsiteY72" fmla="*/ 4400550 h 4496940"/>
              <a:gd name="connsiteX73" fmla="*/ 1821202 w 4519987"/>
              <a:gd name="connsiteY73" fmla="*/ 4371975 h 4496940"/>
              <a:gd name="connsiteX74" fmla="*/ 1754527 w 4519987"/>
              <a:gd name="connsiteY74" fmla="*/ 4352925 h 4496940"/>
              <a:gd name="connsiteX75" fmla="*/ 1687852 w 4519987"/>
              <a:gd name="connsiteY75" fmla="*/ 4343400 h 4496940"/>
              <a:gd name="connsiteX76" fmla="*/ 1573552 w 4519987"/>
              <a:gd name="connsiteY76" fmla="*/ 4305300 h 4496940"/>
              <a:gd name="connsiteX77" fmla="*/ 1402102 w 4519987"/>
              <a:gd name="connsiteY77" fmla="*/ 4276725 h 4496940"/>
              <a:gd name="connsiteX78" fmla="*/ 1287802 w 4519987"/>
              <a:gd name="connsiteY78" fmla="*/ 4229100 h 4496940"/>
              <a:gd name="connsiteX79" fmla="*/ 1221127 w 4519987"/>
              <a:gd name="connsiteY79" fmla="*/ 4200525 h 4496940"/>
              <a:gd name="connsiteX80" fmla="*/ 1144927 w 4519987"/>
              <a:gd name="connsiteY80" fmla="*/ 4171950 h 4496940"/>
              <a:gd name="connsiteX81" fmla="*/ 1087777 w 4519987"/>
              <a:gd name="connsiteY81" fmla="*/ 4143375 h 4496940"/>
              <a:gd name="connsiteX82" fmla="*/ 1030627 w 4519987"/>
              <a:gd name="connsiteY82" fmla="*/ 4124325 h 4496940"/>
              <a:gd name="connsiteX83" fmla="*/ 925852 w 4519987"/>
              <a:gd name="connsiteY83" fmla="*/ 4067175 h 4496940"/>
              <a:gd name="connsiteX84" fmla="*/ 830602 w 4519987"/>
              <a:gd name="connsiteY84" fmla="*/ 3981450 h 4496940"/>
              <a:gd name="connsiteX85" fmla="*/ 763927 w 4519987"/>
              <a:gd name="connsiteY85" fmla="*/ 3914775 h 4496940"/>
              <a:gd name="connsiteX86" fmla="*/ 725827 w 4519987"/>
              <a:gd name="connsiteY86" fmla="*/ 3876675 h 4496940"/>
              <a:gd name="connsiteX87" fmla="*/ 697252 w 4519987"/>
              <a:gd name="connsiteY87" fmla="*/ 3838575 h 4496940"/>
              <a:gd name="connsiteX88" fmla="*/ 640102 w 4519987"/>
              <a:gd name="connsiteY88" fmla="*/ 3781425 h 4496940"/>
              <a:gd name="connsiteX89" fmla="*/ 611527 w 4519987"/>
              <a:gd name="connsiteY89" fmla="*/ 3733800 h 4496940"/>
              <a:gd name="connsiteX90" fmla="*/ 554377 w 4519987"/>
              <a:gd name="connsiteY90" fmla="*/ 3657600 h 4496940"/>
              <a:gd name="connsiteX91" fmla="*/ 525802 w 4519987"/>
              <a:gd name="connsiteY91" fmla="*/ 3609975 h 4496940"/>
              <a:gd name="connsiteX92" fmla="*/ 497227 w 4519987"/>
              <a:gd name="connsiteY92" fmla="*/ 3552825 h 4496940"/>
              <a:gd name="connsiteX93" fmla="*/ 440077 w 4519987"/>
              <a:gd name="connsiteY93" fmla="*/ 3495675 h 4496940"/>
              <a:gd name="connsiteX94" fmla="*/ 411502 w 4519987"/>
              <a:gd name="connsiteY94" fmla="*/ 3448050 h 4496940"/>
              <a:gd name="connsiteX95" fmla="*/ 278152 w 4519987"/>
              <a:gd name="connsiteY95" fmla="*/ 3257550 h 4496940"/>
              <a:gd name="connsiteX96" fmla="*/ 249577 w 4519987"/>
              <a:gd name="connsiteY96" fmla="*/ 3200400 h 4496940"/>
              <a:gd name="connsiteX97" fmla="*/ 240052 w 4519987"/>
              <a:gd name="connsiteY97" fmla="*/ 3162300 h 4496940"/>
              <a:gd name="connsiteX98" fmla="*/ 221002 w 4519987"/>
              <a:gd name="connsiteY98" fmla="*/ 3105150 h 4496940"/>
              <a:gd name="connsiteX99" fmla="*/ 173377 w 4519987"/>
              <a:gd name="connsiteY99" fmla="*/ 3019425 h 4496940"/>
              <a:gd name="connsiteX100" fmla="*/ 144802 w 4519987"/>
              <a:gd name="connsiteY100" fmla="*/ 2924175 h 4496940"/>
              <a:gd name="connsiteX101" fmla="*/ 68602 w 4519987"/>
              <a:gd name="connsiteY101" fmla="*/ 2724150 h 4496940"/>
              <a:gd name="connsiteX102" fmla="*/ 49552 w 4519987"/>
              <a:gd name="connsiteY102" fmla="*/ 2638425 h 4496940"/>
              <a:gd name="connsiteX103" fmla="*/ 40027 w 4519987"/>
              <a:gd name="connsiteY103" fmla="*/ 2562225 h 4496940"/>
              <a:gd name="connsiteX104" fmla="*/ 30502 w 4519987"/>
              <a:gd name="connsiteY104" fmla="*/ 2514600 h 4496940"/>
              <a:gd name="connsiteX105" fmla="*/ 11452 w 4519987"/>
              <a:gd name="connsiteY105" fmla="*/ 2400300 h 4496940"/>
              <a:gd name="connsiteX106" fmla="*/ 20977 w 4519987"/>
              <a:gd name="connsiteY106" fmla="*/ 1905000 h 4496940"/>
              <a:gd name="connsiteX107" fmla="*/ 30502 w 4519987"/>
              <a:gd name="connsiteY107" fmla="*/ 1838325 h 4496940"/>
              <a:gd name="connsiteX108" fmla="*/ 49552 w 4519987"/>
              <a:gd name="connsiteY108" fmla="*/ 1781175 h 4496940"/>
              <a:gd name="connsiteX109" fmla="*/ 59077 w 4519987"/>
              <a:gd name="connsiteY109" fmla="*/ 1743075 h 4496940"/>
              <a:gd name="connsiteX110" fmla="*/ 78127 w 4519987"/>
              <a:gd name="connsiteY110" fmla="*/ 1685925 h 4496940"/>
              <a:gd name="connsiteX111" fmla="*/ 87652 w 4519987"/>
              <a:gd name="connsiteY111" fmla="*/ 1638300 h 4496940"/>
              <a:gd name="connsiteX112" fmla="*/ 106702 w 4519987"/>
              <a:gd name="connsiteY112" fmla="*/ 1590675 h 4496940"/>
              <a:gd name="connsiteX113" fmla="*/ 135277 w 4519987"/>
              <a:gd name="connsiteY113" fmla="*/ 1504950 h 4496940"/>
              <a:gd name="connsiteX114" fmla="*/ 154327 w 4519987"/>
              <a:gd name="connsiteY114" fmla="*/ 1419225 h 4496940"/>
              <a:gd name="connsiteX115" fmla="*/ 230527 w 4519987"/>
              <a:gd name="connsiteY115" fmla="*/ 1276350 h 4496940"/>
              <a:gd name="connsiteX116" fmla="*/ 240052 w 4519987"/>
              <a:gd name="connsiteY116" fmla="*/ 1247775 h 4496940"/>
              <a:gd name="connsiteX117" fmla="*/ 268627 w 4519987"/>
              <a:gd name="connsiteY117" fmla="*/ 1200150 h 4496940"/>
              <a:gd name="connsiteX118" fmla="*/ 287677 w 4519987"/>
              <a:gd name="connsiteY118" fmla="*/ 1152525 h 4496940"/>
              <a:gd name="connsiteX119" fmla="*/ 316252 w 4519987"/>
              <a:gd name="connsiteY119" fmla="*/ 1114425 h 4496940"/>
              <a:gd name="connsiteX120" fmla="*/ 363877 w 4519987"/>
              <a:gd name="connsiteY120" fmla="*/ 1038225 h 4496940"/>
              <a:gd name="connsiteX121" fmla="*/ 382927 w 4519987"/>
              <a:gd name="connsiteY121" fmla="*/ 1009650 h 4496940"/>
              <a:gd name="connsiteX122" fmla="*/ 440077 w 4519987"/>
              <a:gd name="connsiteY122" fmla="*/ 904875 h 4496940"/>
              <a:gd name="connsiteX123" fmla="*/ 478177 w 4519987"/>
              <a:gd name="connsiteY123" fmla="*/ 857250 h 4496940"/>
              <a:gd name="connsiteX124" fmla="*/ 497227 w 4519987"/>
              <a:gd name="connsiteY124" fmla="*/ 828675 h 4496940"/>
              <a:gd name="connsiteX125" fmla="*/ 535327 w 4519987"/>
              <a:gd name="connsiteY125" fmla="*/ 800100 h 4496940"/>
              <a:gd name="connsiteX126" fmla="*/ 602002 w 4519987"/>
              <a:gd name="connsiteY126" fmla="*/ 733425 h 4496940"/>
              <a:gd name="connsiteX127" fmla="*/ 668677 w 4519987"/>
              <a:gd name="connsiteY127" fmla="*/ 676275 h 4496940"/>
              <a:gd name="connsiteX128" fmla="*/ 697252 w 4519987"/>
              <a:gd name="connsiteY128" fmla="*/ 657225 h 4496940"/>
              <a:gd name="connsiteX129" fmla="*/ 840127 w 4519987"/>
              <a:gd name="connsiteY129" fmla="*/ 533400 h 4496940"/>
              <a:gd name="connsiteX130" fmla="*/ 887752 w 4519987"/>
              <a:gd name="connsiteY130" fmla="*/ 504825 h 4496940"/>
              <a:gd name="connsiteX131" fmla="*/ 1167152 w 4519987"/>
              <a:gd name="connsiteY131" fmla="*/ 311150 h 4496940"/>
              <a:gd name="connsiteX132" fmla="*/ 1268752 w 4519987"/>
              <a:gd name="connsiteY132" fmla="*/ 285750 h 4496940"/>
              <a:gd name="connsiteX133" fmla="*/ 1411627 w 4519987"/>
              <a:gd name="connsiteY133" fmla="*/ 190500 h 4496940"/>
              <a:gd name="connsiteX134" fmla="*/ 1449727 w 4519987"/>
              <a:gd name="connsiteY134" fmla="*/ 161925 h 4496940"/>
              <a:gd name="connsiteX135" fmla="*/ 1525927 w 4519987"/>
              <a:gd name="connsiteY135" fmla="*/ 152400 h 4496940"/>
              <a:gd name="connsiteX136" fmla="*/ 1583077 w 4519987"/>
              <a:gd name="connsiteY136" fmla="*/ 142875 h 4496940"/>
              <a:gd name="connsiteX137" fmla="*/ 1716427 w 4519987"/>
              <a:gd name="connsiteY137" fmla="*/ 123825 h 4496940"/>
              <a:gd name="connsiteX138" fmla="*/ 1811677 w 4519987"/>
              <a:gd name="connsiteY138" fmla="*/ 114300 h 4496940"/>
              <a:gd name="connsiteX139" fmla="*/ 1859302 w 4519987"/>
              <a:gd name="connsiteY139" fmla="*/ 104775 h 4496940"/>
              <a:gd name="connsiteX140" fmla="*/ 1916452 w 4519987"/>
              <a:gd name="connsiteY140" fmla="*/ 95250 h 4496940"/>
              <a:gd name="connsiteX141" fmla="*/ 2030752 w 4519987"/>
              <a:gd name="connsiteY141" fmla="*/ 66675 h 4496940"/>
              <a:gd name="connsiteX142" fmla="*/ 2097427 w 4519987"/>
              <a:gd name="connsiteY142" fmla="*/ 47625 h 4496940"/>
              <a:gd name="connsiteX143" fmla="*/ 2164102 w 4519987"/>
              <a:gd name="connsiteY143" fmla="*/ 38100 h 4496940"/>
              <a:gd name="connsiteX144" fmla="*/ 2392702 w 4519987"/>
              <a:gd name="connsiteY14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73902 w 4519987"/>
              <a:gd name="connsiteY26" fmla="*/ 1428750 h 4496940"/>
              <a:gd name="connsiteX27" fmla="*/ 4392952 w 4519987"/>
              <a:gd name="connsiteY27" fmla="*/ 1552575 h 4496940"/>
              <a:gd name="connsiteX28" fmla="*/ 4402477 w 4519987"/>
              <a:gd name="connsiteY28" fmla="*/ 1590675 h 4496940"/>
              <a:gd name="connsiteX29" fmla="*/ 4431052 w 4519987"/>
              <a:gd name="connsiteY29" fmla="*/ 1685925 h 4496940"/>
              <a:gd name="connsiteX30" fmla="*/ 4519952 w 4519987"/>
              <a:gd name="connsiteY30" fmla="*/ 2181225 h 4496940"/>
              <a:gd name="connsiteX31" fmla="*/ 4446927 w 4519987"/>
              <a:gd name="connsiteY31" fmla="*/ 2768600 h 4496940"/>
              <a:gd name="connsiteX32" fmla="*/ 4383427 w 4519987"/>
              <a:gd name="connsiteY32" fmla="*/ 2990850 h 4496940"/>
              <a:gd name="connsiteX33" fmla="*/ 4278652 w 4519987"/>
              <a:gd name="connsiteY33" fmla="*/ 3248025 h 4496940"/>
              <a:gd name="connsiteX34" fmla="*/ 4259602 w 4519987"/>
              <a:gd name="connsiteY34" fmla="*/ 3276600 h 4496940"/>
              <a:gd name="connsiteX35" fmla="*/ 4221502 w 4519987"/>
              <a:gd name="connsiteY35" fmla="*/ 3333750 h 4496940"/>
              <a:gd name="connsiteX36" fmla="*/ 4211977 w 4519987"/>
              <a:gd name="connsiteY36" fmla="*/ 3362325 h 4496940"/>
              <a:gd name="connsiteX37" fmla="*/ 4183402 w 4519987"/>
              <a:gd name="connsiteY37" fmla="*/ 3400425 h 4496940"/>
              <a:gd name="connsiteX38" fmla="*/ 4164352 w 4519987"/>
              <a:gd name="connsiteY38" fmla="*/ 3429000 h 4496940"/>
              <a:gd name="connsiteX39" fmla="*/ 4088152 w 4519987"/>
              <a:gd name="connsiteY39" fmla="*/ 3495675 h 4496940"/>
              <a:gd name="connsiteX40" fmla="*/ 4059577 w 4519987"/>
              <a:gd name="connsiteY40" fmla="*/ 3533775 h 4496940"/>
              <a:gd name="connsiteX41" fmla="*/ 4002427 w 4519987"/>
              <a:gd name="connsiteY41" fmla="*/ 3600450 h 4496940"/>
              <a:gd name="connsiteX42" fmla="*/ 3983377 w 4519987"/>
              <a:gd name="connsiteY42" fmla="*/ 3629025 h 4496940"/>
              <a:gd name="connsiteX43" fmla="*/ 3954802 w 4519987"/>
              <a:gd name="connsiteY43" fmla="*/ 3648075 h 4496940"/>
              <a:gd name="connsiteX44" fmla="*/ 3907177 w 4519987"/>
              <a:gd name="connsiteY44" fmla="*/ 3686175 h 4496940"/>
              <a:gd name="connsiteX45" fmla="*/ 3869077 w 4519987"/>
              <a:gd name="connsiteY45" fmla="*/ 3724275 h 4496940"/>
              <a:gd name="connsiteX46" fmla="*/ 3792877 w 4519987"/>
              <a:gd name="connsiteY46" fmla="*/ 3781425 h 4496940"/>
              <a:gd name="connsiteX47" fmla="*/ 3783352 w 4519987"/>
              <a:gd name="connsiteY47" fmla="*/ 3810000 h 4496940"/>
              <a:gd name="connsiteX48" fmla="*/ 3745252 w 4519987"/>
              <a:gd name="connsiteY48" fmla="*/ 3819525 h 4496940"/>
              <a:gd name="connsiteX49" fmla="*/ 3678577 w 4519987"/>
              <a:gd name="connsiteY49" fmla="*/ 3848100 h 4496940"/>
              <a:gd name="connsiteX50" fmla="*/ 3659527 w 4519987"/>
              <a:gd name="connsiteY50" fmla="*/ 3971925 h 4496940"/>
              <a:gd name="connsiteX51" fmla="*/ 3630952 w 4519987"/>
              <a:gd name="connsiteY51" fmla="*/ 4010025 h 4496940"/>
              <a:gd name="connsiteX52" fmla="*/ 3621427 w 4519987"/>
              <a:gd name="connsiteY52" fmla="*/ 4038600 h 4496940"/>
              <a:gd name="connsiteX53" fmla="*/ 3554752 w 4519987"/>
              <a:gd name="connsiteY53" fmla="*/ 4095750 h 4496940"/>
              <a:gd name="connsiteX54" fmla="*/ 3516652 w 4519987"/>
              <a:gd name="connsiteY54" fmla="*/ 4114800 h 4496940"/>
              <a:gd name="connsiteX55" fmla="*/ 3497602 w 4519987"/>
              <a:gd name="connsiteY55" fmla="*/ 4143375 h 4496940"/>
              <a:gd name="connsiteX56" fmla="*/ 3383302 w 4519987"/>
              <a:gd name="connsiteY56" fmla="*/ 4210050 h 4496940"/>
              <a:gd name="connsiteX57" fmla="*/ 3335677 w 4519987"/>
              <a:gd name="connsiteY57" fmla="*/ 4238625 h 4496940"/>
              <a:gd name="connsiteX58" fmla="*/ 3288052 w 4519987"/>
              <a:gd name="connsiteY58" fmla="*/ 4248150 h 4496940"/>
              <a:gd name="connsiteX59" fmla="*/ 3240427 w 4519987"/>
              <a:gd name="connsiteY59" fmla="*/ 4267200 h 4496940"/>
              <a:gd name="connsiteX60" fmla="*/ 3068977 w 4519987"/>
              <a:gd name="connsiteY60" fmla="*/ 4286250 h 4496940"/>
              <a:gd name="connsiteX61" fmla="*/ 2935627 w 4519987"/>
              <a:gd name="connsiteY61" fmla="*/ 4333875 h 4496940"/>
              <a:gd name="connsiteX62" fmla="*/ 2811802 w 4519987"/>
              <a:gd name="connsiteY62" fmla="*/ 4371975 h 4496940"/>
              <a:gd name="connsiteX63" fmla="*/ 2745127 w 4519987"/>
              <a:gd name="connsiteY63" fmla="*/ 4410075 h 4496940"/>
              <a:gd name="connsiteX64" fmla="*/ 2697502 w 4519987"/>
              <a:gd name="connsiteY64" fmla="*/ 4429125 h 4496940"/>
              <a:gd name="connsiteX65" fmla="*/ 2640352 w 4519987"/>
              <a:gd name="connsiteY65" fmla="*/ 4457700 h 4496940"/>
              <a:gd name="connsiteX66" fmla="*/ 2583202 w 4519987"/>
              <a:gd name="connsiteY66" fmla="*/ 4467225 h 4496940"/>
              <a:gd name="connsiteX67" fmla="*/ 2545102 w 4519987"/>
              <a:gd name="connsiteY67" fmla="*/ 4486275 h 4496940"/>
              <a:gd name="connsiteX68" fmla="*/ 2306977 w 4519987"/>
              <a:gd name="connsiteY68" fmla="*/ 4476750 h 4496940"/>
              <a:gd name="connsiteX69" fmla="*/ 2202202 w 4519987"/>
              <a:gd name="connsiteY69" fmla="*/ 4457700 h 4496940"/>
              <a:gd name="connsiteX70" fmla="*/ 2126002 w 4519987"/>
              <a:gd name="connsiteY70" fmla="*/ 4429125 h 4496940"/>
              <a:gd name="connsiteX71" fmla="*/ 1935502 w 4519987"/>
              <a:gd name="connsiteY71" fmla="*/ 4400550 h 4496940"/>
              <a:gd name="connsiteX72" fmla="*/ 1821202 w 4519987"/>
              <a:gd name="connsiteY72" fmla="*/ 4371975 h 4496940"/>
              <a:gd name="connsiteX73" fmla="*/ 1754527 w 4519987"/>
              <a:gd name="connsiteY73" fmla="*/ 4352925 h 4496940"/>
              <a:gd name="connsiteX74" fmla="*/ 1687852 w 4519987"/>
              <a:gd name="connsiteY74" fmla="*/ 4343400 h 4496940"/>
              <a:gd name="connsiteX75" fmla="*/ 1573552 w 4519987"/>
              <a:gd name="connsiteY75" fmla="*/ 4305300 h 4496940"/>
              <a:gd name="connsiteX76" fmla="*/ 1402102 w 4519987"/>
              <a:gd name="connsiteY76" fmla="*/ 4276725 h 4496940"/>
              <a:gd name="connsiteX77" fmla="*/ 1287802 w 4519987"/>
              <a:gd name="connsiteY77" fmla="*/ 4229100 h 4496940"/>
              <a:gd name="connsiteX78" fmla="*/ 1221127 w 4519987"/>
              <a:gd name="connsiteY78" fmla="*/ 4200525 h 4496940"/>
              <a:gd name="connsiteX79" fmla="*/ 1144927 w 4519987"/>
              <a:gd name="connsiteY79" fmla="*/ 4171950 h 4496940"/>
              <a:gd name="connsiteX80" fmla="*/ 1087777 w 4519987"/>
              <a:gd name="connsiteY80" fmla="*/ 4143375 h 4496940"/>
              <a:gd name="connsiteX81" fmla="*/ 1030627 w 4519987"/>
              <a:gd name="connsiteY81" fmla="*/ 4124325 h 4496940"/>
              <a:gd name="connsiteX82" fmla="*/ 925852 w 4519987"/>
              <a:gd name="connsiteY82" fmla="*/ 4067175 h 4496940"/>
              <a:gd name="connsiteX83" fmla="*/ 830602 w 4519987"/>
              <a:gd name="connsiteY83" fmla="*/ 3981450 h 4496940"/>
              <a:gd name="connsiteX84" fmla="*/ 763927 w 4519987"/>
              <a:gd name="connsiteY84" fmla="*/ 3914775 h 4496940"/>
              <a:gd name="connsiteX85" fmla="*/ 725827 w 4519987"/>
              <a:gd name="connsiteY85" fmla="*/ 3876675 h 4496940"/>
              <a:gd name="connsiteX86" fmla="*/ 697252 w 4519987"/>
              <a:gd name="connsiteY86" fmla="*/ 3838575 h 4496940"/>
              <a:gd name="connsiteX87" fmla="*/ 640102 w 4519987"/>
              <a:gd name="connsiteY87" fmla="*/ 3781425 h 4496940"/>
              <a:gd name="connsiteX88" fmla="*/ 611527 w 4519987"/>
              <a:gd name="connsiteY88" fmla="*/ 3733800 h 4496940"/>
              <a:gd name="connsiteX89" fmla="*/ 554377 w 4519987"/>
              <a:gd name="connsiteY89" fmla="*/ 3657600 h 4496940"/>
              <a:gd name="connsiteX90" fmla="*/ 525802 w 4519987"/>
              <a:gd name="connsiteY90" fmla="*/ 3609975 h 4496940"/>
              <a:gd name="connsiteX91" fmla="*/ 497227 w 4519987"/>
              <a:gd name="connsiteY91" fmla="*/ 3552825 h 4496940"/>
              <a:gd name="connsiteX92" fmla="*/ 440077 w 4519987"/>
              <a:gd name="connsiteY92" fmla="*/ 3495675 h 4496940"/>
              <a:gd name="connsiteX93" fmla="*/ 411502 w 4519987"/>
              <a:gd name="connsiteY93" fmla="*/ 3448050 h 4496940"/>
              <a:gd name="connsiteX94" fmla="*/ 278152 w 4519987"/>
              <a:gd name="connsiteY94" fmla="*/ 3257550 h 4496940"/>
              <a:gd name="connsiteX95" fmla="*/ 249577 w 4519987"/>
              <a:gd name="connsiteY95" fmla="*/ 3200400 h 4496940"/>
              <a:gd name="connsiteX96" fmla="*/ 240052 w 4519987"/>
              <a:gd name="connsiteY96" fmla="*/ 3162300 h 4496940"/>
              <a:gd name="connsiteX97" fmla="*/ 221002 w 4519987"/>
              <a:gd name="connsiteY97" fmla="*/ 3105150 h 4496940"/>
              <a:gd name="connsiteX98" fmla="*/ 173377 w 4519987"/>
              <a:gd name="connsiteY98" fmla="*/ 3019425 h 4496940"/>
              <a:gd name="connsiteX99" fmla="*/ 144802 w 4519987"/>
              <a:gd name="connsiteY99" fmla="*/ 2924175 h 4496940"/>
              <a:gd name="connsiteX100" fmla="*/ 68602 w 4519987"/>
              <a:gd name="connsiteY100" fmla="*/ 2724150 h 4496940"/>
              <a:gd name="connsiteX101" fmla="*/ 49552 w 4519987"/>
              <a:gd name="connsiteY101" fmla="*/ 2638425 h 4496940"/>
              <a:gd name="connsiteX102" fmla="*/ 40027 w 4519987"/>
              <a:gd name="connsiteY102" fmla="*/ 2562225 h 4496940"/>
              <a:gd name="connsiteX103" fmla="*/ 30502 w 4519987"/>
              <a:gd name="connsiteY103" fmla="*/ 2514600 h 4496940"/>
              <a:gd name="connsiteX104" fmla="*/ 11452 w 4519987"/>
              <a:gd name="connsiteY104" fmla="*/ 2400300 h 4496940"/>
              <a:gd name="connsiteX105" fmla="*/ 20977 w 4519987"/>
              <a:gd name="connsiteY105" fmla="*/ 1905000 h 4496940"/>
              <a:gd name="connsiteX106" fmla="*/ 30502 w 4519987"/>
              <a:gd name="connsiteY106" fmla="*/ 1838325 h 4496940"/>
              <a:gd name="connsiteX107" fmla="*/ 49552 w 4519987"/>
              <a:gd name="connsiteY107" fmla="*/ 1781175 h 4496940"/>
              <a:gd name="connsiteX108" fmla="*/ 59077 w 4519987"/>
              <a:gd name="connsiteY108" fmla="*/ 1743075 h 4496940"/>
              <a:gd name="connsiteX109" fmla="*/ 78127 w 4519987"/>
              <a:gd name="connsiteY109" fmla="*/ 1685925 h 4496940"/>
              <a:gd name="connsiteX110" fmla="*/ 87652 w 4519987"/>
              <a:gd name="connsiteY110" fmla="*/ 1638300 h 4496940"/>
              <a:gd name="connsiteX111" fmla="*/ 106702 w 4519987"/>
              <a:gd name="connsiteY111" fmla="*/ 1590675 h 4496940"/>
              <a:gd name="connsiteX112" fmla="*/ 135277 w 4519987"/>
              <a:gd name="connsiteY112" fmla="*/ 1504950 h 4496940"/>
              <a:gd name="connsiteX113" fmla="*/ 154327 w 4519987"/>
              <a:gd name="connsiteY113" fmla="*/ 1419225 h 4496940"/>
              <a:gd name="connsiteX114" fmla="*/ 230527 w 4519987"/>
              <a:gd name="connsiteY114" fmla="*/ 1276350 h 4496940"/>
              <a:gd name="connsiteX115" fmla="*/ 240052 w 4519987"/>
              <a:gd name="connsiteY115" fmla="*/ 1247775 h 4496940"/>
              <a:gd name="connsiteX116" fmla="*/ 268627 w 4519987"/>
              <a:gd name="connsiteY116" fmla="*/ 1200150 h 4496940"/>
              <a:gd name="connsiteX117" fmla="*/ 287677 w 4519987"/>
              <a:gd name="connsiteY117" fmla="*/ 1152525 h 4496940"/>
              <a:gd name="connsiteX118" fmla="*/ 316252 w 4519987"/>
              <a:gd name="connsiteY118" fmla="*/ 1114425 h 4496940"/>
              <a:gd name="connsiteX119" fmla="*/ 363877 w 4519987"/>
              <a:gd name="connsiteY119" fmla="*/ 1038225 h 4496940"/>
              <a:gd name="connsiteX120" fmla="*/ 382927 w 4519987"/>
              <a:gd name="connsiteY120" fmla="*/ 1009650 h 4496940"/>
              <a:gd name="connsiteX121" fmla="*/ 440077 w 4519987"/>
              <a:gd name="connsiteY121" fmla="*/ 904875 h 4496940"/>
              <a:gd name="connsiteX122" fmla="*/ 478177 w 4519987"/>
              <a:gd name="connsiteY122" fmla="*/ 857250 h 4496940"/>
              <a:gd name="connsiteX123" fmla="*/ 497227 w 4519987"/>
              <a:gd name="connsiteY123" fmla="*/ 828675 h 4496940"/>
              <a:gd name="connsiteX124" fmla="*/ 535327 w 4519987"/>
              <a:gd name="connsiteY124" fmla="*/ 800100 h 4496940"/>
              <a:gd name="connsiteX125" fmla="*/ 602002 w 4519987"/>
              <a:gd name="connsiteY125" fmla="*/ 733425 h 4496940"/>
              <a:gd name="connsiteX126" fmla="*/ 668677 w 4519987"/>
              <a:gd name="connsiteY126" fmla="*/ 676275 h 4496940"/>
              <a:gd name="connsiteX127" fmla="*/ 697252 w 4519987"/>
              <a:gd name="connsiteY127" fmla="*/ 657225 h 4496940"/>
              <a:gd name="connsiteX128" fmla="*/ 840127 w 4519987"/>
              <a:gd name="connsiteY128" fmla="*/ 533400 h 4496940"/>
              <a:gd name="connsiteX129" fmla="*/ 887752 w 4519987"/>
              <a:gd name="connsiteY129" fmla="*/ 504825 h 4496940"/>
              <a:gd name="connsiteX130" fmla="*/ 1167152 w 4519987"/>
              <a:gd name="connsiteY130" fmla="*/ 311150 h 4496940"/>
              <a:gd name="connsiteX131" fmla="*/ 1268752 w 4519987"/>
              <a:gd name="connsiteY131" fmla="*/ 285750 h 4496940"/>
              <a:gd name="connsiteX132" fmla="*/ 1411627 w 4519987"/>
              <a:gd name="connsiteY132" fmla="*/ 190500 h 4496940"/>
              <a:gd name="connsiteX133" fmla="*/ 1449727 w 4519987"/>
              <a:gd name="connsiteY133" fmla="*/ 161925 h 4496940"/>
              <a:gd name="connsiteX134" fmla="*/ 1525927 w 4519987"/>
              <a:gd name="connsiteY134" fmla="*/ 152400 h 4496940"/>
              <a:gd name="connsiteX135" fmla="*/ 1583077 w 4519987"/>
              <a:gd name="connsiteY135" fmla="*/ 142875 h 4496940"/>
              <a:gd name="connsiteX136" fmla="*/ 1716427 w 4519987"/>
              <a:gd name="connsiteY136" fmla="*/ 123825 h 4496940"/>
              <a:gd name="connsiteX137" fmla="*/ 1811677 w 4519987"/>
              <a:gd name="connsiteY137" fmla="*/ 114300 h 4496940"/>
              <a:gd name="connsiteX138" fmla="*/ 1859302 w 4519987"/>
              <a:gd name="connsiteY138" fmla="*/ 104775 h 4496940"/>
              <a:gd name="connsiteX139" fmla="*/ 1916452 w 4519987"/>
              <a:gd name="connsiteY139" fmla="*/ 95250 h 4496940"/>
              <a:gd name="connsiteX140" fmla="*/ 2030752 w 4519987"/>
              <a:gd name="connsiteY140" fmla="*/ 66675 h 4496940"/>
              <a:gd name="connsiteX141" fmla="*/ 2097427 w 4519987"/>
              <a:gd name="connsiteY141" fmla="*/ 47625 h 4496940"/>
              <a:gd name="connsiteX142" fmla="*/ 2164102 w 4519987"/>
              <a:gd name="connsiteY142" fmla="*/ 38100 h 4496940"/>
              <a:gd name="connsiteX143" fmla="*/ 2392702 w 4519987"/>
              <a:gd name="connsiteY14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02477 w 4519987"/>
              <a:gd name="connsiteY27" fmla="*/ 1590675 h 4496940"/>
              <a:gd name="connsiteX28" fmla="*/ 4431052 w 4519987"/>
              <a:gd name="connsiteY28" fmla="*/ 1685925 h 4496940"/>
              <a:gd name="connsiteX29" fmla="*/ 4519952 w 4519987"/>
              <a:gd name="connsiteY29" fmla="*/ 2181225 h 4496940"/>
              <a:gd name="connsiteX30" fmla="*/ 4446927 w 4519987"/>
              <a:gd name="connsiteY30" fmla="*/ 2768600 h 4496940"/>
              <a:gd name="connsiteX31" fmla="*/ 4383427 w 4519987"/>
              <a:gd name="connsiteY31" fmla="*/ 2990850 h 4496940"/>
              <a:gd name="connsiteX32" fmla="*/ 4278652 w 4519987"/>
              <a:gd name="connsiteY32" fmla="*/ 3248025 h 4496940"/>
              <a:gd name="connsiteX33" fmla="*/ 4259602 w 4519987"/>
              <a:gd name="connsiteY33" fmla="*/ 3276600 h 4496940"/>
              <a:gd name="connsiteX34" fmla="*/ 4221502 w 4519987"/>
              <a:gd name="connsiteY34" fmla="*/ 3333750 h 4496940"/>
              <a:gd name="connsiteX35" fmla="*/ 4211977 w 4519987"/>
              <a:gd name="connsiteY35" fmla="*/ 3362325 h 4496940"/>
              <a:gd name="connsiteX36" fmla="*/ 4183402 w 4519987"/>
              <a:gd name="connsiteY36" fmla="*/ 3400425 h 4496940"/>
              <a:gd name="connsiteX37" fmla="*/ 4164352 w 4519987"/>
              <a:gd name="connsiteY37" fmla="*/ 3429000 h 4496940"/>
              <a:gd name="connsiteX38" fmla="*/ 4088152 w 4519987"/>
              <a:gd name="connsiteY38" fmla="*/ 3495675 h 4496940"/>
              <a:gd name="connsiteX39" fmla="*/ 4059577 w 4519987"/>
              <a:gd name="connsiteY39" fmla="*/ 3533775 h 4496940"/>
              <a:gd name="connsiteX40" fmla="*/ 4002427 w 4519987"/>
              <a:gd name="connsiteY40" fmla="*/ 3600450 h 4496940"/>
              <a:gd name="connsiteX41" fmla="*/ 3983377 w 4519987"/>
              <a:gd name="connsiteY41" fmla="*/ 3629025 h 4496940"/>
              <a:gd name="connsiteX42" fmla="*/ 3954802 w 4519987"/>
              <a:gd name="connsiteY42" fmla="*/ 3648075 h 4496940"/>
              <a:gd name="connsiteX43" fmla="*/ 3907177 w 4519987"/>
              <a:gd name="connsiteY43" fmla="*/ 3686175 h 4496940"/>
              <a:gd name="connsiteX44" fmla="*/ 3869077 w 4519987"/>
              <a:gd name="connsiteY44" fmla="*/ 3724275 h 4496940"/>
              <a:gd name="connsiteX45" fmla="*/ 3792877 w 4519987"/>
              <a:gd name="connsiteY45" fmla="*/ 3781425 h 4496940"/>
              <a:gd name="connsiteX46" fmla="*/ 3783352 w 4519987"/>
              <a:gd name="connsiteY46" fmla="*/ 3810000 h 4496940"/>
              <a:gd name="connsiteX47" fmla="*/ 3745252 w 4519987"/>
              <a:gd name="connsiteY47" fmla="*/ 3819525 h 4496940"/>
              <a:gd name="connsiteX48" fmla="*/ 3678577 w 4519987"/>
              <a:gd name="connsiteY48" fmla="*/ 3848100 h 4496940"/>
              <a:gd name="connsiteX49" fmla="*/ 3659527 w 4519987"/>
              <a:gd name="connsiteY49" fmla="*/ 3971925 h 4496940"/>
              <a:gd name="connsiteX50" fmla="*/ 3630952 w 4519987"/>
              <a:gd name="connsiteY50" fmla="*/ 4010025 h 4496940"/>
              <a:gd name="connsiteX51" fmla="*/ 3621427 w 4519987"/>
              <a:gd name="connsiteY51" fmla="*/ 4038600 h 4496940"/>
              <a:gd name="connsiteX52" fmla="*/ 3554752 w 4519987"/>
              <a:gd name="connsiteY52" fmla="*/ 4095750 h 4496940"/>
              <a:gd name="connsiteX53" fmla="*/ 3516652 w 4519987"/>
              <a:gd name="connsiteY53" fmla="*/ 4114800 h 4496940"/>
              <a:gd name="connsiteX54" fmla="*/ 3497602 w 4519987"/>
              <a:gd name="connsiteY54" fmla="*/ 4143375 h 4496940"/>
              <a:gd name="connsiteX55" fmla="*/ 3383302 w 4519987"/>
              <a:gd name="connsiteY55" fmla="*/ 4210050 h 4496940"/>
              <a:gd name="connsiteX56" fmla="*/ 3335677 w 4519987"/>
              <a:gd name="connsiteY56" fmla="*/ 4238625 h 4496940"/>
              <a:gd name="connsiteX57" fmla="*/ 3288052 w 4519987"/>
              <a:gd name="connsiteY57" fmla="*/ 4248150 h 4496940"/>
              <a:gd name="connsiteX58" fmla="*/ 3240427 w 4519987"/>
              <a:gd name="connsiteY58" fmla="*/ 4267200 h 4496940"/>
              <a:gd name="connsiteX59" fmla="*/ 3068977 w 4519987"/>
              <a:gd name="connsiteY59" fmla="*/ 4286250 h 4496940"/>
              <a:gd name="connsiteX60" fmla="*/ 2935627 w 4519987"/>
              <a:gd name="connsiteY60" fmla="*/ 4333875 h 4496940"/>
              <a:gd name="connsiteX61" fmla="*/ 2811802 w 4519987"/>
              <a:gd name="connsiteY61" fmla="*/ 4371975 h 4496940"/>
              <a:gd name="connsiteX62" fmla="*/ 2745127 w 4519987"/>
              <a:gd name="connsiteY62" fmla="*/ 4410075 h 4496940"/>
              <a:gd name="connsiteX63" fmla="*/ 2697502 w 4519987"/>
              <a:gd name="connsiteY63" fmla="*/ 4429125 h 4496940"/>
              <a:gd name="connsiteX64" fmla="*/ 2640352 w 4519987"/>
              <a:gd name="connsiteY64" fmla="*/ 4457700 h 4496940"/>
              <a:gd name="connsiteX65" fmla="*/ 2583202 w 4519987"/>
              <a:gd name="connsiteY65" fmla="*/ 4467225 h 4496940"/>
              <a:gd name="connsiteX66" fmla="*/ 2545102 w 4519987"/>
              <a:gd name="connsiteY66" fmla="*/ 4486275 h 4496940"/>
              <a:gd name="connsiteX67" fmla="*/ 2306977 w 4519987"/>
              <a:gd name="connsiteY67" fmla="*/ 4476750 h 4496940"/>
              <a:gd name="connsiteX68" fmla="*/ 2202202 w 4519987"/>
              <a:gd name="connsiteY68" fmla="*/ 4457700 h 4496940"/>
              <a:gd name="connsiteX69" fmla="*/ 2126002 w 4519987"/>
              <a:gd name="connsiteY69" fmla="*/ 4429125 h 4496940"/>
              <a:gd name="connsiteX70" fmla="*/ 1935502 w 4519987"/>
              <a:gd name="connsiteY70" fmla="*/ 4400550 h 4496940"/>
              <a:gd name="connsiteX71" fmla="*/ 1821202 w 4519987"/>
              <a:gd name="connsiteY71" fmla="*/ 4371975 h 4496940"/>
              <a:gd name="connsiteX72" fmla="*/ 1754527 w 4519987"/>
              <a:gd name="connsiteY72" fmla="*/ 4352925 h 4496940"/>
              <a:gd name="connsiteX73" fmla="*/ 1687852 w 4519987"/>
              <a:gd name="connsiteY73" fmla="*/ 4343400 h 4496940"/>
              <a:gd name="connsiteX74" fmla="*/ 1573552 w 4519987"/>
              <a:gd name="connsiteY74" fmla="*/ 4305300 h 4496940"/>
              <a:gd name="connsiteX75" fmla="*/ 1402102 w 4519987"/>
              <a:gd name="connsiteY75" fmla="*/ 4276725 h 4496940"/>
              <a:gd name="connsiteX76" fmla="*/ 1287802 w 4519987"/>
              <a:gd name="connsiteY76" fmla="*/ 4229100 h 4496940"/>
              <a:gd name="connsiteX77" fmla="*/ 1221127 w 4519987"/>
              <a:gd name="connsiteY77" fmla="*/ 4200525 h 4496940"/>
              <a:gd name="connsiteX78" fmla="*/ 1144927 w 4519987"/>
              <a:gd name="connsiteY78" fmla="*/ 4171950 h 4496940"/>
              <a:gd name="connsiteX79" fmla="*/ 1087777 w 4519987"/>
              <a:gd name="connsiteY79" fmla="*/ 4143375 h 4496940"/>
              <a:gd name="connsiteX80" fmla="*/ 1030627 w 4519987"/>
              <a:gd name="connsiteY80" fmla="*/ 4124325 h 4496940"/>
              <a:gd name="connsiteX81" fmla="*/ 925852 w 4519987"/>
              <a:gd name="connsiteY81" fmla="*/ 4067175 h 4496940"/>
              <a:gd name="connsiteX82" fmla="*/ 830602 w 4519987"/>
              <a:gd name="connsiteY82" fmla="*/ 3981450 h 4496940"/>
              <a:gd name="connsiteX83" fmla="*/ 763927 w 4519987"/>
              <a:gd name="connsiteY83" fmla="*/ 3914775 h 4496940"/>
              <a:gd name="connsiteX84" fmla="*/ 725827 w 4519987"/>
              <a:gd name="connsiteY84" fmla="*/ 3876675 h 4496940"/>
              <a:gd name="connsiteX85" fmla="*/ 697252 w 4519987"/>
              <a:gd name="connsiteY85" fmla="*/ 3838575 h 4496940"/>
              <a:gd name="connsiteX86" fmla="*/ 640102 w 4519987"/>
              <a:gd name="connsiteY86" fmla="*/ 3781425 h 4496940"/>
              <a:gd name="connsiteX87" fmla="*/ 611527 w 4519987"/>
              <a:gd name="connsiteY87" fmla="*/ 3733800 h 4496940"/>
              <a:gd name="connsiteX88" fmla="*/ 554377 w 4519987"/>
              <a:gd name="connsiteY88" fmla="*/ 3657600 h 4496940"/>
              <a:gd name="connsiteX89" fmla="*/ 525802 w 4519987"/>
              <a:gd name="connsiteY89" fmla="*/ 3609975 h 4496940"/>
              <a:gd name="connsiteX90" fmla="*/ 497227 w 4519987"/>
              <a:gd name="connsiteY90" fmla="*/ 3552825 h 4496940"/>
              <a:gd name="connsiteX91" fmla="*/ 440077 w 4519987"/>
              <a:gd name="connsiteY91" fmla="*/ 3495675 h 4496940"/>
              <a:gd name="connsiteX92" fmla="*/ 411502 w 4519987"/>
              <a:gd name="connsiteY92" fmla="*/ 3448050 h 4496940"/>
              <a:gd name="connsiteX93" fmla="*/ 278152 w 4519987"/>
              <a:gd name="connsiteY93" fmla="*/ 3257550 h 4496940"/>
              <a:gd name="connsiteX94" fmla="*/ 249577 w 4519987"/>
              <a:gd name="connsiteY94" fmla="*/ 3200400 h 4496940"/>
              <a:gd name="connsiteX95" fmla="*/ 240052 w 4519987"/>
              <a:gd name="connsiteY95" fmla="*/ 3162300 h 4496940"/>
              <a:gd name="connsiteX96" fmla="*/ 221002 w 4519987"/>
              <a:gd name="connsiteY96" fmla="*/ 3105150 h 4496940"/>
              <a:gd name="connsiteX97" fmla="*/ 173377 w 4519987"/>
              <a:gd name="connsiteY97" fmla="*/ 3019425 h 4496940"/>
              <a:gd name="connsiteX98" fmla="*/ 144802 w 4519987"/>
              <a:gd name="connsiteY98" fmla="*/ 2924175 h 4496940"/>
              <a:gd name="connsiteX99" fmla="*/ 68602 w 4519987"/>
              <a:gd name="connsiteY99" fmla="*/ 2724150 h 4496940"/>
              <a:gd name="connsiteX100" fmla="*/ 49552 w 4519987"/>
              <a:gd name="connsiteY100" fmla="*/ 2638425 h 4496940"/>
              <a:gd name="connsiteX101" fmla="*/ 40027 w 4519987"/>
              <a:gd name="connsiteY101" fmla="*/ 2562225 h 4496940"/>
              <a:gd name="connsiteX102" fmla="*/ 30502 w 4519987"/>
              <a:gd name="connsiteY102" fmla="*/ 2514600 h 4496940"/>
              <a:gd name="connsiteX103" fmla="*/ 11452 w 4519987"/>
              <a:gd name="connsiteY103" fmla="*/ 2400300 h 4496940"/>
              <a:gd name="connsiteX104" fmla="*/ 20977 w 4519987"/>
              <a:gd name="connsiteY104" fmla="*/ 1905000 h 4496940"/>
              <a:gd name="connsiteX105" fmla="*/ 30502 w 4519987"/>
              <a:gd name="connsiteY105" fmla="*/ 1838325 h 4496940"/>
              <a:gd name="connsiteX106" fmla="*/ 49552 w 4519987"/>
              <a:gd name="connsiteY106" fmla="*/ 1781175 h 4496940"/>
              <a:gd name="connsiteX107" fmla="*/ 59077 w 4519987"/>
              <a:gd name="connsiteY107" fmla="*/ 1743075 h 4496940"/>
              <a:gd name="connsiteX108" fmla="*/ 78127 w 4519987"/>
              <a:gd name="connsiteY108" fmla="*/ 1685925 h 4496940"/>
              <a:gd name="connsiteX109" fmla="*/ 87652 w 4519987"/>
              <a:gd name="connsiteY109" fmla="*/ 1638300 h 4496940"/>
              <a:gd name="connsiteX110" fmla="*/ 106702 w 4519987"/>
              <a:gd name="connsiteY110" fmla="*/ 1590675 h 4496940"/>
              <a:gd name="connsiteX111" fmla="*/ 135277 w 4519987"/>
              <a:gd name="connsiteY111" fmla="*/ 1504950 h 4496940"/>
              <a:gd name="connsiteX112" fmla="*/ 154327 w 4519987"/>
              <a:gd name="connsiteY112" fmla="*/ 1419225 h 4496940"/>
              <a:gd name="connsiteX113" fmla="*/ 230527 w 4519987"/>
              <a:gd name="connsiteY113" fmla="*/ 1276350 h 4496940"/>
              <a:gd name="connsiteX114" fmla="*/ 240052 w 4519987"/>
              <a:gd name="connsiteY114" fmla="*/ 1247775 h 4496940"/>
              <a:gd name="connsiteX115" fmla="*/ 268627 w 4519987"/>
              <a:gd name="connsiteY115" fmla="*/ 1200150 h 4496940"/>
              <a:gd name="connsiteX116" fmla="*/ 287677 w 4519987"/>
              <a:gd name="connsiteY116" fmla="*/ 1152525 h 4496940"/>
              <a:gd name="connsiteX117" fmla="*/ 316252 w 4519987"/>
              <a:gd name="connsiteY117" fmla="*/ 1114425 h 4496940"/>
              <a:gd name="connsiteX118" fmla="*/ 363877 w 4519987"/>
              <a:gd name="connsiteY118" fmla="*/ 1038225 h 4496940"/>
              <a:gd name="connsiteX119" fmla="*/ 382927 w 4519987"/>
              <a:gd name="connsiteY119" fmla="*/ 1009650 h 4496940"/>
              <a:gd name="connsiteX120" fmla="*/ 440077 w 4519987"/>
              <a:gd name="connsiteY120" fmla="*/ 904875 h 4496940"/>
              <a:gd name="connsiteX121" fmla="*/ 478177 w 4519987"/>
              <a:gd name="connsiteY121" fmla="*/ 857250 h 4496940"/>
              <a:gd name="connsiteX122" fmla="*/ 497227 w 4519987"/>
              <a:gd name="connsiteY122" fmla="*/ 828675 h 4496940"/>
              <a:gd name="connsiteX123" fmla="*/ 535327 w 4519987"/>
              <a:gd name="connsiteY123" fmla="*/ 800100 h 4496940"/>
              <a:gd name="connsiteX124" fmla="*/ 602002 w 4519987"/>
              <a:gd name="connsiteY124" fmla="*/ 733425 h 4496940"/>
              <a:gd name="connsiteX125" fmla="*/ 668677 w 4519987"/>
              <a:gd name="connsiteY125" fmla="*/ 676275 h 4496940"/>
              <a:gd name="connsiteX126" fmla="*/ 697252 w 4519987"/>
              <a:gd name="connsiteY126" fmla="*/ 657225 h 4496940"/>
              <a:gd name="connsiteX127" fmla="*/ 840127 w 4519987"/>
              <a:gd name="connsiteY127" fmla="*/ 533400 h 4496940"/>
              <a:gd name="connsiteX128" fmla="*/ 887752 w 4519987"/>
              <a:gd name="connsiteY128" fmla="*/ 504825 h 4496940"/>
              <a:gd name="connsiteX129" fmla="*/ 1167152 w 4519987"/>
              <a:gd name="connsiteY129" fmla="*/ 311150 h 4496940"/>
              <a:gd name="connsiteX130" fmla="*/ 1268752 w 4519987"/>
              <a:gd name="connsiteY130" fmla="*/ 285750 h 4496940"/>
              <a:gd name="connsiteX131" fmla="*/ 1411627 w 4519987"/>
              <a:gd name="connsiteY131" fmla="*/ 190500 h 4496940"/>
              <a:gd name="connsiteX132" fmla="*/ 1449727 w 4519987"/>
              <a:gd name="connsiteY132" fmla="*/ 161925 h 4496940"/>
              <a:gd name="connsiteX133" fmla="*/ 1525927 w 4519987"/>
              <a:gd name="connsiteY133" fmla="*/ 152400 h 4496940"/>
              <a:gd name="connsiteX134" fmla="*/ 1583077 w 4519987"/>
              <a:gd name="connsiteY134" fmla="*/ 142875 h 4496940"/>
              <a:gd name="connsiteX135" fmla="*/ 1716427 w 4519987"/>
              <a:gd name="connsiteY135" fmla="*/ 123825 h 4496940"/>
              <a:gd name="connsiteX136" fmla="*/ 1811677 w 4519987"/>
              <a:gd name="connsiteY136" fmla="*/ 114300 h 4496940"/>
              <a:gd name="connsiteX137" fmla="*/ 1859302 w 4519987"/>
              <a:gd name="connsiteY137" fmla="*/ 104775 h 4496940"/>
              <a:gd name="connsiteX138" fmla="*/ 1916452 w 4519987"/>
              <a:gd name="connsiteY138" fmla="*/ 95250 h 4496940"/>
              <a:gd name="connsiteX139" fmla="*/ 2030752 w 4519987"/>
              <a:gd name="connsiteY139" fmla="*/ 66675 h 4496940"/>
              <a:gd name="connsiteX140" fmla="*/ 2097427 w 4519987"/>
              <a:gd name="connsiteY140" fmla="*/ 47625 h 4496940"/>
              <a:gd name="connsiteX141" fmla="*/ 2164102 w 4519987"/>
              <a:gd name="connsiteY141" fmla="*/ 38100 h 4496940"/>
              <a:gd name="connsiteX142" fmla="*/ 2392702 w 4519987"/>
              <a:gd name="connsiteY14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211977 w 4519987"/>
              <a:gd name="connsiteY34" fmla="*/ 3362325 h 4496940"/>
              <a:gd name="connsiteX35" fmla="*/ 4183402 w 4519987"/>
              <a:gd name="connsiteY35" fmla="*/ 3400425 h 4496940"/>
              <a:gd name="connsiteX36" fmla="*/ 4164352 w 4519987"/>
              <a:gd name="connsiteY36" fmla="*/ 3429000 h 4496940"/>
              <a:gd name="connsiteX37" fmla="*/ 4088152 w 4519987"/>
              <a:gd name="connsiteY37" fmla="*/ 3495675 h 4496940"/>
              <a:gd name="connsiteX38" fmla="*/ 4059577 w 4519987"/>
              <a:gd name="connsiteY38" fmla="*/ 3533775 h 4496940"/>
              <a:gd name="connsiteX39" fmla="*/ 4002427 w 4519987"/>
              <a:gd name="connsiteY39" fmla="*/ 3600450 h 4496940"/>
              <a:gd name="connsiteX40" fmla="*/ 3983377 w 4519987"/>
              <a:gd name="connsiteY40" fmla="*/ 3629025 h 4496940"/>
              <a:gd name="connsiteX41" fmla="*/ 3954802 w 4519987"/>
              <a:gd name="connsiteY41" fmla="*/ 3648075 h 4496940"/>
              <a:gd name="connsiteX42" fmla="*/ 3907177 w 4519987"/>
              <a:gd name="connsiteY42" fmla="*/ 3686175 h 4496940"/>
              <a:gd name="connsiteX43" fmla="*/ 3869077 w 4519987"/>
              <a:gd name="connsiteY43" fmla="*/ 3724275 h 4496940"/>
              <a:gd name="connsiteX44" fmla="*/ 3792877 w 4519987"/>
              <a:gd name="connsiteY44" fmla="*/ 3781425 h 4496940"/>
              <a:gd name="connsiteX45" fmla="*/ 3783352 w 4519987"/>
              <a:gd name="connsiteY45" fmla="*/ 3810000 h 4496940"/>
              <a:gd name="connsiteX46" fmla="*/ 3745252 w 4519987"/>
              <a:gd name="connsiteY46" fmla="*/ 3819525 h 4496940"/>
              <a:gd name="connsiteX47" fmla="*/ 3678577 w 4519987"/>
              <a:gd name="connsiteY47" fmla="*/ 3848100 h 4496940"/>
              <a:gd name="connsiteX48" fmla="*/ 3659527 w 4519987"/>
              <a:gd name="connsiteY48" fmla="*/ 3971925 h 4496940"/>
              <a:gd name="connsiteX49" fmla="*/ 3630952 w 4519987"/>
              <a:gd name="connsiteY49" fmla="*/ 4010025 h 4496940"/>
              <a:gd name="connsiteX50" fmla="*/ 3621427 w 4519987"/>
              <a:gd name="connsiteY50" fmla="*/ 4038600 h 4496940"/>
              <a:gd name="connsiteX51" fmla="*/ 3554752 w 4519987"/>
              <a:gd name="connsiteY51" fmla="*/ 4095750 h 4496940"/>
              <a:gd name="connsiteX52" fmla="*/ 3516652 w 4519987"/>
              <a:gd name="connsiteY52" fmla="*/ 4114800 h 4496940"/>
              <a:gd name="connsiteX53" fmla="*/ 3497602 w 4519987"/>
              <a:gd name="connsiteY53" fmla="*/ 4143375 h 4496940"/>
              <a:gd name="connsiteX54" fmla="*/ 3383302 w 4519987"/>
              <a:gd name="connsiteY54" fmla="*/ 4210050 h 4496940"/>
              <a:gd name="connsiteX55" fmla="*/ 3335677 w 4519987"/>
              <a:gd name="connsiteY55" fmla="*/ 4238625 h 4496940"/>
              <a:gd name="connsiteX56" fmla="*/ 3288052 w 4519987"/>
              <a:gd name="connsiteY56" fmla="*/ 4248150 h 4496940"/>
              <a:gd name="connsiteX57" fmla="*/ 3240427 w 4519987"/>
              <a:gd name="connsiteY57" fmla="*/ 4267200 h 4496940"/>
              <a:gd name="connsiteX58" fmla="*/ 3068977 w 4519987"/>
              <a:gd name="connsiteY58" fmla="*/ 4286250 h 4496940"/>
              <a:gd name="connsiteX59" fmla="*/ 2935627 w 4519987"/>
              <a:gd name="connsiteY59" fmla="*/ 4333875 h 4496940"/>
              <a:gd name="connsiteX60" fmla="*/ 2811802 w 4519987"/>
              <a:gd name="connsiteY60" fmla="*/ 4371975 h 4496940"/>
              <a:gd name="connsiteX61" fmla="*/ 2745127 w 4519987"/>
              <a:gd name="connsiteY61" fmla="*/ 4410075 h 4496940"/>
              <a:gd name="connsiteX62" fmla="*/ 2697502 w 4519987"/>
              <a:gd name="connsiteY62" fmla="*/ 4429125 h 4496940"/>
              <a:gd name="connsiteX63" fmla="*/ 2640352 w 4519987"/>
              <a:gd name="connsiteY63" fmla="*/ 4457700 h 4496940"/>
              <a:gd name="connsiteX64" fmla="*/ 2583202 w 4519987"/>
              <a:gd name="connsiteY64" fmla="*/ 4467225 h 4496940"/>
              <a:gd name="connsiteX65" fmla="*/ 2545102 w 4519987"/>
              <a:gd name="connsiteY65" fmla="*/ 4486275 h 4496940"/>
              <a:gd name="connsiteX66" fmla="*/ 2306977 w 4519987"/>
              <a:gd name="connsiteY66" fmla="*/ 4476750 h 4496940"/>
              <a:gd name="connsiteX67" fmla="*/ 2202202 w 4519987"/>
              <a:gd name="connsiteY67" fmla="*/ 4457700 h 4496940"/>
              <a:gd name="connsiteX68" fmla="*/ 2126002 w 4519987"/>
              <a:gd name="connsiteY68" fmla="*/ 4429125 h 4496940"/>
              <a:gd name="connsiteX69" fmla="*/ 1935502 w 4519987"/>
              <a:gd name="connsiteY69" fmla="*/ 4400550 h 4496940"/>
              <a:gd name="connsiteX70" fmla="*/ 1821202 w 4519987"/>
              <a:gd name="connsiteY70" fmla="*/ 4371975 h 4496940"/>
              <a:gd name="connsiteX71" fmla="*/ 1754527 w 4519987"/>
              <a:gd name="connsiteY71" fmla="*/ 4352925 h 4496940"/>
              <a:gd name="connsiteX72" fmla="*/ 1687852 w 4519987"/>
              <a:gd name="connsiteY72" fmla="*/ 4343400 h 4496940"/>
              <a:gd name="connsiteX73" fmla="*/ 1573552 w 4519987"/>
              <a:gd name="connsiteY73" fmla="*/ 4305300 h 4496940"/>
              <a:gd name="connsiteX74" fmla="*/ 1402102 w 4519987"/>
              <a:gd name="connsiteY74" fmla="*/ 4276725 h 4496940"/>
              <a:gd name="connsiteX75" fmla="*/ 1287802 w 4519987"/>
              <a:gd name="connsiteY75" fmla="*/ 4229100 h 4496940"/>
              <a:gd name="connsiteX76" fmla="*/ 1221127 w 4519987"/>
              <a:gd name="connsiteY76" fmla="*/ 4200525 h 4496940"/>
              <a:gd name="connsiteX77" fmla="*/ 1144927 w 4519987"/>
              <a:gd name="connsiteY77" fmla="*/ 4171950 h 4496940"/>
              <a:gd name="connsiteX78" fmla="*/ 1087777 w 4519987"/>
              <a:gd name="connsiteY78" fmla="*/ 4143375 h 4496940"/>
              <a:gd name="connsiteX79" fmla="*/ 1030627 w 4519987"/>
              <a:gd name="connsiteY79" fmla="*/ 4124325 h 4496940"/>
              <a:gd name="connsiteX80" fmla="*/ 925852 w 4519987"/>
              <a:gd name="connsiteY80" fmla="*/ 4067175 h 4496940"/>
              <a:gd name="connsiteX81" fmla="*/ 830602 w 4519987"/>
              <a:gd name="connsiteY81" fmla="*/ 3981450 h 4496940"/>
              <a:gd name="connsiteX82" fmla="*/ 763927 w 4519987"/>
              <a:gd name="connsiteY82" fmla="*/ 3914775 h 4496940"/>
              <a:gd name="connsiteX83" fmla="*/ 725827 w 4519987"/>
              <a:gd name="connsiteY83" fmla="*/ 3876675 h 4496940"/>
              <a:gd name="connsiteX84" fmla="*/ 697252 w 4519987"/>
              <a:gd name="connsiteY84" fmla="*/ 3838575 h 4496940"/>
              <a:gd name="connsiteX85" fmla="*/ 640102 w 4519987"/>
              <a:gd name="connsiteY85" fmla="*/ 3781425 h 4496940"/>
              <a:gd name="connsiteX86" fmla="*/ 611527 w 4519987"/>
              <a:gd name="connsiteY86" fmla="*/ 3733800 h 4496940"/>
              <a:gd name="connsiteX87" fmla="*/ 554377 w 4519987"/>
              <a:gd name="connsiteY87" fmla="*/ 3657600 h 4496940"/>
              <a:gd name="connsiteX88" fmla="*/ 525802 w 4519987"/>
              <a:gd name="connsiteY88" fmla="*/ 3609975 h 4496940"/>
              <a:gd name="connsiteX89" fmla="*/ 497227 w 4519987"/>
              <a:gd name="connsiteY89" fmla="*/ 3552825 h 4496940"/>
              <a:gd name="connsiteX90" fmla="*/ 440077 w 4519987"/>
              <a:gd name="connsiteY90" fmla="*/ 3495675 h 4496940"/>
              <a:gd name="connsiteX91" fmla="*/ 411502 w 4519987"/>
              <a:gd name="connsiteY91" fmla="*/ 3448050 h 4496940"/>
              <a:gd name="connsiteX92" fmla="*/ 278152 w 4519987"/>
              <a:gd name="connsiteY92" fmla="*/ 3257550 h 4496940"/>
              <a:gd name="connsiteX93" fmla="*/ 249577 w 4519987"/>
              <a:gd name="connsiteY93" fmla="*/ 3200400 h 4496940"/>
              <a:gd name="connsiteX94" fmla="*/ 240052 w 4519987"/>
              <a:gd name="connsiteY94" fmla="*/ 3162300 h 4496940"/>
              <a:gd name="connsiteX95" fmla="*/ 221002 w 4519987"/>
              <a:gd name="connsiteY95" fmla="*/ 3105150 h 4496940"/>
              <a:gd name="connsiteX96" fmla="*/ 173377 w 4519987"/>
              <a:gd name="connsiteY96" fmla="*/ 3019425 h 4496940"/>
              <a:gd name="connsiteX97" fmla="*/ 144802 w 4519987"/>
              <a:gd name="connsiteY97" fmla="*/ 2924175 h 4496940"/>
              <a:gd name="connsiteX98" fmla="*/ 68602 w 4519987"/>
              <a:gd name="connsiteY98" fmla="*/ 2724150 h 4496940"/>
              <a:gd name="connsiteX99" fmla="*/ 49552 w 4519987"/>
              <a:gd name="connsiteY99" fmla="*/ 2638425 h 4496940"/>
              <a:gd name="connsiteX100" fmla="*/ 40027 w 4519987"/>
              <a:gd name="connsiteY100" fmla="*/ 2562225 h 4496940"/>
              <a:gd name="connsiteX101" fmla="*/ 30502 w 4519987"/>
              <a:gd name="connsiteY101" fmla="*/ 2514600 h 4496940"/>
              <a:gd name="connsiteX102" fmla="*/ 11452 w 4519987"/>
              <a:gd name="connsiteY102" fmla="*/ 2400300 h 4496940"/>
              <a:gd name="connsiteX103" fmla="*/ 20977 w 4519987"/>
              <a:gd name="connsiteY103" fmla="*/ 1905000 h 4496940"/>
              <a:gd name="connsiteX104" fmla="*/ 30502 w 4519987"/>
              <a:gd name="connsiteY104" fmla="*/ 1838325 h 4496940"/>
              <a:gd name="connsiteX105" fmla="*/ 49552 w 4519987"/>
              <a:gd name="connsiteY105" fmla="*/ 1781175 h 4496940"/>
              <a:gd name="connsiteX106" fmla="*/ 59077 w 4519987"/>
              <a:gd name="connsiteY106" fmla="*/ 1743075 h 4496940"/>
              <a:gd name="connsiteX107" fmla="*/ 78127 w 4519987"/>
              <a:gd name="connsiteY107" fmla="*/ 1685925 h 4496940"/>
              <a:gd name="connsiteX108" fmla="*/ 87652 w 4519987"/>
              <a:gd name="connsiteY108" fmla="*/ 1638300 h 4496940"/>
              <a:gd name="connsiteX109" fmla="*/ 106702 w 4519987"/>
              <a:gd name="connsiteY109" fmla="*/ 1590675 h 4496940"/>
              <a:gd name="connsiteX110" fmla="*/ 135277 w 4519987"/>
              <a:gd name="connsiteY110" fmla="*/ 1504950 h 4496940"/>
              <a:gd name="connsiteX111" fmla="*/ 154327 w 4519987"/>
              <a:gd name="connsiteY111" fmla="*/ 1419225 h 4496940"/>
              <a:gd name="connsiteX112" fmla="*/ 230527 w 4519987"/>
              <a:gd name="connsiteY112" fmla="*/ 1276350 h 4496940"/>
              <a:gd name="connsiteX113" fmla="*/ 240052 w 4519987"/>
              <a:gd name="connsiteY113" fmla="*/ 1247775 h 4496940"/>
              <a:gd name="connsiteX114" fmla="*/ 268627 w 4519987"/>
              <a:gd name="connsiteY114" fmla="*/ 1200150 h 4496940"/>
              <a:gd name="connsiteX115" fmla="*/ 287677 w 4519987"/>
              <a:gd name="connsiteY115" fmla="*/ 1152525 h 4496940"/>
              <a:gd name="connsiteX116" fmla="*/ 316252 w 4519987"/>
              <a:gd name="connsiteY116" fmla="*/ 1114425 h 4496940"/>
              <a:gd name="connsiteX117" fmla="*/ 363877 w 4519987"/>
              <a:gd name="connsiteY117" fmla="*/ 1038225 h 4496940"/>
              <a:gd name="connsiteX118" fmla="*/ 382927 w 4519987"/>
              <a:gd name="connsiteY118" fmla="*/ 1009650 h 4496940"/>
              <a:gd name="connsiteX119" fmla="*/ 440077 w 4519987"/>
              <a:gd name="connsiteY119" fmla="*/ 904875 h 4496940"/>
              <a:gd name="connsiteX120" fmla="*/ 478177 w 4519987"/>
              <a:gd name="connsiteY120" fmla="*/ 857250 h 4496940"/>
              <a:gd name="connsiteX121" fmla="*/ 497227 w 4519987"/>
              <a:gd name="connsiteY121" fmla="*/ 828675 h 4496940"/>
              <a:gd name="connsiteX122" fmla="*/ 535327 w 4519987"/>
              <a:gd name="connsiteY122" fmla="*/ 800100 h 4496940"/>
              <a:gd name="connsiteX123" fmla="*/ 602002 w 4519987"/>
              <a:gd name="connsiteY123" fmla="*/ 733425 h 4496940"/>
              <a:gd name="connsiteX124" fmla="*/ 668677 w 4519987"/>
              <a:gd name="connsiteY124" fmla="*/ 676275 h 4496940"/>
              <a:gd name="connsiteX125" fmla="*/ 697252 w 4519987"/>
              <a:gd name="connsiteY125" fmla="*/ 657225 h 4496940"/>
              <a:gd name="connsiteX126" fmla="*/ 840127 w 4519987"/>
              <a:gd name="connsiteY126" fmla="*/ 533400 h 4496940"/>
              <a:gd name="connsiteX127" fmla="*/ 887752 w 4519987"/>
              <a:gd name="connsiteY127" fmla="*/ 504825 h 4496940"/>
              <a:gd name="connsiteX128" fmla="*/ 1167152 w 4519987"/>
              <a:gd name="connsiteY128" fmla="*/ 311150 h 4496940"/>
              <a:gd name="connsiteX129" fmla="*/ 1268752 w 4519987"/>
              <a:gd name="connsiteY129" fmla="*/ 285750 h 4496940"/>
              <a:gd name="connsiteX130" fmla="*/ 1411627 w 4519987"/>
              <a:gd name="connsiteY130" fmla="*/ 190500 h 4496940"/>
              <a:gd name="connsiteX131" fmla="*/ 1449727 w 4519987"/>
              <a:gd name="connsiteY131" fmla="*/ 161925 h 4496940"/>
              <a:gd name="connsiteX132" fmla="*/ 1525927 w 4519987"/>
              <a:gd name="connsiteY132" fmla="*/ 152400 h 4496940"/>
              <a:gd name="connsiteX133" fmla="*/ 1583077 w 4519987"/>
              <a:gd name="connsiteY133" fmla="*/ 142875 h 4496940"/>
              <a:gd name="connsiteX134" fmla="*/ 1716427 w 4519987"/>
              <a:gd name="connsiteY134" fmla="*/ 123825 h 4496940"/>
              <a:gd name="connsiteX135" fmla="*/ 1811677 w 4519987"/>
              <a:gd name="connsiteY135" fmla="*/ 114300 h 4496940"/>
              <a:gd name="connsiteX136" fmla="*/ 1859302 w 4519987"/>
              <a:gd name="connsiteY136" fmla="*/ 104775 h 4496940"/>
              <a:gd name="connsiteX137" fmla="*/ 1916452 w 4519987"/>
              <a:gd name="connsiteY137" fmla="*/ 95250 h 4496940"/>
              <a:gd name="connsiteX138" fmla="*/ 2030752 w 4519987"/>
              <a:gd name="connsiteY138" fmla="*/ 66675 h 4496940"/>
              <a:gd name="connsiteX139" fmla="*/ 2097427 w 4519987"/>
              <a:gd name="connsiteY139" fmla="*/ 47625 h 4496940"/>
              <a:gd name="connsiteX140" fmla="*/ 2164102 w 4519987"/>
              <a:gd name="connsiteY140" fmla="*/ 38100 h 4496940"/>
              <a:gd name="connsiteX141" fmla="*/ 2392702 w 4519987"/>
              <a:gd name="connsiteY14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211977 w 4519987"/>
              <a:gd name="connsiteY34" fmla="*/ 3362325 h 4496940"/>
              <a:gd name="connsiteX35" fmla="*/ 4183402 w 4519987"/>
              <a:gd name="connsiteY35" fmla="*/ 3400425 h 4496940"/>
              <a:gd name="connsiteX36" fmla="*/ 4088152 w 4519987"/>
              <a:gd name="connsiteY36" fmla="*/ 3495675 h 4496940"/>
              <a:gd name="connsiteX37" fmla="*/ 4059577 w 4519987"/>
              <a:gd name="connsiteY37" fmla="*/ 3533775 h 4496940"/>
              <a:gd name="connsiteX38" fmla="*/ 4002427 w 4519987"/>
              <a:gd name="connsiteY38" fmla="*/ 3600450 h 4496940"/>
              <a:gd name="connsiteX39" fmla="*/ 3983377 w 4519987"/>
              <a:gd name="connsiteY39" fmla="*/ 3629025 h 4496940"/>
              <a:gd name="connsiteX40" fmla="*/ 3954802 w 4519987"/>
              <a:gd name="connsiteY40" fmla="*/ 3648075 h 4496940"/>
              <a:gd name="connsiteX41" fmla="*/ 3907177 w 4519987"/>
              <a:gd name="connsiteY41" fmla="*/ 3686175 h 4496940"/>
              <a:gd name="connsiteX42" fmla="*/ 3869077 w 4519987"/>
              <a:gd name="connsiteY42" fmla="*/ 3724275 h 4496940"/>
              <a:gd name="connsiteX43" fmla="*/ 3792877 w 4519987"/>
              <a:gd name="connsiteY43" fmla="*/ 3781425 h 4496940"/>
              <a:gd name="connsiteX44" fmla="*/ 3783352 w 4519987"/>
              <a:gd name="connsiteY44" fmla="*/ 3810000 h 4496940"/>
              <a:gd name="connsiteX45" fmla="*/ 3745252 w 4519987"/>
              <a:gd name="connsiteY45" fmla="*/ 3819525 h 4496940"/>
              <a:gd name="connsiteX46" fmla="*/ 3678577 w 4519987"/>
              <a:gd name="connsiteY46" fmla="*/ 3848100 h 4496940"/>
              <a:gd name="connsiteX47" fmla="*/ 3659527 w 4519987"/>
              <a:gd name="connsiteY47" fmla="*/ 3971925 h 4496940"/>
              <a:gd name="connsiteX48" fmla="*/ 3630952 w 4519987"/>
              <a:gd name="connsiteY48" fmla="*/ 4010025 h 4496940"/>
              <a:gd name="connsiteX49" fmla="*/ 3621427 w 4519987"/>
              <a:gd name="connsiteY49" fmla="*/ 4038600 h 4496940"/>
              <a:gd name="connsiteX50" fmla="*/ 3554752 w 4519987"/>
              <a:gd name="connsiteY50" fmla="*/ 4095750 h 4496940"/>
              <a:gd name="connsiteX51" fmla="*/ 3516652 w 4519987"/>
              <a:gd name="connsiteY51" fmla="*/ 4114800 h 4496940"/>
              <a:gd name="connsiteX52" fmla="*/ 3497602 w 4519987"/>
              <a:gd name="connsiteY52" fmla="*/ 4143375 h 4496940"/>
              <a:gd name="connsiteX53" fmla="*/ 3383302 w 4519987"/>
              <a:gd name="connsiteY53" fmla="*/ 4210050 h 4496940"/>
              <a:gd name="connsiteX54" fmla="*/ 3335677 w 4519987"/>
              <a:gd name="connsiteY54" fmla="*/ 4238625 h 4496940"/>
              <a:gd name="connsiteX55" fmla="*/ 3288052 w 4519987"/>
              <a:gd name="connsiteY55" fmla="*/ 4248150 h 4496940"/>
              <a:gd name="connsiteX56" fmla="*/ 3240427 w 4519987"/>
              <a:gd name="connsiteY56" fmla="*/ 4267200 h 4496940"/>
              <a:gd name="connsiteX57" fmla="*/ 3068977 w 4519987"/>
              <a:gd name="connsiteY57" fmla="*/ 4286250 h 4496940"/>
              <a:gd name="connsiteX58" fmla="*/ 2935627 w 4519987"/>
              <a:gd name="connsiteY58" fmla="*/ 4333875 h 4496940"/>
              <a:gd name="connsiteX59" fmla="*/ 2811802 w 4519987"/>
              <a:gd name="connsiteY59" fmla="*/ 4371975 h 4496940"/>
              <a:gd name="connsiteX60" fmla="*/ 2745127 w 4519987"/>
              <a:gd name="connsiteY60" fmla="*/ 4410075 h 4496940"/>
              <a:gd name="connsiteX61" fmla="*/ 2697502 w 4519987"/>
              <a:gd name="connsiteY61" fmla="*/ 4429125 h 4496940"/>
              <a:gd name="connsiteX62" fmla="*/ 2640352 w 4519987"/>
              <a:gd name="connsiteY62" fmla="*/ 4457700 h 4496940"/>
              <a:gd name="connsiteX63" fmla="*/ 2583202 w 4519987"/>
              <a:gd name="connsiteY63" fmla="*/ 4467225 h 4496940"/>
              <a:gd name="connsiteX64" fmla="*/ 2545102 w 4519987"/>
              <a:gd name="connsiteY64" fmla="*/ 4486275 h 4496940"/>
              <a:gd name="connsiteX65" fmla="*/ 2306977 w 4519987"/>
              <a:gd name="connsiteY65" fmla="*/ 4476750 h 4496940"/>
              <a:gd name="connsiteX66" fmla="*/ 2202202 w 4519987"/>
              <a:gd name="connsiteY66" fmla="*/ 4457700 h 4496940"/>
              <a:gd name="connsiteX67" fmla="*/ 2126002 w 4519987"/>
              <a:gd name="connsiteY67" fmla="*/ 4429125 h 4496940"/>
              <a:gd name="connsiteX68" fmla="*/ 1935502 w 4519987"/>
              <a:gd name="connsiteY68" fmla="*/ 4400550 h 4496940"/>
              <a:gd name="connsiteX69" fmla="*/ 1821202 w 4519987"/>
              <a:gd name="connsiteY69" fmla="*/ 4371975 h 4496940"/>
              <a:gd name="connsiteX70" fmla="*/ 1754527 w 4519987"/>
              <a:gd name="connsiteY70" fmla="*/ 4352925 h 4496940"/>
              <a:gd name="connsiteX71" fmla="*/ 1687852 w 4519987"/>
              <a:gd name="connsiteY71" fmla="*/ 4343400 h 4496940"/>
              <a:gd name="connsiteX72" fmla="*/ 1573552 w 4519987"/>
              <a:gd name="connsiteY72" fmla="*/ 4305300 h 4496940"/>
              <a:gd name="connsiteX73" fmla="*/ 1402102 w 4519987"/>
              <a:gd name="connsiteY73" fmla="*/ 4276725 h 4496940"/>
              <a:gd name="connsiteX74" fmla="*/ 1287802 w 4519987"/>
              <a:gd name="connsiteY74" fmla="*/ 4229100 h 4496940"/>
              <a:gd name="connsiteX75" fmla="*/ 1221127 w 4519987"/>
              <a:gd name="connsiteY75" fmla="*/ 4200525 h 4496940"/>
              <a:gd name="connsiteX76" fmla="*/ 1144927 w 4519987"/>
              <a:gd name="connsiteY76" fmla="*/ 4171950 h 4496940"/>
              <a:gd name="connsiteX77" fmla="*/ 1087777 w 4519987"/>
              <a:gd name="connsiteY77" fmla="*/ 4143375 h 4496940"/>
              <a:gd name="connsiteX78" fmla="*/ 1030627 w 4519987"/>
              <a:gd name="connsiteY78" fmla="*/ 4124325 h 4496940"/>
              <a:gd name="connsiteX79" fmla="*/ 925852 w 4519987"/>
              <a:gd name="connsiteY79" fmla="*/ 4067175 h 4496940"/>
              <a:gd name="connsiteX80" fmla="*/ 830602 w 4519987"/>
              <a:gd name="connsiteY80" fmla="*/ 3981450 h 4496940"/>
              <a:gd name="connsiteX81" fmla="*/ 763927 w 4519987"/>
              <a:gd name="connsiteY81" fmla="*/ 3914775 h 4496940"/>
              <a:gd name="connsiteX82" fmla="*/ 725827 w 4519987"/>
              <a:gd name="connsiteY82" fmla="*/ 3876675 h 4496940"/>
              <a:gd name="connsiteX83" fmla="*/ 697252 w 4519987"/>
              <a:gd name="connsiteY83" fmla="*/ 3838575 h 4496940"/>
              <a:gd name="connsiteX84" fmla="*/ 640102 w 4519987"/>
              <a:gd name="connsiteY84" fmla="*/ 3781425 h 4496940"/>
              <a:gd name="connsiteX85" fmla="*/ 611527 w 4519987"/>
              <a:gd name="connsiteY85" fmla="*/ 3733800 h 4496940"/>
              <a:gd name="connsiteX86" fmla="*/ 554377 w 4519987"/>
              <a:gd name="connsiteY86" fmla="*/ 3657600 h 4496940"/>
              <a:gd name="connsiteX87" fmla="*/ 525802 w 4519987"/>
              <a:gd name="connsiteY87" fmla="*/ 3609975 h 4496940"/>
              <a:gd name="connsiteX88" fmla="*/ 497227 w 4519987"/>
              <a:gd name="connsiteY88" fmla="*/ 3552825 h 4496940"/>
              <a:gd name="connsiteX89" fmla="*/ 440077 w 4519987"/>
              <a:gd name="connsiteY89" fmla="*/ 3495675 h 4496940"/>
              <a:gd name="connsiteX90" fmla="*/ 411502 w 4519987"/>
              <a:gd name="connsiteY90" fmla="*/ 3448050 h 4496940"/>
              <a:gd name="connsiteX91" fmla="*/ 278152 w 4519987"/>
              <a:gd name="connsiteY91" fmla="*/ 3257550 h 4496940"/>
              <a:gd name="connsiteX92" fmla="*/ 249577 w 4519987"/>
              <a:gd name="connsiteY92" fmla="*/ 3200400 h 4496940"/>
              <a:gd name="connsiteX93" fmla="*/ 240052 w 4519987"/>
              <a:gd name="connsiteY93" fmla="*/ 3162300 h 4496940"/>
              <a:gd name="connsiteX94" fmla="*/ 221002 w 4519987"/>
              <a:gd name="connsiteY94" fmla="*/ 3105150 h 4496940"/>
              <a:gd name="connsiteX95" fmla="*/ 173377 w 4519987"/>
              <a:gd name="connsiteY95" fmla="*/ 3019425 h 4496940"/>
              <a:gd name="connsiteX96" fmla="*/ 144802 w 4519987"/>
              <a:gd name="connsiteY96" fmla="*/ 2924175 h 4496940"/>
              <a:gd name="connsiteX97" fmla="*/ 68602 w 4519987"/>
              <a:gd name="connsiteY97" fmla="*/ 2724150 h 4496940"/>
              <a:gd name="connsiteX98" fmla="*/ 49552 w 4519987"/>
              <a:gd name="connsiteY98" fmla="*/ 2638425 h 4496940"/>
              <a:gd name="connsiteX99" fmla="*/ 40027 w 4519987"/>
              <a:gd name="connsiteY99" fmla="*/ 2562225 h 4496940"/>
              <a:gd name="connsiteX100" fmla="*/ 30502 w 4519987"/>
              <a:gd name="connsiteY100" fmla="*/ 2514600 h 4496940"/>
              <a:gd name="connsiteX101" fmla="*/ 11452 w 4519987"/>
              <a:gd name="connsiteY101" fmla="*/ 2400300 h 4496940"/>
              <a:gd name="connsiteX102" fmla="*/ 20977 w 4519987"/>
              <a:gd name="connsiteY102" fmla="*/ 1905000 h 4496940"/>
              <a:gd name="connsiteX103" fmla="*/ 30502 w 4519987"/>
              <a:gd name="connsiteY103" fmla="*/ 1838325 h 4496940"/>
              <a:gd name="connsiteX104" fmla="*/ 49552 w 4519987"/>
              <a:gd name="connsiteY104" fmla="*/ 1781175 h 4496940"/>
              <a:gd name="connsiteX105" fmla="*/ 59077 w 4519987"/>
              <a:gd name="connsiteY105" fmla="*/ 1743075 h 4496940"/>
              <a:gd name="connsiteX106" fmla="*/ 78127 w 4519987"/>
              <a:gd name="connsiteY106" fmla="*/ 1685925 h 4496940"/>
              <a:gd name="connsiteX107" fmla="*/ 87652 w 4519987"/>
              <a:gd name="connsiteY107" fmla="*/ 1638300 h 4496940"/>
              <a:gd name="connsiteX108" fmla="*/ 106702 w 4519987"/>
              <a:gd name="connsiteY108" fmla="*/ 1590675 h 4496940"/>
              <a:gd name="connsiteX109" fmla="*/ 135277 w 4519987"/>
              <a:gd name="connsiteY109" fmla="*/ 1504950 h 4496940"/>
              <a:gd name="connsiteX110" fmla="*/ 154327 w 4519987"/>
              <a:gd name="connsiteY110" fmla="*/ 1419225 h 4496940"/>
              <a:gd name="connsiteX111" fmla="*/ 230527 w 4519987"/>
              <a:gd name="connsiteY111" fmla="*/ 1276350 h 4496940"/>
              <a:gd name="connsiteX112" fmla="*/ 240052 w 4519987"/>
              <a:gd name="connsiteY112" fmla="*/ 1247775 h 4496940"/>
              <a:gd name="connsiteX113" fmla="*/ 268627 w 4519987"/>
              <a:gd name="connsiteY113" fmla="*/ 1200150 h 4496940"/>
              <a:gd name="connsiteX114" fmla="*/ 287677 w 4519987"/>
              <a:gd name="connsiteY114" fmla="*/ 1152525 h 4496940"/>
              <a:gd name="connsiteX115" fmla="*/ 316252 w 4519987"/>
              <a:gd name="connsiteY115" fmla="*/ 1114425 h 4496940"/>
              <a:gd name="connsiteX116" fmla="*/ 363877 w 4519987"/>
              <a:gd name="connsiteY116" fmla="*/ 1038225 h 4496940"/>
              <a:gd name="connsiteX117" fmla="*/ 382927 w 4519987"/>
              <a:gd name="connsiteY117" fmla="*/ 1009650 h 4496940"/>
              <a:gd name="connsiteX118" fmla="*/ 440077 w 4519987"/>
              <a:gd name="connsiteY118" fmla="*/ 904875 h 4496940"/>
              <a:gd name="connsiteX119" fmla="*/ 478177 w 4519987"/>
              <a:gd name="connsiteY119" fmla="*/ 857250 h 4496940"/>
              <a:gd name="connsiteX120" fmla="*/ 497227 w 4519987"/>
              <a:gd name="connsiteY120" fmla="*/ 828675 h 4496940"/>
              <a:gd name="connsiteX121" fmla="*/ 535327 w 4519987"/>
              <a:gd name="connsiteY121" fmla="*/ 800100 h 4496940"/>
              <a:gd name="connsiteX122" fmla="*/ 602002 w 4519987"/>
              <a:gd name="connsiteY122" fmla="*/ 733425 h 4496940"/>
              <a:gd name="connsiteX123" fmla="*/ 668677 w 4519987"/>
              <a:gd name="connsiteY123" fmla="*/ 676275 h 4496940"/>
              <a:gd name="connsiteX124" fmla="*/ 697252 w 4519987"/>
              <a:gd name="connsiteY124" fmla="*/ 657225 h 4496940"/>
              <a:gd name="connsiteX125" fmla="*/ 840127 w 4519987"/>
              <a:gd name="connsiteY125" fmla="*/ 533400 h 4496940"/>
              <a:gd name="connsiteX126" fmla="*/ 887752 w 4519987"/>
              <a:gd name="connsiteY126" fmla="*/ 504825 h 4496940"/>
              <a:gd name="connsiteX127" fmla="*/ 1167152 w 4519987"/>
              <a:gd name="connsiteY127" fmla="*/ 311150 h 4496940"/>
              <a:gd name="connsiteX128" fmla="*/ 1268752 w 4519987"/>
              <a:gd name="connsiteY128" fmla="*/ 285750 h 4496940"/>
              <a:gd name="connsiteX129" fmla="*/ 1411627 w 4519987"/>
              <a:gd name="connsiteY129" fmla="*/ 190500 h 4496940"/>
              <a:gd name="connsiteX130" fmla="*/ 1449727 w 4519987"/>
              <a:gd name="connsiteY130" fmla="*/ 161925 h 4496940"/>
              <a:gd name="connsiteX131" fmla="*/ 1525927 w 4519987"/>
              <a:gd name="connsiteY131" fmla="*/ 152400 h 4496940"/>
              <a:gd name="connsiteX132" fmla="*/ 1583077 w 4519987"/>
              <a:gd name="connsiteY132" fmla="*/ 142875 h 4496940"/>
              <a:gd name="connsiteX133" fmla="*/ 1716427 w 4519987"/>
              <a:gd name="connsiteY133" fmla="*/ 123825 h 4496940"/>
              <a:gd name="connsiteX134" fmla="*/ 1811677 w 4519987"/>
              <a:gd name="connsiteY134" fmla="*/ 114300 h 4496940"/>
              <a:gd name="connsiteX135" fmla="*/ 1859302 w 4519987"/>
              <a:gd name="connsiteY135" fmla="*/ 104775 h 4496940"/>
              <a:gd name="connsiteX136" fmla="*/ 1916452 w 4519987"/>
              <a:gd name="connsiteY136" fmla="*/ 95250 h 4496940"/>
              <a:gd name="connsiteX137" fmla="*/ 2030752 w 4519987"/>
              <a:gd name="connsiteY137" fmla="*/ 66675 h 4496940"/>
              <a:gd name="connsiteX138" fmla="*/ 2097427 w 4519987"/>
              <a:gd name="connsiteY138" fmla="*/ 47625 h 4496940"/>
              <a:gd name="connsiteX139" fmla="*/ 2164102 w 4519987"/>
              <a:gd name="connsiteY139" fmla="*/ 38100 h 4496940"/>
              <a:gd name="connsiteX140" fmla="*/ 2392702 w 4519987"/>
              <a:gd name="connsiteY14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183402 w 4519987"/>
              <a:gd name="connsiteY34" fmla="*/ 3400425 h 4496940"/>
              <a:gd name="connsiteX35" fmla="*/ 4088152 w 4519987"/>
              <a:gd name="connsiteY35" fmla="*/ 3495675 h 4496940"/>
              <a:gd name="connsiteX36" fmla="*/ 4059577 w 4519987"/>
              <a:gd name="connsiteY36" fmla="*/ 3533775 h 4496940"/>
              <a:gd name="connsiteX37" fmla="*/ 4002427 w 4519987"/>
              <a:gd name="connsiteY37" fmla="*/ 3600450 h 4496940"/>
              <a:gd name="connsiteX38" fmla="*/ 3983377 w 4519987"/>
              <a:gd name="connsiteY38" fmla="*/ 3629025 h 4496940"/>
              <a:gd name="connsiteX39" fmla="*/ 3954802 w 4519987"/>
              <a:gd name="connsiteY39" fmla="*/ 3648075 h 4496940"/>
              <a:gd name="connsiteX40" fmla="*/ 3907177 w 4519987"/>
              <a:gd name="connsiteY40" fmla="*/ 3686175 h 4496940"/>
              <a:gd name="connsiteX41" fmla="*/ 3869077 w 4519987"/>
              <a:gd name="connsiteY41" fmla="*/ 3724275 h 4496940"/>
              <a:gd name="connsiteX42" fmla="*/ 3792877 w 4519987"/>
              <a:gd name="connsiteY42" fmla="*/ 3781425 h 4496940"/>
              <a:gd name="connsiteX43" fmla="*/ 3783352 w 4519987"/>
              <a:gd name="connsiteY43" fmla="*/ 3810000 h 4496940"/>
              <a:gd name="connsiteX44" fmla="*/ 3745252 w 4519987"/>
              <a:gd name="connsiteY44" fmla="*/ 3819525 h 4496940"/>
              <a:gd name="connsiteX45" fmla="*/ 3678577 w 4519987"/>
              <a:gd name="connsiteY45" fmla="*/ 3848100 h 4496940"/>
              <a:gd name="connsiteX46" fmla="*/ 3659527 w 4519987"/>
              <a:gd name="connsiteY46" fmla="*/ 3971925 h 4496940"/>
              <a:gd name="connsiteX47" fmla="*/ 3630952 w 4519987"/>
              <a:gd name="connsiteY47" fmla="*/ 4010025 h 4496940"/>
              <a:gd name="connsiteX48" fmla="*/ 3621427 w 4519987"/>
              <a:gd name="connsiteY48" fmla="*/ 4038600 h 4496940"/>
              <a:gd name="connsiteX49" fmla="*/ 3554752 w 4519987"/>
              <a:gd name="connsiteY49" fmla="*/ 4095750 h 4496940"/>
              <a:gd name="connsiteX50" fmla="*/ 3516652 w 4519987"/>
              <a:gd name="connsiteY50" fmla="*/ 4114800 h 4496940"/>
              <a:gd name="connsiteX51" fmla="*/ 3497602 w 4519987"/>
              <a:gd name="connsiteY51" fmla="*/ 4143375 h 4496940"/>
              <a:gd name="connsiteX52" fmla="*/ 3383302 w 4519987"/>
              <a:gd name="connsiteY52" fmla="*/ 4210050 h 4496940"/>
              <a:gd name="connsiteX53" fmla="*/ 3335677 w 4519987"/>
              <a:gd name="connsiteY53" fmla="*/ 4238625 h 4496940"/>
              <a:gd name="connsiteX54" fmla="*/ 3288052 w 4519987"/>
              <a:gd name="connsiteY54" fmla="*/ 4248150 h 4496940"/>
              <a:gd name="connsiteX55" fmla="*/ 3240427 w 4519987"/>
              <a:gd name="connsiteY55" fmla="*/ 4267200 h 4496940"/>
              <a:gd name="connsiteX56" fmla="*/ 3068977 w 4519987"/>
              <a:gd name="connsiteY56" fmla="*/ 4286250 h 4496940"/>
              <a:gd name="connsiteX57" fmla="*/ 2935627 w 4519987"/>
              <a:gd name="connsiteY57" fmla="*/ 4333875 h 4496940"/>
              <a:gd name="connsiteX58" fmla="*/ 2811802 w 4519987"/>
              <a:gd name="connsiteY58" fmla="*/ 4371975 h 4496940"/>
              <a:gd name="connsiteX59" fmla="*/ 2745127 w 4519987"/>
              <a:gd name="connsiteY59" fmla="*/ 4410075 h 4496940"/>
              <a:gd name="connsiteX60" fmla="*/ 2697502 w 4519987"/>
              <a:gd name="connsiteY60" fmla="*/ 4429125 h 4496940"/>
              <a:gd name="connsiteX61" fmla="*/ 2640352 w 4519987"/>
              <a:gd name="connsiteY61" fmla="*/ 4457700 h 4496940"/>
              <a:gd name="connsiteX62" fmla="*/ 2583202 w 4519987"/>
              <a:gd name="connsiteY62" fmla="*/ 4467225 h 4496940"/>
              <a:gd name="connsiteX63" fmla="*/ 2545102 w 4519987"/>
              <a:gd name="connsiteY63" fmla="*/ 4486275 h 4496940"/>
              <a:gd name="connsiteX64" fmla="*/ 2306977 w 4519987"/>
              <a:gd name="connsiteY64" fmla="*/ 4476750 h 4496940"/>
              <a:gd name="connsiteX65" fmla="*/ 2202202 w 4519987"/>
              <a:gd name="connsiteY65" fmla="*/ 4457700 h 4496940"/>
              <a:gd name="connsiteX66" fmla="*/ 2126002 w 4519987"/>
              <a:gd name="connsiteY66" fmla="*/ 4429125 h 4496940"/>
              <a:gd name="connsiteX67" fmla="*/ 1935502 w 4519987"/>
              <a:gd name="connsiteY67" fmla="*/ 4400550 h 4496940"/>
              <a:gd name="connsiteX68" fmla="*/ 1821202 w 4519987"/>
              <a:gd name="connsiteY68" fmla="*/ 4371975 h 4496940"/>
              <a:gd name="connsiteX69" fmla="*/ 1754527 w 4519987"/>
              <a:gd name="connsiteY69" fmla="*/ 4352925 h 4496940"/>
              <a:gd name="connsiteX70" fmla="*/ 1687852 w 4519987"/>
              <a:gd name="connsiteY70" fmla="*/ 4343400 h 4496940"/>
              <a:gd name="connsiteX71" fmla="*/ 1573552 w 4519987"/>
              <a:gd name="connsiteY71" fmla="*/ 4305300 h 4496940"/>
              <a:gd name="connsiteX72" fmla="*/ 1402102 w 4519987"/>
              <a:gd name="connsiteY72" fmla="*/ 4276725 h 4496940"/>
              <a:gd name="connsiteX73" fmla="*/ 1287802 w 4519987"/>
              <a:gd name="connsiteY73" fmla="*/ 4229100 h 4496940"/>
              <a:gd name="connsiteX74" fmla="*/ 1221127 w 4519987"/>
              <a:gd name="connsiteY74" fmla="*/ 4200525 h 4496940"/>
              <a:gd name="connsiteX75" fmla="*/ 1144927 w 4519987"/>
              <a:gd name="connsiteY75" fmla="*/ 4171950 h 4496940"/>
              <a:gd name="connsiteX76" fmla="*/ 1087777 w 4519987"/>
              <a:gd name="connsiteY76" fmla="*/ 4143375 h 4496940"/>
              <a:gd name="connsiteX77" fmla="*/ 1030627 w 4519987"/>
              <a:gd name="connsiteY77" fmla="*/ 4124325 h 4496940"/>
              <a:gd name="connsiteX78" fmla="*/ 925852 w 4519987"/>
              <a:gd name="connsiteY78" fmla="*/ 4067175 h 4496940"/>
              <a:gd name="connsiteX79" fmla="*/ 830602 w 4519987"/>
              <a:gd name="connsiteY79" fmla="*/ 3981450 h 4496940"/>
              <a:gd name="connsiteX80" fmla="*/ 763927 w 4519987"/>
              <a:gd name="connsiteY80" fmla="*/ 3914775 h 4496940"/>
              <a:gd name="connsiteX81" fmla="*/ 725827 w 4519987"/>
              <a:gd name="connsiteY81" fmla="*/ 3876675 h 4496940"/>
              <a:gd name="connsiteX82" fmla="*/ 697252 w 4519987"/>
              <a:gd name="connsiteY82" fmla="*/ 3838575 h 4496940"/>
              <a:gd name="connsiteX83" fmla="*/ 640102 w 4519987"/>
              <a:gd name="connsiteY83" fmla="*/ 3781425 h 4496940"/>
              <a:gd name="connsiteX84" fmla="*/ 611527 w 4519987"/>
              <a:gd name="connsiteY84" fmla="*/ 3733800 h 4496940"/>
              <a:gd name="connsiteX85" fmla="*/ 554377 w 4519987"/>
              <a:gd name="connsiteY85" fmla="*/ 3657600 h 4496940"/>
              <a:gd name="connsiteX86" fmla="*/ 525802 w 4519987"/>
              <a:gd name="connsiteY86" fmla="*/ 3609975 h 4496940"/>
              <a:gd name="connsiteX87" fmla="*/ 497227 w 4519987"/>
              <a:gd name="connsiteY87" fmla="*/ 3552825 h 4496940"/>
              <a:gd name="connsiteX88" fmla="*/ 440077 w 4519987"/>
              <a:gd name="connsiteY88" fmla="*/ 3495675 h 4496940"/>
              <a:gd name="connsiteX89" fmla="*/ 411502 w 4519987"/>
              <a:gd name="connsiteY89" fmla="*/ 3448050 h 4496940"/>
              <a:gd name="connsiteX90" fmla="*/ 278152 w 4519987"/>
              <a:gd name="connsiteY90" fmla="*/ 3257550 h 4496940"/>
              <a:gd name="connsiteX91" fmla="*/ 249577 w 4519987"/>
              <a:gd name="connsiteY91" fmla="*/ 3200400 h 4496940"/>
              <a:gd name="connsiteX92" fmla="*/ 240052 w 4519987"/>
              <a:gd name="connsiteY92" fmla="*/ 3162300 h 4496940"/>
              <a:gd name="connsiteX93" fmla="*/ 221002 w 4519987"/>
              <a:gd name="connsiteY93" fmla="*/ 3105150 h 4496940"/>
              <a:gd name="connsiteX94" fmla="*/ 173377 w 4519987"/>
              <a:gd name="connsiteY94" fmla="*/ 3019425 h 4496940"/>
              <a:gd name="connsiteX95" fmla="*/ 144802 w 4519987"/>
              <a:gd name="connsiteY95" fmla="*/ 2924175 h 4496940"/>
              <a:gd name="connsiteX96" fmla="*/ 68602 w 4519987"/>
              <a:gd name="connsiteY96" fmla="*/ 2724150 h 4496940"/>
              <a:gd name="connsiteX97" fmla="*/ 49552 w 4519987"/>
              <a:gd name="connsiteY97" fmla="*/ 2638425 h 4496940"/>
              <a:gd name="connsiteX98" fmla="*/ 40027 w 4519987"/>
              <a:gd name="connsiteY98" fmla="*/ 2562225 h 4496940"/>
              <a:gd name="connsiteX99" fmla="*/ 30502 w 4519987"/>
              <a:gd name="connsiteY99" fmla="*/ 2514600 h 4496940"/>
              <a:gd name="connsiteX100" fmla="*/ 11452 w 4519987"/>
              <a:gd name="connsiteY100" fmla="*/ 2400300 h 4496940"/>
              <a:gd name="connsiteX101" fmla="*/ 20977 w 4519987"/>
              <a:gd name="connsiteY101" fmla="*/ 1905000 h 4496940"/>
              <a:gd name="connsiteX102" fmla="*/ 30502 w 4519987"/>
              <a:gd name="connsiteY102" fmla="*/ 1838325 h 4496940"/>
              <a:gd name="connsiteX103" fmla="*/ 49552 w 4519987"/>
              <a:gd name="connsiteY103" fmla="*/ 1781175 h 4496940"/>
              <a:gd name="connsiteX104" fmla="*/ 59077 w 4519987"/>
              <a:gd name="connsiteY104" fmla="*/ 1743075 h 4496940"/>
              <a:gd name="connsiteX105" fmla="*/ 78127 w 4519987"/>
              <a:gd name="connsiteY105" fmla="*/ 1685925 h 4496940"/>
              <a:gd name="connsiteX106" fmla="*/ 87652 w 4519987"/>
              <a:gd name="connsiteY106" fmla="*/ 1638300 h 4496940"/>
              <a:gd name="connsiteX107" fmla="*/ 106702 w 4519987"/>
              <a:gd name="connsiteY107" fmla="*/ 1590675 h 4496940"/>
              <a:gd name="connsiteX108" fmla="*/ 135277 w 4519987"/>
              <a:gd name="connsiteY108" fmla="*/ 1504950 h 4496940"/>
              <a:gd name="connsiteX109" fmla="*/ 154327 w 4519987"/>
              <a:gd name="connsiteY109" fmla="*/ 1419225 h 4496940"/>
              <a:gd name="connsiteX110" fmla="*/ 230527 w 4519987"/>
              <a:gd name="connsiteY110" fmla="*/ 1276350 h 4496940"/>
              <a:gd name="connsiteX111" fmla="*/ 240052 w 4519987"/>
              <a:gd name="connsiteY111" fmla="*/ 1247775 h 4496940"/>
              <a:gd name="connsiteX112" fmla="*/ 268627 w 4519987"/>
              <a:gd name="connsiteY112" fmla="*/ 1200150 h 4496940"/>
              <a:gd name="connsiteX113" fmla="*/ 287677 w 4519987"/>
              <a:gd name="connsiteY113" fmla="*/ 1152525 h 4496940"/>
              <a:gd name="connsiteX114" fmla="*/ 316252 w 4519987"/>
              <a:gd name="connsiteY114" fmla="*/ 1114425 h 4496940"/>
              <a:gd name="connsiteX115" fmla="*/ 363877 w 4519987"/>
              <a:gd name="connsiteY115" fmla="*/ 1038225 h 4496940"/>
              <a:gd name="connsiteX116" fmla="*/ 382927 w 4519987"/>
              <a:gd name="connsiteY116" fmla="*/ 1009650 h 4496940"/>
              <a:gd name="connsiteX117" fmla="*/ 440077 w 4519987"/>
              <a:gd name="connsiteY117" fmla="*/ 904875 h 4496940"/>
              <a:gd name="connsiteX118" fmla="*/ 478177 w 4519987"/>
              <a:gd name="connsiteY118" fmla="*/ 857250 h 4496940"/>
              <a:gd name="connsiteX119" fmla="*/ 497227 w 4519987"/>
              <a:gd name="connsiteY119" fmla="*/ 828675 h 4496940"/>
              <a:gd name="connsiteX120" fmla="*/ 535327 w 4519987"/>
              <a:gd name="connsiteY120" fmla="*/ 800100 h 4496940"/>
              <a:gd name="connsiteX121" fmla="*/ 602002 w 4519987"/>
              <a:gd name="connsiteY121" fmla="*/ 733425 h 4496940"/>
              <a:gd name="connsiteX122" fmla="*/ 668677 w 4519987"/>
              <a:gd name="connsiteY122" fmla="*/ 676275 h 4496940"/>
              <a:gd name="connsiteX123" fmla="*/ 697252 w 4519987"/>
              <a:gd name="connsiteY123" fmla="*/ 657225 h 4496940"/>
              <a:gd name="connsiteX124" fmla="*/ 840127 w 4519987"/>
              <a:gd name="connsiteY124" fmla="*/ 533400 h 4496940"/>
              <a:gd name="connsiteX125" fmla="*/ 887752 w 4519987"/>
              <a:gd name="connsiteY125" fmla="*/ 504825 h 4496940"/>
              <a:gd name="connsiteX126" fmla="*/ 1167152 w 4519987"/>
              <a:gd name="connsiteY126" fmla="*/ 311150 h 4496940"/>
              <a:gd name="connsiteX127" fmla="*/ 1268752 w 4519987"/>
              <a:gd name="connsiteY127" fmla="*/ 285750 h 4496940"/>
              <a:gd name="connsiteX128" fmla="*/ 1411627 w 4519987"/>
              <a:gd name="connsiteY128" fmla="*/ 190500 h 4496940"/>
              <a:gd name="connsiteX129" fmla="*/ 1449727 w 4519987"/>
              <a:gd name="connsiteY129" fmla="*/ 161925 h 4496940"/>
              <a:gd name="connsiteX130" fmla="*/ 1525927 w 4519987"/>
              <a:gd name="connsiteY130" fmla="*/ 152400 h 4496940"/>
              <a:gd name="connsiteX131" fmla="*/ 1583077 w 4519987"/>
              <a:gd name="connsiteY131" fmla="*/ 142875 h 4496940"/>
              <a:gd name="connsiteX132" fmla="*/ 1716427 w 4519987"/>
              <a:gd name="connsiteY132" fmla="*/ 123825 h 4496940"/>
              <a:gd name="connsiteX133" fmla="*/ 1811677 w 4519987"/>
              <a:gd name="connsiteY133" fmla="*/ 114300 h 4496940"/>
              <a:gd name="connsiteX134" fmla="*/ 1859302 w 4519987"/>
              <a:gd name="connsiteY134" fmla="*/ 104775 h 4496940"/>
              <a:gd name="connsiteX135" fmla="*/ 1916452 w 4519987"/>
              <a:gd name="connsiteY135" fmla="*/ 95250 h 4496940"/>
              <a:gd name="connsiteX136" fmla="*/ 2030752 w 4519987"/>
              <a:gd name="connsiteY136" fmla="*/ 66675 h 4496940"/>
              <a:gd name="connsiteX137" fmla="*/ 2097427 w 4519987"/>
              <a:gd name="connsiteY137" fmla="*/ 47625 h 4496940"/>
              <a:gd name="connsiteX138" fmla="*/ 2164102 w 4519987"/>
              <a:gd name="connsiteY138" fmla="*/ 38100 h 4496940"/>
              <a:gd name="connsiteX139" fmla="*/ 2392702 w 4519987"/>
              <a:gd name="connsiteY13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83377 w 4519987"/>
              <a:gd name="connsiteY37" fmla="*/ 3629025 h 4496940"/>
              <a:gd name="connsiteX38" fmla="*/ 3954802 w 4519987"/>
              <a:gd name="connsiteY38" fmla="*/ 3648075 h 4496940"/>
              <a:gd name="connsiteX39" fmla="*/ 3907177 w 4519987"/>
              <a:gd name="connsiteY39" fmla="*/ 3686175 h 4496940"/>
              <a:gd name="connsiteX40" fmla="*/ 3869077 w 4519987"/>
              <a:gd name="connsiteY40" fmla="*/ 3724275 h 4496940"/>
              <a:gd name="connsiteX41" fmla="*/ 3792877 w 4519987"/>
              <a:gd name="connsiteY41" fmla="*/ 3781425 h 4496940"/>
              <a:gd name="connsiteX42" fmla="*/ 3783352 w 4519987"/>
              <a:gd name="connsiteY42" fmla="*/ 3810000 h 4496940"/>
              <a:gd name="connsiteX43" fmla="*/ 3745252 w 4519987"/>
              <a:gd name="connsiteY43" fmla="*/ 3819525 h 4496940"/>
              <a:gd name="connsiteX44" fmla="*/ 3678577 w 4519987"/>
              <a:gd name="connsiteY44" fmla="*/ 3848100 h 4496940"/>
              <a:gd name="connsiteX45" fmla="*/ 3659527 w 4519987"/>
              <a:gd name="connsiteY45" fmla="*/ 3971925 h 4496940"/>
              <a:gd name="connsiteX46" fmla="*/ 3630952 w 4519987"/>
              <a:gd name="connsiteY46" fmla="*/ 4010025 h 4496940"/>
              <a:gd name="connsiteX47" fmla="*/ 3621427 w 4519987"/>
              <a:gd name="connsiteY47" fmla="*/ 4038600 h 4496940"/>
              <a:gd name="connsiteX48" fmla="*/ 3554752 w 4519987"/>
              <a:gd name="connsiteY48" fmla="*/ 4095750 h 4496940"/>
              <a:gd name="connsiteX49" fmla="*/ 3516652 w 4519987"/>
              <a:gd name="connsiteY49" fmla="*/ 4114800 h 4496940"/>
              <a:gd name="connsiteX50" fmla="*/ 3497602 w 4519987"/>
              <a:gd name="connsiteY50" fmla="*/ 4143375 h 4496940"/>
              <a:gd name="connsiteX51" fmla="*/ 3383302 w 4519987"/>
              <a:gd name="connsiteY51" fmla="*/ 4210050 h 4496940"/>
              <a:gd name="connsiteX52" fmla="*/ 3335677 w 4519987"/>
              <a:gd name="connsiteY52" fmla="*/ 4238625 h 4496940"/>
              <a:gd name="connsiteX53" fmla="*/ 3288052 w 4519987"/>
              <a:gd name="connsiteY53" fmla="*/ 4248150 h 4496940"/>
              <a:gd name="connsiteX54" fmla="*/ 3240427 w 4519987"/>
              <a:gd name="connsiteY54" fmla="*/ 4267200 h 4496940"/>
              <a:gd name="connsiteX55" fmla="*/ 3068977 w 4519987"/>
              <a:gd name="connsiteY55" fmla="*/ 4286250 h 4496940"/>
              <a:gd name="connsiteX56" fmla="*/ 2935627 w 4519987"/>
              <a:gd name="connsiteY56" fmla="*/ 4333875 h 4496940"/>
              <a:gd name="connsiteX57" fmla="*/ 2811802 w 4519987"/>
              <a:gd name="connsiteY57" fmla="*/ 4371975 h 4496940"/>
              <a:gd name="connsiteX58" fmla="*/ 2745127 w 4519987"/>
              <a:gd name="connsiteY58" fmla="*/ 4410075 h 4496940"/>
              <a:gd name="connsiteX59" fmla="*/ 2697502 w 4519987"/>
              <a:gd name="connsiteY59" fmla="*/ 4429125 h 4496940"/>
              <a:gd name="connsiteX60" fmla="*/ 2640352 w 4519987"/>
              <a:gd name="connsiteY60" fmla="*/ 4457700 h 4496940"/>
              <a:gd name="connsiteX61" fmla="*/ 2583202 w 4519987"/>
              <a:gd name="connsiteY61" fmla="*/ 4467225 h 4496940"/>
              <a:gd name="connsiteX62" fmla="*/ 2545102 w 4519987"/>
              <a:gd name="connsiteY62" fmla="*/ 4486275 h 4496940"/>
              <a:gd name="connsiteX63" fmla="*/ 2306977 w 4519987"/>
              <a:gd name="connsiteY63" fmla="*/ 4476750 h 4496940"/>
              <a:gd name="connsiteX64" fmla="*/ 2202202 w 4519987"/>
              <a:gd name="connsiteY64" fmla="*/ 4457700 h 4496940"/>
              <a:gd name="connsiteX65" fmla="*/ 2126002 w 4519987"/>
              <a:gd name="connsiteY65" fmla="*/ 4429125 h 4496940"/>
              <a:gd name="connsiteX66" fmla="*/ 1935502 w 4519987"/>
              <a:gd name="connsiteY66" fmla="*/ 4400550 h 4496940"/>
              <a:gd name="connsiteX67" fmla="*/ 1821202 w 4519987"/>
              <a:gd name="connsiteY67" fmla="*/ 4371975 h 4496940"/>
              <a:gd name="connsiteX68" fmla="*/ 1754527 w 4519987"/>
              <a:gd name="connsiteY68" fmla="*/ 4352925 h 4496940"/>
              <a:gd name="connsiteX69" fmla="*/ 1687852 w 4519987"/>
              <a:gd name="connsiteY69" fmla="*/ 4343400 h 4496940"/>
              <a:gd name="connsiteX70" fmla="*/ 1573552 w 4519987"/>
              <a:gd name="connsiteY70" fmla="*/ 4305300 h 4496940"/>
              <a:gd name="connsiteX71" fmla="*/ 1402102 w 4519987"/>
              <a:gd name="connsiteY71" fmla="*/ 4276725 h 4496940"/>
              <a:gd name="connsiteX72" fmla="*/ 1287802 w 4519987"/>
              <a:gd name="connsiteY72" fmla="*/ 4229100 h 4496940"/>
              <a:gd name="connsiteX73" fmla="*/ 1221127 w 4519987"/>
              <a:gd name="connsiteY73" fmla="*/ 4200525 h 4496940"/>
              <a:gd name="connsiteX74" fmla="*/ 1144927 w 4519987"/>
              <a:gd name="connsiteY74" fmla="*/ 4171950 h 4496940"/>
              <a:gd name="connsiteX75" fmla="*/ 1087777 w 4519987"/>
              <a:gd name="connsiteY75" fmla="*/ 4143375 h 4496940"/>
              <a:gd name="connsiteX76" fmla="*/ 1030627 w 4519987"/>
              <a:gd name="connsiteY76" fmla="*/ 4124325 h 4496940"/>
              <a:gd name="connsiteX77" fmla="*/ 925852 w 4519987"/>
              <a:gd name="connsiteY77" fmla="*/ 4067175 h 4496940"/>
              <a:gd name="connsiteX78" fmla="*/ 830602 w 4519987"/>
              <a:gd name="connsiteY78" fmla="*/ 3981450 h 4496940"/>
              <a:gd name="connsiteX79" fmla="*/ 763927 w 4519987"/>
              <a:gd name="connsiteY79" fmla="*/ 3914775 h 4496940"/>
              <a:gd name="connsiteX80" fmla="*/ 725827 w 4519987"/>
              <a:gd name="connsiteY80" fmla="*/ 3876675 h 4496940"/>
              <a:gd name="connsiteX81" fmla="*/ 697252 w 4519987"/>
              <a:gd name="connsiteY81" fmla="*/ 3838575 h 4496940"/>
              <a:gd name="connsiteX82" fmla="*/ 640102 w 4519987"/>
              <a:gd name="connsiteY82" fmla="*/ 3781425 h 4496940"/>
              <a:gd name="connsiteX83" fmla="*/ 611527 w 4519987"/>
              <a:gd name="connsiteY83" fmla="*/ 3733800 h 4496940"/>
              <a:gd name="connsiteX84" fmla="*/ 554377 w 4519987"/>
              <a:gd name="connsiteY84" fmla="*/ 3657600 h 4496940"/>
              <a:gd name="connsiteX85" fmla="*/ 525802 w 4519987"/>
              <a:gd name="connsiteY85" fmla="*/ 3609975 h 4496940"/>
              <a:gd name="connsiteX86" fmla="*/ 497227 w 4519987"/>
              <a:gd name="connsiteY86" fmla="*/ 3552825 h 4496940"/>
              <a:gd name="connsiteX87" fmla="*/ 440077 w 4519987"/>
              <a:gd name="connsiteY87" fmla="*/ 3495675 h 4496940"/>
              <a:gd name="connsiteX88" fmla="*/ 411502 w 4519987"/>
              <a:gd name="connsiteY88" fmla="*/ 3448050 h 4496940"/>
              <a:gd name="connsiteX89" fmla="*/ 278152 w 4519987"/>
              <a:gd name="connsiteY89" fmla="*/ 3257550 h 4496940"/>
              <a:gd name="connsiteX90" fmla="*/ 249577 w 4519987"/>
              <a:gd name="connsiteY90" fmla="*/ 3200400 h 4496940"/>
              <a:gd name="connsiteX91" fmla="*/ 240052 w 4519987"/>
              <a:gd name="connsiteY91" fmla="*/ 3162300 h 4496940"/>
              <a:gd name="connsiteX92" fmla="*/ 221002 w 4519987"/>
              <a:gd name="connsiteY92" fmla="*/ 3105150 h 4496940"/>
              <a:gd name="connsiteX93" fmla="*/ 173377 w 4519987"/>
              <a:gd name="connsiteY93" fmla="*/ 3019425 h 4496940"/>
              <a:gd name="connsiteX94" fmla="*/ 144802 w 4519987"/>
              <a:gd name="connsiteY94" fmla="*/ 2924175 h 4496940"/>
              <a:gd name="connsiteX95" fmla="*/ 68602 w 4519987"/>
              <a:gd name="connsiteY95" fmla="*/ 2724150 h 4496940"/>
              <a:gd name="connsiteX96" fmla="*/ 49552 w 4519987"/>
              <a:gd name="connsiteY96" fmla="*/ 2638425 h 4496940"/>
              <a:gd name="connsiteX97" fmla="*/ 40027 w 4519987"/>
              <a:gd name="connsiteY97" fmla="*/ 2562225 h 4496940"/>
              <a:gd name="connsiteX98" fmla="*/ 30502 w 4519987"/>
              <a:gd name="connsiteY98" fmla="*/ 2514600 h 4496940"/>
              <a:gd name="connsiteX99" fmla="*/ 11452 w 4519987"/>
              <a:gd name="connsiteY99" fmla="*/ 2400300 h 4496940"/>
              <a:gd name="connsiteX100" fmla="*/ 20977 w 4519987"/>
              <a:gd name="connsiteY100" fmla="*/ 1905000 h 4496940"/>
              <a:gd name="connsiteX101" fmla="*/ 30502 w 4519987"/>
              <a:gd name="connsiteY101" fmla="*/ 1838325 h 4496940"/>
              <a:gd name="connsiteX102" fmla="*/ 49552 w 4519987"/>
              <a:gd name="connsiteY102" fmla="*/ 1781175 h 4496940"/>
              <a:gd name="connsiteX103" fmla="*/ 59077 w 4519987"/>
              <a:gd name="connsiteY103" fmla="*/ 1743075 h 4496940"/>
              <a:gd name="connsiteX104" fmla="*/ 78127 w 4519987"/>
              <a:gd name="connsiteY104" fmla="*/ 1685925 h 4496940"/>
              <a:gd name="connsiteX105" fmla="*/ 87652 w 4519987"/>
              <a:gd name="connsiteY105" fmla="*/ 1638300 h 4496940"/>
              <a:gd name="connsiteX106" fmla="*/ 106702 w 4519987"/>
              <a:gd name="connsiteY106" fmla="*/ 1590675 h 4496940"/>
              <a:gd name="connsiteX107" fmla="*/ 135277 w 4519987"/>
              <a:gd name="connsiteY107" fmla="*/ 1504950 h 4496940"/>
              <a:gd name="connsiteX108" fmla="*/ 154327 w 4519987"/>
              <a:gd name="connsiteY108" fmla="*/ 1419225 h 4496940"/>
              <a:gd name="connsiteX109" fmla="*/ 230527 w 4519987"/>
              <a:gd name="connsiteY109" fmla="*/ 1276350 h 4496940"/>
              <a:gd name="connsiteX110" fmla="*/ 240052 w 4519987"/>
              <a:gd name="connsiteY110" fmla="*/ 1247775 h 4496940"/>
              <a:gd name="connsiteX111" fmla="*/ 268627 w 4519987"/>
              <a:gd name="connsiteY111" fmla="*/ 1200150 h 4496940"/>
              <a:gd name="connsiteX112" fmla="*/ 287677 w 4519987"/>
              <a:gd name="connsiteY112" fmla="*/ 1152525 h 4496940"/>
              <a:gd name="connsiteX113" fmla="*/ 316252 w 4519987"/>
              <a:gd name="connsiteY113" fmla="*/ 1114425 h 4496940"/>
              <a:gd name="connsiteX114" fmla="*/ 363877 w 4519987"/>
              <a:gd name="connsiteY114" fmla="*/ 1038225 h 4496940"/>
              <a:gd name="connsiteX115" fmla="*/ 382927 w 4519987"/>
              <a:gd name="connsiteY115" fmla="*/ 1009650 h 4496940"/>
              <a:gd name="connsiteX116" fmla="*/ 440077 w 4519987"/>
              <a:gd name="connsiteY116" fmla="*/ 904875 h 4496940"/>
              <a:gd name="connsiteX117" fmla="*/ 478177 w 4519987"/>
              <a:gd name="connsiteY117" fmla="*/ 857250 h 4496940"/>
              <a:gd name="connsiteX118" fmla="*/ 497227 w 4519987"/>
              <a:gd name="connsiteY118" fmla="*/ 828675 h 4496940"/>
              <a:gd name="connsiteX119" fmla="*/ 535327 w 4519987"/>
              <a:gd name="connsiteY119" fmla="*/ 800100 h 4496940"/>
              <a:gd name="connsiteX120" fmla="*/ 602002 w 4519987"/>
              <a:gd name="connsiteY120" fmla="*/ 733425 h 4496940"/>
              <a:gd name="connsiteX121" fmla="*/ 668677 w 4519987"/>
              <a:gd name="connsiteY121" fmla="*/ 676275 h 4496940"/>
              <a:gd name="connsiteX122" fmla="*/ 697252 w 4519987"/>
              <a:gd name="connsiteY122" fmla="*/ 657225 h 4496940"/>
              <a:gd name="connsiteX123" fmla="*/ 840127 w 4519987"/>
              <a:gd name="connsiteY123" fmla="*/ 533400 h 4496940"/>
              <a:gd name="connsiteX124" fmla="*/ 887752 w 4519987"/>
              <a:gd name="connsiteY124" fmla="*/ 504825 h 4496940"/>
              <a:gd name="connsiteX125" fmla="*/ 1167152 w 4519987"/>
              <a:gd name="connsiteY125" fmla="*/ 311150 h 4496940"/>
              <a:gd name="connsiteX126" fmla="*/ 1268752 w 4519987"/>
              <a:gd name="connsiteY126" fmla="*/ 285750 h 4496940"/>
              <a:gd name="connsiteX127" fmla="*/ 1411627 w 4519987"/>
              <a:gd name="connsiteY127" fmla="*/ 190500 h 4496940"/>
              <a:gd name="connsiteX128" fmla="*/ 1449727 w 4519987"/>
              <a:gd name="connsiteY128" fmla="*/ 161925 h 4496940"/>
              <a:gd name="connsiteX129" fmla="*/ 1525927 w 4519987"/>
              <a:gd name="connsiteY129" fmla="*/ 152400 h 4496940"/>
              <a:gd name="connsiteX130" fmla="*/ 1583077 w 4519987"/>
              <a:gd name="connsiteY130" fmla="*/ 142875 h 4496940"/>
              <a:gd name="connsiteX131" fmla="*/ 1716427 w 4519987"/>
              <a:gd name="connsiteY131" fmla="*/ 123825 h 4496940"/>
              <a:gd name="connsiteX132" fmla="*/ 1811677 w 4519987"/>
              <a:gd name="connsiteY132" fmla="*/ 114300 h 4496940"/>
              <a:gd name="connsiteX133" fmla="*/ 1859302 w 4519987"/>
              <a:gd name="connsiteY133" fmla="*/ 104775 h 4496940"/>
              <a:gd name="connsiteX134" fmla="*/ 1916452 w 4519987"/>
              <a:gd name="connsiteY134" fmla="*/ 95250 h 4496940"/>
              <a:gd name="connsiteX135" fmla="*/ 2030752 w 4519987"/>
              <a:gd name="connsiteY135" fmla="*/ 66675 h 4496940"/>
              <a:gd name="connsiteX136" fmla="*/ 2097427 w 4519987"/>
              <a:gd name="connsiteY136" fmla="*/ 47625 h 4496940"/>
              <a:gd name="connsiteX137" fmla="*/ 2164102 w 4519987"/>
              <a:gd name="connsiteY137" fmla="*/ 38100 h 4496940"/>
              <a:gd name="connsiteX138" fmla="*/ 2392702 w 4519987"/>
              <a:gd name="connsiteY13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869077 w 4519987"/>
              <a:gd name="connsiteY39" fmla="*/ 3724275 h 4496940"/>
              <a:gd name="connsiteX40" fmla="*/ 3792877 w 4519987"/>
              <a:gd name="connsiteY40" fmla="*/ 3781425 h 4496940"/>
              <a:gd name="connsiteX41" fmla="*/ 3783352 w 4519987"/>
              <a:gd name="connsiteY41" fmla="*/ 3810000 h 4496940"/>
              <a:gd name="connsiteX42" fmla="*/ 3745252 w 4519987"/>
              <a:gd name="connsiteY42" fmla="*/ 3819525 h 4496940"/>
              <a:gd name="connsiteX43" fmla="*/ 3678577 w 4519987"/>
              <a:gd name="connsiteY43" fmla="*/ 3848100 h 4496940"/>
              <a:gd name="connsiteX44" fmla="*/ 3659527 w 4519987"/>
              <a:gd name="connsiteY44" fmla="*/ 3971925 h 4496940"/>
              <a:gd name="connsiteX45" fmla="*/ 3630952 w 4519987"/>
              <a:gd name="connsiteY45" fmla="*/ 4010025 h 4496940"/>
              <a:gd name="connsiteX46" fmla="*/ 3621427 w 4519987"/>
              <a:gd name="connsiteY46" fmla="*/ 4038600 h 4496940"/>
              <a:gd name="connsiteX47" fmla="*/ 3554752 w 4519987"/>
              <a:gd name="connsiteY47" fmla="*/ 4095750 h 4496940"/>
              <a:gd name="connsiteX48" fmla="*/ 3516652 w 4519987"/>
              <a:gd name="connsiteY48" fmla="*/ 4114800 h 4496940"/>
              <a:gd name="connsiteX49" fmla="*/ 3497602 w 4519987"/>
              <a:gd name="connsiteY49" fmla="*/ 4143375 h 4496940"/>
              <a:gd name="connsiteX50" fmla="*/ 3383302 w 4519987"/>
              <a:gd name="connsiteY50" fmla="*/ 4210050 h 4496940"/>
              <a:gd name="connsiteX51" fmla="*/ 3335677 w 4519987"/>
              <a:gd name="connsiteY51" fmla="*/ 4238625 h 4496940"/>
              <a:gd name="connsiteX52" fmla="*/ 3288052 w 4519987"/>
              <a:gd name="connsiteY52" fmla="*/ 4248150 h 4496940"/>
              <a:gd name="connsiteX53" fmla="*/ 3240427 w 4519987"/>
              <a:gd name="connsiteY53" fmla="*/ 4267200 h 4496940"/>
              <a:gd name="connsiteX54" fmla="*/ 3068977 w 4519987"/>
              <a:gd name="connsiteY54" fmla="*/ 4286250 h 4496940"/>
              <a:gd name="connsiteX55" fmla="*/ 2935627 w 4519987"/>
              <a:gd name="connsiteY55" fmla="*/ 4333875 h 4496940"/>
              <a:gd name="connsiteX56" fmla="*/ 2811802 w 4519987"/>
              <a:gd name="connsiteY56" fmla="*/ 4371975 h 4496940"/>
              <a:gd name="connsiteX57" fmla="*/ 2745127 w 4519987"/>
              <a:gd name="connsiteY57" fmla="*/ 4410075 h 4496940"/>
              <a:gd name="connsiteX58" fmla="*/ 2697502 w 4519987"/>
              <a:gd name="connsiteY58" fmla="*/ 4429125 h 4496940"/>
              <a:gd name="connsiteX59" fmla="*/ 2640352 w 4519987"/>
              <a:gd name="connsiteY59" fmla="*/ 4457700 h 4496940"/>
              <a:gd name="connsiteX60" fmla="*/ 2583202 w 4519987"/>
              <a:gd name="connsiteY60" fmla="*/ 4467225 h 4496940"/>
              <a:gd name="connsiteX61" fmla="*/ 2545102 w 4519987"/>
              <a:gd name="connsiteY61" fmla="*/ 4486275 h 4496940"/>
              <a:gd name="connsiteX62" fmla="*/ 2306977 w 4519987"/>
              <a:gd name="connsiteY62" fmla="*/ 4476750 h 4496940"/>
              <a:gd name="connsiteX63" fmla="*/ 2202202 w 4519987"/>
              <a:gd name="connsiteY63" fmla="*/ 4457700 h 4496940"/>
              <a:gd name="connsiteX64" fmla="*/ 2126002 w 4519987"/>
              <a:gd name="connsiteY64" fmla="*/ 4429125 h 4496940"/>
              <a:gd name="connsiteX65" fmla="*/ 1935502 w 4519987"/>
              <a:gd name="connsiteY65" fmla="*/ 4400550 h 4496940"/>
              <a:gd name="connsiteX66" fmla="*/ 1821202 w 4519987"/>
              <a:gd name="connsiteY66" fmla="*/ 4371975 h 4496940"/>
              <a:gd name="connsiteX67" fmla="*/ 1754527 w 4519987"/>
              <a:gd name="connsiteY67" fmla="*/ 4352925 h 4496940"/>
              <a:gd name="connsiteX68" fmla="*/ 1687852 w 4519987"/>
              <a:gd name="connsiteY68" fmla="*/ 4343400 h 4496940"/>
              <a:gd name="connsiteX69" fmla="*/ 1573552 w 4519987"/>
              <a:gd name="connsiteY69" fmla="*/ 4305300 h 4496940"/>
              <a:gd name="connsiteX70" fmla="*/ 1402102 w 4519987"/>
              <a:gd name="connsiteY70" fmla="*/ 4276725 h 4496940"/>
              <a:gd name="connsiteX71" fmla="*/ 1287802 w 4519987"/>
              <a:gd name="connsiteY71" fmla="*/ 4229100 h 4496940"/>
              <a:gd name="connsiteX72" fmla="*/ 1221127 w 4519987"/>
              <a:gd name="connsiteY72" fmla="*/ 4200525 h 4496940"/>
              <a:gd name="connsiteX73" fmla="*/ 1144927 w 4519987"/>
              <a:gd name="connsiteY73" fmla="*/ 4171950 h 4496940"/>
              <a:gd name="connsiteX74" fmla="*/ 1087777 w 4519987"/>
              <a:gd name="connsiteY74" fmla="*/ 4143375 h 4496940"/>
              <a:gd name="connsiteX75" fmla="*/ 1030627 w 4519987"/>
              <a:gd name="connsiteY75" fmla="*/ 4124325 h 4496940"/>
              <a:gd name="connsiteX76" fmla="*/ 925852 w 4519987"/>
              <a:gd name="connsiteY76" fmla="*/ 4067175 h 4496940"/>
              <a:gd name="connsiteX77" fmla="*/ 830602 w 4519987"/>
              <a:gd name="connsiteY77" fmla="*/ 3981450 h 4496940"/>
              <a:gd name="connsiteX78" fmla="*/ 763927 w 4519987"/>
              <a:gd name="connsiteY78" fmla="*/ 3914775 h 4496940"/>
              <a:gd name="connsiteX79" fmla="*/ 725827 w 4519987"/>
              <a:gd name="connsiteY79" fmla="*/ 3876675 h 4496940"/>
              <a:gd name="connsiteX80" fmla="*/ 697252 w 4519987"/>
              <a:gd name="connsiteY80" fmla="*/ 3838575 h 4496940"/>
              <a:gd name="connsiteX81" fmla="*/ 640102 w 4519987"/>
              <a:gd name="connsiteY81" fmla="*/ 3781425 h 4496940"/>
              <a:gd name="connsiteX82" fmla="*/ 611527 w 4519987"/>
              <a:gd name="connsiteY82" fmla="*/ 3733800 h 4496940"/>
              <a:gd name="connsiteX83" fmla="*/ 554377 w 4519987"/>
              <a:gd name="connsiteY83" fmla="*/ 3657600 h 4496940"/>
              <a:gd name="connsiteX84" fmla="*/ 525802 w 4519987"/>
              <a:gd name="connsiteY84" fmla="*/ 3609975 h 4496940"/>
              <a:gd name="connsiteX85" fmla="*/ 497227 w 4519987"/>
              <a:gd name="connsiteY85" fmla="*/ 3552825 h 4496940"/>
              <a:gd name="connsiteX86" fmla="*/ 440077 w 4519987"/>
              <a:gd name="connsiteY86" fmla="*/ 3495675 h 4496940"/>
              <a:gd name="connsiteX87" fmla="*/ 411502 w 4519987"/>
              <a:gd name="connsiteY87" fmla="*/ 3448050 h 4496940"/>
              <a:gd name="connsiteX88" fmla="*/ 278152 w 4519987"/>
              <a:gd name="connsiteY88" fmla="*/ 3257550 h 4496940"/>
              <a:gd name="connsiteX89" fmla="*/ 249577 w 4519987"/>
              <a:gd name="connsiteY89" fmla="*/ 3200400 h 4496940"/>
              <a:gd name="connsiteX90" fmla="*/ 240052 w 4519987"/>
              <a:gd name="connsiteY90" fmla="*/ 3162300 h 4496940"/>
              <a:gd name="connsiteX91" fmla="*/ 221002 w 4519987"/>
              <a:gd name="connsiteY91" fmla="*/ 3105150 h 4496940"/>
              <a:gd name="connsiteX92" fmla="*/ 173377 w 4519987"/>
              <a:gd name="connsiteY92" fmla="*/ 3019425 h 4496940"/>
              <a:gd name="connsiteX93" fmla="*/ 144802 w 4519987"/>
              <a:gd name="connsiteY93" fmla="*/ 2924175 h 4496940"/>
              <a:gd name="connsiteX94" fmla="*/ 68602 w 4519987"/>
              <a:gd name="connsiteY94" fmla="*/ 2724150 h 4496940"/>
              <a:gd name="connsiteX95" fmla="*/ 49552 w 4519987"/>
              <a:gd name="connsiteY95" fmla="*/ 2638425 h 4496940"/>
              <a:gd name="connsiteX96" fmla="*/ 40027 w 4519987"/>
              <a:gd name="connsiteY96" fmla="*/ 2562225 h 4496940"/>
              <a:gd name="connsiteX97" fmla="*/ 30502 w 4519987"/>
              <a:gd name="connsiteY97" fmla="*/ 2514600 h 4496940"/>
              <a:gd name="connsiteX98" fmla="*/ 11452 w 4519987"/>
              <a:gd name="connsiteY98" fmla="*/ 2400300 h 4496940"/>
              <a:gd name="connsiteX99" fmla="*/ 20977 w 4519987"/>
              <a:gd name="connsiteY99" fmla="*/ 1905000 h 4496940"/>
              <a:gd name="connsiteX100" fmla="*/ 30502 w 4519987"/>
              <a:gd name="connsiteY100" fmla="*/ 1838325 h 4496940"/>
              <a:gd name="connsiteX101" fmla="*/ 49552 w 4519987"/>
              <a:gd name="connsiteY101" fmla="*/ 1781175 h 4496940"/>
              <a:gd name="connsiteX102" fmla="*/ 59077 w 4519987"/>
              <a:gd name="connsiteY102" fmla="*/ 1743075 h 4496940"/>
              <a:gd name="connsiteX103" fmla="*/ 78127 w 4519987"/>
              <a:gd name="connsiteY103" fmla="*/ 1685925 h 4496940"/>
              <a:gd name="connsiteX104" fmla="*/ 87652 w 4519987"/>
              <a:gd name="connsiteY104" fmla="*/ 1638300 h 4496940"/>
              <a:gd name="connsiteX105" fmla="*/ 106702 w 4519987"/>
              <a:gd name="connsiteY105" fmla="*/ 1590675 h 4496940"/>
              <a:gd name="connsiteX106" fmla="*/ 135277 w 4519987"/>
              <a:gd name="connsiteY106" fmla="*/ 1504950 h 4496940"/>
              <a:gd name="connsiteX107" fmla="*/ 154327 w 4519987"/>
              <a:gd name="connsiteY107" fmla="*/ 1419225 h 4496940"/>
              <a:gd name="connsiteX108" fmla="*/ 230527 w 4519987"/>
              <a:gd name="connsiteY108" fmla="*/ 1276350 h 4496940"/>
              <a:gd name="connsiteX109" fmla="*/ 240052 w 4519987"/>
              <a:gd name="connsiteY109" fmla="*/ 1247775 h 4496940"/>
              <a:gd name="connsiteX110" fmla="*/ 268627 w 4519987"/>
              <a:gd name="connsiteY110" fmla="*/ 1200150 h 4496940"/>
              <a:gd name="connsiteX111" fmla="*/ 287677 w 4519987"/>
              <a:gd name="connsiteY111" fmla="*/ 1152525 h 4496940"/>
              <a:gd name="connsiteX112" fmla="*/ 316252 w 4519987"/>
              <a:gd name="connsiteY112" fmla="*/ 1114425 h 4496940"/>
              <a:gd name="connsiteX113" fmla="*/ 363877 w 4519987"/>
              <a:gd name="connsiteY113" fmla="*/ 1038225 h 4496940"/>
              <a:gd name="connsiteX114" fmla="*/ 382927 w 4519987"/>
              <a:gd name="connsiteY114" fmla="*/ 1009650 h 4496940"/>
              <a:gd name="connsiteX115" fmla="*/ 440077 w 4519987"/>
              <a:gd name="connsiteY115" fmla="*/ 904875 h 4496940"/>
              <a:gd name="connsiteX116" fmla="*/ 478177 w 4519987"/>
              <a:gd name="connsiteY116" fmla="*/ 857250 h 4496940"/>
              <a:gd name="connsiteX117" fmla="*/ 497227 w 4519987"/>
              <a:gd name="connsiteY117" fmla="*/ 828675 h 4496940"/>
              <a:gd name="connsiteX118" fmla="*/ 535327 w 4519987"/>
              <a:gd name="connsiteY118" fmla="*/ 800100 h 4496940"/>
              <a:gd name="connsiteX119" fmla="*/ 602002 w 4519987"/>
              <a:gd name="connsiteY119" fmla="*/ 733425 h 4496940"/>
              <a:gd name="connsiteX120" fmla="*/ 668677 w 4519987"/>
              <a:gd name="connsiteY120" fmla="*/ 676275 h 4496940"/>
              <a:gd name="connsiteX121" fmla="*/ 697252 w 4519987"/>
              <a:gd name="connsiteY121" fmla="*/ 657225 h 4496940"/>
              <a:gd name="connsiteX122" fmla="*/ 840127 w 4519987"/>
              <a:gd name="connsiteY122" fmla="*/ 533400 h 4496940"/>
              <a:gd name="connsiteX123" fmla="*/ 887752 w 4519987"/>
              <a:gd name="connsiteY123" fmla="*/ 504825 h 4496940"/>
              <a:gd name="connsiteX124" fmla="*/ 1167152 w 4519987"/>
              <a:gd name="connsiteY124" fmla="*/ 311150 h 4496940"/>
              <a:gd name="connsiteX125" fmla="*/ 1268752 w 4519987"/>
              <a:gd name="connsiteY125" fmla="*/ 285750 h 4496940"/>
              <a:gd name="connsiteX126" fmla="*/ 1411627 w 4519987"/>
              <a:gd name="connsiteY126" fmla="*/ 190500 h 4496940"/>
              <a:gd name="connsiteX127" fmla="*/ 1449727 w 4519987"/>
              <a:gd name="connsiteY127" fmla="*/ 161925 h 4496940"/>
              <a:gd name="connsiteX128" fmla="*/ 1525927 w 4519987"/>
              <a:gd name="connsiteY128" fmla="*/ 152400 h 4496940"/>
              <a:gd name="connsiteX129" fmla="*/ 1583077 w 4519987"/>
              <a:gd name="connsiteY129" fmla="*/ 142875 h 4496940"/>
              <a:gd name="connsiteX130" fmla="*/ 1716427 w 4519987"/>
              <a:gd name="connsiteY130" fmla="*/ 123825 h 4496940"/>
              <a:gd name="connsiteX131" fmla="*/ 1811677 w 4519987"/>
              <a:gd name="connsiteY131" fmla="*/ 114300 h 4496940"/>
              <a:gd name="connsiteX132" fmla="*/ 1859302 w 4519987"/>
              <a:gd name="connsiteY132" fmla="*/ 104775 h 4496940"/>
              <a:gd name="connsiteX133" fmla="*/ 1916452 w 4519987"/>
              <a:gd name="connsiteY133" fmla="*/ 95250 h 4496940"/>
              <a:gd name="connsiteX134" fmla="*/ 2030752 w 4519987"/>
              <a:gd name="connsiteY134" fmla="*/ 66675 h 4496940"/>
              <a:gd name="connsiteX135" fmla="*/ 2097427 w 4519987"/>
              <a:gd name="connsiteY135" fmla="*/ 47625 h 4496940"/>
              <a:gd name="connsiteX136" fmla="*/ 2164102 w 4519987"/>
              <a:gd name="connsiteY136" fmla="*/ 38100 h 4496940"/>
              <a:gd name="connsiteX137" fmla="*/ 2392702 w 4519987"/>
              <a:gd name="connsiteY13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783352 w 4519987"/>
              <a:gd name="connsiteY40" fmla="*/ 3810000 h 4496940"/>
              <a:gd name="connsiteX41" fmla="*/ 3745252 w 4519987"/>
              <a:gd name="connsiteY41" fmla="*/ 3819525 h 4496940"/>
              <a:gd name="connsiteX42" fmla="*/ 3678577 w 4519987"/>
              <a:gd name="connsiteY42" fmla="*/ 3848100 h 4496940"/>
              <a:gd name="connsiteX43" fmla="*/ 3659527 w 4519987"/>
              <a:gd name="connsiteY43" fmla="*/ 3971925 h 4496940"/>
              <a:gd name="connsiteX44" fmla="*/ 3630952 w 4519987"/>
              <a:gd name="connsiteY44" fmla="*/ 4010025 h 4496940"/>
              <a:gd name="connsiteX45" fmla="*/ 3621427 w 4519987"/>
              <a:gd name="connsiteY45" fmla="*/ 4038600 h 4496940"/>
              <a:gd name="connsiteX46" fmla="*/ 3554752 w 4519987"/>
              <a:gd name="connsiteY46" fmla="*/ 4095750 h 4496940"/>
              <a:gd name="connsiteX47" fmla="*/ 3516652 w 4519987"/>
              <a:gd name="connsiteY47" fmla="*/ 4114800 h 4496940"/>
              <a:gd name="connsiteX48" fmla="*/ 3497602 w 4519987"/>
              <a:gd name="connsiteY48" fmla="*/ 4143375 h 4496940"/>
              <a:gd name="connsiteX49" fmla="*/ 3383302 w 4519987"/>
              <a:gd name="connsiteY49" fmla="*/ 4210050 h 4496940"/>
              <a:gd name="connsiteX50" fmla="*/ 3335677 w 4519987"/>
              <a:gd name="connsiteY50" fmla="*/ 4238625 h 4496940"/>
              <a:gd name="connsiteX51" fmla="*/ 3288052 w 4519987"/>
              <a:gd name="connsiteY51" fmla="*/ 4248150 h 4496940"/>
              <a:gd name="connsiteX52" fmla="*/ 3240427 w 4519987"/>
              <a:gd name="connsiteY52" fmla="*/ 4267200 h 4496940"/>
              <a:gd name="connsiteX53" fmla="*/ 3068977 w 4519987"/>
              <a:gd name="connsiteY53" fmla="*/ 4286250 h 4496940"/>
              <a:gd name="connsiteX54" fmla="*/ 2935627 w 4519987"/>
              <a:gd name="connsiteY54" fmla="*/ 4333875 h 4496940"/>
              <a:gd name="connsiteX55" fmla="*/ 2811802 w 4519987"/>
              <a:gd name="connsiteY55" fmla="*/ 4371975 h 4496940"/>
              <a:gd name="connsiteX56" fmla="*/ 2745127 w 4519987"/>
              <a:gd name="connsiteY56" fmla="*/ 4410075 h 4496940"/>
              <a:gd name="connsiteX57" fmla="*/ 2697502 w 4519987"/>
              <a:gd name="connsiteY57" fmla="*/ 4429125 h 4496940"/>
              <a:gd name="connsiteX58" fmla="*/ 2640352 w 4519987"/>
              <a:gd name="connsiteY58" fmla="*/ 4457700 h 4496940"/>
              <a:gd name="connsiteX59" fmla="*/ 2583202 w 4519987"/>
              <a:gd name="connsiteY59" fmla="*/ 4467225 h 4496940"/>
              <a:gd name="connsiteX60" fmla="*/ 2545102 w 4519987"/>
              <a:gd name="connsiteY60" fmla="*/ 4486275 h 4496940"/>
              <a:gd name="connsiteX61" fmla="*/ 2306977 w 4519987"/>
              <a:gd name="connsiteY61" fmla="*/ 4476750 h 4496940"/>
              <a:gd name="connsiteX62" fmla="*/ 2202202 w 4519987"/>
              <a:gd name="connsiteY62" fmla="*/ 4457700 h 4496940"/>
              <a:gd name="connsiteX63" fmla="*/ 2126002 w 4519987"/>
              <a:gd name="connsiteY63" fmla="*/ 4429125 h 4496940"/>
              <a:gd name="connsiteX64" fmla="*/ 1935502 w 4519987"/>
              <a:gd name="connsiteY64" fmla="*/ 4400550 h 4496940"/>
              <a:gd name="connsiteX65" fmla="*/ 1821202 w 4519987"/>
              <a:gd name="connsiteY65" fmla="*/ 4371975 h 4496940"/>
              <a:gd name="connsiteX66" fmla="*/ 1754527 w 4519987"/>
              <a:gd name="connsiteY66" fmla="*/ 4352925 h 4496940"/>
              <a:gd name="connsiteX67" fmla="*/ 1687852 w 4519987"/>
              <a:gd name="connsiteY67" fmla="*/ 4343400 h 4496940"/>
              <a:gd name="connsiteX68" fmla="*/ 1573552 w 4519987"/>
              <a:gd name="connsiteY68" fmla="*/ 4305300 h 4496940"/>
              <a:gd name="connsiteX69" fmla="*/ 1402102 w 4519987"/>
              <a:gd name="connsiteY69" fmla="*/ 4276725 h 4496940"/>
              <a:gd name="connsiteX70" fmla="*/ 1287802 w 4519987"/>
              <a:gd name="connsiteY70" fmla="*/ 4229100 h 4496940"/>
              <a:gd name="connsiteX71" fmla="*/ 1221127 w 4519987"/>
              <a:gd name="connsiteY71" fmla="*/ 4200525 h 4496940"/>
              <a:gd name="connsiteX72" fmla="*/ 1144927 w 4519987"/>
              <a:gd name="connsiteY72" fmla="*/ 4171950 h 4496940"/>
              <a:gd name="connsiteX73" fmla="*/ 1087777 w 4519987"/>
              <a:gd name="connsiteY73" fmla="*/ 4143375 h 4496940"/>
              <a:gd name="connsiteX74" fmla="*/ 1030627 w 4519987"/>
              <a:gd name="connsiteY74" fmla="*/ 4124325 h 4496940"/>
              <a:gd name="connsiteX75" fmla="*/ 925852 w 4519987"/>
              <a:gd name="connsiteY75" fmla="*/ 4067175 h 4496940"/>
              <a:gd name="connsiteX76" fmla="*/ 830602 w 4519987"/>
              <a:gd name="connsiteY76" fmla="*/ 3981450 h 4496940"/>
              <a:gd name="connsiteX77" fmla="*/ 763927 w 4519987"/>
              <a:gd name="connsiteY77" fmla="*/ 3914775 h 4496940"/>
              <a:gd name="connsiteX78" fmla="*/ 725827 w 4519987"/>
              <a:gd name="connsiteY78" fmla="*/ 3876675 h 4496940"/>
              <a:gd name="connsiteX79" fmla="*/ 697252 w 4519987"/>
              <a:gd name="connsiteY79" fmla="*/ 3838575 h 4496940"/>
              <a:gd name="connsiteX80" fmla="*/ 640102 w 4519987"/>
              <a:gd name="connsiteY80" fmla="*/ 3781425 h 4496940"/>
              <a:gd name="connsiteX81" fmla="*/ 611527 w 4519987"/>
              <a:gd name="connsiteY81" fmla="*/ 3733800 h 4496940"/>
              <a:gd name="connsiteX82" fmla="*/ 554377 w 4519987"/>
              <a:gd name="connsiteY82" fmla="*/ 3657600 h 4496940"/>
              <a:gd name="connsiteX83" fmla="*/ 525802 w 4519987"/>
              <a:gd name="connsiteY83" fmla="*/ 3609975 h 4496940"/>
              <a:gd name="connsiteX84" fmla="*/ 497227 w 4519987"/>
              <a:gd name="connsiteY84" fmla="*/ 3552825 h 4496940"/>
              <a:gd name="connsiteX85" fmla="*/ 440077 w 4519987"/>
              <a:gd name="connsiteY85" fmla="*/ 3495675 h 4496940"/>
              <a:gd name="connsiteX86" fmla="*/ 411502 w 4519987"/>
              <a:gd name="connsiteY86" fmla="*/ 3448050 h 4496940"/>
              <a:gd name="connsiteX87" fmla="*/ 278152 w 4519987"/>
              <a:gd name="connsiteY87" fmla="*/ 3257550 h 4496940"/>
              <a:gd name="connsiteX88" fmla="*/ 249577 w 4519987"/>
              <a:gd name="connsiteY88" fmla="*/ 3200400 h 4496940"/>
              <a:gd name="connsiteX89" fmla="*/ 240052 w 4519987"/>
              <a:gd name="connsiteY89" fmla="*/ 3162300 h 4496940"/>
              <a:gd name="connsiteX90" fmla="*/ 221002 w 4519987"/>
              <a:gd name="connsiteY90" fmla="*/ 3105150 h 4496940"/>
              <a:gd name="connsiteX91" fmla="*/ 173377 w 4519987"/>
              <a:gd name="connsiteY91" fmla="*/ 3019425 h 4496940"/>
              <a:gd name="connsiteX92" fmla="*/ 144802 w 4519987"/>
              <a:gd name="connsiteY92" fmla="*/ 2924175 h 4496940"/>
              <a:gd name="connsiteX93" fmla="*/ 68602 w 4519987"/>
              <a:gd name="connsiteY93" fmla="*/ 2724150 h 4496940"/>
              <a:gd name="connsiteX94" fmla="*/ 49552 w 4519987"/>
              <a:gd name="connsiteY94" fmla="*/ 2638425 h 4496940"/>
              <a:gd name="connsiteX95" fmla="*/ 40027 w 4519987"/>
              <a:gd name="connsiteY95" fmla="*/ 2562225 h 4496940"/>
              <a:gd name="connsiteX96" fmla="*/ 30502 w 4519987"/>
              <a:gd name="connsiteY96" fmla="*/ 2514600 h 4496940"/>
              <a:gd name="connsiteX97" fmla="*/ 11452 w 4519987"/>
              <a:gd name="connsiteY97" fmla="*/ 2400300 h 4496940"/>
              <a:gd name="connsiteX98" fmla="*/ 20977 w 4519987"/>
              <a:gd name="connsiteY98" fmla="*/ 1905000 h 4496940"/>
              <a:gd name="connsiteX99" fmla="*/ 30502 w 4519987"/>
              <a:gd name="connsiteY99" fmla="*/ 1838325 h 4496940"/>
              <a:gd name="connsiteX100" fmla="*/ 49552 w 4519987"/>
              <a:gd name="connsiteY100" fmla="*/ 1781175 h 4496940"/>
              <a:gd name="connsiteX101" fmla="*/ 59077 w 4519987"/>
              <a:gd name="connsiteY101" fmla="*/ 1743075 h 4496940"/>
              <a:gd name="connsiteX102" fmla="*/ 78127 w 4519987"/>
              <a:gd name="connsiteY102" fmla="*/ 1685925 h 4496940"/>
              <a:gd name="connsiteX103" fmla="*/ 87652 w 4519987"/>
              <a:gd name="connsiteY103" fmla="*/ 1638300 h 4496940"/>
              <a:gd name="connsiteX104" fmla="*/ 106702 w 4519987"/>
              <a:gd name="connsiteY104" fmla="*/ 1590675 h 4496940"/>
              <a:gd name="connsiteX105" fmla="*/ 135277 w 4519987"/>
              <a:gd name="connsiteY105" fmla="*/ 1504950 h 4496940"/>
              <a:gd name="connsiteX106" fmla="*/ 154327 w 4519987"/>
              <a:gd name="connsiteY106" fmla="*/ 1419225 h 4496940"/>
              <a:gd name="connsiteX107" fmla="*/ 230527 w 4519987"/>
              <a:gd name="connsiteY107" fmla="*/ 1276350 h 4496940"/>
              <a:gd name="connsiteX108" fmla="*/ 240052 w 4519987"/>
              <a:gd name="connsiteY108" fmla="*/ 1247775 h 4496940"/>
              <a:gd name="connsiteX109" fmla="*/ 268627 w 4519987"/>
              <a:gd name="connsiteY109" fmla="*/ 1200150 h 4496940"/>
              <a:gd name="connsiteX110" fmla="*/ 287677 w 4519987"/>
              <a:gd name="connsiteY110" fmla="*/ 1152525 h 4496940"/>
              <a:gd name="connsiteX111" fmla="*/ 316252 w 4519987"/>
              <a:gd name="connsiteY111" fmla="*/ 1114425 h 4496940"/>
              <a:gd name="connsiteX112" fmla="*/ 363877 w 4519987"/>
              <a:gd name="connsiteY112" fmla="*/ 1038225 h 4496940"/>
              <a:gd name="connsiteX113" fmla="*/ 382927 w 4519987"/>
              <a:gd name="connsiteY113" fmla="*/ 1009650 h 4496940"/>
              <a:gd name="connsiteX114" fmla="*/ 440077 w 4519987"/>
              <a:gd name="connsiteY114" fmla="*/ 904875 h 4496940"/>
              <a:gd name="connsiteX115" fmla="*/ 478177 w 4519987"/>
              <a:gd name="connsiteY115" fmla="*/ 857250 h 4496940"/>
              <a:gd name="connsiteX116" fmla="*/ 497227 w 4519987"/>
              <a:gd name="connsiteY116" fmla="*/ 828675 h 4496940"/>
              <a:gd name="connsiteX117" fmla="*/ 535327 w 4519987"/>
              <a:gd name="connsiteY117" fmla="*/ 800100 h 4496940"/>
              <a:gd name="connsiteX118" fmla="*/ 602002 w 4519987"/>
              <a:gd name="connsiteY118" fmla="*/ 733425 h 4496940"/>
              <a:gd name="connsiteX119" fmla="*/ 668677 w 4519987"/>
              <a:gd name="connsiteY119" fmla="*/ 676275 h 4496940"/>
              <a:gd name="connsiteX120" fmla="*/ 697252 w 4519987"/>
              <a:gd name="connsiteY120" fmla="*/ 657225 h 4496940"/>
              <a:gd name="connsiteX121" fmla="*/ 840127 w 4519987"/>
              <a:gd name="connsiteY121" fmla="*/ 533400 h 4496940"/>
              <a:gd name="connsiteX122" fmla="*/ 887752 w 4519987"/>
              <a:gd name="connsiteY122" fmla="*/ 504825 h 4496940"/>
              <a:gd name="connsiteX123" fmla="*/ 1167152 w 4519987"/>
              <a:gd name="connsiteY123" fmla="*/ 311150 h 4496940"/>
              <a:gd name="connsiteX124" fmla="*/ 1268752 w 4519987"/>
              <a:gd name="connsiteY124" fmla="*/ 285750 h 4496940"/>
              <a:gd name="connsiteX125" fmla="*/ 1411627 w 4519987"/>
              <a:gd name="connsiteY125" fmla="*/ 190500 h 4496940"/>
              <a:gd name="connsiteX126" fmla="*/ 1449727 w 4519987"/>
              <a:gd name="connsiteY126" fmla="*/ 161925 h 4496940"/>
              <a:gd name="connsiteX127" fmla="*/ 1525927 w 4519987"/>
              <a:gd name="connsiteY127" fmla="*/ 152400 h 4496940"/>
              <a:gd name="connsiteX128" fmla="*/ 1583077 w 4519987"/>
              <a:gd name="connsiteY128" fmla="*/ 142875 h 4496940"/>
              <a:gd name="connsiteX129" fmla="*/ 1716427 w 4519987"/>
              <a:gd name="connsiteY129" fmla="*/ 123825 h 4496940"/>
              <a:gd name="connsiteX130" fmla="*/ 1811677 w 4519987"/>
              <a:gd name="connsiteY130" fmla="*/ 114300 h 4496940"/>
              <a:gd name="connsiteX131" fmla="*/ 1859302 w 4519987"/>
              <a:gd name="connsiteY131" fmla="*/ 104775 h 4496940"/>
              <a:gd name="connsiteX132" fmla="*/ 1916452 w 4519987"/>
              <a:gd name="connsiteY132" fmla="*/ 95250 h 4496940"/>
              <a:gd name="connsiteX133" fmla="*/ 2030752 w 4519987"/>
              <a:gd name="connsiteY133" fmla="*/ 66675 h 4496940"/>
              <a:gd name="connsiteX134" fmla="*/ 2097427 w 4519987"/>
              <a:gd name="connsiteY134" fmla="*/ 47625 h 4496940"/>
              <a:gd name="connsiteX135" fmla="*/ 2164102 w 4519987"/>
              <a:gd name="connsiteY135" fmla="*/ 38100 h 4496940"/>
              <a:gd name="connsiteX136" fmla="*/ 2392702 w 4519987"/>
              <a:gd name="connsiteY13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783352 w 4519987"/>
              <a:gd name="connsiteY40" fmla="*/ 3810000 h 4496940"/>
              <a:gd name="connsiteX41" fmla="*/ 3678577 w 4519987"/>
              <a:gd name="connsiteY41" fmla="*/ 3848100 h 4496940"/>
              <a:gd name="connsiteX42" fmla="*/ 3659527 w 4519987"/>
              <a:gd name="connsiteY42" fmla="*/ 3971925 h 4496940"/>
              <a:gd name="connsiteX43" fmla="*/ 3630952 w 4519987"/>
              <a:gd name="connsiteY43" fmla="*/ 4010025 h 4496940"/>
              <a:gd name="connsiteX44" fmla="*/ 3621427 w 4519987"/>
              <a:gd name="connsiteY44" fmla="*/ 4038600 h 4496940"/>
              <a:gd name="connsiteX45" fmla="*/ 3554752 w 4519987"/>
              <a:gd name="connsiteY45" fmla="*/ 4095750 h 4496940"/>
              <a:gd name="connsiteX46" fmla="*/ 3516652 w 4519987"/>
              <a:gd name="connsiteY46" fmla="*/ 4114800 h 4496940"/>
              <a:gd name="connsiteX47" fmla="*/ 3497602 w 4519987"/>
              <a:gd name="connsiteY47" fmla="*/ 4143375 h 4496940"/>
              <a:gd name="connsiteX48" fmla="*/ 3383302 w 4519987"/>
              <a:gd name="connsiteY48" fmla="*/ 4210050 h 4496940"/>
              <a:gd name="connsiteX49" fmla="*/ 3335677 w 4519987"/>
              <a:gd name="connsiteY49" fmla="*/ 4238625 h 4496940"/>
              <a:gd name="connsiteX50" fmla="*/ 3288052 w 4519987"/>
              <a:gd name="connsiteY50" fmla="*/ 4248150 h 4496940"/>
              <a:gd name="connsiteX51" fmla="*/ 3240427 w 4519987"/>
              <a:gd name="connsiteY51" fmla="*/ 4267200 h 4496940"/>
              <a:gd name="connsiteX52" fmla="*/ 3068977 w 4519987"/>
              <a:gd name="connsiteY52" fmla="*/ 4286250 h 4496940"/>
              <a:gd name="connsiteX53" fmla="*/ 2935627 w 4519987"/>
              <a:gd name="connsiteY53" fmla="*/ 4333875 h 4496940"/>
              <a:gd name="connsiteX54" fmla="*/ 2811802 w 4519987"/>
              <a:gd name="connsiteY54" fmla="*/ 4371975 h 4496940"/>
              <a:gd name="connsiteX55" fmla="*/ 2745127 w 4519987"/>
              <a:gd name="connsiteY55" fmla="*/ 4410075 h 4496940"/>
              <a:gd name="connsiteX56" fmla="*/ 2697502 w 4519987"/>
              <a:gd name="connsiteY56" fmla="*/ 4429125 h 4496940"/>
              <a:gd name="connsiteX57" fmla="*/ 2640352 w 4519987"/>
              <a:gd name="connsiteY57" fmla="*/ 4457700 h 4496940"/>
              <a:gd name="connsiteX58" fmla="*/ 2583202 w 4519987"/>
              <a:gd name="connsiteY58" fmla="*/ 4467225 h 4496940"/>
              <a:gd name="connsiteX59" fmla="*/ 2545102 w 4519987"/>
              <a:gd name="connsiteY59" fmla="*/ 4486275 h 4496940"/>
              <a:gd name="connsiteX60" fmla="*/ 2306977 w 4519987"/>
              <a:gd name="connsiteY60" fmla="*/ 4476750 h 4496940"/>
              <a:gd name="connsiteX61" fmla="*/ 2202202 w 4519987"/>
              <a:gd name="connsiteY61" fmla="*/ 4457700 h 4496940"/>
              <a:gd name="connsiteX62" fmla="*/ 2126002 w 4519987"/>
              <a:gd name="connsiteY62" fmla="*/ 4429125 h 4496940"/>
              <a:gd name="connsiteX63" fmla="*/ 1935502 w 4519987"/>
              <a:gd name="connsiteY63" fmla="*/ 4400550 h 4496940"/>
              <a:gd name="connsiteX64" fmla="*/ 1821202 w 4519987"/>
              <a:gd name="connsiteY64" fmla="*/ 4371975 h 4496940"/>
              <a:gd name="connsiteX65" fmla="*/ 1754527 w 4519987"/>
              <a:gd name="connsiteY65" fmla="*/ 4352925 h 4496940"/>
              <a:gd name="connsiteX66" fmla="*/ 1687852 w 4519987"/>
              <a:gd name="connsiteY66" fmla="*/ 4343400 h 4496940"/>
              <a:gd name="connsiteX67" fmla="*/ 1573552 w 4519987"/>
              <a:gd name="connsiteY67" fmla="*/ 4305300 h 4496940"/>
              <a:gd name="connsiteX68" fmla="*/ 1402102 w 4519987"/>
              <a:gd name="connsiteY68" fmla="*/ 4276725 h 4496940"/>
              <a:gd name="connsiteX69" fmla="*/ 1287802 w 4519987"/>
              <a:gd name="connsiteY69" fmla="*/ 4229100 h 4496940"/>
              <a:gd name="connsiteX70" fmla="*/ 1221127 w 4519987"/>
              <a:gd name="connsiteY70" fmla="*/ 4200525 h 4496940"/>
              <a:gd name="connsiteX71" fmla="*/ 1144927 w 4519987"/>
              <a:gd name="connsiteY71" fmla="*/ 4171950 h 4496940"/>
              <a:gd name="connsiteX72" fmla="*/ 1087777 w 4519987"/>
              <a:gd name="connsiteY72" fmla="*/ 4143375 h 4496940"/>
              <a:gd name="connsiteX73" fmla="*/ 1030627 w 4519987"/>
              <a:gd name="connsiteY73" fmla="*/ 4124325 h 4496940"/>
              <a:gd name="connsiteX74" fmla="*/ 925852 w 4519987"/>
              <a:gd name="connsiteY74" fmla="*/ 4067175 h 4496940"/>
              <a:gd name="connsiteX75" fmla="*/ 830602 w 4519987"/>
              <a:gd name="connsiteY75" fmla="*/ 3981450 h 4496940"/>
              <a:gd name="connsiteX76" fmla="*/ 763927 w 4519987"/>
              <a:gd name="connsiteY76" fmla="*/ 3914775 h 4496940"/>
              <a:gd name="connsiteX77" fmla="*/ 725827 w 4519987"/>
              <a:gd name="connsiteY77" fmla="*/ 3876675 h 4496940"/>
              <a:gd name="connsiteX78" fmla="*/ 697252 w 4519987"/>
              <a:gd name="connsiteY78" fmla="*/ 3838575 h 4496940"/>
              <a:gd name="connsiteX79" fmla="*/ 640102 w 4519987"/>
              <a:gd name="connsiteY79" fmla="*/ 3781425 h 4496940"/>
              <a:gd name="connsiteX80" fmla="*/ 611527 w 4519987"/>
              <a:gd name="connsiteY80" fmla="*/ 3733800 h 4496940"/>
              <a:gd name="connsiteX81" fmla="*/ 554377 w 4519987"/>
              <a:gd name="connsiteY81" fmla="*/ 3657600 h 4496940"/>
              <a:gd name="connsiteX82" fmla="*/ 525802 w 4519987"/>
              <a:gd name="connsiteY82" fmla="*/ 3609975 h 4496940"/>
              <a:gd name="connsiteX83" fmla="*/ 497227 w 4519987"/>
              <a:gd name="connsiteY83" fmla="*/ 3552825 h 4496940"/>
              <a:gd name="connsiteX84" fmla="*/ 440077 w 4519987"/>
              <a:gd name="connsiteY84" fmla="*/ 3495675 h 4496940"/>
              <a:gd name="connsiteX85" fmla="*/ 411502 w 4519987"/>
              <a:gd name="connsiteY85" fmla="*/ 3448050 h 4496940"/>
              <a:gd name="connsiteX86" fmla="*/ 278152 w 4519987"/>
              <a:gd name="connsiteY86" fmla="*/ 3257550 h 4496940"/>
              <a:gd name="connsiteX87" fmla="*/ 249577 w 4519987"/>
              <a:gd name="connsiteY87" fmla="*/ 3200400 h 4496940"/>
              <a:gd name="connsiteX88" fmla="*/ 240052 w 4519987"/>
              <a:gd name="connsiteY88" fmla="*/ 3162300 h 4496940"/>
              <a:gd name="connsiteX89" fmla="*/ 221002 w 4519987"/>
              <a:gd name="connsiteY89" fmla="*/ 3105150 h 4496940"/>
              <a:gd name="connsiteX90" fmla="*/ 173377 w 4519987"/>
              <a:gd name="connsiteY90" fmla="*/ 3019425 h 4496940"/>
              <a:gd name="connsiteX91" fmla="*/ 144802 w 4519987"/>
              <a:gd name="connsiteY91" fmla="*/ 2924175 h 4496940"/>
              <a:gd name="connsiteX92" fmla="*/ 68602 w 4519987"/>
              <a:gd name="connsiteY92" fmla="*/ 2724150 h 4496940"/>
              <a:gd name="connsiteX93" fmla="*/ 49552 w 4519987"/>
              <a:gd name="connsiteY93" fmla="*/ 2638425 h 4496940"/>
              <a:gd name="connsiteX94" fmla="*/ 40027 w 4519987"/>
              <a:gd name="connsiteY94" fmla="*/ 2562225 h 4496940"/>
              <a:gd name="connsiteX95" fmla="*/ 30502 w 4519987"/>
              <a:gd name="connsiteY95" fmla="*/ 2514600 h 4496940"/>
              <a:gd name="connsiteX96" fmla="*/ 11452 w 4519987"/>
              <a:gd name="connsiteY96" fmla="*/ 2400300 h 4496940"/>
              <a:gd name="connsiteX97" fmla="*/ 20977 w 4519987"/>
              <a:gd name="connsiteY97" fmla="*/ 1905000 h 4496940"/>
              <a:gd name="connsiteX98" fmla="*/ 30502 w 4519987"/>
              <a:gd name="connsiteY98" fmla="*/ 1838325 h 4496940"/>
              <a:gd name="connsiteX99" fmla="*/ 49552 w 4519987"/>
              <a:gd name="connsiteY99" fmla="*/ 1781175 h 4496940"/>
              <a:gd name="connsiteX100" fmla="*/ 59077 w 4519987"/>
              <a:gd name="connsiteY100" fmla="*/ 1743075 h 4496940"/>
              <a:gd name="connsiteX101" fmla="*/ 78127 w 4519987"/>
              <a:gd name="connsiteY101" fmla="*/ 1685925 h 4496940"/>
              <a:gd name="connsiteX102" fmla="*/ 87652 w 4519987"/>
              <a:gd name="connsiteY102" fmla="*/ 1638300 h 4496940"/>
              <a:gd name="connsiteX103" fmla="*/ 106702 w 4519987"/>
              <a:gd name="connsiteY103" fmla="*/ 1590675 h 4496940"/>
              <a:gd name="connsiteX104" fmla="*/ 135277 w 4519987"/>
              <a:gd name="connsiteY104" fmla="*/ 1504950 h 4496940"/>
              <a:gd name="connsiteX105" fmla="*/ 154327 w 4519987"/>
              <a:gd name="connsiteY105" fmla="*/ 1419225 h 4496940"/>
              <a:gd name="connsiteX106" fmla="*/ 230527 w 4519987"/>
              <a:gd name="connsiteY106" fmla="*/ 1276350 h 4496940"/>
              <a:gd name="connsiteX107" fmla="*/ 240052 w 4519987"/>
              <a:gd name="connsiteY107" fmla="*/ 1247775 h 4496940"/>
              <a:gd name="connsiteX108" fmla="*/ 268627 w 4519987"/>
              <a:gd name="connsiteY108" fmla="*/ 1200150 h 4496940"/>
              <a:gd name="connsiteX109" fmla="*/ 287677 w 4519987"/>
              <a:gd name="connsiteY109" fmla="*/ 1152525 h 4496940"/>
              <a:gd name="connsiteX110" fmla="*/ 316252 w 4519987"/>
              <a:gd name="connsiteY110" fmla="*/ 1114425 h 4496940"/>
              <a:gd name="connsiteX111" fmla="*/ 363877 w 4519987"/>
              <a:gd name="connsiteY111" fmla="*/ 1038225 h 4496940"/>
              <a:gd name="connsiteX112" fmla="*/ 382927 w 4519987"/>
              <a:gd name="connsiteY112" fmla="*/ 1009650 h 4496940"/>
              <a:gd name="connsiteX113" fmla="*/ 440077 w 4519987"/>
              <a:gd name="connsiteY113" fmla="*/ 904875 h 4496940"/>
              <a:gd name="connsiteX114" fmla="*/ 478177 w 4519987"/>
              <a:gd name="connsiteY114" fmla="*/ 857250 h 4496940"/>
              <a:gd name="connsiteX115" fmla="*/ 497227 w 4519987"/>
              <a:gd name="connsiteY115" fmla="*/ 828675 h 4496940"/>
              <a:gd name="connsiteX116" fmla="*/ 535327 w 4519987"/>
              <a:gd name="connsiteY116" fmla="*/ 800100 h 4496940"/>
              <a:gd name="connsiteX117" fmla="*/ 602002 w 4519987"/>
              <a:gd name="connsiteY117" fmla="*/ 733425 h 4496940"/>
              <a:gd name="connsiteX118" fmla="*/ 668677 w 4519987"/>
              <a:gd name="connsiteY118" fmla="*/ 676275 h 4496940"/>
              <a:gd name="connsiteX119" fmla="*/ 697252 w 4519987"/>
              <a:gd name="connsiteY119" fmla="*/ 657225 h 4496940"/>
              <a:gd name="connsiteX120" fmla="*/ 840127 w 4519987"/>
              <a:gd name="connsiteY120" fmla="*/ 533400 h 4496940"/>
              <a:gd name="connsiteX121" fmla="*/ 887752 w 4519987"/>
              <a:gd name="connsiteY121" fmla="*/ 504825 h 4496940"/>
              <a:gd name="connsiteX122" fmla="*/ 1167152 w 4519987"/>
              <a:gd name="connsiteY122" fmla="*/ 311150 h 4496940"/>
              <a:gd name="connsiteX123" fmla="*/ 1268752 w 4519987"/>
              <a:gd name="connsiteY123" fmla="*/ 285750 h 4496940"/>
              <a:gd name="connsiteX124" fmla="*/ 1411627 w 4519987"/>
              <a:gd name="connsiteY124" fmla="*/ 190500 h 4496940"/>
              <a:gd name="connsiteX125" fmla="*/ 1449727 w 4519987"/>
              <a:gd name="connsiteY125" fmla="*/ 161925 h 4496940"/>
              <a:gd name="connsiteX126" fmla="*/ 1525927 w 4519987"/>
              <a:gd name="connsiteY126" fmla="*/ 152400 h 4496940"/>
              <a:gd name="connsiteX127" fmla="*/ 1583077 w 4519987"/>
              <a:gd name="connsiteY127" fmla="*/ 142875 h 4496940"/>
              <a:gd name="connsiteX128" fmla="*/ 1716427 w 4519987"/>
              <a:gd name="connsiteY128" fmla="*/ 123825 h 4496940"/>
              <a:gd name="connsiteX129" fmla="*/ 1811677 w 4519987"/>
              <a:gd name="connsiteY129" fmla="*/ 114300 h 4496940"/>
              <a:gd name="connsiteX130" fmla="*/ 1859302 w 4519987"/>
              <a:gd name="connsiteY130" fmla="*/ 104775 h 4496940"/>
              <a:gd name="connsiteX131" fmla="*/ 1916452 w 4519987"/>
              <a:gd name="connsiteY131" fmla="*/ 95250 h 4496940"/>
              <a:gd name="connsiteX132" fmla="*/ 2030752 w 4519987"/>
              <a:gd name="connsiteY132" fmla="*/ 66675 h 4496940"/>
              <a:gd name="connsiteX133" fmla="*/ 2097427 w 4519987"/>
              <a:gd name="connsiteY133" fmla="*/ 47625 h 4496940"/>
              <a:gd name="connsiteX134" fmla="*/ 2164102 w 4519987"/>
              <a:gd name="connsiteY134" fmla="*/ 38100 h 4496940"/>
              <a:gd name="connsiteX135" fmla="*/ 2392702 w 4519987"/>
              <a:gd name="connsiteY13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678577 w 4519987"/>
              <a:gd name="connsiteY40" fmla="*/ 3848100 h 4496940"/>
              <a:gd name="connsiteX41" fmla="*/ 3659527 w 4519987"/>
              <a:gd name="connsiteY41" fmla="*/ 3971925 h 4496940"/>
              <a:gd name="connsiteX42" fmla="*/ 3630952 w 4519987"/>
              <a:gd name="connsiteY42" fmla="*/ 4010025 h 4496940"/>
              <a:gd name="connsiteX43" fmla="*/ 3621427 w 4519987"/>
              <a:gd name="connsiteY43" fmla="*/ 4038600 h 4496940"/>
              <a:gd name="connsiteX44" fmla="*/ 3554752 w 4519987"/>
              <a:gd name="connsiteY44" fmla="*/ 4095750 h 4496940"/>
              <a:gd name="connsiteX45" fmla="*/ 3516652 w 4519987"/>
              <a:gd name="connsiteY45" fmla="*/ 4114800 h 4496940"/>
              <a:gd name="connsiteX46" fmla="*/ 3497602 w 4519987"/>
              <a:gd name="connsiteY46" fmla="*/ 4143375 h 4496940"/>
              <a:gd name="connsiteX47" fmla="*/ 3383302 w 4519987"/>
              <a:gd name="connsiteY47" fmla="*/ 4210050 h 4496940"/>
              <a:gd name="connsiteX48" fmla="*/ 3335677 w 4519987"/>
              <a:gd name="connsiteY48" fmla="*/ 4238625 h 4496940"/>
              <a:gd name="connsiteX49" fmla="*/ 3288052 w 4519987"/>
              <a:gd name="connsiteY49" fmla="*/ 4248150 h 4496940"/>
              <a:gd name="connsiteX50" fmla="*/ 3240427 w 4519987"/>
              <a:gd name="connsiteY50" fmla="*/ 4267200 h 4496940"/>
              <a:gd name="connsiteX51" fmla="*/ 3068977 w 4519987"/>
              <a:gd name="connsiteY51" fmla="*/ 4286250 h 4496940"/>
              <a:gd name="connsiteX52" fmla="*/ 2935627 w 4519987"/>
              <a:gd name="connsiteY52" fmla="*/ 4333875 h 4496940"/>
              <a:gd name="connsiteX53" fmla="*/ 2811802 w 4519987"/>
              <a:gd name="connsiteY53" fmla="*/ 4371975 h 4496940"/>
              <a:gd name="connsiteX54" fmla="*/ 2745127 w 4519987"/>
              <a:gd name="connsiteY54" fmla="*/ 4410075 h 4496940"/>
              <a:gd name="connsiteX55" fmla="*/ 2697502 w 4519987"/>
              <a:gd name="connsiteY55" fmla="*/ 4429125 h 4496940"/>
              <a:gd name="connsiteX56" fmla="*/ 2640352 w 4519987"/>
              <a:gd name="connsiteY56" fmla="*/ 4457700 h 4496940"/>
              <a:gd name="connsiteX57" fmla="*/ 2583202 w 4519987"/>
              <a:gd name="connsiteY57" fmla="*/ 4467225 h 4496940"/>
              <a:gd name="connsiteX58" fmla="*/ 2545102 w 4519987"/>
              <a:gd name="connsiteY58" fmla="*/ 4486275 h 4496940"/>
              <a:gd name="connsiteX59" fmla="*/ 2306977 w 4519987"/>
              <a:gd name="connsiteY59" fmla="*/ 4476750 h 4496940"/>
              <a:gd name="connsiteX60" fmla="*/ 2202202 w 4519987"/>
              <a:gd name="connsiteY60" fmla="*/ 4457700 h 4496940"/>
              <a:gd name="connsiteX61" fmla="*/ 2126002 w 4519987"/>
              <a:gd name="connsiteY61" fmla="*/ 4429125 h 4496940"/>
              <a:gd name="connsiteX62" fmla="*/ 1935502 w 4519987"/>
              <a:gd name="connsiteY62" fmla="*/ 4400550 h 4496940"/>
              <a:gd name="connsiteX63" fmla="*/ 1821202 w 4519987"/>
              <a:gd name="connsiteY63" fmla="*/ 4371975 h 4496940"/>
              <a:gd name="connsiteX64" fmla="*/ 1754527 w 4519987"/>
              <a:gd name="connsiteY64" fmla="*/ 4352925 h 4496940"/>
              <a:gd name="connsiteX65" fmla="*/ 1687852 w 4519987"/>
              <a:gd name="connsiteY65" fmla="*/ 4343400 h 4496940"/>
              <a:gd name="connsiteX66" fmla="*/ 1573552 w 4519987"/>
              <a:gd name="connsiteY66" fmla="*/ 4305300 h 4496940"/>
              <a:gd name="connsiteX67" fmla="*/ 1402102 w 4519987"/>
              <a:gd name="connsiteY67" fmla="*/ 4276725 h 4496940"/>
              <a:gd name="connsiteX68" fmla="*/ 1287802 w 4519987"/>
              <a:gd name="connsiteY68" fmla="*/ 4229100 h 4496940"/>
              <a:gd name="connsiteX69" fmla="*/ 1221127 w 4519987"/>
              <a:gd name="connsiteY69" fmla="*/ 4200525 h 4496940"/>
              <a:gd name="connsiteX70" fmla="*/ 1144927 w 4519987"/>
              <a:gd name="connsiteY70" fmla="*/ 4171950 h 4496940"/>
              <a:gd name="connsiteX71" fmla="*/ 1087777 w 4519987"/>
              <a:gd name="connsiteY71" fmla="*/ 4143375 h 4496940"/>
              <a:gd name="connsiteX72" fmla="*/ 1030627 w 4519987"/>
              <a:gd name="connsiteY72" fmla="*/ 4124325 h 4496940"/>
              <a:gd name="connsiteX73" fmla="*/ 925852 w 4519987"/>
              <a:gd name="connsiteY73" fmla="*/ 4067175 h 4496940"/>
              <a:gd name="connsiteX74" fmla="*/ 830602 w 4519987"/>
              <a:gd name="connsiteY74" fmla="*/ 3981450 h 4496940"/>
              <a:gd name="connsiteX75" fmla="*/ 763927 w 4519987"/>
              <a:gd name="connsiteY75" fmla="*/ 3914775 h 4496940"/>
              <a:gd name="connsiteX76" fmla="*/ 725827 w 4519987"/>
              <a:gd name="connsiteY76" fmla="*/ 3876675 h 4496940"/>
              <a:gd name="connsiteX77" fmla="*/ 697252 w 4519987"/>
              <a:gd name="connsiteY77" fmla="*/ 3838575 h 4496940"/>
              <a:gd name="connsiteX78" fmla="*/ 640102 w 4519987"/>
              <a:gd name="connsiteY78" fmla="*/ 3781425 h 4496940"/>
              <a:gd name="connsiteX79" fmla="*/ 611527 w 4519987"/>
              <a:gd name="connsiteY79" fmla="*/ 3733800 h 4496940"/>
              <a:gd name="connsiteX80" fmla="*/ 554377 w 4519987"/>
              <a:gd name="connsiteY80" fmla="*/ 3657600 h 4496940"/>
              <a:gd name="connsiteX81" fmla="*/ 525802 w 4519987"/>
              <a:gd name="connsiteY81" fmla="*/ 3609975 h 4496940"/>
              <a:gd name="connsiteX82" fmla="*/ 497227 w 4519987"/>
              <a:gd name="connsiteY82" fmla="*/ 3552825 h 4496940"/>
              <a:gd name="connsiteX83" fmla="*/ 440077 w 4519987"/>
              <a:gd name="connsiteY83" fmla="*/ 3495675 h 4496940"/>
              <a:gd name="connsiteX84" fmla="*/ 411502 w 4519987"/>
              <a:gd name="connsiteY84" fmla="*/ 3448050 h 4496940"/>
              <a:gd name="connsiteX85" fmla="*/ 278152 w 4519987"/>
              <a:gd name="connsiteY85" fmla="*/ 3257550 h 4496940"/>
              <a:gd name="connsiteX86" fmla="*/ 249577 w 4519987"/>
              <a:gd name="connsiteY86" fmla="*/ 3200400 h 4496940"/>
              <a:gd name="connsiteX87" fmla="*/ 240052 w 4519987"/>
              <a:gd name="connsiteY87" fmla="*/ 3162300 h 4496940"/>
              <a:gd name="connsiteX88" fmla="*/ 221002 w 4519987"/>
              <a:gd name="connsiteY88" fmla="*/ 3105150 h 4496940"/>
              <a:gd name="connsiteX89" fmla="*/ 173377 w 4519987"/>
              <a:gd name="connsiteY89" fmla="*/ 3019425 h 4496940"/>
              <a:gd name="connsiteX90" fmla="*/ 144802 w 4519987"/>
              <a:gd name="connsiteY90" fmla="*/ 2924175 h 4496940"/>
              <a:gd name="connsiteX91" fmla="*/ 68602 w 4519987"/>
              <a:gd name="connsiteY91" fmla="*/ 2724150 h 4496940"/>
              <a:gd name="connsiteX92" fmla="*/ 49552 w 4519987"/>
              <a:gd name="connsiteY92" fmla="*/ 2638425 h 4496940"/>
              <a:gd name="connsiteX93" fmla="*/ 40027 w 4519987"/>
              <a:gd name="connsiteY93" fmla="*/ 2562225 h 4496940"/>
              <a:gd name="connsiteX94" fmla="*/ 30502 w 4519987"/>
              <a:gd name="connsiteY94" fmla="*/ 2514600 h 4496940"/>
              <a:gd name="connsiteX95" fmla="*/ 11452 w 4519987"/>
              <a:gd name="connsiteY95" fmla="*/ 2400300 h 4496940"/>
              <a:gd name="connsiteX96" fmla="*/ 20977 w 4519987"/>
              <a:gd name="connsiteY96" fmla="*/ 1905000 h 4496940"/>
              <a:gd name="connsiteX97" fmla="*/ 30502 w 4519987"/>
              <a:gd name="connsiteY97" fmla="*/ 1838325 h 4496940"/>
              <a:gd name="connsiteX98" fmla="*/ 49552 w 4519987"/>
              <a:gd name="connsiteY98" fmla="*/ 1781175 h 4496940"/>
              <a:gd name="connsiteX99" fmla="*/ 59077 w 4519987"/>
              <a:gd name="connsiteY99" fmla="*/ 1743075 h 4496940"/>
              <a:gd name="connsiteX100" fmla="*/ 78127 w 4519987"/>
              <a:gd name="connsiteY100" fmla="*/ 1685925 h 4496940"/>
              <a:gd name="connsiteX101" fmla="*/ 87652 w 4519987"/>
              <a:gd name="connsiteY101" fmla="*/ 1638300 h 4496940"/>
              <a:gd name="connsiteX102" fmla="*/ 106702 w 4519987"/>
              <a:gd name="connsiteY102" fmla="*/ 1590675 h 4496940"/>
              <a:gd name="connsiteX103" fmla="*/ 135277 w 4519987"/>
              <a:gd name="connsiteY103" fmla="*/ 1504950 h 4496940"/>
              <a:gd name="connsiteX104" fmla="*/ 154327 w 4519987"/>
              <a:gd name="connsiteY104" fmla="*/ 1419225 h 4496940"/>
              <a:gd name="connsiteX105" fmla="*/ 230527 w 4519987"/>
              <a:gd name="connsiteY105" fmla="*/ 1276350 h 4496940"/>
              <a:gd name="connsiteX106" fmla="*/ 240052 w 4519987"/>
              <a:gd name="connsiteY106" fmla="*/ 1247775 h 4496940"/>
              <a:gd name="connsiteX107" fmla="*/ 268627 w 4519987"/>
              <a:gd name="connsiteY107" fmla="*/ 1200150 h 4496940"/>
              <a:gd name="connsiteX108" fmla="*/ 287677 w 4519987"/>
              <a:gd name="connsiteY108" fmla="*/ 1152525 h 4496940"/>
              <a:gd name="connsiteX109" fmla="*/ 316252 w 4519987"/>
              <a:gd name="connsiteY109" fmla="*/ 1114425 h 4496940"/>
              <a:gd name="connsiteX110" fmla="*/ 363877 w 4519987"/>
              <a:gd name="connsiteY110" fmla="*/ 1038225 h 4496940"/>
              <a:gd name="connsiteX111" fmla="*/ 382927 w 4519987"/>
              <a:gd name="connsiteY111" fmla="*/ 1009650 h 4496940"/>
              <a:gd name="connsiteX112" fmla="*/ 440077 w 4519987"/>
              <a:gd name="connsiteY112" fmla="*/ 904875 h 4496940"/>
              <a:gd name="connsiteX113" fmla="*/ 478177 w 4519987"/>
              <a:gd name="connsiteY113" fmla="*/ 857250 h 4496940"/>
              <a:gd name="connsiteX114" fmla="*/ 497227 w 4519987"/>
              <a:gd name="connsiteY114" fmla="*/ 828675 h 4496940"/>
              <a:gd name="connsiteX115" fmla="*/ 535327 w 4519987"/>
              <a:gd name="connsiteY115" fmla="*/ 800100 h 4496940"/>
              <a:gd name="connsiteX116" fmla="*/ 602002 w 4519987"/>
              <a:gd name="connsiteY116" fmla="*/ 733425 h 4496940"/>
              <a:gd name="connsiteX117" fmla="*/ 668677 w 4519987"/>
              <a:gd name="connsiteY117" fmla="*/ 676275 h 4496940"/>
              <a:gd name="connsiteX118" fmla="*/ 697252 w 4519987"/>
              <a:gd name="connsiteY118" fmla="*/ 657225 h 4496940"/>
              <a:gd name="connsiteX119" fmla="*/ 840127 w 4519987"/>
              <a:gd name="connsiteY119" fmla="*/ 533400 h 4496940"/>
              <a:gd name="connsiteX120" fmla="*/ 887752 w 4519987"/>
              <a:gd name="connsiteY120" fmla="*/ 504825 h 4496940"/>
              <a:gd name="connsiteX121" fmla="*/ 1167152 w 4519987"/>
              <a:gd name="connsiteY121" fmla="*/ 311150 h 4496940"/>
              <a:gd name="connsiteX122" fmla="*/ 1268752 w 4519987"/>
              <a:gd name="connsiteY122" fmla="*/ 285750 h 4496940"/>
              <a:gd name="connsiteX123" fmla="*/ 1411627 w 4519987"/>
              <a:gd name="connsiteY123" fmla="*/ 190500 h 4496940"/>
              <a:gd name="connsiteX124" fmla="*/ 1449727 w 4519987"/>
              <a:gd name="connsiteY124" fmla="*/ 161925 h 4496940"/>
              <a:gd name="connsiteX125" fmla="*/ 1525927 w 4519987"/>
              <a:gd name="connsiteY125" fmla="*/ 152400 h 4496940"/>
              <a:gd name="connsiteX126" fmla="*/ 1583077 w 4519987"/>
              <a:gd name="connsiteY126" fmla="*/ 142875 h 4496940"/>
              <a:gd name="connsiteX127" fmla="*/ 1716427 w 4519987"/>
              <a:gd name="connsiteY127" fmla="*/ 123825 h 4496940"/>
              <a:gd name="connsiteX128" fmla="*/ 1811677 w 4519987"/>
              <a:gd name="connsiteY128" fmla="*/ 114300 h 4496940"/>
              <a:gd name="connsiteX129" fmla="*/ 1859302 w 4519987"/>
              <a:gd name="connsiteY129" fmla="*/ 104775 h 4496940"/>
              <a:gd name="connsiteX130" fmla="*/ 1916452 w 4519987"/>
              <a:gd name="connsiteY130" fmla="*/ 95250 h 4496940"/>
              <a:gd name="connsiteX131" fmla="*/ 2030752 w 4519987"/>
              <a:gd name="connsiteY131" fmla="*/ 66675 h 4496940"/>
              <a:gd name="connsiteX132" fmla="*/ 2097427 w 4519987"/>
              <a:gd name="connsiteY132" fmla="*/ 47625 h 4496940"/>
              <a:gd name="connsiteX133" fmla="*/ 2164102 w 4519987"/>
              <a:gd name="connsiteY133" fmla="*/ 38100 h 4496940"/>
              <a:gd name="connsiteX134" fmla="*/ 2392702 w 4519987"/>
              <a:gd name="connsiteY13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659527 w 4519987"/>
              <a:gd name="connsiteY40" fmla="*/ 3971925 h 4496940"/>
              <a:gd name="connsiteX41" fmla="*/ 3630952 w 4519987"/>
              <a:gd name="connsiteY41" fmla="*/ 4010025 h 4496940"/>
              <a:gd name="connsiteX42" fmla="*/ 3621427 w 4519987"/>
              <a:gd name="connsiteY42" fmla="*/ 4038600 h 4496940"/>
              <a:gd name="connsiteX43" fmla="*/ 3554752 w 4519987"/>
              <a:gd name="connsiteY43" fmla="*/ 4095750 h 4496940"/>
              <a:gd name="connsiteX44" fmla="*/ 3516652 w 4519987"/>
              <a:gd name="connsiteY44" fmla="*/ 4114800 h 4496940"/>
              <a:gd name="connsiteX45" fmla="*/ 3497602 w 4519987"/>
              <a:gd name="connsiteY45" fmla="*/ 4143375 h 4496940"/>
              <a:gd name="connsiteX46" fmla="*/ 3383302 w 4519987"/>
              <a:gd name="connsiteY46" fmla="*/ 4210050 h 4496940"/>
              <a:gd name="connsiteX47" fmla="*/ 3335677 w 4519987"/>
              <a:gd name="connsiteY47" fmla="*/ 4238625 h 4496940"/>
              <a:gd name="connsiteX48" fmla="*/ 3288052 w 4519987"/>
              <a:gd name="connsiteY48" fmla="*/ 4248150 h 4496940"/>
              <a:gd name="connsiteX49" fmla="*/ 3240427 w 4519987"/>
              <a:gd name="connsiteY49" fmla="*/ 4267200 h 4496940"/>
              <a:gd name="connsiteX50" fmla="*/ 3068977 w 4519987"/>
              <a:gd name="connsiteY50" fmla="*/ 4286250 h 4496940"/>
              <a:gd name="connsiteX51" fmla="*/ 2935627 w 4519987"/>
              <a:gd name="connsiteY51" fmla="*/ 4333875 h 4496940"/>
              <a:gd name="connsiteX52" fmla="*/ 2811802 w 4519987"/>
              <a:gd name="connsiteY52" fmla="*/ 4371975 h 4496940"/>
              <a:gd name="connsiteX53" fmla="*/ 2745127 w 4519987"/>
              <a:gd name="connsiteY53" fmla="*/ 4410075 h 4496940"/>
              <a:gd name="connsiteX54" fmla="*/ 2697502 w 4519987"/>
              <a:gd name="connsiteY54" fmla="*/ 4429125 h 4496940"/>
              <a:gd name="connsiteX55" fmla="*/ 2640352 w 4519987"/>
              <a:gd name="connsiteY55" fmla="*/ 4457700 h 4496940"/>
              <a:gd name="connsiteX56" fmla="*/ 2583202 w 4519987"/>
              <a:gd name="connsiteY56" fmla="*/ 4467225 h 4496940"/>
              <a:gd name="connsiteX57" fmla="*/ 2545102 w 4519987"/>
              <a:gd name="connsiteY57" fmla="*/ 4486275 h 4496940"/>
              <a:gd name="connsiteX58" fmla="*/ 2306977 w 4519987"/>
              <a:gd name="connsiteY58" fmla="*/ 4476750 h 4496940"/>
              <a:gd name="connsiteX59" fmla="*/ 2202202 w 4519987"/>
              <a:gd name="connsiteY59" fmla="*/ 4457700 h 4496940"/>
              <a:gd name="connsiteX60" fmla="*/ 2126002 w 4519987"/>
              <a:gd name="connsiteY60" fmla="*/ 4429125 h 4496940"/>
              <a:gd name="connsiteX61" fmla="*/ 1935502 w 4519987"/>
              <a:gd name="connsiteY61" fmla="*/ 4400550 h 4496940"/>
              <a:gd name="connsiteX62" fmla="*/ 1821202 w 4519987"/>
              <a:gd name="connsiteY62" fmla="*/ 4371975 h 4496940"/>
              <a:gd name="connsiteX63" fmla="*/ 1754527 w 4519987"/>
              <a:gd name="connsiteY63" fmla="*/ 4352925 h 4496940"/>
              <a:gd name="connsiteX64" fmla="*/ 1687852 w 4519987"/>
              <a:gd name="connsiteY64" fmla="*/ 4343400 h 4496940"/>
              <a:gd name="connsiteX65" fmla="*/ 1573552 w 4519987"/>
              <a:gd name="connsiteY65" fmla="*/ 4305300 h 4496940"/>
              <a:gd name="connsiteX66" fmla="*/ 1402102 w 4519987"/>
              <a:gd name="connsiteY66" fmla="*/ 4276725 h 4496940"/>
              <a:gd name="connsiteX67" fmla="*/ 1287802 w 4519987"/>
              <a:gd name="connsiteY67" fmla="*/ 4229100 h 4496940"/>
              <a:gd name="connsiteX68" fmla="*/ 1221127 w 4519987"/>
              <a:gd name="connsiteY68" fmla="*/ 4200525 h 4496940"/>
              <a:gd name="connsiteX69" fmla="*/ 1144927 w 4519987"/>
              <a:gd name="connsiteY69" fmla="*/ 4171950 h 4496940"/>
              <a:gd name="connsiteX70" fmla="*/ 1087777 w 4519987"/>
              <a:gd name="connsiteY70" fmla="*/ 4143375 h 4496940"/>
              <a:gd name="connsiteX71" fmla="*/ 1030627 w 4519987"/>
              <a:gd name="connsiteY71" fmla="*/ 4124325 h 4496940"/>
              <a:gd name="connsiteX72" fmla="*/ 925852 w 4519987"/>
              <a:gd name="connsiteY72" fmla="*/ 4067175 h 4496940"/>
              <a:gd name="connsiteX73" fmla="*/ 830602 w 4519987"/>
              <a:gd name="connsiteY73" fmla="*/ 3981450 h 4496940"/>
              <a:gd name="connsiteX74" fmla="*/ 763927 w 4519987"/>
              <a:gd name="connsiteY74" fmla="*/ 3914775 h 4496940"/>
              <a:gd name="connsiteX75" fmla="*/ 725827 w 4519987"/>
              <a:gd name="connsiteY75" fmla="*/ 3876675 h 4496940"/>
              <a:gd name="connsiteX76" fmla="*/ 697252 w 4519987"/>
              <a:gd name="connsiteY76" fmla="*/ 3838575 h 4496940"/>
              <a:gd name="connsiteX77" fmla="*/ 640102 w 4519987"/>
              <a:gd name="connsiteY77" fmla="*/ 3781425 h 4496940"/>
              <a:gd name="connsiteX78" fmla="*/ 611527 w 4519987"/>
              <a:gd name="connsiteY78" fmla="*/ 3733800 h 4496940"/>
              <a:gd name="connsiteX79" fmla="*/ 554377 w 4519987"/>
              <a:gd name="connsiteY79" fmla="*/ 3657600 h 4496940"/>
              <a:gd name="connsiteX80" fmla="*/ 525802 w 4519987"/>
              <a:gd name="connsiteY80" fmla="*/ 3609975 h 4496940"/>
              <a:gd name="connsiteX81" fmla="*/ 497227 w 4519987"/>
              <a:gd name="connsiteY81" fmla="*/ 3552825 h 4496940"/>
              <a:gd name="connsiteX82" fmla="*/ 440077 w 4519987"/>
              <a:gd name="connsiteY82" fmla="*/ 3495675 h 4496940"/>
              <a:gd name="connsiteX83" fmla="*/ 411502 w 4519987"/>
              <a:gd name="connsiteY83" fmla="*/ 3448050 h 4496940"/>
              <a:gd name="connsiteX84" fmla="*/ 278152 w 4519987"/>
              <a:gd name="connsiteY84" fmla="*/ 3257550 h 4496940"/>
              <a:gd name="connsiteX85" fmla="*/ 249577 w 4519987"/>
              <a:gd name="connsiteY85" fmla="*/ 3200400 h 4496940"/>
              <a:gd name="connsiteX86" fmla="*/ 240052 w 4519987"/>
              <a:gd name="connsiteY86" fmla="*/ 3162300 h 4496940"/>
              <a:gd name="connsiteX87" fmla="*/ 221002 w 4519987"/>
              <a:gd name="connsiteY87" fmla="*/ 3105150 h 4496940"/>
              <a:gd name="connsiteX88" fmla="*/ 173377 w 4519987"/>
              <a:gd name="connsiteY88" fmla="*/ 3019425 h 4496940"/>
              <a:gd name="connsiteX89" fmla="*/ 144802 w 4519987"/>
              <a:gd name="connsiteY89" fmla="*/ 2924175 h 4496940"/>
              <a:gd name="connsiteX90" fmla="*/ 68602 w 4519987"/>
              <a:gd name="connsiteY90" fmla="*/ 2724150 h 4496940"/>
              <a:gd name="connsiteX91" fmla="*/ 49552 w 4519987"/>
              <a:gd name="connsiteY91" fmla="*/ 2638425 h 4496940"/>
              <a:gd name="connsiteX92" fmla="*/ 40027 w 4519987"/>
              <a:gd name="connsiteY92" fmla="*/ 2562225 h 4496940"/>
              <a:gd name="connsiteX93" fmla="*/ 30502 w 4519987"/>
              <a:gd name="connsiteY93" fmla="*/ 2514600 h 4496940"/>
              <a:gd name="connsiteX94" fmla="*/ 11452 w 4519987"/>
              <a:gd name="connsiteY94" fmla="*/ 2400300 h 4496940"/>
              <a:gd name="connsiteX95" fmla="*/ 20977 w 4519987"/>
              <a:gd name="connsiteY95" fmla="*/ 1905000 h 4496940"/>
              <a:gd name="connsiteX96" fmla="*/ 30502 w 4519987"/>
              <a:gd name="connsiteY96" fmla="*/ 1838325 h 4496940"/>
              <a:gd name="connsiteX97" fmla="*/ 49552 w 4519987"/>
              <a:gd name="connsiteY97" fmla="*/ 1781175 h 4496940"/>
              <a:gd name="connsiteX98" fmla="*/ 59077 w 4519987"/>
              <a:gd name="connsiteY98" fmla="*/ 1743075 h 4496940"/>
              <a:gd name="connsiteX99" fmla="*/ 78127 w 4519987"/>
              <a:gd name="connsiteY99" fmla="*/ 1685925 h 4496940"/>
              <a:gd name="connsiteX100" fmla="*/ 87652 w 4519987"/>
              <a:gd name="connsiteY100" fmla="*/ 1638300 h 4496940"/>
              <a:gd name="connsiteX101" fmla="*/ 106702 w 4519987"/>
              <a:gd name="connsiteY101" fmla="*/ 1590675 h 4496940"/>
              <a:gd name="connsiteX102" fmla="*/ 135277 w 4519987"/>
              <a:gd name="connsiteY102" fmla="*/ 1504950 h 4496940"/>
              <a:gd name="connsiteX103" fmla="*/ 154327 w 4519987"/>
              <a:gd name="connsiteY103" fmla="*/ 1419225 h 4496940"/>
              <a:gd name="connsiteX104" fmla="*/ 230527 w 4519987"/>
              <a:gd name="connsiteY104" fmla="*/ 1276350 h 4496940"/>
              <a:gd name="connsiteX105" fmla="*/ 240052 w 4519987"/>
              <a:gd name="connsiteY105" fmla="*/ 1247775 h 4496940"/>
              <a:gd name="connsiteX106" fmla="*/ 268627 w 4519987"/>
              <a:gd name="connsiteY106" fmla="*/ 1200150 h 4496940"/>
              <a:gd name="connsiteX107" fmla="*/ 287677 w 4519987"/>
              <a:gd name="connsiteY107" fmla="*/ 1152525 h 4496940"/>
              <a:gd name="connsiteX108" fmla="*/ 316252 w 4519987"/>
              <a:gd name="connsiteY108" fmla="*/ 1114425 h 4496940"/>
              <a:gd name="connsiteX109" fmla="*/ 363877 w 4519987"/>
              <a:gd name="connsiteY109" fmla="*/ 1038225 h 4496940"/>
              <a:gd name="connsiteX110" fmla="*/ 382927 w 4519987"/>
              <a:gd name="connsiteY110" fmla="*/ 1009650 h 4496940"/>
              <a:gd name="connsiteX111" fmla="*/ 440077 w 4519987"/>
              <a:gd name="connsiteY111" fmla="*/ 904875 h 4496940"/>
              <a:gd name="connsiteX112" fmla="*/ 478177 w 4519987"/>
              <a:gd name="connsiteY112" fmla="*/ 857250 h 4496940"/>
              <a:gd name="connsiteX113" fmla="*/ 497227 w 4519987"/>
              <a:gd name="connsiteY113" fmla="*/ 828675 h 4496940"/>
              <a:gd name="connsiteX114" fmla="*/ 535327 w 4519987"/>
              <a:gd name="connsiteY114" fmla="*/ 800100 h 4496940"/>
              <a:gd name="connsiteX115" fmla="*/ 602002 w 4519987"/>
              <a:gd name="connsiteY115" fmla="*/ 733425 h 4496940"/>
              <a:gd name="connsiteX116" fmla="*/ 668677 w 4519987"/>
              <a:gd name="connsiteY116" fmla="*/ 676275 h 4496940"/>
              <a:gd name="connsiteX117" fmla="*/ 697252 w 4519987"/>
              <a:gd name="connsiteY117" fmla="*/ 657225 h 4496940"/>
              <a:gd name="connsiteX118" fmla="*/ 840127 w 4519987"/>
              <a:gd name="connsiteY118" fmla="*/ 533400 h 4496940"/>
              <a:gd name="connsiteX119" fmla="*/ 887752 w 4519987"/>
              <a:gd name="connsiteY119" fmla="*/ 504825 h 4496940"/>
              <a:gd name="connsiteX120" fmla="*/ 1167152 w 4519987"/>
              <a:gd name="connsiteY120" fmla="*/ 311150 h 4496940"/>
              <a:gd name="connsiteX121" fmla="*/ 1268752 w 4519987"/>
              <a:gd name="connsiteY121" fmla="*/ 285750 h 4496940"/>
              <a:gd name="connsiteX122" fmla="*/ 1411627 w 4519987"/>
              <a:gd name="connsiteY122" fmla="*/ 190500 h 4496940"/>
              <a:gd name="connsiteX123" fmla="*/ 1449727 w 4519987"/>
              <a:gd name="connsiteY123" fmla="*/ 161925 h 4496940"/>
              <a:gd name="connsiteX124" fmla="*/ 1525927 w 4519987"/>
              <a:gd name="connsiteY124" fmla="*/ 152400 h 4496940"/>
              <a:gd name="connsiteX125" fmla="*/ 1583077 w 4519987"/>
              <a:gd name="connsiteY125" fmla="*/ 142875 h 4496940"/>
              <a:gd name="connsiteX126" fmla="*/ 1716427 w 4519987"/>
              <a:gd name="connsiteY126" fmla="*/ 123825 h 4496940"/>
              <a:gd name="connsiteX127" fmla="*/ 1811677 w 4519987"/>
              <a:gd name="connsiteY127" fmla="*/ 114300 h 4496940"/>
              <a:gd name="connsiteX128" fmla="*/ 1859302 w 4519987"/>
              <a:gd name="connsiteY128" fmla="*/ 104775 h 4496940"/>
              <a:gd name="connsiteX129" fmla="*/ 1916452 w 4519987"/>
              <a:gd name="connsiteY129" fmla="*/ 95250 h 4496940"/>
              <a:gd name="connsiteX130" fmla="*/ 2030752 w 4519987"/>
              <a:gd name="connsiteY130" fmla="*/ 66675 h 4496940"/>
              <a:gd name="connsiteX131" fmla="*/ 2097427 w 4519987"/>
              <a:gd name="connsiteY131" fmla="*/ 47625 h 4496940"/>
              <a:gd name="connsiteX132" fmla="*/ 2164102 w 4519987"/>
              <a:gd name="connsiteY132" fmla="*/ 38100 h 4496940"/>
              <a:gd name="connsiteX133" fmla="*/ 2392702 w 4519987"/>
              <a:gd name="connsiteY13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659527 w 4519987"/>
              <a:gd name="connsiteY39" fmla="*/ 3971925 h 4496940"/>
              <a:gd name="connsiteX40" fmla="*/ 3630952 w 4519987"/>
              <a:gd name="connsiteY40" fmla="*/ 4010025 h 4496940"/>
              <a:gd name="connsiteX41" fmla="*/ 3621427 w 4519987"/>
              <a:gd name="connsiteY41" fmla="*/ 4038600 h 4496940"/>
              <a:gd name="connsiteX42" fmla="*/ 3554752 w 4519987"/>
              <a:gd name="connsiteY42" fmla="*/ 4095750 h 4496940"/>
              <a:gd name="connsiteX43" fmla="*/ 3516652 w 4519987"/>
              <a:gd name="connsiteY43" fmla="*/ 4114800 h 4496940"/>
              <a:gd name="connsiteX44" fmla="*/ 3497602 w 4519987"/>
              <a:gd name="connsiteY44" fmla="*/ 4143375 h 4496940"/>
              <a:gd name="connsiteX45" fmla="*/ 3383302 w 4519987"/>
              <a:gd name="connsiteY45" fmla="*/ 4210050 h 4496940"/>
              <a:gd name="connsiteX46" fmla="*/ 3335677 w 4519987"/>
              <a:gd name="connsiteY46" fmla="*/ 4238625 h 4496940"/>
              <a:gd name="connsiteX47" fmla="*/ 3288052 w 4519987"/>
              <a:gd name="connsiteY47" fmla="*/ 4248150 h 4496940"/>
              <a:gd name="connsiteX48" fmla="*/ 3240427 w 4519987"/>
              <a:gd name="connsiteY48" fmla="*/ 4267200 h 4496940"/>
              <a:gd name="connsiteX49" fmla="*/ 3068977 w 4519987"/>
              <a:gd name="connsiteY49" fmla="*/ 4286250 h 4496940"/>
              <a:gd name="connsiteX50" fmla="*/ 2935627 w 4519987"/>
              <a:gd name="connsiteY50" fmla="*/ 4333875 h 4496940"/>
              <a:gd name="connsiteX51" fmla="*/ 2811802 w 4519987"/>
              <a:gd name="connsiteY51" fmla="*/ 4371975 h 4496940"/>
              <a:gd name="connsiteX52" fmla="*/ 2745127 w 4519987"/>
              <a:gd name="connsiteY52" fmla="*/ 4410075 h 4496940"/>
              <a:gd name="connsiteX53" fmla="*/ 2697502 w 4519987"/>
              <a:gd name="connsiteY53" fmla="*/ 4429125 h 4496940"/>
              <a:gd name="connsiteX54" fmla="*/ 2640352 w 4519987"/>
              <a:gd name="connsiteY54" fmla="*/ 4457700 h 4496940"/>
              <a:gd name="connsiteX55" fmla="*/ 2583202 w 4519987"/>
              <a:gd name="connsiteY55" fmla="*/ 4467225 h 4496940"/>
              <a:gd name="connsiteX56" fmla="*/ 2545102 w 4519987"/>
              <a:gd name="connsiteY56" fmla="*/ 4486275 h 4496940"/>
              <a:gd name="connsiteX57" fmla="*/ 2306977 w 4519987"/>
              <a:gd name="connsiteY57" fmla="*/ 4476750 h 4496940"/>
              <a:gd name="connsiteX58" fmla="*/ 2202202 w 4519987"/>
              <a:gd name="connsiteY58" fmla="*/ 4457700 h 4496940"/>
              <a:gd name="connsiteX59" fmla="*/ 2126002 w 4519987"/>
              <a:gd name="connsiteY59" fmla="*/ 4429125 h 4496940"/>
              <a:gd name="connsiteX60" fmla="*/ 1935502 w 4519987"/>
              <a:gd name="connsiteY60" fmla="*/ 4400550 h 4496940"/>
              <a:gd name="connsiteX61" fmla="*/ 1821202 w 4519987"/>
              <a:gd name="connsiteY61" fmla="*/ 4371975 h 4496940"/>
              <a:gd name="connsiteX62" fmla="*/ 1754527 w 4519987"/>
              <a:gd name="connsiteY62" fmla="*/ 4352925 h 4496940"/>
              <a:gd name="connsiteX63" fmla="*/ 1687852 w 4519987"/>
              <a:gd name="connsiteY63" fmla="*/ 4343400 h 4496940"/>
              <a:gd name="connsiteX64" fmla="*/ 1573552 w 4519987"/>
              <a:gd name="connsiteY64" fmla="*/ 4305300 h 4496940"/>
              <a:gd name="connsiteX65" fmla="*/ 1402102 w 4519987"/>
              <a:gd name="connsiteY65" fmla="*/ 4276725 h 4496940"/>
              <a:gd name="connsiteX66" fmla="*/ 1287802 w 4519987"/>
              <a:gd name="connsiteY66" fmla="*/ 4229100 h 4496940"/>
              <a:gd name="connsiteX67" fmla="*/ 1221127 w 4519987"/>
              <a:gd name="connsiteY67" fmla="*/ 4200525 h 4496940"/>
              <a:gd name="connsiteX68" fmla="*/ 1144927 w 4519987"/>
              <a:gd name="connsiteY68" fmla="*/ 4171950 h 4496940"/>
              <a:gd name="connsiteX69" fmla="*/ 1087777 w 4519987"/>
              <a:gd name="connsiteY69" fmla="*/ 4143375 h 4496940"/>
              <a:gd name="connsiteX70" fmla="*/ 1030627 w 4519987"/>
              <a:gd name="connsiteY70" fmla="*/ 4124325 h 4496940"/>
              <a:gd name="connsiteX71" fmla="*/ 925852 w 4519987"/>
              <a:gd name="connsiteY71" fmla="*/ 4067175 h 4496940"/>
              <a:gd name="connsiteX72" fmla="*/ 830602 w 4519987"/>
              <a:gd name="connsiteY72" fmla="*/ 3981450 h 4496940"/>
              <a:gd name="connsiteX73" fmla="*/ 763927 w 4519987"/>
              <a:gd name="connsiteY73" fmla="*/ 3914775 h 4496940"/>
              <a:gd name="connsiteX74" fmla="*/ 725827 w 4519987"/>
              <a:gd name="connsiteY74" fmla="*/ 3876675 h 4496940"/>
              <a:gd name="connsiteX75" fmla="*/ 697252 w 4519987"/>
              <a:gd name="connsiteY75" fmla="*/ 3838575 h 4496940"/>
              <a:gd name="connsiteX76" fmla="*/ 640102 w 4519987"/>
              <a:gd name="connsiteY76" fmla="*/ 3781425 h 4496940"/>
              <a:gd name="connsiteX77" fmla="*/ 611527 w 4519987"/>
              <a:gd name="connsiteY77" fmla="*/ 3733800 h 4496940"/>
              <a:gd name="connsiteX78" fmla="*/ 554377 w 4519987"/>
              <a:gd name="connsiteY78" fmla="*/ 3657600 h 4496940"/>
              <a:gd name="connsiteX79" fmla="*/ 525802 w 4519987"/>
              <a:gd name="connsiteY79" fmla="*/ 3609975 h 4496940"/>
              <a:gd name="connsiteX80" fmla="*/ 497227 w 4519987"/>
              <a:gd name="connsiteY80" fmla="*/ 3552825 h 4496940"/>
              <a:gd name="connsiteX81" fmla="*/ 440077 w 4519987"/>
              <a:gd name="connsiteY81" fmla="*/ 3495675 h 4496940"/>
              <a:gd name="connsiteX82" fmla="*/ 411502 w 4519987"/>
              <a:gd name="connsiteY82" fmla="*/ 3448050 h 4496940"/>
              <a:gd name="connsiteX83" fmla="*/ 278152 w 4519987"/>
              <a:gd name="connsiteY83" fmla="*/ 3257550 h 4496940"/>
              <a:gd name="connsiteX84" fmla="*/ 249577 w 4519987"/>
              <a:gd name="connsiteY84" fmla="*/ 3200400 h 4496940"/>
              <a:gd name="connsiteX85" fmla="*/ 240052 w 4519987"/>
              <a:gd name="connsiteY85" fmla="*/ 3162300 h 4496940"/>
              <a:gd name="connsiteX86" fmla="*/ 221002 w 4519987"/>
              <a:gd name="connsiteY86" fmla="*/ 3105150 h 4496940"/>
              <a:gd name="connsiteX87" fmla="*/ 173377 w 4519987"/>
              <a:gd name="connsiteY87" fmla="*/ 3019425 h 4496940"/>
              <a:gd name="connsiteX88" fmla="*/ 144802 w 4519987"/>
              <a:gd name="connsiteY88" fmla="*/ 2924175 h 4496940"/>
              <a:gd name="connsiteX89" fmla="*/ 68602 w 4519987"/>
              <a:gd name="connsiteY89" fmla="*/ 2724150 h 4496940"/>
              <a:gd name="connsiteX90" fmla="*/ 49552 w 4519987"/>
              <a:gd name="connsiteY90" fmla="*/ 2638425 h 4496940"/>
              <a:gd name="connsiteX91" fmla="*/ 40027 w 4519987"/>
              <a:gd name="connsiteY91" fmla="*/ 2562225 h 4496940"/>
              <a:gd name="connsiteX92" fmla="*/ 30502 w 4519987"/>
              <a:gd name="connsiteY92" fmla="*/ 2514600 h 4496940"/>
              <a:gd name="connsiteX93" fmla="*/ 11452 w 4519987"/>
              <a:gd name="connsiteY93" fmla="*/ 2400300 h 4496940"/>
              <a:gd name="connsiteX94" fmla="*/ 20977 w 4519987"/>
              <a:gd name="connsiteY94" fmla="*/ 1905000 h 4496940"/>
              <a:gd name="connsiteX95" fmla="*/ 30502 w 4519987"/>
              <a:gd name="connsiteY95" fmla="*/ 1838325 h 4496940"/>
              <a:gd name="connsiteX96" fmla="*/ 49552 w 4519987"/>
              <a:gd name="connsiteY96" fmla="*/ 1781175 h 4496940"/>
              <a:gd name="connsiteX97" fmla="*/ 59077 w 4519987"/>
              <a:gd name="connsiteY97" fmla="*/ 1743075 h 4496940"/>
              <a:gd name="connsiteX98" fmla="*/ 78127 w 4519987"/>
              <a:gd name="connsiteY98" fmla="*/ 1685925 h 4496940"/>
              <a:gd name="connsiteX99" fmla="*/ 87652 w 4519987"/>
              <a:gd name="connsiteY99" fmla="*/ 1638300 h 4496940"/>
              <a:gd name="connsiteX100" fmla="*/ 106702 w 4519987"/>
              <a:gd name="connsiteY100" fmla="*/ 1590675 h 4496940"/>
              <a:gd name="connsiteX101" fmla="*/ 135277 w 4519987"/>
              <a:gd name="connsiteY101" fmla="*/ 1504950 h 4496940"/>
              <a:gd name="connsiteX102" fmla="*/ 154327 w 4519987"/>
              <a:gd name="connsiteY102" fmla="*/ 1419225 h 4496940"/>
              <a:gd name="connsiteX103" fmla="*/ 230527 w 4519987"/>
              <a:gd name="connsiteY103" fmla="*/ 1276350 h 4496940"/>
              <a:gd name="connsiteX104" fmla="*/ 240052 w 4519987"/>
              <a:gd name="connsiteY104" fmla="*/ 1247775 h 4496940"/>
              <a:gd name="connsiteX105" fmla="*/ 268627 w 4519987"/>
              <a:gd name="connsiteY105" fmla="*/ 1200150 h 4496940"/>
              <a:gd name="connsiteX106" fmla="*/ 287677 w 4519987"/>
              <a:gd name="connsiteY106" fmla="*/ 1152525 h 4496940"/>
              <a:gd name="connsiteX107" fmla="*/ 316252 w 4519987"/>
              <a:gd name="connsiteY107" fmla="*/ 1114425 h 4496940"/>
              <a:gd name="connsiteX108" fmla="*/ 363877 w 4519987"/>
              <a:gd name="connsiteY108" fmla="*/ 1038225 h 4496940"/>
              <a:gd name="connsiteX109" fmla="*/ 382927 w 4519987"/>
              <a:gd name="connsiteY109" fmla="*/ 1009650 h 4496940"/>
              <a:gd name="connsiteX110" fmla="*/ 440077 w 4519987"/>
              <a:gd name="connsiteY110" fmla="*/ 904875 h 4496940"/>
              <a:gd name="connsiteX111" fmla="*/ 478177 w 4519987"/>
              <a:gd name="connsiteY111" fmla="*/ 857250 h 4496940"/>
              <a:gd name="connsiteX112" fmla="*/ 497227 w 4519987"/>
              <a:gd name="connsiteY112" fmla="*/ 828675 h 4496940"/>
              <a:gd name="connsiteX113" fmla="*/ 535327 w 4519987"/>
              <a:gd name="connsiteY113" fmla="*/ 800100 h 4496940"/>
              <a:gd name="connsiteX114" fmla="*/ 602002 w 4519987"/>
              <a:gd name="connsiteY114" fmla="*/ 733425 h 4496940"/>
              <a:gd name="connsiteX115" fmla="*/ 668677 w 4519987"/>
              <a:gd name="connsiteY115" fmla="*/ 676275 h 4496940"/>
              <a:gd name="connsiteX116" fmla="*/ 697252 w 4519987"/>
              <a:gd name="connsiteY116" fmla="*/ 657225 h 4496940"/>
              <a:gd name="connsiteX117" fmla="*/ 840127 w 4519987"/>
              <a:gd name="connsiteY117" fmla="*/ 533400 h 4496940"/>
              <a:gd name="connsiteX118" fmla="*/ 887752 w 4519987"/>
              <a:gd name="connsiteY118" fmla="*/ 504825 h 4496940"/>
              <a:gd name="connsiteX119" fmla="*/ 1167152 w 4519987"/>
              <a:gd name="connsiteY119" fmla="*/ 311150 h 4496940"/>
              <a:gd name="connsiteX120" fmla="*/ 1268752 w 4519987"/>
              <a:gd name="connsiteY120" fmla="*/ 285750 h 4496940"/>
              <a:gd name="connsiteX121" fmla="*/ 1411627 w 4519987"/>
              <a:gd name="connsiteY121" fmla="*/ 190500 h 4496940"/>
              <a:gd name="connsiteX122" fmla="*/ 1449727 w 4519987"/>
              <a:gd name="connsiteY122" fmla="*/ 161925 h 4496940"/>
              <a:gd name="connsiteX123" fmla="*/ 1525927 w 4519987"/>
              <a:gd name="connsiteY123" fmla="*/ 152400 h 4496940"/>
              <a:gd name="connsiteX124" fmla="*/ 1583077 w 4519987"/>
              <a:gd name="connsiteY124" fmla="*/ 142875 h 4496940"/>
              <a:gd name="connsiteX125" fmla="*/ 1716427 w 4519987"/>
              <a:gd name="connsiteY125" fmla="*/ 123825 h 4496940"/>
              <a:gd name="connsiteX126" fmla="*/ 1811677 w 4519987"/>
              <a:gd name="connsiteY126" fmla="*/ 114300 h 4496940"/>
              <a:gd name="connsiteX127" fmla="*/ 1859302 w 4519987"/>
              <a:gd name="connsiteY127" fmla="*/ 104775 h 4496940"/>
              <a:gd name="connsiteX128" fmla="*/ 1916452 w 4519987"/>
              <a:gd name="connsiteY128" fmla="*/ 95250 h 4496940"/>
              <a:gd name="connsiteX129" fmla="*/ 2030752 w 4519987"/>
              <a:gd name="connsiteY129" fmla="*/ 66675 h 4496940"/>
              <a:gd name="connsiteX130" fmla="*/ 2097427 w 4519987"/>
              <a:gd name="connsiteY130" fmla="*/ 47625 h 4496940"/>
              <a:gd name="connsiteX131" fmla="*/ 2164102 w 4519987"/>
              <a:gd name="connsiteY131" fmla="*/ 38100 h 4496940"/>
              <a:gd name="connsiteX132" fmla="*/ 2392702 w 4519987"/>
              <a:gd name="connsiteY13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659527 w 4519987"/>
              <a:gd name="connsiteY38" fmla="*/ 3971925 h 4496940"/>
              <a:gd name="connsiteX39" fmla="*/ 3630952 w 4519987"/>
              <a:gd name="connsiteY39" fmla="*/ 4010025 h 4496940"/>
              <a:gd name="connsiteX40" fmla="*/ 3621427 w 4519987"/>
              <a:gd name="connsiteY40" fmla="*/ 4038600 h 4496940"/>
              <a:gd name="connsiteX41" fmla="*/ 3554752 w 4519987"/>
              <a:gd name="connsiteY41" fmla="*/ 4095750 h 4496940"/>
              <a:gd name="connsiteX42" fmla="*/ 3516652 w 4519987"/>
              <a:gd name="connsiteY42" fmla="*/ 4114800 h 4496940"/>
              <a:gd name="connsiteX43" fmla="*/ 3497602 w 4519987"/>
              <a:gd name="connsiteY43" fmla="*/ 4143375 h 4496940"/>
              <a:gd name="connsiteX44" fmla="*/ 3383302 w 4519987"/>
              <a:gd name="connsiteY44" fmla="*/ 4210050 h 4496940"/>
              <a:gd name="connsiteX45" fmla="*/ 3335677 w 4519987"/>
              <a:gd name="connsiteY45" fmla="*/ 4238625 h 4496940"/>
              <a:gd name="connsiteX46" fmla="*/ 3288052 w 4519987"/>
              <a:gd name="connsiteY46" fmla="*/ 4248150 h 4496940"/>
              <a:gd name="connsiteX47" fmla="*/ 3240427 w 4519987"/>
              <a:gd name="connsiteY47" fmla="*/ 4267200 h 4496940"/>
              <a:gd name="connsiteX48" fmla="*/ 3068977 w 4519987"/>
              <a:gd name="connsiteY48" fmla="*/ 4286250 h 4496940"/>
              <a:gd name="connsiteX49" fmla="*/ 2935627 w 4519987"/>
              <a:gd name="connsiteY49" fmla="*/ 4333875 h 4496940"/>
              <a:gd name="connsiteX50" fmla="*/ 2811802 w 4519987"/>
              <a:gd name="connsiteY50" fmla="*/ 4371975 h 4496940"/>
              <a:gd name="connsiteX51" fmla="*/ 2745127 w 4519987"/>
              <a:gd name="connsiteY51" fmla="*/ 4410075 h 4496940"/>
              <a:gd name="connsiteX52" fmla="*/ 2697502 w 4519987"/>
              <a:gd name="connsiteY52" fmla="*/ 4429125 h 4496940"/>
              <a:gd name="connsiteX53" fmla="*/ 2640352 w 4519987"/>
              <a:gd name="connsiteY53" fmla="*/ 4457700 h 4496940"/>
              <a:gd name="connsiteX54" fmla="*/ 2583202 w 4519987"/>
              <a:gd name="connsiteY54" fmla="*/ 4467225 h 4496940"/>
              <a:gd name="connsiteX55" fmla="*/ 2545102 w 4519987"/>
              <a:gd name="connsiteY55" fmla="*/ 4486275 h 4496940"/>
              <a:gd name="connsiteX56" fmla="*/ 2306977 w 4519987"/>
              <a:gd name="connsiteY56" fmla="*/ 4476750 h 4496940"/>
              <a:gd name="connsiteX57" fmla="*/ 2202202 w 4519987"/>
              <a:gd name="connsiteY57" fmla="*/ 4457700 h 4496940"/>
              <a:gd name="connsiteX58" fmla="*/ 2126002 w 4519987"/>
              <a:gd name="connsiteY58" fmla="*/ 4429125 h 4496940"/>
              <a:gd name="connsiteX59" fmla="*/ 1935502 w 4519987"/>
              <a:gd name="connsiteY59" fmla="*/ 4400550 h 4496940"/>
              <a:gd name="connsiteX60" fmla="*/ 1821202 w 4519987"/>
              <a:gd name="connsiteY60" fmla="*/ 4371975 h 4496940"/>
              <a:gd name="connsiteX61" fmla="*/ 1754527 w 4519987"/>
              <a:gd name="connsiteY61" fmla="*/ 4352925 h 4496940"/>
              <a:gd name="connsiteX62" fmla="*/ 1687852 w 4519987"/>
              <a:gd name="connsiteY62" fmla="*/ 4343400 h 4496940"/>
              <a:gd name="connsiteX63" fmla="*/ 1573552 w 4519987"/>
              <a:gd name="connsiteY63" fmla="*/ 4305300 h 4496940"/>
              <a:gd name="connsiteX64" fmla="*/ 1402102 w 4519987"/>
              <a:gd name="connsiteY64" fmla="*/ 4276725 h 4496940"/>
              <a:gd name="connsiteX65" fmla="*/ 1287802 w 4519987"/>
              <a:gd name="connsiteY65" fmla="*/ 4229100 h 4496940"/>
              <a:gd name="connsiteX66" fmla="*/ 1221127 w 4519987"/>
              <a:gd name="connsiteY66" fmla="*/ 4200525 h 4496940"/>
              <a:gd name="connsiteX67" fmla="*/ 1144927 w 4519987"/>
              <a:gd name="connsiteY67" fmla="*/ 4171950 h 4496940"/>
              <a:gd name="connsiteX68" fmla="*/ 1087777 w 4519987"/>
              <a:gd name="connsiteY68" fmla="*/ 4143375 h 4496940"/>
              <a:gd name="connsiteX69" fmla="*/ 1030627 w 4519987"/>
              <a:gd name="connsiteY69" fmla="*/ 4124325 h 4496940"/>
              <a:gd name="connsiteX70" fmla="*/ 925852 w 4519987"/>
              <a:gd name="connsiteY70" fmla="*/ 4067175 h 4496940"/>
              <a:gd name="connsiteX71" fmla="*/ 830602 w 4519987"/>
              <a:gd name="connsiteY71" fmla="*/ 3981450 h 4496940"/>
              <a:gd name="connsiteX72" fmla="*/ 763927 w 4519987"/>
              <a:gd name="connsiteY72" fmla="*/ 3914775 h 4496940"/>
              <a:gd name="connsiteX73" fmla="*/ 725827 w 4519987"/>
              <a:gd name="connsiteY73" fmla="*/ 3876675 h 4496940"/>
              <a:gd name="connsiteX74" fmla="*/ 697252 w 4519987"/>
              <a:gd name="connsiteY74" fmla="*/ 3838575 h 4496940"/>
              <a:gd name="connsiteX75" fmla="*/ 640102 w 4519987"/>
              <a:gd name="connsiteY75" fmla="*/ 3781425 h 4496940"/>
              <a:gd name="connsiteX76" fmla="*/ 611527 w 4519987"/>
              <a:gd name="connsiteY76" fmla="*/ 3733800 h 4496940"/>
              <a:gd name="connsiteX77" fmla="*/ 554377 w 4519987"/>
              <a:gd name="connsiteY77" fmla="*/ 3657600 h 4496940"/>
              <a:gd name="connsiteX78" fmla="*/ 525802 w 4519987"/>
              <a:gd name="connsiteY78" fmla="*/ 3609975 h 4496940"/>
              <a:gd name="connsiteX79" fmla="*/ 497227 w 4519987"/>
              <a:gd name="connsiteY79" fmla="*/ 3552825 h 4496940"/>
              <a:gd name="connsiteX80" fmla="*/ 440077 w 4519987"/>
              <a:gd name="connsiteY80" fmla="*/ 3495675 h 4496940"/>
              <a:gd name="connsiteX81" fmla="*/ 411502 w 4519987"/>
              <a:gd name="connsiteY81" fmla="*/ 3448050 h 4496940"/>
              <a:gd name="connsiteX82" fmla="*/ 278152 w 4519987"/>
              <a:gd name="connsiteY82" fmla="*/ 3257550 h 4496940"/>
              <a:gd name="connsiteX83" fmla="*/ 249577 w 4519987"/>
              <a:gd name="connsiteY83" fmla="*/ 3200400 h 4496940"/>
              <a:gd name="connsiteX84" fmla="*/ 240052 w 4519987"/>
              <a:gd name="connsiteY84" fmla="*/ 3162300 h 4496940"/>
              <a:gd name="connsiteX85" fmla="*/ 221002 w 4519987"/>
              <a:gd name="connsiteY85" fmla="*/ 3105150 h 4496940"/>
              <a:gd name="connsiteX86" fmla="*/ 173377 w 4519987"/>
              <a:gd name="connsiteY86" fmla="*/ 3019425 h 4496940"/>
              <a:gd name="connsiteX87" fmla="*/ 144802 w 4519987"/>
              <a:gd name="connsiteY87" fmla="*/ 2924175 h 4496940"/>
              <a:gd name="connsiteX88" fmla="*/ 68602 w 4519987"/>
              <a:gd name="connsiteY88" fmla="*/ 2724150 h 4496940"/>
              <a:gd name="connsiteX89" fmla="*/ 49552 w 4519987"/>
              <a:gd name="connsiteY89" fmla="*/ 2638425 h 4496940"/>
              <a:gd name="connsiteX90" fmla="*/ 40027 w 4519987"/>
              <a:gd name="connsiteY90" fmla="*/ 2562225 h 4496940"/>
              <a:gd name="connsiteX91" fmla="*/ 30502 w 4519987"/>
              <a:gd name="connsiteY91" fmla="*/ 2514600 h 4496940"/>
              <a:gd name="connsiteX92" fmla="*/ 11452 w 4519987"/>
              <a:gd name="connsiteY92" fmla="*/ 2400300 h 4496940"/>
              <a:gd name="connsiteX93" fmla="*/ 20977 w 4519987"/>
              <a:gd name="connsiteY93" fmla="*/ 1905000 h 4496940"/>
              <a:gd name="connsiteX94" fmla="*/ 30502 w 4519987"/>
              <a:gd name="connsiteY94" fmla="*/ 1838325 h 4496940"/>
              <a:gd name="connsiteX95" fmla="*/ 49552 w 4519987"/>
              <a:gd name="connsiteY95" fmla="*/ 1781175 h 4496940"/>
              <a:gd name="connsiteX96" fmla="*/ 59077 w 4519987"/>
              <a:gd name="connsiteY96" fmla="*/ 1743075 h 4496940"/>
              <a:gd name="connsiteX97" fmla="*/ 78127 w 4519987"/>
              <a:gd name="connsiteY97" fmla="*/ 1685925 h 4496940"/>
              <a:gd name="connsiteX98" fmla="*/ 87652 w 4519987"/>
              <a:gd name="connsiteY98" fmla="*/ 1638300 h 4496940"/>
              <a:gd name="connsiteX99" fmla="*/ 106702 w 4519987"/>
              <a:gd name="connsiteY99" fmla="*/ 1590675 h 4496940"/>
              <a:gd name="connsiteX100" fmla="*/ 135277 w 4519987"/>
              <a:gd name="connsiteY100" fmla="*/ 1504950 h 4496940"/>
              <a:gd name="connsiteX101" fmla="*/ 154327 w 4519987"/>
              <a:gd name="connsiteY101" fmla="*/ 1419225 h 4496940"/>
              <a:gd name="connsiteX102" fmla="*/ 230527 w 4519987"/>
              <a:gd name="connsiteY102" fmla="*/ 1276350 h 4496940"/>
              <a:gd name="connsiteX103" fmla="*/ 240052 w 4519987"/>
              <a:gd name="connsiteY103" fmla="*/ 1247775 h 4496940"/>
              <a:gd name="connsiteX104" fmla="*/ 268627 w 4519987"/>
              <a:gd name="connsiteY104" fmla="*/ 1200150 h 4496940"/>
              <a:gd name="connsiteX105" fmla="*/ 287677 w 4519987"/>
              <a:gd name="connsiteY105" fmla="*/ 1152525 h 4496940"/>
              <a:gd name="connsiteX106" fmla="*/ 316252 w 4519987"/>
              <a:gd name="connsiteY106" fmla="*/ 1114425 h 4496940"/>
              <a:gd name="connsiteX107" fmla="*/ 363877 w 4519987"/>
              <a:gd name="connsiteY107" fmla="*/ 1038225 h 4496940"/>
              <a:gd name="connsiteX108" fmla="*/ 382927 w 4519987"/>
              <a:gd name="connsiteY108" fmla="*/ 1009650 h 4496940"/>
              <a:gd name="connsiteX109" fmla="*/ 440077 w 4519987"/>
              <a:gd name="connsiteY109" fmla="*/ 904875 h 4496940"/>
              <a:gd name="connsiteX110" fmla="*/ 478177 w 4519987"/>
              <a:gd name="connsiteY110" fmla="*/ 857250 h 4496940"/>
              <a:gd name="connsiteX111" fmla="*/ 497227 w 4519987"/>
              <a:gd name="connsiteY111" fmla="*/ 828675 h 4496940"/>
              <a:gd name="connsiteX112" fmla="*/ 535327 w 4519987"/>
              <a:gd name="connsiteY112" fmla="*/ 800100 h 4496940"/>
              <a:gd name="connsiteX113" fmla="*/ 602002 w 4519987"/>
              <a:gd name="connsiteY113" fmla="*/ 733425 h 4496940"/>
              <a:gd name="connsiteX114" fmla="*/ 668677 w 4519987"/>
              <a:gd name="connsiteY114" fmla="*/ 676275 h 4496940"/>
              <a:gd name="connsiteX115" fmla="*/ 697252 w 4519987"/>
              <a:gd name="connsiteY115" fmla="*/ 657225 h 4496940"/>
              <a:gd name="connsiteX116" fmla="*/ 840127 w 4519987"/>
              <a:gd name="connsiteY116" fmla="*/ 533400 h 4496940"/>
              <a:gd name="connsiteX117" fmla="*/ 887752 w 4519987"/>
              <a:gd name="connsiteY117" fmla="*/ 504825 h 4496940"/>
              <a:gd name="connsiteX118" fmla="*/ 1167152 w 4519987"/>
              <a:gd name="connsiteY118" fmla="*/ 311150 h 4496940"/>
              <a:gd name="connsiteX119" fmla="*/ 1268752 w 4519987"/>
              <a:gd name="connsiteY119" fmla="*/ 285750 h 4496940"/>
              <a:gd name="connsiteX120" fmla="*/ 1411627 w 4519987"/>
              <a:gd name="connsiteY120" fmla="*/ 190500 h 4496940"/>
              <a:gd name="connsiteX121" fmla="*/ 1449727 w 4519987"/>
              <a:gd name="connsiteY121" fmla="*/ 161925 h 4496940"/>
              <a:gd name="connsiteX122" fmla="*/ 1525927 w 4519987"/>
              <a:gd name="connsiteY122" fmla="*/ 152400 h 4496940"/>
              <a:gd name="connsiteX123" fmla="*/ 1583077 w 4519987"/>
              <a:gd name="connsiteY123" fmla="*/ 142875 h 4496940"/>
              <a:gd name="connsiteX124" fmla="*/ 1716427 w 4519987"/>
              <a:gd name="connsiteY124" fmla="*/ 123825 h 4496940"/>
              <a:gd name="connsiteX125" fmla="*/ 1811677 w 4519987"/>
              <a:gd name="connsiteY125" fmla="*/ 114300 h 4496940"/>
              <a:gd name="connsiteX126" fmla="*/ 1859302 w 4519987"/>
              <a:gd name="connsiteY126" fmla="*/ 104775 h 4496940"/>
              <a:gd name="connsiteX127" fmla="*/ 1916452 w 4519987"/>
              <a:gd name="connsiteY127" fmla="*/ 95250 h 4496940"/>
              <a:gd name="connsiteX128" fmla="*/ 2030752 w 4519987"/>
              <a:gd name="connsiteY128" fmla="*/ 66675 h 4496940"/>
              <a:gd name="connsiteX129" fmla="*/ 2097427 w 4519987"/>
              <a:gd name="connsiteY129" fmla="*/ 47625 h 4496940"/>
              <a:gd name="connsiteX130" fmla="*/ 2164102 w 4519987"/>
              <a:gd name="connsiteY130" fmla="*/ 38100 h 4496940"/>
              <a:gd name="connsiteX131" fmla="*/ 2392702 w 4519987"/>
              <a:gd name="connsiteY13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88152 w 4519987"/>
              <a:gd name="connsiteY33" fmla="*/ 3495675 h 4496940"/>
              <a:gd name="connsiteX34" fmla="*/ 4059577 w 4519987"/>
              <a:gd name="connsiteY34" fmla="*/ 3533775 h 4496940"/>
              <a:gd name="connsiteX35" fmla="*/ 4002427 w 4519987"/>
              <a:gd name="connsiteY35" fmla="*/ 3600450 h 4496940"/>
              <a:gd name="connsiteX36" fmla="*/ 3954802 w 4519987"/>
              <a:gd name="connsiteY36" fmla="*/ 3648075 h 4496940"/>
              <a:gd name="connsiteX37" fmla="*/ 3659527 w 4519987"/>
              <a:gd name="connsiteY37" fmla="*/ 3971925 h 4496940"/>
              <a:gd name="connsiteX38" fmla="*/ 3630952 w 4519987"/>
              <a:gd name="connsiteY38" fmla="*/ 4010025 h 4496940"/>
              <a:gd name="connsiteX39" fmla="*/ 3621427 w 4519987"/>
              <a:gd name="connsiteY39" fmla="*/ 4038600 h 4496940"/>
              <a:gd name="connsiteX40" fmla="*/ 3554752 w 4519987"/>
              <a:gd name="connsiteY40" fmla="*/ 4095750 h 4496940"/>
              <a:gd name="connsiteX41" fmla="*/ 3516652 w 4519987"/>
              <a:gd name="connsiteY41" fmla="*/ 4114800 h 4496940"/>
              <a:gd name="connsiteX42" fmla="*/ 3497602 w 4519987"/>
              <a:gd name="connsiteY42" fmla="*/ 4143375 h 4496940"/>
              <a:gd name="connsiteX43" fmla="*/ 3383302 w 4519987"/>
              <a:gd name="connsiteY43" fmla="*/ 4210050 h 4496940"/>
              <a:gd name="connsiteX44" fmla="*/ 3335677 w 4519987"/>
              <a:gd name="connsiteY44" fmla="*/ 4238625 h 4496940"/>
              <a:gd name="connsiteX45" fmla="*/ 3288052 w 4519987"/>
              <a:gd name="connsiteY45" fmla="*/ 4248150 h 4496940"/>
              <a:gd name="connsiteX46" fmla="*/ 3240427 w 4519987"/>
              <a:gd name="connsiteY46" fmla="*/ 4267200 h 4496940"/>
              <a:gd name="connsiteX47" fmla="*/ 3068977 w 4519987"/>
              <a:gd name="connsiteY47" fmla="*/ 4286250 h 4496940"/>
              <a:gd name="connsiteX48" fmla="*/ 2935627 w 4519987"/>
              <a:gd name="connsiteY48" fmla="*/ 4333875 h 4496940"/>
              <a:gd name="connsiteX49" fmla="*/ 2811802 w 4519987"/>
              <a:gd name="connsiteY49" fmla="*/ 4371975 h 4496940"/>
              <a:gd name="connsiteX50" fmla="*/ 2745127 w 4519987"/>
              <a:gd name="connsiteY50" fmla="*/ 4410075 h 4496940"/>
              <a:gd name="connsiteX51" fmla="*/ 2697502 w 4519987"/>
              <a:gd name="connsiteY51" fmla="*/ 4429125 h 4496940"/>
              <a:gd name="connsiteX52" fmla="*/ 2640352 w 4519987"/>
              <a:gd name="connsiteY52" fmla="*/ 4457700 h 4496940"/>
              <a:gd name="connsiteX53" fmla="*/ 2583202 w 4519987"/>
              <a:gd name="connsiteY53" fmla="*/ 4467225 h 4496940"/>
              <a:gd name="connsiteX54" fmla="*/ 2545102 w 4519987"/>
              <a:gd name="connsiteY54" fmla="*/ 4486275 h 4496940"/>
              <a:gd name="connsiteX55" fmla="*/ 2306977 w 4519987"/>
              <a:gd name="connsiteY55" fmla="*/ 4476750 h 4496940"/>
              <a:gd name="connsiteX56" fmla="*/ 2202202 w 4519987"/>
              <a:gd name="connsiteY56" fmla="*/ 4457700 h 4496940"/>
              <a:gd name="connsiteX57" fmla="*/ 2126002 w 4519987"/>
              <a:gd name="connsiteY57" fmla="*/ 4429125 h 4496940"/>
              <a:gd name="connsiteX58" fmla="*/ 1935502 w 4519987"/>
              <a:gd name="connsiteY58" fmla="*/ 4400550 h 4496940"/>
              <a:gd name="connsiteX59" fmla="*/ 1821202 w 4519987"/>
              <a:gd name="connsiteY59" fmla="*/ 4371975 h 4496940"/>
              <a:gd name="connsiteX60" fmla="*/ 1754527 w 4519987"/>
              <a:gd name="connsiteY60" fmla="*/ 4352925 h 4496940"/>
              <a:gd name="connsiteX61" fmla="*/ 1687852 w 4519987"/>
              <a:gd name="connsiteY61" fmla="*/ 4343400 h 4496940"/>
              <a:gd name="connsiteX62" fmla="*/ 1573552 w 4519987"/>
              <a:gd name="connsiteY62" fmla="*/ 4305300 h 4496940"/>
              <a:gd name="connsiteX63" fmla="*/ 1402102 w 4519987"/>
              <a:gd name="connsiteY63" fmla="*/ 4276725 h 4496940"/>
              <a:gd name="connsiteX64" fmla="*/ 1287802 w 4519987"/>
              <a:gd name="connsiteY64" fmla="*/ 4229100 h 4496940"/>
              <a:gd name="connsiteX65" fmla="*/ 1221127 w 4519987"/>
              <a:gd name="connsiteY65" fmla="*/ 4200525 h 4496940"/>
              <a:gd name="connsiteX66" fmla="*/ 1144927 w 4519987"/>
              <a:gd name="connsiteY66" fmla="*/ 4171950 h 4496940"/>
              <a:gd name="connsiteX67" fmla="*/ 1087777 w 4519987"/>
              <a:gd name="connsiteY67" fmla="*/ 4143375 h 4496940"/>
              <a:gd name="connsiteX68" fmla="*/ 1030627 w 4519987"/>
              <a:gd name="connsiteY68" fmla="*/ 4124325 h 4496940"/>
              <a:gd name="connsiteX69" fmla="*/ 925852 w 4519987"/>
              <a:gd name="connsiteY69" fmla="*/ 4067175 h 4496940"/>
              <a:gd name="connsiteX70" fmla="*/ 830602 w 4519987"/>
              <a:gd name="connsiteY70" fmla="*/ 3981450 h 4496940"/>
              <a:gd name="connsiteX71" fmla="*/ 763927 w 4519987"/>
              <a:gd name="connsiteY71" fmla="*/ 3914775 h 4496940"/>
              <a:gd name="connsiteX72" fmla="*/ 725827 w 4519987"/>
              <a:gd name="connsiteY72" fmla="*/ 3876675 h 4496940"/>
              <a:gd name="connsiteX73" fmla="*/ 697252 w 4519987"/>
              <a:gd name="connsiteY73" fmla="*/ 3838575 h 4496940"/>
              <a:gd name="connsiteX74" fmla="*/ 640102 w 4519987"/>
              <a:gd name="connsiteY74" fmla="*/ 3781425 h 4496940"/>
              <a:gd name="connsiteX75" fmla="*/ 611527 w 4519987"/>
              <a:gd name="connsiteY75" fmla="*/ 3733800 h 4496940"/>
              <a:gd name="connsiteX76" fmla="*/ 554377 w 4519987"/>
              <a:gd name="connsiteY76" fmla="*/ 3657600 h 4496940"/>
              <a:gd name="connsiteX77" fmla="*/ 525802 w 4519987"/>
              <a:gd name="connsiteY77" fmla="*/ 3609975 h 4496940"/>
              <a:gd name="connsiteX78" fmla="*/ 497227 w 4519987"/>
              <a:gd name="connsiteY78" fmla="*/ 3552825 h 4496940"/>
              <a:gd name="connsiteX79" fmla="*/ 440077 w 4519987"/>
              <a:gd name="connsiteY79" fmla="*/ 3495675 h 4496940"/>
              <a:gd name="connsiteX80" fmla="*/ 411502 w 4519987"/>
              <a:gd name="connsiteY80" fmla="*/ 3448050 h 4496940"/>
              <a:gd name="connsiteX81" fmla="*/ 278152 w 4519987"/>
              <a:gd name="connsiteY81" fmla="*/ 3257550 h 4496940"/>
              <a:gd name="connsiteX82" fmla="*/ 249577 w 4519987"/>
              <a:gd name="connsiteY82" fmla="*/ 3200400 h 4496940"/>
              <a:gd name="connsiteX83" fmla="*/ 240052 w 4519987"/>
              <a:gd name="connsiteY83" fmla="*/ 3162300 h 4496940"/>
              <a:gd name="connsiteX84" fmla="*/ 221002 w 4519987"/>
              <a:gd name="connsiteY84" fmla="*/ 3105150 h 4496940"/>
              <a:gd name="connsiteX85" fmla="*/ 173377 w 4519987"/>
              <a:gd name="connsiteY85" fmla="*/ 3019425 h 4496940"/>
              <a:gd name="connsiteX86" fmla="*/ 144802 w 4519987"/>
              <a:gd name="connsiteY86" fmla="*/ 2924175 h 4496940"/>
              <a:gd name="connsiteX87" fmla="*/ 68602 w 4519987"/>
              <a:gd name="connsiteY87" fmla="*/ 2724150 h 4496940"/>
              <a:gd name="connsiteX88" fmla="*/ 49552 w 4519987"/>
              <a:gd name="connsiteY88" fmla="*/ 2638425 h 4496940"/>
              <a:gd name="connsiteX89" fmla="*/ 40027 w 4519987"/>
              <a:gd name="connsiteY89" fmla="*/ 2562225 h 4496940"/>
              <a:gd name="connsiteX90" fmla="*/ 30502 w 4519987"/>
              <a:gd name="connsiteY90" fmla="*/ 2514600 h 4496940"/>
              <a:gd name="connsiteX91" fmla="*/ 11452 w 4519987"/>
              <a:gd name="connsiteY91" fmla="*/ 2400300 h 4496940"/>
              <a:gd name="connsiteX92" fmla="*/ 20977 w 4519987"/>
              <a:gd name="connsiteY92" fmla="*/ 1905000 h 4496940"/>
              <a:gd name="connsiteX93" fmla="*/ 30502 w 4519987"/>
              <a:gd name="connsiteY93" fmla="*/ 1838325 h 4496940"/>
              <a:gd name="connsiteX94" fmla="*/ 49552 w 4519987"/>
              <a:gd name="connsiteY94" fmla="*/ 1781175 h 4496940"/>
              <a:gd name="connsiteX95" fmla="*/ 59077 w 4519987"/>
              <a:gd name="connsiteY95" fmla="*/ 1743075 h 4496940"/>
              <a:gd name="connsiteX96" fmla="*/ 78127 w 4519987"/>
              <a:gd name="connsiteY96" fmla="*/ 1685925 h 4496940"/>
              <a:gd name="connsiteX97" fmla="*/ 87652 w 4519987"/>
              <a:gd name="connsiteY97" fmla="*/ 1638300 h 4496940"/>
              <a:gd name="connsiteX98" fmla="*/ 106702 w 4519987"/>
              <a:gd name="connsiteY98" fmla="*/ 1590675 h 4496940"/>
              <a:gd name="connsiteX99" fmla="*/ 135277 w 4519987"/>
              <a:gd name="connsiteY99" fmla="*/ 1504950 h 4496940"/>
              <a:gd name="connsiteX100" fmla="*/ 154327 w 4519987"/>
              <a:gd name="connsiteY100" fmla="*/ 1419225 h 4496940"/>
              <a:gd name="connsiteX101" fmla="*/ 230527 w 4519987"/>
              <a:gd name="connsiteY101" fmla="*/ 1276350 h 4496940"/>
              <a:gd name="connsiteX102" fmla="*/ 240052 w 4519987"/>
              <a:gd name="connsiteY102" fmla="*/ 1247775 h 4496940"/>
              <a:gd name="connsiteX103" fmla="*/ 268627 w 4519987"/>
              <a:gd name="connsiteY103" fmla="*/ 1200150 h 4496940"/>
              <a:gd name="connsiteX104" fmla="*/ 287677 w 4519987"/>
              <a:gd name="connsiteY104" fmla="*/ 1152525 h 4496940"/>
              <a:gd name="connsiteX105" fmla="*/ 316252 w 4519987"/>
              <a:gd name="connsiteY105" fmla="*/ 1114425 h 4496940"/>
              <a:gd name="connsiteX106" fmla="*/ 363877 w 4519987"/>
              <a:gd name="connsiteY106" fmla="*/ 1038225 h 4496940"/>
              <a:gd name="connsiteX107" fmla="*/ 382927 w 4519987"/>
              <a:gd name="connsiteY107" fmla="*/ 1009650 h 4496940"/>
              <a:gd name="connsiteX108" fmla="*/ 440077 w 4519987"/>
              <a:gd name="connsiteY108" fmla="*/ 904875 h 4496940"/>
              <a:gd name="connsiteX109" fmla="*/ 478177 w 4519987"/>
              <a:gd name="connsiteY109" fmla="*/ 857250 h 4496940"/>
              <a:gd name="connsiteX110" fmla="*/ 497227 w 4519987"/>
              <a:gd name="connsiteY110" fmla="*/ 828675 h 4496940"/>
              <a:gd name="connsiteX111" fmla="*/ 535327 w 4519987"/>
              <a:gd name="connsiteY111" fmla="*/ 800100 h 4496940"/>
              <a:gd name="connsiteX112" fmla="*/ 602002 w 4519987"/>
              <a:gd name="connsiteY112" fmla="*/ 733425 h 4496940"/>
              <a:gd name="connsiteX113" fmla="*/ 668677 w 4519987"/>
              <a:gd name="connsiteY113" fmla="*/ 676275 h 4496940"/>
              <a:gd name="connsiteX114" fmla="*/ 697252 w 4519987"/>
              <a:gd name="connsiteY114" fmla="*/ 657225 h 4496940"/>
              <a:gd name="connsiteX115" fmla="*/ 840127 w 4519987"/>
              <a:gd name="connsiteY115" fmla="*/ 533400 h 4496940"/>
              <a:gd name="connsiteX116" fmla="*/ 887752 w 4519987"/>
              <a:gd name="connsiteY116" fmla="*/ 504825 h 4496940"/>
              <a:gd name="connsiteX117" fmla="*/ 1167152 w 4519987"/>
              <a:gd name="connsiteY117" fmla="*/ 311150 h 4496940"/>
              <a:gd name="connsiteX118" fmla="*/ 1268752 w 4519987"/>
              <a:gd name="connsiteY118" fmla="*/ 285750 h 4496940"/>
              <a:gd name="connsiteX119" fmla="*/ 1411627 w 4519987"/>
              <a:gd name="connsiteY119" fmla="*/ 190500 h 4496940"/>
              <a:gd name="connsiteX120" fmla="*/ 1449727 w 4519987"/>
              <a:gd name="connsiteY120" fmla="*/ 161925 h 4496940"/>
              <a:gd name="connsiteX121" fmla="*/ 1525927 w 4519987"/>
              <a:gd name="connsiteY121" fmla="*/ 152400 h 4496940"/>
              <a:gd name="connsiteX122" fmla="*/ 1583077 w 4519987"/>
              <a:gd name="connsiteY122" fmla="*/ 142875 h 4496940"/>
              <a:gd name="connsiteX123" fmla="*/ 1716427 w 4519987"/>
              <a:gd name="connsiteY123" fmla="*/ 123825 h 4496940"/>
              <a:gd name="connsiteX124" fmla="*/ 1811677 w 4519987"/>
              <a:gd name="connsiteY124" fmla="*/ 114300 h 4496940"/>
              <a:gd name="connsiteX125" fmla="*/ 1859302 w 4519987"/>
              <a:gd name="connsiteY125" fmla="*/ 104775 h 4496940"/>
              <a:gd name="connsiteX126" fmla="*/ 1916452 w 4519987"/>
              <a:gd name="connsiteY126" fmla="*/ 95250 h 4496940"/>
              <a:gd name="connsiteX127" fmla="*/ 2030752 w 4519987"/>
              <a:gd name="connsiteY127" fmla="*/ 66675 h 4496940"/>
              <a:gd name="connsiteX128" fmla="*/ 2097427 w 4519987"/>
              <a:gd name="connsiteY128" fmla="*/ 47625 h 4496940"/>
              <a:gd name="connsiteX129" fmla="*/ 2164102 w 4519987"/>
              <a:gd name="connsiteY129" fmla="*/ 38100 h 4496940"/>
              <a:gd name="connsiteX130" fmla="*/ 2392702 w 4519987"/>
              <a:gd name="connsiteY13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4002427 w 4519987"/>
              <a:gd name="connsiteY34" fmla="*/ 3600450 h 4496940"/>
              <a:gd name="connsiteX35" fmla="*/ 3954802 w 4519987"/>
              <a:gd name="connsiteY35" fmla="*/ 3648075 h 4496940"/>
              <a:gd name="connsiteX36" fmla="*/ 3659527 w 4519987"/>
              <a:gd name="connsiteY36" fmla="*/ 3971925 h 4496940"/>
              <a:gd name="connsiteX37" fmla="*/ 3630952 w 4519987"/>
              <a:gd name="connsiteY37" fmla="*/ 4010025 h 4496940"/>
              <a:gd name="connsiteX38" fmla="*/ 3621427 w 4519987"/>
              <a:gd name="connsiteY38" fmla="*/ 4038600 h 4496940"/>
              <a:gd name="connsiteX39" fmla="*/ 3554752 w 4519987"/>
              <a:gd name="connsiteY39" fmla="*/ 4095750 h 4496940"/>
              <a:gd name="connsiteX40" fmla="*/ 3516652 w 4519987"/>
              <a:gd name="connsiteY40" fmla="*/ 4114800 h 4496940"/>
              <a:gd name="connsiteX41" fmla="*/ 3497602 w 4519987"/>
              <a:gd name="connsiteY41" fmla="*/ 4143375 h 4496940"/>
              <a:gd name="connsiteX42" fmla="*/ 3383302 w 4519987"/>
              <a:gd name="connsiteY42" fmla="*/ 4210050 h 4496940"/>
              <a:gd name="connsiteX43" fmla="*/ 3335677 w 4519987"/>
              <a:gd name="connsiteY43" fmla="*/ 4238625 h 4496940"/>
              <a:gd name="connsiteX44" fmla="*/ 3288052 w 4519987"/>
              <a:gd name="connsiteY44" fmla="*/ 4248150 h 4496940"/>
              <a:gd name="connsiteX45" fmla="*/ 3240427 w 4519987"/>
              <a:gd name="connsiteY45" fmla="*/ 4267200 h 4496940"/>
              <a:gd name="connsiteX46" fmla="*/ 3068977 w 4519987"/>
              <a:gd name="connsiteY46" fmla="*/ 4286250 h 4496940"/>
              <a:gd name="connsiteX47" fmla="*/ 2935627 w 4519987"/>
              <a:gd name="connsiteY47" fmla="*/ 4333875 h 4496940"/>
              <a:gd name="connsiteX48" fmla="*/ 2811802 w 4519987"/>
              <a:gd name="connsiteY48" fmla="*/ 4371975 h 4496940"/>
              <a:gd name="connsiteX49" fmla="*/ 2745127 w 4519987"/>
              <a:gd name="connsiteY49" fmla="*/ 4410075 h 4496940"/>
              <a:gd name="connsiteX50" fmla="*/ 2697502 w 4519987"/>
              <a:gd name="connsiteY50" fmla="*/ 4429125 h 4496940"/>
              <a:gd name="connsiteX51" fmla="*/ 2640352 w 4519987"/>
              <a:gd name="connsiteY51" fmla="*/ 4457700 h 4496940"/>
              <a:gd name="connsiteX52" fmla="*/ 2583202 w 4519987"/>
              <a:gd name="connsiteY52" fmla="*/ 4467225 h 4496940"/>
              <a:gd name="connsiteX53" fmla="*/ 2545102 w 4519987"/>
              <a:gd name="connsiteY53" fmla="*/ 4486275 h 4496940"/>
              <a:gd name="connsiteX54" fmla="*/ 2306977 w 4519987"/>
              <a:gd name="connsiteY54" fmla="*/ 4476750 h 4496940"/>
              <a:gd name="connsiteX55" fmla="*/ 2202202 w 4519987"/>
              <a:gd name="connsiteY55" fmla="*/ 4457700 h 4496940"/>
              <a:gd name="connsiteX56" fmla="*/ 2126002 w 4519987"/>
              <a:gd name="connsiteY56" fmla="*/ 4429125 h 4496940"/>
              <a:gd name="connsiteX57" fmla="*/ 1935502 w 4519987"/>
              <a:gd name="connsiteY57" fmla="*/ 4400550 h 4496940"/>
              <a:gd name="connsiteX58" fmla="*/ 1821202 w 4519987"/>
              <a:gd name="connsiteY58" fmla="*/ 4371975 h 4496940"/>
              <a:gd name="connsiteX59" fmla="*/ 1754527 w 4519987"/>
              <a:gd name="connsiteY59" fmla="*/ 4352925 h 4496940"/>
              <a:gd name="connsiteX60" fmla="*/ 1687852 w 4519987"/>
              <a:gd name="connsiteY60" fmla="*/ 4343400 h 4496940"/>
              <a:gd name="connsiteX61" fmla="*/ 1573552 w 4519987"/>
              <a:gd name="connsiteY61" fmla="*/ 4305300 h 4496940"/>
              <a:gd name="connsiteX62" fmla="*/ 1402102 w 4519987"/>
              <a:gd name="connsiteY62" fmla="*/ 4276725 h 4496940"/>
              <a:gd name="connsiteX63" fmla="*/ 1287802 w 4519987"/>
              <a:gd name="connsiteY63" fmla="*/ 4229100 h 4496940"/>
              <a:gd name="connsiteX64" fmla="*/ 1221127 w 4519987"/>
              <a:gd name="connsiteY64" fmla="*/ 4200525 h 4496940"/>
              <a:gd name="connsiteX65" fmla="*/ 1144927 w 4519987"/>
              <a:gd name="connsiteY65" fmla="*/ 4171950 h 4496940"/>
              <a:gd name="connsiteX66" fmla="*/ 1087777 w 4519987"/>
              <a:gd name="connsiteY66" fmla="*/ 4143375 h 4496940"/>
              <a:gd name="connsiteX67" fmla="*/ 1030627 w 4519987"/>
              <a:gd name="connsiteY67" fmla="*/ 4124325 h 4496940"/>
              <a:gd name="connsiteX68" fmla="*/ 925852 w 4519987"/>
              <a:gd name="connsiteY68" fmla="*/ 4067175 h 4496940"/>
              <a:gd name="connsiteX69" fmla="*/ 830602 w 4519987"/>
              <a:gd name="connsiteY69" fmla="*/ 3981450 h 4496940"/>
              <a:gd name="connsiteX70" fmla="*/ 763927 w 4519987"/>
              <a:gd name="connsiteY70" fmla="*/ 3914775 h 4496940"/>
              <a:gd name="connsiteX71" fmla="*/ 725827 w 4519987"/>
              <a:gd name="connsiteY71" fmla="*/ 3876675 h 4496940"/>
              <a:gd name="connsiteX72" fmla="*/ 697252 w 4519987"/>
              <a:gd name="connsiteY72" fmla="*/ 3838575 h 4496940"/>
              <a:gd name="connsiteX73" fmla="*/ 640102 w 4519987"/>
              <a:gd name="connsiteY73" fmla="*/ 3781425 h 4496940"/>
              <a:gd name="connsiteX74" fmla="*/ 611527 w 4519987"/>
              <a:gd name="connsiteY74" fmla="*/ 3733800 h 4496940"/>
              <a:gd name="connsiteX75" fmla="*/ 554377 w 4519987"/>
              <a:gd name="connsiteY75" fmla="*/ 3657600 h 4496940"/>
              <a:gd name="connsiteX76" fmla="*/ 525802 w 4519987"/>
              <a:gd name="connsiteY76" fmla="*/ 3609975 h 4496940"/>
              <a:gd name="connsiteX77" fmla="*/ 497227 w 4519987"/>
              <a:gd name="connsiteY77" fmla="*/ 3552825 h 4496940"/>
              <a:gd name="connsiteX78" fmla="*/ 440077 w 4519987"/>
              <a:gd name="connsiteY78" fmla="*/ 3495675 h 4496940"/>
              <a:gd name="connsiteX79" fmla="*/ 411502 w 4519987"/>
              <a:gd name="connsiteY79" fmla="*/ 3448050 h 4496940"/>
              <a:gd name="connsiteX80" fmla="*/ 278152 w 4519987"/>
              <a:gd name="connsiteY80" fmla="*/ 3257550 h 4496940"/>
              <a:gd name="connsiteX81" fmla="*/ 249577 w 4519987"/>
              <a:gd name="connsiteY81" fmla="*/ 3200400 h 4496940"/>
              <a:gd name="connsiteX82" fmla="*/ 240052 w 4519987"/>
              <a:gd name="connsiteY82" fmla="*/ 3162300 h 4496940"/>
              <a:gd name="connsiteX83" fmla="*/ 221002 w 4519987"/>
              <a:gd name="connsiteY83" fmla="*/ 3105150 h 4496940"/>
              <a:gd name="connsiteX84" fmla="*/ 173377 w 4519987"/>
              <a:gd name="connsiteY84" fmla="*/ 3019425 h 4496940"/>
              <a:gd name="connsiteX85" fmla="*/ 144802 w 4519987"/>
              <a:gd name="connsiteY85" fmla="*/ 2924175 h 4496940"/>
              <a:gd name="connsiteX86" fmla="*/ 68602 w 4519987"/>
              <a:gd name="connsiteY86" fmla="*/ 2724150 h 4496940"/>
              <a:gd name="connsiteX87" fmla="*/ 49552 w 4519987"/>
              <a:gd name="connsiteY87" fmla="*/ 2638425 h 4496940"/>
              <a:gd name="connsiteX88" fmla="*/ 40027 w 4519987"/>
              <a:gd name="connsiteY88" fmla="*/ 2562225 h 4496940"/>
              <a:gd name="connsiteX89" fmla="*/ 30502 w 4519987"/>
              <a:gd name="connsiteY89" fmla="*/ 2514600 h 4496940"/>
              <a:gd name="connsiteX90" fmla="*/ 11452 w 4519987"/>
              <a:gd name="connsiteY90" fmla="*/ 2400300 h 4496940"/>
              <a:gd name="connsiteX91" fmla="*/ 20977 w 4519987"/>
              <a:gd name="connsiteY91" fmla="*/ 1905000 h 4496940"/>
              <a:gd name="connsiteX92" fmla="*/ 30502 w 4519987"/>
              <a:gd name="connsiteY92" fmla="*/ 1838325 h 4496940"/>
              <a:gd name="connsiteX93" fmla="*/ 49552 w 4519987"/>
              <a:gd name="connsiteY93" fmla="*/ 1781175 h 4496940"/>
              <a:gd name="connsiteX94" fmla="*/ 59077 w 4519987"/>
              <a:gd name="connsiteY94" fmla="*/ 1743075 h 4496940"/>
              <a:gd name="connsiteX95" fmla="*/ 78127 w 4519987"/>
              <a:gd name="connsiteY95" fmla="*/ 1685925 h 4496940"/>
              <a:gd name="connsiteX96" fmla="*/ 87652 w 4519987"/>
              <a:gd name="connsiteY96" fmla="*/ 1638300 h 4496940"/>
              <a:gd name="connsiteX97" fmla="*/ 106702 w 4519987"/>
              <a:gd name="connsiteY97" fmla="*/ 1590675 h 4496940"/>
              <a:gd name="connsiteX98" fmla="*/ 135277 w 4519987"/>
              <a:gd name="connsiteY98" fmla="*/ 1504950 h 4496940"/>
              <a:gd name="connsiteX99" fmla="*/ 154327 w 4519987"/>
              <a:gd name="connsiteY99" fmla="*/ 1419225 h 4496940"/>
              <a:gd name="connsiteX100" fmla="*/ 230527 w 4519987"/>
              <a:gd name="connsiteY100" fmla="*/ 1276350 h 4496940"/>
              <a:gd name="connsiteX101" fmla="*/ 240052 w 4519987"/>
              <a:gd name="connsiteY101" fmla="*/ 1247775 h 4496940"/>
              <a:gd name="connsiteX102" fmla="*/ 268627 w 4519987"/>
              <a:gd name="connsiteY102" fmla="*/ 1200150 h 4496940"/>
              <a:gd name="connsiteX103" fmla="*/ 287677 w 4519987"/>
              <a:gd name="connsiteY103" fmla="*/ 1152525 h 4496940"/>
              <a:gd name="connsiteX104" fmla="*/ 316252 w 4519987"/>
              <a:gd name="connsiteY104" fmla="*/ 1114425 h 4496940"/>
              <a:gd name="connsiteX105" fmla="*/ 363877 w 4519987"/>
              <a:gd name="connsiteY105" fmla="*/ 1038225 h 4496940"/>
              <a:gd name="connsiteX106" fmla="*/ 382927 w 4519987"/>
              <a:gd name="connsiteY106" fmla="*/ 1009650 h 4496940"/>
              <a:gd name="connsiteX107" fmla="*/ 440077 w 4519987"/>
              <a:gd name="connsiteY107" fmla="*/ 904875 h 4496940"/>
              <a:gd name="connsiteX108" fmla="*/ 478177 w 4519987"/>
              <a:gd name="connsiteY108" fmla="*/ 857250 h 4496940"/>
              <a:gd name="connsiteX109" fmla="*/ 497227 w 4519987"/>
              <a:gd name="connsiteY109" fmla="*/ 828675 h 4496940"/>
              <a:gd name="connsiteX110" fmla="*/ 535327 w 4519987"/>
              <a:gd name="connsiteY110" fmla="*/ 800100 h 4496940"/>
              <a:gd name="connsiteX111" fmla="*/ 602002 w 4519987"/>
              <a:gd name="connsiteY111" fmla="*/ 733425 h 4496940"/>
              <a:gd name="connsiteX112" fmla="*/ 668677 w 4519987"/>
              <a:gd name="connsiteY112" fmla="*/ 676275 h 4496940"/>
              <a:gd name="connsiteX113" fmla="*/ 697252 w 4519987"/>
              <a:gd name="connsiteY113" fmla="*/ 657225 h 4496940"/>
              <a:gd name="connsiteX114" fmla="*/ 840127 w 4519987"/>
              <a:gd name="connsiteY114" fmla="*/ 533400 h 4496940"/>
              <a:gd name="connsiteX115" fmla="*/ 887752 w 4519987"/>
              <a:gd name="connsiteY115" fmla="*/ 504825 h 4496940"/>
              <a:gd name="connsiteX116" fmla="*/ 1167152 w 4519987"/>
              <a:gd name="connsiteY116" fmla="*/ 311150 h 4496940"/>
              <a:gd name="connsiteX117" fmla="*/ 1268752 w 4519987"/>
              <a:gd name="connsiteY117" fmla="*/ 285750 h 4496940"/>
              <a:gd name="connsiteX118" fmla="*/ 1411627 w 4519987"/>
              <a:gd name="connsiteY118" fmla="*/ 190500 h 4496940"/>
              <a:gd name="connsiteX119" fmla="*/ 1449727 w 4519987"/>
              <a:gd name="connsiteY119" fmla="*/ 161925 h 4496940"/>
              <a:gd name="connsiteX120" fmla="*/ 1525927 w 4519987"/>
              <a:gd name="connsiteY120" fmla="*/ 152400 h 4496940"/>
              <a:gd name="connsiteX121" fmla="*/ 1583077 w 4519987"/>
              <a:gd name="connsiteY121" fmla="*/ 142875 h 4496940"/>
              <a:gd name="connsiteX122" fmla="*/ 1716427 w 4519987"/>
              <a:gd name="connsiteY122" fmla="*/ 123825 h 4496940"/>
              <a:gd name="connsiteX123" fmla="*/ 1811677 w 4519987"/>
              <a:gd name="connsiteY123" fmla="*/ 114300 h 4496940"/>
              <a:gd name="connsiteX124" fmla="*/ 1859302 w 4519987"/>
              <a:gd name="connsiteY124" fmla="*/ 104775 h 4496940"/>
              <a:gd name="connsiteX125" fmla="*/ 1916452 w 4519987"/>
              <a:gd name="connsiteY125" fmla="*/ 95250 h 4496940"/>
              <a:gd name="connsiteX126" fmla="*/ 2030752 w 4519987"/>
              <a:gd name="connsiteY126" fmla="*/ 66675 h 4496940"/>
              <a:gd name="connsiteX127" fmla="*/ 2097427 w 4519987"/>
              <a:gd name="connsiteY127" fmla="*/ 47625 h 4496940"/>
              <a:gd name="connsiteX128" fmla="*/ 2164102 w 4519987"/>
              <a:gd name="connsiteY128" fmla="*/ 38100 h 4496940"/>
              <a:gd name="connsiteX129" fmla="*/ 2392702 w 4519987"/>
              <a:gd name="connsiteY12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516652 w 4519987"/>
              <a:gd name="connsiteY39" fmla="*/ 4114800 h 4496940"/>
              <a:gd name="connsiteX40" fmla="*/ 3497602 w 4519987"/>
              <a:gd name="connsiteY40" fmla="*/ 4143375 h 4496940"/>
              <a:gd name="connsiteX41" fmla="*/ 3383302 w 4519987"/>
              <a:gd name="connsiteY41" fmla="*/ 4210050 h 4496940"/>
              <a:gd name="connsiteX42" fmla="*/ 3335677 w 4519987"/>
              <a:gd name="connsiteY42" fmla="*/ 4238625 h 4496940"/>
              <a:gd name="connsiteX43" fmla="*/ 3288052 w 4519987"/>
              <a:gd name="connsiteY43" fmla="*/ 4248150 h 4496940"/>
              <a:gd name="connsiteX44" fmla="*/ 3240427 w 4519987"/>
              <a:gd name="connsiteY44" fmla="*/ 4267200 h 4496940"/>
              <a:gd name="connsiteX45" fmla="*/ 3068977 w 4519987"/>
              <a:gd name="connsiteY45" fmla="*/ 4286250 h 4496940"/>
              <a:gd name="connsiteX46" fmla="*/ 2935627 w 4519987"/>
              <a:gd name="connsiteY46" fmla="*/ 4333875 h 4496940"/>
              <a:gd name="connsiteX47" fmla="*/ 2811802 w 4519987"/>
              <a:gd name="connsiteY47" fmla="*/ 4371975 h 4496940"/>
              <a:gd name="connsiteX48" fmla="*/ 2745127 w 4519987"/>
              <a:gd name="connsiteY48" fmla="*/ 4410075 h 4496940"/>
              <a:gd name="connsiteX49" fmla="*/ 2697502 w 4519987"/>
              <a:gd name="connsiteY49" fmla="*/ 4429125 h 4496940"/>
              <a:gd name="connsiteX50" fmla="*/ 2640352 w 4519987"/>
              <a:gd name="connsiteY50" fmla="*/ 4457700 h 4496940"/>
              <a:gd name="connsiteX51" fmla="*/ 2583202 w 4519987"/>
              <a:gd name="connsiteY51" fmla="*/ 4467225 h 4496940"/>
              <a:gd name="connsiteX52" fmla="*/ 2545102 w 4519987"/>
              <a:gd name="connsiteY52" fmla="*/ 4486275 h 4496940"/>
              <a:gd name="connsiteX53" fmla="*/ 2306977 w 4519987"/>
              <a:gd name="connsiteY53" fmla="*/ 4476750 h 4496940"/>
              <a:gd name="connsiteX54" fmla="*/ 2202202 w 4519987"/>
              <a:gd name="connsiteY54" fmla="*/ 4457700 h 4496940"/>
              <a:gd name="connsiteX55" fmla="*/ 2126002 w 4519987"/>
              <a:gd name="connsiteY55" fmla="*/ 4429125 h 4496940"/>
              <a:gd name="connsiteX56" fmla="*/ 1935502 w 4519987"/>
              <a:gd name="connsiteY56" fmla="*/ 4400550 h 4496940"/>
              <a:gd name="connsiteX57" fmla="*/ 1821202 w 4519987"/>
              <a:gd name="connsiteY57" fmla="*/ 4371975 h 4496940"/>
              <a:gd name="connsiteX58" fmla="*/ 1754527 w 4519987"/>
              <a:gd name="connsiteY58" fmla="*/ 4352925 h 4496940"/>
              <a:gd name="connsiteX59" fmla="*/ 1687852 w 4519987"/>
              <a:gd name="connsiteY59" fmla="*/ 4343400 h 4496940"/>
              <a:gd name="connsiteX60" fmla="*/ 1573552 w 4519987"/>
              <a:gd name="connsiteY60" fmla="*/ 4305300 h 4496940"/>
              <a:gd name="connsiteX61" fmla="*/ 1402102 w 4519987"/>
              <a:gd name="connsiteY61" fmla="*/ 4276725 h 4496940"/>
              <a:gd name="connsiteX62" fmla="*/ 1287802 w 4519987"/>
              <a:gd name="connsiteY62" fmla="*/ 4229100 h 4496940"/>
              <a:gd name="connsiteX63" fmla="*/ 1221127 w 4519987"/>
              <a:gd name="connsiteY63" fmla="*/ 4200525 h 4496940"/>
              <a:gd name="connsiteX64" fmla="*/ 1144927 w 4519987"/>
              <a:gd name="connsiteY64" fmla="*/ 4171950 h 4496940"/>
              <a:gd name="connsiteX65" fmla="*/ 1087777 w 4519987"/>
              <a:gd name="connsiteY65" fmla="*/ 4143375 h 4496940"/>
              <a:gd name="connsiteX66" fmla="*/ 1030627 w 4519987"/>
              <a:gd name="connsiteY66" fmla="*/ 4124325 h 4496940"/>
              <a:gd name="connsiteX67" fmla="*/ 925852 w 4519987"/>
              <a:gd name="connsiteY67" fmla="*/ 4067175 h 4496940"/>
              <a:gd name="connsiteX68" fmla="*/ 830602 w 4519987"/>
              <a:gd name="connsiteY68" fmla="*/ 3981450 h 4496940"/>
              <a:gd name="connsiteX69" fmla="*/ 763927 w 4519987"/>
              <a:gd name="connsiteY69" fmla="*/ 3914775 h 4496940"/>
              <a:gd name="connsiteX70" fmla="*/ 725827 w 4519987"/>
              <a:gd name="connsiteY70" fmla="*/ 3876675 h 4496940"/>
              <a:gd name="connsiteX71" fmla="*/ 697252 w 4519987"/>
              <a:gd name="connsiteY71" fmla="*/ 3838575 h 4496940"/>
              <a:gd name="connsiteX72" fmla="*/ 640102 w 4519987"/>
              <a:gd name="connsiteY72" fmla="*/ 3781425 h 4496940"/>
              <a:gd name="connsiteX73" fmla="*/ 611527 w 4519987"/>
              <a:gd name="connsiteY73" fmla="*/ 3733800 h 4496940"/>
              <a:gd name="connsiteX74" fmla="*/ 554377 w 4519987"/>
              <a:gd name="connsiteY74" fmla="*/ 3657600 h 4496940"/>
              <a:gd name="connsiteX75" fmla="*/ 525802 w 4519987"/>
              <a:gd name="connsiteY75" fmla="*/ 3609975 h 4496940"/>
              <a:gd name="connsiteX76" fmla="*/ 497227 w 4519987"/>
              <a:gd name="connsiteY76" fmla="*/ 3552825 h 4496940"/>
              <a:gd name="connsiteX77" fmla="*/ 440077 w 4519987"/>
              <a:gd name="connsiteY77" fmla="*/ 3495675 h 4496940"/>
              <a:gd name="connsiteX78" fmla="*/ 411502 w 4519987"/>
              <a:gd name="connsiteY78" fmla="*/ 3448050 h 4496940"/>
              <a:gd name="connsiteX79" fmla="*/ 278152 w 4519987"/>
              <a:gd name="connsiteY79" fmla="*/ 3257550 h 4496940"/>
              <a:gd name="connsiteX80" fmla="*/ 249577 w 4519987"/>
              <a:gd name="connsiteY80" fmla="*/ 3200400 h 4496940"/>
              <a:gd name="connsiteX81" fmla="*/ 240052 w 4519987"/>
              <a:gd name="connsiteY81" fmla="*/ 3162300 h 4496940"/>
              <a:gd name="connsiteX82" fmla="*/ 221002 w 4519987"/>
              <a:gd name="connsiteY82" fmla="*/ 3105150 h 4496940"/>
              <a:gd name="connsiteX83" fmla="*/ 173377 w 4519987"/>
              <a:gd name="connsiteY83" fmla="*/ 3019425 h 4496940"/>
              <a:gd name="connsiteX84" fmla="*/ 144802 w 4519987"/>
              <a:gd name="connsiteY84" fmla="*/ 2924175 h 4496940"/>
              <a:gd name="connsiteX85" fmla="*/ 68602 w 4519987"/>
              <a:gd name="connsiteY85" fmla="*/ 2724150 h 4496940"/>
              <a:gd name="connsiteX86" fmla="*/ 49552 w 4519987"/>
              <a:gd name="connsiteY86" fmla="*/ 2638425 h 4496940"/>
              <a:gd name="connsiteX87" fmla="*/ 40027 w 4519987"/>
              <a:gd name="connsiteY87" fmla="*/ 2562225 h 4496940"/>
              <a:gd name="connsiteX88" fmla="*/ 30502 w 4519987"/>
              <a:gd name="connsiteY88" fmla="*/ 2514600 h 4496940"/>
              <a:gd name="connsiteX89" fmla="*/ 11452 w 4519987"/>
              <a:gd name="connsiteY89" fmla="*/ 2400300 h 4496940"/>
              <a:gd name="connsiteX90" fmla="*/ 20977 w 4519987"/>
              <a:gd name="connsiteY90" fmla="*/ 1905000 h 4496940"/>
              <a:gd name="connsiteX91" fmla="*/ 30502 w 4519987"/>
              <a:gd name="connsiteY91" fmla="*/ 1838325 h 4496940"/>
              <a:gd name="connsiteX92" fmla="*/ 49552 w 4519987"/>
              <a:gd name="connsiteY92" fmla="*/ 1781175 h 4496940"/>
              <a:gd name="connsiteX93" fmla="*/ 59077 w 4519987"/>
              <a:gd name="connsiteY93" fmla="*/ 1743075 h 4496940"/>
              <a:gd name="connsiteX94" fmla="*/ 78127 w 4519987"/>
              <a:gd name="connsiteY94" fmla="*/ 1685925 h 4496940"/>
              <a:gd name="connsiteX95" fmla="*/ 87652 w 4519987"/>
              <a:gd name="connsiteY95" fmla="*/ 1638300 h 4496940"/>
              <a:gd name="connsiteX96" fmla="*/ 106702 w 4519987"/>
              <a:gd name="connsiteY96" fmla="*/ 1590675 h 4496940"/>
              <a:gd name="connsiteX97" fmla="*/ 135277 w 4519987"/>
              <a:gd name="connsiteY97" fmla="*/ 1504950 h 4496940"/>
              <a:gd name="connsiteX98" fmla="*/ 154327 w 4519987"/>
              <a:gd name="connsiteY98" fmla="*/ 1419225 h 4496940"/>
              <a:gd name="connsiteX99" fmla="*/ 230527 w 4519987"/>
              <a:gd name="connsiteY99" fmla="*/ 1276350 h 4496940"/>
              <a:gd name="connsiteX100" fmla="*/ 240052 w 4519987"/>
              <a:gd name="connsiteY100" fmla="*/ 1247775 h 4496940"/>
              <a:gd name="connsiteX101" fmla="*/ 268627 w 4519987"/>
              <a:gd name="connsiteY101" fmla="*/ 1200150 h 4496940"/>
              <a:gd name="connsiteX102" fmla="*/ 287677 w 4519987"/>
              <a:gd name="connsiteY102" fmla="*/ 1152525 h 4496940"/>
              <a:gd name="connsiteX103" fmla="*/ 316252 w 4519987"/>
              <a:gd name="connsiteY103" fmla="*/ 1114425 h 4496940"/>
              <a:gd name="connsiteX104" fmla="*/ 363877 w 4519987"/>
              <a:gd name="connsiteY104" fmla="*/ 1038225 h 4496940"/>
              <a:gd name="connsiteX105" fmla="*/ 382927 w 4519987"/>
              <a:gd name="connsiteY105" fmla="*/ 1009650 h 4496940"/>
              <a:gd name="connsiteX106" fmla="*/ 440077 w 4519987"/>
              <a:gd name="connsiteY106" fmla="*/ 904875 h 4496940"/>
              <a:gd name="connsiteX107" fmla="*/ 478177 w 4519987"/>
              <a:gd name="connsiteY107" fmla="*/ 857250 h 4496940"/>
              <a:gd name="connsiteX108" fmla="*/ 497227 w 4519987"/>
              <a:gd name="connsiteY108" fmla="*/ 828675 h 4496940"/>
              <a:gd name="connsiteX109" fmla="*/ 535327 w 4519987"/>
              <a:gd name="connsiteY109" fmla="*/ 800100 h 4496940"/>
              <a:gd name="connsiteX110" fmla="*/ 602002 w 4519987"/>
              <a:gd name="connsiteY110" fmla="*/ 733425 h 4496940"/>
              <a:gd name="connsiteX111" fmla="*/ 668677 w 4519987"/>
              <a:gd name="connsiteY111" fmla="*/ 676275 h 4496940"/>
              <a:gd name="connsiteX112" fmla="*/ 697252 w 4519987"/>
              <a:gd name="connsiteY112" fmla="*/ 657225 h 4496940"/>
              <a:gd name="connsiteX113" fmla="*/ 840127 w 4519987"/>
              <a:gd name="connsiteY113" fmla="*/ 533400 h 4496940"/>
              <a:gd name="connsiteX114" fmla="*/ 887752 w 4519987"/>
              <a:gd name="connsiteY114" fmla="*/ 504825 h 4496940"/>
              <a:gd name="connsiteX115" fmla="*/ 1167152 w 4519987"/>
              <a:gd name="connsiteY115" fmla="*/ 311150 h 4496940"/>
              <a:gd name="connsiteX116" fmla="*/ 1268752 w 4519987"/>
              <a:gd name="connsiteY116" fmla="*/ 285750 h 4496940"/>
              <a:gd name="connsiteX117" fmla="*/ 1411627 w 4519987"/>
              <a:gd name="connsiteY117" fmla="*/ 190500 h 4496940"/>
              <a:gd name="connsiteX118" fmla="*/ 1449727 w 4519987"/>
              <a:gd name="connsiteY118" fmla="*/ 161925 h 4496940"/>
              <a:gd name="connsiteX119" fmla="*/ 1525927 w 4519987"/>
              <a:gd name="connsiteY119" fmla="*/ 152400 h 4496940"/>
              <a:gd name="connsiteX120" fmla="*/ 1583077 w 4519987"/>
              <a:gd name="connsiteY120" fmla="*/ 142875 h 4496940"/>
              <a:gd name="connsiteX121" fmla="*/ 1716427 w 4519987"/>
              <a:gd name="connsiteY121" fmla="*/ 123825 h 4496940"/>
              <a:gd name="connsiteX122" fmla="*/ 1811677 w 4519987"/>
              <a:gd name="connsiteY122" fmla="*/ 114300 h 4496940"/>
              <a:gd name="connsiteX123" fmla="*/ 1859302 w 4519987"/>
              <a:gd name="connsiteY123" fmla="*/ 104775 h 4496940"/>
              <a:gd name="connsiteX124" fmla="*/ 1916452 w 4519987"/>
              <a:gd name="connsiteY124" fmla="*/ 95250 h 4496940"/>
              <a:gd name="connsiteX125" fmla="*/ 2030752 w 4519987"/>
              <a:gd name="connsiteY125" fmla="*/ 66675 h 4496940"/>
              <a:gd name="connsiteX126" fmla="*/ 2097427 w 4519987"/>
              <a:gd name="connsiteY126" fmla="*/ 47625 h 4496940"/>
              <a:gd name="connsiteX127" fmla="*/ 2164102 w 4519987"/>
              <a:gd name="connsiteY127" fmla="*/ 38100 h 4496940"/>
              <a:gd name="connsiteX128" fmla="*/ 2392702 w 4519987"/>
              <a:gd name="connsiteY12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516652 w 4519987"/>
              <a:gd name="connsiteY39" fmla="*/ 4114800 h 4496940"/>
              <a:gd name="connsiteX40" fmla="*/ 3383302 w 4519987"/>
              <a:gd name="connsiteY40" fmla="*/ 4210050 h 4496940"/>
              <a:gd name="connsiteX41" fmla="*/ 3335677 w 4519987"/>
              <a:gd name="connsiteY41" fmla="*/ 4238625 h 4496940"/>
              <a:gd name="connsiteX42" fmla="*/ 3288052 w 4519987"/>
              <a:gd name="connsiteY42" fmla="*/ 4248150 h 4496940"/>
              <a:gd name="connsiteX43" fmla="*/ 3240427 w 4519987"/>
              <a:gd name="connsiteY43" fmla="*/ 4267200 h 4496940"/>
              <a:gd name="connsiteX44" fmla="*/ 3068977 w 4519987"/>
              <a:gd name="connsiteY44" fmla="*/ 4286250 h 4496940"/>
              <a:gd name="connsiteX45" fmla="*/ 2935627 w 4519987"/>
              <a:gd name="connsiteY45" fmla="*/ 4333875 h 4496940"/>
              <a:gd name="connsiteX46" fmla="*/ 2811802 w 4519987"/>
              <a:gd name="connsiteY46" fmla="*/ 4371975 h 4496940"/>
              <a:gd name="connsiteX47" fmla="*/ 2745127 w 4519987"/>
              <a:gd name="connsiteY47" fmla="*/ 4410075 h 4496940"/>
              <a:gd name="connsiteX48" fmla="*/ 2697502 w 4519987"/>
              <a:gd name="connsiteY48" fmla="*/ 4429125 h 4496940"/>
              <a:gd name="connsiteX49" fmla="*/ 2640352 w 4519987"/>
              <a:gd name="connsiteY49" fmla="*/ 4457700 h 4496940"/>
              <a:gd name="connsiteX50" fmla="*/ 2583202 w 4519987"/>
              <a:gd name="connsiteY50" fmla="*/ 4467225 h 4496940"/>
              <a:gd name="connsiteX51" fmla="*/ 2545102 w 4519987"/>
              <a:gd name="connsiteY51" fmla="*/ 4486275 h 4496940"/>
              <a:gd name="connsiteX52" fmla="*/ 2306977 w 4519987"/>
              <a:gd name="connsiteY52" fmla="*/ 4476750 h 4496940"/>
              <a:gd name="connsiteX53" fmla="*/ 2202202 w 4519987"/>
              <a:gd name="connsiteY53" fmla="*/ 4457700 h 4496940"/>
              <a:gd name="connsiteX54" fmla="*/ 2126002 w 4519987"/>
              <a:gd name="connsiteY54" fmla="*/ 4429125 h 4496940"/>
              <a:gd name="connsiteX55" fmla="*/ 1935502 w 4519987"/>
              <a:gd name="connsiteY55" fmla="*/ 4400550 h 4496940"/>
              <a:gd name="connsiteX56" fmla="*/ 1821202 w 4519987"/>
              <a:gd name="connsiteY56" fmla="*/ 4371975 h 4496940"/>
              <a:gd name="connsiteX57" fmla="*/ 1754527 w 4519987"/>
              <a:gd name="connsiteY57" fmla="*/ 4352925 h 4496940"/>
              <a:gd name="connsiteX58" fmla="*/ 1687852 w 4519987"/>
              <a:gd name="connsiteY58" fmla="*/ 4343400 h 4496940"/>
              <a:gd name="connsiteX59" fmla="*/ 1573552 w 4519987"/>
              <a:gd name="connsiteY59" fmla="*/ 4305300 h 4496940"/>
              <a:gd name="connsiteX60" fmla="*/ 1402102 w 4519987"/>
              <a:gd name="connsiteY60" fmla="*/ 4276725 h 4496940"/>
              <a:gd name="connsiteX61" fmla="*/ 1287802 w 4519987"/>
              <a:gd name="connsiteY61" fmla="*/ 4229100 h 4496940"/>
              <a:gd name="connsiteX62" fmla="*/ 1221127 w 4519987"/>
              <a:gd name="connsiteY62" fmla="*/ 4200525 h 4496940"/>
              <a:gd name="connsiteX63" fmla="*/ 1144927 w 4519987"/>
              <a:gd name="connsiteY63" fmla="*/ 4171950 h 4496940"/>
              <a:gd name="connsiteX64" fmla="*/ 1087777 w 4519987"/>
              <a:gd name="connsiteY64" fmla="*/ 4143375 h 4496940"/>
              <a:gd name="connsiteX65" fmla="*/ 1030627 w 4519987"/>
              <a:gd name="connsiteY65" fmla="*/ 4124325 h 4496940"/>
              <a:gd name="connsiteX66" fmla="*/ 925852 w 4519987"/>
              <a:gd name="connsiteY66" fmla="*/ 4067175 h 4496940"/>
              <a:gd name="connsiteX67" fmla="*/ 830602 w 4519987"/>
              <a:gd name="connsiteY67" fmla="*/ 3981450 h 4496940"/>
              <a:gd name="connsiteX68" fmla="*/ 763927 w 4519987"/>
              <a:gd name="connsiteY68" fmla="*/ 3914775 h 4496940"/>
              <a:gd name="connsiteX69" fmla="*/ 725827 w 4519987"/>
              <a:gd name="connsiteY69" fmla="*/ 3876675 h 4496940"/>
              <a:gd name="connsiteX70" fmla="*/ 697252 w 4519987"/>
              <a:gd name="connsiteY70" fmla="*/ 3838575 h 4496940"/>
              <a:gd name="connsiteX71" fmla="*/ 640102 w 4519987"/>
              <a:gd name="connsiteY71" fmla="*/ 3781425 h 4496940"/>
              <a:gd name="connsiteX72" fmla="*/ 611527 w 4519987"/>
              <a:gd name="connsiteY72" fmla="*/ 3733800 h 4496940"/>
              <a:gd name="connsiteX73" fmla="*/ 554377 w 4519987"/>
              <a:gd name="connsiteY73" fmla="*/ 3657600 h 4496940"/>
              <a:gd name="connsiteX74" fmla="*/ 525802 w 4519987"/>
              <a:gd name="connsiteY74" fmla="*/ 3609975 h 4496940"/>
              <a:gd name="connsiteX75" fmla="*/ 497227 w 4519987"/>
              <a:gd name="connsiteY75" fmla="*/ 3552825 h 4496940"/>
              <a:gd name="connsiteX76" fmla="*/ 440077 w 4519987"/>
              <a:gd name="connsiteY76" fmla="*/ 3495675 h 4496940"/>
              <a:gd name="connsiteX77" fmla="*/ 411502 w 4519987"/>
              <a:gd name="connsiteY77" fmla="*/ 3448050 h 4496940"/>
              <a:gd name="connsiteX78" fmla="*/ 278152 w 4519987"/>
              <a:gd name="connsiteY78" fmla="*/ 3257550 h 4496940"/>
              <a:gd name="connsiteX79" fmla="*/ 249577 w 4519987"/>
              <a:gd name="connsiteY79" fmla="*/ 3200400 h 4496940"/>
              <a:gd name="connsiteX80" fmla="*/ 240052 w 4519987"/>
              <a:gd name="connsiteY80" fmla="*/ 3162300 h 4496940"/>
              <a:gd name="connsiteX81" fmla="*/ 221002 w 4519987"/>
              <a:gd name="connsiteY81" fmla="*/ 3105150 h 4496940"/>
              <a:gd name="connsiteX82" fmla="*/ 173377 w 4519987"/>
              <a:gd name="connsiteY82" fmla="*/ 3019425 h 4496940"/>
              <a:gd name="connsiteX83" fmla="*/ 144802 w 4519987"/>
              <a:gd name="connsiteY83" fmla="*/ 2924175 h 4496940"/>
              <a:gd name="connsiteX84" fmla="*/ 68602 w 4519987"/>
              <a:gd name="connsiteY84" fmla="*/ 2724150 h 4496940"/>
              <a:gd name="connsiteX85" fmla="*/ 49552 w 4519987"/>
              <a:gd name="connsiteY85" fmla="*/ 2638425 h 4496940"/>
              <a:gd name="connsiteX86" fmla="*/ 40027 w 4519987"/>
              <a:gd name="connsiteY86" fmla="*/ 2562225 h 4496940"/>
              <a:gd name="connsiteX87" fmla="*/ 30502 w 4519987"/>
              <a:gd name="connsiteY87" fmla="*/ 2514600 h 4496940"/>
              <a:gd name="connsiteX88" fmla="*/ 11452 w 4519987"/>
              <a:gd name="connsiteY88" fmla="*/ 2400300 h 4496940"/>
              <a:gd name="connsiteX89" fmla="*/ 20977 w 4519987"/>
              <a:gd name="connsiteY89" fmla="*/ 1905000 h 4496940"/>
              <a:gd name="connsiteX90" fmla="*/ 30502 w 4519987"/>
              <a:gd name="connsiteY90" fmla="*/ 1838325 h 4496940"/>
              <a:gd name="connsiteX91" fmla="*/ 49552 w 4519987"/>
              <a:gd name="connsiteY91" fmla="*/ 1781175 h 4496940"/>
              <a:gd name="connsiteX92" fmla="*/ 59077 w 4519987"/>
              <a:gd name="connsiteY92" fmla="*/ 1743075 h 4496940"/>
              <a:gd name="connsiteX93" fmla="*/ 78127 w 4519987"/>
              <a:gd name="connsiteY93" fmla="*/ 1685925 h 4496940"/>
              <a:gd name="connsiteX94" fmla="*/ 87652 w 4519987"/>
              <a:gd name="connsiteY94" fmla="*/ 1638300 h 4496940"/>
              <a:gd name="connsiteX95" fmla="*/ 106702 w 4519987"/>
              <a:gd name="connsiteY95" fmla="*/ 1590675 h 4496940"/>
              <a:gd name="connsiteX96" fmla="*/ 135277 w 4519987"/>
              <a:gd name="connsiteY96" fmla="*/ 1504950 h 4496940"/>
              <a:gd name="connsiteX97" fmla="*/ 154327 w 4519987"/>
              <a:gd name="connsiteY97" fmla="*/ 1419225 h 4496940"/>
              <a:gd name="connsiteX98" fmla="*/ 230527 w 4519987"/>
              <a:gd name="connsiteY98" fmla="*/ 1276350 h 4496940"/>
              <a:gd name="connsiteX99" fmla="*/ 240052 w 4519987"/>
              <a:gd name="connsiteY99" fmla="*/ 1247775 h 4496940"/>
              <a:gd name="connsiteX100" fmla="*/ 268627 w 4519987"/>
              <a:gd name="connsiteY100" fmla="*/ 1200150 h 4496940"/>
              <a:gd name="connsiteX101" fmla="*/ 287677 w 4519987"/>
              <a:gd name="connsiteY101" fmla="*/ 1152525 h 4496940"/>
              <a:gd name="connsiteX102" fmla="*/ 316252 w 4519987"/>
              <a:gd name="connsiteY102" fmla="*/ 1114425 h 4496940"/>
              <a:gd name="connsiteX103" fmla="*/ 363877 w 4519987"/>
              <a:gd name="connsiteY103" fmla="*/ 1038225 h 4496940"/>
              <a:gd name="connsiteX104" fmla="*/ 382927 w 4519987"/>
              <a:gd name="connsiteY104" fmla="*/ 1009650 h 4496940"/>
              <a:gd name="connsiteX105" fmla="*/ 440077 w 4519987"/>
              <a:gd name="connsiteY105" fmla="*/ 904875 h 4496940"/>
              <a:gd name="connsiteX106" fmla="*/ 478177 w 4519987"/>
              <a:gd name="connsiteY106" fmla="*/ 857250 h 4496940"/>
              <a:gd name="connsiteX107" fmla="*/ 497227 w 4519987"/>
              <a:gd name="connsiteY107" fmla="*/ 828675 h 4496940"/>
              <a:gd name="connsiteX108" fmla="*/ 535327 w 4519987"/>
              <a:gd name="connsiteY108" fmla="*/ 800100 h 4496940"/>
              <a:gd name="connsiteX109" fmla="*/ 602002 w 4519987"/>
              <a:gd name="connsiteY109" fmla="*/ 733425 h 4496940"/>
              <a:gd name="connsiteX110" fmla="*/ 668677 w 4519987"/>
              <a:gd name="connsiteY110" fmla="*/ 676275 h 4496940"/>
              <a:gd name="connsiteX111" fmla="*/ 697252 w 4519987"/>
              <a:gd name="connsiteY111" fmla="*/ 657225 h 4496940"/>
              <a:gd name="connsiteX112" fmla="*/ 840127 w 4519987"/>
              <a:gd name="connsiteY112" fmla="*/ 533400 h 4496940"/>
              <a:gd name="connsiteX113" fmla="*/ 887752 w 4519987"/>
              <a:gd name="connsiteY113" fmla="*/ 504825 h 4496940"/>
              <a:gd name="connsiteX114" fmla="*/ 1167152 w 4519987"/>
              <a:gd name="connsiteY114" fmla="*/ 311150 h 4496940"/>
              <a:gd name="connsiteX115" fmla="*/ 1268752 w 4519987"/>
              <a:gd name="connsiteY115" fmla="*/ 285750 h 4496940"/>
              <a:gd name="connsiteX116" fmla="*/ 1411627 w 4519987"/>
              <a:gd name="connsiteY116" fmla="*/ 190500 h 4496940"/>
              <a:gd name="connsiteX117" fmla="*/ 1449727 w 4519987"/>
              <a:gd name="connsiteY117" fmla="*/ 161925 h 4496940"/>
              <a:gd name="connsiteX118" fmla="*/ 1525927 w 4519987"/>
              <a:gd name="connsiteY118" fmla="*/ 152400 h 4496940"/>
              <a:gd name="connsiteX119" fmla="*/ 1583077 w 4519987"/>
              <a:gd name="connsiteY119" fmla="*/ 142875 h 4496940"/>
              <a:gd name="connsiteX120" fmla="*/ 1716427 w 4519987"/>
              <a:gd name="connsiteY120" fmla="*/ 123825 h 4496940"/>
              <a:gd name="connsiteX121" fmla="*/ 1811677 w 4519987"/>
              <a:gd name="connsiteY121" fmla="*/ 114300 h 4496940"/>
              <a:gd name="connsiteX122" fmla="*/ 1859302 w 4519987"/>
              <a:gd name="connsiteY122" fmla="*/ 104775 h 4496940"/>
              <a:gd name="connsiteX123" fmla="*/ 1916452 w 4519987"/>
              <a:gd name="connsiteY123" fmla="*/ 95250 h 4496940"/>
              <a:gd name="connsiteX124" fmla="*/ 2030752 w 4519987"/>
              <a:gd name="connsiteY124" fmla="*/ 66675 h 4496940"/>
              <a:gd name="connsiteX125" fmla="*/ 2097427 w 4519987"/>
              <a:gd name="connsiteY125" fmla="*/ 47625 h 4496940"/>
              <a:gd name="connsiteX126" fmla="*/ 2164102 w 4519987"/>
              <a:gd name="connsiteY126" fmla="*/ 38100 h 4496940"/>
              <a:gd name="connsiteX127" fmla="*/ 2392702 w 4519987"/>
              <a:gd name="connsiteY12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383302 w 4519987"/>
              <a:gd name="connsiteY39" fmla="*/ 4210050 h 4496940"/>
              <a:gd name="connsiteX40" fmla="*/ 3335677 w 4519987"/>
              <a:gd name="connsiteY40" fmla="*/ 4238625 h 4496940"/>
              <a:gd name="connsiteX41" fmla="*/ 3288052 w 4519987"/>
              <a:gd name="connsiteY41" fmla="*/ 4248150 h 4496940"/>
              <a:gd name="connsiteX42" fmla="*/ 3240427 w 4519987"/>
              <a:gd name="connsiteY42" fmla="*/ 4267200 h 4496940"/>
              <a:gd name="connsiteX43" fmla="*/ 3068977 w 4519987"/>
              <a:gd name="connsiteY43" fmla="*/ 4286250 h 4496940"/>
              <a:gd name="connsiteX44" fmla="*/ 2935627 w 4519987"/>
              <a:gd name="connsiteY44" fmla="*/ 4333875 h 4496940"/>
              <a:gd name="connsiteX45" fmla="*/ 2811802 w 4519987"/>
              <a:gd name="connsiteY45" fmla="*/ 4371975 h 4496940"/>
              <a:gd name="connsiteX46" fmla="*/ 2745127 w 4519987"/>
              <a:gd name="connsiteY46" fmla="*/ 4410075 h 4496940"/>
              <a:gd name="connsiteX47" fmla="*/ 2697502 w 4519987"/>
              <a:gd name="connsiteY47" fmla="*/ 4429125 h 4496940"/>
              <a:gd name="connsiteX48" fmla="*/ 2640352 w 4519987"/>
              <a:gd name="connsiteY48" fmla="*/ 4457700 h 4496940"/>
              <a:gd name="connsiteX49" fmla="*/ 2583202 w 4519987"/>
              <a:gd name="connsiteY49" fmla="*/ 4467225 h 4496940"/>
              <a:gd name="connsiteX50" fmla="*/ 2545102 w 4519987"/>
              <a:gd name="connsiteY50" fmla="*/ 4486275 h 4496940"/>
              <a:gd name="connsiteX51" fmla="*/ 2306977 w 4519987"/>
              <a:gd name="connsiteY51" fmla="*/ 4476750 h 4496940"/>
              <a:gd name="connsiteX52" fmla="*/ 2202202 w 4519987"/>
              <a:gd name="connsiteY52" fmla="*/ 4457700 h 4496940"/>
              <a:gd name="connsiteX53" fmla="*/ 2126002 w 4519987"/>
              <a:gd name="connsiteY53" fmla="*/ 4429125 h 4496940"/>
              <a:gd name="connsiteX54" fmla="*/ 1935502 w 4519987"/>
              <a:gd name="connsiteY54" fmla="*/ 4400550 h 4496940"/>
              <a:gd name="connsiteX55" fmla="*/ 1821202 w 4519987"/>
              <a:gd name="connsiteY55" fmla="*/ 4371975 h 4496940"/>
              <a:gd name="connsiteX56" fmla="*/ 1754527 w 4519987"/>
              <a:gd name="connsiteY56" fmla="*/ 4352925 h 4496940"/>
              <a:gd name="connsiteX57" fmla="*/ 1687852 w 4519987"/>
              <a:gd name="connsiteY57" fmla="*/ 4343400 h 4496940"/>
              <a:gd name="connsiteX58" fmla="*/ 1573552 w 4519987"/>
              <a:gd name="connsiteY58" fmla="*/ 4305300 h 4496940"/>
              <a:gd name="connsiteX59" fmla="*/ 1402102 w 4519987"/>
              <a:gd name="connsiteY59" fmla="*/ 4276725 h 4496940"/>
              <a:gd name="connsiteX60" fmla="*/ 1287802 w 4519987"/>
              <a:gd name="connsiteY60" fmla="*/ 4229100 h 4496940"/>
              <a:gd name="connsiteX61" fmla="*/ 1221127 w 4519987"/>
              <a:gd name="connsiteY61" fmla="*/ 4200525 h 4496940"/>
              <a:gd name="connsiteX62" fmla="*/ 1144927 w 4519987"/>
              <a:gd name="connsiteY62" fmla="*/ 4171950 h 4496940"/>
              <a:gd name="connsiteX63" fmla="*/ 1087777 w 4519987"/>
              <a:gd name="connsiteY63" fmla="*/ 4143375 h 4496940"/>
              <a:gd name="connsiteX64" fmla="*/ 1030627 w 4519987"/>
              <a:gd name="connsiteY64" fmla="*/ 4124325 h 4496940"/>
              <a:gd name="connsiteX65" fmla="*/ 925852 w 4519987"/>
              <a:gd name="connsiteY65" fmla="*/ 4067175 h 4496940"/>
              <a:gd name="connsiteX66" fmla="*/ 830602 w 4519987"/>
              <a:gd name="connsiteY66" fmla="*/ 3981450 h 4496940"/>
              <a:gd name="connsiteX67" fmla="*/ 763927 w 4519987"/>
              <a:gd name="connsiteY67" fmla="*/ 3914775 h 4496940"/>
              <a:gd name="connsiteX68" fmla="*/ 725827 w 4519987"/>
              <a:gd name="connsiteY68" fmla="*/ 3876675 h 4496940"/>
              <a:gd name="connsiteX69" fmla="*/ 697252 w 4519987"/>
              <a:gd name="connsiteY69" fmla="*/ 3838575 h 4496940"/>
              <a:gd name="connsiteX70" fmla="*/ 640102 w 4519987"/>
              <a:gd name="connsiteY70" fmla="*/ 3781425 h 4496940"/>
              <a:gd name="connsiteX71" fmla="*/ 611527 w 4519987"/>
              <a:gd name="connsiteY71" fmla="*/ 3733800 h 4496940"/>
              <a:gd name="connsiteX72" fmla="*/ 554377 w 4519987"/>
              <a:gd name="connsiteY72" fmla="*/ 3657600 h 4496940"/>
              <a:gd name="connsiteX73" fmla="*/ 525802 w 4519987"/>
              <a:gd name="connsiteY73" fmla="*/ 3609975 h 4496940"/>
              <a:gd name="connsiteX74" fmla="*/ 497227 w 4519987"/>
              <a:gd name="connsiteY74" fmla="*/ 3552825 h 4496940"/>
              <a:gd name="connsiteX75" fmla="*/ 440077 w 4519987"/>
              <a:gd name="connsiteY75" fmla="*/ 3495675 h 4496940"/>
              <a:gd name="connsiteX76" fmla="*/ 411502 w 4519987"/>
              <a:gd name="connsiteY76" fmla="*/ 3448050 h 4496940"/>
              <a:gd name="connsiteX77" fmla="*/ 278152 w 4519987"/>
              <a:gd name="connsiteY77" fmla="*/ 3257550 h 4496940"/>
              <a:gd name="connsiteX78" fmla="*/ 249577 w 4519987"/>
              <a:gd name="connsiteY78" fmla="*/ 3200400 h 4496940"/>
              <a:gd name="connsiteX79" fmla="*/ 240052 w 4519987"/>
              <a:gd name="connsiteY79" fmla="*/ 3162300 h 4496940"/>
              <a:gd name="connsiteX80" fmla="*/ 221002 w 4519987"/>
              <a:gd name="connsiteY80" fmla="*/ 3105150 h 4496940"/>
              <a:gd name="connsiteX81" fmla="*/ 173377 w 4519987"/>
              <a:gd name="connsiteY81" fmla="*/ 3019425 h 4496940"/>
              <a:gd name="connsiteX82" fmla="*/ 144802 w 4519987"/>
              <a:gd name="connsiteY82" fmla="*/ 2924175 h 4496940"/>
              <a:gd name="connsiteX83" fmla="*/ 68602 w 4519987"/>
              <a:gd name="connsiteY83" fmla="*/ 2724150 h 4496940"/>
              <a:gd name="connsiteX84" fmla="*/ 49552 w 4519987"/>
              <a:gd name="connsiteY84" fmla="*/ 2638425 h 4496940"/>
              <a:gd name="connsiteX85" fmla="*/ 40027 w 4519987"/>
              <a:gd name="connsiteY85" fmla="*/ 2562225 h 4496940"/>
              <a:gd name="connsiteX86" fmla="*/ 30502 w 4519987"/>
              <a:gd name="connsiteY86" fmla="*/ 2514600 h 4496940"/>
              <a:gd name="connsiteX87" fmla="*/ 11452 w 4519987"/>
              <a:gd name="connsiteY87" fmla="*/ 2400300 h 4496940"/>
              <a:gd name="connsiteX88" fmla="*/ 20977 w 4519987"/>
              <a:gd name="connsiteY88" fmla="*/ 1905000 h 4496940"/>
              <a:gd name="connsiteX89" fmla="*/ 30502 w 4519987"/>
              <a:gd name="connsiteY89" fmla="*/ 1838325 h 4496940"/>
              <a:gd name="connsiteX90" fmla="*/ 49552 w 4519987"/>
              <a:gd name="connsiteY90" fmla="*/ 1781175 h 4496940"/>
              <a:gd name="connsiteX91" fmla="*/ 59077 w 4519987"/>
              <a:gd name="connsiteY91" fmla="*/ 1743075 h 4496940"/>
              <a:gd name="connsiteX92" fmla="*/ 78127 w 4519987"/>
              <a:gd name="connsiteY92" fmla="*/ 1685925 h 4496940"/>
              <a:gd name="connsiteX93" fmla="*/ 87652 w 4519987"/>
              <a:gd name="connsiteY93" fmla="*/ 1638300 h 4496940"/>
              <a:gd name="connsiteX94" fmla="*/ 106702 w 4519987"/>
              <a:gd name="connsiteY94" fmla="*/ 1590675 h 4496940"/>
              <a:gd name="connsiteX95" fmla="*/ 135277 w 4519987"/>
              <a:gd name="connsiteY95" fmla="*/ 1504950 h 4496940"/>
              <a:gd name="connsiteX96" fmla="*/ 154327 w 4519987"/>
              <a:gd name="connsiteY96" fmla="*/ 1419225 h 4496940"/>
              <a:gd name="connsiteX97" fmla="*/ 230527 w 4519987"/>
              <a:gd name="connsiteY97" fmla="*/ 1276350 h 4496940"/>
              <a:gd name="connsiteX98" fmla="*/ 240052 w 4519987"/>
              <a:gd name="connsiteY98" fmla="*/ 1247775 h 4496940"/>
              <a:gd name="connsiteX99" fmla="*/ 268627 w 4519987"/>
              <a:gd name="connsiteY99" fmla="*/ 1200150 h 4496940"/>
              <a:gd name="connsiteX100" fmla="*/ 287677 w 4519987"/>
              <a:gd name="connsiteY100" fmla="*/ 1152525 h 4496940"/>
              <a:gd name="connsiteX101" fmla="*/ 316252 w 4519987"/>
              <a:gd name="connsiteY101" fmla="*/ 1114425 h 4496940"/>
              <a:gd name="connsiteX102" fmla="*/ 363877 w 4519987"/>
              <a:gd name="connsiteY102" fmla="*/ 1038225 h 4496940"/>
              <a:gd name="connsiteX103" fmla="*/ 382927 w 4519987"/>
              <a:gd name="connsiteY103" fmla="*/ 1009650 h 4496940"/>
              <a:gd name="connsiteX104" fmla="*/ 440077 w 4519987"/>
              <a:gd name="connsiteY104" fmla="*/ 904875 h 4496940"/>
              <a:gd name="connsiteX105" fmla="*/ 478177 w 4519987"/>
              <a:gd name="connsiteY105" fmla="*/ 857250 h 4496940"/>
              <a:gd name="connsiteX106" fmla="*/ 497227 w 4519987"/>
              <a:gd name="connsiteY106" fmla="*/ 828675 h 4496940"/>
              <a:gd name="connsiteX107" fmla="*/ 535327 w 4519987"/>
              <a:gd name="connsiteY107" fmla="*/ 800100 h 4496940"/>
              <a:gd name="connsiteX108" fmla="*/ 602002 w 4519987"/>
              <a:gd name="connsiteY108" fmla="*/ 733425 h 4496940"/>
              <a:gd name="connsiteX109" fmla="*/ 668677 w 4519987"/>
              <a:gd name="connsiteY109" fmla="*/ 676275 h 4496940"/>
              <a:gd name="connsiteX110" fmla="*/ 697252 w 4519987"/>
              <a:gd name="connsiteY110" fmla="*/ 657225 h 4496940"/>
              <a:gd name="connsiteX111" fmla="*/ 840127 w 4519987"/>
              <a:gd name="connsiteY111" fmla="*/ 533400 h 4496940"/>
              <a:gd name="connsiteX112" fmla="*/ 887752 w 4519987"/>
              <a:gd name="connsiteY112" fmla="*/ 504825 h 4496940"/>
              <a:gd name="connsiteX113" fmla="*/ 1167152 w 4519987"/>
              <a:gd name="connsiteY113" fmla="*/ 311150 h 4496940"/>
              <a:gd name="connsiteX114" fmla="*/ 1268752 w 4519987"/>
              <a:gd name="connsiteY114" fmla="*/ 285750 h 4496940"/>
              <a:gd name="connsiteX115" fmla="*/ 1411627 w 4519987"/>
              <a:gd name="connsiteY115" fmla="*/ 190500 h 4496940"/>
              <a:gd name="connsiteX116" fmla="*/ 1449727 w 4519987"/>
              <a:gd name="connsiteY116" fmla="*/ 161925 h 4496940"/>
              <a:gd name="connsiteX117" fmla="*/ 1525927 w 4519987"/>
              <a:gd name="connsiteY117" fmla="*/ 152400 h 4496940"/>
              <a:gd name="connsiteX118" fmla="*/ 1583077 w 4519987"/>
              <a:gd name="connsiteY118" fmla="*/ 142875 h 4496940"/>
              <a:gd name="connsiteX119" fmla="*/ 1716427 w 4519987"/>
              <a:gd name="connsiteY119" fmla="*/ 123825 h 4496940"/>
              <a:gd name="connsiteX120" fmla="*/ 1811677 w 4519987"/>
              <a:gd name="connsiteY120" fmla="*/ 114300 h 4496940"/>
              <a:gd name="connsiteX121" fmla="*/ 1859302 w 4519987"/>
              <a:gd name="connsiteY121" fmla="*/ 104775 h 4496940"/>
              <a:gd name="connsiteX122" fmla="*/ 1916452 w 4519987"/>
              <a:gd name="connsiteY122" fmla="*/ 95250 h 4496940"/>
              <a:gd name="connsiteX123" fmla="*/ 2030752 w 4519987"/>
              <a:gd name="connsiteY123" fmla="*/ 66675 h 4496940"/>
              <a:gd name="connsiteX124" fmla="*/ 2097427 w 4519987"/>
              <a:gd name="connsiteY124" fmla="*/ 47625 h 4496940"/>
              <a:gd name="connsiteX125" fmla="*/ 2164102 w 4519987"/>
              <a:gd name="connsiteY125" fmla="*/ 38100 h 4496940"/>
              <a:gd name="connsiteX126" fmla="*/ 2392702 w 4519987"/>
              <a:gd name="connsiteY12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554752 w 4519987"/>
              <a:gd name="connsiteY37" fmla="*/ 4095750 h 4496940"/>
              <a:gd name="connsiteX38" fmla="*/ 3383302 w 4519987"/>
              <a:gd name="connsiteY38" fmla="*/ 4210050 h 4496940"/>
              <a:gd name="connsiteX39" fmla="*/ 3335677 w 4519987"/>
              <a:gd name="connsiteY39" fmla="*/ 4238625 h 4496940"/>
              <a:gd name="connsiteX40" fmla="*/ 3288052 w 4519987"/>
              <a:gd name="connsiteY40" fmla="*/ 4248150 h 4496940"/>
              <a:gd name="connsiteX41" fmla="*/ 3240427 w 4519987"/>
              <a:gd name="connsiteY41" fmla="*/ 4267200 h 4496940"/>
              <a:gd name="connsiteX42" fmla="*/ 3068977 w 4519987"/>
              <a:gd name="connsiteY42" fmla="*/ 4286250 h 4496940"/>
              <a:gd name="connsiteX43" fmla="*/ 2935627 w 4519987"/>
              <a:gd name="connsiteY43" fmla="*/ 4333875 h 4496940"/>
              <a:gd name="connsiteX44" fmla="*/ 2811802 w 4519987"/>
              <a:gd name="connsiteY44" fmla="*/ 4371975 h 4496940"/>
              <a:gd name="connsiteX45" fmla="*/ 2745127 w 4519987"/>
              <a:gd name="connsiteY45" fmla="*/ 4410075 h 4496940"/>
              <a:gd name="connsiteX46" fmla="*/ 2697502 w 4519987"/>
              <a:gd name="connsiteY46" fmla="*/ 4429125 h 4496940"/>
              <a:gd name="connsiteX47" fmla="*/ 2640352 w 4519987"/>
              <a:gd name="connsiteY47" fmla="*/ 4457700 h 4496940"/>
              <a:gd name="connsiteX48" fmla="*/ 2583202 w 4519987"/>
              <a:gd name="connsiteY48" fmla="*/ 4467225 h 4496940"/>
              <a:gd name="connsiteX49" fmla="*/ 2545102 w 4519987"/>
              <a:gd name="connsiteY49" fmla="*/ 4486275 h 4496940"/>
              <a:gd name="connsiteX50" fmla="*/ 2306977 w 4519987"/>
              <a:gd name="connsiteY50" fmla="*/ 4476750 h 4496940"/>
              <a:gd name="connsiteX51" fmla="*/ 2202202 w 4519987"/>
              <a:gd name="connsiteY51" fmla="*/ 4457700 h 4496940"/>
              <a:gd name="connsiteX52" fmla="*/ 2126002 w 4519987"/>
              <a:gd name="connsiteY52" fmla="*/ 4429125 h 4496940"/>
              <a:gd name="connsiteX53" fmla="*/ 1935502 w 4519987"/>
              <a:gd name="connsiteY53" fmla="*/ 4400550 h 4496940"/>
              <a:gd name="connsiteX54" fmla="*/ 1821202 w 4519987"/>
              <a:gd name="connsiteY54" fmla="*/ 4371975 h 4496940"/>
              <a:gd name="connsiteX55" fmla="*/ 1754527 w 4519987"/>
              <a:gd name="connsiteY55" fmla="*/ 4352925 h 4496940"/>
              <a:gd name="connsiteX56" fmla="*/ 1687852 w 4519987"/>
              <a:gd name="connsiteY56" fmla="*/ 4343400 h 4496940"/>
              <a:gd name="connsiteX57" fmla="*/ 1573552 w 4519987"/>
              <a:gd name="connsiteY57" fmla="*/ 4305300 h 4496940"/>
              <a:gd name="connsiteX58" fmla="*/ 1402102 w 4519987"/>
              <a:gd name="connsiteY58" fmla="*/ 4276725 h 4496940"/>
              <a:gd name="connsiteX59" fmla="*/ 1287802 w 4519987"/>
              <a:gd name="connsiteY59" fmla="*/ 4229100 h 4496940"/>
              <a:gd name="connsiteX60" fmla="*/ 1221127 w 4519987"/>
              <a:gd name="connsiteY60" fmla="*/ 4200525 h 4496940"/>
              <a:gd name="connsiteX61" fmla="*/ 1144927 w 4519987"/>
              <a:gd name="connsiteY61" fmla="*/ 4171950 h 4496940"/>
              <a:gd name="connsiteX62" fmla="*/ 1087777 w 4519987"/>
              <a:gd name="connsiteY62" fmla="*/ 4143375 h 4496940"/>
              <a:gd name="connsiteX63" fmla="*/ 1030627 w 4519987"/>
              <a:gd name="connsiteY63" fmla="*/ 4124325 h 4496940"/>
              <a:gd name="connsiteX64" fmla="*/ 925852 w 4519987"/>
              <a:gd name="connsiteY64" fmla="*/ 4067175 h 4496940"/>
              <a:gd name="connsiteX65" fmla="*/ 830602 w 4519987"/>
              <a:gd name="connsiteY65" fmla="*/ 3981450 h 4496940"/>
              <a:gd name="connsiteX66" fmla="*/ 763927 w 4519987"/>
              <a:gd name="connsiteY66" fmla="*/ 3914775 h 4496940"/>
              <a:gd name="connsiteX67" fmla="*/ 725827 w 4519987"/>
              <a:gd name="connsiteY67" fmla="*/ 3876675 h 4496940"/>
              <a:gd name="connsiteX68" fmla="*/ 697252 w 4519987"/>
              <a:gd name="connsiteY68" fmla="*/ 3838575 h 4496940"/>
              <a:gd name="connsiteX69" fmla="*/ 640102 w 4519987"/>
              <a:gd name="connsiteY69" fmla="*/ 3781425 h 4496940"/>
              <a:gd name="connsiteX70" fmla="*/ 611527 w 4519987"/>
              <a:gd name="connsiteY70" fmla="*/ 3733800 h 4496940"/>
              <a:gd name="connsiteX71" fmla="*/ 554377 w 4519987"/>
              <a:gd name="connsiteY71" fmla="*/ 3657600 h 4496940"/>
              <a:gd name="connsiteX72" fmla="*/ 525802 w 4519987"/>
              <a:gd name="connsiteY72" fmla="*/ 3609975 h 4496940"/>
              <a:gd name="connsiteX73" fmla="*/ 497227 w 4519987"/>
              <a:gd name="connsiteY73" fmla="*/ 3552825 h 4496940"/>
              <a:gd name="connsiteX74" fmla="*/ 440077 w 4519987"/>
              <a:gd name="connsiteY74" fmla="*/ 3495675 h 4496940"/>
              <a:gd name="connsiteX75" fmla="*/ 411502 w 4519987"/>
              <a:gd name="connsiteY75" fmla="*/ 3448050 h 4496940"/>
              <a:gd name="connsiteX76" fmla="*/ 278152 w 4519987"/>
              <a:gd name="connsiteY76" fmla="*/ 3257550 h 4496940"/>
              <a:gd name="connsiteX77" fmla="*/ 249577 w 4519987"/>
              <a:gd name="connsiteY77" fmla="*/ 3200400 h 4496940"/>
              <a:gd name="connsiteX78" fmla="*/ 240052 w 4519987"/>
              <a:gd name="connsiteY78" fmla="*/ 3162300 h 4496940"/>
              <a:gd name="connsiteX79" fmla="*/ 221002 w 4519987"/>
              <a:gd name="connsiteY79" fmla="*/ 3105150 h 4496940"/>
              <a:gd name="connsiteX80" fmla="*/ 173377 w 4519987"/>
              <a:gd name="connsiteY80" fmla="*/ 3019425 h 4496940"/>
              <a:gd name="connsiteX81" fmla="*/ 144802 w 4519987"/>
              <a:gd name="connsiteY81" fmla="*/ 2924175 h 4496940"/>
              <a:gd name="connsiteX82" fmla="*/ 68602 w 4519987"/>
              <a:gd name="connsiteY82" fmla="*/ 2724150 h 4496940"/>
              <a:gd name="connsiteX83" fmla="*/ 49552 w 4519987"/>
              <a:gd name="connsiteY83" fmla="*/ 2638425 h 4496940"/>
              <a:gd name="connsiteX84" fmla="*/ 40027 w 4519987"/>
              <a:gd name="connsiteY84" fmla="*/ 2562225 h 4496940"/>
              <a:gd name="connsiteX85" fmla="*/ 30502 w 4519987"/>
              <a:gd name="connsiteY85" fmla="*/ 2514600 h 4496940"/>
              <a:gd name="connsiteX86" fmla="*/ 11452 w 4519987"/>
              <a:gd name="connsiteY86" fmla="*/ 2400300 h 4496940"/>
              <a:gd name="connsiteX87" fmla="*/ 20977 w 4519987"/>
              <a:gd name="connsiteY87" fmla="*/ 1905000 h 4496940"/>
              <a:gd name="connsiteX88" fmla="*/ 30502 w 4519987"/>
              <a:gd name="connsiteY88" fmla="*/ 1838325 h 4496940"/>
              <a:gd name="connsiteX89" fmla="*/ 49552 w 4519987"/>
              <a:gd name="connsiteY89" fmla="*/ 1781175 h 4496940"/>
              <a:gd name="connsiteX90" fmla="*/ 59077 w 4519987"/>
              <a:gd name="connsiteY90" fmla="*/ 1743075 h 4496940"/>
              <a:gd name="connsiteX91" fmla="*/ 78127 w 4519987"/>
              <a:gd name="connsiteY91" fmla="*/ 1685925 h 4496940"/>
              <a:gd name="connsiteX92" fmla="*/ 87652 w 4519987"/>
              <a:gd name="connsiteY92" fmla="*/ 1638300 h 4496940"/>
              <a:gd name="connsiteX93" fmla="*/ 106702 w 4519987"/>
              <a:gd name="connsiteY93" fmla="*/ 1590675 h 4496940"/>
              <a:gd name="connsiteX94" fmla="*/ 135277 w 4519987"/>
              <a:gd name="connsiteY94" fmla="*/ 1504950 h 4496940"/>
              <a:gd name="connsiteX95" fmla="*/ 154327 w 4519987"/>
              <a:gd name="connsiteY95" fmla="*/ 1419225 h 4496940"/>
              <a:gd name="connsiteX96" fmla="*/ 230527 w 4519987"/>
              <a:gd name="connsiteY96" fmla="*/ 1276350 h 4496940"/>
              <a:gd name="connsiteX97" fmla="*/ 240052 w 4519987"/>
              <a:gd name="connsiteY97" fmla="*/ 1247775 h 4496940"/>
              <a:gd name="connsiteX98" fmla="*/ 268627 w 4519987"/>
              <a:gd name="connsiteY98" fmla="*/ 1200150 h 4496940"/>
              <a:gd name="connsiteX99" fmla="*/ 287677 w 4519987"/>
              <a:gd name="connsiteY99" fmla="*/ 1152525 h 4496940"/>
              <a:gd name="connsiteX100" fmla="*/ 316252 w 4519987"/>
              <a:gd name="connsiteY100" fmla="*/ 1114425 h 4496940"/>
              <a:gd name="connsiteX101" fmla="*/ 363877 w 4519987"/>
              <a:gd name="connsiteY101" fmla="*/ 1038225 h 4496940"/>
              <a:gd name="connsiteX102" fmla="*/ 382927 w 4519987"/>
              <a:gd name="connsiteY102" fmla="*/ 1009650 h 4496940"/>
              <a:gd name="connsiteX103" fmla="*/ 440077 w 4519987"/>
              <a:gd name="connsiteY103" fmla="*/ 904875 h 4496940"/>
              <a:gd name="connsiteX104" fmla="*/ 478177 w 4519987"/>
              <a:gd name="connsiteY104" fmla="*/ 857250 h 4496940"/>
              <a:gd name="connsiteX105" fmla="*/ 497227 w 4519987"/>
              <a:gd name="connsiteY105" fmla="*/ 828675 h 4496940"/>
              <a:gd name="connsiteX106" fmla="*/ 535327 w 4519987"/>
              <a:gd name="connsiteY106" fmla="*/ 800100 h 4496940"/>
              <a:gd name="connsiteX107" fmla="*/ 602002 w 4519987"/>
              <a:gd name="connsiteY107" fmla="*/ 733425 h 4496940"/>
              <a:gd name="connsiteX108" fmla="*/ 668677 w 4519987"/>
              <a:gd name="connsiteY108" fmla="*/ 676275 h 4496940"/>
              <a:gd name="connsiteX109" fmla="*/ 697252 w 4519987"/>
              <a:gd name="connsiteY109" fmla="*/ 657225 h 4496940"/>
              <a:gd name="connsiteX110" fmla="*/ 840127 w 4519987"/>
              <a:gd name="connsiteY110" fmla="*/ 533400 h 4496940"/>
              <a:gd name="connsiteX111" fmla="*/ 887752 w 4519987"/>
              <a:gd name="connsiteY111" fmla="*/ 504825 h 4496940"/>
              <a:gd name="connsiteX112" fmla="*/ 1167152 w 4519987"/>
              <a:gd name="connsiteY112" fmla="*/ 311150 h 4496940"/>
              <a:gd name="connsiteX113" fmla="*/ 1268752 w 4519987"/>
              <a:gd name="connsiteY113" fmla="*/ 285750 h 4496940"/>
              <a:gd name="connsiteX114" fmla="*/ 1411627 w 4519987"/>
              <a:gd name="connsiteY114" fmla="*/ 190500 h 4496940"/>
              <a:gd name="connsiteX115" fmla="*/ 1449727 w 4519987"/>
              <a:gd name="connsiteY115" fmla="*/ 161925 h 4496940"/>
              <a:gd name="connsiteX116" fmla="*/ 1525927 w 4519987"/>
              <a:gd name="connsiteY116" fmla="*/ 152400 h 4496940"/>
              <a:gd name="connsiteX117" fmla="*/ 1583077 w 4519987"/>
              <a:gd name="connsiteY117" fmla="*/ 142875 h 4496940"/>
              <a:gd name="connsiteX118" fmla="*/ 1716427 w 4519987"/>
              <a:gd name="connsiteY118" fmla="*/ 123825 h 4496940"/>
              <a:gd name="connsiteX119" fmla="*/ 1811677 w 4519987"/>
              <a:gd name="connsiteY119" fmla="*/ 114300 h 4496940"/>
              <a:gd name="connsiteX120" fmla="*/ 1859302 w 4519987"/>
              <a:gd name="connsiteY120" fmla="*/ 104775 h 4496940"/>
              <a:gd name="connsiteX121" fmla="*/ 1916452 w 4519987"/>
              <a:gd name="connsiteY121" fmla="*/ 95250 h 4496940"/>
              <a:gd name="connsiteX122" fmla="*/ 2030752 w 4519987"/>
              <a:gd name="connsiteY122" fmla="*/ 66675 h 4496940"/>
              <a:gd name="connsiteX123" fmla="*/ 2097427 w 4519987"/>
              <a:gd name="connsiteY123" fmla="*/ 47625 h 4496940"/>
              <a:gd name="connsiteX124" fmla="*/ 2164102 w 4519987"/>
              <a:gd name="connsiteY124" fmla="*/ 38100 h 4496940"/>
              <a:gd name="connsiteX125" fmla="*/ 2392702 w 4519987"/>
              <a:gd name="connsiteY12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54752 w 4519987"/>
              <a:gd name="connsiteY36" fmla="*/ 4095750 h 4496940"/>
              <a:gd name="connsiteX37" fmla="*/ 3383302 w 4519987"/>
              <a:gd name="connsiteY37" fmla="*/ 4210050 h 4496940"/>
              <a:gd name="connsiteX38" fmla="*/ 3335677 w 4519987"/>
              <a:gd name="connsiteY38" fmla="*/ 4238625 h 4496940"/>
              <a:gd name="connsiteX39" fmla="*/ 3288052 w 4519987"/>
              <a:gd name="connsiteY39" fmla="*/ 4248150 h 4496940"/>
              <a:gd name="connsiteX40" fmla="*/ 3240427 w 4519987"/>
              <a:gd name="connsiteY40" fmla="*/ 4267200 h 4496940"/>
              <a:gd name="connsiteX41" fmla="*/ 3068977 w 4519987"/>
              <a:gd name="connsiteY41" fmla="*/ 4286250 h 4496940"/>
              <a:gd name="connsiteX42" fmla="*/ 2935627 w 4519987"/>
              <a:gd name="connsiteY42" fmla="*/ 4333875 h 4496940"/>
              <a:gd name="connsiteX43" fmla="*/ 2811802 w 4519987"/>
              <a:gd name="connsiteY43" fmla="*/ 4371975 h 4496940"/>
              <a:gd name="connsiteX44" fmla="*/ 2745127 w 4519987"/>
              <a:gd name="connsiteY44" fmla="*/ 4410075 h 4496940"/>
              <a:gd name="connsiteX45" fmla="*/ 2697502 w 4519987"/>
              <a:gd name="connsiteY45" fmla="*/ 4429125 h 4496940"/>
              <a:gd name="connsiteX46" fmla="*/ 2640352 w 4519987"/>
              <a:gd name="connsiteY46" fmla="*/ 4457700 h 4496940"/>
              <a:gd name="connsiteX47" fmla="*/ 2583202 w 4519987"/>
              <a:gd name="connsiteY47" fmla="*/ 4467225 h 4496940"/>
              <a:gd name="connsiteX48" fmla="*/ 2545102 w 4519987"/>
              <a:gd name="connsiteY48" fmla="*/ 4486275 h 4496940"/>
              <a:gd name="connsiteX49" fmla="*/ 2306977 w 4519987"/>
              <a:gd name="connsiteY49" fmla="*/ 4476750 h 4496940"/>
              <a:gd name="connsiteX50" fmla="*/ 2202202 w 4519987"/>
              <a:gd name="connsiteY50" fmla="*/ 4457700 h 4496940"/>
              <a:gd name="connsiteX51" fmla="*/ 2126002 w 4519987"/>
              <a:gd name="connsiteY51" fmla="*/ 4429125 h 4496940"/>
              <a:gd name="connsiteX52" fmla="*/ 1935502 w 4519987"/>
              <a:gd name="connsiteY52" fmla="*/ 4400550 h 4496940"/>
              <a:gd name="connsiteX53" fmla="*/ 1821202 w 4519987"/>
              <a:gd name="connsiteY53" fmla="*/ 4371975 h 4496940"/>
              <a:gd name="connsiteX54" fmla="*/ 1754527 w 4519987"/>
              <a:gd name="connsiteY54" fmla="*/ 4352925 h 4496940"/>
              <a:gd name="connsiteX55" fmla="*/ 1687852 w 4519987"/>
              <a:gd name="connsiteY55" fmla="*/ 4343400 h 4496940"/>
              <a:gd name="connsiteX56" fmla="*/ 1573552 w 4519987"/>
              <a:gd name="connsiteY56" fmla="*/ 4305300 h 4496940"/>
              <a:gd name="connsiteX57" fmla="*/ 1402102 w 4519987"/>
              <a:gd name="connsiteY57" fmla="*/ 4276725 h 4496940"/>
              <a:gd name="connsiteX58" fmla="*/ 1287802 w 4519987"/>
              <a:gd name="connsiteY58" fmla="*/ 4229100 h 4496940"/>
              <a:gd name="connsiteX59" fmla="*/ 1221127 w 4519987"/>
              <a:gd name="connsiteY59" fmla="*/ 4200525 h 4496940"/>
              <a:gd name="connsiteX60" fmla="*/ 1144927 w 4519987"/>
              <a:gd name="connsiteY60" fmla="*/ 4171950 h 4496940"/>
              <a:gd name="connsiteX61" fmla="*/ 1087777 w 4519987"/>
              <a:gd name="connsiteY61" fmla="*/ 4143375 h 4496940"/>
              <a:gd name="connsiteX62" fmla="*/ 1030627 w 4519987"/>
              <a:gd name="connsiteY62" fmla="*/ 4124325 h 4496940"/>
              <a:gd name="connsiteX63" fmla="*/ 925852 w 4519987"/>
              <a:gd name="connsiteY63" fmla="*/ 4067175 h 4496940"/>
              <a:gd name="connsiteX64" fmla="*/ 830602 w 4519987"/>
              <a:gd name="connsiteY64" fmla="*/ 3981450 h 4496940"/>
              <a:gd name="connsiteX65" fmla="*/ 763927 w 4519987"/>
              <a:gd name="connsiteY65" fmla="*/ 3914775 h 4496940"/>
              <a:gd name="connsiteX66" fmla="*/ 725827 w 4519987"/>
              <a:gd name="connsiteY66" fmla="*/ 3876675 h 4496940"/>
              <a:gd name="connsiteX67" fmla="*/ 697252 w 4519987"/>
              <a:gd name="connsiteY67" fmla="*/ 3838575 h 4496940"/>
              <a:gd name="connsiteX68" fmla="*/ 640102 w 4519987"/>
              <a:gd name="connsiteY68" fmla="*/ 3781425 h 4496940"/>
              <a:gd name="connsiteX69" fmla="*/ 611527 w 4519987"/>
              <a:gd name="connsiteY69" fmla="*/ 3733800 h 4496940"/>
              <a:gd name="connsiteX70" fmla="*/ 554377 w 4519987"/>
              <a:gd name="connsiteY70" fmla="*/ 3657600 h 4496940"/>
              <a:gd name="connsiteX71" fmla="*/ 525802 w 4519987"/>
              <a:gd name="connsiteY71" fmla="*/ 3609975 h 4496940"/>
              <a:gd name="connsiteX72" fmla="*/ 497227 w 4519987"/>
              <a:gd name="connsiteY72" fmla="*/ 3552825 h 4496940"/>
              <a:gd name="connsiteX73" fmla="*/ 440077 w 4519987"/>
              <a:gd name="connsiteY73" fmla="*/ 3495675 h 4496940"/>
              <a:gd name="connsiteX74" fmla="*/ 411502 w 4519987"/>
              <a:gd name="connsiteY74" fmla="*/ 3448050 h 4496940"/>
              <a:gd name="connsiteX75" fmla="*/ 278152 w 4519987"/>
              <a:gd name="connsiteY75" fmla="*/ 3257550 h 4496940"/>
              <a:gd name="connsiteX76" fmla="*/ 249577 w 4519987"/>
              <a:gd name="connsiteY76" fmla="*/ 3200400 h 4496940"/>
              <a:gd name="connsiteX77" fmla="*/ 240052 w 4519987"/>
              <a:gd name="connsiteY77" fmla="*/ 3162300 h 4496940"/>
              <a:gd name="connsiteX78" fmla="*/ 221002 w 4519987"/>
              <a:gd name="connsiteY78" fmla="*/ 3105150 h 4496940"/>
              <a:gd name="connsiteX79" fmla="*/ 173377 w 4519987"/>
              <a:gd name="connsiteY79" fmla="*/ 3019425 h 4496940"/>
              <a:gd name="connsiteX80" fmla="*/ 144802 w 4519987"/>
              <a:gd name="connsiteY80" fmla="*/ 2924175 h 4496940"/>
              <a:gd name="connsiteX81" fmla="*/ 68602 w 4519987"/>
              <a:gd name="connsiteY81" fmla="*/ 2724150 h 4496940"/>
              <a:gd name="connsiteX82" fmla="*/ 49552 w 4519987"/>
              <a:gd name="connsiteY82" fmla="*/ 2638425 h 4496940"/>
              <a:gd name="connsiteX83" fmla="*/ 40027 w 4519987"/>
              <a:gd name="connsiteY83" fmla="*/ 2562225 h 4496940"/>
              <a:gd name="connsiteX84" fmla="*/ 30502 w 4519987"/>
              <a:gd name="connsiteY84" fmla="*/ 2514600 h 4496940"/>
              <a:gd name="connsiteX85" fmla="*/ 11452 w 4519987"/>
              <a:gd name="connsiteY85" fmla="*/ 2400300 h 4496940"/>
              <a:gd name="connsiteX86" fmla="*/ 20977 w 4519987"/>
              <a:gd name="connsiteY86" fmla="*/ 1905000 h 4496940"/>
              <a:gd name="connsiteX87" fmla="*/ 30502 w 4519987"/>
              <a:gd name="connsiteY87" fmla="*/ 1838325 h 4496940"/>
              <a:gd name="connsiteX88" fmla="*/ 49552 w 4519987"/>
              <a:gd name="connsiteY88" fmla="*/ 1781175 h 4496940"/>
              <a:gd name="connsiteX89" fmla="*/ 59077 w 4519987"/>
              <a:gd name="connsiteY89" fmla="*/ 1743075 h 4496940"/>
              <a:gd name="connsiteX90" fmla="*/ 78127 w 4519987"/>
              <a:gd name="connsiteY90" fmla="*/ 1685925 h 4496940"/>
              <a:gd name="connsiteX91" fmla="*/ 87652 w 4519987"/>
              <a:gd name="connsiteY91" fmla="*/ 1638300 h 4496940"/>
              <a:gd name="connsiteX92" fmla="*/ 106702 w 4519987"/>
              <a:gd name="connsiteY92" fmla="*/ 1590675 h 4496940"/>
              <a:gd name="connsiteX93" fmla="*/ 135277 w 4519987"/>
              <a:gd name="connsiteY93" fmla="*/ 1504950 h 4496940"/>
              <a:gd name="connsiteX94" fmla="*/ 154327 w 4519987"/>
              <a:gd name="connsiteY94" fmla="*/ 1419225 h 4496940"/>
              <a:gd name="connsiteX95" fmla="*/ 230527 w 4519987"/>
              <a:gd name="connsiteY95" fmla="*/ 1276350 h 4496940"/>
              <a:gd name="connsiteX96" fmla="*/ 240052 w 4519987"/>
              <a:gd name="connsiteY96" fmla="*/ 1247775 h 4496940"/>
              <a:gd name="connsiteX97" fmla="*/ 268627 w 4519987"/>
              <a:gd name="connsiteY97" fmla="*/ 1200150 h 4496940"/>
              <a:gd name="connsiteX98" fmla="*/ 287677 w 4519987"/>
              <a:gd name="connsiteY98" fmla="*/ 1152525 h 4496940"/>
              <a:gd name="connsiteX99" fmla="*/ 316252 w 4519987"/>
              <a:gd name="connsiteY99" fmla="*/ 1114425 h 4496940"/>
              <a:gd name="connsiteX100" fmla="*/ 363877 w 4519987"/>
              <a:gd name="connsiteY100" fmla="*/ 1038225 h 4496940"/>
              <a:gd name="connsiteX101" fmla="*/ 382927 w 4519987"/>
              <a:gd name="connsiteY101" fmla="*/ 1009650 h 4496940"/>
              <a:gd name="connsiteX102" fmla="*/ 440077 w 4519987"/>
              <a:gd name="connsiteY102" fmla="*/ 904875 h 4496940"/>
              <a:gd name="connsiteX103" fmla="*/ 478177 w 4519987"/>
              <a:gd name="connsiteY103" fmla="*/ 857250 h 4496940"/>
              <a:gd name="connsiteX104" fmla="*/ 497227 w 4519987"/>
              <a:gd name="connsiteY104" fmla="*/ 828675 h 4496940"/>
              <a:gd name="connsiteX105" fmla="*/ 535327 w 4519987"/>
              <a:gd name="connsiteY105" fmla="*/ 800100 h 4496940"/>
              <a:gd name="connsiteX106" fmla="*/ 602002 w 4519987"/>
              <a:gd name="connsiteY106" fmla="*/ 733425 h 4496940"/>
              <a:gd name="connsiteX107" fmla="*/ 668677 w 4519987"/>
              <a:gd name="connsiteY107" fmla="*/ 676275 h 4496940"/>
              <a:gd name="connsiteX108" fmla="*/ 697252 w 4519987"/>
              <a:gd name="connsiteY108" fmla="*/ 657225 h 4496940"/>
              <a:gd name="connsiteX109" fmla="*/ 840127 w 4519987"/>
              <a:gd name="connsiteY109" fmla="*/ 533400 h 4496940"/>
              <a:gd name="connsiteX110" fmla="*/ 887752 w 4519987"/>
              <a:gd name="connsiteY110" fmla="*/ 504825 h 4496940"/>
              <a:gd name="connsiteX111" fmla="*/ 1167152 w 4519987"/>
              <a:gd name="connsiteY111" fmla="*/ 311150 h 4496940"/>
              <a:gd name="connsiteX112" fmla="*/ 1268752 w 4519987"/>
              <a:gd name="connsiteY112" fmla="*/ 285750 h 4496940"/>
              <a:gd name="connsiteX113" fmla="*/ 1411627 w 4519987"/>
              <a:gd name="connsiteY113" fmla="*/ 190500 h 4496940"/>
              <a:gd name="connsiteX114" fmla="*/ 1449727 w 4519987"/>
              <a:gd name="connsiteY114" fmla="*/ 161925 h 4496940"/>
              <a:gd name="connsiteX115" fmla="*/ 1525927 w 4519987"/>
              <a:gd name="connsiteY115" fmla="*/ 152400 h 4496940"/>
              <a:gd name="connsiteX116" fmla="*/ 1583077 w 4519987"/>
              <a:gd name="connsiteY116" fmla="*/ 142875 h 4496940"/>
              <a:gd name="connsiteX117" fmla="*/ 1716427 w 4519987"/>
              <a:gd name="connsiteY117" fmla="*/ 123825 h 4496940"/>
              <a:gd name="connsiteX118" fmla="*/ 1811677 w 4519987"/>
              <a:gd name="connsiteY118" fmla="*/ 114300 h 4496940"/>
              <a:gd name="connsiteX119" fmla="*/ 1859302 w 4519987"/>
              <a:gd name="connsiteY119" fmla="*/ 104775 h 4496940"/>
              <a:gd name="connsiteX120" fmla="*/ 1916452 w 4519987"/>
              <a:gd name="connsiteY120" fmla="*/ 95250 h 4496940"/>
              <a:gd name="connsiteX121" fmla="*/ 2030752 w 4519987"/>
              <a:gd name="connsiteY121" fmla="*/ 66675 h 4496940"/>
              <a:gd name="connsiteX122" fmla="*/ 2097427 w 4519987"/>
              <a:gd name="connsiteY122" fmla="*/ 47625 h 4496940"/>
              <a:gd name="connsiteX123" fmla="*/ 2164102 w 4519987"/>
              <a:gd name="connsiteY123" fmla="*/ 38100 h 4496940"/>
              <a:gd name="connsiteX124" fmla="*/ 2392702 w 4519987"/>
              <a:gd name="connsiteY12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83302 w 4519987"/>
              <a:gd name="connsiteY37" fmla="*/ 4210050 h 4496940"/>
              <a:gd name="connsiteX38" fmla="*/ 3335677 w 4519987"/>
              <a:gd name="connsiteY38" fmla="*/ 4238625 h 4496940"/>
              <a:gd name="connsiteX39" fmla="*/ 3288052 w 4519987"/>
              <a:gd name="connsiteY39" fmla="*/ 4248150 h 4496940"/>
              <a:gd name="connsiteX40" fmla="*/ 3240427 w 4519987"/>
              <a:gd name="connsiteY40" fmla="*/ 4267200 h 4496940"/>
              <a:gd name="connsiteX41" fmla="*/ 3068977 w 4519987"/>
              <a:gd name="connsiteY41" fmla="*/ 4286250 h 4496940"/>
              <a:gd name="connsiteX42" fmla="*/ 2935627 w 4519987"/>
              <a:gd name="connsiteY42" fmla="*/ 4333875 h 4496940"/>
              <a:gd name="connsiteX43" fmla="*/ 2811802 w 4519987"/>
              <a:gd name="connsiteY43" fmla="*/ 4371975 h 4496940"/>
              <a:gd name="connsiteX44" fmla="*/ 2745127 w 4519987"/>
              <a:gd name="connsiteY44" fmla="*/ 4410075 h 4496940"/>
              <a:gd name="connsiteX45" fmla="*/ 2697502 w 4519987"/>
              <a:gd name="connsiteY45" fmla="*/ 4429125 h 4496940"/>
              <a:gd name="connsiteX46" fmla="*/ 2640352 w 4519987"/>
              <a:gd name="connsiteY46" fmla="*/ 4457700 h 4496940"/>
              <a:gd name="connsiteX47" fmla="*/ 2583202 w 4519987"/>
              <a:gd name="connsiteY47" fmla="*/ 4467225 h 4496940"/>
              <a:gd name="connsiteX48" fmla="*/ 2545102 w 4519987"/>
              <a:gd name="connsiteY48" fmla="*/ 4486275 h 4496940"/>
              <a:gd name="connsiteX49" fmla="*/ 2306977 w 4519987"/>
              <a:gd name="connsiteY49" fmla="*/ 4476750 h 4496940"/>
              <a:gd name="connsiteX50" fmla="*/ 2202202 w 4519987"/>
              <a:gd name="connsiteY50" fmla="*/ 4457700 h 4496940"/>
              <a:gd name="connsiteX51" fmla="*/ 2126002 w 4519987"/>
              <a:gd name="connsiteY51" fmla="*/ 4429125 h 4496940"/>
              <a:gd name="connsiteX52" fmla="*/ 1935502 w 4519987"/>
              <a:gd name="connsiteY52" fmla="*/ 4400550 h 4496940"/>
              <a:gd name="connsiteX53" fmla="*/ 1821202 w 4519987"/>
              <a:gd name="connsiteY53" fmla="*/ 4371975 h 4496940"/>
              <a:gd name="connsiteX54" fmla="*/ 1754527 w 4519987"/>
              <a:gd name="connsiteY54" fmla="*/ 4352925 h 4496940"/>
              <a:gd name="connsiteX55" fmla="*/ 1687852 w 4519987"/>
              <a:gd name="connsiteY55" fmla="*/ 4343400 h 4496940"/>
              <a:gd name="connsiteX56" fmla="*/ 1573552 w 4519987"/>
              <a:gd name="connsiteY56" fmla="*/ 4305300 h 4496940"/>
              <a:gd name="connsiteX57" fmla="*/ 1402102 w 4519987"/>
              <a:gd name="connsiteY57" fmla="*/ 4276725 h 4496940"/>
              <a:gd name="connsiteX58" fmla="*/ 1287802 w 4519987"/>
              <a:gd name="connsiteY58" fmla="*/ 4229100 h 4496940"/>
              <a:gd name="connsiteX59" fmla="*/ 1221127 w 4519987"/>
              <a:gd name="connsiteY59" fmla="*/ 4200525 h 4496940"/>
              <a:gd name="connsiteX60" fmla="*/ 1144927 w 4519987"/>
              <a:gd name="connsiteY60" fmla="*/ 4171950 h 4496940"/>
              <a:gd name="connsiteX61" fmla="*/ 1087777 w 4519987"/>
              <a:gd name="connsiteY61" fmla="*/ 4143375 h 4496940"/>
              <a:gd name="connsiteX62" fmla="*/ 1030627 w 4519987"/>
              <a:gd name="connsiteY62" fmla="*/ 4124325 h 4496940"/>
              <a:gd name="connsiteX63" fmla="*/ 925852 w 4519987"/>
              <a:gd name="connsiteY63" fmla="*/ 4067175 h 4496940"/>
              <a:gd name="connsiteX64" fmla="*/ 830602 w 4519987"/>
              <a:gd name="connsiteY64" fmla="*/ 3981450 h 4496940"/>
              <a:gd name="connsiteX65" fmla="*/ 763927 w 4519987"/>
              <a:gd name="connsiteY65" fmla="*/ 3914775 h 4496940"/>
              <a:gd name="connsiteX66" fmla="*/ 725827 w 4519987"/>
              <a:gd name="connsiteY66" fmla="*/ 3876675 h 4496940"/>
              <a:gd name="connsiteX67" fmla="*/ 697252 w 4519987"/>
              <a:gd name="connsiteY67" fmla="*/ 3838575 h 4496940"/>
              <a:gd name="connsiteX68" fmla="*/ 640102 w 4519987"/>
              <a:gd name="connsiteY68" fmla="*/ 3781425 h 4496940"/>
              <a:gd name="connsiteX69" fmla="*/ 611527 w 4519987"/>
              <a:gd name="connsiteY69" fmla="*/ 3733800 h 4496940"/>
              <a:gd name="connsiteX70" fmla="*/ 554377 w 4519987"/>
              <a:gd name="connsiteY70" fmla="*/ 3657600 h 4496940"/>
              <a:gd name="connsiteX71" fmla="*/ 525802 w 4519987"/>
              <a:gd name="connsiteY71" fmla="*/ 3609975 h 4496940"/>
              <a:gd name="connsiteX72" fmla="*/ 497227 w 4519987"/>
              <a:gd name="connsiteY72" fmla="*/ 3552825 h 4496940"/>
              <a:gd name="connsiteX73" fmla="*/ 440077 w 4519987"/>
              <a:gd name="connsiteY73" fmla="*/ 3495675 h 4496940"/>
              <a:gd name="connsiteX74" fmla="*/ 411502 w 4519987"/>
              <a:gd name="connsiteY74" fmla="*/ 3448050 h 4496940"/>
              <a:gd name="connsiteX75" fmla="*/ 278152 w 4519987"/>
              <a:gd name="connsiteY75" fmla="*/ 3257550 h 4496940"/>
              <a:gd name="connsiteX76" fmla="*/ 249577 w 4519987"/>
              <a:gd name="connsiteY76" fmla="*/ 3200400 h 4496940"/>
              <a:gd name="connsiteX77" fmla="*/ 240052 w 4519987"/>
              <a:gd name="connsiteY77" fmla="*/ 3162300 h 4496940"/>
              <a:gd name="connsiteX78" fmla="*/ 221002 w 4519987"/>
              <a:gd name="connsiteY78" fmla="*/ 3105150 h 4496940"/>
              <a:gd name="connsiteX79" fmla="*/ 173377 w 4519987"/>
              <a:gd name="connsiteY79" fmla="*/ 3019425 h 4496940"/>
              <a:gd name="connsiteX80" fmla="*/ 144802 w 4519987"/>
              <a:gd name="connsiteY80" fmla="*/ 2924175 h 4496940"/>
              <a:gd name="connsiteX81" fmla="*/ 68602 w 4519987"/>
              <a:gd name="connsiteY81" fmla="*/ 2724150 h 4496940"/>
              <a:gd name="connsiteX82" fmla="*/ 49552 w 4519987"/>
              <a:gd name="connsiteY82" fmla="*/ 2638425 h 4496940"/>
              <a:gd name="connsiteX83" fmla="*/ 40027 w 4519987"/>
              <a:gd name="connsiteY83" fmla="*/ 2562225 h 4496940"/>
              <a:gd name="connsiteX84" fmla="*/ 30502 w 4519987"/>
              <a:gd name="connsiteY84" fmla="*/ 2514600 h 4496940"/>
              <a:gd name="connsiteX85" fmla="*/ 11452 w 4519987"/>
              <a:gd name="connsiteY85" fmla="*/ 2400300 h 4496940"/>
              <a:gd name="connsiteX86" fmla="*/ 20977 w 4519987"/>
              <a:gd name="connsiteY86" fmla="*/ 1905000 h 4496940"/>
              <a:gd name="connsiteX87" fmla="*/ 30502 w 4519987"/>
              <a:gd name="connsiteY87" fmla="*/ 1838325 h 4496940"/>
              <a:gd name="connsiteX88" fmla="*/ 49552 w 4519987"/>
              <a:gd name="connsiteY88" fmla="*/ 1781175 h 4496940"/>
              <a:gd name="connsiteX89" fmla="*/ 59077 w 4519987"/>
              <a:gd name="connsiteY89" fmla="*/ 1743075 h 4496940"/>
              <a:gd name="connsiteX90" fmla="*/ 78127 w 4519987"/>
              <a:gd name="connsiteY90" fmla="*/ 1685925 h 4496940"/>
              <a:gd name="connsiteX91" fmla="*/ 87652 w 4519987"/>
              <a:gd name="connsiteY91" fmla="*/ 1638300 h 4496940"/>
              <a:gd name="connsiteX92" fmla="*/ 106702 w 4519987"/>
              <a:gd name="connsiteY92" fmla="*/ 1590675 h 4496940"/>
              <a:gd name="connsiteX93" fmla="*/ 135277 w 4519987"/>
              <a:gd name="connsiteY93" fmla="*/ 1504950 h 4496940"/>
              <a:gd name="connsiteX94" fmla="*/ 154327 w 4519987"/>
              <a:gd name="connsiteY94" fmla="*/ 1419225 h 4496940"/>
              <a:gd name="connsiteX95" fmla="*/ 230527 w 4519987"/>
              <a:gd name="connsiteY95" fmla="*/ 1276350 h 4496940"/>
              <a:gd name="connsiteX96" fmla="*/ 240052 w 4519987"/>
              <a:gd name="connsiteY96" fmla="*/ 1247775 h 4496940"/>
              <a:gd name="connsiteX97" fmla="*/ 268627 w 4519987"/>
              <a:gd name="connsiteY97" fmla="*/ 1200150 h 4496940"/>
              <a:gd name="connsiteX98" fmla="*/ 287677 w 4519987"/>
              <a:gd name="connsiteY98" fmla="*/ 1152525 h 4496940"/>
              <a:gd name="connsiteX99" fmla="*/ 316252 w 4519987"/>
              <a:gd name="connsiteY99" fmla="*/ 1114425 h 4496940"/>
              <a:gd name="connsiteX100" fmla="*/ 363877 w 4519987"/>
              <a:gd name="connsiteY100" fmla="*/ 1038225 h 4496940"/>
              <a:gd name="connsiteX101" fmla="*/ 382927 w 4519987"/>
              <a:gd name="connsiteY101" fmla="*/ 1009650 h 4496940"/>
              <a:gd name="connsiteX102" fmla="*/ 440077 w 4519987"/>
              <a:gd name="connsiteY102" fmla="*/ 904875 h 4496940"/>
              <a:gd name="connsiteX103" fmla="*/ 478177 w 4519987"/>
              <a:gd name="connsiteY103" fmla="*/ 857250 h 4496940"/>
              <a:gd name="connsiteX104" fmla="*/ 497227 w 4519987"/>
              <a:gd name="connsiteY104" fmla="*/ 828675 h 4496940"/>
              <a:gd name="connsiteX105" fmla="*/ 535327 w 4519987"/>
              <a:gd name="connsiteY105" fmla="*/ 800100 h 4496940"/>
              <a:gd name="connsiteX106" fmla="*/ 602002 w 4519987"/>
              <a:gd name="connsiteY106" fmla="*/ 733425 h 4496940"/>
              <a:gd name="connsiteX107" fmla="*/ 668677 w 4519987"/>
              <a:gd name="connsiteY107" fmla="*/ 676275 h 4496940"/>
              <a:gd name="connsiteX108" fmla="*/ 697252 w 4519987"/>
              <a:gd name="connsiteY108" fmla="*/ 657225 h 4496940"/>
              <a:gd name="connsiteX109" fmla="*/ 840127 w 4519987"/>
              <a:gd name="connsiteY109" fmla="*/ 533400 h 4496940"/>
              <a:gd name="connsiteX110" fmla="*/ 887752 w 4519987"/>
              <a:gd name="connsiteY110" fmla="*/ 504825 h 4496940"/>
              <a:gd name="connsiteX111" fmla="*/ 1167152 w 4519987"/>
              <a:gd name="connsiteY111" fmla="*/ 311150 h 4496940"/>
              <a:gd name="connsiteX112" fmla="*/ 1268752 w 4519987"/>
              <a:gd name="connsiteY112" fmla="*/ 285750 h 4496940"/>
              <a:gd name="connsiteX113" fmla="*/ 1411627 w 4519987"/>
              <a:gd name="connsiteY113" fmla="*/ 190500 h 4496940"/>
              <a:gd name="connsiteX114" fmla="*/ 1449727 w 4519987"/>
              <a:gd name="connsiteY114" fmla="*/ 161925 h 4496940"/>
              <a:gd name="connsiteX115" fmla="*/ 1525927 w 4519987"/>
              <a:gd name="connsiteY115" fmla="*/ 152400 h 4496940"/>
              <a:gd name="connsiteX116" fmla="*/ 1583077 w 4519987"/>
              <a:gd name="connsiteY116" fmla="*/ 142875 h 4496940"/>
              <a:gd name="connsiteX117" fmla="*/ 1716427 w 4519987"/>
              <a:gd name="connsiteY117" fmla="*/ 123825 h 4496940"/>
              <a:gd name="connsiteX118" fmla="*/ 1811677 w 4519987"/>
              <a:gd name="connsiteY118" fmla="*/ 114300 h 4496940"/>
              <a:gd name="connsiteX119" fmla="*/ 1859302 w 4519987"/>
              <a:gd name="connsiteY119" fmla="*/ 104775 h 4496940"/>
              <a:gd name="connsiteX120" fmla="*/ 1916452 w 4519987"/>
              <a:gd name="connsiteY120" fmla="*/ 95250 h 4496940"/>
              <a:gd name="connsiteX121" fmla="*/ 2030752 w 4519987"/>
              <a:gd name="connsiteY121" fmla="*/ 66675 h 4496940"/>
              <a:gd name="connsiteX122" fmla="*/ 2097427 w 4519987"/>
              <a:gd name="connsiteY122" fmla="*/ 47625 h 4496940"/>
              <a:gd name="connsiteX123" fmla="*/ 2164102 w 4519987"/>
              <a:gd name="connsiteY123" fmla="*/ 38100 h 4496940"/>
              <a:gd name="connsiteX124" fmla="*/ 2392702 w 4519987"/>
              <a:gd name="connsiteY12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35677 w 4519987"/>
              <a:gd name="connsiteY37" fmla="*/ 4238625 h 4496940"/>
              <a:gd name="connsiteX38" fmla="*/ 3288052 w 4519987"/>
              <a:gd name="connsiteY38" fmla="*/ 4248150 h 4496940"/>
              <a:gd name="connsiteX39" fmla="*/ 3240427 w 4519987"/>
              <a:gd name="connsiteY39" fmla="*/ 4267200 h 4496940"/>
              <a:gd name="connsiteX40" fmla="*/ 3068977 w 4519987"/>
              <a:gd name="connsiteY40" fmla="*/ 4286250 h 4496940"/>
              <a:gd name="connsiteX41" fmla="*/ 2935627 w 4519987"/>
              <a:gd name="connsiteY41" fmla="*/ 4333875 h 4496940"/>
              <a:gd name="connsiteX42" fmla="*/ 2811802 w 4519987"/>
              <a:gd name="connsiteY42" fmla="*/ 4371975 h 4496940"/>
              <a:gd name="connsiteX43" fmla="*/ 2745127 w 4519987"/>
              <a:gd name="connsiteY43" fmla="*/ 4410075 h 4496940"/>
              <a:gd name="connsiteX44" fmla="*/ 2697502 w 4519987"/>
              <a:gd name="connsiteY44" fmla="*/ 4429125 h 4496940"/>
              <a:gd name="connsiteX45" fmla="*/ 2640352 w 4519987"/>
              <a:gd name="connsiteY45" fmla="*/ 4457700 h 4496940"/>
              <a:gd name="connsiteX46" fmla="*/ 2583202 w 4519987"/>
              <a:gd name="connsiteY46" fmla="*/ 4467225 h 4496940"/>
              <a:gd name="connsiteX47" fmla="*/ 2545102 w 4519987"/>
              <a:gd name="connsiteY47" fmla="*/ 4486275 h 4496940"/>
              <a:gd name="connsiteX48" fmla="*/ 2306977 w 4519987"/>
              <a:gd name="connsiteY48" fmla="*/ 4476750 h 4496940"/>
              <a:gd name="connsiteX49" fmla="*/ 2202202 w 4519987"/>
              <a:gd name="connsiteY49" fmla="*/ 4457700 h 4496940"/>
              <a:gd name="connsiteX50" fmla="*/ 2126002 w 4519987"/>
              <a:gd name="connsiteY50" fmla="*/ 4429125 h 4496940"/>
              <a:gd name="connsiteX51" fmla="*/ 1935502 w 4519987"/>
              <a:gd name="connsiteY51" fmla="*/ 4400550 h 4496940"/>
              <a:gd name="connsiteX52" fmla="*/ 1821202 w 4519987"/>
              <a:gd name="connsiteY52" fmla="*/ 4371975 h 4496940"/>
              <a:gd name="connsiteX53" fmla="*/ 1754527 w 4519987"/>
              <a:gd name="connsiteY53" fmla="*/ 4352925 h 4496940"/>
              <a:gd name="connsiteX54" fmla="*/ 1687852 w 4519987"/>
              <a:gd name="connsiteY54" fmla="*/ 4343400 h 4496940"/>
              <a:gd name="connsiteX55" fmla="*/ 1573552 w 4519987"/>
              <a:gd name="connsiteY55" fmla="*/ 4305300 h 4496940"/>
              <a:gd name="connsiteX56" fmla="*/ 1402102 w 4519987"/>
              <a:gd name="connsiteY56" fmla="*/ 4276725 h 4496940"/>
              <a:gd name="connsiteX57" fmla="*/ 1287802 w 4519987"/>
              <a:gd name="connsiteY57" fmla="*/ 4229100 h 4496940"/>
              <a:gd name="connsiteX58" fmla="*/ 1221127 w 4519987"/>
              <a:gd name="connsiteY58" fmla="*/ 4200525 h 4496940"/>
              <a:gd name="connsiteX59" fmla="*/ 1144927 w 4519987"/>
              <a:gd name="connsiteY59" fmla="*/ 4171950 h 4496940"/>
              <a:gd name="connsiteX60" fmla="*/ 1087777 w 4519987"/>
              <a:gd name="connsiteY60" fmla="*/ 4143375 h 4496940"/>
              <a:gd name="connsiteX61" fmla="*/ 1030627 w 4519987"/>
              <a:gd name="connsiteY61" fmla="*/ 4124325 h 4496940"/>
              <a:gd name="connsiteX62" fmla="*/ 925852 w 4519987"/>
              <a:gd name="connsiteY62" fmla="*/ 4067175 h 4496940"/>
              <a:gd name="connsiteX63" fmla="*/ 830602 w 4519987"/>
              <a:gd name="connsiteY63" fmla="*/ 3981450 h 4496940"/>
              <a:gd name="connsiteX64" fmla="*/ 763927 w 4519987"/>
              <a:gd name="connsiteY64" fmla="*/ 3914775 h 4496940"/>
              <a:gd name="connsiteX65" fmla="*/ 725827 w 4519987"/>
              <a:gd name="connsiteY65" fmla="*/ 3876675 h 4496940"/>
              <a:gd name="connsiteX66" fmla="*/ 697252 w 4519987"/>
              <a:gd name="connsiteY66" fmla="*/ 3838575 h 4496940"/>
              <a:gd name="connsiteX67" fmla="*/ 640102 w 4519987"/>
              <a:gd name="connsiteY67" fmla="*/ 3781425 h 4496940"/>
              <a:gd name="connsiteX68" fmla="*/ 611527 w 4519987"/>
              <a:gd name="connsiteY68" fmla="*/ 3733800 h 4496940"/>
              <a:gd name="connsiteX69" fmla="*/ 554377 w 4519987"/>
              <a:gd name="connsiteY69" fmla="*/ 3657600 h 4496940"/>
              <a:gd name="connsiteX70" fmla="*/ 525802 w 4519987"/>
              <a:gd name="connsiteY70" fmla="*/ 3609975 h 4496940"/>
              <a:gd name="connsiteX71" fmla="*/ 497227 w 4519987"/>
              <a:gd name="connsiteY71" fmla="*/ 3552825 h 4496940"/>
              <a:gd name="connsiteX72" fmla="*/ 440077 w 4519987"/>
              <a:gd name="connsiteY72" fmla="*/ 3495675 h 4496940"/>
              <a:gd name="connsiteX73" fmla="*/ 411502 w 4519987"/>
              <a:gd name="connsiteY73" fmla="*/ 3448050 h 4496940"/>
              <a:gd name="connsiteX74" fmla="*/ 278152 w 4519987"/>
              <a:gd name="connsiteY74" fmla="*/ 3257550 h 4496940"/>
              <a:gd name="connsiteX75" fmla="*/ 249577 w 4519987"/>
              <a:gd name="connsiteY75" fmla="*/ 3200400 h 4496940"/>
              <a:gd name="connsiteX76" fmla="*/ 240052 w 4519987"/>
              <a:gd name="connsiteY76" fmla="*/ 3162300 h 4496940"/>
              <a:gd name="connsiteX77" fmla="*/ 221002 w 4519987"/>
              <a:gd name="connsiteY77" fmla="*/ 3105150 h 4496940"/>
              <a:gd name="connsiteX78" fmla="*/ 173377 w 4519987"/>
              <a:gd name="connsiteY78" fmla="*/ 3019425 h 4496940"/>
              <a:gd name="connsiteX79" fmla="*/ 144802 w 4519987"/>
              <a:gd name="connsiteY79" fmla="*/ 2924175 h 4496940"/>
              <a:gd name="connsiteX80" fmla="*/ 68602 w 4519987"/>
              <a:gd name="connsiteY80" fmla="*/ 2724150 h 4496940"/>
              <a:gd name="connsiteX81" fmla="*/ 49552 w 4519987"/>
              <a:gd name="connsiteY81" fmla="*/ 2638425 h 4496940"/>
              <a:gd name="connsiteX82" fmla="*/ 40027 w 4519987"/>
              <a:gd name="connsiteY82" fmla="*/ 2562225 h 4496940"/>
              <a:gd name="connsiteX83" fmla="*/ 30502 w 4519987"/>
              <a:gd name="connsiteY83" fmla="*/ 2514600 h 4496940"/>
              <a:gd name="connsiteX84" fmla="*/ 11452 w 4519987"/>
              <a:gd name="connsiteY84" fmla="*/ 2400300 h 4496940"/>
              <a:gd name="connsiteX85" fmla="*/ 20977 w 4519987"/>
              <a:gd name="connsiteY85" fmla="*/ 1905000 h 4496940"/>
              <a:gd name="connsiteX86" fmla="*/ 30502 w 4519987"/>
              <a:gd name="connsiteY86" fmla="*/ 1838325 h 4496940"/>
              <a:gd name="connsiteX87" fmla="*/ 49552 w 4519987"/>
              <a:gd name="connsiteY87" fmla="*/ 1781175 h 4496940"/>
              <a:gd name="connsiteX88" fmla="*/ 59077 w 4519987"/>
              <a:gd name="connsiteY88" fmla="*/ 1743075 h 4496940"/>
              <a:gd name="connsiteX89" fmla="*/ 78127 w 4519987"/>
              <a:gd name="connsiteY89" fmla="*/ 1685925 h 4496940"/>
              <a:gd name="connsiteX90" fmla="*/ 87652 w 4519987"/>
              <a:gd name="connsiteY90" fmla="*/ 1638300 h 4496940"/>
              <a:gd name="connsiteX91" fmla="*/ 106702 w 4519987"/>
              <a:gd name="connsiteY91" fmla="*/ 1590675 h 4496940"/>
              <a:gd name="connsiteX92" fmla="*/ 135277 w 4519987"/>
              <a:gd name="connsiteY92" fmla="*/ 1504950 h 4496940"/>
              <a:gd name="connsiteX93" fmla="*/ 154327 w 4519987"/>
              <a:gd name="connsiteY93" fmla="*/ 1419225 h 4496940"/>
              <a:gd name="connsiteX94" fmla="*/ 230527 w 4519987"/>
              <a:gd name="connsiteY94" fmla="*/ 1276350 h 4496940"/>
              <a:gd name="connsiteX95" fmla="*/ 240052 w 4519987"/>
              <a:gd name="connsiteY95" fmla="*/ 1247775 h 4496940"/>
              <a:gd name="connsiteX96" fmla="*/ 268627 w 4519987"/>
              <a:gd name="connsiteY96" fmla="*/ 1200150 h 4496940"/>
              <a:gd name="connsiteX97" fmla="*/ 287677 w 4519987"/>
              <a:gd name="connsiteY97" fmla="*/ 1152525 h 4496940"/>
              <a:gd name="connsiteX98" fmla="*/ 316252 w 4519987"/>
              <a:gd name="connsiteY98" fmla="*/ 1114425 h 4496940"/>
              <a:gd name="connsiteX99" fmla="*/ 363877 w 4519987"/>
              <a:gd name="connsiteY99" fmla="*/ 1038225 h 4496940"/>
              <a:gd name="connsiteX100" fmla="*/ 382927 w 4519987"/>
              <a:gd name="connsiteY100" fmla="*/ 1009650 h 4496940"/>
              <a:gd name="connsiteX101" fmla="*/ 440077 w 4519987"/>
              <a:gd name="connsiteY101" fmla="*/ 904875 h 4496940"/>
              <a:gd name="connsiteX102" fmla="*/ 478177 w 4519987"/>
              <a:gd name="connsiteY102" fmla="*/ 857250 h 4496940"/>
              <a:gd name="connsiteX103" fmla="*/ 497227 w 4519987"/>
              <a:gd name="connsiteY103" fmla="*/ 828675 h 4496940"/>
              <a:gd name="connsiteX104" fmla="*/ 535327 w 4519987"/>
              <a:gd name="connsiteY104" fmla="*/ 800100 h 4496940"/>
              <a:gd name="connsiteX105" fmla="*/ 602002 w 4519987"/>
              <a:gd name="connsiteY105" fmla="*/ 733425 h 4496940"/>
              <a:gd name="connsiteX106" fmla="*/ 668677 w 4519987"/>
              <a:gd name="connsiteY106" fmla="*/ 676275 h 4496940"/>
              <a:gd name="connsiteX107" fmla="*/ 697252 w 4519987"/>
              <a:gd name="connsiteY107" fmla="*/ 657225 h 4496940"/>
              <a:gd name="connsiteX108" fmla="*/ 840127 w 4519987"/>
              <a:gd name="connsiteY108" fmla="*/ 533400 h 4496940"/>
              <a:gd name="connsiteX109" fmla="*/ 887752 w 4519987"/>
              <a:gd name="connsiteY109" fmla="*/ 504825 h 4496940"/>
              <a:gd name="connsiteX110" fmla="*/ 1167152 w 4519987"/>
              <a:gd name="connsiteY110" fmla="*/ 311150 h 4496940"/>
              <a:gd name="connsiteX111" fmla="*/ 1268752 w 4519987"/>
              <a:gd name="connsiteY111" fmla="*/ 285750 h 4496940"/>
              <a:gd name="connsiteX112" fmla="*/ 1411627 w 4519987"/>
              <a:gd name="connsiteY112" fmla="*/ 190500 h 4496940"/>
              <a:gd name="connsiteX113" fmla="*/ 1449727 w 4519987"/>
              <a:gd name="connsiteY113" fmla="*/ 161925 h 4496940"/>
              <a:gd name="connsiteX114" fmla="*/ 1525927 w 4519987"/>
              <a:gd name="connsiteY114" fmla="*/ 152400 h 4496940"/>
              <a:gd name="connsiteX115" fmla="*/ 1583077 w 4519987"/>
              <a:gd name="connsiteY115" fmla="*/ 142875 h 4496940"/>
              <a:gd name="connsiteX116" fmla="*/ 1716427 w 4519987"/>
              <a:gd name="connsiteY116" fmla="*/ 123825 h 4496940"/>
              <a:gd name="connsiteX117" fmla="*/ 1811677 w 4519987"/>
              <a:gd name="connsiteY117" fmla="*/ 114300 h 4496940"/>
              <a:gd name="connsiteX118" fmla="*/ 1859302 w 4519987"/>
              <a:gd name="connsiteY118" fmla="*/ 104775 h 4496940"/>
              <a:gd name="connsiteX119" fmla="*/ 1916452 w 4519987"/>
              <a:gd name="connsiteY119" fmla="*/ 95250 h 4496940"/>
              <a:gd name="connsiteX120" fmla="*/ 2030752 w 4519987"/>
              <a:gd name="connsiteY120" fmla="*/ 66675 h 4496940"/>
              <a:gd name="connsiteX121" fmla="*/ 2097427 w 4519987"/>
              <a:gd name="connsiteY121" fmla="*/ 47625 h 4496940"/>
              <a:gd name="connsiteX122" fmla="*/ 2164102 w 4519987"/>
              <a:gd name="connsiteY122" fmla="*/ 38100 h 4496940"/>
              <a:gd name="connsiteX123" fmla="*/ 2392702 w 4519987"/>
              <a:gd name="connsiteY12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35677 w 4519987"/>
              <a:gd name="connsiteY37" fmla="*/ 4238625 h 4496940"/>
              <a:gd name="connsiteX38" fmla="*/ 3240427 w 4519987"/>
              <a:gd name="connsiteY38" fmla="*/ 4267200 h 4496940"/>
              <a:gd name="connsiteX39" fmla="*/ 3068977 w 4519987"/>
              <a:gd name="connsiteY39" fmla="*/ 4286250 h 4496940"/>
              <a:gd name="connsiteX40" fmla="*/ 2935627 w 4519987"/>
              <a:gd name="connsiteY40" fmla="*/ 4333875 h 4496940"/>
              <a:gd name="connsiteX41" fmla="*/ 2811802 w 4519987"/>
              <a:gd name="connsiteY41" fmla="*/ 4371975 h 4496940"/>
              <a:gd name="connsiteX42" fmla="*/ 2745127 w 4519987"/>
              <a:gd name="connsiteY42" fmla="*/ 4410075 h 4496940"/>
              <a:gd name="connsiteX43" fmla="*/ 2697502 w 4519987"/>
              <a:gd name="connsiteY43" fmla="*/ 4429125 h 4496940"/>
              <a:gd name="connsiteX44" fmla="*/ 2640352 w 4519987"/>
              <a:gd name="connsiteY44" fmla="*/ 4457700 h 4496940"/>
              <a:gd name="connsiteX45" fmla="*/ 2583202 w 4519987"/>
              <a:gd name="connsiteY45" fmla="*/ 4467225 h 4496940"/>
              <a:gd name="connsiteX46" fmla="*/ 2545102 w 4519987"/>
              <a:gd name="connsiteY46" fmla="*/ 4486275 h 4496940"/>
              <a:gd name="connsiteX47" fmla="*/ 2306977 w 4519987"/>
              <a:gd name="connsiteY47" fmla="*/ 4476750 h 4496940"/>
              <a:gd name="connsiteX48" fmla="*/ 2202202 w 4519987"/>
              <a:gd name="connsiteY48" fmla="*/ 4457700 h 4496940"/>
              <a:gd name="connsiteX49" fmla="*/ 2126002 w 4519987"/>
              <a:gd name="connsiteY49" fmla="*/ 4429125 h 4496940"/>
              <a:gd name="connsiteX50" fmla="*/ 1935502 w 4519987"/>
              <a:gd name="connsiteY50" fmla="*/ 4400550 h 4496940"/>
              <a:gd name="connsiteX51" fmla="*/ 1821202 w 4519987"/>
              <a:gd name="connsiteY51" fmla="*/ 4371975 h 4496940"/>
              <a:gd name="connsiteX52" fmla="*/ 1754527 w 4519987"/>
              <a:gd name="connsiteY52" fmla="*/ 4352925 h 4496940"/>
              <a:gd name="connsiteX53" fmla="*/ 1687852 w 4519987"/>
              <a:gd name="connsiteY53" fmla="*/ 4343400 h 4496940"/>
              <a:gd name="connsiteX54" fmla="*/ 1573552 w 4519987"/>
              <a:gd name="connsiteY54" fmla="*/ 4305300 h 4496940"/>
              <a:gd name="connsiteX55" fmla="*/ 1402102 w 4519987"/>
              <a:gd name="connsiteY55" fmla="*/ 4276725 h 4496940"/>
              <a:gd name="connsiteX56" fmla="*/ 1287802 w 4519987"/>
              <a:gd name="connsiteY56" fmla="*/ 4229100 h 4496940"/>
              <a:gd name="connsiteX57" fmla="*/ 1221127 w 4519987"/>
              <a:gd name="connsiteY57" fmla="*/ 4200525 h 4496940"/>
              <a:gd name="connsiteX58" fmla="*/ 1144927 w 4519987"/>
              <a:gd name="connsiteY58" fmla="*/ 4171950 h 4496940"/>
              <a:gd name="connsiteX59" fmla="*/ 1087777 w 4519987"/>
              <a:gd name="connsiteY59" fmla="*/ 4143375 h 4496940"/>
              <a:gd name="connsiteX60" fmla="*/ 1030627 w 4519987"/>
              <a:gd name="connsiteY60" fmla="*/ 4124325 h 4496940"/>
              <a:gd name="connsiteX61" fmla="*/ 925852 w 4519987"/>
              <a:gd name="connsiteY61" fmla="*/ 4067175 h 4496940"/>
              <a:gd name="connsiteX62" fmla="*/ 830602 w 4519987"/>
              <a:gd name="connsiteY62" fmla="*/ 3981450 h 4496940"/>
              <a:gd name="connsiteX63" fmla="*/ 763927 w 4519987"/>
              <a:gd name="connsiteY63" fmla="*/ 3914775 h 4496940"/>
              <a:gd name="connsiteX64" fmla="*/ 725827 w 4519987"/>
              <a:gd name="connsiteY64" fmla="*/ 3876675 h 4496940"/>
              <a:gd name="connsiteX65" fmla="*/ 697252 w 4519987"/>
              <a:gd name="connsiteY65" fmla="*/ 3838575 h 4496940"/>
              <a:gd name="connsiteX66" fmla="*/ 640102 w 4519987"/>
              <a:gd name="connsiteY66" fmla="*/ 3781425 h 4496940"/>
              <a:gd name="connsiteX67" fmla="*/ 611527 w 4519987"/>
              <a:gd name="connsiteY67" fmla="*/ 3733800 h 4496940"/>
              <a:gd name="connsiteX68" fmla="*/ 554377 w 4519987"/>
              <a:gd name="connsiteY68" fmla="*/ 3657600 h 4496940"/>
              <a:gd name="connsiteX69" fmla="*/ 525802 w 4519987"/>
              <a:gd name="connsiteY69" fmla="*/ 3609975 h 4496940"/>
              <a:gd name="connsiteX70" fmla="*/ 497227 w 4519987"/>
              <a:gd name="connsiteY70" fmla="*/ 3552825 h 4496940"/>
              <a:gd name="connsiteX71" fmla="*/ 440077 w 4519987"/>
              <a:gd name="connsiteY71" fmla="*/ 3495675 h 4496940"/>
              <a:gd name="connsiteX72" fmla="*/ 411502 w 4519987"/>
              <a:gd name="connsiteY72" fmla="*/ 3448050 h 4496940"/>
              <a:gd name="connsiteX73" fmla="*/ 278152 w 4519987"/>
              <a:gd name="connsiteY73" fmla="*/ 3257550 h 4496940"/>
              <a:gd name="connsiteX74" fmla="*/ 249577 w 4519987"/>
              <a:gd name="connsiteY74" fmla="*/ 3200400 h 4496940"/>
              <a:gd name="connsiteX75" fmla="*/ 240052 w 4519987"/>
              <a:gd name="connsiteY75" fmla="*/ 3162300 h 4496940"/>
              <a:gd name="connsiteX76" fmla="*/ 221002 w 4519987"/>
              <a:gd name="connsiteY76" fmla="*/ 3105150 h 4496940"/>
              <a:gd name="connsiteX77" fmla="*/ 173377 w 4519987"/>
              <a:gd name="connsiteY77" fmla="*/ 3019425 h 4496940"/>
              <a:gd name="connsiteX78" fmla="*/ 144802 w 4519987"/>
              <a:gd name="connsiteY78" fmla="*/ 2924175 h 4496940"/>
              <a:gd name="connsiteX79" fmla="*/ 68602 w 4519987"/>
              <a:gd name="connsiteY79" fmla="*/ 2724150 h 4496940"/>
              <a:gd name="connsiteX80" fmla="*/ 49552 w 4519987"/>
              <a:gd name="connsiteY80" fmla="*/ 2638425 h 4496940"/>
              <a:gd name="connsiteX81" fmla="*/ 40027 w 4519987"/>
              <a:gd name="connsiteY81" fmla="*/ 2562225 h 4496940"/>
              <a:gd name="connsiteX82" fmla="*/ 30502 w 4519987"/>
              <a:gd name="connsiteY82" fmla="*/ 2514600 h 4496940"/>
              <a:gd name="connsiteX83" fmla="*/ 11452 w 4519987"/>
              <a:gd name="connsiteY83" fmla="*/ 2400300 h 4496940"/>
              <a:gd name="connsiteX84" fmla="*/ 20977 w 4519987"/>
              <a:gd name="connsiteY84" fmla="*/ 1905000 h 4496940"/>
              <a:gd name="connsiteX85" fmla="*/ 30502 w 4519987"/>
              <a:gd name="connsiteY85" fmla="*/ 1838325 h 4496940"/>
              <a:gd name="connsiteX86" fmla="*/ 49552 w 4519987"/>
              <a:gd name="connsiteY86" fmla="*/ 1781175 h 4496940"/>
              <a:gd name="connsiteX87" fmla="*/ 59077 w 4519987"/>
              <a:gd name="connsiteY87" fmla="*/ 1743075 h 4496940"/>
              <a:gd name="connsiteX88" fmla="*/ 78127 w 4519987"/>
              <a:gd name="connsiteY88" fmla="*/ 1685925 h 4496940"/>
              <a:gd name="connsiteX89" fmla="*/ 87652 w 4519987"/>
              <a:gd name="connsiteY89" fmla="*/ 1638300 h 4496940"/>
              <a:gd name="connsiteX90" fmla="*/ 106702 w 4519987"/>
              <a:gd name="connsiteY90" fmla="*/ 1590675 h 4496940"/>
              <a:gd name="connsiteX91" fmla="*/ 135277 w 4519987"/>
              <a:gd name="connsiteY91" fmla="*/ 1504950 h 4496940"/>
              <a:gd name="connsiteX92" fmla="*/ 154327 w 4519987"/>
              <a:gd name="connsiteY92" fmla="*/ 1419225 h 4496940"/>
              <a:gd name="connsiteX93" fmla="*/ 230527 w 4519987"/>
              <a:gd name="connsiteY93" fmla="*/ 1276350 h 4496940"/>
              <a:gd name="connsiteX94" fmla="*/ 240052 w 4519987"/>
              <a:gd name="connsiteY94" fmla="*/ 1247775 h 4496940"/>
              <a:gd name="connsiteX95" fmla="*/ 268627 w 4519987"/>
              <a:gd name="connsiteY95" fmla="*/ 1200150 h 4496940"/>
              <a:gd name="connsiteX96" fmla="*/ 287677 w 4519987"/>
              <a:gd name="connsiteY96" fmla="*/ 1152525 h 4496940"/>
              <a:gd name="connsiteX97" fmla="*/ 316252 w 4519987"/>
              <a:gd name="connsiteY97" fmla="*/ 1114425 h 4496940"/>
              <a:gd name="connsiteX98" fmla="*/ 363877 w 4519987"/>
              <a:gd name="connsiteY98" fmla="*/ 1038225 h 4496940"/>
              <a:gd name="connsiteX99" fmla="*/ 382927 w 4519987"/>
              <a:gd name="connsiteY99" fmla="*/ 1009650 h 4496940"/>
              <a:gd name="connsiteX100" fmla="*/ 440077 w 4519987"/>
              <a:gd name="connsiteY100" fmla="*/ 904875 h 4496940"/>
              <a:gd name="connsiteX101" fmla="*/ 478177 w 4519987"/>
              <a:gd name="connsiteY101" fmla="*/ 857250 h 4496940"/>
              <a:gd name="connsiteX102" fmla="*/ 497227 w 4519987"/>
              <a:gd name="connsiteY102" fmla="*/ 828675 h 4496940"/>
              <a:gd name="connsiteX103" fmla="*/ 535327 w 4519987"/>
              <a:gd name="connsiteY103" fmla="*/ 800100 h 4496940"/>
              <a:gd name="connsiteX104" fmla="*/ 602002 w 4519987"/>
              <a:gd name="connsiteY104" fmla="*/ 733425 h 4496940"/>
              <a:gd name="connsiteX105" fmla="*/ 668677 w 4519987"/>
              <a:gd name="connsiteY105" fmla="*/ 676275 h 4496940"/>
              <a:gd name="connsiteX106" fmla="*/ 697252 w 4519987"/>
              <a:gd name="connsiteY106" fmla="*/ 657225 h 4496940"/>
              <a:gd name="connsiteX107" fmla="*/ 840127 w 4519987"/>
              <a:gd name="connsiteY107" fmla="*/ 533400 h 4496940"/>
              <a:gd name="connsiteX108" fmla="*/ 887752 w 4519987"/>
              <a:gd name="connsiteY108" fmla="*/ 504825 h 4496940"/>
              <a:gd name="connsiteX109" fmla="*/ 1167152 w 4519987"/>
              <a:gd name="connsiteY109" fmla="*/ 311150 h 4496940"/>
              <a:gd name="connsiteX110" fmla="*/ 1268752 w 4519987"/>
              <a:gd name="connsiteY110" fmla="*/ 285750 h 4496940"/>
              <a:gd name="connsiteX111" fmla="*/ 1411627 w 4519987"/>
              <a:gd name="connsiteY111" fmla="*/ 190500 h 4496940"/>
              <a:gd name="connsiteX112" fmla="*/ 1449727 w 4519987"/>
              <a:gd name="connsiteY112" fmla="*/ 161925 h 4496940"/>
              <a:gd name="connsiteX113" fmla="*/ 1525927 w 4519987"/>
              <a:gd name="connsiteY113" fmla="*/ 152400 h 4496940"/>
              <a:gd name="connsiteX114" fmla="*/ 1583077 w 4519987"/>
              <a:gd name="connsiteY114" fmla="*/ 142875 h 4496940"/>
              <a:gd name="connsiteX115" fmla="*/ 1716427 w 4519987"/>
              <a:gd name="connsiteY115" fmla="*/ 123825 h 4496940"/>
              <a:gd name="connsiteX116" fmla="*/ 1811677 w 4519987"/>
              <a:gd name="connsiteY116" fmla="*/ 114300 h 4496940"/>
              <a:gd name="connsiteX117" fmla="*/ 1859302 w 4519987"/>
              <a:gd name="connsiteY117" fmla="*/ 104775 h 4496940"/>
              <a:gd name="connsiteX118" fmla="*/ 1916452 w 4519987"/>
              <a:gd name="connsiteY118" fmla="*/ 95250 h 4496940"/>
              <a:gd name="connsiteX119" fmla="*/ 2030752 w 4519987"/>
              <a:gd name="connsiteY119" fmla="*/ 66675 h 4496940"/>
              <a:gd name="connsiteX120" fmla="*/ 2097427 w 4519987"/>
              <a:gd name="connsiteY120" fmla="*/ 47625 h 4496940"/>
              <a:gd name="connsiteX121" fmla="*/ 2164102 w 4519987"/>
              <a:gd name="connsiteY121" fmla="*/ 38100 h 4496940"/>
              <a:gd name="connsiteX122" fmla="*/ 2392702 w 4519987"/>
              <a:gd name="connsiteY12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40427 w 4519987"/>
              <a:gd name="connsiteY37" fmla="*/ 426720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97502 w 4519987"/>
              <a:gd name="connsiteY42" fmla="*/ 4429125 h 4496940"/>
              <a:gd name="connsiteX43" fmla="*/ 2640352 w 4519987"/>
              <a:gd name="connsiteY43" fmla="*/ 4457700 h 4496940"/>
              <a:gd name="connsiteX44" fmla="*/ 2583202 w 4519987"/>
              <a:gd name="connsiteY44" fmla="*/ 4467225 h 4496940"/>
              <a:gd name="connsiteX45" fmla="*/ 2545102 w 4519987"/>
              <a:gd name="connsiteY45" fmla="*/ 4486275 h 4496940"/>
              <a:gd name="connsiteX46" fmla="*/ 2306977 w 4519987"/>
              <a:gd name="connsiteY46" fmla="*/ 4476750 h 4496940"/>
              <a:gd name="connsiteX47" fmla="*/ 2202202 w 4519987"/>
              <a:gd name="connsiteY47" fmla="*/ 4457700 h 4496940"/>
              <a:gd name="connsiteX48" fmla="*/ 2126002 w 4519987"/>
              <a:gd name="connsiteY48" fmla="*/ 4429125 h 4496940"/>
              <a:gd name="connsiteX49" fmla="*/ 1935502 w 4519987"/>
              <a:gd name="connsiteY49" fmla="*/ 4400550 h 4496940"/>
              <a:gd name="connsiteX50" fmla="*/ 1821202 w 4519987"/>
              <a:gd name="connsiteY50" fmla="*/ 4371975 h 4496940"/>
              <a:gd name="connsiteX51" fmla="*/ 1754527 w 4519987"/>
              <a:gd name="connsiteY51" fmla="*/ 4352925 h 4496940"/>
              <a:gd name="connsiteX52" fmla="*/ 1687852 w 4519987"/>
              <a:gd name="connsiteY52" fmla="*/ 4343400 h 4496940"/>
              <a:gd name="connsiteX53" fmla="*/ 1573552 w 4519987"/>
              <a:gd name="connsiteY53" fmla="*/ 4305300 h 4496940"/>
              <a:gd name="connsiteX54" fmla="*/ 1402102 w 4519987"/>
              <a:gd name="connsiteY54" fmla="*/ 4276725 h 4496940"/>
              <a:gd name="connsiteX55" fmla="*/ 1287802 w 4519987"/>
              <a:gd name="connsiteY55" fmla="*/ 4229100 h 4496940"/>
              <a:gd name="connsiteX56" fmla="*/ 1221127 w 4519987"/>
              <a:gd name="connsiteY56" fmla="*/ 4200525 h 4496940"/>
              <a:gd name="connsiteX57" fmla="*/ 1144927 w 4519987"/>
              <a:gd name="connsiteY57" fmla="*/ 4171950 h 4496940"/>
              <a:gd name="connsiteX58" fmla="*/ 1087777 w 4519987"/>
              <a:gd name="connsiteY58" fmla="*/ 4143375 h 4496940"/>
              <a:gd name="connsiteX59" fmla="*/ 1030627 w 4519987"/>
              <a:gd name="connsiteY59" fmla="*/ 4124325 h 4496940"/>
              <a:gd name="connsiteX60" fmla="*/ 925852 w 4519987"/>
              <a:gd name="connsiteY60" fmla="*/ 4067175 h 4496940"/>
              <a:gd name="connsiteX61" fmla="*/ 830602 w 4519987"/>
              <a:gd name="connsiteY61" fmla="*/ 3981450 h 4496940"/>
              <a:gd name="connsiteX62" fmla="*/ 763927 w 4519987"/>
              <a:gd name="connsiteY62" fmla="*/ 3914775 h 4496940"/>
              <a:gd name="connsiteX63" fmla="*/ 725827 w 4519987"/>
              <a:gd name="connsiteY63" fmla="*/ 3876675 h 4496940"/>
              <a:gd name="connsiteX64" fmla="*/ 697252 w 4519987"/>
              <a:gd name="connsiteY64" fmla="*/ 3838575 h 4496940"/>
              <a:gd name="connsiteX65" fmla="*/ 640102 w 4519987"/>
              <a:gd name="connsiteY65" fmla="*/ 3781425 h 4496940"/>
              <a:gd name="connsiteX66" fmla="*/ 611527 w 4519987"/>
              <a:gd name="connsiteY66" fmla="*/ 3733800 h 4496940"/>
              <a:gd name="connsiteX67" fmla="*/ 554377 w 4519987"/>
              <a:gd name="connsiteY67" fmla="*/ 3657600 h 4496940"/>
              <a:gd name="connsiteX68" fmla="*/ 525802 w 4519987"/>
              <a:gd name="connsiteY68" fmla="*/ 3609975 h 4496940"/>
              <a:gd name="connsiteX69" fmla="*/ 497227 w 4519987"/>
              <a:gd name="connsiteY69" fmla="*/ 3552825 h 4496940"/>
              <a:gd name="connsiteX70" fmla="*/ 440077 w 4519987"/>
              <a:gd name="connsiteY70" fmla="*/ 3495675 h 4496940"/>
              <a:gd name="connsiteX71" fmla="*/ 411502 w 4519987"/>
              <a:gd name="connsiteY71" fmla="*/ 3448050 h 4496940"/>
              <a:gd name="connsiteX72" fmla="*/ 278152 w 4519987"/>
              <a:gd name="connsiteY72" fmla="*/ 3257550 h 4496940"/>
              <a:gd name="connsiteX73" fmla="*/ 249577 w 4519987"/>
              <a:gd name="connsiteY73" fmla="*/ 3200400 h 4496940"/>
              <a:gd name="connsiteX74" fmla="*/ 240052 w 4519987"/>
              <a:gd name="connsiteY74" fmla="*/ 3162300 h 4496940"/>
              <a:gd name="connsiteX75" fmla="*/ 221002 w 4519987"/>
              <a:gd name="connsiteY75" fmla="*/ 3105150 h 4496940"/>
              <a:gd name="connsiteX76" fmla="*/ 173377 w 4519987"/>
              <a:gd name="connsiteY76" fmla="*/ 3019425 h 4496940"/>
              <a:gd name="connsiteX77" fmla="*/ 144802 w 4519987"/>
              <a:gd name="connsiteY77" fmla="*/ 2924175 h 4496940"/>
              <a:gd name="connsiteX78" fmla="*/ 68602 w 4519987"/>
              <a:gd name="connsiteY78" fmla="*/ 2724150 h 4496940"/>
              <a:gd name="connsiteX79" fmla="*/ 49552 w 4519987"/>
              <a:gd name="connsiteY79" fmla="*/ 2638425 h 4496940"/>
              <a:gd name="connsiteX80" fmla="*/ 40027 w 4519987"/>
              <a:gd name="connsiteY80" fmla="*/ 2562225 h 4496940"/>
              <a:gd name="connsiteX81" fmla="*/ 30502 w 4519987"/>
              <a:gd name="connsiteY81" fmla="*/ 2514600 h 4496940"/>
              <a:gd name="connsiteX82" fmla="*/ 11452 w 4519987"/>
              <a:gd name="connsiteY82" fmla="*/ 2400300 h 4496940"/>
              <a:gd name="connsiteX83" fmla="*/ 20977 w 4519987"/>
              <a:gd name="connsiteY83" fmla="*/ 1905000 h 4496940"/>
              <a:gd name="connsiteX84" fmla="*/ 30502 w 4519987"/>
              <a:gd name="connsiteY84" fmla="*/ 1838325 h 4496940"/>
              <a:gd name="connsiteX85" fmla="*/ 49552 w 4519987"/>
              <a:gd name="connsiteY85" fmla="*/ 1781175 h 4496940"/>
              <a:gd name="connsiteX86" fmla="*/ 59077 w 4519987"/>
              <a:gd name="connsiteY86" fmla="*/ 1743075 h 4496940"/>
              <a:gd name="connsiteX87" fmla="*/ 78127 w 4519987"/>
              <a:gd name="connsiteY87" fmla="*/ 1685925 h 4496940"/>
              <a:gd name="connsiteX88" fmla="*/ 87652 w 4519987"/>
              <a:gd name="connsiteY88" fmla="*/ 1638300 h 4496940"/>
              <a:gd name="connsiteX89" fmla="*/ 106702 w 4519987"/>
              <a:gd name="connsiteY89" fmla="*/ 1590675 h 4496940"/>
              <a:gd name="connsiteX90" fmla="*/ 135277 w 4519987"/>
              <a:gd name="connsiteY90" fmla="*/ 1504950 h 4496940"/>
              <a:gd name="connsiteX91" fmla="*/ 154327 w 4519987"/>
              <a:gd name="connsiteY91" fmla="*/ 1419225 h 4496940"/>
              <a:gd name="connsiteX92" fmla="*/ 230527 w 4519987"/>
              <a:gd name="connsiteY92" fmla="*/ 1276350 h 4496940"/>
              <a:gd name="connsiteX93" fmla="*/ 240052 w 4519987"/>
              <a:gd name="connsiteY93" fmla="*/ 1247775 h 4496940"/>
              <a:gd name="connsiteX94" fmla="*/ 268627 w 4519987"/>
              <a:gd name="connsiteY94" fmla="*/ 1200150 h 4496940"/>
              <a:gd name="connsiteX95" fmla="*/ 287677 w 4519987"/>
              <a:gd name="connsiteY95" fmla="*/ 1152525 h 4496940"/>
              <a:gd name="connsiteX96" fmla="*/ 316252 w 4519987"/>
              <a:gd name="connsiteY96" fmla="*/ 1114425 h 4496940"/>
              <a:gd name="connsiteX97" fmla="*/ 363877 w 4519987"/>
              <a:gd name="connsiteY97" fmla="*/ 1038225 h 4496940"/>
              <a:gd name="connsiteX98" fmla="*/ 382927 w 4519987"/>
              <a:gd name="connsiteY98" fmla="*/ 1009650 h 4496940"/>
              <a:gd name="connsiteX99" fmla="*/ 440077 w 4519987"/>
              <a:gd name="connsiteY99" fmla="*/ 904875 h 4496940"/>
              <a:gd name="connsiteX100" fmla="*/ 478177 w 4519987"/>
              <a:gd name="connsiteY100" fmla="*/ 857250 h 4496940"/>
              <a:gd name="connsiteX101" fmla="*/ 497227 w 4519987"/>
              <a:gd name="connsiteY101" fmla="*/ 828675 h 4496940"/>
              <a:gd name="connsiteX102" fmla="*/ 535327 w 4519987"/>
              <a:gd name="connsiteY102" fmla="*/ 800100 h 4496940"/>
              <a:gd name="connsiteX103" fmla="*/ 602002 w 4519987"/>
              <a:gd name="connsiteY103" fmla="*/ 733425 h 4496940"/>
              <a:gd name="connsiteX104" fmla="*/ 668677 w 4519987"/>
              <a:gd name="connsiteY104" fmla="*/ 676275 h 4496940"/>
              <a:gd name="connsiteX105" fmla="*/ 697252 w 4519987"/>
              <a:gd name="connsiteY105" fmla="*/ 657225 h 4496940"/>
              <a:gd name="connsiteX106" fmla="*/ 840127 w 4519987"/>
              <a:gd name="connsiteY106" fmla="*/ 533400 h 4496940"/>
              <a:gd name="connsiteX107" fmla="*/ 887752 w 4519987"/>
              <a:gd name="connsiteY107" fmla="*/ 504825 h 4496940"/>
              <a:gd name="connsiteX108" fmla="*/ 1167152 w 4519987"/>
              <a:gd name="connsiteY108" fmla="*/ 311150 h 4496940"/>
              <a:gd name="connsiteX109" fmla="*/ 1268752 w 4519987"/>
              <a:gd name="connsiteY109" fmla="*/ 285750 h 4496940"/>
              <a:gd name="connsiteX110" fmla="*/ 1411627 w 4519987"/>
              <a:gd name="connsiteY110" fmla="*/ 190500 h 4496940"/>
              <a:gd name="connsiteX111" fmla="*/ 1449727 w 4519987"/>
              <a:gd name="connsiteY111" fmla="*/ 161925 h 4496940"/>
              <a:gd name="connsiteX112" fmla="*/ 1525927 w 4519987"/>
              <a:gd name="connsiteY112" fmla="*/ 152400 h 4496940"/>
              <a:gd name="connsiteX113" fmla="*/ 1583077 w 4519987"/>
              <a:gd name="connsiteY113" fmla="*/ 142875 h 4496940"/>
              <a:gd name="connsiteX114" fmla="*/ 1716427 w 4519987"/>
              <a:gd name="connsiteY114" fmla="*/ 123825 h 4496940"/>
              <a:gd name="connsiteX115" fmla="*/ 1811677 w 4519987"/>
              <a:gd name="connsiteY115" fmla="*/ 114300 h 4496940"/>
              <a:gd name="connsiteX116" fmla="*/ 1859302 w 4519987"/>
              <a:gd name="connsiteY116" fmla="*/ 104775 h 4496940"/>
              <a:gd name="connsiteX117" fmla="*/ 1916452 w 4519987"/>
              <a:gd name="connsiteY117" fmla="*/ 95250 h 4496940"/>
              <a:gd name="connsiteX118" fmla="*/ 2030752 w 4519987"/>
              <a:gd name="connsiteY118" fmla="*/ 66675 h 4496940"/>
              <a:gd name="connsiteX119" fmla="*/ 2097427 w 4519987"/>
              <a:gd name="connsiteY119" fmla="*/ 47625 h 4496940"/>
              <a:gd name="connsiteX120" fmla="*/ 2164102 w 4519987"/>
              <a:gd name="connsiteY120" fmla="*/ 38100 h 4496940"/>
              <a:gd name="connsiteX121" fmla="*/ 2392702 w 4519987"/>
              <a:gd name="connsiteY12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21377 w 4519987"/>
              <a:gd name="connsiteY37" fmla="*/ 422275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97502 w 4519987"/>
              <a:gd name="connsiteY42" fmla="*/ 4429125 h 4496940"/>
              <a:gd name="connsiteX43" fmla="*/ 2640352 w 4519987"/>
              <a:gd name="connsiteY43" fmla="*/ 4457700 h 4496940"/>
              <a:gd name="connsiteX44" fmla="*/ 2583202 w 4519987"/>
              <a:gd name="connsiteY44" fmla="*/ 4467225 h 4496940"/>
              <a:gd name="connsiteX45" fmla="*/ 2545102 w 4519987"/>
              <a:gd name="connsiteY45" fmla="*/ 4486275 h 4496940"/>
              <a:gd name="connsiteX46" fmla="*/ 2306977 w 4519987"/>
              <a:gd name="connsiteY46" fmla="*/ 4476750 h 4496940"/>
              <a:gd name="connsiteX47" fmla="*/ 2202202 w 4519987"/>
              <a:gd name="connsiteY47" fmla="*/ 4457700 h 4496940"/>
              <a:gd name="connsiteX48" fmla="*/ 2126002 w 4519987"/>
              <a:gd name="connsiteY48" fmla="*/ 4429125 h 4496940"/>
              <a:gd name="connsiteX49" fmla="*/ 1935502 w 4519987"/>
              <a:gd name="connsiteY49" fmla="*/ 4400550 h 4496940"/>
              <a:gd name="connsiteX50" fmla="*/ 1821202 w 4519987"/>
              <a:gd name="connsiteY50" fmla="*/ 4371975 h 4496940"/>
              <a:gd name="connsiteX51" fmla="*/ 1754527 w 4519987"/>
              <a:gd name="connsiteY51" fmla="*/ 4352925 h 4496940"/>
              <a:gd name="connsiteX52" fmla="*/ 1687852 w 4519987"/>
              <a:gd name="connsiteY52" fmla="*/ 4343400 h 4496940"/>
              <a:gd name="connsiteX53" fmla="*/ 1573552 w 4519987"/>
              <a:gd name="connsiteY53" fmla="*/ 4305300 h 4496940"/>
              <a:gd name="connsiteX54" fmla="*/ 1402102 w 4519987"/>
              <a:gd name="connsiteY54" fmla="*/ 4276725 h 4496940"/>
              <a:gd name="connsiteX55" fmla="*/ 1287802 w 4519987"/>
              <a:gd name="connsiteY55" fmla="*/ 4229100 h 4496940"/>
              <a:gd name="connsiteX56" fmla="*/ 1221127 w 4519987"/>
              <a:gd name="connsiteY56" fmla="*/ 4200525 h 4496940"/>
              <a:gd name="connsiteX57" fmla="*/ 1144927 w 4519987"/>
              <a:gd name="connsiteY57" fmla="*/ 4171950 h 4496940"/>
              <a:gd name="connsiteX58" fmla="*/ 1087777 w 4519987"/>
              <a:gd name="connsiteY58" fmla="*/ 4143375 h 4496940"/>
              <a:gd name="connsiteX59" fmla="*/ 1030627 w 4519987"/>
              <a:gd name="connsiteY59" fmla="*/ 4124325 h 4496940"/>
              <a:gd name="connsiteX60" fmla="*/ 925852 w 4519987"/>
              <a:gd name="connsiteY60" fmla="*/ 4067175 h 4496940"/>
              <a:gd name="connsiteX61" fmla="*/ 830602 w 4519987"/>
              <a:gd name="connsiteY61" fmla="*/ 3981450 h 4496940"/>
              <a:gd name="connsiteX62" fmla="*/ 763927 w 4519987"/>
              <a:gd name="connsiteY62" fmla="*/ 3914775 h 4496940"/>
              <a:gd name="connsiteX63" fmla="*/ 725827 w 4519987"/>
              <a:gd name="connsiteY63" fmla="*/ 3876675 h 4496940"/>
              <a:gd name="connsiteX64" fmla="*/ 697252 w 4519987"/>
              <a:gd name="connsiteY64" fmla="*/ 3838575 h 4496940"/>
              <a:gd name="connsiteX65" fmla="*/ 640102 w 4519987"/>
              <a:gd name="connsiteY65" fmla="*/ 3781425 h 4496940"/>
              <a:gd name="connsiteX66" fmla="*/ 611527 w 4519987"/>
              <a:gd name="connsiteY66" fmla="*/ 3733800 h 4496940"/>
              <a:gd name="connsiteX67" fmla="*/ 554377 w 4519987"/>
              <a:gd name="connsiteY67" fmla="*/ 3657600 h 4496940"/>
              <a:gd name="connsiteX68" fmla="*/ 525802 w 4519987"/>
              <a:gd name="connsiteY68" fmla="*/ 3609975 h 4496940"/>
              <a:gd name="connsiteX69" fmla="*/ 497227 w 4519987"/>
              <a:gd name="connsiteY69" fmla="*/ 3552825 h 4496940"/>
              <a:gd name="connsiteX70" fmla="*/ 440077 w 4519987"/>
              <a:gd name="connsiteY70" fmla="*/ 3495675 h 4496940"/>
              <a:gd name="connsiteX71" fmla="*/ 411502 w 4519987"/>
              <a:gd name="connsiteY71" fmla="*/ 3448050 h 4496940"/>
              <a:gd name="connsiteX72" fmla="*/ 278152 w 4519987"/>
              <a:gd name="connsiteY72" fmla="*/ 3257550 h 4496940"/>
              <a:gd name="connsiteX73" fmla="*/ 249577 w 4519987"/>
              <a:gd name="connsiteY73" fmla="*/ 3200400 h 4496940"/>
              <a:gd name="connsiteX74" fmla="*/ 240052 w 4519987"/>
              <a:gd name="connsiteY74" fmla="*/ 3162300 h 4496940"/>
              <a:gd name="connsiteX75" fmla="*/ 221002 w 4519987"/>
              <a:gd name="connsiteY75" fmla="*/ 3105150 h 4496940"/>
              <a:gd name="connsiteX76" fmla="*/ 173377 w 4519987"/>
              <a:gd name="connsiteY76" fmla="*/ 3019425 h 4496940"/>
              <a:gd name="connsiteX77" fmla="*/ 144802 w 4519987"/>
              <a:gd name="connsiteY77" fmla="*/ 2924175 h 4496940"/>
              <a:gd name="connsiteX78" fmla="*/ 68602 w 4519987"/>
              <a:gd name="connsiteY78" fmla="*/ 2724150 h 4496940"/>
              <a:gd name="connsiteX79" fmla="*/ 49552 w 4519987"/>
              <a:gd name="connsiteY79" fmla="*/ 2638425 h 4496940"/>
              <a:gd name="connsiteX80" fmla="*/ 40027 w 4519987"/>
              <a:gd name="connsiteY80" fmla="*/ 2562225 h 4496940"/>
              <a:gd name="connsiteX81" fmla="*/ 30502 w 4519987"/>
              <a:gd name="connsiteY81" fmla="*/ 2514600 h 4496940"/>
              <a:gd name="connsiteX82" fmla="*/ 11452 w 4519987"/>
              <a:gd name="connsiteY82" fmla="*/ 2400300 h 4496940"/>
              <a:gd name="connsiteX83" fmla="*/ 20977 w 4519987"/>
              <a:gd name="connsiteY83" fmla="*/ 1905000 h 4496940"/>
              <a:gd name="connsiteX84" fmla="*/ 30502 w 4519987"/>
              <a:gd name="connsiteY84" fmla="*/ 1838325 h 4496940"/>
              <a:gd name="connsiteX85" fmla="*/ 49552 w 4519987"/>
              <a:gd name="connsiteY85" fmla="*/ 1781175 h 4496940"/>
              <a:gd name="connsiteX86" fmla="*/ 59077 w 4519987"/>
              <a:gd name="connsiteY86" fmla="*/ 1743075 h 4496940"/>
              <a:gd name="connsiteX87" fmla="*/ 78127 w 4519987"/>
              <a:gd name="connsiteY87" fmla="*/ 1685925 h 4496940"/>
              <a:gd name="connsiteX88" fmla="*/ 87652 w 4519987"/>
              <a:gd name="connsiteY88" fmla="*/ 1638300 h 4496940"/>
              <a:gd name="connsiteX89" fmla="*/ 106702 w 4519987"/>
              <a:gd name="connsiteY89" fmla="*/ 1590675 h 4496940"/>
              <a:gd name="connsiteX90" fmla="*/ 135277 w 4519987"/>
              <a:gd name="connsiteY90" fmla="*/ 1504950 h 4496940"/>
              <a:gd name="connsiteX91" fmla="*/ 154327 w 4519987"/>
              <a:gd name="connsiteY91" fmla="*/ 1419225 h 4496940"/>
              <a:gd name="connsiteX92" fmla="*/ 230527 w 4519987"/>
              <a:gd name="connsiteY92" fmla="*/ 1276350 h 4496940"/>
              <a:gd name="connsiteX93" fmla="*/ 240052 w 4519987"/>
              <a:gd name="connsiteY93" fmla="*/ 1247775 h 4496940"/>
              <a:gd name="connsiteX94" fmla="*/ 268627 w 4519987"/>
              <a:gd name="connsiteY94" fmla="*/ 1200150 h 4496940"/>
              <a:gd name="connsiteX95" fmla="*/ 287677 w 4519987"/>
              <a:gd name="connsiteY95" fmla="*/ 1152525 h 4496940"/>
              <a:gd name="connsiteX96" fmla="*/ 316252 w 4519987"/>
              <a:gd name="connsiteY96" fmla="*/ 1114425 h 4496940"/>
              <a:gd name="connsiteX97" fmla="*/ 363877 w 4519987"/>
              <a:gd name="connsiteY97" fmla="*/ 1038225 h 4496940"/>
              <a:gd name="connsiteX98" fmla="*/ 382927 w 4519987"/>
              <a:gd name="connsiteY98" fmla="*/ 1009650 h 4496940"/>
              <a:gd name="connsiteX99" fmla="*/ 440077 w 4519987"/>
              <a:gd name="connsiteY99" fmla="*/ 904875 h 4496940"/>
              <a:gd name="connsiteX100" fmla="*/ 478177 w 4519987"/>
              <a:gd name="connsiteY100" fmla="*/ 857250 h 4496940"/>
              <a:gd name="connsiteX101" fmla="*/ 497227 w 4519987"/>
              <a:gd name="connsiteY101" fmla="*/ 828675 h 4496940"/>
              <a:gd name="connsiteX102" fmla="*/ 535327 w 4519987"/>
              <a:gd name="connsiteY102" fmla="*/ 800100 h 4496940"/>
              <a:gd name="connsiteX103" fmla="*/ 602002 w 4519987"/>
              <a:gd name="connsiteY103" fmla="*/ 733425 h 4496940"/>
              <a:gd name="connsiteX104" fmla="*/ 668677 w 4519987"/>
              <a:gd name="connsiteY104" fmla="*/ 676275 h 4496940"/>
              <a:gd name="connsiteX105" fmla="*/ 697252 w 4519987"/>
              <a:gd name="connsiteY105" fmla="*/ 657225 h 4496940"/>
              <a:gd name="connsiteX106" fmla="*/ 840127 w 4519987"/>
              <a:gd name="connsiteY106" fmla="*/ 533400 h 4496940"/>
              <a:gd name="connsiteX107" fmla="*/ 887752 w 4519987"/>
              <a:gd name="connsiteY107" fmla="*/ 504825 h 4496940"/>
              <a:gd name="connsiteX108" fmla="*/ 1167152 w 4519987"/>
              <a:gd name="connsiteY108" fmla="*/ 311150 h 4496940"/>
              <a:gd name="connsiteX109" fmla="*/ 1268752 w 4519987"/>
              <a:gd name="connsiteY109" fmla="*/ 285750 h 4496940"/>
              <a:gd name="connsiteX110" fmla="*/ 1411627 w 4519987"/>
              <a:gd name="connsiteY110" fmla="*/ 190500 h 4496940"/>
              <a:gd name="connsiteX111" fmla="*/ 1449727 w 4519987"/>
              <a:gd name="connsiteY111" fmla="*/ 161925 h 4496940"/>
              <a:gd name="connsiteX112" fmla="*/ 1525927 w 4519987"/>
              <a:gd name="connsiteY112" fmla="*/ 152400 h 4496940"/>
              <a:gd name="connsiteX113" fmla="*/ 1583077 w 4519987"/>
              <a:gd name="connsiteY113" fmla="*/ 142875 h 4496940"/>
              <a:gd name="connsiteX114" fmla="*/ 1716427 w 4519987"/>
              <a:gd name="connsiteY114" fmla="*/ 123825 h 4496940"/>
              <a:gd name="connsiteX115" fmla="*/ 1811677 w 4519987"/>
              <a:gd name="connsiteY115" fmla="*/ 114300 h 4496940"/>
              <a:gd name="connsiteX116" fmla="*/ 1859302 w 4519987"/>
              <a:gd name="connsiteY116" fmla="*/ 104775 h 4496940"/>
              <a:gd name="connsiteX117" fmla="*/ 1916452 w 4519987"/>
              <a:gd name="connsiteY117" fmla="*/ 95250 h 4496940"/>
              <a:gd name="connsiteX118" fmla="*/ 2030752 w 4519987"/>
              <a:gd name="connsiteY118" fmla="*/ 66675 h 4496940"/>
              <a:gd name="connsiteX119" fmla="*/ 2097427 w 4519987"/>
              <a:gd name="connsiteY119" fmla="*/ 47625 h 4496940"/>
              <a:gd name="connsiteX120" fmla="*/ 2164102 w 4519987"/>
              <a:gd name="connsiteY120" fmla="*/ 38100 h 4496940"/>
              <a:gd name="connsiteX121" fmla="*/ 2392702 w 4519987"/>
              <a:gd name="connsiteY12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21377 w 4519987"/>
              <a:gd name="connsiteY37" fmla="*/ 422275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40352 w 4519987"/>
              <a:gd name="connsiteY42" fmla="*/ 4457700 h 4496940"/>
              <a:gd name="connsiteX43" fmla="*/ 2583202 w 4519987"/>
              <a:gd name="connsiteY43" fmla="*/ 4467225 h 4496940"/>
              <a:gd name="connsiteX44" fmla="*/ 2545102 w 4519987"/>
              <a:gd name="connsiteY44" fmla="*/ 4486275 h 4496940"/>
              <a:gd name="connsiteX45" fmla="*/ 2306977 w 4519987"/>
              <a:gd name="connsiteY45" fmla="*/ 4476750 h 4496940"/>
              <a:gd name="connsiteX46" fmla="*/ 2202202 w 4519987"/>
              <a:gd name="connsiteY46" fmla="*/ 4457700 h 4496940"/>
              <a:gd name="connsiteX47" fmla="*/ 2126002 w 4519987"/>
              <a:gd name="connsiteY47" fmla="*/ 4429125 h 4496940"/>
              <a:gd name="connsiteX48" fmla="*/ 1935502 w 4519987"/>
              <a:gd name="connsiteY48" fmla="*/ 4400550 h 4496940"/>
              <a:gd name="connsiteX49" fmla="*/ 1821202 w 4519987"/>
              <a:gd name="connsiteY49" fmla="*/ 4371975 h 4496940"/>
              <a:gd name="connsiteX50" fmla="*/ 1754527 w 4519987"/>
              <a:gd name="connsiteY50" fmla="*/ 4352925 h 4496940"/>
              <a:gd name="connsiteX51" fmla="*/ 1687852 w 4519987"/>
              <a:gd name="connsiteY51" fmla="*/ 4343400 h 4496940"/>
              <a:gd name="connsiteX52" fmla="*/ 1573552 w 4519987"/>
              <a:gd name="connsiteY52" fmla="*/ 4305300 h 4496940"/>
              <a:gd name="connsiteX53" fmla="*/ 1402102 w 4519987"/>
              <a:gd name="connsiteY53" fmla="*/ 4276725 h 4496940"/>
              <a:gd name="connsiteX54" fmla="*/ 1287802 w 4519987"/>
              <a:gd name="connsiteY54" fmla="*/ 4229100 h 4496940"/>
              <a:gd name="connsiteX55" fmla="*/ 1221127 w 4519987"/>
              <a:gd name="connsiteY55" fmla="*/ 4200525 h 4496940"/>
              <a:gd name="connsiteX56" fmla="*/ 1144927 w 4519987"/>
              <a:gd name="connsiteY56" fmla="*/ 4171950 h 4496940"/>
              <a:gd name="connsiteX57" fmla="*/ 1087777 w 4519987"/>
              <a:gd name="connsiteY57" fmla="*/ 4143375 h 4496940"/>
              <a:gd name="connsiteX58" fmla="*/ 1030627 w 4519987"/>
              <a:gd name="connsiteY58" fmla="*/ 4124325 h 4496940"/>
              <a:gd name="connsiteX59" fmla="*/ 925852 w 4519987"/>
              <a:gd name="connsiteY59" fmla="*/ 4067175 h 4496940"/>
              <a:gd name="connsiteX60" fmla="*/ 830602 w 4519987"/>
              <a:gd name="connsiteY60" fmla="*/ 3981450 h 4496940"/>
              <a:gd name="connsiteX61" fmla="*/ 763927 w 4519987"/>
              <a:gd name="connsiteY61" fmla="*/ 3914775 h 4496940"/>
              <a:gd name="connsiteX62" fmla="*/ 725827 w 4519987"/>
              <a:gd name="connsiteY62" fmla="*/ 3876675 h 4496940"/>
              <a:gd name="connsiteX63" fmla="*/ 697252 w 4519987"/>
              <a:gd name="connsiteY63" fmla="*/ 3838575 h 4496940"/>
              <a:gd name="connsiteX64" fmla="*/ 640102 w 4519987"/>
              <a:gd name="connsiteY64" fmla="*/ 3781425 h 4496940"/>
              <a:gd name="connsiteX65" fmla="*/ 611527 w 4519987"/>
              <a:gd name="connsiteY65" fmla="*/ 3733800 h 4496940"/>
              <a:gd name="connsiteX66" fmla="*/ 554377 w 4519987"/>
              <a:gd name="connsiteY66" fmla="*/ 3657600 h 4496940"/>
              <a:gd name="connsiteX67" fmla="*/ 525802 w 4519987"/>
              <a:gd name="connsiteY67" fmla="*/ 3609975 h 4496940"/>
              <a:gd name="connsiteX68" fmla="*/ 497227 w 4519987"/>
              <a:gd name="connsiteY68" fmla="*/ 3552825 h 4496940"/>
              <a:gd name="connsiteX69" fmla="*/ 440077 w 4519987"/>
              <a:gd name="connsiteY69" fmla="*/ 3495675 h 4496940"/>
              <a:gd name="connsiteX70" fmla="*/ 411502 w 4519987"/>
              <a:gd name="connsiteY70" fmla="*/ 3448050 h 4496940"/>
              <a:gd name="connsiteX71" fmla="*/ 278152 w 4519987"/>
              <a:gd name="connsiteY71" fmla="*/ 3257550 h 4496940"/>
              <a:gd name="connsiteX72" fmla="*/ 249577 w 4519987"/>
              <a:gd name="connsiteY72" fmla="*/ 3200400 h 4496940"/>
              <a:gd name="connsiteX73" fmla="*/ 240052 w 4519987"/>
              <a:gd name="connsiteY73" fmla="*/ 3162300 h 4496940"/>
              <a:gd name="connsiteX74" fmla="*/ 221002 w 4519987"/>
              <a:gd name="connsiteY74" fmla="*/ 3105150 h 4496940"/>
              <a:gd name="connsiteX75" fmla="*/ 173377 w 4519987"/>
              <a:gd name="connsiteY75" fmla="*/ 3019425 h 4496940"/>
              <a:gd name="connsiteX76" fmla="*/ 144802 w 4519987"/>
              <a:gd name="connsiteY76" fmla="*/ 2924175 h 4496940"/>
              <a:gd name="connsiteX77" fmla="*/ 68602 w 4519987"/>
              <a:gd name="connsiteY77" fmla="*/ 2724150 h 4496940"/>
              <a:gd name="connsiteX78" fmla="*/ 49552 w 4519987"/>
              <a:gd name="connsiteY78" fmla="*/ 2638425 h 4496940"/>
              <a:gd name="connsiteX79" fmla="*/ 40027 w 4519987"/>
              <a:gd name="connsiteY79" fmla="*/ 2562225 h 4496940"/>
              <a:gd name="connsiteX80" fmla="*/ 30502 w 4519987"/>
              <a:gd name="connsiteY80" fmla="*/ 2514600 h 4496940"/>
              <a:gd name="connsiteX81" fmla="*/ 11452 w 4519987"/>
              <a:gd name="connsiteY81" fmla="*/ 2400300 h 4496940"/>
              <a:gd name="connsiteX82" fmla="*/ 20977 w 4519987"/>
              <a:gd name="connsiteY82" fmla="*/ 1905000 h 4496940"/>
              <a:gd name="connsiteX83" fmla="*/ 30502 w 4519987"/>
              <a:gd name="connsiteY83" fmla="*/ 1838325 h 4496940"/>
              <a:gd name="connsiteX84" fmla="*/ 49552 w 4519987"/>
              <a:gd name="connsiteY84" fmla="*/ 1781175 h 4496940"/>
              <a:gd name="connsiteX85" fmla="*/ 59077 w 4519987"/>
              <a:gd name="connsiteY85" fmla="*/ 1743075 h 4496940"/>
              <a:gd name="connsiteX86" fmla="*/ 78127 w 4519987"/>
              <a:gd name="connsiteY86" fmla="*/ 1685925 h 4496940"/>
              <a:gd name="connsiteX87" fmla="*/ 87652 w 4519987"/>
              <a:gd name="connsiteY87" fmla="*/ 1638300 h 4496940"/>
              <a:gd name="connsiteX88" fmla="*/ 106702 w 4519987"/>
              <a:gd name="connsiteY88" fmla="*/ 1590675 h 4496940"/>
              <a:gd name="connsiteX89" fmla="*/ 135277 w 4519987"/>
              <a:gd name="connsiteY89" fmla="*/ 1504950 h 4496940"/>
              <a:gd name="connsiteX90" fmla="*/ 154327 w 4519987"/>
              <a:gd name="connsiteY90" fmla="*/ 1419225 h 4496940"/>
              <a:gd name="connsiteX91" fmla="*/ 230527 w 4519987"/>
              <a:gd name="connsiteY91" fmla="*/ 1276350 h 4496940"/>
              <a:gd name="connsiteX92" fmla="*/ 240052 w 4519987"/>
              <a:gd name="connsiteY92" fmla="*/ 1247775 h 4496940"/>
              <a:gd name="connsiteX93" fmla="*/ 268627 w 4519987"/>
              <a:gd name="connsiteY93" fmla="*/ 1200150 h 4496940"/>
              <a:gd name="connsiteX94" fmla="*/ 287677 w 4519987"/>
              <a:gd name="connsiteY94" fmla="*/ 1152525 h 4496940"/>
              <a:gd name="connsiteX95" fmla="*/ 316252 w 4519987"/>
              <a:gd name="connsiteY95" fmla="*/ 1114425 h 4496940"/>
              <a:gd name="connsiteX96" fmla="*/ 363877 w 4519987"/>
              <a:gd name="connsiteY96" fmla="*/ 1038225 h 4496940"/>
              <a:gd name="connsiteX97" fmla="*/ 382927 w 4519987"/>
              <a:gd name="connsiteY97" fmla="*/ 1009650 h 4496940"/>
              <a:gd name="connsiteX98" fmla="*/ 440077 w 4519987"/>
              <a:gd name="connsiteY98" fmla="*/ 904875 h 4496940"/>
              <a:gd name="connsiteX99" fmla="*/ 478177 w 4519987"/>
              <a:gd name="connsiteY99" fmla="*/ 857250 h 4496940"/>
              <a:gd name="connsiteX100" fmla="*/ 497227 w 4519987"/>
              <a:gd name="connsiteY100" fmla="*/ 828675 h 4496940"/>
              <a:gd name="connsiteX101" fmla="*/ 535327 w 4519987"/>
              <a:gd name="connsiteY101" fmla="*/ 800100 h 4496940"/>
              <a:gd name="connsiteX102" fmla="*/ 602002 w 4519987"/>
              <a:gd name="connsiteY102" fmla="*/ 733425 h 4496940"/>
              <a:gd name="connsiteX103" fmla="*/ 668677 w 4519987"/>
              <a:gd name="connsiteY103" fmla="*/ 676275 h 4496940"/>
              <a:gd name="connsiteX104" fmla="*/ 697252 w 4519987"/>
              <a:gd name="connsiteY104" fmla="*/ 657225 h 4496940"/>
              <a:gd name="connsiteX105" fmla="*/ 840127 w 4519987"/>
              <a:gd name="connsiteY105" fmla="*/ 533400 h 4496940"/>
              <a:gd name="connsiteX106" fmla="*/ 887752 w 4519987"/>
              <a:gd name="connsiteY106" fmla="*/ 504825 h 4496940"/>
              <a:gd name="connsiteX107" fmla="*/ 1167152 w 4519987"/>
              <a:gd name="connsiteY107" fmla="*/ 311150 h 4496940"/>
              <a:gd name="connsiteX108" fmla="*/ 1268752 w 4519987"/>
              <a:gd name="connsiteY108" fmla="*/ 285750 h 4496940"/>
              <a:gd name="connsiteX109" fmla="*/ 1411627 w 4519987"/>
              <a:gd name="connsiteY109" fmla="*/ 190500 h 4496940"/>
              <a:gd name="connsiteX110" fmla="*/ 1449727 w 4519987"/>
              <a:gd name="connsiteY110" fmla="*/ 161925 h 4496940"/>
              <a:gd name="connsiteX111" fmla="*/ 1525927 w 4519987"/>
              <a:gd name="connsiteY111" fmla="*/ 152400 h 4496940"/>
              <a:gd name="connsiteX112" fmla="*/ 1583077 w 4519987"/>
              <a:gd name="connsiteY112" fmla="*/ 142875 h 4496940"/>
              <a:gd name="connsiteX113" fmla="*/ 1716427 w 4519987"/>
              <a:gd name="connsiteY113" fmla="*/ 123825 h 4496940"/>
              <a:gd name="connsiteX114" fmla="*/ 1811677 w 4519987"/>
              <a:gd name="connsiteY114" fmla="*/ 114300 h 4496940"/>
              <a:gd name="connsiteX115" fmla="*/ 1859302 w 4519987"/>
              <a:gd name="connsiteY115" fmla="*/ 104775 h 4496940"/>
              <a:gd name="connsiteX116" fmla="*/ 1916452 w 4519987"/>
              <a:gd name="connsiteY116" fmla="*/ 95250 h 4496940"/>
              <a:gd name="connsiteX117" fmla="*/ 2030752 w 4519987"/>
              <a:gd name="connsiteY117" fmla="*/ 66675 h 4496940"/>
              <a:gd name="connsiteX118" fmla="*/ 2097427 w 4519987"/>
              <a:gd name="connsiteY118" fmla="*/ 47625 h 4496940"/>
              <a:gd name="connsiteX119" fmla="*/ 2164102 w 4519987"/>
              <a:gd name="connsiteY119" fmla="*/ 38100 h 4496940"/>
              <a:gd name="connsiteX120" fmla="*/ 2392702 w 4519987"/>
              <a:gd name="connsiteY120" fmla="*/ 28575 h 4496940"/>
              <a:gd name="connsiteX0" fmla="*/ 2297452 w 4519987"/>
              <a:gd name="connsiteY0" fmla="*/ 0 h 4487372"/>
              <a:gd name="connsiteX1" fmla="*/ 2421277 w 4519987"/>
              <a:gd name="connsiteY1" fmla="*/ 28575 h 4487372"/>
              <a:gd name="connsiteX2" fmla="*/ 2497477 w 4519987"/>
              <a:gd name="connsiteY2" fmla="*/ 47625 h 4487372"/>
              <a:gd name="connsiteX3" fmla="*/ 2754652 w 4519987"/>
              <a:gd name="connsiteY3" fmla="*/ 66675 h 4487372"/>
              <a:gd name="connsiteX4" fmla="*/ 2830852 w 4519987"/>
              <a:gd name="connsiteY4" fmla="*/ 76200 h 4487372"/>
              <a:gd name="connsiteX5" fmla="*/ 2916577 w 4519987"/>
              <a:gd name="connsiteY5" fmla="*/ 85725 h 4487372"/>
              <a:gd name="connsiteX6" fmla="*/ 2973727 w 4519987"/>
              <a:gd name="connsiteY6" fmla="*/ 114300 h 4487372"/>
              <a:gd name="connsiteX7" fmla="*/ 3011827 w 4519987"/>
              <a:gd name="connsiteY7" fmla="*/ 123825 h 4487372"/>
              <a:gd name="connsiteX8" fmla="*/ 3135652 w 4519987"/>
              <a:gd name="connsiteY8" fmla="*/ 171450 h 4487372"/>
              <a:gd name="connsiteX9" fmla="*/ 3173752 w 4519987"/>
              <a:gd name="connsiteY9" fmla="*/ 190500 h 4487372"/>
              <a:gd name="connsiteX10" fmla="*/ 3240427 w 4519987"/>
              <a:gd name="connsiteY10" fmla="*/ 228600 h 4487372"/>
              <a:gd name="connsiteX11" fmla="*/ 3269002 w 4519987"/>
              <a:gd name="connsiteY11" fmla="*/ 238125 h 4487372"/>
              <a:gd name="connsiteX12" fmla="*/ 3297577 w 4519987"/>
              <a:gd name="connsiteY12" fmla="*/ 257175 h 4487372"/>
              <a:gd name="connsiteX13" fmla="*/ 3326152 w 4519987"/>
              <a:gd name="connsiteY13" fmla="*/ 266700 h 4487372"/>
              <a:gd name="connsiteX14" fmla="*/ 3354727 w 4519987"/>
              <a:gd name="connsiteY14" fmla="*/ 285750 h 4487372"/>
              <a:gd name="connsiteX15" fmla="*/ 3421402 w 4519987"/>
              <a:gd name="connsiteY15" fmla="*/ 323850 h 4487372"/>
              <a:gd name="connsiteX16" fmla="*/ 3469027 w 4519987"/>
              <a:gd name="connsiteY16" fmla="*/ 361950 h 4487372"/>
              <a:gd name="connsiteX17" fmla="*/ 3516652 w 4519987"/>
              <a:gd name="connsiteY17" fmla="*/ 390525 h 4487372"/>
              <a:gd name="connsiteX18" fmla="*/ 3630952 w 4519987"/>
              <a:gd name="connsiteY18" fmla="*/ 485775 h 4487372"/>
              <a:gd name="connsiteX19" fmla="*/ 3745252 w 4519987"/>
              <a:gd name="connsiteY19" fmla="*/ 542925 h 4487372"/>
              <a:gd name="connsiteX20" fmla="*/ 3811927 w 4519987"/>
              <a:gd name="connsiteY20" fmla="*/ 581025 h 4487372"/>
              <a:gd name="connsiteX21" fmla="*/ 4027827 w 4519987"/>
              <a:gd name="connsiteY21" fmla="*/ 819150 h 4487372"/>
              <a:gd name="connsiteX22" fmla="*/ 4164352 w 4519987"/>
              <a:gd name="connsiteY22" fmla="*/ 990600 h 4487372"/>
              <a:gd name="connsiteX23" fmla="*/ 4250077 w 4519987"/>
              <a:gd name="connsiteY23" fmla="*/ 1143000 h 4487372"/>
              <a:gd name="connsiteX24" fmla="*/ 4307227 w 4519987"/>
              <a:gd name="connsiteY24" fmla="*/ 1266825 h 4487372"/>
              <a:gd name="connsiteX25" fmla="*/ 4345327 w 4519987"/>
              <a:gd name="connsiteY25" fmla="*/ 1362075 h 4487372"/>
              <a:gd name="connsiteX26" fmla="*/ 4392952 w 4519987"/>
              <a:gd name="connsiteY26" fmla="*/ 1552575 h 4487372"/>
              <a:gd name="connsiteX27" fmla="*/ 4431052 w 4519987"/>
              <a:gd name="connsiteY27" fmla="*/ 1685925 h 4487372"/>
              <a:gd name="connsiteX28" fmla="*/ 4519952 w 4519987"/>
              <a:gd name="connsiteY28" fmla="*/ 2181225 h 4487372"/>
              <a:gd name="connsiteX29" fmla="*/ 4446927 w 4519987"/>
              <a:gd name="connsiteY29" fmla="*/ 2768600 h 4487372"/>
              <a:gd name="connsiteX30" fmla="*/ 4383427 w 4519987"/>
              <a:gd name="connsiteY30" fmla="*/ 2990850 h 4487372"/>
              <a:gd name="connsiteX31" fmla="*/ 4278652 w 4519987"/>
              <a:gd name="connsiteY31" fmla="*/ 3248025 h 4487372"/>
              <a:gd name="connsiteX32" fmla="*/ 4183402 w 4519987"/>
              <a:gd name="connsiteY32" fmla="*/ 3400425 h 4487372"/>
              <a:gd name="connsiteX33" fmla="*/ 4059577 w 4519987"/>
              <a:gd name="connsiteY33" fmla="*/ 3533775 h 4487372"/>
              <a:gd name="connsiteX34" fmla="*/ 3954802 w 4519987"/>
              <a:gd name="connsiteY34" fmla="*/ 3648075 h 4487372"/>
              <a:gd name="connsiteX35" fmla="*/ 3659527 w 4519987"/>
              <a:gd name="connsiteY35" fmla="*/ 3971925 h 4487372"/>
              <a:gd name="connsiteX36" fmla="*/ 3516652 w 4519987"/>
              <a:gd name="connsiteY36" fmla="*/ 4083050 h 4487372"/>
              <a:gd name="connsiteX37" fmla="*/ 3221377 w 4519987"/>
              <a:gd name="connsiteY37" fmla="*/ 4222750 h 4487372"/>
              <a:gd name="connsiteX38" fmla="*/ 3068977 w 4519987"/>
              <a:gd name="connsiteY38" fmla="*/ 4286250 h 4487372"/>
              <a:gd name="connsiteX39" fmla="*/ 2935627 w 4519987"/>
              <a:gd name="connsiteY39" fmla="*/ 4333875 h 4487372"/>
              <a:gd name="connsiteX40" fmla="*/ 2811802 w 4519987"/>
              <a:gd name="connsiteY40" fmla="*/ 4371975 h 4487372"/>
              <a:gd name="connsiteX41" fmla="*/ 2745127 w 4519987"/>
              <a:gd name="connsiteY41" fmla="*/ 4410075 h 4487372"/>
              <a:gd name="connsiteX42" fmla="*/ 2640352 w 4519987"/>
              <a:gd name="connsiteY42" fmla="*/ 4457700 h 4487372"/>
              <a:gd name="connsiteX43" fmla="*/ 2545102 w 4519987"/>
              <a:gd name="connsiteY43" fmla="*/ 4486275 h 4487372"/>
              <a:gd name="connsiteX44" fmla="*/ 2306977 w 4519987"/>
              <a:gd name="connsiteY44" fmla="*/ 4476750 h 4487372"/>
              <a:gd name="connsiteX45" fmla="*/ 2202202 w 4519987"/>
              <a:gd name="connsiteY45" fmla="*/ 4457700 h 4487372"/>
              <a:gd name="connsiteX46" fmla="*/ 2126002 w 4519987"/>
              <a:gd name="connsiteY46" fmla="*/ 4429125 h 4487372"/>
              <a:gd name="connsiteX47" fmla="*/ 1935502 w 4519987"/>
              <a:gd name="connsiteY47" fmla="*/ 4400550 h 4487372"/>
              <a:gd name="connsiteX48" fmla="*/ 1821202 w 4519987"/>
              <a:gd name="connsiteY48" fmla="*/ 4371975 h 4487372"/>
              <a:gd name="connsiteX49" fmla="*/ 1754527 w 4519987"/>
              <a:gd name="connsiteY49" fmla="*/ 4352925 h 4487372"/>
              <a:gd name="connsiteX50" fmla="*/ 1687852 w 4519987"/>
              <a:gd name="connsiteY50" fmla="*/ 4343400 h 4487372"/>
              <a:gd name="connsiteX51" fmla="*/ 1573552 w 4519987"/>
              <a:gd name="connsiteY51" fmla="*/ 4305300 h 4487372"/>
              <a:gd name="connsiteX52" fmla="*/ 1402102 w 4519987"/>
              <a:gd name="connsiteY52" fmla="*/ 4276725 h 4487372"/>
              <a:gd name="connsiteX53" fmla="*/ 1287802 w 4519987"/>
              <a:gd name="connsiteY53" fmla="*/ 4229100 h 4487372"/>
              <a:gd name="connsiteX54" fmla="*/ 1221127 w 4519987"/>
              <a:gd name="connsiteY54" fmla="*/ 4200525 h 4487372"/>
              <a:gd name="connsiteX55" fmla="*/ 1144927 w 4519987"/>
              <a:gd name="connsiteY55" fmla="*/ 4171950 h 4487372"/>
              <a:gd name="connsiteX56" fmla="*/ 1087777 w 4519987"/>
              <a:gd name="connsiteY56" fmla="*/ 4143375 h 4487372"/>
              <a:gd name="connsiteX57" fmla="*/ 1030627 w 4519987"/>
              <a:gd name="connsiteY57" fmla="*/ 4124325 h 4487372"/>
              <a:gd name="connsiteX58" fmla="*/ 925852 w 4519987"/>
              <a:gd name="connsiteY58" fmla="*/ 4067175 h 4487372"/>
              <a:gd name="connsiteX59" fmla="*/ 830602 w 4519987"/>
              <a:gd name="connsiteY59" fmla="*/ 3981450 h 4487372"/>
              <a:gd name="connsiteX60" fmla="*/ 763927 w 4519987"/>
              <a:gd name="connsiteY60" fmla="*/ 3914775 h 4487372"/>
              <a:gd name="connsiteX61" fmla="*/ 725827 w 4519987"/>
              <a:gd name="connsiteY61" fmla="*/ 3876675 h 4487372"/>
              <a:gd name="connsiteX62" fmla="*/ 697252 w 4519987"/>
              <a:gd name="connsiteY62" fmla="*/ 3838575 h 4487372"/>
              <a:gd name="connsiteX63" fmla="*/ 640102 w 4519987"/>
              <a:gd name="connsiteY63" fmla="*/ 3781425 h 4487372"/>
              <a:gd name="connsiteX64" fmla="*/ 611527 w 4519987"/>
              <a:gd name="connsiteY64" fmla="*/ 3733800 h 4487372"/>
              <a:gd name="connsiteX65" fmla="*/ 554377 w 4519987"/>
              <a:gd name="connsiteY65" fmla="*/ 3657600 h 4487372"/>
              <a:gd name="connsiteX66" fmla="*/ 525802 w 4519987"/>
              <a:gd name="connsiteY66" fmla="*/ 3609975 h 4487372"/>
              <a:gd name="connsiteX67" fmla="*/ 497227 w 4519987"/>
              <a:gd name="connsiteY67" fmla="*/ 3552825 h 4487372"/>
              <a:gd name="connsiteX68" fmla="*/ 440077 w 4519987"/>
              <a:gd name="connsiteY68" fmla="*/ 3495675 h 4487372"/>
              <a:gd name="connsiteX69" fmla="*/ 411502 w 4519987"/>
              <a:gd name="connsiteY69" fmla="*/ 3448050 h 4487372"/>
              <a:gd name="connsiteX70" fmla="*/ 278152 w 4519987"/>
              <a:gd name="connsiteY70" fmla="*/ 3257550 h 4487372"/>
              <a:gd name="connsiteX71" fmla="*/ 249577 w 4519987"/>
              <a:gd name="connsiteY71" fmla="*/ 3200400 h 4487372"/>
              <a:gd name="connsiteX72" fmla="*/ 240052 w 4519987"/>
              <a:gd name="connsiteY72" fmla="*/ 3162300 h 4487372"/>
              <a:gd name="connsiteX73" fmla="*/ 221002 w 4519987"/>
              <a:gd name="connsiteY73" fmla="*/ 3105150 h 4487372"/>
              <a:gd name="connsiteX74" fmla="*/ 173377 w 4519987"/>
              <a:gd name="connsiteY74" fmla="*/ 3019425 h 4487372"/>
              <a:gd name="connsiteX75" fmla="*/ 144802 w 4519987"/>
              <a:gd name="connsiteY75" fmla="*/ 2924175 h 4487372"/>
              <a:gd name="connsiteX76" fmla="*/ 68602 w 4519987"/>
              <a:gd name="connsiteY76" fmla="*/ 2724150 h 4487372"/>
              <a:gd name="connsiteX77" fmla="*/ 49552 w 4519987"/>
              <a:gd name="connsiteY77" fmla="*/ 2638425 h 4487372"/>
              <a:gd name="connsiteX78" fmla="*/ 40027 w 4519987"/>
              <a:gd name="connsiteY78" fmla="*/ 2562225 h 4487372"/>
              <a:gd name="connsiteX79" fmla="*/ 30502 w 4519987"/>
              <a:gd name="connsiteY79" fmla="*/ 2514600 h 4487372"/>
              <a:gd name="connsiteX80" fmla="*/ 11452 w 4519987"/>
              <a:gd name="connsiteY80" fmla="*/ 2400300 h 4487372"/>
              <a:gd name="connsiteX81" fmla="*/ 20977 w 4519987"/>
              <a:gd name="connsiteY81" fmla="*/ 1905000 h 4487372"/>
              <a:gd name="connsiteX82" fmla="*/ 30502 w 4519987"/>
              <a:gd name="connsiteY82" fmla="*/ 1838325 h 4487372"/>
              <a:gd name="connsiteX83" fmla="*/ 49552 w 4519987"/>
              <a:gd name="connsiteY83" fmla="*/ 1781175 h 4487372"/>
              <a:gd name="connsiteX84" fmla="*/ 59077 w 4519987"/>
              <a:gd name="connsiteY84" fmla="*/ 1743075 h 4487372"/>
              <a:gd name="connsiteX85" fmla="*/ 78127 w 4519987"/>
              <a:gd name="connsiteY85" fmla="*/ 1685925 h 4487372"/>
              <a:gd name="connsiteX86" fmla="*/ 87652 w 4519987"/>
              <a:gd name="connsiteY86" fmla="*/ 1638300 h 4487372"/>
              <a:gd name="connsiteX87" fmla="*/ 106702 w 4519987"/>
              <a:gd name="connsiteY87" fmla="*/ 1590675 h 4487372"/>
              <a:gd name="connsiteX88" fmla="*/ 135277 w 4519987"/>
              <a:gd name="connsiteY88" fmla="*/ 1504950 h 4487372"/>
              <a:gd name="connsiteX89" fmla="*/ 154327 w 4519987"/>
              <a:gd name="connsiteY89" fmla="*/ 1419225 h 4487372"/>
              <a:gd name="connsiteX90" fmla="*/ 230527 w 4519987"/>
              <a:gd name="connsiteY90" fmla="*/ 1276350 h 4487372"/>
              <a:gd name="connsiteX91" fmla="*/ 240052 w 4519987"/>
              <a:gd name="connsiteY91" fmla="*/ 1247775 h 4487372"/>
              <a:gd name="connsiteX92" fmla="*/ 268627 w 4519987"/>
              <a:gd name="connsiteY92" fmla="*/ 1200150 h 4487372"/>
              <a:gd name="connsiteX93" fmla="*/ 287677 w 4519987"/>
              <a:gd name="connsiteY93" fmla="*/ 1152525 h 4487372"/>
              <a:gd name="connsiteX94" fmla="*/ 316252 w 4519987"/>
              <a:gd name="connsiteY94" fmla="*/ 1114425 h 4487372"/>
              <a:gd name="connsiteX95" fmla="*/ 363877 w 4519987"/>
              <a:gd name="connsiteY95" fmla="*/ 1038225 h 4487372"/>
              <a:gd name="connsiteX96" fmla="*/ 382927 w 4519987"/>
              <a:gd name="connsiteY96" fmla="*/ 1009650 h 4487372"/>
              <a:gd name="connsiteX97" fmla="*/ 440077 w 4519987"/>
              <a:gd name="connsiteY97" fmla="*/ 904875 h 4487372"/>
              <a:gd name="connsiteX98" fmla="*/ 478177 w 4519987"/>
              <a:gd name="connsiteY98" fmla="*/ 857250 h 4487372"/>
              <a:gd name="connsiteX99" fmla="*/ 497227 w 4519987"/>
              <a:gd name="connsiteY99" fmla="*/ 828675 h 4487372"/>
              <a:gd name="connsiteX100" fmla="*/ 535327 w 4519987"/>
              <a:gd name="connsiteY100" fmla="*/ 800100 h 4487372"/>
              <a:gd name="connsiteX101" fmla="*/ 602002 w 4519987"/>
              <a:gd name="connsiteY101" fmla="*/ 733425 h 4487372"/>
              <a:gd name="connsiteX102" fmla="*/ 668677 w 4519987"/>
              <a:gd name="connsiteY102" fmla="*/ 676275 h 4487372"/>
              <a:gd name="connsiteX103" fmla="*/ 697252 w 4519987"/>
              <a:gd name="connsiteY103" fmla="*/ 657225 h 4487372"/>
              <a:gd name="connsiteX104" fmla="*/ 840127 w 4519987"/>
              <a:gd name="connsiteY104" fmla="*/ 533400 h 4487372"/>
              <a:gd name="connsiteX105" fmla="*/ 887752 w 4519987"/>
              <a:gd name="connsiteY105" fmla="*/ 504825 h 4487372"/>
              <a:gd name="connsiteX106" fmla="*/ 1167152 w 4519987"/>
              <a:gd name="connsiteY106" fmla="*/ 311150 h 4487372"/>
              <a:gd name="connsiteX107" fmla="*/ 1268752 w 4519987"/>
              <a:gd name="connsiteY107" fmla="*/ 285750 h 4487372"/>
              <a:gd name="connsiteX108" fmla="*/ 1411627 w 4519987"/>
              <a:gd name="connsiteY108" fmla="*/ 190500 h 4487372"/>
              <a:gd name="connsiteX109" fmla="*/ 1449727 w 4519987"/>
              <a:gd name="connsiteY109" fmla="*/ 161925 h 4487372"/>
              <a:gd name="connsiteX110" fmla="*/ 1525927 w 4519987"/>
              <a:gd name="connsiteY110" fmla="*/ 152400 h 4487372"/>
              <a:gd name="connsiteX111" fmla="*/ 1583077 w 4519987"/>
              <a:gd name="connsiteY111" fmla="*/ 142875 h 4487372"/>
              <a:gd name="connsiteX112" fmla="*/ 1716427 w 4519987"/>
              <a:gd name="connsiteY112" fmla="*/ 123825 h 4487372"/>
              <a:gd name="connsiteX113" fmla="*/ 1811677 w 4519987"/>
              <a:gd name="connsiteY113" fmla="*/ 114300 h 4487372"/>
              <a:gd name="connsiteX114" fmla="*/ 1859302 w 4519987"/>
              <a:gd name="connsiteY114" fmla="*/ 104775 h 4487372"/>
              <a:gd name="connsiteX115" fmla="*/ 1916452 w 4519987"/>
              <a:gd name="connsiteY115" fmla="*/ 95250 h 4487372"/>
              <a:gd name="connsiteX116" fmla="*/ 2030752 w 4519987"/>
              <a:gd name="connsiteY116" fmla="*/ 66675 h 4487372"/>
              <a:gd name="connsiteX117" fmla="*/ 2097427 w 4519987"/>
              <a:gd name="connsiteY117" fmla="*/ 47625 h 4487372"/>
              <a:gd name="connsiteX118" fmla="*/ 2164102 w 4519987"/>
              <a:gd name="connsiteY118" fmla="*/ 38100 h 4487372"/>
              <a:gd name="connsiteX119" fmla="*/ 2392702 w 4519987"/>
              <a:gd name="connsiteY119" fmla="*/ 28575 h 4487372"/>
              <a:gd name="connsiteX0" fmla="*/ 2297452 w 4519987"/>
              <a:gd name="connsiteY0" fmla="*/ 0 h 4476750"/>
              <a:gd name="connsiteX1" fmla="*/ 2421277 w 4519987"/>
              <a:gd name="connsiteY1" fmla="*/ 28575 h 4476750"/>
              <a:gd name="connsiteX2" fmla="*/ 2497477 w 4519987"/>
              <a:gd name="connsiteY2" fmla="*/ 47625 h 4476750"/>
              <a:gd name="connsiteX3" fmla="*/ 2754652 w 4519987"/>
              <a:gd name="connsiteY3" fmla="*/ 66675 h 4476750"/>
              <a:gd name="connsiteX4" fmla="*/ 2830852 w 4519987"/>
              <a:gd name="connsiteY4" fmla="*/ 76200 h 4476750"/>
              <a:gd name="connsiteX5" fmla="*/ 2916577 w 4519987"/>
              <a:gd name="connsiteY5" fmla="*/ 85725 h 4476750"/>
              <a:gd name="connsiteX6" fmla="*/ 2973727 w 4519987"/>
              <a:gd name="connsiteY6" fmla="*/ 114300 h 4476750"/>
              <a:gd name="connsiteX7" fmla="*/ 3011827 w 4519987"/>
              <a:gd name="connsiteY7" fmla="*/ 123825 h 4476750"/>
              <a:gd name="connsiteX8" fmla="*/ 3135652 w 4519987"/>
              <a:gd name="connsiteY8" fmla="*/ 171450 h 4476750"/>
              <a:gd name="connsiteX9" fmla="*/ 3173752 w 4519987"/>
              <a:gd name="connsiteY9" fmla="*/ 190500 h 4476750"/>
              <a:gd name="connsiteX10" fmla="*/ 3240427 w 4519987"/>
              <a:gd name="connsiteY10" fmla="*/ 228600 h 4476750"/>
              <a:gd name="connsiteX11" fmla="*/ 3269002 w 4519987"/>
              <a:gd name="connsiteY11" fmla="*/ 238125 h 4476750"/>
              <a:gd name="connsiteX12" fmla="*/ 3297577 w 4519987"/>
              <a:gd name="connsiteY12" fmla="*/ 257175 h 4476750"/>
              <a:gd name="connsiteX13" fmla="*/ 3326152 w 4519987"/>
              <a:gd name="connsiteY13" fmla="*/ 266700 h 4476750"/>
              <a:gd name="connsiteX14" fmla="*/ 3354727 w 4519987"/>
              <a:gd name="connsiteY14" fmla="*/ 285750 h 4476750"/>
              <a:gd name="connsiteX15" fmla="*/ 3421402 w 4519987"/>
              <a:gd name="connsiteY15" fmla="*/ 323850 h 4476750"/>
              <a:gd name="connsiteX16" fmla="*/ 3469027 w 4519987"/>
              <a:gd name="connsiteY16" fmla="*/ 361950 h 4476750"/>
              <a:gd name="connsiteX17" fmla="*/ 3516652 w 4519987"/>
              <a:gd name="connsiteY17" fmla="*/ 390525 h 4476750"/>
              <a:gd name="connsiteX18" fmla="*/ 3630952 w 4519987"/>
              <a:gd name="connsiteY18" fmla="*/ 485775 h 4476750"/>
              <a:gd name="connsiteX19" fmla="*/ 3745252 w 4519987"/>
              <a:gd name="connsiteY19" fmla="*/ 542925 h 4476750"/>
              <a:gd name="connsiteX20" fmla="*/ 3811927 w 4519987"/>
              <a:gd name="connsiteY20" fmla="*/ 581025 h 4476750"/>
              <a:gd name="connsiteX21" fmla="*/ 4027827 w 4519987"/>
              <a:gd name="connsiteY21" fmla="*/ 819150 h 4476750"/>
              <a:gd name="connsiteX22" fmla="*/ 4164352 w 4519987"/>
              <a:gd name="connsiteY22" fmla="*/ 990600 h 4476750"/>
              <a:gd name="connsiteX23" fmla="*/ 4250077 w 4519987"/>
              <a:gd name="connsiteY23" fmla="*/ 1143000 h 4476750"/>
              <a:gd name="connsiteX24" fmla="*/ 4307227 w 4519987"/>
              <a:gd name="connsiteY24" fmla="*/ 1266825 h 4476750"/>
              <a:gd name="connsiteX25" fmla="*/ 4345327 w 4519987"/>
              <a:gd name="connsiteY25" fmla="*/ 1362075 h 4476750"/>
              <a:gd name="connsiteX26" fmla="*/ 4392952 w 4519987"/>
              <a:gd name="connsiteY26" fmla="*/ 1552575 h 4476750"/>
              <a:gd name="connsiteX27" fmla="*/ 4431052 w 4519987"/>
              <a:gd name="connsiteY27" fmla="*/ 1685925 h 4476750"/>
              <a:gd name="connsiteX28" fmla="*/ 4519952 w 4519987"/>
              <a:gd name="connsiteY28" fmla="*/ 2181225 h 4476750"/>
              <a:gd name="connsiteX29" fmla="*/ 4446927 w 4519987"/>
              <a:gd name="connsiteY29" fmla="*/ 2768600 h 4476750"/>
              <a:gd name="connsiteX30" fmla="*/ 4383427 w 4519987"/>
              <a:gd name="connsiteY30" fmla="*/ 2990850 h 4476750"/>
              <a:gd name="connsiteX31" fmla="*/ 4278652 w 4519987"/>
              <a:gd name="connsiteY31" fmla="*/ 3248025 h 4476750"/>
              <a:gd name="connsiteX32" fmla="*/ 4183402 w 4519987"/>
              <a:gd name="connsiteY32" fmla="*/ 3400425 h 4476750"/>
              <a:gd name="connsiteX33" fmla="*/ 4059577 w 4519987"/>
              <a:gd name="connsiteY33" fmla="*/ 3533775 h 4476750"/>
              <a:gd name="connsiteX34" fmla="*/ 3954802 w 4519987"/>
              <a:gd name="connsiteY34" fmla="*/ 3648075 h 4476750"/>
              <a:gd name="connsiteX35" fmla="*/ 3659527 w 4519987"/>
              <a:gd name="connsiteY35" fmla="*/ 3971925 h 4476750"/>
              <a:gd name="connsiteX36" fmla="*/ 3516652 w 4519987"/>
              <a:gd name="connsiteY36" fmla="*/ 4083050 h 4476750"/>
              <a:gd name="connsiteX37" fmla="*/ 3221377 w 4519987"/>
              <a:gd name="connsiteY37" fmla="*/ 4222750 h 4476750"/>
              <a:gd name="connsiteX38" fmla="*/ 3068977 w 4519987"/>
              <a:gd name="connsiteY38" fmla="*/ 4286250 h 4476750"/>
              <a:gd name="connsiteX39" fmla="*/ 2935627 w 4519987"/>
              <a:gd name="connsiteY39" fmla="*/ 4333875 h 4476750"/>
              <a:gd name="connsiteX40" fmla="*/ 2811802 w 4519987"/>
              <a:gd name="connsiteY40" fmla="*/ 4371975 h 4476750"/>
              <a:gd name="connsiteX41" fmla="*/ 2745127 w 4519987"/>
              <a:gd name="connsiteY41" fmla="*/ 4410075 h 4476750"/>
              <a:gd name="connsiteX42" fmla="*/ 2640352 w 4519987"/>
              <a:gd name="connsiteY42" fmla="*/ 4457700 h 4476750"/>
              <a:gd name="connsiteX43" fmla="*/ 2306977 w 4519987"/>
              <a:gd name="connsiteY43" fmla="*/ 4476750 h 4476750"/>
              <a:gd name="connsiteX44" fmla="*/ 2202202 w 4519987"/>
              <a:gd name="connsiteY44" fmla="*/ 4457700 h 4476750"/>
              <a:gd name="connsiteX45" fmla="*/ 2126002 w 4519987"/>
              <a:gd name="connsiteY45" fmla="*/ 4429125 h 4476750"/>
              <a:gd name="connsiteX46" fmla="*/ 1935502 w 4519987"/>
              <a:gd name="connsiteY46" fmla="*/ 4400550 h 4476750"/>
              <a:gd name="connsiteX47" fmla="*/ 1821202 w 4519987"/>
              <a:gd name="connsiteY47" fmla="*/ 4371975 h 4476750"/>
              <a:gd name="connsiteX48" fmla="*/ 1754527 w 4519987"/>
              <a:gd name="connsiteY48" fmla="*/ 4352925 h 4476750"/>
              <a:gd name="connsiteX49" fmla="*/ 1687852 w 4519987"/>
              <a:gd name="connsiteY49" fmla="*/ 4343400 h 4476750"/>
              <a:gd name="connsiteX50" fmla="*/ 1573552 w 4519987"/>
              <a:gd name="connsiteY50" fmla="*/ 4305300 h 4476750"/>
              <a:gd name="connsiteX51" fmla="*/ 1402102 w 4519987"/>
              <a:gd name="connsiteY51" fmla="*/ 4276725 h 4476750"/>
              <a:gd name="connsiteX52" fmla="*/ 1287802 w 4519987"/>
              <a:gd name="connsiteY52" fmla="*/ 4229100 h 4476750"/>
              <a:gd name="connsiteX53" fmla="*/ 1221127 w 4519987"/>
              <a:gd name="connsiteY53" fmla="*/ 4200525 h 4476750"/>
              <a:gd name="connsiteX54" fmla="*/ 1144927 w 4519987"/>
              <a:gd name="connsiteY54" fmla="*/ 4171950 h 4476750"/>
              <a:gd name="connsiteX55" fmla="*/ 1087777 w 4519987"/>
              <a:gd name="connsiteY55" fmla="*/ 4143375 h 4476750"/>
              <a:gd name="connsiteX56" fmla="*/ 1030627 w 4519987"/>
              <a:gd name="connsiteY56" fmla="*/ 4124325 h 4476750"/>
              <a:gd name="connsiteX57" fmla="*/ 925852 w 4519987"/>
              <a:gd name="connsiteY57" fmla="*/ 4067175 h 4476750"/>
              <a:gd name="connsiteX58" fmla="*/ 830602 w 4519987"/>
              <a:gd name="connsiteY58" fmla="*/ 3981450 h 4476750"/>
              <a:gd name="connsiteX59" fmla="*/ 763927 w 4519987"/>
              <a:gd name="connsiteY59" fmla="*/ 3914775 h 4476750"/>
              <a:gd name="connsiteX60" fmla="*/ 725827 w 4519987"/>
              <a:gd name="connsiteY60" fmla="*/ 3876675 h 4476750"/>
              <a:gd name="connsiteX61" fmla="*/ 697252 w 4519987"/>
              <a:gd name="connsiteY61" fmla="*/ 3838575 h 4476750"/>
              <a:gd name="connsiteX62" fmla="*/ 640102 w 4519987"/>
              <a:gd name="connsiteY62" fmla="*/ 3781425 h 4476750"/>
              <a:gd name="connsiteX63" fmla="*/ 611527 w 4519987"/>
              <a:gd name="connsiteY63" fmla="*/ 3733800 h 4476750"/>
              <a:gd name="connsiteX64" fmla="*/ 554377 w 4519987"/>
              <a:gd name="connsiteY64" fmla="*/ 3657600 h 4476750"/>
              <a:gd name="connsiteX65" fmla="*/ 525802 w 4519987"/>
              <a:gd name="connsiteY65" fmla="*/ 3609975 h 4476750"/>
              <a:gd name="connsiteX66" fmla="*/ 497227 w 4519987"/>
              <a:gd name="connsiteY66" fmla="*/ 3552825 h 4476750"/>
              <a:gd name="connsiteX67" fmla="*/ 440077 w 4519987"/>
              <a:gd name="connsiteY67" fmla="*/ 3495675 h 4476750"/>
              <a:gd name="connsiteX68" fmla="*/ 411502 w 4519987"/>
              <a:gd name="connsiteY68" fmla="*/ 3448050 h 4476750"/>
              <a:gd name="connsiteX69" fmla="*/ 278152 w 4519987"/>
              <a:gd name="connsiteY69" fmla="*/ 3257550 h 4476750"/>
              <a:gd name="connsiteX70" fmla="*/ 249577 w 4519987"/>
              <a:gd name="connsiteY70" fmla="*/ 3200400 h 4476750"/>
              <a:gd name="connsiteX71" fmla="*/ 240052 w 4519987"/>
              <a:gd name="connsiteY71" fmla="*/ 3162300 h 4476750"/>
              <a:gd name="connsiteX72" fmla="*/ 221002 w 4519987"/>
              <a:gd name="connsiteY72" fmla="*/ 3105150 h 4476750"/>
              <a:gd name="connsiteX73" fmla="*/ 173377 w 4519987"/>
              <a:gd name="connsiteY73" fmla="*/ 3019425 h 4476750"/>
              <a:gd name="connsiteX74" fmla="*/ 144802 w 4519987"/>
              <a:gd name="connsiteY74" fmla="*/ 2924175 h 4476750"/>
              <a:gd name="connsiteX75" fmla="*/ 68602 w 4519987"/>
              <a:gd name="connsiteY75" fmla="*/ 2724150 h 4476750"/>
              <a:gd name="connsiteX76" fmla="*/ 49552 w 4519987"/>
              <a:gd name="connsiteY76" fmla="*/ 2638425 h 4476750"/>
              <a:gd name="connsiteX77" fmla="*/ 40027 w 4519987"/>
              <a:gd name="connsiteY77" fmla="*/ 2562225 h 4476750"/>
              <a:gd name="connsiteX78" fmla="*/ 30502 w 4519987"/>
              <a:gd name="connsiteY78" fmla="*/ 2514600 h 4476750"/>
              <a:gd name="connsiteX79" fmla="*/ 11452 w 4519987"/>
              <a:gd name="connsiteY79" fmla="*/ 2400300 h 4476750"/>
              <a:gd name="connsiteX80" fmla="*/ 20977 w 4519987"/>
              <a:gd name="connsiteY80" fmla="*/ 1905000 h 4476750"/>
              <a:gd name="connsiteX81" fmla="*/ 30502 w 4519987"/>
              <a:gd name="connsiteY81" fmla="*/ 1838325 h 4476750"/>
              <a:gd name="connsiteX82" fmla="*/ 49552 w 4519987"/>
              <a:gd name="connsiteY82" fmla="*/ 1781175 h 4476750"/>
              <a:gd name="connsiteX83" fmla="*/ 59077 w 4519987"/>
              <a:gd name="connsiteY83" fmla="*/ 1743075 h 4476750"/>
              <a:gd name="connsiteX84" fmla="*/ 78127 w 4519987"/>
              <a:gd name="connsiteY84" fmla="*/ 1685925 h 4476750"/>
              <a:gd name="connsiteX85" fmla="*/ 87652 w 4519987"/>
              <a:gd name="connsiteY85" fmla="*/ 1638300 h 4476750"/>
              <a:gd name="connsiteX86" fmla="*/ 106702 w 4519987"/>
              <a:gd name="connsiteY86" fmla="*/ 1590675 h 4476750"/>
              <a:gd name="connsiteX87" fmla="*/ 135277 w 4519987"/>
              <a:gd name="connsiteY87" fmla="*/ 1504950 h 4476750"/>
              <a:gd name="connsiteX88" fmla="*/ 154327 w 4519987"/>
              <a:gd name="connsiteY88" fmla="*/ 1419225 h 4476750"/>
              <a:gd name="connsiteX89" fmla="*/ 230527 w 4519987"/>
              <a:gd name="connsiteY89" fmla="*/ 1276350 h 4476750"/>
              <a:gd name="connsiteX90" fmla="*/ 240052 w 4519987"/>
              <a:gd name="connsiteY90" fmla="*/ 1247775 h 4476750"/>
              <a:gd name="connsiteX91" fmla="*/ 268627 w 4519987"/>
              <a:gd name="connsiteY91" fmla="*/ 1200150 h 4476750"/>
              <a:gd name="connsiteX92" fmla="*/ 287677 w 4519987"/>
              <a:gd name="connsiteY92" fmla="*/ 1152525 h 4476750"/>
              <a:gd name="connsiteX93" fmla="*/ 316252 w 4519987"/>
              <a:gd name="connsiteY93" fmla="*/ 1114425 h 4476750"/>
              <a:gd name="connsiteX94" fmla="*/ 363877 w 4519987"/>
              <a:gd name="connsiteY94" fmla="*/ 1038225 h 4476750"/>
              <a:gd name="connsiteX95" fmla="*/ 382927 w 4519987"/>
              <a:gd name="connsiteY95" fmla="*/ 1009650 h 4476750"/>
              <a:gd name="connsiteX96" fmla="*/ 440077 w 4519987"/>
              <a:gd name="connsiteY96" fmla="*/ 904875 h 4476750"/>
              <a:gd name="connsiteX97" fmla="*/ 478177 w 4519987"/>
              <a:gd name="connsiteY97" fmla="*/ 857250 h 4476750"/>
              <a:gd name="connsiteX98" fmla="*/ 497227 w 4519987"/>
              <a:gd name="connsiteY98" fmla="*/ 828675 h 4476750"/>
              <a:gd name="connsiteX99" fmla="*/ 535327 w 4519987"/>
              <a:gd name="connsiteY99" fmla="*/ 800100 h 4476750"/>
              <a:gd name="connsiteX100" fmla="*/ 602002 w 4519987"/>
              <a:gd name="connsiteY100" fmla="*/ 733425 h 4476750"/>
              <a:gd name="connsiteX101" fmla="*/ 668677 w 4519987"/>
              <a:gd name="connsiteY101" fmla="*/ 676275 h 4476750"/>
              <a:gd name="connsiteX102" fmla="*/ 697252 w 4519987"/>
              <a:gd name="connsiteY102" fmla="*/ 657225 h 4476750"/>
              <a:gd name="connsiteX103" fmla="*/ 840127 w 4519987"/>
              <a:gd name="connsiteY103" fmla="*/ 533400 h 4476750"/>
              <a:gd name="connsiteX104" fmla="*/ 887752 w 4519987"/>
              <a:gd name="connsiteY104" fmla="*/ 504825 h 4476750"/>
              <a:gd name="connsiteX105" fmla="*/ 1167152 w 4519987"/>
              <a:gd name="connsiteY105" fmla="*/ 311150 h 4476750"/>
              <a:gd name="connsiteX106" fmla="*/ 1268752 w 4519987"/>
              <a:gd name="connsiteY106" fmla="*/ 285750 h 4476750"/>
              <a:gd name="connsiteX107" fmla="*/ 1411627 w 4519987"/>
              <a:gd name="connsiteY107" fmla="*/ 190500 h 4476750"/>
              <a:gd name="connsiteX108" fmla="*/ 1449727 w 4519987"/>
              <a:gd name="connsiteY108" fmla="*/ 161925 h 4476750"/>
              <a:gd name="connsiteX109" fmla="*/ 1525927 w 4519987"/>
              <a:gd name="connsiteY109" fmla="*/ 152400 h 4476750"/>
              <a:gd name="connsiteX110" fmla="*/ 1583077 w 4519987"/>
              <a:gd name="connsiteY110" fmla="*/ 142875 h 4476750"/>
              <a:gd name="connsiteX111" fmla="*/ 1716427 w 4519987"/>
              <a:gd name="connsiteY111" fmla="*/ 123825 h 4476750"/>
              <a:gd name="connsiteX112" fmla="*/ 1811677 w 4519987"/>
              <a:gd name="connsiteY112" fmla="*/ 114300 h 4476750"/>
              <a:gd name="connsiteX113" fmla="*/ 1859302 w 4519987"/>
              <a:gd name="connsiteY113" fmla="*/ 104775 h 4476750"/>
              <a:gd name="connsiteX114" fmla="*/ 1916452 w 4519987"/>
              <a:gd name="connsiteY114" fmla="*/ 95250 h 4476750"/>
              <a:gd name="connsiteX115" fmla="*/ 2030752 w 4519987"/>
              <a:gd name="connsiteY115" fmla="*/ 66675 h 4476750"/>
              <a:gd name="connsiteX116" fmla="*/ 2097427 w 4519987"/>
              <a:gd name="connsiteY116" fmla="*/ 47625 h 4476750"/>
              <a:gd name="connsiteX117" fmla="*/ 2164102 w 4519987"/>
              <a:gd name="connsiteY117" fmla="*/ 38100 h 4476750"/>
              <a:gd name="connsiteX118" fmla="*/ 2392702 w 4519987"/>
              <a:gd name="connsiteY118" fmla="*/ 28575 h 4476750"/>
              <a:gd name="connsiteX0" fmla="*/ 2297452 w 4519987"/>
              <a:gd name="connsiteY0" fmla="*/ 0 h 4478541"/>
              <a:gd name="connsiteX1" fmla="*/ 2421277 w 4519987"/>
              <a:gd name="connsiteY1" fmla="*/ 28575 h 4478541"/>
              <a:gd name="connsiteX2" fmla="*/ 2497477 w 4519987"/>
              <a:gd name="connsiteY2" fmla="*/ 47625 h 4478541"/>
              <a:gd name="connsiteX3" fmla="*/ 2754652 w 4519987"/>
              <a:gd name="connsiteY3" fmla="*/ 66675 h 4478541"/>
              <a:gd name="connsiteX4" fmla="*/ 2830852 w 4519987"/>
              <a:gd name="connsiteY4" fmla="*/ 76200 h 4478541"/>
              <a:gd name="connsiteX5" fmla="*/ 2916577 w 4519987"/>
              <a:gd name="connsiteY5" fmla="*/ 85725 h 4478541"/>
              <a:gd name="connsiteX6" fmla="*/ 2973727 w 4519987"/>
              <a:gd name="connsiteY6" fmla="*/ 114300 h 4478541"/>
              <a:gd name="connsiteX7" fmla="*/ 3011827 w 4519987"/>
              <a:gd name="connsiteY7" fmla="*/ 123825 h 4478541"/>
              <a:gd name="connsiteX8" fmla="*/ 3135652 w 4519987"/>
              <a:gd name="connsiteY8" fmla="*/ 171450 h 4478541"/>
              <a:gd name="connsiteX9" fmla="*/ 3173752 w 4519987"/>
              <a:gd name="connsiteY9" fmla="*/ 190500 h 4478541"/>
              <a:gd name="connsiteX10" fmla="*/ 3240427 w 4519987"/>
              <a:gd name="connsiteY10" fmla="*/ 228600 h 4478541"/>
              <a:gd name="connsiteX11" fmla="*/ 3269002 w 4519987"/>
              <a:gd name="connsiteY11" fmla="*/ 238125 h 4478541"/>
              <a:gd name="connsiteX12" fmla="*/ 3297577 w 4519987"/>
              <a:gd name="connsiteY12" fmla="*/ 257175 h 4478541"/>
              <a:gd name="connsiteX13" fmla="*/ 3326152 w 4519987"/>
              <a:gd name="connsiteY13" fmla="*/ 266700 h 4478541"/>
              <a:gd name="connsiteX14" fmla="*/ 3354727 w 4519987"/>
              <a:gd name="connsiteY14" fmla="*/ 285750 h 4478541"/>
              <a:gd name="connsiteX15" fmla="*/ 3421402 w 4519987"/>
              <a:gd name="connsiteY15" fmla="*/ 323850 h 4478541"/>
              <a:gd name="connsiteX16" fmla="*/ 3469027 w 4519987"/>
              <a:gd name="connsiteY16" fmla="*/ 361950 h 4478541"/>
              <a:gd name="connsiteX17" fmla="*/ 3516652 w 4519987"/>
              <a:gd name="connsiteY17" fmla="*/ 390525 h 4478541"/>
              <a:gd name="connsiteX18" fmla="*/ 3630952 w 4519987"/>
              <a:gd name="connsiteY18" fmla="*/ 485775 h 4478541"/>
              <a:gd name="connsiteX19" fmla="*/ 3745252 w 4519987"/>
              <a:gd name="connsiteY19" fmla="*/ 542925 h 4478541"/>
              <a:gd name="connsiteX20" fmla="*/ 3811927 w 4519987"/>
              <a:gd name="connsiteY20" fmla="*/ 581025 h 4478541"/>
              <a:gd name="connsiteX21" fmla="*/ 4027827 w 4519987"/>
              <a:gd name="connsiteY21" fmla="*/ 819150 h 4478541"/>
              <a:gd name="connsiteX22" fmla="*/ 4164352 w 4519987"/>
              <a:gd name="connsiteY22" fmla="*/ 990600 h 4478541"/>
              <a:gd name="connsiteX23" fmla="*/ 4250077 w 4519987"/>
              <a:gd name="connsiteY23" fmla="*/ 1143000 h 4478541"/>
              <a:gd name="connsiteX24" fmla="*/ 4307227 w 4519987"/>
              <a:gd name="connsiteY24" fmla="*/ 1266825 h 4478541"/>
              <a:gd name="connsiteX25" fmla="*/ 4345327 w 4519987"/>
              <a:gd name="connsiteY25" fmla="*/ 1362075 h 4478541"/>
              <a:gd name="connsiteX26" fmla="*/ 4392952 w 4519987"/>
              <a:gd name="connsiteY26" fmla="*/ 1552575 h 4478541"/>
              <a:gd name="connsiteX27" fmla="*/ 4431052 w 4519987"/>
              <a:gd name="connsiteY27" fmla="*/ 1685925 h 4478541"/>
              <a:gd name="connsiteX28" fmla="*/ 4519952 w 4519987"/>
              <a:gd name="connsiteY28" fmla="*/ 2181225 h 4478541"/>
              <a:gd name="connsiteX29" fmla="*/ 4446927 w 4519987"/>
              <a:gd name="connsiteY29" fmla="*/ 2768600 h 4478541"/>
              <a:gd name="connsiteX30" fmla="*/ 4383427 w 4519987"/>
              <a:gd name="connsiteY30" fmla="*/ 2990850 h 4478541"/>
              <a:gd name="connsiteX31" fmla="*/ 4278652 w 4519987"/>
              <a:gd name="connsiteY31" fmla="*/ 3248025 h 4478541"/>
              <a:gd name="connsiteX32" fmla="*/ 4183402 w 4519987"/>
              <a:gd name="connsiteY32" fmla="*/ 3400425 h 4478541"/>
              <a:gd name="connsiteX33" fmla="*/ 4059577 w 4519987"/>
              <a:gd name="connsiteY33" fmla="*/ 3533775 h 4478541"/>
              <a:gd name="connsiteX34" fmla="*/ 3954802 w 4519987"/>
              <a:gd name="connsiteY34" fmla="*/ 3648075 h 4478541"/>
              <a:gd name="connsiteX35" fmla="*/ 3659527 w 4519987"/>
              <a:gd name="connsiteY35" fmla="*/ 3971925 h 4478541"/>
              <a:gd name="connsiteX36" fmla="*/ 3516652 w 4519987"/>
              <a:gd name="connsiteY36" fmla="*/ 4083050 h 4478541"/>
              <a:gd name="connsiteX37" fmla="*/ 3221377 w 4519987"/>
              <a:gd name="connsiteY37" fmla="*/ 4222750 h 4478541"/>
              <a:gd name="connsiteX38" fmla="*/ 3068977 w 4519987"/>
              <a:gd name="connsiteY38" fmla="*/ 4286250 h 4478541"/>
              <a:gd name="connsiteX39" fmla="*/ 2935627 w 4519987"/>
              <a:gd name="connsiteY39" fmla="*/ 4333875 h 4478541"/>
              <a:gd name="connsiteX40" fmla="*/ 2811802 w 4519987"/>
              <a:gd name="connsiteY40" fmla="*/ 4371975 h 4478541"/>
              <a:gd name="connsiteX41" fmla="*/ 2745127 w 4519987"/>
              <a:gd name="connsiteY41" fmla="*/ 4410075 h 4478541"/>
              <a:gd name="connsiteX42" fmla="*/ 2306977 w 4519987"/>
              <a:gd name="connsiteY42" fmla="*/ 4476750 h 4478541"/>
              <a:gd name="connsiteX43" fmla="*/ 2202202 w 4519987"/>
              <a:gd name="connsiteY43" fmla="*/ 4457700 h 4478541"/>
              <a:gd name="connsiteX44" fmla="*/ 2126002 w 4519987"/>
              <a:gd name="connsiteY44" fmla="*/ 4429125 h 4478541"/>
              <a:gd name="connsiteX45" fmla="*/ 1935502 w 4519987"/>
              <a:gd name="connsiteY45" fmla="*/ 4400550 h 4478541"/>
              <a:gd name="connsiteX46" fmla="*/ 1821202 w 4519987"/>
              <a:gd name="connsiteY46" fmla="*/ 4371975 h 4478541"/>
              <a:gd name="connsiteX47" fmla="*/ 1754527 w 4519987"/>
              <a:gd name="connsiteY47" fmla="*/ 4352925 h 4478541"/>
              <a:gd name="connsiteX48" fmla="*/ 1687852 w 4519987"/>
              <a:gd name="connsiteY48" fmla="*/ 4343400 h 4478541"/>
              <a:gd name="connsiteX49" fmla="*/ 1573552 w 4519987"/>
              <a:gd name="connsiteY49" fmla="*/ 4305300 h 4478541"/>
              <a:gd name="connsiteX50" fmla="*/ 1402102 w 4519987"/>
              <a:gd name="connsiteY50" fmla="*/ 4276725 h 4478541"/>
              <a:gd name="connsiteX51" fmla="*/ 1287802 w 4519987"/>
              <a:gd name="connsiteY51" fmla="*/ 4229100 h 4478541"/>
              <a:gd name="connsiteX52" fmla="*/ 1221127 w 4519987"/>
              <a:gd name="connsiteY52" fmla="*/ 4200525 h 4478541"/>
              <a:gd name="connsiteX53" fmla="*/ 1144927 w 4519987"/>
              <a:gd name="connsiteY53" fmla="*/ 4171950 h 4478541"/>
              <a:gd name="connsiteX54" fmla="*/ 1087777 w 4519987"/>
              <a:gd name="connsiteY54" fmla="*/ 4143375 h 4478541"/>
              <a:gd name="connsiteX55" fmla="*/ 1030627 w 4519987"/>
              <a:gd name="connsiteY55" fmla="*/ 4124325 h 4478541"/>
              <a:gd name="connsiteX56" fmla="*/ 925852 w 4519987"/>
              <a:gd name="connsiteY56" fmla="*/ 4067175 h 4478541"/>
              <a:gd name="connsiteX57" fmla="*/ 830602 w 4519987"/>
              <a:gd name="connsiteY57" fmla="*/ 3981450 h 4478541"/>
              <a:gd name="connsiteX58" fmla="*/ 763927 w 4519987"/>
              <a:gd name="connsiteY58" fmla="*/ 3914775 h 4478541"/>
              <a:gd name="connsiteX59" fmla="*/ 725827 w 4519987"/>
              <a:gd name="connsiteY59" fmla="*/ 3876675 h 4478541"/>
              <a:gd name="connsiteX60" fmla="*/ 697252 w 4519987"/>
              <a:gd name="connsiteY60" fmla="*/ 3838575 h 4478541"/>
              <a:gd name="connsiteX61" fmla="*/ 640102 w 4519987"/>
              <a:gd name="connsiteY61" fmla="*/ 3781425 h 4478541"/>
              <a:gd name="connsiteX62" fmla="*/ 611527 w 4519987"/>
              <a:gd name="connsiteY62" fmla="*/ 3733800 h 4478541"/>
              <a:gd name="connsiteX63" fmla="*/ 554377 w 4519987"/>
              <a:gd name="connsiteY63" fmla="*/ 3657600 h 4478541"/>
              <a:gd name="connsiteX64" fmla="*/ 525802 w 4519987"/>
              <a:gd name="connsiteY64" fmla="*/ 3609975 h 4478541"/>
              <a:gd name="connsiteX65" fmla="*/ 497227 w 4519987"/>
              <a:gd name="connsiteY65" fmla="*/ 3552825 h 4478541"/>
              <a:gd name="connsiteX66" fmla="*/ 440077 w 4519987"/>
              <a:gd name="connsiteY66" fmla="*/ 3495675 h 4478541"/>
              <a:gd name="connsiteX67" fmla="*/ 411502 w 4519987"/>
              <a:gd name="connsiteY67" fmla="*/ 3448050 h 4478541"/>
              <a:gd name="connsiteX68" fmla="*/ 278152 w 4519987"/>
              <a:gd name="connsiteY68" fmla="*/ 3257550 h 4478541"/>
              <a:gd name="connsiteX69" fmla="*/ 249577 w 4519987"/>
              <a:gd name="connsiteY69" fmla="*/ 3200400 h 4478541"/>
              <a:gd name="connsiteX70" fmla="*/ 240052 w 4519987"/>
              <a:gd name="connsiteY70" fmla="*/ 3162300 h 4478541"/>
              <a:gd name="connsiteX71" fmla="*/ 221002 w 4519987"/>
              <a:gd name="connsiteY71" fmla="*/ 3105150 h 4478541"/>
              <a:gd name="connsiteX72" fmla="*/ 173377 w 4519987"/>
              <a:gd name="connsiteY72" fmla="*/ 3019425 h 4478541"/>
              <a:gd name="connsiteX73" fmla="*/ 144802 w 4519987"/>
              <a:gd name="connsiteY73" fmla="*/ 2924175 h 4478541"/>
              <a:gd name="connsiteX74" fmla="*/ 68602 w 4519987"/>
              <a:gd name="connsiteY74" fmla="*/ 2724150 h 4478541"/>
              <a:gd name="connsiteX75" fmla="*/ 49552 w 4519987"/>
              <a:gd name="connsiteY75" fmla="*/ 2638425 h 4478541"/>
              <a:gd name="connsiteX76" fmla="*/ 40027 w 4519987"/>
              <a:gd name="connsiteY76" fmla="*/ 2562225 h 4478541"/>
              <a:gd name="connsiteX77" fmla="*/ 30502 w 4519987"/>
              <a:gd name="connsiteY77" fmla="*/ 2514600 h 4478541"/>
              <a:gd name="connsiteX78" fmla="*/ 11452 w 4519987"/>
              <a:gd name="connsiteY78" fmla="*/ 2400300 h 4478541"/>
              <a:gd name="connsiteX79" fmla="*/ 20977 w 4519987"/>
              <a:gd name="connsiteY79" fmla="*/ 1905000 h 4478541"/>
              <a:gd name="connsiteX80" fmla="*/ 30502 w 4519987"/>
              <a:gd name="connsiteY80" fmla="*/ 1838325 h 4478541"/>
              <a:gd name="connsiteX81" fmla="*/ 49552 w 4519987"/>
              <a:gd name="connsiteY81" fmla="*/ 1781175 h 4478541"/>
              <a:gd name="connsiteX82" fmla="*/ 59077 w 4519987"/>
              <a:gd name="connsiteY82" fmla="*/ 1743075 h 4478541"/>
              <a:gd name="connsiteX83" fmla="*/ 78127 w 4519987"/>
              <a:gd name="connsiteY83" fmla="*/ 1685925 h 4478541"/>
              <a:gd name="connsiteX84" fmla="*/ 87652 w 4519987"/>
              <a:gd name="connsiteY84" fmla="*/ 1638300 h 4478541"/>
              <a:gd name="connsiteX85" fmla="*/ 106702 w 4519987"/>
              <a:gd name="connsiteY85" fmla="*/ 1590675 h 4478541"/>
              <a:gd name="connsiteX86" fmla="*/ 135277 w 4519987"/>
              <a:gd name="connsiteY86" fmla="*/ 1504950 h 4478541"/>
              <a:gd name="connsiteX87" fmla="*/ 154327 w 4519987"/>
              <a:gd name="connsiteY87" fmla="*/ 1419225 h 4478541"/>
              <a:gd name="connsiteX88" fmla="*/ 230527 w 4519987"/>
              <a:gd name="connsiteY88" fmla="*/ 1276350 h 4478541"/>
              <a:gd name="connsiteX89" fmla="*/ 240052 w 4519987"/>
              <a:gd name="connsiteY89" fmla="*/ 1247775 h 4478541"/>
              <a:gd name="connsiteX90" fmla="*/ 268627 w 4519987"/>
              <a:gd name="connsiteY90" fmla="*/ 1200150 h 4478541"/>
              <a:gd name="connsiteX91" fmla="*/ 287677 w 4519987"/>
              <a:gd name="connsiteY91" fmla="*/ 1152525 h 4478541"/>
              <a:gd name="connsiteX92" fmla="*/ 316252 w 4519987"/>
              <a:gd name="connsiteY92" fmla="*/ 1114425 h 4478541"/>
              <a:gd name="connsiteX93" fmla="*/ 363877 w 4519987"/>
              <a:gd name="connsiteY93" fmla="*/ 1038225 h 4478541"/>
              <a:gd name="connsiteX94" fmla="*/ 382927 w 4519987"/>
              <a:gd name="connsiteY94" fmla="*/ 1009650 h 4478541"/>
              <a:gd name="connsiteX95" fmla="*/ 440077 w 4519987"/>
              <a:gd name="connsiteY95" fmla="*/ 904875 h 4478541"/>
              <a:gd name="connsiteX96" fmla="*/ 478177 w 4519987"/>
              <a:gd name="connsiteY96" fmla="*/ 857250 h 4478541"/>
              <a:gd name="connsiteX97" fmla="*/ 497227 w 4519987"/>
              <a:gd name="connsiteY97" fmla="*/ 828675 h 4478541"/>
              <a:gd name="connsiteX98" fmla="*/ 535327 w 4519987"/>
              <a:gd name="connsiteY98" fmla="*/ 800100 h 4478541"/>
              <a:gd name="connsiteX99" fmla="*/ 602002 w 4519987"/>
              <a:gd name="connsiteY99" fmla="*/ 733425 h 4478541"/>
              <a:gd name="connsiteX100" fmla="*/ 668677 w 4519987"/>
              <a:gd name="connsiteY100" fmla="*/ 676275 h 4478541"/>
              <a:gd name="connsiteX101" fmla="*/ 697252 w 4519987"/>
              <a:gd name="connsiteY101" fmla="*/ 657225 h 4478541"/>
              <a:gd name="connsiteX102" fmla="*/ 840127 w 4519987"/>
              <a:gd name="connsiteY102" fmla="*/ 533400 h 4478541"/>
              <a:gd name="connsiteX103" fmla="*/ 887752 w 4519987"/>
              <a:gd name="connsiteY103" fmla="*/ 504825 h 4478541"/>
              <a:gd name="connsiteX104" fmla="*/ 1167152 w 4519987"/>
              <a:gd name="connsiteY104" fmla="*/ 311150 h 4478541"/>
              <a:gd name="connsiteX105" fmla="*/ 1268752 w 4519987"/>
              <a:gd name="connsiteY105" fmla="*/ 285750 h 4478541"/>
              <a:gd name="connsiteX106" fmla="*/ 1411627 w 4519987"/>
              <a:gd name="connsiteY106" fmla="*/ 190500 h 4478541"/>
              <a:gd name="connsiteX107" fmla="*/ 1449727 w 4519987"/>
              <a:gd name="connsiteY107" fmla="*/ 161925 h 4478541"/>
              <a:gd name="connsiteX108" fmla="*/ 1525927 w 4519987"/>
              <a:gd name="connsiteY108" fmla="*/ 152400 h 4478541"/>
              <a:gd name="connsiteX109" fmla="*/ 1583077 w 4519987"/>
              <a:gd name="connsiteY109" fmla="*/ 142875 h 4478541"/>
              <a:gd name="connsiteX110" fmla="*/ 1716427 w 4519987"/>
              <a:gd name="connsiteY110" fmla="*/ 123825 h 4478541"/>
              <a:gd name="connsiteX111" fmla="*/ 1811677 w 4519987"/>
              <a:gd name="connsiteY111" fmla="*/ 114300 h 4478541"/>
              <a:gd name="connsiteX112" fmla="*/ 1859302 w 4519987"/>
              <a:gd name="connsiteY112" fmla="*/ 104775 h 4478541"/>
              <a:gd name="connsiteX113" fmla="*/ 1916452 w 4519987"/>
              <a:gd name="connsiteY113" fmla="*/ 95250 h 4478541"/>
              <a:gd name="connsiteX114" fmla="*/ 2030752 w 4519987"/>
              <a:gd name="connsiteY114" fmla="*/ 66675 h 4478541"/>
              <a:gd name="connsiteX115" fmla="*/ 2097427 w 4519987"/>
              <a:gd name="connsiteY115" fmla="*/ 47625 h 4478541"/>
              <a:gd name="connsiteX116" fmla="*/ 2164102 w 4519987"/>
              <a:gd name="connsiteY116" fmla="*/ 38100 h 4478541"/>
              <a:gd name="connsiteX117" fmla="*/ 2392702 w 4519987"/>
              <a:gd name="connsiteY117" fmla="*/ 28575 h 4478541"/>
              <a:gd name="connsiteX0" fmla="*/ 2297452 w 4519987"/>
              <a:gd name="connsiteY0" fmla="*/ 0 h 4476750"/>
              <a:gd name="connsiteX1" fmla="*/ 2421277 w 4519987"/>
              <a:gd name="connsiteY1" fmla="*/ 28575 h 4476750"/>
              <a:gd name="connsiteX2" fmla="*/ 2497477 w 4519987"/>
              <a:gd name="connsiteY2" fmla="*/ 47625 h 4476750"/>
              <a:gd name="connsiteX3" fmla="*/ 2754652 w 4519987"/>
              <a:gd name="connsiteY3" fmla="*/ 66675 h 4476750"/>
              <a:gd name="connsiteX4" fmla="*/ 2830852 w 4519987"/>
              <a:gd name="connsiteY4" fmla="*/ 76200 h 4476750"/>
              <a:gd name="connsiteX5" fmla="*/ 2916577 w 4519987"/>
              <a:gd name="connsiteY5" fmla="*/ 85725 h 4476750"/>
              <a:gd name="connsiteX6" fmla="*/ 2973727 w 4519987"/>
              <a:gd name="connsiteY6" fmla="*/ 114300 h 4476750"/>
              <a:gd name="connsiteX7" fmla="*/ 3011827 w 4519987"/>
              <a:gd name="connsiteY7" fmla="*/ 123825 h 4476750"/>
              <a:gd name="connsiteX8" fmla="*/ 3135652 w 4519987"/>
              <a:gd name="connsiteY8" fmla="*/ 171450 h 4476750"/>
              <a:gd name="connsiteX9" fmla="*/ 3173752 w 4519987"/>
              <a:gd name="connsiteY9" fmla="*/ 190500 h 4476750"/>
              <a:gd name="connsiteX10" fmla="*/ 3240427 w 4519987"/>
              <a:gd name="connsiteY10" fmla="*/ 228600 h 4476750"/>
              <a:gd name="connsiteX11" fmla="*/ 3269002 w 4519987"/>
              <a:gd name="connsiteY11" fmla="*/ 238125 h 4476750"/>
              <a:gd name="connsiteX12" fmla="*/ 3297577 w 4519987"/>
              <a:gd name="connsiteY12" fmla="*/ 257175 h 4476750"/>
              <a:gd name="connsiteX13" fmla="*/ 3326152 w 4519987"/>
              <a:gd name="connsiteY13" fmla="*/ 266700 h 4476750"/>
              <a:gd name="connsiteX14" fmla="*/ 3354727 w 4519987"/>
              <a:gd name="connsiteY14" fmla="*/ 285750 h 4476750"/>
              <a:gd name="connsiteX15" fmla="*/ 3421402 w 4519987"/>
              <a:gd name="connsiteY15" fmla="*/ 323850 h 4476750"/>
              <a:gd name="connsiteX16" fmla="*/ 3469027 w 4519987"/>
              <a:gd name="connsiteY16" fmla="*/ 361950 h 4476750"/>
              <a:gd name="connsiteX17" fmla="*/ 3516652 w 4519987"/>
              <a:gd name="connsiteY17" fmla="*/ 390525 h 4476750"/>
              <a:gd name="connsiteX18" fmla="*/ 3630952 w 4519987"/>
              <a:gd name="connsiteY18" fmla="*/ 485775 h 4476750"/>
              <a:gd name="connsiteX19" fmla="*/ 3745252 w 4519987"/>
              <a:gd name="connsiteY19" fmla="*/ 542925 h 4476750"/>
              <a:gd name="connsiteX20" fmla="*/ 3811927 w 4519987"/>
              <a:gd name="connsiteY20" fmla="*/ 581025 h 4476750"/>
              <a:gd name="connsiteX21" fmla="*/ 4027827 w 4519987"/>
              <a:gd name="connsiteY21" fmla="*/ 819150 h 4476750"/>
              <a:gd name="connsiteX22" fmla="*/ 4164352 w 4519987"/>
              <a:gd name="connsiteY22" fmla="*/ 990600 h 4476750"/>
              <a:gd name="connsiteX23" fmla="*/ 4250077 w 4519987"/>
              <a:gd name="connsiteY23" fmla="*/ 1143000 h 4476750"/>
              <a:gd name="connsiteX24" fmla="*/ 4307227 w 4519987"/>
              <a:gd name="connsiteY24" fmla="*/ 1266825 h 4476750"/>
              <a:gd name="connsiteX25" fmla="*/ 4345327 w 4519987"/>
              <a:gd name="connsiteY25" fmla="*/ 1362075 h 4476750"/>
              <a:gd name="connsiteX26" fmla="*/ 4392952 w 4519987"/>
              <a:gd name="connsiteY26" fmla="*/ 1552575 h 4476750"/>
              <a:gd name="connsiteX27" fmla="*/ 4431052 w 4519987"/>
              <a:gd name="connsiteY27" fmla="*/ 1685925 h 4476750"/>
              <a:gd name="connsiteX28" fmla="*/ 4519952 w 4519987"/>
              <a:gd name="connsiteY28" fmla="*/ 2181225 h 4476750"/>
              <a:gd name="connsiteX29" fmla="*/ 4446927 w 4519987"/>
              <a:gd name="connsiteY29" fmla="*/ 2768600 h 4476750"/>
              <a:gd name="connsiteX30" fmla="*/ 4383427 w 4519987"/>
              <a:gd name="connsiteY30" fmla="*/ 2990850 h 4476750"/>
              <a:gd name="connsiteX31" fmla="*/ 4278652 w 4519987"/>
              <a:gd name="connsiteY31" fmla="*/ 3248025 h 4476750"/>
              <a:gd name="connsiteX32" fmla="*/ 4183402 w 4519987"/>
              <a:gd name="connsiteY32" fmla="*/ 3400425 h 4476750"/>
              <a:gd name="connsiteX33" fmla="*/ 4059577 w 4519987"/>
              <a:gd name="connsiteY33" fmla="*/ 3533775 h 4476750"/>
              <a:gd name="connsiteX34" fmla="*/ 3954802 w 4519987"/>
              <a:gd name="connsiteY34" fmla="*/ 3648075 h 4476750"/>
              <a:gd name="connsiteX35" fmla="*/ 3659527 w 4519987"/>
              <a:gd name="connsiteY35" fmla="*/ 3971925 h 4476750"/>
              <a:gd name="connsiteX36" fmla="*/ 3516652 w 4519987"/>
              <a:gd name="connsiteY36" fmla="*/ 4083050 h 4476750"/>
              <a:gd name="connsiteX37" fmla="*/ 3221377 w 4519987"/>
              <a:gd name="connsiteY37" fmla="*/ 4222750 h 4476750"/>
              <a:gd name="connsiteX38" fmla="*/ 3068977 w 4519987"/>
              <a:gd name="connsiteY38" fmla="*/ 4286250 h 4476750"/>
              <a:gd name="connsiteX39" fmla="*/ 2935627 w 4519987"/>
              <a:gd name="connsiteY39" fmla="*/ 4333875 h 4476750"/>
              <a:gd name="connsiteX40" fmla="*/ 2811802 w 4519987"/>
              <a:gd name="connsiteY40" fmla="*/ 4371975 h 4476750"/>
              <a:gd name="connsiteX41" fmla="*/ 2580027 w 4519987"/>
              <a:gd name="connsiteY41" fmla="*/ 4391025 h 4476750"/>
              <a:gd name="connsiteX42" fmla="*/ 2306977 w 4519987"/>
              <a:gd name="connsiteY42" fmla="*/ 4476750 h 4476750"/>
              <a:gd name="connsiteX43" fmla="*/ 2202202 w 4519987"/>
              <a:gd name="connsiteY43" fmla="*/ 4457700 h 4476750"/>
              <a:gd name="connsiteX44" fmla="*/ 2126002 w 4519987"/>
              <a:gd name="connsiteY44" fmla="*/ 4429125 h 4476750"/>
              <a:gd name="connsiteX45" fmla="*/ 1935502 w 4519987"/>
              <a:gd name="connsiteY45" fmla="*/ 4400550 h 4476750"/>
              <a:gd name="connsiteX46" fmla="*/ 1821202 w 4519987"/>
              <a:gd name="connsiteY46" fmla="*/ 4371975 h 4476750"/>
              <a:gd name="connsiteX47" fmla="*/ 1754527 w 4519987"/>
              <a:gd name="connsiteY47" fmla="*/ 4352925 h 4476750"/>
              <a:gd name="connsiteX48" fmla="*/ 1687852 w 4519987"/>
              <a:gd name="connsiteY48" fmla="*/ 4343400 h 4476750"/>
              <a:gd name="connsiteX49" fmla="*/ 1573552 w 4519987"/>
              <a:gd name="connsiteY49" fmla="*/ 4305300 h 4476750"/>
              <a:gd name="connsiteX50" fmla="*/ 1402102 w 4519987"/>
              <a:gd name="connsiteY50" fmla="*/ 4276725 h 4476750"/>
              <a:gd name="connsiteX51" fmla="*/ 1287802 w 4519987"/>
              <a:gd name="connsiteY51" fmla="*/ 4229100 h 4476750"/>
              <a:gd name="connsiteX52" fmla="*/ 1221127 w 4519987"/>
              <a:gd name="connsiteY52" fmla="*/ 4200525 h 4476750"/>
              <a:gd name="connsiteX53" fmla="*/ 1144927 w 4519987"/>
              <a:gd name="connsiteY53" fmla="*/ 4171950 h 4476750"/>
              <a:gd name="connsiteX54" fmla="*/ 1087777 w 4519987"/>
              <a:gd name="connsiteY54" fmla="*/ 4143375 h 4476750"/>
              <a:gd name="connsiteX55" fmla="*/ 1030627 w 4519987"/>
              <a:gd name="connsiteY55" fmla="*/ 4124325 h 4476750"/>
              <a:gd name="connsiteX56" fmla="*/ 925852 w 4519987"/>
              <a:gd name="connsiteY56" fmla="*/ 4067175 h 4476750"/>
              <a:gd name="connsiteX57" fmla="*/ 830602 w 4519987"/>
              <a:gd name="connsiteY57" fmla="*/ 3981450 h 4476750"/>
              <a:gd name="connsiteX58" fmla="*/ 763927 w 4519987"/>
              <a:gd name="connsiteY58" fmla="*/ 3914775 h 4476750"/>
              <a:gd name="connsiteX59" fmla="*/ 725827 w 4519987"/>
              <a:gd name="connsiteY59" fmla="*/ 3876675 h 4476750"/>
              <a:gd name="connsiteX60" fmla="*/ 697252 w 4519987"/>
              <a:gd name="connsiteY60" fmla="*/ 3838575 h 4476750"/>
              <a:gd name="connsiteX61" fmla="*/ 640102 w 4519987"/>
              <a:gd name="connsiteY61" fmla="*/ 3781425 h 4476750"/>
              <a:gd name="connsiteX62" fmla="*/ 611527 w 4519987"/>
              <a:gd name="connsiteY62" fmla="*/ 3733800 h 4476750"/>
              <a:gd name="connsiteX63" fmla="*/ 554377 w 4519987"/>
              <a:gd name="connsiteY63" fmla="*/ 3657600 h 4476750"/>
              <a:gd name="connsiteX64" fmla="*/ 525802 w 4519987"/>
              <a:gd name="connsiteY64" fmla="*/ 3609975 h 4476750"/>
              <a:gd name="connsiteX65" fmla="*/ 497227 w 4519987"/>
              <a:gd name="connsiteY65" fmla="*/ 3552825 h 4476750"/>
              <a:gd name="connsiteX66" fmla="*/ 440077 w 4519987"/>
              <a:gd name="connsiteY66" fmla="*/ 3495675 h 4476750"/>
              <a:gd name="connsiteX67" fmla="*/ 411502 w 4519987"/>
              <a:gd name="connsiteY67" fmla="*/ 3448050 h 4476750"/>
              <a:gd name="connsiteX68" fmla="*/ 278152 w 4519987"/>
              <a:gd name="connsiteY68" fmla="*/ 3257550 h 4476750"/>
              <a:gd name="connsiteX69" fmla="*/ 249577 w 4519987"/>
              <a:gd name="connsiteY69" fmla="*/ 3200400 h 4476750"/>
              <a:gd name="connsiteX70" fmla="*/ 240052 w 4519987"/>
              <a:gd name="connsiteY70" fmla="*/ 3162300 h 4476750"/>
              <a:gd name="connsiteX71" fmla="*/ 221002 w 4519987"/>
              <a:gd name="connsiteY71" fmla="*/ 3105150 h 4476750"/>
              <a:gd name="connsiteX72" fmla="*/ 173377 w 4519987"/>
              <a:gd name="connsiteY72" fmla="*/ 3019425 h 4476750"/>
              <a:gd name="connsiteX73" fmla="*/ 144802 w 4519987"/>
              <a:gd name="connsiteY73" fmla="*/ 2924175 h 4476750"/>
              <a:gd name="connsiteX74" fmla="*/ 68602 w 4519987"/>
              <a:gd name="connsiteY74" fmla="*/ 2724150 h 4476750"/>
              <a:gd name="connsiteX75" fmla="*/ 49552 w 4519987"/>
              <a:gd name="connsiteY75" fmla="*/ 2638425 h 4476750"/>
              <a:gd name="connsiteX76" fmla="*/ 40027 w 4519987"/>
              <a:gd name="connsiteY76" fmla="*/ 2562225 h 4476750"/>
              <a:gd name="connsiteX77" fmla="*/ 30502 w 4519987"/>
              <a:gd name="connsiteY77" fmla="*/ 2514600 h 4476750"/>
              <a:gd name="connsiteX78" fmla="*/ 11452 w 4519987"/>
              <a:gd name="connsiteY78" fmla="*/ 2400300 h 4476750"/>
              <a:gd name="connsiteX79" fmla="*/ 20977 w 4519987"/>
              <a:gd name="connsiteY79" fmla="*/ 1905000 h 4476750"/>
              <a:gd name="connsiteX80" fmla="*/ 30502 w 4519987"/>
              <a:gd name="connsiteY80" fmla="*/ 1838325 h 4476750"/>
              <a:gd name="connsiteX81" fmla="*/ 49552 w 4519987"/>
              <a:gd name="connsiteY81" fmla="*/ 1781175 h 4476750"/>
              <a:gd name="connsiteX82" fmla="*/ 59077 w 4519987"/>
              <a:gd name="connsiteY82" fmla="*/ 1743075 h 4476750"/>
              <a:gd name="connsiteX83" fmla="*/ 78127 w 4519987"/>
              <a:gd name="connsiteY83" fmla="*/ 1685925 h 4476750"/>
              <a:gd name="connsiteX84" fmla="*/ 87652 w 4519987"/>
              <a:gd name="connsiteY84" fmla="*/ 1638300 h 4476750"/>
              <a:gd name="connsiteX85" fmla="*/ 106702 w 4519987"/>
              <a:gd name="connsiteY85" fmla="*/ 1590675 h 4476750"/>
              <a:gd name="connsiteX86" fmla="*/ 135277 w 4519987"/>
              <a:gd name="connsiteY86" fmla="*/ 1504950 h 4476750"/>
              <a:gd name="connsiteX87" fmla="*/ 154327 w 4519987"/>
              <a:gd name="connsiteY87" fmla="*/ 1419225 h 4476750"/>
              <a:gd name="connsiteX88" fmla="*/ 230527 w 4519987"/>
              <a:gd name="connsiteY88" fmla="*/ 1276350 h 4476750"/>
              <a:gd name="connsiteX89" fmla="*/ 240052 w 4519987"/>
              <a:gd name="connsiteY89" fmla="*/ 1247775 h 4476750"/>
              <a:gd name="connsiteX90" fmla="*/ 268627 w 4519987"/>
              <a:gd name="connsiteY90" fmla="*/ 1200150 h 4476750"/>
              <a:gd name="connsiteX91" fmla="*/ 287677 w 4519987"/>
              <a:gd name="connsiteY91" fmla="*/ 1152525 h 4476750"/>
              <a:gd name="connsiteX92" fmla="*/ 316252 w 4519987"/>
              <a:gd name="connsiteY92" fmla="*/ 1114425 h 4476750"/>
              <a:gd name="connsiteX93" fmla="*/ 363877 w 4519987"/>
              <a:gd name="connsiteY93" fmla="*/ 1038225 h 4476750"/>
              <a:gd name="connsiteX94" fmla="*/ 382927 w 4519987"/>
              <a:gd name="connsiteY94" fmla="*/ 1009650 h 4476750"/>
              <a:gd name="connsiteX95" fmla="*/ 440077 w 4519987"/>
              <a:gd name="connsiteY95" fmla="*/ 904875 h 4476750"/>
              <a:gd name="connsiteX96" fmla="*/ 478177 w 4519987"/>
              <a:gd name="connsiteY96" fmla="*/ 857250 h 4476750"/>
              <a:gd name="connsiteX97" fmla="*/ 497227 w 4519987"/>
              <a:gd name="connsiteY97" fmla="*/ 828675 h 4476750"/>
              <a:gd name="connsiteX98" fmla="*/ 535327 w 4519987"/>
              <a:gd name="connsiteY98" fmla="*/ 800100 h 4476750"/>
              <a:gd name="connsiteX99" fmla="*/ 602002 w 4519987"/>
              <a:gd name="connsiteY99" fmla="*/ 733425 h 4476750"/>
              <a:gd name="connsiteX100" fmla="*/ 668677 w 4519987"/>
              <a:gd name="connsiteY100" fmla="*/ 676275 h 4476750"/>
              <a:gd name="connsiteX101" fmla="*/ 697252 w 4519987"/>
              <a:gd name="connsiteY101" fmla="*/ 657225 h 4476750"/>
              <a:gd name="connsiteX102" fmla="*/ 840127 w 4519987"/>
              <a:gd name="connsiteY102" fmla="*/ 533400 h 4476750"/>
              <a:gd name="connsiteX103" fmla="*/ 887752 w 4519987"/>
              <a:gd name="connsiteY103" fmla="*/ 504825 h 4476750"/>
              <a:gd name="connsiteX104" fmla="*/ 1167152 w 4519987"/>
              <a:gd name="connsiteY104" fmla="*/ 311150 h 4476750"/>
              <a:gd name="connsiteX105" fmla="*/ 1268752 w 4519987"/>
              <a:gd name="connsiteY105" fmla="*/ 285750 h 4476750"/>
              <a:gd name="connsiteX106" fmla="*/ 1411627 w 4519987"/>
              <a:gd name="connsiteY106" fmla="*/ 190500 h 4476750"/>
              <a:gd name="connsiteX107" fmla="*/ 1449727 w 4519987"/>
              <a:gd name="connsiteY107" fmla="*/ 161925 h 4476750"/>
              <a:gd name="connsiteX108" fmla="*/ 1525927 w 4519987"/>
              <a:gd name="connsiteY108" fmla="*/ 152400 h 4476750"/>
              <a:gd name="connsiteX109" fmla="*/ 1583077 w 4519987"/>
              <a:gd name="connsiteY109" fmla="*/ 142875 h 4476750"/>
              <a:gd name="connsiteX110" fmla="*/ 1716427 w 4519987"/>
              <a:gd name="connsiteY110" fmla="*/ 123825 h 4476750"/>
              <a:gd name="connsiteX111" fmla="*/ 1811677 w 4519987"/>
              <a:gd name="connsiteY111" fmla="*/ 114300 h 4476750"/>
              <a:gd name="connsiteX112" fmla="*/ 1859302 w 4519987"/>
              <a:gd name="connsiteY112" fmla="*/ 104775 h 4476750"/>
              <a:gd name="connsiteX113" fmla="*/ 1916452 w 4519987"/>
              <a:gd name="connsiteY113" fmla="*/ 95250 h 4476750"/>
              <a:gd name="connsiteX114" fmla="*/ 2030752 w 4519987"/>
              <a:gd name="connsiteY114" fmla="*/ 66675 h 4476750"/>
              <a:gd name="connsiteX115" fmla="*/ 2097427 w 4519987"/>
              <a:gd name="connsiteY115" fmla="*/ 47625 h 4476750"/>
              <a:gd name="connsiteX116" fmla="*/ 2164102 w 4519987"/>
              <a:gd name="connsiteY116" fmla="*/ 38100 h 4476750"/>
              <a:gd name="connsiteX117" fmla="*/ 2392702 w 4519987"/>
              <a:gd name="connsiteY117" fmla="*/ 28575 h 4476750"/>
              <a:gd name="connsiteX0" fmla="*/ 2297452 w 4519987"/>
              <a:gd name="connsiteY0" fmla="*/ 0 h 4457700"/>
              <a:gd name="connsiteX1" fmla="*/ 2421277 w 4519987"/>
              <a:gd name="connsiteY1" fmla="*/ 28575 h 4457700"/>
              <a:gd name="connsiteX2" fmla="*/ 2497477 w 4519987"/>
              <a:gd name="connsiteY2" fmla="*/ 47625 h 4457700"/>
              <a:gd name="connsiteX3" fmla="*/ 2754652 w 4519987"/>
              <a:gd name="connsiteY3" fmla="*/ 66675 h 4457700"/>
              <a:gd name="connsiteX4" fmla="*/ 2830852 w 4519987"/>
              <a:gd name="connsiteY4" fmla="*/ 76200 h 4457700"/>
              <a:gd name="connsiteX5" fmla="*/ 2916577 w 4519987"/>
              <a:gd name="connsiteY5" fmla="*/ 85725 h 4457700"/>
              <a:gd name="connsiteX6" fmla="*/ 2973727 w 4519987"/>
              <a:gd name="connsiteY6" fmla="*/ 114300 h 4457700"/>
              <a:gd name="connsiteX7" fmla="*/ 3011827 w 4519987"/>
              <a:gd name="connsiteY7" fmla="*/ 123825 h 4457700"/>
              <a:gd name="connsiteX8" fmla="*/ 3135652 w 4519987"/>
              <a:gd name="connsiteY8" fmla="*/ 171450 h 4457700"/>
              <a:gd name="connsiteX9" fmla="*/ 3173752 w 4519987"/>
              <a:gd name="connsiteY9" fmla="*/ 190500 h 4457700"/>
              <a:gd name="connsiteX10" fmla="*/ 3240427 w 4519987"/>
              <a:gd name="connsiteY10" fmla="*/ 228600 h 4457700"/>
              <a:gd name="connsiteX11" fmla="*/ 3269002 w 4519987"/>
              <a:gd name="connsiteY11" fmla="*/ 238125 h 4457700"/>
              <a:gd name="connsiteX12" fmla="*/ 3297577 w 4519987"/>
              <a:gd name="connsiteY12" fmla="*/ 257175 h 4457700"/>
              <a:gd name="connsiteX13" fmla="*/ 3326152 w 4519987"/>
              <a:gd name="connsiteY13" fmla="*/ 266700 h 4457700"/>
              <a:gd name="connsiteX14" fmla="*/ 3354727 w 4519987"/>
              <a:gd name="connsiteY14" fmla="*/ 285750 h 4457700"/>
              <a:gd name="connsiteX15" fmla="*/ 3421402 w 4519987"/>
              <a:gd name="connsiteY15" fmla="*/ 323850 h 4457700"/>
              <a:gd name="connsiteX16" fmla="*/ 3469027 w 4519987"/>
              <a:gd name="connsiteY16" fmla="*/ 361950 h 4457700"/>
              <a:gd name="connsiteX17" fmla="*/ 3516652 w 4519987"/>
              <a:gd name="connsiteY17" fmla="*/ 390525 h 4457700"/>
              <a:gd name="connsiteX18" fmla="*/ 3630952 w 4519987"/>
              <a:gd name="connsiteY18" fmla="*/ 485775 h 4457700"/>
              <a:gd name="connsiteX19" fmla="*/ 3745252 w 4519987"/>
              <a:gd name="connsiteY19" fmla="*/ 542925 h 4457700"/>
              <a:gd name="connsiteX20" fmla="*/ 3811927 w 4519987"/>
              <a:gd name="connsiteY20" fmla="*/ 581025 h 4457700"/>
              <a:gd name="connsiteX21" fmla="*/ 4027827 w 4519987"/>
              <a:gd name="connsiteY21" fmla="*/ 819150 h 4457700"/>
              <a:gd name="connsiteX22" fmla="*/ 4164352 w 4519987"/>
              <a:gd name="connsiteY22" fmla="*/ 990600 h 4457700"/>
              <a:gd name="connsiteX23" fmla="*/ 4250077 w 4519987"/>
              <a:gd name="connsiteY23" fmla="*/ 1143000 h 4457700"/>
              <a:gd name="connsiteX24" fmla="*/ 4307227 w 4519987"/>
              <a:gd name="connsiteY24" fmla="*/ 1266825 h 4457700"/>
              <a:gd name="connsiteX25" fmla="*/ 4345327 w 4519987"/>
              <a:gd name="connsiteY25" fmla="*/ 1362075 h 4457700"/>
              <a:gd name="connsiteX26" fmla="*/ 4392952 w 4519987"/>
              <a:gd name="connsiteY26" fmla="*/ 1552575 h 4457700"/>
              <a:gd name="connsiteX27" fmla="*/ 4431052 w 4519987"/>
              <a:gd name="connsiteY27" fmla="*/ 1685925 h 4457700"/>
              <a:gd name="connsiteX28" fmla="*/ 4519952 w 4519987"/>
              <a:gd name="connsiteY28" fmla="*/ 2181225 h 4457700"/>
              <a:gd name="connsiteX29" fmla="*/ 4446927 w 4519987"/>
              <a:gd name="connsiteY29" fmla="*/ 2768600 h 4457700"/>
              <a:gd name="connsiteX30" fmla="*/ 4383427 w 4519987"/>
              <a:gd name="connsiteY30" fmla="*/ 2990850 h 4457700"/>
              <a:gd name="connsiteX31" fmla="*/ 4278652 w 4519987"/>
              <a:gd name="connsiteY31" fmla="*/ 3248025 h 4457700"/>
              <a:gd name="connsiteX32" fmla="*/ 4183402 w 4519987"/>
              <a:gd name="connsiteY32" fmla="*/ 3400425 h 4457700"/>
              <a:gd name="connsiteX33" fmla="*/ 4059577 w 4519987"/>
              <a:gd name="connsiteY33" fmla="*/ 3533775 h 4457700"/>
              <a:gd name="connsiteX34" fmla="*/ 3954802 w 4519987"/>
              <a:gd name="connsiteY34" fmla="*/ 3648075 h 4457700"/>
              <a:gd name="connsiteX35" fmla="*/ 3659527 w 4519987"/>
              <a:gd name="connsiteY35" fmla="*/ 3971925 h 4457700"/>
              <a:gd name="connsiteX36" fmla="*/ 3516652 w 4519987"/>
              <a:gd name="connsiteY36" fmla="*/ 4083050 h 4457700"/>
              <a:gd name="connsiteX37" fmla="*/ 3221377 w 4519987"/>
              <a:gd name="connsiteY37" fmla="*/ 4222750 h 4457700"/>
              <a:gd name="connsiteX38" fmla="*/ 3068977 w 4519987"/>
              <a:gd name="connsiteY38" fmla="*/ 4286250 h 4457700"/>
              <a:gd name="connsiteX39" fmla="*/ 2935627 w 4519987"/>
              <a:gd name="connsiteY39" fmla="*/ 4333875 h 4457700"/>
              <a:gd name="connsiteX40" fmla="*/ 2811802 w 4519987"/>
              <a:gd name="connsiteY40" fmla="*/ 4371975 h 4457700"/>
              <a:gd name="connsiteX41" fmla="*/ 2580027 w 4519987"/>
              <a:gd name="connsiteY41" fmla="*/ 4391025 h 4457700"/>
              <a:gd name="connsiteX42" fmla="*/ 2202202 w 4519987"/>
              <a:gd name="connsiteY42" fmla="*/ 4457700 h 4457700"/>
              <a:gd name="connsiteX43" fmla="*/ 2126002 w 4519987"/>
              <a:gd name="connsiteY43" fmla="*/ 4429125 h 4457700"/>
              <a:gd name="connsiteX44" fmla="*/ 1935502 w 4519987"/>
              <a:gd name="connsiteY44" fmla="*/ 4400550 h 4457700"/>
              <a:gd name="connsiteX45" fmla="*/ 1821202 w 4519987"/>
              <a:gd name="connsiteY45" fmla="*/ 4371975 h 4457700"/>
              <a:gd name="connsiteX46" fmla="*/ 1754527 w 4519987"/>
              <a:gd name="connsiteY46" fmla="*/ 4352925 h 4457700"/>
              <a:gd name="connsiteX47" fmla="*/ 1687852 w 4519987"/>
              <a:gd name="connsiteY47" fmla="*/ 4343400 h 4457700"/>
              <a:gd name="connsiteX48" fmla="*/ 1573552 w 4519987"/>
              <a:gd name="connsiteY48" fmla="*/ 4305300 h 4457700"/>
              <a:gd name="connsiteX49" fmla="*/ 1402102 w 4519987"/>
              <a:gd name="connsiteY49" fmla="*/ 4276725 h 4457700"/>
              <a:gd name="connsiteX50" fmla="*/ 1287802 w 4519987"/>
              <a:gd name="connsiteY50" fmla="*/ 4229100 h 4457700"/>
              <a:gd name="connsiteX51" fmla="*/ 1221127 w 4519987"/>
              <a:gd name="connsiteY51" fmla="*/ 4200525 h 4457700"/>
              <a:gd name="connsiteX52" fmla="*/ 1144927 w 4519987"/>
              <a:gd name="connsiteY52" fmla="*/ 4171950 h 4457700"/>
              <a:gd name="connsiteX53" fmla="*/ 1087777 w 4519987"/>
              <a:gd name="connsiteY53" fmla="*/ 4143375 h 4457700"/>
              <a:gd name="connsiteX54" fmla="*/ 1030627 w 4519987"/>
              <a:gd name="connsiteY54" fmla="*/ 4124325 h 4457700"/>
              <a:gd name="connsiteX55" fmla="*/ 925852 w 4519987"/>
              <a:gd name="connsiteY55" fmla="*/ 4067175 h 4457700"/>
              <a:gd name="connsiteX56" fmla="*/ 830602 w 4519987"/>
              <a:gd name="connsiteY56" fmla="*/ 3981450 h 4457700"/>
              <a:gd name="connsiteX57" fmla="*/ 763927 w 4519987"/>
              <a:gd name="connsiteY57" fmla="*/ 3914775 h 4457700"/>
              <a:gd name="connsiteX58" fmla="*/ 725827 w 4519987"/>
              <a:gd name="connsiteY58" fmla="*/ 3876675 h 4457700"/>
              <a:gd name="connsiteX59" fmla="*/ 697252 w 4519987"/>
              <a:gd name="connsiteY59" fmla="*/ 3838575 h 4457700"/>
              <a:gd name="connsiteX60" fmla="*/ 640102 w 4519987"/>
              <a:gd name="connsiteY60" fmla="*/ 3781425 h 4457700"/>
              <a:gd name="connsiteX61" fmla="*/ 611527 w 4519987"/>
              <a:gd name="connsiteY61" fmla="*/ 3733800 h 4457700"/>
              <a:gd name="connsiteX62" fmla="*/ 554377 w 4519987"/>
              <a:gd name="connsiteY62" fmla="*/ 3657600 h 4457700"/>
              <a:gd name="connsiteX63" fmla="*/ 525802 w 4519987"/>
              <a:gd name="connsiteY63" fmla="*/ 3609975 h 4457700"/>
              <a:gd name="connsiteX64" fmla="*/ 497227 w 4519987"/>
              <a:gd name="connsiteY64" fmla="*/ 3552825 h 4457700"/>
              <a:gd name="connsiteX65" fmla="*/ 440077 w 4519987"/>
              <a:gd name="connsiteY65" fmla="*/ 3495675 h 4457700"/>
              <a:gd name="connsiteX66" fmla="*/ 411502 w 4519987"/>
              <a:gd name="connsiteY66" fmla="*/ 3448050 h 4457700"/>
              <a:gd name="connsiteX67" fmla="*/ 278152 w 4519987"/>
              <a:gd name="connsiteY67" fmla="*/ 3257550 h 4457700"/>
              <a:gd name="connsiteX68" fmla="*/ 249577 w 4519987"/>
              <a:gd name="connsiteY68" fmla="*/ 3200400 h 4457700"/>
              <a:gd name="connsiteX69" fmla="*/ 240052 w 4519987"/>
              <a:gd name="connsiteY69" fmla="*/ 3162300 h 4457700"/>
              <a:gd name="connsiteX70" fmla="*/ 221002 w 4519987"/>
              <a:gd name="connsiteY70" fmla="*/ 3105150 h 4457700"/>
              <a:gd name="connsiteX71" fmla="*/ 173377 w 4519987"/>
              <a:gd name="connsiteY71" fmla="*/ 3019425 h 4457700"/>
              <a:gd name="connsiteX72" fmla="*/ 144802 w 4519987"/>
              <a:gd name="connsiteY72" fmla="*/ 2924175 h 4457700"/>
              <a:gd name="connsiteX73" fmla="*/ 68602 w 4519987"/>
              <a:gd name="connsiteY73" fmla="*/ 2724150 h 4457700"/>
              <a:gd name="connsiteX74" fmla="*/ 49552 w 4519987"/>
              <a:gd name="connsiteY74" fmla="*/ 2638425 h 4457700"/>
              <a:gd name="connsiteX75" fmla="*/ 40027 w 4519987"/>
              <a:gd name="connsiteY75" fmla="*/ 2562225 h 4457700"/>
              <a:gd name="connsiteX76" fmla="*/ 30502 w 4519987"/>
              <a:gd name="connsiteY76" fmla="*/ 2514600 h 4457700"/>
              <a:gd name="connsiteX77" fmla="*/ 11452 w 4519987"/>
              <a:gd name="connsiteY77" fmla="*/ 2400300 h 4457700"/>
              <a:gd name="connsiteX78" fmla="*/ 20977 w 4519987"/>
              <a:gd name="connsiteY78" fmla="*/ 1905000 h 4457700"/>
              <a:gd name="connsiteX79" fmla="*/ 30502 w 4519987"/>
              <a:gd name="connsiteY79" fmla="*/ 1838325 h 4457700"/>
              <a:gd name="connsiteX80" fmla="*/ 49552 w 4519987"/>
              <a:gd name="connsiteY80" fmla="*/ 1781175 h 4457700"/>
              <a:gd name="connsiteX81" fmla="*/ 59077 w 4519987"/>
              <a:gd name="connsiteY81" fmla="*/ 1743075 h 4457700"/>
              <a:gd name="connsiteX82" fmla="*/ 78127 w 4519987"/>
              <a:gd name="connsiteY82" fmla="*/ 1685925 h 4457700"/>
              <a:gd name="connsiteX83" fmla="*/ 87652 w 4519987"/>
              <a:gd name="connsiteY83" fmla="*/ 1638300 h 4457700"/>
              <a:gd name="connsiteX84" fmla="*/ 106702 w 4519987"/>
              <a:gd name="connsiteY84" fmla="*/ 1590675 h 4457700"/>
              <a:gd name="connsiteX85" fmla="*/ 135277 w 4519987"/>
              <a:gd name="connsiteY85" fmla="*/ 1504950 h 4457700"/>
              <a:gd name="connsiteX86" fmla="*/ 154327 w 4519987"/>
              <a:gd name="connsiteY86" fmla="*/ 1419225 h 4457700"/>
              <a:gd name="connsiteX87" fmla="*/ 230527 w 4519987"/>
              <a:gd name="connsiteY87" fmla="*/ 1276350 h 4457700"/>
              <a:gd name="connsiteX88" fmla="*/ 240052 w 4519987"/>
              <a:gd name="connsiteY88" fmla="*/ 1247775 h 4457700"/>
              <a:gd name="connsiteX89" fmla="*/ 268627 w 4519987"/>
              <a:gd name="connsiteY89" fmla="*/ 1200150 h 4457700"/>
              <a:gd name="connsiteX90" fmla="*/ 287677 w 4519987"/>
              <a:gd name="connsiteY90" fmla="*/ 1152525 h 4457700"/>
              <a:gd name="connsiteX91" fmla="*/ 316252 w 4519987"/>
              <a:gd name="connsiteY91" fmla="*/ 1114425 h 4457700"/>
              <a:gd name="connsiteX92" fmla="*/ 363877 w 4519987"/>
              <a:gd name="connsiteY92" fmla="*/ 1038225 h 4457700"/>
              <a:gd name="connsiteX93" fmla="*/ 382927 w 4519987"/>
              <a:gd name="connsiteY93" fmla="*/ 1009650 h 4457700"/>
              <a:gd name="connsiteX94" fmla="*/ 440077 w 4519987"/>
              <a:gd name="connsiteY94" fmla="*/ 904875 h 4457700"/>
              <a:gd name="connsiteX95" fmla="*/ 478177 w 4519987"/>
              <a:gd name="connsiteY95" fmla="*/ 857250 h 4457700"/>
              <a:gd name="connsiteX96" fmla="*/ 497227 w 4519987"/>
              <a:gd name="connsiteY96" fmla="*/ 828675 h 4457700"/>
              <a:gd name="connsiteX97" fmla="*/ 535327 w 4519987"/>
              <a:gd name="connsiteY97" fmla="*/ 800100 h 4457700"/>
              <a:gd name="connsiteX98" fmla="*/ 602002 w 4519987"/>
              <a:gd name="connsiteY98" fmla="*/ 733425 h 4457700"/>
              <a:gd name="connsiteX99" fmla="*/ 668677 w 4519987"/>
              <a:gd name="connsiteY99" fmla="*/ 676275 h 4457700"/>
              <a:gd name="connsiteX100" fmla="*/ 697252 w 4519987"/>
              <a:gd name="connsiteY100" fmla="*/ 657225 h 4457700"/>
              <a:gd name="connsiteX101" fmla="*/ 840127 w 4519987"/>
              <a:gd name="connsiteY101" fmla="*/ 533400 h 4457700"/>
              <a:gd name="connsiteX102" fmla="*/ 887752 w 4519987"/>
              <a:gd name="connsiteY102" fmla="*/ 504825 h 4457700"/>
              <a:gd name="connsiteX103" fmla="*/ 1167152 w 4519987"/>
              <a:gd name="connsiteY103" fmla="*/ 311150 h 4457700"/>
              <a:gd name="connsiteX104" fmla="*/ 1268752 w 4519987"/>
              <a:gd name="connsiteY104" fmla="*/ 285750 h 4457700"/>
              <a:gd name="connsiteX105" fmla="*/ 1411627 w 4519987"/>
              <a:gd name="connsiteY105" fmla="*/ 190500 h 4457700"/>
              <a:gd name="connsiteX106" fmla="*/ 1449727 w 4519987"/>
              <a:gd name="connsiteY106" fmla="*/ 161925 h 4457700"/>
              <a:gd name="connsiteX107" fmla="*/ 1525927 w 4519987"/>
              <a:gd name="connsiteY107" fmla="*/ 152400 h 4457700"/>
              <a:gd name="connsiteX108" fmla="*/ 1583077 w 4519987"/>
              <a:gd name="connsiteY108" fmla="*/ 142875 h 4457700"/>
              <a:gd name="connsiteX109" fmla="*/ 1716427 w 4519987"/>
              <a:gd name="connsiteY109" fmla="*/ 123825 h 4457700"/>
              <a:gd name="connsiteX110" fmla="*/ 1811677 w 4519987"/>
              <a:gd name="connsiteY110" fmla="*/ 114300 h 4457700"/>
              <a:gd name="connsiteX111" fmla="*/ 1859302 w 4519987"/>
              <a:gd name="connsiteY111" fmla="*/ 104775 h 4457700"/>
              <a:gd name="connsiteX112" fmla="*/ 1916452 w 4519987"/>
              <a:gd name="connsiteY112" fmla="*/ 95250 h 4457700"/>
              <a:gd name="connsiteX113" fmla="*/ 2030752 w 4519987"/>
              <a:gd name="connsiteY113" fmla="*/ 66675 h 4457700"/>
              <a:gd name="connsiteX114" fmla="*/ 2097427 w 4519987"/>
              <a:gd name="connsiteY114" fmla="*/ 47625 h 4457700"/>
              <a:gd name="connsiteX115" fmla="*/ 2164102 w 4519987"/>
              <a:gd name="connsiteY115" fmla="*/ 38100 h 4457700"/>
              <a:gd name="connsiteX116" fmla="*/ 2392702 w 4519987"/>
              <a:gd name="connsiteY116" fmla="*/ 28575 h 4457700"/>
              <a:gd name="connsiteX0" fmla="*/ 2297452 w 4519987"/>
              <a:gd name="connsiteY0" fmla="*/ 0 h 4429260"/>
              <a:gd name="connsiteX1" fmla="*/ 2421277 w 4519987"/>
              <a:gd name="connsiteY1" fmla="*/ 28575 h 4429260"/>
              <a:gd name="connsiteX2" fmla="*/ 2497477 w 4519987"/>
              <a:gd name="connsiteY2" fmla="*/ 47625 h 4429260"/>
              <a:gd name="connsiteX3" fmla="*/ 2754652 w 4519987"/>
              <a:gd name="connsiteY3" fmla="*/ 66675 h 4429260"/>
              <a:gd name="connsiteX4" fmla="*/ 2830852 w 4519987"/>
              <a:gd name="connsiteY4" fmla="*/ 76200 h 4429260"/>
              <a:gd name="connsiteX5" fmla="*/ 2916577 w 4519987"/>
              <a:gd name="connsiteY5" fmla="*/ 85725 h 4429260"/>
              <a:gd name="connsiteX6" fmla="*/ 2973727 w 4519987"/>
              <a:gd name="connsiteY6" fmla="*/ 114300 h 4429260"/>
              <a:gd name="connsiteX7" fmla="*/ 3011827 w 4519987"/>
              <a:gd name="connsiteY7" fmla="*/ 123825 h 4429260"/>
              <a:gd name="connsiteX8" fmla="*/ 3135652 w 4519987"/>
              <a:gd name="connsiteY8" fmla="*/ 171450 h 4429260"/>
              <a:gd name="connsiteX9" fmla="*/ 3173752 w 4519987"/>
              <a:gd name="connsiteY9" fmla="*/ 190500 h 4429260"/>
              <a:gd name="connsiteX10" fmla="*/ 3240427 w 4519987"/>
              <a:gd name="connsiteY10" fmla="*/ 228600 h 4429260"/>
              <a:gd name="connsiteX11" fmla="*/ 3269002 w 4519987"/>
              <a:gd name="connsiteY11" fmla="*/ 238125 h 4429260"/>
              <a:gd name="connsiteX12" fmla="*/ 3297577 w 4519987"/>
              <a:gd name="connsiteY12" fmla="*/ 257175 h 4429260"/>
              <a:gd name="connsiteX13" fmla="*/ 3326152 w 4519987"/>
              <a:gd name="connsiteY13" fmla="*/ 266700 h 4429260"/>
              <a:gd name="connsiteX14" fmla="*/ 3354727 w 4519987"/>
              <a:gd name="connsiteY14" fmla="*/ 285750 h 4429260"/>
              <a:gd name="connsiteX15" fmla="*/ 3421402 w 4519987"/>
              <a:gd name="connsiteY15" fmla="*/ 323850 h 4429260"/>
              <a:gd name="connsiteX16" fmla="*/ 3469027 w 4519987"/>
              <a:gd name="connsiteY16" fmla="*/ 361950 h 4429260"/>
              <a:gd name="connsiteX17" fmla="*/ 3516652 w 4519987"/>
              <a:gd name="connsiteY17" fmla="*/ 390525 h 4429260"/>
              <a:gd name="connsiteX18" fmla="*/ 3630952 w 4519987"/>
              <a:gd name="connsiteY18" fmla="*/ 485775 h 4429260"/>
              <a:gd name="connsiteX19" fmla="*/ 3745252 w 4519987"/>
              <a:gd name="connsiteY19" fmla="*/ 542925 h 4429260"/>
              <a:gd name="connsiteX20" fmla="*/ 3811927 w 4519987"/>
              <a:gd name="connsiteY20" fmla="*/ 581025 h 4429260"/>
              <a:gd name="connsiteX21" fmla="*/ 4027827 w 4519987"/>
              <a:gd name="connsiteY21" fmla="*/ 819150 h 4429260"/>
              <a:gd name="connsiteX22" fmla="*/ 4164352 w 4519987"/>
              <a:gd name="connsiteY22" fmla="*/ 990600 h 4429260"/>
              <a:gd name="connsiteX23" fmla="*/ 4250077 w 4519987"/>
              <a:gd name="connsiteY23" fmla="*/ 1143000 h 4429260"/>
              <a:gd name="connsiteX24" fmla="*/ 4307227 w 4519987"/>
              <a:gd name="connsiteY24" fmla="*/ 1266825 h 4429260"/>
              <a:gd name="connsiteX25" fmla="*/ 4345327 w 4519987"/>
              <a:gd name="connsiteY25" fmla="*/ 1362075 h 4429260"/>
              <a:gd name="connsiteX26" fmla="*/ 4392952 w 4519987"/>
              <a:gd name="connsiteY26" fmla="*/ 1552575 h 4429260"/>
              <a:gd name="connsiteX27" fmla="*/ 4431052 w 4519987"/>
              <a:gd name="connsiteY27" fmla="*/ 1685925 h 4429260"/>
              <a:gd name="connsiteX28" fmla="*/ 4519952 w 4519987"/>
              <a:gd name="connsiteY28" fmla="*/ 2181225 h 4429260"/>
              <a:gd name="connsiteX29" fmla="*/ 4446927 w 4519987"/>
              <a:gd name="connsiteY29" fmla="*/ 2768600 h 4429260"/>
              <a:gd name="connsiteX30" fmla="*/ 4383427 w 4519987"/>
              <a:gd name="connsiteY30" fmla="*/ 2990850 h 4429260"/>
              <a:gd name="connsiteX31" fmla="*/ 4278652 w 4519987"/>
              <a:gd name="connsiteY31" fmla="*/ 3248025 h 4429260"/>
              <a:gd name="connsiteX32" fmla="*/ 4183402 w 4519987"/>
              <a:gd name="connsiteY32" fmla="*/ 3400425 h 4429260"/>
              <a:gd name="connsiteX33" fmla="*/ 4059577 w 4519987"/>
              <a:gd name="connsiteY33" fmla="*/ 3533775 h 4429260"/>
              <a:gd name="connsiteX34" fmla="*/ 3954802 w 4519987"/>
              <a:gd name="connsiteY34" fmla="*/ 3648075 h 4429260"/>
              <a:gd name="connsiteX35" fmla="*/ 3659527 w 4519987"/>
              <a:gd name="connsiteY35" fmla="*/ 3971925 h 4429260"/>
              <a:gd name="connsiteX36" fmla="*/ 3516652 w 4519987"/>
              <a:gd name="connsiteY36" fmla="*/ 4083050 h 4429260"/>
              <a:gd name="connsiteX37" fmla="*/ 3221377 w 4519987"/>
              <a:gd name="connsiteY37" fmla="*/ 4222750 h 4429260"/>
              <a:gd name="connsiteX38" fmla="*/ 3068977 w 4519987"/>
              <a:gd name="connsiteY38" fmla="*/ 4286250 h 4429260"/>
              <a:gd name="connsiteX39" fmla="*/ 2935627 w 4519987"/>
              <a:gd name="connsiteY39" fmla="*/ 4333875 h 4429260"/>
              <a:gd name="connsiteX40" fmla="*/ 2811802 w 4519987"/>
              <a:gd name="connsiteY40" fmla="*/ 4371975 h 4429260"/>
              <a:gd name="connsiteX41" fmla="*/ 2580027 w 4519987"/>
              <a:gd name="connsiteY41" fmla="*/ 4391025 h 4429260"/>
              <a:gd name="connsiteX42" fmla="*/ 2126002 w 4519987"/>
              <a:gd name="connsiteY42" fmla="*/ 4429125 h 4429260"/>
              <a:gd name="connsiteX43" fmla="*/ 1935502 w 4519987"/>
              <a:gd name="connsiteY43" fmla="*/ 4400550 h 4429260"/>
              <a:gd name="connsiteX44" fmla="*/ 1821202 w 4519987"/>
              <a:gd name="connsiteY44" fmla="*/ 4371975 h 4429260"/>
              <a:gd name="connsiteX45" fmla="*/ 1754527 w 4519987"/>
              <a:gd name="connsiteY45" fmla="*/ 4352925 h 4429260"/>
              <a:gd name="connsiteX46" fmla="*/ 1687852 w 4519987"/>
              <a:gd name="connsiteY46" fmla="*/ 4343400 h 4429260"/>
              <a:gd name="connsiteX47" fmla="*/ 1573552 w 4519987"/>
              <a:gd name="connsiteY47" fmla="*/ 4305300 h 4429260"/>
              <a:gd name="connsiteX48" fmla="*/ 1402102 w 4519987"/>
              <a:gd name="connsiteY48" fmla="*/ 4276725 h 4429260"/>
              <a:gd name="connsiteX49" fmla="*/ 1287802 w 4519987"/>
              <a:gd name="connsiteY49" fmla="*/ 4229100 h 4429260"/>
              <a:gd name="connsiteX50" fmla="*/ 1221127 w 4519987"/>
              <a:gd name="connsiteY50" fmla="*/ 4200525 h 4429260"/>
              <a:gd name="connsiteX51" fmla="*/ 1144927 w 4519987"/>
              <a:gd name="connsiteY51" fmla="*/ 4171950 h 4429260"/>
              <a:gd name="connsiteX52" fmla="*/ 1087777 w 4519987"/>
              <a:gd name="connsiteY52" fmla="*/ 4143375 h 4429260"/>
              <a:gd name="connsiteX53" fmla="*/ 1030627 w 4519987"/>
              <a:gd name="connsiteY53" fmla="*/ 4124325 h 4429260"/>
              <a:gd name="connsiteX54" fmla="*/ 925852 w 4519987"/>
              <a:gd name="connsiteY54" fmla="*/ 4067175 h 4429260"/>
              <a:gd name="connsiteX55" fmla="*/ 830602 w 4519987"/>
              <a:gd name="connsiteY55" fmla="*/ 3981450 h 4429260"/>
              <a:gd name="connsiteX56" fmla="*/ 763927 w 4519987"/>
              <a:gd name="connsiteY56" fmla="*/ 3914775 h 4429260"/>
              <a:gd name="connsiteX57" fmla="*/ 725827 w 4519987"/>
              <a:gd name="connsiteY57" fmla="*/ 3876675 h 4429260"/>
              <a:gd name="connsiteX58" fmla="*/ 697252 w 4519987"/>
              <a:gd name="connsiteY58" fmla="*/ 3838575 h 4429260"/>
              <a:gd name="connsiteX59" fmla="*/ 640102 w 4519987"/>
              <a:gd name="connsiteY59" fmla="*/ 3781425 h 4429260"/>
              <a:gd name="connsiteX60" fmla="*/ 611527 w 4519987"/>
              <a:gd name="connsiteY60" fmla="*/ 3733800 h 4429260"/>
              <a:gd name="connsiteX61" fmla="*/ 554377 w 4519987"/>
              <a:gd name="connsiteY61" fmla="*/ 3657600 h 4429260"/>
              <a:gd name="connsiteX62" fmla="*/ 525802 w 4519987"/>
              <a:gd name="connsiteY62" fmla="*/ 3609975 h 4429260"/>
              <a:gd name="connsiteX63" fmla="*/ 497227 w 4519987"/>
              <a:gd name="connsiteY63" fmla="*/ 3552825 h 4429260"/>
              <a:gd name="connsiteX64" fmla="*/ 440077 w 4519987"/>
              <a:gd name="connsiteY64" fmla="*/ 3495675 h 4429260"/>
              <a:gd name="connsiteX65" fmla="*/ 411502 w 4519987"/>
              <a:gd name="connsiteY65" fmla="*/ 3448050 h 4429260"/>
              <a:gd name="connsiteX66" fmla="*/ 278152 w 4519987"/>
              <a:gd name="connsiteY66" fmla="*/ 3257550 h 4429260"/>
              <a:gd name="connsiteX67" fmla="*/ 249577 w 4519987"/>
              <a:gd name="connsiteY67" fmla="*/ 3200400 h 4429260"/>
              <a:gd name="connsiteX68" fmla="*/ 240052 w 4519987"/>
              <a:gd name="connsiteY68" fmla="*/ 3162300 h 4429260"/>
              <a:gd name="connsiteX69" fmla="*/ 221002 w 4519987"/>
              <a:gd name="connsiteY69" fmla="*/ 3105150 h 4429260"/>
              <a:gd name="connsiteX70" fmla="*/ 173377 w 4519987"/>
              <a:gd name="connsiteY70" fmla="*/ 3019425 h 4429260"/>
              <a:gd name="connsiteX71" fmla="*/ 144802 w 4519987"/>
              <a:gd name="connsiteY71" fmla="*/ 2924175 h 4429260"/>
              <a:gd name="connsiteX72" fmla="*/ 68602 w 4519987"/>
              <a:gd name="connsiteY72" fmla="*/ 2724150 h 4429260"/>
              <a:gd name="connsiteX73" fmla="*/ 49552 w 4519987"/>
              <a:gd name="connsiteY73" fmla="*/ 2638425 h 4429260"/>
              <a:gd name="connsiteX74" fmla="*/ 40027 w 4519987"/>
              <a:gd name="connsiteY74" fmla="*/ 2562225 h 4429260"/>
              <a:gd name="connsiteX75" fmla="*/ 30502 w 4519987"/>
              <a:gd name="connsiteY75" fmla="*/ 2514600 h 4429260"/>
              <a:gd name="connsiteX76" fmla="*/ 11452 w 4519987"/>
              <a:gd name="connsiteY76" fmla="*/ 2400300 h 4429260"/>
              <a:gd name="connsiteX77" fmla="*/ 20977 w 4519987"/>
              <a:gd name="connsiteY77" fmla="*/ 1905000 h 4429260"/>
              <a:gd name="connsiteX78" fmla="*/ 30502 w 4519987"/>
              <a:gd name="connsiteY78" fmla="*/ 1838325 h 4429260"/>
              <a:gd name="connsiteX79" fmla="*/ 49552 w 4519987"/>
              <a:gd name="connsiteY79" fmla="*/ 1781175 h 4429260"/>
              <a:gd name="connsiteX80" fmla="*/ 59077 w 4519987"/>
              <a:gd name="connsiteY80" fmla="*/ 1743075 h 4429260"/>
              <a:gd name="connsiteX81" fmla="*/ 78127 w 4519987"/>
              <a:gd name="connsiteY81" fmla="*/ 1685925 h 4429260"/>
              <a:gd name="connsiteX82" fmla="*/ 87652 w 4519987"/>
              <a:gd name="connsiteY82" fmla="*/ 1638300 h 4429260"/>
              <a:gd name="connsiteX83" fmla="*/ 106702 w 4519987"/>
              <a:gd name="connsiteY83" fmla="*/ 1590675 h 4429260"/>
              <a:gd name="connsiteX84" fmla="*/ 135277 w 4519987"/>
              <a:gd name="connsiteY84" fmla="*/ 1504950 h 4429260"/>
              <a:gd name="connsiteX85" fmla="*/ 154327 w 4519987"/>
              <a:gd name="connsiteY85" fmla="*/ 1419225 h 4429260"/>
              <a:gd name="connsiteX86" fmla="*/ 230527 w 4519987"/>
              <a:gd name="connsiteY86" fmla="*/ 1276350 h 4429260"/>
              <a:gd name="connsiteX87" fmla="*/ 240052 w 4519987"/>
              <a:gd name="connsiteY87" fmla="*/ 1247775 h 4429260"/>
              <a:gd name="connsiteX88" fmla="*/ 268627 w 4519987"/>
              <a:gd name="connsiteY88" fmla="*/ 1200150 h 4429260"/>
              <a:gd name="connsiteX89" fmla="*/ 287677 w 4519987"/>
              <a:gd name="connsiteY89" fmla="*/ 1152525 h 4429260"/>
              <a:gd name="connsiteX90" fmla="*/ 316252 w 4519987"/>
              <a:gd name="connsiteY90" fmla="*/ 1114425 h 4429260"/>
              <a:gd name="connsiteX91" fmla="*/ 363877 w 4519987"/>
              <a:gd name="connsiteY91" fmla="*/ 1038225 h 4429260"/>
              <a:gd name="connsiteX92" fmla="*/ 382927 w 4519987"/>
              <a:gd name="connsiteY92" fmla="*/ 1009650 h 4429260"/>
              <a:gd name="connsiteX93" fmla="*/ 440077 w 4519987"/>
              <a:gd name="connsiteY93" fmla="*/ 904875 h 4429260"/>
              <a:gd name="connsiteX94" fmla="*/ 478177 w 4519987"/>
              <a:gd name="connsiteY94" fmla="*/ 857250 h 4429260"/>
              <a:gd name="connsiteX95" fmla="*/ 497227 w 4519987"/>
              <a:gd name="connsiteY95" fmla="*/ 828675 h 4429260"/>
              <a:gd name="connsiteX96" fmla="*/ 535327 w 4519987"/>
              <a:gd name="connsiteY96" fmla="*/ 800100 h 4429260"/>
              <a:gd name="connsiteX97" fmla="*/ 602002 w 4519987"/>
              <a:gd name="connsiteY97" fmla="*/ 733425 h 4429260"/>
              <a:gd name="connsiteX98" fmla="*/ 668677 w 4519987"/>
              <a:gd name="connsiteY98" fmla="*/ 676275 h 4429260"/>
              <a:gd name="connsiteX99" fmla="*/ 697252 w 4519987"/>
              <a:gd name="connsiteY99" fmla="*/ 657225 h 4429260"/>
              <a:gd name="connsiteX100" fmla="*/ 840127 w 4519987"/>
              <a:gd name="connsiteY100" fmla="*/ 533400 h 4429260"/>
              <a:gd name="connsiteX101" fmla="*/ 887752 w 4519987"/>
              <a:gd name="connsiteY101" fmla="*/ 504825 h 4429260"/>
              <a:gd name="connsiteX102" fmla="*/ 1167152 w 4519987"/>
              <a:gd name="connsiteY102" fmla="*/ 311150 h 4429260"/>
              <a:gd name="connsiteX103" fmla="*/ 1268752 w 4519987"/>
              <a:gd name="connsiteY103" fmla="*/ 285750 h 4429260"/>
              <a:gd name="connsiteX104" fmla="*/ 1411627 w 4519987"/>
              <a:gd name="connsiteY104" fmla="*/ 190500 h 4429260"/>
              <a:gd name="connsiteX105" fmla="*/ 1449727 w 4519987"/>
              <a:gd name="connsiteY105" fmla="*/ 161925 h 4429260"/>
              <a:gd name="connsiteX106" fmla="*/ 1525927 w 4519987"/>
              <a:gd name="connsiteY106" fmla="*/ 152400 h 4429260"/>
              <a:gd name="connsiteX107" fmla="*/ 1583077 w 4519987"/>
              <a:gd name="connsiteY107" fmla="*/ 142875 h 4429260"/>
              <a:gd name="connsiteX108" fmla="*/ 1716427 w 4519987"/>
              <a:gd name="connsiteY108" fmla="*/ 123825 h 4429260"/>
              <a:gd name="connsiteX109" fmla="*/ 1811677 w 4519987"/>
              <a:gd name="connsiteY109" fmla="*/ 114300 h 4429260"/>
              <a:gd name="connsiteX110" fmla="*/ 1859302 w 4519987"/>
              <a:gd name="connsiteY110" fmla="*/ 104775 h 4429260"/>
              <a:gd name="connsiteX111" fmla="*/ 1916452 w 4519987"/>
              <a:gd name="connsiteY111" fmla="*/ 95250 h 4429260"/>
              <a:gd name="connsiteX112" fmla="*/ 2030752 w 4519987"/>
              <a:gd name="connsiteY112" fmla="*/ 66675 h 4429260"/>
              <a:gd name="connsiteX113" fmla="*/ 2097427 w 4519987"/>
              <a:gd name="connsiteY113" fmla="*/ 47625 h 4429260"/>
              <a:gd name="connsiteX114" fmla="*/ 2164102 w 4519987"/>
              <a:gd name="connsiteY114" fmla="*/ 38100 h 4429260"/>
              <a:gd name="connsiteX115" fmla="*/ 2392702 w 4519987"/>
              <a:gd name="connsiteY115" fmla="*/ 28575 h 4429260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687852 w 4519987"/>
              <a:gd name="connsiteY45" fmla="*/ 4343400 h 4429225"/>
              <a:gd name="connsiteX46" fmla="*/ 1573552 w 4519987"/>
              <a:gd name="connsiteY46" fmla="*/ 4305300 h 4429225"/>
              <a:gd name="connsiteX47" fmla="*/ 1402102 w 4519987"/>
              <a:gd name="connsiteY47" fmla="*/ 4276725 h 4429225"/>
              <a:gd name="connsiteX48" fmla="*/ 1287802 w 4519987"/>
              <a:gd name="connsiteY48" fmla="*/ 4229100 h 4429225"/>
              <a:gd name="connsiteX49" fmla="*/ 1221127 w 4519987"/>
              <a:gd name="connsiteY49" fmla="*/ 4200525 h 4429225"/>
              <a:gd name="connsiteX50" fmla="*/ 1144927 w 4519987"/>
              <a:gd name="connsiteY50" fmla="*/ 4171950 h 4429225"/>
              <a:gd name="connsiteX51" fmla="*/ 1087777 w 4519987"/>
              <a:gd name="connsiteY51" fmla="*/ 4143375 h 4429225"/>
              <a:gd name="connsiteX52" fmla="*/ 1030627 w 4519987"/>
              <a:gd name="connsiteY52" fmla="*/ 4124325 h 4429225"/>
              <a:gd name="connsiteX53" fmla="*/ 925852 w 4519987"/>
              <a:gd name="connsiteY53" fmla="*/ 4067175 h 4429225"/>
              <a:gd name="connsiteX54" fmla="*/ 830602 w 4519987"/>
              <a:gd name="connsiteY54" fmla="*/ 3981450 h 4429225"/>
              <a:gd name="connsiteX55" fmla="*/ 763927 w 4519987"/>
              <a:gd name="connsiteY55" fmla="*/ 3914775 h 4429225"/>
              <a:gd name="connsiteX56" fmla="*/ 725827 w 4519987"/>
              <a:gd name="connsiteY56" fmla="*/ 3876675 h 4429225"/>
              <a:gd name="connsiteX57" fmla="*/ 697252 w 4519987"/>
              <a:gd name="connsiteY57" fmla="*/ 3838575 h 4429225"/>
              <a:gd name="connsiteX58" fmla="*/ 640102 w 4519987"/>
              <a:gd name="connsiteY58" fmla="*/ 3781425 h 4429225"/>
              <a:gd name="connsiteX59" fmla="*/ 611527 w 4519987"/>
              <a:gd name="connsiteY59" fmla="*/ 3733800 h 4429225"/>
              <a:gd name="connsiteX60" fmla="*/ 554377 w 4519987"/>
              <a:gd name="connsiteY60" fmla="*/ 3657600 h 4429225"/>
              <a:gd name="connsiteX61" fmla="*/ 525802 w 4519987"/>
              <a:gd name="connsiteY61" fmla="*/ 3609975 h 4429225"/>
              <a:gd name="connsiteX62" fmla="*/ 497227 w 4519987"/>
              <a:gd name="connsiteY62" fmla="*/ 3552825 h 4429225"/>
              <a:gd name="connsiteX63" fmla="*/ 440077 w 4519987"/>
              <a:gd name="connsiteY63" fmla="*/ 3495675 h 4429225"/>
              <a:gd name="connsiteX64" fmla="*/ 411502 w 4519987"/>
              <a:gd name="connsiteY64" fmla="*/ 3448050 h 4429225"/>
              <a:gd name="connsiteX65" fmla="*/ 278152 w 4519987"/>
              <a:gd name="connsiteY65" fmla="*/ 3257550 h 4429225"/>
              <a:gd name="connsiteX66" fmla="*/ 249577 w 4519987"/>
              <a:gd name="connsiteY66" fmla="*/ 3200400 h 4429225"/>
              <a:gd name="connsiteX67" fmla="*/ 240052 w 4519987"/>
              <a:gd name="connsiteY67" fmla="*/ 3162300 h 4429225"/>
              <a:gd name="connsiteX68" fmla="*/ 221002 w 4519987"/>
              <a:gd name="connsiteY68" fmla="*/ 3105150 h 4429225"/>
              <a:gd name="connsiteX69" fmla="*/ 173377 w 4519987"/>
              <a:gd name="connsiteY69" fmla="*/ 3019425 h 4429225"/>
              <a:gd name="connsiteX70" fmla="*/ 144802 w 4519987"/>
              <a:gd name="connsiteY70" fmla="*/ 2924175 h 4429225"/>
              <a:gd name="connsiteX71" fmla="*/ 68602 w 4519987"/>
              <a:gd name="connsiteY71" fmla="*/ 2724150 h 4429225"/>
              <a:gd name="connsiteX72" fmla="*/ 49552 w 4519987"/>
              <a:gd name="connsiteY72" fmla="*/ 2638425 h 4429225"/>
              <a:gd name="connsiteX73" fmla="*/ 40027 w 4519987"/>
              <a:gd name="connsiteY73" fmla="*/ 2562225 h 4429225"/>
              <a:gd name="connsiteX74" fmla="*/ 30502 w 4519987"/>
              <a:gd name="connsiteY74" fmla="*/ 2514600 h 4429225"/>
              <a:gd name="connsiteX75" fmla="*/ 11452 w 4519987"/>
              <a:gd name="connsiteY75" fmla="*/ 2400300 h 4429225"/>
              <a:gd name="connsiteX76" fmla="*/ 20977 w 4519987"/>
              <a:gd name="connsiteY76" fmla="*/ 1905000 h 4429225"/>
              <a:gd name="connsiteX77" fmla="*/ 30502 w 4519987"/>
              <a:gd name="connsiteY77" fmla="*/ 1838325 h 4429225"/>
              <a:gd name="connsiteX78" fmla="*/ 49552 w 4519987"/>
              <a:gd name="connsiteY78" fmla="*/ 1781175 h 4429225"/>
              <a:gd name="connsiteX79" fmla="*/ 59077 w 4519987"/>
              <a:gd name="connsiteY79" fmla="*/ 1743075 h 4429225"/>
              <a:gd name="connsiteX80" fmla="*/ 78127 w 4519987"/>
              <a:gd name="connsiteY80" fmla="*/ 1685925 h 4429225"/>
              <a:gd name="connsiteX81" fmla="*/ 87652 w 4519987"/>
              <a:gd name="connsiteY81" fmla="*/ 1638300 h 4429225"/>
              <a:gd name="connsiteX82" fmla="*/ 106702 w 4519987"/>
              <a:gd name="connsiteY82" fmla="*/ 1590675 h 4429225"/>
              <a:gd name="connsiteX83" fmla="*/ 135277 w 4519987"/>
              <a:gd name="connsiteY83" fmla="*/ 1504950 h 4429225"/>
              <a:gd name="connsiteX84" fmla="*/ 154327 w 4519987"/>
              <a:gd name="connsiteY84" fmla="*/ 1419225 h 4429225"/>
              <a:gd name="connsiteX85" fmla="*/ 230527 w 4519987"/>
              <a:gd name="connsiteY85" fmla="*/ 1276350 h 4429225"/>
              <a:gd name="connsiteX86" fmla="*/ 240052 w 4519987"/>
              <a:gd name="connsiteY86" fmla="*/ 1247775 h 4429225"/>
              <a:gd name="connsiteX87" fmla="*/ 268627 w 4519987"/>
              <a:gd name="connsiteY87" fmla="*/ 1200150 h 4429225"/>
              <a:gd name="connsiteX88" fmla="*/ 287677 w 4519987"/>
              <a:gd name="connsiteY88" fmla="*/ 1152525 h 4429225"/>
              <a:gd name="connsiteX89" fmla="*/ 316252 w 4519987"/>
              <a:gd name="connsiteY89" fmla="*/ 1114425 h 4429225"/>
              <a:gd name="connsiteX90" fmla="*/ 363877 w 4519987"/>
              <a:gd name="connsiteY90" fmla="*/ 1038225 h 4429225"/>
              <a:gd name="connsiteX91" fmla="*/ 382927 w 4519987"/>
              <a:gd name="connsiteY91" fmla="*/ 1009650 h 4429225"/>
              <a:gd name="connsiteX92" fmla="*/ 440077 w 4519987"/>
              <a:gd name="connsiteY92" fmla="*/ 904875 h 4429225"/>
              <a:gd name="connsiteX93" fmla="*/ 478177 w 4519987"/>
              <a:gd name="connsiteY93" fmla="*/ 857250 h 4429225"/>
              <a:gd name="connsiteX94" fmla="*/ 497227 w 4519987"/>
              <a:gd name="connsiteY94" fmla="*/ 828675 h 4429225"/>
              <a:gd name="connsiteX95" fmla="*/ 535327 w 4519987"/>
              <a:gd name="connsiteY95" fmla="*/ 800100 h 4429225"/>
              <a:gd name="connsiteX96" fmla="*/ 602002 w 4519987"/>
              <a:gd name="connsiteY96" fmla="*/ 733425 h 4429225"/>
              <a:gd name="connsiteX97" fmla="*/ 668677 w 4519987"/>
              <a:gd name="connsiteY97" fmla="*/ 676275 h 4429225"/>
              <a:gd name="connsiteX98" fmla="*/ 697252 w 4519987"/>
              <a:gd name="connsiteY98" fmla="*/ 657225 h 4429225"/>
              <a:gd name="connsiteX99" fmla="*/ 840127 w 4519987"/>
              <a:gd name="connsiteY99" fmla="*/ 533400 h 4429225"/>
              <a:gd name="connsiteX100" fmla="*/ 887752 w 4519987"/>
              <a:gd name="connsiteY100" fmla="*/ 504825 h 4429225"/>
              <a:gd name="connsiteX101" fmla="*/ 1167152 w 4519987"/>
              <a:gd name="connsiteY101" fmla="*/ 311150 h 4429225"/>
              <a:gd name="connsiteX102" fmla="*/ 1268752 w 4519987"/>
              <a:gd name="connsiteY102" fmla="*/ 285750 h 4429225"/>
              <a:gd name="connsiteX103" fmla="*/ 1411627 w 4519987"/>
              <a:gd name="connsiteY103" fmla="*/ 190500 h 4429225"/>
              <a:gd name="connsiteX104" fmla="*/ 1449727 w 4519987"/>
              <a:gd name="connsiteY104" fmla="*/ 161925 h 4429225"/>
              <a:gd name="connsiteX105" fmla="*/ 1525927 w 4519987"/>
              <a:gd name="connsiteY105" fmla="*/ 152400 h 4429225"/>
              <a:gd name="connsiteX106" fmla="*/ 1583077 w 4519987"/>
              <a:gd name="connsiteY106" fmla="*/ 142875 h 4429225"/>
              <a:gd name="connsiteX107" fmla="*/ 1716427 w 4519987"/>
              <a:gd name="connsiteY107" fmla="*/ 123825 h 4429225"/>
              <a:gd name="connsiteX108" fmla="*/ 1811677 w 4519987"/>
              <a:gd name="connsiteY108" fmla="*/ 114300 h 4429225"/>
              <a:gd name="connsiteX109" fmla="*/ 1859302 w 4519987"/>
              <a:gd name="connsiteY109" fmla="*/ 104775 h 4429225"/>
              <a:gd name="connsiteX110" fmla="*/ 1916452 w 4519987"/>
              <a:gd name="connsiteY110" fmla="*/ 95250 h 4429225"/>
              <a:gd name="connsiteX111" fmla="*/ 2030752 w 4519987"/>
              <a:gd name="connsiteY111" fmla="*/ 66675 h 4429225"/>
              <a:gd name="connsiteX112" fmla="*/ 2097427 w 4519987"/>
              <a:gd name="connsiteY112" fmla="*/ 47625 h 4429225"/>
              <a:gd name="connsiteX113" fmla="*/ 2164102 w 4519987"/>
              <a:gd name="connsiteY113" fmla="*/ 38100 h 4429225"/>
              <a:gd name="connsiteX114" fmla="*/ 2392702 w 4519987"/>
              <a:gd name="connsiteY114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402102 w 4519987"/>
              <a:gd name="connsiteY46" fmla="*/ 4276725 h 4429225"/>
              <a:gd name="connsiteX47" fmla="*/ 1287802 w 4519987"/>
              <a:gd name="connsiteY47" fmla="*/ 4229100 h 4429225"/>
              <a:gd name="connsiteX48" fmla="*/ 1221127 w 4519987"/>
              <a:gd name="connsiteY48" fmla="*/ 4200525 h 4429225"/>
              <a:gd name="connsiteX49" fmla="*/ 1144927 w 4519987"/>
              <a:gd name="connsiteY49" fmla="*/ 4171950 h 4429225"/>
              <a:gd name="connsiteX50" fmla="*/ 1087777 w 4519987"/>
              <a:gd name="connsiteY50" fmla="*/ 4143375 h 4429225"/>
              <a:gd name="connsiteX51" fmla="*/ 1030627 w 4519987"/>
              <a:gd name="connsiteY51" fmla="*/ 4124325 h 4429225"/>
              <a:gd name="connsiteX52" fmla="*/ 925852 w 4519987"/>
              <a:gd name="connsiteY52" fmla="*/ 4067175 h 4429225"/>
              <a:gd name="connsiteX53" fmla="*/ 830602 w 4519987"/>
              <a:gd name="connsiteY53" fmla="*/ 3981450 h 4429225"/>
              <a:gd name="connsiteX54" fmla="*/ 763927 w 4519987"/>
              <a:gd name="connsiteY54" fmla="*/ 3914775 h 4429225"/>
              <a:gd name="connsiteX55" fmla="*/ 725827 w 4519987"/>
              <a:gd name="connsiteY55" fmla="*/ 3876675 h 4429225"/>
              <a:gd name="connsiteX56" fmla="*/ 697252 w 4519987"/>
              <a:gd name="connsiteY56" fmla="*/ 3838575 h 4429225"/>
              <a:gd name="connsiteX57" fmla="*/ 640102 w 4519987"/>
              <a:gd name="connsiteY57" fmla="*/ 3781425 h 4429225"/>
              <a:gd name="connsiteX58" fmla="*/ 611527 w 4519987"/>
              <a:gd name="connsiteY58" fmla="*/ 3733800 h 4429225"/>
              <a:gd name="connsiteX59" fmla="*/ 554377 w 4519987"/>
              <a:gd name="connsiteY59" fmla="*/ 3657600 h 4429225"/>
              <a:gd name="connsiteX60" fmla="*/ 525802 w 4519987"/>
              <a:gd name="connsiteY60" fmla="*/ 3609975 h 4429225"/>
              <a:gd name="connsiteX61" fmla="*/ 497227 w 4519987"/>
              <a:gd name="connsiteY61" fmla="*/ 3552825 h 4429225"/>
              <a:gd name="connsiteX62" fmla="*/ 440077 w 4519987"/>
              <a:gd name="connsiteY62" fmla="*/ 3495675 h 4429225"/>
              <a:gd name="connsiteX63" fmla="*/ 411502 w 4519987"/>
              <a:gd name="connsiteY63" fmla="*/ 3448050 h 4429225"/>
              <a:gd name="connsiteX64" fmla="*/ 278152 w 4519987"/>
              <a:gd name="connsiteY64" fmla="*/ 3257550 h 4429225"/>
              <a:gd name="connsiteX65" fmla="*/ 249577 w 4519987"/>
              <a:gd name="connsiteY65" fmla="*/ 3200400 h 4429225"/>
              <a:gd name="connsiteX66" fmla="*/ 240052 w 4519987"/>
              <a:gd name="connsiteY66" fmla="*/ 3162300 h 4429225"/>
              <a:gd name="connsiteX67" fmla="*/ 221002 w 4519987"/>
              <a:gd name="connsiteY67" fmla="*/ 3105150 h 4429225"/>
              <a:gd name="connsiteX68" fmla="*/ 173377 w 4519987"/>
              <a:gd name="connsiteY68" fmla="*/ 3019425 h 4429225"/>
              <a:gd name="connsiteX69" fmla="*/ 144802 w 4519987"/>
              <a:gd name="connsiteY69" fmla="*/ 2924175 h 4429225"/>
              <a:gd name="connsiteX70" fmla="*/ 68602 w 4519987"/>
              <a:gd name="connsiteY70" fmla="*/ 2724150 h 4429225"/>
              <a:gd name="connsiteX71" fmla="*/ 49552 w 4519987"/>
              <a:gd name="connsiteY71" fmla="*/ 2638425 h 4429225"/>
              <a:gd name="connsiteX72" fmla="*/ 40027 w 4519987"/>
              <a:gd name="connsiteY72" fmla="*/ 2562225 h 4429225"/>
              <a:gd name="connsiteX73" fmla="*/ 30502 w 4519987"/>
              <a:gd name="connsiteY73" fmla="*/ 2514600 h 4429225"/>
              <a:gd name="connsiteX74" fmla="*/ 11452 w 4519987"/>
              <a:gd name="connsiteY74" fmla="*/ 2400300 h 4429225"/>
              <a:gd name="connsiteX75" fmla="*/ 20977 w 4519987"/>
              <a:gd name="connsiteY75" fmla="*/ 1905000 h 4429225"/>
              <a:gd name="connsiteX76" fmla="*/ 30502 w 4519987"/>
              <a:gd name="connsiteY76" fmla="*/ 1838325 h 4429225"/>
              <a:gd name="connsiteX77" fmla="*/ 49552 w 4519987"/>
              <a:gd name="connsiteY77" fmla="*/ 1781175 h 4429225"/>
              <a:gd name="connsiteX78" fmla="*/ 59077 w 4519987"/>
              <a:gd name="connsiteY78" fmla="*/ 1743075 h 4429225"/>
              <a:gd name="connsiteX79" fmla="*/ 78127 w 4519987"/>
              <a:gd name="connsiteY79" fmla="*/ 1685925 h 4429225"/>
              <a:gd name="connsiteX80" fmla="*/ 87652 w 4519987"/>
              <a:gd name="connsiteY80" fmla="*/ 1638300 h 4429225"/>
              <a:gd name="connsiteX81" fmla="*/ 106702 w 4519987"/>
              <a:gd name="connsiteY81" fmla="*/ 1590675 h 4429225"/>
              <a:gd name="connsiteX82" fmla="*/ 135277 w 4519987"/>
              <a:gd name="connsiteY82" fmla="*/ 1504950 h 4429225"/>
              <a:gd name="connsiteX83" fmla="*/ 154327 w 4519987"/>
              <a:gd name="connsiteY83" fmla="*/ 1419225 h 4429225"/>
              <a:gd name="connsiteX84" fmla="*/ 230527 w 4519987"/>
              <a:gd name="connsiteY84" fmla="*/ 1276350 h 4429225"/>
              <a:gd name="connsiteX85" fmla="*/ 240052 w 4519987"/>
              <a:gd name="connsiteY85" fmla="*/ 1247775 h 4429225"/>
              <a:gd name="connsiteX86" fmla="*/ 268627 w 4519987"/>
              <a:gd name="connsiteY86" fmla="*/ 1200150 h 4429225"/>
              <a:gd name="connsiteX87" fmla="*/ 287677 w 4519987"/>
              <a:gd name="connsiteY87" fmla="*/ 1152525 h 4429225"/>
              <a:gd name="connsiteX88" fmla="*/ 316252 w 4519987"/>
              <a:gd name="connsiteY88" fmla="*/ 1114425 h 4429225"/>
              <a:gd name="connsiteX89" fmla="*/ 363877 w 4519987"/>
              <a:gd name="connsiteY89" fmla="*/ 1038225 h 4429225"/>
              <a:gd name="connsiteX90" fmla="*/ 382927 w 4519987"/>
              <a:gd name="connsiteY90" fmla="*/ 1009650 h 4429225"/>
              <a:gd name="connsiteX91" fmla="*/ 440077 w 4519987"/>
              <a:gd name="connsiteY91" fmla="*/ 904875 h 4429225"/>
              <a:gd name="connsiteX92" fmla="*/ 478177 w 4519987"/>
              <a:gd name="connsiteY92" fmla="*/ 857250 h 4429225"/>
              <a:gd name="connsiteX93" fmla="*/ 497227 w 4519987"/>
              <a:gd name="connsiteY93" fmla="*/ 828675 h 4429225"/>
              <a:gd name="connsiteX94" fmla="*/ 535327 w 4519987"/>
              <a:gd name="connsiteY94" fmla="*/ 800100 h 4429225"/>
              <a:gd name="connsiteX95" fmla="*/ 602002 w 4519987"/>
              <a:gd name="connsiteY95" fmla="*/ 733425 h 4429225"/>
              <a:gd name="connsiteX96" fmla="*/ 668677 w 4519987"/>
              <a:gd name="connsiteY96" fmla="*/ 676275 h 4429225"/>
              <a:gd name="connsiteX97" fmla="*/ 697252 w 4519987"/>
              <a:gd name="connsiteY97" fmla="*/ 657225 h 4429225"/>
              <a:gd name="connsiteX98" fmla="*/ 840127 w 4519987"/>
              <a:gd name="connsiteY98" fmla="*/ 533400 h 4429225"/>
              <a:gd name="connsiteX99" fmla="*/ 887752 w 4519987"/>
              <a:gd name="connsiteY99" fmla="*/ 504825 h 4429225"/>
              <a:gd name="connsiteX100" fmla="*/ 1167152 w 4519987"/>
              <a:gd name="connsiteY100" fmla="*/ 311150 h 4429225"/>
              <a:gd name="connsiteX101" fmla="*/ 1268752 w 4519987"/>
              <a:gd name="connsiteY101" fmla="*/ 285750 h 4429225"/>
              <a:gd name="connsiteX102" fmla="*/ 1411627 w 4519987"/>
              <a:gd name="connsiteY102" fmla="*/ 190500 h 4429225"/>
              <a:gd name="connsiteX103" fmla="*/ 1449727 w 4519987"/>
              <a:gd name="connsiteY103" fmla="*/ 161925 h 4429225"/>
              <a:gd name="connsiteX104" fmla="*/ 1525927 w 4519987"/>
              <a:gd name="connsiteY104" fmla="*/ 152400 h 4429225"/>
              <a:gd name="connsiteX105" fmla="*/ 1583077 w 4519987"/>
              <a:gd name="connsiteY105" fmla="*/ 142875 h 4429225"/>
              <a:gd name="connsiteX106" fmla="*/ 1716427 w 4519987"/>
              <a:gd name="connsiteY106" fmla="*/ 123825 h 4429225"/>
              <a:gd name="connsiteX107" fmla="*/ 1811677 w 4519987"/>
              <a:gd name="connsiteY107" fmla="*/ 114300 h 4429225"/>
              <a:gd name="connsiteX108" fmla="*/ 1859302 w 4519987"/>
              <a:gd name="connsiteY108" fmla="*/ 104775 h 4429225"/>
              <a:gd name="connsiteX109" fmla="*/ 1916452 w 4519987"/>
              <a:gd name="connsiteY109" fmla="*/ 95250 h 4429225"/>
              <a:gd name="connsiteX110" fmla="*/ 2030752 w 4519987"/>
              <a:gd name="connsiteY110" fmla="*/ 66675 h 4429225"/>
              <a:gd name="connsiteX111" fmla="*/ 2097427 w 4519987"/>
              <a:gd name="connsiteY111" fmla="*/ 47625 h 4429225"/>
              <a:gd name="connsiteX112" fmla="*/ 2164102 w 4519987"/>
              <a:gd name="connsiteY112" fmla="*/ 38100 h 4429225"/>
              <a:gd name="connsiteX113" fmla="*/ 2392702 w 4519987"/>
              <a:gd name="connsiteY113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221127 w 4519987"/>
              <a:gd name="connsiteY47" fmla="*/ 4200525 h 4429225"/>
              <a:gd name="connsiteX48" fmla="*/ 1144927 w 4519987"/>
              <a:gd name="connsiteY48" fmla="*/ 4171950 h 4429225"/>
              <a:gd name="connsiteX49" fmla="*/ 1087777 w 4519987"/>
              <a:gd name="connsiteY49" fmla="*/ 4143375 h 4429225"/>
              <a:gd name="connsiteX50" fmla="*/ 1030627 w 4519987"/>
              <a:gd name="connsiteY50" fmla="*/ 4124325 h 4429225"/>
              <a:gd name="connsiteX51" fmla="*/ 925852 w 4519987"/>
              <a:gd name="connsiteY51" fmla="*/ 4067175 h 4429225"/>
              <a:gd name="connsiteX52" fmla="*/ 830602 w 4519987"/>
              <a:gd name="connsiteY52" fmla="*/ 3981450 h 4429225"/>
              <a:gd name="connsiteX53" fmla="*/ 763927 w 4519987"/>
              <a:gd name="connsiteY53" fmla="*/ 3914775 h 4429225"/>
              <a:gd name="connsiteX54" fmla="*/ 725827 w 4519987"/>
              <a:gd name="connsiteY54" fmla="*/ 3876675 h 4429225"/>
              <a:gd name="connsiteX55" fmla="*/ 697252 w 4519987"/>
              <a:gd name="connsiteY55" fmla="*/ 3838575 h 4429225"/>
              <a:gd name="connsiteX56" fmla="*/ 640102 w 4519987"/>
              <a:gd name="connsiteY56" fmla="*/ 3781425 h 4429225"/>
              <a:gd name="connsiteX57" fmla="*/ 611527 w 4519987"/>
              <a:gd name="connsiteY57" fmla="*/ 3733800 h 4429225"/>
              <a:gd name="connsiteX58" fmla="*/ 554377 w 4519987"/>
              <a:gd name="connsiteY58" fmla="*/ 3657600 h 4429225"/>
              <a:gd name="connsiteX59" fmla="*/ 525802 w 4519987"/>
              <a:gd name="connsiteY59" fmla="*/ 3609975 h 4429225"/>
              <a:gd name="connsiteX60" fmla="*/ 497227 w 4519987"/>
              <a:gd name="connsiteY60" fmla="*/ 3552825 h 4429225"/>
              <a:gd name="connsiteX61" fmla="*/ 440077 w 4519987"/>
              <a:gd name="connsiteY61" fmla="*/ 3495675 h 4429225"/>
              <a:gd name="connsiteX62" fmla="*/ 411502 w 4519987"/>
              <a:gd name="connsiteY62" fmla="*/ 3448050 h 4429225"/>
              <a:gd name="connsiteX63" fmla="*/ 278152 w 4519987"/>
              <a:gd name="connsiteY63" fmla="*/ 3257550 h 4429225"/>
              <a:gd name="connsiteX64" fmla="*/ 249577 w 4519987"/>
              <a:gd name="connsiteY64" fmla="*/ 3200400 h 4429225"/>
              <a:gd name="connsiteX65" fmla="*/ 240052 w 4519987"/>
              <a:gd name="connsiteY65" fmla="*/ 3162300 h 4429225"/>
              <a:gd name="connsiteX66" fmla="*/ 221002 w 4519987"/>
              <a:gd name="connsiteY66" fmla="*/ 3105150 h 4429225"/>
              <a:gd name="connsiteX67" fmla="*/ 173377 w 4519987"/>
              <a:gd name="connsiteY67" fmla="*/ 3019425 h 4429225"/>
              <a:gd name="connsiteX68" fmla="*/ 144802 w 4519987"/>
              <a:gd name="connsiteY68" fmla="*/ 2924175 h 4429225"/>
              <a:gd name="connsiteX69" fmla="*/ 68602 w 4519987"/>
              <a:gd name="connsiteY69" fmla="*/ 2724150 h 4429225"/>
              <a:gd name="connsiteX70" fmla="*/ 49552 w 4519987"/>
              <a:gd name="connsiteY70" fmla="*/ 2638425 h 4429225"/>
              <a:gd name="connsiteX71" fmla="*/ 40027 w 4519987"/>
              <a:gd name="connsiteY71" fmla="*/ 2562225 h 4429225"/>
              <a:gd name="connsiteX72" fmla="*/ 30502 w 4519987"/>
              <a:gd name="connsiteY72" fmla="*/ 2514600 h 4429225"/>
              <a:gd name="connsiteX73" fmla="*/ 11452 w 4519987"/>
              <a:gd name="connsiteY73" fmla="*/ 2400300 h 4429225"/>
              <a:gd name="connsiteX74" fmla="*/ 20977 w 4519987"/>
              <a:gd name="connsiteY74" fmla="*/ 1905000 h 4429225"/>
              <a:gd name="connsiteX75" fmla="*/ 30502 w 4519987"/>
              <a:gd name="connsiteY75" fmla="*/ 1838325 h 4429225"/>
              <a:gd name="connsiteX76" fmla="*/ 49552 w 4519987"/>
              <a:gd name="connsiteY76" fmla="*/ 1781175 h 4429225"/>
              <a:gd name="connsiteX77" fmla="*/ 59077 w 4519987"/>
              <a:gd name="connsiteY77" fmla="*/ 1743075 h 4429225"/>
              <a:gd name="connsiteX78" fmla="*/ 78127 w 4519987"/>
              <a:gd name="connsiteY78" fmla="*/ 1685925 h 4429225"/>
              <a:gd name="connsiteX79" fmla="*/ 87652 w 4519987"/>
              <a:gd name="connsiteY79" fmla="*/ 1638300 h 4429225"/>
              <a:gd name="connsiteX80" fmla="*/ 106702 w 4519987"/>
              <a:gd name="connsiteY80" fmla="*/ 1590675 h 4429225"/>
              <a:gd name="connsiteX81" fmla="*/ 135277 w 4519987"/>
              <a:gd name="connsiteY81" fmla="*/ 1504950 h 4429225"/>
              <a:gd name="connsiteX82" fmla="*/ 154327 w 4519987"/>
              <a:gd name="connsiteY82" fmla="*/ 1419225 h 4429225"/>
              <a:gd name="connsiteX83" fmla="*/ 230527 w 4519987"/>
              <a:gd name="connsiteY83" fmla="*/ 1276350 h 4429225"/>
              <a:gd name="connsiteX84" fmla="*/ 240052 w 4519987"/>
              <a:gd name="connsiteY84" fmla="*/ 1247775 h 4429225"/>
              <a:gd name="connsiteX85" fmla="*/ 268627 w 4519987"/>
              <a:gd name="connsiteY85" fmla="*/ 1200150 h 4429225"/>
              <a:gd name="connsiteX86" fmla="*/ 287677 w 4519987"/>
              <a:gd name="connsiteY86" fmla="*/ 1152525 h 4429225"/>
              <a:gd name="connsiteX87" fmla="*/ 316252 w 4519987"/>
              <a:gd name="connsiteY87" fmla="*/ 1114425 h 4429225"/>
              <a:gd name="connsiteX88" fmla="*/ 363877 w 4519987"/>
              <a:gd name="connsiteY88" fmla="*/ 1038225 h 4429225"/>
              <a:gd name="connsiteX89" fmla="*/ 382927 w 4519987"/>
              <a:gd name="connsiteY89" fmla="*/ 1009650 h 4429225"/>
              <a:gd name="connsiteX90" fmla="*/ 440077 w 4519987"/>
              <a:gd name="connsiteY90" fmla="*/ 904875 h 4429225"/>
              <a:gd name="connsiteX91" fmla="*/ 478177 w 4519987"/>
              <a:gd name="connsiteY91" fmla="*/ 857250 h 4429225"/>
              <a:gd name="connsiteX92" fmla="*/ 497227 w 4519987"/>
              <a:gd name="connsiteY92" fmla="*/ 828675 h 4429225"/>
              <a:gd name="connsiteX93" fmla="*/ 535327 w 4519987"/>
              <a:gd name="connsiteY93" fmla="*/ 800100 h 4429225"/>
              <a:gd name="connsiteX94" fmla="*/ 602002 w 4519987"/>
              <a:gd name="connsiteY94" fmla="*/ 733425 h 4429225"/>
              <a:gd name="connsiteX95" fmla="*/ 668677 w 4519987"/>
              <a:gd name="connsiteY95" fmla="*/ 676275 h 4429225"/>
              <a:gd name="connsiteX96" fmla="*/ 697252 w 4519987"/>
              <a:gd name="connsiteY96" fmla="*/ 657225 h 4429225"/>
              <a:gd name="connsiteX97" fmla="*/ 840127 w 4519987"/>
              <a:gd name="connsiteY97" fmla="*/ 533400 h 4429225"/>
              <a:gd name="connsiteX98" fmla="*/ 887752 w 4519987"/>
              <a:gd name="connsiteY98" fmla="*/ 504825 h 4429225"/>
              <a:gd name="connsiteX99" fmla="*/ 1167152 w 4519987"/>
              <a:gd name="connsiteY99" fmla="*/ 311150 h 4429225"/>
              <a:gd name="connsiteX100" fmla="*/ 1268752 w 4519987"/>
              <a:gd name="connsiteY100" fmla="*/ 285750 h 4429225"/>
              <a:gd name="connsiteX101" fmla="*/ 1411627 w 4519987"/>
              <a:gd name="connsiteY101" fmla="*/ 190500 h 4429225"/>
              <a:gd name="connsiteX102" fmla="*/ 1449727 w 4519987"/>
              <a:gd name="connsiteY102" fmla="*/ 161925 h 4429225"/>
              <a:gd name="connsiteX103" fmla="*/ 1525927 w 4519987"/>
              <a:gd name="connsiteY103" fmla="*/ 152400 h 4429225"/>
              <a:gd name="connsiteX104" fmla="*/ 1583077 w 4519987"/>
              <a:gd name="connsiteY104" fmla="*/ 142875 h 4429225"/>
              <a:gd name="connsiteX105" fmla="*/ 1716427 w 4519987"/>
              <a:gd name="connsiteY105" fmla="*/ 123825 h 4429225"/>
              <a:gd name="connsiteX106" fmla="*/ 1811677 w 4519987"/>
              <a:gd name="connsiteY106" fmla="*/ 114300 h 4429225"/>
              <a:gd name="connsiteX107" fmla="*/ 1859302 w 4519987"/>
              <a:gd name="connsiteY107" fmla="*/ 104775 h 4429225"/>
              <a:gd name="connsiteX108" fmla="*/ 1916452 w 4519987"/>
              <a:gd name="connsiteY108" fmla="*/ 95250 h 4429225"/>
              <a:gd name="connsiteX109" fmla="*/ 2030752 w 4519987"/>
              <a:gd name="connsiteY109" fmla="*/ 66675 h 4429225"/>
              <a:gd name="connsiteX110" fmla="*/ 2097427 w 4519987"/>
              <a:gd name="connsiteY110" fmla="*/ 47625 h 4429225"/>
              <a:gd name="connsiteX111" fmla="*/ 2164102 w 4519987"/>
              <a:gd name="connsiteY111" fmla="*/ 38100 h 4429225"/>
              <a:gd name="connsiteX112" fmla="*/ 2392702 w 4519987"/>
              <a:gd name="connsiteY112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221127 w 4519987"/>
              <a:gd name="connsiteY47" fmla="*/ 4200525 h 4429225"/>
              <a:gd name="connsiteX48" fmla="*/ 1087777 w 4519987"/>
              <a:gd name="connsiteY48" fmla="*/ 4143375 h 4429225"/>
              <a:gd name="connsiteX49" fmla="*/ 1030627 w 4519987"/>
              <a:gd name="connsiteY49" fmla="*/ 4124325 h 4429225"/>
              <a:gd name="connsiteX50" fmla="*/ 925852 w 4519987"/>
              <a:gd name="connsiteY50" fmla="*/ 4067175 h 4429225"/>
              <a:gd name="connsiteX51" fmla="*/ 830602 w 4519987"/>
              <a:gd name="connsiteY51" fmla="*/ 3981450 h 4429225"/>
              <a:gd name="connsiteX52" fmla="*/ 763927 w 4519987"/>
              <a:gd name="connsiteY52" fmla="*/ 3914775 h 4429225"/>
              <a:gd name="connsiteX53" fmla="*/ 725827 w 4519987"/>
              <a:gd name="connsiteY53" fmla="*/ 3876675 h 4429225"/>
              <a:gd name="connsiteX54" fmla="*/ 697252 w 4519987"/>
              <a:gd name="connsiteY54" fmla="*/ 3838575 h 4429225"/>
              <a:gd name="connsiteX55" fmla="*/ 640102 w 4519987"/>
              <a:gd name="connsiteY55" fmla="*/ 3781425 h 4429225"/>
              <a:gd name="connsiteX56" fmla="*/ 611527 w 4519987"/>
              <a:gd name="connsiteY56" fmla="*/ 3733800 h 4429225"/>
              <a:gd name="connsiteX57" fmla="*/ 554377 w 4519987"/>
              <a:gd name="connsiteY57" fmla="*/ 3657600 h 4429225"/>
              <a:gd name="connsiteX58" fmla="*/ 525802 w 4519987"/>
              <a:gd name="connsiteY58" fmla="*/ 3609975 h 4429225"/>
              <a:gd name="connsiteX59" fmla="*/ 497227 w 4519987"/>
              <a:gd name="connsiteY59" fmla="*/ 3552825 h 4429225"/>
              <a:gd name="connsiteX60" fmla="*/ 440077 w 4519987"/>
              <a:gd name="connsiteY60" fmla="*/ 3495675 h 4429225"/>
              <a:gd name="connsiteX61" fmla="*/ 411502 w 4519987"/>
              <a:gd name="connsiteY61" fmla="*/ 3448050 h 4429225"/>
              <a:gd name="connsiteX62" fmla="*/ 278152 w 4519987"/>
              <a:gd name="connsiteY62" fmla="*/ 3257550 h 4429225"/>
              <a:gd name="connsiteX63" fmla="*/ 249577 w 4519987"/>
              <a:gd name="connsiteY63" fmla="*/ 3200400 h 4429225"/>
              <a:gd name="connsiteX64" fmla="*/ 240052 w 4519987"/>
              <a:gd name="connsiteY64" fmla="*/ 3162300 h 4429225"/>
              <a:gd name="connsiteX65" fmla="*/ 221002 w 4519987"/>
              <a:gd name="connsiteY65" fmla="*/ 3105150 h 4429225"/>
              <a:gd name="connsiteX66" fmla="*/ 173377 w 4519987"/>
              <a:gd name="connsiteY66" fmla="*/ 3019425 h 4429225"/>
              <a:gd name="connsiteX67" fmla="*/ 144802 w 4519987"/>
              <a:gd name="connsiteY67" fmla="*/ 2924175 h 4429225"/>
              <a:gd name="connsiteX68" fmla="*/ 68602 w 4519987"/>
              <a:gd name="connsiteY68" fmla="*/ 2724150 h 4429225"/>
              <a:gd name="connsiteX69" fmla="*/ 49552 w 4519987"/>
              <a:gd name="connsiteY69" fmla="*/ 2638425 h 4429225"/>
              <a:gd name="connsiteX70" fmla="*/ 40027 w 4519987"/>
              <a:gd name="connsiteY70" fmla="*/ 2562225 h 4429225"/>
              <a:gd name="connsiteX71" fmla="*/ 30502 w 4519987"/>
              <a:gd name="connsiteY71" fmla="*/ 2514600 h 4429225"/>
              <a:gd name="connsiteX72" fmla="*/ 11452 w 4519987"/>
              <a:gd name="connsiteY72" fmla="*/ 2400300 h 4429225"/>
              <a:gd name="connsiteX73" fmla="*/ 20977 w 4519987"/>
              <a:gd name="connsiteY73" fmla="*/ 1905000 h 4429225"/>
              <a:gd name="connsiteX74" fmla="*/ 30502 w 4519987"/>
              <a:gd name="connsiteY74" fmla="*/ 1838325 h 4429225"/>
              <a:gd name="connsiteX75" fmla="*/ 49552 w 4519987"/>
              <a:gd name="connsiteY75" fmla="*/ 1781175 h 4429225"/>
              <a:gd name="connsiteX76" fmla="*/ 59077 w 4519987"/>
              <a:gd name="connsiteY76" fmla="*/ 1743075 h 4429225"/>
              <a:gd name="connsiteX77" fmla="*/ 78127 w 4519987"/>
              <a:gd name="connsiteY77" fmla="*/ 1685925 h 4429225"/>
              <a:gd name="connsiteX78" fmla="*/ 87652 w 4519987"/>
              <a:gd name="connsiteY78" fmla="*/ 1638300 h 4429225"/>
              <a:gd name="connsiteX79" fmla="*/ 106702 w 4519987"/>
              <a:gd name="connsiteY79" fmla="*/ 1590675 h 4429225"/>
              <a:gd name="connsiteX80" fmla="*/ 135277 w 4519987"/>
              <a:gd name="connsiteY80" fmla="*/ 1504950 h 4429225"/>
              <a:gd name="connsiteX81" fmla="*/ 154327 w 4519987"/>
              <a:gd name="connsiteY81" fmla="*/ 1419225 h 4429225"/>
              <a:gd name="connsiteX82" fmla="*/ 230527 w 4519987"/>
              <a:gd name="connsiteY82" fmla="*/ 1276350 h 4429225"/>
              <a:gd name="connsiteX83" fmla="*/ 240052 w 4519987"/>
              <a:gd name="connsiteY83" fmla="*/ 1247775 h 4429225"/>
              <a:gd name="connsiteX84" fmla="*/ 268627 w 4519987"/>
              <a:gd name="connsiteY84" fmla="*/ 1200150 h 4429225"/>
              <a:gd name="connsiteX85" fmla="*/ 287677 w 4519987"/>
              <a:gd name="connsiteY85" fmla="*/ 1152525 h 4429225"/>
              <a:gd name="connsiteX86" fmla="*/ 316252 w 4519987"/>
              <a:gd name="connsiteY86" fmla="*/ 1114425 h 4429225"/>
              <a:gd name="connsiteX87" fmla="*/ 363877 w 4519987"/>
              <a:gd name="connsiteY87" fmla="*/ 1038225 h 4429225"/>
              <a:gd name="connsiteX88" fmla="*/ 382927 w 4519987"/>
              <a:gd name="connsiteY88" fmla="*/ 1009650 h 4429225"/>
              <a:gd name="connsiteX89" fmla="*/ 440077 w 4519987"/>
              <a:gd name="connsiteY89" fmla="*/ 904875 h 4429225"/>
              <a:gd name="connsiteX90" fmla="*/ 478177 w 4519987"/>
              <a:gd name="connsiteY90" fmla="*/ 857250 h 4429225"/>
              <a:gd name="connsiteX91" fmla="*/ 497227 w 4519987"/>
              <a:gd name="connsiteY91" fmla="*/ 828675 h 4429225"/>
              <a:gd name="connsiteX92" fmla="*/ 535327 w 4519987"/>
              <a:gd name="connsiteY92" fmla="*/ 800100 h 4429225"/>
              <a:gd name="connsiteX93" fmla="*/ 602002 w 4519987"/>
              <a:gd name="connsiteY93" fmla="*/ 733425 h 4429225"/>
              <a:gd name="connsiteX94" fmla="*/ 668677 w 4519987"/>
              <a:gd name="connsiteY94" fmla="*/ 676275 h 4429225"/>
              <a:gd name="connsiteX95" fmla="*/ 697252 w 4519987"/>
              <a:gd name="connsiteY95" fmla="*/ 657225 h 4429225"/>
              <a:gd name="connsiteX96" fmla="*/ 840127 w 4519987"/>
              <a:gd name="connsiteY96" fmla="*/ 533400 h 4429225"/>
              <a:gd name="connsiteX97" fmla="*/ 887752 w 4519987"/>
              <a:gd name="connsiteY97" fmla="*/ 504825 h 4429225"/>
              <a:gd name="connsiteX98" fmla="*/ 1167152 w 4519987"/>
              <a:gd name="connsiteY98" fmla="*/ 311150 h 4429225"/>
              <a:gd name="connsiteX99" fmla="*/ 1268752 w 4519987"/>
              <a:gd name="connsiteY99" fmla="*/ 285750 h 4429225"/>
              <a:gd name="connsiteX100" fmla="*/ 1411627 w 4519987"/>
              <a:gd name="connsiteY100" fmla="*/ 190500 h 4429225"/>
              <a:gd name="connsiteX101" fmla="*/ 1449727 w 4519987"/>
              <a:gd name="connsiteY101" fmla="*/ 161925 h 4429225"/>
              <a:gd name="connsiteX102" fmla="*/ 1525927 w 4519987"/>
              <a:gd name="connsiteY102" fmla="*/ 152400 h 4429225"/>
              <a:gd name="connsiteX103" fmla="*/ 1583077 w 4519987"/>
              <a:gd name="connsiteY103" fmla="*/ 142875 h 4429225"/>
              <a:gd name="connsiteX104" fmla="*/ 1716427 w 4519987"/>
              <a:gd name="connsiteY104" fmla="*/ 123825 h 4429225"/>
              <a:gd name="connsiteX105" fmla="*/ 1811677 w 4519987"/>
              <a:gd name="connsiteY105" fmla="*/ 114300 h 4429225"/>
              <a:gd name="connsiteX106" fmla="*/ 1859302 w 4519987"/>
              <a:gd name="connsiteY106" fmla="*/ 104775 h 4429225"/>
              <a:gd name="connsiteX107" fmla="*/ 1916452 w 4519987"/>
              <a:gd name="connsiteY107" fmla="*/ 95250 h 4429225"/>
              <a:gd name="connsiteX108" fmla="*/ 2030752 w 4519987"/>
              <a:gd name="connsiteY108" fmla="*/ 66675 h 4429225"/>
              <a:gd name="connsiteX109" fmla="*/ 2097427 w 4519987"/>
              <a:gd name="connsiteY109" fmla="*/ 47625 h 4429225"/>
              <a:gd name="connsiteX110" fmla="*/ 2164102 w 4519987"/>
              <a:gd name="connsiteY110" fmla="*/ 38100 h 4429225"/>
              <a:gd name="connsiteX111" fmla="*/ 2392702 w 4519987"/>
              <a:gd name="connsiteY111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1030627 w 4519987"/>
              <a:gd name="connsiteY48" fmla="*/ 4124325 h 4429225"/>
              <a:gd name="connsiteX49" fmla="*/ 925852 w 4519987"/>
              <a:gd name="connsiteY49" fmla="*/ 4067175 h 4429225"/>
              <a:gd name="connsiteX50" fmla="*/ 830602 w 4519987"/>
              <a:gd name="connsiteY50" fmla="*/ 3981450 h 4429225"/>
              <a:gd name="connsiteX51" fmla="*/ 763927 w 4519987"/>
              <a:gd name="connsiteY51" fmla="*/ 3914775 h 4429225"/>
              <a:gd name="connsiteX52" fmla="*/ 725827 w 4519987"/>
              <a:gd name="connsiteY52" fmla="*/ 3876675 h 4429225"/>
              <a:gd name="connsiteX53" fmla="*/ 697252 w 4519987"/>
              <a:gd name="connsiteY53" fmla="*/ 3838575 h 4429225"/>
              <a:gd name="connsiteX54" fmla="*/ 640102 w 4519987"/>
              <a:gd name="connsiteY54" fmla="*/ 3781425 h 4429225"/>
              <a:gd name="connsiteX55" fmla="*/ 611527 w 4519987"/>
              <a:gd name="connsiteY55" fmla="*/ 3733800 h 4429225"/>
              <a:gd name="connsiteX56" fmla="*/ 554377 w 4519987"/>
              <a:gd name="connsiteY56" fmla="*/ 3657600 h 4429225"/>
              <a:gd name="connsiteX57" fmla="*/ 525802 w 4519987"/>
              <a:gd name="connsiteY57" fmla="*/ 3609975 h 4429225"/>
              <a:gd name="connsiteX58" fmla="*/ 497227 w 4519987"/>
              <a:gd name="connsiteY58" fmla="*/ 3552825 h 4429225"/>
              <a:gd name="connsiteX59" fmla="*/ 440077 w 4519987"/>
              <a:gd name="connsiteY59" fmla="*/ 3495675 h 4429225"/>
              <a:gd name="connsiteX60" fmla="*/ 411502 w 4519987"/>
              <a:gd name="connsiteY60" fmla="*/ 3448050 h 4429225"/>
              <a:gd name="connsiteX61" fmla="*/ 278152 w 4519987"/>
              <a:gd name="connsiteY61" fmla="*/ 3257550 h 4429225"/>
              <a:gd name="connsiteX62" fmla="*/ 249577 w 4519987"/>
              <a:gd name="connsiteY62" fmla="*/ 3200400 h 4429225"/>
              <a:gd name="connsiteX63" fmla="*/ 240052 w 4519987"/>
              <a:gd name="connsiteY63" fmla="*/ 3162300 h 4429225"/>
              <a:gd name="connsiteX64" fmla="*/ 221002 w 4519987"/>
              <a:gd name="connsiteY64" fmla="*/ 3105150 h 4429225"/>
              <a:gd name="connsiteX65" fmla="*/ 173377 w 4519987"/>
              <a:gd name="connsiteY65" fmla="*/ 3019425 h 4429225"/>
              <a:gd name="connsiteX66" fmla="*/ 144802 w 4519987"/>
              <a:gd name="connsiteY66" fmla="*/ 2924175 h 4429225"/>
              <a:gd name="connsiteX67" fmla="*/ 68602 w 4519987"/>
              <a:gd name="connsiteY67" fmla="*/ 2724150 h 4429225"/>
              <a:gd name="connsiteX68" fmla="*/ 49552 w 4519987"/>
              <a:gd name="connsiteY68" fmla="*/ 2638425 h 4429225"/>
              <a:gd name="connsiteX69" fmla="*/ 40027 w 4519987"/>
              <a:gd name="connsiteY69" fmla="*/ 2562225 h 4429225"/>
              <a:gd name="connsiteX70" fmla="*/ 30502 w 4519987"/>
              <a:gd name="connsiteY70" fmla="*/ 2514600 h 4429225"/>
              <a:gd name="connsiteX71" fmla="*/ 11452 w 4519987"/>
              <a:gd name="connsiteY71" fmla="*/ 2400300 h 4429225"/>
              <a:gd name="connsiteX72" fmla="*/ 20977 w 4519987"/>
              <a:gd name="connsiteY72" fmla="*/ 1905000 h 4429225"/>
              <a:gd name="connsiteX73" fmla="*/ 30502 w 4519987"/>
              <a:gd name="connsiteY73" fmla="*/ 1838325 h 4429225"/>
              <a:gd name="connsiteX74" fmla="*/ 49552 w 4519987"/>
              <a:gd name="connsiteY74" fmla="*/ 1781175 h 4429225"/>
              <a:gd name="connsiteX75" fmla="*/ 59077 w 4519987"/>
              <a:gd name="connsiteY75" fmla="*/ 1743075 h 4429225"/>
              <a:gd name="connsiteX76" fmla="*/ 78127 w 4519987"/>
              <a:gd name="connsiteY76" fmla="*/ 1685925 h 4429225"/>
              <a:gd name="connsiteX77" fmla="*/ 87652 w 4519987"/>
              <a:gd name="connsiteY77" fmla="*/ 1638300 h 4429225"/>
              <a:gd name="connsiteX78" fmla="*/ 106702 w 4519987"/>
              <a:gd name="connsiteY78" fmla="*/ 1590675 h 4429225"/>
              <a:gd name="connsiteX79" fmla="*/ 135277 w 4519987"/>
              <a:gd name="connsiteY79" fmla="*/ 1504950 h 4429225"/>
              <a:gd name="connsiteX80" fmla="*/ 154327 w 4519987"/>
              <a:gd name="connsiteY80" fmla="*/ 1419225 h 4429225"/>
              <a:gd name="connsiteX81" fmla="*/ 230527 w 4519987"/>
              <a:gd name="connsiteY81" fmla="*/ 1276350 h 4429225"/>
              <a:gd name="connsiteX82" fmla="*/ 240052 w 4519987"/>
              <a:gd name="connsiteY82" fmla="*/ 1247775 h 4429225"/>
              <a:gd name="connsiteX83" fmla="*/ 268627 w 4519987"/>
              <a:gd name="connsiteY83" fmla="*/ 1200150 h 4429225"/>
              <a:gd name="connsiteX84" fmla="*/ 287677 w 4519987"/>
              <a:gd name="connsiteY84" fmla="*/ 1152525 h 4429225"/>
              <a:gd name="connsiteX85" fmla="*/ 316252 w 4519987"/>
              <a:gd name="connsiteY85" fmla="*/ 1114425 h 4429225"/>
              <a:gd name="connsiteX86" fmla="*/ 363877 w 4519987"/>
              <a:gd name="connsiteY86" fmla="*/ 1038225 h 4429225"/>
              <a:gd name="connsiteX87" fmla="*/ 382927 w 4519987"/>
              <a:gd name="connsiteY87" fmla="*/ 1009650 h 4429225"/>
              <a:gd name="connsiteX88" fmla="*/ 440077 w 4519987"/>
              <a:gd name="connsiteY88" fmla="*/ 904875 h 4429225"/>
              <a:gd name="connsiteX89" fmla="*/ 478177 w 4519987"/>
              <a:gd name="connsiteY89" fmla="*/ 857250 h 4429225"/>
              <a:gd name="connsiteX90" fmla="*/ 497227 w 4519987"/>
              <a:gd name="connsiteY90" fmla="*/ 828675 h 4429225"/>
              <a:gd name="connsiteX91" fmla="*/ 535327 w 4519987"/>
              <a:gd name="connsiteY91" fmla="*/ 800100 h 4429225"/>
              <a:gd name="connsiteX92" fmla="*/ 602002 w 4519987"/>
              <a:gd name="connsiteY92" fmla="*/ 733425 h 4429225"/>
              <a:gd name="connsiteX93" fmla="*/ 668677 w 4519987"/>
              <a:gd name="connsiteY93" fmla="*/ 676275 h 4429225"/>
              <a:gd name="connsiteX94" fmla="*/ 697252 w 4519987"/>
              <a:gd name="connsiteY94" fmla="*/ 657225 h 4429225"/>
              <a:gd name="connsiteX95" fmla="*/ 840127 w 4519987"/>
              <a:gd name="connsiteY95" fmla="*/ 533400 h 4429225"/>
              <a:gd name="connsiteX96" fmla="*/ 887752 w 4519987"/>
              <a:gd name="connsiteY96" fmla="*/ 504825 h 4429225"/>
              <a:gd name="connsiteX97" fmla="*/ 1167152 w 4519987"/>
              <a:gd name="connsiteY97" fmla="*/ 311150 h 4429225"/>
              <a:gd name="connsiteX98" fmla="*/ 1268752 w 4519987"/>
              <a:gd name="connsiteY98" fmla="*/ 285750 h 4429225"/>
              <a:gd name="connsiteX99" fmla="*/ 1411627 w 4519987"/>
              <a:gd name="connsiteY99" fmla="*/ 190500 h 4429225"/>
              <a:gd name="connsiteX100" fmla="*/ 1449727 w 4519987"/>
              <a:gd name="connsiteY100" fmla="*/ 161925 h 4429225"/>
              <a:gd name="connsiteX101" fmla="*/ 1525927 w 4519987"/>
              <a:gd name="connsiteY101" fmla="*/ 152400 h 4429225"/>
              <a:gd name="connsiteX102" fmla="*/ 1583077 w 4519987"/>
              <a:gd name="connsiteY102" fmla="*/ 142875 h 4429225"/>
              <a:gd name="connsiteX103" fmla="*/ 1716427 w 4519987"/>
              <a:gd name="connsiteY103" fmla="*/ 123825 h 4429225"/>
              <a:gd name="connsiteX104" fmla="*/ 1811677 w 4519987"/>
              <a:gd name="connsiteY104" fmla="*/ 114300 h 4429225"/>
              <a:gd name="connsiteX105" fmla="*/ 1859302 w 4519987"/>
              <a:gd name="connsiteY105" fmla="*/ 104775 h 4429225"/>
              <a:gd name="connsiteX106" fmla="*/ 1916452 w 4519987"/>
              <a:gd name="connsiteY106" fmla="*/ 95250 h 4429225"/>
              <a:gd name="connsiteX107" fmla="*/ 2030752 w 4519987"/>
              <a:gd name="connsiteY107" fmla="*/ 66675 h 4429225"/>
              <a:gd name="connsiteX108" fmla="*/ 2097427 w 4519987"/>
              <a:gd name="connsiteY108" fmla="*/ 47625 h 4429225"/>
              <a:gd name="connsiteX109" fmla="*/ 2164102 w 4519987"/>
              <a:gd name="connsiteY109" fmla="*/ 38100 h 4429225"/>
              <a:gd name="connsiteX110" fmla="*/ 2392702 w 4519987"/>
              <a:gd name="connsiteY110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925852 w 4519987"/>
              <a:gd name="connsiteY48" fmla="*/ 4067175 h 4429225"/>
              <a:gd name="connsiteX49" fmla="*/ 830602 w 4519987"/>
              <a:gd name="connsiteY49" fmla="*/ 3981450 h 4429225"/>
              <a:gd name="connsiteX50" fmla="*/ 763927 w 4519987"/>
              <a:gd name="connsiteY50" fmla="*/ 3914775 h 4429225"/>
              <a:gd name="connsiteX51" fmla="*/ 725827 w 4519987"/>
              <a:gd name="connsiteY51" fmla="*/ 3876675 h 4429225"/>
              <a:gd name="connsiteX52" fmla="*/ 697252 w 4519987"/>
              <a:gd name="connsiteY52" fmla="*/ 3838575 h 4429225"/>
              <a:gd name="connsiteX53" fmla="*/ 640102 w 4519987"/>
              <a:gd name="connsiteY53" fmla="*/ 3781425 h 4429225"/>
              <a:gd name="connsiteX54" fmla="*/ 611527 w 4519987"/>
              <a:gd name="connsiteY54" fmla="*/ 3733800 h 4429225"/>
              <a:gd name="connsiteX55" fmla="*/ 554377 w 4519987"/>
              <a:gd name="connsiteY55" fmla="*/ 3657600 h 4429225"/>
              <a:gd name="connsiteX56" fmla="*/ 525802 w 4519987"/>
              <a:gd name="connsiteY56" fmla="*/ 3609975 h 4429225"/>
              <a:gd name="connsiteX57" fmla="*/ 497227 w 4519987"/>
              <a:gd name="connsiteY57" fmla="*/ 3552825 h 4429225"/>
              <a:gd name="connsiteX58" fmla="*/ 440077 w 4519987"/>
              <a:gd name="connsiteY58" fmla="*/ 3495675 h 4429225"/>
              <a:gd name="connsiteX59" fmla="*/ 411502 w 4519987"/>
              <a:gd name="connsiteY59" fmla="*/ 3448050 h 4429225"/>
              <a:gd name="connsiteX60" fmla="*/ 278152 w 4519987"/>
              <a:gd name="connsiteY60" fmla="*/ 3257550 h 4429225"/>
              <a:gd name="connsiteX61" fmla="*/ 249577 w 4519987"/>
              <a:gd name="connsiteY61" fmla="*/ 3200400 h 4429225"/>
              <a:gd name="connsiteX62" fmla="*/ 240052 w 4519987"/>
              <a:gd name="connsiteY62" fmla="*/ 3162300 h 4429225"/>
              <a:gd name="connsiteX63" fmla="*/ 221002 w 4519987"/>
              <a:gd name="connsiteY63" fmla="*/ 3105150 h 4429225"/>
              <a:gd name="connsiteX64" fmla="*/ 173377 w 4519987"/>
              <a:gd name="connsiteY64" fmla="*/ 3019425 h 4429225"/>
              <a:gd name="connsiteX65" fmla="*/ 144802 w 4519987"/>
              <a:gd name="connsiteY65" fmla="*/ 2924175 h 4429225"/>
              <a:gd name="connsiteX66" fmla="*/ 68602 w 4519987"/>
              <a:gd name="connsiteY66" fmla="*/ 2724150 h 4429225"/>
              <a:gd name="connsiteX67" fmla="*/ 49552 w 4519987"/>
              <a:gd name="connsiteY67" fmla="*/ 2638425 h 4429225"/>
              <a:gd name="connsiteX68" fmla="*/ 40027 w 4519987"/>
              <a:gd name="connsiteY68" fmla="*/ 2562225 h 4429225"/>
              <a:gd name="connsiteX69" fmla="*/ 30502 w 4519987"/>
              <a:gd name="connsiteY69" fmla="*/ 2514600 h 4429225"/>
              <a:gd name="connsiteX70" fmla="*/ 11452 w 4519987"/>
              <a:gd name="connsiteY70" fmla="*/ 2400300 h 4429225"/>
              <a:gd name="connsiteX71" fmla="*/ 20977 w 4519987"/>
              <a:gd name="connsiteY71" fmla="*/ 1905000 h 4429225"/>
              <a:gd name="connsiteX72" fmla="*/ 30502 w 4519987"/>
              <a:gd name="connsiteY72" fmla="*/ 1838325 h 4429225"/>
              <a:gd name="connsiteX73" fmla="*/ 49552 w 4519987"/>
              <a:gd name="connsiteY73" fmla="*/ 1781175 h 4429225"/>
              <a:gd name="connsiteX74" fmla="*/ 59077 w 4519987"/>
              <a:gd name="connsiteY74" fmla="*/ 1743075 h 4429225"/>
              <a:gd name="connsiteX75" fmla="*/ 78127 w 4519987"/>
              <a:gd name="connsiteY75" fmla="*/ 1685925 h 4429225"/>
              <a:gd name="connsiteX76" fmla="*/ 87652 w 4519987"/>
              <a:gd name="connsiteY76" fmla="*/ 1638300 h 4429225"/>
              <a:gd name="connsiteX77" fmla="*/ 106702 w 4519987"/>
              <a:gd name="connsiteY77" fmla="*/ 1590675 h 4429225"/>
              <a:gd name="connsiteX78" fmla="*/ 135277 w 4519987"/>
              <a:gd name="connsiteY78" fmla="*/ 1504950 h 4429225"/>
              <a:gd name="connsiteX79" fmla="*/ 154327 w 4519987"/>
              <a:gd name="connsiteY79" fmla="*/ 1419225 h 4429225"/>
              <a:gd name="connsiteX80" fmla="*/ 230527 w 4519987"/>
              <a:gd name="connsiteY80" fmla="*/ 1276350 h 4429225"/>
              <a:gd name="connsiteX81" fmla="*/ 240052 w 4519987"/>
              <a:gd name="connsiteY81" fmla="*/ 1247775 h 4429225"/>
              <a:gd name="connsiteX82" fmla="*/ 268627 w 4519987"/>
              <a:gd name="connsiteY82" fmla="*/ 1200150 h 4429225"/>
              <a:gd name="connsiteX83" fmla="*/ 287677 w 4519987"/>
              <a:gd name="connsiteY83" fmla="*/ 1152525 h 4429225"/>
              <a:gd name="connsiteX84" fmla="*/ 316252 w 4519987"/>
              <a:gd name="connsiteY84" fmla="*/ 1114425 h 4429225"/>
              <a:gd name="connsiteX85" fmla="*/ 363877 w 4519987"/>
              <a:gd name="connsiteY85" fmla="*/ 1038225 h 4429225"/>
              <a:gd name="connsiteX86" fmla="*/ 382927 w 4519987"/>
              <a:gd name="connsiteY86" fmla="*/ 1009650 h 4429225"/>
              <a:gd name="connsiteX87" fmla="*/ 440077 w 4519987"/>
              <a:gd name="connsiteY87" fmla="*/ 904875 h 4429225"/>
              <a:gd name="connsiteX88" fmla="*/ 478177 w 4519987"/>
              <a:gd name="connsiteY88" fmla="*/ 857250 h 4429225"/>
              <a:gd name="connsiteX89" fmla="*/ 497227 w 4519987"/>
              <a:gd name="connsiteY89" fmla="*/ 828675 h 4429225"/>
              <a:gd name="connsiteX90" fmla="*/ 535327 w 4519987"/>
              <a:gd name="connsiteY90" fmla="*/ 800100 h 4429225"/>
              <a:gd name="connsiteX91" fmla="*/ 602002 w 4519987"/>
              <a:gd name="connsiteY91" fmla="*/ 733425 h 4429225"/>
              <a:gd name="connsiteX92" fmla="*/ 668677 w 4519987"/>
              <a:gd name="connsiteY92" fmla="*/ 676275 h 4429225"/>
              <a:gd name="connsiteX93" fmla="*/ 697252 w 4519987"/>
              <a:gd name="connsiteY93" fmla="*/ 657225 h 4429225"/>
              <a:gd name="connsiteX94" fmla="*/ 840127 w 4519987"/>
              <a:gd name="connsiteY94" fmla="*/ 533400 h 4429225"/>
              <a:gd name="connsiteX95" fmla="*/ 887752 w 4519987"/>
              <a:gd name="connsiteY95" fmla="*/ 504825 h 4429225"/>
              <a:gd name="connsiteX96" fmla="*/ 1167152 w 4519987"/>
              <a:gd name="connsiteY96" fmla="*/ 311150 h 4429225"/>
              <a:gd name="connsiteX97" fmla="*/ 1268752 w 4519987"/>
              <a:gd name="connsiteY97" fmla="*/ 285750 h 4429225"/>
              <a:gd name="connsiteX98" fmla="*/ 1411627 w 4519987"/>
              <a:gd name="connsiteY98" fmla="*/ 190500 h 4429225"/>
              <a:gd name="connsiteX99" fmla="*/ 1449727 w 4519987"/>
              <a:gd name="connsiteY99" fmla="*/ 161925 h 4429225"/>
              <a:gd name="connsiteX100" fmla="*/ 1525927 w 4519987"/>
              <a:gd name="connsiteY100" fmla="*/ 152400 h 4429225"/>
              <a:gd name="connsiteX101" fmla="*/ 1583077 w 4519987"/>
              <a:gd name="connsiteY101" fmla="*/ 142875 h 4429225"/>
              <a:gd name="connsiteX102" fmla="*/ 1716427 w 4519987"/>
              <a:gd name="connsiteY102" fmla="*/ 123825 h 4429225"/>
              <a:gd name="connsiteX103" fmla="*/ 1811677 w 4519987"/>
              <a:gd name="connsiteY103" fmla="*/ 114300 h 4429225"/>
              <a:gd name="connsiteX104" fmla="*/ 1859302 w 4519987"/>
              <a:gd name="connsiteY104" fmla="*/ 104775 h 4429225"/>
              <a:gd name="connsiteX105" fmla="*/ 1916452 w 4519987"/>
              <a:gd name="connsiteY105" fmla="*/ 95250 h 4429225"/>
              <a:gd name="connsiteX106" fmla="*/ 2030752 w 4519987"/>
              <a:gd name="connsiteY106" fmla="*/ 66675 h 4429225"/>
              <a:gd name="connsiteX107" fmla="*/ 2097427 w 4519987"/>
              <a:gd name="connsiteY107" fmla="*/ 47625 h 4429225"/>
              <a:gd name="connsiteX108" fmla="*/ 2164102 w 4519987"/>
              <a:gd name="connsiteY108" fmla="*/ 38100 h 4429225"/>
              <a:gd name="connsiteX109" fmla="*/ 2392702 w 4519987"/>
              <a:gd name="connsiteY109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725827 w 4519987"/>
              <a:gd name="connsiteY50" fmla="*/ 3876675 h 4429225"/>
              <a:gd name="connsiteX51" fmla="*/ 697252 w 4519987"/>
              <a:gd name="connsiteY51" fmla="*/ 3838575 h 4429225"/>
              <a:gd name="connsiteX52" fmla="*/ 640102 w 4519987"/>
              <a:gd name="connsiteY52" fmla="*/ 3781425 h 4429225"/>
              <a:gd name="connsiteX53" fmla="*/ 611527 w 4519987"/>
              <a:gd name="connsiteY53" fmla="*/ 3733800 h 4429225"/>
              <a:gd name="connsiteX54" fmla="*/ 554377 w 4519987"/>
              <a:gd name="connsiteY54" fmla="*/ 3657600 h 4429225"/>
              <a:gd name="connsiteX55" fmla="*/ 525802 w 4519987"/>
              <a:gd name="connsiteY55" fmla="*/ 3609975 h 4429225"/>
              <a:gd name="connsiteX56" fmla="*/ 497227 w 4519987"/>
              <a:gd name="connsiteY56" fmla="*/ 3552825 h 4429225"/>
              <a:gd name="connsiteX57" fmla="*/ 440077 w 4519987"/>
              <a:gd name="connsiteY57" fmla="*/ 3495675 h 4429225"/>
              <a:gd name="connsiteX58" fmla="*/ 411502 w 4519987"/>
              <a:gd name="connsiteY58" fmla="*/ 3448050 h 4429225"/>
              <a:gd name="connsiteX59" fmla="*/ 278152 w 4519987"/>
              <a:gd name="connsiteY59" fmla="*/ 3257550 h 4429225"/>
              <a:gd name="connsiteX60" fmla="*/ 249577 w 4519987"/>
              <a:gd name="connsiteY60" fmla="*/ 3200400 h 4429225"/>
              <a:gd name="connsiteX61" fmla="*/ 240052 w 4519987"/>
              <a:gd name="connsiteY61" fmla="*/ 3162300 h 4429225"/>
              <a:gd name="connsiteX62" fmla="*/ 221002 w 4519987"/>
              <a:gd name="connsiteY62" fmla="*/ 3105150 h 4429225"/>
              <a:gd name="connsiteX63" fmla="*/ 173377 w 4519987"/>
              <a:gd name="connsiteY63" fmla="*/ 3019425 h 4429225"/>
              <a:gd name="connsiteX64" fmla="*/ 144802 w 4519987"/>
              <a:gd name="connsiteY64" fmla="*/ 2924175 h 4429225"/>
              <a:gd name="connsiteX65" fmla="*/ 68602 w 4519987"/>
              <a:gd name="connsiteY65" fmla="*/ 2724150 h 4429225"/>
              <a:gd name="connsiteX66" fmla="*/ 49552 w 4519987"/>
              <a:gd name="connsiteY66" fmla="*/ 2638425 h 4429225"/>
              <a:gd name="connsiteX67" fmla="*/ 40027 w 4519987"/>
              <a:gd name="connsiteY67" fmla="*/ 2562225 h 4429225"/>
              <a:gd name="connsiteX68" fmla="*/ 30502 w 4519987"/>
              <a:gd name="connsiteY68" fmla="*/ 2514600 h 4429225"/>
              <a:gd name="connsiteX69" fmla="*/ 11452 w 4519987"/>
              <a:gd name="connsiteY69" fmla="*/ 2400300 h 4429225"/>
              <a:gd name="connsiteX70" fmla="*/ 20977 w 4519987"/>
              <a:gd name="connsiteY70" fmla="*/ 1905000 h 4429225"/>
              <a:gd name="connsiteX71" fmla="*/ 30502 w 4519987"/>
              <a:gd name="connsiteY71" fmla="*/ 1838325 h 4429225"/>
              <a:gd name="connsiteX72" fmla="*/ 49552 w 4519987"/>
              <a:gd name="connsiteY72" fmla="*/ 1781175 h 4429225"/>
              <a:gd name="connsiteX73" fmla="*/ 59077 w 4519987"/>
              <a:gd name="connsiteY73" fmla="*/ 1743075 h 4429225"/>
              <a:gd name="connsiteX74" fmla="*/ 78127 w 4519987"/>
              <a:gd name="connsiteY74" fmla="*/ 1685925 h 4429225"/>
              <a:gd name="connsiteX75" fmla="*/ 87652 w 4519987"/>
              <a:gd name="connsiteY75" fmla="*/ 1638300 h 4429225"/>
              <a:gd name="connsiteX76" fmla="*/ 106702 w 4519987"/>
              <a:gd name="connsiteY76" fmla="*/ 1590675 h 4429225"/>
              <a:gd name="connsiteX77" fmla="*/ 135277 w 4519987"/>
              <a:gd name="connsiteY77" fmla="*/ 1504950 h 4429225"/>
              <a:gd name="connsiteX78" fmla="*/ 154327 w 4519987"/>
              <a:gd name="connsiteY78" fmla="*/ 1419225 h 4429225"/>
              <a:gd name="connsiteX79" fmla="*/ 230527 w 4519987"/>
              <a:gd name="connsiteY79" fmla="*/ 1276350 h 4429225"/>
              <a:gd name="connsiteX80" fmla="*/ 240052 w 4519987"/>
              <a:gd name="connsiteY80" fmla="*/ 1247775 h 4429225"/>
              <a:gd name="connsiteX81" fmla="*/ 268627 w 4519987"/>
              <a:gd name="connsiteY81" fmla="*/ 1200150 h 4429225"/>
              <a:gd name="connsiteX82" fmla="*/ 287677 w 4519987"/>
              <a:gd name="connsiteY82" fmla="*/ 1152525 h 4429225"/>
              <a:gd name="connsiteX83" fmla="*/ 316252 w 4519987"/>
              <a:gd name="connsiteY83" fmla="*/ 1114425 h 4429225"/>
              <a:gd name="connsiteX84" fmla="*/ 363877 w 4519987"/>
              <a:gd name="connsiteY84" fmla="*/ 1038225 h 4429225"/>
              <a:gd name="connsiteX85" fmla="*/ 382927 w 4519987"/>
              <a:gd name="connsiteY85" fmla="*/ 1009650 h 4429225"/>
              <a:gd name="connsiteX86" fmla="*/ 440077 w 4519987"/>
              <a:gd name="connsiteY86" fmla="*/ 904875 h 4429225"/>
              <a:gd name="connsiteX87" fmla="*/ 478177 w 4519987"/>
              <a:gd name="connsiteY87" fmla="*/ 857250 h 4429225"/>
              <a:gd name="connsiteX88" fmla="*/ 497227 w 4519987"/>
              <a:gd name="connsiteY88" fmla="*/ 828675 h 4429225"/>
              <a:gd name="connsiteX89" fmla="*/ 535327 w 4519987"/>
              <a:gd name="connsiteY89" fmla="*/ 800100 h 4429225"/>
              <a:gd name="connsiteX90" fmla="*/ 602002 w 4519987"/>
              <a:gd name="connsiteY90" fmla="*/ 733425 h 4429225"/>
              <a:gd name="connsiteX91" fmla="*/ 668677 w 4519987"/>
              <a:gd name="connsiteY91" fmla="*/ 676275 h 4429225"/>
              <a:gd name="connsiteX92" fmla="*/ 697252 w 4519987"/>
              <a:gd name="connsiteY92" fmla="*/ 657225 h 4429225"/>
              <a:gd name="connsiteX93" fmla="*/ 840127 w 4519987"/>
              <a:gd name="connsiteY93" fmla="*/ 533400 h 4429225"/>
              <a:gd name="connsiteX94" fmla="*/ 887752 w 4519987"/>
              <a:gd name="connsiteY94" fmla="*/ 504825 h 4429225"/>
              <a:gd name="connsiteX95" fmla="*/ 1167152 w 4519987"/>
              <a:gd name="connsiteY95" fmla="*/ 311150 h 4429225"/>
              <a:gd name="connsiteX96" fmla="*/ 1268752 w 4519987"/>
              <a:gd name="connsiteY96" fmla="*/ 285750 h 4429225"/>
              <a:gd name="connsiteX97" fmla="*/ 1411627 w 4519987"/>
              <a:gd name="connsiteY97" fmla="*/ 190500 h 4429225"/>
              <a:gd name="connsiteX98" fmla="*/ 1449727 w 4519987"/>
              <a:gd name="connsiteY98" fmla="*/ 161925 h 4429225"/>
              <a:gd name="connsiteX99" fmla="*/ 1525927 w 4519987"/>
              <a:gd name="connsiteY99" fmla="*/ 152400 h 4429225"/>
              <a:gd name="connsiteX100" fmla="*/ 1583077 w 4519987"/>
              <a:gd name="connsiteY100" fmla="*/ 142875 h 4429225"/>
              <a:gd name="connsiteX101" fmla="*/ 1716427 w 4519987"/>
              <a:gd name="connsiteY101" fmla="*/ 123825 h 4429225"/>
              <a:gd name="connsiteX102" fmla="*/ 1811677 w 4519987"/>
              <a:gd name="connsiteY102" fmla="*/ 114300 h 4429225"/>
              <a:gd name="connsiteX103" fmla="*/ 1859302 w 4519987"/>
              <a:gd name="connsiteY103" fmla="*/ 104775 h 4429225"/>
              <a:gd name="connsiteX104" fmla="*/ 1916452 w 4519987"/>
              <a:gd name="connsiteY104" fmla="*/ 95250 h 4429225"/>
              <a:gd name="connsiteX105" fmla="*/ 2030752 w 4519987"/>
              <a:gd name="connsiteY105" fmla="*/ 66675 h 4429225"/>
              <a:gd name="connsiteX106" fmla="*/ 2097427 w 4519987"/>
              <a:gd name="connsiteY106" fmla="*/ 47625 h 4429225"/>
              <a:gd name="connsiteX107" fmla="*/ 2164102 w 4519987"/>
              <a:gd name="connsiteY107" fmla="*/ 38100 h 4429225"/>
              <a:gd name="connsiteX108" fmla="*/ 2392702 w 4519987"/>
              <a:gd name="connsiteY108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640102 w 4519987"/>
              <a:gd name="connsiteY51" fmla="*/ 3781425 h 4429225"/>
              <a:gd name="connsiteX52" fmla="*/ 611527 w 4519987"/>
              <a:gd name="connsiteY52" fmla="*/ 3733800 h 4429225"/>
              <a:gd name="connsiteX53" fmla="*/ 554377 w 4519987"/>
              <a:gd name="connsiteY53" fmla="*/ 3657600 h 4429225"/>
              <a:gd name="connsiteX54" fmla="*/ 525802 w 4519987"/>
              <a:gd name="connsiteY54" fmla="*/ 3609975 h 4429225"/>
              <a:gd name="connsiteX55" fmla="*/ 497227 w 4519987"/>
              <a:gd name="connsiteY55" fmla="*/ 3552825 h 4429225"/>
              <a:gd name="connsiteX56" fmla="*/ 440077 w 4519987"/>
              <a:gd name="connsiteY56" fmla="*/ 3495675 h 4429225"/>
              <a:gd name="connsiteX57" fmla="*/ 411502 w 4519987"/>
              <a:gd name="connsiteY57" fmla="*/ 3448050 h 4429225"/>
              <a:gd name="connsiteX58" fmla="*/ 278152 w 4519987"/>
              <a:gd name="connsiteY58" fmla="*/ 3257550 h 4429225"/>
              <a:gd name="connsiteX59" fmla="*/ 249577 w 4519987"/>
              <a:gd name="connsiteY59" fmla="*/ 3200400 h 4429225"/>
              <a:gd name="connsiteX60" fmla="*/ 240052 w 4519987"/>
              <a:gd name="connsiteY60" fmla="*/ 3162300 h 4429225"/>
              <a:gd name="connsiteX61" fmla="*/ 221002 w 4519987"/>
              <a:gd name="connsiteY61" fmla="*/ 3105150 h 4429225"/>
              <a:gd name="connsiteX62" fmla="*/ 173377 w 4519987"/>
              <a:gd name="connsiteY62" fmla="*/ 3019425 h 4429225"/>
              <a:gd name="connsiteX63" fmla="*/ 144802 w 4519987"/>
              <a:gd name="connsiteY63" fmla="*/ 2924175 h 4429225"/>
              <a:gd name="connsiteX64" fmla="*/ 68602 w 4519987"/>
              <a:gd name="connsiteY64" fmla="*/ 2724150 h 4429225"/>
              <a:gd name="connsiteX65" fmla="*/ 49552 w 4519987"/>
              <a:gd name="connsiteY65" fmla="*/ 2638425 h 4429225"/>
              <a:gd name="connsiteX66" fmla="*/ 40027 w 4519987"/>
              <a:gd name="connsiteY66" fmla="*/ 2562225 h 4429225"/>
              <a:gd name="connsiteX67" fmla="*/ 30502 w 4519987"/>
              <a:gd name="connsiteY67" fmla="*/ 2514600 h 4429225"/>
              <a:gd name="connsiteX68" fmla="*/ 11452 w 4519987"/>
              <a:gd name="connsiteY68" fmla="*/ 2400300 h 4429225"/>
              <a:gd name="connsiteX69" fmla="*/ 20977 w 4519987"/>
              <a:gd name="connsiteY69" fmla="*/ 1905000 h 4429225"/>
              <a:gd name="connsiteX70" fmla="*/ 30502 w 4519987"/>
              <a:gd name="connsiteY70" fmla="*/ 1838325 h 4429225"/>
              <a:gd name="connsiteX71" fmla="*/ 49552 w 4519987"/>
              <a:gd name="connsiteY71" fmla="*/ 1781175 h 4429225"/>
              <a:gd name="connsiteX72" fmla="*/ 59077 w 4519987"/>
              <a:gd name="connsiteY72" fmla="*/ 1743075 h 4429225"/>
              <a:gd name="connsiteX73" fmla="*/ 78127 w 4519987"/>
              <a:gd name="connsiteY73" fmla="*/ 1685925 h 4429225"/>
              <a:gd name="connsiteX74" fmla="*/ 87652 w 4519987"/>
              <a:gd name="connsiteY74" fmla="*/ 1638300 h 4429225"/>
              <a:gd name="connsiteX75" fmla="*/ 106702 w 4519987"/>
              <a:gd name="connsiteY75" fmla="*/ 1590675 h 4429225"/>
              <a:gd name="connsiteX76" fmla="*/ 135277 w 4519987"/>
              <a:gd name="connsiteY76" fmla="*/ 1504950 h 4429225"/>
              <a:gd name="connsiteX77" fmla="*/ 154327 w 4519987"/>
              <a:gd name="connsiteY77" fmla="*/ 1419225 h 4429225"/>
              <a:gd name="connsiteX78" fmla="*/ 230527 w 4519987"/>
              <a:gd name="connsiteY78" fmla="*/ 1276350 h 4429225"/>
              <a:gd name="connsiteX79" fmla="*/ 240052 w 4519987"/>
              <a:gd name="connsiteY79" fmla="*/ 1247775 h 4429225"/>
              <a:gd name="connsiteX80" fmla="*/ 268627 w 4519987"/>
              <a:gd name="connsiteY80" fmla="*/ 1200150 h 4429225"/>
              <a:gd name="connsiteX81" fmla="*/ 287677 w 4519987"/>
              <a:gd name="connsiteY81" fmla="*/ 1152525 h 4429225"/>
              <a:gd name="connsiteX82" fmla="*/ 316252 w 4519987"/>
              <a:gd name="connsiteY82" fmla="*/ 1114425 h 4429225"/>
              <a:gd name="connsiteX83" fmla="*/ 363877 w 4519987"/>
              <a:gd name="connsiteY83" fmla="*/ 1038225 h 4429225"/>
              <a:gd name="connsiteX84" fmla="*/ 382927 w 4519987"/>
              <a:gd name="connsiteY84" fmla="*/ 1009650 h 4429225"/>
              <a:gd name="connsiteX85" fmla="*/ 440077 w 4519987"/>
              <a:gd name="connsiteY85" fmla="*/ 904875 h 4429225"/>
              <a:gd name="connsiteX86" fmla="*/ 478177 w 4519987"/>
              <a:gd name="connsiteY86" fmla="*/ 857250 h 4429225"/>
              <a:gd name="connsiteX87" fmla="*/ 497227 w 4519987"/>
              <a:gd name="connsiteY87" fmla="*/ 828675 h 4429225"/>
              <a:gd name="connsiteX88" fmla="*/ 535327 w 4519987"/>
              <a:gd name="connsiteY88" fmla="*/ 800100 h 4429225"/>
              <a:gd name="connsiteX89" fmla="*/ 602002 w 4519987"/>
              <a:gd name="connsiteY89" fmla="*/ 733425 h 4429225"/>
              <a:gd name="connsiteX90" fmla="*/ 668677 w 4519987"/>
              <a:gd name="connsiteY90" fmla="*/ 676275 h 4429225"/>
              <a:gd name="connsiteX91" fmla="*/ 697252 w 4519987"/>
              <a:gd name="connsiteY91" fmla="*/ 657225 h 4429225"/>
              <a:gd name="connsiteX92" fmla="*/ 840127 w 4519987"/>
              <a:gd name="connsiteY92" fmla="*/ 533400 h 4429225"/>
              <a:gd name="connsiteX93" fmla="*/ 887752 w 4519987"/>
              <a:gd name="connsiteY93" fmla="*/ 504825 h 4429225"/>
              <a:gd name="connsiteX94" fmla="*/ 1167152 w 4519987"/>
              <a:gd name="connsiteY94" fmla="*/ 311150 h 4429225"/>
              <a:gd name="connsiteX95" fmla="*/ 1268752 w 4519987"/>
              <a:gd name="connsiteY95" fmla="*/ 285750 h 4429225"/>
              <a:gd name="connsiteX96" fmla="*/ 1411627 w 4519987"/>
              <a:gd name="connsiteY96" fmla="*/ 190500 h 4429225"/>
              <a:gd name="connsiteX97" fmla="*/ 1449727 w 4519987"/>
              <a:gd name="connsiteY97" fmla="*/ 161925 h 4429225"/>
              <a:gd name="connsiteX98" fmla="*/ 1525927 w 4519987"/>
              <a:gd name="connsiteY98" fmla="*/ 152400 h 4429225"/>
              <a:gd name="connsiteX99" fmla="*/ 1583077 w 4519987"/>
              <a:gd name="connsiteY99" fmla="*/ 142875 h 4429225"/>
              <a:gd name="connsiteX100" fmla="*/ 1716427 w 4519987"/>
              <a:gd name="connsiteY100" fmla="*/ 123825 h 4429225"/>
              <a:gd name="connsiteX101" fmla="*/ 1811677 w 4519987"/>
              <a:gd name="connsiteY101" fmla="*/ 114300 h 4429225"/>
              <a:gd name="connsiteX102" fmla="*/ 1859302 w 4519987"/>
              <a:gd name="connsiteY102" fmla="*/ 104775 h 4429225"/>
              <a:gd name="connsiteX103" fmla="*/ 1916452 w 4519987"/>
              <a:gd name="connsiteY103" fmla="*/ 95250 h 4429225"/>
              <a:gd name="connsiteX104" fmla="*/ 2030752 w 4519987"/>
              <a:gd name="connsiteY104" fmla="*/ 66675 h 4429225"/>
              <a:gd name="connsiteX105" fmla="*/ 2097427 w 4519987"/>
              <a:gd name="connsiteY105" fmla="*/ 47625 h 4429225"/>
              <a:gd name="connsiteX106" fmla="*/ 2164102 w 4519987"/>
              <a:gd name="connsiteY106" fmla="*/ 38100 h 4429225"/>
              <a:gd name="connsiteX107" fmla="*/ 2392702 w 4519987"/>
              <a:gd name="connsiteY107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611527 w 4519987"/>
              <a:gd name="connsiteY51" fmla="*/ 3733800 h 4429225"/>
              <a:gd name="connsiteX52" fmla="*/ 554377 w 4519987"/>
              <a:gd name="connsiteY52" fmla="*/ 3657600 h 4429225"/>
              <a:gd name="connsiteX53" fmla="*/ 525802 w 4519987"/>
              <a:gd name="connsiteY53" fmla="*/ 3609975 h 4429225"/>
              <a:gd name="connsiteX54" fmla="*/ 497227 w 4519987"/>
              <a:gd name="connsiteY54" fmla="*/ 3552825 h 4429225"/>
              <a:gd name="connsiteX55" fmla="*/ 440077 w 4519987"/>
              <a:gd name="connsiteY55" fmla="*/ 3495675 h 4429225"/>
              <a:gd name="connsiteX56" fmla="*/ 411502 w 4519987"/>
              <a:gd name="connsiteY56" fmla="*/ 3448050 h 4429225"/>
              <a:gd name="connsiteX57" fmla="*/ 278152 w 4519987"/>
              <a:gd name="connsiteY57" fmla="*/ 3257550 h 4429225"/>
              <a:gd name="connsiteX58" fmla="*/ 249577 w 4519987"/>
              <a:gd name="connsiteY58" fmla="*/ 3200400 h 4429225"/>
              <a:gd name="connsiteX59" fmla="*/ 240052 w 4519987"/>
              <a:gd name="connsiteY59" fmla="*/ 3162300 h 4429225"/>
              <a:gd name="connsiteX60" fmla="*/ 221002 w 4519987"/>
              <a:gd name="connsiteY60" fmla="*/ 3105150 h 4429225"/>
              <a:gd name="connsiteX61" fmla="*/ 173377 w 4519987"/>
              <a:gd name="connsiteY61" fmla="*/ 3019425 h 4429225"/>
              <a:gd name="connsiteX62" fmla="*/ 144802 w 4519987"/>
              <a:gd name="connsiteY62" fmla="*/ 2924175 h 4429225"/>
              <a:gd name="connsiteX63" fmla="*/ 68602 w 4519987"/>
              <a:gd name="connsiteY63" fmla="*/ 2724150 h 4429225"/>
              <a:gd name="connsiteX64" fmla="*/ 49552 w 4519987"/>
              <a:gd name="connsiteY64" fmla="*/ 2638425 h 4429225"/>
              <a:gd name="connsiteX65" fmla="*/ 40027 w 4519987"/>
              <a:gd name="connsiteY65" fmla="*/ 2562225 h 4429225"/>
              <a:gd name="connsiteX66" fmla="*/ 30502 w 4519987"/>
              <a:gd name="connsiteY66" fmla="*/ 2514600 h 4429225"/>
              <a:gd name="connsiteX67" fmla="*/ 11452 w 4519987"/>
              <a:gd name="connsiteY67" fmla="*/ 2400300 h 4429225"/>
              <a:gd name="connsiteX68" fmla="*/ 20977 w 4519987"/>
              <a:gd name="connsiteY68" fmla="*/ 1905000 h 4429225"/>
              <a:gd name="connsiteX69" fmla="*/ 30502 w 4519987"/>
              <a:gd name="connsiteY69" fmla="*/ 1838325 h 4429225"/>
              <a:gd name="connsiteX70" fmla="*/ 49552 w 4519987"/>
              <a:gd name="connsiteY70" fmla="*/ 1781175 h 4429225"/>
              <a:gd name="connsiteX71" fmla="*/ 59077 w 4519987"/>
              <a:gd name="connsiteY71" fmla="*/ 1743075 h 4429225"/>
              <a:gd name="connsiteX72" fmla="*/ 78127 w 4519987"/>
              <a:gd name="connsiteY72" fmla="*/ 1685925 h 4429225"/>
              <a:gd name="connsiteX73" fmla="*/ 87652 w 4519987"/>
              <a:gd name="connsiteY73" fmla="*/ 1638300 h 4429225"/>
              <a:gd name="connsiteX74" fmla="*/ 106702 w 4519987"/>
              <a:gd name="connsiteY74" fmla="*/ 1590675 h 4429225"/>
              <a:gd name="connsiteX75" fmla="*/ 135277 w 4519987"/>
              <a:gd name="connsiteY75" fmla="*/ 1504950 h 4429225"/>
              <a:gd name="connsiteX76" fmla="*/ 154327 w 4519987"/>
              <a:gd name="connsiteY76" fmla="*/ 1419225 h 4429225"/>
              <a:gd name="connsiteX77" fmla="*/ 230527 w 4519987"/>
              <a:gd name="connsiteY77" fmla="*/ 1276350 h 4429225"/>
              <a:gd name="connsiteX78" fmla="*/ 240052 w 4519987"/>
              <a:gd name="connsiteY78" fmla="*/ 1247775 h 4429225"/>
              <a:gd name="connsiteX79" fmla="*/ 268627 w 4519987"/>
              <a:gd name="connsiteY79" fmla="*/ 1200150 h 4429225"/>
              <a:gd name="connsiteX80" fmla="*/ 287677 w 4519987"/>
              <a:gd name="connsiteY80" fmla="*/ 1152525 h 4429225"/>
              <a:gd name="connsiteX81" fmla="*/ 316252 w 4519987"/>
              <a:gd name="connsiteY81" fmla="*/ 1114425 h 4429225"/>
              <a:gd name="connsiteX82" fmla="*/ 363877 w 4519987"/>
              <a:gd name="connsiteY82" fmla="*/ 1038225 h 4429225"/>
              <a:gd name="connsiteX83" fmla="*/ 382927 w 4519987"/>
              <a:gd name="connsiteY83" fmla="*/ 1009650 h 4429225"/>
              <a:gd name="connsiteX84" fmla="*/ 440077 w 4519987"/>
              <a:gd name="connsiteY84" fmla="*/ 904875 h 4429225"/>
              <a:gd name="connsiteX85" fmla="*/ 478177 w 4519987"/>
              <a:gd name="connsiteY85" fmla="*/ 857250 h 4429225"/>
              <a:gd name="connsiteX86" fmla="*/ 497227 w 4519987"/>
              <a:gd name="connsiteY86" fmla="*/ 828675 h 4429225"/>
              <a:gd name="connsiteX87" fmla="*/ 535327 w 4519987"/>
              <a:gd name="connsiteY87" fmla="*/ 800100 h 4429225"/>
              <a:gd name="connsiteX88" fmla="*/ 602002 w 4519987"/>
              <a:gd name="connsiteY88" fmla="*/ 733425 h 4429225"/>
              <a:gd name="connsiteX89" fmla="*/ 668677 w 4519987"/>
              <a:gd name="connsiteY89" fmla="*/ 676275 h 4429225"/>
              <a:gd name="connsiteX90" fmla="*/ 697252 w 4519987"/>
              <a:gd name="connsiteY90" fmla="*/ 657225 h 4429225"/>
              <a:gd name="connsiteX91" fmla="*/ 840127 w 4519987"/>
              <a:gd name="connsiteY91" fmla="*/ 533400 h 4429225"/>
              <a:gd name="connsiteX92" fmla="*/ 887752 w 4519987"/>
              <a:gd name="connsiteY92" fmla="*/ 504825 h 4429225"/>
              <a:gd name="connsiteX93" fmla="*/ 1167152 w 4519987"/>
              <a:gd name="connsiteY93" fmla="*/ 311150 h 4429225"/>
              <a:gd name="connsiteX94" fmla="*/ 1268752 w 4519987"/>
              <a:gd name="connsiteY94" fmla="*/ 285750 h 4429225"/>
              <a:gd name="connsiteX95" fmla="*/ 1411627 w 4519987"/>
              <a:gd name="connsiteY95" fmla="*/ 190500 h 4429225"/>
              <a:gd name="connsiteX96" fmla="*/ 1449727 w 4519987"/>
              <a:gd name="connsiteY96" fmla="*/ 161925 h 4429225"/>
              <a:gd name="connsiteX97" fmla="*/ 1525927 w 4519987"/>
              <a:gd name="connsiteY97" fmla="*/ 152400 h 4429225"/>
              <a:gd name="connsiteX98" fmla="*/ 1583077 w 4519987"/>
              <a:gd name="connsiteY98" fmla="*/ 142875 h 4429225"/>
              <a:gd name="connsiteX99" fmla="*/ 1716427 w 4519987"/>
              <a:gd name="connsiteY99" fmla="*/ 123825 h 4429225"/>
              <a:gd name="connsiteX100" fmla="*/ 1811677 w 4519987"/>
              <a:gd name="connsiteY100" fmla="*/ 114300 h 4429225"/>
              <a:gd name="connsiteX101" fmla="*/ 1859302 w 4519987"/>
              <a:gd name="connsiteY101" fmla="*/ 104775 h 4429225"/>
              <a:gd name="connsiteX102" fmla="*/ 1916452 w 4519987"/>
              <a:gd name="connsiteY102" fmla="*/ 95250 h 4429225"/>
              <a:gd name="connsiteX103" fmla="*/ 2030752 w 4519987"/>
              <a:gd name="connsiteY103" fmla="*/ 66675 h 4429225"/>
              <a:gd name="connsiteX104" fmla="*/ 2097427 w 4519987"/>
              <a:gd name="connsiteY104" fmla="*/ 47625 h 4429225"/>
              <a:gd name="connsiteX105" fmla="*/ 2164102 w 4519987"/>
              <a:gd name="connsiteY105" fmla="*/ 38100 h 4429225"/>
              <a:gd name="connsiteX106" fmla="*/ 2392702 w 4519987"/>
              <a:gd name="connsiteY106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525802 w 4519987"/>
              <a:gd name="connsiteY52" fmla="*/ 3609975 h 4429225"/>
              <a:gd name="connsiteX53" fmla="*/ 497227 w 4519987"/>
              <a:gd name="connsiteY53" fmla="*/ 3552825 h 4429225"/>
              <a:gd name="connsiteX54" fmla="*/ 440077 w 4519987"/>
              <a:gd name="connsiteY54" fmla="*/ 3495675 h 4429225"/>
              <a:gd name="connsiteX55" fmla="*/ 411502 w 4519987"/>
              <a:gd name="connsiteY55" fmla="*/ 3448050 h 4429225"/>
              <a:gd name="connsiteX56" fmla="*/ 278152 w 4519987"/>
              <a:gd name="connsiteY56" fmla="*/ 3257550 h 4429225"/>
              <a:gd name="connsiteX57" fmla="*/ 249577 w 4519987"/>
              <a:gd name="connsiteY57" fmla="*/ 3200400 h 4429225"/>
              <a:gd name="connsiteX58" fmla="*/ 240052 w 4519987"/>
              <a:gd name="connsiteY58" fmla="*/ 3162300 h 4429225"/>
              <a:gd name="connsiteX59" fmla="*/ 221002 w 4519987"/>
              <a:gd name="connsiteY59" fmla="*/ 3105150 h 4429225"/>
              <a:gd name="connsiteX60" fmla="*/ 173377 w 4519987"/>
              <a:gd name="connsiteY60" fmla="*/ 3019425 h 4429225"/>
              <a:gd name="connsiteX61" fmla="*/ 144802 w 4519987"/>
              <a:gd name="connsiteY61" fmla="*/ 2924175 h 4429225"/>
              <a:gd name="connsiteX62" fmla="*/ 68602 w 4519987"/>
              <a:gd name="connsiteY62" fmla="*/ 2724150 h 4429225"/>
              <a:gd name="connsiteX63" fmla="*/ 49552 w 4519987"/>
              <a:gd name="connsiteY63" fmla="*/ 2638425 h 4429225"/>
              <a:gd name="connsiteX64" fmla="*/ 40027 w 4519987"/>
              <a:gd name="connsiteY64" fmla="*/ 2562225 h 4429225"/>
              <a:gd name="connsiteX65" fmla="*/ 30502 w 4519987"/>
              <a:gd name="connsiteY65" fmla="*/ 2514600 h 4429225"/>
              <a:gd name="connsiteX66" fmla="*/ 11452 w 4519987"/>
              <a:gd name="connsiteY66" fmla="*/ 2400300 h 4429225"/>
              <a:gd name="connsiteX67" fmla="*/ 20977 w 4519987"/>
              <a:gd name="connsiteY67" fmla="*/ 1905000 h 4429225"/>
              <a:gd name="connsiteX68" fmla="*/ 30502 w 4519987"/>
              <a:gd name="connsiteY68" fmla="*/ 1838325 h 4429225"/>
              <a:gd name="connsiteX69" fmla="*/ 49552 w 4519987"/>
              <a:gd name="connsiteY69" fmla="*/ 1781175 h 4429225"/>
              <a:gd name="connsiteX70" fmla="*/ 59077 w 4519987"/>
              <a:gd name="connsiteY70" fmla="*/ 1743075 h 4429225"/>
              <a:gd name="connsiteX71" fmla="*/ 78127 w 4519987"/>
              <a:gd name="connsiteY71" fmla="*/ 1685925 h 4429225"/>
              <a:gd name="connsiteX72" fmla="*/ 87652 w 4519987"/>
              <a:gd name="connsiteY72" fmla="*/ 1638300 h 4429225"/>
              <a:gd name="connsiteX73" fmla="*/ 106702 w 4519987"/>
              <a:gd name="connsiteY73" fmla="*/ 1590675 h 4429225"/>
              <a:gd name="connsiteX74" fmla="*/ 135277 w 4519987"/>
              <a:gd name="connsiteY74" fmla="*/ 1504950 h 4429225"/>
              <a:gd name="connsiteX75" fmla="*/ 154327 w 4519987"/>
              <a:gd name="connsiteY75" fmla="*/ 1419225 h 4429225"/>
              <a:gd name="connsiteX76" fmla="*/ 230527 w 4519987"/>
              <a:gd name="connsiteY76" fmla="*/ 1276350 h 4429225"/>
              <a:gd name="connsiteX77" fmla="*/ 240052 w 4519987"/>
              <a:gd name="connsiteY77" fmla="*/ 1247775 h 4429225"/>
              <a:gd name="connsiteX78" fmla="*/ 268627 w 4519987"/>
              <a:gd name="connsiteY78" fmla="*/ 1200150 h 4429225"/>
              <a:gd name="connsiteX79" fmla="*/ 287677 w 4519987"/>
              <a:gd name="connsiteY79" fmla="*/ 1152525 h 4429225"/>
              <a:gd name="connsiteX80" fmla="*/ 316252 w 4519987"/>
              <a:gd name="connsiteY80" fmla="*/ 1114425 h 4429225"/>
              <a:gd name="connsiteX81" fmla="*/ 363877 w 4519987"/>
              <a:gd name="connsiteY81" fmla="*/ 1038225 h 4429225"/>
              <a:gd name="connsiteX82" fmla="*/ 382927 w 4519987"/>
              <a:gd name="connsiteY82" fmla="*/ 1009650 h 4429225"/>
              <a:gd name="connsiteX83" fmla="*/ 440077 w 4519987"/>
              <a:gd name="connsiteY83" fmla="*/ 904875 h 4429225"/>
              <a:gd name="connsiteX84" fmla="*/ 478177 w 4519987"/>
              <a:gd name="connsiteY84" fmla="*/ 857250 h 4429225"/>
              <a:gd name="connsiteX85" fmla="*/ 497227 w 4519987"/>
              <a:gd name="connsiteY85" fmla="*/ 828675 h 4429225"/>
              <a:gd name="connsiteX86" fmla="*/ 535327 w 4519987"/>
              <a:gd name="connsiteY86" fmla="*/ 800100 h 4429225"/>
              <a:gd name="connsiteX87" fmla="*/ 602002 w 4519987"/>
              <a:gd name="connsiteY87" fmla="*/ 733425 h 4429225"/>
              <a:gd name="connsiteX88" fmla="*/ 668677 w 4519987"/>
              <a:gd name="connsiteY88" fmla="*/ 676275 h 4429225"/>
              <a:gd name="connsiteX89" fmla="*/ 697252 w 4519987"/>
              <a:gd name="connsiteY89" fmla="*/ 657225 h 4429225"/>
              <a:gd name="connsiteX90" fmla="*/ 840127 w 4519987"/>
              <a:gd name="connsiteY90" fmla="*/ 533400 h 4429225"/>
              <a:gd name="connsiteX91" fmla="*/ 887752 w 4519987"/>
              <a:gd name="connsiteY91" fmla="*/ 504825 h 4429225"/>
              <a:gd name="connsiteX92" fmla="*/ 1167152 w 4519987"/>
              <a:gd name="connsiteY92" fmla="*/ 311150 h 4429225"/>
              <a:gd name="connsiteX93" fmla="*/ 1268752 w 4519987"/>
              <a:gd name="connsiteY93" fmla="*/ 285750 h 4429225"/>
              <a:gd name="connsiteX94" fmla="*/ 1411627 w 4519987"/>
              <a:gd name="connsiteY94" fmla="*/ 190500 h 4429225"/>
              <a:gd name="connsiteX95" fmla="*/ 1449727 w 4519987"/>
              <a:gd name="connsiteY95" fmla="*/ 161925 h 4429225"/>
              <a:gd name="connsiteX96" fmla="*/ 1525927 w 4519987"/>
              <a:gd name="connsiteY96" fmla="*/ 152400 h 4429225"/>
              <a:gd name="connsiteX97" fmla="*/ 1583077 w 4519987"/>
              <a:gd name="connsiteY97" fmla="*/ 142875 h 4429225"/>
              <a:gd name="connsiteX98" fmla="*/ 1716427 w 4519987"/>
              <a:gd name="connsiteY98" fmla="*/ 123825 h 4429225"/>
              <a:gd name="connsiteX99" fmla="*/ 1811677 w 4519987"/>
              <a:gd name="connsiteY99" fmla="*/ 114300 h 4429225"/>
              <a:gd name="connsiteX100" fmla="*/ 1859302 w 4519987"/>
              <a:gd name="connsiteY100" fmla="*/ 104775 h 4429225"/>
              <a:gd name="connsiteX101" fmla="*/ 1916452 w 4519987"/>
              <a:gd name="connsiteY101" fmla="*/ 95250 h 4429225"/>
              <a:gd name="connsiteX102" fmla="*/ 2030752 w 4519987"/>
              <a:gd name="connsiteY102" fmla="*/ 66675 h 4429225"/>
              <a:gd name="connsiteX103" fmla="*/ 2097427 w 4519987"/>
              <a:gd name="connsiteY103" fmla="*/ 47625 h 4429225"/>
              <a:gd name="connsiteX104" fmla="*/ 2164102 w 4519987"/>
              <a:gd name="connsiteY104" fmla="*/ 38100 h 4429225"/>
              <a:gd name="connsiteX105" fmla="*/ 2392702 w 4519987"/>
              <a:gd name="connsiteY105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97227 w 4519987"/>
              <a:gd name="connsiteY52" fmla="*/ 3552825 h 4429225"/>
              <a:gd name="connsiteX53" fmla="*/ 440077 w 4519987"/>
              <a:gd name="connsiteY53" fmla="*/ 3495675 h 4429225"/>
              <a:gd name="connsiteX54" fmla="*/ 411502 w 4519987"/>
              <a:gd name="connsiteY54" fmla="*/ 3448050 h 4429225"/>
              <a:gd name="connsiteX55" fmla="*/ 278152 w 4519987"/>
              <a:gd name="connsiteY55" fmla="*/ 3257550 h 4429225"/>
              <a:gd name="connsiteX56" fmla="*/ 249577 w 4519987"/>
              <a:gd name="connsiteY56" fmla="*/ 3200400 h 4429225"/>
              <a:gd name="connsiteX57" fmla="*/ 240052 w 4519987"/>
              <a:gd name="connsiteY57" fmla="*/ 3162300 h 4429225"/>
              <a:gd name="connsiteX58" fmla="*/ 221002 w 4519987"/>
              <a:gd name="connsiteY58" fmla="*/ 3105150 h 4429225"/>
              <a:gd name="connsiteX59" fmla="*/ 173377 w 4519987"/>
              <a:gd name="connsiteY59" fmla="*/ 3019425 h 4429225"/>
              <a:gd name="connsiteX60" fmla="*/ 144802 w 4519987"/>
              <a:gd name="connsiteY60" fmla="*/ 2924175 h 4429225"/>
              <a:gd name="connsiteX61" fmla="*/ 68602 w 4519987"/>
              <a:gd name="connsiteY61" fmla="*/ 2724150 h 4429225"/>
              <a:gd name="connsiteX62" fmla="*/ 49552 w 4519987"/>
              <a:gd name="connsiteY62" fmla="*/ 2638425 h 4429225"/>
              <a:gd name="connsiteX63" fmla="*/ 40027 w 4519987"/>
              <a:gd name="connsiteY63" fmla="*/ 2562225 h 4429225"/>
              <a:gd name="connsiteX64" fmla="*/ 30502 w 4519987"/>
              <a:gd name="connsiteY64" fmla="*/ 2514600 h 4429225"/>
              <a:gd name="connsiteX65" fmla="*/ 11452 w 4519987"/>
              <a:gd name="connsiteY65" fmla="*/ 2400300 h 4429225"/>
              <a:gd name="connsiteX66" fmla="*/ 20977 w 4519987"/>
              <a:gd name="connsiteY66" fmla="*/ 1905000 h 4429225"/>
              <a:gd name="connsiteX67" fmla="*/ 30502 w 4519987"/>
              <a:gd name="connsiteY67" fmla="*/ 1838325 h 4429225"/>
              <a:gd name="connsiteX68" fmla="*/ 49552 w 4519987"/>
              <a:gd name="connsiteY68" fmla="*/ 1781175 h 4429225"/>
              <a:gd name="connsiteX69" fmla="*/ 59077 w 4519987"/>
              <a:gd name="connsiteY69" fmla="*/ 1743075 h 4429225"/>
              <a:gd name="connsiteX70" fmla="*/ 78127 w 4519987"/>
              <a:gd name="connsiteY70" fmla="*/ 1685925 h 4429225"/>
              <a:gd name="connsiteX71" fmla="*/ 87652 w 4519987"/>
              <a:gd name="connsiteY71" fmla="*/ 1638300 h 4429225"/>
              <a:gd name="connsiteX72" fmla="*/ 106702 w 4519987"/>
              <a:gd name="connsiteY72" fmla="*/ 1590675 h 4429225"/>
              <a:gd name="connsiteX73" fmla="*/ 135277 w 4519987"/>
              <a:gd name="connsiteY73" fmla="*/ 1504950 h 4429225"/>
              <a:gd name="connsiteX74" fmla="*/ 154327 w 4519987"/>
              <a:gd name="connsiteY74" fmla="*/ 1419225 h 4429225"/>
              <a:gd name="connsiteX75" fmla="*/ 230527 w 4519987"/>
              <a:gd name="connsiteY75" fmla="*/ 1276350 h 4429225"/>
              <a:gd name="connsiteX76" fmla="*/ 240052 w 4519987"/>
              <a:gd name="connsiteY76" fmla="*/ 1247775 h 4429225"/>
              <a:gd name="connsiteX77" fmla="*/ 268627 w 4519987"/>
              <a:gd name="connsiteY77" fmla="*/ 1200150 h 4429225"/>
              <a:gd name="connsiteX78" fmla="*/ 287677 w 4519987"/>
              <a:gd name="connsiteY78" fmla="*/ 1152525 h 4429225"/>
              <a:gd name="connsiteX79" fmla="*/ 316252 w 4519987"/>
              <a:gd name="connsiteY79" fmla="*/ 1114425 h 4429225"/>
              <a:gd name="connsiteX80" fmla="*/ 363877 w 4519987"/>
              <a:gd name="connsiteY80" fmla="*/ 1038225 h 4429225"/>
              <a:gd name="connsiteX81" fmla="*/ 382927 w 4519987"/>
              <a:gd name="connsiteY81" fmla="*/ 1009650 h 4429225"/>
              <a:gd name="connsiteX82" fmla="*/ 440077 w 4519987"/>
              <a:gd name="connsiteY82" fmla="*/ 904875 h 4429225"/>
              <a:gd name="connsiteX83" fmla="*/ 478177 w 4519987"/>
              <a:gd name="connsiteY83" fmla="*/ 857250 h 4429225"/>
              <a:gd name="connsiteX84" fmla="*/ 497227 w 4519987"/>
              <a:gd name="connsiteY84" fmla="*/ 828675 h 4429225"/>
              <a:gd name="connsiteX85" fmla="*/ 535327 w 4519987"/>
              <a:gd name="connsiteY85" fmla="*/ 800100 h 4429225"/>
              <a:gd name="connsiteX86" fmla="*/ 602002 w 4519987"/>
              <a:gd name="connsiteY86" fmla="*/ 733425 h 4429225"/>
              <a:gd name="connsiteX87" fmla="*/ 668677 w 4519987"/>
              <a:gd name="connsiteY87" fmla="*/ 676275 h 4429225"/>
              <a:gd name="connsiteX88" fmla="*/ 697252 w 4519987"/>
              <a:gd name="connsiteY88" fmla="*/ 657225 h 4429225"/>
              <a:gd name="connsiteX89" fmla="*/ 840127 w 4519987"/>
              <a:gd name="connsiteY89" fmla="*/ 533400 h 4429225"/>
              <a:gd name="connsiteX90" fmla="*/ 887752 w 4519987"/>
              <a:gd name="connsiteY90" fmla="*/ 504825 h 4429225"/>
              <a:gd name="connsiteX91" fmla="*/ 1167152 w 4519987"/>
              <a:gd name="connsiteY91" fmla="*/ 311150 h 4429225"/>
              <a:gd name="connsiteX92" fmla="*/ 1268752 w 4519987"/>
              <a:gd name="connsiteY92" fmla="*/ 285750 h 4429225"/>
              <a:gd name="connsiteX93" fmla="*/ 1411627 w 4519987"/>
              <a:gd name="connsiteY93" fmla="*/ 190500 h 4429225"/>
              <a:gd name="connsiteX94" fmla="*/ 1449727 w 4519987"/>
              <a:gd name="connsiteY94" fmla="*/ 161925 h 4429225"/>
              <a:gd name="connsiteX95" fmla="*/ 1525927 w 4519987"/>
              <a:gd name="connsiteY95" fmla="*/ 152400 h 4429225"/>
              <a:gd name="connsiteX96" fmla="*/ 1583077 w 4519987"/>
              <a:gd name="connsiteY96" fmla="*/ 142875 h 4429225"/>
              <a:gd name="connsiteX97" fmla="*/ 1716427 w 4519987"/>
              <a:gd name="connsiteY97" fmla="*/ 123825 h 4429225"/>
              <a:gd name="connsiteX98" fmla="*/ 1811677 w 4519987"/>
              <a:gd name="connsiteY98" fmla="*/ 114300 h 4429225"/>
              <a:gd name="connsiteX99" fmla="*/ 1859302 w 4519987"/>
              <a:gd name="connsiteY99" fmla="*/ 104775 h 4429225"/>
              <a:gd name="connsiteX100" fmla="*/ 1916452 w 4519987"/>
              <a:gd name="connsiteY100" fmla="*/ 95250 h 4429225"/>
              <a:gd name="connsiteX101" fmla="*/ 2030752 w 4519987"/>
              <a:gd name="connsiteY101" fmla="*/ 66675 h 4429225"/>
              <a:gd name="connsiteX102" fmla="*/ 2097427 w 4519987"/>
              <a:gd name="connsiteY102" fmla="*/ 47625 h 4429225"/>
              <a:gd name="connsiteX103" fmla="*/ 2164102 w 4519987"/>
              <a:gd name="connsiteY103" fmla="*/ 38100 h 4429225"/>
              <a:gd name="connsiteX104" fmla="*/ 2392702 w 4519987"/>
              <a:gd name="connsiteY104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97227 w 4519987"/>
              <a:gd name="connsiteY52" fmla="*/ 3552825 h 4429225"/>
              <a:gd name="connsiteX53" fmla="*/ 440077 w 4519987"/>
              <a:gd name="connsiteY53" fmla="*/ 3495675 h 4429225"/>
              <a:gd name="connsiteX54" fmla="*/ 278152 w 4519987"/>
              <a:gd name="connsiteY54" fmla="*/ 3257550 h 4429225"/>
              <a:gd name="connsiteX55" fmla="*/ 249577 w 4519987"/>
              <a:gd name="connsiteY55" fmla="*/ 3200400 h 4429225"/>
              <a:gd name="connsiteX56" fmla="*/ 240052 w 4519987"/>
              <a:gd name="connsiteY56" fmla="*/ 3162300 h 4429225"/>
              <a:gd name="connsiteX57" fmla="*/ 221002 w 4519987"/>
              <a:gd name="connsiteY57" fmla="*/ 3105150 h 4429225"/>
              <a:gd name="connsiteX58" fmla="*/ 173377 w 4519987"/>
              <a:gd name="connsiteY58" fmla="*/ 3019425 h 4429225"/>
              <a:gd name="connsiteX59" fmla="*/ 144802 w 4519987"/>
              <a:gd name="connsiteY59" fmla="*/ 2924175 h 4429225"/>
              <a:gd name="connsiteX60" fmla="*/ 68602 w 4519987"/>
              <a:gd name="connsiteY60" fmla="*/ 2724150 h 4429225"/>
              <a:gd name="connsiteX61" fmla="*/ 49552 w 4519987"/>
              <a:gd name="connsiteY61" fmla="*/ 2638425 h 4429225"/>
              <a:gd name="connsiteX62" fmla="*/ 40027 w 4519987"/>
              <a:gd name="connsiteY62" fmla="*/ 2562225 h 4429225"/>
              <a:gd name="connsiteX63" fmla="*/ 30502 w 4519987"/>
              <a:gd name="connsiteY63" fmla="*/ 2514600 h 4429225"/>
              <a:gd name="connsiteX64" fmla="*/ 11452 w 4519987"/>
              <a:gd name="connsiteY64" fmla="*/ 2400300 h 4429225"/>
              <a:gd name="connsiteX65" fmla="*/ 20977 w 4519987"/>
              <a:gd name="connsiteY65" fmla="*/ 1905000 h 4429225"/>
              <a:gd name="connsiteX66" fmla="*/ 30502 w 4519987"/>
              <a:gd name="connsiteY66" fmla="*/ 1838325 h 4429225"/>
              <a:gd name="connsiteX67" fmla="*/ 49552 w 4519987"/>
              <a:gd name="connsiteY67" fmla="*/ 1781175 h 4429225"/>
              <a:gd name="connsiteX68" fmla="*/ 59077 w 4519987"/>
              <a:gd name="connsiteY68" fmla="*/ 1743075 h 4429225"/>
              <a:gd name="connsiteX69" fmla="*/ 78127 w 4519987"/>
              <a:gd name="connsiteY69" fmla="*/ 1685925 h 4429225"/>
              <a:gd name="connsiteX70" fmla="*/ 87652 w 4519987"/>
              <a:gd name="connsiteY70" fmla="*/ 1638300 h 4429225"/>
              <a:gd name="connsiteX71" fmla="*/ 106702 w 4519987"/>
              <a:gd name="connsiteY71" fmla="*/ 1590675 h 4429225"/>
              <a:gd name="connsiteX72" fmla="*/ 135277 w 4519987"/>
              <a:gd name="connsiteY72" fmla="*/ 1504950 h 4429225"/>
              <a:gd name="connsiteX73" fmla="*/ 154327 w 4519987"/>
              <a:gd name="connsiteY73" fmla="*/ 1419225 h 4429225"/>
              <a:gd name="connsiteX74" fmla="*/ 230527 w 4519987"/>
              <a:gd name="connsiteY74" fmla="*/ 1276350 h 4429225"/>
              <a:gd name="connsiteX75" fmla="*/ 240052 w 4519987"/>
              <a:gd name="connsiteY75" fmla="*/ 1247775 h 4429225"/>
              <a:gd name="connsiteX76" fmla="*/ 268627 w 4519987"/>
              <a:gd name="connsiteY76" fmla="*/ 1200150 h 4429225"/>
              <a:gd name="connsiteX77" fmla="*/ 287677 w 4519987"/>
              <a:gd name="connsiteY77" fmla="*/ 1152525 h 4429225"/>
              <a:gd name="connsiteX78" fmla="*/ 316252 w 4519987"/>
              <a:gd name="connsiteY78" fmla="*/ 1114425 h 4429225"/>
              <a:gd name="connsiteX79" fmla="*/ 363877 w 4519987"/>
              <a:gd name="connsiteY79" fmla="*/ 1038225 h 4429225"/>
              <a:gd name="connsiteX80" fmla="*/ 382927 w 4519987"/>
              <a:gd name="connsiteY80" fmla="*/ 1009650 h 4429225"/>
              <a:gd name="connsiteX81" fmla="*/ 440077 w 4519987"/>
              <a:gd name="connsiteY81" fmla="*/ 904875 h 4429225"/>
              <a:gd name="connsiteX82" fmla="*/ 478177 w 4519987"/>
              <a:gd name="connsiteY82" fmla="*/ 857250 h 4429225"/>
              <a:gd name="connsiteX83" fmla="*/ 497227 w 4519987"/>
              <a:gd name="connsiteY83" fmla="*/ 828675 h 4429225"/>
              <a:gd name="connsiteX84" fmla="*/ 535327 w 4519987"/>
              <a:gd name="connsiteY84" fmla="*/ 800100 h 4429225"/>
              <a:gd name="connsiteX85" fmla="*/ 602002 w 4519987"/>
              <a:gd name="connsiteY85" fmla="*/ 733425 h 4429225"/>
              <a:gd name="connsiteX86" fmla="*/ 668677 w 4519987"/>
              <a:gd name="connsiteY86" fmla="*/ 676275 h 4429225"/>
              <a:gd name="connsiteX87" fmla="*/ 697252 w 4519987"/>
              <a:gd name="connsiteY87" fmla="*/ 657225 h 4429225"/>
              <a:gd name="connsiteX88" fmla="*/ 840127 w 4519987"/>
              <a:gd name="connsiteY88" fmla="*/ 533400 h 4429225"/>
              <a:gd name="connsiteX89" fmla="*/ 887752 w 4519987"/>
              <a:gd name="connsiteY89" fmla="*/ 504825 h 4429225"/>
              <a:gd name="connsiteX90" fmla="*/ 1167152 w 4519987"/>
              <a:gd name="connsiteY90" fmla="*/ 311150 h 4429225"/>
              <a:gd name="connsiteX91" fmla="*/ 1268752 w 4519987"/>
              <a:gd name="connsiteY91" fmla="*/ 285750 h 4429225"/>
              <a:gd name="connsiteX92" fmla="*/ 1411627 w 4519987"/>
              <a:gd name="connsiteY92" fmla="*/ 190500 h 4429225"/>
              <a:gd name="connsiteX93" fmla="*/ 1449727 w 4519987"/>
              <a:gd name="connsiteY93" fmla="*/ 161925 h 4429225"/>
              <a:gd name="connsiteX94" fmla="*/ 1525927 w 4519987"/>
              <a:gd name="connsiteY94" fmla="*/ 152400 h 4429225"/>
              <a:gd name="connsiteX95" fmla="*/ 1583077 w 4519987"/>
              <a:gd name="connsiteY95" fmla="*/ 142875 h 4429225"/>
              <a:gd name="connsiteX96" fmla="*/ 1716427 w 4519987"/>
              <a:gd name="connsiteY96" fmla="*/ 123825 h 4429225"/>
              <a:gd name="connsiteX97" fmla="*/ 1811677 w 4519987"/>
              <a:gd name="connsiteY97" fmla="*/ 114300 h 4429225"/>
              <a:gd name="connsiteX98" fmla="*/ 1859302 w 4519987"/>
              <a:gd name="connsiteY98" fmla="*/ 104775 h 4429225"/>
              <a:gd name="connsiteX99" fmla="*/ 1916452 w 4519987"/>
              <a:gd name="connsiteY99" fmla="*/ 95250 h 4429225"/>
              <a:gd name="connsiteX100" fmla="*/ 2030752 w 4519987"/>
              <a:gd name="connsiteY100" fmla="*/ 66675 h 4429225"/>
              <a:gd name="connsiteX101" fmla="*/ 2097427 w 4519987"/>
              <a:gd name="connsiteY101" fmla="*/ 47625 h 4429225"/>
              <a:gd name="connsiteX102" fmla="*/ 2164102 w 4519987"/>
              <a:gd name="connsiteY102" fmla="*/ 38100 h 4429225"/>
              <a:gd name="connsiteX103" fmla="*/ 2392702 w 4519987"/>
              <a:gd name="connsiteY103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40077 w 4519987"/>
              <a:gd name="connsiteY52" fmla="*/ 3495675 h 4429225"/>
              <a:gd name="connsiteX53" fmla="*/ 278152 w 4519987"/>
              <a:gd name="connsiteY53" fmla="*/ 3257550 h 4429225"/>
              <a:gd name="connsiteX54" fmla="*/ 249577 w 4519987"/>
              <a:gd name="connsiteY54" fmla="*/ 3200400 h 4429225"/>
              <a:gd name="connsiteX55" fmla="*/ 240052 w 4519987"/>
              <a:gd name="connsiteY55" fmla="*/ 3162300 h 4429225"/>
              <a:gd name="connsiteX56" fmla="*/ 221002 w 4519987"/>
              <a:gd name="connsiteY56" fmla="*/ 3105150 h 4429225"/>
              <a:gd name="connsiteX57" fmla="*/ 173377 w 4519987"/>
              <a:gd name="connsiteY57" fmla="*/ 3019425 h 4429225"/>
              <a:gd name="connsiteX58" fmla="*/ 144802 w 4519987"/>
              <a:gd name="connsiteY58" fmla="*/ 2924175 h 4429225"/>
              <a:gd name="connsiteX59" fmla="*/ 68602 w 4519987"/>
              <a:gd name="connsiteY59" fmla="*/ 2724150 h 4429225"/>
              <a:gd name="connsiteX60" fmla="*/ 49552 w 4519987"/>
              <a:gd name="connsiteY60" fmla="*/ 2638425 h 4429225"/>
              <a:gd name="connsiteX61" fmla="*/ 40027 w 4519987"/>
              <a:gd name="connsiteY61" fmla="*/ 2562225 h 4429225"/>
              <a:gd name="connsiteX62" fmla="*/ 30502 w 4519987"/>
              <a:gd name="connsiteY62" fmla="*/ 2514600 h 4429225"/>
              <a:gd name="connsiteX63" fmla="*/ 11452 w 4519987"/>
              <a:gd name="connsiteY63" fmla="*/ 2400300 h 4429225"/>
              <a:gd name="connsiteX64" fmla="*/ 20977 w 4519987"/>
              <a:gd name="connsiteY64" fmla="*/ 1905000 h 4429225"/>
              <a:gd name="connsiteX65" fmla="*/ 30502 w 4519987"/>
              <a:gd name="connsiteY65" fmla="*/ 1838325 h 4429225"/>
              <a:gd name="connsiteX66" fmla="*/ 49552 w 4519987"/>
              <a:gd name="connsiteY66" fmla="*/ 1781175 h 4429225"/>
              <a:gd name="connsiteX67" fmla="*/ 59077 w 4519987"/>
              <a:gd name="connsiteY67" fmla="*/ 1743075 h 4429225"/>
              <a:gd name="connsiteX68" fmla="*/ 78127 w 4519987"/>
              <a:gd name="connsiteY68" fmla="*/ 1685925 h 4429225"/>
              <a:gd name="connsiteX69" fmla="*/ 87652 w 4519987"/>
              <a:gd name="connsiteY69" fmla="*/ 1638300 h 4429225"/>
              <a:gd name="connsiteX70" fmla="*/ 106702 w 4519987"/>
              <a:gd name="connsiteY70" fmla="*/ 1590675 h 4429225"/>
              <a:gd name="connsiteX71" fmla="*/ 135277 w 4519987"/>
              <a:gd name="connsiteY71" fmla="*/ 1504950 h 4429225"/>
              <a:gd name="connsiteX72" fmla="*/ 154327 w 4519987"/>
              <a:gd name="connsiteY72" fmla="*/ 1419225 h 4429225"/>
              <a:gd name="connsiteX73" fmla="*/ 230527 w 4519987"/>
              <a:gd name="connsiteY73" fmla="*/ 1276350 h 4429225"/>
              <a:gd name="connsiteX74" fmla="*/ 240052 w 4519987"/>
              <a:gd name="connsiteY74" fmla="*/ 1247775 h 4429225"/>
              <a:gd name="connsiteX75" fmla="*/ 268627 w 4519987"/>
              <a:gd name="connsiteY75" fmla="*/ 1200150 h 4429225"/>
              <a:gd name="connsiteX76" fmla="*/ 287677 w 4519987"/>
              <a:gd name="connsiteY76" fmla="*/ 1152525 h 4429225"/>
              <a:gd name="connsiteX77" fmla="*/ 316252 w 4519987"/>
              <a:gd name="connsiteY77" fmla="*/ 1114425 h 4429225"/>
              <a:gd name="connsiteX78" fmla="*/ 363877 w 4519987"/>
              <a:gd name="connsiteY78" fmla="*/ 1038225 h 4429225"/>
              <a:gd name="connsiteX79" fmla="*/ 382927 w 4519987"/>
              <a:gd name="connsiteY79" fmla="*/ 1009650 h 4429225"/>
              <a:gd name="connsiteX80" fmla="*/ 440077 w 4519987"/>
              <a:gd name="connsiteY80" fmla="*/ 904875 h 4429225"/>
              <a:gd name="connsiteX81" fmla="*/ 478177 w 4519987"/>
              <a:gd name="connsiteY81" fmla="*/ 857250 h 4429225"/>
              <a:gd name="connsiteX82" fmla="*/ 497227 w 4519987"/>
              <a:gd name="connsiteY82" fmla="*/ 828675 h 4429225"/>
              <a:gd name="connsiteX83" fmla="*/ 535327 w 4519987"/>
              <a:gd name="connsiteY83" fmla="*/ 800100 h 4429225"/>
              <a:gd name="connsiteX84" fmla="*/ 602002 w 4519987"/>
              <a:gd name="connsiteY84" fmla="*/ 733425 h 4429225"/>
              <a:gd name="connsiteX85" fmla="*/ 668677 w 4519987"/>
              <a:gd name="connsiteY85" fmla="*/ 676275 h 4429225"/>
              <a:gd name="connsiteX86" fmla="*/ 697252 w 4519987"/>
              <a:gd name="connsiteY86" fmla="*/ 657225 h 4429225"/>
              <a:gd name="connsiteX87" fmla="*/ 840127 w 4519987"/>
              <a:gd name="connsiteY87" fmla="*/ 533400 h 4429225"/>
              <a:gd name="connsiteX88" fmla="*/ 887752 w 4519987"/>
              <a:gd name="connsiteY88" fmla="*/ 504825 h 4429225"/>
              <a:gd name="connsiteX89" fmla="*/ 1167152 w 4519987"/>
              <a:gd name="connsiteY89" fmla="*/ 311150 h 4429225"/>
              <a:gd name="connsiteX90" fmla="*/ 1268752 w 4519987"/>
              <a:gd name="connsiteY90" fmla="*/ 285750 h 4429225"/>
              <a:gd name="connsiteX91" fmla="*/ 1411627 w 4519987"/>
              <a:gd name="connsiteY91" fmla="*/ 190500 h 4429225"/>
              <a:gd name="connsiteX92" fmla="*/ 1449727 w 4519987"/>
              <a:gd name="connsiteY92" fmla="*/ 161925 h 4429225"/>
              <a:gd name="connsiteX93" fmla="*/ 1525927 w 4519987"/>
              <a:gd name="connsiteY93" fmla="*/ 152400 h 4429225"/>
              <a:gd name="connsiteX94" fmla="*/ 1583077 w 4519987"/>
              <a:gd name="connsiteY94" fmla="*/ 142875 h 4429225"/>
              <a:gd name="connsiteX95" fmla="*/ 1716427 w 4519987"/>
              <a:gd name="connsiteY95" fmla="*/ 123825 h 4429225"/>
              <a:gd name="connsiteX96" fmla="*/ 1811677 w 4519987"/>
              <a:gd name="connsiteY96" fmla="*/ 114300 h 4429225"/>
              <a:gd name="connsiteX97" fmla="*/ 1859302 w 4519987"/>
              <a:gd name="connsiteY97" fmla="*/ 104775 h 4429225"/>
              <a:gd name="connsiteX98" fmla="*/ 1916452 w 4519987"/>
              <a:gd name="connsiteY98" fmla="*/ 95250 h 4429225"/>
              <a:gd name="connsiteX99" fmla="*/ 2030752 w 4519987"/>
              <a:gd name="connsiteY99" fmla="*/ 66675 h 4429225"/>
              <a:gd name="connsiteX100" fmla="*/ 2097427 w 4519987"/>
              <a:gd name="connsiteY100" fmla="*/ 47625 h 4429225"/>
              <a:gd name="connsiteX101" fmla="*/ 2164102 w 4519987"/>
              <a:gd name="connsiteY101" fmla="*/ 38100 h 4429225"/>
              <a:gd name="connsiteX102" fmla="*/ 2392702 w 4519987"/>
              <a:gd name="connsiteY102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49577 w 4519987"/>
              <a:gd name="connsiteY53" fmla="*/ 3200400 h 4429225"/>
              <a:gd name="connsiteX54" fmla="*/ 240052 w 4519987"/>
              <a:gd name="connsiteY54" fmla="*/ 3162300 h 4429225"/>
              <a:gd name="connsiteX55" fmla="*/ 221002 w 4519987"/>
              <a:gd name="connsiteY55" fmla="*/ 3105150 h 4429225"/>
              <a:gd name="connsiteX56" fmla="*/ 173377 w 4519987"/>
              <a:gd name="connsiteY56" fmla="*/ 3019425 h 4429225"/>
              <a:gd name="connsiteX57" fmla="*/ 144802 w 4519987"/>
              <a:gd name="connsiteY57" fmla="*/ 2924175 h 4429225"/>
              <a:gd name="connsiteX58" fmla="*/ 68602 w 4519987"/>
              <a:gd name="connsiteY58" fmla="*/ 2724150 h 4429225"/>
              <a:gd name="connsiteX59" fmla="*/ 49552 w 4519987"/>
              <a:gd name="connsiteY59" fmla="*/ 2638425 h 4429225"/>
              <a:gd name="connsiteX60" fmla="*/ 40027 w 4519987"/>
              <a:gd name="connsiteY60" fmla="*/ 2562225 h 4429225"/>
              <a:gd name="connsiteX61" fmla="*/ 30502 w 4519987"/>
              <a:gd name="connsiteY61" fmla="*/ 2514600 h 4429225"/>
              <a:gd name="connsiteX62" fmla="*/ 11452 w 4519987"/>
              <a:gd name="connsiteY62" fmla="*/ 2400300 h 4429225"/>
              <a:gd name="connsiteX63" fmla="*/ 20977 w 4519987"/>
              <a:gd name="connsiteY63" fmla="*/ 1905000 h 4429225"/>
              <a:gd name="connsiteX64" fmla="*/ 30502 w 4519987"/>
              <a:gd name="connsiteY64" fmla="*/ 1838325 h 4429225"/>
              <a:gd name="connsiteX65" fmla="*/ 49552 w 4519987"/>
              <a:gd name="connsiteY65" fmla="*/ 1781175 h 4429225"/>
              <a:gd name="connsiteX66" fmla="*/ 59077 w 4519987"/>
              <a:gd name="connsiteY66" fmla="*/ 1743075 h 4429225"/>
              <a:gd name="connsiteX67" fmla="*/ 78127 w 4519987"/>
              <a:gd name="connsiteY67" fmla="*/ 1685925 h 4429225"/>
              <a:gd name="connsiteX68" fmla="*/ 87652 w 4519987"/>
              <a:gd name="connsiteY68" fmla="*/ 1638300 h 4429225"/>
              <a:gd name="connsiteX69" fmla="*/ 106702 w 4519987"/>
              <a:gd name="connsiteY69" fmla="*/ 1590675 h 4429225"/>
              <a:gd name="connsiteX70" fmla="*/ 135277 w 4519987"/>
              <a:gd name="connsiteY70" fmla="*/ 1504950 h 4429225"/>
              <a:gd name="connsiteX71" fmla="*/ 154327 w 4519987"/>
              <a:gd name="connsiteY71" fmla="*/ 1419225 h 4429225"/>
              <a:gd name="connsiteX72" fmla="*/ 230527 w 4519987"/>
              <a:gd name="connsiteY72" fmla="*/ 1276350 h 4429225"/>
              <a:gd name="connsiteX73" fmla="*/ 240052 w 4519987"/>
              <a:gd name="connsiteY73" fmla="*/ 1247775 h 4429225"/>
              <a:gd name="connsiteX74" fmla="*/ 268627 w 4519987"/>
              <a:gd name="connsiteY74" fmla="*/ 1200150 h 4429225"/>
              <a:gd name="connsiteX75" fmla="*/ 287677 w 4519987"/>
              <a:gd name="connsiteY75" fmla="*/ 1152525 h 4429225"/>
              <a:gd name="connsiteX76" fmla="*/ 316252 w 4519987"/>
              <a:gd name="connsiteY76" fmla="*/ 1114425 h 4429225"/>
              <a:gd name="connsiteX77" fmla="*/ 363877 w 4519987"/>
              <a:gd name="connsiteY77" fmla="*/ 1038225 h 4429225"/>
              <a:gd name="connsiteX78" fmla="*/ 382927 w 4519987"/>
              <a:gd name="connsiteY78" fmla="*/ 1009650 h 4429225"/>
              <a:gd name="connsiteX79" fmla="*/ 440077 w 4519987"/>
              <a:gd name="connsiteY79" fmla="*/ 904875 h 4429225"/>
              <a:gd name="connsiteX80" fmla="*/ 478177 w 4519987"/>
              <a:gd name="connsiteY80" fmla="*/ 857250 h 4429225"/>
              <a:gd name="connsiteX81" fmla="*/ 497227 w 4519987"/>
              <a:gd name="connsiteY81" fmla="*/ 828675 h 4429225"/>
              <a:gd name="connsiteX82" fmla="*/ 535327 w 4519987"/>
              <a:gd name="connsiteY82" fmla="*/ 800100 h 4429225"/>
              <a:gd name="connsiteX83" fmla="*/ 602002 w 4519987"/>
              <a:gd name="connsiteY83" fmla="*/ 733425 h 4429225"/>
              <a:gd name="connsiteX84" fmla="*/ 668677 w 4519987"/>
              <a:gd name="connsiteY84" fmla="*/ 676275 h 4429225"/>
              <a:gd name="connsiteX85" fmla="*/ 697252 w 4519987"/>
              <a:gd name="connsiteY85" fmla="*/ 657225 h 4429225"/>
              <a:gd name="connsiteX86" fmla="*/ 840127 w 4519987"/>
              <a:gd name="connsiteY86" fmla="*/ 533400 h 4429225"/>
              <a:gd name="connsiteX87" fmla="*/ 887752 w 4519987"/>
              <a:gd name="connsiteY87" fmla="*/ 504825 h 4429225"/>
              <a:gd name="connsiteX88" fmla="*/ 1167152 w 4519987"/>
              <a:gd name="connsiteY88" fmla="*/ 311150 h 4429225"/>
              <a:gd name="connsiteX89" fmla="*/ 1268752 w 4519987"/>
              <a:gd name="connsiteY89" fmla="*/ 285750 h 4429225"/>
              <a:gd name="connsiteX90" fmla="*/ 1411627 w 4519987"/>
              <a:gd name="connsiteY90" fmla="*/ 190500 h 4429225"/>
              <a:gd name="connsiteX91" fmla="*/ 1449727 w 4519987"/>
              <a:gd name="connsiteY91" fmla="*/ 161925 h 4429225"/>
              <a:gd name="connsiteX92" fmla="*/ 1525927 w 4519987"/>
              <a:gd name="connsiteY92" fmla="*/ 152400 h 4429225"/>
              <a:gd name="connsiteX93" fmla="*/ 1583077 w 4519987"/>
              <a:gd name="connsiteY93" fmla="*/ 142875 h 4429225"/>
              <a:gd name="connsiteX94" fmla="*/ 1716427 w 4519987"/>
              <a:gd name="connsiteY94" fmla="*/ 123825 h 4429225"/>
              <a:gd name="connsiteX95" fmla="*/ 1811677 w 4519987"/>
              <a:gd name="connsiteY95" fmla="*/ 114300 h 4429225"/>
              <a:gd name="connsiteX96" fmla="*/ 1859302 w 4519987"/>
              <a:gd name="connsiteY96" fmla="*/ 104775 h 4429225"/>
              <a:gd name="connsiteX97" fmla="*/ 1916452 w 4519987"/>
              <a:gd name="connsiteY97" fmla="*/ 95250 h 4429225"/>
              <a:gd name="connsiteX98" fmla="*/ 2030752 w 4519987"/>
              <a:gd name="connsiteY98" fmla="*/ 66675 h 4429225"/>
              <a:gd name="connsiteX99" fmla="*/ 2097427 w 4519987"/>
              <a:gd name="connsiteY99" fmla="*/ 47625 h 4429225"/>
              <a:gd name="connsiteX100" fmla="*/ 2164102 w 4519987"/>
              <a:gd name="connsiteY100" fmla="*/ 38100 h 4429225"/>
              <a:gd name="connsiteX101" fmla="*/ 2392702 w 4519987"/>
              <a:gd name="connsiteY101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49577 w 4519987"/>
              <a:gd name="connsiteY53" fmla="*/ 3200400 h 4429225"/>
              <a:gd name="connsiteX54" fmla="*/ 221002 w 4519987"/>
              <a:gd name="connsiteY54" fmla="*/ 3105150 h 4429225"/>
              <a:gd name="connsiteX55" fmla="*/ 173377 w 4519987"/>
              <a:gd name="connsiteY55" fmla="*/ 3019425 h 4429225"/>
              <a:gd name="connsiteX56" fmla="*/ 144802 w 4519987"/>
              <a:gd name="connsiteY56" fmla="*/ 2924175 h 4429225"/>
              <a:gd name="connsiteX57" fmla="*/ 68602 w 4519987"/>
              <a:gd name="connsiteY57" fmla="*/ 2724150 h 4429225"/>
              <a:gd name="connsiteX58" fmla="*/ 49552 w 4519987"/>
              <a:gd name="connsiteY58" fmla="*/ 2638425 h 4429225"/>
              <a:gd name="connsiteX59" fmla="*/ 40027 w 4519987"/>
              <a:gd name="connsiteY59" fmla="*/ 2562225 h 4429225"/>
              <a:gd name="connsiteX60" fmla="*/ 30502 w 4519987"/>
              <a:gd name="connsiteY60" fmla="*/ 2514600 h 4429225"/>
              <a:gd name="connsiteX61" fmla="*/ 11452 w 4519987"/>
              <a:gd name="connsiteY61" fmla="*/ 2400300 h 4429225"/>
              <a:gd name="connsiteX62" fmla="*/ 20977 w 4519987"/>
              <a:gd name="connsiteY62" fmla="*/ 1905000 h 4429225"/>
              <a:gd name="connsiteX63" fmla="*/ 30502 w 4519987"/>
              <a:gd name="connsiteY63" fmla="*/ 1838325 h 4429225"/>
              <a:gd name="connsiteX64" fmla="*/ 49552 w 4519987"/>
              <a:gd name="connsiteY64" fmla="*/ 1781175 h 4429225"/>
              <a:gd name="connsiteX65" fmla="*/ 59077 w 4519987"/>
              <a:gd name="connsiteY65" fmla="*/ 1743075 h 4429225"/>
              <a:gd name="connsiteX66" fmla="*/ 78127 w 4519987"/>
              <a:gd name="connsiteY66" fmla="*/ 1685925 h 4429225"/>
              <a:gd name="connsiteX67" fmla="*/ 87652 w 4519987"/>
              <a:gd name="connsiteY67" fmla="*/ 1638300 h 4429225"/>
              <a:gd name="connsiteX68" fmla="*/ 106702 w 4519987"/>
              <a:gd name="connsiteY68" fmla="*/ 1590675 h 4429225"/>
              <a:gd name="connsiteX69" fmla="*/ 135277 w 4519987"/>
              <a:gd name="connsiteY69" fmla="*/ 1504950 h 4429225"/>
              <a:gd name="connsiteX70" fmla="*/ 154327 w 4519987"/>
              <a:gd name="connsiteY70" fmla="*/ 1419225 h 4429225"/>
              <a:gd name="connsiteX71" fmla="*/ 230527 w 4519987"/>
              <a:gd name="connsiteY71" fmla="*/ 1276350 h 4429225"/>
              <a:gd name="connsiteX72" fmla="*/ 240052 w 4519987"/>
              <a:gd name="connsiteY72" fmla="*/ 1247775 h 4429225"/>
              <a:gd name="connsiteX73" fmla="*/ 268627 w 4519987"/>
              <a:gd name="connsiteY73" fmla="*/ 1200150 h 4429225"/>
              <a:gd name="connsiteX74" fmla="*/ 287677 w 4519987"/>
              <a:gd name="connsiteY74" fmla="*/ 1152525 h 4429225"/>
              <a:gd name="connsiteX75" fmla="*/ 316252 w 4519987"/>
              <a:gd name="connsiteY75" fmla="*/ 1114425 h 4429225"/>
              <a:gd name="connsiteX76" fmla="*/ 363877 w 4519987"/>
              <a:gd name="connsiteY76" fmla="*/ 1038225 h 4429225"/>
              <a:gd name="connsiteX77" fmla="*/ 382927 w 4519987"/>
              <a:gd name="connsiteY77" fmla="*/ 1009650 h 4429225"/>
              <a:gd name="connsiteX78" fmla="*/ 440077 w 4519987"/>
              <a:gd name="connsiteY78" fmla="*/ 904875 h 4429225"/>
              <a:gd name="connsiteX79" fmla="*/ 478177 w 4519987"/>
              <a:gd name="connsiteY79" fmla="*/ 857250 h 4429225"/>
              <a:gd name="connsiteX80" fmla="*/ 497227 w 4519987"/>
              <a:gd name="connsiteY80" fmla="*/ 828675 h 4429225"/>
              <a:gd name="connsiteX81" fmla="*/ 535327 w 4519987"/>
              <a:gd name="connsiteY81" fmla="*/ 800100 h 4429225"/>
              <a:gd name="connsiteX82" fmla="*/ 602002 w 4519987"/>
              <a:gd name="connsiteY82" fmla="*/ 733425 h 4429225"/>
              <a:gd name="connsiteX83" fmla="*/ 668677 w 4519987"/>
              <a:gd name="connsiteY83" fmla="*/ 676275 h 4429225"/>
              <a:gd name="connsiteX84" fmla="*/ 697252 w 4519987"/>
              <a:gd name="connsiteY84" fmla="*/ 657225 h 4429225"/>
              <a:gd name="connsiteX85" fmla="*/ 840127 w 4519987"/>
              <a:gd name="connsiteY85" fmla="*/ 533400 h 4429225"/>
              <a:gd name="connsiteX86" fmla="*/ 887752 w 4519987"/>
              <a:gd name="connsiteY86" fmla="*/ 504825 h 4429225"/>
              <a:gd name="connsiteX87" fmla="*/ 1167152 w 4519987"/>
              <a:gd name="connsiteY87" fmla="*/ 311150 h 4429225"/>
              <a:gd name="connsiteX88" fmla="*/ 1268752 w 4519987"/>
              <a:gd name="connsiteY88" fmla="*/ 285750 h 4429225"/>
              <a:gd name="connsiteX89" fmla="*/ 1411627 w 4519987"/>
              <a:gd name="connsiteY89" fmla="*/ 190500 h 4429225"/>
              <a:gd name="connsiteX90" fmla="*/ 1449727 w 4519987"/>
              <a:gd name="connsiteY90" fmla="*/ 161925 h 4429225"/>
              <a:gd name="connsiteX91" fmla="*/ 1525927 w 4519987"/>
              <a:gd name="connsiteY91" fmla="*/ 152400 h 4429225"/>
              <a:gd name="connsiteX92" fmla="*/ 1583077 w 4519987"/>
              <a:gd name="connsiteY92" fmla="*/ 142875 h 4429225"/>
              <a:gd name="connsiteX93" fmla="*/ 1716427 w 4519987"/>
              <a:gd name="connsiteY93" fmla="*/ 123825 h 4429225"/>
              <a:gd name="connsiteX94" fmla="*/ 1811677 w 4519987"/>
              <a:gd name="connsiteY94" fmla="*/ 114300 h 4429225"/>
              <a:gd name="connsiteX95" fmla="*/ 1859302 w 4519987"/>
              <a:gd name="connsiteY95" fmla="*/ 104775 h 4429225"/>
              <a:gd name="connsiteX96" fmla="*/ 1916452 w 4519987"/>
              <a:gd name="connsiteY96" fmla="*/ 95250 h 4429225"/>
              <a:gd name="connsiteX97" fmla="*/ 2030752 w 4519987"/>
              <a:gd name="connsiteY97" fmla="*/ 66675 h 4429225"/>
              <a:gd name="connsiteX98" fmla="*/ 2097427 w 4519987"/>
              <a:gd name="connsiteY98" fmla="*/ 47625 h 4429225"/>
              <a:gd name="connsiteX99" fmla="*/ 2164102 w 4519987"/>
              <a:gd name="connsiteY99" fmla="*/ 38100 h 4429225"/>
              <a:gd name="connsiteX100" fmla="*/ 2392702 w 4519987"/>
              <a:gd name="connsiteY100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73377 w 4519987"/>
              <a:gd name="connsiteY54" fmla="*/ 3019425 h 4429225"/>
              <a:gd name="connsiteX55" fmla="*/ 144802 w 4519987"/>
              <a:gd name="connsiteY55" fmla="*/ 2924175 h 4429225"/>
              <a:gd name="connsiteX56" fmla="*/ 68602 w 4519987"/>
              <a:gd name="connsiteY56" fmla="*/ 2724150 h 4429225"/>
              <a:gd name="connsiteX57" fmla="*/ 49552 w 4519987"/>
              <a:gd name="connsiteY57" fmla="*/ 2638425 h 4429225"/>
              <a:gd name="connsiteX58" fmla="*/ 40027 w 4519987"/>
              <a:gd name="connsiteY58" fmla="*/ 2562225 h 4429225"/>
              <a:gd name="connsiteX59" fmla="*/ 30502 w 4519987"/>
              <a:gd name="connsiteY59" fmla="*/ 2514600 h 4429225"/>
              <a:gd name="connsiteX60" fmla="*/ 11452 w 4519987"/>
              <a:gd name="connsiteY60" fmla="*/ 2400300 h 4429225"/>
              <a:gd name="connsiteX61" fmla="*/ 20977 w 4519987"/>
              <a:gd name="connsiteY61" fmla="*/ 1905000 h 4429225"/>
              <a:gd name="connsiteX62" fmla="*/ 30502 w 4519987"/>
              <a:gd name="connsiteY62" fmla="*/ 1838325 h 4429225"/>
              <a:gd name="connsiteX63" fmla="*/ 49552 w 4519987"/>
              <a:gd name="connsiteY63" fmla="*/ 1781175 h 4429225"/>
              <a:gd name="connsiteX64" fmla="*/ 59077 w 4519987"/>
              <a:gd name="connsiteY64" fmla="*/ 1743075 h 4429225"/>
              <a:gd name="connsiteX65" fmla="*/ 78127 w 4519987"/>
              <a:gd name="connsiteY65" fmla="*/ 1685925 h 4429225"/>
              <a:gd name="connsiteX66" fmla="*/ 87652 w 4519987"/>
              <a:gd name="connsiteY66" fmla="*/ 1638300 h 4429225"/>
              <a:gd name="connsiteX67" fmla="*/ 106702 w 4519987"/>
              <a:gd name="connsiteY67" fmla="*/ 1590675 h 4429225"/>
              <a:gd name="connsiteX68" fmla="*/ 135277 w 4519987"/>
              <a:gd name="connsiteY68" fmla="*/ 1504950 h 4429225"/>
              <a:gd name="connsiteX69" fmla="*/ 154327 w 4519987"/>
              <a:gd name="connsiteY69" fmla="*/ 1419225 h 4429225"/>
              <a:gd name="connsiteX70" fmla="*/ 230527 w 4519987"/>
              <a:gd name="connsiteY70" fmla="*/ 1276350 h 4429225"/>
              <a:gd name="connsiteX71" fmla="*/ 240052 w 4519987"/>
              <a:gd name="connsiteY71" fmla="*/ 1247775 h 4429225"/>
              <a:gd name="connsiteX72" fmla="*/ 268627 w 4519987"/>
              <a:gd name="connsiteY72" fmla="*/ 1200150 h 4429225"/>
              <a:gd name="connsiteX73" fmla="*/ 287677 w 4519987"/>
              <a:gd name="connsiteY73" fmla="*/ 1152525 h 4429225"/>
              <a:gd name="connsiteX74" fmla="*/ 316252 w 4519987"/>
              <a:gd name="connsiteY74" fmla="*/ 1114425 h 4429225"/>
              <a:gd name="connsiteX75" fmla="*/ 363877 w 4519987"/>
              <a:gd name="connsiteY75" fmla="*/ 1038225 h 4429225"/>
              <a:gd name="connsiteX76" fmla="*/ 382927 w 4519987"/>
              <a:gd name="connsiteY76" fmla="*/ 1009650 h 4429225"/>
              <a:gd name="connsiteX77" fmla="*/ 440077 w 4519987"/>
              <a:gd name="connsiteY77" fmla="*/ 904875 h 4429225"/>
              <a:gd name="connsiteX78" fmla="*/ 478177 w 4519987"/>
              <a:gd name="connsiteY78" fmla="*/ 857250 h 4429225"/>
              <a:gd name="connsiteX79" fmla="*/ 497227 w 4519987"/>
              <a:gd name="connsiteY79" fmla="*/ 828675 h 4429225"/>
              <a:gd name="connsiteX80" fmla="*/ 535327 w 4519987"/>
              <a:gd name="connsiteY80" fmla="*/ 800100 h 4429225"/>
              <a:gd name="connsiteX81" fmla="*/ 602002 w 4519987"/>
              <a:gd name="connsiteY81" fmla="*/ 733425 h 4429225"/>
              <a:gd name="connsiteX82" fmla="*/ 668677 w 4519987"/>
              <a:gd name="connsiteY82" fmla="*/ 676275 h 4429225"/>
              <a:gd name="connsiteX83" fmla="*/ 697252 w 4519987"/>
              <a:gd name="connsiteY83" fmla="*/ 657225 h 4429225"/>
              <a:gd name="connsiteX84" fmla="*/ 840127 w 4519987"/>
              <a:gd name="connsiteY84" fmla="*/ 533400 h 4429225"/>
              <a:gd name="connsiteX85" fmla="*/ 887752 w 4519987"/>
              <a:gd name="connsiteY85" fmla="*/ 504825 h 4429225"/>
              <a:gd name="connsiteX86" fmla="*/ 1167152 w 4519987"/>
              <a:gd name="connsiteY86" fmla="*/ 311150 h 4429225"/>
              <a:gd name="connsiteX87" fmla="*/ 1268752 w 4519987"/>
              <a:gd name="connsiteY87" fmla="*/ 285750 h 4429225"/>
              <a:gd name="connsiteX88" fmla="*/ 1411627 w 4519987"/>
              <a:gd name="connsiteY88" fmla="*/ 190500 h 4429225"/>
              <a:gd name="connsiteX89" fmla="*/ 1449727 w 4519987"/>
              <a:gd name="connsiteY89" fmla="*/ 161925 h 4429225"/>
              <a:gd name="connsiteX90" fmla="*/ 1525927 w 4519987"/>
              <a:gd name="connsiteY90" fmla="*/ 152400 h 4429225"/>
              <a:gd name="connsiteX91" fmla="*/ 1583077 w 4519987"/>
              <a:gd name="connsiteY91" fmla="*/ 142875 h 4429225"/>
              <a:gd name="connsiteX92" fmla="*/ 1716427 w 4519987"/>
              <a:gd name="connsiteY92" fmla="*/ 123825 h 4429225"/>
              <a:gd name="connsiteX93" fmla="*/ 1811677 w 4519987"/>
              <a:gd name="connsiteY93" fmla="*/ 114300 h 4429225"/>
              <a:gd name="connsiteX94" fmla="*/ 1859302 w 4519987"/>
              <a:gd name="connsiteY94" fmla="*/ 104775 h 4429225"/>
              <a:gd name="connsiteX95" fmla="*/ 1916452 w 4519987"/>
              <a:gd name="connsiteY95" fmla="*/ 95250 h 4429225"/>
              <a:gd name="connsiteX96" fmla="*/ 2030752 w 4519987"/>
              <a:gd name="connsiteY96" fmla="*/ 66675 h 4429225"/>
              <a:gd name="connsiteX97" fmla="*/ 2097427 w 4519987"/>
              <a:gd name="connsiteY97" fmla="*/ 47625 h 4429225"/>
              <a:gd name="connsiteX98" fmla="*/ 2164102 w 4519987"/>
              <a:gd name="connsiteY98" fmla="*/ 38100 h 4429225"/>
              <a:gd name="connsiteX99" fmla="*/ 2392702 w 4519987"/>
              <a:gd name="connsiteY99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9552 w 4519987"/>
              <a:gd name="connsiteY56" fmla="*/ 2638425 h 4429225"/>
              <a:gd name="connsiteX57" fmla="*/ 40027 w 4519987"/>
              <a:gd name="connsiteY57" fmla="*/ 2562225 h 4429225"/>
              <a:gd name="connsiteX58" fmla="*/ 30502 w 4519987"/>
              <a:gd name="connsiteY58" fmla="*/ 2514600 h 4429225"/>
              <a:gd name="connsiteX59" fmla="*/ 11452 w 4519987"/>
              <a:gd name="connsiteY59" fmla="*/ 2400300 h 4429225"/>
              <a:gd name="connsiteX60" fmla="*/ 20977 w 4519987"/>
              <a:gd name="connsiteY60" fmla="*/ 1905000 h 4429225"/>
              <a:gd name="connsiteX61" fmla="*/ 30502 w 4519987"/>
              <a:gd name="connsiteY61" fmla="*/ 1838325 h 4429225"/>
              <a:gd name="connsiteX62" fmla="*/ 49552 w 4519987"/>
              <a:gd name="connsiteY62" fmla="*/ 1781175 h 4429225"/>
              <a:gd name="connsiteX63" fmla="*/ 59077 w 4519987"/>
              <a:gd name="connsiteY63" fmla="*/ 1743075 h 4429225"/>
              <a:gd name="connsiteX64" fmla="*/ 78127 w 4519987"/>
              <a:gd name="connsiteY64" fmla="*/ 1685925 h 4429225"/>
              <a:gd name="connsiteX65" fmla="*/ 87652 w 4519987"/>
              <a:gd name="connsiteY65" fmla="*/ 1638300 h 4429225"/>
              <a:gd name="connsiteX66" fmla="*/ 106702 w 4519987"/>
              <a:gd name="connsiteY66" fmla="*/ 1590675 h 4429225"/>
              <a:gd name="connsiteX67" fmla="*/ 135277 w 4519987"/>
              <a:gd name="connsiteY67" fmla="*/ 1504950 h 4429225"/>
              <a:gd name="connsiteX68" fmla="*/ 154327 w 4519987"/>
              <a:gd name="connsiteY68" fmla="*/ 1419225 h 4429225"/>
              <a:gd name="connsiteX69" fmla="*/ 230527 w 4519987"/>
              <a:gd name="connsiteY69" fmla="*/ 1276350 h 4429225"/>
              <a:gd name="connsiteX70" fmla="*/ 240052 w 4519987"/>
              <a:gd name="connsiteY70" fmla="*/ 1247775 h 4429225"/>
              <a:gd name="connsiteX71" fmla="*/ 268627 w 4519987"/>
              <a:gd name="connsiteY71" fmla="*/ 1200150 h 4429225"/>
              <a:gd name="connsiteX72" fmla="*/ 287677 w 4519987"/>
              <a:gd name="connsiteY72" fmla="*/ 1152525 h 4429225"/>
              <a:gd name="connsiteX73" fmla="*/ 316252 w 4519987"/>
              <a:gd name="connsiteY73" fmla="*/ 1114425 h 4429225"/>
              <a:gd name="connsiteX74" fmla="*/ 363877 w 4519987"/>
              <a:gd name="connsiteY74" fmla="*/ 1038225 h 4429225"/>
              <a:gd name="connsiteX75" fmla="*/ 382927 w 4519987"/>
              <a:gd name="connsiteY75" fmla="*/ 1009650 h 4429225"/>
              <a:gd name="connsiteX76" fmla="*/ 440077 w 4519987"/>
              <a:gd name="connsiteY76" fmla="*/ 904875 h 4429225"/>
              <a:gd name="connsiteX77" fmla="*/ 478177 w 4519987"/>
              <a:gd name="connsiteY77" fmla="*/ 857250 h 4429225"/>
              <a:gd name="connsiteX78" fmla="*/ 497227 w 4519987"/>
              <a:gd name="connsiteY78" fmla="*/ 828675 h 4429225"/>
              <a:gd name="connsiteX79" fmla="*/ 535327 w 4519987"/>
              <a:gd name="connsiteY79" fmla="*/ 800100 h 4429225"/>
              <a:gd name="connsiteX80" fmla="*/ 602002 w 4519987"/>
              <a:gd name="connsiteY80" fmla="*/ 733425 h 4429225"/>
              <a:gd name="connsiteX81" fmla="*/ 668677 w 4519987"/>
              <a:gd name="connsiteY81" fmla="*/ 676275 h 4429225"/>
              <a:gd name="connsiteX82" fmla="*/ 697252 w 4519987"/>
              <a:gd name="connsiteY82" fmla="*/ 657225 h 4429225"/>
              <a:gd name="connsiteX83" fmla="*/ 840127 w 4519987"/>
              <a:gd name="connsiteY83" fmla="*/ 533400 h 4429225"/>
              <a:gd name="connsiteX84" fmla="*/ 887752 w 4519987"/>
              <a:gd name="connsiteY84" fmla="*/ 504825 h 4429225"/>
              <a:gd name="connsiteX85" fmla="*/ 1167152 w 4519987"/>
              <a:gd name="connsiteY85" fmla="*/ 311150 h 4429225"/>
              <a:gd name="connsiteX86" fmla="*/ 1268752 w 4519987"/>
              <a:gd name="connsiteY86" fmla="*/ 285750 h 4429225"/>
              <a:gd name="connsiteX87" fmla="*/ 1411627 w 4519987"/>
              <a:gd name="connsiteY87" fmla="*/ 190500 h 4429225"/>
              <a:gd name="connsiteX88" fmla="*/ 1449727 w 4519987"/>
              <a:gd name="connsiteY88" fmla="*/ 161925 h 4429225"/>
              <a:gd name="connsiteX89" fmla="*/ 1525927 w 4519987"/>
              <a:gd name="connsiteY89" fmla="*/ 152400 h 4429225"/>
              <a:gd name="connsiteX90" fmla="*/ 1583077 w 4519987"/>
              <a:gd name="connsiteY90" fmla="*/ 142875 h 4429225"/>
              <a:gd name="connsiteX91" fmla="*/ 1716427 w 4519987"/>
              <a:gd name="connsiteY91" fmla="*/ 123825 h 4429225"/>
              <a:gd name="connsiteX92" fmla="*/ 1811677 w 4519987"/>
              <a:gd name="connsiteY92" fmla="*/ 114300 h 4429225"/>
              <a:gd name="connsiteX93" fmla="*/ 1859302 w 4519987"/>
              <a:gd name="connsiteY93" fmla="*/ 104775 h 4429225"/>
              <a:gd name="connsiteX94" fmla="*/ 1916452 w 4519987"/>
              <a:gd name="connsiteY94" fmla="*/ 95250 h 4429225"/>
              <a:gd name="connsiteX95" fmla="*/ 2030752 w 4519987"/>
              <a:gd name="connsiteY95" fmla="*/ 66675 h 4429225"/>
              <a:gd name="connsiteX96" fmla="*/ 2097427 w 4519987"/>
              <a:gd name="connsiteY96" fmla="*/ 47625 h 4429225"/>
              <a:gd name="connsiteX97" fmla="*/ 2164102 w 4519987"/>
              <a:gd name="connsiteY97" fmla="*/ 38100 h 4429225"/>
              <a:gd name="connsiteX98" fmla="*/ 2392702 w 4519987"/>
              <a:gd name="connsiteY98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0027 w 4519987"/>
              <a:gd name="connsiteY56" fmla="*/ 2562225 h 4429225"/>
              <a:gd name="connsiteX57" fmla="*/ 30502 w 4519987"/>
              <a:gd name="connsiteY57" fmla="*/ 2514600 h 4429225"/>
              <a:gd name="connsiteX58" fmla="*/ 11452 w 4519987"/>
              <a:gd name="connsiteY58" fmla="*/ 2400300 h 4429225"/>
              <a:gd name="connsiteX59" fmla="*/ 20977 w 4519987"/>
              <a:gd name="connsiteY59" fmla="*/ 1905000 h 4429225"/>
              <a:gd name="connsiteX60" fmla="*/ 30502 w 4519987"/>
              <a:gd name="connsiteY60" fmla="*/ 1838325 h 4429225"/>
              <a:gd name="connsiteX61" fmla="*/ 49552 w 4519987"/>
              <a:gd name="connsiteY61" fmla="*/ 1781175 h 4429225"/>
              <a:gd name="connsiteX62" fmla="*/ 59077 w 4519987"/>
              <a:gd name="connsiteY62" fmla="*/ 1743075 h 4429225"/>
              <a:gd name="connsiteX63" fmla="*/ 78127 w 4519987"/>
              <a:gd name="connsiteY63" fmla="*/ 1685925 h 4429225"/>
              <a:gd name="connsiteX64" fmla="*/ 87652 w 4519987"/>
              <a:gd name="connsiteY64" fmla="*/ 1638300 h 4429225"/>
              <a:gd name="connsiteX65" fmla="*/ 106702 w 4519987"/>
              <a:gd name="connsiteY65" fmla="*/ 1590675 h 4429225"/>
              <a:gd name="connsiteX66" fmla="*/ 135277 w 4519987"/>
              <a:gd name="connsiteY66" fmla="*/ 1504950 h 4429225"/>
              <a:gd name="connsiteX67" fmla="*/ 154327 w 4519987"/>
              <a:gd name="connsiteY67" fmla="*/ 1419225 h 4429225"/>
              <a:gd name="connsiteX68" fmla="*/ 230527 w 4519987"/>
              <a:gd name="connsiteY68" fmla="*/ 1276350 h 4429225"/>
              <a:gd name="connsiteX69" fmla="*/ 240052 w 4519987"/>
              <a:gd name="connsiteY69" fmla="*/ 1247775 h 4429225"/>
              <a:gd name="connsiteX70" fmla="*/ 268627 w 4519987"/>
              <a:gd name="connsiteY70" fmla="*/ 1200150 h 4429225"/>
              <a:gd name="connsiteX71" fmla="*/ 287677 w 4519987"/>
              <a:gd name="connsiteY71" fmla="*/ 1152525 h 4429225"/>
              <a:gd name="connsiteX72" fmla="*/ 316252 w 4519987"/>
              <a:gd name="connsiteY72" fmla="*/ 1114425 h 4429225"/>
              <a:gd name="connsiteX73" fmla="*/ 363877 w 4519987"/>
              <a:gd name="connsiteY73" fmla="*/ 1038225 h 4429225"/>
              <a:gd name="connsiteX74" fmla="*/ 382927 w 4519987"/>
              <a:gd name="connsiteY74" fmla="*/ 1009650 h 4429225"/>
              <a:gd name="connsiteX75" fmla="*/ 440077 w 4519987"/>
              <a:gd name="connsiteY75" fmla="*/ 904875 h 4429225"/>
              <a:gd name="connsiteX76" fmla="*/ 478177 w 4519987"/>
              <a:gd name="connsiteY76" fmla="*/ 857250 h 4429225"/>
              <a:gd name="connsiteX77" fmla="*/ 497227 w 4519987"/>
              <a:gd name="connsiteY77" fmla="*/ 828675 h 4429225"/>
              <a:gd name="connsiteX78" fmla="*/ 535327 w 4519987"/>
              <a:gd name="connsiteY78" fmla="*/ 800100 h 4429225"/>
              <a:gd name="connsiteX79" fmla="*/ 602002 w 4519987"/>
              <a:gd name="connsiteY79" fmla="*/ 733425 h 4429225"/>
              <a:gd name="connsiteX80" fmla="*/ 668677 w 4519987"/>
              <a:gd name="connsiteY80" fmla="*/ 676275 h 4429225"/>
              <a:gd name="connsiteX81" fmla="*/ 697252 w 4519987"/>
              <a:gd name="connsiteY81" fmla="*/ 657225 h 4429225"/>
              <a:gd name="connsiteX82" fmla="*/ 840127 w 4519987"/>
              <a:gd name="connsiteY82" fmla="*/ 533400 h 4429225"/>
              <a:gd name="connsiteX83" fmla="*/ 887752 w 4519987"/>
              <a:gd name="connsiteY83" fmla="*/ 504825 h 4429225"/>
              <a:gd name="connsiteX84" fmla="*/ 1167152 w 4519987"/>
              <a:gd name="connsiteY84" fmla="*/ 311150 h 4429225"/>
              <a:gd name="connsiteX85" fmla="*/ 1268752 w 4519987"/>
              <a:gd name="connsiteY85" fmla="*/ 285750 h 4429225"/>
              <a:gd name="connsiteX86" fmla="*/ 1411627 w 4519987"/>
              <a:gd name="connsiteY86" fmla="*/ 190500 h 4429225"/>
              <a:gd name="connsiteX87" fmla="*/ 1449727 w 4519987"/>
              <a:gd name="connsiteY87" fmla="*/ 161925 h 4429225"/>
              <a:gd name="connsiteX88" fmla="*/ 1525927 w 4519987"/>
              <a:gd name="connsiteY88" fmla="*/ 152400 h 4429225"/>
              <a:gd name="connsiteX89" fmla="*/ 1583077 w 4519987"/>
              <a:gd name="connsiteY89" fmla="*/ 142875 h 4429225"/>
              <a:gd name="connsiteX90" fmla="*/ 1716427 w 4519987"/>
              <a:gd name="connsiteY90" fmla="*/ 123825 h 4429225"/>
              <a:gd name="connsiteX91" fmla="*/ 1811677 w 4519987"/>
              <a:gd name="connsiteY91" fmla="*/ 114300 h 4429225"/>
              <a:gd name="connsiteX92" fmla="*/ 1859302 w 4519987"/>
              <a:gd name="connsiteY92" fmla="*/ 104775 h 4429225"/>
              <a:gd name="connsiteX93" fmla="*/ 1916452 w 4519987"/>
              <a:gd name="connsiteY93" fmla="*/ 95250 h 4429225"/>
              <a:gd name="connsiteX94" fmla="*/ 2030752 w 4519987"/>
              <a:gd name="connsiteY94" fmla="*/ 66675 h 4429225"/>
              <a:gd name="connsiteX95" fmla="*/ 2097427 w 4519987"/>
              <a:gd name="connsiteY95" fmla="*/ 47625 h 4429225"/>
              <a:gd name="connsiteX96" fmla="*/ 2164102 w 4519987"/>
              <a:gd name="connsiteY96" fmla="*/ 38100 h 4429225"/>
              <a:gd name="connsiteX97" fmla="*/ 2392702 w 4519987"/>
              <a:gd name="connsiteY97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0027 w 4519987"/>
              <a:gd name="connsiteY56" fmla="*/ 2562225 h 4429225"/>
              <a:gd name="connsiteX57" fmla="*/ 11452 w 4519987"/>
              <a:gd name="connsiteY57" fmla="*/ 2400300 h 4429225"/>
              <a:gd name="connsiteX58" fmla="*/ 20977 w 4519987"/>
              <a:gd name="connsiteY58" fmla="*/ 1905000 h 4429225"/>
              <a:gd name="connsiteX59" fmla="*/ 30502 w 4519987"/>
              <a:gd name="connsiteY59" fmla="*/ 1838325 h 4429225"/>
              <a:gd name="connsiteX60" fmla="*/ 49552 w 4519987"/>
              <a:gd name="connsiteY60" fmla="*/ 1781175 h 4429225"/>
              <a:gd name="connsiteX61" fmla="*/ 59077 w 4519987"/>
              <a:gd name="connsiteY61" fmla="*/ 1743075 h 4429225"/>
              <a:gd name="connsiteX62" fmla="*/ 78127 w 4519987"/>
              <a:gd name="connsiteY62" fmla="*/ 1685925 h 4429225"/>
              <a:gd name="connsiteX63" fmla="*/ 87652 w 4519987"/>
              <a:gd name="connsiteY63" fmla="*/ 1638300 h 4429225"/>
              <a:gd name="connsiteX64" fmla="*/ 106702 w 4519987"/>
              <a:gd name="connsiteY64" fmla="*/ 1590675 h 4429225"/>
              <a:gd name="connsiteX65" fmla="*/ 135277 w 4519987"/>
              <a:gd name="connsiteY65" fmla="*/ 1504950 h 4429225"/>
              <a:gd name="connsiteX66" fmla="*/ 154327 w 4519987"/>
              <a:gd name="connsiteY66" fmla="*/ 1419225 h 4429225"/>
              <a:gd name="connsiteX67" fmla="*/ 230527 w 4519987"/>
              <a:gd name="connsiteY67" fmla="*/ 1276350 h 4429225"/>
              <a:gd name="connsiteX68" fmla="*/ 240052 w 4519987"/>
              <a:gd name="connsiteY68" fmla="*/ 1247775 h 4429225"/>
              <a:gd name="connsiteX69" fmla="*/ 268627 w 4519987"/>
              <a:gd name="connsiteY69" fmla="*/ 1200150 h 4429225"/>
              <a:gd name="connsiteX70" fmla="*/ 287677 w 4519987"/>
              <a:gd name="connsiteY70" fmla="*/ 1152525 h 4429225"/>
              <a:gd name="connsiteX71" fmla="*/ 316252 w 4519987"/>
              <a:gd name="connsiteY71" fmla="*/ 1114425 h 4429225"/>
              <a:gd name="connsiteX72" fmla="*/ 363877 w 4519987"/>
              <a:gd name="connsiteY72" fmla="*/ 1038225 h 4429225"/>
              <a:gd name="connsiteX73" fmla="*/ 382927 w 4519987"/>
              <a:gd name="connsiteY73" fmla="*/ 1009650 h 4429225"/>
              <a:gd name="connsiteX74" fmla="*/ 440077 w 4519987"/>
              <a:gd name="connsiteY74" fmla="*/ 904875 h 4429225"/>
              <a:gd name="connsiteX75" fmla="*/ 478177 w 4519987"/>
              <a:gd name="connsiteY75" fmla="*/ 857250 h 4429225"/>
              <a:gd name="connsiteX76" fmla="*/ 497227 w 4519987"/>
              <a:gd name="connsiteY76" fmla="*/ 828675 h 4429225"/>
              <a:gd name="connsiteX77" fmla="*/ 535327 w 4519987"/>
              <a:gd name="connsiteY77" fmla="*/ 800100 h 4429225"/>
              <a:gd name="connsiteX78" fmla="*/ 602002 w 4519987"/>
              <a:gd name="connsiteY78" fmla="*/ 733425 h 4429225"/>
              <a:gd name="connsiteX79" fmla="*/ 668677 w 4519987"/>
              <a:gd name="connsiteY79" fmla="*/ 676275 h 4429225"/>
              <a:gd name="connsiteX80" fmla="*/ 697252 w 4519987"/>
              <a:gd name="connsiteY80" fmla="*/ 657225 h 4429225"/>
              <a:gd name="connsiteX81" fmla="*/ 840127 w 4519987"/>
              <a:gd name="connsiteY81" fmla="*/ 533400 h 4429225"/>
              <a:gd name="connsiteX82" fmla="*/ 887752 w 4519987"/>
              <a:gd name="connsiteY82" fmla="*/ 504825 h 4429225"/>
              <a:gd name="connsiteX83" fmla="*/ 1167152 w 4519987"/>
              <a:gd name="connsiteY83" fmla="*/ 311150 h 4429225"/>
              <a:gd name="connsiteX84" fmla="*/ 1268752 w 4519987"/>
              <a:gd name="connsiteY84" fmla="*/ 285750 h 4429225"/>
              <a:gd name="connsiteX85" fmla="*/ 1411627 w 4519987"/>
              <a:gd name="connsiteY85" fmla="*/ 190500 h 4429225"/>
              <a:gd name="connsiteX86" fmla="*/ 1449727 w 4519987"/>
              <a:gd name="connsiteY86" fmla="*/ 161925 h 4429225"/>
              <a:gd name="connsiteX87" fmla="*/ 1525927 w 4519987"/>
              <a:gd name="connsiteY87" fmla="*/ 152400 h 4429225"/>
              <a:gd name="connsiteX88" fmla="*/ 1583077 w 4519987"/>
              <a:gd name="connsiteY88" fmla="*/ 142875 h 4429225"/>
              <a:gd name="connsiteX89" fmla="*/ 1716427 w 4519987"/>
              <a:gd name="connsiteY89" fmla="*/ 123825 h 4429225"/>
              <a:gd name="connsiteX90" fmla="*/ 1811677 w 4519987"/>
              <a:gd name="connsiteY90" fmla="*/ 114300 h 4429225"/>
              <a:gd name="connsiteX91" fmla="*/ 1859302 w 4519987"/>
              <a:gd name="connsiteY91" fmla="*/ 104775 h 4429225"/>
              <a:gd name="connsiteX92" fmla="*/ 1916452 w 4519987"/>
              <a:gd name="connsiteY92" fmla="*/ 95250 h 4429225"/>
              <a:gd name="connsiteX93" fmla="*/ 2030752 w 4519987"/>
              <a:gd name="connsiteY93" fmla="*/ 66675 h 4429225"/>
              <a:gd name="connsiteX94" fmla="*/ 2097427 w 4519987"/>
              <a:gd name="connsiteY94" fmla="*/ 47625 h 4429225"/>
              <a:gd name="connsiteX95" fmla="*/ 2164102 w 4519987"/>
              <a:gd name="connsiteY95" fmla="*/ 38100 h 4429225"/>
              <a:gd name="connsiteX96" fmla="*/ 2392702 w 4519987"/>
              <a:gd name="connsiteY96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11452 w 4519987"/>
              <a:gd name="connsiteY56" fmla="*/ 2400300 h 4429225"/>
              <a:gd name="connsiteX57" fmla="*/ 20977 w 4519987"/>
              <a:gd name="connsiteY57" fmla="*/ 1905000 h 4429225"/>
              <a:gd name="connsiteX58" fmla="*/ 30502 w 4519987"/>
              <a:gd name="connsiteY58" fmla="*/ 1838325 h 4429225"/>
              <a:gd name="connsiteX59" fmla="*/ 49552 w 4519987"/>
              <a:gd name="connsiteY59" fmla="*/ 1781175 h 4429225"/>
              <a:gd name="connsiteX60" fmla="*/ 59077 w 4519987"/>
              <a:gd name="connsiteY60" fmla="*/ 1743075 h 4429225"/>
              <a:gd name="connsiteX61" fmla="*/ 78127 w 4519987"/>
              <a:gd name="connsiteY61" fmla="*/ 1685925 h 4429225"/>
              <a:gd name="connsiteX62" fmla="*/ 87652 w 4519987"/>
              <a:gd name="connsiteY62" fmla="*/ 1638300 h 4429225"/>
              <a:gd name="connsiteX63" fmla="*/ 106702 w 4519987"/>
              <a:gd name="connsiteY63" fmla="*/ 1590675 h 4429225"/>
              <a:gd name="connsiteX64" fmla="*/ 135277 w 4519987"/>
              <a:gd name="connsiteY64" fmla="*/ 1504950 h 4429225"/>
              <a:gd name="connsiteX65" fmla="*/ 154327 w 4519987"/>
              <a:gd name="connsiteY65" fmla="*/ 1419225 h 4429225"/>
              <a:gd name="connsiteX66" fmla="*/ 230527 w 4519987"/>
              <a:gd name="connsiteY66" fmla="*/ 1276350 h 4429225"/>
              <a:gd name="connsiteX67" fmla="*/ 240052 w 4519987"/>
              <a:gd name="connsiteY67" fmla="*/ 1247775 h 4429225"/>
              <a:gd name="connsiteX68" fmla="*/ 268627 w 4519987"/>
              <a:gd name="connsiteY68" fmla="*/ 1200150 h 4429225"/>
              <a:gd name="connsiteX69" fmla="*/ 287677 w 4519987"/>
              <a:gd name="connsiteY69" fmla="*/ 1152525 h 4429225"/>
              <a:gd name="connsiteX70" fmla="*/ 316252 w 4519987"/>
              <a:gd name="connsiteY70" fmla="*/ 1114425 h 4429225"/>
              <a:gd name="connsiteX71" fmla="*/ 363877 w 4519987"/>
              <a:gd name="connsiteY71" fmla="*/ 1038225 h 4429225"/>
              <a:gd name="connsiteX72" fmla="*/ 382927 w 4519987"/>
              <a:gd name="connsiteY72" fmla="*/ 1009650 h 4429225"/>
              <a:gd name="connsiteX73" fmla="*/ 440077 w 4519987"/>
              <a:gd name="connsiteY73" fmla="*/ 904875 h 4429225"/>
              <a:gd name="connsiteX74" fmla="*/ 478177 w 4519987"/>
              <a:gd name="connsiteY74" fmla="*/ 857250 h 4429225"/>
              <a:gd name="connsiteX75" fmla="*/ 497227 w 4519987"/>
              <a:gd name="connsiteY75" fmla="*/ 828675 h 4429225"/>
              <a:gd name="connsiteX76" fmla="*/ 535327 w 4519987"/>
              <a:gd name="connsiteY76" fmla="*/ 800100 h 4429225"/>
              <a:gd name="connsiteX77" fmla="*/ 602002 w 4519987"/>
              <a:gd name="connsiteY77" fmla="*/ 733425 h 4429225"/>
              <a:gd name="connsiteX78" fmla="*/ 668677 w 4519987"/>
              <a:gd name="connsiteY78" fmla="*/ 676275 h 4429225"/>
              <a:gd name="connsiteX79" fmla="*/ 697252 w 4519987"/>
              <a:gd name="connsiteY79" fmla="*/ 657225 h 4429225"/>
              <a:gd name="connsiteX80" fmla="*/ 840127 w 4519987"/>
              <a:gd name="connsiteY80" fmla="*/ 533400 h 4429225"/>
              <a:gd name="connsiteX81" fmla="*/ 887752 w 4519987"/>
              <a:gd name="connsiteY81" fmla="*/ 504825 h 4429225"/>
              <a:gd name="connsiteX82" fmla="*/ 1167152 w 4519987"/>
              <a:gd name="connsiteY82" fmla="*/ 311150 h 4429225"/>
              <a:gd name="connsiteX83" fmla="*/ 1268752 w 4519987"/>
              <a:gd name="connsiteY83" fmla="*/ 285750 h 4429225"/>
              <a:gd name="connsiteX84" fmla="*/ 1411627 w 4519987"/>
              <a:gd name="connsiteY84" fmla="*/ 190500 h 4429225"/>
              <a:gd name="connsiteX85" fmla="*/ 1449727 w 4519987"/>
              <a:gd name="connsiteY85" fmla="*/ 161925 h 4429225"/>
              <a:gd name="connsiteX86" fmla="*/ 1525927 w 4519987"/>
              <a:gd name="connsiteY86" fmla="*/ 152400 h 4429225"/>
              <a:gd name="connsiteX87" fmla="*/ 1583077 w 4519987"/>
              <a:gd name="connsiteY87" fmla="*/ 142875 h 4429225"/>
              <a:gd name="connsiteX88" fmla="*/ 1716427 w 4519987"/>
              <a:gd name="connsiteY88" fmla="*/ 123825 h 4429225"/>
              <a:gd name="connsiteX89" fmla="*/ 1811677 w 4519987"/>
              <a:gd name="connsiteY89" fmla="*/ 114300 h 4429225"/>
              <a:gd name="connsiteX90" fmla="*/ 1859302 w 4519987"/>
              <a:gd name="connsiteY90" fmla="*/ 104775 h 4429225"/>
              <a:gd name="connsiteX91" fmla="*/ 1916452 w 4519987"/>
              <a:gd name="connsiteY91" fmla="*/ 95250 h 4429225"/>
              <a:gd name="connsiteX92" fmla="*/ 2030752 w 4519987"/>
              <a:gd name="connsiteY92" fmla="*/ 66675 h 4429225"/>
              <a:gd name="connsiteX93" fmla="*/ 2097427 w 4519987"/>
              <a:gd name="connsiteY93" fmla="*/ 47625 h 4429225"/>
              <a:gd name="connsiteX94" fmla="*/ 2164102 w 4519987"/>
              <a:gd name="connsiteY94" fmla="*/ 38100 h 4429225"/>
              <a:gd name="connsiteX95" fmla="*/ 2392702 w 4519987"/>
              <a:gd name="connsiteY95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202394 w 4501379"/>
              <a:gd name="connsiteY53" fmla="*/ 3105150 h 4429225"/>
              <a:gd name="connsiteX54" fmla="*/ 126194 w 4501379"/>
              <a:gd name="connsiteY54" fmla="*/ 2924175 h 4429225"/>
              <a:gd name="connsiteX55" fmla="*/ 49994 w 4501379"/>
              <a:gd name="connsiteY55" fmla="*/ 2724150 h 4429225"/>
              <a:gd name="connsiteX56" fmla="*/ 56344 w 4501379"/>
              <a:gd name="connsiteY56" fmla="*/ 2368550 h 4429225"/>
              <a:gd name="connsiteX57" fmla="*/ 2369 w 4501379"/>
              <a:gd name="connsiteY57" fmla="*/ 1905000 h 4429225"/>
              <a:gd name="connsiteX58" fmla="*/ 11894 w 4501379"/>
              <a:gd name="connsiteY58" fmla="*/ 1838325 h 4429225"/>
              <a:gd name="connsiteX59" fmla="*/ 30944 w 4501379"/>
              <a:gd name="connsiteY59" fmla="*/ 1781175 h 4429225"/>
              <a:gd name="connsiteX60" fmla="*/ 40469 w 4501379"/>
              <a:gd name="connsiteY60" fmla="*/ 1743075 h 4429225"/>
              <a:gd name="connsiteX61" fmla="*/ 59519 w 4501379"/>
              <a:gd name="connsiteY61" fmla="*/ 1685925 h 4429225"/>
              <a:gd name="connsiteX62" fmla="*/ 69044 w 4501379"/>
              <a:gd name="connsiteY62" fmla="*/ 1638300 h 4429225"/>
              <a:gd name="connsiteX63" fmla="*/ 88094 w 4501379"/>
              <a:gd name="connsiteY63" fmla="*/ 1590675 h 4429225"/>
              <a:gd name="connsiteX64" fmla="*/ 116669 w 4501379"/>
              <a:gd name="connsiteY64" fmla="*/ 1504950 h 4429225"/>
              <a:gd name="connsiteX65" fmla="*/ 135719 w 4501379"/>
              <a:gd name="connsiteY65" fmla="*/ 1419225 h 4429225"/>
              <a:gd name="connsiteX66" fmla="*/ 211919 w 4501379"/>
              <a:gd name="connsiteY66" fmla="*/ 1276350 h 4429225"/>
              <a:gd name="connsiteX67" fmla="*/ 221444 w 4501379"/>
              <a:gd name="connsiteY67" fmla="*/ 1247775 h 4429225"/>
              <a:gd name="connsiteX68" fmla="*/ 250019 w 4501379"/>
              <a:gd name="connsiteY68" fmla="*/ 1200150 h 4429225"/>
              <a:gd name="connsiteX69" fmla="*/ 269069 w 4501379"/>
              <a:gd name="connsiteY69" fmla="*/ 1152525 h 4429225"/>
              <a:gd name="connsiteX70" fmla="*/ 297644 w 4501379"/>
              <a:gd name="connsiteY70" fmla="*/ 1114425 h 4429225"/>
              <a:gd name="connsiteX71" fmla="*/ 345269 w 4501379"/>
              <a:gd name="connsiteY71" fmla="*/ 1038225 h 4429225"/>
              <a:gd name="connsiteX72" fmla="*/ 364319 w 4501379"/>
              <a:gd name="connsiteY72" fmla="*/ 1009650 h 4429225"/>
              <a:gd name="connsiteX73" fmla="*/ 421469 w 4501379"/>
              <a:gd name="connsiteY73" fmla="*/ 904875 h 4429225"/>
              <a:gd name="connsiteX74" fmla="*/ 459569 w 4501379"/>
              <a:gd name="connsiteY74" fmla="*/ 857250 h 4429225"/>
              <a:gd name="connsiteX75" fmla="*/ 478619 w 4501379"/>
              <a:gd name="connsiteY75" fmla="*/ 828675 h 4429225"/>
              <a:gd name="connsiteX76" fmla="*/ 516719 w 4501379"/>
              <a:gd name="connsiteY76" fmla="*/ 800100 h 4429225"/>
              <a:gd name="connsiteX77" fmla="*/ 583394 w 4501379"/>
              <a:gd name="connsiteY77" fmla="*/ 733425 h 4429225"/>
              <a:gd name="connsiteX78" fmla="*/ 650069 w 4501379"/>
              <a:gd name="connsiteY78" fmla="*/ 676275 h 4429225"/>
              <a:gd name="connsiteX79" fmla="*/ 678644 w 4501379"/>
              <a:gd name="connsiteY79" fmla="*/ 657225 h 4429225"/>
              <a:gd name="connsiteX80" fmla="*/ 821519 w 4501379"/>
              <a:gd name="connsiteY80" fmla="*/ 533400 h 4429225"/>
              <a:gd name="connsiteX81" fmla="*/ 869144 w 4501379"/>
              <a:gd name="connsiteY81" fmla="*/ 504825 h 4429225"/>
              <a:gd name="connsiteX82" fmla="*/ 1148544 w 4501379"/>
              <a:gd name="connsiteY82" fmla="*/ 311150 h 4429225"/>
              <a:gd name="connsiteX83" fmla="*/ 1250144 w 4501379"/>
              <a:gd name="connsiteY83" fmla="*/ 285750 h 4429225"/>
              <a:gd name="connsiteX84" fmla="*/ 1393019 w 4501379"/>
              <a:gd name="connsiteY84" fmla="*/ 190500 h 4429225"/>
              <a:gd name="connsiteX85" fmla="*/ 1431119 w 4501379"/>
              <a:gd name="connsiteY85" fmla="*/ 161925 h 4429225"/>
              <a:gd name="connsiteX86" fmla="*/ 1507319 w 4501379"/>
              <a:gd name="connsiteY86" fmla="*/ 152400 h 4429225"/>
              <a:gd name="connsiteX87" fmla="*/ 1564469 w 4501379"/>
              <a:gd name="connsiteY87" fmla="*/ 142875 h 4429225"/>
              <a:gd name="connsiteX88" fmla="*/ 1697819 w 4501379"/>
              <a:gd name="connsiteY88" fmla="*/ 123825 h 4429225"/>
              <a:gd name="connsiteX89" fmla="*/ 1793069 w 4501379"/>
              <a:gd name="connsiteY89" fmla="*/ 114300 h 4429225"/>
              <a:gd name="connsiteX90" fmla="*/ 1840694 w 4501379"/>
              <a:gd name="connsiteY90" fmla="*/ 104775 h 4429225"/>
              <a:gd name="connsiteX91" fmla="*/ 1897844 w 4501379"/>
              <a:gd name="connsiteY91" fmla="*/ 95250 h 4429225"/>
              <a:gd name="connsiteX92" fmla="*/ 2012144 w 4501379"/>
              <a:gd name="connsiteY92" fmla="*/ 66675 h 4429225"/>
              <a:gd name="connsiteX93" fmla="*/ 2078819 w 4501379"/>
              <a:gd name="connsiteY93" fmla="*/ 47625 h 4429225"/>
              <a:gd name="connsiteX94" fmla="*/ 2145494 w 4501379"/>
              <a:gd name="connsiteY94" fmla="*/ 38100 h 4429225"/>
              <a:gd name="connsiteX95" fmla="*/ 2374094 w 4501379"/>
              <a:gd name="connsiteY95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202394 w 4501379"/>
              <a:gd name="connsiteY53" fmla="*/ 3105150 h 4429225"/>
              <a:gd name="connsiteX54" fmla="*/ 126194 w 4501379"/>
              <a:gd name="connsiteY54" fmla="*/ 2924175 h 4429225"/>
              <a:gd name="connsiteX55" fmla="*/ 56344 w 4501379"/>
              <a:gd name="connsiteY55" fmla="*/ 2368550 h 4429225"/>
              <a:gd name="connsiteX56" fmla="*/ 2369 w 4501379"/>
              <a:gd name="connsiteY56" fmla="*/ 1905000 h 4429225"/>
              <a:gd name="connsiteX57" fmla="*/ 11894 w 4501379"/>
              <a:gd name="connsiteY57" fmla="*/ 1838325 h 4429225"/>
              <a:gd name="connsiteX58" fmla="*/ 30944 w 4501379"/>
              <a:gd name="connsiteY58" fmla="*/ 1781175 h 4429225"/>
              <a:gd name="connsiteX59" fmla="*/ 40469 w 4501379"/>
              <a:gd name="connsiteY59" fmla="*/ 1743075 h 4429225"/>
              <a:gd name="connsiteX60" fmla="*/ 59519 w 4501379"/>
              <a:gd name="connsiteY60" fmla="*/ 1685925 h 4429225"/>
              <a:gd name="connsiteX61" fmla="*/ 69044 w 4501379"/>
              <a:gd name="connsiteY61" fmla="*/ 1638300 h 4429225"/>
              <a:gd name="connsiteX62" fmla="*/ 88094 w 4501379"/>
              <a:gd name="connsiteY62" fmla="*/ 1590675 h 4429225"/>
              <a:gd name="connsiteX63" fmla="*/ 116669 w 4501379"/>
              <a:gd name="connsiteY63" fmla="*/ 1504950 h 4429225"/>
              <a:gd name="connsiteX64" fmla="*/ 135719 w 4501379"/>
              <a:gd name="connsiteY64" fmla="*/ 1419225 h 4429225"/>
              <a:gd name="connsiteX65" fmla="*/ 211919 w 4501379"/>
              <a:gd name="connsiteY65" fmla="*/ 1276350 h 4429225"/>
              <a:gd name="connsiteX66" fmla="*/ 221444 w 4501379"/>
              <a:gd name="connsiteY66" fmla="*/ 1247775 h 4429225"/>
              <a:gd name="connsiteX67" fmla="*/ 250019 w 4501379"/>
              <a:gd name="connsiteY67" fmla="*/ 1200150 h 4429225"/>
              <a:gd name="connsiteX68" fmla="*/ 269069 w 4501379"/>
              <a:gd name="connsiteY68" fmla="*/ 1152525 h 4429225"/>
              <a:gd name="connsiteX69" fmla="*/ 297644 w 4501379"/>
              <a:gd name="connsiteY69" fmla="*/ 1114425 h 4429225"/>
              <a:gd name="connsiteX70" fmla="*/ 345269 w 4501379"/>
              <a:gd name="connsiteY70" fmla="*/ 1038225 h 4429225"/>
              <a:gd name="connsiteX71" fmla="*/ 364319 w 4501379"/>
              <a:gd name="connsiteY71" fmla="*/ 1009650 h 4429225"/>
              <a:gd name="connsiteX72" fmla="*/ 421469 w 4501379"/>
              <a:gd name="connsiteY72" fmla="*/ 904875 h 4429225"/>
              <a:gd name="connsiteX73" fmla="*/ 459569 w 4501379"/>
              <a:gd name="connsiteY73" fmla="*/ 857250 h 4429225"/>
              <a:gd name="connsiteX74" fmla="*/ 478619 w 4501379"/>
              <a:gd name="connsiteY74" fmla="*/ 828675 h 4429225"/>
              <a:gd name="connsiteX75" fmla="*/ 516719 w 4501379"/>
              <a:gd name="connsiteY75" fmla="*/ 800100 h 4429225"/>
              <a:gd name="connsiteX76" fmla="*/ 583394 w 4501379"/>
              <a:gd name="connsiteY76" fmla="*/ 733425 h 4429225"/>
              <a:gd name="connsiteX77" fmla="*/ 650069 w 4501379"/>
              <a:gd name="connsiteY77" fmla="*/ 676275 h 4429225"/>
              <a:gd name="connsiteX78" fmla="*/ 678644 w 4501379"/>
              <a:gd name="connsiteY78" fmla="*/ 657225 h 4429225"/>
              <a:gd name="connsiteX79" fmla="*/ 821519 w 4501379"/>
              <a:gd name="connsiteY79" fmla="*/ 533400 h 4429225"/>
              <a:gd name="connsiteX80" fmla="*/ 869144 w 4501379"/>
              <a:gd name="connsiteY80" fmla="*/ 504825 h 4429225"/>
              <a:gd name="connsiteX81" fmla="*/ 1148544 w 4501379"/>
              <a:gd name="connsiteY81" fmla="*/ 311150 h 4429225"/>
              <a:gd name="connsiteX82" fmla="*/ 1250144 w 4501379"/>
              <a:gd name="connsiteY82" fmla="*/ 285750 h 4429225"/>
              <a:gd name="connsiteX83" fmla="*/ 1393019 w 4501379"/>
              <a:gd name="connsiteY83" fmla="*/ 190500 h 4429225"/>
              <a:gd name="connsiteX84" fmla="*/ 1431119 w 4501379"/>
              <a:gd name="connsiteY84" fmla="*/ 161925 h 4429225"/>
              <a:gd name="connsiteX85" fmla="*/ 1507319 w 4501379"/>
              <a:gd name="connsiteY85" fmla="*/ 152400 h 4429225"/>
              <a:gd name="connsiteX86" fmla="*/ 1564469 w 4501379"/>
              <a:gd name="connsiteY86" fmla="*/ 142875 h 4429225"/>
              <a:gd name="connsiteX87" fmla="*/ 1697819 w 4501379"/>
              <a:gd name="connsiteY87" fmla="*/ 123825 h 4429225"/>
              <a:gd name="connsiteX88" fmla="*/ 1793069 w 4501379"/>
              <a:gd name="connsiteY88" fmla="*/ 114300 h 4429225"/>
              <a:gd name="connsiteX89" fmla="*/ 1840694 w 4501379"/>
              <a:gd name="connsiteY89" fmla="*/ 104775 h 4429225"/>
              <a:gd name="connsiteX90" fmla="*/ 1897844 w 4501379"/>
              <a:gd name="connsiteY90" fmla="*/ 95250 h 4429225"/>
              <a:gd name="connsiteX91" fmla="*/ 2012144 w 4501379"/>
              <a:gd name="connsiteY91" fmla="*/ 66675 h 4429225"/>
              <a:gd name="connsiteX92" fmla="*/ 2078819 w 4501379"/>
              <a:gd name="connsiteY92" fmla="*/ 47625 h 4429225"/>
              <a:gd name="connsiteX93" fmla="*/ 2145494 w 4501379"/>
              <a:gd name="connsiteY93" fmla="*/ 38100 h 4429225"/>
              <a:gd name="connsiteX94" fmla="*/ 2374094 w 4501379"/>
              <a:gd name="connsiteY94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126194 w 4501379"/>
              <a:gd name="connsiteY53" fmla="*/ 292417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4051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92919 w 4501379"/>
              <a:gd name="connsiteY50" fmla="*/ 3657600 h 4429225"/>
              <a:gd name="connsiteX51" fmla="*/ 44051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92919 w 4501379"/>
              <a:gd name="connsiteY50" fmla="*/ 3657600 h 4429225"/>
              <a:gd name="connsiteX51" fmla="*/ 446869 w 4501379"/>
              <a:gd name="connsiteY51" fmla="*/ 34702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145369 w 4501379"/>
              <a:gd name="connsiteY47" fmla="*/ 411162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313644 w 4501379"/>
              <a:gd name="connsiteY46" fmla="*/ 4216400 h 4429225"/>
              <a:gd name="connsiteX47" fmla="*/ 1145369 w 4501379"/>
              <a:gd name="connsiteY47" fmla="*/ 411162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94"/>
              <a:gd name="connsiteX1" fmla="*/ 2402669 w 4501379"/>
              <a:gd name="connsiteY1" fmla="*/ 28575 h 4429294"/>
              <a:gd name="connsiteX2" fmla="*/ 2478869 w 4501379"/>
              <a:gd name="connsiteY2" fmla="*/ 47625 h 4429294"/>
              <a:gd name="connsiteX3" fmla="*/ 2736044 w 4501379"/>
              <a:gd name="connsiteY3" fmla="*/ 66675 h 4429294"/>
              <a:gd name="connsiteX4" fmla="*/ 2812244 w 4501379"/>
              <a:gd name="connsiteY4" fmla="*/ 76200 h 4429294"/>
              <a:gd name="connsiteX5" fmla="*/ 2897969 w 4501379"/>
              <a:gd name="connsiteY5" fmla="*/ 85725 h 4429294"/>
              <a:gd name="connsiteX6" fmla="*/ 2955119 w 4501379"/>
              <a:gd name="connsiteY6" fmla="*/ 114300 h 4429294"/>
              <a:gd name="connsiteX7" fmla="*/ 2993219 w 4501379"/>
              <a:gd name="connsiteY7" fmla="*/ 123825 h 4429294"/>
              <a:gd name="connsiteX8" fmla="*/ 3117044 w 4501379"/>
              <a:gd name="connsiteY8" fmla="*/ 171450 h 4429294"/>
              <a:gd name="connsiteX9" fmla="*/ 3155144 w 4501379"/>
              <a:gd name="connsiteY9" fmla="*/ 190500 h 4429294"/>
              <a:gd name="connsiteX10" fmla="*/ 3221819 w 4501379"/>
              <a:gd name="connsiteY10" fmla="*/ 228600 h 4429294"/>
              <a:gd name="connsiteX11" fmla="*/ 3250394 w 4501379"/>
              <a:gd name="connsiteY11" fmla="*/ 238125 h 4429294"/>
              <a:gd name="connsiteX12" fmla="*/ 3278969 w 4501379"/>
              <a:gd name="connsiteY12" fmla="*/ 257175 h 4429294"/>
              <a:gd name="connsiteX13" fmla="*/ 3307544 w 4501379"/>
              <a:gd name="connsiteY13" fmla="*/ 266700 h 4429294"/>
              <a:gd name="connsiteX14" fmla="*/ 3336119 w 4501379"/>
              <a:gd name="connsiteY14" fmla="*/ 285750 h 4429294"/>
              <a:gd name="connsiteX15" fmla="*/ 3402794 w 4501379"/>
              <a:gd name="connsiteY15" fmla="*/ 323850 h 4429294"/>
              <a:gd name="connsiteX16" fmla="*/ 3450419 w 4501379"/>
              <a:gd name="connsiteY16" fmla="*/ 361950 h 4429294"/>
              <a:gd name="connsiteX17" fmla="*/ 3498044 w 4501379"/>
              <a:gd name="connsiteY17" fmla="*/ 390525 h 4429294"/>
              <a:gd name="connsiteX18" fmla="*/ 3612344 w 4501379"/>
              <a:gd name="connsiteY18" fmla="*/ 485775 h 4429294"/>
              <a:gd name="connsiteX19" fmla="*/ 3726644 w 4501379"/>
              <a:gd name="connsiteY19" fmla="*/ 542925 h 4429294"/>
              <a:gd name="connsiteX20" fmla="*/ 3793319 w 4501379"/>
              <a:gd name="connsiteY20" fmla="*/ 581025 h 4429294"/>
              <a:gd name="connsiteX21" fmla="*/ 4009219 w 4501379"/>
              <a:gd name="connsiteY21" fmla="*/ 819150 h 4429294"/>
              <a:gd name="connsiteX22" fmla="*/ 4145744 w 4501379"/>
              <a:gd name="connsiteY22" fmla="*/ 990600 h 4429294"/>
              <a:gd name="connsiteX23" fmla="*/ 4231469 w 4501379"/>
              <a:gd name="connsiteY23" fmla="*/ 1143000 h 4429294"/>
              <a:gd name="connsiteX24" fmla="*/ 4288619 w 4501379"/>
              <a:gd name="connsiteY24" fmla="*/ 1266825 h 4429294"/>
              <a:gd name="connsiteX25" fmla="*/ 4326719 w 4501379"/>
              <a:gd name="connsiteY25" fmla="*/ 1362075 h 4429294"/>
              <a:gd name="connsiteX26" fmla="*/ 4374344 w 4501379"/>
              <a:gd name="connsiteY26" fmla="*/ 1552575 h 4429294"/>
              <a:gd name="connsiteX27" fmla="*/ 4412444 w 4501379"/>
              <a:gd name="connsiteY27" fmla="*/ 1685925 h 4429294"/>
              <a:gd name="connsiteX28" fmla="*/ 4501344 w 4501379"/>
              <a:gd name="connsiteY28" fmla="*/ 2181225 h 4429294"/>
              <a:gd name="connsiteX29" fmla="*/ 4428319 w 4501379"/>
              <a:gd name="connsiteY29" fmla="*/ 2768600 h 4429294"/>
              <a:gd name="connsiteX30" fmla="*/ 4364819 w 4501379"/>
              <a:gd name="connsiteY30" fmla="*/ 2990850 h 4429294"/>
              <a:gd name="connsiteX31" fmla="*/ 4260044 w 4501379"/>
              <a:gd name="connsiteY31" fmla="*/ 3248025 h 4429294"/>
              <a:gd name="connsiteX32" fmla="*/ 4164794 w 4501379"/>
              <a:gd name="connsiteY32" fmla="*/ 3400425 h 4429294"/>
              <a:gd name="connsiteX33" fmla="*/ 4040969 w 4501379"/>
              <a:gd name="connsiteY33" fmla="*/ 3533775 h 4429294"/>
              <a:gd name="connsiteX34" fmla="*/ 3936194 w 4501379"/>
              <a:gd name="connsiteY34" fmla="*/ 3648075 h 4429294"/>
              <a:gd name="connsiteX35" fmla="*/ 3640919 w 4501379"/>
              <a:gd name="connsiteY35" fmla="*/ 3971925 h 4429294"/>
              <a:gd name="connsiteX36" fmla="*/ 3498044 w 4501379"/>
              <a:gd name="connsiteY36" fmla="*/ 4083050 h 4429294"/>
              <a:gd name="connsiteX37" fmla="*/ 3202769 w 4501379"/>
              <a:gd name="connsiteY37" fmla="*/ 4222750 h 4429294"/>
              <a:gd name="connsiteX38" fmla="*/ 3050369 w 4501379"/>
              <a:gd name="connsiteY38" fmla="*/ 4286250 h 4429294"/>
              <a:gd name="connsiteX39" fmla="*/ 2917019 w 4501379"/>
              <a:gd name="connsiteY39" fmla="*/ 4333875 h 4429294"/>
              <a:gd name="connsiteX40" fmla="*/ 2793194 w 4501379"/>
              <a:gd name="connsiteY40" fmla="*/ 4371975 h 4429294"/>
              <a:gd name="connsiteX41" fmla="*/ 2561419 w 4501379"/>
              <a:gd name="connsiteY41" fmla="*/ 4391025 h 4429294"/>
              <a:gd name="connsiteX42" fmla="*/ 2107394 w 4501379"/>
              <a:gd name="connsiteY42" fmla="*/ 4429125 h 4429294"/>
              <a:gd name="connsiteX43" fmla="*/ 1916894 w 4501379"/>
              <a:gd name="connsiteY43" fmla="*/ 4400550 h 4429294"/>
              <a:gd name="connsiteX44" fmla="*/ 1554944 w 4501379"/>
              <a:gd name="connsiteY44" fmla="*/ 4305300 h 4429294"/>
              <a:gd name="connsiteX45" fmla="*/ 1313644 w 4501379"/>
              <a:gd name="connsiteY45" fmla="*/ 4216400 h 4429294"/>
              <a:gd name="connsiteX46" fmla="*/ 1145369 w 4501379"/>
              <a:gd name="connsiteY46" fmla="*/ 4111625 h 4429294"/>
              <a:gd name="connsiteX47" fmla="*/ 926294 w 4501379"/>
              <a:gd name="connsiteY47" fmla="*/ 3968750 h 4429294"/>
              <a:gd name="connsiteX48" fmla="*/ 592919 w 4501379"/>
              <a:gd name="connsiteY48" fmla="*/ 3657600 h 4429294"/>
              <a:gd name="connsiteX49" fmla="*/ 446869 w 4501379"/>
              <a:gd name="connsiteY49" fmla="*/ 3470275 h 4429294"/>
              <a:gd name="connsiteX50" fmla="*/ 316694 w 4501379"/>
              <a:gd name="connsiteY50" fmla="*/ 3244850 h 4429294"/>
              <a:gd name="connsiteX51" fmla="*/ 164294 w 4501379"/>
              <a:gd name="connsiteY51" fmla="*/ 2892425 h 4429294"/>
              <a:gd name="connsiteX52" fmla="*/ 56344 w 4501379"/>
              <a:gd name="connsiteY52" fmla="*/ 2368550 h 4429294"/>
              <a:gd name="connsiteX53" fmla="*/ 2369 w 4501379"/>
              <a:gd name="connsiteY53" fmla="*/ 1905000 h 4429294"/>
              <a:gd name="connsiteX54" fmla="*/ 11894 w 4501379"/>
              <a:gd name="connsiteY54" fmla="*/ 1838325 h 4429294"/>
              <a:gd name="connsiteX55" fmla="*/ 30944 w 4501379"/>
              <a:gd name="connsiteY55" fmla="*/ 1781175 h 4429294"/>
              <a:gd name="connsiteX56" fmla="*/ 40469 w 4501379"/>
              <a:gd name="connsiteY56" fmla="*/ 1743075 h 4429294"/>
              <a:gd name="connsiteX57" fmla="*/ 59519 w 4501379"/>
              <a:gd name="connsiteY57" fmla="*/ 1685925 h 4429294"/>
              <a:gd name="connsiteX58" fmla="*/ 69044 w 4501379"/>
              <a:gd name="connsiteY58" fmla="*/ 1638300 h 4429294"/>
              <a:gd name="connsiteX59" fmla="*/ 88094 w 4501379"/>
              <a:gd name="connsiteY59" fmla="*/ 1590675 h 4429294"/>
              <a:gd name="connsiteX60" fmla="*/ 116669 w 4501379"/>
              <a:gd name="connsiteY60" fmla="*/ 1504950 h 4429294"/>
              <a:gd name="connsiteX61" fmla="*/ 135719 w 4501379"/>
              <a:gd name="connsiteY61" fmla="*/ 1419225 h 4429294"/>
              <a:gd name="connsiteX62" fmla="*/ 211919 w 4501379"/>
              <a:gd name="connsiteY62" fmla="*/ 1276350 h 4429294"/>
              <a:gd name="connsiteX63" fmla="*/ 221444 w 4501379"/>
              <a:gd name="connsiteY63" fmla="*/ 1247775 h 4429294"/>
              <a:gd name="connsiteX64" fmla="*/ 250019 w 4501379"/>
              <a:gd name="connsiteY64" fmla="*/ 1200150 h 4429294"/>
              <a:gd name="connsiteX65" fmla="*/ 269069 w 4501379"/>
              <a:gd name="connsiteY65" fmla="*/ 1152525 h 4429294"/>
              <a:gd name="connsiteX66" fmla="*/ 297644 w 4501379"/>
              <a:gd name="connsiteY66" fmla="*/ 1114425 h 4429294"/>
              <a:gd name="connsiteX67" fmla="*/ 345269 w 4501379"/>
              <a:gd name="connsiteY67" fmla="*/ 1038225 h 4429294"/>
              <a:gd name="connsiteX68" fmla="*/ 364319 w 4501379"/>
              <a:gd name="connsiteY68" fmla="*/ 1009650 h 4429294"/>
              <a:gd name="connsiteX69" fmla="*/ 421469 w 4501379"/>
              <a:gd name="connsiteY69" fmla="*/ 904875 h 4429294"/>
              <a:gd name="connsiteX70" fmla="*/ 459569 w 4501379"/>
              <a:gd name="connsiteY70" fmla="*/ 857250 h 4429294"/>
              <a:gd name="connsiteX71" fmla="*/ 478619 w 4501379"/>
              <a:gd name="connsiteY71" fmla="*/ 828675 h 4429294"/>
              <a:gd name="connsiteX72" fmla="*/ 516719 w 4501379"/>
              <a:gd name="connsiteY72" fmla="*/ 800100 h 4429294"/>
              <a:gd name="connsiteX73" fmla="*/ 583394 w 4501379"/>
              <a:gd name="connsiteY73" fmla="*/ 733425 h 4429294"/>
              <a:gd name="connsiteX74" fmla="*/ 650069 w 4501379"/>
              <a:gd name="connsiteY74" fmla="*/ 676275 h 4429294"/>
              <a:gd name="connsiteX75" fmla="*/ 678644 w 4501379"/>
              <a:gd name="connsiteY75" fmla="*/ 657225 h 4429294"/>
              <a:gd name="connsiteX76" fmla="*/ 821519 w 4501379"/>
              <a:gd name="connsiteY76" fmla="*/ 533400 h 4429294"/>
              <a:gd name="connsiteX77" fmla="*/ 869144 w 4501379"/>
              <a:gd name="connsiteY77" fmla="*/ 504825 h 4429294"/>
              <a:gd name="connsiteX78" fmla="*/ 1148544 w 4501379"/>
              <a:gd name="connsiteY78" fmla="*/ 311150 h 4429294"/>
              <a:gd name="connsiteX79" fmla="*/ 1250144 w 4501379"/>
              <a:gd name="connsiteY79" fmla="*/ 285750 h 4429294"/>
              <a:gd name="connsiteX80" fmla="*/ 1393019 w 4501379"/>
              <a:gd name="connsiteY80" fmla="*/ 190500 h 4429294"/>
              <a:gd name="connsiteX81" fmla="*/ 1431119 w 4501379"/>
              <a:gd name="connsiteY81" fmla="*/ 161925 h 4429294"/>
              <a:gd name="connsiteX82" fmla="*/ 1507319 w 4501379"/>
              <a:gd name="connsiteY82" fmla="*/ 152400 h 4429294"/>
              <a:gd name="connsiteX83" fmla="*/ 1564469 w 4501379"/>
              <a:gd name="connsiteY83" fmla="*/ 142875 h 4429294"/>
              <a:gd name="connsiteX84" fmla="*/ 1697819 w 4501379"/>
              <a:gd name="connsiteY84" fmla="*/ 123825 h 4429294"/>
              <a:gd name="connsiteX85" fmla="*/ 1793069 w 4501379"/>
              <a:gd name="connsiteY85" fmla="*/ 114300 h 4429294"/>
              <a:gd name="connsiteX86" fmla="*/ 1840694 w 4501379"/>
              <a:gd name="connsiteY86" fmla="*/ 104775 h 4429294"/>
              <a:gd name="connsiteX87" fmla="*/ 1897844 w 4501379"/>
              <a:gd name="connsiteY87" fmla="*/ 95250 h 4429294"/>
              <a:gd name="connsiteX88" fmla="*/ 2012144 w 4501379"/>
              <a:gd name="connsiteY88" fmla="*/ 66675 h 4429294"/>
              <a:gd name="connsiteX89" fmla="*/ 2078819 w 4501379"/>
              <a:gd name="connsiteY89" fmla="*/ 47625 h 4429294"/>
              <a:gd name="connsiteX90" fmla="*/ 2145494 w 4501379"/>
              <a:gd name="connsiteY90" fmla="*/ 38100 h 4429294"/>
              <a:gd name="connsiteX91" fmla="*/ 2374094 w 4501379"/>
              <a:gd name="connsiteY91" fmla="*/ 28575 h 4429294"/>
              <a:gd name="connsiteX0" fmla="*/ 2278844 w 4501379"/>
              <a:gd name="connsiteY0" fmla="*/ 0 h 4429294"/>
              <a:gd name="connsiteX1" fmla="*/ 2402669 w 4501379"/>
              <a:gd name="connsiteY1" fmla="*/ 28575 h 4429294"/>
              <a:gd name="connsiteX2" fmla="*/ 2478869 w 4501379"/>
              <a:gd name="connsiteY2" fmla="*/ 47625 h 4429294"/>
              <a:gd name="connsiteX3" fmla="*/ 2736044 w 4501379"/>
              <a:gd name="connsiteY3" fmla="*/ 66675 h 4429294"/>
              <a:gd name="connsiteX4" fmla="*/ 2812244 w 4501379"/>
              <a:gd name="connsiteY4" fmla="*/ 76200 h 4429294"/>
              <a:gd name="connsiteX5" fmla="*/ 2897969 w 4501379"/>
              <a:gd name="connsiteY5" fmla="*/ 85725 h 4429294"/>
              <a:gd name="connsiteX6" fmla="*/ 2955119 w 4501379"/>
              <a:gd name="connsiteY6" fmla="*/ 114300 h 4429294"/>
              <a:gd name="connsiteX7" fmla="*/ 2993219 w 4501379"/>
              <a:gd name="connsiteY7" fmla="*/ 123825 h 4429294"/>
              <a:gd name="connsiteX8" fmla="*/ 3117044 w 4501379"/>
              <a:gd name="connsiteY8" fmla="*/ 171450 h 4429294"/>
              <a:gd name="connsiteX9" fmla="*/ 3155144 w 4501379"/>
              <a:gd name="connsiteY9" fmla="*/ 190500 h 4429294"/>
              <a:gd name="connsiteX10" fmla="*/ 3221819 w 4501379"/>
              <a:gd name="connsiteY10" fmla="*/ 228600 h 4429294"/>
              <a:gd name="connsiteX11" fmla="*/ 3250394 w 4501379"/>
              <a:gd name="connsiteY11" fmla="*/ 238125 h 4429294"/>
              <a:gd name="connsiteX12" fmla="*/ 3278969 w 4501379"/>
              <a:gd name="connsiteY12" fmla="*/ 257175 h 4429294"/>
              <a:gd name="connsiteX13" fmla="*/ 3307544 w 4501379"/>
              <a:gd name="connsiteY13" fmla="*/ 266700 h 4429294"/>
              <a:gd name="connsiteX14" fmla="*/ 3336119 w 4501379"/>
              <a:gd name="connsiteY14" fmla="*/ 285750 h 4429294"/>
              <a:gd name="connsiteX15" fmla="*/ 3402794 w 4501379"/>
              <a:gd name="connsiteY15" fmla="*/ 323850 h 4429294"/>
              <a:gd name="connsiteX16" fmla="*/ 3450419 w 4501379"/>
              <a:gd name="connsiteY16" fmla="*/ 361950 h 4429294"/>
              <a:gd name="connsiteX17" fmla="*/ 3498044 w 4501379"/>
              <a:gd name="connsiteY17" fmla="*/ 390525 h 4429294"/>
              <a:gd name="connsiteX18" fmla="*/ 3612344 w 4501379"/>
              <a:gd name="connsiteY18" fmla="*/ 485775 h 4429294"/>
              <a:gd name="connsiteX19" fmla="*/ 3726644 w 4501379"/>
              <a:gd name="connsiteY19" fmla="*/ 542925 h 4429294"/>
              <a:gd name="connsiteX20" fmla="*/ 3793319 w 4501379"/>
              <a:gd name="connsiteY20" fmla="*/ 581025 h 4429294"/>
              <a:gd name="connsiteX21" fmla="*/ 4009219 w 4501379"/>
              <a:gd name="connsiteY21" fmla="*/ 819150 h 4429294"/>
              <a:gd name="connsiteX22" fmla="*/ 4145744 w 4501379"/>
              <a:gd name="connsiteY22" fmla="*/ 990600 h 4429294"/>
              <a:gd name="connsiteX23" fmla="*/ 4231469 w 4501379"/>
              <a:gd name="connsiteY23" fmla="*/ 1143000 h 4429294"/>
              <a:gd name="connsiteX24" fmla="*/ 4288619 w 4501379"/>
              <a:gd name="connsiteY24" fmla="*/ 1266825 h 4429294"/>
              <a:gd name="connsiteX25" fmla="*/ 4326719 w 4501379"/>
              <a:gd name="connsiteY25" fmla="*/ 1362075 h 4429294"/>
              <a:gd name="connsiteX26" fmla="*/ 4374344 w 4501379"/>
              <a:gd name="connsiteY26" fmla="*/ 1552575 h 4429294"/>
              <a:gd name="connsiteX27" fmla="*/ 4412444 w 4501379"/>
              <a:gd name="connsiteY27" fmla="*/ 1685925 h 4429294"/>
              <a:gd name="connsiteX28" fmla="*/ 4501344 w 4501379"/>
              <a:gd name="connsiteY28" fmla="*/ 2181225 h 4429294"/>
              <a:gd name="connsiteX29" fmla="*/ 4428319 w 4501379"/>
              <a:gd name="connsiteY29" fmla="*/ 2768600 h 4429294"/>
              <a:gd name="connsiteX30" fmla="*/ 4364819 w 4501379"/>
              <a:gd name="connsiteY30" fmla="*/ 2990850 h 4429294"/>
              <a:gd name="connsiteX31" fmla="*/ 4260044 w 4501379"/>
              <a:gd name="connsiteY31" fmla="*/ 3248025 h 4429294"/>
              <a:gd name="connsiteX32" fmla="*/ 4164794 w 4501379"/>
              <a:gd name="connsiteY32" fmla="*/ 3400425 h 4429294"/>
              <a:gd name="connsiteX33" fmla="*/ 4040969 w 4501379"/>
              <a:gd name="connsiteY33" fmla="*/ 3533775 h 4429294"/>
              <a:gd name="connsiteX34" fmla="*/ 3936194 w 4501379"/>
              <a:gd name="connsiteY34" fmla="*/ 3648075 h 4429294"/>
              <a:gd name="connsiteX35" fmla="*/ 3640919 w 4501379"/>
              <a:gd name="connsiteY35" fmla="*/ 3971925 h 4429294"/>
              <a:gd name="connsiteX36" fmla="*/ 3498044 w 4501379"/>
              <a:gd name="connsiteY36" fmla="*/ 4083050 h 4429294"/>
              <a:gd name="connsiteX37" fmla="*/ 3202769 w 4501379"/>
              <a:gd name="connsiteY37" fmla="*/ 4222750 h 4429294"/>
              <a:gd name="connsiteX38" fmla="*/ 3050369 w 4501379"/>
              <a:gd name="connsiteY38" fmla="*/ 4286250 h 4429294"/>
              <a:gd name="connsiteX39" fmla="*/ 2917019 w 4501379"/>
              <a:gd name="connsiteY39" fmla="*/ 4333875 h 4429294"/>
              <a:gd name="connsiteX40" fmla="*/ 2793194 w 4501379"/>
              <a:gd name="connsiteY40" fmla="*/ 4371975 h 4429294"/>
              <a:gd name="connsiteX41" fmla="*/ 2561419 w 4501379"/>
              <a:gd name="connsiteY41" fmla="*/ 4391025 h 4429294"/>
              <a:gd name="connsiteX42" fmla="*/ 2107394 w 4501379"/>
              <a:gd name="connsiteY42" fmla="*/ 4429125 h 4429294"/>
              <a:gd name="connsiteX43" fmla="*/ 1916894 w 4501379"/>
              <a:gd name="connsiteY43" fmla="*/ 4400550 h 4429294"/>
              <a:gd name="connsiteX44" fmla="*/ 1554944 w 4501379"/>
              <a:gd name="connsiteY44" fmla="*/ 4305300 h 4429294"/>
              <a:gd name="connsiteX45" fmla="*/ 1313644 w 4501379"/>
              <a:gd name="connsiteY45" fmla="*/ 4216400 h 4429294"/>
              <a:gd name="connsiteX46" fmla="*/ 1145369 w 4501379"/>
              <a:gd name="connsiteY46" fmla="*/ 4111625 h 4429294"/>
              <a:gd name="connsiteX47" fmla="*/ 926294 w 4501379"/>
              <a:gd name="connsiteY47" fmla="*/ 3968750 h 4429294"/>
              <a:gd name="connsiteX48" fmla="*/ 592919 w 4501379"/>
              <a:gd name="connsiteY48" fmla="*/ 3657600 h 4429294"/>
              <a:gd name="connsiteX49" fmla="*/ 446869 w 4501379"/>
              <a:gd name="connsiteY49" fmla="*/ 3470275 h 4429294"/>
              <a:gd name="connsiteX50" fmla="*/ 316694 w 4501379"/>
              <a:gd name="connsiteY50" fmla="*/ 3244850 h 4429294"/>
              <a:gd name="connsiteX51" fmla="*/ 164294 w 4501379"/>
              <a:gd name="connsiteY51" fmla="*/ 2892425 h 4429294"/>
              <a:gd name="connsiteX52" fmla="*/ 56344 w 4501379"/>
              <a:gd name="connsiteY52" fmla="*/ 2368550 h 4429294"/>
              <a:gd name="connsiteX53" fmla="*/ 2369 w 4501379"/>
              <a:gd name="connsiteY53" fmla="*/ 1905000 h 4429294"/>
              <a:gd name="connsiteX54" fmla="*/ 11894 w 4501379"/>
              <a:gd name="connsiteY54" fmla="*/ 1838325 h 4429294"/>
              <a:gd name="connsiteX55" fmla="*/ 30944 w 4501379"/>
              <a:gd name="connsiteY55" fmla="*/ 1781175 h 4429294"/>
              <a:gd name="connsiteX56" fmla="*/ 40469 w 4501379"/>
              <a:gd name="connsiteY56" fmla="*/ 1743075 h 4429294"/>
              <a:gd name="connsiteX57" fmla="*/ 59519 w 4501379"/>
              <a:gd name="connsiteY57" fmla="*/ 1685925 h 4429294"/>
              <a:gd name="connsiteX58" fmla="*/ 69044 w 4501379"/>
              <a:gd name="connsiteY58" fmla="*/ 1638300 h 4429294"/>
              <a:gd name="connsiteX59" fmla="*/ 88094 w 4501379"/>
              <a:gd name="connsiteY59" fmla="*/ 1590675 h 4429294"/>
              <a:gd name="connsiteX60" fmla="*/ 116669 w 4501379"/>
              <a:gd name="connsiteY60" fmla="*/ 1504950 h 4429294"/>
              <a:gd name="connsiteX61" fmla="*/ 135719 w 4501379"/>
              <a:gd name="connsiteY61" fmla="*/ 1419225 h 4429294"/>
              <a:gd name="connsiteX62" fmla="*/ 211919 w 4501379"/>
              <a:gd name="connsiteY62" fmla="*/ 1276350 h 4429294"/>
              <a:gd name="connsiteX63" fmla="*/ 221444 w 4501379"/>
              <a:gd name="connsiteY63" fmla="*/ 1247775 h 4429294"/>
              <a:gd name="connsiteX64" fmla="*/ 250019 w 4501379"/>
              <a:gd name="connsiteY64" fmla="*/ 1200150 h 4429294"/>
              <a:gd name="connsiteX65" fmla="*/ 269069 w 4501379"/>
              <a:gd name="connsiteY65" fmla="*/ 1152525 h 4429294"/>
              <a:gd name="connsiteX66" fmla="*/ 297644 w 4501379"/>
              <a:gd name="connsiteY66" fmla="*/ 1114425 h 4429294"/>
              <a:gd name="connsiteX67" fmla="*/ 345269 w 4501379"/>
              <a:gd name="connsiteY67" fmla="*/ 1038225 h 4429294"/>
              <a:gd name="connsiteX68" fmla="*/ 364319 w 4501379"/>
              <a:gd name="connsiteY68" fmla="*/ 1009650 h 4429294"/>
              <a:gd name="connsiteX69" fmla="*/ 421469 w 4501379"/>
              <a:gd name="connsiteY69" fmla="*/ 904875 h 4429294"/>
              <a:gd name="connsiteX70" fmla="*/ 459569 w 4501379"/>
              <a:gd name="connsiteY70" fmla="*/ 857250 h 4429294"/>
              <a:gd name="connsiteX71" fmla="*/ 478619 w 4501379"/>
              <a:gd name="connsiteY71" fmla="*/ 828675 h 4429294"/>
              <a:gd name="connsiteX72" fmla="*/ 516719 w 4501379"/>
              <a:gd name="connsiteY72" fmla="*/ 800100 h 4429294"/>
              <a:gd name="connsiteX73" fmla="*/ 583394 w 4501379"/>
              <a:gd name="connsiteY73" fmla="*/ 733425 h 4429294"/>
              <a:gd name="connsiteX74" fmla="*/ 650069 w 4501379"/>
              <a:gd name="connsiteY74" fmla="*/ 676275 h 4429294"/>
              <a:gd name="connsiteX75" fmla="*/ 678644 w 4501379"/>
              <a:gd name="connsiteY75" fmla="*/ 657225 h 4429294"/>
              <a:gd name="connsiteX76" fmla="*/ 821519 w 4501379"/>
              <a:gd name="connsiteY76" fmla="*/ 533400 h 4429294"/>
              <a:gd name="connsiteX77" fmla="*/ 869144 w 4501379"/>
              <a:gd name="connsiteY77" fmla="*/ 504825 h 4429294"/>
              <a:gd name="connsiteX78" fmla="*/ 1148544 w 4501379"/>
              <a:gd name="connsiteY78" fmla="*/ 311150 h 4429294"/>
              <a:gd name="connsiteX79" fmla="*/ 1250144 w 4501379"/>
              <a:gd name="connsiteY79" fmla="*/ 285750 h 4429294"/>
              <a:gd name="connsiteX80" fmla="*/ 1393019 w 4501379"/>
              <a:gd name="connsiteY80" fmla="*/ 190500 h 4429294"/>
              <a:gd name="connsiteX81" fmla="*/ 1431119 w 4501379"/>
              <a:gd name="connsiteY81" fmla="*/ 161925 h 4429294"/>
              <a:gd name="connsiteX82" fmla="*/ 1507319 w 4501379"/>
              <a:gd name="connsiteY82" fmla="*/ 152400 h 4429294"/>
              <a:gd name="connsiteX83" fmla="*/ 1564469 w 4501379"/>
              <a:gd name="connsiteY83" fmla="*/ 142875 h 4429294"/>
              <a:gd name="connsiteX84" fmla="*/ 1697819 w 4501379"/>
              <a:gd name="connsiteY84" fmla="*/ 123825 h 4429294"/>
              <a:gd name="connsiteX85" fmla="*/ 1793069 w 4501379"/>
              <a:gd name="connsiteY85" fmla="*/ 114300 h 4429294"/>
              <a:gd name="connsiteX86" fmla="*/ 1840694 w 4501379"/>
              <a:gd name="connsiteY86" fmla="*/ 104775 h 4429294"/>
              <a:gd name="connsiteX87" fmla="*/ 1897844 w 4501379"/>
              <a:gd name="connsiteY87" fmla="*/ 95250 h 4429294"/>
              <a:gd name="connsiteX88" fmla="*/ 2012144 w 4501379"/>
              <a:gd name="connsiteY88" fmla="*/ 66675 h 4429294"/>
              <a:gd name="connsiteX89" fmla="*/ 2078819 w 4501379"/>
              <a:gd name="connsiteY89" fmla="*/ 47625 h 4429294"/>
              <a:gd name="connsiteX90" fmla="*/ 2145494 w 4501379"/>
              <a:gd name="connsiteY90" fmla="*/ 38100 h 4429294"/>
              <a:gd name="connsiteX0" fmla="*/ 2278844 w 4501379"/>
              <a:gd name="connsiteY0" fmla="*/ 0 h 4429294"/>
              <a:gd name="connsiteX1" fmla="*/ 2478869 w 4501379"/>
              <a:gd name="connsiteY1" fmla="*/ 47625 h 4429294"/>
              <a:gd name="connsiteX2" fmla="*/ 2736044 w 4501379"/>
              <a:gd name="connsiteY2" fmla="*/ 66675 h 4429294"/>
              <a:gd name="connsiteX3" fmla="*/ 2812244 w 4501379"/>
              <a:gd name="connsiteY3" fmla="*/ 76200 h 4429294"/>
              <a:gd name="connsiteX4" fmla="*/ 2897969 w 4501379"/>
              <a:gd name="connsiteY4" fmla="*/ 85725 h 4429294"/>
              <a:gd name="connsiteX5" fmla="*/ 2955119 w 4501379"/>
              <a:gd name="connsiteY5" fmla="*/ 114300 h 4429294"/>
              <a:gd name="connsiteX6" fmla="*/ 2993219 w 4501379"/>
              <a:gd name="connsiteY6" fmla="*/ 123825 h 4429294"/>
              <a:gd name="connsiteX7" fmla="*/ 3117044 w 4501379"/>
              <a:gd name="connsiteY7" fmla="*/ 171450 h 4429294"/>
              <a:gd name="connsiteX8" fmla="*/ 3155144 w 4501379"/>
              <a:gd name="connsiteY8" fmla="*/ 190500 h 4429294"/>
              <a:gd name="connsiteX9" fmla="*/ 3221819 w 4501379"/>
              <a:gd name="connsiteY9" fmla="*/ 228600 h 4429294"/>
              <a:gd name="connsiteX10" fmla="*/ 3250394 w 4501379"/>
              <a:gd name="connsiteY10" fmla="*/ 238125 h 4429294"/>
              <a:gd name="connsiteX11" fmla="*/ 3278969 w 4501379"/>
              <a:gd name="connsiteY11" fmla="*/ 257175 h 4429294"/>
              <a:gd name="connsiteX12" fmla="*/ 3307544 w 4501379"/>
              <a:gd name="connsiteY12" fmla="*/ 266700 h 4429294"/>
              <a:gd name="connsiteX13" fmla="*/ 3336119 w 4501379"/>
              <a:gd name="connsiteY13" fmla="*/ 285750 h 4429294"/>
              <a:gd name="connsiteX14" fmla="*/ 3402794 w 4501379"/>
              <a:gd name="connsiteY14" fmla="*/ 323850 h 4429294"/>
              <a:gd name="connsiteX15" fmla="*/ 3450419 w 4501379"/>
              <a:gd name="connsiteY15" fmla="*/ 361950 h 4429294"/>
              <a:gd name="connsiteX16" fmla="*/ 3498044 w 4501379"/>
              <a:gd name="connsiteY16" fmla="*/ 390525 h 4429294"/>
              <a:gd name="connsiteX17" fmla="*/ 3612344 w 4501379"/>
              <a:gd name="connsiteY17" fmla="*/ 485775 h 4429294"/>
              <a:gd name="connsiteX18" fmla="*/ 3726644 w 4501379"/>
              <a:gd name="connsiteY18" fmla="*/ 542925 h 4429294"/>
              <a:gd name="connsiteX19" fmla="*/ 3793319 w 4501379"/>
              <a:gd name="connsiteY19" fmla="*/ 581025 h 4429294"/>
              <a:gd name="connsiteX20" fmla="*/ 4009219 w 4501379"/>
              <a:gd name="connsiteY20" fmla="*/ 819150 h 4429294"/>
              <a:gd name="connsiteX21" fmla="*/ 4145744 w 4501379"/>
              <a:gd name="connsiteY21" fmla="*/ 990600 h 4429294"/>
              <a:gd name="connsiteX22" fmla="*/ 4231469 w 4501379"/>
              <a:gd name="connsiteY22" fmla="*/ 1143000 h 4429294"/>
              <a:gd name="connsiteX23" fmla="*/ 4288619 w 4501379"/>
              <a:gd name="connsiteY23" fmla="*/ 1266825 h 4429294"/>
              <a:gd name="connsiteX24" fmla="*/ 4326719 w 4501379"/>
              <a:gd name="connsiteY24" fmla="*/ 1362075 h 4429294"/>
              <a:gd name="connsiteX25" fmla="*/ 4374344 w 4501379"/>
              <a:gd name="connsiteY25" fmla="*/ 1552575 h 4429294"/>
              <a:gd name="connsiteX26" fmla="*/ 4412444 w 4501379"/>
              <a:gd name="connsiteY26" fmla="*/ 1685925 h 4429294"/>
              <a:gd name="connsiteX27" fmla="*/ 4501344 w 4501379"/>
              <a:gd name="connsiteY27" fmla="*/ 2181225 h 4429294"/>
              <a:gd name="connsiteX28" fmla="*/ 4428319 w 4501379"/>
              <a:gd name="connsiteY28" fmla="*/ 2768600 h 4429294"/>
              <a:gd name="connsiteX29" fmla="*/ 4364819 w 4501379"/>
              <a:gd name="connsiteY29" fmla="*/ 2990850 h 4429294"/>
              <a:gd name="connsiteX30" fmla="*/ 4260044 w 4501379"/>
              <a:gd name="connsiteY30" fmla="*/ 3248025 h 4429294"/>
              <a:gd name="connsiteX31" fmla="*/ 4164794 w 4501379"/>
              <a:gd name="connsiteY31" fmla="*/ 3400425 h 4429294"/>
              <a:gd name="connsiteX32" fmla="*/ 4040969 w 4501379"/>
              <a:gd name="connsiteY32" fmla="*/ 3533775 h 4429294"/>
              <a:gd name="connsiteX33" fmla="*/ 3936194 w 4501379"/>
              <a:gd name="connsiteY33" fmla="*/ 3648075 h 4429294"/>
              <a:gd name="connsiteX34" fmla="*/ 3640919 w 4501379"/>
              <a:gd name="connsiteY34" fmla="*/ 3971925 h 4429294"/>
              <a:gd name="connsiteX35" fmla="*/ 3498044 w 4501379"/>
              <a:gd name="connsiteY35" fmla="*/ 4083050 h 4429294"/>
              <a:gd name="connsiteX36" fmla="*/ 3202769 w 4501379"/>
              <a:gd name="connsiteY36" fmla="*/ 4222750 h 4429294"/>
              <a:gd name="connsiteX37" fmla="*/ 3050369 w 4501379"/>
              <a:gd name="connsiteY37" fmla="*/ 4286250 h 4429294"/>
              <a:gd name="connsiteX38" fmla="*/ 2917019 w 4501379"/>
              <a:gd name="connsiteY38" fmla="*/ 4333875 h 4429294"/>
              <a:gd name="connsiteX39" fmla="*/ 2793194 w 4501379"/>
              <a:gd name="connsiteY39" fmla="*/ 4371975 h 4429294"/>
              <a:gd name="connsiteX40" fmla="*/ 2561419 w 4501379"/>
              <a:gd name="connsiteY40" fmla="*/ 4391025 h 4429294"/>
              <a:gd name="connsiteX41" fmla="*/ 2107394 w 4501379"/>
              <a:gd name="connsiteY41" fmla="*/ 4429125 h 4429294"/>
              <a:gd name="connsiteX42" fmla="*/ 1916894 w 4501379"/>
              <a:gd name="connsiteY42" fmla="*/ 4400550 h 4429294"/>
              <a:gd name="connsiteX43" fmla="*/ 1554944 w 4501379"/>
              <a:gd name="connsiteY43" fmla="*/ 4305300 h 4429294"/>
              <a:gd name="connsiteX44" fmla="*/ 1313644 w 4501379"/>
              <a:gd name="connsiteY44" fmla="*/ 4216400 h 4429294"/>
              <a:gd name="connsiteX45" fmla="*/ 1145369 w 4501379"/>
              <a:gd name="connsiteY45" fmla="*/ 4111625 h 4429294"/>
              <a:gd name="connsiteX46" fmla="*/ 926294 w 4501379"/>
              <a:gd name="connsiteY46" fmla="*/ 3968750 h 4429294"/>
              <a:gd name="connsiteX47" fmla="*/ 592919 w 4501379"/>
              <a:gd name="connsiteY47" fmla="*/ 3657600 h 4429294"/>
              <a:gd name="connsiteX48" fmla="*/ 446869 w 4501379"/>
              <a:gd name="connsiteY48" fmla="*/ 3470275 h 4429294"/>
              <a:gd name="connsiteX49" fmla="*/ 316694 w 4501379"/>
              <a:gd name="connsiteY49" fmla="*/ 3244850 h 4429294"/>
              <a:gd name="connsiteX50" fmla="*/ 164294 w 4501379"/>
              <a:gd name="connsiteY50" fmla="*/ 2892425 h 4429294"/>
              <a:gd name="connsiteX51" fmla="*/ 56344 w 4501379"/>
              <a:gd name="connsiteY51" fmla="*/ 2368550 h 4429294"/>
              <a:gd name="connsiteX52" fmla="*/ 2369 w 4501379"/>
              <a:gd name="connsiteY52" fmla="*/ 1905000 h 4429294"/>
              <a:gd name="connsiteX53" fmla="*/ 11894 w 4501379"/>
              <a:gd name="connsiteY53" fmla="*/ 1838325 h 4429294"/>
              <a:gd name="connsiteX54" fmla="*/ 30944 w 4501379"/>
              <a:gd name="connsiteY54" fmla="*/ 1781175 h 4429294"/>
              <a:gd name="connsiteX55" fmla="*/ 40469 w 4501379"/>
              <a:gd name="connsiteY55" fmla="*/ 1743075 h 4429294"/>
              <a:gd name="connsiteX56" fmla="*/ 59519 w 4501379"/>
              <a:gd name="connsiteY56" fmla="*/ 1685925 h 4429294"/>
              <a:gd name="connsiteX57" fmla="*/ 69044 w 4501379"/>
              <a:gd name="connsiteY57" fmla="*/ 1638300 h 4429294"/>
              <a:gd name="connsiteX58" fmla="*/ 88094 w 4501379"/>
              <a:gd name="connsiteY58" fmla="*/ 1590675 h 4429294"/>
              <a:gd name="connsiteX59" fmla="*/ 116669 w 4501379"/>
              <a:gd name="connsiteY59" fmla="*/ 1504950 h 4429294"/>
              <a:gd name="connsiteX60" fmla="*/ 135719 w 4501379"/>
              <a:gd name="connsiteY60" fmla="*/ 1419225 h 4429294"/>
              <a:gd name="connsiteX61" fmla="*/ 211919 w 4501379"/>
              <a:gd name="connsiteY61" fmla="*/ 1276350 h 4429294"/>
              <a:gd name="connsiteX62" fmla="*/ 221444 w 4501379"/>
              <a:gd name="connsiteY62" fmla="*/ 1247775 h 4429294"/>
              <a:gd name="connsiteX63" fmla="*/ 250019 w 4501379"/>
              <a:gd name="connsiteY63" fmla="*/ 1200150 h 4429294"/>
              <a:gd name="connsiteX64" fmla="*/ 269069 w 4501379"/>
              <a:gd name="connsiteY64" fmla="*/ 1152525 h 4429294"/>
              <a:gd name="connsiteX65" fmla="*/ 297644 w 4501379"/>
              <a:gd name="connsiteY65" fmla="*/ 1114425 h 4429294"/>
              <a:gd name="connsiteX66" fmla="*/ 345269 w 4501379"/>
              <a:gd name="connsiteY66" fmla="*/ 1038225 h 4429294"/>
              <a:gd name="connsiteX67" fmla="*/ 364319 w 4501379"/>
              <a:gd name="connsiteY67" fmla="*/ 1009650 h 4429294"/>
              <a:gd name="connsiteX68" fmla="*/ 421469 w 4501379"/>
              <a:gd name="connsiteY68" fmla="*/ 904875 h 4429294"/>
              <a:gd name="connsiteX69" fmla="*/ 459569 w 4501379"/>
              <a:gd name="connsiteY69" fmla="*/ 857250 h 4429294"/>
              <a:gd name="connsiteX70" fmla="*/ 478619 w 4501379"/>
              <a:gd name="connsiteY70" fmla="*/ 828675 h 4429294"/>
              <a:gd name="connsiteX71" fmla="*/ 516719 w 4501379"/>
              <a:gd name="connsiteY71" fmla="*/ 800100 h 4429294"/>
              <a:gd name="connsiteX72" fmla="*/ 583394 w 4501379"/>
              <a:gd name="connsiteY72" fmla="*/ 733425 h 4429294"/>
              <a:gd name="connsiteX73" fmla="*/ 650069 w 4501379"/>
              <a:gd name="connsiteY73" fmla="*/ 676275 h 4429294"/>
              <a:gd name="connsiteX74" fmla="*/ 678644 w 4501379"/>
              <a:gd name="connsiteY74" fmla="*/ 657225 h 4429294"/>
              <a:gd name="connsiteX75" fmla="*/ 821519 w 4501379"/>
              <a:gd name="connsiteY75" fmla="*/ 533400 h 4429294"/>
              <a:gd name="connsiteX76" fmla="*/ 869144 w 4501379"/>
              <a:gd name="connsiteY76" fmla="*/ 504825 h 4429294"/>
              <a:gd name="connsiteX77" fmla="*/ 1148544 w 4501379"/>
              <a:gd name="connsiteY77" fmla="*/ 311150 h 4429294"/>
              <a:gd name="connsiteX78" fmla="*/ 1250144 w 4501379"/>
              <a:gd name="connsiteY78" fmla="*/ 285750 h 4429294"/>
              <a:gd name="connsiteX79" fmla="*/ 1393019 w 4501379"/>
              <a:gd name="connsiteY79" fmla="*/ 190500 h 4429294"/>
              <a:gd name="connsiteX80" fmla="*/ 1431119 w 4501379"/>
              <a:gd name="connsiteY80" fmla="*/ 161925 h 4429294"/>
              <a:gd name="connsiteX81" fmla="*/ 1507319 w 4501379"/>
              <a:gd name="connsiteY81" fmla="*/ 152400 h 4429294"/>
              <a:gd name="connsiteX82" fmla="*/ 1564469 w 4501379"/>
              <a:gd name="connsiteY82" fmla="*/ 142875 h 4429294"/>
              <a:gd name="connsiteX83" fmla="*/ 1697819 w 4501379"/>
              <a:gd name="connsiteY83" fmla="*/ 123825 h 4429294"/>
              <a:gd name="connsiteX84" fmla="*/ 1793069 w 4501379"/>
              <a:gd name="connsiteY84" fmla="*/ 114300 h 4429294"/>
              <a:gd name="connsiteX85" fmla="*/ 1840694 w 4501379"/>
              <a:gd name="connsiteY85" fmla="*/ 104775 h 4429294"/>
              <a:gd name="connsiteX86" fmla="*/ 1897844 w 4501379"/>
              <a:gd name="connsiteY86" fmla="*/ 95250 h 4429294"/>
              <a:gd name="connsiteX87" fmla="*/ 2012144 w 4501379"/>
              <a:gd name="connsiteY87" fmla="*/ 66675 h 4429294"/>
              <a:gd name="connsiteX88" fmla="*/ 2078819 w 4501379"/>
              <a:gd name="connsiteY88" fmla="*/ 47625 h 4429294"/>
              <a:gd name="connsiteX89" fmla="*/ 2145494 w 4501379"/>
              <a:gd name="connsiteY89" fmla="*/ 38100 h 4429294"/>
              <a:gd name="connsiteX0" fmla="*/ 2278844 w 4501379"/>
              <a:gd name="connsiteY0" fmla="*/ 0 h 4429294"/>
              <a:gd name="connsiteX1" fmla="*/ 2736044 w 4501379"/>
              <a:gd name="connsiteY1" fmla="*/ 66675 h 4429294"/>
              <a:gd name="connsiteX2" fmla="*/ 2812244 w 4501379"/>
              <a:gd name="connsiteY2" fmla="*/ 76200 h 4429294"/>
              <a:gd name="connsiteX3" fmla="*/ 2897969 w 4501379"/>
              <a:gd name="connsiteY3" fmla="*/ 85725 h 4429294"/>
              <a:gd name="connsiteX4" fmla="*/ 2955119 w 4501379"/>
              <a:gd name="connsiteY4" fmla="*/ 114300 h 4429294"/>
              <a:gd name="connsiteX5" fmla="*/ 2993219 w 4501379"/>
              <a:gd name="connsiteY5" fmla="*/ 123825 h 4429294"/>
              <a:gd name="connsiteX6" fmla="*/ 3117044 w 4501379"/>
              <a:gd name="connsiteY6" fmla="*/ 171450 h 4429294"/>
              <a:gd name="connsiteX7" fmla="*/ 3155144 w 4501379"/>
              <a:gd name="connsiteY7" fmla="*/ 190500 h 4429294"/>
              <a:gd name="connsiteX8" fmla="*/ 3221819 w 4501379"/>
              <a:gd name="connsiteY8" fmla="*/ 228600 h 4429294"/>
              <a:gd name="connsiteX9" fmla="*/ 3250394 w 4501379"/>
              <a:gd name="connsiteY9" fmla="*/ 238125 h 4429294"/>
              <a:gd name="connsiteX10" fmla="*/ 3278969 w 4501379"/>
              <a:gd name="connsiteY10" fmla="*/ 257175 h 4429294"/>
              <a:gd name="connsiteX11" fmla="*/ 3307544 w 4501379"/>
              <a:gd name="connsiteY11" fmla="*/ 266700 h 4429294"/>
              <a:gd name="connsiteX12" fmla="*/ 3336119 w 4501379"/>
              <a:gd name="connsiteY12" fmla="*/ 285750 h 4429294"/>
              <a:gd name="connsiteX13" fmla="*/ 3402794 w 4501379"/>
              <a:gd name="connsiteY13" fmla="*/ 323850 h 4429294"/>
              <a:gd name="connsiteX14" fmla="*/ 3450419 w 4501379"/>
              <a:gd name="connsiteY14" fmla="*/ 361950 h 4429294"/>
              <a:gd name="connsiteX15" fmla="*/ 3498044 w 4501379"/>
              <a:gd name="connsiteY15" fmla="*/ 390525 h 4429294"/>
              <a:gd name="connsiteX16" fmla="*/ 3612344 w 4501379"/>
              <a:gd name="connsiteY16" fmla="*/ 485775 h 4429294"/>
              <a:gd name="connsiteX17" fmla="*/ 3726644 w 4501379"/>
              <a:gd name="connsiteY17" fmla="*/ 542925 h 4429294"/>
              <a:gd name="connsiteX18" fmla="*/ 3793319 w 4501379"/>
              <a:gd name="connsiteY18" fmla="*/ 581025 h 4429294"/>
              <a:gd name="connsiteX19" fmla="*/ 4009219 w 4501379"/>
              <a:gd name="connsiteY19" fmla="*/ 819150 h 4429294"/>
              <a:gd name="connsiteX20" fmla="*/ 4145744 w 4501379"/>
              <a:gd name="connsiteY20" fmla="*/ 990600 h 4429294"/>
              <a:gd name="connsiteX21" fmla="*/ 4231469 w 4501379"/>
              <a:gd name="connsiteY21" fmla="*/ 1143000 h 4429294"/>
              <a:gd name="connsiteX22" fmla="*/ 4288619 w 4501379"/>
              <a:gd name="connsiteY22" fmla="*/ 1266825 h 4429294"/>
              <a:gd name="connsiteX23" fmla="*/ 4326719 w 4501379"/>
              <a:gd name="connsiteY23" fmla="*/ 1362075 h 4429294"/>
              <a:gd name="connsiteX24" fmla="*/ 4374344 w 4501379"/>
              <a:gd name="connsiteY24" fmla="*/ 1552575 h 4429294"/>
              <a:gd name="connsiteX25" fmla="*/ 4412444 w 4501379"/>
              <a:gd name="connsiteY25" fmla="*/ 1685925 h 4429294"/>
              <a:gd name="connsiteX26" fmla="*/ 4501344 w 4501379"/>
              <a:gd name="connsiteY26" fmla="*/ 2181225 h 4429294"/>
              <a:gd name="connsiteX27" fmla="*/ 4428319 w 4501379"/>
              <a:gd name="connsiteY27" fmla="*/ 2768600 h 4429294"/>
              <a:gd name="connsiteX28" fmla="*/ 4364819 w 4501379"/>
              <a:gd name="connsiteY28" fmla="*/ 2990850 h 4429294"/>
              <a:gd name="connsiteX29" fmla="*/ 4260044 w 4501379"/>
              <a:gd name="connsiteY29" fmla="*/ 3248025 h 4429294"/>
              <a:gd name="connsiteX30" fmla="*/ 4164794 w 4501379"/>
              <a:gd name="connsiteY30" fmla="*/ 3400425 h 4429294"/>
              <a:gd name="connsiteX31" fmla="*/ 4040969 w 4501379"/>
              <a:gd name="connsiteY31" fmla="*/ 3533775 h 4429294"/>
              <a:gd name="connsiteX32" fmla="*/ 3936194 w 4501379"/>
              <a:gd name="connsiteY32" fmla="*/ 3648075 h 4429294"/>
              <a:gd name="connsiteX33" fmla="*/ 3640919 w 4501379"/>
              <a:gd name="connsiteY33" fmla="*/ 3971925 h 4429294"/>
              <a:gd name="connsiteX34" fmla="*/ 3498044 w 4501379"/>
              <a:gd name="connsiteY34" fmla="*/ 4083050 h 4429294"/>
              <a:gd name="connsiteX35" fmla="*/ 3202769 w 4501379"/>
              <a:gd name="connsiteY35" fmla="*/ 4222750 h 4429294"/>
              <a:gd name="connsiteX36" fmla="*/ 3050369 w 4501379"/>
              <a:gd name="connsiteY36" fmla="*/ 4286250 h 4429294"/>
              <a:gd name="connsiteX37" fmla="*/ 2917019 w 4501379"/>
              <a:gd name="connsiteY37" fmla="*/ 4333875 h 4429294"/>
              <a:gd name="connsiteX38" fmla="*/ 2793194 w 4501379"/>
              <a:gd name="connsiteY38" fmla="*/ 4371975 h 4429294"/>
              <a:gd name="connsiteX39" fmla="*/ 2561419 w 4501379"/>
              <a:gd name="connsiteY39" fmla="*/ 4391025 h 4429294"/>
              <a:gd name="connsiteX40" fmla="*/ 2107394 w 4501379"/>
              <a:gd name="connsiteY40" fmla="*/ 4429125 h 4429294"/>
              <a:gd name="connsiteX41" fmla="*/ 1916894 w 4501379"/>
              <a:gd name="connsiteY41" fmla="*/ 4400550 h 4429294"/>
              <a:gd name="connsiteX42" fmla="*/ 1554944 w 4501379"/>
              <a:gd name="connsiteY42" fmla="*/ 4305300 h 4429294"/>
              <a:gd name="connsiteX43" fmla="*/ 1313644 w 4501379"/>
              <a:gd name="connsiteY43" fmla="*/ 4216400 h 4429294"/>
              <a:gd name="connsiteX44" fmla="*/ 1145369 w 4501379"/>
              <a:gd name="connsiteY44" fmla="*/ 4111625 h 4429294"/>
              <a:gd name="connsiteX45" fmla="*/ 926294 w 4501379"/>
              <a:gd name="connsiteY45" fmla="*/ 3968750 h 4429294"/>
              <a:gd name="connsiteX46" fmla="*/ 592919 w 4501379"/>
              <a:gd name="connsiteY46" fmla="*/ 3657600 h 4429294"/>
              <a:gd name="connsiteX47" fmla="*/ 446869 w 4501379"/>
              <a:gd name="connsiteY47" fmla="*/ 3470275 h 4429294"/>
              <a:gd name="connsiteX48" fmla="*/ 316694 w 4501379"/>
              <a:gd name="connsiteY48" fmla="*/ 3244850 h 4429294"/>
              <a:gd name="connsiteX49" fmla="*/ 164294 w 4501379"/>
              <a:gd name="connsiteY49" fmla="*/ 2892425 h 4429294"/>
              <a:gd name="connsiteX50" fmla="*/ 56344 w 4501379"/>
              <a:gd name="connsiteY50" fmla="*/ 2368550 h 4429294"/>
              <a:gd name="connsiteX51" fmla="*/ 2369 w 4501379"/>
              <a:gd name="connsiteY51" fmla="*/ 1905000 h 4429294"/>
              <a:gd name="connsiteX52" fmla="*/ 11894 w 4501379"/>
              <a:gd name="connsiteY52" fmla="*/ 1838325 h 4429294"/>
              <a:gd name="connsiteX53" fmla="*/ 30944 w 4501379"/>
              <a:gd name="connsiteY53" fmla="*/ 1781175 h 4429294"/>
              <a:gd name="connsiteX54" fmla="*/ 40469 w 4501379"/>
              <a:gd name="connsiteY54" fmla="*/ 1743075 h 4429294"/>
              <a:gd name="connsiteX55" fmla="*/ 59519 w 4501379"/>
              <a:gd name="connsiteY55" fmla="*/ 1685925 h 4429294"/>
              <a:gd name="connsiteX56" fmla="*/ 69044 w 4501379"/>
              <a:gd name="connsiteY56" fmla="*/ 1638300 h 4429294"/>
              <a:gd name="connsiteX57" fmla="*/ 88094 w 4501379"/>
              <a:gd name="connsiteY57" fmla="*/ 1590675 h 4429294"/>
              <a:gd name="connsiteX58" fmla="*/ 116669 w 4501379"/>
              <a:gd name="connsiteY58" fmla="*/ 1504950 h 4429294"/>
              <a:gd name="connsiteX59" fmla="*/ 135719 w 4501379"/>
              <a:gd name="connsiteY59" fmla="*/ 1419225 h 4429294"/>
              <a:gd name="connsiteX60" fmla="*/ 211919 w 4501379"/>
              <a:gd name="connsiteY60" fmla="*/ 1276350 h 4429294"/>
              <a:gd name="connsiteX61" fmla="*/ 221444 w 4501379"/>
              <a:gd name="connsiteY61" fmla="*/ 1247775 h 4429294"/>
              <a:gd name="connsiteX62" fmla="*/ 250019 w 4501379"/>
              <a:gd name="connsiteY62" fmla="*/ 1200150 h 4429294"/>
              <a:gd name="connsiteX63" fmla="*/ 269069 w 4501379"/>
              <a:gd name="connsiteY63" fmla="*/ 1152525 h 4429294"/>
              <a:gd name="connsiteX64" fmla="*/ 297644 w 4501379"/>
              <a:gd name="connsiteY64" fmla="*/ 1114425 h 4429294"/>
              <a:gd name="connsiteX65" fmla="*/ 345269 w 4501379"/>
              <a:gd name="connsiteY65" fmla="*/ 1038225 h 4429294"/>
              <a:gd name="connsiteX66" fmla="*/ 364319 w 4501379"/>
              <a:gd name="connsiteY66" fmla="*/ 1009650 h 4429294"/>
              <a:gd name="connsiteX67" fmla="*/ 421469 w 4501379"/>
              <a:gd name="connsiteY67" fmla="*/ 904875 h 4429294"/>
              <a:gd name="connsiteX68" fmla="*/ 459569 w 4501379"/>
              <a:gd name="connsiteY68" fmla="*/ 857250 h 4429294"/>
              <a:gd name="connsiteX69" fmla="*/ 478619 w 4501379"/>
              <a:gd name="connsiteY69" fmla="*/ 828675 h 4429294"/>
              <a:gd name="connsiteX70" fmla="*/ 516719 w 4501379"/>
              <a:gd name="connsiteY70" fmla="*/ 800100 h 4429294"/>
              <a:gd name="connsiteX71" fmla="*/ 583394 w 4501379"/>
              <a:gd name="connsiteY71" fmla="*/ 733425 h 4429294"/>
              <a:gd name="connsiteX72" fmla="*/ 650069 w 4501379"/>
              <a:gd name="connsiteY72" fmla="*/ 676275 h 4429294"/>
              <a:gd name="connsiteX73" fmla="*/ 678644 w 4501379"/>
              <a:gd name="connsiteY73" fmla="*/ 657225 h 4429294"/>
              <a:gd name="connsiteX74" fmla="*/ 821519 w 4501379"/>
              <a:gd name="connsiteY74" fmla="*/ 533400 h 4429294"/>
              <a:gd name="connsiteX75" fmla="*/ 869144 w 4501379"/>
              <a:gd name="connsiteY75" fmla="*/ 504825 h 4429294"/>
              <a:gd name="connsiteX76" fmla="*/ 1148544 w 4501379"/>
              <a:gd name="connsiteY76" fmla="*/ 311150 h 4429294"/>
              <a:gd name="connsiteX77" fmla="*/ 1250144 w 4501379"/>
              <a:gd name="connsiteY77" fmla="*/ 285750 h 4429294"/>
              <a:gd name="connsiteX78" fmla="*/ 1393019 w 4501379"/>
              <a:gd name="connsiteY78" fmla="*/ 190500 h 4429294"/>
              <a:gd name="connsiteX79" fmla="*/ 1431119 w 4501379"/>
              <a:gd name="connsiteY79" fmla="*/ 161925 h 4429294"/>
              <a:gd name="connsiteX80" fmla="*/ 1507319 w 4501379"/>
              <a:gd name="connsiteY80" fmla="*/ 152400 h 4429294"/>
              <a:gd name="connsiteX81" fmla="*/ 1564469 w 4501379"/>
              <a:gd name="connsiteY81" fmla="*/ 142875 h 4429294"/>
              <a:gd name="connsiteX82" fmla="*/ 1697819 w 4501379"/>
              <a:gd name="connsiteY82" fmla="*/ 123825 h 4429294"/>
              <a:gd name="connsiteX83" fmla="*/ 1793069 w 4501379"/>
              <a:gd name="connsiteY83" fmla="*/ 114300 h 4429294"/>
              <a:gd name="connsiteX84" fmla="*/ 1840694 w 4501379"/>
              <a:gd name="connsiteY84" fmla="*/ 104775 h 4429294"/>
              <a:gd name="connsiteX85" fmla="*/ 1897844 w 4501379"/>
              <a:gd name="connsiteY85" fmla="*/ 95250 h 4429294"/>
              <a:gd name="connsiteX86" fmla="*/ 2012144 w 4501379"/>
              <a:gd name="connsiteY86" fmla="*/ 66675 h 4429294"/>
              <a:gd name="connsiteX87" fmla="*/ 2078819 w 4501379"/>
              <a:gd name="connsiteY87" fmla="*/ 47625 h 4429294"/>
              <a:gd name="connsiteX88" fmla="*/ 2145494 w 4501379"/>
              <a:gd name="connsiteY8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12244 w 4501379"/>
              <a:gd name="connsiteY2" fmla="*/ 76200 h 4429294"/>
              <a:gd name="connsiteX3" fmla="*/ 2897969 w 4501379"/>
              <a:gd name="connsiteY3" fmla="*/ 85725 h 4429294"/>
              <a:gd name="connsiteX4" fmla="*/ 2955119 w 4501379"/>
              <a:gd name="connsiteY4" fmla="*/ 114300 h 4429294"/>
              <a:gd name="connsiteX5" fmla="*/ 2993219 w 4501379"/>
              <a:gd name="connsiteY5" fmla="*/ 123825 h 4429294"/>
              <a:gd name="connsiteX6" fmla="*/ 3117044 w 4501379"/>
              <a:gd name="connsiteY6" fmla="*/ 171450 h 4429294"/>
              <a:gd name="connsiteX7" fmla="*/ 3155144 w 4501379"/>
              <a:gd name="connsiteY7" fmla="*/ 190500 h 4429294"/>
              <a:gd name="connsiteX8" fmla="*/ 3221819 w 4501379"/>
              <a:gd name="connsiteY8" fmla="*/ 228600 h 4429294"/>
              <a:gd name="connsiteX9" fmla="*/ 3250394 w 4501379"/>
              <a:gd name="connsiteY9" fmla="*/ 238125 h 4429294"/>
              <a:gd name="connsiteX10" fmla="*/ 3278969 w 4501379"/>
              <a:gd name="connsiteY10" fmla="*/ 257175 h 4429294"/>
              <a:gd name="connsiteX11" fmla="*/ 3307544 w 4501379"/>
              <a:gd name="connsiteY11" fmla="*/ 266700 h 4429294"/>
              <a:gd name="connsiteX12" fmla="*/ 3336119 w 4501379"/>
              <a:gd name="connsiteY12" fmla="*/ 285750 h 4429294"/>
              <a:gd name="connsiteX13" fmla="*/ 3402794 w 4501379"/>
              <a:gd name="connsiteY13" fmla="*/ 323850 h 4429294"/>
              <a:gd name="connsiteX14" fmla="*/ 3450419 w 4501379"/>
              <a:gd name="connsiteY14" fmla="*/ 361950 h 4429294"/>
              <a:gd name="connsiteX15" fmla="*/ 3498044 w 4501379"/>
              <a:gd name="connsiteY15" fmla="*/ 390525 h 4429294"/>
              <a:gd name="connsiteX16" fmla="*/ 3612344 w 4501379"/>
              <a:gd name="connsiteY16" fmla="*/ 485775 h 4429294"/>
              <a:gd name="connsiteX17" fmla="*/ 3726644 w 4501379"/>
              <a:gd name="connsiteY17" fmla="*/ 542925 h 4429294"/>
              <a:gd name="connsiteX18" fmla="*/ 3793319 w 4501379"/>
              <a:gd name="connsiteY18" fmla="*/ 581025 h 4429294"/>
              <a:gd name="connsiteX19" fmla="*/ 4009219 w 4501379"/>
              <a:gd name="connsiteY19" fmla="*/ 819150 h 4429294"/>
              <a:gd name="connsiteX20" fmla="*/ 4145744 w 4501379"/>
              <a:gd name="connsiteY20" fmla="*/ 990600 h 4429294"/>
              <a:gd name="connsiteX21" fmla="*/ 4231469 w 4501379"/>
              <a:gd name="connsiteY21" fmla="*/ 1143000 h 4429294"/>
              <a:gd name="connsiteX22" fmla="*/ 4288619 w 4501379"/>
              <a:gd name="connsiteY22" fmla="*/ 1266825 h 4429294"/>
              <a:gd name="connsiteX23" fmla="*/ 4326719 w 4501379"/>
              <a:gd name="connsiteY23" fmla="*/ 1362075 h 4429294"/>
              <a:gd name="connsiteX24" fmla="*/ 4374344 w 4501379"/>
              <a:gd name="connsiteY24" fmla="*/ 1552575 h 4429294"/>
              <a:gd name="connsiteX25" fmla="*/ 4412444 w 4501379"/>
              <a:gd name="connsiteY25" fmla="*/ 1685925 h 4429294"/>
              <a:gd name="connsiteX26" fmla="*/ 4501344 w 4501379"/>
              <a:gd name="connsiteY26" fmla="*/ 2181225 h 4429294"/>
              <a:gd name="connsiteX27" fmla="*/ 4428319 w 4501379"/>
              <a:gd name="connsiteY27" fmla="*/ 2768600 h 4429294"/>
              <a:gd name="connsiteX28" fmla="*/ 4364819 w 4501379"/>
              <a:gd name="connsiteY28" fmla="*/ 2990850 h 4429294"/>
              <a:gd name="connsiteX29" fmla="*/ 4260044 w 4501379"/>
              <a:gd name="connsiteY29" fmla="*/ 3248025 h 4429294"/>
              <a:gd name="connsiteX30" fmla="*/ 4164794 w 4501379"/>
              <a:gd name="connsiteY30" fmla="*/ 3400425 h 4429294"/>
              <a:gd name="connsiteX31" fmla="*/ 4040969 w 4501379"/>
              <a:gd name="connsiteY31" fmla="*/ 3533775 h 4429294"/>
              <a:gd name="connsiteX32" fmla="*/ 3936194 w 4501379"/>
              <a:gd name="connsiteY32" fmla="*/ 3648075 h 4429294"/>
              <a:gd name="connsiteX33" fmla="*/ 3640919 w 4501379"/>
              <a:gd name="connsiteY33" fmla="*/ 3971925 h 4429294"/>
              <a:gd name="connsiteX34" fmla="*/ 3498044 w 4501379"/>
              <a:gd name="connsiteY34" fmla="*/ 4083050 h 4429294"/>
              <a:gd name="connsiteX35" fmla="*/ 3202769 w 4501379"/>
              <a:gd name="connsiteY35" fmla="*/ 4222750 h 4429294"/>
              <a:gd name="connsiteX36" fmla="*/ 3050369 w 4501379"/>
              <a:gd name="connsiteY36" fmla="*/ 4286250 h 4429294"/>
              <a:gd name="connsiteX37" fmla="*/ 2917019 w 4501379"/>
              <a:gd name="connsiteY37" fmla="*/ 4333875 h 4429294"/>
              <a:gd name="connsiteX38" fmla="*/ 2793194 w 4501379"/>
              <a:gd name="connsiteY38" fmla="*/ 4371975 h 4429294"/>
              <a:gd name="connsiteX39" fmla="*/ 2561419 w 4501379"/>
              <a:gd name="connsiteY39" fmla="*/ 4391025 h 4429294"/>
              <a:gd name="connsiteX40" fmla="*/ 2107394 w 4501379"/>
              <a:gd name="connsiteY40" fmla="*/ 4429125 h 4429294"/>
              <a:gd name="connsiteX41" fmla="*/ 1916894 w 4501379"/>
              <a:gd name="connsiteY41" fmla="*/ 4400550 h 4429294"/>
              <a:gd name="connsiteX42" fmla="*/ 1554944 w 4501379"/>
              <a:gd name="connsiteY42" fmla="*/ 4305300 h 4429294"/>
              <a:gd name="connsiteX43" fmla="*/ 1313644 w 4501379"/>
              <a:gd name="connsiteY43" fmla="*/ 4216400 h 4429294"/>
              <a:gd name="connsiteX44" fmla="*/ 1145369 w 4501379"/>
              <a:gd name="connsiteY44" fmla="*/ 4111625 h 4429294"/>
              <a:gd name="connsiteX45" fmla="*/ 926294 w 4501379"/>
              <a:gd name="connsiteY45" fmla="*/ 3968750 h 4429294"/>
              <a:gd name="connsiteX46" fmla="*/ 592919 w 4501379"/>
              <a:gd name="connsiteY46" fmla="*/ 3657600 h 4429294"/>
              <a:gd name="connsiteX47" fmla="*/ 446869 w 4501379"/>
              <a:gd name="connsiteY47" fmla="*/ 3470275 h 4429294"/>
              <a:gd name="connsiteX48" fmla="*/ 316694 w 4501379"/>
              <a:gd name="connsiteY48" fmla="*/ 3244850 h 4429294"/>
              <a:gd name="connsiteX49" fmla="*/ 164294 w 4501379"/>
              <a:gd name="connsiteY49" fmla="*/ 2892425 h 4429294"/>
              <a:gd name="connsiteX50" fmla="*/ 56344 w 4501379"/>
              <a:gd name="connsiteY50" fmla="*/ 2368550 h 4429294"/>
              <a:gd name="connsiteX51" fmla="*/ 2369 w 4501379"/>
              <a:gd name="connsiteY51" fmla="*/ 1905000 h 4429294"/>
              <a:gd name="connsiteX52" fmla="*/ 11894 w 4501379"/>
              <a:gd name="connsiteY52" fmla="*/ 1838325 h 4429294"/>
              <a:gd name="connsiteX53" fmla="*/ 30944 w 4501379"/>
              <a:gd name="connsiteY53" fmla="*/ 1781175 h 4429294"/>
              <a:gd name="connsiteX54" fmla="*/ 40469 w 4501379"/>
              <a:gd name="connsiteY54" fmla="*/ 1743075 h 4429294"/>
              <a:gd name="connsiteX55" fmla="*/ 59519 w 4501379"/>
              <a:gd name="connsiteY55" fmla="*/ 1685925 h 4429294"/>
              <a:gd name="connsiteX56" fmla="*/ 69044 w 4501379"/>
              <a:gd name="connsiteY56" fmla="*/ 1638300 h 4429294"/>
              <a:gd name="connsiteX57" fmla="*/ 88094 w 4501379"/>
              <a:gd name="connsiteY57" fmla="*/ 1590675 h 4429294"/>
              <a:gd name="connsiteX58" fmla="*/ 116669 w 4501379"/>
              <a:gd name="connsiteY58" fmla="*/ 1504950 h 4429294"/>
              <a:gd name="connsiteX59" fmla="*/ 135719 w 4501379"/>
              <a:gd name="connsiteY59" fmla="*/ 1419225 h 4429294"/>
              <a:gd name="connsiteX60" fmla="*/ 211919 w 4501379"/>
              <a:gd name="connsiteY60" fmla="*/ 1276350 h 4429294"/>
              <a:gd name="connsiteX61" fmla="*/ 221444 w 4501379"/>
              <a:gd name="connsiteY61" fmla="*/ 1247775 h 4429294"/>
              <a:gd name="connsiteX62" fmla="*/ 250019 w 4501379"/>
              <a:gd name="connsiteY62" fmla="*/ 1200150 h 4429294"/>
              <a:gd name="connsiteX63" fmla="*/ 269069 w 4501379"/>
              <a:gd name="connsiteY63" fmla="*/ 1152525 h 4429294"/>
              <a:gd name="connsiteX64" fmla="*/ 297644 w 4501379"/>
              <a:gd name="connsiteY64" fmla="*/ 1114425 h 4429294"/>
              <a:gd name="connsiteX65" fmla="*/ 345269 w 4501379"/>
              <a:gd name="connsiteY65" fmla="*/ 1038225 h 4429294"/>
              <a:gd name="connsiteX66" fmla="*/ 364319 w 4501379"/>
              <a:gd name="connsiteY66" fmla="*/ 1009650 h 4429294"/>
              <a:gd name="connsiteX67" fmla="*/ 421469 w 4501379"/>
              <a:gd name="connsiteY67" fmla="*/ 904875 h 4429294"/>
              <a:gd name="connsiteX68" fmla="*/ 459569 w 4501379"/>
              <a:gd name="connsiteY68" fmla="*/ 857250 h 4429294"/>
              <a:gd name="connsiteX69" fmla="*/ 478619 w 4501379"/>
              <a:gd name="connsiteY69" fmla="*/ 828675 h 4429294"/>
              <a:gd name="connsiteX70" fmla="*/ 516719 w 4501379"/>
              <a:gd name="connsiteY70" fmla="*/ 800100 h 4429294"/>
              <a:gd name="connsiteX71" fmla="*/ 583394 w 4501379"/>
              <a:gd name="connsiteY71" fmla="*/ 733425 h 4429294"/>
              <a:gd name="connsiteX72" fmla="*/ 650069 w 4501379"/>
              <a:gd name="connsiteY72" fmla="*/ 676275 h 4429294"/>
              <a:gd name="connsiteX73" fmla="*/ 678644 w 4501379"/>
              <a:gd name="connsiteY73" fmla="*/ 657225 h 4429294"/>
              <a:gd name="connsiteX74" fmla="*/ 821519 w 4501379"/>
              <a:gd name="connsiteY74" fmla="*/ 533400 h 4429294"/>
              <a:gd name="connsiteX75" fmla="*/ 869144 w 4501379"/>
              <a:gd name="connsiteY75" fmla="*/ 504825 h 4429294"/>
              <a:gd name="connsiteX76" fmla="*/ 1148544 w 4501379"/>
              <a:gd name="connsiteY76" fmla="*/ 311150 h 4429294"/>
              <a:gd name="connsiteX77" fmla="*/ 1250144 w 4501379"/>
              <a:gd name="connsiteY77" fmla="*/ 285750 h 4429294"/>
              <a:gd name="connsiteX78" fmla="*/ 1393019 w 4501379"/>
              <a:gd name="connsiteY78" fmla="*/ 190500 h 4429294"/>
              <a:gd name="connsiteX79" fmla="*/ 1431119 w 4501379"/>
              <a:gd name="connsiteY79" fmla="*/ 161925 h 4429294"/>
              <a:gd name="connsiteX80" fmla="*/ 1507319 w 4501379"/>
              <a:gd name="connsiteY80" fmla="*/ 152400 h 4429294"/>
              <a:gd name="connsiteX81" fmla="*/ 1564469 w 4501379"/>
              <a:gd name="connsiteY81" fmla="*/ 142875 h 4429294"/>
              <a:gd name="connsiteX82" fmla="*/ 1697819 w 4501379"/>
              <a:gd name="connsiteY82" fmla="*/ 123825 h 4429294"/>
              <a:gd name="connsiteX83" fmla="*/ 1793069 w 4501379"/>
              <a:gd name="connsiteY83" fmla="*/ 114300 h 4429294"/>
              <a:gd name="connsiteX84" fmla="*/ 1840694 w 4501379"/>
              <a:gd name="connsiteY84" fmla="*/ 104775 h 4429294"/>
              <a:gd name="connsiteX85" fmla="*/ 1897844 w 4501379"/>
              <a:gd name="connsiteY85" fmla="*/ 95250 h 4429294"/>
              <a:gd name="connsiteX86" fmla="*/ 2012144 w 4501379"/>
              <a:gd name="connsiteY86" fmla="*/ 66675 h 4429294"/>
              <a:gd name="connsiteX87" fmla="*/ 2078819 w 4501379"/>
              <a:gd name="connsiteY87" fmla="*/ 47625 h 4429294"/>
              <a:gd name="connsiteX88" fmla="*/ 2145494 w 4501379"/>
              <a:gd name="connsiteY8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2955119 w 4501379"/>
              <a:gd name="connsiteY3" fmla="*/ 114300 h 4429294"/>
              <a:gd name="connsiteX4" fmla="*/ 2993219 w 4501379"/>
              <a:gd name="connsiteY4" fmla="*/ 123825 h 4429294"/>
              <a:gd name="connsiteX5" fmla="*/ 3117044 w 4501379"/>
              <a:gd name="connsiteY5" fmla="*/ 171450 h 4429294"/>
              <a:gd name="connsiteX6" fmla="*/ 3155144 w 4501379"/>
              <a:gd name="connsiteY6" fmla="*/ 190500 h 4429294"/>
              <a:gd name="connsiteX7" fmla="*/ 3221819 w 4501379"/>
              <a:gd name="connsiteY7" fmla="*/ 228600 h 4429294"/>
              <a:gd name="connsiteX8" fmla="*/ 3250394 w 4501379"/>
              <a:gd name="connsiteY8" fmla="*/ 238125 h 4429294"/>
              <a:gd name="connsiteX9" fmla="*/ 3278969 w 4501379"/>
              <a:gd name="connsiteY9" fmla="*/ 257175 h 4429294"/>
              <a:gd name="connsiteX10" fmla="*/ 3307544 w 4501379"/>
              <a:gd name="connsiteY10" fmla="*/ 266700 h 4429294"/>
              <a:gd name="connsiteX11" fmla="*/ 3336119 w 4501379"/>
              <a:gd name="connsiteY11" fmla="*/ 285750 h 4429294"/>
              <a:gd name="connsiteX12" fmla="*/ 3402794 w 4501379"/>
              <a:gd name="connsiteY12" fmla="*/ 323850 h 4429294"/>
              <a:gd name="connsiteX13" fmla="*/ 3450419 w 4501379"/>
              <a:gd name="connsiteY13" fmla="*/ 361950 h 4429294"/>
              <a:gd name="connsiteX14" fmla="*/ 3498044 w 4501379"/>
              <a:gd name="connsiteY14" fmla="*/ 390525 h 4429294"/>
              <a:gd name="connsiteX15" fmla="*/ 3612344 w 4501379"/>
              <a:gd name="connsiteY15" fmla="*/ 485775 h 4429294"/>
              <a:gd name="connsiteX16" fmla="*/ 3726644 w 4501379"/>
              <a:gd name="connsiteY16" fmla="*/ 542925 h 4429294"/>
              <a:gd name="connsiteX17" fmla="*/ 3793319 w 4501379"/>
              <a:gd name="connsiteY17" fmla="*/ 581025 h 4429294"/>
              <a:gd name="connsiteX18" fmla="*/ 4009219 w 4501379"/>
              <a:gd name="connsiteY18" fmla="*/ 819150 h 4429294"/>
              <a:gd name="connsiteX19" fmla="*/ 4145744 w 4501379"/>
              <a:gd name="connsiteY19" fmla="*/ 990600 h 4429294"/>
              <a:gd name="connsiteX20" fmla="*/ 4231469 w 4501379"/>
              <a:gd name="connsiteY20" fmla="*/ 1143000 h 4429294"/>
              <a:gd name="connsiteX21" fmla="*/ 4288619 w 4501379"/>
              <a:gd name="connsiteY21" fmla="*/ 1266825 h 4429294"/>
              <a:gd name="connsiteX22" fmla="*/ 4326719 w 4501379"/>
              <a:gd name="connsiteY22" fmla="*/ 1362075 h 4429294"/>
              <a:gd name="connsiteX23" fmla="*/ 4374344 w 4501379"/>
              <a:gd name="connsiteY23" fmla="*/ 1552575 h 4429294"/>
              <a:gd name="connsiteX24" fmla="*/ 4412444 w 4501379"/>
              <a:gd name="connsiteY24" fmla="*/ 1685925 h 4429294"/>
              <a:gd name="connsiteX25" fmla="*/ 4501344 w 4501379"/>
              <a:gd name="connsiteY25" fmla="*/ 2181225 h 4429294"/>
              <a:gd name="connsiteX26" fmla="*/ 4428319 w 4501379"/>
              <a:gd name="connsiteY26" fmla="*/ 2768600 h 4429294"/>
              <a:gd name="connsiteX27" fmla="*/ 4364819 w 4501379"/>
              <a:gd name="connsiteY27" fmla="*/ 2990850 h 4429294"/>
              <a:gd name="connsiteX28" fmla="*/ 4260044 w 4501379"/>
              <a:gd name="connsiteY28" fmla="*/ 3248025 h 4429294"/>
              <a:gd name="connsiteX29" fmla="*/ 4164794 w 4501379"/>
              <a:gd name="connsiteY29" fmla="*/ 3400425 h 4429294"/>
              <a:gd name="connsiteX30" fmla="*/ 4040969 w 4501379"/>
              <a:gd name="connsiteY30" fmla="*/ 3533775 h 4429294"/>
              <a:gd name="connsiteX31" fmla="*/ 3936194 w 4501379"/>
              <a:gd name="connsiteY31" fmla="*/ 3648075 h 4429294"/>
              <a:gd name="connsiteX32" fmla="*/ 3640919 w 4501379"/>
              <a:gd name="connsiteY32" fmla="*/ 3971925 h 4429294"/>
              <a:gd name="connsiteX33" fmla="*/ 3498044 w 4501379"/>
              <a:gd name="connsiteY33" fmla="*/ 4083050 h 4429294"/>
              <a:gd name="connsiteX34" fmla="*/ 3202769 w 4501379"/>
              <a:gd name="connsiteY34" fmla="*/ 4222750 h 4429294"/>
              <a:gd name="connsiteX35" fmla="*/ 3050369 w 4501379"/>
              <a:gd name="connsiteY35" fmla="*/ 4286250 h 4429294"/>
              <a:gd name="connsiteX36" fmla="*/ 2917019 w 4501379"/>
              <a:gd name="connsiteY36" fmla="*/ 4333875 h 4429294"/>
              <a:gd name="connsiteX37" fmla="*/ 2793194 w 4501379"/>
              <a:gd name="connsiteY37" fmla="*/ 4371975 h 4429294"/>
              <a:gd name="connsiteX38" fmla="*/ 2561419 w 4501379"/>
              <a:gd name="connsiteY38" fmla="*/ 4391025 h 4429294"/>
              <a:gd name="connsiteX39" fmla="*/ 2107394 w 4501379"/>
              <a:gd name="connsiteY39" fmla="*/ 4429125 h 4429294"/>
              <a:gd name="connsiteX40" fmla="*/ 1916894 w 4501379"/>
              <a:gd name="connsiteY40" fmla="*/ 4400550 h 4429294"/>
              <a:gd name="connsiteX41" fmla="*/ 1554944 w 4501379"/>
              <a:gd name="connsiteY41" fmla="*/ 4305300 h 4429294"/>
              <a:gd name="connsiteX42" fmla="*/ 1313644 w 4501379"/>
              <a:gd name="connsiteY42" fmla="*/ 4216400 h 4429294"/>
              <a:gd name="connsiteX43" fmla="*/ 1145369 w 4501379"/>
              <a:gd name="connsiteY43" fmla="*/ 4111625 h 4429294"/>
              <a:gd name="connsiteX44" fmla="*/ 926294 w 4501379"/>
              <a:gd name="connsiteY44" fmla="*/ 3968750 h 4429294"/>
              <a:gd name="connsiteX45" fmla="*/ 592919 w 4501379"/>
              <a:gd name="connsiteY45" fmla="*/ 3657600 h 4429294"/>
              <a:gd name="connsiteX46" fmla="*/ 446869 w 4501379"/>
              <a:gd name="connsiteY46" fmla="*/ 3470275 h 4429294"/>
              <a:gd name="connsiteX47" fmla="*/ 316694 w 4501379"/>
              <a:gd name="connsiteY47" fmla="*/ 3244850 h 4429294"/>
              <a:gd name="connsiteX48" fmla="*/ 164294 w 4501379"/>
              <a:gd name="connsiteY48" fmla="*/ 2892425 h 4429294"/>
              <a:gd name="connsiteX49" fmla="*/ 56344 w 4501379"/>
              <a:gd name="connsiteY49" fmla="*/ 2368550 h 4429294"/>
              <a:gd name="connsiteX50" fmla="*/ 2369 w 4501379"/>
              <a:gd name="connsiteY50" fmla="*/ 1905000 h 4429294"/>
              <a:gd name="connsiteX51" fmla="*/ 11894 w 4501379"/>
              <a:gd name="connsiteY51" fmla="*/ 1838325 h 4429294"/>
              <a:gd name="connsiteX52" fmla="*/ 30944 w 4501379"/>
              <a:gd name="connsiteY52" fmla="*/ 1781175 h 4429294"/>
              <a:gd name="connsiteX53" fmla="*/ 40469 w 4501379"/>
              <a:gd name="connsiteY53" fmla="*/ 1743075 h 4429294"/>
              <a:gd name="connsiteX54" fmla="*/ 59519 w 4501379"/>
              <a:gd name="connsiteY54" fmla="*/ 1685925 h 4429294"/>
              <a:gd name="connsiteX55" fmla="*/ 69044 w 4501379"/>
              <a:gd name="connsiteY55" fmla="*/ 1638300 h 4429294"/>
              <a:gd name="connsiteX56" fmla="*/ 88094 w 4501379"/>
              <a:gd name="connsiteY56" fmla="*/ 1590675 h 4429294"/>
              <a:gd name="connsiteX57" fmla="*/ 116669 w 4501379"/>
              <a:gd name="connsiteY57" fmla="*/ 1504950 h 4429294"/>
              <a:gd name="connsiteX58" fmla="*/ 135719 w 4501379"/>
              <a:gd name="connsiteY58" fmla="*/ 1419225 h 4429294"/>
              <a:gd name="connsiteX59" fmla="*/ 211919 w 4501379"/>
              <a:gd name="connsiteY59" fmla="*/ 1276350 h 4429294"/>
              <a:gd name="connsiteX60" fmla="*/ 221444 w 4501379"/>
              <a:gd name="connsiteY60" fmla="*/ 1247775 h 4429294"/>
              <a:gd name="connsiteX61" fmla="*/ 250019 w 4501379"/>
              <a:gd name="connsiteY61" fmla="*/ 1200150 h 4429294"/>
              <a:gd name="connsiteX62" fmla="*/ 269069 w 4501379"/>
              <a:gd name="connsiteY62" fmla="*/ 1152525 h 4429294"/>
              <a:gd name="connsiteX63" fmla="*/ 297644 w 4501379"/>
              <a:gd name="connsiteY63" fmla="*/ 1114425 h 4429294"/>
              <a:gd name="connsiteX64" fmla="*/ 345269 w 4501379"/>
              <a:gd name="connsiteY64" fmla="*/ 1038225 h 4429294"/>
              <a:gd name="connsiteX65" fmla="*/ 364319 w 4501379"/>
              <a:gd name="connsiteY65" fmla="*/ 1009650 h 4429294"/>
              <a:gd name="connsiteX66" fmla="*/ 421469 w 4501379"/>
              <a:gd name="connsiteY66" fmla="*/ 904875 h 4429294"/>
              <a:gd name="connsiteX67" fmla="*/ 459569 w 4501379"/>
              <a:gd name="connsiteY67" fmla="*/ 857250 h 4429294"/>
              <a:gd name="connsiteX68" fmla="*/ 478619 w 4501379"/>
              <a:gd name="connsiteY68" fmla="*/ 828675 h 4429294"/>
              <a:gd name="connsiteX69" fmla="*/ 516719 w 4501379"/>
              <a:gd name="connsiteY69" fmla="*/ 800100 h 4429294"/>
              <a:gd name="connsiteX70" fmla="*/ 583394 w 4501379"/>
              <a:gd name="connsiteY70" fmla="*/ 733425 h 4429294"/>
              <a:gd name="connsiteX71" fmla="*/ 650069 w 4501379"/>
              <a:gd name="connsiteY71" fmla="*/ 676275 h 4429294"/>
              <a:gd name="connsiteX72" fmla="*/ 678644 w 4501379"/>
              <a:gd name="connsiteY72" fmla="*/ 657225 h 4429294"/>
              <a:gd name="connsiteX73" fmla="*/ 821519 w 4501379"/>
              <a:gd name="connsiteY73" fmla="*/ 533400 h 4429294"/>
              <a:gd name="connsiteX74" fmla="*/ 869144 w 4501379"/>
              <a:gd name="connsiteY74" fmla="*/ 504825 h 4429294"/>
              <a:gd name="connsiteX75" fmla="*/ 1148544 w 4501379"/>
              <a:gd name="connsiteY75" fmla="*/ 311150 h 4429294"/>
              <a:gd name="connsiteX76" fmla="*/ 1250144 w 4501379"/>
              <a:gd name="connsiteY76" fmla="*/ 285750 h 4429294"/>
              <a:gd name="connsiteX77" fmla="*/ 1393019 w 4501379"/>
              <a:gd name="connsiteY77" fmla="*/ 190500 h 4429294"/>
              <a:gd name="connsiteX78" fmla="*/ 1431119 w 4501379"/>
              <a:gd name="connsiteY78" fmla="*/ 161925 h 4429294"/>
              <a:gd name="connsiteX79" fmla="*/ 1507319 w 4501379"/>
              <a:gd name="connsiteY79" fmla="*/ 152400 h 4429294"/>
              <a:gd name="connsiteX80" fmla="*/ 1564469 w 4501379"/>
              <a:gd name="connsiteY80" fmla="*/ 142875 h 4429294"/>
              <a:gd name="connsiteX81" fmla="*/ 1697819 w 4501379"/>
              <a:gd name="connsiteY81" fmla="*/ 123825 h 4429294"/>
              <a:gd name="connsiteX82" fmla="*/ 1793069 w 4501379"/>
              <a:gd name="connsiteY82" fmla="*/ 114300 h 4429294"/>
              <a:gd name="connsiteX83" fmla="*/ 1840694 w 4501379"/>
              <a:gd name="connsiteY83" fmla="*/ 104775 h 4429294"/>
              <a:gd name="connsiteX84" fmla="*/ 1897844 w 4501379"/>
              <a:gd name="connsiteY84" fmla="*/ 95250 h 4429294"/>
              <a:gd name="connsiteX85" fmla="*/ 2012144 w 4501379"/>
              <a:gd name="connsiteY85" fmla="*/ 66675 h 4429294"/>
              <a:gd name="connsiteX86" fmla="*/ 2078819 w 4501379"/>
              <a:gd name="connsiteY86" fmla="*/ 47625 h 4429294"/>
              <a:gd name="connsiteX87" fmla="*/ 2145494 w 4501379"/>
              <a:gd name="connsiteY8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2955119 w 4501379"/>
              <a:gd name="connsiteY3" fmla="*/ 114300 h 4429294"/>
              <a:gd name="connsiteX4" fmla="*/ 3117044 w 4501379"/>
              <a:gd name="connsiteY4" fmla="*/ 171450 h 4429294"/>
              <a:gd name="connsiteX5" fmla="*/ 3155144 w 4501379"/>
              <a:gd name="connsiteY5" fmla="*/ 190500 h 4429294"/>
              <a:gd name="connsiteX6" fmla="*/ 3221819 w 4501379"/>
              <a:gd name="connsiteY6" fmla="*/ 228600 h 4429294"/>
              <a:gd name="connsiteX7" fmla="*/ 3250394 w 4501379"/>
              <a:gd name="connsiteY7" fmla="*/ 238125 h 4429294"/>
              <a:gd name="connsiteX8" fmla="*/ 3278969 w 4501379"/>
              <a:gd name="connsiteY8" fmla="*/ 257175 h 4429294"/>
              <a:gd name="connsiteX9" fmla="*/ 3307544 w 4501379"/>
              <a:gd name="connsiteY9" fmla="*/ 266700 h 4429294"/>
              <a:gd name="connsiteX10" fmla="*/ 3336119 w 4501379"/>
              <a:gd name="connsiteY10" fmla="*/ 285750 h 4429294"/>
              <a:gd name="connsiteX11" fmla="*/ 3402794 w 4501379"/>
              <a:gd name="connsiteY11" fmla="*/ 323850 h 4429294"/>
              <a:gd name="connsiteX12" fmla="*/ 3450419 w 4501379"/>
              <a:gd name="connsiteY12" fmla="*/ 361950 h 4429294"/>
              <a:gd name="connsiteX13" fmla="*/ 3498044 w 4501379"/>
              <a:gd name="connsiteY13" fmla="*/ 390525 h 4429294"/>
              <a:gd name="connsiteX14" fmla="*/ 3612344 w 4501379"/>
              <a:gd name="connsiteY14" fmla="*/ 485775 h 4429294"/>
              <a:gd name="connsiteX15" fmla="*/ 3726644 w 4501379"/>
              <a:gd name="connsiteY15" fmla="*/ 542925 h 4429294"/>
              <a:gd name="connsiteX16" fmla="*/ 3793319 w 4501379"/>
              <a:gd name="connsiteY16" fmla="*/ 581025 h 4429294"/>
              <a:gd name="connsiteX17" fmla="*/ 4009219 w 4501379"/>
              <a:gd name="connsiteY17" fmla="*/ 819150 h 4429294"/>
              <a:gd name="connsiteX18" fmla="*/ 4145744 w 4501379"/>
              <a:gd name="connsiteY18" fmla="*/ 990600 h 4429294"/>
              <a:gd name="connsiteX19" fmla="*/ 4231469 w 4501379"/>
              <a:gd name="connsiteY19" fmla="*/ 1143000 h 4429294"/>
              <a:gd name="connsiteX20" fmla="*/ 4288619 w 4501379"/>
              <a:gd name="connsiteY20" fmla="*/ 1266825 h 4429294"/>
              <a:gd name="connsiteX21" fmla="*/ 4326719 w 4501379"/>
              <a:gd name="connsiteY21" fmla="*/ 1362075 h 4429294"/>
              <a:gd name="connsiteX22" fmla="*/ 4374344 w 4501379"/>
              <a:gd name="connsiteY22" fmla="*/ 1552575 h 4429294"/>
              <a:gd name="connsiteX23" fmla="*/ 4412444 w 4501379"/>
              <a:gd name="connsiteY23" fmla="*/ 1685925 h 4429294"/>
              <a:gd name="connsiteX24" fmla="*/ 4501344 w 4501379"/>
              <a:gd name="connsiteY24" fmla="*/ 2181225 h 4429294"/>
              <a:gd name="connsiteX25" fmla="*/ 4428319 w 4501379"/>
              <a:gd name="connsiteY25" fmla="*/ 2768600 h 4429294"/>
              <a:gd name="connsiteX26" fmla="*/ 4364819 w 4501379"/>
              <a:gd name="connsiteY26" fmla="*/ 2990850 h 4429294"/>
              <a:gd name="connsiteX27" fmla="*/ 4260044 w 4501379"/>
              <a:gd name="connsiteY27" fmla="*/ 3248025 h 4429294"/>
              <a:gd name="connsiteX28" fmla="*/ 4164794 w 4501379"/>
              <a:gd name="connsiteY28" fmla="*/ 3400425 h 4429294"/>
              <a:gd name="connsiteX29" fmla="*/ 4040969 w 4501379"/>
              <a:gd name="connsiteY29" fmla="*/ 3533775 h 4429294"/>
              <a:gd name="connsiteX30" fmla="*/ 3936194 w 4501379"/>
              <a:gd name="connsiteY30" fmla="*/ 3648075 h 4429294"/>
              <a:gd name="connsiteX31" fmla="*/ 3640919 w 4501379"/>
              <a:gd name="connsiteY31" fmla="*/ 3971925 h 4429294"/>
              <a:gd name="connsiteX32" fmla="*/ 3498044 w 4501379"/>
              <a:gd name="connsiteY32" fmla="*/ 4083050 h 4429294"/>
              <a:gd name="connsiteX33" fmla="*/ 3202769 w 4501379"/>
              <a:gd name="connsiteY33" fmla="*/ 4222750 h 4429294"/>
              <a:gd name="connsiteX34" fmla="*/ 3050369 w 4501379"/>
              <a:gd name="connsiteY34" fmla="*/ 4286250 h 4429294"/>
              <a:gd name="connsiteX35" fmla="*/ 2917019 w 4501379"/>
              <a:gd name="connsiteY35" fmla="*/ 4333875 h 4429294"/>
              <a:gd name="connsiteX36" fmla="*/ 2793194 w 4501379"/>
              <a:gd name="connsiteY36" fmla="*/ 4371975 h 4429294"/>
              <a:gd name="connsiteX37" fmla="*/ 2561419 w 4501379"/>
              <a:gd name="connsiteY37" fmla="*/ 4391025 h 4429294"/>
              <a:gd name="connsiteX38" fmla="*/ 2107394 w 4501379"/>
              <a:gd name="connsiteY38" fmla="*/ 4429125 h 4429294"/>
              <a:gd name="connsiteX39" fmla="*/ 1916894 w 4501379"/>
              <a:gd name="connsiteY39" fmla="*/ 4400550 h 4429294"/>
              <a:gd name="connsiteX40" fmla="*/ 1554944 w 4501379"/>
              <a:gd name="connsiteY40" fmla="*/ 4305300 h 4429294"/>
              <a:gd name="connsiteX41" fmla="*/ 1313644 w 4501379"/>
              <a:gd name="connsiteY41" fmla="*/ 4216400 h 4429294"/>
              <a:gd name="connsiteX42" fmla="*/ 1145369 w 4501379"/>
              <a:gd name="connsiteY42" fmla="*/ 4111625 h 4429294"/>
              <a:gd name="connsiteX43" fmla="*/ 926294 w 4501379"/>
              <a:gd name="connsiteY43" fmla="*/ 3968750 h 4429294"/>
              <a:gd name="connsiteX44" fmla="*/ 592919 w 4501379"/>
              <a:gd name="connsiteY44" fmla="*/ 3657600 h 4429294"/>
              <a:gd name="connsiteX45" fmla="*/ 446869 w 4501379"/>
              <a:gd name="connsiteY45" fmla="*/ 3470275 h 4429294"/>
              <a:gd name="connsiteX46" fmla="*/ 316694 w 4501379"/>
              <a:gd name="connsiteY46" fmla="*/ 3244850 h 4429294"/>
              <a:gd name="connsiteX47" fmla="*/ 164294 w 4501379"/>
              <a:gd name="connsiteY47" fmla="*/ 2892425 h 4429294"/>
              <a:gd name="connsiteX48" fmla="*/ 56344 w 4501379"/>
              <a:gd name="connsiteY48" fmla="*/ 2368550 h 4429294"/>
              <a:gd name="connsiteX49" fmla="*/ 2369 w 4501379"/>
              <a:gd name="connsiteY49" fmla="*/ 1905000 h 4429294"/>
              <a:gd name="connsiteX50" fmla="*/ 11894 w 4501379"/>
              <a:gd name="connsiteY50" fmla="*/ 1838325 h 4429294"/>
              <a:gd name="connsiteX51" fmla="*/ 30944 w 4501379"/>
              <a:gd name="connsiteY51" fmla="*/ 1781175 h 4429294"/>
              <a:gd name="connsiteX52" fmla="*/ 40469 w 4501379"/>
              <a:gd name="connsiteY52" fmla="*/ 1743075 h 4429294"/>
              <a:gd name="connsiteX53" fmla="*/ 59519 w 4501379"/>
              <a:gd name="connsiteY53" fmla="*/ 1685925 h 4429294"/>
              <a:gd name="connsiteX54" fmla="*/ 69044 w 4501379"/>
              <a:gd name="connsiteY54" fmla="*/ 1638300 h 4429294"/>
              <a:gd name="connsiteX55" fmla="*/ 88094 w 4501379"/>
              <a:gd name="connsiteY55" fmla="*/ 1590675 h 4429294"/>
              <a:gd name="connsiteX56" fmla="*/ 116669 w 4501379"/>
              <a:gd name="connsiteY56" fmla="*/ 1504950 h 4429294"/>
              <a:gd name="connsiteX57" fmla="*/ 135719 w 4501379"/>
              <a:gd name="connsiteY57" fmla="*/ 1419225 h 4429294"/>
              <a:gd name="connsiteX58" fmla="*/ 211919 w 4501379"/>
              <a:gd name="connsiteY58" fmla="*/ 1276350 h 4429294"/>
              <a:gd name="connsiteX59" fmla="*/ 221444 w 4501379"/>
              <a:gd name="connsiteY59" fmla="*/ 1247775 h 4429294"/>
              <a:gd name="connsiteX60" fmla="*/ 250019 w 4501379"/>
              <a:gd name="connsiteY60" fmla="*/ 1200150 h 4429294"/>
              <a:gd name="connsiteX61" fmla="*/ 269069 w 4501379"/>
              <a:gd name="connsiteY61" fmla="*/ 1152525 h 4429294"/>
              <a:gd name="connsiteX62" fmla="*/ 297644 w 4501379"/>
              <a:gd name="connsiteY62" fmla="*/ 1114425 h 4429294"/>
              <a:gd name="connsiteX63" fmla="*/ 345269 w 4501379"/>
              <a:gd name="connsiteY63" fmla="*/ 1038225 h 4429294"/>
              <a:gd name="connsiteX64" fmla="*/ 364319 w 4501379"/>
              <a:gd name="connsiteY64" fmla="*/ 1009650 h 4429294"/>
              <a:gd name="connsiteX65" fmla="*/ 421469 w 4501379"/>
              <a:gd name="connsiteY65" fmla="*/ 904875 h 4429294"/>
              <a:gd name="connsiteX66" fmla="*/ 459569 w 4501379"/>
              <a:gd name="connsiteY66" fmla="*/ 857250 h 4429294"/>
              <a:gd name="connsiteX67" fmla="*/ 478619 w 4501379"/>
              <a:gd name="connsiteY67" fmla="*/ 828675 h 4429294"/>
              <a:gd name="connsiteX68" fmla="*/ 516719 w 4501379"/>
              <a:gd name="connsiteY68" fmla="*/ 800100 h 4429294"/>
              <a:gd name="connsiteX69" fmla="*/ 583394 w 4501379"/>
              <a:gd name="connsiteY69" fmla="*/ 733425 h 4429294"/>
              <a:gd name="connsiteX70" fmla="*/ 650069 w 4501379"/>
              <a:gd name="connsiteY70" fmla="*/ 676275 h 4429294"/>
              <a:gd name="connsiteX71" fmla="*/ 678644 w 4501379"/>
              <a:gd name="connsiteY71" fmla="*/ 657225 h 4429294"/>
              <a:gd name="connsiteX72" fmla="*/ 821519 w 4501379"/>
              <a:gd name="connsiteY72" fmla="*/ 533400 h 4429294"/>
              <a:gd name="connsiteX73" fmla="*/ 869144 w 4501379"/>
              <a:gd name="connsiteY73" fmla="*/ 504825 h 4429294"/>
              <a:gd name="connsiteX74" fmla="*/ 1148544 w 4501379"/>
              <a:gd name="connsiteY74" fmla="*/ 311150 h 4429294"/>
              <a:gd name="connsiteX75" fmla="*/ 1250144 w 4501379"/>
              <a:gd name="connsiteY75" fmla="*/ 285750 h 4429294"/>
              <a:gd name="connsiteX76" fmla="*/ 1393019 w 4501379"/>
              <a:gd name="connsiteY76" fmla="*/ 190500 h 4429294"/>
              <a:gd name="connsiteX77" fmla="*/ 1431119 w 4501379"/>
              <a:gd name="connsiteY77" fmla="*/ 161925 h 4429294"/>
              <a:gd name="connsiteX78" fmla="*/ 1507319 w 4501379"/>
              <a:gd name="connsiteY78" fmla="*/ 152400 h 4429294"/>
              <a:gd name="connsiteX79" fmla="*/ 1564469 w 4501379"/>
              <a:gd name="connsiteY79" fmla="*/ 142875 h 4429294"/>
              <a:gd name="connsiteX80" fmla="*/ 1697819 w 4501379"/>
              <a:gd name="connsiteY80" fmla="*/ 123825 h 4429294"/>
              <a:gd name="connsiteX81" fmla="*/ 1793069 w 4501379"/>
              <a:gd name="connsiteY81" fmla="*/ 114300 h 4429294"/>
              <a:gd name="connsiteX82" fmla="*/ 1840694 w 4501379"/>
              <a:gd name="connsiteY82" fmla="*/ 104775 h 4429294"/>
              <a:gd name="connsiteX83" fmla="*/ 1897844 w 4501379"/>
              <a:gd name="connsiteY83" fmla="*/ 95250 h 4429294"/>
              <a:gd name="connsiteX84" fmla="*/ 2012144 w 4501379"/>
              <a:gd name="connsiteY84" fmla="*/ 66675 h 4429294"/>
              <a:gd name="connsiteX85" fmla="*/ 2078819 w 4501379"/>
              <a:gd name="connsiteY85" fmla="*/ 47625 h 4429294"/>
              <a:gd name="connsiteX86" fmla="*/ 2145494 w 4501379"/>
              <a:gd name="connsiteY86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155144 w 4501379"/>
              <a:gd name="connsiteY4" fmla="*/ 190500 h 4429294"/>
              <a:gd name="connsiteX5" fmla="*/ 3221819 w 4501379"/>
              <a:gd name="connsiteY5" fmla="*/ 228600 h 4429294"/>
              <a:gd name="connsiteX6" fmla="*/ 3250394 w 4501379"/>
              <a:gd name="connsiteY6" fmla="*/ 238125 h 4429294"/>
              <a:gd name="connsiteX7" fmla="*/ 3278969 w 4501379"/>
              <a:gd name="connsiteY7" fmla="*/ 257175 h 4429294"/>
              <a:gd name="connsiteX8" fmla="*/ 3307544 w 4501379"/>
              <a:gd name="connsiteY8" fmla="*/ 266700 h 4429294"/>
              <a:gd name="connsiteX9" fmla="*/ 3336119 w 4501379"/>
              <a:gd name="connsiteY9" fmla="*/ 285750 h 4429294"/>
              <a:gd name="connsiteX10" fmla="*/ 3402794 w 4501379"/>
              <a:gd name="connsiteY10" fmla="*/ 323850 h 4429294"/>
              <a:gd name="connsiteX11" fmla="*/ 3450419 w 4501379"/>
              <a:gd name="connsiteY11" fmla="*/ 361950 h 4429294"/>
              <a:gd name="connsiteX12" fmla="*/ 3498044 w 4501379"/>
              <a:gd name="connsiteY12" fmla="*/ 390525 h 4429294"/>
              <a:gd name="connsiteX13" fmla="*/ 3612344 w 4501379"/>
              <a:gd name="connsiteY13" fmla="*/ 485775 h 4429294"/>
              <a:gd name="connsiteX14" fmla="*/ 3726644 w 4501379"/>
              <a:gd name="connsiteY14" fmla="*/ 542925 h 4429294"/>
              <a:gd name="connsiteX15" fmla="*/ 3793319 w 4501379"/>
              <a:gd name="connsiteY15" fmla="*/ 581025 h 4429294"/>
              <a:gd name="connsiteX16" fmla="*/ 4009219 w 4501379"/>
              <a:gd name="connsiteY16" fmla="*/ 819150 h 4429294"/>
              <a:gd name="connsiteX17" fmla="*/ 4145744 w 4501379"/>
              <a:gd name="connsiteY17" fmla="*/ 990600 h 4429294"/>
              <a:gd name="connsiteX18" fmla="*/ 4231469 w 4501379"/>
              <a:gd name="connsiteY18" fmla="*/ 1143000 h 4429294"/>
              <a:gd name="connsiteX19" fmla="*/ 4288619 w 4501379"/>
              <a:gd name="connsiteY19" fmla="*/ 1266825 h 4429294"/>
              <a:gd name="connsiteX20" fmla="*/ 4326719 w 4501379"/>
              <a:gd name="connsiteY20" fmla="*/ 1362075 h 4429294"/>
              <a:gd name="connsiteX21" fmla="*/ 4374344 w 4501379"/>
              <a:gd name="connsiteY21" fmla="*/ 1552575 h 4429294"/>
              <a:gd name="connsiteX22" fmla="*/ 4412444 w 4501379"/>
              <a:gd name="connsiteY22" fmla="*/ 1685925 h 4429294"/>
              <a:gd name="connsiteX23" fmla="*/ 4501344 w 4501379"/>
              <a:gd name="connsiteY23" fmla="*/ 2181225 h 4429294"/>
              <a:gd name="connsiteX24" fmla="*/ 4428319 w 4501379"/>
              <a:gd name="connsiteY24" fmla="*/ 2768600 h 4429294"/>
              <a:gd name="connsiteX25" fmla="*/ 4364819 w 4501379"/>
              <a:gd name="connsiteY25" fmla="*/ 2990850 h 4429294"/>
              <a:gd name="connsiteX26" fmla="*/ 4260044 w 4501379"/>
              <a:gd name="connsiteY26" fmla="*/ 3248025 h 4429294"/>
              <a:gd name="connsiteX27" fmla="*/ 4164794 w 4501379"/>
              <a:gd name="connsiteY27" fmla="*/ 3400425 h 4429294"/>
              <a:gd name="connsiteX28" fmla="*/ 4040969 w 4501379"/>
              <a:gd name="connsiteY28" fmla="*/ 3533775 h 4429294"/>
              <a:gd name="connsiteX29" fmla="*/ 3936194 w 4501379"/>
              <a:gd name="connsiteY29" fmla="*/ 3648075 h 4429294"/>
              <a:gd name="connsiteX30" fmla="*/ 3640919 w 4501379"/>
              <a:gd name="connsiteY30" fmla="*/ 3971925 h 4429294"/>
              <a:gd name="connsiteX31" fmla="*/ 3498044 w 4501379"/>
              <a:gd name="connsiteY31" fmla="*/ 4083050 h 4429294"/>
              <a:gd name="connsiteX32" fmla="*/ 3202769 w 4501379"/>
              <a:gd name="connsiteY32" fmla="*/ 4222750 h 4429294"/>
              <a:gd name="connsiteX33" fmla="*/ 3050369 w 4501379"/>
              <a:gd name="connsiteY33" fmla="*/ 4286250 h 4429294"/>
              <a:gd name="connsiteX34" fmla="*/ 2917019 w 4501379"/>
              <a:gd name="connsiteY34" fmla="*/ 4333875 h 4429294"/>
              <a:gd name="connsiteX35" fmla="*/ 2793194 w 4501379"/>
              <a:gd name="connsiteY35" fmla="*/ 4371975 h 4429294"/>
              <a:gd name="connsiteX36" fmla="*/ 2561419 w 4501379"/>
              <a:gd name="connsiteY36" fmla="*/ 4391025 h 4429294"/>
              <a:gd name="connsiteX37" fmla="*/ 2107394 w 4501379"/>
              <a:gd name="connsiteY37" fmla="*/ 4429125 h 4429294"/>
              <a:gd name="connsiteX38" fmla="*/ 1916894 w 4501379"/>
              <a:gd name="connsiteY38" fmla="*/ 4400550 h 4429294"/>
              <a:gd name="connsiteX39" fmla="*/ 1554944 w 4501379"/>
              <a:gd name="connsiteY39" fmla="*/ 4305300 h 4429294"/>
              <a:gd name="connsiteX40" fmla="*/ 1313644 w 4501379"/>
              <a:gd name="connsiteY40" fmla="*/ 4216400 h 4429294"/>
              <a:gd name="connsiteX41" fmla="*/ 1145369 w 4501379"/>
              <a:gd name="connsiteY41" fmla="*/ 4111625 h 4429294"/>
              <a:gd name="connsiteX42" fmla="*/ 926294 w 4501379"/>
              <a:gd name="connsiteY42" fmla="*/ 3968750 h 4429294"/>
              <a:gd name="connsiteX43" fmla="*/ 592919 w 4501379"/>
              <a:gd name="connsiteY43" fmla="*/ 3657600 h 4429294"/>
              <a:gd name="connsiteX44" fmla="*/ 446869 w 4501379"/>
              <a:gd name="connsiteY44" fmla="*/ 3470275 h 4429294"/>
              <a:gd name="connsiteX45" fmla="*/ 316694 w 4501379"/>
              <a:gd name="connsiteY45" fmla="*/ 3244850 h 4429294"/>
              <a:gd name="connsiteX46" fmla="*/ 164294 w 4501379"/>
              <a:gd name="connsiteY46" fmla="*/ 2892425 h 4429294"/>
              <a:gd name="connsiteX47" fmla="*/ 56344 w 4501379"/>
              <a:gd name="connsiteY47" fmla="*/ 2368550 h 4429294"/>
              <a:gd name="connsiteX48" fmla="*/ 2369 w 4501379"/>
              <a:gd name="connsiteY48" fmla="*/ 1905000 h 4429294"/>
              <a:gd name="connsiteX49" fmla="*/ 11894 w 4501379"/>
              <a:gd name="connsiteY49" fmla="*/ 1838325 h 4429294"/>
              <a:gd name="connsiteX50" fmla="*/ 30944 w 4501379"/>
              <a:gd name="connsiteY50" fmla="*/ 1781175 h 4429294"/>
              <a:gd name="connsiteX51" fmla="*/ 40469 w 4501379"/>
              <a:gd name="connsiteY51" fmla="*/ 1743075 h 4429294"/>
              <a:gd name="connsiteX52" fmla="*/ 59519 w 4501379"/>
              <a:gd name="connsiteY52" fmla="*/ 1685925 h 4429294"/>
              <a:gd name="connsiteX53" fmla="*/ 69044 w 4501379"/>
              <a:gd name="connsiteY53" fmla="*/ 1638300 h 4429294"/>
              <a:gd name="connsiteX54" fmla="*/ 88094 w 4501379"/>
              <a:gd name="connsiteY54" fmla="*/ 1590675 h 4429294"/>
              <a:gd name="connsiteX55" fmla="*/ 116669 w 4501379"/>
              <a:gd name="connsiteY55" fmla="*/ 1504950 h 4429294"/>
              <a:gd name="connsiteX56" fmla="*/ 135719 w 4501379"/>
              <a:gd name="connsiteY56" fmla="*/ 1419225 h 4429294"/>
              <a:gd name="connsiteX57" fmla="*/ 211919 w 4501379"/>
              <a:gd name="connsiteY57" fmla="*/ 1276350 h 4429294"/>
              <a:gd name="connsiteX58" fmla="*/ 221444 w 4501379"/>
              <a:gd name="connsiteY58" fmla="*/ 1247775 h 4429294"/>
              <a:gd name="connsiteX59" fmla="*/ 250019 w 4501379"/>
              <a:gd name="connsiteY59" fmla="*/ 1200150 h 4429294"/>
              <a:gd name="connsiteX60" fmla="*/ 269069 w 4501379"/>
              <a:gd name="connsiteY60" fmla="*/ 1152525 h 4429294"/>
              <a:gd name="connsiteX61" fmla="*/ 297644 w 4501379"/>
              <a:gd name="connsiteY61" fmla="*/ 1114425 h 4429294"/>
              <a:gd name="connsiteX62" fmla="*/ 345269 w 4501379"/>
              <a:gd name="connsiteY62" fmla="*/ 1038225 h 4429294"/>
              <a:gd name="connsiteX63" fmla="*/ 364319 w 4501379"/>
              <a:gd name="connsiteY63" fmla="*/ 1009650 h 4429294"/>
              <a:gd name="connsiteX64" fmla="*/ 421469 w 4501379"/>
              <a:gd name="connsiteY64" fmla="*/ 904875 h 4429294"/>
              <a:gd name="connsiteX65" fmla="*/ 459569 w 4501379"/>
              <a:gd name="connsiteY65" fmla="*/ 857250 h 4429294"/>
              <a:gd name="connsiteX66" fmla="*/ 478619 w 4501379"/>
              <a:gd name="connsiteY66" fmla="*/ 828675 h 4429294"/>
              <a:gd name="connsiteX67" fmla="*/ 516719 w 4501379"/>
              <a:gd name="connsiteY67" fmla="*/ 800100 h 4429294"/>
              <a:gd name="connsiteX68" fmla="*/ 583394 w 4501379"/>
              <a:gd name="connsiteY68" fmla="*/ 733425 h 4429294"/>
              <a:gd name="connsiteX69" fmla="*/ 650069 w 4501379"/>
              <a:gd name="connsiteY69" fmla="*/ 676275 h 4429294"/>
              <a:gd name="connsiteX70" fmla="*/ 678644 w 4501379"/>
              <a:gd name="connsiteY70" fmla="*/ 657225 h 4429294"/>
              <a:gd name="connsiteX71" fmla="*/ 821519 w 4501379"/>
              <a:gd name="connsiteY71" fmla="*/ 533400 h 4429294"/>
              <a:gd name="connsiteX72" fmla="*/ 869144 w 4501379"/>
              <a:gd name="connsiteY72" fmla="*/ 504825 h 4429294"/>
              <a:gd name="connsiteX73" fmla="*/ 1148544 w 4501379"/>
              <a:gd name="connsiteY73" fmla="*/ 311150 h 4429294"/>
              <a:gd name="connsiteX74" fmla="*/ 1250144 w 4501379"/>
              <a:gd name="connsiteY74" fmla="*/ 285750 h 4429294"/>
              <a:gd name="connsiteX75" fmla="*/ 1393019 w 4501379"/>
              <a:gd name="connsiteY75" fmla="*/ 190500 h 4429294"/>
              <a:gd name="connsiteX76" fmla="*/ 1431119 w 4501379"/>
              <a:gd name="connsiteY76" fmla="*/ 161925 h 4429294"/>
              <a:gd name="connsiteX77" fmla="*/ 1507319 w 4501379"/>
              <a:gd name="connsiteY77" fmla="*/ 152400 h 4429294"/>
              <a:gd name="connsiteX78" fmla="*/ 1564469 w 4501379"/>
              <a:gd name="connsiteY78" fmla="*/ 142875 h 4429294"/>
              <a:gd name="connsiteX79" fmla="*/ 1697819 w 4501379"/>
              <a:gd name="connsiteY79" fmla="*/ 123825 h 4429294"/>
              <a:gd name="connsiteX80" fmla="*/ 1793069 w 4501379"/>
              <a:gd name="connsiteY80" fmla="*/ 114300 h 4429294"/>
              <a:gd name="connsiteX81" fmla="*/ 1840694 w 4501379"/>
              <a:gd name="connsiteY81" fmla="*/ 104775 h 4429294"/>
              <a:gd name="connsiteX82" fmla="*/ 1897844 w 4501379"/>
              <a:gd name="connsiteY82" fmla="*/ 95250 h 4429294"/>
              <a:gd name="connsiteX83" fmla="*/ 2012144 w 4501379"/>
              <a:gd name="connsiteY83" fmla="*/ 66675 h 4429294"/>
              <a:gd name="connsiteX84" fmla="*/ 2078819 w 4501379"/>
              <a:gd name="connsiteY84" fmla="*/ 47625 h 4429294"/>
              <a:gd name="connsiteX85" fmla="*/ 2145494 w 4501379"/>
              <a:gd name="connsiteY85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278969 w 4501379"/>
              <a:gd name="connsiteY6" fmla="*/ 257175 h 4429294"/>
              <a:gd name="connsiteX7" fmla="*/ 3307544 w 4501379"/>
              <a:gd name="connsiteY7" fmla="*/ 266700 h 4429294"/>
              <a:gd name="connsiteX8" fmla="*/ 3336119 w 4501379"/>
              <a:gd name="connsiteY8" fmla="*/ 285750 h 4429294"/>
              <a:gd name="connsiteX9" fmla="*/ 3402794 w 4501379"/>
              <a:gd name="connsiteY9" fmla="*/ 323850 h 4429294"/>
              <a:gd name="connsiteX10" fmla="*/ 3450419 w 4501379"/>
              <a:gd name="connsiteY10" fmla="*/ 361950 h 4429294"/>
              <a:gd name="connsiteX11" fmla="*/ 3498044 w 4501379"/>
              <a:gd name="connsiteY11" fmla="*/ 390525 h 4429294"/>
              <a:gd name="connsiteX12" fmla="*/ 3612344 w 4501379"/>
              <a:gd name="connsiteY12" fmla="*/ 485775 h 4429294"/>
              <a:gd name="connsiteX13" fmla="*/ 3726644 w 4501379"/>
              <a:gd name="connsiteY13" fmla="*/ 542925 h 4429294"/>
              <a:gd name="connsiteX14" fmla="*/ 3793319 w 4501379"/>
              <a:gd name="connsiteY14" fmla="*/ 581025 h 4429294"/>
              <a:gd name="connsiteX15" fmla="*/ 4009219 w 4501379"/>
              <a:gd name="connsiteY15" fmla="*/ 819150 h 4429294"/>
              <a:gd name="connsiteX16" fmla="*/ 4145744 w 4501379"/>
              <a:gd name="connsiteY16" fmla="*/ 990600 h 4429294"/>
              <a:gd name="connsiteX17" fmla="*/ 4231469 w 4501379"/>
              <a:gd name="connsiteY17" fmla="*/ 1143000 h 4429294"/>
              <a:gd name="connsiteX18" fmla="*/ 4288619 w 4501379"/>
              <a:gd name="connsiteY18" fmla="*/ 1266825 h 4429294"/>
              <a:gd name="connsiteX19" fmla="*/ 4326719 w 4501379"/>
              <a:gd name="connsiteY19" fmla="*/ 1362075 h 4429294"/>
              <a:gd name="connsiteX20" fmla="*/ 4374344 w 4501379"/>
              <a:gd name="connsiteY20" fmla="*/ 1552575 h 4429294"/>
              <a:gd name="connsiteX21" fmla="*/ 4412444 w 4501379"/>
              <a:gd name="connsiteY21" fmla="*/ 1685925 h 4429294"/>
              <a:gd name="connsiteX22" fmla="*/ 4501344 w 4501379"/>
              <a:gd name="connsiteY22" fmla="*/ 2181225 h 4429294"/>
              <a:gd name="connsiteX23" fmla="*/ 4428319 w 4501379"/>
              <a:gd name="connsiteY23" fmla="*/ 2768600 h 4429294"/>
              <a:gd name="connsiteX24" fmla="*/ 4364819 w 4501379"/>
              <a:gd name="connsiteY24" fmla="*/ 2990850 h 4429294"/>
              <a:gd name="connsiteX25" fmla="*/ 4260044 w 4501379"/>
              <a:gd name="connsiteY25" fmla="*/ 3248025 h 4429294"/>
              <a:gd name="connsiteX26" fmla="*/ 4164794 w 4501379"/>
              <a:gd name="connsiteY26" fmla="*/ 3400425 h 4429294"/>
              <a:gd name="connsiteX27" fmla="*/ 4040969 w 4501379"/>
              <a:gd name="connsiteY27" fmla="*/ 3533775 h 4429294"/>
              <a:gd name="connsiteX28" fmla="*/ 3936194 w 4501379"/>
              <a:gd name="connsiteY28" fmla="*/ 3648075 h 4429294"/>
              <a:gd name="connsiteX29" fmla="*/ 3640919 w 4501379"/>
              <a:gd name="connsiteY29" fmla="*/ 3971925 h 4429294"/>
              <a:gd name="connsiteX30" fmla="*/ 3498044 w 4501379"/>
              <a:gd name="connsiteY30" fmla="*/ 4083050 h 4429294"/>
              <a:gd name="connsiteX31" fmla="*/ 3202769 w 4501379"/>
              <a:gd name="connsiteY31" fmla="*/ 4222750 h 4429294"/>
              <a:gd name="connsiteX32" fmla="*/ 3050369 w 4501379"/>
              <a:gd name="connsiteY32" fmla="*/ 4286250 h 4429294"/>
              <a:gd name="connsiteX33" fmla="*/ 2917019 w 4501379"/>
              <a:gd name="connsiteY33" fmla="*/ 4333875 h 4429294"/>
              <a:gd name="connsiteX34" fmla="*/ 2793194 w 4501379"/>
              <a:gd name="connsiteY34" fmla="*/ 4371975 h 4429294"/>
              <a:gd name="connsiteX35" fmla="*/ 2561419 w 4501379"/>
              <a:gd name="connsiteY35" fmla="*/ 4391025 h 4429294"/>
              <a:gd name="connsiteX36" fmla="*/ 2107394 w 4501379"/>
              <a:gd name="connsiteY36" fmla="*/ 4429125 h 4429294"/>
              <a:gd name="connsiteX37" fmla="*/ 1916894 w 4501379"/>
              <a:gd name="connsiteY37" fmla="*/ 4400550 h 4429294"/>
              <a:gd name="connsiteX38" fmla="*/ 1554944 w 4501379"/>
              <a:gd name="connsiteY38" fmla="*/ 4305300 h 4429294"/>
              <a:gd name="connsiteX39" fmla="*/ 1313644 w 4501379"/>
              <a:gd name="connsiteY39" fmla="*/ 4216400 h 4429294"/>
              <a:gd name="connsiteX40" fmla="*/ 1145369 w 4501379"/>
              <a:gd name="connsiteY40" fmla="*/ 4111625 h 4429294"/>
              <a:gd name="connsiteX41" fmla="*/ 926294 w 4501379"/>
              <a:gd name="connsiteY41" fmla="*/ 3968750 h 4429294"/>
              <a:gd name="connsiteX42" fmla="*/ 592919 w 4501379"/>
              <a:gd name="connsiteY42" fmla="*/ 3657600 h 4429294"/>
              <a:gd name="connsiteX43" fmla="*/ 446869 w 4501379"/>
              <a:gd name="connsiteY43" fmla="*/ 3470275 h 4429294"/>
              <a:gd name="connsiteX44" fmla="*/ 316694 w 4501379"/>
              <a:gd name="connsiteY44" fmla="*/ 3244850 h 4429294"/>
              <a:gd name="connsiteX45" fmla="*/ 164294 w 4501379"/>
              <a:gd name="connsiteY45" fmla="*/ 2892425 h 4429294"/>
              <a:gd name="connsiteX46" fmla="*/ 56344 w 4501379"/>
              <a:gd name="connsiteY46" fmla="*/ 2368550 h 4429294"/>
              <a:gd name="connsiteX47" fmla="*/ 2369 w 4501379"/>
              <a:gd name="connsiteY47" fmla="*/ 1905000 h 4429294"/>
              <a:gd name="connsiteX48" fmla="*/ 11894 w 4501379"/>
              <a:gd name="connsiteY48" fmla="*/ 1838325 h 4429294"/>
              <a:gd name="connsiteX49" fmla="*/ 30944 w 4501379"/>
              <a:gd name="connsiteY49" fmla="*/ 1781175 h 4429294"/>
              <a:gd name="connsiteX50" fmla="*/ 40469 w 4501379"/>
              <a:gd name="connsiteY50" fmla="*/ 1743075 h 4429294"/>
              <a:gd name="connsiteX51" fmla="*/ 59519 w 4501379"/>
              <a:gd name="connsiteY51" fmla="*/ 1685925 h 4429294"/>
              <a:gd name="connsiteX52" fmla="*/ 69044 w 4501379"/>
              <a:gd name="connsiteY52" fmla="*/ 1638300 h 4429294"/>
              <a:gd name="connsiteX53" fmla="*/ 88094 w 4501379"/>
              <a:gd name="connsiteY53" fmla="*/ 1590675 h 4429294"/>
              <a:gd name="connsiteX54" fmla="*/ 116669 w 4501379"/>
              <a:gd name="connsiteY54" fmla="*/ 1504950 h 4429294"/>
              <a:gd name="connsiteX55" fmla="*/ 135719 w 4501379"/>
              <a:gd name="connsiteY55" fmla="*/ 1419225 h 4429294"/>
              <a:gd name="connsiteX56" fmla="*/ 211919 w 4501379"/>
              <a:gd name="connsiteY56" fmla="*/ 1276350 h 4429294"/>
              <a:gd name="connsiteX57" fmla="*/ 221444 w 4501379"/>
              <a:gd name="connsiteY57" fmla="*/ 1247775 h 4429294"/>
              <a:gd name="connsiteX58" fmla="*/ 250019 w 4501379"/>
              <a:gd name="connsiteY58" fmla="*/ 1200150 h 4429294"/>
              <a:gd name="connsiteX59" fmla="*/ 269069 w 4501379"/>
              <a:gd name="connsiteY59" fmla="*/ 1152525 h 4429294"/>
              <a:gd name="connsiteX60" fmla="*/ 297644 w 4501379"/>
              <a:gd name="connsiteY60" fmla="*/ 1114425 h 4429294"/>
              <a:gd name="connsiteX61" fmla="*/ 345269 w 4501379"/>
              <a:gd name="connsiteY61" fmla="*/ 1038225 h 4429294"/>
              <a:gd name="connsiteX62" fmla="*/ 364319 w 4501379"/>
              <a:gd name="connsiteY62" fmla="*/ 1009650 h 4429294"/>
              <a:gd name="connsiteX63" fmla="*/ 421469 w 4501379"/>
              <a:gd name="connsiteY63" fmla="*/ 904875 h 4429294"/>
              <a:gd name="connsiteX64" fmla="*/ 459569 w 4501379"/>
              <a:gd name="connsiteY64" fmla="*/ 857250 h 4429294"/>
              <a:gd name="connsiteX65" fmla="*/ 478619 w 4501379"/>
              <a:gd name="connsiteY65" fmla="*/ 828675 h 4429294"/>
              <a:gd name="connsiteX66" fmla="*/ 516719 w 4501379"/>
              <a:gd name="connsiteY66" fmla="*/ 800100 h 4429294"/>
              <a:gd name="connsiteX67" fmla="*/ 583394 w 4501379"/>
              <a:gd name="connsiteY67" fmla="*/ 733425 h 4429294"/>
              <a:gd name="connsiteX68" fmla="*/ 650069 w 4501379"/>
              <a:gd name="connsiteY68" fmla="*/ 676275 h 4429294"/>
              <a:gd name="connsiteX69" fmla="*/ 678644 w 4501379"/>
              <a:gd name="connsiteY69" fmla="*/ 657225 h 4429294"/>
              <a:gd name="connsiteX70" fmla="*/ 821519 w 4501379"/>
              <a:gd name="connsiteY70" fmla="*/ 533400 h 4429294"/>
              <a:gd name="connsiteX71" fmla="*/ 869144 w 4501379"/>
              <a:gd name="connsiteY71" fmla="*/ 504825 h 4429294"/>
              <a:gd name="connsiteX72" fmla="*/ 1148544 w 4501379"/>
              <a:gd name="connsiteY72" fmla="*/ 311150 h 4429294"/>
              <a:gd name="connsiteX73" fmla="*/ 1250144 w 4501379"/>
              <a:gd name="connsiteY73" fmla="*/ 285750 h 4429294"/>
              <a:gd name="connsiteX74" fmla="*/ 1393019 w 4501379"/>
              <a:gd name="connsiteY74" fmla="*/ 190500 h 4429294"/>
              <a:gd name="connsiteX75" fmla="*/ 1431119 w 4501379"/>
              <a:gd name="connsiteY75" fmla="*/ 161925 h 4429294"/>
              <a:gd name="connsiteX76" fmla="*/ 1507319 w 4501379"/>
              <a:gd name="connsiteY76" fmla="*/ 152400 h 4429294"/>
              <a:gd name="connsiteX77" fmla="*/ 1564469 w 4501379"/>
              <a:gd name="connsiteY77" fmla="*/ 142875 h 4429294"/>
              <a:gd name="connsiteX78" fmla="*/ 1697819 w 4501379"/>
              <a:gd name="connsiteY78" fmla="*/ 123825 h 4429294"/>
              <a:gd name="connsiteX79" fmla="*/ 1793069 w 4501379"/>
              <a:gd name="connsiteY79" fmla="*/ 114300 h 4429294"/>
              <a:gd name="connsiteX80" fmla="*/ 1840694 w 4501379"/>
              <a:gd name="connsiteY80" fmla="*/ 104775 h 4429294"/>
              <a:gd name="connsiteX81" fmla="*/ 1897844 w 4501379"/>
              <a:gd name="connsiteY81" fmla="*/ 95250 h 4429294"/>
              <a:gd name="connsiteX82" fmla="*/ 2012144 w 4501379"/>
              <a:gd name="connsiteY82" fmla="*/ 66675 h 4429294"/>
              <a:gd name="connsiteX83" fmla="*/ 2078819 w 4501379"/>
              <a:gd name="connsiteY83" fmla="*/ 47625 h 4429294"/>
              <a:gd name="connsiteX84" fmla="*/ 2145494 w 4501379"/>
              <a:gd name="connsiteY84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307544 w 4501379"/>
              <a:gd name="connsiteY6" fmla="*/ 266700 h 4429294"/>
              <a:gd name="connsiteX7" fmla="*/ 3336119 w 4501379"/>
              <a:gd name="connsiteY7" fmla="*/ 285750 h 4429294"/>
              <a:gd name="connsiteX8" fmla="*/ 3402794 w 4501379"/>
              <a:gd name="connsiteY8" fmla="*/ 323850 h 4429294"/>
              <a:gd name="connsiteX9" fmla="*/ 3450419 w 4501379"/>
              <a:gd name="connsiteY9" fmla="*/ 361950 h 4429294"/>
              <a:gd name="connsiteX10" fmla="*/ 3498044 w 4501379"/>
              <a:gd name="connsiteY10" fmla="*/ 390525 h 4429294"/>
              <a:gd name="connsiteX11" fmla="*/ 3612344 w 4501379"/>
              <a:gd name="connsiteY11" fmla="*/ 485775 h 4429294"/>
              <a:gd name="connsiteX12" fmla="*/ 3726644 w 4501379"/>
              <a:gd name="connsiteY12" fmla="*/ 542925 h 4429294"/>
              <a:gd name="connsiteX13" fmla="*/ 3793319 w 4501379"/>
              <a:gd name="connsiteY13" fmla="*/ 581025 h 4429294"/>
              <a:gd name="connsiteX14" fmla="*/ 4009219 w 4501379"/>
              <a:gd name="connsiteY14" fmla="*/ 819150 h 4429294"/>
              <a:gd name="connsiteX15" fmla="*/ 4145744 w 4501379"/>
              <a:gd name="connsiteY15" fmla="*/ 990600 h 4429294"/>
              <a:gd name="connsiteX16" fmla="*/ 4231469 w 4501379"/>
              <a:gd name="connsiteY16" fmla="*/ 1143000 h 4429294"/>
              <a:gd name="connsiteX17" fmla="*/ 4288619 w 4501379"/>
              <a:gd name="connsiteY17" fmla="*/ 1266825 h 4429294"/>
              <a:gd name="connsiteX18" fmla="*/ 4326719 w 4501379"/>
              <a:gd name="connsiteY18" fmla="*/ 1362075 h 4429294"/>
              <a:gd name="connsiteX19" fmla="*/ 4374344 w 4501379"/>
              <a:gd name="connsiteY19" fmla="*/ 1552575 h 4429294"/>
              <a:gd name="connsiteX20" fmla="*/ 4412444 w 4501379"/>
              <a:gd name="connsiteY20" fmla="*/ 1685925 h 4429294"/>
              <a:gd name="connsiteX21" fmla="*/ 4501344 w 4501379"/>
              <a:gd name="connsiteY21" fmla="*/ 2181225 h 4429294"/>
              <a:gd name="connsiteX22" fmla="*/ 4428319 w 4501379"/>
              <a:gd name="connsiteY22" fmla="*/ 2768600 h 4429294"/>
              <a:gd name="connsiteX23" fmla="*/ 4364819 w 4501379"/>
              <a:gd name="connsiteY23" fmla="*/ 2990850 h 4429294"/>
              <a:gd name="connsiteX24" fmla="*/ 4260044 w 4501379"/>
              <a:gd name="connsiteY24" fmla="*/ 3248025 h 4429294"/>
              <a:gd name="connsiteX25" fmla="*/ 4164794 w 4501379"/>
              <a:gd name="connsiteY25" fmla="*/ 3400425 h 4429294"/>
              <a:gd name="connsiteX26" fmla="*/ 4040969 w 4501379"/>
              <a:gd name="connsiteY26" fmla="*/ 3533775 h 4429294"/>
              <a:gd name="connsiteX27" fmla="*/ 3936194 w 4501379"/>
              <a:gd name="connsiteY27" fmla="*/ 3648075 h 4429294"/>
              <a:gd name="connsiteX28" fmla="*/ 3640919 w 4501379"/>
              <a:gd name="connsiteY28" fmla="*/ 3971925 h 4429294"/>
              <a:gd name="connsiteX29" fmla="*/ 3498044 w 4501379"/>
              <a:gd name="connsiteY29" fmla="*/ 4083050 h 4429294"/>
              <a:gd name="connsiteX30" fmla="*/ 3202769 w 4501379"/>
              <a:gd name="connsiteY30" fmla="*/ 4222750 h 4429294"/>
              <a:gd name="connsiteX31" fmla="*/ 3050369 w 4501379"/>
              <a:gd name="connsiteY31" fmla="*/ 4286250 h 4429294"/>
              <a:gd name="connsiteX32" fmla="*/ 2917019 w 4501379"/>
              <a:gd name="connsiteY32" fmla="*/ 4333875 h 4429294"/>
              <a:gd name="connsiteX33" fmla="*/ 2793194 w 4501379"/>
              <a:gd name="connsiteY33" fmla="*/ 4371975 h 4429294"/>
              <a:gd name="connsiteX34" fmla="*/ 2561419 w 4501379"/>
              <a:gd name="connsiteY34" fmla="*/ 4391025 h 4429294"/>
              <a:gd name="connsiteX35" fmla="*/ 2107394 w 4501379"/>
              <a:gd name="connsiteY35" fmla="*/ 4429125 h 4429294"/>
              <a:gd name="connsiteX36" fmla="*/ 1916894 w 4501379"/>
              <a:gd name="connsiteY36" fmla="*/ 4400550 h 4429294"/>
              <a:gd name="connsiteX37" fmla="*/ 1554944 w 4501379"/>
              <a:gd name="connsiteY37" fmla="*/ 4305300 h 4429294"/>
              <a:gd name="connsiteX38" fmla="*/ 1313644 w 4501379"/>
              <a:gd name="connsiteY38" fmla="*/ 4216400 h 4429294"/>
              <a:gd name="connsiteX39" fmla="*/ 1145369 w 4501379"/>
              <a:gd name="connsiteY39" fmla="*/ 4111625 h 4429294"/>
              <a:gd name="connsiteX40" fmla="*/ 926294 w 4501379"/>
              <a:gd name="connsiteY40" fmla="*/ 3968750 h 4429294"/>
              <a:gd name="connsiteX41" fmla="*/ 592919 w 4501379"/>
              <a:gd name="connsiteY41" fmla="*/ 3657600 h 4429294"/>
              <a:gd name="connsiteX42" fmla="*/ 446869 w 4501379"/>
              <a:gd name="connsiteY42" fmla="*/ 3470275 h 4429294"/>
              <a:gd name="connsiteX43" fmla="*/ 316694 w 4501379"/>
              <a:gd name="connsiteY43" fmla="*/ 3244850 h 4429294"/>
              <a:gd name="connsiteX44" fmla="*/ 164294 w 4501379"/>
              <a:gd name="connsiteY44" fmla="*/ 2892425 h 4429294"/>
              <a:gd name="connsiteX45" fmla="*/ 56344 w 4501379"/>
              <a:gd name="connsiteY45" fmla="*/ 2368550 h 4429294"/>
              <a:gd name="connsiteX46" fmla="*/ 2369 w 4501379"/>
              <a:gd name="connsiteY46" fmla="*/ 1905000 h 4429294"/>
              <a:gd name="connsiteX47" fmla="*/ 11894 w 4501379"/>
              <a:gd name="connsiteY47" fmla="*/ 1838325 h 4429294"/>
              <a:gd name="connsiteX48" fmla="*/ 30944 w 4501379"/>
              <a:gd name="connsiteY48" fmla="*/ 1781175 h 4429294"/>
              <a:gd name="connsiteX49" fmla="*/ 40469 w 4501379"/>
              <a:gd name="connsiteY49" fmla="*/ 1743075 h 4429294"/>
              <a:gd name="connsiteX50" fmla="*/ 59519 w 4501379"/>
              <a:gd name="connsiteY50" fmla="*/ 1685925 h 4429294"/>
              <a:gd name="connsiteX51" fmla="*/ 69044 w 4501379"/>
              <a:gd name="connsiteY51" fmla="*/ 1638300 h 4429294"/>
              <a:gd name="connsiteX52" fmla="*/ 88094 w 4501379"/>
              <a:gd name="connsiteY52" fmla="*/ 1590675 h 4429294"/>
              <a:gd name="connsiteX53" fmla="*/ 116669 w 4501379"/>
              <a:gd name="connsiteY53" fmla="*/ 1504950 h 4429294"/>
              <a:gd name="connsiteX54" fmla="*/ 135719 w 4501379"/>
              <a:gd name="connsiteY54" fmla="*/ 1419225 h 4429294"/>
              <a:gd name="connsiteX55" fmla="*/ 211919 w 4501379"/>
              <a:gd name="connsiteY55" fmla="*/ 1276350 h 4429294"/>
              <a:gd name="connsiteX56" fmla="*/ 221444 w 4501379"/>
              <a:gd name="connsiteY56" fmla="*/ 1247775 h 4429294"/>
              <a:gd name="connsiteX57" fmla="*/ 250019 w 4501379"/>
              <a:gd name="connsiteY57" fmla="*/ 1200150 h 4429294"/>
              <a:gd name="connsiteX58" fmla="*/ 269069 w 4501379"/>
              <a:gd name="connsiteY58" fmla="*/ 1152525 h 4429294"/>
              <a:gd name="connsiteX59" fmla="*/ 297644 w 4501379"/>
              <a:gd name="connsiteY59" fmla="*/ 1114425 h 4429294"/>
              <a:gd name="connsiteX60" fmla="*/ 345269 w 4501379"/>
              <a:gd name="connsiteY60" fmla="*/ 1038225 h 4429294"/>
              <a:gd name="connsiteX61" fmla="*/ 364319 w 4501379"/>
              <a:gd name="connsiteY61" fmla="*/ 1009650 h 4429294"/>
              <a:gd name="connsiteX62" fmla="*/ 421469 w 4501379"/>
              <a:gd name="connsiteY62" fmla="*/ 904875 h 4429294"/>
              <a:gd name="connsiteX63" fmla="*/ 459569 w 4501379"/>
              <a:gd name="connsiteY63" fmla="*/ 857250 h 4429294"/>
              <a:gd name="connsiteX64" fmla="*/ 478619 w 4501379"/>
              <a:gd name="connsiteY64" fmla="*/ 828675 h 4429294"/>
              <a:gd name="connsiteX65" fmla="*/ 516719 w 4501379"/>
              <a:gd name="connsiteY65" fmla="*/ 800100 h 4429294"/>
              <a:gd name="connsiteX66" fmla="*/ 583394 w 4501379"/>
              <a:gd name="connsiteY66" fmla="*/ 733425 h 4429294"/>
              <a:gd name="connsiteX67" fmla="*/ 650069 w 4501379"/>
              <a:gd name="connsiteY67" fmla="*/ 676275 h 4429294"/>
              <a:gd name="connsiteX68" fmla="*/ 678644 w 4501379"/>
              <a:gd name="connsiteY68" fmla="*/ 657225 h 4429294"/>
              <a:gd name="connsiteX69" fmla="*/ 821519 w 4501379"/>
              <a:gd name="connsiteY69" fmla="*/ 533400 h 4429294"/>
              <a:gd name="connsiteX70" fmla="*/ 869144 w 4501379"/>
              <a:gd name="connsiteY70" fmla="*/ 504825 h 4429294"/>
              <a:gd name="connsiteX71" fmla="*/ 1148544 w 4501379"/>
              <a:gd name="connsiteY71" fmla="*/ 311150 h 4429294"/>
              <a:gd name="connsiteX72" fmla="*/ 1250144 w 4501379"/>
              <a:gd name="connsiteY72" fmla="*/ 285750 h 4429294"/>
              <a:gd name="connsiteX73" fmla="*/ 1393019 w 4501379"/>
              <a:gd name="connsiteY73" fmla="*/ 190500 h 4429294"/>
              <a:gd name="connsiteX74" fmla="*/ 1431119 w 4501379"/>
              <a:gd name="connsiteY74" fmla="*/ 161925 h 4429294"/>
              <a:gd name="connsiteX75" fmla="*/ 1507319 w 4501379"/>
              <a:gd name="connsiteY75" fmla="*/ 152400 h 4429294"/>
              <a:gd name="connsiteX76" fmla="*/ 1564469 w 4501379"/>
              <a:gd name="connsiteY76" fmla="*/ 142875 h 4429294"/>
              <a:gd name="connsiteX77" fmla="*/ 1697819 w 4501379"/>
              <a:gd name="connsiteY77" fmla="*/ 123825 h 4429294"/>
              <a:gd name="connsiteX78" fmla="*/ 1793069 w 4501379"/>
              <a:gd name="connsiteY78" fmla="*/ 114300 h 4429294"/>
              <a:gd name="connsiteX79" fmla="*/ 1840694 w 4501379"/>
              <a:gd name="connsiteY79" fmla="*/ 104775 h 4429294"/>
              <a:gd name="connsiteX80" fmla="*/ 1897844 w 4501379"/>
              <a:gd name="connsiteY80" fmla="*/ 95250 h 4429294"/>
              <a:gd name="connsiteX81" fmla="*/ 2012144 w 4501379"/>
              <a:gd name="connsiteY81" fmla="*/ 66675 h 4429294"/>
              <a:gd name="connsiteX82" fmla="*/ 2078819 w 4501379"/>
              <a:gd name="connsiteY82" fmla="*/ 47625 h 4429294"/>
              <a:gd name="connsiteX83" fmla="*/ 2145494 w 4501379"/>
              <a:gd name="connsiteY83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307544 w 4501379"/>
              <a:gd name="connsiteY6" fmla="*/ 266700 h 4429294"/>
              <a:gd name="connsiteX7" fmla="*/ 3402794 w 4501379"/>
              <a:gd name="connsiteY7" fmla="*/ 323850 h 4429294"/>
              <a:gd name="connsiteX8" fmla="*/ 3450419 w 4501379"/>
              <a:gd name="connsiteY8" fmla="*/ 361950 h 4429294"/>
              <a:gd name="connsiteX9" fmla="*/ 3498044 w 4501379"/>
              <a:gd name="connsiteY9" fmla="*/ 390525 h 4429294"/>
              <a:gd name="connsiteX10" fmla="*/ 3612344 w 4501379"/>
              <a:gd name="connsiteY10" fmla="*/ 485775 h 4429294"/>
              <a:gd name="connsiteX11" fmla="*/ 3726644 w 4501379"/>
              <a:gd name="connsiteY11" fmla="*/ 542925 h 4429294"/>
              <a:gd name="connsiteX12" fmla="*/ 3793319 w 4501379"/>
              <a:gd name="connsiteY12" fmla="*/ 581025 h 4429294"/>
              <a:gd name="connsiteX13" fmla="*/ 4009219 w 4501379"/>
              <a:gd name="connsiteY13" fmla="*/ 819150 h 4429294"/>
              <a:gd name="connsiteX14" fmla="*/ 4145744 w 4501379"/>
              <a:gd name="connsiteY14" fmla="*/ 990600 h 4429294"/>
              <a:gd name="connsiteX15" fmla="*/ 4231469 w 4501379"/>
              <a:gd name="connsiteY15" fmla="*/ 1143000 h 4429294"/>
              <a:gd name="connsiteX16" fmla="*/ 4288619 w 4501379"/>
              <a:gd name="connsiteY16" fmla="*/ 1266825 h 4429294"/>
              <a:gd name="connsiteX17" fmla="*/ 4326719 w 4501379"/>
              <a:gd name="connsiteY17" fmla="*/ 1362075 h 4429294"/>
              <a:gd name="connsiteX18" fmla="*/ 4374344 w 4501379"/>
              <a:gd name="connsiteY18" fmla="*/ 1552575 h 4429294"/>
              <a:gd name="connsiteX19" fmla="*/ 4412444 w 4501379"/>
              <a:gd name="connsiteY19" fmla="*/ 1685925 h 4429294"/>
              <a:gd name="connsiteX20" fmla="*/ 4501344 w 4501379"/>
              <a:gd name="connsiteY20" fmla="*/ 2181225 h 4429294"/>
              <a:gd name="connsiteX21" fmla="*/ 4428319 w 4501379"/>
              <a:gd name="connsiteY21" fmla="*/ 2768600 h 4429294"/>
              <a:gd name="connsiteX22" fmla="*/ 4364819 w 4501379"/>
              <a:gd name="connsiteY22" fmla="*/ 2990850 h 4429294"/>
              <a:gd name="connsiteX23" fmla="*/ 4260044 w 4501379"/>
              <a:gd name="connsiteY23" fmla="*/ 3248025 h 4429294"/>
              <a:gd name="connsiteX24" fmla="*/ 4164794 w 4501379"/>
              <a:gd name="connsiteY24" fmla="*/ 3400425 h 4429294"/>
              <a:gd name="connsiteX25" fmla="*/ 4040969 w 4501379"/>
              <a:gd name="connsiteY25" fmla="*/ 3533775 h 4429294"/>
              <a:gd name="connsiteX26" fmla="*/ 3936194 w 4501379"/>
              <a:gd name="connsiteY26" fmla="*/ 3648075 h 4429294"/>
              <a:gd name="connsiteX27" fmla="*/ 3640919 w 4501379"/>
              <a:gd name="connsiteY27" fmla="*/ 3971925 h 4429294"/>
              <a:gd name="connsiteX28" fmla="*/ 3498044 w 4501379"/>
              <a:gd name="connsiteY28" fmla="*/ 4083050 h 4429294"/>
              <a:gd name="connsiteX29" fmla="*/ 3202769 w 4501379"/>
              <a:gd name="connsiteY29" fmla="*/ 4222750 h 4429294"/>
              <a:gd name="connsiteX30" fmla="*/ 3050369 w 4501379"/>
              <a:gd name="connsiteY30" fmla="*/ 4286250 h 4429294"/>
              <a:gd name="connsiteX31" fmla="*/ 2917019 w 4501379"/>
              <a:gd name="connsiteY31" fmla="*/ 4333875 h 4429294"/>
              <a:gd name="connsiteX32" fmla="*/ 2793194 w 4501379"/>
              <a:gd name="connsiteY32" fmla="*/ 4371975 h 4429294"/>
              <a:gd name="connsiteX33" fmla="*/ 2561419 w 4501379"/>
              <a:gd name="connsiteY33" fmla="*/ 4391025 h 4429294"/>
              <a:gd name="connsiteX34" fmla="*/ 2107394 w 4501379"/>
              <a:gd name="connsiteY34" fmla="*/ 4429125 h 4429294"/>
              <a:gd name="connsiteX35" fmla="*/ 1916894 w 4501379"/>
              <a:gd name="connsiteY35" fmla="*/ 4400550 h 4429294"/>
              <a:gd name="connsiteX36" fmla="*/ 1554944 w 4501379"/>
              <a:gd name="connsiteY36" fmla="*/ 4305300 h 4429294"/>
              <a:gd name="connsiteX37" fmla="*/ 1313644 w 4501379"/>
              <a:gd name="connsiteY37" fmla="*/ 4216400 h 4429294"/>
              <a:gd name="connsiteX38" fmla="*/ 1145369 w 4501379"/>
              <a:gd name="connsiteY38" fmla="*/ 4111625 h 4429294"/>
              <a:gd name="connsiteX39" fmla="*/ 926294 w 4501379"/>
              <a:gd name="connsiteY39" fmla="*/ 3968750 h 4429294"/>
              <a:gd name="connsiteX40" fmla="*/ 592919 w 4501379"/>
              <a:gd name="connsiteY40" fmla="*/ 3657600 h 4429294"/>
              <a:gd name="connsiteX41" fmla="*/ 446869 w 4501379"/>
              <a:gd name="connsiteY41" fmla="*/ 3470275 h 4429294"/>
              <a:gd name="connsiteX42" fmla="*/ 316694 w 4501379"/>
              <a:gd name="connsiteY42" fmla="*/ 3244850 h 4429294"/>
              <a:gd name="connsiteX43" fmla="*/ 164294 w 4501379"/>
              <a:gd name="connsiteY43" fmla="*/ 2892425 h 4429294"/>
              <a:gd name="connsiteX44" fmla="*/ 56344 w 4501379"/>
              <a:gd name="connsiteY44" fmla="*/ 2368550 h 4429294"/>
              <a:gd name="connsiteX45" fmla="*/ 2369 w 4501379"/>
              <a:gd name="connsiteY45" fmla="*/ 1905000 h 4429294"/>
              <a:gd name="connsiteX46" fmla="*/ 11894 w 4501379"/>
              <a:gd name="connsiteY46" fmla="*/ 1838325 h 4429294"/>
              <a:gd name="connsiteX47" fmla="*/ 30944 w 4501379"/>
              <a:gd name="connsiteY47" fmla="*/ 1781175 h 4429294"/>
              <a:gd name="connsiteX48" fmla="*/ 40469 w 4501379"/>
              <a:gd name="connsiteY48" fmla="*/ 1743075 h 4429294"/>
              <a:gd name="connsiteX49" fmla="*/ 59519 w 4501379"/>
              <a:gd name="connsiteY49" fmla="*/ 1685925 h 4429294"/>
              <a:gd name="connsiteX50" fmla="*/ 69044 w 4501379"/>
              <a:gd name="connsiteY50" fmla="*/ 1638300 h 4429294"/>
              <a:gd name="connsiteX51" fmla="*/ 88094 w 4501379"/>
              <a:gd name="connsiteY51" fmla="*/ 1590675 h 4429294"/>
              <a:gd name="connsiteX52" fmla="*/ 116669 w 4501379"/>
              <a:gd name="connsiteY52" fmla="*/ 1504950 h 4429294"/>
              <a:gd name="connsiteX53" fmla="*/ 135719 w 4501379"/>
              <a:gd name="connsiteY53" fmla="*/ 1419225 h 4429294"/>
              <a:gd name="connsiteX54" fmla="*/ 211919 w 4501379"/>
              <a:gd name="connsiteY54" fmla="*/ 1276350 h 4429294"/>
              <a:gd name="connsiteX55" fmla="*/ 221444 w 4501379"/>
              <a:gd name="connsiteY55" fmla="*/ 1247775 h 4429294"/>
              <a:gd name="connsiteX56" fmla="*/ 250019 w 4501379"/>
              <a:gd name="connsiteY56" fmla="*/ 1200150 h 4429294"/>
              <a:gd name="connsiteX57" fmla="*/ 269069 w 4501379"/>
              <a:gd name="connsiteY57" fmla="*/ 1152525 h 4429294"/>
              <a:gd name="connsiteX58" fmla="*/ 297644 w 4501379"/>
              <a:gd name="connsiteY58" fmla="*/ 1114425 h 4429294"/>
              <a:gd name="connsiteX59" fmla="*/ 345269 w 4501379"/>
              <a:gd name="connsiteY59" fmla="*/ 1038225 h 4429294"/>
              <a:gd name="connsiteX60" fmla="*/ 364319 w 4501379"/>
              <a:gd name="connsiteY60" fmla="*/ 1009650 h 4429294"/>
              <a:gd name="connsiteX61" fmla="*/ 421469 w 4501379"/>
              <a:gd name="connsiteY61" fmla="*/ 904875 h 4429294"/>
              <a:gd name="connsiteX62" fmla="*/ 459569 w 4501379"/>
              <a:gd name="connsiteY62" fmla="*/ 857250 h 4429294"/>
              <a:gd name="connsiteX63" fmla="*/ 478619 w 4501379"/>
              <a:gd name="connsiteY63" fmla="*/ 828675 h 4429294"/>
              <a:gd name="connsiteX64" fmla="*/ 516719 w 4501379"/>
              <a:gd name="connsiteY64" fmla="*/ 800100 h 4429294"/>
              <a:gd name="connsiteX65" fmla="*/ 583394 w 4501379"/>
              <a:gd name="connsiteY65" fmla="*/ 733425 h 4429294"/>
              <a:gd name="connsiteX66" fmla="*/ 650069 w 4501379"/>
              <a:gd name="connsiteY66" fmla="*/ 676275 h 4429294"/>
              <a:gd name="connsiteX67" fmla="*/ 678644 w 4501379"/>
              <a:gd name="connsiteY67" fmla="*/ 657225 h 4429294"/>
              <a:gd name="connsiteX68" fmla="*/ 821519 w 4501379"/>
              <a:gd name="connsiteY68" fmla="*/ 533400 h 4429294"/>
              <a:gd name="connsiteX69" fmla="*/ 869144 w 4501379"/>
              <a:gd name="connsiteY69" fmla="*/ 504825 h 4429294"/>
              <a:gd name="connsiteX70" fmla="*/ 1148544 w 4501379"/>
              <a:gd name="connsiteY70" fmla="*/ 311150 h 4429294"/>
              <a:gd name="connsiteX71" fmla="*/ 1250144 w 4501379"/>
              <a:gd name="connsiteY71" fmla="*/ 285750 h 4429294"/>
              <a:gd name="connsiteX72" fmla="*/ 1393019 w 4501379"/>
              <a:gd name="connsiteY72" fmla="*/ 190500 h 4429294"/>
              <a:gd name="connsiteX73" fmla="*/ 1431119 w 4501379"/>
              <a:gd name="connsiteY73" fmla="*/ 161925 h 4429294"/>
              <a:gd name="connsiteX74" fmla="*/ 1507319 w 4501379"/>
              <a:gd name="connsiteY74" fmla="*/ 152400 h 4429294"/>
              <a:gd name="connsiteX75" fmla="*/ 1564469 w 4501379"/>
              <a:gd name="connsiteY75" fmla="*/ 142875 h 4429294"/>
              <a:gd name="connsiteX76" fmla="*/ 1697819 w 4501379"/>
              <a:gd name="connsiteY76" fmla="*/ 123825 h 4429294"/>
              <a:gd name="connsiteX77" fmla="*/ 1793069 w 4501379"/>
              <a:gd name="connsiteY77" fmla="*/ 114300 h 4429294"/>
              <a:gd name="connsiteX78" fmla="*/ 1840694 w 4501379"/>
              <a:gd name="connsiteY78" fmla="*/ 104775 h 4429294"/>
              <a:gd name="connsiteX79" fmla="*/ 1897844 w 4501379"/>
              <a:gd name="connsiteY79" fmla="*/ 95250 h 4429294"/>
              <a:gd name="connsiteX80" fmla="*/ 2012144 w 4501379"/>
              <a:gd name="connsiteY80" fmla="*/ 66675 h 4429294"/>
              <a:gd name="connsiteX81" fmla="*/ 2078819 w 4501379"/>
              <a:gd name="connsiteY81" fmla="*/ 47625 h 4429294"/>
              <a:gd name="connsiteX82" fmla="*/ 2145494 w 4501379"/>
              <a:gd name="connsiteY82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307544 w 4501379"/>
              <a:gd name="connsiteY5" fmla="*/ 266700 h 4429294"/>
              <a:gd name="connsiteX6" fmla="*/ 3402794 w 4501379"/>
              <a:gd name="connsiteY6" fmla="*/ 323850 h 4429294"/>
              <a:gd name="connsiteX7" fmla="*/ 3450419 w 4501379"/>
              <a:gd name="connsiteY7" fmla="*/ 361950 h 4429294"/>
              <a:gd name="connsiteX8" fmla="*/ 3498044 w 4501379"/>
              <a:gd name="connsiteY8" fmla="*/ 390525 h 4429294"/>
              <a:gd name="connsiteX9" fmla="*/ 3612344 w 4501379"/>
              <a:gd name="connsiteY9" fmla="*/ 485775 h 4429294"/>
              <a:gd name="connsiteX10" fmla="*/ 3726644 w 4501379"/>
              <a:gd name="connsiteY10" fmla="*/ 542925 h 4429294"/>
              <a:gd name="connsiteX11" fmla="*/ 3793319 w 4501379"/>
              <a:gd name="connsiteY11" fmla="*/ 581025 h 4429294"/>
              <a:gd name="connsiteX12" fmla="*/ 4009219 w 4501379"/>
              <a:gd name="connsiteY12" fmla="*/ 819150 h 4429294"/>
              <a:gd name="connsiteX13" fmla="*/ 4145744 w 4501379"/>
              <a:gd name="connsiteY13" fmla="*/ 990600 h 4429294"/>
              <a:gd name="connsiteX14" fmla="*/ 4231469 w 4501379"/>
              <a:gd name="connsiteY14" fmla="*/ 1143000 h 4429294"/>
              <a:gd name="connsiteX15" fmla="*/ 4288619 w 4501379"/>
              <a:gd name="connsiteY15" fmla="*/ 1266825 h 4429294"/>
              <a:gd name="connsiteX16" fmla="*/ 4326719 w 4501379"/>
              <a:gd name="connsiteY16" fmla="*/ 1362075 h 4429294"/>
              <a:gd name="connsiteX17" fmla="*/ 4374344 w 4501379"/>
              <a:gd name="connsiteY17" fmla="*/ 1552575 h 4429294"/>
              <a:gd name="connsiteX18" fmla="*/ 4412444 w 4501379"/>
              <a:gd name="connsiteY18" fmla="*/ 1685925 h 4429294"/>
              <a:gd name="connsiteX19" fmla="*/ 4501344 w 4501379"/>
              <a:gd name="connsiteY19" fmla="*/ 2181225 h 4429294"/>
              <a:gd name="connsiteX20" fmla="*/ 4428319 w 4501379"/>
              <a:gd name="connsiteY20" fmla="*/ 2768600 h 4429294"/>
              <a:gd name="connsiteX21" fmla="*/ 4364819 w 4501379"/>
              <a:gd name="connsiteY21" fmla="*/ 2990850 h 4429294"/>
              <a:gd name="connsiteX22" fmla="*/ 4260044 w 4501379"/>
              <a:gd name="connsiteY22" fmla="*/ 3248025 h 4429294"/>
              <a:gd name="connsiteX23" fmla="*/ 4164794 w 4501379"/>
              <a:gd name="connsiteY23" fmla="*/ 3400425 h 4429294"/>
              <a:gd name="connsiteX24" fmla="*/ 4040969 w 4501379"/>
              <a:gd name="connsiteY24" fmla="*/ 3533775 h 4429294"/>
              <a:gd name="connsiteX25" fmla="*/ 3936194 w 4501379"/>
              <a:gd name="connsiteY25" fmla="*/ 3648075 h 4429294"/>
              <a:gd name="connsiteX26" fmla="*/ 3640919 w 4501379"/>
              <a:gd name="connsiteY26" fmla="*/ 3971925 h 4429294"/>
              <a:gd name="connsiteX27" fmla="*/ 3498044 w 4501379"/>
              <a:gd name="connsiteY27" fmla="*/ 4083050 h 4429294"/>
              <a:gd name="connsiteX28" fmla="*/ 3202769 w 4501379"/>
              <a:gd name="connsiteY28" fmla="*/ 4222750 h 4429294"/>
              <a:gd name="connsiteX29" fmla="*/ 3050369 w 4501379"/>
              <a:gd name="connsiteY29" fmla="*/ 4286250 h 4429294"/>
              <a:gd name="connsiteX30" fmla="*/ 2917019 w 4501379"/>
              <a:gd name="connsiteY30" fmla="*/ 4333875 h 4429294"/>
              <a:gd name="connsiteX31" fmla="*/ 2793194 w 4501379"/>
              <a:gd name="connsiteY31" fmla="*/ 4371975 h 4429294"/>
              <a:gd name="connsiteX32" fmla="*/ 2561419 w 4501379"/>
              <a:gd name="connsiteY32" fmla="*/ 4391025 h 4429294"/>
              <a:gd name="connsiteX33" fmla="*/ 2107394 w 4501379"/>
              <a:gd name="connsiteY33" fmla="*/ 4429125 h 4429294"/>
              <a:gd name="connsiteX34" fmla="*/ 1916894 w 4501379"/>
              <a:gd name="connsiteY34" fmla="*/ 4400550 h 4429294"/>
              <a:gd name="connsiteX35" fmla="*/ 1554944 w 4501379"/>
              <a:gd name="connsiteY35" fmla="*/ 4305300 h 4429294"/>
              <a:gd name="connsiteX36" fmla="*/ 1313644 w 4501379"/>
              <a:gd name="connsiteY36" fmla="*/ 4216400 h 4429294"/>
              <a:gd name="connsiteX37" fmla="*/ 1145369 w 4501379"/>
              <a:gd name="connsiteY37" fmla="*/ 4111625 h 4429294"/>
              <a:gd name="connsiteX38" fmla="*/ 926294 w 4501379"/>
              <a:gd name="connsiteY38" fmla="*/ 3968750 h 4429294"/>
              <a:gd name="connsiteX39" fmla="*/ 592919 w 4501379"/>
              <a:gd name="connsiteY39" fmla="*/ 3657600 h 4429294"/>
              <a:gd name="connsiteX40" fmla="*/ 446869 w 4501379"/>
              <a:gd name="connsiteY40" fmla="*/ 3470275 h 4429294"/>
              <a:gd name="connsiteX41" fmla="*/ 316694 w 4501379"/>
              <a:gd name="connsiteY41" fmla="*/ 3244850 h 4429294"/>
              <a:gd name="connsiteX42" fmla="*/ 164294 w 4501379"/>
              <a:gd name="connsiteY42" fmla="*/ 2892425 h 4429294"/>
              <a:gd name="connsiteX43" fmla="*/ 56344 w 4501379"/>
              <a:gd name="connsiteY43" fmla="*/ 2368550 h 4429294"/>
              <a:gd name="connsiteX44" fmla="*/ 2369 w 4501379"/>
              <a:gd name="connsiteY44" fmla="*/ 1905000 h 4429294"/>
              <a:gd name="connsiteX45" fmla="*/ 11894 w 4501379"/>
              <a:gd name="connsiteY45" fmla="*/ 1838325 h 4429294"/>
              <a:gd name="connsiteX46" fmla="*/ 30944 w 4501379"/>
              <a:gd name="connsiteY46" fmla="*/ 1781175 h 4429294"/>
              <a:gd name="connsiteX47" fmla="*/ 40469 w 4501379"/>
              <a:gd name="connsiteY47" fmla="*/ 1743075 h 4429294"/>
              <a:gd name="connsiteX48" fmla="*/ 59519 w 4501379"/>
              <a:gd name="connsiteY48" fmla="*/ 1685925 h 4429294"/>
              <a:gd name="connsiteX49" fmla="*/ 69044 w 4501379"/>
              <a:gd name="connsiteY49" fmla="*/ 1638300 h 4429294"/>
              <a:gd name="connsiteX50" fmla="*/ 88094 w 4501379"/>
              <a:gd name="connsiteY50" fmla="*/ 1590675 h 4429294"/>
              <a:gd name="connsiteX51" fmla="*/ 116669 w 4501379"/>
              <a:gd name="connsiteY51" fmla="*/ 1504950 h 4429294"/>
              <a:gd name="connsiteX52" fmla="*/ 135719 w 4501379"/>
              <a:gd name="connsiteY52" fmla="*/ 1419225 h 4429294"/>
              <a:gd name="connsiteX53" fmla="*/ 211919 w 4501379"/>
              <a:gd name="connsiteY53" fmla="*/ 1276350 h 4429294"/>
              <a:gd name="connsiteX54" fmla="*/ 221444 w 4501379"/>
              <a:gd name="connsiteY54" fmla="*/ 1247775 h 4429294"/>
              <a:gd name="connsiteX55" fmla="*/ 250019 w 4501379"/>
              <a:gd name="connsiteY55" fmla="*/ 1200150 h 4429294"/>
              <a:gd name="connsiteX56" fmla="*/ 269069 w 4501379"/>
              <a:gd name="connsiteY56" fmla="*/ 1152525 h 4429294"/>
              <a:gd name="connsiteX57" fmla="*/ 297644 w 4501379"/>
              <a:gd name="connsiteY57" fmla="*/ 1114425 h 4429294"/>
              <a:gd name="connsiteX58" fmla="*/ 345269 w 4501379"/>
              <a:gd name="connsiteY58" fmla="*/ 1038225 h 4429294"/>
              <a:gd name="connsiteX59" fmla="*/ 364319 w 4501379"/>
              <a:gd name="connsiteY59" fmla="*/ 1009650 h 4429294"/>
              <a:gd name="connsiteX60" fmla="*/ 421469 w 4501379"/>
              <a:gd name="connsiteY60" fmla="*/ 904875 h 4429294"/>
              <a:gd name="connsiteX61" fmla="*/ 459569 w 4501379"/>
              <a:gd name="connsiteY61" fmla="*/ 857250 h 4429294"/>
              <a:gd name="connsiteX62" fmla="*/ 478619 w 4501379"/>
              <a:gd name="connsiteY62" fmla="*/ 828675 h 4429294"/>
              <a:gd name="connsiteX63" fmla="*/ 516719 w 4501379"/>
              <a:gd name="connsiteY63" fmla="*/ 800100 h 4429294"/>
              <a:gd name="connsiteX64" fmla="*/ 583394 w 4501379"/>
              <a:gd name="connsiteY64" fmla="*/ 733425 h 4429294"/>
              <a:gd name="connsiteX65" fmla="*/ 650069 w 4501379"/>
              <a:gd name="connsiteY65" fmla="*/ 676275 h 4429294"/>
              <a:gd name="connsiteX66" fmla="*/ 678644 w 4501379"/>
              <a:gd name="connsiteY66" fmla="*/ 657225 h 4429294"/>
              <a:gd name="connsiteX67" fmla="*/ 821519 w 4501379"/>
              <a:gd name="connsiteY67" fmla="*/ 533400 h 4429294"/>
              <a:gd name="connsiteX68" fmla="*/ 869144 w 4501379"/>
              <a:gd name="connsiteY68" fmla="*/ 504825 h 4429294"/>
              <a:gd name="connsiteX69" fmla="*/ 1148544 w 4501379"/>
              <a:gd name="connsiteY69" fmla="*/ 311150 h 4429294"/>
              <a:gd name="connsiteX70" fmla="*/ 1250144 w 4501379"/>
              <a:gd name="connsiteY70" fmla="*/ 285750 h 4429294"/>
              <a:gd name="connsiteX71" fmla="*/ 1393019 w 4501379"/>
              <a:gd name="connsiteY71" fmla="*/ 190500 h 4429294"/>
              <a:gd name="connsiteX72" fmla="*/ 1431119 w 4501379"/>
              <a:gd name="connsiteY72" fmla="*/ 161925 h 4429294"/>
              <a:gd name="connsiteX73" fmla="*/ 1507319 w 4501379"/>
              <a:gd name="connsiteY73" fmla="*/ 152400 h 4429294"/>
              <a:gd name="connsiteX74" fmla="*/ 1564469 w 4501379"/>
              <a:gd name="connsiteY74" fmla="*/ 142875 h 4429294"/>
              <a:gd name="connsiteX75" fmla="*/ 1697819 w 4501379"/>
              <a:gd name="connsiteY75" fmla="*/ 123825 h 4429294"/>
              <a:gd name="connsiteX76" fmla="*/ 1793069 w 4501379"/>
              <a:gd name="connsiteY76" fmla="*/ 114300 h 4429294"/>
              <a:gd name="connsiteX77" fmla="*/ 1840694 w 4501379"/>
              <a:gd name="connsiteY77" fmla="*/ 104775 h 4429294"/>
              <a:gd name="connsiteX78" fmla="*/ 1897844 w 4501379"/>
              <a:gd name="connsiteY78" fmla="*/ 95250 h 4429294"/>
              <a:gd name="connsiteX79" fmla="*/ 2012144 w 4501379"/>
              <a:gd name="connsiteY79" fmla="*/ 66675 h 4429294"/>
              <a:gd name="connsiteX80" fmla="*/ 2078819 w 4501379"/>
              <a:gd name="connsiteY80" fmla="*/ 47625 h 4429294"/>
              <a:gd name="connsiteX81" fmla="*/ 2145494 w 4501379"/>
              <a:gd name="connsiteY81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450419 w 4501379"/>
              <a:gd name="connsiteY6" fmla="*/ 361950 h 4429294"/>
              <a:gd name="connsiteX7" fmla="*/ 3498044 w 4501379"/>
              <a:gd name="connsiteY7" fmla="*/ 390525 h 4429294"/>
              <a:gd name="connsiteX8" fmla="*/ 3612344 w 4501379"/>
              <a:gd name="connsiteY8" fmla="*/ 485775 h 4429294"/>
              <a:gd name="connsiteX9" fmla="*/ 3726644 w 4501379"/>
              <a:gd name="connsiteY9" fmla="*/ 542925 h 4429294"/>
              <a:gd name="connsiteX10" fmla="*/ 3793319 w 4501379"/>
              <a:gd name="connsiteY10" fmla="*/ 581025 h 4429294"/>
              <a:gd name="connsiteX11" fmla="*/ 4009219 w 4501379"/>
              <a:gd name="connsiteY11" fmla="*/ 819150 h 4429294"/>
              <a:gd name="connsiteX12" fmla="*/ 4145744 w 4501379"/>
              <a:gd name="connsiteY12" fmla="*/ 990600 h 4429294"/>
              <a:gd name="connsiteX13" fmla="*/ 4231469 w 4501379"/>
              <a:gd name="connsiteY13" fmla="*/ 1143000 h 4429294"/>
              <a:gd name="connsiteX14" fmla="*/ 4288619 w 4501379"/>
              <a:gd name="connsiteY14" fmla="*/ 1266825 h 4429294"/>
              <a:gd name="connsiteX15" fmla="*/ 4326719 w 4501379"/>
              <a:gd name="connsiteY15" fmla="*/ 1362075 h 4429294"/>
              <a:gd name="connsiteX16" fmla="*/ 4374344 w 4501379"/>
              <a:gd name="connsiteY16" fmla="*/ 1552575 h 4429294"/>
              <a:gd name="connsiteX17" fmla="*/ 4412444 w 4501379"/>
              <a:gd name="connsiteY17" fmla="*/ 1685925 h 4429294"/>
              <a:gd name="connsiteX18" fmla="*/ 4501344 w 4501379"/>
              <a:gd name="connsiteY18" fmla="*/ 2181225 h 4429294"/>
              <a:gd name="connsiteX19" fmla="*/ 4428319 w 4501379"/>
              <a:gd name="connsiteY19" fmla="*/ 2768600 h 4429294"/>
              <a:gd name="connsiteX20" fmla="*/ 4364819 w 4501379"/>
              <a:gd name="connsiteY20" fmla="*/ 2990850 h 4429294"/>
              <a:gd name="connsiteX21" fmla="*/ 4260044 w 4501379"/>
              <a:gd name="connsiteY21" fmla="*/ 3248025 h 4429294"/>
              <a:gd name="connsiteX22" fmla="*/ 4164794 w 4501379"/>
              <a:gd name="connsiteY22" fmla="*/ 3400425 h 4429294"/>
              <a:gd name="connsiteX23" fmla="*/ 4040969 w 4501379"/>
              <a:gd name="connsiteY23" fmla="*/ 3533775 h 4429294"/>
              <a:gd name="connsiteX24" fmla="*/ 3936194 w 4501379"/>
              <a:gd name="connsiteY24" fmla="*/ 3648075 h 4429294"/>
              <a:gd name="connsiteX25" fmla="*/ 3640919 w 4501379"/>
              <a:gd name="connsiteY25" fmla="*/ 3971925 h 4429294"/>
              <a:gd name="connsiteX26" fmla="*/ 3498044 w 4501379"/>
              <a:gd name="connsiteY26" fmla="*/ 4083050 h 4429294"/>
              <a:gd name="connsiteX27" fmla="*/ 3202769 w 4501379"/>
              <a:gd name="connsiteY27" fmla="*/ 4222750 h 4429294"/>
              <a:gd name="connsiteX28" fmla="*/ 3050369 w 4501379"/>
              <a:gd name="connsiteY28" fmla="*/ 4286250 h 4429294"/>
              <a:gd name="connsiteX29" fmla="*/ 2917019 w 4501379"/>
              <a:gd name="connsiteY29" fmla="*/ 4333875 h 4429294"/>
              <a:gd name="connsiteX30" fmla="*/ 2793194 w 4501379"/>
              <a:gd name="connsiteY30" fmla="*/ 4371975 h 4429294"/>
              <a:gd name="connsiteX31" fmla="*/ 2561419 w 4501379"/>
              <a:gd name="connsiteY31" fmla="*/ 4391025 h 4429294"/>
              <a:gd name="connsiteX32" fmla="*/ 2107394 w 4501379"/>
              <a:gd name="connsiteY32" fmla="*/ 4429125 h 4429294"/>
              <a:gd name="connsiteX33" fmla="*/ 1916894 w 4501379"/>
              <a:gd name="connsiteY33" fmla="*/ 4400550 h 4429294"/>
              <a:gd name="connsiteX34" fmla="*/ 1554944 w 4501379"/>
              <a:gd name="connsiteY34" fmla="*/ 4305300 h 4429294"/>
              <a:gd name="connsiteX35" fmla="*/ 1313644 w 4501379"/>
              <a:gd name="connsiteY35" fmla="*/ 4216400 h 4429294"/>
              <a:gd name="connsiteX36" fmla="*/ 1145369 w 4501379"/>
              <a:gd name="connsiteY36" fmla="*/ 4111625 h 4429294"/>
              <a:gd name="connsiteX37" fmla="*/ 926294 w 4501379"/>
              <a:gd name="connsiteY37" fmla="*/ 3968750 h 4429294"/>
              <a:gd name="connsiteX38" fmla="*/ 592919 w 4501379"/>
              <a:gd name="connsiteY38" fmla="*/ 3657600 h 4429294"/>
              <a:gd name="connsiteX39" fmla="*/ 446869 w 4501379"/>
              <a:gd name="connsiteY39" fmla="*/ 3470275 h 4429294"/>
              <a:gd name="connsiteX40" fmla="*/ 316694 w 4501379"/>
              <a:gd name="connsiteY40" fmla="*/ 3244850 h 4429294"/>
              <a:gd name="connsiteX41" fmla="*/ 164294 w 4501379"/>
              <a:gd name="connsiteY41" fmla="*/ 2892425 h 4429294"/>
              <a:gd name="connsiteX42" fmla="*/ 56344 w 4501379"/>
              <a:gd name="connsiteY42" fmla="*/ 2368550 h 4429294"/>
              <a:gd name="connsiteX43" fmla="*/ 2369 w 4501379"/>
              <a:gd name="connsiteY43" fmla="*/ 1905000 h 4429294"/>
              <a:gd name="connsiteX44" fmla="*/ 11894 w 4501379"/>
              <a:gd name="connsiteY44" fmla="*/ 1838325 h 4429294"/>
              <a:gd name="connsiteX45" fmla="*/ 30944 w 4501379"/>
              <a:gd name="connsiteY45" fmla="*/ 1781175 h 4429294"/>
              <a:gd name="connsiteX46" fmla="*/ 40469 w 4501379"/>
              <a:gd name="connsiteY46" fmla="*/ 1743075 h 4429294"/>
              <a:gd name="connsiteX47" fmla="*/ 59519 w 4501379"/>
              <a:gd name="connsiteY47" fmla="*/ 1685925 h 4429294"/>
              <a:gd name="connsiteX48" fmla="*/ 69044 w 4501379"/>
              <a:gd name="connsiteY48" fmla="*/ 1638300 h 4429294"/>
              <a:gd name="connsiteX49" fmla="*/ 88094 w 4501379"/>
              <a:gd name="connsiteY49" fmla="*/ 1590675 h 4429294"/>
              <a:gd name="connsiteX50" fmla="*/ 116669 w 4501379"/>
              <a:gd name="connsiteY50" fmla="*/ 1504950 h 4429294"/>
              <a:gd name="connsiteX51" fmla="*/ 135719 w 4501379"/>
              <a:gd name="connsiteY51" fmla="*/ 1419225 h 4429294"/>
              <a:gd name="connsiteX52" fmla="*/ 211919 w 4501379"/>
              <a:gd name="connsiteY52" fmla="*/ 1276350 h 4429294"/>
              <a:gd name="connsiteX53" fmla="*/ 221444 w 4501379"/>
              <a:gd name="connsiteY53" fmla="*/ 1247775 h 4429294"/>
              <a:gd name="connsiteX54" fmla="*/ 250019 w 4501379"/>
              <a:gd name="connsiteY54" fmla="*/ 1200150 h 4429294"/>
              <a:gd name="connsiteX55" fmla="*/ 269069 w 4501379"/>
              <a:gd name="connsiteY55" fmla="*/ 1152525 h 4429294"/>
              <a:gd name="connsiteX56" fmla="*/ 297644 w 4501379"/>
              <a:gd name="connsiteY56" fmla="*/ 1114425 h 4429294"/>
              <a:gd name="connsiteX57" fmla="*/ 345269 w 4501379"/>
              <a:gd name="connsiteY57" fmla="*/ 1038225 h 4429294"/>
              <a:gd name="connsiteX58" fmla="*/ 364319 w 4501379"/>
              <a:gd name="connsiteY58" fmla="*/ 1009650 h 4429294"/>
              <a:gd name="connsiteX59" fmla="*/ 421469 w 4501379"/>
              <a:gd name="connsiteY59" fmla="*/ 904875 h 4429294"/>
              <a:gd name="connsiteX60" fmla="*/ 459569 w 4501379"/>
              <a:gd name="connsiteY60" fmla="*/ 857250 h 4429294"/>
              <a:gd name="connsiteX61" fmla="*/ 478619 w 4501379"/>
              <a:gd name="connsiteY61" fmla="*/ 828675 h 4429294"/>
              <a:gd name="connsiteX62" fmla="*/ 516719 w 4501379"/>
              <a:gd name="connsiteY62" fmla="*/ 800100 h 4429294"/>
              <a:gd name="connsiteX63" fmla="*/ 583394 w 4501379"/>
              <a:gd name="connsiteY63" fmla="*/ 733425 h 4429294"/>
              <a:gd name="connsiteX64" fmla="*/ 650069 w 4501379"/>
              <a:gd name="connsiteY64" fmla="*/ 676275 h 4429294"/>
              <a:gd name="connsiteX65" fmla="*/ 678644 w 4501379"/>
              <a:gd name="connsiteY65" fmla="*/ 657225 h 4429294"/>
              <a:gd name="connsiteX66" fmla="*/ 821519 w 4501379"/>
              <a:gd name="connsiteY66" fmla="*/ 533400 h 4429294"/>
              <a:gd name="connsiteX67" fmla="*/ 869144 w 4501379"/>
              <a:gd name="connsiteY67" fmla="*/ 504825 h 4429294"/>
              <a:gd name="connsiteX68" fmla="*/ 1148544 w 4501379"/>
              <a:gd name="connsiteY68" fmla="*/ 311150 h 4429294"/>
              <a:gd name="connsiteX69" fmla="*/ 1250144 w 4501379"/>
              <a:gd name="connsiteY69" fmla="*/ 285750 h 4429294"/>
              <a:gd name="connsiteX70" fmla="*/ 1393019 w 4501379"/>
              <a:gd name="connsiteY70" fmla="*/ 190500 h 4429294"/>
              <a:gd name="connsiteX71" fmla="*/ 1431119 w 4501379"/>
              <a:gd name="connsiteY71" fmla="*/ 161925 h 4429294"/>
              <a:gd name="connsiteX72" fmla="*/ 1507319 w 4501379"/>
              <a:gd name="connsiteY72" fmla="*/ 152400 h 4429294"/>
              <a:gd name="connsiteX73" fmla="*/ 1564469 w 4501379"/>
              <a:gd name="connsiteY73" fmla="*/ 142875 h 4429294"/>
              <a:gd name="connsiteX74" fmla="*/ 1697819 w 4501379"/>
              <a:gd name="connsiteY74" fmla="*/ 123825 h 4429294"/>
              <a:gd name="connsiteX75" fmla="*/ 1793069 w 4501379"/>
              <a:gd name="connsiteY75" fmla="*/ 114300 h 4429294"/>
              <a:gd name="connsiteX76" fmla="*/ 1840694 w 4501379"/>
              <a:gd name="connsiteY76" fmla="*/ 104775 h 4429294"/>
              <a:gd name="connsiteX77" fmla="*/ 1897844 w 4501379"/>
              <a:gd name="connsiteY77" fmla="*/ 95250 h 4429294"/>
              <a:gd name="connsiteX78" fmla="*/ 2012144 w 4501379"/>
              <a:gd name="connsiteY78" fmla="*/ 66675 h 4429294"/>
              <a:gd name="connsiteX79" fmla="*/ 2078819 w 4501379"/>
              <a:gd name="connsiteY79" fmla="*/ 47625 h 4429294"/>
              <a:gd name="connsiteX80" fmla="*/ 2145494 w 4501379"/>
              <a:gd name="connsiteY80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450419 w 4501379"/>
              <a:gd name="connsiteY6" fmla="*/ 361950 h 4429294"/>
              <a:gd name="connsiteX7" fmla="*/ 3612344 w 4501379"/>
              <a:gd name="connsiteY7" fmla="*/ 485775 h 4429294"/>
              <a:gd name="connsiteX8" fmla="*/ 3726644 w 4501379"/>
              <a:gd name="connsiteY8" fmla="*/ 542925 h 4429294"/>
              <a:gd name="connsiteX9" fmla="*/ 3793319 w 4501379"/>
              <a:gd name="connsiteY9" fmla="*/ 581025 h 4429294"/>
              <a:gd name="connsiteX10" fmla="*/ 4009219 w 4501379"/>
              <a:gd name="connsiteY10" fmla="*/ 819150 h 4429294"/>
              <a:gd name="connsiteX11" fmla="*/ 4145744 w 4501379"/>
              <a:gd name="connsiteY11" fmla="*/ 990600 h 4429294"/>
              <a:gd name="connsiteX12" fmla="*/ 4231469 w 4501379"/>
              <a:gd name="connsiteY12" fmla="*/ 1143000 h 4429294"/>
              <a:gd name="connsiteX13" fmla="*/ 4288619 w 4501379"/>
              <a:gd name="connsiteY13" fmla="*/ 1266825 h 4429294"/>
              <a:gd name="connsiteX14" fmla="*/ 4326719 w 4501379"/>
              <a:gd name="connsiteY14" fmla="*/ 1362075 h 4429294"/>
              <a:gd name="connsiteX15" fmla="*/ 4374344 w 4501379"/>
              <a:gd name="connsiteY15" fmla="*/ 1552575 h 4429294"/>
              <a:gd name="connsiteX16" fmla="*/ 4412444 w 4501379"/>
              <a:gd name="connsiteY16" fmla="*/ 1685925 h 4429294"/>
              <a:gd name="connsiteX17" fmla="*/ 4501344 w 4501379"/>
              <a:gd name="connsiteY17" fmla="*/ 2181225 h 4429294"/>
              <a:gd name="connsiteX18" fmla="*/ 4428319 w 4501379"/>
              <a:gd name="connsiteY18" fmla="*/ 2768600 h 4429294"/>
              <a:gd name="connsiteX19" fmla="*/ 4364819 w 4501379"/>
              <a:gd name="connsiteY19" fmla="*/ 2990850 h 4429294"/>
              <a:gd name="connsiteX20" fmla="*/ 4260044 w 4501379"/>
              <a:gd name="connsiteY20" fmla="*/ 3248025 h 4429294"/>
              <a:gd name="connsiteX21" fmla="*/ 4164794 w 4501379"/>
              <a:gd name="connsiteY21" fmla="*/ 3400425 h 4429294"/>
              <a:gd name="connsiteX22" fmla="*/ 4040969 w 4501379"/>
              <a:gd name="connsiteY22" fmla="*/ 3533775 h 4429294"/>
              <a:gd name="connsiteX23" fmla="*/ 3936194 w 4501379"/>
              <a:gd name="connsiteY23" fmla="*/ 3648075 h 4429294"/>
              <a:gd name="connsiteX24" fmla="*/ 3640919 w 4501379"/>
              <a:gd name="connsiteY24" fmla="*/ 3971925 h 4429294"/>
              <a:gd name="connsiteX25" fmla="*/ 3498044 w 4501379"/>
              <a:gd name="connsiteY25" fmla="*/ 4083050 h 4429294"/>
              <a:gd name="connsiteX26" fmla="*/ 3202769 w 4501379"/>
              <a:gd name="connsiteY26" fmla="*/ 4222750 h 4429294"/>
              <a:gd name="connsiteX27" fmla="*/ 3050369 w 4501379"/>
              <a:gd name="connsiteY27" fmla="*/ 4286250 h 4429294"/>
              <a:gd name="connsiteX28" fmla="*/ 2917019 w 4501379"/>
              <a:gd name="connsiteY28" fmla="*/ 4333875 h 4429294"/>
              <a:gd name="connsiteX29" fmla="*/ 2793194 w 4501379"/>
              <a:gd name="connsiteY29" fmla="*/ 4371975 h 4429294"/>
              <a:gd name="connsiteX30" fmla="*/ 2561419 w 4501379"/>
              <a:gd name="connsiteY30" fmla="*/ 4391025 h 4429294"/>
              <a:gd name="connsiteX31" fmla="*/ 2107394 w 4501379"/>
              <a:gd name="connsiteY31" fmla="*/ 4429125 h 4429294"/>
              <a:gd name="connsiteX32" fmla="*/ 1916894 w 4501379"/>
              <a:gd name="connsiteY32" fmla="*/ 4400550 h 4429294"/>
              <a:gd name="connsiteX33" fmla="*/ 1554944 w 4501379"/>
              <a:gd name="connsiteY33" fmla="*/ 4305300 h 4429294"/>
              <a:gd name="connsiteX34" fmla="*/ 1313644 w 4501379"/>
              <a:gd name="connsiteY34" fmla="*/ 4216400 h 4429294"/>
              <a:gd name="connsiteX35" fmla="*/ 1145369 w 4501379"/>
              <a:gd name="connsiteY35" fmla="*/ 4111625 h 4429294"/>
              <a:gd name="connsiteX36" fmla="*/ 926294 w 4501379"/>
              <a:gd name="connsiteY36" fmla="*/ 3968750 h 4429294"/>
              <a:gd name="connsiteX37" fmla="*/ 592919 w 4501379"/>
              <a:gd name="connsiteY37" fmla="*/ 3657600 h 4429294"/>
              <a:gd name="connsiteX38" fmla="*/ 446869 w 4501379"/>
              <a:gd name="connsiteY38" fmla="*/ 3470275 h 4429294"/>
              <a:gd name="connsiteX39" fmla="*/ 316694 w 4501379"/>
              <a:gd name="connsiteY39" fmla="*/ 3244850 h 4429294"/>
              <a:gd name="connsiteX40" fmla="*/ 164294 w 4501379"/>
              <a:gd name="connsiteY40" fmla="*/ 2892425 h 4429294"/>
              <a:gd name="connsiteX41" fmla="*/ 56344 w 4501379"/>
              <a:gd name="connsiteY41" fmla="*/ 2368550 h 4429294"/>
              <a:gd name="connsiteX42" fmla="*/ 2369 w 4501379"/>
              <a:gd name="connsiteY42" fmla="*/ 1905000 h 4429294"/>
              <a:gd name="connsiteX43" fmla="*/ 11894 w 4501379"/>
              <a:gd name="connsiteY43" fmla="*/ 1838325 h 4429294"/>
              <a:gd name="connsiteX44" fmla="*/ 30944 w 4501379"/>
              <a:gd name="connsiteY44" fmla="*/ 1781175 h 4429294"/>
              <a:gd name="connsiteX45" fmla="*/ 40469 w 4501379"/>
              <a:gd name="connsiteY45" fmla="*/ 1743075 h 4429294"/>
              <a:gd name="connsiteX46" fmla="*/ 59519 w 4501379"/>
              <a:gd name="connsiteY46" fmla="*/ 1685925 h 4429294"/>
              <a:gd name="connsiteX47" fmla="*/ 69044 w 4501379"/>
              <a:gd name="connsiteY47" fmla="*/ 1638300 h 4429294"/>
              <a:gd name="connsiteX48" fmla="*/ 88094 w 4501379"/>
              <a:gd name="connsiteY48" fmla="*/ 1590675 h 4429294"/>
              <a:gd name="connsiteX49" fmla="*/ 116669 w 4501379"/>
              <a:gd name="connsiteY49" fmla="*/ 1504950 h 4429294"/>
              <a:gd name="connsiteX50" fmla="*/ 135719 w 4501379"/>
              <a:gd name="connsiteY50" fmla="*/ 1419225 h 4429294"/>
              <a:gd name="connsiteX51" fmla="*/ 211919 w 4501379"/>
              <a:gd name="connsiteY51" fmla="*/ 1276350 h 4429294"/>
              <a:gd name="connsiteX52" fmla="*/ 221444 w 4501379"/>
              <a:gd name="connsiteY52" fmla="*/ 1247775 h 4429294"/>
              <a:gd name="connsiteX53" fmla="*/ 250019 w 4501379"/>
              <a:gd name="connsiteY53" fmla="*/ 1200150 h 4429294"/>
              <a:gd name="connsiteX54" fmla="*/ 269069 w 4501379"/>
              <a:gd name="connsiteY54" fmla="*/ 1152525 h 4429294"/>
              <a:gd name="connsiteX55" fmla="*/ 297644 w 4501379"/>
              <a:gd name="connsiteY55" fmla="*/ 1114425 h 4429294"/>
              <a:gd name="connsiteX56" fmla="*/ 345269 w 4501379"/>
              <a:gd name="connsiteY56" fmla="*/ 1038225 h 4429294"/>
              <a:gd name="connsiteX57" fmla="*/ 364319 w 4501379"/>
              <a:gd name="connsiteY57" fmla="*/ 1009650 h 4429294"/>
              <a:gd name="connsiteX58" fmla="*/ 421469 w 4501379"/>
              <a:gd name="connsiteY58" fmla="*/ 904875 h 4429294"/>
              <a:gd name="connsiteX59" fmla="*/ 459569 w 4501379"/>
              <a:gd name="connsiteY59" fmla="*/ 857250 h 4429294"/>
              <a:gd name="connsiteX60" fmla="*/ 478619 w 4501379"/>
              <a:gd name="connsiteY60" fmla="*/ 828675 h 4429294"/>
              <a:gd name="connsiteX61" fmla="*/ 516719 w 4501379"/>
              <a:gd name="connsiteY61" fmla="*/ 800100 h 4429294"/>
              <a:gd name="connsiteX62" fmla="*/ 583394 w 4501379"/>
              <a:gd name="connsiteY62" fmla="*/ 733425 h 4429294"/>
              <a:gd name="connsiteX63" fmla="*/ 650069 w 4501379"/>
              <a:gd name="connsiteY63" fmla="*/ 676275 h 4429294"/>
              <a:gd name="connsiteX64" fmla="*/ 678644 w 4501379"/>
              <a:gd name="connsiteY64" fmla="*/ 657225 h 4429294"/>
              <a:gd name="connsiteX65" fmla="*/ 821519 w 4501379"/>
              <a:gd name="connsiteY65" fmla="*/ 533400 h 4429294"/>
              <a:gd name="connsiteX66" fmla="*/ 869144 w 4501379"/>
              <a:gd name="connsiteY66" fmla="*/ 504825 h 4429294"/>
              <a:gd name="connsiteX67" fmla="*/ 1148544 w 4501379"/>
              <a:gd name="connsiteY67" fmla="*/ 311150 h 4429294"/>
              <a:gd name="connsiteX68" fmla="*/ 1250144 w 4501379"/>
              <a:gd name="connsiteY68" fmla="*/ 285750 h 4429294"/>
              <a:gd name="connsiteX69" fmla="*/ 1393019 w 4501379"/>
              <a:gd name="connsiteY69" fmla="*/ 190500 h 4429294"/>
              <a:gd name="connsiteX70" fmla="*/ 1431119 w 4501379"/>
              <a:gd name="connsiteY70" fmla="*/ 161925 h 4429294"/>
              <a:gd name="connsiteX71" fmla="*/ 1507319 w 4501379"/>
              <a:gd name="connsiteY71" fmla="*/ 152400 h 4429294"/>
              <a:gd name="connsiteX72" fmla="*/ 1564469 w 4501379"/>
              <a:gd name="connsiteY72" fmla="*/ 142875 h 4429294"/>
              <a:gd name="connsiteX73" fmla="*/ 1697819 w 4501379"/>
              <a:gd name="connsiteY73" fmla="*/ 123825 h 4429294"/>
              <a:gd name="connsiteX74" fmla="*/ 1793069 w 4501379"/>
              <a:gd name="connsiteY74" fmla="*/ 114300 h 4429294"/>
              <a:gd name="connsiteX75" fmla="*/ 1840694 w 4501379"/>
              <a:gd name="connsiteY75" fmla="*/ 104775 h 4429294"/>
              <a:gd name="connsiteX76" fmla="*/ 1897844 w 4501379"/>
              <a:gd name="connsiteY76" fmla="*/ 95250 h 4429294"/>
              <a:gd name="connsiteX77" fmla="*/ 2012144 w 4501379"/>
              <a:gd name="connsiteY77" fmla="*/ 66675 h 4429294"/>
              <a:gd name="connsiteX78" fmla="*/ 2078819 w 4501379"/>
              <a:gd name="connsiteY78" fmla="*/ 47625 h 4429294"/>
              <a:gd name="connsiteX79" fmla="*/ 2145494 w 4501379"/>
              <a:gd name="connsiteY79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612344 w 4501379"/>
              <a:gd name="connsiteY6" fmla="*/ 485775 h 4429294"/>
              <a:gd name="connsiteX7" fmla="*/ 3726644 w 4501379"/>
              <a:gd name="connsiteY7" fmla="*/ 542925 h 4429294"/>
              <a:gd name="connsiteX8" fmla="*/ 3793319 w 4501379"/>
              <a:gd name="connsiteY8" fmla="*/ 581025 h 4429294"/>
              <a:gd name="connsiteX9" fmla="*/ 4009219 w 4501379"/>
              <a:gd name="connsiteY9" fmla="*/ 819150 h 4429294"/>
              <a:gd name="connsiteX10" fmla="*/ 4145744 w 4501379"/>
              <a:gd name="connsiteY10" fmla="*/ 990600 h 4429294"/>
              <a:gd name="connsiteX11" fmla="*/ 4231469 w 4501379"/>
              <a:gd name="connsiteY11" fmla="*/ 1143000 h 4429294"/>
              <a:gd name="connsiteX12" fmla="*/ 4288619 w 4501379"/>
              <a:gd name="connsiteY12" fmla="*/ 1266825 h 4429294"/>
              <a:gd name="connsiteX13" fmla="*/ 4326719 w 4501379"/>
              <a:gd name="connsiteY13" fmla="*/ 1362075 h 4429294"/>
              <a:gd name="connsiteX14" fmla="*/ 4374344 w 4501379"/>
              <a:gd name="connsiteY14" fmla="*/ 1552575 h 4429294"/>
              <a:gd name="connsiteX15" fmla="*/ 4412444 w 4501379"/>
              <a:gd name="connsiteY15" fmla="*/ 1685925 h 4429294"/>
              <a:gd name="connsiteX16" fmla="*/ 4501344 w 4501379"/>
              <a:gd name="connsiteY16" fmla="*/ 2181225 h 4429294"/>
              <a:gd name="connsiteX17" fmla="*/ 4428319 w 4501379"/>
              <a:gd name="connsiteY17" fmla="*/ 2768600 h 4429294"/>
              <a:gd name="connsiteX18" fmla="*/ 4364819 w 4501379"/>
              <a:gd name="connsiteY18" fmla="*/ 2990850 h 4429294"/>
              <a:gd name="connsiteX19" fmla="*/ 4260044 w 4501379"/>
              <a:gd name="connsiteY19" fmla="*/ 3248025 h 4429294"/>
              <a:gd name="connsiteX20" fmla="*/ 4164794 w 4501379"/>
              <a:gd name="connsiteY20" fmla="*/ 3400425 h 4429294"/>
              <a:gd name="connsiteX21" fmla="*/ 4040969 w 4501379"/>
              <a:gd name="connsiteY21" fmla="*/ 3533775 h 4429294"/>
              <a:gd name="connsiteX22" fmla="*/ 3936194 w 4501379"/>
              <a:gd name="connsiteY22" fmla="*/ 3648075 h 4429294"/>
              <a:gd name="connsiteX23" fmla="*/ 3640919 w 4501379"/>
              <a:gd name="connsiteY23" fmla="*/ 3971925 h 4429294"/>
              <a:gd name="connsiteX24" fmla="*/ 3498044 w 4501379"/>
              <a:gd name="connsiteY24" fmla="*/ 4083050 h 4429294"/>
              <a:gd name="connsiteX25" fmla="*/ 3202769 w 4501379"/>
              <a:gd name="connsiteY25" fmla="*/ 4222750 h 4429294"/>
              <a:gd name="connsiteX26" fmla="*/ 3050369 w 4501379"/>
              <a:gd name="connsiteY26" fmla="*/ 4286250 h 4429294"/>
              <a:gd name="connsiteX27" fmla="*/ 2917019 w 4501379"/>
              <a:gd name="connsiteY27" fmla="*/ 4333875 h 4429294"/>
              <a:gd name="connsiteX28" fmla="*/ 2793194 w 4501379"/>
              <a:gd name="connsiteY28" fmla="*/ 4371975 h 4429294"/>
              <a:gd name="connsiteX29" fmla="*/ 2561419 w 4501379"/>
              <a:gd name="connsiteY29" fmla="*/ 4391025 h 4429294"/>
              <a:gd name="connsiteX30" fmla="*/ 2107394 w 4501379"/>
              <a:gd name="connsiteY30" fmla="*/ 4429125 h 4429294"/>
              <a:gd name="connsiteX31" fmla="*/ 1916894 w 4501379"/>
              <a:gd name="connsiteY31" fmla="*/ 4400550 h 4429294"/>
              <a:gd name="connsiteX32" fmla="*/ 1554944 w 4501379"/>
              <a:gd name="connsiteY32" fmla="*/ 4305300 h 4429294"/>
              <a:gd name="connsiteX33" fmla="*/ 1313644 w 4501379"/>
              <a:gd name="connsiteY33" fmla="*/ 4216400 h 4429294"/>
              <a:gd name="connsiteX34" fmla="*/ 1145369 w 4501379"/>
              <a:gd name="connsiteY34" fmla="*/ 4111625 h 4429294"/>
              <a:gd name="connsiteX35" fmla="*/ 926294 w 4501379"/>
              <a:gd name="connsiteY35" fmla="*/ 3968750 h 4429294"/>
              <a:gd name="connsiteX36" fmla="*/ 592919 w 4501379"/>
              <a:gd name="connsiteY36" fmla="*/ 3657600 h 4429294"/>
              <a:gd name="connsiteX37" fmla="*/ 446869 w 4501379"/>
              <a:gd name="connsiteY37" fmla="*/ 3470275 h 4429294"/>
              <a:gd name="connsiteX38" fmla="*/ 316694 w 4501379"/>
              <a:gd name="connsiteY38" fmla="*/ 3244850 h 4429294"/>
              <a:gd name="connsiteX39" fmla="*/ 164294 w 4501379"/>
              <a:gd name="connsiteY39" fmla="*/ 2892425 h 4429294"/>
              <a:gd name="connsiteX40" fmla="*/ 56344 w 4501379"/>
              <a:gd name="connsiteY40" fmla="*/ 2368550 h 4429294"/>
              <a:gd name="connsiteX41" fmla="*/ 2369 w 4501379"/>
              <a:gd name="connsiteY41" fmla="*/ 1905000 h 4429294"/>
              <a:gd name="connsiteX42" fmla="*/ 11894 w 4501379"/>
              <a:gd name="connsiteY42" fmla="*/ 1838325 h 4429294"/>
              <a:gd name="connsiteX43" fmla="*/ 30944 w 4501379"/>
              <a:gd name="connsiteY43" fmla="*/ 1781175 h 4429294"/>
              <a:gd name="connsiteX44" fmla="*/ 40469 w 4501379"/>
              <a:gd name="connsiteY44" fmla="*/ 1743075 h 4429294"/>
              <a:gd name="connsiteX45" fmla="*/ 59519 w 4501379"/>
              <a:gd name="connsiteY45" fmla="*/ 1685925 h 4429294"/>
              <a:gd name="connsiteX46" fmla="*/ 69044 w 4501379"/>
              <a:gd name="connsiteY46" fmla="*/ 1638300 h 4429294"/>
              <a:gd name="connsiteX47" fmla="*/ 88094 w 4501379"/>
              <a:gd name="connsiteY47" fmla="*/ 1590675 h 4429294"/>
              <a:gd name="connsiteX48" fmla="*/ 116669 w 4501379"/>
              <a:gd name="connsiteY48" fmla="*/ 1504950 h 4429294"/>
              <a:gd name="connsiteX49" fmla="*/ 135719 w 4501379"/>
              <a:gd name="connsiteY49" fmla="*/ 1419225 h 4429294"/>
              <a:gd name="connsiteX50" fmla="*/ 211919 w 4501379"/>
              <a:gd name="connsiteY50" fmla="*/ 1276350 h 4429294"/>
              <a:gd name="connsiteX51" fmla="*/ 221444 w 4501379"/>
              <a:gd name="connsiteY51" fmla="*/ 1247775 h 4429294"/>
              <a:gd name="connsiteX52" fmla="*/ 250019 w 4501379"/>
              <a:gd name="connsiteY52" fmla="*/ 1200150 h 4429294"/>
              <a:gd name="connsiteX53" fmla="*/ 269069 w 4501379"/>
              <a:gd name="connsiteY53" fmla="*/ 1152525 h 4429294"/>
              <a:gd name="connsiteX54" fmla="*/ 297644 w 4501379"/>
              <a:gd name="connsiteY54" fmla="*/ 1114425 h 4429294"/>
              <a:gd name="connsiteX55" fmla="*/ 345269 w 4501379"/>
              <a:gd name="connsiteY55" fmla="*/ 1038225 h 4429294"/>
              <a:gd name="connsiteX56" fmla="*/ 364319 w 4501379"/>
              <a:gd name="connsiteY56" fmla="*/ 1009650 h 4429294"/>
              <a:gd name="connsiteX57" fmla="*/ 421469 w 4501379"/>
              <a:gd name="connsiteY57" fmla="*/ 904875 h 4429294"/>
              <a:gd name="connsiteX58" fmla="*/ 459569 w 4501379"/>
              <a:gd name="connsiteY58" fmla="*/ 857250 h 4429294"/>
              <a:gd name="connsiteX59" fmla="*/ 478619 w 4501379"/>
              <a:gd name="connsiteY59" fmla="*/ 828675 h 4429294"/>
              <a:gd name="connsiteX60" fmla="*/ 516719 w 4501379"/>
              <a:gd name="connsiteY60" fmla="*/ 800100 h 4429294"/>
              <a:gd name="connsiteX61" fmla="*/ 583394 w 4501379"/>
              <a:gd name="connsiteY61" fmla="*/ 733425 h 4429294"/>
              <a:gd name="connsiteX62" fmla="*/ 650069 w 4501379"/>
              <a:gd name="connsiteY62" fmla="*/ 676275 h 4429294"/>
              <a:gd name="connsiteX63" fmla="*/ 678644 w 4501379"/>
              <a:gd name="connsiteY63" fmla="*/ 657225 h 4429294"/>
              <a:gd name="connsiteX64" fmla="*/ 821519 w 4501379"/>
              <a:gd name="connsiteY64" fmla="*/ 533400 h 4429294"/>
              <a:gd name="connsiteX65" fmla="*/ 869144 w 4501379"/>
              <a:gd name="connsiteY65" fmla="*/ 504825 h 4429294"/>
              <a:gd name="connsiteX66" fmla="*/ 1148544 w 4501379"/>
              <a:gd name="connsiteY66" fmla="*/ 311150 h 4429294"/>
              <a:gd name="connsiteX67" fmla="*/ 1250144 w 4501379"/>
              <a:gd name="connsiteY67" fmla="*/ 285750 h 4429294"/>
              <a:gd name="connsiteX68" fmla="*/ 1393019 w 4501379"/>
              <a:gd name="connsiteY68" fmla="*/ 190500 h 4429294"/>
              <a:gd name="connsiteX69" fmla="*/ 1431119 w 4501379"/>
              <a:gd name="connsiteY69" fmla="*/ 161925 h 4429294"/>
              <a:gd name="connsiteX70" fmla="*/ 1507319 w 4501379"/>
              <a:gd name="connsiteY70" fmla="*/ 152400 h 4429294"/>
              <a:gd name="connsiteX71" fmla="*/ 1564469 w 4501379"/>
              <a:gd name="connsiteY71" fmla="*/ 142875 h 4429294"/>
              <a:gd name="connsiteX72" fmla="*/ 1697819 w 4501379"/>
              <a:gd name="connsiteY72" fmla="*/ 123825 h 4429294"/>
              <a:gd name="connsiteX73" fmla="*/ 1793069 w 4501379"/>
              <a:gd name="connsiteY73" fmla="*/ 114300 h 4429294"/>
              <a:gd name="connsiteX74" fmla="*/ 1840694 w 4501379"/>
              <a:gd name="connsiteY74" fmla="*/ 104775 h 4429294"/>
              <a:gd name="connsiteX75" fmla="*/ 1897844 w 4501379"/>
              <a:gd name="connsiteY75" fmla="*/ 95250 h 4429294"/>
              <a:gd name="connsiteX76" fmla="*/ 2012144 w 4501379"/>
              <a:gd name="connsiteY76" fmla="*/ 66675 h 4429294"/>
              <a:gd name="connsiteX77" fmla="*/ 2078819 w 4501379"/>
              <a:gd name="connsiteY77" fmla="*/ 47625 h 4429294"/>
              <a:gd name="connsiteX78" fmla="*/ 2145494 w 4501379"/>
              <a:gd name="connsiteY7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612344 w 4501379"/>
              <a:gd name="connsiteY6" fmla="*/ 485775 h 4429294"/>
              <a:gd name="connsiteX7" fmla="*/ 3793319 w 4501379"/>
              <a:gd name="connsiteY7" fmla="*/ 581025 h 4429294"/>
              <a:gd name="connsiteX8" fmla="*/ 4009219 w 4501379"/>
              <a:gd name="connsiteY8" fmla="*/ 819150 h 4429294"/>
              <a:gd name="connsiteX9" fmla="*/ 4145744 w 4501379"/>
              <a:gd name="connsiteY9" fmla="*/ 990600 h 4429294"/>
              <a:gd name="connsiteX10" fmla="*/ 4231469 w 4501379"/>
              <a:gd name="connsiteY10" fmla="*/ 1143000 h 4429294"/>
              <a:gd name="connsiteX11" fmla="*/ 4288619 w 4501379"/>
              <a:gd name="connsiteY11" fmla="*/ 1266825 h 4429294"/>
              <a:gd name="connsiteX12" fmla="*/ 4326719 w 4501379"/>
              <a:gd name="connsiteY12" fmla="*/ 1362075 h 4429294"/>
              <a:gd name="connsiteX13" fmla="*/ 4374344 w 4501379"/>
              <a:gd name="connsiteY13" fmla="*/ 1552575 h 4429294"/>
              <a:gd name="connsiteX14" fmla="*/ 4412444 w 4501379"/>
              <a:gd name="connsiteY14" fmla="*/ 1685925 h 4429294"/>
              <a:gd name="connsiteX15" fmla="*/ 4501344 w 4501379"/>
              <a:gd name="connsiteY15" fmla="*/ 2181225 h 4429294"/>
              <a:gd name="connsiteX16" fmla="*/ 4428319 w 4501379"/>
              <a:gd name="connsiteY16" fmla="*/ 2768600 h 4429294"/>
              <a:gd name="connsiteX17" fmla="*/ 4364819 w 4501379"/>
              <a:gd name="connsiteY17" fmla="*/ 2990850 h 4429294"/>
              <a:gd name="connsiteX18" fmla="*/ 4260044 w 4501379"/>
              <a:gd name="connsiteY18" fmla="*/ 3248025 h 4429294"/>
              <a:gd name="connsiteX19" fmla="*/ 4164794 w 4501379"/>
              <a:gd name="connsiteY19" fmla="*/ 3400425 h 4429294"/>
              <a:gd name="connsiteX20" fmla="*/ 4040969 w 4501379"/>
              <a:gd name="connsiteY20" fmla="*/ 3533775 h 4429294"/>
              <a:gd name="connsiteX21" fmla="*/ 3936194 w 4501379"/>
              <a:gd name="connsiteY21" fmla="*/ 3648075 h 4429294"/>
              <a:gd name="connsiteX22" fmla="*/ 3640919 w 4501379"/>
              <a:gd name="connsiteY22" fmla="*/ 3971925 h 4429294"/>
              <a:gd name="connsiteX23" fmla="*/ 3498044 w 4501379"/>
              <a:gd name="connsiteY23" fmla="*/ 4083050 h 4429294"/>
              <a:gd name="connsiteX24" fmla="*/ 3202769 w 4501379"/>
              <a:gd name="connsiteY24" fmla="*/ 4222750 h 4429294"/>
              <a:gd name="connsiteX25" fmla="*/ 3050369 w 4501379"/>
              <a:gd name="connsiteY25" fmla="*/ 4286250 h 4429294"/>
              <a:gd name="connsiteX26" fmla="*/ 2917019 w 4501379"/>
              <a:gd name="connsiteY26" fmla="*/ 4333875 h 4429294"/>
              <a:gd name="connsiteX27" fmla="*/ 2793194 w 4501379"/>
              <a:gd name="connsiteY27" fmla="*/ 4371975 h 4429294"/>
              <a:gd name="connsiteX28" fmla="*/ 2561419 w 4501379"/>
              <a:gd name="connsiteY28" fmla="*/ 4391025 h 4429294"/>
              <a:gd name="connsiteX29" fmla="*/ 2107394 w 4501379"/>
              <a:gd name="connsiteY29" fmla="*/ 4429125 h 4429294"/>
              <a:gd name="connsiteX30" fmla="*/ 1916894 w 4501379"/>
              <a:gd name="connsiteY30" fmla="*/ 4400550 h 4429294"/>
              <a:gd name="connsiteX31" fmla="*/ 1554944 w 4501379"/>
              <a:gd name="connsiteY31" fmla="*/ 4305300 h 4429294"/>
              <a:gd name="connsiteX32" fmla="*/ 1313644 w 4501379"/>
              <a:gd name="connsiteY32" fmla="*/ 4216400 h 4429294"/>
              <a:gd name="connsiteX33" fmla="*/ 1145369 w 4501379"/>
              <a:gd name="connsiteY33" fmla="*/ 4111625 h 4429294"/>
              <a:gd name="connsiteX34" fmla="*/ 926294 w 4501379"/>
              <a:gd name="connsiteY34" fmla="*/ 3968750 h 4429294"/>
              <a:gd name="connsiteX35" fmla="*/ 592919 w 4501379"/>
              <a:gd name="connsiteY35" fmla="*/ 3657600 h 4429294"/>
              <a:gd name="connsiteX36" fmla="*/ 446869 w 4501379"/>
              <a:gd name="connsiteY36" fmla="*/ 3470275 h 4429294"/>
              <a:gd name="connsiteX37" fmla="*/ 316694 w 4501379"/>
              <a:gd name="connsiteY37" fmla="*/ 3244850 h 4429294"/>
              <a:gd name="connsiteX38" fmla="*/ 164294 w 4501379"/>
              <a:gd name="connsiteY38" fmla="*/ 2892425 h 4429294"/>
              <a:gd name="connsiteX39" fmla="*/ 56344 w 4501379"/>
              <a:gd name="connsiteY39" fmla="*/ 2368550 h 4429294"/>
              <a:gd name="connsiteX40" fmla="*/ 2369 w 4501379"/>
              <a:gd name="connsiteY40" fmla="*/ 1905000 h 4429294"/>
              <a:gd name="connsiteX41" fmla="*/ 11894 w 4501379"/>
              <a:gd name="connsiteY41" fmla="*/ 1838325 h 4429294"/>
              <a:gd name="connsiteX42" fmla="*/ 30944 w 4501379"/>
              <a:gd name="connsiteY42" fmla="*/ 1781175 h 4429294"/>
              <a:gd name="connsiteX43" fmla="*/ 40469 w 4501379"/>
              <a:gd name="connsiteY43" fmla="*/ 1743075 h 4429294"/>
              <a:gd name="connsiteX44" fmla="*/ 59519 w 4501379"/>
              <a:gd name="connsiteY44" fmla="*/ 1685925 h 4429294"/>
              <a:gd name="connsiteX45" fmla="*/ 69044 w 4501379"/>
              <a:gd name="connsiteY45" fmla="*/ 1638300 h 4429294"/>
              <a:gd name="connsiteX46" fmla="*/ 88094 w 4501379"/>
              <a:gd name="connsiteY46" fmla="*/ 1590675 h 4429294"/>
              <a:gd name="connsiteX47" fmla="*/ 116669 w 4501379"/>
              <a:gd name="connsiteY47" fmla="*/ 1504950 h 4429294"/>
              <a:gd name="connsiteX48" fmla="*/ 135719 w 4501379"/>
              <a:gd name="connsiteY48" fmla="*/ 1419225 h 4429294"/>
              <a:gd name="connsiteX49" fmla="*/ 211919 w 4501379"/>
              <a:gd name="connsiteY49" fmla="*/ 1276350 h 4429294"/>
              <a:gd name="connsiteX50" fmla="*/ 221444 w 4501379"/>
              <a:gd name="connsiteY50" fmla="*/ 1247775 h 4429294"/>
              <a:gd name="connsiteX51" fmla="*/ 250019 w 4501379"/>
              <a:gd name="connsiteY51" fmla="*/ 1200150 h 4429294"/>
              <a:gd name="connsiteX52" fmla="*/ 269069 w 4501379"/>
              <a:gd name="connsiteY52" fmla="*/ 1152525 h 4429294"/>
              <a:gd name="connsiteX53" fmla="*/ 297644 w 4501379"/>
              <a:gd name="connsiteY53" fmla="*/ 1114425 h 4429294"/>
              <a:gd name="connsiteX54" fmla="*/ 345269 w 4501379"/>
              <a:gd name="connsiteY54" fmla="*/ 1038225 h 4429294"/>
              <a:gd name="connsiteX55" fmla="*/ 364319 w 4501379"/>
              <a:gd name="connsiteY55" fmla="*/ 1009650 h 4429294"/>
              <a:gd name="connsiteX56" fmla="*/ 421469 w 4501379"/>
              <a:gd name="connsiteY56" fmla="*/ 904875 h 4429294"/>
              <a:gd name="connsiteX57" fmla="*/ 459569 w 4501379"/>
              <a:gd name="connsiteY57" fmla="*/ 857250 h 4429294"/>
              <a:gd name="connsiteX58" fmla="*/ 478619 w 4501379"/>
              <a:gd name="connsiteY58" fmla="*/ 828675 h 4429294"/>
              <a:gd name="connsiteX59" fmla="*/ 516719 w 4501379"/>
              <a:gd name="connsiteY59" fmla="*/ 800100 h 4429294"/>
              <a:gd name="connsiteX60" fmla="*/ 583394 w 4501379"/>
              <a:gd name="connsiteY60" fmla="*/ 733425 h 4429294"/>
              <a:gd name="connsiteX61" fmla="*/ 650069 w 4501379"/>
              <a:gd name="connsiteY61" fmla="*/ 676275 h 4429294"/>
              <a:gd name="connsiteX62" fmla="*/ 678644 w 4501379"/>
              <a:gd name="connsiteY62" fmla="*/ 657225 h 4429294"/>
              <a:gd name="connsiteX63" fmla="*/ 821519 w 4501379"/>
              <a:gd name="connsiteY63" fmla="*/ 533400 h 4429294"/>
              <a:gd name="connsiteX64" fmla="*/ 869144 w 4501379"/>
              <a:gd name="connsiteY64" fmla="*/ 504825 h 4429294"/>
              <a:gd name="connsiteX65" fmla="*/ 1148544 w 4501379"/>
              <a:gd name="connsiteY65" fmla="*/ 311150 h 4429294"/>
              <a:gd name="connsiteX66" fmla="*/ 1250144 w 4501379"/>
              <a:gd name="connsiteY66" fmla="*/ 285750 h 4429294"/>
              <a:gd name="connsiteX67" fmla="*/ 1393019 w 4501379"/>
              <a:gd name="connsiteY67" fmla="*/ 190500 h 4429294"/>
              <a:gd name="connsiteX68" fmla="*/ 1431119 w 4501379"/>
              <a:gd name="connsiteY68" fmla="*/ 161925 h 4429294"/>
              <a:gd name="connsiteX69" fmla="*/ 1507319 w 4501379"/>
              <a:gd name="connsiteY69" fmla="*/ 152400 h 4429294"/>
              <a:gd name="connsiteX70" fmla="*/ 1564469 w 4501379"/>
              <a:gd name="connsiteY70" fmla="*/ 142875 h 4429294"/>
              <a:gd name="connsiteX71" fmla="*/ 1697819 w 4501379"/>
              <a:gd name="connsiteY71" fmla="*/ 123825 h 4429294"/>
              <a:gd name="connsiteX72" fmla="*/ 1793069 w 4501379"/>
              <a:gd name="connsiteY72" fmla="*/ 114300 h 4429294"/>
              <a:gd name="connsiteX73" fmla="*/ 1840694 w 4501379"/>
              <a:gd name="connsiteY73" fmla="*/ 104775 h 4429294"/>
              <a:gd name="connsiteX74" fmla="*/ 1897844 w 4501379"/>
              <a:gd name="connsiteY74" fmla="*/ 95250 h 4429294"/>
              <a:gd name="connsiteX75" fmla="*/ 2012144 w 4501379"/>
              <a:gd name="connsiteY75" fmla="*/ 66675 h 4429294"/>
              <a:gd name="connsiteX76" fmla="*/ 2078819 w 4501379"/>
              <a:gd name="connsiteY76" fmla="*/ 47625 h 4429294"/>
              <a:gd name="connsiteX77" fmla="*/ 2145494 w 4501379"/>
              <a:gd name="connsiteY7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393019 w 4501379"/>
              <a:gd name="connsiteY66" fmla="*/ 190500 h 4429294"/>
              <a:gd name="connsiteX67" fmla="*/ 1431119 w 4501379"/>
              <a:gd name="connsiteY67" fmla="*/ 161925 h 4429294"/>
              <a:gd name="connsiteX68" fmla="*/ 1507319 w 4501379"/>
              <a:gd name="connsiteY68" fmla="*/ 152400 h 4429294"/>
              <a:gd name="connsiteX69" fmla="*/ 1564469 w 4501379"/>
              <a:gd name="connsiteY69" fmla="*/ 142875 h 4429294"/>
              <a:gd name="connsiteX70" fmla="*/ 1697819 w 4501379"/>
              <a:gd name="connsiteY70" fmla="*/ 123825 h 4429294"/>
              <a:gd name="connsiteX71" fmla="*/ 1793069 w 4501379"/>
              <a:gd name="connsiteY71" fmla="*/ 114300 h 4429294"/>
              <a:gd name="connsiteX72" fmla="*/ 1840694 w 4501379"/>
              <a:gd name="connsiteY72" fmla="*/ 104775 h 4429294"/>
              <a:gd name="connsiteX73" fmla="*/ 1897844 w 4501379"/>
              <a:gd name="connsiteY73" fmla="*/ 95250 h 4429294"/>
              <a:gd name="connsiteX74" fmla="*/ 2012144 w 4501379"/>
              <a:gd name="connsiteY74" fmla="*/ 66675 h 4429294"/>
              <a:gd name="connsiteX75" fmla="*/ 2078819 w 4501379"/>
              <a:gd name="connsiteY75" fmla="*/ 47625 h 4429294"/>
              <a:gd name="connsiteX76" fmla="*/ 2145494 w 4501379"/>
              <a:gd name="connsiteY76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431119 w 4501379"/>
              <a:gd name="connsiteY66" fmla="*/ 161925 h 4429294"/>
              <a:gd name="connsiteX67" fmla="*/ 1507319 w 4501379"/>
              <a:gd name="connsiteY67" fmla="*/ 152400 h 4429294"/>
              <a:gd name="connsiteX68" fmla="*/ 1564469 w 4501379"/>
              <a:gd name="connsiteY68" fmla="*/ 142875 h 4429294"/>
              <a:gd name="connsiteX69" fmla="*/ 1697819 w 4501379"/>
              <a:gd name="connsiteY69" fmla="*/ 123825 h 4429294"/>
              <a:gd name="connsiteX70" fmla="*/ 1793069 w 4501379"/>
              <a:gd name="connsiteY70" fmla="*/ 114300 h 4429294"/>
              <a:gd name="connsiteX71" fmla="*/ 1840694 w 4501379"/>
              <a:gd name="connsiteY71" fmla="*/ 104775 h 4429294"/>
              <a:gd name="connsiteX72" fmla="*/ 1897844 w 4501379"/>
              <a:gd name="connsiteY72" fmla="*/ 95250 h 4429294"/>
              <a:gd name="connsiteX73" fmla="*/ 2012144 w 4501379"/>
              <a:gd name="connsiteY73" fmla="*/ 66675 h 4429294"/>
              <a:gd name="connsiteX74" fmla="*/ 2078819 w 4501379"/>
              <a:gd name="connsiteY74" fmla="*/ 47625 h 4429294"/>
              <a:gd name="connsiteX75" fmla="*/ 2145494 w 4501379"/>
              <a:gd name="connsiteY75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507319 w 4501379"/>
              <a:gd name="connsiteY66" fmla="*/ 152400 h 4429294"/>
              <a:gd name="connsiteX67" fmla="*/ 1564469 w 4501379"/>
              <a:gd name="connsiteY67" fmla="*/ 142875 h 4429294"/>
              <a:gd name="connsiteX68" fmla="*/ 1697819 w 4501379"/>
              <a:gd name="connsiteY68" fmla="*/ 123825 h 4429294"/>
              <a:gd name="connsiteX69" fmla="*/ 1793069 w 4501379"/>
              <a:gd name="connsiteY69" fmla="*/ 114300 h 4429294"/>
              <a:gd name="connsiteX70" fmla="*/ 1840694 w 4501379"/>
              <a:gd name="connsiteY70" fmla="*/ 104775 h 4429294"/>
              <a:gd name="connsiteX71" fmla="*/ 1897844 w 4501379"/>
              <a:gd name="connsiteY71" fmla="*/ 95250 h 4429294"/>
              <a:gd name="connsiteX72" fmla="*/ 2012144 w 4501379"/>
              <a:gd name="connsiteY72" fmla="*/ 66675 h 4429294"/>
              <a:gd name="connsiteX73" fmla="*/ 2078819 w 4501379"/>
              <a:gd name="connsiteY73" fmla="*/ 47625 h 4429294"/>
              <a:gd name="connsiteX74" fmla="*/ 2145494 w 4501379"/>
              <a:gd name="connsiteY74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697819 w 4501379"/>
              <a:gd name="connsiteY67" fmla="*/ 123825 h 4429294"/>
              <a:gd name="connsiteX68" fmla="*/ 1793069 w 4501379"/>
              <a:gd name="connsiteY68" fmla="*/ 114300 h 4429294"/>
              <a:gd name="connsiteX69" fmla="*/ 1840694 w 4501379"/>
              <a:gd name="connsiteY69" fmla="*/ 104775 h 4429294"/>
              <a:gd name="connsiteX70" fmla="*/ 1897844 w 4501379"/>
              <a:gd name="connsiteY70" fmla="*/ 95250 h 4429294"/>
              <a:gd name="connsiteX71" fmla="*/ 2012144 w 4501379"/>
              <a:gd name="connsiteY71" fmla="*/ 66675 h 4429294"/>
              <a:gd name="connsiteX72" fmla="*/ 2078819 w 4501379"/>
              <a:gd name="connsiteY72" fmla="*/ 47625 h 4429294"/>
              <a:gd name="connsiteX73" fmla="*/ 2145494 w 4501379"/>
              <a:gd name="connsiteY73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793069 w 4501379"/>
              <a:gd name="connsiteY67" fmla="*/ 114300 h 4429294"/>
              <a:gd name="connsiteX68" fmla="*/ 1840694 w 4501379"/>
              <a:gd name="connsiteY68" fmla="*/ 104775 h 4429294"/>
              <a:gd name="connsiteX69" fmla="*/ 1897844 w 4501379"/>
              <a:gd name="connsiteY69" fmla="*/ 95250 h 4429294"/>
              <a:gd name="connsiteX70" fmla="*/ 2012144 w 4501379"/>
              <a:gd name="connsiteY70" fmla="*/ 66675 h 4429294"/>
              <a:gd name="connsiteX71" fmla="*/ 2078819 w 4501379"/>
              <a:gd name="connsiteY71" fmla="*/ 47625 h 4429294"/>
              <a:gd name="connsiteX72" fmla="*/ 2145494 w 4501379"/>
              <a:gd name="connsiteY72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840694 w 4501379"/>
              <a:gd name="connsiteY67" fmla="*/ 104775 h 4429294"/>
              <a:gd name="connsiteX68" fmla="*/ 1897844 w 4501379"/>
              <a:gd name="connsiteY68" fmla="*/ 95250 h 4429294"/>
              <a:gd name="connsiteX69" fmla="*/ 2012144 w 4501379"/>
              <a:gd name="connsiteY69" fmla="*/ 66675 h 4429294"/>
              <a:gd name="connsiteX70" fmla="*/ 2078819 w 4501379"/>
              <a:gd name="connsiteY70" fmla="*/ 47625 h 4429294"/>
              <a:gd name="connsiteX71" fmla="*/ 2145494 w 4501379"/>
              <a:gd name="connsiteY71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897844 w 4501379"/>
              <a:gd name="connsiteY67" fmla="*/ 95250 h 4429294"/>
              <a:gd name="connsiteX68" fmla="*/ 2012144 w 4501379"/>
              <a:gd name="connsiteY68" fmla="*/ 66675 h 4429294"/>
              <a:gd name="connsiteX69" fmla="*/ 2078819 w 4501379"/>
              <a:gd name="connsiteY69" fmla="*/ 47625 h 4429294"/>
              <a:gd name="connsiteX70" fmla="*/ 2145494 w 4501379"/>
              <a:gd name="connsiteY70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012144 w 4501379"/>
              <a:gd name="connsiteY67" fmla="*/ 66675 h 4429294"/>
              <a:gd name="connsiteX68" fmla="*/ 2078819 w 4501379"/>
              <a:gd name="connsiteY68" fmla="*/ 47625 h 4429294"/>
              <a:gd name="connsiteX69" fmla="*/ 2145494 w 4501379"/>
              <a:gd name="connsiteY69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078819 w 4501379"/>
              <a:gd name="connsiteY67" fmla="*/ 47625 h 4429294"/>
              <a:gd name="connsiteX68" fmla="*/ 2145494 w 4501379"/>
              <a:gd name="connsiteY6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145494 w 4501379"/>
              <a:gd name="connsiteY6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621619 w 4501379"/>
              <a:gd name="connsiteY66" fmla="*/ 11112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678644 w 4501379"/>
              <a:gd name="connsiteY60" fmla="*/ 657225 h 4429294"/>
              <a:gd name="connsiteX61" fmla="*/ 821519 w 4501379"/>
              <a:gd name="connsiteY61" fmla="*/ 533400 h 4429294"/>
              <a:gd name="connsiteX62" fmla="*/ 869144 w 4501379"/>
              <a:gd name="connsiteY62" fmla="*/ 504825 h 4429294"/>
              <a:gd name="connsiteX63" fmla="*/ 1148544 w 4501379"/>
              <a:gd name="connsiteY63" fmla="*/ 311150 h 4429294"/>
              <a:gd name="connsiteX64" fmla="*/ 1507319 w 4501379"/>
              <a:gd name="connsiteY64" fmla="*/ 152400 h 4429294"/>
              <a:gd name="connsiteX65" fmla="*/ 1621619 w 4501379"/>
              <a:gd name="connsiteY65" fmla="*/ 111125 h 4429294"/>
              <a:gd name="connsiteX66" fmla="*/ 2253444 w 4501379"/>
              <a:gd name="connsiteY66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821519 w 4501379"/>
              <a:gd name="connsiteY60" fmla="*/ 533400 h 4429294"/>
              <a:gd name="connsiteX61" fmla="*/ 869144 w 4501379"/>
              <a:gd name="connsiteY61" fmla="*/ 504825 h 4429294"/>
              <a:gd name="connsiteX62" fmla="*/ 1148544 w 4501379"/>
              <a:gd name="connsiteY62" fmla="*/ 311150 h 4429294"/>
              <a:gd name="connsiteX63" fmla="*/ 1507319 w 4501379"/>
              <a:gd name="connsiteY63" fmla="*/ 152400 h 4429294"/>
              <a:gd name="connsiteX64" fmla="*/ 1621619 w 4501379"/>
              <a:gd name="connsiteY64" fmla="*/ 111125 h 4429294"/>
              <a:gd name="connsiteX65" fmla="*/ 2253444 w 4501379"/>
              <a:gd name="connsiteY65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869144 w 4501379"/>
              <a:gd name="connsiteY60" fmla="*/ 504825 h 4429294"/>
              <a:gd name="connsiteX61" fmla="*/ 1148544 w 4501379"/>
              <a:gd name="connsiteY61" fmla="*/ 311150 h 4429294"/>
              <a:gd name="connsiteX62" fmla="*/ 1507319 w 4501379"/>
              <a:gd name="connsiteY62" fmla="*/ 152400 h 4429294"/>
              <a:gd name="connsiteX63" fmla="*/ 1621619 w 4501379"/>
              <a:gd name="connsiteY63" fmla="*/ 111125 h 4429294"/>
              <a:gd name="connsiteX64" fmla="*/ 2253444 w 4501379"/>
              <a:gd name="connsiteY64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64319 w 4501379"/>
              <a:gd name="connsiteY53" fmla="*/ 1009650 h 4429294"/>
              <a:gd name="connsiteX54" fmla="*/ 421469 w 4501379"/>
              <a:gd name="connsiteY54" fmla="*/ 904875 h 4429294"/>
              <a:gd name="connsiteX55" fmla="*/ 459569 w 4501379"/>
              <a:gd name="connsiteY55" fmla="*/ 857250 h 4429294"/>
              <a:gd name="connsiteX56" fmla="*/ 478619 w 4501379"/>
              <a:gd name="connsiteY56" fmla="*/ 828675 h 4429294"/>
              <a:gd name="connsiteX57" fmla="*/ 516719 w 4501379"/>
              <a:gd name="connsiteY57" fmla="*/ 800100 h 4429294"/>
              <a:gd name="connsiteX58" fmla="*/ 650069 w 4501379"/>
              <a:gd name="connsiteY58" fmla="*/ 676275 h 4429294"/>
              <a:gd name="connsiteX59" fmla="*/ 869144 w 4501379"/>
              <a:gd name="connsiteY59" fmla="*/ 504825 h 4429294"/>
              <a:gd name="connsiteX60" fmla="*/ 1148544 w 4501379"/>
              <a:gd name="connsiteY60" fmla="*/ 311150 h 4429294"/>
              <a:gd name="connsiteX61" fmla="*/ 1507319 w 4501379"/>
              <a:gd name="connsiteY61" fmla="*/ 152400 h 4429294"/>
              <a:gd name="connsiteX62" fmla="*/ 1621619 w 4501379"/>
              <a:gd name="connsiteY62" fmla="*/ 111125 h 4429294"/>
              <a:gd name="connsiteX63" fmla="*/ 2253444 w 4501379"/>
              <a:gd name="connsiteY63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21469 w 4501379"/>
              <a:gd name="connsiteY53" fmla="*/ 904875 h 4429294"/>
              <a:gd name="connsiteX54" fmla="*/ 459569 w 4501379"/>
              <a:gd name="connsiteY54" fmla="*/ 857250 h 4429294"/>
              <a:gd name="connsiteX55" fmla="*/ 478619 w 4501379"/>
              <a:gd name="connsiteY55" fmla="*/ 828675 h 4429294"/>
              <a:gd name="connsiteX56" fmla="*/ 516719 w 4501379"/>
              <a:gd name="connsiteY56" fmla="*/ 800100 h 4429294"/>
              <a:gd name="connsiteX57" fmla="*/ 650069 w 4501379"/>
              <a:gd name="connsiteY57" fmla="*/ 676275 h 4429294"/>
              <a:gd name="connsiteX58" fmla="*/ 869144 w 4501379"/>
              <a:gd name="connsiteY58" fmla="*/ 504825 h 4429294"/>
              <a:gd name="connsiteX59" fmla="*/ 1148544 w 4501379"/>
              <a:gd name="connsiteY59" fmla="*/ 311150 h 4429294"/>
              <a:gd name="connsiteX60" fmla="*/ 1507319 w 4501379"/>
              <a:gd name="connsiteY60" fmla="*/ 152400 h 4429294"/>
              <a:gd name="connsiteX61" fmla="*/ 1621619 w 4501379"/>
              <a:gd name="connsiteY61" fmla="*/ 111125 h 4429294"/>
              <a:gd name="connsiteX62" fmla="*/ 2253444 w 4501379"/>
              <a:gd name="connsiteY62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59569 w 4501379"/>
              <a:gd name="connsiteY53" fmla="*/ 857250 h 4429294"/>
              <a:gd name="connsiteX54" fmla="*/ 478619 w 4501379"/>
              <a:gd name="connsiteY54" fmla="*/ 828675 h 4429294"/>
              <a:gd name="connsiteX55" fmla="*/ 516719 w 4501379"/>
              <a:gd name="connsiteY55" fmla="*/ 800100 h 4429294"/>
              <a:gd name="connsiteX56" fmla="*/ 650069 w 4501379"/>
              <a:gd name="connsiteY56" fmla="*/ 676275 h 4429294"/>
              <a:gd name="connsiteX57" fmla="*/ 869144 w 4501379"/>
              <a:gd name="connsiteY57" fmla="*/ 504825 h 4429294"/>
              <a:gd name="connsiteX58" fmla="*/ 1148544 w 4501379"/>
              <a:gd name="connsiteY58" fmla="*/ 311150 h 4429294"/>
              <a:gd name="connsiteX59" fmla="*/ 1507319 w 4501379"/>
              <a:gd name="connsiteY59" fmla="*/ 152400 h 4429294"/>
              <a:gd name="connsiteX60" fmla="*/ 1621619 w 4501379"/>
              <a:gd name="connsiteY60" fmla="*/ 111125 h 4429294"/>
              <a:gd name="connsiteX61" fmla="*/ 2253444 w 4501379"/>
              <a:gd name="connsiteY61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59569 w 4501379"/>
              <a:gd name="connsiteY53" fmla="*/ 857250 h 4429294"/>
              <a:gd name="connsiteX54" fmla="*/ 516719 w 4501379"/>
              <a:gd name="connsiteY54" fmla="*/ 800100 h 4429294"/>
              <a:gd name="connsiteX55" fmla="*/ 650069 w 4501379"/>
              <a:gd name="connsiteY55" fmla="*/ 676275 h 4429294"/>
              <a:gd name="connsiteX56" fmla="*/ 869144 w 4501379"/>
              <a:gd name="connsiteY56" fmla="*/ 504825 h 4429294"/>
              <a:gd name="connsiteX57" fmla="*/ 1148544 w 4501379"/>
              <a:gd name="connsiteY57" fmla="*/ 311150 h 4429294"/>
              <a:gd name="connsiteX58" fmla="*/ 1507319 w 4501379"/>
              <a:gd name="connsiteY58" fmla="*/ 152400 h 4429294"/>
              <a:gd name="connsiteX59" fmla="*/ 1621619 w 4501379"/>
              <a:gd name="connsiteY59" fmla="*/ 111125 h 4429294"/>
              <a:gd name="connsiteX60" fmla="*/ 2253444 w 4501379"/>
              <a:gd name="connsiteY60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69069 w 4501379"/>
              <a:gd name="connsiteY50" fmla="*/ 1152525 h 4429294"/>
              <a:gd name="connsiteX51" fmla="*/ 297644 w 4501379"/>
              <a:gd name="connsiteY51" fmla="*/ 1114425 h 4429294"/>
              <a:gd name="connsiteX52" fmla="*/ 459569 w 4501379"/>
              <a:gd name="connsiteY52" fmla="*/ 857250 h 4429294"/>
              <a:gd name="connsiteX53" fmla="*/ 516719 w 4501379"/>
              <a:gd name="connsiteY53" fmla="*/ 800100 h 4429294"/>
              <a:gd name="connsiteX54" fmla="*/ 650069 w 4501379"/>
              <a:gd name="connsiteY54" fmla="*/ 676275 h 4429294"/>
              <a:gd name="connsiteX55" fmla="*/ 869144 w 4501379"/>
              <a:gd name="connsiteY55" fmla="*/ 504825 h 4429294"/>
              <a:gd name="connsiteX56" fmla="*/ 1148544 w 4501379"/>
              <a:gd name="connsiteY56" fmla="*/ 311150 h 4429294"/>
              <a:gd name="connsiteX57" fmla="*/ 1507319 w 4501379"/>
              <a:gd name="connsiteY57" fmla="*/ 152400 h 4429294"/>
              <a:gd name="connsiteX58" fmla="*/ 1621619 w 4501379"/>
              <a:gd name="connsiteY58" fmla="*/ 111125 h 4429294"/>
              <a:gd name="connsiteX59" fmla="*/ 2253444 w 4501379"/>
              <a:gd name="connsiteY59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97644 w 4501379"/>
              <a:gd name="connsiteY50" fmla="*/ 1114425 h 4429294"/>
              <a:gd name="connsiteX51" fmla="*/ 459569 w 4501379"/>
              <a:gd name="connsiteY51" fmla="*/ 857250 h 4429294"/>
              <a:gd name="connsiteX52" fmla="*/ 516719 w 4501379"/>
              <a:gd name="connsiteY52" fmla="*/ 800100 h 4429294"/>
              <a:gd name="connsiteX53" fmla="*/ 650069 w 4501379"/>
              <a:gd name="connsiteY53" fmla="*/ 676275 h 4429294"/>
              <a:gd name="connsiteX54" fmla="*/ 869144 w 4501379"/>
              <a:gd name="connsiteY54" fmla="*/ 504825 h 4429294"/>
              <a:gd name="connsiteX55" fmla="*/ 1148544 w 4501379"/>
              <a:gd name="connsiteY55" fmla="*/ 311150 h 4429294"/>
              <a:gd name="connsiteX56" fmla="*/ 1507319 w 4501379"/>
              <a:gd name="connsiteY56" fmla="*/ 152400 h 4429294"/>
              <a:gd name="connsiteX57" fmla="*/ 1621619 w 4501379"/>
              <a:gd name="connsiteY57" fmla="*/ 111125 h 4429294"/>
              <a:gd name="connsiteX58" fmla="*/ 2253444 w 4501379"/>
              <a:gd name="connsiteY58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97644 w 4501379"/>
              <a:gd name="connsiteY49" fmla="*/ 1114425 h 4429294"/>
              <a:gd name="connsiteX50" fmla="*/ 459569 w 4501379"/>
              <a:gd name="connsiteY50" fmla="*/ 857250 h 4429294"/>
              <a:gd name="connsiteX51" fmla="*/ 516719 w 4501379"/>
              <a:gd name="connsiteY51" fmla="*/ 800100 h 4429294"/>
              <a:gd name="connsiteX52" fmla="*/ 650069 w 4501379"/>
              <a:gd name="connsiteY52" fmla="*/ 676275 h 4429294"/>
              <a:gd name="connsiteX53" fmla="*/ 869144 w 4501379"/>
              <a:gd name="connsiteY53" fmla="*/ 504825 h 4429294"/>
              <a:gd name="connsiteX54" fmla="*/ 1148544 w 4501379"/>
              <a:gd name="connsiteY54" fmla="*/ 311150 h 4429294"/>
              <a:gd name="connsiteX55" fmla="*/ 1507319 w 4501379"/>
              <a:gd name="connsiteY55" fmla="*/ 152400 h 4429294"/>
              <a:gd name="connsiteX56" fmla="*/ 1621619 w 4501379"/>
              <a:gd name="connsiteY56" fmla="*/ 111125 h 4429294"/>
              <a:gd name="connsiteX57" fmla="*/ 2253444 w 4501379"/>
              <a:gd name="connsiteY5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35719 w 4501379"/>
              <a:gd name="connsiteY46" fmla="*/ 1419225 h 4429294"/>
              <a:gd name="connsiteX47" fmla="*/ 211919 w 4501379"/>
              <a:gd name="connsiteY47" fmla="*/ 1276350 h 4429294"/>
              <a:gd name="connsiteX48" fmla="*/ 297644 w 4501379"/>
              <a:gd name="connsiteY48" fmla="*/ 1114425 h 4429294"/>
              <a:gd name="connsiteX49" fmla="*/ 459569 w 4501379"/>
              <a:gd name="connsiteY49" fmla="*/ 857250 h 4429294"/>
              <a:gd name="connsiteX50" fmla="*/ 516719 w 4501379"/>
              <a:gd name="connsiteY50" fmla="*/ 800100 h 4429294"/>
              <a:gd name="connsiteX51" fmla="*/ 650069 w 4501379"/>
              <a:gd name="connsiteY51" fmla="*/ 676275 h 4429294"/>
              <a:gd name="connsiteX52" fmla="*/ 869144 w 4501379"/>
              <a:gd name="connsiteY52" fmla="*/ 504825 h 4429294"/>
              <a:gd name="connsiteX53" fmla="*/ 1148544 w 4501379"/>
              <a:gd name="connsiteY53" fmla="*/ 311150 h 4429294"/>
              <a:gd name="connsiteX54" fmla="*/ 1507319 w 4501379"/>
              <a:gd name="connsiteY54" fmla="*/ 152400 h 4429294"/>
              <a:gd name="connsiteX55" fmla="*/ 1621619 w 4501379"/>
              <a:gd name="connsiteY55" fmla="*/ 111125 h 4429294"/>
              <a:gd name="connsiteX56" fmla="*/ 2253444 w 4501379"/>
              <a:gd name="connsiteY56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88094 w 4501379"/>
              <a:gd name="connsiteY44" fmla="*/ 1590675 h 4429294"/>
              <a:gd name="connsiteX45" fmla="*/ 135719 w 4501379"/>
              <a:gd name="connsiteY45" fmla="*/ 1419225 h 4429294"/>
              <a:gd name="connsiteX46" fmla="*/ 211919 w 4501379"/>
              <a:gd name="connsiteY46" fmla="*/ 1276350 h 4429294"/>
              <a:gd name="connsiteX47" fmla="*/ 297644 w 4501379"/>
              <a:gd name="connsiteY47" fmla="*/ 1114425 h 4429294"/>
              <a:gd name="connsiteX48" fmla="*/ 459569 w 4501379"/>
              <a:gd name="connsiteY48" fmla="*/ 857250 h 4429294"/>
              <a:gd name="connsiteX49" fmla="*/ 516719 w 4501379"/>
              <a:gd name="connsiteY49" fmla="*/ 800100 h 4429294"/>
              <a:gd name="connsiteX50" fmla="*/ 650069 w 4501379"/>
              <a:gd name="connsiteY50" fmla="*/ 676275 h 4429294"/>
              <a:gd name="connsiteX51" fmla="*/ 869144 w 4501379"/>
              <a:gd name="connsiteY51" fmla="*/ 504825 h 4429294"/>
              <a:gd name="connsiteX52" fmla="*/ 1148544 w 4501379"/>
              <a:gd name="connsiteY52" fmla="*/ 311150 h 4429294"/>
              <a:gd name="connsiteX53" fmla="*/ 1507319 w 4501379"/>
              <a:gd name="connsiteY53" fmla="*/ 152400 h 4429294"/>
              <a:gd name="connsiteX54" fmla="*/ 1621619 w 4501379"/>
              <a:gd name="connsiteY54" fmla="*/ 111125 h 4429294"/>
              <a:gd name="connsiteX55" fmla="*/ 2253444 w 4501379"/>
              <a:gd name="connsiteY55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88094 w 4501379"/>
              <a:gd name="connsiteY43" fmla="*/ 1590675 h 4429294"/>
              <a:gd name="connsiteX44" fmla="*/ 135719 w 4501379"/>
              <a:gd name="connsiteY44" fmla="*/ 1419225 h 4429294"/>
              <a:gd name="connsiteX45" fmla="*/ 211919 w 4501379"/>
              <a:gd name="connsiteY45" fmla="*/ 1276350 h 4429294"/>
              <a:gd name="connsiteX46" fmla="*/ 297644 w 4501379"/>
              <a:gd name="connsiteY46" fmla="*/ 1114425 h 4429294"/>
              <a:gd name="connsiteX47" fmla="*/ 459569 w 4501379"/>
              <a:gd name="connsiteY47" fmla="*/ 857250 h 4429294"/>
              <a:gd name="connsiteX48" fmla="*/ 516719 w 4501379"/>
              <a:gd name="connsiteY48" fmla="*/ 800100 h 4429294"/>
              <a:gd name="connsiteX49" fmla="*/ 650069 w 4501379"/>
              <a:gd name="connsiteY49" fmla="*/ 676275 h 4429294"/>
              <a:gd name="connsiteX50" fmla="*/ 869144 w 4501379"/>
              <a:gd name="connsiteY50" fmla="*/ 504825 h 4429294"/>
              <a:gd name="connsiteX51" fmla="*/ 1148544 w 4501379"/>
              <a:gd name="connsiteY51" fmla="*/ 311150 h 4429294"/>
              <a:gd name="connsiteX52" fmla="*/ 1507319 w 4501379"/>
              <a:gd name="connsiteY52" fmla="*/ 152400 h 4429294"/>
              <a:gd name="connsiteX53" fmla="*/ 1621619 w 4501379"/>
              <a:gd name="connsiteY53" fmla="*/ 111125 h 4429294"/>
              <a:gd name="connsiteX54" fmla="*/ 2253444 w 4501379"/>
              <a:gd name="connsiteY54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88094 w 4501379"/>
              <a:gd name="connsiteY42" fmla="*/ 1590675 h 4429294"/>
              <a:gd name="connsiteX43" fmla="*/ 135719 w 4501379"/>
              <a:gd name="connsiteY43" fmla="*/ 1419225 h 4429294"/>
              <a:gd name="connsiteX44" fmla="*/ 211919 w 4501379"/>
              <a:gd name="connsiteY44" fmla="*/ 1276350 h 4429294"/>
              <a:gd name="connsiteX45" fmla="*/ 297644 w 4501379"/>
              <a:gd name="connsiteY45" fmla="*/ 1114425 h 4429294"/>
              <a:gd name="connsiteX46" fmla="*/ 459569 w 4501379"/>
              <a:gd name="connsiteY46" fmla="*/ 857250 h 4429294"/>
              <a:gd name="connsiteX47" fmla="*/ 516719 w 4501379"/>
              <a:gd name="connsiteY47" fmla="*/ 800100 h 4429294"/>
              <a:gd name="connsiteX48" fmla="*/ 650069 w 4501379"/>
              <a:gd name="connsiteY48" fmla="*/ 676275 h 4429294"/>
              <a:gd name="connsiteX49" fmla="*/ 869144 w 4501379"/>
              <a:gd name="connsiteY49" fmla="*/ 504825 h 4429294"/>
              <a:gd name="connsiteX50" fmla="*/ 1148544 w 4501379"/>
              <a:gd name="connsiteY50" fmla="*/ 311150 h 4429294"/>
              <a:gd name="connsiteX51" fmla="*/ 1507319 w 4501379"/>
              <a:gd name="connsiteY51" fmla="*/ 152400 h 4429294"/>
              <a:gd name="connsiteX52" fmla="*/ 1621619 w 4501379"/>
              <a:gd name="connsiteY52" fmla="*/ 111125 h 4429294"/>
              <a:gd name="connsiteX53" fmla="*/ 2253444 w 4501379"/>
              <a:gd name="connsiteY53" fmla="*/ 12700 h 4429294"/>
              <a:gd name="connsiteX0" fmla="*/ 2277090 w 4499625"/>
              <a:gd name="connsiteY0" fmla="*/ 0 h 4429294"/>
              <a:gd name="connsiteX1" fmla="*/ 2600940 w 4499625"/>
              <a:gd name="connsiteY1" fmla="*/ 15875 h 4429294"/>
              <a:gd name="connsiteX2" fmla="*/ 2896215 w 4499625"/>
              <a:gd name="connsiteY2" fmla="*/ 85725 h 4429294"/>
              <a:gd name="connsiteX3" fmla="*/ 3115290 w 4499625"/>
              <a:gd name="connsiteY3" fmla="*/ 171450 h 4429294"/>
              <a:gd name="connsiteX4" fmla="*/ 3220065 w 4499625"/>
              <a:gd name="connsiteY4" fmla="*/ 228600 h 4429294"/>
              <a:gd name="connsiteX5" fmla="*/ 3401040 w 4499625"/>
              <a:gd name="connsiteY5" fmla="*/ 323850 h 4429294"/>
              <a:gd name="connsiteX6" fmla="*/ 3791565 w 4499625"/>
              <a:gd name="connsiteY6" fmla="*/ 581025 h 4429294"/>
              <a:gd name="connsiteX7" fmla="*/ 4007465 w 4499625"/>
              <a:gd name="connsiteY7" fmla="*/ 819150 h 4429294"/>
              <a:gd name="connsiteX8" fmla="*/ 4143990 w 4499625"/>
              <a:gd name="connsiteY8" fmla="*/ 990600 h 4429294"/>
              <a:gd name="connsiteX9" fmla="*/ 4229715 w 4499625"/>
              <a:gd name="connsiteY9" fmla="*/ 1143000 h 4429294"/>
              <a:gd name="connsiteX10" fmla="*/ 4286865 w 4499625"/>
              <a:gd name="connsiteY10" fmla="*/ 1266825 h 4429294"/>
              <a:gd name="connsiteX11" fmla="*/ 4324965 w 4499625"/>
              <a:gd name="connsiteY11" fmla="*/ 1362075 h 4429294"/>
              <a:gd name="connsiteX12" fmla="*/ 4372590 w 4499625"/>
              <a:gd name="connsiteY12" fmla="*/ 1552575 h 4429294"/>
              <a:gd name="connsiteX13" fmla="*/ 4410690 w 4499625"/>
              <a:gd name="connsiteY13" fmla="*/ 1685925 h 4429294"/>
              <a:gd name="connsiteX14" fmla="*/ 4499590 w 4499625"/>
              <a:gd name="connsiteY14" fmla="*/ 2181225 h 4429294"/>
              <a:gd name="connsiteX15" fmla="*/ 4426565 w 4499625"/>
              <a:gd name="connsiteY15" fmla="*/ 2768600 h 4429294"/>
              <a:gd name="connsiteX16" fmla="*/ 4363065 w 4499625"/>
              <a:gd name="connsiteY16" fmla="*/ 2990850 h 4429294"/>
              <a:gd name="connsiteX17" fmla="*/ 4258290 w 4499625"/>
              <a:gd name="connsiteY17" fmla="*/ 3248025 h 4429294"/>
              <a:gd name="connsiteX18" fmla="*/ 4163040 w 4499625"/>
              <a:gd name="connsiteY18" fmla="*/ 3400425 h 4429294"/>
              <a:gd name="connsiteX19" fmla="*/ 4039215 w 4499625"/>
              <a:gd name="connsiteY19" fmla="*/ 3533775 h 4429294"/>
              <a:gd name="connsiteX20" fmla="*/ 3934440 w 4499625"/>
              <a:gd name="connsiteY20" fmla="*/ 3648075 h 4429294"/>
              <a:gd name="connsiteX21" fmla="*/ 3639165 w 4499625"/>
              <a:gd name="connsiteY21" fmla="*/ 3971925 h 4429294"/>
              <a:gd name="connsiteX22" fmla="*/ 3496290 w 4499625"/>
              <a:gd name="connsiteY22" fmla="*/ 4083050 h 4429294"/>
              <a:gd name="connsiteX23" fmla="*/ 3201015 w 4499625"/>
              <a:gd name="connsiteY23" fmla="*/ 4222750 h 4429294"/>
              <a:gd name="connsiteX24" fmla="*/ 3048615 w 4499625"/>
              <a:gd name="connsiteY24" fmla="*/ 4286250 h 4429294"/>
              <a:gd name="connsiteX25" fmla="*/ 2915265 w 4499625"/>
              <a:gd name="connsiteY25" fmla="*/ 4333875 h 4429294"/>
              <a:gd name="connsiteX26" fmla="*/ 2791440 w 4499625"/>
              <a:gd name="connsiteY26" fmla="*/ 4371975 h 4429294"/>
              <a:gd name="connsiteX27" fmla="*/ 2559665 w 4499625"/>
              <a:gd name="connsiteY27" fmla="*/ 4391025 h 4429294"/>
              <a:gd name="connsiteX28" fmla="*/ 2105640 w 4499625"/>
              <a:gd name="connsiteY28" fmla="*/ 4429125 h 4429294"/>
              <a:gd name="connsiteX29" fmla="*/ 1915140 w 4499625"/>
              <a:gd name="connsiteY29" fmla="*/ 4400550 h 4429294"/>
              <a:gd name="connsiteX30" fmla="*/ 1553190 w 4499625"/>
              <a:gd name="connsiteY30" fmla="*/ 4305300 h 4429294"/>
              <a:gd name="connsiteX31" fmla="*/ 1311890 w 4499625"/>
              <a:gd name="connsiteY31" fmla="*/ 4216400 h 4429294"/>
              <a:gd name="connsiteX32" fmla="*/ 1143615 w 4499625"/>
              <a:gd name="connsiteY32" fmla="*/ 4111625 h 4429294"/>
              <a:gd name="connsiteX33" fmla="*/ 924540 w 4499625"/>
              <a:gd name="connsiteY33" fmla="*/ 3968750 h 4429294"/>
              <a:gd name="connsiteX34" fmla="*/ 591165 w 4499625"/>
              <a:gd name="connsiteY34" fmla="*/ 3657600 h 4429294"/>
              <a:gd name="connsiteX35" fmla="*/ 445115 w 4499625"/>
              <a:gd name="connsiteY35" fmla="*/ 3470275 h 4429294"/>
              <a:gd name="connsiteX36" fmla="*/ 314940 w 4499625"/>
              <a:gd name="connsiteY36" fmla="*/ 3244850 h 4429294"/>
              <a:gd name="connsiteX37" fmla="*/ 162540 w 4499625"/>
              <a:gd name="connsiteY37" fmla="*/ 2892425 h 4429294"/>
              <a:gd name="connsiteX38" fmla="*/ 54590 w 4499625"/>
              <a:gd name="connsiteY38" fmla="*/ 2368550 h 4429294"/>
              <a:gd name="connsiteX39" fmla="*/ 615 w 4499625"/>
              <a:gd name="connsiteY39" fmla="*/ 1905000 h 4429294"/>
              <a:gd name="connsiteX40" fmla="*/ 29190 w 4499625"/>
              <a:gd name="connsiteY40" fmla="*/ 1781175 h 4429294"/>
              <a:gd name="connsiteX41" fmla="*/ 86340 w 4499625"/>
              <a:gd name="connsiteY41" fmla="*/ 1590675 h 4429294"/>
              <a:gd name="connsiteX42" fmla="*/ 133965 w 4499625"/>
              <a:gd name="connsiteY42" fmla="*/ 1419225 h 4429294"/>
              <a:gd name="connsiteX43" fmla="*/ 210165 w 4499625"/>
              <a:gd name="connsiteY43" fmla="*/ 1276350 h 4429294"/>
              <a:gd name="connsiteX44" fmla="*/ 295890 w 4499625"/>
              <a:gd name="connsiteY44" fmla="*/ 1114425 h 4429294"/>
              <a:gd name="connsiteX45" fmla="*/ 457815 w 4499625"/>
              <a:gd name="connsiteY45" fmla="*/ 857250 h 4429294"/>
              <a:gd name="connsiteX46" fmla="*/ 514965 w 4499625"/>
              <a:gd name="connsiteY46" fmla="*/ 800100 h 4429294"/>
              <a:gd name="connsiteX47" fmla="*/ 648315 w 4499625"/>
              <a:gd name="connsiteY47" fmla="*/ 676275 h 4429294"/>
              <a:gd name="connsiteX48" fmla="*/ 867390 w 4499625"/>
              <a:gd name="connsiteY48" fmla="*/ 504825 h 4429294"/>
              <a:gd name="connsiteX49" fmla="*/ 1146790 w 4499625"/>
              <a:gd name="connsiteY49" fmla="*/ 311150 h 4429294"/>
              <a:gd name="connsiteX50" fmla="*/ 1505565 w 4499625"/>
              <a:gd name="connsiteY50" fmla="*/ 152400 h 4429294"/>
              <a:gd name="connsiteX51" fmla="*/ 1619865 w 4499625"/>
              <a:gd name="connsiteY51" fmla="*/ 111125 h 4429294"/>
              <a:gd name="connsiteX52" fmla="*/ 2251690 w 4499625"/>
              <a:gd name="connsiteY52" fmla="*/ 12700 h 4429294"/>
              <a:gd name="connsiteX0" fmla="*/ 2249427 w 4471962"/>
              <a:gd name="connsiteY0" fmla="*/ 0 h 4429294"/>
              <a:gd name="connsiteX1" fmla="*/ 2573277 w 4471962"/>
              <a:gd name="connsiteY1" fmla="*/ 15875 h 4429294"/>
              <a:gd name="connsiteX2" fmla="*/ 2868552 w 4471962"/>
              <a:gd name="connsiteY2" fmla="*/ 85725 h 4429294"/>
              <a:gd name="connsiteX3" fmla="*/ 3087627 w 4471962"/>
              <a:gd name="connsiteY3" fmla="*/ 171450 h 4429294"/>
              <a:gd name="connsiteX4" fmla="*/ 3192402 w 4471962"/>
              <a:gd name="connsiteY4" fmla="*/ 228600 h 4429294"/>
              <a:gd name="connsiteX5" fmla="*/ 3373377 w 4471962"/>
              <a:gd name="connsiteY5" fmla="*/ 323850 h 4429294"/>
              <a:gd name="connsiteX6" fmla="*/ 3763902 w 4471962"/>
              <a:gd name="connsiteY6" fmla="*/ 581025 h 4429294"/>
              <a:gd name="connsiteX7" fmla="*/ 3979802 w 4471962"/>
              <a:gd name="connsiteY7" fmla="*/ 819150 h 4429294"/>
              <a:gd name="connsiteX8" fmla="*/ 4116327 w 4471962"/>
              <a:gd name="connsiteY8" fmla="*/ 990600 h 4429294"/>
              <a:gd name="connsiteX9" fmla="*/ 4202052 w 4471962"/>
              <a:gd name="connsiteY9" fmla="*/ 1143000 h 4429294"/>
              <a:gd name="connsiteX10" fmla="*/ 4259202 w 4471962"/>
              <a:gd name="connsiteY10" fmla="*/ 1266825 h 4429294"/>
              <a:gd name="connsiteX11" fmla="*/ 4297302 w 4471962"/>
              <a:gd name="connsiteY11" fmla="*/ 1362075 h 4429294"/>
              <a:gd name="connsiteX12" fmla="*/ 4344927 w 4471962"/>
              <a:gd name="connsiteY12" fmla="*/ 1552575 h 4429294"/>
              <a:gd name="connsiteX13" fmla="*/ 4383027 w 4471962"/>
              <a:gd name="connsiteY13" fmla="*/ 1685925 h 4429294"/>
              <a:gd name="connsiteX14" fmla="*/ 4471927 w 4471962"/>
              <a:gd name="connsiteY14" fmla="*/ 2181225 h 4429294"/>
              <a:gd name="connsiteX15" fmla="*/ 4398902 w 4471962"/>
              <a:gd name="connsiteY15" fmla="*/ 2768600 h 4429294"/>
              <a:gd name="connsiteX16" fmla="*/ 4335402 w 4471962"/>
              <a:gd name="connsiteY16" fmla="*/ 2990850 h 4429294"/>
              <a:gd name="connsiteX17" fmla="*/ 4230627 w 4471962"/>
              <a:gd name="connsiteY17" fmla="*/ 3248025 h 4429294"/>
              <a:gd name="connsiteX18" fmla="*/ 4135377 w 4471962"/>
              <a:gd name="connsiteY18" fmla="*/ 3400425 h 4429294"/>
              <a:gd name="connsiteX19" fmla="*/ 4011552 w 4471962"/>
              <a:gd name="connsiteY19" fmla="*/ 3533775 h 4429294"/>
              <a:gd name="connsiteX20" fmla="*/ 3906777 w 4471962"/>
              <a:gd name="connsiteY20" fmla="*/ 3648075 h 4429294"/>
              <a:gd name="connsiteX21" fmla="*/ 3611502 w 4471962"/>
              <a:gd name="connsiteY21" fmla="*/ 3971925 h 4429294"/>
              <a:gd name="connsiteX22" fmla="*/ 3468627 w 4471962"/>
              <a:gd name="connsiteY22" fmla="*/ 4083050 h 4429294"/>
              <a:gd name="connsiteX23" fmla="*/ 3173352 w 4471962"/>
              <a:gd name="connsiteY23" fmla="*/ 4222750 h 4429294"/>
              <a:gd name="connsiteX24" fmla="*/ 3020952 w 4471962"/>
              <a:gd name="connsiteY24" fmla="*/ 4286250 h 4429294"/>
              <a:gd name="connsiteX25" fmla="*/ 2887602 w 4471962"/>
              <a:gd name="connsiteY25" fmla="*/ 4333875 h 4429294"/>
              <a:gd name="connsiteX26" fmla="*/ 2763777 w 4471962"/>
              <a:gd name="connsiteY26" fmla="*/ 4371975 h 4429294"/>
              <a:gd name="connsiteX27" fmla="*/ 2532002 w 4471962"/>
              <a:gd name="connsiteY27" fmla="*/ 4391025 h 4429294"/>
              <a:gd name="connsiteX28" fmla="*/ 2077977 w 4471962"/>
              <a:gd name="connsiteY28" fmla="*/ 4429125 h 4429294"/>
              <a:gd name="connsiteX29" fmla="*/ 1887477 w 4471962"/>
              <a:gd name="connsiteY29" fmla="*/ 4400550 h 4429294"/>
              <a:gd name="connsiteX30" fmla="*/ 1525527 w 4471962"/>
              <a:gd name="connsiteY30" fmla="*/ 4305300 h 4429294"/>
              <a:gd name="connsiteX31" fmla="*/ 1284227 w 4471962"/>
              <a:gd name="connsiteY31" fmla="*/ 4216400 h 4429294"/>
              <a:gd name="connsiteX32" fmla="*/ 1115952 w 4471962"/>
              <a:gd name="connsiteY32" fmla="*/ 4111625 h 4429294"/>
              <a:gd name="connsiteX33" fmla="*/ 896877 w 4471962"/>
              <a:gd name="connsiteY33" fmla="*/ 3968750 h 4429294"/>
              <a:gd name="connsiteX34" fmla="*/ 563502 w 4471962"/>
              <a:gd name="connsiteY34" fmla="*/ 3657600 h 4429294"/>
              <a:gd name="connsiteX35" fmla="*/ 417452 w 4471962"/>
              <a:gd name="connsiteY35" fmla="*/ 3470275 h 4429294"/>
              <a:gd name="connsiteX36" fmla="*/ 287277 w 4471962"/>
              <a:gd name="connsiteY36" fmla="*/ 3244850 h 4429294"/>
              <a:gd name="connsiteX37" fmla="*/ 134877 w 4471962"/>
              <a:gd name="connsiteY37" fmla="*/ 2892425 h 4429294"/>
              <a:gd name="connsiteX38" fmla="*/ 26927 w 4471962"/>
              <a:gd name="connsiteY38" fmla="*/ 2368550 h 4429294"/>
              <a:gd name="connsiteX39" fmla="*/ 1527 w 4471962"/>
              <a:gd name="connsiteY39" fmla="*/ 1781175 h 4429294"/>
              <a:gd name="connsiteX40" fmla="*/ 58677 w 4471962"/>
              <a:gd name="connsiteY40" fmla="*/ 1590675 h 4429294"/>
              <a:gd name="connsiteX41" fmla="*/ 106302 w 4471962"/>
              <a:gd name="connsiteY41" fmla="*/ 1419225 h 4429294"/>
              <a:gd name="connsiteX42" fmla="*/ 182502 w 4471962"/>
              <a:gd name="connsiteY42" fmla="*/ 1276350 h 4429294"/>
              <a:gd name="connsiteX43" fmla="*/ 268227 w 4471962"/>
              <a:gd name="connsiteY43" fmla="*/ 1114425 h 4429294"/>
              <a:gd name="connsiteX44" fmla="*/ 430152 w 4471962"/>
              <a:gd name="connsiteY44" fmla="*/ 857250 h 4429294"/>
              <a:gd name="connsiteX45" fmla="*/ 487302 w 4471962"/>
              <a:gd name="connsiteY45" fmla="*/ 800100 h 4429294"/>
              <a:gd name="connsiteX46" fmla="*/ 620652 w 4471962"/>
              <a:gd name="connsiteY46" fmla="*/ 676275 h 4429294"/>
              <a:gd name="connsiteX47" fmla="*/ 839727 w 4471962"/>
              <a:gd name="connsiteY47" fmla="*/ 504825 h 4429294"/>
              <a:gd name="connsiteX48" fmla="*/ 1119127 w 4471962"/>
              <a:gd name="connsiteY48" fmla="*/ 311150 h 4429294"/>
              <a:gd name="connsiteX49" fmla="*/ 1477902 w 4471962"/>
              <a:gd name="connsiteY49" fmla="*/ 152400 h 4429294"/>
              <a:gd name="connsiteX50" fmla="*/ 1592202 w 4471962"/>
              <a:gd name="connsiteY50" fmla="*/ 111125 h 4429294"/>
              <a:gd name="connsiteX51" fmla="*/ 2224027 w 4471962"/>
              <a:gd name="connsiteY51" fmla="*/ 12700 h 4429294"/>
              <a:gd name="connsiteX0" fmla="*/ 2231942 w 4454477"/>
              <a:gd name="connsiteY0" fmla="*/ 0 h 4429294"/>
              <a:gd name="connsiteX1" fmla="*/ 2555792 w 4454477"/>
              <a:gd name="connsiteY1" fmla="*/ 15875 h 4429294"/>
              <a:gd name="connsiteX2" fmla="*/ 2851067 w 4454477"/>
              <a:gd name="connsiteY2" fmla="*/ 85725 h 4429294"/>
              <a:gd name="connsiteX3" fmla="*/ 3070142 w 4454477"/>
              <a:gd name="connsiteY3" fmla="*/ 171450 h 4429294"/>
              <a:gd name="connsiteX4" fmla="*/ 3174917 w 4454477"/>
              <a:gd name="connsiteY4" fmla="*/ 228600 h 4429294"/>
              <a:gd name="connsiteX5" fmla="*/ 3355892 w 4454477"/>
              <a:gd name="connsiteY5" fmla="*/ 323850 h 4429294"/>
              <a:gd name="connsiteX6" fmla="*/ 3746417 w 4454477"/>
              <a:gd name="connsiteY6" fmla="*/ 581025 h 4429294"/>
              <a:gd name="connsiteX7" fmla="*/ 3962317 w 4454477"/>
              <a:gd name="connsiteY7" fmla="*/ 819150 h 4429294"/>
              <a:gd name="connsiteX8" fmla="*/ 4098842 w 4454477"/>
              <a:gd name="connsiteY8" fmla="*/ 990600 h 4429294"/>
              <a:gd name="connsiteX9" fmla="*/ 4184567 w 4454477"/>
              <a:gd name="connsiteY9" fmla="*/ 1143000 h 4429294"/>
              <a:gd name="connsiteX10" fmla="*/ 4241717 w 4454477"/>
              <a:gd name="connsiteY10" fmla="*/ 1266825 h 4429294"/>
              <a:gd name="connsiteX11" fmla="*/ 4279817 w 4454477"/>
              <a:gd name="connsiteY11" fmla="*/ 1362075 h 4429294"/>
              <a:gd name="connsiteX12" fmla="*/ 4327442 w 4454477"/>
              <a:gd name="connsiteY12" fmla="*/ 1552575 h 4429294"/>
              <a:gd name="connsiteX13" fmla="*/ 4365542 w 4454477"/>
              <a:gd name="connsiteY13" fmla="*/ 1685925 h 4429294"/>
              <a:gd name="connsiteX14" fmla="*/ 4454442 w 4454477"/>
              <a:gd name="connsiteY14" fmla="*/ 2181225 h 4429294"/>
              <a:gd name="connsiteX15" fmla="*/ 4381417 w 4454477"/>
              <a:gd name="connsiteY15" fmla="*/ 2768600 h 4429294"/>
              <a:gd name="connsiteX16" fmla="*/ 4317917 w 4454477"/>
              <a:gd name="connsiteY16" fmla="*/ 2990850 h 4429294"/>
              <a:gd name="connsiteX17" fmla="*/ 4213142 w 4454477"/>
              <a:gd name="connsiteY17" fmla="*/ 3248025 h 4429294"/>
              <a:gd name="connsiteX18" fmla="*/ 4117892 w 4454477"/>
              <a:gd name="connsiteY18" fmla="*/ 3400425 h 4429294"/>
              <a:gd name="connsiteX19" fmla="*/ 3994067 w 4454477"/>
              <a:gd name="connsiteY19" fmla="*/ 3533775 h 4429294"/>
              <a:gd name="connsiteX20" fmla="*/ 3889292 w 4454477"/>
              <a:gd name="connsiteY20" fmla="*/ 3648075 h 4429294"/>
              <a:gd name="connsiteX21" fmla="*/ 3594017 w 4454477"/>
              <a:gd name="connsiteY21" fmla="*/ 3971925 h 4429294"/>
              <a:gd name="connsiteX22" fmla="*/ 3451142 w 4454477"/>
              <a:gd name="connsiteY22" fmla="*/ 4083050 h 4429294"/>
              <a:gd name="connsiteX23" fmla="*/ 3155867 w 4454477"/>
              <a:gd name="connsiteY23" fmla="*/ 4222750 h 4429294"/>
              <a:gd name="connsiteX24" fmla="*/ 3003467 w 4454477"/>
              <a:gd name="connsiteY24" fmla="*/ 4286250 h 4429294"/>
              <a:gd name="connsiteX25" fmla="*/ 2870117 w 4454477"/>
              <a:gd name="connsiteY25" fmla="*/ 4333875 h 4429294"/>
              <a:gd name="connsiteX26" fmla="*/ 2746292 w 4454477"/>
              <a:gd name="connsiteY26" fmla="*/ 4371975 h 4429294"/>
              <a:gd name="connsiteX27" fmla="*/ 2514517 w 4454477"/>
              <a:gd name="connsiteY27" fmla="*/ 4391025 h 4429294"/>
              <a:gd name="connsiteX28" fmla="*/ 2060492 w 4454477"/>
              <a:gd name="connsiteY28" fmla="*/ 4429125 h 4429294"/>
              <a:gd name="connsiteX29" fmla="*/ 1869992 w 4454477"/>
              <a:gd name="connsiteY29" fmla="*/ 4400550 h 4429294"/>
              <a:gd name="connsiteX30" fmla="*/ 1508042 w 4454477"/>
              <a:gd name="connsiteY30" fmla="*/ 4305300 h 4429294"/>
              <a:gd name="connsiteX31" fmla="*/ 1266742 w 4454477"/>
              <a:gd name="connsiteY31" fmla="*/ 4216400 h 4429294"/>
              <a:gd name="connsiteX32" fmla="*/ 1098467 w 4454477"/>
              <a:gd name="connsiteY32" fmla="*/ 4111625 h 4429294"/>
              <a:gd name="connsiteX33" fmla="*/ 879392 w 4454477"/>
              <a:gd name="connsiteY33" fmla="*/ 3968750 h 4429294"/>
              <a:gd name="connsiteX34" fmla="*/ 546017 w 4454477"/>
              <a:gd name="connsiteY34" fmla="*/ 3657600 h 4429294"/>
              <a:gd name="connsiteX35" fmla="*/ 399967 w 4454477"/>
              <a:gd name="connsiteY35" fmla="*/ 3470275 h 4429294"/>
              <a:gd name="connsiteX36" fmla="*/ 269792 w 4454477"/>
              <a:gd name="connsiteY36" fmla="*/ 3244850 h 4429294"/>
              <a:gd name="connsiteX37" fmla="*/ 117392 w 4454477"/>
              <a:gd name="connsiteY37" fmla="*/ 2892425 h 4429294"/>
              <a:gd name="connsiteX38" fmla="*/ 9442 w 4454477"/>
              <a:gd name="connsiteY38" fmla="*/ 2368550 h 4429294"/>
              <a:gd name="connsiteX39" fmla="*/ 15792 w 4454477"/>
              <a:gd name="connsiteY39" fmla="*/ 1870075 h 4429294"/>
              <a:gd name="connsiteX40" fmla="*/ 41192 w 4454477"/>
              <a:gd name="connsiteY40" fmla="*/ 1590675 h 4429294"/>
              <a:gd name="connsiteX41" fmla="*/ 88817 w 4454477"/>
              <a:gd name="connsiteY41" fmla="*/ 1419225 h 4429294"/>
              <a:gd name="connsiteX42" fmla="*/ 165017 w 4454477"/>
              <a:gd name="connsiteY42" fmla="*/ 1276350 h 4429294"/>
              <a:gd name="connsiteX43" fmla="*/ 250742 w 4454477"/>
              <a:gd name="connsiteY43" fmla="*/ 1114425 h 4429294"/>
              <a:gd name="connsiteX44" fmla="*/ 412667 w 4454477"/>
              <a:gd name="connsiteY44" fmla="*/ 857250 h 4429294"/>
              <a:gd name="connsiteX45" fmla="*/ 469817 w 4454477"/>
              <a:gd name="connsiteY45" fmla="*/ 800100 h 4429294"/>
              <a:gd name="connsiteX46" fmla="*/ 603167 w 4454477"/>
              <a:gd name="connsiteY46" fmla="*/ 676275 h 4429294"/>
              <a:gd name="connsiteX47" fmla="*/ 822242 w 4454477"/>
              <a:gd name="connsiteY47" fmla="*/ 504825 h 4429294"/>
              <a:gd name="connsiteX48" fmla="*/ 1101642 w 4454477"/>
              <a:gd name="connsiteY48" fmla="*/ 311150 h 4429294"/>
              <a:gd name="connsiteX49" fmla="*/ 1460417 w 4454477"/>
              <a:gd name="connsiteY49" fmla="*/ 152400 h 4429294"/>
              <a:gd name="connsiteX50" fmla="*/ 1574717 w 4454477"/>
              <a:gd name="connsiteY50" fmla="*/ 111125 h 4429294"/>
              <a:gd name="connsiteX51" fmla="*/ 2206542 w 4454477"/>
              <a:gd name="connsiteY51" fmla="*/ 12700 h 4429294"/>
              <a:gd name="connsiteX0" fmla="*/ 2233750 w 4456285"/>
              <a:gd name="connsiteY0" fmla="*/ 0 h 4429294"/>
              <a:gd name="connsiteX1" fmla="*/ 2557600 w 4456285"/>
              <a:gd name="connsiteY1" fmla="*/ 15875 h 4429294"/>
              <a:gd name="connsiteX2" fmla="*/ 2852875 w 4456285"/>
              <a:gd name="connsiteY2" fmla="*/ 85725 h 4429294"/>
              <a:gd name="connsiteX3" fmla="*/ 3071950 w 4456285"/>
              <a:gd name="connsiteY3" fmla="*/ 171450 h 4429294"/>
              <a:gd name="connsiteX4" fmla="*/ 3176725 w 4456285"/>
              <a:gd name="connsiteY4" fmla="*/ 228600 h 4429294"/>
              <a:gd name="connsiteX5" fmla="*/ 3357700 w 4456285"/>
              <a:gd name="connsiteY5" fmla="*/ 323850 h 4429294"/>
              <a:gd name="connsiteX6" fmla="*/ 3748225 w 4456285"/>
              <a:gd name="connsiteY6" fmla="*/ 581025 h 4429294"/>
              <a:gd name="connsiteX7" fmla="*/ 3964125 w 4456285"/>
              <a:gd name="connsiteY7" fmla="*/ 819150 h 4429294"/>
              <a:gd name="connsiteX8" fmla="*/ 4100650 w 4456285"/>
              <a:gd name="connsiteY8" fmla="*/ 990600 h 4429294"/>
              <a:gd name="connsiteX9" fmla="*/ 4186375 w 4456285"/>
              <a:gd name="connsiteY9" fmla="*/ 1143000 h 4429294"/>
              <a:gd name="connsiteX10" fmla="*/ 4243525 w 4456285"/>
              <a:gd name="connsiteY10" fmla="*/ 1266825 h 4429294"/>
              <a:gd name="connsiteX11" fmla="*/ 4281625 w 4456285"/>
              <a:gd name="connsiteY11" fmla="*/ 1362075 h 4429294"/>
              <a:gd name="connsiteX12" fmla="*/ 4329250 w 4456285"/>
              <a:gd name="connsiteY12" fmla="*/ 1552575 h 4429294"/>
              <a:gd name="connsiteX13" fmla="*/ 4367350 w 4456285"/>
              <a:gd name="connsiteY13" fmla="*/ 1685925 h 4429294"/>
              <a:gd name="connsiteX14" fmla="*/ 4456250 w 4456285"/>
              <a:gd name="connsiteY14" fmla="*/ 2181225 h 4429294"/>
              <a:gd name="connsiteX15" fmla="*/ 4383225 w 4456285"/>
              <a:gd name="connsiteY15" fmla="*/ 2768600 h 4429294"/>
              <a:gd name="connsiteX16" fmla="*/ 4319725 w 4456285"/>
              <a:gd name="connsiteY16" fmla="*/ 2990850 h 4429294"/>
              <a:gd name="connsiteX17" fmla="*/ 4214950 w 4456285"/>
              <a:gd name="connsiteY17" fmla="*/ 3248025 h 4429294"/>
              <a:gd name="connsiteX18" fmla="*/ 4119700 w 4456285"/>
              <a:gd name="connsiteY18" fmla="*/ 3400425 h 4429294"/>
              <a:gd name="connsiteX19" fmla="*/ 3995875 w 4456285"/>
              <a:gd name="connsiteY19" fmla="*/ 3533775 h 4429294"/>
              <a:gd name="connsiteX20" fmla="*/ 3891100 w 4456285"/>
              <a:gd name="connsiteY20" fmla="*/ 3648075 h 4429294"/>
              <a:gd name="connsiteX21" fmla="*/ 3595825 w 4456285"/>
              <a:gd name="connsiteY21" fmla="*/ 3971925 h 4429294"/>
              <a:gd name="connsiteX22" fmla="*/ 3452950 w 4456285"/>
              <a:gd name="connsiteY22" fmla="*/ 4083050 h 4429294"/>
              <a:gd name="connsiteX23" fmla="*/ 3157675 w 4456285"/>
              <a:gd name="connsiteY23" fmla="*/ 4222750 h 4429294"/>
              <a:gd name="connsiteX24" fmla="*/ 3005275 w 4456285"/>
              <a:gd name="connsiteY24" fmla="*/ 4286250 h 4429294"/>
              <a:gd name="connsiteX25" fmla="*/ 2871925 w 4456285"/>
              <a:gd name="connsiteY25" fmla="*/ 4333875 h 4429294"/>
              <a:gd name="connsiteX26" fmla="*/ 2748100 w 4456285"/>
              <a:gd name="connsiteY26" fmla="*/ 4371975 h 4429294"/>
              <a:gd name="connsiteX27" fmla="*/ 2516325 w 4456285"/>
              <a:gd name="connsiteY27" fmla="*/ 4391025 h 4429294"/>
              <a:gd name="connsiteX28" fmla="*/ 2062300 w 4456285"/>
              <a:gd name="connsiteY28" fmla="*/ 4429125 h 4429294"/>
              <a:gd name="connsiteX29" fmla="*/ 1871800 w 4456285"/>
              <a:gd name="connsiteY29" fmla="*/ 4400550 h 4429294"/>
              <a:gd name="connsiteX30" fmla="*/ 1509850 w 4456285"/>
              <a:gd name="connsiteY30" fmla="*/ 4305300 h 4429294"/>
              <a:gd name="connsiteX31" fmla="*/ 1268550 w 4456285"/>
              <a:gd name="connsiteY31" fmla="*/ 4216400 h 4429294"/>
              <a:gd name="connsiteX32" fmla="*/ 1100275 w 4456285"/>
              <a:gd name="connsiteY32" fmla="*/ 4111625 h 4429294"/>
              <a:gd name="connsiteX33" fmla="*/ 881200 w 4456285"/>
              <a:gd name="connsiteY33" fmla="*/ 3968750 h 4429294"/>
              <a:gd name="connsiteX34" fmla="*/ 547825 w 4456285"/>
              <a:gd name="connsiteY34" fmla="*/ 3657600 h 4429294"/>
              <a:gd name="connsiteX35" fmla="*/ 401775 w 4456285"/>
              <a:gd name="connsiteY35" fmla="*/ 3470275 h 4429294"/>
              <a:gd name="connsiteX36" fmla="*/ 271600 w 4456285"/>
              <a:gd name="connsiteY36" fmla="*/ 3244850 h 4429294"/>
              <a:gd name="connsiteX37" fmla="*/ 119200 w 4456285"/>
              <a:gd name="connsiteY37" fmla="*/ 2892425 h 4429294"/>
              <a:gd name="connsiteX38" fmla="*/ 11250 w 4456285"/>
              <a:gd name="connsiteY38" fmla="*/ 2368550 h 4429294"/>
              <a:gd name="connsiteX39" fmla="*/ 17600 w 4456285"/>
              <a:gd name="connsiteY39" fmla="*/ 1870075 h 4429294"/>
              <a:gd name="connsiteX40" fmla="*/ 90625 w 4456285"/>
              <a:gd name="connsiteY40" fmla="*/ 1419225 h 4429294"/>
              <a:gd name="connsiteX41" fmla="*/ 166825 w 4456285"/>
              <a:gd name="connsiteY41" fmla="*/ 1276350 h 4429294"/>
              <a:gd name="connsiteX42" fmla="*/ 252550 w 4456285"/>
              <a:gd name="connsiteY42" fmla="*/ 1114425 h 4429294"/>
              <a:gd name="connsiteX43" fmla="*/ 414475 w 4456285"/>
              <a:gd name="connsiteY43" fmla="*/ 857250 h 4429294"/>
              <a:gd name="connsiteX44" fmla="*/ 471625 w 4456285"/>
              <a:gd name="connsiteY44" fmla="*/ 800100 h 4429294"/>
              <a:gd name="connsiteX45" fmla="*/ 604975 w 4456285"/>
              <a:gd name="connsiteY45" fmla="*/ 676275 h 4429294"/>
              <a:gd name="connsiteX46" fmla="*/ 824050 w 4456285"/>
              <a:gd name="connsiteY46" fmla="*/ 504825 h 4429294"/>
              <a:gd name="connsiteX47" fmla="*/ 1103450 w 4456285"/>
              <a:gd name="connsiteY47" fmla="*/ 311150 h 4429294"/>
              <a:gd name="connsiteX48" fmla="*/ 1462225 w 4456285"/>
              <a:gd name="connsiteY48" fmla="*/ 152400 h 4429294"/>
              <a:gd name="connsiteX49" fmla="*/ 1576525 w 4456285"/>
              <a:gd name="connsiteY49" fmla="*/ 111125 h 4429294"/>
              <a:gd name="connsiteX50" fmla="*/ 2208350 w 4456285"/>
              <a:gd name="connsiteY50" fmla="*/ 12700 h 4429294"/>
              <a:gd name="connsiteX0" fmla="*/ 2237540 w 4460075"/>
              <a:gd name="connsiteY0" fmla="*/ 0 h 4429294"/>
              <a:gd name="connsiteX1" fmla="*/ 2561390 w 4460075"/>
              <a:gd name="connsiteY1" fmla="*/ 15875 h 4429294"/>
              <a:gd name="connsiteX2" fmla="*/ 2856665 w 4460075"/>
              <a:gd name="connsiteY2" fmla="*/ 85725 h 4429294"/>
              <a:gd name="connsiteX3" fmla="*/ 3075740 w 4460075"/>
              <a:gd name="connsiteY3" fmla="*/ 171450 h 4429294"/>
              <a:gd name="connsiteX4" fmla="*/ 3180515 w 4460075"/>
              <a:gd name="connsiteY4" fmla="*/ 228600 h 4429294"/>
              <a:gd name="connsiteX5" fmla="*/ 3361490 w 4460075"/>
              <a:gd name="connsiteY5" fmla="*/ 323850 h 4429294"/>
              <a:gd name="connsiteX6" fmla="*/ 3752015 w 4460075"/>
              <a:gd name="connsiteY6" fmla="*/ 581025 h 4429294"/>
              <a:gd name="connsiteX7" fmla="*/ 3967915 w 4460075"/>
              <a:gd name="connsiteY7" fmla="*/ 819150 h 4429294"/>
              <a:gd name="connsiteX8" fmla="*/ 4104440 w 4460075"/>
              <a:gd name="connsiteY8" fmla="*/ 990600 h 4429294"/>
              <a:gd name="connsiteX9" fmla="*/ 4190165 w 4460075"/>
              <a:gd name="connsiteY9" fmla="*/ 1143000 h 4429294"/>
              <a:gd name="connsiteX10" fmla="*/ 4247315 w 4460075"/>
              <a:gd name="connsiteY10" fmla="*/ 1266825 h 4429294"/>
              <a:gd name="connsiteX11" fmla="*/ 4285415 w 4460075"/>
              <a:gd name="connsiteY11" fmla="*/ 1362075 h 4429294"/>
              <a:gd name="connsiteX12" fmla="*/ 4333040 w 4460075"/>
              <a:gd name="connsiteY12" fmla="*/ 1552575 h 4429294"/>
              <a:gd name="connsiteX13" fmla="*/ 4371140 w 4460075"/>
              <a:gd name="connsiteY13" fmla="*/ 1685925 h 4429294"/>
              <a:gd name="connsiteX14" fmla="*/ 4460040 w 4460075"/>
              <a:gd name="connsiteY14" fmla="*/ 2181225 h 4429294"/>
              <a:gd name="connsiteX15" fmla="*/ 4387015 w 4460075"/>
              <a:gd name="connsiteY15" fmla="*/ 2768600 h 4429294"/>
              <a:gd name="connsiteX16" fmla="*/ 4323515 w 4460075"/>
              <a:gd name="connsiteY16" fmla="*/ 2990850 h 4429294"/>
              <a:gd name="connsiteX17" fmla="*/ 4218740 w 4460075"/>
              <a:gd name="connsiteY17" fmla="*/ 3248025 h 4429294"/>
              <a:gd name="connsiteX18" fmla="*/ 4123490 w 4460075"/>
              <a:gd name="connsiteY18" fmla="*/ 3400425 h 4429294"/>
              <a:gd name="connsiteX19" fmla="*/ 3999665 w 4460075"/>
              <a:gd name="connsiteY19" fmla="*/ 3533775 h 4429294"/>
              <a:gd name="connsiteX20" fmla="*/ 3894890 w 4460075"/>
              <a:gd name="connsiteY20" fmla="*/ 3648075 h 4429294"/>
              <a:gd name="connsiteX21" fmla="*/ 3599615 w 4460075"/>
              <a:gd name="connsiteY21" fmla="*/ 3971925 h 4429294"/>
              <a:gd name="connsiteX22" fmla="*/ 3456740 w 4460075"/>
              <a:gd name="connsiteY22" fmla="*/ 4083050 h 4429294"/>
              <a:gd name="connsiteX23" fmla="*/ 3161465 w 4460075"/>
              <a:gd name="connsiteY23" fmla="*/ 4222750 h 4429294"/>
              <a:gd name="connsiteX24" fmla="*/ 3009065 w 4460075"/>
              <a:gd name="connsiteY24" fmla="*/ 4286250 h 4429294"/>
              <a:gd name="connsiteX25" fmla="*/ 2875715 w 4460075"/>
              <a:gd name="connsiteY25" fmla="*/ 4333875 h 4429294"/>
              <a:gd name="connsiteX26" fmla="*/ 2751890 w 4460075"/>
              <a:gd name="connsiteY26" fmla="*/ 4371975 h 4429294"/>
              <a:gd name="connsiteX27" fmla="*/ 2520115 w 4460075"/>
              <a:gd name="connsiteY27" fmla="*/ 4391025 h 4429294"/>
              <a:gd name="connsiteX28" fmla="*/ 2066090 w 4460075"/>
              <a:gd name="connsiteY28" fmla="*/ 4429125 h 4429294"/>
              <a:gd name="connsiteX29" fmla="*/ 1875590 w 4460075"/>
              <a:gd name="connsiteY29" fmla="*/ 4400550 h 4429294"/>
              <a:gd name="connsiteX30" fmla="*/ 1513640 w 4460075"/>
              <a:gd name="connsiteY30" fmla="*/ 4305300 h 4429294"/>
              <a:gd name="connsiteX31" fmla="*/ 1272340 w 4460075"/>
              <a:gd name="connsiteY31" fmla="*/ 4216400 h 4429294"/>
              <a:gd name="connsiteX32" fmla="*/ 1104065 w 4460075"/>
              <a:gd name="connsiteY32" fmla="*/ 4111625 h 4429294"/>
              <a:gd name="connsiteX33" fmla="*/ 884990 w 4460075"/>
              <a:gd name="connsiteY33" fmla="*/ 3968750 h 4429294"/>
              <a:gd name="connsiteX34" fmla="*/ 551615 w 4460075"/>
              <a:gd name="connsiteY34" fmla="*/ 3657600 h 4429294"/>
              <a:gd name="connsiteX35" fmla="*/ 405565 w 4460075"/>
              <a:gd name="connsiteY35" fmla="*/ 3470275 h 4429294"/>
              <a:gd name="connsiteX36" fmla="*/ 275390 w 4460075"/>
              <a:gd name="connsiteY36" fmla="*/ 3244850 h 4429294"/>
              <a:gd name="connsiteX37" fmla="*/ 122990 w 4460075"/>
              <a:gd name="connsiteY37" fmla="*/ 2892425 h 4429294"/>
              <a:gd name="connsiteX38" fmla="*/ 15040 w 4460075"/>
              <a:gd name="connsiteY38" fmla="*/ 2368550 h 4429294"/>
              <a:gd name="connsiteX39" fmla="*/ 21390 w 4460075"/>
              <a:gd name="connsiteY39" fmla="*/ 1870075 h 4429294"/>
              <a:gd name="connsiteX40" fmla="*/ 170615 w 4460075"/>
              <a:gd name="connsiteY40" fmla="*/ 1276350 h 4429294"/>
              <a:gd name="connsiteX41" fmla="*/ 256340 w 4460075"/>
              <a:gd name="connsiteY41" fmla="*/ 1114425 h 4429294"/>
              <a:gd name="connsiteX42" fmla="*/ 418265 w 4460075"/>
              <a:gd name="connsiteY42" fmla="*/ 857250 h 4429294"/>
              <a:gd name="connsiteX43" fmla="*/ 475415 w 4460075"/>
              <a:gd name="connsiteY43" fmla="*/ 800100 h 4429294"/>
              <a:gd name="connsiteX44" fmla="*/ 608765 w 4460075"/>
              <a:gd name="connsiteY44" fmla="*/ 676275 h 4429294"/>
              <a:gd name="connsiteX45" fmla="*/ 827840 w 4460075"/>
              <a:gd name="connsiteY45" fmla="*/ 504825 h 4429294"/>
              <a:gd name="connsiteX46" fmla="*/ 1107240 w 4460075"/>
              <a:gd name="connsiteY46" fmla="*/ 311150 h 4429294"/>
              <a:gd name="connsiteX47" fmla="*/ 1466015 w 4460075"/>
              <a:gd name="connsiteY47" fmla="*/ 152400 h 4429294"/>
              <a:gd name="connsiteX48" fmla="*/ 1580315 w 4460075"/>
              <a:gd name="connsiteY48" fmla="*/ 111125 h 4429294"/>
              <a:gd name="connsiteX49" fmla="*/ 2212140 w 4460075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57065 w 4460800"/>
              <a:gd name="connsiteY41" fmla="*/ 1114425 h 4429294"/>
              <a:gd name="connsiteX42" fmla="*/ 418990 w 4460800"/>
              <a:gd name="connsiteY42" fmla="*/ 857250 h 4429294"/>
              <a:gd name="connsiteX43" fmla="*/ 476140 w 4460800"/>
              <a:gd name="connsiteY43" fmla="*/ 800100 h 4429294"/>
              <a:gd name="connsiteX44" fmla="*/ 609490 w 4460800"/>
              <a:gd name="connsiteY44" fmla="*/ 676275 h 4429294"/>
              <a:gd name="connsiteX45" fmla="*/ 828565 w 4460800"/>
              <a:gd name="connsiteY45" fmla="*/ 504825 h 4429294"/>
              <a:gd name="connsiteX46" fmla="*/ 1107965 w 4460800"/>
              <a:gd name="connsiteY46" fmla="*/ 311150 h 4429294"/>
              <a:gd name="connsiteX47" fmla="*/ 1466740 w 4460800"/>
              <a:gd name="connsiteY47" fmla="*/ 152400 h 4429294"/>
              <a:gd name="connsiteX48" fmla="*/ 1581040 w 4460800"/>
              <a:gd name="connsiteY48" fmla="*/ 111125 h 4429294"/>
              <a:gd name="connsiteX49" fmla="*/ 2212865 w 4460800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418990 w 4460800"/>
              <a:gd name="connsiteY42" fmla="*/ 857250 h 4429294"/>
              <a:gd name="connsiteX43" fmla="*/ 476140 w 4460800"/>
              <a:gd name="connsiteY43" fmla="*/ 800100 h 4429294"/>
              <a:gd name="connsiteX44" fmla="*/ 609490 w 4460800"/>
              <a:gd name="connsiteY44" fmla="*/ 676275 h 4429294"/>
              <a:gd name="connsiteX45" fmla="*/ 828565 w 4460800"/>
              <a:gd name="connsiteY45" fmla="*/ 504825 h 4429294"/>
              <a:gd name="connsiteX46" fmla="*/ 1107965 w 4460800"/>
              <a:gd name="connsiteY46" fmla="*/ 311150 h 4429294"/>
              <a:gd name="connsiteX47" fmla="*/ 1466740 w 4460800"/>
              <a:gd name="connsiteY47" fmla="*/ 152400 h 4429294"/>
              <a:gd name="connsiteX48" fmla="*/ 1581040 w 4460800"/>
              <a:gd name="connsiteY48" fmla="*/ 111125 h 4429294"/>
              <a:gd name="connsiteX49" fmla="*/ 2212865 w 4460800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476140 w 4460800"/>
              <a:gd name="connsiteY42" fmla="*/ 800100 h 4429294"/>
              <a:gd name="connsiteX43" fmla="*/ 609490 w 4460800"/>
              <a:gd name="connsiteY43" fmla="*/ 676275 h 4429294"/>
              <a:gd name="connsiteX44" fmla="*/ 828565 w 4460800"/>
              <a:gd name="connsiteY44" fmla="*/ 504825 h 4429294"/>
              <a:gd name="connsiteX45" fmla="*/ 1107965 w 4460800"/>
              <a:gd name="connsiteY45" fmla="*/ 311150 h 4429294"/>
              <a:gd name="connsiteX46" fmla="*/ 1466740 w 4460800"/>
              <a:gd name="connsiteY46" fmla="*/ 152400 h 4429294"/>
              <a:gd name="connsiteX47" fmla="*/ 1581040 w 4460800"/>
              <a:gd name="connsiteY47" fmla="*/ 111125 h 4429294"/>
              <a:gd name="connsiteX48" fmla="*/ 2212865 w 4460800"/>
              <a:gd name="connsiteY48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609490 w 4460800"/>
              <a:gd name="connsiteY42" fmla="*/ 676275 h 4429294"/>
              <a:gd name="connsiteX43" fmla="*/ 828565 w 4460800"/>
              <a:gd name="connsiteY43" fmla="*/ 504825 h 4429294"/>
              <a:gd name="connsiteX44" fmla="*/ 1107965 w 4460800"/>
              <a:gd name="connsiteY44" fmla="*/ 311150 h 4429294"/>
              <a:gd name="connsiteX45" fmla="*/ 1466740 w 4460800"/>
              <a:gd name="connsiteY45" fmla="*/ 152400 h 4429294"/>
              <a:gd name="connsiteX46" fmla="*/ 1581040 w 4460800"/>
              <a:gd name="connsiteY46" fmla="*/ 111125 h 4429294"/>
              <a:gd name="connsiteX47" fmla="*/ 2212865 w 4460800"/>
              <a:gd name="connsiteY47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609490 w 4460800"/>
              <a:gd name="connsiteY42" fmla="*/ 676275 h 4429294"/>
              <a:gd name="connsiteX43" fmla="*/ 828565 w 4460800"/>
              <a:gd name="connsiteY43" fmla="*/ 504825 h 4429294"/>
              <a:gd name="connsiteX44" fmla="*/ 1107965 w 4460800"/>
              <a:gd name="connsiteY44" fmla="*/ 311150 h 4429294"/>
              <a:gd name="connsiteX45" fmla="*/ 1466740 w 4460800"/>
              <a:gd name="connsiteY45" fmla="*/ 152400 h 4429294"/>
              <a:gd name="connsiteX46" fmla="*/ 1581040 w 4460800"/>
              <a:gd name="connsiteY46" fmla="*/ 111125 h 4429294"/>
              <a:gd name="connsiteX47" fmla="*/ 2212865 w 4460800"/>
              <a:gd name="connsiteY47" fmla="*/ 12700 h 4429294"/>
              <a:gd name="connsiteX48" fmla="*/ 2238265 w 4460800"/>
              <a:gd name="connsiteY48" fmla="*/ 0 h 4429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460800" h="4429294">
                <a:moveTo>
                  <a:pt x="2238265" y="0"/>
                </a:moveTo>
                <a:cubicBezTo>
                  <a:pt x="2346215" y="5292"/>
                  <a:pt x="2458928" y="1588"/>
                  <a:pt x="2562115" y="15875"/>
                </a:cubicBezTo>
                <a:cubicBezTo>
                  <a:pt x="2665302" y="30162"/>
                  <a:pt x="2798653" y="69321"/>
                  <a:pt x="2857390" y="85725"/>
                </a:cubicBezTo>
                <a:cubicBezTo>
                  <a:pt x="2943115" y="111654"/>
                  <a:pt x="3033603" y="153988"/>
                  <a:pt x="3076465" y="171450"/>
                </a:cubicBezTo>
                <a:cubicBezTo>
                  <a:pt x="3130440" y="195262"/>
                  <a:pt x="3133615" y="203200"/>
                  <a:pt x="3181240" y="228600"/>
                </a:cubicBezTo>
                <a:cubicBezTo>
                  <a:pt x="3228865" y="254000"/>
                  <a:pt x="3266965" y="265113"/>
                  <a:pt x="3362215" y="323850"/>
                </a:cubicBezTo>
                <a:cubicBezTo>
                  <a:pt x="3457465" y="382588"/>
                  <a:pt x="3651669" y="498475"/>
                  <a:pt x="3752740" y="581025"/>
                </a:cubicBezTo>
                <a:cubicBezTo>
                  <a:pt x="3853811" y="663575"/>
                  <a:pt x="3909903" y="750888"/>
                  <a:pt x="3968640" y="819150"/>
                </a:cubicBezTo>
                <a:cubicBezTo>
                  <a:pt x="4027378" y="887413"/>
                  <a:pt x="4068123" y="936625"/>
                  <a:pt x="4105165" y="990600"/>
                </a:cubicBezTo>
                <a:cubicBezTo>
                  <a:pt x="4142207" y="1044575"/>
                  <a:pt x="4175015" y="1109663"/>
                  <a:pt x="4190890" y="1143000"/>
                </a:cubicBezTo>
                <a:cubicBezTo>
                  <a:pt x="4214703" y="1189038"/>
                  <a:pt x="4232165" y="1230313"/>
                  <a:pt x="4248040" y="1266825"/>
                </a:cubicBezTo>
                <a:cubicBezTo>
                  <a:pt x="4263915" y="1303338"/>
                  <a:pt x="4271853" y="1314450"/>
                  <a:pt x="4286140" y="1362075"/>
                </a:cubicBezTo>
                <a:cubicBezTo>
                  <a:pt x="4300427" y="1409700"/>
                  <a:pt x="4319478" y="1498600"/>
                  <a:pt x="4333765" y="1552575"/>
                </a:cubicBezTo>
                <a:cubicBezTo>
                  <a:pt x="4348053" y="1606550"/>
                  <a:pt x="4350698" y="1581150"/>
                  <a:pt x="4371865" y="1685925"/>
                </a:cubicBezTo>
                <a:cubicBezTo>
                  <a:pt x="4393032" y="1790700"/>
                  <a:pt x="4459178" y="1982788"/>
                  <a:pt x="4460765" y="2181225"/>
                </a:cubicBezTo>
                <a:cubicBezTo>
                  <a:pt x="4462352" y="2379662"/>
                  <a:pt x="4410494" y="2633663"/>
                  <a:pt x="4387740" y="2768600"/>
                </a:cubicBezTo>
                <a:cubicBezTo>
                  <a:pt x="4364986" y="2903537"/>
                  <a:pt x="4352286" y="2910946"/>
                  <a:pt x="4324240" y="2990850"/>
                </a:cubicBezTo>
                <a:cubicBezTo>
                  <a:pt x="4296194" y="3070754"/>
                  <a:pt x="4252802" y="3179763"/>
                  <a:pt x="4219465" y="3248025"/>
                </a:cubicBezTo>
                <a:cubicBezTo>
                  <a:pt x="4186128" y="3316287"/>
                  <a:pt x="4160728" y="3352800"/>
                  <a:pt x="4124215" y="3400425"/>
                </a:cubicBezTo>
                <a:cubicBezTo>
                  <a:pt x="4087703" y="3448050"/>
                  <a:pt x="4038490" y="3492500"/>
                  <a:pt x="4000390" y="3533775"/>
                </a:cubicBezTo>
                <a:lnTo>
                  <a:pt x="3895615" y="3648075"/>
                </a:lnTo>
                <a:cubicBezTo>
                  <a:pt x="3797190" y="3756025"/>
                  <a:pt x="3673365" y="3899429"/>
                  <a:pt x="3600340" y="3971925"/>
                </a:cubicBezTo>
                <a:cubicBezTo>
                  <a:pt x="3527315" y="4044421"/>
                  <a:pt x="3530490" y="4041246"/>
                  <a:pt x="3457465" y="4083050"/>
                </a:cubicBezTo>
                <a:cubicBezTo>
                  <a:pt x="3384440" y="4124854"/>
                  <a:pt x="3236802" y="4188883"/>
                  <a:pt x="3162190" y="4222750"/>
                </a:cubicBezTo>
                <a:cubicBezTo>
                  <a:pt x="3087578" y="4256617"/>
                  <a:pt x="3038173" y="4283885"/>
                  <a:pt x="3009790" y="4286250"/>
                </a:cubicBezTo>
                <a:cubicBezTo>
                  <a:pt x="2947977" y="4310975"/>
                  <a:pt x="2954113" y="4309602"/>
                  <a:pt x="2876440" y="4333875"/>
                </a:cubicBezTo>
                <a:cubicBezTo>
                  <a:pt x="2853306" y="4341104"/>
                  <a:pt x="2811882" y="4362450"/>
                  <a:pt x="2752615" y="4371975"/>
                </a:cubicBezTo>
                <a:cubicBezTo>
                  <a:pt x="2693348" y="4381500"/>
                  <a:pt x="2635140" y="4381500"/>
                  <a:pt x="2520840" y="4391025"/>
                </a:cubicBezTo>
                <a:cubicBezTo>
                  <a:pt x="2406540" y="4400550"/>
                  <a:pt x="2174236" y="4427538"/>
                  <a:pt x="2066815" y="4429125"/>
                </a:cubicBezTo>
                <a:cubicBezTo>
                  <a:pt x="1959394" y="4430712"/>
                  <a:pt x="1968390" y="4421187"/>
                  <a:pt x="1876315" y="4400550"/>
                </a:cubicBezTo>
                <a:cubicBezTo>
                  <a:pt x="1784240" y="4379913"/>
                  <a:pt x="1614907" y="4335992"/>
                  <a:pt x="1514365" y="4305300"/>
                </a:cubicBezTo>
                <a:cubicBezTo>
                  <a:pt x="1413823" y="4274608"/>
                  <a:pt x="1353498" y="4246033"/>
                  <a:pt x="1273065" y="4216400"/>
                </a:cubicBezTo>
                <a:cubicBezTo>
                  <a:pt x="1206390" y="4187825"/>
                  <a:pt x="1169348" y="4152900"/>
                  <a:pt x="1104790" y="4111625"/>
                </a:cubicBezTo>
                <a:cubicBezTo>
                  <a:pt x="1040232" y="4070350"/>
                  <a:pt x="977790" y="4044421"/>
                  <a:pt x="885715" y="3968750"/>
                </a:cubicBezTo>
                <a:cubicBezTo>
                  <a:pt x="793640" y="3893079"/>
                  <a:pt x="632244" y="3740679"/>
                  <a:pt x="552340" y="3657600"/>
                </a:cubicBezTo>
                <a:cubicBezTo>
                  <a:pt x="472436" y="3574521"/>
                  <a:pt x="452327" y="3539067"/>
                  <a:pt x="406290" y="3470275"/>
                </a:cubicBezTo>
                <a:cubicBezTo>
                  <a:pt x="360253" y="3401483"/>
                  <a:pt x="323211" y="3341158"/>
                  <a:pt x="276115" y="3244850"/>
                </a:cubicBezTo>
                <a:cubicBezTo>
                  <a:pt x="229019" y="3148542"/>
                  <a:pt x="167107" y="3038475"/>
                  <a:pt x="123715" y="2892425"/>
                </a:cubicBezTo>
                <a:cubicBezTo>
                  <a:pt x="80323" y="2746375"/>
                  <a:pt x="37990" y="2553758"/>
                  <a:pt x="15765" y="2368550"/>
                </a:cubicBezTo>
                <a:cubicBezTo>
                  <a:pt x="-6460" y="2183342"/>
                  <a:pt x="-5931" y="2044700"/>
                  <a:pt x="22115" y="1870075"/>
                </a:cubicBezTo>
                <a:cubicBezTo>
                  <a:pt x="50161" y="1695450"/>
                  <a:pt x="139590" y="1446742"/>
                  <a:pt x="184040" y="1320800"/>
                </a:cubicBezTo>
                <a:cubicBezTo>
                  <a:pt x="228490" y="1194858"/>
                  <a:pt x="217907" y="1221846"/>
                  <a:pt x="288815" y="1114425"/>
                </a:cubicBezTo>
                <a:cubicBezTo>
                  <a:pt x="359723" y="1007004"/>
                  <a:pt x="519532" y="777875"/>
                  <a:pt x="609490" y="676275"/>
                </a:cubicBezTo>
                <a:cubicBezTo>
                  <a:pt x="699448" y="574675"/>
                  <a:pt x="745486" y="565679"/>
                  <a:pt x="828565" y="504825"/>
                </a:cubicBezTo>
                <a:cubicBezTo>
                  <a:pt x="911644" y="443971"/>
                  <a:pt x="997898" y="379942"/>
                  <a:pt x="1107965" y="311150"/>
                </a:cubicBezTo>
                <a:cubicBezTo>
                  <a:pt x="1214328" y="252413"/>
                  <a:pt x="1387894" y="185737"/>
                  <a:pt x="1466740" y="152400"/>
                </a:cubicBezTo>
                <a:cubicBezTo>
                  <a:pt x="1545586" y="119063"/>
                  <a:pt x="1456686" y="134408"/>
                  <a:pt x="1581040" y="111125"/>
                </a:cubicBezTo>
                <a:cubicBezTo>
                  <a:pt x="1810698" y="67733"/>
                  <a:pt x="1945107" y="-7408"/>
                  <a:pt x="2212865" y="12700"/>
                </a:cubicBezTo>
                <a:lnTo>
                  <a:pt x="2238265" y="0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40" tIns="45720" rIns="91440" bIns="45720" rtlCol="0" anchor="ctr"/>
          <a:lstStyle/>
          <a:p>
            <a:pPr algn="ctr" fontAlgn="t"/>
            <a:endParaRPr lang="da-DK" sz="1200" b="1">
              <a:solidFill>
                <a:srgbClr val="004C45"/>
              </a:solidFill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05EF5E57-6272-4DCB-B7AF-CAF540A34129}"/>
              </a:ext>
            </a:extLst>
          </p:cNvPr>
          <p:cNvGrpSpPr/>
          <p:nvPr/>
        </p:nvGrpSpPr>
        <p:grpSpPr>
          <a:xfrm>
            <a:off x="2905803" y="3684671"/>
            <a:ext cx="498628" cy="498626"/>
            <a:chOff x="-1159155" y="1739431"/>
            <a:chExt cx="563866" cy="563864"/>
          </a:xfrm>
        </p:grpSpPr>
        <p:sp>
          <p:nvSpPr>
            <p:cNvPr id="61" name="Oval 587">
              <a:extLst>
                <a:ext uri="{FF2B5EF4-FFF2-40B4-BE49-F238E27FC236}">
                  <a16:creationId xmlns:a16="http://schemas.microsoft.com/office/drawing/2014/main" id="{B6CCCA24-16D5-497C-9FDB-2B8015F27BC7}"/>
                </a:ext>
              </a:extLst>
            </p:cNvPr>
            <p:cNvSpPr/>
            <p:nvPr/>
          </p:nvSpPr>
          <p:spPr>
            <a:xfrm>
              <a:off x="-1159155" y="1739431"/>
              <a:ext cx="563866" cy="563864"/>
            </a:xfrm>
            <a:prstGeom prst="ellipse">
              <a:avLst/>
            </a:pr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62" name="Freeform: Shape 591">
              <a:extLst>
                <a:ext uri="{FF2B5EF4-FFF2-40B4-BE49-F238E27FC236}">
                  <a16:creationId xmlns:a16="http://schemas.microsoft.com/office/drawing/2014/main" id="{33FB61B9-1FA3-4A91-8766-8AA22E102297}"/>
                </a:ext>
              </a:extLst>
            </p:cNvPr>
            <p:cNvSpPr/>
            <p:nvPr/>
          </p:nvSpPr>
          <p:spPr>
            <a:xfrm>
              <a:off x="-1023531" y="1910589"/>
              <a:ext cx="292618" cy="221550"/>
            </a:xfrm>
            <a:custGeom>
              <a:avLst/>
              <a:gdLst/>
              <a:ahLst/>
              <a:cxnLst/>
              <a:rect l="l" t="t" r="r" b="b"/>
              <a:pathLst>
                <a:path w="75629" h="57261">
                  <a:moveTo>
                    <a:pt x="70210" y="0"/>
                  </a:moveTo>
                  <a:cubicBezTo>
                    <a:pt x="71401" y="0"/>
                    <a:pt x="72405" y="55"/>
                    <a:pt x="73224" y="167"/>
                  </a:cubicBezTo>
                  <a:cubicBezTo>
                    <a:pt x="74042" y="279"/>
                    <a:pt x="74638" y="465"/>
                    <a:pt x="75010" y="725"/>
                  </a:cubicBezTo>
                  <a:cubicBezTo>
                    <a:pt x="75382" y="985"/>
                    <a:pt x="75587" y="1339"/>
                    <a:pt x="75624" y="1785"/>
                  </a:cubicBezTo>
                  <a:cubicBezTo>
                    <a:pt x="75661" y="2232"/>
                    <a:pt x="75494" y="2753"/>
                    <a:pt x="75121" y="3348"/>
                  </a:cubicBezTo>
                  <a:lnTo>
                    <a:pt x="60499" y="34044"/>
                  </a:lnTo>
                  <a:lnTo>
                    <a:pt x="60499" y="48108"/>
                  </a:lnTo>
                  <a:cubicBezTo>
                    <a:pt x="60499" y="50043"/>
                    <a:pt x="60294" y="51606"/>
                    <a:pt x="59885" y="52796"/>
                  </a:cubicBezTo>
                  <a:cubicBezTo>
                    <a:pt x="59476" y="53987"/>
                    <a:pt x="58843" y="54917"/>
                    <a:pt x="57988" y="55587"/>
                  </a:cubicBezTo>
                  <a:cubicBezTo>
                    <a:pt x="57132" y="56257"/>
                    <a:pt x="56053" y="56703"/>
                    <a:pt x="54751" y="56926"/>
                  </a:cubicBezTo>
                  <a:cubicBezTo>
                    <a:pt x="53448" y="57150"/>
                    <a:pt x="51904" y="57261"/>
                    <a:pt x="50118" y="57261"/>
                  </a:cubicBezTo>
                  <a:cubicBezTo>
                    <a:pt x="48332" y="57261"/>
                    <a:pt x="46807" y="57150"/>
                    <a:pt x="45542" y="56926"/>
                  </a:cubicBezTo>
                  <a:cubicBezTo>
                    <a:pt x="44277" y="56703"/>
                    <a:pt x="43235" y="56257"/>
                    <a:pt x="42416" y="55587"/>
                  </a:cubicBezTo>
                  <a:cubicBezTo>
                    <a:pt x="41598" y="54917"/>
                    <a:pt x="40984" y="53987"/>
                    <a:pt x="40575" y="52796"/>
                  </a:cubicBezTo>
                  <a:cubicBezTo>
                    <a:pt x="40165" y="51606"/>
                    <a:pt x="39961" y="50043"/>
                    <a:pt x="39961" y="48108"/>
                  </a:cubicBezTo>
                  <a:cubicBezTo>
                    <a:pt x="39961" y="45876"/>
                    <a:pt x="40072" y="43811"/>
                    <a:pt x="40296" y="41913"/>
                  </a:cubicBezTo>
                  <a:cubicBezTo>
                    <a:pt x="40519" y="40016"/>
                    <a:pt x="40872" y="38211"/>
                    <a:pt x="41356" y="36500"/>
                  </a:cubicBezTo>
                  <a:cubicBezTo>
                    <a:pt x="41840" y="34788"/>
                    <a:pt x="42509" y="33095"/>
                    <a:pt x="43365" y="31421"/>
                  </a:cubicBezTo>
                  <a:cubicBezTo>
                    <a:pt x="44221" y="29747"/>
                    <a:pt x="45244" y="27979"/>
                    <a:pt x="46435" y="26119"/>
                  </a:cubicBezTo>
                  <a:lnTo>
                    <a:pt x="61504" y="3237"/>
                  </a:lnTo>
                  <a:cubicBezTo>
                    <a:pt x="61876" y="2641"/>
                    <a:pt x="62285" y="2158"/>
                    <a:pt x="62732" y="1785"/>
                  </a:cubicBezTo>
                  <a:cubicBezTo>
                    <a:pt x="63178" y="1413"/>
                    <a:pt x="63736" y="1097"/>
                    <a:pt x="64406" y="837"/>
                  </a:cubicBezTo>
                  <a:cubicBezTo>
                    <a:pt x="65076" y="576"/>
                    <a:pt x="65876" y="372"/>
                    <a:pt x="66806" y="223"/>
                  </a:cubicBezTo>
                  <a:cubicBezTo>
                    <a:pt x="67736" y="74"/>
                    <a:pt x="68871" y="0"/>
                    <a:pt x="70210" y="0"/>
                  </a:cubicBezTo>
                  <a:close/>
                  <a:moveTo>
                    <a:pt x="30250" y="0"/>
                  </a:moveTo>
                  <a:cubicBezTo>
                    <a:pt x="31440" y="0"/>
                    <a:pt x="32426" y="55"/>
                    <a:pt x="33208" y="167"/>
                  </a:cubicBezTo>
                  <a:cubicBezTo>
                    <a:pt x="33989" y="279"/>
                    <a:pt x="34584" y="465"/>
                    <a:pt x="34994" y="725"/>
                  </a:cubicBezTo>
                  <a:cubicBezTo>
                    <a:pt x="35403" y="985"/>
                    <a:pt x="35608" y="1339"/>
                    <a:pt x="35608" y="1785"/>
                  </a:cubicBezTo>
                  <a:cubicBezTo>
                    <a:pt x="35608" y="2232"/>
                    <a:pt x="35459" y="2753"/>
                    <a:pt x="35161" y="3348"/>
                  </a:cubicBezTo>
                  <a:lnTo>
                    <a:pt x="20539" y="34044"/>
                  </a:lnTo>
                  <a:lnTo>
                    <a:pt x="20539" y="48108"/>
                  </a:lnTo>
                  <a:cubicBezTo>
                    <a:pt x="20539" y="50043"/>
                    <a:pt x="20334" y="51606"/>
                    <a:pt x="19925" y="52796"/>
                  </a:cubicBezTo>
                  <a:cubicBezTo>
                    <a:pt x="19516" y="53987"/>
                    <a:pt x="18883" y="54917"/>
                    <a:pt x="18027" y="55587"/>
                  </a:cubicBezTo>
                  <a:cubicBezTo>
                    <a:pt x="17172" y="56257"/>
                    <a:pt x="16093" y="56703"/>
                    <a:pt x="14790" y="56926"/>
                  </a:cubicBezTo>
                  <a:cubicBezTo>
                    <a:pt x="13488" y="57150"/>
                    <a:pt x="11944" y="57261"/>
                    <a:pt x="10158" y="57261"/>
                  </a:cubicBezTo>
                  <a:cubicBezTo>
                    <a:pt x="8372" y="57261"/>
                    <a:pt x="6847" y="57150"/>
                    <a:pt x="5582" y="56926"/>
                  </a:cubicBezTo>
                  <a:cubicBezTo>
                    <a:pt x="4316" y="56703"/>
                    <a:pt x="3275" y="56257"/>
                    <a:pt x="2456" y="55587"/>
                  </a:cubicBezTo>
                  <a:cubicBezTo>
                    <a:pt x="1638" y="54917"/>
                    <a:pt x="1024" y="53987"/>
                    <a:pt x="614" y="52796"/>
                  </a:cubicBezTo>
                  <a:cubicBezTo>
                    <a:pt x="205" y="51606"/>
                    <a:pt x="0" y="50043"/>
                    <a:pt x="0" y="48108"/>
                  </a:cubicBezTo>
                  <a:cubicBezTo>
                    <a:pt x="0" y="45876"/>
                    <a:pt x="112" y="43811"/>
                    <a:pt x="335" y="41913"/>
                  </a:cubicBezTo>
                  <a:cubicBezTo>
                    <a:pt x="559" y="40016"/>
                    <a:pt x="912" y="38211"/>
                    <a:pt x="1396" y="36500"/>
                  </a:cubicBezTo>
                  <a:cubicBezTo>
                    <a:pt x="1879" y="34788"/>
                    <a:pt x="2549" y="33095"/>
                    <a:pt x="3405" y="31421"/>
                  </a:cubicBezTo>
                  <a:cubicBezTo>
                    <a:pt x="4261" y="29747"/>
                    <a:pt x="5284" y="27979"/>
                    <a:pt x="6474" y="26119"/>
                  </a:cubicBezTo>
                  <a:lnTo>
                    <a:pt x="21543" y="3237"/>
                  </a:lnTo>
                  <a:cubicBezTo>
                    <a:pt x="21915" y="2641"/>
                    <a:pt x="22325" y="2158"/>
                    <a:pt x="22771" y="1785"/>
                  </a:cubicBezTo>
                  <a:cubicBezTo>
                    <a:pt x="23218" y="1413"/>
                    <a:pt x="23776" y="1097"/>
                    <a:pt x="24445" y="837"/>
                  </a:cubicBezTo>
                  <a:cubicBezTo>
                    <a:pt x="25115" y="576"/>
                    <a:pt x="25915" y="372"/>
                    <a:pt x="26845" y="223"/>
                  </a:cubicBezTo>
                  <a:cubicBezTo>
                    <a:pt x="27776" y="74"/>
                    <a:pt x="28910" y="0"/>
                    <a:pt x="30250" y="0"/>
                  </a:cubicBezTo>
                  <a:close/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a-DK" sz="1400"/>
            </a:p>
          </p:txBody>
        </p:sp>
      </p:grpSp>
      <p:sp>
        <p:nvSpPr>
          <p:cNvPr id="64" name="Freeform: Shape 4">
            <a:extLst>
              <a:ext uri="{FF2B5EF4-FFF2-40B4-BE49-F238E27FC236}">
                <a16:creationId xmlns:a16="http://schemas.microsoft.com/office/drawing/2014/main" id="{558E6FFD-6941-403B-B211-D83247794597}"/>
              </a:ext>
            </a:extLst>
          </p:cNvPr>
          <p:cNvSpPr/>
          <p:nvPr/>
        </p:nvSpPr>
        <p:spPr>
          <a:xfrm>
            <a:off x="2850241" y="4598081"/>
            <a:ext cx="609752" cy="580470"/>
          </a:xfrm>
          <a:custGeom>
            <a:avLst/>
            <a:gdLst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944902 w 4469152"/>
              <a:gd name="connsiteY150" fmla="*/ 476250 h 4496940"/>
              <a:gd name="connsiteX151" fmla="*/ 1087777 w 4469152"/>
              <a:gd name="connsiteY151" fmla="*/ 409575 h 4496940"/>
              <a:gd name="connsiteX152" fmla="*/ 1202077 w 4469152"/>
              <a:gd name="connsiteY152" fmla="*/ 314325 h 4496940"/>
              <a:gd name="connsiteX153" fmla="*/ 1268752 w 4469152"/>
              <a:gd name="connsiteY153" fmla="*/ 285750 h 4496940"/>
              <a:gd name="connsiteX154" fmla="*/ 1411627 w 4469152"/>
              <a:gd name="connsiteY154" fmla="*/ 190500 h 4496940"/>
              <a:gd name="connsiteX155" fmla="*/ 1449727 w 4469152"/>
              <a:gd name="connsiteY155" fmla="*/ 161925 h 4496940"/>
              <a:gd name="connsiteX156" fmla="*/ 1525927 w 4469152"/>
              <a:gd name="connsiteY156" fmla="*/ 152400 h 4496940"/>
              <a:gd name="connsiteX157" fmla="*/ 1583077 w 4469152"/>
              <a:gd name="connsiteY157" fmla="*/ 142875 h 4496940"/>
              <a:gd name="connsiteX158" fmla="*/ 1716427 w 4469152"/>
              <a:gd name="connsiteY158" fmla="*/ 123825 h 4496940"/>
              <a:gd name="connsiteX159" fmla="*/ 1811677 w 4469152"/>
              <a:gd name="connsiteY159" fmla="*/ 114300 h 4496940"/>
              <a:gd name="connsiteX160" fmla="*/ 1859302 w 4469152"/>
              <a:gd name="connsiteY160" fmla="*/ 104775 h 4496940"/>
              <a:gd name="connsiteX161" fmla="*/ 1916452 w 4469152"/>
              <a:gd name="connsiteY161" fmla="*/ 95250 h 4496940"/>
              <a:gd name="connsiteX162" fmla="*/ 2030752 w 4469152"/>
              <a:gd name="connsiteY162" fmla="*/ 66675 h 4496940"/>
              <a:gd name="connsiteX163" fmla="*/ 2097427 w 4469152"/>
              <a:gd name="connsiteY163" fmla="*/ 47625 h 4496940"/>
              <a:gd name="connsiteX164" fmla="*/ 2164102 w 4469152"/>
              <a:gd name="connsiteY164" fmla="*/ 38100 h 4496940"/>
              <a:gd name="connsiteX165" fmla="*/ 2392702 w 4469152"/>
              <a:gd name="connsiteY165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087777 w 4469152"/>
              <a:gd name="connsiteY150" fmla="*/ 409575 h 4496940"/>
              <a:gd name="connsiteX151" fmla="*/ 1202077 w 4469152"/>
              <a:gd name="connsiteY151" fmla="*/ 314325 h 4496940"/>
              <a:gd name="connsiteX152" fmla="*/ 1268752 w 4469152"/>
              <a:gd name="connsiteY152" fmla="*/ 285750 h 4496940"/>
              <a:gd name="connsiteX153" fmla="*/ 1411627 w 4469152"/>
              <a:gd name="connsiteY153" fmla="*/ 190500 h 4496940"/>
              <a:gd name="connsiteX154" fmla="*/ 1449727 w 4469152"/>
              <a:gd name="connsiteY154" fmla="*/ 161925 h 4496940"/>
              <a:gd name="connsiteX155" fmla="*/ 1525927 w 4469152"/>
              <a:gd name="connsiteY155" fmla="*/ 152400 h 4496940"/>
              <a:gd name="connsiteX156" fmla="*/ 1583077 w 4469152"/>
              <a:gd name="connsiteY156" fmla="*/ 142875 h 4496940"/>
              <a:gd name="connsiteX157" fmla="*/ 1716427 w 4469152"/>
              <a:gd name="connsiteY157" fmla="*/ 123825 h 4496940"/>
              <a:gd name="connsiteX158" fmla="*/ 1811677 w 4469152"/>
              <a:gd name="connsiteY158" fmla="*/ 114300 h 4496940"/>
              <a:gd name="connsiteX159" fmla="*/ 1859302 w 4469152"/>
              <a:gd name="connsiteY159" fmla="*/ 104775 h 4496940"/>
              <a:gd name="connsiteX160" fmla="*/ 1916452 w 4469152"/>
              <a:gd name="connsiteY160" fmla="*/ 95250 h 4496940"/>
              <a:gd name="connsiteX161" fmla="*/ 2030752 w 4469152"/>
              <a:gd name="connsiteY161" fmla="*/ 66675 h 4496940"/>
              <a:gd name="connsiteX162" fmla="*/ 2097427 w 4469152"/>
              <a:gd name="connsiteY162" fmla="*/ 47625 h 4496940"/>
              <a:gd name="connsiteX163" fmla="*/ 2164102 w 4469152"/>
              <a:gd name="connsiteY163" fmla="*/ 38100 h 4496940"/>
              <a:gd name="connsiteX164" fmla="*/ 2392702 w 4469152"/>
              <a:gd name="connsiteY164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202077 w 4469152"/>
              <a:gd name="connsiteY150" fmla="*/ 314325 h 4496940"/>
              <a:gd name="connsiteX151" fmla="*/ 1268752 w 4469152"/>
              <a:gd name="connsiteY151" fmla="*/ 285750 h 4496940"/>
              <a:gd name="connsiteX152" fmla="*/ 1411627 w 4469152"/>
              <a:gd name="connsiteY152" fmla="*/ 190500 h 4496940"/>
              <a:gd name="connsiteX153" fmla="*/ 1449727 w 4469152"/>
              <a:gd name="connsiteY153" fmla="*/ 161925 h 4496940"/>
              <a:gd name="connsiteX154" fmla="*/ 1525927 w 4469152"/>
              <a:gd name="connsiteY154" fmla="*/ 152400 h 4496940"/>
              <a:gd name="connsiteX155" fmla="*/ 1583077 w 4469152"/>
              <a:gd name="connsiteY155" fmla="*/ 142875 h 4496940"/>
              <a:gd name="connsiteX156" fmla="*/ 1716427 w 4469152"/>
              <a:gd name="connsiteY156" fmla="*/ 123825 h 4496940"/>
              <a:gd name="connsiteX157" fmla="*/ 1811677 w 4469152"/>
              <a:gd name="connsiteY157" fmla="*/ 114300 h 4496940"/>
              <a:gd name="connsiteX158" fmla="*/ 1859302 w 4469152"/>
              <a:gd name="connsiteY158" fmla="*/ 104775 h 4496940"/>
              <a:gd name="connsiteX159" fmla="*/ 1916452 w 4469152"/>
              <a:gd name="connsiteY159" fmla="*/ 95250 h 4496940"/>
              <a:gd name="connsiteX160" fmla="*/ 2030752 w 4469152"/>
              <a:gd name="connsiteY160" fmla="*/ 66675 h 4496940"/>
              <a:gd name="connsiteX161" fmla="*/ 2097427 w 4469152"/>
              <a:gd name="connsiteY161" fmla="*/ 47625 h 4496940"/>
              <a:gd name="connsiteX162" fmla="*/ 2164102 w 4469152"/>
              <a:gd name="connsiteY162" fmla="*/ 38100 h 4496940"/>
              <a:gd name="connsiteX163" fmla="*/ 2392702 w 4469152"/>
              <a:gd name="connsiteY163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268752 w 4469152"/>
              <a:gd name="connsiteY150" fmla="*/ 285750 h 4496940"/>
              <a:gd name="connsiteX151" fmla="*/ 1411627 w 4469152"/>
              <a:gd name="connsiteY151" fmla="*/ 190500 h 4496940"/>
              <a:gd name="connsiteX152" fmla="*/ 1449727 w 4469152"/>
              <a:gd name="connsiteY152" fmla="*/ 161925 h 4496940"/>
              <a:gd name="connsiteX153" fmla="*/ 1525927 w 4469152"/>
              <a:gd name="connsiteY153" fmla="*/ 152400 h 4496940"/>
              <a:gd name="connsiteX154" fmla="*/ 1583077 w 4469152"/>
              <a:gd name="connsiteY154" fmla="*/ 142875 h 4496940"/>
              <a:gd name="connsiteX155" fmla="*/ 1716427 w 4469152"/>
              <a:gd name="connsiteY155" fmla="*/ 123825 h 4496940"/>
              <a:gd name="connsiteX156" fmla="*/ 1811677 w 4469152"/>
              <a:gd name="connsiteY156" fmla="*/ 114300 h 4496940"/>
              <a:gd name="connsiteX157" fmla="*/ 1859302 w 4469152"/>
              <a:gd name="connsiteY157" fmla="*/ 104775 h 4496940"/>
              <a:gd name="connsiteX158" fmla="*/ 1916452 w 4469152"/>
              <a:gd name="connsiteY158" fmla="*/ 95250 h 4496940"/>
              <a:gd name="connsiteX159" fmla="*/ 2030752 w 4469152"/>
              <a:gd name="connsiteY159" fmla="*/ 66675 h 4496940"/>
              <a:gd name="connsiteX160" fmla="*/ 2097427 w 4469152"/>
              <a:gd name="connsiteY160" fmla="*/ 47625 h 4496940"/>
              <a:gd name="connsiteX161" fmla="*/ 2164102 w 4469152"/>
              <a:gd name="connsiteY161" fmla="*/ 38100 h 4496940"/>
              <a:gd name="connsiteX162" fmla="*/ 2392702 w 4469152"/>
              <a:gd name="connsiteY162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167152 w 4469152"/>
              <a:gd name="connsiteY150" fmla="*/ 311150 h 4496940"/>
              <a:gd name="connsiteX151" fmla="*/ 1268752 w 4469152"/>
              <a:gd name="connsiteY151" fmla="*/ 285750 h 4496940"/>
              <a:gd name="connsiteX152" fmla="*/ 1411627 w 4469152"/>
              <a:gd name="connsiteY152" fmla="*/ 190500 h 4496940"/>
              <a:gd name="connsiteX153" fmla="*/ 1449727 w 4469152"/>
              <a:gd name="connsiteY153" fmla="*/ 161925 h 4496940"/>
              <a:gd name="connsiteX154" fmla="*/ 1525927 w 4469152"/>
              <a:gd name="connsiteY154" fmla="*/ 152400 h 4496940"/>
              <a:gd name="connsiteX155" fmla="*/ 1583077 w 4469152"/>
              <a:gd name="connsiteY155" fmla="*/ 142875 h 4496940"/>
              <a:gd name="connsiteX156" fmla="*/ 1716427 w 4469152"/>
              <a:gd name="connsiteY156" fmla="*/ 123825 h 4496940"/>
              <a:gd name="connsiteX157" fmla="*/ 1811677 w 4469152"/>
              <a:gd name="connsiteY157" fmla="*/ 114300 h 4496940"/>
              <a:gd name="connsiteX158" fmla="*/ 1859302 w 4469152"/>
              <a:gd name="connsiteY158" fmla="*/ 104775 h 4496940"/>
              <a:gd name="connsiteX159" fmla="*/ 1916452 w 4469152"/>
              <a:gd name="connsiteY159" fmla="*/ 95250 h 4496940"/>
              <a:gd name="connsiteX160" fmla="*/ 2030752 w 4469152"/>
              <a:gd name="connsiteY160" fmla="*/ 66675 h 4496940"/>
              <a:gd name="connsiteX161" fmla="*/ 2097427 w 4469152"/>
              <a:gd name="connsiteY161" fmla="*/ 47625 h 4496940"/>
              <a:gd name="connsiteX162" fmla="*/ 2164102 w 4469152"/>
              <a:gd name="connsiteY162" fmla="*/ 38100 h 4496940"/>
              <a:gd name="connsiteX163" fmla="*/ 2392702 w 4469152"/>
              <a:gd name="connsiteY163" fmla="*/ 28575 h 4496940"/>
              <a:gd name="connsiteX0" fmla="*/ 2297452 w 4519952"/>
              <a:gd name="connsiteY0" fmla="*/ 0 h 4496940"/>
              <a:gd name="connsiteX1" fmla="*/ 2421277 w 4519952"/>
              <a:gd name="connsiteY1" fmla="*/ 28575 h 4496940"/>
              <a:gd name="connsiteX2" fmla="*/ 2497477 w 4519952"/>
              <a:gd name="connsiteY2" fmla="*/ 47625 h 4496940"/>
              <a:gd name="connsiteX3" fmla="*/ 2754652 w 4519952"/>
              <a:gd name="connsiteY3" fmla="*/ 66675 h 4496940"/>
              <a:gd name="connsiteX4" fmla="*/ 2830852 w 4519952"/>
              <a:gd name="connsiteY4" fmla="*/ 76200 h 4496940"/>
              <a:gd name="connsiteX5" fmla="*/ 2916577 w 4519952"/>
              <a:gd name="connsiteY5" fmla="*/ 85725 h 4496940"/>
              <a:gd name="connsiteX6" fmla="*/ 2973727 w 4519952"/>
              <a:gd name="connsiteY6" fmla="*/ 114300 h 4496940"/>
              <a:gd name="connsiteX7" fmla="*/ 3011827 w 4519952"/>
              <a:gd name="connsiteY7" fmla="*/ 123825 h 4496940"/>
              <a:gd name="connsiteX8" fmla="*/ 3135652 w 4519952"/>
              <a:gd name="connsiteY8" fmla="*/ 171450 h 4496940"/>
              <a:gd name="connsiteX9" fmla="*/ 3173752 w 4519952"/>
              <a:gd name="connsiteY9" fmla="*/ 190500 h 4496940"/>
              <a:gd name="connsiteX10" fmla="*/ 3240427 w 4519952"/>
              <a:gd name="connsiteY10" fmla="*/ 228600 h 4496940"/>
              <a:gd name="connsiteX11" fmla="*/ 3269002 w 4519952"/>
              <a:gd name="connsiteY11" fmla="*/ 238125 h 4496940"/>
              <a:gd name="connsiteX12" fmla="*/ 3297577 w 4519952"/>
              <a:gd name="connsiteY12" fmla="*/ 257175 h 4496940"/>
              <a:gd name="connsiteX13" fmla="*/ 3326152 w 4519952"/>
              <a:gd name="connsiteY13" fmla="*/ 266700 h 4496940"/>
              <a:gd name="connsiteX14" fmla="*/ 3354727 w 4519952"/>
              <a:gd name="connsiteY14" fmla="*/ 285750 h 4496940"/>
              <a:gd name="connsiteX15" fmla="*/ 3421402 w 4519952"/>
              <a:gd name="connsiteY15" fmla="*/ 323850 h 4496940"/>
              <a:gd name="connsiteX16" fmla="*/ 3469027 w 4519952"/>
              <a:gd name="connsiteY16" fmla="*/ 361950 h 4496940"/>
              <a:gd name="connsiteX17" fmla="*/ 3516652 w 4519952"/>
              <a:gd name="connsiteY17" fmla="*/ 390525 h 4496940"/>
              <a:gd name="connsiteX18" fmla="*/ 3545227 w 4519952"/>
              <a:gd name="connsiteY18" fmla="*/ 419100 h 4496940"/>
              <a:gd name="connsiteX19" fmla="*/ 3602377 w 4519952"/>
              <a:gd name="connsiteY19" fmla="*/ 457200 h 4496940"/>
              <a:gd name="connsiteX20" fmla="*/ 3630952 w 4519952"/>
              <a:gd name="connsiteY20" fmla="*/ 485775 h 4496940"/>
              <a:gd name="connsiteX21" fmla="*/ 3678577 w 4519952"/>
              <a:gd name="connsiteY21" fmla="*/ 504825 h 4496940"/>
              <a:gd name="connsiteX22" fmla="*/ 3745252 w 4519952"/>
              <a:gd name="connsiteY22" fmla="*/ 542925 h 4496940"/>
              <a:gd name="connsiteX23" fmla="*/ 3811927 w 4519952"/>
              <a:gd name="connsiteY23" fmla="*/ 581025 h 4496940"/>
              <a:gd name="connsiteX24" fmla="*/ 3840502 w 4519952"/>
              <a:gd name="connsiteY24" fmla="*/ 600075 h 4496940"/>
              <a:gd name="connsiteX25" fmla="*/ 3869077 w 4519952"/>
              <a:gd name="connsiteY25" fmla="*/ 628650 h 4496940"/>
              <a:gd name="connsiteX26" fmla="*/ 3907177 w 4519952"/>
              <a:gd name="connsiteY26" fmla="*/ 647700 h 4496940"/>
              <a:gd name="connsiteX27" fmla="*/ 3935752 w 4519952"/>
              <a:gd name="connsiteY27" fmla="*/ 676275 h 4496940"/>
              <a:gd name="connsiteX28" fmla="*/ 3992902 w 4519952"/>
              <a:gd name="connsiteY28" fmla="*/ 714375 h 4496940"/>
              <a:gd name="connsiteX29" fmla="*/ 4050052 w 4519952"/>
              <a:gd name="connsiteY29" fmla="*/ 790575 h 4496940"/>
              <a:gd name="connsiteX30" fmla="*/ 4078627 w 4519952"/>
              <a:gd name="connsiteY30" fmla="*/ 838200 h 4496940"/>
              <a:gd name="connsiteX31" fmla="*/ 4107202 w 4519952"/>
              <a:gd name="connsiteY31" fmla="*/ 876300 h 4496940"/>
              <a:gd name="connsiteX32" fmla="*/ 4116727 w 4519952"/>
              <a:gd name="connsiteY32" fmla="*/ 904875 h 4496940"/>
              <a:gd name="connsiteX33" fmla="*/ 4135777 w 4519952"/>
              <a:gd name="connsiteY33" fmla="*/ 933450 h 4496940"/>
              <a:gd name="connsiteX34" fmla="*/ 4164352 w 4519952"/>
              <a:gd name="connsiteY34" fmla="*/ 990600 h 4496940"/>
              <a:gd name="connsiteX35" fmla="*/ 4173877 w 4519952"/>
              <a:gd name="connsiteY35" fmla="*/ 1019175 h 4496940"/>
              <a:gd name="connsiteX36" fmla="*/ 4192927 w 4519952"/>
              <a:gd name="connsiteY36" fmla="*/ 1057275 h 4496940"/>
              <a:gd name="connsiteX37" fmla="*/ 4202452 w 4519952"/>
              <a:gd name="connsiteY37" fmla="*/ 1085850 h 4496940"/>
              <a:gd name="connsiteX38" fmla="*/ 4250077 w 4519952"/>
              <a:gd name="connsiteY38" fmla="*/ 1143000 h 4496940"/>
              <a:gd name="connsiteX39" fmla="*/ 4259602 w 4519952"/>
              <a:gd name="connsiteY39" fmla="*/ 1190625 h 4496940"/>
              <a:gd name="connsiteX40" fmla="*/ 4307227 w 4519952"/>
              <a:gd name="connsiteY40" fmla="*/ 1266825 h 4496940"/>
              <a:gd name="connsiteX41" fmla="*/ 4345327 w 4519952"/>
              <a:gd name="connsiteY41" fmla="*/ 1362075 h 4496940"/>
              <a:gd name="connsiteX42" fmla="*/ 4373902 w 4519952"/>
              <a:gd name="connsiteY42" fmla="*/ 1428750 h 4496940"/>
              <a:gd name="connsiteX43" fmla="*/ 4392952 w 4519952"/>
              <a:gd name="connsiteY43" fmla="*/ 1552575 h 4496940"/>
              <a:gd name="connsiteX44" fmla="*/ 4402477 w 4519952"/>
              <a:gd name="connsiteY44" fmla="*/ 1590675 h 4496940"/>
              <a:gd name="connsiteX45" fmla="*/ 4431052 w 4519952"/>
              <a:gd name="connsiteY45" fmla="*/ 1685925 h 4496940"/>
              <a:gd name="connsiteX46" fmla="*/ 4440577 w 4519952"/>
              <a:gd name="connsiteY46" fmla="*/ 1762125 h 4496940"/>
              <a:gd name="connsiteX47" fmla="*/ 4459627 w 4519952"/>
              <a:gd name="connsiteY47" fmla="*/ 1828800 h 4496940"/>
              <a:gd name="connsiteX48" fmla="*/ 4519952 w 4519952"/>
              <a:gd name="connsiteY48" fmla="*/ 2181225 h 4496940"/>
              <a:gd name="connsiteX49" fmla="*/ 4440577 w 4519952"/>
              <a:gd name="connsiteY49" fmla="*/ 2876550 h 4496940"/>
              <a:gd name="connsiteX50" fmla="*/ 4383427 w 4519952"/>
              <a:gd name="connsiteY50" fmla="*/ 2990850 h 4496940"/>
              <a:gd name="connsiteX51" fmla="*/ 4354852 w 4519952"/>
              <a:gd name="connsiteY51" fmla="*/ 3057525 h 4496940"/>
              <a:gd name="connsiteX52" fmla="*/ 4335802 w 4519952"/>
              <a:gd name="connsiteY52" fmla="*/ 3095625 h 4496940"/>
              <a:gd name="connsiteX53" fmla="*/ 4278652 w 4519952"/>
              <a:gd name="connsiteY53" fmla="*/ 3248025 h 4496940"/>
              <a:gd name="connsiteX54" fmla="*/ 4259602 w 4519952"/>
              <a:gd name="connsiteY54" fmla="*/ 3276600 h 4496940"/>
              <a:gd name="connsiteX55" fmla="*/ 4221502 w 4519952"/>
              <a:gd name="connsiteY55" fmla="*/ 3333750 h 4496940"/>
              <a:gd name="connsiteX56" fmla="*/ 4211977 w 4519952"/>
              <a:gd name="connsiteY56" fmla="*/ 3362325 h 4496940"/>
              <a:gd name="connsiteX57" fmla="*/ 4183402 w 4519952"/>
              <a:gd name="connsiteY57" fmla="*/ 3400425 h 4496940"/>
              <a:gd name="connsiteX58" fmla="*/ 4164352 w 4519952"/>
              <a:gd name="connsiteY58" fmla="*/ 3429000 h 4496940"/>
              <a:gd name="connsiteX59" fmla="*/ 4088152 w 4519952"/>
              <a:gd name="connsiteY59" fmla="*/ 3495675 h 4496940"/>
              <a:gd name="connsiteX60" fmla="*/ 4059577 w 4519952"/>
              <a:gd name="connsiteY60" fmla="*/ 3533775 h 4496940"/>
              <a:gd name="connsiteX61" fmla="*/ 4002427 w 4519952"/>
              <a:gd name="connsiteY61" fmla="*/ 3600450 h 4496940"/>
              <a:gd name="connsiteX62" fmla="*/ 3983377 w 4519952"/>
              <a:gd name="connsiteY62" fmla="*/ 3629025 h 4496940"/>
              <a:gd name="connsiteX63" fmla="*/ 3954802 w 4519952"/>
              <a:gd name="connsiteY63" fmla="*/ 3648075 h 4496940"/>
              <a:gd name="connsiteX64" fmla="*/ 3907177 w 4519952"/>
              <a:gd name="connsiteY64" fmla="*/ 3686175 h 4496940"/>
              <a:gd name="connsiteX65" fmla="*/ 3869077 w 4519952"/>
              <a:gd name="connsiteY65" fmla="*/ 3724275 h 4496940"/>
              <a:gd name="connsiteX66" fmla="*/ 3792877 w 4519952"/>
              <a:gd name="connsiteY66" fmla="*/ 3781425 h 4496940"/>
              <a:gd name="connsiteX67" fmla="*/ 3783352 w 4519952"/>
              <a:gd name="connsiteY67" fmla="*/ 3810000 h 4496940"/>
              <a:gd name="connsiteX68" fmla="*/ 3745252 w 4519952"/>
              <a:gd name="connsiteY68" fmla="*/ 3819525 h 4496940"/>
              <a:gd name="connsiteX69" fmla="*/ 3678577 w 4519952"/>
              <a:gd name="connsiteY69" fmla="*/ 3848100 h 4496940"/>
              <a:gd name="connsiteX70" fmla="*/ 3659527 w 4519952"/>
              <a:gd name="connsiteY70" fmla="*/ 3971925 h 4496940"/>
              <a:gd name="connsiteX71" fmla="*/ 3630952 w 4519952"/>
              <a:gd name="connsiteY71" fmla="*/ 4010025 h 4496940"/>
              <a:gd name="connsiteX72" fmla="*/ 3621427 w 4519952"/>
              <a:gd name="connsiteY72" fmla="*/ 4038600 h 4496940"/>
              <a:gd name="connsiteX73" fmla="*/ 3554752 w 4519952"/>
              <a:gd name="connsiteY73" fmla="*/ 4095750 h 4496940"/>
              <a:gd name="connsiteX74" fmla="*/ 3516652 w 4519952"/>
              <a:gd name="connsiteY74" fmla="*/ 4114800 h 4496940"/>
              <a:gd name="connsiteX75" fmla="*/ 3497602 w 4519952"/>
              <a:gd name="connsiteY75" fmla="*/ 4143375 h 4496940"/>
              <a:gd name="connsiteX76" fmla="*/ 3383302 w 4519952"/>
              <a:gd name="connsiteY76" fmla="*/ 4210050 h 4496940"/>
              <a:gd name="connsiteX77" fmla="*/ 3335677 w 4519952"/>
              <a:gd name="connsiteY77" fmla="*/ 4238625 h 4496940"/>
              <a:gd name="connsiteX78" fmla="*/ 3288052 w 4519952"/>
              <a:gd name="connsiteY78" fmla="*/ 4248150 h 4496940"/>
              <a:gd name="connsiteX79" fmla="*/ 3240427 w 4519952"/>
              <a:gd name="connsiteY79" fmla="*/ 4267200 h 4496940"/>
              <a:gd name="connsiteX80" fmla="*/ 3068977 w 4519952"/>
              <a:gd name="connsiteY80" fmla="*/ 4286250 h 4496940"/>
              <a:gd name="connsiteX81" fmla="*/ 2935627 w 4519952"/>
              <a:gd name="connsiteY81" fmla="*/ 4333875 h 4496940"/>
              <a:gd name="connsiteX82" fmla="*/ 2811802 w 4519952"/>
              <a:gd name="connsiteY82" fmla="*/ 4371975 h 4496940"/>
              <a:gd name="connsiteX83" fmla="*/ 2745127 w 4519952"/>
              <a:gd name="connsiteY83" fmla="*/ 4410075 h 4496940"/>
              <a:gd name="connsiteX84" fmla="*/ 2697502 w 4519952"/>
              <a:gd name="connsiteY84" fmla="*/ 4429125 h 4496940"/>
              <a:gd name="connsiteX85" fmla="*/ 2640352 w 4519952"/>
              <a:gd name="connsiteY85" fmla="*/ 4457700 h 4496940"/>
              <a:gd name="connsiteX86" fmla="*/ 2583202 w 4519952"/>
              <a:gd name="connsiteY86" fmla="*/ 4467225 h 4496940"/>
              <a:gd name="connsiteX87" fmla="*/ 2545102 w 4519952"/>
              <a:gd name="connsiteY87" fmla="*/ 4486275 h 4496940"/>
              <a:gd name="connsiteX88" fmla="*/ 2306977 w 4519952"/>
              <a:gd name="connsiteY88" fmla="*/ 4476750 h 4496940"/>
              <a:gd name="connsiteX89" fmla="*/ 2202202 w 4519952"/>
              <a:gd name="connsiteY89" fmla="*/ 4457700 h 4496940"/>
              <a:gd name="connsiteX90" fmla="*/ 2126002 w 4519952"/>
              <a:gd name="connsiteY90" fmla="*/ 4429125 h 4496940"/>
              <a:gd name="connsiteX91" fmla="*/ 1935502 w 4519952"/>
              <a:gd name="connsiteY91" fmla="*/ 4400550 h 4496940"/>
              <a:gd name="connsiteX92" fmla="*/ 1821202 w 4519952"/>
              <a:gd name="connsiteY92" fmla="*/ 4371975 h 4496940"/>
              <a:gd name="connsiteX93" fmla="*/ 1754527 w 4519952"/>
              <a:gd name="connsiteY93" fmla="*/ 4352925 h 4496940"/>
              <a:gd name="connsiteX94" fmla="*/ 1687852 w 4519952"/>
              <a:gd name="connsiteY94" fmla="*/ 4343400 h 4496940"/>
              <a:gd name="connsiteX95" fmla="*/ 1573552 w 4519952"/>
              <a:gd name="connsiteY95" fmla="*/ 4305300 h 4496940"/>
              <a:gd name="connsiteX96" fmla="*/ 1402102 w 4519952"/>
              <a:gd name="connsiteY96" fmla="*/ 4276725 h 4496940"/>
              <a:gd name="connsiteX97" fmla="*/ 1287802 w 4519952"/>
              <a:gd name="connsiteY97" fmla="*/ 4229100 h 4496940"/>
              <a:gd name="connsiteX98" fmla="*/ 1221127 w 4519952"/>
              <a:gd name="connsiteY98" fmla="*/ 4200525 h 4496940"/>
              <a:gd name="connsiteX99" fmla="*/ 1144927 w 4519952"/>
              <a:gd name="connsiteY99" fmla="*/ 4171950 h 4496940"/>
              <a:gd name="connsiteX100" fmla="*/ 1087777 w 4519952"/>
              <a:gd name="connsiteY100" fmla="*/ 4143375 h 4496940"/>
              <a:gd name="connsiteX101" fmla="*/ 1030627 w 4519952"/>
              <a:gd name="connsiteY101" fmla="*/ 4124325 h 4496940"/>
              <a:gd name="connsiteX102" fmla="*/ 925852 w 4519952"/>
              <a:gd name="connsiteY102" fmla="*/ 4067175 h 4496940"/>
              <a:gd name="connsiteX103" fmla="*/ 830602 w 4519952"/>
              <a:gd name="connsiteY103" fmla="*/ 3981450 h 4496940"/>
              <a:gd name="connsiteX104" fmla="*/ 763927 w 4519952"/>
              <a:gd name="connsiteY104" fmla="*/ 3914775 h 4496940"/>
              <a:gd name="connsiteX105" fmla="*/ 725827 w 4519952"/>
              <a:gd name="connsiteY105" fmla="*/ 3876675 h 4496940"/>
              <a:gd name="connsiteX106" fmla="*/ 697252 w 4519952"/>
              <a:gd name="connsiteY106" fmla="*/ 3838575 h 4496940"/>
              <a:gd name="connsiteX107" fmla="*/ 640102 w 4519952"/>
              <a:gd name="connsiteY107" fmla="*/ 3781425 h 4496940"/>
              <a:gd name="connsiteX108" fmla="*/ 611527 w 4519952"/>
              <a:gd name="connsiteY108" fmla="*/ 3733800 h 4496940"/>
              <a:gd name="connsiteX109" fmla="*/ 554377 w 4519952"/>
              <a:gd name="connsiteY109" fmla="*/ 3657600 h 4496940"/>
              <a:gd name="connsiteX110" fmla="*/ 525802 w 4519952"/>
              <a:gd name="connsiteY110" fmla="*/ 3609975 h 4496940"/>
              <a:gd name="connsiteX111" fmla="*/ 497227 w 4519952"/>
              <a:gd name="connsiteY111" fmla="*/ 3552825 h 4496940"/>
              <a:gd name="connsiteX112" fmla="*/ 440077 w 4519952"/>
              <a:gd name="connsiteY112" fmla="*/ 3495675 h 4496940"/>
              <a:gd name="connsiteX113" fmla="*/ 411502 w 4519952"/>
              <a:gd name="connsiteY113" fmla="*/ 3448050 h 4496940"/>
              <a:gd name="connsiteX114" fmla="*/ 278152 w 4519952"/>
              <a:gd name="connsiteY114" fmla="*/ 3257550 h 4496940"/>
              <a:gd name="connsiteX115" fmla="*/ 249577 w 4519952"/>
              <a:gd name="connsiteY115" fmla="*/ 3200400 h 4496940"/>
              <a:gd name="connsiteX116" fmla="*/ 240052 w 4519952"/>
              <a:gd name="connsiteY116" fmla="*/ 3162300 h 4496940"/>
              <a:gd name="connsiteX117" fmla="*/ 221002 w 4519952"/>
              <a:gd name="connsiteY117" fmla="*/ 3105150 h 4496940"/>
              <a:gd name="connsiteX118" fmla="*/ 173377 w 4519952"/>
              <a:gd name="connsiteY118" fmla="*/ 3019425 h 4496940"/>
              <a:gd name="connsiteX119" fmla="*/ 144802 w 4519952"/>
              <a:gd name="connsiteY119" fmla="*/ 2924175 h 4496940"/>
              <a:gd name="connsiteX120" fmla="*/ 68602 w 4519952"/>
              <a:gd name="connsiteY120" fmla="*/ 2724150 h 4496940"/>
              <a:gd name="connsiteX121" fmla="*/ 49552 w 4519952"/>
              <a:gd name="connsiteY121" fmla="*/ 2638425 h 4496940"/>
              <a:gd name="connsiteX122" fmla="*/ 40027 w 4519952"/>
              <a:gd name="connsiteY122" fmla="*/ 2562225 h 4496940"/>
              <a:gd name="connsiteX123" fmla="*/ 30502 w 4519952"/>
              <a:gd name="connsiteY123" fmla="*/ 2514600 h 4496940"/>
              <a:gd name="connsiteX124" fmla="*/ 11452 w 4519952"/>
              <a:gd name="connsiteY124" fmla="*/ 2400300 h 4496940"/>
              <a:gd name="connsiteX125" fmla="*/ 20977 w 4519952"/>
              <a:gd name="connsiteY125" fmla="*/ 1905000 h 4496940"/>
              <a:gd name="connsiteX126" fmla="*/ 30502 w 4519952"/>
              <a:gd name="connsiteY126" fmla="*/ 1838325 h 4496940"/>
              <a:gd name="connsiteX127" fmla="*/ 49552 w 4519952"/>
              <a:gd name="connsiteY127" fmla="*/ 1781175 h 4496940"/>
              <a:gd name="connsiteX128" fmla="*/ 59077 w 4519952"/>
              <a:gd name="connsiteY128" fmla="*/ 1743075 h 4496940"/>
              <a:gd name="connsiteX129" fmla="*/ 78127 w 4519952"/>
              <a:gd name="connsiteY129" fmla="*/ 1685925 h 4496940"/>
              <a:gd name="connsiteX130" fmla="*/ 87652 w 4519952"/>
              <a:gd name="connsiteY130" fmla="*/ 1638300 h 4496940"/>
              <a:gd name="connsiteX131" fmla="*/ 106702 w 4519952"/>
              <a:gd name="connsiteY131" fmla="*/ 1590675 h 4496940"/>
              <a:gd name="connsiteX132" fmla="*/ 135277 w 4519952"/>
              <a:gd name="connsiteY132" fmla="*/ 1504950 h 4496940"/>
              <a:gd name="connsiteX133" fmla="*/ 154327 w 4519952"/>
              <a:gd name="connsiteY133" fmla="*/ 1419225 h 4496940"/>
              <a:gd name="connsiteX134" fmla="*/ 230527 w 4519952"/>
              <a:gd name="connsiteY134" fmla="*/ 1276350 h 4496940"/>
              <a:gd name="connsiteX135" fmla="*/ 240052 w 4519952"/>
              <a:gd name="connsiteY135" fmla="*/ 1247775 h 4496940"/>
              <a:gd name="connsiteX136" fmla="*/ 268627 w 4519952"/>
              <a:gd name="connsiteY136" fmla="*/ 1200150 h 4496940"/>
              <a:gd name="connsiteX137" fmla="*/ 287677 w 4519952"/>
              <a:gd name="connsiteY137" fmla="*/ 1152525 h 4496940"/>
              <a:gd name="connsiteX138" fmla="*/ 316252 w 4519952"/>
              <a:gd name="connsiteY138" fmla="*/ 1114425 h 4496940"/>
              <a:gd name="connsiteX139" fmla="*/ 363877 w 4519952"/>
              <a:gd name="connsiteY139" fmla="*/ 1038225 h 4496940"/>
              <a:gd name="connsiteX140" fmla="*/ 382927 w 4519952"/>
              <a:gd name="connsiteY140" fmla="*/ 1009650 h 4496940"/>
              <a:gd name="connsiteX141" fmla="*/ 440077 w 4519952"/>
              <a:gd name="connsiteY141" fmla="*/ 904875 h 4496940"/>
              <a:gd name="connsiteX142" fmla="*/ 478177 w 4519952"/>
              <a:gd name="connsiteY142" fmla="*/ 857250 h 4496940"/>
              <a:gd name="connsiteX143" fmla="*/ 497227 w 4519952"/>
              <a:gd name="connsiteY143" fmla="*/ 828675 h 4496940"/>
              <a:gd name="connsiteX144" fmla="*/ 535327 w 4519952"/>
              <a:gd name="connsiteY144" fmla="*/ 800100 h 4496940"/>
              <a:gd name="connsiteX145" fmla="*/ 602002 w 4519952"/>
              <a:gd name="connsiteY145" fmla="*/ 733425 h 4496940"/>
              <a:gd name="connsiteX146" fmla="*/ 668677 w 4519952"/>
              <a:gd name="connsiteY146" fmla="*/ 676275 h 4496940"/>
              <a:gd name="connsiteX147" fmla="*/ 697252 w 4519952"/>
              <a:gd name="connsiteY147" fmla="*/ 657225 h 4496940"/>
              <a:gd name="connsiteX148" fmla="*/ 840127 w 4519952"/>
              <a:gd name="connsiteY148" fmla="*/ 533400 h 4496940"/>
              <a:gd name="connsiteX149" fmla="*/ 887752 w 4519952"/>
              <a:gd name="connsiteY149" fmla="*/ 504825 h 4496940"/>
              <a:gd name="connsiteX150" fmla="*/ 1167152 w 4519952"/>
              <a:gd name="connsiteY150" fmla="*/ 311150 h 4496940"/>
              <a:gd name="connsiteX151" fmla="*/ 1268752 w 4519952"/>
              <a:gd name="connsiteY151" fmla="*/ 285750 h 4496940"/>
              <a:gd name="connsiteX152" fmla="*/ 1411627 w 4519952"/>
              <a:gd name="connsiteY152" fmla="*/ 190500 h 4496940"/>
              <a:gd name="connsiteX153" fmla="*/ 1449727 w 4519952"/>
              <a:gd name="connsiteY153" fmla="*/ 161925 h 4496940"/>
              <a:gd name="connsiteX154" fmla="*/ 1525927 w 4519952"/>
              <a:gd name="connsiteY154" fmla="*/ 152400 h 4496940"/>
              <a:gd name="connsiteX155" fmla="*/ 1583077 w 4519952"/>
              <a:gd name="connsiteY155" fmla="*/ 142875 h 4496940"/>
              <a:gd name="connsiteX156" fmla="*/ 1716427 w 4519952"/>
              <a:gd name="connsiteY156" fmla="*/ 123825 h 4496940"/>
              <a:gd name="connsiteX157" fmla="*/ 1811677 w 4519952"/>
              <a:gd name="connsiteY157" fmla="*/ 114300 h 4496940"/>
              <a:gd name="connsiteX158" fmla="*/ 1859302 w 4519952"/>
              <a:gd name="connsiteY158" fmla="*/ 104775 h 4496940"/>
              <a:gd name="connsiteX159" fmla="*/ 1916452 w 4519952"/>
              <a:gd name="connsiteY159" fmla="*/ 95250 h 4496940"/>
              <a:gd name="connsiteX160" fmla="*/ 2030752 w 4519952"/>
              <a:gd name="connsiteY160" fmla="*/ 66675 h 4496940"/>
              <a:gd name="connsiteX161" fmla="*/ 2097427 w 4519952"/>
              <a:gd name="connsiteY161" fmla="*/ 47625 h 4496940"/>
              <a:gd name="connsiteX162" fmla="*/ 2164102 w 4519952"/>
              <a:gd name="connsiteY162" fmla="*/ 38100 h 4496940"/>
              <a:gd name="connsiteX163" fmla="*/ 2392702 w 4519952"/>
              <a:gd name="connsiteY163" fmla="*/ 28575 h 4496940"/>
              <a:gd name="connsiteX0" fmla="*/ 2297452 w 4519952"/>
              <a:gd name="connsiteY0" fmla="*/ 0 h 4496940"/>
              <a:gd name="connsiteX1" fmla="*/ 2421277 w 4519952"/>
              <a:gd name="connsiteY1" fmla="*/ 28575 h 4496940"/>
              <a:gd name="connsiteX2" fmla="*/ 2497477 w 4519952"/>
              <a:gd name="connsiteY2" fmla="*/ 47625 h 4496940"/>
              <a:gd name="connsiteX3" fmla="*/ 2754652 w 4519952"/>
              <a:gd name="connsiteY3" fmla="*/ 66675 h 4496940"/>
              <a:gd name="connsiteX4" fmla="*/ 2830852 w 4519952"/>
              <a:gd name="connsiteY4" fmla="*/ 76200 h 4496940"/>
              <a:gd name="connsiteX5" fmla="*/ 2916577 w 4519952"/>
              <a:gd name="connsiteY5" fmla="*/ 85725 h 4496940"/>
              <a:gd name="connsiteX6" fmla="*/ 2973727 w 4519952"/>
              <a:gd name="connsiteY6" fmla="*/ 114300 h 4496940"/>
              <a:gd name="connsiteX7" fmla="*/ 3011827 w 4519952"/>
              <a:gd name="connsiteY7" fmla="*/ 123825 h 4496940"/>
              <a:gd name="connsiteX8" fmla="*/ 3135652 w 4519952"/>
              <a:gd name="connsiteY8" fmla="*/ 171450 h 4496940"/>
              <a:gd name="connsiteX9" fmla="*/ 3173752 w 4519952"/>
              <a:gd name="connsiteY9" fmla="*/ 190500 h 4496940"/>
              <a:gd name="connsiteX10" fmla="*/ 3240427 w 4519952"/>
              <a:gd name="connsiteY10" fmla="*/ 228600 h 4496940"/>
              <a:gd name="connsiteX11" fmla="*/ 3269002 w 4519952"/>
              <a:gd name="connsiteY11" fmla="*/ 238125 h 4496940"/>
              <a:gd name="connsiteX12" fmla="*/ 3297577 w 4519952"/>
              <a:gd name="connsiteY12" fmla="*/ 257175 h 4496940"/>
              <a:gd name="connsiteX13" fmla="*/ 3326152 w 4519952"/>
              <a:gd name="connsiteY13" fmla="*/ 266700 h 4496940"/>
              <a:gd name="connsiteX14" fmla="*/ 3354727 w 4519952"/>
              <a:gd name="connsiteY14" fmla="*/ 285750 h 4496940"/>
              <a:gd name="connsiteX15" fmla="*/ 3421402 w 4519952"/>
              <a:gd name="connsiteY15" fmla="*/ 323850 h 4496940"/>
              <a:gd name="connsiteX16" fmla="*/ 3469027 w 4519952"/>
              <a:gd name="connsiteY16" fmla="*/ 361950 h 4496940"/>
              <a:gd name="connsiteX17" fmla="*/ 3516652 w 4519952"/>
              <a:gd name="connsiteY17" fmla="*/ 390525 h 4496940"/>
              <a:gd name="connsiteX18" fmla="*/ 3545227 w 4519952"/>
              <a:gd name="connsiteY18" fmla="*/ 419100 h 4496940"/>
              <a:gd name="connsiteX19" fmla="*/ 3602377 w 4519952"/>
              <a:gd name="connsiteY19" fmla="*/ 457200 h 4496940"/>
              <a:gd name="connsiteX20" fmla="*/ 3630952 w 4519952"/>
              <a:gd name="connsiteY20" fmla="*/ 485775 h 4496940"/>
              <a:gd name="connsiteX21" fmla="*/ 3678577 w 4519952"/>
              <a:gd name="connsiteY21" fmla="*/ 504825 h 4496940"/>
              <a:gd name="connsiteX22" fmla="*/ 3745252 w 4519952"/>
              <a:gd name="connsiteY22" fmla="*/ 542925 h 4496940"/>
              <a:gd name="connsiteX23" fmla="*/ 3811927 w 4519952"/>
              <a:gd name="connsiteY23" fmla="*/ 581025 h 4496940"/>
              <a:gd name="connsiteX24" fmla="*/ 3840502 w 4519952"/>
              <a:gd name="connsiteY24" fmla="*/ 600075 h 4496940"/>
              <a:gd name="connsiteX25" fmla="*/ 3869077 w 4519952"/>
              <a:gd name="connsiteY25" fmla="*/ 628650 h 4496940"/>
              <a:gd name="connsiteX26" fmla="*/ 3907177 w 4519952"/>
              <a:gd name="connsiteY26" fmla="*/ 647700 h 4496940"/>
              <a:gd name="connsiteX27" fmla="*/ 3935752 w 4519952"/>
              <a:gd name="connsiteY27" fmla="*/ 676275 h 4496940"/>
              <a:gd name="connsiteX28" fmla="*/ 3992902 w 4519952"/>
              <a:gd name="connsiteY28" fmla="*/ 714375 h 4496940"/>
              <a:gd name="connsiteX29" fmla="*/ 4050052 w 4519952"/>
              <a:gd name="connsiteY29" fmla="*/ 790575 h 4496940"/>
              <a:gd name="connsiteX30" fmla="*/ 4078627 w 4519952"/>
              <a:gd name="connsiteY30" fmla="*/ 838200 h 4496940"/>
              <a:gd name="connsiteX31" fmla="*/ 4107202 w 4519952"/>
              <a:gd name="connsiteY31" fmla="*/ 876300 h 4496940"/>
              <a:gd name="connsiteX32" fmla="*/ 4116727 w 4519952"/>
              <a:gd name="connsiteY32" fmla="*/ 904875 h 4496940"/>
              <a:gd name="connsiteX33" fmla="*/ 4135777 w 4519952"/>
              <a:gd name="connsiteY33" fmla="*/ 933450 h 4496940"/>
              <a:gd name="connsiteX34" fmla="*/ 4164352 w 4519952"/>
              <a:gd name="connsiteY34" fmla="*/ 990600 h 4496940"/>
              <a:gd name="connsiteX35" fmla="*/ 4173877 w 4519952"/>
              <a:gd name="connsiteY35" fmla="*/ 1019175 h 4496940"/>
              <a:gd name="connsiteX36" fmla="*/ 4192927 w 4519952"/>
              <a:gd name="connsiteY36" fmla="*/ 1057275 h 4496940"/>
              <a:gd name="connsiteX37" fmla="*/ 4202452 w 4519952"/>
              <a:gd name="connsiteY37" fmla="*/ 1085850 h 4496940"/>
              <a:gd name="connsiteX38" fmla="*/ 4250077 w 4519952"/>
              <a:gd name="connsiteY38" fmla="*/ 1143000 h 4496940"/>
              <a:gd name="connsiteX39" fmla="*/ 4259602 w 4519952"/>
              <a:gd name="connsiteY39" fmla="*/ 1190625 h 4496940"/>
              <a:gd name="connsiteX40" fmla="*/ 4307227 w 4519952"/>
              <a:gd name="connsiteY40" fmla="*/ 1266825 h 4496940"/>
              <a:gd name="connsiteX41" fmla="*/ 4345327 w 4519952"/>
              <a:gd name="connsiteY41" fmla="*/ 1362075 h 4496940"/>
              <a:gd name="connsiteX42" fmla="*/ 4373902 w 4519952"/>
              <a:gd name="connsiteY42" fmla="*/ 1428750 h 4496940"/>
              <a:gd name="connsiteX43" fmla="*/ 4392952 w 4519952"/>
              <a:gd name="connsiteY43" fmla="*/ 1552575 h 4496940"/>
              <a:gd name="connsiteX44" fmla="*/ 4402477 w 4519952"/>
              <a:gd name="connsiteY44" fmla="*/ 1590675 h 4496940"/>
              <a:gd name="connsiteX45" fmla="*/ 4431052 w 4519952"/>
              <a:gd name="connsiteY45" fmla="*/ 1685925 h 4496940"/>
              <a:gd name="connsiteX46" fmla="*/ 4459627 w 4519952"/>
              <a:gd name="connsiteY46" fmla="*/ 1828800 h 4496940"/>
              <a:gd name="connsiteX47" fmla="*/ 4519952 w 4519952"/>
              <a:gd name="connsiteY47" fmla="*/ 2181225 h 4496940"/>
              <a:gd name="connsiteX48" fmla="*/ 4440577 w 4519952"/>
              <a:gd name="connsiteY48" fmla="*/ 2876550 h 4496940"/>
              <a:gd name="connsiteX49" fmla="*/ 4383427 w 4519952"/>
              <a:gd name="connsiteY49" fmla="*/ 2990850 h 4496940"/>
              <a:gd name="connsiteX50" fmla="*/ 4354852 w 4519952"/>
              <a:gd name="connsiteY50" fmla="*/ 3057525 h 4496940"/>
              <a:gd name="connsiteX51" fmla="*/ 4335802 w 4519952"/>
              <a:gd name="connsiteY51" fmla="*/ 3095625 h 4496940"/>
              <a:gd name="connsiteX52" fmla="*/ 4278652 w 4519952"/>
              <a:gd name="connsiteY52" fmla="*/ 3248025 h 4496940"/>
              <a:gd name="connsiteX53" fmla="*/ 4259602 w 4519952"/>
              <a:gd name="connsiteY53" fmla="*/ 3276600 h 4496940"/>
              <a:gd name="connsiteX54" fmla="*/ 4221502 w 4519952"/>
              <a:gd name="connsiteY54" fmla="*/ 3333750 h 4496940"/>
              <a:gd name="connsiteX55" fmla="*/ 4211977 w 4519952"/>
              <a:gd name="connsiteY55" fmla="*/ 3362325 h 4496940"/>
              <a:gd name="connsiteX56" fmla="*/ 4183402 w 4519952"/>
              <a:gd name="connsiteY56" fmla="*/ 3400425 h 4496940"/>
              <a:gd name="connsiteX57" fmla="*/ 4164352 w 4519952"/>
              <a:gd name="connsiteY57" fmla="*/ 3429000 h 4496940"/>
              <a:gd name="connsiteX58" fmla="*/ 4088152 w 4519952"/>
              <a:gd name="connsiteY58" fmla="*/ 3495675 h 4496940"/>
              <a:gd name="connsiteX59" fmla="*/ 4059577 w 4519952"/>
              <a:gd name="connsiteY59" fmla="*/ 3533775 h 4496940"/>
              <a:gd name="connsiteX60" fmla="*/ 4002427 w 4519952"/>
              <a:gd name="connsiteY60" fmla="*/ 3600450 h 4496940"/>
              <a:gd name="connsiteX61" fmla="*/ 3983377 w 4519952"/>
              <a:gd name="connsiteY61" fmla="*/ 3629025 h 4496940"/>
              <a:gd name="connsiteX62" fmla="*/ 3954802 w 4519952"/>
              <a:gd name="connsiteY62" fmla="*/ 3648075 h 4496940"/>
              <a:gd name="connsiteX63" fmla="*/ 3907177 w 4519952"/>
              <a:gd name="connsiteY63" fmla="*/ 3686175 h 4496940"/>
              <a:gd name="connsiteX64" fmla="*/ 3869077 w 4519952"/>
              <a:gd name="connsiteY64" fmla="*/ 3724275 h 4496940"/>
              <a:gd name="connsiteX65" fmla="*/ 3792877 w 4519952"/>
              <a:gd name="connsiteY65" fmla="*/ 3781425 h 4496940"/>
              <a:gd name="connsiteX66" fmla="*/ 3783352 w 4519952"/>
              <a:gd name="connsiteY66" fmla="*/ 3810000 h 4496940"/>
              <a:gd name="connsiteX67" fmla="*/ 3745252 w 4519952"/>
              <a:gd name="connsiteY67" fmla="*/ 3819525 h 4496940"/>
              <a:gd name="connsiteX68" fmla="*/ 3678577 w 4519952"/>
              <a:gd name="connsiteY68" fmla="*/ 3848100 h 4496940"/>
              <a:gd name="connsiteX69" fmla="*/ 3659527 w 4519952"/>
              <a:gd name="connsiteY69" fmla="*/ 3971925 h 4496940"/>
              <a:gd name="connsiteX70" fmla="*/ 3630952 w 4519952"/>
              <a:gd name="connsiteY70" fmla="*/ 4010025 h 4496940"/>
              <a:gd name="connsiteX71" fmla="*/ 3621427 w 4519952"/>
              <a:gd name="connsiteY71" fmla="*/ 4038600 h 4496940"/>
              <a:gd name="connsiteX72" fmla="*/ 3554752 w 4519952"/>
              <a:gd name="connsiteY72" fmla="*/ 4095750 h 4496940"/>
              <a:gd name="connsiteX73" fmla="*/ 3516652 w 4519952"/>
              <a:gd name="connsiteY73" fmla="*/ 4114800 h 4496940"/>
              <a:gd name="connsiteX74" fmla="*/ 3497602 w 4519952"/>
              <a:gd name="connsiteY74" fmla="*/ 4143375 h 4496940"/>
              <a:gd name="connsiteX75" fmla="*/ 3383302 w 4519952"/>
              <a:gd name="connsiteY75" fmla="*/ 4210050 h 4496940"/>
              <a:gd name="connsiteX76" fmla="*/ 3335677 w 4519952"/>
              <a:gd name="connsiteY76" fmla="*/ 4238625 h 4496940"/>
              <a:gd name="connsiteX77" fmla="*/ 3288052 w 4519952"/>
              <a:gd name="connsiteY77" fmla="*/ 4248150 h 4496940"/>
              <a:gd name="connsiteX78" fmla="*/ 3240427 w 4519952"/>
              <a:gd name="connsiteY78" fmla="*/ 4267200 h 4496940"/>
              <a:gd name="connsiteX79" fmla="*/ 3068977 w 4519952"/>
              <a:gd name="connsiteY79" fmla="*/ 4286250 h 4496940"/>
              <a:gd name="connsiteX80" fmla="*/ 2935627 w 4519952"/>
              <a:gd name="connsiteY80" fmla="*/ 4333875 h 4496940"/>
              <a:gd name="connsiteX81" fmla="*/ 2811802 w 4519952"/>
              <a:gd name="connsiteY81" fmla="*/ 4371975 h 4496940"/>
              <a:gd name="connsiteX82" fmla="*/ 2745127 w 4519952"/>
              <a:gd name="connsiteY82" fmla="*/ 4410075 h 4496940"/>
              <a:gd name="connsiteX83" fmla="*/ 2697502 w 4519952"/>
              <a:gd name="connsiteY83" fmla="*/ 4429125 h 4496940"/>
              <a:gd name="connsiteX84" fmla="*/ 2640352 w 4519952"/>
              <a:gd name="connsiteY84" fmla="*/ 4457700 h 4496940"/>
              <a:gd name="connsiteX85" fmla="*/ 2583202 w 4519952"/>
              <a:gd name="connsiteY85" fmla="*/ 4467225 h 4496940"/>
              <a:gd name="connsiteX86" fmla="*/ 2545102 w 4519952"/>
              <a:gd name="connsiteY86" fmla="*/ 4486275 h 4496940"/>
              <a:gd name="connsiteX87" fmla="*/ 2306977 w 4519952"/>
              <a:gd name="connsiteY87" fmla="*/ 4476750 h 4496940"/>
              <a:gd name="connsiteX88" fmla="*/ 2202202 w 4519952"/>
              <a:gd name="connsiteY88" fmla="*/ 4457700 h 4496940"/>
              <a:gd name="connsiteX89" fmla="*/ 2126002 w 4519952"/>
              <a:gd name="connsiteY89" fmla="*/ 4429125 h 4496940"/>
              <a:gd name="connsiteX90" fmla="*/ 1935502 w 4519952"/>
              <a:gd name="connsiteY90" fmla="*/ 4400550 h 4496940"/>
              <a:gd name="connsiteX91" fmla="*/ 1821202 w 4519952"/>
              <a:gd name="connsiteY91" fmla="*/ 4371975 h 4496940"/>
              <a:gd name="connsiteX92" fmla="*/ 1754527 w 4519952"/>
              <a:gd name="connsiteY92" fmla="*/ 4352925 h 4496940"/>
              <a:gd name="connsiteX93" fmla="*/ 1687852 w 4519952"/>
              <a:gd name="connsiteY93" fmla="*/ 4343400 h 4496940"/>
              <a:gd name="connsiteX94" fmla="*/ 1573552 w 4519952"/>
              <a:gd name="connsiteY94" fmla="*/ 4305300 h 4496940"/>
              <a:gd name="connsiteX95" fmla="*/ 1402102 w 4519952"/>
              <a:gd name="connsiteY95" fmla="*/ 4276725 h 4496940"/>
              <a:gd name="connsiteX96" fmla="*/ 1287802 w 4519952"/>
              <a:gd name="connsiteY96" fmla="*/ 4229100 h 4496940"/>
              <a:gd name="connsiteX97" fmla="*/ 1221127 w 4519952"/>
              <a:gd name="connsiteY97" fmla="*/ 4200525 h 4496940"/>
              <a:gd name="connsiteX98" fmla="*/ 1144927 w 4519952"/>
              <a:gd name="connsiteY98" fmla="*/ 4171950 h 4496940"/>
              <a:gd name="connsiteX99" fmla="*/ 1087777 w 4519952"/>
              <a:gd name="connsiteY99" fmla="*/ 4143375 h 4496940"/>
              <a:gd name="connsiteX100" fmla="*/ 1030627 w 4519952"/>
              <a:gd name="connsiteY100" fmla="*/ 4124325 h 4496940"/>
              <a:gd name="connsiteX101" fmla="*/ 925852 w 4519952"/>
              <a:gd name="connsiteY101" fmla="*/ 4067175 h 4496940"/>
              <a:gd name="connsiteX102" fmla="*/ 830602 w 4519952"/>
              <a:gd name="connsiteY102" fmla="*/ 3981450 h 4496940"/>
              <a:gd name="connsiteX103" fmla="*/ 763927 w 4519952"/>
              <a:gd name="connsiteY103" fmla="*/ 3914775 h 4496940"/>
              <a:gd name="connsiteX104" fmla="*/ 725827 w 4519952"/>
              <a:gd name="connsiteY104" fmla="*/ 3876675 h 4496940"/>
              <a:gd name="connsiteX105" fmla="*/ 697252 w 4519952"/>
              <a:gd name="connsiteY105" fmla="*/ 3838575 h 4496940"/>
              <a:gd name="connsiteX106" fmla="*/ 640102 w 4519952"/>
              <a:gd name="connsiteY106" fmla="*/ 3781425 h 4496940"/>
              <a:gd name="connsiteX107" fmla="*/ 611527 w 4519952"/>
              <a:gd name="connsiteY107" fmla="*/ 3733800 h 4496940"/>
              <a:gd name="connsiteX108" fmla="*/ 554377 w 4519952"/>
              <a:gd name="connsiteY108" fmla="*/ 3657600 h 4496940"/>
              <a:gd name="connsiteX109" fmla="*/ 525802 w 4519952"/>
              <a:gd name="connsiteY109" fmla="*/ 3609975 h 4496940"/>
              <a:gd name="connsiteX110" fmla="*/ 497227 w 4519952"/>
              <a:gd name="connsiteY110" fmla="*/ 3552825 h 4496940"/>
              <a:gd name="connsiteX111" fmla="*/ 440077 w 4519952"/>
              <a:gd name="connsiteY111" fmla="*/ 3495675 h 4496940"/>
              <a:gd name="connsiteX112" fmla="*/ 411502 w 4519952"/>
              <a:gd name="connsiteY112" fmla="*/ 3448050 h 4496940"/>
              <a:gd name="connsiteX113" fmla="*/ 278152 w 4519952"/>
              <a:gd name="connsiteY113" fmla="*/ 3257550 h 4496940"/>
              <a:gd name="connsiteX114" fmla="*/ 249577 w 4519952"/>
              <a:gd name="connsiteY114" fmla="*/ 3200400 h 4496940"/>
              <a:gd name="connsiteX115" fmla="*/ 240052 w 4519952"/>
              <a:gd name="connsiteY115" fmla="*/ 3162300 h 4496940"/>
              <a:gd name="connsiteX116" fmla="*/ 221002 w 4519952"/>
              <a:gd name="connsiteY116" fmla="*/ 3105150 h 4496940"/>
              <a:gd name="connsiteX117" fmla="*/ 173377 w 4519952"/>
              <a:gd name="connsiteY117" fmla="*/ 3019425 h 4496940"/>
              <a:gd name="connsiteX118" fmla="*/ 144802 w 4519952"/>
              <a:gd name="connsiteY118" fmla="*/ 2924175 h 4496940"/>
              <a:gd name="connsiteX119" fmla="*/ 68602 w 4519952"/>
              <a:gd name="connsiteY119" fmla="*/ 2724150 h 4496940"/>
              <a:gd name="connsiteX120" fmla="*/ 49552 w 4519952"/>
              <a:gd name="connsiteY120" fmla="*/ 2638425 h 4496940"/>
              <a:gd name="connsiteX121" fmla="*/ 40027 w 4519952"/>
              <a:gd name="connsiteY121" fmla="*/ 2562225 h 4496940"/>
              <a:gd name="connsiteX122" fmla="*/ 30502 w 4519952"/>
              <a:gd name="connsiteY122" fmla="*/ 2514600 h 4496940"/>
              <a:gd name="connsiteX123" fmla="*/ 11452 w 4519952"/>
              <a:gd name="connsiteY123" fmla="*/ 2400300 h 4496940"/>
              <a:gd name="connsiteX124" fmla="*/ 20977 w 4519952"/>
              <a:gd name="connsiteY124" fmla="*/ 1905000 h 4496940"/>
              <a:gd name="connsiteX125" fmla="*/ 30502 w 4519952"/>
              <a:gd name="connsiteY125" fmla="*/ 1838325 h 4496940"/>
              <a:gd name="connsiteX126" fmla="*/ 49552 w 4519952"/>
              <a:gd name="connsiteY126" fmla="*/ 1781175 h 4496940"/>
              <a:gd name="connsiteX127" fmla="*/ 59077 w 4519952"/>
              <a:gd name="connsiteY127" fmla="*/ 1743075 h 4496940"/>
              <a:gd name="connsiteX128" fmla="*/ 78127 w 4519952"/>
              <a:gd name="connsiteY128" fmla="*/ 1685925 h 4496940"/>
              <a:gd name="connsiteX129" fmla="*/ 87652 w 4519952"/>
              <a:gd name="connsiteY129" fmla="*/ 1638300 h 4496940"/>
              <a:gd name="connsiteX130" fmla="*/ 106702 w 4519952"/>
              <a:gd name="connsiteY130" fmla="*/ 1590675 h 4496940"/>
              <a:gd name="connsiteX131" fmla="*/ 135277 w 4519952"/>
              <a:gd name="connsiteY131" fmla="*/ 1504950 h 4496940"/>
              <a:gd name="connsiteX132" fmla="*/ 154327 w 4519952"/>
              <a:gd name="connsiteY132" fmla="*/ 1419225 h 4496940"/>
              <a:gd name="connsiteX133" fmla="*/ 230527 w 4519952"/>
              <a:gd name="connsiteY133" fmla="*/ 1276350 h 4496940"/>
              <a:gd name="connsiteX134" fmla="*/ 240052 w 4519952"/>
              <a:gd name="connsiteY134" fmla="*/ 1247775 h 4496940"/>
              <a:gd name="connsiteX135" fmla="*/ 268627 w 4519952"/>
              <a:gd name="connsiteY135" fmla="*/ 1200150 h 4496940"/>
              <a:gd name="connsiteX136" fmla="*/ 287677 w 4519952"/>
              <a:gd name="connsiteY136" fmla="*/ 1152525 h 4496940"/>
              <a:gd name="connsiteX137" fmla="*/ 316252 w 4519952"/>
              <a:gd name="connsiteY137" fmla="*/ 1114425 h 4496940"/>
              <a:gd name="connsiteX138" fmla="*/ 363877 w 4519952"/>
              <a:gd name="connsiteY138" fmla="*/ 1038225 h 4496940"/>
              <a:gd name="connsiteX139" fmla="*/ 382927 w 4519952"/>
              <a:gd name="connsiteY139" fmla="*/ 1009650 h 4496940"/>
              <a:gd name="connsiteX140" fmla="*/ 440077 w 4519952"/>
              <a:gd name="connsiteY140" fmla="*/ 904875 h 4496940"/>
              <a:gd name="connsiteX141" fmla="*/ 478177 w 4519952"/>
              <a:gd name="connsiteY141" fmla="*/ 857250 h 4496940"/>
              <a:gd name="connsiteX142" fmla="*/ 497227 w 4519952"/>
              <a:gd name="connsiteY142" fmla="*/ 828675 h 4496940"/>
              <a:gd name="connsiteX143" fmla="*/ 535327 w 4519952"/>
              <a:gd name="connsiteY143" fmla="*/ 800100 h 4496940"/>
              <a:gd name="connsiteX144" fmla="*/ 602002 w 4519952"/>
              <a:gd name="connsiteY144" fmla="*/ 733425 h 4496940"/>
              <a:gd name="connsiteX145" fmla="*/ 668677 w 4519952"/>
              <a:gd name="connsiteY145" fmla="*/ 676275 h 4496940"/>
              <a:gd name="connsiteX146" fmla="*/ 697252 w 4519952"/>
              <a:gd name="connsiteY146" fmla="*/ 657225 h 4496940"/>
              <a:gd name="connsiteX147" fmla="*/ 840127 w 4519952"/>
              <a:gd name="connsiteY147" fmla="*/ 533400 h 4496940"/>
              <a:gd name="connsiteX148" fmla="*/ 887752 w 4519952"/>
              <a:gd name="connsiteY148" fmla="*/ 504825 h 4496940"/>
              <a:gd name="connsiteX149" fmla="*/ 1167152 w 4519952"/>
              <a:gd name="connsiteY149" fmla="*/ 311150 h 4496940"/>
              <a:gd name="connsiteX150" fmla="*/ 1268752 w 4519952"/>
              <a:gd name="connsiteY150" fmla="*/ 285750 h 4496940"/>
              <a:gd name="connsiteX151" fmla="*/ 1411627 w 4519952"/>
              <a:gd name="connsiteY151" fmla="*/ 190500 h 4496940"/>
              <a:gd name="connsiteX152" fmla="*/ 1449727 w 4519952"/>
              <a:gd name="connsiteY152" fmla="*/ 161925 h 4496940"/>
              <a:gd name="connsiteX153" fmla="*/ 1525927 w 4519952"/>
              <a:gd name="connsiteY153" fmla="*/ 152400 h 4496940"/>
              <a:gd name="connsiteX154" fmla="*/ 1583077 w 4519952"/>
              <a:gd name="connsiteY154" fmla="*/ 142875 h 4496940"/>
              <a:gd name="connsiteX155" fmla="*/ 1716427 w 4519952"/>
              <a:gd name="connsiteY155" fmla="*/ 123825 h 4496940"/>
              <a:gd name="connsiteX156" fmla="*/ 1811677 w 4519952"/>
              <a:gd name="connsiteY156" fmla="*/ 114300 h 4496940"/>
              <a:gd name="connsiteX157" fmla="*/ 1859302 w 4519952"/>
              <a:gd name="connsiteY157" fmla="*/ 104775 h 4496940"/>
              <a:gd name="connsiteX158" fmla="*/ 1916452 w 4519952"/>
              <a:gd name="connsiteY158" fmla="*/ 95250 h 4496940"/>
              <a:gd name="connsiteX159" fmla="*/ 2030752 w 4519952"/>
              <a:gd name="connsiteY159" fmla="*/ 66675 h 4496940"/>
              <a:gd name="connsiteX160" fmla="*/ 2097427 w 4519952"/>
              <a:gd name="connsiteY160" fmla="*/ 47625 h 4496940"/>
              <a:gd name="connsiteX161" fmla="*/ 2164102 w 4519952"/>
              <a:gd name="connsiteY161" fmla="*/ 38100 h 4496940"/>
              <a:gd name="connsiteX162" fmla="*/ 2392702 w 4519952"/>
              <a:gd name="connsiteY162" fmla="*/ 28575 h 4496940"/>
              <a:gd name="connsiteX0" fmla="*/ 2297452 w 4519983"/>
              <a:gd name="connsiteY0" fmla="*/ 0 h 4496940"/>
              <a:gd name="connsiteX1" fmla="*/ 2421277 w 4519983"/>
              <a:gd name="connsiteY1" fmla="*/ 28575 h 4496940"/>
              <a:gd name="connsiteX2" fmla="*/ 2497477 w 4519983"/>
              <a:gd name="connsiteY2" fmla="*/ 47625 h 4496940"/>
              <a:gd name="connsiteX3" fmla="*/ 2754652 w 4519983"/>
              <a:gd name="connsiteY3" fmla="*/ 66675 h 4496940"/>
              <a:gd name="connsiteX4" fmla="*/ 2830852 w 4519983"/>
              <a:gd name="connsiteY4" fmla="*/ 76200 h 4496940"/>
              <a:gd name="connsiteX5" fmla="*/ 2916577 w 4519983"/>
              <a:gd name="connsiteY5" fmla="*/ 85725 h 4496940"/>
              <a:gd name="connsiteX6" fmla="*/ 2973727 w 4519983"/>
              <a:gd name="connsiteY6" fmla="*/ 114300 h 4496940"/>
              <a:gd name="connsiteX7" fmla="*/ 3011827 w 4519983"/>
              <a:gd name="connsiteY7" fmla="*/ 123825 h 4496940"/>
              <a:gd name="connsiteX8" fmla="*/ 3135652 w 4519983"/>
              <a:gd name="connsiteY8" fmla="*/ 171450 h 4496940"/>
              <a:gd name="connsiteX9" fmla="*/ 3173752 w 4519983"/>
              <a:gd name="connsiteY9" fmla="*/ 190500 h 4496940"/>
              <a:gd name="connsiteX10" fmla="*/ 3240427 w 4519983"/>
              <a:gd name="connsiteY10" fmla="*/ 228600 h 4496940"/>
              <a:gd name="connsiteX11" fmla="*/ 3269002 w 4519983"/>
              <a:gd name="connsiteY11" fmla="*/ 238125 h 4496940"/>
              <a:gd name="connsiteX12" fmla="*/ 3297577 w 4519983"/>
              <a:gd name="connsiteY12" fmla="*/ 257175 h 4496940"/>
              <a:gd name="connsiteX13" fmla="*/ 3326152 w 4519983"/>
              <a:gd name="connsiteY13" fmla="*/ 266700 h 4496940"/>
              <a:gd name="connsiteX14" fmla="*/ 3354727 w 4519983"/>
              <a:gd name="connsiteY14" fmla="*/ 285750 h 4496940"/>
              <a:gd name="connsiteX15" fmla="*/ 3421402 w 4519983"/>
              <a:gd name="connsiteY15" fmla="*/ 323850 h 4496940"/>
              <a:gd name="connsiteX16" fmla="*/ 3469027 w 4519983"/>
              <a:gd name="connsiteY16" fmla="*/ 361950 h 4496940"/>
              <a:gd name="connsiteX17" fmla="*/ 3516652 w 4519983"/>
              <a:gd name="connsiteY17" fmla="*/ 390525 h 4496940"/>
              <a:gd name="connsiteX18" fmla="*/ 3545227 w 4519983"/>
              <a:gd name="connsiteY18" fmla="*/ 419100 h 4496940"/>
              <a:gd name="connsiteX19" fmla="*/ 3602377 w 4519983"/>
              <a:gd name="connsiteY19" fmla="*/ 457200 h 4496940"/>
              <a:gd name="connsiteX20" fmla="*/ 3630952 w 4519983"/>
              <a:gd name="connsiteY20" fmla="*/ 485775 h 4496940"/>
              <a:gd name="connsiteX21" fmla="*/ 3678577 w 4519983"/>
              <a:gd name="connsiteY21" fmla="*/ 504825 h 4496940"/>
              <a:gd name="connsiteX22" fmla="*/ 3745252 w 4519983"/>
              <a:gd name="connsiteY22" fmla="*/ 542925 h 4496940"/>
              <a:gd name="connsiteX23" fmla="*/ 3811927 w 4519983"/>
              <a:gd name="connsiteY23" fmla="*/ 581025 h 4496940"/>
              <a:gd name="connsiteX24" fmla="*/ 3840502 w 4519983"/>
              <a:gd name="connsiteY24" fmla="*/ 600075 h 4496940"/>
              <a:gd name="connsiteX25" fmla="*/ 3869077 w 4519983"/>
              <a:gd name="connsiteY25" fmla="*/ 628650 h 4496940"/>
              <a:gd name="connsiteX26" fmla="*/ 3907177 w 4519983"/>
              <a:gd name="connsiteY26" fmla="*/ 647700 h 4496940"/>
              <a:gd name="connsiteX27" fmla="*/ 3935752 w 4519983"/>
              <a:gd name="connsiteY27" fmla="*/ 676275 h 4496940"/>
              <a:gd name="connsiteX28" fmla="*/ 3992902 w 4519983"/>
              <a:gd name="connsiteY28" fmla="*/ 714375 h 4496940"/>
              <a:gd name="connsiteX29" fmla="*/ 4050052 w 4519983"/>
              <a:gd name="connsiteY29" fmla="*/ 790575 h 4496940"/>
              <a:gd name="connsiteX30" fmla="*/ 4078627 w 4519983"/>
              <a:gd name="connsiteY30" fmla="*/ 838200 h 4496940"/>
              <a:gd name="connsiteX31" fmla="*/ 4107202 w 4519983"/>
              <a:gd name="connsiteY31" fmla="*/ 876300 h 4496940"/>
              <a:gd name="connsiteX32" fmla="*/ 4116727 w 4519983"/>
              <a:gd name="connsiteY32" fmla="*/ 904875 h 4496940"/>
              <a:gd name="connsiteX33" fmla="*/ 4135777 w 4519983"/>
              <a:gd name="connsiteY33" fmla="*/ 933450 h 4496940"/>
              <a:gd name="connsiteX34" fmla="*/ 4164352 w 4519983"/>
              <a:gd name="connsiteY34" fmla="*/ 990600 h 4496940"/>
              <a:gd name="connsiteX35" fmla="*/ 4173877 w 4519983"/>
              <a:gd name="connsiteY35" fmla="*/ 1019175 h 4496940"/>
              <a:gd name="connsiteX36" fmla="*/ 4192927 w 4519983"/>
              <a:gd name="connsiteY36" fmla="*/ 1057275 h 4496940"/>
              <a:gd name="connsiteX37" fmla="*/ 4202452 w 4519983"/>
              <a:gd name="connsiteY37" fmla="*/ 1085850 h 4496940"/>
              <a:gd name="connsiteX38" fmla="*/ 4250077 w 4519983"/>
              <a:gd name="connsiteY38" fmla="*/ 1143000 h 4496940"/>
              <a:gd name="connsiteX39" fmla="*/ 4259602 w 4519983"/>
              <a:gd name="connsiteY39" fmla="*/ 1190625 h 4496940"/>
              <a:gd name="connsiteX40" fmla="*/ 4307227 w 4519983"/>
              <a:gd name="connsiteY40" fmla="*/ 1266825 h 4496940"/>
              <a:gd name="connsiteX41" fmla="*/ 4345327 w 4519983"/>
              <a:gd name="connsiteY41" fmla="*/ 1362075 h 4496940"/>
              <a:gd name="connsiteX42" fmla="*/ 4373902 w 4519983"/>
              <a:gd name="connsiteY42" fmla="*/ 1428750 h 4496940"/>
              <a:gd name="connsiteX43" fmla="*/ 4392952 w 4519983"/>
              <a:gd name="connsiteY43" fmla="*/ 1552575 h 4496940"/>
              <a:gd name="connsiteX44" fmla="*/ 4402477 w 4519983"/>
              <a:gd name="connsiteY44" fmla="*/ 1590675 h 4496940"/>
              <a:gd name="connsiteX45" fmla="*/ 4431052 w 4519983"/>
              <a:gd name="connsiteY45" fmla="*/ 1685925 h 4496940"/>
              <a:gd name="connsiteX46" fmla="*/ 4519952 w 4519983"/>
              <a:gd name="connsiteY46" fmla="*/ 2181225 h 4496940"/>
              <a:gd name="connsiteX47" fmla="*/ 4440577 w 4519983"/>
              <a:gd name="connsiteY47" fmla="*/ 2876550 h 4496940"/>
              <a:gd name="connsiteX48" fmla="*/ 4383427 w 4519983"/>
              <a:gd name="connsiteY48" fmla="*/ 2990850 h 4496940"/>
              <a:gd name="connsiteX49" fmla="*/ 4354852 w 4519983"/>
              <a:gd name="connsiteY49" fmla="*/ 3057525 h 4496940"/>
              <a:gd name="connsiteX50" fmla="*/ 4335802 w 4519983"/>
              <a:gd name="connsiteY50" fmla="*/ 3095625 h 4496940"/>
              <a:gd name="connsiteX51" fmla="*/ 4278652 w 4519983"/>
              <a:gd name="connsiteY51" fmla="*/ 3248025 h 4496940"/>
              <a:gd name="connsiteX52" fmla="*/ 4259602 w 4519983"/>
              <a:gd name="connsiteY52" fmla="*/ 3276600 h 4496940"/>
              <a:gd name="connsiteX53" fmla="*/ 4221502 w 4519983"/>
              <a:gd name="connsiteY53" fmla="*/ 3333750 h 4496940"/>
              <a:gd name="connsiteX54" fmla="*/ 4211977 w 4519983"/>
              <a:gd name="connsiteY54" fmla="*/ 3362325 h 4496940"/>
              <a:gd name="connsiteX55" fmla="*/ 4183402 w 4519983"/>
              <a:gd name="connsiteY55" fmla="*/ 3400425 h 4496940"/>
              <a:gd name="connsiteX56" fmla="*/ 4164352 w 4519983"/>
              <a:gd name="connsiteY56" fmla="*/ 3429000 h 4496940"/>
              <a:gd name="connsiteX57" fmla="*/ 4088152 w 4519983"/>
              <a:gd name="connsiteY57" fmla="*/ 3495675 h 4496940"/>
              <a:gd name="connsiteX58" fmla="*/ 4059577 w 4519983"/>
              <a:gd name="connsiteY58" fmla="*/ 3533775 h 4496940"/>
              <a:gd name="connsiteX59" fmla="*/ 4002427 w 4519983"/>
              <a:gd name="connsiteY59" fmla="*/ 3600450 h 4496940"/>
              <a:gd name="connsiteX60" fmla="*/ 3983377 w 4519983"/>
              <a:gd name="connsiteY60" fmla="*/ 3629025 h 4496940"/>
              <a:gd name="connsiteX61" fmla="*/ 3954802 w 4519983"/>
              <a:gd name="connsiteY61" fmla="*/ 3648075 h 4496940"/>
              <a:gd name="connsiteX62" fmla="*/ 3907177 w 4519983"/>
              <a:gd name="connsiteY62" fmla="*/ 3686175 h 4496940"/>
              <a:gd name="connsiteX63" fmla="*/ 3869077 w 4519983"/>
              <a:gd name="connsiteY63" fmla="*/ 3724275 h 4496940"/>
              <a:gd name="connsiteX64" fmla="*/ 3792877 w 4519983"/>
              <a:gd name="connsiteY64" fmla="*/ 3781425 h 4496940"/>
              <a:gd name="connsiteX65" fmla="*/ 3783352 w 4519983"/>
              <a:gd name="connsiteY65" fmla="*/ 3810000 h 4496940"/>
              <a:gd name="connsiteX66" fmla="*/ 3745252 w 4519983"/>
              <a:gd name="connsiteY66" fmla="*/ 3819525 h 4496940"/>
              <a:gd name="connsiteX67" fmla="*/ 3678577 w 4519983"/>
              <a:gd name="connsiteY67" fmla="*/ 3848100 h 4496940"/>
              <a:gd name="connsiteX68" fmla="*/ 3659527 w 4519983"/>
              <a:gd name="connsiteY68" fmla="*/ 3971925 h 4496940"/>
              <a:gd name="connsiteX69" fmla="*/ 3630952 w 4519983"/>
              <a:gd name="connsiteY69" fmla="*/ 4010025 h 4496940"/>
              <a:gd name="connsiteX70" fmla="*/ 3621427 w 4519983"/>
              <a:gd name="connsiteY70" fmla="*/ 4038600 h 4496940"/>
              <a:gd name="connsiteX71" fmla="*/ 3554752 w 4519983"/>
              <a:gd name="connsiteY71" fmla="*/ 4095750 h 4496940"/>
              <a:gd name="connsiteX72" fmla="*/ 3516652 w 4519983"/>
              <a:gd name="connsiteY72" fmla="*/ 4114800 h 4496940"/>
              <a:gd name="connsiteX73" fmla="*/ 3497602 w 4519983"/>
              <a:gd name="connsiteY73" fmla="*/ 4143375 h 4496940"/>
              <a:gd name="connsiteX74" fmla="*/ 3383302 w 4519983"/>
              <a:gd name="connsiteY74" fmla="*/ 4210050 h 4496940"/>
              <a:gd name="connsiteX75" fmla="*/ 3335677 w 4519983"/>
              <a:gd name="connsiteY75" fmla="*/ 4238625 h 4496940"/>
              <a:gd name="connsiteX76" fmla="*/ 3288052 w 4519983"/>
              <a:gd name="connsiteY76" fmla="*/ 4248150 h 4496940"/>
              <a:gd name="connsiteX77" fmla="*/ 3240427 w 4519983"/>
              <a:gd name="connsiteY77" fmla="*/ 4267200 h 4496940"/>
              <a:gd name="connsiteX78" fmla="*/ 3068977 w 4519983"/>
              <a:gd name="connsiteY78" fmla="*/ 4286250 h 4496940"/>
              <a:gd name="connsiteX79" fmla="*/ 2935627 w 4519983"/>
              <a:gd name="connsiteY79" fmla="*/ 4333875 h 4496940"/>
              <a:gd name="connsiteX80" fmla="*/ 2811802 w 4519983"/>
              <a:gd name="connsiteY80" fmla="*/ 4371975 h 4496940"/>
              <a:gd name="connsiteX81" fmla="*/ 2745127 w 4519983"/>
              <a:gd name="connsiteY81" fmla="*/ 4410075 h 4496940"/>
              <a:gd name="connsiteX82" fmla="*/ 2697502 w 4519983"/>
              <a:gd name="connsiteY82" fmla="*/ 4429125 h 4496940"/>
              <a:gd name="connsiteX83" fmla="*/ 2640352 w 4519983"/>
              <a:gd name="connsiteY83" fmla="*/ 4457700 h 4496940"/>
              <a:gd name="connsiteX84" fmla="*/ 2583202 w 4519983"/>
              <a:gd name="connsiteY84" fmla="*/ 4467225 h 4496940"/>
              <a:gd name="connsiteX85" fmla="*/ 2545102 w 4519983"/>
              <a:gd name="connsiteY85" fmla="*/ 4486275 h 4496940"/>
              <a:gd name="connsiteX86" fmla="*/ 2306977 w 4519983"/>
              <a:gd name="connsiteY86" fmla="*/ 4476750 h 4496940"/>
              <a:gd name="connsiteX87" fmla="*/ 2202202 w 4519983"/>
              <a:gd name="connsiteY87" fmla="*/ 4457700 h 4496940"/>
              <a:gd name="connsiteX88" fmla="*/ 2126002 w 4519983"/>
              <a:gd name="connsiteY88" fmla="*/ 4429125 h 4496940"/>
              <a:gd name="connsiteX89" fmla="*/ 1935502 w 4519983"/>
              <a:gd name="connsiteY89" fmla="*/ 4400550 h 4496940"/>
              <a:gd name="connsiteX90" fmla="*/ 1821202 w 4519983"/>
              <a:gd name="connsiteY90" fmla="*/ 4371975 h 4496940"/>
              <a:gd name="connsiteX91" fmla="*/ 1754527 w 4519983"/>
              <a:gd name="connsiteY91" fmla="*/ 4352925 h 4496940"/>
              <a:gd name="connsiteX92" fmla="*/ 1687852 w 4519983"/>
              <a:gd name="connsiteY92" fmla="*/ 4343400 h 4496940"/>
              <a:gd name="connsiteX93" fmla="*/ 1573552 w 4519983"/>
              <a:gd name="connsiteY93" fmla="*/ 4305300 h 4496940"/>
              <a:gd name="connsiteX94" fmla="*/ 1402102 w 4519983"/>
              <a:gd name="connsiteY94" fmla="*/ 4276725 h 4496940"/>
              <a:gd name="connsiteX95" fmla="*/ 1287802 w 4519983"/>
              <a:gd name="connsiteY95" fmla="*/ 4229100 h 4496940"/>
              <a:gd name="connsiteX96" fmla="*/ 1221127 w 4519983"/>
              <a:gd name="connsiteY96" fmla="*/ 4200525 h 4496940"/>
              <a:gd name="connsiteX97" fmla="*/ 1144927 w 4519983"/>
              <a:gd name="connsiteY97" fmla="*/ 4171950 h 4496940"/>
              <a:gd name="connsiteX98" fmla="*/ 1087777 w 4519983"/>
              <a:gd name="connsiteY98" fmla="*/ 4143375 h 4496940"/>
              <a:gd name="connsiteX99" fmla="*/ 1030627 w 4519983"/>
              <a:gd name="connsiteY99" fmla="*/ 4124325 h 4496940"/>
              <a:gd name="connsiteX100" fmla="*/ 925852 w 4519983"/>
              <a:gd name="connsiteY100" fmla="*/ 4067175 h 4496940"/>
              <a:gd name="connsiteX101" fmla="*/ 830602 w 4519983"/>
              <a:gd name="connsiteY101" fmla="*/ 3981450 h 4496940"/>
              <a:gd name="connsiteX102" fmla="*/ 763927 w 4519983"/>
              <a:gd name="connsiteY102" fmla="*/ 3914775 h 4496940"/>
              <a:gd name="connsiteX103" fmla="*/ 725827 w 4519983"/>
              <a:gd name="connsiteY103" fmla="*/ 3876675 h 4496940"/>
              <a:gd name="connsiteX104" fmla="*/ 697252 w 4519983"/>
              <a:gd name="connsiteY104" fmla="*/ 3838575 h 4496940"/>
              <a:gd name="connsiteX105" fmla="*/ 640102 w 4519983"/>
              <a:gd name="connsiteY105" fmla="*/ 3781425 h 4496940"/>
              <a:gd name="connsiteX106" fmla="*/ 611527 w 4519983"/>
              <a:gd name="connsiteY106" fmla="*/ 3733800 h 4496940"/>
              <a:gd name="connsiteX107" fmla="*/ 554377 w 4519983"/>
              <a:gd name="connsiteY107" fmla="*/ 3657600 h 4496940"/>
              <a:gd name="connsiteX108" fmla="*/ 525802 w 4519983"/>
              <a:gd name="connsiteY108" fmla="*/ 3609975 h 4496940"/>
              <a:gd name="connsiteX109" fmla="*/ 497227 w 4519983"/>
              <a:gd name="connsiteY109" fmla="*/ 3552825 h 4496940"/>
              <a:gd name="connsiteX110" fmla="*/ 440077 w 4519983"/>
              <a:gd name="connsiteY110" fmla="*/ 3495675 h 4496940"/>
              <a:gd name="connsiteX111" fmla="*/ 411502 w 4519983"/>
              <a:gd name="connsiteY111" fmla="*/ 3448050 h 4496940"/>
              <a:gd name="connsiteX112" fmla="*/ 278152 w 4519983"/>
              <a:gd name="connsiteY112" fmla="*/ 3257550 h 4496940"/>
              <a:gd name="connsiteX113" fmla="*/ 249577 w 4519983"/>
              <a:gd name="connsiteY113" fmla="*/ 3200400 h 4496940"/>
              <a:gd name="connsiteX114" fmla="*/ 240052 w 4519983"/>
              <a:gd name="connsiteY114" fmla="*/ 3162300 h 4496940"/>
              <a:gd name="connsiteX115" fmla="*/ 221002 w 4519983"/>
              <a:gd name="connsiteY115" fmla="*/ 3105150 h 4496940"/>
              <a:gd name="connsiteX116" fmla="*/ 173377 w 4519983"/>
              <a:gd name="connsiteY116" fmla="*/ 3019425 h 4496940"/>
              <a:gd name="connsiteX117" fmla="*/ 144802 w 4519983"/>
              <a:gd name="connsiteY117" fmla="*/ 2924175 h 4496940"/>
              <a:gd name="connsiteX118" fmla="*/ 68602 w 4519983"/>
              <a:gd name="connsiteY118" fmla="*/ 2724150 h 4496940"/>
              <a:gd name="connsiteX119" fmla="*/ 49552 w 4519983"/>
              <a:gd name="connsiteY119" fmla="*/ 2638425 h 4496940"/>
              <a:gd name="connsiteX120" fmla="*/ 40027 w 4519983"/>
              <a:gd name="connsiteY120" fmla="*/ 2562225 h 4496940"/>
              <a:gd name="connsiteX121" fmla="*/ 30502 w 4519983"/>
              <a:gd name="connsiteY121" fmla="*/ 2514600 h 4496940"/>
              <a:gd name="connsiteX122" fmla="*/ 11452 w 4519983"/>
              <a:gd name="connsiteY122" fmla="*/ 2400300 h 4496940"/>
              <a:gd name="connsiteX123" fmla="*/ 20977 w 4519983"/>
              <a:gd name="connsiteY123" fmla="*/ 1905000 h 4496940"/>
              <a:gd name="connsiteX124" fmla="*/ 30502 w 4519983"/>
              <a:gd name="connsiteY124" fmla="*/ 1838325 h 4496940"/>
              <a:gd name="connsiteX125" fmla="*/ 49552 w 4519983"/>
              <a:gd name="connsiteY125" fmla="*/ 1781175 h 4496940"/>
              <a:gd name="connsiteX126" fmla="*/ 59077 w 4519983"/>
              <a:gd name="connsiteY126" fmla="*/ 1743075 h 4496940"/>
              <a:gd name="connsiteX127" fmla="*/ 78127 w 4519983"/>
              <a:gd name="connsiteY127" fmla="*/ 1685925 h 4496940"/>
              <a:gd name="connsiteX128" fmla="*/ 87652 w 4519983"/>
              <a:gd name="connsiteY128" fmla="*/ 1638300 h 4496940"/>
              <a:gd name="connsiteX129" fmla="*/ 106702 w 4519983"/>
              <a:gd name="connsiteY129" fmla="*/ 1590675 h 4496940"/>
              <a:gd name="connsiteX130" fmla="*/ 135277 w 4519983"/>
              <a:gd name="connsiteY130" fmla="*/ 1504950 h 4496940"/>
              <a:gd name="connsiteX131" fmla="*/ 154327 w 4519983"/>
              <a:gd name="connsiteY131" fmla="*/ 1419225 h 4496940"/>
              <a:gd name="connsiteX132" fmla="*/ 230527 w 4519983"/>
              <a:gd name="connsiteY132" fmla="*/ 1276350 h 4496940"/>
              <a:gd name="connsiteX133" fmla="*/ 240052 w 4519983"/>
              <a:gd name="connsiteY133" fmla="*/ 1247775 h 4496940"/>
              <a:gd name="connsiteX134" fmla="*/ 268627 w 4519983"/>
              <a:gd name="connsiteY134" fmla="*/ 1200150 h 4496940"/>
              <a:gd name="connsiteX135" fmla="*/ 287677 w 4519983"/>
              <a:gd name="connsiteY135" fmla="*/ 1152525 h 4496940"/>
              <a:gd name="connsiteX136" fmla="*/ 316252 w 4519983"/>
              <a:gd name="connsiteY136" fmla="*/ 1114425 h 4496940"/>
              <a:gd name="connsiteX137" fmla="*/ 363877 w 4519983"/>
              <a:gd name="connsiteY137" fmla="*/ 1038225 h 4496940"/>
              <a:gd name="connsiteX138" fmla="*/ 382927 w 4519983"/>
              <a:gd name="connsiteY138" fmla="*/ 1009650 h 4496940"/>
              <a:gd name="connsiteX139" fmla="*/ 440077 w 4519983"/>
              <a:gd name="connsiteY139" fmla="*/ 904875 h 4496940"/>
              <a:gd name="connsiteX140" fmla="*/ 478177 w 4519983"/>
              <a:gd name="connsiteY140" fmla="*/ 857250 h 4496940"/>
              <a:gd name="connsiteX141" fmla="*/ 497227 w 4519983"/>
              <a:gd name="connsiteY141" fmla="*/ 828675 h 4496940"/>
              <a:gd name="connsiteX142" fmla="*/ 535327 w 4519983"/>
              <a:gd name="connsiteY142" fmla="*/ 800100 h 4496940"/>
              <a:gd name="connsiteX143" fmla="*/ 602002 w 4519983"/>
              <a:gd name="connsiteY143" fmla="*/ 733425 h 4496940"/>
              <a:gd name="connsiteX144" fmla="*/ 668677 w 4519983"/>
              <a:gd name="connsiteY144" fmla="*/ 676275 h 4496940"/>
              <a:gd name="connsiteX145" fmla="*/ 697252 w 4519983"/>
              <a:gd name="connsiteY145" fmla="*/ 657225 h 4496940"/>
              <a:gd name="connsiteX146" fmla="*/ 840127 w 4519983"/>
              <a:gd name="connsiteY146" fmla="*/ 533400 h 4496940"/>
              <a:gd name="connsiteX147" fmla="*/ 887752 w 4519983"/>
              <a:gd name="connsiteY147" fmla="*/ 504825 h 4496940"/>
              <a:gd name="connsiteX148" fmla="*/ 1167152 w 4519983"/>
              <a:gd name="connsiteY148" fmla="*/ 311150 h 4496940"/>
              <a:gd name="connsiteX149" fmla="*/ 1268752 w 4519983"/>
              <a:gd name="connsiteY149" fmla="*/ 285750 h 4496940"/>
              <a:gd name="connsiteX150" fmla="*/ 1411627 w 4519983"/>
              <a:gd name="connsiteY150" fmla="*/ 190500 h 4496940"/>
              <a:gd name="connsiteX151" fmla="*/ 1449727 w 4519983"/>
              <a:gd name="connsiteY151" fmla="*/ 161925 h 4496940"/>
              <a:gd name="connsiteX152" fmla="*/ 1525927 w 4519983"/>
              <a:gd name="connsiteY152" fmla="*/ 152400 h 4496940"/>
              <a:gd name="connsiteX153" fmla="*/ 1583077 w 4519983"/>
              <a:gd name="connsiteY153" fmla="*/ 142875 h 4496940"/>
              <a:gd name="connsiteX154" fmla="*/ 1716427 w 4519983"/>
              <a:gd name="connsiteY154" fmla="*/ 123825 h 4496940"/>
              <a:gd name="connsiteX155" fmla="*/ 1811677 w 4519983"/>
              <a:gd name="connsiteY155" fmla="*/ 114300 h 4496940"/>
              <a:gd name="connsiteX156" fmla="*/ 1859302 w 4519983"/>
              <a:gd name="connsiteY156" fmla="*/ 104775 h 4496940"/>
              <a:gd name="connsiteX157" fmla="*/ 1916452 w 4519983"/>
              <a:gd name="connsiteY157" fmla="*/ 95250 h 4496940"/>
              <a:gd name="connsiteX158" fmla="*/ 2030752 w 4519983"/>
              <a:gd name="connsiteY158" fmla="*/ 66675 h 4496940"/>
              <a:gd name="connsiteX159" fmla="*/ 2097427 w 4519983"/>
              <a:gd name="connsiteY159" fmla="*/ 47625 h 4496940"/>
              <a:gd name="connsiteX160" fmla="*/ 2164102 w 4519983"/>
              <a:gd name="connsiteY160" fmla="*/ 38100 h 4496940"/>
              <a:gd name="connsiteX161" fmla="*/ 2392702 w 4519983"/>
              <a:gd name="connsiteY16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354852 w 4519987"/>
              <a:gd name="connsiteY49" fmla="*/ 3057525 h 4496940"/>
              <a:gd name="connsiteX50" fmla="*/ 4335802 w 4519987"/>
              <a:gd name="connsiteY50" fmla="*/ 3095625 h 4496940"/>
              <a:gd name="connsiteX51" fmla="*/ 4278652 w 4519987"/>
              <a:gd name="connsiteY51" fmla="*/ 3248025 h 4496940"/>
              <a:gd name="connsiteX52" fmla="*/ 4259602 w 4519987"/>
              <a:gd name="connsiteY52" fmla="*/ 3276600 h 4496940"/>
              <a:gd name="connsiteX53" fmla="*/ 4221502 w 4519987"/>
              <a:gd name="connsiteY53" fmla="*/ 3333750 h 4496940"/>
              <a:gd name="connsiteX54" fmla="*/ 4211977 w 4519987"/>
              <a:gd name="connsiteY54" fmla="*/ 3362325 h 4496940"/>
              <a:gd name="connsiteX55" fmla="*/ 4183402 w 4519987"/>
              <a:gd name="connsiteY55" fmla="*/ 3400425 h 4496940"/>
              <a:gd name="connsiteX56" fmla="*/ 4164352 w 4519987"/>
              <a:gd name="connsiteY56" fmla="*/ 3429000 h 4496940"/>
              <a:gd name="connsiteX57" fmla="*/ 4088152 w 4519987"/>
              <a:gd name="connsiteY57" fmla="*/ 3495675 h 4496940"/>
              <a:gd name="connsiteX58" fmla="*/ 4059577 w 4519987"/>
              <a:gd name="connsiteY58" fmla="*/ 3533775 h 4496940"/>
              <a:gd name="connsiteX59" fmla="*/ 4002427 w 4519987"/>
              <a:gd name="connsiteY59" fmla="*/ 3600450 h 4496940"/>
              <a:gd name="connsiteX60" fmla="*/ 3983377 w 4519987"/>
              <a:gd name="connsiteY60" fmla="*/ 3629025 h 4496940"/>
              <a:gd name="connsiteX61" fmla="*/ 3954802 w 4519987"/>
              <a:gd name="connsiteY61" fmla="*/ 3648075 h 4496940"/>
              <a:gd name="connsiteX62" fmla="*/ 3907177 w 4519987"/>
              <a:gd name="connsiteY62" fmla="*/ 3686175 h 4496940"/>
              <a:gd name="connsiteX63" fmla="*/ 3869077 w 4519987"/>
              <a:gd name="connsiteY63" fmla="*/ 3724275 h 4496940"/>
              <a:gd name="connsiteX64" fmla="*/ 3792877 w 4519987"/>
              <a:gd name="connsiteY64" fmla="*/ 3781425 h 4496940"/>
              <a:gd name="connsiteX65" fmla="*/ 3783352 w 4519987"/>
              <a:gd name="connsiteY65" fmla="*/ 3810000 h 4496940"/>
              <a:gd name="connsiteX66" fmla="*/ 3745252 w 4519987"/>
              <a:gd name="connsiteY66" fmla="*/ 3819525 h 4496940"/>
              <a:gd name="connsiteX67" fmla="*/ 3678577 w 4519987"/>
              <a:gd name="connsiteY67" fmla="*/ 3848100 h 4496940"/>
              <a:gd name="connsiteX68" fmla="*/ 3659527 w 4519987"/>
              <a:gd name="connsiteY68" fmla="*/ 3971925 h 4496940"/>
              <a:gd name="connsiteX69" fmla="*/ 3630952 w 4519987"/>
              <a:gd name="connsiteY69" fmla="*/ 4010025 h 4496940"/>
              <a:gd name="connsiteX70" fmla="*/ 3621427 w 4519987"/>
              <a:gd name="connsiteY70" fmla="*/ 4038600 h 4496940"/>
              <a:gd name="connsiteX71" fmla="*/ 3554752 w 4519987"/>
              <a:gd name="connsiteY71" fmla="*/ 4095750 h 4496940"/>
              <a:gd name="connsiteX72" fmla="*/ 3516652 w 4519987"/>
              <a:gd name="connsiteY72" fmla="*/ 4114800 h 4496940"/>
              <a:gd name="connsiteX73" fmla="*/ 3497602 w 4519987"/>
              <a:gd name="connsiteY73" fmla="*/ 4143375 h 4496940"/>
              <a:gd name="connsiteX74" fmla="*/ 3383302 w 4519987"/>
              <a:gd name="connsiteY74" fmla="*/ 4210050 h 4496940"/>
              <a:gd name="connsiteX75" fmla="*/ 3335677 w 4519987"/>
              <a:gd name="connsiteY75" fmla="*/ 4238625 h 4496940"/>
              <a:gd name="connsiteX76" fmla="*/ 3288052 w 4519987"/>
              <a:gd name="connsiteY76" fmla="*/ 4248150 h 4496940"/>
              <a:gd name="connsiteX77" fmla="*/ 3240427 w 4519987"/>
              <a:gd name="connsiteY77" fmla="*/ 4267200 h 4496940"/>
              <a:gd name="connsiteX78" fmla="*/ 3068977 w 4519987"/>
              <a:gd name="connsiteY78" fmla="*/ 4286250 h 4496940"/>
              <a:gd name="connsiteX79" fmla="*/ 2935627 w 4519987"/>
              <a:gd name="connsiteY79" fmla="*/ 4333875 h 4496940"/>
              <a:gd name="connsiteX80" fmla="*/ 2811802 w 4519987"/>
              <a:gd name="connsiteY80" fmla="*/ 4371975 h 4496940"/>
              <a:gd name="connsiteX81" fmla="*/ 2745127 w 4519987"/>
              <a:gd name="connsiteY81" fmla="*/ 4410075 h 4496940"/>
              <a:gd name="connsiteX82" fmla="*/ 2697502 w 4519987"/>
              <a:gd name="connsiteY82" fmla="*/ 4429125 h 4496940"/>
              <a:gd name="connsiteX83" fmla="*/ 2640352 w 4519987"/>
              <a:gd name="connsiteY83" fmla="*/ 4457700 h 4496940"/>
              <a:gd name="connsiteX84" fmla="*/ 2583202 w 4519987"/>
              <a:gd name="connsiteY84" fmla="*/ 4467225 h 4496940"/>
              <a:gd name="connsiteX85" fmla="*/ 2545102 w 4519987"/>
              <a:gd name="connsiteY85" fmla="*/ 4486275 h 4496940"/>
              <a:gd name="connsiteX86" fmla="*/ 2306977 w 4519987"/>
              <a:gd name="connsiteY86" fmla="*/ 4476750 h 4496940"/>
              <a:gd name="connsiteX87" fmla="*/ 2202202 w 4519987"/>
              <a:gd name="connsiteY87" fmla="*/ 4457700 h 4496940"/>
              <a:gd name="connsiteX88" fmla="*/ 2126002 w 4519987"/>
              <a:gd name="connsiteY88" fmla="*/ 4429125 h 4496940"/>
              <a:gd name="connsiteX89" fmla="*/ 1935502 w 4519987"/>
              <a:gd name="connsiteY89" fmla="*/ 4400550 h 4496940"/>
              <a:gd name="connsiteX90" fmla="*/ 1821202 w 4519987"/>
              <a:gd name="connsiteY90" fmla="*/ 4371975 h 4496940"/>
              <a:gd name="connsiteX91" fmla="*/ 1754527 w 4519987"/>
              <a:gd name="connsiteY91" fmla="*/ 4352925 h 4496940"/>
              <a:gd name="connsiteX92" fmla="*/ 1687852 w 4519987"/>
              <a:gd name="connsiteY92" fmla="*/ 4343400 h 4496940"/>
              <a:gd name="connsiteX93" fmla="*/ 1573552 w 4519987"/>
              <a:gd name="connsiteY93" fmla="*/ 4305300 h 4496940"/>
              <a:gd name="connsiteX94" fmla="*/ 1402102 w 4519987"/>
              <a:gd name="connsiteY94" fmla="*/ 4276725 h 4496940"/>
              <a:gd name="connsiteX95" fmla="*/ 1287802 w 4519987"/>
              <a:gd name="connsiteY95" fmla="*/ 4229100 h 4496940"/>
              <a:gd name="connsiteX96" fmla="*/ 1221127 w 4519987"/>
              <a:gd name="connsiteY96" fmla="*/ 4200525 h 4496940"/>
              <a:gd name="connsiteX97" fmla="*/ 1144927 w 4519987"/>
              <a:gd name="connsiteY97" fmla="*/ 4171950 h 4496940"/>
              <a:gd name="connsiteX98" fmla="*/ 1087777 w 4519987"/>
              <a:gd name="connsiteY98" fmla="*/ 4143375 h 4496940"/>
              <a:gd name="connsiteX99" fmla="*/ 1030627 w 4519987"/>
              <a:gd name="connsiteY99" fmla="*/ 4124325 h 4496940"/>
              <a:gd name="connsiteX100" fmla="*/ 925852 w 4519987"/>
              <a:gd name="connsiteY100" fmla="*/ 4067175 h 4496940"/>
              <a:gd name="connsiteX101" fmla="*/ 830602 w 4519987"/>
              <a:gd name="connsiteY101" fmla="*/ 3981450 h 4496940"/>
              <a:gd name="connsiteX102" fmla="*/ 763927 w 4519987"/>
              <a:gd name="connsiteY102" fmla="*/ 3914775 h 4496940"/>
              <a:gd name="connsiteX103" fmla="*/ 725827 w 4519987"/>
              <a:gd name="connsiteY103" fmla="*/ 3876675 h 4496940"/>
              <a:gd name="connsiteX104" fmla="*/ 697252 w 4519987"/>
              <a:gd name="connsiteY104" fmla="*/ 3838575 h 4496940"/>
              <a:gd name="connsiteX105" fmla="*/ 640102 w 4519987"/>
              <a:gd name="connsiteY105" fmla="*/ 3781425 h 4496940"/>
              <a:gd name="connsiteX106" fmla="*/ 611527 w 4519987"/>
              <a:gd name="connsiteY106" fmla="*/ 3733800 h 4496940"/>
              <a:gd name="connsiteX107" fmla="*/ 554377 w 4519987"/>
              <a:gd name="connsiteY107" fmla="*/ 3657600 h 4496940"/>
              <a:gd name="connsiteX108" fmla="*/ 525802 w 4519987"/>
              <a:gd name="connsiteY108" fmla="*/ 3609975 h 4496940"/>
              <a:gd name="connsiteX109" fmla="*/ 497227 w 4519987"/>
              <a:gd name="connsiteY109" fmla="*/ 3552825 h 4496940"/>
              <a:gd name="connsiteX110" fmla="*/ 440077 w 4519987"/>
              <a:gd name="connsiteY110" fmla="*/ 3495675 h 4496940"/>
              <a:gd name="connsiteX111" fmla="*/ 411502 w 4519987"/>
              <a:gd name="connsiteY111" fmla="*/ 3448050 h 4496940"/>
              <a:gd name="connsiteX112" fmla="*/ 278152 w 4519987"/>
              <a:gd name="connsiteY112" fmla="*/ 3257550 h 4496940"/>
              <a:gd name="connsiteX113" fmla="*/ 249577 w 4519987"/>
              <a:gd name="connsiteY113" fmla="*/ 3200400 h 4496940"/>
              <a:gd name="connsiteX114" fmla="*/ 240052 w 4519987"/>
              <a:gd name="connsiteY114" fmla="*/ 3162300 h 4496940"/>
              <a:gd name="connsiteX115" fmla="*/ 221002 w 4519987"/>
              <a:gd name="connsiteY115" fmla="*/ 3105150 h 4496940"/>
              <a:gd name="connsiteX116" fmla="*/ 173377 w 4519987"/>
              <a:gd name="connsiteY116" fmla="*/ 3019425 h 4496940"/>
              <a:gd name="connsiteX117" fmla="*/ 144802 w 4519987"/>
              <a:gd name="connsiteY117" fmla="*/ 2924175 h 4496940"/>
              <a:gd name="connsiteX118" fmla="*/ 68602 w 4519987"/>
              <a:gd name="connsiteY118" fmla="*/ 2724150 h 4496940"/>
              <a:gd name="connsiteX119" fmla="*/ 49552 w 4519987"/>
              <a:gd name="connsiteY119" fmla="*/ 2638425 h 4496940"/>
              <a:gd name="connsiteX120" fmla="*/ 40027 w 4519987"/>
              <a:gd name="connsiteY120" fmla="*/ 2562225 h 4496940"/>
              <a:gd name="connsiteX121" fmla="*/ 30502 w 4519987"/>
              <a:gd name="connsiteY121" fmla="*/ 2514600 h 4496940"/>
              <a:gd name="connsiteX122" fmla="*/ 11452 w 4519987"/>
              <a:gd name="connsiteY122" fmla="*/ 2400300 h 4496940"/>
              <a:gd name="connsiteX123" fmla="*/ 20977 w 4519987"/>
              <a:gd name="connsiteY123" fmla="*/ 1905000 h 4496940"/>
              <a:gd name="connsiteX124" fmla="*/ 30502 w 4519987"/>
              <a:gd name="connsiteY124" fmla="*/ 1838325 h 4496940"/>
              <a:gd name="connsiteX125" fmla="*/ 49552 w 4519987"/>
              <a:gd name="connsiteY125" fmla="*/ 1781175 h 4496940"/>
              <a:gd name="connsiteX126" fmla="*/ 59077 w 4519987"/>
              <a:gd name="connsiteY126" fmla="*/ 1743075 h 4496940"/>
              <a:gd name="connsiteX127" fmla="*/ 78127 w 4519987"/>
              <a:gd name="connsiteY127" fmla="*/ 1685925 h 4496940"/>
              <a:gd name="connsiteX128" fmla="*/ 87652 w 4519987"/>
              <a:gd name="connsiteY128" fmla="*/ 1638300 h 4496940"/>
              <a:gd name="connsiteX129" fmla="*/ 106702 w 4519987"/>
              <a:gd name="connsiteY129" fmla="*/ 1590675 h 4496940"/>
              <a:gd name="connsiteX130" fmla="*/ 135277 w 4519987"/>
              <a:gd name="connsiteY130" fmla="*/ 1504950 h 4496940"/>
              <a:gd name="connsiteX131" fmla="*/ 154327 w 4519987"/>
              <a:gd name="connsiteY131" fmla="*/ 1419225 h 4496940"/>
              <a:gd name="connsiteX132" fmla="*/ 230527 w 4519987"/>
              <a:gd name="connsiteY132" fmla="*/ 1276350 h 4496940"/>
              <a:gd name="connsiteX133" fmla="*/ 240052 w 4519987"/>
              <a:gd name="connsiteY133" fmla="*/ 1247775 h 4496940"/>
              <a:gd name="connsiteX134" fmla="*/ 268627 w 4519987"/>
              <a:gd name="connsiteY134" fmla="*/ 1200150 h 4496940"/>
              <a:gd name="connsiteX135" fmla="*/ 287677 w 4519987"/>
              <a:gd name="connsiteY135" fmla="*/ 1152525 h 4496940"/>
              <a:gd name="connsiteX136" fmla="*/ 316252 w 4519987"/>
              <a:gd name="connsiteY136" fmla="*/ 1114425 h 4496940"/>
              <a:gd name="connsiteX137" fmla="*/ 363877 w 4519987"/>
              <a:gd name="connsiteY137" fmla="*/ 1038225 h 4496940"/>
              <a:gd name="connsiteX138" fmla="*/ 382927 w 4519987"/>
              <a:gd name="connsiteY138" fmla="*/ 1009650 h 4496940"/>
              <a:gd name="connsiteX139" fmla="*/ 440077 w 4519987"/>
              <a:gd name="connsiteY139" fmla="*/ 904875 h 4496940"/>
              <a:gd name="connsiteX140" fmla="*/ 478177 w 4519987"/>
              <a:gd name="connsiteY140" fmla="*/ 857250 h 4496940"/>
              <a:gd name="connsiteX141" fmla="*/ 497227 w 4519987"/>
              <a:gd name="connsiteY141" fmla="*/ 828675 h 4496940"/>
              <a:gd name="connsiteX142" fmla="*/ 535327 w 4519987"/>
              <a:gd name="connsiteY142" fmla="*/ 800100 h 4496940"/>
              <a:gd name="connsiteX143" fmla="*/ 602002 w 4519987"/>
              <a:gd name="connsiteY143" fmla="*/ 733425 h 4496940"/>
              <a:gd name="connsiteX144" fmla="*/ 668677 w 4519987"/>
              <a:gd name="connsiteY144" fmla="*/ 676275 h 4496940"/>
              <a:gd name="connsiteX145" fmla="*/ 697252 w 4519987"/>
              <a:gd name="connsiteY145" fmla="*/ 657225 h 4496940"/>
              <a:gd name="connsiteX146" fmla="*/ 840127 w 4519987"/>
              <a:gd name="connsiteY146" fmla="*/ 533400 h 4496940"/>
              <a:gd name="connsiteX147" fmla="*/ 887752 w 4519987"/>
              <a:gd name="connsiteY147" fmla="*/ 504825 h 4496940"/>
              <a:gd name="connsiteX148" fmla="*/ 1167152 w 4519987"/>
              <a:gd name="connsiteY148" fmla="*/ 311150 h 4496940"/>
              <a:gd name="connsiteX149" fmla="*/ 1268752 w 4519987"/>
              <a:gd name="connsiteY149" fmla="*/ 285750 h 4496940"/>
              <a:gd name="connsiteX150" fmla="*/ 1411627 w 4519987"/>
              <a:gd name="connsiteY150" fmla="*/ 190500 h 4496940"/>
              <a:gd name="connsiteX151" fmla="*/ 1449727 w 4519987"/>
              <a:gd name="connsiteY151" fmla="*/ 161925 h 4496940"/>
              <a:gd name="connsiteX152" fmla="*/ 1525927 w 4519987"/>
              <a:gd name="connsiteY152" fmla="*/ 152400 h 4496940"/>
              <a:gd name="connsiteX153" fmla="*/ 1583077 w 4519987"/>
              <a:gd name="connsiteY153" fmla="*/ 142875 h 4496940"/>
              <a:gd name="connsiteX154" fmla="*/ 1716427 w 4519987"/>
              <a:gd name="connsiteY154" fmla="*/ 123825 h 4496940"/>
              <a:gd name="connsiteX155" fmla="*/ 1811677 w 4519987"/>
              <a:gd name="connsiteY155" fmla="*/ 114300 h 4496940"/>
              <a:gd name="connsiteX156" fmla="*/ 1859302 w 4519987"/>
              <a:gd name="connsiteY156" fmla="*/ 104775 h 4496940"/>
              <a:gd name="connsiteX157" fmla="*/ 1916452 w 4519987"/>
              <a:gd name="connsiteY157" fmla="*/ 95250 h 4496940"/>
              <a:gd name="connsiteX158" fmla="*/ 2030752 w 4519987"/>
              <a:gd name="connsiteY158" fmla="*/ 66675 h 4496940"/>
              <a:gd name="connsiteX159" fmla="*/ 2097427 w 4519987"/>
              <a:gd name="connsiteY159" fmla="*/ 47625 h 4496940"/>
              <a:gd name="connsiteX160" fmla="*/ 2164102 w 4519987"/>
              <a:gd name="connsiteY160" fmla="*/ 38100 h 4496940"/>
              <a:gd name="connsiteX161" fmla="*/ 2392702 w 4519987"/>
              <a:gd name="connsiteY16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354852 w 4519987"/>
              <a:gd name="connsiteY49" fmla="*/ 3057525 h 4496940"/>
              <a:gd name="connsiteX50" fmla="*/ 4278652 w 4519987"/>
              <a:gd name="connsiteY50" fmla="*/ 3248025 h 4496940"/>
              <a:gd name="connsiteX51" fmla="*/ 4259602 w 4519987"/>
              <a:gd name="connsiteY51" fmla="*/ 3276600 h 4496940"/>
              <a:gd name="connsiteX52" fmla="*/ 4221502 w 4519987"/>
              <a:gd name="connsiteY52" fmla="*/ 3333750 h 4496940"/>
              <a:gd name="connsiteX53" fmla="*/ 4211977 w 4519987"/>
              <a:gd name="connsiteY53" fmla="*/ 3362325 h 4496940"/>
              <a:gd name="connsiteX54" fmla="*/ 4183402 w 4519987"/>
              <a:gd name="connsiteY54" fmla="*/ 3400425 h 4496940"/>
              <a:gd name="connsiteX55" fmla="*/ 4164352 w 4519987"/>
              <a:gd name="connsiteY55" fmla="*/ 3429000 h 4496940"/>
              <a:gd name="connsiteX56" fmla="*/ 4088152 w 4519987"/>
              <a:gd name="connsiteY56" fmla="*/ 3495675 h 4496940"/>
              <a:gd name="connsiteX57" fmla="*/ 4059577 w 4519987"/>
              <a:gd name="connsiteY57" fmla="*/ 3533775 h 4496940"/>
              <a:gd name="connsiteX58" fmla="*/ 4002427 w 4519987"/>
              <a:gd name="connsiteY58" fmla="*/ 3600450 h 4496940"/>
              <a:gd name="connsiteX59" fmla="*/ 3983377 w 4519987"/>
              <a:gd name="connsiteY59" fmla="*/ 3629025 h 4496940"/>
              <a:gd name="connsiteX60" fmla="*/ 3954802 w 4519987"/>
              <a:gd name="connsiteY60" fmla="*/ 3648075 h 4496940"/>
              <a:gd name="connsiteX61" fmla="*/ 3907177 w 4519987"/>
              <a:gd name="connsiteY61" fmla="*/ 3686175 h 4496940"/>
              <a:gd name="connsiteX62" fmla="*/ 3869077 w 4519987"/>
              <a:gd name="connsiteY62" fmla="*/ 3724275 h 4496940"/>
              <a:gd name="connsiteX63" fmla="*/ 3792877 w 4519987"/>
              <a:gd name="connsiteY63" fmla="*/ 3781425 h 4496940"/>
              <a:gd name="connsiteX64" fmla="*/ 3783352 w 4519987"/>
              <a:gd name="connsiteY64" fmla="*/ 3810000 h 4496940"/>
              <a:gd name="connsiteX65" fmla="*/ 3745252 w 4519987"/>
              <a:gd name="connsiteY65" fmla="*/ 3819525 h 4496940"/>
              <a:gd name="connsiteX66" fmla="*/ 3678577 w 4519987"/>
              <a:gd name="connsiteY66" fmla="*/ 3848100 h 4496940"/>
              <a:gd name="connsiteX67" fmla="*/ 3659527 w 4519987"/>
              <a:gd name="connsiteY67" fmla="*/ 3971925 h 4496940"/>
              <a:gd name="connsiteX68" fmla="*/ 3630952 w 4519987"/>
              <a:gd name="connsiteY68" fmla="*/ 4010025 h 4496940"/>
              <a:gd name="connsiteX69" fmla="*/ 3621427 w 4519987"/>
              <a:gd name="connsiteY69" fmla="*/ 4038600 h 4496940"/>
              <a:gd name="connsiteX70" fmla="*/ 3554752 w 4519987"/>
              <a:gd name="connsiteY70" fmla="*/ 4095750 h 4496940"/>
              <a:gd name="connsiteX71" fmla="*/ 3516652 w 4519987"/>
              <a:gd name="connsiteY71" fmla="*/ 4114800 h 4496940"/>
              <a:gd name="connsiteX72" fmla="*/ 3497602 w 4519987"/>
              <a:gd name="connsiteY72" fmla="*/ 4143375 h 4496940"/>
              <a:gd name="connsiteX73" fmla="*/ 3383302 w 4519987"/>
              <a:gd name="connsiteY73" fmla="*/ 4210050 h 4496940"/>
              <a:gd name="connsiteX74" fmla="*/ 3335677 w 4519987"/>
              <a:gd name="connsiteY74" fmla="*/ 4238625 h 4496940"/>
              <a:gd name="connsiteX75" fmla="*/ 3288052 w 4519987"/>
              <a:gd name="connsiteY75" fmla="*/ 4248150 h 4496940"/>
              <a:gd name="connsiteX76" fmla="*/ 3240427 w 4519987"/>
              <a:gd name="connsiteY76" fmla="*/ 4267200 h 4496940"/>
              <a:gd name="connsiteX77" fmla="*/ 3068977 w 4519987"/>
              <a:gd name="connsiteY77" fmla="*/ 4286250 h 4496940"/>
              <a:gd name="connsiteX78" fmla="*/ 2935627 w 4519987"/>
              <a:gd name="connsiteY78" fmla="*/ 4333875 h 4496940"/>
              <a:gd name="connsiteX79" fmla="*/ 2811802 w 4519987"/>
              <a:gd name="connsiteY79" fmla="*/ 4371975 h 4496940"/>
              <a:gd name="connsiteX80" fmla="*/ 2745127 w 4519987"/>
              <a:gd name="connsiteY80" fmla="*/ 4410075 h 4496940"/>
              <a:gd name="connsiteX81" fmla="*/ 2697502 w 4519987"/>
              <a:gd name="connsiteY81" fmla="*/ 4429125 h 4496940"/>
              <a:gd name="connsiteX82" fmla="*/ 2640352 w 4519987"/>
              <a:gd name="connsiteY82" fmla="*/ 4457700 h 4496940"/>
              <a:gd name="connsiteX83" fmla="*/ 2583202 w 4519987"/>
              <a:gd name="connsiteY83" fmla="*/ 4467225 h 4496940"/>
              <a:gd name="connsiteX84" fmla="*/ 2545102 w 4519987"/>
              <a:gd name="connsiteY84" fmla="*/ 4486275 h 4496940"/>
              <a:gd name="connsiteX85" fmla="*/ 2306977 w 4519987"/>
              <a:gd name="connsiteY85" fmla="*/ 4476750 h 4496940"/>
              <a:gd name="connsiteX86" fmla="*/ 2202202 w 4519987"/>
              <a:gd name="connsiteY86" fmla="*/ 4457700 h 4496940"/>
              <a:gd name="connsiteX87" fmla="*/ 2126002 w 4519987"/>
              <a:gd name="connsiteY87" fmla="*/ 4429125 h 4496940"/>
              <a:gd name="connsiteX88" fmla="*/ 1935502 w 4519987"/>
              <a:gd name="connsiteY88" fmla="*/ 4400550 h 4496940"/>
              <a:gd name="connsiteX89" fmla="*/ 1821202 w 4519987"/>
              <a:gd name="connsiteY89" fmla="*/ 4371975 h 4496940"/>
              <a:gd name="connsiteX90" fmla="*/ 1754527 w 4519987"/>
              <a:gd name="connsiteY90" fmla="*/ 4352925 h 4496940"/>
              <a:gd name="connsiteX91" fmla="*/ 1687852 w 4519987"/>
              <a:gd name="connsiteY91" fmla="*/ 4343400 h 4496940"/>
              <a:gd name="connsiteX92" fmla="*/ 1573552 w 4519987"/>
              <a:gd name="connsiteY92" fmla="*/ 4305300 h 4496940"/>
              <a:gd name="connsiteX93" fmla="*/ 1402102 w 4519987"/>
              <a:gd name="connsiteY93" fmla="*/ 4276725 h 4496940"/>
              <a:gd name="connsiteX94" fmla="*/ 1287802 w 4519987"/>
              <a:gd name="connsiteY94" fmla="*/ 4229100 h 4496940"/>
              <a:gd name="connsiteX95" fmla="*/ 1221127 w 4519987"/>
              <a:gd name="connsiteY95" fmla="*/ 4200525 h 4496940"/>
              <a:gd name="connsiteX96" fmla="*/ 1144927 w 4519987"/>
              <a:gd name="connsiteY96" fmla="*/ 4171950 h 4496940"/>
              <a:gd name="connsiteX97" fmla="*/ 1087777 w 4519987"/>
              <a:gd name="connsiteY97" fmla="*/ 4143375 h 4496940"/>
              <a:gd name="connsiteX98" fmla="*/ 1030627 w 4519987"/>
              <a:gd name="connsiteY98" fmla="*/ 4124325 h 4496940"/>
              <a:gd name="connsiteX99" fmla="*/ 925852 w 4519987"/>
              <a:gd name="connsiteY99" fmla="*/ 4067175 h 4496940"/>
              <a:gd name="connsiteX100" fmla="*/ 830602 w 4519987"/>
              <a:gd name="connsiteY100" fmla="*/ 3981450 h 4496940"/>
              <a:gd name="connsiteX101" fmla="*/ 763927 w 4519987"/>
              <a:gd name="connsiteY101" fmla="*/ 3914775 h 4496940"/>
              <a:gd name="connsiteX102" fmla="*/ 725827 w 4519987"/>
              <a:gd name="connsiteY102" fmla="*/ 3876675 h 4496940"/>
              <a:gd name="connsiteX103" fmla="*/ 697252 w 4519987"/>
              <a:gd name="connsiteY103" fmla="*/ 3838575 h 4496940"/>
              <a:gd name="connsiteX104" fmla="*/ 640102 w 4519987"/>
              <a:gd name="connsiteY104" fmla="*/ 3781425 h 4496940"/>
              <a:gd name="connsiteX105" fmla="*/ 611527 w 4519987"/>
              <a:gd name="connsiteY105" fmla="*/ 3733800 h 4496940"/>
              <a:gd name="connsiteX106" fmla="*/ 554377 w 4519987"/>
              <a:gd name="connsiteY106" fmla="*/ 3657600 h 4496940"/>
              <a:gd name="connsiteX107" fmla="*/ 525802 w 4519987"/>
              <a:gd name="connsiteY107" fmla="*/ 3609975 h 4496940"/>
              <a:gd name="connsiteX108" fmla="*/ 497227 w 4519987"/>
              <a:gd name="connsiteY108" fmla="*/ 3552825 h 4496940"/>
              <a:gd name="connsiteX109" fmla="*/ 440077 w 4519987"/>
              <a:gd name="connsiteY109" fmla="*/ 3495675 h 4496940"/>
              <a:gd name="connsiteX110" fmla="*/ 411502 w 4519987"/>
              <a:gd name="connsiteY110" fmla="*/ 3448050 h 4496940"/>
              <a:gd name="connsiteX111" fmla="*/ 278152 w 4519987"/>
              <a:gd name="connsiteY111" fmla="*/ 3257550 h 4496940"/>
              <a:gd name="connsiteX112" fmla="*/ 249577 w 4519987"/>
              <a:gd name="connsiteY112" fmla="*/ 3200400 h 4496940"/>
              <a:gd name="connsiteX113" fmla="*/ 240052 w 4519987"/>
              <a:gd name="connsiteY113" fmla="*/ 3162300 h 4496940"/>
              <a:gd name="connsiteX114" fmla="*/ 221002 w 4519987"/>
              <a:gd name="connsiteY114" fmla="*/ 3105150 h 4496940"/>
              <a:gd name="connsiteX115" fmla="*/ 173377 w 4519987"/>
              <a:gd name="connsiteY115" fmla="*/ 3019425 h 4496940"/>
              <a:gd name="connsiteX116" fmla="*/ 144802 w 4519987"/>
              <a:gd name="connsiteY116" fmla="*/ 2924175 h 4496940"/>
              <a:gd name="connsiteX117" fmla="*/ 68602 w 4519987"/>
              <a:gd name="connsiteY117" fmla="*/ 2724150 h 4496940"/>
              <a:gd name="connsiteX118" fmla="*/ 49552 w 4519987"/>
              <a:gd name="connsiteY118" fmla="*/ 2638425 h 4496940"/>
              <a:gd name="connsiteX119" fmla="*/ 40027 w 4519987"/>
              <a:gd name="connsiteY119" fmla="*/ 2562225 h 4496940"/>
              <a:gd name="connsiteX120" fmla="*/ 30502 w 4519987"/>
              <a:gd name="connsiteY120" fmla="*/ 2514600 h 4496940"/>
              <a:gd name="connsiteX121" fmla="*/ 11452 w 4519987"/>
              <a:gd name="connsiteY121" fmla="*/ 2400300 h 4496940"/>
              <a:gd name="connsiteX122" fmla="*/ 20977 w 4519987"/>
              <a:gd name="connsiteY122" fmla="*/ 1905000 h 4496940"/>
              <a:gd name="connsiteX123" fmla="*/ 30502 w 4519987"/>
              <a:gd name="connsiteY123" fmla="*/ 1838325 h 4496940"/>
              <a:gd name="connsiteX124" fmla="*/ 49552 w 4519987"/>
              <a:gd name="connsiteY124" fmla="*/ 1781175 h 4496940"/>
              <a:gd name="connsiteX125" fmla="*/ 59077 w 4519987"/>
              <a:gd name="connsiteY125" fmla="*/ 1743075 h 4496940"/>
              <a:gd name="connsiteX126" fmla="*/ 78127 w 4519987"/>
              <a:gd name="connsiteY126" fmla="*/ 1685925 h 4496940"/>
              <a:gd name="connsiteX127" fmla="*/ 87652 w 4519987"/>
              <a:gd name="connsiteY127" fmla="*/ 1638300 h 4496940"/>
              <a:gd name="connsiteX128" fmla="*/ 106702 w 4519987"/>
              <a:gd name="connsiteY128" fmla="*/ 1590675 h 4496940"/>
              <a:gd name="connsiteX129" fmla="*/ 135277 w 4519987"/>
              <a:gd name="connsiteY129" fmla="*/ 1504950 h 4496940"/>
              <a:gd name="connsiteX130" fmla="*/ 154327 w 4519987"/>
              <a:gd name="connsiteY130" fmla="*/ 1419225 h 4496940"/>
              <a:gd name="connsiteX131" fmla="*/ 230527 w 4519987"/>
              <a:gd name="connsiteY131" fmla="*/ 1276350 h 4496940"/>
              <a:gd name="connsiteX132" fmla="*/ 240052 w 4519987"/>
              <a:gd name="connsiteY132" fmla="*/ 1247775 h 4496940"/>
              <a:gd name="connsiteX133" fmla="*/ 268627 w 4519987"/>
              <a:gd name="connsiteY133" fmla="*/ 1200150 h 4496940"/>
              <a:gd name="connsiteX134" fmla="*/ 287677 w 4519987"/>
              <a:gd name="connsiteY134" fmla="*/ 1152525 h 4496940"/>
              <a:gd name="connsiteX135" fmla="*/ 316252 w 4519987"/>
              <a:gd name="connsiteY135" fmla="*/ 1114425 h 4496940"/>
              <a:gd name="connsiteX136" fmla="*/ 363877 w 4519987"/>
              <a:gd name="connsiteY136" fmla="*/ 1038225 h 4496940"/>
              <a:gd name="connsiteX137" fmla="*/ 382927 w 4519987"/>
              <a:gd name="connsiteY137" fmla="*/ 1009650 h 4496940"/>
              <a:gd name="connsiteX138" fmla="*/ 440077 w 4519987"/>
              <a:gd name="connsiteY138" fmla="*/ 904875 h 4496940"/>
              <a:gd name="connsiteX139" fmla="*/ 478177 w 4519987"/>
              <a:gd name="connsiteY139" fmla="*/ 857250 h 4496940"/>
              <a:gd name="connsiteX140" fmla="*/ 497227 w 4519987"/>
              <a:gd name="connsiteY140" fmla="*/ 828675 h 4496940"/>
              <a:gd name="connsiteX141" fmla="*/ 535327 w 4519987"/>
              <a:gd name="connsiteY141" fmla="*/ 800100 h 4496940"/>
              <a:gd name="connsiteX142" fmla="*/ 602002 w 4519987"/>
              <a:gd name="connsiteY142" fmla="*/ 733425 h 4496940"/>
              <a:gd name="connsiteX143" fmla="*/ 668677 w 4519987"/>
              <a:gd name="connsiteY143" fmla="*/ 676275 h 4496940"/>
              <a:gd name="connsiteX144" fmla="*/ 697252 w 4519987"/>
              <a:gd name="connsiteY144" fmla="*/ 657225 h 4496940"/>
              <a:gd name="connsiteX145" fmla="*/ 840127 w 4519987"/>
              <a:gd name="connsiteY145" fmla="*/ 533400 h 4496940"/>
              <a:gd name="connsiteX146" fmla="*/ 887752 w 4519987"/>
              <a:gd name="connsiteY146" fmla="*/ 504825 h 4496940"/>
              <a:gd name="connsiteX147" fmla="*/ 1167152 w 4519987"/>
              <a:gd name="connsiteY147" fmla="*/ 311150 h 4496940"/>
              <a:gd name="connsiteX148" fmla="*/ 1268752 w 4519987"/>
              <a:gd name="connsiteY148" fmla="*/ 285750 h 4496940"/>
              <a:gd name="connsiteX149" fmla="*/ 1411627 w 4519987"/>
              <a:gd name="connsiteY149" fmla="*/ 190500 h 4496940"/>
              <a:gd name="connsiteX150" fmla="*/ 1449727 w 4519987"/>
              <a:gd name="connsiteY150" fmla="*/ 161925 h 4496940"/>
              <a:gd name="connsiteX151" fmla="*/ 1525927 w 4519987"/>
              <a:gd name="connsiteY151" fmla="*/ 152400 h 4496940"/>
              <a:gd name="connsiteX152" fmla="*/ 1583077 w 4519987"/>
              <a:gd name="connsiteY152" fmla="*/ 142875 h 4496940"/>
              <a:gd name="connsiteX153" fmla="*/ 1716427 w 4519987"/>
              <a:gd name="connsiteY153" fmla="*/ 123825 h 4496940"/>
              <a:gd name="connsiteX154" fmla="*/ 1811677 w 4519987"/>
              <a:gd name="connsiteY154" fmla="*/ 114300 h 4496940"/>
              <a:gd name="connsiteX155" fmla="*/ 1859302 w 4519987"/>
              <a:gd name="connsiteY155" fmla="*/ 104775 h 4496940"/>
              <a:gd name="connsiteX156" fmla="*/ 1916452 w 4519987"/>
              <a:gd name="connsiteY156" fmla="*/ 95250 h 4496940"/>
              <a:gd name="connsiteX157" fmla="*/ 2030752 w 4519987"/>
              <a:gd name="connsiteY157" fmla="*/ 66675 h 4496940"/>
              <a:gd name="connsiteX158" fmla="*/ 2097427 w 4519987"/>
              <a:gd name="connsiteY158" fmla="*/ 47625 h 4496940"/>
              <a:gd name="connsiteX159" fmla="*/ 2164102 w 4519987"/>
              <a:gd name="connsiteY159" fmla="*/ 38100 h 4496940"/>
              <a:gd name="connsiteX160" fmla="*/ 2392702 w 4519987"/>
              <a:gd name="connsiteY16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278652 w 4519987"/>
              <a:gd name="connsiteY49" fmla="*/ 3248025 h 4496940"/>
              <a:gd name="connsiteX50" fmla="*/ 4259602 w 4519987"/>
              <a:gd name="connsiteY50" fmla="*/ 3276600 h 4496940"/>
              <a:gd name="connsiteX51" fmla="*/ 4221502 w 4519987"/>
              <a:gd name="connsiteY51" fmla="*/ 3333750 h 4496940"/>
              <a:gd name="connsiteX52" fmla="*/ 4211977 w 4519987"/>
              <a:gd name="connsiteY52" fmla="*/ 3362325 h 4496940"/>
              <a:gd name="connsiteX53" fmla="*/ 4183402 w 4519987"/>
              <a:gd name="connsiteY53" fmla="*/ 3400425 h 4496940"/>
              <a:gd name="connsiteX54" fmla="*/ 4164352 w 4519987"/>
              <a:gd name="connsiteY54" fmla="*/ 3429000 h 4496940"/>
              <a:gd name="connsiteX55" fmla="*/ 4088152 w 4519987"/>
              <a:gd name="connsiteY55" fmla="*/ 3495675 h 4496940"/>
              <a:gd name="connsiteX56" fmla="*/ 4059577 w 4519987"/>
              <a:gd name="connsiteY56" fmla="*/ 3533775 h 4496940"/>
              <a:gd name="connsiteX57" fmla="*/ 4002427 w 4519987"/>
              <a:gd name="connsiteY57" fmla="*/ 3600450 h 4496940"/>
              <a:gd name="connsiteX58" fmla="*/ 3983377 w 4519987"/>
              <a:gd name="connsiteY58" fmla="*/ 3629025 h 4496940"/>
              <a:gd name="connsiteX59" fmla="*/ 3954802 w 4519987"/>
              <a:gd name="connsiteY59" fmla="*/ 3648075 h 4496940"/>
              <a:gd name="connsiteX60" fmla="*/ 3907177 w 4519987"/>
              <a:gd name="connsiteY60" fmla="*/ 3686175 h 4496940"/>
              <a:gd name="connsiteX61" fmla="*/ 3869077 w 4519987"/>
              <a:gd name="connsiteY61" fmla="*/ 3724275 h 4496940"/>
              <a:gd name="connsiteX62" fmla="*/ 3792877 w 4519987"/>
              <a:gd name="connsiteY62" fmla="*/ 3781425 h 4496940"/>
              <a:gd name="connsiteX63" fmla="*/ 3783352 w 4519987"/>
              <a:gd name="connsiteY63" fmla="*/ 3810000 h 4496940"/>
              <a:gd name="connsiteX64" fmla="*/ 3745252 w 4519987"/>
              <a:gd name="connsiteY64" fmla="*/ 3819525 h 4496940"/>
              <a:gd name="connsiteX65" fmla="*/ 3678577 w 4519987"/>
              <a:gd name="connsiteY65" fmla="*/ 3848100 h 4496940"/>
              <a:gd name="connsiteX66" fmla="*/ 3659527 w 4519987"/>
              <a:gd name="connsiteY66" fmla="*/ 3971925 h 4496940"/>
              <a:gd name="connsiteX67" fmla="*/ 3630952 w 4519987"/>
              <a:gd name="connsiteY67" fmla="*/ 4010025 h 4496940"/>
              <a:gd name="connsiteX68" fmla="*/ 3621427 w 4519987"/>
              <a:gd name="connsiteY68" fmla="*/ 4038600 h 4496940"/>
              <a:gd name="connsiteX69" fmla="*/ 3554752 w 4519987"/>
              <a:gd name="connsiteY69" fmla="*/ 4095750 h 4496940"/>
              <a:gd name="connsiteX70" fmla="*/ 3516652 w 4519987"/>
              <a:gd name="connsiteY70" fmla="*/ 4114800 h 4496940"/>
              <a:gd name="connsiteX71" fmla="*/ 3497602 w 4519987"/>
              <a:gd name="connsiteY71" fmla="*/ 4143375 h 4496940"/>
              <a:gd name="connsiteX72" fmla="*/ 3383302 w 4519987"/>
              <a:gd name="connsiteY72" fmla="*/ 4210050 h 4496940"/>
              <a:gd name="connsiteX73" fmla="*/ 3335677 w 4519987"/>
              <a:gd name="connsiteY73" fmla="*/ 4238625 h 4496940"/>
              <a:gd name="connsiteX74" fmla="*/ 3288052 w 4519987"/>
              <a:gd name="connsiteY74" fmla="*/ 4248150 h 4496940"/>
              <a:gd name="connsiteX75" fmla="*/ 3240427 w 4519987"/>
              <a:gd name="connsiteY75" fmla="*/ 4267200 h 4496940"/>
              <a:gd name="connsiteX76" fmla="*/ 3068977 w 4519987"/>
              <a:gd name="connsiteY76" fmla="*/ 4286250 h 4496940"/>
              <a:gd name="connsiteX77" fmla="*/ 2935627 w 4519987"/>
              <a:gd name="connsiteY77" fmla="*/ 4333875 h 4496940"/>
              <a:gd name="connsiteX78" fmla="*/ 2811802 w 4519987"/>
              <a:gd name="connsiteY78" fmla="*/ 4371975 h 4496940"/>
              <a:gd name="connsiteX79" fmla="*/ 2745127 w 4519987"/>
              <a:gd name="connsiteY79" fmla="*/ 4410075 h 4496940"/>
              <a:gd name="connsiteX80" fmla="*/ 2697502 w 4519987"/>
              <a:gd name="connsiteY80" fmla="*/ 4429125 h 4496940"/>
              <a:gd name="connsiteX81" fmla="*/ 2640352 w 4519987"/>
              <a:gd name="connsiteY81" fmla="*/ 4457700 h 4496940"/>
              <a:gd name="connsiteX82" fmla="*/ 2583202 w 4519987"/>
              <a:gd name="connsiteY82" fmla="*/ 4467225 h 4496940"/>
              <a:gd name="connsiteX83" fmla="*/ 2545102 w 4519987"/>
              <a:gd name="connsiteY83" fmla="*/ 4486275 h 4496940"/>
              <a:gd name="connsiteX84" fmla="*/ 2306977 w 4519987"/>
              <a:gd name="connsiteY84" fmla="*/ 4476750 h 4496940"/>
              <a:gd name="connsiteX85" fmla="*/ 2202202 w 4519987"/>
              <a:gd name="connsiteY85" fmla="*/ 4457700 h 4496940"/>
              <a:gd name="connsiteX86" fmla="*/ 2126002 w 4519987"/>
              <a:gd name="connsiteY86" fmla="*/ 4429125 h 4496940"/>
              <a:gd name="connsiteX87" fmla="*/ 1935502 w 4519987"/>
              <a:gd name="connsiteY87" fmla="*/ 4400550 h 4496940"/>
              <a:gd name="connsiteX88" fmla="*/ 1821202 w 4519987"/>
              <a:gd name="connsiteY88" fmla="*/ 4371975 h 4496940"/>
              <a:gd name="connsiteX89" fmla="*/ 1754527 w 4519987"/>
              <a:gd name="connsiteY89" fmla="*/ 4352925 h 4496940"/>
              <a:gd name="connsiteX90" fmla="*/ 1687852 w 4519987"/>
              <a:gd name="connsiteY90" fmla="*/ 4343400 h 4496940"/>
              <a:gd name="connsiteX91" fmla="*/ 1573552 w 4519987"/>
              <a:gd name="connsiteY91" fmla="*/ 4305300 h 4496940"/>
              <a:gd name="connsiteX92" fmla="*/ 1402102 w 4519987"/>
              <a:gd name="connsiteY92" fmla="*/ 4276725 h 4496940"/>
              <a:gd name="connsiteX93" fmla="*/ 1287802 w 4519987"/>
              <a:gd name="connsiteY93" fmla="*/ 4229100 h 4496940"/>
              <a:gd name="connsiteX94" fmla="*/ 1221127 w 4519987"/>
              <a:gd name="connsiteY94" fmla="*/ 4200525 h 4496940"/>
              <a:gd name="connsiteX95" fmla="*/ 1144927 w 4519987"/>
              <a:gd name="connsiteY95" fmla="*/ 4171950 h 4496940"/>
              <a:gd name="connsiteX96" fmla="*/ 1087777 w 4519987"/>
              <a:gd name="connsiteY96" fmla="*/ 4143375 h 4496940"/>
              <a:gd name="connsiteX97" fmla="*/ 1030627 w 4519987"/>
              <a:gd name="connsiteY97" fmla="*/ 4124325 h 4496940"/>
              <a:gd name="connsiteX98" fmla="*/ 925852 w 4519987"/>
              <a:gd name="connsiteY98" fmla="*/ 4067175 h 4496940"/>
              <a:gd name="connsiteX99" fmla="*/ 830602 w 4519987"/>
              <a:gd name="connsiteY99" fmla="*/ 3981450 h 4496940"/>
              <a:gd name="connsiteX100" fmla="*/ 763927 w 4519987"/>
              <a:gd name="connsiteY100" fmla="*/ 3914775 h 4496940"/>
              <a:gd name="connsiteX101" fmla="*/ 725827 w 4519987"/>
              <a:gd name="connsiteY101" fmla="*/ 3876675 h 4496940"/>
              <a:gd name="connsiteX102" fmla="*/ 697252 w 4519987"/>
              <a:gd name="connsiteY102" fmla="*/ 3838575 h 4496940"/>
              <a:gd name="connsiteX103" fmla="*/ 640102 w 4519987"/>
              <a:gd name="connsiteY103" fmla="*/ 3781425 h 4496940"/>
              <a:gd name="connsiteX104" fmla="*/ 611527 w 4519987"/>
              <a:gd name="connsiteY104" fmla="*/ 3733800 h 4496940"/>
              <a:gd name="connsiteX105" fmla="*/ 554377 w 4519987"/>
              <a:gd name="connsiteY105" fmla="*/ 3657600 h 4496940"/>
              <a:gd name="connsiteX106" fmla="*/ 525802 w 4519987"/>
              <a:gd name="connsiteY106" fmla="*/ 3609975 h 4496940"/>
              <a:gd name="connsiteX107" fmla="*/ 497227 w 4519987"/>
              <a:gd name="connsiteY107" fmla="*/ 3552825 h 4496940"/>
              <a:gd name="connsiteX108" fmla="*/ 440077 w 4519987"/>
              <a:gd name="connsiteY108" fmla="*/ 3495675 h 4496940"/>
              <a:gd name="connsiteX109" fmla="*/ 411502 w 4519987"/>
              <a:gd name="connsiteY109" fmla="*/ 3448050 h 4496940"/>
              <a:gd name="connsiteX110" fmla="*/ 278152 w 4519987"/>
              <a:gd name="connsiteY110" fmla="*/ 3257550 h 4496940"/>
              <a:gd name="connsiteX111" fmla="*/ 249577 w 4519987"/>
              <a:gd name="connsiteY111" fmla="*/ 3200400 h 4496940"/>
              <a:gd name="connsiteX112" fmla="*/ 240052 w 4519987"/>
              <a:gd name="connsiteY112" fmla="*/ 3162300 h 4496940"/>
              <a:gd name="connsiteX113" fmla="*/ 221002 w 4519987"/>
              <a:gd name="connsiteY113" fmla="*/ 3105150 h 4496940"/>
              <a:gd name="connsiteX114" fmla="*/ 173377 w 4519987"/>
              <a:gd name="connsiteY114" fmla="*/ 3019425 h 4496940"/>
              <a:gd name="connsiteX115" fmla="*/ 144802 w 4519987"/>
              <a:gd name="connsiteY115" fmla="*/ 2924175 h 4496940"/>
              <a:gd name="connsiteX116" fmla="*/ 68602 w 4519987"/>
              <a:gd name="connsiteY116" fmla="*/ 2724150 h 4496940"/>
              <a:gd name="connsiteX117" fmla="*/ 49552 w 4519987"/>
              <a:gd name="connsiteY117" fmla="*/ 2638425 h 4496940"/>
              <a:gd name="connsiteX118" fmla="*/ 40027 w 4519987"/>
              <a:gd name="connsiteY118" fmla="*/ 2562225 h 4496940"/>
              <a:gd name="connsiteX119" fmla="*/ 30502 w 4519987"/>
              <a:gd name="connsiteY119" fmla="*/ 2514600 h 4496940"/>
              <a:gd name="connsiteX120" fmla="*/ 11452 w 4519987"/>
              <a:gd name="connsiteY120" fmla="*/ 2400300 h 4496940"/>
              <a:gd name="connsiteX121" fmla="*/ 20977 w 4519987"/>
              <a:gd name="connsiteY121" fmla="*/ 1905000 h 4496940"/>
              <a:gd name="connsiteX122" fmla="*/ 30502 w 4519987"/>
              <a:gd name="connsiteY122" fmla="*/ 1838325 h 4496940"/>
              <a:gd name="connsiteX123" fmla="*/ 49552 w 4519987"/>
              <a:gd name="connsiteY123" fmla="*/ 1781175 h 4496940"/>
              <a:gd name="connsiteX124" fmla="*/ 59077 w 4519987"/>
              <a:gd name="connsiteY124" fmla="*/ 1743075 h 4496940"/>
              <a:gd name="connsiteX125" fmla="*/ 78127 w 4519987"/>
              <a:gd name="connsiteY125" fmla="*/ 1685925 h 4496940"/>
              <a:gd name="connsiteX126" fmla="*/ 87652 w 4519987"/>
              <a:gd name="connsiteY126" fmla="*/ 1638300 h 4496940"/>
              <a:gd name="connsiteX127" fmla="*/ 106702 w 4519987"/>
              <a:gd name="connsiteY127" fmla="*/ 1590675 h 4496940"/>
              <a:gd name="connsiteX128" fmla="*/ 135277 w 4519987"/>
              <a:gd name="connsiteY128" fmla="*/ 1504950 h 4496940"/>
              <a:gd name="connsiteX129" fmla="*/ 154327 w 4519987"/>
              <a:gd name="connsiteY129" fmla="*/ 1419225 h 4496940"/>
              <a:gd name="connsiteX130" fmla="*/ 230527 w 4519987"/>
              <a:gd name="connsiteY130" fmla="*/ 1276350 h 4496940"/>
              <a:gd name="connsiteX131" fmla="*/ 240052 w 4519987"/>
              <a:gd name="connsiteY131" fmla="*/ 1247775 h 4496940"/>
              <a:gd name="connsiteX132" fmla="*/ 268627 w 4519987"/>
              <a:gd name="connsiteY132" fmla="*/ 1200150 h 4496940"/>
              <a:gd name="connsiteX133" fmla="*/ 287677 w 4519987"/>
              <a:gd name="connsiteY133" fmla="*/ 1152525 h 4496940"/>
              <a:gd name="connsiteX134" fmla="*/ 316252 w 4519987"/>
              <a:gd name="connsiteY134" fmla="*/ 1114425 h 4496940"/>
              <a:gd name="connsiteX135" fmla="*/ 363877 w 4519987"/>
              <a:gd name="connsiteY135" fmla="*/ 1038225 h 4496940"/>
              <a:gd name="connsiteX136" fmla="*/ 382927 w 4519987"/>
              <a:gd name="connsiteY136" fmla="*/ 1009650 h 4496940"/>
              <a:gd name="connsiteX137" fmla="*/ 440077 w 4519987"/>
              <a:gd name="connsiteY137" fmla="*/ 904875 h 4496940"/>
              <a:gd name="connsiteX138" fmla="*/ 478177 w 4519987"/>
              <a:gd name="connsiteY138" fmla="*/ 857250 h 4496940"/>
              <a:gd name="connsiteX139" fmla="*/ 497227 w 4519987"/>
              <a:gd name="connsiteY139" fmla="*/ 828675 h 4496940"/>
              <a:gd name="connsiteX140" fmla="*/ 535327 w 4519987"/>
              <a:gd name="connsiteY140" fmla="*/ 800100 h 4496940"/>
              <a:gd name="connsiteX141" fmla="*/ 602002 w 4519987"/>
              <a:gd name="connsiteY141" fmla="*/ 733425 h 4496940"/>
              <a:gd name="connsiteX142" fmla="*/ 668677 w 4519987"/>
              <a:gd name="connsiteY142" fmla="*/ 676275 h 4496940"/>
              <a:gd name="connsiteX143" fmla="*/ 697252 w 4519987"/>
              <a:gd name="connsiteY143" fmla="*/ 657225 h 4496940"/>
              <a:gd name="connsiteX144" fmla="*/ 840127 w 4519987"/>
              <a:gd name="connsiteY144" fmla="*/ 533400 h 4496940"/>
              <a:gd name="connsiteX145" fmla="*/ 887752 w 4519987"/>
              <a:gd name="connsiteY145" fmla="*/ 504825 h 4496940"/>
              <a:gd name="connsiteX146" fmla="*/ 1167152 w 4519987"/>
              <a:gd name="connsiteY146" fmla="*/ 311150 h 4496940"/>
              <a:gd name="connsiteX147" fmla="*/ 1268752 w 4519987"/>
              <a:gd name="connsiteY147" fmla="*/ 285750 h 4496940"/>
              <a:gd name="connsiteX148" fmla="*/ 1411627 w 4519987"/>
              <a:gd name="connsiteY148" fmla="*/ 190500 h 4496940"/>
              <a:gd name="connsiteX149" fmla="*/ 1449727 w 4519987"/>
              <a:gd name="connsiteY149" fmla="*/ 161925 h 4496940"/>
              <a:gd name="connsiteX150" fmla="*/ 1525927 w 4519987"/>
              <a:gd name="connsiteY150" fmla="*/ 152400 h 4496940"/>
              <a:gd name="connsiteX151" fmla="*/ 1583077 w 4519987"/>
              <a:gd name="connsiteY151" fmla="*/ 142875 h 4496940"/>
              <a:gd name="connsiteX152" fmla="*/ 1716427 w 4519987"/>
              <a:gd name="connsiteY152" fmla="*/ 123825 h 4496940"/>
              <a:gd name="connsiteX153" fmla="*/ 1811677 w 4519987"/>
              <a:gd name="connsiteY153" fmla="*/ 114300 h 4496940"/>
              <a:gd name="connsiteX154" fmla="*/ 1859302 w 4519987"/>
              <a:gd name="connsiteY154" fmla="*/ 104775 h 4496940"/>
              <a:gd name="connsiteX155" fmla="*/ 1916452 w 4519987"/>
              <a:gd name="connsiteY155" fmla="*/ 95250 h 4496940"/>
              <a:gd name="connsiteX156" fmla="*/ 2030752 w 4519987"/>
              <a:gd name="connsiteY156" fmla="*/ 66675 h 4496940"/>
              <a:gd name="connsiteX157" fmla="*/ 2097427 w 4519987"/>
              <a:gd name="connsiteY157" fmla="*/ 47625 h 4496940"/>
              <a:gd name="connsiteX158" fmla="*/ 2164102 w 4519987"/>
              <a:gd name="connsiteY158" fmla="*/ 38100 h 4496940"/>
              <a:gd name="connsiteX159" fmla="*/ 2392702 w 4519987"/>
              <a:gd name="connsiteY15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50052 w 4519987"/>
              <a:gd name="connsiteY28" fmla="*/ 790575 h 4496940"/>
              <a:gd name="connsiteX29" fmla="*/ 4078627 w 4519987"/>
              <a:gd name="connsiteY29" fmla="*/ 838200 h 4496940"/>
              <a:gd name="connsiteX30" fmla="*/ 4107202 w 4519987"/>
              <a:gd name="connsiteY30" fmla="*/ 876300 h 4496940"/>
              <a:gd name="connsiteX31" fmla="*/ 4116727 w 4519987"/>
              <a:gd name="connsiteY31" fmla="*/ 904875 h 4496940"/>
              <a:gd name="connsiteX32" fmla="*/ 4135777 w 4519987"/>
              <a:gd name="connsiteY32" fmla="*/ 933450 h 4496940"/>
              <a:gd name="connsiteX33" fmla="*/ 4164352 w 4519987"/>
              <a:gd name="connsiteY33" fmla="*/ 990600 h 4496940"/>
              <a:gd name="connsiteX34" fmla="*/ 4173877 w 4519987"/>
              <a:gd name="connsiteY34" fmla="*/ 1019175 h 4496940"/>
              <a:gd name="connsiteX35" fmla="*/ 4192927 w 4519987"/>
              <a:gd name="connsiteY35" fmla="*/ 1057275 h 4496940"/>
              <a:gd name="connsiteX36" fmla="*/ 4202452 w 4519987"/>
              <a:gd name="connsiteY36" fmla="*/ 1085850 h 4496940"/>
              <a:gd name="connsiteX37" fmla="*/ 4250077 w 4519987"/>
              <a:gd name="connsiteY37" fmla="*/ 1143000 h 4496940"/>
              <a:gd name="connsiteX38" fmla="*/ 4259602 w 4519987"/>
              <a:gd name="connsiteY38" fmla="*/ 1190625 h 4496940"/>
              <a:gd name="connsiteX39" fmla="*/ 4307227 w 4519987"/>
              <a:gd name="connsiteY39" fmla="*/ 1266825 h 4496940"/>
              <a:gd name="connsiteX40" fmla="*/ 4345327 w 4519987"/>
              <a:gd name="connsiteY40" fmla="*/ 1362075 h 4496940"/>
              <a:gd name="connsiteX41" fmla="*/ 4373902 w 4519987"/>
              <a:gd name="connsiteY41" fmla="*/ 1428750 h 4496940"/>
              <a:gd name="connsiteX42" fmla="*/ 4392952 w 4519987"/>
              <a:gd name="connsiteY42" fmla="*/ 1552575 h 4496940"/>
              <a:gd name="connsiteX43" fmla="*/ 4402477 w 4519987"/>
              <a:gd name="connsiteY43" fmla="*/ 1590675 h 4496940"/>
              <a:gd name="connsiteX44" fmla="*/ 4431052 w 4519987"/>
              <a:gd name="connsiteY44" fmla="*/ 1685925 h 4496940"/>
              <a:gd name="connsiteX45" fmla="*/ 4519952 w 4519987"/>
              <a:gd name="connsiteY45" fmla="*/ 2181225 h 4496940"/>
              <a:gd name="connsiteX46" fmla="*/ 4446927 w 4519987"/>
              <a:gd name="connsiteY46" fmla="*/ 2768600 h 4496940"/>
              <a:gd name="connsiteX47" fmla="*/ 4383427 w 4519987"/>
              <a:gd name="connsiteY47" fmla="*/ 2990850 h 4496940"/>
              <a:gd name="connsiteX48" fmla="*/ 4278652 w 4519987"/>
              <a:gd name="connsiteY48" fmla="*/ 3248025 h 4496940"/>
              <a:gd name="connsiteX49" fmla="*/ 4259602 w 4519987"/>
              <a:gd name="connsiteY49" fmla="*/ 3276600 h 4496940"/>
              <a:gd name="connsiteX50" fmla="*/ 4221502 w 4519987"/>
              <a:gd name="connsiteY50" fmla="*/ 3333750 h 4496940"/>
              <a:gd name="connsiteX51" fmla="*/ 4211977 w 4519987"/>
              <a:gd name="connsiteY51" fmla="*/ 3362325 h 4496940"/>
              <a:gd name="connsiteX52" fmla="*/ 4183402 w 4519987"/>
              <a:gd name="connsiteY52" fmla="*/ 3400425 h 4496940"/>
              <a:gd name="connsiteX53" fmla="*/ 4164352 w 4519987"/>
              <a:gd name="connsiteY53" fmla="*/ 3429000 h 4496940"/>
              <a:gd name="connsiteX54" fmla="*/ 4088152 w 4519987"/>
              <a:gd name="connsiteY54" fmla="*/ 3495675 h 4496940"/>
              <a:gd name="connsiteX55" fmla="*/ 4059577 w 4519987"/>
              <a:gd name="connsiteY55" fmla="*/ 3533775 h 4496940"/>
              <a:gd name="connsiteX56" fmla="*/ 4002427 w 4519987"/>
              <a:gd name="connsiteY56" fmla="*/ 3600450 h 4496940"/>
              <a:gd name="connsiteX57" fmla="*/ 3983377 w 4519987"/>
              <a:gd name="connsiteY57" fmla="*/ 3629025 h 4496940"/>
              <a:gd name="connsiteX58" fmla="*/ 3954802 w 4519987"/>
              <a:gd name="connsiteY58" fmla="*/ 3648075 h 4496940"/>
              <a:gd name="connsiteX59" fmla="*/ 3907177 w 4519987"/>
              <a:gd name="connsiteY59" fmla="*/ 3686175 h 4496940"/>
              <a:gd name="connsiteX60" fmla="*/ 3869077 w 4519987"/>
              <a:gd name="connsiteY60" fmla="*/ 3724275 h 4496940"/>
              <a:gd name="connsiteX61" fmla="*/ 3792877 w 4519987"/>
              <a:gd name="connsiteY61" fmla="*/ 3781425 h 4496940"/>
              <a:gd name="connsiteX62" fmla="*/ 3783352 w 4519987"/>
              <a:gd name="connsiteY62" fmla="*/ 3810000 h 4496940"/>
              <a:gd name="connsiteX63" fmla="*/ 3745252 w 4519987"/>
              <a:gd name="connsiteY63" fmla="*/ 3819525 h 4496940"/>
              <a:gd name="connsiteX64" fmla="*/ 3678577 w 4519987"/>
              <a:gd name="connsiteY64" fmla="*/ 3848100 h 4496940"/>
              <a:gd name="connsiteX65" fmla="*/ 3659527 w 4519987"/>
              <a:gd name="connsiteY65" fmla="*/ 3971925 h 4496940"/>
              <a:gd name="connsiteX66" fmla="*/ 3630952 w 4519987"/>
              <a:gd name="connsiteY66" fmla="*/ 4010025 h 4496940"/>
              <a:gd name="connsiteX67" fmla="*/ 3621427 w 4519987"/>
              <a:gd name="connsiteY67" fmla="*/ 4038600 h 4496940"/>
              <a:gd name="connsiteX68" fmla="*/ 3554752 w 4519987"/>
              <a:gd name="connsiteY68" fmla="*/ 4095750 h 4496940"/>
              <a:gd name="connsiteX69" fmla="*/ 3516652 w 4519987"/>
              <a:gd name="connsiteY69" fmla="*/ 4114800 h 4496940"/>
              <a:gd name="connsiteX70" fmla="*/ 3497602 w 4519987"/>
              <a:gd name="connsiteY70" fmla="*/ 4143375 h 4496940"/>
              <a:gd name="connsiteX71" fmla="*/ 3383302 w 4519987"/>
              <a:gd name="connsiteY71" fmla="*/ 4210050 h 4496940"/>
              <a:gd name="connsiteX72" fmla="*/ 3335677 w 4519987"/>
              <a:gd name="connsiteY72" fmla="*/ 4238625 h 4496940"/>
              <a:gd name="connsiteX73" fmla="*/ 3288052 w 4519987"/>
              <a:gd name="connsiteY73" fmla="*/ 4248150 h 4496940"/>
              <a:gd name="connsiteX74" fmla="*/ 3240427 w 4519987"/>
              <a:gd name="connsiteY74" fmla="*/ 4267200 h 4496940"/>
              <a:gd name="connsiteX75" fmla="*/ 3068977 w 4519987"/>
              <a:gd name="connsiteY75" fmla="*/ 4286250 h 4496940"/>
              <a:gd name="connsiteX76" fmla="*/ 2935627 w 4519987"/>
              <a:gd name="connsiteY76" fmla="*/ 4333875 h 4496940"/>
              <a:gd name="connsiteX77" fmla="*/ 2811802 w 4519987"/>
              <a:gd name="connsiteY77" fmla="*/ 4371975 h 4496940"/>
              <a:gd name="connsiteX78" fmla="*/ 2745127 w 4519987"/>
              <a:gd name="connsiteY78" fmla="*/ 4410075 h 4496940"/>
              <a:gd name="connsiteX79" fmla="*/ 2697502 w 4519987"/>
              <a:gd name="connsiteY79" fmla="*/ 4429125 h 4496940"/>
              <a:gd name="connsiteX80" fmla="*/ 2640352 w 4519987"/>
              <a:gd name="connsiteY80" fmla="*/ 4457700 h 4496940"/>
              <a:gd name="connsiteX81" fmla="*/ 2583202 w 4519987"/>
              <a:gd name="connsiteY81" fmla="*/ 4467225 h 4496940"/>
              <a:gd name="connsiteX82" fmla="*/ 2545102 w 4519987"/>
              <a:gd name="connsiteY82" fmla="*/ 4486275 h 4496940"/>
              <a:gd name="connsiteX83" fmla="*/ 2306977 w 4519987"/>
              <a:gd name="connsiteY83" fmla="*/ 4476750 h 4496940"/>
              <a:gd name="connsiteX84" fmla="*/ 2202202 w 4519987"/>
              <a:gd name="connsiteY84" fmla="*/ 4457700 h 4496940"/>
              <a:gd name="connsiteX85" fmla="*/ 2126002 w 4519987"/>
              <a:gd name="connsiteY85" fmla="*/ 4429125 h 4496940"/>
              <a:gd name="connsiteX86" fmla="*/ 1935502 w 4519987"/>
              <a:gd name="connsiteY86" fmla="*/ 4400550 h 4496940"/>
              <a:gd name="connsiteX87" fmla="*/ 1821202 w 4519987"/>
              <a:gd name="connsiteY87" fmla="*/ 4371975 h 4496940"/>
              <a:gd name="connsiteX88" fmla="*/ 1754527 w 4519987"/>
              <a:gd name="connsiteY88" fmla="*/ 4352925 h 4496940"/>
              <a:gd name="connsiteX89" fmla="*/ 1687852 w 4519987"/>
              <a:gd name="connsiteY89" fmla="*/ 4343400 h 4496940"/>
              <a:gd name="connsiteX90" fmla="*/ 1573552 w 4519987"/>
              <a:gd name="connsiteY90" fmla="*/ 4305300 h 4496940"/>
              <a:gd name="connsiteX91" fmla="*/ 1402102 w 4519987"/>
              <a:gd name="connsiteY91" fmla="*/ 4276725 h 4496940"/>
              <a:gd name="connsiteX92" fmla="*/ 1287802 w 4519987"/>
              <a:gd name="connsiteY92" fmla="*/ 4229100 h 4496940"/>
              <a:gd name="connsiteX93" fmla="*/ 1221127 w 4519987"/>
              <a:gd name="connsiteY93" fmla="*/ 4200525 h 4496940"/>
              <a:gd name="connsiteX94" fmla="*/ 1144927 w 4519987"/>
              <a:gd name="connsiteY94" fmla="*/ 4171950 h 4496940"/>
              <a:gd name="connsiteX95" fmla="*/ 1087777 w 4519987"/>
              <a:gd name="connsiteY95" fmla="*/ 4143375 h 4496940"/>
              <a:gd name="connsiteX96" fmla="*/ 1030627 w 4519987"/>
              <a:gd name="connsiteY96" fmla="*/ 4124325 h 4496940"/>
              <a:gd name="connsiteX97" fmla="*/ 925852 w 4519987"/>
              <a:gd name="connsiteY97" fmla="*/ 4067175 h 4496940"/>
              <a:gd name="connsiteX98" fmla="*/ 830602 w 4519987"/>
              <a:gd name="connsiteY98" fmla="*/ 3981450 h 4496940"/>
              <a:gd name="connsiteX99" fmla="*/ 763927 w 4519987"/>
              <a:gd name="connsiteY99" fmla="*/ 3914775 h 4496940"/>
              <a:gd name="connsiteX100" fmla="*/ 725827 w 4519987"/>
              <a:gd name="connsiteY100" fmla="*/ 3876675 h 4496940"/>
              <a:gd name="connsiteX101" fmla="*/ 697252 w 4519987"/>
              <a:gd name="connsiteY101" fmla="*/ 3838575 h 4496940"/>
              <a:gd name="connsiteX102" fmla="*/ 640102 w 4519987"/>
              <a:gd name="connsiteY102" fmla="*/ 3781425 h 4496940"/>
              <a:gd name="connsiteX103" fmla="*/ 611527 w 4519987"/>
              <a:gd name="connsiteY103" fmla="*/ 3733800 h 4496940"/>
              <a:gd name="connsiteX104" fmla="*/ 554377 w 4519987"/>
              <a:gd name="connsiteY104" fmla="*/ 3657600 h 4496940"/>
              <a:gd name="connsiteX105" fmla="*/ 525802 w 4519987"/>
              <a:gd name="connsiteY105" fmla="*/ 3609975 h 4496940"/>
              <a:gd name="connsiteX106" fmla="*/ 497227 w 4519987"/>
              <a:gd name="connsiteY106" fmla="*/ 3552825 h 4496940"/>
              <a:gd name="connsiteX107" fmla="*/ 440077 w 4519987"/>
              <a:gd name="connsiteY107" fmla="*/ 3495675 h 4496940"/>
              <a:gd name="connsiteX108" fmla="*/ 411502 w 4519987"/>
              <a:gd name="connsiteY108" fmla="*/ 3448050 h 4496940"/>
              <a:gd name="connsiteX109" fmla="*/ 278152 w 4519987"/>
              <a:gd name="connsiteY109" fmla="*/ 3257550 h 4496940"/>
              <a:gd name="connsiteX110" fmla="*/ 249577 w 4519987"/>
              <a:gd name="connsiteY110" fmla="*/ 3200400 h 4496940"/>
              <a:gd name="connsiteX111" fmla="*/ 240052 w 4519987"/>
              <a:gd name="connsiteY111" fmla="*/ 3162300 h 4496940"/>
              <a:gd name="connsiteX112" fmla="*/ 221002 w 4519987"/>
              <a:gd name="connsiteY112" fmla="*/ 3105150 h 4496940"/>
              <a:gd name="connsiteX113" fmla="*/ 173377 w 4519987"/>
              <a:gd name="connsiteY113" fmla="*/ 3019425 h 4496940"/>
              <a:gd name="connsiteX114" fmla="*/ 144802 w 4519987"/>
              <a:gd name="connsiteY114" fmla="*/ 2924175 h 4496940"/>
              <a:gd name="connsiteX115" fmla="*/ 68602 w 4519987"/>
              <a:gd name="connsiteY115" fmla="*/ 2724150 h 4496940"/>
              <a:gd name="connsiteX116" fmla="*/ 49552 w 4519987"/>
              <a:gd name="connsiteY116" fmla="*/ 2638425 h 4496940"/>
              <a:gd name="connsiteX117" fmla="*/ 40027 w 4519987"/>
              <a:gd name="connsiteY117" fmla="*/ 2562225 h 4496940"/>
              <a:gd name="connsiteX118" fmla="*/ 30502 w 4519987"/>
              <a:gd name="connsiteY118" fmla="*/ 2514600 h 4496940"/>
              <a:gd name="connsiteX119" fmla="*/ 11452 w 4519987"/>
              <a:gd name="connsiteY119" fmla="*/ 2400300 h 4496940"/>
              <a:gd name="connsiteX120" fmla="*/ 20977 w 4519987"/>
              <a:gd name="connsiteY120" fmla="*/ 1905000 h 4496940"/>
              <a:gd name="connsiteX121" fmla="*/ 30502 w 4519987"/>
              <a:gd name="connsiteY121" fmla="*/ 1838325 h 4496940"/>
              <a:gd name="connsiteX122" fmla="*/ 49552 w 4519987"/>
              <a:gd name="connsiteY122" fmla="*/ 1781175 h 4496940"/>
              <a:gd name="connsiteX123" fmla="*/ 59077 w 4519987"/>
              <a:gd name="connsiteY123" fmla="*/ 1743075 h 4496940"/>
              <a:gd name="connsiteX124" fmla="*/ 78127 w 4519987"/>
              <a:gd name="connsiteY124" fmla="*/ 1685925 h 4496940"/>
              <a:gd name="connsiteX125" fmla="*/ 87652 w 4519987"/>
              <a:gd name="connsiteY125" fmla="*/ 1638300 h 4496940"/>
              <a:gd name="connsiteX126" fmla="*/ 106702 w 4519987"/>
              <a:gd name="connsiteY126" fmla="*/ 1590675 h 4496940"/>
              <a:gd name="connsiteX127" fmla="*/ 135277 w 4519987"/>
              <a:gd name="connsiteY127" fmla="*/ 1504950 h 4496940"/>
              <a:gd name="connsiteX128" fmla="*/ 154327 w 4519987"/>
              <a:gd name="connsiteY128" fmla="*/ 1419225 h 4496940"/>
              <a:gd name="connsiteX129" fmla="*/ 230527 w 4519987"/>
              <a:gd name="connsiteY129" fmla="*/ 1276350 h 4496940"/>
              <a:gd name="connsiteX130" fmla="*/ 240052 w 4519987"/>
              <a:gd name="connsiteY130" fmla="*/ 1247775 h 4496940"/>
              <a:gd name="connsiteX131" fmla="*/ 268627 w 4519987"/>
              <a:gd name="connsiteY131" fmla="*/ 1200150 h 4496940"/>
              <a:gd name="connsiteX132" fmla="*/ 287677 w 4519987"/>
              <a:gd name="connsiteY132" fmla="*/ 1152525 h 4496940"/>
              <a:gd name="connsiteX133" fmla="*/ 316252 w 4519987"/>
              <a:gd name="connsiteY133" fmla="*/ 1114425 h 4496940"/>
              <a:gd name="connsiteX134" fmla="*/ 363877 w 4519987"/>
              <a:gd name="connsiteY134" fmla="*/ 1038225 h 4496940"/>
              <a:gd name="connsiteX135" fmla="*/ 382927 w 4519987"/>
              <a:gd name="connsiteY135" fmla="*/ 1009650 h 4496940"/>
              <a:gd name="connsiteX136" fmla="*/ 440077 w 4519987"/>
              <a:gd name="connsiteY136" fmla="*/ 904875 h 4496940"/>
              <a:gd name="connsiteX137" fmla="*/ 478177 w 4519987"/>
              <a:gd name="connsiteY137" fmla="*/ 857250 h 4496940"/>
              <a:gd name="connsiteX138" fmla="*/ 497227 w 4519987"/>
              <a:gd name="connsiteY138" fmla="*/ 828675 h 4496940"/>
              <a:gd name="connsiteX139" fmla="*/ 535327 w 4519987"/>
              <a:gd name="connsiteY139" fmla="*/ 800100 h 4496940"/>
              <a:gd name="connsiteX140" fmla="*/ 602002 w 4519987"/>
              <a:gd name="connsiteY140" fmla="*/ 733425 h 4496940"/>
              <a:gd name="connsiteX141" fmla="*/ 668677 w 4519987"/>
              <a:gd name="connsiteY141" fmla="*/ 676275 h 4496940"/>
              <a:gd name="connsiteX142" fmla="*/ 697252 w 4519987"/>
              <a:gd name="connsiteY142" fmla="*/ 657225 h 4496940"/>
              <a:gd name="connsiteX143" fmla="*/ 840127 w 4519987"/>
              <a:gd name="connsiteY143" fmla="*/ 533400 h 4496940"/>
              <a:gd name="connsiteX144" fmla="*/ 887752 w 4519987"/>
              <a:gd name="connsiteY144" fmla="*/ 504825 h 4496940"/>
              <a:gd name="connsiteX145" fmla="*/ 1167152 w 4519987"/>
              <a:gd name="connsiteY145" fmla="*/ 311150 h 4496940"/>
              <a:gd name="connsiteX146" fmla="*/ 1268752 w 4519987"/>
              <a:gd name="connsiteY146" fmla="*/ 285750 h 4496940"/>
              <a:gd name="connsiteX147" fmla="*/ 1411627 w 4519987"/>
              <a:gd name="connsiteY147" fmla="*/ 190500 h 4496940"/>
              <a:gd name="connsiteX148" fmla="*/ 1449727 w 4519987"/>
              <a:gd name="connsiteY148" fmla="*/ 161925 h 4496940"/>
              <a:gd name="connsiteX149" fmla="*/ 1525927 w 4519987"/>
              <a:gd name="connsiteY149" fmla="*/ 152400 h 4496940"/>
              <a:gd name="connsiteX150" fmla="*/ 1583077 w 4519987"/>
              <a:gd name="connsiteY150" fmla="*/ 142875 h 4496940"/>
              <a:gd name="connsiteX151" fmla="*/ 1716427 w 4519987"/>
              <a:gd name="connsiteY151" fmla="*/ 123825 h 4496940"/>
              <a:gd name="connsiteX152" fmla="*/ 1811677 w 4519987"/>
              <a:gd name="connsiteY152" fmla="*/ 114300 h 4496940"/>
              <a:gd name="connsiteX153" fmla="*/ 1859302 w 4519987"/>
              <a:gd name="connsiteY153" fmla="*/ 104775 h 4496940"/>
              <a:gd name="connsiteX154" fmla="*/ 1916452 w 4519987"/>
              <a:gd name="connsiteY154" fmla="*/ 95250 h 4496940"/>
              <a:gd name="connsiteX155" fmla="*/ 2030752 w 4519987"/>
              <a:gd name="connsiteY155" fmla="*/ 66675 h 4496940"/>
              <a:gd name="connsiteX156" fmla="*/ 2097427 w 4519987"/>
              <a:gd name="connsiteY156" fmla="*/ 47625 h 4496940"/>
              <a:gd name="connsiteX157" fmla="*/ 2164102 w 4519987"/>
              <a:gd name="connsiteY157" fmla="*/ 38100 h 4496940"/>
              <a:gd name="connsiteX158" fmla="*/ 2392702 w 4519987"/>
              <a:gd name="connsiteY15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07202 w 4519987"/>
              <a:gd name="connsiteY29" fmla="*/ 876300 h 4496940"/>
              <a:gd name="connsiteX30" fmla="*/ 4116727 w 4519987"/>
              <a:gd name="connsiteY30" fmla="*/ 904875 h 4496940"/>
              <a:gd name="connsiteX31" fmla="*/ 4135777 w 4519987"/>
              <a:gd name="connsiteY31" fmla="*/ 933450 h 4496940"/>
              <a:gd name="connsiteX32" fmla="*/ 4164352 w 4519987"/>
              <a:gd name="connsiteY32" fmla="*/ 990600 h 4496940"/>
              <a:gd name="connsiteX33" fmla="*/ 4173877 w 4519987"/>
              <a:gd name="connsiteY33" fmla="*/ 1019175 h 4496940"/>
              <a:gd name="connsiteX34" fmla="*/ 4192927 w 4519987"/>
              <a:gd name="connsiteY34" fmla="*/ 1057275 h 4496940"/>
              <a:gd name="connsiteX35" fmla="*/ 4202452 w 4519987"/>
              <a:gd name="connsiteY35" fmla="*/ 1085850 h 4496940"/>
              <a:gd name="connsiteX36" fmla="*/ 4250077 w 4519987"/>
              <a:gd name="connsiteY36" fmla="*/ 1143000 h 4496940"/>
              <a:gd name="connsiteX37" fmla="*/ 4259602 w 4519987"/>
              <a:gd name="connsiteY37" fmla="*/ 1190625 h 4496940"/>
              <a:gd name="connsiteX38" fmla="*/ 4307227 w 4519987"/>
              <a:gd name="connsiteY38" fmla="*/ 1266825 h 4496940"/>
              <a:gd name="connsiteX39" fmla="*/ 4345327 w 4519987"/>
              <a:gd name="connsiteY39" fmla="*/ 1362075 h 4496940"/>
              <a:gd name="connsiteX40" fmla="*/ 4373902 w 4519987"/>
              <a:gd name="connsiteY40" fmla="*/ 1428750 h 4496940"/>
              <a:gd name="connsiteX41" fmla="*/ 4392952 w 4519987"/>
              <a:gd name="connsiteY41" fmla="*/ 1552575 h 4496940"/>
              <a:gd name="connsiteX42" fmla="*/ 4402477 w 4519987"/>
              <a:gd name="connsiteY42" fmla="*/ 1590675 h 4496940"/>
              <a:gd name="connsiteX43" fmla="*/ 4431052 w 4519987"/>
              <a:gd name="connsiteY43" fmla="*/ 1685925 h 4496940"/>
              <a:gd name="connsiteX44" fmla="*/ 4519952 w 4519987"/>
              <a:gd name="connsiteY44" fmla="*/ 2181225 h 4496940"/>
              <a:gd name="connsiteX45" fmla="*/ 4446927 w 4519987"/>
              <a:gd name="connsiteY45" fmla="*/ 2768600 h 4496940"/>
              <a:gd name="connsiteX46" fmla="*/ 4383427 w 4519987"/>
              <a:gd name="connsiteY46" fmla="*/ 2990850 h 4496940"/>
              <a:gd name="connsiteX47" fmla="*/ 4278652 w 4519987"/>
              <a:gd name="connsiteY47" fmla="*/ 3248025 h 4496940"/>
              <a:gd name="connsiteX48" fmla="*/ 4259602 w 4519987"/>
              <a:gd name="connsiteY48" fmla="*/ 3276600 h 4496940"/>
              <a:gd name="connsiteX49" fmla="*/ 4221502 w 4519987"/>
              <a:gd name="connsiteY49" fmla="*/ 3333750 h 4496940"/>
              <a:gd name="connsiteX50" fmla="*/ 4211977 w 4519987"/>
              <a:gd name="connsiteY50" fmla="*/ 3362325 h 4496940"/>
              <a:gd name="connsiteX51" fmla="*/ 4183402 w 4519987"/>
              <a:gd name="connsiteY51" fmla="*/ 3400425 h 4496940"/>
              <a:gd name="connsiteX52" fmla="*/ 4164352 w 4519987"/>
              <a:gd name="connsiteY52" fmla="*/ 3429000 h 4496940"/>
              <a:gd name="connsiteX53" fmla="*/ 4088152 w 4519987"/>
              <a:gd name="connsiteY53" fmla="*/ 3495675 h 4496940"/>
              <a:gd name="connsiteX54" fmla="*/ 4059577 w 4519987"/>
              <a:gd name="connsiteY54" fmla="*/ 3533775 h 4496940"/>
              <a:gd name="connsiteX55" fmla="*/ 4002427 w 4519987"/>
              <a:gd name="connsiteY55" fmla="*/ 3600450 h 4496940"/>
              <a:gd name="connsiteX56" fmla="*/ 3983377 w 4519987"/>
              <a:gd name="connsiteY56" fmla="*/ 3629025 h 4496940"/>
              <a:gd name="connsiteX57" fmla="*/ 3954802 w 4519987"/>
              <a:gd name="connsiteY57" fmla="*/ 3648075 h 4496940"/>
              <a:gd name="connsiteX58" fmla="*/ 3907177 w 4519987"/>
              <a:gd name="connsiteY58" fmla="*/ 3686175 h 4496940"/>
              <a:gd name="connsiteX59" fmla="*/ 3869077 w 4519987"/>
              <a:gd name="connsiteY59" fmla="*/ 3724275 h 4496940"/>
              <a:gd name="connsiteX60" fmla="*/ 3792877 w 4519987"/>
              <a:gd name="connsiteY60" fmla="*/ 3781425 h 4496940"/>
              <a:gd name="connsiteX61" fmla="*/ 3783352 w 4519987"/>
              <a:gd name="connsiteY61" fmla="*/ 3810000 h 4496940"/>
              <a:gd name="connsiteX62" fmla="*/ 3745252 w 4519987"/>
              <a:gd name="connsiteY62" fmla="*/ 3819525 h 4496940"/>
              <a:gd name="connsiteX63" fmla="*/ 3678577 w 4519987"/>
              <a:gd name="connsiteY63" fmla="*/ 3848100 h 4496940"/>
              <a:gd name="connsiteX64" fmla="*/ 3659527 w 4519987"/>
              <a:gd name="connsiteY64" fmla="*/ 3971925 h 4496940"/>
              <a:gd name="connsiteX65" fmla="*/ 3630952 w 4519987"/>
              <a:gd name="connsiteY65" fmla="*/ 4010025 h 4496940"/>
              <a:gd name="connsiteX66" fmla="*/ 3621427 w 4519987"/>
              <a:gd name="connsiteY66" fmla="*/ 4038600 h 4496940"/>
              <a:gd name="connsiteX67" fmla="*/ 3554752 w 4519987"/>
              <a:gd name="connsiteY67" fmla="*/ 4095750 h 4496940"/>
              <a:gd name="connsiteX68" fmla="*/ 3516652 w 4519987"/>
              <a:gd name="connsiteY68" fmla="*/ 4114800 h 4496940"/>
              <a:gd name="connsiteX69" fmla="*/ 3497602 w 4519987"/>
              <a:gd name="connsiteY69" fmla="*/ 4143375 h 4496940"/>
              <a:gd name="connsiteX70" fmla="*/ 3383302 w 4519987"/>
              <a:gd name="connsiteY70" fmla="*/ 4210050 h 4496940"/>
              <a:gd name="connsiteX71" fmla="*/ 3335677 w 4519987"/>
              <a:gd name="connsiteY71" fmla="*/ 4238625 h 4496940"/>
              <a:gd name="connsiteX72" fmla="*/ 3288052 w 4519987"/>
              <a:gd name="connsiteY72" fmla="*/ 4248150 h 4496940"/>
              <a:gd name="connsiteX73" fmla="*/ 3240427 w 4519987"/>
              <a:gd name="connsiteY73" fmla="*/ 4267200 h 4496940"/>
              <a:gd name="connsiteX74" fmla="*/ 3068977 w 4519987"/>
              <a:gd name="connsiteY74" fmla="*/ 4286250 h 4496940"/>
              <a:gd name="connsiteX75" fmla="*/ 2935627 w 4519987"/>
              <a:gd name="connsiteY75" fmla="*/ 4333875 h 4496940"/>
              <a:gd name="connsiteX76" fmla="*/ 2811802 w 4519987"/>
              <a:gd name="connsiteY76" fmla="*/ 4371975 h 4496940"/>
              <a:gd name="connsiteX77" fmla="*/ 2745127 w 4519987"/>
              <a:gd name="connsiteY77" fmla="*/ 4410075 h 4496940"/>
              <a:gd name="connsiteX78" fmla="*/ 2697502 w 4519987"/>
              <a:gd name="connsiteY78" fmla="*/ 4429125 h 4496940"/>
              <a:gd name="connsiteX79" fmla="*/ 2640352 w 4519987"/>
              <a:gd name="connsiteY79" fmla="*/ 4457700 h 4496940"/>
              <a:gd name="connsiteX80" fmla="*/ 2583202 w 4519987"/>
              <a:gd name="connsiteY80" fmla="*/ 4467225 h 4496940"/>
              <a:gd name="connsiteX81" fmla="*/ 2545102 w 4519987"/>
              <a:gd name="connsiteY81" fmla="*/ 4486275 h 4496940"/>
              <a:gd name="connsiteX82" fmla="*/ 2306977 w 4519987"/>
              <a:gd name="connsiteY82" fmla="*/ 4476750 h 4496940"/>
              <a:gd name="connsiteX83" fmla="*/ 2202202 w 4519987"/>
              <a:gd name="connsiteY83" fmla="*/ 4457700 h 4496940"/>
              <a:gd name="connsiteX84" fmla="*/ 2126002 w 4519987"/>
              <a:gd name="connsiteY84" fmla="*/ 4429125 h 4496940"/>
              <a:gd name="connsiteX85" fmla="*/ 1935502 w 4519987"/>
              <a:gd name="connsiteY85" fmla="*/ 4400550 h 4496940"/>
              <a:gd name="connsiteX86" fmla="*/ 1821202 w 4519987"/>
              <a:gd name="connsiteY86" fmla="*/ 4371975 h 4496940"/>
              <a:gd name="connsiteX87" fmla="*/ 1754527 w 4519987"/>
              <a:gd name="connsiteY87" fmla="*/ 4352925 h 4496940"/>
              <a:gd name="connsiteX88" fmla="*/ 1687852 w 4519987"/>
              <a:gd name="connsiteY88" fmla="*/ 4343400 h 4496940"/>
              <a:gd name="connsiteX89" fmla="*/ 1573552 w 4519987"/>
              <a:gd name="connsiteY89" fmla="*/ 4305300 h 4496940"/>
              <a:gd name="connsiteX90" fmla="*/ 1402102 w 4519987"/>
              <a:gd name="connsiteY90" fmla="*/ 4276725 h 4496940"/>
              <a:gd name="connsiteX91" fmla="*/ 1287802 w 4519987"/>
              <a:gd name="connsiteY91" fmla="*/ 4229100 h 4496940"/>
              <a:gd name="connsiteX92" fmla="*/ 1221127 w 4519987"/>
              <a:gd name="connsiteY92" fmla="*/ 4200525 h 4496940"/>
              <a:gd name="connsiteX93" fmla="*/ 1144927 w 4519987"/>
              <a:gd name="connsiteY93" fmla="*/ 4171950 h 4496940"/>
              <a:gd name="connsiteX94" fmla="*/ 1087777 w 4519987"/>
              <a:gd name="connsiteY94" fmla="*/ 4143375 h 4496940"/>
              <a:gd name="connsiteX95" fmla="*/ 1030627 w 4519987"/>
              <a:gd name="connsiteY95" fmla="*/ 4124325 h 4496940"/>
              <a:gd name="connsiteX96" fmla="*/ 925852 w 4519987"/>
              <a:gd name="connsiteY96" fmla="*/ 4067175 h 4496940"/>
              <a:gd name="connsiteX97" fmla="*/ 830602 w 4519987"/>
              <a:gd name="connsiteY97" fmla="*/ 3981450 h 4496940"/>
              <a:gd name="connsiteX98" fmla="*/ 763927 w 4519987"/>
              <a:gd name="connsiteY98" fmla="*/ 3914775 h 4496940"/>
              <a:gd name="connsiteX99" fmla="*/ 725827 w 4519987"/>
              <a:gd name="connsiteY99" fmla="*/ 3876675 h 4496940"/>
              <a:gd name="connsiteX100" fmla="*/ 697252 w 4519987"/>
              <a:gd name="connsiteY100" fmla="*/ 3838575 h 4496940"/>
              <a:gd name="connsiteX101" fmla="*/ 640102 w 4519987"/>
              <a:gd name="connsiteY101" fmla="*/ 3781425 h 4496940"/>
              <a:gd name="connsiteX102" fmla="*/ 611527 w 4519987"/>
              <a:gd name="connsiteY102" fmla="*/ 3733800 h 4496940"/>
              <a:gd name="connsiteX103" fmla="*/ 554377 w 4519987"/>
              <a:gd name="connsiteY103" fmla="*/ 3657600 h 4496940"/>
              <a:gd name="connsiteX104" fmla="*/ 525802 w 4519987"/>
              <a:gd name="connsiteY104" fmla="*/ 3609975 h 4496940"/>
              <a:gd name="connsiteX105" fmla="*/ 497227 w 4519987"/>
              <a:gd name="connsiteY105" fmla="*/ 3552825 h 4496940"/>
              <a:gd name="connsiteX106" fmla="*/ 440077 w 4519987"/>
              <a:gd name="connsiteY106" fmla="*/ 3495675 h 4496940"/>
              <a:gd name="connsiteX107" fmla="*/ 411502 w 4519987"/>
              <a:gd name="connsiteY107" fmla="*/ 3448050 h 4496940"/>
              <a:gd name="connsiteX108" fmla="*/ 278152 w 4519987"/>
              <a:gd name="connsiteY108" fmla="*/ 3257550 h 4496940"/>
              <a:gd name="connsiteX109" fmla="*/ 249577 w 4519987"/>
              <a:gd name="connsiteY109" fmla="*/ 3200400 h 4496940"/>
              <a:gd name="connsiteX110" fmla="*/ 240052 w 4519987"/>
              <a:gd name="connsiteY110" fmla="*/ 3162300 h 4496940"/>
              <a:gd name="connsiteX111" fmla="*/ 221002 w 4519987"/>
              <a:gd name="connsiteY111" fmla="*/ 3105150 h 4496940"/>
              <a:gd name="connsiteX112" fmla="*/ 173377 w 4519987"/>
              <a:gd name="connsiteY112" fmla="*/ 3019425 h 4496940"/>
              <a:gd name="connsiteX113" fmla="*/ 144802 w 4519987"/>
              <a:gd name="connsiteY113" fmla="*/ 2924175 h 4496940"/>
              <a:gd name="connsiteX114" fmla="*/ 68602 w 4519987"/>
              <a:gd name="connsiteY114" fmla="*/ 2724150 h 4496940"/>
              <a:gd name="connsiteX115" fmla="*/ 49552 w 4519987"/>
              <a:gd name="connsiteY115" fmla="*/ 2638425 h 4496940"/>
              <a:gd name="connsiteX116" fmla="*/ 40027 w 4519987"/>
              <a:gd name="connsiteY116" fmla="*/ 2562225 h 4496940"/>
              <a:gd name="connsiteX117" fmla="*/ 30502 w 4519987"/>
              <a:gd name="connsiteY117" fmla="*/ 2514600 h 4496940"/>
              <a:gd name="connsiteX118" fmla="*/ 11452 w 4519987"/>
              <a:gd name="connsiteY118" fmla="*/ 2400300 h 4496940"/>
              <a:gd name="connsiteX119" fmla="*/ 20977 w 4519987"/>
              <a:gd name="connsiteY119" fmla="*/ 1905000 h 4496940"/>
              <a:gd name="connsiteX120" fmla="*/ 30502 w 4519987"/>
              <a:gd name="connsiteY120" fmla="*/ 1838325 h 4496940"/>
              <a:gd name="connsiteX121" fmla="*/ 49552 w 4519987"/>
              <a:gd name="connsiteY121" fmla="*/ 1781175 h 4496940"/>
              <a:gd name="connsiteX122" fmla="*/ 59077 w 4519987"/>
              <a:gd name="connsiteY122" fmla="*/ 1743075 h 4496940"/>
              <a:gd name="connsiteX123" fmla="*/ 78127 w 4519987"/>
              <a:gd name="connsiteY123" fmla="*/ 1685925 h 4496940"/>
              <a:gd name="connsiteX124" fmla="*/ 87652 w 4519987"/>
              <a:gd name="connsiteY124" fmla="*/ 1638300 h 4496940"/>
              <a:gd name="connsiteX125" fmla="*/ 106702 w 4519987"/>
              <a:gd name="connsiteY125" fmla="*/ 1590675 h 4496940"/>
              <a:gd name="connsiteX126" fmla="*/ 135277 w 4519987"/>
              <a:gd name="connsiteY126" fmla="*/ 1504950 h 4496940"/>
              <a:gd name="connsiteX127" fmla="*/ 154327 w 4519987"/>
              <a:gd name="connsiteY127" fmla="*/ 1419225 h 4496940"/>
              <a:gd name="connsiteX128" fmla="*/ 230527 w 4519987"/>
              <a:gd name="connsiteY128" fmla="*/ 1276350 h 4496940"/>
              <a:gd name="connsiteX129" fmla="*/ 240052 w 4519987"/>
              <a:gd name="connsiteY129" fmla="*/ 1247775 h 4496940"/>
              <a:gd name="connsiteX130" fmla="*/ 268627 w 4519987"/>
              <a:gd name="connsiteY130" fmla="*/ 1200150 h 4496940"/>
              <a:gd name="connsiteX131" fmla="*/ 287677 w 4519987"/>
              <a:gd name="connsiteY131" fmla="*/ 1152525 h 4496940"/>
              <a:gd name="connsiteX132" fmla="*/ 316252 w 4519987"/>
              <a:gd name="connsiteY132" fmla="*/ 1114425 h 4496940"/>
              <a:gd name="connsiteX133" fmla="*/ 363877 w 4519987"/>
              <a:gd name="connsiteY133" fmla="*/ 1038225 h 4496940"/>
              <a:gd name="connsiteX134" fmla="*/ 382927 w 4519987"/>
              <a:gd name="connsiteY134" fmla="*/ 1009650 h 4496940"/>
              <a:gd name="connsiteX135" fmla="*/ 440077 w 4519987"/>
              <a:gd name="connsiteY135" fmla="*/ 904875 h 4496940"/>
              <a:gd name="connsiteX136" fmla="*/ 478177 w 4519987"/>
              <a:gd name="connsiteY136" fmla="*/ 857250 h 4496940"/>
              <a:gd name="connsiteX137" fmla="*/ 497227 w 4519987"/>
              <a:gd name="connsiteY137" fmla="*/ 828675 h 4496940"/>
              <a:gd name="connsiteX138" fmla="*/ 535327 w 4519987"/>
              <a:gd name="connsiteY138" fmla="*/ 800100 h 4496940"/>
              <a:gd name="connsiteX139" fmla="*/ 602002 w 4519987"/>
              <a:gd name="connsiteY139" fmla="*/ 733425 h 4496940"/>
              <a:gd name="connsiteX140" fmla="*/ 668677 w 4519987"/>
              <a:gd name="connsiteY140" fmla="*/ 676275 h 4496940"/>
              <a:gd name="connsiteX141" fmla="*/ 697252 w 4519987"/>
              <a:gd name="connsiteY141" fmla="*/ 657225 h 4496940"/>
              <a:gd name="connsiteX142" fmla="*/ 840127 w 4519987"/>
              <a:gd name="connsiteY142" fmla="*/ 533400 h 4496940"/>
              <a:gd name="connsiteX143" fmla="*/ 887752 w 4519987"/>
              <a:gd name="connsiteY143" fmla="*/ 504825 h 4496940"/>
              <a:gd name="connsiteX144" fmla="*/ 1167152 w 4519987"/>
              <a:gd name="connsiteY144" fmla="*/ 311150 h 4496940"/>
              <a:gd name="connsiteX145" fmla="*/ 1268752 w 4519987"/>
              <a:gd name="connsiteY145" fmla="*/ 285750 h 4496940"/>
              <a:gd name="connsiteX146" fmla="*/ 1411627 w 4519987"/>
              <a:gd name="connsiteY146" fmla="*/ 190500 h 4496940"/>
              <a:gd name="connsiteX147" fmla="*/ 1449727 w 4519987"/>
              <a:gd name="connsiteY147" fmla="*/ 161925 h 4496940"/>
              <a:gd name="connsiteX148" fmla="*/ 1525927 w 4519987"/>
              <a:gd name="connsiteY148" fmla="*/ 152400 h 4496940"/>
              <a:gd name="connsiteX149" fmla="*/ 1583077 w 4519987"/>
              <a:gd name="connsiteY149" fmla="*/ 142875 h 4496940"/>
              <a:gd name="connsiteX150" fmla="*/ 1716427 w 4519987"/>
              <a:gd name="connsiteY150" fmla="*/ 123825 h 4496940"/>
              <a:gd name="connsiteX151" fmla="*/ 1811677 w 4519987"/>
              <a:gd name="connsiteY151" fmla="*/ 114300 h 4496940"/>
              <a:gd name="connsiteX152" fmla="*/ 1859302 w 4519987"/>
              <a:gd name="connsiteY152" fmla="*/ 104775 h 4496940"/>
              <a:gd name="connsiteX153" fmla="*/ 1916452 w 4519987"/>
              <a:gd name="connsiteY153" fmla="*/ 95250 h 4496940"/>
              <a:gd name="connsiteX154" fmla="*/ 2030752 w 4519987"/>
              <a:gd name="connsiteY154" fmla="*/ 66675 h 4496940"/>
              <a:gd name="connsiteX155" fmla="*/ 2097427 w 4519987"/>
              <a:gd name="connsiteY155" fmla="*/ 47625 h 4496940"/>
              <a:gd name="connsiteX156" fmla="*/ 2164102 w 4519987"/>
              <a:gd name="connsiteY156" fmla="*/ 38100 h 4496940"/>
              <a:gd name="connsiteX157" fmla="*/ 2392702 w 4519987"/>
              <a:gd name="connsiteY15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07202 w 4519987"/>
              <a:gd name="connsiteY29" fmla="*/ 876300 h 4496940"/>
              <a:gd name="connsiteX30" fmla="*/ 4135777 w 4519987"/>
              <a:gd name="connsiteY30" fmla="*/ 933450 h 4496940"/>
              <a:gd name="connsiteX31" fmla="*/ 4164352 w 4519987"/>
              <a:gd name="connsiteY31" fmla="*/ 990600 h 4496940"/>
              <a:gd name="connsiteX32" fmla="*/ 4173877 w 4519987"/>
              <a:gd name="connsiteY32" fmla="*/ 1019175 h 4496940"/>
              <a:gd name="connsiteX33" fmla="*/ 4192927 w 4519987"/>
              <a:gd name="connsiteY33" fmla="*/ 1057275 h 4496940"/>
              <a:gd name="connsiteX34" fmla="*/ 4202452 w 4519987"/>
              <a:gd name="connsiteY34" fmla="*/ 1085850 h 4496940"/>
              <a:gd name="connsiteX35" fmla="*/ 4250077 w 4519987"/>
              <a:gd name="connsiteY35" fmla="*/ 1143000 h 4496940"/>
              <a:gd name="connsiteX36" fmla="*/ 4259602 w 4519987"/>
              <a:gd name="connsiteY36" fmla="*/ 1190625 h 4496940"/>
              <a:gd name="connsiteX37" fmla="*/ 4307227 w 4519987"/>
              <a:gd name="connsiteY37" fmla="*/ 1266825 h 4496940"/>
              <a:gd name="connsiteX38" fmla="*/ 4345327 w 4519987"/>
              <a:gd name="connsiteY38" fmla="*/ 1362075 h 4496940"/>
              <a:gd name="connsiteX39" fmla="*/ 4373902 w 4519987"/>
              <a:gd name="connsiteY39" fmla="*/ 1428750 h 4496940"/>
              <a:gd name="connsiteX40" fmla="*/ 4392952 w 4519987"/>
              <a:gd name="connsiteY40" fmla="*/ 1552575 h 4496940"/>
              <a:gd name="connsiteX41" fmla="*/ 4402477 w 4519987"/>
              <a:gd name="connsiteY41" fmla="*/ 1590675 h 4496940"/>
              <a:gd name="connsiteX42" fmla="*/ 4431052 w 4519987"/>
              <a:gd name="connsiteY42" fmla="*/ 1685925 h 4496940"/>
              <a:gd name="connsiteX43" fmla="*/ 4519952 w 4519987"/>
              <a:gd name="connsiteY43" fmla="*/ 2181225 h 4496940"/>
              <a:gd name="connsiteX44" fmla="*/ 4446927 w 4519987"/>
              <a:gd name="connsiteY44" fmla="*/ 2768600 h 4496940"/>
              <a:gd name="connsiteX45" fmla="*/ 4383427 w 4519987"/>
              <a:gd name="connsiteY45" fmla="*/ 2990850 h 4496940"/>
              <a:gd name="connsiteX46" fmla="*/ 4278652 w 4519987"/>
              <a:gd name="connsiteY46" fmla="*/ 3248025 h 4496940"/>
              <a:gd name="connsiteX47" fmla="*/ 4259602 w 4519987"/>
              <a:gd name="connsiteY47" fmla="*/ 3276600 h 4496940"/>
              <a:gd name="connsiteX48" fmla="*/ 4221502 w 4519987"/>
              <a:gd name="connsiteY48" fmla="*/ 3333750 h 4496940"/>
              <a:gd name="connsiteX49" fmla="*/ 4211977 w 4519987"/>
              <a:gd name="connsiteY49" fmla="*/ 3362325 h 4496940"/>
              <a:gd name="connsiteX50" fmla="*/ 4183402 w 4519987"/>
              <a:gd name="connsiteY50" fmla="*/ 3400425 h 4496940"/>
              <a:gd name="connsiteX51" fmla="*/ 4164352 w 4519987"/>
              <a:gd name="connsiteY51" fmla="*/ 3429000 h 4496940"/>
              <a:gd name="connsiteX52" fmla="*/ 4088152 w 4519987"/>
              <a:gd name="connsiteY52" fmla="*/ 3495675 h 4496940"/>
              <a:gd name="connsiteX53" fmla="*/ 4059577 w 4519987"/>
              <a:gd name="connsiteY53" fmla="*/ 3533775 h 4496940"/>
              <a:gd name="connsiteX54" fmla="*/ 4002427 w 4519987"/>
              <a:gd name="connsiteY54" fmla="*/ 3600450 h 4496940"/>
              <a:gd name="connsiteX55" fmla="*/ 3983377 w 4519987"/>
              <a:gd name="connsiteY55" fmla="*/ 3629025 h 4496940"/>
              <a:gd name="connsiteX56" fmla="*/ 3954802 w 4519987"/>
              <a:gd name="connsiteY56" fmla="*/ 3648075 h 4496940"/>
              <a:gd name="connsiteX57" fmla="*/ 3907177 w 4519987"/>
              <a:gd name="connsiteY57" fmla="*/ 3686175 h 4496940"/>
              <a:gd name="connsiteX58" fmla="*/ 3869077 w 4519987"/>
              <a:gd name="connsiteY58" fmla="*/ 3724275 h 4496940"/>
              <a:gd name="connsiteX59" fmla="*/ 3792877 w 4519987"/>
              <a:gd name="connsiteY59" fmla="*/ 3781425 h 4496940"/>
              <a:gd name="connsiteX60" fmla="*/ 3783352 w 4519987"/>
              <a:gd name="connsiteY60" fmla="*/ 3810000 h 4496940"/>
              <a:gd name="connsiteX61" fmla="*/ 3745252 w 4519987"/>
              <a:gd name="connsiteY61" fmla="*/ 3819525 h 4496940"/>
              <a:gd name="connsiteX62" fmla="*/ 3678577 w 4519987"/>
              <a:gd name="connsiteY62" fmla="*/ 3848100 h 4496940"/>
              <a:gd name="connsiteX63" fmla="*/ 3659527 w 4519987"/>
              <a:gd name="connsiteY63" fmla="*/ 3971925 h 4496940"/>
              <a:gd name="connsiteX64" fmla="*/ 3630952 w 4519987"/>
              <a:gd name="connsiteY64" fmla="*/ 4010025 h 4496940"/>
              <a:gd name="connsiteX65" fmla="*/ 3621427 w 4519987"/>
              <a:gd name="connsiteY65" fmla="*/ 4038600 h 4496940"/>
              <a:gd name="connsiteX66" fmla="*/ 3554752 w 4519987"/>
              <a:gd name="connsiteY66" fmla="*/ 4095750 h 4496940"/>
              <a:gd name="connsiteX67" fmla="*/ 3516652 w 4519987"/>
              <a:gd name="connsiteY67" fmla="*/ 4114800 h 4496940"/>
              <a:gd name="connsiteX68" fmla="*/ 3497602 w 4519987"/>
              <a:gd name="connsiteY68" fmla="*/ 4143375 h 4496940"/>
              <a:gd name="connsiteX69" fmla="*/ 3383302 w 4519987"/>
              <a:gd name="connsiteY69" fmla="*/ 4210050 h 4496940"/>
              <a:gd name="connsiteX70" fmla="*/ 3335677 w 4519987"/>
              <a:gd name="connsiteY70" fmla="*/ 4238625 h 4496940"/>
              <a:gd name="connsiteX71" fmla="*/ 3288052 w 4519987"/>
              <a:gd name="connsiteY71" fmla="*/ 4248150 h 4496940"/>
              <a:gd name="connsiteX72" fmla="*/ 3240427 w 4519987"/>
              <a:gd name="connsiteY72" fmla="*/ 4267200 h 4496940"/>
              <a:gd name="connsiteX73" fmla="*/ 3068977 w 4519987"/>
              <a:gd name="connsiteY73" fmla="*/ 4286250 h 4496940"/>
              <a:gd name="connsiteX74" fmla="*/ 2935627 w 4519987"/>
              <a:gd name="connsiteY74" fmla="*/ 4333875 h 4496940"/>
              <a:gd name="connsiteX75" fmla="*/ 2811802 w 4519987"/>
              <a:gd name="connsiteY75" fmla="*/ 4371975 h 4496940"/>
              <a:gd name="connsiteX76" fmla="*/ 2745127 w 4519987"/>
              <a:gd name="connsiteY76" fmla="*/ 4410075 h 4496940"/>
              <a:gd name="connsiteX77" fmla="*/ 2697502 w 4519987"/>
              <a:gd name="connsiteY77" fmla="*/ 4429125 h 4496940"/>
              <a:gd name="connsiteX78" fmla="*/ 2640352 w 4519987"/>
              <a:gd name="connsiteY78" fmla="*/ 4457700 h 4496940"/>
              <a:gd name="connsiteX79" fmla="*/ 2583202 w 4519987"/>
              <a:gd name="connsiteY79" fmla="*/ 4467225 h 4496940"/>
              <a:gd name="connsiteX80" fmla="*/ 2545102 w 4519987"/>
              <a:gd name="connsiteY80" fmla="*/ 4486275 h 4496940"/>
              <a:gd name="connsiteX81" fmla="*/ 2306977 w 4519987"/>
              <a:gd name="connsiteY81" fmla="*/ 4476750 h 4496940"/>
              <a:gd name="connsiteX82" fmla="*/ 2202202 w 4519987"/>
              <a:gd name="connsiteY82" fmla="*/ 4457700 h 4496940"/>
              <a:gd name="connsiteX83" fmla="*/ 2126002 w 4519987"/>
              <a:gd name="connsiteY83" fmla="*/ 4429125 h 4496940"/>
              <a:gd name="connsiteX84" fmla="*/ 1935502 w 4519987"/>
              <a:gd name="connsiteY84" fmla="*/ 4400550 h 4496940"/>
              <a:gd name="connsiteX85" fmla="*/ 1821202 w 4519987"/>
              <a:gd name="connsiteY85" fmla="*/ 4371975 h 4496940"/>
              <a:gd name="connsiteX86" fmla="*/ 1754527 w 4519987"/>
              <a:gd name="connsiteY86" fmla="*/ 4352925 h 4496940"/>
              <a:gd name="connsiteX87" fmla="*/ 1687852 w 4519987"/>
              <a:gd name="connsiteY87" fmla="*/ 4343400 h 4496940"/>
              <a:gd name="connsiteX88" fmla="*/ 1573552 w 4519987"/>
              <a:gd name="connsiteY88" fmla="*/ 4305300 h 4496940"/>
              <a:gd name="connsiteX89" fmla="*/ 1402102 w 4519987"/>
              <a:gd name="connsiteY89" fmla="*/ 4276725 h 4496940"/>
              <a:gd name="connsiteX90" fmla="*/ 1287802 w 4519987"/>
              <a:gd name="connsiteY90" fmla="*/ 4229100 h 4496940"/>
              <a:gd name="connsiteX91" fmla="*/ 1221127 w 4519987"/>
              <a:gd name="connsiteY91" fmla="*/ 4200525 h 4496940"/>
              <a:gd name="connsiteX92" fmla="*/ 1144927 w 4519987"/>
              <a:gd name="connsiteY92" fmla="*/ 4171950 h 4496940"/>
              <a:gd name="connsiteX93" fmla="*/ 1087777 w 4519987"/>
              <a:gd name="connsiteY93" fmla="*/ 4143375 h 4496940"/>
              <a:gd name="connsiteX94" fmla="*/ 1030627 w 4519987"/>
              <a:gd name="connsiteY94" fmla="*/ 4124325 h 4496940"/>
              <a:gd name="connsiteX95" fmla="*/ 925852 w 4519987"/>
              <a:gd name="connsiteY95" fmla="*/ 4067175 h 4496940"/>
              <a:gd name="connsiteX96" fmla="*/ 830602 w 4519987"/>
              <a:gd name="connsiteY96" fmla="*/ 3981450 h 4496940"/>
              <a:gd name="connsiteX97" fmla="*/ 763927 w 4519987"/>
              <a:gd name="connsiteY97" fmla="*/ 3914775 h 4496940"/>
              <a:gd name="connsiteX98" fmla="*/ 725827 w 4519987"/>
              <a:gd name="connsiteY98" fmla="*/ 3876675 h 4496940"/>
              <a:gd name="connsiteX99" fmla="*/ 697252 w 4519987"/>
              <a:gd name="connsiteY99" fmla="*/ 3838575 h 4496940"/>
              <a:gd name="connsiteX100" fmla="*/ 640102 w 4519987"/>
              <a:gd name="connsiteY100" fmla="*/ 3781425 h 4496940"/>
              <a:gd name="connsiteX101" fmla="*/ 611527 w 4519987"/>
              <a:gd name="connsiteY101" fmla="*/ 3733800 h 4496940"/>
              <a:gd name="connsiteX102" fmla="*/ 554377 w 4519987"/>
              <a:gd name="connsiteY102" fmla="*/ 3657600 h 4496940"/>
              <a:gd name="connsiteX103" fmla="*/ 525802 w 4519987"/>
              <a:gd name="connsiteY103" fmla="*/ 3609975 h 4496940"/>
              <a:gd name="connsiteX104" fmla="*/ 497227 w 4519987"/>
              <a:gd name="connsiteY104" fmla="*/ 3552825 h 4496940"/>
              <a:gd name="connsiteX105" fmla="*/ 440077 w 4519987"/>
              <a:gd name="connsiteY105" fmla="*/ 3495675 h 4496940"/>
              <a:gd name="connsiteX106" fmla="*/ 411502 w 4519987"/>
              <a:gd name="connsiteY106" fmla="*/ 3448050 h 4496940"/>
              <a:gd name="connsiteX107" fmla="*/ 278152 w 4519987"/>
              <a:gd name="connsiteY107" fmla="*/ 3257550 h 4496940"/>
              <a:gd name="connsiteX108" fmla="*/ 249577 w 4519987"/>
              <a:gd name="connsiteY108" fmla="*/ 3200400 h 4496940"/>
              <a:gd name="connsiteX109" fmla="*/ 240052 w 4519987"/>
              <a:gd name="connsiteY109" fmla="*/ 3162300 h 4496940"/>
              <a:gd name="connsiteX110" fmla="*/ 221002 w 4519987"/>
              <a:gd name="connsiteY110" fmla="*/ 3105150 h 4496940"/>
              <a:gd name="connsiteX111" fmla="*/ 173377 w 4519987"/>
              <a:gd name="connsiteY111" fmla="*/ 3019425 h 4496940"/>
              <a:gd name="connsiteX112" fmla="*/ 144802 w 4519987"/>
              <a:gd name="connsiteY112" fmla="*/ 2924175 h 4496940"/>
              <a:gd name="connsiteX113" fmla="*/ 68602 w 4519987"/>
              <a:gd name="connsiteY113" fmla="*/ 2724150 h 4496940"/>
              <a:gd name="connsiteX114" fmla="*/ 49552 w 4519987"/>
              <a:gd name="connsiteY114" fmla="*/ 2638425 h 4496940"/>
              <a:gd name="connsiteX115" fmla="*/ 40027 w 4519987"/>
              <a:gd name="connsiteY115" fmla="*/ 2562225 h 4496940"/>
              <a:gd name="connsiteX116" fmla="*/ 30502 w 4519987"/>
              <a:gd name="connsiteY116" fmla="*/ 2514600 h 4496940"/>
              <a:gd name="connsiteX117" fmla="*/ 11452 w 4519987"/>
              <a:gd name="connsiteY117" fmla="*/ 2400300 h 4496940"/>
              <a:gd name="connsiteX118" fmla="*/ 20977 w 4519987"/>
              <a:gd name="connsiteY118" fmla="*/ 1905000 h 4496940"/>
              <a:gd name="connsiteX119" fmla="*/ 30502 w 4519987"/>
              <a:gd name="connsiteY119" fmla="*/ 1838325 h 4496940"/>
              <a:gd name="connsiteX120" fmla="*/ 49552 w 4519987"/>
              <a:gd name="connsiteY120" fmla="*/ 1781175 h 4496940"/>
              <a:gd name="connsiteX121" fmla="*/ 59077 w 4519987"/>
              <a:gd name="connsiteY121" fmla="*/ 1743075 h 4496940"/>
              <a:gd name="connsiteX122" fmla="*/ 78127 w 4519987"/>
              <a:gd name="connsiteY122" fmla="*/ 1685925 h 4496940"/>
              <a:gd name="connsiteX123" fmla="*/ 87652 w 4519987"/>
              <a:gd name="connsiteY123" fmla="*/ 1638300 h 4496940"/>
              <a:gd name="connsiteX124" fmla="*/ 106702 w 4519987"/>
              <a:gd name="connsiteY124" fmla="*/ 1590675 h 4496940"/>
              <a:gd name="connsiteX125" fmla="*/ 135277 w 4519987"/>
              <a:gd name="connsiteY125" fmla="*/ 1504950 h 4496940"/>
              <a:gd name="connsiteX126" fmla="*/ 154327 w 4519987"/>
              <a:gd name="connsiteY126" fmla="*/ 1419225 h 4496940"/>
              <a:gd name="connsiteX127" fmla="*/ 230527 w 4519987"/>
              <a:gd name="connsiteY127" fmla="*/ 1276350 h 4496940"/>
              <a:gd name="connsiteX128" fmla="*/ 240052 w 4519987"/>
              <a:gd name="connsiteY128" fmla="*/ 1247775 h 4496940"/>
              <a:gd name="connsiteX129" fmla="*/ 268627 w 4519987"/>
              <a:gd name="connsiteY129" fmla="*/ 1200150 h 4496940"/>
              <a:gd name="connsiteX130" fmla="*/ 287677 w 4519987"/>
              <a:gd name="connsiteY130" fmla="*/ 1152525 h 4496940"/>
              <a:gd name="connsiteX131" fmla="*/ 316252 w 4519987"/>
              <a:gd name="connsiteY131" fmla="*/ 1114425 h 4496940"/>
              <a:gd name="connsiteX132" fmla="*/ 363877 w 4519987"/>
              <a:gd name="connsiteY132" fmla="*/ 1038225 h 4496940"/>
              <a:gd name="connsiteX133" fmla="*/ 382927 w 4519987"/>
              <a:gd name="connsiteY133" fmla="*/ 1009650 h 4496940"/>
              <a:gd name="connsiteX134" fmla="*/ 440077 w 4519987"/>
              <a:gd name="connsiteY134" fmla="*/ 904875 h 4496940"/>
              <a:gd name="connsiteX135" fmla="*/ 478177 w 4519987"/>
              <a:gd name="connsiteY135" fmla="*/ 857250 h 4496940"/>
              <a:gd name="connsiteX136" fmla="*/ 497227 w 4519987"/>
              <a:gd name="connsiteY136" fmla="*/ 828675 h 4496940"/>
              <a:gd name="connsiteX137" fmla="*/ 535327 w 4519987"/>
              <a:gd name="connsiteY137" fmla="*/ 800100 h 4496940"/>
              <a:gd name="connsiteX138" fmla="*/ 602002 w 4519987"/>
              <a:gd name="connsiteY138" fmla="*/ 733425 h 4496940"/>
              <a:gd name="connsiteX139" fmla="*/ 668677 w 4519987"/>
              <a:gd name="connsiteY139" fmla="*/ 676275 h 4496940"/>
              <a:gd name="connsiteX140" fmla="*/ 697252 w 4519987"/>
              <a:gd name="connsiteY140" fmla="*/ 657225 h 4496940"/>
              <a:gd name="connsiteX141" fmla="*/ 840127 w 4519987"/>
              <a:gd name="connsiteY141" fmla="*/ 533400 h 4496940"/>
              <a:gd name="connsiteX142" fmla="*/ 887752 w 4519987"/>
              <a:gd name="connsiteY142" fmla="*/ 504825 h 4496940"/>
              <a:gd name="connsiteX143" fmla="*/ 1167152 w 4519987"/>
              <a:gd name="connsiteY143" fmla="*/ 311150 h 4496940"/>
              <a:gd name="connsiteX144" fmla="*/ 1268752 w 4519987"/>
              <a:gd name="connsiteY144" fmla="*/ 285750 h 4496940"/>
              <a:gd name="connsiteX145" fmla="*/ 1411627 w 4519987"/>
              <a:gd name="connsiteY145" fmla="*/ 190500 h 4496940"/>
              <a:gd name="connsiteX146" fmla="*/ 1449727 w 4519987"/>
              <a:gd name="connsiteY146" fmla="*/ 161925 h 4496940"/>
              <a:gd name="connsiteX147" fmla="*/ 1525927 w 4519987"/>
              <a:gd name="connsiteY147" fmla="*/ 152400 h 4496940"/>
              <a:gd name="connsiteX148" fmla="*/ 1583077 w 4519987"/>
              <a:gd name="connsiteY148" fmla="*/ 142875 h 4496940"/>
              <a:gd name="connsiteX149" fmla="*/ 1716427 w 4519987"/>
              <a:gd name="connsiteY149" fmla="*/ 123825 h 4496940"/>
              <a:gd name="connsiteX150" fmla="*/ 1811677 w 4519987"/>
              <a:gd name="connsiteY150" fmla="*/ 114300 h 4496940"/>
              <a:gd name="connsiteX151" fmla="*/ 1859302 w 4519987"/>
              <a:gd name="connsiteY151" fmla="*/ 104775 h 4496940"/>
              <a:gd name="connsiteX152" fmla="*/ 1916452 w 4519987"/>
              <a:gd name="connsiteY152" fmla="*/ 95250 h 4496940"/>
              <a:gd name="connsiteX153" fmla="*/ 2030752 w 4519987"/>
              <a:gd name="connsiteY153" fmla="*/ 66675 h 4496940"/>
              <a:gd name="connsiteX154" fmla="*/ 2097427 w 4519987"/>
              <a:gd name="connsiteY154" fmla="*/ 47625 h 4496940"/>
              <a:gd name="connsiteX155" fmla="*/ 2164102 w 4519987"/>
              <a:gd name="connsiteY155" fmla="*/ 38100 h 4496940"/>
              <a:gd name="connsiteX156" fmla="*/ 2392702 w 4519987"/>
              <a:gd name="connsiteY15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35777 w 4519987"/>
              <a:gd name="connsiteY29" fmla="*/ 933450 h 4496940"/>
              <a:gd name="connsiteX30" fmla="*/ 4164352 w 4519987"/>
              <a:gd name="connsiteY30" fmla="*/ 990600 h 4496940"/>
              <a:gd name="connsiteX31" fmla="*/ 4173877 w 4519987"/>
              <a:gd name="connsiteY31" fmla="*/ 1019175 h 4496940"/>
              <a:gd name="connsiteX32" fmla="*/ 4192927 w 4519987"/>
              <a:gd name="connsiteY32" fmla="*/ 1057275 h 4496940"/>
              <a:gd name="connsiteX33" fmla="*/ 4202452 w 4519987"/>
              <a:gd name="connsiteY33" fmla="*/ 1085850 h 4496940"/>
              <a:gd name="connsiteX34" fmla="*/ 4250077 w 4519987"/>
              <a:gd name="connsiteY34" fmla="*/ 1143000 h 4496940"/>
              <a:gd name="connsiteX35" fmla="*/ 4259602 w 4519987"/>
              <a:gd name="connsiteY35" fmla="*/ 1190625 h 4496940"/>
              <a:gd name="connsiteX36" fmla="*/ 4307227 w 4519987"/>
              <a:gd name="connsiteY36" fmla="*/ 1266825 h 4496940"/>
              <a:gd name="connsiteX37" fmla="*/ 4345327 w 4519987"/>
              <a:gd name="connsiteY37" fmla="*/ 1362075 h 4496940"/>
              <a:gd name="connsiteX38" fmla="*/ 4373902 w 4519987"/>
              <a:gd name="connsiteY38" fmla="*/ 1428750 h 4496940"/>
              <a:gd name="connsiteX39" fmla="*/ 4392952 w 4519987"/>
              <a:gd name="connsiteY39" fmla="*/ 1552575 h 4496940"/>
              <a:gd name="connsiteX40" fmla="*/ 4402477 w 4519987"/>
              <a:gd name="connsiteY40" fmla="*/ 1590675 h 4496940"/>
              <a:gd name="connsiteX41" fmla="*/ 4431052 w 4519987"/>
              <a:gd name="connsiteY41" fmla="*/ 1685925 h 4496940"/>
              <a:gd name="connsiteX42" fmla="*/ 4519952 w 4519987"/>
              <a:gd name="connsiteY42" fmla="*/ 2181225 h 4496940"/>
              <a:gd name="connsiteX43" fmla="*/ 4446927 w 4519987"/>
              <a:gd name="connsiteY43" fmla="*/ 2768600 h 4496940"/>
              <a:gd name="connsiteX44" fmla="*/ 4383427 w 4519987"/>
              <a:gd name="connsiteY44" fmla="*/ 2990850 h 4496940"/>
              <a:gd name="connsiteX45" fmla="*/ 4278652 w 4519987"/>
              <a:gd name="connsiteY45" fmla="*/ 3248025 h 4496940"/>
              <a:gd name="connsiteX46" fmla="*/ 4259602 w 4519987"/>
              <a:gd name="connsiteY46" fmla="*/ 3276600 h 4496940"/>
              <a:gd name="connsiteX47" fmla="*/ 4221502 w 4519987"/>
              <a:gd name="connsiteY47" fmla="*/ 3333750 h 4496940"/>
              <a:gd name="connsiteX48" fmla="*/ 4211977 w 4519987"/>
              <a:gd name="connsiteY48" fmla="*/ 3362325 h 4496940"/>
              <a:gd name="connsiteX49" fmla="*/ 4183402 w 4519987"/>
              <a:gd name="connsiteY49" fmla="*/ 3400425 h 4496940"/>
              <a:gd name="connsiteX50" fmla="*/ 4164352 w 4519987"/>
              <a:gd name="connsiteY50" fmla="*/ 3429000 h 4496940"/>
              <a:gd name="connsiteX51" fmla="*/ 4088152 w 4519987"/>
              <a:gd name="connsiteY51" fmla="*/ 3495675 h 4496940"/>
              <a:gd name="connsiteX52" fmla="*/ 4059577 w 4519987"/>
              <a:gd name="connsiteY52" fmla="*/ 3533775 h 4496940"/>
              <a:gd name="connsiteX53" fmla="*/ 4002427 w 4519987"/>
              <a:gd name="connsiteY53" fmla="*/ 3600450 h 4496940"/>
              <a:gd name="connsiteX54" fmla="*/ 3983377 w 4519987"/>
              <a:gd name="connsiteY54" fmla="*/ 3629025 h 4496940"/>
              <a:gd name="connsiteX55" fmla="*/ 3954802 w 4519987"/>
              <a:gd name="connsiteY55" fmla="*/ 3648075 h 4496940"/>
              <a:gd name="connsiteX56" fmla="*/ 3907177 w 4519987"/>
              <a:gd name="connsiteY56" fmla="*/ 3686175 h 4496940"/>
              <a:gd name="connsiteX57" fmla="*/ 3869077 w 4519987"/>
              <a:gd name="connsiteY57" fmla="*/ 3724275 h 4496940"/>
              <a:gd name="connsiteX58" fmla="*/ 3792877 w 4519987"/>
              <a:gd name="connsiteY58" fmla="*/ 3781425 h 4496940"/>
              <a:gd name="connsiteX59" fmla="*/ 3783352 w 4519987"/>
              <a:gd name="connsiteY59" fmla="*/ 3810000 h 4496940"/>
              <a:gd name="connsiteX60" fmla="*/ 3745252 w 4519987"/>
              <a:gd name="connsiteY60" fmla="*/ 3819525 h 4496940"/>
              <a:gd name="connsiteX61" fmla="*/ 3678577 w 4519987"/>
              <a:gd name="connsiteY61" fmla="*/ 3848100 h 4496940"/>
              <a:gd name="connsiteX62" fmla="*/ 3659527 w 4519987"/>
              <a:gd name="connsiteY62" fmla="*/ 3971925 h 4496940"/>
              <a:gd name="connsiteX63" fmla="*/ 3630952 w 4519987"/>
              <a:gd name="connsiteY63" fmla="*/ 4010025 h 4496940"/>
              <a:gd name="connsiteX64" fmla="*/ 3621427 w 4519987"/>
              <a:gd name="connsiteY64" fmla="*/ 4038600 h 4496940"/>
              <a:gd name="connsiteX65" fmla="*/ 3554752 w 4519987"/>
              <a:gd name="connsiteY65" fmla="*/ 4095750 h 4496940"/>
              <a:gd name="connsiteX66" fmla="*/ 3516652 w 4519987"/>
              <a:gd name="connsiteY66" fmla="*/ 4114800 h 4496940"/>
              <a:gd name="connsiteX67" fmla="*/ 3497602 w 4519987"/>
              <a:gd name="connsiteY67" fmla="*/ 4143375 h 4496940"/>
              <a:gd name="connsiteX68" fmla="*/ 3383302 w 4519987"/>
              <a:gd name="connsiteY68" fmla="*/ 4210050 h 4496940"/>
              <a:gd name="connsiteX69" fmla="*/ 3335677 w 4519987"/>
              <a:gd name="connsiteY69" fmla="*/ 4238625 h 4496940"/>
              <a:gd name="connsiteX70" fmla="*/ 3288052 w 4519987"/>
              <a:gd name="connsiteY70" fmla="*/ 4248150 h 4496940"/>
              <a:gd name="connsiteX71" fmla="*/ 3240427 w 4519987"/>
              <a:gd name="connsiteY71" fmla="*/ 4267200 h 4496940"/>
              <a:gd name="connsiteX72" fmla="*/ 3068977 w 4519987"/>
              <a:gd name="connsiteY72" fmla="*/ 4286250 h 4496940"/>
              <a:gd name="connsiteX73" fmla="*/ 2935627 w 4519987"/>
              <a:gd name="connsiteY73" fmla="*/ 4333875 h 4496940"/>
              <a:gd name="connsiteX74" fmla="*/ 2811802 w 4519987"/>
              <a:gd name="connsiteY74" fmla="*/ 4371975 h 4496940"/>
              <a:gd name="connsiteX75" fmla="*/ 2745127 w 4519987"/>
              <a:gd name="connsiteY75" fmla="*/ 4410075 h 4496940"/>
              <a:gd name="connsiteX76" fmla="*/ 2697502 w 4519987"/>
              <a:gd name="connsiteY76" fmla="*/ 4429125 h 4496940"/>
              <a:gd name="connsiteX77" fmla="*/ 2640352 w 4519987"/>
              <a:gd name="connsiteY77" fmla="*/ 4457700 h 4496940"/>
              <a:gd name="connsiteX78" fmla="*/ 2583202 w 4519987"/>
              <a:gd name="connsiteY78" fmla="*/ 4467225 h 4496940"/>
              <a:gd name="connsiteX79" fmla="*/ 2545102 w 4519987"/>
              <a:gd name="connsiteY79" fmla="*/ 4486275 h 4496940"/>
              <a:gd name="connsiteX80" fmla="*/ 2306977 w 4519987"/>
              <a:gd name="connsiteY80" fmla="*/ 4476750 h 4496940"/>
              <a:gd name="connsiteX81" fmla="*/ 2202202 w 4519987"/>
              <a:gd name="connsiteY81" fmla="*/ 4457700 h 4496940"/>
              <a:gd name="connsiteX82" fmla="*/ 2126002 w 4519987"/>
              <a:gd name="connsiteY82" fmla="*/ 4429125 h 4496940"/>
              <a:gd name="connsiteX83" fmla="*/ 1935502 w 4519987"/>
              <a:gd name="connsiteY83" fmla="*/ 4400550 h 4496940"/>
              <a:gd name="connsiteX84" fmla="*/ 1821202 w 4519987"/>
              <a:gd name="connsiteY84" fmla="*/ 4371975 h 4496940"/>
              <a:gd name="connsiteX85" fmla="*/ 1754527 w 4519987"/>
              <a:gd name="connsiteY85" fmla="*/ 4352925 h 4496940"/>
              <a:gd name="connsiteX86" fmla="*/ 1687852 w 4519987"/>
              <a:gd name="connsiteY86" fmla="*/ 4343400 h 4496940"/>
              <a:gd name="connsiteX87" fmla="*/ 1573552 w 4519987"/>
              <a:gd name="connsiteY87" fmla="*/ 4305300 h 4496940"/>
              <a:gd name="connsiteX88" fmla="*/ 1402102 w 4519987"/>
              <a:gd name="connsiteY88" fmla="*/ 4276725 h 4496940"/>
              <a:gd name="connsiteX89" fmla="*/ 1287802 w 4519987"/>
              <a:gd name="connsiteY89" fmla="*/ 4229100 h 4496940"/>
              <a:gd name="connsiteX90" fmla="*/ 1221127 w 4519987"/>
              <a:gd name="connsiteY90" fmla="*/ 4200525 h 4496940"/>
              <a:gd name="connsiteX91" fmla="*/ 1144927 w 4519987"/>
              <a:gd name="connsiteY91" fmla="*/ 4171950 h 4496940"/>
              <a:gd name="connsiteX92" fmla="*/ 1087777 w 4519987"/>
              <a:gd name="connsiteY92" fmla="*/ 4143375 h 4496940"/>
              <a:gd name="connsiteX93" fmla="*/ 1030627 w 4519987"/>
              <a:gd name="connsiteY93" fmla="*/ 4124325 h 4496940"/>
              <a:gd name="connsiteX94" fmla="*/ 925852 w 4519987"/>
              <a:gd name="connsiteY94" fmla="*/ 4067175 h 4496940"/>
              <a:gd name="connsiteX95" fmla="*/ 830602 w 4519987"/>
              <a:gd name="connsiteY95" fmla="*/ 3981450 h 4496940"/>
              <a:gd name="connsiteX96" fmla="*/ 763927 w 4519987"/>
              <a:gd name="connsiteY96" fmla="*/ 3914775 h 4496940"/>
              <a:gd name="connsiteX97" fmla="*/ 725827 w 4519987"/>
              <a:gd name="connsiteY97" fmla="*/ 3876675 h 4496940"/>
              <a:gd name="connsiteX98" fmla="*/ 697252 w 4519987"/>
              <a:gd name="connsiteY98" fmla="*/ 3838575 h 4496940"/>
              <a:gd name="connsiteX99" fmla="*/ 640102 w 4519987"/>
              <a:gd name="connsiteY99" fmla="*/ 3781425 h 4496940"/>
              <a:gd name="connsiteX100" fmla="*/ 611527 w 4519987"/>
              <a:gd name="connsiteY100" fmla="*/ 3733800 h 4496940"/>
              <a:gd name="connsiteX101" fmla="*/ 554377 w 4519987"/>
              <a:gd name="connsiteY101" fmla="*/ 3657600 h 4496940"/>
              <a:gd name="connsiteX102" fmla="*/ 525802 w 4519987"/>
              <a:gd name="connsiteY102" fmla="*/ 3609975 h 4496940"/>
              <a:gd name="connsiteX103" fmla="*/ 497227 w 4519987"/>
              <a:gd name="connsiteY103" fmla="*/ 3552825 h 4496940"/>
              <a:gd name="connsiteX104" fmla="*/ 440077 w 4519987"/>
              <a:gd name="connsiteY104" fmla="*/ 3495675 h 4496940"/>
              <a:gd name="connsiteX105" fmla="*/ 411502 w 4519987"/>
              <a:gd name="connsiteY105" fmla="*/ 3448050 h 4496940"/>
              <a:gd name="connsiteX106" fmla="*/ 278152 w 4519987"/>
              <a:gd name="connsiteY106" fmla="*/ 3257550 h 4496940"/>
              <a:gd name="connsiteX107" fmla="*/ 249577 w 4519987"/>
              <a:gd name="connsiteY107" fmla="*/ 3200400 h 4496940"/>
              <a:gd name="connsiteX108" fmla="*/ 240052 w 4519987"/>
              <a:gd name="connsiteY108" fmla="*/ 3162300 h 4496940"/>
              <a:gd name="connsiteX109" fmla="*/ 221002 w 4519987"/>
              <a:gd name="connsiteY109" fmla="*/ 3105150 h 4496940"/>
              <a:gd name="connsiteX110" fmla="*/ 173377 w 4519987"/>
              <a:gd name="connsiteY110" fmla="*/ 3019425 h 4496940"/>
              <a:gd name="connsiteX111" fmla="*/ 144802 w 4519987"/>
              <a:gd name="connsiteY111" fmla="*/ 2924175 h 4496940"/>
              <a:gd name="connsiteX112" fmla="*/ 68602 w 4519987"/>
              <a:gd name="connsiteY112" fmla="*/ 2724150 h 4496940"/>
              <a:gd name="connsiteX113" fmla="*/ 49552 w 4519987"/>
              <a:gd name="connsiteY113" fmla="*/ 2638425 h 4496940"/>
              <a:gd name="connsiteX114" fmla="*/ 40027 w 4519987"/>
              <a:gd name="connsiteY114" fmla="*/ 2562225 h 4496940"/>
              <a:gd name="connsiteX115" fmla="*/ 30502 w 4519987"/>
              <a:gd name="connsiteY115" fmla="*/ 2514600 h 4496940"/>
              <a:gd name="connsiteX116" fmla="*/ 11452 w 4519987"/>
              <a:gd name="connsiteY116" fmla="*/ 2400300 h 4496940"/>
              <a:gd name="connsiteX117" fmla="*/ 20977 w 4519987"/>
              <a:gd name="connsiteY117" fmla="*/ 1905000 h 4496940"/>
              <a:gd name="connsiteX118" fmla="*/ 30502 w 4519987"/>
              <a:gd name="connsiteY118" fmla="*/ 1838325 h 4496940"/>
              <a:gd name="connsiteX119" fmla="*/ 49552 w 4519987"/>
              <a:gd name="connsiteY119" fmla="*/ 1781175 h 4496940"/>
              <a:gd name="connsiteX120" fmla="*/ 59077 w 4519987"/>
              <a:gd name="connsiteY120" fmla="*/ 1743075 h 4496940"/>
              <a:gd name="connsiteX121" fmla="*/ 78127 w 4519987"/>
              <a:gd name="connsiteY121" fmla="*/ 1685925 h 4496940"/>
              <a:gd name="connsiteX122" fmla="*/ 87652 w 4519987"/>
              <a:gd name="connsiteY122" fmla="*/ 1638300 h 4496940"/>
              <a:gd name="connsiteX123" fmla="*/ 106702 w 4519987"/>
              <a:gd name="connsiteY123" fmla="*/ 1590675 h 4496940"/>
              <a:gd name="connsiteX124" fmla="*/ 135277 w 4519987"/>
              <a:gd name="connsiteY124" fmla="*/ 1504950 h 4496940"/>
              <a:gd name="connsiteX125" fmla="*/ 154327 w 4519987"/>
              <a:gd name="connsiteY125" fmla="*/ 1419225 h 4496940"/>
              <a:gd name="connsiteX126" fmla="*/ 230527 w 4519987"/>
              <a:gd name="connsiteY126" fmla="*/ 1276350 h 4496940"/>
              <a:gd name="connsiteX127" fmla="*/ 240052 w 4519987"/>
              <a:gd name="connsiteY127" fmla="*/ 1247775 h 4496940"/>
              <a:gd name="connsiteX128" fmla="*/ 268627 w 4519987"/>
              <a:gd name="connsiteY128" fmla="*/ 1200150 h 4496940"/>
              <a:gd name="connsiteX129" fmla="*/ 287677 w 4519987"/>
              <a:gd name="connsiteY129" fmla="*/ 1152525 h 4496940"/>
              <a:gd name="connsiteX130" fmla="*/ 316252 w 4519987"/>
              <a:gd name="connsiteY130" fmla="*/ 1114425 h 4496940"/>
              <a:gd name="connsiteX131" fmla="*/ 363877 w 4519987"/>
              <a:gd name="connsiteY131" fmla="*/ 1038225 h 4496940"/>
              <a:gd name="connsiteX132" fmla="*/ 382927 w 4519987"/>
              <a:gd name="connsiteY132" fmla="*/ 1009650 h 4496940"/>
              <a:gd name="connsiteX133" fmla="*/ 440077 w 4519987"/>
              <a:gd name="connsiteY133" fmla="*/ 904875 h 4496940"/>
              <a:gd name="connsiteX134" fmla="*/ 478177 w 4519987"/>
              <a:gd name="connsiteY134" fmla="*/ 857250 h 4496940"/>
              <a:gd name="connsiteX135" fmla="*/ 497227 w 4519987"/>
              <a:gd name="connsiteY135" fmla="*/ 828675 h 4496940"/>
              <a:gd name="connsiteX136" fmla="*/ 535327 w 4519987"/>
              <a:gd name="connsiteY136" fmla="*/ 800100 h 4496940"/>
              <a:gd name="connsiteX137" fmla="*/ 602002 w 4519987"/>
              <a:gd name="connsiteY137" fmla="*/ 733425 h 4496940"/>
              <a:gd name="connsiteX138" fmla="*/ 668677 w 4519987"/>
              <a:gd name="connsiteY138" fmla="*/ 676275 h 4496940"/>
              <a:gd name="connsiteX139" fmla="*/ 697252 w 4519987"/>
              <a:gd name="connsiteY139" fmla="*/ 657225 h 4496940"/>
              <a:gd name="connsiteX140" fmla="*/ 840127 w 4519987"/>
              <a:gd name="connsiteY140" fmla="*/ 533400 h 4496940"/>
              <a:gd name="connsiteX141" fmla="*/ 887752 w 4519987"/>
              <a:gd name="connsiteY141" fmla="*/ 504825 h 4496940"/>
              <a:gd name="connsiteX142" fmla="*/ 1167152 w 4519987"/>
              <a:gd name="connsiteY142" fmla="*/ 311150 h 4496940"/>
              <a:gd name="connsiteX143" fmla="*/ 1268752 w 4519987"/>
              <a:gd name="connsiteY143" fmla="*/ 285750 h 4496940"/>
              <a:gd name="connsiteX144" fmla="*/ 1411627 w 4519987"/>
              <a:gd name="connsiteY144" fmla="*/ 190500 h 4496940"/>
              <a:gd name="connsiteX145" fmla="*/ 1449727 w 4519987"/>
              <a:gd name="connsiteY145" fmla="*/ 161925 h 4496940"/>
              <a:gd name="connsiteX146" fmla="*/ 1525927 w 4519987"/>
              <a:gd name="connsiteY146" fmla="*/ 152400 h 4496940"/>
              <a:gd name="connsiteX147" fmla="*/ 1583077 w 4519987"/>
              <a:gd name="connsiteY147" fmla="*/ 142875 h 4496940"/>
              <a:gd name="connsiteX148" fmla="*/ 1716427 w 4519987"/>
              <a:gd name="connsiteY148" fmla="*/ 123825 h 4496940"/>
              <a:gd name="connsiteX149" fmla="*/ 1811677 w 4519987"/>
              <a:gd name="connsiteY149" fmla="*/ 114300 h 4496940"/>
              <a:gd name="connsiteX150" fmla="*/ 1859302 w 4519987"/>
              <a:gd name="connsiteY150" fmla="*/ 104775 h 4496940"/>
              <a:gd name="connsiteX151" fmla="*/ 1916452 w 4519987"/>
              <a:gd name="connsiteY151" fmla="*/ 95250 h 4496940"/>
              <a:gd name="connsiteX152" fmla="*/ 2030752 w 4519987"/>
              <a:gd name="connsiteY152" fmla="*/ 66675 h 4496940"/>
              <a:gd name="connsiteX153" fmla="*/ 2097427 w 4519987"/>
              <a:gd name="connsiteY153" fmla="*/ 47625 h 4496940"/>
              <a:gd name="connsiteX154" fmla="*/ 2164102 w 4519987"/>
              <a:gd name="connsiteY154" fmla="*/ 38100 h 4496940"/>
              <a:gd name="connsiteX155" fmla="*/ 2392702 w 4519987"/>
              <a:gd name="connsiteY15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907177 w 4519987"/>
              <a:gd name="connsiteY25" fmla="*/ 647700 h 4496940"/>
              <a:gd name="connsiteX26" fmla="*/ 3935752 w 4519987"/>
              <a:gd name="connsiteY26" fmla="*/ 676275 h 4496940"/>
              <a:gd name="connsiteX27" fmla="*/ 4078627 w 4519987"/>
              <a:gd name="connsiteY27" fmla="*/ 838200 h 4496940"/>
              <a:gd name="connsiteX28" fmla="*/ 4135777 w 4519987"/>
              <a:gd name="connsiteY28" fmla="*/ 933450 h 4496940"/>
              <a:gd name="connsiteX29" fmla="*/ 4164352 w 4519987"/>
              <a:gd name="connsiteY29" fmla="*/ 990600 h 4496940"/>
              <a:gd name="connsiteX30" fmla="*/ 4173877 w 4519987"/>
              <a:gd name="connsiteY30" fmla="*/ 1019175 h 4496940"/>
              <a:gd name="connsiteX31" fmla="*/ 4192927 w 4519987"/>
              <a:gd name="connsiteY31" fmla="*/ 1057275 h 4496940"/>
              <a:gd name="connsiteX32" fmla="*/ 4202452 w 4519987"/>
              <a:gd name="connsiteY32" fmla="*/ 1085850 h 4496940"/>
              <a:gd name="connsiteX33" fmla="*/ 4250077 w 4519987"/>
              <a:gd name="connsiteY33" fmla="*/ 1143000 h 4496940"/>
              <a:gd name="connsiteX34" fmla="*/ 4259602 w 4519987"/>
              <a:gd name="connsiteY34" fmla="*/ 1190625 h 4496940"/>
              <a:gd name="connsiteX35" fmla="*/ 4307227 w 4519987"/>
              <a:gd name="connsiteY35" fmla="*/ 1266825 h 4496940"/>
              <a:gd name="connsiteX36" fmla="*/ 4345327 w 4519987"/>
              <a:gd name="connsiteY36" fmla="*/ 1362075 h 4496940"/>
              <a:gd name="connsiteX37" fmla="*/ 4373902 w 4519987"/>
              <a:gd name="connsiteY37" fmla="*/ 1428750 h 4496940"/>
              <a:gd name="connsiteX38" fmla="*/ 4392952 w 4519987"/>
              <a:gd name="connsiteY38" fmla="*/ 1552575 h 4496940"/>
              <a:gd name="connsiteX39" fmla="*/ 4402477 w 4519987"/>
              <a:gd name="connsiteY39" fmla="*/ 1590675 h 4496940"/>
              <a:gd name="connsiteX40" fmla="*/ 4431052 w 4519987"/>
              <a:gd name="connsiteY40" fmla="*/ 1685925 h 4496940"/>
              <a:gd name="connsiteX41" fmla="*/ 4519952 w 4519987"/>
              <a:gd name="connsiteY41" fmla="*/ 2181225 h 4496940"/>
              <a:gd name="connsiteX42" fmla="*/ 4446927 w 4519987"/>
              <a:gd name="connsiteY42" fmla="*/ 2768600 h 4496940"/>
              <a:gd name="connsiteX43" fmla="*/ 4383427 w 4519987"/>
              <a:gd name="connsiteY43" fmla="*/ 2990850 h 4496940"/>
              <a:gd name="connsiteX44" fmla="*/ 4278652 w 4519987"/>
              <a:gd name="connsiteY44" fmla="*/ 3248025 h 4496940"/>
              <a:gd name="connsiteX45" fmla="*/ 4259602 w 4519987"/>
              <a:gd name="connsiteY45" fmla="*/ 3276600 h 4496940"/>
              <a:gd name="connsiteX46" fmla="*/ 4221502 w 4519987"/>
              <a:gd name="connsiteY46" fmla="*/ 3333750 h 4496940"/>
              <a:gd name="connsiteX47" fmla="*/ 4211977 w 4519987"/>
              <a:gd name="connsiteY47" fmla="*/ 3362325 h 4496940"/>
              <a:gd name="connsiteX48" fmla="*/ 4183402 w 4519987"/>
              <a:gd name="connsiteY48" fmla="*/ 3400425 h 4496940"/>
              <a:gd name="connsiteX49" fmla="*/ 4164352 w 4519987"/>
              <a:gd name="connsiteY49" fmla="*/ 3429000 h 4496940"/>
              <a:gd name="connsiteX50" fmla="*/ 4088152 w 4519987"/>
              <a:gd name="connsiteY50" fmla="*/ 3495675 h 4496940"/>
              <a:gd name="connsiteX51" fmla="*/ 4059577 w 4519987"/>
              <a:gd name="connsiteY51" fmla="*/ 3533775 h 4496940"/>
              <a:gd name="connsiteX52" fmla="*/ 4002427 w 4519987"/>
              <a:gd name="connsiteY52" fmla="*/ 3600450 h 4496940"/>
              <a:gd name="connsiteX53" fmla="*/ 3983377 w 4519987"/>
              <a:gd name="connsiteY53" fmla="*/ 3629025 h 4496940"/>
              <a:gd name="connsiteX54" fmla="*/ 3954802 w 4519987"/>
              <a:gd name="connsiteY54" fmla="*/ 3648075 h 4496940"/>
              <a:gd name="connsiteX55" fmla="*/ 3907177 w 4519987"/>
              <a:gd name="connsiteY55" fmla="*/ 3686175 h 4496940"/>
              <a:gd name="connsiteX56" fmla="*/ 3869077 w 4519987"/>
              <a:gd name="connsiteY56" fmla="*/ 3724275 h 4496940"/>
              <a:gd name="connsiteX57" fmla="*/ 3792877 w 4519987"/>
              <a:gd name="connsiteY57" fmla="*/ 3781425 h 4496940"/>
              <a:gd name="connsiteX58" fmla="*/ 3783352 w 4519987"/>
              <a:gd name="connsiteY58" fmla="*/ 3810000 h 4496940"/>
              <a:gd name="connsiteX59" fmla="*/ 3745252 w 4519987"/>
              <a:gd name="connsiteY59" fmla="*/ 3819525 h 4496940"/>
              <a:gd name="connsiteX60" fmla="*/ 3678577 w 4519987"/>
              <a:gd name="connsiteY60" fmla="*/ 3848100 h 4496940"/>
              <a:gd name="connsiteX61" fmla="*/ 3659527 w 4519987"/>
              <a:gd name="connsiteY61" fmla="*/ 3971925 h 4496940"/>
              <a:gd name="connsiteX62" fmla="*/ 3630952 w 4519987"/>
              <a:gd name="connsiteY62" fmla="*/ 4010025 h 4496940"/>
              <a:gd name="connsiteX63" fmla="*/ 3621427 w 4519987"/>
              <a:gd name="connsiteY63" fmla="*/ 4038600 h 4496940"/>
              <a:gd name="connsiteX64" fmla="*/ 3554752 w 4519987"/>
              <a:gd name="connsiteY64" fmla="*/ 4095750 h 4496940"/>
              <a:gd name="connsiteX65" fmla="*/ 3516652 w 4519987"/>
              <a:gd name="connsiteY65" fmla="*/ 4114800 h 4496940"/>
              <a:gd name="connsiteX66" fmla="*/ 3497602 w 4519987"/>
              <a:gd name="connsiteY66" fmla="*/ 4143375 h 4496940"/>
              <a:gd name="connsiteX67" fmla="*/ 3383302 w 4519987"/>
              <a:gd name="connsiteY67" fmla="*/ 4210050 h 4496940"/>
              <a:gd name="connsiteX68" fmla="*/ 3335677 w 4519987"/>
              <a:gd name="connsiteY68" fmla="*/ 4238625 h 4496940"/>
              <a:gd name="connsiteX69" fmla="*/ 3288052 w 4519987"/>
              <a:gd name="connsiteY69" fmla="*/ 4248150 h 4496940"/>
              <a:gd name="connsiteX70" fmla="*/ 3240427 w 4519987"/>
              <a:gd name="connsiteY70" fmla="*/ 4267200 h 4496940"/>
              <a:gd name="connsiteX71" fmla="*/ 3068977 w 4519987"/>
              <a:gd name="connsiteY71" fmla="*/ 4286250 h 4496940"/>
              <a:gd name="connsiteX72" fmla="*/ 2935627 w 4519987"/>
              <a:gd name="connsiteY72" fmla="*/ 4333875 h 4496940"/>
              <a:gd name="connsiteX73" fmla="*/ 2811802 w 4519987"/>
              <a:gd name="connsiteY73" fmla="*/ 4371975 h 4496940"/>
              <a:gd name="connsiteX74" fmla="*/ 2745127 w 4519987"/>
              <a:gd name="connsiteY74" fmla="*/ 4410075 h 4496940"/>
              <a:gd name="connsiteX75" fmla="*/ 2697502 w 4519987"/>
              <a:gd name="connsiteY75" fmla="*/ 4429125 h 4496940"/>
              <a:gd name="connsiteX76" fmla="*/ 2640352 w 4519987"/>
              <a:gd name="connsiteY76" fmla="*/ 4457700 h 4496940"/>
              <a:gd name="connsiteX77" fmla="*/ 2583202 w 4519987"/>
              <a:gd name="connsiteY77" fmla="*/ 4467225 h 4496940"/>
              <a:gd name="connsiteX78" fmla="*/ 2545102 w 4519987"/>
              <a:gd name="connsiteY78" fmla="*/ 4486275 h 4496940"/>
              <a:gd name="connsiteX79" fmla="*/ 2306977 w 4519987"/>
              <a:gd name="connsiteY79" fmla="*/ 4476750 h 4496940"/>
              <a:gd name="connsiteX80" fmla="*/ 2202202 w 4519987"/>
              <a:gd name="connsiteY80" fmla="*/ 4457700 h 4496940"/>
              <a:gd name="connsiteX81" fmla="*/ 2126002 w 4519987"/>
              <a:gd name="connsiteY81" fmla="*/ 4429125 h 4496940"/>
              <a:gd name="connsiteX82" fmla="*/ 1935502 w 4519987"/>
              <a:gd name="connsiteY82" fmla="*/ 4400550 h 4496940"/>
              <a:gd name="connsiteX83" fmla="*/ 1821202 w 4519987"/>
              <a:gd name="connsiteY83" fmla="*/ 4371975 h 4496940"/>
              <a:gd name="connsiteX84" fmla="*/ 1754527 w 4519987"/>
              <a:gd name="connsiteY84" fmla="*/ 4352925 h 4496940"/>
              <a:gd name="connsiteX85" fmla="*/ 1687852 w 4519987"/>
              <a:gd name="connsiteY85" fmla="*/ 4343400 h 4496940"/>
              <a:gd name="connsiteX86" fmla="*/ 1573552 w 4519987"/>
              <a:gd name="connsiteY86" fmla="*/ 4305300 h 4496940"/>
              <a:gd name="connsiteX87" fmla="*/ 1402102 w 4519987"/>
              <a:gd name="connsiteY87" fmla="*/ 4276725 h 4496940"/>
              <a:gd name="connsiteX88" fmla="*/ 1287802 w 4519987"/>
              <a:gd name="connsiteY88" fmla="*/ 4229100 h 4496940"/>
              <a:gd name="connsiteX89" fmla="*/ 1221127 w 4519987"/>
              <a:gd name="connsiteY89" fmla="*/ 4200525 h 4496940"/>
              <a:gd name="connsiteX90" fmla="*/ 1144927 w 4519987"/>
              <a:gd name="connsiteY90" fmla="*/ 4171950 h 4496940"/>
              <a:gd name="connsiteX91" fmla="*/ 1087777 w 4519987"/>
              <a:gd name="connsiteY91" fmla="*/ 4143375 h 4496940"/>
              <a:gd name="connsiteX92" fmla="*/ 1030627 w 4519987"/>
              <a:gd name="connsiteY92" fmla="*/ 4124325 h 4496940"/>
              <a:gd name="connsiteX93" fmla="*/ 925852 w 4519987"/>
              <a:gd name="connsiteY93" fmla="*/ 4067175 h 4496940"/>
              <a:gd name="connsiteX94" fmla="*/ 830602 w 4519987"/>
              <a:gd name="connsiteY94" fmla="*/ 3981450 h 4496940"/>
              <a:gd name="connsiteX95" fmla="*/ 763927 w 4519987"/>
              <a:gd name="connsiteY95" fmla="*/ 3914775 h 4496940"/>
              <a:gd name="connsiteX96" fmla="*/ 725827 w 4519987"/>
              <a:gd name="connsiteY96" fmla="*/ 3876675 h 4496940"/>
              <a:gd name="connsiteX97" fmla="*/ 697252 w 4519987"/>
              <a:gd name="connsiteY97" fmla="*/ 3838575 h 4496940"/>
              <a:gd name="connsiteX98" fmla="*/ 640102 w 4519987"/>
              <a:gd name="connsiteY98" fmla="*/ 3781425 h 4496940"/>
              <a:gd name="connsiteX99" fmla="*/ 611527 w 4519987"/>
              <a:gd name="connsiteY99" fmla="*/ 3733800 h 4496940"/>
              <a:gd name="connsiteX100" fmla="*/ 554377 w 4519987"/>
              <a:gd name="connsiteY100" fmla="*/ 3657600 h 4496940"/>
              <a:gd name="connsiteX101" fmla="*/ 525802 w 4519987"/>
              <a:gd name="connsiteY101" fmla="*/ 3609975 h 4496940"/>
              <a:gd name="connsiteX102" fmla="*/ 497227 w 4519987"/>
              <a:gd name="connsiteY102" fmla="*/ 3552825 h 4496940"/>
              <a:gd name="connsiteX103" fmla="*/ 440077 w 4519987"/>
              <a:gd name="connsiteY103" fmla="*/ 3495675 h 4496940"/>
              <a:gd name="connsiteX104" fmla="*/ 411502 w 4519987"/>
              <a:gd name="connsiteY104" fmla="*/ 3448050 h 4496940"/>
              <a:gd name="connsiteX105" fmla="*/ 278152 w 4519987"/>
              <a:gd name="connsiteY105" fmla="*/ 3257550 h 4496940"/>
              <a:gd name="connsiteX106" fmla="*/ 249577 w 4519987"/>
              <a:gd name="connsiteY106" fmla="*/ 3200400 h 4496940"/>
              <a:gd name="connsiteX107" fmla="*/ 240052 w 4519987"/>
              <a:gd name="connsiteY107" fmla="*/ 3162300 h 4496940"/>
              <a:gd name="connsiteX108" fmla="*/ 221002 w 4519987"/>
              <a:gd name="connsiteY108" fmla="*/ 3105150 h 4496940"/>
              <a:gd name="connsiteX109" fmla="*/ 173377 w 4519987"/>
              <a:gd name="connsiteY109" fmla="*/ 3019425 h 4496940"/>
              <a:gd name="connsiteX110" fmla="*/ 144802 w 4519987"/>
              <a:gd name="connsiteY110" fmla="*/ 2924175 h 4496940"/>
              <a:gd name="connsiteX111" fmla="*/ 68602 w 4519987"/>
              <a:gd name="connsiteY111" fmla="*/ 2724150 h 4496940"/>
              <a:gd name="connsiteX112" fmla="*/ 49552 w 4519987"/>
              <a:gd name="connsiteY112" fmla="*/ 2638425 h 4496940"/>
              <a:gd name="connsiteX113" fmla="*/ 40027 w 4519987"/>
              <a:gd name="connsiteY113" fmla="*/ 2562225 h 4496940"/>
              <a:gd name="connsiteX114" fmla="*/ 30502 w 4519987"/>
              <a:gd name="connsiteY114" fmla="*/ 2514600 h 4496940"/>
              <a:gd name="connsiteX115" fmla="*/ 11452 w 4519987"/>
              <a:gd name="connsiteY115" fmla="*/ 2400300 h 4496940"/>
              <a:gd name="connsiteX116" fmla="*/ 20977 w 4519987"/>
              <a:gd name="connsiteY116" fmla="*/ 1905000 h 4496940"/>
              <a:gd name="connsiteX117" fmla="*/ 30502 w 4519987"/>
              <a:gd name="connsiteY117" fmla="*/ 1838325 h 4496940"/>
              <a:gd name="connsiteX118" fmla="*/ 49552 w 4519987"/>
              <a:gd name="connsiteY118" fmla="*/ 1781175 h 4496940"/>
              <a:gd name="connsiteX119" fmla="*/ 59077 w 4519987"/>
              <a:gd name="connsiteY119" fmla="*/ 1743075 h 4496940"/>
              <a:gd name="connsiteX120" fmla="*/ 78127 w 4519987"/>
              <a:gd name="connsiteY120" fmla="*/ 1685925 h 4496940"/>
              <a:gd name="connsiteX121" fmla="*/ 87652 w 4519987"/>
              <a:gd name="connsiteY121" fmla="*/ 1638300 h 4496940"/>
              <a:gd name="connsiteX122" fmla="*/ 106702 w 4519987"/>
              <a:gd name="connsiteY122" fmla="*/ 1590675 h 4496940"/>
              <a:gd name="connsiteX123" fmla="*/ 135277 w 4519987"/>
              <a:gd name="connsiteY123" fmla="*/ 1504950 h 4496940"/>
              <a:gd name="connsiteX124" fmla="*/ 154327 w 4519987"/>
              <a:gd name="connsiteY124" fmla="*/ 1419225 h 4496940"/>
              <a:gd name="connsiteX125" fmla="*/ 230527 w 4519987"/>
              <a:gd name="connsiteY125" fmla="*/ 1276350 h 4496940"/>
              <a:gd name="connsiteX126" fmla="*/ 240052 w 4519987"/>
              <a:gd name="connsiteY126" fmla="*/ 1247775 h 4496940"/>
              <a:gd name="connsiteX127" fmla="*/ 268627 w 4519987"/>
              <a:gd name="connsiteY127" fmla="*/ 1200150 h 4496940"/>
              <a:gd name="connsiteX128" fmla="*/ 287677 w 4519987"/>
              <a:gd name="connsiteY128" fmla="*/ 1152525 h 4496940"/>
              <a:gd name="connsiteX129" fmla="*/ 316252 w 4519987"/>
              <a:gd name="connsiteY129" fmla="*/ 1114425 h 4496940"/>
              <a:gd name="connsiteX130" fmla="*/ 363877 w 4519987"/>
              <a:gd name="connsiteY130" fmla="*/ 1038225 h 4496940"/>
              <a:gd name="connsiteX131" fmla="*/ 382927 w 4519987"/>
              <a:gd name="connsiteY131" fmla="*/ 1009650 h 4496940"/>
              <a:gd name="connsiteX132" fmla="*/ 440077 w 4519987"/>
              <a:gd name="connsiteY132" fmla="*/ 904875 h 4496940"/>
              <a:gd name="connsiteX133" fmla="*/ 478177 w 4519987"/>
              <a:gd name="connsiteY133" fmla="*/ 857250 h 4496940"/>
              <a:gd name="connsiteX134" fmla="*/ 497227 w 4519987"/>
              <a:gd name="connsiteY134" fmla="*/ 828675 h 4496940"/>
              <a:gd name="connsiteX135" fmla="*/ 535327 w 4519987"/>
              <a:gd name="connsiteY135" fmla="*/ 800100 h 4496940"/>
              <a:gd name="connsiteX136" fmla="*/ 602002 w 4519987"/>
              <a:gd name="connsiteY136" fmla="*/ 733425 h 4496940"/>
              <a:gd name="connsiteX137" fmla="*/ 668677 w 4519987"/>
              <a:gd name="connsiteY137" fmla="*/ 676275 h 4496940"/>
              <a:gd name="connsiteX138" fmla="*/ 697252 w 4519987"/>
              <a:gd name="connsiteY138" fmla="*/ 657225 h 4496940"/>
              <a:gd name="connsiteX139" fmla="*/ 840127 w 4519987"/>
              <a:gd name="connsiteY139" fmla="*/ 533400 h 4496940"/>
              <a:gd name="connsiteX140" fmla="*/ 887752 w 4519987"/>
              <a:gd name="connsiteY140" fmla="*/ 504825 h 4496940"/>
              <a:gd name="connsiteX141" fmla="*/ 1167152 w 4519987"/>
              <a:gd name="connsiteY141" fmla="*/ 311150 h 4496940"/>
              <a:gd name="connsiteX142" fmla="*/ 1268752 w 4519987"/>
              <a:gd name="connsiteY142" fmla="*/ 285750 h 4496940"/>
              <a:gd name="connsiteX143" fmla="*/ 1411627 w 4519987"/>
              <a:gd name="connsiteY143" fmla="*/ 190500 h 4496940"/>
              <a:gd name="connsiteX144" fmla="*/ 1449727 w 4519987"/>
              <a:gd name="connsiteY144" fmla="*/ 161925 h 4496940"/>
              <a:gd name="connsiteX145" fmla="*/ 1525927 w 4519987"/>
              <a:gd name="connsiteY145" fmla="*/ 152400 h 4496940"/>
              <a:gd name="connsiteX146" fmla="*/ 1583077 w 4519987"/>
              <a:gd name="connsiteY146" fmla="*/ 142875 h 4496940"/>
              <a:gd name="connsiteX147" fmla="*/ 1716427 w 4519987"/>
              <a:gd name="connsiteY147" fmla="*/ 123825 h 4496940"/>
              <a:gd name="connsiteX148" fmla="*/ 1811677 w 4519987"/>
              <a:gd name="connsiteY148" fmla="*/ 114300 h 4496940"/>
              <a:gd name="connsiteX149" fmla="*/ 1859302 w 4519987"/>
              <a:gd name="connsiteY149" fmla="*/ 104775 h 4496940"/>
              <a:gd name="connsiteX150" fmla="*/ 1916452 w 4519987"/>
              <a:gd name="connsiteY150" fmla="*/ 95250 h 4496940"/>
              <a:gd name="connsiteX151" fmla="*/ 2030752 w 4519987"/>
              <a:gd name="connsiteY151" fmla="*/ 66675 h 4496940"/>
              <a:gd name="connsiteX152" fmla="*/ 2097427 w 4519987"/>
              <a:gd name="connsiteY152" fmla="*/ 47625 h 4496940"/>
              <a:gd name="connsiteX153" fmla="*/ 2164102 w 4519987"/>
              <a:gd name="connsiteY153" fmla="*/ 38100 h 4496940"/>
              <a:gd name="connsiteX154" fmla="*/ 2392702 w 4519987"/>
              <a:gd name="connsiteY15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907177 w 4519987"/>
              <a:gd name="connsiteY24" fmla="*/ 647700 h 4496940"/>
              <a:gd name="connsiteX25" fmla="*/ 3935752 w 4519987"/>
              <a:gd name="connsiteY25" fmla="*/ 676275 h 4496940"/>
              <a:gd name="connsiteX26" fmla="*/ 4078627 w 4519987"/>
              <a:gd name="connsiteY26" fmla="*/ 838200 h 4496940"/>
              <a:gd name="connsiteX27" fmla="*/ 4135777 w 4519987"/>
              <a:gd name="connsiteY27" fmla="*/ 933450 h 4496940"/>
              <a:gd name="connsiteX28" fmla="*/ 4164352 w 4519987"/>
              <a:gd name="connsiteY28" fmla="*/ 990600 h 4496940"/>
              <a:gd name="connsiteX29" fmla="*/ 4173877 w 4519987"/>
              <a:gd name="connsiteY29" fmla="*/ 1019175 h 4496940"/>
              <a:gd name="connsiteX30" fmla="*/ 4192927 w 4519987"/>
              <a:gd name="connsiteY30" fmla="*/ 1057275 h 4496940"/>
              <a:gd name="connsiteX31" fmla="*/ 4202452 w 4519987"/>
              <a:gd name="connsiteY31" fmla="*/ 1085850 h 4496940"/>
              <a:gd name="connsiteX32" fmla="*/ 4250077 w 4519987"/>
              <a:gd name="connsiteY32" fmla="*/ 1143000 h 4496940"/>
              <a:gd name="connsiteX33" fmla="*/ 4259602 w 4519987"/>
              <a:gd name="connsiteY33" fmla="*/ 1190625 h 4496940"/>
              <a:gd name="connsiteX34" fmla="*/ 4307227 w 4519987"/>
              <a:gd name="connsiteY34" fmla="*/ 1266825 h 4496940"/>
              <a:gd name="connsiteX35" fmla="*/ 4345327 w 4519987"/>
              <a:gd name="connsiteY35" fmla="*/ 1362075 h 4496940"/>
              <a:gd name="connsiteX36" fmla="*/ 4373902 w 4519987"/>
              <a:gd name="connsiteY36" fmla="*/ 1428750 h 4496940"/>
              <a:gd name="connsiteX37" fmla="*/ 4392952 w 4519987"/>
              <a:gd name="connsiteY37" fmla="*/ 1552575 h 4496940"/>
              <a:gd name="connsiteX38" fmla="*/ 4402477 w 4519987"/>
              <a:gd name="connsiteY38" fmla="*/ 1590675 h 4496940"/>
              <a:gd name="connsiteX39" fmla="*/ 4431052 w 4519987"/>
              <a:gd name="connsiteY39" fmla="*/ 1685925 h 4496940"/>
              <a:gd name="connsiteX40" fmla="*/ 4519952 w 4519987"/>
              <a:gd name="connsiteY40" fmla="*/ 2181225 h 4496940"/>
              <a:gd name="connsiteX41" fmla="*/ 4446927 w 4519987"/>
              <a:gd name="connsiteY41" fmla="*/ 2768600 h 4496940"/>
              <a:gd name="connsiteX42" fmla="*/ 4383427 w 4519987"/>
              <a:gd name="connsiteY42" fmla="*/ 2990850 h 4496940"/>
              <a:gd name="connsiteX43" fmla="*/ 4278652 w 4519987"/>
              <a:gd name="connsiteY43" fmla="*/ 3248025 h 4496940"/>
              <a:gd name="connsiteX44" fmla="*/ 4259602 w 4519987"/>
              <a:gd name="connsiteY44" fmla="*/ 3276600 h 4496940"/>
              <a:gd name="connsiteX45" fmla="*/ 4221502 w 4519987"/>
              <a:gd name="connsiteY45" fmla="*/ 3333750 h 4496940"/>
              <a:gd name="connsiteX46" fmla="*/ 4211977 w 4519987"/>
              <a:gd name="connsiteY46" fmla="*/ 3362325 h 4496940"/>
              <a:gd name="connsiteX47" fmla="*/ 4183402 w 4519987"/>
              <a:gd name="connsiteY47" fmla="*/ 3400425 h 4496940"/>
              <a:gd name="connsiteX48" fmla="*/ 4164352 w 4519987"/>
              <a:gd name="connsiteY48" fmla="*/ 3429000 h 4496940"/>
              <a:gd name="connsiteX49" fmla="*/ 4088152 w 4519987"/>
              <a:gd name="connsiteY49" fmla="*/ 3495675 h 4496940"/>
              <a:gd name="connsiteX50" fmla="*/ 4059577 w 4519987"/>
              <a:gd name="connsiteY50" fmla="*/ 3533775 h 4496940"/>
              <a:gd name="connsiteX51" fmla="*/ 4002427 w 4519987"/>
              <a:gd name="connsiteY51" fmla="*/ 3600450 h 4496940"/>
              <a:gd name="connsiteX52" fmla="*/ 3983377 w 4519987"/>
              <a:gd name="connsiteY52" fmla="*/ 3629025 h 4496940"/>
              <a:gd name="connsiteX53" fmla="*/ 3954802 w 4519987"/>
              <a:gd name="connsiteY53" fmla="*/ 3648075 h 4496940"/>
              <a:gd name="connsiteX54" fmla="*/ 3907177 w 4519987"/>
              <a:gd name="connsiteY54" fmla="*/ 3686175 h 4496940"/>
              <a:gd name="connsiteX55" fmla="*/ 3869077 w 4519987"/>
              <a:gd name="connsiteY55" fmla="*/ 3724275 h 4496940"/>
              <a:gd name="connsiteX56" fmla="*/ 3792877 w 4519987"/>
              <a:gd name="connsiteY56" fmla="*/ 3781425 h 4496940"/>
              <a:gd name="connsiteX57" fmla="*/ 3783352 w 4519987"/>
              <a:gd name="connsiteY57" fmla="*/ 3810000 h 4496940"/>
              <a:gd name="connsiteX58" fmla="*/ 3745252 w 4519987"/>
              <a:gd name="connsiteY58" fmla="*/ 3819525 h 4496940"/>
              <a:gd name="connsiteX59" fmla="*/ 3678577 w 4519987"/>
              <a:gd name="connsiteY59" fmla="*/ 3848100 h 4496940"/>
              <a:gd name="connsiteX60" fmla="*/ 3659527 w 4519987"/>
              <a:gd name="connsiteY60" fmla="*/ 3971925 h 4496940"/>
              <a:gd name="connsiteX61" fmla="*/ 3630952 w 4519987"/>
              <a:gd name="connsiteY61" fmla="*/ 4010025 h 4496940"/>
              <a:gd name="connsiteX62" fmla="*/ 3621427 w 4519987"/>
              <a:gd name="connsiteY62" fmla="*/ 4038600 h 4496940"/>
              <a:gd name="connsiteX63" fmla="*/ 3554752 w 4519987"/>
              <a:gd name="connsiteY63" fmla="*/ 4095750 h 4496940"/>
              <a:gd name="connsiteX64" fmla="*/ 3516652 w 4519987"/>
              <a:gd name="connsiteY64" fmla="*/ 4114800 h 4496940"/>
              <a:gd name="connsiteX65" fmla="*/ 3497602 w 4519987"/>
              <a:gd name="connsiteY65" fmla="*/ 4143375 h 4496940"/>
              <a:gd name="connsiteX66" fmla="*/ 3383302 w 4519987"/>
              <a:gd name="connsiteY66" fmla="*/ 4210050 h 4496940"/>
              <a:gd name="connsiteX67" fmla="*/ 3335677 w 4519987"/>
              <a:gd name="connsiteY67" fmla="*/ 4238625 h 4496940"/>
              <a:gd name="connsiteX68" fmla="*/ 3288052 w 4519987"/>
              <a:gd name="connsiteY68" fmla="*/ 4248150 h 4496940"/>
              <a:gd name="connsiteX69" fmla="*/ 3240427 w 4519987"/>
              <a:gd name="connsiteY69" fmla="*/ 4267200 h 4496940"/>
              <a:gd name="connsiteX70" fmla="*/ 3068977 w 4519987"/>
              <a:gd name="connsiteY70" fmla="*/ 4286250 h 4496940"/>
              <a:gd name="connsiteX71" fmla="*/ 2935627 w 4519987"/>
              <a:gd name="connsiteY71" fmla="*/ 4333875 h 4496940"/>
              <a:gd name="connsiteX72" fmla="*/ 2811802 w 4519987"/>
              <a:gd name="connsiteY72" fmla="*/ 4371975 h 4496940"/>
              <a:gd name="connsiteX73" fmla="*/ 2745127 w 4519987"/>
              <a:gd name="connsiteY73" fmla="*/ 4410075 h 4496940"/>
              <a:gd name="connsiteX74" fmla="*/ 2697502 w 4519987"/>
              <a:gd name="connsiteY74" fmla="*/ 4429125 h 4496940"/>
              <a:gd name="connsiteX75" fmla="*/ 2640352 w 4519987"/>
              <a:gd name="connsiteY75" fmla="*/ 4457700 h 4496940"/>
              <a:gd name="connsiteX76" fmla="*/ 2583202 w 4519987"/>
              <a:gd name="connsiteY76" fmla="*/ 4467225 h 4496940"/>
              <a:gd name="connsiteX77" fmla="*/ 2545102 w 4519987"/>
              <a:gd name="connsiteY77" fmla="*/ 4486275 h 4496940"/>
              <a:gd name="connsiteX78" fmla="*/ 2306977 w 4519987"/>
              <a:gd name="connsiteY78" fmla="*/ 4476750 h 4496940"/>
              <a:gd name="connsiteX79" fmla="*/ 2202202 w 4519987"/>
              <a:gd name="connsiteY79" fmla="*/ 4457700 h 4496940"/>
              <a:gd name="connsiteX80" fmla="*/ 2126002 w 4519987"/>
              <a:gd name="connsiteY80" fmla="*/ 4429125 h 4496940"/>
              <a:gd name="connsiteX81" fmla="*/ 1935502 w 4519987"/>
              <a:gd name="connsiteY81" fmla="*/ 4400550 h 4496940"/>
              <a:gd name="connsiteX82" fmla="*/ 1821202 w 4519987"/>
              <a:gd name="connsiteY82" fmla="*/ 4371975 h 4496940"/>
              <a:gd name="connsiteX83" fmla="*/ 1754527 w 4519987"/>
              <a:gd name="connsiteY83" fmla="*/ 4352925 h 4496940"/>
              <a:gd name="connsiteX84" fmla="*/ 1687852 w 4519987"/>
              <a:gd name="connsiteY84" fmla="*/ 4343400 h 4496940"/>
              <a:gd name="connsiteX85" fmla="*/ 1573552 w 4519987"/>
              <a:gd name="connsiteY85" fmla="*/ 4305300 h 4496940"/>
              <a:gd name="connsiteX86" fmla="*/ 1402102 w 4519987"/>
              <a:gd name="connsiteY86" fmla="*/ 4276725 h 4496940"/>
              <a:gd name="connsiteX87" fmla="*/ 1287802 w 4519987"/>
              <a:gd name="connsiteY87" fmla="*/ 4229100 h 4496940"/>
              <a:gd name="connsiteX88" fmla="*/ 1221127 w 4519987"/>
              <a:gd name="connsiteY88" fmla="*/ 4200525 h 4496940"/>
              <a:gd name="connsiteX89" fmla="*/ 1144927 w 4519987"/>
              <a:gd name="connsiteY89" fmla="*/ 4171950 h 4496940"/>
              <a:gd name="connsiteX90" fmla="*/ 1087777 w 4519987"/>
              <a:gd name="connsiteY90" fmla="*/ 4143375 h 4496940"/>
              <a:gd name="connsiteX91" fmla="*/ 1030627 w 4519987"/>
              <a:gd name="connsiteY91" fmla="*/ 4124325 h 4496940"/>
              <a:gd name="connsiteX92" fmla="*/ 925852 w 4519987"/>
              <a:gd name="connsiteY92" fmla="*/ 4067175 h 4496940"/>
              <a:gd name="connsiteX93" fmla="*/ 830602 w 4519987"/>
              <a:gd name="connsiteY93" fmla="*/ 3981450 h 4496940"/>
              <a:gd name="connsiteX94" fmla="*/ 763927 w 4519987"/>
              <a:gd name="connsiteY94" fmla="*/ 3914775 h 4496940"/>
              <a:gd name="connsiteX95" fmla="*/ 725827 w 4519987"/>
              <a:gd name="connsiteY95" fmla="*/ 3876675 h 4496940"/>
              <a:gd name="connsiteX96" fmla="*/ 697252 w 4519987"/>
              <a:gd name="connsiteY96" fmla="*/ 3838575 h 4496940"/>
              <a:gd name="connsiteX97" fmla="*/ 640102 w 4519987"/>
              <a:gd name="connsiteY97" fmla="*/ 3781425 h 4496940"/>
              <a:gd name="connsiteX98" fmla="*/ 611527 w 4519987"/>
              <a:gd name="connsiteY98" fmla="*/ 3733800 h 4496940"/>
              <a:gd name="connsiteX99" fmla="*/ 554377 w 4519987"/>
              <a:gd name="connsiteY99" fmla="*/ 3657600 h 4496940"/>
              <a:gd name="connsiteX100" fmla="*/ 525802 w 4519987"/>
              <a:gd name="connsiteY100" fmla="*/ 3609975 h 4496940"/>
              <a:gd name="connsiteX101" fmla="*/ 497227 w 4519987"/>
              <a:gd name="connsiteY101" fmla="*/ 3552825 h 4496940"/>
              <a:gd name="connsiteX102" fmla="*/ 440077 w 4519987"/>
              <a:gd name="connsiteY102" fmla="*/ 3495675 h 4496940"/>
              <a:gd name="connsiteX103" fmla="*/ 411502 w 4519987"/>
              <a:gd name="connsiteY103" fmla="*/ 3448050 h 4496940"/>
              <a:gd name="connsiteX104" fmla="*/ 278152 w 4519987"/>
              <a:gd name="connsiteY104" fmla="*/ 3257550 h 4496940"/>
              <a:gd name="connsiteX105" fmla="*/ 249577 w 4519987"/>
              <a:gd name="connsiteY105" fmla="*/ 3200400 h 4496940"/>
              <a:gd name="connsiteX106" fmla="*/ 240052 w 4519987"/>
              <a:gd name="connsiteY106" fmla="*/ 3162300 h 4496940"/>
              <a:gd name="connsiteX107" fmla="*/ 221002 w 4519987"/>
              <a:gd name="connsiteY107" fmla="*/ 3105150 h 4496940"/>
              <a:gd name="connsiteX108" fmla="*/ 173377 w 4519987"/>
              <a:gd name="connsiteY108" fmla="*/ 3019425 h 4496940"/>
              <a:gd name="connsiteX109" fmla="*/ 144802 w 4519987"/>
              <a:gd name="connsiteY109" fmla="*/ 2924175 h 4496940"/>
              <a:gd name="connsiteX110" fmla="*/ 68602 w 4519987"/>
              <a:gd name="connsiteY110" fmla="*/ 2724150 h 4496940"/>
              <a:gd name="connsiteX111" fmla="*/ 49552 w 4519987"/>
              <a:gd name="connsiteY111" fmla="*/ 2638425 h 4496940"/>
              <a:gd name="connsiteX112" fmla="*/ 40027 w 4519987"/>
              <a:gd name="connsiteY112" fmla="*/ 2562225 h 4496940"/>
              <a:gd name="connsiteX113" fmla="*/ 30502 w 4519987"/>
              <a:gd name="connsiteY113" fmla="*/ 2514600 h 4496940"/>
              <a:gd name="connsiteX114" fmla="*/ 11452 w 4519987"/>
              <a:gd name="connsiteY114" fmla="*/ 2400300 h 4496940"/>
              <a:gd name="connsiteX115" fmla="*/ 20977 w 4519987"/>
              <a:gd name="connsiteY115" fmla="*/ 1905000 h 4496940"/>
              <a:gd name="connsiteX116" fmla="*/ 30502 w 4519987"/>
              <a:gd name="connsiteY116" fmla="*/ 1838325 h 4496940"/>
              <a:gd name="connsiteX117" fmla="*/ 49552 w 4519987"/>
              <a:gd name="connsiteY117" fmla="*/ 1781175 h 4496940"/>
              <a:gd name="connsiteX118" fmla="*/ 59077 w 4519987"/>
              <a:gd name="connsiteY118" fmla="*/ 1743075 h 4496940"/>
              <a:gd name="connsiteX119" fmla="*/ 78127 w 4519987"/>
              <a:gd name="connsiteY119" fmla="*/ 1685925 h 4496940"/>
              <a:gd name="connsiteX120" fmla="*/ 87652 w 4519987"/>
              <a:gd name="connsiteY120" fmla="*/ 1638300 h 4496940"/>
              <a:gd name="connsiteX121" fmla="*/ 106702 w 4519987"/>
              <a:gd name="connsiteY121" fmla="*/ 1590675 h 4496940"/>
              <a:gd name="connsiteX122" fmla="*/ 135277 w 4519987"/>
              <a:gd name="connsiteY122" fmla="*/ 1504950 h 4496940"/>
              <a:gd name="connsiteX123" fmla="*/ 154327 w 4519987"/>
              <a:gd name="connsiteY123" fmla="*/ 1419225 h 4496940"/>
              <a:gd name="connsiteX124" fmla="*/ 230527 w 4519987"/>
              <a:gd name="connsiteY124" fmla="*/ 1276350 h 4496940"/>
              <a:gd name="connsiteX125" fmla="*/ 240052 w 4519987"/>
              <a:gd name="connsiteY125" fmla="*/ 1247775 h 4496940"/>
              <a:gd name="connsiteX126" fmla="*/ 268627 w 4519987"/>
              <a:gd name="connsiteY126" fmla="*/ 1200150 h 4496940"/>
              <a:gd name="connsiteX127" fmla="*/ 287677 w 4519987"/>
              <a:gd name="connsiteY127" fmla="*/ 1152525 h 4496940"/>
              <a:gd name="connsiteX128" fmla="*/ 316252 w 4519987"/>
              <a:gd name="connsiteY128" fmla="*/ 1114425 h 4496940"/>
              <a:gd name="connsiteX129" fmla="*/ 363877 w 4519987"/>
              <a:gd name="connsiteY129" fmla="*/ 1038225 h 4496940"/>
              <a:gd name="connsiteX130" fmla="*/ 382927 w 4519987"/>
              <a:gd name="connsiteY130" fmla="*/ 1009650 h 4496940"/>
              <a:gd name="connsiteX131" fmla="*/ 440077 w 4519987"/>
              <a:gd name="connsiteY131" fmla="*/ 904875 h 4496940"/>
              <a:gd name="connsiteX132" fmla="*/ 478177 w 4519987"/>
              <a:gd name="connsiteY132" fmla="*/ 857250 h 4496940"/>
              <a:gd name="connsiteX133" fmla="*/ 497227 w 4519987"/>
              <a:gd name="connsiteY133" fmla="*/ 828675 h 4496940"/>
              <a:gd name="connsiteX134" fmla="*/ 535327 w 4519987"/>
              <a:gd name="connsiteY134" fmla="*/ 800100 h 4496940"/>
              <a:gd name="connsiteX135" fmla="*/ 602002 w 4519987"/>
              <a:gd name="connsiteY135" fmla="*/ 733425 h 4496940"/>
              <a:gd name="connsiteX136" fmla="*/ 668677 w 4519987"/>
              <a:gd name="connsiteY136" fmla="*/ 676275 h 4496940"/>
              <a:gd name="connsiteX137" fmla="*/ 697252 w 4519987"/>
              <a:gd name="connsiteY137" fmla="*/ 657225 h 4496940"/>
              <a:gd name="connsiteX138" fmla="*/ 840127 w 4519987"/>
              <a:gd name="connsiteY138" fmla="*/ 533400 h 4496940"/>
              <a:gd name="connsiteX139" fmla="*/ 887752 w 4519987"/>
              <a:gd name="connsiteY139" fmla="*/ 504825 h 4496940"/>
              <a:gd name="connsiteX140" fmla="*/ 1167152 w 4519987"/>
              <a:gd name="connsiteY140" fmla="*/ 311150 h 4496940"/>
              <a:gd name="connsiteX141" fmla="*/ 1268752 w 4519987"/>
              <a:gd name="connsiteY141" fmla="*/ 285750 h 4496940"/>
              <a:gd name="connsiteX142" fmla="*/ 1411627 w 4519987"/>
              <a:gd name="connsiteY142" fmla="*/ 190500 h 4496940"/>
              <a:gd name="connsiteX143" fmla="*/ 1449727 w 4519987"/>
              <a:gd name="connsiteY143" fmla="*/ 161925 h 4496940"/>
              <a:gd name="connsiteX144" fmla="*/ 1525927 w 4519987"/>
              <a:gd name="connsiteY144" fmla="*/ 152400 h 4496940"/>
              <a:gd name="connsiteX145" fmla="*/ 1583077 w 4519987"/>
              <a:gd name="connsiteY145" fmla="*/ 142875 h 4496940"/>
              <a:gd name="connsiteX146" fmla="*/ 1716427 w 4519987"/>
              <a:gd name="connsiteY146" fmla="*/ 123825 h 4496940"/>
              <a:gd name="connsiteX147" fmla="*/ 1811677 w 4519987"/>
              <a:gd name="connsiteY147" fmla="*/ 114300 h 4496940"/>
              <a:gd name="connsiteX148" fmla="*/ 1859302 w 4519987"/>
              <a:gd name="connsiteY148" fmla="*/ 104775 h 4496940"/>
              <a:gd name="connsiteX149" fmla="*/ 1916452 w 4519987"/>
              <a:gd name="connsiteY149" fmla="*/ 95250 h 4496940"/>
              <a:gd name="connsiteX150" fmla="*/ 2030752 w 4519987"/>
              <a:gd name="connsiteY150" fmla="*/ 66675 h 4496940"/>
              <a:gd name="connsiteX151" fmla="*/ 2097427 w 4519987"/>
              <a:gd name="connsiteY151" fmla="*/ 47625 h 4496940"/>
              <a:gd name="connsiteX152" fmla="*/ 2164102 w 4519987"/>
              <a:gd name="connsiteY152" fmla="*/ 38100 h 4496940"/>
              <a:gd name="connsiteX153" fmla="*/ 2392702 w 4519987"/>
              <a:gd name="connsiteY15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02377 w 4519987"/>
              <a:gd name="connsiteY18" fmla="*/ 457200 h 4496940"/>
              <a:gd name="connsiteX19" fmla="*/ 3630952 w 4519987"/>
              <a:gd name="connsiteY19" fmla="*/ 485775 h 4496940"/>
              <a:gd name="connsiteX20" fmla="*/ 3678577 w 4519987"/>
              <a:gd name="connsiteY20" fmla="*/ 504825 h 4496940"/>
              <a:gd name="connsiteX21" fmla="*/ 3745252 w 4519987"/>
              <a:gd name="connsiteY21" fmla="*/ 542925 h 4496940"/>
              <a:gd name="connsiteX22" fmla="*/ 3811927 w 4519987"/>
              <a:gd name="connsiteY22" fmla="*/ 581025 h 4496940"/>
              <a:gd name="connsiteX23" fmla="*/ 3907177 w 4519987"/>
              <a:gd name="connsiteY23" fmla="*/ 647700 h 4496940"/>
              <a:gd name="connsiteX24" fmla="*/ 3935752 w 4519987"/>
              <a:gd name="connsiteY24" fmla="*/ 676275 h 4496940"/>
              <a:gd name="connsiteX25" fmla="*/ 4078627 w 4519987"/>
              <a:gd name="connsiteY25" fmla="*/ 838200 h 4496940"/>
              <a:gd name="connsiteX26" fmla="*/ 4135777 w 4519987"/>
              <a:gd name="connsiteY26" fmla="*/ 933450 h 4496940"/>
              <a:gd name="connsiteX27" fmla="*/ 4164352 w 4519987"/>
              <a:gd name="connsiteY27" fmla="*/ 990600 h 4496940"/>
              <a:gd name="connsiteX28" fmla="*/ 4173877 w 4519987"/>
              <a:gd name="connsiteY28" fmla="*/ 1019175 h 4496940"/>
              <a:gd name="connsiteX29" fmla="*/ 4192927 w 4519987"/>
              <a:gd name="connsiteY29" fmla="*/ 1057275 h 4496940"/>
              <a:gd name="connsiteX30" fmla="*/ 4202452 w 4519987"/>
              <a:gd name="connsiteY30" fmla="*/ 1085850 h 4496940"/>
              <a:gd name="connsiteX31" fmla="*/ 4250077 w 4519987"/>
              <a:gd name="connsiteY31" fmla="*/ 1143000 h 4496940"/>
              <a:gd name="connsiteX32" fmla="*/ 4259602 w 4519987"/>
              <a:gd name="connsiteY32" fmla="*/ 1190625 h 4496940"/>
              <a:gd name="connsiteX33" fmla="*/ 4307227 w 4519987"/>
              <a:gd name="connsiteY33" fmla="*/ 1266825 h 4496940"/>
              <a:gd name="connsiteX34" fmla="*/ 4345327 w 4519987"/>
              <a:gd name="connsiteY34" fmla="*/ 1362075 h 4496940"/>
              <a:gd name="connsiteX35" fmla="*/ 4373902 w 4519987"/>
              <a:gd name="connsiteY35" fmla="*/ 1428750 h 4496940"/>
              <a:gd name="connsiteX36" fmla="*/ 4392952 w 4519987"/>
              <a:gd name="connsiteY36" fmla="*/ 1552575 h 4496940"/>
              <a:gd name="connsiteX37" fmla="*/ 4402477 w 4519987"/>
              <a:gd name="connsiteY37" fmla="*/ 1590675 h 4496940"/>
              <a:gd name="connsiteX38" fmla="*/ 4431052 w 4519987"/>
              <a:gd name="connsiteY38" fmla="*/ 1685925 h 4496940"/>
              <a:gd name="connsiteX39" fmla="*/ 4519952 w 4519987"/>
              <a:gd name="connsiteY39" fmla="*/ 2181225 h 4496940"/>
              <a:gd name="connsiteX40" fmla="*/ 4446927 w 4519987"/>
              <a:gd name="connsiteY40" fmla="*/ 2768600 h 4496940"/>
              <a:gd name="connsiteX41" fmla="*/ 4383427 w 4519987"/>
              <a:gd name="connsiteY41" fmla="*/ 2990850 h 4496940"/>
              <a:gd name="connsiteX42" fmla="*/ 4278652 w 4519987"/>
              <a:gd name="connsiteY42" fmla="*/ 3248025 h 4496940"/>
              <a:gd name="connsiteX43" fmla="*/ 4259602 w 4519987"/>
              <a:gd name="connsiteY43" fmla="*/ 3276600 h 4496940"/>
              <a:gd name="connsiteX44" fmla="*/ 4221502 w 4519987"/>
              <a:gd name="connsiteY44" fmla="*/ 3333750 h 4496940"/>
              <a:gd name="connsiteX45" fmla="*/ 4211977 w 4519987"/>
              <a:gd name="connsiteY45" fmla="*/ 3362325 h 4496940"/>
              <a:gd name="connsiteX46" fmla="*/ 4183402 w 4519987"/>
              <a:gd name="connsiteY46" fmla="*/ 3400425 h 4496940"/>
              <a:gd name="connsiteX47" fmla="*/ 4164352 w 4519987"/>
              <a:gd name="connsiteY47" fmla="*/ 3429000 h 4496940"/>
              <a:gd name="connsiteX48" fmla="*/ 4088152 w 4519987"/>
              <a:gd name="connsiteY48" fmla="*/ 3495675 h 4496940"/>
              <a:gd name="connsiteX49" fmla="*/ 4059577 w 4519987"/>
              <a:gd name="connsiteY49" fmla="*/ 3533775 h 4496940"/>
              <a:gd name="connsiteX50" fmla="*/ 4002427 w 4519987"/>
              <a:gd name="connsiteY50" fmla="*/ 3600450 h 4496940"/>
              <a:gd name="connsiteX51" fmla="*/ 3983377 w 4519987"/>
              <a:gd name="connsiteY51" fmla="*/ 3629025 h 4496940"/>
              <a:gd name="connsiteX52" fmla="*/ 3954802 w 4519987"/>
              <a:gd name="connsiteY52" fmla="*/ 3648075 h 4496940"/>
              <a:gd name="connsiteX53" fmla="*/ 3907177 w 4519987"/>
              <a:gd name="connsiteY53" fmla="*/ 3686175 h 4496940"/>
              <a:gd name="connsiteX54" fmla="*/ 3869077 w 4519987"/>
              <a:gd name="connsiteY54" fmla="*/ 3724275 h 4496940"/>
              <a:gd name="connsiteX55" fmla="*/ 3792877 w 4519987"/>
              <a:gd name="connsiteY55" fmla="*/ 3781425 h 4496940"/>
              <a:gd name="connsiteX56" fmla="*/ 3783352 w 4519987"/>
              <a:gd name="connsiteY56" fmla="*/ 3810000 h 4496940"/>
              <a:gd name="connsiteX57" fmla="*/ 3745252 w 4519987"/>
              <a:gd name="connsiteY57" fmla="*/ 3819525 h 4496940"/>
              <a:gd name="connsiteX58" fmla="*/ 3678577 w 4519987"/>
              <a:gd name="connsiteY58" fmla="*/ 3848100 h 4496940"/>
              <a:gd name="connsiteX59" fmla="*/ 3659527 w 4519987"/>
              <a:gd name="connsiteY59" fmla="*/ 3971925 h 4496940"/>
              <a:gd name="connsiteX60" fmla="*/ 3630952 w 4519987"/>
              <a:gd name="connsiteY60" fmla="*/ 4010025 h 4496940"/>
              <a:gd name="connsiteX61" fmla="*/ 3621427 w 4519987"/>
              <a:gd name="connsiteY61" fmla="*/ 4038600 h 4496940"/>
              <a:gd name="connsiteX62" fmla="*/ 3554752 w 4519987"/>
              <a:gd name="connsiteY62" fmla="*/ 4095750 h 4496940"/>
              <a:gd name="connsiteX63" fmla="*/ 3516652 w 4519987"/>
              <a:gd name="connsiteY63" fmla="*/ 4114800 h 4496940"/>
              <a:gd name="connsiteX64" fmla="*/ 3497602 w 4519987"/>
              <a:gd name="connsiteY64" fmla="*/ 4143375 h 4496940"/>
              <a:gd name="connsiteX65" fmla="*/ 3383302 w 4519987"/>
              <a:gd name="connsiteY65" fmla="*/ 4210050 h 4496940"/>
              <a:gd name="connsiteX66" fmla="*/ 3335677 w 4519987"/>
              <a:gd name="connsiteY66" fmla="*/ 4238625 h 4496940"/>
              <a:gd name="connsiteX67" fmla="*/ 3288052 w 4519987"/>
              <a:gd name="connsiteY67" fmla="*/ 4248150 h 4496940"/>
              <a:gd name="connsiteX68" fmla="*/ 3240427 w 4519987"/>
              <a:gd name="connsiteY68" fmla="*/ 4267200 h 4496940"/>
              <a:gd name="connsiteX69" fmla="*/ 3068977 w 4519987"/>
              <a:gd name="connsiteY69" fmla="*/ 4286250 h 4496940"/>
              <a:gd name="connsiteX70" fmla="*/ 2935627 w 4519987"/>
              <a:gd name="connsiteY70" fmla="*/ 4333875 h 4496940"/>
              <a:gd name="connsiteX71" fmla="*/ 2811802 w 4519987"/>
              <a:gd name="connsiteY71" fmla="*/ 4371975 h 4496940"/>
              <a:gd name="connsiteX72" fmla="*/ 2745127 w 4519987"/>
              <a:gd name="connsiteY72" fmla="*/ 4410075 h 4496940"/>
              <a:gd name="connsiteX73" fmla="*/ 2697502 w 4519987"/>
              <a:gd name="connsiteY73" fmla="*/ 4429125 h 4496940"/>
              <a:gd name="connsiteX74" fmla="*/ 2640352 w 4519987"/>
              <a:gd name="connsiteY74" fmla="*/ 4457700 h 4496940"/>
              <a:gd name="connsiteX75" fmla="*/ 2583202 w 4519987"/>
              <a:gd name="connsiteY75" fmla="*/ 4467225 h 4496940"/>
              <a:gd name="connsiteX76" fmla="*/ 2545102 w 4519987"/>
              <a:gd name="connsiteY76" fmla="*/ 4486275 h 4496940"/>
              <a:gd name="connsiteX77" fmla="*/ 2306977 w 4519987"/>
              <a:gd name="connsiteY77" fmla="*/ 4476750 h 4496940"/>
              <a:gd name="connsiteX78" fmla="*/ 2202202 w 4519987"/>
              <a:gd name="connsiteY78" fmla="*/ 4457700 h 4496940"/>
              <a:gd name="connsiteX79" fmla="*/ 2126002 w 4519987"/>
              <a:gd name="connsiteY79" fmla="*/ 4429125 h 4496940"/>
              <a:gd name="connsiteX80" fmla="*/ 1935502 w 4519987"/>
              <a:gd name="connsiteY80" fmla="*/ 4400550 h 4496940"/>
              <a:gd name="connsiteX81" fmla="*/ 1821202 w 4519987"/>
              <a:gd name="connsiteY81" fmla="*/ 4371975 h 4496940"/>
              <a:gd name="connsiteX82" fmla="*/ 1754527 w 4519987"/>
              <a:gd name="connsiteY82" fmla="*/ 4352925 h 4496940"/>
              <a:gd name="connsiteX83" fmla="*/ 1687852 w 4519987"/>
              <a:gd name="connsiteY83" fmla="*/ 4343400 h 4496940"/>
              <a:gd name="connsiteX84" fmla="*/ 1573552 w 4519987"/>
              <a:gd name="connsiteY84" fmla="*/ 4305300 h 4496940"/>
              <a:gd name="connsiteX85" fmla="*/ 1402102 w 4519987"/>
              <a:gd name="connsiteY85" fmla="*/ 4276725 h 4496940"/>
              <a:gd name="connsiteX86" fmla="*/ 1287802 w 4519987"/>
              <a:gd name="connsiteY86" fmla="*/ 4229100 h 4496940"/>
              <a:gd name="connsiteX87" fmla="*/ 1221127 w 4519987"/>
              <a:gd name="connsiteY87" fmla="*/ 4200525 h 4496940"/>
              <a:gd name="connsiteX88" fmla="*/ 1144927 w 4519987"/>
              <a:gd name="connsiteY88" fmla="*/ 4171950 h 4496940"/>
              <a:gd name="connsiteX89" fmla="*/ 1087777 w 4519987"/>
              <a:gd name="connsiteY89" fmla="*/ 4143375 h 4496940"/>
              <a:gd name="connsiteX90" fmla="*/ 1030627 w 4519987"/>
              <a:gd name="connsiteY90" fmla="*/ 4124325 h 4496940"/>
              <a:gd name="connsiteX91" fmla="*/ 925852 w 4519987"/>
              <a:gd name="connsiteY91" fmla="*/ 4067175 h 4496940"/>
              <a:gd name="connsiteX92" fmla="*/ 830602 w 4519987"/>
              <a:gd name="connsiteY92" fmla="*/ 3981450 h 4496940"/>
              <a:gd name="connsiteX93" fmla="*/ 763927 w 4519987"/>
              <a:gd name="connsiteY93" fmla="*/ 3914775 h 4496940"/>
              <a:gd name="connsiteX94" fmla="*/ 725827 w 4519987"/>
              <a:gd name="connsiteY94" fmla="*/ 3876675 h 4496940"/>
              <a:gd name="connsiteX95" fmla="*/ 697252 w 4519987"/>
              <a:gd name="connsiteY95" fmla="*/ 3838575 h 4496940"/>
              <a:gd name="connsiteX96" fmla="*/ 640102 w 4519987"/>
              <a:gd name="connsiteY96" fmla="*/ 3781425 h 4496940"/>
              <a:gd name="connsiteX97" fmla="*/ 611527 w 4519987"/>
              <a:gd name="connsiteY97" fmla="*/ 3733800 h 4496940"/>
              <a:gd name="connsiteX98" fmla="*/ 554377 w 4519987"/>
              <a:gd name="connsiteY98" fmla="*/ 3657600 h 4496940"/>
              <a:gd name="connsiteX99" fmla="*/ 525802 w 4519987"/>
              <a:gd name="connsiteY99" fmla="*/ 3609975 h 4496940"/>
              <a:gd name="connsiteX100" fmla="*/ 497227 w 4519987"/>
              <a:gd name="connsiteY100" fmla="*/ 3552825 h 4496940"/>
              <a:gd name="connsiteX101" fmla="*/ 440077 w 4519987"/>
              <a:gd name="connsiteY101" fmla="*/ 3495675 h 4496940"/>
              <a:gd name="connsiteX102" fmla="*/ 411502 w 4519987"/>
              <a:gd name="connsiteY102" fmla="*/ 3448050 h 4496940"/>
              <a:gd name="connsiteX103" fmla="*/ 278152 w 4519987"/>
              <a:gd name="connsiteY103" fmla="*/ 3257550 h 4496940"/>
              <a:gd name="connsiteX104" fmla="*/ 249577 w 4519987"/>
              <a:gd name="connsiteY104" fmla="*/ 3200400 h 4496940"/>
              <a:gd name="connsiteX105" fmla="*/ 240052 w 4519987"/>
              <a:gd name="connsiteY105" fmla="*/ 3162300 h 4496940"/>
              <a:gd name="connsiteX106" fmla="*/ 221002 w 4519987"/>
              <a:gd name="connsiteY106" fmla="*/ 3105150 h 4496940"/>
              <a:gd name="connsiteX107" fmla="*/ 173377 w 4519987"/>
              <a:gd name="connsiteY107" fmla="*/ 3019425 h 4496940"/>
              <a:gd name="connsiteX108" fmla="*/ 144802 w 4519987"/>
              <a:gd name="connsiteY108" fmla="*/ 2924175 h 4496940"/>
              <a:gd name="connsiteX109" fmla="*/ 68602 w 4519987"/>
              <a:gd name="connsiteY109" fmla="*/ 2724150 h 4496940"/>
              <a:gd name="connsiteX110" fmla="*/ 49552 w 4519987"/>
              <a:gd name="connsiteY110" fmla="*/ 2638425 h 4496940"/>
              <a:gd name="connsiteX111" fmla="*/ 40027 w 4519987"/>
              <a:gd name="connsiteY111" fmla="*/ 2562225 h 4496940"/>
              <a:gd name="connsiteX112" fmla="*/ 30502 w 4519987"/>
              <a:gd name="connsiteY112" fmla="*/ 2514600 h 4496940"/>
              <a:gd name="connsiteX113" fmla="*/ 11452 w 4519987"/>
              <a:gd name="connsiteY113" fmla="*/ 2400300 h 4496940"/>
              <a:gd name="connsiteX114" fmla="*/ 20977 w 4519987"/>
              <a:gd name="connsiteY114" fmla="*/ 1905000 h 4496940"/>
              <a:gd name="connsiteX115" fmla="*/ 30502 w 4519987"/>
              <a:gd name="connsiteY115" fmla="*/ 1838325 h 4496940"/>
              <a:gd name="connsiteX116" fmla="*/ 49552 w 4519987"/>
              <a:gd name="connsiteY116" fmla="*/ 1781175 h 4496940"/>
              <a:gd name="connsiteX117" fmla="*/ 59077 w 4519987"/>
              <a:gd name="connsiteY117" fmla="*/ 1743075 h 4496940"/>
              <a:gd name="connsiteX118" fmla="*/ 78127 w 4519987"/>
              <a:gd name="connsiteY118" fmla="*/ 1685925 h 4496940"/>
              <a:gd name="connsiteX119" fmla="*/ 87652 w 4519987"/>
              <a:gd name="connsiteY119" fmla="*/ 1638300 h 4496940"/>
              <a:gd name="connsiteX120" fmla="*/ 106702 w 4519987"/>
              <a:gd name="connsiteY120" fmla="*/ 1590675 h 4496940"/>
              <a:gd name="connsiteX121" fmla="*/ 135277 w 4519987"/>
              <a:gd name="connsiteY121" fmla="*/ 1504950 h 4496940"/>
              <a:gd name="connsiteX122" fmla="*/ 154327 w 4519987"/>
              <a:gd name="connsiteY122" fmla="*/ 1419225 h 4496940"/>
              <a:gd name="connsiteX123" fmla="*/ 230527 w 4519987"/>
              <a:gd name="connsiteY123" fmla="*/ 1276350 h 4496940"/>
              <a:gd name="connsiteX124" fmla="*/ 240052 w 4519987"/>
              <a:gd name="connsiteY124" fmla="*/ 1247775 h 4496940"/>
              <a:gd name="connsiteX125" fmla="*/ 268627 w 4519987"/>
              <a:gd name="connsiteY125" fmla="*/ 1200150 h 4496940"/>
              <a:gd name="connsiteX126" fmla="*/ 287677 w 4519987"/>
              <a:gd name="connsiteY126" fmla="*/ 1152525 h 4496940"/>
              <a:gd name="connsiteX127" fmla="*/ 316252 w 4519987"/>
              <a:gd name="connsiteY127" fmla="*/ 1114425 h 4496940"/>
              <a:gd name="connsiteX128" fmla="*/ 363877 w 4519987"/>
              <a:gd name="connsiteY128" fmla="*/ 1038225 h 4496940"/>
              <a:gd name="connsiteX129" fmla="*/ 382927 w 4519987"/>
              <a:gd name="connsiteY129" fmla="*/ 1009650 h 4496940"/>
              <a:gd name="connsiteX130" fmla="*/ 440077 w 4519987"/>
              <a:gd name="connsiteY130" fmla="*/ 904875 h 4496940"/>
              <a:gd name="connsiteX131" fmla="*/ 478177 w 4519987"/>
              <a:gd name="connsiteY131" fmla="*/ 857250 h 4496940"/>
              <a:gd name="connsiteX132" fmla="*/ 497227 w 4519987"/>
              <a:gd name="connsiteY132" fmla="*/ 828675 h 4496940"/>
              <a:gd name="connsiteX133" fmla="*/ 535327 w 4519987"/>
              <a:gd name="connsiteY133" fmla="*/ 800100 h 4496940"/>
              <a:gd name="connsiteX134" fmla="*/ 602002 w 4519987"/>
              <a:gd name="connsiteY134" fmla="*/ 733425 h 4496940"/>
              <a:gd name="connsiteX135" fmla="*/ 668677 w 4519987"/>
              <a:gd name="connsiteY135" fmla="*/ 676275 h 4496940"/>
              <a:gd name="connsiteX136" fmla="*/ 697252 w 4519987"/>
              <a:gd name="connsiteY136" fmla="*/ 657225 h 4496940"/>
              <a:gd name="connsiteX137" fmla="*/ 840127 w 4519987"/>
              <a:gd name="connsiteY137" fmla="*/ 533400 h 4496940"/>
              <a:gd name="connsiteX138" fmla="*/ 887752 w 4519987"/>
              <a:gd name="connsiteY138" fmla="*/ 504825 h 4496940"/>
              <a:gd name="connsiteX139" fmla="*/ 1167152 w 4519987"/>
              <a:gd name="connsiteY139" fmla="*/ 311150 h 4496940"/>
              <a:gd name="connsiteX140" fmla="*/ 1268752 w 4519987"/>
              <a:gd name="connsiteY140" fmla="*/ 285750 h 4496940"/>
              <a:gd name="connsiteX141" fmla="*/ 1411627 w 4519987"/>
              <a:gd name="connsiteY141" fmla="*/ 190500 h 4496940"/>
              <a:gd name="connsiteX142" fmla="*/ 1449727 w 4519987"/>
              <a:gd name="connsiteY142" fmla="*/ 161925 h 4496940"/>
              <a:gd name="connsiteX143" fmla="*/ 1525927 w 4519987"/>
              <a:gd name="connsiteY143" fmla="*/ 152400 h 4496940"/>
              <a:gd name="connsiteX144" fmla="*/ 1583077 w 4519987"/>
              <a:gd name="connsiteY144" fmla="*/ 142875 h 4496940"/>
              <a:gd name="connsiteX145" fmla="*/ 1716427 w 4519987"/>
              <a:gd name="connsiteY145" fmla="*/ 123825 h 4496940"/>
              <a:gd name="connsiteX146" fmla="*/ 1811677 w 4519987"/>
              <a:gd name="connsiteY146" fmla="*/ 114300 h 4496940"/>
              <a:gd name="connsiteX147" fmla="*/ 1859302 w 4519987"/>
              <a:gd name="connsiteY147" fmla="*/ 104775 h 4496940"/>
              <a:gd name="connsiteX148" fmla="*/ 1916452 w 4519987"/>
              <a:gd name="connsiteY148" fmla="*/ 95250 h 4496940"/>
              <a:gd name="connsiteX149" fmla="*/ 2030752 w 4519987"/>
              <a:gd name="connsiteY149" fmla="*/ 66675 h 4496940"/>
              <a:gd name="connsiteX150" fmla="*/ 2097427 w 4519987"/>
              <a:gd name="connsiteY150" fmla="*/ 47625 h 4496940"/>
              <a:gd name="connsiteX151" fmla="*/ 2164102 w 4519987"/>
              <a:gd name="connsiteY151" fmla="*/ 38100 h 4496940"/>
              <a:gd name="connsiteX152" fmla="*/ 2392702 w 4519987"/>
              <a:gd name="connsiteY15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02377 w 4519987"/>
              <a:gd name="connsiteY18" fmla="*/ 457200 h 4496940"/>
              <a:gd name="connsiteX19" fmla="*/ 3630952 w 4519987"/>
              <a:gd name="connsiteY19" fmla="*/ 485775 h 4496940"/>
              <a:gd name="connsiteX20" fmla="*/ 3745252 w 4519987"/>
              <a:gd name="connsiteY20" fmla="*/ 542925 h 4496940"/>
              <a:gd name="connsiteX21" fmla="*/ 3811927 w 4519987"/>
              <a:gd name="connsiteY21" fmla="*/ 581025 h 4496940"/>
              <a:gd name="connsiteX22" fmla="*/ 3907177 w 4519987"/>
              <a:gd name="connsiteY22" fmla="*/ 647700 h 4496940"/>
              <a:gd name="connsiteX23" fmla="*/ 3935752 w 4519987"/>
              <a:gd name="connsiteY23" fmla="*/ 676275 h 4496940"/>
              <a:gd name="connsiteX24" fmla="*/ 4078627 w 4519987"/>
              <a:gd name="connsiteY24" fmla="*/ 838200 h 4496940"/>
              <a:gd name="connsiteX25" fmla="*/ 4135777 w 4519987"/>
              <a:gd name="connsiteY25" fmla="*/ 933450 h 4496940"/>
              <a:gd name="connsiteX26" fmla="*/ 4164352 w 4519987"/>
              <a:gd name="connsiteY26" fmla="*/ 990600 h 4496940"/>
              <a:gd name="connsiteX27" fmla="*/ 4173877 w 4519987"/>
              <a:gd name="connsiteY27" fmla="*/ 1019175 h 4496940"/>
              <a:gd name="connsiteX28" fmla="*/ 4192927 w 4519987"/>
              <a:gd name="connsiteY28" fmla="*/ 1057275 h 4496940"/>
              <a:gd name="connsiteX29" fmla="*/ 4202452 w 4519987"/>
              <a:gd name="connsiteY29" fmla="*/ 1085850 h 4496940"/>
              <a:gd name="connsiteX30" fmla="*/ 4250077 w 4519987"/>
              <a:gd name="connsiteY30" fmla="*/ 1143000 h 4496940"/>
              <a:gd name="connsiteX31" fmla="*/ 4259602 w 4519987"/>
              <a:gd name="connsiteY31" fmla="*/ 1190625 h 4496940"/>
              <a:gd name="connsiteX32" fmla="*/ 4307227 w 4519987"/>
              <a:gd name="connsiteY32" fmla="*/ 1266825 h 4496940"/>
              <a:gd name="connsiteX33" fmla="*/ 4345327 w 4519987"/>
              <a:gd name="connsiteY33" fmla="*/ 1362075 h 4496940"/>
              <a:gd name="connsiteX34" fmla="*/ 4373902 w 4519987"/>
              <a:gd name="connsiteY34" fmla="*/ 1428750 h 4496940"/>
              <a:gd name="connsiteX35" fmla="*/ 4392952 w 4519987"/>
              <a:gd name="connsiteY35" fmla="*/ 1552575 h 4496940"/>
              <a:gd name="connsiteX36" fmla="*/ 4402477 w 4519987"/>
              <a:gd name="connsiteY36" fmla="*/ 1590675 h 4496940"/>
              <a:gd name="connsiteX37" fmla="*/ 4431052 w 4519987"/>
              <a:gd name="connsiteY37" fmla="*/ 1685925 h 4496940"/>
              <a:gd name="connsiteX38" fmla="*/ 4519952 w 4519987"/>
              <a:gd name="connsiteY38" fmla="*/ 2181225 h 4496940"/>
              <a:gd name="connsiteX39" fmla="*/ 4446927 w 4519987"/>
              <a:gd name="connsiteY39" fmla="*/ 2768600 h 4496940"/>
              <a:gd name="connsiteX40" fmla="*/ 4383427 w 4519987"/>
              <a:gd name="connsiteY40" fmla="*/ 2990850 h 4496940"/>
              <a:gd name="connsiteX41" fmla="*/ 4278652 w 4519987"/>
              <a:gd name="connsiteY41" fmla="*/ 3248025 h 4496940"/>
              <a:gd name="connsiteX42" fmla="*/ 4259602 w 4519987"/>
              <a:gd name="connsiteY42" fmla="*/ 3276600 h 4496940"/>
              <a:gd name="connsiteX43" fmla="*/ 4221502 w 4519987"/>
              <a:gd name="connsiteY43" fmla="*/ 3333750 h 4496940"/>
              <a:gd name="connsiteX44" fmla="*/ 4211977 w 4519987"/>
              <a:gd name="connsiteY44" fmla="*/ 3362325 h 4496940"/>
              <a:gd name="connsiteX45" fmla="*/ 4183402 w 4519987"/>
              <a:gd name="connsiteY45" fmla="*/ 3400425 h 4496940"/>
              <a:gd name="connsiteX46" fmla="*/ 4164352 w 4519987"/>
              <a:gd name="connsiteY46" fmla="*/ 3429000 h 4496940"/>
              <a:gd name="connsiteX47" fmla="*/ 4088152 w 4519987"/>
              <a:gd name="connsiteY47" fmla="*/ 3495675 h 4496940"/>
              <a:gd name="connsiteX48" fmla="*/ 4059577 w 4519987"/>
              <a:gd name="connsiteY48" fmla="*/ 3533775 h 4496940"/>
              <a:gd name="connsiteX49" fmla="*/ 4002427 w 4519987"/>
              <a:gd name="connsiteY49" fmla="*/ 3600450 h 4496940"/>
              <a:gd name="connsiteX50" fmla="*/ 3983377 w 4519987"/>
              <a:gd name="connsiteY50" fmla="*/ 3629025 h 4496940"/>
              <a:gd name="connsiteX51" fmla="*/ 3954802 w 4519987"/>
              <a:gd name="connsiteY51" fmla="*/ 3648075 h 4496940"/>
              <a:gd name="connsiteX52" fmla="*/ 3907177 w 4519987"/>
              <a:gd name="connsiteY52" fmla="*/ 3686175 h 4496940"/>
              <a:gd name="connsiteX53" fmla="*/ 3869077 w 4519987"/>
              <a:gd name="connsiteY53" fmla="*/ 3724275 h 4496940"/>
              <a:gd name="connsiteX54" fmla="*/ 3792877 w 4519987"/>
              <a:gd name="connsiteY54" fmla="*/ 3781425 h 4496940"/>
              <a:gd name="connsiteX55" fmla="*/ 3783352 w 4519987"/>
              <a:gd name="connsiteY55" fmla="*/ 3810000 h 4496940"/>
              <a:gd name="connsiteX56" fmla="*/ 3745252 w 4519987"/>
              <a:gd name="connsiteY56" fmla="*/ 3819525 h 4496940"/>
              <a:gd name="connsiteX57" fmla="*/ 3678577 w 4519987"/>
              <a:gd name="connsiteY57" fmla="*/ 3848100 h 4496940"/>
              <a:gd name="connsiteX58" fmla="*/ 3659527 w 4519987"/>
              <a:gd name="connsiteY58" fmla="*/ 3971925 h 4496940"/>
              <a:gd name="connsiteX59" fmla="*/ 3630952 w 4519987"/>
              <a:gd name="connsiteY59" fmla="*/ 4010025 h 4496940"/>
              <a:gd name="connsiteX60" fmla="*/ 3621427 w 4519987"/>
              <a:gd name="connsiteY60" fmla="*/ 4038600 h 4496940"/>
              <a:gd name="connsiteX61" fmla="*/ 3554752 w 4519987"/>
              <a:gd name="connsiteY61" fmla="*/ 4095750 h 4496940"/>
              <a:gd name="connsiteX62" fmla="*/ 3516652 w 4519987"/>
              <a:gd name="connsiteY62" fmla="*/ 4114800 h 4496940"/>
              <a:gd name="connsiteX63" fmla="*/ 3497602 w 4519987"/>
              <a:gd name="connsiteY63" fmla="*/ 4143375 h 4496940"/>
              <a:gd name="connsiteX64" fmla="*/ 3383302 w 4519987"/>
              <a:gd name="connsiteY64" fmla="*/ 4210050 h 4496940"/>
              <a:gd name="connsiteX65" fmla="*/ 3335677 w 4519987"/>
              <a:gd name="connsiteY65" fmla="*/ 4238625 h 4496940"/>
              <a:gd name="connsiteX66" fmla="*/ 3288052 w 4519987"/>
              <a:gd name="connsiteY66" fmla="*/ 4248150 h 4496940"/>
              <a:gd name="connsiteX67" fmla="*/ 3240427 w 4519987"/>
              <a:gd name="connsiteY67" fmla="*/ 4267200 h 4496940"/>
              <a:gd name="connsiteX68" fmla="*/ 3068977 w 4519987"/>
              <a:gd name="connsiteY68" fmla="*/ 4286250 h 4496940"/>
              <a:gd name="connsiteX69" fmla="*/ 2935627 w 4519987"/>
              <a:gd name="connsiteY69" fmla="*/ 4333875 h 4496940"/>
              <a:gd name="connsiteX70" fmla="*/ 2811802 w 4519987"/>
              <a:gd name="connsiteY70" fmla="*/ 4371975 h 4496940"/>
              <a:gd name="connsiteX71" fmla="*/ 2745127 w 4519987"/>
              <a:gd name="connsiteY71" fmla="*/ 4410075 h 4496940"/>
              <a:gd name="connsiteX72" fmla="*/ 2697502 w 4519987"/>
              <a:gd name="connsiteY72" fmla="*/ 4429125 h 4496940"/>
              <a:gd name="connsiteX73" fmla="*/ 2640352 w 4519987"/>
              <a:gd name="connsiteY73" fmla="*/ 4457700 h 4496940"/>
              <a:gd name="connsiteX74" fmla="*/ 2583202 w 4519987"/>
              <a:gd name="connsiteY74" fmla="*/ 4467225 h 4496940"/>
              <a:gd name="connsiteX75" fmla="*/ 2545102 w 4519987"/>
              <a:gd name="connsiteY75" fmla="*/ 4486275 h 4496940"/>
              <a:gd name="connsiteX76" fmla="*/ 2306977 w 4519987"/>
              <a:gd name="connsiteY76" fmla="*/ 4476750 h 4496940"/>
              <a:gd name="connsiteX77" fmla="*/ 2202202 w 4519987"/>
              <a:gd name="connsiteY77" fmla="*/ 4457700 h 4496940"/>
              <a:gd name="connsiteX78" fmla="*/ 2126002 w 4519987"/>
              <a:gd name="connsiteY78" fmla="*/ 4429125 h 4496940"/>
              <a:gd name="connsiteX79" fmla="*/ 1935502 w 4519987"/>
              <a:gd name="connsiteY79" fmla="*/ 4400550 h 4496940"/>
              <a:gd name="connsiteX80" fmla="*/ 1821202 w 4519987"/>
              <a:gd name="connsiteY80" fmla="*/ 4371975 h 4496940"/>
              <a:gd name="connsiteX81" fmla="*/ 1754527 w 4519987"/>
              <a:gd name="connsiteY81" fmla="*/ 4352925 h 4496940"/>
              <a:gd name="connsiteX82" fmla="*/ 1687852 w 4519987"/>
              <a:gd name="connsiteY82" fmla="*/ 4343400 h 4496940"/>
              <a:gd name="connsiteX83" fmla="*/ 1573552 w 4519987"/>
              <a:gd name="connsiteY83" fmla="*/ 4305300 h 4496940"/>
              <a:gd name="connsiteX84" fmla="*/ 1402102 w 4519987"/>
              <a:gd name="connsiteY84" fmla="*/ 4276725 h 4496940"/>
              <a:gd name="connsiteX85" fmla="*/ 1287802 w 4519987"/>
              <a:gd name="connsiteY85" fmla="*/ 4229100 h 4496940"/>
              <a:gd name="connsiteX86" fmla="*/ 1221127 w 4519987"/>
              <a:gd name="connsiteY86" fmla="*/ 4200525 h 4496940"/>
              <a:gd name="connsiteX87" fmla="*/ 1144927 w 4519987"/>
              <a:gd name="connsiteY87" fmla="*/ 4171950 h 4496940"/>
              <a:gd name="connsiteX88" fmla="*/ 1087777 w 4519987"/>
              <a:gd name="connsiteY88" fmla="*/ 4143375 h 4496940"/>
              <a:gd name="connsiteX89" fmla="*/ 1030627 w 4519987"/>
              <a:gd name="connsiteY89" fmla="*/ 4124325 h 4496940"/>
              <a:gd name="connsiteX90" fmla="*/ 925852 w 4519987"/>
              <a:gd name="connsiteY90" fmla="*/ 4067175 h 4496940"/>
              <a:gd name="connsiteX91" fmla="*/ 830602 w 4519987"/>
              <a:gd name="connsiteY91" fmla="*/ 3981450 h 4496940"/>
              <a:gd name="connsiteX92" fmla="*/ 763927 w 4519987"/>
              <a:gd name="connsiteY92" fmla="*/ 3914775 h 4496940"/>
              <a:gd name="connsiteX93" fmla="*/ 725827 w 4519987"/>
              <a:gd name="connsiteY93" fmla="*/ 3876675 h 4496940"/>
              <a:gd name="connsiteX94" fmla="*/ 697252 w 4519987"/>
              <a:gd name="connsiteY94" fmla="*/ 3838575 h 4496940"/>
              <a:gd name="connsiteX95" fmla="*/ 640102 w 4519987"/>
              <a:gd name="connsiteY95" fmla="*/ 3781425 h 4496940"/>
              <a:gd name="connsiteX96" fmla="*/ 611527 w 4519987"/>
              <a:gd name="connsiteY96" fmla="*/ 3733800 h 4496940"/>
              <a:gd name="connsiteX97" fmla="*/ 554377 w 4519987"/>
              <a:gd name="connsiteY97" fmla="*/ 3657600 h 4496940"/>
              <a:gd name="connsiteX98" fmla="*/ 525802 w 4519987"/>
              <a:gd name="connsiteY98" fmla="*/ 3609975 h 4496940"/>
              <a:gd name="connsiteX99" fmla="*/ 497227 w 4519987"/>
              <a:gd name="connsiteY99" fmla="*/ 3552825 h 4496940"/>
              <a:gd name="connsiteX100" fmla="*/ 440077 w 4519987"/>
              <a:gd name="connsiteY100" fmla="*/ 3495675 h 4496940"/>
              <a:gd name="connsiteX101" fmla="*/ 411502 w 4519987"/>
              <a:gd name="connsiteY101" fmla="*/ 3448050 h 4496940"/>
              <a:gd name="connsiteX102" fmla="*/ 278152 w 4519987"/>
              <a:gd name="connsiteY102" fmla="*/ 3257550 h 4496940"/>
              <a:gd name="connsiteX103" fmla="*/ 249577 w 4519987"/>
              <a:gd name="connsiteY103" fmla="*/ 3200400 h 4496940"/>
              <a:gd name="connsiteX104" fmla="*/ 240052 w 4519987"/>
              <a:gd name="connsiteY104" fmla="*/ 3162300 h 4496940"/>
              <a:gd name="connsiteX105" fmla="*/ 221002 w 4519987"/>
              <a:gd name="connsiteY105" fmla="*/ 3105150 h 4496940"/>
              <a:gd name="connsiteX106" fmla="*/ 173377 w 4519987"/>
              <a:gd name="connsiteY106" fmla="*/ 3019425 h 4496940"/>
              <a:gd name="connsiteX107" fmla="*/ 144802 w 4519987"/>
              <a:gd name="connsiteY107" fmla="*/ 2924175 h 4496940"/>
              <a:gd name="connsiteX108" fmla="*/ 68602 w 4519987"/>
              <a:gd name="connsiteY108" fmla="*/ 2724150 h 4496940"/>
              <a:gd name="connsiteX109" fmla="*/ 49552 w 4519987"/>
              <a:gd name="connsiteY109" fmla="*/ 2638425 h 4496940"/>
              <a:gd name="connsiteX110" fmla="*/ 40027 w 4519987"/>
              <a:gd name="connsiteY110" fmla="*/ 2562225 h 4496940"/>
              <a:gd name="connsiteX111" fmla="*/ 30502 w 4519987"/>
              <a:gd name="connsiteY111" fmla="*/ 2514600 h 4496940"/>
              <a:gd name="connsiteX112" fmla="*/ 11452 w 4519987"/>
              <a:gd name="connsiteY112" fmla="*/ 2400300 h 4496940"/>
              <a:gd name="connsiteX113" fmla="*/ 20977 w 4519987"/>
              <a:gd name="connsiteY113" fmla="*/ 1905000 h 4496940"/>
              <a:gd name="connsiteX114" fmla="*/ 30502 w 4519987"/>
              <a:gd name="connsiteY114" fmla="*/ 1838325 h 4496940"/>
              <a:gd name="connsiteX115" fmla="*/ 49552 w 4519987"/>
              <a:gd name="connsiteY115" fmla="*/ 1781175 h 4496940"/>
              <a:gd name="connsiteX116" fmla="*/ 59077 w 4519987"/>
              <a:gd name="connsiteY116" fmla="*/ 1743075 h 4496940"/>
              <a:gd name="connsiteX117" fmla="*/ 78127 w 4519987"/>
              <a:gd name="connsiteY117" fmla="*/ 1685925 h 4496940"/>
              <a:gd name="connsiteX118" fmla="*/ 87652 w 4519987"/>
              <a:gd name="connsiteY118" fmla="*/ 1638300 h 4496940"/>
              <a:gd name="connsiteX119" fmla="*/ 106702 w 4519987"/>
              <a:gd name="connsiteY119" fmla="*/ 1590675 h 4496940"/>
              <a:gd name="connsiteX120" fmla="*/ 135277 w 4519987"/>
              <a:gd name="connsiteY120" fmla="*/ 1504950 h 4496940"/>
              <a:gd name="connsiteX121" fmla="*/ 154327 w 4519987"/>
              <a:gd name="connsiteY121" fmla="*/ 1419225 h 4496940"/>
              <a:gd name="connsiteX122" fmla="*/ 230527 w 4519987"/>
              <a:gd name="connsiteY122" fmla="*/ 1276350 h 4496940"/>
              <a:gd name="connsiteX123" fmla="*/ 240052 w 4519987"/>
              <a:gd name="connsiteY123" fmla="*/ 1247775 h 4496940"/>
              <a:gd name="connsiteX124" fmla="*/ 268627 w 4519987"/>
              <a:gd name="connsiteY124" fmla="*/ 1200150 h 4496940"/>
              <a:gd name="connsiteX125" fmla="*/ 287677 w 4519987"/>
              <a:gd name="connsiteY125" fmla="*/ 1152525 h 4496940"/>
              <a:gd name="connsiteX126" fmla="*/ 316252 w 4519987"/>
              <a:gd name="connsiteY126" fmla="*/ 1114425 h 4496940"/>
              <a:gd name="connsiteX127" fmla="*/ 363877 w 4519987"/>
              <a:gd name="connsiteY127" fmla="*/ 1038225 h 4496940"/>
              <a:gd name="connsiteX128" fmla="*/ 382927 w 4519987"/>
              <a:gd name="connsiteY128" fmla="*/ 1009650 h 4496940"/>
              <a:gd name="connsiteX129" fmla="*/ 440077 w 4519987"/>
              <a:gd name="connsiteY129" fmla="*/ 904875 h 4496940"/>
              <a:gd name="connsiteX130" fmla="*/ 478177 w 4519987"/>
              <a:gd name="connsiteY130" fmla="*/ 857250 h 4496940"/>
              <a:gd name="connsiteX131" fmla="*/ 497227 w 4519987"/>
              <a:gd name="connsiteY131" fmla="*/ 828675 h 4496940"/>
              <a:gd name="connsiteX132" fmla="*/ 535327 w 4519987"/>
              <a:gd name="connsiteY132" fmla="*/ 800100 h 4496940"/>
              <a:gd name="connsiteX133" fmla="*/ 602002 w 4519987"/>
              <a:gd name="connsiteY133" fmla="*/ 733425 h 4496940"/>
              <a:gd name="connsiteX134" fmla="*/ 668677 w 4519987"/>
              <a:gd name="connsiteY134" fmla="*/ 676275 h 4496940"/>
              <a:gd name="connsiteX135" fmla="*/ 697252 w 4519987"/>
              <a:gd name="connsiteY135" fmla="*/ 657225 h 4496940"/>
              <a:gd name="connsiteX136" fmla="*/ 840127 w 4519987"/>
              <a:gd name="connsiteY136" fmla="*/ 533400 h 4496940"/>
              <a:gd name="connsiteX137" fmla="*/ 887752 w 4519987"/>
              <a:gd name="connsiteY137" fmla="*/ 504825 h 4496940"/>
              <a:gd name="connsiteX138" fmla="*/ 1167152 w 4519987"/>
              <a:gd name="connsiteY138" fmla="*/ 311150 h 4496940"/>
              <a:gd name="connsiteX139" fmla="*/ 1268752 w 4519987"/>
              <a:gd name="connsiteY139" fmla="*/ 285750 h 4496940"/>
              <a:gd name="connsiteX140" fmla="*/ 1411627 w 4519987"/>
              <a:gd name="connsiteY140" fmla="*/ 190500 h 4496940"/>
              <a:gd name="connsiteX141" fmla="*/ 1449727 w 4519987"/>
              <a:gd name="connsiteY141" fmla="*/ 161925 h 4496940"/>
              <a:gd name="connsiteX142" fmla="*/ 1525927 w 4519987"/>
              <a:gd name="connsiteY142" fmla="*/ 152400 h 4496940"/>
              <a:gd name="connsiteX143" fmla="*/ 1583077 w 4519987"/>
              <a:gd name="connsiteY143" fmla="*/ 142875 h 4496940"/>
              <a:gd name="connsiteX144" fmla="*/ 1716427 w 4519987"/>
              <a:gd name="connsiteY144" fmla="*/ 123825 h 4496940"/>
              <a:gd name="connsiteX145" fmla="*/ 1811677 w 4519987"/>
              <a:gd name="connsiteY145" fmla="*/ 114300 h 4496940"/>
              <a:gd name="connsiteX146" fmla="*/ 1859302 w 4519987"/>
              <a:gd name="connsiteY146" fmla="*/ 104775 h 4496940"/>
              <a:gd name="connsiteX147" fmla="*/ 1916452 w 4519987"/>
              <a:gd name="connsiteY147" fmla="*/ 95250 h 4496940"/>
              <a:gd name="connsiteX148" fmla="*/ 2030752 w 4519987"/>
              <a:gd name="connsiteY148" fmla="*/ 66675 h 4496940"/>
              <a:gd name="connsiteX149" fmla="*/ 2097427 w 4519987"/>
              <a:gd name="connsiteY149" fmla="*/ 47625 h 4496940"/>
              <a:gd name="connsiteX150" fmla="*/ 2164102 w 4519987"/>
              <a:gd name="connsiteY150" fmla="*/ 38100 h 4496940"/>
              <a:gd name="connsiteX151" fmla="*/ 2392702 w 4519987"/>
              <a:gd name="connsiteY15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3907177 w 4519987"/>
              <a:gd name="connsiteY21" fmla="*/ 647700 h 4496940"/>
              <a:gd name="connsiteX22" fmla="*/ 3935752 w 4519987"/>
              <a:gd name="connsiteY22" fmla="*/ 676275 h 4496940"/>
              <a:gd name="connsiteX23" fmla="*/ 4078627 w 4519987"/>
              <a:gd name="connsiteY23" fmla="*/ 838200 h 4496940"/>
              <a:gd name="connsiteX24" fmla="*/ 4135777 w 4519987"/>
              <a:gd name="connsiteY24" fmla="*/ 933450 h 4496940"/>
              <a:gd name="connsiteX25" fmla="*/ 4164352 w 4519987"/>
              <a:gd name="connsiteY25" fmla="*/ 990600 h 4496940"/>
              <a:gd name="connsiteX26" fmla="*/ 4173877 w 4519987"/>
              <a:gd name="connsiteY26" fmla="*/ 1019175 h 4496940"/>
              <a:gd name="connsiteX27" fmla="*/ 4192927 w 4519987"/>
              <a:gd name="connsiteY27" fmla="*/ 1057275 h 4496940"/>
              <a:gd name="connsiteX28" fmla="*/ 4202452 w 4519987"/>
              <a:gd name="connsiteY28" fmla="*/ 1085850 h 4496940"/>
              <a:gd name="connsiteX29" fmla="*/ 4250077 w 4519987"/>
              <a:gd name="connsiteY29" fmla="*/ 1143000 h 4496940"/>
              <a:gd name="connsiteX30" fmla="*/ 4259602 w 4519987"/>
              <a:gd name="connsiteY30" fmla="*/ 1190625 h 4496940"/>
              <a:gd name="connsiteX31" fmla="*/ 4307227 w 4519987"/>
              <a:gd name="connsiteY31" fmla="*/ 1266825 h 4496940"/>
              <a:gd name="connsiteX32" fmla="*/ 4345327 w 4519987"/>
              <a:gd name="connsiteY32" fmla="*/ 1362075 h 4496940"/>
              <a:gd name="connsiteX33" fmla="*/ 4373902 w 4519987"/>
              <a:gd name="connsiteY33" fmla="*/ 1428750 h 4496940"/>
              <a:gd name="connsiteX34" fmla="*/ 4392952 w 4519987"/>
              <a:gd name="connsiteY34" fmla="*/ 1552575 h 4496940"/>
              <a:gd name="connsiteX35" fmla="*/ 4402477 w 4519987"/>
              <a:gd name="connsiteY35" fmla="*/ 1590675 h 4496940"/>
              <a:gd name="connsiteX36" fmla="*/ 4431052 w 4519987"/>
              <a:gd name="connsiteY36" fmla="*/ 1685925 h 4496940"/>
              <a:gd name="connsiteX37" fmla="*/ 4519952 w 4519987"/>
              <a:gd name="connsiteY37" fmla="*/ 2181225 h 4496940"/>
              <a:gd name="connsiteX38" fmla="*/ 4446927 w 4519987"/>
              <a:gd name="connsiteY38" fmla="*/ 2768600 h 4496940"/>
              <a:gd name="connsiteX39" fmla="*/ 4383427 w 4519987"/>
              <a:gd name="connsiteY39" fmla="*/ 2990850 h 4496940"/>
              <a:gd name="connsiteX40" fmla="*/ 4278652 w 4519987"/>
              <a:gd name="connsiteY40" fmla="*/ 3248025 h 4496940"/>
              <a:gd name="connsiteX41" fmla="*/ 4259602 w 4519987"/>
              <a:gd name="connsiteY41" fmla="*/ 3276600 h 4496940"/>
              <a:gd name="connsiteX42" fmla="*/ 4221502 w 4519987"/>
              <a:gd name="connsiteY42" fmla="*/ 3333750 h 4496940"/>
              <a:gd name="connsiteX43" fmla="*/ 4211977 w 4519987"/>
              <a:gd name="connsiteY43" fmla="*/ 3362325 h 4496940"/>
              <a:gd name="connsiteX44" fmla="*/ 4183402 w 4519987"/>
              <a:gd name="connsiteY44" fmla="*/ 3400425 h 4496940"/>
              <a:gd name="connsiteX45" fmla="*/ 4164352 w 4519987"/>
              <a:gd name="connsiteY45" fmla="*/ 3429000 h 4496940"/>
              <a:gd name="connsiteX46" fmla="*/ 4088152 w 4519987"/>
              <a:gd name="connsiteY46" fmla="*/ 3495675 h 4496940"/>
              <a:gd name="connsiteX47" fmla="*/ 4059577 w 4519987"/>
              <a:gd name="connsiteY47" fmla="*/ 3533775 h 4496940"/>
              <a:gd name="connsiteX48" fmla="*/ 4002427 w 4519987"/>
              <a:gd name="connsiteY48" fmla="*/ 3600450 h 4496940"/>
              <a:gd name="connsiteX49" fmla="*/ 3983377 w 4519987"/>
              <a:gd name="connsiteY49" fmla="*/ 3629025 h 4496940"/>
              <a:gd name="connsiteX50" fmla="*/ 3954802 w 4519987"/>
              <a:gd name="connsiteY50" fmla="*/ 3648075 h 4496940"/>
              <a:gd name="connsiteX51" fmla="*/ 3907177 w 4519987"/>
              <a:gd name="connsiteY51" fmla="*/ 3686175 h 4496940"/>
              <a:gd name="connsiteX52" fmla="*/ 3869077 w 4519987"/>
              <a:gd name="connsiteY52" fmla="*/ 3724275 h 4496940"/>
              <a:gd name="connsiteX53" fmla="*/ 3792877 w 4519987"/>
              <a:gd name="connsiteY53" fmla="*/ 3781425 h 4496940"/>
              <a:gd name="connsiteX54" fmla="*/ 3783352 w 4519987"/>
              <a:gd name="connsiteY54" fmla="*/ 3810000 h 4496940"/>
              <a:gd name="connsiteX55" fmla="*/ 3745252 w 4519987"/>
              <a:gd name="connsiteY55" fmla="*/ 3819525 h 4496940"/>
              <a:gd name="connsiteX56" fmla="*/ 3678577 w 4519987"/>
              <a:gd name="connsiteY56" fmla="*/ 3848100 h 4496940"/>
              <a:gd name="connsiteX57" fmla="*/ 3659527 w 4519987"/>
              <a:gd name="connsiteY57" fmla="*/ 3971925 h 4496940"/>
              <a:gd name="connsiteX58" fmla="*/ 3630952 w 4519987"/>
              <a:gd name="connsiteY58" fmla="*/ 4010025 h 4496940"/>
              <a:gd name="connsiteX59" fmla="*/ 3621427 w 4519987"/>
              <a:gd name="connsiteY59" fmla="*/ 4038600 h 4496940"/>
              <a:gd name="connsiteX60" fmla="*/ 3554752 w 4519987"/>
              <a:gd name="connsiteY60" fmla="*/ 4095750 h 4496940"/>
              <a:gd name="connsiteX61" fmla="*/ 3516652 w 4519987"/>
              <a:gd name="connsiteY61" fmla="*/ 4114800 h 4496940"/>
              <a:gd name="connsiteX62" fmla="*/ 3497602 w 4519987"/>
              <a:gd name="connsiteY62" fmla="*/ 4143375 h 4496940"/>
              <a:gd name="connsiteX63" fmla="*/ 3383302 w 4519987"/>
              <a:gd name="connsiteY63" fmla="*/ 4210050 h 4496940"/>
              <a:gd name="connsiteX64" fmla="*/ 3335677 w 4519987"/>
              <a:gd name="connsiteY64" fmla="*/ 4238625 h 4496940"/>
              <a:gd name="connsiteX65" fmla="*/ 3288052 w 4519987"/>
              <a:gd name="connsiteY65" fmla="*/ 4248150 h 4496940"/>
              <a:gd name="connsiteX66" fmla="*/ 3240427 w 4519987"/>
              <a:gd name="connsiteY66" fmla="*/ 4267200 h 4496940"/>
              <a:gd name="connsiteX67" fmla="*/ 3068977 w 4519987"/>
              <a:gd name="connsiteY67" fmla="*/ 4286250 h 4496940"/>
              <a:gd name="connsiteX68" fmla="*/ 2935627 w 4519987"/>
              <a:gd name="connsiteY68" fmla="*/ 4333875 h 4496940"/>
              <a:gd name="connsiteX69" fmla="*/ 2811802 w 4519987"/>
              <a:gd name="connsiteY69" fmla="*/ 4371975 h 4496940"/>
              <a:gd name="connsiteX70" fmla="*/ 2745127 w 4519987"/>
              <a:gd name="connsiteY70" fmla="*/ 4410075 h 4496940"/>
              <a:gd name="connsiteX71" fmla="*/ 2697502 w 4519987"/>
              <a:gd name="connsiteY71" fmla="*/ 4429125 h 4496940"/>
              <a:gd name="connsiteX72" fmla="*/ 2640352 w 4519987"/>
              <a:gd name="connsiteY72" fmla="*/ 4457700 h 4496940"/>
              <a:gd name="connsiteX73" fmla="*/ 2583202 w 4519987"/>
              <a:gd name="connsiteY73" fmla="*/ 4467225 h 4496940"/>
              <a:gd name="connsiteX74" fmla="*/ 2545102 w 4519987"/>
              <a:gd name="connsiteY74" fmla="*/ 4486275 h 4496940"/>
              <a:gd name="connsiteX75" fmla="*/ 2306977 w 4519987"/>
              <a:gd name="connsiteY75" fmla="*/ 4476750 h 4496940"/>
              <a:gd name="connsiteX76" fmla="*/ 2202202 w 4519987"/>
              <a:gd name="connsiteY76" fmla="*/ 4457700 h 4496940"/>
              <a:gd name="connsiteX77" fmla="*/ 2126002 w 4519987"/>
              <a:gd name="connsiteY77" fmla="*/ 4429125 h 4496940"/>
              <a:gd name="connsiteX78" fmla="*/ 1935502 w 4519987"/>
              <a:gd name="connsiteY78" fmla="*/ 4400550 h 4496940"/>
              <a:gd name="connsiteX79" fmla="*/ 1821202 w 4519987"/>
              <a:gd name="connsiteY79" fmla="*/ 4371975 h 4496940"/>
              <a:gd name="connsiteX80" fmla="*/ 1754527 w 4519987"/>
              <a:gd name="connsiteY80" fmla="*/ 4352925 h 4496940"/>
              <a:gd name="connsiteX81" fmla="*/ 1687852 w 4519987"/>
              <a:gd name="connsiteY81" fmla="*/ 4343400 h 4496940"/>
              <a:gd name="connsiteX82" fmla="*/ 1573552 w 4519987"/>
              <a:gd name="connsiteY82" fmla="*/ 4305300 h 4496940"/>
              <a:gd name="connsiteX83" fmla="*/ 1402102 w 4519987"/>
              <a:gd name="connsiteY83" fmla="*/ 4276725 h 4496940"/>
              <a:gd name="connsiteX84" fmla="*/ 1287802 w 4519987"/>
              <a:gd name="connsiteY84" fmla="*/ 4229100 h 4496940"/>
              <a:gd name="connsiteX85" fmla="*/ 1221127 w 4519987"/>
              <a:gd name="connsiteY85" fmla="*/ 4200525 h 4496940"/>
              <a:gd name="connsiteX86" fmla="*/ 1144927 w 4519987"/>
              <a:gd name="connsiteY86" fmla="*/ 4171950 h 4496940"/>
              <a:gd name="connsiteX87" fmla="*/ 1087777 w 4519987"/>
              <a:gd name="connsiteY87" fmla="*/ 4143375 h 4496940"/>
              <a:gd name="connsiteX88" fmla="*/ 1030627 w 4519987"/>
              <a:gd name="connsiteY88" fmla="*/ 4124325 h 4496940"/>
              <a:gd name="connsiteX89" fmla="*/ 925852 w 4519987"/>
              <a:gd name="connsiteY89" fmla="*/ 4067175 h 4496940"/>
              <a:gd name="connsiteX90" fmla="*/ 830602 w 4519987"/>
              <a:gd name="connsiteY90" fmla="*/ 3981450 h 4496940"/>
              <a:gd name="connsiteX91" fmla="*/ 763927 w 4519987"/>
              <a:gd name="connsiteY91" fmla="*/ 3914775 h 4496940"/>
              <a:gd name="connsiteX92" fmla="*/ 725827 w 4519987"/>
              <a:gd name="connsiteY92" fmla="*/ 3876675 h 4496940"/>
              <a:gd name="connsiteX93" fmla="*/ 697252 w 4519987"/>
              <a:gd name="connsiteY93" fmla="*/ 3838575 h 4496940"/>
              <a:gd name="connsiteX94" fmla="*/ 640102 w 4519987"/>
              <a:gd name="connsiteY94" fmla="*/ 3781425 h 4496940"/>
              <a:gd name="connsiteX95" fmla="*/ 611527 w 4519987"/>
              <a:gd name="connsiteY95" fmla="*/ 3733800 h 4496940"/>
              <a:gd name="connsiteX96" fmla="*/ 554377 w 4519987"/>
              <a:gd name="connsiteY96" fmla="*/ 3657600 h 4496940"/>
              <a:gd name="connsiteX97" fmla="*/ 525802 w 4519987"/>
              <a:gd name="connsiteY97" fmla="*/ 3609975 h 4496940"/>
              <a:gd name="connsiteX98" fmla="*/ 497227 w 4519987"/>
              <a:gd name="connsiteY98" fmla="*/ 3552825 h 4496940"/>
              <a:gd name="connsiteX99" fmla="*/ 440077 w 4519987"/>
              <a:gd name="connsiteY99" fmla="*/ 3495675 h 4496940"/>
              <a:gd name="connsiteX100" fmla="*/ 411502 w 4519987"/>
              <a:gd name="connsiteY100" fmla="*/ 3448050 h 4496940"/>
              <a:gd name="connsiteX101" fmla="*/ 278152 w 4519987"/>
              <a:gd name="connsiteY101" fmla="*/ 3257550 h 4496940"/>
              <a:gd name="connsiteX102" fmla="*/ 249577 w 4519987"/>
              <a:gd name="connsiteY102" fmla="*/ 3200400 h 4496940"/>
              <a:gd name="connsiteX103" fmla="*/ 240052 w 4519987"/>
              <a:gd name="connsiteY103" fmla="*/ 3162300 h 4496940"/>
              <a:gd name="connsiteX104" fmla="*/ 221002 w 4519987"/>
              <a:gd name="connsiteY104" fmla="*/ 3105150 h 4496940"/>
              <a:gd name="connsiteX105" fmla="*/ 173377 w 4519987"/>
              <a:gd name="connsiteY105" fmla="*/ 3019425 h 4496940"/>
              <a:gd name="connsiteX106" fmla="*/ 144802 w 4519987"/>
              <a:gd name="connsiteY106" fmla="*/ 2924175 h 4496940"/>
              <a:gd name="connsiteX107" fmla="*/ 68602 w 4519987"/>
              <a:gd name="connsiteY107" fmla="*/ 2724150 h 4496940"/>
              <a:gd name="connsiteX108" fmla="*/ 49552 w 4519987"/>
              <a:gd name="connsiteY108" fmla="*/ 2638425 h 4496940"/>
              <a:gd name="connsiteX109" fmla="*/ 40027 w 4519987"/>
              <a:gd name="connsiteY109" fmla="*/ 2562225 h 4496940"/>
              <a:gd name="connsiteX110" fmla="*/ 30502 w 4519987"/>
              <a:gd name="connsiteY110" fmla="*/ 2514600 h 4496940"/>
              <a:gd name="connsiteX111" fmla="*/ 11452 w 4519987"/>
              <a:gd name="connsiteY111" fmla="*/ 2400300 h 4496940"/>
              <a:gd name="connsiteX112" fmla="*/ 20977 w 4519987"/>
              <a:gd name="connsiteY112" fmla="*/ 1905000 h 4496940"/>
              <a:gd name="connsiteX113" fmla="*/ 30502 w 4519987"/>
              <a:gd name="connsiteY113" fmla="*/ 1838325 h 4496940"/>
              <a:gd name="connsiteX114" fmla="*/ 49552 w 4519987"/>
              <a:gd name="connsiteY114" fmla="*/ 1781175 h 4496940"/>
              <a:gd name="connsiteX115" fmla="*/ 59077 w 4519987"/>
              <a:gd name="connsiteY115" fmla="*/ 1743075 h 4496940"/>
              <a:gd name="connsiteX116" fmla="*/ 78127 w 4519987"/>
              <a:gd name="connsiteY116" fmla="*/ 1685925 h 4496940"/>
              <a:gd name="connsiteX117" fmla="*/ 87652 w 4519987"/>
              <a:gd name="connsiteY117" fmla="*/ 1638300 h 4496940"/>
              <a:gd name="connsiteX118" fmla="*/ 106702 w 4519987"/>
              <a:gd name="connsiteY118" fmla="*/ 1590675 h 4496940"/>
              <a:gd name="connsiteX119" fmla="*/ 135277 w 4519987"/>
              <a:gd name="connsiteY119" fmla="*/ 1504950 h 4496940"/>
              <a:gd name="connsiteX120" fmla="*/ 154327 w 4519987"/>
              <a:gd name="connsiteY120" fmla="*/ 1419225 h 4496940"/>
              <a:gd name="connsiteX121" fmla="*/ 230527 w 4519987"/>
              <a:gd name="connsiteY121" fmla="*/ 1276350 h 4496940"/>
              <a:gd name="connsiteX122" fmla="*/ 240052 w 4519987"/>
              <a:gd name="connsiteY122" fmla="*/ 1247775 h 4496940"/>
              <a:gd name="connsiteX123" fmla="*/ 268627 w 4519987"/>
              <a:gd name="connsiteY123" fmla="*/ 1200150 h 4496940"/>
              <a:gd name="connsiteX124" fmla="*/ 287677 w 4519987"/>
              <a:gd name="connsiteY124" fmla="*/ 1152525 h 4496940"/>
              <a:gd name="connsiteX125" fmla="*/ 316252 w 4519987"/>
              <a:gd name="connsiteY125" fmla="*/ 1114425 h 4496940"/>
              <a:gd name="connsiteX126" fmla="*/ 363877 w 4519987"/>
              <a:gd name="connsiteY126" fmla="*/ 1038225 h 4496940"/>
              <a:gd name="connsiteX127" fmla="*/ 382927 w 4519987"/>
              <a:gd name="connsiteY127" fmla="*/ 1009650 h 4496940"/>
              <a:gd name="connsiteX128" fmla="*/ 440077 w 4519987"/>
              <a:gd name="connsiteY128" fmla="*/ 904875 h 4496940"/>
              <a:gd name="connsiteX129" fmla="*/ 478177 w 4519987"/>
              <a:gd name="connsiteY129" fmla="*/ 857250 h 4496940"/>
              <a:gd name="connsiteX130" fmla="*/ 497227 w 4519987"/>
              <a:gd name="connsiteY130" fmla="*/ 828675 h 4496940"/>
              <a:gd name="connsiteX131" fmla="*/ 535327 w 4519987"/>
              <a:gd name="connsiteY131" fmla="*/ 800100 h 4496940"/>
              <a:gd name="connsiteX132" fmla="*/ 602002 w 4519987"/>
              <a:gd name="connsiteY132" fmla="*/ 733425 h 4496940"/>
              <a:gd name="connsiteX133" fmla="*/ 668677 w 4519987"/>
              <a:gd name="connsiteY133" fmla="*/ 676275 h 4496940"/>
              <a:gd name="connsiteX134" fmla="*/ 697252 w 4519987"/>
              <a:gd name="connsiteY134" fmla="*/ 657225 h 4496940"/>
              <a:gd name="connsiteX135" fmla="*/ 840127 w 4519987"/>
              <a:gd name="connsiteY135" fmla="*/ 533400 h 4496940"/>
              <a:gd name="connsiteX136" fmla="*/ 887752 w 4519987"/>
              <a:gd name="connsiteY136" fmla="*/ 504825 h 4496940"/>
              <a:gd name="connsiteX137" fmla="*/ 1167152 w 4519987"/>
              <a:gd name="connsiteY137" fmla="*/ 311150 h 4496940"/>
              <a:gd name="connsiteX138" fmla="*/ 1268752 w 4519987"/>
              <a:gd name="connsiteY138" fmla="*/ 285750 h 4496940"/>
              <a:gd name="connsiteX139" fmla="*/ 1411627 w 4519987"/>
              <a:gd name="connsiteY139" fmla="*/ 190500 h 4496940"/>
              <a:gd name="connsiteX140" fmla="*/ 1449727 w 4519987"/>
              <a:gd name="connsiteY140" fmla="*/ 161925 h 4496940"/>
              <a:gd name="connsiteX141" fmla="*/ 1525927 w 4519987"/>
              <a:gd name="connsiteY141" fmla="*/ 152400 h 4496940"/>
              <a:gd name="connsiteX142" fmla="*/ 1583077 w 4519987"/>
              <a:gd name="connsiteY142" fmla="*/ 142875 h 4496940"/>
              <a:gd name="connsiteX143" fmla="*/ 1716427 w 4519987"/>
              <a:gd name="connsiteY143" fmla="*/ 123825 h 4496940"/>
              <a:gd name="connsiteX144" fmla="*/ 1811677 w 4519987"/>
              <a:gd name="connsiteY144" fmla="*/ 114300 h 4496940"/>
              <a:gd name="connsiteX145" fmla="*/ 1859302 w 4519987"/>
              <a:gd name="connsiteY145" fmla="*/ 104775 h 4496940"/>
              <a:gd name="connsiteX146" fmla="*/ 1916452 w 4519987"/>
              <a:gd name="connsiteY146" fmla="*/ 95250 h 4496940"/>
              <a:gd name="connsiteX147" fmla="*/ 2030752 w 4519987"/>
              <a:gd name="connsiteY147" fmla="*/ 66675 h 4496940"/>
              <a:gd name="connsiteX148" fmla="*/ 2097427 w 4519987"/>
              <a:gd name="connsiteY148" fmla="*/ 47625 h 4496940"/>
              <a:gd name="connsiteX149" fmla="*/ 2164102 w 4519987"/>
              <a:gd name="connsiteY149" fmla="*/ 38100 h 4496940"/>
              <a:gd name="connsiteX150" fmla="*/ 2392702 w 4519987"/>
              <a:gd name="connsiteY15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3907177 w 4519987"/>
              <a:gd name="connsiteY21" fmla="*/ 647700 h 4496940"/>
              <a:gd name="connsiteX22" fmla="*/ 4078627 w 4519987"/>
              <a:gd name="connsiteY22" fmla="*/ 838200 h 4496940"/>
              <a:gd name="connsiteX23" fmla="*/ 4135777 w 4519987"/>
              <a:gd name="connsiteY23" fmla="*/ 933450 h 4496940"/>
              <a:gd name="connsiteX24" fmla="*/ 4164352 w 4519987"/>
              <a:gd name="connsiteY24" fmla="*/ 990600 h 4496940"/>
              <a:gd name="connsiteX25" fmla="*/ 4173877 w 4519987"/>
              <a:gd name="connsiteY25" fmla="*/ 1019175 h 4496940"/>
              <a:gd name="connsiteX26" fmla="*/ 4192927 w 4519987"/>
              <a:gd name="connsiteY26" fmla="*/ 1057275 h 4496940"/>
              <a:gd name="connsiteX27" fmla="*/ 4202452 w 4519987"/>
              <a:gd name="connsiteY27" fmla="*/ 1085850 h 4496940"/>
              <a:gd name="connsiteX28" fmla="*/ 4250077 w 4519987"/>
              <a:gd name="connsiteY28" fmla="*/ 1143000 h 4496940"/>
              <a:gd name="connsiteX29" fmla="*/ 4259602 w 4519987"/>
              <a:gd name="connsiteY29" fmla="*/ 1190625 h 4496940"/>
              <a:gd name="connsiteX30" fmla="*/ 4307227 w 4519987"/>
              <a:gd name="connsiteY30" fmla="*/ 1266825 h 4496940"/>
              <a:gd name="connsiteX31" fmla="*/ 4345327 w 4519987"/>
              <a:gd name="connsiteY31" fmla="*/ 1362075 h 4496940"/>
              <a:gd name="connsiteX32" fmla="*/ 4373902 w 4519987"/>
              <a:gd name="connsiteY32" fmla="*/ 1428750 h 4496940"/>
              <a:gd name="connsiteX33" fmla="*/ 4392952 w 4519987"/>
              <a:gd name="connsiteY33" fmla="*/ 1552575 h 4496940"/>
              <a:gd name="connsiteX34" fmla="*/ 4402477 w 4519987"/>
              <a:gd name="connsiteY34" fmla="*/ 1590675 h 4496940"/>
              <a:gd name="connsiteX35" fmla="*/ 4431052 w 4519987"/>
              <a:gd name="connsiteY35" fmla="*/ 1685925 h 4496940"/>
              <a:gd name="connsiteX36" fmla="*/ 4519952 w 4519987"/>
              <a:gd name="connsiteY36" fmla="*/ 2181225 h 4496940"/>
              <a:gd name="connsiteX37" fmla="*/ 4446927 w 4519987"/>
              <a:gd name="connsiteY37" fmla="*/ 2768600 h 4496940"/>
              <a:gd name="connsiteX38" fmla="*/ 4383427 w 4519987"/>
              <a:gd name="connsiteY38" fmla="*/ 2990850 h 4496940"/>
              <a:gd name="connsiteX39" fmla="*/ 4278652 w 4519987"/>
              <a:gd name="connsiteY39" fmla="*/ 3248025 h 4496940"/>
              <a:gd name="connsiteX40" fmla="*/ 4259602 w 4519987"/>
              <a:gd name="connsiteY40" fmla="*/ 3276600 h 4496940"/>
              <a:gd name="connsiteX41" fmla="*/ 4221502 w 4519987"/>
              <a:gd name="connsiteY41" fmla="*/ 3333750 h 4496940"/>
              <a:gd name="connsiteX42" fmla="*/ 4211977 w 4519987"/>
              <a:gd name="connsiteY42" fmla="*/ 3362325 h 4496940"/>
              <a:gd name="connsiteX43" fmla="*/ 4183402 w 4519987"/>
              <a:gd name="connsiteY43" fmla="*/ 3400425 h 4496940"/>
              <a:gd name="connsiteX44" fmla="*/ 4164352 w 4519987"/>
              <a:gd name="connsiteY44" fmla="*/ 3429000 h 4496940"/>
              <a:gd name="connsiteX45" fmla="*/ 4088152 w 4519987"/>
              <a:gd name="connsiteY45" fmla="*/ 3495675 h 4496940"/>
              <a:gd name="connsiteX46" fmla="*/ 4059577 w 4519987"/>
              <a:gd name="connsiteY46" fmla="*/ 3533775 h 4496940"/>
              <a:gd name="connsiteX47" fmla="*/ 4002427 w 4519987"/>
              <a:gd name="connsiteY47" fmla="*/ 3600450 h 4496940"/>
              <a:gd name="connsiteX48" fmla="*/ 3983377 w 4519987"/>
              <a:gd name="connsiteY48" fmla="*/ 3629025 h 4496940"/>
              <a:gd name="connsiteX49" fmla="*/ 3954802 w 4519987"/>
              <a:gd name="connsiteY49" fmla="*/ 3648075 h 4496940"/>
              <a:gd name="connsiteX50" fmla="*/ 3907177 w 4519987"/>
              <a:gd name="connsiteY50" fmla="*/ 3686175 h 4496940"/>
              <a:gd name="connsiteX51" fmla="*/ 3869077 w 4519987"/>
              <a:gd name="connsiteY51" fmla="*/ 3724275 h 4496940"/>
              <a:gd name="connsiteX52" fmla="*/ 3792877 w 4519987"/>
              <a:gd name="connsiteY52" fmla="*/ 3781425 h 4496940"/>
              <a:gd name="connsiteX53" fmla="*/ 3783352 w 4519987"/>
              <a:gd name="connsiteY53" fmla="*/ 3810000 h 4496940"/>
              <a:gd name="connsiteX54" fmla="*/ 3745252 w 4519987"/>
              <a:gd name="connsiteY54" fmla="*/ 3819525 h 4496940"/>
              <a:gd name="connsiteX55" fmla="*/ 3678577 w 4519987"/>
              <a:gd name="connsiteY55" fmla="*/ 3848100 h 4496940"/>
              <a:gd name="connsiteX56" fmla="*/ 3659527 w 4519987"/>
              <a:gd name="connsiteY56" fmla="*/ 3971925 h 4496940"/>
              <a:gd name="connsiteX57" fmla="*/ 3630952 w 4519987"/>
              <a:gd name="connsiteY57" fmla="*/ 4010025 h 4496940"/>
              <a:gd name="connsiteX58" fmla="*/ 3621427 w 4519987"/>
              <a:gd name="connsiteY58" fmla="*/ 4038600 h 4496940"/>
              <a:gd name="connsiteX59" fmla="*/ 3554752 w 4519987"/>
              <a:gd name="connsiteY59" fmla="*/ 4095750 h 4496940"/>
              <a:gd name="connsiteX60" fmla="*/ 3516652 w 4519987"/>
              <a:gd name="connsiteY60" fmla="*/ 4114800 h 4496940"/>
              <a:gd name="connsiteX61" fmla="*/ 3497602 w 4519987"/>
              <a:gd name="connsiteY61" fmla="*/ 4143375 h 4496940"/>
              <a:gd name="connsiteX62" fmla="*/ 3383302 w 4519987"/>
              <a:gd name="connsiteY62" fmla="*/ 4210050 h 4496940"/>
              <a:gd name="connsiteX63" fmla="*/ 3335677 w 4519987"/>
              <a:gd name="connsiteY63" fmla="*/ 4238625 h 4496940"/>
              <a:gd name="connsiteX64" fmla="*/ 3288052 w 4519987"/>
              <a:gd name="connsiteY64" fmla="*/ 4248150 h 4496940"/>
              <a:gd name="connsiteX65" fmla="*/ 3240427 w 4519987"/>
              <a:gd name="connsiteY65" fmla="*/ 4267200 h 4496940"/>
              <a:gd name="connsiteX66" fmla="*/ 3068977 w 4519987"/>
              <a:gd name="connsiteY66" fmla="*/ 4286250 h 4496940"/>
              <a:gd name="connsiteX67" fmla="*/ 2935627 w 4519987"/>
              <a:gd name="connsiteY67" fmla="*/ 4333875 h 4496940"/>
              <a:gd name="connsiteX68" fmla="*/ 2811802 w 4519987"/>
              <a:gd name="connsiteY68" fmla="*/ 4371975 h 4496940"/>
              <a:gd name="connsiteX69" fmla="*/ 2745127 w 4519987"/>
              <a:gd name="connsiteY69" fmla="*/ 4410075 h 4496940"/>
              <a:gd name="connsiteX70" fmla="*/ 2697502 w 4519987"/>
              <a:gd name="connsiteY70" fmla="*/ 4429125 h 4496940"/>
              <a:gd name="connsiteX71" fmla="*/ 2640352 w 4519987"/>
              <a:gd name="connsiteY71" fmla="*/ 4457700 h 4496940"/>
              <a:gd name="connsiteX72" fmla="*/ 2583202 w 4519987"/>
              <a:gd name="connsiteY72" fmla="*/ 4467225 h 4496940"/>
              <a:gd name="connsiteX73" fmla="*/ 2545102 w 4519987"/>
              <a:gd name="connsiteY73" fmla="*/ 4486275 h 4496940"/>
              <a:gd name="connsiteX74" fmla="*/ 2306977 w 4519987"/>
              <a:gd name="connsiteY74" fmla="*/ 4476750 h 4496940"/>
              <a:gd name="connsiteX75" fmla="*/ 2202202 w 4519987"/>
              <a:gd name="connsiteY75" fmla="*/ 4457700 h 4496940"/>
              <a:gd name="connsiteX76" fmla="*/ 2126002 w 4519987"/>
              <a:gd name="connsiteY76" fmla="*/ 4429125 h 4496940"/>
              <a:gd name="connsiteX77" fmla="*/ 1935502 w 4519987"/>
              <a:gd name="connsiteY77" fmla="*/ 4400550 h 4496940"/>
              <a:gd name="connsiteX78" fmla="*/ 1821202 w 4519987"/>
              <a:gd name="connsiteY78" fmla="*/ 4371975 h 4496940"/>
              <a:gd name="connsiteX79" fmla="*/ 1754527 w 4519987"/>
              <a:gd name="connsiteY79" fmla="*/ 4352925 h 4496940"/>
              <a:gd name="connsiteX80" fmla="*/ 1687852 w 4519987"/>
              <a:gd name="connsiteY80" fmla="*/ 4343400 h 4496940"/>
              <a:gd name="connsiteX81" fmla="*/ 1573552 w 4519987"/>
              <a:gd name="connsiteY81" fmla="*/ 4305300 h 4496940"/>
              <a:gd name="connsiteX82" fmla="*/ 1402102 w 4519987"/>
              <a:gd name="connsiteY82" fmla="*/ 4276725 h 4496940"/>
              <a:gd name="connsiteX83" fmla="*/ 1287802 w 4519987"/>
              <a:gd name="connsiteY83" fmla="*/ 4229100 h 4496940"/>
              <a:gd name="connsiteX84" fmla="*/ 1221127 w 4519987"/>
              <a:gd name="connsiteY84" fmla="*/ 4200525 h 4496940"/>
              <a:gd name="connsiteX85" fmla="*/ 1144927 w 4519987"/>
              <a:gd name="connsiteY85" fmla="*/ 4171950 h 4496940"/>
              <a:gd name="connsiteX86" fmla="*/ 1087777 w 4519987"/>
              <a:gd name="connsiteY86" fmla="*/ 4143375 h 4496940"/>
              <a:gd name="connsiteX87" fmla="*/ 1030627 w 4519987"/>
              <a:gd name="connsiteY87" fmla="*/ 4124325 h 4496940"/>
              <a:gd name="connsiteX88" fmla="*/ 925852 w 4519987"/>
              <a:gd name="connsiteY88" fmla="*/ 4067175 h 4496940"/>
              <a:gd name="connsiteX89" fmla="*/ 830602 w 4519987"/>
              <a:gd name="connsiteY89" fmla="*/ 3981450 h 4496940"/>
              <a:gd name="connsiteX90" fmla="*/ 763927 w 4519987"/>
              <a:gd name="connsiteY90" fmla="*/ 3914775 h 4496940"/>
              <a:gd name="connsiteX91" fmla="*/ 725827 w 4519987"/>
              <a:gd name="connsiteY91" fmla="*/ 3876675 h 4496940"/>
              <a:gd name="connsiteX92" fmla="*/ 697252 w 4519987"/>
              <a:gd name="connsiteY92" fmla="*/ 3838575 h 4496940"/>
              <a:gd name="connsiteX93" fmla="*/ 640102 w 4519987"/>
              <a:gd name="connsiteY93" fmla="*/ 3781425 h 4496940"/>
              <a:gd name="connsiteX94" fmla="*/ 611527 w 4519987"/>
              <a:gd name="connsiteY94" fmla="*/ 3733800 h 4496940"/>
              <a:gd name="connsiteX95" fmla="*/ 554377 w 4519987"/>
              <a:gd name="connsiteY95" fmla="*/ 3657600 h 4496940"/>
              <a:gd name="connsiteX96" fmla="*/ 525802 w 4519987"/>
              <a:gd name="connsiteY96" fmla="*/ 3609975 h 4496940"/>
              <a:gd name="connsiteX97" fmla="*/ 497227 w 4519987"/>
              <a:gd name="connsiteY97" fmla="*/ 3552825 h 4496940"/>
              <a:gd name="connsiteX98" fmla="*/ 440077 w 4519987"/>
              <a:gd name="connsiteY98" fmla="*/ 3495675 h 4496940"/>
              <a:gd name="connsiteX99" fmla="*/ 411502 w 4519987"/>
              <a:gd name="connsiteY99" fmla="*/ 3448050 h 4496940"/>
              <a:gd name="connsiteX100" fmla="*/ 278152 w 4519987"/>
              <a:gd name="connsiteY100" fmla="*/ 3257550 h 4496940"/>
              <a:gd name="connsiteX101" fmla="*/ 249577 w 4519987"/>
              <a:gd name="connsiteY101" fmla="*/ 3200400 h 4496940"/>
              <a:gd name="connsiteX102" fmla="*/ 240052 w 4519987"/>
              <a:gd name="connsiteY102" fmla="*/ 3162300 h 4496940"/>
              <a:gd name="connsiteX103" fmla="*/ 221002 w 4519987"/>
              <a:gd name="connsiteY103" fmla="*/ 3105150 h 4496940"/>
              <a:gd name="connsiteX104" fmla="*/ 173377 w 4519987"/>
              <a:gd name="connsiteY104" fmla="*/ 3019425 h 4496940"/>
              <a:gd name="connsiteX105" fmla="*/ 144802 w 4519987"/>
              <a:gd name="connsiteY105" fmla="*/ 2924175 h 4496940"/>
              <a:gd name="connsiteX106" fmla="*/ 68602 w 4519987"/>
              <a:gd name="connsiteY106" fmla="*/ 2724150 h 4496940"/>
              <a:gd name="connsiteX107" fmla="*/ 49552 w 4519987"/>
              <a:gd name="connsiteY107" fmla="*/ 2638425 h 4496940"/>
              <a:gd name="connsiteX108" fmla="*/ 40027 w 4519987"/>
              <a:gd name="connsiteY108" fmla="*/ 2562225 h 4496940"/>
              <a:gd name="connsiteX109" fmla="*/ 30502 w 4519987"/>
              <a:gd name="connsiteY109" fmla="*/ 2514600 h 4496940"/>
              <a:gd name="connsiteX110" fmla="*/ 11452 w 4519987"/>
              <a:gd name="connsiteY110" fmla="*/ 2400300 h 4496940"/>
              <a:gd name="connsiteX111" fmla="*/ 20977 w 4519987"/>
              <a:gd name="connsiteY111" fmla="*/ 1905000 h 4496940"/>
              <a:gd name="connsiteX112" fmla="*/ 30502 w 4519987"/>
              <a:gd name="connsiteY112" fmla="*/ 1838325 h 4496940"/>
              <a:gd name="connsiteX113" fmla="*/ 49552 w 4519987"/>
              <a:gd name="connsiteY113" fmla="*/ 1781175 h 4496940"/>
              <a:gd name="connsiteX114" fmla="*/ 59077 w 4519987"/>
              <a:gd name="connsiteY114" fmla="*/ 1743075 h 4496940"/>
              <a:gd name="connsiteX115" fmla="*/ 78127 w 4519987"/>
              <a:gd name="connsiteY115" fmla="*/ 1685925 h 4496940"/>
              <a:gd name="connsiteX116" fmla="*/ 87652 w 4519987"/>
              <a:gd name="connsiteY116" fmla="*/ 1638300 h 4496940"/>
              <a:gd name="connsiteX117" fmla="*/ 106702 w 4519987"/>
              <a:gd name="connsiteY117" fmla="*/ 1590675 h 4496940"/>
              <a:gd name="connsiteX118" fmla="*/ 135277 w 4519987"/>
              <a:gd name="connsiteY118" fmla="*/ 1504950 h 4496940"/>
              <a:gd name="connsiteX119" fmla="*/ 154327 w 4519987"/>
              <a:gd name="connsiteY119" fmla="*/ 1419225 h 4496940"/>
              <a:gd name="connsiteX120" fmla="*/ 230527 w 4519987"/>
              <a:gd name="connsiteY120" fmla="*/ 1276350 h 4496940"/>
              <a:gd name="connsiteX121" fmla="*/ 240052 w 4519987"/>
              <a:gd name="connsiteY121" fmla="*/ 1247775 h 4496940"/>
              <a:gd name="connsiteX122" fmla="*/ 268627 w 4519987"/>
              <a:gd name="connsiteY122" fmla="*/ 1200150 h 4496940"/>
              <a:gd name="connsiteX123" fmla="*/ 287677 w 4519987"/>
              <a:gd name="connsiteY123" fmla="*/ 1152525 h 4496940"/>
              <a:gd name="connsiteX124" fmla="*/ 316252 w 4519987"/>
              <a:gd name="connsiteY124" fmla="*/ 1114425 h 4496940"/>
              <a:gd name="connsiteX125" fmla="*/ 363877 w 4519987"/>
              <a:gd name="connsiteY125" fmla="*/ 1038225 h 4496940"/>
              <a:gd name="connsiteX126" fmla="*/ 382927 w 4519987"/>
              <a:gd name="connsiteY126" fmla="*/ 1009650 h 4496940"/>
              <a:gd name="connsiteX127" fmla="*/ 440077 w 4519987"/>
              <a:gd name="connsiteY127" fmla="*/ 904875 h 4496940"/>
              <a:gd name="connsiteX128" fmla="*/ 478177 w 4519987"/>
              <a:gd name="connsiteY128" fmla="*/ 857250 h 4496940"/>
              <a:gd name="connsiteX129" fmla="*/ 497227 w 4519987"/>
              <a:gd name="connsiteY129" fmla="*/ 828675 h 4496940"/>
              <a:gd name="connsiteX130" fmla="*/ 535327 w 4519987"/>
              <a:gd name="connsiteY130" fmla="*/ 800100 h 4496940"/>
              <a:gd name="connsiteX131" fmla="*/ 602002 w 4519987"/>
              <a:gd name="connsiteY131" fmla="*/ 733425 h 4496940"/>
              <a:gd name="connsiteX132" fmla="*/ 668677 w 4519987"/>
              <a:gd name="connsiteY132" fmla="*/ 676275 h 4496940"/>
              <a:gd name="connsiteX133" fmla="*/ 697252 w 4519987"/>
              <a:gd name="connsiteY133" fmla="*/ 657225 h 4496940"/>
              <a:gd name="connsiteX134" fmla="*/ 840127 w 4519987"/>
              <a:gd name="connsiteY134" fmla="*/ 533400 h 4496940"/>
              <a:gd name="connsiteX135" fmla="*/ 887752 w 4519987"/>
              <a:gd name="connsiteY135" fmla="*/ 504825 h 4496940"/>
              <a:gd name="connsiteX136" fmla="*/ 1167152 w 4519987"/>
              <a:gd name="connsiteY136" fmla="*/ 311150 h 4496940"/>
              <a:gd name="connsiteX137" fmla="*/ 1268752 w 4519987"/>
              <a:gd name="connsiteY137" fmla="*/ 285750 h 4496940"/>
              <a:gd name="connsiteX138" fmla="*/ 1411627 w 4519987"/>
              <a:gd name="connsiteY138" fmla="*/ 190500 h 4496940"/>
              <a:gd name="connsiteX139" fmla="*/ 1449727 w 4519987"/>
              <a:gd name="connsiteY139" fmla="*/ 161925 h 4496940"/>
              <a:gd name="connsiteX140" fmla="*/ 1525927 w 4519987"/>
              <a:gd name="connsiteY140" fmla="*/ 152400 h 4496940"/>
              <a:gd name="connsiteX141" fmla="*/ 1583077 w 4519987"/>
              <a:gd name="connsiteY141" fmla="*/ 142875 h 4496940"/>
              <a:gd name="connsiteX142" fmla="*/ 1716427 w 4519987"/>
              <a:gd name="connsiteY142" fmla="*/ 123825 h 4496940"/>
              <a:gd name="connsiteX143" fmla="*/ 1811677 w 4519987"/>
              <a:gd name="connsiteY143" fmla="*/ 114300 h 4496940"/>
              <a:gd name="connsiteX144" fmla="*/ 1859302 w 4519987"/>
              <a:gd name="connsiteY144" fmla="*/ 104775 h 4496940"/>
              <a:gd name="connsiteX145" fmla="*/ 1916452 w 4519987"/>
              <a:gd name="connsiteY145" fmla="*/ 95250 h 4496940"/>
              <a:gd name="connsiteX146" fmla="*/ 2030752 w 4519987"/>
              <a:gd name="connsiteY146" fmla="*/ 66675 h 4496940"/>
              <a:gd name="connsiteX147" fmla="*/ 2097427 w 4519987"/>
              <a:gd name="connsiteY147" fmla="*/ 47625 h 4496940"/>
              <a:gd name="connsiteX148" fmla="*/ 2164102 w 4519987"/>
              <a:gd name="connsiteY148" fmla="*/ 38100 h 4496940"/>
              <a:gd name="connsiteX149" fmla="*/ 2392702 w 4519987"/>
              <a:gd name="connsiteY14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78627 w 4519987"/>
              <a:gd name="connsiteY21" fmla="*/ 838200 h 4496940"/>
              <a:gd name="connsiteX22" fmla="*/ 4135777 w 4519987"/>
              <a:gd name="connsiteY22" fmla="*/ 933450 h 4496940"/>
              <a:gd name="connsiteX23" fmla="*/ 4164352 w 4519987"/>
              <a:gd name="connsiteY23" fmla="*/ 990600 h 4496940"/>
              <a:gd name="connsiteX24" fmla="*/ 4173877 w 4519987"/>
              <a:gd name="connsiteY24" fmla="*/ 1019175 h 4496940"/>
              <a:gd name="connsiteX25" fmla="*/ 4192927 w 4519987"/>
              <a:gd name="connsiteY25" fmla="*/ 1057275 h 4496940"/>
              <a:gd name="connsiteX26" fmla="*/ 4202452 w 4519987"/>
              <a:gd name="connsiteY26" fmla="*/ 1085850 h 4496940"/>
              <a:gd name="connsiteX27" fmla="*/ 4250077 w 4519987"/>
              <a:gd name="connsiteY27" fmla="*/ 1143000 h 4496940"/>
              <a:gd name="connsiteX28" fmla="*/ 4259602 w 4519987"/>
              <a:gd name="connsiteY28" fmla="*/ 1190625 h 4496940"/>
              <a:gd name="connsiteX29" fmla="*/ 4307227 w 4519987"/>
              <a:gd name="connsiteY29" fmla="*/ 1266825 h 4496940"/>
              <a:gd name="connsiteX30" fmla="*/ 4345327 w 4519987"/>
              <a:gd name="connsiteY30" fmla="*/ 1362075 h 4496940"/>
              <a:gd name="connsiteX31" fmla="*/ 4373902 w 4519987"/>
              <a:gd name="connsiteY31" fmla="*/ 1428750 h 4496940"/>
              <a:gd name="connsiteX32" fmla="*/ 4392952 w 4519987"/>
              <a:gd name="connsiteY32" fmla="*/ 1552575 h 4496940"/>
              <a:gd name="connsiteX33" fmla="*/ 4402477 w 4519987"/>
              <a:gd name="connsiteY33" fmla="*/ 1590675 h 4496940"/>
              <a:gd name="connsiteX34" fmla="*/ 4431052 w 4519987"/>
              <a:gd name="connsiteY34" fmla="*/ 1685925 h 4496940"/>
              <a:gd name="connsiteX35" fmla="*/ 4519952 w 4519987"/>
              <a:gd name="connsiteY35" fmla="*/ 2181225 h 4496940"/>
              <a:gd name="connsiteX36" fmla="*/ 4446927 w 4519987"/>
              <a:gd name="connsiteY36" fmla="*/ 2768600 h 4496940"/>
              <a:gd name="connsiteX37" fmla="*/ 4383427 w 4519987"/>
              <a:gd name="connsiteY37" fmla="*/ 2990850 h 4496940"/>
              <a:gd name="connsiteX38" fmla="*/ 4278652 w 4519987"/>
              <a:gd name="connsiteY38" fmla="*/ 3248025 h 4496940"/>
              <a:gd name="connsiteX39" fmla="*/ 4259602 w 4519987"/>
              <a:gd name="connsiteY39" fmla="*/ 3276600 h 4496940"/>
              <a:gd name="connsiteX40" fmla="*/ 4221502 w 4519987"/>
              <a:gd name="connsiteY40" fmla="*/ 3333750 h 4496940"/>
              <a:gd name="connsiteX41" fmla="*/ 4211977 w 4519987"/>
              <a:gd name="connsiteY41" fmla="*/ 3362325 h 4496940"/>
              <a:gd name="connsiteX42" fmla="*/ 4183402 w 4519987"/>
              <a:gd name="connsiteY42" fmla="*/ 3400425 h 4496940"/>
              <a:gd name="connsiteX43" fmla="*/ 4164352 w 4519987"/>
              <a:gd name="connsiteY43" fmla="*/ 3429000 h 4496940"/>
              <a:gd name="connsiteX44" fmla="*/ 4088152 w 4519987"/>
              <a:gd name="connsiteY44" fmla="*/ 3495675 h 4496940"/>
              <a:gd name="connsiteX45" fmla="*/ 4059577 w 4519987"/>
              <a:gd name="connsiteY45" fmla="*/ 3533775 h 4496940"/>
              <a:gd name="connsiteX46" fmla="*/ 4002427 w 4519987"/>
              <a:gd name="connsiteY46" fmla="*/ 3600450 h 4496940"/>
              <a:gd name="connsiteX47" fmla="*/ 3983377 w 4519987"/>
              <a:gd name="connsiteY47" fmla="*/ 3629025 h 4496940"/>
              <a:gd name="connsiteX48" fmla="*/ 3954802 w 4519987"/>
              <a:gd name="connsiteY48" fmla="*/ 3648075 h 4496940"/>
              <a:gd name="connsiteX49" fmla="*/ 3907177 w 4519987"/>
              <a:gd name="connsiteY49" fmla="*/ 3686175 h 4496940"/>
              <a:gd name="connsiteX50" fmla="*/ 3869077 w 4519987"/>
              <a:gd name="connsiteY50" fmla="*/ 3724275 h 4496940"/>
              <a:gd name="connsiteX51" fmla="*/ 3792877 w 4519987"/>
              <a:gd name="connsiteY51" fmla="*/ 3781425 h 4496940"/>
              <a:gd name="connsiteX52" fmla="*/ 3783352 w 4519987"/>
              <a:gd name="connsiteY52" fmla="*/ 3810000 h 4496940"/>
              <a:gd name="connsiteX53" fmla="*/ 3745252 w 4519987"/>
              <a:gd name="connsiteY53" fmla="*/ 3819525 h 4496940"/>
              <a:gd name="connsiteX54" fmla="*/ 3678577 w 4519987"/>
              <a:gd name="connsiteY54" fmla="*/ 3848100 h 4496940"/>
              <a:gd name="connsiteX55" fmla="*/ 3659527 w 4519987"/>
              <a:gd name="connsiteY55" fmla="*/ 3971925 h 4496940"/>
              <a:gd name="connsiteX56" fmla="*/ 3630952 w 4519987"/>
              <a:gd name="connsiteY56" fmla="*/ 4010025 h 4496940"/>
              <a:gd name="connsiteX57" fmla="*/ 3621427 w 4519987"/>
              <a:gd name="connsiteY57" fmla="*/ 4038600 h 4496940"/>
              <a:gd name="connsiteX58" fmla="*/ 3554752 w 4519987"/>
              <a:gd name="connsiteY58" fmla="*/ 4095750 h 4496940"/>
              <a:gd name="connsiteX59" fmla="*/ 3516652 w 4519987"/>
              <a:gd name="connsiteY59" fmla="*/ 4114800 h 4496940"/>
              <a:gd name="connsiteX60" fmla="*/ 3497602 w 4519987"/>
              <a:gd name="connsiteY60" fmla="*/ 4143375 h 4496940"/>
              <a:gd name="connsiteX61" fmla="*/ 3383302 w 4519987"/>
              <a:gd name="connsiteY61" fmla="*/ 4210050 h 4496940"/>
              <a:gd name="connsiteX62" fmla="*/ 3335677 w 4519987"/>
              <a:gd name="connsiteY62" fmla="*/ 4238625 h 4496940"/>
              <a:gd name="connsiteX63" fmla="*/ 3288052 w 4519987"/>
              <a:gd name="connsiteY63" fmla="*/ 4248150 h 4496940"/>
              <a:gd name="connsiteX64" fmla="*/ 3240427 w 4519987"/>
              <a:gd name="connsiteY64" fmla="*/ 4267200 h 4496940"/>
              <a:gd name="connsiteX65" fmla="*/ 3068977 w 4519987"/>
              <a:gd name="connsiteY65" fmla="*/ 4286250 h 4496940"/>
              <a:gd name="connsiteX66" fmla="*/ 2935627 w 4519987"/>
              <a:gd name="connsiteY66" fmla="*/ 4333875 h 4496940"/>
              <a:gd name="connsiteX67" fmla="*/ 2811802 w 4519987"/>
              <a:gd name="connsiteY67" fmla="*/ 4371975 h 4496940"/>
              <a:gd name="connsiteX68" fmla="*/ 2745127 w 4519987"/>
              <a:gd name="connsiteY68" fmla="*/ 4410075 h 4496940"/>
              <a:gd name="connsiteX69" fmla="*/ 2697502 w 4519987"/>
              <a:gd name="connsiteY69" fmla="*/ 4429125 h 4496940"/>
              <a:gd name="connsiteX70" fmla="*/ 2640352 w 4519987"/>
              <a:gd name="connsiteY70" fmla="*/ 4457700 h 4496940"/>
              <a:gd name="connsiteX71" fmla="*/ 2583202 w 4519987"/>
              <a:gd name="connsiteY71" fmla="*/ 4467225 h 4496940"/>
              <a:gd name="connsiteX72" fmla="*/ 2545102 w 4519987"/>
              <a:gd name="connsiteY72" fmla="*/ 4486275 h 4496940"/>
              <a:gd name="connsiteX73" fmla="*/ 2306977 w 4519987"/>
              <a:gd name="connsiteY73" fmla="*/ 4476750 h 4496940"/>
              <a:gd name="connsiteX74" fmla="*/ 2202202 w 4519987"/>
              <a:gd name="connsiteY74" fmla="*/ 4457700 h 4496940"/>
              <a:gd name="connsiteX75" fmla="*/ 2126002 w 4519987"/>
              <a:gd name="connsiteY75" fmla="*/ 4429125 h 4496940"/>
              <a:gd name="connsiteX76" fmla="*/ 1935502 w 4519987"/>
              <a:gd name="connsiteY76" fmla="*/ 4400550 h 4496940"/>
              <a:gd name="connsiteX77" fmla="*/ 1821202 w 4519987"/>
              <a:gd name="connsiteY77" fmla="*/ 4371975 h 4496940"/>
              <a:gd name="connsiteX78" fmla="*/ 1754527 w 4519987"/>
              <a:gd name="connsiteY78" fmla="*/ 4352925 h 4496940"/>
              <a:gd name="connsiteX79" fmla="*/ 1687852 w 4519987"/>
              <a:gd name="connsiteY79" fmla="*/ 4343400 h 4496940"/>
              <a:gd name="connsiteX80" fmla="*/ 1573552 w 4519987"/>
              <a:gd name="connsiteY80" fmla="*/ 4305300 h 4496940"/>
              <a:gd name="connsiteX81" fmla="*/ 1402102 w 4519987"/>
              <a:gd name="connsiteY81" fmla="*/ 4276725 h 4496940"/>
              <a:gd name="connsiteX82" fmla="*/ 1287802 w 4519987"/>
              <a:gd name="connsiteY82" fmla="*/ 4229100 h 4496940"/>
              <a:gd name="connsiteX83" fmla="*/ 1221127 w 4519987"/>
              <a:gd name="connsiteY83" fmla="*/ 4200525 h 4496940"/>
              <a:gd name="connsiteX84" fmla="*/ 1144927 w 4519987"/>
              <a:gd name="connsiteY84" fmla="*/ 4171950 h 4496940"/>
              <a:gd name="connsiteX85" fmla="*/ 1087777 w 4519987"/>
              <a:gd name="connsiteY85" fmla="*/ 4143375 h 4496940"/>
              <a:gd name="connsiteX86" fmla="*/ 1030627 w 4519987"/>
              <a:gd name="connsiteY86" fmla="*/ 4124325 h 4496940"/>
              <a:gd name="connsiteX87" fmla="*/ 925852 w 4519987"/>
              <a:gd name="connsiteY87" fmla="*/ 4067175 h 4496940"/>
              <a:gd name="connsiteX88" fmla="*/ 830602 w 4519987"/>
              <a:gd name="connsiteY88" fmla="*/ 3981450 h 4496940"/>
              <a:gd name="connsiteX89" fmla="*/ 763927 w 4519987"/>
              <a:gd name="connsiteY89" fmla="*/ 3914775 h 4496940"/>
              <a:gd name="connsiteX90" fmla="*/ 725827 w 4519987"/>
              <a:gd name="connsiteY90" fmla="*/ 3876675 h 4496940"/>
              <a:gd name="connsiteX91" fmla="*/ 697252 w 4519987"/>
              <a:gd name="connsiteY91" fmla="*/ 3838575 h 4496940"/>
              <a:gd name="connsiteX92" fmla="*/ 640102 w 4519987"/>
              <a:gd name="connsiteY92" fmla="*/ 3781425 h 4496940"/>
              <a:gd name="connsiteX93" fmla="*/ 611527 w 4519987"/>
              <a:gd name="connsiteY93" fmla="*/ 3733800 h 4496940"/>
              <a:gd name="connsiteX94" fmla="*/ 554377 w 4519987"/>
              <a:gd name="connsiteY94" fmla="*/ 3657600 h 4496940"/>
              <a:gd name="connsiteX95" fmla="*/ 525802 w 4519987"/>
              <a:gd name="connsiteY95" fmla="*/ 3609975 h 4496940"/>
              <a:gd name="connsiteX96" fmla="*/ 497227 w 4519987"/>
              <a:gd name="connsiteY96" fmla="*/ 3552825 h 4496940"/>
              <a:gd name="connsiteX97" fmla="*/ 440077 w 4519987"/>
              <a:gd name="connsiteY97" fmla="*/ 3495675 h 4496940"/>
              <a:gd name="connsiteX98" fmla="*/ 411502 w 4519987"/>
              <a:gd name="connsiteY98" fmla="*/ 3448050 h 4496940"/>
              <a:gd name="connsiteX99" fmla="*/ 278152 w 4519987"/>
              <a:gd name="connsiteY99" fmla="*/ 3257550 h 4496940"/>
              <a:gd name="connsiteX100" fmla="*/ 249577 w 4519987"/>
              <a:gd name="connsiteY100" fmla="*/ 3200400 h 4496940"/>
              <a:gd name="connsiteX101" fmla="*/ 240052 w 4519987"/>
              <a:gd name="connsiteY101" fmla="*/ 3162300 h 4496940"/>
              <a:gd name="connsiteX102" fmla="*/ 221002 w 4519987"/>
              <a:gd name="connsiteY102" fmla="*/ 3105150 h 4496940"/>
              <a:gd name="connsiteX103" fmla="*/ 173377 w 4519987"/>
              <a:gd name="connsiteY103" fmla="*/ 3019425 h 4496940"/>
              <a:gd name="connsiteX104" fmla="*/ 144802 w 4519987"/>
              <a:gd name="connsiteY104" fmla="*/ 2924175 h 4496940"/>
              <a:gd name="connsiteX105" fmla="*/ 68602 w 4519987"/>
              <a:gd name="connsiteY105" fmla="*/ 2724150 h 4496940"/>
              <a:gd name="connsiteX106" fmla="*/ 49552 w 4519987"/>
              <a:gd name="connsiteY106" fmla="*/ 2638425 h 4496940"/>
              <a:gd name="connsiteX107" fmla="*/ 40027 w 4519987"/>
              <a:gd name="connsiteY107" fmla="*/ 2562225 h 4496940"/>
              <a:gd name="connsiteX108" fmla="*/ 30502 w 4519987"/>
              <a:gd name="connsiteY108" fmla="*/ 2514600 h 4496940"/>
              <a:gd name="connsiteX109" fmla="*/ 11452 w 4519987"/>
              <a:gd name="connsiteY109" fmla="*/ 2400300 h 4496940"/>
              <a:gd name="connsiteX110" fmla="*/ 20977 w 4519987"/>
              <a:gd name="connsiteY110" fmla="*/ 1905000 h 4496940"/>
              <a:gd name="connsiteX111" fmla="*/ 30502 w 4519987"/>
              <a:gd name="connsiteY111" fmla="*/ 1838325 h 4496940"/>
              <a:gd name="connsiteX112" fmla="*/ 49552 w 4519987"/>
              <a:gd name="connsiteY112" fmla="*/ 1781175 h 4496940"/>
              <a:gd name="connsiteX113" fmla="*/ 59077 w 4519987"/>
              <a:gd name="connsiteY113" fmla="*/ 1743075 h 4496940"/>
              <a:gd name="connsiteX114" fmla="*/ 78127 w 4519987"/>
              <a:gd name="connsiteY114" fmla="*/ 1685925 h 4496940"/>
              <a:gd name="connsiteX115" fmla="*/ 87652 w 4519987"/>
              <a:gd name="connsiteY115" fmla="*/ 1638300 h 4496940"/>
              <a:gd name="connsiteX116" fmla="*/ 106702 w 4519987"/>
              <a:gd name="connsiteY116" fmla="*/ 1590675 h 4496940"/>
              <a:gd name="connsiteX117" fmla="*/ 135277 w 4519987"/>
              <a:gd name="connsiteY117" fmla="*/ 1504950 h 4496940"/>
              <a:gd name="connsiteX118" fmla="*/ 154327 w 4519987"/>
              <a:gd name="connsiteY118" fmla="*/ 1419225 h 4496940"/>
              <a:gd name="connsiteX119" fmla="*/ 230527 w 4519987"/>
              <a:gd name="connsiteY119" fmla="*/ 1276350 h 4496940"/>
              <a:gd name="connsiteX120" fmla="*/ 240052 w 4519987"/>
              <a:gd name="connsiteY120" fmla="*/ 1247775 h 4496940"/>
              <a:gd name="connsiteX121" fmla="*/ 268627 w 4519987"/>
              <a:gd name="connsiteY121" fmla="*/ 1200150 h 4496940"/>
              <a:gd name="connsiteX122" fmla="*/ 287677 w 4519987"/>
              <a:gd name="connsiteY122" fmla="*/ 1152525 h 4496940"/>
              <a:gd name="connsiteX123" fmla="*/ 316252 w 4519987"/>
              <a:gd name="connsiteY123" fmla="*/ 1114425 h 4496940"/>
              <a:gd name="connsiteX124" fmla="*/ 363877 w 4519987"/>
              <a:gd name="connsiteY124" fmla="*/ 1038225 h 4496940"/>
              <a:gd name="connsiteX125" fmla="*/ 382927 w 4519987"/>
              <a:gd name="connsiteY125" fmla="*/ 1009650 h 4496940"/>
              <a:gd name="connsiteX126" fmla="*/ 440077 w 4519987"/>
              <a:gd name="connsiteY126" fmla="*/ 904875 h 4496940"/>
              <a:gd name="connsiteX127" fmla="*/ 478177 w 4519987"/>
              <a:gd name="connsiteY127" fmla="*/ 857250 h 4496940"/>
              <a:gd name="connsiteX128" fmla="*/ 497227 w 4519987"/>
              <a:gd name="connsiteY128" fmla="*/ 828675 h 4496940"/>
              <a:gd name="connsiteX129" fmla="*/ 535327 w 4519987"/>
              <a:gd name="connsiteY129" fmla="*/ 800100 h 4496940"/>
              <a:gd name="connsiteX130" fmla="*/ 602002 w 4519987"/>
              <a:gd name="connsiteY130" fmla="*/ 733425 h 4496940"/>
              <a:gd name="connsiteX131" fmla="*/ 668677 w 4519987"/>
              <a:gd name="connsiteY131" fmla="*/ 676275 h 4496940"/>
              <a:gd name="connsiteX132" fmla="*/ 697252 w 4519987"/>
              <a:gd name="connsiteY132" fmla="*/ 657225 h 4496940"/>
              <a:gd name="connsiteX133" fmla="*/ 840127 w 4519987"/>
              <a:gd name="connsiteY133" fmla="*/ 533400 h 4496940"/>
              <a:gd name="connsiteX134" fmla="*/ 887752 w 4519987"/>
              <a:gd name="connsiteY134" fmla="*/ 504825 h 4496940"/>
              <a:gd name="connsiteX135" fmla="*/ 1167152 w 4519987"/>
              <a:gd name="connsiteY135" fmla="*/ 311150 h 4496940"/>
              <a:gd name="connsiteX136" fmla="*/ 1268752 w 4519987"/>
              <a:gd name="connsiteY136" fmla="*/ 285750 h 4496940"/>
              <a:gd name="connsiteX137" fmla="*/ 1411627 w 4519987"/>
              <a:gd name="connsiteY137" fmla="*/ 190500 h 4496940"/>
              <a:gd name="connsiteX138" fmla="*/ 1449727 w 4519987"/>
              <a:gd name="connsiteY138" fmla="*/ 161925 h 4496940"/>
              <a:gd name="connsiteX139" fmla="*/ 1525927 w 4519987"/>
              <a:gd name="connsiteY139" fmla="*/ 152400 h 4496940"/>
              <a:gd name="connsiteX140" fmla="*/ 1583077 w 4519987"/>
              <a:gd name="connsiteY140" fmla="*/ 142875 h 4496940"/>
              <a:gd name="connsiteX141" fmla="*/ 1716427 w 4519987"/>
              <a:gd name="connsiteY141" fmla="*/ 123825 h 4496940"/>
              <a:gd name="connsiteX142" fmla="*/ 1811677 w 4519987"/>
              <a:gd name="connsiteY142" fmla="*/ 114300 h 4496940"/>
              <a:gd name="connsiteX143" fmla="*/ 1859302 w 4519987"/>
              <a:gd name="connsiteY143" fmla="*/ 104775 h 4496940"/>
              <a:gd name="connsiteX144" fmla="*/ 1916452 w 4519987"/>
              <a:gd name="connsiteY144" fmla="*/ 95250 h 4496940"/>
              <a:gd name="connsiteX145" fmla="*/ 2030752 w 4519987"/>
              <a:gd name="connsiteY145" fmla="*/ 66675 h 4496940"/>
              <a:gd name="connsiteX146" fmla="*/ 2097427 w 4519987"/>
              <a:gd name="connsiteY146" fmla="*/ 47625 h 4496940"/>
              <a:gd name="connsiteX147" fmla="*/ 2164102 w 4519987"/>
              <a:gd name="connsiteY147" fmla="*/ 38100 h 4496940"/>
              <a:gd name="connsiteX148" fmla="*/ 2392702 w 4519987"/>
              <a:gd name="connsiteY14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135777 w 4519987"/>
              <a:gd name="connsiteY21" fmla="*/ 9334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192927 w 4519987"/>
              <a:gd name="connsiteY24" fmla="*/ 1057275 h 4496940"/>
              <a:gd name="connsiteX25" fmla="*/ 4202452 w 4519987"/>
              <a:gd name="connsiteY25" fmla="*/ 1085850 h 4496940"/>
              <a:gd name="connsiteX26" fmla="*/ 4250077 w 4519987"/>
              <a:gd name="connsiteY26" fmla="*/ 1143000 h 4496940"/>
              <a:gd name="connsiteX27" fmla="*/ 4259602 w 4519987"/>
              <a:gd name="connsiteY27" fmla="*/ 1190625 h 4496940"/>
              <a:gd name="connsiteX28" fmla="*/ 4307227 w 4519987"/>
              <a:gd name="connsiteY28" fmla="*/ 1266825 h 4496940"/>
              <a:gd name="connsiteX29" fmla="*/ 4345327 w 4519987"/>
              <a:gd name="connsiteY29" fmla="*/ 1362075 h 4496940"/>
              <a:gd name="connsiteX30" fmla="*/ 4373902 w 4519987"/>
              <a:gd name="connsiteY30" fmla="*/ 1428750 h 4496940"/>
              <a:gd name="connsiteX31" fmla="*/ 4392952 w 4519987"/>
              <a:gd name="connsiteY31" fmla="*/ 1552575 h 4496940"/>
              <a:gd name="connsiteX32" fmla="*/ 4402477 w 4519987"/>
              <a:gd name="connsiteY32" fmla="*/ 1590675 h 4496940"/>
              <a:gd name="connsiteX33" fmla="*/ 4431052 w 4519987"/>
              <a:gd name="connsiteY33" fmla="*/ 1685925 h 4496940"/>
              <a:gd name="connsiteX34" fmla="*/ 4519952 w 4519987"/>
              <a:gd name="connsiteY34" fmla="*/ 2181225 h 4496940"/>
              <a:gd name="connsiteX35" fmla="*/ 4446927 w 4519987"/>
              <a:gd name="connsiteY35" fmla="*/ 2768600 h 4496940"/>
              <a:gd name="connsiteX36" fmla="*/ 4383427 w 4519987"/>
              <a:gd name="connsiteY36" fmla="*/ 2990850 h 4496940"/>
              <a:gd name="connsiteX37" fmla="*/ 4278652 w 4519987"/>
              <a:gd name="connsiteY37" fmla="*/ 3248025 h 4496940"/>
              <a:gd name="connsiteX38" fmla="*/ 4259602 w 4519987"/>
              <a:gd name="connsiteY38" fmla="*/ 3276600 h 4496940"/>
              <a:gd name="connsiteX39" fmla="*/ 4221502 w 4519987"/>
              <a:gd name="connsiteY39" fmla="*/ 3333750 h 4496940"/>
              <a:gd name="connsiteX40" fmla="*/ 4211977 w 4519987"/>
              <a:gd name="connsiteY40" fmla="*/ 3362325 h 4496940"/>
              <a:gd name="connsiteX41" fmla="*/ 4183402 w 4519987"/>
              <a:gd name="connsiteY41" fmla="*/ 3400425 h 4496940"/>
              <a:gd name="connsiteX42" fmla="*/ 4164352 w 4519987"/>
              <a:gd name="connsiteY42" fmla="*/ 3429000 h 4496940"/>
              <a:gd name="connsiteX43" fmla="*/ 4088152 w 4519987"/>
              <a:gd name="connsiteY43" fmla="*/ 3495675 h 4496940"/>
              <a:gd name="connsiteX44" fmla="*/ 4059577 w 4519987"/>
              <a:gd name="connsiteY44" fmla="*/ 3533775 h 4496940"/>
              <a:gd name="connsiteX45" fmla="*/ 4002427 w 4519987"/>
              <a:gd name="connsiteY45" fmla="*/ 3600450 h 4496940"/>
              <a:gd name="connsiteX46" fmla="*/ 3983377 w 4519987"/>
              <a:gd name="connsiteY46" fmla="*/ 3629025 h 4496940"/>
              <a:gd name="connsiteX47" fmla="*/ 3954802 w 4519987"/>
              <a:gd name="connsiteY47" fmla="*/ 3648075 h 4496940"/>
              <a:gd name="connsiteX48" fmla="*/ 3907177 w 4519987"/>
              <a:gd name="connsiteY48" fmla="*/ 3686175 h 4496940"/>
              <a:gd name="connsiteX49" fmla="*/ 3869077 w 4519987"/>
              <a:gd name="connsiteY49" fmla="*/ 3724275 h 4496940"/>
              <a:gd name="connsiteX50" fmla="*/ 3792877 w 4519987"/>
              <a:gd name="connsiteY50" fmla="*/ 3781425 h 4496940"/>
              <a:gd name="connsiteX51" fmla="*/ 3783352 w 4519987"/>
              <a:gd name="connsiteY51" fmla="*/ 3810000 h 4496940"/>
              <a:gd name="connsiteX52" fmla="*/ 3745252 w 4519987"/>
              <a:gd name="connsiteY52" fmla="*/ 3819525 h 4496940"/>
              <a:gd name="connsiteX53" fmla="*/ 3678577 w 4519987"/>
              <a:gd name="connsiteY53" fmla="*/ 3848100 h 4496940"/>
              <a:gd name="connsiteX54" fmla="*/ 3659527 w 4519987"/>
              <a:gd name="connsiteY54" fmla="*/ 3971925 h 4496940"/>
              <a:gd name="connsiteX55" fmla="*/ 3630952 w 4519987"/>
              <a:gd name="connsiteY55" fmla="*/ 4010025 h 4496940"/>
              <a:gd name="connsiteX56" fmla="*/ 3621427 w 4519987"/>
              <a:gd name="connsiteY56" fmla="*/ 4038600 h 4496940"/>
              <a:gd name="connsiteX57" fmla="*/ 3554752 w 4519987"/>
              <a:gd name="connsiteY57" fmla="*/ 4095750 h 4496940"/>
              <a:gd name="connsiteX58" fmla="*/ 3516652 w 4519987"/>
              <a:gd name="connsiteY58" fmla="*/ 4114800 h 4496940"/>
              <a:gd name="connsiteX59" fmla="*/ 3497602 w 4519987"/>
              <a:gd name="connsiteY59" fmla="*/ 4143375 h 4496940"/>
              <a:gd name="connsiteX60" fmla="*/ 3383302 w 4519987"/>
              <a:gd name="connsiteY60" fmla="*/ 4210050 h 4496940"/>
              <a:gd name="connsiteX61" fmla="*/ 3335677 w 4519987"/>
              <a:gd name="connsiteY61" fmla="*/ 4238625 h 4496940"/>
              <a:gd name="connsiteX62" fmla="*/ 3288052 w 4519987"/>
              <a:gd name="connsiteY62" fmla="*/ 4248150 h 4496940"/>
              <a:gd name="connsiteX63" fmla="*/ 3240427 w 4519987"/>
              <a:gd name="connsiteY63" fmla="*/ 4267200 h 4496940"/>
              <a:gd name="connsiteX64" fmla="*/ 3068977 w 4519987"/>
              <a:gd name="connsiteY64" fmla="*/ 4286250 h 4496940"/>
              <a:gd name="connsiteX65" fmla="*/ 2935627 w 4519987"/>
              <a:gd name="connsiteY65" fmla="*/ 4333875 h 4496940"/>
              <a:gd name="connsiteX66" fmla="*/ 2811802 w 4519987"/>
              <a:gd name="connsiteY66" fmla="*/ 4371975 h 4496940"/>
              <a:gd name="connsiteX67" fmla="*/ 2745127 w 4519987"/>
              <a:gd name="connsiteY67" fmla="*/ 4410075 h 4496940"/>
              <a:gd name="connsiteX68" fmla="*/ 2697502 w 4519987"/>
              <a:gd name="connsiteY68" fmla="*/ 4429125 h 4496940"/>
              <a:gd name="connsiteX69" fmla="*/ 2640352 w 4519987"/>
              <a:gd name="connsiteY69" fmla="*/ 4457700 h 4496940"/>
              <a:gd name="connsiteX70" fmla="*/ 2583202 w 4519987"/>
              <a:gd name="connsiteY70" fmla="*/ 4467225 h 4496940"/>
              <a:gd name="connsiteX71" fmla="*/ 2545102 w 4519987"/>
              <a:gd name="connsiteY71" fmla="*/ 4486275 h 4496940"/>
              <a:gd name="connsiteX72" fmla="*/ 2306977 w 4519987"/>
              <a:gd name="connsiteY72" fmla="*/ 4476750 h 4496940"/>
              <a:gd name="connsiteX73" fmla="*/ 2202202 w 4519987"/>
              <a:gd name="connsiteY73" fmla="*/ 4457700 h 4496940"/>
              <a:gd name="connsiteX74" fmla="*/ 2126002 w 4519987"/>
              <a:gd name="connsiteY74" fmla="*/ 4429125 h 4496940"/>
              <a:gd name="connsiteX75" fmla="*/ 1935502 w 4519987"/>
              <a:gd name="connsiteY75" fmla="*/ 4400550 h 4496940"/>
              <a:gd name="connsiteX76" fmla="*/ 1821202 w 4519987"/>
              <a:gd name="connsiteY76" fmla="*/ 4371975 h 4496940"/>
              <a:gd name="connsiteX77" fmla="*/ 1754527 w 4519987"/>
              <a:gd name="connsiteY77" fmla="*/ 4352925 h 4496940"/>
              <a:gd name="connsiteX78" fmla="*/ 1687852 w 4519987"/>
              <a:gd name="connsiteY78" fmla="*/ 4343400 h 4496940"/>
              <a:gd name="connsiteX79" fmla="*/ 1573552 w 4519987"/>
              <a:gd name="connsiteY79" fmla="*/ 4305300 h 4496940"/>
              <a:gd name="connsiteX80" fmla="*/ 1402102 w 4519987"/>
              <a:gd name="connsiteY80" fmla="*/ 4276725 h 4496940"/>
              <a:gd name="connsiteX81" fmla="*/ 1287802 w 4519987"/>
              <a:gd name="connsiteY81" fmla="*/ 4229100 h 4496940"/>
              <a:gd name="connsiteX82" fmla="*/ 1221127 w 4519987"/>
              <a:gd name="connsiteY82" fmla="*/ 4200525 h 4496940"/>
              <a:gd name="connsiteX83" fmla="*/ 1144927 w 4519987"/>
              <a:gd name="connsiteY83" fmla="*/ 4171950 h 4496940"/>
              <a:gd name="connsiteX84" fmla="*/ 1087777 w 4519987"/>
              <a:gd name="connsiteY84" fmla="*/ 4143375 h 4496940"/>
              <a:gd name="connsiteX85" fmla="*/ 1030627 w 4519987"/>
              <a:gd name="connsiteY85" fmla="*/ 4124325 h 4496940"/>
              <a:gd name="connsiteX86" fmla="*/ 925852 w 4519987"/>
              <a:gd name="connsiteY86" fmla="*/ 4067175 h 4496940"/>
              <a:gd name="connsiteX87" fmla="*/ 830602 w 4519987"/>
              <a:gd name="connsiteY87" fmla="*/ 3981450 h 4496940"/>
              <a:gd name="connsiteX88" fmla="*/ 763927 w 4519987"/>
              <a:gd name="connsiteY88" fmla="*/ 3914775 h 4496940"/>
              <a:gd name="connsiteX89" fmla="*/ 725827 w 4519987"/>
              <a:gd name="connsiteY89" fmla="*/ 3876675 h 4496940"/>
              <a:gd name="connsiteX90" fmla="*/ 697252 w 4519987"/>
              <a:gd name="connsiteY90" fmla="*/ 3838575 h 4496940"/>
              <a:gd name="connsiteX91" fmla="*/ 640102 w 4519987"/>
              <a:gd name="connsiteY91" fmla="*/ 3781425 h 4496940"/>
              <a:gd name="connsiteX92" fmla="*/ 611527 w 4519987"/>
              <a:gd name="connsiteY92" fmla="*/ 3733800 h 4496940"/>
              <a:gd name="connsiteX93" fmla="*/ 554377 w 4519987"/>
              <a:gd name="connsiteY93" fmla="*/ 3657600 h 4496940"/>
              <a:gd name="connsiteX94" fmla="*/ 525802 w 4519987"/>
              <a:gd name="connsiteY94" fmla="*/ 3609975 h 4496940"/>
              <a:gd name="connsiteX95" fmla="*/ 497227 w 4519987"/>
              <a:gd name="connsiteY95" fmla="*/ 3552825 h 4496940"/>
              <a:gd name="connsiteX96" fmla="*/ 440077 w 4519987"/>
              <a:gd name="connsiteY96" fmla="*/ 3495675 h 4496940"/>
              <a:gd name="connsiteX97" fmla="*/ 411502 w 4519987"/>
              <a:gd name="connsiteY97" fmla="*/ 3448050 h 4496940"/>
              <a:gd name="connsiteX98" fmla="*/ 278152 w 4519987"/>
              <a:gd name="connsiteY98" fmla="*/ 3257550 h 4496940"/>
              <a:gd name="connsiteX99" fmla="*/ 249577 w 4519987"/>
              <a:gd name="connsiteY99" fmla="*/ 3200400 h 4496940"/>
              <a:gd name="connsiteX100" fmla="*/ 240052 w 4519987"/>
              <a:gd name="connsiteY100" fmla="*/ 3162300 h 4496940"/>
              <a:gd name="connsiteX101" fmla="*/ 221002 w 4519987"/>
              <a:gd name="connsiteY101" fmla="*/ 3105150 h 4496940"/>
              <a:gd name="connsiteX102" fmla="*/ 173377 w 4519987"/>
              <a:gd name="connsiteY102" fmla="*/ 3019425 h 4496940"/>
              <a:gd name="connsiteX103" fmla="*/ 144802 w 4519987"/>
              <a:gd name="connsiteY103" fmla="*/ 2924175 h 4496940"/>
              <a:gd name="connsiteX104" fmla="*/ 68602 w 4519987"/>
              <a:gd name="connsiteY104" fmla="*/ 2724150 h 4496940"/>
              <a:gd name="connsiteX105" fmla="*/ 49552 w 4519987"/>
              <a:gd name="connsiteY105" fmla="*/ 2638425 h 4496940"/>
              <a:gd name="connsiteX106" fmla="*/ 40027 w 4519987"/>
              <a:gd name="connsiteY106" fmla="*/ 2562225 h 4496940"/>
              <a:gd name="connsiteX107" fmla="*/ 30502 w 4519987"/>
              <a:gd name="connsiteY107" fmla="*/ 2514600 h 4496940"/>
              <a:gd name="connsiteX108" fmla="*/ 11452 w 4519987"/>
              <a:gd name="connsiteY108" fmla="*/ 2400300 h 4496940"/>
              <a:gd name="connsiteX109" fmla="*/ 20977 w 4519987"/>
              <a:gd name="connsiteY109" fmla="*/ 1905000 h 4496940"/>
              <a:gd name="connsiteX110" fmla="*/ 30502 w 4519987"/>
              <a:gd name="connsiteY110" fmla="*/ 1838325 h 4496940"/>
              <a:gd name="connsiteX111" fmla="*/ 49552 w 4519987"/>
              <a:gd name="connsiteY111" fmla="*/ 1781175 h 4496940"/>
              <a:gd name="connsiteX112" fmla="*/ 59077 w 4519987"/>
              <a:gd name="connsiteY112" fmla="*/ 1743075 h 4496940"/>
              <a:gd name="connsiteX113" fmla="*/ 78127 w 4519987"/>
              <a:gd name="connsiteY113" fmla="*/ 1685925 h 4496940"/>
              <a:gd name="connsiteX114" fmla="*/ 87652 w 4519987"/>
              <a:gd name="connsiteY114" fmla="*/ 1638300 h 4496940"/>
              <a:gd name="connsiteX115" fmla="*/ 106702 w 4519987"/>
              <a:gd name="connsiteY115" fmla="*/ 1590675 h 4496940"/>
              <a:gd name="connsiteX116" fmla="*/ 135277 w 4519987"/>
              <a:gd name="connsiteY116" fmla="*/ 1504950 h 4496940"/>
              <a:gd name="connsiteX117" fmla="*/ 154327 w 4519987"/>
              <a:gd name="connsiteY117" fmla="*/ 1419225 h 4496940"/>
              <a:gd name="connsiteX118" fmla="*/ 230527 w 4519987"/>
              <a:gd name="connsiteY118" fmla="*/ 1276350 h 4496940"/>
              <a:gd name="connsiteX119" fmla="*/ 240052 w 4519987"/>
              <a:gd name="connsiteY119" fmla="*/ 1247775 h 4496940"/>
              <a:gd name="connsiteX120" fmla="*/ 268627 w 4519987"/>
              <a:gd name="connsiteY120" fmla="*/ 1200150 h 4496940"/>
              <a:gd name="connsiteX121" fmla="*/ 287677 w 4519987"/>
              <a:gd name="connsiteY121" fmla="*/ 1152525 h 4496940"/>
              <a:gd name="connsiteX122" fmla="*/ 316252 w 4519987"/>
              <a:gd name="connsiteY122" fmla="*/ 1114425 h 4496940"/>
              <a:gd name="connsiteX123" fmla="*/ 363877 w 4519987"/>
              <a:gd name="connsiteY123" fmla="*/ 1038225 h 4496940"/>
              <a:gd name="connsiteX124" fmla="*/ 382927 w 4519987"/>
              <a:gd name="connsiteY124" fmla="*/ 1009650 h 4496940"/>
              <a:gd name="connsiteX125" fmla="*/ 440077 w 4519987"/>
              <a:gd name="connsiteY125" fmla="*/ 904875 h 4496940"/>
              <a:gd name="connsiteX126" fmla="*/ 478177 w 4519987"/>
              <a:gd name="connsiteY126" fmla="*/ 857250 h 4496940"/>
              <a:gd name="connsiteX127" fmla="*/ 497227 w 4519987"/>
              <a:gd name="connsiteY127" fmla="*/ 828675 h 4496940"/>
              <a:gd name="connsiteX128" fmla="*/ 535327 w 4519987"/>
              <a:gd name="connsiteY128" fmla="*/ 800100 h 4496940"/>
              <a:gd name="connsiteX129" fmla="*/ 602002 w 4519987"/>
              <a:gd name="connsiteY129" fmla="*/ 733425 h 4496940"/>
              <a:gd name="connsiteX130" fmla="*/ 668677 w 4519987"/>
              <a:gd name="connsiteY130" fmla="*/ 676275 h 4496940"/>
              <a:gd name="connsiteX131" fmla="*/ 697252 w 4519987"/>
              <a:gd name="connsiteY131" fmla="*/ 657225 h 4496940"/>
              <a:gd name="connsiteX132" fmla="*/ 840127 w 4519987"/>
              <a:gd name="connsiteY132" fmla="*/ 533400 h 4496940"/>
              <a:gd name="connsiteX133" fmla="*/ 887752 w 4519987"/>
              <a:gd name="connsiteY133" fmla="*/ 504825 h 4496940"/>
              <a:gd name="connsiteX134" fmla="*/ 1167152 w 4519987"/>
              <a:gd name="connsiteY134" fmla="*/ 311150 h 4496940"/>
              <a:gd name="connsiteX135" fmla="*/ 1268752 w 4519987"/>
              <a:gd name="connsiteY135" fmla="*/ 285750 h 4496940"/>
              <a:gd name="connsiteX136" fmla="*/ 1411627 w 4519987"/>
              <a:gd name="connsiteY136" fmla="*/ 190500 h 4496940"/>
              <a:gd name="connsiteX137" fmla="*/ 1449727 w 4519987"/>
              <a:gd name="connsiteY137" fmla="*/ 161925 h 4496940"/>
              <a:gd name="connsiteX138" fmla="*/ 1525927 w 4519987"/>
              <a:gd name="connsiteY138" fmla="*/ 152400 h 4496940"/>
              <a:gd name="connsiteX139" fmla="*/ 1583077 w 4519987"/>
              <a:gd name="connsiteY139" fmla="*/ 142875 h 4496940"/>
              <a:gd name="connsiteX140" fmla="*/ 1716427 w 4519987"/>
              <a:gd name="connsiteY140" fmla="*/ 123825 h 4496940"/>
              <a:gd name="connsiteX141" fmla="*/ 1811677 w 4519987"/>
              <a:gd name="connsiteY141" fmla="*/ 114300 h 4496940"/>
              <a:gd name="connsiteX142" fmla="*/ 1859302 w 4519987"/>
              <a:gd name="connsiteY142" fmla="*/ 104775 h 4496940"/>
              <a:gd name="connsiteX143" fmla="*/ 1916452 w 4519987"/>
              <a:gd name="connsiteY143" fmla="*/ 95250 h 4496940"/>
              <a:gd name="connsiteX144" fmla="*/ 2030752 w 4519987"/>
              <a:gd name="connsiteY144" fmla="*/ 66675 h 4496940"/>
              <a:gd name="connsiteX145" fmla="*/ 2097427 w 4519987"/>
              <a:gd name="connsiteY145" fmla="*/ 47625 h 4496940"/>
              <a:gd name="connsiteX146" fmla="*/ 2164102 w 4519987"/>
              <a:gd name="connsiteY146" fmla="*/ 38100 h 4496940"/>
              <a:gd name="connsiteX147" fmla="*/ 2392702 w 4519987"/>
              <a:gd name="connsiteY14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192927 w 4519987"/>
              <a:gd name="connsiteY24" fmla="*/ 1057275 h 4496940"/>
              <a:gd name="connsiteX25" fmla="*/ 4202452 w 4519987"/>
              <a:gd name="connsiteY25" fmla="*/ 1085850 h 4496940"/>
              <a:gd name="connsiteX26" fmla="*/ 4250077 w 4519987"/>
              <a:gd name="connsiteY26" fmla="*/ 1143000 h 4496940"/>
              <a:gd name="connsiteX27" fmla="*/ 4259602 w 4519987"/>
              <a:gd name="connsiteY27" fmla="*/ 1190625 h 4496940"/>
              <a:gd name="connsiteX28" fmla="*/ 4307227 w 4519987"/>
              <a:gd name="connsiteY28" fmla="*/ 1266825 h 4496940"/>
              <a:gd name="connsiteX29" fmla="*/ 4345327 w 4519987"/>
              <a:gd name="connsiteY29" fmla="*/ 1362075 h 4496940"/>
              <a:gd name="connsiteX30" fmla="*/ 4373902 w 4519987"/>
              <a:gd name="connsiteY30" fmla="*/ 1428750 h 4496940"/>
              <a:gd name="connsiteX31" fmla="*/ 4392952 w 4519987"/>
              <a:gd name="connsiteY31" fmla="*/ 1552575 h 4496940"/>
              <a:gd name="connsiteX32" fmla="*/ 4402477 w 4519987"/>
              <a:gd name="connsiteY32" fmla="*/ 1590675 h 4496940"/>
              <a:gd name="connsiteX33" fmla="*/ 4431052 w 4519987"/>
              <a:gd name="connsiteY33" fmla="*/ 1685925 h 4496940"/>
              <a:gd name="connsiteX34" fmla="*/ 4519952 w 4519987"/>
              <a:gd name="connsiteY34" fmla="*/ 2181225 h 4496940"/>
              <a:gd name="connsiteX35" fmla="*/ 4446927 w 4519987"/>
              <a:gd name="connsiteY35" fmla="*/ 2768600 h 4496940"/>
              <a:gd name="connsiteX36" fmla="*/ 4383427 w 4519987"/>
              <a:gd name="connsiteY36" fmla="*/ 2990850 h 4496940"/>
              <a:gd name="connsiteX37" fmla="*/ 4278652 w 4519987"/>
              <a:gd name="connsiteY37" fmla="*/ 3248025 h 4496940"/>
              <a:gd name="connsiteX38" fmla="*/ 4259602 w 4519987"/>
              <a:gd name="connsiteY38" fmla="*/ 3276600 h 4496940"/>
              <a:gd name="connsiteX39" fmla="*/ 4221502 w 4519987"/>
              <a:gd name="connsiteY39" fmla="*/ 3333750 h 4496940"/>
              <a:gd name="connsiteX40" fmla="*/ 4211977 w 4519987"/>
              <a:gd name="connsiteY40" fmla="*/ 3362325 h 4496940"/>
              <a:gd name="connsiteX41" fmla="*/ 4183402 w 4519987"/>
              <a:gd name="connsiteY41" fmla="*/ 3400425 h 4496940"/>
              <a:gd name="connsiteX42" fmla="*/ 4164352 w 4519987"/>
              <a:gd name="connsiteY42" fmla="*/ 3429000 h 4496940"/>
              <a:gd name="connsiteX43" fmla="*/ 4088152 w 4519987"/>
              <a:gd name="connsiteY43" fmla="*/ 3495675 h 4496940"/>
              <a:gd name="connsiteX44" fmla="*/ 4059577 w 4519987"/>
              <a:gd name="connsiteY44" fmla="*/ 3533775 h 4496940"/>
              <a:gd name="connsiteX45" fmla="*/ 4002427 w 4519987"/>
              <a:gd name="connsiteY45" fmla="*/ 3600450 h 4496940"/>
              <a:gd name="connsiteX46" fmla="*/ 3983377 w 4519987"/>
              <a:gd name="connsiteY46" fmla="*/ 3629025 h 4496940"/>
              <a:gd name="connsiteX47" fmla="*/ 3954802 w 4519987"/>
              <a:gd name="connsiteY47" fmla="*/ 3648075 h 4496940"/>
              <a:gd name="connsiteX48" fmla="*/ 3907177 w 4519987"/>
              <a:gd name="connsiteY48" fmla="*/ 3686175 h 4496940"/>
              <a:gd name="connsiteX49" fmla="*/ 3869077 w 4519987"/>
              <a:gd name="connsiteY49" fmla="*/ 3724275 h 4496940"/>
              <a:gd name="connsiteX50" fmla="*/ 3792877 w 4519987"/>
              <a:gd name="connsiteY50" fmla="*/ 3781425 h 4496940"/>
              <a:gd name="connsiteX51" fmla="*/ 3783352 w 4519987"/>
              <a:gd name="connsiteY51" fmla="*/ 3810000 h 4496940"/>
              <a:gd name="connsiteX52" fmla="*/ 3745252 w 4519987"/>
              <a:gd name="connsiteY52" fmla="*/ 3819525 h 4496940"/>
              <a:gd name="connsiteX53" fmla="*/ 3678577 w 4519987"/>
              <a:gd name="connsiteY53" fmla="*/ 3848100 h 4496940"/>
              <a:gd name="connsiteX54" fmla="*/ 3659527 w 4519987"/>
              <a:gd name="connsiteY54" fmla="*/ 3971925 h 4496940"/>
              <a:gd name="connsiteX55" fmla="*/ 3630952 w 4519987"/>
              <a:gd name="connsiteY55" fmla="*/ 4010025 h 4496940"/>
              <a:gd name="connsiteX56" fmla="*/ 3621427 w 4519987"/>
              <a:gd name="connsiteY56" fmla="*/ 4038600 h 4496940"/>
              <a:gd name="connsiteX57" fmla="*/ 3554752 w 4519987"/>
              <a:gd name="connsiteY57" fmla="*/ 4095750 h 4496940"/>
              <a:gd name="connsiteX58" fmla="*/ 3516652 w 4519987"/>
              <a:gd name="connsiteY58" fmla="*/ 4114800 h 4496940"/>
              <a:gd name="connsiteX59" fmla="*/ 3497602 w 4519987"/>
              <a:gd name="connsiteY59" fmla="*/ 4143375 h 4496940"/>
              <a:gd name="connsiteX60" fmla="*/ 3383302 w 4519987"/>
              <a:gd name="connsiteY60" fmla="*/ 4210050 h 4496940"/>
              <a:gd name="connsiteX61" fmla="*/ 3335677 w 4519987"/>
              <a:gd name="connsiteY61" fmla="*/ 4238625 h 4496940"/>
              <a:gd name="connsiteX62" fmla="*/ 3288052 w 4519987"/>
              <a:gd name="connsiteY62" fmla="*/ 4248150 h 4496940"/>
              <a:gd name="connsiteX63" fmla="*/ 3240427 w 4519987"/>
              <a:gd name="connsiteY63" fmla="*/ 4267200 h 4496940"/>
              <a:gd name="connsiteX64" fmla="*/ 3068977 w 4519987"/>
              <a:gd name="connsiteY64" fmla="*/ 4286250 h 4496940"/>
              <a:gd name="connsiteX65" fmla="*/ 2935627 w 4519987"/>
              <a:gd name="connsiteY65" fmla="*/ 4333875 h 4496940"/>
              <a:gd name="connsiteX66" fmla="*/ 2811802 w 4519987"/>
              <a:gd name="connsiteY66" fmla="*/ 4371975 h 4496940"/>
              <a:gd name="connsiteX67" fmla="*/ 2745127 w 4519987"/>
              <a:gd name="connsiteY67" fmla="*/ 4410075 h 4496940"/>
              <a:gd name="connsiteX68" fmla="*/ 2697502 w 4519987"/>
              <a:gd name="connsiteY68" fmla="*/ 4429125 h 4496940"/>
              <a:gd name="connsiteX69" fmla="*/ 2640352 w 4519987"/>
              <a:gd name="connsiteY69" fmla="*/ 4457700 h 4496940"/>
              <a:gd name="connsiteX70" fmla="*/ 2583202 w 4519987"/>
              <a:gd name="connsiteY70" fmla="*/ 4467225 h 4496940"/>
              <a:gd name="connsiteX71" fmla="*/ 2545102 w 4519987"/>
              <a:gd name="connsiteY71" fmla="*/ 4486275 h 4496940"/>
              <a:gd name="connsiteX72" fmla="*/ 2306977 w 4519987"/>
              <a:gd name="connsiteY72" fmla="*/ 4476750 h 4496940"/>
              <a:gd name="connsiteX73" fmla="*/ 2202202 w 4519987"/>
              <a:gd name="connsiteY73" fmla="*/ 4457700 h 4496940"/>
              <a:gd name="connsiteX74" fmla="*/ 2126002 w 4519987"/>
              <a:gd name="connsiteY74" fmla="*/ 4429125 h 4496940"/>
              <a:gd name="connsiteX75" fmla="*/ 1935502 w 4519987"/>
              <a:gd name="connsiteY75" fmla="*/ 4400550 h 4496940"/>
              <a:gd name="connsiteX76" fmla="*/ 1821202 w 4519987"/>
              <a:gd name="connsiteY76" fmla="*/ 4371975 h 4496940"/>
              <a:gd name="connsiteX77" fmla="*/ 1754527 w 4519987"/>
              <a:gd name="connsiteY77" fmla="*/ 4352925 h 4496940"/>
              <a:gd name="connsiteX78" fmla="*/ 1687852 w 4519987"/>
              <a:gd name="connsiteY78" fmla="*/ 4343400 h 4496940"/>
              <a:gd name="connsiteX79" fmla="*/ 1573552 w 4519987"/>
              <a:gd name="connsiteY79" fmla="*/ 4305300 h 4496940"/>
              <a:gd name="connsiteX80" fmla="*/ 1402102 w 4519987"/>
              <a:gd name="connsiteY80" fmla="*/ 4276725 h 4496940"/>
              <a:gd name="connsiteX81" fmla="*/ 1287802 w 4519987"/>
              <a:gd name="connsiteY81" fmla="*/ 4229100 h 4496940"/>
              <a:gd name="connsiteX82" fmla="*/ 1221127 w 4519987"/>
              <a:gd name="connsiteY82" fmla="*/ 4200525 h 4496940"/>
              <a:gd name="connsiteX83" fmla="*/ 1144927 w 4519987"/>
              <a:gd name="connsiteY83" fmla="*/ 4171950 h 4496940"/>
              <a:gd name="connsiteX84" fmla="*/ 1087777 w 4519987"/>
              <a:gd name="connsiteY84" fmla="*/ 4143375 h 4496940"/>
              <a:gd name="connsiteX85" fmla="*/ 1030627 w 4519987"/>
              <a:gd name="connsiteY85" fmla="*/ 4124325 h 4496940"/>
              <a:gd name="connsiteX86" fmla="*/ 925852 w 4519987"/>
              <a:gd name="connsiteY86" fmla="*/ 4067175 h 4496940"/>
              <a:gd name="connsiteX87" fmla="*/ 830602 w 4519987"/>
              <a:gd name="connsiteY87" fmla="*/ 3981450 h 4496940"/>
              <a:gd name="connsiteX88" fmla="*/ 763927 w 4519987"/>
              <a:gd name="connsiteY88" fmla="*/ 3914775 h 4496940"/>
              <a:gd name="connsiteX89" fmla="*/ 725827 w 4519987"/>
              <a:gd name="connsiteY89" fmla="*/ 3876675 h 4496940"/>
              <a:gd name="connsiteX90" fmla="*/ 697252 w 4519987"/>
              <a:gd name="connsiteY90" fmla="*/ 3838575 h 4496940"/>
              <a:gd name="connsiteX91" fmla="*/ 640102 w 4519987"/>
              <a:gd name="connsiteY91" fmla="*/ 3781425 h 4496940"/>
              <a:gd name="connsiteX92" fmla="*/ 611527 w 4519987"/>
              <a:gd name="connsiteY92" fmla="*/ 3733800 h 4496940"/>
              <a:gd name="connsiteX93" fmla="*/ 554377 w 4519987"/>
              <a:gd name="connsiteY93" fmla="*/ 3657600 h 4496940"/>
              <a:gd name="connsiteX94" fmla="*/ 525802 w 4519987"/>
              <a:gd name="connsiteY94" fmla="*/ 3609975 h 4496940"/>
              <a:gd name="connsiteX95" fmla="*/ 497227 w 4519987"/>
              <a:gd name="connsiteY95" fmla="*/ 3552825 h 4496940"/>
              <a:gd name="connsiteX96" fmla="*/ 440077 w 4519987"/>
              <a:gd name="connsiteY96" fmla="*/ 3495675 h 4496940"/>
              <a:gd name="connsiteX97" fmla="*/ 411502 w 4519987"/>
              <a:gd name="connsiteY97" fmla="*/ 3448050 h 4496940"/>
              <a:gd name="connsiteX98" fmla="*/ 278152 w 4519987"/>
              <a:gd name="connsiteY98" fmla="*/ 3257550 h 4496940"/>
              <a:gd name="connsiteX99" fmla="*/ 249577 w 4519987"/>
              <a:gd name="connsiteY99" fmla="*/ 3200400 h 4496940"/>
              <a:gd name="connsiteX100" fmla="*/ 240052 w 4519987"/>
              <a:gd name="connsiteY100" fmla="*/ 3162300 h 4496940"/>
              <a:gd name="connsiteX101" fmla="*/ 221002 w 4519987"/>
              <a:gd name="connsiteY101" fmla="*/ 3105150 h 4496940"/>
              <a:gd name="connsiteX102" fmla="*/ 173377 w 4519987"/>
              <a:gd name="connsiteY102" fmla="*/ 3019425 h 4496940"/>
              <a:gd name="connsiteX103" fmla="*/ 144802 w 4519987"/>
              <a:gd name="connsiteY103" fmla="*/ 2924175 h 4496940"/>
              <a:gd name="connsiteX104" fmla="*/ 68602 w 4519987"/>
              <a:gd name="connsiteY104" fmla="*/ 2724150 h 4496940"/>
              <a:gd name="connsiteX105" fmla="*/ 49552 w 4519987"/>
              <a:gd name="connsiteY105" fmla="*/ 2638425 h 4496940"/>
              <a:gd name="connsiteX106" fmla="*/ 40027 w 4519987"/>
              <a:gd name="connsiteY106" fmla="*/ 2562225 h 4496940"/>
              <a:gd name="connsiteX107" fmla="*/ 30502 w 4519987"/>
              <a:gd name="connsiteY107" fmla="*/ 2514600 h 4496940"/>
              <a:gd name="connsiteX108" fmla="*/ 11452 w 4519987"/>
              <a:gd name="connsiteY108" fmla="*/ 2400300 h 4496940"/>
              <a:gd name="connsiteX109" fmla="*/ 20977 w 4519987"/>
              <a:gd name="connsiteY109" fmla="*/ 1905000 h 4496940"/>
              <a:gd name="connsiteX110" fmla="*/ 30502 w 4519987"/>
              <a:gd name="connsiteY110" fmla="*/ 1838325 h 4496940"/>
              <a:gd name="connsiteX111" fmla="*/ 49552 w 4519987"/>
              <a:gd name="connsiteY111" fmla="*/ 1781175 h 4496940"/>
              <a:gd name="connsiteX112" fmla="*/ 59077 w 4519987"/>
              <a:gd name="connsiteY112" fmla="*/ 1743075 h 4496940"/>
              <a:gd name="connsiteX113" fmla="*/ 78127 w 4519987"/>
              <a:gd name="connsiteY113" fmla="*/ 1685925 h 4496940"/>
              <a:gd name="connsiteX114" fmla="*/ 87652 w 4519987"/>
              <a:gd name="connsiteY114" fmla="*/ 1638300 h 4496940"/>
              <a:gd name="connsiteX115" fmla="*/ 106702 w 4519987"/>
              <a:gd name="connsiteY115" fmla="*/ 1590675 h 4496940"/>
              <a:gd name="connsiteX116" fmla="*/ 135277 w 4519987"/>
              <a:gd name="connsiteY116" fmla="*/ 1504950 h 4496940"/>
              <a:gd name="connsiteX117" fmla="*/ 154327 w 4519987"/>
              <a:gd name="connsiteY117" fmla="*/ 1419225 h 4496940"/>
              <a:gd name="connsiteX118" fmla="*/ 230527 w 4519987"/>
              <a:gd name="connsiteY118" fmla="*/ 1276350 h 4496940"/>
              <a:gd name="connsiteX119" fmla="*/ 240052 w 4519987"/>
              <a:gd name="connsiteY119" fmla="*/ 1247775 h 4496940"/>
              <a:gd name="connsiteX120" fmla="*/ 268627 w 4519987"/>
              <a:gd name="connsiteY120" fmla="*/ 1200150 h 4496940"/>
              <a:gd name="connsiteX121" fmla="*/ 287677 w 4519987"/>
              <a:gd name="connsiteY121" fmla="*/ 1152525 h 4496940"/>
              <a:gd name="connsiteX122" fmla="*/ 316252 w 4519987"/>
              <a:gd name="connsiteY122" fmla="*/ 1114425 h 4496940"/>
              <a:gd name="connsiteX123" fmla="*/ 363877 w 4519987"/>
              <a:gd name="connsiteY123" fmla="*/ 1038225 h 4496940"/>
              <a:gd name="connsiteX124" fmla="*/ 382927 w 4519987"/>
              <a:gd name="connsiteY124" fmla="*/ 1009650 h 4496940"/>
              <a:gd name="connsiteX125" fmla="*/ 440077 w 4519987"/>
              <a:gd name="connsiteY125" fmla="*/ 904875 h 4496940"/>
              <a:gd name="connsiteX126" fmla="*/ 478177 w 4519987"/>
              <a:gd name="connsiteY126" fmla="*/ 857250 h 4496940"/>
              <a:gd name="connsiteX127" fmla="*/ 497227 w 4519987"/>
              <a:gd name="connsiteY127" fmla="*/ 828675 h 4496940"/>
              <a:gd name="connsiteX128" fmla="*/ 535327 w 4519987"/>
              <a:gd name="connsiteY128" fmla="*/ 800100 h 4496940"/>
              <a:gd name="connsiteX129" fmla="*/ 602002 w 4519987"/>
              <a:gd name="connsiteY129" fmla="*/ 733425 h 4496940"/>
              <a:gd name="connsiteX130" fmla="*/ 668677 w 4519987"/>
              <a:gd name="connsiteY130" fmla="*/ 676275 h 4496940"/>
              <a:gd name="connsiteX131" fmla="*/ 697252 w 4519987"/>
              <a:gd name="connsiteY131" fmla="*/ 657225 h 4496940"/>
              <a:gd name="connsiteX132" fmla="*/ 840127 w 4519987"/>
              <a:gd name="connsiteY132" fmla="*/ 533400 h 4496940"/>
              <a:gd name="connsiteX133" fmla="*/ 887752 w 4519987"/>
              <a:gd name="connsiteY133" fmla="*/ 504825 h 4496940"/>
              <a:gd name="connsiteX134" fmla="*/ 1167152 w 4519987"/>
              <a:gd name="connsiteY134" fmla="*/ 311150 h 4496940"/>
              <a:gd name="connsiteX135" fmla="*/ 1268752 w 4519987"/>
              <a:gd name="connsiteY135" fmla="*/ 285750 h 4496940"/>
              <a:gd name="connsiteX136" fmla="*/ 1411627 w 4519987"/>
              <a:gd name="connsiteY136" fmla="*/ 190500 h 4496940"/>
              <a:gd name="connsiteX137" fmla="*/ 1449727 w 4519987"/>
              <a:gd name="connsiteY137" fmla="*/ 161925 h 4496940"/>
              <a:gd name="connsiteX138" fmla="*/ 1525927 w 4519987"/>
              <a:gd name="connsiteY138" fmla="*/ 152400 h 4496940"/>
              <a:gd name="connsiteX139" fmla="*/ 1583077 w 4519987"/>
              <a:gd name="connsiteY139" fmla="*/ 142875 h 4496940"/>
              <a:gd name="connsiteX140" fmla="*/ 1716427 w 4519987"/>
              <a:gd name="connsiteY140" fmla="*/ 123825 h 4496940"/>
              <a:gd name="connsiteX141" fmla="*/ 1811677 w 4519987"/>
              <a:gd name="connsiteY141" fmla="*/ 114300 h 4496940"/>
              <a:gd name="connsiteX142" fmla="*/ 1859302 w 4519987"/>
              <a:gd name="connsiteY142" fmla="*/ 104775 h 4496940"/>
              <a:gd name="connsiteX143" fmla="*/ 1916452 w 4519987"/>
              <a:gd name="connsiteY143" fmla="*/ 95250 h 4496940"/>
              <a:gd name="connsiteX144" fmla="*/ 2030752 w 4519987"/>
              <a:gd name="connsiteY144" fmla="*/ 66675 h 4496940"/>
              <a:gd name="connsiteX145" fmla="*/ 2097427 w 4519987"/>
              <a:gd name="connsiteY145" fmla="*/ 47625 h 4496940"/>
              <a:gd name="connsiteX146" fmla="*/ 2164102 w 4519987"/>
              <a:gd name="connsiteY146" fmla="*/ 38100 h 4496940"/>
              <a:gd name="connsiteX147" fmla="*/ 2392702 w 4519987"/>
              <a:gd name="connsiteY14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202452 w 4519987"/>
              <a:gd name="connsiteY24" fmla="*/ 1085850 h 4496940"/>
              <a:gd name="connsiteX25" fmla="*/ 4250077 w 4519987"/>
              <a:gd name="connsiteY25" fmla="*/ 1143000 h 4496940"/>
              <a:gd name="connsiteX26" fmla="*/ 4259602 w 4519987"/>
              <a:gd name="connsiteY26" fmla="*/ 1190625 h 4496940"/>
              <a:gd name="connsiteX27" fmla="*/ 4307227 w 4519987"/>
              <a:gd name="connsiteY27" fmla="*/ 1266825 h 4496940"/>
              <a:gd name="connsiteX28" fmla="*/ 4345327 w 4519987"/>
              <a:gd name="connsiteY28" fmla="*/ 1362075 h 4496940"/>
              <a:gd name="connsiteX29" fmla="*/ 4373902 w 4519987"/>
              <a:gd name="connsiteY29" fmla="*/ 1428750 h 4496940"/>
              <a:gd name="connsiteX30" fmla="*/ 4392952 w 4519987"/>
              <a:gd name="connsiteY30" fmla="*/ 1552575 h 4496940"/>
              <a:gd name="connsiteX31" fmla="*/ 4402477 w 4519987"/>
              <a:gd name="connsiteY31" fmla="*/ 1590675 h 4496940"/>
              <a:gd name="connsiteX32" fmla="*/ 4431052 w 4519987"/>
              <a:gd name="connsiteY32" fmla="*/ 1685925 h 4496940"/>
              <a:gd name="connsiteX33" fmla="*/ 4519952 w 4519987"/>
              <a:gd name="connsiteY33" fmla="*/ 2181225 h 4496940"/>
              <a:gd name="connsiteX34" fmla="*/ 4446927 w 4519987"/>
              <a:gd name="connsiteY34" fmla="*/ 2768600 h 4496940"/>
              <a:gd name="connsiteX35" fmla="*/ 4383427 w 4519987"/>
              <a:gd name="connsiteY35" fmla="*/ 2990850 h 4496940"/>
              <a:gd name="connsiteX36" fmla="*/ 4278652 w 4519987"/>
              <a:gd name="connsiteY36" fmla="*/ 3248025 h 4496940"/>
              <a:gd name="connsiteX37" fmla="*/ 4259602 w 4519987"/>
              <a:gd name="connsiteY37" fmla="*/ 3276600 h 4496940"/>
              <a:gd name="connsiteX38" fmla="*/ 4221502 w 4519987"/>
              <a:gd name="connsiteY38" fmla="*/ 3333750 h 4496940"/>
              <a:gd name="connsiteX39" fmla="*/ 4211977 w 4519987"/>
              <a:gd name="connsiteY39" fmla="*/ 3362325 h 4496940"/>
              <a:gd name="connsiteX40" fmla="*/ 4183402 w 4519987"/>
              <a:gd name="connsiteY40" fmla="*/ 3400425 h 4496940"/>
              <a:gd name="connsiteX41" fmla="*/ 4164352 w 4519987"/>
              <a:gd name="connsiteY41" fmla="*/ 3429000 h 4496940"/>
              <a:gd name="connsiteX42" fmla="*/ 4088152 w 4519987"/>
              <a:gd name="connsiteY42" fmla="*/ 3495675 h 4496940"/>
              <a:gd name="connsiteX43" fmla="*/ 4059577 w 4519987"/>
              <a:gd name="connsiteY43" fmla="*/ 3533775 h 4496940"/>
              <a:gd name="connsiteX44" fmla="*/ 4002427 w 4519987"/>
              <a:gd name="connsiteY44" fmla="*/ 3600450 h 4496940"/>
              <a:gd name="connsiteX45" fmla="*/ 3983377 w 4519987"/>
              <a:gd name="connsiteY45" fmla="*/ 3629025 h 4496940"/>
              <a:gd name="connsiteX46" fmla="*/ 3954802 w 4519987"/>
              <a:gd name="connsiteY46" fmla="*/ 3648075 h 4496940"/>
              <a:gd name="connsiteX47" fmla="*/ 3907177 w 4519987"/>
              <a:gd name="connsiteY47" fmla="*/ 3686175 h 4496940"/>
              <a:gd name="connsiteX48" fmla="*/ 3869077 w 4519987"/>
              <a:gd name="connsiteY48" fmla="*/ 3724275 h 4496940"/>
              <a:gd name="connsiteX49" fmla="*/ 3792877 w 4519987"/>
              <a:gd name="connsiteY49" fmla="*/ 3781425 h 4496940"/>
              <a:gd name="connsiteX50" fmla="*/ 3783352 w 4519987"/>
              <a:gd name="connsiteY50" fmla="*/ 3810000 h 4496940"/>
              <a:gd name="connsiteX51" fmla="*/ 3745252 w 4519987"/>
              <a:gd name="connsiteY51" fmla="*/ 3819525 h 4496940"/>
              <a:gd name="connsiteX52" fmla="*/ 3678577 w 4519987"/>
              <a:gd name="connsiteY52" fmla="*/ 3848100 h 4496940"/>
              <a:gd name="connsiteX53" fmla="*/ 3659527 w 4519987"/>
              <a:gd name="connsiteY53" fmla="*/ 3971925 h 4496940"/>
              <a:gd name="connsiteX54" fmla="*/ 3630952 w 4519987"/>
              <a:gd name="connsiteY54" fmla="*/ 4010025 h 4496940"/>
              <a:gd name="connsiteX55" fmla="*/ 3621427 w 4519987"/>
              <a:gd name="connsiteY55" fmla="*/ 4038600 h 4496940"/>
              <a:gd name="connsiteX56" fmla="*/ 3554752 w 4519987"/>
              <a:gd name="connsiteY56" fmla="*/ 4095750 h 4496940"/>
              <a:gd name="connsiteX57" fmla="*/ 3516652 w 4519987"/>
              <a:gd name="connsiteY57" fmla="*/ 4114800 h 4496940"/>
              <a:gd name="connsiteX58" fmla="*/ 3497602 w 4519987"/>
              <a:gd name="connsiteY58" fmla="*/ 4143375 h 4496940"/>
              <a:gd name="connsiteX59" fmla="*/ 3383302 w 4519987"/>
              <a:gd name="connsiteY59" fmla="*/ 4210050 h 4496940"/>
              <a:gd name="connsiteX60" fmla="*/ 3335677 w 4519987"/>
              <a:gd name="connsiteY60" fmla="*/ 4238625 h 4496940"/>
              <a:gd name="connsiteX61" fmla="*/ 3288052 w 4519987"/>
              <a:gd name="connsiteY61" fmla="*/ 4248150 h 4496940"/>
              <a:gd name="connsiteX62" fmla="*/ 3240427 w 4519987"/>
              <a:gd name="connsiteY62" fmla="*/ 4267200 h 4496940"/>
              <a:gd name="connsiteX63" fmla="*/ 3068977 w 4519987"/>
              <a:gd name="connsiteY63" fmla="*/ 4286250 h 4496940"/>
              <a:gd name="connsiteX64" fmla="*/ 2935627 w 4519987"/>
              <a:gd name="connsiteY64" fmla="*/ 4333875 h 4496940"/>
              <a:gd name="connsiteX65" fmla="*/ 2811802 w 4519987"/>
              <a:gd name="connsiteY65" fmla="*/ 4371975 h 4496940"/>
              <a:gd name="connsiteX66" fmla="*/ 2745127 w 4519987"/>
              <a:gd name="connsiteY66" fmla="*/ 4410075 h 4496940"/>
              <a:gd name="connsiteX67" fmla="*/ 2697502 w 4519987"/>
              <a:gd name="connsiteY67" fmla="*/ 4429125 h 4496940"/>
              <a:gd name="connsiteX68" fmla="*/ 2640352 w 4519987"/>
              <a:gd name="connsiteY68" fmla="*/ 4457700 h 4496940"/>
              <a:gd name="connsiteX69" fmla="*/ 2583202 w 4519987"/>
              <a:gd name="connsiteY69" fmla="*/ 4467225 h 4496940"/>
              <a:gd name="connsiteX70" fmla="*/ 2545102 w 4519987"/>
              <a:gd name="connsiteY70" fmla="*/ 4486275 h 4496940"/>
              <a:gd name="connsiteX71" fmla="*/ 2306977 w 4519987"/>
              <a:gd name="connsiteY71" fmla="*/ 4476750 h 4496940"/>
              <a:gd name="connsiteX72" fmla="*/ 2202202 w 4519987"/>
              <a:gd name="connsiteY72" fmla="*/ 4457700 h 4496940"/>
              <a:gd name="connsiteX73" fmla="*/ 2126002 w 4519987"/>
              <a:gd name="connsiteY73" fmla="*/ 4429125 h 4496940"/>
              <a:gd name="connsiteX74" fmla="*/ 1935502 w 4519987"/>
              <a:gd name="connsiteY74" fmla="*/ 4400550 h 4496940"/>
              <a:gd name="connsiteX75" fmla="*/ 1821202 w 4519987"/>
              <a:gd name="connsiteY75" fmla="*/ 4371975 h 4496940"/>
              <a:gd name="connsiteX76" fmla="*/ 1754527 w 4519987"/>
              <a:gd name="connsiteY76" fmla="*/ 4352925 h 4496940"/>
              <a:gd name="connsiteX77" fmla="*/ 1687852 w 4519987"/>
              <a:gd name="connsiteY77" fmla="*/ 4343400 h 4496940"/>
              <a:gd name="connsiteX78" fmla="*/ 1573552 w 4519987"/>
              <a:gd name="connsiteY78" fmla="*/ 4305300 h 4496940"/>
              <a:gd name="connsiteX79" fmla="*/ 1402102 w 4519987"/>
              <a:gd name="connsiteY79" fmla="*/ 4276725 h 4496940"/>
              <a:gd name="connsiteX80" fmla="*/ 1287802 w 4519987"/>
              <a:gd name="connsiteY80" fmla="*/ 4229100 h 4496940"/>
              <a:gd name="connsiteX81" fmla="*/ 1221127 w 4519987"/>
              <a:gd name="connsiteY81" fmla="*/ 4200525 h 4496940"/>
              <a:gd name="connsiteX82" fmla="*/ 1144927 w 4519987"/>
              <a:gd name="connsiteY82" fmla="*/ 4171950 h 4496940"/>
              <a:gd name="connsiteX83" fmla="*/ 1087777 w 4519987"/>
              <a:gd name="connsiteY83" fmla="*/ 4143375 h 4496940"/>
              <a:gd name="connsiteX84" fmla="*/ 1030627 w 4519987"/>
              <a:gd name="connsiteY84" fmla="*/ 4124325 h 4496940"/>
              <a:gd name="connsiteX85" fmla="*/ 925852 w 4519987"/>
              <a:gd name="connsiteY85" fmla="*/ 4067175 h 4496940"/>
              <a:gd name="connsiteX86" fmla="*/ 830602 w 4519987"/>
              <a:gd name="connsiteY86" fmla="*/ 3981450 h 4496940"/>
              <a:gd name="connsiteX87" fmla="*/ 763927 w 4519987"/>
              <a:gd name="connsiteY87" fmla="*/ 3914775 h 4496940"/>
              <a:gd name="connsiteX88" fmla="*/ 725827 w 4519987"/>
              <a:gd name="connsiteY88" fmla="*/ 3876675 h 4496940"/>
              <a:gd name="connsiteX89" fmla="*/ 697252 w 4519987"/>
              <a:gd name="connsiteY89" fmla="*/ 3838575 h 4496940"/>
              <a:gd name="connsiteX90" fmla="*/ 640102 w 4519987"/>
              <a:gd name="connsiteY90" fmla="*/ 3781425 h 4496940"/>
              <a:gd name="connsiteX91" fmla="*/ 611527 w 4519987"/>
              <a:gd name="connsiteY91" fmla="*/ 3733800 h 4496940"/>
              <a:gd name="connsiteX92" fmla="*/ 554377 w 4519987"/>
              <a:gd name="connsiteY92" fmla="*/ 3657600 h 4496940"/>
              <a:gd name="connsiteX93" fmla="*/ 525802 w 4519987"/>
              <a:gd name="connsiteY93" fmla="*/ 3609975 h 4496940"/>
              <a:gd name="connsiteX94" fmla="*/ 497227 w 4519987"/>
              <a:gd name="connsiteY94" fmla="*/ 3552825 h 4496940"/>
              <a:gd name="connsiteX95" fmla="*/ 440077 w 4519987"/>
              <a:gd name="connsiteY95" fmla="*/ 3495675 h 4496940"/>
              <a:gd name="connsiteX96" fmla="*/ 411502 w 4519987"/>
              <a:gd name="connsiteY96" fmla="*/ 3448050 h 4496940"/>
              <a:gd name="connsiteX97" fmla="*/ 278152 w 4519987"/>
              <a:gd name="connsiteY97" fmla="*/ 3257550 h 4496940"/>
              <a:gd name="connsiteX98" fmla="*/ 249577 w 4519987"/>
              <a:gd name="connsiteY98" fmla="*/ 3200400 h 4496940"/>
              <a:gd name="connsiteX99" fmla="*/ 240052 w 4519987"/>
              <a:gd name="connsiteY99" fmla="*/ 3162300 h 4496940"/>
              <a:gd name="connsiteX100" fmla="*/ 221002 w 4519987"/>
              <a:gd name="connsiteY100" fmla="*/ 3105150 h 4496940"/>
              <a:gd name="connsiteX101" fmla="*/ 173377 w 4519987"/>
              <a:gd name="connsiteY101" fmla="*/ 3019425 h 4496940"/>
              <a:gd name="connsiteX102" fmla="*/ 144802 w 4519987"/>
              <a:gd name="connsiteY102" fmla="*/ 2924175 h 4496940"/>
              <a:gd name="connsiteX103" fmla="*/ 68602 w 4519987"/>
              <a:gd name="connsiteY103" fmla="*/ 2724150 h 4496940"/>
              <a:gd name="connsiteX104" fmla="*/ 49552 w 4519987"/>
              <a:gd name="connsiteY104" fmla="*/ 2638425 h 4496940"/>
              <a:gd name="connsiteX105" fmla="*/ 40027 w 4519987"/>
              <a:gd name="connsiteY105" fmla="*/ 2562225 h 4496940"/>
              <a:gd name="connsiteX106" fmla="*/ 30502 w 4519987"/>
              <a:gd name="connsiteY106" fmla="*/ 2514600 h 4496940"/>
              <a:gd name="connsiteX107" fmla="*/ 11452 w 4519987"/>
              <a:gd name="connsiteY107" fmla="*/ 2400300 h 4496940"/>
              <a:gd name="connsiteX108" fmla="*/ 20977 w 4519987"/>
              <a:gd name="connsiteY108" fmla="*/ 1905000 h 4496940"/>
              <a:gd name="connsiteX109" fmla="*/ 30502 w 4519987"/>
              <a:gd name="connsiteY109" fmla="*/ 1838325 h 4496940"/>
              <a:gd name="connsiteX110" fmla="*/ 49552 w 4519987"/>
              <a:gd name="connsiteY110" fmla="*/ 1781175 h 4496940"/>
              <a:gd name="connsiteX111" fmla="*/ 59077 w 4519987"/>
              <a:gd name="connsiteY111" fmla="*/ 1743075 h 4496940"/>
              <a:gd name="connsiteX112" fmla="*/ 78127 w 4519987"/>
              <a:gd name="connsiteY112" fmla="*/ 1685925 h 4496940"/>
              <a:gd name="connsiteX113" fmla="*/ 87652 w 4519987"/>
              <a:gd name="connsiteY113" fmla="*/ 1638300 h 4496940"/>
              <a:gd name="connsiteX114" fmla="*/ 106702 w 4519987"/>
              <a:gd name="connsiteY114" fmla="*/ 1590675 h 4496940"/>
              <a:gd name="connsiteX115" fmla="*/ 135277 w 4519987"/>
              <a:gd name="connsiteY115" fmla="*/ 1504950 h 4496940"/>
              <a:gd name="connsiteX116" fmla="*/ 154327 w 4519987"/>
              <a:gd name="connsiteY116" fmla="*/ 1419225 h 4496940"/>
              <a:gd name="connsiteX117" fmla="*/ 230527 w 4519987"/>
              <a:gd name="connsiteY117" fmla="*/ 1276350 h 4496940"/>
              <a:gd name="connsiteX118" fmla="*/ 240052 w 4519987"/>
              <a:gd name="connsiteY118" fmla="*/ 1247775 h 4496940"/>
              <a:gd name="connsiteX119" fmla="*/ 268627 w 4519987"/>
              <a:gd name="connsiteY119" fmla="*/ 1200150 h 4496940"/>
              <a:gd name="connsiteX120" fmla="*/ 287677 w 4519987"/>
              <a:gd name="connsiteY120" fmla="*/ 1152525 h 4496940"/>
              <a:gd name="connsiteX121" fmla="*/ 316252 w 4519987"/>
              <a:gd name="connsiteY121" fmla="*/ 1114425 h 4496940"/>
              <a:gd name="connsiteX122" fmla="*/ 363877 w 4519987"/>
              <a:gd name="connsiteY122" fmla="*/ 1038225 h 4496940"/>
              <a:gd name="connsiteX123" fmla="*/ 382927 w 4519987"/>
              <a:gd name="connsiteY123" fmla="*/ 1009650 h 4496940"/>
              <a:gd name="connsiteX124" fmla="*/ 440077 w 4519987"/>
              <a:gd name="connsiteY124" fmla="*/ 904875 h 4496940"/>
              <a:gd name="connsiteX125" fmla="*/ 478177 w 4519987"/>
              <a:gd name="connsiteY125" fmla="*/ 857250 h 4496940"/>
              <a:gd name="connsiteX126" fmla="*/ 497227 w 4519987"/>
              <a:gd name="connsiteY126" fmla="*/ 828675 h 4496940"/>
              <a:gd name="connsiteX127" fmla="*/ 535327 w 4519987"/>
              <a:gd name="connsiteY127" fmla="*/ 800100 h 4496940"/>
              <a:gd name="connsiteX128" fmla="*/ 602002 w 4519987"/>
              <a:gd name="connsiteY128" fmla="*/ 733425 h 4496940"/>
              <a:gd name="connsiteX129" fmla="*/ 668677 w 4519987"/>
              <a:gd name="connsiteY129" fmla="*/ 676275 h 4496940"/>
              <a:gd name="connsiteX130" fmla="*/ 697252 w 4519987"/>
              <a:gd name="connsiteY130" fmla="*/ 657225 h 4496940"/>
              <a:gd name="connsiteX131" fmla="*/ 840127 w 4519987"/>
              <a:gd name="connsiteY131" fmla="*/ 533400 h 4496940"/>
              <a:gd name="connsiteX132" fmla="*/ 887752 w 4519987"/>
              <a:gd name="connsiteY132" fmla="*/ 504825 h 4496940"/>
              <a:gd name="connsiteX133" fmla="*/ 1167152 w 4519987"/>
              <a:gd name="connsiteY133" fmla="*/ 311150 h 4496940"/>
              <a:gd name="connsiteX134" fmla="*/ 1268752 w 4519987"/>
              <a:gd name="connsiteY134" fmla="*/ 285750 h 4496940"/>
              <a:gd name="connsiteX135" fmla="*/ 1411627 w 4519987"/>
              <a:gd name="connsiteY135" fmla="*/ 190500 h 4496940"/>
              <a:gd name="connsiteX136" fmla="*/ 1449727 w 4519987"/>
              <a:gd name="connsiteY136" fmla="*/ 161925 h 4496940"/>
              <a:gd name="connsiteX137" fmla="*/ 1525927 w 4519987"/>
              <a:gd name="connsiteY137" fmla="*/ 152400 h 4496940"/>
              <a:gd name="connsiteX138" fmla="*/ 1583077 w 4519987"/>
              <a:gd name="connsiteY138" fmla="*/ 142875 h 4496940"/>
              <a:gd name="connsiteX139" fmla="*/ 1716427 w 4519987"/>
              <a:gd name="connsiteY139" fmla="*/ 123825 h 4496940"/>
              <a:gd name="connsiteX140" fmla="*/ 1811677 w 4519987"/>
              <a:gd name="connsiteY140" fmla="*/ 114300 h 4496940"/>
              <a:gd name="connsiteX141" fmla="*/ 1859302 w 4519987"/>
              <a:gd name="connsiteY141" fmla="*/ 104775 h 4496940"/>
              <a:gd name="connsiteX142" fmla="*/ 1916452 w 4519987"/>
              <a:gd name="connsiteY142" fmla="*/ 95250 h 4496940"/>
              <a:gd name="connsiteX143" fmla="*/ 2030752 w 4519987"/>
              <a:gd name="connsiteY143" fmla="*/ 66675 h 4496940"/>
              <a:gd name="connsiteX144" fmla="*/ 2097427 w 4519987"/>
              <a:gd name="connsiteY144" fmla="*/ 47625 h 4496940"/>
              <a:gd name="connsiteX145" fmla="*/ 2164102 w 4519987"/>
              <a:gd name="connsiteY145" fmla="*/ 38100 h 4496940"/>
              <a:gd name="connsiteX146" fmla="*/ 2392702 w 4519987"/>
              <a:gd name="connsiteY14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250077 w 4519987"/>
              <a:gd name="connsiteY24" fmla="*/ 1143000 h 4496940"/>
              <a:gd name="connsiteX25" fmla="*/ 4259602 w 4519987"/>
              <a:gd name="connsiteY25" fmla="*/ 1190625 h 4496940"/>
              <a:gd name="connsiteX26" fmla="*/ 4307227 w 4519987"/>
              <a:gd name="connsiteY26" fmla="*/ 1266825 h 4496940"/>
              <a:gd name="connsiteX27" fmla="*/ 4345327 w 4519987"/>
              <a:gd name="connsiteY27" fmla="*/ 1362075 h 4496940"/>
              <a:gd name="connsiteX28" fmla="*/ 4373902 w 4519987"/>
              <a:gd name="connsiteY28" fmla="*/ 1428750 h 4496940"/>
              <a:gd name="connsiteX29" fmla="*/ 4392952 w 4519987"/>
              <a:gd name="connsiteY29" fmla="*/ 1552575 h 4496940"/>
              <a:gd name="connsiteX30" fmla="*/ 4402477 w 4519987"/>
              <a:gd name="connsiteY30" fmla="*/ 1590675 h 4496940"/>
              <a:gd name="connsiteX31" fmla="*/ 4431052 w 4519987"/>
              <a:gd name="connsiteY31" fmla="*/ 1685925 h 4496940"/>
              <a:gd name="connsiteX32" fmla="*/ 4519952 w 4519987"/>
              <a:gd name="connsiteY32" fmla="*/ 2181225 h 4496940"/>
              <a:gd name="connsiteX33" fmla="*/ 4446927 w 4519987"/>
              <a:gd name="connsiteY33" fmla="*/ 2768600 h 4496940"/>
              <a:gd name="connsiteX34" fmla="*/ 4383427 w 4519987"/>
              <a:gd name="connsiteY34" fmla="*/ 2990850 h 4496940"/>
              <a:gd name="connsiteX35" fmla="*/ 4278652 w 4519987"/>
              <a:gd name="connsiteY35" fmla="*/ 3248025 h 4496940"/>
              <a:gd name="connsiteX36" fmla="*/ 4259602 w 4519987"/>
              <a:gd name="connsiteY36" fmla="*/ 3276600 h 4496940"/>
              <a:gd name="connsiteX37" fmla="*/ 4221502 w 4519987"/>
              <a:gd name="connsiteY37" fmla="*/ 3333750 h 4496940"/>
              <a:gd name="connsiteX38" fmla="*/ 4211977 w 4519987"/>
              <a:gd name="connsiteY38" fmla="*/ 3362325 h 4496940"/>
              <a:gd name="connsiteX39" fmla="*/ 4183402 w 4519987"/>
              <a:gd name="connsiteY39" fmla="*/ 3400425 h 4496940"/>
              <a:gd name="connsiteX40" fmla="*/ 4164352 w 4519987"/>
              <a:gd name="connsiteY40" fmla="*/ 3429000 h 4496940"/>
              <a:gd name="connsiteX41" fmla="*/ 4088152 w 4519987"/>
              <a:gd name="connsiteY41" fmla="*/ 3495675 h 4496940"/>
              <a:gd name="connsiteX42" fmla="*/ 4059577 w 4519987"/>
              <a:gd name="connsiteY42" fmla="*/ 3533775 h 4496940"/>
              <a:gd name="connsiteX43" fmla="*/ 4002427 w 4519987"/>
              <a:gd name="connsiteY43" fmla="*/ 3600450 h 4496940"/>
              <a:gd name="connsiteX44" fmla="*/ 3983377 w 4519987"/>
              <a:gd name="connsiteY44" fmla="*/ 3629025 h 4496940"/>
              <a:gd name="connsiteX45" fmla="*/ 3954802 w 4519987"/>
              <a:gd name="connsiteY45" fmla="*/ 3648075 h 4496940"/>
              <a:gd name="connsiteX46" fmla="*/ 3907177 w 4519987"/>
              <a:gd name="connsiteY46" fmla="*/ 3686175 h 4496940"/>
              <a:gd name="connsiteX47" fmla="*/ 3869077 w 4519987"/>
              <a:gd name="connsiteY47" fmla="*/ 3724275 h 4496940"/>
              <a:gd name="connsiteX48" fmla="*/ 3792877 w 4519987"/>
              <a:gd name="connsiteY48" fmla="*/ 3781425 h 4496940"/>
              <a:gd name="connsiteX49" fmla="*/ 3783352 w 4519987"/>
              <a:gd name="connsiteY49" fmla="*/ 3810000 h 4496940"/>
              <a:gd name="connsiteX50" fmla="*/ 3745252 w 4519987"/>
              <a:gd name="connsiteY50" fmla="*/ 3819525 h 4496940"/>
              <a:gd name="connsiteX51" fmla="*/ 3678577 w 4519987"/>
              <a:gd name="connsiteY51" fmla="*/ 3848100 h 4496940"/>
              <a:gd name="connsiteX52" fmla="*/ 3659527 w 4519987"/>
              <a:gd name="connsiteY52" fmla="*/ 3971925 h 4496940"/>
              <a:gd name="connsiteX53" fmla="*/ 3630952 w 4519987"/>
              <a:gd name="connsiteY53" fmla="*/ 4010025 h 4496940"/>
              <a:gd name="connsiteX54" fmla="*/ 3621427 w 4519987"/>
              <a:gd name="connsiteY54" fmla="*/ 4038600 h 4496940"/>
              <a:gd name="connsiteX55" fmla="*/ 3554752 w 4519987"/>
              <a:gd name="connsiteY55" fmla="*/ 4095750 h 4496940"/>
              <a:gd name="connsiteX56" fmla="*/ 3516652 w 4519987"/>
              <a:gd name="connsiteY56" fmla="*/ 4114800 h 4496940"/>
              <a:gd name="connsiteX57" fmla="*/ 3497602 w 4519987"/>
              <a:gd name="connsiteY57" fmla="*/ 4143375 h 4496940"/>
              <a:gd name="connsiteX58" fmla="*/ 3383302 w 4519987"/>
              <a:gd name="connsiteY58" fmla="*/ 4210050 h 4496940"/>
              <a:gd name="connsiteX59" fmla="*/ 3335677 w 4519987"/>
              <a:gd name="connsiteY59" fmla="*/ 4238625 h 4496940"/>
              <a:gd name="connsiteX60" fmla="*/ 3288052 w 4519987"/>
              <a:gd name="connsiteY60" fmla="*/ 4248150 h 4496940"/>
              <a:gd name="connsiteX61" fmla="*/ 3240427 w 4519987"/>
              <a:gd name="connsiteY61" fmla="*/ 4267200 h 4496940"/>
              <a:gd name="connsiteX62" fmla="*/ 3068977 w 4519987"/>
              <a:gd name="connsiteY62" fmla="*/ 4286250 h 4496940"/>
              <a:gd name="connsiteX63" fmla="*/ 2935627 w 4519987"/>
              <a:gd name="connsiteY63" fmla="*/ 4333875 h 4496940"/>
              <a:gd name="connsiteX64" fmla="*/ 2811802 w 4519987"/>
              <a:gd name="connsiteY64" fmla="*/ 4371975 h 4496940"/>
              <a:gd name="connsiteX65" fmla="*/ 2745127 w 4519987"/>
              <a:gd name="connsiteY65" fmla="*/ 4410075 h 4496940"/>
              <a:gd name="connsiteX66" fmla="*/ 2697502 w 4519987"/>
              <a:gd name="connsiteY66" fmla="*/ 4429125 h 4496940"/>
              <a:gd name="connsiteX67" fmla="*/ 2640352 w 4519987"/>
              <a:gd name="connsiteY67" fmla="*/ 4457700 h 4496940"/>
              <a:gd name="connsiteX68" fmla="*/ 2583202 w 4519987"/>
              <a:gd name="connsiteY68" fmla="*/ 4467225 h 4496940"/>
              <a:gd name="connsiteX69" fmla="*/ 2545102 w 4519987"/>
              <a:gd name="connsiteY69" fmla="*/ 4486275 h 4496940"/>
              <a:gd name="connsiteX70" fmla="*/ 2306977 w 4519987"/>
              <a:gd name="connsiteY70" fmla="*/ 4476750 h 4496940"/>
              <a:gd name="connsiteX71" fmla="*/ 2202202 w 4519987"/>
              <a:gd name="connsiteY71" fmla="*/ 4457700 h 4496940"/>
              <a:gd name="connsiteX72" fmla="*/ 2126002 w 4519987"/>
              <a:gd name="connsiteY72" fmla="*/ 4429125 h 4496940"/>
              <a:gd name="connsiteX73" fmla="*/ 1935502 w 4519987"/>
              <a:gd name="connsiteY73" fmla="*/ 4400550 h 4496940"/>
              <a:gd name="connsiteX74" fmla="*/ 1821202 w 4519987"/>
              <a:gd name="connsiteY74" fmla="*/ 4371975 h 4496940"/>
              <a:gd name="connsiteX75" fmla="*/ 1754527 w 4519987"/>
              <a:gd name="connsiteY75" fmla="*/ 4352925 h 4496940"/>
              <a:gd name="connsiteX76" fmla="*/ 1687852 w 4519987"/>
              <a:gd name="connsiteY76" fmla="*/ 4343400 h 4496940"/>
              <a:gd name="connsiteX77" fmla="*/ 1573552 w 4519987"/>
              <a:gd name="connsiteY77" fmla="*/ 4305300 h 4496940"/>
              <a:gd name="connsiteX78" fmla="*/ 1402102 w 4519987"/>
              <a:gd name="connsiteY78" fmla="*/ 4276725 h 4496940"/>
              <a:gd name="connsiteX79" fmla="*/ 1287802 w 4519987"/>
              <a:gd name="connsiteY79" fmla="*/ 4229100 h 4496940"/>
              <a:gd name="connsiteX80" fmla="*/ 1221127 w 4519987"/>
              <a:gd name="connsiteY80" fmla="*/ 4200525 h 4496940"/>
              <a:gd name="connsiteX81" fmla="*/ 1144927 w 4519987"/>
              <a:gd name="connsiteY81" fmla="*/ 4171950 h 4496940"/>
              <a:gd name="connsiteX82" fmla="*/ 1087777 w 4519987"/>
              <a:gd name="connsiteY82" fmla="*/ 4143375 h 4496940"/>
              <a:gd name="connsiteX83" fmla="*/ 1030627 w 4519987"/>
              <a:gd name="connsiteY83" fmla="*/ 4124325 h 4496940"/>
              <a:gd name="connsiteX84" fmla="*/ 925852 w 4519987"/>
              <a:gd name="connsiteY84" fmla="*/ 4067175 h 4496940"/>
              <a:gd name="connsiteX85" fmla="*/ 830602 w 4519987"/>
              <a:gd name="connsiteY85" fmla="*/ 3981450 h 4496940"/>
              <a:gd name="connsiteX86" fmla="*/ 763927 w 4519987"/>
              <a:gd name="connsiteY86" fmla="*/ 3914775 h 4496940"/>
              <a:gd name="connsiteX87" fmla="*/ 725827 w 4519987"/>
              <a:gd name="connsiteY87" fmla="*/ 3876675 h 4496940"/>
              <a:gd name="connsiteX88" fmla="*/ 697252 w 4519987"/>
              <a:gd name="connsiteY88" fmla="*/ 3838575 h 4496940"/>
              <a:gd name="connsiteX89" fmla="*/ 640102 w 4519987"/>
              <a:gd name="connsiteY89" fmla="*/ 3781425 h 4496940"/>
              <a:gd name="connsiteX90" fmla="*/ 611527 w 4519987"/>
              <a:gd name="connsiteY90" fmla="*/ 3733800 h 4496940"/>
              <a:gd name="connsiteX91" fmla="*/ 554377 w 4519987"/>
              <a:gd name="connsiteY91" fmla="*/ 3657600 h 4496940"/>
              <a:gd name="connsiteX92" fmla="*/ 525802 w 4519987"/>
              <a:gd name="connsiteY92" fmla="*/ 3609975 h 4496940"/>
              <a:gd name="connsiteX93" fmla="*/ 497227 w 4519987"/>
              <a:gd name="connsiteY93" fmla="*/ 3552825 h 4496940"/>
              <a:gd name="connsiteX94" fmla="*/ 440077 w 4519987"/>
              <a:gd name="connsiteY94" fmla="*/ 3495675 h 4496940"/>
              <a:gd name="connsiteX95" fmla="*/ 411502 w 4519987"/>
              <a:gd name="connsiteY95" fmla="*/ 3448050 h 4496940"/>
              <a:gd name="connsiteX96" fmla="*/ 278152 w 4519987"/>
              <a:gd name="connsiteY96" fmla="*/ 3257550 h 4496940"/>
              <a:gd name="connsiteX97" fmla="*/ 249577 w 4519987"/>
              <a:gd name="connsiteY97" fmla="*/ 3200400 h 4496940"/>
              <a:gd name="connsiteX98" fmla="*/ 240052 w 4519987"/>
              <a:gd name="connsiteY98" fmla="*/ 3162300 h 4496940"/>
              <a:gd name="connsiteX99" fmla="*/ 221002 w 4519987"/>
              <a:gd name="connsiteY99" fmla="*/ 3105150 h 4496940"/>
              <a:gd name="connsiteX100" fmla="*/ 173377 w 4519987"/>
              <a:gd name="connsiteY100" fmla="*/ 3019425 h 4496940"/>
              <a:gd name="connsiteX101" fmla="*/ 144802 w 4519987"/>
              <a:gd name="connsiteY101" fmla="*/ 2924175 h 4496940"/>
              <a:gd name="connsiteX102" fmla="*/ 68602 w 4519987"/>
              <a:gd name="connsiteY102" fmla="*/ 2724150 h 4496940"/>
              <a:gd name="connsiteX103" fmla="*/ 49552 w 4519987"/>
              <a:gd name="connsiteY103" fmla="*/ 2638425 h 4496940"/>
              <a:gd name="connsiteX104" fmla="*/ 40027 w 4519987"/>
              <a:gd name="connsiteY104" fmla="*/ 2562225 h 4496940"/>
              <a:gd name="connsiteX105" fmla="*/ 30502 w 4519987"/>
              <a:gd name="connsiteY105" fmla="*/ 2514600 h 4496940"/>
              <a:gd name="connsiteX106" fmla="*/ 11452 w 4519987"/>
              <a:gd name="connsiteY106" fmla="*/ 2400300 h 4496940"/>
              <a:gd name="connsiteX107" fmla="*/ 20977 w 4519987"/>
              <a:gd name="connsiteY107" fmla="*/ 1905000 h 4496940"/>
              <a:gd name="connsiteX108" fmla="*/ 30502 w 4519987"/>
              <a:gd name="connsiteY108" fmla="*/ 1838325 h 4496940"/>
              <a:gd name="connsiteX109" fmla="*/ 49552 w 4519987"/>
              <a:gd name="connsiteY109" fmla="*/ 1781175 h 4496940"/>
              <a:gd name="connsiteX110" fmla="*/ 59077 w 4519987"/>
              <a:gd name="connsiteY110" fmla="*/ 1743075 h 4496940"/>
              <a:gd name="connsiteX111" fmla="*/ 78127 w 4519987"/>
              <a:gd name="connsiteY111" fmla="*/ 1685925 h 4496940"/>
              <a:gd name="connsiteX112" fmla="*/ 87652 w 4519987"/>
              <a:gd name="connsiteY112" fmla="*/ 1638300 h 4496940"/>
              <a:gd name="connsiteX113" fmla="*/ 106702 w 4519987"/>
              <a:gd name="connsiteY113" fmla="*/ 1590675 h 4496940"/>
              <a:gd name="connsiteX114" fmla="*/ 135277 w 4519987"/>
              <a:gd name="connsiteY114" fmla="*/ 1504950 h 4496940"/>
              <a:gd name="connsiteX115" fmla="*/ 154327 w 4519987"/>
              <a:gd name="connsiteY115" fmla="*/ 1419225 h 4496940"/>
              <a:gd name="connsiteX116" fmla="*/ 230527 w 4519987"/>
              <a:gd name="connsiteY116" fmla="*/ 1276350 h 4496940"/>
              <a:gd name="connsiteX117" fmla="*/ 240052 w 4519987"/>
              <a:gd name="connsiteY117" fmla="*/ 1247775 h 4496940"/>
              <a:gd name="connsiteX118" fmla="*/ 268627 w 4519987"/>
              <a:gd name="connsiteY118" fmla="*/ 1200150 h 4496940"/>
              <a:gd name="connsiteX119" fmla="*/ 287677 w 4519987"/>
              <a:gd name="connsiteY119" fmla="*/ 1152525 h 4496940"/>
              <a:gd name="connsiteX120" fmla="*/ 316252 w 4519987"/>
              <a:gd name="connsiteY120" fmla="*/ 1114425 h 4496940"/>
              <a:gd name="connsiteX121" fmla="*/ 363877 w 4519987"/>
              <a:gd name="connsiteY121" fmla="*/ 1038225 h 4496940"/>
              <a:gd name="connsiteX122" fmla="*/ 382927 w 4519987"/>
              <a:gd name="connsiteY122" fmla="*/ 1009650 h 4496940"/>
              <a:gd name="connsiteX123" fmla="*/ 440077 w 4519987"/>
              <a:gd name="connsiteY123" fmla="*/ 904875 h 4496940"/>
              <a:gd name="connsiteX124" fmla="*/ 478177 w 4519987"/>
              <a:gd name="connsiteY124" fmla="*/ 857250 h 4496940"/>
              <a:gd name="connsiteX125" fmla="*/ 497227 w 4519987"/>
              <a:gd name="connsiteY125" fmla="*/ 828675 h 4496940"/>
              <a:gd name="connsiteX126" fmla="*/ 535327 w 4519987"/>
              <a:gd name="connsiteY126" fmla="*/ 800100 h 4496940"/>
              <a:gd name="connsiteX127" fmla="*/ 602002 w 4519987"/>
              <a:gd name="connsiteY127" fmla="*/ 733425 h 4496940"/>
              <a:gd name="connsiteX128" fmla="*/ 668677 w 4519987"/>
              <a:gd name="connsiteY128" fmla="*/ 676275 h 4496940"/>
              <a:gd name="connsiteX129" fmla="*/ 697252 w 4519987"/>
              <a:gd name="connsiteY129" fmla="*/ 657225 h 4496940"/>
              <a:gd name="connsiteX130" fmla="*/ 840127 w 4519987"/>
              <a:gd name="connsiteY130" fmla="*/ 533400 h 4496940"/>
              <a:gd name="connsiteX131" fmla="*/ 887752 w 4519987"/>
              <a:gd name="connsiteY131" fmla="*/ 504825 h 4496940"/>
              <a:gd name="connsiteX132" fmla="*/ 1167152 w 4519987"/>
              <a:gd name="connsiteY132" fmla="*/ 311150 h 4496940"/>
              <a:gd name="connsiteX133" fmla="*/ 1268752 w 4519987"/>
              <a:gd name="connsiteY133" fmla="*/ 285750 h 4496940"/>
              <a:gd name="connsiteX134" fmla="*/ 1411627 w 4519987"/>
              <a:gd name="connsiteY134" fmla="*/ 190500 h 4496940"/>
              <a:gd name="connsiteX135" fmla="*/ 1449727 w 4519987"/>
              <a:gd name="connsiteY135" fmla="*/ 161925 h 4496940"/>
              <a:gd name="connsiteX136" fmla="*/ 1525927 w 4519987"/>
              <a:gd name="connsiteY136" fmla="*/ 152400 h 4496940"/>
              <a:gd name="connsiteX137" fmla="*/ 1583077 w 4519987"/>
              <a:gd name="connsiteY137" fmla="*/ 142875 h 4496940"/>
              <a:gd name="connsiteX138" fmla="*/ 1716427 w 4519987"/>
              <a:gd name="connsiteY138" fmla="*/ 123825 h 4496940"/>
              <a:gd name="connsiteX139" fmla="*/ 1811677 w 4519987"/>
              <a:gd name="connsiteY139" fmla="*/ 114300 h 4496940"/>
              <a:gd name="connsiteX140" fmla="*/ 1859302 w 4519987"/>
              <a:gd name="connsiteY140" fmla="*/ 104775 h 4496940"/>
              <a:gd name="connsiteX141" fmla="*/ 1916452 w 4519987"/>
              <a:gd name="connsiteY141" fmla="*/ 95250 h 4496940"/>
              <a:gd name="connsiteX142" fmla="*/ 2030752 w 4519987"/>
              <a:gd name="connsiteY142" fmla="*/ 66675 h 4496940"/>
              <a:gd name="connsiteX143" fmla="*/ 2097427 w 4519987"/>
              <a:gd name="connsiteY143" fmla="*/ 47625 h 4496940"/>
              <a:gd name="connsiteX144" fmla="*/ 2164102 w 4519987"/>
              <a:gd name="connsiteY144" fmla="*/ 38100 h 4496940"/>
              <a:gd name="connsiteX145" fmla="*/ 2392702 w 4519987"/>
              <a:gd name="connsiteY14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259602 w 4519987"/>
              <a:gd name="connsiteY24" fmla="*/ 1190625 h 4496940"/>
              <a:gd name="connsiteX25" fmla="*/ 4307227 w 4519987"/>
              <a:gd name="connsiteY25" fmla="*/ 1266825 h 4496940"/>
              <a:gd name="connsiteX26" fmla="*/ 4345327 w 4519987"/>
              <a:gd name="connsiteY26" fmla="*/ 1362075 h 4496940"/>
              <a:gd name="connsiteX27" fmla="*/ 4373902 w 4519987"/>
              <a:gd name="connsiteY27" fmla="*/ 1428750 h 4496940"/>
              <a:gd name="connsiteX28" fmla="*/ 4392952 w 4519987"/>
              <a:gd name="connsiteY28" fmla="*/ 1552575 h 4496940"/>
              <a:gd name="connsiteX29" fmla="*/ 4402477 w 4519987"/>
              <a:gd name="connsiteY29" fmla="*/ 1590675 h 4496940"/>
              <a:gd name="connsiteX30" fmla="*/ 4431052 w 4519987"/>
              <a:gd name="connsiteY30" fmla="*/ 1685925 h 4496940"/>
              <a:gd name="connsiteX31" fmla="*/ 4519952 w 4519987"/>
              <a:gd name="connsiteY31" fmla="*/ 2181225 h 4496940"/>
              <a:gd name="connsiteX32" fmla="*/ 4446927 w 4519987"/>
              <a:gd name="connsiteY32" fmla="*/ 2768600 h 4496940"/>
              <a:gd name="connsiteX33" fmla="*/ 4383427 w 4519987"/>
              <a:gd name="connsiteY33" fmla="*/ 2990850 h 4496940"/>
              <a:gd name="connsiteX34" fmla="*/ 4278652 w 4519987"/>
              <a:gd name="connsiteY34" fmla="*/ 3248025 h 4496940"/>
              <a:gd name="connsiteX35" fmla="*/ 4259602 w 4519987"/>
              <a:gd name="connsiteY35" fmla="*/ 3276600 h 4496940"/>
              <a:gd name="connsiteX36" fmla="*/ 4221502 w 4519987"/>
              <a:gd name="connsiteY36" fmla="*/ 3333750 h 4496940"/>
              <a:gd name="connsiteX37" fmla="*/ 4211977 w 4519987"/>
              <a:gd name="connsiteY37" fmla="*/ 3362325 h 4496940"/>
              <a:gd name="connsiteX38" fmla="*/ 4183402 w 4519987"/>
              <a:gd name="connsiteY38" fmla="*/ 3400425 h 4496940"/>
              <a:gd name="connsiteX39" fmla="*/ 4164352 w 4519987"/>
              <a:gd name="connsiteY39" fmla="*/ 3429000 h 4496940"/>
              <a:gd name="connsiteX40" fmla="*/ 4088152 w 4519987"/>
              <a:gd name="connsiteY40" fmla="*/ 3495675 h 4496940"/>
              <a:gd name="connsiteX41" fmla="*/ 4059577 w 4519987"/>
              <a:gd name="connsiteY41" fmla="*/ 3533775 h 4496940"/>
              <a:gd name="connsiteX42" fmla="*/ 4002427 w 4519987"/>
              <a:gd name="connsiteY42" fmla="*/ 3600450 h 4496940"/>
              <a:gd name="connsiteX43" fmla="*/ 3983377 w 4519987"/>
              <a:gd name="connsiteY43" fmla="*/ 3629025 h 4496940"/>
              <a:gd name="connsiteX44" fmla="*/ 3954802 w 4519987"/>
              <a:gd name="connsiteY44" fmla="*/ 3648075 h 4496940"/>
              <a:gd name="connsiteX45" fmla="*/ 3907177 w 4519987"/>
              <a:gd name="connsiteY45" fmla="*/ 3686175 h 4496940"/>
              <a:gd name="connsiteX46" fmla="*/ 3869077 w 4519987"/>
              <a:gd name="connsiteY46" fmla="*/ 3724275 h 4496940"/>
              <a:gd name="connsiteX47" fmla="*/ 3792877 w 4519987"/>
              <a:gd name="connsiteY47" fmla="*/ 3781425 h 4496940"/>
              <a:gd name="connsiteX48" fmla="*/ 3783352 w 4519987"/>
              <a:gd name="connsiteY48" fmla="*/ 3810000 h 4496940"/>
              <a:gd name="connsiteX49" fmla="*/ 3745252 w 4519987"/>
              <a:gd name="connsiteY49" fmla="*/ 3819525 h 4496940"/>
              <a:gd name="connsiteX50" fmla="*/ 3678577 w 4519987"/>
              <a:gd name="connsiteY50" fmla="*/ 3848100 h 4496940"/>
              <a:gd name="connsiteX51" fmla="*/ 3659527 w 4519987"/>
              <a:gd name="connsiteY51" fmla="*/ 3971925 h 4496940"/>
              <a:gd name="connsiteX52" fmla="*/ 3630952 w 4519987"/>
              <a:gd name="connsiteY52" fmla="*/ 4010025 h 4496940"/>
              <a:gd name="connsiteX53" fmla="*/ 3621427 w 4519987"/>
              <a:gd name="connsiteY53" fmla="*/ 4038600 h 4496940"/>
              <a:gd name="connsiteX54" fmla="*/ 3554752 w 4519987"/>
              <a:gd name="connsiteY54" fmla="*/ 4095750 h 4496940"/>
              <a:gd name="connsiteX55" fmla="*/ 3516652 w 4519987"/>
              <a:gd name="connsiteY55" fmla="*/ 4114800 h 4496940"/>
              <a:gd name="connsiteX56" fmla="*/ 3497602 w 4519987"/>
              <a:gd name="connsiteY56" fmla="*/ 4143375 h 4496940"/>
              <a:gd name="connsiteX57" fmla="*/ 3383302 w 4519987"/>
              <a:gd name="connsiteY57" fmla="*/ 4210050 h 4496940"/>
              <a:gd name="connsiteX58" fmla="*/ 3335677 w 4519987"/>
              <a:gd name="connsiteY58" fmla="*/ 4238625 h 4496940"/>
              <a:gd name="connsiteX59" fmla="*/ 3288052 w 4519987"/>
              <a:gd name="connsiteY59" fmla="*/ 4248150 h 4496940"/>
              <a:gd name="connsiteX60" fmla="*/ 3240427 w 4519987"/>
              <a:gd name="connsiteY60" fmla="*/ 4267200 h 4496940"/>
              <a:gd name="connsiteX61" fmla="*/ 3068977 w 4519987"/>
              <a:gd name="connsiteY61" fmla="*/ 4286250 h 4496940"/>
              <a:gd name="connsiteX62" fmla="*/ 2935627 w 4519987"/>
              <a:gd name="connsiteY62" fmla="*/ 4333875 h 4496940"/>
              <a:gd name="connsiteX63" fmla="*/ 2811802 w 4519987"/>
              <a:gd name="connsiteY63" fmla="*/ 4371975 h 4496940"/>
              <a:gd name="connsiteX64" fmla="*/ 2745127 w 4519987"/>
              <a:gd name="connsiteY64" fmla="*/ 4410075 h 4496940"/>
              <a:gd name="connsiteX65" fmla="*/ 2697502 w 4519987"/>
              <a:gd name="connsiteY65" fmla="*/ 4429125 h 4496940"/>
              <a:gd name="connsiteX66" fmla="*/ 2640352 w 4519987"/>
              <a:gd name="connsiteY66" fmla="*/ 4457700 h 4496940"/>
              <a:gd name="connsiteX67" fmla="*/ 2583202 w 4519987"/>
              <a:gd name="connsiteY67" fmla="*/ 4467225 h 4496940"/>
              <a:gd name="connsiteX68" fmla="*/ 2545102 w 4519987"/>
              <a:gd name="connsiteY68" fmla="*/ 4486275 h 4496940"/>
              <a:gd name="connsiteX69" fmla="*/ 2306977 w 4519987"/>
              <a:gd name="connsiteY69" fmla="*/ 4476750 h 4496940"/>
              <a:gd name="connsiteX70" fmla="*/ 2202202 w 4519987"/>
              <a:gd name="connsiteY70" fmla="*/ 4457700 h 4496940"/>
              <a:gd name="connsiteX71" fmla="*/ 2126002 w 4519987"/>
              <a:gd name="connsiteY71" fmla="*/ 4429125 h 4496940"/>
              <a:gd name="connsiteX72" fmla="*/ 1935502 w 4519987"/>
              <a:gd name="connsiteY72" fmla="*/ 4400550 h 4496940"/>
              <a:gd name="connsiteX73" fmla="*/ 1821202 w 4519987"/>
              <a:gd name="connsiteY73" fmla="*/ 4371975 h 4496940"/>
              <a:gd name="connsiteX74" fmla="*/ 1754527 w 4519987"/>
              <a:gd name="connsiteY74" fmla="*/ 4352925 h 4496940"/>
              <a:gd name="connsiteX75" fmla="*/ 1687852 w 4519987"/>
              <a:gd name="connsiteY75" fmla="*/ 4343400 h 4496940"/>
              <a:gd name="connsiteX76" fmla="*/ 1573552 w 4519987"/>
              <a:gd name="connsiteY76" fmla="*/ 4305300 h 4496940"/>
              <a:gd name="connsiteX77" fmla="*/ 1402102 w 4519987"/>
              <a:gd name="connsiteY77" fmla="*/ 4276725 h 4496940"/>
              <a:gd name="connsiteX78" fmla="*/ 1287802 w 4519987"/>
              <a:gd name="connsiteY78" fmla="*/ 4229100 h 4496940"/>
              <a:gd name="connsiteX79" fmla="*/ 1221127 w 4519987"/>
              <a:gd name="connsiteY79" fmla="*/ 4200525 h 4496940"/>
              <a:gd name="connsiteX80" fmla="*/ 1144927 w 4519987"/>
              <a:gd name="connsiteY80" fmla="*/ 4171950 h 4496940"/>
              <a:gd name="connsiteX81" fmla="*/ 1087777 w 4519987"/>
              <a:gd name="connsiteY81" fmla="*/ 4143375 h 4496940"/>
              <a:gd name="connsiteX82" fmla="*/ 1030627 w 4519987"/>
              <a:gd name="connsiteY82" fmla="*/ 4124325 h 4496940"/>
              <a:gd name="connsiteX83" fmla="*/ 925852 w 4519987"/>
              <a:gd name="connsiteY83" fmla="*/ 4067175 h 4496940"/>
              <a:gd name="connsiteX84" fmla="*/ 830602 w 4519987"/>
              <a:gd name="connsiteY84" fmla="*/ 3981450 h 4496940"/>
              <a:gd name="connsiteX85" fmla="*/ 763927 w 4519987"/>
              <a:gd name="connsiteY85" fmla="*/ 3914775 h 4496940"/>
              <a:gd name="connsiteX86" fmla="*/ 725827 w 4519987"/>
              <a:gd name="connsiteY86" fmla="*/ 3876675 h 4496940"/>
              <a:gd name="connsiteX87" fmla="*/ 697252 w 4519987"/>
              <a:gd name="connsiteY87" fmla="*/ 3838575 h 4496940"/>
              <a:gd name="connsiteX88" fmla="*/ 640102 w 4519987"/>
              <a:gd name="connsiteY88" fmla="*/ 3781425 h 4496940"/>
              <a:gd name="connsiteX89" fmla="*/ 611527 w 4519987"/>
              <a:gd name="connsiteY89" fmla="*/ 3733800 h 4496940"/>
              <a:gd name="connsiteX90" fmla="*/ 554377 w 4519987"/>
              <a:gd name="connsiteY90" fmla="*/ 3657600 h 4496940"/>
              <a:gd name="connsiteX91" fmla="*/ 525802 w 4519987"/>
              <a:gd name="connsiteY91" fmla="*/ 3609975 h 4496940"/>
              <a:gd name="connsiteX92" fmla="*/ 497227 w 4519987"/>
              <a:gd name="connsiteY92" fmla="*/ 3552825 h 4496940"/>
              <a:gd name="connsiteX93" fmla="*/ 440077 w 4519987"/>
              <a:gd name="connsiteY93" fmla="*/ 3495675 h 4496940"/>
              <a:gd name="connsiteX94" fmla="*/ 411502 w 4519987"/>
              <a:gd name="connsiteY94" fmla="*/ 3448050 h 4496940"/>
              <a:gd name="connsiteX95" fmla="*/ 278152 w 4519987"/>
              <a:gd name="connsiteY95" fmla="*/ 3257550 h 4496940"/>
              <a:gd name="connsiteX96" fmla="*/ 249577 w 4519987"/>
              <a:gd name="connsiteY96" fmla="*/ 3200400 h 4496940"/>
              <a:gd name="connsiteX97" fmla="*/ 240052 w 4519987"/>
              <a:gd name="connsiteY97" fmla="*/ 3162300 h 4496940"/>
              <a:gd name="connsiteX98" fmla="*/ 221002 w 4519987"/>
              <a:gd name="connsiteY98" fmla="*/ 3105150 h 4496940"/>
              <a:gd name="connsiteX99" fmla="*/ 173377 w 4519987"/>
              <a:gd name="connsiteY99" fmla="*/ 3019425 h 4496940"/>
              <a:gd name="connsiteX100" fmla="*/ 144802 w 4519987"/>
              <a:gd name="connsiteY100" fmla="*/ 2924175 h 4496940"/>
              <a:gd name="connsiteX101" fmla="*/ 68602 w 4519987"/>
              <a:gd name="connsiteY101" fmla="*/ 2724150 h 4496940"/>
              <a:gd name="connsiteX102" fmla="*/ 49552 w 4519987"/>
              <a:gd name="connsiteY102" fmla="*/ 2638425 h 4496940"/>
              <a:gd name="connsiteX103" fmla="*/ 40027 w 4519987"/>
              <a:gd name="connsiteY103" fmla="*/ 2562225 h 4496940"/>
              <a:gd name="connsiteX104" fmla="*/ 30502 w 4519987"/>
              <a:gd name="connsiteY104" fmla="*/ 2514600 h 4496940"/>
              <a:gd name="connsiteX105" fmla="*/ 11452 w 4519987"/>
              <a:gd name="connsiteY105" fmla="*/ 2400300 h 4496940"/>
              <a:gd name="connsiteX106" fmla="*/ 20977 w 4519987"/>
              <a:gd name="connsiteY106" fmla="*/ 1905000 h 4496940"/>
              <a:gd name="connsiteX107" fmla="*/ 30502 w 4519987"/>
              <a:gd name="connsiteY107" fmla="*/ 1838325 h 4496940"/>
              <a:gd name="connsiteX108" fmla="*/ 49552 w 4519987"/>
              <a:gd name="connsiteY108" fmla="*/ 1781175 h 4496940"/>
              <a:gd name="connsiteX109" fmla="*/ 59077 w 4519987"/>
              <a:gd name="connsiteY109" fmla="*/ 1743075 h 4496940"/>
              <a:gd name="connsiteX110" fmla="*/ 78127 w 4519987"/>
              <a:gd name="connsiteY110" fmla="*/ 1685925 h 4496940"/>
              <a:gd name="connsiteX111" fmla="*/ 87652 w 4519987"/>
              <a:gd name="connsiteY111" fmla="*/ 1638300 h 4496940"/>
              <a:gd name="connsiteX112" fmla="*/ 106702 w 4519987"/>
              <a:gd name="connsiteY112" fmla="*/ 1590675 h 4496940"/>
              <a:gd name="connsiteX113" fmla="*/ 135277 w 4519987"/>
              <a:gd name="connsiteY113" fmla="*/ 1504950 h 4496940"/>
              <a:gd name="connsiteX114" fmla="*/ 154327 w 4519987"/>
              <a:gd name="connsiteY114" fmla="*/ 1419225 h 4496940"/>
              <a:gd name="connsiteX115" fmla="*/ 230527 w 4519987"/>
              <a:gd name="connsiteY115" fmla="*/ 1276350 h 4496940"/>
              <a:gd name="connsiteX116" fmla="*/ 240052 w 4519987"/>
              <a:gd name="connsiteY116" fmla="*/ 1247775 h 4496940"/>
              <a:gd name="connsiteX117" fmla="*/ 268627 w 4519987"/>
              <a:gd name="connsiteY117" fmla="*/ 1200150 h 4496940"/>
              <a:gd name="connsiteX118" fmla="*/ 287677 w 4519987"/>
              <a:gd name="connsiteY118" fmla="*/ 1152525 h 4496940"/>
              <a:gd name="connsiteX119" fmla="*/ 316252 w 4519987"/>
              <a:gd name="connsiteY119" fmla="*/ 1114425 h 4496940"/>
              <a:gd name="connsiteX120" fmla="*/ 363877 w 4519987"/>
              <a:gd name="connsiteY120" fmla="*/ 1038225 h 4496940"/>
              <a:gd name="connsiteX121" fmla="*/ 382927 w 4519987"/>
              <a:gd name="connsiteY121" fmla="*/ 1009650 h 4496940"/>
              <a:gd name="connsiteX122" fmla="*/ 440077 w 4519987"/>
              <a:gd name="connsiteY122" fmla="*/ 904875 h 4496940"/>
              <a:gd name="connsiteX123" fmla="*/ 478177 w 4519987"/>
              <a:gd name="connsiteY123" fmla="*/ 857250 h 4496940"/>
              <a:gd name="connsiteX124" fmla="*/ 497227 w 4519987"/>
              <a:gd name="connsiteY124" fmla="*/ 828675 h 4496940"/>
              <a:gd name="connsiteX125" fmla="*/ 535327 w 4519987"/>
              <a:gd name="connsiteY125" fmla="*/ 800100 h 4496940"/>
              <a:gd name="connsiteX126" fmla="*/ 602002 w 4519987"/>
              <a:gd name="connsiteY126" fmla="*/ 733425 h 4496940"/>
              <a:gd name="connsiteX127" fmla="*/ 668677 w 4519987"/>
              <a:gd name="connsiteY127" fmla="*/ 676275 h 4496940"/>
              <a:gd name="connsiteX128" fmla="*/ 697252 w 4519987"/>
              <a:gd name="connsiteY128" fmla="*/ 657225 h 4496940"/>
              <a:gd name="connsiteX129" fmla="*/ 840127 w 4519987"/>
              <a:gd name="connsiteY129" fmla="*/ 533400 h 4496940"/>
              <a:gd name="connsiteX130" fmla="*/ 887752 w 4519987"/>
              <a:gd name="connsiteY130" fmla="*/ 504825 h 4496940"/>
              <a:gd name="connsiteX131" fmla="*/ 1167152 w 4519987"/>
              <a:gd name="connsiteY131" fmla="*/ 311150 h 4496940"/>
              <a:gd name="connsiteX132" fmla="*/ 1268752 w 4519987"/>
              <a:gd name="connsiteY132" fmla="*/ 285750 h 4496940"/>
              <a:gd name="connsiteX133" fmla="*/ 1411627 w 4519987"/>
              <a:gd name="connsiteY133" fmla="*/ 190500 h 4496940"/>
              <a:gd name="connsiteX134" fmla="*/ 1449727 w 4519987"/>
              <a:gd name="connsiteY134" fmla="*/ 161925 h 4496940"/>
              <a:gd name="connsiteX135" fmla="*/ 1525927 w 4519987"/>
              <a:gd name="connsiteY135" fmla="*/ 152400 h 4496940"/>
              <a:gd name="connsiteX136" fmla="*/ 1583077 w 4519987"/>
              <a:gd name="connsiteY136" fmla="*/ 142875 h 4496940"/>
              <a:gd name="connsiteX137" fmla="*/ 1716427 w 4519987"/>
              <a:gd name="connsiteY137" fmla="*/ 123825 h 4496940"/>
              <a:gd name="connsiteX138" fmla="*/ 1811677 w 4519987"/>
              <a:gd name="connsiteY138" fmla="*/ 114300 h 4496940"/>
              <a:gd name="connsiteX139" fmla="*/ 1859302 w 4519987"/>
              <a:gd name="connsiteY139" fmla="*/ 104775 h 4496940"/>
              <a:gd name="connsiteX140" fmla="*/ 1916452 w 4519987"/>
              <a:gd name="connsiteY140" fmla="*/ 95250 h 4496940"/>
              <a:gd name="connsiteX141" fmla="*/ 2030752 w 4519987"/>
              <a:gd name="connsiteY141" fmla="*/ 66675 h 4496940"/>
              <a:gd name="connsiteX142" fmla="*/ 2097427 w 4519987"/>
              <a:gd name="connsiteY142" fmla="*/ 47625 h 4496940"/>
              <a:gd name="connsiteX143" fmla="*/ 2164102 w 4519987"/>
              <a:gd name="connsiteY143" fmla="*/ 38100 h 4496940"/>
              <a:gd name="connsiteX144" fmla="*/ 2392702 w 4519987"/>
              <a:gd name="connsiteY14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73902 w 4519987"/>
              <a:gd name="connsiteY26" fmla="*/ 1428750 h 4496940"/>
              <a:gd name="connsiteX27" fmla="*/ 4392952 w 4519987"/>
              <a:gd name="connsiteY27" fmla="*/ 1552575 h 4496940"/>
              <a:gd name="connsiteX28" fmla="*/ 4402477 w 4519987"/>
              <a:gd name="connsiteY28" fmla="*/ 1590675 h 4496940"/>
              <a:gd name="connsiteX29" fmla="*/ 4431052 w 4519987"/>
              <a:gd name="connsiteY29" fmla="*/ 1685925 h 4496940"/>
              <a:gd name="connsiteX30" fmla="*/ 4519952 w 4519987"/>
              <a:gd name="connsiteY30" fmla="*/ 2181225 h 4496940"/>
              <a:gd name="connsiteX31" fmla="*/ 4446927 w 4519987"/>
              <a:gd name="connsiteY31" fmla="*/ 2768600 h 4496940"/>
              <a:gd name="connsiteX32" fmla="*/ 4383427 w 4519987"/>
              <a:gd name="connsiteY32" fmla="*/ 2990850 h 4496940"/>
              <a:gd name="connsiteX33" fmla="*/ 4278652 w 4519987"/>
              <a:gd name="connsiteY33" fmla="*/ 3248025 h 4496940"/>
              <a:gd name="connsiteX34" fmla="*/ 4259602 w 4519987"/>
              <a:gd name="connsiteY34" fmla="*/ 3276600 h 4496940"/>
              <a:gd name="connsiteX35" fmla="*/ 4221502 w 4519987"/>
              <a:gd name="connsiteY35" fmla="*/ 3333750 h 4496940"/>
              <a:gd name="connsiteX36" fmla="*/ 4211977 w 4519987"/>
              <a:gd name="connsiteY36" fmla="*/ 3362325 h 4496940"/>
              <a:gd name="connsiteX37" fmla="*/ 4183402 w 4519987"/>
              <a:gd name="connsiteY37" fmla="*/ 3400425 h 4496940"/>
              <a:gd name="connsiteX38" fmla="*/ 4164352 w 4519987"/>
              <a:gd name="connsiteY38" fmla="*/ 3429000 h 4496940"/>
              <a:gd name="connsiteX39" fmla="*/ 4088152 w 4519987"/>
              <a:gd name="connsiteY39" fmla="*/ 3495675 h 4496940"/>
              <a:gd name="connsiteX40" fmla="*/ 4059577 w 4519987"/>
              <a:gd name="connsiteY40" fmla="*/ 3533775 h 4496940"/>
              <a:gd name="connsiteX41" fmla="*/ 4002427 w 4519987"/>
              <a:gd name="connsiteY41" fmla="*/ 3600450 h 4496940"/>
              <a:gd name="connsiteX42" fmla="*/ 3983377 w 4519987"/>
              <a:gd name="connsiteY42" fmla="*/ 3629025 h 4496940"/>
              <a:gd name="connsiteX43" fmla="*/ 3954802 w 4519987"/>
              <a:gd name="connsiteY43" fmla="*/ 3648075 h 4496940"/>
              <a:gd name="connsiteX44" fmla="*/ 3907177 w 4519987"/>
              <a:gd name="connsiteY44" fmla="*/ 3686175 h 4496940"/>
              <a:gd name="connsiteX45" fmla="*/ 3869077 w 4519987"/>
              <a:gd name="connsiteY45" fmla="*/ 3724275 h 4496940"/>
              <a:gd name="connsiteX46" fmla="*/ 3792877 w 4519987"/>
              <a:gd name="connsiteY46" fmla="*/ 3781425 h 4496940"/>
              <a:gd name="connsiteX47" fmla="*/ 3783352 w 4519987"/>
              <a:gd name="connsiteY47" fmla="*/ 3810000 h 4496940"/>
              <a:gd name="connsiteX48" fmla="*/ 3745252 w 4519987"/>
              <a:gd name="connsiteY48" fmla="*/ 3819525 h 4496940"/>
              <a:gd name="connsiteX49" fmla="*/ 3678577 w 4519987"/>
              <a:gd name="connsiteY49" fmla="*/ 3848100 h 4496940"/>
              <a:gd name="connsiteX50" fmla="*/ 3659527 w 4519987"/>
              <a:gd name="connsiteY50" fmla="*/ 3971925 h 4496940"/>
              <a:gd name="connsiteX51" fmla="*/ 3630952 w 4519987"/>
              <a:gd name="connsiteY51" fmla="*/ 4010025 h 4496940"/>
              <a:gd name="connsiteX52" fmla="*/ 3621427 w 4519987"/>
              <a:gd name="connsiteY52" fmla="*/ 4038600 h 4496940"/>
              <a:gd name="connsiteX53" fmla="*/ 3554752 w 4519987"/>
              <a:gd name="connsiteY53" fmla="*/ 4095750 h 4496940"/>
              <a:gd name="connsiteX54" fmla="*/ 3516652 w 4519987"/>
              <a:gd name="connsiteY54" fmla="*/ 4114800 h 4496940"/>
              <a:gd name="connsiteX55" fmla="*/ 3497602 w 4519987"/>
              <a:gd name="connsiteY55" fmla="*/ 4143375 h 4496940"/>
              <a:gd name="connsiteX56" fmla="*/ 3383302 w 4519987"/>
              <a:gd name="connsiteY56" fmla="*/ 4210050 h 4496940"/>
              <a:gd name="connsiteX57" fmla="*/ 3335677 w 4519987"/>
              <a:gd name="connsiteY57" fmla="*/ 4238625 h 4496940"/>
              <a:gd name="connsiteX58" fmla="*/ 3288052 w 4519987"/>
              <a:gd name="connsiteY58" fmla="*/ 4248150 h 4496940"/>
              <a:gd name="connsiteX59" fmla="*/ 3240427 w 4519987"/>
              <a:gd name="connsiteY59" fmla="*/ 4267200 h 4496940"/>
              <a:gd name="connsiteX60" fmla="*/ 3068977 w 4519987"/>
              <a:gd name="connsiteY60" fmla="*/ 4286250 h 4496940"/>
              <a:gd name="connsiteX61" fmla="*/ 2935627 w 4519987"/>
              <a:gd name="connsiteY61" fmla="*/ 4333875 h 4496940"/>
              <a:gd name="connsiteX62" fmla="*/ 2811802 w 4519987"/>
              <a:gd name="connsiteY62" fmla="*/ 4371975 h 4496940"/>
              <a:gd name="connsiteX63" fmla="*/ 2745127 w 4519987"/>
              <a:gd name="connsiteY63" fmla="*/ 4410075 h 4496940"/>
              <a:gd name="connsiteX64" fmla="*/ 2697502 w 4519987"/>
              <a:gd name="connsiteY64" fmla="*/ 4429125 h 4496940"/>
              <a:gd name="connsiteX65" fmla="*/ 2640352 w 4519987"/>
              <a:gd name="connsiteY65" fmla="*/ 4457700 h 4496940"/>
              <a:gd name="connsiteX66" fmla="*/ 2583202 w 4519987"/>
              <a:gd name="connsiteY66" fmla="*/ 4467225 h 4496940"/>
              <a:gd name="connsiteX67" fmla="*/ 2545102 w 4519987"/>
              <a:gd name="connsiteY67" fmla="*/ 4486275 h 4496940"/>
              <a:gd name="connsiteX68" fmla="*/ 2306977 w 4519987"/>
              <a:gd name="connsiteY68" fmla="*/ 4476750 h 4496940"/>
              <a:gd name="connsiteX69" fmla="*/ 2202202 w 4519987"/>
              <a:gd name="connsiteY69" fmla="*/ 4457700 h 4496940"/>
              <a:gd name="connsiteX70" fmla="*/ 2126002 w 4519987"/>
              <a:gd name="connsiteY70" fmla="*/ 4429125 h 4496940"/>
              <a:gd name="connsiteX71" fmla="*/ 1935502 w 4519987"/>
              <a:gd name="connsiteY71" fmla="*/ 4400550 h 4496940"/>
              <a:gd name="connsiteX72" fmla="*/ 1821202 w 4519987"/>
              <a:gd name="connsiteY72" fmla="*/ 4371975 h 4496940"/>
              <a:gd name="connsiteX73" fmla="*/ 1754527 w 4519987"/>
              <a:gd name="connsiteY73" fmla="*/ 4352925 h 4496940"/>
              <a:gd name="connsiteX74" fmla="*/ 1687852 w 4519987"/>
              <a:gd name="connsiteY74" fmla="*/ 4343400 h 4496940"/>
              <a:gd name="connsiteX75" fmla="*/ 1573552 w 4519987"/>
              <a:gd name="connsiteY75" fmla="*/ 4305300 h 4496940"/>
              <a:gd name="connsiteX76" fmla="*/ 1402102 w 4519987"/>
              <a:gd name="connsiteY76" fmla="*/ 4276725 h 4496940"/>
              <a:gd name="connsiteX77" fmla="*/ 1287802 w 4519987"/>
              <a:gd name="connsiteY77" fmla="*/ 4229100 h 4496940"/>
              <a:gd name="connsiteX78" fmla="*/ 1221127 w 4519987"/>
              <a:gd name="connsiteY78" fmla="*/ 4200525 h 4496940"/>
              <a:gd name="connsiteX79" fmla="*/ 1144927 w 4519987"/>
              <a:gd name="connsiteY79" fmla="*/ 4171950 h 4496940"/>
              <a:gd name="connsiteX80" fmla="*/ 1087777 w 4519987"/>
              <a:gd name="connsiteY80" fmla="*/ 4143375 h 4496940"/>
              <a:gd name="connsiteX81" fmla="*/ 1030627 w 4519987"/>
              <a:gd name="connsiteY81" fmla="*/ 4124325 h 4496940"/>
              <a:gd name="connsiteX82" fmla="*/ 925852 w 4519987"/>
              <a:gd name="connsiteY82" fmla="*/ 4067175 h 4496940"/>
              <a:gd name="connsiteX83" fmla="*/ 830602 w 4519987"/>
              <a:gd name="connsiteY83" fmla="*/ 3981450 h 4496940"/>
              <a:gd name="connsiteX84" fmla="*/ 763927 w 4519987"/>
              <a:gd name="connsiteY84" fmla="*/ 3914775 h 4496940"/>
              <a:gd name="connsiteX85" fmla="*/ 725827 w 4519987"/>
              <a:gd name="connsiteY85" fmla="*/ 3876675 h 4496940"/>
              <a:gd name="connsiteX86" fmla="*/ 697252 w 4519987"/>
              <a:gd name="connsiteY86" fmla="*/ 3838575 h 4496940"/>
              <a:gd name="connsiteX87" fmla="*/ 640102 w 4519987"/>
              <a:gd name="connsiteY87" fmla="*/ 3781425 h 4496940"/>
              <a:gd name="connsiteX88" fmla="*/ 611527 w 4519987"/>
              <a:gd name="connsiteY88" fmla="*/ 3733800 h 4496940"/>
              <a:gd name="connsiteX89" fmla="*/ 554377 w 4519987"/>
              <a:gd name="connsiteY89" fmla="*/ 3657600 h 4496940"/>
              <a:gd name="connsiteX90" fmla="*/ 525802 w 4519987"/>
              <a:gd name="connsiteY90" fmla="*/ 3609975 h 4496940"/>
              <a:gd name="connsiteX91" fmla="*/ 497227 w 4519987"/>
              <a:gd name="connsiteY91" fmla="*/ 3552825 h 4496940"/>
              <a:gd name="connsiteX92" fmla="*/ 440077 w 4519987"/>
              <a:gd name="connsiteY92" fmla="*/ 3495675 h 4496940"/>
              <a:gd name="connsiteX93" fmla="*/ 411502 w 4519987"/>
              <a:gd name="connsiteY93" fmla="*/ 3448050 h 4496940"/>
              <a:gd name="connsiteX94" fmla="*/ 278152 w 4519987"/>
              <a:gd name="connsiteY94" fmla="*/ 3257550 h 4496940"/>
              <a:gd name="connsiteX95" fmla="*/ 249577 w 4519987"/>
              <a:gd name="connsiteY95" fmla="*/ 3200400 h 4496940"/>
              <a:gd name="connsiteX96" fmla="*/ 240052 w 4519987"/>
              <a:gd name="connsiteY96" fmla="*/ 3162300 h 4496940"/>
              <a:gd name="connsiteX97" fmla="*/ 221002 w 4519987"/>
              <a:gd name="connsiteY97" fmla="*/ 3105150 h 4496940"/>
              <a:gd name="connsiteX98" fmla="*/ 173377 w 4519987"/>
              <a:gd name="connsiteY98" fmla="*/ 3019425 h 4496940"/>
              <a:gd name="connsiteX99" fmla="*/ 144802 w 4519987"/>
              <a:gd name="connsiteY99" fmla="*/ 2924175 h 4496940"/>
              <a:gd name="connsiteX100" fmla="*/ 68602 w 4519987"/>
              <a:gd name="connsiteY100" fmla="*/ 2724150 h 4496940"/>
              <a:gd name="connsiteX101" fmla="*/ 49552 w 4519987"/>
              <a:gd name="connsiteY101" fmla="*/ 2638425 h 4496940"/>
              <a:gd name="connsiteX102" fmla="*/ 40027 w 4519987"/>
              <a:gd name="connsiteY102" fmla="*/ 2562225 h 4496940"/>
              <a:gd name="connsiteX103" fmla="*/ 30502 w 4519987"/>
              <a:gd name="connsiteY103" fmla="*/ 2514600 h 4496940"/>
              <a:gd name="connsiteX104" fmla="*/ 11452 w 4519987"/>
              <a:gd name="connsiteY104" fmla="*/ 2400300 h 4496940"/>
              <a:gd name="connsiteX105" fmla="*/ 20977 w 4519987"/>
              <a:gd name="connsiteY105" fmla="*/ 1905000 h 4496940"/>
              <a:gd name="connsiteX106" fmla="*/ 30502 w 4519987"/>
              <a:gd name="connsiteY106" fmla="*/ 1838325 h 4496940"/>
              <a:gd name="connsiteX107" fmla="*/ 49552 w 4519987"/>
              <a:gd name="connsiteY107" fmla="*/ 1781175 h 4496940"/>
              <a:gd name="connsiteX108" fmla="*/ 59077 w 4519987"/>
              <a:gd name="connsiteY108" fmla="*/ 1743075 h 4496940"/>
              <a:gd name="connsiteX109" fmla="*/ 78127 w 4519987"/>
              <a:gd name="connsiteY109" fmla="*/ 1685925 h 4496940"/>
              <a:gd name="connsiteX110" fmla="*/ 87652 w 4519987"/>
              <a:gd name="connsiteY110" fmla="*/ 1638300 h 4496940"/>
              <a:gd name="connsiteX111" fmla="*/ 106702 w 4519987"/>
              <a:gd name="connsiteY111" fmla="*/ 1590675 h 4496940"/>
              <a:gd name="connsiteX112" fmla="*/ 135277 w 4519987"/>
              <a:gd name="connsiteY112" fmla="*/ 1504950 h 4496940"/>
              <a:gd name="connsiteX113" fmla="*/ 154327 w 4519987"/>
              <a:gd name="connsiteY113" fmla="*/ 1419225 h 4496940"/>
              <a:gd name="connsiteX114" fmla="*/ 230527 w 4519987"/>
              <a:gd name="connsiteY114" fmla="*/ 1276350 h 4496940"/>
              <a:gd name="connsiteX115" fmla="*/ 240052 w 4519987"/>
              <a:gd name="connsiteY115" fmla="*/ 1247775 h 4496940"/>
              <a:gd name="connsiteX116" fmla="*/ 268627 w 4519987"/>
              <a:gd name="connsiteY116" fmla="*/ 1200150 h 4496940"/>
              <a:gd name="connsiteX117" fmla="*/ 287677 w 4519987"/>
              <a:gd name="connsiteY117" fmla="*/ 1152525 h 4496940"/>
              <a:gd name="connsiteX118" fmla="*/ 316252 w 4519987"/>
              <a:gd name="connsiteY118" fmla="*/ 1114425 h 4496940"/>
              <a:gd name="connsiteX119" fmla="*/ 363877 w 4519987"/>
              <a:gd name="connsiteY119" fmla="*/ 1038225 h 4496940"/>
              <a:gd name="connsiteX120" fmla="*/ 382927 w 4519987"/>
              <a:gd name="connsiteY120" fmla="*/ 1009650 h 4496940"/>
              <a:gd name="connsiteX121" fmla="*/ 440077 w 4519987"/>
              <a:gd name="connsiteY121" fmla="*/ 904875 h 4496940"/>
              <a:gd name="connsiteX122" fmla="*/ 478177 w 4519987"/>
              <a:gd name="connsiteY122" fmla="*/ 857250 h 4496940"/>
              <a:gd name="connsiteX123" fmla="*/ 497227 w 4519987"/>
              <a:gd name="connsiteY123" fmla="*/ 828675 h 4496940"/>
              <a:gd name="connsiteX124" fmla="*/ 535327 w 4519987"/>
              <a:gd name="connsiteY124" fmla="*/ 800100 h 4496940"/>
              <a:gd name="connsiteX125" fmla="*/ 602002 w 4519987"/>
              <a:gd name="connsiteY125" fmla="*/ 733425 h 4496940"/>
              <a:gd name="connsiteX126" fmla="*/ 668677 w 4519987"/>
              <a:gd name="connsiteY126" fmla="*/ 676275 h 4496940"/>
              <a:gd name="connsiteX127" fmla="*/ 697252 w 4519987"/>
              <a:gd name="connsiteY127" fmla="*/ 657225 h 4496940"/>
              <a:gd name="connsiteX128" fmla="*/ 840127 w 4519987"/>
              <a:gd name="connsiteY128" fmla="*/ 533400 h 4496940"/>
              <a:gd name="connsiteX129" fmla="*/ 887752 w 4519987"/>
              <a:gd name="connsiteY129" fmla="*/ 504825 h 4496940"/>
              <a:gd name="connsiteX130" fmla="*/ 1167152 w 4519987"/>
              <a:gd name="connsiteY130" fmla="*/ 311150 h 4496940"/>
              <a:gd name="connsiteX131" fmla="*/ 1268752 w 4519987"/>
              <a:gd name="connsiteY131" fmla="*/ 285750 h 4496940"/>
              <a:gd name="connsiteX132" fmla="*/ 1411627 w 4519987"/>
              <a:gd name="connsiteY132" fmla="*/ 190500 h 4496940"/>
              <a:gd name="connsiteX133" fmla="*/ 1449727 w 4519987"/>
              <a:gd name="connsiteY133" fmla="*/ 161925 h 4496940"/>
              <a:gd name="connsiteX134" fmla="*/ 1525927 w 4519987"/>
              <a:gd name="connsiteY134" fmla="*/ 152400 h 4496940"/>
              <a:gd name="connsiteX135" fmla="*/ 1583077 w 4519987"/>
              <a:gd name="connsiteY135" fmla="*/ 142875 h 4496940"/>
              <a:gd name="connsiteX136" fmla="*/ 1716427 w 4519987"/>
              <a:gd name="connsiteY136" fmla="*/ 123825 h 4496940"/>
              <a:gd name="connsiteX137" fmla="*/ 1811677 w 4519987"/>
              <a:gd name="connsiteY137" fmla="*/ 114300 h 4496940"/>
              <a:gd name="connsiteX138" fmla="*/ 1859302 w 4519987"/>
              <a:gd name="connsiteY138" fmla="*/ 104775 h 4496940"/>
              <a:gd name="connsiteX139" fmla="*/ 1916452 w 4519987"/>
              <a:gd name="connsiteY139" fmla="*/ 95250 h 4496940"/>
              <a:gd name="connsiteX140" fmla="*/ 2030752 w 4519987"/>
              <a:gd name="connsiteY140" fmla="*/ 66675 h 4496940"/>
              <a:gd name="connsiteX141" fmla="*/ 2097427 w 4519987"/>
              <a:gd name="connsiteY141" fmla="*/ 47625 h 4496940"/>
              <a:gd name="connsiteX142" fmla="*/ 2164102 w 4519987"/>
              <a:gd name="connsiteY142" fmla="*/ 38100 h 4496940"/>
              <a:gd name="connsiteX143" fmla="*/ 2392702 w 4519987"/>
              <a:gd name="connsiteY14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02477 w 4519987"/>
              <a:gd name="connsiteY27" fmla="*/ 1590675 h 4496940"/>
              <a:gd name="connsiteX28" fmla="*/ 4431052 w 4519987"/>
              <a:gd name="connsiteY28" fmla="*/ 1685925 h 4496940"/>
              <a:gd name="connsiteX29" fmla="*/ 4519952 w 4519987"/>
              <a:gd name="connsiteY29" fmla="*/ 2181225 h 4496940"/>
              <a:gd name="connsiteX30" fmla="*/ 4446927 w 4519987"/>
              <a:gd name="connsiteY30" fmla="*/ 2768600 h 4496940"/>
              <a:gd name="connsiteX31" fmla="*/ 4383427 w 4519987"/>
              <a:gd name="connsiteY31" fmla="*/ 2990850 h 4496940"/>
              <a:gd name="connsiteX32" fmla="*/ 4278652 w 4519987"/>
              <a:gd name="connsiteY32" fmla="*/ 3248025 h 4496940"/>
              <a:gd name="connsiteX33" fmla="*/ 4259602 w 4519987"/>
              <a:gd name="connsiteY33" fmla="*/ 3276600 h 4496940"/>
              <a:gd name="connsiteX34" fmla="*/ 4221502 w 4519987"/>
              <a:gd name="connsiteY34" fmla="*/ 3333750 h 4496940"/>
              <a:gd name="connsiteX35" fmla="*/ 4211977 w 4519987"/>
              <a:gd name="connsiteY35" fmla="*/ 3362325 h 4496940"/>
              <a:gd name="connsiteX36" fmla="*/ 4183402 w 4519987"/>
              <a:gd name="connsiteY36" fmla="*/ 3400425 h 4496940"/>
              <a:gd name="connsiteX37" fmla="*/ 4164352 w 4519987"/>
              <a:gd name="connsiteY37" fmla="*/ 3429000 h 4496940"/>
              <a:gd name="connsiteX38" fmla="*/ 4088152 w 4519987"/>
              <a:gd name="connsiteY38" fmla="*/ 3495675 h 4496940"/>
              <a:gd name="connsiteX39" fmla="*/ 4059577 w 4519987"/>
              <a:gd name="connsiteY39" fmla="*/ 3533775 h 4496940"/>
              <a:gd name="connsiteX40" fmla="*/ 4002427 w 4519987"/>
              <a:gd name="connsiteY40" fmla="*/ 3600450 h 4496940"/>
              <a:gd name="connsiteX41" fmla="*/ 3983377 w 4519987"/>
              <a:gd name="connsiteY41" fmla="*/ 3629025 h 4496940"/>
              <a:gd name="connsiteX42" fmla="*/ 3954802 w 4519987"/>
              <a:gd name="connsiteY42" fmla="*/ 3648075 h 4496940"/>
              <a:gd name="connsiteX43" fmla="*/ 3907177 w 4519987"/>
              <a:gd name="connsiteY43" fmla="*/ 3686175 h 4496940"/>
              <a:gd name="connsiteX44" fmla="*/ 3869077 w 4519987"/>
              <a:gd name="connsiteY44" fmla="*/ 3724275 h 4496940"/>
              <a:gd name="connsiteX45" fmla="*/ 3792877 w 4519987"/>
              <a:gd name="connsiteY45" fmla="*/ 3781425 h 4496940"/>
              <a:gd name="connsiteX46" fmla="*/ 3783352 w 4519987"/>
              <a:gd name="connsiteY46" fmla="*/ 3810000 h 4496940"/>
              <a:gd name="connsiteX47" fmla="*/ 3745252 w 4519987"/>
              <a:gd name="connsiteY47" fmla="*/ 3819525 h 4496940"/>
              <a:gd name="connsiteX48" fmla="*/ 3678577 w 4519987"/>
              <a:gd name="connsiteY48" fmla="*/ 3848100 h 4496940"/>
              <a:gd name="connsiteX49" fmla="*/ 3659527 w 4519987"/>
              <a:gd name="connsiteY49" fmla="*/ 3971925 h 4496940"/>
              <a:gd name="connsiteX50" fmla="*/ 3630952 w 4519987"/>
              <a:gd name="connsiteY50" fmla="*/ 4010025 h 4496940"/>
              <a:gd name="connsiteX51" fmla="*/ 3621427 w 4519987"/>
              <a:gd name="connsiteY51" fmla="*/ 4038600 h 4496940"/>
              <a:gd name="connsiteX52" fmla="*/ 3554752 w 4519987"/>
              <a:gd name="connsiteY52" fmla="*/ 4095750 h 4496940"/>
              <a:gd name="connsiteX53" fmla="*/ 3516652 w 4519987"/>
              <a:gd name="connsiteY53" fmla="*/ 4114800 h 4496940"/>
              <a:gd name="connsiteX54" fmla="*/ 3497602 w 4519987"/>
              <a:gd name="connsiteY54" fmla="*/ 4143375 h 4496940"/>
              <a:gd name="connsiteX55" fmla="*/ 3383302 w 4519987"/>
              <a:gd name="connsiteY55" fmla="*/ 4210050 h 4496940"/>
              <a:gd name="connsiteX56" fmla="*/ 3335677 w 4519987"/>
              <a:gd name="connsiteY56" fmla="*/ 4238625 h 4496940"/>
              <a:gd name="connsiteX57" fmla="*/ 3288052 w 4519987"/>
              <a:gd name="connsiteY57" fmla="*/ 4248150 h 4496940"/>
              <a:gd name="connsiteX58" fmla="*/ 3240427 w 4519987"/>
              <a:gd name="connsiteY58" fmla="*/ 4267200 h 4496940"/>
              <a:gd name="connsiteX59" fmla="*/ 3068977 w 4519987"/>
              <a:gd name="connsiteY59" fmla="*/ 4286250 h 4496940"/>
              <a:gd name="connsiteX60" fmla="*/ 2935627 w 4519987"/>
              <a:gd name="connsiteY60" fmla="*/ 4333875 h 4496940"/>
              <a:gd name="connsiteX61" fmla="*/ 2811802 w 4519987"/>
              <a:gd name="connsiteY61" fmla="*/ 4371975 h 4496940"/>
              <a:gd name="connsiteX62" fmla="*/ 2745127 w 4519987"/>
              <a:gd name="connsiteY62" fmla="*/ 4410075 h 4496940"/>
              <a:gd name="connsiteX63" fmla="*/ 2697502 w 4519987"/>
              <a:gd name="connsiteY63" fmla="*/ 4429125 h 4496940"/>
              <a:gd name="connsiteX64" fmla="*/ 2640352 w 4519987"/>
              <a:gd name="connsiteY64" fmla="*/ 4457700 h 4496940"/>
              <a:gd name="connsiteX65" fmla="*/ 2583202 w 4519987"/>
              <a:gd name="connsiteY65" fmla="*/ 4467225 h 4496940"/>
              <a:gd name="connsiteX66" fmla="*/ 2545102 w 4519987"/>
              <a:gd name="connsiteY66" fmla="*/ 4486275 h 4496940"/>
              <a:gd name="connsiteX67" fmla="*/ 2306977 w 4519987"/>
              <a:gd name="connsiteY67" fmla="*/ 4476750 h 4496940"/>
              <a:gd name="connsiteX68" fmla="*/ 2202202 w 4519987"/>
              <a:gd name="connsiteY68" fmla="*/ 4457700 h 4496940"/>
              <a:gd name="connsiteX69" fmla="*/ 2126002 w 4519987"/>
              <a:gd name="connsiteY69" fmla="*/ 4429125 h 4496940"/>
              <a:gd name="connsiteX70" fmla="*/ 1935502 w 4519987"/>
              <a:gd name="connsiteY70" fmla="*/ 4400550 h 4496940"/>
              <a:gd name="connsiteX71" fmla="*/ 1821202 w 4519987"/>
              <a:gd name="connsiteY71" fmla="*/ 4371975 h 4496940"/>
              <a:gd name="connsiteX72" fmla="*/ 1754527 w 4519987"/>
              <a:gd name="connsiteY72" fmla="*/ 4352925 h 4496940"/>
              <a:gd name="connsiteX73" fmla="*/ 1687852 w 4519987"/>
              <a:gd name="connsiteY73" fmla="*/ 4343400 h 4496940"/>
              <a:gd name="connsiteX74" fmla="*/ 1573552 w 4519987"/>
              <a:gd name="connsiteY74" fmla="*/ 4305300 h 4496940"/>
              <a:gd name="connsiteX75" fmla="*/ 1402102 w 4519987"/>
              <a:gd name="connsiteY75" fmla="*/ 4276725 h 4496940"/>
              <a:gd name="connsiteX76" fmla="*/ 1287802 w 4519987"/>
              <a:gd name="connsiteY76" fmla="*/ 4229100 h 4496940"/>
              <a:gd name="connsiteX77" fmla="*/ 1221127 w 4519987"/>
              <a:gd name="connsiteY77" fmla="*/ 4200525 h 4496940"/>
              <a:gd name="connsiteX78" fmla="*/ 1144927 w 4519987"/>
              <a:gd name="connsiteY78" fmla="*/ 4171950 h 4496940"/>
              <a:gd name="connsiteX79" fmla="*/ 1087777 w 4519987"/>
              <a:gd name="connsiteY79" fmla="*/ 4143375 h 4496940"/>
              <a:gd name="connsiteX80" fmla="*/ 1030627 w 4519987"/>
              <a:gd name="connsiteY80" fmla="*/ 4124325 h 4496940"/>
              <a:gd name="connsiteX81" fmla="*/ 925852 w 4519987"/>
              <a:gd name="connsiteY81" fmla="*/ 4067175 h 4496940"/>
              <a:gd name="connsiteX82" fmla="*/ 830602 w 4519987"/>
              <a:gd name="connsiteY82" fmla="*/ 3981450 h 4496940"/>
              <a:gd name="connsiteX83" fmla="*/ 763927 w 4519987"/>
              <a:gd name="connsiteY83" fmla="*/ 3914775 h 4496940"/>
              <a:gd name="connsiteX84" fmla="*/ 725827 w 4519987"/>
              <a:gd name="connsiteY84" fmla="*/ 3876675 h 4496940"/>
              <a:gd name="connsiteX85" fmla="*/ 697252 w 4519987"/>
              <a:gd name="connsiteY85" fmla="*/ 3838575 h 4496940"/>
              <a:gd name="connsiteX86" fmla="*/ 640102 w 4519987"/>
              <a:gd name="connsiteY86" fmla="*/ 3781425 h 4496940"/>
              <a:gd name="connsiteX87" fmla="*/ 611527 w 4519987"/>
              <a:gd name="connsiteY87" fmla="*/ 3733800 h 4496940"/>
              <a:gd name="connsiteX88" fmla="*/ 554377 w 4519987"/>
              <a:gd name="connsiteY88" fmla="*/ 3657600 h 4496940"/>
              <a:gd name="connsiteX89" fmla="*/ 525802 w 4519987"/>
              <a:gd name="connsiteY89" fmla="*/ 3609975 h 4496940"/>
              <a:gd name="connsiteX90" fmla="*/ 497227 w 4519987"/>
              <a:gd name="connsiteY90" fmla="*/ 3552825 h 4496940"/>
              <a:gd name="connsiteX91" fmla="*/ 440077 w 4519987"/>
              <a:gd name="connsiteY91" fmla="*/ 3495675 h 4496940"/>
              <a:gd name="connsiteX92" fmla="*/ 411502 w 4519987"/>
              <a:gd name="connsiteY92" fmla="*/ 3448050 h 4496940"/>
              <a:gd name="connsiteX93" fmla="*/ 278152 w 4519987"/>
              <a:gd name="connsiteY93" fmla="*/ 3257550 h 4496940"/>
              <a:gd name="connsiteX94" fmla="*/ 249577 w 4519987"/>
              <a:gd name="connsiteY94" fmla="*/ 3200400 h 4496940"/>
              <a:gd name="connsiteX95" fmla="*/ 240052 w 4519987"/>
              <a:gd name="connsiteY95" fmla="*/ 3162300 h 4496940"/>
              <a:gd name="connsiteX96" fmla="*/ 221002 w 4519987"/>
              <a:gd name="connsiteY96" fmla="*/ 3105150 h 4496940"/>
              <a:gd name="connsiteX97" fmla="*/ 173377 w 4519987"/>
              <a:gd name="connsiteY97" fmla="*/ 3019425 h 4496940"/>
              <a:gd name="connsiteX98" fmla="*/ 144802 w 4519987"/>
              <a:gd name="connsiteY98" fmla="*/ 2924175 h 4496940"/>
              <a:gd name="connsiteX99" fmla="*/ 68602 w 4519987"/>
              <a:gd name="connsiteY99" fmla="*/ 2724150 h 4496940"/>
              <a:gd name="connsiteX100" fmla="*/ 49552 w 4519987"/>
              <a:gd name="connsiteY100" fmla="*/ 2638425 h 4496940"/>
              <a:gd name="connsiteX101" fmla="*/ 40027 w 4519987"/>
              <a:gd name="connsiteY101" fmla="*/ 2562225 h 4496940"/>
              <a:gd name="connsiteX102" fmla="*/ 30502 w 4519987"/>
              <a:gd name="connsiteY102" fmla="*/ 2514600 h 4496940"/>
              <a:gd name="connsiteX103" fmla="*/ 11452 w 4519987"/>
              <a:gd name="connsiteY103" fmla="*/ 2400300 h 4496940"/>
              <a:gd name="connsiteX104" fmla="*/ 20977 w 4519987"/>
              <a:gd name="connsiteY104" fmla="*/ 1905000 h 4496940"/>
              <a:gd name="connsiteX105" fmla="*/ 30502 w 4519987"/>
              <a:gd name="connsiteY105" fmla="*/ 1838325 h 4496940"/>
              <a:gd name="connsiteX106" fmla="*/ 49552 w 4519987"/>
              <a:gd name="connsiteY106" fmla="*/ 1781175 h 4496940"/>
              <a:gd name="connsiteX107" fmla="*/ 59077 w 4519987"/>
              <a:gd name="connsiteY107" fmla="*/ 1743075 h 4496940"/>
              <a:gd name="connsiteX108" fmla="*/ 78127 w 4519987"/>
              <a:gd name="connsiteY108" fmla="*/ 1685925 h 4496940"/>
              <a:gd name="connsiteX109" fmla="*/ 87652 w 4519987"/>
              <a:gd name="connsiteY109" fmla="*/ 1638300 h 4496940"/>
              <a:gd name="connsiteX110" fmla="*/ 106702 w 4519987"/>
              <a:gd name="connsiteY110" fmla="*/ 1590675 h 4496940"/>
              <a:gd name="connsiteX111" fmla="*/ 135277 w 4519987"/>
              <a:gd name="connsiteY111" fmla="*/ 1504950 h 4496940"/>
              <a:gd name="connsiteX112" fmla="*/ 154327 w 4519987"/>
              <a:gd name="connsiteY112" fmla="*/ 1419225 h 4496940"/>
              <a:gd name="connsiteX113" fmla="*/ 230527 w 4519987"/>
              <a:gd name="connsiteY113" fmla="*/ 1276350 h 4496940"/>
              <a:gd name="connsiteX114" fmla="*/ 240052 w 4519987"/>
              <a:gd name="connsiteY114" fmla="*/ 1247775 h 4496940"/>
              <a:gd name="connsiteX115" fmla="*/ 268627 w 4519987"/>
              <a:gd name="connsiteY115" fmla="*/ 1200150 h 4496940"/>
              <a:gd name="connsiteX116" fmla="*/ 287677 w 4519987"/>
              <a:gd name="connsiteY116" fmla="*/ 1152525 h 4496940"/>
              <a:gd name="connsiteX117" fmla="*/ 316252 w 4519987"/>
              <a:gd name="connsiteY117" fmla="*/ 1114425 h 4496940"/>
              <a:gd name="connsiteX118" fmla="*/ 363877 w 4519987"/>
              <a:gd name="connsiteY118" fmla="*/ 1038225 h 4496940"/>
              <a:gd name="connsiteX119" fmla="*/ 382927 w 4519987"/>
              <a:gd name="connsiteY119" fmla="*/ 1009650 h 4496940"/>
              <a:gd name="connsiteX120" fmla="*/ 440077 w 4519987"/>
              <a:gd name="connsiteY120" fmla="*/ 904875 h 4496940"/>
              <a:gd name="connsiteX121" fmla="*/ 478177 w 4519987"/>
              <a:gd name="connsiteY121" fmla="*/ 857250 h 4496940"/>
              <a:gd name="connsiteX122" fmla="*/ 497227 w 4519987"/>
              <a:gd name="connsiteY122" fmla="*/ 828675 h 4496940"/>
              <a:gd name="connsiteX123" fmla="*/ 535327 w 4519987"/>
              <a:gd name="connsiteY123" fmla="*/ 800100 h 4496940"/>
              <a:gd name="connsiteX124" fmla="*/ 602002 w 4519987"/>
              <a:gd name="connsiteY124" fmla="*/ 733425 h 4496940"/>
              <a:gd name="connsiteX125" fmla="*/ 668677 w 4519987"/>
              <a:gd name="connsiteY125" fmla="*/ 676275 h 4496940"/>
              <a:gd name="connsiteX126" fmla="*/ 697252 w 4519987"/>
              <a:gd name="connsiteY126" fmla="*/ 657225 h 4496940"/>
              <a:gd name="connsiteX127" fmla="*/ 840127 w 4519987"/>
              <a:gd name="connsiteY127" fmla="*/ 533400 h 4496940"/>
              <a:gd name="connsiteX128" fmla="*/ 887752 w 4519987"/>
              <a:gd name="connsiteY128" fmla="*/ 504825 h 4496940"/>
              <a:gd name="connsiteX129" fmla="*/ 1167152 w 4519987"/>
              <a:gd name="connsiteY129" fmla="*/ 311150 h 4496940"/>
              <a:gd name="connsiteX130" fmla="*/ 1268752 w 4519987"/>
              <a:gd name="connsiteY130" fmla="*/ 285750 h 4496940"/>
              <a:gd name="connsiteX131" fmla="*/ 1411627 w 4519987"/>
              <a:gd name="connsiteY131" fmla="*/ 190500 h 4496940"/>
              <a:gd name="connsiteX132" fmla="*/ 1449727 w 4519987"/>
              <a:gd name="connsiteY132" fmla="*/ 161925 h 4496940"/>
              <a:gd name="connsiteX133" fmla="*/ 1525927 w 4519987"/>
              <a:gd name="connsiteY133" fmla="*/ 152400 h 4496940"/>
              <a:gd name="connsiteX134" fmla="*/ 1583077 w 4519987"/>
              <a:gd name="connsiteY134" fmla="*/ 142875 h 4496940"/>
              <a:gd name="connsiteX135" fmla="*/ 1716427 w 4519987"/>
              <a:gd name="connsiteY135" fmla="*/ 123825 h 4496940"/>
              <a:gd name="connsiteX136" fmla="*/ 1811677 w 4519987"/>
              <a:gd name="connsiteY136" fmla="*/ 114300 h 4496940"/>
              <a:gd name="connsiteX137" fmla="*/ 1859302 w 4519987"/>
              <a:gd name="connsiteY137" fmla="*/ 104775 h 4496940"/>
              <a:gd name="connsiteX138" fmla="*/ 1916452 w 4519987"/>
              <a:gd name="connsiteY138" fmla="*/ 95250 h 4496940"/>
              <a:gd name="connsiteX139" fmla="*/ 2030752 w 4519987"/>
              <a:gd name="connsiteY139" fmla="*/ 66675 h 4496940"/>
              <a:gd name="connsiteX140" fmla="*/ 2097427 w 4519987"/>
              <a:gd name="connsiteY140" fmla="*/ 47625 h 4496940"/>
              <a:gd name="connsiteX141" fmla="*/ 2164102 w 4519987"/>
              <a:gd name="connsiteY141" fmla="*/ 38100 h 4496940"/>
              <a:gd name="connsiteX142" fmla="*/ 2392702 w 4519987"/>
              <a:gd name="connsiteY14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211977 w 4519987"/>
              <a:gd name="connsiteY34" fmla="*/ 3362325 h 4496940"/>
              <a:gd name="connsiteX35" fmla="*/ 4183402 w 4519987"/>
              <a:gd name="connsiteY35" fmla="*/ 3400425 h 4496940"/>
              <a:gd name="connsiteX36" fmla="*/ 4164352 w 4519987"/>
              <a:gd name="connsiteY36" fmla="*/ 3429000 h 4496940"/>
              <a:gd name="connsiteX37" fmla="*/ 4088152 w 4519987"/>
              <a:gd name="connsiteY37" fmla="*/ 3495675 h 4496940"/>
              <a:gd name="connsiteX38" fmla="*/ 4059577 w 4519987"/>
              <a:gd name="connsiteY38" fmla="*/ 3533775 h 4496940"/>
              <a:gd name="connsiteX39" fmla="*/ 4002427 w 4519987"/>
              <a:gd name="connsiteY39" fmla="*/ 3600450 h 4496940"/>
              <a:gd name="connsiteX40" fmla="*/ 3983377 w 4519987"/>
              <a:gd name="connsiteY40" fmla="*/ 3629025 h 4496940"/>
              <a:gd name="connsiteX41" fmla="*/ 3954802 w 4519987"/>
              <a:gd name="connsiteY41" fmla="*/ 3648075 h 4496940"/>
              <a:gd name="connsiteX42" fmla="*/ 3907177 w 4519987"/>
              <a:gd name="connsiteY42" fmla="*/ 3686175 h 4496940"/>
              <a:gd name="connsiteX43" fmla="*/ 3869077 w 4519987"/>
              <a:gd name="connsiteY43" fmla="*/ 3724275 h 4496940"/>
              <a:gd name="connsiteX44" fmla="*/ 3792877 w 4519987"/>
              <a:gd name="connsiteY44" fmla="*/ 3781425 h 4496940"/>
              <a:gd name="connsiteX45" fmla="*/ 3783352 w 4519987"/>
              <a:gd name="connsiteY45" fmla="*/ 3810000 h 4496940"/>
              <a:gd name="connsiteX46" fmla="*/ 3745252 w 4519987"/>
              <a:gd name="connsiteY46" fmla="*/ 3819525 h 4496940"/>
              <a:gd name="connsiteX47" fmla="*/ 3678577 w 4519987"/>
              <a:gd name="connsiteY47" fmla="*/ 3848100 h 4496940"/>
              <a:gd name="connsiteX48" fmla="*/ 3659527 w 4519987"/>
              <a:gd name="connsiteY48" fmla="*/ 3971925 h 4496940"/>
              <a:gd name="connsiteX49" fmla="*/ 3630952 w 4519987"/>
              <a:gd name="connsiteY49" fmla="*/ 4010025 h 4496940"/>
              <a:gd name="connsiteX50" fmla="*/ 3621427 w 4519987"/>
              <a:gd name="connsiteY50" fmla="*/ 4038600 h 4496940"/>
              <a:gd name="connsiteX51" fmla="*/ 3554752 w 4519987"/>
              <a:gd name="connsiteY51" fmla="*/ 4095750 h 4496940"/>
              <a:gd name="connsiteX52" fmla="*/ 3516652 w 4519987"/>
              <a:gd name="connsiteY52" fmla="*/ 4114800 h 4496940"/>
              <a:gd name="connsiteX53" fmla="*/ 3497602 w 4519987"/>
              <a:gd name="connsiteY53" fmla="*/ 4143375 h 4496940"/>
              <a:gd name="connsiteX54" fmla="*/ 3383302 w 4519987"/>
              <a:gd name="connsiteY54" fmla="*/ 4210050 h 4496940"/>
              <a:gd name="connsiteX55" fmla="*/ 3335677 w 4519987"/>
              <a:gd name="connsiteY55" fmla="*/ 4238625 h 4496940"/>
              <a:gd name="connsiteX56" fmla="*/ 3288052 w 4519987"/>
              <a:gd name="connsiteY56" fmla="*/ 4248150 h 4496940"/>
              <a:gd name="connsiteX57" fmla="*/ 3240427 w 4519987"/>
              <a:gd name="connsiteY57" fmla="*/ 4267200 h 4496940"/>
              <a:gd name="connsiteX58" fmla="*/ 3068977 w 4519987"/>
              <a:gd name="connsiteY58" fmla="*/ 4286250 h 4496940"/>
              <a:gd name="connsiteX59" fmla="*/ 2935627 w 4519987"/>
              <a:gd name="connsiteY59" fmla="*/ 4333875 h 4496940"/>
              <a:gd name="connsiteX60" fmla="*/ 2811802 w 4519987"/>
              <a:gd name="connsiteY60" fmla="*/ 4371975 h 4496940"/>
              <a:gd name="connsiteX61" fmla="*/ 2745127 w 4519987"/>
              <a:gd name="connsiteY61" fmla="*/ 4410075 h 4496940"/>
              <a:gd name="connsiteX62" fmla="*/ 2697502 w 4519987"/>
              <a:gd name="connsiteY62" fmla="*/ 4429125 h 4496940"/>
              <a:gd name="connsiteX63" fmla="*/ 2640352 w 4519987"/>
              <a:gd name="connsiteY63" fmla="*/ 4457700 h 4496940"/>
              <a:gd name="connsiteX64" fmla="*/ 2583202 w 4519987"/>
              <a:gd name="connsiteY64" fmla="*/ 4467225 h 4496940"/>
              <a:gd name="connsiteX65" fmla="*/ 2545102 w 4519987"/>
              <a:gd name="connsiteY65" fmla="*/ 4486275 h 4496940"/>
              <a:gd name="connsiteX66" fmla="*/ 2306977 w 4519987"/>
              <a:gd name="connsiteY66" fmla="*/ 4476750 h 4496940"/>
              <a:gd name="connsiteX67" fmla="*/ 2202202 w 4519987"/>
              <a:gd name="connsiteY67" fmla="*/ 4457700 h 4496940"/>
              <a:gd name="connsiteX68" fmla="*/ 2126002 w 4519987"/>
              <a:gd name="connsiteY68" fmla="*/ 4429125 h 4496940"/>
              <a:gd name="connsiteX69" fmla="*/ 1935502 w 4519987"/>
              <a:gd name="connsiteY69" fmla="*/ 4400550 h 4496940"/>
              <a:gd name="connsiteX70" fmla="*/ 1821202 w 4519987"/>
              <a:gd name="connsiteY70" fmla="*/ 4371975 h 4496940"/>
              <a:gd name="connsiteX71" fmla="*/ 1754527 w 4519987"/>
              <a:gd name="connsiteY71" fmla="*/ 4352925 h 4496940"/>
              <a:gd name="connsiteX72" fmla="*/ 1687852 w 4519987"/>
              <a:gd name="connsiteY72" fmla="*/ 4343400 h 4496940"/>
              <a:gd name="connsiteX73" fmla="*/ 1573552 w 4519987"/>
              <a:gd name="connsiteY73" fmla="*/ 4305300 h 4496940"/>
              <a:gd name="connsiteX74" fmla="*/ 1402102 w 4519987"/>
              <a:gd name="connsiteY74" fmla="*/ 4276725 h 4496940"/>
              <a:gd name="connsiteX75" fmla="*/ 1287802 w 4519987"/>
              <a:gd name="connsiteY75" fmla="*/ 4229100 h 4496940"/>
              <a:gd name="connsiteX76" fmla="*/ 1221127 w 4519987"/>
              <a:gd name="connsiteY76" fmla="*/ 4200525 h 4496940"/>
              <a:gd name="connsiteX77" fmla="*/ 1144927 w 4519987"/>
              <a:gd name="connsiteY77" fmla="*/ 4171950 h 4496940"/>
              <a:gd name="connsiteX78" fmla="*/ 1087777 w 4519987"/>
              <a:gd name="connsiteY78" fmla="*/ 4143375 h 4496940"/>
              <a:gd name="connsiteX79" fmla="*/ 1030627 w 4519987"/>
              <a:gd name="connsiteY79" fmla="*/ 4124325 h 4496940"/>
              <a:gd name="connsiteX80" fmla="*/ 925852 w 4519987"/>
              <a:gd name="connsiteY80" fmla="*/ 4067175 h 4496940"/>
              <a:gd name="connsiteX81" fmla="*/ 830602 w 4519987"/>
              <a:gd name="connsiteY81" fmla="*/ 3981450 h 4496940"/>
              <a:gd name="connsiteX82" fmla="*/ 763927 w 4519987"/>
              <a:gd name="connsiteY82" fmla="*/ 3914775 h 4496940"/>
              <a:gd name="connsiteX83" fmla="*/ 725827 w 4519987"/>
              <a:gd name="connsiteY83" fmla="*/ 3876675 h 4496940"/>
              <a:gd name="connsiteX84" fmla="*/ 697252 w 4519987"/>
              <a:gd name="connsiteY84" fmla="*/ 3838575 h 4496940"/>
              <a:gd name="connsiteX85" fmla="*/ 640102 w 4519987"/>
              <a:gd name="connsiteY85" fmla="*/ 3781425 h 4496940"/>
              <a:gd name="connsiteX86" fmla="*/ 611527 w 4519987"/>
              <a:gd name="connsiteY86" fmla="*/ 3733800 h 4496940"/>
              <a:gd name="connsiteX87" fmla="*/ 554377 w 4519987"/>
              <a:gd name="connsiteY87" fmla="*/ 3657600 h 4496940"/>
              <a:gd name="connsiteX88" fmla="*/ 525802 w 4519987"/>
              <a:gd name="connsiteY88" fmla="*/ 3609975 h 4496940"/>
              <a:gd name="connsiteX89" fmla="*/ 497227 w 4519987"/>
              <a:gd name="connsiteY89" fmla="*/ 3552825 h 4496940"/>
              <a:gd name="connsiteX90" fmla="*/ 440077 w 4519987"/>
              <a:gd name="connsiteY90" fmla="*/ 3495675 h 4496940"/>
              <a:gd name="connsiteX91" fmla="*/ 411502 w 4519987"/>
              <a:gd name="connsiteY91" fmla="*/ 3448050 h 4496940"/>
              <a:gd name="connsiteX92" fmla="*/ 278152 w 4519987"/>
              <a:gd name="connsiteY92" fmla="*/ 3257550 h 4496940"/>
              <a:gd name="connsiteX93" fmla="*/ 249577 w 4519987"/>
              <a:gd name="connsiteY93" fmla="*/ 3200400 h 4496940"/>
              <a:gd name="connsiteX94" fmla="*/ 240052 w 4519987"/>
              <a:gd name="connsiteY94" fmla="*/ 3162300 h 4496940"/>
              <a:gd name="connsiteX95" fmla="*/ 221002 w 4519987"/>
              <a:gd name="connsiteY95" fmla="*/ 3105150 h 4496940"/>
              <a:gd name="connsiteX96" fmla="*/ 173377 w 4519987"/>
              <a:gd name="connsiteY96" fmla="*/ 3019425 h 4496940"/>
              <a:gd name="connsiteX97" fmla="*/ 144802 w 4519987"/>
              <a:gd name="connsiteY97" fmla="*/ 2924175 h 4496940"/>
              <a:gd name="connsiteX98" fmla="*/ 68602 w 4519987"/>
              <a:gd name="connsiteY98" fmla="*/ 2724150 h 4496940"/>
              <a:gd name="connsiteX99" fmla="*/ 49552 w 4519987"/>
              <a:gd name="connsiteY99" fmla="*/ 2638425 h 4496940"/>
              <a:gd name="connsiteX100" fmla="*/ 40027 w 4519987"/>
              <a:gd name="connsiteY100" fmla="*/ 2562225 h 4496940"/>
              <a:gd name="connsiteX101" fmla="*/ 30502 w 4519987"/>
              <a:gd name="connsiteY101" fmla="*/ 2514600 h 4496940"/>
              <a:gd name="connsiteX102" fmla="*/ 11452 w 4519987"/>
              <a:gd name="connsiteY102" fmla="*/ 2400300 h 4496940"/>
              <a:gd name="connsiteX103" fmla="*/ 20977 w 4519987"/>
              <a:gd name="connsiteY103" fmla="*/ 1905000 h 4496940"/>
              <a:gd name="connsiteX104" fmla="*/ 30502 w 4519987"/>
              <a:gd name="connsiteY104" fmla="*/ 1838325 h 4496940"/>
              <a:gd name="connsiteX105" fmla="*/ 49552 w 4519987"/>
              <a:gd name="connsiteY105" fmla="*/ 1781175 h 4496940"/>
              <a:gd name="connsiteX106" fmla="*/ 59077 w 4519987"/>
              <a:gd name="connsiteY106" fmla="*/ 1743075 h 4496940"/>
              <a:gd name="connsiteX107" fmla="*/ 78127 w 4519987"/>
              <a:gd name="connsiteY107" fmla="*/ 1685925 h 4496940"/>
              <a:gd name="connsiteX108" fmla="*/ 87652 w 4519987"/>
              <a:gd name="connsiteY108" fmla="*/ 1638300 h 4496940"/>
              <a:gd name="connsiteX109" fmla="*/ 106702 w 4519987"/>
              <a:gd name="connsiteY109" fmla="*/ 1590675 h 4496940"/>
              <a:gd name="connsiteX110" fmla="*/ 135277 w 4519987"/>
              <a:gd name="connsiteY110" fmla="*/ 1504950 h 4496940"/>
              <a:gd name="connsiteX111" fmla="*/ 154327 w 4519987"/>
              <a:gd name="connsiteY111" fmla="*/ 1419225 h 4496940"/>
              <a:gd name="connsiteX112" fmla="*/ 230527 w 4519987"/>
              <a:gd name="connsiteY112" fmla="*/ 1276350 h 4496940"/>
              <a:gd name="connsiteX113" fmla="*/ 240052 w 4519987"/>
              <a:gd name="connsiteY113" fmla="*/ 1247775 h 4496940"/>
              <a:gd name="connsiteX114" fmla="*/ 268627 w 4519987"/>
              <a:gd name="connsiteY114" fmla="*/ 1200150 h 4496940"/>
              <a:gd name="connsiteX115" fmla="*/ 287677 w 4519987"/>
              <a:gd name="connsiteY115" fmla="*/ 1152525 h 4496940"/>
              <a:gd name="connsiteX116" fmla="*/ 316252 w 4519987"/>
              <a:gd name="connsiteY116" fmla="*/ 1114425 h 4496940"/>
              <a:gd name="connsiteX117" fmla="*/ 363877 w 4519987"/>
              <a:gd name="connsiteY117" fmla="*/ 1038225 h 4496940"/>
              <a:gd name="connsiteX118" fmla="*/ 382927 w 4519987"/>
              <a:gd name="connsiteY118" fmla="*/ 1009650 h 4496940"/>
              <a:gd name="connsiteX119" fmla="*/ 440077 w 4519987"/>
              <a:gd name="connsiteY119" fmla="*/ 904875 h 4496940"/>
              <a:gd name="connsiteX120" fmla="*/ 478177 w 4519987"/>
              <a:gd name="connsiteY120" fmla="*/ 857250 h 4496940"/>
              <a:gd name="connsiteX121" fmla="*/ 497227 w 4519987"/>
              <a:gd name="connsiteY121" fmla="*/ 828675 h 4496940"/>
              <a:gd name="connsiteX122" fmla="*/ 535327 w 4519987"/>
              <a:gd name="connsiteY122" fmla="*/ 800100 h 4496940"/>
              <a:gd name="connsiteX123" fmla="*/ 602002 w 4519987"/>
              <a:gd name="connsiteY123" fmla="*/ 733425 h 4496940"/>
              <a:gd name="connsiteX124" fmla="*/ 668677 w 4519987"/>
              <a:gd name="connsiteY124" fmla="*/ 676275 h 4496940"/>
              <a:gd name="connsiteX125" fmla="*/ 697252 w 4519987"/>
              <a:gd name="connsiteY125" fmla="*/ 657225 h 4496940"/>
              <a:gd name="connsiteX126" fmla="*/ 840127 w 4519987"/>
              <a:gd name="connsiteY126" fmla="*/ 533400 h 4496940"/>
              <a:gd name="connsiteX127" fmla="*/ 887752 w 4519987"/>
              <a:gd name="connsiteY127" fmla="*/ 504825 h 4496940"/>
              <a:gd name="connsiteX128" fmla="*/ 1167152 w 4519987"/>
              <a:gd name="connsiteY128" fmla="*/ 311150 h 4496940"/>
              <a:gd name="connsiteX129" fmla="*/ 1268752 w 4519987"/>
              <a:gd name="connsiteY129" fmla="*/ 285750 h 4496940"/>
              <a:gd name="connsiteX130" fmla="*/ 1411627 w 4519987"/>
              <a:gd name="connsiteY130" fmla="*/ 190500 h 4496940"/>
              <a:gd name="connsiteX131" fmla="*/ 1449727 w 4519987"/>
              <a:gd name="connsiteY131" fmla="*/ 161925 h 4496940"/>
              <a:gd name="connsiteX132" fmla="*/ 1525927 w 4519987"/>
              <a:gd name="connsiteY132" fmla="*/ 152400 h 4496940"/>
              <a:gd name="connsiteX133" fmla="*/ 1583077 w 4519987"/>
              <a:gd name="connsiteY133" fmla="*/ 142875 h 4496940"/>
              <a:gd name="connsiteX134" fmla="*/ 1716427 w 4519987"/>
              <a:gd name="connsiteY134" fmla="*/ 123825 h 4496940"/>
              <a:gd name="connsiteX135" fmla="*/ 1811677 w 4519987"/>
              <a:gd name="connsiteY135" fmla="*/ 114300 h 4496940"/>
              <a:gd name="connsiteX136" fmla="*/ 1859302 w 4519987"/>
              <a:gd name="connsiteY136" fmla="*/ 104775 h 4496940"/>
              <a:gd name="connsiteX137" fmla="*/ 1916452 w 4519987"/>
              <a:gd name="connsiteY137" fmla="*/ 95250 h 4496940"/>
              <a:gd name="connsiteX138" fmla="*/ 2030752 w 4519987"/>
              <a:gd name="connsiteY138" fmla="*/ 66675 h 4496940"/>
              <a:gd name="connsiteX139" fmla="*/ 2097427 w 4519987"/>
              <a:gd name="connsiteY139" fmla="*/ 47625 h 4496940"/>
              <a:gd name="connsiteX140" fmla="*/ 2164102 w 4519987"/>
              <a:gd name="connsiteY140" fmla="*/ 38100 h 4496940"/>
              <a:gd name="connsiteX141" fmla="*/ 2392702 w 4519987"/>
              <a:gd name="connsiteY14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211977 w 4519987"/>
              <a:gd name="connsiteY34" fmla="*/ 3362325 h 4496940"/>
              <a:gd name="connsiteX35" fmla="*/ 4183402 w 4519987"/>
              <a:gd name="connsiteY35" fmla="*/ 3400425 h 4496940"/>
              <a:gd name="connsiteX36" fmla="*/ 4088152 w 4519987"/>
              <a:gd name="connsiteY36" fmla="*/ 3495675 h 4496940"/>
              <a:gd name="connsiteX37" fmla="*/ 4059577 w 4519987"/>
              <a:gd name="connsiteY37" fmla="*/ 3533775 h 4496940"/>
              <a:gd name="connsiteX38" fmla="*/ 4002427 w 4519987"/>
              <a:gd name="connsiteY38" fmla="*/ 3600450 h 4496940"/>
              <a:gd name="connsiteX39" fmla="*/ 3983377 w 4519987"/>
              <a:gd name="connsiteY39" fmla="*/ 3629025 h 4496940"/>
              <a:gd name="connsiteX40" fmla="*/ 3954802 w 4519987"/>
              <a:gd name="connsiteY40" fmla="*/ 3648075 h 4496940"/>
              <a:gd name="connsiteX41" fmla="*/ 3907177 w 4519987"/>
              <a:gd name="connsiteY41" fmla="*/ 3686175 h 4496940"/>
              <a:gd name="connsiteX42" fmla="*/ 3869077 w 4519987"/>
              <a:gd name="connsiteY42" fmla="*/ 3724275 h 4496940"/>
              <a:gd name="connsiteX43" fmla="*/ 3792877 w 4519987"/>
              <a:gd name="connsiteY43" fmla="*/ 3781425 h 4496940"/>
              <a:gd name="connsiteX44" fmla="*/ 3783352 w 4519987"/>
              <a:gd name="connsiteY44" fmla="*/ 3810000 h 4496940"/>
              <a:gd name="connsiteX45" fmla="*/ 3745252 w 4519987"/>
              <a:gd name="connsiteY45" fmla="*/ 3819525 h 4496940"/>
              <a:gd name="connsiteX46" fmla="*/ 3678577 w 4519987"/>
              <a:gd name="connsiteY46" fmla="*/ 3848100 h 4496940"/>
              <a:gd name="connsiteX47" fmla="*/ 3659527 w 4519987"/>
              <a:gd name="connsiteY47" fmla="*/ 3971925 h 4496940"/>
              <a:gd name="connsiteX48" fmla="*/ 3630952 w 4519987"/>
              <a:gd name="connsiteY48" fmla="*/ 4010025 h 4496940"/>
              <a:gd name="connsiteX49" fmla="*/ 3621427 w 4519987"/>
              <a:gd name="connsiteY49" fmla="*/ 4038600 h 4496940"/>
              <a:gd name="connsiteX50" fmla="*/ 3554752 w 4519987"/>
              <a:gd name="connsiteY50" fmla="*/ 4095750 h 4496940"/>
              <a:gd name="connsiteX51" fmla="*/ 3516652 w 4519987"/>
              <a:gd name="connsiteY51" fmla="*/ 4114800 h 4496940"/>
              <a:gd name="connsiteX52" fmla="*/ 3497602 w 4519987"/>
              <a:gd name="connsiteY52" fmla="*/ 4143375 h 4496940"/>
              <a:gd name="connsiteX53" fmla="*/ 3383302 w 4519987"/>
              <a:gd name="connsiteY53" fmla="*/ 4210050 h 4496940"/>
              <a:gd name="connsiteX54" fmla="*/ 3335677 w 4519987"/>
              <a:gd name="connsiteY54" fmla="*/ 4238625 h 4496940"/>
              <a:gd name="connsiteX55" fmla="*/ 3288052 w 4519987"/>
              <a:gd name="connsiteY55" fmla="*/ 4248150 h 4496940"/>
              <a:gd name="connsiteX56" fmla="*/ 3240427 w 4519987"/>
              <a:gd name="connsiteY56" fmla="*/ 4267200 h 4496940"/>
              <a:gd name="connsiteX57" fmla="*/ 3068977 w 4519987"/>
              <a:gd name="connsiteY57" fmla="*/ 4286250 h 4496940"/>
              <a:gd name="connsiteX58" fmla="*/ 2935627 w 4519987"/>
              <a:gd name="connsiteY58" fmla="*/ 4333875 h 4496940"/>
              <a:gd name="connsiteX59" fmla="*/ 2811802 w 4519987"/>
              <a:gd name="connsiteY59" fmla="*/ 4371975 h 4496940"/>
              <a:gd name="connsiteX60" fmla="*/ 2745127 w 4519987"/>
              <a:gd name="connsiteY60" fmla="*/ 4410075 h 4496940"/>
              <a:gd name="connsiteX61" fmla="*/ 2697502 w 4519987"/>
              <a:gd name="connsiteY61" fmla="*/ 4429125 h 4496940"/>
              <a:gd name="connsiteX62" fmla="*/ 2640352 w 4519987"/>
              <a:gd name="connsiteY62" fmla="*/ 4457700 h 4496940"/>
              <a:gd name="connsiteX63" fmla="*/ 2583202 w 4519987"/>
              <a:gd name="connsiteY63" fmla="*/ 4467225 h 4496940"/>
              <a:gd name="connsiteX64" fmla="*/ 2545102 w 4519987"/>
              <a:gd name="connsiteY64" fmla="*/ 4486275 h 4496940"/>
              <a:gd name="connsiteX65" fmla="*/ 2306977 w 4519987"/>
              <a:gd name="connsiteY65" fmla="*/ 4476750 h 4496940"/>
              <a:gd name="connsiteX66" fmla="*/ 2202202 w 4519987"/>
              <a:gd name="connsiteY66" fmla="*/ 4457700 h 4496940"/>
              <a:gd name="connsiteX67" fmla="*/ 2126002 w 4519987"/>
              <a:gd name="connsiteY67" fmla="*/ 4429125 h 4496940"/>
              <a:gd name="connsiteX68" fmla="*/ 1935502 w 4519987"/>
              <a:gd name="connsiteY68" fmla="*/ 4400550 h 4496940"/>
              <a:gd name="connsiteX69" fmla="*/ 1821202 w 4519987"/>
              <a:gd name="connsiteY69" fmla="*/ 4371975 h 4496940"/>
              <a:gd name="connsiteX70" fmla="*/ 1754527 w 4519987"/>
              <a:gd name="connsiteY70" fmla="*/ 4352925 h 4496940"/>
              <a:gd name="connsiteX71" fmla="*/ 1687852 w 4519987"/>
              <a:gd name="connsiteY71" fmla="*/ 4343400 h 4496940"/>
              <a:gd name="connsiteX72" fmla="*/ 1573552 w 4519987"/>
              <a:gd name="connsiteY72" fmla="*/ 4305300 h 4496940"/>
              <a:gd name="connsiteX73" fmla="*/ 1402102 w 4519987"/>
              <a:gd name="connsiteY73" fmla="*/ 4276725 h 4496940"/>
              <a:gd name="connsiteX74" fmla="*/ 1287802 w 4519987"/>
              <a:gd name="connsiteY74" fmla="*/ 4229100 h 4496940"/>
              <a:gd name="connsiteX75" fmla="*/ 1221127 w 4519987"/>
              <a:gd name="connsiteY75" fmla="*/ 4200525 h 4496940"/>
              <a:gd name="connsiteX76" fmla="*/ 1144927 w 4519987"/>
              <a:gd name="connsiteY76" fmla="*/ 4171950 h 4496940"/>
              <a:gd name="connsiteX77" fmla="*/ 1087777 w 4519987"/>
              <a:gd name="connsiteY77" fmla="*/ 4143375 h 4496940"/>
              <a:gd name="connsiteX78" fmla="*/ 1030627 w 4519987"/>
              <a:gd name="connsiteY78" fmla="*/ 4124325 h 4496940"/>
              <a:gd name="connsiteX79" fmla="*/ 925852 w 4519987"/>
              <a:gd name="connsiteY79" fmla="*/ 4067175 h 4496940"/>
              <a:gd name="connsiteX80" fmla="*/ 830602 w 4519987"/>
              <a:gd name="connsiteY80" fmla="*/ 3981450 h 4496940"/>
              <a:gd name="connsiteX81" fmla="*/ 763927 w 4519987"/>
              <a:gd name="connsiteY81" fmla="*/ 3914775 h 4496940"/>
              <a:gd name="connsiteX82" fmla="*/ 725827 w 4519987"/>
              <a:gd name="connsiteY82" fmla="*/ 3876675 h 4496940"/>
              <a:gd name="connsiteX83" fmla="*/ 697252 w 4519987"/>
              <a:gd name="connsiteY83" fmla="*/ 3838575 h 4496940"/>
              <a:gd name="connsiteX84" fmla="*/ 640102 w 4519987"/>
              <a:gd name="connsiteY84" fmla="*/ 3781425 h 4496940"/>
              <a:gd name="connsiteX85" fmla="*/ 611527 w 4519987"/>
              <a:gd name="connsiteY85" fmla="*/ 3733800 h 4496940"/>
              <a:gd name="connsiteX86" fmla="*/ 554377 w 4519987"/>
              <a:gd name="connsiteY86" fmla="*/ 3657600 h 4496940"/>
              <a:gd name="connsiteX87" fmla="*/ 525802 w 4519987"/>
              <a:gd name="connsiteY87" fmla="*/ 3609975 h 4496940"/>
              <a:gd name="connsiteX88" fmla="*/ 497227 w 4519987"/>
              <a:gd name="connsiteY88" fmla="*/ 3552825 h 4496940"/>
              <a:gd name="connsiteX89" fmla="*/ 440077 w 4519987"/>
              <a:gd name="connsiteY89" fmla="*/ 3495675 h 4496940"/>
              <a:gd name="connsiteX90" fmla="*/ 411502 w 4519987"/>
              <a:gd name="connsiteY90" fmla="*/ 3448050 h 4496940"/>
              <a:gd name="connsiteX91" fmla="*/ 278152 w 4519987"/>
              <a:gd name="connsiteY91" fmla="*/ 3257550 h 4496940"/>
              <a:gd name="connsiteX92" fmla="*/ 249577 w 4519987"/>
              <a:gd name="connsiteY92" fmla="*/ 3200400 h 4496940"/>
              <a:gd name="connsiteX93" fmla="*/ 240052 w 4519987"/>
              <a:gd name="connsiteY93" fmla="*/ 3162300 h 4496940"/>
              <a:gd name="connsiteX94" fmla="*/ 221002 w 4519987"/>
              <a:gd name="connsiteY94" fmla="*/ 3105150 h 4496940"/>
              <a:gd name="connsiteX95" fmla="*/ 173377 w 4519987"/>
              <a:gd name="connsiteY95" fmla="*/ 3019425 h 4496940"/>
              <a:gd name="connsiteX96" fmla="*/ 144802 w 4519987"/>
              <a:gd name="connsiteY96" fmla="*/ 2924175 h 4496940"/>
              <a:gd name="connsiteX97" fmla="*/ 68602 w 4519987"/>
              <a:gd name="connsiteY97" fmla="*/ 2724150 h 4496940"/>
              <a:gd name="connsiteX98" fmla="*/ 49552 w 4519987"/>
              <a:gd name="connsiteY98" fmla="*/ 2638425 h 4496940"/>
              <a:gd name="connsiteX99" fmla="*/ 40027 w 4519987"/>
              <a:gd name="connsiteY99" fmla="*/ 2562225 h 4496940"/>
              <a:gd name="connsiteX100" fmla="*/ 30502 w 4519987"/>
              <a:gd name="connsiteY100" fmla="*/ 2514600 h 4496940"/>
              <a:gd name="connsiteX101" fmla="*/ 11452 w 4519987"/>
              <a:gd name="connsiteY101" fmla="*/ 2400300 h 4496940"/>
              <a:gd name="connsiteX102" fmla="*/ 20977 w 4519987"/>
              <a:gd name="connsiteY102" fmla="*/ 1905000 h 4496940"/>
              <a:gd name="connsiteX103" fmla="*/ 30502 w 4519987"/>
              <a:gd name="connsiteY103" fmla="*/ 1838325 h 4496940"/>
              <a:gd name="connsiteX104" fmla="*/ 49552 w 4519987"/>
              <a:gd name="connsiteY104" fmla="*/ 1781175 h 4496940"/>
              <a:gd name="connsiteX105" fmla="*/ 59077 w 4519987"/>
              <a:gd name="connsiteY105" fmla="*/ 1743075 h 4496940"/>
              <a:gd name="connsiteX106" fmla="*/ 78127 w 4519987"/>
              <a:gd name="connsiteY106" fmla="*/ 1685925 h 4496940"/>
              <a:gd name="connsiteX107" fmla="*/ 87652 w 4519987"/>
              <a:gd name="connsiteY107" fmla="*/ 1638300 h 4496940"/>
              <a:gd name="connsiteX108" fmla="*/ 106702 w 4519987"/>
              <a:gd name="connsiteY108" fmla="*/ 1590675 h 4496940"/>
              <a:gd name="connsiteX109" fmla="*/ 135277 w 4519987"/>
              <a:gd name="connsiteY109" fmla="*/ 1504950 h 4496940"/>
              <a:gd name="connsiteX110" fmla="*/ 154327 w 4519987"/>
              <a:gd name="connsiteY110" fmla="*/ 1419225 h 4496940"/>
              <a:gd name="connsiteX111" fmla="*/ 230527 w 4519987"/>
              <a:gd name="connsiteY111" fmla="*/ 1276350 h 4496940"/>
              <a:gd name="connsiteX112" fmla="*/ 240052 w 4519987"/>
              <a:gd name="connsiteY112" fmla="*/ 1247775 h 4496940"/>
              <a:gd name="connsiteX113" fmla="*/ 268627 w 4519987"/>
              <a:gd name="connsiteY113" fmla="*/ 1200150 h 4496940"/>
              <a:gd name="connsiteX114" fmla="*/ 287677 w 4519987"/>
              <a:gd name="connsiteY114" fmla="*/ 1152525 h 4496940"/>
              <a:gd name="connsiteX115" fmla="*/ 316252 w 4519987"/>
              <a:gd name="connsiteY115" fmla="*/ 1114425 h 4496940"/>
              <a:gd name="connsiteX116" fmla="*/ 363877 w 4519987"/>
              <a:gd name="connsiteY116" fmla="*/ 1038225 h 4496940"/>
              <a:gd name="connsiteX117" fmla="*/ 382927 w 4519987"/>
              <a:gd name="connsiteY117" fmla="*/ 1009650 h 4496940"/>
              <a:gd name="connsiteX118" fmla="*/ 440077 w 4519987"/>
              <a:gd name="connsiteY118" fmla="*/ 904875 h 4496940"/>
              <a:gd name="connsiteX119" fmla="*/ 478177 w 4519987"/>
              <a:gd name="connsiteY119" fmla="*/ 857250 h 4496940"/>
              <a:gd name="connsiteX120" fmla="*/ 497227 w 4519987"/>
              <a:gd name="connsiteY120" fmla="*/ 828675 h 4496940"/>
              <a:gd name="connsiteX121" fmla="*/ 535327 w 4519987"/>
              <a:gd name="connsiteY121" fmla="*/ 800100 h 4496940"/>
              <a:gd name="connsiteX122" fmla="*/ 602002 w 4519987"/>
              <a:gd name="connsiteY122" fmla="*/ 733425 h 4496940"/>
              <a:gd name="connsiteX123" fmla="*/ 668677 w 4519987"/>
              <a:gd name="connsiteY123" fmla="*/ 676275 h 4496940"/>
              <a:gd name="connsiteX124" fmla="*/ 697252 w 4519987"/>
              <a:gd name="connsiteY124" fmla="*/ 657225 h 4496940"/>
              <a:gd name="connsiteX125" fmla="*/ 840127 w 4519987"/>
              <a:gd name="connsiteY125" fmla="*/ 533400 h 4496940"/>
              <a:gd name="connsiteX126" fmla="*/ 887752 w 4519987"/>
              <a:gd name="connsiteY126" fmla="*/ 504825 h 4496940"/>
              <a:gd name="connsiteX127" fmla="*/ 1167152 w 4519987"/>
              <a:gd name="connsiteY127" fmla="*/ 311150 h 4496940"/>
              <a:gd name="connsiteX128" fmla="*/ 1268752 w 4519987"/>
              <a:gd name="connsiteY128" fmla="*/ 285750 h 4496940"/>
              <a:gd name="connsiteX129" fmla="*/ 1411627 w 4519987"/>
              <a:gd name="connsiteY129" fmla="*/ 190500 h 4496940"/>
              <a:gd name="connsiteX130" fmla="*/ 1449727 w 4519987"/>
              <a:gd name="connsiteY130" fmla="*/ 161925 h 4496940"/>
              <a:gd name="connsiteX131" fmla="*/ 1525927 w 4519987"/>
              <a:gd name="connsiteY131" fmla="*/ 152400 h 4496940"/>
              <a:gd name="connsiteX132" fmla="*/ 1583077 w 4519987"/>
              <a:gd name="connsiteY132" fmla="*/ 142875 h 4496940"/>
              <a:gd name="connsiteX133" fmla="*/ 1716427 w 4519987"/>
              <a:gd name="connsiteY133" fmla="*/ 123825 h 4496940"/>
              <a:gd name="connsiteX134" fmla="*/ 1811677 w 4519987"/>
              <a:gd name="connsiteY134" fmla="*/ 114300 h 4496940"/>
              <a:gd name="connsiteX135" fmla="*/ 1859302 w 4519987"/>
              <a:gd name="connsiteY135" fmla="*/ 104775 h 4496940"/>
              <a:gd name="connsiteX136" fmla="*/ 1916452 w 4519987"/>
              <a:gd name="connsiteY136" fmla="*/ 95250 h 4496940"/>
              <a:gd name="connsiteX137" fmla="*/ 2030752 w 4519987"/>
              <a:gd name="connsiteY137" fmla="*/ 66675 h 4496940"/>
              <a:gd name="connsiteX138" fmla="*/ 2097427 w 4519987"/>
              <a:gd name="connsiteY138" fmla="*/ 47625 h 4496940"/>
              <a:gd name="connsiteX139" fmla="*/ 2164102 w 4519987"/>
              <a:gd name="connsiteY139" fmla="*/ 38100 h 4496940"/>
              <a:gd name="connsiteX140" fmla="*/ 2392702 w 4519987"/>
              <a:gd name="connsiteY14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183402 w 4519987"/>
              <a:gd name="connsiteY34" fmla="*/ 3400425 h 4496940"/>
              <a:gd name="connsiteX35" fmla="*/ 4088152 w 4519987"/>
              <a:gd name="connsiteY35" fmla="*/ 3495675 h 4496940"/>
              <a:gd name="connsiteX36" fmla="*/ 4059577 w 4519987"/>
              <a:gd name="connsiteY36" fmla="*/ 3533775 h 4496940"/>
              <a:gd name="connsiteX37" fmla="*/ 4002427 w 4519987"/>
              <a:gd name="connsiteY37" fmla="*/ 3600450 h 4496940"/>
              <a:gd name="connsiteX38" fmla="*/ 3983377 w 4519987"/>
              <a:gd name="connsiteY38" fmla="*/ 3629025 h 4496940"/>
              <a:gd name="connsiteX39" fmla="*/ 3954802 w 4519987"/>
              <a:gd name="connsiteY39" fmla="*/ 3648075 h 4496940"/>
              <a:gd name="connsiteX40" fmla="*/ 3907177 w 4519987"/>
              <a:gd name="connsiteY40" fmla="*/ 3686175 h 4496940"/>
              <a:gd name="connsiteX41" fmla="*/ 3869077 w 4519987"/>
              <a:gd name="connsiteY41" fmla="*/ 3724275 h 4496940"/>
              <a:gd name="connsiteX42" fmla="*/ 3792877 w 4519987"/>
              <a:gd name="connsiteY42" fmla="*/ 3781425 h 4496940"/>
              <a:gd name="connsiteX43" fmla="*/ 3783352 w 4519987"/>
              <a:gd name="connsiteY43" fmla="*/ 3810000 h 4496940"/>
              <a:gd name="connsiteX44" fmla="*/ 3745252 w 4519987"/>
              <a:gd name="connsiteY44" fmla="*/ 3819525 h 4496940"/>
              <a:gd name="connsiteX45" fmla="*/ 3678577 w 4519987"/>
              <a:gd name="connsiteY45" fmla="*/ 3848100 h 4496940"/>
              <a:gd name="connsiteX46" fmla="*/ 3659527 w 4519987"/>
              <a:gd name="connsiteY46" fmla="*/ 3971925 h 4496940"/>
              <a:gd name="connsiteX47" fmla="*/ 3630952 w 4519987"/>
              <a:gd name="connsiteY47" fmla="*/ 4010025 h 4496940"/>
              <a:gd name="connsiteX48" fmla="*/ 3621427 w 4519987"/>
              <a:gd name="connsiteY48" fmla="*/ 4038600 h 4496940"/>
              <a:gd name="connsiteX49" fmla="*/ 3554752 w 4519987"/>
              <a:gd name="connsiteY49" fmla="*/ 4095750 h 4496940"/>
              <a:gd name="connsiteX50" fmla="*/ 3516652 w 4519987"/>
              <a:gd name="connsiteY50" fmla="*/ 4114800 h 4496940"/>
              <a:gd name="connsiteX51" fmla="*/ 3497602 w 4519987"/>
              <a:gd name="connsiteY51" fmla="*/ 4143375 h 4496940"/>
              <a:gd name="connsiteX52" fmla="*/ 3383302 w 4519987"/>
              <a:gd name="connsiteY52" fmla="*/ 4210050 h 4496940"/>
              <a:gd name="connsiteX53" fmla="*/ 3335677 w 4519987"/>
              <a:gd name="connsiteY53" fmla="*/ 4238625 h 4496940"/>
              <a:gd name="connsiteX54" fmla="*/ 3288052 w 4519987"/>
              <a:gd name="connsiteY54" fmla="*/ 4248150 h 4496940"/>
              <a:gd name="connsiteX55" fmla="*/ 3240427 w 4519987"/>
              <a:gd name="connsiteY55" fmla="*/ 4267200 h 4496940"/>
              <a:gd name="connsiteX56" fmla="*/ 3068977 w 4519987"/>
              <a:gd name="connsiteY56" fmla="*/ 4286250 h 4496940"/>
              <a:gd name="connsiteX57" fmla="*/ 2935627 w 4519987"/>
              <a:gd name="connsiteY57" fmla="*/ 4333875 h 4496940"/>
              <a:gd name="connsiteX58" fmla="*/ 2811802 w 4519987"/>
              <a:gd name="connsiteY58" fmla="*/ 4371975 h 4496940"/>
              <a:gd name="connsiteX59" fmla="*/ 2745127 w 4519987"/>
              <a:gd name="connsiteY59" fmla="*/ 4410075 h 4496940"/>
              <a:gd name="connsiteX60" fmla="*/ 2697502 w 4519987"/>
              <a:gd name="connsiteY60" fmla="*/ 4429125 h 4496940"/>
              <a:gd name="connsiteX61" fmla="*/ 2640352 w 4519987"/>
              <a:gd name="connsiteY61" fmla="*/ 4457700 h 4496940"/>
              <a:gd name="connsiteX62" fmla="*/ 2583202 w 4519987"/>
              <a:gd name="connsiteY62" fmla="*/ 4467225 h 4496940"/>
              <a:gd name="connsiteX63" fmla="*/ 2545102 w 4519987"/>
              <a:gd name="connsiteY63" fmla="*/ 4486275 h 4496940"/>
              <a:gd name="connsiteX64" fmla="*/ 2306977 w 4519987"/>
              <a:gd name="connsiteY64" fmla="*/ 4476750 h 4496940"/>
              <a:gd name="connsiteX65" fmla="*/ 2202202 w 4519987"/>
              <a:gd name="connsiteY65" fmla="*/ 4457700 h 4496940"/>
              <a:gd name="connsiteX66" fmla="*/ 2126002 w 4519987"/>
              <a:gd name="connsiteY66" fmla="*/ 4429125 h 4496940"/>
              <a:gd name="connsiteX67" fmla="*/ 1935502 w 4519987"/>
              <a:gd name="connsiteY67" fmla="*/ 4400550 h 4496940"/>
              <a:gd name="connsiteX68" fmla="*/ 1821202 w 4519987"/>
              <a:gd name="connsiteY68" fmla="*/ 4371975 h 4496940"/>
              <a:gd name="connsiteX69" fmla="*/ 1754527 w 4519987"/>
              <a:gd name="connsiteY69" fmla="*/ 4352925 h 4496940"/>
              <a:gd name="connsiteX70" fmla="*/ 1687852 w 4519987"/>
              <a:gd name="connsiteY70" fmla="*/ 4343400 h 4496940"/>
              <a:gd name="connsiteX71" fmla="*/ 1573552 w 4519987"/>
              <a:gd name="connsiteY71" fmla="*/ 4305300 h 4496940"/>
              <a:gd name="connsiteX72" fmla="*/ 1402102 w 4519987"/>
              <a:gd name="connsiteY72" fmla="*/ 4276725 h 4496940"/>
              <a:gd name="connsiteX73" fmla="*/ 1287802 w 4519987"/>
              <a:gd name="connsiteY73" fmla="*/ 4229100 h 4496940"/>
              <a:gd name="connsiteX74" fmla="*/ 1221127 w 4519987"/>
              <a:gd name="connsiteY74" fmla="*/ 4200525 h 4496940"/>
              <a:gd name="connsiteX75" fmla="*/ 1144927 w 4519987"/>
              <a:gd name="connsiteY75" fmla="*/ 4171950 h 4496940"/>
              <a:gd name="connsiteX76" fmla="*/ 1087777 w 4519987"/>
              <a:gd name="connsiteY76" fmla="*/ 4143375 h 4496940"/>
              <a:gd name="connsiteX77" fmla="*/ 1030627 w 4519987"/>
              <a:gd name="connsiteY77" fmla="*/ 4124325 h 4496940"/>
              <a:gd name="connsiteX78" fmla="*/ 925852 w 4519987"/>
              <a:gd name="connsiteY78" fmla="*/ 4067175 h 4496940"/>
              <a:gd name="connsiteX79" fmla="*/ 830602 w 4519987"/>
              <a:gd name="connsiteY79" fmla="*/ 3981450 h 4496940"/>
              <a:gd name="connsiteX80" fmla="*/ 763927 w 4519987"/>
              <a:gd name="connsiteY80" fmla="*/ 3914775 h 4496940"/>
              <a:gd name="connsiteX81" fmla="*/ 725827 w 4519987"/>
              <a:gd name="connsiteY81" fmla="*/ 3876675 h 4496940"/>
              <a:gd name="connsiteX82" fmla="*/ 697252 w 4519987"/>
              <a:gd name="connsiteY82" fmla="*/ 3838575 h 4496940"/>
              <a:gd name="connsiteX83" fmla="*/ 640102 w 4519987"/>
              <a:gd name="connsiteY83" fmla="*/ 3781425 h 4496940"/>
              <a:gd name="connsiteX84" fmla="*/ 611527 w 4519987"/>
              <a:gd name="connsiteY84" fmla="*/ 3733800 h 4496940"/>
              <a:gd name="connsiteX85" fmla="*/ 554377 w 4519987"/>
              <a:gd name="connsiteY85" fmla="*/ 3657600 h 4496940"/>
              <a:gd name="connsiteX86" fmla="*/ 525802 w 4519987"/>
              <a:gd name="connsiteY86" fmla="*/ 3609975 h 4496940"/>
              <a:gd name="connsiteX87" fmla="*/ 497227 w 4519987"/>
              <a:gd name="connsiteY87" fmla="*/ 3552825 h 4496940"/>
              <a:gd name="connsiteX88" fmla="*/ 440077 w 4519987"/>
              <a:gd name="connsiteY88" fmla="*/ 3495675 h 4496940"/>
              <a:gd name="connsiteX89" fmla="*/ 411502 w 4519987"/>
              <a:gd name="connsiteY89" fmla="*/ 3448050 h 4496940"/>
              <a:gd name="connsiteX90" fmla="*/ 278152 w 4519987"/>
              <a:gd name="connsiteY90" fmla="*/ 3257550 h 4496940"/>
              <a:gd name="connsiteX91" fmla="*/ 249577 w 4519987"/>
              <a:gd name="connsiteY91" fmla="*/ 3200400 h 4496940"/>
              <a:gd name="connsiteX92" fmla="*/ 240052 w 4519987"/>
              <a:gd name="connsiteY92" fmla="*/ 3162300 h 4496940"/>
              <a:gd name="connsiteX93" fmla="*/ 221002 w 4519987"/>
              <a:gd name="connsiteY93" fmla="*/ 3105150 h 4496940"/>
              <a:gd name="connsiteX94" fmla="*/ 173377 w 4519987"/>
              <a:gd name="connsiteY94" fmla="*/ 3019425 h 4496940"/>
              <a:gd name="connsiteX95" fmla="*/ 144802 w 4519987"/>
              <a:gd name="connsiteY95" fmla="*/ 2924175 h 4496940"/>
              <a:gd name="connsiteX96" fmla="*/ 68602 w 4519987"/>
              <a:gd name="connsiteY96" fmla="*/ 2724150 h 4496940"/>
              <a:gd name="connsiteX97" fmla="*/ 49552 w 4519987"/>
              <a:gd name="connsiteY97" fmla="*/ 2638425 h 4496940"/>
              <a:gd name="connsiteX98" fmla="*/ 40027 w 4519987"/>
              <a:gd name="connsiteY98" fmla="*/ 2562225 h 4496940"/>
              <a:gd name="connsiteX99" fmla="*/ 30502 w 4519987"/>
              <a:gd name="connsiteY99" fmla="*/ 2514600 h 4496940"/>
              <a:gd name="connsiteX100" fmla="*/ 11452 w 4519987"/>
              <a:gd name="connsiteY100" fmla="*/ 2400300 h 4496940"/>
              <a:gd name="connsiteX101" fmla="*/ 20977 w 4519987"/>
              <a:gd name="connsiteY101" fmla="*/ 1905000 h 4496940"/>
              <a:gd name="connsiteX102" fmla="*/ 30502 w 4519987"/>
              <a:gd name="connsiteY102" fmla="*/ 1838325 h 4496940"/>
              <a:gd name="connsiteX103" fmla="*/ 49552 w 4519987"/>
              <a:gd name="connsiteY103" fmla="*/ 1781175 h 4496940"/>
              <a:gd name="connsiteX104" fmla="*/ 59077 w 4519987"/>
              <a:gd name="connsiteY104" fmla="*/ 1743075 h 4496940"/>
              <a:gd name="connsiteX105" fmla="*/ 78127 w 4519987"/>
              <a:gd name="connsiteY105" fmla="*/ 1685925 h 4496940"/>
              <a:gd name="connsiteX106" fmla="*/ 87652 w 4519987"/>
              <a:gd name="connsiteY106" fmla="*/ 1638300 h 4496940"/>
              <a:gd name="connsiteX107" fmla="*/ 106702 w 4519987"/>
              <a:gd name="connsiteY107" fmla="*/ 1590675 h 4496940"/>
              <a:gd name="connsiteX108" fmla="*/ 135277 w 4519987"/>
              <a:gd name="connsiteY108" fmla="*/ 1504950 h 4496940"/>
              <a:gd name="connsiteX109" fmla="*/ 154327 w 4519987"/>
              <a:gd name="connsiteY109" fmla="*/ 1419225 h 4496940"/>
              <a:gd name="connsiteX110" fmla="*/ 230527 w 4519987"/>
              <a:gd name="connsiteY110" fmla="*/ 1276350 h 4496940"/>
              <a:gd name="connsiteX111" fmla="*/ 240052 w 4519987"/>
              <a:gd name="connsiteY111" fmla="*/ 1247775 h 4496940"/>
              <a:gd name="connsiteX112" fmla="*/ 268627 w 4519987"/>
              <a:gd name="connsiteY112" fmla="*/ 1200150 h 4496940"/>
              <a:gd name="connsiteX113" fmla="*/ 287677 w 4519987"/>
              <a:gd name="connsiteY113" fmla="*/ 1152525 h 4496940"/>
              <a:gd name="connsiteX114" fmla="*/ 316252 w 4519987"/>
              <a:gd name="connsiteY114" fmla="*/ 1114425 h 4496940"/>
              <a:gd name="connsiteX115" fmla="*/ 363877 w 4519987"/>
              <a:gd name="connsiteY115" fmla="*/ 1038225 h 4496940"/>
              <a:gd name="connsiteX116" fmla="*/ 382927 w 4519987"/>
              <a:gd name="connsiteY116" fmla="*/ 1009650 h 4496940"/>
              <a:gd name="connsiteX117" fmla="*/ 440077 w 4519987"/>
              <a:gd name="connsiteY117" fmla="*/ 904875 h 4496940"/>
              <a:gd name="connsiteX118" fmla="*/ 478177 w 4519987"/>
              <a:gd name="connsiteY118" fmla="*/ 857250 h 4496940"/>
              <a:gd name="connsiteX119" fmla="*/ 497227 w 4519987"/>
              <a:gd name="connsiteY119" fmla="*/ 828675 h 4496940"/>
              <a:gd name="connsiteX120" fmla="*/ 535327 w 4519987"/>
              <a:gd name="connsiteY120" fmla="*/ 800100 h 4496940"/>
              <a:gd name="connsiteX121" fmla="*/ 602002 w 4519987"/>
              <a:gd name="connsiteY121" fmla="*/ 733425 h 4496940"/>
              <a:gd name="connsiteX122" fmla="*/ 668677 w 4519987"/>
              <a:gd name="connsiteY122" fmla="*/ 676275 h 4496940"/>
              <a:gd name="connsiteX123" fmla="*/ 697252 w 4519987"/>
              <a:gd name="connsiteY123" fmla="*/ 657225 h 4496940"/>
              <a:gd name="connsiteX124" fmla="*/ 840127 w 4519987"/>
              <a:gd name="connsiteY124" fmla="*/ 533400 h 4496940"/>
              <a:gd name="connsiteX125" fmla="*/ 887752 w 4519987"/>
              <a:gd name="connsiteY125" fmla="*/ 504825 h 4496940"/>
              <a:gd name="connsiteX126" fmla="*/ 1167152 w 4519987"/>
              <a:gd name="connsiteY126" fmla="*/ 311150 h 4496940"/>
              <a:gd name="connsiteX127" fmla="*/ 1268752 w 4519987"/>
              <a:gd name="connsiteY127" fmla="*/ 285750 h 4496940"/>
              <a:gd name="connsiteX128" fmla="*/ 1411627 w 4519987"/>
              <a:gd name="connsiteY128" fmla="*/ 190500 h 4496940"/>
              <a:gd name="connsiteX129" fmla="*/ 1449727 w 4519987"/>
              <a:gd name="connsiteY129" fmla="*/ 161925 h 4496940"/>
              <a:gd name="connsiteX130" fmla="*/ 1525927 w 4519987"/>
              <a:gd name="connsiteY130" fmla="*/ 152400 h 4496940"/>
              <a:gd name="connsiteX131" fmla="*/ 1583077 w 4519987"/>
              <a:gd name="connsiteY131" fmla="*/ 142875 h 4496940"/>
              <a:gd name="connsiteX132" fmla="*/ 1716427 w 4519987"/>
              <a:gd name="connsiteY132" fmla="*/ 123825 h 4496940"/>
              <a:gd name="connsiteX133" fmla="*/ 1811677 w 4519987"/>
              <a:gd name="connsiteY133" fmla="*/ 114300 h 4496940"/>
              <a:gd name="connsiteX134" fmla="*/ 1859302 w 4519987"/>
              <a:gd name="connsiteY134" fmla="*/ 104775 h 4496940"/>
              <a:gd name="connsiteX135" fmla="*/ 1916452 w 4519987"/>
              <a:gd name="connsiteY135" fmla="*/ 95250 h 4496940"/>
              <a:gd name="connsiteX136" fmla="*/ 2030752 w 4519987"/>
              <a:gd name="connsiteY136" fmla="*/ 66675 h 4496940"/>
              <a:gd name="connsiteX137" fmla="*/ 2097427 w 4519987"/>
              <a:gd name="connsiteY137" fmla="*/ 47625 h 4496940"/>
              <a:gd name="connsiteX138" fmla="*/ 2164102 w 4519987"/>
              <a:gd name="connsiteY138" fmla="*/ 38100 h 4496940"/>
              <a:gd name="connsiteX139" fmla="*/ 2392702 w 4519987"/>
              <a:gd name="connsiteY13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83377 w 4519987"/>
              <a:gd name="connsiteY37" fmla="*/ 3629025 h 4496940"/>
              <a:gd name="connsiteX38" fmla="*/ 3954802 w 4519987"/>
              <a:gd name="connsiteY38" fmla="*/ 3648075 h 4496940"/>
              <a:gd name="connsiteX39" fmla="*/ 3907177 w 4519987"/>
              <a:gd name="connsiteY39" fmla="*/ 3686175 h 4496940"/>
              <a:gd name="connsiteX40" fmla="*/ 3869077 w 4519987"/>
              <a:gd name="connsiteY40" fmla="*/ 3724275 h 4496940"/>
              <a:gd name="connsiteX41" fmla="*/ 3792877 w 4519987"/>
              <a:gd name="connsiteY41" fmla="*/ 3781425 h 4496940"/>
              <a:gd name="connsiteX42" fmla="*/ 3783352 w 4519987"/>
              <a:gd name="connsiteY42" fmla="*/ 3810000 h 4496940"/>
              <a:gd name="connsiteX43" fmla="*/ 3745252 w 4519987"/>
              <a:gd name="connsiteY43" fmla="*/ 3819525 h 4496940"/>
              <a:gd name="connsiteX44" fmla="*/ 3678577 w 4519987"/>
              <a:gd name="connsiteY44" fmla="*/ 3848100 h 4496940"/>
              <a:gd name="connsiteX45" fmla="*/ 3659527 w 4519987"/>
              <a:gd name="connsiteY45" fmla="*/ 3971925 h 4496940"/>
              <a:gd name="connsiteX46" fmla="*/ 3630952 w 4519987"/>
              <a:gd name="connsiteY46" fmla="*/ 4010025 h 4496940"/>
              <a:gd name="connsiteX47" fmla="*/ 3621427 w 4519987"/>
              <a:gd name="connsiteY47" fmla="*/ 4038600 h 4496940"/>
              <a:gd name="connsiteX48" fmla="*/ 3554752 w 4519987"/>
              <a:gd name="connsiteY48" fmla="*/ 4095750 h 4496940"/>
              <a:gd name="connsiteX49" fmla="*/ 3516652 w 4519987"/>
              <a:gd name="connsiteY49" fmla="*/ 4114800 h 4496940"/>
              <a:gd name="connsiteX50" fmla="*/ 3497602 w 4519987"/>
              <a:gd name="connsiteY50" fmla="*/ 4143375 h 4496940"/>
              <a:gd name="connsiteX51" fmla="*/ 3383302 w 4519987"/>
              <a:gd name="connsiteY51" fmla="*/ 4210050 h 4496940"/>
              <a:gd name="connsiteX52" fmla="*/ 3335677 w 4519987"/>
              <a:gd name="connsiteY52" fmla="*/ 4238625 h 4496940"/>
              <a:gd name="connsiteX53" fmla="*/ 3288052 w 4519987"/>
              <a:gd name="connsiteY53" fmla="*/ 4248150 h 4496940"/>
              <a:gd name="connsiteX54" fmla="*/ 3240427 w 4519987"/>
              <a:gd name="connsiteY54" fmla="*/ 4267200 h 4496940"/>
              <a:gd name="connsiteX55" fmla="*/ 3068977 w 4519987"/>
              <a:gd name="connsiteY55" fmla="*/ 4286250 h 4496940"/>
              <a:gd name="connsiteX56" fmla="*/ 2935627 w 4519987"/>
              <a:gd name="connsiteY56" fmla="*/ 4333875 h 4496940"/>
              <a:gd name="connsiteX57" fmla="*/ 2811802 w 4519987"/>
              <a:gd name="connsiteY57" fmla="*/ 4371975 h 4496940"/>
              <a:gd name="connsiteX58" fmla="*/ 2745127 w 4519987"/>
              <a:gd name="connsiteY58" fmla="*/ 4410075 h 4496940"/>
              <a:gd name="connsiteX59" fmla="*/ 2697502 w 4519987"/>
              <a:gd name="connsiteY59" fmla="*/ 4429125 h 4496940"/>
              <a:gd name="connsiteX60" fmla="*/ 2640352 w 4519987"/>
              <a:gd name="connsiteY60" fmla="*/ 4457700 h 4496940"/>
              <a:gd name="connsiteX61" fmla="*/ 2583202 w 4519987"/>
              <a:gd name="connsiteY61" fmla="*/ 4467225 h 4496940"/>
              <a:gd name="connsiteX62" fmla="*/ 2545102 w 4519987"/>
              <a:gd name="connsiteY62" fmla="*/ 4486275 h 4496940"/>
              <a:gd name="connsiteX63" fmla="*/ 2306977 w 4519987"/>
              <a:gd name="connsiteY63" fmla="*/ 4476750 h 4496940"/>
              <a:gd name="connsiteX64" fmla="*/ 2202202 w 4519987"/>
              <a:gd name="connsiteY64" fmla="*/ 4457700 h 4496940"/>
              <a:gd name="connsiteX65" fmla="*/ 2126002 w 4519987"/>
              <a:gd name="connsiteY65" fmla="*/ 4429125 h 4496940"/>
              <a:gd name="connsiteX66" fmla="*/ 1935502 w 4519987"/>
              <a:gd name="connsiteY66" fmla="*/ 4400550 h 4496940"/>
              <a:gd name="connsiteX67" fmla="*/ 1821202 w 4519987"/>
              <a:gd name="connsiteY67" fmla="*/ 4371975 h 4496940"/>
              <a:gd name="connsiteX68" fmla="*/ 1754527 w 4519987"/>
              <a:gd name="connsiteY68" fmla="*/ 4352925 h 4496940"/>
              <a:gd name="connsiteX69" fmla="*/ 1687852 w 4519987"/>
              <a:gd name="connsiteY69" fmla="*/ 4343400 h 4496940"/>
              <a:gd name="connsiteX70" fmla="*/ 1573552 w 4519987"/>
              <a:gd name="connsiteY70" fmla="*/ 4305300 h 4496940"/>
              <a:gd name="connsiteX71" fmla="*/ 1402102 w 4519987"/>
              <a:gd name="connsiteY71" fmla="*/ 4276725 h 4496940"/>
              <a:gd name="connsiteX72" fmla="*/ 1287802 w 4519987"/>
              <a:gd name="connsiteY72" fmla="*/ 4229100 h 4496940"/>
              <a:gd name="connsiteX73" fmla="*/ 1221127 w 4519987"/>
              <a:gd name="connsiteY73" fmla="*/ 4200525 h 4496940"/>
              <a:gd name="connsiteX74" fmla="*/ 1144927 w 4519987"/>
              <a:gd name="connsiteY74" fmla="*/ 4171950 h 4496940"/>
              <a:gd name="connsiteX75" fmla="*/ 1087777 w 4519987"/>
              <a:gd name="connsiteY75" fmla="*/ 4143375 h 4496940"/>
              <a:gd name="connsiteX76" fmla="*/ 1030627 w 4519987"/>
              <a:gd name="connsiteY76" fmla="*/ 4124325 h 4496940"/>
              <a:gd name="connsiteX77" fmla="*/ 925852 w 4519987"/>
              <a:gd name="connsiteY77" fmla="*/ 4067175 h 4496940"/>
              <a:gd name="connsiteX78" fmla="*/ 830602 w 4519987"/>
              <a:gd name="connsiteY78" fmla="*/ 3981450 h 4496940"/>
              <a:gd name="connsiteX79" fmla="*/ 763927 w 4519987"/>
              <a:gd name="connsiteY79" fmla="*/ 3914775 h 4496940"/>
              <a:gd name="connsiteX80" fmla="*/ 725827 w 4519987"/>
              <a:gd name="connsiteY80" fmla="*/ 3876675 h 4496940"/>
              <a:gd name="connsiteX81" fmla="*/ 697252 w 4519987"/>
              <a:gd name="connsiteY81" fmla="*/ 3838575 h 4496940"/>
              <a:gd name="connsiteX82" fmla="*/ 640102 w 4519987"/>
              <a:gd name="connsiteY82" fmla="*/ 3781425 h 4496940"/>
              <a:gd name="connsiteX83" fmla="*/ 611527 w 4519987"/>
              <a:gd name="connsiteY83" fmla="*/ 3733800 h 4496940"/>
              <a:gd name="connsiteX84" fmla="*/ 554377 w 4519987"/>
              <a:gd name="connsiteY84" fmla="*/ 3657600 h 4496940"/>
              <a:gd name="connsiteX85" fmla="*/ 525802 w 4519987"/>
              <a:gd name="connsiteY85" fmla="*/ 3609975 h 4496940"/>
              <a:gd name="connsiteX86" fmla="*/ 497227 w 4519987"/>
              <a:gd name="connsiteY86" fmla="*/ 3552825 h 4496940"/>
              <a:gd name="connsiteX87" fmla="*/ 440077 w 4519987"/>
              <a:gd name="connsiteY87" fmla="*/ 3495675 h 4496940"/>
              <a:gd name="connsiteX88" fmla="*/ 411502 w 4519987"/>
              <a:gd name="connsiteY88" fmla="*/ 3448050 h 4496940"/>
              <a:gd name="connsiteX89" fmla="*/ 278152 w 4519987"/>
              <a:gd name="connsiteY89" fmla="*/ 3257550 h 4496940"/>
              <a:gd name="connsiteX90" fmla="*/ 249577 w 4519987"/>
              <a:gd name="connsiteY90" fmla="*/ 3200400 h 4496940"/>
              <a:gd name="connsiteX91" fmla="*/ 240052 w 4519987"/>
              <a:gd name="connsiteY91" fmla="*/ 3162300 h 4496940"/>
              <a:gd name="connsiteX92" fmla="*/ 221002 w 4519987"/>
              <a:gd name="connsiteY92" fmla="*/ 3105150 h 4496940"/>
              <a:gd name="connsiteX93" fmla="*/ 173377 w 4519987"/>
              <a:gd name="connsiteY93" fmla="*/ 3019425 h 4496940"/>
              <a:gd name="connsiteX94" fmla="*/ 144802 w 4519987"/>
              <a:gd name="connsiteY94" fmla="*/ 2924175 h 4496940"/>
              <a:gd name="connsiteX95" fmla="*/ 68602 w 4519987"/>
              <a:gd name="connsiteY95" fmla="*/ 2724150 h 4496940"/>
              <a:gd name="connsiteX96" fmla="*/ 49552 w 4519987"/>
              <a:gd name="connsiteY96" fmla="*/ 2638425 h 4496940"/>
              <a:gd name="connsiteX97" fmla="*/ 40027 w 4519987"/>
              <a:gd name="connsiteY97" fmla="*/ 2562225 h 4496940"/>
              <a:gd name="connsiteX98" fmla="*/ 30502 w 4519987"/>
              <a:gd name="connsiteY98" fmla="*/ 2514600 h 4496940"/>
              <a:gd name="connsiteX99" fmla="*/ 11452 w 4519987"/>
              <a:gd name="connsiteY99" fmla="*/ 2400300 h 4496940"/>
              <a:gd name="connsiteX100" fmla="*/ 20977 w 4519987"/>
              <a:gd name="connsiteY100" fmla="*/ 1905000 h 4496940"/>
              <a:gd name="connsiteX101" fmla="*/ 30502 w 4519987"/>
              <a:gd name="connsiteY101" fmla="*/ 1838325 h 4496940"/>
              <a:gd name="connsiteX102" fmla="*/ 49552 w 4519987"/>
              <a:gd name="connsiteY102" fmla="*/ 1781175 h 4496940"/>
              <a:gd name="connsiteX103" fmla="*/ 59077 w 4519987"/>
              <a:gd name="connsiteY103" fmla="*/ 1743075 h 4496940"/>
              <a:gd name="connsiteX104" fmla="*/ 78127 w 4519987"/>
              <a:gd name="connsiteY104" fmla="*/ 1685925 h 4496940"/>
              <a:gd name="connsiteX105" fmla="*/ 87652 w 4519987"/>
              <a:gd name="connsiteY105" fmla="*/ 1638300 h 4496940"/>
              <a:gd name="connsiteX106" fmla="*/ 106702 w 4519987"/>
              <a:gd name="connsiteY106" fmla="*/ 1590675 h 4496940"/>
              <a:gd name="connsiteX107" fmla="*/ 135277 w 4519987"/>
              <a:gd name="connsiteY107" fmla="*/ 1504950 h 4496940"/>
              <a:gd name="connsiteX108" fmla="*/ 154327 w 4519987"/>
              <a:gd name="connsiteY108" fmla="*/ 1419225 h 4496940"/>
              <a:gd name="connsiteX109" fmla="*/ 230527 w 4519987"/>
              <a:gd name="connsiteY109" fmla="*/ 1276350 h 4496940"/>
              <a:gd name="connsiteX110" fmla="*/ 240052 w 4519987"/>
              <a:gd name="connsiteY110" fmla="*/ 1247775 h 4496940"/>
              <a:gd name="connsiteX111" fmla="*/ 268627 w 4519987"/>
              <a:gd name="connsiteY111" fmla="*/ 1200150 h 4496940"/>
              <a:gd name="connsiteX112" fmla="*/ 287677 w 4519987"/>
              <a:gd name="connsiteY112" fmla="*/ 1152525 h 4496940"/>
              <a:gd name="connsiteX113" fmla="*/ 316252 w 4519987"/>
              <a:gd name="connsiteY113" fmla="*/ 1114425 h 4496940"/>
              <a:gd name="connsiteX114" fmla="*/ 363877 w 4519987"/>
              <a:gd name="connsiteY114" fmla="*/ 1038225 h 4496940"/>
              <a:gd name="connsiteX115" fmla="*/ 382927 w 4519987"/>
              <a:gd name="connsiteY115" fmla="*/ 1009650 h 4496940"/>
              <a:gd name="connsiteX116" fmla="*/ 440077 w 4519987"/>
              <a:gd name="connsiteY116" fmla="*/ 904875 h 4496940"/>
              <a:gd name="connsiteX117" fmla="*/ 478177 w 4519987"/>
              <a:gd name="connsiteY117" fmla="*/ 857250 h 4496940"/>
              <a:gd name="connsiteX118" fmla="*/ 497227 w 4519987"/>
              <a:gd name="connsiteY118" fmla="*/ 828675 h 4496940"/>
              <a:gd name="connsiteX119" fmla="*/ 535327 w 4519987"/>
              <a:gd name="connsiteY119" fmla="*/ 800100 h 4496940"/>
              <a:gd name="connsiteX120" fmla="*/ 602002 w 4519987"/>
              <a:gd name="connsiteY120" fmla="*/ 733425 h 4496940"/>
              <a:gd name="connsiteX121" fmla="*/ 668677 w 4519987"/>
              <a:gd name="connsiteY121" fmla="*/ 676275 h 4496940"/>
              <a:gd name="connsiteX122" fmla="*/ 697252 w 4519987"/>
              <a:gd name="connsiteY122" fmla="*/ 657225 h 4496940"/>
              <a:gd name="connsiteX123" fmla="*/ 840127 w 4519987"/>
              <a:gd name="connsiteY123" fmla="*/ 533400 h 4496940"/>
              <a:gd name="connsiteX124" fmla="*/ 887752 w 4519987"/>
              <a:gd name="connsiteY124" fmla="*/ 504825 h 4496940"/>
              <a:gd name="connsiteX125" fmla="*/ 1167152 w 4519987"/>
              <a:gd name="connsiteY125" fmla="*/ 311150 h 4496940"/>
              <a:gd name="connsiteX126" fmla="*/ 1268752 w 4519987"/>
              <a:gd name="connsiteY126" fmla="*/ 285750 h 4496940"/>
              <a:gd name="connsiteX127" fmla="*/ 1411627 w 4519987"/>
              <a:gd name="connsiteY127" fmla="*/ 190500 h 4496940"/>
              <a:gd name="connsiteX128" fmla="*/ 1449727 w 4519987"/>
              <a:gd name="connsiteY128" fmla="*/ 161925 h 4496940"/>
              <a:gd name="connsiteX129" fmla="*/ 1525927 w 4519987"/>
              <a:gd name="connsiteY129" fmla="*/ 152400 h 4496940"/>
              <a:gd name="connsiteX130" fmla="*/ 1583077 w 4519987"/>
              <a:gd name="connsiteY130" fmla="*/ 142875 h 4496940"/>
              <a:gd name="connsiteX131" fmla="*/ 1716427 w 4519987"/>
              <a:gd name="connsiteY131" fmla="*/ 123825 h 4496940"/>
              <a:gd name="connsiteX132" fmla="*/ 1811677 w 4519987"/>
              <a:gd name="connsiteY132" fmla="*/ 114300 h 4496940"/>
              <a:gd name="connsiteX133" fmla="*/ 1859302 w 4519987"/>
              <a:gd name="connsiteY133" fmla="*/ 104775 h 4496940"/>
              <a:gd name="connsiteX134" fmla="*/ 1916452 w 4519987"/>
              <a:gd name="connsiteY134" fmla="*/ 95250 h 4496940"/>
              <a:gd name="connsiteX135" fmla="*/ 2030752 w 4519987"/>
              <a:gd name="connsiteY135" fmla="*/ 66675 h 4496940"/>
              <a:gd name="connsiteX136" fmla="*/ 2097427 w 4519987"/>
              <a:gd name="connsiteY136" fmla="*/ 47625 h 4496940"/>
              <a:gd name="connsiteX137" fmla="*/ 2164102 w 4519987"/>
              <a:gd name="connsiteY137" fmla="*/ 38100 h 4496940"/>
              <a:gd name="connsiteX138" fmla="*/ 2392702 w 4519987"/>
              <a:gd name="connsiteY13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869077 w 4519987"/>
              <a:gd name="connsiteY39" fmla="*/ 3724275 h 4496940"/>
              <a:gd name="connsiteX40" fmla="*/ 3792877 w 4519987"/>
              <a:gd name="connsiteY40" fmla="*/ 3781425 h 4496940"/>
              <a:gd name="connsiteX41" fmla="*/ 3783352 w 4519987"/>
              <a:gd name="connsiteY41" fmla="*/ 3810000 h 4496940"/>
              <a:gd name="connsiteX42" fmla="*/ 3745252 w 4519987"/>
              <a:gd name="connsiteY42" fmla="*/ 3819525 h 4496940"/>
              <a:gd name="connsiteX43" fmla="*/ 3678577 w 4519987"/>
              <a:gd name="connsiteY43" fmla="*/ 3848100 h 4496940"/>
              <a:gd name="connsiteX44" fmla="*/ 3659527 w 4519987"/>
              <a:gd name="connsiteY44" fmla="*/ 3971925 h 4496940"/>
              <a:gd name="connsiteX45" fmla="*/ 3630952 w 4519987"/>
              <a:gd name="connsiteY45" fmla="*/ 4010025 h 4496940"/>
              <a:gd name="connsiteX46" fmla="*/ 3621427 w 4519987"/>
              <a:gd name="connsiteY46" fmla="*/ 4038600 h 4496940"/>
              <a:gd name="connsiteX47" fmla="*/ 3554752 w 4519987"/>
              <a:gd name="connsiteY47" fmla="*/ 4095750 h 4496940"/>
              <a:gd name="connsiteX48" fmla="*/ 3516652 w 4519987"/>
              <a:gd name="connsiteY48" fmla="*/ 4114800 h 4496940"/>
              <a:gd name="connsiteX49" fmla="*/ 3497602 w 4519987"/>
              <a:gd name="connsiteY49" fmla="*/ 4143375 h 4496940"/>
              <a:gd name="connsiteX50" fmla="*/ 3383302 w 4519987"/>
              <a:gd name="connsiteY50" fmla="*/ 4210050 h 4496940"/>
              <a:gd name="connsiteX51" fmla="*/ 3335677 w 4519987"/>
              <a:gd name="connsiteY51" fmla="*/ 4238625 h 4496940"/>
              <a:gd name="connsiteX52" fmla="*/ 3288052 w 4519987"/>
              <a:gd name="connsiteY52" fmla="*/ 4248150 h 4496940"/>
              <a:gd name="connsiteX53" fmla="*/ 3240427 w 4519987"/>
              <a:gd name="connsiteY53" fmla="*/ 4267200 h 4496940"/>
              <a:gd name="connsiteX54" fmla="*/ 3068977 w 4519987"/>
              <a:gd name="connsiteY54" fmla="*/ 4286250 h 4496940"/>
              <a:gd name="connsiteX55" fmla="*/ 2935627 w 4519987"/>
              <a:gd name="connsiteY55" fmla="*/ 4333875 h 4496940"/>
              <a:gd name="connsiteX56" fmla="*/ 2811802 w 4519987"/>
              <a:gd name="connsiteY56" fmla="*/ 4371975 h 4496940"/>
              <a:gd name="connsiteX57" fmla="*/ 2745127 w 4519987"/>
              <a:gd name="connsiteY57" fmla="*/ 4410075 h 4496940"/>
              <a:gd name="connsiteX58" fmla="*/ 2697502 w 4519987"/>
              <a:gd name="connsiteY58" fmla="*/ 4429125 h 4496940"/>
              <a:gd name="connsiteX59" fmla="*/ 2640352 w 4519987"/>
              <a:gd name="connsiteY59" fmla="*/ 4457700 h 4496940"/>
              <a:gd name="connsiteX60" fmla="*/ 2583202 w 4519987"/>
              <a:gd name="connsiteY60" fmla="*/ 4467225 h 4496940"/>
              <a:gd name="connsiteX61" fmla="*/ 2545102 w 4519987"/>
              <a:gd name="connsiteY61" fmla="*/ 4486275 h 4496940"/>
              <a:gd name="connsiteX62" fmla="*/ 2306977 w 4519987"/>
              <a:gd name="connsiteY62" fmla="*/ 4476750 h 4496940"/>
              <a:gd name="connsiteX63" fmla="*/ 2202202 w 4519987"/>
              <a:gd name="connsiteY63" fmla="*/ 4457700 h 4496940"/>
              <a:gd name="connsiteX64" fmla="*/ 2126002 w 4519987"/>
              <a:gd name="connsiteY64" fmla="*/ 4429125 h 4496940"/>
              <a:gd name="connsiteX65" fmla="*/ 1935502 w 4519987"/>
              <a:gd name="connsiteY65" fmla="*/ 4400550 h 4496940"/>
              <a:gd name="connsiteX66" fmla="*/ 1821202 w 4519987"/>
              <a:gd name="connsiteY66" fmla="*/ 4371975 h 4496940"/>
              <a:gd name="connsiteX67" fmla="*/ 1754527 w 4519987"/>
              <a:gd name="connsiteY67" fmla="*/ 4352925 h 4496940"/>
              <a:gd name="connsiteX68" fmla="*/ 1687852 w 4519987"/>
              <a:gd name="connsiteY68" fmla="*/ 4343400 h 4496940"/>
              <a:gd name="connsiteX69" fmla="*/ 1573552 w 4519987"/>
              <a:gd name="connsiteY69" fmla="*/ 4305300 h 4496940"/>
              <a:gd name="connsiteX70" fmla="*/ 1402102 w 4519987"/>
              <a:gd name="connsiteY70" fmla="*/ 4276725 h 4496940"/>
              <a:gd name="connsiteX71" fmla="*/ 1287802 w 4519987"/>
              <a:gd name="connsiteY71" fmla="*/ 4229100 h 4496940"/>
              <a:gd name="connsiteX72" fmla="*/ 1221127 w 4519987"/>
              <a:gd name="connsiteY72" fmla="*/ 4200525 h 4496940"/>
              <a:gd name="connsiteX73" fmla="*/ 1144927 w 4519987"/>
              <a:gd name="connsiteY73" fmla="*/ 4171950 h 4496940"/>
              <a:gd name="connsiteX74" fmla="*/ 1087777 w 4519987"/>
              <a:gd name="connsiteY74" fmla="*/ 4143375 h 4496940"/>
              <a:gd name="connsiteX75" fmla="*/ 1030627 w 4519987"/>
              <a:gd name="connsiteY75" fmla="*/ 4124325 h 4496940"/>
              <a:gd name="connsiteX76" fmla="*/ 925852 w 4519987"/>
              <a:gd name="connsiteY76" fmla="*/ 4067175 h 4496940"/>
              <a:gd name="connsiteX77" fmla="*/ 830602 w 4519987"/>
              <a:gd name="connsiteY77" fmla="*/ 3981450 h 4496940"/>
              <a:gd name="connsiteX78" fmla="*/ 763927 w 4519987"/>
              <a:gd name="connsiteY78" fmla="*/ 3914775 h 4496940"/>
              <a:gd name="connsiteX79" fmla="*/ 725827 w 4519987"/>
              <a:gd name="connsiteY79" fmla="*/ 3876675 h 4496940"/>
              <a:gd name="connsiteX80" fmla="*/ 697252 w 4519987"/>
              <a:gd name="connsiteY80" fmla="*/ 3838575 h 4496940"/>
              <a:gd name="connsiteX81" fmla="*/ 640102 w 4519987"/>
              <a:gd name="connsiteY81" fmla="*/ 3781425 h 4496940"/>
              <a:gd name="connsiteX82" fmla="*/ 611527 w 4519987"/>
              <a:gd name="connsiteY82" fmla="*/ 3733800 h 4496940"/>
              <a:gd name="connsiteX83" fmla="*/ 554377 w 4519987"/>
              <a:gd name="connsiteY83" fmla="*/ 3657600 h 4496940"/>
              <a:gd name="connsiteX84" fmla="*/ 525802 w 4519987"/>
              <a:gd name="connsiteY84" fmla="*/ 3609975 h 4496940"/>
              <a:gd name="connsiteX85" fmla="*/ 497227 w 4519987"/>
              <a:gd name="connsiteY85" fmla="*/ 3552825 h 4496940"/>
              <a:gd name="connsiteX86" fmla="*/ 440077 w 4519987"/>
              <a:gd name="connsiteY86" fmla="*/ 3495675 h 4496940"/>
              <a:gd name="connsiteX87" fmla="*/ 411502 w 4519987"/>
              <a:gd name="connsiteY87" fmla="*/ 3448050 h 4496940"/>
              <a:gd name="connsiteX88" fmla="*/ 278152 w 4519987"/>
              <a:gd name="connsiteY88" fmla="*/ 3257550 h 4496940"/>
              <a:gd name="connsiteX89" fmla="*/ 249577 w 4519987"/>
              <a:gd name="connsiteY89" fmla="*/ 3200400 h 4496940"/>
              <a:gd name="connsiteX90" fmla="*/ 240052 w 4519987"/>
              <a:gd name="connsiteY90" fmla="*/ 3162300 h 4496940"/>
              <a:gd name="connsiteX91" fmla="*/ 221002 w 4519987"/>
              <a:gd name="connsiteY91" fmla="*/ 3105150 h 4496940"/>
              <a:gd name="connsiteX92" fmla="*/ 173377 w 4519987"/>
              <a:gd name="connsiteY92" fmla="*/ 3019425 h 4496940"/>
              <a:gd name="connsiteX93" fmla="*/ 144802 w 4519987"/>
              <a:gd name="connsiteY93" fmla="*/ 2924175 h 4496940"/>
              <a:gd name="connsiteX94" fmla="*/ 68602 w 4519987"/>
              <a:gd name="connsiteY94" fmla="*/ 2724150 h 4496940"/>
              <a:gd name="connsiteX95" fmla="*/ 49552 w 4519987"/>
              <a:gd name="connsiteY95" fmla="*/ 2638425 h 4496940"/>
              <a:gd name="connsiteX96" fmla="*/ 40027 w 4519987"/>
              <a:gd name="connsiteY96" fmla="*/ 2562225 h 4496940"/>
              <a:gd name="connsiteX97" fmla="*/ 30502 w 4519987"/>
              <a:gd name="connsiteY97" fmla="*/ 2514600 h 4496940"/>
              <a:gd name="connsiteX98" fmla="*/ 11452 w 4519987"/>
              <a:gd name="connsiteY98" fmla="*/ 2400300 h 4496940"/>
              <a:gd name="connsiteX99" fmla="*/ 20977 w 4519987"/>
              <a:gd name="connsiteY99" fmla="*/ 1905000 h 4496940"/>
              <a:gd name="connsiteX100" fmla="*/ 30502 w 4519987"/>
              <a:gd name="connsiteY100" fmla="*/ 1838325 h 4496940"/>
              <a:gd name="connsiteX101" fmla="*/ 49552 w 4519987"/>
              <a:gd name="connsiteY101" fmla="*/ 1781175 h 4496940"/>
              <a:gd name="connsiteX102" fmla="*/ 59077 w 4519987"/>
              <a:gd name="connsiteY102" fmla="*/ 1743075 h 4496940"/>
              <a:gd name="connsiteX103" fmla="*/ 78127 w 4519987"/>
              <a:gd name="connsiteY103" fmla="*/ 1685925 h 4496940"/>
              <a:gd name="connsiteX104" fmla="*/ 87652 w 4519987"/>
              <a:gd name="connsiteY104" fmla="*/ 1638300 h 4496940"/>
              <a:gd name="connsiteX105" fmla="*/ 106702 w 4519987"/>
              <a:gd name="connsiteY105" fmla="*/ 1590675 h 4496940"/>
              <a:gd name="connsiteX106" fmla="*/ 135277 w 4519987"/>
              <a:gd name="connsiteY106" fmla="*/ 1504950 h 4496940"/>
              <a:gd name="connsiteX107" fmla="*/ 154327 w 4519987"/>
              <a:gd name="connsiteY107" fmla="*/ 1419225 h 4496940"/>
              <a:gd name="connsiteX108" fmla="*/ 230527 w 4519987"/>
              <a:gd name="connsiteY108" fmla="*/ 1276350 h 4496940"/>
              <a:gd name="connsiteX109" fmla="*/ 240052 w 4519987"/>
              <a:gd name="connsiteY109" fmla="*/ 1247775 h 4496940"/>
              <a:gd name="connsiteX110" fmla="*/ 268627 w 4519987"/>
              <a:gd name="connsiteY110" fmla="*/ 1200150 h 4496940"/>
              <a:gd name="connsiteX111" fmla="*/ 287677 w 4519987"/>
              <a:gd name="connsiteY111" fmla="*/ 1152525 h 4496940"/>
              <a:gd name="connsiteX112" fmla="*/ 316252 w 4519987"/>
              <a:gd name="connsiteY112" fmla="*/ 1114425 h 4496940"/>
              <a:gd name="connsiteX113" fmla="*/ 363877 w 4519987"/>
              <a:gd name="connsiteY113" fmla="*/ 1038225 h 4496940"/>
              <a:gd name="connsiteX114" fmla="*/ 382927 w 4519987"/>
              <a:gd name="connsiteY114" fmla="*/ 1009650 h 4496940"/>
              <a:gd name="connsiteX115" fmla="*/ 440077 w 4519987"/>
              <a:gd name="connsiteY115" fmla="*/ 904875 h 4496940"/>
              <a:gd name="connsiteX116" fmla="*/ 478177 w 4519987"/>
              <a:gd name="connsiteY116" fmla="*/ 857250 h 4496940"/>
              <a:gd name="connsiteX117" fmla="*/ 497227 w 4519987"/>
              <a:gd name="connsiteY117" fmla="*/ 828675 h 4496940"/>
              <a:gd name="connsiteX118" fmla="*/ 535327 w 4519987"/>
              <a:gd name="connsiteY118" fmla="*/ 800100 h 4496940"/>
              <a:gd name="connsiteX119" fmla="*/ 602002 w 4519987"/>
              <a:gd name="connsiteY119" fmla="*/ 733425 h 4496940"/>
              <a:gd name="connsiteX120" fmla="*/ 668677 w 4519987"/>
              <a:gd name="connsiteY120" fmla="*/ 676275 h 4496940"/>
              <a:gd name="connsiteX121" fmla="*/ 697252 w 4519987"/>
              <a:gd name="connsiteY121" fmla="*/ 657225 h 4496940"/>
              <a:gd name="connsiteX122" fmla="*/ 840127 w 4519987"/>
              <a:gd name="connsiteY122" fmla="*/ 533400 h 4496940"/>
              <a:gd name="connsiteX123" fmla="*/ 887752 w 4519987"/>
              <a:gd name="connsiteY123" fmla="*/ 504825 h 4496940"/>
              <a:gd name="connsiteX124" fmla="*/ 1167152 w 4519987"/>
              <a:gd name="connsiteY124" fmla="*/ 311150 h 4496940"/>
              <a:gd name="connsiteX125" fmla="*/ 1268752 w 4519987"/>
              <a:gd name="connsiteY125" fmla="*/ 285750 h 4496940"/>
              <a:gd name="connsiteX126" fmla="*/ 1411627 w 4519987"/>
              <a:gd name="connsiteY126" fmla="*/ 190500 h 4496940"/>
              <a:gd name="connsiteX127" fmla="*/ 1449727 w 4519987"/>
              <a:gd name="connsiteY127" fmla="*/ 161925 h 4496940"/>
              <a:gd name="connsiteX128" fmla="*/ 1525927 w 4519987"/>
              <a:gd name="connsiteY128" fmla="*/ 152400 h 4496940"/>
              <a:gd name="connsiteX129" fmla="*/ 1583077 w 4519987"/>
              <a:gd name="connsiteY129" fmla="*/ 142875 h 4496940"/>
              <a:gd name="connsiteX130" fmla="*/ 1716427 w 4519987"/>
              <a:gd name="connsiteY130" fmla="*/ 123825 h 4496940"/>
              <a:gd name="connsiteX131" fmla="*/ 1811677 w 4519987"/>
              <a:gd name="connsiteY131" fmla="*/ 114300 h 4496940"/>
              <a:gd name="connsiteX132" fmla="*/ 1859302 w 4519987"/>
              <a:gd name="connsiteY132" fmla="*/ 104775 h 4496940"/>
              <a:gd name="connsiteX133" fmla="*/ 1916452 w 4519987"/>
              <a:gd name="connsiteY133" fmla="*/ 95250 h 4496940"/>
              <a:gd name="connsiteX134" fmla="*/ 2030752 w 4519987"/>
              <a:gd name="connsiteY134" fmla="*/ 66675 h 4496940"/>
              <a:gd name="connsiteX135" fmla="*/ 2097427 w 4519987"/>
              <a:gd name="connsiteY135" fmla="*/ 47625 h 4496940"/>
              <a:gd name="connsiteX136" fmla="*/ 2164102 w 4519987"/>
              <a:gd name="connsiteY136" fmla="*/ 38100 h 4496940"/>
              <a:gd name="connsiteX137" fmla="*/ 2392702 w 4519987"/>
              <a:gd name="connsiteY13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783352 w 4519987"/>
              <a:gd name="connsiteY40" fmla="*/ 3810000 h 4496940"/>
              <a:gd name="connsiteX41" fmla="*/ 3745252 w 4519987"/>
              <a:gd name="connsiteY41" fmla="*/ 3819525 h 4496940"/>
              <a:gd name="connsiteX42" fmla="*/ 3678577 w 4519987"/>
              <a:gd name="connsiteY42" fmla="*/ 3848100 h 4496940"/>
              <a:gd name="connsiteX43" fmla="*/ 3659527 w 4519987"/>
              <a:gd name="connsiteY43" fmla="*/ 3971925 h 4496940"/>
              <a:gd name="connsiteX44" fmla="*/ 3630952 w 4519987"/>
              <a:gd name="connsiteY44" fmla="*/ 4010025 h 4496940"/>
              <a:gd name="connsiteX45" fmla="*/ 3621427 w 4519987"/>
              <a:gd name="connsiteY45" fmla="*/ 4038600 h 4496940"/>
              <a:gd name="connsiteX46" fmla="*/ 3554752 w 4519987"/>
              <a:gd name="connsiteY46" fmla="*/ 4095750 h 4496940"/>
              <a:gd name="connsiteX47" fmla="*/ 3516652 w 4519987"/>
              <a:gd name="connsiteY47" fmla="*/ 4114800 h 4496940"/>
              <a:gd name="connsiteX48" fmla="*/ 3497602 w 4519987"/>
              <a:gd name="connsiteY48" fmla="*/ 4143375 h 4496940"/>
              <a:gd name="connsiteX49" fmla="*/ 3383302 w 4519987"/>
              <a:gd name="connsiteY49" fmla="*/ 4210050 h 4496940"/>
              <a:gd name="connsiteX50" fmla="*/ 3335677 w 4519987"/>
              <a:gd name="connsiteY50" fmla="*/ 4238625 h 4496940"/>
              <a:gd name="connsiteX51" fmla="*/ 3288052 w 4519987"/>
              <a:gd name="connsiteY51" fmla="*/ 4248150 h 4496940"/>
              <a:gd name="connsiteX52" fmla="*/ 3240427 w 4519987"/>
              <a:gd name="connsiteY52" fmla="*/ 4267200 h 4496940"/>
              <a:gd name="connsiteX53" fmla="*/ 3068977 w 4519987"/>
              <a:gd name="connsiteY53" fmla="*/ 4286250 h 4496940"/>
              <a:gd name="connsiteX54" fmla="*/ 2935627 w 4519987"/>
              <a:gd name="connsiteY54" fmla="*/ 4333875 h 4496940"/>
              <a:gd name="connsiteX55" fmla="*/ 2811802 w 4519987"/>
              <a:gd name="connsiteY55" fmla="*/ 4371975 h 4496940"/>
              <a:gd name="connsiteX56" fmla="*/ 2745127 w 4519987"/>
              <a:gd name="connsiteY56" fmla="*/ 4410075 h 4496940"/>
              <a:gd name="connsiteX57" fmla="*/ 2697502 w 4519987"/>
              <a:gd name="connsiteY57" fmla="*/ 4429125 h 4496940"/>
              <a:gd name="connsiteX58" fmla="*/ 2640352 w 4519987"/>
              <a:gd name="connsiteY58" fmla="*/ 4457700 h 4496940"/>
              <a:gd name="connsiteX59" fmla="*/ 2583202 w 4519987"/>
              <a:gd name="connsiteY59" fmla="*/ 4467225 h 4496940"/>
              <a:gd name="connsiteX60" fmla="*/ 2545102 w 4519987"/>
              <a:gd name="connsiteY60" fmla="*/ 4486275 h 4496940"/>
              <a:gd name="connsiteX61" fmla="*/ 2306977 w 4519987"/>
              <a:gd name="connsiteY61" fmla="*/ 4476750 h 4496940"/>
              <a:gd name="connsiteX62" fmla="*/ 2202202 w 4519987"/>
              <a:gd name="connsiteY62" fmla="*/ 4457700 h 4496940"/>
              <a:gd name="connsiteX63" fmla="*/ 2126002 w 4519987"/>
              <a:gd name="connsiteY63" fmla="*/ 4429125 h 4496940"/>
              <a:gd name="connsiteX64" fmla="*/ 1935502 w 4519987"/>
              <a:gd name="connsiteY64" fmla="*/ 4400550 h 4496940"/>
              <a:gd name="connsiteX65" fmla="*/ 1821202 w 4519987"/>
              <a:gd name="connsiteY65" fmla="*/ 4371975 h 4496940"/>
              <a:gd name="connsiteX66" fmla="*/ 1754527 w 4519987"/>
              <a:gd name="connsiteY66" fmla="*/ 4352925 h 4496940"/>
              <a:gd name="connsiteX67" fmla="*/ 1687852 w 4519987"/>
              <a:gd name="connsiteY67" fmla="*/ 4343400 h 4496940"/>
              <a:gd name="connsiteX68" fmla="*/ 1573552 w 4519987"/>
              <a:gd name="connsiteY68" fmla="*/ 4305300 h 4496940"/>
              <a:gd name="connsiteX69" fmla="*/ 1402102 w 4519987"/>
              <a:gd name="connsiteY69" fmla="*/ 4276725 h 4496940"/>
              <a:gd name="connsiteX70" fmla="*/ 1287802 w 4519987"/>
              <a:gd name="connsiteY70" fmla="*/ 4229100 h 4496940"/>
              <a:gd name="connsiteX71" fmla="*/ 1221127 w 4519987"/>
              <a:gd name="connsiteY71" fmla="*/ 4200525 h 4496940"/>
              <a:gd name="connsiteX72" fmla="*/ 1144927 w 4519987"/>
              <a:gd name="connsiteY72" fmla="*/ 4171950 h 4496940"/>
              <a:gd name="connsiteX73" fmla="*/ 1087777 w 4519987"/>
              <a:gd name="connsiteY73" fmla="*/ 4143375 h 4496940"/>
              <a:gd name="connsiteX74" fmla="*/ 1030627 w 4519987"/>
              <a:gd name="connsiteY74" fmla="*/ 4124325 h 4496940"/>
              <a:gd name="connsiteX75" fmla="*/ 925852 w 4519987"/>
              <a:gd name="connsiteY75" fmla="*/ 4067175 h 4496940"/>
              <a:gd name="connsiteX76" fmla="*/ 830602 w 4519987"/>
              <a:gd name="connsiteY76" fmla="*/ 3981450 h 4496940"/>
              <a:gd name="connsiteX77" fmla="*/ 763927 w 4519987"/>
              <a:gd name="connsiteY77" fmla="*/ 3914775 h 4496940"/>
              <a:gd name="connsiteX78" fmla="*/ 725827 w 4519987"/>
              <a:gd name="connsiteY78" fmla="*/ 3876675 h 4496940"/>
              <a:gd name="connsiteX79" fmla="*/ 697252 w 4519987"/>
              <a:gd name="connsiteY79" fmla="*/ 3838575 h 4496940"/>
              <a:gd name="connsiteX80" fmla="*/ 640102 w 4519987"/>
              <a:gd name="connsiteY80" fmla="*/ 3781425 h 4496940"/>
              <a:gd name="connsiteX81" fmla="*/ 611527 w 4519987"/>
              <a:gd name="connsiteY81" fmla="*/ 3733800 h 4496940"/>
              <a:gd name="connsiteX82" fmla="*/ 554377 w 4519987"/>
              <a:gd name="connsiteY82" fmla="*/ 3657600 h 4496940"/>
              <a:gd name="connsiteX83" fmla="*/ 525802 w 4519987"/>
              <a:gd name="connsiteY83" fmla="*/ 3609975 h 4496940"/>
              <a:gd name="connsiteX84" fmla="*/ 497227 w 4519987"/>
              <a:gd name="connsiteY84" fmla="*/ 3552825 h 4496940"/>
              <a:gd name="connsiteX85" fmla="*/ 440077 w 4519987"/>
              <a:gd name="connsiteY85" fmla="*/ 3495675 h 4496940"/>
              <a:gd name="connsiteX86" fmla="*/ 411502 w 4519987"/>
              <a:gd name="connsiteY86" fmla="*/ 3448050 h 4496940"/>
              <a:gd name="connsiteX87" fmla="*/ 278152 w 4519987"/>
              <a:gd name="connsiteY87" fmla="*/ 3257550 h 4496940"/>
              <a:gd name="connsiteX88" fmla="*/ 249577 w 4519987"/>
              <a:gd name="connsiteY88" fmla="*/ 3200400 h 4496940"/>
              <a:gd name="connsiteX89" fmla="*/ 240052 w 4519987"/>
              <a:gd name="connsiteY89" fmla="*/ 3162300 h 4496940"/>
              <a:gd name="connsiteX90" fmla="*/ 221002 w 4519987"/>
              <a:gd name="connsiteY90" fmla="*/ 3105150 h 4496940"/>
              <a:gd name="connsiteX91" fmla="*/ 173377 w 4519987"/>
              <a:gd name="connsiteY91" fmla="*/ 3019425 h 4496940"/>
              <a:gd name="connsiteX92" fmla="*/ 144802 w 4519987"/>
              <a:gd name="connsiteY92" fmla="*/ 2924175 h 4496940"/>
              <a:gd name="connsiteX93" fmla="*/ 68602 w 4519987"/>
              <a:gd name="connsiteY93" fmla="*/ 2724150 h 4496940"/>
              <a:gd name="connsiteX94" fmla="*/ 49552 w 4519987"/>
              <a:gd name="connsiteY94" fmla="*/ 2638425 h 4496940"/>
              <a:gd name="connsiteX95" fmla="*/ 40027 w 4519987"/>
              <a:gd name="connsiteY95" fmla="*/ 2562225 h 4496940"/>
              <a:gd name="connsiteX96" fmla="*/ 30502 w 4519987"/>
              <a:gd name="connsiteY96" fmla="*/ 2514600 h 4496940"/>
              <a:gd name="connsiteX97" fmla="*/ 11452 w 4519987"/>
              <a:gd name="connsiteY97" fmla="*/ 2400300 h 4496940"/>
              <a:gd name="connsiteX98" fmla="*/ 20977 w 4519987"/>
              <a:gd name="connsiteY98" fmla="*/ 1905000 h 4496940"/>
              <a:gd name="connsiteX99" fmla="*/ 30502 w 4519987"/>
              <a:gd name="connsiteY99" fmla="*/ 1838325 h 4496940"/>
              <a:gd name="connsiteX100" fmla="*/ 49552 w 4519987"/>
              <a:gd name="connsiteY100" fmla="*/ 1781175 h 4496940"/>
              <a:gd name="connsiteX101" fmla="*/ 59077 w 4519987"/>
              <a:gd name="connsiteY101" fmla="*/ 1743075 h 4496940"/>
              <a:gd name="connsiteX102" fmla="*/ 78127 w 4519987"/>
              <a:gd name="connsiteY102" fmla="*/ 1685925 h 4496940"/>
              <a:gd name="connsiteX103" fmla="*/ 87652 w 4519987"/>
              <a:gd name="connsiteY103" fmla="*/ 1638300 h 4496940"/>
              <a:gd name="connsiteX104" fmla="*/ 106702 w 4519987"/>
              <a:gd name="connsiteY104" fmla="*/ 1590675 h 4496940"/>
              <a:gd name="connsiteX105" fmla="*/ 135277 w 4519987"/>
              <a:gd name="connsiteY105" fmla="*/ 1504950 h 4496940"/>
              <a:gd name="connsiteX106" fmla="*/ 154327 w 4519987"/>
              <a:gd name="connsiteY106" fmla="*/ 1419225 h 4496940"/>
              <a:gd name="connsiteX107" fmla="*/ 230527 w 4519987"/>
              <a:gd name="connsiteY107" fmla="*/ 1276350 h 4496940"/>
              <a:gd name="connsiteX108" fmla="*/ 240052 w 4519987"/>
              <a:gd name="connsiteY108" fmla="*/ 1247775 h 4496940"/>
              <a:gd name="connsiteX109" fmla="*/ 268627 w 4519987"/>
              <a:gd name="connsiteY109" fmla="*/ 1200150 h 4496940"/>
              <a:gd name="connsiteX110" fmla="*/ 287677 w 4519987"/>
              <a:gd name="connsiteY110" fmla="*/ 1152525 h 4496940"/>
              <a:gd name="connsiteX111" fmla="*/ 316252 w 4519987"/>
              <a:gd name="connsiteY111" fmla="*/ 1114425 h 4496940"/>
              <a:gd name="connsiteX112" fmla="*/ 363877 w 4519987"/>
              <a:gd name="connsiteY112" fmla="*/ 1038225 h 4496940"/>
              <a:gd name="connsiteX113" fmla="*/ 382927 w 4519987"/>
              <a:gd name="connsiteY113" fmla="*/ 1009650 h 4496940"/>
              <a:gd name="connsiteX114" fmla="*/ 440077 w 4519987"/>
              <a:gd name="connsiteY114" fmla="*/ 904875 h 4496940"/>
              <a:gd name="connsiteX115" fmla="*/ 478177 w 4519987"/>
              <a:gd name="connsiteY115" fmla="*/ 857250 h 4496940"/>
              <a:gd name="connsiteX116" fmla="*/ 497227 w 4519987"/>
              <a:gd name="connsiteY116" fmla="*/ 828675 h 4496940"/>
              <a:gd name="connsiteX117" fmla="*/ 535327 w 4519987"/>
              <a:gd name="connsiteY117" fmla="*/ 800100 h 4496940"/>
              <a:gd name="connsiteX118" fmla="*/ 602002 w 4519987"/>
              <a:gd name="connsiteY118" fmla="*/ 733425 h 4496940"/>
              <a:gd name="connsiteX119" fmla="*/ 668677 w 4519987"/>
              <a:gd name="connsiteY119" fmla="*/ 676275 h 4496940"/>
              <a:gd name="connsiteX120" fmla="*/ 697252 w 4519987"/>
              <a:gd name="connsiteY120" fmla="*/ 657225 h 4496940"/>
              <a:gd name="connsiteX121" fmla="*/ 840127 w 4519987"/>
              <a:gd name="connsiteY121" fmla="*/ 533400 h 4496940"/>
              <a:gd name="connsiteX122" fmla="*/ 887752 w 4519987"/>
              <a:gd name="connsiteY122" fmla="*/ 504825 h 4496940"/>
              <a:gd name="connsiteX123" fmla="*/ 1167152 w 4519987"/>
              <a:gd name="connsiteY123" fmla="*/ 311150 h 4496940"/>
              <a:gd name="connsiteX124" fmla="*/ 1268752 w 4519987"/>
              <a:gd name="connsiteY124" fmla="*/ 285750 h 4496940"/>
              <a:gd name="connsiteX125" fmla="*/ 1411627 w 4519987"/>
              <a:gd name="connsiteY125" fmla="*/ 190500 h 4496940"/>
              <a:gd name="connsiteX126" fmla="*/ 1449727 w 4519987"/>
              <a:gd name="connsiteY126" fmla="*/ 161925 h 4496940"/>
              <a:gd name="connsiteX127" fmla="*/ 1525927 w 4519987"/>
              <a:gd name="connsiteY127" fmla="*/ 152400 h 4496940"/>
              <a:gd name="connsiteX128" fmla="*/ 1583077 w 4519987"/>
              <a:gd name="connsiteY128" fmla="*/ 142875 h 4496940"/>
              <a:gd name="connsiteX129" fmla="*/ 1716427 w 4519987"/>
              <a:gd name="connsiteY129" fmla="*/ 123825 h 4496940"/>
              <a:gd name="connsiteX130" fmla="*/ 1811677 w 4519987"/>
              <a:gd name="connsiteY130" fmla="*/ 114300 h 4496940"/>
              <a:gd name="connsiteX131" fmla="*/ 1859302 w 4519987"/>
              <a:gd name="connsiteY131" fmla="*/ 104775 h 4496940"/>
              <a:gd name="connsiteX132" fmla="*/ 1916452 w 4519987"/>
              <a:gd name="connsiteY132" fmla="*/ 95250 h 4496940"/>
              <a:gd name="connsiteX133" fmla="*/ 2030752 w 4519987"/>
              <a:gd name="connsiteY133" fmla="*/ 66675 h 4496940"/>
              <a:gd name="connsiteX134" fmla="*/ 2097427 w 4519987"/>
              <a:gd name="connsiteY134" fmla="*/ 47625 h 4496940"/>
              <a:gd name="connsiteX135" fmla="*/ 2164102 w 4519987"/>
              <a:gd name="connsiteY135" fmla="*/ 38100 h 4496940"/>
              <a:gd name="connsiteX136" fmla="*/ 2392702 w 4519987"/>
              <a:gd name="connsiteY13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783352 w 4519987"/>
              <a:gd name="connsiteY40" fmla="*/ 3810000 h 4496940"/>
              <a:gd name="connsiteX41" fmla="*/ 3678577 w 4519987"/>
              <a:gd name="connsiteY41" fmla="*/ 3848100 h 4496940"/>
              <a:gd name="connsiteX42" fmla="*/ 3659527 w 4519987"/>
              <a:gd name="connsiteY42" fmla="*/ 3971925 h 4496940"/>
              <a:gd name="connsiteX43" fmla="*/ 3630952 w 4519987"/>
              <a:gd name="connsiteY43" fmla="*/ 4010025 h 4496940"/>
              <a:gd name="connsiteX44" fmla="*/ 3621427 w 4519987"/>
              <a:gd name="connsiteY44" fmla="*/ 4038600 h 4496940"/>
              <a:gd name="connsiteX45" fmla="*/ 3554752 w 4519987"/>
              <a:gd name="connsiteY45" fmla="*/ 4095750 h 4496940"/>
              <a:gd name="connsiteX46" fmla="*/ 3516652 w 4519987"/>
              <a:gd name="connsiteY46" fmla="*/ 4114800 h 4496940"/>
              <a:gd name="connsiteX47" fmla="*/ 3497602 w 4519987"/>
              <a:gd name="connsiteY47" fmla="*/ 4143375 h 4496940"/>
              <a:gd name="connsiteX48" fmla="*/ 3383302 w 4519987"/>
              <a:gd name="connsiteY48" fmla="*/ 4210050 h 4496940"/>
              <a:gd name="connsiteX49" fmla="*/ 3335677 w 4519987"/>
              <a:gd name="connsiteY49" fmla="*/ 4238625 h 4496940"/>
              <a:gd name="connsiteX50" fmla="*/ 3288052 w 4519987"/>
              <a:gd name="connsiteY50" fmla="*/ 4248150 h 4496940"/>
              <a:gd name="connsiteX51" fmla="*/ 3240427 w 4519987"/>
              <a:gd name="connsiteY51" fmla="*/ 4267200 h 4496940"/>
              <a:gd name="connsiteX52" fmla="*/ 3068977 w 4519987"/>
              <a:gd name="connsiteY52" fmla="*/ 4286250 h 4496940"/>
              <a:gd name="connsiteX53" fmla="*/ 2935627 w 4519987"/>
              <a:gd name="connsiteY53" fmla="*/ 4333875 h 4496940"/>
              <a:gd name="connsiteX54" fmla="*/ 2811802 w 4519987"/>
              <a:gd name="connsiteY54" fmla="*/ 4371975 h 4496940"/>
              <a:gd name="connsiteX55" fmla="*/ 2745127 w 4519987"/>
              <a:gd name="connsiteY55" fmla="*/ 4410075 h 4496940"/>
              <a:gd name="connsiteX56" fmla="*/ 2697502 w 4519987"/>
              <a:gd name="connsiteY56" fmla="*/ 4429125 h 4496940"/>
              <a:gd name="connsiteX57" fmla="*/ 2640352 w 4519987"/>
              <a:gd name="connsiteY57" fmla="*/ 4457700 h 4496940"/>
              <a:gd name="connsiteX58" fmla="*/ 2583202 w 4519987"/>
              <a:gd name="connsiteY58" fmla="*/ 4467225 h 4496940"/>
              <a:gd name="connsiteX59" fmla="*/ 2545102 w 4519987"/>
              <a:gd name="connsiteY59" fmla="*/ 4486275 h 4496940"/>
              <a:gd name="connsiteX60" fmla="*/ 2306977 w 4519987"/>
              <a:gd name="connsiteY60" fmla="*/ 4476750 h 4496940"/>
              <a:gd name="connsiteX61" fmla="*/ 2202202 w 4519987"/>
              <a:gd name="connsiteY61" fmla="*/ 4457700 h 4496940"/>
              <a:gd name="connsiteX62" fmla="*/ 2126002 w 4519987"/>
              <a:gd name="connsiteY62" fmla="*/ 4429125 h 4496940"/>
              <a:gd name="connsiteX63" fmla="*/ 1935502 w 4519987"/>
              <a:gd name="connsiteY63" fmla="*/ 4400550 h 4496940"/>
              <a:gd name="connsiteX64" fmla="*/ 1821202 w 4519987"/>
              <a:gd name="connsiteY64" fmla="*/ 4371975 h 4496940"/>
              <a:gd name="connsiteX65" fmla="*/ 1754527 w 4519987"/>
              <a:gd name="connsiteY65" fmla="*/ 4352925 h 4496940"/>
              <a:gd name="connsiteX66" fmla="*/ 1687852 w 4519987"/>
              <a:gd name="connsiteY66" fmla="*/ 4343400 h 4496940"/>
              <a:gd name="connsiteX67" fmla="*/ 1573552 w 4519987"/>
              <a:gd name="connsiteY67" fmla="*/ 4305300 h 4496940"/>
              <a:gd name="connsiteX68" fmla="*/ 1402102 w 4519987"/>
              <a:gd name="connsiteY68" fmla="*/ 4276725 h 4496940"/>
              <a:gd name="connsiteX69" fmla="*/ 1287802 w 4519987"/>
              <a:gd name="connsiteY69" fmla="*/ 4229100 h 4496940"/>
              <a:gd name="connsiteX70" fmla="*/ 1221127 w 4519987"/>
              <a:gd name="connsiteY70" fmla="*/ 4200525 h 4496940"/>
              <a:gd name="connsiteX71" fmla="*/ 1144927 w 4519987"/>
              <a:gd name="connsiteY71" fmla="*/ 4171950 h 4496940"/>
              <a:gd name="connsiteX72" fmla="*/ 1087777 w 4519987"/>
              <a:gd name="connsiteY72" fmla="*/ 4143375 h 4496940"/>
              <a:gd name="connsiteX73" fmla="*/ 1030627 w 4519987"/>
              <a:gd name="connsiteY73" fmla="*/ 4124325 h 4496940"/>
              <a:gd name="connsiteX74" fmla="*/ 925852 w 4519987"/>
              <a:gd name="connsiteY74" fmla="*/ 4067175 h 4496940"/>
              <a:gd name="connsiteX75" fmla="*/ 830602 w 4519987"/>
              <a:gd name="connsiteY75" fmla="*/ 3981450 h 4496940"/>
              <a:gd name="connsiteX76" fmla="*/ 763927 w 4519987"/>
              <a:gd name="connsiteY76" fmla="*/ 3914775 h 4496940"/>
              <a:gd name="connsiteX77" fmla="*/ 725827 w 4519987"/>
              <a:gd name="connsiteY77" fmla="*/ 3876675 h 4496940"/>
              <a:gd name="connsiteX78" fmla="*/ 697252 w 4519987"/>
              <a:gd name="connsiteY78" fmla="*/ 3838575 h 4496940"/>
              <a:gd name="connsiteX79" fmla="*/ 640102 w 4519987"/>
              <a:gd name="connsiteY79" fmla="*/ 3781425 h 4496940"/>
              <a:gd name="connsiteX80" fmla="*/ 611527 w 4519987"/>
              <a:gd name="connsiteY80" fmla="*/ 3733800 h 4496940"/>
              <a:gd name="connsiteX81" fmla="*/ 554377 w 4519987"/>
              <a:gd name="connsiteY81" fmla="*/ 3657600 h 4496940"/>
              <a:gd name="connsiteX82" fmla="*/ 525802 w 4519987"/>
              <a:gd name="connsiteY82" fmla="*/ 3609975 h 4496940"/>
              <a:gd name="connsiteX83" fmla="*/ 497227 w 4519987"/>
              <a:gd name="connsiteY83" fmla="*/ 3552825 h 4496940"/>
              <a:gd name="connsiteX84" fmla="*/ 440077 w 4519987"/>
              <a:gd name="connsiteY84" fmla="*/ 3495675 h 4496940"/>
              <a:gd name="connsiteX85" fmla="*/ 411502 w 4519987"/>
              <a:gd name="connsiteY85" fmla="*/ 3448050 h 4496940"/>
              <a:gd name="connsiteX86" fmla="*/ 278152 w 4519987"/>
              <a:gd name="connsiteY86" fmla="*/ 3257550 h 4496940"/>
              <a:gd name="connsiteX87" fmla="*/ 249577 w 4519987"/>
              <a:gd name="connsiteY87" fmla="*/ 3200400 h 4496940"/>
              <a:gd name="connsiteX88" fmla="*/ 240052 w 4519987"/>
              <a:gd name="connsiteY88" fmla="*/ 3162300 h 4496940"/>
              <a:gd name="connsiteX89" fmla="*/ 221002 w 4519987"/>
              <a:gd name="connsiteY89" fmla="*/ 3105150 h 4496940"/>
              <a:gd name="connsiteX90" fmla="*/ 173377 w 4519987"/>
              <a:gd name="connsiteY90" fmla="*/ 3019425 h 4496940"/>
              <a:gd name="connsiteX91" fmla="*/ 144802 w 4519987"/>
              <a:gd name="connsiteY91" fmla="*/ 2924175 h 4496940"/>
              <a:gd name="connsiteX92" fmla="*/ 68602 w 4519987"/>
              <a:gd name="connsiteY92" fmla="*/ 2724150 h 4496940"/>
              <a:gd name="connsiteX93" fmla="*/ 49552 w 4519987"/>
              <a:gd name="connsiteY93" fmla="*/ 2638425 h 4496940"/>
              <a:gd name="connsiteX94" fmla="*/ 40027 w 4519987"/>
              <a:gd name="connsiteY94" fmla="*/ 2562225 h 4496940"/>
              <a:gd name="connsiteX95" fmla="*/ 30502 w 4519987"/>
              <a:gd name="connsiteY95" fmla="*/ 2514600 h 4496940"/>
              <a:gd name="connsiteX96" fmla="*/ 11452 w 4519987"/>
              <a:gd name="connsiteY96" fmla="*/ 2400300 h 4496940"/>
              <a:gd name="connsiteX97" fmla="*/ 20977 w 4519987"/>
              <a:gd name="connsiteY97" fmla="*/ 1905000 h 4496940"/>
              <a:gd name="connsiteX98" fmla="*/ 30502 w 4519987"/>
              <a:gd name="connsiteY98" fmla="*/ 1838325 h 4496940"/>
              <a:gd name="connsiteX99" fmla="*/ 49552 w 4519987"/>
              <a:gd name="connsiteY99" fmla="*/ 1781175 h 4496940"/>
              <a:gd name="connsiteX100" fmla="*/ 59077 w 4519987"/>
              <a:gd name="connsiteY100" fmla="*/ 1743075 h 4496940"/>
              <a:gd name="connsiteX101" fmla="*/ 78127 w 4519987"/>
              <a:gd name="connsiteY101" fmla="*/ 1685925 h 4496940"/>
              <a:gd name="connsiteX102" fmla="*/ 87652 w 4519987"/>
              <a:gd name="connsiteY102" fmla="*/ 1638300 h 4496940"/>
              <a:gd name="connsiteX103" fmla="*/ 106702 w 4519987"/>
              <a:gd name="connsiteY103" fmla="*/ 1590675 h 4496940"/>
              <a:gd name="connsiteX104" fmla="*/ 135277 w 4519987"/>
              <a:gd name="connsiteY104" fmla="*/ 1504950 h 4496940"/>
              <a:gd name="connsiteX105" fmla="*/ 154327 w 4519987"/>
              <a:gd name="connsiteY105" fmla="*/ 1419225 h 4496940"/>
              <a:gd name="connsiteX106" fmla="*/ 230527 w 4519987"/>
              <a:gd name="connsiteY106" fmla="*/ 1276350 h 4496940"/>
              <a:gd name="connsiteX107" fmla="*/ 240052 w 4519987"/>
              <a:gd name="connsiteY107" fmla="*/ 1247775 h 4496940"/>
              <a:gd name="connsiteX108" fmla="*/ 268627 w 4519987"/>
              <a:gd name="connsiteY108" fmla="*/ 1200150 h 4496940"/>
              <a:gd name="connsiteX109" fmla="*/ 287677 w 4519987"/>
              <a:gd name="connsiteY109" fmla="*/ 1152525 h 4496940"/>
              <a:gd name="connsiteX110" fmla="*/ 316252 w 4519987"/>
              <a:gd name="connsiteY110" fmla="*/ 1114425 h 4496940"/>
              <a:gd name="connsiteX111" fmla="*/ 363877 w 4519987"/>
              <a:gd name="connsiteY111" fmla="*/ 1038225 h 4496940"/>
              <a:gd name="connsiteX112" fmla="*/ 382927 w 4519987"/>
              <a:gd name="connsiteY112" fmla="*/ 1009650 h 4496940"/>
              <a:gd name="connsiteX113" fmla="*/ 440077 w 4519987"/>
              <a:gd name="connsiteY113" fmla="*/ 904875 h 4496940"/>
              <a:gd name="connsiteX114" fmla="*/ 478177 w 4519987"/>
              <a:gd name="connsiteY114" fmla="*/ 857250 h 4496940"/>
              <a:gd name="connsiteX115" fmla="*/ 497227 w 4519987"/>
              <a:gd name="connsiteY115" fmla="*/ 828675 h 4496940"/>
              <a:gd name="connsiteX116" fmla="*/ 535327 w 4519987"/>
              <a:gd name="connsiteY116" fmla="*/ 800100 h 4496940"/>
              <a:gd name="connsiteX117" fmla="*/ 602002 w 4519987"/>
              <a:gd name="connsiteY117" fmla="*/ 733425 h 4496940"/>
              <a:gd name="connsiteX118" fmla="*/ 668677 w 4519987"/>
              <a:gd name="connsiteY118" fmla="*/ 676275 h 4496940"/>
              <a:gd name="connsiteX119" fmla="*/ 697252 w 4519987"/>
              <a:gd name="connsiteY119" fmla="*/ 657225 h 4496940"/>
              <a:gd name="connsiteX120" fmla="*/ 840127 w 4519987"/>
              <a:gd name="connsiteY120" fmla="*/ 533400 h 4496940"/>
              <a:gd name="connsiteX121" fmla="*/ 887752 w 4519987"/>
              <a:gd name="connsiteY121" fmla="*/ 504825 h 4496940"/>
              <a:gd name="connsiteX122" fmla="*/ 1167152 w 4519987"/>
              <a:gd name="connsiteY122" fmla="*/ 311150 h 4496940"/>
              <a:gd name="connsiteX123" fmla="*/ 1268752 w 4519987"/>
              <a:gd name="connsiteY123" fmla="*/ 285750 h 4496940"/>
              <a:gd name="connsiteX124" fmla="*/ 1411627 w 4519987"/>
              <a:gd name="connsiteY124" fmla="*/ 190500 h 4496940"/>
              <a:gd name="connsiteX125" fmla="*/ 1449727 w 4519987"/>
              <a:gd name="connsiteY125" fmla="*/ 161925 h 4496940"/>
              <a:gd name="connsiteX126" fmla="*/ 1525927 w 4519987"/>
              <a:gd name="connsiteY126" fmla="*/ 152400 h 4496940"/>
              <a:gd name="connsiteX127" fmla="*/ 1583077 w 4519987"/>
              <a:gd name="connsiteY127" fmla="*/ 142875 h 4496940"/>
              <a:gd name="connsiteX128" fmla="*/ 1716427 w 4519987"/>
              <a:gd name="connsiteY128" fmla="*/ 123825 h 4496940"/>
              <a:gd name="connsiteX129" fmla="*/ 1811677 w 4519987"/>
              <a:gd name="connsiteY129" fmla="*/ 114300 h 4496940"/>
              <a:gd name="connsiteX130" fmla="*/ 1859302 w 4519987"/>
              <a:gd name="connsiteY130" fmla="*/ 104775 h 4496940"/>
              <a:gd name="connsiteX131" fmla="*/ 1916452 w 4519987"/>
              <a:gd name="connsiteY131" fmla="*/ 95250 h 4496940"/>
              <a:gd name="connsiteX132" fmla="*/ 2030752 w 4519987"/>
              <a:gd name="connsiteY132" fmla="*/ 66675 h 4496940"/>
              <a:gd name="connsiteX133" fmla="*/ 2097427 w 4519987"/>
              <a:gd name="connsiteY133" fmla="*/ 47625 h 4496940"/>
              <a:gd name="connsiteX134" fmla="*/ 2164102 w 4519987"/>
              <a:gd name="connsiteY134" fmla="*/ 38100 h 4496940"/>
              <a:gd name="connsiteX135" fmla="*/ 2392702 w 4519987"/>
              <a:gd name="connsiteY13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678577 w 4519987"/>
              <a:gd name="connsiteY40" fmla="*/ 3848100 h 4496940"/>
              <a:gd name="connsiteX41" fmla="*/ 3659527 w 4519987"/>
              <a:gd name="connsiteY41" fmla="*/ 3971925 h 4496940"/>
              <a:gd name="connsiteX42" fmla="*/ 3630952 w 4519987"/>
              <a:gd name="connsiteY42" fmla="*/ 4010025 h 4496940"/>
              <a:gd name="connsiteX43" fmla="*/ 3621427 w 4519987"/>
              <a:gd name="connsiteY43" fmla="*/ 4038600 h 4496940"/>
              <a:gd name="connsiteX44" fmla="*/ 3554752 w 4519987"/>
              <a:gd name="connsiteY44" fmla="*/ 4095750 h 4496940"/>
              <a:gd name="connsiteX45" fmla="*/ 3516652 w 4519987"/>
              <a:gd name="connsiteY45" fmla="*/ 4114800 h 4496940"/>
              <a:gd name="connsiteX46" fmla="*/ 3497602 w 4519987"/>
              <a:gd name="connsiteY46" fmla="*/ 4143375 h 4496940"/>
              <a:gd name="connsiteX47" fmla="*/ 3383302 w 4519987"/>
              <a:gd name="connsiteY47" fmla="*/ 4210050 h 4496940"/>
              <a:gd name="connsiteX48" fmla="*/ 3335677 w 4519987"/>
              <a:gd name="connsiteY48" fmla="*/ 4238625 h 4496940"/>
              <a:gd name="connsiteX49" fmla="*/ 3288052 w 4519987"/>
              <a:gd name="connsiteY49" fmla="*/ 4248150 h 4496940"/>
              <a:gd name="connsiteX50" fmla="*/ 3240427 w 4519987"/>
              <a:gd name="connsiteY50" fmla="*/ 4267200 h 4496940"/>
              <a:gd name="connsiteX51" fmla="*/ 3068977 w 4519987"/>
              <a:gd name="connsiteY51" fmla="*/ 4286250 h 4496940"/>
              <a:gd name="connsiteX52" fmla="*/ 2935627 w 4519987"/>
              <a:gd name="connsiteY52" fmla="*/ 4333875 h 4496940"/>
              <a:gd name="connsiteX53" fmla="*/ 2811802 w 4519987"/>
              <a:gd name="connsiteY53" fmla="*/ 4371975 h 4496940"/>
              <a:gd name="connsiteX54" fmla="*/ 2745127 w 4519987"/>
              <a:gd name="connsiteY54" fmla="*/ 4410075 h 4496940"/>
              <a:gd name="connsiteX55" fmla="*/ 2697502 w 4519987"/>
              <a:gd name="connsiteY55" fmla="*/ 4429125 h 4496940"/>
              <a:gd name="connsiteX56" fmla="*/ 2640352 w 4519987"/>
              <a:gd name="connsiteY56" fmla="*/ 4457700 h 4496940"/>
              <a:gd name="connsiteX57" fmla="*/ 2583202 w 4519987"/>
              <a:gd name="connsiteY57" fmla="*/ 4467225 h 4496940"/>
              <a:gd name="connsiteX58" fmla="*/ 2545102 w 4519987"/>
              <a:gd name="connsiteY58" fmla="*/ 4486275 h 4496940"/>
              <a:gd name="connsiteX59" fmla="*/ 2306977 w 4519987"/>
              <a:gd name="connsiteY59" fmla="*/ 4476750 h 4496940"/>
              <a:gd name="connsiteX60" fmla="*/ 2202202 w 4519987"/>
              <a:gd name="connsiteY60" fmla="*/ 4457700 h 4496940"/>
              <a:gd name="connsiteX61" fmla="*/ 2126002 w 4519987"/>
              <a:gd name="connsiteY61" fmla="*/ 4429125 h 4496940"/>
              <a:gd name="connsiteX62" fmla="*/ 1935502 w 4519987"/>
              <a:gd name="connsiteY62" fmla="*/ 4400550 h 4496940"/>
              <a:gd name="connsiteX63" fmla="*/ 1821202 w 4519987"/>
              <a:gd name="connsiteY63" fmla="*/ 4371975 h 4496940"/>
              <a:gd name="connsiteX64" fmla="*/ 1754527 w 4519987"/>
              <a:gd name="connsiteY64" fmla="*/ 4352925 h 4496940"/>
              <a:gd name="connsiteX65" fmla="*/ 1687852 w 4519987"/>
              <a:gd name="connsiteY65" fmla="*/ 4343400 h 4496940"/>
              <a:gd name="connsiteX66" fmla="*/ 1573552 w 4519987"/>
              <a:gd name="connsiteY66" fmla="*/ 4305300 h 4496940"/>
              <a:gd name="connsiteX67" fmla="*/ 1402102 w 4519987"/>
              <a:gd name="connsiteY67" fmla="*/ 4276725 h 4496940"/>
              <a:gd name="connsiteX68" fmla="*/ 1287802 w 4519987"/>
              <a:gd name="connsiteY68" fmla="*/ 4229100 h 4496940"/>
              <a:gd name="connsiteX69" fmla="*/ 1221127 w 4519987"/>
              <a:gd name="connsiteY69" fmla="*/ 4200525 h 4496940"/>
              <a:gd name="connsiteX70" fmla="*/ 1144927 w 4519987"/>
              <a:gd name="connsiteY70" fmla="*/ 4171950 h 4496940"/>
              <a:gd name="connsiteX71" fmla="*/ 1087777 w 4519987"/>
              <a:gd name="connsiteY71" fmla="*/ 4143375 h 4496940"/>
              <a:gd name="connsiteX72" fmla="*/ 1030627 w 4519987"/>
              <a:gd name="connsiteY72" fmla="*/ 4124325 h 4496940"/>
              <a:gd name="connsiteX73" fmla="*/ 925852 w 4519987"/>
              <a:gd name="connsiteY73" fmla="*/ 4067175 h 4496940"/>
              <a:gd name="connsiteX74" fmla="*/ 830602 w 4519987"/>
              <a:gd name="connsiteY74" fmla="*/ 3981450 h 4496940"/>
              <a:gd name="connsiteX75" fmla="*/ 763927 w 4519987"/>
              <a:gd name="connsiteY75" fmla="*/ 3914775 h 4496940"/>
              <a:gd name="connsiteX76" fmla="*/ 725827 w 4519987"/>
              <a:gd name="connsiteY76" fmla="*/ 3876675 h 4496940"/>
              <a:gd name="connsiteX77" fmla="*/ 697252 w 4519987"/>
              <a:gd name="connsiteY77" fmla="*/ 3838575 h 4496940"/>
              <a:gd name="connsiteX78" fmla="*/ 640102 w 4519987"/>
              <a:gd name="connsiteY78" fmla="*/ 3781425 h 4496940"/>
              <a:gd name="connsiteX79" fmla="*/ 611527 w 4519987"/>
              <a:gd name="connsiteY79" fmla="*/ 3733800 h 4496940"/>
              <a:gd name="connsiteX80" fmla="*/ 554377 w 4519987"/>
              <a:gd name="connsiteY80" fmla="*/ 3657600 h 4496940"/>
              <a:gd name="connsiteX81" fmla="*/ 525802 w 4519987"/>
              <a:gd name="connsiteY81" fmla="*/ 3609975 h 4496940"/>
              <a:gd name="connsiteX82" fmla="*/ 497227 w 4519987"/>
              <a:gd name="connsiteY82" fmla="*/ 3552825 h 4496940"/>
              <a:gd name="connsiteX83" fmla="*/ 440077 w 4519987"/>
              <a:gd name="connsiteY83" fmla="*/ 3495675 h 4496940"/>
              <a:gd name="connsiteX84" fmla="*/ 411502 w 4519987"/>
              <a:gd name="connsiteY84" fmla="*/ 3448050 h 4496940"/>
              <a:gd name="connsiteX85" fmla="*/ 278152 w 4519987"/>
              <a:gd name="connsiteY85" fmla="*/ 3257550 h 4496940"/>
              <a:gd name="connsiteX86" fmla="*/ 249577 w 4519987"/>
              <a:gd name="connsiteY86" fmla="*/ 3200400 h 4496940"/>
              <a:gd name="connsiteX87" fmla="*/ 240052 w 4519987"/>
              <a:gd name="connsiteY87" fmla="*/ 3162300 h 4496940"/>
              <a:gd name="connsiteX88" fmla="*/ 221002 w 4519987"/>
              <a:gd name="connsiteY88" fmla="*/ 3105150 h 4496940"/>
              <a:gd name="connsiteX89" fmla="*/ 173377 w 4519987"/>
              <a:gd name="connsiteY89" fmla="*/ 3019425 h 4496940"/>
              <a:gd name="connsiteX90" fmla="*/ 144802 w 4519987"/>
              <a:gd name="connsiteY90" fmla="*/ 2924175 h 4496940"/>
              <a:gd name="connsiteX91" fmla="*/ 68602 w 4519987"/>
              <a:gd name="connsiteY91" fmla="*/ 2724150 h 4496940"/>
              <a:gd name="connsiteX92" fmla="*/ 49552 w 4519987"/>
              <a:gd name="connsiteY92" fmla="*/ 2638425 h 4496940"/>
              <a:gd name="connsiteX93" fmla="*/ 40027 w 4519987"/>
              <a:gd name="connsiteY93" fmla="*/ 2562225 h 4496940"/>
              <a:gd name="connsiteX94" fmla="*/ 30502 w 4519987"/>
              <a:gd name="connsiteY94" fmla="*/ 2514600 h 4496940"/>
              <a:gd name="connsiteX95" fmla="*/ 11452 w 4519987"/>
              <a:gd name="connsiteY95" fmla="*/ 2400300 h 4496940"/>
              <a:gd name="connsiteX96" fmla="*/ 20977 w 4519987"/>
              <a:gd name="connsiteY96" fmla="*/ 1905000 h 4496940"/>
              <a:gd name="connsiteX97" fmla="*/ 30502 w 4519987"/>
              <a:gd name="connsiteY97" fmla="*/ 1838325 h 4496940"/>
              <a:gd name="connsiteX98" fmla="*/ 49552 w 4519987"/>
              <a:gd name="connsiteY98" fmla="*/ 1781175 h 4496940"/>
              <a:gd name="connsiteX99" fmla="*/ 59077 w 4519987"/>
              <a:gd name="connsiteY99" fmla="*/ 1743075 h 4496940"/>
              <a:gd name="connsiteX100" fmla="*/ 78127 w 4519987"/>
              <a:gd name="connsiteY100" fmla="*/ 1685925 h 4496940"/>
              <a:gd name="connsiteX101" fmla="*/ 87652 w 4519987"/>
              <a:gd name="connsiteY101" fmla="*/ 1638300 h 4496940"/>
              <a:gd name="connsiteX102" fmla="*/ 106702 w 4519987"/>
              <a:gd name="connsiteY102" fmla="*/ 1590675 h 4496940"/>
              <a:gd name="connsiteX103" fmla="*/ 135277 w 4519987"/>
              <a:gd name="connsiteY103" fmla="*/ 1504950 h 4496940"/>
              <a:gd name="connsiteX104" fmla="*/ 154327 w 4519987"/>
              <a:gd name="connsiteY104" fmla="*/ 1419225 h 4496940"/>
              <a:gd name="connsiteX105" fmla="*/ 230527 w 4519987"/>
              <a:gd name="connsiteY105" fmla="*/ 1276350 h 4496940"/>
              <a:gd name="connsiteX106" fmla="*/ 240052 w 4519987"/>
              <a:gd name="connsiteY106" fmla="*/ 1247775 h 4496940"/>
              <a:gd name="connsiteX107" fmla="*/ 268627 w 4519987"/>
              <a:gd name="connsiteY107" fmla="*/ 1200150 h 4496940"/>
              <a:gd name="connsiteX108" fmla="*/ 287677 w 4519987"/>
              <a:gd name="connsiteY108" fmla="*/ 1152525 h 4496940"/>
              <a:gd name="connsiteX109" fmla="*/ 316252 w 4519987"/>
              <a:gd name="connsiteY109" fmla="*/ 1114425 h 4496940"/>
              <a:gd name="connsiteX110" fmla="*/ 363877 w 4519987"/>
              <a:gd name="connsiteY110" fmla="*/ 1038225 h 4496940"/>
              <a:gd name="connsiteX111" fmla="*/ 382927 w 4519987"/>
              <a:gd name="connsiteY111" fmla="*/ 1009650 h 4496940"/>
              <a:gd name="connsiteX112" fmla="*/ 440077 w 4519987"/>
              <a:gd name="connsiteY112" fmla="*/ 904875 h 4496940"/>
              <a:gd name="connsiteX113" fmla="*/ 478177 w 4519987"/>
              <a:gd name="connsiteY113" fmla="*/ 857250 h 4496940"/>
              <a:gd name="connsiteX114" fmla="*/ 497227 w 4519987"/>
              <a:gd name="connsiteY114" fmla="*/ 828675 h 4496940"/>
              <a:gd name="connsiteX115" fmla="*/ 535327 w 4519987"/>
              <a:gd name="connsiteY115" fmla="*/ 800100 h 4496940"/>
              <a:gd name="connsiteX116" fmla="*/ 602002 w 4519987"/>
              <a:gd name="connsiteY116" fmla="*/ 733425 h 4496940"/>
              <a:gd name="connsiteX117" fmla="*/ 668677 w 4519987"/>
              <a:gd name="connsiteY117" fmla="*/ 676275 h 4496940"/>
              <a:gd name="connsiteX118" fmla="*/ 697252 w 4519987"/>
              <a:gd name="connsiteY118" fmla="*/ 657225 h 4496940"/>
              <a:gd name="connsiteX119" fmla="*/ 840127 w 4519987"/>
              <a:gd name="connsiteY119" fmla="*/ 533400 h 4496940"/>
              <a:gd name="connsiteX120" fmla="*/ 887752 w 4519987"/>
              <a:gd name="connsiteY120" fmla="*/ 504825 h 4496940"/>
              <a:gd name="connsiteX121" fmla="*/ 1167152 w 4519987"/>
              <a:gd name="connsiteY121" fmla="*/ 311150 h 4496940"/>
              <a:gd name="connsiteX122" fmla="*/ 1268752 w 4519987"/>
              <a:gd name="connsiteY122" fmla="*/ 285750 h 4496940"/>
              <a:gd name="connsiteX123" fmla="*/ 1411627 w 4519987"/>
              <a:gd name="connsiteY123" fmla="*/ 190500 h 4496940"/>
              <a:gd name="connsiteX124" fmla="*/ 1449727 w 4519987"/>
              <a:gd name="connsiteY124" fmla="*/ 161925 h 4496940"/>
              <a:gd name="connsiteX125" fmla="*/ 1525927 w 4519987"/>
              <a:gd name="connsiteY125" fmla="*/ 152400 h 4496940"/>
              <a:gd name="connsiteX126" fmla="*/ 1583077 w 4519987"/>
              <a:gd name="connsiteY126" fmla="*/ 142875 h 4496940"/>
              <a:gd name="connsiteX127" fmla="*/ 1716427 w 4519987"/>
              <a:gd name="connsiteY127" fmla="*/ 123825 h 4496940"/>
              <a:gd name="connsiteX128" fmla="*/ 1811677 w 4519987"/>
              <a:gd name="connsiteY128" fmla="*/ 114300 h 4496940"/>
              <a:gd name="connsiteX129" fmla="*/ 1859302 w 4519987"/>
              <a:gd name="connsiteY129" fmla="*/ 104775 h 4496940"/>
              <a:gd name="connsiteX130" fmla="*/ 1916452 w 4519987"/>
              <a:gd name="connsiteY130" fmla="*/ 95250 h 4496940"/>
              <a:gd name="connsiteX131" fmla="*/ 2030752 w 4519987"/>
              <a:gd name="connsiteY131" fmla="*/ 66675 h 4496940"/>
              <a:gd name="connsiteX132" fmla="*/ 2097427 w 4519987"/>
              <a:gd name="connsiteY132" fmla="*/ 47625 h 4496940"/>
              <a:gd name="connsiteX133" fmla="*/ 2164102 w 4519987"/>
              <a:gd name="connsiteY133" fmla="*/ 38100 h 4496940"/>
              <a:gd name="connsiteX134" fmla="*/ 2392702 w 4519987"/>
              <a:gd name="connsiteY13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659527 w 4519987"/>
              <a:gd name="connsiteY40" fmla="*/ 3971925 h 4496940"/>
              <a:gd name="connsiteX41" fmla="*/ 3630952 w 4519987"/>
              <a:gd name="connsiteY41" fmla="*/ 4010025 h 4496940"/>
              <a:gd name="connsiteX42" fmla="*/ 3621427 w 4519987"/>
              <a:gd name="connsiteY42" fmla="*/ 4038600 h 4496940"/>
              <a:gd name="connsiteX43" fmla="*/ 3554752 w 4519987"/>
              <a:gd name="connsiteY43" fmla="*/ 4095750 h 4496940"/>
              <a:gd name="connsiteX44" fmla="*/ 3516652 w 4519987"/>
              <a:gd name="connsiteY44" fmla="*/ 4114800 h 4496940"/>
              <a:gd name="connsiteX45" fmla="*/ 3497602 w 4519987"/>
              <a:gd name="connsiteY45" fmla="*/ 4143375 h 4496940"/>
              <a:gd name="connsiteX46" fmla="*/ 3383302 w 4519987"/>
              <a:gd name="connsiteY46" fmla="*/ 4210050 h 4496940"/>
              <a:gd name="connsiteX47" fmla="*/ 3335677 w 4519987"/>
              <a:gd name="connsiteY47" fmla="*/ 4238625 h 4496940"/>
              <a:gd name="connsiteX48" fmla="*/ 3288052 w 4519987"/>
              <a:gd name="connsiteY48" fmla="*/ 4248150 h 4496940"/>
              <a:gd name="connsiteX49" fmla="*/ 3240427 w 4519987"/>
              <a:gd name="connsiteY49" fmla="*/ 4267200 h 4496940"/>
              <a:gd name="connsiteX50" fmla="*/ 3068977 w 4519987"/>
              <a:gd name="connsiteY50" fmla="*/ 4286250 h 4496940"/>
              <a:gd name="connsiteX51" fmla="*/ 2935627 w 4519987"/>
              <a:gd name="connsiteY51" fmla="*/ 4333875 h 4496940"/>
              <a:gd name="connsiteX52" fmla="*/ 2811802 w 4519987"/>
              <a:gd name="connsiteY52" fmla="*/ 4371975 h 4496940"/>
              <a:gd name="connsiteX53" fmla="*/ 2745127 w 4519987"/>
              <a:gd name="connsiteY53" fmla="*/ 4410075 h 4496940"/>
              <a:gd name="connsiteX54" fmla="*/ 2697502 w 4519987"/>
              <a:gd name="connsiteY54" fmla="*/ 4429125 h 4496940"/>
              <a:gd name="connsiteX55" fmla="*/ 2640352 w 4519987"/>
              <a:gd name="connsiteY55" fmla="*/ 4457700 h 4496940"/>
              <a:gd name="connsiteX56" fmla="*/ 2583202 w 4519987"/>
              <a:gd name="connsiteY56" fmla="*/ 4467225 h 4496940"/>
              <a:gd name="connsiteX57" fmla="*/ 2545102 w 4519987"/>
              <a:gd name="connsiteY57" fmla="*/ 4486275 h 4496940"/>
              <a:gd name="connsiteX58" fmla="*/ 2306977 w 4519987"/>
              <a:gd name="connsiteY58" fmla="*/ 4476750 h 4496940"/>
              <a:gd name="connsiteX59" fmla="*/ 2202202 w 4519987"/>
              <a:gd name="connsiteY59" fmla="*/ 4457700 h 4496940"/>
              <a:gd name="connsiteX60" fmla="*/ 2126002 w 4519987"/>
              <a:gd name="connsiteY60" fmla="*/ 4429125 h 4496940"/>
              <a:gd name="connsiteX61" fmla="*/ 1935502 w 4519987"/>
              <a:gd name="connsiteY61" fmla="*/ 4400550 h 4496940"/>
              <a:gd name="connsiteX62" fmla="*/ 1821202 w 4519987"/>
              <a:gd name="connsiteY62" fmla="*/ 4371975 h 4496940"/>
              <a:gd name="connsiteX63" fmla="*/ 1754527 w 4519987"/>
              <a:gd name="connsiteY63" fmla="*/ 4352925 h 4496940"/>
              <a:gd name="connsiteX64" fmla="*/ 1687852 w 4519987"/>
              <a:gd name="connsiteY64" fmla="*/ 4343400 h 4496940"/>
              <a:gd name="connsiteX65" fmla="*/ 1573552 w 4519987"/>
              <a:gd name="connsiteY65" fmla="*/ 4305300 h 4496940"/>
              <a:gd name="connsiteX66" fmla="*/ 1402102 w 4519987"/>
              <a:gd name="connsiteY66" fmla="*/ 4276725 h 4496940"/>
              <a:gd name="connsiteX67" fmla="*/ 1287802 w 4519987"/>
              <a:gd name="connsiteY67" fmla="*/ 4229100 h 4496940"/>
              <a:gd name="connsiteX68" fmla="*/ 1221127 w 4519987"/>
              <a:gd name="connsiteY68" fmla="*/ 4200525 h 4496940"/>
              <a:gd name="connsiteX69" fmla="*/ 1144927 w 4519987"/>
              <a:gd name="connsiteY69" fmla="*/ 4171950 h 4496940"/>
              <a:gd name="connsiteX70" fmla="*/ 1087777 w 4519987"/>
              <a:gd name="connsiteY70" fmla="*/ 4143375 h 4496940"/>
              <a:gd name="connsiteX71" fmla="*/ 1030627 w 4519987"/>
              <a:gd name="connsiteY71" fmla="*/ 4124325 h 4496940"/>
              <a:gd name="connsiteX72" fmla="*/ 925852 w 4519987"/>
              <a:gd name="connsiteY72" fmla="*/ 4067175 h 4496940"/>
              <a:gd name="connsiteX73" fmla="*/ 830602 w 4519987"/>
              <a:gd name="connsiteY73" fmla="*/ 3981450 h 4496940"/>
              <a:gd name="connsiteX74" fmla="*/ 763927 w 4519987"/>
              <a:gd name="connsiteY74" fmla="*/ 3914775 h 4496940"/>
              <a:gd name="connsiteX75" fmla="*/ 725827 w 4519987"/>
              <a:gd name="connsiteY75" fmla="*/ 3876675 h 4496940"/>
              <a:gd name="connsiteX76" fmla="*/ 697252 w 4519987"/>
              <a:gd name="connsiteY76" fmla="*/ 3838575 h 4496940"/>
              <a:gd name="connsiteX77" fmla="*/ 640102 w 4519987"/>
              <a:gd name="connsiteY77" fmla="*/ 3781425 h 4496940"/>
              <a:gd name="connsiteX78" fmla="*/ 611527 w 4519987"/>
              <a:gd name="connsiteY78" fmla="*/ 3733800 h 4496940"/>
              <a:gd name="connsiteX79" fmla="*/ 554377 w 4519987"/>
              <a:gd name="connsiteY79" fmla="*/ 3657600 h 4496940"/>
              <a:gd name="connsiteX80" fmla="*/ 525802 w 4519987"/>
              <a:gd name="connsiteY80" fmla="*/ 3609975 h 4496940"/>
              <a:gd name="connsiteX81" fmla="*/ 497227 w 4519987"/>
              <a:gd name="connsiteY81" fmla="*/ 3552825 h 4496940"/>
              <a:gd name="connsiteX82" fmla="*/ 440077 w 4519987"/>
              <a:gd name="connsiteY82" fmla="*/ 3495675 h 4496940"/>
              <a:gd name="connsiteX83" fmla="*/ 411502 w 4519987"/>
              <a:gd name="connsiteY83" fmla="*/ 3448050 h 4496940"/>
              <a:gd name="connsiteX84" fmla="*/ 278152 w 4519987"/>
              <a:gd name="connsiteY84" fmla="*/ 3257550 h 4496940"/>
              <a:gd name="connsiteX85" fmla="*/ 249577 w 4519987"/>
              <a:gd name="connsiteY85" fmla="*/ 3200400 h 4496940"/>
              <a:gd name="connsiteX86" fmla="*/ 240052 w 4519987"/>
              <a:gd name="connsiteY86" fmla="*/ 3162300 h 4496940"/>
              <a:gd name="connsiteX87" fmla="*/ 221002 w 4519987"/>
              <a:gd name="connsiteY87" fmla="*/ 3105150 h 4496940"/>
              <a:gd name="connsiteX88" fmla="*/ 173377 w 4519987"/>
              <a:gd name="connsiteY88" fmla="*/ 3019425 h 4496940"/>
              <a:gd name="connsiteX89" fmla="*/ 144802 w 4519987"/>
              <a:gd name="connsiteY89" fmla="*/ 2924175 h 4496940"/>
              <a:gd name="connsiteX90" fmla="*/ 68602 w 4519987"/>
              <a:gd name="connsiteY90" fmla="*/ 2724150 h 4496940"/>
              <a:gd name="connsiteX91" fmla="*/ 49552 w 4519987"/>
              <a:gd name="connsiteY91" fmla="*/ 2638425 h 4496940"/>
              <a:gd name="connsiteX92" fmla="*/ 40027 w 4519987"/>
              <a:gd name="connsiteY92" fmla="*/ 2562225 h 4496940"/>
              <a:gd name="connsiteX93" fmla="*/ 30502 w 4519987"/>
              <a:gd name="connsiteY93" fmla="*/ 2514600 h 4496940"/>
              <a:gd name="connsiteX94" fmla="*/ 11452 w 4519987"/>
              <a:gd name="connsiteY94" fmla="*/ 2400300 h 4496940"/>
              <a:gd name="connsiteX95" fmla="*/ 20977 w 4519987"/>
              <a:gd name="connsiteY95" fmla="*/ 1905000 h 4496940"/>
              <a:gd name="connsiteX96" fmla="*/ 30502 w 4519987"/>
              <a:gd name="connsiteY96" fmla="*/ 1838325 h 4496940"/>
              <a:gd name="connsiteX97" fmla="*/ 49552 w 4519987"/>
              <a:gd name="connsiteY97" fmla="*/ 1781175 h 4496940"/>
              <a:gd name="connsiteX98" fmla="*/ 59077 w 4519987"/>
              <a:gd name="connsiteY98" fmla="*/ 1743075 h 4496940"/>
              <a:gd name="connsiteX99" fmla="*/ 78127 w 4519987"/>
              <a:gd name="connsiteY99" fmla="*/ 1685925 h 4496940"/>
              <a:gd name="connsiteX100" fmla="*/ 87652 w 4519987"/>
              <a:gd name="connsiteY100" fmla="*/ 1638300 h 4496940"/>
              <a:gd name="connsiteX101" fmla="*/ 106702 w 4519987"/>
              <a:gd name="connsiteY101" fmla="*/ 1590675 h 4496940"/>
              <a:gd name="connsiteX102" fmla="*/ 135277 w 4519987"/>
              <a:gd name="connsiteY102" fmla="*/ 1504950 h 4496940"/>
              <a:gd name="connsiteX103" fmla="*/ 154327 w 4519987"/>
              <a:gd name="connsiteY103" fmla="*/ 1419225 h 4496940"/>
              <a:gd name="connsiteX104" fmla="*/ 230527 w 4519987"/>
              <a:gd name="connsiteY104" fmla="*/ 1276350 h 4496940"/>
              <a:gd name="connsiteX105" fmla="*/ 240052 w 4519987"/>
              <a:gd name="connsiteY105" fmla="*/ 1247775 h 4496940"/>
              <a:gd name="connsiteX106" fmla="*/ 268627 w 4519987"/>
              <a:gd name="connsiteY106" fmla="*/ 1200150 h 4496940"/>
              <a:gd name="connsiteX107" fmla="*/ 287677 w 4519987"/>
              <a:gd name="connsiteY107" fmla="*/ 1152525 h 4496940"/>
              <a:gd name="connsiteX108" fmla="*/ 316252 w 4519987"/>
              <a:gd name="connsiteY108" fmla="*/ 1114425 h 4496940"/>
              <a:gd name="connsiteX109" fmla="*/ 363877 w 4519987"/>
              <a:gd name="connsiteY109" fmla="*/ 1038225 h 4496940"/>
              <a:gd name="connsiteX110" fmla="*/ 382927 w 4519987"/>
              <a:gd name="connsiteY110" fmla="*/ 1009650 h 4496940"/>
              <a:gd name="connsiteX111" fmla="*/ 440077 w 4519987"/>
              <a:gd name="connsiteY111" fmla="*/ 904875 h 4496940"/>
              <a:gd name="connsiteX112" fmla="*/ 478177 w 4519987"/>
              <a:gd name="connsiteY112" fmla="*/ 857250 h 4496940"/>
              <a:gd name="connsiteX113" fmla="*/ 497227 w 4519987"/>
              <a:gd name="connsiteY113" fmla="*/ 828675 h 4496940"/>
              <a:gd name="connsiteX114" fmla="*/ 535327 w 4519987"/>
              <a:gd name="connsiteY114" fmla="*/ 800100 h 4496940"/>
              <a:gd name="connsiteX115" fmla="*/ 602002 w 4519987"/>
              <a:gd name="connsiteY115" fmla="*/ 733425 h 4496940"/>
              <a:gd name="connsiteX116" fmla="*/ 668677 w 4519987"/>
              <a:gd name="connsiteY116" fmla="*/ 676275 h 4496940"/>
              <a:gd name="connsiteX117" fmla="*/ 697252 w 4519987"/>
              <a:gd name="connsiteY117" fmla="*/ 657225 h 4496940"/>
              <a:gd name="connsiteX118" fmla="*/ 840127 w 4519987"/>
              <a:gd name="connsiteY118" fmla="*/ 533400 h 4496940"/>
              <a:gd name="connsiteX119" fmla="*/ 887752 w 4519987"/>
              <a:gd name="connsiteY119" fmla="*/ 504825 h 4496940"/>
              <a:gd name="connsiteX120" fmla="*/ 1167152 w 4519987"/>
              <a:gd name="connsiteY120" fmla="*/ 311150 h 4496940"/>
              <a:gd name="connsiteX121" fmla="*/ 1268752 w 4519987"/>
              <a:gd name="connsiteY121" fmla="*/ 285750 h 4496940"/>
              <a:gd name="connsiteX122" fmla="*/ 1411627 w 4519987"/>
              <a:gd name="connsiteY122" fmla="*/ 190500 h 4496940"/>
              <a:gd name="connsiteX123" fmla="*/ 1449727 w 4519987"/>
              <a:gd name="connsiteY123" fmla="*/ 161925 h 4496940"/>
              <a:gd name="connsiteX124" fmla="*/ 1525927 w 4519987"/>
              <a:gd name="connsiteY124" fmla="*/ 152400 h 4496940"/>
              <a:gd name="connsiteX125" fmla="*/ 1583077 w 4519987"/>
              <a:gd name="connsiteY125" fmla="*/ 142875 h 4496940"/>
              <a:gd name="connsiteX126" fmla="*/ 1716427 w 4519987"/>
              <a:gd name="connsiteY126" fmla="*/ 123825 h 4496940"/>
              <a:gd name="connsiteX127" fmla="*/ 1811677 w 4519987"/>
              <a:gd name="connsiteY127" fmla="*/ 114300 h 4496940"/>
              <a:gd name="connsiteX128" fmla="*/ 1859302 w 4519987"/>
              <a:gd name="connsiteY128" fmla="*/ 104775 h 4496940"/>
              <a:gd name="connsiteX129" fmla="*/ 1916452 w 4519987"/>
              <a:gd name="connsiteY129" fmla="*/ 95250 h 4496940"/>
              <a:gd name="connsiteX130" fmla="*/ 2030752 w 4519987"/>
              <a:gd name="connsiteY130" fmla="*/ 66675 h 4496940"/>
              <a:gd name="connsiteX131" fmla="*/ 2097427 w 4519987"/>
              <a:gd name="connsiteY131" fmla="*/ 47625 h 4496940"/>
              <a:gd name="connsiteX132" fmla="*/ 2164102 w 4519987"/>
              <a:gd name="connsiteY132" fmla="*/ 38100 h 4496940"/>
              <a:gd name="connsiteX133" fmla="*/ 2392702 w 4519987"/>
              <a:gd name="connsiteY13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659527 w 4519987"/>
              <a:gd name="connsiteY39" fmla="*/ 3971925 h 4496940"/>
              <a:gd name="connsiteX40" fmla="*/ 3630952 w 4519987"/>
              <a:gd name="connsiteY40" fmla="*/ 4010025 h 4496940"/>
              <a:gd name="connsiteX41" fmla="*/ 3621427 w 4519987"/>
              <a:gd name="connsiteY41" fmla="*/ 4038600 h 4496940"/>
              <a:gd name="connsiteX42" fmla="*/ 3554752 w 4519987"/>
              <a:gd name="connsiteY42" fmla="*/ 4095750 h 4496940"/>
              <a:gd name="connsiteX43" fmla="*/ 3516652 w 4519987"/>
              <a:gd name="connsiteY43" fmla="*/ 4114800 h 4496940"/>
              <a:gd name="connsiteX44" fmla="*/ 3497602 w 4519987"/>
              <a:gd name="connsiteY44" fmla="*/ 4143375 h 4496940"/>
              <a:gd name="connsiteX45" fmla="*/ 3383302 w 4519987"/>
              <a:gd name="connsiteY45" fmla="*/ 4210050 h 4496940"/>
              <a:gd name="connsiteX46" fmla="*/ 3335677 w 4519987"/>
              <a:gd name="connsiteY46" fmla="*/ 4238625 h 4496940"/>
              <a:gd name="connsiteX47" fmla="*/ 3288052 w 4519987"/>
              <a:gd name="connsiteY47" fmla="*/ 4248150 h 4496940"/>
              <a:gd name="connsiteX48" fmla="*/ 3240427 w 4519987"/>
              <a:gd name="connsiteY48" fmla="*/ 4267200 h 4496940"/>
              <a:gd name="connsiteX49" fmla="*/ 3068977 w 4519987"/>
              <a:gd name="connsiteY49" fmla="*/ 4286250 h 4496940"/>
              <a:gd name="connsiteX50" fmla="*/ 2935627 w 4519987"/>
              <a:gd name="connsiteY50" fmla="*/ 4333875 h 4496940"/>
              <a:gd name="connsiteX51" fmla="*/ 2811802 w 4519987"/>
              <a:gd name="connsiteY51" fmla="*/ 4371975 h 4496940"/>
              <a:gd name="connsiteX52" fmla="*/ 2745127 w 4519987"/>
              <a:gd name="connsiteY52" fmla="*/ 4410075 h 4496940"/>
              <a:gd name="connsiteX53" fmla="*/ 2697502 w 4519987"/>
              <a:gd name="connsiteY53" fmla="*/ 4429125 h 4496940"/>
              <a:gd name="connsiteX54" fmla="*/ 2640352 w 4519987"/>
              <a:gd name="connsiteY54" fmla="*/ 4457700 h 4496940"/>
              <a:gd name="connsiteX55" fmla="*/ 2583202 w 4519987"/>
              <a:gd name="connsiteY55" fmla="*/ 4467225 h 4496940"/>
              <a:gd name="connsiteX56" fmla="*/ 2545102 w 4519987"/>
              <a:gd name="connsiteY56" fmla="*/ 4486275 h 4496940"/>
              <a:gd name="connsiteX57" fmla="*/ 2306977 w 4519987"/>
              <a:gd name="connsiteY57" fmla="*/ 4476750 h 4496940"/>
              <a:gd name="connsiteX58" fmla="*/ 2202202 w 4519987"/>
              <a:gd name="connsiteY58" fmla="*/ 4457700 h 4496940"/>
              <a:gd name="connsiteX59" fmla="*/ 2126002 w 4519987"/>
              <a:gd name="connsiteY59" fmla="*/ 4429125 h 4496940"/>
              <a:gd name="connsiteX60" fmla="*/ 1935502 w 4519987"/>
              <a:gd name="connsiteY60" fmla="*/ 4400550 h 4496940"/>
              <a:gd name="connsiteX61" fmla="*/ 1821202 w 4519987"/>
              <a:gd name="connsiteY61" fmla="*/ 4371975 h 4496940"/>
              <a:gd name="connsiteX62" fmla="*/ 1754527 w 4519987"/>
              <a:gd name="connsiteY62" fmla="*/ 4352925 h 4496940"/>
              <a:gd name="connsiteX63" fmla="*/ 1687852 w 4519987"/>
              <a:gd name="connsiteY63" fmla="*/ 4343400 h 4496940"/>
              <a:gd name="connsiteX64" fmla="*/ 1573552 w 4519987"/>
              <a:gd name="connsiteY64" fmla="*/ 4305300 h 4496940"/>
              <a:gd name="connsiteX65" fmla="*/ 1402102 w 4519987"/>
              <a:gd name="connsiteY65" fmla="*/ 4276725 h 4496940"/>
              <a:gd name="connsiteX66" fmla="*/ 1287802 w 4519987"/>
              <a:gd name="connsiteY66" fmla="*/ 4229100 h 4496940"/>
              <a:gd name="connsiteX67" fmla="*/ 1221127 w 4519987"/>
              <a:gd name="connsiteY67" fmla="*/ 4200525 h 4496940"/>
              <a:gd name="connsiteX68" fmla="*/ 1144927 w 4519987"/>
              <a:gd name="connsiteY68" fmla="*/ 4171950 h 4496940"/>
              <a:gd name="connsiteX69" fmla="*/ 1087777 w 4519987"/>
              <a:gd name="connsiteY69" fmla="*/ 4143375 h 4496940"/>
              <a:gd name="connsiteX70" fmla="*/ 1030627 w 4519987"/>
              <a:gd name="connsiteY70" fmla="*/ 4124325 h 4496940"/>
              <a:gd name="connsiteX71" fmla="*/ 925852 w 4519987"/>
              <a:gd name="connsiteY71" fmla="*/ 4067175 h 4496940"/>
              <a:gd name="connsiteX72" fmla="*/ 830602 w 4519987"/>
              <a:gd name="connsiteY72" fmla="*/ 3981450 h 4496940"/>
              <a:gd name="connsiteX73" fmla="*/ 763927 w 4519987"/>
              <a:gd name="connsiteY73" fmla="*/ 3914775 h 4496940"/>
              <a:gd name="connsiteX74" fmla="*/ 725827 w 4519987"/>
              <a:gd name="connsiteY74" fmla="*/ 3876675 h 4496940"/>
              <a:gd name="connsiteX75" fmla="*/ 697252 w 4519987"/>
              <a:gd name="connsiteY75" fmla="*/ 3838575 h 4496940"/>
              <a:gd name="connsiteX76" fmla="*/ 640102 w 4519987"/>
              <a:gd name="connsiteY76" fmla="*/ 3781425 h 4496940"/>
              <a:gd name="connsiteX77" fmla="*/ 611527 w 4519987"/>
              <a:gd name="connsiteY77" fmla="*/ 3733800 h 4496940"/>
              <a:gd name="connsiteX78" fmla="*/ 554377 w 4519987"/>
              <a:gd name="connsiteY78" fmla="*/ 3657600 h 4496940"/>
              <a:gd name="connsiteX79" fmla="*/ 525802 w 4519987"/>
              <a:gd name="connsiteY79" fmla="*/ 3609975 h 4496940"/>
              <a:gd name="connsiteX80" fmla="*/ 497227 w 4519987"/>
              <a:gd name="connsiteY80" fmla="*/ 3552825 h 4496940"/>
              <a:gd name="connsiteX81" fmla="*/ 440077 w 4519987"/>
              <a:gd name="connsiteY81" fmla="*/ 3495675 h 4496940"/>
              <a:gd name="connsiteX82" fmla="*/ 411502 w 4519987"/>
              <a:gd name="connsiteY82" fmla="*/ 3448050 h 4496940"/>
              <a:gd name="connsiteX83" fmla="*/ 278152 w 4519987"/>
              <a:gd name="connsiteY83" fmla="*/ 3257550 h 4496940"/>
              <a:gd name="connsiteX84" fmla="*/ 249577 w 4519987"/>
              <a:gd name="connsiteY84" fmla="*/ 3200400 h 4496940"/>
              <a:gd name="connsiteX85" fmla="*/ 240052 w 4519987"/>
              <a:gd name="connsiteY85" fmla="*/ 3162300 h 4496940"/>
              <a:gd name="connsiteX86" fmla="*/ 221002 w 4519987"/>
              <a:gd name="connsiteY86" fmla="*/ 3105150 h 4496940"/>
              <a:gd name="connsiteX87" fmla="*/ 173377 w 4519987"/>
              <a:gd name="connsiteY87" fmla="*/ 3019425 h 4496940"/>
              <a:gd name="connsiteX88" fmla="*/ 144802 w 4519987"/>
              <a:gd name="connsiteY88" fmla="*/ 2924175 h 4496940"/>
              <a:gd name="connsiteX89" fmla="*/ 68602 w 4519987"/>
              <a:gd name="connsiteY89" fmla="*/ 2724150 h 4496940"/>
              <a:gd name="connsiteX90" fmla="*/ 49552 w 4519987"/>
              <a:gd name="connsiteY90" fmla="*/ 2638425 h 4496940"/>
              <a:gd name="connsiteX91" fmla="*/ 40027 w 4519987"/>
              <a:gd name="connsiteY91" fmla="*/ 2562225 h 4496940"/>
              <a:gd name="connsiteX92" fmla="*/ 30502 w 4519987"/>
              <a:gd name="connsiteY92" fmla="*/ 2514600 h 4496940"/>
              <a:gd name="connsiteX93" fmla="*/ 11452 w 4519987"/>
              <a:gd name="connsiteY93" fmla="*/ 2400300 h 4496940"/>
              <a:gd name="connsiteX94" fmla="*/ 20977 w 4519987"/>
              <a:gd name="connsiteY94" fmla="*/ 1905000 h 4496940"/>
              <a:gd name="connsiteX95" fmla="*/ 30502 w 4519987"/>
              <a:gd name="connsiteY95" fmla="*/ 1838325 h 4496940"/>
              <a:gd name="connsiteX96" fmla="*/ 49552 w 4519987"/>
              <a:gd name="connsiteY96" fmla="*/ 1781175 h 4496940"/>
              <a:gd name="connsiteX97" fmla="*/ 59077 w 4519987"/>
              <a:gd name="connsiteY97" fmla="*/ 1743075 h 4496940"/>
              <a:gd name="connsiteX98" fmla="*/ 78127 w 4519987"/>
              <a:gd name="connsiteY98" fmla="*/ 1685925 h 4496940"/>
              <a:gd name="connsiteX99" fmla="*/ 87652 w 4519987"/>
              <a:gd name="connsiteY99" fmla="*/ 1638300 h 4496940"/>
              <a:gd name="connsiteX100" fmla="*/ 106702 w 4519987"/>
              <a:gd name="connsiteY100" fmla="*/ 1590675 h 4496940"/>
              <a:gd name="connsiteX101" fmla="*/ 135277 w 4519987"/>
              <a:gd name="connsiteY101" fmla="*/ 1504950 h 4496940"/>
              <a:gd name="connsiteX102" fmla="*/ 154327 w 4519987"/>
              <a:gd name="connsiteY102" fmla="*/ 1419225 h 4496940"/>
              <a:gd name="connsiteX103" fmla="*/ 230527 w 4519987"/>
              <a:gd name="connsiteY103" fmla="*/ 1276350 h 4496940"/>
              <a:gd name="connsiteX104" fmla="*/ 240052 w 4519987"/>
              <a:gd name="connsiteY104" fmla="*/ 1247775 h 4496940"/>
              <a:gd name="connsiteX105" fmla="*/ 268627 w 4519987"/>
              <a:gd name="connsiteY105" fmla="*/ 1200150 h 4496940"/>
              <a:gd name="connsiteX106" fmla="*/ 287677 w 4519987"/>
              <a:gd name="connsiteY106" fmla="*/ 1152525 h 4496940"/>
              <a:gd name="connsiteX107" fmla="*/ 316252 w 4519987"/>
              <a:gd name="connsiteY107" fmla="*/ 1114425 h 4496940"/>
              <a:gd name="connsiteX108" fmla="*/ 363877 w 4519987"/>
              <a:gd name="connsiteY108" fmla="*/ 1038225 h 4496940"/>
              <a:gd name="connsiteX109" fmla="*/ 382927 w 4519987"/>
              <a:gd name="connsiteY109" fmla="*/ 1009650 h 4496940"/>
              <a:gd name="connsiteX110" fmla="*/ 440077 w 4519987"/>
              <a:gd name="connsiteY110" fmla="*/ 904875 h 4496940"/>
              <a:gd name="connsiteX111" fmla="*/ 478177 w 4519987"/>
              <a:gd name="connsiteY111" fmla="*/ 857250 h 4496940"/>
              <a:gd name="connsiteX112" fmla="*/ 497227 w 4519987"/>
              <a:gd name="connsiteY112" fmla="*/ 828675 h 4496940"/>
              <a:gd name="connsiteX113" fmla="*/ 535327 w 4519987"/>
              <a:gd name="connsiteY113" fmla="*/ 800100 h 4496940"/>
              <a:gd name="connsiteX114" fmla="*/ 602002 w 4519987"/>
              <a:gd name="connsiteY114" fmla="*/ 733425 h 4496940"/>
              <a:gd name="connsiteX115" fmla="*/ 668677 w 4519987"/>
              <a:gd name="connsiteY115" fmla="*/ 676275 h 4496940"/>
              <a:gd name="connsiteX116" fmla="*/ 697252 w 4519987"/>
              <a:gd name="connsiteY116" fmla="*/ 657225 h 4496940"/>
              <a:gd name="connsiteX117" fmla="*/ 840127 w 4519987"/>
              <a:gd name="connsiteY117" fmla="*/ 533400 h 4496940"/>
              <a:gd name="connsiteX118" fmla="*/ 887752 w 4519987"/>
              <a:gd name="connsiteY118" fmla="*/ 504825 h 4496940"/>
              <a:gd name="connsiteX119" fmla="*/ 1167152 w 4519987"/>
              <a:gd name="connsiteY119" fmla="*/ 311150 h 4496940"/>
              <a:gd name="connsiteX120" fmla="*/ 1268752 w 4519987"/>
              <a:gd name="connsiteY120" fmla="*/ 285750 h 4496940"/>
              <a:gd name="connsiteX121" fmla="*/ 1411627 w 4519987"/>
              <a:gd name="connsiteY121" fmla="*/ 190500 h 4496940"/>
              <a:gd name="connsiteX122" fmla="*/ 1449727 w 4519987"/>
              <a:gd name="connsiteY122" fmla="*/ 161925 h 4496940"/>
              <a:gd name="connsiteX123" fmla="*/ 1525927 w 4519987"/>
              <a:gd name="connsiteY123" fmla="*/ 152400 h 4496940"/>
              <a:gd name="connsiteX124" fmla="*/ 1583077 w 4519987"/>
              <a:gd name="connsiteY124" fmla="*/ 142875 h 4496940"/>
              <a:gd name="connsiteX125" fmla="*/ 1716427 w 4519987"/>
              <a:gd name="connsiteY125" fmla="*/ 123825 h 4496940"/>
              <a:gd name="connsiteX126" fmla="*/ 1811677 w 4519987"/>
              <a:gd name="connsiteY126" fmla="*/ 114300 h 4496940"/>
              <a:gd name="connsiteX127" fmla="*/ 1859302 w 4519987"/>
              <a:gd name="connsiteY127" fmla="*/ 104775 h 4496940"/>
              <a:gd name="connsiteX128" fmla="*/ 1916452 w 4519987"/>
              <a:gd name="connsiteY128" fmla="*/ 95250 h 4496940"/>
              <a:gd name="connsiteX129" fmla="*/ 2030752 w 4519987"/>
              <a:gd name="connsiteY129" fmla="*/ 66675 h 4496940"/>
              <a:gd name="connsiteX130" fmla="*/ 2097427 w 4519987"/>
              <a:gd name="connsiteY130" fmla="*/ 47625 h 4496940"/>
              <a:gd name="connsiteX131" fmla="*/ 2164102 w 4519987"/>
              <a:gd name="connsiteY131" fmla="*/ 38100 h 4496940"/>
              <a:gd name="connsiteX132" fmla="*/ 2392702 w 4519987"/>
              <a:gd name="connsiteY13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659527 w 4519987"/>
              <a:gd name="connsiteY38" fmla="*/ 3971925 h 4496940"/>
              <a:gd name="connsiteX39" fmla="*/ 3630952 w 4519987"/>
              <a:gd name="connsiteY39" fmla="*/ 4010025 h 4496940"/>
              <a:gd name="connsiteX40" fmla="*/ 3621427 w 4519987"/>
              <a:gd name="connsiteY40" fmla="*/ 4038600 h 4496940"/>
              <a:gd name="connsiteX41" fmla="*/ 3554752 w 4519987"/>
              <a:gd name="connsiteY41" fmla="*/ 4095750 h 4496940"/>
              <a:gd name="connsiteX42" fmla="*/ 3516652 w 4519987"/>
              <a:gd name="connsiteY42" fmla="*/ 4114800 h 4496940"/>
              <a:gd name="connsiteX43" fmla="*/ 3497602 w 4519987"/>
              <a:gd name="connsiteY43" fmla="*/ 4143375 h 4496940"/>
              <a:gd name="connsiteX44" fmla="*/ 3383302 w 4519987"/>
              <a:gd name="connsiteY44" fmla="*/ 4210050 h 4496940"/>
              <a:gd name="connsiteX45" fmla="*/ 3335677 w 4519987"/>
              <a:gd name="connsiteY45" fmla="*/ 4238625 h 4496940"/>
              <a:gd name="connsiteX46" fmla="*/ 3288052 w 4519987"/>
              <a:gd name="connsiteY46" fmla="*/ 4248150 h 4496940"/>
              <a:gd name="connsiteX47" fmla="*/ 3240427 w 4519987"/>
              <a:gd name="connsiteY47" fmla="*/ 4267200 h 4496940"/>
              <a:gd name="connsiteX48" fmla="*/ 3068977 w 4519987"/>
              <a:gd name="connsiteY48" fmla="*/ 4286250 h 4496940"/>
              <a:gd name="connsiteX49" fmla="*/ 2935627 w 4519987"/>
              <a:gd name="connsiteY49" fmla="*/ 4333875 h 4496940"/>
              <a:gd name="connsiteX50" fmla="*/ 2811802 w 4519987"/>
              <a:gd name="connsiteY50" fmla="*/ 4371975 h 4496940"/>
              <a:gd name="connsiteX51" fmla="*/ 2745127 w 4519987"/>
              <a:gd name="connsiteY51" fmla="*/ 4410075 h 4496940"/>
              <a:gd name="connsiteX52" fmla="*/ 2697502 w 4519987"/>
              <a:gd name="connsiteY52" fmla="*/ 4429125 h 4496940"/>
              <a:gd name="connsiteX53" fmla="*/ 2640352 w 4519987"/>
              <a:gd name="connsiteY53" fmla="*/ 4457700 h 4496940"/>
              <a:gd name="connsiteX54" fmla="*/ 2583202 w 4519987"/>
              <a:gd name="connsiteY54" fmla="*/ 4467225 h 4496940"/>
              <a:gd name="connsiteX55" fmla="*/ 2545102 w 4519987"/>
              <a:gd name="connsiteY55" fmla="*/ 4486275 h 4496940"/>
              <a:gd name="connsiteX56" fmla="*/ 2306977 w 4519987"/>
              <a:gd name="connsiteY56" fmla="*/ 4476750 h 4496940"/>
              <a:gd name="connsiteX57" fmla="*/ 2202202 w 4519987"/>
              <a:gd name="connsiteY57" fmla="*/ 4457700 h 4496940"/>
              <a:gd name="connsiteX58" fmla="*/ 2126002 w 4519987"/>
              <a:gd name="connsiteY58" fmla="*/ 4429125 h 4496940"/>
              <a:gd name="connsiteX59" fmla="*/ 1935502 w 4519987"/>
              <a:gd name="connsiteY59" fmla="*/ 4400550 h 4496940"/>
              <a:gd name="connsiteX60" fmla="*/ 1821202 w 4519987"/>
              <a:gd name="connsiteY60" fmla="*/ 4371975 h 4496940"/>
              <a:gd name="connsiteX61" fmla="*/ 1754527 w 4519987"/>
              <a:gd name="connsiteY61" fmla="*/ 4352925 h 4496940"/>
              <a:gd name="connsiteX62" fmla="*/ 1687852 w 4519987"/>
              <a:gd name="connsiteY62" fmla="*/ 4343400 h 4496940"/>
              <a:gd name="connsiteX63" fmla="*/ 1573552 w 4519987"/>
              <a:gd name="connsiteY63" fmla="*/ 4305300 h 4496940"/>
              <a:gd name="connsiteX64" fmla="*/ 1402102 w 4519987"/>
              <a:gd name="connsiteY64" fmla="*/ 4276725 h 4496940"/>
              <a:gd name="connsiteX65" fmla="*/ 1287802 w 4519987"/>
              <a:gd name="connsiteY65" fmla="*/ 4229100 h 4496940"/>
              <a:gd name="connsiteX66" fmla="*/ 1221127 w 4519987"/>
              <a:gd name="connsiteY66" fmla="*/ 4200525 h 4496940"/>
              <a:gd name="connsiteX67" fmla="*/ 1144927 w 4519987"/>
              <a:gd name="connsiteY67" fmla="*/ 4171950 h 4496940"/>
              <a:gd name="connsiteX68" fmla="*/ 1087777 w 4519987"/>
              <a:gd name="connsiteY68" fmla="*/ 4143375 h 4496940"/>
              <a:gd name="connsiteX69" fmla="*/ 1030627 w 4519987"/>
              <a:gd name="connsiteY69" fmla="*/ 4124325 h 4496940"/>
              <a:gd name="connsiteX70" fmla="*/ 925852 w 4519987"/>
              <a:gd name="connsiteY70" fmla="*/ 4067175 h 4496940"/>
              <a:gd name="connsiteX71" fmla="*/ 830602 w 4519987"/>
              <a:gd name="connsiteY71" fmla="*/ 3981450 h 4496940"/>
              <a:gd name="connsiteX72" fmla="*/ 763927 w 4519987"/>
              <a:gd name="connsiteY72" fmla="*/ 3914775 h 4496940"/>
              <a:gd name="connsiteX73" fmla="*/ 725827 w 4519987"/>
              <a:gd name="connsiteY73" fmla="*/ 3876675 h 4496940"/>
              <a:gd name="connsiteX74" fmla="*/ 697252 w 4519987"/>
              <a:gd name="connsiteY74" fmla="*/ 3838575 h 4496940"/>
              <a:gd name="connsiteX75" fmla="*/ 640102 w 4519987"/>
              <a:gd name="connsiteY75" fmla="*/ 3781425 h 4496940"/>
              <a:gd name="connsiteX76" fmla="*/ 611527 w 4519987"/>
              <a:gd name="connsiteY76" fmla="*/ 3733800 h 4496940"/>
              <a:gd name="connsiteX77" fmla="*/ 554377 w 4519987"/>
              <a:gd name="connsiteY77" fmla="*/ 3657600 h 4496940"/>
              <a:gd name="connsiteX78" fmla="*/ 525802 w 4519987"/>
              <a:gd name="connsiteY78" fmla="*/ 3609975 h 4496940"/>
              <a:gd name="connsiteX79" fmla="*/ 497227 w 4519987"/>
              <a:gd name="connsiteY79" fmla="*/ 3552825 h 4496940"/>
              <a:gd name="connsiteX80" fmla="*/ 440077 w 4519987"/>
              <a:gd name="connsiteY80" fmla="*/ 3495675 h 4496940"/>
              <a:gd name="connsiteX81" fmla="*/ 411502 w 4519987"/>
              <a:gd name="connsiteY81" fmla="*/ 3448050 h 4496940"/>
              <a:gd name="connsiteX82" fmla="*/ 278152 w 4519987"/>
              <a:gd name="connsiteY82" fmla="*/ 3257550 h 4496940"/>
              <a:gd name="connsiteX83" fmla="*/ 249577 w 4519987"/>
              <a:gd name="connsiteY83" fmla="*/ 3200400 h 4496940"/>
              <a:gd name="connsiteX84" fmla="*/ 240052 w 4519987"/>
              <a:gd name="connsiteY84" fmla="*/ 3162300 h 4496940"/>
              <a:gd name="connsiteX85" fmla="*/ 221002 w 4519987"/>
              <a:gd name="connsiteY85" fmla="*/ 3105150 h 4496940"/>
              <a:gd name="connsiteX86" fmla="*/ 173377 w 4519987"/>
              <a:gd name="connsiteY86" fmla="*/ 3019425 h 4496940"/>
              <a:gd name="connsiteX87" fmla="*/ 144802 w 4519987"/>
              <a:gd name="connsiteY87" fmla="*/ 2924175 h 4496940"/>
              <a:gd name="connsiteX88" fmla="*/ 68602 w 4519987"/>
              <a:gd name="connsiteY88" fmla="*/ 2724150 h 4496940"/>
              <a:gd name="connsiteX89" fmla="*/ 49552 w 4519987"/>
              <a:gd name="connsiteY89" fmla="*/ 2638425 h 4496940"/>
              <a:gd name="connsiteX90" fmla="*/ 40027 w 4519987"/>
              <a:gd name="connsiteY90" fmla="*/ 2562225 h 4496940"/>
              <a:gd name="connsiteX91" fmla="*/ 30502 w 4519987"/>
              <a:gd name="connsiteY91" fmla="*/ 2514600 h 4496940"/>
              <a:gd name="connsiteX92" fmla="*/ 11452 w 4519987"/>
              <a:gd name="connsiteY92" fmla="*/ 2400300 h 4496940"/>
              <a:gd name="connsiteX93" fmla="*/ 20977 w 4519987"/>
              <a:gd name="connsiteY93" fmla="*/ 1905000 h 4496940"/>
              <a:gd name="connsiteX94" fmla="*/ 30502 w 4519987"/>
              <a:gd name="connsiteY94" fmla="*/ 1838325 h 4496940"/>
              <a:gd name="connsiteX95" fmla="*/ 49552 w 4519987"/>
              <a:gd name="connsiteY95" fmla="*/ 1781175 h 4496940"/>
              <a:gd name="connsiteX96" fmla="*/ 59077 w 4519987"/>
              <a:gd name="connsiteY96" fmla="*/ 1743075 h 4496940"/>
              <a:gd name="connsiteX97" fmla="*/ 78127 w 4519987"/>
              <a:gd name="connsiteY97" fmla="*/ 1685925 h 4496940"/>
              <a:gd name="connsiteX98" fmla="*/ 87652 w 4519987"/>
              <a:gd name="connsiteY98" fmla="*/ 1638300 h 4496940"/>
              <a:gd name="connsiteX99" fmla="*/ 106702 w 4519987"/>
              <a:gd name="connsiteY99" fmla="*/ 1590675 h 4496940"/>
              <a:gd name="connsiteX100" fmla="*/ 135277 w 4519987"/>
              <a:gd name="connsiteY100" fmla="*/ 1504950 h 4496940"/>
              <a:gd name="connsiteX101" fmla="*/ 154327 w 4519987"/>
              <a:gd name="connsiteY101" fmla="*/ 1419225 h 4496940"/>
              <a:gd name="connsiteX102" fmla="*/ 230527 w 4519987"/>
              <a:gd name="connsiteY102" fmla="*/ 1276350 h 4496940"/>
              <a:gd name="connsiteX103" fmla="*/ 240052 w 4519987"/>
              <a:gd name="connsiteY103" fmla="*/ 1247775 h 4496940"/>
              <a:gd name="connsiteX104" fmla="*/ 268627 w 4519987"/>
              <a:gd name="connsiteY104" fmla="*/ 1200150 h 4496940"/>
              <a:gd name="connsiteX105" fmla="*/ 287677 w 4519987"/>
              <a:gd name="connsiteY105" fmla="*/ 1152525 h 4496940"/>
              <a:gd name="connsiteX106" fmla="*/ 316252 w 4519987"/>
              <a:gd name="connsiteY106" fmla="*/ 1114425 h 4496940"/>
              <a:gd name="connsiteX107" fmla="*/ 363877 w 4519987"/>
              <a:gd name="connsiteY107" fmla="*/ 1038225 h 4496940"/>
              <a:gd name="connsiteX108" fmla="*/ 382927 w 4519987"/>
              <a:gd name="connsiteY108" fmla="*/ 1009650 h 4496940"/>
              <a:gd name="connsiteX109" fmla="*/ 440077 w 4519987"/>
              <a:gd name="connsiteY109" fmla="*/ 904875 h 4496940"/>
              <a:gd name="connsiteX110" fmla="*/ 478177 w 4519987"/>
              <a:gd name="connsiteY110" fmla="*/ 857250 h 4496940"/>
              <a:gd name="connsiteX111" fmla="*/ 497227 w 4519987"/>
              <a:gd name="connsiteY111" fmla="*/ 828675 h 4496940"/>
              <a:gd name="connsiteX112" fmla="*/ 535327 w 4519987"/>
              <a:gd name="connsiteY112" fmla="*/ 800100 h 4496940"/>
              <a:gd name="connsiteX113" fmla="*/ 602002 w 4519987"/>
              <a:gd name="connsiteY113" fmla="*/ 733425 h 4496940"/>
              <a:gd name="connsiteX114" fmla="*/ 668677 w 4519987"/>
              <a:gd name="connsiteY114" fmla="*/ 676275 h 4496940"/>
              <a:gd name="connsiteX115" fmla="*/ 697252 w 4519987"/>
              <a:gd name="connsiteY115" fmla="*/ 657225 h 4496940"/>
              <a:gd name="connsiteX116" fmla="*/ 840127 w 4519987"/>
              <a:gd name="connsiteY116" fmla="*/ 533400 h 4496940"/>
              <a:gd name="connsiteX117" fmla="*/ 887752 w 4519987"/>
              <a:gd name="connsiteY117" fmla="*/ 504825 h 4496940"/>
              <a:gd name="connsiteX118" fmla="*/ 1167152 w 4519987"/>
              <a:gd name="connsiteY118" fmla="*/ 311150 h 4496940"/>
              <a:gd name="connsiteX119" fmla="*/ 1268752 w 4519987"/>
              <a:gd name="connsiteY119" fmla="*/ 285750 h 4496940"/>
              <a:gd name="connsiteX120" fmla="*/ 1411627 w 4519987"/>
              <a:gd name="connsiteY120" fmla="*/ 190500 h 4496940"/>
              <a:gd name="connsiteX121" fmla="*/ 1449727 w 4519987"/>
              <a:gd name="connsiteY121" fmla="*/ 161925 h 4496940"/>
              <a:gd name="connsiteX122" fmla="*/ 1525927 w 4519987"/>
              <a:gd name="connsiteY122" fmla="*/ 152400 h 4496940"/>
              <a:gd name="connsiteX123" fmla="*/ 1583077 w 4519987"/>
              <a:gd name="connsiteY123" fmla="*/ 142875 h 4496940"/>
              <a:gd name="connsiteX124" fmla="*/ 1716427 w 4519987"/>
              <a:gd name="connsiteY124" fmla="*/ 123825 h 4496940"/>
              <a:gd name="connsiteX125" fmla="*/ 1811677 w 4519987"/>
              <a:gd name="connsiteY125" fmla="*/ 114300 h 4496940"/>
              <a:gd name="connsiteX126" fmla="*/ 1859302 w 4519987"/>
              <a:gd name="connsiteY126" fmla="*/ 104775 h 4496940"/>
              <a:gd name="connsiteX127" fmla="*/ 1916452 w 4519987"/>
              <a:gd name="connsiteY127" fmla="*/ 95250 h 4496940"/>
              <a:gd name="connsiteX128" fmla="*/ 2030752 w 4519987"/>
              <a:gd name="connsiteY128" fmla="*/ 66675 h 4496940"/>
              <a:gd name="connsiteX129" fmla="*/ 2097427 w 4519987"/>
              <a:gd name="connsiteY129" fmla="*/ 47625 h 4496940"/>
              <a:gd name="connsiteX130" fmla="*/ 2164102 w 4519987"/>
              <a:gd name="connsiteY130" fmla="*/ 38100 h 4496940"/>
              <a:gd name="connsiteX131" fmla="*/ 2392702 w 4519987"/>
              <a:gd name="connsiteY13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88152 w 4519987"/>
              <a:gd name="connsiteY33" fmla="*/ 3495675 h 4496940"/>
              <a:gd name="connsiteX34" fmla="*/ 4059577 w 4519987"/>
              <a:gd name="connsiteY34" fmla="*/ 3533775 h 4496940"/>
              <a:gd name="connsiteX35" fmla="*/ 4002427 w 4519987"/>
              <a:gd name="connsiteY35" fmla="*/ 3600450 h 4496940"/>
              <a:gd name="connsiteX36" fmla="*/ 3954802 w 4519987"/>
              <a:gd name="connsiteY36" fmla="*/ 3648075 h 4496940"/>
              <a:gd name="connsiteX37" fmla="*/ 3659527 w 4519987"/>
              <a:gd name="connsiteY37" fmla="*/ 3971925 h 4496940"/>
              <a:gd name="connsiteX38" fmla="*/ 3630952 w 4519987"/>
              <a:gd name="connsiteY38" fmla="*/ 4010025 h 4496940"/>
              <a:gd name="connsiteX39" fmla="*/ 3621427 w 4519987"/>
              <a:gd name="connsiteY39" fmla="*/ 4038600 h 4496940"/>
              <a:gd name="connsiteX40" fmla="*/ 3554752 w 4519987"/>
              <a:gd name="connsiteY40" fmla="*/ 4095750 h 4496940"/>
              <a:gd name="connsiteX41" fmla="*/ 3516652 w 4519987"/>
              <a:gd name="connsiteY41" fmla="*/ 4114800 h 4496940"/>
              <a:gd name="connsiteX42" fmla="*/ 3497602 w 4519987"/>
              <a:gd name="connsiteY42" fmla="*/ 4143375 h 4496940"/>
              <a:gd name="connsiteX43" fmla="*/ 3383302 w 4519987"/>
              <a:gd name="connsiteY43" fmla="*/ 4210050 h 4496940"/>
              <a:gd name="connsiteX44" fmla="*/ 3335677 w 4519987"/>
              <a:gd name="connsiteY44" fmla="*/ 4238625 h 4496940"/>
              <a:gd name="connsiteX45" fmla="*/ 3288052 w 4519987"/>
              <a:gd name="connsiteY45" fmla="*/ 4248150 h 4496940"/>
              <a:gd name="connsiteX46" fmla="*/ 3240427 w 4519987"/>
              <a:gd name="connsiteY46" fmla="*/ 4267200 h 4496940"/>
              <a:gd name="connsiteX47" fmla="*/ 3068977 w 4519987"/>
              <a:gd name="connsiteY47" fmla="*/ 4286250 h 4496940"/>
              <a:gd name="connsiteX48" fmla="*/ 2935627 w 4519987"/>
              <a:gd name="connsiteY48" fmla="*/ 4333875 h 4496940"/>
              <a:gd name="connsiteX49" fmla="*/ 2811802 w 4519987"/>
              <a:gd name="connsiteY49" fmla="*/ 4371975 h 4496940"/>
              <a:gd name="connsiteX50" fmla="*/ 2745127 w 4519987"/>
              <a:gd name="connsiteY50" fmla="*/ 4410075 h 4496940"/>
              <a:gd name="connsiteX51" fmla="*/ 2697502 w 4519987"/>
              <a:gd name="connsiteY51" fmla="*/ 4429125 h 4496940"/>
              <a:gd name="connsiteX52" fmla="*/ 2640352 w 4519987"/>
              <a:gd name="connsiteY52" fmla="*/ 4457700 h 4496940"/>
              <a:gd name="connsiteX53" fmla="*/ 2583202 w 4519987"/>
              <a:gd name="connsiteY53" fmla="*/ 4467225 h 4496940"/>
              <a:gd name="connsiteX54" fmla="*/ 2545102 w 4519987"/>
              <a:gd name="connsiteY54" fmla="*/ 4486275 h 4496940"/>
              <a:gd name="connsiteX55" fmla="*/ 2306977 w 4519987"/>
              <a:gd name="connsiteY55" fmla="*/ 4476750 h 4496940"/>
              <a:gd name="connsiteX56" fmla="*/ 2202202 w 4519987"/>
              <a:gd name="connsiteY56" fmla="*/ 4457700 h 4496940"/>
              <a:gd name="connsiteX57" fmla="*/ 2126002 w 4519987"/>
              <a:gd name="connsiteY57" fmla="*/ 4429125 h 4496940"/>
              <a:gd name="connsiteX58" fmla="*/ 1935502 w 4519987"/>
              <a:gd name="connsiteY58" fmla="*/ 4400550 h 4496940"/>
              <a:gd name="connsiteX59" fmla="*/ 1821202 w 4519987"/>
              <a:gd name="connsiteY59" fmla="*/ 4371975 h 4496940"/>
              <a:gd name="connsiteX60" fmla="*/ 1754527 w 4519987"/>
              <a:gd name="connsiteY60" fmla="*/ 4352925 h 4496940"/>
              <a:gd name="connsiteX61" fmla="*/ 1687852 w 4519987"/>
              <a:gd name="connsiteY61" fmla="*/ 4343400 h 4496940"/>
              <a:gd name="connsiteX62" fmla="*/ 1573552 w 4519987"/>
              <a:gd name="connsiteY62" fmla="*/ 4305300 h 4496940"/>
              <a:gd name="connsiteX63" fmla="*/ 1402102 w 4519987"/>
              <a:gd name="connsiteY63" fmla="*/ 4276725 h 4496940"/>
              <a:gd name="connsiteX64" fmla="*/ 1287802 w 4519987"/>
              <a:gd name="connsiteY64" fmla="*/ 4229100 h 4496940"/>
              <a:gd name="connsiteX65" fmla="*/ 1221127 w 4519987"/>
              <a:gd name="connsiteY65" fmla="*/ 4200525 h 4496940"/>
              <a:gd name="connsiteX66" fmla="*/ 1144927 w 4519987"/>
              <a:gd name="connsiteY66" fmla="*/ 4171950 h 4496940"/>
              <a:gd name="connsiteX67" fmla="*/ 1087777 w 4519987"/>
              <a:gd name="connsiteY67" fmla="*/ 4143375 h 4496940"/>
              <a:gd name="connsiteX68" fmla="*/ 1030627 w 4519987"/>
              <a:gd name="connsiteY68" fmla="*/ 4124325 h 4496940"/>
              <a:gd name="connsiteX69" fmla="*/ 925852 w 4519987"/>
              <a:gd name="connsiteY69" fmla="*/ 4067175 h 4496940"/>
              <a:gd name="connsiteX70" fmla="*/ 830602 w 4519987"/>
              <a:gd name="connsiteY70" fmla="*/ 3981450 h 4496940"/>
              <a:gd name="connsiteX71" fmla="*/ 763927 w 4519987"/>
              <a:gd name="connsiteY71" fmla="*/ 3914775 h 4496940"/>
              <a:gd name="connsiteX72" fmla="*/ 725827 w 4519987"/>
              <a:gd name="connsiteY72" fmla="*/ 3876675 h 4496940"/>
              <a:gd name="connsiteX73" fmla="*/ 697252 w 4519987"/>
              <a:gd name="connsiteY73" fmla="*/ 3838575 h 4496940"/>
              <a:gd name="connsiteX74" fmla="*/ 640102 w 4519987"/>
              <a:gd name="connsiteY74" fmla="*/ 3781425 h 4496940"/>
              <a:gd name="connsiteX75" fmla="*/ 611527 w 4519987"/>
              <a:gd name="connsiteY75" fmla="*/ 3733800 h 4496940"/>
              <a:gd name="connsiteX76" fmla="*/ 554377 w 4519987"/>
              <a:gd name="connsiteY76" fmla="*/ 3657600 h 4496940"/>
              <a:gd name="connsiteX77" fmla="*/ 525802 w 4519987"/>
              <a:gd name="connsiteY77" fmla="*/ 3609975 h 4496940"/>
              <a:gd name="connsiteX78" fmla="*/ 497227 w 4519987"/>
              <a:gd name="connsiteY78" fmla="*/ 3552825 h 4496940"/>
              <a:gd name="connsiteX79" fmla="*/ 440077 w 4519987"/>
              <a:gd name="connsiteY79" fmla="*/ 3495675 h 4496940"/>
              <a:gd name="connsiteX80" fmla="*/ 411502 w 4519987"/>
              <a:gd name="connsiteY80" fmla="*/ 3448050 h 4496940"/>
              <a:gd name="connsiteX81" fmla="*/ 278152 w 4519987"/>
              <a:gd name="connsiteY81" fmla="*/ 3257550 h 4496940"/>
              <a:gd name="connsiteX82" fmla="*/ 249577 w 4519987"/>
              <a:gd name="connsiteY82" fmla="*/ 3200400 h 4496940"/>
              <a:gd name="connsiteX83" fmla="*/ 240052 w 4519987"/>
              <a:gd name="connsiteY83" fmla="*/ 3162300 h 4496940"/>
              <a:gd name="connsiteX84" fmla="*/ 221002 w 4519987"/>
              <a:gd name="connsiteY84" fmla="*/ 3105150 h 4496940"/>
              <a:gd name="connsiteX85" fmla="*/ 173377 w 4519987"/>
              <a:gd name="connsiteY85" fmla="*/ 3019425 h 4496940"/>
              <a:gd name="connsiteX86" fmla="*/ 144802 w 4519987"/>
              <a:gd name="connsiteY86" fmla="*/ 2924175 h 4496940"/>
              <a:gd name="connsiteX87" fmla="*/ 68602 w 4519987"/>
              <a:gd name="connsiteY87" fmla="*/ 2724150 h 4496940"/>
              <a:gd name="connsiteX88" fmla="*/ 49552 w 4519987"/>
              <a:gd name="connsiteY88" fmla="*/ 2638425 h 4496940"/>
              <a:gd name="connsiteX89" fmla="*/ 40027 w 4519987"/>
              <a:gd name="connsiteY89" fmla="*/ 2562225 h 4496940"/>
              <a:gd name="connsiteX90" fmla="*/ 30502 w 4519987"/>
              <a:gd name="connsiteY90" fmla="*/ 2514600 h 4496940"/>
              <a:gd name="connsiteX91" fmla="*/ 11452 w 4519987"/>
              <a:gd name="connsiteY91" fmla="*/ 2400300 h 4496940"/>
              <a:gd name="connsiteX92" fmla="*/ 20977 w 4519987"/>
              <a:gd name="connsiteY92" fmla="*/ 1905000 h 4496940"/>
              <a:gd name="connsiteX93" fmla="*/ 30502 w 4519987"/>
              <a:gd name="connsiteY93" fmla="*/ 1838325 h 4496940"/>
              <a:gd name="connsiteX94" fmla="*/ 49552 w 4519987"/>
              <a:gd name="connsiteY94" fmla="*/ 1781175 h 4496940"/>
              <a:gd name="connsiteX95" fmla="*/ 59077 w 4519987"/>
              <a:gd name="connsiteY95" fmla="*/ 1743075 h 4496940"/>
              <a:gd name="connsiteX96" fmla="*/ 78127 w 4519987"/>
              <a:gd name="connsiteY96" fmla="*/ 1685925 h 4496940"/>
              <a:gd name="connsiteX97" fmla="*/ 87652 w 4519987"/>
              <a:gd name="connsiteY97" fmla="*/ 1638300 h 4496940"/>
              <a:gd name="connsiteX98" fmla="*/ 106702 w 4519987"/>
              <a:gd name="connsiteY98" fmla="*/ 1590675 h 4496940"/>
              <a:gd name="connsiteX99" fmla="*/ 135277 w 4519987"/>
              <a:gd name="connsiteY99" fmla="*/ 1504950 h 4496940"/>
              <a:gd name="connsiteX100" fmla="*/ 154327 w 4519987"/>
              <a:gd name="connsiteY100" fmla="*/ 1419225 h 4496940"/>
              <a:gd name="connsiteX101" fmla="*/ 230527 w 4519987"/>
              <a:gd name="connsiteY101" fmla="*/ 1276350 h 4496940"/>
              <a:gd name="connsiteX102" fmla="*/ 240052 w 4519987"/>
              <a:gd name="connsiteY102" fmla="*/ 1247775 h 4496940"/>
              <a:gd name="connsiteX103" fmla="*/ 268627 w 4519987"/>
              <a:gd name="connsiteY103" fmla="*/ 1200150 h 4496940"/>
              <a:gd name="connsiteX104" fmla="*/ 287677 w 4519987"/>
              <a:gd name="connsiteY104" fmla="*/ 1152525 h 4496940"/>
              <a:gd name="connsiteX105" fmla="*/ 316252 w 4519987"/>
              <a:gd name="connsiteY105" fmla="*/ 1114425 h 4496940"/>
              <a:gd name="connsiteX106" fmla="*/ 363877 w 4519987"/>
              <a:gd name="connsiteY106" fmla="*/ 1038225 h 4496940"/>
              <a:gd name="connsiteX107" fmla="*/ 382927 w 4519987"/>
              <a:gd name="connsiteY107" fmla="*/ 1009650 h 4496940"/>
              <a:gd name="connsiteX108" fmla="*/ 440077 w 4519987"/>
              <a:gd name="connsiteY108" fmla="*/ 904875 h 4496940"/>
              <a:gd name="connsiteX109" fmla="*/ 478177 w 4519987"/>
              <a:gd name="connsiteY109" fmla="*/ 857250 h 4496940"/>
              <a:gd name="connsiteX110" fmla="*/ 497227 w 4519987"/>
              <a:gd name="connsiteY110" fmla="*/ 828675 h 4496940"/>
              <a:gd name="connsiteX111" fmla="*/ 535327 w 4519987"/>
              <a:gd name="connsiteY111" fmla="*/ 800100 h 4496940"/>
              <a:gd name="connsiteX112" fmla="*/ 602002 w 4519987"/>
              <a:gd name="connsiteY112" fmla="*/ 733425 h 4496940"/>
              <a:gd name="connsiteX113" fmla="*/ 668677 w 4519987"/>
              <a:gd name="connsiteY113" fmla="*/ 676275 h 4496940"/>
              <a:gd name="connsiteX114" fmla="*/ 697252 w 4519987"/>
              <a:gd name="connsiteY114" fmla="*/ 657225 h 4496940"/>
              <a:gd name="connsiteX115" fmla="*/ 840127 w 4519987"/>
              <a:gd name="connsiteY115" fmla="*/ 533400 h 4496940"/>
              <a:gd name="connsiteX116" fmla="*/ 887752 w 4519987"/>
              <a:gd name="connsiteY116" fmla="*/ 504825 h 4496940"/>
              <a:gd name="connsiteX117" fmla="*/ 1167152 w 4519987"/>
              <a:gd name="connsiteY117" fmla="*/ 311150 h 4496940"/>
              <a:gd name="connsiteX118" fmla="*/ 1268752 w 4519987"/>
              <a:gd name="connsiteY118" fmla="*/ 285750 h 4496940"/>
              <a:gd name="connsiteX119" fmla="*/ 1411627 w 4519987"/>
              <a:gd name="connsiteY119" fmla="*/ 190500 h 4496940"/>
              <a:gd name="connsiteX120" fmla="*/ 1449727 w 4519987"/>
              <a:gd name="connsiteY120" fmla="*/ 161925 h 4496940"/>
              <a:gd name="connsiteX121" fmla="*/ 1525927 w 4519987"/>
              <a:gd name="connsiteY121" fmla="*/ 152400 h 4496940"/>
              <a:gd name="connsiteX122" fmla="*/ 1583077 w 4519987"/>
              <a:gd name="connsiteY122" fmla="*/ 142875 h 4496940"/>
              <a:gd name="connsiteX123" fmla="*/ 1716427 w 4519987"/>
              <a:gd name="connsiteY123" fmla="*/ 123825 h 4496940"/>
              <a:gd name="connsiteX124" fmla="*/ 1811677 w 4519987"/>
              <a:gd name="connsiteY124" fmla="*/ 114300 h 4496940"/>
              <a:gd name="connsiteX125" fmla="*/ 1859302 w 4519987"/>
              <a:gd name="connsiteY125" fmla="*/ 104775 h 4496940"/>
              <a:gd name="connsiteX126" fmla="*/ 1916452 w 4519987"/>
              <a:gd name="connsiteY126" fmla="*/ 95250 h 4496940"/>
              <a:gd name="connsiteX127" fmla="*/ 2030752 w 4519987"/>
              <a:gd name="connsiteY127" fmla="*/ 66675 h 4496940"/>
              <a:gd name="connsiteX128" fmla="*/ 2097427 w 4519987"/>
              <a:gd name="connsiteY128" fmla="*/ 47625 h 4496940"/>
              <a:gd name="connsiteX129" fmla="*/ 2164102 w 4519987"/>
              <a:gd name="connsiteY129" fmla="*/ 38100 h 4496940"/>
              <a:gd name="connsiteX130" fmla="*/ 2392702 w 4519987"/>
              <a:gd name="connsiteY13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4002427 w 4519987"/>
              <a:gd name="connsiteY34" fmla="*/ 3600450 h 4496940"/>
              <a:gd name="connsiteX35" fmla="*/ 3954802 w 4519987"/>
              <a:gd name="connsiteY35" fmla="*/ 3648075 h 4496940"/>
              <a:gd name="connsiteX36" fmla="*/ 3659527 w 4519987"/>
              <a:gd name="connsiteY36" fmla="*/ 3971925 h 4496940"/>
              <a:gd name="connsiteX37" fmla="*/ 3630952 w 4519987"/>
              <a:gd name="connsiteY37" fmla="*/ 4010025 h 4496940"/>
              <a:gd name="connsiteX38" fmla="*/ 3621427 w 4519987"/>
              <a:gd name="connsiteY38" fmla="*/ 4038600 h 4496940"/>
              <a:gd name="connsiteX39" fmla="*/ 3554752 w 4519987"/>
              <a:gd name="connsiteY39" fmla="*/ 4095750 h 4496940"/>
              <a:gd name="connsiteX40" fmla="*/ 3516652 w 4519987"/>
              <a:gd name="connsiteY40" fmla="*/ 4114800 h 4496940"/>
              <a:gd name="connsiteX41" fmla="*/ 3497602 w 4519987"/>
              <a:gd name="connsiteY41" fmla="*/ 4143375 h 4496940"/>
              <a:gd name="connsiteX42" fmla="*/ 3383302 w 4519987"/>
              <a:gd name="connsiteY42" fmla="*/ 4210050 h 4496940"/>
              <a:gd name="connsiteX43" fmla="*/ 3335677 w 4519987"/>
              <a:gd name="connsiteY43" fmla="*/ 4238625 h 4496940"/>
              <a:gd name="connsiteX44" fmla="*/ 3288052 w 4519987"/>
              <a:gd name="connsiteY44" fmla="*/ 4248150 h 4496940"/>
              <a:gd name="connsiteX45" fmla="*/ 3240427 w 4519987"/>
              <a:gd name="connsiteY45" fmla="*/ 4267200 h 4496940"/>
              <a:gd name="connsiteX46" fmla="*/ 3068977 w 4519987"/>
              <a:gd name="connsiteY46" fmla="*/ 4286250 h 4496940"/>
              <a:gd name="connsiteX47" fmla="*/ 2935627 w 4519987"/>
              <a:gd name="connsiteY47" fmla="*/ 4333875 h 4496940"/>
              <a:gd name="connsiteX48" fmla="*/ 2811802 w 4519987"/>
              <a:gd name="connsiteY48" fmla="*/ 4371975 h 4496940"/>
              <a:gd name="connsiteX49" fmla="*/ 2745127 w 4519987"/>
              <a:gd name="connsiteY49" fmla="*/ 4410075 h 4496940"/>
              <a:gd name="connsiteX50" fmla="*/ 2697502 w 4519987"/>
              <a:gd name="connsiteY50" fmla="*/ 4429125 h 4496940"/>
              <a:gd name="connsiteX51" fmla="*/ 2640352 w 4519987"/>
              <a:gd name="connsiteY51" fmla="*/ 4457700 h 4496940"/>
              <a:gd name="connsiteX52" fmla="*/ 2583202 w 4519987"/>
              <a:gd name="connsiteY52" fmla="*/ 4467225 h 4496940"/>
              <a:gd name="connsiteX53" fmla="*/ 2545102 w 4519987"/>
              <a:gd name="connsiteY53" fmla="*/ 4486275 h 4496940"/>
              <a:gd name="connsiteX54" fmla="*/ 2306977 w 4519987"/>
              <a:gd name="connsiteY54" fmla="*/ 4476750 h 4496940"/>
              <a:gd name="connsiteX55" fmla="*/ 2202202 w 4519987"/>
              <a:gd name="connsiteY55" fmla="*/ 4457700 h 4496940"/>
              <a:gd name="connsiteX56" fmla="*/ 2126002 w 4519987"/>
              <a:gd name="connsiteY56" fmla="*/ 4429125 h 4496940"/>
              <a:gd name="connsiteX57" fmla="*/ 1935502 w 4519987"/>
              <a:gd name="connsiteY57" fmla="*/ 4400550 h 4496940"/>
              <a:gd name="connsiteX58" fmla="*/ 1821202 w 4519987"/>
              <a:gd name="connsiteY58" fmla="*/ 4371975 h 4496940"/>
              <a:gd name="connsiteX59" fmla="*/ 1754527 w 4519987"/>
              <a:gd name="connsiteY59" fmla="*/ 4352925 h 4496940"/>
              <a:gd name="connsiteX60" fmla="*/ 1687852 w 4519987"/>
              <a:gd name="connsiteY60" fmla="*/ 4343400 h 4496940"/>
              <a:gd name="connsiteX61" fmla="*/ 1573552 w 4519987"/>
              <a:gd name="connsiteY61" fmla="*/ 4305300 h 4496940"/>
              <a:gd name="connsiteX62" fmla="*/ 1402102 w 4519987"/>
              <a:gd name="connsiteY62" fmla="*/ 4276725 h 4496940"/>
              <a:gd name="connsiteX63" fmla="*/ 1287802 w 4519987"/>
              <a:gd name="connsiteY63" fmla="*/ 4229100 h 4496940"/>
              <a:gd name="connsiteX64" fmla="*/ 1221127 w 4519987"/>
              <a:gd name="connsiteY64" fmla="*/ 4200525 h 4496940"/>
              <a:gd name="connsiteX65" fmla="*/ 1144927 w 4519987"/>
              <a:gd name="connsiteY65" fmla="*/ 4171950 h 4496940"/>
              <a:gd name="connsiteX66" fmla="*/ 1087777 w 4519987"/>
              <a:gd name="connsiteY66" fmla="*/ 4143375 h 4496940"/>
              <a:gd name="connsiteX67" fmla="*/ 1030627 w 4519987"/>
              <a:gd name="connsiteY67" fmla="*/ 4124325 h 4496940"/>
              <a:gd name="connsiteX68" fmla="*/ 925852 w 4519987"/>
              <a:gd name="connsiteY68" fmla="*/ 4067175 h 4496940"/>
              <a:gd name="connsiteX69" fmla="*/ 830602 w 4519987"/>
              <a:gd name="connsiteY69" fmla="*/ 3981450 h 4496940"/>
              <a:gd name="connsiteX70" fmla="*/ 763927 w 4519987"/>
              <a:gd name="connsiteY70" fmla="*/ 3914775 h 4496940"/>
              <a:gd name="connsiteX71" fmla="*/ 725827 w 4519987"/>
              <a:gd name="connsiteY71" fmla="*/ 3876675 h 4496940"/>
              <a:gd name="connsiteX72" fmla="*/ 697252 w 4519987"/>
              <a:gd name="connsiteY72" fmla="*/ 3838575 h 4496940"/>
              <a:gd name="connsiteX73" fmla="*/ 640102 w 4519987"/>
              <a:gd name="connsiteY73" fmla="*/ 3781425 h 4496940"/>
              <a:gd name="connsiteX74" fmla="*/ 611527 w 4519987"/>
              <a:gd name="connsiteY74" fmla="*/ 3733800 h 4496940"/>
              <a:gd name="connsiteX75" fmla="*/ 554377 w 4519987"/>
              <a:gd name="connsiteY75" fmla="*/ 3657600 h 4496940"/>
              <a:gd name="connsiteX76" fmla="*/ 525802 w 4519987"/>
              <a:gd name="connsiteY76" fmla="*/ 3609975 h 4496940"/>
              <a:gd name="connsiteX77" fmla="*/ 497227 w 4519987"/>
              <a:gd name="connsiteY77" fmla="*/ 3552825 h 4496940"/>
              <a:gd name="connsiteX78" fmla="*/ 440077 w 4519987"/>
              <a:gd name="connsiteY78" fmla="*/ 3495675 h 4496940"/>
              <a:gd name="connsiteX79" fmla="*/ 411502 w 4519987"/>
              <a:gd name="connsiteY79" fmla="*/ 3448050 h 4496940"/>
              <a:gd name="connsiteX80" fmla="*/ 278152 w 4519987"/>
              <a:gd name="connsiteY80" fmla="*/ 3257550 h 4496940"/>
              <a:gd name="connsiteX81" fmla="*/ 249577 w 4519987"/>
              <a:gd name="connsiteY81" fmla="*/ 3200400 h 4496940"/>
              <a:gd name="connsiteX82" fmla="*/ 240052 w 4519987"/>
              <a:gd name="connsiteY82" fmla="*/ 3162300 h 4496940"/>
              <a:gd name="connsiteX83" fmla="*/ 221002 w 4519987"/>
              <a:gd name="connsiteY83" fmla="*/ 3105150 h 4496940"/>
              <a:gd name="connsiteX84" fmla="*/ 173377 w 4519987"/>
              <a:gd name="connsiteY84" fmla="*/ 3019425 h 4496940"/>
              <a:gd name="connsiteX85" fmla="*/ 144802 w 4519987"/>
              <a:gd name="connsiteY85" fmla="*/ 2924175 h 4496940"/>
              <a:gd name="connsiteX86" fmla="*/ 68602 w 4519987"/>
              <a:gd name="connsiteY86" fmla="*/ 2724150 h 4496940"/>
              <a:gd name="connsiteX87" fmla="*/ 49552 w 4519987"/>
              <a:gd name="connsiteY87" fmla="*/ 2638425 h 4496940"/>
              <a:gd name="connsiteX88" fmla="*/ 40027 w 4519987"/>
              <a:gd name="connsiteY88" fmla="*/ 2562225 h 4496940"/>
              <a:gd name="connsiteX89" fmla="*/ 30502 w 4519987"/>
              <a:gd name="connsiteY89" fmla="*/ 2514600 h 4496940"/>
              <a:gd name="connsiteX90" fmla="*/ 11452 w 4519987"/>
              <a:gd name="connsiteY90" fmla="*/ 2400300 h 4496940"/>
              <a:gd name="connsiteX91" fmla="*/ 20977 w 4519987"/>
              <a:gd name="connsiteY91" fmla="*/ 1905000 h 4496940"/>
              <a:gd name="connsiteX92" fmla="*/ 30502 w 4519987"/>
              <a:gd name="connsiteY92" fmla="*/ 1838325 h 4496940"/>
              <a:gd name="connsiteX93" fmla="*/ 49552 w 4519987"/>
              <a:gd name="connsiteY93" fmla="*/ 1781175 h 4496940"/>
              <a:gd name="connsiteX94" fmla="*/ 59077 w 4519987"/>
              <a:gd name="connsiteY94" fmla="*/ 1743075 h 4496940"/>
              <a:gd name="connsiteX95" fmla="*/ 78127 w 4519987"/>
              <a:gd name="connsiteY95" fmla="*/ 1685925 h 4496940"/>
              <a:gd name="connsiteX96" fmla="*/ 87652 w 4519987"/>
              <a:gd name="connsiteY96" fmla="*/ 1638300 h 4496940"/>
              <a:gd name="connsiteX97" fmla="*/ 106702 w 4519987"/>
              <a:gd name="connsiteY97" fmla="*/ 1590675 h 4496940"/>
              <a:gd name="connsiteX98" fmla="*/ 135277 w 4519987"/>
              <a:gd name="connsiteY98" fmla="*/ 1504950 h 4496940"/>
              <a:gd name="connsiteX99" fmla="*/ 154327 w 4519987"/>
              <a:gd name="connsiteY99" fmla="*/ 1419225 h 4496940"/>
              <a:gd name="connsiteX100" fmla="*/ 230527 w 4519987"/>
              <a:gd name="connsiteY100" fmla="*/ 1276350 h 4496940"/>
              <a:gd name="connsiteX101" fmla="*/ 240052 w 4519987"/>
              <a:gd name="connsiteY101" fmla="*/ 1247775 h 4496940"/>
              <a:gd name="connsiteX102" fmla="*/ 268627 w 4519987"/>
              <a:gd name="connsiteY102" fmla="*/ 1200150 h 4496940"/>
              <a:gd name="connsiteX103" fmla="*/ 287677 w 4519987"/>
              <a:gd name="connsiteY103" fmla="*/ 1152525 h 4496940"/>
              <a:gd name="connsiteX104" fmla="*/ 316252 w 4519987"/>
              <a:gd name="connsiteY104" fmla="*/ 1114425 h 4496940"/>
              <a:gd name="connsiteX105" fmla="*/ 363877 w 4519987"/>
              <a:gd name="connsiteY105" fmla="*/ 1038225 h 4496940"/>
              <a:gd name="connsiteX106" fmla="*/ 382927 w 4519987"/>
              <a:gd name="connsiteY106" fmla="*/ 1009650 h 4496940"/>
              <a:gd name="connsiteX107" fmla="*/ 440077 w 4519987"/>
              <a:gd name="connsiteY107" fmla="*/ 904875 h 4496940"/>
              <a:gd name="connsiteX108" fmla="*/ 478177 w 4519987"/>
              <a:gd name="connsiteY108" fmla="*/ 857250 h 4496940"/>
              <a:gd name="connsiteX109" fmla="*/ 497227 w 4519987"/>
              <a:gd name="connsiteY109" fmla="*/ 828675 h 4496940"/>
              <a:gd name="connsiteX110" fmla="*/ 535327 w 4519987"/>
              <a:gd name="connsiteY110" fmla="*/ 800100 h 4496940"/>
              <a:gd name="connsiteX111" fmla="*/ 602002 w 4519987"/>
              <a:gd name="connsiteY111" fmla="*/ 733425 h 4496940"/>
              <a:gd name="connsiteX112" fmla="*/ 668677 w 4519987"/>
              <a:gd name="connsiteY112" fmla="*/ 676275 h 4496940"/>
              <a:gd name="connsiteX113" fmla="*/ 697252 w 4519987"/>
              <a:gd name="connsiteY113" fmla="*/ 657225 h 4496940"/>
              <a:gd name="connsiteX114" fmla="*/ 840127 w 4519987"/>
              <a:gd name="connsiteY114" fmla="*/ 533400 h 4496940"/>
              <a:gd name="connsiteX115" fmla="*/ 887752 w 4519987"/>
              <a:gd name="connsiteY115" fmla="*/ 504825 h 4496940"/>
              <a:gd name="connsiteX116" fmla="*/ 1167152 w 4519987"/>
              <a:gd name="connsiteY116" fmla="*/ 311150 h 4496940"/>
              <a:gd name="connsiteX117" fmla="*/ 1268752 w 4519987"/>
              <a:gd name="connsiteY117" fmla="*/ 285750 h 4496940"/>
              <a:gd name="connsiteX118" fmla="*/ 1411627 w 4519987"/>
              <a:gd name="connsiteY118" fmla="*/ 190500 h 4496940"/>
              <a:gd name="connsiteX119" fmla="*/ 1449727 w 4519987"/>
              <a:gd name="connsiteY119" fmla="*/ 161925 h 4496940"/>
              <a:gd name="connsiteX120" fmla="*/ 1525927 w 4519987"/>
              <a:gd name="connsiteY120" fmla="*/ 152400 h 4496940"/>
              <a:gd name="connsiteX121" fmla="*/ 1583077 w 4519987"/>
              <a:gd name="connsiteY121" fmla="*/ 142875 h 4496940"/>
              <a:gd name="connsiteX122" fmla="*/ 1716427 w 4519987"/>
              <a:gd name="connsiteY122" fmla="*/ 123825 h 4496940"/>
              <a:gd name="connsiteX123" fmla="*/ 1811677 w 4519987"/>
              <a:gd name="connsiteY123" fmla="*/ 114300 h 4496940"/>
              <a:gd name="connsiteX124" fmla="*/ 1859302 w 4519987"/>
              <a:gd name="connsiteY124" fmla="*/ 104775 h 4496940"/>
              <a:gd name="connsiteX125" fmla="*/ 1916452 w 4519987"/>
              <a:gd name="connsiteY125" fmla="*/ 95250 h 4496940"/>
              <a:gd name="connsiteX126" fmla="*/ 2030752 w 4519987"/>
              <a:gd name="connsiteY126" fmla="*/ 66675 h 4496940"/>
              <a:gd name="connsiteX127" fmla="*/ 2097427 w 4519987"/>
              <a:gd name="connsiteY127" fmla="*/ 47625 h 4496940"/>
              <a:gd name="connsiteX128" fmla="*/ 2164102 w 4519987"/>
              <a:gd name="connsiteY128" fmla="*/ 38100 h 4496940"/>
              <a:gd name="connsiteX129" fmla="*/ 2392702 w 4519987"/>
              <a:gd name="connsiteY12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516652 w 4519987"/>
              <a:gd name="connsiteY39" fmla="*/ 4114800 h 4496940"/>
              <a:gd name="connsiteX40" fmla="*/ 3497602 w 4519987"/>
              <a:gd name="connsiteY40" fmla="*/ 4143375 h 4496940"/>
              <a:gd name="connsiteX41" fmla="*/ 3383302 w 4519987"/>
              <a:gd name="connsiteY41" fmla="*/ 4210050 h 4496940"/>
              <a:gd name="connsiteX42" fmla="*/ 3335677 w 4519987"/>
              <a:gd name="connsiteY42" fmla="*/ 4238625 h 4496940"/>
              <a:gd name="connsiteX43" fmla="*/ 3288052 w 4519987"/>
              <a:gd name="connsiteY43" fmla="*/ 4248150 h 4496940"/>
              <a:gd name="connsiteX44" fmla="*/ 3240427 w 4519987"/>
              <a:gd name="connsiteY44" fmla="*/ 4267200 h 4496940"/>
              <a:gd name="connsiteX45" fmla="*/ 3068977 w 4519987"/>
              <a:gd name="connsiteY45" fmla="*/ 4286250 h 4496940"/>
              <a:gd name="connsiteX46" fmla="*/ 2935627 w 4519987"/>
              <a:gd name="connsiteY46" fmla="*/ 4333875 h 4496940"/>
              <a:gd name="connsiteX47" fmla="*/ 2811802 w 4519987"/>
              <a:gd name="connsiteY47" fmla="*/ 4371975 h 4496940"/>
              <a:gd name="connsiteX48" fmla="*/ 2745127 w 4519987"/>
              <a:gd name="connsiteY48" fmla="*/ 4410075 h 4496940"/>
              <a:gd name="connsiteX49" fmla="*/ 2697502 w 4519987"/>
              <a:gd name="connsiteY49" fmla="*/ 4429125 h 4496940"/>
              <a:gd name="connsiteX50" fmla="*/ 2640352 w 4519987"/>
              <a:gd name="connsiteY50" fmla="*/ 4457700 h 4496940"/>
              <a:gd name="connsiteX51" fmla="*/ 2583202 w 4519987"/>
              <a:gd name="connsiteY51" fmla="*/ 4467225 h 4496940"/>
              <a:gd name="connsiteX52" fmla="*/ 2545102 w 4519987"/>
              <a:gd name="connsiteY52" fmla="*/ 4486275 h 4496940"/>
              <a:gd name="connsiteX53" fmla="*/ 2306977 w 4519987"/>
              <a:gd name="connsiteY53" fmla="*/ 4476750 h 4496940"/>
              <a:gd name="connsiteX54" fmla="*/ 2202202 w 4519987"/>
              <a:gd name="connsiteY54" fmla="*/ 4457700 h 4496940"/>
              <a:gd name="connsiteX55" fmla="*/ 2126002 w 4519987"/>
              <a:gd name="connsiteY55" fmla="*/ 4429125 h 4496940"/>
              <a:gd name="connsiteX56" fmla="*/ 1935502 w 4519987"/>
              <a:gd name="connsiteY56" fmla="*/ 4400550 h 4496940"/>
              <a:gd name="connsiteX57" fmla="*/ 1821202 w 4519987"/>
              <a:gd name="connsiteY57" fmla="*/ 4371975 h 4496940"/>
              <a:gd name="connsiteX58" fmla="*/ 1754527 w 4519987"/>
              <a:gd name="connsiteY58" fmla="*/ 4352925 h 4496940"/>
              <a:gd name="connsiteX59" fmla="*/ 1687852 w 4519987"/>
              <a:gd name="connsiteY59" fmla="*/ 4343400 h 4496940"/>
              <a:gd name="connsiteX60" fmla="*/ 1573552 w 4519987"/>
              <a:gd name="connsiteY60" fmla="*/ 4305300 h 4496940"/>
              <a:gd name="connsiteX61" fmla="*/ 1402102 w 4519987"/>
              <a:gd name="connsiteY61" fmla="*/ 4276725 h 4496940"/>
              <a:gd name="connsiteX62" fmla="*/ 1287802 w 4519987"/>
              <a:gd name="connsiteY62" fmla="*/ 4229100 h 4496940"/>
              <a:gd name="connsiteX63" fmla="*/ 1221127 w 4519987"/>
              <a:gd name="connsiteY63" fmla="*/ 4200525 h 4496940"/>
              <a:gd name="connsiteX64" fmla="*/ 1144927 w 4519987"/>
              <a:gd name="connsiteY64" fmla="*/ 4171950 h 4496940"/>
              <a:gd name="connsiteX65" fmla="*/ 1087777 w 4519987"/>
              <a:gd name="connsiteY65" fmla="*/ 4143375 h 4496940"/>
              <a:gd name="connsiteX66" fmla="*/ 1030627 w 4519987"/>
              <a:gd name="connsiteY66" fmla="*/ 4124325 h 4496940"/>
              <a:gd name="connsiteX67" fmla="*/ 925852 w 4519987"/>
              <a:gd name="connsiteY67" fmla="*/ 4067175 h 4496940"/>
              <a:gd name="connsiteX68" fmla="*/ 830602 w 4519987"/>
              <a:gd name="connsiteY68" fmla="*/ 3981450 h 4496940"/>
              <a:gd name="connsiteX69" fmla="*/ 763927 w 4519987"/>
              <a:gd name="connsiteY69" fmla="*/ 3914775 h 4496940"/>
              <a:gd name="connsiteX70" fmla="*/ 725827 w 4519987"/>
              <a:gd name="connsiteY70" fmla="*/ 3876675 h 4496940"/>
              <a:gd name="connsiteX71" fmla="*/ 697252 w 4519987"/>
              <a:gd name="connsiteY71" fmla="*/ 3838575 h 4496940"/>
              <a:gd name="connsiteX72" fmla="*/ 640102 w 4519987"/>
              <a:gd name="connsiteY72" fmla="*/ 3781425 h 4496940"/>
              <a:gd name="connsiteX73" fmla="*/ 611527 w 4519987"/>
              <a:gd name="connsiteY73" fmla="*/ 3733800 h 4496940"/>
              <a:gd name="connsiteX74" fmla="*/ 554377 w 4519987"/>
              <a:gd name="connsiteY74" fmla="*/ 3657600 h 4496940"/>
              <a:gd name="connsiteX75" fmla="*/ 525802 w 4519987"/>
              <a:gd name="connsiteY75" fmla="*/ 3609975 h 4496940"/>
              <a:gd name="connsiteX76" fmla="*/ 497227 w 4519987"/>
              <a:gd name="connsiteY76" fmla="*/ 3552825 h 4496940"/>
              <a:gd name="connsiteX77" fmla="*/ 440077 w 4519987"/>
              <a:gd name="connsiteY77" fmla="*/ 3495675 h 4496940"/>
              <a:gd name="connsiteX78" fmla="*/ 411502 w 4519987"/>
              <a:gd name="connsiteY78" fmla="*/ 3448050 h 4496940"/>
              <a:gd name="connsiteX79" fmla="*/ 278152 w 4519987"/>
              <a:gd name="connsiteY79" fmla="*/ 3257550 h 4496940"/>
              <a:gd name="connsiteX80" fmla="*/ 249577 w 4519987"/>
              <a:gd name="connsiteY80" fmla="*/ 3200400 h 4496940"/>
              <a:gd name="connsiteX81" fmla="*/ 240052 w 4519987"/>
              <a:gd name="connsiteY81" fmla="*/ 3162300 h 4496940"/>
              <a:gd name="connsiteX82" fmla="*/ 221002 w 4519987"/>
              <a:gd name="connsiteY82" fmla="*/ 3105150 h 4496940"/>
              <a:gd name="connsiteX83" fmla="*/ 173377 w 4519987"/>
              <a:gd name="connsiteY83" fmla="*/ 3019425 h 4496940"/>
              <a:gd name="connsiteX84" fmla="*/ 144802 w 4519987"/>
              <a:gd name="connsiteY84" fmla="*/ 2924175 h 4496940"/>
              <a:gd name="connsiteX85" fmla="*/ 68602 w 4519987"/>
              <a:gd name="connsiteY85" fmla="*/ 2724150 h 4496940"/>
              <a:gd name="connsiteX86" fmla="*/ 49552 w 4519987"/>
              <a:gd name="connsiteY86" fmla="*/ 2638425 h 4496940"/>
              <a:gd name="connsiteX87" fmla="*/ 40027 w 4519987"/>
              <a:gd name="connsiteY87" fmla="*/ 2562225 h 4496940"/>
              <a:gd name="connsiteX88" fmla="*/ 30502 w 4519987"/>
              <a:gd name="connsiteY88" fmla="*/ 2514600 h 4496940"/>
              <a:gd name="connsiteX89" fmla="*/ 11452 w 4519987"/>
              <a:gd name="connsiteY89" fmla="*/ 2400300 h 4496940"/>
              <a:gd name="connsiteX90" fmla="*/ 20977 w 4519987"/>
              <a:gd name="connsiteY90" fmla="*/ 1905000 h 4496940"/>
              <a:gd name="connsiteX91" fmla="*/ 30502 w 4519987"/>
              <a:gd name="connsiteY91" fmla="*/ 1838325 h 4496940"/>
              <a:gd name="connsiteX92" fmla="*/ 49552 w 4519987"/>
              <a:gd name="connsiteY92" fmla="*/ 1781175 h 4496940"/>
              <a:gd name="connsiteX93" fmla="*/ 59077 w 4519987"/>
              <a:gd name="connsiteY93" fmla="*/ 1743075 h 4496940"/>
              <a:gd name="connsiteX94" fmla="*/ 78127 w 4519987"/>
              <a:gd name="connsiteY94" fmla="*/ 1685925 h 4496940"/>
              <a:gd name="connsiteX95" fmla="*/ 87652 w 4519987"/>
              <a:gd name="connsiteY95" fmla="*/ 1638300 h 4496940"/>
              <a:gd name="connsiteX96" fmla="*/ 106702 w 4519987"/>
              <a:gd name="connsiteY96" fmla="*/ 1590675 h 4496940"/>
              <a:gd name="connsiteX97" fmla="*/ 135277 w 4519987"/>
              <a:gd name="connsiteY97" fmla="*/ 1504950 h 4496940"/>
              <a:gd name="connsiteX98" fmla="*/ 154327 w 4519987"/>
              <a:gd name="connsiteY98" fmla="*/ 1419225 h 4496940"/>
              <a:gd name="connsiteX99" fmla="*/ 230527 w 4519987"/>
              <a:gd name="connsiteY99" fmla="*/ 1276350 h 4496940"/>
              <a:gd name="connsiteX100" fmla="*/ 240052 w 4519987"/>
              <a:gd name="connsiteY100" fmla="*/ 1247775 h 4496940"/>
              <a:gd name="connsiteX101" fmla="*/ 268627 w 4519987"/>
              <a:gd name="connsiteY101" fmla="*/ 1200150 h 4496940"/>
              <a:gd name="connsiteX102" fmla="*/ 287677 w 4519987"/>
              <a:gd name="connsiteY102" fmla="*/ 1152525 h 4496940"/>
              <a:gd name="connsiteX103" fmla="*/ 316252 w 4519987"/>
              <a:gd name="connsiteY103" fmla="*/ 1114425 h 4496940"/>
              <a:gd name="connsiteX104" fmla="*/ 363877 w 4519987"/>
              <a:gd name="connsiteY104" fmla="*/ 1038225 h 4496940"/>
              <a:gd name="connsiteX105" fmla="*/ 382927 w 4519987"/>
              <a:gd name="connsiteY105" fmla="*/ 1009650 h 4496940"/>
              <a:gd name="connsiteX106" fmla="*/ 440077 w 4519987"/>
              <a:gd name="connsiteY106" fmla="*/ 904875 h 4496940"/>
              <a:gd name="connsiteX107" fmla="*/ 478177 w 4519987"/>
              <a:gd name="connsiteY107" fmla="*/ 857250 h 4496940"/>
              <a:gd name="connsiteX108" fmla="*/ 497227 w 4519987"/>
              <a:gd name="connsiteY108" fmla="*/ 828675 h 4496940"/>
              <a:gd name="connsiteX109" fmla="*/ 535327 w 4519987"/>
              <a:gd name="connsiteY109" fmla="*/ 800100 h 4496940"/>
              <a:gd name="connsiteX110" fmla="*/ 602002 w 4519987"/>
              <a:gd name="connsiteY110" fmla="*/ 733425 h 4496940"/>
              <a:gd name="connsiteX111" fmla="*/ 668677 w 4519987"/>
              <a:gd name="connsiteY111" fmla="*/ 676275 h 4496940"/>
              <a:gd name="connsiteX112" fmla="*/ 697252 w 4519987"/>
              <a:gd name="connsiteY112" fmla="*/ 657225 h 4496940"/>
              <a:gd name="connsiteX113" fmla="*/ 840127 w 4519987"/>
              <a:gd name="connsiteY113" fmla="*/ 533400 h 4496940"/>
              <a:gd name="connsiteX114" fmla="*/ 887752 w 4519987"/>
              <a:gd name="connsiteY114" fmla="*/ 504825 h 4496940"/>
              <a:gd name="connsiteX115" fmla="*/ 1167152 w 4519987"/>
              <a:gd name="connsiteY115" fmla="*/ 311150 h 4496940"/>
              <a:gd name="connsiteX116" fmla="*/ 1268752 w 4519987"/>
              <a:gd name="connsiteY116" fmla="*/ 285750 h 4496940"/>
              <a:gd name="connsiteX117" fmla="*/ 1411627 w 4519987"/>
              <a:gd name="connsiteY117" fmla="*/ 190500 h 4496940"/>
              <a:gd name="connsiteX118" fmla="*/ 1449727 w 4519987"/>
              <a:gd name="connsiteY118" fmla="*/ 161925 h 4496940"/>
              <a:gd name="connsiteX119" fmla="*/ 1525927 w 4519987"/>
              <a:gd name="connsiteY119" fmla="*/ 152400 h 4496940"/>
              <a:gd name="connsiteX120" fmla="*/ 1583077 w 4519987"/>
              <a:gd name="connsiteY120" fmla="*/ 142875 h 4496940"/>
              <a:gd name="connsiteX121" fmla="*/ 1716427 w 4519987"/>
              <a:gd name="connsiteY121" fmla="*/ 123825 h 4496940"/>
              <a:gd name="connsiteX122" fmla="*/ 1811677 w 4519987"/>
              <a:gd name="connsiteY122" fmla="*/ 114300 h 4496940"/>
              <a:gd name="connsiteX123" fmla="*/ 1859302 w 4519987"/>
              <a:gd name="connsiteY123" fmla="*/ 104775 h 4496940"/>
              <a:gd name="connsiteX124" fmla="*/ 1916452 w 4519987"/>
              <a:gd name="connsiteY124" fmla="*/ 95250 h 4496940"/>
              <a:gd name="connsiteX125" fmla="*/ 2030752 w 4519987"/>
              <a:gd name="connsiteY125" fmla="*/ 66675 h 4496940"/>
              <a:gd name="connsiteX126" fmla="*/ 2097427 w 4519987"/>
              <a:gd name="connsiteY126" fmla="*/ 47625 h 4496940"/>
              <a:gd name="connsiteX127" fmla="*/ 2164102 w 4519987"/>
              <a:gd name="connsiteY127" fmla="*/ 38100 h 4496940"/>
              <a:gd name="connsiteX128" fmla="*/ 2392702 w 4519987"/>
              <a:gd name="connsiteY12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516652 w 4519987"/>
              <a:gd name="connsiteY39" fmla="*/ 4114800 h 4496940"/>
              <a:gd name="connsiteX40" fmla="*/ 3383302 w 4519987"/>
              <a:gd name="connsiteY40" fmla="*/ 4210050 h 4496940"/>
              <a:gd name="connsiteX41" fmla="*/ 3335677 w 4519987"/>
              <a:gd name="connsiteY41" fmla="*/ 4238625 h 4496940"/>
              <a:gd name="connsiteX42" fmla="*/ 3288052 w 4519987"/>
              <a:gd name="connsiteY42" fmla="*/ 4248150 h 4496940"/>
              <a:gd name="connsiteX43" fmla="*/ 3240427 w 4519987"/>
              <a:gd name="connsiteY43" fmla="*/ 4267200 h 4496940"/>
              <a:gd name="connsiteX44" fmla="*/ 3068977 w 4519987"/>
              <a:gd name="connsiteY44" fmla="*/ 4286250 h 4496940"/>
              <a:gd name="connsiteX45" fmla="*/ 2935627 w 4519987"/>
              <a:gd name="connsiteY45" fmla="*/ 4333875 h 4496940"/>
              <a:gd name="connsiteX46" fmla="*/ 2811802 w 4519987"/>
              <a:gd name="connsiteY46" fmla="*/ 4371975 h 4496940"/>
              <a:gd name="connsiteX47" fmla="*/ 2745127 w 4519987"/>
              <a:gd name="connsiteY47" fmla="*/ 4410075 h 4496940"/>
              <a:gd name="connsiteX48" fmla="*/ 2697502 w 4519987"/>
              <a:gd name="connsiteY48" fmla="*/ 4429125 h 4496940"/>
              <a:gd name="connsiteX49" fmla="*/ 2640352 w 4519987"/>
              <a:gd name="connsiteY49" fmla="*/ 4457700 h 4496940"/>
              <a:gd name="connsiteX50" fmla="*/ 2583202 w 4519987"/>
              <a:gd name="connsiteY50" fmla="*/ 4467225 h 4496940"/>
              <a:gd name="connsiteX51" fmla="*/ 2545102 w 4519987"/>
              <a:gd name="connsiteY51" fmla="*/ 4486275 h 4496940"/>
              <a:gd name="connsiteX52" fmla="*/ 2306977 w 4519987"/>
              <a:gd name="connsiteY52" fmla="*/ 4476750 h 4496940"/>
              <a:gd name="connsiteX53" fmla="*/ 2202202 w 4519987"/>
              <a:gd name="connsiteY53" fmla="*/ 4457700 h 4496940"/>
              <a:gd name="connsiteX54" fmla="*/ 2126002 w 4519987"/>
              <a:gd name="connsiteY54" fmla="*/ 4429125 h 4496940"/>
              <a:gd name="connsiteX55" fmla="*/ 1935502 w 4519987"/>
              <a:gd name="connsiteY55" fmla="*/ 4400550 h 4496940"/>
              <a:gd name="connsiteX56" fmla="*/ 1821202 w 4519987"/>
              <a:gd name="connsiteY56" fmla="*/ 4371975 h 4496940"/>
              <a:gd name="connsiteX57" fmla="*/ 1754527 w 4519987"/>
              <a:gd name="connsiteY57" fmla="*/ 4352925 h 4496940"/>
              <a:gd name="connsiteX58" fmla="*/ 1687852 w 4519987"/>
              <a:gd name="connsiteY58" fmla="*/ 4343400 h 4496940"/>
              <a:gd name="connsiteX59" fmla="*/ 1573552 w 4519987"/>
              <a:gd name="connsiteY59" fmla="*/ 4305300 h 4496940"/>
              <a:gd name="connsiteX60" fmla="*/ 1402102 w 4519987"/>
              <a:gd name="connsiteY60" fmla="*/ 4276725 h 4496940"/>
              <a:gd name="connsiteX61" fmla="*/ 1287802 w 4519987"/>
              <a:gd name="connsiteY61" fmla="*/ 4229100 h 4496940"/>
              <a:gd name="connsiteX62" fmla="*/ 1221127 w 4519987"/>
              <a:gd name="connsiteY62" fmla="*/ 4200525 h 4496940"/>
              <a:gd name="connsiteX63" fmla="*/ 1144927 w 4519987"/>
              <a:gd name="connsiteY63" fmla="*/ 4171950 h 4496940"/>
              <a:gd name="connsiteX64" fmla="*/ 1087777 w 4519987"/>
              <a:gd name="connsiteY64" fmla="*/ 4143375 h 4496940"/>
              <a:gd name="connsiteX65" fmla="*/ 1030627 w 4519987"/>
              <a:gd name="connsiteY65" fmla="*/ 4124325 h 4496940"/>
              <a:gd name="connsiteX66" fmla="*/ 925852 w 4519987"/>
              <a:gd name="connsiteY66" fmla="*/ 4067175 h 4496940"/>
              <a:gd name="connsiteX67" fmla="*/ 830602 w 4519987"/>
              <a:gd name="connsiteY67" fmla="*/ 3981450 h 4496940"/>
              <a:gd name="connsiteX68" fmla="*/ 763927 w 4519987"/>
              <a:gd name="connsiteY68" fmla="*/ 3914775 h 4496940"/>
              <a:gd name="connsiteX69" fmla="*/ 725827 w 4519987"/>
              <a:gd name="connsiteY69" fmla="*/ 3876675 h 4496940"/>
              <a:gd name="connsiteX70" fmla="*/ 697252 w 4519987"/>
              <a:gd name="connsiteY70" fmla="*/ 3838575 h 4496940"/>
              <a:gd name="connsiteX71" fmla="*/ 640102 w 4519987"/>
              <a:gd name="connsiteY71" fmla="*/ 3781425 h 4496940"/>
              <a:gd name="connsiteX72" fmla="*/ 611527 w 4519987"/>
              <a:gd name="connsiteY72" fmla="*/ 3733800 h 4496940"/>
              <a:gd name="connsiteX73" fmla="*/ 554377 w 4519987"/>
              <a:gd name="connsiteY73" fmla="*/ 3657600 h 4496940"/>
              <a:gd name="connsiteX74" fmla="*/ 525802 w 4519987"/>
              <a:gd name="connsiteY74" fmla="*/ 3609975 h 4496940"/>
              <a:gd name="connsiteX75" fmla="*/ 497227 w 4519987"/>
              <a:gd name="connsiteY75" fmla="*/ 3552825 h 4496940"/>
              <a:gd name="connsiteX76" fmla="*/ 440077 w 4519987"/>
              <a:gd name="connsiteY76" fmla="*/ 3495675 h 4496940"/>
              <a:gd name="connsiteX77" fmla="*/ 411502 w 4519987"/>
              <a:gd name="connsiteY77" fmla="*/ 3448050 h 4496940"/>
              <a:gd name="connsiteX78" fmla="*/ 278152 w 4519987"/>
              <a:gd name="connsiteY78" fmla="*/ 3257550 h 4496940"/>
              <a:gd name="connsiteX79" fmla="*/ 249577 w 4519987"/>
              <a:gd name="connsiteY79" fmla="*/ 3200400 h 4496940"/>
              <a:gd name="connsiteX80" fmla="*/ 240052 w 4519987"/>
              <a:gd name="connsiteY80" fmla="*/ 3162300 h 4496940"/>
              <a:gd name="connsiteX81" fmla="*/ 221002 w 4519987"/>
              <a:gd name="connsiteY81" fmla="*/ 3105150 h 4496940"/>
              <a:gd name="connsiteX82" fmla="*/ 173377 w 4519987"/>
              <a:gd name="connsiteY82" fmla="*/ 3019425 h 4496940"/>
              <a:gd name="connsiteX83" fmla="*/ 144802 w 4519987"/>
              <a:gd name="connsiteY83" fmla="*/ 2924175 h 4496940"/>
              <a:gd name="connsiteX84" fmla="*/ 68602 w 4519987"/>
              <a:gd name="connsiteY84" fmla="*/ 2724150 h 4496940"/>
              <a:gd name="connsiteX85" fmla="*/ 49552 w 4519987"/>
              <a:gd name="connsiteY85" fmla="*/ 2638425 h 4496940"/>
              <a:gd name="connsiteX86" fmla="*/ 40027 w 4519987"/>
              <a:gd name="connsiteY86" fmla="*/ 2562225 h 4496940"/>
              <a:gd name="connsiteX87" fmla="*/ 30502 w 4519987"/>
              <a:gd name="connsiteY87" fmla="*/ 2514600 h 4496940"/>
              <a:gd name="connsiteX88" fmla="*/ 11452 w 4519987"/>
              <a:gd name="connsiteY88" fmla="*/ 2400300 h 4496940"/>
              <a:gd name="connsiteX89" fmla="*/ 20977 w 4519987"/>
              <a:gd name="connsiteY89" fmla="*/ 1905000 h 4496940"/>
              <a:gd name="connsiteX90" fmla="*/ 30502 w 4519987"/>
              <a:gd name="connsiteY90" fmla="*/ 1838325 h 4496940"/>
              <a:gd name="connsiteX91" fmla="*/ 49552 w 4519987"/>
              <a:gd name="connsiteY91" fmla="*/ 1781175 h 4496940"/>
              <a:gd name="connsiteX92" fmla="*/ 59077 w 4519987"/>
              <a:gd name="connsiteY92" fmla="*/ 1743075 h 4496940"/>
              <a:gd name="connsiteX93" fmla="*/ 78127 w 4519987"/>
              <a:gd name="connsiteY93" fmla="*/ 1685925 h 4496940"/>
              <a:gd name="connsiteX94" fmla="*/ 87652 w 4519987"/>
              <a:gd name="connsiteY94" fmla="*/ 1638300 h 4496940"/>
              <a:gd name="connsiteX95" fmla="*/ 106702 w 4519987"/>
              <a:gd name="connsiteY95" fmla="*/ 1590675 h 4496940"/>
              <a:gd name="connsiteX96" fmla="*/ 135277 w 4519987"/>
              <a:gd name="connsiteY96" fmla="*/ 1504950 h 4496940"/>
              <a:gd name="connsiteX97" fmla="*/ 154327 w 4519987"/>
              <a:gd name="connsiteY97" fmla="*/ 1419225 h 4496940"/>
              <a:gd name="connsiteX98" fmla="*/ 230527 w 4519987"/>
              <a:gd name="connsiteY98" fmla="*/ 1276350 h 4496940"/>
              <a:gd name="connsiteX99" fmla="*/ 240052 w 4519987"/>
              <a:gd name="connsiteY99" fmla="*/ 1247775 h 4496940"/>
              <a:gd name="connsiteX100" fmla="*/ 268627 w 4519987"/>
              <a:gd name="connsiteY100" fmla="*/ 1200150 h 4496940"/>
              <a:gd name="connsiteX101" fmla="*/ 287677 w 4519987"/>
              <a:gd name="connsiteY101" fmla="*/ 1152525 h 4496940"/>
              <a:gd name="connsiteX102" fmla="*/ 316252 w 4519987"/>
              <a:gd name="connsiteY102" fmla="*/ 1114425 h 4496940"/>
              <a:gd name="connsiteX103" fmla="*/ 363877 w 4519987"/>
              <a:gd name="connsiteY103" fmla="*/ 1038225 h 4496940"/>
              <a:gd name="connsiteX104" fmla="*/ 382927 w 4519987"/>
              <a:gd name="connsiteY104" fmla="*/ 1009650 h 4496940"/>
              <a:gd name="connsiteX105" fmla="*/ 440077 w 4519987"/>
              <a:gd name="connsiteY105" fmla="*/ 904875 h 4496940"/>
              <a:gd name="connsiteX106" fmla="*/ 478177 w 4519987"/>
              <a:gd name="connsiteY106" fmla="*/ 857250 h 4496940"/>
              <a:gd name="connsiteX107" fmla="*/ 497227 w 4519987"/>
              <a:gd name="connsiteY107" fmla="*/ 828675 h 4496940"/>
              <a:gd name="connsiteX108" fmla="*/ 535327 w 4519987"/>
              <a:gd name="connsiteY108" fmla="*/ 800100 h 4496940"/>
              <a:gd name="connsiteX109" fmla="*/ 602002 w 4519987"/>
              <a:gd name="connsiteY109" fmla="*/ 733425 h 4496940"/>
              <a:gd name="connsiteX110" fmla="*/ 668677 w 4519987"/>
              <a:gd name="connsiteY110" fmla="*/ 676275 h 4496940"/>
              <a:gd name="connsiteX111" fmla="*/ 697252 w 4519987"/>
              <a:gd name="connsiteY111" fmla="*/ 657225 h 4496940"/>
              <a:gd name="connsiteX112" fmla="*/ 840127 w 4519987"/>
              <a:gd name="connsiteY112" fmla="*/ 533400 h 4496940"/>
              <a:gd name="connsiteX113" fmla="*/ 887752 w 4519987"/>
              <a:gd name="connsiteY113" fmla="*/ 504825 h 4496940"/>
              <a:gd name="connsiteX114" fmla="*/ 1167152 w 4519987"/>
              <a:gd name="connsiteY114" fmla="*/ 311150 h 4496940"/>
              <a:gd name="connsiteX115" fmla="*/ 1268752 w 4519987"/>
              <a:gd name="connsiteY115" fmla="*/ 285750 h 4496940"/>
              <a:gd name="connsiteX116" fmla="*/ 1411627 w 4519987"/>
              <a:gd name="connsiteY116" fmla="*/ 190500 h 4496940"/>
              <a:gd name="connsiteX117" fmla="*/ 1449727 w 4519987"/>
              <a:gd name="connsiteY117" fmla="*/ 161925 h 4496940"/>
              <a:gd name="connsiteX118" fmla="*/ 1525927 w 4519987"/>
              <a:gd name="connsiteY118" fmla="*/ 152400 h 4496940"/>
              <a:gd name="connsiteX119" fmla="*/ 1583077 w 4519987"/>
              <a:gd name="connsiteY119" fmla="*/ 142875 h 4496940"/>
              <a:gd name="connsiteX120" fmla="*/ 1716427 w 4519987"/>
              <a:gd name="connsiteY120" fmla="*/ 123825 h 4496940"/>
              <a:gd name="connsiteX121" fmla="*/ 1811677 w 4519987"/>
              <a:gd name="connsiteY121" fmla="*/ 114300 h 4496940"/>
              <a:gd name="connsiteX122" fmla="*/ 1859302 w 4519987"/>
              <a:gd name="connsiteY122" fmla="*/ 104775 h 4496940"/>
              <a:gd name="connsiteX123" fmla="*/ 1916452 w 4519987"/>
              <a:gd name="connsiteY123" fmla="*/ 95250 h 4496940"/>
              <a:gd name="connsiteX124" fmla="*/ 2030752 w 4519987"/>
              <a:gd name="connsiteY124" fmla="*/ 66675 h 4496940"/>
              <a:gd name="connsiteX125" fmla="*/ 2097427 w 4519987"/>
              <a:gd name="connsiteY125" fmla="*/ 47625 h 4496940"/>
              <a:gd name="connsiteX126" fmla="*/ 2164102 w 4519987"/>
              <a:gd name="connsiteY126" fmla="*/ 38100 h 4496940"/>
              <a:gd name="connsiteX127" fmla="*/ 2392702 w 4519987"/>
              <a:gd name="connsiteY12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383302 w 4519987"/>
              <a:gd name="connsiteY39" fmla="*/ 4210050 h 4496940"/>
              <a:gd name="connsiteX40" fmla="*/ 3335677 w 4519987"/>
              <a:gd name="connsiteY40" fmla="*/ 4238625 h 4496940"/>
              <a:gd name="connsiteX41" fmla="*/ 3288052 w 4519987"/>
              <a:gd name="connsiteY41" fmla="*/ 4248150 h 4496940"/>
              <a:gd name="connsiteX42" fmla="*/ 3240427 w 4519987"/>
              <a:gd name="connsiteY42" fmla="*/ 4267200 h 4496940"/>
              <a:gd name="connsiteX43" fmla="*/ 3068977 w 4519987"/>
              <a:gd name="connsiteY43" fmla="*/ 4286250 h 4496940"/>
              <a:gd name="connsiteX44" fmla="*/ 2935627 w 4519987"/>
              <a:gd name="connsiteY44" fmla="*/ 4333875 h 4496940"/>
              <a:gd name="connsiteX45" fmla="*/ 2811802 w 4519987"/>
              <a:gd name="connsiteY45" fmla="*/ 4371975 h 4496940"/>
              <a:gd name="connsiteX46" fmla="*/ 2745127 w 4519987"/>
              <a:gd name="connsiteY46" fmla="*/ 4410075 h 4496940"/>
              <a:gd name="connsiteX47" fmla="*/ 2697502 w 4519987"/>
              <a:gd name="connsiteY47" fmla="*/ 4429125 h 4496940"/>
              <a:gd name="connsiteX48" fmla="*/ 2640352 w 4519987"/>
              <a:gd name="connsiteY48" fmla="*/ 4457700 h 4496940"/>
              <a:gd name="connsiteX49" fmla="*/ 2583202 w 4519987"/>
              <a:gd name="connsiteY49" fmla="*/ 4467225 h 4496940"/>
              <a:gd name="connsiteX50" fmla="*/ 2545102 w 4519987"/>
              <a:gd name="connsiteY50" fmla="*/ 4486275 h 4496940"/>
              <a:gd name="connsiteX51" fmla="*/ 2306977 w 4519987"/>
              <a:gd name="connsiteY51" fmla="*/ 4476750 h 4496940"/>
              <a:gd name="connsiteX52" fmla="*/ 2202202 w 4519987"/>
              <a:gd name="connsiteY52" fmla="*/ 4457700 h 4496940"/>
              <a:gd name="connsiteX53" fmla="*/ 2126002 w 4519987"/>
              <a:gd name="connsiteY53" fmla="*/ 4429125 h 4496940"/>
              <a:gd name="connsiteX54" fmla="*/ 1935502 w 4519987"/>
              <a:gd name="connsiteY54" fmla="*/ 4400550 h 4496940"/>
              <a:gd name="connsiteX55" fmla="*/ 1821202 w 4519987"/>
              <a:gd name="connsiteY55" fmla="*/ 4371975 h 4496940"/>
              <a:gd name="connsiteX56" fmla="*/ 1754527 w 4519987"/>
              <a:gd name="connsiteY56" fmla="*/ 4352925 h 4496940"/>
              <a:gd name="connsiteX57" fmla="*/ 1687852 w 4519987"/>
              <a:gd name="connsiteY57" fmla="*/ 4343400 h 4496940"/>
              <a:gd name="connsiteX58" fmla="*/ 1573552 w 4519987"/>
              <a:gd name="connsiteY58" fmla="*/ 4305300 h 4496940"/>
              <a:gd name="connsiteX59" fmla="*/ 1402102 w 4519987"/>
              <a:gd name="connsiteY59" fmla="*/ 4276725 h 4496940"/>
              <a:gd name="connsiteX60" fmla="*/ 1287802 w 4519987"/>
              <a:gd name="connsiteY60" fmla="*/ 4229100 h 4496940"/>
              <a:gd name="connsiteX61" fmla="*/ 1221127 w 4519987"/>
              <a:gd name="connsiteY61" fmla="*/ 4200525 h 4496940"/>
              <a:gd name="connsiteX62" fmla="*/ 1144927 w 4519987"/>
              <a:gd name="connsiteY62" fmla="*/ 4171950 h 4496940"/>
              <a:gd name="connsiteX63" fmla="*/ 1087777 w 4519987"/>
              <a:gd name="connsiteY63" fmla="*/ 4143375 h 4496940"/>
              <a:gd name="connsiteX64" fmla="*/ 1030627 w 4519987"/>
              <a:gd name="connsiteY64" fmla="*/ 4124325 h 4496940"/>
              <a:gd name="connsiteX65" fmla="*/ 925852 w 4519987"/>
              <a:gd name="connsiteY65" fmla="*/ 4067175 h 4496940"/>
              <a:gd name="connsiteX66" fmla="*/ 830602 w 4519987"/>
              <a:gd name="connsiteY66" fmla="*/ 3981450 h 4496940"/>
              <a:gd name="connsiteX67" fmla="*/ 763927 w 4519987"/>
              <a:gd name="connsiteY67" fmla="*/ 3914775 h 4496940"/>
              <a:gd name="connsiteX68" fmla="*/ 725827 w 4519987"/>
              <a:gd name="connsiteY68" fmla="*/ 3876675 h 4496940"/>
              <a:gd name="connsiteX69" fmla="*/ 697252 w 4519987"/>
              <a:gd name="connsiteY69" fmla="*/ 3838575 h 4496940"/>
              <a:gd name="connsiteX70" fmla="*/ 640102 w 4519987"/>
              <a:gd name="connsiteY70" fmla="*/ 3781425 h 4496940"/>
              <a:gd name="connsiteX71" fmla="*/ 611527 w 4519987"/>
              <a:gd name="connsiteY71" fmla="*/ 3733800 h 4496940"/>
              <a:gd name="connsiteX72" fmla="*/ 554377 w 4519987"/>
              <a:gd name="connsiteY72" fmla="*/ 3657600 h 4496940"/>
              <a:gd name="connsiteX73" fmla="*/ 525802 w 4519987"/>
              <a:gd name="connsiteY73" fmla="*/ 3609975 h 4496940"/>
              <a:gd name="connsiteX74" fmla="*/ 497227 w 4519987"/>
              <a:gd name="connsiteY74" fmla="*/ 3552825 h 4496940"/>
              <a:gd name="connsiteX75" fmla="*/ 440077 w 4519987"/>
              <a:gd name="connsiteY75" fmla="*/ 3495675 h 4496940"/>
              <a:gd name="connsiteX76" fmla="*/ 411502 w 4519987"/>
              <a:gd name="connsiteY76" fmla="*/ 3448050 h 4496940"/>
              <a:gd name="connsiteX77" fmla="*/ 278152 w 4519987"/>
              <a:gd name="connsiteY77" fmla="*/ 3257550 h 4496940"/>
              <a:gd name="connsiteX78" fmla="*/ 249577 w 4519987"/>
              <a:gd name="connsiteY78" fmla="*/ 3200400 h 4496940"/>
              <a:gd name="connsiteX79" fmla="*/ 240052 w 4519987"/>
              <a:gd name="connsiteY79" fmla="*/ 3162300 h 4496940"/>
              <a:gd name="connsiteX80" fmla="*/ 221002 w 4519987"/>
              <a:gd name="connsiteY80" fmla="*/ 3105150 h 4496940"/>
              <a:gd name="connsiteX81" fmla="*/ 173377 w 4519987"/>
              <a:gd name="connsiteY81" fmla="*/ 3019425 h 4496940"/>
              <a:gd name="connsiteX82" fmla="*/ 144802 w 4519987"/>
              <a:gd name="connsiteY82" fmla="*/ 2924175 h 4496940"/>
              <a:gd name="connsiteX83" fmla="*/ 68602 w 4519987"/>
              <a:gd name="connsiteY83" fmla="*/ 2724150 h 4496940"/>
              <a:gd name="connsiteX84" fmla="*/ 49552 w 4519987"/>
              <a:gd name="connsiteY84" fmla="*/ 2638425 h 4496940"/>
              <a:gd name="connsiteX85" fmla="*/ 40027 w 4519987"/>
              <a:gd name="connsiteY85" fmla="*/ 2562225 h 4496940"/>
              <a:gd name="connsiteX86" fmla="*/ 30502 w 4519987"/>
              <a:gd name="connsiteY86" fmla="*/ 2514600 h 4496940"/>
              <a:gd name="connsiteX87" fmla="*/ 11452 w 4519987"/>
              <a:gd name="connsiteY87" fmla="*/ 2400300 h 4496940"/>
              <a:gd name="connsiteX88" fmla="*/ 20977 w 4519987"/>
              <a:gd name="connsiteY88" fmla="*/ 1905000 h 4496940"/>
              <a:gd name="connsiteX89" fmla="*/ 30502 w 4519987"/>
              <a:gd name="connsiteY89" fmla="*/ 1838325 h 4496940"/>
              <a:gd name="connsiteX90" fmla="*/ 49552 w 4519987"/>
              <a:gd name="connsiteY90" fmla="*/ 1781175 h 4496940"/>
              <a:gd name="connsiteX91" fmla="*/ 59077 w 4519987"/>
              <a:gd name="connsiteY91" fmla="*/ 1743075 h 4496940"/>
              <a:gd name="connsiteX92" fmla="*/ 78127 w 4519987"/>
              <a:gd name="connsiteY92" fmla="*/ 1685925 h 4496940"/>
              <a:gd name="connsiteX93" fmla="*/ 87652 w 4519987"/>
              <a:gd name="connsiteY93" fmla="*/ 1638300 h 4496940"/>
              <a:gd name="connsiteX94" fmla="*/ 106702 w 4519987"/>
              <a:gd name="connsiteY94" fmla="*/ 1590675 h 4496940"/>
              <a:gd name="connsiteX95" fmla="*/ 135277 w 4519987"/>
              <a:gd name="connsiteY95" fmla="*/ 1504950 h 4496940"/>
              <a:gd name="connsiteX96" fmla="*/ 154327 w 4519987"/>
              <a:gd name="connsiteY96" fmla="*/ 1419225 h 4496940"/>
              <a:gd name="connsiteX97" fmla="*/ 230527 w 4519987"/>
              <a:gd name="connsiteY97" fmla="*/ 1276350 h 4496940"/>
              <a:gd name="connsiteX98" fmla="*/ 240052 w 4519987"/>
              <a:gd name="connsiteY98" fmla="*/ 1247775 h 4496940"/>
              <a:gd name="connsiteX99" fmla="*/ 268627 w 4519987"/>
              <a:gd name="connsiteY99" fmla="*/ 1200150 h 4496940"/>
              <a:gd name="connsiteX100" fmla="*/ 287677 w 4519987"/>
              <a:gd name="connsiteY100" fmla="*/ 1152525 h 4496940"/>
              <a:gd name="connsiteX101" fmla="*/ 316252 w 4519987"/>
              <a:gd name="connsiteY101" fmla="*/ 1114425 h 4496940"/>
              <a:gd name="connsiteX102" fmla="*/ 363877 w 4519987"/>
              <a:gd name="connsiteY102" fmla="*/ 1038225 h 4496940"/>
              <a:gd name="connsiteX103" fmla="*/ 382927 w 4519987"/>
              <a:gd name="connsiteY103" fmla="*/ 1009650 h 4496940"/>
              <a:gd name="connsiteX104" fmla="*/ 440077 w 4519987"/>
              <a:gd name="connsiteY104" fmla="*/ 904875 h 4496940"/>
              <a:gd name="connsiteX105" fmla="*/ 478177 w 4519987"/>
              <a:gd name="connsiteY105" fmla="*/ 857250 h 4496940"/>
              <a:gd name="connsiteX106" fmla="*/ 497227 w 4519987"/>
              <a:gd name="connsiteY106" fmla="*/ 828675 h 4496940"/>
              <a:gd name="connsiteX107" fmla="*/ 535327 w 4519987"/>
              <a:gd name="connsiteY107" fmla="*/ 800100 h 4496940"/>
              <a:gd name="connsiteX108" fmla="*/ 602002 w 4519987"/>
              <a:gd name="connsiteY108" fmla="*/ 733425 h 4496940"/>
              <a:gd name="connsiteX109" fmla="*/ 668677 w 4519987"/>
              <a:gd name="connsiteY109" fmla="*/ 676275 h 4496940"/>
              <a:gd name="connsiteX110" fmla="*/ 697252 w 4519987"/>
              <a:gd name="connsiteY110" fmla="*/ 657225 h 4496940"/>
              <a:gd name="connsiteX111" fmla="*/ 840127 w 4519987"/>
              <a:gd name="connsiteY111" fmla="*/ 533400 h 4496940"/>
              <a:gd name="connsiteX112" fmla="*/ 887752 w 4519987"/>
              <a:gd name="connsiteY112" fmla="*/ 504825 h 4496940"/>
              <a:gd name="connsiteX113" fmla="*/ 1167152 w 4519987"/>
              <a:gd name="connsiteY113" fmla="*/ 311150 h 4496940"/>
              <a:gd name="connsiteX114" fmla="*/ 1268752 w 4519987"/>
              <a:gd name="connsiteY114" fmla="*/ 285750 h 4496940"/>
              <a:gd name="connsiteX115" fmla="*/ 1411627 w 4519987"/>
              <a:gd name="connsiteY115" fmla="*/ 190500 h 4496940"/>
              <a:gd name="connsiteX116" fmla="*/ 1449727 w 4519987"/>
              <a:gd name="connsiteY116" fmla="*/ 161925 h 4496940"/>
              <a:gd name="connsiteX117" fmla="*/ 1525927 w 4519987"/>
              <a:gd name="connsiteY117" fmla="*/ 152400 h 4496940"/>
              <a:gd name="connsiteX118" fmla="*/ 1583077 w 4519987"/>
              <a:gd name="connsiteY118" fmla="*/ 142875 h 4496940"/>
              <a:gd name="connsiteX119" fmla="*/ 1716427 w 4519987"/>
              <a:gd name="connsiteY119" fmla="*/ 123825 h 4496940"/>
              <a:gd name="connsiteX120" fmla="*/ 1811677 w 4519987"/>
              <a:gd name="connsiteY120" fmla="*/ 114300 h 4496940"/>
              <a:gd name="connsiteX121" fmla="*/ 1859302 w 4519987"/>
              <a:gd name="connsiteY121" fmla="*/ 104775 h 4496940"/>
              <a:gd name="connsiteX122" fmla="*/ 1916452 w 4519987"/>
              <a:gd name="connsiteY122" fmla="*/ 95250 h 4496940"/>
              <a:gd name="connsiteX123" fmla="*/ 2030752 w 4519987"/>
              <a:gd name="connsiteY123" fmla="*/ 66675 h 4496940"/>
              <a:gd name="connsiteX124" fmla="*/ 2097427 w 4519987"/>
              <a:gd name="connsiteY124" fmla="*/ 47625 h 4496940"/>
              <a:gd name="connsiteX125" fmla="*/ 2164102 w 4519987"/>
              <a:gd name="connsiteY125" fmla="*/ 38100 h 4496940"/>
              <a:gd name="connsiteX126" fmla="*/ 2392702 w 4519987"/>
              <a:gd name="connsiteY12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554752 w 4519987"/>
              <a:gd name="connsiteY37" fmla="*/ 4095750 h 4496940"/>
              <a:gd name="connsiteX38" fmla="*/ 3383302 w 4519987"/>
              <a:gd name="connsiteY38" fmla="*/ 4210050 h 4496940"/>
              <a:gd name="connsiteX39" fmla="*/ 3335677 w 4519987"/>
              <a:gd name="connsiteY39" fmla="*/ 4238625 h 4496940"/>
              <a:gd name="connsiteX40" fmla="*/ 3288052 w 4519987"/>
              <a:gd name="connsiteY40" fmla="*/ 4248150 h 4496940"/>
              <a:gd name="connsiteX41" fmla="*/ 3240427 w 4519987"/>
              <a:gd name="connsiteY41" fmla="*/ 4267200 h 4496940"/>
              <a:gd name="connsiteX42" fmla="*/ 3068977 w 4519987"/>
              <a:gd name="connsiteY42" fmla="*/ 4286250 h 4496940"/>
              <a:gd name="connsiteX43" fmla="*/ 2935627 w 4519987"/>
              <a:gd name="connsiteY43" fmla="*/ 4333875 h 4496940"/>
              <a:gd name="connsiteX44" fmla="*/ 2811802 w 4519987"/>
              <a:gd name="connsiteY44" fmla="*/ 4371975 h 4496940"/>
              <a:gd name="connsiteX45" fmla="*/ 2745127 w 4519987"/>
              <a:gd name="connsiteY45" fmla="*/ 4410075 h 4496940"/>
              <a:gd name="connsiteX46" fmla="*/ 2697502 w 4519987"/>
              <a:gd name="connsiteY46" fmla="*/ 4429125 h 4496940"/>
              <a:gd name="connsiteX47" fmla="*/ 2640352 w 4519987"/>
              <a:gd name="connsiteY47" fmla="*/ 4457700 h 4496940"/>
              <a:gd name="connsiteX48" fmla="*/ 2583202 w 4519987"/>
              <a:gd name="connsiteY48" fmla="*/ 4467225 h 4496940"/>
              <a:gd name="connsiteX49" fmla="*/ 2545102 w 4519987"/>
              <a:gd name="connsiteY49" fmla="*/ 4486275 h 4496940"/>
              <a:gd name="connsiteX50" fmla="*/ 2306977 w 4519987"/>
              <a:gd name="connsiteY50" fmla="*/ 4476750 h 4496940"/>
              <a:gd name="connsiteX51" fmla="*/ 2202202 w 4519987"/>
              <a:gd name="connsiteY51" fmla="*/ 4457700 h 4496940"/>
              <a:gd name="connsiteX52" fmla="*/ 2126002 w 4519987"/>
              <a:gd name="connsiteY52" fmla="*/ 4429125 h 4496940"/>
              <a:gd name="connsiteX53" fmla="*/ 1935502 w 4519987"/>
              <a:gd name="connsiteY53" fmla="*/ 4400550 h 4496940"/>
              <a:gd name="connsiteX54" fmla="*/ 1821202 w 4519987"/>
              <a:gd name="connsiteY54" fmla="*/ 4371975 h 4496940"/>
              <a:gd name="connsiteX55" fmla="*/ 1754527 w 4519987"/>
              <a:gd name="connsiteY55" fmla="*/ 4352925 h 4496940"/>
              <a:gd name="connsiteX56" fmla="*/ 1687852 w 4519987"/>
              <a:gd name="connsiteY56" fmla="*/ 4343400 h 4496940"/>
              <a:gd name="connsiteX57" fmla="*/ 1573552 w 4519987"/>
              <a:gd name="connsiteY57" fmla="*/ 4305300 h 4496940"/>
              <a:gd name="connsiteX58" fmla="*/ 1402102 w 4519987"/>
              <a:gd name="connsiteY58" fmla="*/ 4276725 h 4496940"/>
              <a:gd name="connsiteX59" fmla="*/ 1287802 w 4519987"/>
              <a:gd name="connsiteY59" fmla="*/ 4229100 h 4496940"/>
              <a:gd name="connsiteX60" fmla="*/ 1221127 w 4519987"/>
              <a:gd name="connsiteY60" fmla="*/ 4200525 h 4496940"/>
              <a:gd name="connsiteX61" fmla="*/ 1144927 w 4519987"/>
              <a:gd name="connsiteY61" fmla="*/ 4171950 h 4496940"/>
              <a:gd name="connsiteX62" fmla="*/ 1087777 w 4519987"/>
              <a:gd name="connsiteY62" fmla="*/ 4143375 h 4496940"/>
              <a:gd name="connsiteX63" fmla="*/ 1030627 w 4519987"/>
              <a:gd name="connsiteY63" fmla="*/ 4124325 h 4496940"/>
              <a:gd name="connsiteX64" fmla="*/ 925852 w 4519987"/>
              <a:gd name="connsiteY64" fmla="*/ 4067175 h 4496940"/>
              <a:gd name="connsiteX65" fmla="*/ 830602 w 4519987"/>
              <a:gd name="connsiteY65" fmla="*/ 3981450 h 4496940"/>
              <a:gd name="connsiteX66" fmla="*/ 763927 w 4519987"/>
              <a:gd name="connsiteY66" fmla="*/ 3914775 h 4496940"/>
              <a:gd name="connsiteX67" fmla="*/ 725827 w 4519987"/>
              <a:gd name="connsiteY67" fmla="*/ 3876675 h 4496940"/>
              <a:gd name="connsiteX68" fmla="*/ 697252 w 4519987"/>
              <a:gd name="connsiteY68" fmla="*/ 3838575 h 4496940"/>
              <a:gd name="connsiteX69" fmla="*/ 640102 w 4519987"/>
              <a:gd name="connsiteY69" fmla="*/ 3781425 h 4496940"/>
              <a:gd name="connsiteX70" fmla="*/ 611527 w 4519987"/>
              <a:gd name="connsiteY70" fmla="*/ 3733800 h 4496940"/>
              <a:gd name="connsiteX71" fmla="*/ 554377 w 4519987"/>
              <a:gd name="connsiteY71" fmla="*/ 3657600 h 4496940"/>
              <a:gd name="connsiteX72" fmla="*/ 525802 w 4519987"/>
              <a:gd name="connsiteY72" fmla="*/ 3609975 h 4496940"/>
              <a:gd name="connsiteX73" fmla="*/ 497227 w 4519987"/>
              <a:gd name="connsiteY73" fmla="*/ 3552825 h 4496940"/>
              <a:gd name="connsiteX74" fmla="*/ 440077 w 4519987"/>
              <a:gd name="connsiteY74" fmla="*/ 3495675 h 4496940"/>
              <a:gd name="connsiteX75" fmla="*/ 411502 w 4519987"/>
              <a:gd name="connsiteY75" fmla="*/ 3448050 h 4496940"/>
              <a:gd name="connsiteX76" fmla="*/ 278152 w 4519987"/>
              <a:gd name="connsiteY76" fmla="*/ 3257550 h 4496940"/>
              <a:gd name="connsiteX77" fmla="*/ 249577 w 4519987"/>
              <a:gd name="connsiteY77" fmla="*/ 3200400 h 4496940"/>
              <a:gd name="connsiteX78" fmla="*/ 240052 w 4519987"/>
              <a:gd name="connsiteY78" fmla="*/ 3162300 h 4496940"/>
              <a:gd name="connsiteX79" fmla="*/ 221002 w 4519987"/>
              <a:gd name="connsiteY79" fmla="*/ 3105150 h 4496940"/>
              <a:gd name="connsiteX80" fmla="*/ 173377 w 4519987"/>
              <a:gd name="connsiteY80" fmla="*/ 3019425 h 4496940"/>
              <a:gd name="connsiteX81" fmla="*/ 144802 w 4519987"/>
              <a:gd name="connsiteY81" fmla="*/ 2924175 h 4496940"/>
              <a:gd name="connsiteX82" fmla="*/ 68602 w 4519987"/>
              <a:gd name="connsiteY82" fmla="*/ 2724150 h 4496940"/>
              <a:gd name="connsiteX83" fmla="*/ 49552 w 4519987"/>
              <a:gd name="connsiteY83" fmla="*/ 2638425 h 4496940"/>
              <a:gd name="connsiteX84" fmla="*/ 40027 w 4519987"/>
              <a:gd name="connsiteY84" fmla="*/ 2562225 h 4496940"/>
              <a:gd name="connsiteX85" fmla="*/ 30502 w 4519987"/>
              <a:gd name="connsiteY85" fmla="*/ 2514600 h 4496940"/>
              <a:gd name="connsiteX86" fmla="*/ 11452 w 4519987"/>
              <a:gd name="connsiteY86" fmla="*/ 2400300 h 4496940"/>
              <a:gd name="connsiteX87" fmla="*/ 20977 w 4519987"/>
              <a:gd name="connsiteY87" fmla="*/ 1905000 h 4496940"/>
              <a:gd name="connsiteX88" fmla="*/ 30502 w 4519987"/>
              <a:gd name="connsiteY88" fmla="*/ 1838325 h 4496940"/>
              <a:gd name="connsiteX89" fmla="*/ 49552 w 4519987"/>
              <a:gd name="connsiteY89" fmla="*/ 1781175 h 4496940"/>
              <a:gd name="connsiteX90" fmla="*/ 59077 w 4519987"/>
              <a:gd name="connsiteY90" fmla="*/ 1743075 h 4496940"/>
              <a:gd name="connsiteX91" fmla="*/ 78127 w 4519987"/>
              <a:gd name="connsiteY91" fmla="*/ 1685925 h 4496940"/>
              <a:gd name="connsiteX92" fmla="*/ 87652 w 4519987"/>
              <a:gd name="connsiteY92" fmla="*/ 1638300 h 4496940"/>
              <a:gd name="connsiteX93" fmla="*/ 106702 w 4519987"/>
              <a:gd name="connsiteY93" fmla="*/ 1590675 h 4496940"/>
              <a:gd name="connsiteX94" fmla="*/ 135277 w 4519987"/>
              <a:gd name="connsiteY94" fmla="*/ 1504950 h 4496940"/>
              <a:gd name="connsiteX95" fmla="*/ 154327 w 4519987"/>
              <a:gd name="connsiteY95" fmla="*/ 1419225 h 4496940"/>
              <a:gd name="connsiteX96" fmla="*/ 230527 w 4519987"/>
              <a:gd name="connsiteY96" fmla="*/ 1276350 h 4496940"/>
              <a:gd name="connsiteX97" fmla="*/ 240052 w 4519987"/>
              <a:gd name="connsiteY97" fmla="*/ 1247775 h 4496940"/>
              <a:gd name="connsiteX98" fmla="*/ 268627 w 4519987"/>
              <a:gd name="connsiteY98" fmla="*/ 1200150 h 4496940"/>
              <a:gd name="connsiteX99" fmla="*/ 287677 w 4519987"/>
              <a:gd name="connsiteY99" fmla="*/ 1152525 h 4496940"/>
              <a:gd name="connsiteX100" fmla="*/ 316252 w 4519987"/>
              <a:gd name="connsiteY100" fmla="*/ 1114425 h 4496940"/>
              <a:gd name="connsiteX101" fmla="*/ 363877 w 4519987"/>
              <a:gd name="connsiteY101" fmla="*/ 1038225 h 4496940"/>
              <a:gd name="connsiteX102" fmla="*/ 382927 w 4519987"/>
              <a:gd name="connsiteY102" fmla="*/ 1009650 h 4496940"/>
              <a:gd name="connsiteX103" fmla="*/ 440077 w 4519987"/>
              <a:gd name="connsiteY103" fmla="*/ 904875 h 4496940"/>
              <a:gd name="connsiteX104" fmla="*/ 478177 w 4519987"/>
              <a:gd name="connsiteY104" fmla="*/ 857250 h 4496940"/>
              <a:gd name="connsiteX105" fmla="*/ 497227 w 4519987"/>
              <a:gd name="connsiteY105" fmla="*/ 828675 h 4496940"/>
              <a:gd name="connsiteX106" fmla="*/ 535327 w 4519987"/>
              <a:gd name="connsiteY106" fmla="*/ 800100 h 4496940"/>
              <a:gd name="connsiteX107" fmla="*/ 602002 w 4519987"/>
              <a:gd name="connsiteY107" fmla="*/ 733425 h 4496940"/>
              <a:gd name="connsiteX108" fmla="*/ 668677 w 4519987"/>
              <a:gd name="connsiteY108" fmla="*/ 676275 h 4496940"/>
              <a:gd name="connsiteX109" fmla="*/ 697252 w 4519987"/>
              <a:gd name="connsiteY109" fmla="*/ 657225 h 4496940"/>
              <a:gd name="connsiteX110" fmla="*/ 840127 w 4519987"/>
              <a:gd name="connsiteY110" fmla="*/ 533400 h 4496940"/>
              <a:gd name="connsiteX111" fmla="*/ 887752 w 4519987"/>
              <a:gd name="connsiteY111" fmla="*/ 504825 h 4496940"/>
              <a:gd name="connsiteX112" fmla="*/ 1167152 w 4519987"/>
              <a:gd name="connsiteY112" fmla="*/ 311150 h 4496940"/>
              <a:gd name="connsiteX113" fmla="*/ 1268752 w 4519987"/>
              <a:gd name="connsiteY113" fmla="*/ 285750 h 4496940"/>
              <a:gd name="connsiteX114" fmla="*/ 1411627 w 4519987"/>
              <a:gd name="connsiteY114" fmla="*/ 190500 h 4496940"/>
              <a:gd name="connsiteX115" fmla="*/ 1449727 w 4519987"/>
              <a:gd name="connsiteY115" fmla="*/ 161925 h 4496940"/>
              <a:gd name="connsiteX116" fmla="*/ 1525927 w 4519987"/>
              <a:gd name="connsiteY116" fmla="*/ 152400 h 4496940"/>
              <a:gd name="connsiteX117" fmla="*/ 1583077 w 4519987"/>
              <a:gd name="connsiteY117" fmla="*/ 142875 h 4496940"/>
              <a:gd name="connsiteX118" fmla="*/ 1716427 w 4519987"/>
              <a:gd name="connsiteY118" fmla="*/ 123825 h 4496940"/>
              <a:gd name="connsiteX119" fmla="*/ 1811677 w 4519987"/>
              <a:gd name="connsiteY119" fmla="*/ 114300 h 4496940"/>
              <a:gd name="connsiteX120" fmla="*/ 1859302 w 4519987"/>
              <a:gd name="connsiteY120" fmla="*/ 104775 h 4496940"/>
              <a:gd name="connsiteX121" fmla="*/ 1916452 w 4519987"/>
              <a:gd name="connsiteY121" fmla="*/ 95250 h 4496940"/>
              <a:gd name="connsiteX122" fmla="*/ 2030752 w 4519987"/>
              <a:gd name="connsiteY122" fmla="*/ 66675 h 4496940"/>
              <a:gd name="connsiteX123" fmla="*/ 2097427 w 4519987"/>
              <a:gd name="connsiteY123" fmla="*/ 47625 h 4496940"/>
              <a:gd name="connsiteX124" fmla="*/ 2164102 w 4519987"/>
              <a:gd name="connsiteY124" fmla="*/ 38100 h 4496940"/>
              <a:gd name="connsiteX125" fmla="*/ 2392702 w 4519987"/>
              <a:gd name="connsiteY12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54752 w 4519987"/>
              <a:gd name="connsiteY36" fmla="*/ 4095750 h 4496940"/>
              <a:gd name="connsiteX37" fmla="*/ 3383302 w 4519987"/>
              <a:gd name="connsiteY37" fmla="*/ 4210050 h 4496940"/>
              <a:gd name="connsiteX38" fmla="*/ 3335677 w 4519987"/>
              <a:gd name="connsiteY38" fmla="*/ 4238625 h 4496940"/>
              <a:gd name="connsiteX39" fmla="*/ 3288052 w 4519987"/>
              <a:gd name="connsiteY39" fmla="*/ 4248150 h 4496940"/>
              <a:gd name="connsiteX40" fmla="*/ 3240427 w 4519987"/>
              <a:gd name="connsiteY40" fmla="*/ 4267200 h 4496940"/>
              <a:gd name="connsiteX41" fmla="*/ 3068977 w 4519987"/>
              <a:gd name="connsiteY41" fmla="*/ 4286250 h 4496940"/>
              <a:gd name="connsiteX42" fmla="*/ 2935627 w 4519987"/>
              <a:gd name="connsiteY42" fmla="*/ 4333875 h 4496940"/>
              <a:gd name="connsiteX43" fmla="*/ 2811802 w 4519987"/>
              <a:gd name="connsiteY43" fmla="*/ 4371975 h 4496940"/>
              <a:gd name="connsiteX44" fmla="*/ 2745127 w 4519987"/>
              <a:gd name="connsiteY44" fmla="*/ 4410075 h 4496940"/>
              <a:gd name="connsiteX45" fmla="*/ 2697502 w 4519987"/>
              <a:gd name="connsiteY45" fmla="*/ 4429125 h 4496940"/>
              <a:gd name="connsiteX46" fmla="*/ 2640352 w 4519987"/>
              <a:gd name="connsiteY46" fmla="*/ 4457700 h 4496940"/>
              <a:gd name="connsiteX47" fmla="*/ 2583202 w 4519987"/>
              <a:gd name="connsiteY47" fmla="*/ 4467225 h 4496940"/>
              <a:gd name="connsiteX48" fmla="*/ 2545102 w 4519987"/>
              <a:gd name="connsiteY48" fmla="*/ 4486275 h 4496940"/>
              <a:gd name="connsiteX49" fmla="*/ 2306977 w 4519987"/>
              <a:gd name="connsiteY49" fmla="*/ 4476750 h 4496940"/>
              <a:gd name="connsiteX50" fmla="*/ 2202202 w 4519987"/>
              <a:gd name="connsiteY50" fmla="*/ 4457700 h 4496940"/>
              <a:gd name="connsiteX51" fmla="*/ 2126002 w 4519987"/>
              <a:gd name="connsiteY51" fmla="*/ 4429125 h 4496940"/>
              <a:gd name="connsiteX52" fmla="*/ 1935502 w 4519987"/>
              <a:gd name="connsiteY52" fmla="*/ 4400550 h 4496940"/>
              <a:gd name="connsiteX53" fmla="*/ 1821202 w 4519987"/>
              <a:gd name="connsiteY53" fmla="*/ 4371975 h 4496940"/>
              <a:gd name="connsiteX54" fmla="*/ 1754527 w 4519987"/>
              <a:gd name="connsiteY54" fmla="*/ 4352925 h 4496940"/>
              <a:gd name="connsiteX55" fmla="*/ 1687852 w 4519987"/>
              <a:gd name="connsiteY55" fmla="*/ 4343400 h 4496940"/>
              <a:gd name="connsiteX56" fmla="*/ 1573552 w 4519987"/>
              <a:gd name="connsiteY56" fmla="*/ 4305300 h 4496940"/>
              <a:gd name="connsiteX57" fmla="*/ 1402102 w 4519987"/>
              <a:gd name="connsiteY57" fmla="*/ 4276725 h 4496940"/>
              <a:gd name="connsiteX58" fmla="*/ 1287802 w 4519987"/>
              <a:gd name="connsiteY58" fmla="*/ 4229100 h 4496940"/>
              <a:gd name="connsiteX59" fmla="*/ 1221127 w 4519987"/>
              <a:gd name="connsiteY59" fmla="*/ 4200525 h 4496940"/>
              <a:gd name="connsiteX60" fmla="*/ 1144927 w 4519987"/>
              <a:gd name="connsiteY60" fmla="*/ 4171950 h 4496940"/>
              <a:gd name="connsiteX61" fmla="*/ 1087777 w 4519987"/>
              <a:gd name="connsiteY61" fmla="*/ 4143375 h 4496940"/>
              <a:gd name="connsiteX62" fmla="*/ 1030627 w 4519987"/>
              <a:gd name="connsiteY62" fmla="*/ 4124325 h 4496940"/>
              <a:gd name="connsiteX63" fmla="*/ 925852 w 4519987"/>
              <a:gd name="connsiteY63" fmla="*/ 4067175 h 4496940"/>
              <a:gd name="connsiteX64" fmla="*/ 830602 w 4519987"/>
              <a:gd name="connsiteY64" fmla="*/ 3981450 h 4496940"/>
              <a:gd name="connsiteX65" fmla="*/ 763927 w 4519987"/>
              <a:gd name="connsiteY65" fmla="*/ 3914775 h 4496940"/>
              <a:gd name="connsiteX66" fmla="*/ 725827 w 4519987"/>
              <a:gd name="connsiteY66" fmla="*/ 3876675 h 4496940"/>
              <a:gd name="connsiteX67" fmla="*/ 697252 w 4519987"/>
              <a:gd name="connsiteY67" fmla="*/ 3838575 h 4496940"/>
              <a:gd name="connsiteX68" fmla="*/ 640102 w 4519987"/>
              <a:gd name="connsiteY68" fmla="*/ 3781425 h 4496940"/>
              <a:gd name="connsiteX69" fmla="*/ 611527 w 4519987"/>
              <a:gd name="connsiteY69" fmla="*/ 3733800 h 4496940"/>
              <a:gd name="connsiteX70" fmla="*/ 554377 w 4519987"/>
              <a:gd name="connsiteY70" fmla="*/ 3657600 h 4496940"/>
              <a:gd name="connsiteX71" fmla="*/ 525802 w 4519987"/>
              <a:gd name="connsiteY71" fmla="*/ 3609975 h 4496940"/>
              <a:gd name="connsiteX72" fmla="*/ 497227 w 4519987"/>
              <a:gd name="connsiteY72" fmla="*/ 3552825 h 4496940"/>
              <a:gd name="connsiteX73" fmla="*/ 440077 w 4519987"/>
              <a:gd name="connsiteY73" fmla="*/ 3495675 h 4496940"/>
              <a:gd name="connsiteX74" fmla="*/ 411502 w 4519987"/>
              <a:gd name="connsiteY74" fmla="*/ 3448050 h 4496940"/>
              <a:gd name="connsiteX75" fmla="*/ 278152 w 4519987"/>
              <a:gd name="connsiteY75" fmla="*/ 3257550 h 4496940"/>
              <a:gd name="connsiteX76" fmla="*/ 249577 w 4519987"/>
              <a:gd name="connsiteY76" fmla="*/ 3200400 h 4496940"/>
              <a:gd name="connsiteX77" fmla="*/ 240052 w 4519987"/>
              <a:gd name="connsiteY77" fmla="*/ 3162300 h 4496940"/>
              <a:gd name="connsiteX78" fmla="*/ 221002 w 4519987"/>
              <a:gd name="connsiteY78" fmla="*/ 3105150 h 4496940"/>
              <a:gd name="connsiteX79" fmla="*/ 173377 w 4519987"/>
              <a:gd name="connsiteY79" fmla="*/ 3019425 h 4496940"/>
              <a:gd name="connsiteX80" fmla="*/ 144802 w 4519987"/>
              <a:gd name="connsiteY80" fmla="*/ 2924175 h 4496940"/>
              <a:gd name="connsiteX81" fmla="*/ 68602 w 4519987"/>
              <a:gd name="connsiteY81" fmla="*/ 2724150 h 4496940"/>
              <a:gd name="connsiteX82" fmla="*/ 49552 w 4519987"/>
              <a:gd name="connsiteY82" fmla="*/ 2638425 h 4496940"/>
              <a:gd name="connsiteX83" fmla="*/ 40027 w 4519987"/>
              <a:gd name="connsiteY83" fmla="*/ 2562225 h 4496940"/>
              <a:gd name="connsiteX84" fmla="*/ 30502 w 4519987"/>
              <a:gd name="connsiteY84" fmla="*/ 2514600 h 4496940"/>
              <a:gd name="connsiteX85" fmla="*/ 11452 w 4519987"/>
              <a:gd name="connsiteY85" fmla="*/ 2400300 h 4496940"/>
              <a:gd name="connsiteX86" fmla="*/ 20977 w 4519987"/>
              <a:gd name="connsiteY86" fmla="*/ 1905000 h 4496940"/>
              <a:gd name="connsiteX87" fmla="*/ 30502 w 4519987"/>
              <a:gd name="connsiteY87" fmla="*/ 1838325 h 4496940"/>
              <a:gd name="connsiteX88" fmla="*/ 49552 w 4519987"/>
              <a:gd name="connsiteY88" fmla="*/ 1781175 h 4496940"/>
              <a:gd name="connsiteX89" fmla="*/ 59077 w 4519987"/>
              <a:gd name="connsiteY89" fmla="*/ 1743075 h 4496940"/>
              <a:gd name="connsiteX90" fmla="*/ 78127 w 4519987"/>
              <a:gd name="connsiteY90" fmla="*/ 1685925 h 4496940"/>
              <a:gd name="connsiteX91" fmla="*/ 87652 w 4519987"/>
              <a:gd name="connsiteY91" fmla="*/ 1638300 h 4496940"/>
              <a:gd name="connsiteX92" fmla="*/ 106702 w 4519987"/>
              <a:gd name="connsiteY92" fmla="*/ 1590675 h 4496940"/>
              <a:gd name="connsiteX93" fmla="*/ 135277 w 4519987"/>
              <a:gd name="connsiteY93" fmla="*/ 1504950 h 4496940"/>
              <a:gd name="connsiteX94" fmla="*/ 154327 w 4519987"/>
              <a:gd name="connsiteY94" fmla="*/ 1419225 h 4496940"/>
              <a:gd name="connsiteX95" fmla="*/ 230527 w 4519987"/>
              <a:gd name="connsiteY95" fmla="*/ 1276350 h 4496940"/>
              <a:gd name="connsiteX96" fmla="*/ 240052 w 4519987"/>
              <a:gd name="connsiteY96" fmla="*/ 1247775 h 4496940"/>
              <a:gd name="connsiteX97" fmla="*/ 268627 w 4519987"/>
              <a:gd name="connsiteY97" fmla="*/ 1200150 h 4496940"/>
              <a:gd name="connsiteX98" fmla="*/ 287677 w 4519987"/>
              <a:gd name="connsiteY98" fmla="*/ 1152525 h 4496940"/>
              <a:gd name="connsiteX99" fmla="*/ 316252 w 4519987"/>
              <a:gd name="connsiteY99" fmla="*/ 1114425 h 4496940"/>
              <a:gd name="connsiteX100" fmla="*/ 363877 w 4519987"/>
              <a:gd name="connsiteY100" fmla="*/ 1038225 h 4496940"/>
              <a:gd name="connsiteX101" fmla="*/ 382927 w 4519987"/>
              <a:gd name="connsiteY101" fmla="*/ 1009650 h 4496940"/>
              <a:gd name="connsiteX102" fmla="*/ 440077 w 4519987"/>
              <a:gd name="connsiteY102" fmla="*/ 904875 h 4496940"/>
              <a:gd name="connsiteX103" fmla="*/ 478177 w 4519987"/>
              <a:gd name="connsiteY103" fmla="*/ 857250 h 4496940"/>
              <a:gd name="connsiteX104" fmla="*/ 497227 w 4519987"/>
              <a:gd name="connsiteY104" fmla="*/ 828675 h 4496940"/>
              <a:gd name="connsiteX105" fmla="*/ 535327 w 4519987"/>
              <a:gd name="connsiteY105" fmla="*/ 800100 h 4496940"/>
              <a:gd name="connsiteX106" fmla="*/ 602002 w 4519987"/>
              <a:gd name="connsiteY106" fmla="*/ 733425 h 4496940"/>
              <a:gd name="connsiteX107" fmla="*/ 668677 w 4519987"/>
              <a:gd name="connsiteY107" fmla="*/ 676275 h 4496940"/>
              <a:gd name="connsiteX108" fmla="*/ 697252 w 4519987"/>
              <a:gd name="connsiteY108" fmla="*/ 657225 h 4496940"/>
              <a:gd name="connsiteX109" fmla="*/ 840127 w 4519987"/>
              <a:gd name="connsiteY109" fmla="*/ 533400 h 4496940"/>
              <a:gd name="connsiteX110" fmla="*/ 887752 w 4519987"/>
              <a:gd name="connsiteY110" fmla="*/ 504825 h 4496940"/>
              <a:gd name="connsiteX111" fmla="*/ 1167152 w 4519987"/>
              <a:gd name="connsiteY111" fmla="*/ 311150 h 4496940"/>
              <a:gd name="connsiteX112" fmla="*/ 1268752 w 4519987"/>
              <a:gd name="connsiteY112" fmla="*/ 285750 h 4496940"/>
              <a:gd name="connsiteX113" fmla="*/ 1411627 w 4519987"/>
              <a:gd name="connsiteY113" fmla="*/ 190500 h 4496940"/>
              <a:gd name="connsiteX114" fmla="*/ 1449727 w 4519987"/>
              <a:gd name="connsiteY114" fmla="*/ 161925 h 4496940"/>
              <a:gd name="connsiteX115" fmla="*/ 1525927 w 4519987"/>
              <a:gd name="connsiteY115" fmla="*/ 152400 h 4496940"/>
              <a:gd name="connsiteX116" fmla="*/ 1583077 w 4519987"/>
              <a:gd name="connsiteY116" fmla="*/ 142875 h 4496940"/>
              <a:gd name="connsiteX117" fmla="*/ 1716427 w 4519987"/>
              <a:gd name="connsiteY117" fmla="*/ 123825 h 4496940"/>
              <a:gd name="connsiteX118" fmla="*/ 1811677 w 4519987"/>
              <a:gd name="connsiteY118" fmla="*/ 114300 h 4496940"/>
              <a:gd name="connsiteX119" fmla="*/ 1859302 w 4519987"/>
              <a:gd name="connsiteY119" fmla="*/ 104775 h 4496940"/>
              <a:gd name="connsiteX120" fmla="*/ 1916452 w 4519987"/>
              <a:gd name="connsiteY120" fmla="*/ 95250 h 4496940"/>
              <a:gd name="connsiteX121" fmla="*/ 2030752 w 4519987"/>
              <a:gd name="connsiteY121" fmla="*/ 66675 h 4496940"/>
              <a:gd name="connsiteX122" fmla="*/ 2097427 w 4519987"/>
              <a:gd name="connsiteY122" fmla="*/ 47625 h 4496940"/>
              <a:gd name="connsiteX123" fmla="*/ 2164102 w 4519987"/>
              <a:gd name="connsiteY123" fmla="*/ 38100 h 4496940"/>
              <a:gd name="connsiteX124" fmla="*/ 2392702 w 4519987"/>
              <a:gd name="connsiteY12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83302 w 4519987"/>
              <a:gd name="connsiteY37" fmla="*/ 4210050 h 4496940"/>
              <a:gd name="connsiteX38" fmla="*/ 3335677 w 4519987"/>
              <a:gd name="connsiteY38" fmla="*/ 4238625 h 4496940"/>
              <a:gd name="connsiteX39" fmla="*/ 3288052 w 4519987"/>
              <a:gd name="connsiteY39" fmla="*/ 4248150 h 4496940"/>
              <a:gd name="connsiteX40" fmla="*/ 3240427 w 4519987"/>
              <a:gd name="connsiteY40" fmla="*/ 4267200 h 4496940"/>
              <a:gd name="connsiteX41" fmla="*/ 3068977 w 4519987"/>
              <a:gd name="connsiteY41" fmla="*/ 4286250 h 4496940"/>
              <a:gd name="connsiteX42" fmla="*/ 2935627 w 4519987"/>
              <a:gd name="connsiteY42" fmla="*/ 4333875 h 4496940"/>
              <a:gd name="connsiteX43" fmla="*/ 2811802 w 4519987"/>
              <a:gd name="connsiteY43" fmla="*/ 4371975 h 4496940"/>
              <a:gd name="connsiteX44" fmla="*/ 2745127 w 4519987"/>
              <a:gd name="connsiteY44" fmla="*/ 4410075 h 4496940"/>
              <a:gd name="connsiteX45" fmla="*/ 2697502 w 4519987"/>
              <a:gd name="connsiteY45" fmla="*/ 4429125 h 4496940"/>
              <a:gd name="connsiteX46" fmla="*/ 2640352 w 4519987"/>
              <a:gd name="connsiteY46" fmla="*/ 4457700 h 4496940"/>
              <a:gd name="connsiteX47" fmla="*/ 2583202 w 4519987"/>
              <a:gd name="connsiteY47" fmla="*/ 4467225 h 4496940"/>
              <a:gd name="connsiteX48" fmla="*/ 2545102 w 4519987"/>
              <a:gd name="connsiteY48" fmla="*/ 4486275 h 4496940"/>
              <a:gd name="connsiteX49" fmla="*/ 2306977 w 4519987"/>
              <a:gd name="connsiteY49" fmla="*/ 4476750 h 4496940"/>
              <a:gd name="connsiteX50" fmla="*/ 2202202 w 4519987"/>
              <a:gd name="connsiteY50" fmla="*/ 4457700 h 4496940"/>
              <a:gd name="connsiteX51" fmla="*/ 2126002 w 4519987"/>
              <a:gd name="connsiteY51" fmla="*/ 4429125 h 4496940"/>
              <a:gd name="connsiteX52" fmla="*/ 1935502 w 4519987"/>
              <a:gd name="connsiteY52" fmla="*/ 4400550 h 4496940"/>
              <a:gd name="connsiteX53" fmla="*/ 1821202 w 4519987"/>
              <a:gd name="connsiteY53" fmla="*/ 4371975 h 4496940"/>
              <a:gd name="connsiteX54" fmla="*/ 1754527 w 4519987"/>
              <a:gd name="connsiteY54" fmla="*/ 4352925 h 4496940"/>
              <a:gd name="connsiteX55" fmla="*/ 1687852 w 4519987"/>
              <a:gd name="connsiteY55" fmla="*/ 4343400 h 4496940"/>
              <a:gd name="connsiteX56" fmla="*/ 1573552 w 4519987"/>
              <a:gd name="connsiteY56" fmla="*/ 4305300 h 4496940"/>
              <a:gd name="connsiteX57" fmla="*/ 1402102 w 4519987"/>
              <a:gd name="connsiteY57" fmla="*/ 4276725 h 4496940"/>
              <a:gd name="connsiteX58" fmla="*/ 1287802 w 4519987"/>
              <a:gd name="connsiteY58" fmla="*/ 4229100 h 4496940"/>
              <a:gd name="connsiteX59" fmla="*/ 1221127 w 4519987"/>
              <a:gd name="connsiteY59" fmla="*/ 4200525 h 4496940"/>
              <a:gd name="connsiteX60" fmla="*/ 1144927 w 4519987"/>
              <a:gd name="connsiteY60" fmla="*/ 4171950 h 4496940"/>
              <a:gd name="connsiteX61" fmla="*/ 1087777 w 4519987"/>
              <a:gd name="connsiteY61" fmla="*/ 4143375 h 4496940"/>
              <a:gd name="connsiteX62" fmla="*/ 1030627 w 4519987"/>
              <a:gd name="connsiteY62" fmla="*/ 4124325 h 4496940"/>
              <a:gd name="connsiteX63" fmla="*/ 925852 w 4519987"/>
              <a:gd name="connsiteY63" fmla="*/ 4067175 h 4496940"/>
              <a:gd name="connsiteX64" fmla="*/ 830602 w 4519987"/>
              <a:gd name="connsiteY64" fmla="*/ 3981450 h 4496940"/>
              <a:gd name="connsiteX65" fmla="*/ 763927 w 4519987"/>
              <a:gd name="connsiteY65" fmla="*/ 3914775 h 4496940"/>
              <a:gd name="connsiteX66" fmla="*/ 725827 w 4519987"/>
              <a:gd name="connsiteY66" fmla="*/ 3876675 h 4496940"/>
              <a:gd name="connsiteX67" fmla="*/ 697252 w 4519987"/>
              <a:gd name="connsiteY67" fmla="*/ 3838575 h 4496940"/>
              <a:gd name="connsiteX68" fmla="*/ 640102 w 4519987"/>
              <a:gd name="connsiteY68" fmla="*/ 3781425 h 4496940"/>
              <a:gd name="connsiteX69" fmla="*/ 611527 w 4519987"/>
              <a:gd name="connsiteY69" fmla="*/ 3733800 h 4496940"/>
              <a:gd name="connsiteX70" fmla="*/ 554377 w 4519987"/>
              <a:gd name="connsiteY70" fmla="*/ 3657600 h 4496940"/>
              <a:gd name="connsiteX71" fmla="*/ 525802 w 4519987"/>
              <a:gd name="connsiteY71" fmla="*/ 3609975 h 4496940"/>
              <a:gd name="connsiteX72" fmla="*/ 497227 w 4519987"/>
              <a:gd name="connsiteY72" fmla="*/ 3552825 h 4496940"/>
              <a:gd name="connsiteX73" fmla="*/ 440077 w 4519987"/>
              <a:gd name="connsiteY73" fmla="*/ 3495675 h 4496940"/>
              <a:gd name="connsiteX74" fmla="*/ 411502 w 4519987"/>
              <a:gd name="connsiteY74" fmla="*/ 3448050 h 4496940"/>
              <a:gd name="connsiteX75" fmla="*/ 278152 w 4519987"/>
              <a:gd name="connsiteY75" fmla="*/ 3257550 h 4496940"/>
              <a:gd name="connsiteX76" fmla="*/ 249577 w 4519987"/>
              <a:gd name="connsiteY76" fmla="*/ 3200400 h 4496940"/>
              <a:gd name="connsiteX77" fmla="*/ 240052 w 4519987"/>
              <a:gd name="connsiteY77" fmla="*/ 3162300 h 4496940"/>
              <a:gd name="connsiteX78" fmla="*/ 221002 w 4519987"/>
              <a:gd name="connsiteY78" fmla="*/ 3105150 h 4496940"/>
              <a:gd name="connsiteX79" fmla="*/ 173377 w 4519987"/>
              <a:gd name="connsiteY79" fmla="*/ 3019425 h 4496940"/>
              <a:gd name="connsiteX80" fmla="*/ 144802 w 4519987"/>
              <a:gd name="connsiteY80" fmla="*/ 2924175 h 4496940"/>
              <a:gd name="connsiteX81" fmla="*/ 68602 w 4519987"/>
              <a:gd name="connsiteY81" fmla="*/ 2724150 h 4496940"/>
              <a:gd name="connsiteX82" fmla="*/ 49552 w 4519987"/>
              <a:gd name="connsiteY82" fmla="*/ 2638425 h 4496940"/>
              <a:gd name="connsiteX83" fmla="*/ 40027 w 4519987"/>
              <a:gd name="connsiteY83" fmla="*/ 2562225 h 4496940"/>
              <a:gd name="connsiteX84" fmla="*/ 30502 w 4519987"/>
              <a:gd name="connsiteY84" fmla="*/ 2514600 h 4496940"/>
              <a:gd name="connsiteX85" fmla="*/ 11452 w 4519987"/>
              <a:gd name="connsiteY85" fmla="*/ 2400300 h 4496940"/>
              <a:gd name="connsiteX86" fmla="*/ 20977 w 4519987"/>
              <a:gd name="connsiteY86" fmla="*/ 1905000 h 4496940"/>
              <a:gd name="connsiteX87" fmla="*/ 30502 w 4519987"/>
              <a:gd name="connsiteY87" fmla="*/ 1838325 h 4496940"/>
              <a:gd name="connsiteX88" fmla="*/ 49552 w 4519987"/>
              <a:gd name="connsiteY88" fmla="*/ 1781175 h 4496940"/>
              <a:gd name="connsiteX89" fmla="*/ 59077 w 4519987"/>
              <a:gd name="connsiteY89" fmla="*/ 1743075 h 4496940"/>
              <a:gd name="connsiteX90" fmla="*/ 78127 w 4519987"/>
              <a:gd name="connsiteY90" fmla="*/ 1685925 h 4496940"/>
              <a:gd name="connsiteX91" fmla="*/ 87652 w 4519987"/>
              <a:gd name="connsiteY91" fmla="*/ 1638300 h 4496940"/>
              <a:gd name="connsiteX92" fmla="*/ 106702 w 4519987"/>
              <a:gd name="connsiteY92" fmla="*/ 1590675 h 4496940"/>
              <a:gd name="connsiteX93" fmla="*/ 135277 w 4519987"/>
              <a:gd name="connsiteY93" fmla="*/ 1504950 h 4496940"/>
              <a:gd name="connsiteX94" fmla="*/ 154327 w 4519987"/>
              <a:gd name="connsiteY94" fmla="*/ 1419225 h 4496940"/>
              <a:gd name="connsiteX95" fmla="*/ 230527 w 4519987"/>
              <a:gd name="connsiteY95" fmla="*/ 1276350 h 4496940"/>
              <a:gd name="connsiteX96" fmla="*/ 240052 w 4519987"/>
              <a:gd name="connsiteY96" fmla="*/ 1247775 h 4496940"/>
              <a:gd name="connsiteX97" fmla="*/ 268627 w 4519987"/>
              <a:gd name="connsiteY97" fmla="*/ 1200150 h 4496940"/>
              <a:gd name="connsiteX98" fmla="*/ 287677 w 4519987"/>
              <a:gd name="connsiteY98" fmla="*/ 1152525 h 4496940"/>
              <a:gd name="connsiteX99" fmla="*/ 316252 w 4519987"/>
              <a:gd name="connsiteY99" fmla="*/ 1114425 h 4496940"/>
              <a:gd name="connsiteX100" fmla="*/ 363877 w 4519987"/>
              <a:gd name="connsiteY100" fmla="*/ 1038225 h 4496940"/>
              <a:gd name="connsiteX101" fmla="*/ 382927 w 4519987"/>
              <a:gd name="connsiteY101" fmla="*/ 1009650 h 4496940"/>
              <a:gd name="connsiteX102" fmla="*/ 440077 w 4519987"/>
              <a:gd name="connsiteY102" fmla="*/ 904875 h 4496940"/>
              <a:gd name="connsiteX103" fmla="*/ 478177 w 4519987"/>
              <a:gd name="connsiteY103" fmla="*/ 857250 h 4496940"/>
              <a:gd name="connsiteX104" fmla="*/ 497227 w 4519987"/>
              <a:gd name="connsiteY104" fmla="*/ 828675 h 4496940"/>
              <a:gd name="connsiteX105" fmla="*/ 535327 w 4519987"/>
              <a:gd name="connsiteY105" fmla="*/ 800100 h 4496940"/>
              <a:gd name="connsiteX106" fmla="*/ 602002 w 4519987"/>
              <a:gd name="connsiteY106" fmla="*/ 733425 h 4496940"/>
              <a:gd name="connsiteX107" fmla="*/ 668677 w 4519987"/>
              <a:gd name="connsiteY107" fmla="*/ 676275 h 4496940"/>
              <a:gd name="connsiteX108" fmla="*/ 697252 w 4519987"/>
              <a:gd name="connsiteY108" fmla="*/ 657225 h 4496940"/>
              <a:gd name="connsiteX109" fmla="*/ 840127 w 4519987"/>
              <a:gd name="connsiteY109" fmla="*/ 533400 h 4496940"/>
              <a:gd name="connsiteX110" fmla="*/ 887752 w 4519987"/>
              <a:gd name="connsiteY110" fmla="*/ 504825 h 4496940"/>
              <a:gd name="connsiteX111" fmla="*/ 1167152 w 4519987"/>
              <a:gd name="connsiteY111" fmla="*/ 311150 h 4496940"/>
              <a:gd name="connsiteX112" fmla="*/ 1268752 w 4519987"/>
              <a:gd name="connsiteY112" fmla="*/ 285750 h 4496940"/>
              <a:gd name="connsiteX113" fmla="*/ 1411627 w 4519987"/>
              <a:gd name="connsiteY113" fmla="*/ 190500 h 4496940"/>
              <a:gd name="connsiteX114" fmla="*/ 1449727 w 4519987"/>
              <a:gd name="connsiteY114" fmla="*/ 161925 h 4496940"/>
              <a:gd name="connsiteX115" fmla="*/ 1525927 w 4519987"/>
              <a:gd name="connsiteY115" fmla="*/ 152400 h 4496940"/>
              <a:gd name="connsiteX116" fmla="*/ 1583077 w 4519987"/>
              <a:gd name="connsiteY116" fmla="*/ 142875 h 4496940"/>
              <a:gd name="connsiteX117" fmla="*/ 1716427 w 4519987"/>
              <a:gd name="connsiteY117" fmla="*/ 123825 h 4496940"/>
              <a:gd name="connsiteX118" fmla="*/ 1811677 w 4519987"/>
              <a:gd name="connsiteY118" fmla="*/ 114300 h 4496940"/>
              <a:gd name="connsiteX119" fmla="*/ 1859302 w 4519987"/>
              <a:gd name="connsiteY119" fmla="*/ 104775 h 4496940"/>
              <a:gd name="connsiteX120" fmla="*/ 1916452 w 4519987"/>
              <a:gd name="connsiteY120" fmla="*/ 95250 h 4496940"/>
              <a:gd name="connsiteX121" fmla="*/ 2030752 w 4519987"/>
              <a:gd name="connsiteY121" fmla="*/ 66675 h 4496940"/>
              <a:gd name="connsiteX122" fmla="*/ 2097427 w 4519987"/>
              <a:gd name="connsiteY122" fmla="*/ 47625 h 4496940"/>
              <a:gd name="connsiteX123" fmla="*/ 2164102 w 4519987"/>
              <a:gd name="connsiteY123" fmla="*/ 38100 h 4496940"/>
              <a:gd name="connsiteX124" fmla="*/ 2392702 w 4519987"/>
              <a:gd name="connsiteY12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35677 w 4519987"/>
              <a:gd name="connsiteY37" fmla="*/ 4238625 h 4496940"/>
              <a:gd name="connsiteX38" fmla="*/ 3288052 w 4519987"/>
              <a:gd name="connsiteY38" fmla="*/ 4248150 h 4496940"/>
              <a:gd name="connsiteX39" fmla="*/ 3240427 w 4519987"/>
              <a:gd name="connsiteY39" fmla="*/ 4267200 h 4496940"/>
              <a:gd name="connsiteX40" fmla="*/ 3068977 w 4519987"/>
              <a:gd name="connsiteY40" fmla="*/ 4286250 h 4496940"/>
              <a:gd name="connsiteX41" fmla="*/ 2935627 w 4519987"/>
              <a:gd name="connsiteY41" fmla="*/ 4333875 h 4496940"/>
              <a:gd name="connsiteX42" fmla="*/ 2811802 w 4519987"/>
              <a:gd name="connsiteY42" fmla="*/ 4371975 h 4496940"/>
              <a:gd name="connsiteX43" fmla="*/ 2745127 w 4519987"/>
              <a:gd name="connsiteY43" fmla="*/ 4410075 h 4496940"/>
              <a:gd name="connsiteX44" fmla="*/ 2697502 w 4519987"/>
              <a:gd name="connsiteY44" fmla="*/ 4429125 h 4496940"/>
              <a:gd name="connsiteX45" fmla="*/ 2640352 w 4519987"/>
              <a:gd name="connsiteY45" fmla="*/ 4457700 h 4496940"/>
              <a:gd name="connsiteX46" fmla="*/ 2583202 w 4519987"/>
              <a:gd name="connsiteY46" fmla="*/ 4467225 h 4496940"/>
              <a:gd name="connsiteX47" fmla="*/ 2545102 w 4519987"/>
              <a:gd name="connsiteY47" fmla="*/ 4486275 h 4496940"/>
              <a:gd name="connsiteX48" fmla="*/ 2306977 w 4519987"/>
              <a:gd name="connsiteY48" fmla="*/ 4476750 h 4496940"/>
              <a:gd name="connsiteX49" fmla="*/ 2202202 w 4519987"/>
              <a:gd name="connsiteY49" fmla="*/ 4457700 h 4496940"/>
              <a:gd name="connsiteX50" fmla="*/ 2126002 w 4519987"/>
              <a:gd name="connsiteY50" fmla="*/ 4429125 h 4496940"/>
              <a:gd name="connsiteX51" fmla="*/ 1935502 w 4519987"/>
              <a:gd name="connsiteY51" fmla="*/ 4400550 h 4496940"/>
              <a:gd name="connsiteX52" fmla="*/ 1821202 w 4519987"/>
              <a:gd name="connsiteY52" fmla="*/ 4371975 h 4496940"/>
              <a:gd name="connsiteX53" fmla="*/ 1754527 w 4519987"/>
              <a:gd name="connsiteY53" fmla="*/ 4352925 h 4496940"/>
              <a:gd name="connsiteX54" fmla="*/ 1687852 w 4519987"/>
              <a:gd name="connsiteY54" fmla="*/ 4343400 h 4496940"/>
              <a:gd name="connsiteX55" fmla="*/ 1573552 w 4519987"/>
              <a:gd name="connsiteY55" fmla="*/ 4305300 h 4496940"/>
              <a:gd name="connsiteX56" fmla="*/ 1402102 w 4519987"/>
              <a:gd name="connsiteY56" fmla="*/ 4276725 h 4496940"/>
              <a:gd name="connsiteX57" fmla="*/ 1287802 w 4519987"/>
              <a:gd name="connsiteY57" fmla="*/ 4229100 h 4496940"/>
              <a:gd name="connsiteX58" fmla="*/ 1221127 w 4519987"/>
              <a:gd name="connsiteY58" fmla="*/ 4200525 h 4496940"/>
              <a:gd name="connsiteX59" fmla="*/ 1144927 w 4519987"/>
              <a:gd name="connsiteY59" fmla="*/ 4171950 h 4496940"/>
              <a:gd name="connsiteX60" fmla="*/ 1087777 w 4519987"/>
              <a:gd name="connsiteY60" fmla="*/ 4143375 h 4496940"/>
              <a:gd name="connsiteX61" fmla="*/ 1030627 w 4519987"/>
              <a:gd name="connsiteY61" fmla="*/ 4124325 h 4496940"/>
              <a:gd name="connsiteX62" fmla="*/ 925852 w 4519987"/>
              <a:gd name="connsiteY62" fmla="*/ 4067175 h 4496940"/>
              <a:gd name="connsiteX63" fmla="*/ 830602 w 4519987"/>
              <a:gd name="connsiteY63" fmla="*/ 3981450 h 4496940"/>
              <a:gd name="connsiteX64" fmla="*/ 763927 w 4519987"/>
              <a:gd name="connsiteY64" fmla="*/ 3914775 h 4496940"/>
              <a:gd name="connsiteX65" fmla="*/ 725827 w 4519987"/>
              <a:gd name="connsiteY65" fmla="*/ 3876675 h 4496940"/>
              <a:gd name="connsiteX66" fmla="*/ 697252 w 4519987"/>
              <a:gd name="connsiteY66" fmla="*/ 3838575 h 4496940"/>
              <a:gd name="connsiteX67" fmla="*/ 640102 w 4519987"/>
              <a:gd name="connsiteY67" fmla="*/ 3781425 h 4496940"/>
              <a:gd name="connsiteX68" fmla="*/ 611527 w 4519987"/>
              <a:gd name="connsiteY68" fmla="*/ 3733800 h 4496940"/>
              <a:gd name="connsiteX69" fmla="*/ 554377 w 4519987"/>
              <a:gd name="connsiteY69" fmla="*/ 3657600 h 4496940"/>
              <a:gd name="connsiteX70" fmla="*/ 525802 w 4519987"/>
              <a:gd name="connsiteY70" fmla="*/ 3609975 h 4496940"/>
              <a:gd name="connsiteX71" fmla="*/ 497227 w 4519987"/>
              <a:gd name="connsiteY71" fmla="*/ 3552825 h 4496940"/>
              <a:gd name="connsiteX72" fmla="*/ 440077 w 4519987"/>
              <a:gd name="connsiteY72" fmla="*/ 3495675 h 4496940"/>
              <a:gd name="connsiteX73" fmla="*/ 411502 w 4519987"/>
              <a:gd name="connsiteY73" fmla="*/ 3448050 h 4496940"/>
              <a:gd name="connsiteX74" fmla="*/ 278152 w 4519987"/>
              <a:gd name="connsiteY74" fmla="*/ 3257550 h 4496940"/>
              <a:gd name="connsiteX75" fmla="*/ 249577 w 4519987"/>
              <a:gd name="connsiteY75" fmla="*/ 3200400 h 4496940"/>
              <a:gd name="connsiteX76" fmla="*/ 240052 w 4519987"/>
              <a:gd name="connsiteY76" fmla="*/ 3162300 h 4496940"/>
              <a:gd name="connsiteX77" fmla="*/ 221002 w 4519987"/>
              <a:gd name="connsiteY77" fmla="*/ 3105150 h 4496940"/>
              <a:gd name="connsiteX78" fmla="*/ 173377 w 4519987"/>
              <a:gd name="connsiteY78" fmla="*/ 3019425 h 4496940"/>
              <a:gd name="connsiteX79" fmla="*/ 144802 w 4519987"/>
              <a:gd name="connsiteY79" fmla="*/ 2924175 h 4496940"/>
              <a:gd name="connsiteX80" fmla="*/ 68602 w 4519987"/>
              <a:gd name="connsiteY80" fmla="*/ 2724150 h 4496940"/>
              <a:gd name="connsiteX81" fmla="*/ 49552 w 4519987"/>
              <a:gd name="connsiteY81" fmla="*/ 2638425 h 4496940"/>
              <a:gd name="connsiteX82" fmla="*/ 40027 w 4519987"/>
              <a:gd name="connsiteY82" fmla="*/ 2562225 h 4496940"/>
              <a:gd name="connsiteX83" fmla="*/ 30502 w 4519987"/>
              <a:gd name="connsiteY83" fmla="*/ 2514600 h 4496940"/>
              <a:gd name="connsiteX84" fmla="*/ 11452 w 4519987"/>
              <a:gd name="connsiteY84" fmla="*/ 2400300 h 4496940"/>
              <a:gd name="connsiteX85" fmla="*/ 20977 w 4519987"/>
              <a:gd name="connsiteY85" fmla="*/ 1905000 h 4496940"/>
              <a:gd name="connsiteX86" fmla="*/ 30502 w 4519987"/>
              <a:gd name="connsiteY86" fmla="*/ 1838325 h 4496940"/>
              <a:gd name="connsiteX87" fmla="*/ 49552 w 4519987"/>
              <a:gd name="connsiteY87" fmla="*/ 1781175 h 4496940"/>
              <a:gd name="connsiteX88" fmla="*/ 59077 w 4519987"/>
              <a:gd name="connsiteY88" fmla="*/ 1743075 h 4496940"/>
              <a:gd name="connsiteX89" fmla="*/ 78127 w 4519987"/>
              <a:gd name="connsiteY89" fmla="*/ 1685925 h 4496940"/>
              <a:gd name="connsiteX90" fmla="*/ 87652 w 4519987"/>
              <a:gd name="connsiteY90" fmla="*/ 1638300 h 4496940"/>
              <a:gd name="connsiteX91" fmla="*/ 106702 w 4519987"/>
              <a:gd name="connsiteY91" fmla="*/ 1590675 h 4496940"/>
              <a:gd name="connsiteX92" fmla="*/ 135277 w 4519987"/>
              <a:gd name="connsiteY92" fmla="*/ 1504950 h 4496940"/>
              <a:gd name="connsiteX93" fmla="*/ 154327 w 4519987"/>
              <a:gd name="connsiteY93" fmla="*/ 1419225 h 4496940"/>
              <a:gd name="connsiteX94" fmla="*/ 230527 w 4519987"/>
              <a:gd name="connsiteY94" fmla="*/ 1276350 h 4496940"/>
              <a:gd name="connsiteX95" fmla="*/ 240052 w 4519987"/>
              <a:gd name="connsiteY95" fmla="*/ 1247775 h 4496940"/>
              <a:gd name="connsiteX96" fmla="*/ 268627 w 4519987"/>
              <a:gd name="connsiteY96" fmla="*/ 1200150 h 4496940"/>
              <a:gd name="connsiteX97" fmla="*/ 287677 w 4519987"/>
              <a:gd name="connsiteY97" fmla="*/ 1152525 h 4496940"/>
              <a:gd name="connsiteX98" fmla="*/ 316252 w 4519987"/>
              <a:gd name="connsiteY98" fmla="*/ 1114425 h 4496940"/>
              <a:gd name="connsiteX99" fmla="*/ 363877 w 4519987"/>
              <a:gd name="connsiteY99" fmla="*/ 1038225 h 4496940"/>
              <a:gd name="connsiteX100" fmla="*/ 382927 w 4519987"/>
              <a:gd name="connsiteY100" fmla="*/ 1009650 h 4496940"/>
              <a:gd name="connsiteX101" fmla="*/ 440077 w 4519987"/>
              <a:gd name="connsiteY101" fmla="*/ 904875 h 4496940"/>
              <a:gd name="connsiteX102" fmla="*/ 478177 w 4519987"/>
              <a:gd name="connsiteY102" fmla="*/ 857250 h 4496940"/>
              <a:gd name="connsiteX103" fmla="*/ 497227 w 4519987"/>
              <a:gd name="connsiteY103" fmla="*/ 828675 h 4496940"/>
              <a:gd name="connsiteX104" fmla="*/ 535327 w 4519987"/>
              <a:gd name="connsiteY104" fmla="*/ 800100 h 4496940"/>
              <a:gd name="connsiteX105" fmla="*/ 602002 w 4519987"/>
              <a:gd name="connsiteY105" fmla="*/ 733425 h 4496940"/>
              <a:gd name="connsiteX106" fmla="*/ 668677 w 4519987"/>
              <a:gd name="connsiteY106" fmla="*/ 676275 h 4496940"/>
              <a:gd name="connsiteX107" fmla="*/ 697252 w 4519987"/>
              <a:gd name="connsiteY107" fmla="*/ 657225 h 4496940"/>
              <a:gd name="connsiteX108" fmla="*/ 840127 w 4519987"/>
              <a:gd name="connsiteY108" fmla="*/ 533400 h 4496940"/>
              <a:gd name="connsiteX109" fmla="*/ 887752 w 4519987"/>
              <a:gd name="connsiteY109" fmla="*/ 504825 h 4496940"/>
              <a:gd name="connsiteX110" fmla="*/ 1167152 w 4519987"/>
              <a:gd name="connsiteY110" fmla="*/ 311150 h 4496940"/>
              <a:gd name="connsiteX111" fmla="*/ 1268752 w 4519987"/>
              <a:gd name="connsiteY111" fmla="*/ 285750 h 4496940"/>
              <a:gd name="connsiteX112" fmla="*/ 1411627 w 4519987"/>
              <a:gd name="connsiteY112" fmla="*/ 190500 h 4496940"/>
              <a:gd name="connsiteX113" fmla="*/ 1449727 w 4519987"/>
              <a:gd name="connsiteY113" fmla="*/ 161925 h 4496940"/>
              <a:gd name="connsiteX114" fmla="*/ 1525927 w 4519987"/>
              <a:gd name="connsiteY114" fmla="*/ 152400 h 4496940"/>
              <a:gd name="connsiteX115" fmla="*/ 1583077 w 4519987"/>
              <a:gd name="connsiteY115" fmla="*/ 142875 h 4496940"/>
              <a:gd name="connsiteX116" fmla="*/ 1716427 w 4519987"/>
              <a:gd name="connsiteY116" fmla="*/ 123825 h 4496940"/>
              <a:gd name="connsiteX117" fmla="*/ 1811677 w 4519987"/>
              <a:gd name="connsiteY117" fmla="*/ 114300 h 4496940"/>
              <a:gd name="connsiteX118" fmla="*/ 1859302 w 4519987"/>
              <a:gd name="connsiteY118" fmla="*/ 104775 h 4496940"/>
              <a:gd name="connsiteX119" fmla="*/ 1916452 w 4519987"/>
              <a:gd name="connsiteY119" fmla="*/ 95250 h 4496940"/>
              <a:gd name="connsiteX120" fmla="*/ 2030752 w 4519987"/>
              <a:gd name="connsiteY120" fmla="*/ 66675 h 4496940"/>
              <a:gd name="connsiteX121" fmla="*/ 2097427 w 4519987"/>
              <a:gd name="connsiteY121" fmla="*/ 47625 h 4496940"/>
              <a:gd name="connsiteX122" fmla="*/ 2164102 w 4519987"/>
              <a:gd name="connsiteY122" fmla="*/ 38100 h 4496940"/>
              <a:gd name="connsiteX123" fmla="*/ 2392702 w 4519987"/>
              <a:gd name="connsiteY12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35677 w 4519987"/>
              <a:gd name="connsiteY37" fmla="*/ 4238625 h 4496940"/>
              <a:gd name="connsiteX38" fmla="*/ 3240427 w 4519987"/>
              <a:gd name="connsiteY38" fmla="*/ 4267200 h 4496940"/>
              <a:gd name="connsiteX39" fmla="*/ 3068977 w 4519987"/>
              <a:gd name="connsiteY39" fmla="*/ 4286250 h 4496940"/>
              <a:gd name="connsiteX40" fmla="*/ 2935627 w 4519987"/>
              <a:gd name="connsiteY40" fmla="*/ 4333875 h 4496940"/>
              <a:gd name="connsiteX41" fmla="*/ 2811802 w 4519987"/>
              <a:gd name="connsiteY41" fmla="*/ 4371975 h 4496940"/>
              <a:gd name="connsiteX42" fmla="*/ 2745127 w 4519987"/>
              <a:gd name="connsiteY42" fmla="*/ 4410075 h 4496940"/>
              <a:gd name="connsiteX43" fmla="*/ 2697502 w 4519987"/>
              <a:gd name="connsiteY43" fmla="*/ 4429125 h 4496940"/>
              <a:gd name="connsiteX44" fmla="*/ 2640352 w 4519987"/>
              <a:gd name="connsiteY44" fmla="*/ 4457700 h 4496940"/>
              <a:gd name="connsiteX45" fmla="*/ 2583202 w 4519987"/>
              <a:gd name="connsiteY45" fmla="*/ 4467225 h 4496940"/>
              <a:gd name="connsiteX46" fmla="*/ 2545102 w 4519987"/>
              <a:gd name="connsiteY46" fmla="*/ 4486275 h 4496940"/>
              <a:gd name="connsiteX47" fmla="*/ 2306977 w 4519987"/>
              <a:gd name="connsiteY47" fmla="*/ 4476750 h 4496940"/>
              <a:gd name="connsiteX48" fmla="*/ 2202202 w 4519987"/>
              <a:gd name="connsiteY48" fmla="*/ 4457700 h 4496940"/>
              <a:gd name="connsiteX49" fmla="*/ 2126002 w 4519987"/>
              <a:gd name="connsiteY49" fmla="*/ 4429125 h 4496940"/>
              <a:gd name="connsiteX50" fmla="*/ 1935502 w 4519987"/>
              <a:gd name="connsiteY50" fmla="*/ 4400550 h 4496940"/>
              <a:gd name="connsiteX51" fmla="*/ 1821202 w 4519987"/>
              <a:gd name="connsiteY51" fmla="*/ 4371975 h 4496940"/>
              <a:gd name="connsiteX52" fmla="*/ 1754527 w 4519987"/>
              <a:gd name="connsiteY52" fmla="*/ 4352925 h 4496940"/>
              <a:gd name="connsiteX53" fmla="*/ 1687852 w 4519987"/>
              <a:gd name="connsiteY53" fmla="*/ 4343400 h 4496940"/>
              <a:gd name="connsiteX54" fmla="*/ 1573552 w 4519987"/>
              <a:gd name="connsiteY54" fmla="*/ 4305300 h 4496940"/>
              <a:gd name="connsiteX55" fmla="*/ 1402102 w 4519987"/>
              <a:gd name="connsiteY55" fmla="*/ 4276725 h 4496940"/>
              <a:gd name="connsiteX56" fmla="*/ 1287802 w 4519987"/>
              <a:gd name="connsiteY56" fmla="*/ 4229100 h 4496940"/>
              <a:gd name="connsiteX57" fmla="*/ 1221127 w 4519987"/>
              <a:gd name="connsiteY57" fmla="*/ 4200525 h 4496940"/>
              <a:gd name="connsiteX58" fmla="*/ 1144927 w 4519987"/>
              <a:gd name="connsiteY58" fmla="*/ 4171950 h 4496940"/>
              <a:gd name="connsiteX59" fmla="*/ 1087777 w 4519987"/>
              <a:gd name="connsiteY59" fmla="*/ 4143375 h 4496940"/>
              <a:gd name="connsiteX60" fmla="*/ 1030627 w 4519987"/>
              <a:gd name="connsiteY60" fmla="*/ 4124325 h 4496940"/>
              <a:gd name="connsiteX61" fmla="*/ 925852 w 4519987"/>
              <a:gd name="connsiteY61" fmla="*/ 4067175 h 4496940"/>
              <a:gd name="connsiteX62" fmla="*/ 830602 w 4519987"/>
              <a:gd name="connsiteY62" fmla="*/ 3981450 h 4496940"/>
              <a:gd name="connsiteX63" fmla="*/ 763927 w 4519987"/>
              <a:gd name="connsiteY63" fmla="*/ 3914775 h 4496940"/>
              <a:gd name="connsiteX64" fmla="*/ 725827 w 4519987"/>
              <a:gd name="connsiteY64" fmla="*/ 3876675 h 4496940"/>
              <a:gd name="connsiteX65" fmla="*/ 697252 w 4519987"/>
              <a:gd name="connsiteY65" fmla="*/ 3838575 h 4496940"/>
              <a:gd name="connsiteX66" fmla="*/ 640102 w 4519987"/>
              <a:gd name="connsiteY66" fmla="*/ 3781425 h 4496940"/>
              <a:gd name="connsiteX67" fmla="*/ 611527 w 4519987"/>
              <a:gd name="connsiteY67" fmla="*/ 3733800 h 4496940"/>
              <a:gd name="connsiteX68" fmla="*/ 554377 w 4519987"/>
              <a:gd name="connsiteY68" fmla="*/ 3657600 h 4496940"/>
              <a:gd name="connsiteX69" fmla="*/ 525802 w 4519987"/>
              <a:gd name="connsiteY69" fmla="*/ 3609975 h 4496940"/>
              <a:gd name="connsiteX70" fmla="*/ 497227 w 4519987"/>
              <a:gd name="connsiteY70" fmla="*/ 3552825 h 4496940"/>
              <a:gd name="connsiteX71" fmla="*/ 440077 w 4519987"/>
              <a:gd name="connsiteY71" fmla="*/ 3495675 h 4496940"/>
              <a:gd name="connsiteX72" fmla="*/ 411502 w 4519987"/>
              <a:gd name="connsiteY72" fmla="*/ 3448050 h 4496940"/>
              <a:gd name="connsiteX73" fmla="*/ 278152 w 4519987"/>
              <a:gd name="connsiteY73" fmla="*/ 3257550 h 4496940"/>
              <a:gd name="connsiteX74" fmla="*/ 249577 w 4519987"/>
              <a:gd name="connsiteY74" fmla="*/ 3200400 h 4496940"/>
              <a:gd name="connsiteX75" fmla="*/ 240052 w 4519987"/>
              <a:gd name="connsiteY75" fmla="*/ 3162300 h 4496940"/>
              <a:gd name="connsiteX76" fmla="*/ 221002 w 4519987"/>
              <a:gd name="connsiteY76" fmla="*/ 3105150 h 4496940"/>
              <a:gd name="connsiteX77" fmla="*/ 173377 w 4519987"/>
              <a:gd name="connsiteY77" fmla="*/ 3019425 h 4496940"/>
              <a:gd name="connsiteX78" fmla="*/ 144802 w 4519987"/>
              <a:gd name="connsiteY78" fmla="*/ 2924175 h 4496940"/>
              <a:gd name="connsiteX79" fmla="*/ 68602 w 4519987"/>
              <a:gd name="connsiteY79" fmla="*/ 2724150 h 4496940"/>
              <a:gd name="connsiteX80" fmla="*/ 49552 w 4519987"/>
              <a:gd name="connsiteY80" fmla="*/ 2638425 h 4496940"/>
              <a:gd name="connsiteX81" fmla="*/ 40027 w 4519987"/>
              <a:gd name="connsiteY81" fmla="*/ 2562225 h 4496940"/>
              <a:gd name="connsiteX82" fmla="*/ 30502 w 4519987"/>
              <a:gd name="connsiteY82" fmla="*/ 2514600 h 4496940"/>
              <a:gd name="connsiteX83" fmla="*/ 11452 w 4519987"/>
              <a:gd name="connsiteY83" fmla="*/ 2400300 h 4496940"/>
              <a:gd name="connsiteX84" fmla="*/ 20977 w 4519987"/>
              <a:gd name="connsiteY84" fmla="*/ 1905000 h 4496940"/>
              <a:gd name="connsiteX85" fmla="*/ 30502 w 4519987"/>
              <a:gd name="connsiteY85" fmla="*/ 1838325 h 4496940"/>
              <a:gd name="connsiteX86" fmla="*/ 49552 w 4519987"/>
              <a:gd name="connsiteY86" fmla="*/ 1781175 h 4496940"/>
              <a:gd name="connsiteX87" fmla="*/ 59077 w 4519987"/>
              <a:gd name="connsiteY87" fmla="*/ 1743075 h 4496940"/>
              <a:gd name="connsiteX88" fmla="*/ 78127 w 4519987"/>
              <a:gd name="connsiteY88" fmla="*/ 1685925 h 4496940"/>
              <a:gd name="connsiteX89" fmla="*/ 87652 w 4519987"/>
              <a:gd name="connsiteY89" fmla="*/ 1638300 h 4496940"/>
              <a:gd name="connsiteX90" fmla="*/ 106702 w 4519987"/>
              <a:gd name="connsiteY90" fmla="*/ 1590675 h 4496940"/>
              <a:gd name="connsiteX91" fmla="*/ 135277 w 4519987"/>
              <a:gd name="connsiteY91" fmla="*/ 1504950 h 4496940"/>
              <a:gd name="connsiteX92" fmla="*/ 154327 w 4519987"/>
              <a:gd name="connsiteY92" fmla="*/ 1419225 h 4496940"/>
              <a:gd name="connsiteX93" fmla="*/ 230527 w 4519987"/>
              <a:gd name="connsiteY93" fmla="*/ 1276350 h 4496940"/>
              <a:gd name="connsiteX94" fmla="*/ 240052 w 4519987"/>
              <a:gd name="connsiteY94" fmla="*/ 1247775 h 4496940"/>
              <a:gd name="connsiteX95" fmla="*/ 268627 w 4519987"/>
              <a:gd name="connsiteY95" fmla="*/ 1200150 h 4496940"/>
              <a:gd name="connsiteX96" fmla="*/ 287677 w 4519987"/>
              <a:gd name="connsiteY96" fmla="*/ 1152525 h 4496940"/>
              <a:gd name="connsiteX97" fmla="*/ 316252 w 4519987"/>
              <a:gd name="connsiteY97" fmla="*/ 1114425 h 4496940"/>
              <a:gd name="connsiteX98" fmla="*/ 363877 w 4519987"/>
              <a:gd name="connsiteY98" fmla="*/ 1038225 h 4496940"/>
              <a:gd name="connsiteX99" fmla="*/ 382927 w 4519987"/>
              <a:gd name="connsiteY99" fmla="*/ 1009650 h 4496940"/>
              <a:gd name="connsiteX100" fmla="*/ 440077 w 4519987"/>
              <a:gd name="connsiteY100" fmla="*/ 904875 h 4496940"/>
              <a:gd name="connsiteX101" fmla="*/ 478177 w 4519987"/>
              <a:gd name="connsiteY101" fmla="*/ 857250 h 4496940"/>
              <a:gd name="connsiteX102" fmla="*/ 497227 w 4519987"/>
              <a:gd name="connsiteY102" fmla="*/ 828675 h 4496940"/>
              <a:gd name="connsiteX103" fmla="*/ 535327 w 4519987"/>
              <a:gd name="connsiteY103" fmla="*/ 800100 h 4496940"/>
              <a:gd name="connsiteX104" fmla="*/ 602002 w 4519987"/>
              <a:gd name="connsiteY104" fmla="*/ 733425 h 4496940"/>
              <a:gd name="connsiteX105" fmla="*/ 668677 w 4519987"/>
              <a:gd name="connsiteY105" fmla="*/ 676275 h 4496940"/>
              <a:gd name="connsiteX106" fmla="*/ 697252 w 4519987"/>
              <a:gd name="connsiteY106" fmla="*/ 657225 h 4496940"/>
              <a:gd name="connsiteX107" fmla="*/ 840127 w 4519987"/>
              <a:gd name="connsiteY107" fmla="*/ 533400 h 4496940"/>
              <a:gd name="connsiteX108" fmla="*/ 887752 w 4519987"/>
              <a:gd name="connsiteY108" fmla="*/ 504825 h 4496940"/>
              <a:gd name="connsiteX109" fmla="*/ 1167152 w 4519987"/>
              <a:gd name="connsiteY109" fmla="*/ 311150 h 4496940"/>
              <a:gd name="connsiteX110" fmla="*/ 1268752 w 4519987"/>
              <a:gd name="connsiteY110" fmla="*/ 285750 h 4496940"/>
              <a:gd name="connsiteX111" fmla="*/ 1411627 w 4519987"/>
              <a:gd name="connsiteY111" fmla="*/ 190500 h 4496940"/>
              <a:gd name="connsiteX112" fmla="*/ 1449727 w 4519987"/>
              <a:gd name="connsiteY112" fmla="*/ 161925 h 4496940"/>
              <a:gd name="connsiteX113" fmla="*/ 1525927 w 4519987"/>
              <a:gd name="connsiteY113" fmla="*/ 152400 h 4496940"/>
              <a:gd name="connsiteX114" fmla="*/ 1583077 w 4519987"/>
              <a:gd name="connsiteY114" fmla="*/ 142875 h 4496940"/>
              <a:gd name="connsiteX115" fmla="*/ 1716427 w 4519987"/>
              <a:gd name="connsiteY115" fmla="*/ 123825 h 4496940"/>
              <a:gd name="connsiteX116" fmla="*/ 1811677 w 4519987"/>
              <a:gd name="connsiteY116" fmla="*/ 114300 h 4496940"/>
              <a:gd name="connsiteX117" fmla="*/ 1859302 w 4519987"/>
              <a:gd name="connsiteY117" fmla="*/ 104775 h 4496940"/>
              <a:gd name="connsiteX118" fmla="*/ 1916452 w 4519987"/>
              <a:gd name="connsiteY118" fmla="*/ 95250 h 4496940"/>
              <a:gd name="connsiteX119" fmla="*/ 2030752 w 4519987"/>
              <a:gd name="connsiteY119" fmla="*/ 66675 h 4496940"/>
              <a:gd name="connsiteX120" fmla="*/ 2097427 w 4519987"/>
              <a:gd name="connsiteY120" fmla="*/ 47625 h 4496940"/>
              <a:gd name="connsiteX121" fmla="*/ 2164102 w 4519987"/>
              <a:gd name="connsiteY121" fmla="*/ 38100 h 4496940"/>
              <a:gd name="connsiteX122" fmla="*/ 2392702 w 4519987"/>
              <a:gd name="connsiteY12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40427 w 4519987"/>
              <a:gd name="connsiteY37" fmla="*/ 426720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97502 w 4519987"/>
              <a:gd name="connsiteY42" fmla="*/ 4429125 h 4496940"/>
              <a:gd name="connsiteX43" fmla="*/ 2640352 w 4519987"/>
              <a:gd name="connsiteY43" fmla="*/ 4457700 h 4496940"/>
              <a:gd name="connsiteX44" fmla="*/ 2583202 w 4519987"/>
              <a:gd name="connsiteY44" fmla="*/ 4467225 h 4496940"/>
              <a:gd name="connsiteX45" fmla="*/ 2545102 w 4519987"/>
              <a:gd name="connsiteY45" fmla="*/ 4486275 h 4496940"/>
              <a:gd name="connsiteX46" fmla="*/ 2306977 w 4519987"/>
              <a:gd name="connsiteY46" fmla="*/ 4476750 h 4496940"/>
              <a:gd name="connsiteX47" fmla="*/ 2202202 w 4519987"/>
              <a:gd name="connsiteY47" fmla="*/ 4457700 h 4496940"/>
              <a:gd name="connsiteX48" fmla="*/ 2126002 w 4519987"/>
              <a:gd name="connsiteY48" fmla="*/ 4429125 h 4496940"/>
              <a:gd name="connsiteX49" fmla="*/ 1935502 w 4519987"/>
              <a:gd name="connsiteY49" fmla="*/ 4400550 h 4496940"/>
              <a:gd name="connsiteX50" fmla="*/ 1821202 w 4519987"/>
              <a:gd name="connsiteY50" fmla="*/ 4371975 h 4496940"/>
              <a:gd name="connsiteX51" fmla="*/ 1754527 w 4519987"/>
              <a:gd name="connsiteY51" fmla="*/ 4352925 h 4496940"/>
              <a:gd name="connsiteX52" fmla="*/ 1687852 w 4519987"/>
              <a:gd name="connsiteY52" fmla="*/ 4343400 h 4496940"/>
              <a:gd name="connsiteX53" fmla="*/ 1573552 w 4519987"/>
              <a:gd name="connsiteY53" fmla="*/ 4305300 h 4496940"/>
              <a:gd name="connsiteX54" fmla="*/ 1402102 w 4519987"/>
              <a:gd name="connsiteY54" fmla="*/ 4276725 h 4496940"/>
              <a:gd name="connsiteX55" fmla="*/ 1287802 w 4519987"/>
              <a:gd name="connsiteY55" fmla="*/ 4229100 h 4496940"/>
              <a:gd name="connsiteX56" fmla="*/ 1221127 w 4519987"/>
              <a:gd name="connsiteY56" fmla="*/ 4200525 h 4496940"/>
              <a:gd name="connsiteX57" fmla="*/ 1144927 w 4519987"/>
              <a:gd name="connsiteY57" fmla="*/ 4171950 h 4496940"/>
              <a:gd name="connsiteX58" fmla="*/ 1087777 w 4519987"/>
              <a:gd name="connsiteY58" fmla="*/ 4143375 h 4496940"/>
              <a:gd name="connsiteX59" fmla="*/ 1030627 w 4519987"/>
              <a:gd name="connsiteY59" fmla="*/ 4124325 h 4496940"/>
              <a:gd name="connsiteX60" fmla="*/ 925852 w 4519987"/>
              <a:gd name="connsiteY60" fmla="*/ 4067175 h 4496940"/>
              <a:gd name="connsiteX61" fmla="*/ 830602 w 4519987"/>
              <a:gd name="connsiteY61" fmla="*/ 3981450 h 4496940"/>
              <a:gd name="connsiteX62" fmla="*/ 763927 w 4519987"/>
              <a:gd name="connsiteY62" fmla="*/ 3914775 h 4496940"/>
              <a:gd name="connsiteX63" fmla="*/ 725827 w 4519987"/>
              <a:gd name="connsiteY63" fmla="*/ 3876675 h 4496940"/>
              <a:gd name="connsiteX64" fmla="*/ 697252 w 4519987"/>
              <a:gd name="connsiteY64" fmla="*/ 3838575 h 4496940"/>
              <a:gd name="connsiteX65" fmla="*/ 640102 w 4519987"/>
              <a:gd name="connsiteY65" fmla="*/ 3781425 h 4496940"/>
              <a:gd name="connsiteX66" fmla="*/ 611527 w 4519987"/>
              <a:gd name="connsiteY66" fmla="*/ 3733800 h 4496940"/>
              <a:gd name="connsiteX67" fmla="*/ 554377 w 4519987"/>
              <a:gd name="connsiteY67" fmla="*/ 3657600 h 4496940"/>
              <a:gd name="connsiteX68" fmla="*/ 525802 w 4519987"/>
              <a:gd name="connsiteY68" fmla="*/ 3609975 h 4496940"/>
              <a:gd name="connsiteX69" fmla="*/ 497227 w 4519987"/>
              <a:gd name="connsiteY69" fmla="*/ 3552825 h 4496940"/>
              <a:gd name="connsiteX70" fmla="*/ 440077 w 4519987"/>
              <a:gd name="connsiteY70" fmla="*/ 3495675 h 4496940"/>
              <a:gd name="connsiteX71" fmla="*/ 411502 w 4519987"/>
              <a:gd name="connsiteY71" fmla="*/ 3448050 h 4496940"/>
              <a:gd name="connsiteX72" fmla="*/ 278152 w 4519987"/>
              <a:gd name="connsiteY72" fmla="*/ 3257550 h 4496940"/>
              <a:gd name="connsiteX73" fmla="*/ 249577 w 4519987"/>
              <a:gd name="connsiteY73" fmla="*/ 3200400 h 4496940"/>
              <a:gd name="connsiteX74" fmla="*/ 240052 w 4519987"/>
              <a:gd name="connsiteY74" fmla="*/ 3162300 h 4496940"/>
              <a:gd name="connsiteX75" fmla="*/ 221002 w 4519987"/>
              <a:gd name="connsiteY75" fmla="*/ 3105150 h 4496940"/>
              <a:gd name="connsiteX76" fmla="*/ 173377 w 4519987"/>
              <a:gd name="connsiteY76" fmla="*/ 3019425 h 4496940"/>
              <a:gd name="connsiteX77" fmla="*/ 144802 w 4519987"/>
              <a:gd name="connsiteY77" fmla="*/ 2924175 h 4496940"/>
              <a:gd name="connsiteX78" fmla="*/ 68602 w 4519987"/>
              <a:gd name="connsiteY78" fmla="*/ 2724150 h 4496940"/>
              <a:gd name="connsiteX79" fmla="*/ 49552 w 4519987"/>
              <a:gd name="connsiteY79" fmla="*/ 2638425 h 4496940"/>
              <a:gd name="connsiteX80" fmla="*/ 40027 w 4519987"/>
              <a:gd name="connsiteY80" fmla="*/ 2562225 h 4496940"/>
              <a:gd name="connsiteX81" fmla="*/ 30502 w 4519987"/>
              <a:gd name="connsiteY81" fmla="*/ 2514600 h 4496940"/>
              <a:gd name="connsiteX82" fmla="*/ 11452 w 4519987"/>
              <a:gd name="connsiteY82" fmla="*/ 2400300 h 4496940"/>
              <a:gd name="connsiteX83" fmla="*/ 20977 w 4519987"/>
              <a:gd name="connsiteY83" fmla="*/ 1905000 h 4496940"/>
              <a:gd name="connsiteX84" fmla="*/ 30502 w 4519987"/>
              <a:gd name="connsiteY84" fmla="*/ 1838325 h 4496940"/>
              <a:gd name="connsiteX85" fmla="*/ 49552 w 4519987"/>
              <a:gd name="connsiteY85" fmla="*/ 1781175 h 4496940"/>
              <a:gd name="connsiteX86" fmla="*/ 59077 w 4519987"/>
              <a:gd name="connsiteY86" fmla="*/ 1743075 h 4496940"/>
              <a:gd name="connsiteX87" fmla="*/ 78127 w 4519987"/>
              <a:gd name="connsiteY87" fmla="*/ 1685925 h 4496940"/>
              <a:gd name="connsiteX88" fmla="*/ 87652 w 4519987"/>
              <a:gd name="connsiteY88" fmla="*/ 1638300 h 4496940"/>
              <a:gd name="connsiteX89" fmla="*/ 106702 w 4519987"/>
              <a:gd name="connsiteY89" fmla="*/ 1590675 h 4496940"/>
              <a:gd name="connsiteX90" fmla="*/ 135277 w 4519987"/>
              <a:gd name="connsiteY90" fmla="*/ 1504950 h 4496940"/>
              <a:gd name="connsiteX91" fmla="*/ 154327 w 4519987"/>
              <a:gd name="connsiteY91" fmla="*/ 1419225 h 4496940"/>
              <a:gd name="connsiteX92" fmla="*/ 230527 w 4519987"/>
              <a:gd name="connsiteY92" fmla="*/ 1276350 h 4496940"/>
              <a:gd name="connsiteX93" fmla="*/ 240052 w 4519987"/>
              <a:gd name="connsiteY93" fmla="*/ 1247775 h 4496940"/>
              <a:gd name="connsiteX94" fmla="*/ 268627 w 4519987"/>
              <a:gd name="connsiteY94" fmla="*/ 1200150 h 4496940"/>
              <a:gd name="connsiteX95" fmla="*/ 287677 w 4519987"/>
              <a:gd name="connsiteY95" fmla="*/ 1152525 h 4496940"/>
              <a:gd name="connsiteX96" fmla="*/ 316252 w 4519987"/>
              <a:gd name="connsiteY96" fmla="*/ 1114425 h 4496940"/>
              <a:gd name="connsiteX97" fmla="*/ 363877 w 4519987"/>
              <a:gd name="connsiteY97" fmla="*/ 1038225 h 4496940"/>
              <a:gd name="connsiteX98" fmla="*/ 382927 w 4519987"/>
              <a:gd name="connsiteY98" fmla="*/ 1009650 h 4496940"/>
              <a:gd name="connsiteX99" fmla="*/ 440077 w 4519987"/>
              <a:gd name="connsiteY99" fmla="*/ 904875 h 4496940"/>
              <a:gd name="connsiteX100" fmla="*/ 478177 w 4519987"/>
              <a:gd name="connsiteY100" fmla="*/ 857250 h 4496940"/>
              <a:gd name="connsiteX101" fmla="*/ 497227 w 4519987"/>
              <a:gd name="connsiteY101" fmla="*/ 828675 h 4496940"/>
              <a:gd name="connsiteX102" fmla="*/ 535327 w 4519987"/>
              <a:gd name="connsiteY102" fmla="*/ 800100 h 4496940"/>
              <a:gd name="connsiteX103" fmla="*/ 602002 w 4519987"/>
              <a:gd name="connsiteY103" fmla="*/ 733425 h 4496940"/>
              <a:gd name="connsiteX104" fmla="*/ 668677 w 4519987"/>
              <a:gd name="connsiteY104" fmla="*/ 676275 h 4496940"/>
              <a:gd name="connsiteX105" fmla="*/ 697252 w 4519987"/>
              <a:gd name="connsiteY105" fmla="*/ 657225 h 4496940"/>
              <a:gd name="connsiteX106" fmla="*/ 840127 w 4519987"/>
              <a:gd name="connsiteY106" fmla="*/ 533400 h 4496940"/>
              <a:gd name="connsiteX107" fmla="*/ 887752 w 4519987"/>
              <a:gd name="connsiteY107" fmla="*/ 504825 h 4496940"/>
              <a:gd name="connsiteX108" fmla="*/ 1167152 w 4519987"/>
              <a:gd name="connsiteY108" fmla="*/ 311150 h 4496940"/>
              <a:gd name="connsiteX109" fmla="*/ 1268752 w 4519987"/>
              <a:gd name="connsiteY109" fmla="*/ 285750 h 4496940"/>
              <a:gd name="connsiteX110" fmla="*/ 1411627 w 4519987"/>
              <a:gd name="connsiteY110" fmla="*/ 190500 h 4496940"/>
              <a:gd name="connsiteX111" fmla="*/ 1449727 w 4519987"/>
              <a:gd name="connsiteY111" fmla="*/ 161925 h 4496940"/>
              <a:gd name="connsiteX112" fmla="*/ 1525927 w 4519987"/>
              <a:gd name="connsiteY112" fmla="*/ 152400 h 4496940"/>
              <a:gd name="connsiteX113" fmla="*/ 1583077 w 4519987"/>
              <a:gd name="connsiteY113" fmla="*/ 142875 h 4496940"/>
              <a:gd name="connsiteX114" fmla="*/ 1716427 w 4519987"/>
              <a:gd name="connsiteY114" fmla="*/ 123825 h 4496940"/>
              <a:gd name="connsiteX115" fmla="*/ 1811677 w 4519987"/>
              <a:gd name="connsiteY115" fmla="*/ 114300 h 4496940"/>
              <a:gd name="connsiteX116" fmla="*/ 1859302 w 4519987"/>
              <a:gd name="connsiteY116" fmla="*/ 104775 h 4496940"/>
              <a:gd name="connsiteX117" fmla="*/ 1916452 w 4519987"/>
              <a:gd name="connsiteY117" fmla="*/ 95250 h 4496940"/>
              <a:gd name="connsiteX118" fmla="*/ 2030752 w 4519987"/>
              <a:gd name="connsiteY118" fmla="*/ 66675 h 4496940"/>
              <a:gd name="connsiteX119" fmla="*/ 2097427 w 4519987"/>
              <a:gd name="connsiteY119" fmla="*/ 47625 h 4496940"/>
              <a:gd name="connsiteX120" fmla="*/ 2164102 w 4519987"/>
              <a:gd name="connsiteY120" fmla="*/ 38100 h 4496940"/>
              <a:gd name="connsiteX121" fmla="*/ 2392702 w 4519987"/>
              <a:gd name="connsiteY12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21377 w 4519987"/>
              <a:gd name="connsiteY37" fmla="*/ 422275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97502 w 4519987"/>
              <a:gd name="connsiteY42" fmla="*/ 4429125 h 4496940"/>
              <a:gd name="connsiteX43" fmla="*/ 2640352 w 4519987"/>
              <a:gd name="connsiteY43" fmla="*/ 4457700 h 4496940"/>
              <a:gd name="connsiteX44" fmla="*/ 2583202 w 4519987"/>
              <a:gd name="connsiteY44" fmla="*/ 4467225 h 4496940"/>
              <a:gd name="connsiteX45" fmla="*/ 2545102 w 4519987"/>
              <a:gd name="connsiteY45" fmla="*/ 4486275 h 4496940"/>
              <a:gd name="connsiteX46" fmla="*/ 2306977 w 4519987"/>
              <a:gd name="connsiteY46" fmla="*/ 4476750 h 4496940"/>
              <a:gd name="connsiteX47" fmla="*/ 2202202 w 4519987"/>
              <a:gd name="connsiteY47" fmla="*/ 4457700 h 4496940"/>
              <a:gd name="connsiteX48" fmla="*/ 2126002 w 4519987"/>
              <a:gd name="connsiteY48" fmla="*/ 4429125 h 4496940"/>
              <a:gd name="connsiteX49" fmla="*/ 1935502 w 4519987"/>
              <a:gd name="connsiteY49" fmla="*/ 4400550 h 4496940"/>
              <a:gd name="connsiteX50" fmla="*/ 1821202 w 4519987"/>
              <a:gd name="connsiteY50" fmla="*/ 4371975 h 4496940"/>
              <a:gd name="connsiteX51" fmla="*/ 1754527 w 4519987"/>
              <a:gd name="connsiteY51" fmla="*/ 4352925 h 4496940"/>
              <a:gd name="connsiteX52" fmla="*/ 1687852 w 4519987"/>
              <a:gd name="connsiteY52" fmla="*/ 4343400 h 4496940"/>
              <a:gd name="connsiteX53" fmla="*/ 1573552 w 4519987"/>
              <a:gd name="connsiteY53" fmla="*/ 4305300 h 4496940"/>
              <a:gd name="connsiteX54" fmla="*/ 1402102 w 4519987"/>
              <a:gd name="connsiteY54" fmla="*/ 4276725 h 4496940"/>
              <a:gd name="connsiteX55" fmla="*/ 1287802 w 4519987"/>
              <a:gd name="connsiteY55" fmla="*/ 4229100 h 4496940"/>
              <a:gd name="connsiteX56" fmla="*/ 1221127 w 4519987"/>
              <a:gd name="connsiteY56" fmla="*/ 4200525 h 4496940"/>
              <a:gd name="connsiteX57" fmla="*/ 1144927 w 4519987"/>
              <a:gd name="connsiteY57" fmla="*/ 4171950 h 4496940"/>
              <a:gd name="connsiteX58" fmla="*/ 1087777 w 4519987"/>
              <a:gd name="connsiteY58" fmla="*/ 4143375 h 4496940"/>
              <a:gd name="connsiteX59" fmla="*/ 1030627 w 4519987"/>
              <a:gd name="connsiteY59" fmla="*/ 4124325 h 4496940"/>
              <a:gd name="connsiteX60" fmla="*/ 925852 w 4519987"/>
              <a:gd name="connsiteY60" fmla="*/ 4067175 h 4496940"/>
              <a:gd name="connsiteX61" fmla="*/ 830602 w 4519987"/>
              <a:gd name="connsiteY61" fmla="*/ 3981450 h 4496940"/>
              <a:gd name="connsiteX62" fmla="*/ 763927 w 4519987"/>
              <a:gd name="connsiteY62" fmla="*/ 3914775 h 4496940"/>
              <a:gd name="connsiteX63" fmla="*/ 725827 w 4519987"/>
              <a:gd name="connsiteY63" fmla="*/ 3876675 h 4496940"/>
              <a:gd name="connsiteX64" fmla="*/ 697252 w 4519987"/>
              <a:gd name="connsiteY64" fmla="*/ 3838575 h 4496940"/>
              <a:gd name="connsiteX65" fmla="*/ 640102 w 4519987"/>
              <a:gd name="connsiteY65" fmla="*/ 3781425 h 4496940"/>
              <a:gd name="connsiteX66" fmla="*/ 611527 w 4519987"/>
              <a:gd name="connsiteY66" fmla="*/ 3733800 h 4496940"/>
              <a:gd name="connsiteX67" fmla="*/ 554377 w 4519987"/>
              <a:gd name="connsiteY67" fmla="*/ 3657600 h 4496940"/>
              <a:gd name="connsiteX68" fmla="*/ 525802 w 4519987"/>
              <a:gd name="connsiteY68" fmla="*/ 3609975 h 4496940"/>
              <a:gd name="connsiteX69" fmla="*/ 497227 w 4519987"/>
              <a:gd name="connsiteY69" fmla="*/ 3552825 h 4496940"/>
              <a:gd name="connsiteX70" fmla="*/ 440077 w 4519987"/>
              <a:gd name="connsiteY70" fmla="*/ 3495675 h 4496940"/>
              <a:gd name="connsiteX71" fmla="*/ 411502 w 4519987"/>
              <a:gd name="connsiteY71" fmla="*/ 3448050 h 4496940"/>
              <a:gd name="connsiteX72" fmla="*/ 278152 w 4519987"/>
              <a:gd name="connsiteY72" fmla="*/ 3257550 h 4496940"/>
              <a:gd name="connsiteX73" fmla="*/ 249577 w 4519987"/>
              <a:gd name="connsiteY73" fmla="*/ 3200400 h 4496940"/>
              <a:gd name="connsiteX74" fmla="*/ 240052 w 4519987"/>
              <a:gd name="connsiteY74" fmla="*/ 3162300 h 4496940"/>
              <a:gd name="connsiteX75" fmla="*/ 221002 w 4519987"/>
              <a:gd name="connsiteY75" fmla="*/ 3105150 h 4496940"/>
              <a:gd name="connsiteX76" fmla="*/ 173377 w 4519987"/>
              <a:gd name="connsiteY76" fmla="*/ 3019425 h 4496940"/>
              <a:gd name="connsiteX77" fmla="*/ 144802 w 4519987"/>
              <a:gd name="connsiteY77" fmla="*/ 2924175 h 4496940"/>
              <a:gd name="connsiteX78" fmla="*/ 68602 w 4519987"/>
              <a:gd name="connsiteY78" fmla="*/ 2724150 h 4496940"/>
              <a:gd name="connsiteX79" fmla="*/ 49552 w 4519987"/>
              <a:gd name="connsiteY79" fmla="*/ 2638425 h 4496940"/>
              <a:gd name="connsiteX80" fmla="*/ 40027 w 4519987"/>
              <a:gd name="connsiteY80" fmla="*/ 2562225 h 4496940"/>
              <a:gd name="connsiteX81" fmla="*/ 30502 w 4519987"/>
              <a:gd name="connsiteY81" fmla="*/ 2514600 h 4496940"/>
              <a:gd name="connsiteX82" fmla="*/ 11452 w 4519987"/>
              <a:gd name="connsiteY82" fmla="*/ 2400300 h 4496940"/>
              <a:gd name="connsiteX83" fmla="*/ 20977 w 4519987"/>
              <a:gd name="connsiteY83" fmla="*/ 1905000 h 4496940"/>
              <a:gd name="connsiteX84" fmla="*/ 30502 w 4519987"/>
              <a:gd name="connsiteY84" fmla="*/ 1838325 h 4496940"/>
              <a:gd name="connsiteX85" fmla="*/ 49552 w 4519987"/>
              <a:gd name="connsiteY85" fmla="*/ 1781175 h 4496940"/>
              <a:gd name="connsiteX86" fmla="*/ 59077 w 4519987"/>
              <a:gd name="connsiteY86" fmla="*/ 1743075 h 4496940"/>
              <a:gd name="connsiteX87" fmla="*/ 78127 w 4519987"/>
              <a:gd name="connsiteY87" fmla="*/ 1685925 h 4496940"/>
              <a:gd name="connsiteX88" fmla="*/ 87652 w 4519987"/>
              <a:gd name="connsiteY88" fmla="*/ 1638300 h 4496940"/>
              <a:gd name="connsiteX89" fmla="*/ 106702 w 4519987"/>
              <a:gd name="connsiteY89" fmla="*/ 1590675 h 4496940"/>
              <a:gd name="connsiteX90" fmla="*/ 135277 w 4519987"/>
              <a:gd name="connsiteY90" fmla="*/ 1504950 h 4496940"/>
              <a:gd name="connsiteX91" fmla="*/ 154327 w 4519987"/>
              <a:gd name="connsiteY91" fmla="*/ 1419225 h 4496940"/>
              <a:gd name="connsiteX92" fmla="*/ 230527 w 4519987"/>
              <a:gd name="connsiteY92" fmla="*/ 1276350 h 4496940"/>
              <a:gd name="connsiteX93" fmla="*/ 240052 w 4519987"/>
              <a:gd name="connsiteY93" fmla="*/ 1247775 h 4496940"/>
              <a:gd name="connsiteX94" fmla="*/ 268627 w 4519987"/>
              <a:gd name="connsiteY94" fmla="*/ 1200150 h 4496940"/>
              <a:gd name="connsiteX95" fmla="*/ 287677 w 4519987"/>
              <a:gd name="connsiteY95" fmla="*/ 1152525 h 4496940"/>
              <a:gd name="connsiteX96" fmla="*/ 316252 w 4519987"/>
              <a:gd name="connsiteY96" fmla="*/ 1114425 h 4496940"/>
              <a:gd name="connsiteX97" fmla="*/ 363877 w 4519987"/>
              <a:gd name="connsiteY97" fmla="*/ 1038225 h 4496940"/>
              <a:gd name="connsiteX98" fmla="*/ 382927 w 4519987"/>
              <a:gd name="connsiteY98" fmla="*/ 1009650 h 4496940"/>
              <a:gd name="connsiteX99" fmla="*/ 440077 w 4519987"/>
              <a:gd name="connsiteY99" fmla="*/ 904875 h 4496940"/>
              <a:gd name="connsiteX100" fmla="*/ 478177 w 4519987"/>
              <a:gd name="connsiteY100" fmla="*/ 857250 h 4496940"/>
              <a:gd name="connsiteX101" fmla="*/ 497227 w 4519987"/>
              <a:gd name="connsiteY101" fmla="*/ 828675 h 4496940"/>
              <a:gd name="connsiteX102" fmla="*/ 535327 w 4519987"/>
              <a:gd name="connsiteY102" fmla="*/ 800100 h 4496940"/>
              <a:gd name="connsiteX103" fmla="*/ 602002 w 4519987"/>
              <a:gd name="connsiteY103" fmla="*/ 733425 h 4496940"/>
              <a:gd name="connsiteX104" fmla="*/ 668677 w 4519987"/>
              <a:gd name="connsiteY104" fmla="*/ 676275 h 4496940"/>
              <a:gd name="connsiteX105" fmla="*/ 697252 w 4519987"/>
              <a:gd name="connsiteY105" fmla="*/ 657225 h 4496940"/>
              <a:gd name="connsiteX106" fmla="*/ 840127 w 4519987"/>
              <a:gd name="connsiteY106" fmla="*/ 533400 h 4496940"/>
              <a:gd name="connsiteX107" fmla="*/ 887752 w 4519987"/>
              <a:gd name="connsiteY107" fmla="*/ 504825 h 4496940"/>
              <a:gd name="connsiteX108" fmla="*/ 1167152 w 4519987"/>
              <a:gd name="connsiteY108" fmla="*/ 311150 h 4496940"/>
              <a:gd name="connsiteX109" fmla="*/ 1268752 w 4519987"/>
              <a:gd name="connsiteY109" fmla="*/ 285750 h 4496940"/>
              <a:gd name="connsiteX110" fmla="*/ 1411627 w 4519987"/>
              <a:gd name="connsiteY110" fmla="*/ 190500 h 4496940"/>
              <a:gd name="connsiteX111" fmla="*/ 1449727 w 4519987"/>
              <a:gd name="connsiteY111" fmla="*/ 161925 h 4496940"/>
              <a:gd name="connsiteX112" fmla="*/ 1525927 w 4519987"/>
              <a:gd name="connsiteY112" fmla="*/ 152400 h 4496940"/>
              <a:gd name="connsiteX113" fmla="*/ 1583077 w 4519987"/>
              <a:gd name="connsiteY113" fmla="*/ 142875 h 4496940"/>
              <a:gd name="connsiteX114" fmla="*/ 1716427 w 4519987"/>
              <a:gd name="connsiteY114" fmla="*/ 123825 h 4496940"/>
              <a:gd name="connsiteX115" fmla="*/ 1811677 w 4519987"/>
              <a:gd name="connsiteY115" fmla="*/ 114300 h 4496940"/>
              <a:gd name="connsiteX116" fmla="*/ 1859302 w 4519987"/>
              <a:gd name="connsiteY116" fmla="*/ 104775 h 4496940"/>
              <a:gd name="connsiteX117" fmla="*/ 1916452 w 4519987"/>
              <a:gd name="connsiteY117" fmla="*/ 95250 h 4496940"/>
              <a:gd name="connsiteX118" fmla="*/ 2030752 w 4519987"/>
              <a:gd name="connsiteY118" fmla="*/ 66675 h 4496940"/>
              <a:gd name="connsiteX119" fmla="*/ 2097427 w 4519987"/>
              <a:gd name="connsiteY119" fmla="*/ 47625 h 4496940"/>
              <a:gd name="connsiteX120" fmla="*/ 2164102 w 4519987"/>
              <a:gd name="connsiteY120" fmla="*/ 38100 h 4496940"/>
              <a:gd name="connsiteX121" fmla="*/ 2392702 w 4519987"/>
              <a:gd name="connsiteY12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21377 w 4519987"/>
              <a:gd name="connsiteY37" fmla="*/ 422275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40352 w 4519987"/>
              <a:gd name="connsiteY42" fmla="*/ 4457700 h 4496940"/>
              <a:gd name="connsiteX43" fmla="*/ 2583202 w 4519987"/>
              <a:gd name="connsiteY43" fmla="*/ 4467225 h 4496940"/>
              <a:gd name="connsiteX44" fmla="*/ 2545102 w 4519987"/>
              <a:gd name="connsiteY44" fmla="*/ 4486275 h 4496940"/>
              <a:gd name="connsiteX45" fmla="*/ 2306977 w 4519987"/>
              <a:gd name="connsiteY45" fmla="*/ 4476750 h 4496940"/>
              <a:gd name="connsiteX46" fmla="*/ 2202202 w 4519987"/>
              <a:gd name="connsiteY46" fmla="*/ 4457700 h 4496940"/>
              <a:gd name="connsiteX47" fmla="*/ 2126002 w 4519987"/>
              <a:gd name="connsiteY47" fmla="*/ 4429125 h 4496940"/>
              <a:gd name="connsiteX48" fmla="*/ 1935502 w 4519987"/>
              <a:gd name="connsiteY48" fmla="*/ 4400550 h 4496940"/>
              <a:gd name="connsiteX49" fmla="*/ 1821202 w 4519987"/>
              <a:gd name="connsiteY49" fmla="*/ 4371975 h 4496940"/>
              <a:gd name="connsiteX50" fmla="*/ 1754527 w 4519987"/>
              <a:gd name="connsiteY50" fmla="*/ 4352925 h 4496940"/>
              <a:gd name="connsiteX51" fmla="*/ 1687852 w 4519987"/>
              <a:gd name="connsiteY51" fmla="*/ 4343400 h 4496940"/>
              <a:gd name="connsiteX52" fmla="*/ 1573552 w 4519987"/>
              <a:gd name="connsiteY52" fmla="*/ 4305300 h 4496940"/>
              <a:gd name="connsiteX53" fmla="*/ 1402102 w 4519987"/>
              <a:gd name="connsiteY53" fmla="*/ 4276725 h 4496940"/>
              <a:gd name="connsiteX54" fmla="*/ 1287802 w 4519987"/>
              <a:gd name="connsiteY54" fmla="*/ 4229100 h 4496940"/>
              <a:gd name="connsiteX55" fmla="*/ 1221127 w 4519987"/>
              <a:gd name="connsiteY55" fmla="*/ 4200525 h 4496940"/>
              <a:gd name="connsiteX56" fmla="*/ 1144927 w 4519987"/>
              <a:gd name="connsiteY56" fmla="*/ 4171950 h 4496940"/>
              <a:gd name="connsiteX57" fmla="*/ 1087777 w 4519987"/>
              <a:gd name="connsiteY57" fmla="*/ 4143375 h 4496940"/>
              <a:gd name="connsiteX58" fmla="*/ 1030627 w 4519987"/>
              <a:gd name="connsiteY58" fmla="*/ 4124325 h 4496940"/>
              <a:gd name="connsiteX59" fmla="*/ 925852 w 4519987"/>
              <a:gd name="connsiteY59" fmla="*/ 4067175 h 4496940"/>
              <a:gd name="connsiteX60" fmla="*/ 830602 w 4519987"/>
              <a:gd name="connsiteY60" fmla="*/ 3981450 h 4496940"/>
              <a:gd name="connsiteX61" fmla="*/ 763927 w 4519987"/>
              <a:gd name="connsiteY61" fmla="*/ 3914775 h 4496940"/>
              <a:gd name="connsiteX62" fmla="*/ 725827 w 4519987"/>
              <a:gd name="connsiteY62" fmla="*/ 3876675 h 4496940"/>
              <a:gd name="connsiteX63" fmla="*/ 697252 w 4519987"/>
              <a:gd name="connsiteY63" fmla="*/ 3838575 h 4496940"/>
              <a:gd name="connsiteX64" fmla="*/ 640102 w 4519987"/>
              <a:gd name="connsiteY64" fmla="*/ 3781425 h 4496940"/>
              <a:gd name="connsiteX65" fmla="*/ 611527 w 4519987"/>
              <a:gd name="connsiteY65" fmla="*/ 3733800 h 4496940"/>
              <a:gd name="connsiteX66" fmla="*/ 554377 w 4519987"/>
              <a:gd name="connsiteY66" fmla="*/ 3657600 h 4496940"/>
              <a:gd name="connsiteX67" fmla="*/ 525802 w 4519987"/>
              <a:gd name="connsiteY67" fmla="*/ 3609975 h 4496940"/>
              <a:gd name="connsiteX68" fmla="*/ 497227 w 4519987"/>
              <a:gd name="connsiteY68" fmla="*/ 3552825 h 4496940"/>
              <a:gd name="connsiteX69" fmla="*/ 440077 w 4519987"/>
              <a:gd name="connsiteY69" fmla="*/ 3495675 h 4496940"/>
              <a:gd name="connsiteX70" fmla="*/ 411502 w 4519987"/>
              <a:gd name="connsiteY70" fmla="*/ 3448050 h 4496940"/>
              <a:gd name="connsiteX71" fmla="*/ 278152 w 4519987"/>
              <a:gd name="connsiteY71" fmla="*/ 3257550 h 4496940"/>
              <a:gd name="connsiteX72" fmla="*/ 249577 w 4519987"/>
              <a:gd name="connsiteY72" fmla="*/ 3200400 h 4496940"/>
              <a:gd name="connsiteX73" fmla="*/ 240052 w 4519987"/>
              <a:gd name="connsiteY73" fmla="*/ 3162300 h 4496940"/>
              <a:gd name="connsiteX74" fmla="*/ 221002 w 4519987"/>
              <a:gd name="connsiteY74" fmla="*/ 3105150 h 4496940"/>
              <a:gd name="connsiteX75" fmla="*/ 173377 w 4519987"/>
              <a:gd name="connsiteY75" fmla="*/ 3019425 h 4496940"/>
              <a:gd name="connsiteX76" fmla="*/ 144802 w 4519987"/>
              <a:gd name="connsiteY76" fmla="*/ 2924175 h 4496940"/>
              <a:gd name="connsiteX77" fmla="*/ 68602 w 4519987"/>
              <a:gd name="connsiteY77" fmla="*/ 2724150 h 4496940"/>
              <a:gd name="connsiteX78" fmla="*/ 49552 w 4519987"/>
              <a:gd name="connsiteY78" fmla="*/ 2638425 h 4496940"/>
              <a:gd name="connsiteX79" fmla="*/ 40027 w 4519987"/>
              <a:gd name="connsiteY79" fmla="*/ 2562225 h 4496940"/>
              <a:gd name="connsiteX80" fmla="*/ 30502 w 4519987"/>
              <a:gd name="connsiteY80" fmla="*/ 2514600 h 4496940"/>
              <a:gd name="connsiteX81" fmla="*/ 11452 w 4519987"/>
              <a:gd name="connsiteY81" fmla="*/ 2400300 h 4496940"/>
              <a:gd name="connsiteX82" fmla="*/ 20977 w 4519987"/>
              <a:gd name="connsiteY82" fmla="*/ 1905000 h 4496940"/>
              <a:gd name="connsiteX83" fmla="*/ 30502 w 4519987"/>
              <a:gd name="connsiteY83" fmla="*/ 1838325 h 4496940"/>
              <a:gd name="connsiteX84" fmla="*/ 49552 w 4519987"/>
              <a:gd name="connsiteY84" fmla="*/ 1781175 h 4496940"/>
              <a:gd name="connsiteX85" fmla="*/ 59077 w 4519987"/>
              <a:gd name="connsiteY85" fmla="*/ 1743075 h 4496940"/>
              <a:gd name="connsiteX86" fmla="*/ 78127 w 4519987"/>
              <a:gd name="connsiteY86" fmla="*/ 1685925 h 4496940"/>
              <a:gd name="connsiteX87" fmla="*/ 87652 w 4519987"/>
              <a:gd name="connsiteY87" fmla="*/ 1638300 h 4496940"/>
              <a:gd name="connsiteX88" fmla="*/ 106702 w 4519987"/>
              <a:gd name="connsiteY88" fmla="*/ 1590675 h 4496940"/>
              <a:gd name="connsiteX89" fmla="*/ 135277 w 4519987"/>
              <a:gd name="connsiteY89" fmla="*/ 1504950 h 4496940"/>
              <a:gd name="connsiteX90" fmla="*/ 154327 w 4519987"/>
              <a:gd name="connsiteY90" fmla="*/ 1419225 h 4496940"/>
              <a:gd name="connsiteX91" fmla="*/ 230527 w 4519987"/>
              <a:gd name="connsiteY91" fmla="*/ 1276350 h 4496940"/>
              <a:gd name="connsiteX92" fmla="*/ 240052 w 4519987"/>
              <a:gd name="connsiteY92" fmla="*/ 1247775 h 4496940"/>
              <a:gd name="connsiteX93" fmla="*/ 268627 w 4519987"/>
              <a:gd name="connsiteY93" fmla="*/ 1200150 h 4496940"/>
              <a:gd name="connsiteX94" fmla="*/ 287677 w 4519987"/>
              <a:gd name="connsiteY94" fmla="*/ 1152525 h 4496940"/>
              <a:gd name="connsiteX95" fmla="*/ 316252 w 4519987"/>
              <a:gd name="connsiteY95" fmla="*/ 1114425 h 4496940"/>
              <a:gd name="connsiteX96" fmla="*/ 363877 w 4519987"/>
              <a:gd name="connsiteY96" fmla="*/ 1038225 h 4496940"/>
              <a:gd name="connsiteX97" fmla="*/ 382927 w 4519987"/>
              <a:gd name="connsiteY97" fmla="*/ 1009650 h 4496940"/>
              <a:gd name="connsiteX98" fmla="*/ 440077 w 4519987"/>
              <a:gd name="connsiteY98" fmla="*/ 904875 h 4496940"/>
              <a:gd name="connsiteX99" fmla="*/ 478177 w 4519987"/>
              <a:gd name="connsiteY99" fmla="*/ 857250 h 4496940"/>
              <a:gd name="connsiteX100" fmla="*/ 497227 w 4519987"/>
              <a:gd name="connsiteY100" fmla="*/ 828675 h 4496940"/>
              <a:gd name="connsiteX101" fmla="*/ 535327 w 4519987"/>
              <a:gd name="connsiteY101" fmla="*/ 800100 h 4496940"/>
              <a:gd name="connsiteX102" fmla="*/ 602002 w 4519987"/>
              <a:gd name="connsiteY102" fmla="*/ 733425 h 4496940"/>
              <a:gd name="connsiteX103" fmla="*/ 668677 w 4519987"/>
              <a:gd name="connsiteY103" fmla="*/ 676275 h 4496940"/>
              <a:gd name="connsiteX104" fmla="*/ 697252 w 4519987"/>
              <a:gd name="connsiteY104" fmla="*/ 657225 h 4496940"/>
              <a:gd name="connsiteX105" fmla="*/ 840127 w 4519987"/>
              <a:gd name="connsiteY105" fmla="*/ 533400 h 4496940"/>
              <a:gd name="connsiteX106" fmla="*/ 887752 w 4519987"/>
              <a:gd name="connsiteY106" fmla="*/ 504825 h 4496940"/>
              <a:gd name="connsiteX107" fmla="*/ 1167152 w 4519987"/>
              <a:gd name="connsiteY107" fmla="*/ 311150 h 4496940"/>
              <a:gd name="connsiteX108" fmla="*/ 1268752 w 4519987"/>
              <a:gd name="connsiteY108" fmla="*/ 285750 h 4496940"/>
              <a:gd name="connsiteX109" fmla="*/ 1411627 w 4519987"/>
              <a:gd name="connsiteY109" fmla="*/ 190500 h 4496940"/>
              <a:gd name="connsiteX110" fmla="*/ 1449727 w 4519987"/>
              <a:gd name="connsiteY110" fmla="*/ 161925 h 4496940"/>
              <a:gd name="connsiteX111" fmla="*/ 1525927 w 4519987"/>
              <a:gd name="connsiteY111" fmla="*/ 152400 h 4496940"/>
              <a:gd name="connsiteX112" fmla="*/ 1583077 w 4519987"/>
              <a:gd name="connsiteY112" fmla="*/ 142875 h 4496940"/>
              <a:gd name="connsiteX113" fmla="*/ 1716427 w 4519987"/>
              <a:gd name="connsiteY113" fmla="*/ 123825 h 4496940"/>
              <a:gd name="connsiteX114" fmla="*/ 1811677 w 4519987"/>
              <a:gd name="connsiteY114" fmla="*/ 114300 h 4496940"/>
              <a:gd name="connsiteX115" fmla="*/ 1859302 w 4519987"/>
              <a:gd name="connsiteY115" fmla="*/ 104775 h 4496940"/>
              <a:gd name="connsiteX116" fmla="*/ 1916452 w 4519987"/>
              <a:gd name="connsiteY116" fmla="*/ 95250 h 4496940"/>
              <a:gd name="connsiteX117" fmla="*/ 2030752 w 4519987"/>
              <a:gd name="connsiteY117" fmla="*/ 66675 h 4496940"/>
              <a:gd name="connsiteX118" fmla="*/ 2097427 w 4519987"/>
              <a:gd name="connsiteY118" fmla="*/ 47625 h 4496940"/>
              <a:gd name="connsiteX119" fmla="*/ 2164102 w 4519987"/>
              <a:gd name="connsiteY119" fmla="*/ 38100 h 4496940"/>
              <a:gd name="connsiteX120" fmla="*/ 2392702 w 4519987"/>
              <a:gd name="connsiteY120" fmla="*/ 28575 h 4496940"/>
              <a:gd name="connsiteX0" fmla="*/ 2297452 w 4519987"/>
              <a:gd name="connsiteY0" fmla="*/ 0 h 4487372"/>
              <a:gd name="connsiteX1" fmla="*/ 2421277 w 4519987"/>
              <a:gd name="connsiteY1" fmla="*/ 28575 h 4487372"/>
              <a:gd name="connsiteX2" fmla="*/ 2497477 w 4519987"/>
              <a:gd name="connsiteY2" fmla="*/ 47625 h 4487372"/>
              <a:gd name="connsiteX3" fmla="*/ 2754652 w 4519987"/>
              <a:gd name="connsiteY3" fmla="*/ 66675 h 4487372"/>
              <a:gd name="connsiteX4" fmla="*/ 2830852 w 4519987"/>
              <a:gd name="connsiteY4" fmla="*/ 76200 h 4487372"/>
              <a:gd name="connsiteX5" fmla="*/ 2916577 w 4519987"/>
              <a:gd name="connsiteY5" fmla="*/ 85725 h 4487372"/>
              <a:gd name="connsiteX6" fmla="*/ 2973727 w 4519987"/>
              <a:gd name="connsiteY6" fmla="*/ 114300 h 4487372"/>
              <a:gd name="connsiteX7" fmla="*/ 3011827 w 4519987"/>
              <a:gd name="connsiteY7" fmla="*/ 123825 h 4487372"/>
              <a:gd name="connsiteX8" fmla="*/ 3135652 w 4519987"/>
              <a:gd name="connsiteY8" fmla="*/ 171450 h 4487372"/>
              <a:gd name="connsiteX9" fmla="*/ 3173752 w 4519987"/>
              <a:gd name="connsiteY9" fmla="*/ 190500 h 4487372"/>
              <a:gd name="connsiteX10" fmla="*/ 3240427 w 4519987"/>
              <a:gd name="connsiteY10" fmla="*/ 228600 h 4487372"/>
              <a:gd name="connsiteX11" fmla="*/ 3269002 w 4519987"/>
              <a:gd name="connsiteY11" fmla="*/ 238125 h 4487372"/>
              <a:gd name="connsiteX12" fmla="*/ 3297577 w 4519987"/>
              <a:gd name="connsiteY12" fmla="*/ 257175 h 4487372"/>
              <a:gd name="connsiteX13" fmla="*/ 3326152 w 4519987"/>
              <a:gd name="connsiteY13" fmla="*/ 266700 h 4487372"/>
              <a:gd name="connsiteX14" fmla="*/ 3354727 w 4519987"/>
              <a:gd name="connsiteY14" fmla="*/ 285750 h 4487372"/>
              <a:gd name="connsiteX15" fmla="*/ 3421402 w 4519987"/>
              <a:gd name="connsiteY15" fmla="*/ 323850 h 4487372"/>
              <a:gd name="connsiteX16" fmla="*/ 3469027 w 4519987"/>
              <a:gd name="connsiteY16" fmla="*/ 361950 h 4487372"/>
              <a:gd name="connsiteX17" fmla="*/ 3516652 w 4519987"/>
              <a:gd name="connsiteY17" fmla="*/ 390525 h 4487372"/>
              <a:gd name="connsiteX18" fmla="*/ 3630952 w 4519987"/>
              <a:gd name="connsiteY18" fmla="*/ 485775 h 4487372"/>
              <a:gd name="connsiteX19" fmla="*/ 3745252 w 4519987"/>
              <a:gd name="connsiteY19" fmla="*/ 542925 h 4487372"/>
              <a:gd name="connsiteX20" fmla="*/ 3811927 w 4519987"/>
              <a:gd name="connsiteY20" fmla="*/ 581025 h 4487372"/>
              <a:gd name="connsiteX21" fmla="*/ 4027827 w 4519987"/>
              <a:gd name="connsiteY21" fmla="*/ 819150 h 4487372"/>
              <a:gd name="connsiteX22" fmla="*/ 4164352 w 4519987"/>
              <a:gd name="connsiteY22" fmla="*/ 990600 h 4487372"/>
              <a:gd name="connsiteX23" fmla="*/ 4250077 w 4519987"/>
              <a:gd name="connsiteY23" fmla="*/ 1143000 h 4487372"/>
              <a:gd name="connsiteX24" fmla="*/ 4307227 w 4519987"/>
              <a:gd name="connsiteY24" fmla="*/ 1266825 h 4487372"/>
              <a:gd name="connsiteX25" fmla="*/ 4345327 w 4519987"/>
              <a:gd name="connsiteY25" fmla="*/ 1362075 h 4487372"/>
              <a:gd name="connsiteX26" fmla="*/ 4392952 w 4519987"/>
              <a:gd name="connsiteY26" fmla="*/ 1552575 h 4487372"/>
              <a:gd name="connsiteX27" fmla="*/ 4431052 w 4519987"/>
              <a:gd name="connsiteY27" fmla="*/ 1685925 h 4487372"/>
              <a:gd name="connsiteX28" fmla="*/ 4519952 w 4519987"/>
              <a:gd name="connsiteY28" fmla="*/ 2181225 h 4487372"/>
              <a:gd name="connsiteX29" fmla="*/ 4446927 w 4519987"/>
              <a:gd name="connsiteY29" fmla="*/ 2768600 h 4487372"/>
              <a:gd name="connsiteX30" fmla="*/ 4383427 w 4519987"/>
              <a:gd name="connsiteY30" fmla="*/ 2990850 h 4487372"/>
              <a:gd name="connsiteX31" fmla="*/ 4278652 w 4519987"/>
              <a:gd name="connsiteY31" fmla="*/ 3248025 h 4487372"/>
              <a:gd name="connsiteX32" fmla="*/ 4183402 w 4519987"/>
              <a:gd name="connsiteY32" fmla="*/ 3400425 h 4487372"/>
              <a:gd name="connsiteX33" fmla="*/ 4059577 w 4519987"/>
              <a:gd name="connsiteY33" fmla="*/ 3533775 h 4487372"/>
              <a:gd name="connsiteX34" fmla="*/ 3954802 w 4519987"/>
              <a:gd name="connsiteY34" fmla="*/ 3648075 h 4487372"/>
              <a:gd name="connsiteX35" fmla="*/ 3659527 w 4519987"/>
              <a:gd name="connsiteY35" fmla="*/ 3971925 h 4487372"/>
              <a:gd name="connsiteX36" fmla="*/ 3516652 w 4519987"/>
              <a:gd name="connsiteY36" fmla="*/ 4083050 h 4487372"/>
              <a:gd name="connsiteX37" fmla="*/ 3221377 w 4519987"/>
              <a:gd name="connsiteY37" fmla="*/ 4222750 h 4487372"/>
              <a:gd name="connsiteX38" fmla="*/ 3068977 w 4519987"/>
              <a:gd name="connsiteY38" fmla="*/ 4286250 h 4487372"/>
              <a:gd name="connsiteX39" fmla="*/ 2935627 w 4519987"/>
              <a:gd name="connsiteY39" fmla="*/ 4333875 h 4487372"/>
              <a:gd name="connsiteX40" fmla="*/ 2811802 w 4519987"/>
              <a:gd name="connsiteY40" fmla="*/ 4371975 h 4487372"/>
              <a:gd name="connsiteX41" fmla="*/ 2745127 w 4519987"/>
              <a:gd name="connsiteY41" fmla="*/ 4410075 h 4487372"/>
              <a:gd name="connsiteX42" fmla="*/ 2640352 w 4519987"/>
              <a:gd name="connsiteY42" fmla="*/ 4457700 h 4487372"/>
              <a:gd name="connsiteX43" fmla="*/ 2545102 w 4519987"/>
              <a:gd name="connsiteY43" fmla="*/ 4486275 h 4487372"/>
              <a:gd name="connsiteX44" fmla="*/ 2306977 w 4519987"/>
              <a:gd name="connsiteY44" fmla="*/ 4476750 h 4487372"/>
              <a:gd name="connsiteX45" fmla="*/ 2202202 w 4519987"/>
              <a:gd name="connsiteY45" fmla="*/ 4457700 h 4487372"/>
              <a:gd name="connsiteX46" fmla="*/ 2126002 w 4519987"/>
              <a:gd name="connsiteY46" fmla="*/ 4429125 h 4487372"/>
              <a:gd name="connsiteX47" fmla="*/ 1935502 w 4519987"/>
              <a:gd name="connsiteY47" fmla="*/ 4400550 h 4487372"/>
              <a:gd name="connsiteX48" fmla="*/ 1821202 w 4519987"/>
              <a:gd name="connsiteY48" fmla="*/ 4371975 h 4487372"/>
              <a:gd name="connsiteX49" fmla="*/ 1754527 w 4519987"/>
              <a:gd name="connsiteY49" fmla="*/ 4352925 h 4487372"/>
              <a:gd name="connsiteX50" fmla="*/ 1687852 w 4519987"/>
              <a:gd name="connsiteY50" fmla="*/ 4343400 h 4487372"/>
              <a:gd name="connsiteX51" fmla="*/ 1573552 w 4519987"/>
              <a:gd name="connsiteY51" fmla="*/ 4305300 h 4487372"/>
              <a:gd name="connsiteX52" fmla="*/ 1402102 w 4519987"/>
              <a:gd name="connsiteY52" fmla="*/ 4276725 h 4487372"/>
              <a:gd name="connsiteX53" fmla="*/ 1287802 w 4519987"/>
              <a:gd name="connsiteY53" fmla="*/ 4229100 h 4487372"/>
              <a:gd name="connsiteX54" fmla="*/ 1221127 w 4519987"/>
              <a:gd name="connsiteY54" fmla="*/ 4200525 h 4487372"/>
              <a:gd name="connsiteX55" fmla="*/ 1144927 w 4519987"/>
              <a:gd name="connsiteY55" fmla="*/ 4171950 h 4487372"/>
              <a:gd name="connsiteX56" fmla="*/ 1087777 w 4519987"/>
              <a:gd name="connsiteY56" fmla="*/ 4143375 h 4487372"/>
              <a:gd name="connsiteX57" fmla="*/ 1030627 w 4519987"/>
              <a:gd name="connsiteY57" fmla="*/ 4124325 h 4487372"/>
              <a:gd name="connsiteX58" fmla="*/ 925852 w 4519987"/>
              <a:gd name="connsiteY58" fmla="*/ 4067175 h 4487372"/>
              <a:gd name="connsiteX59" fmla="*/ 830602 w 4519987"/>
              <a:gd name="connsiteY59" fmla="*/ 3981450 h 4487372"/>
              <a:gd name="connsiteX60" fmla="*/ 763927 w 4519987"/>
              <a:gd name="connsiteY60" fmla="*/ 3914775 h 4487372"/>
              <a:gd name="connsiteX61" fmla="*/ 725827 w 4519987"/>
              <a:gd name="connsiteY61" fmla="*/ 3876675 h 4487372"/>
              <a:gd name="connsiteX62" fmla="*/ 697252 w 4519987"/>
              <a:gd name="connsiteY62" fmla="*/ 3838575 h 4487372"/>
              <a:gd name="connsiteX63" fmla="*/ 640102 w 4519987"/>
              <a:gd name="connsiteY63" fmla="*/ 3781425 h 4487372"/>
              <a:gd name="connsiteX64" fmla="*/ 611527 w 4519987"/>
              <a:gd name="connsiteY64" fmla="*/ 3733800 h 4487372"/>
              <a:gd name="connsiteX65" fmla="*/ 554377 w 4519987"/>
              <a:gd name="connsiteY65" fmla="*/ 3657600 h 4487372"/>
              <a:gd name="connsiteX66" fmla="*/ 525802 w 4519987"/>
              <a:gd name="connsiteY66" fmla="*/ 3609975 h 4487372"/>
              <a:gd name="connsiteX67" fmla="*/ 497227 w 4519987"/>
              <a:gd name="connsiteY67" fmla="*/ 3552825 h 4487372"/>
              <a:gd name="connsiteX68" fmla="*/ 440077 w 4519987"/>
              <a:gd name="connsiteY68" fmla="*/ 3495675 h 4487372"/>
              <a:gd name="connsiteX69" fmla="*/ 411502 w 4519987"/>
              <a:gd name="connsiteY69" fmla="*/ 3448050 h 4487372"/>
              <a:gd name="connsiteX70" fmla="*/ 278152 w 4519987"/>
              <a:gd name="connsiteY70" fmla="*/ 3257550 h 4487372"/>
              <a:gd name="connsiteX71" fmla="*/ 249577 w 4519987"/>
              <a:gd name="connsiteY71" fmla="*/ 3200400 h 4487372"/>
              <a:gd name="connsiteX72" fmla="*/ 240052 w 4519987"/>
              <a:gd name="connsiteY72" fmla="*/ 3162300 h 4487372"/>
              <a:gd name="connsiteX73" fmla="*/ 221002 w 4519987"/>
              <a:gd name="connsiteY73" fmla="*/ 3105150 h 4487372"/>
              <a:gd name="connsiteX74" fmla="*/ 173377 w 4519987"/>
              <a:gd name="connsiteY74" fmla="*/ 3019425 h 4487372"/>
              <a:gd name="connsiteX75" fmla="*/ 144802 w 4519987"/>
              <a:gd name="connsiteY75" fmla="*/ 2924175 h 4487372"/>
              <a:gd name="connsiteX76" fmla="*/ 68602 w 4519987"/>
              <a:gd name="connsiteY76" fmla="*/ 2724150 h 4487372"/>
              <a:gd name="connsiteX77" fmla="*/ 49552 w 4519987"/>
              <a:gd name="connsiteY77" fmla="*/ 2638425 h 4487372"/>
              <a:gd name="connsiteX78" fmla="*/ 40027 w 4519987"/>
              <a:gd name="connsiteY78" fmla="*/ 2562225 h 4487372"/>
              <a:gd name="connsiteX79" fmla="*/ 30502 w 4519987"/>
              <a:gd name="connsiteY79" fmla="*/ 2514600 h 4487372"/>
              <a:gd name="connsiteX80" fmla="*/ 11452 w 4519987"/>
              <a:gd name="connsiteY80" fmla="*/ 2400300 h 4487372"/>
              <a:gd name="connsiteX81" fmla="*/ 20977 w 4519987"/>
              <a:gd name="connsiteY81" fmla="*/ 1905000 h 4487372"/>
              <a:gd name="connsiteX82" fmla="*/ 30502 w 4519987"/>
              <a:gd name="connsiteY82" fmla="*/ 1838325 h 4487372"/>
              <a:gd name="connsiteX83" fmla="*/ 49552 w 4519987"/>
              <a:gd name="connsiteY83" fmla="*/ 1781175 h 4487372"/>
              <a:gd name="connsiteX84" fmla="*/ 59077 w 4519987"/>
              <a:gd name="connsiteY84" fmla="*/ 1743075 h 4487372"/>
              <a:gd name="connsiteX85" fmla="*/ 78127 w 4519987"/>
              <a:gd name="connsiteY85" fmla="*/ 1685925 h 4487372"/>
              <a:gd name="connsiteX86" fmla="*/ 87652 w 4519987"/>
              <a:gd name="connsiteY86" fmla="*/ 1638300 h 4487372"/>
              <a:gd name="connsiteX87" fmla="*/ 106702 w 4519987"/>
              <a:gd name="connsiteY87" fmla="*/ 1590675 h 4487372"/>
              <a:gd name="connsiteX88" fmla="*/ 135277 w 4519987"/>
              <a:gd name="connsiteY88" fmla="*/ 1504950 h 4487372"/>
              <a:gd name="connsiteX89" fmla="*/ 154327 w 4519987"/>
              <a:gd name="connsiteY89" fmla="*/ 1419225 h 4487372"/>
              <a:gd name="connsiteX90" fmla="*/ 230527 w 4519987"/>
              <a:gd name="connsiteY90" fmla="*/ 1276350 h 4487372"/>
              <a:gd name="connsiteX91" fmla="*/ 240052 w 4519987"/>
              <a:gd name="connsiteY91" fmla="*/ 1247775 h 4487372"/>
              <a:gd name="connsiteX92" fmla="*/ 268627 w 4519987"/>
              <a:gd name="connsiteY92" fmla="*/ 1200150 h 4487372"/>
              <a:gd name="connsiteX93" fmla="*/ 287677 w 4519987"/>
              <a:gd name="connsiteY93" fmla="*/ 1152525 h 4487372"/>
              <a:gd name="connsiteX94" fmla="*/ 316252 w 4519987"/>
              <a:gd name="connsiteY94" fmla="*/ 1114425 h 4487372"/>
              <a:gd name="connsiteX95" fmla="*/ 363877 w 4519987"/>
              <a:gd name="connsiteY95" fmla="*/ 1038225 h 4487372"/>
              <a:gd name="connsiteX96" fmla="*/ 382927 w 4519987"/>
              <a:gd name="connsiteY96" fmla="*/ 1009650 h 4487372"/>
              <a:gd name="connsiteX97" fmla="*/ 440077 w 4519987"/>
              <a:gd name="connsiteY97" fmla="*/ 904875 h 4487372"/>
              <a:gd name="connsiteX98" fmla="*/ 478177 w 4519987"/>
              <a:gd name="connsiteY98" fmla="*/ 857250 h 4487372"/>
              <a:gd name="connsiteX99" fmla="*/ 497227 w 4519987"/>
              <a:gd name="connsiteY99" fmla="*/ 828675 h 4487372"/>
              <a:gd name="connsiteX100" fmla="*/ 535327 w 4519987"/>
              <a:gd name="connsiteY100" fmla="*/ 800100 h 4487372"/>
              <a:gd name="connsiteX101" fmla="*/ 602002 w 4519987"/>
              <a:gd name="connsiteY101" fmla="*/ 733425 h 4487372"/>
              <a:gd name="connsiteX102" fmla="*/ 668677 w 4519987"/>
              <a:gd name="connsiteY102" fmla="*/ 676275 h 4487372"/>
              <a:gd name="connsiteX103" fmla="*/ 697252 w 4519987"/>
              <a:gd name="connsiteY103" fmla="*/ 657225 h 4487372"/>
              <a:gd name="connsiteX104" fmla="*/ 840127 w 4519987"/>
              <a:gd name="connsiteY104" fmla="*/ 533400 h 4487372"/>
              <a:gd name="connsiteX105" fmla="*/ 887752 w 4519987"/>
              <a:gd name="connsiteY105" fmla="*/ 504825 h 4487372"/>
              <a:gd name="connsiteX106" fmla="*/ 1167152 w 4519987"/>
              <a:gd name="connsiteY106" fmla="*/ 311150 h 4487372"/>
              <a:gd name="connsiteX107" fmla="*/ 1268752 w 4519987"/>
              <a:gd name="connsiteY107" fmla="*/ 285750 h 4487372"/>
              <a:gd name="connsiteX108" fmla="*/ 1411627 w 4519987"/>
              <a:gd name="connsiteY108" fmla="*/ 190500 h 4487372"/>
              <a:gd name="connsiteX109" fmla="*/ 1449727 w 4519987"/>
              <a:gd name="connsiteY109" fmla="*/ 161925 h 4487372"/>
              <a:gd name="connsiteX110" fmla="*/ 1525927 w 4519987"/>
              <a:gd name="connsiteY110" fmla="*/ 152400 h 4487372"/>
              <a:gd name="connsiteX111" fmla="*/ 1583077 w 4519987"/>
              <a:gd name="connsiteY111" fmla="*/ 142875 h 4487372"/>
              <a:gd name="connsiteX112" fmla="*/ 1716427 w 4519987"/>
              <a:gd name="connsiteY112" fmla="*/ 123825 h 4487372"/>
              <a:gd name="connsiteX113" fmla="*/ 1811677 w 4519987"/>
              <a:gd name="connsiteY113" fmla="*/ 114300 h 4487372"/>
              <a:gd name="connsiteX114" fmla="*/ 1859302 w 4519987"/>
              <a:gd name="connsiteY114" fmla="*/ 104775 h 4487372"/>
              <a:gd name="connsiteX115" fmla="*/ 1916452 w 4519987"/>
              <a:gd name="connsiteY115" fmla="*/ 95250 h 4487372"/>
              <a:gd name="connsiteX116" fmla="*/ 2030752 w 4519987"/>
              <a:gd name="connsiteY116" fmla="*/ 66675 h 4487372"/>
              <a:gd name="connsiteX117" fmla="*/ 2097427 w 4519987"/>
              <a:gd name="connsiteY117" fmla="*/ 47625 h 4487372"/>
              <a:gd name="connsiteX118" fmla="*/ 2164102 w 4519987"/>
              <a:gd name="connsiteY118" fmla="*/ 38100 h 4487372"/>
              <a:gd name="connsiteX119" fmla="*/ 2392702 w 4519987"/>
              <a:gd name="connsiteY119" fmla="*/ 28575 h 4487372"/>
              <a:gd name="connsiteX0" fmla="*/ 2297452 w 4519987"/>
              <a:gd name="connsiteY0" fmla="*/ 0 h 4476750"/>
              <a:gd name="connsiteX1" fmla="*/ 2421277 w 4519987"/>
              <a:gd name="connsiteY1" fmla="*/ 28575 h 4476750"/>
              <a:gd name="connsiteX2" fmla="*/ 2497477 w 4519987"/>
              <a:gd name="connsiteY2" fmla="*/ 47625 h 4476750"/>
              <a:gd name="connsiteX3" fmla="*/ 2754652 w 4519987"/>
              <a:gd name="connsiteY3" fmla="*/ 66675 h 4476750"/>
              <a:gd name="connsiteX4" fmla="*/ 2830852 w 4519987"/>
              <a:gd name="connsiteY4" fmla="*/ 76200 h 4476750"/>
              <a:gd name="connsiteX5" fmla="*/ 2916577 w 4519987"/>
              <a:gd name="connsiteY5" fmla="*/ 85725 h 4476750"/>
              <a:gd name="connsiteX6" fmla="*/ 2973727 w 4519987"/>
              <a:gd name="connsiteY6" fmla="*/ 114300 h 4476750"/>
              <a:gd name="connsiteX7" fmla="*/ 3011827 w 4519987"/>
              <a:gd name="connsiteY7" fmla="*/ 123825 h 4476750"/>
              <a:gd name="connsiteX8" fmla="*/ 3135652 w 4519987"/>
              <a:gd name="connsiteY8" fmla="*/ 171450 h 4476750"/>
              <a:gd name="connsiteX9" fmla="*/ 3173752 w 4519987"/>
              <a:gd name="connsiteY9" fmla="*/ 190500 h 4476750"/>
              <a:gd name="connsiteX10" fmla="*/ 3240427 w 4519987"/>
              <a:gd name="connsiteY10" fmla="*/ 228600 h 4476750"/>
              <a:gd name="connsiteX11" fmla="*/ 3269002 w 4519987"/>
              <a:gd name="connsiteY11" fmla="*/ 238125 h 4476750"/>
              <a:gd name="connsiteX12" fmla="*/ 3297577 w 4519987"/>
              <a:gd name="connsiteY12" fmla="*/ 257175 h 4476750"/>
              <a:gd name="connsiteX13" fmla="*/ 3326152 w 4519987"/>
              <a:gd name="connsiteY13" fmla="*/ 266700 h 4476750"/>
              <a:gd name="connsiteX14" fmla="*/ 3354727 w 4519987"/>
              <a:gd name="connsiteY14" fmla="*/ 285750 h 4476750"/>
              <a:gd name="connsiteX15" fmla="*/ 3421402 w 4519987"/>
              <a:gd name="connsiteY15" fmla="*/ 323850 h 4476750"/>
              <a:gd name="connsiteX16" fmla="*/ 3469027 w 4519987"/>
              <a:gd name="connsiteY16" fmla="*/ 361950 h 4476750"/>
              <a:gd name="connsiteX17" fmla="*/ 3516652 w 4519987"/>
              <a:gd name="connsiteY17" fmla="*/ 390525 h 4476750"/>
              <a:gd name="connsiteX18" fmla="*/ 3630952 w 4519987"/>
              <a:gd name="connsiteY18" fmla="*/ 485775 h 4476750"/>
              <a:gd name="connsiteX19" fmla="*/ 3745252 w 4519987"/>
              <a:gd name="connsiteY19" fmla="*/ 542925 h 4476750"/>
              <a:gd name="connsiteX20" fmla="*/ 3811927 w 4519987"/>
              <a:gd name="connsiteY20" fmla="*/ 581025 h 4476750"/>
              <a:gd name="connsiteX21" fmla="*/ 4027827 w 4519987"/>
              <a:gd name="connsiteY21" fmla="*/ 819150 h 4476750"/>
              <a:gd name="connsiteX22" fmla="*/ 4164352 w 4519987"/>
              <a:gd name="connsiteY22" fmla="*/ 990600 h 4476750"/>
              <a:gd name="connsiteX23" fmla="*/ 4250077 w 4519987"/>
              <a:gd name="connsiteY23" fmla="*/ 1143000 h 4476750"/>
              <a:gd name="connsiteX24" fmla="*/ 4307227 w 4519987"/>
              <a:gd name="connsiteY24" fmla="*/ 1266825 h 4476750"/>
              <a:gd name="connsiteX25" fmla="*/ 4345327 w 4519987"/>
              <a:gd name="connsiteY25" fmla="*/ 1362075 h 4476750"/>
              <a:gd name="connsiteX26" fmla="*/ 4392952 w 4519987"/>
              <a:gd name="connsiteY26" fmla="*/ 1552575 h 4476750"/>
              <a:gd name="connsiteX27" fmla="*/ 4431052 w 4519987"/>
              <a:gd name="connsiteY27" fmla="*/ 1685925 h 4476750"/>
              <a:gd name="connsiteX28" fmla="*/ 4519952 w 4519987"/>
              <a:gd name="connsiteY28" fmla="*/ 2181225 h 4476750"/>
              <a:gd name="connsiteX29" fmla="*/ 4446927 w 4519987"/>
              <a:gd name="connsiteY29" fmla="*/ 2768600 h 4476750"/>
              <a:gd name="connsiteX30" fmla="*/ 4383427 w 4519987"/>
              <a:gd name="connsiteY30" fmla="*/ 2990850 h 4476750"/>
              <a:gd name="connsiteX31" fmla="*/ 4278652 w 4519987"/>
              <a:gd name="connsiteY31" fmla="*/ 3248025 h 4476750"/>
              <a:gd name="connsiteX32" fmla="*/ 4183402 w 4519987"/>
              <a:gd name="connsiteY32" fmla="*/ 3400425 h 4476750"/>
              <a:gd name="connsiteX33" fmla="*/ 4059577 w 4519987"/>
              <a:gd name="connsiteY33" fmla="*/ 3533775 h 4476750"/>
              <a:gd name="connsiteX34" fmla="*/ 3954802 w 4519987"/>
              <a:gd name="connsiteY34" fmla="*/ 3648075 h 4476750"/>
              <a:gd name="connsiteX35" fmla="*/ 3659527 w 4519987"/>
              <a:gd name="connsiteY35" fmla="*/ 3971925 h 4476750"/>
              <a:gd name="connsiteX36" fmla="*/ 3516652 w 4519987"/>
              <a:gd name="connsiteY36" fmla="*/ 4083050 h 4476750"/>
              <a:gd name="connsiteX37" fmla="*/ 3221377 w 4519987"/>
              <a:gd name="connsiteY37" fmla="*/ 4222750 h 4476750"/>
              <a:gd name="connsiteX38" fmla="*/ 3068977 w 4519987"/>
              <a:gd name="connsiteY38" fmla="*/ 4286250 h 4476750"/>
              <a:gd name="connsiteX39" fmla="*/ 2935627 w 4519987"/>
              <a:gd name="connsiteY39" fmla="*/ 4333875 h 4476750"/>
              <a:gd name="connsiteX40" fmla="*/ 2811802 w 4519987"/>
              <a:gd name="connsiteY40" fmla="*/ 4371975 h 4476750"/>
              <a:gd name="connsiteX41" fmla="*/ 2745127 w 4519987"/>
              <a:gd name="connsiteY41" fmla="*/ 4410075 h 4476750"/>
              <a:gd name="connsiteX42" fmla="*/ 2640352 w 4519987"/>
              <a:gd name="connsiteY42" fmla="*/ 4457700 h 4476750"/>
              <a:gd name="connsiteX43" fmla="*/ 2306977 w 4519987"/>
              <a:gd name="connsiteY43" fmla="*/ 4476750 h 4476750"/>
              <a:gd name="connsiteX44" fmla="*/ 2202202 w 4519987"/>
              <a:gd name="connsiteY44" fmla="*/ 4457700 h 4476750"/>
              <a:gd name="connsiteX45" fmla="*/ 2126002 w 4519987"/>
              <a:gd name="connsiteY45" fmla="*/ 4429125 h 4476750"/>
              <a:gd name="connsiteX46" fmla="*/ 1935502 w 4519987"/>
              <a:gd name="connsiteY46" fmla="*/ 4400550 h 4476750"/>
              <a:gd name="connsiteX47" fmla="*/ 1821202 w 4519987"/>
              <a:gd name="connsiteY47" fmla="*/ 4371975 h 4476750"/>
              <a:gd name="connsiteX48" fmla="*/ 1754527 w 4519987"/>
              <a:gd name="connsiteY48" fmla="*/ 4352925 h 4476750"/>
              <a:gd name="connsiteX49" fmla="*/ 1687852 w 4519987"/>
              <a:gd name="connsiteY49" fmla="*/ 4343400 h 4476750"/>
              <a:gd name="connsiteX50" fmla="*/ 1573552 w 4519987"/>
              <a:gd name="connsiteY50" fmla="*/ 4305300 h 4476750"/>
              <a:gd name="connsiteX51" fmla="*/ 1402102 w 4519987"/>
              <a:gd name="connsiteY51" fmla="*/ 4276725 h 4476750"/>
              <a:gd name="connsiteX52" fmla="*/ 1287802 w 4519987"/>
              <a:gd name="connsiteY52" fmla="*/ 4229100 h 4476750"/>
              <a:gd name="connsiteX53" fmla="*/ 1221127 w 4519987"/>
              <a:gd name="connsiteY53" fmla="*/ 4200525 h 4476750"/>
              <a:gd name="connsiteX54" fmla="*/ 1144927 w 4519987"/>
              <a:gd name="connsiteY54" fmla="*/ 4171950 h 4476750"/>
              <a:gd name="connsiteX55" fmla="*/ 1087777 w 4519987"/>
              <a:gd name="connsiteY55" fmla="*/ 4143375 h 4476750"/>
              <a:gd name="connsiteX56" fmla="*/ 1030627 w 4519987"/>
              <a:gd name="connsiteY56" fmla="*/ 4124325 h 4476750"/>
              <a:gd name="connsiteX57" fmla="*/ 925852 w 4519987"/>
              <a:gd name="connsiteY57" fmla="*/ 4067175 h 4476750"/>
              <a:gd name="connsiteX58" fmla="*/ 830602 w 4519987"/>
              <a:gd name="connsiteY58" fmla="*/ 3981450 h 4476750"/>
              <a:gd name="connsiteX59" fmla="*/ 763927 w 4519987"/>
              <a:gd name="connsiteY59" fmla="*/ 3914775 h 4476750"/>
              <a:gd name="connsiteX60" fmla="*/ 725827 w 4519987"/>
              <a:gd name="connsiteY60" fmla="*/ 3876675 h 4476750"/>
              <a:gd name="connsiteX61" fmla="*/ 697252 w 4519987"/>
              <a:gd name="connsiteY61" fmla="*/ 3838575 h 4476750"/>
              <a:gd name="connsiteX62" fmla="*/ 640102 w 4519987"/>
              <a:gd name="connsiteY62" fmla="*/ 3781425 h 4476750"/>
              <a:gd name="connsiteX63" fmla="*/ 611527 w 4519987"/>
              <a:gd name="connsiteY63" fmla="*/ 3733800 h 4476750"/>
              <a:gd name="connsiteX64" fmla="*/ 554377 w 4519987"/>
              <a:gd name="connsiteY64" fmla="*/ 3657600 h 4476750"/>
              <a:gd name="connsiteX65" fmla="*/ 525802 w 4519987"/>
              <a:gd name="connsiteY65" fmla="*/ 3609975 h 4476750"/>
              <a:gd name="connsiteX66" fmla="*/ 497227 w 4519987"/>
              <a:gd name="connsiteY66" fmla="*/ 3552825 h 4476750"/>
              <a:gd name="connsiteX67" fmla="*/ 440077 w 4519987"/>
              <a:gd name="connsiteY67" fmla="*/ 3495675 h 4476750"/>
              <a:gd name="connsiteX68" fmla="*/ 411502 w 4519987"/>
              <a:gd name="connsiteY68" fmla="*/ 3448050 h 4476750"/>
              <a:gd name="connsiteX69" fmla="*/ 278152 w 4519987"/>
              <a:gd name="connsiteY69" fmla="*/ 3257550 h 4476750"/>
              <a:gd name="connsiteX70" fmla="*/ 249577 w 4519987"/>
              <a:gd name="connsiteY70" fmla="*/ 3200400 h 4476750"/>
              <a:gd name="connsiteX71" fmla="*/ 240052 w 4519987"/>
              <a:gd name="connsiteY71" fmla="*/ 3162300 h 4476750"/>
              <a:gd name="connsiteX72" fmla="*/ 221002 w 4519987"/>
              <a:gd name="connsiteY72" fmla="*/ 3105150 h 4476750"/>
              <a:gd name="connsiteX73" fmla="*/ 173377 w 4519987"/>
              <a:gd name="connsiteY73" fmla="*/ 3019425 h 4476750"/>
              <a:gd name="connsiteX74" fmla="*/ 144802 w 4519987"/>
              <a:gd name="connsiteY74" fmla="*/ 2924175 h 4476750"/>
              <a:gd name="connsiteX75" fmla="*/ 68602 w 4519987"/>
              <a:gd name="connsiteY75" fmla="*/ 2724150 h 4476750"/>
              <a:gd name="connsiteX76" fmla="*/ 49552 w 4519987"/>
              <a:gd name="connsiteY76" fmla="*/ 2638425 h 4476750"/>
              <a:gd name="connsiteX77" fmla="*/ 40027 w 4519987"/>
              <a:gd name="connsiteY77" fmla="*/ 2562225 h 4476750"/>
              <a:gd name="connsiteX78" fmla="*/ 30502 w 4519987"/>
              <a:gd name="connsiteY78" fmla="*/ 2514600 h 4476750"/>
              <a:gd name="connsiteX79" fmla="*/ 11452 w 4519987"/>
              <a:gd name="connsiteY79" fmla="*/ 2400300 h 4476750"/>
              <a:gd name="connsiteX80" fmla="*/ 20977 w 4519987"/>
              <a:gd name="connsiteY80" fmla="*/ 1905000 h 4476750"/>
              <a:gd name="connsiteX81" fmla="*/ 30502 w 4519987"/>
              <a:gd name="connsiteY81" fmla="*/ 1838325 h 4476750"/>
              <a:gd name="connsiteX82" fmla="*/ 49552 w 4519987"/>
              <a:gd name="connsiteY82" fmla="*/ 1781175 h 4476750"/>
              <a:gd name="connsiteX83" fmla="*/ 59077 w 4519987"/>
              <a:gd name="connsiteY83" fmla="*/ 1743075 h 4476750"/>
              <a:gd name="connsiteX84" fmla="*/ 78127 w 4519987"/>
              <a:gd name="connsiteY84" fmla="*/ 1685925 h 4476750"/>
              <a:gd name="connsiteX85" fmla="*/ 87652 w 4519987"/>
              <a:gd name="connsiteY85" fmla="*/ 1638300 h 4476750"/>
              <a:gd name="connsiteX86" fmla="*/ 106702 w 4519987"/>
              <a:gd name="connsiteY86" fmla="*/ 1590675 h 4476750"/>
              <a:gd name="connsiteX87" fmla="*/ 135277 w 4519987"/>
              <a:gd name="connsiteY87" fmla="*/ 1504950 h 4476750"/>
              <a:gd name="connsiteX88" fmla="*/ 154327 w 4519987"/>
              <a:gd name="connsiteY88" fmla="*/ 1419225 h 4476750"/>
              <a:gd name="connsiteX89" fmla="*/ 230527 w 4519987"/>
              <a:gd name="connsiteY89" fmla="*/ 1276350 h 4476750"/>
              <a:gd name="connsiteX90" fmla="*/ 240052 w 4519987"/>
              <a:gd name="connsiteY90" fmla="*/ 1247775 h 4476750"/>
              <a:gd name="connsiteX91" fmla="*/ 268627 w 4519987"/>
              <a:gd name="connsiteY91" fmla="*/ 1200150 h 4476750"/>
              <a:gd name="connsiteX92" fmla="*/ 287677 w 4519987"/>
              <a:gd name="connsiteY92" fmla="*/ 1152525 h 4476750"/>
              <a:gd name="connsiteX93" fmla="*/ 316252 w 4519987"/>
              <a:gd name="connsiteY93" fmla="*/ 1114425 h 4476750"/>
              <a:gd name="connsiteX94" fmla="*/ 363877 w 4519987"/>
              <a:gd name="connsiteY94" fmla="*/ 1038225 h 4476750"/>
              <a:gd name="connsiteX95" fmla="*/ 382927 w 4519987"/>
              <a:gd name="connsiteY95" fmla="*/ 1009650 h 4476750"/>
              <a:gd name="connsiteX96" fmla="*/ 440077 w 4519987"/>
              <a:gd name="connsiteY96" fmla="*/ 904875 h 4476750"/>
              <a:gd name="connsiteX97" fmla="*/ 478177 w 4519987"/>
              <a:gd name="connsiteY97" fmla="*/ 857250 h 4476750"/>
              <a:gd name="connsiteX98" fmla="*/ 497227 w 4519987"/>
              <a:gd name="connsiteY98" fmla="*/ 828675 h 4476750"/>
              <a:gd name="connsiteX99" fmla="*/ 535327 w 4519987"/>
              <a:gd name="connsiteY99" fmla="*/ 800100 h 4476750"/>
              <a:gd name="connsiteX100" fmla="*/ 602002 w 4519987"/>
              <a:gd name="connsiteY100" fmla="*/ 733425 h 4476750"/>
              <a:gd name="connsiteX101" fmla="*/ 668677 w 4519987"/>
              <a:gd name="connsiteY101" fmla="*/ 676275 h 4476750"/>
              <a:gd name="connsiteX102" fmla="*/ 697252 w 4519987"/>
              <a:gd name="connsiteY102" fmla="*/ 657225 h 4476750"/>
              <a:gd name="connsiteX103" fmla="*/ 840127 w 4519987"/>
              <a:gd name="connsiteY103" fmla="*/ 533400 h 4476750"/>
              <a:gd name="connsiteX104" fmla="*/ 887752 w 4519987"/>
              <a:gd name="connsiteY104" fmla="*/ 504825 h 4476750"/>
              <a:gd name="connsiteX105" fmla="*/ 1167152 w 4519987"/>
              <a:gd name="connsiteY105" fmla="*/ 311150 h 4476750"/>
              <a:gd name="connsiteX106" fmla="*/ 1268752 w 4519987"/>
              <a:gd name="connsiteY106" fmla="*/ 285750 h 4476750"/>
              <a:gd name="connsiteX107" fmla="*/ 1411627 w 4519987"/>
              <a:gd name="connsiteY107" fmla="*/ 190500 h 4476750"/>
              <a:gd name="connsiteX108" fmla="*/ 1449727 w 4519987"/>
              <a:gd name="connsiteY108" fmla="*/ 161925 h 4476750"/>
              <a:gd name="connsiteX109" fmla="*/ 1525927 w 4519987"/>
              <a:gd name="connsiteY109" fmla="*/ 152400 h 4476750"/>
              <a:gd name="connsiteX110" fmla="*/ 1583077 w 4519987"/>
              <a:gd name="connsiteY110" fmla="*/ 142875 h 4476750"/>
              <a:gd name="connsiteX111" fmla="*/ 1716427 w 4519987"/>
              <a:gd name="connsiteY111" fmla="*/ 123825 h 4476750"/>
              <a:gd name="connsiteX112" fmla="*/ 1811677 w 4519987"/>
              <a:gd name="connsiteY112" fmla="*/ 114300 h 4476750"/>
              <a:gd name="connsiteX113" fmla="*/ 1859302 w 4519987"/>
              <a:gd name="connsiteY113" fmla="*/ 104775 h 4476750"/>
              <a:gd name="connsiteX114" fmla="*/ 1916452 w 4519987"/>
              <a:gd name="connsiteY114" fmla="*/ 95250 h 4476750"/>
              <a:gd name="connsiteX115" fmla="*/ 2030752 w 4519987"/>
              <a:gd name="connsiteY115" fmla="*/ 66675 h 4476750"/>
              <a:gd name="connsiteX116" fmla="*/ 2097427 w 4519987"/>
              <a:gd name="connsiteY116" fmla="*/ 47625 h 4476750"/>
              <a:gd name="connsiteX117" fmla="*/ 2164102 w 4519987"/>
              <a:gd name="connsiteY117" fmla="*/ 38100 h 4476750"/>
              <a:gd name="connsiteX118" fmla="*/ 2392702 w 4519987"/>
              <a:gd name="connsiteY118" fmla="*/ 28575 h 4476750"/>
              <a:gd name="connsiteX0" fmla="*/ 2297452 w 4519987"/>
              <a:gd name="connsiteY0" fmla="*/ 0 h 4478541"/>
              <a:gd name="connsiteX1" fmla="*/ 2421277 w 4519987"/>
              <a:gd name="connsiteY1" fmla="*/ 28575 h 4478541"/>
              <a:gd name="connsiteX2" fmla="*/ 2497477 w 4519987"/>
              <a:gd name="connsiteY2" fmla="*/ 47625 h 4478541"/>
              <a:gd name="connsiteX3" fmla="*/ 2754652 w 4519987"/>
              <a:gd name="connsiteY3" fmla="*/ 66675 h 4478541"/>
              <a:gd name="connsiteX4" fmla="*/ 2830852 w 4519987"/>
              <a:gd name="connsiteY4" fmla="*/ 76200 h 4478541"/>
              <a:gd name="connsiteX5" fmla="*/ 2916577 w 4519987"/>
              <a:gd name="connsiteY5" fmla="*/ 85725 h 4478541"/>
              <a:gd name="connsiteX6" fmla="*/ 2973727 w 4519987"/>
              <a:gd name="connsiteY6" fmla="*/ 114300 h 4478541"/>
              <a:gd name="connsiteX7" fmla="*/ 3011827 w 4519987"/>
              <a:gd name="connsiteY7" fmla="*/ 123825 h 4478541"/>
              <a:gd name="connsiteX8" fmla="*/ 3135652 w 4519987"/>
              <a:gd name="connsiteY8" fmla="*/ 171450 h 4478541"/>
              <a:gd name="connsiteX9" fmla="*/ 3173752 w 4519987"/>
              <a:gd name="connsiteY9" fmla="*/ 190500 h 4478541"/>
              <a:gd name="connsiteX10" fmla="*/ 3240427 w 4519987"/>
              <a:gd name="connsiteY10" fmla="*/ 228600 h 4478541"/>
              <a:gd name="connsiteX11" fmla="*/ 3269002 w 4519987"/>
              <a:gd name="connsiteY11" fmla="*/ 238125 h 4478541"/>
              <a:gd name="connsiteX12" fmla="*/ 3297577 w 4519987"/>
              <a:gd name="connsiteY12" fmla="*/ 257175 h 4478541"/>
              <a:gd name="connsiteX13" fmla="*/ 3326152 w 4519987"/>
              <a:gd name="connsiteY13" fmla="*/ 266700 h 4478541"/>
              <a:gd name="connsiteX14" fmla="*/ 3354727 w 4519987"/>
              <a:gd name="connsiteY14" fmla="*/ 285750 h 4478541"/>
              <a:gd name="connsiteX15" fmla="*/ 3421402 w 4519987"/>
              <a:gd name="connsiteY15" fmla="*/ 323850 h 4478541"/>
              <a:gd name="connsiteX16" fmla="*/ 3469027 w 4519987"/>
              <a:gd name="connsiteY16" fmla="*/ 361950 h 4478541"/>
              <a:gd name="connsiteX17" fmla="*/ 3516652 w 4519987"/>
              <a:gd name="connsiteY17" fmla="*/ 390525 h 4478541"/>
              <a:gd name="connsiteX18" fmla="*/ 3630952 w 4519987"/>
              <a:gd name="connsiteY18" fmla="*/ 485775 h 4478541"/>
              <a:gd name="connsiteX19" fmla="*/ 3745252 w 4519987"/>
              <a:gd name="connsiteY19" fmla="*/ 542925 h 4478541"/>
              <a:gd name="connsiteX20" fmla="*/ 3811927 w 4519987"/>
              <a:gd name="connsiteY20" fmla="*/ 581025 h 4478541"/>
              <a:gd name="connsiteX21" fmla="*/ 4027827 w 4519987"/>
              <a:gd name="connsiteY21" fmla="*/ 819150 h 4478541"/>
              <a:gd name="connsiteX22" fmla="*/ 4164352 w 4519987"/>
              <a:gd name="connsiteY22" fmla="*/ 990600 h 4478541"/>
              <a:gd name="connsiteX23" fmla="*/ 4250077 w 4519987"/>
              <a:gd name="connsiteY23" fmla="*/ 1143000 h 4478541"/>
              <a:gd name="connsiteX24" fmla="*/ 4307227 w 4519987"/>
              <a:gd name="connsiteY24" fmla="*/ 1266825 h 4478541"/>
              <a:gd name="connsiteX25" fmla="*/ 4345327 w 4519987"/>
              <a:gd name="connsiteY25" fmla="*/ 1362075 h 4478541"/>
              <a:gd name="connsiteX26" fmla="*/ 4392952 w 4519987"/>
              <a:gd name="connsiteY26" fmla="*/ 1552575 h 4478541"/>
              <a:gd name="connsiteX27" fmla="*/ 4431052 w 4519987"/>
              <a:gd name="connsiteY27" fmla="*/ 1685925 h 4478541"/>
              <a:gd name="connsiteX28" fmla="*/ 4519952 w 4519987"/>
              <a:gd name="connsiteY28" fmla="*/ 2181225 h 4478541"/>
              <a:gd name="connsiteX29" fmla="*/ 4446927 w 4519987"/>
              <a:gd name="connsiteY29" fmla="*/ 2768600 h 4478541"/>
              <a:gd name="connsiteX30" fmla="*/ 4383427 w 4519987"/>
              <a:gd name="connsiteY30" fmla="*/ 2990850 h 4478541"/>
              <a:gd name="connsiteX31" fmla="*/ 4278652 w 4519987"/>
              <a:gd name="connsiteY31" fmla="*/ 3248025 h 4478541"/>
              <a:gd name="connsiteX32" fmla="*/ 4183402 w 4519987"/>
              <a:gd name="connsiteY32" fmla="*/ 3400425 h 4478541"/>
              <a:gd name="connsiteX33" fmla="*/ 4059577 w 4519987"/>
              <a:gd name="connsiteY33" fmla="*/ 3533775 h 4478541"/>
              <a:gd name="connsiteX34" fmla="*/ 3954802 w 4519987"/>
              <a:gd name="connsiteY34" fmla="*/ 3648075 h 4478541"/>
              <a:gd name="connsiteX35" fmla="*/ 3659527 w 4519987"/>
              <a:gd name="connsiteY35" fmla="*/ 3971925 h 4478541"/>
              <a:gd name="connsiteX36" fmla="*/ 3516652 w 4519987"/>
              <a:gd name="connsiteY36" fmla="*/ 4083050 h 4478541"/>
              <a:gd name="connsiteX37" fmla="*/ 3221377 w 4519987"/>
              <a:gd name="connsiteY37" fmla="*/ 4222750 h 4478541"/>
              <a:gd name="connsiteX38" fmla="*/ 3068977 w 4519987"/>
              <a:gd name="connsiteY38" fmla="*/ 4286250 h 4478541"/>
              <a:gd name="connsiteX39" fmla="*/ 2935627 w 4519987"/>
              <a:gd name="connsiteY39" fmla="*/ 4333875 h 4478541"/>
              <a:gd name="connsiteX40" fmla="*/ 2811802 w 4519987"/>
              <a:gd name="connsiteY40" fmla="*/ 4371975 h 4478541"/>
              <a:gd name="connsiteX41" fmla="*/ 2745127 w 4519987"/>
              <a:gd name="connsiteY41" fmla="*/ 4410075 h 4478541"/>
              <a:gd name="connsiteX42" fmla="*/ 2306977 w 4519987"/>
              <a:gd name="connsiteY42" fmla="*/ 4476750 h 4478541"/>
              <a:gd name="connsiteX43" fmla="*/ 2202202 w 4519987"/>
              <a:gd name="connsiteY43" fmla="*/ 4457700 h 4478541"/>
              <a:gd name="connsiteX44" fmla="*/ 2126002 w 4519987"/>
              <a:gd name="connsiteY44" fmla="*/ 4429125 h 4478541"/>
              <a:gd name="connsiteX45" fmla="*/ 1935502 w 4519987"/>
              <a:gd name="connsiteY45" fmla="*/ 4400550 h 4478541"/>
              <a:gd name="connsiteX46" fmla="*/ 1821202 w 4519987"/>
              <a:gd name="connsiteY46" fmla="*/ 4371975 h 4478541"/>
              <a:gd name="connsiteX47" fmla="*/ 1754527 w 4519987"/>
              <a:gd name="connsiteY47" fmla="*/ 4352925 h 4478541"/>
              <a:gd name="connsiteX48" fmla="*/ 1687852 w 4519987"/>
              <a:gd name="connsiteY48" fmla="*/ 4343400 h 4478541"/>
              <a:gd name="connsiteX49" fmla="*/ 1573552 w 4519987"/>
              <a:gd name="connsiteY49" fmla="*/ 4305300 h 4478541"/>
              <a:gd name="connsiteX50" fmla="*/ 1402102 w 4519987"/>
              <a:gd name="connsiteY50" fmla="*/ 4276725 h 4478541"/>
              <a:gd name="connsiteX51" fmla="*/ 1287802 w 4519987"/>
              <a:gd name="connsiteY51" fmla="*/ 4229100 h 4478541"/>
              <a:gd name="connsiteX52" fmla="*/ 1221127 w 4519987"/>
              <a:gd name="connsiteY52" fmla="*/ 4200525 h 4478541"/>
              <a:gd name="connsiteX53" fmla="*/ 1144927 w 4519987"/>
              <a:gd name="connsiteY53" fmla="*/ 4171950 h 4478541"/>
              <a:gd name="connsiteX54" fmla="*/ 1087777 w 4519987"/>
              <a:gd name="connsiteY54" fmla="*/ 4143375 h 4478541"/>
              <a:gd name="connsiteX55" fmla="*/ 1030627 w 4519987"/>
              <a:gd name="connsiteY55" fmla="*/ 4124325 h 4478541"/>
              <a:gd name="connsiteX56" fmla="*/ 925852 w 4519987"/>
              <a:gd name="connsiteY56" fmla="*/ 4067175 h 4478541"/>
              <a:gd name="connsiteX57" fmla="*/ 830602 w 4519987"/>
              <a:gd name="connsiteY57" fmla="*/ 3981450 h 4478541"/>
              <a:gd name="connsiteX58" fmla="*/ 763927 w 4519987"/>
              <a:gd name="connsiteY58" fmla="*/ 3914775 h 4478541"/>
              <a:gd name="connsiteX59" fmla="*/ 725827 w 4519987"/>
              <a:gd name="connsiteY59" fmla="*/ 3876675 h 4478541"/>
              <a:gd name="connsiteX60" fmla="*/ 697252 w 4519987"/>
              <a:gd name="connsiteY60" fmla="*/ 3838575 h 4478541"/>
              <a:gd name="connsiteX61" fmla="*/ 640102 w 4519987"/>
              <a:gd name="connsiteY61" fmla="*/ 3781425 h 4478541"/>
              <a:gd name="connsiteX62" fmla="*/ 611527 w 4519987"/>
              <a:gd name="connsiteY62" fmla="*/ 3733800 h 4478541"/>
              <a:gd name="connsiteX63" fmla="*/ 554377 w 4519987"/>
              <a:gd name="connsiteY63" fmla="*/ 3657600 h 4478541"/>
              <a:gd name="connsiteX64" fmla="*/ 525802 w 4519987"/>
              <a:gd name="connsiteY64" fmla="*/ 3609975 h 4478541"/>
              <a:gd name="connsiteX65" fmla="*/ 497227 w 4519987"/>
              <a:gd name="connsiteY65" fmla="*/ 3552825 h 4478541"/>
              <a:gd name="connsiteX66" fmla="*/ 440077 w 4519987"/>
              <a:gd name="connsiteY66" fmla="*/ 3495675 h 4478541"/>
              <a:gd name="connsiteX67" fmla="*/ 411502 w 4519987"/>
              <a:gd name="connsiteY67" fmla="*/ 3448050 h 4478541"/>
              <a:gd name="connsiteX68" fmla="*/ 278152 w 4519987"/>
              <a:gd name="connsiteY68" fmla="*/ 3257550 h 4478541"/>
              <a:gd name="connsiteX69" fmla="*/ 249577 w 4519987"/>
              <a:gd name="connsiteY69" fmla="*/ 3200400 h 4478541"/>
              <a:gd name="connsiteX70" fmla="*/ 240052 w 4519987"/>
              <a:gd name="connsiteY70" fmla="*/ 3162300 h 4478541"/>
              <a:gd name="connsiteX71" fmla="*/ 221002 w 4519987"/>
              <a:gd name="connsiteY71" fmla="*/ 3105150 h 4478541"/>
              <a:gd name="connsiteX72" fmla="*/ 173377 w 4519987"/>
              <a:gd name="connsiteY72" fmla="*/ 3019425 h 4478541"/>
              <a:gd name="connsiteX73" fmla="*/ 144802 w 4519987"/>
              <a:gd name="connsiteY73" fmla="*/ 2924175 h 4478541"/>
              <a:gd name="connsiteX74" fmla="*/ 68602 w 4519987"/>
              <a:gd name="connsiteY74" fmla="*/ 2724150 h 4478541"/>
              <a:gd name="connsiteX75" fmla="*/ 49552 w 4519987"/>
              <a:gd name="connsiteY75" fmla="*/ 2638425 h 4478541"/>
              <a:gd name="connsiteX76" fmla="*/ 40027 w 4519987"/>
              <a:gd name="connsiteY76" fmla="*/ 2562225 h 4478541"/>
              <a:gd name="connsiteX77" fmla="*/ 30502 w 4519987"/>
              <a:gd name="connsiteY77" fmla="*/ 2514600 h 4478541"/>
              <a:gd name="connsiteX78" fmla="*/ 11452 w 4519987"/>
              <a:gd name="connsiteY78" fmla="*/ 2400300 h 4478541"/>
              <a:gd name="connsiteX79" fmla="*/ 20977 w 4519987"/>
              <a:gd name="connsiteY79" fmla="*/ 1905000 h 4478541"/>
              <a:gd name="connsiteX80" fmla="*/ 30502 w 4519987"/>
              <a:gd name="connsiteY80" fmla="*/ 1838325 h 4478541"/>
              <a:gd name="connsiteX81" fmla="*/ 49552 w 4519987"/>
              <a:gd name="connsiteY81" fmla="*/ 1781175 h 4478541"/>
              <a:gd name="connsiteX82" fmla="*/ 59077 w 4519987"/>
              <a:gd name="connsiteY82" fmla="*/ 1743075 h 4478541"/>
              <a:gd name="connsiteX83" fmla="*/ 78127 w 4519987"/>
              <a:gd name="connsiteY83" fmla="*/ 1685925 h 4478541"/>
              <a:gd name="connsiteX84" fmla="*/ 87652 w 4519987"/>
              <a:gd name="connsiteY84" fmla="*/ 1638300 h 4478541"/>
              <a:gd name="connsiteX85" fmla="*/ 106702 w 4519987"/>
              <a:gd name="connsiteY85" fmla="*/ 1590675 h 4478541"/>
              <a:gd name="connsiteX86" fmla="*/ 135277 w 4519987"/>
              <a:gd name="connsiteY86" fmla="*/ 1504950 h 4478541"/>
              <a:gd name="connsiteX87" fmla="*/ 154327 w 4519987"/>
              <a:gd name="connsiteY87" fmla="*/ 1419225 h 4478541"/>
              <a:gd name="connsiteX88" fmla="*/ 230527 w 4519987"/>
              <a:gd name="connsiteY88" fmla="*/ 1276350 h 4478541"/>
              <a:gd name="connsiteX89" fmla="*/ 240052 w 4519987"/>
              <a:gd name="connsiteY89" fmla="*/ 1247775 h 4478541"/>
              <a:gd name="connsiteX90" fmla="*/ 268627 w 4519987"/>
              <a:gd name="connsiteY90" fmla="*/ 1200150 h 4478541"/>
              <a:gd name="connsiteX91" fmla="*/ 287677 w 4519987"/>
              <a:gd name="connsiteY91" fmla="*/ 1152525 h 4478541"/>
              <a:gd name="connsiteX92" fmla="*/ 316252 w 4519987"/>
              <a:gd name="connsiteY92" fmla="*/ 1114425 h 4478541"/>
              <a:gd name="connsiteX93" fmla="*/ 363877 w 4519987"/>
              <a:gd name="connsiteY93" fmla="*/ 1038225 h 4478541"/>
              <a:gd name="connsiteX94" fmla="*/ 382927 w 4519987"/>
              <a:gd name="connsiteY94" fmla="*/ 1009650 h 4478541"/>
              <a:gd name="connsiteX95" fmla="*/ 440077 w 4519987"/>
              <a:gd name="connsiteY95" fmla="*/ 904875 h 4478541"/>
              <a:gd name="connsiteX96" fmla="*/ 478177 w 4519987"/>
              <a:gd name="connsiteY96" fmla="*/ 857250 h 4478541"/>
              <a:gd name="connsiteX97" fmla="*/ 497227 w 4519987"/>
              <a:gd name="connsiteY97" fmla="*/ 828675 h 4478541"/>
              <a:gd name="connsiteX98" fmla="*/ 535327 w 4519987"/>
              <a:gd name="connsiteY98" fmla="*/ 800100 h 4478541"/>
              <a:gd name="connsiteX99" fmla="*/ 602002 w 4519987"/>
              <a:gd name="connsiteY99" fmla="*/ 733425 h 4478541"/>
              <a:gd name="connsiteX100" fmla="*/ 668677 w 4519987"/>
              <a:gd name="connsiteY100" fmla="*/ 676275 h 4478541"/>
              <a:gd name="connsiteX101" fmla="*/ 697252 w 4519987"/>
              <a:gd name="connsiteY101" fmla="*/ 657225 h 4478541"/>
              <a:gd name="connsiteX102" fmla="*/ 840127 w 4519987"/>
              <a:gd name="connsiteY102" fmla="*/ 533400 h 4478541"/>
              <a:gd name="connsiteX103" fmla="*/ 887752 w 4519987"/>
              <a:gd name="connsiteY103" fmla="*/ 504825 h 4478541"/>
              <a:gd name="connsiteX104" fmla="*/ 1167152 w 4519987"/>
              <a:gd name="connsiteY104" fmla="*/ 311150 h 4478541"/>
              <a:gd name="connsiteX105" fmla="*/ 1268752 w 4519987"/>
              <a:gd name="connsiteY105" fmla="*/ 285750 h 4478541"/>
              <a:gd name="connsiteX106" fmla="*/ 1411627 w 4519987"/>
              <a:gd name="connsiteY106" fmla="*/ 190500 h 4478541"/>
              <a:gd name="connsiteX107" fmla="*/ 1449727 w 4519987"/>
              <a:gd name="connsiteY107" fmla="*/ 161925 h 4478541"/>
              <a:gd name="connsiteX108" fmla="*/ 1525927 w 4519987"/>
              <a:gd name="connsiteY108" fmla="*/ 152400 h 4478541"/>
              <a:gd name="connsiteX109" fmla="*/ 1583077 w 4519987"/>
              <a:gd name="connsiteY109" fmla="*/ 142875 h 4478541"/>
              <a:gd name="connsiteX110" fmla="*/ 1716427 w 4519987"/>
              <a:gd name="connsiteY110" fmla="*/ 123825 h 4478541"/>
              <a:gd name="connsiteX111" fmla="*/ 1811677 w 4519987"/>
              <a:gd name="connsiteY111" fmla="*/ 114300 h 4478541"/>
              <a:gd name="connsiteX112" fmla="*/ 1859302 w 4519987"/>
              <a:gd name="connsiteY112" fmla="*/ 104775 h 4478541"/>
              <a:gd name="connsiteX113" fmla="*/ 1916452 w 4519987"/>
              <a:gd name="connsiteY113" fmla="*/ 95250 h 4478541"/>
              <a:gd name="connsiteX114" fmla="*/ 2030752 w 4519987"/>
              <a:gd name="connsiteY114" fmla="*/ 66675 h 4478541"/>
              <a:gd name="connsiteX115" fmla="*/ 2097427 w 4519987"/>
              <a:gd name="connsiteY115" fmla="*/ 47625 h 4478541"/>
              <a:gd name="connsiteX116" fmla="*/ 2164102 w 4519987"/>
              <a:gd name="connsiteY116" fmla="*/ 38100 h 4478541"/>
              <a:gd name="connsiteX117" fmla="*/ 2392702 w 4519987"/>
              <a:gd name="connsiteY117" fmla="*/ 28575 h 4478541"/>
              <a:gd name="connsiteX0" fmla="*/ 2297452 w 4519987"/>
              <a:gd name="connsiteY0" fmla="*/ 0 h 4476750"/>
              <a:gd name="connsiteX1" fmla="*/ 2421277 w 4519987"/>
              <a:gd name="connsiteY1" fmla="*/ 28575 h 4476750"/>
              <a:gd name="connsiteX2" fmla="*/ 2497477 w 4519987"/>
              <a:gd name="connsiteY2" fmla="*/ 47625 h 4476750"/>
              <a:gd name="connsiteX3" fmla="*/ 2754652 w 4519987"/>
              <a:gd name="connsiteY3" fmla="*/ 66675 h 4476750"/>
              <a:gd name="connsiteX4" fmla="*/ 2830852 w 4519987"/>
              <a:gd name="connsiteY4" fmla="*/ 76200 h 4476750"/>
              <a:gd name="connsiteX5" fmla="*/ 2916577 w 4519987"/>
              <a:gd name="connsiteY5" fmla="*/ 85725 h 4476750"/>
              <a:gd name="connsiteX6" fmla="*/ 2973727 w 4519987"/>
              <a:gd name="connsiteY6" fmla="*/ 114300 h 4476750"/>
              <a:gd name="connsiteX7" fmla="*/ 3011827 w 4519987"/>
              <a:gd name="connsiteY7" fmla="*/ 123825 h 4476750"/>
              <a:gd name="connsiteX8" fmla="*/ 3135652 w 4519987"/>
              <a:gd name="connsiteY8" fmla="*/ 171450 h 4476750"/>
              <a:gd name="connsiteX9" fmla="*/ 3173752 w 4519987"/>
              <a:gd name="connsiteY9" fmla="*/ 190500 h 4476750"/>
              <a:gd name="connsiteX10" fmla="*/ 3240427 w 4519987"/>
              <a:gd name="connsiteY10" fmla="*/ 228600 h 4476750"/>
              <a:gd name="connsiteX11" fmla="*/ 3269002 w 4519987"/>
              <a:gd name="connsiteY11" fmla="*/ 238125 h 4476750"/>
              <a:gd name="connsiteX12" fmla="*/ 3297577 w 4519987"/>
              <a:gd name="connsiteY12" fmla="*/ 257175 h 4476750"/>
              <a:gd name="connsiteX13" fmla="*/ 3326152 w 4519987"/>
              <a:gd name="connsiteY13" fmla="*/ 266700 h 4476750"/>
              <a:gd name="connsiteX14" fmla="*/ 3354727 w 4519987"/>
              <a:gd name="connsiteY14" fmla="*/ 285750 h 4476750"/>
              <a:gd name="connsiteX15" fmla="*/ 3421402 w 4519987"/>
              <a:gd name="connsiteY15" fmla="*/ 323850 h 4476750"/>
              <a:gd name="connsiteX16" fmla="*/ 3469027 w 4519987"/>
              <a:gd name="connsiteY16" fmla="*/ 361950 h 4476750"/>
              <a:gd name="connsiteX17" fmla="*/ 3516652 w 4519987"/>
              <a:gd name="connsiteY17" fmla="*/ 390525 h 4476750"/>
              <a:gd name="connsiteX18" fmla="*/ 3630952 w 4519987"/>
              <a:gd name="connsiteY18" fmla="*/ 485775 h 4476750"/>
              <a:gd name="connsiteX19" fmla="*/ 3745252 w 4519987"/>
              <a:gd name="connsiteY19" fmla="*/ 542925 h 4476750"/>
              <a:gd name="connsiteX20" fmla="*/ 3811927 w 4519987"/>
              <a:gd name="connsiteY20" fmla="*/ 581025 h 4476750"/>
              <a:gd name="connsiteX21" fmla="*/ 4027827 w 4519987"/>
              <a:gd name="connsiteY21" fmla="*/ 819150 h 4476750"/>
              <a:gd name="connsiteX22" fmla="*/ 4164352 w 4519987"/>
              <a:gd name="connsiteY22" fmla="*/ 990600 h 4476750"/>
              <a:gd name="connsiteX23" fmla="*/ 4250077 w 4519987"/>
              <a:gd name="connsiteY23" fmla="*/ 1143000 h 4476750"/>
              <a:gd name="connsiteX24" fmla="*/ 4307227 w 4519987"/>
              <a:gd name="connsiteY24" fmla="*/ 1266825 h 4476750"/>
              <a:gd name="connsiteX25" fmla="*/ 4345327 w 4519987"/>
              <a:gd name="connsiteY25" fmla="*/ 1362075 h 4476750"/>
              <a:gd name="connsiteX26" fmla="*/ 4392952 w 4519987"/>
              <a:gd name="connsiteY26" fmla="*/ 1552575 h 4476750"/>
              <a:gd name="connsiteX27" fmla="*/ 4431052 w 4519987"/>
              <a:gd name="connsiteY27" fmla="*/ 1685925 h 4476750"/>
              <a:gd name="connsiteX28" fmla="*/ 4519952 w 4519987"/>
              <a:gd name="connsiteY28" fmla="*/ 2181225 h 4476750"/>
              <a:gd name="connsiteX29" fmla="*/ 4446927 w 4519987"/>
              <a:gd name="connsiteY29" fmla="*/ 2768600 h 4476750"/>
              <a:gd name="connsiteX30" fmla="*/ 4383427 w 4519987"/>
              <a:gd name="connsiteY30" fmla="*/ 2990850 h 4476750"/>
              <a:gd name="connsiteX31" fmla="*/ 4278652 w 4519987"/>
              <a:gd name="connsiteY31" fmla="*/ 3248025 h 4476750"/>
              <a:gd name="connsiteX32" fmla="*/ 4183402 w 4519987"/>
              <a:gd name="connsiteY32" fmla="*/ 3400425 h 4476750"/>
              <a:gd name="connsiteX33" fmla="*/ 4059577 w 4519987"/>
              <a:gd name="connsiteY33" fmla="*/ 3533775 h 4476750"/>
              <a:gd name="connsiteX34" fmla="*/ 3954802 w 4519987"/>
              <a:gd name="connsiteY34" fmla="*/ 3648075 h 4476750"/>
              <a:gd name="connsiteX35" fmla="*/ 3659527 w 4519987"/>
              <a:gd name="connsiteY35" fmla="*/ 3971925 h 4476750"/>
              <a:gd name="connsiteX36" fmla="*/ 3516652 w 4519987"/>
              <a:gd name="connsiteY36" fmla="*/ 4083050 h 4476750"/>
              <a:gd name="connsiteX37" fmla="*/ 3221377 w 4519987"/>
              <a:gd name="connsiteY37" fmla="*/ 4222750 h 4476750"/>
              <a:gd name="connsiteX38" fmla="*/ 3068977 w 4519987"/>
              <a:gd name="connsiteY38" fmla="*/ 4286250 h 4476750"/>
              <a:gd name="connsiteX39" fmla="*/ 2935627 w 4519987"/>
              <a:gd name="connsiteY39" fmla="*/ 4333875 h 4476750"/>
              <a:gd name="connsiteX40" fmla="*/ 2811802 w 4519987"/>
              <a:gd name="connsiteY40" fmla="*/ 4371975 h 4476750"/>
              <a:gd name="connsiteX41" fmla="*/ 2580027 w 4519987"/>
              <a:gd name="connsiteY41" fmla="*/ 4391025 h 4476750"/>
              <a:gd name="connsiteX42" fmla="*/ 2306977 w 4519987"/>
              <a:gd name="connsiteY42" fmla="*/ 4476750 h 4476750"/>
              <a:gd name="connsiteX43" fmla="*/ 2202202 w 4519987"/>
              <a:gd name="connsiteY43" fmla="*/ 4457700 h 4476750"/>
              <a:gd name="connsiteX44" fmla="*/ 2126002 w 4519987"/>
              <a:gd name="connsiteY44" fmla="*/ 4429125 h 4476750"/>
              <a:gd name="connsiteX45" fmla="*/ 1935502 w 4519987"/>
              <a:gd name="connsiteY45" fmla="*/ 4400550 h 4476750"/>
              <a:gd name="connsiteX46" fmla="*/ 1821202 w 4519987"/>
              <a:gd name="connsiteY46" fmla="*/ 4371975 h 4476750"/>
              <a:gd name="connsiteX47" fmla="*/ 1754527 w 4519987"/>
              <a:gd name="connsiteY47" fmla="*/ 4352925 h 4476750"/>
              <a:gd name="connsiteX48" fmla="*/ 1687852 w 4519987"/>
              <a:gd name="connsiteY48" fmla="*/ 4343400 h 4476750"/>
              <a:gd name="connsiteX49" fmla="*/ 1573552 w 4519987"/>
              <a:gd name="connsiteY49" fmla="*/ 4305300 h 4476750"/>
              <a:gd name="connsiteX50" fmla="*/ 1402102 w 4519987"/>
              <a:gd name="connsiteY50" fmla="*/ 4276725 h 4476750"/>
              <a:gd name="connsiteX51" fmla="*/ 1287802 w 4519987"/>
              <a:gd name="connsiteY51" fmla="*/ 4229100 h 4476750"/>
              <a:gd name="connsiteX52" fmla="*/ 1221127 w 4519987"/>
              <a:gd name="connsiteY52" fmla="*/ 4200525 h 4476750"/>
              <a:gd name="connsiteX53" fmla="*/ 1144927 w 4519987"/>
              <a:gd name="connsiteY53" fmla="*/ 4171950 h 4476750"/>
              <a:gd name="connsiteX54" fmla="*/ 1087777 w 4519987"/>
              <a:gd name="connsiteY54" fmla="*/ 4143375 h 4476750"/>
              <a:gd name="connsiteX55" fmla="*/ 1030627 w 4519987"/>
              <a:gd name="connsiteY55" fmla="*/ 4124325 h 4476750"/>
              <a:gd name="connsiteX56" fmla="*/ 925852 w 4519987"/>
              <a:gd name="connsiteY56" fmla="*/ 4067175 h 4476750"/>
              <a:gd name="connsiteX57" fmla="*/ 830602 w 4519987"/>
              <a:gd name="connsiteY57" fmla="*/ 3981450 h 4476750"/>
              <a:gd name="connsiteX58" fmla="*/ 763927 w 4519987"/>
              <a:gd name="connsiteY58" fmla="*/ 3914775 h 4476750"/>
              <a:gd name="connsiteX59" fmla="*/ 725827 w 4519987"/>
              <a:gd name="connsiteY59" fmla="*/ 3876675 h 4476750"/>
              <a:gd name="connsiteX60" fmla="*/ 697252 w 4519987"/>
              <a:gd name="connsiteY60" fmla="*/ 3838575 h 4476750"/>
              <a:gd name="connsiteX61" fmla="*/ 640102 w 4519987"/>
              <a:gd name="connsiteY61" fmla="*/ 3781425 h 4476750"/>
              <a:gd name="connsiteX62" fmla="*/ 611527 w 4519987"/>
              <a:gd name="connsiteY62" fmla="*/ 3733800 h 4476750"/>
              <a:gd name="connsiteX63" fmla="*/ 554377 w 4519987"/>
              <a:gd name="connsiteY63" fmla="*/ 3657600 h 4476750"/>
              <a:gd name="connsiteX64" fmla="*/ 525802 w 4519987"/>
              <a:gd name="connsiteY64" fmla="*/ 3609975 h 4476750"/>
              <a:gd name="connsiteX65" fmla="*/ 497227 w 4519987"/>
              <a:gd name="connsiteY65" fmla="*/ 3552825 h 4476750"/>
              <a:gd name="connsiteX66" fmla="*/ 440077 w 4519987"/>
              <a:gd name="connsiteY66" fmla="*/ 3495675 h 4476750"/>
              <a:gd name="connsiteX67" fmla="*/ 411502 w 4519987"/>
              <a:gd name="connsiteY67" fmla="*/ 3448050 h 4476750"/>
              <a:gd name="connsiteX68" fmla="*/ 278152 w 4519987"/>
              <a:gd name="connsiteY68" fmla="*/ 3257550 h 4476750"/>
              <a:gd name="connsiteX69" fmla="*/ 249577 w 4519987"/>
              <a:gd name="connsiteY69" fmla="*/ 3200400 h 4476750"/>
              <a:gd name="connsiteX70" fmla="*/ 240052 w 4519987"/>
              <a:gd name="connsiteY70" fmla="*/ 3162300 h 4476750"/>
              <a:gd name="connsiteX71" fmla="*/ 221002 w 4519987"/>
              <a:gd name="connsiteY71" fmla="*/ 3105150 h 4476750"/>
              <a:gd name="connsiteX72" fmla="*/ 173377 w 4519987"/>
              <a:gd name="connsiteY72" fmla="*/ 3019425 h 4476750"/>
              <a:gd name="connsiteX73" fmla="*/ 144802 w 4519987"/>
              <a:gd name="connsiteY73" fmla="*/ 2924175 h 4476750"/>
              <a:gd name="connsiteX74" fmla="*/ 68602 w 4519987"/>
              <a:gd name="connsiteY74" fmla="*/ 2724150 h 4476750"/>
              <a:gd name="connsiteX75" fmla="*/ 49552 w 4519987"/>
              <a:gd name="connsiteY75" fmla="*/ 2638425 h 4476750"/>
              <a:gd name="connsiteX76" fmla="*/ 40027 w 4519987"/>
              <a:gd name="connsiteY76" fmla="*/ 2562225 h 4476750"/>
              <a:gd name="connsiteX77" fmla="*/ 30502 w 4519987"/>
              <a:gd name="connsiteY77" fmla="*/ 2514600 h 4476750"/>
              <a:gd name="connsiteX78" fmla="*/ 11452 w 4519987"/>
              <a:gd name="connsiteY78" fmla="*/ 2400300 h 4476750"/>
              <a:gd name="connsiteX79" fmla="*/ 20977 w 4519987"/>
              <a:gd name="connsiteY79" fmla="*/ 1905000 h 4476750"/>
              <a:gd name="connsiteX80" fmla="*/ 30502 w 4519987"/>
              <a:gd name="connsiteY80" fmla="*/ 1838325 h 4476750"/>
              <a:gd name="connsiteX81" fmla="*/ 49552 w 4519987"/>
              <a:gd name="connsiteY81" fmla="*/ 1781175 h 4476750"/>
              <a:gd name="connsiteX82" fmla="*/ 59077 w 4519987"/>
              <a:gd name="connsiteY82" fmla="*/ 1743075 h 4476750"/>
              <a:gd name="connsiteX83" fmla="*/ 78127 w 4519987"/>
              <a:gd name="connsiteY83" fmla="*/ 1685925 h 4476750"/>
              <a:gd name="connsiteX84" fmla="*/ 87652 w 4519987"/>
              <a:gd name="connsiteY84" fmla="*/ 1638300 h 4476750"/>
              <a:gd name="connsiteX85" fmla="*/ 106702 w 4519987"/>
              <a:gd name="connsiteY85" fmla="*/ 1590675 h 4476750"/>
              <a:gd name="connsiteX86" fmla="*/ 135277 w 4519987"/>
              <a:gd name="connsiteY86" fmla="*/ 1504950 h 4476750"/>
              <a:gd name="connsiteX87" fmla="*/ 154327 w 4519987"/>
              <a:gd name="connsiteY87" fmla="*/ 1419225 h 4476750"/>
              <a:gd name="connsiteX88" fmla="*/ 230527 w 4519987"/>
              <a:gd name="connsiteY88" fmla="*/ 1276350 h 4476750"/>
              <a:gd name="connsiteX89" fmla="*/ 240052 w 4519987"/>
              <a:gd name="connsiteY89" fmla="*/ 1247775 h 4476750"/>
              <a:gd name="connsiteX90" fmla="*/ 268627 w 4519987"/>
              <a:gd name="connsiteY90" fmla="*/ 1200150 h 4476750"/>
              <a:gd name="connsiteX91" fmla="*/ 287677 w 4519987"/>
              <a:gd name="connsiteY91" fmla="*/ 1152525 h 4476750"/>
              <a:gd name="connsiteX92" fmla="*/ 316252 w 4519987"/>
              <a:gd name="connsiteY92" fmla="*/ 1114425 h 4476750"/>
              <a:gd name="connsiteX93" fmla="*/ 363877 w 4519987"/>
              <a:gd name="connsiteY93" fmla="*/ 1038225 h 4476750"/>
              <a:gd name="connsiteX94" fmla="*/ 382927 w 4519987"/>
              <a:gd name="connsiteY94" fmla="*/ 1009650 h 4476750"/>
              <a:gd name="connsiteX95" fmla="*/ 440077 w 4519987"/>
              <a:gd name="connsiteY95" fmla="*/ 904875 h 4476750"/>
              <a:gd name="connsiteX96" fmla="*/ 478177 w 4519987"/>
              <a:gd name="connsiteY96" fmla="*/ 857250 h 4476750"/>
              <a:gd name="connsiteX97" fmla="*/ 497227 w 4519987"/>
              <a:gd name="connsiteY97" fmla="*/ 828675 h 4476750"/>
              <a:gd name="connsiteX98" fmla="*/ 535327 w 4519987"/>
              <a:gd name="connsiteY98" fmla="*/ 800100 h 4476750"/>
              <a:gd name="connsiteX99" fmla="*/ 602002 w 4519987"/>
              <a:gd name="connsiteY99" fmla="*/ 733425 h 4476750"/>
              <a:gd name="connsiteX100" fmla="*/ 668677 w 4519987"/>
              <a:gd name="connsiteY100" fmla="*/ 676275 h 4476750"/>
              <a:gd name="connsiteX101" fmla="*/ 697252 w 4519987"/>
              <a:gd name="connsiteY101" fmla="*/ 657225 h 4476750"/>
              <a:gd name="connsiteX102" fmla="*/ 840127 w 4519987"/>
              <a:gd name="connsiteY102" fmla="*/ 533400 h 4476750"/>
              <a:gd name="connsiteX103" fmla="*/ 887752 w 4519987"/>
              <a:gd name="connsiteY103" fmla="*/ 504825 h 4476750"/>
              <a:gd name="connsiteX104" fmla="*/ 1167152 w 4519987"/>
              <a:gd name="connsiteY104" fmla="*/ 311150 h 4476750"/>
              <a:gd name="connsiteX105" fmla="*/ 1268752 w 4519987"/>
              <a:gd name="connsiteY105" fmla="*/ 285750 h 4476750"/>
              <a:gd name="connsiteX106" fmla="*/ 1411627 w 4519987"/>
              <a:gd name="connsiteY106" fmla="*/ 190500 h 4476750"/>
              <a:gd name="connsiteX107" fmla="*/ 1449727 w 4519987"/>
              <a:gd name="connsiteY107" fmla="*/ 161925 h 4476750"/>
              <a:gd name="connsiteX108" fmla="*/ 1525927 w 4519987"/>
              <a:gd name="connsiteY108" fmla="*/ 152400 h 4476750"/>
              <a:gd name="connsiteX109" fmla="*/ 1583077 w 4519987"/>
              <a:gd name="connsiteY109" fmla="*/ 142875 h 4476750"/>
              <a:gd name="connsiteX110" fmla="*/ 1716427 w 4519987"/>
              <a:gd name="connsiteY110" fmla="*/ 123825 h 4476750"/>
              <a:gd name="connsiteX111" fmla="*/ 1811677 w 4519987"/>
              <a:gd name="connsiteY111" fmla="*/ 114300 h 4476750"/>
              <a:gd name="connsiteX112" fmla="*/ 1859302 w 4519987"/>
              <a:gd name="connsiteY112" fmla="*/ 104775 h 4476750"/>
              <a:gd name="connsiteX113" fmla="*/ 1916452 w 4519987"/>
              <a:gd name="connsiteY113" fmla="*/ 95250 h 4476750"/>
              <a:gd name="connsiteX114" fmla="*/ 2030752 w 4519987"/>
              <a:gd name="connsiteY114" fmla="*/ 66675 h 4476750"/>
              <a:gd name="connsiteX115" fmla="*/ 2097427 w 4519987"/>
              <a:gd name="connsiteY115" fmla="*/ 47625 h 4476750"/>
              <a:gd name="connsiteX116" fmla="*/ 2164102 w 4519987"/>
              <a:gd name="connsiteY116" fmla="*/ 38100 h 4476750"/>
              <a:gd name="connsiteX117" fmla="*/ 2392702 w 4519987"/>
              <a:gd name="connsiteY117" fmla="*/ 28575 h 4476750"/>
              <a:gd name="connsiteX0" fmla="*/ 2297452 w 4519987"/>
              <a:gd name="connsiteY0" fmla="*/ 0 h 4457700"/>
              <a:gd name="connsiteX1" fmla="*/ 2421277 w 4519987"/>
              <a:gd name="connsiteY1" fmla="*/ 28575 h 4457700"/>
              <a:gd name="connsiteX2" fmla="*/ 2497477 w 4519987"/>
              <a:gd name="connsiteY2" fmla="*/ 47625 h 4457700"/>
              <a:gd name="connsiteX3" fmla="*/ 2754652 w 4519987"/>
              <a:gd name="connsiteY3" fmla="*/ 66675 h 4457700"/>
              <a:gd name="connsiteX4" fmla="*/ 2830852 w 4519987"/>
              <a:gd name="connsiteY4" fmla="*/ 76200 h 4457700"/>
              <a:gd name="connsiteX5" fmla="*/ 2916577 w 4519987"/>
              <a:gd name="connsiteY5" fmla="*/ 85725 h 4457700"/>
              <a:gd name="connsiteX6" fmla="*/ 2973727 w 4519987"/>
              <a:gd name="connsiteY6" fmla="*/ 114300 h 4457700"/>
              <a:gd name="connsiteX7" fmla="*/ 3011827 w 4519987"/>
              <a:gd name="connsiteY7" fmla="*/ 123825 h 4457700"/>
              <a:gd name="connsiteX8" fmla="*/ 3135652 w 4519987"/>
              <a:gd name="connsiteY8" fmla="*/ 171450 h 4457700"/>
              <a:gd name="connsiteX9" fmla="*/ 3173752 w 4519987"/>
              <a:gd name="connsiteY9" fmla="*/ 190500 h 4457700"/>
              <a:gd name="connsiteX10" fmla="*/ 3240427 w 4519987"/>
              <a:gd name="connsiteY10" fmla="*/ 228600 h 4457700"/>
              <a:gd name="connsiteX11" fmla="*/ 3269002 w 4519987"/>
              <a:gd name="connsiteY11" fmla="*/ 238125 h 4457700"/>
              <a:gd name="connsiteX12" fmla="*/ 3297577 w 4519987"/>
              <a:gd name="connsiteY12" fmla="*/ 257175 h 4457700"/>
              <a:gd name="connsiteX13" fmla="*/ 3326152 w 4519987"/>
              <a:gd name="connsiteY13" fmla="*/ 266700 h 4457700"/>
              <a:gd name="connsiteX14" fmla="*/ 3354727 w 4519987"/>
              <a:gd name="connsiteY14" fmla="*/ 285750 h 4457700"/>
              <a:gd name="connsiteX15" fmla="*/ 3421402 w 4519987"/>
              <a:gd name="connsiteY15" fmla="*/ 323850 h 4457700"/>
              <a:gd name="connsiteX16" fmla="*/ 3469027 w 4519987"/>
              <a:gd name="connsiteY16" fmla="*/ 361950 h 4457700"/>
              <a:gd name="connsiteX17" fmla="*/ 3516652 w 4519987"/>
              <a:gd name="connsiteY17" fmla="*/ 390525 h 4457700"/>
              <a:gd name="connsiteX18" fmla="*/ 3630952 w 4519987"/>
              <a:gd name="connsiteY18" fmla="*/ 485775 h 4457700"/>
              <a:gd name="connsiteX19" fmla="*/ 3745252 w 4519987"/>
              <a:gd name="connsiteY19" fmla="*/ 542925 h 4457700"/>
              <a:gd name="connsiteX20" fmla="*/ 3811927 w 4519987"/>
              <a:gd name="connsiteY20" fmla="*/ 581025 h 4457700"/>
              <a:gd name="connsiteX21" fmla="*/ 4027827 w 4519987"/>
              <a:gd name="connsiteY21" fmla="*/ 819150 h 4457700"/>
              <a:gd name="connsiteX22" fmla="*/ 4164352 w 4519987"/>
              <a:gd name="connsiteY22" fmla="*/ 990600 h 4457700"/>
              <a:gd name="connsiteX23" fmla="*/ 4250077 w 4519987"/>
              <a:gd name="connsiteY23" fmla="*/ 1143000 h 4457700"/>
              <a:gd name="connsiteX24" fmla="*/ 4307227 w 4519987"/>
              <a:gd name="connsiteY24" fmla="*/ 1266825 h 4457700"/>
              <a:gd name="connsiteX25" fmla="*/ 4345327 w 4519987"/>
              <a:gd name="connsiteY25" fmla="*/ 1362075 h 4457700"/>
              <a:gd name="connsiteX26" fmla="*/ 4392952 w 4519987"/>
              <a:gd name="connsiteY26" fmla="*/ 1552575 h 4457700"/>
              <a:gd name="connsiteX27" fmla="*/ 4431052 w 4519987"/>
              <a:gd name="connsiteY27" fmla="*/ 1685925 h 4457700"/>
              <a:gd name="connsiteX28" fmla="*/ 4519952 w 4519987"/>
              <a:gd name="connsiteY28" fmla="*/ 2181225 h 4457700"/>
              <a:gd name="connsiteX29" fmla="*/ 4446927 w 4519987"/>
              <a:gd name="connsiteY29" fmla="*/ 2768600 h 4457700"/>
              <a:gd name="connsiteX30" fmla="*/ 4383427 w 4519987"/>
              <a:gd name="connsiteY30" fmla="*/ 2990850 h 4457700"/>
              <a:gd name="connsiteX31" fmla="*/ 4278652 w 4519987"/>
              <a:gd name="connsiteY31" fmla="*/ 3248025 h 4457700"/>
              <a:gd name="connsiteX32" fmla="*/ 4183402 w 4519987"/>
              <a:gd name="connsiteY32" fmla="*/ 3400425 h 4457700"/>
              <a:gd name="connsiteX33" fmla="*/ 4059577 w 4519987"/>
              <a:gd name="connsiteY33" fmla="*/ 3533775 h 4457700"/>
              <a:gd name="connsiteX34" fmla="*/ 3954802 w 4519987"/>
              <a:gd name="connsiteY34" fmla="*/ 3648075 h 4457700"/>
              <a:gd name="connsiteX35" fmla="*/ 3659527 w 4519987"/>
              <a:gd name="connsiteY35" fmla="*/ 3971925 h 4457700"/>
              <a:gd name="connsiteX36" fmla="*/ 3516652 w 4519987"/>
              <a:gd name="connsiteY36" fmla="*/ 4083050 h 4457700"/>
              <a:gd name="connsiteX37" fmla="*/ 3221377 w 4519987"/>
              <a:gd name="connsiteY37" fmla="*/ 4222750 h 4457700"/>
              <a:gd name="connsiteX38" fmla="*/ 3068977 w 4519987"/>
              <a:gd name="connsiteY38" fmla="*/ 4286250 h 4457700"/>
              <a:gd name="connsiteX39" fmla="*/ 2935627 w 4519987"/>
              <a:gd name="connsiteY39" fmla="*/ 4333875 h 4457700"/>
              <a:gd name="connsiteX40" fmla="*/ 2811802 w 4519987"/>
              <a:gd name="connsiteY40" fmla="*/ 4371975 h 4457700"/>
              <a:gd name="connsiteX41" fmla="*/ 2580027 w 4519987"/>
              <a:gd name="connsiteY41" fmla="*/ 4391025 h 4457700"/>
              <a:gd name="connsiteX42" fmla="*/ 2202202 w 4519987"/>
              <a:gd name="connsiteY42" fmla="*/ 4457700 h 4457700"/>
              <a:gd name="connsiteX43" fmla="*/ 2126002 w 4519987"/>
              <a:gd name="connsiteY43" fmla="*/ 4429125 h 4457700"/>
              <a:gd name="connsiteX44" fmla="*/ 1935502 w 4519987"/>
              <a:gd name="connsiteY44" fmla="*/ 4400550 h 4457700"/>
              <a:gd name="connsiteX45" fmla="*/ 1821202 w 4519987"/>
              <a:gd name="connsiteY45" fmla="*/ 4371975 h 4457700"/>
              <a:gd name="connsiteX46" fmla="*/ 1754527 w 4519987"/>
              <a:gd name="connsiteY46" fmla="*/ 4352925 h 4457700"/>
              <a:gd name="connsiteX47" fmla="*/ 1687852 w 4519987"/>
              <a:gd name="connsiteY47" fmla="*/ 4343400 h 4457700"/>
              <a:gd name="connsiteX48" fmla="*/ 1573552 w 4519987"/>
              <a:gd name="connsiteY48" fmla="*/ 4305300 h 4457700"/>
              <a:gd name="connsiteX49" fmla="*/ 1402102 w 4519987"/>
              <a:gd name="connsiteY49" fmla="*/ 4276725 h 4457700"/>
              <a:gd name="connsiteX50" fmla="*/ 1287802 w 4519987"/>
              <a:gd name="connsiteY50" fmla="*/ 4229100 h 4457700"/>
              <a:gd name="connsiteX51" fmla="*/ 1221127 w 4519987"/>
              <a:gd name="connsiteY51" fmla="*/ 4200525 h 4457700"/>
              <a:gd name="connsiteX52" fmla="*/ 1144927 w 4519987"/>
              <a:gd name="connsiteY52" fmla="*/ 4171950 h 4457700"/>
              <a:gd name="connsiteX53" fmla="*/ 1087777 w 4519987"/>
              <a:gd name="connsiteY53" fmla="*/ 4143375 h 4457700"/>
              <a:gd name="connsiteX54" fmla="*/ 1030627 w 4519987"/>
              <a:gd name="connsiteY54" fmla="*/ 4124325 h 4457700"/>
              <a:gd name="connsiteX55" fmla="*/ 925852 w 4519987"/>
              <a:gd name="connsiteY55" fmla="*/ 4067175 h 4457700"/>
              <a:gd name="connsiteX56" fmla="*/ 830602 w 4519987"/>
              <a:gd name="connsiteY56" fmla="*/ 3981450 h 4457700"/>
              <a:gd name="connsiteX57" fmla="*/ 763927 w 4519987"/>
              <a:gd name="connsiteY57" fmla="*/ 3914775 h 4457700"/>
              <a:gd name="connsiteX58" fmla="*/ 725827 w 4519987"/>
              <a:gd name="connsiteY58" fmla="*/ 3876675 h 4457700"/>
              <a:gd name="connsiteX59" fmla="*/ 697252 w 4519987"/>
              <a:gd name="connsiteY59" fmla="*/ 3838575 h 4457700"/>
              <a:gd name="connsiteX60" fmla="*/ 640102 w 4519987"/>
              <a:gd name="connsiteY60" fmla="*/ 3781425 h 4457700"/>
              <a:gd name="connsiteX61" fmla="*/ 611527 w 4519987"/>
              <a:gd name="connsiteY61" fmla="*/ 3733800 h 4457700"/>
              <a:gd name="connsiteX62" fmla="*/ 554377 w 4519987"/>
              <a:gd name="connsiteY62" fmla="*/ 3657600 h 4457700"/>
              <a:gd name="connsiteX63" fmla="*/ 525802 w 4519987"/>
              <a:gd name="connsiteY63" fmla="*/ 3609975 h 4457700"/>
              <a:gd name="connsiteX64" fmla="*/ 497227 w 4519987"/>
              <a:gd name="connsiteY64" fmla="*/ 3552825 h 4457700"/>
              <a:gd name="connsiteX65" fmla="*/ 440077 w 4519987"/>
              <a:gd name="connsiteY65" fmla="*/ 3495675 h 4457700"/>
              <a:gd name="connsiteX66" fmla="*/ 411502 w 4519987"/>
              <a:gd name="connsiteY66" fmla="*/ 3448050 h 4457700"/>
              <a:gd name="connsiteX67" fmla="*/ 278152 w 4519987"/>
              <a:gd name="connsiteY67" fmla="*/ 3257550 h 4457700"/>
              <a:gd name="connsiteX68" fmla="*/ 249577 w 4519987"/>
              <a:gd name="connsiteY68" fmla="*/ 3200400 h 4457700"/>
              <a:gd name="connsiteX69" fmla="*/ 240052 w 4519987"/>
              <a:gd name="connsiteY69" fmla="*/ 3162300 h 4457700"/>
              <a:gd name="connsiteX70" fmla="*/ 221002 w 4519987"/>
              <a:gd name="connsiteY70" fmla="*/ 3105150 h 4457700"/>
              <a:gd name="connsiteX71" fmla="*/ 173377 w 4519987"/>
              <a:gd name="connsiteY71" fmla="*/ 3019425 h 4457700"/>
              <a:gd name="connsiteX72" fmla="*/ 144802 w 4519987"/>
              <a:gd name="connsiteY72" fmla="*/ 2924175 h 4457700"/>
              <a:gd name="connsiteX73" fmla="*/ 68602 w 4519987"/>
              <a:gd name="connsiteY73" fmla="*/ 2724150 h 4457700"/>
              <a:gd name="connsiteX74" fmla="*/ 49552 w 4519987"/>
              <a:gd name="connsiteY74" fmla="*/ 2638425 h 4457700"/>
              <a:gd name="connsiteX75" fmla="*/ 40027 w 4519987"/>
              <a:gd name="connsiteY75" fmla="*/ 2562225 h 4457700"/>
              <a:gd name="connsiteX76" fmla="*/ 30502 w 4519987"/>
              <a:gd name="connsiteY76" fmla="*/ 2514600 h 4457700"/>
              <a:gd name="connsiteX77" fmla="*/ 11452 w 4519987"/>
              <a:gd name="connsiteY77" fmla="*/ 2400300 h 4457700"/>
              <a:gd name="connsiteX78" fmla="*/ 20977 w 4519987"/>
              <a:gd name="connsiteY78" fmla="*/ 1905000 h 4457700"/>
              <a:gd name="connsiteX79" fmla="*/ 30502 w 4519987"/>
              <a:gd name="connsiteY79" fmla="*/ 1838325 h 4457700"/>
              <a:gd name="connsiteX80" fmla="*/ 49552 w 4519987"/>
              <a:gd name="connsiteY80" fmla="*/ 1781175 h 4457700"/>
              <a:gd name="connsiteX81" fmla="*/ 59077 w 4519987"/>
              <a:gd name="connsiteY81" fmla="*/ 1743075 h 4457700"/>
              <a:gd name="connsiteX82" fmla="*/ 78127 w 4519987"/>
              <a:gd name="connsiteY82" fmla="*/ 1685925 h 4457700"/>
              <a:gd name="connsiteX83" fmla="*/ 87652 w 4519987"/>
              <a:gd name="connsiteY83" fmla="*/ 1638300 h 4457700"/>
              <a:gd name="connsiteX84" fmla="*/ 106702 w 4519987"/>
              <a:gd name="connsiteY84" fmla="*/ 1590675 h 4457700"/>
              <a:gd name="connsiteX85" fmla="*/ 135277 w 4519987"/>
              <a:gd name="connsiteY85" fmla="*/ 1504950 h 4457700"/>
              <a:gd name="connsiteX86" fmla="*/ 154327 w 4519987"/>
              <a:gd name="connsiteY86" fmla="*/ 1419225 h 4457700"/>
              <a:gd name="connsiteX87" fmla="*/ 230527 w 4519987"/>
              <a:gd name="connsiteY87" fmla="*/ 1276350 h 4457700"/>
              <a:gd name="connsiteX88" fmla="*/ 240052 w 4519987"/>
              <a:gd name="connsiteY88" fmla="*/ 1247775 h 4457700"/>
              <a:gd name="connsiteX89" fmla="*/ 268627 w 4519987"/>
              <a:gd name="connsiteY89" fmla="*/ 1200150 h 4457700"/>
              <a:gd name="connsiteX90" fmla="*/ 287677 w 4519987"/>
              <a:gd name="connsiteY90" fmla="*/ 1152525 h 4457700"/>
              <a:gd name="connsiteX91" fmla="*/ 316252 w 4519987"/>
              <a:gd name="connsiteY91" fmla="*/ 1114425 h 4457700"/>
              <a:gd name="connsiteX92" fmla="*/ 363877 w 4519987"/>
              <a:gd name="connsiteY92" fmla="*/ 1038225 h 4457700"/>
              <a:gd name="connsiteX93" fmla="*/ 382927 w 4519987"/>
              <a:gd name="connsiteY93" fmla="*/ 1009650 h 4457700"/>
              <a:gd name="connsiteX94" fmla="*/ 440077 w 4519987"/>
              <a:gd name="connsiteY94" fmla="*/ 904875 h 4457700"/>
              <a:gd name="connsiteX95" fmla="*/ 478177 w 4519987"/>
              <a:gd name="connsiteY95" fmla="*/ 857250 h 4457700"/>
              <a:gd name="connsiteX96" fmla="*/ 497227 w 4519987"/>
              <a:gd name="connsiteY96" fmla="*/ 828675 h 4457700"/>
              <a:gd name="connsiteX97" fmla="*/ 535327 w 4519987"/>
              <a:gd name="connsiteY97" fmla="*/ 800100 h 4457700"/>
              <a:gd name="connsiteX98" fmla="*/ 602002 w 4519987"/>
              <a:gd name="connsiteY98" fmla="*/ 733425 h 4457700"/>
              <a:gd name="connsiteX99" fmla="*/ 668677 w 4519987"/>
              <a:gd name="connsiteY99" fmla="*/ 676275 h 4457700"/>
              <a:gd name="connsiteX100" fmla="*/ 697252 w 4519987"/>
              <a:gd name="connsiteY100" fmla="*/ 657225 h 4457700"/>
              <a:gd name="connsiteX101" fmla="*/ 840127 w 4519987"/>
              <a:gd name="connsiteY101" fmla="*/ 533400 h 4457700"/>
              <a:gd name="connsiteX102" fmla="*/ 887752 w 4519987"/>
              <a:gd name="connsiteY102" fmla="*/ 504825 h 4457700"/>
              <a:gd name="connsiteX103" fmla="*/ 1167152 w 4519987"/>
              <a:gd name="connsiteY103" fmla="*/ 311150 h 4457700"/>
              <a:gd name="connsiteX104" fmla="*/ 1268752 w 4519987"/>
              <a:gd name="connsiteY104" fmla="*/ 285750 h 4457700"/>
              <a:gd name="connsiteX105" fmla="*/ 1411627 w 4519987"/>
              <a:gd name="connsiteY105" fmla="*/ 190500 h 4457700"/>
              <a:gd name="connsiteX106" fmla="*/ 1449727 w 4519987"/>
              <a:gd name="connsiteY106" fmla="*/ 161925 h 4457700"/>
              <a:gd name="connsiteX107" fmla="*/ 1525927 w 4519987"/>
              <a:gd name="connsiteY107" fmla="*/ 152400 h 4457700"/>
              <a:gd name="connsiteX108" fmla="*/ 1583077 w 4519987"/>
              <a:gd name="connsiteY108" fmla="*/ 142875 h 4457700"/>
              <a:gd name="connsiteX109" fmla="*/ 1716427 w 4519987"/>
              <a:gd name="connsiteY109" fmla="*/ 123825 h 4457700"/>
              <a:gd name="connsiteX110" fmla="*/ 1811677 w 4519987"/>
              <a:gd name="connsiteY110" fmla="*/ 114300 h 4457700"/>
              <a:gd name="connsiteX111" fmla="*/ 1859302 w 4519987"/>
              <a:gd name="connsiteY111" fmla="*/ 104775 h 4457700"/>
              <a:gd name="connsiteX112" fmla="*/ 1916452 w 4519987"/>
              <a:gd name="connsiteY112" fmla="*/ 95250 h 4457700"/>
              <a:gd name="connsiteX113" fmla="*/ 2030752 w 4519987"/>
              <a:gd name="connsiteY113" fmla="*/ 66675 h 4457700"/>
              <a:gd name="connsiteX114" fmla="*/ 2097427 w 4519987"/>
              <a:gd name="connsiteY114" fmla="*/ 47625 h 4457700"/>
              <a:gd name="connsiteX115" fmla="*/ 2164102 w 4519987"/>
              <a:gd name="connsiteY115" fmla="*/ 38100 h 4457700"/>
              <a:gd name="connsiteX116" fmla="*/ 2392702 w 4519987"/>
              <a:gd name="connsiteY116" fmla="*/ 28575 h 4457700"/>
              <a:gd name="connsiteX0" fmla="*/ 2297452 w 4519987"/>
              <a:gd name="connsiteY0" fmla="*/ 0 h 4429260"/>
              <a:gd name="connsiteX1" fmla="*/ 2421277 w 4519987"/>
              <a:gd name="connsiteY1" fmla="*/ 28575 h 4429260"/>
              <a:gd name="connsiteX2" fmla="*/ 2497477 w 4519987"/>
              <a:gd name="connsiteY2" fmla="*/ 47625 h 4429260"/>
              <a:gd name="connsiteX3" fmla="*/ 2754652 w 4519987"/>
              <a:gd name="connsiteY3" fmla="*/ 66675 h 4429260"/>
              <a:gd name="connsiteX4" fmla="*/ 2830852 w 4519987"/>
              <a:gd name="connsiteY4" fmla="*/ 76200 h 4429260"/>
              <a:gd name="connsiteX5" fmla="*/ 2916577 w 4519987"/>
              <a:gd name="connsiteY5" fmla="*/ 85725 h 4429260"/>
              <a:gd name="connsiteX6" fmla="*/ 2973727 w 4519987"/>
              <a:gd name="connsiteY6" fmla="*/ 114300 h 4429260"/>
              <a:gd name="connsiteX7" fmla="*/ 3011827 w 4519987"/>
              <a:gd name="connsiteY7" fmla="*/ 123825 h 4429260"/>
              <a:gd name="connsiteX8" fmla="*/ 3135652 w 4519987"/>
              <a:gd name="connsiteY8" fmla="*/ 171450 h 4429260"/>
              <a:gd name="connsiteX9" fmla="*/ 3173752 w 4519987"/>
              <a:gd name="connsiteY9" fmla="*/ 190500 h 4429260"/>
              <a:gd name="connsiteX10" fmla="*/ 3240427 w 4519987"/>
              <a:gd name="connsiteY10" fmla="*/ 228600 h 4429260"/>
              <a:gd name="connsiteX11" fmla="*/ 3269002 w 4519987"/>
              <a:gd name="connsiteY11" fmla="*/ 238125 h 4429260"/>
              <a:gd name="connsiteX12" fmla="*/ 3297577 w 4519987"/>
              <a:gd name="connsiteY12" fmla="*/ 257175 h 4429260"/>
              <a:gd name="connsiteX13" fmla="*/ 3326152 w 4519987"/>
              <a:gd name="connsiteY13" fmla="*/ 266700 h 4429260"/>
              <a:gd name="connsiteX14" fmla="*/ 3354727 w 4519987"/>
              <a:gd name="connsiteY14" fmla="*/ 285750 h 4429260"/>
              <a:gd name="connsiteX15" fmla="*/ 3421402 w 4519987"/>
              <a:gd name="connsiteY15" fmla="*/ 323850 h 4429260"/>
              <a:gd name="connsiteX16" fmla="*/ 3469027 w 4519987"/>
              <a:gd name="connsiteY16" fmla="*/ 361950 h 4429260"/>
              <a:gd name="connsiteX17" fmla="*/ 3516652 w 4519987"/>
              <a:gd name="connsiteY17" fmla="*/ 390525 h 4429260"/>
              <a:gd name="connsiteX18" fmla="*/ 3630952 w 4519987"/>
              <a:gd name="connsiteY18" fmla="*/ 485775 h 4429260"/>
              <a:gd name="connsiteX19" fmla="*/ 3745252 w 4519987"/>
              <a:gd name="connsiteY19" fmla="*/ 542925 h 4429260"/>
              <a:gd name="connsiteX20" fmla="*/ 3811927 w 4519987"/>
              <a:gd name="connsiteY20" fmla="*/ 581025 h 4429260"/>
              <a:gd name="connsiteX21" fmla="*/ 4027827 w 4519987"/>
              <a:gd name="connsiteY21" fmla="*/ 819150 h 4429260"/>
              <a:gd name="connsiteX22" fmla="*/ 4164352 w 4519987"/>
              <a:gd name="connsiteY22" fmla="*/ 990600 h 4429260"/>
              <a:gd name="connsiteX23" fmla="*/ 4250077 w 4519987"/>
              <a:gd name="connsiteY23" fmla="*/ 1143000 h 4429260"/>
              <a:gd name="connsiteX24" fmla="*/ 4307227 w 4519987"/>
              <a:gd name="connsiteY24" fmla="*/ 1266825 h 4429260"/>
              <a:gd name="connsiteX25" fmla="*/ 4345327 w 4519987"/>
              <a:gd name="connsiteY25" fmla="*/ 1362075 h 4429260"/>
              <a:gd name="connsiteX26" fmla="*/ 4392952 w 4519987"/>
              <a:gd name="connsiteY26" fmla="*/ 1552575 h 4429260"/>
              <a:gd name="connsiteX27" fmla="*/ 4431052 w 4519987"/>
              <a:gd name="connsiteY27" fmla="*/ 1685925 h 4429260"/>
              <a:gd name="connsiteX28" fmla="*/ 4519952 w 4519987"/>
              <a:gd name="connsiteY28" fmla="*/ 2181225 h 4429260"/>
              <a:gd name="connsiteX29" fmla="*/ 4446927 w 4519987"/>
              <a:gd name="connsiteY29" fmla="*/ 2768600 h 4429260"/>
              <a:gd name="connsiteX30" fmla="*/ 4383427 w 4519987"/>
              <a:gd name="connsiteY30" fmla="*/ 2990850 h 4429260"/>
              <a:gd name="connsiteX31" fmla="*/ 4278652 w 4519987"/>
              <a:gd name="connsiteY31" fmla="*/ 3248025 h 4429260"/>
              <a:gd name="connsiteX32" fmla="*/ 4183402 w 4519987"/>
              <a:gd name="connsiteY32" fmla="*/ 3400425 h 4429260"/>
              <a:gd name="connsiteX33" fmla="*/ 4059577 w 4519987"/>
              <a:gd name="connsiteY33" fmla="*/ 3533775 h 4429260"/>
              <a:gd name="connsiteX34" fmla="*/ 3954802 w 4519987"/>
              <a:gd name="connsiteY34" fmla="*/ 3648075 h 4429260"/>
              <a:gd name="connsiteX35" fmla="*/ 3659527 w 4519987"/>
              <a:gd name="connsiteY35" fmla="*/ 3971925 h 4429260"/>
              <a:gd name="connsiteX36" fmla="*/ 3516652 w 4519987"/>
              <a:gd name="connsiteY36" fmla="*/ 4083050 h 4429260"/>
              <a:gd name="connsiteX37" fmla="*/ 3221377 w 4519987"/>
              <a:gd name="connsiteY37" fmla="*/ 4222750 h 4429260"/>
              <a:gd name="connsiteX38" fmla="*/ 3068977 w 4519987"/>
              <a:gd name="connsiteY38" fmla="*/ 4286250 h 4429260"/>
              <a:gd name="connsiteX39" fmla="*/ 2935627 w 4519987"/>
              <a:gd name="connsiteY39" fmla="*/ 4333875 h 4429260"/>
              <a:gd name="connsiteX40" fmla="*/ 2811802 w 4519987"/>
              <a:gd name="connsiteY40" fmla="*/ 4371975 h 4429260"/>
              <a:gd name="connsiteX41" fmla="*/ 2580027 w 4519987"/>
              <a:gd name="connsiteY41" fmla="*/ 4391025 h 4429260"/>
              <a:gd name="connsiteX42" fmla="*/ 2126002 w 4519987"/>
              <a:gd name="connsiteY42" fmla="*/ 4429125 h 4429260"/>
              <a:gd name="connsiteX43" fmla="*/ 1935502 w 4519987"/>
              <a:gd name="connsiteY43" fmla="*/ 4400550 h 4429260"/>
              <a:gd name="connsiteX44" fmla="*/ 1821202 w 4519987"/>
              <a:gd name="connsiteY44" fmla="*/ 4371975 h 4429260"/>
              <a:gd name="connsiteX45" fmla="*/ 1754527 w 4519987"/>
              <a:gd name="connsiteY45" fmla="*/ 4352925 h 4429260"/>
              <a:gd name="connsiteX46" fmla="*/ 1687852 w 4519987"/>
              <a:gd name="connsiteY46" fmla="*/ 4343400 h 4429260"/>
              <a:gd name="connsiteX47" fmla="*/ 1573552 w 4519987"/>
              <a:gd name="connsiteY47" fmla="*/ 4305300 h 4429260"/>
              <a:gd name="connsiteX48" fmla="*/ 1402102 w 4519987"/>
              <a:gd name="connsiteY48" fmla="*/ 4276725 h 4429260"/>
              <a:gd name="connsiteX49" fmla="*/ 1287802 w 4519987"/>
              <a:gd name="connsiteY49" fmla="*/ 4229100 h 4429260"/>
              <a:gd name="connsiteX50" fmla="*/ 1221127 w 4519987"/>
              <a:gd name="connsiteY50" fmla="*/ 4200525 h 4429260"/>
              <a:gd name="connsiteX51" fmla="*/ 1144927 w 4519987"/>
              <a:gd name="connsiteY51" fmla="*/ 4171950 h 4429260"/>
              <a:gd name="connsiteX52" fmla="*/ 1087777 w 4519987"/>
              <a:gd name="connsiteY52" fmla="*/ 4143375 h 4429260"/>
              <a:gd name="connsiteX53" fmla="*/ 1030627 w 4519987"/>
              <a:gd name="connsiteY53" fmla="*/ 4124325 h 4429260"/>
              <a:gd name="connsiteX54" fmla="*/ 925852 w 4519987"/>
              <a:gd name="connsiteY54" fmla="*/ 4067175 h 4429260"/>
              <a:gd name="connsiteX55" fmla="*/ 830602 w 4519987"/>
              <a:gd name="connsiteY55" fmla="*/ 3981450 h 4429260"/>
              <a:gd name="connsiteX56" fmla="*/ 763927 w 4519987"/>
              <a:gd name="connsiteY56" fmla="*/ 3914775 h 4429260"/>
              <a:gd name="connsiteX57" fmla="*/ 725827 w 4519987"/>
              <a:gd name="connsiteY57" fmla="*/ 3876675 h 4429260"/>
              <a:gd name="connsiteX58" fmla="*/ 697252 w 4519987"/>
              <a:gd name="connsiteY58" fmla="*/ 3838575 h 4429260"/>
              <a:gd name="connsiteX59" fmla="*/ 640102 w 4519987"/>
              <a:gd name="connsiteY59" fmla="*/ 3781425 h 4429260"/>
              <a:gd name="connsiteX60" fmla="*/ 611527 w 4519987"/>
              <a:gd name="connsiteY60" fmla="*/ 3733800 h 4429260"/>
              <a:gd name="connsiteX61" fmla="*/ 554377 w 4519987"/>
              <a:gd name="connsiteY61" fmla="*/ 3657600 h 4429260"/>
              <a:gd name="connsiteX62" fmla="*/ 525802 w 4519987"/>
              <a:gd name="connsiteY62" fmla="*/ 3609975 h 4429260"/>
              <a:gd name="connsiteX63" fmla="*/ 497227 w 4519987"/>
              <a:gd name="connsiteY63" fmla="*/ 3552825 h 4429260"/>
              <a:gd name="connsiteX64" fmla="*/ 440077 w 4519987"/>
              <a:gd name="connsiteY64" fmla="*/ 3495675 h 4429260"/>
              <a:gd name="connsiteX65" fmla="*/ 411502 w 4519987"/>
              <a:gd name="connsiteY65" fmla="*/ 3448050 h 4429260"/>
              <a:gd name="connsiteX66" fmla="*/ 278152 w 4519987"/>
              <a:gd name="connsiteY66" fmla="*/ 3257550 h 4429260"/>
              <a:gd name="connsiteX67" fmla="*/ 249577 w 4519987"/>
              <a:gd name="connsiteY67" fmla="*/ 3200400 h 4429260"/>
              <a:gd name="connsiteX68" fmla="*/ 240052 w 4519987"/>
              <a:gd name="connsiteY68" fmla="*/ 3162300 h 4429260"/>
              <a:gd name="connsiteX69" fmla="*/ 221002 w 4519987"/>
              <a:gd name="connsiteY69" fmla="*/ 3105150 h 4429260"/>
              <a:gd name="connsiteX70" fmla="*/ 173377 w 4519987"/>
              <a:gd name="connsiteY70" fmla="*/ 3019425 h 4429260"/>
              <a:gd name="connsiteX71" fmla="*/ 144802 w 4519987"/>
              <a:gd name="connsiteY71" fmla="*/ 2924175 h 4429260"/>
              <a:gd name="connsiteX72" fmla="*/ 68602 w 4519987"/>
              <a:gd name="connsiteY72" fmla="*/ 2724150 h 4429260"/>
              <a:gd name="connsiteX73" fmla="*/ 49552 w 4519987"/>
              <a:gd name="connsiteY73" fmla="*/ 2638425 h 4429260"/>
              <a:gd name="connsiteX74" fmla="*/ 40027 w 4519987"/>
              <a:gd name="connsiteY74" fmla="*/ 2562225 h 4429260"/>
              <a:gd name="connsiteX75" fmla="*/ 30502 w 4519987"/>
              <a:gd name="connsiteY75" fmla="*/ 2514600 h 4429260"/>
              <a:gd name="connsiteX76" fmla="*/ 11452 w 4519987"/>
              <a:gd name="connsiteY76" fmla="*/ 2400300 h 4429260"/>
              <a:gd name="connsiteX77" fmla="*/ 20977 w 4519987"/>
              <a:gd name="connsiteY77" fmla="*/ 1905000 h 4429260"/>
              <a:gd name="connsiteX78" fmla="*/ 30502 w 4519987"/>
              <a:gd name="connsiteY78" fmla="*/ 1838325 h 4429260"/>
              <a:gd name="connsiteX79" fmla="*/ 49552 w 4519987"/>
              <a:gd name="connsiteY79" fmla="*/ 1781175 h 4429260"/>
              <a:gd name="connsiteX80" fmla="*/ 59077 w 4519987"/>
              <a:gd name="connsiteY80" fmla="*/ 1743075 h 4429260"/>
              <a:gd name="connsiteX81" fmla="*/ 78127 w 4519987"/>
              <a:gd name="connsiteY81" fmla="*/ 1685925 h 4429260"/>
              <a:gd name="connsiteX82" fmla="*/ 87652 w 4519987"/>
              <a:gd name="connsiteY82" fmla="*/ 1638300 h 4429260"/>
              <a:gd name="connsiteX83" fmla="*/ 106702 w 4519987"/>
              <a:gd name="connsiteY83" fmla="*/ 1590675 h 4429260"/>
              <a:gd name="connsiteX84" fmla="*/ 135277 w 4519987"/>
              <a:gd name="connsiteY84" fmla="*/ 1504950 h 4429260"/>
              <a:gd name="connsiteX85" fmla="*/ 154327 w 4519987"/>
              <a:gd name="connsiteY85" fmla="*/ 1419225 h 4429260"/>
              <a:gd name="connsiteX86" fmla="*/ 230527 w 4519987"/>
              <a:gd name="connsiteY86" fmla="*/ 1276350 h 4429260"/>
              <a:gd name="connsiteX87" fmla="*/ 240052 w 4519987"/>
              <a:gd name="connsiteY87" fmla="*/ 1247775 h 4429260"/>
              <a:gd name="connsiteX88" fmla="*/ 268627 w 4519987"/>
              <a:gd name="connsiteY88" fmla="*/ 1200150 h 4429260"/>
              <a:gd name="connsiteX89" fmla="*/ 287677 w 4519987"/>
              <a:gd name="connsiteY89" fmla="*/ 1152525 h 4429260"/>
              <a:gd name="connsiteX90" fmla="*/ 316252 w 4519987"/>
              <a:gd name="connsiteY90" fmla="*/ 1114425 h 4429260"/>
              <a:gd name="connsiteX91" fmla="*/ 363877 w 4519987"/>
              <a:gd name="connsiteY91" fmla="*/ 1038225 h 4429260"/>
              <a:gd name="connsiteX92" fmla="*/ 382927 w 4519987"/>
              <a:gd name="connsiteY92" fmla="*/ 1009650 h 4429260"/>
              <a:gd name="connsiteX93" fmla="*/ 440077 w 4519987"/>
              <a:gd name="connsiteY93" fmla="*/ 904875 h 4429260"/>
              <a:gd name="connsiteX94" fmla="*/ 478177 w 4519987"/>
              <a:gd name="connsiteY94" fmla="*/ 857250 h 4429260"/>
              <a:gd name="connsiteX95" fmla="*/ 497227 w 4519987"/>
              <a:gd name="connsiteY95" fmla="*/ 828675 h 4429260"/>
              <a:gd name="connsiteX96" fmla="*/ 535327 w 4519987"/>
              <a:gd name="connsiteY96" fmla="*/ 800100 h 4429260"/>
              <a:gd name="connsiteX97" fmla="*/ 602002 w 4519987"/>
              <a:gd name="connsiteY97" fmla="*/ 733425 h 4429260"/>
              <a:gd name="connsiteX98" fmla="*/ 668677 w 4519987"/>
              <a:gd name="connsiteY98" fmla="*/ 676275 h 4429260"/>
              <a:gd name="connsiteX99" fmla="*/ 697252 w 4519987"/>
              <a:gd name="connsiteY99" fmla="*/ 657225 h 4429260"/>
              <a:gd name="connsiteX100" fmla="*/ 840127 w 4519987"/>
              <a:gd name="connsiteY100" fmla="*/ 533400 h 4429260"/>
              <a:gd name="connsiteX101" fmla="*/ 887752 w 4519987"/>
              <a:gd name="connsiteY101" fmla="*/ 504825 h 4429260"/>
              <a:gd name="connsiteX102" fmla="*/ 1167152 w 4519987"/>
              <a:gd name="connsiteY102" fmla="*/ 311150 h 4429260"/>
              <a:gd name="connsiteX103" fmla="*/ 1268752 w 4519987"/>
              <a:gd name="connsiteY103" fmla="*/ 285750 h 4429260"/>
              <a:gd name="connsiteX104" fmla="*/ 1411627 w 4519987"/>
              <a:gd name="connsiteY104" fmla="*/ 190500 h 4429260"/>
              <a:gd name="connsiteX105" fmla="*/ 1449727 w 4519987"/>
              <a:gd name="connsiteY105" fmla="*/ 161925 h 4429260"/>
              <a:gd name="connsiteX106" fmla="*/ 1525927 w 4519987"/>
              <a:gd name="connsiteY106" fmla="*/ 152400 h 4429260"/>
              <a:gd name="connsiteX107" fmla="*/ 1583077 w 4519987"/>
              <a:gd name="connsiteY107" fmla="*/ 142875 h 4429260"/>
              <a:gd name="connsiteX108" fmla="*/ 1716427 w 4519987"/>
              <a:gd name="connsiteY108" fmla="*/ 123825 h 4429260"/>
              <a:gd name="connsiteX109" fmla="*/ 1811677 w 4519987"/>
              <a:gd name="connsiteY109" fmla="*/ 114300 h 4429260"/>
              <a:gd name="connsiteX110" fmla="*/ 1859302 w 4519987"/>
              <a:gd name="connsiteY110" fmla="*/ 104775 h 4429260"/>
              <a:gd name="connsiteX111" fmla="*/ 1916452 w 4519987"/>
              <a:gd name="connsiteY111" fmla="*/ 95250 h 4429260"/>
              <a:gd name="connsiteX112" fmla="*/ 2030752 w 4519987"/>
              <a:gd name="connsiteY112" fmla="*/ 66675 h 4429260"/>
              <a:gd name="connsiteX113" fmla="*/ 2097427 w 4519987"/>
              <a:gd name="connsiteY113" fmla="*/ 47625 h 4429260"/>
              <a:gd name="connsiteX114" fmla="*/ 2164102 w 4519987"/>
              <a:gd name="connsiteY114" fmla="*/ 38100 h 4429260"/>
              <a:gd name="connsiteX115" fmla="*/ 2392702 w 4519987"/>
              <a:gd name="connsiteY115" fmla="*/ 28575 h 4429260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687852 w 4519987"/>
              <a:gd name="connsiteY45" fmla="*/ 4343400 h 4429225"/>
              <a:gd name="connsiteX46" fmla="*/ 1573552 w 4519987"/>
              <a:gd name="connsiteY46" fmla="*/ 4305300 h 4429225"/>
              <a:gd name="connsiteX47" fmla="*/ 1402102 w 4519987"/>
              <a:gd name="connsiteY47" fmla="*/ 4276725 h 4429225"/>
              <a:gd name="connsiteX48" fmla="*/ 1287802 w 4519987"/>
              <a:gd name="connsiteY48" fmla="*/ 4229100 h 4429225"/>
              <a:gd name="connsiteX49" fmla="*/ 1221127 w 4519987"/>
              <a:gd name="connsiteY49" fmla="*/ 4200525 h 4429225"/>
              <a:gd name="connsiteX50" fmla="*/ 1144927 w 4519987"/>
              <a:gd name="connsiteY50" fmla="*/ 4171950 h 4429225"/>
              <a:gd name="connsiteX51" fmla="*/ 1087777 w 4519987"/>
              <a:gd name="connsiteY51" fmla="*/ 4143375 h 4429225"/>
              <a:gd name="connsiteX52" fmla="*/ 1030627 w 4519987"/>
              <a:gd name="connsiteY52" fmla="*/ 4124325 h 4429225"/>
              <a:gd name="connsiteX53" fmla="*/ 925852 w 4519987"/>
              <a:gd name="connsiteY53" fmla="*/ 4067175 h 4429225"/>
              <a:gd name="connsiteX54" fmla="*/ 830602 w 4519987"/>
              <a:gd name="connsiteY54" fmla="*/ 3981450 h 4429225"/>
              <a:gd name="connsiteX55" fmla="*/ 763927 w 4519987"/>
              <a:gd name="connsiteY55" fmla="*/ 3914775 h 4429225"/>
              <a:gd name="connsiteX56" fmla="*/ 725827 w 4519987"/>
              <a:gd name="connsiteY56" fmla="*/ 3876675 h 4429225"/>
              <a:gd name="connsiteX57" fmla="*/ 697252 w 4519987"/>
              <a:gd name="connsiteY57" fmla="*/ 3838575 h 4429225"/>
              <a:gd name="connsiteX58" fmla="*/ 640102 w 4519987"/>
              <a:gd name="connsiteY58" fmla="*/ 3781425 h 4429225"/>
              <a:gd name="connsiteX59" fmla="*/ 611527 w 4519987"/>
              <a:gd name="connsiteY59" fmla="*/ 3733800 h 4429225"/>
              <a:gd name="connsiteX60" fmla="*/ 554377 w 4519987"/>
              <a:gd name="connsiteY60" fmla="*/ 3657600 h 4429225"/>
              <a:gd name="connsiteX61" fmla="*/ 525802 w 4519987"/>
              <a:gd name="connsiteY61" fmla="*/ 3609975 h 4429225"/>
              <a:gd name="connsiteX62" fmla="*/ 497227 w 4519987"/>
              <a:gd name="connsiteY62" fmla="*/ 3552825 h 4429225"/>
              <a:gd name="connsiteX63" fmla="*/ 440077 w 4519987"/>
              <a:gd name="connsiteY63" fmla="*/ 3495675 h 4429225"/>
              <a:gd name="connsiteX64" fmla="*/ 411502 w 4519987"/>
              <a:gd name="connsiteY64" fmla="*/ 3448050 h 4429225"/>
              <a:gd name="connsiteX65" fmla="*/ 278152 w 4519987"/>
              <a:gd name="connsiteY65" fmla="*/ 3257550 h 4429225"/>
              <a:gd name="connsiteX66" fmla="*/ 249577 w 4519987"/>
              <a:gd name="connsiteY66" fmla="*/ 3200400 h 4429225"/>
              <a:gd name="connsiteX67" fmla="*/ 240052 w 4519987"/>
              <a:gd name="connsiteY67" fmla="*/ 3162300 h 4429225"/>
              <a:gd name="connsiteX68" fmla="*/ 221002 w 4519987"/>
              <a:gd name="connsiteY68" fmla="*/ 3105150 h 4429225"/>
              <a:gd name="connsiteX69" fmla="*/ 173377 w 4519987"/>
              <a:gd name="connsiteY69" fmla="*/ 3019425 h 4429225"/>
              <a:gd name="connsiteX70" fmla="*/ 144802 w 4519987"/>
              <a:gd name="connsiteY70" fmla="*/ 2924175 h 4429225"/>
              <a:gd name="connsiteX71" fmla="*/ 68602 w 4519987"/>
              <a:gd name="connsiteY71" fmla="*/ 2724150 h 4429225"/>
              <a:gd name="connsiteX72" fmla="*/ 49552 w 4519987"/>
              <a:gd name="connsiteY72" fmla="*/ 2638425 h 4429225"/>
              <a:gd name="connsiteX73" fmla="*/ 40027 w 4519987"/>
              <a:gd name="connsiteY73" fmla="*/ 2562225 h 4429225"/>
              <a:gd name="connsiteX74" fmla="*/ 30502 w 4519987"/>
              <a:gd name="connsiteY74" fmla="*/ 2514600 h 4429225"/>
              <a:gd name="connsiteX75" fmla="*/ 11452 w 4519987"/>
              <a:gd name="connsiteY75" fmla="*/ 2400300 h 4429225"/>
              <a:gd name="connsiteX76" fmla="*/ 20977 w 4519987"/>
              <a:gd name="connsiteY76" fmla="*/ 1905000 h 4429225"/>
              <a:gd name="connsiteX77" fmla="*/ 30502 w 4519987"/>
              <a:gd name="connsiteY77" fmla="*/ 1838325 h 4429225"/>
              <a:gd name="connsiteX78" fmla="*/ 49552 w 4519987"/>
              <a:gd name="connsiteY78" fmla="*/ 1781175 h 4429225"/>
              <a:gd name="connsiteX79" fmla="*/ 59077 w 4519987"/>
              <a:gd name="connsiteY79" fmla="*/ 1743075 h 4429225"/>
              <a:gd name="connsiteX80" fmla="*/ 78127 w 4519987"/>
              <a:gd name="connsiteY80" fmla="*/ 1685925 h 4429225"/>
              <a:gd name="connsiteX81" fmla="*/ 87652 w 4519987"/>
              <a:gd name="connsiteY81" fmla="*/ 1638300 h 4429225"/>
              <a:gd name="connsiteX82" fmla="*/ 106702 w 4519987"/>
              <a:gd name="connsiteY82" fmla="*/ 1590675 h 4429225"/>
              <a:gd name="connsiteX83" fmla="*/ 135277 w 4519987"/>
              <a:gd name="connsiteY83" fmla="*/ 1504950 h 4429225"/>
              <a:gd name="connsiteX84" fmla="*/ 154327 w 4519987"/>
              <a:gd name="connsiteY84" fmla="*/ 1419225 h 4429225"/>
              <a:gd name="connsiteX85" fmla="*/ 230527 w 4519987"/>
              <a:gd name="connsiteY85" fmla="*/ 1276350 h 4429225"/>
              <a:gd name="connsiteX86" fmla="*/ 240052 w 4519987"/>
              <a:gd name="connsiteY86" fmla="*/ 1247775 h 4429225"/>
              <a:gd name="connsiteX87" fmla="*/ 268627 w 4519987"/>
              <a:gd name="connsiteY87" fmla="*/ 1200150 h 4429225"/>
              <a:gd name="connsiteX88" fmla="*/ 287677 w 4519987"/>
              <a:gd name="connsiteY88" fmla="*/ 1152525 h 4429225"/>
              <a:gd name="connsiteX89" fmla="*/ 316252 w 4519987"/>
              <a:gd name="connsiteY89" fmla="*/ 1114425 h 4429225"/>
              <a:gd name="connsiteX90" fmla="*/ 363877 w 4519987"/>
              <a:gd name="connsiteY90" fmla="*/ 1038225 h 4429225"/>
              <a:gd name="connsiteX91" fmla="*/ 382927 w 4519987"/>
              <a:gd name="connsiteY91" fmla="*/ 1009650 h 4429225"/>
              <a:gd name="connsiteX92" fmla="*/ 440077 w 4519987"/>
              <a:gd name="connsiteY92" fmla="*/ 904875 h 4429225"/>
              <a:gd name="connsiteX93" fmla="*/ 478177 w 4519987"/>
              <a:gd name="connsiteY93" fmla="*/ 857250 h 4429225"/>
              <a:gd name="connsiteX94" fmla="*/ 497227 w 4519987"/>
              <a:gd name="connsiteY94" fmla="*/ 828675 h 4429225"/>
              <a:gd name="connsiteX95" fmla="*/ 535327 w 4519987"/>
              <a:gd name="connsiteY95" fmla="*/ 800100 h 4429225"/>
              <a:gd name="connsiteX96" fmla="*/ 602002 w 4519987"/>
              <a:gd name="connsiteY96" fmla="*/ 733425 h 4429225"/>
              <a:gd name="connsiteX97" fmla="*/ 668677 w 4519987"/>
              <a:gd name="connsiteY97" fmla="*/ 676275 h 4429225"/>
              <a:gd name="connsiteX98" fmla="*/ 697252 w 4519987"/>
              <a:gd name="connsiteY98" fmla="*/ 657225 h 4429225"/>
              <a:gd name="connsiteX99" fmla="*/ 840127 w 4519987"/>
              <a:gd name="connsiteY99" fmla="*/ 533400 h 4429225"/>
              <a:gd name="connsiteX100" fmla="*/ 887752 w 4519987"/>
              <a:gd name="connsiteY100" fmla="*/ 504825 h 4429225"/>
              <a:gd name="connsiteX101" fmla="*/ 1167152 w 4519987"/>
              <a:gd name="connsiteY101" fmla="*/ 311150 h 4429225"/>
              <a:gd name="connsiteX102" fmla="*/ 1268752 w 4519987"/>
              <a:gd name="connsiteY102" fmla="*/ 285750 h 4429225"/>
              <a:gd name="connsiteX103" fmla="*/ 1411627 w 4519987"/>
              <a:gd name="connsiteY103" fmla="*/ 190500 h 4429225"/>
              <a:gd name="connsiteX104" fmla="*/ 1449727 w 4519987"/>
              <a:gd name="connsiteY104" fmla="*/ 161925 h 4429225"/>
              <a:gd name="connsiteX105" fmla="*/ 1525927 w 4519987"/>
              <a:gd name="connsiteY105" fmla="*/ 152400 h 4429225"/>
              <a:gd name="connsiteX106" fmla="*/ 1583077 w 4519987"/>
              <a:gd name="connsiteY106" fmla="*/ 142875 h 4429225"/>
              <a:gd name="connsiteX107" fmla="*/ 1716427 w 4519987"/>
              <a:gd name="connsiteY107" fmla="*/ 123825 h 4429225"/>
              <a:gd name="connsiteX108" fmla="*/ 1811677 w 4519987"/>
              <a:gd name="connsiteY108" fmla="*/ 114300 h 4429225"/>
              <a:gd name="connsiteX109" fmla="*/ 1859302 w 4519987"/>
              <a:gd name="connsiteY109" fmla="*/ 104775 h 4429225"/>
              <a:gd name="connsiteX110" fmla="*/ 1916452 w 4519987"/>
              <a:gd name="connsiteY110" fmla="*/ 95250 h 4429225"/>
              <a:gd name="connsiteX111" fmla="*/ 2030752 w 4519987"/>
              <a:gd name="connsiteY111" fmla="*/ 66675 h 4429225"/>
              <a:gd name="connsiteX112" fmla="*/ 2097427 w 4519987"/>
              <a:gd name="connsiteY112" fmla="*/ 47625 h 4429225"/>
              <a:gd name="connsiteX113" fmla="*/ 2164102 w 4519987"/>
              <a:gd name="connsiteY113" fmla="*/ 38100 h 4429225"/>
              <a:gd name="connsiteX114" fmla="*/ 2392702 w 4519987"/>
              <a:gd name="connsiteY114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402102 w 4519987"/>
              <a:gd name="connsiteY46" fmla="*/ 4276725 h 4429225"/>
              <a:gd name="connsiteX47" fmla="*/ 1287802 w 4519987"/>
              <a:gd name="connsiteY47" fmla="*/ 4229100 h 4429225"/>
              <a:gd name="connsiteX48" fmla="*/ 1221127 w 4519987"/>
              <a:gd name="connsiteY48" fmla="*/ 4200525 h 4429225"/>
              <a:gd name="connsiteX49" fmla="*/ 1144927 w 4519987"/>
              <a:gd name="connsiteY49" fmla="*/ 4171950 h 4429225"/>
              <a:gd name="connsiteX50" fmla="*/ 1087777 w 4519987"/>
              <a:gd name="connsiteY50" fmla="*/ 4143375 h 4429225"/>
              <a:gd name="connsiteX51" fmla="*/ 1030627 w 4519987"/>
              <a:gd name="connsiteY51" fmla="*/ 4124325 h 4429225"/>
              <a:gd name="connsiteX52" fmla="*/ 925852 w 4519987"/>
              <a:gd name="connsiteY52" fmla="*/ 4067175 h 4429225"/>
              <a:gd name="connsiteX53" fmla="*/ 830602 w 4519987"/>
              <a:gd name="connsiteY53" fmla="*/ 3981450 h 4429225"/>
              <a:gd name="connsiteX54" fmla="*/ 763927 w 4519987"/>
              <a:gd name="connsiteY54" fmla="*/ 3914775 h 4429225"/>
              <a:gd name="connsiteX55" fmla="*/ 725827 w 4519987"/>
              <a:gd name="connsiteY55" fmla="*/ 3876675 h 4429225"/>
              <a:gd name="connsiteX56" fmla="*/ 697252 w 4519987"/>
              <a:gd name="connsiteY56" fmla="*/ 3838575 h 4429225"/>
              <a:gd name="connsiteX57" fmla="*/ 640102 w 4519987"/>
              <a:gd name="connsiteY57" fmla="*/ 3781425 h 4429225"/>
              <a:gd name="connsiteX58" fmla="*/ 611527 w 4519987"/>
              <a:gd name="connsiteY58" fmla="*/ 3733800 h 4429225"/>
              <a:gd name="connsiteX59" fmla="*/ 554377 w 4519987"/>
              <a:gd name="connsiteY59" fmla="*/ 3657600 h 4429225"/>
              <a:gd name="connsiteX60" fmla="*/ 525802 w 4519987"/>
              <a:gd name="connsiteY60" fmla="*/ 3609975 h 4429225"/>
              <a:gd name="connsiteX61" fmla="*/ 497227 w 4519987"/>
              <a:gd name="connsiteY61" fmla="*/ 3552825 h 4429225"/>
              <a:gd name="connsiteX62" fmla="*/ 440077 w 4519987"/>
              <a:gd name="connsiteY62" fmla="*/ 3495675 h 4429225"/>
              <a:gd name="connsiteX63" fmla="*/ 411502 w 4519987"/>
              <a:gd name="connsiteY63" fmla="*/ 3448050 h 4429225"/>
              <a:gd name="connsiteX64" fmla="*/ 278152 w 4519987"/>
              <a:gd name="connsiteY64" fmla="*/ 3257550 h 4429225"/>
              <a:gd name="connsiteX65" fmla="*/ 249577 w 4519987"/>
              <a:gd name="connsiteY65" fmla="*/ 3200400 h 4429225"/>
              <a:gd name="connsiteX66" fmla="*/ 240052 w 4519987"/>
              <a:gd name="connsiteY66" fmla="*/ 3162300 h 4429225"/>
              <a:gd name="connsiteX67" fmla="*/ 221002 w 4519987"/>
              <a:gd name="connsiteY67" fmla="*/ 3105150 h 4429225"/>
              <a:gd name="connsiteX68" fmla="*/ 173377 w 4519987"/>
              <a:gd name="connsiteY68" fmla="*/ 3019425 h 4429225"/>
              <a:gd name="connsiteX69" fmla="*/ 144802 w 4519987"/>
              <a:gd name="connsiteY69" fmla="*/ 2924175 h 4429225"/>
              <a:gd name="connsiteX70" fmla="*/ 68602 w 4519987"/>
              <a:gd name="connsiteY70" fmla="*/ 2724150 h 4429225"/>
              <a:gd name="connsiteX71" fmla="*/ 49552 w 4519987"/>
              <a:gd name="connsiteY71" fmla="*/ 2638425 h 4429225"/>
              <a:gd name="connsiteX72" fmla="*/ 40027 w 4519987"/>
              <a:gd name="connsiteY72" fmla="*/ 2562225 h 4429225"/>
              <a:gd name="connsiteX73" fmla="*/ 30502 w 4519987"/>
              <a:gd name="connsiteY73" fmla="*/ 2514600 h 4429225"/>
              <a:gd name="connsiteX74" fmla="*/ 11452 w 4519987"/>
              <a:gd name="connsiteY74" fmla="*/ 2400300 h 4429225"/>
              <a:gd name="connsiteX75" fmla="*/ 20977 w 4519987"/>
              <a:gd name="connsiteY75" fmla="*/ 1905000 h 4429225"/>
              <a:gd name="connsiteX76" fmla="*/ 30502 w 4519987"/>
              <a:gd name="connsiteY76" fmla="*/ 1838325 h 4429225"/>
              <a:gd name="connsiteX77" fmla="*/ 49552 w 4519987"/>
              <a:gd name="connsiteY77" fmla="*/ 1781175 h 4429225"/>
              <a:gd name="connsiteX78" fmla="*/ 59077 w 4519987"/>
              <a:gd name="connsiteY78" fmla="*/ 1743075 h 4429225"/>
              <a:gd name="connsiteX79" fmla="*/ 78127 w 4519987"/>
              <a:gd name="connsiteY79" fmla="*/ 1685925 h 4429225"/>
              <a:gd name="connsiteX80" fmla="*/ 87652 w 4519987"/>
              <a:gd name="connsiteY80" fmla="*/ 1638300 h 4429225"/>
              <a:gd name="connsiteX81" fmla="*/ 106702 w 4519987"/>
              <a:gd name="connsiteY81" fmla="*/ 1590675 h 4429225"/>
              <a:gd name="connsiteX82" fmla="*/ 135277 w 4519987"/>
              <a:gd name="connsiteY82" fmla="*/ 1504950 h 4429225"/>
              <a:gd name="connsiteX83" fmla="*/ 154327 w 4519987"/>
              <a:gd name="connsiteY83" fmla="*/ 1419225 h 4429225"/>
              <a:gd name="connsiteX84" fmla="*/ 230527 w 4519987"/>
              <a:gd name="connsiteY84" fmla="*/ 1276350 h 4429225"/>
              <a:gd name="connsiteX85" fmla="*/ 240052 w 4519987"/>
              <a:gd name="connsiteY85" fmla="*/ 1247775 h 4429225"/>
              <a:gd name="connsiteX86" fmla="*/ 268627 w 4519987"/>
              <a:gd name="connsiteY86" fmla="*/ 1200150 h 4429225"/>
              <a:gd name="connsiteX87" fmla="*/ 287677 w 4519987"/>
              <a:gd name="connsiteY87" fmla="*/ 1152525 h 4429225"/>
              <a:gd name="connsiteX88" fmla="*/ 316252 w 4519987"/>
              <a:gd name="connsiteY88" fmla="*/ 1114425 h 4429225"/>
              <a:gd name="connsiteX89" fmla="*/ 363877 w 4519987"/>
              <a:gd name="connsiteY89" fmla="*/ 1038225 h 4429225"/>
              <a:gd name="connsiteX90" fmla="*/ 382927 w 4519987"/>
              <a:gd name="connsiteY90" fmla="*/ 1009650 h 4429225"/>
              <a:gd name="connsiteX91" fmla="*/ 440077 w 4519987"/>
              <a:gd name="connsiteY91" fmla="*/ 904875 h 4429225"/>
              <a:gd name="connsiteX92" fmla="*/ 478177 w 4519987"/>
              <a:gd name="connsiteY92" fmla="*/ 857250 h 4429225"/>
              <a:gd name="connsiteX93" fmla="*/ 497227 w 4519987"/>
              <a:gd name="connsiteY93" fmla="*/ 828675 h 4429225"/>
              <a:gd name="connsiteX94" fmla="*/ 535327 w 4519987"/>
              <a:gd name="connsiteY94" fmla="*/ 800100 h 4429225"/>
              <a:gd name="connsiteX95" fmla="*/ 602002 w 4519987"/>
              <a:gd name="connsiteY95" fmla="*/ 733425 h 4429225"/>
              <a:gd name="connsiteX96" fmla="*/ 668677 w 4519987"/>
              <a:gd name="connsiteY96" fmla="*/ 676275 h 4429225"/>
              <a:gd name="connsiteX97" fmla="*/ 697252 w 4519987"/>
              <a:gd name="connsiteY97" fmla="*/ 657225 h 4429225"/>
              <a:gd name="connsiteX98" fmla="*/ 840127 w 4519987"/>
              <a:gd name="connsiteY98" fmla="*/ 533400 h 4429225"/>
              <a:gd name="connsiteX99" fmla="*/ 887752 w 4519987"/>
              <a:gd name="connsiteY99" fmla="*/ 504825 h 4429225"/>
              <a:gd name="connsiteX100" fmla="*/ 1167152 w 4519987"/>
              <a:gd name="connsiteY100" fmla="*/ 311150 h 4429225"/>
              <a:gd name="connsiteX101" fmla="*/ 1268752 w 4519987"/>
              <a:gd name="connsiteY101" fmla="*/ 285750 h 4429225"/>
              <a:gd name="connsiteX102" fmla="*/ 1411627 w 4519987"/>
              <a:gd name="connsiteY102" fmla="*/ 190500 h 4429225"/>
              <a:gd name="connsiteX103" fmla="*/ 1449727 w 4519987"/>
              <a:gd name="connsiteY103" fmla="*/ 161925 h 4429225"/>
              <a:gd name="connsiteX104" fmla="*/ 1525927 w 4519987"/>
              <a:gd name="connsiteY104" fmla="*/ 152400 h 4429225"/>
              <a:gd name="connsiteX105" fmla="*/ 1583077 w 4519987"/>
              <a:gd name="connsiteY105" fmla="*/ 142875 h 4429225"/>
              <a:gd name="connsiteX106" fmla="*/ 1716427 w 4519987"/>
              <a:gd name="connsiteY106" fmla="*/ 123825 h 4429225"/>
              <a:gd name="connsiteX107" fmla="*/ 1811677 w 4519987"/>
              <a:gd name="connsiteY107" fmla="*/ 114300 h 4429225"/>
              <a:gd name="connsiteX108" fmla="*/ 1859302 w 4519987"/>
              <a:gd name="connsiteY108" fmla="*/ 104775 h 4429225"/>
              <a:gd name="connsiteX109" fmla="*/ 1916452 w 4519987"/>
              <a:gd name="connsiteY109" fmla="*/ 95250 h 4429225"/>
              <a:gd name="connsiteX110" fmla="*/ 2030752 w 4519987"/>
              <a:gd name="connsiteY110" fmla="*/ 66675 h 4429225"/>
              <a:gd name="connsiteX111" fmla="*/ 2097427 w 4519987"/>
              <a:gd name="connsiteY111" fmla="*/ 47625 h 4429225"/>
              <a:gd name="connsiteX112" fmla="*/ 2164102 w 4519987"/>
              <a:gd name="connsiteY112" fmla="*/ 38100 h 4429225"/>
              <a:gd name="connsiteX113" fmla="*/ 2392702 w 4519987"/>
              <a:gd name="connsiteY113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221127 w 4519987"/>
              <a:gd name="connsiteY47" fmla="*/ 4200525 h 4429225"/>
              <a:gd name="connsiteX48" fmla="*/ 1144927 w 4519987"/>
              <a:gd name="connsiteY48" fmla="*/ 4171950 h 4429225"/>
              <a:gd name="connsiteX49" fmla="*/ 1087777 w 4519987"/>
              <a:gd name="connsiteY49" fmla="*/ 4143375 h 4429225"/>
              <a:gd name="connsiteX50" fmla="*/ 1030627 w 4519987"/>
              <a:gd name="connsiteY50" fmla="*/ 4124325 h 4429225"/>
              <a:gd name="connsiteX51" fmla="*/ 925852 w 4519987"/>
              <a:gd name="connsiteY51" fmla="*/ 4067175 h 4429225"/>
              <a:gd name="connsiteX52" fmla="*/ 830602 w 4519987"/>
              <a:gd name="connsiteY52" fmla="*/ 3981450 h 4429225"/>
              <a:gd name="connsiteX53" fmla="*/ 763927 w 4519987"/>
              <a:gd name="connsiteY53" fmla="*/ 3914775 h 4429225"/>
              <a:gd name="connsiteX54" fmla="*/ 725827 w 4519987"/>
              <a:gd name="connsiteY54" fmla="*/ 3876675 h 4429225"/>
              <a:gd name="connsiteX55" fmla="*/ 697252 w 4519987"/>
              <a:gd name="connsiteY55" fmla="*/ 3838575 h 4429225"/>
              <a:gd name="connsiteX56" fmla="*/ 640102 w 4519987"/>
              <a:gd name="connsiteY56" fmla="*/ 3781425 h 4429225"/>
              <a:gd name="connsiteX57" fmla="*/ 611527 w 4519987"/>
              <a:gd name="connsiteY57" fmla="*/ 3733800 h 4429225"/>
              <a:gd name="connsiteX58" fmla="*/ 554377 w 4519987"/>
              <a:gd name="connsiteY58" fmla="*/ 3657600 h 4429225"/>
              <a:gd name="connsiteX59" fmla="*/ 525802 w 4519987"/>
              <a:gd name="connsiteY59" fmla="*/ 3609975 h 4429225"/>
              <a:gd name="connsiteX60" fmla="*/ 497227 w 4519987"/>
              <a:gd name="connsiteY60" fmla="*/ 3552825 h 4429225"/>
              <a:gd name="connsiteX61" fmla="*/ 440077 w 4519987"/>
              <a:gd name="connsiteY61" fmla="*/ 3495675 h 4429225"/>
              <a:gd name="connsiteX62" fmla="*/ 411502 w 4519987"/>
              <a:gd name="connsiteY62" fmla="*/ 3448050 h 4429225"/>
              <a:gd name="connsiteX63" fmla="*/ 278152 w 4519987"/>
              <a:gd name="connsiteY63" fmla="*/ 3257550 h 4429225"/>
              <a:gd name="connsiteX64" fmla="*/ 249577 w 4519987"/>
              <a:gd name="connsiteY64" fmla="*/ 3200400 h 4429225"/>
              <a:gd name="connsiteX65" fmla="*/ 240052 w 4519987"/>
              <a:gd name="connsiteY65" fmla="*/ 3162300 h 4429225"/>
              <a:gd name="connsiteX66" fmla="*/ 221002 w 4519987"/>
              <a:gd name="connsiteY66" fmla="*/ 3105150 h 4429225"/>
              <a:gd name="connsiteX67" fmla="*/ 173377 w 4519987"/>
              <a:gd name="connsiteY67" fmla="*/ 3019425 h 4429225"/>
              <a:gd name="connsiteX68" fmla="*/ 144802 w 4519987"/>
              <a:gd name="connsiteY68" fmla="*/ 2924175 h 4429225"/>
              <a:gd name="connsiteX69" fmla="*/ 68602 w 4519987"/>
              <a:gd name="connsiteY69" fmla="*/ 2724150 h 4429225"/>
              <a:gd name="connsiteX70" fmla="*/ 49552 w 4519987"/>
              <a:gd name="connsiteY70" fmla="*/ 2638425 h 4429225"/>
              <a:gd name="connsiteX71" fmla="*/ 40027 w 4519987"/>
              <a:gd name="connsiteY71" fmla="*/ 2562225 h 4429225"/>
              <a:gd name="connsiteX72" fmla="*/ 30502 w 4519987"/>
              <a:gd name="connsiteY72" fmla="*/ 2514600 h 4429225"/>
              <a:gd name="connsiteX73" fmla="*/ 11452 w 4519987"/>
              <a:gd name="connsiteY73" fmla="*/ 2400300 h 4429225"/>
              <a:gd name="connsiteX74" fmla="*/ 20977 w 4519987"/>
              <a:gd name="connsiteY74" fmla="*/ 1905000 h 4429225"/>
              <a:gd name="connsiteX75" fmla="*/ 30502 w 4519987"/>
              <a:gd name="connsiteY75" fmla="*/ 1838325 h 4429225"/>
              <a:gd name="connsiteX76" fmla="*/ 49552 w 4519987"/>
              <a:gd name="connsiteY76" fmla="*/ 1781175 h 4429225"/>
              <a:gd name="connsiteX77" fmla="*/ 59077 w 4519987"/>
              <a:gd name="connsiteY77" fmla="*/ 1743075 h 4429225"/>
              <a:gd name="connsiteX78" fmla="*/ 78127 w 4519987"/>
              <a:gd name="connsiteY78" fmla="*/ 1685925 h 4429225"/>
              <a:gd name="connsiteX79" fmla="*/ 87652 w 4519987"/>
              <a:gd name="connsiteY79" fmla="*/ 1638300 h 4429225"/>
              <a:gd name="connsiteX80" fmla="*/ 106702 w 4519987"/>
              <a:gd name="connsiteY80" fmla="*/ 1590675 h 4429225"/>
              <a:gd name="connsiteX81" fmla="*/ 135277 w 4519987"/>
              <a:gd name="connsiteY81" fmla="*/ 1504950 h 4429225"/>
              <a:gd name="connsiteX82" fmla="*/ 154327 w 4519987"/>
              <a:gd name="connsiteY82" fmla="*/ 1419225 h 4429225"/>
              <a:gd name="connsiteX83" fmla="*/ 230527 w 4519987"/>
              <a:gd name="connsiteY83" fmla="*/ 1276350 h 4429225"/>
              <a:gd name="connsiteX84" fmla="*/ 240052 w 4519987"/>
              <a:gd name="connsiteY84" fmla="*/ 1247775 h 4429225"/>
              <a:gd name="connsiteX85" fmla="*/ 268627 w 4519987"/>
              <a:gd name="connsiteY85" fmla="*/ 1200150 h 4429225"/>
              <a:gd name="connsiteX86" fmla="*/ 287677 w 4519987"/>
              <a:gd name="connsiteY86" fmla="*/ 1152525 h 4429225"/>
              <a:gd name="connsiteX87" fmla="*/ 316252 w 4519987"/>
              <a:gd name="connsiteY87" fmla="*/ 1114425 h 4429225"/>
              <a:gd name="connsiteX88" fmla="*/ 363877 w 4519987"/>
              <a:gd name="connsiteY88" fmla="*/ 1038225 h 4429225"/>
              <a:gd name="connsiteX89" fmla="*/ 382927 w 4519987"/>
              <a:gd name="connsiteY89" fmla="*/ 1009650 h 4429225"/>
              <a:gd name="connsiteX90" fmla="*/ 440077 w 4519987"/>
              <a:gd name="connsiteY90" fmla="*/ 904875 h 4429225"/>
              <a:gd name="connsiteX91" fmla="*/ 478177 w 4519987"/>
              <a:gd name="connsiteY91" fmla="*/ 857250 h 4429225"/>
              <a:gd name="connsiteX92" fmla="*/ 497227 w 4519987"/>
              <a:gd name="connsiteY92" fmla="*/ 828675 h 4429225"/>
              <a:gd name="connsiteX93" fmla="*/ 535327 w 4519987"/>
              <a:gd name="connsiteY93" fmla="*/ 800100 h 4429225"/>
              <a:gd name="connsiteX94" fmla="*/ 602002 w 4519987"/>
              <a:gd name="connsiteY94" fmla="*/ 733425 h 4429225"/>
              <a:gd name="connsiteX95" fmla="*/ 668677 w 4519987"/>
              <a:gd name="connsiteY95" fmla="*/ 676275 h 4429225"/>
              <a:gd name="connsiteX96" fmla="*/ 697252 w 4519987"/>
              <a:gd name="connsiteY96" fmla="*/ 657225 h 4429225"/>
              <a:gd name="connsiteX97" fmla="*/ 840127 w 4519987"/>
              <a:gd name="connsiteY97" fmla="*/ 533400 h 4429225"/>
              <a:gd name="connsiteX98" fmla="*/ 887752 w 4519987"/>
              <a:gd name="connsiteY98" fmla="*/ 504825 h 4429225"/>
              <a:gd name="connsiteX99" fmla="*/ 1167152 w 4519987"/>
              <a:gd name="connsiteY99" fmla="*/ 311150 h 4429225"/>
              <a:gd name="connsiteX100" fmla="*/ 1268752 w 4519987"/>
              <a:gd name="connsiteY100" fmla="*/ 285750 h 4429225"/>
              <a:gd name="connsiteX101" fmla="*/ 1411627 w 4519987"/>
              <a:gd name="connsiteY101" fmla="*/ 190500 h 4429225"/>
              <a:gd name="connsiteX102" fmla="*/ 1449727 w 4519987"/>
              <a:gd name="connsiteY102" fmla="*/ 161925 h 4429225"/>
              <a:gd name="connsiteX103" fmla="*/ 1525927 w 4519987"/>
              <a:gd name="connsiteY103" fmla="*/ 152400 h 4429225"/>
              <a:gd name="connsiteX104" fmla="*/ 1583077 w 4519987"/>
              <a:gd name="connsiteY104" fmla="*/ 142875 h 4429225"/>
              <a:gd name="connsiteX105" fmla="*/ 1716427 w 4519987"/>
              <a:gd name="connsiteY105" fmla="*/ 123825 h 4429225"/>
              <a:gd name="connsiteX106" fmla="*/ 1811677 w 4519987"/>
              <a:gd name="connsiteY106" fmla="*/ 114300 h 4429225"/>
              <a:gd name="connsiteX107" fmla="*/ 1859302 w 4519987"/>
              <a:gd name="connsiteY107" fmla="*/ 104775 h 4429225"/>
              <a:gd name="connsiteX108" fmla="*/ 1916452 w 4519987"/>
              <a:gd name="connsiteY108" fmla="*/ 95250 h 4429225"/>
              <a:gd name="connsiteX109" fmla="*/ 2030752 w 4519987"/>
              <a:gd name="connsiteY109" fmla="*/ 66675 h 4429225"/>
              <a:gd name="connsiteX110" fmla="*/ 2097427 w 4519987"/>
              <a:gd name="connsiteY110" fmla="*/ 47625 h 4429225"/>
              <a:gd name="connsiteX111" fmla="*/ 2164102 w 4519987"/>
              <a:gd name="connsiteY111" fmla="*/ 38100 h 4429225"/>
              <a:gd name="connsiteX112" fmla="*/ 2392702 w 4519987"/>
              <a:gd name="connsiteY112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221127 w 4519987"/>
              <a:gd name="connsiteY47" fmla="*/ 4200525 h 4429225"/>
              <a:gd name="connsiteX48" fmla="*/ 1087777 w 4519987"/>
              <a:gd name="connsiteY48" fmla="*/ 4143375 h 4429225"/>
              <a:gd name="connsiteX49" fmla="*/ 1030627 w 4519987"/>
              <a:gd name="connsiteY49" fmla="*/ 4124325 h 4429225"/>
              <a:gd name="connsiteX50" fmla="*/ 925852 w 4519987"/>
              <a:gd name="connsiteY50" fmla="*/ 4067175 h 4429225"/>
              <a:gd name="connsiteX51" fmla="*/ 830602 w 4519987"/>
              <a:gd name="connsiteY51" fmla="*/ 3981450 h 4429225"/>
              <a:gd name="connsiteX52" fmla="*/ 763927 w 4519987"/>
              <a:gd name="connsiteY52" fmla="*/ 3914775 h 4429225"/>
              <a:gd name="connsiteX53" fmla="*/ 725827 w 4519987"/>
              <a:gd name="connsiteY53" fmla="*/ 3876675 h 4429225"/>
              <a:gd name="connsiteX54" fmla="*/ 697252 w 4519987"/>
              <a:gd name="connsiteY54" fmla="*/ 3838575 h 4429225"/>
              <a:gd name="connsiteX55" fmla="*/ 640102 w 4519987"/>
              <a:gd name="connsiteY55" fmla="*/ 3781425 h 4429225"/>
              <a:gd name="connsiteX56" fmla="*/ 611527 w 4519987"/>
              <a:gd name="connsiteY56" fmla="*/ 3733800 h 4429225"/>
              <a:gd name="connsiteX57" fmla="*/ 554377 w 4519987"/>
              <a:gd name="connsiteY57" fmla="*/ 3657600 h 4429225"/>
              <a:gd name="connsiteX58" fmla="*/ 525802 w 4519987"/>
              <a:gd name="connsiteY58" fmla="*/ 3609975 h 4429225"/>
              <a:gd name="connsiteX59" fmla="*/ 497227 w 4519987"/>
              <a:gd name="connsiteY59" fmla="*/ 3552825 h 4429225"/>
              <a:gd name="connsiteX60" fmla="*/ 440077 w 4519987"/>
              <a:gd name="connsiteY60" fmla="*/ 3495675 h 4429225"/>
              <a:gd name="connsiteX61" fmla="*/ 411502 w 4519987"/>
              <a:gd name="connsiteY61" fmla="*/ 3448050 h 4429225"/>
              <a:gd name="connsiteX62" fmla="*/ 278152 w 4519987"/>
              <a:gd name="connsiteY62" fmla="*/ 3257550 h 4429225"/>
              <a:gd name="connsiteX63" fmla="*/ 249577 w 4519987"/>
              <a:gd name="connsiteY63" fmla="*/ 3200400 h 4429225"/>
              <a:gd name="connsiteX64" fmla="*/ 240052 w 4519987"/>
              <a:gd name="connsiteY64" fmla="*/ 3162300 h 4429225"/>
              <a:gd name="connsiteX65" fmla="*/ 221002 w 4519987"/>
              <a:gd name="connsiteY65" fmla="*/ 3105150 h 4429225"/>
              <a:gd name="connsiteX66" fmla="*/ 173377 w 4519987"/>
              <a:gd name="connsiteY66" fmla="*/ 3019425 h 4429225"/>
              <a:gd name="connsiteX67" fmla="*/ 144802 w 4519987"/>
              <a:gd name="connsiteY67" fmla="*/ 2924175 h 4429225"/>
              <a:gd name="connsiteX68" fmla="*/ 68602 w 4519987"/>
              <a:gd name="connsiteY68" fmla="*/ 2724150 h 4429225"/>
              <a:gd name="connsiteX69" fmla="*/ 49552 w 4519987"/>
              <a:gd name="connsiteY69" fmla="*/ 2638425 h 4429225"/>
              <a:gd name="connsiteX70" fmla="*/ 40027 w 4519987"/>
              <a:gd name="connsiteY70" fmla="*/ 2562225 h 4429225"/>
              <a:gd name="connsiteX71" fmla="*/ 30502 w 4519987"/>
              <a:gd name="connsiteY71" fmla="*/ 2514600 h 4429225"/>
              <a:gd name="connsiteX72" fmla="*/ 11452 w 4519987"/>
              <a:gd name="connsiteY72" fmla="*/ 2400300 h 4429225"/>
              <a:gd name="connsiteX73" fmla="*/ 20977 w 4519987"/>
              <a:gd name="connsiteY73" fmla="*/ 1905000 h 4429225"/>
              <a:gd name="connsiteX74" fmla="*/ 30502 w 4519987"/>
              <a:gd name="connsiteY74" fmla="*/ 1838325 h 4429225"/>
              <a:gd name="connsiteX75" fmla="*/ 49552 w 4519987"/>
              <a:gd name="connsiteY75" fmla="*/ 1781175 h 4429225"/>
              <a:gd name="connsiteX76" fmla="*/ 59077 w 4519987"/>
              <a:gd name="connsiteY76" fmla="*/ 1743075 h 4429225"/>
              <a:gd name="connsiteX77" fmla="*/ 78127 w 4519987"/>
              <a:gd name="connsiteY77" fmla="*/ 1685925 h 4429225"/>
              <a:gd name="connsiteX78" fmla="*/ 87652 w 4519987"/>
              <a:gd name="connsiteY78" fmla="*/ 1638300 h 4429225"/>
              <a:gd name="connsiteX79" fmla="*/ 106702 w 4519987"/>
              <a:gd name="connsiteY79" fmla="*/ 1590675 h 4429225"/>
              <a:gd name="connsiteX80" fmla="*/ 135277 w 4519987"/>
              <a:gd name="connsiteY80" fmla="*/ 1504950 h 4429225"/>
              <a:gd name="connsiteX81" fmla="*/ 154327 w 4519987"/>
              <a:gd name="connsiteY81" fmla="*/ 1419225 h 4429225"/>
              <a:gd name="connsiteX82" fmla="*/ 230527 w 4519987"/>
              <a:gd name="connsiteY82" fmla="*/ 1276350 h 4429225"/>
              <a:gd name="connsiteX83" fmla="*/ 240052 w 4519987"/>
              <a:gd name="connsiteY83" fmla="*/ 1247775 h 4429225"/>
              <a:gd name="connsiteX84" fmla="*/ 268627 w 4519987"/>
              <a:gd name="connsiteY84" fmla="*/ 1200150 h 4429225"/>
              <a:gd name="connsiteX85" fmla="*/ 287677 w 4519987"/>
              <a:gd name="connsiteY85" fmla="*/ 1152525 h 4429225"/>
              <a:gd name="connsiteX86" fmla="*/ 316252 w 4519987"/>
              <a:gd name="connsiteY86" fmla="*/ 1114425 h 4429225"/>
              <a:gd name="connsiteX87" fmla="*/ 363877 w 4519987"/>
              <a:gd name="connsiteY87" fmla="*/ 1038225 h 4429225"/>
              <a:gd name="connsiteX88" fmla="*/ 382927 w 4519987"/>
              <a:gd name="connsiteY88" fmla="*/ 1009650 h 4429225"/>
              <a:gd name="connsiteX89" fmla="*/ 440077 w 4519987"/>
              <a:gd name="connsiteY89" fmla="*/ 904875 h 4429225"/>
              <a:gd name="connsiteX90" fmla="*/ 478177 w 4519987"/>
              <a:gd name="connsiteY90" fmla="*/ 857250 h 4429225"/>
              <a:gd name="connsiteX91" fmla="*/ 497227 w 4519987"/>
              <a:gd name="connsiteY91" fmla="*/ 828675 h 4429225"/>
              <a:gd name="connsiteX92" fmla="*/ 535327 w 4519987"/>
              <a:gd name="connsiteY92" fmla="*/ 800100 h 4429225"/>
              <a:gd name="connsiteX93" fmla="*/ 602002 w 4519987"/>
              <a:gd name="connsiteY93" fmla="*/ 733425 h 4429225"/>
              <a:gd name="connsiteX94" fmla="*/ 668677 w 4519987"/>
              <a:gd name="connsiteY94" fmla="*/ 676275 h 4429225"/>
              <a:gd name="connsiteX95" fmla="*/ 697252 w 4519987"/>
              <a:gd name="connsiteY95" fmla="*/ 657225 h 4429225"/>
              <a:gd name="connsiteX96" fmla="*/ 840127 w 4519987"/>
              <a:gd name="connsiteY96" fmla="*/ 533400 h 4429225"/>
              <a:gd name="connsiteX97" fmla="*/ 887752 w 4519987"/>
              <a:gd name="connsiteY97" fmla="*/ 504825 h 4429225"/>
              <a:gd name="connsiteX98" fmla="*/ 1167152 w 4519987"/>
              <a:gd name="connsiteY98" fmla="*/ 311150 h 4429225"/>
              <a:gd name="connsiteX99" fmla="*/ 1268752 w 4519987"/>
              <a:gd name="connsiteY99" fmla="*/ 285750 h 4429225"/>
              <a:gd name="connsiteX100" fmla="*/ 1411627 w 4519987"/>
              <a:gd name="connsiteY100" fmla="*/ 190500 h 4429225"/>
              <a:gd name="connsiteX101" fmla="*/ 1449727 w 4519987"/>
              <a:gd name="connsiteY101" fmla="*/ 161925 h 4429225"/>
              <a:gd name="connsiteX102" fmla="*/ 1525927 w 4519987"/>
              <a:gd name="connsiteY102" fmla="*/ 152400 h 4429225"/>
              <a:gd name="connsiteX103" fmla="*/ 1583077 w 4519987"/>
              <a:gd name="connsiteY103" fmla="*/ 142875 h 4429225"/>
              <a:gd name="connsiteX104" fmla="*/ 1716427 w 4519987"/>
              <a:gd name="connsiteY104" fmla="*/ 123825 h 4429225"/>
              <a:gd name="connsiteX105" fmla="*/ 1811677 w 4519987"/>
              <a:gd name="connsiteY105" fmla="*/ 114300 h 4429225"/>
              <a:gd name="connsiteX106" fmla="*/ 1859302 w 4519987"/>
              <a:gd name="connsiteY106" fmla="*/ 104775 h 4429225"/>
              <a:gd name="connsiteX107" fmla="*/ 1916452 w 4519987"/>
              <a:gd name="connsiteY107" fmla="*/ 95250 h 4429225"/>
              <a:gd name="connsiteX108" fmla="*/ 2030752 w 4519987"/>
              <a:gd name="connsiteY108" fmla="*/ 66675 h 4429225"/>
              <a:gd name="connsiteX109" fmla="*/ 2097427 w 4519987"/>
              <a:gd name="connsiteY109" fmla="*/ 47625 h 4429225"/>
              <a:gd name="connsiteX110" fmla="*/ 2164102 w 4519987"/>
              <a:gd name="connsiteY110" fmla="*/ 38100 h 4429225"/>
              <a:gd name="connsiteX111" fmla="*/ 2392702 w 4519987"/>
              <a:gd name="connsiteY111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1030627 w 4519987"/>
              <a:gd name="connsiteY48" fmla="*/ 4124325 h 4429225"/>
              <a:gd name="connsiteX49" fmla="*/ 925852 w 4519987"/>
              <a:gd name="connsiteY49" fmla="*/ 4067175 h 4429225"/>
              <a:gd name="connsiteX50" fmla="*/ 830602 w 4519987"/>
              <a:gd name="connsiteY50" fmla="*/ 3981450 h 4429225"/>
              <a:gd name="connsiteX51" fmla="*/ 763927 w 4519987"/>
              <a:gd name="connsiteY51" fmla="*/ 3914775 h 4429225"/>
              <a:gd name="connsiteX52" fmla="*/ 725827 w 4519987"/>
              <a:gd name="connsiteY52" fmla="*/ 3876675 h 4429225"/>
              <a:gd name="connsiteX53" fmla="*/ 697252 w 4519987"/>
              <a:gd name="connsiteY53" fmla="*/ 3838575 h 4429225"/>
              <a:gd name="connsiteX54" fmla="*/ 640102 w 4519987"/>
              <a:gd name="connsiteY54" fmla="*/ 3781425 h 4429225"/>
              <a:gd name="connsiteX55" fmla="*/ 611527 w 4519987"/>
              <a:gd name="connsiteY55" fmla="*/ 3733800 h 4429225"/>
              <a:gd name="connsiteX56" fmla="*/ 554377 w 4519987"/>
              <a:gd name="connsiteY56" fmla="*/ 3657600 h 4429225"/>
              <a:gd name="connsiteX57" fmla="*/ 525802 w 4519987"/>
              <a:gd name="connsiteY57" fmla="*/ 3609975 h 4429225"/>
              <a:gd name="connsiteX58" fmla="*/ 497227 w 4519987"/>
              <a:gd name="connsiteY58" fmla="*/ 3552825 h 4429225"/>
              <a:gd name="connsiteX59" fmla="*/ 440077 w 4519987"/>
              <a:gd name="connsiteY59" fmla="*/ 3495675 h 4429225"/>
              <a:gd name="connsiteX60" fmla="*/ 411502 w 4519987"/>
              <a:gd name="connsiteY60" fmla="*/ 3448050 h 4429225"/>
              <a:gd name="connsiteX61" fmla="*/ 278152 w 4519987"/>
              <a:gd name="connsiteY61" fmla="*/ 3257550 h 4429225"/>
              <a:gd name="connsiteX62" fmla="*/ 249577 w 4519987"/>
              <a:gd name="connsiteY62" fmla="*/ 3200400 h 4429225"/>
              <a:gd name="connsiteX63" fmla="*/ 240052 w 4519987"/>
              <a:gd name="connsiteY63" fmla="*/ 3162300 h 4429225"/>
              <a:gd name="connsiteX64" fmla="*/ 221002 w 4519987"/>
              <a:gd name="connsiteY64" fmla="*/ 3105150 h 4429225"/>
              <a:gd name="connsiteX65" fmla="*/ 173377 w 4519987"/>
              <a:gd name="connsiteY65" fmla="*/ 3019425 h 4429225"/>
              <a:gd name="connsiteX66" fmla="*/ 144802 w 4519987"/>
              <a:gd name="connsiteY66" fmla="*/ 2924175 h 4429225"/>
              <a:gd name="connsiteX67" fmla="*/ 68602 w 4519987"/>
              <a:gd name="connsiteY67" fmla="*/ 2724150 h 4429225"/>
              <a:gd name="connsiteX68" fmla="*/ 49552 w 4519987"/>
              <a:gd name="connsiteY68" fmla="*/ 2638425 h 4429225"/>
              <a:gd name="connsiteX69" fmla="*/ 40027 w 4519987"/>
              <a:gd name="connsiteY69" fmla="*/ 2562225 h 4429225"/>
              <a:gd name="connsiteX70" fmla="*/ 30502 w 4519987"/>
              <a:gd name="connsiteY70" fmla="*/ 2514600 h 4429225"/>
              <a:gd name="connsiteX71" fmla="*/ 11452 w 4519987"/>
              <a:gd name="connsiteY71" fmla="*/ 2400300 h 4429225"/>
              <a:gd name="connsiteX72" fmla="*/ 20977 w 4519987"/>
              <a:gd name="connsiteY72" fmla="*/ 1905000 h 4429225"/>
              <a:gd name="connsiteX73" fmla="*/ 30502 w 4519987"/>
              <a:gd name="connsiteY73" fmla="*/ 1838325 h 4429225"/>
              <a:gd name="connsiteX74" fmla="*/ 49552 w 4519987"/>
              <a:gd name="connsiteY74" fmla="*/ 1781175 h 4429225"/>
              <a:gd name="connsiteX75" fmla="*/ 59077 w 4519987"/>
              <a:gd name="connsiteY75" fmla="*/ 1743075 h 4429225"/>
              <a:gd name="connsiteX76" fmla="*/ 78127 w 4519987"/>
              <a:gd name="connsiteY76" fmla="*/ 1685925 h 4429225"/>
              <a:gd name="connsiteX77" fmla="*/ 87652 w 4519987"/>
              <a:gd name="connsiteY77" fmla="*/ 1638300 h 4429225"/>
              <a:gd name="connsiteX78" fmla="*/ 106702 w 4519987"/>
              <a:gd name="connsiteY78" fmla="*/ 1590675 h 4429225"/>
              <a:gd name="connsiteX79" fmla="*/ 135277 w 4519987"/>
              <a:gd name="connsiteY79" fmla="*/ 1504950 h 4429225"/>
              <a:gd name="connsiteX80" fmla="*/ 154327 w 4519987"/>
              <a:gd name="connsiteY80" fmla="*/ 1419225 h 4429225"/>
              <a:gd name="connsiteX81" fmla="*/ 230527 w 4519987"/>
              <a:gd name="connsiteY81" fmla="*/ 1276350 h 4429225"/>
              <a:gd name="connsiteX82" fmla="*/ 240052 w 4519987"/>
              <a:gd name="connsiteY82" fmla="*/ 1247775 h 4429225"/>
              <a:gd name="connsiteX83" fmla="*/ 268627 w 4519987"/>
              <a:gd name="connsiteY83" fmla="*/ 1200150 h 4429225"/>
              <a:gd name="connsiteX84" fmla="*/ 287677 w 4519987"/>
              <a:gd name="connsiteY84" fmla="*/ 1152525 h 4429225"/>
              <a:gd name="connsiteX85" fmla="*/ 316252 w 4519987"/>
              <a:gd name="connsiteY85" fmla="*/ 1114425 h 4429225"/>
              <a:gd name="connsiteX86" fmla="*/ 363877 w 4519987"/>
              <a:gd name="connsiteY86" fmla="*/ 1038225 h 4429225"/>
              <a:gd name="connsiteX87" fmla="*/ 382927 w 4519987"/>
              <a:gd name="connsiteY87" fmla="*/ 1009650 h 4429225"/>
              <a:gd name="connsiteX88" fmla="*/ 440077 w 4519987"/>
              <a:gd name="connsiteY88" fmla="*/ 904875 h 4429225"/>
              <a:gd name="connsiteX89" fmla="*/ 478177 w 4519987"/>
              <a:gd name="connsiteY89" fmla="*/ 857250 h 4429225"/>
              <a:gd name="connsiteX90" fmla="*/ 497227 w 4519987"/>
              <a:gd name="connsiteY90" fmla="*/ 828675 h 4429225"/>
              <a:gd name="connsiteX91" fmla="*/ 535327 w 4519987"/>
              <a:gd name="connsiteY91" fmla="*/ 800100 h 4429225"/>
              <a:gd name="connsiteX92" fmla="*/ 602002 w 4519987"/>
              <a:gd name="connsiteY92" fmla="*/ 733425 h 4429225"/>
              <a:gd name="connsiteX93" fmla="*/ 668677 w 4519987"/>
              <a:gd name="connsiteY93" fmla="*/ 676275 h 4429225"/>
              <a:gd name="connsiteX94" fmla="*/ 697252 w 4519987"/>
              <a:gd name="connsiteY94" fmla="*/ 657225 h 4429225"/>
              <a:gd name="connsiteX95" fmla="*/ 840127 w 4519987"/>
              <a:gd name="connsiteY95" fmla="*/ 533400 h 4429225"/>
              <a:gd name="connsiteX96" fmla="*/ 887752 w 4519987"/>
              <a:gd name="connsiteY96" fmla="*/ 504825 h 4429225"/>
              <a:gd name="connsiteX97" fmla="*/ 1167152 w 4519987"/>
              <a:gd name="connsiteY97" fmla="*/ 311150 h 4429225"/>
              <a:gd name="connsiteX98" fmla="*/ 1268752 w 4519987"/>
              <a:gd name="connsiteY98" fmla="*/ 285750 h 4429225"/>
              <a:gd name="connsiteX99" fmla="*/ 1411627 w 4519987"/>
              <a:gd name="connsiteY99" fmla="*/ 190500 h 4429225"/>
              <a:gd name="connsiteX100" fmla="*/ 1449727 w 4519987"/>
              <a:gd name="connsiteY100" fmla="*/ 161925 h 4429225"/>
              <a:gd name="connsiteX101" fmla="*/ 1525927 w 4519987"/>
              <a:gd name="connsiteY101" fmla="*/ 152400 h 4429225"/>
              <a:gd name="connsiteX102" fmla="*/ 1583077 w 4519987"/>
              <a:gd name="connsiteY102" fmla="*/ 142875 h 4429225"/>
              <a:gd name="connsiteX103" fmla="*/ 1716427 w 4519987"/>
              <a:gd name="connsiteY103" fmla="*/ 123825 h 4429225"/>
              <a:gd name="connsiteX104" fmla="*/ 1811677 w 4519987"/>
              <a:gd name="connsiteY104" fmla="*/ 114300 h 4429225"/>
              <a:gd name="connsiteX105" fmla="*/ 1859302 w 4519987"/>
              <a:gd name="connsiteY105" fmla="*/ 104775 h 4429225"/>
              <a:gd name="connsiteX106" fmla="*/ 1916452 w 4519987"/>
              <a:gd name="connsiteY106" fmla="*/ 95250 h 4429225"/>
              <a:gd name="connsiteX107" fmla="*/ 2030752 w 4519987"/>
              <a:gd name="connsiteY107" fmla="*/ 66675 h 4429225"/>
              <a:gd name="connsiteX108" fmla="*/ 2097427 w 4519987"/>
              <a:gd name="connsiteY108" fmla="*/ 47625 h 4429225"/>
              <a:gd name="connsiteX109" fmla="*/ 2164102 w 4519987"/>
              <a:gd name="connsiteY109" fmla="*/ 38100 h 4429225"/>
              <a:gd name="connsiteX110" fmla="*/ 2392702 w 4519987"/>
              <a:gd name="connsiteY110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925852 w 4519987"/>
              <a:gd name="connsiteY48" fmla="*/ 4067175 h 4429225"/>
              <a:gd name="connsiteX49" fmla="*/ 830602 w 4519987"/>
              <a:gd name="connsiteY49" fmla="*/ 3981450 h 4429225"/>
              <a:gd name="connsiteX50" fmla="*/ 763927 w 4519987"/>
              <a:gd name="connsiteY50" fmla="*/ 3914775 h 4429225"/>
              <a:gd name="connsiteX51" fmla="*/ 725827 w 4519987"/>
              <a:gd name="connsiteY51" fmla="*/ 3876675 h 4429225"/>
              <a:gd name="connsiteX52" fmla="*/ 697252 w 4519987"/>
              <a:gd name="connsiteY52" fmla="*/ 3838575 h 4429225"/>
              <a:gd name="connsiteX53" fmla="*/ 640102 w 4519987"/>
              <a:gd name="connsiteY53" fmla="*/ 3781425 h 4429225"/>
              <a:gd name="connsiteX54" fmla="*/ 611527 w 4519987"/>
              <a:gd name="connsiteY54" fmla="*/ 3733800 h 4429225"/>
              <a:gd name="connsiteX55" fmla="*/ 554377 w 4519987"/>
              <a:gd name="connsiteY55" fmla="*/ 3657600 h 4429225"/>
              <a:gd name="connsiteX56" fmla="*/ 525802 w 4519987"/>
              <a:gd name="connsiteY56" fmla="*/ 3609975 h 4429225"/>
              <a:gd name="connsiteX57" fmla="*/ 497227 w 4519987"/>
              <a:gd name="connsiteY57" fmla="*/ 3552825 h 4429225"/>
              <a:gd name="connsiteX58" fmla="*/ 440077 w 4519987"/>
              <a:gd name="connsiteY58" fmla="*/ 3495675 h 4429225"/>
              <a:gd name="connsiteX59" fmla="*/ 411502 w 4519987"/>
              <a:gd name="connsiteY59" fmla="*/ 3448050 h 4429225"/>
              <a:gd name="connsiteX60" fmla="*/ 278152 w 4519987"/>
              <a:gd name="connsiteY60" fmla="*/ 3257550 h 4429225"/>
              <a:gd name="connsiteX61" fmla="*/ 249577 w 4519987"/>
              <a:gd name="connsiteY61" fmla="*/ 3200400 h 4429225"/>
              <a:gd name="connsiteX62" fmla="*/ 240052 w 4519987"/>
              <a:gd name="connsiteY62" fmla="*/ 3162300 h 4429225"/>
              <a:gd name="connsiteX63" fmla="*/ 221002 w 4519987"/>
              <a:gd name="connsiteY63" fmla="*/ 3105150 h 4429225"/>
              <a:gd name="connsiteX64" fmla="*/ 173377 w 4519987"/>
              <a:gd name="connsiteY64" fmla="*/ 3019425 h 4429225"/>
              <a:gd name="connsiteX65" fmla="*/ 144802 w 4519987"/>
              <a:gd name="connsiteY65" fmla="*/ 2924175 h 4429225"/>
              <a:gd name="connsiteX66" fmla="*/ 68602 w 4519987"/>
              <a:gd name="connsiteY66" fmla="*/ 2724150 h 4429225"/>
              <a:gd name="connsiteX67" fmla="*/ 49552 w 4519987"/>
              <a:gd name="connsiteY67" fmla="*/ 2638425 h 4429225"/>
              <a:gd name="connsiteX68" fmla="*/ 40027 w 4519987"/>
              <a:gd name="connsiteY68" fmla="*/ 2562225 h 4429225"/>
              <a:gd name="connsiteX69" fmla="*/ 30502 w 4519987"/>
              <a:gd name="connsiteY69" fmla="*/ 2514600 h 4429225"/>
              <a:gd name="connsiteX70" fmla="*/ 11452 w 4519987"/>
              <a:gd name="connsiteY70" fmla="*/ 2400300 h 4429225"/>
              <a:gd name="connsiteX71" fmla="*/ 20977 w 4519987"/>
              <a:gd name="connsiteY71" fmla="*/ 1905000 h 4429225"/>
              <a:gd name="connsiteX72" fmla="*/ 30502 w 4519987"/>
              <a:gd name="connsiteY72" fmla="*/ 1838325 h 4429225"/>
              <a:gd name="connsiteX73" fmla="*/ 49552 w 4519987"/>
              <a:gd name="connsiteY73" fmla="*/ 1781175 h 4429225"/>
              <a:gd name="connsiteX74" fmla="*/ 59077 w 4519987"/>
              <a:gd name="connsiteY74" fmla="*/ 1743075 h 4429225"/>
              <a:gd name="connsiteX75" fmla="*/ 78127 w 4519987"/>
              <a:gd name="connsiteY75" fmla="*/ 1685925 h 4429225"/>
              <a:gd name="connsiteX76" fmla="*/ 87652 w 4519987"/>
              <a:gd name="connsiteY76" fmla="*/ 1638300 h 4429225"/>
              <a:gd name="connsiteX77" fmla="*/ 106702 w 4519987"/>
              <a:gd name="connsiteY77" fmla="*/ 1590675 h 4429225"/>
              <a:gd name="connsiteX78" fmla="*/ 135277 w 4519987"/>
              <a:gd name="connsiteY78" fmla="*/ 1504950 h 4429225"/>
              <a:gd name="connsiteX79" fmla="*/ 154327 w 4519987"/>
              <a:gd name="connsiteY79" fmla="*/ 1419225 h 4429225"/>
              <a:gd name="connsiteX80" fmla="*/ 230527 w 4519987"/>
              <a:gd name="connsiteY80" fmla="*/ 1276350 h 4429225"/>
              <a:gd name="connsiteX81" fmla="*/ 240052 w 4519987"/>
              <a:gd name="connsiteY81" fmla="*/ 1247775 h 4429225"/>
              <a:gd name="connsiteX82" fmla="*/ 268627 w 4519987"/>
              <a:gd name="connsiteY82" fmla="*/ 1200150 h 4429225"/>
              <a:gd name="connsiteX83" fmla="*/ 287677 w 4519987"/>
              <a:gd name="connsiteY83" fmla="*/ 1152525 h 4429225"/>
              <a:gd name="connsiteX84" fmla="*/ 316252 w 4519987"/>
              <a:gd name="connsiteY84" fmla="*/ 1114425 h 4429225"/>
              <a:gd name="connsiteX85" fmla="*/ 363877 w 4519987"/>
              <a:gd name="connsiteY85" fmla="*/ 1038225 h 4429225"/>
              <a:gd name="connsiteX86" fmla="*/ 382927 w 4519987"/>
              <a:gd name="connsiteY86" fmla="*/ 1009650 h 4429225"/>
              <a:gd name="connsiteX87" fmla="*/ 440077 w 4519987"/>
              <a:gd name="connsiteY87" fmla="*/ 904875 h 4429225"/>
              <a:gd name="connsiteX88" fmla="*/ 478177 w 4519987"/>
              <a:gd name="connsiteY88" fmla="*/ 857250 h 4429225"/>
              <a:gd name="connsiteX89" fmla="*/ 497227 w 4519987"/>
              <a:gd name="connsiteY89" fmla="*/ 828675 h 4429225"/>
              <a:gd name="connsiteX90" fmla="*/ 535327 w 4519987"/>
              <a:gd name="connsiteY90" fmla="*/ 800100 h 4429225"/>
              <a:gd name="connsiteX91" fmla="*/ 602002 w 4519987"/>
              <a:gd name="connsiteY91" fmla="*/ 733425 h 4429225"/>
              <a:gd name="connsiteX92" fmla="*/ 668677 w 4519987"/>
              <a:gd name="connsiteY92" fmla="*/ 676275 h 4429225"/>
              <a:gd name="connsiteX93" fmla="*/ 697252 w 4519987"/>
              <a:gd name="connsiteY93" fmla="*/ 657225 h 4429225"/>
              <a:gd name="connsiteX94" fmla="*/ 840127 w 4519987"/>
              <a:gd name="connsiteY94" fmla="*/ 533400 h 4429225"/>
              <a:gd name="connsiteX95" fmla="*/ 887752 w 4519987"/>
              <a:gd name="connsiteY95" fmla="*/ 504825 h 4429225"/>
              <a:gd name="connsiteX96" fmla="*/ 1167152 w 4519987"/>
              <a:gd name="connsiteY96" fmla="*/ 311150 h 4429225"/>
              <a:gd name="connsiteX97" fmla="*/ 1268752 w 4519987"/>
              <a:gd name="connsiteY97" fmla="*/ 285750 h 4429225"/>
              <a:gd name="connsiteX98" fmla="*/ 1411627 w 4519987"/>
              <a:gd name="connsiteY98" fmla="*/ 190500 h 4429225"/>
              <a:gd name="connsiteX99" fmla="*/ 1449727 w 4519987"/>
              <a:gd name="connsiteY99" fmla="*/ 161925 h 4429225"/>
              <a:gd name="connsiteX100" fmla="*/ 1525927 w 4519987"/>
              <a:gd name="connsiteY100" fmla="*/ 152400 h 4429225"/>
              <a:gd name="connsiteX101" fmla="*/ 1583077 w 4519987"/>
              <a:gd name="connsiteY101" fmla="*/ 142875 h 4429225"/>
              <a:gd name="connsiteX102" fmla="*/ 1716427 w 4519987"/>
              <a:gd name="connsiteY102" fmla="*/ 123825 h 4429225"/>
              <a:gd name="connsiteX103" fmla="*/ 1811677 w 4519987"/>
              <a:gd name="connsiteY103" fmla="*/ 114300 h 4429225"/>
              <a:gd name="connsiteX104" fmla="*/ 1859302 w 4519987"/>
              <a:gd name="connsiteY104" fmla="*/ 104775 h 4429225"/>
              <a:gd name="connsiteX105" fmla="*/ 1916452 w 4519987"/>
              <a:gd name="connsiteY105" fmla="*/ 95250 h 4429225"/>
              <a:gd name="connsiteX106" fmla="*/ 2030752 w 4519987"/>
              <a:gd name="connsiteY106" fmla="*/ 66675 h 4429225"/>
              <a:gd name="connsiteX107" fmla="*/ 2097427 w 4519987"/>
              <a:gd name="connsiteY107" fmla="*/ 47625 h 4429225"/>
              <a:gd name="connsiteX108" fmla="*/ 2164102 w 4519987"/>
              <a:gd name="connsiteY108" fmla="*/ 38100 h 4429225"/>
              <a:gd name="connsiteX109" fmla="*/ 2392702 w 4519987"/>
              <a:gd name="connsiteY109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725827 w 4519987"/>
              <a:gd name="connsiteY50" fmla="*/ 3876675 h 4429225"/>
              <a:gd name="connsiteX51" fmla="*/ 697252 w 4519987"/>
              <a:gd name="connsiteY51" fmla="*/ 3838575 h 4429225"/>
              <a:gd name="connsiteX52" fmla="*/ 640102 w 4519987"/>
              <a:gd name="connsiteY52" fmla="*/ 3781425 h 4429225"/>
              <a:gd name="connsiteX53" fmla="*/ 611527 w 4519987"/>
              <a:gd name="connsiteY53" fmla="*/ 3733800 h 4429225"/>
              <a:gd name="connsiteX54" fmla="*/ 554377 w 4519987"/>
              <a:gd name="connsiteY54" fmla="*/ 3657600 h 4429225"/>
              <a:gd name="connsiteX55" fmla="*/ 525802 w 4519987"/>
              <a:gd name="connsiteY55" fmla="*/ 3609975 h 4429225"/>
              <a:gd name="connsiteX56" fmla="*/ 497227 w 4519987"/>
              <a:gd name="connsiteY56" fmla="*/ 3552825 h 4429225"/>
              <a:gd name="connsiteX57" fmla="*/ 440077 w 4519987"/>
              <a:gd name="connsiteY57" fmla="*/ 3495675 h 4429225"/>
              <a:gd name="connsiteX58" fmla="*/ 411502 w 4519987"/>
              <a:gd name="connsiteY58" fmla="*/ 3448050 h 4429225"/>
              <a:gd name="connsiteX59" fmla="*/ 278152 w 4519987"/>
              <a:gd name="connsiteY59" fmla="*/ 3257550 h 4429225"/>
              <a:gd name="connsiteX60" fmla="*/ 249577 w 4519987"/>
              <a:gd name="connsiteY60" fmla="*/ 3200400 h 4429225"/>
              <a:gd name="connsiteX61" fmla="*/ 240052 w 4519987"/>
              <a:gd name="connsiteY61" fmla="*/ 3162300 h 4429225"/>
              <a:gd name="connsiteX62" fmla="*/ 221002 w 4519987"/>
              <a:gd name="connsiteY62" fmla="*/ 3105150 h 4429225"/>
              <a:gd name="connsiteX63" fmla="*/ 173377 w 4519987"/>
              <a:gd name="connsiteY63" fmla="*/ 3019425 h 4429225"/>
              <a:gd name="connsiteX64" fmla="*/ 144802 w 4519987"/>
              <a:gd name="connsiteY64" fmla="*/ 2924175 h 4429225"/>
              <a:gd name="connsiteX65" fmla="*/ 68602 w 4519987"/>
              <a:gd name="connsiteY65" fmla="*/ 2724150 h 4429225"/>
              <a:gd name="connsiteX66" fmla="*/ 49552 w 4519987"/>
              <a:gd name="connsiteY66" fmla="*/ 2638425 h 4429225"/>
              <a:gd name="connsiteX67" fmla="*/ 40027 w 4519987"/>
              <a:gd name="connsiteY67" fmla="*/ 2562225 h 4429225"/>
              <a:gd name="connsiteX68" fmla="*/ 30502 w 4519987"/>
              <a:gd name="connsiteY68" fmla="*/ 2514600 h 4429225"/>
              <a:gd name="connsiteX69" fmla="*/ 11452 w 4519987"/>
              <a:gd name="connsiteY69" fmla="*/ 2400300 h 4429225"/>
              <a:gd name="connsiteX70" fmla="*/ 20977 w 4519987"/>
              <a:gd name="connsiteY70" fmla="*/ 1905000 h 4429225"/>
              <a:gd name="connsiteX71" fmla="*/ 30502 w 4519987"/>
              <a:gd name="connsiteY71" fmla="*/ 1838325 h 4429225"/>
              <a:gd name="connsiteX72" fmla="*/ 49552 w 4519987"/>
              <a:gd name="connsiteY72" fmla="*/ 1781175 h 4429225"/>
              <a:gd name="connsiteX73" fmla="*/ 59077 w 4519987"/>
              <a:gd name="connsiteY73" fmla="*/ 1743075 h 4429225"/>
              <a:gd name="connsiteX74" fmla="*/ 78127 w 4519987"/>
              <a:gd name="connsiteY74" fmla="*/ 1685925 h 4429225"/>
              <a:gd name="connsiteX75" fmla="*/ 87652 w 4519987"/>
              <a:gd name="connsiteY75" fmla="*/ 1638300 h 4429225"/>
              <a:gd name="connsiteX76" fmla="*/ 106702 w 4519987"/>
              <a:gd name="connsiteY76" fmla="*/ 1590675 h 4429225"/>
              <a:gd name="connsiteX77" fmla="*/ 135277 w 4519987"/>
              <a:gd name="connsiteY77" fmla="*/ 1504950 h 4429225"/>
              <a:gd name="connsiteX78" fmla="*/ 154327 w 4519987"/>
              <a:gd name="connsiteY78" fmla="*/ 1419225 h 4429225"/>
              <a:gd name="connsiteX79" fmla="*/ 230527 w 4519987"/>
              <a:gd name="connsiteY79" fmla="*/ 1276350 h 4429225"/>
              <a:gd name="connsiteX80" fmla="*/ 240052 w 4519987"/>
              <a:gd name="connsiteY80" fmla="*/ 1247775 h 4429225"/>
              <a:gd name="connsiteX81" fmla="*/ 268627 w 4519987"/>
              <a:gd name="connsiteY81" fmla="*/ 1200150 h 4429225"/>
              <a:gd name="connsiteX82" fmla="*/ 287677 w 4519987"/>
              <a:gd name="connsiteY82" fmla="*/ 1152525 h 4429225"/>
              <a:gd name="connsiteX83" fmla="*/ 316252 w 4519987"/>
              <a:gd name="connsiteY83" fmla="*/ 1114425 h 4429225"/>
              <a:gd name="connsiteX84" fmla="*/ 363877 w 4519987"/>
              <a:gd name="connsiteY84" fmla="*/ 1038225 h 4429225"/>
              <a:gd name="connsiteX85" fmla="*/ 382927 w 4519987"/>
              <a:gd name="connsiteY85" fmla="*/ 1009650 h 4429225"/>
              <a:gd name="connsiteX86" fmla="*/ 440077 w 4519987"/>
              <a:gd name="connsiteY86" fmla="*/ 904875 h 4429225"/>
              <a:gd name="connsiteX87" fmla="*/ 478177 w 4519987"/>
              <a:gd name="connsiteY87" fmla="*/ 857250 h 4429225"/>
              <a:gd name="connsiteX88" fmla="*/ 497227 w 4519987"/>
              <a:gd name="connsiteY88" fmla="*/ 828675 h 4429225"/>
              <a:gd name="connsiteX89" fmla="*/ 535327 w 4519987"/>
              <a:gd name="connsiteY89" fmla="*/ 800100 h 4429225"/>
              <a:gd name="connsiteX90" fmla="*/ 602002 w 4519987"/>
              <a:gd name="connsiteY90" fmla="*/ 733425 h 4429225"/>
              <a:gd name="connsiteX91" fmla="*/ 668677 w 4519987"/>
              <a:gd name="connsiteY91" fmla="*/ 676275 h 4429225"/>
              <a:gd name="connsiteX92" fmla="*/ 697252 w 4519987"/>
              <a:gd name="connsiteY92" fmla="*/ 657225 h 4429225"/>
              <a:gd name="connsiteX93" fmla="*/ 840127 w 4519987"/>
              <a:gd name="connsiteY93" fmla="*/ 533400 h 4429225"/>
              <a:gd name="connsiteX94" fmla="*/ 887752 w 4519987"/>
              <a:gd name="connsiteY94" fmla="*/ 504825 h 4429225"/>
              <a:gd name="connsiteX95" fmla="*/ 1167152 w 4519987"/>
              <a:gd name="connsiteY95" fmla="*/ 311150 h 4429225"/>
              <a:gd name="connsiteX96" fmla="*/ 1268752 w 4519987"/>
              <a:gd name="connsiteY96" fmla="*/ 285750 h 4429225"/>
              <a:gd name="connsiteX97" fmla="*/ 1411627 w 4519987"/>
              <a:gd name="connsiteY97" fmla="*/ 190500 h 4429225"/>
              <a:gd name="connsiteX98" fmla="*/ 1449727 w 4519987"/>
              <a:gd name="connsiteY98" fmla="*/ 161925 h 4429225"/>
              <a:gd name="connsiteX99" fmla="*/ 1525927 w 4519987"/>
              <a:gd name="connsiteY99" fmla="*/ 152400 h 4429225"/>
              <a:gd name="connsiteX100" fmla="*/ 1583077 w 4519987"/>
              <a:gd name="connsiteY100" fmla="*/ 142875 h 4429225"/>
              <a:gd name="connsiteX101" fmla="*/ 1716427 w 4519987"/>
              <a:gd name="connsiteY101" fmla="*/ 123825 h 4429225"/>
              <a:gd name="connsiteX102" fmla="*/ 1811677 w 4519987"/>
              <a:gd name="connsiteY102" fmla="*/ 114300 h 4429225"/>
              <a:gd name="connsiteX103" fmla="*/ 1859302 w 4519987"/>
              <a:gd name="connsiteY103" fmla="*/ 104775 h 4429225"/>
              <a:gd name="connsiteX104" fmla="*/ 1916452 w 4519987"/>
              <a:gd name="connsiteY104" fmla="*/ 95250 h 4429225"/>
              <a:gd name="connsiteX105" fmla="*/ 2030752 w 4519987"/>
              <a:gd name="connsiteY105" fmla="*/ 66675 h 4429225"/>
              <a:gd name="connsiteX106" fmla="*/ 2097427 w 4519987"/>
              <a:gd name="connsiteY106" fmla="*/ 47625 h 4429225"/>
              <a:gd name="connsiteX107" fmla="*/ 2164102 w 4519987"/>
              <a:gd name="connsiteY107" fmla="*/ 38100 h 4429225"/>
              <a:gd name="connsiteX108" fmla="*/ 2392702 w 4519987"/>
              <a:gd name="connsiteY108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640102 w 4519987"/>
              <a:gd name="connsiteY51" fmla="*/ 3781425 h 4429225"/>
              <a:gd name="connsiteX52" fmla="*/ 611527 w 4519987"/>
              <a:gd name="connsiteY52" fmla="*/ 3733800 h 4429225"/>
              <a:gd name="connsiteX53" fmla="*/ 554377 w 4519987"/>
              <a:gd name="connsiteY53" fmla="*/ 3657600 h 4429225"/>
              <a:gd name="connsiteX54" fmla="*/ 525802 w 4519987"/>
              <a:gd name="connsiteY54" fmla="*/ 3609975 h 4429225"/>
              <a:gd name="connsiteX55" fmla="*/ 497227 w 4519987"/>
              <a:gd name="connsiteY55" fmla="*/ 3552825 h 4429225"/>
              <a:gd name="connsiteX56" fmla="*/ 440077 w 4519987"/>
              <a:gd name="connsiteY56" fmla="*/ 3495675 h 4429225"/>
              <a:gd name="connsiteX57" fmla="*/ 411502 w 4519987"/>
              <a:gd name="connsiteY57" fmla="*/ 3448050 h 4429225"/>
              <a:gd name="connsiteX58" fmla="*/ 278152 w 4519987"/>
              <a:gd name="connsiteY58" fmla="*/ 3257550 h 4429225"/>
              <a:gd name="connsiteX59" fmla="*/ 249577 w 4519987"/>
              <a:gd name="connsiteY59" fmla="*/ 3200400 h 4429225"/>
              <a:gd name="connsiteX60" fmla="*/ 240052 w 4519987"/>
              <a:gd name="connsiteY60" fmla="*/ 3162300 h 4429225"/>
              <a:gd name="connsiteX61" fmla="*/ 221002 w 4519987"/>
              <a:gd name="connsiteY61" fmla="*/ 3105150 h 4429225"/>
              <a:gd name="connsiteX62" fmla="*/ 173377 w 4519987"/>
              <a:gd name="connsiteY62" fmla="*/ 3019425 h 4429225"/>
              <a:gd name="connsiteX63" fmla="*/ 144802 w 4519987"/>
              <a:gd name="connsiteY63" fmla="*/ 2924175 h 4429225"/>
              <a:gd name="connsiteX64" fmla="*/ 68602 w 4519987"/>
              <a:gd name="connsiteY64" fmla="*/ 2724150 h 4429225"/>
              <a:gd name="connsiteX65" fmla="*/ 49552 w 4519987"/>
              <a:gd name="connsiteY65" fmla="*/ 2638425 h 4429225"/>
              <a:gd name="connsiteX66" fmla="*/ 40027 w 4519987"/>
              <a:gd name="connsiteY66" fmla="*/ 2562225 h 4429225"/>
              <a:gd name="connsiteX67" fmla="*/ 30502 w 4519987"/>
              <a:gd name="connsiteY67" fmla="*/ 2514600 h 4429225"/>
              <a:gd name="connsiteX68" fmla="*/ 11452 w 4519987"/>
              <a:gd name="connsiteY68" fmla="*/ 2400300 h 4429225"/>
              <a:gd name="connsiteX69" fmla="*/ 20977 w 4519987"/>
              <a:gd name="connsiteY69" fmla="*/ 1905000 h 4429225"/>
              <a:gd name="connsiteX70" fmla="*/ 30502 w 4519987"/>
              <a:gd name="connsiteY70" fmla="*/ 1838325 h 4429225"/>
              <a:gd name="connsiteX71" fmla="*/ 49552 w 4519987"/>
              <a:gd name="connsiteY71" fmla="*/ 1781175 h 4429225"/>
              <a:gd name="connsiteX72" fmla="*/ 59077 w 4519987"/>
              <a:gd name="connsiteY72" fmla="*/ 1743075 h 4429225"/>
              <a:gd name="connsiteX73" fmla="*/ 78127 w 4519987"/>
              <a:gd name="connsiteY73" fmla="*/ 1685925 h 4429225"/>
              <a:gd name="connsiteX74" fmla="*/ 87652 w 4519987"/>
              <a:gd name="connsiteY74" fmla="*/ 1638300 h 4429225"/>
              <a:gd name="connsiteX75" fmla="*/ 106702 w 4519987"/>
              <a:gd name="connsiteY75" fmla="*/ 1590675 h 4429225"/>
              <a:gd name="connsiteX76" fmla="*/ 135277 w 4519987"/>
              <a:gd name="connsiteY76" fmla="*/ 1504950 h 4429225"/>
              <a:gd name="connsiteX77" fmla="*/ 154327 w 4519987"/>
              <a:gd name="connsiteY77" fmla="*/ 1419225 h 4429225"/>
              <a:gd name="connsiteX78" fmla="*/ 230527 w 4519987"/>
              <a:gd name="connsiteY78" fmla="*/ 1276350 h 4429225"/>
              <a:gd name="connsiteX79" fmla="*/ 240052 w 4519987"/>
              <a:gd name="connsiteY79" fmla="*/ 1247775 h 4429225"/>
              <a:gd name="connsiteX80" fmla="*/ 268627 w 4519987"/>
              <a:gd name="connsiteY80" fmla="*/ 1200150 h 4429225"/>
              <a:gd name="connsiteX81" fmla="*/ 287677 w 4519987"/>
              <a:gd name="connsiteY81" fmla="*/ 1152525 h 4429225"/>
              <a:gd name="connsiteX82" fmla="*/ 316252 w 4519987"/>
              <a:gd name="connsiteY82" fmla="*/ 1114425 h 4429225"/>
              <a:gd name="connsiteX83" fmla="*/ 363877 w 4519987"/>
              <a:gd name="connsiteY83" fmla="*/ 1038225 h 4429225"/>
              <a:gd name="connsiteX84" fmla="*/ 382927 w 4519987"/>
              <a:gd name="connsiteY84" fmla="*/ 1009650 h 4429225"/>
              <a:gd name="connsiteX85" fmla="*/ 440077 w 4519987"/>
              <a:gd name="connsiteY85" fmla="*/ 904875 h 4429225"/>
              <a:gd name="connsiteX86" fmla="*/ 478177 w 4519987"/>
              <a:gd name="connsiteY86" fmla="*/ 857250 h 4429225"/>
              <a:gd name="connsiteX87" fmla="*/ 497227 w 4519987"/>
              <a:gd name="connsiteY87" fmla="*/ 828675 h 4429225"/>
              <a:gd name="connsiteX88" fmla="*/ 535327 w 4519987"/>
              <a:gd name="connsiteY88" fmla="*/ 800100 h 4429225"/>
              <a:gd name="connsiteX89" fmla="*/ 602002 w 4519987"/>
              <a:gd name="connsiteY89" fmla="*/ 733425 h 4429225"/>
              <a:gd name="connsiteX90" fmla="*/ 668677 w 4519987"/>
              <a:gd name="connsiteY90" fmla="*/ 676275 h 4429225"/>
              <a:gd name="connsiteX91" fmla="*/ 697252 w 4519987"/>
              <a:gd name="connsiteY91" fmla="*/ 657225 h 4429225"/>
              <a:gd name="connsiteX92" fmla="*/ 840127 w 4519987"/>
              <a:gd name="connsiteY92" fmla="*/ 533400 h 4429225"/>
              <a:gd name="connsiteX93" fmla="*/ 887752 w 4519987"/>
              <a:gd name="connsiteY93" fmla="*/ 504825 h 4429225"/>
              <a:gd name="connsiteX94" fmla="*/ 1167152 w 4519987"/>
              <a:gd name="connsiteY94" fmla="*/ 311150 h 4429225"/>
              <a:gd name="connsiteX95" fmla="*/ 1268752 w 4519987"/>
              <a:gd name="connsiteY95" fmla="*/ 285750 h 4429225"/>
              <a:gd name="connsiteX96" fmla="*/ 1411627 w 4519987"/>
              <a:gd name="connsiteY96" fmla="*/ 190500 h 4429225"/>
              <a:gd name="connsiteX97" fmla="*/ 1449727 w 4519987"/>
              <a:gd name="connsiteY97" fmla="*/ 161925 h 4429225"/>
              <a:gd name="connsiteX98" fmla="*/ 1525927 w 4519987"/>
              <a:gd name="connsiteY98" fmla="*/ 152400 h 4429225"/>
              <a:gd name="connsiteX99" fmla="*/ 1583077 w 4519987"/>
              <a:gd name="connsiteY99" fmla="*/ 142875 h 4429225"/>
              <a:gd name="connsiteX100" fmla="*/ 1716427 w 4519987"/>
              <a:gd name="connsiteY100" fmla="*/ 123825 h 4429225"/>
              <a:gd name="connsiteX101" fmla="*/ 1811677 w 4519987"/>
              <a:gd name="connsiteY101" fmla="*/ 114300 h 4429225"/>
              <a:gd name="connsiteX102" fmla="*/ 1859302 w 4519987"/>
              <a:gd name="connsiteY102" fmla="*/ 104775 h 4429225"/>
              <a:gd name="connsiteX103" fmla="*/ 1916452 w 4519987"/>
              <a:gd name="connsiteY103" fmla="*/ 95250 h 4429225"/>
              <a:gd name="connsiteX104" fmla="*/ 2030752 w 4519987"/>
              <a:gd name="connsiteY104" fmla="*/ 66675 h 4429225"/>
              <a:gd name="connsiteX105" fmla="*/ 2097427 w 4519987"/>
              <a:gd name="connsiteY105" fmla="*/ 47625 h 4429225"/>
              <a:gd name="connsiteX106" fmla="*/ 2164102 w 4519987"/>
              <a:gd name="connsiteY106" fmla="*/ 38100 h 4429225"/>
              <a:gd name="connsiteX107" fmla="*/ 2392702 w 4519987"/>
              <a:gd name="connsiteY107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611527 w 4519987"/>
              <a:gd name="connsiteY51" fmla="*/ 3733800 h 4429225"/>
              <a:gd name="connsiteX52" fmla="*/ 554377 w 4519987"/>
              <a:gd name="connsiteY52" fmla="*/ 3657600 h 4429225"/>
              <a:gd name="connsiteX53" fmla="*/ 525802 w 4519987"/>
              <a:gd name="connsiteY53" fmla="*/ 3609975 h 4429225"/>
              <a:gd name="connsiteX54" fmla="*/ 497227 w 4519987"/>
              <a:gd name="connsiteY54" fmla="*/ 3552825 h 4429225"/>
              <a:gd name="connsiteX55" fmla="*/ 440077 w 4519987"/>
              <a:gd name="connsiteY55" fmla="*/ 3495675 h 4429225"/>
              <a:gd name="connsiteX56" fmla="*/ 411502 w 4519987"/>
              <a:gd name="connsiteY56" fmla="*/ 3448050 h 4429225"/>
              <a:gd name="connsiteX57" fmla="*/ 278152 w 4519987"/>
              <a:gd name="connsiteY57" fmla="*/ 3257550 h 4429225"/>
              <a:gd name="connsiteX58" fmla="*/ 249577 w 4519987"/>
              <a:gd name="connsiteY58" fmla="*/ 3200400 h 4429225"/>
              <a:gd name="connsiteX59" fmla="*/ 240052 w 4519987"/>
              <a:gd name="connsiteY59" fmla="*/ 3162300 h 4429225"/>
              <a:gd name="connsiteX60" fmla="*/ 221002 w 4519987"/>
              <a:gd name="connsiteY60" fmla="*/ 3105150 h 4429225"/>
              <a:gd name="connsiteX61" fmla="*/ 173377 w 4519987"/>
              <a:gd name="connsiteY61" fmla="*/ 3019425 h 4429225"/>
              <a:gd name="connsiteX62" fmla="*/ 144802 w 4519987"/>
              <a:gd name="connsiteY62" fmla="*/ 2924175 h 4429225"/>
              <a:gd name="connsiteX63" fmla="*/ 68602 w 4519987"/>
              <a:gd name="connsiteY63" fmla="*/ 2724150 h 4429225"/>
              <a:gd name="connsiteX64" fmla="*/ 49552 w 4519987"/>
              <a:gd name="connsiteY64" fmla="*/ 2638425 h 4429225"/>
              <a:gd name="connsiteX65" fmla="*/ 40027 w 4519987"/>
              <a:gd name="connsiteY65" fmla="*/ 2562225 h 4429225"/>
              <a:gd name="connsiteX66" fmla="*/ 30502 w 4519987"/>
              <a:gd name="connsiteY66" fmla="*/ 2514600 h 4429225"/>
              <a:gd name="connsiteX67" fmla="*/ 11452 w 4519987"/>
              <a:gd name="connsiteY67" fmla="*/ 2400300 h 4429225"/>
              <a:gd name="connsiteX68" fmla="*/ 20977 w 4519987"/>
              <a:gd name="connsiteY68" fmla="*/ 1905000 h 4429225"/>
              <a:gd name="connsiteX69" fmla="*/ 30502 w 4519987"/>
              <a:gd name="connsiteY69" fmla="*/ 1838325 h 4429225"/>
              <a:gd name="connsiteX70" fmla="*/ 49552 w 4519987"/>
              <a:gd name="connsiteY70" fmla="*/ 1781175 h 4429225"/>
              <a:gd name="connsiteX71" fmla="*/ 59077 w 4519987"/>
              <a:gd name="connsiteY71" fmla="*/ 1743075 h 4429225"/>
              <a:gd name="connsiteX72" fmla="*/ 78127 w 4519987"/>
              <a:gd name="connsiteY72" fmla="*/ 1685925 h 4429225"/>
              <a:gd name="connsiteX73" fmla="*/ 87652 w 4519987"/>
              <a:gd name="connsiteY73" fmla="*/ 1638300 h 4429225"/>
              <a:gd name="connsiteX74" fmla="*/ 106702 w 4519987"/>
              <a:gd name="connsiteY74" fmla="*/ 1590675 h 4429225"/>
              <a:gd name="connsiteX75" fmla="*/ 135277 w 4519987"/>
              <a:gd name="connsiteY75" fmla="*/ 1504950 h 4429225"/>
              <a:gd name="connsiteX76" fmla="*/ 154327 w 4519987"/>
              <a:gd name="connsiteY76" fmla="*/ 1419225 h 4429225"/>
              <a:gd name="connsiteX77" fmla="*/ 230527 w 4519987"/>
              <a:gd name="connsiteY77" fmla="*/ 1276350 h 4429225"/>
              <a:gd name="connsiteX78" fmla="*/ 240052 w 4519987"/>
              <a:gd name="connsiteY78" fmla="*/ 1247775 h 4429225"/>
              <a:gd name="connsiteX79" fmla="*/ 268627 w 4519987"/>
              <a:gd name="connsiteY79" fmla="*/ 1200150 h 4429225"/>
              <a:gd name="connsiteX80" fmla="*/ 287677 w 4519987"/>
              <a:gd name="connsiteY80" fmla="*/ 1152525 h 4429225"/>
              <a:gd name="connsiteX81" fmla="*/ 316252 w 4519987"/>
              <a:gd name="connsiteY81" fmla="*/ 1114425 h 4429225"/>
              <a:gd name="connsiteX82" fmla="*/ 363877 w 4519987"/>
              <a:gd name="connsiteY82" fmla="*/ 1038225 h 4429225"/>
              <a:gd name="connsiteX83" fmla="*/ 382927 w 4519987"/>
              <a:gd name="connsiteY83" fmla="*/ 1009650 h 4429225"/>
              <a:gd name="connsiteX84" fmla="*/ 440077 w 4519987"/>
              <a:gd name="connsiteY84" fmla="*/ 904875 h 4429225"/>
              <a:gd name="connsiteX85" fmla="*/ 478177 w 4519987"/>
              <a:gd name="connsiteY85" fmla="*/ 857250 h 4429225"/>
              <a:gd name="connsiteX86" fmla="*/ 497227 w 4519987"/>
              <a:gd name="connsiteY86" fmla="*/ 828675 h 4429225"/>
              <a:gd name="connsiteX87" fmla="*/ 535327 w 4519987"/>
              <a:gd name="connsiteY87" fmla="*/ 800100 h 4429225"/>
              <a:gd name="connsiteX88" fmla="*/ 602002 w 4519987"/>
              <a:gd name="connsiteY88" fmla="*/ 733425 h 4429225"/>
              <a:gd name="connsiteX89" fmla="*/ 668677 w 4519987"/>
              <a:gd name="connsiteY89" fmla="*/ 676275 h 4429225"/>
              <a:gd name="connsiteX90" fmla="*/ 697252 w 4519987"/>
              <a:gd name="connsiteY90" fmla="*/ 657225 h 4429225"/>
              <a:gd name="connsiteX91" fmla="*/ 840127 w 4519987"/>
              <a:gd name="connsiteY91" fmla="*/ 533400 h 4429225"/>
              <a:gd name="connsiteX92" fmla="*/ 887752 w 4519987"/>
              <a:gd name="connsiteY92" fmla="*/ 504825 h 4429225"/>
              <a:gd name="connsiteX93" fmla="*/ 1167152 w 4519987"/>
              <a:gd name="connsiteY93" fmla="*/ 311150 h 4429225"/>
              <a:gd name="connsiteX94" fmla="*/ 1268752 w 4519987"/>
              <a:gd name="connsiteY94" fmla="*/ 285750 h 4429225"/>
              <a:gd name="connsiteX95" fmla="*/ 1411627 w 4519987"/>
              <a:gd name="connsiteY95" fmla="*/ 190500 h 4429225"/>
              <a:gd name="connsiteX96" fmla="*/ 1449727 w 4519987"/>
              <a:gd name="connsiteY96" fmla="*/ 161925 h 4429225"/>
              <a:gd name="connsiteX97" fmla="*/ 1525927 w 4519987"/>
              <a:gd name="connsiteY97" fmla="*/ 152400 h 4429225"/>
              <a:gd name="connsiteX98" fmla="*/ 1583077 w 4519987"/>
              <a:gd name="connsiteY98" fmla="*/ 142875 h 4429225"/>
              <a:gd name="connsiteX99" fmla="*/ 1716427 w 4519987"/>
              <a:gd name="connsiteY99" fmla="*/ 123825 h 4429225"/>
              <a:gd name="connsiteX100" fmla="*/ 1811677 w 4519987"/>
              <a:gd name="connsiteY100" fmla="*/ 114300 h 4429225"/>
              <a:gd name="connsiteX101" fmla="*/ 1859302 w 4519987"/>
              <a:gd name="connsiteY101" fmla="*/ 104775 h 4429225"/>
              <a:gd name="connsiteX102" fmla="*/ 1916452 w 4519987"/>
              <a:gd name="connsiteY102" fmla="*/ 95250 h 4429225"/>
              <a:gd name="connsiteX103" fmla="*/ 2030752 w 4519987"/>
              <a:gd name="connsiteY103" fmla="*/ 66675 h 4429225"/>
              <a:gd name="connsiteX104" fmla="*/ 2097427 w 4519987"/>
              <a:gd name="connsiteY104" fmla="*/ 47625 h 4429225"/>
              <a:gd name="connsiteX105" fmla="*/ 2164102 w 4519987"/>
              <a:gd name="connsiteY105" fmla="*/ 38100 h 4429225"/>
              <a:gd name="connsiteX106" fmla="*/ 2392702 w 4519987"/>
              <a:gd name="connsiteY106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525802 w 4519987"/>
              <a:gd name="connsiteY52" fmla="*/ 3609975 h 4429225"/>
              <a:gd name="connsiteX53" fmla="*/ 497227 w 4519987"/>
              <a:gd name="connsiteY53" fmla="*/ 3552825 h 4429225"/>
              <a:gd name="connsiteX54" fmla="*/ 440077 w 4519987"/>
              <a:gd name="connsiteY54" fmla="*/ 3495675 h 4429225"/>
              <a:gd name="connsiteX55" fmla="*/ 411502 w 4519987"/>
              <a:gd name="connsiteY55" fmla="*/ 3448050 h 4429225"/>
              <a:gd name="connsiteX56" fmla="*/ 278152 w 4519987"/>
              <a:gd name="connsiteY56" fmla="*/ 3257550 h 4429225"/>
              <a:gd name="connsiteX57" fmla="*/ 249577 w 4519987"/>
              <a:gd name="connsiteY57" fmla="*/ 3200400 h 4429225"/>
              <a:gd name="connsiteX58" fmla="*/ 240052 w 4519987"/>
              <a:gd name="connsiteY58" fmla="*/ 3162300 h 4429225"/>
              <a:gd name="connsiteX59" fmla="*/ 221002 w 4519987"/>
              <a:gd name="connsiteY59" fmla="*/ 3105150 h 4429225"/>
              <a:gd name="connsiteX60" fmla="*/ 173377 w 4519987"/>
              <a:gd name="connsiteY60" fmla="*/ 3019425 h 4429225"/>
              <a:gd name="connsiteX61" fmla="*/ 144802 w 4519987"/>
              <a:gd name="connsiteY61" fmla="*/ 2924175 h 4429225"/>
              <a:gd name="connsiteX62" fmla="*/ 68602 w 4519987"/>
              <a:gd name="connsiteY62" fmla="*/ 2724150 h 4429225"/>
              <a:gd name="connsiteX63" fmla="*/ 49552 w 4519987"/>
              <a:gd name="connsiteY63" fmla="*/ 2638425 h 4429225"/>
              <a:gd name="connsiteX64" fmla="*/ 40027 w 4519987"/>
              <a:gd name="connsiteY64" fmla="*/ 2562225 h 4429225"/>
              <a:gd name="connsiteX65" fmla="*/ 30502 w 4519987"/>
              <a:gd name="connsiteY65" fmla="*/ 2514600 h 4429225"/>
              <a:gd name="connsiteX66" fmla="*/ 11452 w 4519987"/>
              <a:gd name="connsiteY66" fmla="*/ 2400300 h 4429225"/>
              <a:gd name="connsiteX67" fmla="*/ 20977 w 4519987"/>
              <a:gd name="connsiteY67" fmla="*/ 1905000 h 4429225"/>
              <a:gd name="connsiteX68" fmla="*/ 30502 w 4519987"/>
              <a:gd name="connsiteY68" fmla="*/ 1838325 h 4429225"/>
              <a:gd name="connsiteX69" fmla="*/ 49552 w 4519987"/>
              <a:gd name="connsiteY69" fmla="*/ 1781175 h 4429225"/>
              <a:gd name="connsiteX70" fmla="*/ 59077 w 4519987"/>
              <a:gd name="connsiteY70" fmla="*/ 1743075 h 4429225"/>
              <a:gd name="connsiteX71" fmla="*/ 78127 w 4519987"/>
              <a:gd name="connsiteY71" fmla="*/ 1685925 h 4429225"/>
              <a:gd name="connsiteX72" fmla="*/ 87652 w 4519987"/>
              <a:gd name="connsiteY72" fmla="*/ 1638300 h 4429225"/>
              <a:gd name="connsiteX73" fmla="*/ 106702 w 4519987"/>
              <a:gd name="connsiteY73" fmla="*/ 1590675 h 4429225"/>
              <a:gd name="connsiteX74" fmla="*/ 135277 w 4519987"/>
              <a:gd name="connsiteY74" fmla="*/ 1504950 h 4429225"/>
              <a:gd name="connsiteX75" fmla="*/ 154327 w 4519987"/>
              <a:gd name="connsiteY75" fmla="*/ 1419225 h 4429225"/>
              <a:gd name="connsiteX76" fmla="*/ 230527 w 4519987"/>
              <a:gd name="connsiteY76" fmla="*/ 1276350 h 4429225"/>
              <a:gd name="connsiteX77" fmla="*/ 240052 w 4519987"/>
              <a:gd name="connsiteY77" fmla="*/ 1247775 h 4429225"/>
              <a:gd name="connsiteX78" fmla="*/ 268627 w 4519987"/>
              <a:gd name="connsiteY78" fmla="*/ 1200150 h 4429225"/>
              <a:gd name="connsiteX79" fmla="*/ 287677 w 4519987"/>
              <a:gd name="connsiteY79" fmla="*/ 1152525 h 4429225"/>
              <a:gd name="connsiteX80" fmla="*/ 316252 w 4519987"/>
              <a:gd name="connsiteY80" fmla="*/ 1114425 h 4429225"/>
              <a:gd name="connsiteX81" fmla="*/ 363877 w 4519987"/>
              <a:gd name="connsiteY81" fmla="*/ 1038225 h 4429225"/>
              <a:gd name="connsiteX82" fmla="*/ 382927 w 4519987"/>
              <a:gd name="connsiteY82" fmla="*/ 1009650 h 4429225"/>
              <a:gd name="connsiteX83" fmla="*/ 440077 w 4519987"/>
              <a:gd name="connsiteY83" fmla="*/ 904875 h 4429225"/>
              <a:gd name="connsiteX84" fmla="*/ 478177 w 4519987"/>
              <a:gd name="connsiteY84" fmla="*/ 857250 h 4429225"/>
              <a:gd name="connsiteX85" fmla="*/ 497227 w 4519987"/>
              <a:gd name="connsiteY85" fmla="*/ 828675 h 4429225"/>
              <a:gd name="connsiteX86" fmla="*/ 535327 w 4519987"/>
              <a:gd name="connsiteY86" fmla="*/ 800100 h 4429225"/>
              <a:gd name="connsiteX87" fmla="*/ 602002 w 4519987"/>
              <a:gd name="connsiteY87" fmla="*/ 733425 h 4429225"/>
              <a:gd name="connsiteX88" fmla="*/ 668677 w 4519987"/>
              <a:gd name="connsiteY88" fmla="*/ 676275 h 4429225"/>
              <a:gd name="connsiteX89" fmla="*/ 697252 w 4519987"/>
              <a:gd name="connsiteY89" fmla="*/ 657225 h 4429225"/>
              <a:gd name="connsiteX90" fmla="*/ 840127 w 4519987"/>
              <a:gd name="connsiteY90" fmla="*/ 533400 h 4429225"/>
              <a:gd name="connsiteX91" fmla="*/ 887752 w 4519987"/>
              <a:gd name="connsiteY91" fmla="*/ 504825 h 4429225"/>
              <a:gd name="connsiteX92" fmla="*/ 1167152 w 4519987"/>
              <a:gd name="connsiteY92" fmla="*/ 311150 h 4429225"/>
              <a:gd name="connsiteX93" fmla="*/ 1268752 w 4519987"/>
              <a:gd name="connsiteY93" fmla="*/ 285750 h 4429225"/>
              <a:gd name="connsiteX94" fmla="*/ 1411627 w 4519987"/>
              <a:gd name="connsiteY94" fmla="*/ 190500 h 4429225"/>
              <a:gd name="connsiteX95" fmla="*/ 1449727 w 4519987"/>
              <a:gd name="connsiteY95" fmla="*/ 161925 h 4429225"/>
              <a:gd name="connsiteX96" fmla="*/ 1525927 w 4519987"/>
              <a:gd name="connsiteY96" fmla="*/ 152400 h 4429225"/>
              <a:gd name="connsiteX97" fmla="*/ 1583077 w 4519987"/>
              <a:gd name="connsiteY97" fmla="*/ 142875 h 4429225"/>
              <a:gd name="connsiteX98" fmla="*/ 1716427 w 4519987"/>
              <a:gd name="connsiteY98" fmla="*/ 123825 h 4429225"/>
              <a:gd name="connsiteX99" fmla="*/ 1811677 w 4519987"/>
              <a:gd name="connsiteY99" fmla="*/ 114300 h 4429225"/>
              <a:gd name="connsiteX100" fmla="*/ 1859302 w 4519987"/>
              <a:gd name="connsiteY100" fmla="*/ 104775 h 4429225"/>
              <a:gd name="connsiteX101" fmla="*/ 1916452 w 4519987"/>
              <a:gd name="connsiteY101" fmla="*/ 95250 h 4429225"/>
              <a:gd name="connsiteX102" fmla="*/ 2030752 w 4519987"/>
              <a:gd name="connsiteY102" fmla="*/ 66675 h 4429225"/>
              <a:gd name="connsiteX103" fmla="*/ 2097427 w 4519987"/>
              <a:gd name="connsiteY103" fmla="*/ 47625 h 4429225"/>
              <a:gd name="connsiteX104" fmla="*/ 2164102 w 4519987"/>
              <a:gd name="connsiteY104" fmla="*/ 38100 h 4429225"/>
              <a:gd name="connsiteX105" fmla="*/ 2392702 w 4519987"/>
              <a:gd name="connsiteY105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97227 w 4519987"/>
              <a:gd name="connsiteY52" fmla="*/ 3552825 h 4429225"/>
              <a:gd name="connsiteX53" fmla="*/ 440077 w 4519987"/>
              <a:gd name="connsiteY53" fmla="*/ 3495675 h 4429225"/>
              <a:gd name="connsiteX54" fmla="*/ 411502 w 4519987"/>
              <a:gd name="connsiteY54" fmla="*/ 3448050 h 4429225"/>
              <a:gd name="connsiteX55" fmla="*/ 278152 w 4519987"/>
              <a:gd name="connsiteY55" fmla="*/ 3257550 h 4429225"/>
              <a:gd name="connsiteX56" fmla="*/ 249577 w 4519987"/>
              <a:gd name="connsiteY56" fmla="*/ 3200400 h 4429225"/>
              <a:gd name="connsiteX57" fmla="*/ 240052 w 4519987"/>
              <a:gd name="connsiteY57" fmla="*/ 3162300 h 4429225"/>
              <a:gd name="connsiteX58" fmla="*/ 221002 w 4519987"/>
              <a:gd name="connsiteY58" fmla="*/ 3105150 h 4429225"/>
              <a:gd name="connsiteX59" fmla="*/ 173377 w 4519987"/>
              <a:gd name="connsiteY59" fmla="*/ 3019425 h 4429225"/>
              <a:gd name="connsiteX60" fmla="*/ 144802 w 4519987"/>
              <a:gd name="connsiteY60" fmla="*/ 2924175 h 4429225"/>
              <a:gd name="connsiteX61" fmla="*/ 68602 w 4519987"/>
              <a:gd name="connsiteY61" fmla="*/ 2724150 h 4429225"/>
              <a:gd name="connsiteX62" fmla="*/ 49552 w 4519987"/>
              <a:gd name="connsiteY62" fmla="*/ 2638425 h 4429225"/>
              <a:gd name="connsiteX63" fmla="*/ 40027 w 4519987"/>
              <a:gd name="connsiteY63" fmla="*/ 2562225 h 4429225"/>
              <a:gd name="connsiteX64" fmla="*/ 30502 w 4519987"/>
              <a:gd name="connsiteY64" fmla="*/ 2514600 h 4429225"/>
              <a:gd name="connsiteX65" fmla="*/ 11452 w 4519987"/>
              <a:gd name="connsiteY65" fmla="*/ 2400300 h 4429225"/>
              <a:gd name="connsiteX66" fmla="*/ 20977 w 4519987"/>
              <a:gd name="connsiteY66" fmla="*/ 1905000 h 4429225"/>
              <a:gd name="connsiteX67" fmla="*/ 30502 w 4519987"/>
              <a:gd name="connsiteY67" fmla="*/ 1838325 h 4429225"/>
              <a:gd name="connsiteX68" fmla="*/ 49552 w 4519987"/>
              <a:gd name="connsiteY68" fmla="*/ 1781175 h 4429225"/>
              <a:gd name="connsiteX69" fmla="*/ 59077 w 4519987"/>
              <a:gd name="connsiteY69" fmla="*/ 1743075 h 4429225"/>
              <a:gd name="connsiteX70" fmla="*/ 78127 w 4519987"/>
              <a:gd name="connsiteY70" fmla="*/ 1685925 h 4429225"/>
              <a:gd name="connsiteX71" fmla="*/ 87652 w 4519987"/>
              <a:gd name="connsiteY71" fmla="*/ 1638300 h 4429225"/>
              <a:gd name="connsiteX72" fmla="*/ 106702 w 4519987"/>
              <a:gd name="connsiteY72" fmla="*/ 1590675 h 4429225"/>
              <a:gd name="connsiteX73" fmla="*/ 135277 w 4519987"/>
              <a:gd name="connsiteY73" fmla="*/ 1504950 h 4429225"/>
              <a:gd name="connsiteX74" fmla="*/ 154327 w 4519987"/>
              <a:gd name="connsiteY74" fmla="*/ 1419225 h 4429225"/>
              <a:gd name="connsiteX75" fmla="*/ 230527 w 4519987"/>
              <a:gd name="connsiteY75" fmla="*/ 1276350 h 4429225"/>
              <a:gd name="connsiteX76" fmla="*/ 240052 w 4519987"/>
              <a:gd name="connsiteY76" fmla="*/ 1247775 h 4429225"/>
              <a:gd name="connsiteX77" fmla="*/ 268627 w 4519987"/>
              <a:gd name="connsiteY77" fmla="*/ 1200150 h 4429225"/>
              <a:gd name="connsiteX78" fmla="*/ 287677 w 4519987"/>
              <a:gd name="connsiteY78" fmla="*/ 1152525 h 4429225"/>
              <a:gd name="connsiteX79" fmla="*/ 316252 w 4519987"/>
              <a:gd name="connsiteY79" fmla="*/ 1114425 h 4429225"/>
              <a:gd name="connsiteX80" fmla="*/ 363877 w 4519987"/>
              <a:gd name="connsiteY80" fmla="*/ 1038225 h 4429225"/>
              <a:gd name="connsiteX81" fmla="*/ 382927 w 4519987"/>
              <a:gd name="connsiteY81" fmla="*/ 1009650 h 4429225"/>
              <a:gd name="connsiteX82" fmla="*/ 440077 w 4519987"/>
              <a:gd name="connsiteY82" fmla="*/ 904875 h 4429225"/>
              <a:gd name="connsiteX83" fmla="*/ 478177 w 4519987"/>
              <a:gd name="connsiteY83" fmla="*/ 857250 h 4429225"/>
              <a:gd name="connsiteX84" fmla="*/ 497227 w 4519987"/>
              <a:gd name="connsiteY84" fmla="*/ 828675 h 4429225"/>
              <a:gd name="connsiteX85" fmla="*/ 535327 w 4519987"/>
              <a:gd name="connsiteY85" fmla="*/ 800100 h 4429225"/>
              <a:gd name="connsiteX86" fmla="*/ 602002 w 4519987"/>
              <a:gd name="connsiteY86" fmla="*/ 733425 h 4429225"/>
              <a:gd name="connsiteX87" fmla="*/ 668677 w 4519987"/>
              <a:gd name="connsiteY87" fmla="*/ 676275 h 4429225"/>
              <a:gd name="connsiteX88" fmla="*/ 697252 w 4519987"/>
              <a:gd name="connsiteY88" fmla="*/ 657225 h 4429225"/>
              <a:gd name="connsiteX89" fmla="*/ 840127 w 4519987"/>
              <a:gd name="connsiteY89" fmla="*/ 533400 h 4429225"/>
              <a:gd name="connsiteX90" fmla="*/ 887752 w 4519987"/>
              <a:gd name="connsiteY90" fmla="*/ 504825 h 4429225"/>
              <a:gd name="connsiteX91" fmla="*/ 1167152 w 4519987"/>
              <a:gd name="connsiteY91" fmla="*/ 311150 h 4429225"/>
              <a:gd name="connsiteX92" fmla="*/ 1268752 w 4519987"/>
              <a:gd name="connsiteY92" fmla="*/ 285750 h 4429225"/>
              <a:gd name="connsiteX93" fmla="*/ 1411627 w 4519987"/>
              <a:gd name="connsiteY93" fmla="*/ 190500 h 4429225"/>
              <a:gd name="connsiteX94" fmla="*/ 1449727 w 4519987"/>
              <a:gd name="connsiteY94" fmla="*/ 161925 h 4429225"/>
              <a:gd name="connsiteX95" fmla="*/ 1525927 w 4519987"/>
              <a:gd name="connsiteY95" fmla="*/ 152400 h 4429225"/>
              <a:gd name="connsiteX96" fmla="*/ 1583077 w 4519987"/>
              <a:gd name="connsiteY96" fmla="*/ 142875 h 4429225"/>
              <a:gd name="connsiteX97" fmla="*/ 1716427 w 4519987"/>
              <a:gd name="connsiteY97" fmla="*/ 123825 h 4429225"/>
              <a:gd name="connsiteX98" fmla="*/ 1811677 w 4519987"/>
              <a:gd name="connsiteY98" fmla="*/ 114300 h 4429225"/>
              <a:gd name="connsiteX99" fmla="*/ 1859302 w 4519987"/>
              <a:gd name="connsiteY99" fmla="*/ 104775 h 4429225"/>
              <a:gd name="connsiteX100" fmla="*/ 1916452 w 4519987"/>
              <a:gd name="connsiteY100" fmla="*/ 95250 h 4429225"/>
              <a:gd name="connsiteX101" fmla="*/ 2030752 w 4519987"/>
              <a:gd name="connsiteY101" fmla="*/ 66675 h 4429225"/>
              <a:gd name="connsiteX102" fmla="*/ 2097427 w 4519987"/>
              <a:gd name="connsiteY102" fmla="*/ 47625 h 4429225"/>
              <a:gd name="connsiteX103" fmla="*/ 2164102 w 4519987"/>
              <a:gd name="connsiteY103" fmla="*/ 38100 h 4429225"/>
              <a:gd name="connsiteX104" fmla="*/ 2392702 w 4519987"/>
              <a:gd name="connsiteY104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97227 w 4519987"/>
              <a:gd name="connsiteY52" fmla="*/ 3552825 h 4429225"/>
              <a:gd name="connsiteX53" fmla="*/ 440077 w 4519987"/>
              <a:gd name="connsiteY53" fmla="*/ 3495675 h 4429225"/>
              <a:gd name="connsiteX54" fmla="*/ 278152 w 4519987"/>
              <a:gd name="connsiteY54" fmla="*/ 3257550 h 4429225"/>
              <a:gd name="connsiteX55" fmla="*/ 249577 w 4519987"/>
              <a:gd name="connsiteY55" fmla="*/ 3200400 h 4429225"/>
              <a:gd name="connsiteX56" fmla="*/ 240052 w 4519987"/>
              <a:gd name="connsiteY56" fmla="*/ 3162300 h 4429225"/>
              <a:gd name="connsiteX57" fmla="*/ 221002 w 4519987"/>
              <a:gd name="connsiteY57" fmla="*/ 3105150 h 4429225"/>
              <a:gd name="connsiteX58" fmla="*/ 173377 w 4519987"/>
              <a:gd name="connsiteY58" fmla="*/ 3019425 h 4429225"/>
              <a:gd name="connsiteX59" fmla="*/ 144802 w 4519987"/>
              <a:gd name="connsiteY59" fmla="*/ 2924175 h 4429225"/>
              <a:gd name="connsiteX60" fmla="*/ 68602 w 4519987"/>
              <a:gd name="connsiteY60" fmla="*/ 2724150 h 4429225"/>
              <a:gd name="connsiteX61" fmla="*/ 49552 w 4519987"/>
              <a:gd name="connsiteY61" fmla="*/ 2638425 h 4429225"/>
              <a:gd name="connsiteX62" fmla="*/ 40027 w 4519987"/>
              <a:gd name="connsiteY62" fmla="*/ 2562225 h 4429225"/>
              <a:gd name="connsiteX63" fmla="*/ 30502 w 4519987"/>
              <a:gd name="connsiteY63" fmla="*/ 2514600 h 4429225"/>
              <a:gd name="connsiteX64" fmla="*/ 11452 w 4519987"/>
              <a:gd name="connsiteY64" fmla="*/ 2400300 h 4429225"/>
              <a:gd name="connsiteX65" fmla="*/ 20977 w 4519987"/>
              <a:gd name="connsiteY65" fmla="*/ 1905000 h 4429225"/>
              <a:gd name="connsiteX66" fmla="*/ 30502 w 4519987"/>
              <a:gd name="connsiteY66" fmla="*/ 1838325 h 4429225"/>
              <a:gd name="connsiteX67" fmla="*/ 49552 w 4519987"/>
              <a:gd name="connsiteY67" fmla="*/ 1781175 h 4429225"/>
              <a:gd name="connsiteX68" fmla="*/ 59077 w 4519987"/>
              <a:gd name="connsiteY68" fmla="*/ 1743075 h 4429225"/>
              <a:gd name="connsiteX69" fmla="*/ 78127 w 4519987"/>
              <a:gd name="connsiteY69" fmla="*/ 1685925 h 4429225"/>
              <a:gd name="connsiteX70" fmla="*/ 87652 w 4519987"/>
              <a:gd name="connsiteY70" fmla="*/ 1638300 h 4429225"/>
              <a:gd name="connsiteX71" fmla="*/ 106702 w 4519987"/>
              <a:gd name="connsiteY71" fmla="*/ 1590675 h 4429225"/>
              <a:gd name="connsiteX72" fmla="*/ 135277 w 4519987"/>
              <a:gd name="connsiteY72" fmla="*/ 1504950 h 4429225"/>
              <a:gd name="connsiteX73" fmla="*/ 154327 w 4519987"/>
              <a:gd name="connsiteY73" fmla="*/ 1419225 h 4429225"/>
              <a:gd name="connsiteX74" fmla="*/ 230527 w 4519987"/>
              <a:gd name="connsiteY74" fmla="*/ 1276350 h 4429225"/>
              <a:gd name="connsiteX75" fmla="*/ 240052 w 4519987"/>
              <a:gd name="connsiteY75" fmla="*/ 1247775 h 4429225"/>
              <a:gd name="connsiteX76" fmla="*/ 268627 w 4519987"/>
              <a:gd name="connsiteY76" fmla="*/ 1200150 h 4429225"/>
              <a:gd name="connsiteX77" fmla="*/ 287677 w 4519987"/>
              <a:gd name="connsiteY77" fmla="*/ 1152525 h 4429225"/>
              <a:gd name="connsiteX78" fmla="*/ 316252 w 4519987"/>
              <a:gd name="connsiteY78" fmla="*/ 1114425 h 4429225"/>
              <a:gd name="connsiteX79" fmla="*/ 363877 w 4519987"/>
              <a:gd name="connsiteY79" fmla="*/ 1038225 h 4429225"/>
              <a:gd name="connsiteX80" fmla="*/ 382927 w 4519987"/>
              <a:gd name="connsiteY80" fmla="*/ 1009650 h 4429225"/>
              <a:gd name="connsiteX81" fmla="*/ 440077 w 4519987"/>
              <a:gd name="connsiteY81" fmla="*/ 904875 h 4429225"/>
              <a:gd name="connsiteX82" fmla="*/ 478177 w 4519987"/>
              <a:gd name="connsiteY82" fmla="*/ 857250 h 4429225"/>
              <a:gd name="connsiteX83" fmla="*/ 497227 w 4519987"/>
              <a:gd name="connsiteY83" fmla="*/ 828675 h 4429225"/>
              <a:gd name="connsiteX84" fmla="*/ 535327 w 4519987"/>
              <a:gd name="connsiteY84" fmla="*/ 800100 h 4429225"/>
              <a:gd name="connsiteX85" fmla="*/ 602002 w 4519987"/>
              <a:gd name="connsiteY85" fmla="*/ 733425 h 4429225"/>
              <a:gd name="connsiteX86" fmla="*/ 668677 w 4519987"/>
              <a:gd name="connsiteY86" fmla="*/ 676275 h 4429225"/>
              <a:gd name="connsiteX87" fmla="*/ 697252 w 4519987"/>
              <a:gd name="connsiteY87" fmla="*/ 657225 h 4429225"/>
              <a:gd name="connsiteX88" fmla="*/ 840127 w 4519987"/>
              <a:gd name="connsiteY88" fmla="*/ 533400 h 4429225"/>
              <a:gd name="connsiteX89" fmla="*/ 887752 w 4519987"/>
              <a:gd name="connsiteY89" fmla="*/ 504825 h 4429225"/>
              <a:gd name="connsiteX90" fmla="*/ 1167152 w 4519987"/>
              <a:gd name="connsiteY90" fmla="*/ 311150 h 4429225"/>
              <a:gd name="connsiteX91" fmla="*/ 1268752 w 4519987"/>
              <a:gd name="connsiteY91" fmla="*/ 285750 h 4429225"/>
              <a:gd name="connsiteX92" fmla="*/ 1411627 w 4519987"/>
              <a:gd name="connsiteY92" fmla="*/ 190500 h 4429225"/>
              <a:gd name="connsiteX93" fmla="*/ 1449727 w 4519987"/>
              <a:gd name="connsiteY93" fmla="*/ 161925 h 4429225"/>
              <a:gd name="connsiteX94" fmla="*/ 1525927 w 4519987"/>
              <a:gd name="connsiteY94" fmla="*/ 152400 h 4429225"/>
              <a:gd name="connsiteX95" fmla="*/ 1583077 w 4519987"/>
              <a:gd name="connsiteY95" fmla="*/ 142875 h 4429225"/>
              <a:gd name="connsiteX96" fmla="*/ 1716427 w 4519987"/>
              <a:gd name="connsiteY96" fmla="*/ 123825 h 4429225"/>
              <a:gd name="connsiteX97" fmla="*/ 1811677 w 4519987"/>
              <a:gd name="connsiteY97" fmla="*/ 114300 h 4429225"/>
              <a:gd name="connsiteX98" fmla="*/ 1859302 w 4519987"/>
              <a:gd name="connsiteY98" fmla="*/ 104775 h 4429225"/>
              <a:gd name="connsiteX99" fmla="*/ 1916452 w 4519987"/>
              <a:gd name="connsiteY99" fmla="*/ 95250 h 4429225"/>
              <a:gd name="connsiteX100" fmla="*/ 2030752 w 4519987"/>
              <a:gd name="connsiteY100" fmla="*/ 66675 h 4429225"/>
              <a:gd name="connsiteX101" fmla="*/ 2097427 w 4519987"/>
              <a:gd name="connsiteY101" fmla="*/ 47625 h 4429225"/>
              <a:gd name="connsiteX102" fmla="*/ 2164102 w 4519987"/>
              <a:gd name="connsiteY102" fmla="*/ 38100 h 4429225"/>
              <a:gd name="connsiteX103" fmla="*/ 2392702 w 4519987"/>
              <a:gd name="connsiteY103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40077 w 4519987"/>
              <a:gd name="connsiteY52" fmla="*/ 3495675 h 4429225"/>
              <a:gd name="connsiteX53" fmla="*/ 278152 w 4519987"/>
              <a:gd name="connsiteY53" fmla="*/ 3257550 h 4429225"/>
              <a:gd name="connsiteX54" fmla="*/ 249577 w 4519987"/>
              <a:gd name="connsiteY54" fmla="*/ 3200400 h 4429225"/>
              <a:gd name="connsiteX55" fmla="*/ 240052 w 4519987"/>
              <a:gd name="connsiteY55" fmla="*/ 3162300 h 4429225"/>
              <a:gd name="connsiteX56" fmla="*/ 221002 w 4519987"/>
              <a:gd name="connsiteY56" fmla="*/ 3105150 h 4429225"/>
              <a:gd name="connsiteX57" fmla="*/ 173377 w 4519987"/>
              <a:gd name="connsiteY57" fmla="*/ 3019425 h 4429225"/>
              <a:gd name="connsiteX58" fmla="*/ 144802 w 4519987"/>
              <a:gd name="connsiteY58" fmla="*/ 2924175 h 4429225"/>
              <a:gd name="connsiteX59" fmla="*/ 68602 w 4519987"/>
              <a:gd name="connsiteY59" fmla="*/ 2724150 h 4429225"/>
              <a:gd name="connsiteX60" fmla="*/ 49552 w 4519987"/>
              <a:gd name="connsiteY60" fmla="*/ 2638425 h 4429225"/>
              <a:gd name="connsiteX61" fmla="*/ 40027 w 4519987"/>
              <a:gd name="connsiteY61" fmla="*/ 2562225 h 4429225"/>
              <a:gd name="connsiteX62" fmla="*/ 30502 w 4519987"/>
              <a:gd name="connsiteY62" fmla="*/ 2514600 h 4429225"/>
              <a:gd name="connsiteX63" fmla="*/ 11452 w 4519987"/>
              <a:gd name="connsiteY63" fmla="*/ 2400300 h 4429225"/>
              <a:gd name="connsiteX64" fmla="*/ 20977 w 4519987"/>
              <a:gd name="connsiteY64" fmla="*/ 1905000 h 4429225"/>
              <a:gd name="connsiteX65" fmla="*/ 30502 w 4519987"/>
              <a:gd name="connsiteY65" fmla="*/ 1838325 h 4429225"/>
              <a:gd name="connsiteX66" fmla="*/ 49552 w 4519987"/>
              <a:gd name="connsiteY66" fmla="*/ 1781175 h 4429225"/>
              <a:gd name="connsiteX67" fmla="*/ 59077 w 4519987"/>
              <a:gd name="connsiteY67" fmla="*/ 1743075 h 4429225"/>
              <a:gd name="connsiteX68" fmla="*/ 78127 w 4519987"/>
              <a:gd name="connsiteY68" fmla="*/ 1685925 h 4429225"/>
              <a:gd name="connsiteX69" fmla="*/ 87652 w 4519987"/>
              <a:gd name="connsiteY69" fmla="*/ 1638300 h 4429225"/>
              <a:gd name="connsiteX70" fmla="*/ 106702 w 4519987"/>
              <a:gd name="connsiteY70" fmla="*/ 1590675 h 4429225"/>
              <a:gd name="connsiteX71" fmla="*/ 135277 w 4519987"/>
              <a:gd name="connsiteY71" fmla="*/ 1504950 h 4429225"/>
              <a:gd name="connsiteX72" fmla="*/ 154327 w 4519987"/>
              <a:gd name="connsiteY72" fmla="*/ 1419225 h 4429225"/>
              <a:gd name="connsiteX73" fmla="*/ 230527 w 4519987"/>
              <a:gd name="connsiteY73" fmla="*/ 1276350 h 4429225"/>
              <a:gd name="connsiteX74" fmla="*/ 240052 w 4519987"/>
              <a:gd name="connsiteY74" fmla="*/ 1247775 h 4429225"/>
              <a:gd name="connsiteX75" fmla="*/ 268627 w 4519987"/>
              <a:gd name="connsiteY75" fmla="*/ 1200150 h 4429225"/>
              <a:gd name="connsiteX76" fmla="*/ 287677 w 4519987"/>
              <a:gd name="connsiteY76" fmla="*/ 1152525 h 4429225"/>
              <a:gd name="connsiteX77" fmla="*/ 316252 w 4519987"/>
              <a:gd name="connsiteY77" fmla="*/ 1114425 h 4429225"/>
              <a:gd name="connsiteX78" fmla="*/ 363877 w 4519987"/>
              <a:gd name="connsiteY78" fmla="*/ 1038225 h 4429225"/>
              <a:gd name="connsiteX79" fmla="*/ 382927 w 4519987"/>
              <a:gd name="connsiteY79" fmla="*/ 1009650 h 4429225"/>
              <a:gd name="connsiteX80" fmla="*/ 440077 w 4519987"/>
              <a:gd name="connsiteY80" fmla="*/ 904875 h 4429225"/>
              <a:gd name="connsiteX81" fmla="*/ 478177 w 4519987"/>
              <a:gd name="connsiteY81" fmla="*/ 857250 h 4429225"/>
              <a:gd name="connsiteX82" fmla="*/ 497227 w 4519987"/>
              <a:gd name="connsiteY82" fmla="*/ 828675 h 4429225"/>
              <a:gd name="connsiteX83" fmla="*/ 535327 w 4519987"/>
              <a:gd name="connsiteY83" fmla="*/ 800100 h 4429225"/>
              <a:gd name="connsiteX84" fmla="*/ 602002 w 4519987"/>
              <a:gd name="connsiteY84" fmla="*/ 733425 h 4429225"/>
              <a:gd name="connsiteX85" fmla="*/ 668677 w 4519987"/>
              <a:gd name="connsiteY85" fmla="*/ 676275 h 4429225"/>
              <a:gd name="connsiteX86" fmla="*/ 697252 w 4519987"/>
              <a:gd name="connsiteY86" fmla="*/ 657225 h 4429225"/>
              <a:gd name="connsiteX87" fmla="*/ 840127 w 4519987"/>
              <a:gd name="connsiteY87" fmla="*/ 533400 h 4429225"/>
              <a:gd name="connsiteX88" fmla="*/ 887752 w 4519987"/>
              <a:gd name="connsiteY88" fmla="*/ 504825 h 4429225"/>
              <a:gd name="connsiteX89" fmla="*/ 1167152 w 4519987"/>
              <a:gd name="connsiteY89" fmla="*/ 311150 h 4429225"/>
              <a:gd name="connsiteX90" fmla="*/ 1268752 w 4519987"/>
              <a:gd name="connsiteY90" fmla="*/ 285750 h 4429225"/>
              <a:gd name="connsiteX91" fmla="*/ 1411627 w 4519987"/>
              <a:gd name="connsiteY91" fmla="*/ 190500 h 4429225"/>
              <a:gd name="connsiteX92" fmla="*/ 1449727 w 4519987"/>
              <a:gd name="connsiteY92" fmla="*/ 161925 h 4429225"/>
              <a:gd name="connsiteX93" fmla="*/ 1525927 w 4519987"/>
              <a:gd name="connsiteY93" fmla="*/ 152400 h 4429225"/>
              <a:gd name="connsiteX94" fmla="*/ 1583077 w 4519987"/>
              <a:gd name="connsiteY94" fmla="*/ 142875 h 4429225"/>
              <a:gd name="connsiteX95" fmla="*/ 1716427 w 4519987"/>
              <a:gd name="connsiteY95" fmla="*/ 123825 h 4429225"/>
              <a:gd name="connsiteX96" fmla="*/ 1811677 w 4519987"/>
              <a:gd name="connsiteY96" fmla="*/ 114300 h 4429225"/>
              <a:gd name="connsiteX97" fmla="*/ 1859302 w 4519987"/>
              <a:gd name="connsiteY97" fmla="*/ 104775 h 4429225"/>
              <a:gd name="connsiteX98" fmla="*/ 1916452 w 4519987"/>
              <a:gd name="connsiteY98" fmla="*/ 95250 h 4429225"/>
              <a:gd name="connsiteX99" fmla="*/ 2030752 w 4519987"/>
              <a:gd name="connsiteY99" fmla="*/ 66675 h 4429225"/>
              <a:gd name="connsiteX100" fmla="*/ 2097427 w 4519987"/>
              <a:gd name="connsiteY100" fmla="*/ 47625 h 4429225"/>
              <a:gd name="connsiteX101" fmla="*/ 2164102 w 4519987"/>
              <a:gd name="connsiteY101" fmla="*/ 38100 h 4429225"/>
              <a:gd name="connsiteX102" fmla="*/ 2392702 w 4519987"/>
              <a:gd name="connsiteY102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49577 w 4519987"/>
              <a:gd name="connsiteY53" fmla="*/ 3200400 h 4429225"/>
              <a:gd name="connsiteX54" fmla="*/ 240052 w 4519987"/>
              <a:gd name="connsiteY54" fmla="*/ 3162300 h 4429225"/>
              <a:gd name="connsiteX55" fmla="*/ 221002 w 4519987"/>
              <a:gd name="connsiteY55" fmla="*/ 3105150 h 4429225"/>
              <a:gd name="connsiteX56" fmla="*/ 173377 w 4519987"/>
              <a:gd name="connsiteY56" fmla="*/ 3019425 h 4429225"/>
              <a:gd name="connsiteX57" fmla="*/ 144802 w 4519987"/>
              <a:gd name="connsiteY57" fmla="*/ 2924175 h 4429225"/>
              <a:gd name="connsiteX58" fmla="*/ 68602 w 4519987"/>
              <a:gd name="connsiteY58" fmla="*/ 2724150 h 4429225"/>
              <a:gd name="connsiteX59" fmla="*/ 49552 w 4519987"/>
              <a:gd name="connsiteY59" fmla="*/ 2638425 h 4429225"/>
              <a:gd name="connsiteX60" fmla="*/ 40027 w 4519987"/>
              <a:gd name="connsiteY60" fmla="*/ 2562225 h 4429225"/>
              <a:gd name="connsiteX61" fmla="*/ 30502 w 4519987"/>
              <a:gd name="connsiteY61" fmla="*/ 2514600 h 4429225"/>
              <a:gd name="connsiteX62" fmla="*/ 11452 w 4519987"/>
              <a:gd name="connsiteY62" fmla="*/ 2400300 h 4429225"/>
              <a:gd name="connsiteX63" fmla="*/ 20977 w 4519987"/>
              <a:gd name="connsiteY63" fmla="*/ 1905000 h 4429225"/>
              <a:gd name="connsiteX64" fmla="*/ 30502 w 4519987"/>
              <a:gd name="connsiteY64" fmla="*/ 1838325 h 4429225"/>
              <a:gd name="connsiteX65" fmla="*/ 49552 w 4519987"/>
              <a:gd name="connsiteY65" fmla="*/ 1781175 h 4429225"/>
              <a:gd name="connsiteX66" fmla="*/ 59077 w 4519987"/>
              <a:gd name="connsiteY66" fmla="*/ 1743075 h 4429225"/>
              <a:gd name="connsiteX67" fmla="*/ 78127 w 4519987"/>
              <a:gd name="connsiteY67" fmla="*/ 1685925 h 4429225"/>
              <a:gd name="connsiteX68" fmla="*/ 87652 w 4519987"/>
              <a:gd name="connsiteY68" fmla="*/ 1638300 h 4429225"/>
              <a:gd name="connsiteX69" fmla="*/ 106702 w 4519987"/>
              <a:gd name="connsiteY69" fmla="*/ 1590675 h 4429225"/>
              <a:gd name="connsiteX70" fmla="*/ 135277 w 4519987"/>
              <a:gd name="connsiteY70" fmla="*/ 1504950 h 4429225"/>
              <a:gd name="connsiteX71" fmla="*/ 154327 w 4519987"/>
              <a:gd name="connsiteY71" fmla="*/ 1419225 h 4429225"/>
              <a:gd name="connsiteX72" fmla="*/ 230527 w 4519987"/>
              <a:gd name="connsiteY72" fmla="*/ 1276350 h 4429225"/>
              <a:gd name="connsiteX73" fmla="*/ 240052 w 4519987"/>
              <a:gd name="connsiteY73" fmla="*/ 1247775 h 4429225"/>
              <a:gd name="connsiteX74" fmla="*/ 268627 w 4519987"/>
              <a:gd name="connsiteY74" fmla="*/ 1200150 h 4429225"/>
              <a:gd name="connsiteX75" fmla="*/ 287677 w 4519987"/>
              <a:gd name="connsiteY75" fmla="*/ 1152525 h 4429225"/>
              <a:gd name="connsiteX76" fmla="*/ 316252 w 4519987"/>
              <a:gd name="connsiteY76" fmla="*/ 1114425 h 4429225"/>
              <a:gd name="connsiteX77" fmla="*/ 363877 w 4519987"/>
              <a:gd name="connsiteY77" fmla="*/ 1038225 h 4429225"/>
              <a:gd name="connsiteX78" fmla="*/ 382927 w 4519987"/>
              <a:gd name="connsiteY78" fmla="*/ 1009650 h 4429225"/>
              <a:gd name="connsiteX79" fmla="*/ 440077 w 4519987"/>
              <a:gd name="connsiteY79" fmla="*/ 904875 h 4429225"/>
              <a:gd name="connsiteX80" fmla="*/ 478177 w 4519987"/>
              <a:gd name="connsiteY80" fmla="*/ 857250 h 4429225"/>
              <a:gd name="connsiteX81" fmla="*/ 497227 w 4519987"/>
              <a:gd name="connsiteY81" fmla="*/ 828675 h 4429225"/>
              <a:gd name="connsiteX82" fmla="*/ 535327 w 4519987"/>
              <a:gd name="connsiteY82" fmla="*/ 800100 h 4429225"/>
              <a:gd name="connsiteX83" fmla="*/ 602002 w 4519987"/>
              <a:gd name="connsiteY83" fmla="*/ 733425 h 4429225"/>
              <a:gd name="connsiteX84" fmla="*/ 668677 w 4519987"/>
              <a:gd name="connsiteY84" fmla="*/ 676275 h 4429225"/>
              <a:gd name="connsiteX85" fmla="*/ 697252 w 4519987"/>
              <a:gd name="connsiteY85" fmla="*/ 657225 h 4429225"/>
              <a:gd name="connsiteX86" fmla="*/ 840127 w 4519987"/>
              <a:gd name="connsiteY86" fmla="*/ 533400 h 4429225"/>
              <a:gd name="connsiteX87" fmla="*/ 887752 w 4519987"/>
              <a:gd name="connsiteY87" fmla="*/ 504825 h 4429225"/>
              <a:gd name="connsiteX88" fmla="*/ 1167152 w 4519987"/>
              <a:gd name="connsiteY88" fmla="*/ 311150 h 4429225"/>
              <a:gd name="connsiteX89" fmla="*/ 1268752 w 4519987"/>
              <a:gd name="connsiteY89" fmla="*/ 285750 h 4429225"/>
              <a:gd name="connsiteX90" fmla="*/ 1411627 w 4519987"/>
              <a:gd name="connsiteY90" fmla="*/ 190500 h 4429225"/>
              <a:gd name="connsiteX91" fmla="*/ 1449727 w 4519987"/>
              <a:gd name="connsiteY91" fmla="*/ 161925 h 4429225"/>
              <a:gd name="connsiteX92" fmla="*/ 1525927 w 4519987"/>
              <a:gd name="connsiteY92" fmla="*/ 152400 h 4429225"/>
              <a:gd name="connsiteX93" fmla="*/ 1583077 w 4519987"/>
              <a:gd name="connsiteY93" fmla="*/ 142875 h 4429225"/>
              <a:gd name="connsiteX94" fmla="*/ 1716427 w 4519987"/>
              <a:gd name="connsiteY94" fmla="*/ 123825 h 4429225"/>
              <a:gd name="connsiteX95" fmla="*/ 1811677 w 4519987"/>
              <a:gd name="connsiteY95" fmla="*/ 114300 h 4429225"/>
              <a:gd name="connsiteX96" fmla="*/ 1859302 w 4519987"/>
              <a:gd name="connsiteY96" fmla="*/ 104775 h 4429225"/>
              <a:gd name="connsiteX97" fmla="*/ 1916452 w 4519987"/>
              <a:gd name="connsiteY97" fmla="*/ 95250 h 4429225"/>
              <a:gd name="connsiteX98" fmla="*/ 2030752 w 4519987"/>
              <a:gd name="connsiteY98" fmla="*/ 66675 h 4429225"/>
              <a:gd name="connsiteX99" fmla="*/ 2097427 w 4519987"/>
              <a:gd name="connsiteY99" fmla="*/ 47625 h 4429225"/>
              <a:gd name="connsiteX100" fmla="*/ 2164102 w 4519987"/>
              <a:gd name="connsiteY100" fmla="*/ 38100 h 4429225"/>
              <a:gd name="connsiteX101" fmla="*/ 2392702 w 4519987"/>
              <a:gd name="connsiteY101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49577 w 4519987"/>
              <a:gd name="connsiteY53" fmla="*/ 3200400 h 4429225"/>
              <a:gd name="connsiteX54" fmla="*/ 221002 w 4519987"/>
              <a:gd name="connsiteY54" fmla="*/ 3105150 h 4429225"/>
              <a:gd name="connsiteX55" fmla="*/ 173377 w 4519987"/>
              <a:gd name="connsiteY55" fmla="*/ 3019425 h 4429225"/>
              <a:gd name="connsiteX56" fmla="*/ 144802 w 4519987"/>
              <a:gd name="connsiteY56" fmla="*/ 2924175 h 4429225"/>
              <a:gd name="connsiteX57" fmla="*/ 68602 w 4519987"/>
              <a:gd name="connsiteY57" fmla="*/ 2724150 h 4429225"/>
              <a:gd name="connsiteX58" fmla="*/ 49552 w 4519987"/>
              <a:gd name="connsiteY58" fmla="*/ 2638425 h 4429225"/>
              <a:gd name="connsiteX59" fmla="*/ 40027 w 4519987"/>
              <a:gd name="connsiteY59" fmla="*/ 2562225 h 4429225"/>
              <a:gd name="connsiteX60" fmla="*/ 30502 w 4519987"/>
              <a:gd name="connsiteY60" fmla="*/ 2514600 h 4429225"/>
              <a:gd name="connsiteX61" fmla="*/ 11452 w 4519987"/>
              <a:gd name="connsiteY61" fmla="*/ 2400300 h 4429225"/>
              <a:gd name="connsiteX62" fmla="*/ 20977 w 4519987"/>
              <a:gd name="connsiteY62" fmla="*/ 1905000 h 4429225"/>
              <a:gd name="connsiteX63" fmla="*/ 30502 w 4519987"/>
              <a:gd name="connsiteY63" fmla="*/ 1838325 h 4429225"/>
              <a:gd name="connsiteX64" fmla="*/ 49552 w 4519987"/>
              <a:gd name="connsiteY64" fmla="*/ 1781175 h 4429225"/>
              <a:gd name="connsiteX65" fmla="*/ 59077 w 4519987"/>
              <a:gd name="connsiteY65" fmla="*/ 1743075 h 4429225"/>
              <a:gd name="connsiteX66" fmla="*/ 78127 w 4519987"/>
              <a:gd name="connsiteY66" fmla="*/ 1685925 h 4429225"/>
              <a:gd name="connsiteX67" fmla="*/ 87652 w 4519987"/>
              <a:gd name="connsiteY67" fmla="*/ 1638300 h 4429225"/>
              <a:gd name="connsiteX68" fmla="*/ 106702 w 4519987"/>
              <a:gd name="connsiteY68" fmla="*/ 1590675 h 4429225"/>
              <a:gd name="connsiteX69" fmla="*/ 135277 w 4519987"/>
              <a:gd name="connsiteY69" fmla="*/ 1504950 h 4429225"/>
              <a:gd name="connsiteX70" fmla="*/ 154327 w 4519987"/>
              <a:gd name="connsiteY70" fmla="*/ 1419225 h 4429225"/>
              <a:gd name="connsiteX71" fmla="*/ 230527 w 4519987"/>
              <a:gd name="connsiteY71" fmla="*/ 1276350 h 4429225"/>
              <a:gd name="connsiteX72" fmla="*/ 240052 w 4519987"/>
              <a:gd name="connsiteY72" fmla="*/ 1247775 h 4429225"/>
              <a:gd name="connsiteX73" fmla="*/ 268627 w 4519987"/>
              <a:gd name="connsiteY73" fmla="*/ 1200150 h 4429225"/>
              <a:gd name="connsiteX74" fmla="*/ 287677 w 4519987"/>
              <a:gd name="connsiteY74" fmla="*/ 1152525 h 4429225"/>
              <a:gd name="connsiteX75" fmla="*/ 316252 w 4519987"/>
              <a:gd name="connsiteY75" fmla="*/ 1114425 h 4429225"/>
              <a:gd name="connsiteX76" fmla="*/ 363877 w 4519987"/>
              <a:gd name="connsiteY76" fmla="*/ 1038225 h 4429225"/>
              <a:gd name="connsiteX77" fmla="*/ 382927 w 4519987"/>
              <a:gd name="connsiteY77" fmla="*/ 1009650 h 4429225"/>
              <a:gd name="connsiteX78" fmla="*/ 440077 w 4519987"/>
              <a:gd name="connsiteY78" fmla="*/ 904875 h 4429225"/>
              <a:gd name="connsiteX79" fmla="*/ 478177 w 4519987"/>
              <a:gd name="connsiteY79" fmla="*/ 857250 h 4429225"/>
              <a:gd name="connsiteX80" fmla="*/ 497227 w 4519987"/>
              <a:gd name="connsiteY80" fmla="*/ 828675 h 4429225"/>
              <a:gd name="connsiteX81" fmla="*/ 535327 w 4519987"/>
              <a:gd name="connsiteY81" fmla="*/ 800100 h 4429225"/>
              <a:gd name="connsiteX82" fmla="*/ 602002 w 4519987"/>
              <a:gd name="connsiteY82" fmla="*/ 733425 h 4429225"/>
              <a:gd name="connsiteX83" fmla="*/ 668677 w 4519987"/>
              <a:gd name="connsiteY83" fmla="*/ 676275 h 4429225"/>
              <a:gd name="connsiteX84" fmla="*/ 697252 w 4519987"/>
              <a:gd name="connsiteY84" fmla="*/ 657225 h 4429225"/>
              <a:gd name="connsiteX85" fmla="*/ 840127 w 4519987"/>
              <a:gd name="connsiteY85" fmla="*/ 533400 h 4429225"/>
              <a:gd name="connsiteX86" fmla="*/ 887752 w 4519987"/>
              <a:gd name="connsiteY86" fmla="*/ 504825 h 4429225"/>
              <a:gd name="connsiteX87" fmla="*/ 1167152 w 4519987"/>
              <a:gd name="connsiteY87" fmla="*/ 311150 h 4429225"/>
              <a:gd name="connsiteX88" fmla="*/ 1268752 w 4519987"/>
              <a:gd name="connsiteY88" fmla="*/ 285750 h 4429225"/>
              <a:gd name="connsiteX89" fmla="*/ 1411627 w 4519987"/>
              <a:gd name="connsiteY89" fmla="*/ 190500 h 4429225"/>
              <a:gd name="connsiteX90" fmla="*/ 1449727 w 4519987"/>
              <a:gd name="connsiteY90" fmla="*/ 161925 h 4429225"/>
              <a:gd name="connsiteX91" fmla="*/ 1525927 w 4519987"/>
              <a:gd name="connsiteY91" fmla="*/ 152400 h 4429225"/>
              <a:gd name="connsiteX92" fmla="*/ 1583077 w 4519987"/>
              <a:gd name="connsiteY92" fmla="*/ 142875 h 4429225"/>
              <a:gd name="connsiteX93" fmla="*/ 1716427 w 4519987"/>
              <a:gd name="connsiteY93" fmla="*/ 123825 h 4429225"/>
              <a:gd name="connsiteX94" fmla="*/ 1811677 w 4519987"/>
              <a:gd name="connsiteY94" fmla="*/ 114300 h 4429225"/>
              <a:gd name="connsiteX95" fmla="*/ 1859302 w 4519987"/>
              <a:gd name="connsiteY95" fmla="*/ 104775 h 4429225"/>
              <a:gd name="connsiteX96" fmla="*/ 1916452 w 4519987"/>
              <a:gd name="connsiteY96" fmla="*/ 95250 h 4429225"/>
              <a:gd name="connsiteX97" fmla="*/ 2030752 w 4519987"/>
              <a:gd name="connsiteY97" fmla="*/ 66675 h 4429225"/>
              <a:gd name="connsiteX98" fmla="*/ 2097427 w 4519987"/>
              <a:gd name="connsiteY98" fmla="*/ 47625 h 4429225"/>
              <a:gd name="connsiteX99" fmla="*/ 2164102 w 4519987"/>
              <a:gd name="connsiteY99" fmla="*/ 38100 h 4429225"/>
              <a:gd name="connsiteX100" fmla="*/ 2392702 w 4519987"/>
              <a:gd name="connsiteY100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73377 w 4519987"/>
              <a:gd name="connsiteY54" fmla="*/ 3019425 h 4429225"/>
              <a:gd name="connsiteX55" fmla="*/ 144802 w 4519987"/>
              <a:gd name="connsiteY55" fmla="*/ 2924175 h 4429225"/>
              <a:gd name="connsiteX56" fmla="*/ 68602 w 4519987"/>
              <a:gd name="connsiteY56" fmla="*/ 2724150 h 4429225"/>
              <a:gd name="connsiteX57" fmla="*/ 49552 w 4519987"/>
              <a:gd name="connsiteY57" fmla="*/ 2638425 h 4429225"/>
              <a:gd name="connsiteX58" fmla="*/ 40027 w 4519987"/>
              <a:gd name="connsiteY58" fmla="*/ 2562225 h 4429225"/>
              <a:gd name="connsiteX59" fmla="*/ 30502 w 4519987"/>
              <a:gd name="connsiteY59" fmla="*/ 2514600 h 4429225"/>
              <a:gd name="connsiteX60" fmla="*/ 11452 w 4519987"/>
              <a:gd name="connsiteY60" fmla="*/ 2400300 h 4429225"/>
              <a:gd name="connsiteX61" fmla="*/ 20977 w 4519987"/>
              <a:gd name="connsiteY61" fmla="*/ 1905000 h 4429225"/>
              <a:gd name="connsiteX62" fmla="*/ 30502 w 4519987"/>
              <a:gd name="connsiteY62" fmla="*/ 1838325 h 4429225"/>
              <a:gd name="connsiteX63" fmla="*/ 49552 w 4519987"/>
              <a:gd name="connsiteY63" fmla="*/ 1781175 h 4429225"/>
              <a:gd name="connsiteX64" fmla="*/ 59077 w 4519987"/>
              <a:gd name="connsiteY64" fmla="*/ 1743075 h 4429225"/>
              <a:gd name="connsiteX65" fmla="*/ 78127 w 4519987"/>
              <a:gd name="connsiteY65" fmla="*/ 1685925 h 4429225"/>
              <a:gd name="connsiteX66" fmla="*/ 87652 w 4519987"/>
              <a:gd name="connsiteY66" fmla="*/ 1638300 h 4429225"/>
              <a:gd name="connsiteX67" fmla="*/ 106702 w 4519987"/>
              <a:gd name="connsiteY67" fmla="*/ 1590675 h 4429225"/>
              <a:gd name="connsiteX68" fmla="*/ 135277 w 4519987"/>
              <a:gd name="connsiteY68" fmla="*/ 1504950 h 4429225"/>
              <a:gd name="connsiteX69" fmla="*/ 154327 w 4519987"/>
              <a:gd name="connsiteY69" fmla="*/ 1419225 h 4429225"/>
              <a:gd name="connsiteX70" fmla="*/ 230527 w 4519987"/>
              <a:gd name="connsiteY70" fmla="*/ 1276350 h 4429225"/>
              <a:gd name="connsiteX71" fmla="*/ 240052 w 4519987"/>
              <a:gd name="connsiteY71" fmla="*/ 1247775 h 4429225"/>
              <a:gd name="connsiteX72" fmla="*/ 268627 w 4519987"/>
              <a:gd name="connsiteY72" fmla="*/ 1200150 h 4429225"/>
              <a:gd name="connsiteX73" fmla="*/ 287677 w 4519987"/>
              <a:gd name="connsiteY73" fmla="*/ 1152525 h 4429225"/>
              <a:gd name="connsiteX74" fmla="*/ 316252 w 4519987"/>
              <a:gd name="connsiteY74" fmla="*/ 1114425 h 4429225"/>
              <a:gd name="connsiteX75" fmla="*/ 363877 w 4519987"/>
              <a:gd name="connsiteY75" fmla="*/ 1038225 h 4429225"/>
              <a:gd name="connsiteX76" fmla="*/ 382927 w 4519987"/>
              <a:gd name="connsiteY76" fmla="*/ 1009650 h 4429225"/>
              <a:gd name="connsiteX77" fmla="*/ 440077 w 4519987"/>
              <a:gd name="connsiteY77" fmla="*/ 904875 h 4429225"/>
              <a:gd name="connsiteX78" fmla="*/ 478177 w 4519987"/>
              <a:gd name="connsiteY78" fmla="*/ 857250 h 4429225"/>
              <a:gd name="connsiteX79" fmla="*/ 497227 w 4519987"/>
              <a:gd name="connsiteY79" fmla="*/ 828675 h 4429225"/>
              <a:gd name="connsiteX80" fmla="*/ 535327 w 4519987"/>
              <a:gd name="connsiteY80" fmla="*/ 800100 h 4429225"/>
              <a:gd name="connsiteX81" fmla="*/ 602002 w 4519987"/>
              <a:gd name="connsiteY81" fmla="*/ 733425 h 4429225"/>
              <a:gd name="connsiteX82" fmla="*/ 668677 w 4519987"/>
              <a:gd name="connsiteY82" fmla="*/ 676275 h 4429225"/>
              <a:gd name="connsiteX83" fmla="*/ 697252 w 4519987"/>
              <a:gd name="connsiteY83" fmla="*/ 657225 h 4429225"/>
              <a:gd name="connsiteX84" fmla="*/ 840127 w 4519987"/>
              <a:gd name="connsiteY84" fmla="*/ 533400 h 4429225"/>
              <a:gd name="connsiteX85" fmla="*/ 887752 w 4519987"/>
              <a:gd name="connsiteY85" fmla="*/ 504825 h 4429225"/>
              <a:gd name="connsiteX86" fmla="*/ 1167152 w 4519987"/>
              <a:gd name="connsiteY86" fmla="*/ 311150 h 4429225"/>
              <a:gd name="connsiteX87" fmla="*/ 1268752 w 4519987"/>
              <a:gd name="connsiteY87" fmla="*/ 285750 h 4429225"/>
              <a:gd name="connsiteX88" fmla="*/ 1411627 w 4519987"/>
              <a:gd name="connsiteY88" fmla="*/ 190500 h 4429225"/>
              <a:gd name="connsiteX89" fmla="*/ 1449727 w 4519987"/>
              <a:gd name="connsiteY89" fmla="*/ 161925 h 4429225"/>
              <a:gd name="connsiteX90" fmla="*/ 1525927 w 4519987"/>
              <a:gd name="connsiteY90" fmla="*/ 152400 h 4429225"/>
              <a:gd name="connsiteX91" fmla="*/ 1583077 w 4519987"/>
              <a:gd name="connsiteY91" fmla="*/ 142875 h 4429225"/>
              <a:gd name="connsiteX92" fmla="*/ 1716427 w 4519987"/>
              <a:gd name="connsiteY92" fmla="*/ 123825 h 4429225"/>
              <a:gd name="connsiteX93" fmla="*/ 1811677 w 4519987"/>
              <a:gd name="connsiteY93" fmla="*/ 114300 h 4429225"/>
              <a:gd name="connsiteX94" fmla="*/ 1859302 w 4519987"/>
              <a:gd name="connsiteY94" fmla="*/ 104775 h 4429225"/>
              <a:gd name="connsiteX95" fmla="*/ 1916452 w 4519987"/>
              <a:gd name="connsiteY95" fmla="*/ 95250 h 4429225"/>
              <a:gd name="connsiteX96" fmla="*/ 2030752 w 4519987"/>
              <a:gd name="connsiteY96" fmla="*/ 66675 h 4429225"/>
              <a:gd name="connsiteX97" fmla="*/ 2097427 w 4519987"/>
              <a:gd name="connsiteY97" fmla="*/ 47625 h 4429225"/>
              <a:gd name="connsiteX98" fmla="*/ 2164102 w 4519987"/>
              <a:gd name="connsiteY98" fmla="*/ 38100 h 4429225"/>
              <a:gd name="connsiteX99" fmla="*/ 2392702 w 4519987"/>
              <a:gd name="connsiteY99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9552 w 4519987"/>
              <a:gd name="connsiteY56" fmla="*/ 2638425 h 4429225"/>
              <a:gd name="connsiteX57" fmla="*/ 40027 w 4519987"/>
              <a:gd name="connsiteY57" fmla="*/ 2562225 h 4429225"/>
              <a:gd name="connsiteX58" fmla="*/ 30502 w 4519987"/>
              <a:gd name="connsiteY58" fmla="*/ 2514600 h 4429225"/>
              <a:gd name="connsiteX59" fmla="*/ 11452 w 4519987"/>
              <a:gd name="connsiteY59" fmla="*/ 2400300 h 4429225"/>
              <a:gd name="connsiteX60" fmla="*/ 20977 w 4519987"/>
              <a:gd name="connsiteY60" fmla="*/ 1905000 h 4429225"/>
              <a:gd name="connsiteX61" fmla="*/ 30502 w 4519987"/>
              <a:gd name="connsiteY61" fmla="*/ 1838325 h 4429225"/>
              <a:gd name="connsiteX62" fmla="*/ 49552 w 4519987"/>
              <a:gd name="connsiteY62" fmla="*/ 1781175 h 4429225"/>
              <a:gd name="connsiteX63" fmla="*/ 59077 w 4519987"/>
              <a:gd name="connsiteY63" fmla="*/ 1743075 h 4429225"/>
              <a:gd name="connsiteX64" fmla="*/ 78127 w 4519987"/>
              <a:gd name="connsiteY64" fmla="*/ 1685925 h 4429225"/>
              <a:gd name="connsiteX65" fmla="*/ 87652 w 4519987"/>
              <a:gd name="connsiteY65" fmla="*/ 1638300 h 4429225"/>
              <a:gd name="connsiteX66" fmla="*/ 106702 w 4519987"/>
              <a:gd name="connsiteY66" fmla="*/ 1590675 h 4429225"/>
              <a:gd name="connsiteX67" fmla="*/ 135277 w 4519987"/>
              <a:gd name="connsiteY67" fmla="*/ 1504950 h 4429225"/>
              <a:gd name="connsiteX68" fmla="*/ 154327 w 4519987"/>
              <a:gd name="connsiteY68" fmla="*/ 1419225 h 4429225"/>
              <a:gd name="connsiteX69" fmla="*/ 230527 w 4519987"/>
              <a:gd name="connsiteY69" fmla="*/ 1276350 h 4429225"/>
              <a:gd name="connsiteX70" fmla="*/ 240052 w 4519987"/>
              <a:gd name="connsiteY70" fmla="*/ 1247775 h 4429225"/>
              <a:gd name="connsiteX71" fmla="*/ 268627 w 4519987"/>
              <a:gd name="connsiteY71" fmla="*/ 1200150 h 4429225"/>
              <a:gd name="connsiteX72" fmla="*/ 287677 w 4519987"/>
              <a:gd name="connsiteY72" fmla="*/ 1152525 h 4429225"/>
              <a:gd name="connsiteX73" fmla="*/ 316252 w 4519987"/>
              <a:gd name="connsiteY73" fmla="*/ 1114425 h 4429225"/>
              <a:gd name="connsiteX74" fmla="*/ 363877 w 4519987"/>
              <a:gd name="connsiteY74" fmla="*/ 1038225 h 4429225"/>
              <a:gd name="connsiteX75" fmla="*/ 382927 w 4519987"/>
              <a:gd name="connsiteY75" fmla="*/ 1009650 h 4429225"/>
              <a:gd name="connsiteX76" fmla="*/ 440077 w 4519987"/>
              <a:gd name="connsiteY76" fmla="*/ 904875 h 4429225"/>
              <a:gd name="connsiteX77" fmla="*/ 478177 w 4519987"/>
              <a:gd name="connsiteY77" fmla="*/ 857250 h 4429225"/>
              <a:gd name="connsiteX78" fmla="*/ 497227 w 4519987"/>
              <a:gd name="connsiteY78" fmla="*/ 828675 h 4429225"/>
              <a:gd name="connsiteX79" fmla="*/ 535327 w 4519987"/>
              <a:gd name="connsiteY79" fmla="*/ 800100 h 4429225"/>
              <a:gd name="connsiteX80" fmla="*/ 602002 w 4519987"/>
              <a:gd name="connsiteY80" fmla="*/ 733425 h 4429225"/>
              <a:gd name="connsiteX81" fmla="*/ 668677 w 4519987"/>
              <a:gd name="connsiteY81" fmla="*/ 676275 h 4429225"/>
              <a:gd name="connsiteX82" fmla="*/ 697252 w 4519987"/>
              <a:gd name="connsiteY82" fmla="*/ 657225 h 4429225"/>
              <a:gd name="connsiteX83" fmla="*/ 840127 w 4519987"/>
              <a:gd name="connsiteY83" fmla="*/ 533400 h 4429225"/>
              <a:gd name="connsiteX84" fmla="*/ 887752 w 4519987"/>
              <a:gd name="connsiteY84" fmla="*/ 504825 h 4429225"/>
              <a:gd name="connsiteX85" fmla="*/ 1167152 w 4519987"/>
              <a:gd name="connsiteY85" fmla="*/ 311150 h 4429225"/>
              <a:gd name="connsiteX86" fmla="*/ 1268752 w 4519987"/>
              <a:gd name="connsiteY86" fmla="*/ 285750 h 4429225"/>
              <a:gd name="connsiteX87" fmla="*/ 1411627 w 4519987"/>
              <a:gd name="connsiteY87" fmla="*/ 190500 h 4429225"/>
              <a:gd name="connsiteX88" fmla="*/ 1449727 w 4519987"/>
              <a:gd name="connsiteY88" fmla="*/ 161925 h 4429225"/>
              <a:gd name="connsiteX89" fmla="*/ 1525927 w 4519987"/>
              <a:gd name="connsiteY89" fmla="*/ 152400 h 4429225"/>
              <a:gd name="connsiteX90" fmla="*/ 1583077 w 4519987"/>
              <a:gd name="connsiteY90" fmla="*/ 142875 h 4429225"/>
              <a:gd name="connsiteX91" fmla="*/ 1716427 w 4519987"/>
              <a:gd name="connsiteY91" fmla="*/ 123825 h 4429225"/>
              <a:gd name="connsiteX92" fmla="*/ 1811677 w 4519987"/>
              <a:gd name="connsiteY92" fmla="*/ 114300 h 4429225"/>
              <a:gd name="connsiteX93" fmla="*/ 1859302 w 4519987"/>
              <a:gd name="connsiteY93" fmla="*/ 104775 h 4429225"/>
              <a:gd name="connsiteX94" fmla="*/ 1916452 w 4519987"/>
              <a:gd name="connsiteY94" fmla="*/ 95250 h 4429225"/>
              <a:gd name="connsiteX95" fmla="*/ 2030752 w 4519987"/>
              <a:gd name="connsiteY95" fmla="*/ 66675 h 4429225"/>
              <a:gd name="connsiteX96" fmla="*/ 2097427 w 4519987"/>
              <a:gd name="connsiteY96" fmla="*/ 47625 h 4429225"/>
              <a:gd name="connsiteX97" fmla="*/ 2164102 w 4519987"/>
              <a:gd name="connsiteY97" fmla="*/ 38100 h 4429225"/>
              <a:gd name="connsiteX98" fmla="*/ 2392702 w 4519987"/>
              <a:gd name="connsiteY98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0027 w 4519987"/>
              <a:gd name="connsiteY56" fmla="*/ 2562225 h 4429225"/>
              <a:gd name="connsiteX57" fmla="*/ 30502 w 4519987"/>
              <a:gd name="connsiteY57" fmla="*/ 2514600 h 4429225"/>
              <a:gd name="connsiteX58" fmla="*/ 11452 w 4519987"/>
              <a:gd name="connsiteY58" fmla="*/ 2400300 h 4429225"/>
              <a:gd name="connsiteX59" fmla="*/ 20977 w 4519987"/>
              <a:gd name="connsiteY59" fmla="*/ 1905000 h 4429225"/>
              <a:gd name="connsiteX60" fmla="*/ 30502 w 4519987"/>
              <a:gd name="connsiteY60" fmla="*/ 1838325 h 4429225"/>
              <a:gd name="connsiteX61" fmla="*/ 49552 w 4519987"/>
              <a:gd name="connsiteY61" fmla="*/ 1781175 h 4429225"/>
              <a:gd name="connsiteX62" fmla="*/ 59077 w 4519987"/>
              <a:gd name="connsiteY62" fmla="*/ 1743075 h 4429225"/>
              <a:gd name="connsiteX63" fmla="*/ 78127 w 4519987"/>
              <a:gd name="connsiteY63" fmla="*/ 1685925 h 4429225"/>
              <a:gd name="connsiteX64" fmla="*/ 87652 w 4519987"/>
              <a:gd name="connsiteY64" fmla="*/ 1638300 h 4429225"/>
              <a:gd name="connsiteX65" fmla="*/ 106702 w 4519987"/>
              <a:gd name="connsiteY65" fmla="*/ 1590675 h 4429225"/>
              <a:gd name="connsiteX66" fmla="*/ 135277 w 4519987"/>
              <a:gd name="connsiteY66" fmla="*/ 1504950 h 4429225"/>
              <a:gd name="connsiteX67" fmla="*/ 154327 w 4519987"/>
              <a:gd name="connsiteY67" fmla="*/ 1419225 h 4429225"/>
              <a:gd name="connsiteX68" fmla="*/ 230527 w 4519987"/>
              <a:gd name="connsiteY68" fmla="*/ 1276350 h 4429225"/>
              <a:gd name="connsiteX69" fmla="*/ 240052 w 4519987"/>
              <a:gd name="connsiteY69" fmla="*/ 1247775 h 4429225"/>
              <a:gd name="connsiteX70" fmla="*/ 268627 w 4519987"/>
              <a:gd name="connsiteY70" fmla="*/ 1200150 h 4429225"/>
              <a:gd name="connsiteX71" fmla="*/ 287677 w 4519987"/>
              <a:gd name="connsiteY71" fmla="*/ 1152525 h 4429225"/>
              <a:gd name="connsiteX72" fmla="*/ 316252 w 4519987"/>
              <a:gd name="connsiteY72" fmla="*/ 1114425 h 4429225"/>
              <a:gd name="connsiteX73" fmla="*/ 363877 w 4519987"/>
              <a:gd name="connsiteY73" fmla="*/ 1038225 h 4429225"/>
              <a:gd name="connsiteX74" fmla="*/ 382927 w 4519987"/>
              <a:gd name="connsiteY74" fmla="*/ 1009650 h 4429225"/>
              <a:gd name="connsiteX75" fmla="*/ 440077 w 4519987"/>
              <a:gd name="connsiteY75" fmla="*/ 904875 h 4429225"/>
              <a:gd name="connsiteX76" fmla="*/ 478177 w 4519987"/>
              <a:gd name="connsiteY76" fmla="*/ 857250 h 4429225"/>
              <a:gd name="connsiteX77" fmla="*/ 497227 w 4519987"/>
              <a:gd name="connsiteY77" fmla="*/ 828675 h 4429225"/>
              <a:gd name="connsiteX78" fmla="*/ 535327 w 4519987"/>
              <a:gd name="connsiteY78" fmla="*/ 800100 h 4429225"/>
              <a:gd name="connsiteX79" fmla="*/ 602002 w 4519987"/>
              <a:gd name="connsiteY79" fmla="*/ 733425 h 4429225"/>
              <a:gd name="connsiteX80" fmla="*/ 668677 w 4519987"/>
              <a:gd name="connsiteY80" fmla="*/ 676275 h 4429225"/>
              <a:gd name="connsiteX81" fmla="*/ 697252 w 4519987"/>
              <a:gd name="connsiteY81" fmla="*/ 657225 h 4429225"/>
              <a:gd name="connsiteX82" fmla="*/ 840127 w 4519987"/>
              <a:gd name="connsiteY82" fmla="*/ 533400 h 4429225"/>
              <a:gd name="connsiteX83" fmla="*/ 887752 w 4519987"/>
              <a:gd name="connsiteY83" fmla="*/ 504825 h 4429225"/>
              <a:gd name="connsiteX84" fmla="*/ 1167152 w 4519987"/>
              <a:gd name="connsiteY84" fmla="*/ 311150 h 4429225"/>
              <a:gd name="connsiteX85" fmla="*/ 1268752 w 4519987"/>
              <a:gd name="connsiteY85" fmla="*/ 285750 h 4429225"/>
              <a:gd name="connsiteX86" fmla="*/ 1411627 w 4519987"/>
              <a:gd name="connsiteY86" fmla="*/ 190500 h 4429225"/>
              <a:gd name="connsiteX87" fmla="*/ 1449727 w 4519987"/>
              <a:gd name="connsiteY87" fmla="*/ 161925 h 4429225"/>
              <a:gd name="connsiteX88" fmla="*/ 1525927 w 4519987"/>
              <a:gd name="connsiteY88" fmla="*/ 152400 h 4429225"/>
              <a:gd name="connsiteX89" fmla="*/ 1583077 w 4519987"/>
              <a:gd name="connsiteY89" fmla="*/ 142875 h 4429225"/>
              <a:gd name="connsiteX90" fmla="*/ 1716427 w 4519987"/>
              <a:gd name="connsiteY90" fmla="*/ 123825 h 4429225"/>
              <a:gd name="connsiteX91" fmla="*/ 1811677 w 4519987"/>
              <a:gd name="connsiteY91" fmla="*/ 114300 h 4429225"/>
              <a:gd name="connsiteX92" fmla="*/ 1859302 w 4519987"/>
              <a:gd name="connsiteY92" fmla="*/ 104775 h 4429225"/>
              <a:gd name="connsiteX93" fmla="*/ 1916452 w 4519987"/>
              <a:gd name="connsiteY93" fmla="*/ 95250 h 4429225"/>
              <a:gd name="connsiteX94" fmla="*/ 2030752 w 4519987"/>
              <a:gd name="connsiteY94" fmla="*/ 66675 h 4429225"/>
              <a:gd name="connsiteX95" fmla="*/ 2097427 w 4519987"/>
              <a:gd name="connsiteY95" fmla="*/ 47625 h 4429225"/>
              <a:gd name="connsiteX96" fmla="*/ 2164102 w 4519987"/>
              <a:gd name="connsiteY96" fmla="*/ 38100 h 4429225"/>
              <a:gd name="connsiteX97" fmla="*/ 2392702 w 4519987"/>
              <a:gd name="connsiteY97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0027 w 4519987"/>
              <a:gd name="connsiteY56" fmla="*/ 2562225 h 4429225"/>
              <a:gd name="connsiteX57" fmla="*/ 11452 w 4519987"/>
              <a:gd name="connsiteY57" fmla="*/ 2400300 h 4429225"/>
              <a:gd name="connsiteX58" fmla="*/ 20977 w 4519987"/>
              <a:gd name="connsiteY58" fmla="*/ 1905000 h 4429225"/>
              <a:gd name="connsiteX59" fmla="*/ 30502 w 4519987"/>
              <a:gd name="connsiteY59" fmla="*/ 1838325 h 4429225"/>
              <a:gd name="connsiteX60" fmla="*/ 49552 w 4519987"/>
              <a:gd name="connsiteY60" fmla="*/ 1781175 h 4429225"/>
              <a:gd name="connsiteX61" fmla="*/ 59077 w 4519987"/>
              <a:gd name="connsiteY61" fmla="*/ 1743075 h 4429225"/>
              <a:gd name="connsiteX62" fmla="*/ 78127 w 4519987"/>
              <a:gd name="connsiteY62" fmla="*/ 1685925 h 4429225"/>
              <a:gd name="connsiteX63" fmla="*/ 87652 w 4519987"/>
              <a:gd name="connsiteY63" fmla="*/ 1638300 h 4429225"/>
              <a:gd name="connsiteX64" fmla="*/ 106702 w 4519987"/>
              <a:gd name="connsiteY64" fmla="*/ 1590675 h 4429225"/>
              <a:gd name="connsiteX65" fmla="*/ 135277 w 4519987"/>
              <a:gd name="connsiteY65" fmla="*/ 1504950 h 4429225"/>
              <a:gd name="connsiteX66" fmla="*/ 154327 w 4519987"/>
              <a:gd name="connsiteY66" fmla="*/ 1419225 h 4429225"/>
              <a:gd name="connsiteX67" fmla="*/ 230527 w 4519987"/>
              <a:gd name="connsiteY67" fmla="*/ 1276350 h 4429225"/>
              <a:gd name="connsiteX68" fmla="*/ 240052 w 4519987"/>
              <a:gd name="connsiteY68" fmla="*/ 1247775 h 4429225"/>
              <a:gd name="connsiteX69" fmla="*/ 268627 w 4519987"/>
              <a:gd name="connsiteY69" fmla="*/ 1200150 h 4429225"/>
              <a:gd name="connsiteX70" fmla="*/ 287677 w 4519987"/>
              <a:gd name="connsiteY70" fmla="*/ 1152525 h 4429225"/>
              <a:gd name="connsiteX71" fmla="*/ 316252 w 4519987"/>
              <a:gd name="connsiteY71" fmla="*/ 1114425 h 4429225"/>
              <a:gd name="connsiteX72" fmla="*/ 363877 w 4519987"/>
              <a:gd name="connsiteY72" fmla="*/ 1038225 h 4429225"/>
              <a:gd name="connsiteX73" fmla="*/ 382927 w 4519987"/>
              <a:gd name="connsiteY73" fmla="*/ 1009650 h 4429225"/>
              <a:gd name="connsiteX74" fmla="*/ 440077 w 4519987"/>
              <a:gd name="connsiteY74" fmla="*/ 904875 h 4429225"/>
              <a:gd name="connsiteX75" fmla="*/ 478177 w 4519987"/>
              <a:gd name="connsiteY75" fmla="*/ 857250 h 4429225"/>
              <a:gd name="connsiteX76" fmla="*/ 497227 w 4519987"/>
              <a:gd name="connsiteY76" fmla="*/ 828675 h 4429225"/>
              <a:gd name="connsiteX77" fmla="*/ 535327 w 4519987"/>
              <a:gd name="connsiteY77" fmla="*/ 800100 h 4429225"/>
              <a:gd name="connsiteX78" fmla="*/ 602002 w 4519987"/>
              <a:gd name="connsiteY78" fmla="*/ 733425 h 4429225"/>
              <a:gd name="connsiteX79" fmla="*/ 668677 w 4519987"/>
              <a:gd name="connsiteY79" fmla="*/ 676275 h 4429225"/>
              <a:gd name="connsiteX80" fmla="*/ 697252 w 4519987"/>
              <a:gd name="connsiteY80" fmla="*/ 657225 h 4429225"/>
              <a:gd name="connsiteX81" fmla="*/ 840127 w 4519987"/>
              <a:gd name="connsiteY81" fmla="*/ 533400 h 4429225"/>
              <a:gd name="connsiteX82" fmla="*/ 887752 w 4519987"/>
              <a:gd name="connsiteY82" fmla="*/ 504825 h 4429225"/>
              <a:gd name="connsiteX83" fmla="*/ 1167152 w 4519987"/>
              <a:gd name="connsiteY83" fmla="*/ 311150 h 4429225"/>
              <a:gd name="connsiteX84" fmla="*/ 1268752 w 4519987"/>
              <a:gd name="connsiteY84" fmla="*/ 285750 h 4429225"/>
              <a:gd name="connsiteX85" fmla="*/ 1411627 w 4519987"/>
              <a:gd name="connsiteY85" fmla="*/ 190500 h 4429225"/>
              <a:gd name="connsiteX86" fmla="*/ 1449727 w 4519987"/>
              <a:gd name="connsiteY86" fmla="*/ 161925 h 4429225"/>
              <a:gd name="connsiteX87" fmla="*/ 1525927 w 4519987"/>
              <a:gd name="connsiteY87" fmla="*/ 152400 h 4429225"/>
              <a:gd name="connsiteX88" fmla="*/ 1583077 w 4519987"/>
              <a:gd name="connsiteY88" fmla="*/ 142875 h 4429225"/>
              <a:gd name="connsiteX89" fmla="*/ 1716427 w 4519987"/>
              <a:gd name="connsiteY89" fmla="*/ 123825 h 4429225"/>
              <a:gd name="connsiteX90" fmla="*/ 1811677 w 4519987"/>
              <a:gd name="connsiteY90" fmla="*/ 114300 h 4429225"/>
              <a:gd name="connsiteX91" fmla="*/ 1859302 w 4519987"/>
              <a:gd name="connsiteY91" fmla="*/ 104775 h 4429225"/>
              <a:gd name="connsiteX92" fmla="*/ 1916452 w 4519987"/>
              <a:gd name="connsiteY92" fmla="*/ 95250 h 4429225"/>
              <a:gd name="connsiteX93" fmla="*/ 2030752 w 4519987"/>
              <a:gd name="connsiteY93" fmla="*/ 66675 h 4429225"/>
              <a:gd name="connsiteX94" fmla="*/ 2097427 w 4519987"/>
              <a:gd name="connsiteY94" fmla="*/ 47625 h 4429225"/>
              <a:gd name="connsiteX95" fmla="*/ 2164102 w 4519987"/>
              <a:gd name="connsiteY95" fmla="*/ 38100 h 4429225"/>
              <a:gd name="connsiteX96" fmla="*/ 2392702 w 4519987"/>
              <a:gd name="connsiteY96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11452 w 4519987"/>
              <a:gd name="connsiteY56" fmla="*/ 2400300 h 4429225"/>
              <a:gd name="connsiteX57" fmla="*/ 20977 w 4519987"/>
              <a:gd name="connsiteY57" fmla="*/ 1905000 h 4429225"/>
              <a:gd name="connsiteX58" fmla="*/ 30502 w 4519987"/>
              <a:gd name="connsiteY58" fmla="*/ 1838325 h 4429225"/>
              <a:gd name="connsiteX59" fmla="*/ 49552 w 4519987"/>
              <a:gd name="connsiteY59" fmla="*/ 1781175 h 4429225"/>
              <a:gd name="connsiteX60" fmla="*/ 59077 w 4519987"/>
              <a:gd name="connsiteY60" fmla="*/ 1743075 h 4429225"/>
              <a:gd name="connsiteX61" fmla="*/ 78127 w 4519987"/>
              <a:gd name="connsiteY61" fmla="*/ 1685925 h 4429225"/>
              <a:gd name="connsiteX62" fmla="*/ 87652 w 4519987"/>
              <a:gd name="connsiteY62" fmla="*/ 1638300 h 4429225"/>
              <a:gd name="connsiteX63" fmla="*/ 106702 w 4519987"/>
              <a:gd name="connsiteY63" fmla="*/ 1590675 h 4429225"/>
              <a:gd name="connsiteX64" fmla="*/ 135277 w 4519987"/>
              <a:gd name="connsiteY64" fmla="*/ 1504950 h 4429225"/>
              <a:gd name="connsiteX65" fmla="*/ 154327 w 4519987"/>
              <a:gd name="connsiteY65" fmla="*/ 1419225 h 4429225"/>
              <a:gd name="connsiteX66" fmla="*/ 230527 w 4519987"/>
              <a:gd name="connsiteY66" fmla="*/ 1276350 h 4429225"/>
              <a:gd name="connsiteX67" fmla="*/ 240052 w 4519987"/>
              <a:gd name="connsiteY67" fmla="*/ 1247775 h 4429225"/>
              <a:gd name="connsiteX68" fmla="*/ 268627 w 4519987"/>
              <a:gd name="connsiteY68" fmla="*/ 1200150 h 4429225"/>
              <a:gd name="connsiteX69" fmla="*/ 287677 w 4519987"/>
              <a:gd name="connsiteY69" fmla="*/ 1152525 h 4429225"/>
              <a:gd name="connsiteX70" fmla="*/ 316252 w 4519987"/>
              <a:gd name="connsiteY70" fmla="*/ 1114425 h 4429225"/>
              <a:gd name="connsiteX71" fmla="*/ 363877 w 4519987"/>
              <a:gd name="connsiteY71" fmla="*/ 1038225 h 4429225"/>
              <a:gd name="connsiteX72" fmla="*/ 382927 w 4519987"/>
              <a:gd name="connsiteY72" fmla="*/ 1009650 h 4429225"/>
              <a:gd name="connsiteX73" fmla="*/ 440077 w 4519987"/>
              <a:gd name="connsiteY73" fmla="*/ 904875 h 4429225"/>
              <a:gd name="connsiteX74" fmla="*/ 478177 w 4519987"/>
              <a:gd name="connsiteY74" fmla="*/ 857250 h 4429225"/>
              <a:gd name="connsiteX75" fmla="*/ 497227 w 4519987"/>
              <a:gd name="connsiteY75" fmla="*/ 828675 h 4429225"/>
              <a:gd name="connsiteX76" fmla="*/ 535327 w 4519987"/>
              <a:gd name="connsiteY76" fmla="*/ 800100 h 4429225"/>
              <a:gd name="connsiteX77" fmla="*/ 602002 w 4519987"/>
              <a:gd name="connsiteY77" fmla="*/ 733425 h 4429225"/>
              <a:gd name="connsiteX78" fmla="*/ 668677 w 4519987"/>
              <a:gd name="connsiteY78" fmla="*/ 676275 h 4429225"/>
              <a:gd name="connsiteX79" fmla="*/ 697252 w 4519987"/>
              <a:gd name="connsiteY79" fmla="*/ 657225 h 4429225"/>
              <a:gd name="connsiteX80" fmla="*/ 840127 w 4519987"/>
              <a:gd name="connsiteY80" fmla="*/ 533400 h 4429225"/>
              <a:gd name="connsiteX81" fmla="*/ 887752 w 4519987"/>
              <a:gd name="connsiteY81" fmla="*/ 504825 h 4429225"/>
              <a:gd name="connsiteX82" fmla="*/ 1167152 w 4519987"/>
              <a:gd name="connsiteY82" fmla="*/ 311150 h 4429225"/>
              <a:gd name="connsiteX83" fmla="*/ 1268752 w 4519987"/>
              <a:gd name="connsiteY83" fmla="*/ 285750 h 4429225"/>
              <a:gd name="connsiteX84" fmla="*/ 1411627 w 4519987"/>
              <a:gd name="connsiteY84" fmla="*/ 190500 h 4429225"/>
              <a:gd name="connsiteX85" fmla="*/ 1449727 w 4519987"/>
              <a:gd name="connsiteY85" fmla="*/ 161925 h 4429225"/>
              <a:gd name="connsiteX86" fmla="*/ 1525927 w 4519987"/>
              <a:gd name="connsiteY86" fmla="*/ 152400 h 4429225"/>
              <a:gd name="connsiteX87" fmla="*/ 1583077 w 4519987"/>
              <a:gd name="connsiteY87" fmla="*/ 142875 h 4429225"/>
              <a:gd name="connsiteX88" fmla="*/ 1716427 w 4519987"/>
              <a:gd name="connsiteY88" fmla="*/ 123825 h 4429225"/>
              <a:gd name="connsiteX89" fmla="*/ 1811677 w 4519987"/>
              <a:gd name="connsiteY89" fmla="*/ 114300 h 4429225"/>
              <a:gd name="connsiteX90" fmla="*/ 1859302 w 4519987"/>
              <a:gd name="connsiteY90" fmla="*/ 104775 h 4429225"/>
              <a:gd name="connsiteX91" fmla="*/ 1916452 w 4519987"/>
              <a:gd name="connsiteY91" fmla="*/ 95250 h 4429225"/>
              <a:gd name="connsiteX92" fmla="*/ 2030752 w 4519987"/>
              <a:gd name="connsiteY92" fmla="*/ 66675 h 4429225"/>
              <a:gd name="connsiteX93" fmla="*/ 2097427 w 4519987"/>
              <a:gd name="connsiteY93" fmla="*/ 47625 h 4429225"/>
              <a:gd name="connsiteX94" fmla="*/ 2164102 w 4519987"/>
              <a:gd name="connsiteY94" fmla="*/ 38100 h 4429225"/>
              <a:gd name="connsiteX95" fmla="*/ 2392702 w 4519987"/>
              <a:gd name="connsiteY95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202394 w 4501379"/>
              <a:gd name="connsiteY53" fmla="*/ 3105150 h 4429225"/>
              <a:gd name="connsiteX54" fmla="*/ 126194 w 4501379"/>
              <a:gd name="connsiteY54" fmla="*/ 2924175 h 4429225"/>
              <a:gd name="connsiteX55" fmla="*/ 49994 w 4501379"/>
              <a:gd name="connsiteY55" fmla="*/ 2724150 h 4429225"/>
              <a:gd name="connsiteX56" fmla="*/ 56344 w 4501379"/>
              <a:gd name="connsiteY56" fmla="*/ 2368550 h 4429225"/>
              <a:gd name="connsiteX57" fmla="*/ 2369 w 4501379"/>
              <a:gd name="connsiteY57" fmla="*/ 1905000 h 4429225"/>
              <a:gd name="connsiteX58" fmla="*/ 11894 w 4501379"/>
              <a:gd name="connsiteY58" fmla="*/ 1838325 h 4429225"/>
              <a:gd name="connsiteX59" fmla="*/ 30944 w 4501379"/>
              <a:gd name="connsiteY59" fmla="*/ 1781175 h 4429225"/>
              <a:gd name="connsiteX60" fmla="*/ 40469 w 4501379"/>
              <a:gd name="connsiteY60" fmla="*/ 1743075 h 4429225"/>
              <a:gd name="connsiteX61" fmla="*/ 59519 w 4501379"/>
              <a:gd name="connsiteY61" fmla="*/ 1685925 h 4429225"/>
              <a:gd name="connsiteX62" fmla="*/ 69044 w 4501379"/>
              <a:gd name="connsiteY62" fmla="*/ 1638300 h 4429225"/>
              <a:gd name="connsiteX63" fmla="*/ 88094 w 4501379"/>
              <a:gd name="connsiteY63" fmla="*/ 1590675 h 4429225"/>
              <a:gd name="connsiteX64" fmla="*/ 116669 w 4501379"/>
              <a:gd name="connsiteY64" fmla="*/ 1504950 h 4429225"/>
              <a:gd name="connsiteX65" fmla="*/ 135719 w 4501379"/>
              <a:gd name="connsiteY65" fmla="*/ 1419225 h 4429225"/>
              <a:gd name="connsiteX66" fmla="*/ 211919 w 4501379"/>
              <a:gd name="connsiteY66" fmla="*/ 1276350 h 4429225"/>
              <a:gd name="connsiteX67" fmla="*/ 221444 w 4501379"/>
              <a:gd name="connsiteY67" fmla="*/ 1247775 h 4429225"/>
              <a:gd name="connsiteX68" fmla="*/ 250019 w 4501379"/>
              <a:gd name="connsiteY68" fmla="*/ 1200150 h 4429225"/>
              <a:gd name="connsiteX69" fmla="*/ 269069 w 4501379"/>
              <a:gd name="connsiteY69" fmla="*/ 1152525 h 4429225"/>
              <a:gd name="connsiteX70" fmla="*/ 297644 w 4501379"/>
              <a:gd name="connsiteY70" fmla="*/ 1114425 h 4429225"/>
              <a:gd name="connsiteX71" fmla="*/ 345269 w 4501379"/>
              <a:gd name="connsiteY71" fmla="*/ 1038225 h 4429225"/>
              <a:gd name="connsiteX72" fmla="*/ 364319 w 4501379"/>
              <a:gd name="connsiteY72" fmla="*/ 1009650 h 4429225"/>
              <a:gd name="connsiteX73" fmla="*/ 421469 w 4501379"/>
              <a:gd name="connsiteY73" fmla="*/ 904875 h 4429225"/>
              <a:gd name="connsiteX74" fmla="*/ 459569 w 4501379"/>
              <a:gd name="connsiteY74" fmla="*/ 857250 h 4429225"/>
              <a:gd name="connsiteX75" fmla="*/ 478619 w 4501379"/>
              <a:gd name="connsiteY75" fmla="*/ 828675 h 4429225"/>
              <a:gd name="connsiteX76" fmla="*/ 516719 w 4501379"/>
              <a:gd name="connsiteY76" fmla="*/ 800100 h 4429225"/>
              <a:gd name="connsiteX77" fmla="*/ 583394 w 4501379"/>
              <a:gd name="connsiteY77" fmla="*/ 733425 h 4429225"/>
              <a:gd name="connsiteX78" fmla="*/ 650069 w 4501379"/>
              <a:gd name="connsiteY78" fmla="*/ 676275 h 4429225"/>
              <a:gd name="connsiteX79" fmla="*/ 678644 w 4501379"/>
              <a:gd name="connsiteY79" fmla="*/ 657225 h 4429225"/>
              <a:gd name="connsiteX80" fmla="*/ 821519 w 4501379"/>
              <a:gd name="connsiteY80" fmla="*/ 533400 h 4429225"/>
              <a:gd name="connsiteX81" fmla="*/ 869144 w 4501379"/>
              <a:gd name="connsiteY81" fmla="*/ 504825 h 4429225"/>
              <a:gd name="connsiteX82" fmla="*/ 1148544 w 4501379"/>
              <a:gd name="connsiteY82" fmla="*/ 311150 h 4429225"/>
              <a:gd name="connsiteX83" fmla="*/ 1250144 w 4501379"/>
              <a:gd name="connsiteY83" fmla="*/ 285750 h 4429225"/>
              <a:gd name="connsiteX84" fmla="*/ 1393019 w 4501379"/>
              <a:gd name="connsiteY84" fmla="*/ 190500 h 4429225"/>
              <a:gd name="connsiteX85" fmla="*/ 1431119 w 4501379"/>
              <a:gd name="connsiteY85" fmla="*/ 161925 h 4429225"/>
              <a:gd name="connsiteX86" fmla="*/ 1507319 w 4501379"/>
              <a:gd name="connsiteY86" fmla="*/ 152400 h 4429225"/>
              <a:gd name="connsiteX87" fmla="*/ 1564469 w 4501379"/>
              <a:gd name="connsiteY87" fmla="*/ 142875 h 4429225"/>
              <a:gd name="connsiteX88" fmla="*/ 1697819 w 4501379"/>
              <a:gd name="connsiteY88" fmla="*/ 123825 h 4429225"/>
              <a:gd name="connsiteX89" fmla="*/ 1793069 w 4501379"/>
              <a:gd name="connsiteY89" fmla="*/ 114300 h 4429225"/>
              <a:gd name="connsiteX90" fmla="*/ 1840694 w 4501379"/>
              <a:gd name="connsiteY90" fmla="*/ 104775 h 4429225"/>
              <a:gd name="connsiteX91" fmla="*/ 1897844 w 4501379"/>
              <a:gd name="connsiteY91" fmla="*/ 95250 h 4429225"/>
              <a:gd name="connsiteX92" fmla="*/ 2012144 w 4501379"/>
              <a:gd name="connsiteY92" fmla="*/ 66675 h 4429225"/>
              <a:gd name="connsiteX93" fmla="*/ 2078819 w 4501379"/>
              <a:gd name="connsiteY93" fmla="*/ 47625 h 4429225"/>
              <a:gd name="connsiteX94" fmla="*/ 2145494 w 4501379"/>
              <a:gd name="connsiteY94" fmla="*/ 38100 h 4429225"/>
              <a:gd name="connsiteX95" fmla="*/ 2374094 w 4501379"/>
              <a:gd name="connsiteY95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202394 w 4501379"/>
              <a:gd name="connsiteY53" fmla="*/ 3105150 h 4429225"/>
              <a:gd name="connsiteX54" fmla="*/ 126194 w 4501379"/>
              <a:gd name="connsiteY54" fmla="*/ 2924175 h 4429225"/>
              <a:gd name="connsiteX55" fmla="*/ 56344 w 4501379"/>
              <a:gd name="connsiteY55" fmla="*/ 2368550 h 4429225"/>
              <a:gd name="connsiteX56" fmla="*/ 2369 w 4501379"/>
              <a:gd name="connsiteY56" fmla="*/ 1905000 h 4429225"/>
              <a:gd name="connsiteX57" fmla="*/ 11894 w 4501379"/>
              <a:gd name="connsiteY57" fmla="*/ 1838325 h 4429225"/>
              <a:gd name="connsiteX58" fmla="*/ 30944 w 4501379"/>
              <a:gd name="connsiteY58" fmla="*/ 1781175 h 4429225"/>
              <a:gd name="connsiteX59" fmla="*/ 40469 w 4501379"/>
              <a:gd name="connsiteY59" fmla="*/ 1743075 h 4429225"/>
              <a:gd name="connsiteX60" fmla="*/ 59519 w 4501379"/>
              <a:gd name="connsiteY60" fmla="*/ 1685925 h 4429225"/>
              <a:gd name="connsiteX61" fmla="*/ 69044 w 4501379"/>
              <a:gd name="connsiteY61" fmla="*/ 1638300 h 4429225"/>
              <a:gd name="connsiteX62" fmla="*/ 88094 w 4501379"/>
              <a:gd name="connsiteY62" fmla="*/ 1590675 h 4429225"/>
              <a:gd name="connsiteX63" fmla="*/ 116669 w 4501379"/>
              <a:gd name="connsiteY63" fmla="*/ 1504950 h 4429225"/>
              <a:gd name="connsiteX64" fmla="*/ 135719 w 4501379"/>
              <a:gd name="connsiteY64" fmla="*/ 1419225 h 4429225"/>
              <a:gd name="connsiteX65" fmla="*/ 211919 w 4501379"/>
              <a:gd name="connsiteY65" fmla="*/ 1276350 h 4429225"/>
              <a:gd name="connsiteX66" fmla="*/ 221444 w 4501379"/>
              <a:gd name="connsiteY66" fmla="*/ 1247775 h 4429225"/>
              <a:gd name="connsiteX67" fmla="*/ 250019 w 4501379"/>
              <a:gd name="connsiteY67" fmla="*/ 1200150 h 4429225"/>
              <a:gd name="connsiteX68" fmla="*/ 269069 w 4501379"/>
              <a:gd name="connsiteY68" fmla="*/ 1152525 h 4429225"/>
              <a:gd name="connsiteX69" fmla="*/ 297644 w 4501379"/>
              <a:gd name="connsiteY69" fmla="*/ 1114425 h 4429225"/>
              <a:gd name="connsiteX70" fmla="*/ 345269 w 4501379"/>
              <a:gd name="connsiteY70" fmla="*/ 1038225 h 4429225"/>
              <a:gd name="connsiteX71" fmla="*/ 364319 w 4501379"/>
              <a:gd name="connsiteY71" fmla="*/ 1009650 h 4429225"/>
              <a:gd name="connsiteX72" fmla="*/ 421469 w 4501379"/>
              <a:gd name="connsiteY72" fmla="*/ 904875 h 4429225"/>
              <a:gd name="connsiteX73" fmla="*/ 459569 w 4501379"/>
              <a:gd name="connsiteY73" fmla="*/ 857250 h 4429225"/>
              <a:gd name="connsiteX74" fmla="*/ 478619 w 4501379"/>
              <a:gd name="connsiteY74" fmla="*/ 828675 h 4429225"/>
              <a:gd name="connsiteX75" fmla="*/ 516719 w 4501379"/>
              <a:gd name="connsiteY75" fmla="*/ 800100 h 4429225"/>
              <a:gd name="connsiteX76" fmla="*/ 583394 w 4501379"/>
              <a:gd name="connsiteY76" fmla="*/ 733425 h 4429225"/>
              <a:gd name="connsiteX77" fmla="*/ 650069 w 4501379"/>
              <a:gd name="connsiteY77" fmla="*/ 676275 h 4429225"/>
              <a:gd name="connsiteX78" fmla="*/ 678644 w 4501379"/>
              <a:gd name="connsiteY78" fmla="*/ 657225 h 4429225"/>
              <a:gd name="connsiteX79" fmla="*/ 821519 w 4501379"/>
              <a:gd name="connsiteY79" fmla="*/ 533400 h 4429225"/>
              <a:gd name="connsiteX80" fmla="*/ 869144 w 4501379"/>
              <a:gd name="connsiteY80" fmla="*/ 504825 h 4429225"/>
              <a:gd name="connsiteX81" fmla="*/ 1148544 w 4501379"/>
              <a:gd name="connsiteY81" fmla="*/ 311150 h 4429225"/>
              <a:gd name="connsiteX82" fmla="*/ 1250144 w 4501379"/>
              <a:gd name="connsiteY82" fmla="*/ 285750 h 4429225"/>
              <a:gd name="connsiteX83" fmla="*/ 1393019 w 4501379"/>
              <a:gd name="connsiteY83" fmla="*/ 190500 h 4429225"/>
              <a:gd name="connsiteX84" fmla="*/ 1431119 w 4501379"/>
              <a:gd name="connsiteY84" fmla="*/ 161925 h 4429225"/>
              <a:gd name="connsiteX85" fmla="*/ 1507319 w 4501379"/>
              <a:gd name="connsiteY85" fmla="*/ 152400 h 4429225"/>
              <a:gd name="connsiteX86" fmla="*/ 1564469 w 4501379"/>
              <a:gd name="connsiteY86" fmla="*/ 142875 h 4429225"/>
              <a:gd name="connsiteX87" fmla="*/ 1697819 w 4501379"/>
              <a:gd name="connsiteY87" fmla="*/ 123825 h 4429225"/>
              <a:gd name="connsiteX88" fmla="*/ 1793069 w 4501379"/>
              <a:gd name="connsiteY88" fmla="*/ 114300 h 4429225"/>
              <a:gd name="connsiteX89" fmla="*/ 1840694 w 4501379"/>
              <a:gd name="connsiteY89" fmla="*/ 104775 h 4429225"/>
              <a:gd name="connsiteX90" fmla="*/ 1897844 w 4501379"/>
              <a:gd name="connsiteY90" fmla="*/ 95250 h 4429225"/>
              <a:gd name="connsiteX91" fmla="*/ 2012144 w 4501379"/>
              <a:gd name="connsiteY91" fmla="*/ 66675 h 4429225"/>
              <a:gd name="connsiteX92" fmla="*/ 2078819 w 4501379"/>
              <a:gd name="connsiteY92" fmla="*/ 47625 h 4429225"/>
              <a:gd name="connsiteX93" fmla="*/ 2145494 w 4501379"/>
              <a:gd name="connsiteY93" fmla="*/ 38100 h 4429225"/>
              <a:gd name="connsiteX94" fmla="*/ 2374094 w 4501379"/>
              <a:gd name="connsiteY94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126194 w 4501379"/>
              <a:gd name="connsiteY53" fmla="*/ 292417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4051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92919 w 4501379"/>
              <a:gd name="connsiteY50" fmla="*/ 3657600 h 4429225"/>
              <a:gd name="connsiteX51" fmla="*/ 44051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92919 w 4501379"/>
              <a:gd name="connsiteY50" fmla="*/ 3657600 h 4429225"/>
              <a:gd name="connsiteX51" fmla="*/ 446869 w 4501379"/>
              <a:gd name="connsiteY51" fmla="*/ 34702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145369 w 4501379"/>
              <a:gd name="connsiteY47" fmla="*/ 411162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313644 w 4501379"/>
              <a:gd name="connsiteY46" fmla="*/ 4216400 h 4429225"/>
              <a:gd name="connsiteX47" fmla="*/ 1145369 w 4501379"/>
              <a:gd name="connsiteY47" fmla="*/ 411162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94"/>
              <a:gd name="connsiteX1" fmla="*/ 2402669 w 4501379"/>
              <a:gd name="connsiteY1" fmla="*/ 28575 h 4429294"/>
              <a:gd name="connsiteX2" fmla="*/ 2478869 w 4501379"/>
              <a:gd name="connsiteY2" fmla="*/ 47625 h 4429294"/>
              <a:gd name="connsiteX3" fmla="*/ 2736044 w 4501379"/>
              <a:gd name="connsiteY3" fmla="*/ 66675 h 4429294"/>
              <a:gd name="connsiteX4" fmla="*/ 2812244 w 4501379"/>
              <a:gd name="connsiteY4" fmla="*/ 76200 h 4429294"/>
              <a:gd name="connsiteX5" fmla="*/ 2897969 w 4501379"/>
              <a:gd name="connsiteY5" fmla="*/ 85725 h 4429294"/>
              <a:gd name="connsiteX6" fmla="*/ 2955119 w 4501379"/>
              <a:gd name="connsiteY6" fmla="*/ 114300 h 4429294"/>
              <a:gd name="connsiteX7" fmla="*/ 2993219 w 4501379"/>
              <a:gd name="connsiteY7" fmla="*/ 123825 h 4429294"/>
              <a:gd name="connsiteX8" fmla="*/ 3117044 w 4501379"/>
              <a:gd name="connsiteY8" fmla="*/ 171450 h 4429294"/>
              <a:gd name="connsiteX9" fmla="*/ 3155144 w 4501379"/>
              <a:gd name="connsiteY9" fmla="*/ 190500 h 4429294"/>
              <a:gd name="connsiteX10" fmla="*/ 3221819 w 4501379"/>
              <a:gd name="connsiteY10" fmla="*/ 228600 h 4429294"/>
              <a:gd name="connsiteX11" fmla="*/ 3250394 w 4501379"/>
              <a:gd name="connsiteY11" fmla="*/ 238125 h 4429294"/>
              <a:gd name="connsiteX12" fmla="*/ 3278969 w 4501379"/>
              <a:gd name="connsiteY12" fmla="*/ 257175 h 4429294"/>
              <a:gd name="connsiteX13" fmla="*/ 3307544 w 4501379"/>
              <a:gd name="connsiteY13" fmla="*/ 266700 h 4429294"/>
              <a:gd name="connsiteX14" fmla="*/ 3336119 w 4501379"/>
              <a:gd name="connsiteY14" fmla="*/ 285750 h 4429294"/>
              <a:gd name="connsiteX15" fmla="*/ 3402794 w 4501379"/>
              <a:gd name="connsiteY15" fmla="*/ 323850 h 4429294"/>
              <a:gd name="connsiteX16" fmla="*/ 3450419 w 4501379"/>
              <a:gd name="connsiteY16" fmla="*/ 361950 h 4429294"/>
              <a:gd name="connsiteX17" fmla="*/ 3498044 w 4501379"/>
              <a:gd name="connsiteY17" fmla="*/ 390525 h 4429294"/>
              <a:gd name="connsiteX18" fmla="*/ 3612344 w 4501379"/>
              <a:gd name="connsiteY18" fmla="*/ 485775 h 4429294"/>
              <a:gd name="connsiteX19" fmla="*/ 3726644 w 4501379"/>
              <a:gd name="connsiteY19" fmla="*/ 542925 h 4429294"/>
              <a:gd name="connsiteX20" fmla="*/ 3793319 w 4501379"/>
              <a:gd name="connsiteY20" fmla="*/ 581025 h 4429294"/>
              <a:gd name="connsiteX21" fmla="*/ 4009219 w 4501379"/>
              <a:gd name="connsiteY21" fmla="*/ 819150 h 4429294"/>
              <a:gd name="connsiteX22" fmla="*/ 4145744 w 4501379"/>
              <a:gd name="connsiteY22" fmla="*/ 990600 h 4429294"/>
              <a:gd name="connsiteX23" fmla="*/ 4231469 w 4501379"/>
              <a:gd name="connsiteY23" fmla="*/ 1143000 h 4429294"/>
              <a:gd name="connsiteX24" fmla="*/ 4288619 w 4501379"/>
              <a:gd name="connsiteY24" fmla="*/ 1266825 h 4429294"/>
              <a:gd name="connsiteX25" fmla="*/ 4326719 w 4501379"/>
              <a:gd name="connsiteY25" fmla="*/ 1362075 h 4429294"/>
              <a:gd name="connsiteX26" fmla="*/ 4374344 w 4501379"/>
              <a:gd name="connsiteY26" fmla="*/ 1552575 h 4429294"/>
              <a:gd name="connsiteX27" fmla="*/ 4412444 w 4501379"/>
              <a:gd name="connsiteY27" fmla="*/ 1685925 h 4429294"/>
              <a:gd name="connsiteX28" fmla="*/ 4501344 w 4501379"/>
              <a:gd name="connsiteY28" fmla="*/ 2181225 h 4429294"/>
              <a:gd name="connsiteX29" fmla="*/ 4428319 w 4501379"/>
              <a:gd name="connsiteY29" fmla="*/ 2768600 h 4429294"/>
              <a:gd name="connsiteX30" fmla="*/ 4364819 w 4501379"/>
              <a:gd name="connsiteY30" fmla="*/ 2990850 h 4429294"/>
              <a:gd name="connsiteX31" fmla="*/ 4260044 w 4501379"/>
              <a:gd name="connsiteY31" fmla="*/ 3248025 h 4429294"/>
              <a:gd name="connsiteX32" fmla="*/ 4164794 w 4501379"/>
              <a:gd name="connsiteY32" fmla="*/ 3400425 h 4429294"/>
              <a:gd name="connsiteX33" fmla="*/ 4040969 w 4501379"/>
              <a:gd name="connsiteY33" fmla="*/ 3533775 h 4429294"/>
              <a:gd name="connsiteX34" fmla="*/ 3936194 w 4501379"/>
              <a:gd name="connsiteY34" fmla="*/ 3648075 h 4429294"/>
              <a:gd name="connsiteX35" fmla="*/ 3640919 w 4501379"/>
              <a:gd name="connsiteY35" fmla="*/ 3971925 h 4429294"/>
              <a:gd name="connsiteX36" fmla="*/ 3498044 w 4501379"/>
              <a:gd name="connsiteY36" fmla="*/ 4083050 h 4429294"/>
              <a:gd name="connsiteX37" fmla="*/ 3202769 w 4501379"/>
              <a:gd name="connsiteY37" fmla="*/ 4222750 h 4429294"/>
              <a:gd name="connsiteX38" fmla="*/ 3050369 w 4501379"/>
              <a:gd name="connsiteY38" fmla="*/ 4286250 h 4429294"/>
              <a:gd name="connsiteX39" fmla="*/ 2917019 w 4501379"/>
              <a:gd name="connsiteY39" fmla="*/ 4333875 h 4429294"/>
              <a:gd name="connsiteX40" fmla="*/ 2793194 w 4501379"/>
              <a:gd name="connsiteY40" fmla="*/ 4371975 h 4429294"/>
              <a:gd name="connsiteX41" fmla="*/ 2561419 w 4501379"/>
              <a:gd name="connsiteY41" fmla="*/ 4391025 h 4429294"/>
              <a:gd name="connsiteX42" fmla="*/ 2107394 w 4501379"/>
              <a:gd name="connsiteY42" fmla="*/ 4429125 h 4429294"/>
              <a:gd name="connsiteX43" fmla="*/ 1916894 w 4501379"/>
              <a:gd name="connsiteY43" fmla="*/ 4400550 h 4429294"/>
              <a:gd name="connsiteX44" fmla="*/ 1554944 w 4501379"/>
              <a:gd name="connsiteY44" fmla="*/ 4305300 h 4429294"/>
              <a:gd name="connsiteX45" fmla="*/ 1313644 w 4501379"/>
              <a:gd name="connsiteY45" fmla="*/ 4216400 h 4429294"/>
              <a:gd name="connsiteX46" fmla="*/ 1145369 w 4501379"/>
              <a:gd name="connsiteY46" fmla="*/ 4111625 h 4429294"/>
              <a:gd name="connsiteX47" fmla="*/ 926294 w 4501379"/>
              <a:gd name="connsiteY47" fmla="*/ 3968750 h 4429294"/>
              <a:gd name="connsiteX48" fmla="*/ 592919 w 4501379"/>
              <a:gd name="connsiteY48" fmla="*/ 3657600 h 4429294"/>
              <a:gd name="connsiteX49" fmla="*/ 446869 w 4501379"/>
              <a:gd name="connsiteY49" fmla="*/ 3470275 h 4429294"/>
              <a:gd name="connsiteX50" fmla="*/ 316694 w 4501379"/>
              <a:gd name="connsiteY50" fmla="*/ 3244850 h 4429294"/>
              <a:gd name="connsiteX51" fmla="*/ 164294 w 4501379"/>
              <a:gd name="connsiteY51" fmla="*/ 2892425 h 4429294"/>
              <a:gd name="connsiteX52" fmla="*/ 56344 w 4501379"/>
              <a:gd name="connsiteY52" fmla="*/ 2368550 h 4429294"/>
              <a:gd name="connsiteX53" fmla="*/ 2369 w 4501379"/>
              <a:gd name="connsiteY53" fmla="*/ 1905000 h 4429294"/>
              <a:gd name="connsiteX54" fmla="*/ 11894 w 4501379"/>
              <a:gd name="connsiteY54" fmla="*/ 1838325 h 4429294"/>
              <a:gd name="connsiteX55" fmla="*/ 30944 w 4501379"/>
              <a:gd name="connsiteY55" fmla="*/ 1781175 h 4429294"/>
              <a:gd name="connsiteX56" fmla="*/ 40469 w 4501379"/>
              <a:gd name="connsiteY56" fmla="*/ 1743075 h 4429294"/>
              <a:gd name="connsiteX57" fmla="*/ 59519 w 4501379"/>
              <a:gd name="connsiteY57" fmla="*/ 1685925 h 4429294"/>
              <a:gd name="connsiteX58" fmla="*/ 69044 w 4501379"/>
              <a:gd name="connsiteY58" fmla="*/ 1638300 h 4429294"/>
              <a:gd name="connsiteX59" fmla="*/ 88094 w 4501379"/>
              <a:gd name="connsiteY59" fmla="*/ 1590675 h 4429294"/>
              <a:gd name="connsiteX60" fmla="*/ 116669 w 4501379"/>
              <a:gd name="connsiteY60" fmla="*/ 1504950 h 4429294"/>
              <a:gd name="connsiteX61" fmla="*/ 135719 w 4501379"/>
              <a:gd name="connsiteY61" fmla="*/ 1419225 h 4429294"/>
              <a:gd name="connsiteX62" fmla="*/ 211919 w 4501379"/>
              <a:gd name="connsiteY62" fmla="*/ 1276350 h 4429294"/>
              <a:gd name="connsiteX63" fmla="*/ 221444 w 4501379"/>
              <a:gd name="connsiteY63" fmla="*/ 1247775 h 4429294"/>
              <a:gd name="connsiteX64" fmla="*/ 250019 w 4501379"/>
              <a:gd name="connsiteY64" fmla="*/ 1200150 h 4429294"/>
              <a:gd name="connsiteX65" fmla="*/ 269069 w 4501379"/>
              <a:gd name="connsiteY65" fmla="*/ 1152525 h 4429294"/>
              <a:gd name="connsiteX66" fmla="*/ 297644 w 4501379"/>
              <a:gd name="connsiteY66" fmla="*/ 1114425 h 4429294"/>
              <a:gd name="connsiteX67" fmla="*/ 345269 w 4501379"/>
              <a:gd name="connsiteY67" fmla="*/ 1038225 h 4429294"/>
              <a:gd name="connsiteX68" fmla="*/ 364319 w 4501379"/>
              <a:gd name="connsiteY68" fmla="*/ 1009650 h 4429294"/>
              <a:gd name="connsiteX69" fmla="*/ 421469 w 4501379"/>
              <a:gd name="connsiteY69" fmla="*/ 904875 h 4429294"/>
              <a:gd name="connsiteX70" fmla="*/ 459569 w 4501379"/>
              <a:gd name="connsiteY70" fmla="*/ 857250 h 4429294"/>
              <a:gd name="connsiteX71" fmla="*/ 478619 w 4501379"/>
              <a:gd name="connsiteY71" fmla="*/ 828675 h 4429294"/>
              <a:gd name="connsiteX72" fmla="*/ 516719 w 4501379"/>
              <a:gd name="connsiteY72" fmla="*/ 800100 h 4429294"/>
              <a:gd name="connsiteX73" fmla="*/ 583394 w 4501379"/>
              <a:gd name="connsiteY73" fmla="*/ 733425 h 4429294"/>
              <a:gd name="connsiteX74" fmla="*/ 650069 w 4501379"/>
              <a:gd name="connsiteY74" fmla="*/ 676275 h 4429294"/>
              <a:gd name="connsiteX75" fmla="*/ 678644 w 4501379"/>
              <a:gd name="connsiteY75" fmla="*/ 657225 h 4429294"/>
              <a:gd name="connsiteX76" fmla="*/ 821519 w 4501379"/>
              <a:gd name="connsiteY76" fmla="*/ 533400 h 4429294"/>
              <a:gd name="connsiteX77" fmla="*/ 869144 w 4501379"/>
              <a:gd name="connsiteY77" fmla="*/ 504825 h 4429294"/>
              <a:gd name="connsiteX78" fmla="*/ 1148544 w 4501379"/>
              <a:gd name="connsiteY78" fmla="*/ 311150 h 4429294"/>
              <a:gd name="connsiteX79" fmla="*/ 1250144 w 4501379"/>
              <a:gd name="connsiteY79" fmla="*/ 285750 h 4429294"/>
              <a:gd name="connsiteX80" fmla="*/ 1393019 w 4501379"/>
              <a:gd name="connsiteY80" fmla="*/ 190500 h 4429294"/>
              <a:gd name="connsiteX81" fmla="*/ 1431119 w 4501379"/>
              <a:gd name="connsiteY81" fmla="*/ 161925 h 4429294"/>
              <a:gd name="connsiteX82" fmla="*/ 1507319 w 4501379"/>
              <a:gd name="connsiteY82" fmla="*/ 152400 h 4429294"/>
              <a:gd name="connsiteX83" fmla="*/ 1564469 w 4501379"/>
              <a:gd name="connsiteY83" fmla="*/ 142875 h 4429294"/>
              <a:gd name="connsiteX84" fmla="*/ 1697819 w 4501379"/>
              <a:gd name="connsiteY84" fmla="*/ 123825 h 4429294"/>
              <a:gd name="connsiteX85" fmla="*/ 1793069 w 4501379"/>
              <a:gd name="connsiteY85" fmla="*/ 114300 h 4429294"/>
              <a:gd name="connsiteX86" fmla="*/ 1840694 w 4501379"/>
              <a:gd name="connsiteY86" fmla="*/ 104775 h 4429294"/>
              <a:gd name="connsiteX87" fmla="*/ 1897844 w 4501379"/>
              <a:gd name="connsiteY87" fmla="*/ 95250 h 4429294"/>
              <a:gd name="connsiteX88" fmla="*/ 2012144 w 4501379"/>
              <a:gd name="connsiteY88" fmla="*/ 66675 h 4429294"/>
              <a:gd name="connsiteX89" fmla="*/ 2078819 w 4501379"/>
              <a:gd name="connsiteY89" fmla="*/ 47625 h 4429294"/>
              <a:gd name="connsiteX90" fmla="*/ 2145494 w 4501379"/>
              <a:gd name="connsiteY90" fmla="*/ 38100 h 4429294"/>
              <a:gd name="connsiteX91" fmla="*/ 2374094 w 4501379"/>
              <a:gd name="connsiteY91" fmla="*/ 28575 h 4429294"/>
              <a:gd name="connsiteX0" fmla="*/ 2278844 w 4501379"/>
              <a:gd name="connsiteY0" fmla="*/ 0 h 4429294"/>
              <a:gd name="connsiteX1" fmla="*/ 2402669 w 4501379"/>
              <a:gd name="connsiteY1" fmla="*/ 28575 h 4429294"/>
              <a:gd name="connsiteX2" fmla="*/ 2478869 w 4501379"/>
              <a:gd name="connsiteY2" fmla="*/ 47625 h 4429294"/>
              <a:gd name="connsiteX3" fmla="*/ 2736044 w 4501379"/>
              <a:gd name="connsiteY3" fmla="*/ 66675 h 4429294"/>
              <a:gd name="connsiteX4" fmla="*/ 2812244 w 4501379"/>
              <a:gd name="connsiteY4" fmla="*/ 76200 h 4429294"/>
              <a:gd name="connsiteX5" fmla="*/ 2897969 w 4501379"/>
              <a:gd name="connsiteY5" fmla="*/ 85725 h 4429294"/>
              <a:gd name="connsiteX6" fmla="*/ 2955119 w 4501379"/>
              <a:gd name="connsiteY6" fmla="*/ 114300 h 4429294"/>
              <a:gd name="connsiteX7" fmla="*/ 2993219 w 4501379"/>
              <a:gd name="connsiteY7" fmla="*/ 123825 h 4429294"/>
              <a:gd name="connsiteX8" fmla="*/ 3117044 w 4501379"/>
              <a:gd name="connsiteY8" fmla="*/ 171450 h 4429294"/>
              <a:gd name="connsiteX9" fmla="*/ 3155144 w 4501379"/>
              <a:gd name="connsiteY9" fmla="*/ 190500 h 4429294"/>
              <a:gd name="connsiteX10" fmla="*/ 3221819 w 4501379"/>
              <a:gd name="connsiteY10" fmla="*/ 228600 h 4429294"/>
              <a:gd name="connsiteX11" fmla="*/ 3250394 w 4501379"/>
              <a:gd name="connsiteY11" fmla="*/ 238125 h 4429294"/>
              <a:gd name="connsiteX12" fmla="*/ 3278969 w 4501379"/>
              <a:gd name="connsiteY12" fmla="*/ 257175 h 4429294"/>
              <a:gd name="connsiteX13" fmla="*/ 3307544 w 4501379"/>
              <a:gd name="connsiteY13" fmla="*/ 266700 h 4429294"/>
              <a:gd name="connsiteX14" fmla="*/ 3336119 w 4501379"/>
              <a:gd name="connsiteY14" fmla="*/ 285750 h 4429294"/>
              <a:gd name="connsiteX15" fmla="*/ 3402794 w 4501379"/>
              <a:gd name="connsiteY15" fmla="*/ 323850 h 4429294"/>
              <a:gd name="connsiteX16" fmla="*/ 3450419 w 4501379"/>
              <a:gd name="connsiteY16" fmla="*/ 361950 h 4429294"/>
              <a:gd name="connsiteX17" fmla="*/ 3498044 w 4501379"/>
              <a:gd name="connsiteY17" fmla="*/ 390525 h 4429294"/>
              <a:gd name="connsiteX18" fmla="*/ 3612344 w 4501379"/>
              <a:gd name="connsiteY18" fmla="*/ 485775 h 4429294"/>
              <a:gd name="connsiteX19" fmla="*/ 3726644 w 4501379"/>
              <a:gd name="connsiteY19" fmla="*/ 542925 h 4429294"/>
              <a:gd name="connsiteX20" fmla="*/ 3793319 w 4501379"/>
              <a:gd name="connsiteY20" fmla="*/ 581025 h 4429294"/>
              <a:gd name="connsiteX21" fmla="*/ 4009219 w 4501379"/>
              <a:gd name="connsiteY21" fmla="*/ 819150 h 4429294"/>
              <a:gd name="connsiteX22" fmla="*/ 4145744 w 4501379"/>
              <a:gd name="connsiteY22" fmla="*/ 990600 h 4429294"/>
              <a:gd name="connsiteX23" fmla="*/ 4231469 w 4501379"/>
              <a:gd name="connsiteY23" fmla="*/ 1143000 h 4429294"/>
              <a:gd name="connsiteX24" fmla="*/ 4288619 w 4501379"/>
              <a:gd name="connsiteY24" fmla="*/ 1266825 h 4429294"/>
              <a:gd name="connsiteX25" fmla="*/ 4326719 w 4501379"/>
              <a:gd name="connsiteY25" fmla="*/ 1362075 h 4429294"/>
              <a:gd name="connsiteX26" fmla="*/ 4374344 w 4501379"/>
              <a:gd name="connsiteY26" fmla="*/ 1552575 h 4429294"/>
              <a:gd name="connsiteX27" fmla="*/ 4412444 w 4501379"/>
              <a:gd name="connsiteY27" fmla="*/ 1685925 h 4429294"/>
              <a:gd name="connsiteX28" fmla="*/ 4501344 w 4501379"/>
              <a:gd name="connsiteY28" fmla="*/ 2181225 h 4429294"/>
              <a:gd name="connsiteX29" fmla="*/ 4428319 w 4501379"/>
              <a:gd name="connsiteY29" fmla="*/ 2768600 h 4429294"/>
              <a:gd name="connsiteX30" fmla="*/ 4364819 w 4501379"/>
              <a:gd name="connsiteY30" fmla="*/ 2990850 h 4429294"/>
              <a:gd name="connsiteX31" fmla="*/ 4260044 w 4501379"/>
              <a:gd name="connsiteY31" fmla="*/ 3248025 h 4429294"/>
              <a:gd name="connsiteX32" fmla="*/ 4164794 w 4501379"/>
              <a:gd name="connsiteY32" fmla="*/ 3400425 h 4429294"/>
              <a:gd name="connsiteX33" fmla="*/ 4040969 w 4501379"/>
              <a:gd name="connsiteY33" fmla="*/ 3533775 h 4429294"/>
              <a:gd name="connsiteX34" fmla="*/ 3936194 w 4501379"/>
              <a:gd name="connsiteY34" fmla="*/ 3648075 h 4429294"/>
              <a:gd name="connsiteX35" fmla="*/ 3640919 w 4501379"/>
              <a:gd name="connsiteY35" fmla="*/ 3971925 h 4429294"/>
              <a:gd name="connsiteX36" fmla="*/ 3498044 w 4501379"/>
              <a:gd name="connsiteY36" fmla="*/ 4083050 h 4429294"/>
              <a:gd name="connsiteX37" fmla="*/ 3202769 w 4501379"/>
              <a:gd name="connsiteY37" fmla="*/ 4222750 h 4429294"/>
              <a:gd name="connsiteX38" fmla="*/ 3050369 w 4501379"/>
              <a:gd name="connsiteY38" fmla="*/ 4286250 h 4429294"/>
              <a:gd name="connsiteX39" fmla="*/ 2917019 w 4501379"/>
              <a:gd name="connsiteY39" fmla="*/ 4333875 h 4429294"/>
              <a:gd name="connsiteX40" fmla="*/ 2793194 w 4501379"/>
              <a:gd name="connsiteY40" fmla="*/ 4371975 h 4429294"/>
              <a:gd name="connsiteX41" fmla="*/ 2561419 w 4501379"/>
              <a:gd name="connsiteY41" fmla="*/ 4391025 h 4429294"/>
              <a:gd name="connsiteX42" fmla="*/ 2107394 w 4501379"/>
              <a:gd name="connsiteY42" fmla="*/ 4429125 h 4429294"/>
              <a:gd name="connsiteX43" fmla="*/ 1916894 w 4501379"/>
              <a:gd name="connsiteY43" fmla="*/ 4400550 h 4429294"/>
              <a:gd name="connsiteX44" fmla="*/ 1554944 w 4501379"/>
              <a:gd name="connsiteY44" fmla="*/ 4305300 h 4429294"/>
              <a:gd name="connsiteX45" fmla="*/ 1313644 w 4501379"/>
              <a:gd name="connsiteY45" fmla="*/ 4216400 h 4429294"/>
              <a:gd name="connsiteX46" fmla="*/ 1145369 w 4501379"/>
              <a:gd name="connsiteY46" fmla="*/ 4111625 h 4429294"/>
              <a:gd name="connsiteX47" fmla="*/ 926294 w 4501379"/>
              <a:gd name="connsiteY47" fmla="*/ 3968750 h 4429294"/>
              <a:gd name="connsiteX48" fmla="*/ 592919 w 4501379"/>
              <a:gd name="connsiteY48" fmla="*/ 3657600 h 4429294"/>
              <a:gd name="connsiteX49" fmla="*/ 446869 w 4501379"/>
              <a:gd name="connsiteY49" fmla="*/ 3470275 h 4429294"/>
              <a:gd name="connsiteX50" fmla="*/ 316694 w 4501379"/>
              <a:gd name="connsiteY50" fmla="*/ 3244850 h 4429294"/>
              <a:gd name="connsiteX51" fmla="*/ 164294 w 4501379"/>
              <a:gd name="connsiteY51" fmla="*/ 2892425 h 4429294"/>
              <a:gd name="connsiteX52" fmla="*/ 56344 w 4501379"/>
              <a:gd name="connsiteY52" fmla="*/ 2368550 h 4429294"/>
              <a:gd name="connsiteX53" fmla="*/ 2369 w 4501379"/>
              <a:gd name="connsiteY53" fmla="*/ 1905000 h 4429294"/>
              <a:gd name="connsiteX54" fmla="*/ 11894 w 4501379"/>
              <a:gd name="connsiteY54" fmla="*/ 1838325 h 4429294"/>
              <a:gd name="connsiteX55" fmla="*/ 30944 w 4501379"/>
              <a:gd name="connsiteY55" fmla="*/ 1781175 h 4429294"/>
              <a:gd name="connsiteX56" fmla="*/ 40469 w 4501379"/>
              <a:gd name="connsiteY56" fmla="*/ 1743075 h 4429294"/>
              <a:gd name="connsiteX57" fmla="*/ 59519 w 4501379"/>
              <a:gd name="connsiteY57" fmla="*/ 1685925 h 4429294"/>
              <a:gd name="connsiteX58" fmla="*/ 69044 w 4501379"/>
              <a:gd name="connsiteY58" fmla="*/ 1638300 h 4429294"/>
              <a:gd name="connsiteX59" fmla="*/ 88094 w 4501379"/>
              <a:gd name="connsiteY59" fmla="*/ 1590675 h 4429294"/>
              <a:gd name="connsiteX60" fmla="*/ 116669 w 4501379"/>
              <a:gd name="connsiteY60" fmla="*/ 1504950 h 4429294"/>
              <a:gd name="connsiteX61" fmla="*/ 135719 w 4501379"/>
              <a:gd name="connsiteY61" fmla="*/ 1419225 h 4429294"/>
              <a:gd name="connsiteX62" fmla="*/ 211919 w 4501379"/>
              <a:gd name="connsiteY62" fmla="*/ 1276350 h 4429294"/>
              <a:gd name="connsiteX63" fmla="*/ 221444 w 4501379"/>
              <a:gd name="connsiteY63" fmla="*/ 1247775 h 4429294"/>
              <a:gd name="connsiteX64" fmla="*/ 250019 w 4501379"/>
              <a:gd name="connsiteY64" fmla="*/ 1200150 h 4429294"/>
              <a:gd name="connsiteX65" fmla="*/ 269069 w 4501379"/>
              <a:gd name="connsiteY65" fmla="*/ 1152525 h 4429294"/>
              <a:gd name="connsiteX66" fmla="*/ 297644 w 4501379"/>
              <a:gd name="connsiteY66" fmla="*/ 1114425 h 4429294"/>
              <a:gd name="connsiteX67" fmla="*/ 345269 w 4501379"/>
              <a:gd name="connsiteY67" fmla="*/ 1038225 h 4429294"/>
              <a:gd name="connsiteX68" fmla="*/ 364319 w 4501379"/>
              <a:gd name="connsiteY68" fmla="*/ 1009650 h 4429294"/>
              <a:gd name="connsiteX69" fmla="*/ 421469 w 4501379"/>
              <a:gd name="connsiteY69" fmla="*/ 904875 h 4429294"/>
              <a:gd name="connsiteX70" fmla="*/ 459569 w 4501379"/>
              <a:gd name="connsiteY70" fmla="*/ 857250 h 4429294"/>
              <a:gd name="connsiteX71" fmla="*/ 478619 w 4501379"/>
              <a:gd name="connsiteY71" fmla="*/ 828675 h 4429294"/>
              <a:gd name="connsiteX72" fmla="*/ 516719 w 4501379"/>
              <a:gd name="connsiteY72" fmla="*/ 800100 h 4429294"/>
              <a:gd name="connsiteX73" fmla="*/ 583394 w 4501379"/>
              <a:gd name="connsiteY73" fmla="*/ 733425 h 4429294"/>
              <a:gd name="connsiteX74" fmla="*/ 650069 w 4501379"/>
              <a:gd name="connsiteY74" fmla="*/ 676275 h 4429294"/>
              <a:gd name="connsiteX75" fmla="*/ 678644 w 4501379"/>
              <a:gd name="connsiteY75" fmla="*/ 657225 h 4429294"/>
              <a:gd name="connsiteX76" fmla="*/ 821519 w 4501379"/>
              <a:gd name="connsiteY76" fmla="*/ 533400 h 4429294"/>
              <a:gd name="connsiteX77" fmla="*/ 869144 w 4501379"/>
              <a:gd name="connsiteY77" fmla="*/ 504825 h 4429294"/>
              <a:gd name="connsiteX78" fmla="*/ 1148544 w 4501379"/>
              <a:gd name="connsiteY78" fmla="*/ 311150 h 4429294"/>
              <a:gd name="connsiteX79" fmla="*/ 1250144 w 4501379"/>
              <a:gd name="connsiteY79" fmla="*/ 285750 h 4429294"/>
              <a:gd name="connsiteX80" fmla="*/ 1393019 w 4501379"/>
              <a:gd name="connsiteY80" fmla="*/ 190500 h 4429294"/>
              <a:gd name="connsiteX81" fmla="*/ 1431119 w 4501379"/>
              <a:gd name="connsiteY81" fmla="*/ 161925 h 4429294"/>
              <a:gd name="connsiteX82" fmla="*/ 1507319 w 4501379"/>
              <a:gd name="connsiteY82" fmla="*/ 152400 h 4429294"/>
              <a:gd name="connsiteX83" fmla="*/ 1564469 w 4501379"/>
              <a:gd name="connsiteY83" fmla="*/ 142875 h 4429294"/>
              <a:gd name="connsiteX84" fmla="*/ 1697819 w 4501379"/>
              <a:gd name="connsiteY84" fmla="*/ 123825 h 4429294"/>
              <a:gd name="connsiteX85" fmla="*/ 1793069 w 4501379"/>
              <a:gd name="connsiteY85" fmla="*/ 114300 h 4429294"/>
              <a:gd name="connsiteX86" fmla="*/ 1840694 w 4501379"/>
              <a:gd name="connsiteY86" fmla="*/ 104775 h 4429294"/>
              <a:gd name="connsiteX87" fmla="*/ 1897844 w 4501379"/>
              <a:gd name="connsiteY87" fmla="*/ 95250 h 4429294"/>
              <a:gd name="connsiteX88" fmla="*/ 2012144 w 4501379"/>
              <a:gd name="connsiteY88" fmla="*/ 66675 h 4429294"/>
              <a:gd name="connsiteX89" fmla="*/ 2078819 w 4501379"/>
              <a:gd name="connsiteY89" fmla="*/ 47625 h 4429294"/>
              <a:gd name="connsiteX90" fmla="*/ 2145494 w 4501379"/>
              <a:gd name="connsiteY90" fmla="*/ 38100 h 4429294"/>
              <a:gd name="connsiteX0" fmla="*/ 2278844 w 4501379"/>
              <a:gd name="connsiteY0" fmla="*/ 0 h 4429294"/>
              <a:gd name="connsiteX1" fmla="*/ 2478869 w 4501379"/>
              <a:gd name="connsiteY1" fmla="*/ 47625 h 4429294"/>
              <a:gd name="connsiteX2" fmla="*/ 2736044 w 4501379"/>
              <a:gd name="connsiteY2" fmla="*/ 66675 h 4429294"/>
              <a:gd name="connsiteX3" fmla="*/ 2812244 w 4501379"/>
              <a:gd name="connsiteY3" fmla="*/ 76200 h 4429294"/>
              <a:gd name="connsiteX4" fmla="*/ 2897969 w 4501379"/>
              <a:gd name="connsiteY4" fmla="*/ 85725 h 4429294"/>
              <a:gd name="connsiteX5" fmla="*/ 2955119 w 4501379"/>
              <a:gd name="connsiteY5" fmla="*/ 114300 h 4429294"/>
              <a:gd name="connsiteX6" fmla="*/ 2993219 w 4501379"/>
              <a:gd name="connsiteY6" fmla="*/ 123825 h 4429294"/>
              <a:gd name="connsiteX7" fmla="*/ 3117044 w 4501379"/>
              <a:gd name="connsiteY7" fmla="*/ 171450 h 4429294"/>
              <a:gd name="connsiteX8" fmla="*/ 3155144 w 4501379"/>
              <a:gd name="connsiteY8" fmla="*/ 190500 h 4429294"/>
              <a:gd name="connsiteX9" fmla="*/ 3221819 w 4501379"/>
              <a:gd name="connsiteY9" fmla="*/ 228600 h 4429294"/>
              <a:gd name="connsiteX10" fmla="*/ 3250394 w 4501379"/>
              <a:gd name="connsiteY10" fmla="*/ 238125 h 4429294"/>
              <a:gd name="connsiteX11" fmla="*/ 3278969 w 4501379"/>
              <a:gd name="connsiteY11" fmla="*/ 257175 h 4429294"/>
              <a:gd name="connsiteX12" fmla="*/ 3307544 w 4501379"/>
              <a:gd name="connsiteY12" fmla="*/ 266700 h 4429294"/>
              <a:gd name="connsiteX13" fmla="*/ 3336119 w 4501379"/>
              <a:gd name="connsiteY13" fmla="*/ 285750 h 4429294"/>
              <a:gd name="connsiteX14" fmla="*/ 3402794 w 4501379"/>
              <a:gd name="connsiteY14" fmla="*/ 323850 h 4429294"/>
              <a:gd name="connsiteX15" fmla="*/ 3450419 w 4501379"/>
              <a:gd name="connsiteY15" fmla="*/ 361950 h 4429294"/>
              <a:gd name="connsiteX16" fmla="*/ 3498044 w 4501379"/>
              <a:gd name="connsiteY16" fmla="*/ 390525 h 4429294"/>
              <a:gd name="connsiteX17" fmla="*/ 3612344 w 4501379"/>
              <a:gd name="connsiteY17" fmla="*/ 485775 h 4429294"/>
              <a:gd name="connsiteX18" fmla="*/ 3726644 w 4501379"/>
              <a:gd name="connsiteY18" fmla="*/ 542925 h 4429294"/>
              <a:gd name="connsiteX19" fmla="*/ 3793319 w 4501379"/>
              <a:gd name="connsiteY19" fmla="*/ 581025 h 4429294"/>
              <a:gd name="connsiteX20" fmla="*/ 4009219 w 4501379"/>
              <a:gd name="connsiteY20" fmla="*/ 819150 h 4429294"/>
              <a:gd name="connsiteX21" fmla="*/ 4145744 w 4501379"/>
              <a:gd name="connsiteY21" fmla="*/ 990600 h 4429294"/>
              <a:gd name="connsiteX22" fmla="*/ 4231469 w 4501379"/>
              <a:gd name="connsiteY22" fmla="*/ 1143000 h 4429294"/>
              <a:gd name="connsiteX23" fmla="*/ 4288619 w 4501379"/>
              <a:gd name="connsiteY23" fmla="*/ 1266825 h 4429294"/>
              <a:gd name="connsiteX24" fmla="*/ 4326719 w 4501379"/>
              <a:gd name="connsiteY24" fmla="*/ 1362075 h 4429294"/>
              <a:gd name="connsiteX25" fmla="*/ 4374344 w 4501379"/>
              <a:gd name="connsiteY25" fmla="*/ 1552575 h 4429294"/>
              <a:gd name="connsiteX26" fmla="*/ 4412444 w 4501379"/>
              <a:gd name="connsiteY26" fmla="*/ 1685925 h 4429294"/>
              <a:gd name="connsiteX27" fmla="*/ 4501344 w 4501379"/>
              <a:gd name="connsiteY27" fmla="*/ 2181225 h 4429294"/>
              <a:gd name="connsiteX28" fmla="*/ 4428319 w 4501379"/>
              <a:gd name="connsiteY28" fmla="*/ 2768600 h 4429294"/>
              <a:gd name="connsiteX29" fmla="*/ 4364819 w 4501379"/>
              <a:gd name="connsiteY29" fmla="*/ 2990850 h 4429294"/>
              <a:gd name="connsiteX30" fmla="*/ 4260044 w 4501379"/>
              <a:gd name="connsiteY30" fmla="*/ 3248025 h 4429294"/>
              <a:gd name="connsiteX31" fmla="*/ 4164794 w 4501379"/>
              <a:gd name="connsiteY31" fmla="*/ 3400425 h 4429294"/>
              <a:gd name="connsiteX32" fmla="*/ 4040969 w 4501379"/>
              <a:gd name="connsiteY32" fmla="*/ 3533775 h 4429294"/>
              <a:gd name="connsiteX33" fmla="*/ 3936194 w 4501379"/>
              <a:gd name="connsiteY33" fmla="*/ 3648075 h 4429294"/>
              <a:gd name="connsiteX34" fmla="*/ 3640919 w 4501379"/>
              <a:gd name="connsiteY34" fmla="*/ 3971925 h 4429294"/>
              <a:gd name="connsiteX35" fmla="*/ 3498044 w 4501379"/>
              <a:gd name="connsiteY35" fmla="*/ 4083050 h 4429294"/>
              <a:gd name="connsiteX36" fmla="*/ 3202769 w 4501379"/>
              <a:gd name="connsiteY36" fmla="*/ 4222750 h 4429294"/>
              <a:gd name="connsiteX37" fmla="*/ 3050369 w 4501379"/>
              <a:gd name="connsiteY37" fmla="*/ 4286250 h 4429294"/>
              <a:gd name="connsiteX38" fmla="*/ 2917019 w 4501379"/>
              <a:gd name="connsiteY38" fmla="*/ 4333875 h 4429294"/>
              <a:gd name="connsiteX39" fmla="*/ 2793194 w 4501379"/>
              <a:gd name="connsiteY39" fmla="*/ 4371975 h 4429294"/>
              <a:gd name="connsiteX40" fmla="*/ 2561419 w 4501379"/>
              <a:gd name="connsiteY40" fmla="*/ 4391025 h 4429294"/>
              <a:gd name="connsiteX41" fmla="*/ 2107394 w 4501379"/>
              <a:gd name="connsiteY41" fmla="*/ 4429125 h 4429294"/>
              <a:gd name="connsiteX42" fmla="*/ 1916894 w 4501379"/>
              <a:gd name="connsiteY42" fmla="*/ 4400550 h 4429294"/>
              <a:gd name="connsiteX43" fmla="*/ 1554944 w 4501379"/>
              <a:gd name="connsiteY43" fmla="*/ 4305300 h 4429294"/>
              <a:gd name="connsiteX44" fmla="*/ 1313644 w 4501379"/>
              <a:gd name="connsiteY44" fmla="*/ 4216400 h 4429294"/>
              <a:gd name="connsiteX45" fmla="*/ 1145369 w 4501379"/>
              <a:gd name="connsiteY45" fmla="*/ 4111625 h 4429294"/>
              <a:gd name="connsiteX46" fmla="*/ 926294 w 4501379"/>
              <a:gd name="connsiteY46" fmla="*/ 3968750 h 4429294"/>
              <a:gd name="connsiteX47" fmla="*/ 592919 w 4501379"/>
              <a:gd name="connsiteY47" fmla="*/ 3657600 h 4429294"/>
              <a:gd name="connsiteX48" fmla="*/ 446869 w 4501379"/>
              <a:gd name="connsiteY48" fmla="*/ 3470275 h 4429294"/>
              <a:gd name="connsiteX49" fmla="*/ 316694 w 4501379"/>
              <a:gd name="connsiteY49" fmla="*/ 3244850 h 4429294"/>
              <a:gd name="connsiteX50" fmla="*/ 164294 w 4501379"/>
              <a:gd name="connsiteY50" fmla="*/ 2892425 h 4429294"/>
              <a:gd name="connsiteX51" fmla="*/ 56344 w 4501379"/>
              <a:gd name="connsiteY51" fmla="*/ 2368550 h 4429294"/>
              <a:gd name="connsiteX52" fmla="*/ 2369 w 4501379"/>
              <a:gd name="connsiteY52" fmla="*/ 1905000 h 4429294"/>
              <a:gd name="connsiteX53" fmla="*/ 11894 w 4501379"/>
              <a:gd name="connsiteY53" fmla="*/ 1838325 h 4429294"/>
              <a:gd name="connsiteX54" fmla="*/ 30944 w 4501379"/>
              <a:gd name="connsiteY54" fmla="*/ 1781175 h 4429294"/>
              <a:gd name="connsiteX55" fmla="*/ 40469 w 4501379"/>
              <a:gd name="connsiteY55" fmla="*/ 1743075 h 4429294"/>
              <a:gd name="connsiteX56" fmla="*/ 59519 w 4501379"/>
              <a:gd name="connsiteY56" fmla="*/ 1685925 h 4429294"/>
              <a:gd name="connsiteX57" fmla="*/ 69044 w 4501379"/>
              <a:gd name="connsiteY57" fmla="*/ 1638300 h 4429294"/>
              <a:gd name="connsiteX58" fmla="*/ 88094 w 4501379"/>
              <a:gd name="connsiteY58" fmla="*/ 1590675 h 4429294"/>
              <a:gd name="connsiteX59" fmla="*/ 116669 w 4501379"/>
              <a:gd name="connsiteY59" fmla="*/ 1504950 h 4429294"/>
              <a:gd name="connsiteX60" fmla="*/ 135719 w 4501379"/>
              <a:gd name="connsiteY60" fmla="*/ 1419225 h 4429294"/>
              <a:gd name="connsiteX61" fmla="*/ 211919 w 4501379"/>
              <a:gd name="connsiteY61" fmla="*/ 1276350 h 4429294"/>
              <a:gd name="connsiteX62" fmla="*/ 221444 w 4501379"/>
              <a:gd name="connsiteY62" fmla="*/ 1247775 h 4429294"/>
              <a:gd name="connsiteX63" fmla="*/ 250019 w 4501379"/>
              <a:gd name="connsiteY63" fmla="*/ 1200150 h 4429294"/>
              <a:gd name="connsiteX64" fmla="*/ 269069 w 4501379"/>
              <a:gd name="connsiteY64" fmla="*/ 1152525 h 4429294"/>
              <a:gd name="connsiteX65" fmla="*/ 297644 w 4501379"/>
              <a:gd name="connsiteY65" fmla="*/ 1114425 h 4429294"/>
              <a:gd name="connsiteX66" fmla="*/ 345269 w 4501379"/>
              <a:gd name="connsiteY66" fmla="*/ 1038225 h 4429294"/>
              <a:gd name="connsiteX67" fmla="*/ 364319 w 4501379"/>
              <a:gd name="connsiteY67" fmla="*/ 1009650 h 4429294"/>
              <a:gd name="connsiteX68" fmla="*/ 421469 w 4501379"/>
              <a:gd name="connsiteY68" fmla="*/ 904875 h 4429294"/>
              <a:gd name="connsiteX69" fmla="*/ 459569 w 4501379"/>
              <a:gd name="connsiteY69" fmla="*/ 857250 h 4429294"/>
              <a:gd name="connsiteX70" fmla="*/ 478619 w 4501379"/>
              <a:gd name="connsiteY70" fmla="*/ 828675 h 4429294"/>
              <a:gd name="connsiteX71" fmla="*/ 516719 w 4501379"/>
              <a:gd name="connsiteY71" fmla="*/ 800100 h 4429294"/>
              <a:gd name="connsiteX72" fmla="*/ 583394 w 4501379"/>
              <a:gd name="connsiteY72" fmla="*/ 733425 h 4429294"/>
              <a:gd name="connsiteX73" fmla="*/ 650069 w 4501379"/>
              <a:gd name="connsiteY73" fmla="*/ 676275 h 4429294"/>
              <a:gd name="connsiteX74" fmla="*/ 678644 w 4501379"/>
              <a:gd name="connsiteY74" fmla="*/ 657225 h 4429294"/>
              <a:gd name="connsiteX75" fmla="*/ 821519 w 4501379"/>
              <a:gd name="connsiteY75" fmla="*/ 533400 h 4429294"/>
              <a:gd name="connsiteX76" fmla="*/ 869144 w 4501379"/>
              <a:gd name="connsiteY76" fmla="*/ 504825 h 4429294"/>
              <a:gd name="connsiteX77" fmla="*/ 1148544 w 4501379"/>
              <a:gd name="connsiteY77" fmla="*/ 311150 h 4429294"/>
              <a:gd name="connsiteX78" fmla="*/ 1250144 w 4501379"/>
              <a:gd name="connsiteY78" fmla="*/ 285750 h 4429294"/>
              <a:gd name="connsiteX79" fmla="*/ 1393019 w 4501379"/>
              <a:gd name="connsiteY79" fmla="*/ 190500 h 4429294"/>
              <a:gd name="connsiteX80" fmla="*/ 1431119 w 4501379"/>
              <a:gd name="connsiteY80" fmla="*/ 161925 h 4429294"/>
              <a:gd name="connsiteX81" fmla="*/ 1507319 w 4501379"/>
              <a:gd name="connsiteY81" fmla="*/ 152400 h 4429294"/>
              <a:gd name="connsiteX82" fmla="*/ 1564469 w 4501379"/>
              <a:gd name="connsiteY82" fmla="*/ 142875 h 4429294"/>
              <a:gd name="connsiteX83" fmla="*/ 1697819 w 4501379"/>
              <a:gd name="connsiteY83" fmla="*/ 123825 h 4429294"/>
              <a:gd name="connsiteX84" fmla="*/ 1793069 w 4501379"/>
              <a:gd name="connsiteY84" fmla="*/ 114300 h 4429294"/>
              <a:gd name="connsiteX85" fmla="*/ 1840694 w 4501379"/>
              <a:gd name="connsiteY85" fmla="*/ 104775 h 4429294"/>
              <a:gd name="connsiteX86" fmla="*/ 1897844 w 4501379"/>
              <a:gd name="connsiteY86" fmla="*/ 95250 h 4429294"/>
              <a:gd name="connsiteX87" fmla="*/ 2012144 w 4501379"/>
              <a:gd name="connsiteY87" fmla="*/ 66675 h 4429294"/>
              <a:gd name="connsiteX88" fmla="*/ 2078819 w 4501379"/>
              <a:gd name="connsiteY88" fmla="*/ 47625 h 4429294"/>
              <a:gd name="connsiteX89" fmla="*/ 2145494 w 4501379"/>
              <a:gd name="connsiteY89" fmla="*/ 38100 h 4429294"/>
              <a:gd name="connsiteX0" fmla="*/ 2278844 w 4501379"/>
              <a:gd name="connsiteY0" fmla="*/ 0 h 4429294"/>
              <a:gd name="connsiteX1" fmla="*/ 2736044 w 4501379"/>
              <a:gd name="connsiteY1" fmla="*/ 66675 h 4429294"/>
              <a:gd name="connsiteX2" fmla="*/ 2812244 w 4501379"/>
              <a:gd name="connsiteY2" fmla="*/ 76200 h 4429294"/>
              <a:gd name="connsiteX3" fmla="*/ 2897969 w 4501379"/>
              <a:gd name="connsiteY3" fmla="*/ 85725 h 4429294"/>
              <a:gd name="connsiteX4" fmla="*/ 2955119 w 4501379"/>
              <a:gd name="connsiteY4" fmla="*/ 114300 h 4429294"/>
              <a:gd name="connsiteX5" fmla="*/ 2993219 w 4501379"/>
              <a:gd name="connsiteY5" fmla="*/ 123825 h 4429294"/>
              <a:gd name="connsiteX6" fmla="*/ 3117044 w 4501379"/>
              <a:gd name="connsiteY6" fmla="*/ 171450 h 4429294"/>
              <a:gd name="connsiteX7" fmla="*/ 3155144 w 4501379"/>
              <a:gd name="connsiteY7" fmla="*/ 190500 h 4429294"/>
              <a:gd name="connsiteX8" fmla="*/ 3221819 w 4501379"/>
              <a:gd name="connsiteY8" fmla="*/ 228600 h 4429294"/>
              <a:gd name="connsiteX9" fmla="*/ 3250394 w 4501379"/>
              <a:gd name="connsiteY9" fmla="*/ 238125 h 4429294"/>
              <a:gd name="connsiteX10" fmla="*/ 3278969 w 4501379"/>
              <a:gd name="connsiteY10" fmla="*/ 257175 h 4429294"/>
              <a:gd name="connsiteX11" fmla="*/ 3307544 w 4501379"/>
              <a:gd name="connsiteY11" fmla="*/ 266700 h 4429294"/>
              <a:gd name="connsiteX12" fmla="*/ 3336119 w 4501379"/>
              <a:gd name="connsiteY12" fmla="*/ 285750 h 4429294"/>
              <a:gd name="connsiteX13" fmla="*/ 3402794 w 4501379"/>
              <a:gd name="connsiteY13" fmla="*/ 323850 h 4429294"/>
              <a:gd name="connsiteX14" fmla="*/ 3450419 w 4501379"/>
              <a:gd name="connsiteY14" fmla="*/ 361950 h 4429294"/>
              <a:gd name="connsiteX15" fmla="*/ 3498044 w 4501379"/>
              <a:gd name="connsiteY15" fmla="*/ 390525 h 4429294"/>
              <a:gd name="connsiteX16" fmla="*/ 3612344 w 4501379"/>
              <a:gd name="connsiteY16" fmla="*/ 485775 h 4429294"/>
              <a:gd name="connsiteX17" fmla="*/ 3726644 w 4501379"/>
              <a:gd name="connsiteY17" fmla="*/ 542925 h 4429294"/>
              <a:gd name="connsiteX18" fmla="*/ 3793319 w 4501379"/>
              <a:gd name="connsiteY18" fmla="*/ 581025 h 4429294"/>
              <a:gd name="connsiteX19" fmla="*/ 4009219 w 4501379"/>
              <a:gd name="connsiteY19" fmla="*/ 819150 h 4429294"/>
              <a:gd name="connsiteX20" fmla="*/ 4145744 w 4501379"/>
              <a:gd name="connsiteY20" fmla="*/ 990600 h 4429294"/>
              <a:gd name="connsiteX21" fmla="*/ 4231469 w 4501379"/>
              <a:gd name="connsiteY21" fmla="*/ 1143000 h 4429294"/>
              <a:gd name="connsiteX22" fmla="*/ 4288619 w 4501379"/>
              <a:gd name="connsiteY22" fmla="*/ 1266825 h 4429294"/>
              <a:gd name="connsiteX23" fmla="*/ 4326719 w 4501379"/>
              <a:gd name="connsiteY23" fmla="*/ 1362075 h 4429294"/>
              <a:gd name="connsiteX24" fmla="*/ 4374344 w 4501379"/>
              <a:gd name="connsiteY24" fmla="*/ 1552575 h 4429294"/>
              <a:gd name="connsiteX25" fmla="*/ 4412444 w 4501379"/>
              <a:gd name="connsiteY25" fmla="*/ 1685925 h 4429294"/>
              <a:gd name="connsiteX26" fmla="*/ 4501344 w 4501379"/>
              <a:gd name="connsiteY26" fmla="*/ 2181225 h 4429294"/>
              <a:gd name="connsiteX27" fmla="*/ 4428319 w 4501379"/>
              <a:gd name="connsiteY27" fmla="*/ 2768600 h 4429294"/>
              <a:gd name="connsiteX28" fmla="*/ 4364819 w 4501379"/>
              <a:gd name="connsiteY28" fmla="*/ 2990850 h 4429294"/>
              <a:gd name="connsiteX29" fmla="*/ 4260044 w 4501379"/>
              <a:gd name="connsiteY29" fmla="*/ 3248025 h 4429294"/>
              <a:gd name="connsiteX30" fmla="*/ 4164794 w 4501379"/>
              <a:gd name="connsiteY30" fmla="*/ 3400425 h 4429294"/>
              <a:gd name="connsiteX31" fmla="*/ 4040969 w 4501379"/>
              <a:gd name="connsiteY31" fmla="*/ 3533775 h 4429294"/>
              <a:gd name="connsiteX32" fmla="*/ 3936194 w 4501379"/>
              <a:gd name="connsiteY32" fmla="*/ 3648075 h 4429294"/>
              <a:gd name="connsiteX33" fmla="*/ 3640919 w 4501379"/>
              <a:gd name="connsiteY33" fmla="*/ 3971925 h 4429294"/>
              <a:gd name="connsiteX34" fmla="*/ 3498044 w 4501379"/>
              <a:gd name="connsiteY34" fmla="*/ 4083050 h 4429294"/>
              <a:gd name="connsiteX35" fmla="*/ 3202769 w 4501379"/>
              <a:gd name="connsiteY35" fmla="*/ 4222750 h 4429294"/>
              <a:gd name="connsiteX36" fmla="*/ 3050369 w 4501379"/>
              <a:gd name="connsiteY36" fmla="*/ 4286250 h 4429294"/>
              <a:gd name="connsiteX37" fmla="*/ 2917019 w 4501379"/>
              <a:gd name="connsiteY37" fmla="*/ 4333875 h 4429294"/>
              <a:gd name="connsiteX38" fmla="*/ 2793194 w 4501379"/>
              <a:gd name="connsiteY38" fmla="*/ 4371975 h 4429294"/>
              <a:gd name="connsiteX39" fmla="*/ 2561419 w 4501379"/>
              <a:gd name="connsiteY39" fmla="*/ 4391025 h 4429294"/>
              <a:gd name="connsiteX40" fmla="*/ 2107394 w 4501379"/>
              <a:gd name="connsiteY40" fmla="*/ 4429125 h 4429294"/>
              <a:gd name="connsiteX41" fmla="*/ 1916894 w 4501379"/>
              <a:gd name="connsiteY41" fmla="*/ 4400550 h 4429294"/>
              <a:gd name="connsiteX42" fmla="*/ 1554944 w 4501379"/>
              <a:gd name="connsiteY42" fmla="*/ 4305300 h 4429294"/>
              <a:gd name="connsiteX43" fmla="*/ 1313644 w 4501379"/>
              <a:gd name="connsiteY43" fmla="*/ 4216400 h 4429294"/>
              <a:gd name="connsiteX44" fmla="*/ 1145369 w 4501379"/>
              <a:gd name="connsiteY44" fmla="*/ 4111625 h 4429294"/>
              <a:gd name="connsiteX45" fmla="*/ 926294 w 4501379"/>
              <a:gd name="connsiteY45" fmla="*/ 3968750 h 4429294"/>
              <a:gd name="connsiteX46" fmla="*/ 592919 w 4501379"/>
              <a:gd name="connsiteY46" fmla="*/ 3657600 h 4429294"/>
              <a:gd name="connsiteX47" fmla="*/ 446869 w 4501379"/>
              <a:gd name="connsiteY47" fmla="*/ 3470275 h 4429294"/>
              <a:gd name="connsiteX48" fmla="*/ 316694 w 4501379"/>
              <a:gd name="connsiteY48" fmla="*/ 3244850 h 4429294"/>
              <a:gd name="connsiteX49" fmla="*/ 164294 w 4501379"/>
              <a:gd name="connsiteY49" fmla="*/ 2892425 h 4429294"/>
              <a:gd name="connsiteX50" fmla="*/ 56344 w 4501379"/>
              <a:gd name="connsiteY50" fmla="*/ 2368550 h 4429294"/>
              <a:gd name="connsiteX51" fmla="*/ 2369 w 4501379"/>
              <a:gd name="connsiteY51" fmla="*/ 1905000 h 4429294"/>
              <a:gd name="connsiteX52" fmla="*/ 11894 w 4501379"/>
              <a:gd name="connsiteY52" fmla="*/ 1838325 h 4429294"/>
              <a:gd name="connsiteX53" fmla="*/ 30944 w 4501379"/>
              <a:gd name="connsiteY53" fmla="*/ 1781175 h 4429294"/>
              <a:gd name="connsiteX54" fmla="*/ 40469 w 4501379"/>
              <a:gd name="connsiteY54" fmla="*/ 1743075 h 4429294"/>
              <a:gd name="connsiteX55" fmla="*/ 59519 w 4501379"/>
              <a:gd name="connsiteY55" fmla="*/ 1685925 h 4429294"/>
              <a:gd name="connsiteX56" fmla="*/ 69044 w 4501379"/>
              <a:gd name="connsiteY56" fmla="*/ 1638300 h 4429294"/>
              <a:gd name="connsiteX57" fmla="*/ 88094 w 4501379"/>
              <a:gd name="connsiteY57" fmla="*/ 1590675 h 4429294"/>
              <a:gd name="connsiteX58" fmla="*/ 116669 w 4501379"/>
              <a:gd name="connsiteY58" fmla="*/ 1504950 h 4429294"/>
              <a:gd name="connsiteX59" fmla="*/ 135719 w 4501379"/>
              <a:gd name="connsiteY59" fmla="*/ 1419225 h 4429294"/>
              <a:gd name="connsiteX60" fmla="*/ 211919 w 4501379"/>
              <a:gd name="connsiteY60" fmla="*/ 1276350 h 4429294"/>
              <a:gd name="connsiteX61" fmla="*/ 221444 w 4501379"/>
              <a:gd name="connsiteY61" fmla="*/ 1247775 h 4429294"/>
              <a:gd name="connsiteX62" fmla="*/ 250019 w 4501379"/>
              <a:gd name="connsiteY62" fmla="*/ 1200150 h 4429294"/>
              <a:gd name="connsiteX63" fmla="*/ 269069 w 4501379"/>
              <a:gd name="connsiteY63" fmla="*/ 1152525 h 4429294"/>
              <a:gd name="connsiteX64" fmla="*/ 297644 w 4501379"/>
              <a:gd name="connsiteY64" fmla="*/ 1114425 h 4429294"/>
              <a:gd name="connsiteX65" fmla="*/ 345269 w 4501379"/>
              <a:gd name="connsiteY65" fmla="*/ 1038225 h 4429294"/>
              <a:gd name="connsiteX66" fmla="*/ 364319 w 4501379"/>
              <a:gd name="connsiteY66" fmla="*/ 1009650 h 4429294"/>
              <a:gd name="connsiteX67" fmla="*/ 421469 w 4501379"/>
              <a:gd name="connsiteY67" fmla="*/ 904875 h 4429294"/>
              <a:gd name="connsiteX68" fmla="*/ 459569 w 4501379"/>
              <a:gd name="connsiteY68" fmla="*/ 857250 h 4429294"/>
              <a:gd name="connsiteX69" fmla="*/ 478619 w 4501379"/>
              <a:gd name="connsiteY69" fmla="*/ 828675 h 4429294"/>
              <a:gd name="connsiteX70" fmla="*/ 516719 w 4501379"/>
              <a:gd name="connsiteY70" fmla="*/ 800100 h 4429294"/>
              <a:gd name="connsiteX71" fmla="*/ 583394 w 4501379"/>
              <a:gd name="connsiteY71" fmla="*/ 733425 h 4429294"/>
              <a:gd name="connsiteX72" fmla="*/ 650069 w 4501379"/>
              <a:gd name="connsiteY72" fmla="*/ 676275 h 4429294"/>
              <a:gd name="connsiteX73" fmla="*/ 678644 w 4501379"/>
              <a:gd name="connsiteY73" fmla="*/ 657225 h 4429294"/>
              <a:gd name="connsiteX74" fmla="*/ 821519 w 4501379"/>
              <a:gd name="connsiteY74" fmla="*/ 533400 h 4429294"/>
              <a:gd name="connsiteX75" fmla="*/ 869144 w 4501379"/>
              <a:gd name="connsiteY75" fmla="*/ 504825 h 4429294"/>
              <a:gd name="connsiteX76" fmla="*/ 1148544 w 4501379"/>
              <a:gd name="connsiteY76" fmla="*/ 311150 h 4429294"/>
              <a:gd name="connsiteX77" fmla="*/ 1250144 w 4501379"/>
              <a:gd name="connsiteY77" fmla="*/ 285750 h 4429294"/>
              <a:gd name="connsiteX78" fmla="*/ 1393019 w 4501379"/>
              <a:gd name="connsiteY78" fmla="*/ 190500 h 4429294"/>
              <a:gd name="connsiteX79" fmla="*/ 1431119 w 4501379"/>
              <a:gd name="connsiteY79" fmla="*/ 161925 h 4429294"/>
              <a:gd name="connsiteX80" fmla="*/ 1507319 w 4501379"/>
              <a:gd name="connsiteY80" fmla="*/ 152400 h 4429294"/>
              <a:gd name="connsiteX81" fmla="*/ 1564469 w 4501379"/>
              <a:gd name="connsiteY81" fmla="*/ 142875 h 4429294"/>
              <a:gd name="connsiteX82" fmla="*/ 1697819 w 4501379"/>
              <a:gd name="connsiteY82" fmla="*/ 123825 h 4429294"/>
              <a:gd name="connsiteX83" fmla="*/ 1793069 w 4501379"/>
              <a:gd name="connsiteY83" fmla="*/ 114300 h 4429294"/>
              <a:gd name="connsiteX84" fmla="*/ 1840694 w 4501379"/>
              <a:gd name="connsiteY84" fmla="*/ 104775 h 4429294"/>
              <a:gd name="connsiteX85" fmla="*/ 1897844 w 4501379"/>
              <a:gd name="connsiteY85" fmla="*/ 95250 h 4429294"/>
              <a:gd name="connsiteX86" fmla="*/ 2012144 w 4501379"/>
              <a:gd name="connsiteY86" fmla="*/ 66675 h 4429294"/>
              <a:gd name="connsiteX87" fmla="*/ 2078819 w 4501379"/>
              <a:gd name="connsiteY87" fmla="*/ 47625 h 4429294"/>
              <a:gd name="connsiteX88" fmla="*/ 2145494 w 4501379"/>
              <a:gd name="connsiteY8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12244 w 4501379"/>
              <a:gd name="connsiteY2" fmla="*/ 76200 h 4429294"/>
              <a:gd name="connsiteX3" fmla="*/ 2897969 w 4501379"/>
              <a:gd name="connsiteY3" fmla="*/ 85725 h 4429294"/>
              <a:gd name="connsiteX4" fmla="*/ 2955119 w 4501379"/>
              <a:gd name="connsiteY4" fmla="*/ 114300 h 4429294"/>
              <a:gd name="connsiteX5" fmla="*/ 2993219 w 4501379"/>
              <a:gd name="connsiteY5" fmla="*/ 123825 h 4429294"/>
              <a:gd name="connsiteX6" fmla="*/ 3117044 w 4501379"/>
              <a:gd name="connsiteY6" fmla="*/ 171450 h 4429294"/>
              <a:gd name="connsiteX7" fmla="*/ 3155144 w 4501379"/>
              <a:gd name="connsiteY7" fmla="*/ 190500 h 4429294"/>
              <a:gd name="connsiteX8" fmla="*/ 3221819 w 4501379"/>
              <a:gd name="connsiteY8" fmla="*/ 228600 h 4429294"/>
              <a:gd name="connsiteX9" fmla="*/ 3250394 w 4501379"/>
              <a:gd name="connsiteY9" fmla="*/ 238125 h 4429294"/>
              <a:gd name="connsiteX10" fmla="*/ 3278969 w 4501379"/>
              <a:gd name="connsiteY10" fmla="*/ 257175 h 4429294"/>
              <a:gd name="connsiteX11" fmla="*/ 3307544 w 4501379"/>
              <a:gd name="connsiteY11" fmla="*/ 266700 h 4429294"/>
              <a:gd name="connsiteX12" fmla="*/ 3336119 w 4501379"/>
              <a:gd name="connsiteY12" fmla="*/ 285750 h 4429294"/>
              <a:gd name="connsiteX13" fmla="*/ 3402794 w 4501379"/>
              <a:gd name="connsiteY13" fmla="*/ 323850 h 4429294"/>
              <a:gd name="connsiteX14" fmla="*/ 3450419 w 4501379"/>
              <a:gd name="connsiteY14" fmla="*/ 361950 h 4429294"/>
              <a:gd name="connsiteX15" fmla="*/ 3498044 w 4501379"/>
              <a:gd name="connsiteY15" fmla="*/ 390525 h 4429294"/>
              <a:gd name="connsiteX16" fmla="*/ 3612344 w 4501379"/>
              <a:gd name="connsiteY16" fmla="*/ 485775 h 4429294"/>
              <a:gd name="connsiteX17" fmla="*/ 3726644 w 4501379"/>
              <a:gd name="connsiteY17" fmla="*/ 542925 h 4429294"/>
              <a:gd name="connsiteX18" fmla="*/ 3793319 w 4501379"/>
              <a:gd name="connsiteY18" fmla="*/ 581025 h 4429294"/>
              <a:gd name="connsiteX19" fmla="*/ 4009219 w 4501379"/>
              <a:gd name="connsiteY19" fmla="*/ 819150 h 4429294"/>
              <a:gd name="connsiteX20" fmla="*/ 4145744 w 4501379"/>
              <a:gd name="connsiteY20" fmla="*/ 990600 h 4429294"/>
              <a:gd name="connsiteX21" fmla="*/ 4231469 w 4501379"/>
              <a:gd name="connsiteY21" fmla="*/ 1143000 h 4429294"/>
              <a:gd name="connsiteX22" fmla="*/ 4288619 w 4501379"/>
              <a:gd name="connsiteY22" fmla="*/ 1266825 h 4429294"/>
              <a:gd name="connsiteX23" fmla="*/ 4326719 w 4501379"/>
              <a:gd name="connsiteY23" fmla="*/ 1362075 h 4429294"/>
              <a:gd name="connsiteX24" fmla="*/ 4374344 w 4501379"/>
              <a:gd name="connsiteY24" fmla="*/ 1552575 h 4429294"/>
              <a:gd name="connsiteX25" fmla="*/ 4412444 w 4501379"/>
              <a:gd name="connsiteY25" fmla="*/ 1685925 h 4429294"/>
              <a:gd name="connsiteX26" fmla="*/ 4501344 w 4501379"/>
              <a:gd name="connsiteY26" fmla="*/ 2181225 h 4429294"/>
              <a:gd name="connsiteX27" fmla="*/ 4428319 w 4501379"/>
              <a:gd name="connsiteY27" fmla="*/ 2768600 h 4429294"/>
              <a:gd name="connsiteX28" fmla="*/ 4364819 w 4501379"/>
              <a:gd name="connsiteY28" fmla="*/ 2990850 h 4429294"/>
              <a:gd name="connsiteX29" fmla="*/ 4260044 w 4501379"/>
              <a:gd name="connsiteY29" fmla="*/ 3248025 h 4429294"/>
              <a:gd name="connsiteX30" fmla="*/ 4164794 w 4501379"/>
              <a:gd name="connsiteY30" fmla="*/ 3400425 h 4429294"/>
              <a:gd name="connsiteX31" fmla="*/ 4040969 w 4501379"/>
              <a:gd name="connsiteY31" fmla="*/ 3533775 h 4429294"/>
              <a:gd name="connsiteX32" fmla="*/ 3936194 w 4501379"/>
              <a:gd name="connsiteY32" fmla="*/ 3648075 h 4429294"/>
              <a:gd name="connsiteX33" fmla="*/ 3640919 w 4501379"/>
              <a:gd name="connsiteY33" fmla="*/ 3971925 h 4429294"/>
              <a:gd name="connsiteX34" fmla="*/ 3498044 w 4501379"/>
              <a:gd name="connsiteY34" fmla="*/ 4083050 h 4429294"/>
              <a:gd name="connsiteX35" fmla="*/ 3202769 w 4501379"/>
              <a:gd name="connsiteY35" fmla="*/ 4222750 h 4429294"/>
              <a:gd name="connsiteX36" fmla="*/ 3050369 w 4501379"/>
              <a:gd name="connsiteY36" fmla="*/ 4286250 h 4429294"/>
              <a:gd name="connsiteX37" fmla="*/ 2917019 w 4501379"/>
              <a:gd name="connsiteY37" fmla="*/ 4333875 h 4429294"/>
              <a:gd name="connsiteX38" fmla="*/ 2793194 w 4501379"/>
              <a:gd name="connsiteY38" fmla="*/ 4371975 h 4429294"/>
              <a:gd name="connsiteX39" fmla="*/ 2561419 w 4501379"/>
              <a:gd name="connsiteY39" fmla="*/ 4391025 h 4429294"/>
              <a:gd name="connsiteX40" fmla="*/ 2107394 w 4501379"/>
              <a:gd name="connsiteY40" fmla="*/ 4429125 h 4429294"/>
              <a:gd name="connsiteX41" fmla="*/ 1916894 w 4501379"/>
              <a:gd name="connsiteY41" fmla="*/ 4400550 h 4429294"/>
              <a:gd name="connsiteX42" fmla="*/ 1554944 w 4501379"/>
              <a:gd name="connsiteY42" fmla="*/ 4305300 h 4429294"/>
              <a:gd name="connsiteX43" fmla="*/ 1313644 w 4501379"/>
              <a:gd name="connsiteY43" fmla="*/ 4216400 h 4429294"/>
              <a:gd name="connsiteX44" fmla="*/ 1145369 w 4501379"/>
              <a:gd name="connsiteY44" fmla="*/ 4111625 h 4429294"/>
              <a:gd name="connsiteX45" fmla="*/ 926294 w 4501379"/>
              <a:gd name="connsiteY45" fmla="*/ 3968750 h 4429294"/>
              <a:gd name="connsiteX46" fmla="*/ 592919 w 4501379"/>
              <a:gd name="connsiteY46" fmla="*/ 3657600 h 4429294"/>
              <a:gd name="connsiteX47" fmla="*/ 446869 w 4501379"/>
              <a:gd name="connsiteY47" fmla="*/ 3470275 h 4429294"/>
              <a:gd name="connsiteX48" fmla="*/ 316694 w 4501379"/>
              <a:gd name="connsiteY48" fmla="*/ 3244850 h 4429294"/>
              <a:gd name="connsiteX49" fmla="*/ 164294 w 4501379"/>
              <a:gd name="connsiteY49" fmla="*/ 2892425 h 4429294"/>
              <a:gd name="connsiteX50" fmla="*/ 56344 w 4501379"/>
              <a:gd name="connsiteY50" fmla="*/ 2368550 h 4429294"/>
              <a:gd name="connsiteX51" fmla="*/ 2369 w 4501379"/>
              <a:gd name="connsiteY51" fmla="*/ 1905000 h 4429294"/>
              <a:gd name="connsiteX52" fmla="*/ 11894 w 4501379"/>
              <a:gd name="connsiteY52" fmla="*/ 1838325 h 4429294"/>
              <a:gd name="connsiteX53" fmla="*/ 30944 w 4501379"/>
              <a:gd name="connsiteY53" fmla="*/ 1781175 h 4429294"/>
              <a:gd name="connsiteX54" fmla="*/ 40469 w 4501379"/>
              <a:gd name="connsiteY54" fmla="*/ 1743075 h 4429294"/>
              <a:gd name="connsiteX55" fmla="*/ 59519 w 4501379"/>
              <a:gd name="connsiteY55" fmla="*/ 1685925 h 4429294"/>
              <a:gd name="connsiteX56" fmla="*/ 69044 w 4501379"/>
              <a:gd name="connsiteY56" fmla="*/ 1638300 h 4429294"/>
              <a:gd name="connsiteX57" fmla="*/ 88094 w 4501379"/>
              <a:gd name="connsiteY57" fmla="*/ 1590675 h 4429294"/>
              <a:gd name="connsiteX58" fmla="*/ 116669 w 4501379"/>
              <a:gd name="connsiteY58" fmla="*/ 1504950 h 4429294"/>
              <a:gd name="connsiteX59" fmla="*/ 135719 w 4501379"/>
              <a:gd name="connsiteY59" fmla="*/ 1419225 h 4429294"/>
              <a:gd name="connsiteX60" fmla="*/ 211919 w 4501379"/>
              <a:gd name="connsiteY60" fmla="*/ 1276350 h 4429294"/>
              <a:gd name="connsiteX61" fmla="*/ 221444 w 4501379"/>
              <a:gd name="connsiteY61" fmla="*/ 1247775 h 4429294"/>
              <a:gd name="connsiteX62" fmla="*/ 250019 w 4501379"/>
              <a:gd name="connsiteY62" fmla="*/ 1200150 h 4429294"/>
              <a:gd name="connsiteX63" fmla="*/ 269069 w 4501379"/>
              <a:gd name="connsiteY63" fmla="*/ 1152525 h 4429294"/>
              <a:gd name="connsiteX64" fmla="*/ 297644 w 4501379"/>
              <a:gd name="connsiteY64" fmla="*/ 1114425 h 4429294"/>
              <a:gd name="connsiteX65" fmla="*/ 345269 w 4501379"/>
              <a:gd name="connsiteY65" fmla="*/ 1038225 h 4429294"/>
              <a:gd name="connsiteX66" fmla="*/ 364319 w 4501379"/>
              <a:gd name="connsiteY66" fmla="*/ 1009650 h 4429294"/>
              <a:gd name="connsiteX67" fmla="*/ 421469 w 4501379"/>
              <a:gd name="connsiteY67" fmla="*/ 904875 h 4429294"/>
              <a:gd name="connsiteX68" fmla="*/ 459569 w 4501379"/>
              <a:gd name="connsiteY68" fmla="*/ 857250 h 4429294"/>
              <a:gd name="connsiteX69" fmla="*/ 478619 w 4501379"/>
              <a:gd name="connsiteY69" fmla="*/ 828675 h 4429294"/>
              <a:gd name="connsiteX70" fmla="*/ 516719 w 4501379"/>
              <a:gd name="connsiteY70" fmla="*/ 800100 h 4429294"/>
              <a:gd name="connsiteX71" fmla="*/ 583394 w 4501379"/>
              <a:gd name="connsiteY71" fmla="*/ 733425 h 4429294"/>
              <a:gd name="connsiteX72" fmla="*/ 650069 w 4501379"/>
              <a:gd name="connsiteY72" fmla="*/ 676275 h 4429294"/>
              <a:gd name="connsiteX73" fmla="*/ 678644 w 4501379"/>
              <a:gd name="connsiteY73" fmla="*/ 657225 h 4429294"/>
              <a:gd name="connsiteX74" fmla="*/ 821519 w 4501379"/>
              <a:gd name="connsiteY74" fmla="*/ 533400 h 4429294"/>
              <a:gd name="connsiteX75" fmla="*/ 869144 w 4501379"/>
              <a:gd name="connsiteY75" fmla="*/ 504825 h 4429294"/>
              <a:gd name="connsiteX76" fmla="*/ 1148544 w 4501379"/>
              <a:gd name="connsiteY76" fmla="*/ 311150 h 4429294"/>
              <a:gd name="connsiteX77" fmla="*/ 1250144 w 4501379"/>
              <a:gd name="connsiteY77" fmla="*/ 285750 h 4429294"/>
              <a:gd name="connsiteX78" fmla="*/ 1393019 w 4501379"/>
              <a:gd name="connsiteY78" fmla="*/ 190500 h 4429294"/>
              <a:gd name="connsiteX79" fmla="*/ 1431119 w 4501379"/>
              <a:gd name="connsiteY79" fmla="*/ 161925 h 4429294"/>
              <a:gd name="connsiteX80" fmla="*/ 1507319 w 4501379"/>
              <a:gd name="connsiteY80" fmla="*/ 152400 h 4429294"/>
              <a:gd name="connsiteX81" fmla="*/ 1564469 w 4501379"/>
              <a:gd name="connsiteY81" fmla="*/ 142875 h 4429294"/>
              <a:gd name="connsiteX82" fmla="*/ 1697819 w 4501379"/>
              <a:gd name="connsiteY82" fmla="*/ 123825 h 4429294"/>
              <a:gd name="connsiteX83" fmla="*/ 1793069 w 4501379"/>
              <a:gd name="connsiteY83" fmla="*/ 114300 h 4429294"/>
              <a:gd name="connsiteX84" fmla="*/ 1840694 w 4501379"/>
              <a:gd name="connsiteY84" fmla="*/ 104775 h 4429294"/>
              <a:gd name="connsiteX85" fmla="*/ 1897844 w 4501379"/>
              <a:gd name="connsiteY85" fmla="*/ 95250 h 4429294"/>
              <a:gd name="connsiteX86" fmla="*/ 2012144 w 4501379"/>
              <a:gd name="connsiteY86" fmla="*/ 66675 h 4429294"/>
              <a:gd name="connsiteX87" fmla="*/ 2078819 w 4501379"/>
              <a:gd name="connsiteY87" fmla="*/ 47625 h 4429294"/>
              <a:gd name="connsiteX88" fmla="*/ 2145494 w 4501379"/>
              <a:gd name="connsiteY8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2955119 w 4501379"/>
              <a:gd name="connsiteY3" fmla="*/ 114300 h 4429294"/>
              <a:gd name="connsiteX4" fmla="*/ 2993219 w 4501379"/>
              <a:gd name="connsiteY4" fmla="*/ 123825 h 4429294"/>
              <a:gd name="connsiteX5" fmla="*/ 3117044 w 4501379"/>
              <a:gd name="connsiteY5" fmla="*/ 171450 h 4429294"/>
              <a:gd name="connsiteX6" fmla="*/ 3155144 w 4501379"/>
              <a:gd name="connsiteY6" fmla="*/ 190500 h 4429294"/>
              <a:gd name="connsiteX7" fmla="*/ 3221819 w 4501379"/>
              <a:gd name="connsiteY7" fmla="*/ 228600 h 4429294"/>
              <a:gd name="connsiteX8" fmla="*/ 3250394 w 4501379"/>
              <a:gd name="connsiteY8" fmla="*/ 238125 h 4429294"/>
              <a:gd name="connsiteX9" fmla="*/ 3278969 w 4501379"/>
              <a:gd name="connsiteY9" fmla="*/ 257175 h 4429294"/>
              <a:gd name="connsiteX10" fmla="*/ 3307544 w 4501379"/>
              <a:gd name="connsiteY10" fmla="*/ 266700 h 4429294"/>
              <a:gd name="connsiteX11" fmla="*/ 3336119 w 4501379"/>
              <a:gd name="connsiteY11" fmla="*/ 285750 h 4429294"/>
              <a:gd name="connsiteX12" fmla="*/ 3402794 w 4501379"/>
              <a:gd name="connsiteY12" fmla="*/ 323850 h 4429294"/>
              <a:gd name="connsiteX13" fmla="*/ 3450419 w 4501379"/>
              <a:gd name="connsiteY13" fmla="*/ 361950 h 4429294"/>
              <a:gd name="connsiteX14" fmla="*/ 3498044 w 4501379"/>
              <a:gd name="connsiteY14" fmla="*/ 390525 h 4429294"/>
              <a:gd name="connsiteX15" fmla="*/ 3612344 w 4501379"/>
              <a:gd name="connsiteY15" fmla="*/ 485775 h 4429294"/>
              <a:gd name="connsiteX16" fmla="*/ 3726644 w 4501379"/>
              <a:gd name="connsiteY16" fmla="*/ 542925 h 4429294"/>
              <a:gd name="connsiteX17" fmla="*/ 3793319 w 4501379"/>
              <a:gd name="connsiteY17" fmla="*/ 581025 h 4429294"/>
              <a:gd name="connsiteX18" fmla="*/ 4009219 w 4501379"/>
              <a:gd name="connsiteY18" fmla="*/ 819150 h 4429294"/>
              <a:gd name="connsiteX19" fmla="*/ 4145744 w 4501379"/>
              <a:gd name="connsiteY19" fmla="*/ 990600 h 4429294"/>
              <a:gd name="connsiteX20" fmla="*/ 4231469 w 4501379"/>
              <a:gd name="connsiteY20" fmla="*/ 1143000 h 4429294"/>
              <a:gd name="connsiteX21" fmla="*/ 4288619 w 4501379"/>
              <a:gd name="connsiteY21" fmla="*/ 1266825 h 4429294"/>
              <a:gd name="connsiteX22" fmla="*/ 4326719 w 4501379"/>
              <a:gd name="connsiteY22" fmla="*/ 1362075 h 4429294"/>
              <a:gd name="connsiteX23" fmla="*/ 4374344 w 4501379"/>
              <a:gd name="connsiteY23" fmla="*/ 1552575 h 4429294"/>
              <a:gd name="connsiteX24" fmla="*/ 4412444 w 4501379"/>
              <a:gd name="connsiteY24" fmla="*/ 1685925 h 4429294"/>
              <a:gd name="connsiteX25" fmla="*/ 4501344 w 4501379"/>
              <a:gd name="connsiteY25" fmla="*/ 2181225 h 4429294"/>
              <a:gd name="connsiteX26" fmla="*/ 4428319 w 4501379"/>
              <a:gd name="connsiteY26" fmla="*/ 2768600 h 4429294"/>
              <a:gd name="connsiteX27" fmla="*/ 4364819 w 4501379"/>
              <a:gd name="connsiteY27" fmla="*/ 2990850 h 4429294"/>
              <a:gd name="connsiteX28" fmla="*/ 4260044 w 4501379"/>
              <a:gd name="connsiteY28" fmla="*/ 3248025 h 4429294"/>
              <a:gd name="connsiteX29" fmla="*/ 4164794 w 4501379"/>
              <a:gd name="connsiteY29" fmla="*/ 3400425 h 4429294"/>
              <a:gd name="connsiteX30" fmla="*/ 4040969 w 4501379"/>
              <a:gd name="connsiteY30" fmla="*/ 3533775 h 4429294"/>
              <a:gd name="connsiteX31" fmla="*/ 3936194 w 4501379"/>
              <a:gd name="connsiteY31" fmla="*/ 3648075 h 4429294"/>
              <a:gd name="connsiteX32" fmla="*/ 3640919 w 4501379"/>
              <a:gd name="connsiteY32" fmla="*/ 3971925 h 4429294"/>
              <a:gd name="connsiteX33" fmla="*/ 3498044 w 4501379"/>
              <a:gd name="connsiteY33" fmla="*/ 4083050 h 4429294"/>
              <a:gd name="connsiteX34" fmla="*/ 3202769 w 4501379"/>
              <a:gd name="connsiteY34" fmla="*/ 4222750 h 4429294"/>
              <a:gd name="connsiteX35" fmla="*/ 3050369 w 4501379"/>
              <a:gd name="connsiteY35" fmla="*/ 4286250 h 4429294"/>
              <a:gd name="connsiteX36" fmla="*/ 2917019 w 4501379"/>
              <a:gd name="connsiteY36" fmla="*/ 4333875 h 4429294"/>
              <a:gd name="connsiteX37" fmla="*/ 2793194 w 4501379"/>
              <a:gd name="connsiteY37" fmla="*/ 4371975 h 4429294"/>
              <a:gd name="connsiteX38" fmla="*/ 2561419 w 4501379"/>
              <a:gd name="connsiteY38" fmla="*/ 4391025 h 4429294"/>
              <a:gd name="connsiteX39" fmla="*/ 2107394 w 4501379"/>
              <a:gd name="connsiteY39" fmla="*/ 4429125 h 4429294"/>
              <a:gd name="connsiteX40" fmla="*/ 1916894 w 4501379"/>
              <a:gd name="connsiteY40" fmla="*/ 4400550 h 4429294"/>
              <a:gd name="connsiteX41" fmla="*/ 1554944 w 4501379"/>
              <a:gd name="connsiteY41" fmla="*/ 4305300 h 4429294"/>
              <a:gd name="connsiteX42" fmla="*/ 1313644 w 4501379"/>
              <a:gd name="connsiteY42" fmla="*/ 4216400 h 4429294"/>
              <a:gd name="connsiteX43" fmla="*/ 1145369 w 4501379"/>
              <a:gd name="connsiteY43" fmla="*/ 4111625 h 4429294"/>
              <a:gd name="connsiteX44" fmla="*/ 926294 w 4501379"/>
              <a:gd name="connsiteY44" fmla="*/ 3968750 h 4429294"/>
              <a:gd name="connsiteX45" fmla="*/ 592919 w 4501379"/>
              <a:gd name="connsiteY45" fmla="*/ 3657600 h 4429294"/>
              <a:gd name="connsiteX46" fmla="*/ 446869 w 4501379"/>
              <a:gd name="connsiteY46" fmla="*/ 3470275 h 4429294"/>
              <a:gd name="connsiteX47" fmla="*/ 316694 w 4501379"/>
              <a:gd name="connsiteY47" fmla="*/ 3244850 h 4429294"/>
              <a:gd name="connsiteX48" fmla="*/ 164294 w 4501379"/>
              <a:gd name="connsiteY48" fmla="*/ 2892425 h 4429294"/>
              <a:gd name="connsiteX49" fmla="*/ 56344 w 4501379"/>
              <a:gd name="connsiteY49" fmla="*/ 2368550 h 4429294"/>
              <a:gd name="connsiteX50" fmla="*/ 2369 w 4501379"/>
              <a:gd name="connsiteY50" fmla="*/ 1905000 h 4429294"/>
              <a:gd name="connsiteX51" fmla="*/ 11894 w 4501379"/>
              <a:gd name="connsiteY51" fmla="*/ 1838325 h 4429294"/>
              <a:gd name="connsiteX52" fmla="*/ 30944 w 4501379"/>
              <a:gd name="connsiteY52" fmla="*/ 1781175 h 4429294"/>
              <a:gd name="connsiteX53" fmla="*/ 40469 w 4501379"/>
              <a:gd name="connsiteY53" fmla="*/ 1743075 h 4429294"/>
              <a:gd name="connsiteX54" fmla="*/ 59519 w 4501379"/>
              <a:gd name="connsiteY54" fmla="*/ 1685925 h 4429294"/>
              <a:gd name="connsiteX55" fmla="*/ 69044 w 4501379"/>
              <a:gd name="connsiteY55" fmla="*/ 1638300 h 4429294"/>
              <a:gd name="connsiteX56" fmla="*/ 88094 w 4501379"/>
              <a:gd name="connsiteY56" fmla="*/ 1590675 h 4429294"/>
              <a:gd name="connsiteX57" fmla="*/ 116669 w 4501379"/>
              <a:gd name="connsiteY57" fmla="*/ 1504950 h 4429294"/>
              <a:gd name="connsiteX58" fmla="*/ 135719 w 4501379"/>
              <a:gd name="connsiteY58" fmla="*/ 1419225 h 4429294"/>
              <a:gd name="connsiteX59" fmla="*/ 211919 w 4501379"/>
              <a:gd name="connsiteY59" fmla="*/ 1276350 h 4429294"/>
              <a:gd name="connsiteX60" fmla="*/ 221444 w 4501379"/>
              <a:gd name="connsiteY60" fmla="*/ 1247775 h 4429294"/>
              <a:gd name="connsiteX61" fmla="*/ 250019 w 4501379"/>
              <a:gd name="connsiteY61" fmla="*/ 1200150 h 4429294"/>
              <a:gd name="connsiteX62" fmla="*/ 269069 w 4501379"/>
              <a:gd name="connsiteY62" fmla="*/ 1152525 h 4429294"/>
              <a:gd name="connsiteX63" fmla="*/ 297644 w 4501379"/>
              <a:gd name="connsiteY63" fmla="*/ 1114425 h 4429294"/>
              <a:gd name="connsiteX64" fmla="*/ 345269 w 4501379"/>
              <a:gd name="connsiteY64" fmla="*/ 1038225 h 4429294"/>
              <a:gd name="connsiteX65" fmla="*/ 364319 w 4501379"/>
              <a:gd name="connsiteY65" fmla="*/ 1009650 h 4429294"/>
              <a:gd name="connsiteX66" fmla="*/ 421469 w 4501379"/>
              <a:gd name="connsiteY66" fmla="*/ 904875 h 4429294"/>
              <a:gd name="connsiteX67" fmla="*/ 459569 w 4501379"/>
              <a:gd name="connsiteY67" fmla="*/ 857250 h 4429294"/>
              <a:gd name="connsiteX68" fmla="*/ 478619 w 4501379"/>
              <a:gd name="connsiteY68" fmla="*/ 828675 h 4429294"/>
              <a:gd name="connsiteX69" fmla="*/ 516719 w 4501379"/>
              <a:gd name="connsiteY69" fmla="*/ 800100 h 4429294"/>
              <a:gd name="connsiteX70" fmla="*/ 583394 w 4501379"/>
              <a:gd name="connsiteY70" fmla="*/ 733425 h 4429294"/>
              <a:gd name="connsiteX71" fmla="*/ 650069 w 4501379"/>
              <a:gd name="connsiteY71" fmla="*/ 676275 h 4429294"/>
              <a:gd name="connsiteX72" fmla="*/ 678644 w 4501379"/>
              <a:gd name="connsiteY72" fmla="*/ 657225 h 4429294"/>
              <a:gd name="connsiteX73" fmla="*/ 821519 w 4501379"/>
              <a:gd name="connsiteY73" fmla="*/ 533400 h 4429294"/>
              <a:gd name="connsiteX74" fmla="*/ 869144 w 4501379"/>
              <a:gd name="connsiteY74" fmla="*/ 504825 h 4429294"/>
              <a:gd name="connsiteX75" fmla="*/ 1148544 w 4501379"/>
              <a:gd name="connsiteY75" fmla="*/ 311150 h 4429294"/>
              <a:gd name="connsiteX76" fmla="*/ 1250144 w 4501379"/>
              <a:gd name="connsiteY76" fmla="*/ 285750 h 4429294"/>
              <a:gd name="connsiteX77" fmla="*/ 1393019 w 4501379"/>
              <a:gd name="connsiteY77" fmla="*/ 190500 h 4429294"/>
              <a:gd name="connsiteX78" fmla="*/ 1431119 w 4501379"/>
              <a:gd name="connsiteY78" fmla="*/ 161925 h 4429294"/>
              <a:gd name="connsiteX79" fmla="*/ 1507319 w 4501379"/>
              <a:gd name="connsiteY79" fmla="*/ 152400 h 4429294"/>
              <a:gd name="connsiteX80" fmla="*/ 1564469 w 4501379"/>
              <a:gd name="connsiteY80" fmla="*/ 142875 h 4429294"/>
              <a:gd name="connsiteX81" fmla="*/ 1697819 w 4501379"/>
              <a:gd name="connsiteY81" fmla="*/ 123825 h 4429294"/>
              <a:gd name="connsiteX82" fmla="*/ 1793069 w 4501379"/>
              <a:gd name="connsiteY82" fmla="*/ 114300 h 4429294"/>
              <a:gd name="connsiteX83" fmla="*/ 1840694 w 4501379"/>
              <a:gd name="connsiteY83" fmla="*/ 104775 h 4429294"/>
              <a:gd name="connsiteX84" fmla="*/ 1897844 w 4501379"/>
              <a:gd name="connsiteY84" fmla="*/ 95250 h 4429294"/>
              <a:gd name="connsiteX85" fmla="*/ 2012144 w 4501379"/>
              <a:gd name="connsiteY85" fmla="*/ 66675 h 4429294"/>
              <a:gd name="connsiteX86" fmla="*/ 2078819 w 4501379"/>
              <a:gd name="connsiteY86" fmla="*/ 47625 h 4429294"/>
              <a:gd name="connsiteX87" fmla="*/ 2145494 w 4501379"/>
              <a:gd name="connsiteY8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2955119 w 4501379"/>
              <a:gd name="connsiteY3" fmla="*/ 114300 h 4429294"/>
              <a:gd name="connsiteX4" fmla="*/ 3117044 w 4501379"/>
              <a:gd name="connsiteY4" fmla="*/ 171450 h 4429294"/>
              <a:gd name="connsiteX5" fmla="*/ 3155144 w 4501379"/>
              <a:gd name="connsiteY5" fmla="*/ 190500 h 4429294"/>
              <a:gd name="connsiteX6" fmla="*/ 3221819 w 4501379"/>
              <a:gd name="connsiteY6" fmla="*/ 228600 h 4429294"/>
              <a:gd name="connsiteX7" fmla="*/ 3250394 w 4501379"/>
              <a:gd name="connsiteY7" fmla="*/ 238125 h 4429294"/>
              <a:gd name="connsiteX8" fmla="*/ 3278969 w 4501379"/>
              <a:gd name="connsiteY8" fmla="*/ 257175 h 4429294"/>
              <a:gd name="connsiteX9" fmla="*/ 3307544 w 4501379"/>
              <a:gd name="connsiteY9" fmla="*/ 266700 h 4429294"/>
              <a:gd name="connsiteX10" fmla="*/ 3336119 w 4501379"/>
              <a:gd name="connsiteY10" fmla="*/ 285750 h 4429294"/>
              <a:gd name="connsiteX11" fmla="*/ 3402794 w 4501379"/>
              <a:gd name="connsiteY11" fmla="*/ 323850 h 4429294"/>
              <a:gd name="connsiteX12" fmla="*/ 3450419 w 4501379"/>
              <a:gd name="connsiteY12" fmla="*/ 361950 h 4429294"/>
              <a:gd name="connsiteX13" fmla="*/ 3498044 w 4501379"/>
              <a:gd name="connsiteY13" fmla="*/ 390525 h 4429294"/>
              <a:gd name="connsiteX14" fmla="*/ 3612344 w 4501379"/>
              <a:gd name="connsiteY14" fmla="*/ 485775 h 4429294"/>
              <a:gd name="connsiteX15" fmla="*/ 3726644 w 4501379"/>
              <a:gd name="connsiteY15" fmla="*/ 542925 h 4429294"/>
              <a:gd name="connsiteX16" fmla="*/ 3793319 w 4501379"/>
              <a:gd name="connsiteY16" fmla="*/ 581025 h 4429294"/>
              <a:gd name="connsiteX17" fmla="*/ 4009219 w 4501379"/>
              <a:gd name="connsiteY17" fmla="*/ 819150 h 4429294"/>
              <a:gd name="connsiteX18" fmla="*/ 4145744 w 4501379"/>
              <a:gd name="connsiteY18" fmla="*/ 990600 h 4429294"/>
              <a:gd name="connsiteX19" fmla="*/ 4231469 w 4501379"/>
              <a:gd name="connsiteY19" fmla="*/ 1143000 h 4429294"/>
              <a:gd name="connsiteX20" fmla="*/ 4288619 w 4501379"/>
              <a:gd name="connsiteY20" fmla="*/ 1266825 h 4429294"/>
              <a:gd name="connsiteX21" fmla="*/ 4326719 w 4501379"/>
              <a:gd name="connsiteY21" fmla="*/ 1362075 h 4429294"/>
              <a:gd name="connsiteX22" fmla="*/ 4374344 w 4501379"/>
              <a:gd name="connsiteY22" fmla="*/ 1552575 h 4429294"/>
              <a:gd name="connsiteX23" fmla="*/ 4412444 w 4501379"/>
              <a:gd name="connsiteY23" fmla="*/ 1685925 h 4429294"/>
              <a:gd name="connsiteX24" fmla="*/ 4501344 w 4501379"/>
              <a:gd name="connsiteY24" fmla="*/ 2181225 h 4429294"/>
              <a:gd name="connsiteX25" fmla="*/ 4428319 w 4501379"/>
              <a:gd name="connsiteY25" fmla="*/ 2768600 h 4429294"/>
              <a:gd name="connsiteX26" fmla="*/ 4364819 w 4501379"/>
              <a:gd name="connsiteY26" fmla="*/ 2990850 h 4429294"/>
              <a:gd name="connsiteX27" fmla="*/ 4260044 w 4501379"/>
              <a:gd name="connsiteY27" fmla="*/ 3248025 h 4429294"/>
              <a:gd name="connsiteX28" fmla="*/ 4164794 w 4501379"/>
              <a:gd name="connsiteY28" fmla="*/ 3400425 h 4429294"/>
              <a:gd name="connsiteX29" fmla="*/ 4040969 w 4501379"/>
              <a:gd name="connsiteY29" fmla="*/ 3533775 h 4429294"/>
              <a:gd name="connsiteX30" fmla="*/ 3936194 w 4501379"/>
              <a:gd name="connsiteY30" fmla="*/ 3648075 h 4429294"/>
              <a:gd name="connsiteX31" fmla="*/ 3640919 w 4501379"/>
              <a:gd name="connsiteY31" fmla="*/ 3971925 h 4429294"/>
              <a:gd name="connsiteX32" fmla="*/ 3498044 w 4501379"/>
              <a:gd name="connsiteY32" fmla="*/ 4083050 h 4429294"/>
              <a:gd name="connsiteX33" fmla="*/ 3202769 w 4501379"/>
              <a:gd name="connsiteY33" fmla="*/ 4222750 h 4429294"/>
              <a:gd name="connsiteX34" fmla="*/ 3050369 w 4501379"/>
              <a:gd name="connsiteY34" fmla="*/ 4286250 h 4429294"/>
              <a:gd name="connsiteX35" fmla="*/ 2917019 w 4501379"/>
              <a:gd name="connsiteY35" fmla="*/ 4333875 h 4429294"/>
              <a:gd name="connsiteX36" fmla="*/ 2793194 w 4501379"/>
              <a:gd name="connsiteY36" fmla="*/ 4371975 h 4429294"/>
              <a:gd name="connsiteX37" fmla="*/ 2561419 w 4501379"/>
              <a:gd name="connsiteY37" fmla="*/ 4391025 h 4429294"/>
              <a:gd name="connsiteX38" fmla="*/ 2107394 w 4501379"/>
              <a:gd name="connsiteY38" fmla="*/ 4429125 h 4429294"/>
              <a:gd name="connsiteX39" fmla="*/ 1916894 w 4501379"/>
              <a:gd name="connsiteY39" fmla="*/ 4400550 h 4429294"/>
              <a:gd name="connsiteX40" fmla="*/ 1554944 w 4501379"/>
              <a:gd name="connsiteY40" fmla="*/ 4305300 h 4429294"/>
              <a:gd name="connsiteX41" fmla="*/ 1313644 w 4501379"/>
              <a:gd name="connsiteY41" fmla="*/ 4216400 h 4429294"/>
              <a:gd name="connsiteX42" fmla="*/ 1145369 w 4501379"/>
              <a:gd name="connsiteY42" fmla="*/ 4111625 h 4429294"/>
              <a:gd name="connsiteX43" fmla="*/ 926294 w 4501379"/>
              <a:gd name="connsiteY43" fmla="*/ 3968750 h 4429294"/>
              <a:gd name="connsiteX44" fmla="*/ 592919 w 4501379"/>
              <a:gd name="connsiteY44" fmla="*/ 3657600 h 4429294"/>
              <a:gd name="connsiteX45" fmla="*/ 446869 w 4501379"/>
              <a:gd name="connsiteY45" fmla="*/ 3470275 h 4429294"/>
              <a:gd name="connsiteX46" fmla="*/ 316694 w 4501379"/>
              <a:gd name="connsiteY46" fmla="*/ 3244850 h 4429294"/>
              <a:gd name="connsiteX47" fmla="*/ 164294 w 4501379"/>
              <a:gd name="connsiteY47" fmla="*/ 2892425 h 4429294"/>
              <a:gd name="connsiteX48" fmla="*/ 56344 w 4501379"/>
              <a:gd name="connsiteY48" fmla="*/ 2368550 h 4429294"/>
              <a:gd name="connsiteX49" fmla="*/ 2369 w 4501379"/>
              <a:gd name="connsiteY49" fmla="*/ 1905000 h 4429294"/>
              <a:gd name="connsiteX50" fmla="*/ 11894 w 4501379"/>
              <a:gd name="connsiteY50" fmla="*/ 1838325 h 4429294"/>
              <a:gd name="connsiteX51" fmla="*/ 30944 w 4501379"/>
              <a:gd name="connsiteY51" fmla="*/ 1781175 h 4429294"/>
              <a:gd name="connsiteX52" fmla="*/ 40469 w 4501379"/>
              <a:gd name="connsiteY52" fmla="*/ 1743075 h 4429294"/>
              <a:gd name="connsiteX53" fmla="*/ 59519 w 4501379"/>
              <a:gd name="connsiteY53" fmla="*/ 1685925 h 4429294"/>
              <a:gd name="connsiteX54" fmla="*/ 69044 w 4501379"/>
              <a:gd name="connsiteY54" fmla="*/ 1638300 h 4429294"/>
              <a:gd name="connsiteX55" fmla="*/ 88094 w 4501379"/>
              <a:gd name="connsiteY55" fmla="*/ 1590675 h 4429294"/>
              <a:gd name="connsiteX56" fmla="*/ 116669 w 4501379"/>
              <a:gd name="connsiteY56" fmla="*/ 1504950 h 4429294"/>
              <a:gd name="connsiteX57" fmla="*/ 135719 w 4501379"/>
              <a:gd name="connsiteY57" fmla="*/ 1419225 h 4429294"/>
              <a:gd name="connsiteX58" fmla="*/ 211919 w 4501379"/>
              <a:gd name="connsiteY58" fmla="*/ 1276350 h 4429294"/>
              <a:gd name="connsiteX59" fmla="*/ 221444 w 4501379"/>
              <a:gd name="connsiteY59" fmla="*/ 1247775 h 4429294"/>
              <a:gd name="connsiteX60" fmla="*/ 250019 w 4501379"/>
              <a:gd name="connsiteY60" fmla="*/ 1200150 h 4429294"/>
              <a:gd name="connsiteX61" fmla="*/ 269069 w 4501379"/>
              <a:gd name="connsiteY61" fmla="*/ 1152525 h 4429294"/>
              <a:gd name="connsiteX62" fmla="*/ 297644 w 4501379"/>
              <a:gd name="connsiteY62" fmla="*/ 1114425 h 4429294"/>
              <a:gd name="connsiteX63" fmla="*/ 345269 w 4501379"/>
              <a:gd name="connsiteY63" fmla="*/ 1038225 h 4429294"/>
              <a:gd name="connsiteX64" fmla="*/ 364319 w 4501379"/>
              <a:gd name="connsiteY64" fmla="*/ 1009650 h 4429294"/>
              <a:gd name="connsiteX65" fmla="*/ 421469 w 4501379"/>
              <a:gd name="connsiteY65" fmla="*/ 904875 h 4429294"/>
              <a:gd name="connsiteX66" fmla="*/ 459569 w 4501379"/>
              <a:gd name="connsiteY66" fmla="*/ 857250 h 4429294"/>
              <a:gd name="connsiteX67" fmla="*/ 478619 w 4501379"/>
              <a:gd name="connsiteY67" fmla="*/ 828675 h 4429294"/>
              <a:gd name="connsiteX68" fmla="*/ 516719 w 4501379"/>
              <a:gd name="connsiteY68" fmla="*/ 800100 h 4429294"/>
              <a:gd name="connsiteX69" fmla="*/ 583394 w 4501379"/>
              <a:gd name="connsiteY69" fmla="*/ 733425 h 4429294"/>
              <a:gd name="connsiteX70" fmla="*/ 650069 w 4501379"/>
              <a:gd name="connsiteY70" fmla="*/ 676275 h 4429294"/>
              <a:gd name="connsiteX71" fmla="*/ 678644 w 4501379"/>
              <a:gd name="connsiteY71" fmla="*/ 657225 h 4429294"/>
              <a:gd name="connsiteX72" fmla="*/ 821519 w 4501379"/>
              <a:gd name="connsiteY72" fmla="*/ 533400 h 4429294"/>
              <a:gd name="connsiteX73" fmla="*/ 869144 w 4501379"/>
              <a:gd name="connsiteY73" fmla="*/ 504825 h 4429294"/>
              <a:gd name="connsiteX74" fmla="*/ 1148544 w 4501379"/>
              <a:gd name="connsiteY74" fmla="*/ 311150 h 4429294"/>
              <a:gd name="connsiteX75" fmla="*/ 1250144 w 4501379"/>
              <a:gd name="connsiteY75" fmla="*/ 285750 h 4429294"/>
              <a:gd name="connsiteX76" fmla="*/ 1393019 w 4501379"/>
              <a:gd name="connsiteY76" fmla="*/ 190500 h 4429294"/>
              <a:gd name="connsiteX77" fmla="*/ 1431119 w 4501379"/>
              <a:gd name="connsiteY77" fmla="*/ 161925 h 4429294"/>
              <a:gd name="connsiteX78" fmla="*/ 1507319 w 4501379"/>
              <a:gd name="connsiteY78" fmla="*/ 152400 h 4429294"/>
              <a:gd name="connsiteX79" fmla="*/ 1564469 w 4501379"/>
              <a:gd name="connsiteY79" fmla="*/ 142875 h 4429294"/>
              <a:gd name="connsiteX80" fmla="*/ 1697819 w 4501379"/>
              <a:gd name="connsiteY80" fmla="*/ 123825 h 4429294"/>
              <a:gd name="connsiteX81" fmla="*/ 1793069 w 4501379"/>
              <a:gd name="connsiteY81" fmla="*/ 114300 h 4429294"/>
              <a:gd name="connsiteX82" fmla="*/ 1840694 w 4501379"/>
              <a:gd name="connsiteY82" fmla="*/ 104775 h 4429294"/>
              <a:gd name="connsiteX83" fmla="*/ 1897844 w 4501379"/>
              <a:gd name="connsiteY83" fmla="*/ 95250 h 4429294"/>
              <a:gd name="connsiteX84" fmla="*/ 2012144 w 4501379"/>
              <a:gd name="connsiteY84" fmla="*/ 66675 h 4429294"/>
              <a:gd name="connsiteX85" fmla="*/ 2078819 w 4501379"/>
              <a:gd name="connsiteY85" fmla="*/ 47625 h 4429294"/>
              <a:gd name="connsiteX86" fmla="*/ 2145494 w 4501379"/>
              <a:gd name="connsiteY86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155144 w 4501379"/>
              <a:gd name="connsiteY4" fmla="*/ 190500 h 4429294"/>
              <a:gd name="connsiteX5" fmla="*/ 3221819 w 4501379"/>
              <a:gd name="connsiteY5" fmla="*/ 228600 h 4429294"/>
              <a:gd name="connsiteX6" fmla="*/ 3250394 w 4501379"/>
              <a:gd name="connsiteY6" fmla="*/ 238125 h 4429294"/>
              <a:gd name="connsiteX7" fmla="*/ 3278969 w 4501379"/>
              <a:gd name="connsiteY7" fmla="*/ 257175 h 4429294"/>
              <a:gd name="connsiteX8" fmla="*/ 3307544 w 4501379"/>
              <a:gd name="connsiteY8" fmla="*/ 266700 h 4429294"/>
              <a:gd name="connsiteX9" fmla="*/ 3336119 w 4501379"/>
              <a:gd name="connsiteY9" fmla="*/ 285750 h 4429294"/>
              <a:gd name="connsiteX10" fmla="*/ 3402794 w 4501379"/>
              <a:gd name="connsiteY10" fmla="*/ 323850 h 4429294"/>
              <a:gd name="connsiteX11" fmla="*/ 3450419 w 4501379"/>
              <a:gd name="connsiteY11" fmla="*/ 361950 h 4429294"/>
              <a:gd name="connsiteX12" fmla="*/ 3498044 w 4501379"/>
              <a:gd name="connsiteY12" fmla="*/ 390525 h 4429294"/>
              <a:gd name="connsiteX13" fmla="*/ 3612344 w 4501379"/>
              <a:gd name="connsiteY13" fmla="*/ 485775 h 4429294"/>
              <a:gd name="connsiteX14" fmla="*/ 3726644 w 4501379"/>
              <a:gd name="connsiteY14" fmla="*/ 542925 h 4429294"/>
              <a:gd name="connsiteX15" fmla="*/ 3793319 w 4501379"/>
              <a:gd name="connsiteY15" fmla="*/ 581025 h 4429294"/>
              <a:gd name="connsiteX16" fmla="*/ 4009219 w 4501379"/>
              <a:gd name="connsiteY16" fmla="*/ 819150 h 4429294"/>
              <a:gd name="connsiteX17" fmla="*/ 4145744 w 4501379"/>
              <a:gd name="connsiteY17" fmla="*/ 990600 h 4429294"/>
              <a:gd name="connsiteX18" fmla="*/ 4231469 w 4501379"/>
              <a:gd name="connsiteY18" fmla="*/ 1143000 h 4429294"/>
              <a:gd name="connsiteX19" fmla="*/ 4288619 w 4501379"/>
              <a:gd name="connsiteY19" fmla="*/ 1266825 h 4429294"/>
              <a:gd name="connsiteX20" fmla="*/ 4326719 w 4501379"/>
              <a:gd name="connsiteY20" fmla="*/ 1362075 h 4429294"/>
              <a:gd name="connsiteX21" fmla="*/ 4374344 w 4501379"/>
              <a:gd name="connsiteY21" fmla="*/ 1552575 h 4429294"/>
              <a:gd name="connsiteX22" fmla="*/ 4412444 w 4501379"/>
              <a:gd name="connsiteY22" fmla="*/ 1685925 h 4429294"/>
              <a:gd name="connsiteX23" fmla="*/ 4501344 w 4501379"/>
              <a:gd name="connsiteY23" fmla="*/ 2181225 h 4429294"/>
              <a:gd name="connsiteX24" fmla="*/ 4428319 w 4501379"/>
              <a:gd name="connsiteY24" fmla="*/ 2768600 h 4429294"/>
              <a:gd name="connsiteX25" fmla="*/ 4364819 w 4501379"/>
              <a:gd name="connsiteY25" fmla="*/ 2990850 h 4429294"/>
              <a:gd name="connsiteX26" fmla="*/ 4260044 w 4501379"/>
              <a:gd name="connsiteY26" fmla="*/ 3248025 h 4429294"/>
              <a:gd name="connsiteX27" fmla="*/ 4164794 w 4501379"/>
              <a:gd name="connsiteY27" fmla="*/ 3400425 h 4429294"/>
              <a:gd name="connsiteX28" fmla="*/ 4040969 w 4501379"/>
              <a:gd name="connsiteY28" fmla="*/ 3533775 h 4429294"/>
              <a:gd name="connsiteX29" fmla="*/ 3936194 w 4501379"/>
              <a:gd name="connsiteY29" fmla="*/ 3648075 h 4429294"/>
              <a:gd name="connsiteX30" fmla="*/ 3640919 w 4501379"/>
              <a:gd name="connsiteY30" fmla="*/ 3971925 h 4429294"/>
              <a:gd name="connsiteX31" fmla="*/ 3498044 w 4501379"/>
              <a:gd name="connsiteY31" fmla="*/ 4083050 h 4429294"/>
              <a:gd name="connsiteX32" fmla="*/ 3202769 w 4501379"/>
              <a:gd name="connsiteY32" fmla="*/ 4222750 h 4429294"/>
              <a:gd name="connsiteX33" fmla="*/ 3050369 w 4501379"/>
              <a:gd name="connsiteY33" fmla="*/ 4286250 h 4429294"/>
              <a:gd name="connsiteX34" fmla="*/ 2917019 w 4501379"/>
              <a:gd name="connsiteY34" fmla="*/ 4333875 h 4429294"/>
              <a:gd name="connsiteX35" fmla="*/ 2793194 w 4501379"/>
              <a:gd name="connsiteY35" fmla="*/ 4371975 h 4429294"/>
              <a:gd name="connsiteX36" fmla="*/ 2561419 w 4501379"/>
              <a:gd name="connsiteY36" fmla="*/ 4391025 h 4429294"/>
              <a:gd name="connsiteX37" fmla="*/ 2107394 w 4501379"/>
              <a:gd name="connsiteY37" fmla="*/ 4429125 h 4429294"/>
              <a:gd name="connsiteX38" fmla="*/ 1916894 w 4501379"/>
              <a:gd name="connsiteY38" fmla="*/ 4400550 h 4429294"/>
              <a:gd name="connsiteX39" fmla="*/ 1554944 w 4501379"/>
              <a:gd name="connsiteY39" fmla="*/ 4305300 h 4429294"/>
              <a:gd name="connsiteX40" fmla="*/ 1313644 w 4501379"/>
              <a:gd name="connsiteY40" fmla="*/ 4216400 h 4429294"/>
              <a:gd name="connsiteX41" fmla="*/ 1145369 w 4501379"/>
              <a:gd name="connsiteY41" fmla="*/ 4111625 h 4429294"/>
              <a:gd name="connsiteX42" fmla="*/ 926294 w 4501379"/>
              <a:gd name="connsiteY42" fmla="*/ 3968750 h 4429294"/>
              <a:gd name="connsiteX43" fmla="*/ 592919 w 4501379"/>
              <a:gd name="connsiteY43" fmla="*/ 3657600 h 4429294"/>
              <a:gd name="connsiteX44" fmla="*/ 446869 w 4501379"/>
              <a:gd name="connsiteY44" fmla="*/ 3470275 h 4429294"/>
              <a:gd name="connsiteX45" fmla="*/ 316694 w 4501379"/>
              <a:gd name="connsiteY45" fmla="*/ 3244850 h 4429294"/>
              <a:gd name="connsiteX46" fmla="*/ 164294 w 4501379"/>
              <a:gd name="connsiteY46" fmla="*/ 2892425 h 4429294"/>
              <a:gd name="connsiteX47" fmla="*/ 56344 w 4501379"/>
              <a:gd name="connsiteY47" fmla="*/ 2368550 h 4429294"/>
              <a:gd name="connsiteX48" fmla="*/ 2369 w 4501379"/>
              <a:gd name="connsiteY48" fmla="*/ 1905000 h 4429294"/>
              <a:gd name="connsiteX49" fmla="*/ 11894 w 4501379"/>
              <a:gd name="connsiteY49" fmla="*/ 1838325 h 4429294"/>
              <a:gd name="connsiteX50" fmla="*/ 30944 w 4501379"/>
              <a:gd name="connsiteY50" fmla="*/ 1781175 h 4429294"/>
              <a:gd name="connsiteX51" fmla="*/ 40469 w 4501379"/>
              <a:gd name="connsiteY51" fmla="*/ 1743075 h 4429294"/>
              <a:gd name="connsiteX52" fmla="*/ 59519 w 4501379"/>
              <a:gd name="connsiteY52" fmla="*/ 1685925 h 4429294"/>
              <a:gd name="connsiteX53" fmla="*/ 69044 w 4501379"/>
              <a:gd name="connsiteY53" fmla="*/ 1638300 h 4429294"/>
              <a:gd name="connsiteX54" fmla="*/ 88094 w 4501379"/>
              <a:gd name="connsiteY54" fmla="*/ 1590675 h 4429294"/>
              <a:gd name="connsiteX55" fmla="*/ 116669 w 4501379"/>
              <a:gd name="connsiteY55" fmla="*/ 1504950 h 4429294"/>
              <a:gd name="connsiteX56" fmla="*/ 135719 w 4501379"/>
              <a:gd name="connsiteY56" fmla="*/ 1419225 h 4429294"/>
              <a:gd name="connsiteX57" fmla="*/ 211919 w 4501379"/>
              <a:gd name="connsiteY57" fmla="*/ 1276350 h 4429294"/>
              <a:gd name="connsiteX58" fmla="*/ 221444 w 4501379"/>
              <a:gd name="connsiteY58" fmla="*/ 1247775 h 4429294"/>
              <a:gd name="connsiteX59" fmla="*/ 250019 w 4501379"/>
              <a:gd name="connsiteY59" fmla="*/ 1200150 h 4429294"/>
              <a:gd name="connsiteX60" fmla="*/ 269069 w 4501379"/>
              <a:gd name="connsiteY60" fmla="*/ 1152525 h 4429294"/>
              <a:gd name="connsiteX61" fmla="*/ 297644 w 4501379"/>
              <a:gd name="connsiteY61" fmla="*/ 1114425 h 4429294"/>
              <a:gd name="connsiteX62" fmla="*/ 345269 w 4501379"/>
              <a:gd name="connsiteY62" fmla="*/ 1038225 h 4429294"/>
              <a:gd name="connsiteX63" fmla="*/ 364319 w 4501379"/>
              <a:gd name="connsiteY63" fmla="*/ 1009650 h 4429294"/>
              <a:gd name="connsiteX64" fmla="*/ 421469 w 4501379"/>
              <a:gd name="connsiteY64" fmla="*/ 904875 h 4429294"/>
              <a:gd name="connsiteX65" fmla="*/ 459569 w 4501379"/>
              <a:gd name="connsiteY65" fmla="*/ 857250 h 4429294"/>
              <a:gd name="connsiteX66" fmla="*/ 478619 w 4501379"/>
              <a:gd name="connsiteY66" fmla="*/ 828675 h 4429294"/>
              <a:gd name="connsiteX67" fmla="*/ 516719 w 4501379"/>
              <a:gd name="connsiteY67" fmla="*/ 800100 h 4429294"/>
              <a:gd name="connsiteX68" fmla="*/ 583394 w 4501379"/>
              <a:gd name="connsiteY68" fmla="*/ 733425 h 4429294"/>
              <a:gd name="connsiteX69" fmla="*/ 650069 w 4501379"/>
              <a:gd name="connsiteY69" fmla="*/ 676275 h 4429294"/>
              <a:gd name="connsiteX70" fmla="*/ 678644 w 4501379"/>
              <a:gd name="connsiteY70" fmla="*/ 657225 h 4429294"/>
              <a:gd name="connsiteX71" fmla="*/ 821519 w 4501379"/>
              <a:gd name="connsiteY71" fmla="*/ 533400 h 4429294"/>
              <a:gd name="connsiteX72" fmla="*/ 869144 w 4501379"/>
              <a:gd name="connsiteY72" fmla="*/ 504825 h 4429294"/>
              <a:gd name="connsiteX73" fmla="*/ 1148544 w 4501379"/>
              <a:gd name="connsiteY73" fmla="*/ 311150 h 4429294"/>
              <a:gd name="connsiteX74" fmla="*/ 1250144 w 4501379"/>
              <a:gd name="connsiteY74" fmla="*/ 285750 h 4429294"/>
              <a:gd name="connsiteX75" fmla="*/ 1393019 w 4501379"/>
              <a:gd name="connsiteY75" fmla="*/ 190500 h 4429294"/>
              <a:gd name="connsiteX76" fmla="*/ 1431119 w 4501379"/>
              <a:gd name="connsiteY76" fmla="*/ 161925 h 4429294"/>
              <a:gd name="connsiteX77" fmla="*/ 1507319 w 4501379"/>
              <a:gd name="connsiteY77" fmla="*/ 152400 h 4429294"/>
              <a:gd name="connsiteX78" fmla="*/ 1564469 w 4501379"/>
              <a:gd name="connsiteY78" fmla="*/ 142875 h 4429294"/>
              <a:gd name="connsiteX79" fmla="*/ 1697819 w 4501379"/>
              <a:gd name="connsiteY79" fmla="*/ 123825 h 4429294"/>
              <a:gd name="connsiteX80" fmla="*/ 1793069 w 4501379"/>
              <a:gd name="connsiteY80" fmla="*/ 114300 h 4429294"/>
              <a:gd name="connsiteX81" fmla="*/ 1840694 w 4501379"/>
              <a:gd name="connsiteY81" fmla="*/ 104775 h 4429294"/>
              <a:gd name="connsiteX82" fmla="*/ 1897844 w 4501379"/>
              <a:gd name="connsiteY82" fmla="*/ 95250 h 4429294"/>
              <a:gd name="connsiteX83" fmla="*/ 2012144 w 4501379"/>
              <a:gd name="connsiteY83" fmla="*/ 66675 h 4429294"/>
              <a:gd name="connsiteX84" fmla="*/ 2078819 w 4501379"/>
              <a:gd name="connsiteY84" fmla="*/ 47625 h 4429294"/>
              <a:gd name="connsiteX85" fmla="*/ 2145494 w 4501379"/>
              <a:gd name="connsiteY85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278969 w 4501379"/>
              <a:gd name="connsiteY6" fmla="*/ 257175 h 4429294"/>
              <a:gd name="connsiteX7" fmla="*/ 3307544 w 4501379"/>
              <a:gd name="connsiteY7" fmla="*/ 266700 h 4429294"/>
              <a:gd name="connsiteX8" fmla="*/ 3336119 w 4501379"/>
              <a:gd name="connsiteY8" fmla="*/ 285750 h 4429294"/>
              <a:gd name="connsiteX9" fmla="*/ 3402794 w 4501379"/>
              <a:gd name="connsiteY9" fmla="*/ 323850 h 4429294"/>
              <a:gd name="connsiteX10" fmla="*/ 3450419 w 4501379"/>
              <a:gd name="connsiteY10" fmla="*/ 361950 h 4429294"/>
              <a:gd name="connsiteX11" fmla="*/ 3498044 w 4501379"/>
              <a:gd name="connsiteY11" fmla="*/ 390525 h 4429294"/>
              <a:gd name="connsiteX12" fmla="*/ 3612344 w 4501379"/>
              <a:gd name="connsiteY12" fmla="*/ 485775 h 4429294"/>
              <a:gd name="connsiteX13" fmla="*/ 3726644 w 4501379"/>
              <a:gd name="connsiteY13" fmla="*/ 542925 h 4429294"/>
              <a:gd name="connsiteX14" fmla="*/ 3793319 w 4501379"/>
              <a:gd name="connsiteY14" fmla="*/ 581025 h 4429294"/>
              <a:gd name="connsiteX15" fmla="*/ 4009219 w 4501379"/>
              <a:gd name="connsiteY15" fmla="*/ 819150 h 4429294"/>
              <a:gd name="connsiteX16" fmla="*/ 4145744 w 4501379"/>
              <a:gd name="connsiteY16" fmla="*/ 990600 h 4429294"/>
              <a:gd name="connsiteX17" fmla="*/ 4231469 w 4501379"/>
              <a:gd name="connsiteY17" fmla="*/ 1143000 h 4429294"/>
              <a:gd name="connsiteX18" fmla="*/ 4288619 w 4501379"/>
              <a:gd name="connsiteY18" fmla="*/ 1266825 h 4429294"/>
              <a:gd name="connsiteX19" fmla="*/ 4326719 w 4501379"/>
              <a:gd name="connsiteY19" fmla="*/ 1362075 h 4429294"/>
              <a:gd name="connsiteX20" fmla="*/ 4374344 w 4501379"/>
              <a:gd name="connsiteY20" fmla="*/ 1552575 h 4429294"/>
              <a:gd name="connsiteX21" fmla="*/ 4412444 w 4501379"/>
              <a:gd name="connsiteY21" fmla="*/ 1685925 h 4429294"/>
              <a:gd name="connsiteX22" fmla="*/ 4501344 w 4501379"/>
              <a:gd name="connsiteY22" fmla="*/ 2181225 h 4429294"/>
              <a:gd name="connsiteX23" fmla="*/ 4428319 w 4501379"/>
              <a:gd name="connsiteY23" fmla="*/ 2768600 h 4429294"/>
              <a:gd name="connsiteX24" fmla="*/ 4364819 w 4501379"/>
              <a:gd name="connsiteY24" fmla="*/ 2990850 h 4429294"/>
              <a:gd name="connsiteX25" fmla="*/ 4260044 w 4501379"/>
              <a:gd name="connsiteY25" fmla="*/ 3248025 h 4429294"/>
              <a:gd name="connsiteX26" fmla="*/ 4164794 w 4501379"/>
              <a:gd name="connsiteY26" fmla="*/ 3400425 h 4429294"/>
              <a:gd name="connsiteX27" fmla="*/ 4040969 w 4501379"/>
              <a:gd name="connsiteY27" fmla="*/ 3533775 h 4429294"/>
              <a:gd name="connsiteX28" fmla="*/ 3936194 w 4501379"/>
              <a:gd name="connsiteY28" fmla="*/ 3648075 h 4429294"/>
              <a:gd name="connsiteX29" fmla="*/ 3640919 w 4501379"/>
              <a:gd name="connsiteY29" fmla="*/ 3971925 h 4429294"/>
              <a:gd name="connsiteX30" fmla="*/ 3498044 w 4501379"/>
              <a:gd name="connsiteY30" fmla="*/ 4083050 h 4429294"/>
              <a:gd name="connsiteX31" fmla="*/ 3202769 w 4501379"/>
              <a:gd name="connsiteY31" fmla="*/ 4222750 h 4429294"/>
              <a:gd name="connsiteX32" fmla="*/ 3050369 w 4501379"/>
              <a:gd name="connsiteY32" fmla="*/ 4286250 h 4429294"/>
              <a:gd name="connsiteX33" fmla="*/ 2917019 w 4501379"/>
              <a:gd name="connsiteY33" fmla="*/ 4333875 h 4429294"/>
              <a:gd name="connsiteX34" fmla="*/ 2793194 w 4501379"/>
              <a:gd name="connsiteY34" fmla="*/ 4371975 h 4429294"/>
              <a:gd name="connsiteX35" fmla="*/ 2561419 w 4501379"/>
              <a:gd name="connsiteY35" fmla="*/ 4391025 h 4429294"/>
              <a:gd name="connsiteX36" fmla="*/ 2107394 w 4501379"/>
              <a:gd name="connsiteY36" fmla="*/ 4429125 h 4429294"/>
              <a:gd name="connsiteX37" fmla="*/ 1916894 w 4501379"/>
              <a:gd name="connsiteY37" fmla="*/ 4400550 h 4429294"/>
              <a:gd name="connsiteX38" fmla="*/ 1554944 w 4501379"/>
              <a:gd name="connsiteY38" fmla="*/ 4305300 h 4429294"/>
              <a:gd name="connsiteX39" fmla="*/ 1313644 w 4501379"/>
              <a:gd name="connsiteY39" fmla="*/ 4216400 h 4429294"/>
              <a:gd name="connsiteX40" fmla="*/ 1145369 w 4501379"/>
              <a:gd name="connsiteY40" fmla="*/ 4111625 h 4429294"/>
              <a:gd name="connsiteX41" fmla="*/ 926294 w 4501379"/>
              <a:gd name="connsiteY41" fmla="*/ 3968750 h 4429294"/>
              <a:gd name="connsiteX42" fmla="*/ 592919 w 4501379"/>
              <a:gd name="connsiteY42" fmla="*/ 3657600 h 4429294"/>
              <a:gd name="connsiteX43" fmla="*/ 446869 w 4501379"/>
              <a:gd name="connsiteY43" fmla="*/ 3470275 h 4429294"/>
              <a:gd name="connsiteX44" fmla="*/ 316694 w 4501379"/>
              <a:gd name="connsiteY44" fmla="*/ 3244850 h 4429294"/>
              <a:gd name="connsiteX45" fmla="*/ 164294 w 4501379"/>
              <a:gd name="connsiteY45" fmla="*/ 2892425 h 4429294"/>
              <a:gd name="connsiteX46" fmla="*/ 56344 w 4501379"/>
              <a:gd name="connsiteY46" fmla="*/ 2368550 h 4429294"/>
              <a:gd name="connsiteX47" fmla="*/ 2369 w 4501379"/>
              <a:gd name="connsiteY47" fmla="*/ 1905000 h 4429294"/>
              <a:gd name="connsiteX48" fmla="*/ 11894 w 4501379"/>
              <a:gd name="connsiteY48" fmla="*/ 1838325 h 4429294"/>
              <a:gd name="connsiteX49" fmla="*/ 30944 w 4501379"/>
              <a:gd name="connsiteY49" fmla="*/ 1781175 h 4429294"/>
              <a:gd name="connsiteX50" fmla="*/ 40469 w 4501379"/>
              <a:gd name="connsiteY50" fmla="*/ 1743075 h 4429294"/>
              <a:gd name="connsiteX51" fmla="*/ 59519 w 4501379"/>
              <a:gd name="connsiteY51" fmla="*/ 1685925 h 4429294"/>
              <a:gd name="connsiteX52" fmla="*/ 69044 w 4501379"/>
              <a:gd name="connsiteY52" fmla="*/ 1638300 h 4429294"/>
              <a:gd name="connsiteX53" fmla="*/ 88094 w 4501379"/>
              <a:gd name="connsiteY53" fmla="*/ 1590675 h 4429294"/>
              <a:gd name="connsiteX54" fmla="*/ 116669 w 4501379"/>
              <a:gd name="connsiteY54" fmla="*/ 1504950 h 4429294"/>
              <a:gd name="connsiteX55" fmla="*/ 135719 w 4501379"/>
              <a:gd name="connsiteY55" fmla="*/ 1419225 h 4429294"/>
              <a:gd name="connsiteX56" fmla="*/ 211919 w 4501379"/>
              <a:gd name="connsiteY56" fmla="*/ 1276350 h 4429294"/>
              <a:gd name="connsiteX57" fmla="*/ 221444 w 4501379"/>
              <a:gd name="connsiteY57" fmla="*/ 1247775 h 4429294"/>
              <a:gd name="connsiteX58" fmla="*/ 250019 w 4501379"/>
              <a:gd name="connsiteY58" fmla="*/ 1200150 h 4429294"/>
              <a:gd name="connsiteX59" fmla="*/ 269069 w 4501379"/>
              <a:gd name="connsiteY59" fmla="*/ 1152525 h 4429294"/>
              <a:gd name="connsiteX60" fmla="*/ 297644 w 4501379"/>
              <a:gd name="connsiteY60" fmla="*/ 1114425 h 4429294"/>
              <a:gd name="connsiteX61" fmla="*/ 345269 w 4501379"/>
              <a:gd name="connsiteY61" fmla="*/ 1038225 h 4429294"/>
              <a:gd name="connsiteX62" fmla="*/ 364319 w 4501379"/>
              <a:gd name="connsiteY62" fmla="*/ 1009650 h 4429294"/>
              <a:gd name="connsiteX63" fmla="*/ 421469 w 4501379"/>
              <a:gd name="connsiteY63" fmla="*/ 904875 h 4429294"/>
              <a:gd name="connsiteX64" fmla="*/ 459569 w 4501379"/>
              <a:gd name="connsiteY64" fmla="*/ 857250 h 4429294"/>
              <a:gd name="connsiteX65" fmla="*/ 478619 w 4501379"/>
              <a:gd name="connsiteY65" fmla="*/ 828675 h 4429294"/>
              <a:gd name="connsiteX66" fmla="*/ 516719 w 4501379"/>
              <a:gd name="connsiteY66" fmla="*/ 800100 h 4429294"/>
              <a:gd name="connsiteX67" fmla="*/ 583394 w 4501379"/>
              <a:gd name="connsiteY67" fmla="*/ 733425 h 4429294"/>
              <a:gd name="connsiteX68" fmla="*/ 650069 w 4501379"/>
              <a:gd name="connsiteY68" fmla="*/ 676275 h 4429294"/>
              <a:gd name="connsiteX69" fmla="*/ 678644 w 4501379"/>
              <a:gd name="connsiteY69" fmla="*/ 657225 h 4429294"/>
              <a:gd name="connsiteX70" fmla="*/ 821519 w 4501379"/>
              <a:gd name="connsiteY70" fmla="*/ 533400 h 4429294"/>
              <a:gd name="connsiteX71" fmla="*/ 869144 w 4501379"/>
              <a:gd name="connsiteY71" fmla="*/ 504825 h 4429294"/>
              <a:gd name="connsiteX72" fmla="*/ 1148544 w 4501379"/>
              <a:gd name="connsiteY72" fmla="*/ 311150 h 4429294"/>
              <a:gd name="connsiteX73" fmla="*/ 1250144 w 4501379"/>
              <a:gd name="connsiteY73" fmla="*/ 285750 h 4429294"/>
              <a:gd name="connsiteX74" fmla="*/ 1393019 w 4501379"/>
              <a:gd name="connsiteY74" fmla="*/ 190500 h 4429294"/>
              <a:gd name="connsiteX75" fmla="*/ 1431119 w 4501379"/>
              <a:gd name="connsiteY75" fmla="*/ 161925 h 4429294"/>
              <a:gd name="connsiteX76" fmla="*/ 1507319 w 4501379"/>
              <a:gd name="connsiteY76" fmla="*/ 152400 h 4429294"/>
              <a:gd name="connsiteX77" fmla="*/ 1564469 w 4501379"/>
              <a:gd name="connsiteY77" fmla="*/ 142875 h 4429294"/>
              <a:gd name="connsiteX78" fmla="*/ 1697819 w 4501379"/>
              <a:gd name="connsiteY78" fmla="*/ 123825 h 4429294"/>
              <a:gd name="connsiteX79" fmla="*/ 1793069 w 4501379"/>
              <a:gd name="connsiteY79" fmla="*/ 114300 h 4429294"/>
              <a:gd name="connsiteX80" fmla="*/ 1840694 w 4501379"/>
              <a:gd name="connsiteY80" fmla="*/ 104775 h 4429294"/>
              <a:gd name="connsiteX81" fmla="*/ 1897844 w 4501379"/>
              <a:gd name="connsiteY81" fmla="*/ 95250 h 4429294"/>
              <a:gd name="connsiteX82" fmla="*/ 2012144 w 4501379"/>
              <a:gd name="connsiteY82" fmla="*/ 66675 h 4429294"/>
              <a:gd name="connsiteX83" fmla="*/ 2078819 w 4501379"/>
              <a:gd name="connsiteY83" fmla="*/ 47625 h 4429294"/>
              <a:gd name="connsiteX84" fmla="*/ 2145494 w 4501379"/>
              <a:gd name="connsiteY84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307544 w 4501379"/>
              <a:gd name="connsiteY6" fmla="*/ 266700 h 4429294"/>
              <a:gd name="connsiteX7" fmla="*/ 3336119 w 4501379"/>
              <a:gd name="connsiteY7" fmla="*/ 285750 h 4429294"/>
              <a:gd name="connsiteX8" fmla="*/ 3402794 w 4501379"/>
              <a:gd name="connsiteY8" fmla="*/ 323850 h 4429294"/>
              <a:gd name="connsiteX9" fmla="*/ 3450419 w 4501379"/>
              <a:gd name="connsiteY9" fmla="*/ 361950 h 4429294"/>
              <a:gd name="connsiteX10" fmla="*/ 3498044 w 4501379"/>
              <a:gd name="connsiteY10" fmla="*/ 390525 h 4429294"/>
              <a:gd name="connsiteX11" fmla="*/ 3612344 w 4501379"/>
              <a:gd name="connsiteY11" fmla="*/ 485775 h 4429294"/>
              <a:gd name="connsiteX12" fmla="*/ 3726644 w 4501379"/>
              <a:gd name="connsiteY12" fmla="*/ 542925 h 4429294"/>
              <a:gd name="connsiteX13" fmla="*/ 3793319 w 4501379"/>
              <a:gd name="connsiteY13" fmla="*/ 581025 h 4429294"/>
              <a:gd name="connsiteX14" fmla="*/ 4009219 w 4501379"/>
              <a:gd name="connsiteY14" fmla="*/ 819150 h 4429294"/>
              <a:gd name="connsiteX15" fmla="*/ 4145744 w 4501379"/>
              <a:gd name="connsiteY15" fmla="*/ 990600 h 4429294"/>
              <a:gd name="connsiteX16" fmla="*/ 4231469 w 4501379"/>
              <a:gd name="connsiteY16" fmla="*/ 1143000 h 4429294"/>
              <a:gd name="connsiteX17" fmla="*/ 4288619 w 4501379"/>
              <a:gd name="connsiteY17" fmla="*/ 1266825 h 4429294"/>
              <a:gd name="connsiteX18" fmla="*/ 4326719 w 4501379"/>
              <a:gd name="connsiteY18" fmla="*/ 1362075 h 4429294"/>
              <a:gd name="connsiteX19" fmla="*/ 4374344 w 4501379"/>
              <a:gd name="connsiteY19" fmla="*/ 1552575 h 4429294"/>
              <a:gd name="connsiteX20" fmla="*/ 4412444 w 4501379"/>
              <a:gd name="connsiteY20" fmla="*/ 1685925 h 4429294"/>
              <a:gd name="connsiteX21" fmla="*/ 4501344 w 4501379"/>
              <a:gd name="connsiteY21" fmla="*/ 2181225 h 4429294"/>
              <a:gd name="connsiteX22" fmla="*/ 4428319 w 4501379"/>
              <a:gd name="connsiteY22" fmla="*/ 2768600 h 4429294"/>
              <a:gd name="connsiteX23" fmla="*/ 4364819 w 4501379"/>
              <a:gd name="connsiteY23" fmla="*/ 2990850 h 4429294"/>
              <a:gd name="connsiteX24" fmla="*/ 4260044 w 4501379"/>
              <a:gd name="connsiteY24" fmla="*/ 3248025 h 4429294"/>
              <a:gd name="connsiteX25" fmla="*/ 4164794 w 4501379"/>
              <a:gd name="connsiteY25" fmla="*/ 3400425 h 4429294"/>
              <a:gd name="connsiteX26" fmla="*/ 4040969 w 4501379"/>
              <a:gd name="connsiteY26" fmla="*/ 3533775 h 4429294"/>
              <a:gd name="connsiteX27" fmla="*/ 3936194 w 4501379"/>
              <a:gd name="connsiteY27" fmla="*/ 3648075 h 4429294"/>
              <a:gd name="connsiteX28" fmla="*/ 3640919 w 4501379"/>
              <a:gd name="connsiteY28" fmla="*/ 3971925 h 4429294"/>
              <a:gd name="connsiteX29" fmla="*/ 3498044 w 4501379"/>
              <a:gd name="connsiteY29" fmla="*/ 4083050 h 4429294"/>
              <a:gd name="connsiteX30" fmla="*/ 3202769 w 4501379"/>
              <a:gd name="connsiteY30" fmla="*/ 4222750 h 4429294"/>
              <a:gd name="connsiteX31" fmla="*/ 3050369 w 4501379"/>
              <a:gd name="connsiteY31" fmla="*/ 4286250 h 4429294"/>
              <a:gd name="connsiteX32" fmla="*/ 2917019 w 4501379"/>
              <a:gd name="connsiteY32" fmla="*/ 4333875 h 4429294"/>
              <a:gd name="connsiteX33" fmla="*/ 2793194 w 4501379"/>
              <a:gd name="connsiteY33" fmla="*/ 4371975 h 4429294"/>
              <a:gd name="connsiteX34" fmla="*/ 2561419 w 4501379"/>
              <a:gd name="connsiteY34" fmla="*/ 4391025 h 4429294"/>
              <a:gd name="connsiteX35" fmla="*/ 2107394 w 4501379"/>
              <a:gd name="connsiteY35" fmla="*/ 4429125 h 4429294"/>
              <a:gd name="connsiteX36" fmla="*/ 1916894 w 4501379"/>
              <a:gd name="connsiteY36" fmla="*/ 4400550 h 4429294"/>
              <a:gd name="connsiteX37" fmla="*/ 1554944 w 4501379"/>
              <a:gd name="connsiteY37" fmla="*/ 4305300 h 4429294"/>
              <a:gd name="connsiteX38" fmla="*/ 1313644 w 4501379"/>
              <a:gd name="connsiteY38" fmla="*/ 4216400 h 4429294"/>
              <a:gd name="connsiteX39" fmla="*/ 1145369 w 4501379"/>
              <a:gd name="connsiteY39" fmla="*/ 4111625 h 4429294"/>
              <a:gd name="connsiteX40" fmla="*/ 926294 w 4501379"/>
              <a:gd name="connsiteY40" fmla="*/ 3968750 h 4429294"/>
              <a:gd name="connsiteX41" fmla="*/ 592919 w 4501379"/>
              <a:gd name="connsiteY41" fmla="*/ 3657600 h 4429294"/>
              <a:gd name="connsiteX42" fmla="*/ 446869 w 4501379"/>
              <a:gd name="connsiteY42" fmla="*/ 3470275 h 4429294"/>
              <a:gd name="connsiteX43" fmla="*/ 316694 w 4501379"/>
              <a:gd name="connsiteY43" fmla="*/ 3244850 h 4429294"/>
              <a:gd name="connsiteX44" fmla="*/ 164294 w 4501379"/>
              <a:gd name="connsiteY44" fmla="*/ 2892425 h 4429294"/>
              <a:gd name="connsiteX45" fmla="*/ 56344 w 4501379"/>
              <a:gd name="connsiteY45" fmla="*/ 2368550 h 4429294"/>
              <a:gd name="connsiteX46" fmla="*/ 2369 w 4501379"/>
              <a:gd name="connsiteY46" fmla="*/ 1905000 h 4429294"/>
              <a:gd name="connsiteX47" fmla="*/ 11894 w 4501379"/>
              <a:gd name="connsiteY47" fmla="*/ 1838325 h 4429294"/>
              <a:gd name="connsiteX48" fmla="*/ 30944 w 4501379"/>
              <a:gd name="connsiteY48" fmla="*/ 1781175 h 4429294"/>
              <a:gd name="connsiteX49" fmla="*/ 40469 w 4501379"/>
              <a:gd name="connsiteY49" fmla="*/ 1743075 h 4429294"/>
              <a:gd name="connsiteX50" fmla="*/ 59519 w 4501379"/>
              <a:gd name="connsiteY50" fmla="*/ 1685925 h 4429294"/>
              <a:gd name="connsiteX51" fmla="*/ 69044 w 4501379"/>
              <a:gd name="connsiteY51" fmla="*/ 1638300 h 4429294"/>
              <a:gd name="connsiteX52" fmla="*/ 88094 w 4501379"/>
              <a:gd name="connsiteY52" fmla="*/ 1590675 h 4429294"/>
              <a:gd name="connsiteX53" fmla="*/ 116669 w 4501379"/>
              <a:gd name="connsiteY53" fmla="*/ 1504950 h 4429294"/>
              <a:gd name="connsiteX54" fmla="*/ 135719 w 4501379"/>
              <a:gd name="connsiteY54" fmla="*/ 1419225 h 4429294"/>
              <a:gd name="connsiteX55" fmla="*/ 211919 w 4501379"/>
              <a:gd name="connsiteY55" fmla="*/ 1276350 h 4429294"/>
              <a:gd name="connsiteX56" fmla="*/ 221444 w 4501379"/>
              <a:gd name="connsiteY56" fmla="*/ 1247775 h 4429294"/>
              <a:gd name="connsiteX57" fmla="*/ 250019 w 4501379"/>
              <a:gd name="connsiteY57" fmla="*/ 1200150 h 4429294"/>
              <a:gd name="connsiteX58" fmla="*/ 269069 w 4501379"/>
              <a:gd name="connsiteY58" fmla="*/ 1152525 h 4429294"/>
              <a:gd name="connsiteX59" fmla="*/ 297644 w 4501379"/>
              <a:gd name="connsiteY59" fmla="*/ 1114425 h 4429294"/>
              <a:gd name="connsiteX60" fmla="*/ 345269 w 4501379"/>
              <a:gd name="connsiteY60" fmla="*/ 1038225 h 4429294"/>
              <a:gd name="connsiteX61" fmla="*/ 364319 w 4501379"/>
              <a:gd name="connsiteY61" fmla="*/ 1009650 h 4429294"/>
              <a:gd name="connsiteX62" fmla="*/ 421469 w 4501379"/>
              <a:gd name="connsiteY62" fmla="*/ 904875 h 4429294"/>
              <a:gd name="connsiteX63" fmla="*/ 459569 w 4501379"/>
              <a:gd name="connsiteY63" fmla="*/ 857250 h 4429294"/>
              <a:gd name="connsiteX64" fmla="*/ 478619 w 4501379"/>
              <a:gd name="connsiteY64" fmla="*/ 828675 h 4429294"/>
              <a:gd name="connsiteX65" fmla="*/ 516719 w 4501379"/>
              <a:gd name="connsiteY65" fmla="*/ 800100 h 4429294"/>
              <a:gd name="connsiteX66" fmla="*/ 583394 w 4501379"/>
              <a:gd name="connsiteY66" fmla="*/ 733425 h 4429294"/>
              <a:gd name="connsiteX67" fmla="*/ 650069 w 4501379"/>
              <a:gd name="connsiteY67" fmla="*/ 676275 h 4429294"/>
              <a:gd name="connsiteX68" fmla="*/ 678644 w 4501379"/>
              <a:gd name="connsiteY68" fmla="*/ 657225 h 4429294"/>
              <a:gd name="connsiteX69" fmla="*/ 821519 w 4501379"/>
              <a:gd name="connsiteY69" fmla="*/ 533400 h 4429294"/>
              <a:gd name="connsiteX70" fmla="*/ 869144 w 4501379"/>
              <a:gd name="connsiteY70" fmla="*/ 504825 h 4429294"/>
              <a:gd name="connsiteX71" fmla="*/ 1148544 w 4501379"/>
              <a:gd name="connsiteY71" fmla="*/ 311150 h 4429294"/>
              <a:gd name="connsiteX72" fmla="*/ 1250144 w 4501379"/>
              <a:gd name="connsiteY72" fmla="*/ 285750 h 4429294"/>
              <a:gd name="connsiteX73" fmla="*/ 1393019 w 4501379"/>
              <a:gd name="connsiteY73" fmla="*/ 190500 h 4429294"/>
              <a:gd name="connsiteX74" fmla="*/ 1431119 w 4501379"/>
              <a:gd name="connsiteY74" fmla="*/ 161925 h 4429294"/>
              <a:gd name="connsiteX75" fmla="*/ 1507319 w 4501379"/>
              <a:gd name="connsiteY75" fmla="*/ 152400 h 4429294"/>
              <a:gd name="connsiteX76" fmla="*/ 1564469 w 4501379"/>
              <a:gd name="connsiteY76" fmla="*/ 142875 h 4429294"/>
              <a:gd name="connsiteX77" fmla="*/ 1697819 w 4501379"/>
              <a:gd name="connsiteY77" fmla="*/ 123825 h 4429294"/>
              <a:gd name="connsiteX78" fmla="*/ 1793069 w 4501379"/>
              <a:gd name="connsiteY78" fmla="*/ 114300 h 4429294"/>
              <a:gd name="connsiteX79" fmla="*/ 1840694 w 4501379"/>
              <a:gd name="connsiteY79" fmla="*/ 104775 h 4429294"/>
              <a:gd name="connsiteX80" fmla="*/ 1897844 w 4501379"/>
              <a:gd name="connsiteY80" fmla="*/ 95250 h 4429294"/>
              <a:gd name="connsiteX81" fmla="*/ 2012144 w 4501379"/>
              <a:gd name="connsiteY81" fmla="*/ 66675 h 4429294"/>
              <a:gd name="connsiteX82" fmla="*/ 2078819 w 4501379"/>
              <a:gd name="connsiteY82" fmla="*/ 47625 h 4429294"/>
              <a:gd name="connsiteX83" fmla="*/ 2145494 w 4501379"/>
              <a:gd name="connsiteY83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307544 w 4501379"/>
              <a:gd name="connsiteY6" fmla="*/ 266700 h 4429294"/>
              <a:gd name="connsiteX7" fmla="*/ 3402794 w 4501379"/>
              <a:gd name="connsiteY7" fmla="*/ 323850 h 4429294"/>
              <a:gd name="connsiteX8" fmla="*/ 3450419 w 4501379"/>
              <a:gd name="connsiteY8" fmla="*/ 361950 h 4429294"/>
              <a:gd name="connsiteX9" fmla="*/ 3498044 w 4501379"/>
              <a:gd name="connsiteY9" fmla="*/ 390525 h 4429294"/>
              <a:gd name="connsiteX10" fmla="*/ 3612344 w 4501379"/>
              <a:gd name="connsiteY10" fmla="*/ 485775 h 4429294"/>
              <a:gd name="connsiteX11" fmla="*/ 3726644 w 4501379"/>
              <a:gd name="connsiteY11" fmla="*/ 542925 h 4429294"/>
              <a:gd name="connsiteX12" fmla="*/ 3793319 w 4501379"/>
              <a:gd name="connsiteY12" fmla="*/ 581025 h 4429294"/>
              <a:gd name="connsiteX13" fmla="*/ 4009219 w 4501379"/>
              <a:gd name="connsiteY13" fmla="*/ 819150 h 4429294"/>
              <a:gd name="connsiteX14" fmla="*/ 4145744 w 4501379"/>
              <a:gd name="connsiteY14" fmla="*/ 990600 h 4429294"/>
              <a:gd name="connsiteX15" fmla="*/ 4231469 w 4501379"/>
              <a:gd name="connsiteY15" fmla="*/ 1143000 h 4429294"/>
              <a:gd name="connsiteX16" fmla="*/ 4288619 w 4501379"/>
              <a:gd name="connsiteY16" fmla="*/ 1266825 h 4429294"/>
              <a:gd name="connsiteX17" fmla="*/ 4326719 w 4501379"/>
              <a:gd name="connsiteY17" fmla="*/ 1362075 h 4429294"/>
              <a:gd name="connsiteX18" fmla="*/ 4374344 w 4501379"/>
              <a:gd name="connsiteY18" fmla="*/ 1552575 h 4429294"/>
              <a:gd name="connsiteX19" fmla="*/ 4412444 w 4501379"/>
              <a:gd name="connsiteY19" fmla="*/ 1685925 h 4429294"/>
              <a:gd name="connsiteX20" fmla="*/ 4501344 w 4501379"/>
              <a:gd name="connsiteY20" fmla="*/ 2181225 h 4429294"/>
              <a:gd name="connsiteX21" fmla="*/ 4428319 w 4501379"/>
              <a:gd name="connsiteY21" fmla="*/ 2768600 h 4429294"/>
              <a:gd name="connsiteX22" fmla="*/ 4364819 w 4501379"/>
              <a:gd name="connsiteY22" fmla="*/ 2990850 h 4429294"/>
              <a:gd name="connsiteX23" fmla="*/ 4260044 w 4501379"/>
              <a:gd name="connsiteY23" fmla="*/ 3248025 h 4429294"/>
              <a:gd name="connsiteX24" fmla="*/ 4164794 w 4501379"/>
              <a:gd name="connsiteY24" fmla="*/ 3400425 h 4429294"/>
              <a:gd name="connsiteX25" fmla="*/ 4040969 w 4501379"/>
              <a:gd name="connsiteY25" fmla="*/ 3533775 h 4429294"/>
              <a:gd name="connsiteX26" fmla="*/ 3936194 w 4501379"/>
              <a:gd name="connsiteY26" fmla="*/ 3648075 h 4429294"/>
              <a:gd name="connsiteX27" fmla="*/ 3640919 w 4501379"/>
              <a:gd name="connsiteY27" fmla="*/ 3971925 h 4429294"/>
              <a:gd name="connsiteX28" fmla="*/ 3498044 w 4501379"/>
              <a:gd name="connsiteY28" fmla="*/ 4083050 h 4429294"/>
              <a:gd name="connsiteX29" fmla="*/ 3202769 w 4501379"/>
              <a:gd name="connsiteY29" fmla="*/ 4222750 h 4429294"/>
              <a:gd name="connsiteX30" fmla="*/ 3050369 w 4501379"/>
              <a:gd name="connsiteY30" fmla="*/ 4286250 h 4429294"/>
              <a:gd name="connsiteX31" fmla="*/ 2917019 w 4501379"/>
              <a:gd name="connsiteY31" fmla="*/ 4333875 h 4429294"/>
              <a:gd name="connsiteX32" fmla="*/ 2793194 w 4501379"/>
              <a:gd name="connsiteY32" fmla="*/ 4371975 h 4429294"/>
              <a:gd name="connsiteX33" fmla="*/ 2561419 w 4501379"/>
              <a:gd name="connsiteY33" fmla="*/ 4391025 h 4429294"/>
              <a:gd name="connsiteX34" fmla="*/ 2107394 w 4501379"/>
              <a:gd name="connsiteY34" fmla="*/ 4429125 h 4429294"/>
              <a:gd name="connsiteX35" fmla="*/ 1916894 w 4501379"/>
              <a:gd name="connsiteY35" fmla="*/ 4400550 h 4429294"/>
              <a:gd name="connsiteX36" fmla="*/ 1554944 w 4501379"/>
              <a:gd name="connsiteY36" fmla="*/ 4305300 h 4429294"/>
              <a:gd name="connsiteX37" fmla="*/ 1313644 w 4501379"/>
              <a:gd name="connsiteY37" fmla="*/ 4216400 h 4429294"/>
              <a:gd name="connsiteX38" fmla="*/ 1145369 w 4501379"/>
              <a:gd name="connsiteY38" fmla="*/ 4111625 h 4429294"/>
              <a:gd name="connsiteX39" fmla="*/ 926294 w 4501379"/>
              <a:gd name="connsiteY39" fmla="*/ 3968750 h 4429294"/>
              <a:gd name="connsiteX40" fmla="*/ 592919 w 4501379"/>
              <a:gd name="connsiteY40" fmla="*/ 3657600 h 4429294"/>
              <a:gd name="connsiteX41" fmla="*/ 446869 w 4501379"/>
              <a:gd name="connsiteY41" fmla="*/ 3470275 h 4429294"/>
              <a:gd name="connsiteX42" fmla="*/ 316694 w 4501379"/>
              <a:gd name="connsiteY42" fmla="*/ 3244850 h 4429294"/>
              <a:gd name="connsiteX43" fmla="*/ 164294 w 4501379"/>
              <a:gd name="connsiteY43" fmla="*/ 2892425 h 4429294"/>
              <a:gd name="connsiteX44" fmla="*/ 56344 w 4501379"/>
              <a:gd name="connsiteY44" fmla="*/ 2368550 h 4429294"/>
              <a:gd name="connsiteX45" fmla="*/ 2369 w 4501379"/>
              <a:gd name="connsiteY45" fmla="*/ 1905000 h 4429294"/>
              <a:gd name="connsiteX46" fmla="*/ 11894 w 4501379"/>
              <a:gd name="connsiteY46" fmla="*/ 1838325 h 4429294"/>
              <a:gd name="connsiteX47" fmla="*/ 30944 w 4501379"/>
              <a:gd name="connsiteY47" fmla="*/ 1781175 h 4429294"/>
              <a:gd name="connsiteX48" fmla="*/ 40469 w 4501379"/>
              <a:gd name="connsiteY48" fmla="*/ 1743075 h 4429294"/>
              <a:gd name="connsiteX49" fmla="*/ 59519 w 4501379"/>
              <a:gd name="connsiteY49" fmla="*/ 1685925 h 4429294"/>
              <a:gd name="connsiteX50" fmla="*/ 69044 w 4501379"/>
              <a:gd name="connsiteY50" fmla="*/ 1638300 h 4429294"/>
              <a:gd name="connsiteX51" fmla="*/ 88094 w 4501379"/>
              <a:gd name="connsiteY51" fmla="*/ 1590675 h 4429294"/>
              <a:gd name="connsiteX52" fmla="*/ 116669 w 4501379"/>
              <a:gd name="connsiteY52" fmla="*/ 1504950 h 4429294"/>
              <a:gd name="connsiteX53" fmla="*/ 135719 w 4501379"/>
              <a:gd name="connsiteY53" fmla="*/ 1419225 h 4429294"/>
              <a:gd name="connsiteX54" fmla="*/ 211919 w 4501379"/>
              <a:gd name="connsiteY54" fmla="*/ 1276350 h 4429294"/>
              <a:gd name="connsiteX55" fmla="*/ 221444 w 4501379"/>
              <a:gd name="connsiteY55" fmla="*/ 1247775 h 4429294"/>
              <a:gd name="connsiteX56" fmla="*/ 250019 w 4501379"/>
              <a:gd name="connsiteY56" fmla="*/ 1200150 h 4429294"/>
              <a:gd name="connsiteX57" fmla="*/ 269069 w 4501379"/>
              <a:gd name="connsiteY57" fmla="*/ 1152525 h 4429294"/>
              <a:gd name="connsiteX58" fmla="*/ 297644 w 4501379"/>
              <a:gd name="connsiteY58" fmla="*/ 1114425 h 4429294"/>
              <a:gd name="connsiteX59" fmla="*/ 345269 w 4501379"/>
              <a:gd name="connsiteY59" fmla="*/ 1038225 h 4429294"/>
              <a:gd name="connsiteX60" fmla="*/ 364319 w 4501379"/>
              <a:gd name="connsiteY60" fmla="*/ 1009650 h 4429294"/>
              <a:gd name="connsiteX61" fmla="*/ 421469 w 4501379"/>
              <a:gd name="connsiteY61" fmla="*/ 904875 h 4429294"/>
              <a:gd name="connsiteX62" fmla="*/ 459569 w 4501379"/>
              <a:gd name="connsiteY62" fmla="*/ 857250 h 4429294"/>
              <a:gd name="connsiteX63" fmla="*/ 478619 w 4501379"/>
              <a:gd name="connsiteY63" fmla="*/ 828675 h 4429294"/>
              <a:gd name="connsiteX64" fmla="*/ 516719 w 4501379"/>
              <a:gd name="connsiteY64" fmla="*/ 800100 h 4429294"/>
              <a:gd name="connsiteX65" fmla="*/ 583394 w 4501379"/>
              <a:gd name="connsiteY65" fmla="*/ 733425 h 4429294"/>
              <a:gd name="connsiteX66" fmla="*/ 650069 w 4501379"/>
              <a:gd name="connsiteY66" fmla="*/ 676275 h 4429294"/>
              <a:gd name="connsiteX67" fmla="*/ 678644 w 4501379"/>
              <a:gd name="connsiteY67" fmla="*/ 657225 h 4429294"/>
              <a:gd name="connsiteX68" fmla="*/ 821519 w 4501379"/>
              <a:gd name="connsiteY68" fmla="*/ 533400 h 4429294"/>
              <a:gd name="connsiteX69" fmla="*/ 869144 w 4501379"/>
              <a:gd name="connsiteY69" fmla="*/ 504825 h 4429294"/>
              <a:gd name="connsiteX70" fmla="*/ 1148544 w 4501379"/>
              <a:gd name="connsiteY70" fmla="*/ 311150 h 4429294"/>
              <a:gd name="connsiteX71" fmla="*/ 1250144 w 4501379"/>
              <a:gd name="connsiteY71" fmla="*/ 285750 h 4429294"/>
              <a:gd name="connsiteX72" fmla="*/ 1393019 w 4501379"/>
              <a:gd name="connsiteY72" fmla="*/ 190500 h 4429294"/>
              <a:gd name="connsiteX73" fmla="*/ 1431119 w 4501379"/>
              <a:gd name="connsiteY73" fmla="*/ 161925 h 4429294"/>
              <a:gd name="connsiteX74" fmla="*/ 1507319 w 4501379"/>
              <a:gd name="connsiteY74" fmla="*/ 152400 h 4429294"/>
              <a:gd name="connsiteX75" fmla="*/ 1564469 w 4501379"/>
              <a:gd name="connsiteY75" fmla="*/ 142875 h 4429294"/>
              <a:gd name="connsiteX76" fmla="*/ 1697819 w 4501379"/>
              <a:gd name="connsiteY76" fmla="*/ 123825 h 4429294"/>
              <a:gd name="connsiteX77" fmla="*/ 1793069 w 4501379"/>
              <a:gd name="connsiteY77" fmla="*/ 114300 h 4429294"/>
              <a:gd name="connsiteX78" fmla="*/ 1840694 w 4501379"/>
              <a:gd name="connsiteY78" fmla="*/ 104775 h 4429294"/>
              <a:gd name="connsiteX79" fmla="*/ 1897844 w 4501379"/>
              <a:gd name="connsiteY79" fmla="*/ 95250 h 4429294"/>
              <a:gd name="connsiteX80" fmla="*/ 2012144 w 4501379"/>
              <a:gd name="connsiteY80" fmla="*/ 66675 h 4429294"/>
              <a:gd name="connsiteX81" fmla="*/ 2078819 w 4501379"/>
              <a:gd name="connsiteY81" fmla="*/ 47625 h 4429294"/>
              <a:gd name="connsiteX82" fmla="*/ 2145494 w 4501379"/>
              <a:gd name="connsiteY82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307544 w 4501379"/>
              <a:gd name="connsiteY5" fmla="*/ 266700 h 4429294"/>
              <a:gd name="connsiteX6" fmla="*/ 3402794 w 4501379"/>
              <a:gd name="connsiteY6" fmla="*/ 323850 h 4429294"/>
              <a:gd name="connsiteX7" fmla="*/ 3450419 w 4501379"/>
              <a:gd name="connsiteY7" fmla="*/ 361950 h 4429294"/>
              <a:gd name="connsiteX8" fmla="*/ 3498044 w 4501379"/>
              <a:gd name="connsiteY8" fmla="*/ 390525 h 4429294"/>
              <a:gd name="connsiteX9" fmla="*/ 3612344 w 4501379"/>
              <a:gd name="connsiteY9" fmla="*/ 485775 h 4429294"/>
              <a:gd name="connsiteX10" fmla="*/ 3726644 w 4501379"/>
              <a:gd name="connsiteY10" fmla="*/ 542925 h 4429294"/>
              <a:gd name="connsiteX11" fmla="*/ 3793319 w 4501379"/>
              <a:gd name="connsiteY11" fmla="*/ 581025 h 4429294"/>
              <a:gd name="connsiteX12" fmla="*/ 4009219 w 4501379"/>
              <a:gd name="connsiteY12" fmla="*/ 819150 h 4429294"/>
              <a:gd name="connsiteX13" fmla="*/ 4145744 w 4501379"/>
              <a:gd name="connsiteY13" fmla="*/ 990600 h 4429294"/>
              <a:gd name="connsiteX14" fmla="*/ 4231469 w 4501379"/>
              <a:gd name="connsiteY14" fmla="*/ 1143000 h 4429294"/>
              <a:gd name="connsiteX15" fmla="*/ 4288619 w 4501379"/>
              <a:gd name="connsiteY15" fmla="*/ 1266825 h 4429294"/>
              <a:gd name="connsiteX16" fmla="*/ 4326719 w 4501379"/>
              <a:gd name="connsiteY16" fmla="*/ 1362075 h 4429294"/>
              <a:gd name="connsiteX17" fmla="*/ 4374344 w 4501379"/>
              <a:gd name="connsiteY17" fmla="*/ 1552575 h 4429294"/>
              <a:gd name="connsiteX18" fmla="*/ 4412444 w 4501379"/>
              <a:gd name="connsiteY18" fmla="*/ 1685925 h 4429294"/>
              <a:gd name="connsiteX19" fmla="*/ 4501344 w 4501379"/>
              <a:gd name="connsiteY19" fmla="*/ 2181225 h 4429294"/>
              <a:gd name="connsiteX20" fmla="*/ 4428319 w 4501379"/>
              <a:gd name="connsiteY20" fmla="*/ 2768600 h 4429294"/>
              <a:gd name="connsiteX21" fmla="*/ 4364819 w 4501379"/>
              <a:gd name="connsiteY21" fmla="*/ 2990850 h 4429294"/>
              <a:gd name="connsiteX22" fmla="*/ 4260044 w 4501379"/>
              <a:gd name="connsiteY22" fmla="*/ 3248025 h 4429294"/>
              <a:gd name="connsiteX23" fmla="*/ 4164794 w 4501379"/>
              <a:gd name="connsiteY23" fmla="*/ 3400425 h 4429294"/>
              <a:gd name="connsiteX24" fmla="*/ 4040969 w 4501379"/>
              <a:gd name="connsiteY24" fmla="*/ 3533775 h 4429294"/>
              <a:gd name="connsiteX25" fmla="*/ 3936194 w 4501379"/>
              <a:gd name="connsiteY25" fmla="*/ 3648075 h 4429294"/>
              <a:gd name="connsiteX26" fmla="*/ 3640919 w 4501379"/>
              <a:gd name="connsiteY26" fmla="*/ 3971925 h 4429294"/>
              <a:gd name="connsiteX27" fmla="*/ 3498044 w 4501379"/>
              <a:gd name="connsiteY27" fmla="*/ 4083050 h 4429294"/>
              <a:gd name="connsiteX28" fmla="*/ 3202769 w 4501379"/>
              <a:gd name="connsiteY28" fmla="*/ 4222750 h 4429294"/>
              <a:gd name="connsiteX29" fmla="*/ 3050369 w 4501379"/>
              <a:gd name="connsiteY29" fmla="*/ 4286250 h 4429294"/>
              <a:gd name="connsiteX30" fmla="*/ 2917019 w 4501379"/>
              <a:gd name="connsiteY30" fmla="*/ 4333875 h 4429294"/>
              <a:gd name="connsiteX31" fmla="*/ 2793194 w 4501379"/>
              <a:gd name="connsiteY31" fmla="*/ 4371975 h 4429294"/>
              <a:gd name="connsiteX32" fmla="*/ 2561419 w 4501379"/>
              <a:gd name="connsiteY32" fmla="*/ 4391025 h 4429294"/>
              <a:gd name="connsiteX33" fmla="*/ 2107394 w 4501379"/>
              <a:gd name="connsiteY33" fmla="*/ 4429125 h 4429294"/>
              <a:gd name="connsiteX34" fmla="*/ 1916894 w 4501379"/>
              <a:gd name="connsiteY34" fmla="*/ 4400550 h 4429294"/>
              <a:gd name="connsiteX35" fmla="*/ 1554944 w 4501379"/>
              <a:gd name="connsiteY35" fmla="*/ 4305300 h 4429294"/>
              <a:gd name="connsiteX36" fmla="*/ 1313644 w 4501379"/>
              <a:gd name="connsiteY36" fmla="*/ 4216400 h 4429294"/>
              <a:gd name="connsiteX37" fmla="*/ 1145369 w 4501379"/>
              <a:gd name="connsiteY37" fmla="*/ 4111625 h 4429294"/>
              <a:gd name="connsiteX38" fmla="*/ 926294 w 4501379"/>
              <a:gd name="connsiteY38" fmla="*/ 3968750 h 4429294"/>
              <a:gd name="connsiteX39" fmla="*/ 592919 w 4501379"/>
              <a:gd name="connsiteY39" fmla="*/ 3657600 h 4429294"/>
              <a:gd name="connsiteX40" fmla="*/ 446869 w 4501379"/>
              <a:gd name="connsiteY40" fmla="*/ 3470275 h 4429294"/>
              <a:gd name="connsiteX41" fmla="*/ 316694 w 4501379"/>
              <a:gd name="connsiteY41" fmla="*/ 3244850 h 4429294"/>
              <a:gd name="connsiteX42" fmla="*/ 164294 w 4501379"/>
              <a:gd name="connsiteY42" fmla="*/ 2892425 h 4429294"/>
              <a:gd name="connsiteX43" fmla="*/ 56344 w 4501379"/>
              <a:gd name="connsiteY43" fmla="*/ 2368550 h 4429294"/>
              <a:gd name="connsiteX44" fmla="*/ 2369 w 4501379"/>
              <a:gd name="connsiteY44" fmla="*/ 1905000 h 4429294"/>
              <a:gd name="connsiteX45" fmla="*/ 11894 w 4501379"/>
              <a:gd name="connsiteY45" fmla="*/ 1838325 h 4429294"/>
              <a:gd name="connsiteX46" fmla="*/ 30944 w 4501379"/>
              <a:gd name="connsiteY46" fmla="*/ 1781175 h 4429294"/>
              <a:gd name="connsiteX47" fmla="*/ 40469 w 4501379"/>
              <a:gd name="connsiteY47" fmla="*/ 1743075 h 4429294"/>
              <a:gd name="connsiteX48" fmla="*/ 59519 w 4501379"/>
              <a:gd name="connsiteY48" fmla="*/ 1685925 h 4429294"/>
              <a:gd name="connsiteX49" fmla="*/ 69044 w 4501379"/>
              <a:gd name="connsiteY49" fmla="*/ 1638300 h 4429294"/>
              <a:gd name="connsiteX50" fmla="*/ 88094 w 4501379"/>
              <a:gd name="connsiteY50" fmla="*/ 1590675 h 4429294"/>
              <a:gd name="connsiteX51" fmla="*/ 116669 w 4501379"/>
              <a:gd name="connsiteY51" fmla="*/ 1504950 h 4429294"/>
              <a:gd name="connsiteX52" fmla="*/ 135719 w 4501379"/>
              <a:gd name="connsiteY52" fmla="*/ 1419225 h 4429294"/>
              <a:gd name="connsiteX53" fmla="*/ 211919 w 4501379"/>
              <a:gd name="connsiteY53" fmla="*/ 1276350 h 4429294"/>
              <a:gd name="connsiteX54" fmla="*/ 221444 w 4501379"/>
              <a:gd name="connsiteY54" fmla="*/ 1247775 h 4429294"/>
              <a:gd name="connsiteX55" fmla="*/ 250019 w 4501379"/>
              <a:gd name="connsiteY55" fmla="*/ 1200150 h 4429294"/>
              <a:gd name="connsiteX56" fmla="*/ 269069 w 4501379"/>
              <a:gd name="connsiteY56" fmla="*/ 1152525 h 4429294"/>
              <a:gd name="connsiteX57" fmla="*/ 297644 w 4501379"/>
              <a:gd name="connsiteY57" fmla="*/ 1114425 h 4429294"/>
              <a:gd name="connsiteX58" fmla="*/ 345269 w 4501379"/>
              <a:gd name="connsiteY58" fmla="*/ 1038225 h 4429294"/>
              <a:gd name="connsiteX59" fmla="*/ 364319 w 4501379"/>
              <a:gd name="connsiteY59" fmla="*/ 1009650 h 4429294"/>
              <a:gd name="connsiteX60" fmla="*/ 421469 w 4501379"/>
              <a:gd name="connsiteY60" fmla="*/ 904875 h 4429294"/>
              <a:gd name="connsiteX61" fmla="*/ 459569 w 4501379"/>
              <a:gd name="connsiteY61" fmla="*/ 857250 h 4429294"/>
              <a:gd name="connsiteX62" fmla="*/ 478619 w 4501379"/>
              <a:gd name="connsiteY62" fmla="*/ 828675 h 4429294"/>
              <a:gd name="connsiteX63" fmla="*/ 516719 w 4501379"/>
              <a:gd name="connsiteY63" fmla="*/ 800100 h 4429294"/>
              <a:gd name="connsiteX64" fmla="*/ 583394 w 4501379"/>
              <a:gd name="connsiteY64" fmla="*/ 733425 h 4429294"/>
              <a:gd name="connsiteX65" fmla="*/ 650069 w 4501379"/>
              <a:gd name="connsiteY65" fmla="*/ 676275 h 4429294"/>
              <a:gd name="connsiteX66" fmla="*/ 678644 w 4501379"/>
              <a:gd name="connsiteY66" fmla="*/ 657225 h 4429294"/>
              <a:gd name="connsiteX67" fmla="*/ 821519 w 4501379"/>
              <a:gd name="connsiteY67" fmla="*/ 533400 h 4429294"/>
              <a:gd name="connsiteX68" fmla="*/ 869144 w 4501379"/>
              <a:gd name="connsiteY68" fmla="*/ 504825 h 4429294"/>
              <a:gd name="connsiteX69" fmla="*/ 1148544 w 4501379"/>
              <a:gd name="connsiteY69" fmla="*/ 311150 h 4429294"/>
              <a:gd name="connsiteX70" fmla="*/ 1250144 w 4501379"/>
              <a:gd name="connsiteY70" fmla="*/ 285750 h 4429294"/>
              <a:gd name="connsiteX71" fmla="*/ 1393019 w 4501379"/>
              <a:gd name="connsiteY71" fmla="*/ 190500 h 4429294"/>
              <a:gd name="connsiteX72" fmla="*/ 1431119 w 4501379"/>
              <a:gd name="connsiteY72" fmla="*/ 161925 h 4429294"/>
              <a:gd name="connsiteX73" fmla="*/ 1507319 w 4501379"/>
              <a:gd name="connsiteY73" fmla="*/ 152400 h 4429294"/>
              <a:gd name="connsiteX74" fmla="*/ 1564469 w 4501379"/>
              <a:gd name="connsiteY74" fmla="*/ 142875 h 4429294"/>
              <a:gd name="connsiteX75" fmla="*/ 1697819 w 4501379"/>
              <a:gd name="connsiteY75" fmla="*/ 123825 h 4429294"/>
              <a:gd name="connsiteX76" fmla="*/ 1793069 w 4501379"/>
              <a:gd name="connsiteY76" fmla="*/ 114300 h 4429294"/>
              <a:gd name="connsiteX77" fmla="*/ 1840694 w 4501379"/>
              <a:gd name="connsiteY77" fmla="*/ 104775 h 4429294"/>
              <a:gd name="connsiteX78" fmla="*/ 1897844 w 4501379"/>
              <a:gd name="connsiteY78" fmla="*/ 95250 h 4429294"/>
              <a:gd name="connsiteX79" fmla="*/ 2012144 w 4501379"/>
              <a:gd name="connsiteY79" fmla="*/ 66675 h 4429294"/>
              <a:gd name="connsiteX80" fmla="*/ 2078819 w 4501379"/>
              <a:gd name="connsiteY80" fmla="*/ 47625 h 4429294"/>
              <a:gd name="connsiteX81" fmla="*/ 2145494 w 4501379"/>
              <a:gd name="connsiteY81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450419 w 4501379"/>
              <a:gd name="connsiteY6" fmla="*/ 361950 h 4429294"/>
              <a:gd name="connsiteX7" fmla="*/ 3498044 w 4501379"/>
              <a:gd name="connsiteY7" fmla="*/ 390525 h 4429294"/>
              <a:gd name="connsiteX8" fmla="*/ 3612344 w 4501379"/>
              <a:gd name="connsiteY8" fmla="*/ 485775 h 4429294"/>
              <a:gd name="connsiteX9" fmla="*/ 3726644 w 4501379"/>
              <a:gd name="connsiteY9" fmla="*/ 542925 h 4429294"/>
              <a:gd name="connsiteX10" fmla="*/ 3793319 w 4501379"/>
              <a:gd name="connsiteY10" fmla="*/ 581025 h 4429294"/>
              <a:gd name="connsiteX11" fmla="*/ 4009219 w 4501379"/>
              <a:gd name="connsiteY11" fmla="*/ 819150 h 4429294"/>
              <a:gd name="connsiteX12" fmla="*/ 4145744 w 4501379"/>
              <a:gd name="connsiteY12" fmla="*/ 990600 h 4429294"/>
              <a:gd name="connsiteX13" fmla="*/ 4231469 w 4501379"/>
              <a:gd name="connsiteY13" fmla="*/ 1143000 h 4429294"/>
              <a:gd name="connsiteX14" fmla="*/ 4288619 w 4501379"/>
              <a:gd name="connsiteY14" fmla="*/ 1266825 h 4429294"/>
              <a:gd name="connsiteX15" fmla="*/ 4326719 w 4501379"/>
              <a:gd name="connsiteY15" fmla="*/ 1362075 h 4429294"/>
              <a:gd name="connsiteX16" fmla="*/ 4374344 w 4501379"/>
              <a:gd name="connsiteY16" fmla="*/ 1552575 h 4429294"/>
              <a:gd name="connsiteX17" fmla="*/ 4412444 w 4501379"/>
              <a:gd name="connsiteY17" fmla="*/ 1685925 h 4429294"/>
              <a:gd name="connsiteX18" fmla="*/ 4501344 w 4501379"/>
              <a:gd name="connsiteY18" fmla="*/ 2181225 h 4429294"/>
              <a:gd name="connsiteX19" fmla="*/ 4428319 w 4501379"/>
              <a:gd name="connsiteY19" fmla="*/ 2768600 h 4429294"/>
              <a:gd name="connsiteX20" fmla="*/ 4364819 w 4501379"/>
              <a:gd name="connsiteY20" fmla="*/ 2990850 h 4429294"/>
              <a:gd name="connsiteX21" fmla="*/ 4260044 w 4501379"/>
              <a:gd name="connsiteY21" fmla="*/ 3248025 h 4429294"/>
              <a:gd name="connsiteX22" fmla="*/ 4164794 w 4501379"/>
              <a:gd name="connsiteY22" fmla="*/ 3400425 h 4429294"/>
              <a:gd name="connsiteX23" fmla="*/ 4040969 w 4501379"/>
              <a:gd name="connsiteY23" fmla="*/ 3533775 h 4429294"/>
              <a:gd name="connsiteX24" fmla="*/ 3936194 w 4501379"/>
              <a:gd name="connsiteY24" fmla="*/ 3648075 h 4429294"/>
              <a:gd name="connsiteX25" fmla="*/ 3640919 w 4501379"/>
              <a:gd name="connsiteY25" fmla="*/ 3971925 h 4429294"/>
              <a:gd name="connsiteX26" fmla="*/ 3498044 w 4501379"/>
              <a:gd name="connsiteY26" fmla="*/ 4083050 h 4429294"/>
              <a:gd name="connsiteX27" fmla="*/ 3202769 w 4501379"/>
              <a:gd name="connsiteY27" fmla="*/ 4222750 h 4429294"/>
              <a:gd name="connsiteX28" fmla="*/ 3050369 w 4501379"/>
              <a:gd name="connsiteY28" fmla="*/ 4286250 h 4429294"/>
              <a:gd name="connsiteX29" fmla="*/ 2917019 w 4501379"/>
              <a:gd name="connsiteY29" fmla="*/ 4333875 h 4429294"/>
              <a:gd name="connsiteX30" fmla="*/ 2793194 w 4501379"/>
              <a:gd name="connsiteY30" fmla="*/ 4371975 h 4429294"/>
              <a:gd name="connsiteX31" fmla="*/ 2561419 w 4501379"/>
              <a:gd name="connsiteY31" fmla="*/ 4391025 h 4429294"/>
              <a:gd name="connsiteX32" fmla="*/ 2107394 w 4501379"/>
              <a:gd name="connsiteY32" fmla="*/ 4429125 h 4429294"/>
              <a:gd name="connsiteX33" fmla="*/ 1916894 w 4501379"/>
              <a:gd name="connsiteY33" fmla="*/ 4400550 h 4429294"/>
              <a:gd name="connsiteX34" fmla="*/ 1554944 w 4501379"/>
              <a:gd name="connsiteY34" fmla="*/ 4305300 h 4429294"/>
              <a:gd name="connsiteX35" fmla="*/ 1313644 w 4501379"/>
              <a:gd name="connsiteY35" fmla="*/ 4216400 h 4429294"/>
              <a:gd name="connsiteX36" fmla="*/ 1145369 w 4501379"/>
              <a:gd name="connsiteY36" fmla="*/ 4111625 h 4429294"/>
              <a:gd name="connsiteX37" fmla="*/ 926294 w 4501379"/>
              <a:gd name="connsiteY37" fmla="*/ 3968750 h 4429294"/>
              <a:gd name="connsiteX38" fmla="*/ 592919 w 4501379"/>
              <a:gd name="connsiteY38" fmla="*/ 3657600 h 4429294"/>
              <a:gd name="connsiteX39" fmla="*/ 446869 w 4501379"/>
              <a:gd name="connsiteY39" fmla="*/ 3470275 h 4429294"/>
              <a:gd name="connsiteX40" fmla="*/ 316694 w 4501379"/>
              <a:gd name="connsiteY40" fmla="*/ 3244850 h 4429294"/>
              <a:gd name="connsiteX41" fmla="*/ 164294 w 4501379"/>
              <a:gd name="connsiteY41" fmla="*/ 2892425 h 4429294"/>
              <a:gd name="connsiteX42" fmla="*/ 56344 w 4501379"/>
              <a:gd name="connsiteY42" fmla="*/ 2368550 h 4429294"/>
              <a:gd name="connsiteX43" fmla="*/ 2369 w 4501379"/>
              <a:gd name="connsiteY43" fmla="*/ 1905000 h 4429294"/>
              <a:gd name="connsiteX44" fmla="*/ 11894 w 4501379"/>
              <a:gd name="connsiteY44" fmla="*/ 1838325 h 4429294"/>
              <a:gd name="connsiteX45" fmla="*/ 30944 w 4501379"/>
              <a:gd name="connsiteY45" fmla="*/ 1781175 h 4429294"/>
              <a:gd name="connsiteX46" fmla="*/ 40469 w 4501379"/>
              <a:gd name="connsiteY46" fmla="*/ 1743075 h 4429294"/>
              <a:gd name="connsiteX47" fmla="*/ 59519 w 4501379"/>
              <a:gd name="connsiteY47" fmla="*/ 1685925 h 4429294"/>
              <a:gd name="connsiteX48" fmla="*/ 69044 w 4501379"/>
              <a:gd name="connsiteY48" fmla="*/ 1638300 h 4429294"/>
              <a:gd name="connsiteX49" fmla="*/ 88094 w 4501379"/>
              <a:gd name="connsiteY49" fmla="*/ 1590675 h 4429294"/>
              <a:gd name="connsiteX50" fmla="*/ 116669 w 4501379"/>
              <a:gd name="connsiteY50" fmla="*/ 1504950 h 4429294"/>
              <a:gd name="connsiteX51" fmla="*/ 135719 w 4501379"/>
              <a:gd name="connsiteY51" fmla="*/ 1419225 h 4429294"/>
              <a:gd name="connsiteX52" fmla="*/ 211919 w 4501379"/>
              <a:gd name="connsiteY52" fmla="*/ 1276350 h 4429294"/>
              <a:gd name="connsiteX53" fmla="*/ 221444 w 4501379"/>
              <a:gd name="connsiteY53" fmla="*/ 1247775 h 4429294"/>
              <a:gd name="connsiteX54" fmla="*/ 250019 w 4501379"/>
              <a:gd name="connsiteY54" fmla="*/ 1200150 h 4429294"/>
              <a:gd name="connsiteX55" fmla="*/ 269069 w 4501379"/>
              <a:gd name="connsiteY55" fmla="*/ 1152525 h 4429294"/>
              <a:gd name="connsiteX56" fmla="*/ 297644 w 4501379"/>
              <a:gd name="connsiteY56" fmla="*/ 1114425 h 4429294"/>
              <a:gd name="connsiteX57" fmla="*/ 345269 w 4501379"/>
              <a:gd name="connsiteY57" fmla="*/ 1038225 h 4429294"/>
              <a:gd name="connsiteX58" fmla="*/ 364319 w 4501379"/>
              <a:gd name="connsiteY58" fmla="*/ 1009650 h 4429294"/>
              <a:gd name="connsiteX59" fmla="*/ 421469 w 4501379"/>
              <a:gd name="connsiteY59" fmla="*/ 904875 h 4429294"/>
              <a:gd name="connsiteX60" fmla="*/ 459569 w 4501379"/>
              <a:gd name="connsiteY60" fmla="*/ 857250 h 4429294"/>
              <a:gd name="connsiteX61" fmla="*/ 478619 w 4501379"/>
              <a:gd name="connsiteY61" fmla="*/ 828675 h 4429294"/>
              <a:gd name="connsiteX62" fmla="*/ 516719 w 4501379"/>
              <a:gd name="connsiteY62" fmla="*/ 800100 h 4429294"/>
              <a:gd name="connsiteX63" fmla="*/ 583394 w 4501379"/>
              <a:gd name="connsiteY63" fmla="*/ 733425 h 4429294"/>
              <a:gd name="connsiteX64" fmla="*/ 650069 w 4501379"/>
              <a:gd name="connsiteY64" fmla="*/ 676275 h 4429294"/>
              <a:gd name="connsiteX65" fmla="*/ 678644 w 4501379"/>
              <a:gd name="connsiteY65" fmla="*/ 657225 h 4429294"/>
              <a:gd name="connsiteX66" fmla="*/ 821519 w 4501379"/>
              <a:gd name="connsiteY66" fmla="*/ 533400 h 4429294"/>
              <a:gd name="connsiteX67" fmla="*/ 869144 w 4501379"/>
              <a:gd name="connsiteY67" fmla="*/ 504825 h 4429294"/>
              <a:gd name="connsiteX68" fmla="*/ 1148544 w 4501379"/>
              <a:gd name="connsiteY68" fmla="*/ 311150 h 4429294"/>
              <a:gd name="connsiteX69" fmla="*/ 1250144 w 4501379"/>
              <a:gd name="connsiteY69" fmla="*/ 285750 h 4429294"/>
              <a:gd name="connsiteX70" fmla="*/ 1393019 w 4501379"/>
              <a:gd name="connsiteY70" fmla="*/ 190500 h 4429294"/>
              <a:gd name="connsiteX71" fmla="*/ 1431119 w 4501379"/>
              <a:gd name="connsiteY71" fmla="*/ 161925 h 4429294"/>
              <a:gd name="connsiteX72" fmla="*/ 1507319 w 4501379"/>
              <a:gd name="connsiteY72" fmla="*/ 152400 h 4429294"/>
              <a:gd name="connsiteX73" fmla="*/ 1564469 w 4501379"/>
              <a:gd name="connsiteY73" fmla="*/ 142875 h 4429294"/>
              <a:gd name="connsiteX74" fmla="*/ 1697819 w 4501379"/>
              <a:gd name="connsiteY74" fmla="*/ 123825 h 4429294"/>
              <a:gd name="connsiteX75" fmla="*/ 1793069 w 4501379"/>
              <a:gd name="connsiteY75" fmla="*/ 114300 h 4429294"/>
              <a:gd name="connsiteX76" fmla="*/ 1840694 w 4501379"/>
              <a:gd name="connsiteY76" fmla="*/ 104775 h 4429294"/>
              <a:gd name="connsiteX77" fmla="*/ 1897844 w 4501379"/>
              <a:gd name="connsiteY77" fmla="*/ 95250 h 4429294"/>
              <a:gd name="connsiteX78" fmla="*/ 2012144 w 4501379"/>
              <a:gd name="connsiteY78" fmla="*/ 66675 h 4429294"/>
              <a:gd name="connsiteX79" fmla="*/ 2078819 w 4501379"/>
              <a:gd name="connsiteY79" fmla="*/ 47625 h 4429294"/>
              <a:gd name="connsiteX80" fmla="*/ 2145494 w 4501379"/>
              <a:gd name="connsiteY80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450419 w 4501379"/>
              <a:gd name="connsiteY6" fmla="*/ 361950 h 4429294"/>
              <a:gd name="connsiteX7" fmla="*/ 3612344 w 4501379"/>
              <a:gd name="connsiteY7" fmla="*/ 485775 h 4429294"/>
              <a:gd name="connsiteX8" fmla="*/ 3726644 w 4501379"/>
              <a:gd name="connsiteY8" fmla="*/ 542925 h 4429294"/>
              <a:gd name="connsiteX9" fmla="*/ 3793319 w 4501379"/>
              <a:gd name="connsiteY9" fmla="*/ 581025 h 4429294"/>
              <a:gd name="connsiteX10" fmla="*/ 4009219 w 4501379"/>
              <a:gd name="connsiteY10" fmla="*/ 819150 h 4429294"/>
              <a:gd name="connsiteX11" fmla="*/ 4145744 w 4501379"/>
              <a:gd name="connsiteY11" fmla="*/ 990600 h 4429294"/>
              <a:gd name="connsiteX12" fmla="*/ 4231469 w 4501379"/>
              <a:gd name="connsiteY12" fmla="*/ 1143000 h 4429294"/>
              <a:gd name="connsiteX13" fmla="*/ 4288619 w 4501379"/>
              <a:gd name="connsiteY13" fmla="*/ 1266825 h 4429294"/>
              <a:gd name="connsiteX14" fmla="*/ 4326719 w 4501379"/>
              <a:gd name="connsiteY14" fmla="*/ 1362075 h 4429294"/>
              <a:gd name="connsiteX15" fmla="*/ 4374344 w 4501379"/>
              <a:gd name="connsiteY15" fmla="*/ 1552575 h 4429294"/>
              <a:gd name="connsiteX16" fmla="*/ 4412444 w 4501379"/>
              <a:gd name="connsiteY16" fmla="*/ 1685925 h 4429294"/>
              <a:gd name="connsiteX17" fmla="*/ 4501344 w 4501379"/>
              <a:gd name="connsiteY17" fmla="*/ 2181225 h 4429294"/>
              <a:gd name="connsiteX18" fmla="*/ 4428319 w 4501379"/>
              <a:gd name="connsiteY18" fmla="*/ 2768600 h 4429294"/>
              <a:gd name="connsiteX19" fmla="*/ 4364819 w 4501379"/>
              <a:gd name="connsiteY19" fmla="*/ 2990850 h 4429294"/>
              <a:gd name="connsiteX20" fmla="*/ 4260044 w 4501379"/>
              <a:gd name="connsiteY20" fmla="*/ 3248025 h 4429294"/>
              <a:gd name="connsiteX21" fmla="*/ 4164794 w 4501379"/>
              <a:gd name="connsiteY21" fmla="*/ 3400425 h 4429294"/>
              <a:gd name="connsiteX22" fmla="*/ 4040969 w 4501379"/>
              <a:gd name="connsiteY22" fmla="*/ 3533775 h 4429294"/>
              <a:gd name="connsiteX23" fmla="*/ 3936194 w 4501379"/>
              <a:gd name="connsiteY23" fmla="*/ 3648075 h 4429294"/>
              <a:gd name="connsiteX24" fmla="*/ 3640919 w 4501379"/>
              <a:gd name="connsiteY24" fmla="*/ 3971925 h 4429294"/>
              <a:gd name="connsiteX25" fmla="*/ 3498044 w 4501379"/>
              <a:gd name="connsiteY25" fmla="*/ 4083050 h 4429294"/>
              <a:gd name="connsiteX26" fmla="*/ 3202769 w 4501379"/>
              <a:gd name="connsiteY26" fmla="*/ 4222750 h 4429294"/>
              <a:gd name="connsiteX27" fmla="*/ 3050369 w 4501379"/>
              <a:gd name="connsiteY27" fmla="*/ 4286250 h 4429294"/>
              <a:gd name="connsiteX28" fmla="*/ 2917019 w 4501379"/>
              <a:gd name="connsiteY28" fmla="*/ 4333875 h 4429294"/>
              <a:gd name="connsiteX29" fmla="*/ 2793194 w 4501379"/>
              <a:gd name="connsiteY29" fmla="*/ 4371975 h 4429294"/>
              <a:gd name="connsiteX30" fmla="*/ 2561419 w 4501379"/>
              <a:gd name="connsiteY30" fmla="*/ 4391025 h 4429294"/>
              <a:gd name="connsiteX31" fmla="*/ 2107394 w 4501379"/>
              <a:gd name="connsiteY31" fmla="*/ 4429125 h 4429294"/>
              <a:gd name="connsiteX32" fmla="*/ 1916894 w 4501379"/>
              <a:gd name="connsiteY32" fmla="*/ 4400550 h 4429294"/>
              <a:gd name="connsiteX33" fmla="*/ 1554944 w 4501379"/>
              <a:gd name="connsiteY33" fmla="*/ 4305300 h 4429294"/>
              <a:gd name="connsiteX34" fmla="*/ 1313644 w 4501379"/>
              <a:gd name="connsiteY34" fmla="*/ 4216400 h 4429294"/>
              <a:gd name="connsiteX35" fmla="*/ 1145369 w 4501379"/>
              <a:gd name="connsiteY35" fmla="*/ 4111625 h 4429294"/>
              <a:gd name="connsiteX36" fmla="*/ 926294 w 4501379"/>
              <a:gd name="connsiteY36" fmla="*/ 3968750 h 4429294"/>
              <a:gd name="connsiteX37" fmla="*/ 592919 w 4501379"/>
              <a:gd name="connsiteY37" fmla="*/ 3657600 h 4429294"/>
              <a:gd name="connsiteX38" fmla="*/ 446869 w 4501379"/>
              <a:gd name="connsiteY38" fmla="*/ 3470275 h 4429294"/>
              <a:gd name="connsiteX39" fmla="*/ 316694 w 4501379"/>
              <a:gd name="connsiteY39" fmla="*/ 3244850 h 4429294"/>
              <a:gd name="connsiteX40" fmla="*/ 164294 w 4501379"/>
              <a:gd name="connsiteY40" fmla="*/ 2892425 h 4429294"/>
              <a:gd name="connsiteX41" fmla="*/ 56344 w 4501379"/>
              <a:gd name="connsiteY41" fmla="*/ 2368550 h 4429294"/>
              <a:gd name="connsiteX42" fmla="*/ 2369 w 4501379"/>
              <a:gd name="connsiteY42" fmla="*/ 1905000 h 4429294"/>
              <a:gd name="connsiteX43" fmla="*/ 11894 w 4501379"/>
              <a:gd name="connsiteY43" fmla="*/ 1838325 h 4429294"/>
              <a:gd name="connsiteX44" fmla="*/ 30944 w 4501379"/>
              <a:gd name="connsiteY44" fmla="*/ 1781175 h 4429294"/>
              <a:gd name="connsiteX45" fmla="*/ 40469 w 4501379"/>
              <a:gd name="connsiteY45" fmla="*/ 1743075 h 4429294"/>
              <a:gd name="connsiteX46" fmla="*/ 59519 w 4501379"/>
              <a:gd name="connsiteY46" fmla="*/ 1685925 h 4429294"/>
              <a:gd name="connsiteX47" fmla="*/ 69044 w 4501379"/>
              <a:gd name="connsiteY47" fmla="*/ 1638300 h 4429294"/>
              <a:gd name="connsiteX48" fmla="*/ 88094 w 4501379"/>
              <a:gd name="connsiteY48" fmla="*/ 1590675 h 4429294"/>
              <a:gd name="connsiteX49" fmla="*/ 116669 w 4501379"/>
              <a:gd name="connsiteY49" fmla="*/ 1504950 h 4429294"/>
              <a:gd name="connsiteX50" fmla="*/ 135719 w 4501379"/>
              <a:gd name="connsiteY50" fmla="*/ 1419225 h 4429294"/>
              <a:gd name="connsiteX51" fmla="*/ 211919 w 4501379"/>
              <a:gd name="connsiteY51" fmla="*/ 1276350 h 4429294"/>
              <a:gd name="connsiteX52" fmla="*/ 221444 w 4501379"/>
              <a:gd name="connsiteY52" fmla="*/ 1247775 h 4429294"/>
              <a:gd name="connsiteX53" fmla="*/ 250019 w 4501379"/>
              <a:gd name="connsiteY53" fmla="*/ 1200150 h 4429294"/>
              <a:gd name="connsiteX54" fmla="*/ 269069 w 4501379"/>
              <a:gd name="connsiteY54" fmla="*/ 1152525 h 4429294"/>
              <a:gd name="connsiteX55" fmla="*/ 297644 w 4501379"/>
              <a:gd name="connsiteY55" fmla="*/ 1114425 h 4429294"/>
              <a:gd name="connsiteX56" fmla="*/ 345269 w 4501379"/>
              <a:gd name="connsiteY56" fmla="*/ 1038225 h 4429294"/>
              <a:gd name="connsiteX57" fmla="*/ 364319 w 4501379"/>
              <a:gd name="connsiteY57" fmla="*/ 1009650 h 4429294"/>
              <a:gd name="connsiteX58" fmla="*/ 421469 w 4501379"/>
              <a:gd name="connsiteY58" fmla="*/ 904875 h 4429294"/>
              <a:gd name="connsiteX59" fmla="*/ 459569 w 4501379"/>
              <a:gd name="connsiteY59" fmla="*/ 857250 h 4429294"/>
              <a:gd name="connsiteX60" fmla="*/ 478619 w 4501379"/>
              <a:gd name="connsiteY60" fmla="*/ 828675 h 4429294"/>
              <a:gd name="connsiteX61" fmla="*/ 516719 w 4501379"/>
              <a:gd name="connsiteY61" fmla="*/ 800100 h 4429294"/>
              <a:gd name="connsiteX62" fmla="*/ 583394 w 4501379"/>
              <a:gd name="connsiteY62" fmla="*/ 733425 h 4429294"/>
              <a:gd name="connsiteX63" fmla="*/ 650069 w 4501379"/>
              <a:gd name="connsiteY63" fmla="*/ 676275 h 4429294"/>
              <a:gd name="connsiteX64" fmla="*/ 678644 w 4501379"/>
              <a:gd name="connsiteY64" fmla="*/ 657225 h 4429294"/>
              <a:gd name="connsiteX65" fmla="*/ 821519 w 4501379"/>
              <a:gd name="connsiteY65" fmla="*/ 533400 h 4429294"/>
              <a:gd name="connsiteX66" fmla="*/ 869144 w 4501379"/>
              <a:gd name="connsiteY66" fmla="*/ 504825 h 4429294"/>
              <a:gd name="connsiteX67" fmla="*/ 1148544 w 4501379"/>
              <a:gd name="connsiteY67" fmla="*/ 311150 h 4429294"/>
              <a:gd name="connsiteX68" fmla="*/ 1250144 w 4501379"/>
              <a:gd name="connsiteY68" fmla="*/ 285750 h 4429294"/>
              <a:gd name="connsiteX69" fmla="*/ 1393019 w 4501379"/>
              <a:gd name="connsiteY69" fmla="*/ 190500 h 4429294"/>
              <a:gd name="connsiteX70" fmla="*/ 1431119 w 4501379"/>
              <a:gd name="connsiteY70" fmla="*/ 161925 h 4429294"/>
              <a:gd name="connsiteX71" fmla="*/ 1507319 w 4501379"/>
              <a:gd name="connsiteY71" fmla="*/ 152400 h 4429294"/>
              <a:gd name="connsiteX72" fmla="*/ 1564469 w 4501379"/>
              <a:gd name="connsiteY72" fmla="*/ 142875 h 4429294"/>
              <a:gd name="connsiteX73" fmla="*/ 1697819 w 4501379"/>
              <a:gd name="connsiteY73" fmla="*/ 123825 h 4429294"/>
              <a:gd name="connsiteX74" fmla="*/ 1793069 w 4501379"/>
              <a:gd name="connsiteY74" fmla="*/ 114300 h 4429294"/>
              <a:gd name="connsiteX75" fmla="*/ 1840694 w 4501379"/>
              <a:gd name="connsiteY75" fmla="*/ 104775 h 4429294"/>
              <a:gd name="connsiteX76" fmla="*/ 1897844 w 4501379"/>
              <a:gd name="connsiteY76" fmla="*/ 95250 h 4429294"/>
              <a:gd name="connsiteX77" fmla="*/ 2012144 w 4501379"/>
              <a:gd name="connsiteY77" fmla="*/ 66675 h 4429294"/>
              <a:gd name="connsiteX78" fmla="*/ 2078819 w 4501379"/>
              <a:gd name="connsiteY78" fmla="*/ 47625 h 4429294"/>
              <a:gd name="connsiteX79" fmla="*/ 2145494 w 4501379"/>
              <a:gd name="connsiteY79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612344 w 4501379"/>
              <a:gd name="connsiteY6" fmla="*/ 485775 h 4429294"/>
              <a:gd name="connsiteX7" fmla="*/ 3726644 w 4501379"/>
              <a:gd name="connsiteY7" fmla="*/ 542925 h 4429294"/>
              <a:gd name="connsiteX8" fmla="*/ 3793319 w 4501379"/>
              <a:gd name="connsiteY8" fmla="*/ 581025 h 4429294"/>
              <a:gd name="connsiteX9" fmla="*/ 4009219 w 4501379"/>
              <a:gd name="connsiteY9" fmla="*/ 819150 h 4429294"/>
              <a:gd name="connsiteX10" fmla="*/ 4145744 w 4501379"/>
              <a:gd name="connsiteY10" fmla="*/ 990600 h 4429294"/>
              <a:gd name="connsiteX11" fmla="*/ 4231469 w 4501379"/>
              <a:gd name="connsiteY11" fmla="*/ 1143000 h 4429294"/>
              <a:gd name="connsiteX12" fmla="*/ 4288619 w 4501379"/>
              <a:gd name="connsiteY12" fmla="*/ 1266825 h 4429294"/>
              <a:gd name="connsiteX13" fmla="*/ 4326719 w 4501379"/>
              <a:gd name="connsiteY13" fmla="*/ 1362075 h 4429294"/>
              <a:gd name="connsiteX14" fmla="*/ 4374344 w 4501379"/>
              <a:gd name="connsiteY14" fmla="*/ 1552575 h 4429294"/>
              <a:gd name="connsiteX15" fmla="*/ 4412444 w 4501379"/>
              <a:gd name="connsiteY15" fmla="*/ 1685925 h 4429294"/>
              <a:gd name="connsiteX16" fmla="*/ 4501344 w 4501379"/>
              <a:gd name="connsiteY16" fmla="*/ 2181225 h 4429294"/>
              <a:gd name="connsiteX17" fmla="*/ 4428319 w 4501379"/>
              <a:gd name="connsiteY17" fmla="*/ 2768600 h 4429294"/>
              <a:gd name="connsiteX18" fmla="*/ 4364819 w 4501379"/>
              <a:gd name="connsiteY18" fmla="*/ 2990850 h 4429294"/>
              <a:gd name="connsiteX19" fmla="*/ 4260044 w 4501379"/>
              <a:gd name="connsiteY19" fmla="*/ 3248025 h 4429294"/>
              <a:gd name="connsiteX20" fmla="*/ 4164794 w 4501379"/>
              <a:gd name="connsiteY20" fmla="*/ 3400425 h 4429294"/>
              <a:gd name="connsiteX21" fmla="*/ 4040969 w 4501379"/>
              <a:gd name="connsiteY21" fmla="*/ 3533775 h 4429294"/>
              <a:gd name="connsiteX22" fmla="*/ 3936194 w 4501379"/>
              <a:gd name="connsiteY22" fmla="*/ 3648075 h 4429294"/>
              <a:gd name="connsiteX23" fmla="*/ 3640919 w 4501379"/>
              <a:gd name="connsiteY23" fmla="*/ 3971925 h 4429294"/>
              <a:gd name="connsiteX24" fmla="*/ 3498044 w 4501379"/>
              <a:gd name="connsiteY24" fmla="*/ 4083050 h 4429294"/>
              <a:gd name="connsiteX25" fmla="*/ 3202769 w 4501379"/>
              <a:gd name="connsiteY25" fmla="*/ 4222750 h 4429294"/>
              <a:gd name="connsiteX26" fmla="*/ 3050369 w 4501379"/>
              <a:gd name="connsiteY26" fmla="*/ 4286250 h 4429294"/>
              <a:gd name="connsiteX27" fmla="*/ 2917019 w 4501379"/>
              <a:gd name="connsiteY27" fmla="*/ 4333875 h 4429294"/>
              <a:gd name="connsiteX28" fmla="*/ 2793194 w 4501379"/>
              <a:gd name="connsiteY28" fmla="*/ 4371975 h 4429294"/>
              <a:gd name="connsiteX29" fmla="*/ 2561419 w 4501379"/>
              <a:gd name="connsiteY29" fmla="*/ 4391025 h 4429294"/>
              <a:gd name="connsiteX30" fmla="*/ 2107394 w 4501379"/>
              <a:gd name="connsiteY30" fmla="*/ 4429125 h 4429294"/>
              <a:gd name="connsiteX31" fmla="*/ 1916894 w 4501379"/>
              <a:gd name="connsiteY31" fmla="*/ 4400550 h 4429294"/>
              <a:gd name="connsiteX32" fmla="*/ 1554944 w 4501379"/>
              <a:gd name="connsiteY32" fmla="*/ 4305300 h 4429294"/>
              <a:gd name="connsiteX33" fmla="*/ 1313644 w 4501379"/>
              <a:gd name="connsiteY33" fmla="*/ 4216400 h 4429294"/>
              <a:gd name="connsiteX34" fmla="*/ 1145369 w 4501379"/>
              <a:gd name="connsiteY34" fmla="*/ 4111625 h 4429294"/>
              <a:gd name="connsiteX35" fmla="*/ 926294 w 4501379"/>
              <a:gd name="connsiteY35" fmla="*/ 3968750 h 4429294"/>
              <a:gd name="connsiteX36" fmla="*/ 592919 w 4501379"/>
              <a:gd name="connsiteY36" fmla="*/ 3657600 h 4429294"/>
              <a:gd name="connsiteX37" fmla="*/ 446869 w 4501379"/>
              <a:gd name="connsiteY37" fmla="*/ 3470275 h 4429294"/>
              <a:gd name="connsiteX38" fmla="*/ 316694 w 4501379"/>
              <a:gd name="connsiteY38" fmla="*/ 3244850 h 4429294"/>
              <a:gd name="connsiteX39" fmla="*/ 164294 w 4501379"/>
              <a:gd name="connsiteY39" fmla="*/ 2892425 h 4429294"/>
              <a:gd name="connsiteX40" fmla="*/ 56344 w 4501379"/>
              <a:gd name="connsiteY40" fmla="*/ 2368550 h 4429294"/>
              <a:gd name="connsiteX41" fmla="*/ 2369 w 4501379"/>
              <a:gd name="connsiteY41" fmla="*/ 1905000 h 4429294"/>
              <a:gd name="connsiteX42" fmla="*/ 11894 w 4501379"/>
              <a:gd name="connsiteY42" fmla="*/ 1838325 h 4429294"/>
              <a:gd name="connsiteX43" fmla="*/ 30944 w 4501379"/>
              <a:gd name="connsiteY43" fmla="*/ 1781175 h 4429294"/>
              <a:gd name="connsiteX44" fmla="*/ 40469 w 4501379"/>
              <a:gd name="connsiteY44" fmla="*/ 1743075 h 4429294"/>
              <a:gd name="connsiteX45" fmla="*/ 59519 w 4501379"/>
              <a:gd name="connsiteY45" fmla="*/ 1685925 h 4429294"/>
              <a:gd name="connsiteX46" fmla="*/ 69044 w 4501379"/>
              <a:gd name="connsiteY46" fmla="*/ 1638300 h 4429294"/>
              <a:gd name="connsiteX47" fmla="*/ 88094 w 4501379"/>
              <a:gd name="connsiteY47" fmla="*/ 1590675 h 4429294"/>
              <a:gd name="connsiteX48" fmla="*/ 116669 w 4501379"/>
              <a:gd name="connsiteY48" fmla="*/ 1504950 h 4429294"/>
              <a:gd name="connsiteX49" fmla="*/ 135719 w 4501379"/>
              <a:gd name="connsiteY49" fmla="*/ 1419225 h 4429294"/>
              <a:gd name="connsiteX50" fmla="*/ 211919 w 4501379"/>
              <a:gd name="connsiteY50" fmla="*/ 1276350 h 4429294"/>
              <a:gd name="connsiteX51" fmla="*/ 221444 w 4501379"/>
              <a:gd name="connsiteY51" fmla="*/ 1247775 h 4429294"/>
              <a:gd name="connsiteX52" fmla="*/ 250019 w 4501379"/>
              <a:gd name="connsiteY52" fmla="*/ 1200150 h 4429294"/>
              <a:gd name="connsiteX53" fmla="*/ 269069 w 4501379"/>
              <a:gd name="connsiteY53" fmla="*/ 1152525 h 4429294"/>
              <a:gd name="connsiteX54" fmla="*/ 297644 w 4501379"/>
              <a:gd name="connsiteY54" fmla="*/ 1114425 h 4429294"/>
              <a:gd name="connsiteX55" fmla="*/ 345269 w 4501379"/>
              <a:gd name="connsiteY55" fmla="*/ 1038225 h 4429294"/>
              <a:gd name="connsiteX56" fmla="*/ 364319 w 4501379"/>
              <a:gd name="connsiteY56" fmla="*/ 1009650 h 4429294"/>
              <a:gd name="connsiteX57" fmla="*/ 421469 w 4501379"/>
              <a:gd name="connsiteY57" fmla="*/ 904875 h 4429294"/>
              <a:gd name="connsiteX58" fmla="*/ 459569 w 4501379"/>
              <a:gd name="connsiteY58" fmla="*/ 857250 h 4429294"/>
              <a:gd name="connsiteX59" fmla="*/ 478619 w 4501379"/>
              <a:gd name="connsiteY59" fmla="*/ 828675 h 4429294"/>
              <a:gd name="connsiteX60" fmla="*/ 516719 w 4501379"/>
              <a:gd name="connsiteY60" fmla="*/ 800100 h 4429294"/>
              <a:gd name="connsiteX61" fmla="*/ 583394 w 4501379"/>
              <a:gd name="connsiteY61" fmla="*/ 733425 h 4429294"/>
              <a:gd name="connsiteX62" fmla="*/ 650069 w 4501379"/>
              <a:gd name="connsiteY62" fmla="*/ 676275 h 4429294"/>
              <a:gd name="connsiteX63" fmla="*/ 678644 w 4501379"/>
              <a:gd name="connsiteY63" fmla="*/ 657225 h 4429294"/>
              <a:gd name="connsiteX64" fmla="*/ 821519 w 4501379"/>
              <a:gd name="connsiteY64" fmla="*/ 533400 h 4429294"/>
              <a:gd name="connsiteX65" fmla="*/ 869144 w 4501379"/>
              <a:gd name="connsiteY65" fmla="*/ 504825 h 4429294"/>
              <a:gd name="connsiteX66" fmla="*/ 1148544 w 4501379"/>
              <a:gd name="connsiteY66" fmla="*/ 311150 h 4429294"/>
              <a:gd name="connsiteX67" fmla="*/ 1250144 w 4501379"/>
              <a:gd name="connsiteY67" fmla="*/ 285750 h 4429294"/>
              <a:gd name="connsiteX68" fmla="*/ 1393019 w 4501379"/>
              <a:gd name="connsiteY68" fmla="*/ 190500 h 4429294"/>
              <a:gd name="connsiteX69" fmla="*/ 1431119 w 4501379"/>
              <a:gd name="connsiteY69" fmla="*/ 161925 h 4429294"/>
              <a:gd name="connsiteX70" fmla="*/ 1507319 w 4501379"/>
              <a:gd name="connsiteY70" fmla="*/ 152400 h 4429294"/>
              <a:gd name="connsiteX71" fmla="*/ 1564469 w 4501379"/>
              <a:gd name="connsiteY71" fmla="*/ 142875 h 4429294"/>
              <a:gd name="connsiteX72" fmla="*/ 1697819 w 4501379"/>
              <a:gd name="connsiteY72" fmla="*/ 123825 h 4429294"/>
              <a:gd name="connsiteX73" fmla="*/ 1793069 w 4501379"/>
              <a:gd name="connsiteY73" fmla="*/ 114300 h 4429294"/>
              <a:gd name="connsiteX74" fmla="*/ 1840694 w 4501379"/>
              <a:gd name="connsiteY74" fmla="*/ 104775 h 4429294"/>
              <a:gd name="connsiteX75" fmla="*/ 1897844 w 4501379"/>
              <a:gd name="connsiteY75" fmla="*/ 95250 h 4429294"/>
              <a:gd name="connsiteX76" fmla="*/ 2012144 w 4501379"/>
              <a:gd name="connsiteY76" fmla="*/ 66675 h 4429294"/>
              <a:gd name="connsiteX77" fmla="*/ 2078819 w 4501379"/>
              <a:gd name="connsiteY77" fmla="*/ 47625 h 4429294"/>
              <a:gd name="connsiteX78" fmla="*/ 2145494 w 4501379"/>
              <a:gd name="connsiteY7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612344 w 4501379"/>
              <a:gd name="connsiteY6" fmla="*/ 485775 h 4429294"/>
              <a:gd name="connsiteX7" fmla="*/ 3793319 w 4501379"/>
              <a:gd name="connsiteY7" fmla="*/ 581025 h 4429294"/>
              <a:gd name="connsiteX8" fmla="*/ 4009219 w 4501379"/>
              <a:gd name="connsiteY8" fmla="*/ 819150 h 4429294"/>
              <a:gd name="connsiteX9" fmla="*/ 4145744 w 4501379"/>
              <a:gd name="connsiteY9" fmla="*/ 990600 h 4429294"/>
              <a:gd name="connsiteX10" fmla="*/ 4231469 w 4501379"/>
              <a:gd name="connsiteY10" fmla="*/ 1143000 h 4429294"/>
              <a:gd name="connsiteX11" fmla="*/ 4288619 w 4501379"/>
              <a:gd name="connsiteY11" fmla="*/ 1266825 h 4429294"/>
              <a:gd name="connsiteX12" fmla="*/ 4326719 w 4501379"/>
              <a:gd name="connsiteY12" fmla="*/ 1362075 h 4429294"/>
              <a:gd name="connsiteX13" fmla="*/ 4374344 w 4501379"/>
              <a:gd name="connsiteY13" fmla="*/ 1552575 h 4429294"/>
              <a:gd name="connsiteX14" fmla="*/ 4412444 w 4501379"/>
              <a:gd name="connsiteY14" fmla="*/ 1685925 h 4429294"/>
              <a:gd name="connsiteX15" fmla="*/ 4501344 w 4501379"/>
              <a:gd name="connsiteY15" fmla="*/ 2181225 h 4429294"/>
              <a:gd name="connsiteX16" fmla="*/ 4428319 w 4501379"/>
              <a:gd name="connsiteY16" fmla="*/ 2768600 h 4429294"/>
              <a:gd name="connsiteX17" fmla="*/ 4364819 w 4501379"/>
              <a:gd name="connsiteY17" fmla="*/ 2990850 h 4429294"/>
              <a:gd name="connsiteX18" fmla="*/ 4260044 w 4501379"/>
              <a:gd name="connsiteY18" fmla="*/ 3248025 h 4429294"/>
              <a:gd name="connsiteX19" fmla="*/ 4164794 w 4501379"/>
              <a:gd name="connsiteY19" fmla="*/ 3400425 h 4429294"/>
              <a:gd name="connsiteX20" fmla="*/ 4040969 w 4501379"/>
              <a:gd name="connsiteY20" fmla="*/ 3533775 h 4429294"/>
              <a:gd name="connsiteX21" fmla="*/ 3936194 w 4501379"/>
              <a:gd name="connsiteY21" fmla="*/ 3648075 h 4429294"/>
              <a:gd name="connsiteX22" fmla="*/ 3640919 w 4501379"/>
              <a:gd name="connsiteY22" fmla="*/ 3971925 h 4429294"/>
              <a:gd name="connsiteX23" fmla="*/ 3498044 w 4501379"/>
              <a:gd name="connsiteY23" fmla="*/ 4083050 h 4429294"/>
              <a:gd name="connsiteX24" fmla="*/ 3202769 w 4501379"/>
              <a:gd name="connsiteY24" fmla="*/ 4222750 h 4429294"/>
              <a:gd name="connsiteX25" fmla="*/ 3050369 w 4501379"/>
              <a:gd name="connsiteY25" fmla="*/ 4286250 h 4429294"/>
              <a:gd name="connsiteX26" fmla="*/ 2917019 w 4501379"/>
              <a:gd name="connsiteY26" fmla="*/ 4333875 h 4429294"/>
              <a:gd name="connsiteX27" fmla="*/ 2793194 w 4501379"/>
              <a:gd name="connsiteY27" fmla="*/ 4371975 h 4429294"/>
              <a:gd name="connsiteX28" fmla="*/ 2561419 w 4501379"/>
              <a:gd name="connsiteY28" fmla="*/ 4391025 h 4429294"/>
              <a:gd name="connsiteX29" fmla="*/ 2107394 w 4501379"/>
              <a:gd name="connsiteY29" fmla="*/ 4429125 h 4429294"/>
              <a:gd name="connsiteX30" fmla="*/ 1916894 w 4501379"/>
              <a:gd name="connsiteY30" fmla="*/ 4400550 h 4429294"/>
              <a:gd name="connsiteX31" fmla="*/ 1554944 w 4501379"/>
              <a:gd name="connsiteY31" fmla="*/ 4305300 h 4429294"/>
              <a:gd name="connsiteX32" fmla="*/ 1313644 w 4501379"/>
              <a:gd name="connsiteY32" fmla="*/ 4216400 h 4429294"/>
              <a:gd name="connsiteX33" fmla="*/ 1145369 w 4501379"/>
              <a:gd name="connsiteY33" fmla="*/ 4111625 h 4429294"/>
              <a:gd name="connsiteX34" fmla="*/ 926294 w 4501379"/>
              <a:gd name="connsiteY34" fmla="*/ 3968750 h 4429294"/>
              <a:gd name="connsiteX35" fmla="*/ 592919 w 4501379"/>
              <a:gd name="connsiteY35" fmla="*/ 3657600 h 4429294"/>
              <a:gd name="connsiteX36" fmla="*/ 446869 w 4501379"/>
              <a:gd name="connsiteY36" fmla="*/ 3470275 h 4429294"/>
              <a:gd name="connsiteX37" fmla="*/ 316694 w 4501379"/>
              <a:gd name="connsiteY37" fmla="*/ 3244850 h 4429294"/>
              <a:gd name="connsiteX38" fmla="*/ 164294 w 4501379"/>
              <a:gd name="connsiteY38" fmla="*/ 2892425 h 4429294"/>
              <a:gd name="connsiteX39" fmla="*/ 56344 w 4501379"/>
              <a:gd name="connsiteY39" fmla="*/ 2368550 h 4429294"/>
              <a:gd name="connsiteX40" fmla="*/ 2369 w 4501379"/>
              <a:gd name="connsiteY40" fmla="*/ 1905000 h 4429294"/>
              <a:gd name="connsiteX41" fmla="*/ 11894 w 4501379"/>
              <a:gd name="connsiteY41" fmla="*/ 1838325 h 4429294"/>
              <a:gd name="connsiteX42" fmla="*/ 30944 w 4501379"/>
              <a:gd name="connsiteY42" fmla="*/ 1781175 h 4429294"/>
              <a:gd name="connsiteX43" fmla="*/ 40469 w 4501379"/>
              <a:gd name="connsiteY43" fmla="*/ 1743075 h 4429294"/>
              <a:gd name="connsiteX44" fmla="*/ 59519 w 4501379"/>
              <a:gd name="connsiteY44" fmla="*/ 1685925 h 4429294"/>
              <a:gd name="connsiteX45" fmla="*/ 69044 w 4501379"/>
              <a:gd name="connsiteY45" fmla="*/ 1638300 h 4429294"/>
              <a:gd name="connsiteX46" fmla="*/ 88094 w 4501379"/>
              <a:gd name="connsiteY46" fmla="*/ 1590675 h 4429294"/>
              <a:gd name="connsiteX47" fmla="*/ 116669 w 4501379"/>
              <a:gd name="connsiteY47" fmla="*/ 1504950 h 4429294"/>
              <a:gd name="connsiteX48" fmla="*/ 135719 w 4501379"/>
              <a:gd name="connsiteY48" fmla="*/ 1419225 h 4429294"/>
              <a:gd name="connsiteX49" fmla="*/ 211919 w 4501379"/>
              <a:gd name="connsiteY49" fmla="*/ 1276350 h 4429294"/>
              <a:gd name="connsiteX50" fmla="*/ 221444 w 4501379"/>
              <a:gd name="connsiteY50" fmla="*/ 1247775 h 4429294"/>
              <a:gd name="connsiteX51" fmla="*/ 250019 w 4501379"/>
              <a:gd name="connsiteY51" fmla="*/ 1200150 h 4429294"/>
              <a:gd name="connsiteX52" fmla="*/ 269069 w 4501379"/>
              <a:gd name="connsiteY52" fmla="*/ 1152525 h 4429294"/>
              <a:gd name="connsiteX53" fmla="*/ 297644 w 4501379"/>
              <a:gd name="connsiteY53" fmla="*/ 1114425 h 4429294"/>
              <a:gd name="connsiteX54" fmla="*/ 345269 w 4501379"/>
              <a:gd name="connsiteY54" fmla="*/ 1038225 h 4429294"/>
              <a:gd name="connsiteX55" fmla="*/ 364319 w 4501379"/>
              <a:gd name="connsiteY55" fmla="*/ 1009650 h 4429294"/>
              <a:gd name="connsiteX56" fmla="*/ 421469 w 4501379"/>
              <a:gd name="connsiteY56" fmla="*/ 904875 h 4429294"/>
              <a:gd name="connsiteX57" fmla="*/ 459569 w 4501379"/>
              <a:gd name="connsiteY57" fmla="*/ 857250 h 4429294"/>
              <a:gd name="connsiteX58" fmla="*/ 478619 w 4501379"/>
              <a:gd name="connsiteY58" fmla="*/ 828675 h 4429294"/>
              <a:gd name="connsiteX59" fmla="*/ 516719 w 4501379"/>
              <a:gd name="connsiteY59" fmla="*/ 800100 h 4429294"/>
              <a:gd name="connsiteX60" fmla="*/ 583394 w 4501379"/>
              <a:gd name="connsiteY60" fmla="*/ 733425 h 4429294"/>
              <a:gd name="connsiteX61" fmla="*/ 650069 w 4501379"/>
              <a:gd name="connsiteY61" fmla="*/ 676275 h 4429294"/>
              <a:gd name="connsiteX62" fmla="*/ 678644 w 4501379"/>
              <a:gd name="connsiteY62" fmla="*/ 657225 h 4429294"/>
              <a:gd name="connsiteX63" fmla="*/ 821519 w 4501379"/>
              <a:gd name="connsiteY63" fmla="*/ 533400 h 4429294"/>
              <a:gd name="connsiteX64" fmla="*/ 869144 w 4501379"/>
              <a:gd name="connsiteY64" fmla="*/ 504825 h 4429294"/>
              <a:gd name="connsiteX65" fmla="*/ 1148544 w 4501379"/>
              <a:gd name="connsiteY65" fmla="*/ 311150 h 4429294"/>
              <a:gd name="connsiteX66" fmla="*/ 1250144 w 4501379"/>
              <a:gd name="connsiteY66" fmla="*/ 285750 h 4429294"/>
              <a:gd name="connsiteX67" fmla="*/ 1393019 w 4501379"/>
              <a:gd name="connsiteY67" fmla="*/ 190500 h 4429294"/>
              <a:gd name="connsiteX68" fmla="*/ 1431119 w 4501379"/>
              <a:gd name="connsiteY68" fmla="*/ 161925 h 4429294"/>
              <a:gd name="connsiteX69" fmla="*/ 1507319 w 4501379"/>
              <a:gd name="connsiteY69" fmla="*/ 152400 h 4429294"/>
              <a:gd name="connsiteX70" fmla="*/ 1564469 w 4501379"/>
              <a:gd name="connsiteY70" fmla="*/ 142875 h 4429294"/>
              <a:gd name="connsiteX71" fmla="*/ 1697819 w 4501379"/>
              <a:gd name="connsiteY71" fmla="*/ 123825 h 4429294"/>
              <a:gd name="connsiteX72" fmla="*/ 1793069 w 4501379"/>
              <a:gd name="connsiteY72" fmla="*/ 114300 h 4429294"/>
              <a:gd name="connsiteX73" fmla="*/ 1840694 w 4501379"/>
              <a:gd name="connsiteY73" fmla="*/ 104775 h 4429294"/>
              <a:gd name="connsiteX74" fmla="*/ 1897844 w 4501379"/>
              <a:gd name="connsiteY74" fmla="*/ 95250 h 4429294"/>
              <a:gd name="connsiteX75" fmla="*/ 2012144 w 4501379"/>
              <a:gd name="connsiteY75" fmla="*/ 66675 h 4429294"/>
              <a:gd name="connsiteX76" fmla="*/ 2078819 w 4501379"/>
              <a:gd name="connsiteY76" fmla="*/ 47625 h 4429294"/>
              <a:gd name="connsiteX77" fmla="*/ 2145494 w 4501379"/>
              <a:gd name="connsiteY7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393019 w 4501379"/>
              <a:gd name="connsiteY66" fmla="*/ 190500 h 4429294"/>
              <a:gd name="connsiteX67" fmla="*/ 1431119 w 4501379"/>
              <a:gd name="connsiteY67" fmla="*/ 161925 h 4429294"/>
              <a:gd name="connsiteX68" fmla="*/ 1507319 w 4501379"/>
              <a:gd name="connsiteY68" fmla="*/ 152400 h 4429294"/>
              <a:gd name="connsiteX69" fmla="*/ 1564469 w 4501379"/>
              <a:gd name="connsiteY69" fmla="*/ 142875 h 4429294"/>
              <a:gd name="connsiteX70" fmla="*/ 1697819 w 4501379"/>
              <a:gd name="connsiteY70" fmla="*/ 123825 h 4429294"/>
              <a:gd name="connsiteX71" fmla="*/ 1793069 w 4501379"/>
              <a:gd name="connsiteY71" fmla="*/ 114300 h 4429294"/>
              <a:gd name="connsiteX72" fmla="*/ 1840694 w 4501379"/>
              <a:gd name="connsiteY72" fmla="*/ 104775 h 4429294"/>
              <a:gd name="connsiteX73" fmla="*/ 1897844 w 4501379"/>
              <a:gd name="connsiteY73" fmla="*/ 95250 h 4429294"/>
              <a:gd name="connsiteX74" fmla="*/ 2012144 w 4501379"/>
              <a:gd name="connsiteY74" fmla="*/ 66675 h 4429294"/>
              <a:gd name="connsiteX75" fmla="*/ 2078819 w 4501379"/>
              <a:gd name="connsiteY75" fmla="*/ 47625 h 4429294"/>
              <a:gd name="connsiteX76" fmla="*/ 2145494 w 4501379"/>
              <a:gd name="connsiteY76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431119 w 4501379"/>
              <a:gd name="connsiteY66" fmla="*/ 161925 h 4429294"/>
              <a:gd name="connsiteX67" fmla="*/ 1507319 w 4501379"/>
              <a:gd name="connsiteY67" fmla="*/ 152400 h 4429294"/>
              <a:gd name="connsiteX68" fmla="*/ 1564469 w 4501379"/>
              <a:gd name="connsiteY68" fmla="*/ 142875 h 4429294"/>
              <a:gd name="connsiteX69" fmla="*/ 1697819 w 4501379"/>
              <a:gd name="connsiteY69" fmla="*/ 123825 h 4429294"/>
              <a:gd name="connsiteX70" fmla="*/ 1793069 w 4501379"/>
              <a:gd name="connsiteY70" fmla="*/ 114300 h 4429294"/>
              <a:gd name="connsiteX71" fmla="*/ 1840694 w 4501379"/>
              <a:gd name="connsiteY71" fmla="*/ 104775 h 4429294"/>
              <a:gd name="connsiteX72" fmla="*/ 1897844 w 4501379"/>
              <a:gd name="connsiteY72" fmla="*/ 95250 h 4429294"/>
              <a:gd name="connsiteX73" fmla="*/ 2012144 w 4501379"/>
              <a:gd name="connsiteY73" fmla="*/ 66675 h 4429294"/>
              <a:gd name="connsiteX74" fmla="*/ 2078819 w 4501379"/>
              <a:gd name="connsiteY74" fmla="*/ 47625 h 4429294"/>
              <a:gd name="connsiteX75" fmla="*/ 2145494 w 4501379"/>
              <a:gd name="connsiteY75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507319 w 4501379"/>
              <a:gd name="connsiteY66" fmla="*/ 152400 h 4429294"/>
              <a:gd name="connsiteX67" fmla="*/ 1564469 w 4501379"/>
              <a:gd name="connsiteY67" fmla="*/ 142875 h 4429294"/>
              <a:gd name="connsiteX68" fmla="*/ 1697819 w 4501379"/>
              <a:gd name="connsiteY68" fmla="*/ 123825 h 4429294"/>
              <a:gd name="connsiteX69" fmla="*/ 1793069 w 4501379"/>
              <a:gd name="connsiteY69" fmla="*/ 114300 h 4429294"/>
              <a:gd name="connsiteX70" fmla="*/ 1840694 w 4501379"/>
              <a:gd name="connsiteY70" fmla="*/ 104775 h 4429294"/>
              <a:gd name="connsiteX71" fmla="*/ 1897844 w 4501379"/>
              <a:gd name="connsiteY71" fmla="*/ 95250 h 4429294"/>
              <a:gd name="connsiteX72" fmla="*/ 2012144 w 4501379"/>
              <a:gd name="connsiteY72" fmla="*/ 66675 h 4429294"/>
              <a:gd name="connsiteX73" fmla="*/ 2078819 w 4501379"/>
              <a:gd name="connsiteY73" fmla="*/ 47625 h 4429294"/>
              <a:gd name="connsiteX74" fmla="*/ 2145494 w 4501379"/>
              <a:gd name="connsiteY74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697819 w 4501379"/>
              <a:gd name="connsiteY67" fmla="*/ 123825 h 4429294"/>
              <a:gd name="connsiteX68" fmla="*/ 1793069 w 4501379"/>
              <a:gd name="connsiteY68" fmla="*/ 114300 h 4429294"/>
              <a:gd name="connsiteX69" fmla="*/ 1840694 w 4501379"/>
              <a:gd name="connsiteY69" fmla="*/ 104775 h 4429294"/>
              <a:gd name="connsiteX70" fmla="*/ 1897844 w 4501379"/>
              <a:gd name="connsiteY70" fmla="*/ 95250 h 4429294"/>
              <a:gd name="connsiteX71" fmla="*/ 2012144 w 4501379"/>
              <a:gd name="connsiteY71" fmla="*/ 66675 h 4429294"/>
              <a:gd name="connsiteX72" fmla="*/ 2078819 w 4501379"/>
              <a:gd name="connsiteY72" fmla="*/ 47625 h 4429294"/>
              <a:gd name="connsiteX73" fmla="*/ 2145494 w 4501379"/>
              <a:gd name="connsiteY73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793069 w 4501379"/>
              <a:gd name="connsiteY67" fmla="*/ 114300 h 4429294"/>
              <a:gd name="connsiteX68" fmla="*/ 1840694 w 4501379"/>
              <a:gd name="connsiteY68" fmla="*/ 104775 h 4429294"/>
              <a:gd name="connsiteX69" fmla="*/ 1897844 w 4501379"/>
              <a:gd name="connsiteY69" fmla="*/ 95250 h 4429294"/>
              <a:gd name="connsiteX70" fmla="*/ 2012144 w 4501379"/>
              <a:gd name="connsiteY70" fmla="*/ 66675 h 4429294"/>
              <a:gd name="connsiteX71" fmla="*/ 2078819 w 4501379"/>
              <a:gd name="connsiteY71" fmla="*/ 47625 h 4429294"/>
              <a:gd name="connsiteX72" fmla="*/ 2145494 w 4501379"/>
              <a:gd name="connsiteY72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840694 w 4501379"/>
              <a:gd name="connsiteY67" fmla="*/ 104775 h 4429294"/>
              <a:gd name="connsiteX68" fmla="*/ 1897844 w 4501379"/>
              <a:gd name="connsiteY68" fmla="*/ 95250 h 4429294"/>
              <a:gd name="connsiteX69" fmla="*/ 2012144 w 4501379"/>
              <a:gd name="connsiteY69" fmla="*/ 66675 h 4429294"/>
              <a:gd name="connsiteX70" fmla="*/ 2078819 w 4501379"/>
              <a:gd name="connsiteY70" fmla="*/ 47625 h 4429294"/>
              <a:gd name="connsiteX71" fmla="*/ 2145494 w 4501379"/>
              <a:gd name="connsiteY71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897844 w 4501379"/>
              <a:gd name="connsiteY67" fmla="*/ 95250 h 4429294"/>
              <a:gd name="connsiteX68" fmla="*/ 2012144 w 4501379"/>
              <a:gd name="connsiteY68" fmla="*/ 66675 h 4429294"/>
              <a:gd name="connsiteX69" fmla="*/ 2078819 w 4501379"/>
              <a:gd name="connsiteY69" fmla="*/ 47625 h 4429294"/>
              <a:gd name="connsiteX70" fmla="*/ 2145494 w 4501379"/>
              <a:gd name="connsiteY70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012144 w 4501379"/>
              <a:gd name="connsiteY67" fmla="*/ 66675 h 4429294"/>
              <a:gd name="connsiteX68" fmla="*/ 2078819 w 4501379"/>
              <a:gd name="connsiteY68" fmla="*/ 47625 h 4429294"/>
              <a:gd name="connsiteX69" fmla="*/ 2145494 w 4501379"/>
              <a:gd name="connsiteY69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078819 w 4501379"/>
              <a:gd name="connsiteY67" fmla="*/ 47625 h 4429294"/>
              <a:gd name="connsiteX68" fmla="*/ 2145494 w 4501379"/>
              <a:gd name="connsiteY6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145494 w 4501379"/>
              <a:gd name="connsiteY6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621619 w 4501379"/>
              <a:gd name="connsiteY66" fmla="*/ 11112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678644 w 4501379"/>
              <a:gd name="connsiteY60" fmla="*/ 657225 h 4429294"/>
              <a:gd name="connsiteX61" fmla="*/ 821519 w 4501379"/>
              <a:gd name="connsiteY61" fmla="*/ 533400 h 4429294"/>
              <a:gd name="connsiteX62" fmla="*/ 869144 w 4501379"/>
              <a:gd name="connsiteY62" fmla="*/ 504825 h 4429294"/>
              <a:gd name="connsiteX63" fmla="*/ 1148544 w 4501379"/>
              <a:gd name="connsiteY63" fmla="*/ 311150 h 4429294"/>
              <a:gd name="connsiteX64" fmla="*/ 1507319 w 4501379"/>
              <a:gd name="connsiteY64" fmla="*/ 152400 h 4429294"/>
              <a:gd name="connsiteX65" fmla="*/ 1621619 w 4501379"/>
              <a:gd name="connsiteY65" fmla="*/ 111125 h 4429294"/>
              <a:gd name="connsiteX66" fmla="*/ 2253444 w 4501379"/>
              <a:gd name="connsiteY66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821519 w 4501379"/>
              <a:gd name="connsiteY60" fmla="*/ 533400 h 4429294"/>
              <a:gd name="connsiteX61" fmla="*/ 869144 w 4501379"/>
              <a:gd name="connsiteY61" fmla="*/ 504825 h 4429294"/>
              <a:gd name="connsiteX62" fmla="*/ 1148544 w 4501379"/>
              <a:gd name="connsiteY62" fmla="*/ 311150 h 4429294"/>
              <a:gd name="connsiteX63" fmla="*/ 1507319 w 4501379"/>
              <a:gd name="connsiteY63" fmla="*/ 152400 h 4429294"/>
              <a:gd name="connsiteX64" fmla="*/ 1621619 w 4501379"/>
              <a:gd name="connsiteY64" fmla="*/ 111125 h 4429294"/>
              <a:gd name="connsiteX65" fmla="*/ 2253444 w 4501379"/>
              <a:gd name="connsiteY65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869144 w 4501379"/>
              <a:gd name="connsiteY60" fmla="*/ 504825 h 4429294"/>
              <a:gd name="connsiteX61" fmla="*/ 1148544 w 4501379"/>
              <a:gd name="connsiteY61" fmla="*/ 311150 h 4429294"/>
              <a:gd name="connsiteX62" fmla="*/ 1507319 w 4501379"/>
              <a:gd name="connsiteY62" fmla="*/ 152400 h 4429294"/>
              <a:gd name="connsiteX63" fmla="*/ 1621619 w 4501379"/>
              <a:gd name="connsiteY63" fmla="*/ 111125 h 4429294"/>
              <a:gd name="connsiteX64" fmla="*/ 2253444 w 4501379"/>
              <a:gd name="connsiteY64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64319 w 4501379"/>
              <a:gd name="connsiteY53" fmla="*/ 1009650 h 4429294"/>
              <a:gd name="connsiteX54" fmla="*/ 421469 w 4501379"/>
              <a:gd name="connsiteY54" fmla="*/ 904875 h 4429294"/>
              <a:gd name="connsiteX55" fmla="*/ 459569 w 4501379"/>
              <a:gd name="connsiteY55" fmla="*/ 857250 h 4429294"/>
              <a:gd name="connsiteX56" fmla="*/ 478619 w 4501379"/>
              <a:gd name="connsiteY56" fmla="*/ 828675 h 4429294"/>
              <a:gd name="connsiteX57" fmla="*/ 516719 w 4501379"/>
              <a:gd name="connsiteY57" fmla="*/ 800100 h 4429294"/>
              <a:gd name="connsiteX58" fmla="*/ 650069 w 4501379"/>
              <a:gd name="connsiteY58" fmla="*/ 676275 h 4429294"/>
              <a:gd name="connsiteX59" fmla="*/ 869144 w 4501379"/>
              <a:gd name="connsiteY59" fmla="*/ 504825 h 4429294"/>
              <a:gd name="connsiteX60" fmla="*/ 1148544 w 4501379"/>
              <a:gd name="connsiteY60" fmla="*/ 311150 h 4429294"/>
              <a:gd name="connsiteX61" fmla="*/ 1507319 w 4501379"/>
              <a:gd name="connsiteY61" fmla="*/ 152400 h 4429294"/>
              <a:gd name="connsiteX62" fmla="*/ 1621619 w 4501379"/>
              <a:gd name="connsiteY62" fmla="*/ 111125 h 4429294"/>
              <a:gd name="connsiteX63" fmla="*/ 2253444 w 4501379"/>
              <a:gd name="connsiteY63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21469 w 4501379"/>
              <a:gd name="connsiteY53" fmla="*/ 904875 h 4429294"/>
              <a:gd name="connsiteX54" fmla="*/ 459569 w 4501379"/>
              <a:gd name="connsiteY54" fmla="*/ 857250 h 4429294"/>
              <a:gd name="connsiteX55" fmla="*/ 478619 w 4501379"/>
              <a:gd name="connsiteY55" fmla="*/ 828675 h 4429294"/>
              <a:gd name="connsiteX56" fmla="*/ 516719 w 4501379"/>
              <a:gd name="connsiteY56" fmla="*/ 800100 h 4429294"/>
              <a:gd name="connsiteX57" fmla="*/ 650069 w 4501379"/>
              <a:gd name="connsiteY57" fmla="*/ 676275 h 4429294"/>
              <a:gd name="connsiteX58" fmla="*/ 869144 w 4501379"/>
              <a:gd name="connsiteY58" fmla="*/ 504825 h 4429294"/>
              <a:gd name="connsiteX59" fmla="*/ 1148544 w 4501379"/>
              <a:gd name="connsiteY59" fmla="*/ 311150 h 4429294"/>
              <a:gd name="connsiteX60" fmla="*/ 1507319 w 4501379"/>
              <a:gd name="connsiteY60" fmla="*/ 152400 h 4429294"/>
              <a:gd name="connsiteX61" fmla="*/ 1621619 w 4501379"/>
              <a:gd name="connsiteY61" fmla="*/ 111125 h 4429294"/>
              <a:gd name="connsiteX62" fmla="*/ 2253444 w 4501379"/>
              <a:gd name="connsiteY62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59569 w 4501379"/>
              <a:gd name="connsiteY53" fmla="*/ 857250 h 4429294"/>
              <a:gd name="connsiteX54" fmla="*/ 478619 w 4501379"/>
              <a:gd name="connsiteY54" fmla="*/ 828675 h 4429294"/>
              <a:gd name="connsiteX55" fmla="*/ 516719 w 4501379"/>
              <a:gd name="connsiteY55" fmla="*/ 800100 h 4429294"/>
              <a:gd name="connsiteX56" fmla="*/ 650069 w 4501379"/>
              <a:gd name="connsiteY56" fmla="*/ 676275 h 4429294"/>
              <a:gd name="connsiteX57" fmla="*/ 869144 w 4501379"/>
              <a:gd name="connsiteY57" fmla="*/ 504825 h 4429294"/>
              <a:gd name="connsiteX58" fmla="*/ 1148544 w 4501379"/>
              <a:gd name="connsiteY58" fmla="*/ 311150 h 4429294"/>
              <a:gd name="connsiteX59" fmla="*/ 1507319 w 4501379"/>
              <a:gd name="connsiteY59" fmla="*/ 152400 h 4429294"/>
              <a:gd name="connsiteX60" fmla="*/ 1621619 w 4501379"/>
              <a:gd name="connsiteY60" fmla="*/ 111125 h 4429294"/>
              <a:gd name="connsiteX61" fmla="*/ 2253444 w 4501379"/>
              <a:gd name="connsiteY61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59569 w 4501379"/>
              <a:gd name="connsiteY53" fmla="*/ 857250 h 4429294"/>
              <a:gd name="connsiteX54" fmla="*/ 516719 w 4501379"/>
              <a:gd name="connsiteY54" fmla="*/ 800100 h 4429294"/>
              <a:gd name="connsiteX55" fmla="*/ 650069 w 4501379"/>
              <a:gd name="connsiteY55" fmla="*/ 676275 h 4429294"/>
              <a:gd name="connsiteX56" fmla="*/ 869144 w 4501379"/>
              <a:gd name="connsiteY56" fmla="*/ 504825 h 4429294"/>
              <a:gd name="connsiteX57" fmla="*/ 1148544 w 4501379"/>
              <a:gd name="connsiteY57" fmla="*/ 311150 h 4429294"/>
              <a:gd name="connsiteX58" fmla="*/ 1507319 w 4501379"/>
              <a:gd name="connsiteY58" fmla="*/ 152400 h 4429294"/>
              <a:gd name="connsiteX59" fmla="*/ 1621619 w 4501379"/>
              <a:gd name="connsiteY59" fmla="*/ 111125 h 4429294"/>
              <a:gd name="connsiteX60" fmla="*/ 2253444 w 4501379"/>
              <a:gd name="connsiteY60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69069 w 4501379"/>
              <a:gd name="connsiteY50" fmla="*/ 1152525 h 4429294"/>
              <a:gd name="connsiteX51" fmla="*/ 297644 w 4501379"/>
              <a:gd name="connsiteY51" fmla="*/ 1114425 h 4429294"/>
              <a:gd name="connsiteX52" fmla="*/ 459569 w 4501379"/>
              <a:gd name="connsiteY52" fmla="*/ 857250 h 4429294"/>
              <a:gd name="connsiteX53" fmla="*/ 516719 w 4501379"/>
              <a:gd name="connsiteY53" fmla="*/ 800100 h 4429294"/>
              <a:gd name="connsiteX54" fmla="*/ 650069 w 4501379"/>
              <a:gd name="connsiteY54" fmla="*/ 676275 h 4429294"/>
              <a:gd name="connsiteX55" fmla="*/ 869144 w 4501379"/>
              <a:gd name="connsiteY55" fmla="*/ 504825 h 4429294"/>
              <a:gd name="connsiteX56" fmla="*/ 1148544 w 4501379"/>
              <a:gd name="connsiteY56" fmla="*/ 311150 h 4429294"/>
              <a:gd name="connsiteX57" fmla="*/ 1507319 w 4501379"/>
              <a:gd name="connsiteY57" fmla="*/ 152400 h 4429294"/>
              <a:gd name="connsiteX58" fmla="*/ 1621619 w 4501379"/>
              <a:gd name="connsiteY58" fmla="*/ 111125 h 4429294"/>
              <a:gd name="connsiteX59" fmla="*/ 2253444 w 4501379"/>
              <a:gd name="connsiteY59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97644 w 4501379"/>
              <a:gd name="connsiteY50" fmla="*/ 1114425 h 4429294"/>
              <a:gd name="connsiteX51" fmla="*/ 459569 w 4501379"/>
              <a:gd name="connsiteY51" fmla="*/ 857250 h 4429294"/>
              <a:gd name="connsiteX52" fmla="*/ 516719 w 4501379"/>
              <a:gd name="connsiteY52" fmla="*/ 800100 h 4429294"/>
              <a:gd name="connsiteX53" fmla="*/ 650069 w 4501379"/>
              <a:gd name="connsiteY53" fmla="*/ 676275 h 4429294"/>
              <a:gd name="connsiteX54" fmla="*/ 869144 w 4501379"/>
              <a:gd name="connsiteY54" fmla="*/ 504825 h 4429294"/>
              <a:gd name="connsiteX55" fmla="*/ 1148544 w 4501379"/>
              <a:gd name="connsiteY55" fmla="*/ 311150 h 4429294"/>
              <a:gd name="connsiteX56" fmla="*/ 1507319 w 4501379"/>
              <a:gd name="connsiteY56" fmla="*/ 152400 h 4429294"/>
              <a:gd name="connsiteX57" fmla="*/ 1621619 w 4501379"/>
              <a:gd name="connsiteY57" fmla="*/ 111125 h 4429294"/>
              <a:gd name="connsiteX58" fmla="*/ 2253444 w 4501379"/>
              <a:gd name="connsiteY58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97644 w 4501379"/>
              <a:gd name="connsiteY49" fmla="*/ 1114425 h 4429294"/>
              <a:gd name="connsiteX50" fmla="*/ 459569 w 4501379"/>
              <a:gd name="connsiteY50" fmla="*/ 857250 h 4429294"/>
              <a:gd name="connsiteX51" fmla="*/ 516719 w 4501379"/>
              <a:gd name="connsiteY51" fmla="*/ 800100 h 4429294"/>
              <a:gd name="connsiteX52" fmla="*/ 650069 w 4501379"/>
              <a:gd name="connsiteY52" fmla="*/ 676275 h 4429294"/>
              <a:gd name="connsiteX53" fmla="*/ 869144 w 4501379"/>
              <a:gd name="connsiteY53" fmla="*/ 504825 h 4429294"/>
              <a:gd name="connsiteX54" fmla="*/ 1148544 w 4501379"/>
              <a:gd name="connsiteY54" fmla="*/ 311150 h 4429294"/>
              <a:gd name="connsiteX55" fmla="*/ 1507319 w 4501379"/>
              <a:gd name="connsiteY55" fmla="*/ 152400 h 4429294"/>
              <a:gd name="connsiteX56" fmla="*/ 1621619 w 4501379"/>
              <a:gd name="connsiteY56" fmla="*/ 111125 h 4429294"/>
              <a:gd name="connsiteX57" fmla="*/ 2253444 w 4501379"/>
              <a:gd name="connsiteY5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35719 w 4501379"/>
              <a:gd name="connsiteY46" fmla="*/ 1419225 h 4429294"/>
              <a:gd name="connsiteX47" fmla="*/ 211919 w 4501379"/>
              <a:gd name="connsiteY47" fmla="*/ 1276350 h 4429294"/>
              <a:gd name="connsiteX48" fmla="*/ 297644 w 4501379"/>
              <a:gd name="connsiteY48" fmla="*/ 1114425 h 4429294"/>
              <a:gd name="connsiteX49" fmla="*/ 459569 w 4501379"/>
              <a:gd name="connsiteY49" fmla="*/ 857250 h 4429294"/>
              <a:gd name="connsiteX50" fmla="*/ 516719 w 4501379"/>
              <a:gd name="connsiteY50" fmla="*/ 800100 h 4429294"/>
              <a:gd name="connsiteX51" fmla="*/ 650069 w 4501379"/>
              <a:gd name="connsiteY51" fmla="*/ 676275 h 4429294"/>
              <a:gd name="connsiteX52" fmla="*/ 869144 w 4501379"/>
              <a:gd name="connsiteY52" fmla="*/ 504825 h 4429294"/>
              <a:gd name="connsiteX53" fmla="*/ 1148544 w 4501379"/>
              <a:gd name="connsiteY53" fmla="*/ 311150 h 4429294"/>
              <a:gd name="connsiteX54" fmla="*/ 1507319 w 4501379"/>
              <a:gd name="connsiteY54" fmla="*/ 152400 h 4429294"/>
              <a:gd name="connsiteX55" fmla="*/ 1621619 w 4501379"/>
              <a:gd name="connsiteY55" fmla="*/ 111125 h 4429294"/>
              <a:gd name="connsiteX56" fmla="*/ 2253444 w 4501379"/>
              <a:gd name="connsiteY56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88094 w 4501379"/>
              <a:gd name="connsiteY44" fmla="*/ 1590675 h 4429294"/>
              <a:gd name="connsiteX45" fmla="*/ 135719 w 4501379"/>
              <a:gd name="connsiteY45" fmla="*/ 1419225 h 4429294"/>
              <a:gd name="connsiteX46" fmla="*/ 211919 w 4501379"/>
              <a:gd name="connsiteY46" fmla="*/ 1276350 h 4429294"/>
              <a:gd name="connsiteX47" fmla="*/ 297644 w 4501379"/>
              <a:gd name="connsiteY47" fmla="*/ 1114425 h 4429294"/>
              <a:gd name="connsiteX48" fmla="*/ 459569 w 4501379"/>
              <a:gd name="connsiteY48" fmla="*/ 857250 h 4429294"/>
              <a:gd name="connsiteX49" fmla="*/ 516719 w 4501379"/>
              <a:gd name="connsiteY49" fmla="*/ 800100 h 4429294"/>
              <a:gd name="connsiteX50" fmla="*/ 650069 w 4501379"/>
              <a:gd name="connsiteY50" fmla="*/ 676275 h 4429294"/>
              <a:gd name="connsiteX51" fmla="*/ 869144 w 4501379"/>
              <a:gd name="connsiteY51" fmla="*/ 504825 h 4429294"/>
              <a:gd name="connsiteX52" fmla="*/ 1148544 w 4501379"/>
              <a:gd name="connsiteY52" fmla="*/ 311150 h 4429294"/>
              <a:gd name="connsiteX53" fmla="*/ 1507319 w 4501379"/>
              <a:gd name="connsiteY53" fmla="*/ 152400 h 4429294"/>
              <a:gd name="connsiteX54" fmla="*/ 1621619 w 4501379"/>
              <a:gd name="connsiteY54" fmla="*/ 111125 h 4429294"/>
              <a:gd name="connsiteX55" fmla="*/ 2253444 w 4501379"/>
              <a:gd name="connsiteY55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88094 w 4501379"/>
              <a:gd name="connsiteY43" fmla="*/ 1590675 h 4429294"/>
              <a:gd name="connsiteX44" fmla="*/ 135719 w 4501379"/>
              <a:gd name="connsiteY44" fmla="*/ 1419225 h 4429294"/>
              <a:gd name="connsiteX45" fmla="*/ 211919 w 4501379"/>
              <a:gd name="connsiteY45" fmla="*/ 1276350 h 4429294"/>
              <a:gd name="connsiteX46" fmla="*/ 297644 w 4501379"/>
              <a:gd name="connsiteY46" fmla="*/ 1114425 h 4429294"/>
              <a:gd name="connsiteX47" fmla="*/ 459569 w 4501379"/>
              <a:gd name="connsiteY47" fmla="*/ 857250 h 4429294"/>
              <a:gd name="connsiteX48" fmla="*/ 516719 w 4501379"/>
              <a:gd name="connsiteY48" fmla="*/ 800100 h 4429294"/>
              <a:gd name="connsiteX49" fmla="*/ 650069 w 4501379"/>
              <a:gd name="connsiteY49" fmla="*/ 676275 h 4429294"/>
              <a:gd name="connsiteX50" fmla="*/ 869144 w 4501379"/>
              <a:gd name="connsiteY50" fmla="*/ 504825 h 4429294"/>
              <a:gd name="connsiteX51" fmla="*/ 1148544 w 4501379"/>
              <a:gd name="connsiteY51" fmla="*/ 311150 h 4429294"/>
              <a:gd name="connsiteX52" fmla="*/ 1507319 w 4501379"/>
              <a:gd name="connsiteY52" fmla="*/ 152400 h 4429294"/>
              <a:gd name="connsiteX53" fmla="*/ 1621619 w 4501379"/>
              <a:gd name="connsiteY53" fmla="*/ 111125 h 4429294"/>
              <a:gd name="connsiteX54" fmla="*/ 2253444 w 4501379"/>
              <a:gd name="connsiteY54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88094 w 4501379"/>
              <a:gd name="connsiteY42" fmla="*/ 1590675 h 4429294"/>
              <a:gd name="connsiteX43" fmla="*/ 135719 w 4501379"/>
              <a:gd name="connsiteY43" fmla="*/ 1419225 h 4429294"/>
              <a:gd name="connsiteX44" fmla="*/ 211919 w 4501379"/>
              <a:gd name="connsiteY44" fmla="*/ 1276350 h 4429294"/>
              <a:gd name="connsiteX45" fmla="*/ 297644 w 4501379"/>
              <a:gd name="connsiteY45" fmla="*/ 1114425 h 4429294"/>
              <a:gd name="connsiteX46" fmla="*/ 459569 w 4501379"/>
              <a:gd name="connsiteY46" fmla="*/ 857250 h 4429294"/>
              <a:gd name="connsiteX47" fmla="*/ 516719 w 4501379"/>
              <a:gd name="connsiteY47" fmla="*/ 800100 h 4429294"/>
              <a:gd name="connsiteX48" fmla="*/ 650069 w 4501379"/>
              <a:gd name="connsiteY48" fmla="*/ 676275 h 4429294"/>
              <a:gd name="connsiteX49" fmla="*/ 869144 w 4501379"/>
              <a:gd name="connsiteY49" fmla="*/ 504825 h 4429294"/>
              <a:gd name="connsiteX50" fmla="*/ 1148544 w 4501379"/>
              <a:gd name="connsiteY50" fmla="*/ 311150 h 4429294"/>
              <a:gd name="connsiteX51" fmla="*/ 1507319 w 4501379"/>
              <a:gd name="connsiteY51" fmla="*/ 152400 h 4429294"/>
              <a:gd name="connsiteX52" fmla="*/ 1621619 w 4501379"/>
              <a:gd name="connsiteY52" fmla="*/ 111125 h 4429294"/>
              <a:gd name="connsiteX53" fmla="*/ 2253444 w 4501379"/>
              <a:gd name="connsiteY53" fmla="*/ 12700 h 4429294"/>
              <a:gd name="connsiteX0" fmla="*/ 2277090 w 4499625"/>
              <a:gd name="connsiteY0" fmla="*/ 0 h 4429294"/>
              <a:gd name="connsiteX1" fmla="*/ 2600940 w 4499625"/>
              <a:gd name="connsiteY1" fmla="*/ 15875 h 4429294"/>
              <a:gd name="connsiteX2" fmla="*/ 2896215 w 4499625"/>
              <a:gd name="connsiteY2" fmla="*/ 85725 h 4429294"/>
              <a:gd name="connsiteX3" fmla="*/ 3115290 w 4499625"/>
              <a:gd name="connsiteY3" fmla="*/ 171450 h 4429294"/>
              <a:gd name="connsiteX4" fmla="*/ 3220065 w 4499625"/>
              <a:gd name="connsiteY4" fmla="*/ 228600 h 4429294"/>
              <a:gd name="connsiteX5" fmla="*/ 3401040 w 4499625"/>
              <a:gd name="connsiteY5" fmla="*/ 323850 h 4429294"/>
              <a:gd name="connsiteX6" fmla="*/ 3791565 w 4499625"/>
              <a:gd name="connsiteY6" fmla="*/ 581025 h 4429294"/>
              <a:gd name="connsiteX7" fmla="*/ 4007465 w 4499625"/>
              <a:gd name="connsiteY7" fmla="*/ 819150 h 4429294"/>
              <a:gd name="connsiteX8" fmla="*/ 4143990 w 4499625"/>
              <a:gd name="connsiteY8" fmla="*/ 990600 h 4429294"/>
              <a:gd name="connsiteX9" fmla="*/ 4229715 w 4499625"/>
              <a:gd name="connsiteY9" fmla="*/ 1143000 h 4429294"/>
              <a:gd name="connsiteX10" fmla="*/ 4286865 w 4499625"/>
              <a:gd name="connsiteY10" fmla="*/ 1266825 h 4429294"/>
              <a:gd name="connsiteX11" fmla="*/ 4324965 w 4499625"/>
              <a:gd name="connsiteY11" fmla="*/ 1362075 h 4429294"/>
              <a:gd name="connsiteX12" fmla="*/ 4372590 w 4499625"/>
              <a:gd name="connsiteY12" fmla="*/ 1552575 h 4429294"/>
              <a:gd name="connsiteX13" fmla="*/ 4410690 w 4499625"/>
              <a:gd name="connsiteY13" fmla="*/ 1685925 h 4429294"/>
              <a:gd name="connsiteX14" fmla="*/ 4499590 w 4499625"/>
              <a:gd name="connsiteY14" fmla="*/ 2181225 h 4429294"/>
              <a:gd name="connsiteX15" fmla="*/ 4426565 w 4499625"/>
              <a:gd name="connsiteY15" fmla="*/ 2768600 h 4429294"/>
              <a:gd name="connsiteX16" fmla="*/ 4363065 w 4499625"/>
              <a:gd name="connsiteY16" fmla="*/ 2990850 h 4429294"/>
              <a:gd name="connsiteX17" fmla="*/ 4258290 w 4499625"/>
              <a:gd name="connsiteY17" fmla="*/ 3248025 h 4429294"/>
              <a:gd name="connsiteX18" fmla="*/ 4163040 w 4499625"/>
              <a:gd name="connsiteY18" fmla="*/ 3400425 h 4429294"/>
              <a:gd name="connsiteX19" fmla="*/ 4039215 w 4499625"/>
              <a:gd name="connsiteY19" fmla="*/ 3533775 h 4429294"/>
              <a:gd name="connsiteX20" fmla="*/ 3934440 w 4499625"/>
              <a:gd name="connsiteY20" fmla="*/ 3648075 h 4429294"/>
              <a:gd name="connsiteX21" fmla="*/ 3639165 w 4499625"/>
              <a:gd name="connsiteY21" fmla="*/ 3971925 h 4429294"/>
              <a:gd name="connsiteX22" fmla="*/ 3496290 w 4499625"/>
              <a:gd name="connsiteY22" fmla="*/ 4083050 h 4429294"/>
              <a:gd name="connsiteX23" fmla="*/ 3201015 w 4499625"/>
              <a:gd name="connsiteY23" fmla="*/ 4222750 h 4429294"/>
              <a:gd name="connsiteX24" fmla="*/ 3048615 w 4499625"/>
              <a:gd name="connsiteY24" fmla="*/ 4286250 h 4429294"/>
              <a:gd name="connsiteX25" fmla="*/ 2915265 w 4499625"/>
              <a:gd name="connsiteY25" fmla="*/ 4333875 h 4429294"/>
              <a:gd name="connsiteX26" fmla="*/ 2791440 w 4499625"/>
              <a:gd name="connsiteY26" fmla="*/ 4371975 h 4429294"/>
              <a:gd name="connsiteX27" fmla="*/ 2559665 w 4499625"/>
              <a:gd name="connsiteY27" fmla="*/ 4391025 h 4429294"/>
              <a:gd name="connsiteX28" fmla="*/ 2105640 w 4499625"/>
              <a:gd name="connsiteY28" fmla="*/ 4429125 h 4429294"/>
              <a:gd name="connsiteX29" fmla="*/ 1915140 w 4499625"/>
              <a:gd name="connsiteY29" fmla="*/ 4400550 h 4429294"/>
              <a:gd name="connsiteX30" fmla="*/ 1553190 w 4499625"/>
              <a:gd name="connsiteY30" fmla="*/ 4305300 h 4429294"/>
              <a:gd name="connsiteX31" fmla="*/ 1311890 w 4499625"/>
              <a:gd name="connsiteY31" fmla="*/ 4216400 h 4429294"/>
              <a:gd name="connsiteX32" fmla="*/ 1143615 w 4499625"/>
              <a:gd name="connsiteY32" fmla="*/ 4111625 h 4429294"/>
              <a:gd name="connsiteX33" fmla="*/ 924540 w 4499625"/>
              <a:gd name="connsiteY33" fmla="*/ 3968750 h 4429294"/>
              <a:gd name="connsiteX34" fmla="*/ 591165 w 4499625"/>
              <a:gd name="connsiteY34" fmla="*/ 3657600 h 4429294"/>
              <a:gd name="connsiteX35" fmla="*/ 445115 w 4499625"/>
              <a:gd name="connsiteY35" fmla="*/ 3470275 h 4429294"/>
              <a:gd name="connsiteX36" fmla="*/ 314940 w 4499625"/>
              <a:gd name="connsiteY36" fmla="*/ 3244850 h 4429294"/>
              <a:gd name="connsiteX37" fmla="*/ 162540 w 4499625"/>
              <a:gd name="connsiteY37" fmla="*/ 2892425 h 4429294"/>
              <a:gd name="connsiteX38" fmla="*/ 54590 w 4499625"/>
              <a:gd name="connsiteY38" fmla="*/ 2368550 h 4429294"/>
              <a:gd name="connsiteX39" fmla="*/ 615 w 4499625"/>
              <a:gd name="connsiteY39" fmla="*/ 1905000 h 4429294"/>
              <a:gd name="connsiteX40" fmla="*/ 29190 w 4499625"/>
              <a:gd name="connsiteY40" fmla="*/ 1781175 h 4429294"/>
              <a:gd name="connsiteX41" fmla="*/ 86340 w 4499625"/>
              <a:gd name="connsiteY41" fmla="*/ 1590675 h 4429294"/>
              <a:gd name="connsiteX42" fmla="*/ 133965 w 4499625"/>
              <a:gd name="connsiteY42" fmla="*/ 1419225 h 4429294"/>
              <a:gd name="connsiteX43" fmla="*/ 210165 w 4499625"/>
              <a:gd name="connsiteY43" fmla="*/ 1276350 h 4429294"/>
              <a:gd name="connsiteX44" fmla="*/ 295890 w 4499625"/>
              <a:gd name="connsiteY44" fmla="*/ 1114425 h 4429294"/>
              <a:gd name="connsiteX45" fmla="*/ 457815 w 4499625"/>
              <a:gd name="connsiteY45" fmla="*/ 857250 h 4429294"/>
              <a:gd name="connsiteX46" fmla="*/ 514965 w 4499625"/>
              <a:gd name="connsiteY46" fmla="*/ 800100 h 4429294"/>
              <a:gd name="connsiteX47" fmla="*/ 648315 w 4499625"/>
              <a:gd name="connsiteY47" fmla="*/ 676275 h 4429294"/>
              <a:gd name="connsiteX48" fmla="*/ 867390 w 4499625"/>
              <a:gd name="connsiteY48" fmla="*/ 504825 h 4429294"/>
              <a:gd name="connsiteX49" fmla="*/ 1146790 w 4499625"/>
              <a:gd name="connsiteY49" fmla="*/ 311150 h 4429294"/>
              <a:gd name="connsiteX50" fmla="*/ 1505565 w 4499625"/>
              <a:gd name="connsiteY50" fmla="*/ 152400 h 4429294"/>
              <a:gd name="connsiteX51" fmla="*/ 1619865 w 4499625"/>
              <a:gd name="connsiteY51" fmla="*/ 111125 h 4429294"/>
              <a:gd name="connsiteX52" fmla="*/ 2251690 w 4499625"/>
              <a:gd name="connsiteY52" fmla="*/ 12700 h 4429294"/>
              <a:gd name="connsiteX0" fmla="*/ 2249427 w 4471962"/>
              <a:gd name="connsiteY0" fmla="*/ 0 h 4429294"/>
              <a:gd name="connsiteX1" fmla="*/ 2573277 w 4471962"/>
              <a:gd name="connsiteY1" fmla="*/ 15875 h 4429294"/>
              <a:gd name="connsiteX2" fmla="*/ 2868552 w 4471962"/>
              <a:gd name="connsiteY2" fmla="*/ 85725 h 4429294"/>
              <a:gd name="connsiteX3" fmla="*/ 3087627 w 4471962"/>
              <a:gd name="connsiteY3" fmla="*/ 171450 h 4429294"/>
              <a:gd name="connsiteX4" fmla="*/ 3192402 w 4471962"/>
              <a:gd name="connsiteY4" fmla="*/ 228600 h 4429294"/>
              <a:gd name="connsiteX5" fmla="*/ 3373377 w 4471962"/>
              <a:gd name="connsiteY5" fmla="*/ 323850 h 4429294"/>
              <a:gd name="connsiteX6" fmla="*/ 3763902 w 4471962"/>
              <a:gd name="connsiteY6" fmla="*/ 581025 h 4429294"/>
              <a:gd name="connsiteX7" fmla="*/ 3979802 w 4471962"/>
              <a:gd name="connsiteY7" fmla="*/ 819150 h 4429294"/>
              <a:gd name="connsiteX8" fmla="*/ 4116327 w 4471962"/>
              <a:gd name="connsiteY8" fmla="*/ 990600 h 4429294"/>
              <a:gd name="connsiteX9" fmla="*/ 4202052 w 4471962"/>
              <a:gd name="connsiteY9" fmla="*/ 1143000 h 4429294"/>
              <a:gd name="connsiteX10" fmla="*/ 4259202 w 4471962"/>
              <a:gd name="connsiteY10" fmla="*/ 1266825 h 4429294"/>
              <a:gd name="connsiteX11" fmla="*/ 4297302 w 4471962"/>
              <a:gd name="connsiteY11" fmla="*/ 1362075 h 4429294"/>
              <a:gd name="connsiteX12" fmla="*/ 4344927 w 4471962"/>
              <a:gd name="connsiteY12" fmla="*/ 1552575 h 4429294"/>
              <a:gd name="connsiteX13" fmla="*/ 4383027 w 4471962"/>
              <a:gd name="connsiteY13" fmla="*/ 1685925 h 4429294"/>
              <a:gd name="connsiteX14" fmla="*/ 4471927 w 4471962"/>
              <a:gd name="connsiteY14" fmla="*/ 2181225 h 4429294"/>
              <a:gd name="connsiteX15" fmla="*/ 4398902 w 4471962"/>
              <a:gd name="connsiteY15" fmla="*/ 2768600 h 4429294"/>
              <a:gd name="connsiteX16" fmla="*/ 4335402 w 4471962"/>
              <a:gd name="connsiteY16" fmla="*/ 2990850 h 4429294"/>
              <a:gd name="connsiteX17" fmla="*/ 4230627 w 4471962"/>
              <a:gd name="connsiteY17" fmla="*/ 3248025 h 4429294"/>
              <a:gd name="connsiteX18" fmla="*/ 4135377 w 4471962"/>
              <a:gd name="connsiteY18" fmla="*/ 3400425 h 4429294"/>
              <a:gd name="connsiteX19" fmla="*/ 4011552 w 4471962"/>
              <a:gd name="connsiteY19" fmla="*/ 3533775 h 4429294"/>
              <a:gd name="connsiteX20" fmla="*/ 3906777 w 4471962"/>
              <a:gd name="connsiteY20" fmla="*/ 3648075 h 4429294"/>
              <a:gd name="connsiteX21" fmla="*/ 3611502 w 4471962"/>
              <a:gd name="connsiteY21" fmla="*/ 3971925 h 4429294"/>
              <a:gd name="connsiteX22" fmla="*/ 3468627 w 4471962"/>
              <a:gd name="connsiteY22" fmla="*/ 4083050 h 4429294"/>
              <a:gd name="connsiteX23" fmla="*/ 3173352 w 4471962"/>
              <a:gd name="connsiteY23" fmla="*/ 4222750 h 4429294"/>
              <a:gd name="connsiteX24" fmla="*/ 3020952 w 4471962"/>
              <a:gd name="connsiteY24" fmla="*/ 4286250 h 4429294"/>
              <a:gd name="connsiteX25" fmla="*/ 2887602 w 4471962"/>
              <a:gd name="connsiteY25" fmla="*/ 4333875 h 4429294"/>
              <a:gd name="connsiteX26" fmla="*/ 2763777 w 4471962"/>
              <a:gd name="connsiteY26" fmla="*/ 4371975 h 4429294"/>
              <a:gd name="connsiteX27" fmla="*/ 2532002 w 4471962"/>
              <a:gd name="connsiteY27" fmla="*/ 4391025 h 4429294"/>
              <a:gd name="connsiteX28" fmla="*/ 2077977 w 4471962"/>
              <a:gd name="connsiteY28" fmla="*/ 4429125 h 4429294"/>
              <a:gd name="connsiteX29" fmla="*/ 1887477 w 4471962"/>
              <a:gd name="connsiteY29" fmla="*/ 4400550 h 4429294"/>
              <a:gd name="connsiteX30" fmla="*/ 1525527 w 4471962"/>
              <a:gd name="connsiteY30" fmla="*/ 4305300 h 4429294"/>
              <a:gd name="connsiteX31" fmla="*/ 1284227 w 4471962"/>
              <a:gd name="connsiteY31" fmla="*/ 4216400 h 4429294"/>
              <a:gd name="connsiteX32" fmla="*/ 1115952 w 4471962"/>
              <a:gd name="connsiteY32" fmla="*/ 4111625 h 4429294"/>
              <a:gd name="connsiteX33" fmla="*/ 896877 w 4471962"/>
              <a:gd name="connsiteY33" fmla="*/ 3968750 h 4429294"/>
              <a:gd name="connsiteX34" fmla="*/ 563502 w 4471962"/>
              <a:gd name="connsiteY34" fmla="*/ 3657600 h 4429294"/>
              <a:gd name="connsiteX35" fmla="*/ 417452 w 4471962"/>
              <a:gd name="connsiteY35" fmla="*/ 3470275 h 4429294"/>
              <a:gd name="connsiteX36" fmla="*/ 287277 w 4471962"/>
              <a:gd name="connsiteY36" fmla="*/ 3244850 h 4429294"/>
              <a:gd name="connsiteX37" fmla="*/ 134877 w 4471962"/>
              <a:gd name="connsiteY37" fmla="*/ 2892425 h 4429294"/>
              <a:gd name="connsiteX38" fmla="*/ 26927 w 4471962"/>
              <a:gd name="connsiteY38" fmla="*/ 2368550 h 4429294"/>
              <a:gd name="connsiteX39" fmla="*/ 1527 w 4471962"/>
              <a:gd name="connsiteY39" fmla="*/ 1781175 h 4429294"/>
              <a:gd name="connsiteX40" fmla="*/ 58677 w 4471962"/>
              <a:gd name="connsiteY40" fmla="*/ 1590675 h 4429294"/>
              <a:gd name="connsiteX41" fmla="*/ 106302 w 4471962"/>
              <a:gd name="connsiteY41" fmla="*/ 1419225 h 4429294"/>
              <a:gd name="connsiteX42" fmla="*/ 182502 w 4471962"/>
              <a:gd name="connsiteY42" fmla="*/ 1276350 h 4429294"/>
              <a:gd name="connsiteX43" fmla="*/ 268227 w 4471962"/>
              <a:gd name="connsiteY43" fmla="*/ 1114425 h 4429294"/>
              <a:gd name="connsiteX44" fmla="*/ 430152 w 4471962"/>
              <a:gd name="connsiteY44" fmla="*/ 857250 h 4429294"/>
              <a:gd name="connsiteX45" fmla="*/ 487302 w 4471962"/>
              <a:gd name="connsiteY45" fmla="*/ 800100 h 4429294"/>
              <a:gd name="connsiteX46" fmla="*/ 620652 w 4471962"/>
              <a:gd name="connsiteY46" fmla="*/ 676275 h 4429294"/>
              <a:gd name="connsiteX47" fmla="*/ 839727 w 4471962"/>
              <a:gd name="connsiteY47" fmla="*/ 504825 h 4429294"/>
              <a:gd name="connsiteX48" fmla="*/ 1119127 w 4471962"/>
              <a:gd name="connsiteY48" fmla="*/ 311150 h 4429294"/>
              <a:gd name="connsiteX49" fmla="*/ 1477902 w 4471962"/>
              <a:gd name="connsiteY49" fmla="*/ 152400 h 4429294"/>
              <a:gd name="connsiteX50" fmla="*/ 1592202 w 4471962"/>
              <a:gd name="connsiteY50" fmla="*/ 111125 h 4429294"/>
              <a:gd name="connsiteX51" fmla="*/ 2224027 w 4471962"/>
              <a:gd name="connsiteY51" fmla="*/ 12700 h 4429294"/>
              <a:gd name="connsiteX0" fmla="*/ 2231942 w 4454477"/>
              <a:gd name="connsiteY0" fmla="*/ 0 h 4429294"/>
              <a:gd name="connsiteX1" fmla="*/ 2555792 w 4454477"/>
              <a:gd name="connsiteY1" fmla="*/ 15875 h 4429294"/>
              <a:gd name="connsiteX2" fmla="*/ 2851067 w 4454477"/>
              <a:gd name="connsiteY2" fmla="*/ 85725 h 4429294"/>
              <a:gd name="connsiteX3" fmla="*/ 3070142 w 4454477"/>
              <a:gd name="connsiteY3" fmla="*/ 171450 h 4429294"/>
              <a:gd name="connsiteX4" fmla="*/ 3174917 w 4454477"/>
              <a:gd name="connsiteY4" fmla="*/ 228600 h 4429294"/>
              <a:gd name="connsiteX5" fmla="*/ 3355892 w 4454477"/>
              <a:gd name="connsiteY5" fmla="*/ 323850 h 4429294"/>
              <a:gd name="connsiteX6" fmla="*/ 3746417 w 4454477"/>
              <a:gd name="connsiteY6" fmla="*/ 581025 h 4429294"/>
              <a:gd name="connsiteX7" fmla="*/ 3962317 w 4454477"/>
              <a:gd name="connsiteY7" fmla="*/ 819150 h 4429294"/>
              <a:gd name="connsiteX8" fmla="*/ 4098842 w 4454477"/>
              <a:gd name="connsiteY8" fmla="*/ 990600 h 4429294"/>
              <a:gd name="connsiteX9" fmla="*/ 4184567 w 4454477"/>
              <a:gd name="connsiteY9" fmla="*/ 1143000 h 4429294"/>
              <a:gd name="connsiteX10" fmla="*/ 4241717 w 4454477"/>
              <a:gd name="connsiteY10" fmla="*/ 1266825 h 4429294"/>
              <a:gd name="connsiteX11" fmla="*/ 4279817 w 4454477"/>
              <a:gd name="connsiteY11" fmla="*/ 1362075 h 4429294"/>
              <a:gd name="connsiteX12" fmla="*/ 4327442 w 4454477"/>
              <a:gd name="connsiteY12" fmla="*/ 1552575 h 4429294"/>
              <a:gd name="connsiteX13" fmla="*/ 4365542 w 4454477"/>
              <a:gd name="connsiteY13" fmla="*/ 1685925 h 4429294"/>
              <a:gd name="connsiteX14" fmla="*/ 4454442 w 4454477"/>
              <a:gd name="connsiteY14" fmla="*/ 2181225 h 4429294"/>
              <a:gd name="connsiteX15" fmla="*/ 4381417 w 4454477"/>
              <a:gd name="connsiteY15" fmla="*/ 2768600 h 4429294"/>
              <a:gd name="connsiteX16" fmla="*/ 4317917 w 4454477"/>
              <a:gd name="connsiteY16" fmla="*/ 2990850 h 4429294"/>
              <a:gd name="connsiteX17" fmla="*/ 4213142 w 4454477"/>
              <a:gd name="connsiteY17" fmla="*/ 3248025 h 4429294"/>
              <a:gd name="connsiteX18" fmla="*/ 4117892 w 4454477"/>
              <a:gd name="connsiteY18" fmla="*/ 3400425 h 4429294"/>
              <a:gd name="connsiteX19" fmla="*/ 3994067 w 4454477"/>
              <a:gd name="connsiteY19" fmla="*/ 3533775 h 4429294"/>
              <a:gd name="connsiteX20" fmla="*/ 3889292 w 4454477"/>
              <a:gd name="connsiteY20" fmla="*/ 3648075 h 4429294"/>
              <a:gd name="connsiteX21" fmla="*/ 3594017 w 4454477"/>
              <a:gd name="connsiteY21" fmla="*/ 3971925 h 4429294"/>
              <a:gd name="connsiteX22" fmla="*/ 3451142 w 4454477"/>
              <a:gd name="connsiteY22" fmla="*/ 4083050 h 4429294"/>
              <a:gd name="connsiteX23" fmla="*/ 3155867 w 4454477"/>
              <a:gd name="connsiteY23" fmla="*/ 4222750 h 4429294"/>
              <a:gd name="connsiteX24" fmla="*/ 3003467 w 4454477"/>
              <a:gd name="connsiteY24" fmla="*/ 4286250 h 4429294"/>
              <a:gd name="connsiteX25" fmla="*/ 2870117 w 4454477"/>
              <a:gd name="connsiteY25" fmla="*/ 4333875 h 4429294"/>
              <a:gd name="connsiteX26" fmla="*/ 2746292 w 4454477"/>
              <a:gd name="connsiteY26" fmla="*/ 4371975 h 4429294"/>
              <a:gd name="connsiteX27" fmla="*/ 2514517 w 4454477"/>
              <a:gd name="connsiteY27" fmla="*/ 4391025 h 4429294"/>
              <a:gd name="connsiteX28" fmla="*/ 2060492 w 4454477"/>
              <a:gd name="connsiteY28" fmla="*/ 4429125 h 4429294"/>
              <a:gd name="connsiteX29" fmla="*/ 1869992 w 4454477"/>
              <a:gd name="connsiteY29" fmla="*/ 4400550 h 4429294"/>
              <a:gd name="connsiteX30" fmla="*/ 1508042 w 4454477"/>
              <a:gd name="connsiteY30" fmla="*/ 4305300 h 4429294"/>
              <a:gd name="connsiteX31" fmla="*/ 1266742 w 4454477"/>
              <a:gd name="connsiteY31" fmla="*/ 4216400 h 4429294"/>
              <a:gd name="connsiteX32" fmla="*/ 1098467 w 4454477"/>
              <a:gd name="connsiteY32" fmla="*/ 4111625 h 4429294"/>
              <a:gd name="connsiteX33" fmla="*/ 879392 w 4454477"/>
              <a:gd name="connsiteY33" fmla="*/ 3968750 h 4429294"/>
              <a:gd name="connsiteX34" fmla="*/ 546017 w 4454477"/>
              <a:gd name="connsiteY34" fmla="*/ 3657600 h 4429294"/>
              <a:gd name="connsiteX35" fmla="*/ 399967 w 4454477"/>
              <a:gd name="connsiteY35" fmla="*/ 3470275 h 4429294"/>
              <a:gd name="connsiteX36" fmla="*/ 269792 w 4454477"/>
              <a:gd name="connsiteY36" fmla="*/ 3244850 h 4429294"/>
              <a:gd name="connsiteX37" fmla="*/ 117392 w 4454477"/>
              <a:gd name="connsiteY37" fmla="*/ 2892425 h 4429294"/>
              <a:gd name="connsiteX38" fmla="*/ 9442 w 4454477"/>
              <a:gd name="connsiteY38" fmla="*/ 2368550 h 4429294"/>
              <a:gd name="connsiteX39" fmla="*/ 15792 w 4454477"/>
              <a:gd name="connsiteY39" fmla="*/ 1870075 h 4429294"/>
              <a:gd name="connsiteX40" fmla="*/ 41192 w 4454477"/>
              <a:gd name="connsiteY40" fmla="*/ 1590675 h 4429294"/>
              <a:gd name="connsiteX41" fmla="*/ 88817 w 4454477"/>
              <a:gd name="connsiteY41" fmla="*/ 1419225 h 4429294"/>
              <a:gd name="connsiteX42" fmla="*/ 165017 w 4454477"/>
              <a:gd name="connsiteY42" fmla="*/ 1276350 h 4429294"/>
              <a:gd name="connsiteX43" fmla="*/ 250742 w 4454477"/>
              <a:gd name="connsiteY43" fmla="*/ 1114425 h 4429294"/>
              <a:gd name="connsiteX44" fmla="*/ 412667 w 4454477"/>
              <a:gd name="connsiteY44" fmla="*/ 857250 h 4429294"/>
              <a:gd name="connsiteX45" fmla="*/ 469817 w 4454477"/>
              <a:gd name="connsiteY45" fmla="*/ 800100 h 4429294"/>
              <a:gd name="connsiteX46" fmla="*/ 603167 w 4454477"/>
              <a:gd name="connsiteY46" fmla="*/ 676275 h 4429294"/>
              <a:gd name="connsiteX47" fmla="*/ 822242 w 4454477"/>
              <a:gd name="connsiteY47" fmla="*/ 504825 h 4429294"/>
              <a:gd name="connsiteX48" fmla="*/ 1101642 w 4454477"/>
              <a:gd name="connsiteY48" fmla="*/ 311150 h 4429294"/>
              <a:gd name="connsiteX49" fmla="*/ 1460417 w 4454477"/>
              <a:gd name="connsiteY49" fmla="*/ 152400 h 4429294"/>
              <a:gd name="connsiteX50" fmla="*/ 1574717 w 4454477"/>
              <a:gd name="connsiteY50" fmla="*/ 111125 h 4429294"/>
              <a:gd name="connsiteX51" fmla="*/ 2206542 w 4454477"/>
              <a:gd name="connsiteY51" fmla="*/ 12700 h 4429294"/>
              <a:gd name="connsiteX0" fmla="*/ 2233750 w 4456285"/>
              <a:gd name="connsiteY0" fmla="*/ 0 h 4429294"/>
              <a:gd name="connsiteX1" fmla="*/ 2557600 w 4456285"/>
              <a:gd name="connsiteY1" fmla="*/ 15875 h 4429294"/>
              <a:gd name="connsiteX2" fmla="*/ 2852875 w 4456285"/>
              <a:gd name="connsiteY2" fmla="*/ 85725 h 4429294"/>
              <a:gd name="connsiteX3" fmla="*/ 3071950 w 4456285"/>
              <a:gd name="connsiteY3" fmla="*/ 171450 h 4429294"/>
              <a:gd name="connsiteX4" fmla="*/ 3176725 w 4456285"/>
              <a:gd name="connsiteY4" fmla="*/ 228600 h 4429294"/>
              <a:gd name="connsiteX5" fmla="*/ 3357700 w 4456285"/>
              <a:gd name="connsiteY5" fmla="*/ 323850 h 4429294"/>
              <a:gd name="connsiteX6" fmla="*/ 3748225 w 4456285"/>
              <a:gd name="connsiteY6" fmla="*/ 581025 h 4429294"/>
              <a:gd name="connsiteX7" fmla="*/ 3964125 w 4456285"/>
              <a:gd name="connsiteY7" fmla="*/ 819150 h 4429294"/>
              <a:gd name="connsiteX8" fmla="*/ 4100650 w 4456285"/>
              <a:gd name="connsiteY8" fmla="*/ 990600 h 4429294"/>
              <a:gd name="connsiteX9" fmla="*/ 4186375 w 4456285"/>
              <a:gd name="connsiteY9" fmla="*/ 1143000 h 4429294"/>
              <a:gd name="connsiteX10" fmla="*/ 4243525 w 4456285"/>
              <a:gd name="connsiteY10" fmla="*/ 1266825 h 4429294"/>
              <a:gd name="connsiteX11" fmla="*/ 4281625 w 4456285"/>
              <a:gd name="connsiteY11" fmla="*/ 1362075 h 4429294"/>
              <a:gd name="connsiteX12" fmla="*/ 4329250 w 4456285"/>
              <a:gd name="connsiteY12" fmla="*/ 1552575 h 4429294"/>
              <a:gd name="connsiteX13" fmla="*/ 4367350 w 4456285"/>
              <a:gd name="connsiteY13" fmla="*/ 1685925 h 4429294"/>
              <a:gd name="connsiteX14" fmla="*/ 4456250 w 4456285"/>
              <a:gd name="connsiteY14" fmla="*/ 2181225 h 4429294"/>
              <a:gd name="connsiteX15" fmla="*/ 4383225 w 4456285"/>
              <a:gd name="connsiteY15" fmla="*/ 2768600 h 4429294"/>
              <a:gd name="connsiteX16" fmla="*/ 4319725 w 4456285"/>
              <a:gd name="connsiteY16" fmla="*/ 2990850 h 4429294"/>
              <a:gd name="connsiteX17" fmla="*/ 4214950 w 4456285"/>
              <a:gd name="connsiteY17" fmla="*/ 3248025 h 4429294"/>
              <a:gd name="connsiteX18" fmla="*/ 4119700 w 4456285"/>
              <a:gd name="connsiteY18" fmla="*/ 3400425 h 4429294"/>
              <a:gd name="connsiteX19" fmla="*/ 3995875 w 4456285"/>
              <a:gd name="connsiteY19" fmla="*/ 3533775 h 4429294"/>
              <a:gd name="connsiteX20" fmla="*/ 3891100 w 4456285"/>
              <a:gd name="connsiteY20" fmla="*/ 3648075 h 4429294"/>
              <a:gd name="connsiteX21" fmla="*/ 3595825 w 4456285"/>
              <a:gd name="connsiteY21" fmla="*/ 3971925 h 4429294"/>
              <a:gd name="connsiteX22" fmla="*/ 3452950 w 4456285"/>
              <a:gd name="connsiteY22" fmla="*/ 4083050 h 4429294"/>
              <a:gd name="connsiteX23" fmla="*/ 3157675 w 4456285"/>
              <a:gd name="connsiteY23" fmla="*/ 4222750 h 4429294"/>
              <a:gd name="connsiteX24" fmla="*/ 3005275 w 4456285"/>
              <a:gd name="connsiteY24" fmla="*/ 4286250 h 4429294"/>
              <a:gd name="connsiteX25" fmla="*/ 2871925 w 4456285"/>
              <a:gd name="connsiteY25" fmla="*/ 4333875 h 4429294"/>
              <a:gd name="connsiteX26" fmla="*/ 2748100 w 4456285"/>
              <a:gd name="connsiteY26" fmla="*/ 4371975 h 4429294"/>
              <a:gd name="connsiteX27" fmla="*/ 2516325 w 4456285"/>
              <a:gd name="connsiteY27" fmla="*/ 4391025 h 4429294"/>
              <a:gd name="connsiteX28" fmla="*/ 2062300 w 4456285"/>
              <a:gd name="connsiteY28" fmla="*/ 4429125 h 4429294"/>
              <a:gd name="connsiteX29" fmla="*/ 1871800 w 4456285"/>
              <a:gd name="connsiteY29" fmla="*/ 4400550 h 4429294"/>
              <a:gd name="connsiteX30" fmla="*/ 1509850 w 4456285"/>
              <a:gd name="connsiteY30" fmla="*/ 4305300 h 4429294"/>
              <a:gd name="connsiteX31" fmla="*/ 1268550 w 4456285"/>
              <a:gd name="connsiteY31" fmla="*/ 4216400 h 4429294"/>
              <a:gd name="connsiteX32" fmla="*/ 1100275 w 4456285"/>
              <a:gd name="connsiteY32" fmla="*/ 4111625 h 4429294"/>
              <a:gd name="connsiteX33" fmla="*/ 881200 w 4456285"/>
              <a:gd name="connsiteY33" fmla="*/ 3968750 h 4429294"/>
              <a:gd name="connsiteX34" fmla="*/ 547825 w 4456285"/>
              <a:gd name="connsiteY34" fmla="*/ 3657600 h 4429294"/>
              <a:gd name="connsiteX35" fmla="*/ 401775 w 4456285"/>
              <a:gd name="connsiteY35" fmla="*/ 3470275 h 4429294"/>
              <a:gd name="connsiteX36" fmla="*/ 271600 w 4456285"/>
              <a:gd name="connsiteY36" fmla="*/ 3244850 h 4429294"/>
              <a:gd name="connsiteX37" fmla="*/ 119200 w 4456285"/>
              <a:gd name="connsiteY37" fmla="*/ 2892425 h 4429294"/>
              <a:gd name="connsiteX38" fmla="*/ 11250 w 4456285"/>
              <a:gd name="connsiteY38" fmla="*/ 2368550 h 4429294"/>
              <a:gd name="connsiteX39" fmla="*/ 17600 w 4456285"/>
              <a:gd name="connsiteY39" fmla="*/ 1870075 h 4429294"/>
              <a:gd name="connsiteX40" fmla="*/ 90625 w 4456285"/>
              <a:gd name="connsiteY40" fmla="*/ 1419225 h 4429294"/>
              <a:gd name="connsiteX41" fmla="*/ 166825 w 4456285"/>
              <a:gd name="connsiteY41" fmla="*/ 1276350 h 4429294"/>
              <a:gd name="connsiteX42" fmla="*/ 252550 w 4456285"/>
              <a:gd name="connsiteY42" fmla="*/ 1114425 h 4429294"/>
              <a:gd name="connsiteX43" fmla="*/ 414475 w 4456285"/>
              <a:gd name="connsiteY43" fmla="*/ 857250 h 4429294"/>
              <a:gd name="connsiteX44" fmla="*/ 471625 w 4456285"/>
              <a:gd name="connsiteY44" fmla="*/ 800100 h 4429294"/>
              <a:gd name="connsiteX45" fmla="*/ 604975 w 4456285"/>
              <a:gd name="connsiteY45" fmla="*/ 676275 h 4429294"/>
              <a:gd name="connsiteX46" fmla="*/ 824050 w 4456285"/>
              <a:gd name="connsiteY46" fmla="*/ 504825 h 4429294"/>
              <a:gd name="connsiteX47" fmla="*/ 1103450 w 4456285"/>
              <a:gd name="connsiteY47" fmla="*/ 311150 h 4429294"/>
              <a:gd name="connsiteX48" fmla="*/ 1462225 w 4456285"/>
              <a:gd name="connsiteY48" fmla="*/ 152400 h 4429294"/>
              <a:gd name="connsiteX49" fmla="*/ 1576525 w 4456285"/>
              <a:gd name="connsiteY49" fmla="*/ 111125 h 4429294"/>
              <a:gd name="connsiteX50" fmla="*/ 2208350 w 4456285"/>
              <a:gd name="connsiteY50" fmla="*/ 12700 h 4429294"/>
              <a:gd name="connsiteX0" fmla="*/ 2237540 w 4460075"/>
              <a:gd name="connsiteY0" fmla="*/ 0 h 4429294"/>
              <a:gd name="connsiteX1" fmla="*/ 2561390 w 4460075"/>
              <a:gd name="connsiteY1" fmla="*/ 15875 h 4429294"/>
              <a:gd name="connsiteX2" fmla="*/ 2856665 w 4460075"/>
              <a:gd name="connsiteY2" fmla="*/ 85725 h 4429294"/>
              <a:gd name="connsiteX3" fmla="*/ 3075740 w 4460075"/>
              <a:gd name="connsiteY3" fmla="*/ 171450 h 4429294"/>
              <a:gd name="connsiteX4" fmla="*/ 3180515 w 4460075"/>
              <a:gd name="connsiteY4" fmla="*/ 228600 h 4429294"/>
              <a:gd name="connsiteX5" fmla="*/ 3361490 w 4460075"/>
              <a:gd name="connsiteY5" fmla="*/ 323850 h 4429294"/>
              <a:gd name="connsiteX6" fmla="*/ 3752015 w 4460075"/>
              <a:gd name="connsiteY6" fmla="*/ 581025 h 4429294"/>
              <a:gd name="connsiteX7" fmla="*/ 3967915 w 4460075"/>
              <a:gd name="connsiteY7" fmla="*/ 819150 h 4429294"/>
              <a:gd name="connsiteX8" fmla="*/ 4104440 w 4460075"/>
              <a:gd name="connsiteY8" fmla="*/ 990600 h 4429294"/>
              <a:gd name="connsiteX9" fmla="*/ 4190165 w 4460075"/>
              <a:gd name="connsiteY9" fmla="*/ 1143000 h 4429294"/>
              <a:gd name="connsiteX10" fmla="*/ 4247315 w 4460075"/>
              <a:gd name="connsiteY10" fmla="*/ 1266825 h 4429294"/>
              <a:gd name="connsiteX11" fmla="*/ 4285415 w 4460075"/>
              <a:gd name="connsiteY11" fmla="*/ 1362075 h 4429294"/>
              <a:gd name="connsiteX12" fmla="*/ 4333040 w 4460075"/>
              <a:gd name="connsiteY12" fmla="*/ 1552575 h 4429294"/>
              <a:gd name="connsiteX13" fmla="*/ 4371140 w 4460075"/>
              <a:gd name="connsiteY13" fmla="*/ 1685925 h 4429294"/>
              <a:gd name="connsiteX14" fmla="*/ 4460040 w 4460075"/>
              <a:gd name="connsiteY14" fmla="*/ 2181225 h 4429294"/>
              <a:gd name="connsiteX15" fmla="*/ 4387015 w 4460075"/>
              <a:gd name="connsiteY15" fmla="*/ 2768600 h 4429294"/>
              <a:gd name="connsiteX16" fmla="*/ 4323515 w 4460075"/>
              <a:gd name="connsiteY16" fmla="*/ 2990850 h 4429294"/>
              <a:gd name="connsiteX17" fmla="*/ 4218740 w 4460075"/>
              <a:gd name="connsiteY17" fmla="*/ 3248025 h 4429294"/>
              <a:gd name="connsiteX18" fmla="*/ 4123490 w 4460075"/>
              <a:gd name="connsiteY18" fmla="*/ 3400425 h 4429294"/>
              <a:gd name="connsiteX19" fmla="*/ 3999665 w 4460075"/>
              <a:gd name="connsiteY19" fmla="*/ 3533775 h 4429294"/>
              <a:gd name="connsiteX20" fmla="*/ 3894890 w 4460075"/>
              <a:gd name="connsiteY20" fmla="*/ 3648075 h 4429294"/>
              <a:gd name="connsiteX21" fmla="*/ 3599615 w 4460075"/>
              <a:gd name="connsiteY21" fmla="*/ 3971925 h 4429294"/>
              <a:gd name="connsiteX22" fmla="*/ 3456740 w 4460075"/>
              <a:gd name="connsiteY22" fmla="*/ 4083050 h 4429294"/>
              <a:gd name="connsiteX23" fmla="*/ 3161465 w 4460075"/>
              <a:gd name="connsiteY23" fmla="*/ 4222750 h 4429294"/>
              <a:gd name="connsiteX24" fmla="*/ 3009065 w 4460075"/>
              <a:gd name="connsiteY24" fmla="*/ 4286250 h 4429294"/>
              <a:gd name="connsiteX25" fmla="*/ 2875715 w 4460075"/>
              <a:gd name="connsiteY25" fmla="*/ 4333875 h 4429294"/>
              <a:gd name="connsiteX26" fmla="*/ 2751890 w 4460075"/>
              <a:gd name="connsiteY26" fmla="*/ 4371975 h 4429294"/>
              <a:gd name="connsiteX27" fmla="*/ 2520115 w 4460075"/>
              <a:gd name="connsiteY27" fmla="*/ 4391025 h 4429294"/>
              <a:gd name="connsiteX28" fmla="*/ 2066090 w 4460075"/>
              <a:gd name="connsiteY28" fmla="*/ 4429125 h 4429294"/>
              <a:gd name="connsiteX29" fmla="*/ 1875590 w 4460075"/>
              <a:gd name="connsiteY29" fmla="*/ 4400550 h 4429294"/>
              <a:gd name="connsiteX30" fmla="*/ 1513640 w 4460075"/>
              <a:gd name="connsiteY30" fmla="*/ 4305300 h 4429294"/>
              <a:gd name="connsiteX31" fmla="*/ 1272340 w 4460075"/>
              <a:gd name="connsiteY31" fmla="*/ 4216400 h 4429294"/>
              <a:gd name="connsiteX32" fmla="*/ 1104065 w 4460075"/>
              <a:gd name="connsiteY32" fmla="*/ 4111625 h 4429294"/>
              <a:gd name="connsiteX33" fmla="*/ 884990 w 4460075"/>
              <a:gd name="connsiteY33" fmla="*/ 3968750 h 4429294"/>
              <a:gd name="connsiteX34" fmla="*/ 551615 w 4460075"/>
              <a:gd name="connsiteY34" fmla="*/ 3657600 h 4429294"/>
              <a:gd name="connsiteX35" fmla="*/ 405565 w 4460075"/>
              <a:gd name="connsiteY35" fmla="*/ 3470275 h 4429294"/>
              <a:gd name="connsiteX36" fmla="*/ 275390 w 4460075"/>
              <a:gd name="connsiteY36" fmla="*/ 3244850 h 4429294"/>
              <a:gd name="connsiteX37" fmla="*/ 122990 w 4460075"/>
              <a:gd name="connsiteY37" fmla="*/ 2892425 h 4429294"/>
              <a:gd name="connsiteX38" fmla="*/ 15040 w 4460075"/>
              <a:gd name="connsiteY38" fmla="*/ 2368550 h 4429294"/>
              <a:gd name="connsiteX39" fmla="*/ 21390 w 4460075"/>
              <a:gd name="connsiteY39" fmla="*/ 1870075 h 4429294"/>
              <a:gd name="connsiteX40" fmla="*/ 170615 w 4460075"/>
              <a:gd name="connsiteY40" fmla="*/ 1276350 h 4429294"/>
              <a:gd name="connsiteX41" fmla="*/ 256340 w 4460075"/>
              <a:gd name="connsiteY41" fmla="*/ 1114425 h 4429294"/>
              <a:gd name="connsiteX42" fmla="*/ 418265 w 4460075"/>
              <a:gd name="connsiteY42" fmla="*/ 857250 h 4429294"/>
              <a:gd name="connsiteX43" fmla="*/ 475415 w 4460075"/>
              <a:gd name="connsiteY43" fmla="*/ 800100 h 4429294"/>
              <a:gd name="connsiteX44" fmla="*/ 608765 w 4460075"/>
              <a:gd name="connsiteY44" fmla="*/ 676275 h 4429294"/>
              <a:gd name="connsiteX45" fmla="*/ 827840 w 4460075"/>
              <a:gd name="connsiteY45" fmla="*/ 504825 h 4429294"/>
              <a:gd name="connsiteX46" fmla="*/ 1107240 w 4460075"/>
              <a:gd name="connsiteY46" fmla="*/ 311150 h 4429294"/>
              <a:gd name="connsiteX47" fmla="*/ 1466015 w 4460075"/>
              <a:gd name="connsiteY47" fmla="*/ 152400 h 4429294"/>
              <a:gd name="connsiteX48" fmla="*/ 1580315 w 4460075"/>
              <a:gd name="connsiteY48" fmla="*/ 111125 h 4429294"/>
              <a:gd name="connsiteX49" fmla="*/ 2212140 w 4460075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57065 w 4460800"/>
              <a:gd name="connsiteY41" fmla="*/ 1114425 h 4429294"/>
              <a:gd name="connsiteX42" fmla="*/ 418990 w 4460800"/>
              <a:gd name="connsiteY42" fmla="*/ 857250 h 4429294"/>
              <a:gd name="connsiteX43" fmla="*/ 476140 w 4460800"/>
              <a:gd name="connsiteY43" fmla="*/ 800100 h 4429294"/>
              <a:gd name="connsiteX44" fmla="*/ 609490 w 4460800"/>
              <a:gd name="connsiteY44" fmla="*/ 676275 h 4429294"/>
              <a:gd name="connsiteX45" fmla="*/ 828565 w 4460800"/>
              <a:gd name="connsiteY45" fmla="*/ 504825 h 4429294"/>
              <a:gd name="connsiteX46" fmla="*/ 1107965 w 4460800"/>
              <a:gd name="connsiteY46" fmla="*/ 311150 h 4429294"/>
              <a:gd name="connsiteX47" fmla="*/ 1466740 w 4460800"/>
              <a:gd name="connsiteY47" fmla="*/ 152400 h 4429294"/>
              <a:gd name="connsiteX48" fmla="*/ 1581040 w 4460800"/>
              <a:gd name="connsiteY48" fmla="*/ 111125 h 4429294"/>
              <a:gd name="connsiteX49" fmla="*/ 2212865 w 4460800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418990 w 4460800"/>
              <a:gd name="connsiteY42" fmla="*/ 857250 h 4429294"/>
              <a:gd name="connsiteX43" fmla="*/ 476140 w 4460800"/>
              <a:gd name="connsiteY43" fmla="*/ 800100 h 4429294"/>
              <a:gd name="connsiteX44" fmla="*/ 609490 w 4460800"/>
              <a:gd name="connsiteY44" fmla="*/ 676275 h 4429294"/>
              <a:gd name="connsiteX45" fmla="*/ 828565 w 4460800"/>
              <a:gd name="connsiteY45" fmla="*/ 504825 h 4429294"/>
              <a:gd name="connsiteX46" fmla="*/ 1107965 w 4460800"/>
              <a:gd name="connsiteY46" fmla="*/ 311150 h 4429294"/>
              <a:gd name="connsiteX47" fmla="*/ 1466740 w 4460800"/>
              <a:gd name="connsiteY47" fmla="*/ 152400 h 4429294"/>
              <a:gd name="connsiteX48" fmla="*/ 1581040 w 4460800"/>
              <a:gd name="connsiteY48" fmla="*/ 111125 h 4429294"/>
              <a:gd name="connsiteX49" fmla="*/ 2212865 w 4460800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476140 w 4460800"/>
              <a:gd name="connsiteY42" fmla="*/ 800100 h 4429294"/>
              <a:gd name="connsiteX43" fmla="*/ 609490 w 4460800"/>
              <a:gd name="connsiteY43" fmla="*/ 676275 h 4429294"/>
              <a:gd name="connsiteX44" fmla="*/ 828565 w 4460800"/>
              <a:gd name="connsiteY44" fmla="*/ 504825 h 4429294"/>
              <a:gd name="connsiteX45" fmla="*/ 1107965 w 4460800"/>
              <a:gd name="connsiteY45" fmla="*/ 311150 h 4429294"/>
              <a:gd name="connsiteX46" fmla="*/ 1466740 w 4460800"/>
              <a:gd name="connsiteY46" fmla="*/ 152400 h 4429294"/>
              <a:gd name="connsiteX47" fmla="*/ 1581040 w 4460800"/>
              <a:gd name="connsiteY47" fmla="*/ 111125 h 4429294"/>
              <a:gd name="connsiteX48" fmla="*/ 2212865 w 4460800"/>
              <a:gd name="connsiteY48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609490 w 4460800"/>
              <a:gd name="connsiteY42" fmla="*/ 676275 h 4429294"/>
              <a:gd name="connsiteX43" fmla="*/ 828565 w 4460800"/>
              <a:gd name="connsiteY43" fmla="*/ 504825 h 4429294"/>
              <a:gd name="connsiteX44" fmla="*/ 1107965 w 4460800"/>
              <a:gd name="connsiteY44" fmla="*/ 311150 h 4429294"/>
              <a:gd name="connsiteX45" fmla="*/ 1466740 w 4460800"/>
              <a:gd name="connsiteY45" fmla="*/ 152400 h 4429294"/>
              <a:gd name="connsiteX46" fmla="*/ 1581040 w 4460800"/>
              <a:gd name="connsiteY46" fmla="*/ 111125 h 4429294"/>
              <a:gd name="connsiteX47" fmla="*/ 2212865 w 4460800"/>
              <a:gd name="connsiteY47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609490 w 4460800"/>
              <a:gd name="connsiteY42" fmla="*/ 676275 h 4429294"/>
              <a:gd name="connsiteX43" fmla="*/ 828565 w 4460800"/>
              <a:gd name="connsiteY43" fmla="*/ 504825 h 4429294"/>
              <a:gd name="connsiteX44" fmla="*/ 1107965 w 4460800"/>
              <a:gd name="connsiteY44" fmla="*/ 311150 h 4429294"/>
              <a:gd name="connsiteX45" fmla="*/ 1466740 w 4460800"/>
              <a:gd name="connsiteY45" fmla="*/ 152400 h 4429294"/>
              <a:gd name="connsiteX46" fmla="*/ 1581040 w 4460800"/>
              <a:gd name="connsiteY46" fmla="*/ 111125 h 4429294"/>
              <a:gd name="connsiteX47" fmla="*/ 2212865 w 4460800"/>
              <a:gd name="connsiteY47" fmla="*/ 12700 h 4429294"/>
              <a:gd name="connsiteX48" fmla="*/ 2238265 w 4460800"/>
              <a:gd name="connsiteY48" fmla="*/ 0 h 4429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460800" h="4429294">
                <a:moveTo>
                  <a:pt x="2238265" y="0"/>
                </a:moveTo>
                <a:cubicBezTo>
                  <a:pt x="2346215" y="5292"/>
                  <a:pt x="2458928" y="1588"/>
                  <a:pt x="2562115" y="15875"/>
                </a:cubicBezTo>
                <a:cubicBezTo>
                  <a:pt x="2665302" y="30162"/>
                  <a:pt x="2798653" y="69321"/>
                  <a:pt x="2857390" y="85725"/>
                </a:cubicBezTo>
                <a:cubicBezTo>
                  <a:pt x="2943115" y="111654"/>
                  <a:pt x="3033603" y="153988"/>
                  <a:pt x="3076465" y="171450"/>
                </a:cubicBezTo>
                <a:cubicBezTo>
                  <a:pt x="3130440" y="195262"/>
                  <a:pt x="3133615" y="203200"/>
                  <a:pt x="3181240" y="228600"/>
                </a:cubicBezTo>
                <a:cubicBezTo>
                  <a:pt x="3228865" y="254000"/>
                  <a:pt x="3266965" y="265113"/>
                  <a:pt x="3362215" y="323850"/>
                </a:cubicBezTo>
                <a:cubicBezTo>
                  <a:pt x="3457465" y="382588"/>
                  <a:pt x="3651669" y="498475"/>
                  <a:pt x="3752740" y="581025"/>
                </a:cubicBezTo>
                <a:cubicBezTo>
                  <a:pt x="3853811" y="663575"/>
                  <a:pt x="3909903" y="750888"/>
                  <a:pt x="3968640" y="819150"/>
                </a:cubicBezTo>
                <a:cubicBezTo>
                  <a:pt x="4027378" y="887413"/>
                  <a:pt x="4068123" y="936625"/>
                  <a:pt x="4105165" y="990600"/>
                </a:cubicBezTo>
                <a:cubicBezTo>
                  <a:pt x="4142207" y="1044575"/>
                  <a:pt x="4175015" y="1109663"/>
                  <a:pt x="4190890" y="1143000"/>
                </a:cubicBezTo>
                <a:cubicBezTo>
                  <a:pt x="4214703" y="1189038"/>
                  <a:pt x="4232165" y="1230313"/>
                  <a:pt x="4248040" y="1266825"/>
                </a:cubicBezTo>
                <a:cubicBezTo>
                  <a:pt x="4263915" y="1303338"/>
                  <a:pt x="4271853" y="1314450"/>
                  <a:pt x="4286140" y="1362075"/>
                </a:cubicBezTo>
                <a:cubicBezTo>
                  <a:pt x="4300427" y="1409700"/>
                  <a:pt x="4319478" y="1498600"/>
                  <a:pt x="4333765" y="1552575"/>
                </a:cubicBezTo>
                <a:cubicBezTo>
                  <a:pt x="4348053" y="1606550"/>
                  <a:pt x="4350698" y="1581150"/>
                  <a:pt x="4371865" y="1685925"/>
                </a:cubicBezTo>
                <a:cubicBezTo>
                  <a:pt x="4393032" y="1790700"/>
                  <a:pt x="4459178" y="1982788"/>
                  <a:pt x="4460765" y="2181225"/>
                </a:cubicBezTo>
                <a:cubicBezTo>
                  <a:pt x="4462352" y="2379662"/>
                  <a:pt x="4410494" y="2633663"/>
                  <a:pt x="4387740" y="2768600"/>
                </a:cubicBezTo>
                <a:cubicBezTo>
                  <a:pt x="4364986" y="2903537"/>
                  <a:pt x="4352286" y="2910946"/>
                  <a:pt x="4324240" y="2990850"/>
                </a:cubicBezTo>
                <a:cubicBezTo>
                  <a:pt x="4296194" y="3070754"/>
                  <a:pt x="4252802" y="3179763"/>
                  <a:pt x="4219465" y="3248025"/>
                </a:cubicBezTo>
                <a:cubicBezTo>
                  <a:pt x="4186128" y="3316287"/>
                  <a:pt x="4160728" y="3352800"/>
                  <a:pt x="4124215" y="3400425"/>
                </a:cubicBezTo>
                <a:cubicBezTo>
                  <a:pt x="4087703" y="3448050"/>
                  <a:pt x="4038490" y="3492500"/>
                  <a:pt x="4000390" y="3533775"/>
                </a:cubicBezTo>
                <a:lnTo>
                  <a:pt x="3895615" y="3648075"/>
                </a:lnTo>
                <a:cubicBezTo>
                  <a:pt x="3797190" y="3756025"/>
                  <a:pt x="3673365" y="3899429"/>
                  <a:pt x="3600340" y="3971925"/>
                </a:cubicBezTo>
                <a:cubicBezTo>
                  <a:pt x="3527315" y="4044421"/>
                  <a:pt x="3530490" y="4041246"/>
                  <a:pt x="3457465" y="4083050"/>
                </a:cubicBezTo>
                <a:cubicBezTo>
                  <a:pt x="3384440" y="4124854"/>
                  <a:pt x="3236802" y="4188883"/>
                  <a:pt x="3162190" y="4222750"/>
                </a:cubicBezTo>
                <a:cubicBezTo>
                  <a:pt x="3087578" y="4256617"/>
                  <a:pt x="3038173" y="4283885"/>
                  <a:pt x="3009790" y="4286250"/>
                </a:cubicBezTo>
                <a:cubicBezTo>
                  <a:pt x="2947977" y="4310975"/>
                  <a:pt x="2954113" y="4309602"/>
                  <a:pt x="2876440" y="4333875"/>
                </a:cubicBezTo>
                <a:cubicBezTo>
                  <a:pt x="2853306" y="4341104"/>
                  <a:pt x="2811882" y="4362450"/>
                  <a:pt x="2752615" y="4371975"/>
                </a:cubicBezTo>
                <a:cubicBezTo>
                  <a:pt x="2693348" y="4381500"/>
                  <a:pt x="2635140" y="4381500"/>
                  <a:pt x="2520840" y="4391025"/>
                </a:cubicBezTo>
                <a:cubicBezTo>
                  <a:pt x="2406540" y="4400550"/>
                  <a:pt x="2174236" y="4427538"/>
                  <a:pt x="2066815" y="4429125"/>
                </a:cubicBezTo>
                <a:cubicBezTo>
                  <a:pt x="1959394" y="4430712"/>
                  <a:pt x="1968390" y="4421187"/>
                  <a:pt x="1876315" y="4400550"/>
                </a:cubicBezTo>
                <a:cubicBezTo>
                  <a:pt x="1784240" y="4379913"/>
                  <a:pt x="1614907" y="4335992"/>
                  <a:pt x="1514365" y="4305300"/>
                </a:cubicBezTo>
                <a:cubicBezTo>
                  <a:pt x="1413823" y="4274608"/>
                  <a:pt x="1353498" y="4246033"/>
                  <a:pt x="1273065" y="4216400"/>
                </a:cubicBezTo>
                <a:cubicBezTo>
                  <a:pt x="1206390" y="4187825"/>
                  <a:pt x="1169348" y="4152900"/>
                  <a:pt x="1104790" y="4111625"/>
                </a:cubicBezTo>
                <a:cubicBezTo>
                  <a:pt x="1040232" y="4070350"/>
                  <a:pt x="977790" y="4044421"/>
                  <a:pt x="885715" y="3968750"/>
                </a:cubicBezTo>
                <a:cubicBezTo>
                  <a:pt x="793640" y="3893079"/>
                  <a:pt x="632244" y="3740679"/>
                  <a:pt x="552340" y="3657600"/>
                </a:cubicBezTo>
                <a:cubicBezTo>
                  <a:pt x="472436" y="3574521"/>
                  <a:pt x="452327" y="3539067"/>
                  <a:pt x="406290" y="3470275"/>
                </a:cubicBezTo>
                <a:cubicBezTo>
                  <a:pt x="360253" y="3401483"/>
                  <a:pt x="323211" y="3341158"/>
                  <a:pt x="276115" y="3244850"/>
                </a:cubicBezTo>
                <a:cubicBezTo>
                  <a:pt x="229019" y="3148542"/>
                  <a:pt x="167107" y="3038475"/>
                  <a:pt x="123715" y="2892425"/>
                </a:cubicBezTo>
                <a:cubicBezTo>
                  <a:pt x="80323" y="2746375"/>
                  <a:pt x="37990" y="2553758"/>
                  <a:pt x="15765" y="2368550"/>
                </a:cubicBezTo>
                <a:cubicBezTo>
                  <a:pt x="-6460" y="2183342"/>
                  <a:pt x="-5931" y="2044700"/>
                  <a:pt x="22115" y="1870075"/>
                </a:cubicBezTo>
                <a:cubicBezTo>
                  <a:pt x="50161" y="1695450"/>
                  <a:pt x="139590" y="1446742"/>
                  <a:pt x="184040" y="1320800"/>
                </a:cubicBezTo>
                <a:cubicBezTo>
                  <a:pt x="228490" y="1194858"/>
                  <a:pt x="217907" y="1221846"/>
                  <a:pt x="288815" y="1114425"/>
                </a:cubicBezTo>
                <a:cubicBezTo>
                  <a:pt x="359723" y="1007004"/>
                  <a:pt x="519532" y="777875"/>
                  <a:pt x="609490" y="676275"/>
                </a:cubicBezTo>
                <a:cubicBezTo>
                  <a:pt x="699448" y="574675"/>
                  <a:pt x="745486" y="565679"/>
                  <a:pt x="828565" y="504825"/>
                </a:cubicBezTo>
                <a:cubicBezTo>
                  <a:pt x="911644" y="443971"/>
                  <a:pt x="997898" y="379942"/>
                  <a:pt x="1107965" y="311150"/>
                </a:cubicBezTo>
                <a:cubicBezTo>
                  <a:pt x="1214328" y="252413"/>
                  <a:pt x="1387894" y="185737"/>
                  <a:pt x="1466740" y="152400"/>
                </a:cubicBezTo>
                <a:cubicBezTo>
                  <a:pt x="1545586" y="119063"/>
                  <a:pt x="1456686" y="134408"/>
                  <a:pt x="1581040" y="111125"/>
                </a:cubicBezTo>
                <a:cubicBezTo>
                  <a:pt x="1810698" y="67733"/>
                  <a:pt x="1945107" y="-7408"/>
                  <a:pt x="2212865" y="12700"/>
                </a:cubicBezTo>
                <a:lnTo>
                  <a:pt x="2238265" y="0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40" tIns="45720" rIns="91440" bIns="45720" rtlCol="0" anchor="ctr"/>
          <a:lstStyle/>
          <a:p>
            <a:pPr algn="ctr" fontAlgn="t"/>
            <a:endParaRPr lang="da-DK" sz="1200" b="1">
              <a:solidFill>
                <a:srgbClr val="004C45"/>
              </a:solidFill>
            </a:endParaRPr>
          </a:p>
        </p:txBody>
      </p:sp>
      <p:grpSp>
        <p:nvGrpSpPr>
          <p:cNvPr id="65" name="Group 64">
            <a:extLst>
              <a:ext uri="{FF2B5EF4-FFF2-40B4-BE49-F238E27FC236}">
                <a16:creationId xmlns:a16="http://schemas.microsoft.com/office/drawing/2014/main" id="{64EB4BC7-F830-4589-B406-A8EBE20099C5}"/>
              </a:ext>
            </a:extLst>
          </p:cNvPr>
          <p:cNvGrpSpPr/>
          <p:nvPr/>
        </p:nvGrpSpPr>
        <p:grpSpPr>
          <a:xfrm>
            <a:off x="2905803" y="4639003"/>
            <a:ext cx="498628" cy="498626"/>
            <a:chOff x="-1159155" y="1739431"/>
            <a:chExt cx="563866" cy="563864"/>
          </a:xfrm>
        </p:grpSpPr>
        <p:sp>
          <p:nvSpPr>
            <p:cNvPr id="66" name="Oval 587">
              <a:extLst>
                <a:ext uri="{FF2B5EF4-FFF2-40B4-BE49-F238E27FC236}">
                  <a16:creationId xmlns:a16="http://schemas.microsoft.com/office/drawing/2014/main" id="{BA62939F-7E48-48C5-8B3A-7880A8C55CFC}"/>
                </a:ext>
              </a:extLst>
            </p:cNvPr>
            <p:cNvSpPr/>
            <p:nvPr/>
          </p:nvSpPr>
          <p:spPr>
            <a:xfrm>
              <a:off x="-1159155" y="1739431"/>
              <a:ext cx="563866" cy="563864"/>
            </a:xfrm>
            <a:prstGeom prst="ellipse">
              <a:avLst/>
            </a:pr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67" name="Freeform: Shape 591">
              <a:extLst>
                <a:ext uri="{FF2B5EF4-FFF2-40B4-BE49-F238E27FC236}">
                  <a16:creationId xmlns:a16="http://schemas.microsoft.com/office/drawing/2014/main" id="{0635DF87-D295-4FDB-B78E-69D1C3BC8799}"/>
                </a:ext>
              </a:extLst>
            </p:cNvPr>
            <p:cNvSpPr/>
            <p:nvPr/>
          </p:nvSpPr>
          <p:spPr>
            <a:xfrm>
              <a:off x="-1023531" y="1910589"/>
              <a:ext cx="292618" cy="221550"/>
            </a:xfrm>
            <a:custGeom>
              <a:avLst/>
              <a:gdLst/>
              <a:ahLst/>
              <a:cxnLst/>
              <a:rect l="l" t="t" r="r" b="b"/>
              <a:pathLst>
                <a:path w="75629" h="57261">
                  <a:moveTo>
                    <a:pt x="70210" y="0"/>
                  </a:moveTo>
                  <a:cubicBezTo>
                    <a:pt x="71401" y="0"/>
                    <a:pt x="72405" y="55"/>
                    <a:pt x="73224" y="167"/>
                  </a:cubicBezTo>
                  <a:cubicBezTo>
                    <a:pt x="74042" y="279"/>
                    <a:pt x="74638" y="465"/>
                    <a:pt x="75010" y="725"/>
                  </a:cubicBezTo>
                  <a:cubicBezTo>
                    <a:pt x="75382" y="985"/>
                    <a:pt x="75587" y="1339"/>
                    <a:pt x="75624" y="1785"/>
                  </a:cubicBezTo>
                  <a:cubicBezTo>
                    <a:pt x="75661" y="2232"/>
                    <a:pt x="75494" y="2753"/>
                    <a:pt x="75121" y="3348"/>
                  </a:cubicBezTo>
                  <a:lnTo>
                    <a:pt x="60499" y="34044"/>
                  </a:lnTo>
                  <a:lnTo>
                    <a:pt x="60499" y="48108"/>
                  </a:lnTo>
                  <a:cubicBezTo>
                    <a:pt x="60499" y="50043"/>
                    <a:pt x="60294" y="51606"/>
                    <a:pt x="59885" y="52796"/>
                  </a:cubicBezTo>
                  <a:cubicBezTo>
                    <a:pt x="59476" y="53987"/>
                    <a:pt x="58843" y="54917"/>
                    <a:pt x="57988" y="55587"/>
                  </a:cubicBezTo>
                  <a:cubicBezTo>
                    <a:pt x="57132" y="56257"/>
                    <a:pt x="56053" y="56703"/>
                    <a:pt x="54751" y="56926"/>
                  </a:cubicBezTo>
                  <a:cubicBezTo>
                    <a:pt x="53448" y="57150"/>
                    <a:pt x="51904" y="57261"/>
                    <a:pt x="50118" y="57261"/>
                  </a:cubicBezTo>
                  <a:cubicBezTo>
                    <a:pt x="48332" y="57261"/>
                    <a:pt x="46807" y="57150"/>
                    <a:pt x="45542" y="56926"/>
                  </a:cubicBezTo>
                  <a:cubicBezTo>
                    <a:pt x="44277" y="56703"/>
                    <a:pt x="43235" y="56257"/>
                    <a:pt x="42416" y="55587"/>
                  </a:cubicBezTo>
                  <a:cubicBezTo>
                    <a:pt x="41598" y="54917"/>
                    <a:pt x="40984" y="53987"/>
                    <a:pt x="40575" y="52796"/>
                  </a:cubicBezTo>
                  <a:cubicBezTo>
                    <a:pt x="40165" y="51606"/>
                    <a:pt x="39961" y="50043"/>
                    <a:pt x="39961" y="48108"/>
                  </a:cubicBezTo>
                  <a:cubicBezTo>
                    <a:pt x="39961" y="45876"/>
                    <a:pt x="40072" y="43811"/>
                    <a:pt x="40296" y="41913"/>
                  </a:cubicBezTo>
                  <a:cubicBezTo>
                    <a:pt x="40519" y="40016"/>
                    <a:pt x="40872" y="38211"/>
                    <a:pt x="41356" y="36500"/>
                  </a:cubicBezTo>
                  <a:cubicBezTo>
                    <a:pt x="41840" y="34788"/>
                    <a:pt x="42509" y="33095"/>
                    <a:pt x="43365" y="31421"/>
                  </a:cubicBezTo>
                  <a:cubicBezTo>
                    <a:pt x="44221" y="29747"/>
                    <a:pt x="45244" y="27979"/>
                    <a:pt x="46435" y="26119"/>
                  </a:cubicBezTo>
                  <a:lnTo>
                    <a:pt x="61504" y="3237"/>
                  </a:lnTo>
                  <a:cubicBezTo>
                    <a:pt x="61876" y="2641"/>
                    <a:pt x="62285" y="2158"/>
                    <a:pt x="62732" y="1785"/>
                  </a:cubicBezTo>
                  <a:cubicBezTo>
                    <a:pt x="63178" y="1413"/>
                    <a:pt x="63736" y="1097"/>
                    <a:pt x="64406" y="837"/>
                  </a:cubicBezTo>
                  <a:cubicBezTo>
                    <a:pt x="65076" y="576"/>
                    <a:pt x="65876" y="372"/>
                    <a:pt x="66806" y="223"/>
                  </a:cubicBezTo>
                  <a:cubicBezTo>
                    <a:pt x="67736" y="74"/>
                    <a:pt x="68871" y="0"/>
                    <a:pt x="70210" y="0"/>
                  </a:cubicBezTo>
                  <a:close/>
                  <a:moveTo>
                    <a:pt x="30250" y="0"/>
                  </a:moveTo>
                  <a:cubicBezTo>
                    <a:pt x="31440" y="0"/>
                    <a:pt x="32426" y="55"/>
                    <a:pt x="33208" y="167"/>
                  </a:cubicBezTo>
                  <a:cubicBezTo>
                    <a:pt x="33989" y="279"/>
                    <a:pt x="34584" y="465"/>
                    <a:pt x="34994" y="725"/>
                  </a:cubicBezTo>
                  <a:cubicBezTo>
                    <a:pt x="35403" y="985"/>
                    <a:pt x="35608" y="1339"/>
                    <a:pt x="35608" y="1785"/>
                  </a:cubicBezTo>
                  <a:cubicBezTo>
                    <a:pt x="35608" y="2232"/>
                    <a:pt x="35459" y="2753"/>
                    <a:pt x="35161" y="3348"/>
                  </a:cubicBezTo>
                  <a:lnTo>
                    <a:pt x="20539" y="34044"/>
                  </a:lnTo>
                  <a:lnTo>
                    <a:pt x="20539" y="48108"/>
                  </a:lnTo>
                  <a:cubicBezTo>
                    <a:pt x="20539" y="50043"/>
                    <a:pt x="20334" y="51606"/>
                    <a:pt x="19925" y="52796"/>
                  </a:cubicBezTo>
                  <a:cubicBezTo>
                    <a:pt x="19516" y="53987"/>
                    <a:pt x="18883" y="54917"/>
                    <a:pt x="18027" y="55587"/>
                  </a:cubicBezTo>
                  <a:cubicBezTo>
                    <a:pt x="17172" y="56257"/>
                    <a:pt x="16093" y="56703"/>
                    <a:pt x="14790" y="56926"/>
                  </a:cubicBezTo>
                  <a:cubicBezTo>
                    <a:pt x="13488" y="57150"/>
                    <a:pt x="11944" y="57261"/>
                    <a:pt x="10158" y="57261"/>
                  </a:cubicBezTo>
                  <a:cubicBezTo>
                    <a:pt x="8372" y="57261"/>
                    <a:pt x="6847" y="57150"/>
                    <a:pt x="5582" y="56926"/>
                  </a:cubicBezTo>
                  <a:cubicBezTo>
                    <a:pt x="4316" y="56703"/>
                    <a:pt x="3275" y="56257"/>
                    <a:pt x="2456" y="55587"/>
                  </a:cubicBezTo>
                  <a:cubicBezTo>
                    <a:pt x="1638" y="54917"/>
                    <a:pt x="1024" y="53987"/>
                    <a:pt x="614" y="52796"/>
                  </a:cubicBezTo>
                  <a:cubicBezTo>
                    <a:pt x="205" y="51606"/>
                    <a:pt x="0" y="50043"/>
                    <a:pt x="0" y="48108"/>
                  </a:cubicBezTo>
                  <a:cubicBezTo>
                    <a:pt x="0" y="45876"/>
                    <a:pt x="112" y="43811"/>
                    <a:pt x="335" y="41913"/>
                  </a:cubicBezTo>
                  <a:cubicBezTo>
                    <a:pt x="559" y="40016"/>
                    <a:pt x="912" y="38211"/>
                    <a:pt x="1396" y="36500"/>
                  </a:cubicBezTo>
                  <a:cubicBezTo>
                    <a:pt x="1879" y="34788"/>
                    <a:pt x="2549" y="33095"/>
                    <a:pt x="3405" y="31421"/>
                  </a:cubicBezTo>
                  <a:cubicBezTo>
                    <a:pt x="4261" y="29747"/>
                    <a:pt x="5284" y="27979"/>
                    <a:pt x="6474" y="26119"/>
                  </a:cubicBezTo>
                  <a:lnTo>
                    <a:pt x="21543" y="3237"/>
                  </a:lnTo>
                  <a:cubicBezTo>
                    <a:pt x="21915" y="2641"/>
                    <a:pt x="22325" y="2158"/>
                    <a:pt x="22771" y="1785"/>
                  </a:cubicBezTo>
                  <a:cubicBezTo>
                    <a:pt x="23218" y="1413"/>
                    <a:pt x="23776" y="1097"/>
                    <a:pt x="24445" y="837"/>
                  </a:cubicBezTo>
                  <a:cubicBezTo>
                    <a:pt x="25115" y="576"/>
                    <a:pt x="25915" y="372"/>
                    <a:pt x="26845" y="223"/>
                  </a:cubicBezTo>
                  <a:cubicBezTo>
                    <a:pt x="27776" y="74"/>
                    <a:pt x="28910" y="0"/>
                    <a:pt x="30250" y="0"/>
                  </a:cubicBezTo>
                  <a:close/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a-DK" sz="1400"/>
            </a:p>
          </p:txBody>
        </p:sp>
      </p:grpSp>
      <p:sp>
        <p:nvSpPr>
          <p:cNvPr id="69" name="Freeform: Shape 4">
            <a:extLst>
              <a:ext uri="{FF2B5EF4-FFF2-40B4-BE49-F238E27FC236}">
                <a16:creationId xmlns:a16="http://schemas.microsoft.com/office/drawing/2014/main" id="{7C42FA7A-D234-40E1-9D95-72CC977A83BA}"/>
              </a:ext>
            </a:extLst>
          </p:cNvPr>
          <p:cNvSpPr/>
          <p:nvPr/>
        </p:nvSpPr>
        <p:spPr>
          <a:xfrm>
            <a:off x="2850241" y="5552413"/>
            <a:ext cx="609752" cy="580470"/>
          </a:xfrm>
          <a:custGeom>
            <a:avLst/>
            <a:gdLst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944902 w 4469152"/>
              <a:gd name="connsiteY150" fmla="*/ 476250 h 4496940"/>
              <a:gd name="connsiteX151" fmla="*/ 1087777 w 4469152"/>
              <a:gd name="connsiteY151" fmla="*/ 409575 h 4496940"/>
              <a:gd name="connsiteX152" fmla="*/ 1202077 w 4469152"/>
              <a:gd name="connsiteY152" fmla="*/ 314325 h 4496940"/>
              <a:gd name="connsiteX153" fmla="*/ 1268752 w 4469152"/>
              <a:gd name="connsiteY153" fmla="*/ 285750 h 4496940"/>
              <a:gd name="connsiteX154" fmla="*/ 1411627 w 4469152"/>
              <a:gd name="connsiteY154" fmla="*/ 190500 h 4496940"/>
              <a:gd name="connsiteX155" fmla="*/ 1449727 w 4469152"/>
              <a:gd name="connsiteY155" fmla="*/ 161925 h 4496940"/>
              <a:gd name="connsiteX156" fmla="*/ 1525927 w 4469152"/>
              <a:gd name="connsiteY156" fmla="*/ 152400 h 4496940"/>
              <a:gd name="connsiteX157" fmla="*/ 1583077 w 4469152"/>
              <a:gd name="connsiteY157" fmla="*/ 142875 h 4496940"/>
              <a:gd name="connsiteX158" fmla="*/ 1716427 w 4469152"/>
              <a:gd name="connsiteY158" fmla="*/ 123825 h 4496940"/>
              <a:gd name="connsiteX159" fmla="*/ 1811677 w 4469152"/>
              <a:gd name="connsiteY159" fmla="*/ 114300 h 4496940"/>
              <a:gd name="connsiteX160" fmla="*/ 1859302 w 4469152"/>
              <a:gd name="connsiteY160" fmla="*/ 104775 h 4496940"/>
              <a:gd name="connsiteX161" fmla="*/ 1916452 w 4469152"/>
              <a:gd name="connsiteY161" fmla="*/ 95250 h 4496940"/>
              <a:gd name="connsiteX162" fmla="*/ 2030752 w 4469152"/>
              <a:gd name="connsiteY162" fmla="*/ 66675 h 4496940"/>
              <a:gd name="connsiteX163" fmla="*/ 2097427 w 4469152"/>
              <a:gd name="connsiteY163" fmla="*/ 47625 h 4496940"/>
              <a:gd name="connsiteX164" fmla="*/ 2164102 w 4469152"/>
              <a:gd name="connsiteY164" fmla="*/ 38100 h 4496940"/>
              <a:gd name="connsiteX165" fmla="*/ 2392702 w 4469152"/>
              <a:gd name="connsiteY165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087777 w 4469152"/>
              <a:gd name="connsiteY150" fmla="*/ 409575 h 4496940"/>
              <a:gd name="connsiteX151" fmla="*/ 1202077 w 4469152"/>
              <a:gd name="connsiteY151" fmla="*/ 314325 h 4496940"/>
              <a:gd name="connsiteX152" fmla="*/ 1268752 w 4469152"/>
              <a:gd name="connsiteY152" fmla="*/ 285750 h 4496940"/>
              <a:gd name="connsiteX153" fmla="*/ 1411627 w 4469152"/>
              <a:gd name="connsiteY153" fmla="*/ 190500 h 4496940"/>
              <a:gd name="connsiteX154" fmla="*/ 1449727 w 4469152"/>
              <a:gd name="connsiteY154" fmla="*/ 161925 h 4496940"/>
              <a:gd name="connsiteX155" fmla="*/ 1525927 w 4469152"/>
              <a:gd name="connsiteY155" fmla="*/ 152400 h 4496940"/>
              <a:gd name="connsiteX156" fmla="*/ 1583077 w 4469152"/>
              <a:gd name="connsiteY156" fmla="*/ 142875 h 4496940"/>
              <a:gd name="connsiteX157" fmla="*/ 1716427 w 4469152"/>
              <a:gd name="connsiteY157" fmla="*/ 123825 h 4496940"/>
              <a:gd name="connsiteX158" fmla="*/ 1811677 w 4469152"/>
              <a:gd name="connsiteY158" fmla="*/ 114300 h 4496940"/>
              <a:gd name="connsiteX159" fmla="*/ 1859302 w 4469152"/>
              <a:gd name="connsiteY159" fmla="*/ 104775 h 4496940"/>
              <a:gd name="connsiteX160" fmla="*/ 1916452 w 4469152"/>
              <a:gd name="connsiteY160" fmla="*/ 95250 h 4496940"/>
              <a:gd name="connsiteX161" fmla="*/ 2030752 w 4469152"/>
              <a:gd name="connsiteY161" fmla="*/ 66675 h 4496940"/>
              <a:gd name="connsiteX162" fmla="*/ 2097427 w 4469152"/>
              <a:gd name="connsiteY162" fmla="*/ 47625 h 4496940"/>
              <a:gd name="connsiteX163" fmla="*/ 2164102 w 4469152"/>
              <a:gd name="connsiteY163" fmla="*/ 38100 h 4496940"/>
              <a:gd name="connsiteX164" fmla="*/ 2392702 w 4469152"/>
              <a:gd name="connsiteY164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202077 w 4469152"/>
              <a:gd name="connsiteY150" fmla="*/ 314325 h 4496940"/>
              <a:gd name="connsiteX151" fmla="*/ 1268752 w 4469152"/>
              <a:gd name="connsiteY151" fmla="*/ 285750 h 4496940"/>
              <a:gd name="connsiteX152" fmla="*/ 1411627 w 4469152"/>
              <a:gd name="connsiteY152" fmla="*/ 190500 h 4496940"/>
              <a:gd name="connsiteX153" fmla="*/ 1449727 w 4469152"/>
              <a:gd name="connsiteY153" fmla="*/ 161925 h 4496940"/>
              <a:gd name="connsiteX154" fmla="*/ 1525927 w 4469152"/>
              <a:gd name="connsiteY154" fmla="*/ 152400 h 4496940"/>
              <a:gd name="connsiteX155" fmla="*/ 1583077 w 4469152"/>
              <a:gd name="connsiteY155" fmla="*/ 142875 h 4496940"/>
              <a:gd name="connsiteX156" fmla="*/ 1716427 w 4469152"/>
              <a:gd name="connsiteY156" fmla="*/ 123825 h 4496940"/>
              <a:gd name="connsiteX157" fmla="*/ 1811677 w 4469152"/>
              <a:gd name="connsiteY157" fmla="*/ 114300 h 4496940"/>
              <a:gd name="connsiteX158" fmla="*/ 1859302 w 4469152"/>
              <a:gd name="connsiteY158" fmla="*/ 104775 h 4496940"/>
              <a:gd name="connsiteX159" fmla="*/ 1916452 w 4469152"/>
              <a:gd name="connsiteY159" fmla="*/ 95250 h 4496940"/>
              <a:gd name="connsiteX160" fmla="*/ 2030752 w 4469152"/>
              <a:gd name="connsiteY160" fmla="*/ 66675 h 4496940"/>
              <a:gd name="connsiteX161" fmla="*/ 2097427 w 4469152"/>
              <a:gd name="connsiteY161" fmla="*/ 47625 h 4496940"/>
              <a:gd name="connsiteX162" fmla="*/ 2164102 w 4469152"/>
              <a:gd name="connsiteY162" fmla="*/ 38100 h 4496940"/>
              <a:gd name="connsiteX163" fmla="*/ 2392702 w 4469152"/>
              <a:gd name="connsiteY163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268752 w 4469152"/>
              <a:gd name="connsiteY150" fmla="*/ 285750 h 4496940"/>
              <a:gd name="connsiteX151" fmla="*/ 1411627 w 4469152"/>
              <a:gd name="connsiteY151" fmla="*/ 190500 h 4496940"/>
              <a:gd name="connsiteX152" fmla="*/ 1449727 w 4469152"/>
              <a:gd name="connsiteY152" fmla="*/ 161925 h 4496940"/>
              <a:gd name="connsiteX153" fmla="*/ 1525927 w 4469152"/>
              <a:gd name="connsiteY153" fmla="*/ 152400 h 4496940"/>
              <a:gd name="connsiteX154" fmla="*/ 1583077 w 4469152"/>
              <a:gd name="connsiteY154" fmla="*/ 142875 h 4496940"/>
              <a:gd name="connsiteX155" fmla="*/ 1716427 w 4469152"/>
              <a:gd name="connsiteY155" fmla="*/ 123825 h 4496940"/>
              <a:gd name="connsiteX156" fmla="*/ 1811677 w 4469152"/>
              <a:gd name="connsiteY156" fmla="*/ 114300 h 4496940"/>
              <a:gd name="connsiteX157" fmla="*/ 1859302 w 4469152"/>
              <a:gd name="connsiteY157" fmla="*/ 104775 h 4496940"/>
              <a:gd name="connsiteX158" fmla="*/ 1916452 w 4469152"/>
              <a:gd name="connsiteY158" fmla="*/ 95250 h 4496940"/>
              <a:gd name="connsiteX159" fmla="*/ 2030752 w 4469152"/>
              <a:gd name="connsiteY159" fmla="*/ 66675 h 4496940"/>
              <a:gd name="connsiteX160" fmla="*/ 2097427 w 4469152"/>
              <a:gd name="connsiteY160" fmla="*/ 47625 h 4496940"/>
              <a:gd name="connsiteX161" fmla="*/ 2164102 w 4469152"/>
              <a:gd name="connsiteY161" fmla="*/ 38100 h 4496940"/>
              <a:gd name="connsiteX162" fmla="*/ 2392702 w 4469152"/>
              <a:gd name="connsiteY162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167152 w 4469152"/>
              <a:gd name="connsiteY150" fmla="*/ 311150 h 4496940"/>
              <a:gd name="connsiteX151" fmla="*/ 1268752 w 4469152"/>
              <a:gd name="connsiteY151" fmla="*/ 285750 h 4496940"/>
              <a:gd name="connsiteX152" fmla="*/ 1411627 w 4469152"/>
              <a:gd name="connsiteY152" fmla="*/ 190500 h 4496940"/>
              <a:gd name="connsiteX153" fmla="*/ 1449727 w 4469152"/>
              <a:gd name="connsiteY153" fmla="*/ 161925 h 4496940"/>
              <a:gd name="connsiteX154" fmla="*/ 1525927 w 4469152"/>
              <a:gd name="connsiteY154" fmla="*/ 152400 h 4496940"/>
              <a:gd name="connsiteX155" fmla="*/ 1583077 w 4469152"/>
              <a:gd name="connsiteY155" fmla="*/ 142875 h 4496940"/>
              <a:gd name="connsiteX156" fmla="*/ 1716427 w 4469152"/>
              <a:gd name="connsiteY156" fmla="*/ 123825 h 4496940"/>
              <a:gd name="connsiteX157" fmla="*/ 1811677 w 4469152"/>
              <a:gd name="connsiteY157" fmla="*/ 114300 h 4496940"/>
              <a:gd name="connsiteX158" fmla="*/ 1859302 w 4469152"/>
              <a:gd name="connsiteY158" fmla="*/ 104775 h 4496940"/>
              <a:gd name="connsiteX159" fmla="*/ 1916452 w 4469152"/>
              <a:gd name="connsiteY159" fmla="*/ 95250 h 4496940"/>
              <a:gd name="connsiteX160" fmla="*/ 2030752 w 4469152"/>
              <a:gd name="connsiteY160" fmla="*/ 66675 h 4496940"/>
              <a:gd name="connsiteX161" fmla="*/ 2097427 w 4469152"/>
              <a:gd name="connsiteY161" fmla="*/ 47625 h 4496940"/>
              <a:gd name="connsiteX162" fmla="*/ 2164102 w 4469152"/>
              <a:gd name="connsiteY162" fmla="*/ 38100 h 4496940"/>
              <a:gd name="connsiteX163" fmla="*/ 2392702 w 4469152"/>
              <a:gd name="connsiteY163" fmla="*/ 28575 h 4496940"/>
              <a:gd name="connsiteX0" fmla="*/ 2297452 w 4519952"/>
              <a:gd name="connsiteY0" fmla="*/ 0 h 4496940"/>
              <a:gd name="connsiteX1" fmla="*/ 2421277 w 4519952"/>
              <a:gd name="connsiteY1" fmla="*/ 28575 h 4496940"/>
              <a:gd name="connsiteX2" fmla="*/ 2497477 w 4519952"/>
              <a:gd name="connsiteY2" fmla="*/ 47625 h 4496940"/>
              <a:gd name="connsiteX3" fmla="*/ 2754652 w 4519952"/>
              <a:gd name="connsiteY3" fmla="*/ 66675 h 4496940"/>
              <a:gd name="connsiteX4" fmla="*/ 2830852 w 4519952"/>
              <a:gd name="connsiteY4" fmla="*/ 76200 h 4496940"/>
              <a:gd name="connsiteX5" fmla="*/ 2916577 w 4519952"/>
              <a:gd name="connsiteY5" fmla="*/ 85725 h 4496940"/>
              <a:gd name="connsiteX6" fmla="*/ 2973727 w 4519952"/>
              <a:gd name="connsiteY6" fmla="*/ 114300 h 4496940"/>
              <a:gd name="connsiteX7" fmla="*/ 3011827 w 4519952"/>
              <a:gd name="connsiteY7" fmla="*/ 123825 h 4496940"/>
              <a:gd name="connsiteX8" fmla="*/ 3135652 w 4519952"/>
              <a:gd name="connsiteY8" fmla="*/ 171450 h 4496940"/>
              <a:gd name="connsiteX9" fmla="*/ 3173752 w 4519952"/>
              <a:gd name="connsiteY9" fmla="*/ 190500 h 4496940"/>
              <a:gd name="connsiteX10" fmla="*/ 3240427 w 4519952"/>
              <a:gd name="connsiteY10" fmla="*/ 228600 h 4496940"/>
              <a:gd name="connsiteX11" fmla="*/ 3269002 w 4519952"/>
              <a:gd name="connsiteY11" fmla="*/ 238125 h 4496940"/>
              <a:gd name="connsiteX12" fmla="*/ 3297577 w 4519952"/>
              <a:gd name="connsiteY12" fmla="*/ 257175 h 4496940"/>
              <a:gd name="connsiteX13" fmla="*/ 3326152 w 4519952"/>
              <a:gd name="connsiteY13" fmla="*/ 266700 h 4496940"/>
              <a:gd name="connsiteX14" fmla="*/ 3354727 w 4519952"/>
              <a:gd name="connsiteY14" fmla="*/ 285750 h 4496940"/>
              <a:gd name="connsiteX15" fmla="*/ 3421402 w 4519952"/>
              <a:gd name="connsiteY15" fmla="*/ 323850 h 4496940"/>
              <a:gd name="connsiteX16" fmla="*/ 3469027 w 4519952"/>
              <a:gd name="connsiteY16" fmla="*/ 361950 h 4496940"/>
              <a:gd name="connsiteX17" fmla="*/ 3516652 w 4519952"/>
              <a:gd name="connsiteY17" fmla="*/ 390525 h 4496940"/>
              <a:gd name="connsiteX18" fmla="*/ 3545227 w 4519952"/>
              <a:gd name="connsiteY18" fmla="*/ 419100 h 4496940"/>
              <a:gd name="connsiteX19" fmla="*/ 3602377 w 4519952"/>
              <a:gd name="connsiteY19" fmla="*/ 457200 h 4496940"/>
              <a:gd name="connsiteX20" fmla="*/ 3630952 w 4519952"/>
              <a:gd name="connsiteY20" fmla="*/ 485775 h 4496940"/>
              <a:gd name="connsiteX21" fmla="*/ 3678577 w 4519952"/>
              <a:gd name="connsiteY21" fmla="*/ 504825 h 4496940"/>
              <a:gd name="connsiteX22" fmla="*/ 3745252 w 4519952"/>
              <a:gd name="connsiteY22" fmla="*/ 542925 h 4496940"/>
              <a:gd name="connsiteX23" fmla="*/ 3811927 w 4519952"/>
              <a:gd name="connsiteY23" fmla="*/ 581025 h 4496940"/>
              <a:gd name="connsiteX24" fmla="*/ 3840502 w 4519952"/>
              <a:gd name="connsiteY24" fmla="*/ 600075 h 4496940"/>
              <a:gd name="connsiteX25" fmla="*/ 3869077 w 4519952"/>
              <a:gd name="connsiteY25" fmla="*/ 628650 h 4496940"/>
              <a:gd name="connsiteX26" fmla="*/ 3907177 w 4519952"/>
              <a:gd name="connsiteY26" fmla="*/ 647700 h 4496940"/>
              <a:gd name="connsiteX27" fmla="*/ 3935752 w 4519952"/>
              <a:gd name="connsiteY27" fmla="*/ 676275 h 4496940"/>
              <a:gd name="connsiteX28" fmla="*/ 3992902 w 4519952"/>
              <a:gd name="connsiteY28" fmla="*/ 714375 h 4496940"/>
              <a:gd name="connsiteX29" fmla="*/ 4050052 w 4519952"/>
              <a:gd name="connsiteY29" fmla="*/ 790575 h 4496940"/>
              <a:gd name="connsiteX30" fmla="*/ 4078627 w 4519952"/>
              <a:gd name="connsiteY30" fmla="*/ 838200 h 4496940"/>
              <a:gd name="connsiteX31" fmla="*/ 4107202 w 4519952"/>
              <a:gd name="connsiteY31" fmla="*/ 876300 h 4496940"/>
              <a:gd name="connsiteX32" fmla="*/ 4116727 w 4519952"/>
              <a:gd name="connsiteY32" fmla="*/ 904875 h 4496940"/>
              <a:gd name="connsiteX33" fmla="*/ 4135777 w 4519952"/>
              <a:gd name="connsiteY33" fmla="*/ 933450 h 4496940"/>
              <a:gd name="connsiteX34" fmla="*/ 4164352 w 4519952"/>
              <a:gd name="connsiteY34" fmla="*/ 990600 h 4496940"/>
              <a:gd name="connsiteX35" fmla="*/ 4173877 w 4519952"/>
              <a:gd name="connsiteY35" fmla="*/ 1019175 h 4496940"/>
              <a:gd name="connsiteX36" fmla="*/ 4192927 w 4519952"/>
              <a:gd name="connsiteY36" fmla="*/ 1057275 h 4496940"/>
              <a:gd name="connsiteX37" fmla="*/ 4202452 w 4519952"/>
              <a:gd name="connsiteY37" fmla="*/ 1085850 h 4496940"/>
              <a:gd name="connsiteX38" fmla="*/ 4250077 w 4519952"/>
              <a:gd name="connsiteY38" fmla="*/ 1143000 h 4496940"/>
              <a:gd name="connsiteX39" fmla="*/ 4259602 w 4519952"/>
              <a:gd name="connsiteY39" fmla="*/ 1190625 h 4496940"/>
              <a:gd name="connsiteX40" fmla="*/ 4307227 w 4519952"/>
              <a:gd name="connsiteY40" fmla="*/ 1266825 h 4496940"/>
              <a:gd name="connsiteX41" fmla="*/ 4345327 w 4519952"/>
              <a:gd name="connsiteY41" fmla="*/ 1362075 h 4496940"/>
              <a:gd name="connsiteX42" fmla="*/ 4373902 w 4519952"/>
              <a:gd name="connsiteY42" fmla="*/ 1428750 h 4496940"/>
              <a:gd name="connsiteX43" fmla="*/ 4392952 w 4519952"/>
              <a:gd name="connsiteY43" fmla="*/ 1552575 h 4496940"/>
              <a:gd name="connsiteX44" fmla="*/ 4402477 w 4519952"/>
              <a:gd name="connsiteY44" fmla="*/ 1590675 h 4496940"/>
              <a:gd name="connsiteX45" fmla="*/ 4431052 w 4519952"/>
              <a:gd name="connsiteY45" fmla="*/ 1685925 h 4496940"/>
              <a:gd name="connsiteX46" fmla="*/ 4440577 w 4519952"/>
              <a:gd name="connsiteY46" fmla="*/ 1762125 h 4496940"/>
              <a:gd name="connsiteX47" fmla="*/ 4459627 w 4519952"/>
              <a:gd name="connsiteY47" fmla="*/ 1828800 h 4496940"/>
              <a:gd name="connsiteX48" fmla="*/ 4519952 w 4519952"/>
              <a:gd name="connsiteY48" fmla="*/ 2181225 h 4496940"/>
              <a:gd name="connsiteX49" fmla="*/ 4440577 w 4519952"/>
              <a:gd name="connsiteY49" fmla="*/ 2876550 h 4496940"/>
              <a:gd name="connsiteX50" fmla="*/ 4383427 w 4519952"/>
              <a:gd name="connsiteY50" fmla="*/ 2990850 h 4496940"/>
              <a:gd name="connsiteX51" fmla="*/ 4354852 w 4519952"/>
              <a:gd name="connsiteY51" fmla="*/ 3057525 h 4496940"/>
              <a:gd name="connsiteX52" fmla="*/ 4335802 w 4519952"/>
              <a:gd name="connsiteY52" fmla="*/ 3095625 h 4496940"/>
              <a:gd name="connsiteX53" fmla="*/ 4278652 w 4519952"/>
              <a:gd name="connsiteY53" fmla="*/ 3248025 h 4496940"/>
              <a:gd name="connsiteX54" fmla="*/ 4259602 w 4519952"/>
              <a:gd name="connsiteY54" fmla="*/ 3276600 h 4496940"/>
              <a:gd name="connsiteX55" fmla="*/ 4221502 w 4519952"/>
              <a:gd name="connsiteY55" fmla="*/ 3333750 h 4496940"/>
              <a:gd name="connsiteX56" fmla="*/ 4211977 w 4519952"/>
              <a:gd name="connsiteY56" fmla="*/ 3362325 h 4496940"/>
              <a:gd name="connsiteX57" fmla="*/ 4183402 w 4519952"/>
              <a:gd name="connsiteY57" fmla="*/ 3400425 h 4496940"/>
              <a:gd name="connsiteX58" fmla="*/ 4164352 w 4519952"/>
              <a:gd name="connsiteY58" fmla="*/ 3429000 h 4496940"/>
              <a:gd name="connsiteX59" fmla="*/ 4088152 w 4519952"/>
              <a:gd name="connsiteY59" fmla="*/ 3495675 h 4496940"/>
              <a:gd name="connsiteX60" fmla="*/ 4059577 w 4519952"/>
              <a:gd name="connsiteY60" fmla="*/ 3533775 h 4496940"/>
              <a:gd name="connsiteX61" fmla="*/ 4002427 w 4519952"/>
              <a:gd name="connsiteY61" fmla="*/ 3600450 h 4496940"/>
              <a:gd name="connsiteX62" fmla="*/ 3983377 w 4519952"/>
              <a:gd name="connsiteY62" fmla="*/ 3629025 h 4496940"/>
              <a:gd name="connsiteX63" fmla="*/ 3954802 w 4519952"/>
              <a:gd name="connsiteY63" fmla="*/ 3648075 h 4496940"/>
              <a:gd name="connsiteX64" fmla="*/ 3907177 w 4519952"/>
              <a:gd name="connsiteY64" fmla="*/ 3686175 h 4496940"/>
              <a:gd name="connsiteX65" fmla="*/ 3869077 w 4519952"/>
              <a:gd name="connsiteY65" fmla="*/ 3724275 h 4496940"/>
              <a:gd name="connsiteX66" fmla="*/ 3792877 w 4519952"/>
              <a:gd name="connsiteY66" fmla="*/ 3781425 h 4496940"/>
              <a:gd name="connsiteX67" fmla="*/ 3783352 w 4519952"/>
              <a:gd name="connsiteY67" fmla="*/ 3810000 h 4496940"/>
              <a:gd name="connsiteX68" fmla="*/ 3745252 w 4519952"/>
              <a:gd name="connsiteY68" fmla="*/ 3819525 h 4496940"/>
              <a:gd name="connsiteX69" fmla="*/ 3678577 w 4519952"/>
              <a:gd name="connsiteY69" fmla="*/ 3848100 h 4496940"/>
              <a:gd name="connsiteX70" fmla="*/ 3659527 w 4519952"/>
              <a:gd name="connsiteY70" fmla="*/ 3971925 h 4496940"/>
              <a:gd name="connsiteX71" fmla="*/ 3630952 w 4519952"/>
              <a:gd name="connsiteY71" fmla="*/ 4010025 h 4496940"/>
              <a:gd name="connsiteX72" fmla="*/ 3621427 w 4519952"/>
              <a:gd name="connsiteY72" fmla="*/ 4038600 h 4496940"/>
              <a:gd name="connsiteX73" fmla="*/ 3554752 w 4519952"/>
              <a:gd name="connsiteY73" fmla="*/ 4095750 h 4496940"/>
              <a:gd name="connsiteX74" fmla="*/ 3516652 w 4519952"/>
              <a:gd name="connsiteY74" fmla="*/ 4114800 h 4496940"/>
              <a:gd name="connsiteX75" fmla="*/ 3497602 w 4519952"/>
              <a:gd name="connsiteY75" fmla="*/ 4143375 h 4496940"/>
              <a:gd name="connsiteX76" fmla="*/ 3383302 w 4519952"/>
              <a:gd name="connsiteY76" fmla="*/ 4210050 h 4496940"/>
              <a:gd name="connsiteX77" fmla="*/ 3335677 w 4519952"/>
              <a:gd name="connsiteY77" fmla="*/ 4238625 h 4496940"/>
              <a:gd name="connsiteX78" fmla="*/ 3288052 w 4519952"/>
              <a:gd name="connsiteY78" fmla="*/ 4248150 h 4496940"/>
              <a:gd name="connsiteX79" fmla="*/ 3240427 w 4519952"/>
              <a:gd name="connsiteY79" fmla="*/ 4267200 h 4496940"/>
              <a:gd name="connsiteX80" fmla="*/ 3068977 w 4519952"/>
              <a:gd name="connsiteY80" fmla="*/ 4286250 h 4496940"/>
              <a:gd name="connsiteX81" fmla="*/ 2935627 w 4519952"/>
              <a:gd name="connsiteY81" fmla="*/ 4333875 h 4496940"/>
              <a:gd name="connsiteX82" fmla="*/ 2811802 w 4519952"/>
              <a:gd name="connsiteY82" fmla="*/ 4371975 h 4496940"/>
              <a:gd name="connsiteX83" fmla="*/ 2745127 w 4519952"/>
              <a:gd name="connsiteY83" fmla="*/ 4410075 h 4496940"/>
              <a:gd name="connsiteX84" fmla="*/ 2697502 w 4519952"/>
              <a:gd name="connsiteY84" fmla="*/ 4429125 h 4496940"/>
              <a:gd name="connsiteX85" fmla="*/ 2640352 w 4519952"/>
              <a:gd name="connsiteY85" fmla="*/ 4457700 h 4496940"/>
              <a:gd name="connsiteX86" fmla="*/ 2583202 w 4519952"/>
              <a:gd name="connsiteY86" fmla="*/ 4467225 h 4496940"/>
              <a:gd name="connsiteX87" fmla="*/ 2545102 w 4519952"/>
              <a:gd name="connsiteY87" fmla="*/ 4486275 h 4496940"/>
              <a:gd name="connsiteX88" fmla="*/ 2306977 w 4519952"/>
              <a:gd name="connsiteY88" fmla="*/ 4476750 h 4496940"/>
              <a:gd name="connsiteX89" fmla="*/ 2202202 w 4519952"/>
              <a:gd name="connsiteY89" fmla="*/ 4457700 h 4496940"/>
              <a:gd name="connsiteX90" fmla="*/ 2126002 w 4519952"/>
              <a:gd name="connsiteY90" fmla="*/ 4429125 h 4496940"/>
              <a:gd name="connsiteX91" fmla="*/ 1935502 w 4519952"/>
              <a:gd name="connsiteY91" fmla="*/ 4400550 h 4496940"/>
              <a:gd name="connsiteX92" fmla="*/ 1821202 w 4519952"/>
              <a:gd name="connsiteY92" fmla="*/ 4371975 h 4496940"/>
              <a:gd name="connsiteX93" fmla="*/ 1754527 w 4519952"/>
              <a:gd name="connsiteY93" fmla="*/ 4352925 h 4496940"/>
              <a:gd name="connsiteX94" fmla="*/ 1687852 w 4519952"/>
              <a:gd name="connsiteY94" fmla="*/ 4343400 h 4496940"/>
              <a:gd name="connsiteX95" fmla="*/ 1573552 w 4519952"/>
              <a:gd name="connsiteY95" fmla="*/ 4305300 h 4496940"/>
              <a:gd name="connsiteX96" fmla="*/ 1402102 w 4519952"/>
              <a:gd name="connsiteY96" fmla="*/ 4276725 h 4496940"/>
              <a:gd name="connsiteX97" fmla="*/ 1287802 w 4519952"/>
              <a:gd name="connsiteY97" fmla="*/ 4229100 h 4496940"/>
              <a:gd name="connsiteX98" fmla="*/ 1221127 w 4519952"/>
              <a:gd name="connsiteY98" fmla="*/ 4200525 h 4496940"/>
              <a:gd name="connsiteX99" fmla="*/ 1144927 w 4519952"/>
              <a:gd name="connsiteY99" fmla="*/ 4171950 h 4496940"/>
              <a:gd name="connsiteX100" fmla="*/ 1087777 w 4519952"/>
              <a:gd name="connsiteY100" fmla="*/ 4143375 h 4496940"/>
              <a:gd name="connsiteX101" fmla="*/ 1030627 w 4519952"/>
              <a:gd name="connsiteY101" fmla="*/ 4124325 h 4496940"/>
              <a:gd name="connsiteX102" fmla="*/ 925852 w 4519952"/>
              <a:gd name="connsiteY102" fmla="*/ 4067175 h 4496940"/>
              <a:gd name="connsiteX103" fmla="*/ 830602 w 4519952"/>
              <a:gd name="connsiteY103" fmla="*/ 3981450 h 4496940"/>
              <a:gd name="connsiteX104" fmla="*/ 763927 w 4519952"/>
              <a:gd name="connsiteY104" fmla="*/ 3914775 h 4496940"/>
              <a:gd name="connsiteX105" fmla="*/ 725827 w 4519952"/>
              <a:gd name="connsiteY105" fmla="*/ 3876675 h 4496940"/>
              <a:gd name="connsiteX106" fmla="*/ 697252 w 4519952"/>
              <a:gd name="connsiteY106" fmla="*/ 3838575 h 4496940"/>
              <a:gd name="connsiteX107" fmla="*/ 640102 w 4519952"/>
              <a:gd name="connsiteY107" fmla="*/ 3781425 h 4496940"/>
              <a:gd name="connsiteX108" fmla="*/ 611527 w 4519952"/>
              <a:gd name="connsiteY108" fmla="*/ 3733800 h 4496940"/>
              <a:gd name="connsiteX109" fmla="*/ 554377 w 4519952"/>
              <a:gd name="connsiteY109" fmla="*/ 3657600 h 4496940"/>
              <a:gd name="connsiteX110" fmla="*/ 525802 w 4519952"/>
              <a:gd name="connsiteY110" fmla="*/ 3609975 h 4496940"/>
              <a:gd name="connsiteX111" fmla="*/ 497227 w 4519952"/>
              <a:gd name="connsiteY111" fmla="*/ 3552825 h 4496940"/>
              <a:gd name="connsiteX112" fmla="*/ 440077 w 4519952"/>
              <a:gd name="connsiteY112" fmla="*/ 3495675 h 4496940"/>
              <a:gd name="connsiteX113" fmla="*/ 411502 w 4519952"/>
              <a:gd name="connsiteY113" fmla="*/ 3448050 h 4496940"/>
              <a:gd name="connsiteX114" fmla="*/ 278152 w 4519952"/>
              <a:gd name="connsiteY114" fmla="*/ 3257550 h 4496940"/>
              <a:gd name="connsiteX115" fmla="*/ 249577 w 4519952"/>
              <a:gd name="connsiteY115" fmla="*/ 3200400 h 4496940"/>
              <a:gd name="connsiteX116" fmla="*/ 240052 w 4519952"/>
              <a:gd name="connsiteY116" fmla="*/ 3162300 h 4496940"/>
              <a:gd name="connsiteX117" fmla="*/ 221002 w 4519952"/>
              <a:gd name="connsiteY117" fmla="*/ 3105150 h 4496940"/>
              <a:gd name="connsiteX118" fmla="*/ 173377 w 4519952"/>
              <a:gd name="connsiteY118" fmla="*/ 3019425 h 4496940"/>
              <a:gd name="connsiteX119" fmla="*/ 144802 w 4519952"/>
              <a:gd name="connsiteY119" fmla="*/ 2924175 h 4496940"/>
              <a:gd name="connsiteX120" fmla="*/ 68602 w 4519952"/>
              <a:gd name="connsiteY120" fmla="*/ 2724150 h 4496940"/>
              <a:gd name="connsiteX121" fmla="*/ 49552 w 4519952"/>
              <a:gd name="connsiteY121" fmla="*/ 2638425 h 4496940"/>
              <a:gd name="connsiteX122" fmla="*/ 40027 w 4519952"/>
              <a:gd name="connsiteY122" fmla="*/ 2562225 h 4496940"/>
              <a:gd name="connsiteX123" fmla="*/ 30502 w 4519952"/>
              <a:gd name="connsiteY123" fmla="*/ 2514600 h 4496940"/>
              <a:gd name="connsiteX124" fmla="*/ 11452 w 4519952"/>
              <a:gd name="connsiteY124" fmla="*/ 2400300 h 4496940"/>
              <a:gd name="connsiteX125" fmla="*/ 20977 w 4519952"/>
              <a:gd name="connsiteY125" fmla="*/ 1905000 h 4496940"/>
              <a:gd name="connsiteX126" fmla="*/ 30502 w 4519952"/>
              <a:gd name="connsiteY126" fmla="*/ 1838325 h 4496940"/>
              <a:gd name="connsiteX127" fmla="*/ 49552 w 4519952"/>
              <a:gd name="connsiteY127" fmla="*/ 1781175 h 4496940"/>
              <a:gd name="connsiteX128" fmla="*/ 59077 w 4519952"/>
              <a:gd name="connsiteY128" fmla="*/ 1743075 h 4496940"/>
              <a:gd name="connsiteX129" fmla="*/ 78127 w 4519952"/>
              <a:gd name="connsiteY129" fmla="*/ 1685925 h 4496940"/>
              <a:gd name="connsiteX130" fmla="*/ 87652 w 4519952"/>
              <a:gd name="connsiteY130" fmla="*/ 1638300 h 4496940"/>
              <a:gd name="connsiteX131" fmla="*/ 106702 w 4519952"/>
              <a:gd name="connsiteY131" fmla="*/ 1590675 h 4496940"/>
              <a:gd name="connsiteX132" fmla="*/ 135277 w 4519952"/>
              <a:gd name="connsiteY132" fmla="*/ 1504950 h 4496940"/>
              <a:gd name="connsiteX133" fmla="*/ 154327 w 4519952"/>
              <a:gd name="connsiteY133" fmla="*/ 1419225 h 4496940"/>
              <a:gd name="connsiteX134" fmla="*/ 230527 w 4519952"/>
              <a:gd name="connsiteY134" fmla="*/ 1276350 h 4496940"/>
              <a:gd name="connsiteX135" fmla="*/ 240052 w 4519952"/>
              <a:gd name="connsiteY135" fmla="*/ 1247775 h 4496940"/>
              <a:gd name="connsiteX136" fmla="*/ 268627 w 4519952"/>
              <a:gd name="connsiteY136" fmla="*/ 1200150 h 4496940"/>
              <a:gd name="connsiteX137" fmla="*/ 287677 w 4519952"/>
              <a:gd name="connsiteY137" fmla="*/ 1152525 h 4496940"/>
              <a:gd name="connsiteX138" fmla="*/ 316252 w 4519952"/>
              <a:gd name="connsiteY138" fmla="*/ 1114425 h 4496940"/>
              <a:gd name="connsiteX139" fmla="*/ 363877 w 4519952"/>
              <a:gd name="connsiteY139" fmla="*/ 1038225 h 4496940"/>
              <a:gd name="connsiteX140" fmla="*/ 382927 w 4519952"/>
              <a:gd name="connsiteY140" fmla="*/ 1009650 h 4496940"/>
              <a:gd name="connsiteX141" fmla="*/ 440077 w 4519952"/>
              <a:gd name="connsiteY141" fmla="*/ 904875 h 4496940"/>
              <a:gd name="connsiteX142" fmla="*/ 478177 w 4519952"/>
              <a:gd name="connsiteY142" fmla="*/ 857250 h 4496940"/>
              <a:gd name="connsiteX143" fmla="*/ 497227 w 4519952"/>
              <a:gd name="connsiteY143" fmla="*/ 828675 h 4496940"/>
              <a:gd name="connsiteX144" fmla="*/ 535327 w 4519952"/>
              <a:gd name="connsiteY144" fmla="*/ 800100 h 4496940"/>
              <a:gd name="connsiteX145" fmla="*/ 602002 w 4519952"/>
              <a:gd name="connsiteY145" fmla="*/ 733425 h 4496940"/>
              <a:gd name="connsiteX146" fmla="*/ 668677 w 4519952"/>
              <a:gd name="connsiteY146" fmla="*/ 676275 h 4496940"/>
              <a:gd name="connsiteX147" fmla="*/ 697252 w 4519952"/>
              <a:gd name="connsiteY147" fmla="*/ 657225 h 4496940"/>
              <a:gd name="connsiteX148" fmla="*/ 840127 w 4519952"/>
              <a:gd name="connsiteY148" fmla="*/ 533400 h 4496940"/>
              <a:gd name="connsiteX149" fmla="*/ 887752 w 4519952"/>
              <a:gd name="connsiteY149" fmla="*/ 504825 h 4496940"/>
              <a:gd name="connsiteX150" fmla="*/ 1167152 w 4519952"/>
              <a:gd name="connsiteY150" fmla="*/ 311150 h 4496940"/>
              <a:gd name="connsiteX151" fmla="*/ 1268752 w 4519952"/>
              <a:gd name="connsiteY151" fmla="*/ 285750 h 4496940"/>
              <a:gd name="connsiteX152" fmla="*/ 1411627 w 4519952"/>
              <a:gd name="connsiteY152" fmla="*/ 190500 h 4496940"/>
              <a:gd name="connsiteX153" fmla="*/ 1449727 w 4519952"/>
              <a:gd name="connsiteY153" fmla="*/ 161925 h 4496940"/>
              <a:gd name="connsiteX154" fmla="*/ 1525927 w 4519952"/>
              <a:gd name="connsiteY154" fmla="*/ 152400 h 4496940"/>
              <a:gd name="connsiteX155" fmla="*/ 1583077 w 4519952"/>
              <a:gd name="connsiteY155" fmla="*/ 142875 h 4496940"/>
              <a:gd name="connsiteX156" fmla="*/ 1716427 w 4519952"/>
              <a:gd name="connsiteY156" fmla="*/ 123825 h 4496940"/>
              <a:gd name="connsiteX157" fmla="*/ 1811677 w 4519952"/>
              <a:gd name="connsiteY157" fmla="*/ 114300 h 4496940"/>
              <a:gd name="connsiteX158" fmla="*/ 1859302 w 4519952"/>
              <a:gd name="connsiteY158" fmla="*/ 104775 h 4496940"/>
              <a:gd name="connsiteX159" fmla="*/ 1916452 w 4519952"/>
              <a:gd name="connsiteY159" fmla="*/ 95250 h 4496940"/>
              <a:gd name="connsiteX160" fmla="*/ 2030752 w 4519952"/>
              <a:gd name="connsiteY160" fmla="*/ 66675 h 4496940"/>
              <a:gd name="connsiteX161" fmla="*/ 2097427 w 4519952"/>
              <a:gd name="connsiteY161" fmla="*/ 47625 h 4496940"/>
              <a:gd name="connsiteX162" fmla="*/ 2164102 w 4519952"/>
              <a:gd name="connsiteY162" fmla="*/ 38100 h 4496940"/>
              <a:gd name="connsiteX163" fmla="*/ 2392702 w 4519952"/>
              <a:gd name="connsiteY163" fmla="*/ 28575 h 4496940"/>
              <a:gd name="connsiteX0" fmla="*/ 2297452 w 4519952"/>
              <a:gd name="connsiteY0" fmla="*/ 0 h 4496940"/>
              <a:gd name="connsiteX1" fmla="*/ 2421277 w 4519952"/>
              <a:gd name="connsiteY1" fmla="*/ 28575 h 4496940"/>
              <a:gd name="connsiteX2" fmla="*/ 2497477 w 4519952"/>
              <a:gd name="connsiteY2" fmla="*/ 47625 h 4496940"/>
              <a:gd name="connsiteX3" fmla="*/ 2754652 w 4519952"/>
              <a:gd name="connsiteY3" fmla="*/ 66675 h 4496940"/>
              <a:gd name="connsiteX4" fmla="*/ 2830852 w 4519952"/>
              <a:gd name="connsiteY4" fmla="*/ 76200 h 4496940"/>
              <a:gd name="connsiteX5" fmla="*/ 2916577 w 4519952"/>
              <a:gd name="connsiteY5" fmla="*/ 85725 h 4496940"/>
              <a:gd name="connsiteX6" fmla="*/ 2973727 w 4519952"/>
              <a:gd name="connsiteY6" fmla="*/ 114300 h 4496940"/>
              <a:gd name="connsiteX7" fmla="*/ 3011827 w 4519952"/>
              <a:gd name="connsiteY7" fmla="*/ 123825 h 4496940"/>
              <a:gd name="connsiteX8" fmla="*/ 3135652 w 4519952"/>
              <a:gd name="connsiteY8" fmla="*/ 171450 h 4496940"/>
              <a:gd name="connsiteX9" fmla="*/ 3173752 w 4519952"/>
              <a:gd name="connsiteY9" fmla="*/ 190500 h 4496940"/>
              <a:gd name="connsiteX10" fmla="*/ 3240427 w 4519952"/>
              <a:gd name="connsiteY10" fmla="*/ 228600 h 4496940"/>
              <a:gd name="connsiteX11" fmla="*/ 3269002 w 4519952"/>
              <a:gd name="connsiteY11" fmla="*/ 238125 h 4496940"/>
              <a:gd name="connsiteX12" fmla="*/ 3297577 w 4519952"/>
              <a:gd name="connsiteY12" fmla="*/ 257175 h 4496940"/>
              <a:gd name="connsiteX13" fmla="*/ 3326152 w 4519952"/>
              <a:gd name="connsiteY13" fmla="*/ 266700 h 4496940"/>
              <a:gd name="connsiteX14" fmla="*/ 3354727 w 4519952"/>
              <a:gd name="connsiteY14" fmla="*/ 285750 h 4496940"/>
              <a:gd name="connsiteX15" fmla="*/ 3421402 w 4519952"/>
              <a:gd name="connsiteY15" fmla="*/ 323850 h 4496940"/>
              <a:gd name="connsiteX16" fmla="*/ 3469027 w 4519952"/>
              <a:gd name="connsiteY16" fmla="*/ 361950 h 4496940"/>
              <a:gd name="connsiteX17" fmla="*/ 3516652 w 4519952"/>
              <a:gd name="connsiteY17" fmla="*/ 390525 h 4496940"/>
              <a:gd name="connsiteX18" fmla="*/ 3545227 w 4519952"/>
              <a:gd name="connsiteY18" fmla="*/ 419100 h 4496940"/>
              <a:gd name="connsiteX19" fmla="*/ 3602377 w 4519952"/>
              <a:gd name="connsiteY19" fmla="*/ 457200 h 4496940"/>
              <a:gd name="connsiteX20" fmla="*/ 3630952 w 4519952"/>
              <a:gd name="connsiteY20" fmla="*/ 485775 h 4496940"/>
              <a:gd name="connsiteX21" fmla="*/ 3678577 w 4519952"/>
              <a:gd name="connsiteY21" fmla="*/ 504825 h 4496940"/>
              <a:gd name="connsiteX22" fmla="*/ 3745252 w 4519952"/>
              <a:gd name="connsiteY22" fmla="*/ 542925 h 4496940"/>
              <a:gd name="connsiteX23" fmla="*/ 3811927 w 4519952"/>
              <a:gd name="connsiteY23" fmla="*/ 581025 h 4496940"/>
              <a:gd name="connsiteX24" fmla="*/ 3840502 w 4519952"/>
              <a:gd name="connsiteY24" fmla="*/ 600075 h 4496940"/>
              <a:gd name="connsiteX25" fmla="*/ 3869077 w 4519952"/>
              <a:gd name="connsiteY25" fmla="*/ 628650 h 4496940"/>
              <a:gd name="connsiteX26" fmla="*/ 3907177 w 4519952"/>
              <a:gd name="connsiteY26" fmla="*/ 647700 h 4496940"/>
              <a:gd name="connsiteX27" fmla="*/ 3935752 w 4519952"/>
              <a:gd name="connsiteY27" fmla="*/ 676275 h 4496940"/>
              <a:gd name="connsiteX28" fmla="*/ 3992902 w 4519952"/>
              <a:gd name="connsiteY28" fmla="*/ 714375 h 4496940"/>
              <a:gd name="connsiteX29" fmla="*/ 4050052 w 4519952"/>
              <a:gd name="connsiteY29" fmla="*/ 790575 h 4496940"/>
              <a:gd name="connsiteX30" fmla="*/ 4078627 w 4519952"/>
              <a:gd name="connsiteY30" fmla="*/ 838200 h 4496940"/>
              <a:gd name="connsiteX31" fmla="*/ 4107202 w 4519952"/>
              <a:gd name="connsiteY31" fmla="*/ 876300 h 4496940"/>
              <a:gd name="connsiteX32" fmla="*/ 4116727 w 4519952"/>
              <a:gd name="connsiteY32" fmla="*/ 904875 h 4496940"/>
              <a:gd name="connsiteX33" fmla="*/ 4135777 w 4519952"/>
              <a:gd name="connsiteY33" fmla="*/ 933450 h 4496940"/>
              <a:gd name="connsiteX34" fmla="*/ 4164352 w 4519952"/>
              <a:gd name="connsiteY34" fmla="*/ 990600 h 4496940"/>
              <a:gd name="connsiteX35" fmla="*/ 4173877 w 4519952"/>
              <a:gd name="connsiteY35" fmla="*/ 1019175 h 4496940"/>
              <a:gd name="connsiteX36" fmla="*/ 4192927 w 4519952"/>
              <a:gd name="connsiteY36" fmla="*/ 1057275 h 4496940"/>
              <a:gd name="connsiteX37" fmla="*/ 4202452 w 4519952"/>
              <a:gd name="connsiteY37" fmla="*/ 1085850 h 4496940"/>
              <a:gd name="connsiteX38" fmla="*/ 4250077 w 4519952"/>
              <a:gd name="connsiteY38" fmla="*/ 1143000 h 4496940"/>
              <a:gd name="connsiteX39" fmla="*/ 4259602 w 4519952"/>
              <a:gd name="connsiteY39" fmla="*/ 1190625 h 4496940"/>
              <a:gd name="connsiteX40" fmla="*/ 4307227 w 4519952"/>
              <a:gd name="connsiteY40" fmla="*/ 1266825 h 4496940"/>
              <a:gd name="connsiteX41" fmla="*/ 4345327 w 4519952"/>
              <a:gd name="connsiteY41" fmla="*/ 1362075 h 4496940"/>
              <a:gd name="connsiteX42" fmla="*/ 4373902 w 4519952"/>
              <a:gd name="connsiteY42" fmla="*/ 1428750 h 4496940"/>
              <a:gd name="connsiteX43" fmla="*/ 4392952 w 4519952"/>
              <a:gd name="connsiteY43" fmla="*/ 1552575 h 4496940"/>
              <a:gd name="connsiteX44" fmla="*/ 4402477 w 4519952"/>
              <a:gd name="connsiteY44" fmla="*/ 1590675 h 4496940"/>
              <a:gd name="connsiteX45" fmla="*/ 4431052 w 4519952"/>
              <a:gd name="connsiteY45" fmla="*/ 1685925 h 4496940"/>
              <a:gd name="connsiteX46" fmla="*/ 4459627 w 4519952"/>
              <a:gd name="connsiteY46" fmla="*/ 1828800 h 4496940"/>
              <a:gd name="connsiteX47" fmla="*/ 4519952 w 4519952"/>
              <a:gd name="connsiteY47" fmla="*/ 2181225 h 4496940"/>
              <a:gd name="connsiteX48" fmla="*/ 4440577 w 4519952"/>
              <a:gd name="connsiteY48" fmla="*/ 2876550 h 4496940"/>
              <a:gd name="connsiteX49" fmla="*/ 4383427 w 4519952"/>
              <a:gd name="connsiteY49" fmla="*/ 2990850 h 4496940"/>
              <a:gd name="connsiteX50" fmla="*/ 4354852 w 4519952"/>
              <a:gd name="connsiteY50" fmla="*/ 3057525 h 4496940"/>
              <a:gd name="connsiteX51" fmla="*/ 4335802 w 4519952"/>
              <a:gd name="connsiteY51" fmla="*/ 3095625 h 4496940"/>
              <a:gd name="connsiteX52" fmla="*/ 4278652 w 4519952"/>
              <a:gd name="connsiteY52" fmla="*/ 3248025 h 4496940"/>
              <a:gd name="connsiteX53" fmla="*/ 4259602 w 4519952"/>
              <a:gd name="connsiteY53" fmla="*/ 3276600 h 4496940"/>
              <a:gd name="connsiteX54" fmla="*/ 4221502 w 4519952"/>
              <a:gd name="connsiteY54" fmla="*/ 3333750 h 4496940"/>
              <a:gd name="connsiteX55" fmla="*/ 4211977 w 4519952"/>
              <a:gd name="connsiteY55" fmla="*/ 3362325 h 4496940"/>
              <a:gd name="connsiteX56" fmla="*/ 4183402 w 4519952"/>
              <a:gd name="connsiteY56" fmla="*/ 3400425 h 4496940"/>
              <a:gd name="connsiteX57" fmla="*/ 4164352 w 4519952"/>
              <a:gd name="connsiteY57" fmla="*/ 3429000 h 4496940"/>
              <a:gd name="connsiteX58" fmla="*/ 4088152 w 4519952"/>
              <a:gd name="connsiteY58" fmla="*/ 3495675 h 4496940"/>
              <a:gd name="connsiteX59" fmla="*/ 4059577 w 4519952"/>
              <a:gd name="connsiteY59" fmla="*/ 3533775 h 4496940"/>
              <a:gd name="connsiteX60" fmla="*/ 4002427 w 4519952"/>
              <a:gd name="connsiteY60" fmla="*/ 3600450 h 4496940"/>
              <a:gd name="connsiteX61" fmla="*/ 3983377 w 4519952"/>
              <a:gd name="connsiteY61" fmla="*/ 3629025 h 4496940"/>
              <a:gd name="connsiteX62" fmla="*/ 3954802 w 4519952"/>
              <a:gd name="connsiteY62" fmla="*/ 3648075 h 4496940"/>
              <a:gd name="connsiteX63" fmla="*/ 3907177 w 4519952"/>
              <a:gd name="connsiteY63" fmla="*/ 3686175 h 4496940"/>
              <a:gd name="connsiteX64" fmla="*/ 3869077 w 4519952"/>
              <a:gd name="connsiteY64" fmla="*/ 3724275 h 4496940"/>
              <a:gd name="connsiteX65" fmla="*/ 3792877 w 4519952"/>
              <a:gd name="connsiteY65" fmla="*/ 3781425 h 4496940"/>
              <a:gd name="connsiteX66" fmla="*/ 3783352 w 4519952"/>
              <a:gd name="connsiteY66" fmla="*/ 3810000 h 4496940"/>
              <a:gd name="connsiteX67" fmla="*/ 3745252 w 4519952"/>
              <a:gd name="connsiteY67" fmla="*/ 3819525 h 4496940"/>
              <a:gd name="connsiteX68" fmla="*/ 3678577 w 4519952"/>
              <a:gd name="connsiteY68" fmla="*/ 3848100 h 4496940"/>
              <a:gd name="connsiteX69" fmla="*/ 3659527 w 4519952"/>
              <a:gd name="connsiteY69" fmla="*/ 3971925 h 4496940"/>
              <a:gd name="connsiteX70" fmla="*/ 3630952 w 4519952"/>
              <a:gd name="connsiteY70" fmla="*/ 4010025 h 4496940"/>
              <a:gd name="connsiteX71" fmla="*/ 3621427 w 4519952"/>
              <a:gd name="connsiteY71" fmla="*/ 4038600 h 4496940"/>
              <a:gd name="connsiteX72" fmla="*/ 3554752 w 4519952"/>
              <a:gd name="connsiteY72" fmla="*/ 4095750 h 4496940"/>
              <a:gd name="connsiteX73" fmla="*/ 3516652 w 4519952"/>
              <a:gd name="connsiteY73" fmla="*/ 4114800 h 4496940"/>
              <a:gd name="connsiteX74" fmla="*/ 3497602 w 4519952"/>
              <a:gd name="connsiteY74" fmla="*/ 4143375 h 4496940"/>
              <a:gd name="connsiteX75" fmla="*/ 3383302 w 4519952"/>
              <a:gd name="connsiteY75" fmla="*/ 4210050 h 4496940"/>
              <a:gd name="connsiteX76" fmla="*/ 3335677 w 4519952"/>
              <a:gd name="connsiteY76" fmla="*/ 4238625 h 4496940"/>
              <a:gd name="connsiteX77" fmla="*/ 3288052 w 4519952"/>
              <a:gd name="connsiteY77" fmla="*/ 4248150 h 4496940"/>
              <a:gd name="connsiteX78" fmla="*/ 3240427 w 4519952"/>
              <a:gd name="connsiteY78" fmla="*/ 4267200 h 4496940"/>
              <a:gd name="connsiteX79" fmla="*/ 3068977 w 4519952"/>
              <a:gd name="connsiteY79" fmla="*/ 4286250 h 4496940"/>
              <a:gd name="connsiteX80" fmla="*/ 2935627 w 4519952"/>
              <a:gd name="connsiteY80" fmla="*/ 4333875 h 4496940"/>
              <a:gd name="connsiteX81" fmla="*/ 2811802 w 4519952"/>
              <a:gd name="connsiteY81" fmla="*/ 4371975 h 4496940"/>
              <a:gd name="connsiteX82" fmla="*/ 2745127 w 4519952"/>
              <a:gd name="connsiteY82" fmla="*/ 4410075 h 4496940"/>
              <a:gd name="connsiteX83" fmla="*/ 2697502 w 4519952"/>
              <a:gd name="connsiteY83" fmla="*/ 4429125 h 4496940"/>
              <a:gd name="connsiteX84" fmla="*/ 2640352 w 4519952"/>
              <a:gd name="connsiteY84" fmla="*/ 4457700 h 4496940"/>
              <a:gd name="connsiteX85" fmla="*/ 2583202 w 4519952"/>
              <a:gd name="connsiteY85" fmla="*/ 4467225 h 4496940"/>
              <a:gd name="connsiteX86" fmla="*/ 2545102 w 4519952"/>
              <a:gd name="connsiteY86" fmla="*/ 4486275 h 4496940"/>
              <a:gd name="connsiteX87" fmla="*/ 2306977 w 4519952"/>
              <a:gd name="connsiteY87" fmla="*/ 4476750 h 4496940"/>
              <a:gd name="connsiteX88" fmla="*/ 2202202 w 4519952"/>
              <a:gd name="connsiteY88" fmla="*/ 4457700 h 4496940"/>
              <a:gd name="connsiteX89" fmla="*/ 2126002 w 4519952"/>
              <a:gd name="connsiteY89" fmla="*/ 4429125 h 4496940"/>
              <a:gd name="connsiteX90" fmla="*/ 1935502 w 4519952"/>
              <a:gd name="connsiteY90" fmla="*/ 4400550 h 4496940"/>
              <a:gd name="connsiteX91" fmla="*/ 1821202 w 4519952"/>
              <a:gd name="connsiteY91" fmla="*/ 4371975 h 4496940"/>
              <a:gd name="connsiteX92" fmla="*/ 1754527 w 4519952"/>
              <a:gd name="connsiteY92" fmla="*/ 4352925 h 4496940"/>
              <a:gd name="connsiteX93" fmla="*/ 1687852 w 4519952"/>
              <a:gd name="connsiteY93" fmla="*/ 4343400 h 4496940"/>
              <a:gd name="connsiteX94" fmla="*/ 1573552 w 4519952"/>
              <a:gd name="connsiteY94" fmla="*/ 4305300 h 4496940"/>
              <a:gd name="connsiteX95" fmla="*/ 1402102 w 4519952"/>
              <a:gd name="connsiteY95" fmla="*/ 4276725 h 4496940"/>
              <a:gd name="connsiteX96" fmla="*/ 1287802 w 4519952"/>
              <a:gd name="connsiteY96" fmla="*/ 4229100 h 4496940"/>
              <a:gd name="connsiteX97" fmla="*/ 1221127 w 4519952"/>
              <a:gd name="connsiteY97" fmla="*/ 4200525 h 4496940"/>
              <a:gd name="connsiteX98" fmla="*/ 1144927 w 4519952"/>
              <a:gd name="connsiteY98" fmla="*/ 4171950 h 4496940"/>
              <a:gd name="connsiteX99" fmla="*/ 1087777 w 4519952"/>
              <a:gd name="connsiteY99" fmla="*/ 4143375 h 4496940"/>
              <a:gd name="connsiteX100" fmla="*/ 1030627 w 4519952"/>
              <a:gd name="connsiteY100" fmla="*/ 4124325 h 4496940"/>
              <a:gd name="connsiteX101" fmla="*/ 925852 w 4519952"/>
              <a:gd name="connsiteY101" fmla="*/ 4067175 h 4496940"/>
              <a:gd name="connsiteX102" fmla="*/ 830602 w 4519952"/>
              <a:gd name="connsiteY102" fmla="*/ 3981450 h 4496940"/>
              <a:gd name="connsiteX103" fmla="*/ 763927 w 4519952"/>
              <a:gd name="connsiteY103" fmla="*/ 3914775 h 4496940"/>
              <a:gd name="connsiteX104" fmla="*/ 725827 w 4519952"/>
              <a:gd name="connsiteY104" fmla="*/ 3876675 h 4496940"/>
              <a:gd name="connsiteX105" fmla="*/ 697252 w 4519952"/>
              <a:gd name="connsiteY105" fmla="*/ 3838575 h 4496940"/>
              <a:gd name="connsiteX106" fmla="*/ 640102 w 4519952"/>
              <a:gd name="connsiteY106" fmla="*/ 3781425 h 4496940"/>
              <a:gd name="connsiteX107" fmla="*/ 611527 w 4519952"/>
              <a:gd name="connsiteY107" fmla="*/ 3733800 h 4496940"/>
              <a:gd name="connsiteX108" fmla="*/ 554377 w 4519952"/>
              <a:gd name="connsiteY108" fmla="*/ 3657600 h 4496940"/>
              <a:gd name="connsiteX109" fmla="*/ 525802 w 4519952"/>
              <a:gd name="connsiteY109" fmla="*/ 3609975 h 4496940"/>
              <a:gd name="connsiteX110" fmla="*/ 497227 w 4519952"/>
              <a:gd name="connsiteY110" fmla="*/ 3552825 h 4496940"/>
              <a:gd name="connsiteX111" fmla="*/ 440077 w 4519952"/>
              <a:gd name="connsiteY111" fmla="*/ 3495675 h 4496940"/>
              <a:gd name="connsiteX112" fmla="*/ 411502 w 4519952"/>
              <a:gd name="connsiteY112" fmla="*/ 3448050 h 4496940"/>
              <a:gd name="connsiteX113" fmla="*/ 278152 w 4519952"/>
              <a:gd name="connsiteY113" fmla="*/ 3257550 h 4496940"/>
              <a:gd name="connsiteX114" fmla="*/ 249577 w 4519952"/>
              <a:gd name="connsiteY114" fmla="*/ 3200400 h 4496940"/>
              <a:gd name="connsiteX115" fmla="*/ 240052 w 4519952"/>
              <a:gd name="connsiteY115" fmla="*/ 3162300 h 4496940"/>
              <a:gd name="connsiteX116" fmla="*/ 221002 w 4519952"/>
              <a:gd name="connsiteY116" fmla="*/ 3105150 h 4496940"/>
              <a:gd name="connsiteX117" fmla="*/ 173377 w 4519952"/>
              <a:gd name="connsiteY117" fmla="*/ 3019425 h 4496940"/>
              <a:gd name="connsiteX118" fmla="*/ 144802 w 4519952"/>
              <a:gd name="connsiteY118" fmla="*/ 2924175 h 4496940"/>
              <a:gd name="connsiteX119" fmla="*/ 68602 w 4519952"/>
              <a:gd name="connsiteY119" fmla="*/ 2724150 h 4496940"/>
              <a:gd name="connsiteX120" fmla="*/ 49552 w 4519952"/>
              <a:gd name="connsiteY120" fmla="*/ 2638425 h 4496940"/>
              <a:gd name="connsiteX121" fmla="*/ 40027 w 4519952"/>
              <a:gd name="connsiteY121" fmla="*/ 2562225 h 4496940"/>
              <a:gd name="connsiteX122" fmla="*/ 30502 w 4519952"/>
              <a:gd name="connsiteY122" fmla="*/ 2514600 h 4496940"/>
              <a:gd name="connsiteX123" fmla="*/ 11452 w 4519952"/>
              <a:gd name="connsiteY123" fmla="*/ 2400300 h 4496940"/>
              <a:gd name="connsiteX124" fmla="*/ 20977 w 4519952"/>
              <a:gd name="connsiteY124" fmla="*/ 1905000 h 4496940"/>
              <a:gd name="connsiteX125" fmla="*/ 30502 w 4519952"/>
              <a:gd name="connsiteY125" fmla="*/ 1838325 h 4496940"/>
              <a:gd name="connsiteX126" fmla="*/ 49552 w 4519952"/>
              <a:gd name="connsiteY126" fmla="*/ 1781175 h 4496940"/>
              <a:gd name="connsiteX127" fmla="*/ 59077 w 4519952"/>
              <a:gd name="connsiteY127" fmla="*/ 1743075 h 4496940"/>
              <a:gd name="connsiteX128" fmla="*/ 78127 w 4519952"/>
              <a:gd name="connsiteY128" fmla="*/ 1685925 h 4496940"/>
              <a:gd name="connsiteX129" fmla="*/ 87652 w 4519952"/>
              <a:gd name="connsiteY129" fmla="*/ 1638300 h 4496940"/>
              <a:gd name="connsiteX130" fmla="*/ 106702 w 4519952"/>
              <a:gd name="connsiteY130" fmla="*/ 1590675 h 4496940"/>
              <a:gd name="connsiteX131" fmla="*/ 135277 w 4519952"/>
              <a:gd name="connsiteY131" fmla="*/ 1504950 h 4496940"/>
              <a:gd name="connsiteX132" fmla="*/ 154327 w 4519952"/>
              <a:gd name="connsiteY132" fmla="*/ 1419225 h 4496940"/>
              <a:gd name="connsiteX133" fmla="*/ 230527 w 4519952"/>
              <a:gd name="connsiteY133" fmla="*/ 1276350 h 4496940"/>
              <a:gd name="connsiteX134" fmla="*/ 240052 w 4519952"/>
              <a:gd name="connsiteY134" fmla="*/ 1247775 h 4496940"/>
              <a:gd name="connsiteX135" fmla="*/ 268627 w 4519952"/>
              <a:gd name="connsiteY135" fmla="*/ 1200150 h 4496940"/>
              <a:gd name="connsiteX136" fmla="*/ 287677 w 4519952"/>
              <a:gd name="connsiteY136" fmla="*/ 1152525 h 4496940"/>
              <a:gd name="connsiteX137" fmla="*/ 316252 w 4519952"/>
              <a:gd name="connsiteY137" fmla="*/ 1114425 h 4496940"/>
              <a:gd name="connsiteX138" fmla="*/ 363877 w 4519952"/>
              <a:gd name="connsiteY138" fmla="*/ 1038225 h 4496940"/>
              <a:gd name="connsiteX139" fmla="*/ 382927 w 4519952"/>
              <a:gd name="connsiteY139" fmla="*/ 1009650 h 4496940"/>
              <a:gd name="connsiteX140" fmla="*/ 440077 w 4519952"/>
              <a:gd name="connsiteY140" fmla="*/ 904875 h 4496940"/>
              <a:gd name="connsiteX141" fmla="*/ 478177 w 4519952"/>
              <a:gd name="connsiteY141" fmla="*/ 857250 h 4496940"/>
              <a:gd name="connsiteX142" fmla="*/ 497227 w 4519952"/>
              <a:gd name="connsiteY142" fmla="*/ 828675 h 4496940"/>
              <a:gd name="connsiteX143" fmla="*/ 535327 w 4519952"/>
              <a:gd name="connsiteY143" fmla="*/ 800100 h 4496940"/>
              <a:gd name="connsiteX144" fmla="*/ 602002 w 4519952"/>
              <a:gd name="connsiteY144" fmla="*/ 733425 h 4496940"/>
              <a:gd name="connsiteX145" fmla="*/ 668677 w 4519952"/>
              <a:gd name="connsiteY145" fmla="*/ 676275 h 4496940"/>
              <a:gd name="connsiteX146" fmla="*/ 697252 w 4519952"/>
              <a:gd name="connsiteY146" fmla="*/ 657225 h 4496940"/>
              <a:gd name="connsiteX147" fmla="*/ 840127 w 4519952"/>
              <a:gd name="connsiteY147" fmla="*/ 533400 h 4496940"/>
              <a:gd name="connsiteX148" fmla="*/ 887752 w 4519952"/>
              <a:gd name="connsiteY148" fmla="*/ 504825 h 4496940"/>
              <a:gd name="connsiteX149" fmla="*/ 1167152 w 4519952"/>
              <a:gd name="connsiteY149" fmla="*/ 311150 h 4496940"/>
              <a:gd name="connsiteX150" fmla="*/ 1268752 w 4519952"/>
              <a:gd name="connsiteY150" fmla="*/ 285750 h 4496940"/>
              <a:gd name="connsiteX151" fmla="*/ 1411627 w 4519952"/>
              <a:gd name="connsiteY151" fmla="*/ 190500 h 4496940"/>
              <a:gd name="connsiteX152" fmla="*/ 1449727 w 4519952"/>
              <a:gd name="connsiteY152" fmla="*/ 161925 h 4496940"/>
              <a:gd name="connsiteX153" fmla="*/ 1525927 w 4519952"/>
              <a:gd name="connsiteY153" fmla="*/ 152400 h 4496940"/>
              <a:gd name="connsiteX154" fmla="*/ 1583077 w 4519952"/>
              <a:gd name="connsiteY154" fmla="*/ 142875 h 4496940"/>
              <a:gd name="connsiteX155" fmla="*/ 1716427 w 4519952"/>
              <a:gd name="connsiteY155" fmla="*/ 123825 h 4496940"/>
              <a:gd name="connsiteX156" fmla="*/ 1811677 w 4519952"/>
              <a:gd name="connsiteY156" fmla="*/ 114300 h 4496940"/>
              <a:gd name="connsiteX157" fmla="*/ 1859302 w 4519952"/>
              <a:gd name="connsiteY157" fmla="*/ 104775 h 4496940"/>
              <a:gd name="connsiteX158" fmla="*/ 1916452 w 4519952"/>
              <a:gd name="connsiteY158" fmla="*/ 95250 h 4496940"/>
              <a:gd name="connsiteX159" fmla="*/ 2030752 w 4519952"/>
              <a:gd name="connsiteY159" fmla="*/ 66675 h 4496940"/>
              <a:gd name="connsiteX160" fmla="*/ 2097427 w 4519952"/>
              <a:gd name="connsiteY160" fmla="*/ 47625 h 4496940"/>
              <a:gd name="connsiteX161" fmla="*/ 2164102 w 4519952"/>
              <a:gd name="connsiteY161" fmla="*/ 38100 h 4496940"/>
              <a:gd name="connsiteX162" fmla="*/ 2392702 w 4519952"/>
              <a:gd name="connsiteY162" fmla="*/ 28575 h 4496940"/>
              <a:gd name="connsiteX0" fmla="*/ 2297452 w 4519983"/>
              <a:gd name="connsiteY0" fmla="*/ 0 h 4496940"/>
              <a:gd name="connsiteX1" fmla="*/ 2421277 w 4519983"/>
              <a:gd name="connsiteY1" fmla="*/ 28575 h 4496940"/>
              <a:gd name="connsiteX2" fmla="*/ 2497477 w 4519983"/>
              <a:gd name="connsiteY2" fmla="*/ 47625 h 4496940"/>
              <a:gd name="connsiteX3" fmla="*/ 2754652 w 4519983"/>
              <a:gd name="connsiteY3" fmla="*/ 66675 h 4496940"/>
              <a:gd name="connsiteX4" fmla="*/ 2830852 w 4519983"/>
              <a:gd name="connsiteY4" fmla="*/ 76200 h 4496940"/>
              <a:gd name="connsiteX5" fmla="*/ 2916577 w 4519983"/>
              <a:gd name="connsiteY5" fmla="*/ 85725 h 4496940"/>
              <a:gd name="connsiteX6" fmla="*/ 2973727 w 4519983"/>
              <a:gd name="connsiteY6" fmla="*/ 114300 h 4496940"/>
              <a:gd name="connsiteX7" fmla="*/ 3011827 w 4519983"/>
              <a:gd name="connsiteY7" fmla="*/ 123825 h 4496940"/>
              <a:gd name="connsiteX8" fmla="*/ 3135652 w 4519983"/>
              <a:gd name="connsiteY8" fmla="*/ 171450 h 4496940"/>
              <a:gd name="connsiteX9" fmla="*/ 3173752 w 4519983"/>
              <a:gd name="connsiteY9" fmla="*/ 190500 h 4496940"/>
              <a:gd name="connsiteX10" fmla="*/ 3240427 w 4519983"/>
              <a:gd name="connsiteY10" fmla="*/ 228600 h 4496940"/>
              <a:gd name="connsiteX11" fmla="*/ 3269002 w 4519983"/>
              <a:gd name="connsiteY11" fmla="*/ 238125 h 4496940"/>
              <a:gd name="connsiteX12" fmla="*/ 3297577 w 4519983"/>
              <a:gd name="connsiteY12" fmla="*/ 257175 h 4496940"/>
              <a:gd name="connsiteX13" fmla="*/ 3326152 w 4519983"/>
              <a:gd name="connsiteY13" fmla="*/ 266700 h 4496940"/>
              <a:gd name="connsiteX14" fmla="*/ 3354727 w 4519983"/>
              <a:gd name="connsiteY14" fmla="*/ 285750 h 4496940"/>
              <a:gd name="connsiteX15" fmla="*/ 3421402 w 4519983"/>
              <a:gd name="connsiteY15" fmla="*/ 323850 h 4496940"/>
              <a:gd name="connsiteX16" fmla="*/ 3469027 w 4519983"/>
              <a:gd name="connsiteY16" fmla="*/ 361950 h 4496940"/>
              <a:gd name="connsiteX17" fmla="*/ 3516652 w 4519983"/>
              <a:gd name="connsiteY17" fmla="*/ 390525 h 4496940"/>
              <a:gd name="connsiteX18" fmla="*/ 3545227 w 4519983"/>
              <a:gd name="connsiteY18" fmla="*/ 419100 h 4496940"/>
              <a:gd name="connsiteX19" fmla="*/ 3602377 w 4519983"/>
              <a:gd name="connsiteY19" fmla="*/ 457200 h 4496940"/>
              <a:gd name="connsiteX20" fmla="*/ 3630952 w 4519983"/>
              <a:gd name="connsiteY20" fmla="*/ 485775 h 4496940"/>
              <a:gd name="connsiteX21" fmla="*/ 3678577 w 4519983"/>
              <a:gd name="connsiteY21" fmla="*/ 504825 h 4496940"/>
              <a:gd name="connsiteX22" fmla="*/ 3745252 w 4519983"/>
              <a:gd name="connsiteY22" fmla="*/ 542925 h 4496940"/>
              <a:gd name="connsiteX23" fmla="*/ 3811927 w 4519983"/>
              <a:gd name="connsiteY23" fmla="*/ 581025 h 4496940"/>
              <a:gd name="connsiteX24" fmla="*/ 3840502 w 4519983"/>
              <a:gd name="connsiteY24" fmla="*/ 600075 h 4496940"/>
              <a:gd name="connsiteX25" fmla="*/ 3869077 w 4519983"/>
              <a:gd name="connsiteY25" fmla="*/ 628650 h 4496940"/>
              <a:gd name="connsiteX26" fmla="*/ 3907177 w 4519983"/>
              <a:gd name="connsiteY26" fmla="*/ 647700 h 4496940"/>
              <a:gd name="connsiteX27" fmla="*/ 3935752 w 4519983"/>
              <a:gd name="connsiteY27" fmla="*/ 676275 h 4496940"/>
              <a:gd name="connsiteX28" fmla="*/ 3992902 w 4519983"/>
              <a:gd name="connsiteY28" fmla="*/ 714375 h 4496940"/>
              <a:gd name="connsiteX29" fmla="*/ 4050052 w 4519983"/>
              <a:gd name="connsiteY29" fmla="*/ 790575 h 4496940"/>
              <a:gd name="connsiteX30" fmla="*/ 4078627 w 4519983"/>
              <a:gd name="connsiteY30" fmla="*/ 838200 h 4496940"/>
              <a:gd name="connsiteX31" fmla="*/ 4107202 w 4519983"/>
              <a:gd name="connsiteY31" fmla="*/ 876300 h 4496940"/>
              <a:gd name="connsiteX32" fmla="*/ 4116727 w 4519983"/>
              <a:gd name="connsiteY32" fmla="*/ 904875 h 4496940"/>
              <a:gd name="connsiteX33" fmla="*/ 4135777 w 4519983"/>
              <a:gd name="connsiteY33" fmla="*/ 933450 h 4496940"/>
              <a:gd name="connsiteX34" fmla="*/ 4164352 w 4519983"/>
              <a:gd name="connsiteY34" fmla="*/ 990600 h 4496940"/>
              <a:gd name="connsiteX35" fmla="*/ 4173877 w 4519983"/>
              <a:gd name="connsiteY35" fmla="*/ 1019175 h 4496940"/>
              <a:gd name="connsiteX36" fmla="*/ 4192927 w 4519983"/>
              <a:gd name="connsiteY36" fmla="*/ 1057275 h 4496940"/>
              <a:gd name="connsiteX37" fmla="*/ 4202452 w 4519983"/>
              <a:gd name="connsiteY37" fmla="*/ 1085850 h 4496940"/>
              <a:gd name="connsiteX38" fmla="*/ 4250077 w 4519983"/>
              <a:gd name="connsiteY38" fmla="*/ 1143000 h 4496940"/>
              <a:gd name="connsiteX39" fmla="*/ 4259602 w 4519983"/>
              <a:gd name="connsiteY39" fmla="*/ 1190625 h 4496940"/>
              <a:gd name="connsiteX40" fmla="*/ 4307227 w 4519983"/>
              <a:gd name="connsiteY40" fmla="*/ 1266825 h 4496940"/>
              <a:gd name="connsiteX41" fmla="*/ 4345327 w 4519983"/>
              <a:gd name="connsiteY41" fmla="*/ 1362075 h 4496940"/>
              <a:gd name="connsiteX42" fmla="*/ 4373902 w 4519983"/>
              <a:gd name="connsiteY42" fmla="*/ 1428750 h 4496940"/>
              <a:gd name="connsiteX43" fmla="*/ 4392952 w 4519983"/>
              <a:gd name="connsiteY43" fmla="*/ 1552575 h 4496940"/>
              <a:gd name="connsiteX44" fmla="*/ 4402477 w 4519983"/>
              <a:gd name="connsiteY44" fmla="*/ 1590675 h 4496940"/>
              <a:gd name="connsiteX45" fmla="*/ 4431052 w 4519983"/>
              <a:gd name="connsiteY45" fmla="*/ 1685925 h 4496940"/>
              <a:gd name="connsiteX46" fmla="*/ 4519952 w 4519983"/>
              <a:gd name="connsiteY46" fmla="*/ 2181225 h 4496940"/>
              <a:gd name="connsiteX47" fmla="*/ 4440577 w 4519983"/>
              <a:gd name="connsiteY47" fmla="*/ 2876550 h 4496940"/>
              <a:gd name="connsiteX48" fmla="*/ 4383427 w 4519983"/>
              <a:gd name="connsiteY48" fmla="*/ 2990850 h 4496940"/>
              <a:gd name="connsiteX49" fmla="*/ 4354852 w 4519983"/>
              <a:gd name="connsiteY49" fmla="*/ 3057525 h 4496940"/>
              <a:gd name="connsiteX50" fmla="*/ 4335802 w 4519983"/>
              <a:gd name="connsiteY50" fmla="*/ 3095625 h 4496940"/>
              <a:gd name="connsiteX51" fmla="*/ 4278652 w 4519983"/>
              <a:gd name="connsiteY51" fmla="*/ 3248025 h 4496940"/>
              <a:gd name="connsiteX52" fmla="*/ 4259602 w 4519983"/>
              <a:gd name="connsiteY52" fmla="*/ 3276600 h 4496940"/>
              <a:gd name="connsiteX53" fmla="*/ 4221502 w 4519983"/>
              <a:gd name="connsiteY53" fmla="*/ 3333750 h 4496940"/>
              <a:gd name="connsiteX54" fmla="*/ 4211977 w 4519983"/>
              <a:gd name="connsiteY54" fmla="*/ 3362325 h 4496940"/>
              <a:gd name="connsiteX55" fmla="*/ 4183402 w 4519983"/>
              <a:gd name="connsiteY55" fmla="*/ 3400425 h 4496940"/>
              <a:gd name="connsiteX56" fmla="*/ 4164352 w 4519983"/>
              <a:gd name="connsiteY56" fmla="*/ 3429000 h 4496940"/>
              <a:gd name="connsiteX57" fmla="*/ 4088152 w 4519983"/>
              <a:gd name="connsiteY57" fmla="*/ 3495675 h 4496940"/>
              <a:gd name="connsiteX58" fmla="*/ 4059577 w 4519983"/>
              <a:gd name="connsiteY58" fmla="*/ 3533775 h 4496940"/>
              <a:gd name="connsiteX59" fmla="*/ 4002427 w 4519983"/>
              <a:gd name="connsiteY59" fmla="*/ 3600450 h 4496940"/>
              <a:gd name="connsiteX60" fmla="*/ 3983377 w 4519983"/>
              <a:gd name="connsiteY60" fmla="*/ 3629025 h 4496940"/>
              <a:gd name="connsiteX61" fmla="*/ 3954802 w 4519983"/>
              <a:gd name="connsiteY61" fmla="*/ 3648075 h 4496940"/>
              <a:gd name="connsiteX62" fmla="*/ 3907177 w 4519983"/>
              <a:gd name="connsiteY62" fmla="*/ 3686175 h 4496940"/>
              <a:gd name="connsiteX63" fmla="*/ 3869077 w 4519983"/>
              <a:gd name="connsiteY63" fmla="*/ 3724275 h 4496940"/>
              <a:gd name="connsiteX64" fmla="*/ 3792877 w 4519983"/>
              <a:gd name="connsiteY64" fmla="*/ 3781425 h 4496940"/>
              <a:gd name="connsiteX65" fmla="*/ 3783352 w 4519983"/>
              <a:gd name="connsiteY65" fmla="*/ 3810000 h 4496940"/>
              <a:gd name="connsiteX66" fmla="*/ 3745252 w 4519983"/>
              <a:gd name="connsiteY66" fmla="*/ 3819525 h 4496940"/>
              <a:gd name="connsiteX67" fmla="*/ 3678577 w 4519983"/>
              <a:gd name="connsiteY67" fmla="*/ 3848100 h 4496940"/>
              <a:gd name="connsiteX68" fmla="*/ 3659527 w 4519983"/>
              <a:gd name="connsiteY68" fmla="*/ 3971925 h 4496940"/>
              <a:gd name="connsiteX69" fmla="*/ 3630952 w 4519983"/>
              <a:gd name="connsiteY69" fmla="*/ 4010025 h 4496940"/>
              <a:gd name="connsiteX70" fmla="*/ 3621427 w 4519983"/>
              <a:gd name="connsiteY70" fmla="*/ 4038600 h 4496940"/>
              <a:gd name="connsiteX71" fmla="*/ 3554752 w 4519983"/>
              <a:gd name="connsiteY71" fmla="*/ 4095750 h 4496940"/>
              <a:gd name="connsiteX72" fmla="*/ 3516652 w 4519983"/>
              <a:gd name="connsiteY72" fmla="*/ 4114800 h 4496940"/>
              <a:gd name="connsiteX73" fmla="*/ 3497602 w 4519983"/>
              <a:gd name="connsiteY73" fmla="*/ 4143375 h 4496940"/>
              <a:gd name="connsiteX74" fmla="*/ 3383302 w 4519983"/>
              <a:gd name="connsiteY74" fmla="*/ 4210050 h 4496940"/>
              <a:gd name="connsiteX75" fmla="*/ 3335677 w 4519983"/>
              <a:gd name="connsiteY75" fmla="*/ 4238625 h 4496940"/>
              <a:gd name="connsiteX76" fmla="*/ 3288052 w 4519983"/>
              <a:gd name="connsiteY76" fmla="*/ 4248150 h 4496940"/>
              <a:gd name="connsiteX77" fmla="*/ 3240427 w 4519983"/>
              <a:gd name="connsiteY77" fmla="*/ 4267200 h 4496940"/>
              <a:gd name="connsiteX78" fmla="*/ 3068977 w 4519983"/>
              <a:gd name="connsiteY78" fmla="*/ 4286250 h 4496940"/>
              <a:gd name="connsiteX79" fmla="*/ 2935627 w 4519983"/>
              <a:gd name="connsiteY79" fmla="*/ 4333875 h 4496940"/>
              <a:gd name="connsiteX80" fmla="*/ 2811802 w 4519983"/>
              <a:gd name="connsiteY80" fmla="*/ 4371975 h 4496940"/>
              <a:gd name="connsiteX81" fmla="*/ 2745127 w 4519983"/>
              <a:gd name="connsiteY81" fmla="*/ 4410075 h 4496940"/>
              <a:gd name="connsiteX82" fmla="*/ 2697502 w 4519983"/>
              <a:gd name="connsiteY82" fmla="*/ 4429125 h 4496940"/>
              <a:gd name="connsiteX83" fmla="*/ 2640352 w 4519983"/>
              <a:gd name="connsiteY83" fmla="*/ 4457700 h 4496940"/>
              <a:gd name="connsiteX84" fmla="*/ 2583202 w 4519983"/>
              <a:gd name="connsiteY84" fmla="*/ 4467225 h 4496940"/>
              <a:gd name="connsiteX85" fmla="*/ 2545102 w 4519983"/>
              <a:gd name="connsiteY85" fmla="*/ 4486275 h 4496940"/>
              <a:gd name="connsiteX86" fmla="*/ 2306977 w 4519983"/>
              <a:gd name="connsiteY86" fmla="*/ 4476750 h 4496940"/>
              <a:gd name="connsiteX87" fmla="*/ 2202202 w 4519983"/>
              <a:gd name="connsiteY87" fmla="*/ 4457700 h 4496940"/>
              <a:gd name="connsiteX88" fmla="*/ 2126002 w 4519983"/>
              <a:gd name="connsiteY88" fmla="*/ 4429125 h 4496940"/>
              <a:gd name="connsiteX89" fmla="*/ 1935502 w 4519983"/>
              <a:gd name="connsiteY89" fmla="*/ 4400550 h 4496940"/>
              <a:gd name="connsiteX90" fmla="*/ 1821202 w 4519983"/>
              <a:gd name="connsiteY90" fmla="*/ 4371975 h 4496940"/>
              <a:gd name="connsiteX91" fmla="*/ 1754527 w 4519983"/>
              <a:gd name="connsiteY91" fmla="*/ 4352925 h 4496940"/>
              <a:gd name="connsiteX92" fmla="*/ 1687852 w 4519983"/>
              <a:gd name="connsiteY92" fmla="*/ 4343400 h 4496940"/>
              <a:gd name="connsiteX93" fmla="*/ 1573552 w 4519983"/>
              <a:gd name="connsiteY93" fmla="*/ 4305300 h 4496940"/>
              <a:gd name="connsiteX94" fmla="*/ 1402102 w 4519983"/>
              <a:gd name="connsiteY94" fmla="*/ 4276725 h 4496940"/>
              <a:gd name="connsiteX95" fmla="*/ 1287802 w 4519983"/>
              <a:gd name="connsiteY95" fmla="*/ 4229100 h 4496940"/>
              <a:gd name="connsiteX96" fmla="*/ 1221127 w 4519983"/>
              <a:gd name="connsiteY96" fmla="*/ 4200525 h 4496940"/>
              <a:gd name="connsiteX97" fmla="*/ 1144927 w 4519983"/>
              <a:gd name="connsiteY97" fmla="*/ 4171950 h 4496940"/>
              <a:gd name="connsiteX98" fmla="*/ 1087777 w 4519983"/>
              <a:gd name="connsiteY98" fmla="*/ 4143375 h 4496940"/>
              <a:gd name="connsiteX99" fmla="*/ 1030627 w 4519983"/>
              <a:gd name="connsiteY99" fmla="*/ 4124325 h 4496940"/>
              <a:gd name="connsiteX100" fmla="*/ 925852 w 4519983"/>
              <a:gd name="connsiteY100" fmla="*/ 4067175 h 4496940"/>
              <a:gd name="connsiteX101" fmla="*/ 830602 w 4519983"/>
              <a:gd name="connsiteY101" fmla="*/ 3981450 h 4496940"/>
              <a:gd name="connsiteX102" fmla="*/ 763927 w 4519983"/>
              <a:gd name="connsiteY102" fmla="*/ 3914775 h 4496940"/>
              <a:gd name="connsiteX103" fmla="*/ 725827 w 4519983"/>
              <a:gd name="connsiteY103" fmla="*/ 3876675 h 4496940"/>
              <a:gd name="connsiteX104" fmla="*/ 697252 w 4519983"/>
              <a:gd name="connsiteY104" fmla="*/ 3838575 h 4496940"/>
              <a:gd name="connsiteX105" fmla="*/ 640102 w 4519983"/>
              <a:gd name="connsiteY105" fmla="*/ 3781425 h 4496940"/>
              <a:gd name="connsiteX106" fmla="*/ 611527 w 4519983"/>
              <a:gd name="connsiteY106" fmla="*/ 3733800 h 4496940"/>
              <a:gd name="connsiteX107" fmla="*/ 554377 w 4519983"/>
              <a:gd name="connsiteY107" fmla="*/ 3657600 h 4496940"/>
              <a:gd name="connsiteX108" fmla="*/ 525802 w 4519983"/>
              <a:gd name="connsiteY108" fmla="*/ 3609975 h 4496940"/>
              <a:gd name="connsiteX109" fmla="*/ 497227 w 4519983"/>
              <a:gd name="connsiteY109" fmla="*/ 3552825 h 4496940"/>
              <a:gd name="connsiteX110" fmla="*/ 440077 w 4519983"/>
              <a:gd name="connsiteY110" fmla="*/ 3495675 h 4496940"/>
              <a:gd name="connsiteX111" fmla="*/ 411502 w 4519983"/>
              <a:gd name="connsiteY111" fmla="*/ 3448050 h 4496940"/>
              <a:gd name="connsiteX112" fmla="*/ 278152 w 4519983"/>
              <a:gd name="connsiteY112" fmla="*/ 3257550 h 4496940"/>
              <a:gd name="connsiteX113" fmla="*/ 249577 w 4519983"/>
              <a:gd name="connsiteY113" fmla="*/ 3200400 h 4496940"/>
              <a:gd name="connsiteX114" fmla="*/ 240052 w 4519983"/>
              <a:gd name="connsiteY114" fmla="*/ 3162300 h 4496940"/>
              <a:gd name="connsiteX115" fmla="*/ 221002 w 4519983"/>
              <a:gd name="connsiteY115" fmla="*/ 3105150 h 4496940"/>
              <a:gd name="connsiteX116" fmla="*/ 173377 w 4519983"/>
              <a:gd name="connsiteY116" fmla="*/ 3019425 h 4496940"/>
              <a:gd name="connsiteX117" fmla="*/ 144802 w 4519983"/>
              <a:gd name="connsiteY117" fmla="*/ 2924175 h 4496940"/>
              <a:gd name="connsiteX118" fmla="*/ 68602 w 4519983"/>
              <a:gd name="connsiteY118" fmla="*/ 2724150 h 4496940"/>
              <a:gd name="connsiteX119" fmla="*/ 49552 w 4519983"/>
              <a:gd name="connsiteY119" fmla="*/ 2638425 h 4496940"/>
              <a:gd name="connsiteX120" fmla="*/ 40027 w 4519983"/>
              <a:gd name="connsiteY120" fmla="*/ 2562225 h 4496940"/>
              <a:gd name="connsiteX121" fmla="*/ 30502 w 4519983"/>
              <a:gd name="connsiteY121" fmla="*/ 2514600 h 4496940"/>
              <a:gd name="connsiteX122" fmla="*/ 11452 w 4519983"/>
              <a:gd name="connsiteY122" fmla="*/ 2400300 h 4496940"/>
              <a:gd name="connsiteX123" fmla="*/ 20977 w 4519983"/>
              <a:gd name="connsiteY123" fmla="*/ 1905000 h 4496940"/>
              <a:gd name="connsiteX124" fmla="*/ 30502 w 4519983"/>
              <a:gd name="connsiteY124" fmla="*/ 1838325 h 4496940"/>
              <a:gd name="connsiteX125" fmla="*/ 49552 w 4519983"/>
              <a:gd name="connsiteY125" fmla="*/ 1781175 h 4496940"/>
              <a:gd name="connsiteX126" fmla="*/ 59077 w 4519983"/>
              <a:gd name="connsiteY126" fmla="*/ 1743075 h 4496940"/>
              <a:gd name="connsiteX127" fmla="*/ 78127 w 4519983"/>
              <a:gd name="connsiteY127" fmla="*/ 1685925 h 4496940"/>
              <a:gd name="connsiteX128" fmla="*/ 87652 w 4519983"/>
              <a:gd name="connsiteY128" fmla="*/ 1638300 h 4496940"/>
              <a:gd name="connsiteX129" fmla="*/ 106702 w 4519983"/>
              <a:gd name="connsiteY129" fmla="*/ 1590675 h 4496940"/>
              <a:gd name="connsiteX130" fmla="*/ 135277 w 4519983"/>
              <a:gd name="connsiteY130" fmla="*/ 1504950 h 4496940"/>
              <a:gd name="connsiteX131" fmla="*/ 154327 w 4519983"/>
              <a:gd name="connsiteY131" fmla="*/ 1419225 h 4496940"/>
              <a:gd name="connsiteX132" fmla="*/ 230527 w 4519983"/>
              <a:gd name="connsiteY132" fmla="*/ 1276350 h 4496940"/>
              <a:gd name="connsiteX133" fmla="*/ 240052 w 4519983"/>
              <a:gd name="connsiteY133" fmla="*/ 1247775 h 4496940"/>
              <a:gd name="connsiteX134" fmla="*/ 268627 w 4519983"/>
              <a:gd name="connsiteY134" fmla="*/ 1200150 h 4496940"/>
              <a:gd name="connsiteX135" fmla="*/ 287677 w 4519983"/>
              <a:gd name="connsiteY135" fmla="*/ 1152525 h 4496940"/>
              <a:gd name="connsiteX136" fmla="*/ 316252 w 4519983"/>
              <a:gd name="connsiteY136" fmla="*/ 1114425 h 4496940"/>
              <a:gd name="connsiteX137" fmla="*/ 363877 w 4519983"/>
              <a:gd name="connsiteY137" fmla="*/ 1038225 h 4496940"/>
              <a:gd name="connsiteX138" fmla="*/ 382927 w 4519983"/>
              <a:gd name="connsiteY138" fmla="*/ 1009650 h 4496940"/>
              <a:gd name="connsiteX139" fmla="*/ 440077 w 4519983"/>
              <a:gd name="connsiteY139" fmla="*/ 904875 h 4496940"/>
              <a:gd name="connsiteX140" fmla="*/ 478177 w 4519983"/>
              <a:gd name="connsiteY140" fmla="*/ 857250 h 4496940"/>
              <a:gd name="connsiteX141" fmla="*/ 497227 w 4519983"/>
              <a:gd name="connsiteY141" fmla="*/ 828675 h 4496940"/>
              <a:gd name="connsiteX142" fmla="*/ 535327 w 4519983"/>
              <a:gd name="connsiteY142" fmla="*/ 800100 h 4496940"/>
              <a:gd name="connsiteX143" fmla="*/ 602002 w 4519983"/>
              <a:gd name="connsiteY143" fmla="*/ 733425 h 4496940"/>
              <a:gd name="connsiteX144" fmla="*/ 668677 w 4519983"/>
              <a:gd name="connsiteY144" fmla="*/ 676275 h 4496940"/>
              <a:gd name="connsiteX145" fmla="*/ 697252 w 4519983"/>
              <a:gd name="connsiteY145" fmla="*/ 657225 h 4496940"/>
              <a:gd name="connsiteX146" fmla="*/ 840127 w 4519983"/>
              <a:gd name="connsiteY146" fmla="*/ 533400 h 4496940"/>
              <a:gd name="connsiteX147" fmla="*/ 887752 w 4519983"/>
              <a:gd name="connsiteY147" fmla="*/ 504825 h 4496940"/>
              <a:gd name="connsiteX148" fmla="*/ 1167152 w 4519983"/>
              <a:gd name="connsiteY148" fmla="*/ 311150 h 4496940"/>
              <a:gd name="connsiteX149" fmla="*/ 1268752 w 4519983"/>
              <a:gd name="connsiteY149" fmla="*/ 285750 h 4496940"/>
              <a:gd name="connsiteX150" fmla="*/ 1411627 w 4519983"/>
              <a:gd name="connsiteY150" fmla="*/ 190500 h 4496940"/>
              <a:gd name="connsiteX151" fmla="*/ 1449727 w 4519983"/>
              <a:gd name="connsiteY151" fmla="*/ 161925 h 4496940"/>
              <a:gd name="connsiteX152" fmla="*/ 1525927 w 4519983"/>
              <a:gd name="connsiteY152" fmla="*/ 152400 h 4496940"/>
              <a:gd name="connsiteX153" fmla="*/ 1583077 w 4519983"/>
              <a:gd name="connsiteY153" fmla="*/ 142875 h 4496940"/>
              <a:gd name="connsiteX154" fmla="*/ 1716427 w 4519983"/>
              <a:gd name="connsiteY154" fmla="*/ 123825 h 4496940"/>
              <a:gd name="connsiteX155" fmla="*/ 1811677 w 4519983"/>
              <a:gd name="connsiteY155" fmla="*/ 114300 h 4496940"/>
              <a:gd name="connsiteX156" fmla="*/ 1859302 w 4519983"/>
              <a:gd name="connsiteY156" fmla="*/ 104775 h 4496940"/>
              <a:gd name="connsiteX157" fmla="*/ 1916452 w 4519983"/>
              <a:gd name="connsiteY157" fmla="*/ 95250 h 4496940"/>
              <a:gd name="connsiteX158" fmla="*/ 2030752 w 4519983"/>
              <a:gd name="connsiteY158" fmla="*/ 66675 h 4496940"/>
              <a:gd name="connsiteX159" fmla="*/ 2097427 w 4519983"/>
              <a:gd name="connsiteY159" fmla="*/ 47625 h 4496940"/>
              <a:gd name="connsiteX160" fmla="*/ 2164102 w 4519983"/>
              <a:gd name="connsiteY160" fmla="*/ 38100 h 4496940"/>
              <a:gd name="connsiteX161" fmla="*/ 2392702 w 4519983"/>
              <a:gd name="connsiteY16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354852 w 4519987"/>
              <a:gd name="connsiteY49" fmla="*/ 3057525 h 4496940"/>
              <a:gd name="connsiteX50" fmla="*/ 4335802 w 4519987"/>
              <a:gd name="connsiteY50" fmla="*/ 3095625 h 4496940"/>
              <a:gd name="connsiteX51" fmla="*/ 4278652 w 4519987"/>
              <a:gd name="connsiteY51" fmla="*/ 3248025 h 4496940"/>
              <a:gd name="connsiteX52" fmla="*/ 4259602 w 4519987"/>
              <a:gd name="connsiteY52" fmla="*/ 3276600 h 4496940"/>
              <a:gd name="connsiteX53" fmla="*/ 4221502 w 4519987"/>
              <a:gd name="connsiteY53" fmla="*/ 3333750 h 4496940"/>
              <a:gd name="connsiteX54" fmla="*/ 4211977 w 4519987"/>
              <a:gd name="connsiteY54" fmla="*/ 3362325 h 4496940"/>
              <a:gd name="connsiteX55" fmla="*/ 4183402 w 4519987"/>
              <a:gd name="connsiteY55" fmla="*/ 3400425 h 4496940"/>
              <a:gd name="connsiteX56" fmla="*/ 4164352 w 4519987"/>
              <a:gd name="connsiteY56" fmla="*/ 3429000 h 4496940"/>
              <a:gd name="connsiteX57" fmla="*/ 4088152 w 4519987"/>
              <a:gd name="connsiteY57" fmla="*/ 3495675 h 4496940"/>
              <a:gd name="connsiteX58" fmla="*/ 4059577 w 4519987"/>
              <a:gd name="connsiteY58" fmla="*/ 3533775 h 4496940"/>
              <a:gd name="connsiteX59" fmla="*/ 4002427 w 4519987"/>
              <a:gd name="connsiteY59" fmla="*/ 3600450 h 4496940"/>
              <a:gd name="connsiteX60" fmla="*/ 3983377 w 4519987"/>
              <a:gd name="connsiteY60" fmla="*/ 3629025 h 4496940"/>
              <a:gd name="connsiteX61" fmla="*/ 3954802 w 4519987"/>
              <a:gd name="connsiteY61" fmla="*/ 3648075 h 4496940"/>
              <a:gd name="connsiteX62" fmla="*/ 3907177 w 4519987"/>
              <a:gd name="connsiteY62" fmla="*/ 3686175 h 4496940"/>
              <a:gd name="connsiteX63" fmla="*/ 3869077 w 4519987"/>
              <a:gd name="connsiteY63" fmla="*/ 3724275 h 4496940"/>
              <a:gd name="connsiteX64" fmla="*/ 3792877 w 4519987"/>
              <a:gd name="connsiteY64" fmla="*/ 3781425 h 4496940"/>
              <a:gd name="connsiteX65" fmla="*/ 3783352 w 4519987"/>
              <a:gd name="connsiteY65" fmla="*/ 3810000 h 4496940"/>
              <a:gd name="connsiteX66" fmla="*/ 3745252 w 4519987"/>
              <a:gd name="connsiteY66" fmla="*/ 3819525 h 4496940"/>
              <a:gd name="connsiteX67" fmla="*/ 3678577 w 4519987"/>
              <a:gd name="connsiteY67" fmla="*/ 3848100 h 4496940"/>
              <a:gd name="connsiteX68" fmla="*/ 3659527 w 4519987"/>
              <a:gd name="connsiteY68" fmla="*/ 3971925 h 4496940"/>
              <a:gd name="connsiteX69" fmla="*/ 3630952 w 4519987"/>
              <a:gd name="connsiteY69" fmla="*/ 4010025 h 4496940"/>
              <a:gd name="connsiteX70" fmla="*/ 3621427 w 4519987"/>
              <a:gd name="connsiteY70" fmla="*/ 4038600 h 4496940"/>
              <a:gd name="connsiteX71" fmla="*/ 3554752 w 4519987"/>
              <a:gd name="connsiteY71" fmla="*/ 4095750 h 4496940"/>
              <a:gd name="connsiteX72" fmla="*/ 3516652 w 4519987"/>
              <a:gd name="connsiteY72" fmla="*/ 4114800 h 4496940"/>
              <a:gd name="connsiteX73" fmla="*/ 3497602 w 4519987"/>
              <a:gd name="connsiteY73" fmla="*/ 4143375 h 4496940"/>
              <a:gd name="connsiteX74" fmla="*/ 3383302 w 4519987"/>
              <a:gd name="connsiteY74" fmla="*/ 4210050 h 4496940"/>
              <a:gd name="connsiteX75" fmla="*/ 3335677 w 4519987"/>
              <a:gd name="connsiteY75" fmla="*/ 4238625 h 4496940"/>
              <a:gd name="connsiteX76" fmla="*/ 3288052 w 4519987"/>
              <a:gd name="connsiteY76" fmla="*/ 4248150 h 4496940"/>
              <a:gd name="connsiteX77" fmla="*/ 3240427 w 4519987"/>
              <a:gd name="connsiteY77" fmla="*/ 4267200 h 4496940"/>
              <a:gd name="connsiteX78" fmla="*/ 3068977 w 4519987"/>
              <a:gd name="connsiteY78" fmla="*/ 4286250 h 4496940"/>
              <a:gd name="connsiteX79" fmla="*/ 2935627 w 4519987"/>
              <a:gd name="connsiteY79" fmla="*/ 4333875 h 4496940"/>
              <a:gd name="connsiteX80" fmla="*/ 2811802 w 4519987"/>
              <a:gd name="connsiteY80" fmla="*/ 4371975 h 4496940"/>
              <a:gd name="connsiteX81" fmla="*/ 2745127 w 4519987"/>
              <a:gd name="connsiteY81" fmla="*/ 4410075 h 4496940"/>
              <a:gd name="connsiteX82" fmla="*/ 2697502 w 4519987"/>
              <a:gd name="connsiteY82" fmla="*/ 4429125 h 4496940"/>
              <a:gd name="connsiteX83" fmla="*/ 2640352 w 4519987"/>
              <a:gd name="connsiteY83" fmla="*/ 4457700 h 4496940"/>
              <a:gd name="connsiteX84" fmla="*/ 2583202 w 4519987"/>
              <a:gd name="connsiteY84" fmla="*/ 4467225 h 4496940"/>
              <a:gd name="connsiteX85" fmla="*/ 2545102 w 4519987"/>
              <a:gd name="connsiteY85" fmla="*/ 4486275 h 4496940"/>
              <a:gd name="connsiteX86" fmla="*/ 2306977 w 4519987"/>
              <a:gd name="connsiteY86" fmla="*/ 4476750 h 4496940"/>
              <a:gd name="connsiteX87" fmla="*/ 2202202 w 4519987"/>
              <a:gd name="connsiteY87" fmla="*/ 4457700 h 4496940"/>
              <a:gd name="connsiteX88" fmla="*/ 2126002 w 4519987"/>
              <a:gd name="connsiteY88" fmla="*/ 4429125 h 4496940"/>
              <a:gd name="connsiteX89" fmla="*/ 1935502 w 4519987"/>
              <a:gd name="connsiteY89" fmla="*/ 4400550 h 4496940"/>
              <a:gd name="connsiteX90" fmla="*/ 1821202 w 4519987"/>
              <a:gd name="connsiteY90" fmla="*/ 4371975 h 4496940"/>
              <a:gd name="connsiteX91" fmla="*/ 1754527 w 4519987"/>
              <a:gd name="connsiteY91" fmla="*/ 4352925 h 4496940"/>
              <a:gd name="connsiteX92" fmla="*/ 1687852 w 4519987"/>
              <a:gd name="connsiteY92" fmla="*/ 4343400 h 4496940"/>
              <a:gd name="connsiteX93" fmla="*/ 1573552 w 4519987"/>
              <a:gd name="connsiteY93" fmla="*/ 4305300 h 4496940"/>
              <a:gd name="connsiteX94" fmla="*/ 1402102 w 4519987"/>
              <a:gd name="connsiteY94" fmla="*/ 4276725 h 4496940"/>
              <a:gd name="connsiteX95" fmla="*/ 1287802 w 4519987"/>
              <a:gd name="connsiteY95" fmla="*/ 4229100 h 4496940"/>
              <a:gd name="connsiteX96" fmla="*/ 1221127 w 4519987"/>
              <a:gd name="connsiteY96" fmla="*/ 4200525 h 4496940"/>
              <a:gd name="connsiteX97" fmla="*/ 1144927 w 4519987"/>
              <a:gd name="connsiteY97" fmla="*/ 4171950 h 4496940"/>
              <a:gd name="connsiteX98" fmla="*/ 1087777 w 4519987"/>
              <a:gd name="connsiteY98" fmla="*/ 4143375 h 4496940"/>
              <a:gd name="connsiteX99" fmla="*/ 1030627 w 4519987"/>
              <a:gd name="connsiteY99" fmla="*/ 4124325 h 4496940"/>
              <a:gd name="connsiteX100" fmla="*/ 925852 w 4519987"/>
              <a:gd name="connsiteY100" fmla="*/ 4067175 h 4496940"/>
              <a:gd name="connsiteX101" fmla="*/ 830602 w 4519987"/>
              <a:gd name="connsiteY101" fmla="*/ 3981450 h 4496940"/>
              <a:gd name="connsiteX102" fmla="*/ 763927 w 4519987"/>
              <a:gd name="connsiteY102" fmla="*/ 3914775 h 4496940"/>
              <a:gd name="connsiteX103" fmla="*/ 725827 w 4519987"/>
              <a:gd name="connsiteY103" fmla="*/ 3876675 h 4496940"/>
              <a:gd name="connsiteX104" fmla="*/ 697252 w 4519987"/>
              <a:gd name="connsiteY104" fmla="*/ 3838575 h 4496940"/>
              <a:gd name="connsiteX105" fmla="*/ 640102 w 4519987"/>
              <a:gd name="connsiteY105" fmla="*/ 3781425 h 4496940"/>
              <a:gd name="connsiteX106" fmla="*/ 611527 w 4519987"/>
              <a:gd name="connsiteY106" fmla="*/ 3733800 h 4496940"/>
              <a:gd name="connsiteX107" fmla="*/ 554377 w 4519987"/>
              <a:gd name="connsiteY107" fmla="*/ 3657600 h 4496940"/>
              <a:gd name="connsiteX108" fmla="*/ 525802 w 4519987"/>
              <a:gd name="connsiteY108" fmla="*/ 3609975 h 4496940"/>
              <a:gd name="connsiteX109" fmla="*/ 497227 w 4519987"/>
              <a:gd name="connsiteY109" fmla="*/ 3552825 h 4496940"/>
              <a:gd name="connsiteX110" fmla="*/ 440077 w 4519987"/>
              <a:gd name="connsiteY110" fmla="*/ 3495675 h 4496940"/>
              <a:gd name="connsiteX111" fmla="*/ 411502 w 4519987"/>
              <a:gd name="connsiteY111" fmla="*/ 3448050 h 4496940"/>
              <a:gd name="connsiteX112" fmla="*/ 278152 w 4519987"/>
              <a:gd name="connsiteY112" fmla="*/ 3257550 h 4496940"/>
              <a:gd name="connsiteX113" fmla="*/ 249577 w 4519987"/>
              <a:gd name="connsiteY113" fmla="*/ 3200400 h 4496940"/>
              <a:gd name="connsiteX114" fmla="*/ 240052 w 4519987"/>
              <a:gd name="connsiteY114" fmla="*/ 3162300 h 4496940"/>
              <a:gd name="connsiteX115" fmla="*/ 221002 w 4519987"/>
              <a:gd name="connsiteY115" fmla="*/ 3105150 h 4496940"/>
              <a:gd name="connsiteX116" fmla="*/ 173377 w 4519987"/>
              <a:gd name="connsiteY116" fmla="*/ 3019425 h 4496940"/>
              <a:gd name="connsiteX117" fmla="*/ 144802 w 4519987"/>
              <a:gd name="connsiteY117" fmla="*/ 2924175 h 4496940"/>
              <a:gd name="connsiteX118" fmla="*/ 68602 w 4519987"/>
              <a:gd name="connsiteY118" fmla="*/ 2724150 h 4496940"/>
              <a:gd name="connsiteX119" fmla="*/ 49552 w 4519987"/>
              <a:gd name="connsiteY119" fmla="*/ 2638425 h 4496940"/>
              <a:gd name="connsiteX120" fmla="*/ 40027 w 4519987"/>
              <a:gd name="connsiteY120" fmla="*/ 2562225 h 4496940"/>
              <a:gd name="connsiteX121" fmla="*/ 30502 w 4519987"/>
              <a:gd name="connsiteY121" fmla="*/ 2514600 h 4496940"/>
              <a:gd name="connsiteX122" fmla="*/ 11452 w 4519987"/>
              <a:gd name="connsiteY122" fmla="*/ 2400300 h 4496940"/>
              <a:gd name="connsiteX123" fmla="*/ 20977 w 4519987"/>
              <a:gd name="connsiteY123" fmla="*/ 1905000 h 4496940"/>
              <a:gd name="connsiteX124" fmla="*/ 30502 w 4519987"/>
              <a:gd name="connsiteY124" fmla="*/ 1838325 h 4496940"/>
              <a:gd name="connsiteX125" fmla="*/ 49552 w 4519987"/>
              <a:gd name="connsiteY125" fmla="*/ 1781175 h 4496940"/>
              <a:gd name="connsiteX126" fmla="*/ 59077 w 4519987"/>
              <a:gd name="connsiteY126" fmla="*/ 1743075 h 4496940"/>
              <a:gd name="connsiteX127" fmla="*/ 78127 w 4519987"/>
              <a:gd name="connsiteY127" fmla="*/ 1685925 h 4496940"/>
              <a:gd name="connsiteX128" fmla="*/ 87652 w 4519987"/>
              <a:gd name="connsiteY128" fmla="*/ 1638300 h 4496940"/>
              <a:gd name="connsiteX129" fmla="*/ 106702 w 4519987"/>
              <a:gd name="connsiteY129" fmla="*/ 1590675 h 4496940"/>
              <a:gd name="connsiteX130" fmla="*/ 135277 w 4519987"/>
              <a:gd name="connsiteY130" fmla="*/ 1504950 h 4496940"/>
              <a:gd name="connsiteX131" fmla="*/ 154327 w 4519987"/>
              <a:gd name="connsiteY131" fmla="*/ 1419225 h 4496940"/>
              <a:gd name="connsiteX132" fmla="*/ 230527 w 4519987"/>
              <a:gd name="connsiteY132" fmla="*/ 1276350 h 4496940"/>
              <a:gd name="connsiteX133" fmla="*/ 240052 w 4519987"/>
              <a:gd name="connsiteY133" fmla="*/ 1247775 h 4496940"/>
              <a:gd name="connsiteX134" fmla="*/ 268627 w 4519987"/>
              <a:gd name="connsiteY134" fmla="*/ 1200150 h 4496940"/>
              <a:gd name="connsiteX135" fmla="*/ 287677 w 4519987"/>
              <a:gd name="connsiteY135" fmla="*/ 1152525 h 4496940"/>
              <a:gd name="connsiteX136" fmla="*/ 316252 w 4519987"/>
              <a:gd name="connsiteY136" fmla="*/ 1114425 h 4496940"/>
              <a:gd name="connsiteX137" fmla="*/ 363877 w 4519987"/>
              <a:gd name="connsiteY137" fmla="*/ 1038225 h 4496940"/>
              <a:gd name="connsiteX138" fmla="*/ 382927 w 4519987"/>
              <a:gd name="connsiteY138" fmla="*/ 1009650 h 4496940"/>
              <a:gd name="connsiteX139" fmla="*/ 440077 w 4519987"/>
              <a:gd name="connsiteY139" fmla="*/ 904875 h 4496940"/>
              <a:gd name="connsiteX140" fmla="*/ 478177 w 4519987"/>
              <a:gd name="connsiteY140" fmla="*/ 857250 h 4496940"/>
              <a:gd name="connsiteX141" fmla="*/ 497227 w 4519987"/>
              <a:gd name="connsiteY141" fmla="*/ 828675 h 4496940"/>
              <a:gd name="connsiteX142" fmla="*/ 535327 w 4519987"/>
              <a:gd name="connsiteY142" fmla="*/ 800100 h 4496940"/>
              <a:gd name="connsiteX143" fmla="*/ 602002 w 4519987"/>
              <a:gd name="connsiteY143" fmla="*/ 733425 h 4496940"/>
              <a:gd name="connsiteX144" fmla="*/ 668677 w 4519987"/>
              <a:gd name="connsiteY144" fmla="*/ 676275 h 4496940"/>
              <a:gd name="connsiteX145" fmla="*/ 697252 w 4519987"/>
              <a:gd name="connsiteY145" fmla="*/ 657225 h 4496940"/>
              <a:gd name="connsiteX146" fmla="*/ 840127 w 4519987"/>
              <a:gd name="connsiteY146" fmla="*/ 533400 h 4496940"/>
              <a:gd name="connsiteX147" fmla="*/ 887752 w 4519987"/>
              <a:gd name="connsiteY147" fmla="*/ 504825 h 4496940"/>
              <a:gd name="connsiteX148" fmla="*/ 1167152 w 4519987"/>
              <a:gd name="connsiteY148" fmla="*/ 311150 h 4496940"/>
              <a:gd name="connsiteX149" fmla="*/ 1268752 w 4519987"/>
              <a:gd name="connsiteY149" fmla="*/ 285750 h 4496940"/>
              <a:gd name="connsiteX150" fmla="*/ 1411627 w 4519987"/>
              <a:gd name="connsiteY150" fmla="*/ 190500 h 4496940"/>
              <a:gd name="connsiteX151" fmla="*/ 1449727 w 4519987"/>
              <a:gd name="connsiteY151" fmla="*/ 161925 h 4496940"/>
              <a:gd name="connsiteX152" fmla="*/ 1525927 w 4519987"/>
              <a:gd name="connsiteY152" fmla="*/ 152400 h 4496940"/>
              <a:gd name="connsiteX153" fmla="*/ 1583077 w 4519987"/>
              <a:gd name="connsiteY153" fmla="*/ 142875 h 4496940"/>
              <a:gd name="connsiteX154" fmla="*/ 1716427 w 4519987"/>
              <a:gd name="connsiteY154" fmla="*/ 123825 h 4496940"/>
              <a:gd name="connsiteX155" fmla="*/ 1811677 w 4519987"/>
              <a:gd name="connsiteY155" fmla="*/ 114300 h 4496940"/>
              <a:gd name="connsiteX156" fmla="*/ 1859302 w 4519987"/>
              <a:gd name="connsiteY156" fmla="*/ 104775 h 4496940"/>
              <a:gd name="connsiteX157" fmla="*/ 1916452 w 4519987"/>
              <a:gd name="connsiteY157" fmla="*/ 95250 h 4496940"/>
              <a:gd name="connsiteX158" fmla="*/ 2030752 w 4519987"/>
              <a:gd name="connsiteY158" fmla="*/ 66675 h 4496940"/>
              <a:gd name="connsiteX159" fmla="*/ 2097427 w 4519987"/>
              <a:gd name="connsiteY159" fmla="*/ 47625 h 4496940"/>
              <a:gd name="connsiteX160" fmla="*/ 2164102 w 4519987"/>
              <a:gd name="connsiteY160" fmla="*/ 38100 h 4496940"/>
              <a:gd name="connsiteX161" fmla="*/ 2392702 w 4519987"/>
              <a:gd name="connsiteY16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354852 w 4519987"/>
              <a:gd name="connsiteY49" fmla="*/ 3057525 h 4496940"/>
              <a:gd name="connsiteX50" fmla="*/ 4278652 w 4519987"/>
              <a:gd name="connsiteY50" fmla="*/ 3248025 h 4496940"/>
              <a:gd name="connsiteX51" fmla="*/ 4259602 w 4519987"/>
              <a:gd name="connsiteY51" fmla="*/ 3276600 h 4496940"/>
              <a:gd name="connsiteX52" fmla="*/ 4221502 w 4519987"/>
              <a:gd name="connsiteY52" fmla="*/ 3333750 h 4496940"/>
              <a:gd name="connsiteX53" fmla="*/ 4211977 w 4519987"/>
              <a:gd name="connsiteY53" fmla="*/ 3362325 h 4496940"/>
              <a:gd name="connsiteX54" fmla="*/ 4183402 w 4519987"/>
              <a:gd name="connsiteY54" fmla="*/ 3400425 h 4496940"/>
              <a:gd name="connsiteX55" fmla="*/ 4164352 w 4519987"/>
              <a:gd name="connsiteY55" fmla="*/ 3429000 h 4496940"/>
              <a:gd name="connsiteX56" fmla="*/ 4088152 w 4519987"/>
              <a:gd name="connsiteY56" fmla="*/ 3495675 h 4496940"/>
              <a:gd name="connsiteX57" fmla="*/ 4059577 w 4519987"/>
              <a:gd name="connsiteY57" fmla="*/ 3533775 h 4496940"/>
              <a:gd name="connsiteX58" fmla="*/ 4002427 w 4519987"/>
              <a:gd name="connsiteY58" fmla="*/ 3600450 h 4496940"/>
              <a:gd name="connsiteX59" fmla="*/ 3983377 w 4519987"/>
              <a:gd name="connsiteY59" fmla="*/ 3629025 h 4496940"/>
              <a:gd name="connsiteX60" fmla="*/ 3954802 w 4519987"/>
              <a:gd name="connsiteY60" fmla="*/ 3648075 h 4496940"/>
              <a:gd name="connsiteX61" fmla="*/ 3907177 w 4519987"/>
              <a:gd name="connsiteY61" fmla="*/ 3686175 h 4496940"/>
              <a:gd name="connsiteX62" fmla="*/ 3869077 w 4519987"/>
              <a:gd name="connsiteY62" fmla="*/ 3724275 h 4496940"/>
              <a:gd name="connsiteX63" fmla="*/ 3792877 w 4519987"/>
              <a:gd name="connsiteY63" fmla="*/ 3781425 h 4496940"/>
              <a:gd name="connsiteX64" fmla="*/ 3783352 w 4519987"/>
              <a:gd name="connsiteY64" fmla="*/ 3810000 h 4496940"/>
              <a:gd name="connsiteX65" fmla="*/ 3745252 w 4519987"/>
              <a:gd name="connsiteY65" fmla="*/ 3819525 h 4496940"/>
              <a:gd name="connsiteX66" fmla="*/ 3678577 w 4519987"/>
              <a:gd name="connsiteY66" fmla="*/ 3848100 h 4496940"/>
              <a:gd name="connsiteX67" fmla="*/ 3659527 w 4519987"/>
              <a:gd name="connsiteY67" fmla="*/ 3971925 h 4496940"/>
              <a:gd name="connsiteX68" fmla="*/ 3630952 w 4519987"/>
              <a:gd name="connsiteY68" fmla="*/ 4010025 h 4496940"/>
              <a:gd name="connsiteX69" fmla="*/ 3621427 w 4519987"/>
              <a:gd name="connsiteY69" fmla="*/ 4038600 h 4496940"/>
              <a:gd name="connsiteX70" fmla="*/ 3554752 w 4519987"/>
              <a:gd name="connsiteY70" fmla="*/ 4095750 h 4496940"/>
              <a:gd name="connsiteX71" fmla="*/ 3516652 w 4519987"/>
              <a:gd name="connsiteY71" fmla="*/ 4114800 h 4496940"/>
              <a:gd name="connsiteX72" fmla="*/ 3497602 w 4519987"/>
              <a:gd name="connsiteY72" fmla="*/ 4143375 h 4496940"/>
              <a:gd name="connsiteX73" fmla="*/ 3383302 w 4519987"/>
              <a:gd name="connsiteY73" fmla="*/ 4210050 h 4496940"/>
              <a:gd name="connsiteX74" fmla="*/ 3335677 w 4519987"/>
              <a:gd name="connsiteY74" fmla="*/ 4238625 h 4496940"/>
              <a:gd name="connsiteX75" fmla="*/ 3288052 w 4519987"/>
              <a:gd name="connsiteY75" fmla="*/ 4248150 h 4496940"/>
              <a:gd name="connsiteX76" fmla="*/ 3240427 w 4519987"/>
              <a:gd name="connsiteY76" fmla="*/ 4267200 h 4496940"/>
              <a:gd name="connsiteX77" fmla="*/ 3068977 w 4519987"/>
              <a:gd name="connsiteY77" fmla="*/ 4286250 h 4496940"/>
              <a:gd name="connsiteX78" fmla="*/ 2935627 w 4519987"/>
              <a:gd name="connsiteY78" fmla="*/ 4333875 h 4496940"/>
              <a:gd name="connsiteX79" fmla="*/ 2811802 w 4519987"/>
              <a:gd name="connsiteY79" fmla="*/ 4371975 h 4496940"/>
              <a:gd name="connsiteX80" fmla="*/ 2745127 w 4519987"/>
              <a:gd name="connsiteY80" fmla="*/ 4410075 h 4496940"/>
              <a:gd name="connsiteX81" fmla="*/ 2697502 w 4519987"/>
              <a:gd name="connsiteY81" fmla="*/ 4429125 h 4496940"/>
              <a:gd name="connsiteX82" fmla="*/ 2640352 w 4519987"/>
              <a:gd name="connsiteY82" fmla="*/ 4457700 h 4496940"/>
              <a:gd name="connsiteX83" fmla="*/ 2583202 w 4519987"/>
              <a:gd name="connsiteY83" fmla="*/ 4467225 h 4496940"/>
              <a:gd name="connsiteX84" fmla="*/ 2545102 w 4519987"/>
              <a:gd name="connsiteY84" fmla="*/ 4486275 h 4496940"/>
              <a:gd name="connsiteX85" fmla="*/ 2306977 w 4519987"/>
              <a:gd name="connsiteY85" fmla="*/ 4476750 h 4496940"/>
              <a:gd name="connsiteX86" fmla="*/ 2202202 w 4519987"/>
              <a:gd name="connsiteY86" fmla="*/ 4457700 h 4496940"/>
              <a:gd name="connsiteX87" fmla="*/ 2126002 w 4519987"/>
              <a:gd name="connsiteY87" fmla="*/ 4429125 h 4496940"/>
              <a:gd name="connsiteX88" fmla="*/ 1935502 w 4519987"/>
              <a:gd name="connsiteY88" fmla="*/ 4400550 h 4496940"/>
              <a:gd name="connsiteX89" fmla="*/ 1821202 w 4519987"/>
              <a:gd name="connsiteY89" fmla="*/ 4371975 h 4496940"/>
              <a:gd name="connsiteX90" fmla="*/ 1754527 w 4519987"/>
              <a:gd name="connsiteY90" fmla="*/ 4352925 h 4496940"/>
              <a:gd name="connsiteX91" fmla="*/ 1687852 w 4519987"/>
              <a:gd name="connsiteY91" fmla="*/ 4343400 h 4496940"/>
              <a:gd name="connsiteX92" fmla="*/ 1573552 w 4519987"/>
              <a:gd name="connsiteY92" fmla="*/ 4305300 h 4496940"/>
              <a:gd name="connsiteX93" fmla="*/ 1402102 w 4519987"/>
              <a:gd name="connsiteY93" fmla="*/ 4276725 h 4496940"/>
              <a:gd name="connsiteX94" fmla="*/ 1287802 w 4519987"/>
              <a:gd name="connsiteY94" fmla="*/ 4229100 h 4496940"/>
              <a:gd name="connsiteX95" fmla="*/ 1221127 w 4519987"/>
              <a:gd name="connsiteY95" fmla="*/ 4200525 h 4496940"/>
              <a:gd name="connsiteX96" fmla="*/ 1144927 w 4519987"/>
              <a:gd name="connsiteY96" fmla="*/ 4171950 h 4496940"/>
              <a:gd name="connsiteX97" fmla="*/ 1087777 w 4519987"/>
              <a:gd name="connsiteY97" fmla="*/ 4143375 h 4496940"/>
              <a:gd name="connsiteX98" fmla="*/ 1030627 w 4519987"/>
              <a:gd name="connsiteY98" fmla="*/ 4124325 h 4496940"/>
              <a:gd name="connsiteX99" fmla="*/ 925852 w 4519987"/>
              <a:gd name="connsiteY99" fmla="*/ 4067175 h 4496940"/>
              <a:gd name="connsiteX100" fmla="*/ 830602 w 4519987"/>
              <a:gd name="connsiteY100" fmla="*/ 3981450 h 4496940"/>
              <a:gd name="connsiteX101" fmla="*/ 763927 w 4519987"/>
              <a:gd name="connsiteY101" fmla="*/ 3914775 h 4496940"/>
              <a:gd name="connsiteX102" fmla="*/ 725827 w 4519987"/>
              <a:gd name="connsiteY102" fmla="*/ 3876675 h 4496940"/>
              <a:gd name="connsiteX103" fmla="*/ 697252 w 4519987"/>
              <a:gd name="connsiteY103" fmla="*/ 3838575 h 4496940"/>
              <a:gd name="connsiteX104" fmla="*/ 640102 w 4519987"/>
              <a:gd name="connsiteY104" fmla="*/ 3781425 h 4496940"/>
              <a:gd name="connsiteX105" fmla="*/ 611527 w 4519987"/>
              <a:gd name="connsiteY105" fmla="*/ 3733800 h 4496940"/>
              <a:gd name="connsiteX106" fmla="*/ 554377 w 4519987"/>
              <a:gd name="connsiteY106" fmla="*/ 3657600 h 4496940"/>
              <a:gd name="connsiteX107" fmla="*/ 525802 w 4519987"/>
              <a:gd name="connsiteY107" fmla="*/ 3609975 h 4496940"/>
              <a:gd name="connsiteX108" fmla="*/ 497227 w 4519987"/>
              <a:gd name="connsiteY108" fmla="*/ 3552825 h 4496940"/>
              <a:gd name="connsiteX109" fmla="*/ 440077 w 4519987"/>
              <a:gd name="connsiteY109" fmla="*/ 3495675 h 4496940"/>
              <a:gd name="connsiteX110" fmla="*/ 411502 w 4519987"/>
              <a:gd name="connsiteY110" fmla="*/ 3448050 h 4496940"/>
              <a:gd name="connsiteX111" fmla="*/ 278152 w 4519987"/>
              <a:gd name="connsiteY111" fmla="*/ 3257550 h 4496940"/>
              <a:gd name="connsiteX112" fmla="*/ 249577 w 4519987"/>
              <a:gd name="connsiteY112" fmla="*/ 3200400 h 4496940"/>
              <a:gd name="connsiteX113" fmla="*/ 240052 w 4519987"/>
              <a:gd name="connsiteY113" fmla="*/ 3162300 h 4496940"/>
              <a:gd name="connsiteX114" fmla="*/ 221002 w 4519987"/>
              <a:gd name="connsiteY114" fmla="*/ 3105150 h 4496940"/>
              <a:gd name="connsiteX115" fmla="*/ 173377 w 4519987"/>
              <a:gd name="connsiteY115" fmla="*/ 3019425 h 4496940"/>
              <a:gd name="connsiteX116" fmla="*/ 144802 w 4519987"/>
              <a:gd name="connsiteY116" fmla="*/ 2924175 h 4496940"/>
              <a:gd name="connsiteX117" fmla="*/ 68602 w 4519987"/>
              <a:gd name="connsiteY117" fmla="*/ 2724150 h 4496940"/>
              <a:gd name="connsiteX118" fmla="*/ 49552 w 4519987"/>
              <a:gd name="connsiteY118" fmla="*/ 2638425 h 4496940"/>
              <a:gd name="connsiteX119" fmla="*/ 40027 w 4519987"/>
              <a:gd name="connsiteY119" fmla="*/ 2562225 h 4496940"/>
              <a:gd name="connsiteX120" fmla="*/ 30502 w 4519987"/>
              <a:gd name="connsiteY120" fmla="*/ 2514600 h 4496940"/>
              <a:gd name="connsiteX121" fmla="*/ 11452 w 4519987"/>
              <a:gd name="connsiteY121" fmla="*/ 2400300 h 4496940"/>
              <a:gd name="connsiteX122" fmla="*/ 20977 w 4519987"/>
              <a:gd name="connsiteY122" fmla="*/ 1905000 h 4496940"/>
              <a:gd name="connsiteX123" fmla="*/ 30502 w 4519987"/>
              <a:gd name="connsiteY123" fmla="*/ 1838325 h 4496940"/>
              <a:gd name="connsiteX124" fmla="*/ 49552 w 4519987"/>
              <a:gd name="connsiteY124" fmla="*/ 1781175 h 4496940"/>
              <a:gd name="connsiteX125" fmla="*/ 59077 w 4519987"/>
              <a:gd name="connsiteY125" fmla="*/ 1743075 h 4496940"/>
              <a:gd name="connsiteX126" fmla="*/ 78127 w 4519987"/>
              <a:gd name="connsiteY126" fmla="*/ 1685925 h 4496940"/>
              <a:gd name="connsiteX127" fmla="*/ 87652 w 4519987"/>
              <a:gd name="connsiteY127" fmla="*/ 1638300 h 4496940"/>
              <a:gd name="connsiteX128" fmla="*/ 106702 w 4519987"/>
              <a:gd name="connsiteY128" fmla="*/ 1590675 h 4496940"/>
              <a:gd name="connsiteX129" fmla="*/ 135277 w 4519987"/>
              <a:gd name="connsiteY129" fmla="*/ 1504950 h 4496940"/>
              <a:gd name="connsiteX130" fmla="*/ 154327 w 4519987"/>
              <a:gd name="connsiteY130" fmla="*/ 1419225 h 4496940"/>
              <a:gd name="connsiteX131" fmla="*/ 230527 w 4519987"/>
              <a:gd name="connsiteY131" fmla="*/ 1276350 h 4496940"/>
              <a:gd name="connsiteX132" fmla="*/ 240052 w 4519987"/>
              <a:gd name="connsiteY132" fmla="*/ 1247775 h 4496940"/>
              <a:gd name="connsiteX133" fmla="*/ 268627 w 4519987"/>
              <a:gd name="connsiteY133" fmla="*/ 1200150 h 4496940"/>
              <a:gd name="connsiteX134" fmla="*/ 287677 w 4519987"/>
              <a:gd name="connsiteY134" fmla="*/ 1152525 h 4496940"/>
              <a:gd name="connsiteX135" fmla="*/ 316252 w 4519987"/>
              <a:gd name="connsiteY135" fmla="*/ 1114425 h 4496940"/>
              <a:gd name="connsiteX136" fmla="*/ 363877 w 4519987"/>
              <a:gd name="connsiteY136" fmla="*/ 1038225 h 4496940"/>
              <a:gd name="connsiteX137" fmla="*/ 382927 w 4519987"/>
              <a:gd name="connsiteY137" fmla="*/ 1009650 h 4496940"/>
              <a:gd name="connsiteX138" fmla="*/ 440077 w 4519987"/>
              <a:gd name="connsiteY138" fmla="*/ 904875 h 4496940"/>
              <a:gd name="connsiteX139" fmla="*/ 478177 w 4519987"/>
              <a:gd name="connsiteY139" fmla="*/ 857250 h 4496940"/>
              <a:gd name="connsiteX140" fmla="*/ 497227 w 4519987"/>
              <a:gd name="connsiteY140" fmla="*/ 828675 h 4496940"/>
              <a:gd name="connsiteX141" fmla="*/ 535327 w 4519987"/>
              <a:gd name="connsiteY141" fmla="*/ 800100 h 4496940"/>
              <a:gd name="connsiteX142" fmla="*/ 602002 w 4519987"/>
              <a:gd name="connsiteY142" fmla="*/ 733425 h 4496940"/>
              <a:gd name="connsiteX143" fmla="*/ 668677 w 4519987"/>
              <a:gd name="connsiteY143" fmla="*/ 676275 h 4496940"/>
              <a:gd name="connsiteX144" fmla="*/ 697252 w 4519987"/>
              <a:gd name="connsiteY144" fmla="*/ 657225 h 4496940"/>
              <a:gd name="connsiteX145" fmla="*/ 840127 w 4519987"/>
              <a:gd name="connsiteY145" fmla="*/ 533400 h 4496940"/>
              <a:gd name="connsiteX146" fmla="*/ 887752 w 4519987"/>
              <a:gd name="connsiteY146" fmla="*/ 504825 h 4496940"/>
              <a:gd name="connsiteX147" fmla="*/ 1167152 w 4519987"/>
              <a:gd name="connsiteY147" fmla="*/ 311150 h 4496940"/>
              <a:gd name="connsiteX148" fmla="*/ 1268752 w 4519987"/>
              <a:gd name="connsiteY148" fmla="*/ 285750 h 4496940"/>
              <a:gd name="connsiteX149" fmla="*/ 1411627 w 4519987"/>
              <a:gd name="connsiteY149" fmla="*/ 190500 h 4496940"/>
              <a:gd name="connsiteX150" fmla="*/ 1449727 w 4519987"/>
              <a:gd name="connsiteY150" fmla="*/ 161925 h 4496940"/>
              <a:gd name="connsiteX151" fmla="*/ 1525927 w 4519987"/>
              <a:gd name="connsiteY151" fmla="*/ 152400 h 4496940"/>
              <a:gd name="connsiteX152" fmla="*/ 1583077 w 4519987"/>
              <a:gd name="connsiteY152" fmla="*/ 142875 h 4496940"/>
              <a:gd name="connsiteX153" fmla="*/ 1716427 w 4519987"/>
              <a:gd name="connsiteY153" fmla="*/ 123825 h 4496940"/>
              <a:gd name="connsiteX154" fmla="*/ 1811677 w 4519987"/>
              <a:gd name="connsiteY154" fmla="*/ 114300 h 4496940"/>
              <a:gd name="connsiteX155" fmla="*/ 1859302 w 4519987"/>
              <a:gd name="connsiteY155" fmla="*/ 104775 h 4496940"/>
              <a:gd name="connsiteX156" fmla="*/ 1916452 w 4519987"/>
              <a:gd name="connsiteY156" fmla="*/ 95250 h 4496940"/>
              <a:gd name="connsiteX157" fmla="*/ 2030752 w 4519987"/>
              <a:gd name="connsiteY157" fmla="*/ 66675 h 4496940"/>
              <a:gd name="connsiteX158" fmla="*/ 2097427 w 4519987"/>
              <a:gd name="connsiteY158" fmla="*/ 47625 h 4496940"/>
              <a:gd name="connsiteX159" fmla="*/ 2164102 w 4519987"/>
              <a:gd name="connsiteY159" fmla="*/ 38100 h 4496940"/>
              <a:gd name="connsiteX160" fmla="*/ 2392702 w 4519987"/>
              <a:gd name="connsiteY16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278652 w 4519987"/>
              <a:gd name="connsiteY49" fmla="*/ 3248025 h 4496940"/>
              <a:gd name="connsiteX50" fmla="*/ 4259602 w 4519987"/>
              <a:gd name="connsiteY50" fmla="*/ 3276600 h 4496940"/>
              <a:gd name="connsiteX51" fmla="*/ 4221502 w 4519987"/>
              <a:gd name="connsiteY51" fmla="*/ 3333750 h 4496940"/>
              <a:gd name="connsiteX52" fmla="*/ 4211977 w 4519987"/>
              <a:gd name="connsiteY52" fmla="*/ 3362325 h 4496940"/>
              <a:gd name="connsiteX53" fmla="*/ 4183402 w 4519987"/>
              <a:gd name="connsiteY53" fmla="*/ 3400425 h 4496940"/>
              <a:gd name="connsiteX54" fmla="*/ 4164352 w 4519987"/>
              <a:gd name="connsiteY54" fmla="*/ 3429000 h 4496940"/>
              <a:gd name="connsiteX55" fmla="*/ 4088152 w 4519987"/>
              <a:gd name="connsiteY55" fmla="*/ 3495675 h 4496940"/>
              <a:gd name="connsiteX56" fmla="*/ 4059577 w 4519987"/>
              <a:gd name="connsiteY56" fmla="*/ 3533775 h 4496940"/>
              <a:gd name="connsiteX57" fmla="*/ 4002427 w 4519987"/>
              <a:gd name="connsiteY57" fmla="*/ 3600450 h 4496940"/>
              <a:gd name="connsiteX58" fmla="*/ 3983377 w 4519987"/>
              <a:gd name="connsiteY58" fmla="*/ 3629025 h 4496940"/>
              <a:gd name="connsiteX59" fmla="*/ 3954802 w 4519987"/>
              <a:gd name="connsiteY59" fmla="*/ 3648075 h 4496940"/>
              <a:gd name="connsiteX60" fmla="*/ 3907177 w 4519987"/>
              <a:gd name="connsiteY60" fmla="*/ 3686175 h 4496940"/>
              <a:gd name="connsiteX61" fmla="*/ 3869077 w 4519987"/>
              <a:gd name="connsiteY61" fmla="*/ 3724275 h 4496940"/>
              <a:gd name="connsiteX62" fmla="*/ 3792877 w 4519987"/>
              <a:gd name="connsiteY62" fmla="*/ 3781425 h 4496940"/>
              <a:gd name="connsiteX63" fmla="*/ 3783352 w 4519987"/>
              <a:gd name="connsiteY63" fmla="*/ 3810000 h 4496940"/>
              <a:gd name="connsiteX64" fmla="*/ 3745252 w 4519987"/>
              <a:gd name="connsiteY64" fmla="*/ 3819525 h 4496940"/>
              <a:gd name="connsiteX65" fmla="*/ 3678577 w 4519987"/>
              <a:gd name="connsiteY65" fmla="*/ 3848100 h 4496940"/>
              <a:gd name="connsiteX66" fmla="*/ 3659527 w 4519987"/>
              <a:gd name="connsiteY66" fmla="*/ 3971925 h 4496940"/>
              <a:gd name="connsiteX67" fmla="*/ 3630952 w 4519987"/>
              <a:gd name="connsiteY67" fmla="*/ 4010025 h 4496940"/>
              <a:gd name="connsiteX68" fmla="*/ 3621427 w 4519987"/>
              <a:gd name="connsiteY68" fmla="*/ 4038600 h 4496940"/>
              <a:gd name="connsiteX69" fmla="*/ 3554752 w 4519987"/>
              <a:gd name="connsiteY69" fmla="*/ 4095750 h 4496940"/>
              <a:gd name="connsiteX70" fmla="*/ 3516652 w 4519987"/>
              <a:gd name="connsiteY70" fmla="*/ 4114800 h 4496940"/>
              <a:gd name="connsiteX71" fmla="*/ 3497602 w 4519987"/>
              <a:gd name="connsiteY71" fmla="*/ 4143375 h 4496940"/>
              <a:gd name="connsiteX72" fmla="*/ 3383302 w 4519987"/>
              <a:gd name="connsiteY72" fmla="*/ 4210050 h 4496940"/>
              <a:gd name="connsiteX73" fmla="*/ 3335677 w 4519987"/>
              <a:gd name="connsiteY73" fmla="*/ 4238625 h 4496940"/>
              <a:gd name="connsiteX74" fmla="*/ 3288052 w 4519987"/>
              <a:gd name="connsiteY74" fmla="*/ 4248150 h 4496940"/>
              <a:gd name="connsiteX75" fmla="*/ 3240427 w 4519987"/>
              <a:gd name="connsiteY75" fmla="*/ 4267200 h 4496940"/>
              <a:gd name="connsiteX76" fmla="*/ 3068977 w 4519987"/>
              <a:gd name="connsiteY76" fmla="*/ 4286250 h 4496940"/>
              <a:gd name="connsiteX77" fmla="*/ 2935627 w 4519987"/>
              <a:gd name="connsiteY77" fmla="*/ 4333875 h 4496940"/>
              <a:gd name="connsiteX78" fmla="*/ 2811802 w 4519987"/>
              <a:gd name="connsiteY78" fmla="*/ 4371975 h 4496940"/>
              <a:gd name="connsiteX79" fmla="*/ 2745127 w 4519987"/>
              <a:gd name="connsiteY79" fmla="*/ 4410075 h 4496940"/>
              <a:gd name="connsiteX80" fmla="*/ 2697502 w 4519987"/>
              <a:gd name="connsiteY80" fmla="*/ 4429125 h 4496940"/>
              <a:gd name="connsiteX81" fmla="*/ 2640352 w 4519987"/>
              <a:gd name="connsiteY81" fmla="*/ 4457700 h 4496940"/>
              <a:gd name="connsiteX82" fmla="*/ 2583202 w 4519987"/>
              <a:gd name="connsiteY82" fmla="*/ 4467225 h 4496940"/>
              <a:gd name="connsiteX83" fmla="*/ 2545102 w 4519987"/>
              <a:gd name="connsiteY83" fmla="*/ 4486275 h 4496940"/>
              <a:gd name="connsiteX84" fmla="*/ 2306977 w 4519987"/>
              <a:gd name="connsiteY84" fmla="*/ 4476750 h 4496940"/>
              <a:gd name="connsiteX85" fmla="*/ 2202202 w 4519987"/>
              <a:gd name="connsiteY85" fmla="*/ 4457700 h 4496940"/>
              <a:gd name="connsiteX86" fmla="*/ 2126002 w 4519987"/>
              <a:gd name="connsiteY86" fmla="*/ 4429125 h 4496940"/>
              <a:gd name="connsiteX87" fmla="*/ 1935502 w 4519987"/>
              <a:gd name="connsiteY87" fmla="*/ 4400550 h 4496940"/>
              <a:gd name="connsiteX88" fmla="*/ 1821202 w 4519987"/>
              <a:gd name="connsiteY88" fmla="*/ 4371975 h 4496940"/>
              <a:gd name="connsiteX89" fmla="*/ 1754527 w 4519987"/>
              <a:gd name="connsiteY89" fmla="*/ 4352925 h 4496940"/>
              <a:gd name="connsiteX90" fmla="*/ 1687852 w 4519987"/>
              <a:gd name="connsiteY90" fmla="*/ 4343400 h 4496940"/>
              <a:gd name="connsiteX91" fmla="*/ 1573552 w 4519987"/>
              <a:gd name="connsiteY91" fmla="*/ 4305300 h 4496940"/>
              <a:gd name="connsiteX92" fmla="*/ 1402102 w 4519987"/>
              <a:gd name="connsiteY92" fmla="*/ 4276725 h 4496940"/>
              <a:gd name="connsiteX93" fmla="*/ 1287802 w 4519987"/>
              <a:gd name="connsiteY93" fmla="*/ 4229100 h 4496940"/>
              <a:gd name="connsiteX94" fmla="*/ 1221127 w 4519987"/>
              <a:gd name="connsiteY94" fmla="*/ 4200525 h 4496940"/>
              <a:gd name="connsiteX95" fmla="*/ 1144927 w 4519987"/>
              <a:gd name="connsiteY95" fmla="*/ 4171950 h 4496940"/>
              <a:gd name="connsiteX96" fmla="*/ 1087777 w 4519987"/>
              <a:gd name="connsiteY96" fmla="*/ 4143375 h 4496940"/>
              <a:gd name="connsiteX97" fmla="*/ 1030627 w 4519987"/>
              <a:gd name="connsiteY97" fmla="*/ 4124325 h 4496940"/>
              <a:gd name="connsiteX98" fmla="*/ 925852 w 4519987"/>
              <a:gd name="connsiteY98" fmla="*/ 4067175 h 4496940"/>
              <a:gd name="connsiteX99" fmla="*/ 830602 w 4519987"/>
              <a:gd name="connsiteY99" fmla="*/ 3981450 h 4496940"/>
              <a:gd name="connsiteX100" fmla="*/ 763927 w 4519987"/>
              <a:gd name="connsiteY100" fmla="*/ 3914775 h 4496940"/>
              <a:gd name="connsiteX101" fmla="*/ 725827 w 4519987"/>
              <a:gd name="connsiteY101" fmla="*/ 3876675 h 4496940"/>
              <a:gd name="connsiteX102" fmla="*/ 697252 w 4519987"/>
              <a:gd name="connsiteY102" fmla="*/ 3838575 h 4496940"/>
              <a:gd name="connsiteX103" fmla="*/ 640102 w 4519987"/>
              <a:gd name="connsiteY103" fmla="*/ 3781425 h 4496940"/>
              <a:gd name="connsiteX104" fmla="*/ 611527 w 4519987"/>
              <a:gd name="connsiteY104" fmla="*/ 3733800 h 4496940"/>
              <a:gd name="connsiteX105" fmla="*/ 554377 w 4519987"/>
              <a:gd name="connsiteY105" fmla="*/ 3657600 h 4496940"/>
              <a:gd name="connsiteX106" fmla="*/ 525802 w 4519987"/>
              <a:gd name="connsiteY106" fmla="*/ 3609975 h 4496940"/>
              <a:gd name="connsiteX107" fmla="*/ 497227 w 4519987"/>
              <a:gd name="connsiteY107" fmla="*/ 3552825 h 4496940"/>
              <a:gd name="connsiteX108" fmla="*/ 440077 w 4519987"/>
              <a:gd name="connsiteY108" fmla="*/ 3495675 h 4496940"/>
              <a:gd name="connsiteX109" fmla="*/ 411502 w 4519987"/>
              <a:gd name="connsiteY109" fmla="*/ 3448050 h 4496940"/>
              <a:gd name="connsiteX110" fmla="*/ 278152 w 4519987"/>
              <a:gd name="connsiteY110" fmla="*/ 3257550 h 4496940"/>
              <a:gd name="connsiteX111" fmla="*/ 249577 w 4519987"/>
              <a:gd name="connsiteY111" fmla="*/ 3200400 h 4496940"/>
              <a:gd name="connsiteX112" fmla="*/ 240052 w 4519987"/>
              <a:gd name="connsiteY112" fmla="*/ 3162300 h 4496940"/>
              <a:gd name="connsiteX113" fmla="*/ 221002 w 4519987"/>
              <a:gd name="connsiteY113" fmla="*/ 3105150 h 4496940"/>
              <a:gd name="connsiteX114" fmla="*/ 173377 w 4519987"/>
              <a:gd name="connsiteY114" fmla="*/ 3019425 h 4496940"/>
              <a:gd name="connsiteX115" fmla="*/ 144802 w 4519987"/>
              <a:gd name="connsiteY115" fmla="*/ 2924175 h 4496940"/>
              <a:gd name="connsiteX116" fmla="*/ 68602 w 4519987"/>
              <a:gd name="connsiteY116" fmla="*/ 2724150 h 4496940"/>
              <a:gd name="connsiteX117" fmla="*/ 49552 w 4519987"/>
              <a:gd name="connsiteY117" fmla="*/ 2638425 h 4496940"/>
              <a:gd name="connsiteX118" fmla="*/ 40027 w 4519987"/>
              <a:gd name="connsiteY118" fmla="*/ 2562225 h 4496940"/>
              <a:gd name="connsiteX119" fmla="*/ 30502 w 4519987"/>
              <a:gd name="connsiteY119" fmla="*/ 2514600 h 4496940"/>
              <a:gd name="connsiteX120" fmla="*/ 11452 w 4519987"/>
              <a:gd name="connsiteY120" fmla="*/ 2400300 h 4496940"/>
              <a:gd name="connsiteX121" fmla="*/ 20977 w 4519987"/>
              <a:gd name="connsiteY121" fmla="*/ 1905000 h 4496940"/>
              <a:gd name="connsiteX122" fmla="*/ 30502 w 4519987"/>
              <a:gd name="connsiteY122" fmla="*/ 1838325 h 4496940"/>
              <a:gd name="connsiteX123" fmla="*/ 49552 w 4519987"/>
              <a:gd name="connsiteY123" fmla="*/ 1781175 h 4496940"/>
              <a:gd name="connsiteX124" fmla="*/ 59077 w 4519987"/>
              <a:gd name="connsiteY124" fmla="*/ 1743075 h 4496940"/>
              <a:gd name="connsiteX125" fmla="*/ 78127 w 4519987"/>
              <a:gd name="connsiteY125" fmla="*/ 1685925 h 4496940"/>
              <a:gd name="connsiteX126" fmla="*/ 87652 w 4519987"/>
              <a:gd name="connsiteY126" fmla="*/ 1638300 h 4496940"/>
              <a:gd name="connsiteX127" fmla="*/ 106702 w 4519987"/>
              <a:gd name="connsiteY127" fmla="*/ 1590675 h 4496940"/>
              <a:gd name="connsiteX128" fmla="*/ 135277 w 4519987"/>
              <a:gd name="connsiteY128" fmla="*/ 1504950 h 4496940"/>
              <a:gd name="connsiteX129" fmla="*/ 154327 w 4519987"/>
              <a:gd name="connsiteY129" fmla="*/ 1419225 h 4496940"/>
              <a:gd name="connsiteX130" fmla="*/ 230527 w 4519987"/>
              <a:gd name="connsiteY130" fmla="*/ 1276350 h 4496940"/>
              <a:gd name="connsiteX131" fmla="*/ 240052 w 4519987"/>
              <a:gd name="connsiteY131" fmla="*/ 1247775 h 4496940"/>
              <a:gd name="connsiteX132" fmla="*/ 268627 w 4519987"/>
              <a:gd name="connsiteY132" fmla="*/ 1200150 h 4496940"/>
              <a:gd name="connsiteX133" fmla="*/ 287677 w 4519987"/>
              <a:gd name="connsiteY133" fmla="*/ 1152525 h 4496940"/>
              <a:gd name="connsiteX134" fmla="*/ 316252 w 4519987"/>
              <a:gd name="connsiteY134" fmla="*/ 1114425 h 4496940"/>
              <a:gd name="connsiteX135" fmla="*/ 363877 w 4519987"/>
              <a:gd name="connsiteY135" fmla="*/ 1038225 h 4496940"/>
              <a:gd name="connsiteX136" fmla="*/ 382927 w 4519987"/>
              <a:gd name="connsiteY136" fmla="*/ 1009650 h 4496940"/>
              <a:gd name="connsiteX137" fmla="*/ 440077 w 4519987"/>
              <a:gd name="connsiteY137" fmla="*/ 904875 h 4496940"/>
              <a:gd name="connsiteX138" fmla="*/ 478177 w 4519987"/>
              <a:gd name="connsiteY138" fmla="*/ 857250 h 4496940"/>
              <a:gd name="connsiteX139" fmla="*/ 497227 w 4519987"/>
              <a:gd name="connsiteY139" fmla="*/ 828675 h 4496940"/>
              <a:gd name="connsiteX140" fmla="*/ 535327 w 4519987"/>
              <a:gd name="connsiteY140" fmla="*/ 800100 h 4496940"/>
              <a:gd name="connsiteX141" fmla="*/ 602002 w 4519987"/>
              <a:gd name="connsiteY141" fmla="*/ 733425 h 4496940"/>
              <a:gd name="connsiteX142" fmla="*/ 668677 w 4519987"/>
              <a:gd name="connsiteY142" fmla="*/ 676275 h 4496940"/>
              <a:gd name="connsiteX143" fmla="*/ 697252 w 4519987"/>
              <a:gd name="connsiteY143" fmla="*/ 657225 h 4496940"/>
              <a:gd name="connsiteX144" fmla="*/ 840127 w 4519987"/>
              <a:gd name="connsiteY144" fmla="*/ 533400 h 4496940"/>
              <a:gd name="connsiteX145" fmla="*/ 887752 w 4519987"/>
              <a:gd name="connsiteY145" fmla="*/ 504825 h 4496940"/>
              <a:gd name="connsiteX146" fmla="*/ 1167152 w 4519987"/>
              <a:gd name="connsiteY146" fmla="*/ 311150 h 4496940"/>
              <a:gd name="connsiteX147" fmla="*/ 1268752 w 4519987"/>
              <a:gd name="connsiteY147" fmla="*/ 285750 h 4496940"/>
              <a:gd name="connsiteX148" fmla="*/ 1411627 w 4519987"/>
              <a:gd name="connsiteY148" fmla="*/ 190500 h 4496940"/>
              <a:gd name="connsiteX149" fmla="*/ 1449727 w 4519987"/>
              <a:gd name="connsiteY149" fmla="*/ 161925 h 4496940"/>
              <a:gd name="connsiteX150" fmla="*/ 1525927 w 4519987"/>
              <a:gd name="connsiteY150" fmla="*/ 152400 h 4496940"/>
              <a:gd name="connsiteX151" fmla="*/ 1583077 w 4519987"/>
              <a:gd name="connsiteY151" fmla="*/ 142875 h 4496940"/>
              <a:gd name="connsiteX152" fmla="*/ 1716427 w 4519987"/>
              <a:gd name="connsiteY152" fmla="*/ 123825 h 4496940"/>
              <a:gd name="connsiteX153" fmla="*/ 1811677 w 4519987"/>
              <a:gd name="connsiteY153" fmla="*/ 114300 h 4496940"/>
              <a:gd name="connsiteX154" fmla="*/ 1859302 w 4519987"/>
              <a:gd name="connsiteY154" fmla="*/ 104775 h 4496940"/>
              <a:gd name="connsiteX155" fmla="*/ 1916452 w 4519987"/>
              <a:gd name="connsiteY155" fmla="*/ 95250 h 4496940"/>
              <a:gd name="connsiteX156" fmla="*/ 2030752 w 4519987"/>
              <a:gd name="connsiteY156" fmla="*/ 66675 h 4496940"/>
              <a:gd name="connsiteX157" fmla="*/ 2097427 w 4519987"/>
              <a:gd name="connsiteY157" fmla="*/ 47625 h 4496940"/>
              <a:gd name="connsiteX158" fmla="*/ 2164102 w 4519987"/>
              <a:gd name="connsiteY158" fmla="*/ 38100 h 4496940"/>
              <a:gd name="connsiteX159" fmla="*/ 2392702 w 4519987"/>
              <a:gd name="connsiteY15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50052 w 4519987"/>
              <a:gd name="connsiteY28" fmla="*/ 790575 h 4496940"/>
              <a:gd name="connsiteX29" fmla="*/ 4078627 w 4519987"/>
              <a:gd name="connsiteY29" fmla="*/ 838200 h 4496940"/>
              <a:gd name="connsiteX30" fmla="*/ 4107202 w 4519987"/>
              <a:gd name="connsiteY30" fmla="*/ 876300 h 4496940"/>
              <a:gd name="connsiteX31" fmla="*/ 4116727 w 4519987"/>
              <a:gd name="connsiteY31" fmla="*/ 904875 h 4496940"/>
              <a:gd name="connsiteX32" fmla="*/ 4135777 w 4519987"/>
              <a:gd name="connsiteY32" fmla="*/ 933450 h 4496940"/>
              <a:gd name="connsiteX33" fmla="*/ 4164352 w 4519987"/>
              <a:gd name="connsiteY33" fmla="*/ 990600 h 4496940"/>
              <a:gd name="connsiteX34" fmla="*/ 4173877 w 4519987"/>
              <a:gd name="connsiteY34" fmla="*/ 1019175 h 4496940"/>
              <a:gd name="connsiteX35" fmla="*/ 4192927 w 4519987"/>
              <a:gd name="connsiteY35" fmla="*/ 1057275 h 4496940"/>
              <a:gd name="connsiteX36" fmla="*/ 4202452 w 4519987"/>
              <a:gd name="connsiteY36" fmla="*/ 1085850 h 4496940"/>
              <a:gd name="connsiteX37" fmla="*/ 4250077 w 4519987"/>
              <a:gd name="connsiteY37" fmla="*/ 1143000 h 4496940"/>
              <a:gd name="connsiteX38" fmla="*/ 4259602 w 4519987"/>
              <a:gd name="connsiteY38" fmla="*/ 1190625 h 4496940"/>
              <a:gd name="connsiteX39" fmla="*/ 4307227 w 4519987"/>
              <a:gd name="connsiteY39" fmla="*/ 1266825 h 4496940"/>
              <a:gd name="connsiteX40" fmla="*/ 4345327 w 4519987"/>
              <a:gd name="connsiteY40" fmla="*/ 1362075 h 4496940"/>
              <a:gd name="connsiteX41" fmla="*/ 4373902 w 4519987"/>
              <a:gd name="connsiteY41" fmla="*/ 1428750 h 4496940"/>
              <a:gd name="connsiteX42" fmla="*/ 4392952 w 4519987"/>
              <a:gd name="connsiteY42" fmla="*/ 1552575 h 4496940"/>
              <a:gd name="connsiteX43" fmla="*/ 4402477 w 4519987"/>
              <a:gd name="connsiteY43" fmla="*/ 1590675 h 4496940"/>
              <a:gd name="connsiteX44" fmla="*/ 4431052 w 4519987"/>
              <a:gd name="connsiteY44" fmla="*/ 1685925 h 4496940"/>
              <a:gd name="connsiteX45" fmla="*/ 4519952 w 4519987"/>
              <a:gd name="connsiteY45" fmla="*/ 2181225 h 4496940"/>
              <a:gd name="connsiteX46" fmla="*/ 4446927 w 4519987"/>
              <a:gd name="connsiteY46" fmla="*/ 2768600 h 4496940"/>
              <a:gd name="connsiteX47" fmla="*/ 4383427 w 4519987"/>
              <a:gd name="connsiteY47" fmla="*/ 2990850 h 4496940"/>
              <a:gd name="connsiteX48" fmla="*/ 4278652 w 4519987"/>
              <a:gd name="connsiteY48" fmla="*/ 3248025 h 4496940"/>
              <a:gd name="connsiteX49" fmla="*/ 4259602 w 4519987"/>
              <a:gd name="connsiteY49" fmla="*/ 3276600 h 4496940"/>
              <a:gd name="connsiteX50" fmla="*/ 4221502 w 4519987"/>
              <a:gd name="connsiteY50" fmla="*/ 3333750 h 4496940"/>
              <a:gd name="connsiteX51" fmla="*/ 4211977 w 4519987"/>
              <a:gd name="connsiteY51" fmla="*/ 3362325 h 4496940"/>
              <a:gd name="connsiteX52" fmla="*/ 4183402 w 4519987"/>
              <a:gd name="connsiteY52" fmla="*/ 3400425 h 4496940"/>
              <a:gd name="connsiteX53" fmla="*/ 4164352 w 4519987"/>
              <a:gd name="connsiteY53" fmla="*/ 3429000 h 4496940"/>
              <a:gd name="connsiteX54" fmla="*/ 4088152 w 4519987"/>
              <a:gd name="connsiteY54" fmla="*/ 3495675 h 4496940"/>
              <a:gd name="connsiteX55" fmla="*/ 4059577 w 4519987"/>
              <a:gd name="connsiteY55" fmla="*/ 3533775 h 4496940"/>
              <a:gd name="connsiteX56" fmla="*/ 4002427 w 4519987"/>
              <a:gd name="connsiteY56" fmla="*/ 3600450 h 4496940"/>
              <a:gd name="connsiteX57" fmla="*/ 3983377 w 4519987"/>
              <a:gd name="connsiteY57" fmla="*/ 3629025 h 4496940"/>
              <a:gd name="connsiteX58" fmla="*/ 3954802 w 4519987"/>
              <a:gd name="connsiteY58" fmla="*/ 3648075 h 4496940"/>
              <a:gd name="connsiteX59" fmla="*/ 3907177 w 4519987"/>
              <a:gd name="connsiteY59" fmla="*/ 3686175 h 4496940"/>
              <a:gd name="connsiteX60" fmla="*/ 3869077 w 4519987"/>
              <a:gd name="connsiteY60" fmla="*/ 3724275 h 4496940"/>
              <a:gd name="connsiteX61" fmla="*/ 3792877 w 4519987"/>
              <a:gd name="connsiteY61" fmla="*/ 3781425 h 4496940"/>
              <a:gd name="connsiteX62" fmla="*/ 3783352 w 4519987"/>
              <a:gd name="connsiteY62" fmla="*/ 3810000 h 4496940"/>
              <a:gd name="connsiteX63" fmla="*/ 3745252 w 4519987"/>
              <a:gd name="connsiteY63" fmla="*/ 3819525 h 4496940"/>
              <a:gd name="connsiteX64" fmla="*/ 3678577 w 4519987"/>
              <a:gd name="connsiteY64" fmla="*/ 3848100 h 4496940"/>
              <a:gd name="connsiteX65" fmla="*/ 3659527 w 4519987"/>
              <a:gd name="connsiteY65" fmla="*/ 3971925 h 4496940"/>
              <a:gd name="connsiteX66" fmla="*/ 3630952 w 4519987"/>
              <a:gd name="connsiteY66" fmla="*/ 4010025 h 4496940"/>
              <a:gd name="connsiteX67" fmla="*/ 3621427 w 4519987"/>
              <a:gd name="connsiteY67" fmla="*/ 4038600 h 4496940"/>
              <a:gd name="connsiteX68" fmla="*/ 3554752 w 4519987"/>
              <a:gd name="connsiteY68" fmla="*/ 4095750 h 4496940"/>
              <a:gd name="connsiteX69" fmla="*/ 3516652 w 4519987"/>
              <a:gd name="connsiteY69" fmla="*/ 4114800 h 4496940"/>
              <a:gd name="connsiteX70" fmla="*/ 3497602 w 4519987"/>
              <a:gd name="connsiteY70" fmla="*/ 4143375 h 4496940"/>
              <a:gd name="connsiteX71" fmla="*/ 3383302 w 4519987"/>
              <a:gd name="connsiteY71" fmla="*/ 4210050 h 4496940"/>
              <a:gd name="connsiteX72" fmla="*/ 3335677 w 4519987"/>
              <a:gd name="connsiteY72" fmla="*/ 4238625 h 4496940"/>
              <a:gd name="connsiteX73" fmla="*/ 3288052 w 4519987"/>
              <a:gd name="connsiteY73" fmla="*/ 4248150 h 4496940"/>
              <a:gd name="connsiteX74" fmla="*/ 3240427 w 4519987"/>
              <a:gd name="connsiteY74" fmla="*/ 4267200 h 4496940"/>
              <a:gd name="connsiteX75" fmla="*/ 3068977 w 4519987"/>
              <a:gd name="connsiteY75" fmla="*/ 4286250 h 4496940"/>
              <a:gd name="connsiteX76" fmla="*/ 2935627 w 4519987"/>
              <a:gd name="connsiteY76" fmla="*/ 4333875 h 4496940"/>
              <a:gd name="connsiteX77" fmla="*/ 2811802 w 4519987"/>
              <a:gd name="connsiteY77" fmla="*/ 4371975 h 4496940"/>
              <a:gd name="connsiteX78" fmla="*/ 2745127 w 4519987"/>
              <a:gd name="connsiteY78" fmla="*/ 4410075 h 4496940"/>
              <a:gd name="connsiteX79" fmla="*/ 2697502 w 4519987"/>
              <a:gd name="connsiteY79" fmla="*/ 4429125 h 4496940"/>
              <a:gd name="connsiteX80" fmla="*/ 2640352 w 4519987"/>
              <a:gd name="connsiteY80" fmla="*/ 4457700 h 4496940"/>
              <a:gd name="connsiteX81" fmla="*/ 2583202 w 4519987"/>
              <a:gd name="connsiteY81" fmla="*/ 4467225 h 4496940"/>
              <a:gd name="connsiteX82" fmla="*/ 2545102 w 4519987"/>
              <a:gd name="connsiteY82" fmla="*/ 4486275 h 4496940"/>
              <a:gd name="connsiteX83" fmla="*/ 2306977 w 4519987"/>
              <a:gd name="connsiteY83" fmla="*/ 4476750 h 4496940"/>
              <a:gd name="connsiteX84" fmla="*/ 2202202 w 4519987"/>
              <a:gd name="connsiteY84" fmla="*/ 4457700 h 4496940"/>
              <a:gd name="connsiteX85" fmla="*/ 2126002 w 4519987"/>
              <a:gd name="connsiteY85" fmla="*/ 4429125 h 4496940"/>
              <a:gd name="connsiteX86" fmla="*/ 1935502 w 4519987"/>
              <a:gd name="connsiteY86" fmla="*/ 4400550 h 4496940"/>
              <a:gd name="connsiteX87" fmla="*/ 1821202 w 4519987"/>
              <a:gd name="connsiteY87" fmla="*/ 4371975 h 4496940"/>
              <a:gd name="connsiteX88" fmla="*/ 1754527 w 4519987"/>
              <a:gd name="connsiteY88" fmla="*/ 4352925 h 4496940"/>
              <a:gd name="connsiteX89" fmla="*/ 1687852 w 4519987"/>
              <a:gd name="connsiteY89" fmla="*/ 4343400 h 4496940"/>
              <a:gd name="connsiteX90" fmla="*/ 1573552 w 4519987"/>
              <a:gd name="connsiteY90" fmla="*/ 4305300 h 4496940"/>
              <a:gd name="connsiteX91" fmla="*/ 1402102 w 4519987"/>
              <a:gd name="connsiteY91" fmla="*/ 4276725 h 4496940"/>
              <a:gd name="connsiteX92" fmla="*/ 1287802 w 4519987"/>
              <a:gd name="connsiteY92" fmla="*/ 4229100 h 4496940"/>
              <a:gd name="connsiteX93" fmla="*/ 1221127 w 4519987"/>
              <a:gd name="connsiteY93" fmla="*/ 4200525 h 4496940"/>
              <a:gd name="connsiteX94" fmla="*/ 1144927 w 4519987"/>
              <a:gd name="connsiteY94" fmla="*/ 4171950 h 4496940"/>
              <a:gd name="connsiteX95" fmla="*/ 1087777 w 4519987"/>
              <a:gd name="connsiteY95" fmla="*/ 4143375 h 4496940"/>
              <a:gd name="connsiteX96" fmla="*/ 1030627 w 4519987"/>
              <a:gd name="connsiteY96" fmla="*/ 4124325 h 4496940"/>
              <a:gd name="connsiteX97" fmla="*/ 925852 w 4519987"/>
              <a:gd name="connsiteY97" fmla="*/ 4067175 h 4496940"/>
              <a:gd name="connsiteX98" fmla="*/ 830602 w 4519987"/>
              <a:gd name="connsiteY98" fmla="*/ 3981450 h 4496940"/>
              <a:gd name="connsiteX99" fmla="*/ 763927 w 4519987"/>
              <a:gd name="connsiteY99" fmla="*/ 3914775 h 4496940"/>
              <a:gd name="connsiteX100" fmla="*/ 725827 w 4519987"/>
              <a:gd name="connsiteY100" fmla="*/ 3876675 h 4496940"/>
              <a:gd name="connsiteX101" fmla="*/ 697252 w 4519987"/>
              <a:gd name="connsiteY101" fmla="*/ 3838575 h 4496940"/>
              <a:gd name="connsiteX102" fmla="*/ 640102 w 4519987"/>
              <a:gd name="connsiteY102" fmla="*/ 3781425 h 4496940"/>
              <a:gd name="connsiteX103" fmla="*/ 611527 w 4519987"/>
              <a:gd name="connsiteY103" fmla="*/ 3733800 h 4496940"/>
              <a:gd name="connsiteX104" fmla="*/ 554377 w 4519987"/>
              <a:gd name="connsiteY104" fmla="*/ 3657600 h 4496940"/>
              <a:gd name="connsiteX105" fmla="*/ 525802 w 4519987"/>
              <a:gd name="connsiteY105" fmla="*/ 3609975 h 4496940"/>
              <a:gd name="connsiteX106" fmla="*/ 497227 w 4519987"/>
              <a:gd name="connsiteY106" fmla="*/ 3552825 h 4496940"/>
              <a:gd name="connsiteX107" fmla="*/ 440077 w 4519987"/>
              <a:gd name="connsiteY107" fmla="*/ 3495675 h 4496940"/>
              <a:gd name="connsiteX108" fmla="*/ 411502 w 4519987"/>
              <a:gd name="connsiteY108" fmla="*/ 3448050 h 4496940"/>
              <a:gd name="connsiteX109" fmla="*/ 278152 w 4519987"/>
              <a:gd name="connsiteY109" fmla="*/ 3257550 h 4496940"/>
              <a:gd name="connsiteX110" fmla="*/ 249577 w 4519987"/>
              <a:gd name="connsiteY110" fmla="*/ 3200400 h 4496940"/>
              <a:gd name="connsiteX111" fmla="*/ 240052 w 4519987"/>
              <a:gd name="connsiteY111" fmla="*/ 3162300 h 4496940"/>
              <a:gd name="connsiteX112" fmla="*/ 221002 w 4519987"/>
              <a:gd name="connsiteY112" fmla="*/ 3105150 h 4496940"/>
              <a:gd name="connsiteX113" fmla="*/ 173377 w 4519987"/>
              <a:gd name="connsiteY113" fmla="*/ 3019425 h 4496940"/>
              <a:gd name="connsiteX114" fmla="*/ 144802 w 4519987"/>
              <a:gd name="connsiteY114" fmla="*/ 2924175 h 4496940"/>
              <a:gd name="connsiteX115" fmla="*/ 68602 w 4519987"/>
              <a:gd name="connsiteY115" fmla="*/ 2724150 h 4496940"/>
              <a:gd name="connsiteX116" fmla="*/ 49552 w 4519987"/>
              <a:gd name="connsiteY116" fmla="*/ 2638425 h 4496940"/>
              <a:gd name="connsiteX117" fmla="*/ 40027 w 4519987"/>
              <a:gd name="connsiteY117" fmla="*/ 2562225 h 4496940"/>
              <a:gd name="connsiteX118" fmla="*/ 30502 w 4519987"/>
              <a:gd name="connsiteY118" fmla="*/ 2514600 h 4496940"/>
              <a:gd name="connsiteX119" fmla="*/ 11452 w 4519987"/>
              <a:gd name="connsiteY119" fmla="*/ 2400300 h 4496940"/>
              <a:gd name="connsiteX120" fmla="*/ 20977 w 4519987"/>
              <a:gd name="connsiteY120" fmla="*/ 1905000 h 4496940"/>
              <a:gd name="connsiteX121" fmla="*/ 30502 w 4519987"/>
              <a:gd name="connsiteY121" fmla="*/ 1838325 h 4496940"/>
              <a:gd name="connsiteX122" fmla="*/ 49552 w 4519987"/>
              <a:gd name="connsiteY122" fmla="*/ 1781175 h 4496940"/>
              <a:gd name="connsiteX123" fmla="*/ 59077 w 4519987"/>
              <a:gd name="connsiteY123" fmla="*/ 1743075 h 4496940"/>
              <a:gd name="connsiteX124" fmla="*/ 78127 w 4519987"/>
              <a:gd name="connsiteY124" fmla="*/ 1685925 h 4496940"/>
              <a:gd name="connsiteX125" fmla="*/ 87652 w 4519987"/>
              <a:gd name="connsiteY125" fmla="*/ 1638300 h 4496940"/>
              <a:gd name="connsiteX126" fmla="*/ 106702 w 4519987"/>
              <a:gd name="connsiteY126" fmla="*/ 1590675 h 4496940"/>
              <a:gd name="connsiteX127" fmla="*/ 135277 w 4519987"/>
              <a:gd name="connsiteY127" fmla="*/ 1504950 h 4496940"/>
              <a:gd name="connsiteX128" fmla="*/ 154327 w 4519987"/>
              <a:gd name="connsiteY128" fmla="*/ 1419225 h 4496940"/>
              <a:gd name="connsiteX129" fmla="*/ 230527 w 4519987"/>
              <a:gd name="connsiteY129" fmla="*/ 1276350 h 4496940"/>
              <a:gd name="connsiteX130" fmla="*/ 240052 w 4519987"/>
              <a:gd name="connsiteY130" fmla="*/ 1247775 h 4496940"/>
              <a:gd name="connsiteX131" fmla="*/ 268627 w 4519987"/>
              <a:gd name="connsiteY131" fmla="*/ 1200150 h 4496940"/>
              <a:gd name="connsiteX132" fmla="*/ 287677 w 4519987"/>
              <a:gd name="connsiteY132" fmla="*/ 1152525 h 4496940"/>
              <a:gd name="connsiteX133" fmla="*/ 316252 w 4519987"/>
              <a:gd name="connsiteY133" fmla="*/ 1114425 h 4496940"/>
              <a:gd name="connsiteX134" fmla="*/ 363877 w 4519987"/>
              <a:gd name="connsiteY134" fmla="*/ 1038225 h 4496940"/>
              <a:gd name="connsiteX135" fmla="*/ 382927 w 4519987"/>
              <a:gd name="connsiteY135" fmla="*/ 1009650 h 4496940"/>
              <a:gd name="connsiteX136" fmla="*/ 440077 w 4519987"/>
              <a:gd name="connsiteY136" fmla="*/ 904875 h 4496940"/>
              <a:gd name="connsiteX137" fmla="*/ 478177 w 4519987"/>
              <a:gd name="connsiteY137" fmla="*/ 857250 h 4496940"/>
              <a:gd name="connsiteX138" fmla="*/ 497227 w 4519987"/>
              <a:gd name="connsiteY138" fmla="*/ 828675 h 4496940"/>
              <a:gd name="connsiteX139" fmla="*/ 535327 w 4519987"/>
              <a:gd name="connsiteY139" fmla="*/ 800100 h 4496940"/>
              <a:gd name="connsiteX140" fmla="*/ 602002 w 4519987"/>
              <a:gd name="connsiteY140" fmla="*/ 733425 h 4496940"/>
              <a:gd name="connsiteX141" fmla="*/ 668677 w 4519987"/>
              <a:gd name="connsiteY141" fmla="*/ 676275 h 4496940"/>
              <a:gd name="connsiteX142" fmla="*/ 697252 w 4519987"/>
              <a:gd name="connsiteY142" fmla="*/ 657225 h 4496940"/>
              <a:gd name="connsiteX143" fmla="*/ 840127 w 4519987"/>
              <a:gd name="connsiteY143" fmla="*/ 533400 h 4496940"/>
              <a:gd name="connsiteX144" fmla="*/ 887752 w 4519987"/>
              <a:gd name="connsiteY144" fmla="*/ 504825 h 4496940"/>
              <a:gd name="connsiteX145" fmla="*/ 1167152 w 4519987"/>
              <a:gd name="connsiteY145" fmla="*/ 311150 h 4496940"/>
              <a:gd name="connsiteX146" fmla="*/ 1268752 w 4519987"/>
              <a:gd name="connsiteY146" fmla="*/ 285750 h 4496940"/>
              <a:gd name="connsiteX147" fmla="*/ 1411627 w 4519987"/>
              <a:gd name="connsiteY147" fmla="*/ 190500 h 4496940"/>
              <a:gd name="connsiteX148" fmla="*/ 1449727 w 4519987"/>
              <a:gd name="connsiteY148" fmla="*/ 161925 h 4496940"/>
              <a:gd name="connsiteX149" fmla="*/ 1525927 w 4519987"/>
              <a:gd name="connsiteY149" fmla="*/ 152400 h 4496940"/>
              <a:gd name="connsiteX150" fmla="*/ 1583077 w 4519987"/>
              <a:gd name="connsiteY150" fmla="*/ 142875 h 4496940"/>
              <a:gd name="connsiteX151" fmla="*/ 1716427 w 4519987"/>
              <a:gd name="connsiteY151" fmla="*/ 123825 h 4496940"/>
              <a:gd name="connsiteX152" fmla="*/ 1811677 w 4519987"/>
              <a:gd name="connsiteY152" fmla="*/ 114300 h 4496940"/>
              <a:gd name="connsiteX153" fmla="*/ 1859302 w 4519987"/>
              <a:gd name="connsiteY153" fmla="*/ 104775 h 4496940"/>
              <a:gd name="connsiteX154" fmla="*/ 1916452 w 4519987"/>
              <a:gd name="connsiteY154" fmla="*/ 95250 h 4496940"/>
              <a:gd name="connsiteX155" fmla="*/ 2030752 w 4519987"/>
              <a:gd name="connsiteY155" fmla="*/ 66675 h 4496940"/>
              <a:gd name="connsiteX156" fmla="*/ 2097427 w 4519987"/>
              <a:gd name="connsiteY156" fmla="*/ 47625 h 4496940"/>
              <a:gd name="connsiteX157" fmla="*/ 2164102 w 4519987"/>
              <a:gd name="connsiteY157" fmla="*/ 38100 h 4496940"/>
              <a:gd name="connsiteX158" fmla="*/ 2392702 w 4519987"/>
              <a:gd name="connsiteY15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07202 w 4519987"/>
              <a:gd name="connsiteY29" fmla="*/ 876300 h 4496940"/>
              <a:gd name="connsiteX30" fmla="*/ 4116727 w 4519987"/>
              <a:gd name="connsiteY30" fmla="*/ 904875 h 4496940"/>
              <a:gd name="connsiteX31" fmla="*/ 4135777 w 4519987"/>
              <a:gd name="connsiteY31" fmla="*/ 933450 h 4496940"/>
              <a:gd name="connsiteX32" fmla="*/ 4164352 w 4519987"/>
              <a:gd name="connsiteY32" fmla="*/ 990600 h 4496940"/>
              <a:gd name="connsiteX33" fmla="*/ 4173877 w 4519987"/>
              <a:gd name="connsiteY33" fmla="*/ 1019175 h 4496940"/>
              <a:gd name="connsiteX34" fmla="*/ 4192927 w 4519987"/>
              <a:gd name="connsiteY34" fmla="*/ 1057275 h 4496940"/>
              <a:gd name="connsiteX35" fmla="*/ 4202452 w 4519987"/>
              <a:gd name="connsiteY35" fmla="*/ 1085850 h 4496940"/>
              <a:gd name="connsiteX36" fmla="*/ 4250077 w 4519987"/>
              <a:gd name="connsiteY36" fmla="*/ 1143000 h 4496940"/>
              <a:gd name="connsiteX37" fmla="*/ 4259602 w 4519987"/>
              <a:gd name="connsiteY37" fmla="*/ 1190625 h 4496940"/>
              <a:gd name="connsiteX38" fmla="*/ 4307227 w 4519987"/>
              <a:gd name="connsiteY38" fmla="*/ 1266825 h 4496940"/>
              <a:gd name="connsiteX39" fmla="*/ 4345327 w 4519987"/>
              <a:gd name="connsiteY39" fmla="*/ 1362075 h 4496940"/>
              <a:gd name="connsiteX40" fmla="*/ 4373902 w 4519987"/>
              <a:gd name="connsiteY40" fmla="*/ 1428750 h 4496940"/>
              <a:gd name="connsiteX41" fmla="*/ 4392952 w 4519987"/>
              <a:gd name="connsiteY41" fmla="*/ 1552575 h 4496940"/>
              <a:gd name="connsiteX42" fmla="*/ 4402477 w 4519987"/>
              <a:gd name="connsiteY42" fmla="*/ 1590675 h 4496940"/>
              <a:gd name="connsiteX43" fmla="*/ 4431052 w 4519987"/>
              <a:gd name="connsiteY43" fmla="*/ 1685925 h 4496940"/>
              <a:gd name="connsiteX44" fmla="*/ 4519952 w 4519987"/>
              <a:gd name="connsiteY44" fmla="*/ 2181225 h 4496940"/>
              <a:gd name="connsiteX45" fmla="*/ 4446927 w 4519987"/>
              <a:gd name="connsiteY45" fmla="*/ 2768600 h 4496940"/>
              <a:gd name="connsiteX46" fmla="*/ 4383427 w 4519987"/>
              <a:gd name="connsiteY46" fmla="*/ 2990850 h 4496940"/>
              <a:gd name="connsiteX47" fmla="*/ 4278652 w 4519987"/>
              <a:gd name="connsiteY47" fmla="*/ 3248025 h 4496940"/>
              <a:gd name="connsiteX48" fmla="*/ 4259602 w 4519987"/>
              <a:gd name="connsiteY48" fmla="*/ 3276600 h 4496940"/>
              <a:gd name="connsiteX49" fmla="*/ 4221502 w 4519987"/>
              <a:gd name="connsiteY49" fmla="*/ 3333750 h 4496940"/>
              <a:gd name="connsiteX50" fmla="*/ 4211977 w 4519987"/>
              <a:gd name="connsiteY50" fmla="*/ 3362325 h 4496940"/>
              <a:gd name="connsiteX51" fmla="*/ 4183402 w 4519987"/>
              <a:gd name="connsiteY51" fmla="*/ 3400425 h 4496940"/>
              <a:gd name="connsiteX52" fmla="*/ 4164352 w 4519987"/>
              <a:gd name="connsiteY52" fmla="*/ 3429000 h 4496940"/>
              <a:gd name="connsiteX53" fmla="*/ 4088152 w 4519987"/>
              <a:gd name="connsiteY53" fmla="*/ 3495675 h 4496940"/>
              <a:gd name="connsiteX54" fmla="*/ 4059577 w 4519987"/>
              <a:gd name="connsiteY54" fmla="*/ 3533775 h 4496940"/>
              <a:gd name="connsiteX55" fmla="*/ 4002427 w 4519987"/>
              <a:gd name="connsiteY55" fmla="*/ 3600450 h 4496940"/>
              <a:gd name="connsiteX56" fmla="*/ 3983377 w 4519987"/>
              <a:gd name="connsiteY56" fmla="*/ 3629025 h 4496940"/>
              <a:gd name="connsiteX57" fmla="*/ 3954802 w 4519987"/>
              <a:gd name="connsiteY57" fmla="*/ 3648075 h 4496940"/>
              <a:gd name="connsiteX58" fmla="*/ 3907177 w 4519987"/>
              <a:gd name="connsiteY58" fmla="*/ 3686175 h 4496940"/>
              <a:gd name="connsiteX59" fmla="*/ 3869077 w 4519987"/>
              <a:gd name="connsiteY59" fmla="*/ 3724275 h 4496940"/>
              <a:gd name="connsiteX60" fmla="*/ 3792877 w 4519987"/>
              <a:gd name="connsiteY60" fmla="*/ 3781425 h 4496940"/>
              <a:gd name="connsiteX61" fmla="*/ 3783352 w 4519987"/>
              <a:gd name="connsiteY61" fmla="*/ 3810000 h 4496940"/>
              <a:gd name="connsiteX62" fmla="*/ 3745252 w 4519987"/>
              <a:gd name="connsiteY62" fmla="*/ 3819525 h 4496940"/>
              <a:gd name="connsiteX63" fmla="*/ 3678577 w 4519987"/>
              <a:gd name="connsiteY63" fmla="*/ 3848100 h 4496940"/>
              <a:gd name="connsiteX64" fmla="*/ 3659527 w 4519987"/>
              <a:gd name="connsiteY64" fmla="*/ 3971925 h 4496940"/>
              <a:gd name="connsiteX65" fmla="*/ 3630952 w 4519987"/>
              <a:gd name="connsiteY65" fmla="*/ 4010025 h 4496940"/>
              <a:gd name="connsiteX66" fmla="*/ 3621427 w 4519987"/>
              <a:gd name="connsiteY66" fmla="*/ 4038600 h 4496940"/>
              <a:gd name="connsiteX67" fmla="*/ 3554752 w 4519987"/>
              <a:gd name="connsiteY67" fmla="*/ 4095750 h 4496940"/>
              <a:gd name="connsiteX68" fmla="*/ 3516652 w 4519987"/>
              <a:gd name="connsiteY68" fmla="*/ 4114800 h 4496940"/>
              <a:gd name="connsiteX69" fmla="*/ 3497602 w 4519987"/>
              <a:gd name="connsiteY69" fmla="*/ 4143375 h 4496940"/>
              <a:gd name="connsiteX70" fmla="*/ 3383302 w 4519987"/>
              <a:gd name="connsiteY70" fmla="*/ 4210050 h 4496940"/>
              <a:gd name="connsiteX71" fmla="*/ 3335677 w 4519987"/>
              <a:gd name="connsiteY71" fmla="*/ 4238625 h 4496940"/>
              <a:gd name="connsiteX72" fmla="*/ 3288052 w 4519987"/>
              <a:gd name="connsiteY72" fmla="*/ 4248150 h 4496940"/>
              <a:gd name="connsiteX73" fmla="*/ 3240427 w 4519987"/>
              <a:gd name="connsiteY73" fmla="*/ 4267200 h 4496940"/>
              <a:gd name="connsiteX74" fmla="*/ 3068977 w 4519987"/>
              <a:gd name="connsiteY74" fmla="*/ 4286250 h 4496940"/>
              <a:gd name="connsiteX75" fmla="*/ 2935627 w 4519987"/>
              <a:gd name="connsiteY75" fmla="*/ 4333875 h 4496940"/>
              <a:gd name="connsiteX76" fmla="*/ 2811802 w 4519987"/>
              <a:gd name="connsiteY76" fmla="*/ 4371975 h 4496940"/>
              <a:gd name="connsiteX77" fmla="*/ 2745127 w 4519987"/>
              <a:gd name="connsiteY77" fmla="*/ 4410075 h 4496940"/>
              <a:gd name="connsiteX78" fmla="*/ 2697502 w 4519987"/>
              <a:gd name="connsiteY78" fmla="*/ 4429125 h 4496940"/>
              <a:gd name="connsiteX79" fmla="*/ 2640352 w 4519987"/>
              <a:gd name="connsiteY79" fmla="*/ 4457700 h 4496940"/>
              <a:gd name="connsiteX80" fmla="*/ 2583202 w 4519987"/>
              <a:gd name="connsiteY80" fmla="*/ 4467225 h 4496940"/>
              <a:gd name="connsiteX81" fmla="*/ 2545102 w 4519987"/>
              <a:gd name="connsiteY81" fmla="*/ 4486275 h 4496940"/>
              <a:gd name="connsiteX82" fmla="*/ 2306977 w 4519987"/>
              <a:gd name="connsiteY82" fmla="*/ 4476750 h 4496940"/>
              <a:gd name="connsiteX83" fmla="*/ 2202202 w 4519987"/>
              <a:gd name="connsiteY83" fmla="*/ 4457700 h 4496940"/>
              <a:gd name="connsiteX84" fmla="*/ 2126002 w 4519987"/>
              <a:gd name="connsiteY84" fmla="*/ 4429125 h 4496940"/>
              <a:gd name="connsiteX85" fmla="*/ 1935502 w 4519987"/>
              <a:gd name="connsiteY85" fmla="*/ 4400550 h 4496940"/>
              <a:gd name="connsiteX86" fmla="*/ 1821202 w 4519987"/>
              <a:gd name="connsiteY86" fmla="*/ 4371975 h 4496940"/>
              <a:gd name="connsiteX87" fmla="*/ 1754527 w 4519987"/>
              <a:gd name="connsiteY87" fmla="*/ 4352925 h 4496940"/>
              <a:gd name="connsiteX88" fmla="*/ 1687852 w 4519987"/>
              <a:gd name="connsiteY88" fmla="*/ 4343400 h 4496940"/>
              <a:gd name="connsiteX89" fmla="*/ 1573552 w 4519987"/>
              <a:gd name="connsiteY89" fmla="*/ 4305300 h 4496940"/>
              <a:gd name="connsiteX90" fmla="*/ 1402102 w 4519987"/>
              <a:gd name="connsiteY90" fmla="*/ 4276725 h 4496940"/>
              <a:gd name="connsiteX91" fmla="*/ 1287802 w 4519987"/>
              <a:gd name="connsiteY91" fmla="*/ 4229100 h 4496940"/>
              <a:gd name="connsiteX92" fmla="*/ 1221127 w 4519987"/>
              <a:gd name="connsiteY92" fmla="*/ 4200525 h 4496940"/>
              <a:gd name="connsiteX93" fmla="*/ 1144927 w 4519987"/>
              <a:gd name="connsiteY93" fmla="*/ 4171950 h 4496940"/>
              <a:gd name="connsiteX94" fmla="*/ 1087777 w 4519987"/>
              <a:gd name="connsiteY94" fmla="*/ 4143375 h 4496940"/>
              <a:gd name="connsiteX95" fmla="*/ 1030627 w 4519987"/>
              <a:gd name="connsiteY95" fmla="*/ 4124325 h 4496940"/>
              <a:gd name="connsiteX96" fmla="*/ 925852 w 4519987"/>
              <a:gd name="connsiteY96" fmla="*/ 4067175 h 4496940"/>
              <a:gd name="connsiteX97" fmla="*/ 830602 w 4519987"/>
              <a:gd name="connsiteY97" fmla="*/ 3981450 h 4496940"/>
              <a:gd name="connsiteX98" fmla="*/ 763927 w 4519987"/>
              <a:gd name="connsiteY98" fmla="*/ 3914775 h 4496940"/>
              <a:gd name="connsiteX99" fmla="*/ 725827 w 4519987"/>
              <a:gd name="connsiteY99" fmla="*/ 3876675 h 4496940"/>
              <a:gd name="connsiteX100" fmla="*/ 697252 w 4519987"/>
              <a:gd name="connsiteY100" fmla="*/ 3838575 h 4496940"/>
              <a:gd name="connsiteX101" fmla="*/ 640102 w 4519987"/>
              <a:gd name="connsiteY101" fmla="*/ 3781425 h 4496940"/>
              <a:gd name="connsiteX102" fmla="*/ 611527 w 4519987"/>
              <a:gd name="connsiteY102" fmla="*/ 3733800 h 4496940"/>
              <a:gd name="connsiteX103" fmla="*/ 554377 w 4519987"/>
              <a:gd name="connsiteY103" fmla="*/ 3657600 h 4496940"/>
              <a:gd name="connsiteX104" fmla="*/ 525802 w 4519987"/>
              <a:gd name="connsiteY104" fmla="*/ 3609975 h 4496940"/>
              <a:gd name="connsiteX105" fmla="*/ 497227 w 4519987"/>
              <a:gd name="connsiteY105" fmla="*/ 3552825 h 4496940"/>
              <a:gd name="connsiteX106" fmla="*/ 440077 w 4519987"/>
              <a:gd name="connsiteY106" fmla="*/ 3495675 h 4496940"/>
              <a:gd name="connsiteX107" fmla="*/ 411502 w 4519987"/>
              <a:gd name="connsiteY107" fmla="*/ 3448050 h 4496940"/>
              <a:gd name="connsiteX108" fmla="*/ 278152 w 4519987"/>
              <a:gd name="connsiteY108" fmla="*/ 3257550 h 4496940"/>
              <a:gd name="connsiteX109" fmla="*/ 249577 w 4519987"/>
              <a:gd name="connsiteY109" fmla="*/ 3200400 h 4496940"/>
              <a:gd name="connsiteX110" fmla="*/ 240052 w 4519987"/>
              <a:gd name="connsiteY110" fmla="*/ 3162300 h 4496940"/>
              <a:gd name="connsiteX111" fmla="*/ 221002 w 4519987"/>
              <a:gd name="connsiteY111" fmla="*/ 3105150 h 4496940"/>
              <a:gd name="connsiteX112" fmla="*/ 173377 w 4519987"/>
              <a:gd name="connsiteY112" fmla="*/ 3019425 h 4496940"/>
              <a:gd name="connsiteX113" fmla="*/ 144802 w 4519987"/>
              <a:gd name="connsiteY113" fmla="*/ 2924175 h 4496940"/>
              <a:gd name="connsiteX114" fmla="*/ 68602 w 4519987"/>
              <a:gd name="connsiteY114" fmla="*/ 2724150 h 4496940"/>
              <a:gd name="connsiteX115" fmla="*/ 49552 w 4519987"/>
              <a:gd name="connsiteY115" fmla="*/ 2638425 h 4496940"/>
              <a:gd name="connsiteX116" fmla="*/ 40027 w 4519987"/>
              <a:gd name="connsiteY116" fmla="*/ 2562225 h 4496940"/>
              <a:gd name="connsiteX117" fmla="*/ 30502 w 4519987"/>
              <a:gd name="connsiteY117" fmla="*/ 2514600 h 4496940"/>
              <a:gd name="connsiteX118" fmla="*/ 11452 w 4519987"/>
              <a:gd name="connsiteY118" fmla="*/ 2400300 h 4496940"/>
              <a:gd name="connsiteX119" fmla="*/ 20977 w 4519987"/>
              <a:gd name="connsiteY119" fmla="*/ 1905000 h 4496940"/>
              <a:gd name="connsiteX120" fmla="*/ 30502 w 4519987"/>
              <a:gd name="connsiteY120" fmla="*/ 1838325 h 4496940"/>
              <a:gd name="connsiteX121" fmla="*/ 49552 w 4519987"/>
              <a:gd name="connsiteY121" fmla="*/ 1781175 h 4496940"/>
              <a:gd name="connsiteX122" fmla="*/ 59077 w 4519987"/>
              <a:gd name="connsiteY122" fmla="*/ 1743075 h 4496940"/>
              <a:gd name="connsiteX123" fmla="*/ 78127 w 4519987"/>
              <a:gd name="connsiteY123" fmla="*/ 1685925 h 4496940"/>
              <a:gd name="connsiteX124" fmla="*/ 87652 w 4519987"/>
              <a:gd name="connsiteY124" fmla="*/ 1638300 h 4496940"/>
              <a:gd name="connsiteX125" fmla="*/ 106702 w 4519987"/>
              <a:gd name="connsiteY125" fmla="*/ 1590675 h 4496940"/>
              <a:gd name="connsiteX126" fmla="*/ 135277 w 4519987"/>
              <a:gd name="connsiteY126" fmla="*/ 1504950 h 4496940"/>
              <a:gd name="connsiteX127" fmla="*/ 154327 w 4519987"/>
              <a:gd name="connsiteY127" fmla="*/ 1419225 h 4496940"/>
              <a:gd name="connsiteX128" fmla="*/ 230527 w 4519987"/>
              <a:gd name="connsiteY128" fmla="*/ 1276350 h 4496940"/>
              <a:gd name="connsiteX129" fmla="*/ 240052 w 4519987"/>
              <a:gd name="connsiteY129" fmla="*/ 1247775 h 4496940"/>
              <a:gd name="connsiteX130" fmla="*/ 268627 w 4519987"/>
              <a:gd name="connsiteY130" fmla="*/ 1200150 h 4496940"/>
              <a:gd name="connsiteX131" fmla="*/ 287677 w 4519987"/>
              <a:gd name="connsiteY131" fmla="*/ 1152525 h 4496940"/>
              <a:gd name="connsiteX132" fmla="*/ 316252 w 4519987"/>
              <a:gd name="connsiteY132" fmla="*/ 1114425 h 4496940"/>
              <a:gd name="connsiteX133" fmla="*/ 363877 w 4519987"/>
              <a:gd name="connsiteY133" fmla="*/ 1038225 h 4496940"/>
              <a:gd name="connsiteX134" fmla="*/ 382927 w 4519987"/>
              <a:gd name="connsiteY134" fmla="*/ 1009650 h 4496940"/>
              <a:gd name="connsiteX135" fmla="*/ 440077 w 4519987"/>
              <a:gd name="connsiteY135" fmla="*/ 904875 h 4496940"/>
              <a:gd name="connsiteX136" fmla="*/ 478177 w 4519987"/>
              <a:gd name="connsiteY136" fmla="*/ 857250 h 4496940"/>
              <a:gd name="connsiteX137" fmla="*/ 497227 w 4519987"/>
              <a:gd name="connsiteY137" fmla="*/ 828675 h 4496940"/>
              <a:gd name="connsiteX138" fmla="*/ 535327 w 4519987"/>
              <a:gd name="connsiteY138" fmla="*/ 800100 h 4496940"/>
              <a:gd name="connsiteX139" fmla="*/ 602002 w 4519987"/>
              <a:gd name="connsiteY139" fmla="*/ 733425 h 4496940"/>
              <a:gd name="connsiteX140" fmla="*/ 668677 w 4519987"/>
              <a:gd name="connsiteY140" fmla="*/ 676275 h 4496940"/>
              <a:gd name="connsiteX141" fmla="*/ 697252 w 4519987"/>
              <a:gd name="connsiteY141" fmla="*/ 657225 h 4496940"/>
              <a:gd name="connsiteX142" fmla="*/ 840127 w 4519987"/>
              <a:gd name="connsiteY142" fmla="*/ 533400 h 4496940"/>
              <a:gd name="connsiteX143" fmla="*/ 887752 w 4519987"/>
              <a:gd name="connsiteY143" fmla="*/ 504825 h 4496940"/>
              <a:gd name="connsiteX144" fmla="*/ 1167152 w 4519987"/>
              <a:gd name="connsiteY144" fmla="*/ 311150 h 4496940"/>
              <a:gd name="connsiteX145" fmla="*/ 1268752 w 4519987"/>
              <a:gd name="connsiteY145" fmla="*/ 285750 h 4496940"/>
              <a:gd name="connsiteX146" fmla="*/ 1411627 w 4519987"/>
              <a:gd name="connsiteY146" fmla="*/ 190500 h 4496940"/>
              <a:gd name="connsiteX147" fmla="*/ 1449727 w 4519987"/>
              <a:gd name="connsiteY147" fmla="*/ 161925 h 4496940"/>
              <a:gd name="connsiteX148" fmla="*/ 1525927 w 4519987"/>
              <a:gd name="connsiteY148" fmla="*/ 152400 h 4496940"/>
              <a:gd name="connsiteX149" fmla="*/ 1583077 w 4519987"/>
              <a:gd name="connsiteY149" fmla="*/ 142875 h 4496940"/>
              <a:gd name="connsiteX150" fmla="*/ 1716427 w 4519987"/>
              <a:gd name="connsiteY150" fmla="*/ 123825 h 4496940"/>
              <a:gd name="connsiteX151" fmla="*/ 1811677 w 4519987"/>
              <a:gd name="connsiteY151" fmla="*/ 114300 h 4496940"/>
              <a:gd name="connsiteX152" fmla="*/ 1859302 w 4519987"/>
              <a:gd name="connsiteY152" fmla="*/ 104775 h 4496940"/>
              <a:gd name="connsiteX153" fmla="*/ 1916452 w 4519987"/>
              <a:gd name="connsiteY153" fmla="*/ 95250 h 4496940"/>
              <a:gd name="connsiteX154" fmla="*/ 2030752 w 4519987"/>
              <a:gd name="connsiteY154" fmla="*/ 66675 h 4496940"/>
              <a:gd name="connsiteX155" fmla="*/ 2097427 w 4519987"/>
              <a:gd name="connsiteY155" fmla="*/ 47625 h 4496940"/>
              <a:gd name="connsiteX156" fmla="*/ 2164102 w 4519987"/>
              <a:gd name="connsiteY156" fmla="*/ 38100 h 4496940"/>
              <a:gd name="connsiteX157" fmla="*/ 2392702 w 4519987"/>
              <a:gd name="connsiteY15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07202 w 4519987"/>
              <a:gd name="connsiteY29" fmla="*/ 876300 h 4496940"/>
              <a:gd name="connsiteX30" fmla="*/ 4135777 w 4519987"/>
              <a:gd name="connsiteY30" fmla="*/ 933450 h 4496940"/>
              <a:gd name="connsiteX31" fmla="*/ 4164352 w 4519987"/>
              <a:gd name="connsiteY31" fmla="*/ 990600 h 4496940"/>
              <a:gd name="connsiteX32" fmla="*/ 4173877 w 4519987"/>
              <a:gd name="connsiteY32" fmla="*/ 1019175 h 4496940"/>
              <a:gd name="connsiteX33" fmla="*/ 4192927 w 4519987"/>
              <a:gd name="connsiteY33" fmla="*/ 1057275 h 4496940"/>
              <a:gd name="connsiteX34" fmla="*/ 4202452 w 4519987"/>
              <a:gd name="connsiteY34" fmla="*/ 1085850 h 4496940"/>
              <a:gd name="connsiteX35" fmla="*/ 4250077 w 4519987"/>
              <a:gd name="connsiteY35" fmla="*/ 1143000 h 4496940"/>
              <a:gd name="connsiteX36" fmla="*/ 4259602 w 4519987"/>
              <a:gd name="connsiteY36" fmla="*/ 1190625 h 4496940"/>
              <a:gd name="connsiteX37" fmla="*/ 4307227 w 4519987"/>
              <a:gd name="connsiteY37" fmla="*/ 1266825 h 4496940"/>
              <a:gd name="connsiteX38" fmla="*/ 4345327 w 4519987"/>
              <a:gd name="connsiteY38" fmla="*/ 1362075 h 4496940"/>
              <a:gd name="connsiteX39" fmla="*/ 4373902 w 4519987"/>
              <a:gd name="connsiteY39" fmla="*/ 1428750 h 4496940"/>
              <a:gd name="connsiteX40" fmla="*/ 4392952 w 4519987"/>
              <a:gd name="connsiteY40" fmla="*/ 1552575 h 4496940"/>
              <a:gd name="connsiteX41" fmla="*/ 4402477 w 4519987"/>
              <a:gd name="connsiteY41" fmla="*/ 1590675 h 4496940"/>
              <a:gd name="connsiteX42" fmla="*/ 4431052 w 4519987"/>
              <a:gd name="connsiteY42" fmla="*/ 1685925 h 4496940"/>
              <a:gd name="connsiteX43" fmla="*/ 4519952 w 4519987"/>
              <a:gd name="connsiteY43" fmla="*/ 2181225 h 4496940"/>
              <a:gd name="connsiteX44" fmla="*/ 4446927 w 4519987"/>
              <a:gd name="connsiteY44" fmla="*/ 2768600 h 4496940"/>
              <a:gd name="connsiteX45" fmla="*/ 4383427 w 4519987"/>
              <a:gd name="connsiteY45" fmla="*/ 2990850 h 4496940"/>
              <a:gd name="connsiteX46" fmla="*/ 4278652 w 4519987"/>
              <a:gd name="connsiteY46" fmla="*/ 3248025 h 4496940"/>
              <a:gd name="connsiteX47" fmla="*/ 4259602 w 4519987"/>
              <a:gd name="connsiteY47" fmla="*/ 3276600 h 4496940"/>
              <a:gd name="connsiteX48" fmla="*/ 4221502 w 4519987"/>
              <a:gd name="connsiteY48" fmla="*/ 3333750 h 4496940"/>
              <a:gd name="connsiteX49" fmla="*/ 4211977 w 4519987"/>
              <a:gd name="connsiteY49" fmla="*/ 3362325 h 4496940"/>
              <a:gd name="connsiteX50" fmla="*/ 4183402 w 4519987"/>
              <a:gd name="connsiteY50" fmla="*/ 3400425 h 4496940"/>
              <a:gd name="connsiteX51" fmla="*/ 4164352 w 4519987"/>
              <a:gd name="connsiteY51" fmla="*/ 3429000 h 4496940"/>
              <a:gd name="connsiteX52" fmla="*/ 4088152 w 4519987"/>
              <a:gd name="connsiteY52" fmla="*/ 3495675 h 4496940"/>
              <a:gd name="connsiteX53" fmla="*/ 4059577 w 4519987"/>
              <a:gd name="connsiteY53" fmla="*/ 3533775 h 4496940"/>
              <a:gd name="connsiteX54" fmla="*/ 4002427 w 4519987"/>
              <a:gd name="connsiteY54" fmla="*/ 3600450 h 4496940"/>
              <a:gd name="connsiteX55" fmla="*/ 3983377 w 4519987"/>
              <a:gd name="connsiteY55" fmla="*/ 3629025 h 4496940"/>
              <a:gd name="connsiteX56" fmla="*/ 3954802 w 4519987"/>
              <a:gd name="connsiteY56" fmla="*/ 3648075 h 4496940"/>
              <a:gd name="connsiteX57" fmla="*/ 3907177 w 4519987"/>
              <a:gd name="connsiteY57" fmla="*/ 3686175 h 4496940"/>
              <a:gd name="connsiteX58" fmla="*/ 3869077 w 4519987"/>
              <a:gd name="connsiteY58" fmla="*/ 3724275 h 4496940"/>
              <a:gd name="connsiteX59" fmla="*/ 3792877 w 4519987"/>
              <a:gd name="connsiteY59" fmla="*/ 3781425 h 4496940"/>
              <a:gd name="connsiteX60" fmla="*/ 3783352 w 4519987"/>
              <a:gd name="connsiteY60" fmla="*/ 3810000 h 4496940"/>
              <a:gd name="connsiteX61" fmla="*/ 3745252 w 4519987"/>
              <a:gd name="connsiteY61" fmla="*/ 3819525 h 4496940"/>
              <a:gd name="connsiteX62" fmla="*/ 3678577 w 4519987"/>
              <a:gd name="connsiteY62" fmla="*/ 3848100 h 4496940"/>
              <a:gd name="connsiteX63" fmla="*/ 3659527 w 4519987"/>
              <a:gd name="connsiteY63" fmla="*/ 3971925 h 4496940"/>
              <a:gd name="connsiteX64" fmla="*/ 3630952 w 4519987"/>
              <a:gd name="connsiteY64" fmla="*/ 4010025 h 4496940"/>
              <a:gd name="connsiteX65" fmla="*/ 3621427 w 4519987"/>
              <a:gd name="connsiteY65" fmla="*/ 4038600 h 4496940"/>
              <a:gd name="connsiteX66" fmla="*/ 3554752 w 4519987"/>
              <a:gd name="connsiteY66" fmla="*/ 4095750 h 4496940"/>
              <a:gd name="connsiteX67" fmla="*/ 3516652 w 4519987"/>
              <a:gd name="connsiteY67" fmla="*/ 4114800 h 4496940"/>
              <a:gd name="connsiteX68" fmla="*/ 3497602 w 4519987"/>
              <a:gd name="connsiteY68" fmla="*/ 4143375 h 4496940"/>
              <a:gd name="connsiteX69" fmla="*/ 3383302 w 4519987"/>
              <a:gd name="connsiteY69" fmla="*/ 4210050 h 4496940"/>
              <a:gd name="connsiteX70" fmla="*/ 3335677 w 4519987"/>
              <a:gd name="connsiteY70" fmla="*/ 4238625 h 4496940"/>
              <a:gd name="connsiteX71" fmla="*/ 3288052 w 4519987"/>
              <a:gd name="connsiteY71" fmla="*/ 4248150 h 4496940"/>
              <a:gd name="connsiteX72" fmla="*/ 3240427 w 4519987"/>
              <a:gd name="connsiteY72" fmla="*/ 4267200 h 4496940"/>
              <a:gd name="connsiteX73" fmla="*/ 3068977 w 4519987"/>
              <a:gd name="connsiteY73" fmla="*/ 4286250 h 4496940"/>
              <a:gd name="connsiteX74" fmla="*/ 2935627 w 4519987"/>
              <a:gd name="connsiteY74" fmla="*/ 4333875 h 4496940"/>
              <a:gd name="connsiteX75" fmla="*/ 2811802 w 4519987"/>
              <a:gd name="connsiteY75" fmla="*/ 4371975 h 4496940"/>
              <a:gd name="connsiteX76" fmla="*/ 2745127 w 4519987"/>
              <a:gd name="connsiteY76" fmla="*/ 4410075 h 4496940"/>
              <a:gd name="connsiteX77" fmla="*/ 2697502 w 4519987"/>
              <a:gd name="connsiteY77" fmla="*/ 4429125 h 4496940"/>
              <a:gd name="connsiteX78" fmla="*/ 2640352 w 4519987"/>
              <a:gd name="connsiteY78" fmla="*/ 4457700 h 4496940"/>
              <a:gd name="connsiteX79" fmla="*/ 2583202 w 4519987"/>
              <a:gd name="connsiteY79" fmla="*/ 4467225 h 4496940"/>
              <a:gd name="connsiteX80" fmla="*/ 2545102 w 4519987"/>
              <a:gd name="connsiteY80" fmla="*/ 4486275 h 4496940"/>
              <a:gd name="connsiteX81" fmla="*/ 2306977 w 4519987"/>
              <a:gd name="connsiteY81" fmla="*/ 4476750 h 4496940"/>
              <a:gd name="connsiteX82" fmla="*/ 2202202 w 4519987"/>
              <a:gd name="connsiteY82" fmla="*/ 4457700 h 4496940"/>
              <a:gd name="connsiteX83" fmla="*/ 2126002 w 4519987"/>
              <a:gd name="connsiteY83" fmla="*/ 4429125 h 4496940"/>
              <a:gd name="connsiteX84" fmla="*/ 1935502 w 4519987"/>
              <a:gd name="connsiteY84" fmla="*/ 4400550 h 4496940"/>
              <a:gd name="connsiteX85" fmla="*/ 1821202 w 4519987"/>
              <a:gd name="connsiteY85" fmla="*/ 4371975 h 4496940"/>
              <a:gd name="connsiteX86" fmla="*/ 1754527 w 4519987"/>
              <a:gd name="connsiteY86" fmla="*/ 4352925 h 4496940"/>
              <a:gd name="connsiteX87" fmla="*/ 1687852 w 4519987"/>
              <a:gd name="connsiteY87" fmla="*/ 4343400 h 4496940"/>
              <a:gd name="connsiteX88" fmla="*/ 1573552 w 4519987"/>
              <a:gd name="connsiteY88" fmla="*/ 4305300 h 4496940"/>
              <a:gd name="connsiteX89" fmla="*/ 1402102 w 4519987"/>
              <a:gd name="connsiteY89" fmla="*/ 4276725 h 4496940"/>
              <a:gd name="connsiteX90" fmla="*/ 1287802 w 4519987"/>
              <a:gd name="connsiteY90" fmla="*/ 4229100 h 4496940"/>
              <a:gd name="connsiteX91" fmla="*/ 1221127 w 4519987"/>
              <a:gd name="connsiteY91" fmla="*/ 4200525 h 4496940"/>
              <a:gd name="connsiteX92" fmla="*/ 1144927 w 4519987"/>
              <a:gd name="connsiteY92" fmla="*/ 4171950 h 4496940"/>
              <a:gd name="connsiteX93" fmla="*/ 1087777 w 4519987"/>
              <a:gd name="connsiteY93" fmla="*/ 4143375 h 4496940"/>
              <a:gd name="connsiteX94" fmla="*/ 1030627 w 4519987"/>
              <a:gd name="connsiteY94" fmla="*/ 4124325 h 4496940"/>
              <a:gd name="connsiteX95" fmla="*/ 925852 w 4519987"/>
              <a:gd name="connsiteY95" fmla="*/ 4067175 h 4496940"/>
              <a:gd name="connsiteX96" fmla="*/ 830602 w 4519987"/>
              <a:gd name="connsiteY96" fmla="*/ 3981450 h 4496940"/>
              <a:gd name="connsiteX97" fmla="*/ 763927 w 4519987"/>
              <a:gd name="connsiteY97" fmla="*/ 3914775 h 4496940"/>
              <a:gd name="connsiteX98" fmla="*/ 725827 w 4519987"/>
              <a:gd name="connsiteY98" fmla="*/ 3876675 h 4496940"/>
              <a:gd name="connsiteX99" fmla="*/ 697252 w 4519987"/>
              <a:gd name="connsiteY99" fmla="*/ 3838575 h 4496940"/>
              <a:gd name="connsiteX100" fmla="*/ 640102 w 4519987"/>
              <a:gd name="connsiteY100" fmla="*/ 3781425 h 4496940"/>
              <a:gd name="connsiteX101" fmla="*/ 611527 w 4519987"/>
              <a:gd name="connsiteY101" fmla="*/ 3733800 h 4496940"/>
              <a:gd name="connsiteX102" fmla="*/ 554377 w 4519987"/>
              <a:gd name="connsiteY102" fmla="*/ 3657600 h 4496940"/>
              <a:gd name="connsiteX103" fmla="*/ 525802 w 4519987"/>
              <a:gd name="connsiteY103" fmla="*/ 3609975 h 4496940"/>
              <a:gd name="connsiteX104" fmla="*/ 497227 w 4519987"/>
              <a:gd name="connsiteY104" fmla="*/ 3552825 h 4496940"/>
              <a:gd name="connsiteX105" fmla="*/ 440077 w 4519987"/>
              <a:gd name="connsiteY105" fmla="*/ 3495675 h 4496940"/>
              <a:gd name="connsiteX106" fmla="*/ 411502 w 4519987"/>
              <a:gd name="connsiteY106" fmla="*/ 3448050 h 4496940"/>
              <a:gd name="connsiteX107" fmla="*/ 278152 w 4519987"/>
              <a:gd name="connsiteY107" fmla="*/ 3257550 h 4496940"/>
              <a:gd name="connsiteX108" fmla="*/ 249577 w 4519987"/>
              <a:gd name="connsiteY108" fmla="*/ 3200400 h 4496940"/>
              <a:gd name="connsiteX109" fmla="*/ 240052 w 4519987"/>
              <a:gd name="connsiteY109" fmla="*/ 3162300 h 4496940"/>
              <a:gd name="connsiteX110" fmla="*/ 221002 w 4519987"/>
              <a:gd name="connsiteY110" fmla="*/ 3105150 h 4496940"/>
              <a:gd name="connsiteX111" fmla="*/ 173377 w 4519987"/>
              <a:gd name="connsiteY111" fmla="*/ 3019425 h 4496940"/>
              <a:gd name="connsiteX112" fmla="*/ 144802 w 4519987"/>
              <a:gd name="connsiteY112" fmla="*/ 2924175 h 4496940"/>
              <a:gd name="connsiteX113" fmla="*/ 68602 w 4519987"/>
              <a:gd name="connsiteY113" fmla="*/ 2724150 h 4496940"/>
              <a:gd name="connsiteX114" fmla="*/ 49552 w 4519987"/>
              <a:gd name="connsiteY114" fmla="*/ 2638425 h 4496940"/>
              <a:gd name="connsiteX115" fmla="*/ 40027 w 4519987"/>
              <a:gd name="connsiteY115" fmla="*/ 2562225 h 4496940"/>
              <a:gd name="connsiteX116" fmla="*/ 30502 w 4519987"/>
              <a:gd name="connsiteY116" fmla="*/ 2514600 h 4496940"/>
              <a:gd name="connsiteX117" fmla="*/ 11452 w 4519987"/>
              <a:gd name="connsiteY117" fmla="*/ 2400300 h 4496940"/>
              <a:gd name="connsiteX118" fmla="*/ 20977 w 4519987"/>
              <a:gd name="connsiteY118" fmla="*/ 1905000 h 4496940"/>
              <a:gd name="connsiteX119" fmla="*/ 30502 w 4519987"/>
              <a:gd name="connsiteY119" fmla="*/ 1838325 h 4496940"/>
              <a:gd name="connsiteX120" fmla="*/ 49552 w 4519987"/>
              <a:gd name="connsiteY120" fmla="*/ 1781175 h 4496940"/>
              <a:gd name="connsiteX121" fmla="*/ 59077 w 4519987"/>
              <a:gd name="connsiteY121" fmla="*/ 1743075 h 4496940"/>
              <a:gd name="connsiteX122" fmla="*/ 78127 w 4519987"/>
              <a:gd name="connsiteY122" fmla="*/ 1685925 h 4496940"/>
              <a:gd name="connsiteX123" fmla="*/ 87652 w 4519987"/>
              <a:gd name="connsiteY123" fmla="*/ 1638300 h 4496940"/>
              <a:gd name="connsiteX124" fmla="*/ 106702 w 4519987"/>
              <a:gd name="connsiteY124" fmla="*/ 1590675 h 4496940"/>
              <a:gd name="connsiteX125" fmla="*/ 135277 w 4519987"/>
              <a:gd name="connsiteY125" fmla="*/ 1504950 h 4496940"/>
              <a:gd name="connsiteX126" fmla="*/ 154327 w 4519987"/>
              <a:gd name="connsiteY126" fmla="*/ 1419225 h 4496940"/>
              <a:gd name="connsiteX127" fmla="*/ 230527 w 4519987"/>
              <a:gd name="connsiteY127" fmla="*/ 1276350 h 4496940"/>
              <a:gd name="connsiteX128" fmla="*/ 240052 w 4519987"/>
              <a:gd name="connsiteY128" fmla="*/ 1247775 h 4496940"/>
              <a:gd name="connsiteX129" fmla="*/ 268627 w 4519987"/>
              <a:gd name="connsiteY129" fmla="*/ 1200150 h 4496940"/>
              <a:gd name="connsiteX130" fmla="*/ 287677 w 4519987"/>
              <a:gd name="connsiteY130" fmla="*/ 1152525 h 4496940"/>
              <a:gd name="connsiteX131" fmla="*/ 316252 w 4519987"/>
              <a:gd name="connsiteY131" fmla="*/ 1114425 h 4496940"/>
              <a:gd name="connsiteX132" fmla="*/ 363877 w 4519987"/>
              <a:gd name="connsiteY132" fmla="*/ 1038225 h 4496940"/>
              <a:gd name="connsiteX133" fmla="*/ 382927 w 4519987"/>
              <a:gd name="connsiteY133" fmla="*/ 1009650 h 4496940"/>
              <a:gd name="connsiteX134" fmla="*/ 440077 w 4519987"/>
              <a:gd name="connsiteY134" fmla="*/ 904875 h 4496940"/>
              <a:gd name="connsiteX135" fmla="*/ 478177 w 4519987"/>
              <a:gd name="connsiteY135" fmla="*/ 857250 h 4496940"/>
              <a:gd name="connsiteX136" fmla="*/ 497227 w 4519987"/>
              <a:gd name="connsiteY136" fmla="*/ 828675 h 4496940"/>
              <a:gd name="connsiteX137" fmla="*/ 535327 w 4519987"/>
              <a:gd name="connsiteY137" fmla="*/ 800100 h 4496940"/>
              <a:gd name="connsiteX138" fmla="*/ 602002 w 4519987"/>
              <a:gd name="connsiteY138" fmla="*/ 733425 h 4496940"/>
              <a:gd name="connsiteX139" fmla="*/ 668677 w 4519987"/>
              <a:gd name="connsiteY139" fmla="*/ 676275 h 4496940"/>
              <a:gd name="connsiteX140" fmla="*/ 697252 w 4519987"/>
              <a:gd name="connsiteY140" fmla="*/ 657225 h 4496940"/>
              <a:gd name="connsiteX141" fmla="*/ 840127 w 4519987"/>
              <a:gd name="connsiteY141" fmla="*/ 533400 h 4496940"/>
              <a:gd name="connsiteX142" fmla="*/ 887752 w 4519987"/>
              <a:gd name="connsiteY142" fmla="*/ 504825 h 4496940"/>
              <a:gd name="connsiteX143" fmla="*/ 1167152 w 4519987"/>
              <a:gd name="connsiteY143" fmla="*/ 311150 h 4496940"/>
              <a:gd name="connsiteX144" fmla="*/ 1268752 w 4519987"/>
              <a:gd name="connsiteY144" fmla="*/ 285750 h 4496940"/>
              <a:gd name="connsiteX145" fmla="*/ 1411627 w 4519987"/>
              <a:gd name="connsiteY145" fmla="*/ 190500 h 4496940"/>
              <a:gd name="connsiteX146" fmla="*/ 1449727 w 4519987"/>
              <a:gd name="connsiteY146" fmla="*/ 161925 h 4496940"/>
              <a:gd name="connsiteX147" fmla="*/ 1525927 w 4519987"/>
              <a:gd name="connsiteY147" fmla="*/ 152400 h 4496940"/>
              <a:gd name="connsiteX148" fmla="*/ 1583077 w 4519987"/>
              <a:gd name="connsiteY148" fmla="*/ 142875 h 4496940"/>
              <a:gd name="connsiteX149" fmla="*/ 1716427 w 4519987"/>
              <a:gd name="connsiteY149" fmla="*/ 123825 h 4496940"/>
              <a:gd name="connsiteX150" fmla="*/ 1811677 w 4519987"/>
              <a:gd name="connsiteY150" fmla="*/ 114300 h 4496940"/>
              <a:gd name="connsiteX151" fmla="*/ 1859302 w 4519987"/>
              <a:gd name="connsiteY151" fmla="*/ 104775 h 4496940"/>
              <a:gd name="connsiteX152" fmla="*/ 1916452 w 4519987"/>
              <a:gd name="connsiteY152" fmla="*/ 95250 h 4496940"/>
              <a:gd name="connsiteX153" fmla="*/ 2030752 w 4519987"/>
              <a:gd name="connsiteY153" fmla="*/ 66675 h 4496940"/>
              <a:gd name="connsiteX154" fmla="*/ 2097427 w 4519987"/>
              <a:gd name="connsiteY154" fmla="*/ 47625 h 4496940"/>
              <a:gd name="connsiteX155" fmla="*/ 2164102 w 4519987"/>
              <a:gd name="connsiteY155" fmla="*/ 38100 h 4496940"/>
              <a:gd name="connsiteX156" fmla="*/ 2392702 w 4519987"/>
              <a:gd name="connsiteY15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35777 w 4519987"/>
              <a:gd name="connsiteY29" fmla="*/ 933450 h 4496940"/>
              <a:gd name="connsiteX30" fmla="*/ 4164352 w 4519987"/>
              <a:gd name="connsiteY30" fmla="*/ 990600 h 4496940"/>
              <a:gd name="connsiteX31" fmla="*/ 4173877 w 4519987"/>
              <a:gd name="connsiteY31" fmla="*/ 1019175 h 4496940"/>
              <a:gd name="connsiteX32" fmla="*/ 4192927 w 4519987"/>
              <a:gd name="connsiteY32" fmla="*/ 1057275 h 4496940"/>
              <a:gd name="connsiteX33" fmla="*/ 4202452 w 4519987"/>
              <a:gd name="connsiteY33" fmla="*/ 1085850 h 4496940"/>
              <a:gd name="connsiteX34" fmla="*/ 4250077 w 4519987"/>
              <a:gd name="connsiteY34" fmla="*/ 1143000 h 4496940"/>
              <a:gd name="connsiteX35" fmla="*/ 4259602 w 4519987"/>
              <a:gd name="connsiteY35" fmla="*/ 1190625 h 4496940"/>
              <a:gd name="connsiteX36" fmla="*/ 4307227 w 4519987"/>
              <a:gd name="connsiteY36" fmla="*/ 1266825 h 4496940"/>
              <a:gd name="connsiteX37" fmla="*/ 4345327 w 4519987"/>
              <a:gd name="connsiteY37" fmla="*/ 1362075 h 4496940"/>
              <a:gd name="connsiteX38" fmla="*/ 4373902 w 4519987"/>
              <a:gd name="connsiteY38" fmla="*/ 1428750 h 4496940"/>
              <a:gd name="connsiteX39" fmla="*/ 4392952 w 4519987"/>
              <a:gd name="connsiteY39" fmla="*/ 1552575 h 4496940"/>
              <a:gd name="connsiteX40" fmla="*/ 4402477 w 4519987"/>
              <a:gd name="connsiteY40" fmla="*/ 1590675 h 4496940"/>
              <a:gd name="connsiteX41" fmla="*/ 4431052 w 4519987"/>
              <a:gd name="connsiteY41" fmla="*/ 1685925 h 4496940"/>
              <a:gd name="connsiteX42" fmla="*/ 4519952 w 4519987"/>
              <a:gd name="connsiteY42" fmla="*/ 2181225 h 4496940"/>
              <a:gd name="connsiteX43" fmla="*/ 4446927 w 4519987"/>
              <a:gd name="connsiteY43" fmla="*/ 2768600 h 4496940"/>
              <a:gd name="connsiteX44" fmla="*/ 4383427 w 4519987"/>
              <a:gd name="connsiteY44" fmla="*/ 2990850 h 4496940"/>
              <a:gd name="connsiteX45" fmla="*/ 4278652 w 4519987"/>
              <a:gd name="connsiteY45" fmla="*/ 3248025 h 4496940"/>
              <a:gd name="connsiteX46" fmla="*/ 4259602 w 4519987"/>
              <a:gd name="connsiteY46" fmla="*/ 3276600 h 4496940"/>
              <a:gd name="connsiteX47" fmla="*/ 4221502 w 4519987"/>
              <a:gd name="connsiteY47" fmla="*/ 3333750 h 4496940"/>
              <a:gd name="connsiteX48" fmla="*/ 4211977 w 4519987"/>
              <a:gd name="connsiteY48" fmla="*/ 3362325 h 4496940"/>
              <a:gd name="connsiteX49" fmla="*/ 4183402 w 4519987"/>
              <a:gd name="connsiteY49" fmla="*/ 3400425 h 4496940"/>
              <a:gd name="connsiteX50" fmla="*/ 4164352 w 4519987"/>
              <a:gd name="connsiteY50" fmla="*/ 3429000 h 4496940"/>
              <a:gd name="connsiteX51" fmla="*/ 4088152 w 4519987"/>
              <a:gd name="connsiteY51" fmla="*/ 3495675 h 4496940"/>
              <a:gd name="connsiteX52" fmla="*/ 4059577 w 4519987"/>
              <a:gd name="connsiteY52" fmla="*/ 3533775 h 4496940"/>
              <a:gd name="connsiteX53" fmla="*/ 4002427 w 4519987"/>
              <a:gd name="connsiteY53" fmla="*/ 3600450 h 4496940"/>
              <a:gd name="connsiteX54" fmla="*/ 3983377 w 4519987"/>
              <a:gd name="connsiteY54" fmla="*/ 3629025 h 4496940"/>
              <a:gd name="connsiteX55" fmla="*/ 3954802 w 4519987"/>
              <a:gd name="connsiteY55" fmla="*/ 3648075 h 4496940"/>
              <a:gd name="connsiteX56" fmla="*/ 3907177 w 4519987"/>
              <a:gd name="connsiteY56" fmla="*/ 3686175 h 4496940"/>
              <a:gd name="connsiteX57" fmla="*/ 3869077 w 4519987"/>
              <a:gd name="connsiteY57" fmla="*/ 3724275 h 4496940"/>
              <a:gd name="connsiteX58" fmla="*/ 3792877 w 4519987"/>
              <a:gd name="connsiteY58" fmla="*/ 3781425 h 4496940"/>
              <a:gd name="connsiteX59" fmla="*/ 3783352 w 4519987"/>
              <a:gd name="connsiteY59" fmla="*/ 3810000 h 4496940"/>
              <a:gd name="connsiteX60" fmla="*/ 3745252 w 4519987"/>
              <a:gd name="connsiteY60" fmla="*/ 3819525 h 4496940"/>
              <a:gd name="connsiteX61" fmla="*/ 3678577 w 4519987"/>
              <a:gd name="connsiteY61" fmla="*/ 3848100 h 4496940"/>
              <a:gd name="connsiteX62" fmla="*/ 3659527 w 4519987"/>
              <a:gd name="connsiteY62" fmla="*/ 3971925 h 4496940"/>
              <a:gd name="connsiteX63" fmla="*/ 3630952 w 4519987"/>
              <a:gd name="connsiteY63" fmla="*/ 4010025 h 4496940"/>
              <a:gd name="connsiteX64" fmla="*/ 3621427 w 4519987"/>
              <a:gd name="connsiteY64" fmla="*/ 4038600 h 4496940"/>
              <a:gd name="connsiteX65" fmla="*/ 3554752 w 4519987"/>
              <a:gd name="connsiteY65" fmla="*/ 4095750 h 4496940"/>
              <a:gd name="connsiteX66" fmla="*/ 3516652 w 4519987"/>
              <a:gd name="connsiteY66" fmla="*/ 4114800 h 4496940"/>
              <a:gd name="connsiteX67" fmla="*/ 3497602 w 4519987"/>
              <a:gd name="connsiteY67" fmla="*/ 4143375 h 4496940"/>
              <a:gd name="connsiteX68" fmla="*/ 3383302 w 4519987"/>
              <a:gd name="connsiteY68" fmla="*/ 4210050 h 4496940"/>
              <a:gd name="connsiteX69" fmla="*/ 3335677 w 4519987"/>
              <a:gd name="connsiteY69" fmla="*/ 4238625 h 4496940"/>
              <a:gd name="connsiteX70" fmla="*/ 3288052 w 4519987"/>
              <a:gd name="connsiteY70" fmla="*/ 4248150 h 4496940"/>
              <a:gd name="connsiteX71" fmla="*/ 3240427 w 4519987"/>
              <a:gd name="connsiteY71" fmla="*/ 4267200 h 4496940"/>
              <a:gd name="connsiteX72" fmla="*/ 3068977 w 4519987"/>
              <a:gd name="connsiteY72" fmla="*/ 4286250 h 4496940"/>
              <a:gd name="connsiteX73" fmla="*/ 2935627 w 4519987"/>
              <a:gd name="connsiteY73" fmla="*/ 4333875 h 4496940"/>
              <a:gd name="connsiteX74" fmla="*/ 2811802 w 4519987"/>
              <a:gd name="connsiteY74" fmla="*/ 4371975 h 4496940"/>
              <a:gd name="connsiteX75" fmla="*/ 2745127 w 4519987"/>
              <a:gd name="connsiteY75" fmla="*/ 4410075 h 4496940"/>
              <a:gd name="connsiteX76" fmla="*/ 2697502 w 4519987"/>
              <a:gd name="connsiteY76" fmla="*/ 4429125 h 4496940"/>
              <a:gd name="connsiteX77" fmla="*/ 2640352 w 4519987"/>
              <a:gd name="connsiteY77" fmla="*/ 4457700 h 4496940"/>
              <a:gd name="connsiteX78" fmla="*/ 2583202 w 4519987"/>
              <a:gd name="connsiteY78" fmla="*/ 4467225 h 4496940"/>
              <a:gd name="connsiteX79" fmla="*/ 2545102 w 4519987"/>
              <a:gd name="connsiteY79" fmla="*/ 4486275 h 4496940"/>
              <a:gd name="connsiteX80" fmla="*/ 2306977 w 4519987"/>
              <a:gd name="connsiteY80" fmla="*/ 4476750 h 4496940"/>
              <a:gd name="connsiteX81" fmla="*/ 2202202 w 4519987"/>
              <a:gd name="connsiteY81" fmla="*/ 4457700 h 4496940"/>
              <a:gd name="connsiteX82" fmla="*/ 2126002 w 4519987"/>
              <a:gd name="connsiteY82" fmla="*/ 4429125 h 4496940"/>
              <a:gd name="connsiteX83" fmla="*/ 1935502 w 4519987"/>
              <a:gd name="connsiteY83" fmla="*/ 4400550 h 4496940"/>
              <a:gd name="connsiteX84" fmla="*/ 1821202 w 4519987"/>
              <a:gd name="connsiteY84" fmla="*/ 4371975 h 4496940"/>
              <a:gd name="connsiteX85" fmla="*/ 1754527 w 4519987"/>
              <a:gd name="connsiteY85" fmla="*/ 4352925 h 4496940"/>
              <a:gd name="connsiteX86" fmla="*/ 1687852 w 4519987"/>
              <a:gd name="connsiteY86" fmla="*/ 4343400 h 4496940"/>
              <a:gd name="connsiteX87" fmla="*/ 1573552 w 4519987"/>
              <a:gd name="connsiteY87" fmla="*/ 4305300 h 4496940"/>
              <a:gd name="connsiteX88" fmla="*/ 1402102 w 4519987"/>
              <a:gd name="connsiteY88" fmla="*/ 4276725 h 4496940"/>
              <a:gd name="connsiteX89" fmla="*/ 1287802 w 4519987"/>
              <a:gd name="connsiteY89" fmla="*/ 4229100 h 4496940"/>
              <a:gd name="connsiteX90" fmla="*/ 1221127 w 4519987"/>
              <a:gd name="connsiteY90" fmla="*/ 4200525 h 4496940"/>
              <a:gd name="connsiteX91" fmla="*/ 1144927 w 4519987"/>
              <a:gd name="connsiteY91" fmla="*/ 4171950 h 4496940"/>
              <a:gd name="connsiteX92" fmla="*/ 1087777 w 4519987"/>
              <a:gd name="connsiteY92" fmla="*/ 4143375 h 4496940"/>
              <a:gd name="connsiteX93" fmla="*/ 1030627 w 4519987"/>
              <a:gd name="connsiteY93" fmla="*/ 4124325 h 4496940"/>
              <a:gd name="connsiteX94" fmla="*/ 925852 w 4519987"/>
              <a:gd name="connsiteY94" fmla="*/ 4067175 h 4496940"/>
              <a:gd name="connsiteX95" fmla="*/ 830602 w 4519987"/>
              <a:gd name="connsiteY95" fmla="*/ 3981450 h 4496940"/>
              <a:gd name="connsiteX96" fmla="*/ 763927 w 4519987"/>
              <a:gd name="connsiteY96" fmla="*/ 3914775 h 4496940"/>
              <a:gd name="connsiteX97" fmla="*/ 725827 w 4519987"/>
              <a:gd name="connsiteY97" fmla="*/ 3876675 h 4496940"/>
              <a:gd name="connsiteX98" fmla="*/ 697252 w 4519987"/>
              <a:gd name="connsiteY98" fmla="*/ 3838575 h 4496940"/>
              <a:gd name="connsiteX99" fmla="*/ 640102 w 4519987"/>
              <a:gd name="connsiteY99" fmla="*/ 3781425 h 4496940"/>
              <a:gd name="connsiteX100" fmla="*/ 611527 w 4519987"/>
              <a:gd name="connsiteY100" fmla="*/ 3733800 h 4496940"/>
              <a:gd name="connsiteX101" fmla="*/ 554377 w 4519987"/>
              <a:gd name="connsiteY101" fmla="*/ 3657600 h 4496940"/>
              <a:gd name="connsiteX102" fmla="*/ 525802 w 4519987"/>
              <a:gd name="connsiteY102" fmla="*/ 3609975 h 4496940"/>
              <a:gd name="connsiteX103" fmla="*/ 497227 w 4519987"/>
              <a:gd name="connsiteY103" fmla="*/ 3552825 h 4496940"/>
              <a:gd name="connsiteX104" fmla="*/ 440077 w 4519987"/>
              <a:gd name="connsiteY104" fmla="*/ 3495675 h 4496940"/>
              <a:gd name="connsiteX105" fmla="*/ 411502 w 4519987"/>
              <a:gd name="connsiteY105" fmla="*/ 3448050 h 4496940"/>
              <a:gd name="connsiteX106" fmla="*/ 278152 w 4519987"/>
              <a:gd name="connsiteY106" fmla="*/ 3257550 h 4496940"/>
              <a:gd name="connsiteX107" fmla="*/ 249577 w 4519987"/>
              <a:gd name="connsiteY107" fmla="*/ 3200400 h 4496940"/>
              <a:gd name="connsiteX108" fmla="*/ 240052 w 4519987"/>
              <a:gd name="connsiteY108" fmla="*/ 3162300 h 4496940"/>
              <a:gd name="connsiteX109" fmla="*/ 221002 w 4519987"/>
              <a:gd name="connsiteY109" fmla="*/ 3105150 h 4496940"/>
              <a:gd name="connsiteX110" fmla="*/ 173377 w 4519987"/>
              <a:gd name="connsiteY110" fmla="*/ 3019425 h 4496940"/>
              <a:gd name="connsiteX111" fmla="*/ 144802 w 4519987"/>
              <a:gd name="connsiteY111" fmla="*/ 2924175 h 4496940"/>
              <a:gd name="connsiteX112" fmla="*/ 68602 w 4519987"/>
              <a:gd name="connsiteY112" fmla="*/ 2724150 h 4496940"/>
              <a:gd name="connsiteX113" fmla="*/ 49552 w 4519987"/>
              <a:gd name="connsiteY113" fmla="*/ 2638425 h 4496940"/>
              <a:gd name="connsiteX114" fmla="*/ 40027 w 4519987"/>
              <a:gd name="connsiteY114" fmla="*/ 2562225 h 4496940"/>
              <a:gd name="connsiteX115" fmla="*/ 30502 w 4519987"/>
              <a:gd name="connsiteY115" fmla="*/ 2514600 h 4496940"/>
              <a:gd name="connsiteX116" fmla="*/ 11452 w 4519987"/>
              <a:gd name="connsiteY116" fmla="*/ 2400300 h 4496940"/>
              <a:gd name="connsiteX117" fmla="*/ 20977 w 4519987"/>
              <a:gd name="connsiteY117" fmla="*/ 1905000 h 4496940"/>
              <a:gd name="connsiteX118" fmla="*/ 30502 w 4519987"/>
              <a:gd name="connsiteY118" fmla="*/ 1838325 h 4496940"/>
              <a:gd name="connsiteX119" fmla="*/ 49552 w 4519987"/>
              <a:gd name="connsiteY119" fmla="*/ 1781175 h 4496940"/>
              <a:gd name="connsiteX120" fmla="*/ 59077 w 4519987"/>
              <a:gd name="connsiteY120" fmla="*/ 1743075 h 4496940"/>
              <a:gd name="connsiteX121" fmla="*/ 78127 w 4519987"/>
              <a:gd name="connsiteY121" fmla="*/ 1685925 h 4496940"/>
              <a:gd name="connsiteX122" fmla="*/ 87652 w 4519987"/>
              <a:gd name="connsiteY122" fmla="*/ 1638300 h 4496940"/>
              <a:gd name="connsiteX123" fmla="*/ 106702 w 4519987"/>
              <a:gd name="connsiteY123" fmla="*/ 1590675 h 4496940"/>
              <a:gd name="connsiteX124" fmla="*/ 135277 w 4519987"/>
              <a:gd name="connsiteY124" fmla="*/ 1504950 h 4496940"/>
              <a:gd name="connsiteX125" fmla="*/ 154327 w 4519987"/>
              <a:gd name="connsiteY125" fmla="*/ 1419225 h 4496940"/>
              <a:gd name="connsiteX126" fmla="*/ 230527 w 4519987"/>
              <a:gd name="connsiteY126" fmla="*/ 1276350 h 4496940"/>
              <a:gd name="connsiteX127" fmla="*/ 240052 w 4519987"/>
              <a:gd name="connsiteY127" fmla="*/ 1247775 h 4496940"/>
              <a:gd name="connsiteX128" fmla="*/ 268627 w 4519987"/>
              <a:gd name="connsiteY128" fmla="*/ 1200150 h 4496940"/>
              <a:gd name="connsiteX129" fmla="*/ 287677 w 4519987"/>
              <a:gd name="connsiteY129" fmla="*/ 1152525 h 4496940"/>
              <a:gd name="connsiteX130" fmla="*/ 316252 w 4519987"/>
              <a:gd name="connsiteY130" fmla="*/ 1114425 h 4496940"/>
              <a:gd name="connsiteX131" fmla="*/ 363877 w 4519987"/>
              <a:gd name="connsiteY131" fmla="*/ 1038225 h 4496940"/>
              <a:gd name="connsiteX132" fmla="*/ 382927 w 4519987"/>
              <a:gd name="connsiteY132" fmla="*/ 1009650 h 4496940"/>
              <a:gd name="connsiteX133" fmla="*/ 440077 w 4519987"/>
              <a:gd name="connsiteY133" fmla="*/ 904875 h 4496940"/>
              <a:gd name="connsiteX134" fmla="*/ 478177 w 4519987"/>
              <a:gd name="connsiteY134" fmla="*/ 857250 h 4496940"/>
              <a:gd name="connsiteX135" fmla="*/ 497227 w 4519987"/>
              <a:gd name="connsiteY135" fmla="*/ 828675 h 4496940"/>
              <a:gd name="connsiteX136" fmla="*/ 535327 w 4519987"/>
              <a:gd name="connsiteY136" fmla="*/ 800100 h 4496940"/>
              <a:gd name="connsiteX137" fmla="*/ 602002 w 4519987"/>
              <a:gd name="connsiteY137" fmla="*/ 733425 h 4496940"/>
              <a:gd name="connsiteX138" fmla="*/ 668677 w 4519987"/>
              <a:gd name="connsiteY138" fmla="*/ 676275 h 4496940"/>
              <a:gd name="connsiteX139" fmla="*/ 697252 w 4519987"/>
              <a:gd name="connsiteY139" fmla="*/ 657225 h 4496940"/>
              <a:gd name="connsiteX140" fmla="*/ 840127 w 4519987"/>
              <a:gd name="connsiteY140" fmla="*/ 533400 h 4496940"/>
              <a:gd name="connsiteX141" fmla="*/ 887752 w 4519987"/>
              <a:gd name="connsiteY141" fmla="*/ 504825 h 4496940"/>
              <a:gd name="connsiteX142" fmla="*/ 1167152 w 4519987"/>
              <a:gd name="connsiteY142" fmla="*/ 311150 h 4496940"/>
              <a:gd name="connsiteX143" fmla="*/ 1268752 w 4519987"/>
              <a:gd name="connsiteY143" fmla="*/ 285750 h 4496940"/>
              <a:gd name="connsiteX144" fmla="*/ 1411627 w 4519987"/>
              <a:gd name="connsiteY144" fmla="*/ 190500 h 4496940"/>
              <a:gd name="connsiteX145" fmla="*/ 1449727 w 4519987"/>
              <a:gd name="connsiteY145" fmla="*/ 161925 h 4496940"/>
              <a:gd name="connsiteX146" fmla="*/ 1525927 w 4519987"/>
              <a:gd name="connsiteY146" fmla="*/ 152400 h 4496940"/>
              <a:gd name="connsiteX147" fmla="*/ 1583077 w 4519987"/>
              <a:gd name="connsiteY147" fmla="*/ 142875 h 4496940"/>
              <a:gd name="connsiteX148" fmla="*/ 1716427 w 4519987"/>
              <a:gd name="connsiteY148" fmla="*/ 123825 h 4496940"/>
              <a:gd name="connsiteX149" fmla="*/ 1811677 w 4519987"/>
              <a:gd name="connsiteY149" fmla="*/ 114300 h 4496940"/>
              <a:gd name="connsiteX150" fmla="*/ 1859302 w 4519987"/>
              <a:gd name="connsiteY150" fmla="*/ 104775 h 4496940"/>
              <a:gd name="connsiteX151" fmla="*/ 1916452 w 4519987"/>
              <a:gd name="connsiteY151" fmla="*/ 95250 h 4496940"/>
              <a:gd name="connsiteX152" fmla="*/ 2030752 w 4519987"/>
              <a:gd name="connsiteY152" fmla="*/ 66675 h 4496940"/>
              <a:gd name="connsiteX153" fmla="*/ 2097427 w 4519987"/>
              <a:gd name="connsiteY153" fmla="*/ 47625 h 4496940"/>
              <a:gd name="connsiteX154" fmla="*/ 2164102 w 4519987"/>
              <a:gd name="connsiteY154" fmla="*/ 38100 h 4496940"/>
              <a:gd name="connsiteX155" fmla="*/ 2392702 w 4519987"/>
              <a:gd name="connsiteY15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907177 w 4519987"/>
              <a:gd name="connsiteY25" fmla="*/ 647700 h 4496940"/>
              <a:gd name="connsiteX26" fmla="*/ 3935752 w 4519987"/>
              <a:gd name="connsiteY26" fmla="*/ 676275 h 4496940"/>
              <a:gd name="connsiteX27" fmla="*/ 4078627 w 4519987"/>
              <a:gd name="connsiteY27" fmla="*/ 838200 h 4496940"/>
              <a:gd name="connsiteX28" fmla="*/ 4135777 w 4519987"/>
              <a:gd name="connsiteY28" fmla="*/ 933450 h 4496940"/>
              <a:gd name="connsiteX29" fmla="*/ 4164352 w 4519987"/>
              <a:gd name="connsiteY29" fmla="*/ 990600 h 4496940"/>
              <a:gd name="connsiteX30" fmla="*/ 4173877 w 4519987"/>
              <a:gd name="connsiteY30" fmla="*/ 1019175 h 4496940"/>
              <a:gd name="connsiteX31" fmla="*/ 4192927 w 4519987"/>
              <a:gd name="connsiteY31" fmla="*/ 1057275 h 4496940"/>
              <a:gd name="connsiteX32" fmla="*/ 4202452 w 4519987"/>
              <a:gd name="connsiteY32" fmla="*/ 1085850 h 4496940"/>
              <a:gd name="connsiteX33" fmla="*/ 4250077 w 4519987"/>
              <a:gd name="connsiteY33" fmla="*/ 1143000 h 4496940"/>
              <a:gd name="connsiteX34" fmla="*/ 4259602 w 4519987"/>
              <a:gd name="connsiteY34" fmla="*/ 1190625 h 4496940"/>
              <a:gd name="connsiteX35" fmla="*/ 4307227 w 4519987"/>
              <a:gd name="connsiteY35" fmla="*/ 1266825 h 4496940"/>
              <a:gd name="connsiteX36" fmla="*/ 4345327 w 4519987"/>
              <a:gd name="connsiteY36" fmla="*/ 1362075 h 4496940"/>
              <a:gd name="connsiteX37" fmla="*/ 4373902 w 4519987"/>
              <a:gd name="connsiteY37" fmla="*/ 1428750 h 4496940"/>
              <a:gd name="connsiteX38" fmla="*/ 4392952 w 4519987"/>
              <a:gd name="connsiteY38" fmla="*/ 1552575 h 4496940"/>
              <a:gd name="connsiteX39" fmla="*/ 4402477 w 4519987"/>
              <a:gd name="connsiteY39" fmla="*/ 1590675 h 4496940"/>
              <a:gd name="connsiteX40" fmla="*/ 4431052 w 4519987"/>
              <a:gd name="connsiteY40" fmla="*/ 1685925 h 4496940"/>
              <a:gd name="connsiteX41" fmla="*/ 4519952 w 4519987"/>
              <a:gd name="connsiteY41" fmla="*/ 2181225 h 4496940"/>
              <a:gd name="connsiteX42" fmla="*/ 4446927 w 4519987"/>
              <a:gd name="connsiteY42" fmla="*/ 2768600 h 4496940"/>
              <a:gd name="connsiteX43" fmla="*/ 4383427 w 4519987"/>
              <a:gd name="connsiteY43" fmla="*/ 2990850 h 4496940"/>
              <a:gd name="connsiteX44" fmla="*/ 4278652 w 4519987"/>
              <a:gd name="connsiteY44" fmla="*/ 3248025 h 4496940"/>
              <a:gd name="connsiteX45" fmla="*/ 4259602 w 4519987"/>
              <a:gd name="connsiteY45" fmla="*/ 3276600 h 4496940"/>
              <a:gd name="connsiteX46" fmla="*/ 4221502 w 4519987"/>
              <a:gd name="connsiteY46" fmla="*/ 3333750 h 4496940"/>
              <a:gd name="connsiteX47" fmla="*/ 4211977 w 4519987"/>
              <a:gd name="connsiteY47" fmla="*/ 3362325 h 4496940"/>
              <a:gd name="connsiteX48" fmla="*/ 4183402 w 4519987"/>
              <a:gd name="connsiteY48" fmla="*/ 3400425 h 4496940"/>
              <a:gd name="connsiteX49" fmla="*/ 4164352 w 4519987"/>
              <a:gd name="connsiteY49" fmla="*/ 3429000 h 4496940"/>
              <a:gd name="connsiteX50" fmla="*/ 4088152 w 4519987"/>
              <a:gd name="connsiteY50" fmla="*/ 3495675 h 4496940"/>
              <a:gd name="connsiteX51" fmla="*/ 4059577 w 4519987"/>
              <a:gd name="connsiteY51" fmla="*/ 3533775 h 4496940"/>
              <a:gd name="connsiteX52" fmla="*/ 4002427 w 4519987"/>
              <a:gd name="connsiteY52" fmla="*/ 3600450 h 4496940"/>
              <a:gd name="connsiteX53" fmla="*/ 3983377 w 4519987"/>
              <a:gd name="connsiteY53" fmla="*/ 3629025 h 4496940"/>
              <a:gd name="connsiteX54" fmla="*/ 3954802 w 4519987"/>
              <a:gd name="connsiteY54" fmla="*/ 3648075 h 4496940"/>
              <a:gd name="connsiteX55" fmla="*/ 3907177 w 4519987"/>
              <a:gd name="connsiteY55" fmla="*/ 3686175 h 4496940"/>
              <a:gd name="connsiteX56" fmla="*/ 3869077 w 4519987"/>
              <a:gd name="connsiteY56" fmla="*/ 3724275 h 4496940"/>
              <a:gd name="connsiteX57" fmla="*/ 3792877 w 4519987"/>
              <a:gd name="connsiteY57" fmla="*/ 3781425 h 4496940"/>
              <a:gd name="connsiteX58" fmla="*/ 3783352 w 4519987"/>
              <a:gd name="connsiteY58" fmla="*/ 3810000 h 4496940"/>
              <a:gd name="connsiteX59" fmla="*/ 3745252 w 4519987"/>
              <a:gd name="connsiteY59" fmla="*/ 3819525 h 4496940"/>
              <a:gd name="connsiteX60" fmla="*/ 3678577 w 4519987"/>
              <a:gd name="connsiteY60" fmla="*/ 3848100 h 4496940"/>
              <a:gd name="connsiteX61" fmla="*/ 3659527 w 4519987"/>
              <a:gd name="connsiteY61" fmla="*/ 3971925 h 4496940"/>
              <a:gd name="connsiteX62" fmla="*/ 3630952 w 4519987"/>
              <a:gd name="connsiteY62" fmla="*/ 4010025 h 4496940"/>
              <a:gd name="connsiteX63" fmla="*/ 3621427 w 4519987"/>
              <a:gd name="connsiteY63" fmla="*/ 4038600 h 4496940"/>
              <a:gd name="connsiteX64" fmla="*/ 3554752 w 4519987"/>
              <a:gd name="connsiteY64" fmla="*/ 4095750 h 4496940"/>
              <a:gd name="connsiteX65" fmla="*/ 3516652 w 4519987"/>
              <a:gd name="connsiteY65" fmla="*/ 4114800 h 4496940"/>
              <a:gd name="connsiteX66" fmla="*/ 3497602 w 4519987"/>
              <a:gd name="connsiteY66" fmla="*/ 4143375 h 4496940"/>
              <a:gd name="connsiteX67" fmla="*/ 3383302 w 4519987"/>
              <a:gd name="connsiteY67" fmla="*/ 4210050 h 4496940"/>
              <a:gd name="connsiteX68" fmla="*/ 3335677 w 4519987"/>
              <a:gd name="connsiteY68" fmla="*/ 4238625 h 4496940"/>
              <a:gd name="connsiteX69" fmla="*/ 3288052 w 4519987"/>
              <a:gd name="connsiteY69" fmla="*/ 4248150 h 4496940"/>
              <a:gd name="connsiteX70" fmla="*/ 3240427 w 4519987"/>
              <a:gd name="connsiteY70" fmla="*/ 4267200 h 4496940"/>
              <a:gd name="connsiteX71" fmla="*/ 3068977 w 4519987"/>
              <a:gd name="connsiteY71" fmla="*/ 4286250 h 4496940"/>
              <a:gd name="connsiteX72" fmla="*/ 2935627 w 4519987"/>
              <a:gd name="connsiteY72" fmla="*/ 4333875 h 4496940"/>
              <a:gd name="connsiteX73" fmla="*/ 2811802 w 4519987"/>
              <a:gd name="connsiteY73" fmla="*/ 4371975 h 4496940"/>
              <a:gd name="connsiteX74" fmla="*/ 2745127 w 4519987"/>
              <a:gd name="connsiteY74" fmla="*/ 4410075 h 4496940"/>
              <a:gd name="connsiteX75" fmla="*/ 2697502 w 4519987"/>
              <a:gd name="connsiteY75" fmla="*/ 4429125 h 4496940"/>
              <a:gd name="connsiteX76" fmla="*/ 2640352 w 4519987"/>
              <a:gd name="connsiteY76" fmla="*/ 4457700 h 4496940"/>
              <a:gd name="connsiteX77" fmla="*/ 2583202 w 4519987"/>
              <a:gd name="connsiteY77" fmla="*/ 4467225 h 4496940"/>
              <a:gd name="connsiteX78" fmla="*/ 2545102 w 4519987"/>
              <a:gd name="connsiteY78" fmla="*/ 4486275 h 4496940"/>
              <a:gd name="connsiteX79" fmla="*/ 2306977 w 4519987"/>
              <a:gd name="connsiteY79" fmla="*/ 4476750 h 4496940"/>
              <a:gd name="connsiteX80" fmla="*/ 2202202 w 4519987"/>
              <a:gd name="connsiteY80" fmla="*/ 4457700 h 4496940"/>
              <a:gd name="connsiteX81" fmla="*/ 2126002 w 4519987"/>
              <a:gd name="connsiteY81" fmla="*/ 4429125 h 4496940"/>
              <a:gd name="connsiteX82" fmla="*/ 1935502 w 4519987"/>
              <a:gd name="connsiteY82" fmla="*/ 4400550 h 4496940"/>
              <a:gd name="connsiteX83" fmla="*/ 1821202 w 4519987"/>
              <a:gd name="connsiteY83" fmla="*/ 4371975 h 4496940"/>
              <a:gd name="connsiteX84" fmla="*/ 1754527 w 4519987"/>
              <a:gd name="connsiteY84" fmla="*/ 4352925 h 4496940"/>
              <a:gd name="connsiteX85" fmla="*/ 1687852 w 4519987"/>
              <a:gd name="connsiteY85" fmla="*/ 4343400 h 4496940"/>
              <a:gd name="connsiteX86" fmla="*/ 1573552 w 4519987"/>
              <a:gd name="connsiteY86" fmla="*/ 4305300 h 4496940"/>
              <a:gd name="connsiteX87" fmla="*/ 1402102 w 4519987"/>
              <a:gd name="connsiteY87" fmla="*/ 4276725 h 4496940"/>
              <a:gd name="connsiteX88" fmla="*/ 1287802 w 4519987"/>
              <a:gd name="connsiteY88" fmla="*/ 4229100 h 4496940"/>
              <a:gd name="connsiteX89" fmla="*/ 1221127 w 4519987"/>
              <a:gd name="connsiteY89" fmla="*/ 4200525 h 4496940"/>
              <a:gd name="connsiteX90" fmla="*/ 1144927 w 4519987"/>
              <a:gd name="connsiteY90" fmla="*/ 4171950 h 4496940"/>
              <a:gd name="connsiteX91" fmla="*/ 1087777 w 4519987"/>
              <a:gd name="connsiteY91" fmla="*/ 4143375 h 4496940"/>
              <a:gd name="connsiteX92" fmla="*/ 1030627 w 4519987"/>
              <a:gd name="connsiteY92" fmla="*/ 4124325 h 4496940"/>
              <a:gd name="connsiteX93" fmla="*/ 925852 w 4519987"/>
              <a:gd name="connsiteY93" fmla="*/ 4067175 h 4496940"/>
              <a:gd name="connsiteX94" fmla="*/ 830602 w 4519987"/>
              <a:gd name="connsiteY94" fmla="*/ 3981450 h 4496940"/>
              <a:gd name="connsiteX95" fmla="*/ 763927 w 4519987"/>
              <a:gd name="connsiteY95" fmla="*/ 3914775 h 4496940"/>
              <a:gd name="connsiteX96" fmla="*/ 725827 w 4519987"/>
              <a:gd name="connsiteY96" fmla="*/ 3876675 h 4496940"/>
              <a:gd name="connsiteX97" fmla="*/ 697252 w 4519987"/>
              <a:gd name="connsiteY97" fmla="*/ 3838575 h 4496940"/>
              <a:gd name="connsiteX98" fmla="*/ 640102 w 4519987"/>
              <a:gd name="connsiteY98" fmla="*/ 3781425 h 4496940"/>
              <a:gd name="connsiteX99" fmla="*/ 611527 w 4519987"/>
              <a:gd name="connsiteY99" fmla="*/ 3733800 h 4496940"/>
              <a:gd name="connsiteX100" fmla="*/ 554377 w 4519987"/>
              <a:gd name="connsiteY100" fmla="*/ 3657600 h 4496940"/>
              <a:gd name="connsiteX101" fmla="*/ 525802 w 4519987"/>
              <a:gd name="connsiteY101" fmla="*/ 3609975 h 4496940"/>
              <a:gd name="connsiteX102" fmla="*/ 497227 w 4519987"/>
              <a:gd name="connsiteY102" fmla="*/ 3552825 h 4496940"/>
              <a:gd name="connsiteX103" fmla="*/ 440077 w 4519987"/>
              <a:gd name="connsiteY103" fmla="*/ 3495675 h 4496940"/>
              <a:gd name="connsiteX104" fmla="*/ 411502 w 4519987"/>
              <a:gd name="connsiteY104" fmla="*/ 3448050 h 4496940"/>
              <a:gd name="connsiteX105" fmla="*/ 278152 w 4519987"/>
              <a:gd name="connsiteY105" fmla="*/ 3257550 h 4496940"/>
              <a:gd name="connsiteX106" fmla="*/ 249577 w 4519987"/>
              <a:gd name="connsiteY106" fmla="*/ 3200400 h 4496940"/>
              <a:gd name="connsiteX107" fmla="*/ 240052 w 4519987"/>
              <a:gd name="connsiteY107" fmla="*/ 3162300 h 4496940"/>
              <a:gd name="connsiteX108" fmla="*/ 221002 w 4519987"/>
              <a:gd name="connsiteY108" fmla="*/ 3105150 h 4496940"/>
              <a:gd name="connsiteX109" fmla="*/ 173377 w 4519987"/>
              <a:gd name="connsiteY109" fmla="*/ 3019425 h 4496940"/>
              <a:gd name="connsiteX110" fmla="*/ 144802 w 4519987"/>
              <a:gd name="connsiteY110" fmla="*/ 2924175 h 4496940"/>
              <a:gd name="connsiteX111" fmla="*/ 68602 w 4519987"/>
              <a:gd name="connsiteY111" fmla="*/ 2724150 h 4496940"/>
              <a:gd name="connsiteX112" fmla="*/ 49552 w 4519987"/>
              <a:gd name="connsiteY112" fmla="*/ 2638425 h 4496940"/>
              <a:gd name="connsiteX113" fmla="*/ 40027 w 4519987"/>
              <a:gd name="connsiteY113" fmla="*/ 2562225 h 4496940"/>
              <a:gd name="connsiteX114" fmla="*/ 30502 w 4519987"/>
              <a:gd name="connsiteY114" fmla="*/ 2514600 h 4496940"/>
              <a:gd name="connsiteX115" fmla="*/ 11452 w 4519987"/>
              <a:gd name="connsiteY115" fmla="*/ 2400300 h 4496940"/>
              <a:gd name="connsiteX116" fmla="*/ 20977 w 4519987"/>
              <a:gd name="connsiteY116" fmla="*/ 1905000 h 4496940"/>
              <a:gd name="connsiteX117" fmla="*/ 30502 w 4519987"/>
              <a:gd name="connsiteY117" fmla="*/ 1838325 h 4496940"/>
              <a:gd name="connsiteX118" fmla="*/ 49552 w 4519987"/>
              <a:gd name="connsiteY118" fmla="*/ 1781175 h 4496940"/>
              <a:gd name="connsiteX119" fmla="*/ 59077 w 4519987"/>
              <a:gd name="connsiteY119" fmla="*/ 1743075 h 4496940"/>
              <a:gd name="connsiteX120" fmla="*/ 78127 w 4519987"/>
              <a:gd name="connsiteY120" fmla="*/ 1685925 h 4496940"/>
              <a:gd name="connsiteX121" fmla="*/ 87652 w 4519987"/>
              <a:gd name="connsiteY121" fmla="*/ 1638300 h 4496940"/>
              <a:gd name="connsiteX122" fmla="*/ 106702 w 4519987"/>
              <a:gd name="connsiteY122" fmla="*/ 1590675 h 4496940"/>
              <a:gd name="connsiteX123" fmla="*/ 135277 w 4519987"/>
              <a:gd name="connsiteY123" fmla="*/ 1504950 h 4496940"/>
              <a:gd name="connsiteX124" fmla="*/ 154327 w 4519987"/>
              <a:gd name="connsiteY124" fmla="*/ 1419225 h 4496940"/>
              <a:gd name="connsiteX125" fmla="*/ 230527 w 4519987"/>
              <a:gd name="connsiteY125" fmla="*/ 1276350 h 4496940"/>
              <a:gd name="connsiteX126" fmla="*/ 240052 w 4519987"/>
              <a:gd name="connsiteY126" fmla="*/ 1247775 h 4496940"/>
              <a:gd name="connsiteX127" fmla="*/ 268627 w 4519987"/>
              <a:gd name="connsiteY127" fmla="*/ 1200150 h 4496940"/>
              <a:gd name="connsiteX128" fmla="*/ 287677 w 4519987"/>
              <a:gd name="connsiteY128" fmla="*/ 1152525 h 4496940"/>
              <a:gd name="connsiteX129" fmla="*/ 316252 w 4519987"/>
              <a:gd name="connsiteY129" fmla="*/ 1114425 h 4496940"/>
              <a:gd name="connsiteX130" fmla="*/ 363877 w 4519987"/>
              <a:gd name="connsiteY130" fmla="*/ 1038225 h 4496940"/>
              <a:gd name="connsiteX131" fmla="*/ 382927 w 4519987"/>
              <a:gd name="connsiteY131" fmla="*/ 1009650 h 4496940"/>
              <a:gd name="connsiteX132" fmla="*/ 440077 w 4519987"/>
              <a:gd name="connsiteY132" fmla="*/ 904875 h 4496940"/>
              <a:gd name="connsiteX133" fmla="*/ 478177 w 4519987"/>
              <a:gd name="connsiteY133" fmla="*/ 857250 h 4496940"/>
              <a:gd name="connsiteX134" fmla="*/ 497227 w 4519987"/>
              <a:gd name="connsiteY134" fmla="*/ 828675 h 4496940"/>
              <a:gd name="connsiteX135" fmla="*/ 535327 w 4519987"/>
              <a:gd name="connsiteY135" fmla="*/ 800100 h 4496940"/>
              <a:gd name="connsiteX136" fmla="*/ 602002 w 4519987"/>
              <a:gd name="connsiteY136" fmla="*/ 733425 h 4496940"/>
              <a:gd name="connsiteX137" fmla="*/ 668677 w 4519987"/>
              <a:gd name="connsiteY137" fmla="*/ 676275 h 4496940"/>
              <a:gd name="connsiteX138" fmla="*/ 697252 w 4519987"/>
              <a:gd name="connsiteY138" fmla="*/ 657225 h 4496940"/>
              <a:gd name="connsiteX139" fmla="*/ 840127 w 4519987"/>
              <a:gd name="connsiteY139" fmla="*/ 533400 h 4496940"/>
              <a:gd name="connsiteX140" fmla="*/ 887752 w 4519987"/>
              <a:gd name="connsiteY140" fmla="*/ 504825 h 4496940"/>
              <a:gd name="connsiteX141" fmla="*/ 1167152 w 4519987"/>
              <a:gd name="connsiteY141" fmla="*/ 311150 h 4496940"/>
              <a:gd name="connsiteX142" fmla="*/ 1268752 w 4519987"/>
              <a:gd name="connsiteY142" fmla="*/ 285750 h 4496940"/>
              <a:gd name="connsiteX143" fmla="*/ 1411627 w 4519987"/>
              <a:gd name="connsiteY143" fmla="*/ 190500 h 4496940"/>
              <a:gd name="connsiteX144" fmla="*/ 1449727 w 4519987"/>
              <a:gd name="connsiteY144" fmla="*/ 161925 h 4496940"/>
              <a:gd name="connsiteX145" fmla="*/ 1525927 w 4519987"/>
              <a:gd name="connsiteY145" fmla="*/ 152400 h 4496940"/>
              <a:gd name="connsiteX146" fmla="*/ 1583077 w 4519987"/>
              <a:gd name="connsiteY146" fmla="*/ 142875 h 4496940"/>
              <a:gd name="connsiteX147" fmla="*/ 1716427 w 4519987"/>
              <a:gd name="connsiteY147" fmla="*/ 123825 h 4496940"/>
              <a:gd name="connsiteX148" fmla="*/ 1811677 w 4519987"/>
              <a:gd name="connsiteY148" fmla="*/ 114300 h 4496940"/>
              <a:gd name="connsiteX149" fmla="*/ 1859302 w 4519987"/>
              <a:gd name="connsiteY149" fmla="*/ 104775 h 4496940"/>
              <a:gd name="connsiteX150" fmla="*/ 1916452 w 4519987"/>
              <a:gd name="connsiteY150" fmla="*/ 95250 h 4496940"/>
              <a:gd name="connsiteX151" fmla="*/ 2030752 w 4519987"/>
              <a:gd name="connsiteY151" fmla="*/ 66675 h 4496940"/>
              <a:gd name="connsiteX152" fmla="*/ 2097427 w 4519987"/>
              <a:gd name="connsiteY152" fmla="*/ 47625 h 4496940"/>
              <a:gd name="connsiteX153" fmla="*/ 2164102 w 4519987"/>
              <a:gd name="connsiteY153" fmla="*/ 38100 h 4496940"/>
              <a:gd name="connsiteX154" fmla="*/ 2392702 w 4519987"/>
              <a:gd name="connsiteY15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907177 w 4519987"/>
              <a:gd name="connsiteY24" fmla="*/ 647700 h 4496940"/>
              <a:gd name="connsiteX25" fmla="*/ 3935752 w 4519987"/>
              <a:gd name="connsiteY25" fmla="*/ 676275 h 4496940"/>
              <a:gd name="connsiteX26" fmla="*/ 4078627 w 4519987"/>
              <a:gd name="connsiteY26" fmla="*/ 838200 h 4496940"/>
              <a:gd name="connsiteX27" fmla="*/ 4135777 w 4519987"/>
              <a:gd name="connsiteY27" fmla="*/ 933450 h 4496940"/>
              <a:gd name="connsiteX28" fmla="*/ 4164352 w 4519987"/>
              <a:gd name="connsiteY28" fmla="*/ 990600 h 4496940"/>
              <a:gd name="connsiteX29" fmla="*/ 4173877 w 4519987"/>
              <a:gd name="connsiteY29" fmla="*/ 1019175 h 4496940"/>
              <a:gd name="connsiteX30" fmla="*/ 4192927 w 4519987"/>
              <a:gd name="connsiteY30" fmla="*/ 1057275 h 4496940"/>
              <a:gd name="connsiteX31" fmla="*/ 4202452 w 4519987"/>
              <a:gd name="connsiteY31" fmla="*/ 1085850 h 4496940"/>
              <a:gd name="connsiteX32" fmla="*/ 4250077 w 4519987"/>
              <a:gd name="connsiteY32" fmla="*/ 1143000 h 4496940"/>
              <a:gd name="connsiteX33" fmla="*/ 4259602 w 4519987"/>
              <a:gd name="connsiteY33" fmla="*/ 1190625 h 4496940"/>
              <a:gd name="connsiteX34" fmla="*/ 4307227 w 4519987"/>
              <a:gd name="connsiteY34" fmla="*/ 1266825 h 4496940"/>
              <a:gd name="connsiteX35" fmla="*/ 4345327 w 4519987"/>
              <a:gd name="connsiteY35" fmla="*/ 1362075 h 4496940"/>
              <a:gd name="connsiteX36" fmla="*/ 4373902 w 4519987"/>
              <a:gd name="connsiteY36" fmla="*/ 1428750 h 4496940"/>
              <a:gd name="connsiteX37" fmla="*/ 4392952 w 4519987"/>
              <a:gd name="connsiteY37" fmla="*/ 1552575 h 4496940"/>
              <a:gd name="connsiteX38" fmla="*/ 4402477 w 4519987"/>
              <a:gd name="connsiteY38" fmla="*/ 1590675 h 4496940"/>
              <a:gd name="connsiteX39" fmla="*/ 4431052 w 4519987"/>
              <a:gd name="connsiteY39" fmla="*/ 1685925 h 4496940"/>
              <a:gd name="connsiteX40" fmla="*/ 4519952 w 4519987"/>
              <a:gd name="connsiteY40" fmla="*/ 2181225 h 4496940"/>
              <a:gd name="connsiteX41" fmla="*/ 4446927 w 4519987"/>
              <a:gd name="connsiteY41" fmla="*/ 2768600 h 4496940"/>
              <a:gd name="connsiteX42" fmla="*/ 4383427 w 4519987"/>
              <a:gd name="connsiteY42" fmla="*/ 2990850 h 4496940"/>
              <a:gd name="connsiteX43" fmla="*/ 4278652 w 4519987"/>
              <a:gd name="connsiteY43" fmla="*/ 3248025 h 4496940"/>
              <a:gd name="connsiteX44" fmla="*/ 4259602 w 4519987"/>
              <a:gd name="connsiteY44" fmla="*/ 3276600 h 4496940"/>
              <a:gd name="connsiteX45" fmla="*/ 4221502 w 4519987"/>
              <a:gd name="connsiteY45" fmla="*/ 3333750 h 4496940"/>
              <a:gd name="connsiteX46" fmla="*/ 4211977 w 4519987"/>
              <a:gd name="connsiteY46" fmla="*/ 3362325 h 4496940"/>
              <a:gd name="connsiteX47" fmla="*/ 4183402 w 4519987"/>
              <a:gd name="connsiteY47" fmla="*/ 3400425 h 4496940"/>
              <a:gd name="connsiteX48" fmla="*/ 4164352 w 4519987"/>
              <a:gd name="connsiteY48" fmla="*/ 3429000 h 4496940"/>
              <a:gd name="connsiteX49" fmla="*/ 4088152 w 4519987"/>
              <a:gd name="connsiteY49" fmla="*/ 3495675 h 4496940"/>
              <a:gd name="connsiteX50" fmla="*/ 4059577 w 4519987"/>
              <a:gd name="connsiteY50" fmla="*/ 3533775 h 4496940"/>
              <a:gd name="connsiteX51" fmla="*/ 4002427 w 4519987"/>
              <a:gd name="connsiteY51" fmla="*/ 3600450 h 4496940"/>
              <a:gd name="connsiteX52" fmla="*/ 3983377 w 4519987"/>
              <a:gd name="connsiteY52" fmla="*/ 3629025 h 4496940"/>
              <a:gd name="connsiteX53" fmla="*/ 3954802 w 4519987"/>
              <a:gd name="connsiteY53" fmla="*/ 3648075 h 4496940"/>
              <a:gd name="connsiteX54" fmla="*/ 3907177 w 4519987"/>
              <a:gd name="connsiteY54" fmla="*/ 3686175 h 4496940"/>
              <a:gd name="connsiteX55" fmla="*/ 3869077 w 4519987"/>
              <a:gd name="connsiteY55" fmla="*/ 3724275 h 4496940"/>
              <a:gd name="connsiteX56" fmla="*/ 3792877 w 4519987"/>
              <a:gd name="connsiteY56" fmla="*/ 3781425 h 4496940"/>
              <a:gd name="connsiteX57" fmla="*/ 3783352 w 4519987"/>
              <a:gd name="connsiteY57" fmla="*/ 3810000 h 4496940"/>
              <a:gd name="connsiteX58" fmla="*/ 3745252 w 4519987"/>
              <a:gd name="connsiteY58" fmla="*/ 3819525 h 4496940"/>
              <a:gd name="connsiteX59" fmla="*/ 3678577 w 4519987"/>
              <a:gd name="connsiteY59" fmla="*/ 3848100 h 4496940"/>
              <a:gd name="connsiteX60" fmla="*/ 3659527 w 4519987"/>
              <a:gd name="connsiteY60" fmla="*/ 3971925 h 4496940"/>
              <a:gd name="connsiteX61" fmla="*/ 3630952 w 4519987"/>
              <a:gd name="connsiteY61" fmla="*/ 4010025 h 4496940"/>
              <a:gd name="connsiteX62" fmla="*/ 3621427 w 4519987"/>
              <a:gd name="connsiteY62" fmla="*/ 4038600 h 4496940"/>
              <a:gd name="connsiteX63" fmla="*/ 3554752 w 4519987"/>
              <a:gd name="connsiteY63" fmla="*/ 4095750 h 4496940"/>
              <a:gd name="connsiteX64" fmla="*/ 3516652 w 4519987"/>
              <a:gd name="connsiteY64" fmla="*/ 4114800 h 4496940"/>
              <a:gd name="connsiteX65" fmla="*/ 3497602 w 4519987"/>
              <a:gd name="connsiteY65" fmla="*/ 4143375 h 4496940"/>
              <a:gd name="connsiteX66" fmla="*/ 3383302 w 4519987"/>
              <a:gd name="connsiteY66" fmla="*/ 4210050 h 4496940"/>
              <a:gd name="connsiteX67" fmla="*/ 3335677 w 4519987"/>
              <a:gd name="connsiteY67" fmla="*/ 4238625 h 4496940"/>
              <a:gd name="connsiteX68" fmla="*/ 3288052 w 4519987"/>
              <a:gd name="connsiteY68" fmla="*/ 4248150 h 4496940"/>
              <a:gd name="connsiteX69" fmla="*/ 3240427 w 4519987"/>
              <a:gd name="connsiteY69" fmla="*/ 4267200 h 4496940"/>
              <a:gd name="connsiteX70" fmla="*/ 3068977 w 4519987"/>
              <a:gd name="connsiteY70" fmla="*/ 4286250 h 4496940"/>
              <a:gd name="connsiteX71" fmla="*/ 2935627 w 4519987"/>
              <a:gd name="connsiteY71" fmla="*/ 4333875 h 4496940"/>
              <a:gd name="connsiteX72" fmla="*/ 2811802 w 4519987"/>
              <a:gd name="connsiteY72" fmla="*/ 4371975 h 4496940"/>
              <a:gd name="connsiteX73" fmla="*/ 2745127 w 4519987"/>
              <a:gd name="connsiteY73" fmla="*/ 4410075 h 4496940"/>
              <a:gd name="connsiteX74" fmla="*/ 2697502 w 4519987"/>
              <a:gd name="connsiteY74" fmla="*/ 4429125 h 4496940"/>
              <a:gd name="connsiteX75" fmla="*/ 2640352 w 4519987"/>
              <a:gd name="connsiteY75" fmla="*/ 4457700 h 4496940"/>
              <a:gd name="connsiteX76" fmla="*/ 2583202 w 4519987"/>
              <a:gd name="connsiteY76" fmla="*/ 4467225 h 4496940"/>
              <a:gd name="connsiteX77" fmla="*/ 2545102 w 4519987"/>
              <a:gd name="connsiteY77" fmla="*/ 4486275 h 4496940"/>
              <a:gd name="connsiteX78" fmla="*/ 2306977 w 4519987"/>
              <a:gd name="connsiteY78" fmla="*/ 4476750 h 4496940"/>
              <a:gd name="connsiteX79" fmla="*/ 2202202 w 4519987"/>
              <a:gd name="connsiteY79" fmla="*/ 4457700 h 4496940"/>
              <a:gd name="connsiteX80" fmla="*/ 2126002 w 4519987"/>
              <a:gd name="connsiteY80" fmla="*/ 4429125 h 4496940"/>
              <a:gd name="connsiteX81" fmla="*/ 1935502 w 4519987"/>
              <a:gd name="connsiteY81" fmla="*/ 4400550 h 4496940"/>
              <a:gd name="connsiteX82" fmla="*/ 1821202 w 4519987"/>
              <a:gd name="connsiteY82" fmla="*/ 4371975 h 4496940"/>
              <a:gd name="connsiteX83" fmla="*/ 1754527 w 4519987"/>
              <a:gd name="connsiteY83" fmla="*/ 4352925 h 4496940"/>
              <a:gd name="connsiteX84" fmla="*/ 1687852 w 4519987"/>
              <a:gd name="connsiteY84" fmla="*/ 4343400 h 4496940"/>
              <a:gd name="connsiteX85" fmla="*/ 1573552 w 4519987"/>
              <a:gd name="connsiteY85" fmla="*/ 4305300 h 4496940"/>
              <a:gd name="connsiteX86" fmla="*/ 1402102 w 4519987"/>
              <a:gd name="connsiteY86" fmla="*/ 4276725 h 4496940"/>
              <a:gd name="connsiteX87" fmla="*/ 1287802 w 4519987"/>
              <a:gd name="connsiteY87" fmla="*/ 4229100 h 4496940"/>
              <a:gd name="connsiteX88" fmla="*/ 1221127 w 4519987"/>
              <a:gd name="connsiteY88" fmla="*/ 4200525 h 4496940"/>
              <a:gd name="connsiteX89" fmla="*/ 1144927 w 4519987"/>
              <a:gd name="connsiteY89" fmla="*/ 4171950 h 4496940"/>
              <a:gd name="connsiteX90" fmla="*/ 1087777 w 4519987"/>
              <a:gd name="connsiteY90" fmla="*/ 4143375 h 4496940"/>
              <a:gd name="connsiteX91" fmla="*/ 1030627 w 4519987"/>
              <a:gd name="connsiteY91" fmla="*/ 4124325 h 4496940"/>
              <a:gd name="connsiteX92" fmla="*/ 925852 w 4519987"/>
              <a:gd name="connsiteY92" fmla="*/ 4067175 h 4496940"/>
              <a:gd name="connsiteX93" fmla="*/ 830602 w 4519987"/>
              <a:gd name="connsiteY93" fmla="*/ 3981450 h 4496940"/>
              <a:gd name="connsiteX94" fmla="*/ 763927 w 4519987"/>
              <a:gd name="connsiteY94" fmla="*/ 3914775 h 4496940"/>
              <a:gd name="connsiteX95" fmla="*/ 725827 w 4519987"/>
              <a:gd name="connsiteY95" fmla="*/ 3876675 h 4496940"/>
              <a:gd name="connsiteX96" fmla="*/ 697252 w 4519987"/>
              <a:gd name="connsiteY96" fmla="*/ 3838575 h 4496940"/>
              <a:gd name="connsiteX97" fmla="*/ 640102 w 4519987"/>
              <a:gd name="connsiteY97" fmla="*/ 3781425 h 4496940"/>
              <a:gd name="connsiteX98" fmla="*/ 611527 w 4519987"/>
              <a:gd name="connsiteY98" fmla="*/ 3733800 h 4496940"/>
              <a:gd name="connsiteX99" fmla="*/ 554377 w 4519987"/>
              <a:gd name="connsiteY99" fmla="*/ 3657600 h 4496940"/>
              <a:gd name="connsiteX100" fmla="*/ 525802 w 4519987"/>
              <a:gd name="connsiteY100" fmla="*/ 3609975 h 4496940"/>
              <a:gd name="connsiteX101" fmla="*/ 497227 w 4519987"/>
              <a:gd name="connsiteY101" fmla="*/ 3552825 h 4496940"/>
              <a:gd name="connsiteX102" fmla="*/ 440077 w 4519987"/>
              <a:gd name="connsiteY102" fmla="*/ 3495675 h 4496940"/>
              <a:gd name="connsiteX103" fmla="*/ 411502 w 4519987"/>
              <a:gd name="connsiteY103" fmla="*/ 3448050 h 4496940"/>
              <a:gd name="connsiteX104" fmla="*/ 278152 w 4519987"/>
              <a:gd name="connsiteY104" fmla="*/ 3257550 h 4496940"/>
              <a:gd name="connsiteX105" fmla="*/ 249577 w 4519987"/>
              <a:gd name="connsiteY105" fmla="*/ 3200400 h 4496940"/>
              <a:gd name="connsiteX106" fmla="*/ 240052 w 4519987"/>
              <a:gd name="connsiteY106" fmla="*/ 3162300 h 4496940"/>
              <a:gd name="connsiteX107" fmla="*/ 221002 w 4519987"/>
              <a:gd name="connsiteY107" fmla="*/ 3105150 h 4496940"/>
              <a:gd name="connsiteX108" fmla="*/ 173377 w 4519987"/>
              <a:gd name="connsiteY108" fmla="*/ 3019425 h 4496940"/>
              <a:gd name="connsiteX109" fmla="*/ 144802 w 4519987"/>
              <a:gd name="connsiteY109" fmla="*/ 2924175 h 4496940"/>
              <a:gd name="connsiteX110" fmla="*/ 68602 w 4519987"/>
              <a:gd name="connsiteY110" fmla="*/ 2724150 h 4496940"/>
              <a:gd name="connsiteX111" fmla="*/ 49552 w 4519987"/>
              <a:gd name="connsiteY111" fmla="*/ 2638425 h 4496940"/>
              <a:gd name="connsiteX112" fmla="*/ 40027 w 4519987"/>
              <a:gd name="connsiteY112" fmla="*/ 2562225 h 4496940"/>
              <a:gd name="connsiteX113" fmla="*/ 30502 w 4519987"/>
              <a:gd name="connsiteY113" fmla="*/ 2514600 h 4496940"/>
              <a:gd name="connsiteX114" fmla="*/ 11452 w 4519987"/>
              <a:gd name="connsiteY114" fmla="*/ 2400300 h 4496940"/>
              <a:gd name="connsiteX115" fmla="*/ 20977 w 4519987"/>
              <a:gd name="connsiteY115" fmla="*/ 1905000 h 4496940"/>
              <a:gd name="connsiteX116" fmla="*/ 30502 w 4519987"/>
              <a:gd name="connsiteY116" fmla="*/ 1838325 h 4496940"/>
              <a:gd name="connsiteX117" fmla="*/ 49552 w 4519987"/>
              <a:gd name="connsiteY117" fmla="*/ 1781175 h 4496940"/>
              <a:gd name="connsiteX118" fmla="*/ 59077 w 4519987"/>
              <a:gd name="connsiteY118" fmla="*/ 1743075 h 4496940"/>
              <a:gd name="connsiteX119" fmla="*/ 78127 w 4519987"/>
              <a:gd name="connsiteY119" fmla="*/ 1685925 h 4496940"/>
              <a:gd name="connsiteX120" fmla="*/ 87652 w 4519987"/>
              <a:gd name="connsiteY120" fmla="*/ 1638300 h 4496940"/>
              <a:gd name="connsiteX121" fmla="*/ 106702 w 4519987"/>
              <a:gd name="connsiteY121" fmla="*/ 1590675 h 4496940"/>
              <a:gd name="connsiteX122" fmla="*/ 135277 w 4519987"/>
              <a:gd name="connsiteY122" fmla="*/ 1504950 h 4496940"/>
              <a:gd name="connsiteX123" fmla="*/ 154327 w 4519987"/>
              <a:gd name="connsiteY123" fmla="*/ 1419225 h 4496940"/>
              <a:gd name="connsiteX124" fmla="*/ 230527 w 4519987"/>
              <a:gd name="connsiteY124" fmla="*/ 1276350 h 4496940"/>
              <a:gd name="connsiteX125" fmla="*/ 240052 w 4519987"/>
              <a:gd name="connsiteY125" fmla="*/ 1247775 h 4496940"/>
              <a:gd name="connsiteX126" fmla="*/ 268627 w 4519987"/>
              <a:gd name="connsiteY126" fmla="*/ 1200150 h 4496940"/>
              <a:gd name="connsiteX127" fmla="*/ 287677 w 4519987"/>
              <a:gd name="connsiteY127" fmla="*/ 1152525 h 4496940"/>
              <a:gd name="connsiteX128" fmla="*/ 316252 w 4519987"/>
              <a:gd name="connsiteY128" fmla="*/ 1114425 h 4496940"/>
              <a:gd name="connsiteX129" fmla="*/ 363877 w 4519987"/>
              <a:gd name="connsiteY129" fmla="*/ 1038225 h 4496940"/>
              <a:gd name="connsiteX130" fmla="*/ 382927 w 4519987"/>
              <a:gd name="connsiteY130" fmla="*/ 1009650 h 4496940"/>
              <a:gd name="connsiteX131" fmla="*/ 440077 w 4519987"/>
              <a:gd name="connsiteY131" fmla="*/ 904875 h 4496940"/>
              <a:gd name="connsiteX132" fmla="*/ 478177 w 4519987"/>
              <a:gd name="connsiteY132" fmla="*/ 857250 h 4496940"/>
              <a:gd name="connsiteX133" fmla="*/ 497227 w 4519987"/>
              <a:gd name="connsiteY133" fmla="*/ 828675 h 4496940"/>
              <a:gd name="connsiteX134" fmla="*/ 535327 w 4519987"/>
              <a:gd name="connsiteY134" fmla="*/ 800100 h 4496940"/>
              <a:gd name="connsiteX135" fmla="*/ 602002 w 4519987"/>
              <a:gd name="connsiteY135" fmla="*/ 733425 h 4496940"/>
              <a:gd name="connsiteX136" fmla="*/ 668677 w 4519987"/>
              <a:gd name="connsiteY136" fmla="*/ 676275 h 4496940"/>
              <a:gd name="connsiteX137" fmla="*/ 697252 w 4519987"/>
              <a:gd name="connsiteY137" fmla="*/ 657225 h 4496940"/>
              <a:gd name="connsiteX138" fmla="*/ 840127 w 4519987"/>
              <a:gd name="connsiteY138" fmla="*/ 533400 h 4496940"/>
              <a:gd name="connsiteX139" fmla="*/ 887752 w 4519987"/>
              <a:gd name="connsiteY139" fmla="*/ 504825 h 4496940"/>
              <a:gd name="connsiteX140" fmla="*/ 1167152 w 4519987"/>
              <a:gd name="connsiteY140" fmla="*/ 311150 h 4496940"/>
              <a:gd name="connsiteX141" fmla="*/ 1268752 w 4519987"/>
              <a:gd name="connsiteY141" fmla="*/ 285750 h 4496940"/>
              <a:gd name="connsiteX142" fmla="*/ 1411627 w 4519987"/>
              <a:gd name="connsiteY142" fmla="*/ 190500 h 4496940"/>
              <a:gd name="connsiteX143" fmla="*/ 1449727 w 4519987"/>
              <a:gd name="connsiteY143" fmla="*/ 161925 h 4496940"/>
              <a:gd name="connsiteX144" fmla="*/ 1525927 w 4519987"/>
              <a:gd name="connsiteY144" fmla="*/ 152400 h 4496940"/>
              <a:gd name="connsiteX145" fmla="*/ 1583077 w 4519987"/>
              <a:gd name="connsiteY145" fmla="*/ 142875 h 4496940"/>
              <a:gd name="connsiteX146" fmla="*/ 1716427 w 4519987"/>
              <a:gd name="connsiteY146" fmla="*/ 123825 h 4496940"/>
              <a:gd name="connsiteX147" fmla="*/ 1811677 w 4519987"/>
              <a:gd name="connsiteY147" fmla="*/ 114300 h 4496940"/>
              <a:gd name="connsiteX148" fmla="*/ 1859302 w 4519987"/>
              <a:gd name="connsiteY148" fmla="*/ 104775 h 4496940"/>
              <a:gd name="connsiteX149" fmla="*/ 1916452 w 4519987"/>
              <a:gd name="connsiteY149" fmla="*/ 95250 h 4496940"/>
              <a:gd name="connsiteX150" fmla="*/ 2030752 w 4519987"/>
              <a:gd name="connsiteY150" fmla="*/ 66675 h 4496940"/>
              <a:gd name="connsiteX151" fmla="*/ 2097427 w 4519987"/>
              <a:gd name="connsiteY151" fmla="*/ 47625 h 4496940"/>
              <a:gd name="connsiteX152" fmla="*/ 2164102 w 4519987"/>
              <a:gd name="connsiteY152" fmla="*/ 38100 h 4496940"/>
              <a:gd name="connsiteX153" fmla="*/ 2392702 w 4519987"/>
              <a:gd name="connsiteY15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02377 w 4519987"/>
              <a:gd name="connsiteY18" fmla="*/ 457200 h 4496940"/>
              <a:gd name="connsiteX19" fmla="*/ 3630952 w 4519987"/>
              <a:gd name="connsiteY19" fmla="*/ 485775 h 4496940"/>
              <a:gd name="connsiteX20" fmla="*/ 3678577 w 4519987"/>
              <a:gd name="connsiteY20" fmla="*/ 504825 h 4496940"/>
              <a:gd name="connsiteX21" fmla="*/ 3745252 w 4519987"/>
              <a:gd name="connsiteY21" fmla="*/ 542925 h 4496940"/>
              <a:gd name="connsiteX22" fmla="*/ 3811927 w 4519987"/>
              <a:gd name="connsiteY22" fmla="*/ 581025 h 4496940"/>
              <a:gd name="connsiteX23" fmla="*/ 3907177 w 4519987"/>
              <a:gd name="connsiteY23" fmla="*/ 647700 h 4496940"/>
              <a:gd name="connsiteX24" fmla="*/ 3935752 w 4519987"/>
              <a:gd name="connsiteY24" fmla="*/ 676275 h 4496940"/>
              <a:gd name="connsiteX25" fmla="*/ 4078627 w 4519987"/>
              <a:gd name="connsiteY25" fmla="*/ 838200 h 4496940"/>
              <a:gd name="connsiteX26" fmla="*/ 4135777 w 4519987"/>
              <a:gd name="connsiteY26" fmla="*/ 933450 h 4496940"/>
              <a:gd name="connsiteX27" fmla="*/ 4164352 w 4519987"/>
              <a:gd name="connsiteY27" fmla="*/ 990600 h 4496940"/>
              <a:gd name="connsiteX28" fmla="*/ 4173877 w 4519987"/>
              <a:gd name="connsiteY28" fmla="*/ 1019175 h 4496940"/>
              <a:gd name="connsiteX29" fmla="*/ 4192927 w 4519987"/>
              <a:gd name="connsiteY29" fmla="*/ 1057275 h 4496940"/>
              <a:gd name="connsiteX30" fmla="*/ 4202452 w 4519987"/>
              <a:gd name="connsiteY30" fmla="*/ 1085850 h 4496940"/>
              <a:gd name="connsiteX31" fmla="*/ 4250077 w 4519987"/>
              <a:gd name="connsiteY31" fmla="*/ 1143000 h 4496940"/>
              <a:gd name="connsiteX32" fmla="*/ 4259602 w 4519987"/>
              <a:gd name="connsiteY32" fmla="*/ 1190625 h 4496940"/>
              <a:gd name="connsiteX33" fmla="*/ 4307227 w 4519987"/>
              <a:gd name="connsiteY33" fmla="*/ 1266825 h 4496940"/>
              <a:gd name="connsiteX34" fmla="*/ 4345327 w 4519987"/>
              <a:gd name="connsiteY34" fmla="*/ 1362075 h 4496940"/>
              <a:gd name="connsiteX35" fmla="*/ 4373902 w 4519987"/>
              <a:gd name="connsiteY35" fmla="*/ 1428750 h 4496940"/>
              <a:gd name="connsiteX36" fmla="*/ 4392952 w 4519987"/>
              <a:gd name="connsiteY36" fmla="*/ 1552575 h 4496940"/>
              <a:gd name="connsiteX37" fmla="*/ 4402477 w 4519987"/>
              <a:gd name="connsiteY37" fmla="*/ 1590675 h 4496940"/>
              <a:gd name="connsiteX38" fmla="*/ 4431052 w 4519987"/>
              <a:gd name="connsiteY38" fmla="*/ 1685925 h 4496940"/>
              <a:gd name="connsiteX39" fmla="*/ 4519952 w 4519987"/>
              <a:gd name="connsiteY39" fmla="*/ 2181225 h 4496940"/>
              <a:gd name="connsiteX40" fmla="*/ 4446927 w 4519987"/>
              <a:gd name="connsiteY40" fmla="*/ 2768600 h 4496940"/>
              <a:gd name="connsiteX41" fmla="*/ 4383427 w 4519987"/>
              <a:gd name="connsiteY41" fmla="*/ 2990850 h 4496940"/>
              <a:gd name="connsiteX42" fmla="*/ 4278652 w 4519987"/>
              <a:gd name="connsiteY42" fmla="*/ 3248025 h 4496940"/>
              <a:gd name="connsiteX43" fmla="*/ 4259602 w 4519987"/>
              <a:gd name="connsiteY43" fmla="*/ 3276600 h 4496940"/>
              <a:gd name="connsiteX44" fmla="*/ 4221502 w 4519987"/>
              <a:gd name="connsiteY44" fmla="*/ 3333750 h 4496940"/>
              <a:gd name="connsiteX45" fmla="*/ 4211977 w 4519987"/>
              <a:gd name="connsiteY45" fmla="*/ 3362325 h 4496940"/>
              <a:gd name="connsiteX46" fmla="*/ 4183402 w 4519987"/>
              <a:gd name="connsiteY46" fmla="*/ 3400425 h 4496940"/>
              <a:gd name="connsiteX47" fmla="*/ 4164352 w 4519987"/>
              <a:gd name="connsiteY47" fmla="*/ 3429000 h 4496940"/>
              <a:gd name="connsiteX48" fmla="*/ 4088152 w 4519987"/>
              <a:gd name="connsiteY48" fmla="*/ 3495675 h 4496940"/>
              <a:gd name="connsiteX49" fmla="*/ 4059577 w 4519987"/>
              <a:gd name="connsiteY49" fmla="*/ 3533775 h 4496940"/>
              <a:gd name="connsiteX50" fmla="*/ 4002427 w 4519987"/>
              <a:gd name="connsiteY50" fmla="*/ 3600450 h 4496940"/>
              <a:gd name="connsiteX51" fmla="*/ 3983377 w 4519987"/>
              <a:gd name="connsiteY51" fmla="*/ 3629025 h 4496940"/>
              <a:gd name="connsiteX52" fmla="*/ 3954802 w 4519987"/>
              <a:gd name="connsiteY52" fmla="*/ 3648075 h 4496940"/>
              <a:gd name="connsiteX53" fmla="*/ 3907177 w 4519987"/>
              <a:gd name="connsiteY53" fmla="*/ 3686175 h 4496940"/>
              <a:gd name="connsiteX54" fmla="*/ 3869077 w 4519987"/>
              <a:gd name="connsiteY54" fmla="*/ 3724275 h 4496940"/>
              <a:gd name="connsiteX55" fmla="*/ 3792877 w 4519987"/>
              <a:gd name="connsiteY55" fmla="*/ 3781425 h 4496940"/>
              <a:gd name="connsiteX56" fmla="*/ 3783352 w 4519987"/>
              <a:gd name="connsiteY56" fmla="*/ 3810000 h 4496940"/>
              <a:gd name="connsiteX57" fmla="*/ 3745252 w 4519987"/>
              <a:gd name="connsiteY57" fmla="*/ 3819525 h 4496940"/>
              <a:gd name="connsiteX58" fmla="*/ 3678577 w 4519987"/>
              <a:gd name="connsiteY58" fmla="*/ 3848100 h 4496940"/>
              <a:gd name="connsiteX59" fmla="*/ 3659527 w 4519987"/>
              <a:gd name="connsiteY59" fmla="*/ 3971925 h 4496940"/>
              <a:gd name="connsiteX60" fmla="*/ 3630952 w 4519987"/>
              <a:gd name="connsiteY60" fmla="*/ 4010025 h 4496940"/>
              <a:gd name="connsiteX61" fmla="*/ 3621427 w 4519987"/>
              <a:gd name="connsiteY61" fmla="*/ 4038600 h 4496940"/>
              <a:gd name="connsiteX62" fmla="*/ 3554752 w 4519987"/>
              <a:gd name="connsiteY62" fmla="*/ 4095750 h 4496940"/>
              <a:gd name="connsiteX63" fmla="*/ 3516652 w 4519987"/>
              <a:gd name="connsiteY63" fmla="*/ 4114800 h 4496940"/>
              <a:gd name="connsiteX64" fmla="*/ 3497602 w 4519987"/>
              <a:gd name="connsiteY64" fmla="*/ 4143375 h 4496940"/>
              <a:gd name="connsiteX65" fmla="*/ 3383302 w 4519987"/>
              <a:gd name="connsiteY65" fmla="*/ 4210050 h 4496940"/>
              <a:gd name="connsiteX66" fmla="*/ 3335677 w 4519987"/>
              <a:gd name="connsiteY66" fmla="*/ 4238625 h 4496940"/>
              <a:gd name="connsiteX67" fmla="*/ 3288052 w 4519987"/>
              <a:gd name="connsiteY67" fmla="*/ 4248150 h 4496940"/>
              <a:gd name="connsiteX68" fmla="*/ 3240427 w 4519987"/>
              <a:gd name="connsiteY68" fmla="*/ 4267200 h 4496940"/>
              <a:gd name="connsiteX69" fmla="*/ 3068977 w 4519987"/>
              <a:gd name="connsiteY69" fmla="*/ 4286250 h 4496940"/>
              <a:gd name="connsiteX70" fmla="*/ 2935627 w 4519987"/>
              <a:gd name="connsiteY70" fmla="*/ 4333875 h 4496940"/>
              <a:gd name="connsiteX71" fmla="*/ 2811802 w 4519987"/>
              <a:gd name="connsiteY71" fmla="*/ 4371975 h 4496940"/>
              <a:gd name="connsiteX72" fmla="*/ 2745127 w 4519987"/>
              <a:gd name="connsiteY72" fmla="*/ 4410075 h 4496940"/>
              <a:gd name="connsiteX73" fmla="*/ 2697502 w 4519987"/>
              <a:gd name="connsiteY73" fmla="*/ 4429125 h 4496940"/>
              <a:gd name="connsiteX74" fmla="*/ 2640352 w 4519987"/>
              <a:gd name="connsiteY74" fmla="*/ 4457700 h 4496940"/>
              <a:gd name="connsiteX75" fmla="*/ 2583202 w 4519987"/>
              <a:gd name="connsiteY75" fmla="*/ 4467225 h 4496940"/>
              <a:gd name="connsiteX76" fmla="*/ 2545102 w 4519987"/>
              <a:gd name="connsiteY76" fmla="*/ 4486275 h 4496940"/>
              <a:gd name="connsiteX77" fmla="*/ 2306977 w 4519987"/>
              <a:gd name="connsiteY77" fmla="*/ 4476750 h 4496940"/>
              <a:gd name="connsiteX78" fmla="*/ 2202202 w 4519987"/>
              <a:gd name="connsiteY78" fmla="*/ 4457700 h 4496940"/>
              <a:gd name="connsiteX79" fmla="*/ 2126002 w 4519987"/>
              <a:gd name="connsiteY79" fmla="*/ 4429125 h 4496940"/>
              <a:gd name="connsiteX80" fmla="*/ 1935502 w 4519987"/>
              <a:gd name="connsiteY80" fmla="*/ 4400550 h 4496940"/>
              <a:gd name="connsiteX81" fmla="*/ 1821202 w 4519987"/>
              <a:gd name="connsiteY81" fmla="*/ 4371975 h 4496940"/>
              <a:gd name="connsiteX82" fmla="*/ 1754527 w 4519987"/>
              <a:gd name="connsiteY82" fmla="*/ 4352925 h 4496940"/>
              <a:gd name="connsiteX83" fmla="*/ 1687852 w 4519987"/>
              <a:gd name="connsiteY83" fmla="*/ 4343400 h 4496940"/>
              <a:gd name="connsiteX84" fmla="*/ 1573552 w 4519987"/>
              <a:gd name="connsiteY84" fmla="*/ 4305300 h 4496940"/>
              <a:gd name="connsiteX85" fmla="*/ 1402102 w 4519987"/>
              <a:gd name="connsiteY85" fmla="*/ 4276725 h 4496940"/>
              <a:gd name="connsiteX86" fmla="*/ 1287802 w 4519987"/>
              <a:gd name="connsiteY86" fmla="*/ 4229100 h 4496940"/>
              <a:gd name="connsiteX87" fmla="*/ 1221127 w 4519987"/>
              <a:gd name="connsiteY87" fmla="*/ 4200525 h 4496940"/>
              <a:gd name="connsiteX88" fmla="*/ 1144927 w 4519987"/>
              <a:gd name="connsiteY88" fmla="*/ 4171950 h 4496940"/>
              <a:gd name="connsiteX89" fmla="*/ 1087777 w 4519987"/>
              <a:gd name="connsiteY89" fmla="*/ 4143375 h 4496940"/>
              <a:gd name="connsiteX90" fmla="*/ 1030627 w 4519987"/>
              <a:gd name="connsiteY90" fmla="*/ 4124325 h 4496940"/>
              <a:gd name="connsiteX91" fmla="*/ 925852 w 4519987"/>
              <a:gd name="connsiteY91" fmla="*/ 4067175 h 4496940"/>
              <a:gd name="connsiteX92" fmla="*/ 830602 w 4519987"/>
              <a:gd name="connsiteY92" fmla="*/ 3981450 h 4496940"/>
              <a:gd name="connsiteX93" fmla="*/ 763927 w 4519987"/>
              <a:gd name="connsiteY93" fmla="*/ 3914775 h 4496940"/>
              <a:gd name="connsiteX94" fmla="*/ 725827 w 4519987"/>
              <a:gd name="connsiteY94" fmla="*/ 3876675 h 4496940"/>
              <a:gd name="connsiteX95" fmla="*/ 697252 w 4519987"/>
              <a:gd name="connsiteY95" fmla="*/ 3838575 h 4496940"/>
              <a:gd name="connsiteX96" fmla="*/ 640102 w 4519987"/>
              <a:gd name="connsiteY96" fmla="*/ 3781425 h 4496940"/>
              <a:gd name="connsiteX97" fmla="*/ 611527 w 4519987"/>
              <a:gd name="connsiteY97" fmla="*/ 3733800 h 4496940"/>
              <a:gd name="connsiteX98" fmla="*/ 554377 w 4519987"/>
              <a:gd name="connsiteY98" fmla="*/ 3657600 h 4496940"/>
              <a:gd name="connsiteX99" fmla="*/ 525802 w 4519987"/>
              <a:gd name="connsiteY99" fmla="*/ 3609975 h 4496940"/>
              <a:gd name="connsiteX100" fmla="*/ 497227 w 4519987"/>
              <a:gd name="connsiteY100" fmla="*/ 3552825 h 4496940"/>
              <a:gd name="connsiteX101" fmla="*/ 440077 w 4519987"/>
              <a:gd name="connsiteY101" fmla="*/ 3495675 h 4496940"/>
              <a:gd name="connsiteX102" fmla="*/ 411502 w 4519987"/>
              <a:gd name="connsiteY102" fmla="*/ 3448050 h 4496940"/>
              <a:gd name="connsiteX103" fmla="*/ 278152 w 4519987"/>
              <a:gd name="connsiteY103" fmla="*/ 3257550 h 4496940"/>
              <a:gd name="connsiteX104" fmla="*/ 249577 w 4519987"/>
              <a:gd name="connsiteY104" fmla="*/ 3200400 h 4496940"/>
              <a:gd name="connsiteX105" fmla="*/ 240052 w 4519987"/>
              <a:gd name="connsiteY105" fmla="*/ 3162300 h 4496940"/>
              <a:gd name="connsiteX106" fmla="*/ 221002 w 4519987"/>
              <a:gd name="connsiteY106" fmla="*/ 3105150 h 4496940"/>
              <a:gd name="connsiteX107" fmla="*/ 173377 w 4519987"/>
              <a:gd name="connsiteY107" fmla="*/ 3019425 h 4496940"/>
              <a:gd name="connsiteX108" fmla="*/ 144802 w 4519987"/>
              <a:gd name="connsiteY108" fmla="*/ 2924175 h 4496940"/>
              <a:gd name="connsiteX109" fmla="*/ 68602 w 4519987"/>
              <a:gd name="connsiteY109" fmla="*/ 2724150 h 4496940"/>
              <a:gd name="connsiteX110" fmla="*/ 49552 w 4519987"/>
              <a:gd name="connsiteY110" fmla="*/ 2638425 h 4496940"/>
              <a:gd name="connsiteX111" fmla="*/ 40027 w 4519987"/>
              <a:gd name="connsiteY111" fmla="*/ 2562225 h 4496940"/>
              <a:gd name="connsiteX112" fmla="*/ 30502 w 4519987"/>
              <a:gd name="connsiteY112" fmla="*/ 2514600 h 4496940"/>
              <a:gd name="connsiteX113" fmla="*/ 11452 w 4519987"/>
              <a:gd name="connsiteY113" fmla="*/ 2400300 h 4496940"/>
              <a:gd name="connsiteX114" fmla="*/ 20977 w 4519987"/>
              <a:gd name="connsiteY114" fmla="*/ 1905000 h 4496940"/>
              <a:gd name="connsiteX115" fmla="*/ 30502 w 4519987"/>
              <a:gd name="connsiteY115" fmla="*/ 1838325 h 4496940"/>
              <a:gd name="connsiteX116" fmla="*/ 49552 w 4519987"/>
              <a:gd name="connsiteY116" fmla="*/ 1781175 h 4496940"/>
              <a:gd name="connsiteX117" fmla="*/ 59077 w 4519987"/>
              <a:gd name="connsiteY117" fmla="*/ 1743075 h 4496940"/>
              <a:gd name="connsiteX118" fmla="*/ 78127 w 4519987"/>
              <a:gd name="connsiteY118" fmla="*/ 1685925 h 4496940"/>
              <a:gd name="connsiteX119" fmla="*/ 87652 w 4519987"/>
              <a:gd name="connsiteY119" fmla="*/ 1638300 h 4496940"/>
              <a:gd name="connsiteX120" fmla="*/ 106702 w 4519987"/>
              <a:gd name="connsiteY120" fmla="*/ 1590675 h 4496940"/>
              <a:gd name="connsiteX121" fmla="*/ 135277 w 4519987"/>
              <a:gd name="connsiteY121" fmla="*/ 1504950 h 4496940"/>
              <a:gd name="connsiteX122" fmla="*/ 154327 w 4519987"/>
              <a:gd name="connsiteY122" fmla="*/ 1419225 h 4496940"/>
              <a:gd name="connsiteX123" fmla="*/ 230527 w 4519987"/>
              <a:gd name="connsiteY123" fmla="*/ 1276350 h 4496940"/>
              <a:gd name="connsiteX124" fmla="*/ 240052 w 4519987"/>
              <a:gd name="connsiteY124" fmla="*/ 1247775 h 4496940"/>
              <a:gd name="connsiteX125" fmla="*/ 268627 w 4519987"/>
              <a:gd name="connsiteY125" fmla="*/ 1200150 h 4496940"/>
              <a:gd name="connsiteX126" fmla="*/ 287677 w 4519987"/>
              <a:gd name="connsiteY126" fmla="*/ 1152525 h 4496940"/>
              <a:gd name="connsiteX127" fmla="*/ 316252 w 4519987"/>
              <a:gd name="connsiteY127" fmla="*/ 1114425 h 4496940"/>
              <a:gd name="connsiteX128" fmla="*/ 363877 w 4519987"/>
              <a:gd name="connsiteY128" fmla="*/ 1038225 h 4496940"/>
              <a:gd name="connsiteX129" fmla="*/ 382927 w 4519987"/>
              <a:gd name="connsiteY129" fmla="*/ 1009650 h 4496940"/>
              <a:gd name="connsiteX130" fmla="*/ 440077 w 4519987"/>
              <a:gd name="connsiteY130" fmla="*/ 904875 h 4496940"/>
              <a:gd name="connsiteX131" fmla="*/ 478177 w 4519987"/>
              <a:gd name="connsiteY131" fmla="*/ 857250 h 4496940"/>
              <a:gd name="connsiteX132" fmla="*/ 497227 w 4519987"/>
              <a:gd name="connsiteY132" fmla="*/ 828675 h 4496940"/>
              <a:gd name="connsiteX133" fmla="*/ 535327 w 4519987"/>
              <a:gd name="connsiteY133" fmla="*/ 800100 h 4496940"/>
              <a:gd name="connsiteX134" fmla="*/ 602002 w 4519987"/>
              <a:gd name="connsiteY134" fmla="*/ 733425 h 4496940"/>
              <a:gd name="connsiteX135" fmla="*/ 668677 w 4519987"/>
              <a:gd name="connsiteY135" fmla="*/ 676275 h 4496940"/>
              <a:gd name="connsiteX136" fmla="*/ 697252 w 4519987"/>
              <a:gd name="connsiteY136" fmla="*/ 657225 h 4496940"/>
              <a:gd name="connsiteX137" fmla="*/ 840127 w 4519987"/>
              <a:gd name="connsiteY137" fmla="*/ 533400 h 4496940"/>
              <a:gd name="connsiteX138" fmla="*/ 887752 w 4519987"/>
              <a:gd name="connsiteY138" fmla="*/ 504825 h 4496940"/>
              <a:gd name="connsiteX139" fmla="*/ 1167152 w 4519987"/>
              <a:gd name="connsiteY139" fmla="*/ 311150 h 4496940"/>
              <a:gd name="connsiteX140" fmla="*/ 1268752 w 4519987"/>
              <a:gd name="connsiteY140" fmla="*/ 285750 h 4496940"/>
              <a:gd name="connsiteX141" fmla="*/ 1411627 w 4519987"/>
              <a:gd name="connsiteY141" fmla="*/ 190500 h 4496940"/>
              <a:gd name="connsiteX142" fmla="*/ 1449727 w 4519987"/>
              <a:gd name="connsiteY142" fmla="*/ 161925 h 4496940"/>
              <a:gd name="connsiteX143" fmla="*/ 1525927 w 4519987"/>
              <a:gd name="connsiteY143" fmla="*/ 152400 h 4496940"/>
              <a:gd name="connsiteX144" fmla="*/ 1583077 w 4519987"/>
              <a:gd name="connsiteY144" fmla="*/ 142875 h 4496940"/>
              <a:gd name="connsiteX145" fmla="*/ 1716427 w 4519987"/>
              <a:gd name="connsiteY145" fmla="*/ 123825 h 4496940"/>
              <a:gd name="connsiteX146" fmla="*/ 1811677 w 4519987"/>
              <a:gd name="connsiteY146" fmla="*/ 114300 h 4496940"/>
              <a:gd name="connsiteX147" fmla="*/ 1859302 w 4519987"/>
              <a:gd name="connsiteY147" fmla="*/ 104775 h 4496940"/>
              <a:gd name="connsiteX148" fmla="*/ 1916452 w 4519987"/>
              <a:gd name="connsiteY148" fmla="*/ 95250 h 4496940"/>
              <a:gd name="connsiteX149" fmla="*/ 2030752 w 4519987"/>
              <a:gd name="connsiteY149" fmla="*/ 66675 h 4496940"/>
              <a:gd name="connsiteX150" fmla="*/ 2097427 w 4519987"/>
              <a:gd name="connsiteY150" fmla="*/ 47625 h 4496940"/>
              <a:gd name="connsiteX151" fmla="*/ 2164102 w 4519987"/>
              <a:gd name="connsiteY151" fmla="*/ 38100 h 4496940"/>
              <a:gd name="connsiteX152" fmla="*/ 2392702 w 4519987"/>
              <a:gd name="connsiteY15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02377 w 4519987"/>
              <a:gd name="connsiteY18" fmla="*/ 457200 h 4496940"/>
              <a:gd name="connsiteX19" fmla="*/ 3630952 w 4519987"/>
              <a:gd name="connsiteY19" fmla="*/ 485775 h 4496940"/>
              <a:gd name="connsiteX20" fmla="*/ 3745252 w 4519987"/>
              <a:gd name="connsiteY20" fmla="*/ 542925 h 4496940"/>
              <a:gd name="connsiteX21" fmla="*/ 3811927 w 4519987"/>
              <a:gd name="connsiteY21" fmla="*/ 581025 h 4496940"/>
              <a:gd name="connsiteX22" fmla="*/ 3907177 w 4519987"/>
              <a:gd name="connsiteY22" fmla="*/ 647700 h 4496940"/>
              <a:gd name="connsiteX23" fmla="*/ 3935752 w 4519987"/>
              <a:gd name="connsiteY23" fmla="*/ 676275 h 4496940"/>
              <a:gd name="connsiteX24" fmla="*/ 4078627 w 4519987"/>
              <a:gd name="connsiteY24" fmla="*/ 838200 h 4496940"/>
              <a:gd name="connsiteX25" fmla="*/ 4135777 w 4519987"/>
              <a:gd name="connsiteY25" fmla="*/ 933450 h 4496940"/>
              <a:gd name="connsiteX26" fmla="*/ 4164352 w 4519987"/>
              <a:gd name="connsiteY26" fmla="*/ 990600 h 4496940"/>
              <a:gd name="connsiteX27" fmla="*/ 4173877 w 4519987"/>
              <a:gd name="connsiteY27" fmla="*/ 1019175 h 4496940"/>
              <a:gd name="connsiteX28" fmla="*/ 4192927 w 4519987"/>
              <a:gd name="connsiteY28" fmla="*/ 1057275 h 4496940"/>
              <a:gd name="connsiteX29" fmla="*/ 4202452 w 4519987"/>
              <a:gd name="connsiteY29" fmla="*/ 1085850 h 4496940"/>
              <a:gd name="connsiteX30" fmla="*/ 4250077 w 4519987"/>
              <a:gd name="connsiteY30" fmla="*/ 1143000 h 4496940"/>
              <a:gd name="connsiteX31" fmla="*/ 4259602 w 4519987"/>
              <a:gd name="connsiteY31" fmla="*/ 1190625 h 4496940"/>
              <a:gd name="connsiteX32" fmla="*/ 4307227 w 4519987"/>
              <a:gd name="connsiteY32" fmla="*/ 1266825 h 4496940"/>
              <a:gd name="connsiteX33" fmla="*/ 4345327 w 4519987"/>
              <a:gd name="connsiteY33" fmla="*/ 1362075 h 4496940"/>
              <a:gd name="connsiteX34" fmla="*/ 4373902 w 4519987"/>
              <a:gd name="connsiteY34" fmla="*/ 1428750 h 4496940"/>
              <a:gd name="connsiteX35" fmla="*/ 4392952 w 4519987"/>
              <a:gd name="connsiteY35" fmla="*/ 1552575 h 4496940"/>
              <a:gd name="connsiteX36" fmla="*/ 4402477 w 4519987"/>
              <a:gd name="connsiteY36" fmla="*/ 1590675 h 4496940"/>
              <a:gd name="connsiteX37" fmla="*/ 4431052 w 4519987"/>
              <a:gd name="connsiteY37" fmla="*/ 1685925 h 4496940"/>
              <a:gd name="connsiteX38" fmla="*/ 4519952 w 4519987"/>
              <a:gd name="connsiteY38" fmla="*/ 2181225 h 4496940"/>
              <a:gd name="connsiteX39" fmla="*/ 4446927 w 4519987"/>
              <a:gd name="connsiteY39" fmla="*/ 2768600 h 4496940"/>
              <a:gd name="connsiteX40" fmla="*/ 4383427 w 4519987"/>
              <a:gd name="connsiteY40" fmla="*/ 2990850 h 4496940"/>
              <a:gd name="connsiteX41" fmla="*/ 4278652 w 4519987"/>
              <a:gd name="connsiteY41" fmla="*/ 3248025 h 4496940"/>
              <a:gd name="connsiteX42" fmla="*/ 4259602 w 4519987"/>
              <a:gd name="connsiteY42" fmla="*/ 3276600 h 4496940"/>
              <a:gd name="connsiteX43" fmla="*/ 4221502 w 4519987"/>
              <a:gd name="connsiteY43" fmla="*/ 3333750 h 4496940"/>
              <a:gd name="connsiteX44" fmla="*/ 4211977 w 4519987"/>
              <a:gd name="connsiteY44" fmla="*/ 3362325 h 4496940"/>
              <a:gd name="connsiteX45" fmla="*/ 4183402 w 4519987"/>
              <a:gd name="connsiteY45" fmla="*/ 3400425 h 4496940"/>
              <a:gd name="connsiteX46" fmla="*/ 4164352 w 4519987"/>
              <a:gd name="connsiteY46" fmla="*/ 3429000 h 4496940"/>
              <a:gd name="connsiteX47" fmla="*/ 4088152 w 4519987"/>
              <a:gd name="connsiteY47" fmla="*/ 3495675 h 4496940"/>
              <a:gd name="connsiteX48" fmla="*/ 4059577 w 4519987"/>
              <a:gd name="connsiteY48" fmla="*/ 3533775 h 4496940"/>
              <a:gd name="connsiteX49" fmla="*/ 4002427 w 4519987"/>
              <a:gd name="connsiteY49" fmla="*/ 3600450 h 4496940"/>
              <a:gd name="connsiteX50" fmla="*/ 3983377 w 4519987"/>
              <a:gd name="connsiteY50" fmla="*/ 3629025 h 4496940"/>
              <a:gd name="connsiteX51" fmla="*/ 3954802 w 4519987"/>
              <a:gd name="connsiteY51" fmla="*/ 3648075 h 4496940"/>
              <a:gd name="connsiteX52" fmla="*/ 3907177 w 4519987"/>
              <a:gd name="connsiteY52" fmla="*/ 3686175 h 4496940"/>
              <a:gd name="connsiteX53" fmla="*/ 3869077 w 4519987"/>
              <a:gd name="connsiteY53" fmla="*/ 3724275 h 4496940"/>
              <a:gd name="connsiteX54" fmla="*/ 3792877 w 4519987"/>
              <a:gd name="connsiteY54" fmla="*/ 3781425 h 4496940"/>
              <a:gd name="connsiteX55" fmla="*/ 3783352 w 4519987"/>
              <a:gd name="connsiteY55" fmla="*/ 3810000 h 4496940"/>
              <a:gd name="connsiteX56" fmla="*/ 3745252 w 4519987"/>
              <a:gd name="connsiteY56" fmla="*/ 3819525 h 4496940"/>
              <a:gd name="connsiteX57" fmla="*/ 3678577 w 4519987"/>
              <a:gd name="connsiteY57" fmla="*/ 3848100 h 4496940"/>
              <a:gd name="connsiteX58" fmla="*/ 3659527 w 4519987"/>
              <a:gd name="connsiteY58" fmla="*/ 3971925 h 4496940"/>
              <a:gd name="connsiteX59" fmla="*/ 3630952 w 4519987"/>
              <a:gd name="connsiteY59" fmla="*/ 4010025 h 4496940"/>
              <a:gd name="connsiteX60" fmla="*/ 3621427 w 4519987"/>
              <a:gd name="connsiteY60" fmla="*/ 4038600 h 4496940"/>
              <a:gd name="connsiteX61" fmla="*/ 3554752 w 4519987"/>
              <a:gd name="connsiteY61" fmla="*/ 4095750 h 4496940"/>
              <a:gd name="connsiteX62" fmla="*/ 3516652 w 4519987"/>
              <a:gd name="connsiteY62" fmla="*/ 4114800 h 4496940"/>
              <a:gd name="connsiteX63" fmla="*/ 3497602 w 4519987"/>
              <a:gd name="connsiteY63" fmla="*/ 4143375 h 4496940"/>
              <a:gd name="connsiteX64" fmla="*/ 3383302 w 4519987"/>
              <a:gd name="connsiteY64" fmla="*/ 4210050 h 4496940"/>
              <a:gd name="connsiteX65" fmla="*/ 3335677 w 4519987"/>
              <a:gd name="connsiteY65" fmla="*/ 4238625 h 4496940"/>
              <a:gd name="connsiteX66" fmla="*/ 3288052 w 4519987"/>
              <a:gd name="connsiteY66" fmla="*/ 4248150 h 4496940"/>
              <a:gd name="connsiteX67" fmla="*/ 3240427 w 4519987"/>
              <a:gd name="connsiteY67" fmla="*/ 4267200 h 4496940"/>
              <a:gd name="connsiteX68" fmla="*/ 3068977 w 4519987"/>
              <a:gd name="connsiteY68" fmla="*/ 4286250 h 4496940"/>
              <a:gd name="connsiteX69" fmla="*/ 2935627 w 4519987"/>
              <a:gd name="connsiteY69" fmla="*/ 4333875 h 4496940"/>
              <a:gd name="connsiteX70" fmla="*/ 2811802 w 4519987"/>
              <a:gd name="connsiteY70" fmla="*/ 4371975 h 4496940"/>
              <a:gd name="connsiteX71" fmla="*/ 2745127 w 4519987"/>
              <a:gd name="connsiteY71" fmla="*/ 4410075 h 4496940"/>
              <a:gd name="connsiteX72" fmla="*/ 2697502 w 4519987"/>
              <a:gd name="connsiteY72" fmla="*/ 4429125 h 4496940"/>
              <a:gd name="connsiteX73" fmla="*/ 2640352 w 4519987"/>
              <a:gd name="connsiteY73" fmla="*/ 4457700 h 4496940"/>
              <a:gd name="connsiteX74" fmla="*/ 2583202 w 4519987"/>
              <a:gd name="connsiteY74" fmla="*/ 4467225 h 4496940"/>
              <a:gd name="connsiteX75" fmla="*/ 2545102 w 4519987"/>
              <a:gd name="connsiteY75" fmla="*/ 4486275 h 4496940"/>
              <a:gd name="connsiteX76" fmla="*/ 2306977 w 4519987"/>
              <a:gd name="connsiteY76" fmla="*/ 4476750 h 4496940"/>
              <a:gd name="connsiteX77" fmla="*/ 2202202 w 4519987"/>
              <a:gd name="connsiteY77" fmla="*/ 4457700 h 4496940"/>
              <a:gd name="connsiteX78" fmla="*/ 2126002 w 4519987"/>
              <a:gd name="connsiteY78" fmla="*/ 4429125 h 4496940"/>
              <a:gd name="connsiteX79" fmla="*/ 1935502 w 4519987"/>
              <a:gd name="connsiteY79" fmla="*/ 4400550 h 4496940"/>
              <a:gd name="connsiteX80" fmla="*/ 1821202 w 4519987"/>
              <a:gd name="connsiteY80" fmla="*/ 4371975 h 4496940"/>
              <a:gd name="connsiteX81" fmla="*/ 1754527 w 4519987"/>
              <a:gd name="connsiteY81" fmla="*/ 4352925 h 4496940"/>
              <a:gd name="connsiteX82" fmla="*/ 1687852 w 4519987"/>
              <a:gd name="connsiteY82" fmla="*/ 4343400 h 4496940"/>
              <a:gd name="connsiteX83" fmla="*/ 1573552 w 4519987"/>
              <a:gd name="connsiteY83" fmla="*/ 4305300 h 4496940"/>
              <a:gd name="connsiteX84" fmla="*/ 1402102 w 4519987"/>
              <a:gd name="connsiteY84" fmla="*/ 4276725 h 4496940"/>
              <a:gd name="connsiteX85" fmla="*/ 1287802 w 4519987"/>
              <a:gd name="connsiteY85" fmla="*/ 4229100 h 4496940"/>
              <a:gd name="connsiteX86" fmla="*/ 1221127 w 4519987"/>
              <a:gd name="connsiteY86" fmla="*/ 4200525 h 4496940"/>
              <a:gd name="connsiteX87" fmla="*/ 1144927 w 4519987"/>
              <a:gd name="connsiteY87" fmla="*/ 4171950 h 4496940"/>
              <a:gd name="connsiteX88" fmla="*/ 1087777 w 4519987"/>
              <a:gd name="connsiteY88" fmla="*/ 4143375 h 4496940"/>
              <a:gd name="connsiteX89" fmla="*/ 1030627 w 4519987"/>
              <a:gd name="connsiteY89" fmla="*/ 4124325 h 4496940"/>
              <a:gd name="connsiteX90" fmla="*/ 925852 w 4519987"/>
              <a:gd name="connsiteY90" fmla="*/ 4067175 h 4496940"/>
              <a:gd name="connsiteX91" fmla="*/ 830602 w 4519987"/>
              <a:gd name="connsiteY91" fmla="*/ 3981450 h 4496940"/>
              <a:gd name="connsiteX92" fmla="*/ 763927 w 4519987"/>
              <a:gd name="connsiteY92" fmla="*/ 3914775 h 4496940"/>
              <a:gd name="connsiteX93" fmla="*/ 725827 w 4519987"/>
              <a:gd name="connsiteY93" fmla="*/ 3876675 h 4496940"/>
              <a:gd name="connsiteX94" fmla="*/ 697252 w 4519987"/>
              <a:gd name="connsiteY94" fmla="*/ 3838575 h 4496940"/>
              <a:gd name="connsiteX95" fmla="*/ 640102 w 4519987"/>
              <a:gd name="connsiteY95" fmla="*/ 3781425 h 4496940"/>
              <a:gd name="connsiteX96" fmla="*/ 611527 w 4519987"/>
              <a:gd name="connsiteY96" fmla="*/ 3733800 h 4496940"/>
              <a:gd name="connsiteX97" fmla="*/ 554377 w 4519987"/>
              <a:gd name="connsiteY97" fmla="*/ 3657600 h 4496940"/>
              <a:gd name="connsiteX98" fmla="*/ 525802 w 4519987"/>
              <a:gd name="connsiteY98" fmla="*/ 3609975 h 4496940"/>
              <a:gd name="connsiteX99" fmla="*/ 497227 w 4519987"/>
              <a:gd name="connsiteY99" fmla="*/ 3552825 h 4496940"/>
              <a:gd name="connsiteX100" fmla="*/ 440077 w 4519987"/>
              <a:gd name="connsiteY100" fmla="*/ 3495675 h 4496940"/>
              <a:gd name="connsiteX101" fmla="*/ 411502 w 4519987"/>
              <a:gd name="connsiteY101" fmla="*/ 3448050 h 4496940"/>
              <a:gd name="connsiteX102" fmla="*/ 278152 w 4519987"/>
              <a:gd name="connsiteY102" fmla="*/ 3257550 h 4496940"/>
              <a:gd name="connsiteX103" fmla="*/ 249577 w 4519987"/>
              <a:gd name="connsiteY103" fmla="*/ 3200400 h 4496940"/>
              <a:gd name="connsiteX104" fmla="*/ 240052 w 4519987"/>
              <a:gd name="connsiteY104" fmla="*/ 3162300 h 4496940"/>
              <a:gd name="connsiteX105" fmla="*/ 221002 w 4519987"/>
              <a:gd name="connsiteY105" fmla="*/ 3105150 h 4496940"/>
              <a:gd name="connsiteX106" fmla="*/ 173377 w 4519987"/>
              <a:gd name="connsiteY106" fmla="*/ 3019425 h 4496940"/>
              <a:gd name="connsiteX107" fmla="*/ 144802 w 4519987"/>
              <a:gd name="connsiteY107" fmla="*/ 2924175 h 4496940"/>
              <a:gd name="connsiteX108" fmla="*/ 68602 w 4519987"/>
              <a:gd name="connsiteY108" fmla="*/ 2724150 h 4496940"/>
              <a:gd name="connsiteX109" fmla="*/ 49552 w 4519987"/>
              <a:gd name="connsiteY109" fmla="*/ 2638425 h 4496940"/>
              <a:gd name="connsiteX110" fmla="*/ 40027 w 4519987"/>
              <a:gd name="connsiteY110" fmla="*/ 2562225 h 4496940"/>
              <a:gd name="connsiteX111" fmla="*/ 30502 w 4519987"/>
              <a:gd name="connsiteY111" fmla="*/ 2514600 h 4496940"/>
              <a:gd name="connsiteX112" fmla="*/ 11452 w 4519987"/>
              <a:gd name="connsiteY112" fmla="*/ 2400300 h 4496940"/>
              <a:gd name="connsiteX113" fmla="*/ 20977 w 4519987"/>
              <a:gd name="connsiteY113" fmla="*/ 1905000 h 4496940"/>
              <a:gd name="connsiteX114" fmla="*/ 30502 w 4519987"/>
              <a:gd name="connsiteY114" fmla="*/ 1838325 h 4496940"/>
              <a:gd name="connsiteX115" fmla="*/ 49552 w 4519987"/>
              <a:gd name="connsiteY115" fmla="*/ 1781175 h 4496940"/>
              <a:gd name="connsiteX116" fmla="*/ 59077 w 4519987"/>
              <a:gd name="connsiteY116" fmla="*/ 1743075 h 4496940"/>
              <a:gd name="connsiteX117" fmla="*/ 78127 w 4519987"/>
              <a:gd name="connsiteY117" fmla="*/ 1685925 h 4496940"/>
              <a:gd name="connsiteX118" fmla="*/ 87652 w 4519987"/>
              <a:gd name="connsiteY118" fmla="*/ 1638300 h 4496940"/>
              <a:gd name="connsiteX119" fmla="*/ 106702 w 4519987"/>
              <a:gd name="connsiteY119" fmla="*/ 1590675 h 4496940"/>
              <a:gd name="connsiteX120" fmla="*/ 135277 w 4519987"/>
              <a:gd name="connsiteY120" fmla="*/ 1504950 h 4496940"/>
              <a:gd name="connsiteX121" fmla="*/ 154327 w 4519987"/>
              <a:gd name="connsiteY121" fmla="*/ 1419225 h 4496940"/>
              <a:gd name="connsiteX122" fmla="*/ 230527 w 4519987"/>
              <a:gd name="connsiteY122" fmla="*/ 1276350 h 4496940"/>
              <a:gd name="connsiteX123" fmla="*/ 240052 w 4519987"/>
              <a:gd name="connsiteY123" fmla="*/ 1247775 h 4496940"/>
              <a:gd name="connsiteX124" fmla="*/ 268627 w 4519987"/>
              <a:gd name="connsiteY124" fmla="*/ 1200150 h 4496940"/>
              <a:gd name="connsiteX125" fmla="*/ 287677 w 4519987"/>
              <a:gd name="connsiteY125" fmla="*/ 1152525 h 4496940"/>
              <a:gd name="connsiteX126" fmla="*/ 316252 w 4519987"/>
              <a:gd name="connsiteY126" fmla="*/ 1114425 h 4496940"/>
              <a:gd name="connsiteX127" fmla="*/ 363877 w 4519987"/>
              <a:gd name="connsiteY127" fmla="*/ 1038225 h 4496940"/>
              <a:gd name="connsiteX128" fmla="*/ 382927 w 4519987"/>
              <a:gd name="connsiteY128" fmla="*/ 1009650 h 4496940"/>
              <a:gd name="connsiteX129" fmla="*/ 440077 w 4519987"/>
              <a:gd name="connsiteY129" fmla="*/ 904875 h 4496940"/>
              <a:gd name="connsiteX130" fmla="*/ 478177 w 4519987"/>
              <a:gd name="connsiteY130" fmla="*/ 857250 h 4496940"/>
              <a:gd name="connsiteX131" fmla="*/ 497227 w 4519987"/>
              <a:gd name="connsiteY131" fmla="*/ 828675 h 4496940"/>
              <a:gd name="connsiteX132" fmla="*/ 535327 w 4519987"/>
              <a:gd name="connsiteY132" fmla="*/ 800100 h 4496940"/>
              <a:gd name="connsiteX133" fmla="*/ 602002 w 4519987"/>
              <a:gd name="connsiteY133" fmla="*/ 733425 h 4496940"/>
              <a:gd name="connsiteX134" fmla="*/ 668677 w 4519987"/>
              <a:gd name="connsiteY134" fmla="*/ 676275 h 4496940"/>
              <a:gd name="connsiteX135" fmla="*/ 697252 w 4519987"/>
              <a:gd name="connsiteY135" fmla="*/ 657225 h 4496940"/>
              <a:gd name="connsiteX136" fmla="*/ 840127 w 4519987"/>
              <a:gd name="connsiteY136" fmla="*/ 533400 h 4496940"/>
              <a:gd name="connsiteX137" fmla="*/ 887752 w 4519987"/>
              <a:gd name="connsiteY137" fmla="*/ 504825 h 4496940"/>
              <a:gd name="connsiteX138" fmla="*/ 1167152 w 4519987"/>
              <a:gd name="connsiteY138" fmla="*/ 311150 h 4496940"/>
              <a:gd name="connsiteX139" fmla="*/ 1268752 w 4519987"/>
              <a:gd name="connsiteY139" fmla="*/ 285750 h 4496940"/>
              <a:gd name="connsiteX140" fmla="*/ 1411627 w 4519987"/>
              <a:gd name="connsiteY140" fmla="*/ 190500 h 4496940"/>
              <a:gd name="connsiteX141" fmla="*/ 1449727 w 4519987"/>
              <a:gd name="connsiteY141" fmla="*/ 161925 h 4496940"/>
              <a:gd name="connsiteX142" fmla="*/ 1525927 w 4519987"/>
              <a:gd name="connsiteY142" fmla="*/ 152400 h 4496940"/>
              <a:gd name="connsiteX143" fmla="*/ 1583077 w 4519987"/>
              <a:gd name="connsiteY143" fmla="*/ 142875 h 4496940"/>
              <a:gd name="connsiteX144" fmla="*/ 1716427 w 4519987"/>
              <a:gd name="connsiteY144" fmla="*/ 123825 h 4496940"/>
              <a:gd name="connsiteX145" fmla="*/ 1811677 w 4519987"/>
              <a:gd name="connsiteY145" fmla="*/ 114300 h 4496940"/>
              <a:gd name="connsiteX146" fmla="*/ 1859302 w 4519987"/>
              <a:gd name="connsiteY146" fmla="*/ 104775 h 4496940"/>
              <a:gd name="connsiteX147" fmla="*/ 1916452 w 4519987"/>
              <a:gd name="connsiteY147" fmla="*/ 95250 h 4496940"/>
              <a:gd name="connsiteX148" fmla="*/ 2030752 w 4519987"/>
              <a:gd name="connsiteY148" fmla="*/ 66675 h 4496940"/>
              <a:gd name="connsiteX149" fmla="*/ 2097427 w 4519987"/>
              <a:gd name="connsiteY149" fmla="*/ 47625 h 4496940"/>
              <a:gd name="connsiteX150" fmla="*/ 2164102 w 4519987"/>
              <a:gd name="connsiteY150" fmla="*/ 38100 h 4496940"/>
              <a:gd name="connsiteX151" fmla="*/ 2392702 w 4519987"/>
              <a:gd name="connsiteY15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3907177 w 4519987"/>
              <a:gd name="connsiteY21" fmla="*/ 647700 h 4496940"/>
              <a:gd name="connsiteX22" fmla="*/ 3935752 w 4519987"/>
              <a:gd name="connsiteY22" fmla="*/ 676275 h 4496940"/>
              <a:gd name="connsiteX23" fmla="*/ 4078627 w 4519987"/>
              <a:gd name="connsiteY23" fmla="*/ 838200 h 4496940"/>
              <a:gd name="connsiteX24" fmla="*/ 4135777 w 4519987"/>
              <a:gd name="connsiteY24" fmla="*/ 933450 h 4496940"/>
              <a:gd name="connsiteX25" fmla="*/ 4164352 w 4519987"/>
              <a:gd name="connsiteY25" fmla="*/ 990600 h 4496940"/>
              <a:gd name="connsiteX26" fmla="*/ 4173877 w 4519987"/>
              <a:gd name="connsiteY26" fmla="*/ 1019175 h 4496940"/>
              <a:gd name="connsiteX27" fmla="*/ 4192927 w 4519987"/>
              <a:gd name="connsiteY27" fmla="*/ 1057275 h 4496940"/>
              <a:gd name="connsiteX28" fmla="*/ 4202452 w 4519987"/>
              <a:gd name="connsiteY28" fmla="*/ 1085850 h 4496940"/>
              <a:gd name="connsiteX29" fmla="*/ 4250077 w 4519987"/>
              <a:gd name="connsiteY29" fmla="*/ 1143000 h 4496940"/>
              <a:gd name="connsiteX30" fmla="*/ 4259602 w 4519987"/>
              <a:gd name="connsiteY30" fmla="*/ 1190625 h 4496940"/>
              <a:gd name="connsiteX31" fmla="*/ 4307227 w 4519987"/>
              <a:gd name="connsiteY31" fmla="*/ 1266825 h 4496940"/>
              <a:gd name="connsiteX32" fmla="*/ 4345327 w 4519987"/>
              <a:gd name="connsiteY32" fmla="*/ 1362075 h 4496940"/>
              <a:gd name="connsiteX33" fmla="*/ 4373902 w 4519987"/>
              <a:gd name="connsiteY33" fmla="*/ 1428750 h 4496940"/>
              <a:gd name="connsiteX34" fmla="*/ 4392952 w 4519987"/>
              <a:gd name="connsiteY34" fmla="*/ 1552575 h 4496940"/>
              <a:gd name="connsiteX35" fmla="*/ 4402477 w 4519987"/>
              <a:gd name="connsiteY35" fmla="*/ 1590675 h 4496940"/>
              <a:gd name="connsiteX36" fmla="*/ 4431052 w 4519987"/>
              <a:gd name="connsiteY36" fmla="*/ 1685925 h 4496940"/>
              <a:gd name="connsiteX37" fmla="*/ 4519952 w 4519987"/>
              <a:gd name="connsiteY37" fmla="*/ 2181225 h 4496940"/>
              <a:gd name="connsiteX38" fmla="*/ 4446927 w 4519987"/>
              <a:gd name="connsiteY38" fmla="*/ 2768600 h 4496940"/>
              <a:gd name="connsiteX39" fmla="*/ 4383427 w 4519987"/>
              <a:gd name="connsiteY39" fmla="*/ 2990850 h 4496940"/>
              <a:gd name="connsiteX40" fmla="*/ 4278652 w 4519987"/>
              <a:gd name="connsiteY40" fmla="*/ 3248025 h 4496940"/>
              <a:gd name="connsiteX41" fmla="*/ 4259602 w 4519987"/>
              <a:gd name="connsiteY41" fmla="*/ 3276600 h 4496940"/>
              <a:gd name="connsiteX42" fmla="*/ 4221502 w 4519987"/>
              <a:gd name="connsiteY42" fmla="*/ 3333750 h 4496940"/>
              <a:gd name="connsiteX43" fmla="*/ 4211977 w 4519987"/>
              <a:gd name="connsiteY43" fmla="*/ 3362325 h 4496940"/>
              <a:gd name="connsiteX44" fmla="*/ 4183402 w 4519987"/>
              <a:gd name="connsiteY44" fmla="*/ 3400425 h 4496940"/>
              <a:gd name="connsiteX45" fmla="*/ 4164352 w 4519987"/>
              <a:gd name="connsiteY45" fmla="*/ 3429000 h 4496940"/>
              <a:gd name="connsiteX46" fmla="*/ 4088152 w 4519987"/>
              <a:gd name="connsiteY46" fmla="*/ 3495675 h 4496940"/>
              <a:gd name="connsiteX47" fmla="*/ 4059577 w 4519987"/>
              <a:gd name="connsiteY47" fmla="*/ 3533775 h 4496940"/>
              <a:gd name="connsiteX48" fmla="*/ 4002427 w 4519987"/>
              <a:gd name="connsiteY48" fmla="*/ 3600450 h 4496940"/>
              <a:gd name="connsiteX49" fmla="*/ 3983377 w 4519987"/>
              <a:gd name="connsiteY49" fmla="*/ 3629025 h 4496940"/>
              <a:gd name="connsiteX50" fmla="*/ 3954802 w 4519987"/>
              <a:gd name="connsiteY50" fmla="*/ 3648075 h 4496940"/>
              <a:gd name="connsiteX51" fmla="*/ 3907177 w 4519987"/>
              <a:gd name="connsiteY51" fmla="*/ 3686175 h 4496940"/>
              <a:gd name="connsiteX52" fmla="*/ 3869077 w 4519987"/>
              <a:gd name="connsiteY52" fmla="*/ 3724275 h 4496940"/>
              <a:gd name="connsiteX53" fmla="*/ 3792877 w 4519987"/>
              <a:gd name="connsiteY53" fmla="*/ 3781425 h 4496940"/>
              <a:gd name="connsiteX54" fmla="*/ 3783352 w 4519987"/>
              <a:gd name="connsiteY54" fmla="*/ 3810000 h 4496940"/>
              <a:gd name="connsiteX55" fmla="*/ 3745252 w 4519987"/>
              <a:gd name="connsiteY55" fmla="*/ 3819525 h 4496940"/>
              <a:gd name="connsiteX56" fmla="*/ 3678577 w 4519987"/>
              <a:gd name="connsiteY56" fmla="*/ 3848100 h 4496940"/>
              <a:gd name="connsiteX57" fmla="*/ 3659527 w 4519987"/>
              <a:gd name="connsiteY57" fmla="*/ 3971925 h 4496940"/>
              <a:gd name="connsiteX58" fmla="*/ 3630952 w 4519987"/>
              <a:gd name="connsiteY58" fmla="*/ 4010025 h 4496940"/>
              <a:gd name="connsiteX59" fmla="*/ 3621427 w 4519987"/>
              <a:gd name="connsiteY59" fmla="*/ 4038600 h 4496940"/>
              <a:gd name="connsiteX60" fmla="*/ 3554752 w 4519987"/>
              <a:gd name="connsiteY60" fmla="*/ 4095750 h 4496940"/>
              <a:gd name="connsiteX61" fmla="*/ 3516652 w 4519987"/>
              <a:gd name="connsiteY61" fmla="*/ 4114800 h 4496940"/>
              <a:gd name="connsiteX62" fmla="*/ 3497602 w 4519987"/>
              <a:gd name="connsiteY62" fmla="*/ 4143375 h 4496940"/>
              <a:gd name="connsiteX63" fmla="*/ 3383302 w 4519987"/>
              <a:gd name="connsiteY63" fmla="*/ 4210050 h 4496940"/>
              <a:gd name="connsiteX64" fmla="*/ 3335677 w 4519987"/>
              <a:gd name="connsiteY64" fmla="*/ 4238625 h 4496940"/>
              <a:gd name="connsiteX65" fmla="*/ 3288052 w 4519987"/>
              <a:gd name="connsiteY65" fmla="*/ 4248150 h 4496940"/>
              <a:gd name="connsiteX66" fmla="*/ 3240427 w 4519987"/>
              <a:gd name="connsiteY66" fmla="*/ 4267200 h 4496940"/>
              <a:gd name="connsiteX67" fmla="*/ 3068977 w 4519987"/>
              <a:gd name="connsiteY67" fmla="*/ 4286250 h 4496940"/>
              <a:gd name="connsiteX68" fmla="*/ 2935627 w 4519987"/>
              <a:gd name="connsiteY68" fmla="*/ 4333875 h 4496940"/>
              <a:gd name="connsiteX69" fmla="*/ 2811802 w 4519987"/>
              <a:gd name="connsiteY69" fmla="*/ 4371975 h 4496940"/>
              <a:gd name="connsiteX70" fmla="*/ 2745127 w 4519987"/>
              <a:gd name="connsiteY70" fmla="*/ 4410075 h 4496940"/>
              <a:gd name="connsiteX71" fmla="*/ 2697502 w 4519987"/>
              <a:gd name="connsiteY71" fmla="*/ 4429125 h 4496940"/>
              <a:gd name="connsiteX72" fmla="*/ 2640352 w 4519987"/>
              <a:gd name="connsiteY72" fmla="*/ 4457700 h 4496940"/>
              <a:gd name="connsiteX73" fmla="*/ 2583202 w 4519987"/>
              <a:gd name="connsiteY73" fmla="*/ 4467225 h 4496940"/>
              <a:gd name="connsiteX74" fmla="*/ 2545102 w 4519987"/>
              <a:gd name="connsiteY74" fmla="*/ 4486275 h 4496940"/>
              <a:gd name="connsiteX75" fmla="*/ 2306977 w 4519987"/>
              <a:gd name="connsiteY75" fmla="*/ 4476750 h 4496940"/>
              <a:gd name="connsiteX76" fmla="*/ 2202202 w 4519987"/>
              <a:gd name="connsiteY76" fmla="*/ 4457700 h 4496940"/>
              <a:gd name="connsiteX77" fmla="*/ 2126002 w 4519987"/>
              <a:gd name="connsiteY77" fmla="*/ 4429125 h 4496940"/>
              <a:gd name="connsiteX78" fmla="*/ 1935502 w 4519987"/>
              <a:gd name="connsiteY78" fmla="*/ 4400550 h 4496940"/>
              <a:gd name="connsiteX79" fmla="*/ 1821202 w 4519987"/>
              <a:gd name="connsiteY79" fmla="*/ 4371975 h 4496940"/>
              <a:gd name="connsiteX80" fmla="*/ 1754527 w 4519987"/>
              <a:gd name="connsiteY80" fmla="*/ 4352925 h 4496940"/>
              <a:gd name="connsiteX81" fmla="*/ 1687852 w 4519987"/>
              <a:gd name="connsiteY81" fmla="*/ 4343400 h 4496940"/>
              <a:gd name="connsiteX82" fmla="*/ 1573552 w 4519987"/>
              <a:gd name="connsiteY82" fmla="*/ 4305300 h 4496940"/>
              <a:gd name="connsiteX83" fmla="*/ 1402102 w 4519987"/>
              <a:gd name="connsiteY83" fmla="*/ 4276725 h 4496940"/>
              <a:gd name="connsiteX84" fmla="*/ 1287802 w 4519987"/>
              <a:gd name="connsiteY84" fmla="*/ 4229100 h 4496940"/>
              <a:gd name="connsiteX85" fmla="*/ 1221127 w 4519987"/>
              <a:gd name="connsiteY85" fmla="*/ 4200525 h 4496940"/>
              <a:gd name="connsiteX86" fmla="*/ 1144927 w 4519987"/>
              <a:gd name="connsiteY86" fmla="*/ 4171950 h 4496940"/>
              <a:gd name="connsiteX87" fmla="*/ 1087777 w 4519987"/>
              <a:gd name="connsiteY87" fmla="*/ 4143375 h 4496940"/>
              <a:gd name="connsiteX88" fmla="*/ 1030627 w 4519987"/>
              <a:gd name="connsiteY88" fmla="*/ 4124325 h 4496940"/>
              <a:gd name="connsiteX89" fmla="*/ 925852 w 4519987"/>
              <a:gd name="connsiteY89" fmla="*/ 4067175 h 4496940"/>
              <a:gd name="connsiteX90" fmla="*/ 830602 w 4519987"/>
              <a:gd name="connsiteY90" fmla="*/ 3981450 h 4496940"/>
              <a:gd name="connsiteX91" fmla="*/ 763927 w 4519987"/>
              <a:gd name="connsiteY91" fmla="*/ 3914775 h 4496940"/>
              <a:gd name="connsiteX92" fmla="*/ 725827 w 4519987"/>
              <a:gd name="connsiteY92" fmla="*/ 3876675 h 4496940"/>
              <a:gd name="connsiteX93" fmla="*/ 697252 w 4519987"/>
              <a:gd name="connsiteY93" fmla="*/ 3838575 h 4496940"/>
              <a:gd name="connsiteX94" fmla="*/ 640102 w 4519987"/>
              <a:gd name="connsiteY94" fmla="*/ 3781425 h 4496940"/>
              <a:gd name="connsiteX95" fmla="*/ 611527 w 4519987"/>
              <a:gd name="connsiteY95" fmla="*/ 3733800 h 4496940"/>
              <a:gd name="connsiteX96" fmla="*/ 554377 w 4519987"/>
              <a:gd name="connsiteY96" fmla="*/ 3657600 h 4496940"/>
              <a:gd name="connsiteX97" fmla="*/ 525802 w 4519987"/>
              <a:gd name="connsiteY97" fmla="*/ 3609975 h 4496940"/>
              <a:gd name="connsiteX98" fmla="*/ 497227 w 4519987"/>
              <a:gd name="connsiteY98" fmla="*/ 3552825 h 4496940"/>
              <a:gd name="connsiteX99" fmla="*/ 440077 w 4519987"/>
              <a:gd name="connsiteY99" fmla="*/ 3495675 h 4496940"/>
              <a:gd name="connsiteX100" fmla="*/ 411502 w 4519987"/>
              <a:gd name="connsiteY100" fmla="*/ 3448050 h 4496940"/>
              <a:gd name="connsiteX101" fmla="*/ 278152 w 4519987"/>
              <a:gd name="connsiteY101" fmla="*/ 3257550 h 4496940"/>
              <a:gd name="connsiteX102" fmla="*/ 249577 w 4519987"/>
              <a:gd name="connsiteY102" fmla="*/ 3200400 h 4496940"/>
              <a:gd name="connsiteX103" fmla="*/ 240052 w 4519987"/>
              <a:gd name="connsiteY103" fmla="*/ 3162300 h 4496940"/>
              <a:gd name="connsiteX104" fmla="*/ 221002 w 4519987"/>
              <a:gd name="connsiteY104" fmla="*/ 3105150 h 4496940"/>
              <a:gd name="connsiteX105" fmla="*/ 173377 w 4519987"/>
              <a:gd name="connsiteY105" fmla="*/ 3019425 h 4496940"/>
              <a:gd name="connsiteX106" fmla="*/ 144802 w 4519987"/>
              <a:gd name="connsiteY106" fmla="*/ 2924175 h 4496940"/>
              <a:gd name="connsiteX107" fmla="*/ 68602 w 4519987"/>
              <a:gd name="connsiteY107" fmla="*/ 2724150 h 4496940"/>
              <a:gd name="connsiteX108" fmla="*/ 49552 w 4519987"/>
              <a:gd name="connsiteY108" fmla="*/ 2638425 h 4496940"/>
              <a:gd name="connsiteX109" fmla="*/ 40027 w 4519987"/>
              <a:gd name="connsiteY109" fmla="*/ 2562225 h 4496940"/>
              <a:gd name="connsiteX110" fmla="*/ 30502 w 4519987"/>
              <a:gd name="connsiteY110" fmla="*/ 2514600 h 4496940"/>
              <a:gd name="connsiteX111" fmla="*/ 11452 w 4519987"/>
              <a:gd name="connsiteY111" fmla="*/ 2400300 h 4496940"/>
              <a:gd name="connsiteX112" fmla="*/ 20977 w 4519987"/>
              <a:gd name="connsiteY112" fmla="*/ 1905000 h 4496940"/>
              <a:gd name="connsiteX113" fmla="*/ 30502 w 4519987"/>
              <a:gd name="connsiteY113" fmla="*/ 1838325 h 4496940"/>
              <a:gd name="connsiteX114" fmla="*/ 49552 w 4519987"/>
              <a:gd name="connsiteY114" fmla="*/ 1781175 h 4496940"/>
              <a:gd name="connsiteX115" fmla="*/ 59077 w 4519987"/>
              <a:gd name="connsiteY115" fmla="*/ 1743075 h 4496940"/>
              <a:gd name="connsiteX116" fmla="*/ 78127 w 4519987"/>
              <a:gd name="connsiteY116" fmla="*/ 1685925 h 4496940"/>
              <a:gd name="connsiteX117" fmla="*/ 87652 w 4519987"/>
              <a:gd name="connsiteY117" fmla="*/ 1638300 h 4496940"/>
              <a:gd name="connsiteX118" fmla="*/ 106702 w 4519987"/>
              <a:gd name="connsiteY118" fmla="*/ 1590675 h 4496940"/>
              <a:gd name="connsiteX119" fmla="*/ 135277 w 4519987"/>
              <a:gd name="connsiteY119" fmla="*/ 1504950 h 4496940"/>
              <a:gd name="connsiteX120" fmla="*/ 154327 w 4519987"/>
              <a:gd name="connsiteY120" fmla="*/ 1419225 h 4496940"/>
              <a:gd name="connsiteX121" fmla="*/ 230527 w 4519987"/>
              <a:gd name="connsiteY121" fmla="*/ 1276350 h 4496940"/>
              <a:gd name="connsiteX122" fmla="*/ 240052 w 4519987"/>
              <a:gd name="connsiteY122" fmla="*/ 1247775 h 4496940"/>
              <a:gd name="connsiteX123" fmla="*/ 268627 w 4519987"/>
              <a:gd name="connsiteY123" fmla="*/ 1200150 h 4496940"/>
              <a:gd name="connsiteX124" fmla="*/ 287677 w 4519987"/>
              <a:gd name="connsiteY124" fmla="*/ 1152525 h 4496940"/>
              <a:gd name="connsiteX125" fmla="*/ 316252 w 4519987"/>
              <a:gd name="connsiteY125" fmla="*/ 1114425 h 4496940"/>
              <a:gd name="connsiteX126" fmla="*/ 363877 w 4519987"/>
              <a:gd name="connsiteY126" fmla="*/ 1038225 h 4496940"/>
              <a:gd name="connsiteX127" fmla="*/ 382927 w 4519987"/>
              <a:gd name="connsiteY127" fmla="*/ 1009650 h 4496940"/>
              <a:gd name="connsiteX128" fmla="*/ 440077 w 4519987"/>
              <a:gd name="connsiteY128" fmla="*/ 904875 h 4496940"/>
              <a:gd name="connsiteX129" fmla="*/ 478177 w 4519987"/>
              <a:gd name="connsiteY129" fmla="*/ 857250 h 4496940"/>
              <a:gd name="connsiteX130" fmla="*/ 497227 w 4519987"/>
              <a:gd name="connsiteY130" fmla="*/ 828675 h 4496940"/>
              <a:gd name="connsiteX131" fmla="*/ 535327 w 4519987"/>
              <a:gd name="connsiteY131" fmla="*/ 800100 h 4496940"/>
              <a:gd name="connsiteX132" fmla="*/ 602002 w 4519987"/>
              <a:gd name="connsiteY132" fmla="*/ 733425 h 4496940"/>
              <a:gd name="connsiteX133" fmla="*/ 668677 w 4519987"/>
              <a:gd name="connsiteY133" fmla="*/ 676275 h 4496940"/>
              <a:gd name="connsiteX134" fmla="*/ 697252 w 4519987"/>
              <a:gd name="connsiteY134" fmla="*/ 657225 h 4496940"/>
              <a:gd name="connsiteX135" fmla="*/ 840127 w 4519987"/>
              <a:gd name="connsiteY135" fmla="*/ 533400 h 4496940"/>
              <a:gd name="connsiteX136" fmla="*/ 887752 w 4519987"/>
              <a:gd name="connsiteY136" fmla="*/ 504825 h 4496940"/>
              <a:gd name="connsiteX137" fmla="*/ 1167152 w 4519987"/>
              <a:gd name="connsiteY137" fmla="*/ 311150 h 4496940"/>
              <a:gd name="connsiteX138" fmla="*/ 1268752 w 4519987"/>
              <a:gd name="connsiteY138" fmla="*/ 285750 h 4496940"/>
              <a:gd name="connsiteX139" fmla="*/ 1411627 w 4519987"/>
              <a:gd name="connsiteY139" fmla="*/ 190500 h 4496940"/>
              <a:gd name="connsiteX140" fmla="*/ 1449727 w 4519987"/>
              <a:gd name="connsiteY140" fmla="*/ 161925 h 4496940"/>
              <a:gd name="connsiteX141" fmla="*/ 1525927 w 4519987"/>
              <a:gd name="connsiteY141" fmla="*/ 152400 h 4496940"/>
              <a:gd name="connsiteX142" fmla="*/ 1583077 w 4519987"/>
              <a:gd name="connsiteY142" fmla="*/ 142875 h 4496940"/>
              <a:gd name="connsiteX143" fmla="*/ 1716427 w 4519987"/>
              <a:gd name="connsiteY143" fmla="*/ 123825 h 4496940"/>
              <a:gd name="connsiteX144" fmla="*/ 1811677 w 4519987"/>
              <a:gd name="connsiteY144" fmla="*/ 114300 h 4496940"/>
              <a:gd name="connsiteX145" fmla="*/ 1859302 w 4519987"/>
              <a:gd name="connsiteY145" fmla="*/ 104775 h 4496940"/>
              <a:gd name="connsiteX146" fmla="*/ 1916452 w 4519987"/>
              <a:gd name="connsiteY146" fmla="*/ 95250 h 4496940"/>
              <a:gd name="connsiteX147" fmla="*/ 2030752 w 4519987"/>
              <a:gd name="connsiteY147" fmla="*/ 66675 h 4496940"/>
              <a:gd name="connsiteX148" fmla="*/ 2097427 w 4519987"/>
              <a:gd name="connsiteY148" fmla="*/ 47625 h 4496940"/>
              <a:gd name="connsiteX149" fmla="*/ 2164102 w 4519987"/>
              <a:gd name="connsiteY149" fmla="*/ 38100 h 4496940"/>
              <a:gd name="connsiteX150" fmla="*/ 2392702 w 4519987"/>
              <a:gd name="connsiteY15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3907177 w 4519987"/>
              <a:gd name="connsiteY21" fmla="*/ 647700 h 4496940"/>
              <a:gd name="connsiteX22" fmla="*/ 4078627 w 4519987"/>
              <a:gd name="connsiteY22" fmla="*/ 838200 h 4496940"/>
              <a:gd name="connsiteX23" fmla="*/ 4135777 w 4519987"/>
              <a:gd name="connsiteY23" fmla="*/ 933450 h 4496940"/>
              <a:gd name="connsiteX24" fmla="*/ 4164352 w 4519987"/>
              <a:gd name="connsiteY24" fmla="*/ 990600 h 4496940"/>
              <a:gd name="connsiteX25" fmla="*/ 4173877 w 4519987"/>
              <a:gd name="connsiteY25" fmla="*/ 1019175 h 4496940"/>
              <a:gd name="connsiteX26" fmla="*/ 4192927 w 4519987"/>
              <a:gd name="connsiteY26" fmla="*/ 1057275 h 4496940"/>
              <a:gd name="connsiteX27" fmla="*/ 4202452 w 4519987"/>
              <a:gd name="connsiteY27" fmla="*/ 1085850 h 4496940"/>
              <a:gd name="connsiteX28" fmla="*/ 4250077 w 4519987"/>
              <a:gd name="connsiteY28" fmla="*/ 1143000 h 4496940"/>
              <a:gd name="connsiteX29" fmla="*/ 4259602 w 4519987"/>
              <a:gd name="connsiteY29" fmla="*/ 1190625 h 4496940"/>
              <a:gd name="connsiteX30" fmla="*/ 4307227 w 4519987"/>
              <a:gd name="connsiteY30" fmla="*/ 1266825 h 4496940"/>
              <a:gd name="connsiteX31" fmla="*/ 4345327 w 4519987"/>
              <a:gd name="connsiteY31" fmla="*/ 1362075 h 4496940"/>
              <a:gd name="connsiteX32" fmla="*/ 4373902 w 4519987"/>
              <a:gd name="connsiteY32" fmla="*/ 1428750 h 4496940"/>
              <a:gd name="connsiteX33" fmla="*/ 4392952 w 4519987"/>
              <a:gd name="connsiteY33" fmla="*/ 1552575 h 4496940"/>
              <a:gd name="connsiteX34" fmla="*/ 4402477 w 4519987"/>
              <a:gd name="connsiteY34" fmla="*/ 1590675 h 4496940"/>
              <a:gd name="connsiteX35" fmla="*/ 4431052 w 4519987"/>
              <a:gd name="connsiteY35" fmla="*/ 1685925 h 4496940"/>
              <a:gd name="connsiteX36" fmla="*/ 4519952 w 4519987"/>
              <a:gd name="connsiteY36" fmla="*/ 2181225 h 4496940"/>
              <a:gd name="connsiteX37" fmla="*/ 4446927 w 4519987"/>
              <a:gd name="connsiteY37" fmla="*/ 2768600 h 4496940"/>
              <a:gd name="connsiteX38" fmla="*/ 4383427 w 4519987"/>
              <a:gd name="connsiteY38" fmla="*/ 2990850 h 4496940"/>
              <a:gd name="connsiteX39" fmla="*/ 4278652 w 4519987"/>
              <a:gd name="connsiteY39" fmla="*/ 3248025 h 4496940"/>
              <a:gd name="connsiteX40" fmla="*/ 4259602 w 4519987"/>
              <a:gd name="connsiteY40" fmla="*/ 3276600 h 4496940"/>
              <a:gd name="connsiteX41" fmla="*/ 4221502 w 4519987"/>
              <a:gd name="connsiteY41" fmla="*/ 3333750 h 4496940"/>
              <a:gd name="connsiteX42" fmla="*/ 4211977 w 4519987"/>
              <a:gd name="connsiteY42" fmla="*/ 3362325 h 4496940"/>
              <a:gd name="connsiteX43" fmla="*/ 4183402 w 4519987"/>
              <a:gd name="connsiteY43" fmla="*/ 3400425 h 4496940"/>
              <a:gd name="connsiteX44" fmla="*/ 4164352 w 4519987"/>
              <a:gd name="connsiteY44" fmla="*/ 3429000 h 4496940"/>
              <a:gd name="connsiteX45" fmla="*/ 4088152 w 4519987"/>
              <a:gd name="connsiteY45" fmla="*/ 3495675 h 4496940"/>
              <a:gd name="connsiteX46" fmla="*/ 4059577 w 4519987"/>
              <a:gd name="connsiteY46" fmla="*/ 3533775 h 4496940"/>
              <a:gd name="connsiteX47" fmla="*/ 4002427 w 4519987"/>
              <a:gd name="connsiteY47" fmla="*/ 3600450 h 4496940"/>
              <a:gd name="connsiteX48" fmla="*/ 3983377 w 4519987"/>
              <a:gd name="connsiteY48" fmla="*/ 3629025 h 4496940"/>
              <a:gd name="connsiteX49" fmla="*/ 3954802 w 4519987"/>
              <a:gd name="connsiteY49" fmla="*/ 3648075 h 4496940"/>
              <a:gd name="connsiteX50" fmla="*/ 3907177 w 4519987"/>
              <a:gd name="connsiteY50" fmla="*/ 3686175 h 4496940"/>
              <a:gd name="connsiteX51" fmla="*/ 3869077 w 4519987"/>
              <a:gd name="connsiteY51" fmla="*/ 3724275 h 4496940"/>
              <a:gd name="connsiteX52" fmla="*/ 3792877 w 4519987"/>
              <a:gd name="connsiteY52" fmla="*/ 3781425 h 4496940"/>
              <a:gd name="connsiteX53" fmla="*/ 3783352 w 4519987"/>
              <a:gd name="connsiteY53" fmla="*/ 3810000 h 4496940"/>
              <a:gd name="connsiteX54" fmla="*/ 3745252 w 4519987"/>
              <a:gd name="connsiteY54" fmla="*/ 3819525 h 4496940"/>
              <a:gd name="connsiteX55" fmla="*/ 3678577 w 4519987"/>
              <a:gd name="connsiteY55" fmla="*/ 3848100 h 4496940"/>
              <a:gd name="connsiteX56" fmla="*/ 3659527 w 4519987"/>
              <a:gd name="connsiteY56" fmla="*/ 3971925 h 4496940"/>
              <a:gd name="connsiteX57" fmla="*/ 3630952 w 4519987"/>
              <a:gd name="connsiteY57" fmla="*/ 4010025 h 4496940"/>
              <a:gd name="connsiteX58" fmla="*/ 3621427 w 4519987"/>
              <a:gd name="connsiteY58" fmla="*/ 4038600 h 4496940"/>
              <a:gd name="connsiteX59" fmla="*/ 3554752 w 4519987"/>
              <a:gd name="connsiteY59" fmla="*/ 4095750 h 4496940"/>
              <a:gd name="connsiteX60" fmla="*/ 3516652 w 4519987"/>
              <a:gd name="connsiteY60" fmla="*/ 4114800 h 4496940"/>
              <a:gd name="connsiteX61" fmla="*/ 3497602 w 4519987"/>
              <a:gd name="connsiteY61" fmla="*/ 4143375 h 4496940"/>
              <a:gd name="connsiteX62" fmla="*/ 3383302 w 4519987"/>
              <a:gd name="connsiteY62" fmla="*/ 4210050 h 4496940"/>
              <a:gd name="connsiteX63" fmla="*/ 3335677 w 4519987"/>
              <a:gd name="connsiteY63" fmla="*/ 4238625 h 4496940"/>
              <a:gd name="connsiteX64" fmla="*/ 3288052 w 4519987"/>
              <a:gd name="connsiteY64" fmla="*/ 4248150 h 4496940"/>
              <a:gd name="connsiteX65" fmla="*/ 3240427 w 4519987"/>
              <a:gd name="connsiteY65" fmla="*/ 4267200 h 4496940"/>
              <a:gd name="connsiteX66" fmla="*/ 3068977 w 4519987"/>
              <a:gd name="connsiteY66" fmla="*/ 4286250 h 4496940"/>
              <a:gd name="connsiteX67" fmla="*/ 2935627 w 4519987"/>
              <a:gd name="connsiteY67" fmla="*/ 4333875 h 4496940"/>
              <a:gd name="connsiteX68" fmla="*/ 2811802 w 4519987"/>
              <a:gd name="connsiteY68" fmla="*/ 4371975 h 4496940"/>
              <a:gd name="connsiteX69" fmla="*/ 2745127 w 4519987"/>
              <a:gd name="connsiteY69" fmla="*/ 4410075 h 4496940"/>
              <a:gd name="connsiteX70" fmla="*/ 2697502 w 4519987"/>
              <a:gd name="connsiteY70" fmla="*/ 4429125 h 4496940"/>
              <a:gd name="connsiteX71" fmla="*/ 2640352 w 4519987"/>
              <a:gd name="connsiteY71" fmla="*/ 4457700 h 4496940"/>
              <a:gd name="connsiteX72" fmla="*/ 2583202 w 4519987"/>
              <a:gd name="connsiteY72" fmla="*/ 4467225 h 4496940"/>
              <a:gd name="connsiteX73" fmla="*/ 2545102 w 4519987"/>
              <a:gd name="connsiteY73" fmla="*/ 4486275 h 4496940"/>
              <a:gd name="connsiteX74" fmla="*/ 2306977 w 4519987"/>
              <a:gd name="connsiteY74" fmla="*/ 4476750 h 4496940"/>
              <a:gd name="connsiteX75" fmla="*/ 2202202 w 4519987"/>
              <a:gd name="connsiteY75" fmla="*/ 4457700 h 4496940"/>
              <a:gd name="connsiteX76" fmla="*/ 2126002 w 4519987"/>
              <a:gd name="connsiteY76" fmla="*/ 4429125 h 4496940"/>
              <a:gd name="connsiteX77" fmla="*/ 1935502 w 4519987"/>
              <a:gd name="connsiteY77" fmla="*/ 4400550 h 4496940"/>
              <a:gd name="connsiteX78" fmla="*/ 1821202 w 4519987"/>
              <a:gd name="connsiteY78" fmla="*/ 4371975 h 4496940"/>
              <a:gd name="connsiteX79" fmla="*/ 1754527 w 4519987"/>
              <a:gd name="connsiteY79" fmla="*/ 4352925 h 4496940"/>
              <a:gd name="connsiteX80" fmla="*/ 1687852 w 4519987"/>
              <a:gd name="connsiteY80" fmla="*/ 4343400 h 4496940"/>
              <a:gd name="connsiteX81" fmla="*/ 1573552 w 4519987"/>
              <a:gd name="connsiteY81" fmla="*/ 4305300 h 4496940"/>
              <a:gd name="connsiteX82" fmla="*/ 1402102 w 4519987"/>
              <a:gd name="connsiteY82" fmla="*/ 4276725 h 4496940"/>
              <a:gd name="connsiteX83" fmla="*/ 1287802 w 4519987"/>
              <a:gd name="connsiteY83" fmla="*/ 4229100 h 4496940"/>
              <a:gd name="connsiteX84" fmla="*/ 1221127 w 4519987"/>
              <a:gd name="connsiteY84" fmla="*/ 4200525 h 4496940"/>
              <a:gd name="connsiteX85" fmla="*/ 1144927 w 4519987"/>
              <a:gd name="connsiteY85" fmla="*/ 4171950 h 4496940"/>
              <a:gd name="connsiteX86" fmla="*/ 1087777 w 4519987"/>
              <a:gd name="connsiteY86" fmla="*/ 4143375 h 4496940"/>
              <a:gd name="connsiteX87" fmla="*/ 1030627 w 4519987"/>
              <a:gd name="connsiteY87" fmla="*/ 4124325 h 4496940"/>
              <a:gd name="connsiteX88" fmla="*/ 925852 w 4519987"/>
              <a:gd name="connsiteY88" fmla="*/ 4067175 h 4496940"/>
              <a:gd name="connsiteX89" fmla="*/ 830602 w 4519987"/>
              <a:gd name="connsiteY89" fmla="*/ 3981450 h 4496940"/>
              <a:gd name="connsiteX90" fmla="*/ 763927 w 4519987"/>
              <a:gd name="connsiteY90" fmla="*/ 3914775 h 4496940"/>
              <a:gd name="connsiteX91" fmla="*/ 725827 w 4519987"/>
              <a:gd name="connsiteY91" fmla="*/ 3876675 h 4496940"/>
              <a:gd name="connsiteX92" fmla="*/ 697252 w 4519987"/>
              <a:gd name="connsiteY92" fmla="*/ 3838575 h 4496940"/>
              <a:gd name="connsiteX93" fmla="*/ 640102 w 4519987"/>
              <a:gd name="connsiteY93" fmla="*/ 3781425 h 4496940"/>
              <a:gd name="connsiteX94" fmla="*/ 611527 w 4519987"/>
              <a:gd name="connsiteY94" fmla="*/ 3733800 h 4496940"/>
              <a:gd name="connsiteX95" fmla="*/ 554377 w 4519987"/>
              <a:gd name="connsiteY95" fmla="*/ 3657600 h 4496940"/>
              <a:gd name="connsiteX96" fmla="*/ 525802 w 4519987"/>
              <a:gd name="connsiteY96" fmla="*/ 3609975 h 4496940"/>
              <a:gd name="connsiteX97" fmla="*/ 497227 w 4519987"/>
              <a:gd name="connsiteY97" fmla="*/ 3552825 h 4496940"/>
              <a:gd name="connsiteX98" fmla="*/ 440077 w 4519987"/>
              <a:gd name="connsiteY98" fmla="*/ 3495675 h 4496940"/>
              <a:gd name="connsiteX99" fmla="*/ 411502 w 4519987"/>
              <a:gd name="connsiteY99" fmla="*/ 3448050 h 4496940"/>
              <a:gd name="connsiteX100" fmla="*/ 278152 w 4519987"/>
              <a:gd name="connsiteY100" fmla="*/ 3257550 h 4496940"/>
              <a:gd name="connsiteX101" fmla="*/ 249577 w 4519987"/>
              <a:gd name="connsiteY101" fmla="*/ 3200400 h 4496940"/>
              <a:gd name="connsiteX102" fmla="*/ 240052 w 4519987"/>
              <a:gd name="connsiteY102" fmla="*/ 3162300 h 4496940"/>
              <a:gd name="connsiteX103" fmla="*/ 221002 w 4519987"/>
              <a:gd name="connsiteY103" fmla="*/ 3105150 h 4496940"/>
              <a:gd name="connsiteX104" fmla="*/ 173377 w 4519987"/>
              <a:gd name="connsiteY104" fmla="*/ 3019425 h 4496940"/>
              <a:gd name="connsiteX105" fmla="*/ 144802 w 4519987"/>
              <a:gd name="connsiteY105" fmla="*/ 2924175 h 4496940"/>
              <a:gd name="connsiteX106" fmla="*/ 68602 w 4519987"/>
              <a:gd name="connsiteY106" fmla="*/ 2724150 h 4496940"/>
              <a:gd name="connsiteX107" fmla="*/ 49552 w 4519987"/>
              <a:gd name="connsiteY107" fmla="*/ 2638425 h 4496940"/>
              <a:gd name="connsiteX108" fmla="*/ 40027 w 4519987"/>
              <a:gd name="connsiteY108" fmla="*/ 2562225 h 4496940"/>
              <a:gd name="connsiteX109" fmla="*/ 30502 w 4519987"/>
              <a:gd name="connsiteY109" fmla="*/ 2514600 h 4496940"/>
              <a:gd name="connsiteX110" fmla="*/ 11452 w 4519987"/>
              <a:gd name="connsiteY110" fmla="*/ 2400300 h 4496940"/>
              <a:gd name="connsiteX111" fmla="*/ 20977 w 4519987"/>
              <a:gd name="connsiteY111" fmla="*/ 1905000 h 4496940"/>
              <a:gd name="connsiteX112" fmla="*/ 30502 w 4519987"/>
              <a:gd name="connsiteY112" fmla="*/ 1838325 h 4496940"/>
              <a:gd name="connsiteX113" fmla="*/ 49552 w 4519987"/>
              <a:gd name="connsiteY113" fmla="*/ 1781175 h 4496940"/>
              <a:gd name="connsiteX114" fmla="*/ 59077 w 4519987"/>
              <a:gd name="connsiteY114" fmla="*/ 1743075 h 4496940"/>
              <a:gd name="connsiteX115" fmla="*/ 78127 w 4519987"/>
              <a:gd name="connsiteY115" fmla="*/ 1685925 h 4496940"/>
              <a:gd name="connsiteX116" fmla="*/ 87652 w 4519987"/>
              <a:gd name="connsiteY116" fmla="*/ 1638300 h 4496940"/>
              <a:gd name="connsiteX117" fmla="*/ 106702 w 4519987"/>
              <a:gd name="connsiteY117" fmla="*/ 1590675 h 4496940"/>
              <a:gd name="connsiteX118" fmla="*/ 135277 w 4519987"/>
              <a:gd name="connsiteY118" fmla="*/ 1504950 h 4496940"/>
              <a:gd name="connsiteX119" fmla="*/ 154327 w 4519987"/>
              <a:gd name="connsiteY119" fmla="*/ 1419225 h 4496940"/>
              <a:gd name="connsiteX120" fmla="*/ 230527 w 4519987"/>
              <a:gd name="connsiteY120" fmla="*/ 1276350 h 4496940"/>
              <a:gd name="connsiteX121" fmla="*/ 240052 w 4519987"/>
              <a:gd name="connsiteY121" fmla="*/ 1247775 h 4496940"/>
              <a:gd name="connsiteX122" fmla="*/ 268627 w 4519987"/>
              <a:gd name="connsiteY122" fmla="*/ 1200150 h 4496940"/>
              <a:gd name="connsiteX123" fmla="*/ 287677 w 4519987"/>
              <a:gd name="connsiteY123" fmla="*/ 1152525 h 4496940"/>
              <a:gd name="connsiteX124" fmla="*/ 316252 w 4519987"/>
              <a:gd name="connsiteY124" fmla="*/ 1114425 h 4496940"/>
              <a:gd name="connsiteX125" fmla="*/ 363877 w 4519987"/>
              <a:gd name="connsiteY125" fmla="*/ 1038225 h 4496940"/>
              <a:gd name="connsiteX126" fmla="*/ 382927 w 4519987"/>
              <a:gd name="connsiteY126" fmla="*/ 1009650 h 4496940"/>
              <a:gd name="connsiteX127" fmla="*/ 440077 w 4519987"/>
              <a:gd name="connsiteY127" fmla="*/ 904875 h 4496940"/>
              <a:gd name="connsiteX128" fmla="*/ 478177 w 4519987"/>
              <a:gd name="connsiteY128" fmla="*/ 857250 h 4496940"/>
              <a:gd name="connsiteX129" fmla="*/ 497227 w 4519987"/>
              <a:gd name="connsiteY129" fmla="*/ 828675 h 4496940"/>
              <a:gd name="connsiteX130" fmla="*/ 535327 w 4519987"/>
              <a:gd name="connsiteY130" fmla="*/ 800100 h 4496940"/>
              <a:gd name="connsiteX131" fmla="*/ 602002 w 4519987"/>
              <a:gd name="connsiteY131" fmla="*/ 733425 h 4496940"/>
              <a:gd name="connsiteX132" fmla="*/ 668677 w 4519987"/>
              <a:gd name="connsiteY132" fmla="*/ 676275 h 4496940"/>
              <a:gd name="connsiteX133" fmla="*/ 697252 w 4519987"/>
              <a:gd name="connsiteY133" fmla="*/ 657225 h 4496940"/>
              <a:gd name="connsiteX134" fmla="*/ 840127 w 4519987"/>
              <a:gd name="connsiteY134" fmla="*/ 533400 h 4496940"/>
              <a:gd name="connsiteX135" fmla="*/ 887752 w 4519987"/>
              <a:gd name="connsiteY135" fmla="*/ 504825 h 4496940"/>
              <a:gd name="connsiteX136" fmla="*/ 1167152 w 4519987"/>
              <a:gd name="connsiteY136" fmla="*/ 311150 h 4496940"/>
              <a:gd name="connsiteX137" fmla="*/ 1268752 w 4519987"/>
              <a:gd name="connsiteY137" fmla="*/ 285750 h 4496940"/>
              <a:gd name="connsiteX138" fmla="*/ 1411627 w 4519987"/>
              <a:gd name="connsiteY138" fmla="*/ 190500 h 4496940"/>
              <a:gd name="connsiteX139" fmla="*/ 1449727 w 4519987"/>
              <a:gd name="connsiteY139" fmla="*/ 161925 h 4496940"/>
              <a:gd name="connsiteX140" fmla="*/ 1525927 w 4519987"/>
              <a:gd name="connsiteY140" fmla="*/ 152400 h 4496940"/>
              <a:gd name="connsiteX141" fmla="*/ 1583077 w 4519987"/>
              <a:gd name="connsiteY141" fmla="*/ 142875 h 4496940"/>
              <a:gd name="connsiteX142" fmla="*/ 1716427 w 4519987"/>
              <a:gd name="connsiteY142" fmla="*/ 123825 h 4496940"/>
              <a:gd name="connsiteX143" fmla="*/ 1811677 w 4519987"/>
              <a:gd name="connsiteY143" fmla="*/ 114300 h 4496940"/>
              <a:gd name="connsiteX144" fmla="*/ 1859302 w 4519987"/>
              <a:gd name="connsiteY144" fmla="*/ 104775 h 4496940"/>
              <a:gd name="connsiteX145" fmla="*/ 1916452 w 4519987"/>
              <a:gd name="connsiteY145" fmla="*/ 95250 h 4496940"/>
              <a:gd name="connsiteX146" fmla="*/ 2030752 w 4519987"/>
              <a:gd name="connsiteY146" fmla="*/ 66675 h 4496940"/>
              <a:gd name="connsiteX147" fmla="*/ 2097427 w 4519987"/>
              <a:gd name="connsiteY147" fmla="*/ 47625 h 4496940"/>
              <a:gd name="connsiteX148" fmla="*/ 2164102 w 4519987"/>
              <a:gd name="connsiteY148" fmla="*/ 38100 h 4496940"/>
              <a:gd name="connsiteX149" fmla="*/ 2392702 w 4519987"/>
              <a:gd name="connsiteY14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78627 w 4519987"/>
              <a:gd name="connsiteY21" fmla="*/ 838200 h 4496940"/>
              <a:gd name="connsiteX22" fmla="*/ 4135777 w 4519987"/>
              <a:gd name="connsiteY22" fmla="*/ 933450 h 4496940"/>
              <a:gd name="connsiteX23" fmla="*/ 4164352 w 4519987"/>
              <a:gd name="connsiteY23" fmla="*/ 990600 h 4496940"/>
              <a:gd name="connsiteX24" fmla="*/ 4173877 w 4519987"/>
              <a:gd name="connsiteY24" fmla="*/ 1019175 h 4496940"/>
              <a:gd name="connsiteX25" fmla="*/ 4192927 w 4519987"/>
              <a:gd name="connsiteY25" fmla="*/ 1057275 h 4496940"/>
              <a:gd name="connsiteX26" fmla="*/ 4202452 w 4519987"/>
              <a:gd name="connsiteY26" fmla="*/ 1085850 h 4496940"/>
              <a:gd name="connsiteX27" fmla="*/ 4250077 w 4519987"/>
              <a:gd name="connsiteY27" fmla="*/ 1143000 h 4496940"/>
              <a:gd name="connsiteX28" fmla="*/ 4259602 w 4519987"/>
              <a:gd name="connsiteY28" fmla="*/ 1190625 h 4496940"/>
              <a:gd name="connsiteX29" fmla="*/ 4307227 w 4519987"/>
              <a:gd name="connsiteY29" fmla="*/ 1266825 h 4496940"/>
              <a:gd name="connsiteX30" fmla="*/ 4345327 w 4519987"/>
              <a:gd name="connsiteY30" fmla="*/ 1362075 h 4496940"/>
              <a:gd name="connsiteX31" fmla="*/ 4373902 w 4519987"/>
              <a:gd name="connsiteY31" fmla="*/ 1428750 h 4496940"/>
              <a:gd name="connsiteX32" fmla="*/ 4392952 w 4519987"/>
              <a:gd name="connsiteY32" fmla="*/ 1552575 h 4496940"/>
              <a:gd name="connsiteX33" fmla="*/ 4402477 w 4519987"/>
              <a:gd name="connsiteY33" fmla="*/ 1590675 h 4496940"/>
              <a:gd name="connsiteX34" fmla="*/ 4431052 w 4519987"/>
              <a:gd name="connsiteY34" fmla="*/ 1685925 h 4496940"/>
              <a:gd name="connsiteX35" fmla="*/ 4519952 w 4519987"/>
              <a:gd name="connsiteY35" fmla="*/ 2181225 h 4496940"/>
              <a:gd name="connsiteX36" fmla="*/ 4446927 w 4519987"/>
              <a:gd name="connsiteY36" fmla="*/ 2768600 h 4496940"/>
              <a:gd name="connsiteX37" fmla="*/ 4383427 w 4519987"/>
              <a:gd name="connsiteY37" fmla="*/ 2990850 h 4496940"/>
              <a:gd name="connsiteX38" fmla="*/ 4278652 w 4519987"/>
              <a:gd name="connsiteY38" fmla="*/ 3248025 h 4496940"/>
              <a:gd name="connsiteX39" fmla="*/ 4259602 w 4519987"/>
              <a:gd name="connsiteY39" fmla="*/ 3276600 h 4496940"/>
              <a:gd name="connsiteX40" fmla="*/ 4221502 w 4519987"/>
              <a:gd name="connsiteY40" fmla="*/ 3333750 h 4496940"/>
              <a:gd name="connsiteX41" fmla="*/ 4211977 w 4519987"/>
              <a:gd name="connsiteY41" fmla="*/ 3362325 h 4496940"/>
              <a:gd name="connsiteX42" fmla="*/ 4183402 w 4519987"/>
              <a:gd name="connsiteY42" fmla="*/ 3400425 h 4496940"/>
              <a:gd name="connsiteX43" fmla="*/ 4164352 w 4519987"/>
              <a:gd name="connsiteY43" fmla="*/ 3429000 h 4496940"/>
              <a:gd name="connsiteX44" fmla="*/ 4088152 w 4519987"/>
              <a:gd name="connsiteY44" fmla="*/ 3495675 h 4496940"/>
              <a:gd name="connsiteX45" fmla="*/ 4059577 w 4519987"/>
              <a:gd name="connsiteY45" fmla="*/ 3533775 h 4496940"/>
              <a:gd name="connsiteX46" fmla="*/ 4002427 w 4519987"/>
              <a:gd name="connsiteY46" fmla="*/ 3600450 h 4496940"/>
              <a:gd name="connsiteX47" fmla="*/ 3983377 w 4519987"/>
              <a:gd name="connsiteY47" fmla="*/ 3629025 h 4496940"/>
              <a:gd name="connsiteX48" fmla="*/ 3954802 w 4519987"/>
              <a:gd name="connsiteY48" fmla="*/ 3648075 h 4496940"/>
              <a:gd name="connsiteX49" fmla="*/ 3907177 w 4519987"/>
              <a:gd name="connsiteY49" fmla="*/ 3686175 h 4496940"/>
              <a:gd name="connsiteX50" fmla="*/ 3869077 w 4519987"/>
              <a:gd name="connsiteY50" fmla="*/ 3724275 h 4496940"/>
              <a:gd name="connsiteX51" fmla="*/ 3792877 w 4519987"/>
              <a:gd name="connsiteY51" fmla="*/ 3781425 h 4496940"/>
              <a:gd name="connsiteX52" fmla="*/ 3783352 w 4519987"/>
              <a:gd name="connsiteY52" fmla="*/ 3810000 h 4496940"/>
              <a:gd name="connsiteX53" fmla="*/ 3745252 w 4519987"/>
              <a:gd name="connsiteY53" fmla="*/ 3819525 h 4496940"/>
              <a:gd name="connsiteX54" fmla="*/ 3678577 w 4519987"/>
              <a:gd name="connsiteY54" fmla="*/ 3848100 h 4496940"/>
              <a:gd name="connsiteX55" fmla="*/ 3659527 w 4519987"/>
              <a:gd name="connsiteY55" fmla="*/ 3971925 h 4496940"/>
              <a:gd name="connsiteX56" fmla="*/ 3630952 w 4519987"/>
              <a:gd name="connsiteY56" fmla="*/ 4010025 h 4496940"/>
              <a:gd name="connsiteX57" fmla="*/ 3621427 w 4519987"/>
              <a:gd name="connsiteY57" fmla="*/ 4038600 h 4496940"/>
              <a:gd name="connsiteX58" fmla="*/ 3554752 w 4519987"/>
              <a:gd name="connsiteY58" fmla="*/ 4095750 h 4496940"/>
              <a:gd name="connsiteX59" fmla="*/ 3516652 w 4519987"/>
              <a:gd name="connsiteY59" fmla="*/ 4114800 h 4496940"/>
              <a:gd name="connsiteX60" fmla="*/ 3497602 w 4519987"/>
              <a:gd name="connsiteY60" fmla="*/ 4143375 h 4496940"/>
              <a:gd name="connsiteX61" fmla="*/ 3383302 w 4519987"/>
              <a:gd name="connsiteY61" fmla="*/ 4210050 h 4496940"/>
              <a:gd name="connsiteX62" fmla="*/ 3335677 w 4519987"/>
              <a:gd name="connsiteY62" fmla="*/ 4238625 h 4496940"/>
              <a:gd name="connsiteX63" fmla="*/ 3288052 w 4519987"/>
              <a:gd name="connsiteY63" fmla="*/ 4248150 h 4496940"/>
              <a:gd name="connsiteX64" fmla="*/ 3240427 w 4519987"/>
              <a:gd name="connsiteY64" fmla="*/ 4267200 h 4496940"/>
              <a:gd name="connsiteX65" fmla="*/ 3068977 w 4519987"/>
              <a:gd name="connsiteY65" fmla="*/ 4286250 h 4496940"/>
              <a:gd name="connsiteX66" fmla="*/ 2935627 w 4519987"/>
              <a:gd name="connsiteY66" fmla="*/ 4333875 h 4496940"/>
              <a:gd name="connsiteX67" fmla="*/ 2811802 w 4519987"/>
              <a:gd name="connsiteY67" fmla="*/ 4371975 h 4496940"/>
              <a:gd name="connsiteX68" fmla="*/ 2745127 w 4519987"/>
              <a:gd name="connsiteY68" fmla="*/ 4410075 h 4496940"/>
              <a:gd name="connsiteX69" fmla="*/ 2697502 w 4519987"/>
              <a:gd name="connsiteY69" fmla="*/ 4429125 h 4496940"/>
              <a:gd name="connsiteX70" fmla="*/ 2640352 w 4519987"/>
              <a:gd name="connsiteY70" fmla="*/ 4457700 h 4496940"/>
              <a:gd name="connsiteX71" fmla="*/ 2583202 w 4519987"/>
              <a:gd name="connsiteY71" fmla="*/ 4467225 h 4496940"/>
              <a:gd name="connsiteX72" fmla="*/ 2545102 w 4519987"/>
              <a:gd name="connsiteY72" fmla="*/ 4486275 h 4496940"/>
              <a:gd name="connsiteX73" fmla="*/ 2306977 w 4519987"/>
              <a:gd name="connsiteY73" fmla="*/ 4476750 h 4496940"/>
              <a:gd name="connsiteX74" fmla="*/ 2202202 w 4519987"/>
              <a:gd name="connsiteY74" fmla="*/ 4457700 h 4496940"/>
              <a:gd name="connsiteX75" fmla="*/ 2126002 w 4519987"/>
              <a:gd name="connsiteY75" fmla="*/ 4429125 h 4496940"/>
              <a:gd name="connsiteX76" fmla="*/ 1935502 w 4519987"/>
              <a:gd name="connsiteY76" fmla="*/ 4400550 h 4496940"/>
              <a:gd name="connsiteX77" fmla="*/ 1821202 w 4519987"/>
              <a:gd name="connsiteY77" fmla="*/ 4371975 h 4496940"/>
              <a:gd name="connsiteX78" fmla="*/ 1754527 w 4519987"/>
              <a:gd name="connsiteY78" fmla="*/ 4352925 h 4496940"/>
              <a:gd name="connsiteX79" fmla="*/ 1687852 w 4519987"/>
              <a:gd name="connsiteY79" fmla="*/ 4343400 h 4496940"/>
              <a:gd name="connsiteX80" fmla="*/ 1573552 w 4519987"/>
              <a:gd name="connsiteY80" fmla="*/ 4305300 h 4496940"/>
              <a:gd name="connsiteX81" fmla="*/ 1402102 w 4519987"/>
              <a:gd name="connsiteY81" fmla="*/ 4276725 h 4496940"/>
              <a:gd name="connsiteX82" fmla="*/ 1287802 w 4519987"/>
              <a:gd name="connsiteY82" fmla="*/ 4229100 h 4496940"/>
              <a:gd name="connsiteX83" fmla="*/ 1221127 w 4519987"/>
              <a:gd name="connsiteY83" fmla="*/ 4200525 h 4496940"/>
              <a:gd name="connsiteX84" fmla="*/ 1144927 w 4519987"/>
              <a:gd name="connsiteY84" fmla="*/ 4171950 h 4496940"/>
              <a:gd name="connsiteX85" fmla="*/ 1087777 w 4519987"/>
              <a:gd name="connsiteY85" fmla="*/ 4143375 h 4496940"/>
              <a:gd name="connsiteX86" fmla="*/ 1030627 w 4519987"/>
              <a:gd name="connsiteY86" fmla="*/ 4124325 h 4496940"/>
              <a:gd name="connsiteX87" fmla="*/ 925852 w 4519987"/>
              <a:gd name="connsiteY87" fmla="*/ 4067175 h 4496940"/>
              <a:gd name="connsiteX88" fmla="*/ 830602 w 4519987"/>
              <a:gd name="connsiteY88" fmla="*/ 3981450 h 4496940"/>
              <a:gd name="connsiteX89" fmla="*/ 763927 w 4519987"/>
              <a:gd name="connsiteY89" fmla="*/ 3914775 h 4496940"/>
              <a:gd name="connsiteX90" fmla="*/ 725827 w 4519987"/>
              <a:gd name="connsiteY90" fmla="*/ 3876675 h 4496940"/>
              <a:gd name="connsiteX91" fmla="*/ 697252 w 4519987"/>
              <a:gd name="connsiteY91" fmla="*/ 3838575 h 4496940"/>
              <a:gd name="connsiteX92" fmla="*/ 640102 w 4519987"/>
              <a:gd name="connsiteY92" fmla="*/ 3781425 h 4496940"/>
              <a:gd name="connsiteX93" fmla="*/ 611527 w 4519987"/>
              <a:gd name="connsiteY93" fmla="*/ 3733800 h 4496940"/>
              <a:gd name="connsiteX94" fmla="*/ 554377 w 4519987"/>
              <a:gd name="connsiteY94" fmla="*/ 3657600 h 4496940"/>
              <a:gd name="connsiteX95" fmla="*/ 525802 w 4519987"/>
              <a:gd name="connsiteY95" fmla="*/ 3609975 h 4496940"/>
              <a:gd name="connsiteX96" fmla="*/ 497227 w 4519987"/>
              <a:gd name="connsiteY96" fmla="*/ 3552825 h 4496940"/>
              <a:gd name="connsiteX97" fmla="*/ 440077 w 4519987"/>
              <a:gd name="connsiteY97" fmla="*/ 3495675 h 4496940"/>
              <a:gd name="connsiteX98" fmla="*/ 411502 w 4519987"/>
              <a:gd name="connsiteY98" fmla="*/ 3448050 h 4496940"/>
              <a:gd name="connsiteX99" fmla="*/ 278152 w 4519987"/>
              <a:gd name="connsiteY99" fmla="*/ 3257550 h 4496940"/>
              <a:gd name="connsiteX100" fmla="*/ 249577 w 4519987"/>
              <a:gd name="connsiteY100" fmla="*/ 3200400 h 4496940"/>
              <a:gd name="connsiteX101" fmla="*/ 240052 w 4519987"/>
              <a:gd name="connsiteY101" fmla="*/ 3162300 h 4496940"/>
              <a:gd name="connsiteX102" fmla="*/ 221002 w 4519987"/>
              <a:gd name="connsiteY102" fmla="*/ 3105150 h 4496940"/>
              <a:gd name="connsiteX103" fmla="*/ 173377 w 4519987"/>
              <a:gd name="connsiteY103" fmla="*/ 3019425 h 4496940"/>
              <a:gd name="connsiteX104" fmla="*/ 144802 w 4519987"/>
              <a:gd name="connsiteY104" fmla="*/ 2924175 h 4496940"/>
              <a:gd name="connsiteX105" fmla="*/ 68602 w 4519987"/>
              <a:gd name="connsiteY105" fmla="*/ 2724150 h 4496940"/>
              <a:gd name="connsiteX106" fmla="*/ 49552 w 4519987"/>
              <a:gd name="connsiteY106" fmla="*/ 2638425 h 4496940"/>
              <a:gd name="connsiteX107" fmla="*/ 40027 w 4519987"/>
              <a:gd name="connsiteY107" fmla="*/ 2562225 h 4496940"/>
              <a:gd name="connsiteX108" fmla="*/ 30502 w 4519987"/>
              <a:gd name="connsiteY108" fmla="*/ 2514600 h 4496940"/>
              <a:gd name="connsiteX109" fmla="*/ 11452 w 4519987"/>
              <a:gd name="connsiteY109" fmla="*/ 2400300 h 4496940"/>
              <a:gd name="connsiteX110" fmla="*/ 20977 w 4519987"/>
              <a:gd name="connsiteY110" fmla="*/ 1905000 h 4496940"/>
              <a:gd name="connsiteX111" fmla="*/ 30502 w 4519987"/>
              <a:gd name="connsiteY111" fmla="*/ 1838325 h 4496940"/>
              <a:gd name="connsiteX112" fmla="*/ 49552 w 4519987"/>
              <a:gd name="connsiteY112" fmla="*/ 1781175 h 4496940"/>
              <a:gd name="connsiteX113" fmla="*/ 59077 w 4519987"/>
              <a:gd name="connsiteY113" fmla="*/ 1743075 h 4496940"/>
              <a:gd name="connsiteX114" fmla="*/ 78127 w 4519987"/>
              <a:gd name="connsiteY114" fmla="*/ 1685925 h 4496940"/>
              <a:gd name="connsiteX115" fmla="*/ 87652 w 4519987"/>
              <a:gd name="connsiteY115" fmla="*/ 1638300 h 4496940"/>
              <a:gd name="connsiteX116" fmla="*/ 106702 w 4519987"/>
              <a:gd name="connsiteY116" fmla="*/ 1590675 h 4496940"/>
              <a:gd name="connsiteX117" fmla="*/ 135277 w 4519987"/>
              <a:gd name="connsiteY117" fmla="*/ 1504950 h 4496940"/>
              <a:gd name="connsiteX118" fmla="*/ 154327 w 4519987"/>
              <a:gd name="connsiteY118" fmla="*/ 1419225 h 4496940"/>
              <a:gd name="connsiteX119" fmla="*/ 230527 w 4519987"/>
              <a:gd name="connsiteY119" fmla="*/ 1276350 h 4496940"/>
              <a:gd name="connsiteX120" fmla="*/ 240052 w 4519987"/>
              <a:gd name="connsiteY120" fmla="*/ 1247775 h 4496940"/>
              <a:gd name="connsiteX121" fmla="*/ 268627 w 4519987"/>
              <a:gd name="connsiteY121" fmla="*/ 1200150 h 4496940"/>
              <a:gd name="connsiteX122" fmla="*/ 287677 w 4519987"/>
              <a:gd name="connsiteY122" fmla="*/ 1152525 h 4496940"/>
              <a:gd name="connsiteX123" fmla="*/ 316252 w 4519987"/>
              <a:gd name="connsiteY123" fmla="*/ 1114425 h 4496940"/>
              <a:gd name="connsiteX124" fmla="*/ 363877 w 4519987"/>
              <a:gd name="connsiteY124" fmla="*/ 1038225 h 4496940"/>
              <a:gd name="connsiteX125" fmla="*/ 382927 w 4519987"/>
              <a:gd name="connsiteY125" fmla="*/ 1009650 h 4496940"/>
              <a:gd name="connsiteX126" fmla="*/ 440077 w 4519987"/>
              <a:gd name="connsiteY126" fmla="*/ 904875 h 4496940"/>
              <a:gd name="connsiteX127" fmla="*/ 478177 w 4519987"/>
              <a:gd name="connsiteY127" fmla="*/ 857250 h 4496940"/>
              <a:gd name="connsiteX128" fmla="*/ 497227 w 4519987"/>
              <a:gd name="connsiteY128" fmla="*/ 828675 h 4496940"/>
              <a:gd name="connsiteX129" fmla="*/ 535327 w 4519987"/>
              <a:gd name="connsiteY129" fmla="*/ 800100 h 4496940"/>
              <a:gd name="connsiteX130" fmla="*/ 602002 w 4519987"/>
              <a:gd name="connsiteY130" fmla="*/ 733425 h 4496940"/>
              <a:gd name="connsiteX131" fmla="*/ 668677 w 4519987"/>
              <a:gd name="connsiteY131" fmla="*/ 676275 h 4496940"/>
              <a:gd name="connsiteX132" fmla="*/ 697252 w 4519987"/>
              <a:gd name="connsiteY132" fmla="*/ 657225 h 4496940"/>
              <a:gd name="connsiteX133" fmla="*/ 840127 w 4519987"/>
              <a:gd name="connsiteY133" fmla="*/ 533400 h 4496940"/>
              <a:gd name="connsiteX134" fmla="*/ 887752 w 4519987"/>
              <a:gd name="connsiteY134" fmla="*/ 504825 h 4496940"/>
              <a:gd name="connsiteX135" fmla="*/ 1167152 w 4519987"/>
              <a:gd name="connsiteY135" fmla="*/ 311150 h 4496940"/>
              <a:gd name="connsiteX136" fmla="*/ 1268752 w 4519987"/>
              <a:gd name="connsiteY136" fmla="*/ 285750 h 4496940"/>
              <a:gd name="connsiteX137" fmla="*/ 1411627 w 4519987"/>
              <a:gd name="connsiteY137" fmla="*/ 190500 h 4496940"/>
              <a:gd name="connsiteX138" fmla="*/ 1449727 w 4519987"/>
              <a:gd name="connsiteY138" fmla="*/ 161925 h 4496940"/>
              <a:gd name="connsiteX139" fmla="*/ 1525927 w 4519987"/>
              <a:gd name="connsiteY139" fmla="*/ 152400 h 4496940"/>
              <a:gd name="connsiteX140" fmla="*/ 1583077 w 4519987"/>
              <a:gd name="connsiteY140" fmla="*/ 142875 h 4496940"/>
              <a:gd name="connsiteX141" fmla="*/ 1716427 w 4519987"/>
              <a:gd name="connsiteY141" fmla="*/ 123825 h 4496940"/>
              <a:gd name="connsiteX142" fmla="*/ 1811677 w 4519987"/>
              <a:gd name="connsiteY142" fmla="*/ 114300 h 4496940"/>
              <a:gd name="connsiteX143" fmla="*/ 1859302 w 4519987"/>
              <a:gd name="connsiteY143" fmla="*/ 104775 h 4496940"/>
              <a:gd name="connsiteX144" fmla="*/ 1916452 w 4519987"/>
              <a:gd name="connsiteY144" fmla="*/ 95250 h 4496940"/>
              <a:gd name="connsiteX145" fmla="*/ 2030752 w 4519987"/>
              <a:gd name="connsiteY145" fmla="*/ 66675 h 4496940"/>
              <a:gd name="connsiteX146" fmla="*/ 2097427 w 4519987"/>
              <a:gd name="connsiteY146" fmla="*/ 47625 h 4496940"/>
              <a:gd name="connsiteX147" fmla="*/ 2164102 w 4519987"/>
              <a:gd name="connsiteY147" fmla="*/ 38100 h 4496940"/>
              <a:gd name="connsiteX148" fmla="*/ 2392702 w 4519987"/>
              <a:gd name="connsiteY14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135777 w 4519987"/>
              <a:gd name="connsiteY21" fmla="*/ 9334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192927 w 4519987"/>
              <a:gd name="connsiteY24" fmla="*/ 1057275 h 4496940"/>
              <a:gd name="connsiteX25" fmla="*/ 4202452 w 4519987"/>
              <a:gd name="connsiteY25" fmla="*/ 1085850 h 4496940"/>
              <a:gd name="connsiteX26" fmla="*/ 4250077 w 4519987"/>
              <a:gd name="connsiteY26" fmla="*/ 1143000 h 4496940"/>
              <a:gd name="connsiteX27" fmla="*/ 4259602 w 4519987"/>
              <a:gd name="connsiteY27" fmla="*/ 1190625 h 4496940"/>
              <a:gd name="connsiteX28" fmla="*/ 4307227 w 4519987"/>
              <a:gd name="connsiteY28" fmla="*/ 1266825 h 4496940"/>
              <a:gd name="connsiteX29" fmla="*/ 4345327 w 4519987"/>
              <a:gd name="connsiteY29" fmla="*/ 1362075 h 4496940"/>
              <a:gd name="connsiteX30" fmla="*/ 4373902 w 4519987"/>
              <a:gd name="connsiteY30" fmla="*/ 1428750 h 4496940"/>
              <a:gd name="connsiteX31" fmla="*/ 4392952 w 4519987"/>
              <a:gd name="connsiteY31" fmla="*/ 1552575 h 4496940"/>
              <a:gd name="connsiteX32" fmla="*/ 4402477 w 4519987"/>
              <a:gd name="connsiteY32" fmla="*/ 1590675 h 4496940"/>
              <a:gd name="connsiteX33" fmla="*/ 4431052 w 4519987"/>
              <a:gd name="connsiteY33" fmla="*/ 1685925 h 4496940"/>
              <a:gd name="connsiteX34" fmla="*/ 4519952 w 4519987"/>
              <a:gd name="connsiteY34" fmla="*/ 2181225 h 4496940"/>
              <a:gd name="connsiteX35" fmla="*/ 4446927 w 4519987"/>
              <a:gd name="connsiteY35" fmla="*/ 2768600 h 4496940"/>
              <a:gd name="connsiteX36" fmla="*/ 4383427 w 4519987"/>
              <a:gd name="connsiteY36" fmla="*/ 2990850 h 4496940"/>
              <a:gd name="connsiteX37" fmla="*/ 4278652 w 4519987"/>
              <a:gd name="connsiteY37" fmla="*/ 3248025 h 4496940"/>
              <a:gd name="connsiteX38" fmla="*/ 4259602 w 4519987"/>
              <a:gd name="connsiteY38" fmla="*/ 3276600 h 4496940"/>
              <a:gd name="connsiteX39" fmla="*/ 4221502 w 4519987"/>
              <a:gd name="connsiteY39" fmla="*/ 3333750 h 4496940"/>
              <a:gd name="connsiteX40" fmla="*/ 4211977 w 4519987"/>
              <a:gd name="connsiteY40" fmla="*/ 3362325 h 4496940"/>
              <a:gd name="connsiteX41" fmla="*/ 4183402 w 4519987"/>
              <a:gd name="connsiteY41" fmla="*/ 3400425 h 4496940"/>
              <a:gd name="connsiteX42" fmla="*/ 4164352 w 4519987"/>
              <a:gd name="connsiteY42" fmla="*/ 3429000 h 4496940"/>
              <a:gd name="connsiteX43" fmla="*/ 4088152 w 4519987"/>
              <a:gd name="connsiteY43" fmla="*/ 3495675 h 4496940"/>
              <a:gd name="connsiteX44" fmla="*/ 4059577 w 4519987"/>
              <a:gd name="connsiteY44" fmla="*/ 3533775 h 4496940"/>
              <a:gd name="connsiteX45" fmla="*/ 4002427 w 4519987"/>
              <a:gd name="connsiteY45" fmla="*/ 3600450 h 4496940"/>
              <a:gd name="connsiteX46" fmla="*/ 3983377 w 4519987"/>
              <a:gd name="connsiteY46" fmla="*/ 3629025 h 4496940"/>
              <a:gd name="connsiteX47" fmla="*/ 3954802 w 4519987"/>
              <a:gd name="connsiteY47" fmla="*/ 3648075 h 4496940"/>
              <a:gd name="connsiteX48" fmla="*/ 3907177 w 4519987"/>
              <a:gd name="connsiteY48" fmla="*/ 3686175 h 4496940"/>
              <a:gd name="connsiteX49" fmla="*/ 3869077 w 4519987"/>
              <a:gd name="connsiteY49" fmla="*/ 3724275 h 4496940"/>
              <a:gd name="connsiteX50" fmla="*/ 3792877 w 4519987"/>
              <a:gd name="connsiteY50" fmla="*/ 3781425 h 4496940"/>
              <a:gd name="connsiteX51" fmla="*/ 3783352 w 4519987"/>
              <a:gd name="connsiteY51" fmla="*/ 3810000 h 4496940"/>
              <a:gd name="connsiteX52" fmla="*/ 3745252 w 4519987"/>
              <a:gd name="connsiteY52" fmla="*/ 3819525 h 4496940"/>
              <a:gd name="connsiteX53" fmla="*/ 3678577 w 4519987"/>
              <a:gd name="connsiteY53" fmla="*/ 3848100 h 4496940"/>
              <a:gd name="connsiteX54" fmla="*/ 3659527 w 4519987"/>
              <a:gd name="connsiteY54" fmla="*/ 3971925 h 4496940"/>
              <a:gd name="connsiteX55" fmla="*/ 3630952 w 4519987"/>
              <a:gd name="connsiteY55" fmla="*/ 4010025 h 4496940"/>
              <a:gd name="connsiteX56" fmla="*/ 3621427 w 4519987"/>
              <a:gd name="connsiteY56" fmla="*/ 4038600 h 4496940"/>
              <a:gd name="connsiteX57" fmla="*/ 3554752 w 4519987"/>
              <a:gd name="connsiteY57" fmla="*/ 4095750 h 4496940"/>
              <a:gd name="connsiteX58" fmla="*/ 3516652 w 4519987"/>
              <a:gd name="connsiteY58" fmla="*/ 4114800 h 4496940"/>
              <a:gd name="connsiteX59" fmla="*/ 3497602 w 4519987"/>
              <a:gd name="connsiteY59" fmla="*/ 4143375 h 4496940"/>
              <a:gd name="connsiteX60" fmla="*/ 3383302 w 4519987"/>
              <a:gd name="connsiteY60" fmla="*/ 4210050 h 4496940"/>
              <a:gd name="connsiteX61" fmla="*/ 3335677 w 4519987"/>
              <a:gd name="connsiteY61" fmla="*/ 4238625 h 4496940"/>
              <a:gd name="connsiteX62" fmla="*/ 3288052 w 4519987"/>
              <a:gd name="connsiteY62" fmla="*/ 4248150 h 4496940"/>
              <a:gd name="connsiteX63" fmla="*/ 3240427 w 4519987"/>
              <a:gd name="connsiteY63" fmla="*/ 4267200 h 4496940"/>
              <a:gd name="connsiteX64" fmla="*/ 3068977 w 4519987"/>
              <a:gd name="connsiteY64" fmla="*/ 4286250 h 4496940"/>
              <a:gd name="connsiteX65" fmla="*/ 2935627 w 4519987"/>
              <a:gd name="connsiteY65" fmla="*/ 4333875 h 4496940"/>
              <a:gd name="connsiteX66" fmla="*/ 2811802 w 4519987"/>
              <a:gd name="connsiteY66" fmla="*/ 4371975 h 4496940"/>
              <a:gd name="connsiteX67" fmla="*/ 2745127 w 4519987"/>
              <a:gd name="connsiteY67" fmla="*/ 4410075 h 4496940"/>
              <a:gd name="connsiteX68" fmla="*/ 2697502 w 4519987"/>
              <a:gd name="connsiteY68" fmla="*/ 4429125 h 4496940"/>
              <a:gd name="connsiteX69" fmla="*/ 2640352 w 4519987"/>
              <a:gd name="connsiteY69" fmla="*/ 4457700 h 4496940"/>
              <a:gd name="connsiteX70" fmla="*/ 2583202 w 4519987"/>
              <a:gd name="connsiteY70" fmla="*/ 4467225 h 4496940"/>
              <a:gd name="connsiteX71" fmla="*/ 2545102 w 4519987"/>
              <a:gd name="connsiteY71" fmla="*/ 4486275 h 4496940"/>
              <a:gd name="connsiteX72" fmla="*/ 2306977 w 4519987"/>
              <a:gd name="connsiteY72" fmla="*/ 4476750 h 4496940"/>
              <a:gd name="connsiteX73" fmla="*/ 2202202 w 4519987"/>
              <a:gd name="connsiteY73" fmla="*/ 4457700 h 4496940"/>
              <a:gd name="connsiteX74" fmla="*/ 2126002 w 4519987"/>
              <a:gd name="connsiteY74" fmla="*/ 4429125 h 4496940"/>
              <a:gd name="connsiteX75" fmla="*/ 1935502 w 4519987"/>
              <a:gd name="connsiteY75" fmla="*/ 4400550 h 4496940"/>
              <a:gd name="connsiteX76" fmla="*/ 1821202 w 4519987"/>
              <a:gd name="connsiteY76" fmla="*/ 4371975 h 4496940"/>
              <a:gd name="connsiteX77" fmla="*/ 1754527 w 4519987"/>
              <a:gd name="connsiteY77" fmla="*/ 4352925 h 4496940"/>
              <a:gd name="connsiteX78" fmla="*/ 1687852 w 4519987"/>
              <a:gd name="connsiteY78" fmla="*/ 4343400 h 4496940"/>
              <a:gd name="connsiteX79" fmla="*/ 1573552 w 4519987"/>
              <a:gd name="connsiteY79" fmla="*/ 4305300 h 4496940"/>
              <a:gd name="connsiteX80" fmla="*/ 1402102 w 4519987"/>
              <a:gd name="connsiteY80" fmla="*/ 4276725 h 4496940"/>
              <a:gd name="connsiteX81" fmla="*/ 1287802 w 4519987"/>
              <a:gd name="connsiteY81" fmla="*/ 4229100 h 4496940"/>
              <a:gd name="connsiteX82" fmla="*/ 1221127 w 4519987"/>
              <a:gd name="connsiteY82" fmla="*/ 4200525 h 4496940"/>
              <a:gd name="connsiteX83" fmla="*/ 1144927 w 4519987"/>
              <a:gd name="connsiteY83" fmla="*/ 4171950 h 4496940"/>
              <a:gd name="connsiteX84" fmla="*/ 1087777 w 4519987"/>
              <a:gd name="connsiteY84" fmla="*/ 4143375 h 4496940"/>
              <a:gd name="connsiteX85" fmla="*/ 1030627 w 4519987"/>
              <a:gd name="connsiteY85" fmla="*/ 4124325 h 4496940"/>
              <a:gd name="connsiteX86" fmla="*/ 925852 w 4519987"/>
              <a:gd name="connsiteY86" fmla="*/ 4067175 h 4496940"/>
              <a:gd name="connsiteX87" fmla="*/ 830602 w 4519987"/>
              <a:gd name="connsiteY87" fmla="*/ 3981450 h 4496940"/>
              <a:gd name="connsiteX88" fmla="*/ 763927 w 4519987"/>
              <a:gd name="connsiteY88" fmla="*/ 3914775 h 4496940"/>
              <a:gd name="connsiteX89" fmla="*/ 725827 w 4519987"/>
              <a:gd name="connsiteY89" fmla="*/ 3876675 h 4496940"/>
              <a:gd name="connsiteX90" fmla="*/ 697252 w 4519987"/>
              <a:gd name="connsiteY90" fmla="*/ 3838575 h 4496940"/>
              <a:gd name="connsiteX91" fmla="*/ 640102 w 4519987"/>
              <a:gd name="connsiteY91" fmla="*/ 3781425 h 4496940"/>
              <a:gd name="connsiteX92" fmla="*/ 611527 w 4519987"/>
              <a:gd name="connsiteY92" fmla="*/ 3733800 h 4496940"/>
              <a:gd name="connsiteX93" fmla="*/ 554377 w 4519987"/>
              <a:gd name="connsiteY93" fmla="*/ 3657600 h 4496940"/>
              <a:gd name="connsiteX94" fmla="*/ 525802 w 4519987"/>
              <a:gd name="connsiteY94" fmla="*/ 3609975 h 4496940"/>
              <a:gd name="connsiteX95" fmla="*/ 497227 w 4519987"/>
              <a:gd name="connsiteY95" fmla="*/ 3552825 h 4496940"/>
              <a:gd name="connsiteX96" fmla="*/ 440077 w 4519987"/>
              <a:gd name="connsiteY96" fmla="*/ 3495675 h 4496940"/>
              <a:gd name="connsiteX97" fmla="*/ 411502 w 4519987"/>
              <a:gd name="connsiteY97" fmla="*/ 3448050 h 4496940"/>
              <a:gd name="connsiteX98" fmla="*/ 278152 w 4519987"/>
              <a:gd name="connsiteY98" fmla="*/ 3257550 h 4496940"/>
              <a:gd name="connsiteX99" fmla="*/ 249577 w 4519987"/>
              <a:gd name="connsiteY99" fmla="*/ 3200400 h 4496940"/>
              <a:gd name="connsiteX100" fmla="*/ 240052 w 4519987"/>
              <a:gd name="connsiteY100" fmla="*/ 3162300 h 4496940"/>
              <a:gd name="connsiteX101" fmla="*/ 221002 w 4519987"/>
              <a:gd name="connsiteY101" fmla="*/ 3105150 h 4496940"/>
              <a:gd name="connsiteX102" fmla="*/ 173377 w 4519987"/>
              <a:gd name="connsiteY102" fmla="*/ 3019425 h 4496940"/>
              <a:gd name="connsiteX103" fmla="*/ 144802 w 4519987"/>
              <a:gd name="connsiteY103" fmla="*/ 2924175 h 4496940"/>
              <a:gd name="connsiteX104" fmla="*/ 68602 w 4519987"/>
              <a:gd name="connsiteY104" fmla="*/ 2724150 h 4496940"/>
              <a:gd name="connsiteX105" fmla="*/ 49552 w 4519987"/>
              <a:gd name="connsiteY105" fmla="*/ 2638425 h 4496940"/>
              <a:gd name="connsiteX106" fmla="*/ 40027 w 4519987"/>
              <a:gd name="connsiteY106" fmla="*/ 2562225 h 4496940"/>
              <a:gd name="connsiteX107" fmla="*/ 30502 w 4519987"/>
              <a:gd name="connsiteY107" fmla="*/ 2514600 h 4496940"/>
              <a:gd name="connsiteX108" fmla="*/ 11452 w 4519987"/>
              <a:gd name="connsiteY108" fmla="*/ 2400300 h 4496940"/>
              <a:gd name="connsiteX109" fmla="*/ 20977 w 4519987"/>
              <a:gd name="connsiteY109" fmla="*/ 1905000 h 4496940"/>
              <a:gd name="connsiteX110" fmla="*/ 30502 w 4519987"/>
              <a:gd name="connsiteY110" fmla="*/ 1838325 h 4496940"/>
              <a:gd name="connsiteX111" fmla="*/ 49552 w 4519987"/>
              <a:gd name="connsiteY111" fmla="*/ 1781175 h 4496940"/>
              <a:gd name="connsiteX112" fmla="*/ 59077 w 4519987"/>
              <a:gd name="connsiteY112" fmla="*/ 1743075 h 4496940"/>
              <a:gd name="connsiteX113" fmla="*/ 78127 w 4519987"/>
              <a:gd name="connsiteY113" fmla="*/ 1685925 h 4496940"/>
              <a:gd name="connsiteX114" fmla="*/ 87652 w 4519987"/>
              <a:gd name="connsiteY114" fmla="*/ 1638300 h 4496940"/>
              <a:gd name="connsiteX115" fmla="*/ 106702 w 4519987"/>
              <a:gd name="connsiteY115" fmla="*/ 1590675 h 4496940"/>
              <a:gd name="connsiteX116" fmla="*/ 135277 w 4519987"/>
              <a:gd name="connsiteY116" fmla="*/ 1504950 h 4496940"/>
              <a:gd name="connsiteX117" fmla="*/ 154327 w 4519987"/>
              <a:gd name="connsiteY117" fmla="*/ 1419225 h 4496940"/>
              <a:gd name="connsiteX118" fmla="*/ 230527 w 4519987"/>
              <a:gd name="connsiteY118" fmla="*/ 1276350 h 4496940"/>
              <a:gd name="connsiteX119" fmla="*/ 240052 w 4519987"/>
              <a:gd name="connsiteY119" fmla="*/ 1247775 h 4496940"/>
              <a:gd name="connsiteX120" fmla="*/ 268627 w 4519987"/>
              <a:gd name="connsiteY120" fmla="*/ 1200150 h 4496940"/>
              <a:gd name="connsiteX121" fmla="*/ 287677 w 4519987"/>
              <a:gd name="connsiteY121" fmla="*/ 1152525 h 4496940"/>
              <a:gd name="connsiteX122" fmla="*/ 316252 w 4519987"/>
              <a:gd name="connsiteY122" fmla="*/ 1114425 h 4496940"/>
              <a:gd name="connsiteX123" fmla="*/ 363877 w 4519987"/>
              <a:gd name="connsiteY123" fmla="*/ 1038225 h 4496940"/>
              <a:gd name="connsiteX124" fmla="*/ 382927 w 4519987"/>
              <a:gd name="connsiteY124" fmla="*/ 1009650 h 4496940"/>
              <a:gd name="connsiteX125" fmla="*/ 440077 w 4519987"/>
              <a:gd name="connsiteY125" fmla="*/ 904875 h 4496940"/>
              <a:gd name="connsiteX126" fmla="*/ 478177 w 4519987"/>
              <a:gd name="connsiteY126" fmla="*/ 857250 h 4496940"/>
              <a:gd name="connsiteX127" fmla="*/ 497227 w 4519987"/>
              <a:gd name="connsiteY127" fmla="*/ 828675 h 4496940"/>
              <a:gd name="connsiteX128" fmla="*/ 535327 w 4519987"/>
              <a:gd name="connsiteY128" fmla="*/ 800100 h 4496940"/>
              <a:gd name="connsiteX129" fmla="*/ 602002 w 4519987"/>
              <a:gd name="connsiteY129" fmla="*/ 733425 h 4496940"/>
              <a:gd name="connsiteX130" fmla="*/ 668677 w 4519987"/>
              <a:gd name="connsiteY130" fmla="*/ 676275 h 4496940"/>
              <a:gd name="connsiteX131" fmla="*/ 697252 w 4519987"/>
              <a:gd name="connsiteY131" fmla="*/ 657225 h 4496940"/>
              <a:gd name="connsiteX132" fmla="*/ 840127 w 4519987"/>
              <a:gd name="connsiteY132" fmla="*/ 533400 h 4496940"/>
              <a:gd name="connsiteX133" fmla="*/ 887752 w 4519987"/>
              <a:gd name="connsiteY133" fmla="*/ 504825 h 4496940"/>
              <a:gd name="connsiteX134" fmla="*/ 1167152 w 4519987"/>
              <a:gd name="connsiteY134" fmla="*/ 311150 h 4496940"/>
              <a:gd name="connsiteX135" fmla="*/ 1268752 w 4519987"/>
              <a:gd name="connsiteY135" fmla="*/ 285750 h 4496940"/>
              <a:gd name="connsiteX136" fmla="*/ 1411627 w 4519987"/>
              <a:gd name="connsiteY136" fmla="*/ 190500 h 4496940"/>
              <a:gd name="connsiteX137" fmla="*/ 1449727 w 4519987"/>
              <a:gd name="connsiteY137" fmla="*/ 161925 h 4496940"/>
              <a:gd name="connsiteX138" fmla="*/ 1525927 w 4519987"/>
              <a:gd name="connsiteY138" fmla="*/ 152400 h 4496940"/>
              <a:gd name="connsiteX139" fmla="*/ 1583077 w 4519987"/>
              <a:gd name="connsiteY139" fmla="*/ 142875 h 4496940"/>
              <a:gd name="connsiteX140" fmla="*/ 1716427 w 4519987"/>
              <a:gd name="connsiteY140" fmla="*/ 123825 h 4496940"/>
              <a:gd name="connsiteX141" fmla="*/ 1811677 w 4519987"/>
              <a:gd name="connsiteY141" fmla="*/ 114300 h 4496940"/>
              <a:gd name="connsiteX142" fmla="*/ 1859302 w 4519987"/>
              <a:gd name="connsiteY142" fmla="*/ 104775 h 4496940"/>
              <a:gd name="connsiteX143" fmla="*/ 1916452 w 4519987"/>
              <a:gd name="connsiteY143" fmla="*/ 95250 h 4496940"/>
              <a:gd name="connsiteX144" fmla="*/ 2030752 w 4519987"/>
              <a:gd name="connsiteY144" fmla="*/ 66675 h 4496940"/>
              <a:gd name="connsiteX145" fmla="*/ 2097427 w 4519987"/>
              <a:gd name="connsiteY145" fmla="*/ 47625 h 4496940"/>
              <a:gd name="connsiteX146" fmla="*/ 2164102 w 4519987"/>
              <a:gd name="connsiteY146" fmla="*/ 38100 h 4496940"/>
              <a:gd name="connsiteX147" fmla="*/ 2392702 w 4519987"/>
              <a:gd name="connsiteY14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192927 w 4519987"/>
              <a:gd name="connsiteY24" fmla="*/ 1057275 h 4496940"/>
              <a:gd name="connsiteX25" fmla="*/ 4202452 w 4519987"/>
              <a:gd name="connsiteY25" fmla="*/ 1085850 h 4496940"/>
              <a:gd name="connsiteX26" fmla="*/ 4250077 w 4519987"/>
              <a:gd name="connsiteY26" fmla="*/ 1143000 h 4496940"/>
              <a:gd name="connsiteX27" fmla="*/ 4259602 w 4519987"/>
              <a:gd name="connsiteY27" fmla="*/ 1190625 h 4496940"/>
              <a:gd name="connsiteX28" fmla="*/ 4307227 w 4519987"/>
              <a:gd name="connsiteY28" fmla="*/ 1266825 h 4496940"/>
              <a:gd name="connsiteX29" fmla="*/ 4345327 w 4519987"/>
              <a:gd name="connsiteY29" fmla="*/ 1362075 h 4496940"/>
              <a:gd name="connsiteX30" fmla="*/ 4373902 w 4519987"/>
              <a:gd name="connsiteY30" fmla="*/ 1428750 h 4496940"/>
              <a:gd name="connsiteX31" fmla="*/ 4392952 w 4519987"/>
              <a:gd name="connsiteY31" fmla="*/ 1552575 h 4496940"/>
              <a:gd name="connsiteX32" fmla="*/ 4402477 w 4519987"/>
              <a:gd name="connsiteY32" fmla="*/ 1590675 h 4496940"/>
              <a:gd name="connsiteX33" fmla="*/ 4431052 w 4519987"/>
              <a:gd name="connsiteY33" fmla="*/ 1685925 h 4496940"/>
              <a:gd name="connsiteX34" fmla="*/ 4519952 w 4519987"/>
              <a:gd name="connsiteY34" fmla="*/ 2181225 h 4496940"/>
              <a:gd name="connsiteX35" fmla="*/ 4446927 w 4519987"/>
              <a:gd name="connsiteY35" fmla="*/ 2768600 h 4496940"/>
              <a:gd name="connsiteX36" fmla="*/ 4383427 w 4519987"/>
              <a:gd name="connsiteY36" fmla="*/ 2990850 h 4496940"/>
              <a:gd name="connsiteX37" fmla="*/ 4278652 w 4519987"/>
              <a:gd name="connsiteY37" fmla="*/ 3248025 h 4496940"/>
              <a:gd name="connsiteX38" fmla="*/ 4259602 w 4519987"/>
              <a:gd name="connsiteY38" fmla="*/ 3276600 h 4496940"/>
              <a:gd name="connsiteX39" fmla="*/ 4221502 w 4519987"/>
              <a:gd name="connsiteY39" fmla="*/ 3333750 h 4496940"/>
              <a:gd name="connsiteX40" fmla="*/ 4211977 w 4519987"/>
              <a:gd name="connsiteY40" fmla="*/ 3362325 h 4496940"/>
              <a:gd name="connsiteX41" fmla="*/ 4183402 w 4519987"/>
              <a:gd name="connsiteY41" fmla="*/ 3400425 h 4496940"/>
              <a:gd name="connsiteX42" fmla="*/ 4164352 w 4519987"/>
              <a:gd name="connsiteY42" fmla="*/ 3429000 h 4496940"/>
              <a:gd name="connsiteX43" fmla="*/ 4088152 w 4519987"/>
              <a:gd name="connsiteY43" fmla="*/ 3495675 h 4496940"/>
              <a:gd name="connsiteX44" fmla="*/ 4059577 w 4519987"/>
              <a:gd name="connsiteY44" fmla="*/ 3533775 h 4496940"/>
              <a:gd name="connsiteX45" fmla="*/ 4002427 w 4519987"/>
              <a:gd name="connsiteY45" fmla="*/ 3600450 h 4496940"/>
              <a:gd name="connsiteX46" fmla="*/ 3983377 w 4519987"/>
              <a:gd name="connsiteY46" fmla="*/ 3629025 h 4496940"/>
              <a:gd name="connsiteX47" fmla="*/ 3954802 w 4519987"/>
              <a:gd name="connsiteY47" fmla="*/ 3648075 h 4496940"/>
              <a:gd name="connsiteX48" fmla="*/ 3907177 w 4519987"/>
              <a:gd name="connsiteY48" fmla="*/ 3686175 h 4496940"/>
              <a:gd name="connsiteX49" fmla="*/ 3869077 w 4519987"/>
              <a:gd name="connsiteY49" fmla="*/ 3724275 h 4496940"/>
              <a:gd name="connsiteX50" fmla="*/ 3792877 w 4519987"/>
              <a:gd name="connsiteY50" fmla="*/ 3781425 h 4496940"/>
              <a:gd name="connsiteX51" fmla="*/ 3783352 w 4519987"/>
              <a:gd name="connsiteY51" fmla="*/ 3810000 h 4496940"/>
              <a:gd name="connsiteX52" fmla="*/ 3745252 w 4519987"/>
              <a:gd name="connsiteY52" fmla="*/ 3819525 h 4496940"/>
              <a:gd name="connsiteX53" fmla="*/ 3678577 w 4519987"/>
              <a:gd name="connsiteY53" fmla="*/ 3848100 h 4496940"/>
              <a:gd name="connsiteX54" fmla="*/ 3659527 w 4519987"/>
              <a:gd name="connsiteY54" fmla="*/ 3971925 h 4496940"/>
              <a:gd name="connsiteX55" fmla="*/ 3630952 w 4519987"/>
              <a:gd name="connsiteY55" fmla="*/ 4010025 h 4496940"/>
              <a:gd name="connsiteX56" fmla="*/ 3621427 w 4519987"/>
              <a:gd name="connsiteY56" fmla="*/ 4038600 h 4496940"/>
              <a:gd name="connsiteX57" fmla="*/ 3554752 w 4519987"/>
              <a:gd name="connsiteY57" fmla="*/ 4095750 h 4496940"/>
              <a:gd name="connsiteX58" fmla="*/ 3516652 w 4519987"/>
              <a:gd name="connsiteY58" fmla="*/ 4114800 h 4496940"/>
              <a:gd name="connsiteX59" fmla="*/ 3497602 w 4519987"/>
              <a:gd name="connsiteY59" fmla="*/ 4143375 h 4496940"/>
              <a:gd name="connsiteX60" fmla="*/ 3383302 w 4519987"/>
              <a:gd name="connsiteY60" fmla="*/ 4210050 h 4496940"/>
              <a:gd name="connsiteX61" fmla="*/ 3335677 w 4519987"/>
              <a:gd name="connsiteY61" fmla="*/ 4238625 h 4496940"/>
              <a:gd name="connsiteX62" fmla="*/ 3288052 w 4519987"/>
              <a:gd name="connsiteY62" fmla="*/ 4248150 h 4496940"/>
              <a:gd name="connsiteX63" fmla="*/ 3240427 w 4519987"/>
              <a:gd name="connsiteY63" fmla="*/ 4267200 h 4496940"/>
              <a:gd name="connsiteX64" fmla="*/ 3068977 w 4519987"/>
              <a:gd name="connsiteY64" fmla="*/ 4286250 h 4496940"/>
              <a:gd name="connsiteX65" fmla="*/ 2935627 w 4519987"/>
              <a:gd name="connsiteY65" fmla="*/ 4333875 h 4496940"/>
              <a:gd name="connsiteX66" fmla="*/ 2811802 w 4519987"/>
              <a:gd name="connsiteY66" fmla="*/ 4371975 h 4496940"/>
              <a:gd name="connsiteX67" fmla="*/ 2745127 w 4519987"/>
              <a:gd name="connsiteY67" fmla="*/ 4410075 h 4496940"/>
              <a:gd name="connsiteX68" fmla="*/ 2697502 w 4519987"/>
              <a:gd name="connsiteY68" fmla="*/ 4429125 h 4496940"/>
              <a:gd name="connsiteX69" fmla="*/ 2640352 w 4519987"/>
              <a:gd name="connsiteY69" fmla="*/ 4457700 h 4496940"/>
              <a:gd name="connsiteX70" fmla="*/ 2583202 w 4519987"/>
              <a:gd name="connsiteY70" fmla="*/ 4467225 h 4496940"/>
              <a:gd name="connsiteX71" fmla="*/ 2545102 w 4519987"/>
              <a:gd name="connsiteY71" fmla="*/ 4486275 h 4496940"/>
              <a:gd name="connsiteX72" fmla="*/ 2306977 w 4519987"/>
              <a:gd name="connsiteY72" fmla="*/ 4476750 h 4496940"/>
              <a:gd name="connsiteX73" fmla="*/ 2202202 w 4519987"/>
              <a:gd name="connsiteY73" fmla="*/ 4457700 h 4496940"/>
              <a:gd name="connsiteX74" fmla="*/ 2126002 w 4519987"/>
              <a:gd name="connsiteY74" fmla="*/ 4429125 h 4496940"/>
              <a:gd name="connsiteX75" fmla="*/ 1935502 w 4519987"/>
              <a:gd name="connsiteY75" fmla="*/ 4400550 h 4496940"/>
              <a:gd name="connsiteX76" fmla="*/ 1821202 w 4519987"/>
              <a:gd name="connsiteY76" fmla="*/ 4371975 h 4496940"/>
              <a:gd name="connsiteX77" fmla="*/ 1754527 w 4519987"/>
              <a:gd name="connsiteY77" fmla="*/ 4352925 h 4496940"/>
              <a:gd name="connsiteX78" fmla="*/ 1687852 w 4519987"/>
              <a:gd name="connsiteY78" fmla="*/ 4343400 h 4496940"/>
              <a:gd name="connsiteX79" fmla="*/ 1573552 w 4519987"/>
              <a:gd name="connsiteY79" fmla="*/ 4305300 h 4496940"/>
              <a:gd name="connsiteX80" fmla="*/ 1402102 w 4519987"/>
              <a:gd name="connsiteY80" fmla="*/ 4276725 h 4496940"/>
              <a:gd name="connsiteX81" fmla="*/ 1287802 w 4519987"/>
              <a:gd name="connsiteY81" fmla="*/ 4229100 h 4496940"/>
              <a:gd name="connsiteX82" fmla="*/ 1221127 w 4519987"/>
              <a:gd name="connsiteY82" fmla="*/ 4200525 h 4496940"/>
              <a:gd name="connsiteX83" fmla="*/ 1144927 w 4519987"/>
              <a:gd name="connsiteY83" fmla="*/ 4171950 h 4496940"/>
              <a:gd name="connsiteX84" fmla="*/ 1087777 w 4519987"/>
              <a:gd name="connsiteY84" fmla="*/ 4143375 h 4496940"/>
              <a:gd name="connsiteX85" fmla="*/ 1030627 w 4519987"/>
              <a:gd name="connsiteY85" fmla="*/ 4124325 h 4496940"/>
              <a:gd name="connsiteX86" fmla="*/ 925852 w 4519987"/>
              <a:gd name="connsiteY86" fmla="*/ 4067175 h 4496940"/>
              <a:gd name="connsiteX87" fmla="*/ 830602 w 4519987"/>
              <a:gd name="connsiteY87" fmla="*/ 3981450 h 4496940"/>
              <a:gd name="connsiteX88" fmla="*/ 763927 w 4519987"/>
              <a:gd name="connsiteY88" fmla="*/ 3914775 h 4496940"/>
              <a:gd name="connsiteX89" fmla="*/ 725827 w 4519987"/>
              <a:gd name="connsiteY89" fmla="*/ 3876675 h 4496940"/>
              <a:gd name="connsiteX90" fmla="*/ 697252 w 4519987"/>
              <a:gd name="connsiteY90" fmla="*/ 3838575 h 4496940"/>
              <a:gd name="connsiteX91" fmla="*/ 640102 w 4519987"/>
              <a:gd name="connsiteY91" fmla="*/ 3781425 h 4496940"/>
              <a:gd name="connsiteX92" fmla="*/ 611527 w 4519987"/>
              <a:gd name="connsiteY92" fmla="*/ 3733800 h 4496940"/>
              <a:gd name="connsiteX93" fmla="*/ 554377 w 4519987"/>
              <a:gd name="connsiteY93" fmla="*/ 3657600 h 4496940"/>
              <a:gd name="connsiteX94" fmla="*/ 525802 w 4519987"/>
              <a:gd name="connsiteY94" fmla="*/ 3609975 h 4496940"/>
              <a:gd name="connsiteX95" fmla="*/ 497227 w 4519987"/>
              <a:gd name="connsiteY95" fmla="*/ 3552825 h 4496940"/>
              <a:gd name="connsiteX96" fmla="*/ 440077 w 4519987"/>
              <a:gd name="connsiteY96" fmla="*/ 3495675 h 4496940"/>
              <a:gd name="connsiteX97" fmla="*/ 411502 w 4519987"/>
              <a:gd name="connsiteY97" fmla="*/ 3448050 h 4496940"/>
              <a:gd name="connsiteX98" fmla="*/ 278152 w 4519987"/>
              <a:gd name="connsiteY98" fmla="*/ 3257550 h 4496940"/>
              <a:gd name="connsiteX99" fmla="*/ 249577 w 4519987"/>
              <a:gd name="connsiteY99" fmla="*/ 3200400 h 4496940"/>
              <a:gd name="connsiteX100" fmla="*/ 240052 w 4519987"/>
              <a:gd name="connsiteY100" fmla="*/ 3162300 h 4496940"/>
              <a:gd name="connsiteX101" fmla="*/ 221002 w 4519987"/>
              <a:gd name="connsiteY101" fmla="*/ 3105150 h 4496940"/>
              <a:gd name="connsiteX102" fmla="*/ 173377 w 4519987"/>
              <a:gd name="connsiteY102" fmla="*/ 3019425 h 4496940"/>
              <a:gd name="connsiteX103" fmla="*/ 144802 w 4519987"/>
              <a:gd name="connsiteY103" fmla="*/ 2924175 h 4496940"/>
              <a:gd name="connsiteX104" fmla="*/ 68602 w 4519987"/>
              <a:gd name="connsiteY104" fmla="*/ 2724150 h 4496940"/>
              <a:gd name="connsiteX105" fmla="*/ 49552 w 4519987"/>
              <a:gd name="connsiteY105" fmla="*/ 2638425 h 4496940"/>
              <a:gd name="connsiteX106" fmla="*/ 40027 w 4519987"/>
              <a:gd name="connsiteY106" fmla="*/ 2562225 h 4496940"/>
              <a:gd name="connsiteX107" fmla="*/ 30502 w 4519987"/>
              <a:gd name="connsiteY107" fmla="*/ 2514600 h 4496940"/>
              <a:gd name="connsiteX108" fmla="*/ 11452 w 4519987"/>
              <a:gd name="connsiteY108" fmla="*/ 2400300 h 4496940"/>
              <a:gd name="connsiteX109" fmla="*/ 20977 w 4519987"/>
              <a:gd name="connsiteY109" fmla="*/ 1905000 h 4496940"/>
              <a:gd name="connsiteX110" fmla="*/ 30502 w 4519987"/>
              <a:gd name="connsiteY110" fmla="*/ 1838325 h 4496940"/>
              <a:gd name="connsiteX111" fmla="*/ 49552 w 4519987"/>
              <a:gd name="connsiteY111" fmla="*/ 1781175 h 4496940"/>
              <a:gd name="connsiteX112" fmla="*/ 59077 w 4519987"/>
              <a:gd name="connsiteY112" fmla="*/ 1743075 h 4496940"/>
              <a:gd name="connsiteX113" fmla="*/ 78127 w 4519987"/>
              <a:gd name="connsiteY113" fmla="*/ 1685925 h 4496940"/>
              <a:gd name="connsiteX114" fmla="*/ 87652 w 4519987"/>
              <a:gd name="connsiteY114" fmla="*/ 1638300 h 4496940"/>
              <a:gd name="connsiteX115" fmla="*/ 106702 w 4519987"/>
              <a:gd name="connsiteY115" fmla="*/ 1590675 h 4496940"/>
              <a:gd name="connsiteX116" fmla="*/ 135277 w 4519987"/>
              <a:gd name="connsiteY116" fmla="*/ 1504950 h 4496940"/>
              <a:gd name="connsiteX117" fmla="*/ 154327 w 4519987"/>
              <a:gd name="connsiteY117" fmla="*/ 1419225 h 4496940"/>
              <a:gd name="connsiteX118" fmla="*/ 230527 w 4519987"/>
              <a:gd name="connsiteY118" fmla="*/ 1276350 h 4496940"/>
              <a:gd name="connsiteX119" fmla="*/ 240052 w 4519987"/>
              <a:gd name="connsiteY119" fmla="*/ 1247775 h 4496940"/>
              <a:gd name="connsiteX120" fmla="*/ 268627 w 4519987"/>
              <a:gd name="connsiteY120" fmla="*/ 1200150 h 4496940"/>
              <a:gd name="connsiteX121" fmla="*/ 287677 w 4519987"/>
              <a:gd name="connsiteY121" fmla="*/ 1152525 h 4496940"/>
              <a:gd name="connsiteX122" fmla="*/ 316252 w 4519987"/>
              <a:gd name="connsiteY122" fmla="*/ 1114425 h 4496940"/>
              <a:gd name="connsiteX123" fmla="*/ 363877 w 4519987"/>
              <a:gd name="connsiteY123" fmla="*/ 1038225 h 4496940"/>
              <a:gd name="connsiteX124" fmla="*/ 382927 w 4519987"/>
              <a:gd name="connsiteY124" fmla="*/ 1009650 h 4496940"/>
              <a:gd name="connsiteX125" fmla="*/ 440077 w 4519987"/>
              <a:gd name="connsiteY125" fmla="*/ 904875 h 4496940"/>
              <a:gd name="connsiteX126" fmla="*/ 478177 w 4519987"/>
              <a:gd name="connsiteY126" fmla="*/ 857250 h 4496940"/>
              <a:gd name="connsiteX127" fmla="*/ 497227 w 4519987"/>
              <a:gd name="connsiteY127" fmla="*/ 828675 h 4496940"/>
              <a:gd name="connsiteX128" fmla="*/ 535327 w 4519987"/>
              <a:gd name="connsiteY128" fmla="*/ 800100 h 4496940"/>
              <a:gd name="connsiteX129" fmla="*/ 602002 w 4519987"/>
              <a:gd name="connsiteY129" fmla="*/ 733425 h 4496940"/>
              <a:gd name="connsiteX130" fmla="*/ 668677 w 4519987"/>
              <a:gd name="connsiteY130" fmla="*/ 676275 h 4496940"/>
              <a:gd name="connsiteX131" fmla="*/ 697252 w 4519987"/>
              <a:gd name="connsiteY131" fmla="*/ 657225 h 4496940"/>
              <a:gd name="connsiteX132" fmla="*/ 840127 w 4519987"/>
              <a:gd name="connsiteY132" fmla="*/ 533400 h 4496940"/>
              <a:gd name="connsiteX133" fmla="*/ 887752 w 4519987"/>
              <a:gd name="connsiteY133" fmla="*/ 504825 h 4496940"/>
              <a:gd name="connsiteX134" fmla="*/ 1167152 w 4519987"/>
              <a:gd name="connsiteY134" fmla="*/ 311150 h 4496940"/>
              <a:gd name="connsiteX135" fmla="*/ 1268752 w 4519987"/>
              <a:gd name="connsiteY135" fmla="*/ 285750 h 4496940"/>
              <a:gd name="connsiteX136" fmla="*/ 1411627 w 4519987"/>
              <a:gd name="connsiteY136" fmla="*/ 190500 h 4496940"/>
              <a:gd name="connsiteX137" fmla="*/ 1449727 w 4519987"/>
              <a:gd name="connsiteY137" fmla="*/ 161925 h 4496940"/>
              <a:gd name="connsiteX138" fmla="*/ 1525927 w 4519987"/>
              <a:gd name="connsiteY138" fmla="*/ 152400 h 4496940"/>
              <a:gd name="connsiteX139" fmla="*/ 1583077 w 4519987"/>
              <a:gd name="connsiteY139" fmla="*/ 142875 h 4496940"/>
              <a:gd name="connsiteX140" fmla="*/ 1716427 w 4519987"/>
              <a:gd name="connsiteY140" fmla="*/ 123825 h 4496940"/>
              <a:gd name="connsiteX141" fmla="*/ 1811677 w 4519987"/>
              <a:gd name="connsiteY141" fmla="*/ 114300 h 4496940"/>
              <a:gd name="connsiteX142" fmla="*/ 1859302 w 4519987"/>
              <a:gd name="connsiteY142" fmla="*/ 104775 h 4496940"/>
              <a:gd name="connsiteX143" fmla="*/ 1916452 w 4519987"/>
              <a:gd name="connsiteY143" fmla="*/ 95250 h 4496940"/>
              <a:gd name="connsiteX144" fmla="*/ 2030752 w 4519987"/>
              <a:gd name="connsiteY144" fmla="*/ 66675 h 4496940"/>
              <a:gd name="connsiteX145" fmla="*/ 2097427 w 4519987"/>
              <a:gd name="connsiteY145" fmla="*/ 47625 h 4496940"/>
              <a:gd name="connsiteX146" fmla="*/ 2164102 w 4519987"/>
              <a:gd name="connsiteY146" fmla="*/ 38100 h 4496940"/>
              <a:gd name="connsiteX147" fmla="*/ 2392702 w 4519987"/>
              <a:gd name="connsiteY14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202452 w 4519987"/>
              <a:gd name="connsiteY24" fmla="*/ 1085850 h 4496940"/>
              <a:gd name="connsiteX25" fmla="*/ 4250077 w 4519987"/>
              <a:gd name="connsiteY25" fmla="*/ 1143000 h 4496940"/>
              <a:gd name="connsiteX26" fmla="*/ 4259602 w 4519987"/>
              <a:gd name="connsiteY26" fmla="*/ 1190625 h 4496940"/>
              <a:gd name="connsiteX27" fmla="*/ 4307227 w 4519987"/>
              <a:gd name="connsiteY27" fmla="*/ 1266825 h 4496940"/>
              <a:gd name="connsiteX28" fmla="*/ 4345327 w 4519987"/>
              <a:gd name="connsiteY28" fmla="*/ 1362075 h 4496940"/>
              <a:gd name="connsiteX29" fmla="*/ 4373902 w 4519987"/>
              <a:gd name="connsiteY29" fmla="*/ 1428750 h 4496940"/>
              <a:gd name="connsiteX30" fmla="*/ 4392952 w 4519987"/>
              <a:gd name="connsiteY30" fmla="*/ 1552575 h 4496940"/>
              <a:gd name="connsiteX31" fmla="*/ 4402477 w 4519987"/>
              <a:gd name="connsiteY31" fmla="*/ 1590675 h 4496940"/>
              <a:gd name="connsiteX32" fmla="*/ 4431052 w 4519987"/>
              <a:gd name="connsiteY32" fmla="*/ 1685925 h 4496940"/>
              <a:gd name="connsiteX33" fmla="*/ 4519952 w 4519987"/>
              <a:gd name="connsiteY33" fmla="*/ 2181225 h 4496940"/>
              <a:gd name="connsiteX34" fmla="*/ 4446927 w 4519987"/>
              <a:gd name="connsiteY34" fmla="*/ 2768600 h 4496940"/>
              <a:gd name="connsiteX35" fmla="*/ 4383427 w 4519987"/>
              <a:gd name="connsiteY35" fmla="*/ 2990850 h 4496940"/>
              <a:gd name="connsiteX36" fmla="*/ 4278652 w 4519987"/>
              <a:gd name="connsiteY36" fmla="*/ 3248025 h 4496940"/>
              <a:gd name="connsiteX37" fmla="*/ 4259602 w 4519987"/>
              <a:gd name="connsiteY37" fmla="*/ 3276600 h 4496940"/>
              <a:gd name="connsiteX38" fmla="*/ 4221502 w 4519987"/>
              <a:gd name="connsiteY38" fmla="*/ 3333750 h 4496940"/>
              <a:gd name="connsiteX39" fmla="*/ 4211977 w 4519987"/>
              <a:gd name="connsiteY39" fmla="*/ 3362325 h 4496940"/>
              <a:gd name="connsiteX40" fmla="*/ 4183402 w 4519987"/>
              <a:gd name="connsiteY40" fmla="*/ 3400425 h 4496940"/>
              <a:gd name="connsiteX41" fmla="*/ 4164352 w 4519987"/>
              <a:gd name="connsiteY41" fmla="*/ 3429000 h 4496940"/>
              <a:gd name="connsiteX42" fmla="*/ 4088152 w 4519987"/>
              <a:gd name="connsiteY42" fmla="*/ 3495675 h 4496940"/>
              <a:gd name="connsiteX43" fmla="*/ 4059577 w 4519987"/>
              <a:gd name="connsiteY43" fmla="*/ 3533775 h 4496940"/>
              <a:gd name="connsiteX44" fmla="*/ 4002427 w 4519987"/>
              <a:gd name="connsiteY44" fmla="*/ 3600450 h 4496940"/>
              <a:gd name="connsiteX45" fmla="*/ 3983377 w 4519987"/>
              <a:gd name="connsiteY45" fmla="*/ 3629025 h 4496940"/>
              <a:gd name="connsiteX46" fmla="*/ 3954802 w 4519987"/>
              <a:gd name="connsiteY46" fmla="*/ 3648075 h 4496940"/>
              <a:gd name="connsiteX47" fmla="*/ 3907177 w 4519987"/>
              <a:gd name="connsiteY47" fmla="*/ 3686175 h 4496940"/>
              <a:gd name="connsiteX48" fmla="*/ 3869077 w 4519987"/>
              <a:gd name="connsiteY48" fmla="*/ 3724275 h 4496940"/>
              <a:gd name="connsiteX49" fmla="*/ 3792877 w 4519987"/>
              <a:gd name="connsiteY49" fmla="*/ 3781425 h 4496940"/>
              <a:gd name="connsiteX50" fmla="*/ 3783352 w 4519987"/>
              <a:gd name="connsiteY50" fmla="*/ 3810000 h 4496940"/>
              <a:gd name="connsiteX51" fmla="*/ 3745252 w 4519987"/>
              <a:gd name="connsiteY51" fmla="*/ 3819525 h 4496940"/>
              <a:gd name="connsiteX52" fmla="*/ 3678577 w 4519987"/>
              <a:gd name="connsiteY52" fmla="*/ 3848100 h 4496940"/>
              <a:gd name="connsiteX53" fmla="*/ 3659527 w 4519987"/>
              <a:gd name="connsiteY53" fmla="*/ 3971925 h 4496940"/>
              <a:gd name="connsiteX54" fmla="*/ 3630952 w 4519987"/>
              <a:gd name="connsiteY54" fmla="*/ 4010025 h 4496940"/>
              <a:gd name="connsiteX55" fmla="*/ 3621427 w 4519987"/>
              <a:gd name="connsiteY55" fmla="*/ 4038600 h 4496940"/>
              <a:gd name="connsiteX56" fmla="*/ 3554752 w 4519987"/>
              <a:gd name="connsiteY56" fmla="*/ 4095750 h 4496940"/>
              <a:gd name="connsiteX57" fmla="*/ 3516652 w 4519987"/>
              <a:gd name="connsiteY57" fmla="*/ 4114800 h 4496940"/>
              <a:gd name="connsiteX58" fmla="*/ 3497602 w 4519987"/>
              <a:gd name="connsiteY58" fmla="*/ 4143375 h 4496940"/>
              <a:gd name="connsiteX59" fmla="*/ 3383302 w 4519987"/>
              <a:gd name="connsiteY59" fmla="*/ 4210050 h 4496940"/>
              <a:gd name="connsiteX60" fmla="*/ 3335677 w 4519987"/>
              <a:gd name="connsiteY60" fmla="*/ 4238625 h 4496940"/>
              <a:gd name="connsiteX61" fmla="*/ 3288052 w 4519987"/>
              <a:gd name="connsiteY61" fmla="*/ 4248150 h 4496940"/>
              <a:gd name="connsiteX62" fmla="*/ 3240427 w 4519987"/>
              <a:gd name="connsiteY62" fmla="*/ 4267200 h 4496940"/>
              <a:gd name="connsiteX63" fmla="*/ 3068977 w 4519987"/>
              <a:gd name="connsiteY63" fmla="*/ 4286250 h 4496940"/>
              <a:gd name="connsiteX64" fmla="*/ 2935627 w 4519987"/>
              <a:gd name="connsiteY64" fmla="*/ 4333875 h 4496940"/>
              <a:gd name="connsiteX65" fmla="*/ 2811802 w 4519987"/>
              <a:gd name="connsiteY65" fmla="*/ 4371975 h 4496940"/>
              <a:gd name="connsiteX66" fmla="*/ 2745127 w 4519987"/>
              <a:gd name="connsiteY66" fmla="*/ 4410075 h 4496940"/>
              <a:gd name="connsiteX67" fmla="*/ 2697502 w 4519987"/>
              <a:gd name="connsiteY67" fmla="*/ 4429125 h 4496940"/>
              <a:gd name="connsiteX68" fmla="*/ 2640352 w 4519987"/>
              <a:gd name="connsiteY68" fmla="*/ 4457700 h 4496940"/>
              <a:gd name="connsiteX69" fmla="*/ 2583202 w 4519987"/>
              <a:gd name="connsiteY69" fmla="*/ 4467225 h 4496940"/>
              <a:gd name="connsiteX70" fmla="*/ 2545102 w 4519987"/>
              <a:gd name="connsiteY70" fmla="*/ 4486275 h 4496940"/>
              <a:gd name="connsiteX71" fmla="*/ 2306977 w 4519987"/>
              <a:gd name="connsiteY71" fmla="*/ 4476750 h 4496940"/>
              <a:gd name="connsiteX72" fmla="*/ 2202202 w 4519987"/>
              <a:gd name="connsiteY72" fmla="*/ 4457700 h 4496940"/>
              <a:gd name="connsiteX73" fmla="*/ 2126002 w 4519987"/>
              <a:gd name="connsiteY73" fmla="*/ 4429125 h 4496940"/>
              <a:gd name="connsiteX74" fmla="*/ 1935502 w 4519987"/>
              <a:gd name="connsiteY74" fmla="*/ 4400550 h 4496940"/>
              <a:gd name="connsiteX75" fmla="*/ 1821202 w 4519987"/>
              <a:gd name="connsiteY75" fmla="*/ 4371975 h 4496940"/>
              <a:gd name="connsiteX76" fmla="*/ 1754527 w 4519987"/>
              <a:gd name="connsiteY76" fmla="*/ 4352925 h 4496940"/>
              <a:gd name="connsiteX77" fmla="*/ 1687852 w 4519987"/>
              <a:gd name="connsiteY77" fmla="*/ 4343400 h 4496940"/>
              <a:gd name="connsiteX78" fmla="*/ 1573552 w 4519987"/>
              <a:gd name="connsiteY78" fmla="*/ 4305300 h 4496940"/>
              <a:gd name="connsiteX79" fmla="*/ 1402102 w 4519987"/>
              <a:gd name="connsiteY79" fmla="*/ 4276725 h 4496940"/>
              <a:gd name="connsiteX80" fmla="*/ 1287802 w 4519987"/>
              <a:gd name="connsiteY80" fmla="*/ 4229100 h 4496940"/>
              <a:gd name="connsiteX81" fmla="*/ 1221127 w 4519987"/>
              <a:gd name="connsiteY81" fmla="*/ 4200525 h 4496940"/>
              <a:gd name="connsiteX82" fmla="*/ 1144927 w 4519987"/>
              <a:gd name="connsiteY82" fmla="*/ 4171950 h 4496940"/>
              <a:gd name="connsiteX83" fmla="*/ 1087777 w 4519987"/>
              <a:gd name="connsiteY83" fmla="*/ 4143375 h 4496940"/>
              <a:gd name="connsiteX84" fmla="*/ 1030627 w 4519987"/>
              <a:gd name="connsiteY84" fmla="*/ 4124325 h 4496940"/>
              <a:gd name="connsiteX85" fmla="*/ 925852 w 4519987"/>
              <a:gd name="connsiteY85" fmla="*/ 4067175 h 4496940"/>
              <a:gd name="connsiteX86" fmla="*/ 830602 w 4519987"/>
              <a:gd name="connsiteY86" fmla="*/ 3981450 h 4496940"/>
              <a:gd name="connsiteX87" fmla="*/ 763927 w 4519987"/>
              <a:gd name="connsiteY87" fmla="*/ 3914775 h 4496940"/>
              <a:gd name="connsiteX88" fmla="*/ 725827 w 4519987"/>
              <a:gd name="connsiteY88" fmla="*/ 3876675 h 4496940"/>
              <a:gd name="connsiteX89" fmla="*/ 697252 w 4519987"/>
              <a:gd name="connsiteY89" fmla="*/ 3838575 h 4496940"/>
              <a:gd name="connsiteX90" fmla="*/ 640102 w 4519987"/>
              <a:gd name="connsiteY90" fmla="*/ 3781425 h 4496940"/>
              <a:gd name="connsiteX91" fmla="*/ 611527 w 4519987"/>
              <a:gd name="connsiteY91" fmla="*/ 3733800 h 4496940"/>
              <a:gd name="connsiteX92" fmla="*/ 554377 w 4519987"/>
              <a:gd name="connsiteY92" fmla="*/ 3657600 h 4496940"/>
              <a:gd name="connsiteX93" fmla="*/ 525802 w 4519987"/>
              <a:gd name="connsiteY93" fmla="*/ 3609975 h 4496940"/>
              <a:gd name="connsiteX94" fmla="*/ 497227 w 4519987"/>
              <a:gd name="connsiteY94" fmla="*/ 3552825 h 4496940"/>
              <a:gd name="connsiteX95" fmla="*/ 440077 w 4519987"/>
              <a:gd name="connsiteY95" fmla="*/ 3495675 h 4496940"/>
              <a:gd name="connsiteX96" fmla="*/ 411502 w 4519987"/>
              <a:gd name="connsiteY96" fmla="*/ 3448050 h 4496940"/>
              <a:gd name="connsiteX97" fmla="*/ 278152 w 4519987"/>
              <a:gd name="connsiteY97" fmla="*/ 3257550 h 4496940"/>
              <a:gd name="connsiteX98" fmla="*/ 249577 w 4519987"/>
              <a:gd name="connsiteY98" fmla="*/ 3200400 h 4496940"/>
              <a:gd name="connsiteX99" fmla="*/ 240052 w 4519987"/>
              <a:gd name="connsiteY99" fmla="*/ 3162300 h 4496940"/>
              <a:gd name="connsiteX100" fmla="*/ 221002 w 4519987"/>
              <a:gd name="connsiteY100" fmla="*/ 3105150 h 4496940"/>
              <a:gd name="connsiteX101" fmla="*/ 173377 w 4519987"/>
              <a:gd name="connsiteY101" fmla="*/ 3019425 h 4496940"/>
              <a:gd name="connsiteX102" fmla="*/ 144802 w 4519987"/>
              <a:gd name="connsiteY102" fmla="*/ 2924175 h 4496940"/>
              <a:gd name="connsiteX103" fmla="*/ 68602 w 4519987"/>
              <a:gd name="connsiteY103" fmla="*/ 2724150 h 4496940"/>
              <a:gd name="connsiteX104" fmla="*/ 49552 w 4519987"/>
              <a:gd name="connsiteY104" fmla="*/ 2638425 h 4496940"/>
              <a:gd name="connsiteX105" fmla="*/ 40027 w 4519987"/>
              <a:gd name="connsiteY105" fmla="*/ 2562225 h 4496940"/>
              <a:gd name="connsiteX106" fmla="*/ 30502 w 4519987"/>
              <a:gd name="connsiteY106" fmla="*/ 2514600 h 4496940"/>
              <a:gd name="connsiteX107" fmla="*/ 11452 w 4519987"/>
              <a:gd name="connsiteY107" fmla="*/ 2400300 h 4496940"/>
              <a:gd name="connsiteX108" fmla="*/ 20977 w 4519987"/>
              <a:gd name="connsiteY108" fmla="*/ 1905000 h 4496940"/>
              <a:gd name="connsiteX109" fmla="*/ 30502 w 4519987"/>
              <a:gd name="connsiteY109" fmla="*/ 1838325 h 4496940"/>
              <a:gd name="connsiteX110" fmla="*/ 49552 w 4519987"/>
              <a:gd name="connsiteY110" fmla="*/ 1781175 h 4496940"/>
              <a:gd name="connsiteX111" fmla="*/ 59077 w 4519987"/>
              <a:gd name="connsiteY111" fmla="*/ 1743075 h 4496940"/>
              <a:gd name="connsiteX112" fmla="*/ 78127 w 4519987"/>
              <a:gd name="connsiteY112" fmla="*/ 1685925 h 4496940"/>
              <a:gd name="connsiteX113" fmla="*/ 87652 w 4519987"/>
              <a:gd name="connsiteY113" fmla="*/ 1638300 h 4496940"/>
              <a:gd name="connsiteX114" fmla="*/ 106702 w 4519987"/>
              <a:gd name="connsiteY114" fmla="*/ 1590675 h 4496940"/>
              <a:gd name="connsiteX115" fmla="*/ 135277 w 4519987"/>
              <a:gd name="connsiteY115" fmla="*/ 1504950 h 4496940"/>
              <a:gd name="connsiteX116" fmla="*/ 154327 w 4519987"/>
              <a:gd name="connsiteY116" fmla="*/ 1419225 h 4496940"/>
              <a:gd name="connsiteX117" fmla="*/ 230527 w 4519987"/>
              <a:gd name="connsiteY117" fmla="*/ 1276350 h 4496940"/>
              <a:gd name="connsiteX118" fmla="*/ 240052 w 4519987"/>
              <a:gd name="connsiteY118" fmla="*/ 1247775 h 4496940"/>
              <a:gd name="connsiteX119" fmla="*/ 268627 w 4519987"/>
              <a:gd name="connsiteY119" fmla="*/ 1200150 h 4496940"/>
              <a:gd name="connsiteX120" fmla="*/ 287677 w 4519987"/>
              <a:gd name="connsiteY120" fmla="*/ 1152525 h 4496940"/>
              <a:gd name="connsiteX121" fmla="*/ 316252 w 4519987"/>
              <a:gd name="connsiteY121" fmla="*/ 1114425 h 4496940"/>
              <a:gd name="connsiteX122" fmla="*/ 363877 w 4519987"/>
              <a:gd name="connsiteY122" fmla="*/ 1038225 h 4496940"/>
              <a:gd name="connsiteX123" fmla="*/ 382927 w 4519987"/>
              <a:gd name="connsiteY123" fmla="*/ 1009650 h 4496940"/>
              <a:gd name="connsiteX124" fmla="*/ 440077 w 4519987"/>
              <a:gd name="connsiteY124" fmla="*/ 904875 h 4496940"/>
              <a:gd name="connsiteX125" fmla="*/ 478177 w 4519987"/>
              <a:gd name="connsiteY125" fmla="*/ 857250 h 4496940"/>
              <a:gd name="connsiteX126" fmla="*/ 497227 w 4519987"/>
              <a:gd name="connsiteY126" fmla="*/ 828675 h 4496940"/>
              <a:gd name="connsiteX127" fmla="*/ 535327 w 4519987"/>
              <a:gd name="connsiteY127" fmla="*/ 800100 h 4496940"/>
              <a:gd name="connsiteX128" fmla="*/ 602002 w 4519987"/>
              <a:gd name="connsiteY128" fmla="*/ 733425 h 4496940"/>
              <a:gd name="connsiteX129" fmla="*/ 668677 w 4519987"/>
              <a:gd name="connsiteY129" fmla="*/ 676275 h 4496940"/>
              <a:gd name="connsiteX130" fmla="*/ 697252 w 4519987"/>
              <a:gd name="connsiteY130" fmla="*/ 657225 h 4496940"/>
              <a:gd name="connsiteX131" fmla="*/ 840127 w 4519987"/>
              <a:gd name="connsiteY131" fmla="*/ 533400 h 4496940"/>
              <a:gd name="connsiteX132" fmla="*/ 887752 w 4519987"/>
              <a:gd name="connsiteY132" fmla="*/ 504825 h 4496940"/>
              <a:gd name="connsiteX133" fmla="*/ 1167152 w 4519987"/>
              <a:gd name="connsiteY133" fmla="*/ 311150 h 4496940"/>
              <a:gd name="connsiteX134" fmla="*/ 1268752 w 4519987"/>
              <a:gd name="connsiteY134" fmla="*/ 285750 h 4496940"/>
              <a:gd name="connsiteX135" fmla="*/ 1411627 w 4519987"/>
              <a:gd name="connsiteY135" fmla="*/ 190500 h 4496940"/>
              <a:gd name="connsiteX136" fmla="*/ 1449727 w 4519987"/>
              <a:gd name="connsiteY136" fmla="*/ 161925 h 4496940"/>
              <a:gd name="connsiteX137" fmla="*/ 1525927 w 4519987"/>
              <a:gd name="connsiteY137" fmla="*/ 152400 h 4496940"/>
              <a:gd name="connsiteX138" fmla="*/ 1583077 w 4519987"/>
              <a:gd name="connsiteY138" fmla="*/ 142875 h 4496940"/>
              <a:gd name="connsiteX139" fmla="*/ 1716427 w 4519987"/>
              <a:gd name="connsiteY139" fmla="*/ 123825 h 4496940"/>
              <a:gd name="connsiteX140" fmla="*/ 1811677 w 4519987"/>
              <a:gd name="connsiteY140" fmla="*/ 114300 h 4496940"/>
              <a:gd name="connsiteX141" fmla="*/ 1859302 w 4519987"/>
              <a:gd name="connsiteY141" fmla="*/ 104775 h 4496940"/>
              <a:gd name="connsiteX142" fmla="*/ 1916452 w 4519987"/>
              <a:gd name="connsiteY142" fmla="*/ 95250 h 4496940"/>
              <a:gd name="connsiteX143" fmla="*/ 2030752 w 4519987"/>
              <a:gd name="connsiteY143" fmla="*/ 66675 h 4496940"/>
              <a:gd name="connsiteX144" fmla="*/ 2097427 w 4519987"/>
              <a:gd name="connsiteY144" fmla="*/ 47625 h 4496940"/>
              <a:gd name="connsiteX145" fmla="*/ 2164102 w 4519987"/>
              <a:gd name="connsiteY145" fmla="*/ 38100 h 4496940"/>
              <a:gd name="connsiteX146" fmla="*/ 2392702 w 4519987"/>
              <a:gd name="connsiteY14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250077 w 4519987"/>
              <a:gd name="connsiteY24" fmla="*/ 1143000 h 4496940"/>
              <a:gd name="connsiteX25" fmla="*/ 4259602 w 4519987"/>
              <a:gd name="connsiteY25" fmla="*/ 1190625 h 4496940"/>
              <a:gd name="connsiteX26" fmla="*/ 4307227 w 4519987"/>
              <a:gd name="connsiteY26" fmla="*/ 1266825 h 4496940"/>
              <a:gd name="connsiteX27" fmla="*/ 4345327 w 4519987"/>
              <a:gd name="connsiteY27" fmla="*/ 1362075 h 4496940"/>
              <a:gd name="connsiteX28" fmla="*/ 4373902 w 4519987"/>
              <a:gd name="connsiteY28" fmla="*/ 1428750 h 4496940"/>
              <a:gd name="connsiteX29" fmla="*/ 4392952 w 4519987"/>
              <a:gd name="connsiteY29" fmla="*/ 1552575 h 4496940"/>
              <a:gd name="connsiteX30" fmla="*/ 4402477 w 4519987"/>
              <a:gd name="connsiteY30" fmla="*/ 1590675 h 4496940"/>
              <a:gd name="connsiteX31" fmla="*/ 4431052 w 4519987"/>
              <a:gd name="connsiteY31" fmla="*/ 1685925 h 4496940"/>
              <a:gd name="connsiteX32" fmla="*/ 4519952 w 4519987"/>
              <a:gd name="connsiteY32" fmla="*/ 2181225 h 4496940"/>
              <a:gd name="connsiteX33" fmla="*/ 4446927 w 4519987"/>
              <a:gd name="connsiteY33" fmla="*/ 2768600 h 4496940"/>
              <a:gd name="connsiteX34" fmla="*/ 4383427 w 4519987"/>
              <a:gd name="connsiteY34" fmla="*/ 2990850 h 4496940"/>
              <a:gd name="connsiteX35" fmla="*/ 4278652 w 4519987"/>
              <a:gd name="connsiteY35" fmla="*/ 3248025 h 4496940"/>
              <a:gd name="connsiteX36" fmla="*/ 4259602 w 4519987"/>
              <a:gd name="connsiteY36" fmla="*/ 3276600 h 4496940"/>
              <a:gd name="connsiteX37" fmla="*/ 4221502 w 4519987"/>
              <a:gd name="connsiteY37" fmla="*/ 3333750 h 4496940"/>
              <a:gd name="connsiteX38" fmla="*/ 4211977 w 4519987"/>
              <a:gd name="connsiteY38" fmla="*/ 3362325 h 4496940"/>
              <a:gd name="connsiteX39" fmla="*/ 4183402 w 4519987"/>
              <a:gd name="connsiteY39" fmla="*/ 3400425 h 4496940"/>
              <a:gd name="connsiteX40" fmla="*/ 4164352 w 4519987"/>
              <a:gd name="connsiteY40" fmla="*/ 3429000 h 4496940"/>
              <a:gd name="connsiteX41" fmla="*/ 4088152 w 4519987"/>
              <a:gd name="connsiteY41" fmla="*/ 3495675 h 4496940"/>
              <a:gd name="connsiteX42" fmla="*/ 4059577 w 4519987"/>
              <a:gd name="connsiteY42" fmla="*/ 3533775 h 4496940"/>
              <a:gd name="connsiteX43" fmla="*/ 4002427 w 4519987"/>
              <a:gd name="connsiteY43" fmla="*/ 3600450 h 4496940"/>
              <a:gd name="connsiteX44" fmla="*/ 3983377 w 4519987"/>
              <a:gd name="connsiteY44" fmla="*/ 3629025 h 4496940"/>
              <a:gd name="connsiteX45" fmla="*/ 3954802 w 4519987"/>
              <a:gd name="connsiteY45" fmla="*/ 3648075 h 4496940"/>
              <a:gd name="connsiteX46" fmla="*/ 3907177 w 4519987"/>
              <a:gd name="connsiteY46" fmla="*/ 3686175 h 4496940"/>
              <a:gd name="connsiteX47" fmla="*/ 3869077 w 4519987"/>
              <a:gd name="connsiteY47" fmla="*/ 3724275 h 4496940"/>
              <a:gd name="connsiteX48" fmla="*/ 3792877 w 4519987"/>
              <a:gd name="connsiteY48" fmla="*/ 3781425 h 4496940"/>
              <a:gd name="connsiteX49" fmla="*/ 3783352 w 4519987"/>
              <a:gd name="connsiteY49" fmla="*/ 3810000 h 4496940"/>
              <a:gd name="connsiteX50" fmla="*/ 3745252 w 4519987"/>
              <a:gd name="connsiteY50" fmla="*/ 3819525 h 4496940"/>
              <a:gd name="connsiteX51" fmla="*/ 3678577 w 4519987"/>
              <a:gd name="connsiteY51" fmla="*/ 3848100 h 4496940"/>
              <a:gd name="connsiteX52" fmla="*/ 3659527 w 4519987"/>
              <a:gd name="connsiteY52" fmla="*/ 3971925 h 4496940"/>
              <a:gd name="connsiteX53" fmla="*/ 3630952 w 4519987"/>
              <a:gd name="connsiteY53" fmla="*/ 4010025 h 4496940"/>
              <a:gd name="connsiteX54" fmla="*/ 3621427 w 4519987"/>
              <a:gd name="connsiteY54" fmla="*/ 4038600 h 4496940"/>
              <a:gd name="connsiteX55" fmla="*/ 3554752 w 4519987"/>
              <a:gd name="connsiteY55" fmla="*/ 4095750 h 4496940"/>
              <a:gd name="connsiteX56" fmla="*/ 3516652 w 4519987"/>
              <a:gd name="connsiteY56" fmla="*/ 4114800 h 4496940"/>
              <a:gd name="connsiteX57" fmla="*/ 3497602 w 4519987"/>
              <a:gd name="connsiteY57" fmla="*/ 4143375 h 4496940"/>
              <a:gd name="connsiteX58" fmla="*/ 3383302 w 4519987"/>
              <a:gd name="connsiteY58" fmla="*/ 4210050 h 4496940"/>
              <a:gd name="connsiteX59" fmla="*/ 3335677 w 4519987"/>
              <a:gd name="connsiteY59" fmla="*/ 4238625 h 4496940"/>
              <a:gd name="connsiteX60" fmla="*/ 3288052 w 4519987"/>
              <a:gd name="connsiteY60" fmla="*/ 4248150 h 4496940"/>
              <a:gd name="connsiteX61" fmla="*/ 3240427 w 4519987"/>
              <a:gd name="connsiteY61" fmla="*/ 4267200 h 4496940"/>
              <a:gd name="connsiteX62" fmla="*/ 3068977 w 4519987"/>
              <a:gd name="connsiteY62" fmla="*/ 4286250 h 4496940"/>
              <a:gd name="connsiteX63" fmla="*/ 2935627 w 4519987"/>
              <a:gd name="connsiteY63" fmla="*/ 4333875 h 4496940"/>
              <a:gd name="connsiteX64" fmla="*/ 2811802 w 4519987"/>
              <a:gd name="connsiteY64" fmla="*/ 4371975 h 4496940"/>
              <a:gd name="connsiteX65" fmla="*/ 2745127 w 4519987"/>
              <a:gd name="connsiteY65" fmla="*/ 4410075 h 4496940"/>
              <a:gd name="connsiteX66" fmla="*/ 2697502 w 4519987"/>
              <a:gd name="connsiteY66" fmla="*/ 4429125 h 4496940"/>
              <a:gd name="connsiteX67" fmla="*/ 2640352 w 4519987"/>
              <a:gd name="connsiteY67" fmla="*/ 4457700 h 4496940"/>
              <a:gd name="connsiteX68" fmla="*/ 2583202 w 4519987"/>
              <a:gd name="connsiteY68" fmla="*/ 4467225 h 4496940"/>
              <a:gd name="connsiteX69" fmla="*/ 2545102 w 4519987"/>
              <a:gd name="connsiteY69" fmla="*/ 4486275 h 4496940"/>
              <a:gd name="connsiteX70" fmla="*/ 2306977 w 4519987"/>
              <a:gd name="connsiteY70" fmla="*/ 4476750 h 4496940"/>
              <a:gd name="connsiteX71" fmla="*/ 2202202 w 4519987"/>
              <a:gd name="connsiteY71" fmla="*/ 4457700 h 4496940"/>
              <a:gd name="connsiteX72" fmla="*/ 2126002 w 4519987"/>
              <a:gd name="connsiteY72" fmla="*/ 4429125 h 4496940"/>
              <a:gd name="connsiteX73" fmla="*/ 1935502 w 4519987"/>
              <a:gd name="connsiteY73" fmla="*/ 4400550 h 4496940"/>
              <a:gd name="connsiteX74" fmla="*/ 1821202 w 4519987"/>
              <a:gd name="connsiteY74" fmla="*/ 4371975 h 4496940"/>
              <a:gd name="connsiteX75" fmla="*/ 1754527 w 4519987"/>
              <a:gd name="connsiteY75" fmla="*/ 4352925 h 4496940"/>
              <a:gd name="connsiteX76" fmla="*/ 1687852 w 4519987"/>
              <a:gd name="connsiteY76" fmla="*/ 4343400 h 4496940"/>
              <a:gd name="connsiteX77" fmla="*/ 1573552 w 4519987"/>
              <a:gd name="connsiteY77" fmla="*/ 4305300 h 4496940"/>
              <a:gd name="connsiteX78" fmla="*/ 1402102 w 4519987"/>
              <a:gd name="connsiteY78" fmla="*/ 4276725 h 4496940"/>
              <a:gd name="connsiteX79" fmla="*/ 1287802 w 4519987"/>
              <a:gd name="connsiteY79" fmla="*/ 4229100 h 4496940"/>
              <a:gd name="connsiteX80" fmla="*/ 1221127 w 4519987"/>
              <a:gd name="connsiteY80" fmla="*/ 4200525 h 4496940"/>
              <a:gd name="connsiteX81" fmla="*/ 1144927 w 4519987"/>
              <a:gd name="connsiteY81" fmla="*/ 4171950 h 4496940"/>
              <a:gd name="connsiteX82" fmla="*/ 1087777 w 4519987"/>
              <a:gd name="connsiteY82" fmla="*/ 4143375 h 4496940"/>
              <a:gd name="connsiteX83" fmla="*/ 1030627 w 4519987"/>
              <a:gd name="connsiteY83" fmla="*/ 4124325 h 4496940"/>
              <a:gd name="connsiteX84" fmla="*/ 925852 w 4519987"/>
              <a:gd name="connsiteY84" fmla="*/ 4067175 h 4496940"/>
              <a:gd name="connsiteX85" fmla="*/ 830602 w 4519987"/>
              <a:gd name="connsiteY85" fmla="*/ 3981450 h 4496940"/>
              <a:gd name="connsiteX86" fmla="*/ 763927 w 4519987"/>
              <a:gd name="connsiteY86" fmla="*/ 3914775 h 4496940"/>
              <a:gd name="connsiteX87" fmla="*/ 725827 w 4519987"/>
              <a:gd name="connsiteY87" fmla="*/ 3876675 h 4496940"/>
              <a:gd name="connsiteX88" fmla="*/ 697252 w 4519987"/>
              <a:gd name="connsiteY88" fmla="*/ 3838575 h 4496940"/>
              <a:gd name="connsiteX89" fmla="*/ 640102 w 4519987"/>
              <a:gd name="connsiteY89" fmla="*/ 3781425 h 4496940"/>
              <a:gd name="connsiteX90" fmla="*/ 611527 w 4519987"/>
              <a:gd name="connsiteY90" fmla="*/ 3733800 h 4496940"/>
              <a:gd name="connsiteX91" fmla="*/ 554377 w 4519987"/>
              <a:gd name="connsiteY91" fmla="*/ 3657600 h 4496940"/>
              <a:gd name="connsiteX92" fmla="*/ 525802 w 4519987"/>
              <a:gd name="connsiteY92" fmla="*/ 3609975 h 4496940"/>
              <a:gd name="connsiteX93" fmla="*/ 497227 w 4519987"/>
              <a:gd name="connsiteY93" fmla="*/ 3552825 h 4496940"/>
              <a:gd name="connsiteX94" fmla="*/ 440077 w 4519987"/>
              <a:gd name="connsiteY94" fmla="*/ 3495675 h 4496940"/>
              <a:gd name="connsiteX95" fmla="*/ 411502 w 4519987"/>
              <a:gd name="connsiteY95" fmla="*/ 3448050 h 4496940"/>
              <a:gd name="connsiteX96" fmla="*/ 278152 w 4519987"/>
              <a:gd name="connsiteY96" fmla="*/ 3257550 h 4496940"/>
              <a:gd name="connsiteX97" fmla="*/ 249577 w 4519987"/>
              <a:gd name="connsiteY97" fmla="*/ 3200400 h 4496940"/>
              <a:gd name="connsiteX98" fmla="*/ 240052 w 4519987"/>
              <a:gd name="connsiteY98" fmla="*/ 3162300 h 4496940"/>
              <a:gd name="connsiteX99" fmla="*/ 221002 w 4519987"/>
              <a:gd name="connsiteY99" fmla="*/ 3105150 h 4496940"/>
              <a:gd name="connsiteX100" fmla="*/ 173377 w 4519987"/>
              <a:gd name="connsiteY100" fmla="*/ 3019425 h 4496940"/>
              <a:gd name="connsiteX101" fmla="*/ 144802 w 4519987"/>
              <a:gd name="connsiteY101" fmla="*/ 2924175 h 4496940"/>
              <a:gd name="connsiteX102" fmla="*/ 68602 w 4519987"/>
              <a:gd name="connsiteY102" fmla="*/ 2724150 h 4496940"/>
              <a:gd name="connsiteX103" fmla="*/ 49552 w 4519987"/>
              <a:gd name="connsiteY103" fmla="*/ 2638425 h 4496940"/>
              <a:gd name="connsiteX104" fmla="*/ 40027 w 4519987"/>
              <a:gd name="connsiteY104" fmla="*/ 2562225 h 4496940"/>
              <a:gd name="connsiteX105" fmla="*/ 30502 w 4519987"/>
              <a:gd name="connsiteY105" fmla="*/ 2514600 h 4496940"/>
              <a:gd name="connsiteX106" fmla="*/ 11452 w 4519987"/>
              <a:gd name="connsiteY106" fmla="*/ 2400300 h 4496940"/>
              <a:gd name="connsiteX107" fmla="*/ 20977 w 4519987"/>
              <a:gd name="connsiteY107" fmla="*/ 1905000 h 4496940"/>
              <a:gd name="connsiteX108" fmla="*/ 30502 w 4519987"/>
              <a:gd name="connsiteY108" fmla="*/ 1838325 h 4496940"/>
              <a:gd name="connsiteX109" fmla="*/ 49552 w 4519987"/>
              <a:gd name="connsiteY109" fmla="*/ 1781175 h 4496940"/>
              <a:gd name="connsiteX110" fmla="*/ 59077 w 4519987"/>
              <a:gd name="connsiteY110" fmla="*/ 1743075 h 4496940"/>
              <a:gd name="connsiteX111" fmla="*/ 78127 w 4519987"/>
              <a:gd name="connsiteY111" fmla="*/ 1685925 h 4496940"/>
              <a:gd name="connsiteX112" fmla="*/ 87652 w 4519987"/>
              <a:gd name="connsiteY112" fmla="*/ 1638300 h 4496940"/>
              <a:gd name="connsiteX113" fmla="*/ 106702 w 4519987"/>
              <a:gd name="connsiteY113" fmla="*/ 1590675 h 4496940"/>
              <a:gd name="connsiteX114" fmla="*/ 135277 w 4519987"/>
              <a:gd name="connsiteY114" fmla="*/ 1504950 h 4496940"/>
              <a:gd name="connsiteX115" fmla="*/ 154327 w 4519987"/>
              <a:gd name="connsiteY115" fmla="*/ 1419225 h 4496940"/>
              <a:gd name="connsiteX116" fmla="*/ 230527 w 4519987"/>
              <a:gd name="connsiteY116" fmla="*/ 1276350 h 4496940"/>
              <a:gd name="connsiteX117" fmla="*/ 240052 w 4519987"/>
              <a:gd name="connsiteY117" fmla="*/ 1247775 h 4496940"/>
              <a:gd name="connsiteX118" fmla="*/ 268627 w 4519987"/>
              <a:gd name="connsiteY118" fmla="*/ 1200150 h 4496940"/>
              <a:gd name="connsiteX119" fmla="*/ 287677 w 4519987"/>
              <a:gd name="connsiteY119" fmla="*/ 1152525 h 4496940"/>
              <a:gd name="connsiteX120" fmla="*/ 316252 w 4519987"/>
              <a:gd name="connsiteY120" fmla="*/ 1114425 h 4496940"/>
              <a:gd name="connsiteX121" fmla="*/ 363877 w 4519987"/>
              <a:gd name="connsiteY121" fmla="*/ 1038225 h 4496940"/>
              <a:gd name="connsiteX122" fmla="*/ 382927 w 4519987"/>
              <a:gd name="connsiteY122" fmla="*/ 1009650 h 4496940"/>
              <a:gd name="connsiteX123" fmla="*/ 440077 w 4519987"/>
              <a:gd name="connsiteY123" fmla="*/ 904875 h 4496940"/>
              <a:gd name="connsiteX124" fmla="*/ 478177 w 4519987"/>
              <a:gd name="connsiteY124" fmla="*/ 857250 h 4496940"/>
              <a:gd name="connsiteX125" fmla="*/ 497227 w 4519987"/>
              <a:gd name="connsiteY125" fmla="*/ 828675 h 4496940"/>
              <a:gd name="connsiteX126" fmla="*/ 535327 w 4519987"/>
              <a:gd name="connsiteY126" fmla="*/ 800100 h 4496940"/>
              <a:gd name="connsiteX127" fmla="*/ 602002 w 4519987"/>
              <a:gd name="connsiteY127" fmla="*/ 733425 h 4496940"/>
              <a:gd name="connsiteX128" fmla="*/ 668677 w 4519987"/>
              <a:gd name="connsiteY128" fmla="*/ 676275 h 4496940"/>
              <a:gd name="connsiteX129" fmla="*/ 697252 w 4519987"/>
              <a:gd name="connsiteY129" fmla="*/ 657225 h 4496940"/>
              <a:gd name="connsiteX130" fmla="*/ 840127 w 4519987"/>
              <a:gd name="connsiteY130" fmla="*/ 533400 h 4496940"/>
              <a:gd name="connsiteX131" fmla="*/ 887752 w 4519987"/>
              <a:gd name="connsiteY131" fmla="*/ 504825 h 4496940"/>
              <a:gd name="connsiteX132" fmla="*/ 1167152 w 4519987"/>
              <a:gd name="connsiteY132" fmla="*/ 311150 h 4496940"/>
              <a:gd name="connsiteX133" fmla="*/ 1268752 w 4519987"/>
              <a:gd name="connsiteY133" fmla="*/ 285750 h 4496940"/>
              <a:gd name="connsiteX134" fmla="*/ 1411627 w 4519987"/>
              <a:gd name="connsiteY134" fmla="*/ 190500 h 4496940"/>
              <a:gd name="connsiteX135" fmla="*/ 1449727 w 4519987"/>
              <a:gd name="connsiteY135" fmla="*/ 161925 h 4496940"/>
              <a:gd name="connsiteX136" fmla="*/ 1525927 w 4519987"/>
              <a:gd name="connsiteY136" fmla="*/ 152400 h 4496940"/>
              <a:gd name="connsiteX137" fmla="*/ 1583077 w 4519987"/>
              <a:gd name="connsiteY137" fmla="*/ 142875 h 4496940"/>
              <a:gd name="connsiteX138" fmla="*/ 1716427 w 4519987"/>
              <a:gd name="connsiteY138" fmla="*/ 123825 h 4496940"/>
              <a:gd name="connsiteX139" fmla="*/ 1811677 w 4519987"/>
              <a:gd name="connsiteY139" fmla="*/ 114300 h 4496940"/>
              <a:gd name="connsiteX140" fmla="*/ 1859302 w 4519987"/>
              <a:gd name="connsiteY140" fmla="*/ 104775 h 4496940"/>
              <a:gd name="connsiteX141" fmla="*/ 1916452 w 4519987"/>
              <a:gd name="connsiteY141" fmla="*/ 95250 h 4496940"/>
              <a:gd name="connsiteX142" fmla="*/ 2030752 w 4519987"/>
              <a:gd name="connsiteY142" fmla="*/ 66675 h 4496940"/>
              <a:gd name="connsiteX143" fmla="*/ 2097427 w 4519987"/>
              <a:gd name="connsiteY143" fmla="*/ 47625 h 4496940"/>
              <a:gd name="connsiteX144" fmla="*/ 2164102 w 4519987"/>
              <a:gd name="connsiteY144" fmla="*/ 38100 h 4496940"/>
              <a:gd name="connsiteX145" fmla="*/ 2392702 w 4519987"/>
              <a:gd name="connsiteY14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259602 w 4519987"/>
              <a:gd name="connsiteY24" fmla="*/ 1190625 h 4496940"/>
              <a:gd name="connsiteX25" fmla="*/ 4307227 w 4519987"/>
              <a:gd name="connsiteY25" fmla="*/ 1266825 h 4496940"/>
              <a:gd name="connsiteX26" fmla="*/ 4345327 w 4519987"/>
              <a:gd name="connsiteY26" fmla="*/ 1362075 h 4496940"/>
              <a:gd name="connsiteX27" fmla="*/ 4373902 w 4519987"/>
              <a:gd name="connsiteY27" fmla="*/ 1428750 h 4496940"/>
              <a:gd name="connsiteX28" fmla="*/ 4392952 w 4519987"/>
              <a:gd name="connsiteY28" fmla="*/ 1552575 h 4496940"/>
              <a:gd name="connsiteX29" fmla="*/ 4402477 w 4519987"/>
              <a:gd name="connsiteY29" fmla="*/ 1590675 h 4496940"/>
              <a:gd name="connsiteX30" fmla="*/ 4431052 w 4519987"/>
              <a:gd name="connsiteY30" fmla="*/ 1685925 h 4496940"/>
              <a:gd name="connsiteX31" fmla="*/ 4519952 w 4519987"/>
              <a:gd name="connsiteY31" fmla="*/ 2181225 h 4496940"/>
              <a:gd name="connsiteX32" fmla="*/ 4446927 w 4519987"/>
              <a:gd name="connsiteY32" fmla="*/ 2768600 h 4496940"/>
              <a:gd name="connsiteX33" fmla="*/ 4383427 w 4519987"/>
              <a:gd name="connsiteY33" fmla="*/ 2990850 h 4496940"/>
              <a:gd name="connsiteX34" fmla="*/ 4278652 w 4519987"/>
              <a:gd name="connsiteY34" fmla="*/ 3248025 h 4496940"/>
              <a:gd name="connsiteX35" fmla="*/ 4259602 w 4519987"/>
              <a:gd name="connsiteY35" fmla="*/ 3276600 h 4496940"/>
              <a:gd name="connsiteX36" fmla="*/ 4221502 w 4519987"/>
              <a:gd name="connsiteY36" fmla="*/ 3333750 h 4496940"/>
              <a:gd name="connsiteX37" fmla="*/ 4211977 w 4519987"/>
              <a:gd name="connsiteY37" fmla="*/ 3362325 h 4496940"/>
              <a:gd name="connsiteX38" fmla="*/ 4183402 w 4519987"/>
              <a:gd name="connsiteY38" fmla="*/ 3400425 h 4496940"/>
              <a:gd name="connsiteX39" fmla="*/ 4164352 w 4519987"/>
              <a:gd name="connsiteY39" fmla="*/ 3429000 h 4496940"/>
              <a:gd name="connsiteX40" fmla="*/ 4088152 w 4519987"/>
              <a:gd name="connsiteY40" fmla="*/ 3495675 h 4496940"/>
              <a:gd name="connsiteX41" fmla="*/ 4059577 w 4519987"/>
              <a:gd name="connsiteY41" fmla="*/ 3533775 h 4496940"/>
              <a:gd name="connsiteX42" fmla="*/ 4002427 w 4519987"/>
              <a:gd name="connsiteY42" fmla="*/ 3600450 h 4496940"/>
              <a:gd name="connsiteX43" fmla="*/ 3983377 w 4519987"/>
              <a:gd name="connsiteY43" fmla="*/ 3629025 h 4496940"/>
              <a:gd name="connsiteX44" fmla="*/ 3954802 w 4519987"/>
              <a:gd name="connsiteY44" fmla="*/ 3648075 h 4496940"/>
              <a:gd name="connsiteX45" fmla="*/ 3907177 w 4519987"/>
              <a:gd name="connsiteY45" fmla="*/ 3686175 h 4496940"/>
              <a:gd name="connsiteX46" fmla="*/ 3869077 w 4519987"/>
              <a:gd name="connsiteY46" fmla="*/ 3724275 h 4496940"/>
              <a:gd name="connsiteX47" fmla="*/ 3792877 w 4519987"/>
              <a:gd name="connsiteY47" fmla="*/ 3781425 h 4496940"/>
              <a:gd name="connsiteX48" fmla="*/ 3783352 w 4519987"/>
              <a:gd name="connsiteY48" fmla="*/ 3810000 h 4496940"/>
              <a:gd name="connsiteX49" fmla="*/ 3745252 w 4519987"/>
              <a:gd name="connsiteY49" fmla="*/ 3819525 h 4496940"/>
              <a:gd name="connsiteX50" fmla="*/ 3678577 w 4519987"/>
              <a:gd name="connsiteY50" fmla="*/ 3848100 h 4496940"/>
              <a:gd name="connsiteX51" fmla="*/ 3659527 w 4519987"/>
              <a:gd name="connsiteY51" fmla="*/ 3971925 h 4496940"/>
              <a:gd name="connsiteX52" fmla="*/ 3630952 w 4519987"/>
              <a:gd name="connsiteY52" fmla="*/ 4010025 h 4496940"/>
              <a:gd name="connsiteX53" fmla="*/ 3621427 w 4519987"/>
              <a:gd name="connsiteY53" fmla="*/ 4038600 h 4496940"/>
              <a:gd name="connsiteX54" fmla="*/ 3554752 w 4519987"/>
              <a:gd name="connsiteY54" fmla="*/ 4095750 h 4496940"/>
              <a:gd name="connsiteX55" fmla="*/ 3516652 w 4519987"/>
              <a:gd name="connsiteY55" fmla="*/ 4114800 h 4496940"/>
              <a:gd name="connsiteX56" fmla="*/ 3497602 w 4519987"/>
              <a:gd name="connsiteY56" fmla="*/ 4143375 h 4496940"/>
              <a:gd name="connsiteX57" fmla="*/ 3383302 w 4519987"/>
              <a:gd name="connsiteY57" fmla="*/ 4210050 h 4496940"/>
              <a:gd name="connsiteX58" fmla="*/ 3335677 w 4519987"/>
              <a:gd name="connsiteY58" fmla="*/ 4238625 h 4496940"/>
              <a:gd name="connsiteX59" fmla="*/ 3288052 w 4519987"/>
              <a:gd name="connsiteY59" fmla="*/ 4248150 h 4496940"/>
              <a:gd name="connsiteX60" fmla="*/ 3240427 w 4519987"/>
              <a:gd name="connsiteY60" fmla="*/ 4267200 h 4496940"/>
              <a:gd name="connsiteX61" fmla="*/ 3068977 w 4519987"/>
              <a:gd name="connsiteY61" fmla="*/ 4286250 h 4496940"/>
              <a:gd name="connsiteX62" fmla="*/ 2935627 w 4519987"/>
              <a:gd name="connsiteY62" fmla="*/ 4333875 h 4496940"/>
              <a:gd name="connsiteX63" fmla="*/ 2811802 w 4519987"/>
              <a:gd name="connsiteY63" fmla="*/ 4371975 h 4496940"/>
              <a:gd name="connsiteX64" fmla="*/ 2745127 w 4519987"/>
              <a:gd name="connsiteY64" fmla="*/ 4410075 h 4496940"/>
              <a:gd name="connsiteX65" fmla="*/ 2697502 w 4519987"/>
              <a:gd name="connsiteY65" fmla="*/ 4429125 h 4496940"/>
              <a:gd name="connsiteX66" fmla="*/ 2640352 w 4519987"/>
              <a:gd name="connsiteY66" fmla="*/ 4457700 h 4496940"/>
              <a:gd name="connsiteX67" fmla="*/ 2583202 w 4519987"/>
              <a:gd name="connsiteY67" fmla="*/ 4467225 h 4496940"/>
              <a:gd name="connsiteX68" fmla="*/ 2545102 w 4519987"/>
              <a:gd name="connsiteY68" fmla="*/ 4486275 h 4496940"/>
              <a:gd name="connsiteX69" fmla="*/ 2306977 w 4519987"/>
              <a:gd name="connsiteY69" fmla="*/ 4476750 h 4496940"/>
              <a:gd name="connsiteX70" fmla="*/ 2202202 w 4519987"/>
              <a:gd name="connsiteY70" fmla="*/ 4457700 h 4496940"/>
              <a:gd name="connsiteX71" fmla="*/ 2126002 w 4519987"/>
              <a:gd name="connsiteY71" fmla="*/ 4429125 h 4496940"/>
              <a:gd name="connsiteX72" fmla="*/ 1935502 w 4519987"/>
              <a:gd name="connsiteY72" fmla="*/ 4400550 h 4496940"/>
              <a:gd name="connsiteX73" fmla="*/ 1821202 w 4519987"/>
              <a:gd name="connsiteY73" fmla="*/ 4371975 h 4496940"/>
              <a:gd name="connsiteX74" fmla="*/ 1754527 w 4519987"/>
              <a:gd name="connsiteY74" fmla="*/ 4352925 h 4496940"/>
              <a:gd name="connsiteX75" fmla="*/ 1687852 w 4519987"/>
              <a:gd name="connsiteY75" fmla="*/ 4343400 h 4496940"/>
              <a:gd name="connsiteX76" fmla="*/ 1573552 w 4519987"/>
              <a:gd name="connsiteY76" fmla="*/ 4305300 h 4496940"/>
              <a:gd name="connsiteX77" fmla="*/ 1402102 w 4519987"/>
              <a:gd name="connsiteY77" fmla="*/ 4276725 h 4496940"/>
              <a:gd name="connsiteX78" fmla="*/ 1287802 w 4519987"/>
              <a:gd name="connsiteY78" fmla="*/ 4229100 h 4496940"/>
              <a:gd name="connsiteX79" fmla="*/ 1221127 w 4519987"/>
              <a:gd name="connsiteY79" fmla="*/ 4200525 h 4496940"/>
              <a:gd name="connsiteX80" fmla="*/ 1144927 w 4519987"/>
              <a:gd name="connsiteY80" fmla="*/ 4171950 h 4496940"/>
              <a:gd name="connsiteX81" fmla="*/ 1087777 w 4519987"/>
              <a:gd name="connsiteY81" fmla="*/ 4143375 h 4496940"/>
              <a:gd name="connsiteX82" fmla="*/ 1030627 w 4519987"/>
              <a:gd name="connsiteY82" fmla="*/ 4124325 h 4496940"/>
              <a:gd name="connsiteX83" fmla="*/ 925852 w 4519987"/>
              <a:gd name="connsiteY83" fmla="*/ 4067175 h 4496940"/>
              <a:gd name="connsiteX84" fmla="*/ 830602 w 4519987"/>
              <a:gd name="connsiteY84" fmla="*/ 3981450 h 4496940"/>
              <a:gd name="connsiteX85" fmla="*/ 763927 w 4519987"/>
              <a:gd name="connsiteY85" fmla="*/ 3914775 h 4496940"/>
              <a:gd name="connsiteX86" fmla="*/ 725827 w 4519987"/>
              <a:gd name="connsiteY86" fmla="*/ 3876675 h 4496940"/>
              <a:gd name="connsiteX87" fmla="*/ 697252 w 4519987"/>
              <a:gd name="connsiteY87" fmla="*/ 3838575 h 4496940"/>
              <a:gd name="connsiteX88" fmla="*/ 640102 w 4519987"/>
              <a:gd name="connsiteY88" fmla="*/ 3781425 h 4496940"/>
              <a:gd name="connsiteX89" fmla="*/ 611527 w 4519987"/>
              <a:gd name="connsiteY89" fmla="*/ 3733800 h 4496940"/>
              <a:gd name="connsiteX90" fmla="*/ 554377 w 4519987"/>
              <a:gd name="connsiteY90" fmla="*/ 3657600 h 4496940"/>
              <a:gd name="connsiteX91" fmla="*/ 525802 w 4519987"/>
              <a:gd name="connsiteY91" fmla="*/ 3609975 h 4496940"/>
              <a:gd name="connsiteX92" fmla="*/ 497227 w 4519987"/>
              <a:gd name="connsiteY92" fmla="*/ 3552825 h 4496940"/>
              <a:gd name="connsiteX93" fmla="*/ 440077 w 4519987"/>
              <a:gd name="connsiteY93" fmla="*/ 3495675 h 4496940"/>
              <a:gd name="connsiteX94" fmla="*/ 411502 w 4519987"/>
              <a:gd name="connsiteY94" fmla="*/ 3448050 h 4496940"/>
              <a:gd name="connsiteX95" fmla="*/ 278152 w 4519987"/>
              <a:gd name="connsiteY95" fmla="*/ 3257550 h 4496940"/>
              <a:gd name="connsiteX96" fmla="*/ 249577 w 4519987"/>
              <a:gd name="connsiteY96" fmla="*/ 3200400 h 4496940"/>
              <a:gd name="connsiteX97" fmla="*/ 240052 w 4519987"/>
              <a:gd name="connsiteY97" fmla="*/ 3162300 h 4496940"/>
              <a:gd name="connsiteX98" fmla="*/ 221002 w 4519987"/>
              <a:gd name="connsiteY98" fmla="*/ 3105150 h 4496940"/>
              <a:gd name="connsiteX99" fmla="*/ 173377 w 4519987"/>
              <a:gd name="connsiteY99" fmla="*/ 3019425 h 4496940"/>
              <a:gd name="connsiteX100" fmla="*/ 144802 w 4519987"/>
              <a:gd name="connsiteY100" fmla="*/ 2924175 h 4496940"/>
              <a:gd name="connsiteX101" fmla="*/ 68602 w 4519987"/>
              <a:gd name="connsiteY101" fmla="*/ 2724150 h 4496940"/>
              <a:gd name="connsiteX102" fmla="*/ 49552 w 4519987"/>
              <a:gd name="connsiteY102" fmla="*/ 2638425 h 4496940"/>
              <a:gd name="connsiteX103" fmla="*/ 40027 w 4519987"/>
              <a:gd name="connsiteY103" fmla="*/ 2562225 h 4496940"/>
              <a:gd name="connsiteX104" fmla="*/ 30502 w 4519987"/>
              <a:gd name="connsiteY104" fmla="*/ 2514600 h 4496940"/>
              <a:gd name="connsiteX105" fmla="*/ 11452 w 4519987"/>
              <a:gd name="connsiteY105" fmla="*/ 2400300 h 4496940"/>
              <a:gd name="connsiteX106" fmla="*/ 20977 w 4519987"/>
              <a:gd name="connsiteY106" fmla="*/ 1905000 h 4496940"/>
              <a:gd name="connsiteX107" fmla="*/ 30502 w 4519987"/>
              <a:gd name="connsiteY107" fmla="*/ 1838325 h 4496940"/>
              <a:gd name="connsiteX108" fmla="*/ 49552 w 4519987"/>
              <a:gd name="connsiteY108" fmla="*/ 1781175 h 4496940"/>
              <a:gd name="connsiteX109" fmla="*/ 59077 w 4519987"/>
              <a:gd name="connsiteY109" fmla="*/ 1743075 h 4496940"/>
              <a:gd name="connsiteX110" fmla="*/ 78127 w 4519987"/>
              <a:gd name="connsiteY110" fmla="*/ 1685925 h 4496940"/>
              <a:gd name="connsiteX111" fmla="*/ 87652 w 4519987"/>
              <a:gd name="connsiteY111" fmla="*/ 1638300 h 4496940"/>
              <a:gd name="connsiteX112" fmla="*/ 106702 w 4519987"/>
              <a:gd name="connsiteY112" fmla="*/ 1590675 h 4496940"/>
              <a:gd name="connsiteX113" fmla="*/ 135277 w 4519987"/>
              <a:gd name="connsiteY113" fmla="*/ 1504950 h 4496940"/>
              <a:gd name="connsiteX114" fmla="*/ 154327 w 4519987"/>
              <a:gd name="connsiteY114" fmla="*/ 1419225 h 4496940"/>
              <a:gd name="connsiteX115" fmla="*/ 230527 w 4519987"/>
              <a:gd name="connsiteY115" fmla="*/ 1276350 h 4496940"/>
              <a:gd name="connsiteX116" fmla="*/ 240052 w 4519987"/>
              <a:gd name="connsiteY116" fmla="*/ 1247775 h 4496940"/>
              <a:gd name="connsiteX117" fmla="*/ 268627 w 4519987"/>
              <a:gd name="connsiteY117" fmla="*/ 1200150 h 4496940"/>
              <a:gd name="connsiteX118" fmla="*/ 287677 w 4519987"/>
              <a:gd name="connsiteY118" fmla="*/ 1152525 h 4496940"/>
              <a:gd name="connsiteX119" fmla="*/ 316252 w 4519987"/>
              <a:gd name="connsiteY119" fmla="*/ 1114425 h 4496940"/>
              <a:gd name="connsiteX120" fmla="*/ 363877 w 4519987"/>
              <a:gd name="connsiteY120" fmla="*/ 1038225 h 4496940"/>
              <a:gd name="connsiteX121" fmla="*/ 382927 w 4519987"/>
              <a:gd name="connsiteY121" fmla="*/ 1009650 h 4496940"/>
              <a:gd name="connsiteX122" fmla="*/ 440077 w 4519987"/>
              <a:gd name="connsiteY122" fmla="*/ 904875 h 4496940"/>
              <a:gd name="connsiteX123" fmla="*/ 478177 w 4519987"/>
              <a:gd name="connsiteY123" fmla="*/ 857250 h 4496940"/>
              <a:gd name="connsiteX124" fmla="*/ 497227 w 4519987"/>
              <a:gd name="connsiteY124" fmla="*/ 828675 h 4496940"/>
              <a:gd name="connsiteX125" fmla="*/ 535327 w 4519987"/>
              <a:gd name="connsiteY125" fmla="*/ 800100 h 4496940"/>
              <a:gd name="connsiteX126" fmla="*/ 602002 w 4519987"/>
              <a:gd name="connsiteY126" fmla="*/ 733425 h 4496940"/>
              <a:gd name="connsiteX127" fmla="*/ 668677 w 4519987"/>
              <a:gd name="connsiteY127" fmla="*/ 676275 h 4496940"/>
              <a:gd name="connsiteX128" fmla="*/ 697252 w 4519987"/>
              <a:gd name="connsiteY128" fmla="*/ 657225 h 4496940"/>
              <a:gd name="connsiteX129" fmla="*/ 840127 w 4519987"/>
              <a:gd name="connsiteY129" fmla="*/ 533400 h 4496940"/>
              <a:gd name="connsiteX130" fmla="*/ 887752 w 4519987"/>
              <a:gd name="connsiteY130" fmla="*/ 504825 h 4496940"/>
              <a:gd name="connsiteX131" fmla="*/ 1167152 w 4519987"/>
              <a:gd name="connsiteY131" fmla="*/ 311150 h 4496940"/>
              <a:gd name="connsiteX132" fmla="*/ 1268752 w 4519987"/>
              <a:gd name="connsiteY132" fmla="*/ 285750 h 4496940"/>
              <a:gd name="connsiteX133" fmla="*/ 1411627 w 4519987"/>
              <a:gd name="connsiteY133" fmla="*/ 190500 h 4496940"/>
              <a:gd name="connsiteX134" fmla="*/ 1449727 w 4519987"/>
              <a:gd name="connsiteY134" fmla="*/ 161925 h 4496940"/>
              <a:gd name="connsiteX135" fmla="*/ 1525927 w 4519987"/>
              <a:gd name="connsiteY135" fmla="*/ 152400 h 4496940"/>
              <a:gd name="connsiteX136" fmla="*/ 1583077 w 4519987"/>
              <a:gd name="connsiteY136" fmla="*/ 142875 h 4496940"/>
              <a:gd name="connsiteX137" fmla="*/ 1716427 w 4519987"/>
              <a:gd name="connsiteY137" fmla="*/ 123825 h 4496940"/>
              <a:gd name="connsiteX138" fmla="*/ 1811677 w 4519987"/>
              <a:gd name="connsiteY138" fmla="*/ 114300 h 4496940"/>
              <a:gd name="connsiteX139" fmla="*/ 1859302 w 4519987"/>
              <a:gd name="connsiteY139" fmla="*/ 104775 h 4496940"/>
              <a:gd name="connsiteX140" fmla="*/ 1916452 w 4519987"/>
              <a:gd name="connsiteY140" fmla="*/ 95250 h 4496940"/>
              <a:gd name="connsiteX141" fmla="*/ 2030752 w 4519987"/>
              <a:gd name="connsiteY141" fmla="*/ 66675 h 4496940"/>
              <a:gd name="connsiteX142" fmla="*/ 2097427 w 4519987"/>
              <a:gd name="connsiteY142" fmla="*/ 47625 h 4496940"/>
              <a:gd name="connsiteX143" fmla="*/ 2164102 w 4519987"/>
              <a:gd name="connsiteY143" fmla="*/ 38100 h 4496940"/>
              <a:gd name="connsiteX144" fmla="*/ 2392702 w 4519987"/>
              <a:gd name="connsiteY14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73902 w 4519987"/>
              <a:gd name="connsiteY26" fmla="*/ 1428750 h 4496940"/>
              <a:gd name="connsiteX27" fmla="*/ 4392952 w 4519987"/>
              <a:gd name="connsiteY27" fmla="*/ 1552575 h 4496940"/>
              <a:gd name="connsiteX28" fmla="*/ 4402477 w 4519987"/>
              <a:gd name="connsiteY28" fmla="*/ 1590675 h 4496940"/>
              <a:gd name="connsiteX29" fmla="*/ 4431052 w 4519987"/>
              <a:gd name="connsiteY29" fmla="*/ 1685925 h 4496940"/>
              <a:gd name="connsiteX30" fmla="*/ 4519952 w 4519987"/>
              <a:gd name="connsiteY30" fmla="*/ 2181225 h 4496940"/>
              <a:gd name="connsiteX31" fmla="*/ 4446927 w 4519987"/>
              <a:gd name="connsiteY31" fmla="*/ 2768600 h 4496940"/>
              <a:gd name="connsiteX32" fmla="*/ 4383427 w 4519987"/>
              <a:gd name="connsiteY32" fmla="*/ 2990850 h 4496940"/>
              <a:gd name="connsiteX33" fmla="*/ 4278652 w 4519987"/>
              <a:gd name="connsiteY33" fmla="*/ 3248025 h 4496940"/>
              <a:gd name="connsiteX34" fmla="*/ 4259602 w 4519987"/>
              <a:gd name="connsiteY34" fmla="*/ 3276600 h 4496940"/>
              <a:gd name="connsiteX35" fmla="*/ 4221502 w 4519987"/>
              <a:gd name="connsiteY35" fmla="*/ 3333750 h 4496940"/>
              <a:gd name="connsiteX36" fmla="*/ 4211977 w 4519987"/>
              <a:gd name="connsiteY36" fmla="*/ 3362325 h 4496940"/>
              <a:gd name="connsiteX37" fmla="*/ 4183402 w 4519987"/>
              <a:gd name="connsiteY37" fmla="*/ 3400425 h 4496940"/>
              <a:gd name="connsiteX38" fmla="*/ 4164352 w 4519987"/>
              <a:gd name="connsiteY38" fmla="*/ 3429000 h 4496940"/>
              <a:gd name="connsiteX39" fmla="*/ 4088152 w 4519987"/>
              <a:gd name="connsiteY39" fmla="*/ 3495675 h 4496940"/>
              <a:gd name="connsiteX40" fmla="*/ 4059577 w 4519987"/>
              <a:gd name="connsiteY40" fmla="*/ 3533775 h 4496940"/>
              <a:gd name="connsiteX41" fmla="*/ 4002427 w 4519987"/>
              <a:gd name="connsiteY41" fmla="*/ 3600450 h 4496940"/>
              <a:gd name="connsiteX42" fmla="*/ 3983377 w 4519987"/>
              <a:gd name="connsiteY42" fmla="*/ 3629025 h 4496940"/>
              <a:gd name="connsiteX43" fmla="*/ 3954802 w 4519987"/>
              <a:gd name="connsiteY43" fmla="*/ 3648075 h 4496940"/>
              <a:gd name="connsiteX44" fmla="*/ 3907177 w 4519987"/>
              <a:gd name="connsiteY44" fmla="*/ 3686175 h 4496940"/>
              <a:gd name="connsiteX45" fmla="*/ 3869077 w 4519987"/>
              <a:gd name="connsiteY45" fmla="*/ 3724275 h 4496940"/>
              <a:gd name="connsiteX46" fmla="*/ 3792877 w 4519987"/>
              <a:gd name="connsiteY46" fmla="*/ 3781425 h 4496940"/>
              <a:gd name="connsiteX47" fmla="*/ 3783352 w 4519987"/>
              <a:gd name="connsiteY47" fmla="*/ 3810000 h 4496940"/>
              <a:gd name="connsiteX48" fmla="*/ 3745252 w 4519987"/>
              <a:gd name="connsiteY48" fmla="*/ 3819525 h 4496940"/>
              <a:gd name="connsiteX49" fmla="*/ 3678577 w 4519987"/>
              <a:gd name="connsiteY49" fmla="*/ 3848100 h 4496940"/>
              <a:gd name="connsiteX50" fmla="*/ 3659527 w 4519987"/>
              <a:gd name="connsiteY50" fmla="*/ 3971925 h 4496940"/>
              <a:gd name="connsiteX51" fmla="*/ 3630952 w 4519987"/>
              <a:gd name="connsiteY51" fmla="*/ 4010025 h 4496940"/>
              <a:gd name="connsiteX52" fmla="*/ 3621427 w 4519987"/>
              <a:gd name="connsiteY52" fmla="*/ 4038600 h 4496940"/>
              <a:gd name="connsiteX53" fmla="*/ 3554752 w 4519987"/>
              <a:gd name="connsiteY53" fmla="*/ 4095750 h 4496940"/>
              <a:gd name="connsiteX54" fmla="*/ 3516652 w 4519987"/>
              <a:gd name="connsiteY54" fmla="*/ 4114800 h 4496940"/>
              <a:gd name="connsiteX55" fmla="*/ 3497602 w 4519987"/>
              <a:gd name="connsiteY55" fmla="*/ 4143375 h 4496940"/>
              <a:gd name="connsiteX56" fmla="*/ 3383302 w 4519987"/>
              <a:gd name="connsiteY56" fmla="*/ 4210050 h 4496940"/>
              <a:gd name="connsiteX57" fmla="*/ 3335677 w 4519987"/>
              <a:gd name="connsiteY57" fmla="*/ 4238625 h 4496940"/>
              <a:gd name="connsiteX58" fmla="*/ 3288052 w 4519987"/>
              <a:gd name="connsiteY58" fmla="*/ 4248150 h 4496940"/>
              <a:gd name="connsiteX59" fmla="*/ 3240427 w 4519987"/>
              <a:gd name="connsiteY59" fmla="*/ 4267200 h 4496940"/>
              <a:gd name="connsiteX60" fmla="*/ 3068977 w 4519987"/>
              <a:gd name="connsiteY60" fmla="*/ 4286250 h 4496940"/>
              <a:gd name="connsiteX61" fmla="*/ 2935627 w 4519987"/>
              <a:gd name="connsiteY61" fmla="*/ 4333875 h 4496940"/>
              <a:gd name="connsiteX62" fmla="*/ 2811802 w 4519987"/>
              <a:gd name="connsiteY62" fmla="*/ 4371975 h 4496940"/>
              <a:gd name="connsiteX63" fmla="*/ 2745127 w 4519987"/>
              <a:gd name="connsiteY63" fmla="*/ 4410075 h 4496940"/>
              <a:gd name="connsiteX64" fmla="*/ 2697502 w 4519987"/>
              <a:gd name="connsiteY64" fmla="*/ 4429125 h 4496940"/>
              <a:gd name="connsiteX65" fmla="*/ 2640352 w 4519987"/>
              <a:gd name="connsiteY65" fmla="*/ 4457700 h 4496940"/>
              <a:gd name="connsiteX66" fmla="*/ 2583202 w 4519987"/>
              <a:gd name="connsiteY66" fmla="*/ 4467225 h 4496940"/>
              <a:gd name="connsiteX67" fmla="*/ 2545102 w 4519987"/>
              <a:gd name="connsiteY67" fmla="*/ 4486275 h 4496940"/>
              <a:gd name="connsiteX68" fmla="*/ 2306977 w 4519987"/>
              <a:gd name="connsiteY68" fmla="*/ 4476750 h 4496940"/>
              <a:gd name="connsiteX69" fmla="*/ 2202202 w 4519987"/>
              <a:gd name="connsiteY69" fmla="*/ 4457700 h 4496940"/>
              <a:gd name="connsiteX70" fmla="*/ 2126002 w 4519987"/>
              <a:gd name="connsiteY70" fmla="*/ 4429125 h 4496940"/>
              <a:gd name="connsiteX71" fmla="*/ 1935502 w 4519987"/>
              <a:gd name="connsiteY71" fmla="*/ 4400550 h 4496940"/>
              <a:gd name="connsiteX72" fmla="*/ 1821202 w 4519987"/>
              <a:gd name="connsiteY72" fmla="*/ 4371975 h 4496940"/>
              <a:gd name="connsiteX73" fmla="*/ 1754527 w 4519987"/>
              <a:gd name="connsiteY73" fmla="*/ 4352925 h 4496940"/>
              <a:gd name="connsiteX74" fmla="*/ 1687852 w 4519987"/>
              <a:gd name="connsiteY74" fmla="*/ 4343400 h 4496940"/>
              <a:gd name="connsiteX75" fmla="*/ 1573552 w 4519987"/>
              <a:gd name="connsiteY75" fmla="*/ 4305300 h 4496940"/>
              <a:gd name="connsiteX76" fmla="*/ 1402102 w 4519987"/>
              <a:gd name="connsiteY76" fmla="*/ 4276725 h 4496940"/>
              <a:gd name="connsiteX77" fmla="*/ 1287802 w 4519987"/>
              <a:gd name="connsiteY77" fmla="*/ 4229100 h 4496940"/>
              <a:gd name="connsiteX78" fmla="*/ 1221127 w 4519987"/>
              <a:gd name="connsiteY78" fmla="*/ 4200525 h 4496940"/>
              <a:gd name="connsiteX79" fmla="*/ 1144927 w 4519987"/>
              <a:gd name="connsiteY79" fmla="*/ 4171950 h 4496940"/>
              <a:gd name="connsiteX80" fmla="*/ 1087777 w 4519987"/>
              <a:gd name="connsiteY80" fmla="*/ 4143375 h 4496940"/>
              <a:gd name="connsiteX81" fmla="*/ 1030627 w 4519987"/>
              <a:gd name="connsiteY81" fmla="*/ 4124325 h 4496940"/>
              <a:gd name="connsiteX82" fmla="*/ 925852 w 4519987"/>
              <a:gd name="connsiteY82" fmla="*/ 4067175 h 4496940"/>
              <a:gd name="connsiteX83" fmla="*/ 830602 w 4519987"/>
              <a:gd name="connsiteY83" fmla="*/ 3981450 h 4496940"/>
              <a:gd name="connsiteX84" fmla="*/ 763927 w 4519987"/>
              <a:gd name="connsiteY84" fmla="*/ 3914775 h 4496940"/>
              <a:gd name="connsiteX85" fmla="*/ 725827 w 4519987"/>
              <a:gd name="connsiteY85" fmla="*/ 3876675 h 4496940"/>
              <a:gd name="connsiteX86" fmla="*/ 697252 w 4519987"/>
              <a:gd name="connsiteY86" fmla="*/ 3838575 h 4496940"/>
              <a:gd name="connsiteX87" fmla="*/ 640102 w 4519987"/>
              <a:gd name="connsiteY87" fmla="*/ 3781425 h 4496940"/>
              <a:gd name="connsiteX88" fmla="*/ 611527 w 4519987"/>
              <a:gd name="connsiteY88" fmla="*/ 3733800 h 4496940"/>
              <a:gd name="connsiteX89" fmla="*/ 554377 w 4519987"/>
              <a:gd name="connsiteY89" fmla="*/ 3657600 h 4496940"/>
              <a:gd name="connsiteX90" fmla="*/ 525802 w 4519987"/>
              <a:gd name="connsiteY90" fmla="*/ 3609975 h 4496940"/>
              <a:gd name="connsiteX91" fmla="*/ 497227 w 4519987"/>
              <a:gd name="connsiteY91" fmla="*/ 3552825 h 4496940"/>
              <a:gd name="connsiteX92" fmla="*/ 440077 w 4519987"/>
              <a:gd name="connsiteY92" fmla="*/ 3495675 h 4496940"/>
              <a:gd name="connsiteX93" fmla="*/ 411502 w 4519987"/>
              <a:gd name="connsiteY93" fmla="*/ 3448050 h 4496940"/>
              <a:gd name="connsiteX94" fmla="*/ 278152 w 4519987"/>
              <a:gd name="connsiteY94" fmla="*/ 3257550 h 4496940"/>
              <a:gd name="connsiteX95" fmla="*/ 249577 w 4519987"/>
              <a:gd name="connsiteY95" fmla="*/ 3200400 h 4496940"/>
              <a:gd name="connsiteX96" fmla="*/ 240052 w 4519987"/>
              <a:gd name="connsiteY96" fmla="*/ 3162300 h 4496940"/>
              <a:gd name="connsiteX97" fmla="*/ 221002 w 4519987"/>
              <a:gd name="connsiteY97" fmla="*/ 3105150 h 4496940"/>
              <a:gd name="connsiteX98" fmla="*/ 173377 w 4519987"/>
              <a:gd name="connsiteY98" fmla="*/ 3019425 h 4496940"/>
              <a:gd name="connsiteX99" fmla="*/ 144802 w 4519987"/>
              <a:gd name="connsiteY99" fmla="*/ 2924175 h 4496940"/>
              <a:gd name="connsiteX100" fmla="*/ 68602 w 4519987"/>
              <a:gd name="connsiteY100" fmla="*/ 2724150 h 4496940"/>
              <a:gd name="connsiteX101" fmla="*/ 49552 w 4519987"/>
              <a:gd name="connsiteY101" fmla="*/ 2638425 h 4496940"/>
              <a:gd name="connsiteX102" fmla="*/ 40027 w 4519987"/>
              <a:gd name="connsiteY102" fmla="*/ 2562225 h 4496940"/>
              <a:gd name="connsiteX103" fmla="*/ 30502 w 4519987"/>
              <a:gd name="connsiteY103" fmla="*/ 2514600 h 4496940"/>
              <a:gd name="connsiteX104" fmla="*/ 11452 w 4519987"/>
              <a:gd name="connsiteY104" fmla="*/ 2400300 h 4496940"/>
              <a:gd name="connsiteX105" fmla="*/ 20977 w 4519987"/>
              <a:gd name="connsiteY105" fmla="*/ 1905000 h 4496940"/>
              <a:gd name="connsiteX106" fmla="*/ 30502 w 4519987"/>
              <a:gd name="connsiteY106" fmla="*/ 1838325 h 4496940"/>
              <a:gd name="connsiteX107" fmla="*/ 49552 w 4519987"/>
              <a:gd name="connsiteY107" fmla="*/ 1781175 h 4496940"/>
              <a:gd name="connsiteX108" fmla="*/ 59077 w 4519987"/>
              <a:gd name="connsiteY108" fmla="*/ 1743075 h 4496940"/>
              <a:gd name="connsiteX109" fmla="*/ 78127 w 4519987"/>
              <a:gd name="connsiteY109" fmla="*/ 1685925 h 4496940"/>
              <a:gd name="connsiteX110" fmla="*/ 87652 w 4519987"/>
              <a:gd name="connsiteY110" fmla="*/ 1638300 h 4496940"/>
              <a:gd name="connsiteX111" fmla="*/ 106702 w 4519987"/>
              <a:gd name="connsiteY111" fmla="*/ 1590675 h 4496940"/>
              <a:gd name="connsiteX112" fmla="*/ 135277 w 4519987"/>
              <a:gd name="connsiteY112" fmla="*/ 1504950 h 4496940"/>
              <a:gd name="connsiteX113" fmla="*/ 154327 w 4519987"/>
              <a:gd name="connsiteY113" fmla="*/ 1419225 h 4496940"/>
              <a:gd name="connsiteX114" fmla="*/ 230527 w 4519987"/>
              <a:gd name="connsiteY114" fmla="*/ 1276350 h 4496940"/>
              <a:gd name="connsiteX115" fmla="*/ 240052 w 4519987"/>
              <a:gd name="connsiteY115" fmla="*/ 1247775 h 4496940"/>
              <a:gd name="connsiteX116" fmla="*/ 268627 w 4519987"/>
              <a:gd name="connsiteY116" fmla="*/ 1200150 h 4496940"/>
              <a:gd name="connsiteX117" fmla="*/ 287677 w 4519987"/>
              <a:gd name="connsiteY117" fmla="*/ 1152525 h 4496940"/>
              <a:gd name="connsiteX118" fmla="*/ 316252 w 4519987"/>
              <a:gd name="connsiteY118" fmla="*/ 1114425 h 4496940"/>
              <a:gd name="connsiteX119" fmla="*/ 363877 w 4519987"/>
              <a:gd name="connsiteY119" fmla="*/ 1038225 h 4496940"/>
              <a:gd name="connsiteX120" fmla="*/ 382927 w 4519987"/>
              <a:gd name="connsiteY120" fmla="*/ 1009650 h 4496940"/>
              <a:gd name="connsiteX121" fmla="*/ 440077 w 4519987"/>
              <a:gd name="connsiteY121" fmla="*/ 904875 h 4496940"/>
              <a:gd name="connsiteX122" fmla="*/ 478177 w 4519987"/>
              <a:gd name="connsiteY122" fmla="*/ 857250 h 4496940"/>
              <a:gd name="connsiteX123" fmla="*/ 497227 w 4519987"/>
              <a:gd name="connsiteY123" fmla="*/ 828675 h 4496940"/>
              <a:gd name="connsiteX124" fmla="*/ 535327 w 4519987"/>
              <a:gd name="connsiteY124" fmla="*/ 800100 h 4496940"/>
              <a:gd name="connsiteX125" fmla="*/ 602002 w 4519987"/>
              <a:gd name="connsiteY125" fmla="*/ 733425 h 4496940"/>
              <a:gd name="connsiteX126" fmla="*/ 668677 w 4519987"/>
              <a:gd name="connsiteY126" fmla="*/ 676275 h 4496940"/>
              <a:gd name="connsiteX127" fmla="*/ 697252 w 4519987"/>
              <a:gd name="connsiteY127" fmla="*/ 657225 h 4496940"/>
              <a:gd name="connsiteX128" fmla="*/ 840127 w 4519987"/>
              <a:gd name="connsiteY128" fmla="*/ 533400 h 4496940"/>
              <a:gd name="connsiteX129" fmla="*/ 887752 w 4519987"/>
              <a:gd name="connsiteY129" fmla="*/ 504825 h 4496940"/>
              <a:gd name="connsiteX130" fmla="*/ 1167152 w 4519987"/>
              <a:gd name="connsiteY130" fmla="*/ 311150 h 4496940"/>
              <a:gd name="connsiteX131" fmla="*/ 1268752 w 4519987"/>
              <a:gd name="connsiteY131" fmla="*/ 285750 h 4496940"/>
              <a:gd name="connsiteX132" fmla="*/ 1411627 w 4519987"/>
              <a:gd name="connsiteY132" fmla="*/ 190500 h 4496940"/>
              <a:gd name="connsiteX133" fmla="*/ 1449727 w 4519987"/>
              <a:gd name="connsiteY133" fmla="*/ 161925 h 4496940"/>
              <a:gd name="connsiteX134" fmla="*/ 1525927 w 4519987"/>
              <a:gd name="connsiteY134" fmla="*/ 152400 h 4496940"/>
              <a:gd name="connsiteX135" fmla="*/ 1583077 w 4519987"/>
              <a:gd name="connsiteY135" fmla="*/ 142875 h 4496940"/>
              <a:gd name="connsiteX136" fmla="*/ 1716427 w 4519987"/>
              <a:gd name="connsiteY136" fmla="*/ 123825 h 4496940"/>
              <a:gd name="connsiteX137" fmla="*/ 1811677 w 4519987"/>
              <a:gd name="connsiteY137" fmla="*/ 114300 h 4496940"/>
              <a:gd name="connsiteX138" fmla="*/ 1859302 w 4519987"/>
              <a:gd name="connsiteY138" fmla="*/ 104775 h 4496940"/>
              <a:gd name="connsiteX139" fmla="*/ 1916452 w 4519987"/>
              <a:gd name="connsiteY139" fmla="*/ 95250 h 4496940"/>
              <a:gd name="connsiteX140" fmla="*/ 2030752 w 4519987"/>
              <a:gd name="connsiteY140" fmla="*/ 66675 h 4496940"/>
              <a:gd name="connsiteX141" fmla="*/ 2097427 w 4519987"/>
              <a:gd name="connsiteY141" fmla="*/ 47625 h 4496940"/>
              <a:gd name="connsiteX142" fmla="*/ 2164102 w 4519987"/>
              <a:gd name="connsiteY142" fmla="*/ 38100 h 4496940"/>
              <a:gd name="connsiteX143" fmla="*/ 2392702 w 4519987"/>
              <a:gd name="connsiteY14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02477 w 4519987"/>
              <a:gd name="connsiteY27" fmla="*/ 1590675 h 4496940"/>
              <a:gd name="connsiteX28" fmla="*/ 4431052 w 4519987"/>
              <a:gd name="connsiteY28" fmla="*/ 1685925 h 4496940"/>
              <a:gd name="connsiteX29" fmla="*/ 4519952 w 4519987"/>
              <a:gd name="connsiteY29" fmla="*/ 2181225 h 4496940"/>
              <a:gd name="connsiteX30" fmla="*/ 4446927 w 4519987"/>
              <a:gd name="connsiteY30" fmla="*/ 2768600 h 4496940"/>
              <a:gd name="connsiteX31" fmla="*/ 4383427 w 4519987"/>
              <a:gd name="connsiteY31" fmla="*/ 2990850 h 4496940"/>
              <a:gd name="connsiteX32" fmla="*/ 4278652 w 4519987"/>
              <a:gd name="connsiteY32" fmla="*/ 3248025 h 4496940"/>
              <a:gd name="connsiteX33" fmla="*/ 4259602 w 4519987"/>
              <a:gd name="connsiteY33" fmla="*/ 3276600 h 4496940"/>
              <a:gd name="connsiteX34" fmla="*/ 4221502 w 4519987"/>
              <a:gd name="connsiteY34" fmla="*/ 3333750 h 4496940"/>
              <a:gd name="connsiteX35" fmla="*/ 4211977 w 4519987"/>
              <a:gd name="connsiteY35" fmla="*/ 3362325 h 4496940"/>
              <a:gd name="connsiteX36" fmla="*/ 4183402 w 4519987"/>
              <a:gd name="connsiteY36" fmla="*/ 3400425 h 4496940"/>
              <a:gd name="connsiteX37" fmla="*/ 4164352 w 4519987"/>
              <a:gd name="connsiteY37" fmla="*/ 3429000 h 4496940"/>
              <a:gd name="connsiteX38" fmla="*/ 4088152 w 4519987"/>
              <a:gd name="connsiteY38" fmla="*/ 3495675 h 4496940"/>
              <a:gd name="connsiteX39" fmla="*/ 4059577 w 4519987"/>
              <a:gd name="connsiteY39" fmla="*/ 3533775 h 4496940"/>
              <a:gd name="connsiteX40" fmla="*/ 4002427 w 4519987"/>
              <a:gd name="connsiteY40" fmla="*/ 3600450 h 4496940"/>
              <a:gd name="connsiteX41" fmla="*/ 3983377 w 4519987"/>
              <a:gd name="connsiteY41" fmla="*/ 3629025 h 4496940"/>
              <a:gd name="connsiteX42" fmla="*/ 3954802 w 4519987"/>
              <a:gd name="connsiteY42" fmla="*/ 3648075 h 4496940"/>
              <a:gd name="connsiteX43" fmla="*/ 3907177 w 4519987"/>
              <a:gd name="connsiteY43" fmla="*/ 3686175 h 4496940"/>
              <a:gd name="connsiteX44" fmla="*/ 3869077 w 4519987"/>
              <a:gd name="connsiteY44" fmla="*/ 3724275 h 4496940"/>
              <a:gd name="connsiteX45" fmla="*/ 3792877 w 4519987"/>
              <a:gd name="connsiteY45" fmla="*/ 3781425 h 4496940"/>
              <a:gd name="connsiteX46" fmla="*/ 3783352 w 4519987"/>
              <a:gd name="connsiteY46" fmla="*/ 3810000 h 4496940"/>
              <a:gd name="connsiteX47" fmla="*/ 3745252 w 4519987"/>
              <a:gd name="connsiteY47" fmla="*/ 3819525 h 4496940"/>
              <a:gd name="connsiteX48" fmla="*/ 3678577 w 4519987"/>
              <a:gd name="connsiteY48" fmla="*/ 3848100 h 4496940"/>
              <a:gd name="connsiteX49" fmla="*/ 3659527 w 4519987"/>
              <a:gd name="connsiteY49" fmla="*/ 3971925 h 4496940"/>
              <a:gd name="connsiteX50" fmla="*/ 3630952 w 4519987"/>
              <a:gd name="connsiteY50" fmla="*/ 4010025 h 4496940"/>
              <a:gd name="connsiteX51" fmla="*/ 3621427 w 4519987"/>
              <a:gd name="connsiteY51" fmla="*/ 4038600 h 4496940"/>
              <a:gd name="connsiteX52" fmla="*/ 3554752 w 4519987"/>
              <a:gd name="connsiteY52" fmla="*/ 4095750 h 4496940"/>
              <a:gd name="connsiteX53" fmla="*/ 3516652 w 4519987"/>
              <a:gd name="connsiteY53" fmla="*/ 4114800 h 4496940"/>
              <a:gd name="connsiteX54" fmla="*/ 3497602 w 4519987"/>
              <a:gd name="connsiteY54" fmla="*/ 4143375 h 4496940"/>
              <a:gd name="connsiteX55" fmla="*/ 3383302 w 4519987"/>
              <a:gd name="connsiteY55" fmla="*/ 4210050 h 4496940"/>
              <a:gd name="connsiteX56" fmla="*/ 3335677 w 4519987"/>
              <a:gd name="connsiteY56" fmla="*/ 4238625 h 4496940"/>
              <a:gd name="connsiteX57" fmla="*/ 3288052 w 4519987"/>
              <a:gd name="connsiteY57" fmla="*/ 4248150 h 4496940"/>
              <a:gd name="connsiteX58" fmla="*/ 3240427 w 4519987"/>
              <a:gd name="connsiteY58" fmla="*/ 4267200 h 4496940"/>
              <a:gd name="connsiteX59" fmla="*/ 3068977 w 4519987"/>
              <a:gd name="connsiteY59" fmla="*/ 4286250 h 4496940"/>
              <a:gd name="connsiteX60" fmla="*/ 2935627 w 4519987"/>
              <a:gd name="connsiteY60" fmla="*/ 4333875 h 4496940"/>
              <a:gd name="connsiteX61" fmla="*/ 2811802 w 4519987"/>
              <a:gd name="connsiteY61" fmla="*/ 4371975 h 4496940"/>
              <a:gd name="connsiteX62" fmla="*/ 2745127 w 4519987"/>
              <a:gd name="connsiteY62" fmla="*/ 4410075 h 4496940"/>
              <a:gd name="connsiteX63" fmla="*/ 2697502 w 4519987"/>
              <a:gd name="connsiteY63" fmla="*/ 4429125 h 4496940"/>
              <a:gd name="connsiteX64" fmla="*/ 2640352 w 4519987"/>
              <a:gd name="connsiteY64" fmla="*/ 4457700 h 4496940"/>
              <a:gd name="connsiteX65" fmla="*/ 2583202 w 4519987"/>
              <a:gd name="connsiteY65" fmla="*/ 4467225 h 4496940"/>
              <a:gd name="connsiteX66" fmla="*/ 2545102 w 4519987"/>
              <a:gd name="connsiteY66" fmla="*/ 4486275 h 4496940"/>
              <a:gd name="connsiteX67" fmla="*/ 2306977 w 4519987"/>
              <a:gd name="connsiteY67" fmla="*/ 4476750 h 4496940"/>
              <a:gd name="connsiteX68" fmla="*/ 2202202 w 4519987"/>
              <a:gd name="connsiteY68" fmla="*/ 4457700 h 4496940"/>
              <a:gd name="connsiteX69" fmla="*/ 2126002 w 4519987"/>
              <a:gd name="connsiteY69" fmla="*/ 4429125 h 4496940"/>
              <a:gd name="connsiteX70" fmla="*/ 1935502 w 4519987"/>
              <a:gd name="connsiteY70" fmla="*/ 4400550 h 4496940"/>
              <a:gd name="connsiteX71" fmla="*/ 1821202 w 4519987"/>
              <a:gd name="connsiteY71" fmla="*/ 4371975 h 4496940"/>
              <a:gd name="connsiteX72" fmla="*/ 1754527 w 4519987"/>
              <a:gd name="connsiteY72" fmla="*/ 4352925 h 4496940"/>
              <a:gd name="connsiteX73" fmla="*/ 1687852 w 4519987"/>
              <a:gd name="connsiteY73" fmla="*/ 4343400 h 4496940"/>
              <a:gd name="connsiteX74" fmla="*/ 1573552 w 4519987"/>
              <a:gd name="connsiteY74" fmla="*/ 4305300 h 4496940"/>
              <a:gd name="connsiteX75" fmla="*/ 1402102 w 4519987"/>
              <a:gd name="connsiteY75" fmla="*/ 4276725 h 4496940"/>
              <a:gd name="connsiteX76" fmla="*/ 1287802 w 4519987"/>
              <a:gd name="connsiteY76" fmla="*/ 4229100 h 4496940"/>
              <a:gd name="connsiteX77" fmla="*/ 1221127 w 4519987"/>
              <a:gd name="connsiteY77" fmla="*/ 4200525 h 4496940"/>
              <a:gd name="connsiteX78" fmla="*/ 1144927 w 4519987"/>
              <a:gd name="connsiteY78" fmla="*/ 4171950 h 4496940"/>
              <a:gd name="connsiteX79" fmla="*/ 1087777 w 4519987"/>
              <a:gd name="connsiteY79" fmla="*/ 4143375 h 4496940"/>
              <a:gd name="connsiteX80" fmla="*/ 1030627 w 4519987"/>
              <a:gd name="connsiteY80" fmla="*/ 4124325 h 4496940"/>
              <a:gd name="connsiteX81" fmla="*/ 925852 w 4519987"/>
              <a:gd name="connsiteY81" fmla="*/ 4067175 h 4496940"/>
              <a:gd name="connsiteX82" fmla="*/ 830602 w 4519987"/>
              <a:gd name="connsiteY82" fmla="*/ 3981450 h 4496940"/>
              <a:gd name="connsiteX83" fmla="*/ 763927 w 4519987"/>
              <a:gd name="connsiteY83" fmla="*/ 3914775 h 4496940"/>
              <a:gd name="connsiteX84" fmla="*/ 725827 w 4519987"/>
              <a:gd name="connsiteY84" fmla="*/ 3876675 h 4496940"/>
              <a:gd name="connsiteX85" fmla="*/ 697252 w 4519987"/>
              <a:gd name="connsiteY85" fmla="*/ 3838575 h 4496940"/>
              <a:gd name="connsiteX86" fmla="*/ 640102 w 4519987"/>
              <a:gd name="connsiteY86" fmla="*/ 3781425 h 4496940"/>
              <a:gd name="connsiteX87" fmla="*/ 611527 w 4519987"/>
              <a:gd name="connsiteY87" fmla="*/ 3733800 h 4496940"/>
              <a:gd name="connsiteX88" fmla="*/ 554377 w 4519987"/>
              <a:gd name="connsiteY88" fmla="*/ 3657600 h 4496940"/>
              <a:gd name="connsiteX89" fmla="*/ 525802 w 4519987"/>
              <a:gd name="connsiteY89" fmla="*/ 3609975 h 4496940"/>
              <a:gd name="connsiteX90" fmla="*/ 497227 w 4519987"/>
              <a:gd name="connsiteY90" fmla="*/ 3552825 h 4496940"/>
              <a:gd name="connsiteX91" fmla="*/ 440077 w 4519987"/>
              <a:gd name="connsiteY91" fmla="*/ 3495675 h 4496940"/>
              <a:gd name="connsiteX92" fmla="*/ 411502 w 4519987"/>
              <a:gd name="connsiteY92" fmla="*/ 3448050 h 4496940"/>
              <a:gd name="connsiteX93" fmla="*/ 278152 w 4519987"/>
              <a:gd name="connsiteY93" fmla="*/ 3257550 h 4496940"/>
              <a:gd name="connsiteX94" fmla="*/ 249577 w 4519987"/>
              <a:gd name="connsiteY94" fmla="*/ 3200400 h 4496940"/>
              <a:gd name="connsiteX95" fmla="*/ 240052 w 4519987"/>
              <a:gd name="connsiteY95" fmla="*/ 3162300 h 4496940"/>
              <a:gd name="connsiteX96" fmla="*/ 221002 w 4519987"/>
              <a:gd name="connsiteY96" fmla="*/ 3105150 h 4496940"/>
              <a:gd name="connsiteX97" fmla="*/ 173377 w 4519987"/>
              <a:gd name="connsiteY97" fmla="*/ 3019425 h 4496940"/>
              <a:gd name="connsiteX98" fmla="*/ 144802 w 4519987"/>
              <a:gd name="connsiteY98" fmla="*/ 2924175 h 4496940"/>
              <a:gd name="connsiteX99" fmla="*/ 68602 w 4519987"/>
              <a:gd name="connsiteY99" fmla="*/ 2724150 h 4496940"/>
              <a:gd name="connsiteX100" fmla="*/ 49552 w 4519987"/>
              <a:gd name="connsiteY100" fmla="*/ 2638425 h 4496940"/>
              <a:gd name="connsiteX101" fmla="*/ 40027 w 4519987"/>
              <a:gd name="connsiteY101" fmla="*/ 2562225 h 4496940"/>
              <a:gd name="connsiteX102" fmla="*/ 30502 w 4519987"/>
              <a:gd name="connsiteY102" fmla="*/ 2514600 h 4496940"/>
              <a:gd name="connsiteX103" fmla="*/ 11452 w 4519987"/>
              <a:gd name="connsiteY103" fmla="*/ 2400300 h 4496940"/>
              <a:gd name="connsiteX104" fmla="*/ 20977 w 4519987"/>
              <a:gd name="connsiteY104" fmla="*/ 1905000 h 4496940"/>
              <a:gd name="connsiteX105" fmla="*/ 30502 w 4519987"/>
              <a:gd name="connsiteY105" fmla="*/ 1838325 h 4496940"/>
              <a:gd name="connsiteX106" fmla="*/ 49552 w 4519987"/>
              <a:gd name="connsiteY106" fmla="*/ 1781175 h 4496940"/>
              <a:gd name="connsiteX107" fmla="*/ 59077 w 4519987"/>
              <a:gd name="connsiteY107" fmla="*/ 1743075 h 4496940"/>
              <a:gd name="connsiteX108" fmla="*/ 78127 w 4519987"/>
              <a:gd name="connsiteY108" fmla="*/ 1685925 h 4496940"/>
              <a:gd name="connsiteX109" fmla="*/ 87652 w 4519987"/>
              <a:gd name="connsiteY109" fmla="*/ 1638300 h 4496940"/>
              <a:gd name="connsiteX110" fmla="*/ 106702 w 4519987"/>
              <a:gd name="connsiteY110" fmla="*/ 1590675 h 4496940"/>
              <a:gd name="connsiteX111" fmla="*/ 135277 w 4519987"/>
              <a:gd name="connsiteY111" fmla="*/ 1504950 h 4496940"/>
              <a:gd name="connsiteX112" fmla="*/ 154327 w 4519987"/>
              <a:gd name="connsiteY112" fmla="*/ 1419225 h 4496940"/>
              <a:gd name="connsiteX113" fmla="*/ 230527 w 4519987"/>
              <a:gd name="connsiteY113" fmla="*/ 1276350 h 4496940"/>
              <a:gd name="connsiteX114" fmla="*/ 240052 w 4519987"/>
              <a:gd name="connsiteY114" fmla="*/ 1247775 h 4496940"/>
              <a:gd name="connsiteX115" fmla="*/ 268627 w 4519987"/>
              <a:gd name="connsiteY115" fmla="*/ 1200150 h 4496940"/>
              <a:gd name="connsiteX116" fmla="*/ 287677 w 4519987"/>
              <a:gd name="connsiteY116" fmla="*/ 1152525 h 4496940"/>
              <a:gd name="connsiteX117" fmla="*/ 316252 w 4519987"/>
              <a:gd name="connsiteY117" fmla="*/ 1114425 h 4496940"/>
              <a:gd name="connsiteX118" fmla="*/ 363877 w 4519987"/>
              <a:gd name="connsiteY118" fmla="*/ 1038225 h 4496940"/>
              <a:gd name="connsiteX119" fmla="*/ 382927 w 4519987"/>
              <a:gd name="connsiteY119" fmla="*/ 1009650 h 4496940"/>
              <a:gd name="connsiteX120" fmla="*/ 440077 w 4519987"/>
              <a:gd name="connsiteY120" fmla="*/ 904875 h 4496940"/>
              <a:gd name="connsiteX121" fmla="*/ 478177 w 4519987"/>
              <a:gd name="connsiteY121" fmla="*/ 857250 h 4496940"/>
              <a:gd name="connsiteX122" fmla="*/ 497227 w 4519987"/>
              <a:gd name="connsiteY122" fmla="*/ 828675 h 4496940"/>
              <a:gd name="connsiteX123" fmla="*/ 535327 w 4519987"/>
              <a:gd name="connsiteY123" fmla="*/ 800100 h 4496940"/>
              <a:gd name="connsiteX124" fmla="*/ 602002 w 4519987"/>
              <a:gd name="connsiteY124" fmla="*/ 733425 h 4496940"/>
              <a:gd name="connsiteX125" fmla="*/ 668677 w 4519987"/>
              <a:gd name="connsiteY125" fmla="*/ 676275 h 4496940"/>
              <a:gd name="connsiteX126" fmla="*/ 697252 w 4519987"/>
              <a:gd name="connsiteY126" fmla="*/ 657225 h 4496940"/>
              <a:gd name="connsiteX127" fmla="*/ 840127 w 4519987"/>
              <a:gd name="connsiteY127" fmla="*/ 533400 h 4496940"/>
              <a:gd name="connsiteX128" fmla="*/ 887752 w 4519987"/>
              <a:gd name="connsiteY128" fmla="*/ 504825 h 4496940"/>
              <a:gd name="connsiteX129" fmla="*/ 1167152 w 4519987"/>
              <a:gd name="connsiteY129" fmla="*/ 311150 h 4496940"/>
              <a:gd name="connsiteX130" fmla="*/ 1268752 w 4519987"/>
              <a:gd name="connsiteY130" fmla="*/ 285750 h 4496940"/>
              <a:gd name="connsiteX131" fmla="*/ 1411627 w 4519987"/>
              <a:gd name="connsiteY131" fmla="*/ 190500 h 4496940"/>
              <a:gd name="connsiteX132" fmla="*/ 1449727 w 4519987"/>
              <a:gd name="connsiteY132" fmla="*/ 161925 h 4496940"/>
              <a:gd name="connsiteX133" fmla="*/ 1525927 w 4519987"/>
              <a:gd name="connsiteY133" fmla="*/ 152400 h 4496940"/>
              <a:gd name="connsiteX134" fmla="*/ 1583077 w 4519987"/>
              <a:gd name="connsiteY134" fmla="*/ 142875 h 4496940"/>
              <a:gd name="connsiteX135" fmla="*/ 1716427 w 4519987"/>
              <a:gd name="connsiteY135" fmla="*/ 123825 h 4496940"/>
              <a:gd name="connsiteX136" fmla="*/ 1811677 w 4519987"/>
              <a:gd name="connsiteY136" fmla="*/ 114300 h 4496940"/>
              <a:gd name="connsiteX137" fmla="*/ 1859302 w 4519987"/>
              <a:gd name="connsiteY137" fmla="*/ 104775 h 4496940"/>
              <a:gd name="connsiteX138" fmla="*/ 1916452 w 4519987"/>
              <a:gd name="connsiteY138" fmla="*/ 95250 h 4496940"/>
              <a:gd name="connsiteX139" fmla="*/ 2030752 w 4519987"/>
              <a:gd name="connsiteY139" fmla="*/ 66675 h 4496940"/>
              <a:gd name="connsiteX140" fmla="*/ 2097427 w 4519987"/>
              <a:gd name="connsiteY140" fmla="*/ 47625 h 4496940"/>
              <a:gd name="connsiteX141" fmla="*/ 2164102 w 4519987"/>
              <a:gd name="connsiteY141" fmla="*/ 38100 h 4496940"/>
              <a:gd name="connsiteX142" fmla="*/ 2392702 w 4519987"/>
              <a:gd name="connsiteY14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211977 w 4519987"/>
              <a:gd name="connsiteY34" fmla="*/ 3362325 h 4496940"/>
              <a:gd name="connsiteX35" fmla="*/ 4183402 w 4519987"/>
              <a:gd name="connsiteY35" fmla="*/ 3400425 h 4496940"/>
              <a:gd name="connsiteX36" fmla="*/ 4164352 w 4519987"/>
              <a:gd name="connsiteY36" fmla="*/ 3429000 h 4496940"/>
              <a:gd name="connsiteX37" fmla="*/ 4088152 w 4519987"/>
              <a:gd name="connsiteY37" fmla="*/ 3495675 h 4496940"/>
              <a:gd name="connsiteX38" fmla="*/ 4059577 w 4519987"/>
              <a:gd name="connsiteY38" fmla="*/ 3533775 h 4496940"/>
              <a:gd name="connsiteX39" fmla="*/ 4002427 w 4519987"/>
              <a:gd name="connsiteY39" fmla="*/ 3600450 h 4496940"/>
              <a:gd name="connsiteX40" fmla="*/ 3983377 w 4519987"/>
              <a:gd name="connsiteY40" fmla="*/ 3629025 h 4496940"/>
              <a:gd name="connsiteX41" fmla="*/ 3954802 w 4519987"/>
              <a:gd name="connsiteY41" fmla="*/ 3648075 h 4496940"/>
              <a:gd name="connsiteX42" fmla="*/ 3907177 w 4519987"/>
              <a:gd name="connsiteY42" fmla="*/ 3686175 h 4496940"/>
              <a:gd name="connsiteX43" fmla="*/ 3869077 w 4519987"/>
              <a:gd name="connsiteY43" fmla="*/ 3724275 h 4496940"/>
              <a:gd name="connsiteX44" fmla="*/ 3792877 w 4519987"/>
              <a:gd name="connsiteY44" fmla="*/ 3781425 h 4496940"/>
              <a:gd name="connsiteX45" fmla="*/ 3783352 w 4519987"/>
              <a:gd name="connsiteY45" fmla="*/ 3810000 h 4496940"/>
              <a:gd name="connsiteX46" fmla="*/ 3745252 w 4519987"/>
              <a:gd name="connsiteY46" fmla="*/ 3819525 h 4496940"/>
              <a:gd name="connsiteX47" fmla="*/ 3678577 w 4519987"/>
              <a:gd name="connsiteY47" fmla="*/ 3848100 h 4496940"/>
              <a:gd name="connsiteX48" fmla="*/ 3659527 w 4519987"/>
              <a:gd name="connsiteY48" fmla="*/ 3971925 h 4496940"/>
              <a:gd name="connsiteX49" fmla="*/ 3630952 w 4519987"/>
              <a:gd name="connsiteY49" fmla="*/ 4010025 h 4496940"/>
              <a:gd name="connsiteX50" fmla="*/ 3621427 w 4519987"/>
              <a:gd name="connsiteY50" fmla="*/ 4038600 h 4496940"/>
              <a:gd name="connsiteX51" fmla="*/ 3554752 w 4519987"/>
              <a:gd name="connsiteY51" fmla="*/ 4095750 h 4496940"/>
              <a:gd name="connsiteX52" fmla="*/ 3516652 w 4519987"/>
              <a:gd name="connsiteY52" fmla="*/ 4114800 h 4496940"/>
              <a:gd name="connsiteX53" fmla="*/ 3497602 w 4519987"/>
              <a:gd name="connsiteY53" fmla="*/ 4143375 h 4496940"/>
              <a:gd name="connsiteX54" fmla="*/ 3383302 w 4519987"/>
              <a:gd name="connsiteY54" fmla="*/ 4210050 h 4496940"/>
              <a:gd name="connsiteX55" fmla="*/ 3335677 w 4519987"/>
              <a:gd name="connsiteY55" fmla="*/ 4238625 h 4496940"/>
              <a:gd name="connsiteX56" fmla="*/ 3288052 w 4519987"/>
              <a:gd name="connsiteY56" fmla="*/ 4248150 h 4496940"/>
              <a:gd name="connsiteX57" fmla="*/ 3240427 w 4519987"/>
              <a:gd name="connsiteY57" fmla="*/ 4267200 h 4496940"/>
              <a:gd name="connsiteX58" fmla="*/ 3068977 w 4519987"/>
              <a:gd name="connsiteY58" fmla="*/ 4286250 h 4496940"/>
              <a:gd name="connsiteX59" fmla="*/ 2935627 w 4519987"/>
              <a:gd name="connsiteY59" fmla="*/ 4333875 h 4496940"/>
              <a:gd name="connsiteX60" fmla="*/ 2811802 w 4519987"/>
              <a:gd name="connsiteY60" fmla="*/ 4371975 h 4496940"/>
              <a:gd name="connsiteX61" fmla="*/ 2745127 w 4519987"/>
              <a:gd name="connsiteY61" fmla="*/ 4410075 h 4496940"/>
              <a:gd name="connsiteX62" fmla="*/ 2697502 w 4519987"/>
              <a:gd name="connsiteY62" fmla="*/ 4429125 h 4496940"/>
              <a:gd name="connsiteX63" fmla="*/ 2640352 w 4519987"/>
              <a:gd name="connsiteY63" fmla="*/ 4457700 h 4496940"/>
              <a:gd name="connsiteX64" fmla="*/ 2583202 w 4519987"/>
              <a:gd name="connsiteY64" fmla="*/ 4467225 h 4496940"/>
              <a:gd name="connsiteX65" fmla="*/ 2545102 w 4519987"/>
              <a:gd name="connsiteY65" fmla="*/ 4486275 h 4496940"/>
              <a:gd name="connsiteX66" fmla="*/ 2306977 w 4519987"/>
              <a:gd name="connsiteY66" fmla="*/ 4476750 h 4496940"/>
              <a:gd name="connsiteX67" fmla="*/ 2202202 w 4519987"/>
              <a:gd name="connsiteY67" fmla="*/ 4457700 h 4496940"/>
              <a:gd name="connsiteX68" fmla="*/ 2126002 w 4519987"/>
              <a:gd name="connsiteY68" fmla="*/ 4429125 h 4496940"/>
              <a:gd name="connsiteX69" fmla="*/ 1935502 w 4519987"/>
              <a:gd name="connsiteY69" fmla="*/ 4400550 h 4496940"/>
              <a:gd name="connsiteX70" fmla="*/ 1821202 w 4519987"/>
              <a:gd name="connsiteY70" fmla="*/ 4371975 h 4496940"/>
              <a:gd name="connsiteX71" fmla="*/ 1754527 w 4519987"/>
              <a:gd name="connsiteY71" fmla="*/ 4352925 h 4496940"/>
              <a:gd name="connsiteX72" fmla="*/ 1687852 w 4519987"/>
              <a:gd name="connsiteY72" fmla="*/ 4343400 h 4496940"/>
              <a:gd name="connsiteX73" fmla="*/ 1573552 w 4519987"/>
              <a:gd name="connsiteY73" fmla="*/ 4305300 h 4496940"/>
              <a:gd name="connsiteX74" fmla="*/ 1402102 w 4519987"/>
              <a:gd name="connsiteY74" fmla="*/ 4276725 h 4496940"/>
              <a:gd name="connsiteX75" fmla="*/ 1287802 w 4519987"/>
              <a:gd name="connsiteY75" fmla="*/ 4229100 h 4496940"/>
              <a:gd name="connsiteX76" fmla="*/ 1221127 w 4519987"/>
              <a:gd name="connsiteY76" fmla="*/ 4200525 h 4496940"/>
              <a:gd name="connsiteX77" fmla="*/ 1144927 w 4519987"/>
              <a:gd name="connsiteY77" fmla="*/ 4171950 h 4496940"/>
              <a:gd name="connsiteX78" fmla="*/ 1087777 w 4519987"/>
              <a:gd name="connsiteY78" fmla="*/ 4143375 h 4496940"/>
              <a:gd name="connsiteX79" fmla="*/ 1030627 w 4519987"/>
              <a:gd name="connsiteY79" fmla="*/ 4124325 h 4496940"/>
              <a:gd name="connsiteX80" fmla="*/ 925852 w 4519987"/>
              <a:gd name="connsiteY80" fmla="*/ 4067175 h 4496940"/>
              <a:gd name="connsiteX81" fmla="*/ 830602 w 4519987"/>
              <a:gd name="connsiteY81" fmla="*/ 3981450 h 4496940"/>
              <a:gd name="connsiteX82" fmla="*/ 763927 w 4519987"/>
              <a:gd name="connsiteY82" fmla="*/ 3914775 h 4496940"/>
              <a:gd name="connsiteX83" fmla="*/ 725827 w 4519987"/>
              <a:gd name="connsiteY83" fmla="*/ 3876675 h 4496940"/>
              <a:gd name="connsiteX84" fmla="*/ 697252 w 4519987"/>
              <a:gd name="connsiteY84" fmla="*/ 3838575 h 4496940"/>
              <a:gd name="connsiteX85" fmla="*/ 640102 w 4519987"/>
              <a:gd name="connsiteY85" fmla="*/ 3781425 h 4496940"/>
              <a:gd name="connsiteX86" fmla="*/ 611527 w 4519987"/>
              <a:gd name="connsiteY86" fmla="*/ 3733800 h 4496940"/>
              <a:gd name="connsiteX87" fmla="*/ 554377 w 4519987"/>
              <a:gd name="connsiteY87" fmla="*/ 3657600 h 4496940"/>
              <a:gd name="connsiteX88" fmla="*/ 525802 w 4519987"/>
              <a:gd name="connsiteY88" fmla="*/ 3609975 h 4496940"/>
              <a:gd name="connsiteX89" fmla="*/ 497227 w 4519987"/>
              <a:gd name="connsiteY89" fmla="*/ 3552825 h 4496940"/>
              <a:gd name="connsiteX90" fmla="*/ 440077 w 4519987"/>
              <a:gd name="connsiteY90" fmla="*/ 3495675 h 4496940"/>
              <a:gd name="connsiteX91" fmla="*/ 411502 w 4519987"/>
              <a:gd name="connsiteY91" fmla="*/ 3448050 h 4496940"/>
              <a:gd name="connsiteX92" fmla="*/ 278152 w 4519987"/>
              <a:gd name="connsiteY92" fmla="*/ 3257550 h 4496940"/>
              <a:gd name="connsiteX93" fmla="*/ 249577 w 4519987"/>
              <a:gd name="connsiteY93" fmla="*/ 3200400 h 4496940"/>
              <a:gd name="connsiteX94" fmla="*/ 240052 w 4519987"/>
              <a:gd name="connsiteY94" fmla="*/ 3162300 h 4496940"/>
              <a:gd name="connsiteX95" fmla="*/ 221002 w 4519987"/>
              <a:gd name="connsiteY95" fmla="*/ 3105150 h 4496940"/>
              <a:gd name="connsiteX96" fmla="*/ 173377 w 4519987"/>
              <a:gd name="connsiteY96" fmla="*/ 3019425 h 4496940"/>
              <a:gd name="connsiteX97" fmla="*/ 144802 w 4519987"/>
              <a:gd name="connsiteY97" fmla="*/ 2924175 h 4496940"/>
              <a:gd name="connsiteX98" fmla="*/ 68602 w 4519987"/>
              <a:gd name="connsiteY98" fmla="*/ 2724150 h 4496940"/>
              <a:gd name="connsiteX99" fmla="*/ 49552 w 4519987"/>
              <a:gd name="connsiteY99" fmla="*/ 2638425 h 4496940"/>
              <a:gd name="connsiteX100" fmla="*/ 40027 w 4519987"/>
              <a:gd name="connsiteY100" fmla="*/ 2562225 h 4496940"/>
              <a:gd name="connsiteX101" fmla="*/ 30502 w 4519987"/>
              <a:gd name="connsiteY101" fmla="*/ 2514600 h 4496940"/>
              <a:gd name="connsiteX102" fmla="*/ 11452 w 4519987"/>
              <a:gd name="connsiteY102" fmla="*/ 2400300 h 4496940"/>
              <a:gd name="connsiteX103" fmla="*/ 20977 w 4519987"/>
              <a:gd name="connsiteY103" fmla="*/ 1905000 h 4496940"/>
              <a:gd name="connsiteX104" fmla="*/ 30502 w 4519987"/>
              <a:gd name="connsiteY104" fmla="*/ 1838325 h 4496940"/>
              <a:gd name="connsiteX105" fmla="*/ 49552 w 4519987"/>
              <a:gd name="connsiteY105" fmla="*/ 1781175 h 4496940"/>
              <a:gd name="connsiteX106" fmla="*/ 59077 w 4519987"/>
              <a:gd name="connsiteY106" fmla="*/ 1743075 h 4496940"/>
              <a:gd name="connsiteX107" fmla="*/ 78127 w 4519987"/>
              <a:gd name="connsiteY107" fmla="*/ 1685925 h 4496940"/>
              <a:gd name="connsiteX108" fmla="*/ 87652 w 4519987"/>
              <a:gd name="connsiteY108" fmla="*/ 1638300 h 4496940"/>
              <a:gd name="connsiteX109" fmla="*/ 106702 w 4519987"/>
              <a:gd name="connsiteY109" fmla="*/ 1590675 h 4496940"/>
              <a:gd name="connsiteX110" fmla="*/ 135277 w 4519987"/>
              <a:gd name="connsiteY110" fmla="*/ 1504950 h 4496940"/>
              <a:gd name="connsiteX111" fmla="*/ 154327 w 4519987"/>
              <a:gd name="connsiteY111" fmla="*/ 1419225 h 4496940"/>
              <a:gd name="connsiteX112" fmla="*/ 230527 w 4519987"/>
              <a:gd name="connsiteY112" fmla="*/ 1276350 h 4496940"/>
              <a:gd name="connsiteX113" fmla="*/ 240052 w 4519987"/>
              <a:gd name="connsiteY113" fmla="*/ 1247775 h 4496940"/>
              <a:gd name="connsiteX114" fmla="*/ 268627 w 4519987"/>
              <a:gd name="connsiteY114" fmla="*/ 1200150 h 4496940"/>
              <a:gd name="connsiteX115" fmla="*/ 287677 w 4519987"/>
              <a:gd name="connsiteY115" fmla="*/ 1152525 h 4496940"/>
              <a:gd name="connsiteX116" fmla="*/ 316252 w 4519987"/>
              <a:gd name="connsiteY116" fmla="*/ 1114425 h 4496940"/>
              <a:gd name="connsiteX117" fmla="*/ 363877 w 4519987"/>
              <a:gd name="connsiteY117" fmla="*/ 1038225 h 4496940"/>
              <a:gd name="connsiteX118" fmla="*/ 382927 w 4519987"/>
              <a:gd name="connsiteY118" fmla="*/ 1009650 h 4496940"/>
              <a:gd name="connsiteX119" fmla="*/ 440077 w 4519987"/>
              <a:gd name="connsiteY119" fmla="*/ 904875 h 4496940"/>
              <a:gd name="connsiteX120" fmla="*/ 478177 w 4519987"/>
              <a:gd name="connsiteY120" fmla="*/ 857250 h 4496940"/>
              <a:gd name="connsiteX121" fmla="*/ 497227 w 4519987"/>
              <a:gd name="connsiteY121" fmla="*/ 828675 h 4496940"/>
              <a:gd name="connsiteX122" fmla="*/ 535327 w 4519987"/>
              <a:gd name="connsiteY122" fmla="*/ 800100 h 4496940"/>
              <a:gd name="connsiteX123" fmla="*/ 602002 w 4519987"/>
              <a:gd name="connsiteY123" fmla="*/ 733425 h 4496940"/>
              <a:gd name="connsiteX124" fmla="*/ 668677 w 4519987"/>
              <a:gd name="connsiteY124" fmla="*/ 676275 h 4496940"/>
              <a:gd name="connsiteX125" fmla="*/ 697252 w 4519987"/>
              <a:gd name="connsiteY125" fmla="*/ 657225 h 4496940"/>
              <a:gd name="connsiteX126" fmla="*/ 840127 w 4519987"/>
              <a:gd name="connsiteY126" fmla="*/ 533400 h 4496940"/>
              <a:gd name="connsiteX127" fmla="*/ 887752 w 4519987"/>
              <a:gd name="connsiteY127" fmla="*/ 504825 h 4496940"/>
              <a:gd name="connsiteX128" fmla="*/ 1167152 w 4519987"/>
              <a:gd name="connsiteY128" fmla="*/ 311150 h 4496940"/>
              <a:gd name="connsiteX129" fmla="*/ 1268752 w 4519987"/>
              <a:gd name="connsiteY129" fmla="*/ 285750 h 4496940"/>
              <a:gd name="connsiteX130" fmla="*/ 1411627 w 4519987"/>
              <a:gd name="connsiteY130" fmla="*/ 190500 h 4496940"/>
              <a:gd name="connsiteX131" fmla="*/ 1449727 w 4519987"/>
              <a:gd name="connsiteY131" fmla="*/ 161925 h 4496940"/>
              <a:gd name="connsiteX132" fmla="*/ 1525927 w 4519987"/>
              <a:gd name="connsiteY132" fmla="*/ 152400 h 4496940"/>
              <a:gd name="connsiteX133" fmla="*/ 1583077 w 4519987"/>
              <a:gd name="connsiteY133" fmla="*/ 142875 h 4496940"/>
              <a:gd name="connsiteX134" fmla="*/ 1716427 w 4519987"/>
              <a:gd name="connsiteY134" fmla="*/ 123825 h 4496940"/>
              <a:gd name="connsiteX135" fmla="*/ 1811677 w 4519987"/>
              <a:gd name="connsiteY135" fmla="*/ 114300 h 4496940"/>
              <a:gd name="connsiteX136" fmla="*/ 1859302 w 4519987"/>
              <a:gd name="connsiteY136" fmla="*/ 104775 h 4496940"/>
              <a:gd name="connsiteX137" fmla="*/ 1916452 w 4519987"/>
              <a:gd name="connsiteY137" fmla="*/ 95250 h 4496940"/>
              <a:gd name="connsiteX138" fmla="*/ 2030752 w 4519987"/>
              <a:gd name="connsiteY138" fmla="*/ 66675 h 4496940"/>
              <a:gd name="connsiteX139" fmla="*/ 2097427 w 4519987"/>
              <a:gd name="connsiteY139" fmla="*/ 47625 h 4496940"/>
              <a:gd name="connsiteX140" fmla="*/ 2164102 w 4519987"/>
              <a:gd name="connsiteY140" fmla="*/ 38100 h 4496940"/>
              <a:gd name="connsiteX141" fmla="*/ 2392702 w 4519987"/>
              <a:gd name="connsiteY14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211977 w 4519987"/>
              <a:gd name="connsiteY34" fmla="*/ 3362325 h 4496940"/>
              <a:gd name="connsiteX35" fmla="*/ 4183402 w 4519987"/>
              <a:gd name="connsiteY35" fmla="*/ 3400425 h 4496940"/>
              <a:gd name="connsiteX36" fmla="*/ 4088152 w 4519987"/>
              <a:gd name="connsiteY36" fmla="*/ 3495675 h 4496940"/>
              <a:gd name="connsiteX37" fmla="*/ 4059577 w 4519987"/>
              <a:gd name="connsiteY37" fmla="*/ 3533775 h 4496940"/>
              <a:gd name="connsiteX38" fmla="*/ 4002427 w 4519987"/>
              <a:gd name="connsiteY38" fmla="*/ 3600450 h 4496940"/>
              <a:gd name="connsiteX39" fmla="*/ 3983377 w 4519987"/>
              <a:gd name="connsiteY39" fmla="*/ 3629025 h 4496940"/>
              <a:gd name="connsiteX40" fmla="*/ 3954802 w 4519987"/>
              <a:gd name="connsiteY40" fmla="*/ 3648075 h 4496940"/>
              <a:gd name="connsiteX41" fmla="*/ 3907177 w 4519987"/>
              <a:gd name="connsiteY41" fmla="*/ 3686175 h 4496940"/>
              <a:gd name="connsiteX42" fmla="*/ 3869077 w 4519987"/>
              <a:gd name="connsiteY42" fmla="*/ 3724275 h 4496940"/>
              <a:gd name="connsiteX43" fmla="*/ 3792877 w 4519987"/>
              <a:gd name="connsiteY43" fmla="*/ 3781425 h 4496940"/>
              <a:gd name="connsiteX44" fmla="*/ 3783352 w 4519987"/>
              <a:gd name="connsiteY44" fmla="*/ 3810000 h 4496940"/>
              <a:gd name="connsiteX45" fmla="*/ 3745252 w 4519987"/>
              <a:gd name="connsiteY45" fmla="*/ 3819525 h 4496940"/>
              <a:gd name="connsiteX46" fmla="*/ 3678577 w 4519987"/>
              <a:gd name="connsiteY46" fmla="*/ 3848100 h 4496940"/>
              <a:gd name="connsiteX47" fmla="*/ 3659527 w 4519987"/>
              <a:gd name="connsiteY47" fmla="*/ 3971925 h 4496940"/>
              <a:gd name="connsiteX48" fmla="*/ 3630952 w 4519987"/>
              <a:gd name="connsiteY48" fmla="*/ 4010025 h 4496940"/>
              <a:gd name="connsiteX49" fmla="*/ 3621427 w 4519987"/>
              <a:gd name="connsiteY49" fmla="*/ 4038600 h 4496940"/>
              <a:gd name="connsiteX50" fmla="*/ 3554752 w 4519987"/>
              <a:gd name="connsiteY50" fmla="*/ 4095750 h 4496940"/>
              <a:gd name="connsiteX51" fmla="*/ 3516652 w 4519987"/>
              <a:gd name="connsiteY51" fmla="*/ 4114800 h 4496940"/>
              <a:gd name="connsiteX52" fmla="*/ 3497602 w 4519987"/>
              <a:gd name="connsiteY52" fmla="*/ 4143375 h 4496940"/>
              <a:gd name="connsiteX53" fmla="*/ 3383302 w 4519987"/>
              <a:gd name="connsiteY53" fmla="*/ 4210050 h 4496940"/>
              <a:gd name="connsiteX54" fmla="*/ 3335677 w 4519987"/>
              <a:gd name="connsiteY54" fmla="*/ 4238625 h 4496940"/>
              <a:gd name="connsiteX55" fmla="*/ 3288052 w 4519987"/>
              <a:gd name="connsiteY55" fmla="*/ 4248150 h 4496940"/>
              <a:gd name="connsiteX56" fmla="*/ 3240427 w 4519987"/>
              <a:gd name="connsiteY56" fmla="*/ 4267200 h 4496940"/>
              <a:gd name="connsiteX57" fmla="*/ 3068977 w 4519987"/>
              <a:gd name="connsiteY57" fmla="*/ 4286250 h 4496940"/>
              <a:gd name="connsiteX58" fmla="*/ 2935627 w 4519987"/>
              <a:gd name="connsiteY58" fmla="*/ 4333875 h 4496940"/>
              <a:gd name="connsiteX59" fmla="*/ 2811802 w 4519987"/>
              <a:gd name="connsiteY59" fmla="*/ 4371975 h 4496940"/>
              <a:gd name="connsiteX60" fmla="*/ 2745127 w 4519987"/>
              <a:gd name="connsiteY60" fmla="*/ 4410075 h 4496940"/>
              <a:gd name="connsiteX61" fmla="*/ 2697502 w 4519987"/>
              <a:gd name="connsiteY61" fmla="*/ 4429125 h 4496940"/>
              <a:gd name="connsiteX62" fmla="*/ 2640352 w 4519987"/>
              <a:gd name="connsiteY62" fmla="*/ 4457700 h 4496940"/>
              <a:gd name="connsiteX63" fmla="*/ 2583202 w 4519987"/>
              <a:gd name="connsiteY63" fmla="*/ 4467225 h 4496940"/>
              <a:gd name="connsiteX64" fmla="*/ 2545102 w 4519987"/>
              <a:gd name="connsiteY64" fmla="*/ 4486275 h 4496940"/>
              <a:gd name="connsiteX65" fmla="*/ 2306977 w 4519987"/>
              <a:gd name="connsiteY65" fmla="*/ 4476750 h 4496940"/>
              <a:gd name="connsiteX66" fmla="*/ 2202202 w 4519987"/>
              <a:gd name="connsiteY66" fmla="*/ 4457700 h 4496940"/>
              <a:gd name="connsiteX67" fmla="*/ 2126002 w 4519987"/>
              <a:gd name="connsiteY67" fmla="*/ 4429125 h 4496940"/>
              <a:gd name="connsiteX68" fmla="*/ 1935502 w 4519987"/>
              <a:gd name="connsiteY68" fmla="*/ 4400550 h 4496940"/>
              <a:gd name="connsiteX69" fmla="*/ 1821202 w 4519987"/>
              <a:gd name="connsiteY69" fmla="*/ 4371975 h 4496940"/>
              <a:gd name="connsiteX70" fmla="*/ 1754527 w 4519987"/>
              <a:gd name="connsiteY70" fmla="*/ 4352925 h 4496940"/>
              <a:gd name="connsiteX71" fmla="*/ 1687852 w 4519987"/>
              <a:gd name="connsiteY71" fmla="*/ 4343400 h 4496940"/>
              <a:gd name="connsiteX72" fmla="*/ 1573552 w 4519987"/>
              <a:gd name="connsiteY72" fmla="*/ 4305300 h 4496940"/>
              <a:gd name="connsiteX73" fmla="*/ 1402102 w 4519987"/>
              <a:gd name="connsiteY73" fmla="*/ 4276725 h 4496940"/>
              <a:gd name="connsiteX74" fmla="*/ 1287802 w 4519987"/>
              <a:gd name="connsiteY74" fmla="*/ 4229100 h 4496940"/>
              <a:gd name="connsiteX75" fmla="*/ 1221127 w 4519987"/>
              <a:gd name="connsiteY75" fmla="*/ 4200525 h 4496940"/>
              <a:gd name="connsiteX76" fmla="*/ 1144927 w 4519987"/>
              <a:gd name="connsiteY76" fmla="*/ 4171950 h 4496940"/>
              <a:gd name="connsiteX77" fmla="*/ 1087777 w 4519987"/>
              <a:gd name="connsiteY77" fmla="*/ 4143375 h 4496940"/>
              <a:gd name="connsiteX78" fmla="*/ 1030627 w 4519987"/>
              <a:gd name="connsiteY78" fmla="*/ 4124325 h 4496940"/>
              <a:gd name="connsiteX79" fmla="*/ 925852 w 4519987"/>
              <a:gd name="connsiteY79" fmla="*/ 4067175 h 4496940"/>
              <a:gd name="connsiteX80" fmla="*/ 830602 w 4519987"/>
              <a:gd name="connsiteY80" fmla="*/ 3981450 h 4496940"/>
              <a:gd name="connsiteX81" fmla="*/ 763927 w 4519987"/>
              <a:gd name="connsiteY81" fmla="*/ 3914775 h 4496940"/>
              <a:gd name="connsiteX82" fmla="*/ 725827 w 4519987"/>
              <a:gd name="connsiteY82" fmla="*/ 3876675 h 4496940"/>
              <a:gd name="connsiteX83" fmla="*/ 697252 w 4519987"/>
              <a:gd name="connsiteY83" fmla="*/ 3838575 h 4496940"/>
              <a:gd name="connsiteX84" fmla="*/ 640102 w 4519987"/>
              <a:gd name="connsiteY84" fmla="*/ 3781425 h 4496940"/>
              <a:gd name="connsiteX85" fmla="*/ 611527 w 4519987"/>
              <a:gd name="connsiteY85" fmla="*/ 3733800 h 4496940"/>
              <a:gd name="connsiteX86" fmla="*/ 554377 w 4519987"/>
              <a:gd name="connsiteY86" fmla="*/ 3657600 h 4496940"/>
              <a:gd name="connsiteX87" fmla="*/ 525802 w 4519987"/>
              <a:gd name="connsiteY87" fmla="*/ 3609975 h 4496940"/>
              <a:gd name="connsiteX88" fmla="*/ 497227 w 4519987"/>
              <a:gd name="connsiteY88" fmla="*/ 3552825 h 4496940"/>
              <a:gd name="connsiteX89" fmla="*/ 440077 w 4519987"/>
              <a:gd name="connsiteY89" fmla="*/ 3495675 h 4496940"/>
              <a:gd name="connsiteX90" fmla="*/ 411502 w 4519987"/>
              <a:gd name="connsiteY90" fmla="*/ 3448050 h 4496940"/>
              <a:gd name="connsiteX91" fmla="*/ 278152 w 4519987"/>
              <a:gd name="connsiteY91" fmla="*/ 3257550 h 4496940"/>
              <a:gd name="connsiteX92" fmla="*/ 249577 w 4519987"/>
              <a:gd name="connsiteY92" fmla="*/ 3200400 h 4496940"/>
              <a:gd name="connsiteX93" fmla="*/ 240052 w 4519987"/>
              <a:gd name="connsiteY93" fmla="*/ 3162300 h 4496940"/>
              <a:gd name="connsiteX94" fmla="*/ 221002 w 4519987"/>
              <a:gd name="connsiteY94" fmla="*/ 3105150 h 4496940"/>
              <a:gd name="connsiteX95" fmla="*/ 173377 w 4519987"/>
              <a:gd name="connsiteY95" fmla="*/ 3019425 h 4496940"/>
              <a:gd name="connsiteX96" fmla="*/ 144802 w 4519987"/>
              <a:gd name="connsiteY96" fmla="*/ 2924175 h 4496940"/>
              <a:gd name="connsiteX97" fmla="*/ 68602 w 4519987"/>
              <a:gd name="connsiteY97" fmla="*/ 2724150 h 4496940"/>
              <a:gd name="connsiteX98" fmla="*/ 49552 w 4519987"/>
              <a:gd name="connsiteY98" fmla="*/ 2638425 h 4496940"/>
              <a:gd name="connsiteX99" fmla="*/ 40027 w 4519987"/>
              <a:gd name="connsiteY99" fmla="*/ 2562225 h 4496940"/>
              <a:gd name="connsiteX100" fmla="*/ 30502 w 4519987"/>
              <a:gd name="connsiteY100" fmla="*/ 2514600 h 4496940"/>
              <a:gd name="connsiteX101" fmla="*/ 11452 w 4519987"/>
              <a:gd name="connsiteY101" fmla="*/ 2400300 h 4496940"/>
              <a:gd name="connsiteX102" fmla="*/ 20977 w 4519987"/>
              <a:gd name="connsiteY102" fmla="*/ 1905000 h 4496940"/>
              <a:gd name="connsiteX103" fmla="*/ 30502 w 4519987"/>
              <a:gd name="connsiteY103" fmla="*/ 1838325 h 4496940"/>
              <a:gd name="connsiteX104" fmla="*/ 49552 w 4519987"/>
              <a:gd name="connsiteY104" fmla="*/ 1781175 h 4496940"/>
              <a:gd name="connsiteX105" fmla="*/ 59077 w 4519987"/>
              <a:gd name="connsiteY105" fmla="*/ 1743075 h 4496940"/>
              <a:gd name="connsiteX106" fmla="*/ 78127 w 4519987"/>
              <a:gd name="connsiteY106" fmla="*/ 1685925 h 4496940"/>
              <a:gd name="connsiteX107" fmla="*/ 87652 w 4519987"/>
              <a:gd name="connsiteY107" fmla="*/ 1638300 h 4496940"/>
              <a:gd name="connsiteX108" fmla="*/ 106702 w 4519987"/>
              <a:gd name="connsiteY108" fmla="*/ 1590675 h 4496940"/>
              <a:gd name="connsiteX109" fmla="*/ 135277 w 4519987"/>
              <a:gd name="connsiteY109" fmla="*/ 1504950 h 4496940"/>
              <a:gd name="connsiteX110" fmla="*/ 154327 w 4519987"/>
              <a:gd name="connsiteY110" fmla="*/ 1419225 h 4496940"/>
              <a:gd name="connsiteX111" fmla="*/ 230527 w 4519987"/>
              <a:gd name="connsiteY111" fmla="*/ 1276350 h 4496940"/>
              <a:gd name="connsiteX112" fmla="*/ 240052 w 4519987"/>
              <a:gd name="connsiteY112" fmla="*/ 1247775 h 4496940"/>
              <a:gd name="connsiteX113" fmla="*/ 268627 w 4519987"/>
              <a:gd name="connsiteY113" fmla="*/ 1200150 h 4496940"/>
              <a:gd name="connsiteX114" fmla="*/ 287677 w 4519987"/>
              <a:gd name="connsiteY114" fmla="*/ 1152525 h 4496940"/>
              <a:gd name="connsiteX115" fmla="*/ 316252 w 4519987"/>
              <a:gd name="connsiteY115" fmla="*/ 1114425 h 4496940"/>
              <a:gd name="connsiteX116" fmla="*/ 363877 w 4519987"/>
              <a:gd name="connsiteY116" fmla="*/ 1038225 h 4496940"/>
              <a:gd name="connsiteX117" fmla="*/ 382927 w 4519987"/>
              <a:gd name="connsiteY117" fmla="*/ 1009650 h 4496940"/>
              <a:gd name="connsiteX118" fmla="*/ 440077 w 4519987"/>
              <a:gd name="connsiteY118" fmla="*/ 904875 h 4496940"/>
              <a:gd name="connsiteX119" fmla="*/ 478177 w 4519987"/>
              <a:gd name="connsiteY119" fmla="*/ 857250 h 4496940"/>
              <a:gd name="connsiteX120" fmla="*/ 497227 w 4519987"/>
              <a:gd name="connsiteY120" fmla="*/ 828675 h 4496940"/>
              <a:gd name="connsiteX121" fmla="*/ 535327 w 4519987"/>
              <a:gd name="connsiteY121" fmla="*/ 800100 h 4496940"/>
              <a:gd name="connsiteX122" fmla="*/ 602002 w 4519987"/>
              <a:gd name="connsiteY122" fmla="*/ 733425 h 4496940"/>
              <a:gd name="connsiteX123" fmla="*/ 668677 w 4519987"/>
              <a:gd name="connsiteY123" fmla="*/ 676275 h 4496940"/>
              <a:gd name="connsiteX124" fmla="*/ 697252 w 4519987"/>
              <a:gd name="connsiteY124" fmla="*/ 657225 h 4496940"/>
              <a:gd name="connsiteX125" fmla="*/ 840127 w 4519987"/>
              <a:gd name="connsiteY125" fmla="*/ 533400 h 4496940"/>
              <a:gd name="connsiteX126" fmla="*/ 887752 w 4519987"/>
              <a:gd name="connsiteY126" fmla="*/ 504825 h 4496940"/>
              <a:gd name="connsiteX127" fmla="*/ 1167152 w 4519987"/>
              <a:gd name="connsiteY127" fmla="*/ 311150 h 4496940"/>
              <a:gd name="connsiteX128" fmla="*/ 1268752 w 4519987"/>
              <a:gd name="connsiteY128" fmla="*/ 285750 h 4496940"/>
              <a:gd name="connsiteX129" fmla="*/ 1411627 w 4519987"/>
              <a:gd name="connsiteY129" fmla="*/ 190500 h 4496940"/>
              <a:gd name="connsiteX130" fmla="*/ 1449727 w 4519987"/>
              <a:gd name="connsiteY130" fmla="*/ 161925 h 4496940"/>
              <a:gd name="connsiteX131" fmla="*/ 1525927 w 4519987"/>
              <a:gd name="connsiteY131" fmla="*/ 152400 h 4496940"/>
              <a:gd name="connsiteX132" fmla="*/ 1583077 w 4519987"/>
              <a:gd name="connsiteY132" fmla="*/ 142875 h 4496940"/>
              <a:gd name="connsiteX133" fmla="*/ 1716427 w 4519987"/>
              <a:gd name="connsiteY133" fmla="*/ 123825 h 4496940"/>
              <a:gd name="connsiteX134" fmla="*/ 1811677 w 4519987"/>
              <a:gd name="connsiteY134" fmla="*/ 114300 h 4496940"/>
              <a:gd name="connsiteX135" fmla="*/ 1859302 w 4519987"/>
              <a:gd name="connsiteY135" fmla="*/ 104775 h 4496940"/>
              <a:gd name="connsiteX136" fmla="*/ 1916452 w 4519987"/>
              <a:gd name="connsiteY136" fmla="*/ 95250 h 4496940"/>
              <a:gd name="connsiteX137" fmla="*/ 2030752 w 4519987"/>
              <a:gd name="connsiteY137" fmla="*/ 66675 h 4496940"/>
              <a:gd name="connsiteX138" fmla="*/ 2097427 w 4519987"/>
              <a:gd name="connsiteY138" fmla="*/ 47625 h 4496940"/>
              <a:gd name="connsiteX139" fmla="*/ 2164102 w 4519987"/>
              <a:gd name="connsiteY139" fmla="*/ 38100 h 4496940"/>
              <a:gd name="connsiteX140" fmla="*/ 2392702 w 4519987"/>
              <a:gd name="connsiteY14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183402 w 4519987"/>
              <a:gd name="connsiteY34" fmla="*/ 3400425 h 4496940"/>
              <a:gd name="connsiteX35" fmla="*/ 4088152 w 4519987"/>
              <a:gd name="connsiteY35" fmla="*/ 3495675 h 4496940"/>
              <a:gd name="connsiteX36" fmla="*/ 4059577 w 4519987"/>
              <a:gd name="connsiteY36" fmla="*/ 3533775 h 4496940"/>
              <a:gd name="connsiteX37" fmla="*/ 4002427 w 4519987"/>
              <a:gd name="connsiteY37" fmla="*/ 3600450 h 4496940"/>
              <a:gd name="connsiteX38" fmla="*/ 3983377 w 4519987"/>
              <a:gd name="connsiteY38" fmla="*/ 3629025 h 4496940"/>
              <a:gd name="connsiteX39" fmla="*/ 3954802 w 4519987"/>
              <a:gd name="connsiteY39" fmla="*/ 3648075 h 4496940"/>
              <a:gd name="connsiteX40" fmla="*/ 3907177 w 4519987"/>
              <a:gd name="connsiteY40" fmla="*/ 3686175 h 4496940"/>
              <a:gd name="connsiteX41" fmla="*/ 3869077 w 4519987"/>
              <a:gd name="connsiteY41" fmla="*/ 3724275 h 4496940"/>
              <a:gd name="connsiteX42" fmla="*/ 3792877 w 4519987"/>
              <a:gd name="connsiteY42" fmla="*/ 3781425 h 4496940"/>
              <a:gd name="connsiteX43" fmla="*/ 3783352 w 4519987"/>
              <a:gd name="connsiteY43" fmla="*/ 3810000 h 4496940"/>
              <a:gd name="connsiteX44" fmla="*/ 3745252 w 4519987"/>
              <a:gd name="connsiteY44" fmla="*/ 3819525 h 4496940"/>
              <a:gd name="connsiteX45" fmla="*/ 3678577 w 4519987"/>
              <a:gd name="connsiteY45" fmla="*/ 3848100 h 4496940"/>
              <a:gd name="connsiteX46" fmla="*/ 3659527 w 4519987"/>
              <a:gd name="connsiteY46" fmla="*/ 3971925 h 4496940"/>
              <a:gd name="connsiteX47" fmla="*/ 3630952 w 4519987"/>
              <a:gd name="connsiteY47" fmla="*/ 4010025 h 4496940"/>
              <a:gd name="connsiteX48" fmla="*/ 3621427 w 4519987"/>
              <a:gd name="connsiteY48" fmla="*/ 4038600 h 4496940"/>
              <a:gd name="connsiteX49" fmla="*/ 3554752 w 4519987"/>
              <a:gd name="connsiteY49" fmla="*/ 4095750 h 4496940"/>
              <a:gd name="connsiteX50" fmla="*/ 3516652 w 4519987"/>
              <a:gd name="connsiteY50" fmla="*/ 4114800 h 4496940"/>
              <a:gd name="connsiteX51" fmla="*/ 3497602 w 4519987"/>
              <a:gd name="connsiteY51" fmla="*/ 4143375 h 4496940"/>
              <a:gd name="connsiteX52" fmla="*/ 3383302 w 4519987"/>
              <a:gd name="connsiteY52" fmla="*/ 4210050 h 4496940"/>
              <a:gd name="connsiteX53" fmla="*/ 3335677 w 4519987"/>
              <a:gd name="connsiteY53" fmla="*/ 4238625 h 4496940"/>
              <a:gd name="connsiteX54" fmla="*/ 3288052 w 4519987"/>
              <a:gd name="connsiteY54" fmla="*/ 4248150 h 4496940"/>
              <a:gd name="connsiteX55" fmla="*/ 3240427 w 4519987"/>
              <a:gd name="connsiteY55" fmla="*/ 4267200 h 4496940"/>
              <a:gd name="connsiteX56" fmla="*/ 3068977 w 4519987"/>
              <a:gd name="connsiteY56" fmla="*/ 4286250 h 4496940"/>
              <a:gd name="connsiteX57" fmla="*/ 2935627 w 4519987"/>
              <a:gd name="connsiteY57" fmla="*/ 4333875 h 4496940"/>
              <a:gd name="connsiteX58" fmla="*/ 2811802 w 4519987"/>
              <a:gd name="connsiteY58" fmla="*/ 4371975 h 4496940"/>
              <a:gd name="connsiteX59" fmla="*/ 2745127 w 4519987"/>
              <a:gd name="connsiteY59" fmla="*/ 4410075 h 4496940"/>
              <a:gd name="connsiteX60" fmla="*/ 2697502 w 4519987"/>
              <a:gd name="connsiteY60" fmla="*/ 4429125 h 4496940"/>
              <a:gd name="connsiteX61" fmla="*/ 2640352 w 4519987"/>
              <a:gd name="connsiteY61" fmla="*/ 4457700 h 4496940"/>
              <a:gd name="connsiteX62" fmla="*/ 2583202 w 4519987"/>
              <a:gd name="connsiteY62" fmla="*/ 4467225 h 4496940"/>
              <a:gd name="connsiteX63" fmla="*/ 2545102 w 4519987"/>
              <a:gd name="connsiteY63" fmla="*/ 4486275 h 4496940"/>
              <a:gd name="connsiteX64" fmla="*/ 2306977 w 4519987"/>
              <a:gd name="connsiteY64" fmla="*/ 4476750 h 4496940"/>
              <a:gd name="connsiteX65" fmla="*/ 2202202 w 4519987"/>
              <a:gd name="connsiteY65" fmla="*/ 4457700 h 4496940"/>
              <a:gd name="connsiteX66" fmla="*/ 2126002 w 4519987"/>
              <a:gd name="connsiteY66" fmla="*/ 4429125 h 4496940"/>
              <a:gd name="connsiteX67" fmla="*/ 1935502 w 4519987"/>
              <a:gd name="connsiteY67" fmla="*/ 4400550 h 4496940"/>
              <a:gd name="connsiteX68" fmla="*/ 1821202 w 4519987"/>
              <a:gd name="connsiteY68" fmla="*/ 4371975 h 4496940"/>
              <a:gd name="connsiteX69" fmla="*/ 1754527 w 4519987"/>
              <a:gd name="connsiteY69" fmla="*/ 4352925 h 4496940"/>
              <a:gd name="connsiteX70" fmla="*/ 1687852 w 4519987"/>
              <a:gd name="connsiteY70" fmla="*/ 4343400 h 4496940"/>
              <a:gd name="connsiteX71" fmla="*/ 1573552 w 4519987"/>
              <a:gd name="connsiteY71" fmla="*/ 4305300 h 4496940"/>
              <a:gd name="connsiteX72" fmla="*/ 1402102 w 4519987"/>
              <a:gd name="connsiteY72" fmla="*/ 4276725 h 4496940"/>
              <a:gd name="connsiteX73" fmla="*/ 1287802 w 4519987"/>
              <a:gd name="connsiteY73" fmla="*/ 4229100 h 4496940"/>
              <a:gd name="connsiteX74" fmla="*/ 1221127 w 4519987"/>
              <a:gd name="connsiteY74" fmla="*/ 4200525 h 4496940"/>
              <a:gd name="connsiteX75" fmla="*/ 1144927 w 4519987"/>
              <a:gd name="connsiteY75" fmla="*/ 4171950 h 4496940"/>
              <a:gd name="connsiteX76" fmla="*/ 1087777 w 4519987"/>
              <a:gd name="connsiteY76" fmla="*/ 4143375 h 4496940"/>
              <a:gd name="connsiteX77" fmla="*/ 1030627 w 4519987"/>
              <a:gd name="connsiteY77" fmla="*/ 4124325 h 4496940"/>
              <a:gd name="connsiteX78" fmla="*/ 925852 w 4519987"/>
              <a:gd name="connsiteY78" fmla="*/ 4067175 h 4496940"/>
              <a:gd name="connsiteX79" fmla="*/ 830602 w 4519987"/>
              <a:gd name="connsiteY79" fmla="*/ 3981450 h 4496940"/>
              <a:gd name="connsiteX80" fmla="*/ 763927 w 4519987"/>
              <a:gd name="connsiteY80" fmla="*/ 3914775 h 4496940"/>
              <a:gd name="connsiteX81" fmla="*/ 725827 w 4519987"/>
              <a:gd name="connsiteY81" fmla="*/ 3876675 h 4496940"/>
              <a:gd name="connsiteX82" fmla="*/ 697252 w 4519987"/>
              <a:gd name="connsiteY82" fmla="*/ 3838575 h 4496940"/>
              <a:gd name="connsiteX83" fmla="*/ 640102 w 4519987"/>
              <a:gd name="connsiteY83" fmla="*/ 3781425 h 4496940"/>
              <a:gd name="connsiteX84" fmla="*/ 611527 w 4519987"/>
              <a:gd name="connsiteY84" fmla="*/ 3733800 h 4496940"/>
              <a:gd name="connsiteX85" fmla="*/ 554377 w 4519987"/>
              <a:gd name="connsiteY85" fmla="*/ 3657600 h 4496940"/>
              <a:gd name="connsiteX86" fmla="*/ 525802 w 4519987"/>
              <a:gd name="connsiteY86" fmla="*/ 3609975 h 4496940"/>
              <a:gd name="connsiteX87" fmla="*/ 497227 w 4519987"/>
              <a:gd name="connsiteY87" fmla="*/ 3552825 h 4496940"/>
              <a:gd name="connsiteX88" fmla="*/ 440077 w 4519987"/>
              <a:gd name="connsiteY88" fmla="*/ 3495675 h 4496940"/>
              <a:gd name="connsiteX89" fmla="*/ 411502 w 4519987"/>
              <a:gd name="connsiteY89" fmla="*/ 3448050 h 4496940"/>
              <a:gd name="connsiteX90" fmla="*/ 278152 w 4519987"/>
              <a:gd name="connsiteY90" fmla="*/ 3257550 h 4496940"/>
              <a:gd name="connsiteX91" fmla="*/ 249577 w 4519987"/>
              <a:gd name="connsiteY91" fmla="*/ 3200400 h 4496940"/>
              <a:gd name="connsiteX92" fmla="*/ 240052 w 4519987"/>
              <a:gd name="connsiteY92" fmla="*/ 3162300 h 4496940"/>
              <a:gd name="connsiteX93" fmla="*/ 221002 w 4519987"/>
              <a:gd name="connsiteY93" fmla="*/ 3105150 h 4496940"/>
              <a:gd name="connsiteX94" fmla="*/ 173377 w 4519987"/>
              <a:gd name="connsiteY94" fmla="*/ 3019425 h 4496940"/>
              <a:gd name="connsiteX95" fmla="*/ 144802 w 4519987"/>
              <a:gd name="connsiteY95" fmla="*/ 2924175 h 4496940"/>
              <a:gd name="connsiteX96" fmla="*/ 68602 w 4519987"/>
              <a:gd name="connsiteY96" fmla="*/ 2724150 h 4496940"/>
              <a:gd name="connsiteX97" fmla="*/ 49552 w 4519987"/>
              <a:gd name="connsiteY97" fmla="*/ 2638425 h 4496940"/>
              <a:gd name="connsiteX98" fmla="*/ 40027 w 4519987"/>
              <a:gd name="connsiteY98" fmla="*/ 2562225 h 4496940"/>
              <a:gd name="connsiteX99" fmla="*/ 30502 w 4519987"/>
              <a:gd name="connsiteY99" fmla="*/ 2514600 h 4496940"/>
              <a:gd name="connsiteX100" fmla="*/ 11452 w 4519987"/>
              <a:gd name="connsiteY100" fmla="*/ 2400300 h 4496940"/>
              <a:gd name="connsiteX101" fmla="*/ 20977 w 4519987"/>
              <a:gd name="connsiteY101" fmla="*/ 1905000 h 4496940"/>
              <a:gd name="connsiteX102" fmla="*/ 30502 w 4519987"/>
              <a:gd name="connsiteY102" fmla="*/ 1838325 h 4496940"/>
              <a:gd name="connsiteX103" fmla="*/ 49552 w 4519987"/>
              <a:gd name="connsiteY103" fmla="*/ 1781175 h 4496940"/>
              <a:gd name="connsiteX104" fmla="*/ 59077 w 4519987"/>
              <a:gd name="connsiteY104" fmla="*/ 1743075 h 4496940"/>
              <a:gd name="connsiteX105" fmla="*/ 78127 w 4519987"/>
              <a:gd name="connsiteY105" fmla="*/ 1685925 h 4496940"/>
              <a:gd name="connsiteX106" fmla="*/ 87652 w 4519987"/>
              <a:gd name="connsiteY106" fmla="*/ 1638300 h 4496940"/>
              <a:gd name="connsiteX107" fmla="*/ 106702 w 4519987"/>
              <a:gd name="connsiteY107" fmla="*/ 1590675 h 4496940"/>
              <a:gd name="connsiteX108" fmla="*/ 135277 w 4519987"/>
              <a:gd name="connsiteY108" fmla="*/ 1504950 h 4496940"/>
              <a:gd name="connsiteX109" fmla="*/ 154327 w 4519987"/>
              <a:gd name="connsiteY109" fmla="*/ 1419225 h 4496940"/>
              <a:gd name="connsiteX110" fmla="*/ 230527 w 4519987"/>
              <a:gd name="connsiteY110" fmla="*/ 1276350 h 4496940"/>
              <a:gd name="connsiteX111" fmla="*/ 240052 w 4519987"/>
              <a:gd name="connsiteY111" fmla="*/ 1247775 h 4496940"/>
              <a:gd name="connsiteX112" fmla="*/ 268627 w 4519987"/>
              <a:gd name="connsiteY112" fmla="*/ 1200150 h 4496940"/>
              <a:gd name="connsiteX113" fmla="*/ 287677 w 4519987"/>
              <a:gd name="connsiteY113" fmla="*/ 1152525 h 4496940"/>
              <a:gd name="connsiteX114" fmla="*/ 316252 w 4519987"/>
              <a:gd name="connsiteY114" fmla="*/ 1114425 h 4496940"/>
              <a:gd name="connsiteX115" fmla="*/ 363877 w 4519987"/>
              <a:gd name="connsiteY115" fmla="*/ 1038225 h 4496940"/>
              <a:gd name="connsiteX116" fmla="*/ 382927 w 4519987"/>
              <a:gd name="connsiteY116" fmla="*/ 1009650 h 4496940"/>
              <a:gd name="connsiteX117" fmla="*/ 440077 w 4519987"/>
              <a:gd name="connsiteY117" fmla="*/ 904875 h 4496940"/>
              <a:gd name="connsiteX118" fmla="*/ 478177 w 4519987"/>
              <a:gd name="connsiteY118" fmla="*/ 857250 h 4496940"/>
              <a:gd name="connsiteX119" fmla="*/ 497227 w 4519987"/>
              <a:gd name="connsiteY119" fmla="*/ 828675 h 4496940"/>
              <a:gd name="connsiteX120" fmla="*/ 535327 w 4519987"/>
              <a:gd name="connsiteY120" fmla="*/ 800100 h 4496940"/>
              <a:gd name="connsiteX121" fmla="*/ 602002 w 4519987"/>
              <a:gd name="connsiteY121" fmla="*/ 733425 h 4496940"/>
              <a:gd name="connsiteX122" fmla="*/ 668677 w 4519987"/>
              <a:gd name="connsiteY122" fmla="*/ 676275 h 4496940"/>
              <a:gd name="connsiteX123" fmla="*/ 697252 w 4519987"/>
              <a:gd name="connsiteY123" fmla="*/ 657225 h 4496940"/>
              <a:gd name="connsiteX124" fmla="*/ 840127 w 4519987"/>
              <a:gd name="connsiteY124" fmla="*/ 533400 h 4496940"/>
              <a:gd name="connsiteX125" fmla="*/ 887752 w 4519987"/>
              <a:gd name="connsiteY125" fmla="*/ 504825 h 4496940"/>
              <a:gd name="connsiteX126" fmla="*/ 1167152 w 4519987"/>
              <a:gd name="connsiteY126" fmla="*/ 311150 h 4496940"/>
              <a:gd name="connsiteX127" fmla="*/ 1268752 w 4519987"/>
              <a:gd name="connsiteY127" fmla="*/ 285750 h 4496940"/>
              <a:gd name="connsiteX128" fmla="*/ 1411627 w 4519987"/>
              <a:gd name="connsiteY128" fmla="*/ 190500 h 4496940"/>
              <a:gd name="connsiteX129" fmla="*/ 1449727 w 4519987"/>
              <a:gd name="connsiteY129" fmla="*/ 161925 h 4496940"/>
              <a:gd name="connsiteX130" fmla="*/ 1525927 w 4519987"/>
              <a:gd name="connsiteY130" fmla="*/ 152400 h 4496940"/>
              <a:gd name="connsiteX131" fmla="*/ 1583077 w 4519987"/>
              <a:gd name="connsiteY131" fmla="*/ 142875 h 4496940"/>
              <a:gd name="connsiteX132" fmla="*/ 1716427 w 4519987"/>
              <a:gd name="connsiteY132" fmla="*/ 123825 h 4496940"/>
              <a:gd name="connsiteX133" fmla="*/ 1811677 w 4519987"/>
              <a:gd name="connsiteY133" fmla="*/ 114300 h 4496940"/>
              <a:gd name="connsiteX134" fmla="*/ 1859302 w 4519987"/>
              <a:gd name="connsiteY134" fmla="*/ 104775 h 4496940"/>
              <a:gd name="connsiteX135" fmla="*/ 1916452 w 4519987"/>
              <a:gd name="connsiteY135" fmla="*/ 95250 h 4496940"/>
              <a:gd name="connsiteX136" fmla="*/ 2030752 w 4519987"/>
              <a:gd name="connsiteY136" fmla="*/ 66675 h 4496940"/>
              <a:gd name="connsiteX137" fmla="*/ 2097427 w 4519987"/>
              <a:gd name="connsiteY137" fmla="*/ 47625 h 4496940"/>
              <a:gd name="connsiteX138" fmla="*/ 2164102 w 4519987"/>
              <a:gd name="connsiteY138" fmla="*/ 38100 h 4496940"/>
              <a:gd name="connsiteX139" fmla="*/ 2392702 w 4519987"/>
              <a:gd name="connsiteY13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83377 w 4519987"/>
              <a:gd name="connsiteY37" fmla="*/ 3629025 h 4496940"/>
              <a:gd name="connsiteX38" fmla="*/ 3954802 w 4519987"/>
              <a:gd name="connsiteY38" fmla="*/ 3648075 h 4496940"/>
              <a:gd name="connsiteX39" fmla="*/ 3907177 w 4519987"/>
              <a:gd name="connsiteY39" fmla="*/ 3686175 h 4496940"/>
              <a:gd name="connsiteX40" fmla="*/ 3869077 w 4519987"/>
              <a:gd name="connsiteY40" fmla="*/ 3724275 h 4496940"/>
              <a:gd name="connsiteX41" fmla="*/ 3792877 w 4519987"/>
              <a:gd name="connsiteY41" fmla="*/ 3781425 h 4496940"/>
              <a:gd name="connsiteX42" fmla="*/ 3783352 w 4519987"/>
              <a:gd name="connsiteY42" fmla="*/ 3810000 h 4496940"/>
              <a:gd name="connsiteX43" fmla="*/ 3745252 w 4519987"/>
              <a:gd name="connsiteY43" fmla="*/ 3819525 h 4496940"/>
              <a:gd name="connsiteX44" fmla="*/ 3678577 w 4519987"/>
              <a:gd name="connsiteY44" fmla="*/ 3848100 h 4496940"/>
              <a:gd name="connsiteX45" fmla="*/ 3659527 w 4519987"/>
              <a:gd name="connsiteY45" fmla="*/ 3971925 h 4496940"/>
              <a:gd name="connsiteX46" fmla="*/ 3630952 w 4519987"/>
              <a:gd name="connsiteY46" fmla="*/ 4010025 h 4496940"/>
              <a:gd name="connsiteX47" fmla="*/ 3621427 w 4519987"/>
              <a:gd name="connsiteY47" fmla="*/ 4038600 h 4496940"/>
              <a:gd name="connsiteX48" fmla="*/ 3554752 w 4519987"/>
              <a:gd name="connsiteY48" fmla="*/ 4095750 h 4496940"/>
              <a:gd name="connsiteX49" fmla="*/ 3516652 w 4519987"/>
              <a:gd name="connsiteY49" fmla="*/ 4114800 h 4496940"/>
              <a:gd name="connsiteX50" fmla="*/ 3497602 w 4519987"/>
              <a:gd name="connsiteY50" fmla="*/ 4143375 h 4496940"/>
              <a:gd name="connsiteX51" fmla="*/ 3383302 w 4519987"/>
              <a:gd name="connsiteY51" fmla="*/ 4210050 h 4496940"/>
              <a:gd name="connsiteX52" fmla="*/ 3335677 w 4519987"/>
              <a:gd name="connsiteY52" fmla="*/ 4238625 h 4496940"/>
              <a:gd name="connsiteX53" fmla="*/ 3288052 w 4519987"/>
              <a:gd name="connsiteY53" fmla="*/ 4248150 h 4496940"/>
              <a:gd name="connsiteX54" fmla="*/ 3240427 w 4519987"/>
              <a:gd name="connsiteY54" fmla="*/ 4267200 h 4496940"/>
              <a:gd name="connsiteX55" fmla="*/ 3068977 w 4519987"/>
              <a:gd name="connsiteY55" fmla="*/ 4286250 h 4496940"/>
              <a:gd name="connsiteX56" fmla="*/ 2935627 w 4519987"/>
              <a:gd name="connsiteY56" fmla="*/ 4333875 h 4496940"/>
              <a:gd name="connsiteX57" fmla="*/ 2811802 w 4519987"/>
              <a:gd name="connsiteY57" fmla="*/ 4371975 h 4496940"/>
              <a:gd name="connsiteX58" fmla="*/ 2745127 w 4519987"/>
              <a:gd name="connsiteY58" fmla="*/ 4410075 h 4496940"/>
              <a:gd name="connsiteX59" fmla="*/ 2697502 w 4519987"/>
              <a:gd name="connsiteY59" fmla="*/ 4429125 h 4496940"/>
              <a:gd name="connsiteX60" fmla="*/ 2640352 w 4519987"/>
              <a:gd name="connsiteY60" fmla="*/ 4457700 h 4496940"/>
              <a:gd name="connsiteX61" fmla="*/ 2583202 w 4519987"/>
              <a:gd name="connsiteY61" fmla="*/ 4467225 h 4496940"/>
              <a:gd name="connsiteX62" fmla="*/ 2545102 w 4519987"/>
              <a:gd name="connsiteY62" fmla="*/ 4486275 h 4496940"/>
              <a:gd name="connsiteX63" fmla="*/ 2306977 w 4519987"/>
              <a:gd name="connsiteY63" fmla="*/ 4476750 h 4496940"/>
              <a:gd name="connsiteX64" fmla="*/ 2202202 w 4519987"/>
              <a:gd name="connsiteY64" fmla="*/ 4457700 h 4496940"/>
              <a:gd name="connsiteX65" fmla="*/ 2126002 w 4519987"/>
              <a:gd name="connsiteY65" fmla="*/ 4429125 h 4496940"/>
              <a:gd name="connsiteX66" fmla="*/ 1935502 w 4519987"/>
              <a:gd name="connsiteY66" fmla="*/ 4400550 h 4496940"/>
              <a:gd name="connsiteX67" fmla="*/ 1821202 w 4519987"/>
              <a:gd name="connsiteY67" fmla="*/ 4371975 h 4496940"/>
              <a:gd name="connsiteX68" fmla="*/ 1754527 w 4519987"/>
              <a:gd name="connsiteY68" fmla="*/ 4352925 h 4496940"/>
              <a:gd name="connsiteX69" fmla="*/ 1687852 w 4519987"/>
              <a:gd name="connsiteY69" fmla="*/ 4343400 h 4496940"/>
              <a:gd name="connsiteX70" fmla="*/ 1573552 w 4519987"/>
              <a:gd name="connsiteY70" fmla="*/ 4305300 h 4496940"/>
              <a:gd name="connsiteX71" fmla="*/ 1402102 w 4519987"/>
              <a:gd name="connsiteY71" fmla="*/ 4276725 h 4496940"/>
              <a:gd name="connsiteX72" fmla="*/ 1287802 w 4519987"/>
              <a:gd name="connsiteY72" fmla="*/ 4229100 h 4496940"/>
              <a:gd name="connsiteX73" fmla="*/ 1221127 w 4519987"/>
              <a:gd name="connsiteY73" fmla="*/ 4200525 h 4496940"/>
              <a:gd name="connsiteX74" fmla="*/ 1144927 w 4519987"/>
              <a:gd name="connsiteY74" fmla="*/ 4171950 h 4496940"/>
              <a:gd name="connsiteX75" fmla="*/ 1087777 w 4519987"/>
              <a:gd name="connsiteY75" fmla="*/ 4143375 h 4496940"/>
              <a:gd name="connsiteX76" fmla="*/ 1030627 w 4519987"/>
              <a:gd name="connsiteY76" fmla="*/ 4124325 h 4496940"/>
              <a:gd name="connsiteX77" fmla="*/ 925852 w 4519987"/>
              <a:gd name="connsiteY77" fmla="*/ 4067175 h 4496940"/>
              <a:gd name="connsiteX78" fmla="*/ 830602 w 4519987"/>
              <a:gd name="connsiteY78" fmla="*/ 3981450 h 4496940"/>
              <a:gd name="connsiteX79" fmla="*/ 763927 w 4519987"/>
              <a:gd name="connsiteY79" fmla="*/ 3914775 h 4496940"/>
              <a:gd name="connsiteX80" fmla="*/ 725827 w 4519987"/>
              <a:gd name="connsiteY80" fmla="*/ 3876675 h 4496940"/>
              <a:gd name="connsiteX81" fmla="*/ 697252 w 4519987"/>
              <a:gd name="connsiteY81" fmla="*/ 3838575 h 4496940"/>
              <a:gd name="connsiteX82" fmla="*/ 640102 w 4519987"/>
              <a:gd name="connsiteY82" fmla="*/ 3781425 h 4496940"/>
              <a:gd name="connsiteX83" fmla="*/ 611527 w 4519987"/>
              <a:gd name="connsiteY83" fmla="*/ 3733800 h 4496940"/>
              <a:gd name="connsiteX84" fmla="*/ 554377 w 4519987"/>
              <a:gd name="connsiteY84" fmla="*/ 3657600 h 4496940"/>
              <a:gd name="connsiteX85" fmla="*/ 525802 w 4519987"/>
              <a:gd name="connsiteY85" fmla="*/ 3609975 h 4496940"/>
              <a:gd name="connsiteX86" fmla="*/ 497227 w 4519987"/>
              <a:gd name="connsiteY86" fmla="*/ 3552825 h 4496940"/>
              <a:gd name="connsiteX87" fmla="*/ 440077 w 4519987"/>
              <a:gd name="connsiteY87" fmla="*/ 3495675 h 4496940"/>
              <a:gd name="connsiteX88" fmla="*/ 411502 w 4519987"/>
              <a:gd name="connsiteY88" fmla="*/ 3448050 h 4496940"/>
              <a:gd name="connsiteX89" fmla="*/ 278152 w 4519987"/>
              <a:gd name="connsiteY89" fmla="*/ 3257550 h 4496940"/>
              <a:gd name="connsiteX90" fmla="*/ 249577 w 4519987"/>
              <a:gd name="connsiteY90" fmla="*/ 3200400 h 4496940"/>
              <a:gd name="connsiteX91" fmla="*/ 240052 w 4519987"/>
              <a:gd name="connsiteY91" fmla="*/ 3162300 h 4496940"/>
              <a:gd name="connsiteX92" fmla="*/ 221002 w 4519987"/>
              <a:gd name="connsiteY92" fmla="*/ 3105150 h 4496940"/>
              <a:gd name="connsiteX93" fmla="*/ 173377 w 4519987"/>
              <a:gd name="connsiteY93" fmla="*/ 3019425 h 4496940"/>
              <a:gd name="connsiteX94" fmla="*/ 144802 w 4519987"/>
              <a:gd name="connsiteY94" fmla="*/ 2924175 h 4496940"/>
              <a:gd name="connsiteX95" fmla="*/ 68602 w 4519987"/>
              <a:gd name="connsiteY95" fmla="*/ 2724150 h 4496940"/>
              <a:gd name="connsiteX96" fmla="*/ 49552 w 4519987"/>
              <a:gd name="connsiteY96" fmla="*/ 2638425 h 4496940"/>
              <a:gd name="connsiteX97" fmla="*/ 40027 w 4519987"/>
              <a:gd name="connsiteY97" fmla="*/ 2562225 h 4496940"/>
              <a:gd name="connsiteX98" fmla="*/ 30502 w 4519987"/>
              <a:gd name="connsiteY98" fmla="*/ 2514600 h 4496940"/>
              <a:gd name="connsiteX99" fmla="*/ 11452 w 4519987"/>
              <a:gd name="connsiteY99" fmla="*/ 2400300 h 4496940"/>
              <a:gd name="connsiteX100" fmla="*/ 20977 w 4519987"/>
              <a:gd name="connsiteY100" fmla="*/ 1905000 h 4496940"/>
              <a:gd name="connsiteX101" fmla="*/ 30502 w 4519987"/>
              <a:gd name="connsiteY101" fmla="*/ 1838325 h 4496940"/>
              <a:gd name="connsiteX102" fmla="*/ 49552 w 4519987"/>
              <a:gd name="connsiteY102" fmla="*/ 1781175 h 4496940"/>
              <a:gd name="connsiteX103" fmla="*/ 59077 w 4519987"/>
              <a:gd name="connsiteY103" fmla="*/ 1743075 h 4496940"/>
              <a:gd name="connsiteX104" fmla="*/ 78127 w 4519987"/>
              <a:gd name="connsiteY104" fmla="*/ 1685925 h 4496940"/>
              <a:gd name="connsiteX105" fmla="*/ 87652 w 4519987"/>
              <a:gd name="connsiteY105" fmla="*/ 1638300 h 4496940"/>
              <a:gd name="connsiteX106" fmla="*/ 106702 w 4519987"/>
              <a:gd name="connsiteY106" fmla="*/ 1590675 h 4496940"/>
              <a:gd name="connsiteX107" fmla="*/ 135277 w 4519987"/>
              <a:gd name="connsiteY107" fmla="*/ 1504950 h 4496940"/>
              <a:gd name="connsiteX108" fmla="*/ 154327 w 4519987"/>
              <a:gd name="connsiteY108" fmla="*/ 1419225 h 4496940"/>
              <a:gd name="connsiteX109" fmla="*/ 230527 w 4519987"/>
              <a:gd name="connsiteY109" fmla="*/ 1276350 h 4496940"/>
              <a:gd name="connsiteX110" fmla="*/ 240052 w 4519987"/>
              <a:gd name="connsiteY110" fmla="*/ 1247775 h 4496940"/>
              <a:gd name="connsiteX111" fmla="*/ 268627 w 4519987"/>
              <a:gd name="connsiteY111" fmla="*/ 1200150 h 4496940"/>
              <a:gd name="connsiteX112" fmla="*/ 287677 w 4519987"/>
              <a:gd name="connsiteY112" fmla="*/ 1152525 h 4496940"/>
              <a:gd name="connsiteX113" fmla="*/ 316252 w 4519987"/>
              <a:gd name="connsiteY113" fmla="*/ 1114425 h 4496940"/>
              <a:gd name="connsiteX114" fmla="*/ 363877 w 4519987"/>
              <a:gd name="connsiteY114" fmla="*/ 1038225 h 4496940"/>
              <a:gd name="connsiteX115" fmla="*/ 382927 w 4519987"/>
              <a:gd name="connsiteY115" fmla="*/ 1009650 h 4496940"/>
              <a:gd name="connsiteX116" fmla="*/ 440077 w 4519987"/>
              <a:gd name="connsiteY116" fmla="*/ 904875 h 4496940"/>
              <a:gd name="connsiteX117" fmla="*/ 478177 w 4519987"/>
              <a:gd name="connsiteY117" fmla="*/ 857250 h 4496940"/>
              <a:gd name="connsiteX118" fmla="*/ 497227 w 4519987"/>
              <a:gd name="connsiteY118" fmla="*/ 828675 h 4496940"/>
              <a:gd name="connsiteX119" fmla="*/ 535327 w 4519987"/>
              <a:gd name="connsiteY119" fmla="*/ 800100 h 4496940"/>
              <a:gd name="connsiteX120" fmla="*/ 602002 w 4519987"/>
              <a:gd name="connsiteY120" fmla="*/ 733425 h 4496940"/>
              <a:gd name="connsiteX121" fmla="*/ 668677 w 4519987"/>
              <a:gd name="connsiteY121" fmla="*/ 676275 h 4496940"/>
              <a:gd name="connsiteX122" fmla="*/ 697252 w 4519987"/>
              <a:gd name="connsiteY122" fmla="*/ 657225 h 4496940"/>
              <a:gd name="connsiteX123" fmla="*/ 840127 w 4519987"/>
              <a:gd name="connsiteY123" fmla="*/ 533400 h 4496940"/>
              <a:gd name="connsiteX124" fmla="*/ 887752 w 4519987"/>
              <a:gd name="connsiteY124" fmla="*/ 504825 h 4496940"/>
              <a:gd name="connsiteX125" fmla="*/ 1167152 w 4519987"/>
              <a:gd name="connsiteY125" fmla="*/ 311150 h 4496940"/>
              <a:gd name="connsiteX126" fmla="*/ 1268752 w 4519987"/>
              <a:gd name="connsiteY126" fmla="*/ 285750 h 4496940"/>
              <a:gd name="connsiteX127" fmla="*/ 1411627 w 4519987"/>
              <a:gd name="connsiteY127" fmla="*/ 190500 h 4496940"/>
              <a:gd name="connsiteX128" fmla="*/ 1449727 w 4519987"/>
              <a:gd name="connsiteY128" fmla="*/ 161925 h 4496940"/>
              <a:gd name="connsiteX129" fmla="*/ 1525927 w 4519987"/>
              <a:gd name="connsiteY129" fmla="*/ 152400 h 4496940"/>
              <a:gd name="connsiteX130" fmla="*/ 1583077 w 4519987"/>
              <a:gd name="connsiteY130" fmla="*/ 142875 h 4496940"/>
              <a:gd name="connsiteX131" fmla="*/ 1716427 w 4519987"/>
              <a:gd name="connsiteY131" fmla="*/ 123825 h 4496940"/>
              <a:gd name="connsiteX132" fmla="*/ 1811677 w 4519987"/>
              <a:gd name="connsiteY132" fmla="*/ 114300 h 4496940"/>
              <a:gd name="connsiteX133" fmla="*/ 1859302 w 4519987"/>
              <a:gd name="connsiteY133" fmla="*/ 104775 h 4496940"/>
              <a:gd name="connsiteX134" fmla="*/ 1916452 w 4519987"/>
              <a:gd name="connsiteY134" fmla="*/ 95250 h 4496940"/>
              <a:gd name="connsiteX135" fmla="*/ 2030752 w 4519987"/>
              <a:gd name="connsiteY135" fmla="*/ 66675 h 4496940"/>
              <a:gd name="connsiteX136" fmla="*/ 2097427 w 4519987"/>
              <a:gd name="connsiteY136" fmla="*/ 47625 h 4496940"/>
              <a:gd name="connsiteX137" fmla="*/ 2164102 w 4519987"/>
              <a:gd name="connsiteY137" fmla="*/ 38100 h 4496940"/>
              <a:gd name="connsiteX138" fmla="*/ 2392702 w 4519987"/>
              <a:gd name="connsiteY13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869077 w 4519987"/>
              <a:gd name="connsiteY39" fmla="*/ 3724275 h 4496940"/>
              <a:gd name="connsiteX40" fmla="*/ 3792877 w 4519987"/>
              <a:gd name="connsiteY40" fmla="*/ 3781425 h 4496940"/>
              <a:gd name="connsiteX41" fmla="*/ 3783352 w 4519987"/>
              <a:gd name="connsiteY41" fmla="*/ 3810000 h 4496940"/>
              <a:gd name="connsiteX42" fmla="*/ 3745252 w 4519987"/>
              <a:gd name="connsiteY42" fmla="*/ 3819525 h 4496940"/>
              <a:gd name="connsiteX43" fmla="*/ 3678577 w 4519987"/>
              <a:gd name="connsiteY43" fmla="*/ 3848100 h 4496940"/>
              <a:gd name="connsiteX44" fmla="*/ 3659527 w 4519987"/>
              <a:gd name="connsiteY44" fmla="*/ 3971925 h 4496940"/>
              <a:gd name="connsiteX45" fmla="*/ 3630952 w 4519987"/>
              <a:gd name="connsiteY45" fmla="*/ 4010025 h 4496940"/>
              <a:gd name="connsiteX46" fmla="*/ 3621427 w 4519987"/>
              <a:gd name="connsiteY46" fmla="*/ 4038600 h 4496940"/>
              <a:gd name="connsiteX47" fmla="*/ 3554752 w 4519987"/>
              <a:gd name="connsiteY47" fmla="*/ 4095750 h 4496940"/>
              <a:gd name="connsiteX48" fmla="*/ 3516652 w 4519987"/>
              <a:gd name="connsiteY48" fmla="*/ 4114800 h 4496940"/>
              <a:gd name="connsiteX49" fmla="*/ 3497602 w 4519987"/>
              <a:gd name="connsiteY49" fmla="*/ 4143375 h 4496940"/>
              <a:gd name="connsiteX50" fmla="*/ 3383302 w 4519987"/>
              <a:gd name="connsiteY50" fmla="*/ 4210050 h 4496940"/>
              <a:gd name="connsiteX51" fmla="*/ 3335677 w 4519987"/>
              <a:gd name="connsiteY51" fmla="*/ 4238625 h 4496940"/>
              <a:gd name="connsiteX52" fmla="*/ 3288052 w 4519987"/>
              <a:gd name="connsiteY52" fmla="*/ 4248150 h 4496940"/>
              <a:gd name="connsiteX53" fmla="*/ 3240427 w 4519987"/>
              <a:gd name="connsiteY53" fmla="*/ 4267200 h 4496940"/>
              <a:gd name="connsiteX54" fmla="*/ 3068977 w 4519987"/>
              <a:gd name="connsiteY54" fmla="*/ 4286250 h 4496940"/>
              <a:gd name="connsiteX55" fmla="*/ 2935627 w 4519987"/>
              <a:gd name="connsiteY55" fmla="*/ 4333875 h 4496940"/>
              <a:gd name="connsiteX56" fmla="*/ 2811802 w 4519987"/>
              <a:gd name="connsiteY56" fmla="*/ 4371975 h 4496940"/>
              <a:gd name="connsiteX57" fmla="*/ 2745127 w 4519987"/>
              <a:gd name="connsiteY57" fmla="*/ 4410075 h 4496940"/>
              <a:gd name="connsiteX58" fmla="*/ 2697502 w 4519987"/>
              <a:gd name="connsiteY58" fmla="*/ 4429125 h 4496940"/>
              <a:gd name="connsiteX59" fmla="*/ 2640352 w 4519987"/>
              <a:gd name="connsiteY59" fmla="*/ 4457700 h 4496940"/>
              <a:gd name="connsiteX60" fmla="*/ 2583202 w 4519987"/>
              <a:gd name="connsiteY60" fmla="*/ 4467225 h 4496940"/>
              <a:gd name="connsiteX61" fmla="*/ 2545102 w 4519987"/>
              <a:gd name="connsiteY61" fmla="*/ 4486275 h 4496940"/>
              <a:gd name="connsiteX62" fmla="*/ 2306977 w 4519987"/>
              <a:gd name="connsiteY62" fmla="*/ 4476750 h 4496940"/>
              <a:gd name="connsiteX63" fmla="*/ 2202202 w 4519987"/>
              <a:gd name="connsiteY63" fmla="*/ 4457700 h 4496940"/>
              <a:gd name="connsiteX64" fmla="*/ 2126002 w 4519987"/>
              <a:gd name="connsiteY64" fmla="*/ 4429125 h 4496940"/>
              <a:gd name="connsiteX65" fmla="*/ 1935502 w 4519987"/>
              <a:gd name="connsiteY65" fmla="*/ 4400550 h 4496940"/>
              <a:gd name="connsiteX66" fmla="*/ 1821202 w 4519987"/>
              <a:gd name="connsiteY66" fmla="*/ 4371975 h 4496940"/>
              <a:gd name="connsiteX67" fmla="*/ 1754527 w 4519987"/>
              <a:gd name="connsiteY67" fmla="*/ 4352925 h 4496940"/>
              <a:gd name="connsiteX68" fmla="*/ 1687852 w 4519987"/>
              <a:gd name="connsiteY68" fmla="*/ 4343400 h 4496940"/>
              <a:gd name="connsiteX69" fmla="*/ 1573552 w 4519987"/>
              <a:gd name="connsiteY69" fmla="*/ 4305300 h 4496940"/>
              <a:gd name="connsiteX70" fmla="*/ 1402102 w 4519987"/>
              <a:gd name="connsiteY70" fmla="*/ 4276725 h 4496940"/>
              <a:gd name="connsiteX71" fmla="*/ 1287802 w 4519987"/>
              <a:gd name="connsiteY71" fmla="*/ 4229100 h 4496940"/>
              <a:gd name="connsiteX72" fmla="*/ 1221127 w 4519987"/>
              <a:gd name="connsiteY72" fmla="*/ 4200525 h 4496940"/>
              <a:gd name="connsiteX73" fmla="*/ 1144927 w 4519987"/>
              <a:gd name="connsiteY73" fmla="*/ 4171950 h 4496940"/>
              <a:gd name="connsiteX74" fmla="*/ 1087777 w 4519987"/>
              <a:gd name="connsiteY74" fmla="*/ 4143375 h 4496940"/>
              <a:gd name="connsiteX75" fmla="*/ 1030627 w 4519987"/>
              <a:gd name="connsiteY75" fmla="*/ 4124325 h 4496940"/>
              <a:gd name="connsiteX76" fmla="*/ 925852 w 4519987"/>
              <a:gd name="connsiteY76" fmla="*/ 4067175 h 4496940"/>
              <a:gd name="connsiteX77" fmla="*/ 830602 w 4519987"/>
              <a:gd name="connsiteY77" fmla="*/ 3981450 h 4496940"/>
              <a:gd name="connsiteX78" fmla="*/ 763927 w 4519987"/>
              <a:gd name="connsiteY78" fmla="*/ 3914775 h 4496940"/>
              <a:gd name="connsiteX79" fmla="*/ 725827 w 4519987"/>
              <a:gd name="connsiteY79" fmla="*/ 3876675 h 4496940"/>
              <a:gd name="connsiteX80" fmla="*/ 697252 w 4519987"/>
              <a:gd name="connsiteY80" fmla="*/ 3838575 h 4496940"/>
              <a:gd name="connsiteX81" fmla="*/ 640102 w 4519987"/>
              <a:gd name="connsiteY81" fmla="*/ 3781425 h 4496940"/>
              <a:gd name="connsiteX82" fmla="*/ 611527 w 4519987"/>
              <a:gd name="connsiteY82" fmla="*/ 3733800 h 4496940"/>
              <a:gd name="connsiteX83" fmla="*/ 554377 w 4519987"/>
              <a:gd name="connsiteY83" fmla="*/ 3657600 h 4496940"/>
              <a:gd name="connsiteX84" fmla="*/ 525802 w 4519987"/>
              <a:gd name="connsiteY84" fmla="*/ 3609975 h 4496940"/>
              <a:gd name="connsiteX85" fmla="*/ 497227 w 4519987"/>
              <a:gd name="connsiteY85" fmla="*/ 3552825 h 4496940"/>
              <a:gd name="connsiteX86" fmla="*/ 440077 w 4519987"/>
              <a:gd name="connsiteY86" fmla="*/ 3495675 h 4496940"/>
              <a:gd name="connsiteX87" fmla="*/ 411502 w 4519987"/>
              <a:gd name="connsiteY87" fmla="*/ 3448050 h 4496940"/>
              <a:gd name="connsiteX88" fmla="*/ 278152 w 4519987"/>
              <a:gd name="connsiteY88" fmla="*/ 3257550 h 4496940"/>
              <a:gd name="connsiteX89" fmla="*/ 249577 w 4519987"/>
              <a:gd name="connsiteY89" fmla="*/ 3200400 h 4496940"/>
              <a:gd name="connsiteX90" fmla="*/ 240052 w 4519987"/>
              <a:gd name="connsiteY90" fmla="*/ 3162300 h 4496940"/>
              <a:gd name="connsiteX91" fmla="*/ 221002 w 4519987"/>
              <a:gd name="connsiteY91" fmla="*/ 3105150 h 4496940"/>
              <a:gd name="connsiteX92" fmla="*/ 173377 w 4519987"/>
              <a:gd name="connsiteY92" fmla="*/ 3019425 h 4496940"/>
              <a:gd name="connsiteX93" fmla="*/ 144802 w 4519987"/>
              <a:gd name="connsiteY93" fmla="*/ 2924175 h 4496940"/>
              <a:gd name="connsiteX94" fmla="*/ 68602 w 4519987"/>
              <a:gd name="connsiteY94" fmla="*/ 2724150 h 4496940"/>
              <a:gd name="connsiteX95" fmla="*/ 49552 w 4519987"/>
              <a:gd name="connsiteY95" fmla="*/ 2638425 h 4496940"/>
              <a:gd name="connsiteX96" fmla="*/ 40027 w 4519987"/>
              <a:gd name="connsiteY96" fmla="*/ 2562225 h 4496940"/>
              <a:gd name="connsiteX97" fmla="*/ 30502 w 4519987"/>
              <a:gd name="connsiteY97" fmla="*/ 2514600 h 4496940"/>
              <a:gd name="connsiteX98" fmla="*/ 11452 w 4519987"/>
              <a:gd name="connsiteY98" fmla="*/ 2400300 h 4496940"/>
              <a:gd name="connsiteX99" fmla="*/ 20977 w 4519987"/>
              <a:gd name="connsiteY99" fmla="*/ 1905000 h 4496940"/>
              <a:gd name="connsiteX100" fmla="*/ 30502 w 4519987"/>
              <a:gd name="connsiteY100" fmla="*/ 1838325 h 4496940"/>
              <a:gd name="connsiteX101" fmla="*/ 49552 w 4519987"/>
              <a:gd name="connsiteY101" fmla="*/ 1781175 h 4496940"/>
              <a:gd name="connsiteX102" fmla="*/ 59077 w 4519987"/>
              <a:gd name="connsiteY102" fmla="*/ 1743075 h 4496940"/>
              <a:gd name="connsiteX103" fmla="*/ 78127 w 4519987"/>
              <a:gd name="connsiteY103" fmla="*/ 1685925 h 4496940"/>
              <a:gd name="connsiteX104" fmla="*/ 87652 w 4519987"/>
              <a:gd name="connsiteY104" fmla="*/ 1638300 h 4496940"/>
              <a:gd name="connsiteX105" fmla="*/ 106702 w 4519987"/>
              <a:gd name="connsiteY105" fmla="*/ 1590675 h 4496940"/>
              <a:gd name="connsiteX106" fmla="*/ 135277 w 4519987"/>
              <a:gd name="connsiteY106" fmla="*/ 1504950 h 4496940"/>
              <a:gd name="connsiteX107" fmla="*/ 154327 w 4519987"/>
              <a:gd name="connsiteY107" fmla="*/ 1419225 h 4496940"/>
              <a:gd name="connsiteX108" fmla="*/ 230527 w 4519987"/>
              <a:gd name="connsiteY108" fmla="*/ 1276350 h 4496940"/>
              <a:gd name="connsiteX109" fmla="*/ 240052 w 4519987"/>
              <a:gd name="connsiteY109" fmla="*/ 1247775 h 4496940"/>
              <a:gd name="connsiteX110" fmla="*/ 268627 w 4519987"/>
              <a:gd name="connsiteY110" fmla="*/ 1200150 h 4496940"/>
              <a:gd name="connsiteX111" fmla="*/ 287677 w 4519987"/>
              <a:gd name="connsiteY111" fmla="*/ 1152525 h 4496940"/>
              <a:gd name="connsiteX112" fmla="*/ 316252 w 4519987"/>
              <a:gd name="connsiteY112" fmla="*/ 1114425 h 4496940"/>
              <a:gd name="connsiteX113" fmla="*/ 363877 w 4519987"/>
              <a:gd name="connsiteY113" fmla="*/ 1038225 h 4496940"/>
              <a:gd name="connsiteX114" fmla="*/ 382927 w 4519987"/>
              <a:gd name="connsiteY114" fmla="*/ 1009650 h 4496940"/>
              <a:gd name="connsiteX115" fmla="*/ 440077 w 4519987"/>
              <a:gd name="connsiteY115" fmla="*/ 904875 h 4496940"/>
              <a:gd name="connsiteX116" fmla="*/ 478177 w 4519987"/>
              <a:gd name="connsiteY116" fmla="*/ 857250 h 4496940"/>
              <a:gd name="connsiteX117" fmla="*/ 497227 w 4519987"/>
              <a:gd name="connsiteY117" fmla="*/ 828675 h 4496940"/>
              <a:gd name="connsiteX118" fmla="*/ 535327 w 4519987"/>
              <a:gd name="connsiteY118" fmla="*/ 800100 h 4496940"/>
              <a:gd name="connsiteX119" fmla="*/ 602002 w 4519987"/>
              <a:gd name="connsiteY119" fmla="*/ 733425 h 4496940"/>
              <a:gd name="connsiteX120" fmla="*/ 668677 w 4519987"/>
              <a:gd name="connsiteY120" fmla="*/ 676275 h 4496940"/>
              <a:gd name="connsiteX121" fmla="*/ 697252 w 4519987"/>
              <a:gd name="connsiteY121" fmla="*/ 657225 h 4496940"/>
              <a:gd name="connsiteX122" fmla="*/ 840127 w 4519987"/>
              <a:gd name="connsiteY122" fmla="*/ 533400 h 4496940"/>
              <a:gd name="connsiteX123" fmla="*/ 887752 w 4519987"/>
              <a:gd name="connsiteY123" fmla="*/ 504825 h 4496940"/>
              <a:gd name="connsiteX124" fmla="*/ 1167152 w 4519987"/>
              <a:gd name="connsiteY124" fmla="*/ 311150 h 4496940"/>
              <a:gd name="connsiteX125" fmla="*/ 1268752 w 4519987"/>
              <a:gd name="connsiteY125" fmla="*/ 285750 h 4496940"/>
              <a:gd name="connsiteX126" fmla="*/ 1411627 w 4519987"/>
              <a:gd name="connsiteY126" fmla="*/ 190500 h 4496940"/>
              <a:gd name="connsiteX127" fmla="*/ 1449727 w 4519987"/>
              <a:gd name="connsiteY127" fmla="*/ 161925 h 4496940"/>
              <a:gd name="connsiteX128" fmla="*/ 1525927 w 4519987"/>
              <a:gd name="connsiteY128" fmla="*/ 152400 h 4496940"/>
              <a:gd name="connsiteX129" fmla="*/ 1583077 w 4519987"/>
              <a:gd name="connsiteY129" fmla="*/ 142875 h 4496940"/>
              <a:gd name="connsiteX130" fmla="*/ 1716427 w 4519987"/>
              <a:gd name="connsiteY130" fmla="*/ 123825 h 4496940"/>
              <a:gd name="connsiteX131" fmla="*/ 1811677 w 4519987"/>
              <a:gd name="connsiteY131" fmla="*/ 114300 h 4496940"/>
              <a:gd name="connsiteX132" fmla="*/ 1859302 w 4519987"/>
              <a:gd name="connsiteY132" fmla="*/ 104775 h 4496940"/>
              <a:gd name="connsiteX133" fmla="*/ 1916452 w 4519987"/>
              <a:gd name="connsiteY133" fmla="*/ 95250 h 4496940"/>
              <a:gd name="connsiteX134" fmla="*/ 2030752 w 4519987"/>
              <a:gd name="connsiteY134" fmla="*/ 66675 h 4496940"/>
              <a:gd name="connsiteX135" fmla="*/ 2097427 w 4519987"/>
              <a:gd name="connsiteY135" fmla="*/ 47625 h 4496940"/>
              <a:gd name="connsiteX136" fmla="*/ 2164102 w 4519987"/>
              <a:gd name="connsiteY136" fmla="*/ 38100 h 4496940"/>
              <a:gd name="connsiteX137" fmla="*/ 2392702 w 4519987"/>
              <a:gd name="connsiteY13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783352 w 4519987"/>
              <a:gd name="connsiteY40" fmla="*/ 3810000 h 4496940"/>
              <a:gd name="connsiteX41" fmla="*/ 3745252 w 4519987"/>
              <a:gd name="connsiteY41" fmla="*/ 3819525 h 4496940"/>
              <a:gd name="connsiteX42" fmla="*/ 3678577 w 4519987"/>
              <a:gd name="connsiteY42" fmla="*/ 3848100 h 4496940"/>
              <a:gd name="connsiteX43" fmla="*/ 3659527 w 4519987"/>
              <a:gd name="connsiteY43" fmla="*/ 3971925 h 4496940"/>
              <a:gd name="connsiteX44" fmla="*/ 3630952 w 4519987"/>
              <a:gd name="connsiteY44" fmla="*/ 4010025 h 4496940"/>
              <a:gd name="connsiteX45" fmla="*/ 3621427 w 4519987"/>
              <a:gd name="connsiteY45" fmla="*/ 4038600 h 4496940"/>
              <a:gd name="connsiteX46" fmla="*/ 3554752 w 4519987"/>
              <a:gd name="connsiteY46" fmla="*/ 4095750 h 4496940"/>
              <a:gd name="connsiteX47" fmla="*/ 3516652 w 4519987"/>
              <a:gd name="connsiteY47" fmla="*/ 4114800 h 4496940"/>
              <a:gd name="connsiteX48" fmla="*/ 3497602 w 4519987"/>
              <a:gd name="connsiteY48" fmla="*/ 4143375 h 4496940"/>
              <a:gd name="connsiteX49" fmla="*/ 3383302 w 4519987"/>
              <a:gd name="connsiteY49" fmla="*/ 4210050 h 4496940"/>
              <a:gd name="connsiteX50" fmla="*/ 3335677 w 4519987"/>
              <a:gd name="connsiteY50" fmla="*/ 4238625 h 4496940"/>
              <a:gd name="connsiteX51" fmla="*/ 3288052 w 4519987"/>
              <a:gd name="connsiteY51" fmla="*/ 4248150 h 4496940"/>
              <a:gd name="connsiteX52" fmla="*/ 3240427 w 4519987"/>
              <a:gd name="connsiteY52" fmla="*/ 4267200 h 4496940"/>
              <a:gd name="connsiteX53" fmla="*/ 3068977 w 4519987"/>
              <a:gd name="connsiteY53" fmla="*/ 4286250 h 4496940"/>
              <a:gd name="connsiteX54" fmla="*/ 2935627 w 4519987"/>
              <a:gd name="connsiteY54" fmla="*/ 4333875 h 4496940"/>
              <a:gd name="connsiteX55" fmla="*/ 2811802 w 4519987"/>
              <a:gd name="connsiteY55" fmla="*/ 4371975 h 4496940"/>
              <a:gd name="connsiteX56" fmla="*/ 2745127 w 4519987"/>
              <a:gd name="connsiteY56" fmla="*/ 4410075 h 4496940"/>
              <a:gd name="connsiteX57" fmla="*/ 2697502 w 4519987"/>
              <a:gd name="connsiteY57" fmla="*/ 4429125 h 4496940"/>
              <a:gd name="connsiteX58" fmla="*/ 2640352 w 4519987"/>
              <a:gd name="connsiteY58" fmla="*/ 4457700 h 4496940"/>
              <a:gd name="connsiteX59" fmla="*/ 2583202 w 4519987"/>
              <a:gd name="connsiteY59" fmla="*/ 4467225 h 4496940"/>
              <a:gd name="connsiteX60" fmla="*/ 2545102 w 4519987"/>
              <a:gd name="connsiteY60" fmla="*/ 4486275 h 4496940"/>
              <a:gd name="connsiteX61" fmla="*/ 2306977 w 4519987"/>
              <a:gd name="connsiteY61" fmla="*/ 4476750 h 4496940"/>
              <a:gd name="connsiteX62" fmla="*/ 2202202 w 4519987"/>
              <a:gd name="connsiteY62" fmla="*/ 4457700 h 4496940"/>
              <a:gd name="connsiteX63" fmla="*/ 2126002 w 4519987"/>
              <a:gd name="connsiteY63" fmla="*/ 4429125 h 4496940"/>
              <a:gd name="connsiteX64" fmla="*/ 1935502 w 4519987"/>
              <a:gd name="connsiteY64" fmla="*/ 4400550 h 4496940"/>
              <a:gd name="connsiteX65" fmla="*/ 1821202 w 4519987"/>
              <a:gd name="connsiteY65" fmla="*/ 4371975 h 4496940"/>
              <a:gd name="connsiteX66" fmla="*/ 1754527 w 4519987"/>
              <a:gd name="connsiteY66" fmla="*/ 4352925 h 4496940"/>
              <a:gd name="connsiteX67" fmla="*/ 1687852 w 4519987"/>
              <a:gd name="connsiteY67" fmla="*/ 4343400 h 4496940"/>
              <a:gd name="connsiteX68" fmla="*/ 1573552 w 4519987"/>
              <a:gd name="connsiteY68" fmla="*/ 4305300 h 4496940"/>
              <a:gd name="connsiteX69" fmla="*/ 1402102 w 4519987"/>
              <a:gd name="connsiteY69" fmla="*/ 4276725 h 4496940"/>
              <a:gd name="connsiteX70" fmla="*/ 1287802 w 4519987"/>
              <a:gd name="connsiteY70" fmla="*/ 4229100 h 4496940"/>
              <a:gd name="connsiteX71" fmla="*/ 1221127 w 4519987"/>
              <a:gd name="connsiteY71" fmla="*/ 4200525 h 4496940"/>
              <a:gd name="connsiteX72" fmla="*/ 1144927 w 4519987"/>
              <a:gd name="connsiteY72" fmla="*/ 4171950 h 4496940"/>
              <a:gd name="connsiteX73" fmla="*/ 1087777 w 4519987"/>
              <a:gd name="connsiteY73" fmla="*/ 4143375 h 4496940"/>
              <a:gd name="connsiteX74" fmla="*/ 1030627 w 4519987"/>
              <a:gd name="connsiteY74" fmla="*/ 4124325 h 4496940"/>
              <a:gd name="connsiteX75" fmla="*/ 925852 w 4519987"/>
              <a:gd name="connsiteY75" fmla="*/ 4067175 h 4496940"/>
              <a:gd name="connsiteX76" fmla="*/ 830602 w 4519987"/>
              <a:gd name="connsiteY76" fmla="*/ 3981450 h 4496940"/>
              <a:gd name="connsiteX77" fmla="*/ 763927 w 4519987"/>
              <a:gd name="connsiteY77" fmla="*/ 3914775 h 4496940"/>
              <a:gd name="connsiteX78" fmla="*/ 725827 w 4519987"/>
              <a:gd name="connsiteY78" fmla="*/ 3876675 h 4496940"/>
              <a:gd name="connsiteX79" fmla="*/ 697252 w 4519987"/>
              <a:gd name="connsiteY79" fmla="*/ 3838575 h 4496940"/>
              <a:gd name="connsiteX80" fmla="*/ 640102 w 4519987"/>
              <a:gd name="connsiteY80" fmla="*/ 3781425 h 4496940"/>
              <a:gd name="connsiteX81" fmla="*/ 611527 w 4519987"/>
              <a:gd name="connsiteY81" fmla="*/ 3733800 h 4496940"/>
              <a:gd name="connsiteX82" fmla="*/ 554377 w 4519987"/>
              <a:gd name="connsiteY82" fmla="*/ 3657600 h 4496940"/>
              <a:gd name="connsiteX83" fmla="*/ 525802 w 4519987"/>
              <a:gd name="connsiteY83" fmla="*/ 3609975 h 4496940"/>
              <a:gd name="connsiteX84" fmla="*/ 497227 w 4519987"/>
              <a:gd name="connsiteY84" fmla="*/ 3552825 h 4496940"/>
              <a:gd name="connsiteX85" fmla="*/ 440077 w 4519987"/>
              <a:gd name="connsiteY85" fmla="*/ 3495675 h 4496940"/>
              <a:gd name="connsiteX86" fmla="*/ 411502 w 4519987"/>
              <a:gd name="connsiteY86" fmla="*/ 3448050 h 4496940"/>
              <a:gd name="connsiteX87" fmla="*/ 278152 w 4519987"/>
              <a:gd name="connsiteY87" fmla="*/ 3257550 h 4496940"/>
              <a:gd name="connsiteX88" fmla="*/ 249577 w 4519987"/>
              <a:gd name="connsiteY88" fmla="*/ 3200400 h 4496940"/>
              <a:gd name="connsiteX89" fmla="*/ 240052 w 4519987"/>
              <a:gd name="connsiteY89" fmla="*/ 3162300 h 4496940"/>
              <a:gd name="connsiteX90" fmla="*/ 221002 w 4519987"/>
              <a:gd name="connsiteY90" fmla="*/ 3105150 h 4496940"/>
              <a:gd name="connsiteX91" fmla="*/ 173377 w 4519987"/>
              <a:gd name="connsiteY91" fmla="*/ 3019425 h 4496940"/>
              <a:gd name="connsiteX92" fmla="*/ 144802 w 4519987"/>
              <a:gd name="connsiteY92" fmla="*/ 2924175 h 4496940"/>
              <a:gd name="connsiteX93" fmla="*/ 68602 w 4519987"/>
              <a:gd name="connsiteY93" fmla="*/ 2724150 h 4496940"/>
              <a:gd name="connsiteX94" fmla="*/ 49552 w 4519987"/>
              <a:gd name="connsiteY94" fmla="*/ 2638425 h 4496940"/>
              <a:gd name="connsiteX95" fmla="*/ 40027 w 4519987"/>
              <a:gd name="connsiteY95" fmla="*/ 2562225 h 4496940"/>
              <a:gd name="connsiteX96" fmla="*/ 30502 w 4519987"/>
              <a:gd name="connsiteY96" fmla="*/ 2514600 h 4496940"/>
              <a:gd name="connsiteX97" fmla="*/ 11452 w 4519987"/>
              <a:gd name="connsiteY97" fmla="*/ 2400300 h 4496940"/>
              <a:gd name="connsiteX98" fmla="*/ 20977 w 4519987"/>
              <a:gd name="connsiteY98" fmla="*/ 1905000 h 4496940"/>
              <a:gd name="connsiteX99" fmla="*/ 30502 w 4519987"/>
              <a:gd name="connsiteY99" fmla="*/ 1838325 h 4496940"/>
              <a:gd name="connsiteX100" fmla="*/ 49552 w 4519987"/>
              <a:gd name="connsiteY100" fmla="*/ 1781175 h 4496940"/>
              <a:gd name="connsiteX101" fmla="*/ 59077 w 4519987"/>
              <a:gd name="connsiteY101" fmla="*/ 1743075 h 4496940"/>
              <a:gd name="connsiteX102" fmla="*/ 78127 w 4519987"/>
              <a:gd name="connsiteY102" fmla="*/ 1685925 h 4496940"/>
              <a:gd name="connsiteX103" fmla="*/ 87652 w 4519987"/>
              <a:gd name="connsiteY103" fmla="*/ 1638300 h 4496940"/>
              <a:gd name="connsiteX104" fmla="*/ 106702 w 4519987"/>
              <a:gd name="connsiteY104" fmla="*/ 1590675 h 4496940"/>
              <a:gd name="connsiteX105" fmla="*/ 135277 w 4519987"/>
              <a:gd name="connsiteY105" fmla="*/ 1504950 h 4496940"/>
              <a:gd name="connsiteX106" fmla="*/ 154327 w 4519987"/>
              <a:gd name="connsiteY106" fmla="*/ 1419225 h 4496940"/>
              <a:gd name="connsiteX107" fmla="*/ 230527 w 4519987"/>
              <a:gd name="connsiteY107" fmla="*/ 1276350 h 4496940"/>
              <a:gd name="connsiteX108" fmla="*/ 240052 w 4519987"/>
              <a:gd name="connsiteY108" fmla="*/ 1247775 h 4496940"/>
              <a:gd name="connsiteX109" fmla="*/ 268627 w 4519987"/>
              <a:gd name="connsiteY109" fmla="*/ 1200150 h 4496940"/>
              <a:gd name="connsiteX110" fmla="*/ 287677 w 4519987"/>
              <a:gd name="connsiteY110" fmla="*/ 1152525 h 4496940"/>
              <a:gd name="connsiteX111" fmla="*/ 316252 w 4519987"/>
              <a:gd name="connsiteY111" fmla="*/ 1114425 h 4496940"/>
              <a:gd name="connsiteX112" fmla="*/ 363877 w 4519987"/>
              <a:gd name="connsiteY112" fmla="*/ 1038225 h 4496940"/>
              <a:gd name="connsiteX113" fmla="*/ 382927 w 4519987"/>
              <a:gd name="connsiteY113" fmla="*/ 1009650 h 4496940"/>
              <a:gd name="connsiteX114" fmla="*/ 440077 w 4519987"/>
              <a:gd name="connsiteY114" fmla="*/ 904875 h 4496940"/>
              <a:gd name="connsiteX115" fmla="*/ 478177 w 4519987"/>
              <a:gd name="connsiteY115" fmla="*/ 857250 h 4496940"/>
              <a:gd name="connsiteX116" fmla="*/ 497227 w 4519987"/>
              <a:gd name="connsiteY116" fmla="*/ 828675 h 4496940"/>
              <a:gd name="connsiteX117" fmla="*/ 535327 w 4519987"/>
              <a:gd name="connsiteY117" fmla="*/ 800100 h 4496940"/>
              <a:gd name="connsiteX118" fmla="*/ 602002 w 4519987"/>
              <a:gd name="connsiteY118" fmla="*/ 733425 h 4496940"/>
              <a:gd name="connsiteX119" fmla="*/ 668677 w 4519987"/>
              <a:gd name="connsiteY119" fmla="*/ 676275 h 4496940"/>
              <a:gd name="connsiteX120" fmla="*/ 697252 w 4519987"/>
              <a:gd name="connsiteY120" fmla="*/ 657225 h 4496940"/>
              <a:gd name="connsiteX121" fmla="*/ 840127 w 4519987"/>
              <a:gd name="connsiteY121" fmla="*/ 533400 h 4496940"/>
              <a:gd name="connsiteX122" fmla="*/ 887752 w 4519987"/>
              <a:gd name="connsiteY122" fmla="*/ 504825 h 4496940"/>
              <a:gd name="connsiteX123" fmla="*/ 1167152 w 4519987"/>
              <a:gd name="connsiteY123" fmla="*/ 311150 h 4496940"/>
              <a:gd name="connsiteX124" fmla="*/ 1268752 w 4519987"/>
              <a:gd name="connsiteY124" fmla="*/ 285750 h 4496940"/>
              <a:gd name="connsiteX125" fmla="*/ 1411627 w 4519987"/>
              <a:gd name="connsiteY125" fmla="*/ 190500 h 4496940"/>
              <a:gd name="connsiteX126" fmla="*/ 1449727 w 4519987"/>
              <a:gd name="connsiteY126" fmla="*/ 161925 h 4496940"/>
              <a:gd name="connsiteX127" fmla="*/ 1525927 w 4519987"/>
              <a:gd name="connsiteY127" fmla="*/ 152400 h 4496940"/>
              <a:gd name="connsiteX128" fmla="*/ 1583077 w 4519987"/>
              <a:gd name="connsiteY128" fmla="*/ 142875 h 4496940"/>
              <a:gd name="connsiteX129" fmla="*/ 1716427 w 4519987"/>
              <a:gd name="connsiteY129" fmla="*/ 123825 h 4496940"/>
              <a:gd name="connsiteX130" fmla="*/ 1811677 w 4519987"/>
              <a:gd name="connsiteY130" fmla="*/ 114300 h 4496940"/>
              <a:gd name="connsiteX131" fmla="*/ 1859302 w 4519987"/>
              <a:gd name="connsiteY131" fmla="*/ 104775 h 4496940"/>
              <a:gd name="connsiteX132" fmla="*/ 1916452 w 4519987"/>
              <a:gd name="connsiteY132" fmla="*/ 95250 h 4496940"/>
              <a:gd name="connsiteX133" fmla="*/ 2030752 w 4519987"/>
              <a:gd name="connsiteY133" fmla="*/ 66675 h 4496940"/>
              <a:gd name="connsiteX134" fmla="*/ 2097427 w 4519987"/>
              <a:gd name="connsiteY134" fmla="*/ 47625 h 4496940"/>
              <a:gd name="connsiteX135" fmla="*/ 2164102 w 4519987"/>
              <a:gd name="connsiteY135" fmla="*/ 38100 h 4496940"/>
              <a:gd name="connsiteX136" fmla="*/ 2392702 w 4519987"/>
              <a:gd name="connsiteY13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783352 w 4519987"/>
              <a:gd name="connsiteY40" fmla="*/ 3810000 h 4496940"/>
              <a:gd name="connsiteX41" fmla="*/ 3678577 w 4519987"/>
              <a:gd name="connsiteY41" fmla="*/ 3848100 h 4496940"/>
              <a:gd name="connsiteX42" fmla="*/ 3659527 w 4519987"/>
              <a:gd name="connsiteY42" fmla="*/ 3971925 h 4496940"/>
              <a:gd name="connsiteX43" fmla="*/ 3630952 w 4519987"/>
              <a:gd name="connsiteY43" fmla="*/ 4010025 h 4496940"/>
              <a:gd name="connsiteX44" fmla="*/ 3621427 w 4519987"/>
              <a:gd name="connsiteY44" fmla="*/ 4038600 h 4496940"/>
              <a:gd name="connsiteX45" fmla="*/ 3554752 w 4519987"/>
              <a:gd name="connsiteY45" fmla="*/ 4095750 h 4496940"/>
              <a:gd name="connsiteX46" fmla="*/ 3516652 w 4519987"/>
              <a:gd name="connsiteY46" fmla="*/ 4114800 h 4496940"/>
              <a:gd name="connsiteX47" fmla="*/ 3497602 w 4519987"/>
              <a:gd name="connsiteY47" fmla="*/ 4143375 h 4496940"/>
              <a:gd name="connsiteX48" fmla="*/ 3383302 w 4519987"/>
              <a:gd name="connsiteY48" fmla="*/ 4210050 h 4496940"/>
              <a:gd name="connsiteX49" fmla="*/ 3335677 w 4519987"/>
              <a:gd name="connsiteY49" fmla="*/ 4238625 h 4496940"/>
              <a:gd name="connsiteX50" fmla="*/ 3288052 w 4519987"/>
              <a:gd name="connsiteY50" fmla="*/ 4248150 h 4496940"/>
              <a:gd name="connsiteX51" fmla="*/ 3240427 w 4519987"/>
              <a:gd name="connsiteY51" fmla="*/ 4267200 h 4496940"/>
              <a:gd name="connsiteX52" fmla="*/ 3068977 w 4519987"/>
              <a:gd name="connsiteY52" fmla="*/ 4286250 h 4496940"/>
              <a:gd name="connsiteX53" fmla="*/ 2935627 w 4519987"/>
              <a:gd name="connsiteY53" fmla="*/ 4333875 h 4496940"/>
              <a:gd name="connsiteX54" fmla="*/ 2811802 w 4519987"/>
              <a:gd name="connsiteY54" fmla="*/ 4371975 h 4496940"/>
              <a:gd name="connsiteX55" fmla="*/ 2745127 w 4519987"/>
              <a:gd name="connsiteY55" fmla="*/ 4410075 h 4496940"/>
              <a:gd name="connsiteX56" fmla="*/ 2697502 w 4519987"/>
              <a:gd name="connsiteY56" fmla="*/ 4429125 h 4496940"/>
              <a:gd name="connsiteX57" fmla="*/ 2640352 w 4519987"/>
              <a:gd name="connsiteY57" fmla="*/ 4457700 h 4496940"/>
              <a:gd name="connsiteX58" fmla="*/ 2583202 w 4519987"/>
              <a:gd name="connsiteY58" fmla="*/ 4467225 h 4496940"/>
              <a:gd name="connsiteX59" fmla="*/ 2545102 w 4519987"/>
              <a:gd name="connsiteY59" fmla="*/ 4486275 h 4496940"/>
              <a:gd name="connsiteX60" fmla="*/ 2306977 w 4519987"/>
              <a:gd name="connsiteY60" fmla="*/ 4476750 h 4496940"/>
              <a:gd name="connsiteX61" fmla="*/ 2202202 w 4519987"/>
              <a:gd name="connsiteY61" fmla="*/ 4457700 h 4496940"/>
              <a:gd name="connsiteX62" fmla="*/ 2126002 w 4519987"/>
              <a:gd name="connsiteY62" fmla="*/ 4429125 h 4496940"/>
              <a:gd name="connsiteX63" fmla="*/ 1935502 w 4519987"/>
              <a:gd name="connsiteY63" fmla="*/ 4400550 h 4496940"/>
              <a:gd name="connsiteX64" fmla="*/ 1821202 w 4519987"/>
              <a:gd name="connsiteY64" fmla="*/ 4371975 h 4496940"/>
              <a:gd name="connsiteX65" fmla="*/ 1754527 w 4519987"/>
              <a:gd name="connsiteY65" fmla="*/ 4352925 h 4496940"/>
              <a:gd name="connsiteX66" fmla="*/ 1687852 w 4519987"/>
              <a:gd name="connsiteY66" fmla="*/ 4343400 h 4496940"/>
              <a:gd name="connsiteX67" fmla="*/ 1573552 w 4519987"/>
              <a:gd name="connsiteY67" fmla="*/ 4305300 h 4496940"/>
              <a:gd name="connsiteX68" fmla="*/ 1402102 w 4519987"/>
              <a:gd name="connsiteY68" fmla="*/ 4276725 h 4496940"/>
              <a:gd name="connsiteX69" fmla="*/ 1287802 w 4519987"/>
              <a:gd name="connsiteY69" fmla="*/ 4229100 h 4496940"/>
              <a:gd name="connsiteX70" fmla="*/ 1221127 w 4519987"/>
              <a:gd name="connsiteY70" fmla="*/ 4200525 h 4496940"/>
              <a:gd name="connsiteX71" fmla="*/ 1144927 w 4519987"/>
              <a:gd name="connsiteY71" fmla="*/ 4171950 h 4496940"/>
              <a:gd name="connsiteX72" fmla="*/ 1087777 w 4519987"/>
              <a:gd name="connsiteY72" fmla="*/ 4143375 h 4496940"/>
              <a:gd name="connsiteX73" fmla="*/ 1030627 w 4519987"/>
              <a:gd name="connsiteY73" fmla="*/ 4124325 h 4496940"/>
              <a:gd name="connsiteX74" fmla="*/ 925852 w 4519987"/>
              <a:gd name="connsiteY74" fmla="*/ 4067175 h 4496940"/>
              <a:gd name="connsiteX75" fmla="*/ 830602 w 4519987"/>
              <a:gd name="connsiteY75" fmla="*/ 3981450 h 4496940"/>
              <a:gd name="connsiteX76" fmla="*/ 763927 w 4519987"/>
              <a:gd name="connsiteY76" fmla="*/ 3914775 h 4496940"/>
              <a:gd name="connsiteX77" fmla="*/ 725827 w 4519987"/>
              <a:gd name="connsiteY77" fmla="*/ 3876675 h 4496940"/>
              <a:gd name="connsiteX78" fmla="*/ 697252 w 4519987"/>
              <a:gd name="connsiteY78" fmla="*/ 3838575 h 4496940"/>
              <a:gd name="connsiteX79" fmla="*/ 640102 w 4519987"/>
              <a:gd name="connsiteY79" fmla="*/ 3781425 h 4496940"/>
              <a:gd name="connsiteX80" fmla="*/ 611527 w 4519987"/>
              <a:gd name="connsiteY80" fmla="*/ 3733800 h 4496940"/>
              <a:gd name="connsiteX81" fmla="*/ 554377 w 4519987"/>
              <a:gd name="connsiteY81" fmla="*/ 3657600 h 4496940"/>
              <a:gd name="connsiteX82" fmla="*/ 525802 w 4519987"/>
              <a:gd name="connsiteY82" fmla="*/ 3609975 h 4496940"/>
              <a:gd name="connsiteX83" fmla="*/ 497227 w 4519987"/>
              <a:gd name="connsiteY83" fmla="*/ 3552825 h 4496940"/>
              <a:gd name="connsiteX84" fmla="*/ 440077 w 4519987"/>
              <a:gd name="connsiteY84" fmla="*/ 3495675 h 4496940"/>
              <a:gd name="connsiteX85" fmla="*/ 411502 w 4519987"/>
              <a:gd name="connsiteY85" fmla="*/ 3448050 h 4496940"/>
              <a:gd name="connsiteX86" fmla="*/ 278152 w 4519987"/>
              <a:gd name="connsiteY86" fmla="*/ 3257550 h 4496940"/>
              <a:gd name="connsiteX87" fmla="*/ 249577 w 4519987"/>
              <a:gd name="connsiteY87" fmla="*/ 3200400 h 4496940"/>
              <a:gd name="connsiteX88" fmla="*/ 240052 w 4519987"/>
              <a:gd name="connsiteY88" fmla="*/ 3162300 h 4496940"/>
              <a:gd name="connsiteX89" fmla="*/ 221002 w 4519987"/>
              <a:gd name="connsiteY89" fmla="*/ 3105150 h 4496940"/>
              <a:gd name="connsiteX90" fmla="*/ 173377 w 4519987"/>
              <a:gd name="connsiteY90" fmla="*/ 3019425 h 4496940"/>
              <a:gd name="connsiteX91" fmla="*/ 144802 w 4519987"/>
              <a:gd name="connsiteY91" fmla="*/ 2924175 h 4496940"/>
              <a:gd name="connsiteX92" fmla="*/ 68602 w 4519987"/>
              <a:gd name="connsiteY92" fmla="*/ 2724150 h 4496940"/>
              <a:gd name="connsiteX93" fmla="*/ 49552 w 4519987"/>
              <a:gd name="connsiteY93" fmla="*/ 2638425 h 4496940"/>
              <a:gd name="connsiteX94" fmla="*/ 40027 w 4519987"/>
              <a:gd name="connsiteY94" fmla="*/ 2562225 h 4496940"/>
              <a:gd name="connsiteX95" fmla="*/ 30502 w 4519987"/>
              <a:gd name="connsiteY95" fmla="*/ 2514600 h 4496940"/>
              <a:gd name="connsiteX96" fmla="*/ 11452 w 4519987"/>
              <a:gd name="connsiteY96" fmla="*/ 2400300 h 4496940"/>
              <a:gd name="connsiteX97" fmla="*/ 20977 w 4519987"/>
              <a:gd name="connsiteY97" fmla="*/ 1905000 h 4496940"/>
              <a:gd name="connsiteX98" fmla="*/ 30502 w 4519987"/>
              <a:gd name="connsiteY98" fmla="*/ 1838325 h 4496940"/>
              <a:gd name="connsiteX99" fmla="*/ 49552 w 4519987"/>
              <a:gd name="connsiteY99" fmla="*/ 1781175 h 4496940"/>
              <a:gd name="connsiteX100" fmla="*/ 59077 w 4519987"/>
              <a:gd name="connsiteY100" fmla="*/ 1743075 h 4496940"/>
              <a:gd name="connsiteX101" fmla="*/ 78127 w 4519987"/>
              <a:gd name="connsiteY101" fmla="*/ 1685925 h 4496940"/>
              <a:gd name="connsiteX102" fmla="*/ 87652 w 4519987"/>
              <a:gd name="connsiteY102" fmla="*/ 1638300 h 4496940"/>
              <a:gd name="connsiteX103" fmla="*/ 106702 w 4519987"/>
              <a:gd name="connsiteY103" fmla="*/ 1590675 h 4496940"/>
              <a:gd name="connsiteX104" fmla="*/ 135277 w 4519987"/>
              <a:gd name="connsiteY104" fmla="*/ 1504950 h 4496940"/>
              <a:gd name="connsiteX105" fmla="*/ 154327 w 4519987"/>
              <a:gd name="connsiteY105" fmla="*/ 1419225 h 4496940"/>
              <a:gd name="connsiteX106" fmla="*/ 230527 w 4519987"/>
              <a:gd name="connsiteY106" fmla="*/ 1276350 h 4496940"/>
              <a:gd name="connsiteX107" fmla="*/ 240052 w 4519987"/>
              <a:gd name="connsiteY107" fmla="*/ 1247775 h 4496940"/>
              <a:gd name="connsiteX108" fmla="*/ 268627 w 4519987"/>
              <a:gd name="connsiteY108" fmla="*/ 1200150 h 4496940"/>
              <a:gd name="connsiteX109" fmla="*/ 287677 w 4519987"/>
              <a:gd name="connsiteY109" fmla="*/ 1152525 h 4496940"/>
              <a:gd name="connsiteX110" fmla="*/ 316252 w 4519987"/>
              <a:gd name="connsiteY110" fmla="*/ 1114425 h 4496940"/>
              <a:gd name="connsiteX111" fmla="*/ 363877 w 4519987"/>
              <a:gd name="connsiteY111" fmla="*/ 1038225 h 4496940"/>
              <a:gd name="connsiteX112" fmla="*/ 382927 w 4519987"/>
              <a:gd name="connsiteY112" fmla="*/ 1009650 h 4496940"/>
              <a:gd name="connsiteX113" fmla="*/ 440077 w 4519987"/>
              <a:gd name="connsiteY113" fmla="*/ 904875 h 4496940"/>
              <a:gd name="connsiteX114" fmla="*/ 478177 w 4519987"/>
              <a:gd name="connsiteY114" fmla="*/ 857250 h 4496940"/>
              <a:gd name="connsiteX115" fmla="*/ 497227 w 4519987"/>
              <a:gd name="connsiteY115" fmla="*/ 828675 h 4496940"/>
              <a:gd name="connsiteX116" fmla="*/ 535327 w 4519987"/>
              <a:gd name="connsiteY116" fmla="*/ 800100 h 4496940"/>
              <a:gd name="connsiteX117" fmla="*/ 602002 w 4519987"/>
              <a:gd name="connsiteY117" fmla="*/ 733425 h 4496940"/>
              <a:gd name="connsiteX118" fmla="*/ 668677 w 4519987"/>
              <a:gd name="connsiteY118" fmla="*/ 676275 h 4496940"/>
              <a:gd name="connsiteX119" fmla="*/ 697252 w 4519987"/>
              <a:gd name="connsiteY119" fmla="*/ 657225 h 4496940"/>
              <a:gd name="connsiteX120" fmla="*/ 840127 w 4519987"/>
              <a:gd name="connsiteY120" fmla="*/ 533400 h 4496940"/>
              <a:gd name="connsiteX121" fmla="*/ 887752 w 4519987"/>
              <a:gd name="connsiteY121" fmla="*/ 504825 h 4496940"/>
              <a:gd name="connsiteX122" fmla="*/ 1167152 w 4519987"/>
              <a:gd name="connsiteY122" fmla="*/ 311150 h 4496940"/>
              <a:gd name="connsiteX123" fmla="*/ 1268752 w 4519987"/>
              <a:gd name="connsiteY123" fmla="*/ 285750 h 4496940"/>
              <a:gd name="connsiteX124" fmla="*/ 1411627 w 4519987"/>
              <a:gd name="connsiteY124" fmla="*/ 190500 h 4496940"/>
              <a:gd name="connsiteX125" fmla="*/ 1449727 w 4519987"/>
              <a:gd name="connsiteY125" fmla="*/ 161925 h 4496940"/>
              <a:gd name="connsiteX126" fmla="*/ 1525927 w 4519987"/>
              <a:gd name="connsiteY126" fmla="*/ 152400 h 4496940"/>
              <a:gd name="connsiteX127" fmla="*/ 1583077 w 4519987"/>
              <a:gd name="connsiteY127" fmla="*/ 142875 h 4496940"/>
              <a:gd name="connsiteX128" fmla="*/ 1716427 w 4519987"/>
              <a:gd name="connsiteY128" fmla="*/ 123825 h 4496940"/>
              <a:gd name="connsiteX129" fmla="*/ 1811677 w 4519987"/>
              <a:gd name="connsiteY129" fmla="*/ 114300 h 4496940"/>
              <a:gd name="connsiteX130" fmla="*/ 1859302 w 4519987"/>
              <a:gd name="connsiteY130" fmla="*/ 104775 h 4496940"/>
              <a:gd name="connsiteX131" fmla="*/ 1916452 w 4519987"/>
              <a:gd name="connsiteY131" fmla="*/ 95250 h 4496940"/>
              <a:gd name="connsiteX132" fmla="*/ 2030752 w 4519987"/>
              <a:gd name="connsiteY132" fmla="*/ 66675 h 4496940"/>
              <a:gd name="connsiteX133" fmla="*/ 2097427 w 4519987"/>
              <a:gd name="connsiteY133" fmla="*/ 47625 h 4496940"/>
              <a:gd name="connsiteX134" fmla="*/ 2164102 w 4519987"/>
              <a:gd name="connsiteY134" fmla="*/ 38100 h 4496940"/>
              <a:gd name="connsiteX135" fmla="*/ 2392702 w 4519987"/>
              <a:gd name="connsiteY13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678577 w 4519987"/>
              <a:gd name="connsiteY40" fmla="*/ 3848100 h 4496940"/>
              <a:gd name="connsiteX41" fmla="*/ 3659527 w 4519987"/>
              <a:gd name="connsiteY41" fmla="*/ 3971925 h 4496940"/>
              <a:gd name="connsiteX42" fmla="*/ 3630952 w 4519987"/>
              <a:gd name="connsiteY42" fmla="*/ 4010025 h 4496940"/>
              <a:gd name="connsiteX43" fmla="*/ 3621427 w 4519987"/>
              <a:gd name="connsiteY43" fmla="*/ 4038600 h 4496940"/>
              <a:gd name="connsiteX44" fmla="*/ 3554752 w 4519987"/>
              <a:gd name="connsiteY44" fmla="*/ 4095750 h 4496940"/>
              <a:gd name="connsiteX45" fmla="*/ 3516652 w 4519987"/>
              <a:gd name="connsiteY45" fmla="*/ 4114800 h 4496940"/>
              <a:gd name="connsiteX46" fmla="*/ 3497602 w 4519987"/>
              <a:gd name="connsiteY46" fmla="*/ 4143375 h 4496940"/>
              <a:gd name="connsiteX47" fmla="*/ 3383302 w 4519987"/>
              <a:gd name="connsiteY47" fmla="*/ 4210050 h 4496940"/>
              <a:gd name="connsiteX48" fmla="*/ 3335677 w 4519987"/>
              <a:gd name="connsiteY48" fmla="*/ 4238625 h 4496940"/>
              <a:gd name="connsiteX49" fmla="*/ 3288052 w 4519987"/>
              <a:gd name="connsiteY49" fmla="*/ 4248150 h 4496940"/>
              <a:gd name="connsiteX50" fmla="*/ 3240427 w 4519987"/>
              <a:gd name="connsiteY50" fmla="*/ 4267200 h 4496940"/>
              <a:gd name="connsiteX51" fmla="*/ 3068977 w 4519987"/>
              <a:gd name="connsiteY51" fmla="*/ 4286250 h 4496940"/>
              <a:gd name="connsiteX52" fmla="*/ 2935627 w 4519987"/>
              <a:gd name="connsiteY52" fmla="*/ 4333875 h 4496940"/>
              <a:gd name="connsiteX53" fmla="*/ 2811802 w 4519987"/>
              <a:gd name="connsiteY53" fmla="*/ 4371975 h 4496940"/>
              <a:gd name="connsiteX54" fmla="*/ 2745127 w 4519987"/>
              <a:gd name="connsiteY54" fmla="*/ 4410075 h 4496940"/>
              <a:gd name="connsiteX55" fmla="*/ 2697502 w 4519987"/>
              <a:gd name="connsiteY55" fmla="*/ 4429125 h 4496940"/>
              <a:gd name="connsiteX56" fmla="*/ 2640352 w 4519987"/>
              <a:gd name="connsiteY56" fmla="*/ 4457700 h 4496940"/>
              <a:gd name="connsiteX57" fmla="*/ 2583202 w 4519987"/>
              <a:gd name="connsiteY57" fmla="*/ 4467225 h 4496940"/>
              <a:gd name="connsiteX58" fmla="*/ 2545102 w 4519987"/>
              <a:gd name="connsiteY58" fmla="*/ 4486275 h 4496940"/>
              <a:gd name="connsiteX59" fmla="*/ 2306977 w 4519987"/>
              <a:gd name="connsiteY59" fmla="*/ 4476750 h 4496940"/>
              <a:gd name="connsiteX60" fmla="*/ 2202202 w 4519987"/>
              <a:gd name="connsiteY60" fmla="*/ 4457700 h 4496940"/>
              <a:gd name="connsiteX61" fmla="*/ 2126002 w 4519987"/>
              <a:gd name="connsiteY61" fmla="*/ 4429125 h 4496940"/>
              <a:gd name="connsiteX62" fmla="*/ 1935502 w 4519987"/>
              <a:gd name="connsiteY62" fmla="*/ 4400550 h 4496940"/>
              <a:gd name="connsiteX63" fmla="*/ 1821202 w 4519987"/>
              <a:gd name="connsiteY63" fmla="*/ 4371975 h 4496940"/>
              <a:gd name="connsiteX64" fmla="*/ 1754527 w 4519987"/>
              <a:gd name="connsiteY64" fmla="*/ 4352925 h 4496940"/>
              <a:gd name="connsiteX65" fmla="*/ 1687852 w 4519987"/>
              <a:gd name="connsiteY65" fmla="*/ 4343400 h 4496940"/>
              <a:gd name="connsiteX66" fmla="*/ 1573552 w 4519987"/>
              <a:gd name="connsiteY66" fmla="*/ 4305300 h 4496940"/>
              <a:gd name="connsiteX67" fmla="*/ 1402102 w 4519987"/>
              <a:gd name="connsiteY67" fmla="*/ 4276725 h 4496940"/>
              <a:gd name="connsiteX68" fmla="*/ 1287802 w 4519987"/>
              <a:gd name="connsiteY68" fmla="*/ 4229100 h 4496940"/>
              <a:gd name="connsiteX69" fmla="*/ 1221127 w 4519987"/>
              <a:gd name="connsiteY69" fmla="*/ 4200525 h 4496940"/>
              <a:gd name="connsiteX70" fmla="*/ 1144927 w 4519987"/>
              <a:gd name="connsiteY70" fmla="*/ 4171950 h 4496940"/>
              <a:gd name="connsiteX71" fmla="*/ 1087777 w 4519987"/>
              <a:gd name="connsiteY71" fmla="*/ 4143375 h 4496940"/>
              <a:gd name="connsiteX72" fmla="*/ 1030627 w 4519987"/>
              <a:gd name="connsiteY72" fmla="*/ 4124325 h 4496940"/>
              <a:gd name="connsiteX73" fmla="*/ 925852 w 4519987"/>
              <a:gd name="connsiteY73" fmla="*/ 4067175 h 4496940"/>
              <a:gd name="connsiteX74" fmla="*/ 830602 w 4519987"/>
              <a:gd name="connsiteY74" fmla="*/ 3981450 h 4496940"/>
              <a:gd name="connsiteX75" fmla="*/ 763927 w 4519987"/>
              <a:gd name="connsiteY75" fmla="*/ 3914775 h 4496940"/>
              <a:gd name="connsiteX76" fmla="*/ 725827 w 4519987"/>
              <a:gd name="connsiteY76" fmla="*/ 3876675 h 4496940"/>
              <a:gd name="connsiteX77" fmla="*/ 697252 w 4519987"/>
              <a:gd name="connsiteY77" fmla="*/ 3838575 h 4496940"/>
              <a:gd name="connsiteX78" fmla="*/ 640102 w 4519987"/>
              <a:gd name="connsiteY78" fmla="*/ 3781425 h 4496940"/>
              <a:gd name="connsiteX79" fmla="*/ 611527 w 4519987"/>
              <a:gd name="connsiteY79" fmla="*/ 3733800 h 4496940"/>
              <a:gd name="connsiteX80" fmla="*/ 554377 w 4519987"/>
              <a:gd name="connsiteY80" fmla="*/ 3657600 h 4496940"/>
              <a:gd name="connsiteX81" fmla="*/ 525802 w 4519987"/>
              <a:gd name="connsiteY81" fmla="*/ 3609975 h 4496940"/>
              <a:gd name="connsiteX82" fmla="*/ 497227 w 4519987"/>
              <a:gd name="connsiteY82" fmla="*/ 3552825 h 4496940"/>
              <a:gd name="connsiteX83" fmla="*/ 440077 w 4519987"/>
              <a:gd name="connsiteY83" fmla="*/ 3495675 h 4496940"/>
              <a:gd name="connsiteX84" fmla="*/ 411502 w 4519987"/>
              <a:gd name="connsiteY84" fmla="*/ 3448050 h 4496940"/>
              <a:gd name="connsiteX85" fmla="*/ 278152 w 4519987"/>
              <a:gd name="connsiteY85" fmla="*/ 3257550 h 4496940"/>
              <a:gd name="connsiteX86" fmla="*/ 249577 w 4519987"/>
              <a:gd name="connsiteY86" fmla="*/ 3200400 h 4496940"/>
              <a:gd name="connsiteX87" fmla="*/ 240052 w 4519987"/>
              <a:gd name="connsiteY87" fmla="*/ 3162300 h 4496940"/>
              <a:gd name="connsiteX88" fmla="*/ 221002 w 4519987"/>
              <a:gd name="connsiteY88" fmla="*/ 3105150 h 4496940"/>
              <a:gd name="connsiteX89" fmla="*/ 173377 w 4519987"/>
              <a:gd name="connsiteY89" fmla="*/ 3019425 h 4496940"/>
              <a:gd name="connsiteX90" fmla="*/ 144802 w 4519987"/>
              <a:gd name="connsiteY90" fmla="*/ 2924175 h 4496940"/>
              <a:gd name="connsiteX91" fmla="*/ 68602 w 4519987"/>
              <a:gd name="connsiteY91" fmla="*/ 2724150 h 4496940"/>
              <a:gd name="connsiteX92" fmla="*/ 49552 w 4519987"/>
              <a:gd name="connsiteY92" fmla="*/ 2638425 h 4496940"/>
              <a:gd name="connsiteX93" fmla="*/ 40027 w 4519987"/>
              <a:gd name="connsiteY93" fmla="*/ 2562225 h 4496940"/>
              <a:gd name="connsiteX94" fmla="*/ 30502 w 4519987"/>
              <a:gd name="connsiteY94" fmla="*/ 2514600 h 4496940"/>
              <a:gd name="connsiteX95" fmla="*/ 11452 w 4519987"/>
              <a:gd name="connsiteY95" fmla="*/ 2400300 h 4496940"/>
              <a:gd name="connsiteX96" fmla="*/ 20977 w 4519987"/>
              <a:gd name="connsiteY96" fmla="*/ 1905000 h 4496940"/>
              <a:gd name="connsiteX97" fmla="*/ 30502 w 4519987"/>
              <a:gd name="connsiteY97" fmla="*/ 1838325 h 4496940"/>
              <a:gd name="connsiteX98" fmla="*/ 49552 w 4519987"/>
              <a:gd name="connsiteY98" fmla="*/ 1781175 h 4496940"/>
              <a:gd name="connsiteX99" fmla="*/ 59077 w 4519987"/>
              <a:gd name="connsiteY99" fmla="*/ 1743075 h 4496940"/>
              <a:gd name="connsiteX100" fmla="*/ 78127 w 4519987"/>
              <a:gd name="connsiteY100" fmla="*/ 1685925 h 4496940"/>
              <a:gd name="connsiteX101" fmla="*/ 87652 w 4519987"/>
              <a:gd name="connsiteY101" fmla="*/ 1638300 h 4496940"/>
              <a:gd name="connsiteX102" fmla="*/ 106702 w 4519987"/>
              <a:gd name="connsiteY102" fmla="*/ 1590675 h 4496940"/>
              <a:gd name="connsiteX103" fmla="*/ 135277 w 4519987"/>
              <a:gd name="connsiteY103" fmla="*/ 1504950 h 4496940"/>
              <a:gd name="connsiteX104" fmla="*/ 154327 w 4519987"/>
              <a:gd name="connsiteY104" fmla="*/ 1419225 h 4496940"/>
              <a:gd name="connsiteX105" fmla="*/ 230527 w 4519987"/>
              <a:gd name="connsiteY105" fmla="*/ 1276350 h 4496940"/>
              <a:gd name="connsiteX106" fmla="*/ 240052 w 4519987"/>
              <a:gd name="connsiteY106" fmla="*/ 1247775 h 4496940"/>
              <a:gd name="connsiteX107" fmla="*/ 268627 w 4519987"/>
              <a:gd name="connsiteY107" fmla="*/ 1200150 h 4496940"/>
              <a:gd name="connsiteX108" fmla="*/ 287677 w 4519987"/>
              <a:gd name="connsiteY108" fmla="*/ 1152525 h 4496940"/>
              <a:gd name="connsiteX109" fmla="*/ 316252 w 4519987"/>
              <a:gd name="connsiteY109" fmla="*/ 1114425 h 4496940"/>
              <a:gd name="connsiteX110" fmla="*/ 363877 w 4519987"/>
              <a:gd name="connsiteY110" fmla="*/ 1038225 h 4496940"/>
              <a:gd name="connsiteX111" fmla="*/ 382927 w 4519987"/>
              <a:gd name="connsiteY111" fmla="*/ 1009650 h 4496940"/>
              <a:gd name="connsiteX112" fmla="*/ 440077 w 4519987"/>
              <a:gd name="connsiteY112" fmla="*/ 904875 h 4496940"/>
              <a:gd name="connsiteX113" fmla="*/ 478177 w 4519987"/>
              <a:gd name="connsiteY113" fmla="*/ 857250 h 4496940"/>
              <a:gd name="connsiteX114" fmla="*/ 497227 w 4519987"/>
              <a:gd name="connsiteY114" fmla="*/ 828675 h 4496940"/>
              <a:gd name="connsiteX115" fmla="*/ 535327 w 4519987"/>
              <a:gd name="connsiteY115" fmla="*/ 800100 h 4496940"/>
              <a:gd name="connsiteX116" fmla="*/ 602002 w 4519987"/>
              <a:gd name="connsiteY116" fmla="*/ 733425 h 4496940"/>
              <a:gd name="connsiteX117" fmla="*/ 668677 w 4519987"/>
              <a:gd name="connsiteY117" fmla="*/ 676275 h 4496940"/>
              <a:gd name="connsiteX118" fmla="*/ 697252 w 4519987"/>
              <a:gd name="connsiteY118" fmla="*/ 657225 h 4496940"/>
              <a:gd name="connsiteX119" fmla="*/ 840127 w 4519987"/>
              <a:gd name="connsiteY119" fmla="*/ 533400 h 4496940"/>
              <a:gd name="connsiteX120" fmla="*/ 887752 w 4519987"/>
              <a:gd name="connsiteY120" fmla="*/ 504825 h 4496940"/>
              <a:gd name="connsiteX121" fmla="*/ 1167152 w 4519987"/>
              <a:gd name="connsiteY121" fmla="*/ 311150 h 4496940"/>
              <a:gd name="connsiteX122" fmla="*/ 1268752 w 4519987"/>
              <a:gd name="connsiteY122" fmla="*/ 285750 h 4496940"/>
              <a:gd name="connsiteX123" fmla="*/ 1411627 w 4519987"/>
              <a:gd name="connsiteY123" fmla="*/ 190500 h 4496940"/>
              <a:gd name="connsiteX124" fmla="*/ 1449727 w 4519987"/>
              <a:gd name="connsiteY124" fmla="*/ 161925 h 4496940"/>
              <a:gd name="connsiteX125" fmla="*/ 1525927 w 4519987"/>
              <a:gd name="connsiteY125" fmla="*/ 152400 h 4496940"/>
              <a:gd name="connsiteX126" fmla="*/ 1583077 w 4519987"/>
              <a:gd name="connsiteY126" fmla="*/ 142875 h 4496940"/>
              <a:gd name="connsiteX127" fmla="*/ 1716427 w 4519987"/>
              <a:gd name="connsiteY127" fmla="*/ 123825 h 4496940"/>
              <a:gd name="connsiteX128" fmla="*/ 1811677 w 4519987"/>
              <a:gd name="connsiteY128" fmla="*/ 114300 h 4496940"/>
              <a:gd name="connsiteX129" fmla="*/ 1859302 w 4519987"/>
              <a:gd name="connsiteY129" fmla="*/ 104775 h 4496940"/>
              <a:gd name="connsiteX130" fmla="*/ 1916452 w 4519987"/>
              <a:gd name="connsiteY130" fmla="*/ 95250 h 4496940"/>
              <a:gd name="connsiteX131" fmla="*/ 2030752 w 4519987"/>
              <a:gd name="connsiteY131" fmla="*/ 66675 h 4496940"/>
              <a:gd name="connsiteX132" fmla="*/ 2097427 w 4519987"/>
              <a:gd name="connsiteY132" fmla="*/ 47625 h 4496940"/>
              <a:gd name="connsiteX133" fmla="*/ 2164102 w 4519987"/>
              <a:gd name="connsiteY133" fmla="*/ 38100 h 4496940"/>
              <a:gd name="connsiteX134" fmla="*/ 2392702 w 4519987"/>
              <a:gd name="connsiteY13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659527 w 4519987"/>
              <a:gd name="connsiteY40" fmla="*/ 3971925 h 4496940"/>
              <a:gd name="connsiteX41" fmla="*/ 3630952 w 4519987"/>
              <a:gd name="connsiteY41" fmla="*/ 4010025 h 4496940"/>
              <a:gd name="connsiteX42" fmla="*/ 3621427 w 4519987"/>
              <a:gd name="connsiteY42" fmla="*/ 4038600 h 4496940"/>
              <a:gd name="connsiteX43" fmla="*/ 3554752 w 4519987"/>
              <a:gd name="connsiteY43" fmla="*/ 4095750 h 4496940"/>
              <a:gd name="connsiteX44" fmla="*/ 3516652 w 4519987"/>
              <a:gd name="connsiteY44" fmla="*/ 4114800 h 4496940"/>
              <a:gd name="connsiteX45" fmla="*/ 3497602 w 4519987"/>
              <a:gd name="connsiteY45" fmla="*/ 4143375 h 4496940"/>
              <a:gd name="connsiteX46" fmla="*/ 3383302 w 4519987"/>
              <a:gd name="connsiteY46" fmla="*/ 4210050 h 4496940"/>
              <a:gd name="connsiteX47" fmla="*/ 3335677 w 4519987"/>
              <a:gd name="connsiteY47" fmla="*/ 4238625 h 4496940"/>
              <a:gd name="connsiteX48" fmla="*/ 3288052 w 4519987"/>
              <a:gd name="connsiteY48" fmla="*/ 4248150 h 4496940"/>
              <a:gd name="connsiteX49" fmla="*/ 3240427 w 4519987"/>
              <a:gd name="connsiteY49" fmla="*/ 4267200 h 4496940"/>
              <a:gd name="connsiteX50" fmla="*/ 3068977 w 4519987"/>
              <a:gd name="connsiteY50" fmla="*/ 4286250 h 4496940"/>
              <a:gd name="connsiteX51" fmla="*/ 2935627 w 4519987"/>
              <a:gd name="connsiteY51" fmla="*/ 4333875 h 4496940"/>
              <a:gd name="connsiteX52" fmla="*/ 2811802 w 4519987"/>
              <a:gd name="connsiteY52" fmla="*/ 4371975 h 4496940"/>
              <a:gd name="connsiteX53" fmla="*/ 2745127 w 4519987"/>
              <a:gd name="connsiteY53" fmla="*/ 4410075 h 4496940"/>
              <a:gd name="connsiteX54" fmla="*/ 2697502 w 4519987"/>
              <a:gd name="connsiteY54" fmla="*/ 4429125 h 4496940"/>
              <a:gd name="connsiteX55" fmla="*/ 2640352 w 4519987"/>
              <a:gd name="connsiteY55" fmla="*/ 4457700 h 4496940"/>
              <a:gd name="connsiteX56" fmla="*/ 2583202 w 4519987"/>
              <a:gd name="connsiteY56" fmla="*/ 4467225 h 4496940"/>
              <a:gd name="connsiteX57" fmla="*/ 2545102 w 4519987"/>
              <a:gd name="connsiteY57" fmla="*/ 4486275 h 4496940"/>
              <a:gd name="connsiteX58" fmla="*/ 2306977 w 4519987"/>
              <a:gd name="connsiteY58" fmla="*/ 4476750 h 4496940"/>
              <a:gd name="connsiteX59" fmla="*/ 2202202 w 4519987"/>
              <a:gd name="connsiteY59" fmla="*/ 4457700 h 4496940"/>
              <a:gd name="connsiteX60" fmla="*/ 2126002 w 4519987"/>
              <a:gd name="connsiteY60" fmla="*/ 4429125 h 4496940"/>
              <a:gd name="connsiteX61" fmla="*/ 1935502 w 4519987"/>
              <a:gd name="connsiteY61" fmla="*/ 4400550 h 4496940"/>
              <a:gd name="connsiteX62" fmla="*/ 1821202 w 4519987"/>
              <a:gd name="connsiteY62" fmla="*/ 4371975 h 4496940"/>
              <a:gd name="connsiteX63" fmla="*/ 1754527 w 4519987"/>
              <a:gd name="connsiteY63" fmla="*/ 4352925 h 4496940"/>
              <a:gd name="connsiteX64" fmla="*/ 1687852 w 4519987"/>
              <a:gd name="connsiteY64" fmla="*/ 4343400 h 4496940"/>
              <a:gd name="connsiteX65" fmla="*/ 1573552 w 4519987"/>
              <a:gd name="connsiteY65" fmla="*/ 4305300 h 4496940"/>
              <a:gd name="connsiteX66" fmla="*/ 1402102 w 4519987"/>
              <a:gd name="connsiteY66" fmla="*/ 4276725 h 4496940"/>
              <a:gd name="connsiteX67" fmla="*/ 1287802 w 4519987"/>
              <a:gd name="connsiteY67" fmla="*/ 4229100 h 4496940"/>
              <a:gd name="connsiteX68" fmla="*/ 1221127 w 4519987"/>
              <a:gd name="connsiteY68" fmla="*/ 4200525 h 4496940"/>
              <a:gd name="connsiteX69" fmla="*/ 1144927 w 4519987"/>
              <a:gd name="connsiteY69" fmla="*/ 4171950 h 4496940"/>
              <a:gd name="connsiteX70" fmla="*/ 1087777 w 4519987"/>
              <a:gd name="connsiteY70" fmla="*/ 4143375 h 4496940"/>
              <a:gd name="connsiteX71" fmla="*/ 1030627 w 4519987"/>
              <a:gd name="connsiteY71" fmla="*/ 4124325 h 4496940"/>
              <a:gd name="connsiteX72" fmla="*/ 925852 w 4519987"/>
              <a:gd name="connsiteY72" fmla="*/ 4067175 h 4496940"/>
              <a:gd name="connsiteX73" fmla="*/ 830602 w 4519987"/>
              <a:gd name="connsiteY73" fmla="*/ 3981450 h 4496940"/>
              <a:gd name="connsiteX74" fmla="*/ 763927 w 4519987"/>
              <a:gd name="connsiteY74" fmla="*/ 3914775 h 4496940"/>
              <a:gd name="connsiteX75" fmla="*/ 725827 w 4519987"/>
              <a:gd name="connsiteY75" fmla="*/ 3876675 h 4496940"/>
              <a:gd name="connsiteX76" fmla="*/ 697252 w 4519987"/>
              <a:gd name="connsiteY76" fmla="*/ 3838575 h 4496940"/>
              <a:gd name="connsiteX77" fmla="*/ 640102 w 4519987"/>
              <a:gd name="connsiteY77" fmla="*/ 3781425 h 4496940"/>
              <a:gd name="connsiteX78" fmla="*/ 611527 w 4519987"/>
              <a:gd name="connsiteY78" fmla="*/ 3733800 h 4496940"/>
              <a:gd name="connsiteX79" fmla="*/ 554377 w 4519987"/>
              <a:gd name="connsiteY79" fmla="*/ 3657600 h 4496940"/>
              <a:gd name="connsiteX80" fmla="*/ 525802 w 4519987"/>
              <a:gd name="connsiteY80" fmla="*/ 3609975 h 4496940"/>
              <a:gd name="connsiteX81" fmla="*/ 497227 w 4519987"/>
              <a:gd name="connsiteY81" fmla="*/ 3552825 h 4496940"/>
              <a:gd name="connsiteX82" fmla="*/ 440077 w 4519987"/>
              <a:gd name="connsiteY82" fmla="*/ 3495675 h 4496940"/>
              <a:gd name="connsiteX83" fmla="*/ 411502 w 4519987"/>
              <a:gd name="connsiteY83" fmla="*/ 3448050 h 4496940"/>
              <a:gd name="connsiteX84" fmla="*/ 278152 w 4519987"/>
              <a:gd name="connsiteY84" fmla="*/ 3257550 h 4496940"/>
              <a:gd name="connsiteX85" fmla="*/ 249577 w 4519987"/>
              <a:gd name="connsiteY85" fmla="*/ 3200400 h 4496940"/>
              <a:gd name="connsiteX86" fmla="*/ 240052 w 4519987"/>
              <a:gd name="connsiteY86" fmla="*/ 3162300 h 4496940"/>
              <a:gd name="connsiteX87" fmla="*/ 221002 w 4519987"/>
              <a:gd name="connsiteY87" fmla="*/ 3105150 h 4496940"/>
              <a:gd name="connsiteX88" fmla="*/ 173377 w 4519987"/>
              <a:gd name="connsiteY88" fmla="*/ 3019425 h 4496940"/>
              <a:gd name="connsiteX89" fmla="*/ 144802 w 4519987"/>
              <a:gd name="connsiteY89" fmla="*/ 2924175 h 4496940"/>
              <a:gd name="connsiteX90" fmla="*/ 68602 w 4519987"/>
              <a:gd name="connsiteY90" fmla="*/ 2724150 h 4496940"/>
              <a:gd name="connsiteX91" fmla="*/ 49552 w 4519987"/>
              <a:gd name="connsiteY91" fmla="*/ 2638425 h 4496940"/>
              <a:gd name="connsiteX92" fmla="*/ 40027 w 4519987"/>
              <a:gd name="connsiteY92" fmla="*/ 2562225 h 4496940"/>
              <a:gd name="connsiteX93" fmla="*/ 30502 w 4519987"/>
              <a:gd name="connsiteY93" fmla="*/ 2514600 h 4496940"/>
              <a:gd name="connsiteX94" fmla="*/ 11452 w 4519987"/>
              <a:gd name="connsiteY94" fmla="*/ 2400300 h 4496940"/>
              <a:gd name="connsiteX95" fmla="*/ 20977 w 4519987"/>
              <a:gd name="connsiteY95" fmla="*/ 1905000 h 4496940"/>
              <a:gd name="connsiteX96" fmla="*/ 30502 w 4519987"/>
              <a:gd name="connsiteY96" fmla="*/ 1838325 h 4496940"/>
              <a:gd name="connsiteX97" fmla="*/ 49552 w 4519987"/>
              <a:gd name="connsiteY97" fmla="*/ 1781175 h 4496940"/>
              <a:gd name="connsiteX98" fmla="*/ 59077 w 4519987"/>
              <a:gd name="connsiteY98" fmla="*/ 1743075 h 4496940"/>
              <a:gd name="connsiteX99" fmla="*/ 78127 w 4519987"/>
              <a:gd name="connsiteY99" fmla="*/ 1685925 h 4496940"/>
              <a:gd name="connsiteX100" fmla="*/ 87652 w 4519987"/>
              <a:gd name="connsiteY100" fmla="*/ 1638300 h 4496940"/>
              <a:gd name="connsiteX101" fmla="*/ 106702 w 4519987"/>
              <a:gd name="connsiteY101" fmla="*/ 1590675 h 4496940"/>
              <a:gd name="connsiteX102" fmla="*/ 135277 w 4519987"/>
              <a:gd name="connsiteY102" fmla="*/ 1504950 h 4496940"/>
              <a:gd name="connsiteX103" fmla="*/ 154327 w 4519987"/>
              <a:gd name="connsiteY103" fmla="*/ 1419225 h 4496940"/>
              <a:gd name="connsiteX104" fmla="*/ 230527 w 4519987"/>
              <a:gd name="connsiteY104" fmla="*/ 1276350 h 4496940"/>
              <a:gd name="connsiteX105" fmla="*/ 240052 w 4519987"/>
              <a:gd name="connsiteY105" fmla="*/ 1247775 h 4496940"/>
              <a:gd name="connsiteX106" fmla="*/ 268627 w 4519987"/>
              <a:gd name="connsiteY106" fmla="*/ 1200150 h 4496940"/>
              <a:gd name="connsiteX107" fmla="*/ 287677 w 4519987"/>
              <a:gd name="connsiteY107" fmla="*/ 1152525 h 4496940"/>
              <a:gd name="connsiteX108" fmla="*/ 316252 w 4519987"/>
              <a:gd name="connsiteY108" fmla="*/ 1114425 h 4496940"/>
              <a:gd name="connsiteX109" fmla="*/ 363877 w 4519987"/>
              <a:gd name="connsiteY109" fmla="*/ 1038225 h 4496940"/>
              <a:gd name="connsiteX110" fmla="*/ 382927 w 4519987"/>
              <a:gd name="connsiteY110" fmla="*/ 1009650 h 4496940"/>
              <a:gd name="connsiteX111" fmla="*/ 440077 w 4519987"/>
              <a:gd name="connsiteY111" fmla="*/ 904875 h 4496940"/>
              <a:gd name="connsiteX112" fmla="*/ 478177 w 4519987"/>
              <a:gd name="connsiteY112" fmla="*/ 857250 h 4496940"/>
              <a:gd name="connsiteX113" fmla="*/ 497227 w 4519987"/>
              <a:gd name="connsiteY113" fmla="*/ 828675 h 4496940"/>
              <a:gd name="connsiteX114" fmla="*/ 535327 w 4519987"/>
              <a:gd name="connsiteY114" fmla="*/ 800100 h 4496940"/>
              <a:gd name="connsiteX115" fmla="*/ 602002 w 4519987"/>
              <a:gd name="connsiteY115" fmla="*/ 733425 h 4496940"/>
              <a:gd name="connsiteX116" fmla="*/ 668677 w 4519987"/>
              <a:gd name="connsiteY116" fmla="*/ 676275 h 4496940"/>
              <a:gd name="connsiteX117" fmla="*/ 697252 w 4519987"/>
              <a:gd name="connsiteY117" fmla="*/ 657225 h 4496940"/>
              <a:gd name="connsiteX118" fmla="*/ 840127 w 4519987"/>
              <a:gd name="connsiteY118" fmla="*/ 533400 h 4496940"/>
              <a:gd name="connsiteX119" fmla="*/ 887752 w 4519987"/>
              <a:gd name="connsiteY119" fmla="*/ 504825 h 4496940"/>
              <a:gd name="connsiteX120" fmla="*/ 1167152 w 4519987"/>
              <a:gd name="connsiteY120" fmla="*/ 311150 h 4496940"/>
              <a:gd name="connsiteX121" fmla="*/ 1268752 w 4519987"/>
              <a:gd name="connsiteY121" fmla="*/ 285750 h 4496940"/>
              <a:gd name="connsiteX122" fmla="*/ 1411627 w 4519987"/>
              <a:gd name="connsiteY122" fmla="*/ 190500 h 4496940"/>
              <a:gd name="connsiteX123" fmla="*/ 1449727 w 4519987"/>
              <a:gd name="connsiteY123" fmla="*/ 161925 h 4496940"/>
              <a:gd name="connsiteX124" fmla="*/ 1525927 w 4519987"/>
              <a:gd name="connsiteY124" fmla="*/ 152400 h 4496940"/>
              <a:gd name="connsiteX125" fmla="*/ 1583077 w 4519987"/>
              <a:gd name="connsiteY125" fmla="*/ 142875 h 4496940"/>
              <a:gd name="connsiteX126" fmla="*/ 1716427 w 4519987"/>
              <a:gd name="connsiteY126" fmla="*/ 123825 h 4496940"/>
              <a:gd name="connsiteX127" fmla="*/ 1811677 w 4519987"/>
              <a:gd name="connsiteY127" fmla="*/ 114300 h 4496940"/>
              <a:gd name="connsiteX128" fmla="*/ 1859302 w 4519987"/>
              <a:gd name="connsiteY128" fmla="*/ 104775 h 4496940"/>
              <a:gd name="connsiteX129" fmla="*/ 1916452 w 4519987"/>
              <a:gd name="connsiteY129" fmla="*/ 95250 h 4496940"/>
              <a:gd name="connsiteX130" fmla="*/ 2030752 w 4519987"/>
              <a:gd name="connsiteY130" fmla="*/ 66675 h 4496940"/>
              <a:gd name="connsiteX131" fmla="*/ 2097427 w 4519987"/>
              <a:gd name="connsiteY131" fmla="*/ 47625 h 4496940"/>
              <a:gd name="connsiteX132" fmla="*/ 2164102 w 4519987"/>
              <a:gd name="connsiteY132" fmla="*/ 38100 h 4496940"/>
              <a:gd name="connsiteX133" fmla="*/ 2392702 w 4519987"/>
              <a:gd name="connsiteY13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659527 w 4519987"/>
              <a:gd name="connsiteY39" fmla="*/ 3971925 h 4496940"/>
              <a:gd name="connsiteX40" fmla="*/ 3630952 w 4519987"/>
              <a:gd name="connsiteY40" fmla="*/ 4010025 h 4496940"/>
              <a:gd name="connsiteX41" fmla="*/ 3621427 w 4519987"/>
              <a:gd name="connsiteY41" fmla="*/ 4038600 h 4496940"/>
              <a:gd name="connsiteX42" fmla="*/ 3554752 w 4519987"/>
              <a:gd name="connsiteY42" fmla="*/ 4095750 h 4496940"/>
              <a:gd name="connsiteX43" fmla="*/ 3516652 w 4519987"/>
              <a:gd name="connsiteY43" fmla="*/ 4114800 h 4496940"/>
              <a:gd name="connsiteX44" fmla="*/ 3497602 w 4519987"/>
              <a:gd name="connsiteY44" fmla="*/ 4143375 h 4496940"/>
              <a:gd name="connsiteX45" fmla="*/ 3383302 w 4519987"/>
              <a:gd name="connsiteY45" fmla="*/ 4210050 h 4496940"/>
              <a:gd name="connsiteX46" fmla="*/ 3335677 w 4519987"/>
              <a:gd name="connsiteY46" fmla="*/ 4238625 h 4496940"/>
              <a:gd name="connsiteX47" fmla="*/ 3288052 w 4519987"/>
              <a:gd name="connsiteY47" fmla="*/ 4248150 h 4496940"/>
              <a:gd name="connsiteX48" fmla="*/ 3240427 w 4519987"/>
              <a:gd name="connsiteY48" fmla="*/ 4267200 h 4496940"/>
              <a:gd name="connsiteX49" fmla="*/ 3068977 w 4519987"/>
              <a:gd name="connsiteY49" fmla="*/ 4286250 h 4496940"/>
              <a:gd name="connsiteX50" fmla="*/ 2935627 w 4519987"/>
              <a:gd name="connsiteY50" fmla="*/ 4333875 h 4496940"/>
              <a:gd name="connsiteX51" fmla="*/ 2811802 w 4519987"/>
              <a:gd name="connsiteY51" fmla="*/ 4371975 h 4496940"/>
              <a:gd name="connsiteX52" fmla="*/ 2745127 w 4519987"/>
              <a:gd name="connsiteY52" fmla="*/ 4410075 h 4496940"/>
              <a:gd name="connsiteX53" fmla="*/ 2697502 w 4519987"/>
              <a:gd name="connsiteY53" fmla="*/ 4429125 h 4496940"/>
              <a:gd name="connsiteX54" fmla="*/ 2640352 w 4519987"/>
              <a:gd name="connsiteY54" fmla="*/ 4457700 h 4496940"/>
              <a:gd name="connsiteX55" fmla="*/ 2583202 w 4519987"/>
              <a:gd name="connsiteY55" fmla="*/ 4467225 h 4496940"/>
              <a:gd name="connsiteX56" fmla="*/ 2545102 w 4519987"/>
              <a:gd name="connsiteY56" fmla="*/ 4486275 h 4496940"/>
              <a:gd name="connsiteX57" fmla="*/ 2306977 w 4519987"/>
              <a:gd name="connsiteY57" fmla="*/ 4476750 h 4496940"/>
              <a:gd name="connsiteX58" fmla="*/ 2202202 w 4519987"/>
              <a:gd name="connsiteY58" fmla="*/ 4457700 h 4496940"/>
              <a:gd name="connsiteX59" fmla="*/ 2126002 w 4519987"/>
              <a:gd name="connsiteY59" fmla="*/ 4429125 h 4496940"/>
              <a:gd name="connsiteX60" fmla="*/ 1935502 w 4519987"/>
              <a:gd name="connsiteY60" fmla="*/ 4400550 h 4496940"/>
              <a:gd name="connsiteX61" fmla="*/ 1821202 w 4519987"/>
              <a:gd name="connsiteY61" fmla="*/ 4371975 h 4496940"/>
              <a:gd name="connsiteX62" fmla="*/ 1754527 w 4519987"/>
              <a:gd name="connsiteY62" fmla="*/ 4352925 h 4496940"/>
              <a:gd name="connsiteX63" fmla="*/ 1687852 w 4519987"/>
              <a:gd name="connsiteY63" fmla="*/ 4343400 h 4496940"/>
              <a:gd name="connsiteX64" fmla="*/ 1573552 w 4519987"/>
              <a:gd name="connsiteY64" fmla="*/ 4305300 h 4496940"/>
              <a:gd name="connsiteX65" fmla="*/ 1402102 w 4519987"/>
              <a:gd name="connsiteY65" fmla="*/ 4276725 h 4496940"/>
              <a:gd name="connsiteX66" fmla="*/ 1287802 w 4519987"/>
              <a:gd name="connsiteY66" fmla="*/ 4229100 h 4496940"/>
              <a:gd name="connsiteX67" fmla="*/ 1221127 w 4519987"/>
              <a:gd name="connsiteY67" fmla="*/ 4200525 h 4496940"/>
              <a:gd name="connsiteX68" fmla="*/ 1144927 w 4519987"/>
              <a:gd name="connsiteY68" fmla="*/ 4171950 h 4496940"/>
              <a:gd name="connsiteX69" fmla="*/ 1087777 w 4519987"/>
              <a:gd name="connsiteY69" fmla="*/ 4143375 h 4496940"/>
              <a:gd name="connsiteX70" fmla="*/ 1030627 w 4519987"/>
              <a:gd name="connsiteY70" fmla="*/ 4124325 h 4496940"/>
              <a:gd name="connsiteX71" fmla="*/ 925852 w 4519987"/>
              <a:gd name="connsiteY71" fmla="*/ 4067175 h 4496940"/>
              <a:gd name="connsiteX72" fmla="*/ 830602 w 4519987"/>
              <a:gd name="connsiteY72" fmla="*/ 3981450 h 4496940"/>
              <a:gd name="connsiteX73" fmla="*/ 763927 w 4519987"/>
              <a:gd name="connsiteY73" fmla="*/ 3914775 h 4496940"/>
              <a:gd name="connsiteX74" fmla="*/ 725827 w 4519987"/>
              <a:gd name="connsiteY74" fmla="*/ 3876675 h 4496940"/>
              <a:gd name="connsiteX75" fmla="*/ 697252 w 4519987"/>
              <a:gd name="connsiteY75" fmla="*/ 3838575 h 4496940"/>
              <a:gd name="connsiteX76" fmla="*/ 640102 w 4519987"/>
              <a:gd name="connsiteY76" fmla="*/ 3781425 h 4496940"/>
              <a:gd name="connsiteX77" fmla="*/ 611527 w 4519987"/>
              <a:gd name="connsiteY77" fmla="*/ 3733800 h 4496940"/>
              <a:gd name="connsiteX78" fmla="*/ 554377 w 4519987"/>
              <a:gd name="connsiteY78" fmla="*/ 3657600 h 4496940"/>
              <a:gd name="connsiteX79" fmla="*/ 525802 w 4519987"/>
              <a:gd name="connsiteY79" fmla="*/ 3609975 h 4496940"/>
              <a:gd name="connsiteX80" fmla="*/ 497227 w 4519987"/>
              <a:gd name="connsiteY80" fmla="*/ 3552825 h 4496940"/>
              <a:gd name="connsiteX81" fmla="*/ 440077 w 4519987"/>
              <a:gd name="connsiteY81" fmla="*/ 3495675 h 4496940"/>
              <a:gd name="connsiteX82" fmla="*/ 411502 w 4519987"/>
              <a:gd name="connsiteY82" fmla="*/ 3448050 h 4496940"/>
              <a:gd name="connsiteX83" fmla="*/ 278152 w 4519987"/>
              <a:gd name="connsiteY83" fmla="*/ 3257550 h 4496940"/>
              <a:gd name="connsiteX84" fmla="*/ 249577 w 4519987"/>
              <a:gd name="connsiteY84" fmla="*/ 3200400 h 4496940"/>
              <a:gd name="connsiteX85" fmla="*/ 240052 w 4519987"/>
              <a:gd name="connsiteY85" fmla="*/ 3162300 h 4496940"/>
              <a:gd name="connsiteX86" fmla="*/ 221002 w 4519987"/>
              <a:gd name="connsiteY86" fmla="*/ 3105150 h 4496940"/>
              <a:gd name="connsiteX87" fmla="*/ 173377 w 4519987"/>
              <a:gd name="connsiteY87" fmla="*/ 3019425 h 4496940"/>
              <a:gd name="connsiteX88" fmla="*/ 144802 w 4519987"/>
              <a:gd name="connsiteY88" fmla="*/ 2924175 h 4496940"/>
              <a:gd name="connsiteX89" fmla="*/ 68602 w 4519987"/>
              <a:gd name="connsiteY89" fmla="*/ 2724150 h 4496940"/>
              <a:gd name="connsiteX90" fmla="*/ 49552 w 4519987"/>
              <a:gd name="connsiteY90" fmla="*/ 2638425 h 4496940"/>
              <a:gd name="connsiteX91" fmla="*/ 40027 w 4519987"/>
              <a:gd name="connsiteY91" fmla="*/ 2562225 h 4496940"/>
              <a:gd name="connsiteX92" fmla="*/ 30502 w 4519987"/>
              <a:gd name="connsiteY92" fmla="*/ 2514600 h 4496940"/>
              <a:gd name="connsiteX93" fmla="*/ 11452 w 4519987"/>
              <a:gd name="connsiteY93" fmla="*/ 2400300 h 4496940"/>
              <a:gd name="connsiteX94" fmla="*/ 20977 w 4519987"/>
              <a:gd name="connsiteY94" fmla="*/ 1905000 h 4496940"/>
              <a:gd name="connsiteX95" fmla="*/ 30502 w 4519987"/>
              <a:gd name="connsiteY95" fmla="*/ 1838325 h 4496940"/>
              <a:gd name="connsiteX96" fmla="*/ 49552 w 4519987"/>
              <a:gd name="connsiteY96" fmla="*/ 1781175 h 4496940"/>
              <a:gd name="connsiteX97" fmla="*/ 59077 w 4519987"/>
              <a:gd name="connsiteY97" fmla="*/ 1743075 h 4496940"/>
              <a:gd name="connsiteX98" fmla="*/ 78127 w 4519987"/>
              <a:gd name="connsiteY98" fmla="*/ 1685925 h 4496940"/>
              <a:gd name="connsiteX99" fmla="*/ 87652 w 4519987"/>
              <a:gd name="connsiteY99" fmla="*/ 1638300 h 4496940"/>
              <a:gd name="connsiteX100" fmla="*/ 106702 w 4519987"/>
              <a:gd name="connsiteY100" fmla="*/ 1590675 h 4496940"/>
              <a:gd name="connsiteX101" fmla="*/ 135277 w 4519987"/>
              <a:gd name="connsiteY101" fmla="*/ 1504950 h 4496940"/>
              <a:gd name="connsiteX102" fmla="*/ 154327 w 4519987"/>
              <a:gd name="connsiteY102" fmla="*/ 1419225 h 4496940"/>
              <a:gd name="connsiteX103" fmla="*/ 230527 w 4519987"/>
              <a:gd name="connsiteY103" fmla="*/ 1276350 h 4496940"/>
              <a:gd name="connsiteX104" fmla="*/ 240052 w 4519987"/>
              <a:gd name="connsiteY104" fmla="*/ 1247775 h 4496940"/>
              <a:gd name="connsiteX105" fmla="*/ 268627 w 4519987"/>
              <a:gd name="connsiteY105" fmla="*/ 1200150 h 4496940"/>
              <a:gd name="connsiteX106" fmla="*/ 287677 w 4519987"/>
              <a:gd name="connsiteY106" fmla="*/ 1152525 h 4496940"/>
              <a:gd name="connsiteX107" fmla="*/ 316252 w 4519987"/>
              <a:gd name="connsiteY107" fmla="*/ 1114425 h 4496940"/>
              <a:gd name="connsiteX108" fmla="*/ 363877 w 4519987"/>
              <a:gd name="connsiteY108" fmla="*/ 1038225 h 4496940"/>
              <a:gd name="connsiteX109" fmla="*/ 382927 w 4519987"/>
              <a:gd name="connsiteY109" fmla="*/ 1009650 h 4496940"/>
              <a:gd name="connsiteX110" fmla="*/ 440077 w 4519987"/>
              <a:gd name="connsiteY110" fmla="*/ 904875 h 4496940"/>
              <a:gd name="connsiteX111" fmla="*/ 478177 w 4519987"/>
              <a:gd name="connsiteY111" fmla="*/ 857250 h 4496940"/>
              <a:gd name="connsiteX112" fmla="*/ 497227 w 4519987"/>
              <a:gd name="connsiteY112" fmla="*/ 828675 h 4496940"/>
              <a:gd name="connsiteX113" fmla="*/ 535327 w 4519987"/>
              <a:gd name="connsiteY113" fmla="*/ 800100 h 4496940"/>
              <a:gd name="connsiteX114" fmla="*/ 602002 w 4519987"/>
              <a:gd name="connsiteY114" fmla="*/ 733425 h 4496940"/>
              <a:gd name="connsiteX115" fmla="*/ 668677 w 4519987"/>
              <a:gd name="connsiteY115" fmla="*/ 676275 h 4496940"/>
              <a:gd name="connsiteX116" fmla="*/ 697252 w 4519987"/>
              <a:gd name="connsiteY116" fmla="*/ 657225 h 4496940"/>
              <a:gd name="connsiteX117" fmla="*/ 840127 w 4519987"/>
              <a:gd name="connsiteY117" fmla="*/ 533400 h 4496940"/>
              <a:gd name="connsiteX118" fmla="*/ 887752 w 4519987"/>
              <a:gd name="connsiteY118" fmla="*/ 504825 h 4496940"/>
              <a:gd name="connsiteX119" fmla="*/ 1167152 w 4519987"/>
              <a:gd name="connsiteY119" fmla="*/ 311150 h 4496940"/>
              <a:gd name="connsiteX120" fmla="*/ 1268752 w 4519987"/>
              <a:gd name="connsiteY120" fmla="*/ 285750 h 4496940"/>
              <a:gd name="connsiteX121" fmla="*/ 1411627 w 4519987"/>
              <a:gd name="connsiteY121" fmla="*/ 190500 h 4496940"/>
              <a:gd name="connsiteX122" fmla="*/ 1449727 w 4519987"/>
              <a:gd name="connsiteY122" fmla="*/ 161925 h 4496940"/>
              <a:gd name="connsiteX123" fmla="*/ 1525927 w 4519987"/>
              <a:gd name="connsiteY123" fmla="*/ 152400 h 4496940"/>
              <a:gd name="connsiteX124" fmla="*/ 1583077 w 4519987"/>
              <a:gd name="connsiteY124" fmla="*/ 142875 h 4496940"/>
              <a:gd name="connsiteX125" fmla="*/ 1716427 w 4519987"/>
              <a:gd name="connsiteY125" fmla="*/ 123825 h 4496940"/>
              <a:gd name="connsiteX126" fmla="*/ 1811677 w 4519987"/>
              <a:gd name="connsiteY126" fmla="*/ 114300 h 4496940"/>
              <a:gd name="connsiteX127" fmla="*/ 1859302 w 4519987"/>
              <a:gd name="connsiteY127" fmla="*/ 104775 h 4496940"/>
              <a:gd name="connsiteX128" fmla="*/ 1916452 w 4519987"/>
              <a:gd name="connsiteY128" fmla="*/ 95250 h 4496940"/>
              <a:gd name="connsiteX129" fmla="*/ 2030752 w 4519987"/>
              <a:gd name="connsiteY129" fmla="*/ 66675 h 4496940"/>
              <a:gd name="connsiteX130" fmla="*/ 2097427 w 4519987"/>
              <a:gd name="connsiteY130" fmla="*/ 47625 h 4496940"/>
              <a:gd name="connsiteX131" fmla="*/ 2164102 w 4519987"/>
              <a:gd name="connsiteY131" fmla="*/ 38100 h 4496940"/>
              <a:gd name="connsiteX132" fmla="*/ 2392702 w 4519987"/>
              <a:gd name="connsiteY13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659527 w 4519987"/>
              <a:gd name="connsiteY38" fmla="*/ 3971925 h 4496940"/>
              <a:gd name="connsiteX39" fmla="*/ 3630952 w 4519987"/>
              <a:gd name="connsiteY39" fmla="*/ 4010025 h 4496940"/>
              <a:gd name="connsiteX40" fmla="*/ 3621427 w 4519987"/>
              <a:gd name="connsiteY40" fmla="*/ 4038600 h 4496940"/>
              <a:gd name="connsiteX41" fmla="*/ 3554752 w 4519987"/>
              <a:gd name="connsiteY41" fmla="*/ 4095750 h 4496940"/>
              <a:gd name="connsiteX42" fmla="*/ 3516652 w 4519987"/>
              <a:gd name="connsiteY42" fmla="*/ 4114800 h 4496940"/>
              <a:gd name="connsiteX43" fmla="*/ 3497602 w 4519987"/>
              <a:gd name="connsiteY43" fmla="*/ 4143375 h 4496940"/>
              <a:gd name="connsiteX44" fmla="*/ 3383302 w 4519987"/>
              <a:gd name="connsiteY44" fmla="*/ 4210050 h 4496940"/>
              <a:gd name="connsiteX45" fmla="*/ 3335677 w 4519987"/>
              <a:gd name="connsiteY45" fmla="*/ 4238625 h 4496940"/>
              <a:gd name="connsiteX46" fmla="*/ 3288052 w 4519987"/>
              <a:gd name="connsiteY46" fmla="*/ 4248150 h 4496940"/>
              <a:gd name="connsiteX47" fmla="*/ 3240427 w 4519987"/>
              <a:gd name="connsiteY47" fmla="*/ 4267200 h 4496940"/>
              <a:gd name="connsiteX48" fmla="*/ 3068977 w 4519987"/>
              <a:gd name="connsiteY48" fmla="*/ 4286250 h 4496940"/>
              <a:gd name="connsiteX49" fmla="*/ 2935627 w 4519987"/>
              <a:gd name="connsiteY49" fmla="*/ 4333875 h 4496940"/>
              <a:gd name="connsiteX50" fmla="*/ 2811802 w 4519987"/>
              <a:gd name="connsiteY50" fmla="*/ 4371975 h 4496940"/>
              <a:gd name="connsiteX51" fmla="*/ 2745127 w 4519987"/>
              <a:gd name="connsiteY51" fmla="*/ 4410075 h 4496940"/>
              <a:gd name="connsiteX52" fmla="*/ 2697502 w 4519987"/>
              <a:gd name="connsiteY52" fmla="*/ 4429125 h 4496940"/>
              <a:gd name="connsiteX53" fmla="*/ 2640352 w 4519987"/>
              <a:gd name="connsiteY53" fmla="*/ 4457700 h 4496940"/>
              <a:gd name="connsiteX54" fmla="*/ 2583202 w 4519987"/>
              <a:gd name="connsiteY54" fmla="*/ 4467225 h 4496940"/>
              <a:gd name="connsiteX55" fmla="*/ 2545102 w 4519987"/>
              <a:gd name="connsiteY55" fmla="*/ 4486275 h 4496940"/>
              <a:gd name="connsiteX56" fmla="*/ 2306977 w 4519987"/>
              <a:gd name="connsiteY56" fmla="*/ 4476750 h 4496940"/>
              <a:gd name="connsiteX57" fmla="*/ 2202202 w 4519987"/>
              <a:gd name="connsiteY57" fmla="*/ 4457700 h 4496940"/>
              <a:gd name="connsiteX58" fmla="*/ 2126002 w 4519987"/>
              <a:gd name="connsiteY58" fmla="*/ 4429125 h 4496940"/>
              <a:gd name="connsiteX59" fmla="*/ 1935502 w 4519987"/>
              <a:gd name="connsiteY59" fmla="*/ 4400550 h 4496940"/>
              <a:gd name="connsiteX60" fmla="*/ 1821202 w 4519987"/>
              <a:gd name="connsiteY60" fmla="*/ 4371975 h 4496940"/>
              <a:gd name="connsiteX61" fmla="*/ 1754527 w 4519987"/>
              <a:gd name="connsiteY61" fmla="*/ 4352925 h 4496940"/>
              <a:gd name="connsiteX62" fmla="*/ 1687852 w 4519987"/>
              <a:gd name="connsiteY62" fmla="*/ 4343400 h 4496940"/>
              <a:gd name="connsiteX63" fmla="*/ 1573552 w 4519987"/>
              <a:gd name="connsiteY63" fmla="*/ 4305300 h 4496940"/>
              <a:gd name="connsiteX64" fmla="*/ 1402102 w 4519987"/>
              <a:gd name="connsiteY64" fmla="*/ 4276725 h 4496940"/>
              <a:gd name="connsiteX65" fmla="*/ 1287802 w 4519987"/>
              <a:gd name="connsiteY65" fmla="*/ 4229100 h 4496940"/>
              <a:gd name="connsiteX66" fmla="*/ 1221127 w 4519987"/>
              <a:gd name="connsiteY66" fmla="*/ 4200525 h 4496940"/>
              <a:gd name="connsiteX67" fmla="*/ 1144927 w 4519987"/>
              <a:gd name="connsiteY67" fmla="*/ 4171950 h 4496940"/>
              <a:gd name="connsiteX68" fmla="*/ 1087777 w 4519987"/>
              <a:gd name="connsiteY68" fmla="*/ 4143375 h 4496940"/>
              <a:gd name="connsiteX69" fmla="*/ 1030627 w 4519987"/>
              <a:gd name="connsiteY69" fmla="*/ 4124325 h 4496940"/>
              <a:gd name="connsiteX70" fmla="*/ 925852 w 4519987"/>
              <a:gd name="connsiteY70" fmla="*/ 4067175 h 4496940"/>
              <a:gd name="connsiteX71" fmla="*/ 830602 w 4519987"/>
              <a:gd name="connsiteY71" fmla="*/ 3981450 h 4496940"/>
              <a:gd name="connsiteX72" fmla="*/ 763927 w 4519987"/>
              <a:gd name="connsiteY72" fmla="*/ 3914775 h 4496940"/>
              <a:gd name="connsiteX73" fmla="*/ 725827 w 4519987"/>
              <a:gd name="connsiteY73" fmla="*/ 3876675 h 4496940"/>
              <a:gd name="connsiteX74" fmla="*/ 697252 w 4519987"/>
              <a:gd name="connsiteY74" fmla="*/ 3838575 h 4496940"/>
              <a:gd name="connsiteX75" fmla="*/ 640102 w 4519987"/>
              <a:gd name="connsiteY75" fmla="*/ 3781425 h 4496940"/>
              <a:gd name="connsiteX76" fmla="*/ 611527 w 4519987"/>
              <a:gd name="connsiteY76" fmla="*/ 3733800 h 4496940"/>
              <a:gd name="connsiteX77" fmla="*/ 554377 w 4519987"/>
              <a:gd name="connsiteY77" fmla="*/ 3657600 h 4496940"/>
              <a:gd name="connsiteX78" fmla="*/ 525802 w 4519987"/>
              <a:gd name="connsiteY78" fmla="*/ 3609975 h 4496940"/>
              <a:gd name="connsiteX79" fmla="*/ 497227 w 4519987"/>
              <a:gd name="connsiteY79" fmla="*/ 3552825 h 4496940"/>
              <a:gd name="connsiteX80" fmla="*/ 440077 w 4519987"/>
              <a:gd name="connsiteY80" fmla="*/ 3495675 h 4496940"/>
              <a:gd name="connsiteX81" fmla="*/ 411502 w 4519987"/>
              <a:gd name="connsiteY81" fmla="*/ 3448050 h 4496940"/>
              <a:gd name="connsiteX82" fmla="*/ 278152 w 4519987"/>
              <a:gd name="connsiteY82" fmla="*/ 3257550 h 4496940"/>
              <a:gd name="connsiteX83" fmla="*/ 249577 w 4519987"/>
              <a:gd name="connsiteY83" fmla="*/ 3200400 h 4496940"/>
              <a:gd name="connsiteX84" fmla="*/ 240052 w 4519987"/>
              <a:gd name="connsiteY84" fmla="*/ 3162300 h 4496940"/>
              <a:gd name="connsiteX85" fmla="*/ 221002 w 4519987"/>
              <a:gd name="connsiteY85" fmla="*/ 3105150 h 4496940"/>
              <a:gd name="connsiteX86" fmla="*/ 173377 w 4519987"/>
              <a:gd name="connsiteY86" fmla="*/ 3019425 h 4496940"/>
              <a:gd name="connsiteX87" fmla="*/ 144802 w 4519987"/>
              <a:gd name="connsiteY87" fmla="*/ 2924175 h 4496940"/>
              <a:gd name="connsiteX88" fmla="*/ 68602 w 4519987"/>
              <a:gd name="connsiteY88" fmla="*/ 2724150 h 4496940"/>
              <a:gd name="connsiteX89" fmla="*/ 49552 w 4519987"/>
              <a:gd name="connsiteY89" fmla="*/ 2638425 h 4496940"/>
              <a:gd name="connsiteX90" fmla="*/ 40027 w 4519987"/>
              <a:gd name="connsiteY90" fmla="*/ 2562225 h 4496940"/>
              <a:gd name="connsiteX91" fmla="*/ 30502 w 4519987"/>
              <a:gd name="connsiteY91" fmla="*/ 2514600 h 4496940"/>
              <a:gd name="connsiteX92" fmla="*/ 11452 w 4519987"/>
              <a:gd name="connsiteY92" fmla="*/ 2400300 h 4496940"/>
              <a:gd name="connsiteX93" fmla="*/ 20977 w 4519987"/>
              <a:gd name="connsiteY93" fmla="*/ 1905000 h 4496940"/>
              <a:gd name="connsiteX94" fmla="*/ 30502 w 4519987"/>
              <a:gd name="connsiteY94" fmla="*/ 1838325 h 4496940"/>
              <a:gd name="connsiteX95" fmla="*/ 49552 w 4519987"/>
              <a:gd name="connsiteY95" fmla="*/ 1781175 h 4496940"/>
              <a:gd name="connsiteX96" fmla="*/ 59077 w 4519987"/>
              <a:gd name="connsiteY96" fmla="*/ 1743075 h 4496940"/>
              <a:gd name="connsiteX97" fmla="*/ 78127 w 4519987"/>
              <a:gd name="connsiteY97" fmla="*/ 1685925 h 4496940"/>
              <a:gd name="connsiteX98" fmla="*/ 87652 w 4519987"/>
              <a:gd name="connsiteY98" fmla="*/ 1638300 h 4496940"/>
              <a:gd name="connsiteX99" fmla="*/ 106702 w 4519987"/>
              <a:gd name="connsiteY99" fmla="*/ 1590675 h 4496940"/>
              <a:gd name="connsiteX100" fmla="*/ 135277 w 4519987"/>
              <a:gd name="connsiteY100" fmla="*/ 1504950 h 4496940"/>
              <a:gd name="connsiteX101" fmla="*/ 154327 w 4519987"/>
              <a:gd name="connsiteY101" fmla="*/ 1419225 h 4496940"/>
              <a:gd name="connsiteX102" fmla="*/ 230527 w 4519987"/>
              <a:gd name="connsiteY102" fmla="*/ 1276350 h 4496940"/>
              <a:gd name="connsiteX103" fmla="*/ 240052 w 4519987"/>
              <a:gd name="connsiteY103" fmla="*/ 1247775 h 4496940"/>
              <a:gd name="connsiteX104" fmla="*/ 268627 w 4519987"/>
              <a:gd name="connsiteY104" fmla="*/ 1200150 h 4496940"/>
              <a:gd name="connsiteX105" fmla="*/ 287677 w 4519987"/>
              <a:gd name="connsiteY105" fmla="*/ 1152525 h 4496940"/>
              <a:gd name="connsiteX106" fmla="*/ 316252 w 4519987"/>
              <a:gd name="connsiteY106" fmla="*/ 1114425 h 4496940"/>
              <a:gd name="connsiteX107" fmla="*/ 363877 w 4519987"/>
              <a:gd name="connsiteY107" fmla="*/ 1038225 h 4496940"/>
              <a:gd name="connsiteX108" fmla="*/ 382927 w 4519987"/>
              <a:gd name="connsiteY108" fmla="*/ 1009650 h 4496940"/>
              <a:gd name="connsiteX109" fmla="*/ 440077 w 4519987"/>
              <a:gd name="connsiteY109" fmla="*/ 904875 h 4496940"/>
              <a:gd name="connsiteX110" fmla="*/ 478177 w 4519987"/>
              <a:gd name="connsiteY110" fmla="*/ 857250 h 4496940"/>
              <a:gd name="connsiteX111" fmla="*/ 497227 w 4519987"/>
              <a:gd name="connsiteY111" fmla="*/ 828675 h 4496940"/>
              <a:gd name="connsiteX112" fmla="*/ 535327 w 4519987"/>
              <a:gd name="connsiteY112" fmla="*/ 800100 h 4496940"/>
              <a:gd name="connsiteX113" fmla="*/ 602002 w 4519987"/>
              <a:gd name="connsiteY113" fmla="*/ 733425 h 4496940"/>
              <a:gd name="connsiteX114" fmla="*/ 668677 w 4519987"/>
              <a:gd name="connsiteY114" fmla="*/ 676275 h 4496940"/>
              <a:gd name="connsiteX115" fmla="*/ 697252 w 4519987"/>
              <a:gd name="connsiteY115" fmla="*/ 657225 h 4496940"/>
              <a:gd name="connsiteX116" fmla="*/ 840127 w 4519987"/>
              <a:gd name="connsiteY116" fmla="*/ 533400 h 4496940"/>
              <a:gd name="connsiteX117" fmla="*/ 887752 w 4519987"/>
              <a:gd name="connsiteY117" fmla="*/ 504825 h 4496940"/>
              <a:gd name="connsiteX118" fmla="*/ 1167152 w 4519987"/>
              <a:gd name="connsiteY118" fmla="*/ 311150 h 4496940"/>
              <a:gd name="connsiteX119" fmla="*/ 1268752 w 4519987"/>
              <a:gd name="connsiteY119" fmla="*/ 285750 h 4496940"/>
              <a:gd name="connsiteX120" fmla="*/ 1411627 w 4519987"/>
              <a:gd name="connsiteY120" fmla="*/ 190500 h 4496940"/>
              <a:gd name="connsiteX121" fmla="*/ 1449727 w 4519987"/>
              <a:gd name="connsiteY121" fmla="*/ 161925 h 4496940"/>
              <a:gd name="connsiteX122" fmla="*/ 1525927 w 4519987"/>
              <a:gd name="connsiteY122" fmla="*/ 152400 h 4496940"/>
              <a:gd name="connsiteX123" fmla="*/ 1583077 w 4519987"/>
              <a:gd name="connsiteY123" fmla="*/ 142875 h 4496940"/>
              <a:gd name="connsiteX124" fmla="*/ 1716427 w 4519987"/>
              <a:gd name="connsiteY124" fmla="*/ 123825 h 4496940"/>
              <a:gd name="connsiteX125" fmla="*/ 1811677 w 4519987"/>
              <a:gd name="connsiteY125" fmla="*/ 114300 h 4496940"/>
              <a:gd name="connsiteX126" fmla="*/ 1859302 w 4519987"/>
              <a:gd name="connsiteY126" fmla="*/ 104775 h 4496940"/>
              <a:gd name="connsiteX127" fmla="*/ 1916452 w 4519987"/>
              <a:gd name="connsiteY127" fmla="*/ 95250 h 4496940"/>
              <a:gd name="connsiteX128" fmla="*/ 2030752 w 4519987"/>
              <a:gd name="connsiteY128" fmla="*/ 66675 h 4496940"/>
              <a:gd name="connsiteX129" fmla="*/ 2097427 w 4519987"/>
              <a:gd name="connsiteY129" fmla="*/ 47625 h 4496940"/>
              <a:gd name="connsiteX130" fmla="*/ 2164102 w 4519987"/>
              <a:gd name="connsiteY130" fmla="*/ 38100 h 4496940"/>
              <a:gd name="connsiteX131" fmla="*/ 2392702 w 4519987"/>
              <a:gd name="connsiteY13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88152 w 4519987"/>
              <a:gd name="connsiteY33" fmla="*/ 3495675 h 4496940"/>
              <a:gd name="connsiteX34" fmla="*/ 4059577 w 4519987"/>
              <a:gd name="connsiteY34" fmla="*/ 3533775 h 4496940"/>
              <a:gd name="connsiteX35" fmla="*/ 4002427 w 4519987"/>
              <a:gd name="connsiteY35" fmla="*/ 3600450 h 4496940"/>
              <a:gd name="connsiteX36" fmla="*/ 3954802 w 4519987"/>
              <a:gd name="connsiteY36" fmla="*/ 3648075 h 4496940"/>
              <a:gd name="connsiteX37" fmla="*/ 3659527 w 4519987"/>
              <a:gd name="connsiteY37" fmla="*/ 3971925 h 4496940"/>
              <a:gd name="connsiteX38" fmla="*/ 3630952 w 4519987"/>
              <a:gd name="connsiteY38" fmla="*/ 4010025 h 4496940"/>
              <a:gd name="connsiteX39" fmla="*/ 3621427 w 4519987"/>
              <a:gd name="connsiteY39" fmla="*/ 4038600 h 4496940"/>
              <a:gd name="connsiteX40" fmla="*/ 3554752 w 4519987"/>
              <a:gd name="connsiteY40" fmla="*/ 4095750 h 4496940"/>
              <a:gd name="connsiteX41" fmla="*/ 3516652 w 4519987"/>
              <a:gd name="connsiteY41" fmla="*/ 4114800 h 4496940"/>
              <a:gd name="connsiteX42" fmla="*/ 3497602 w 4519987"/>
              <a:gd name="connsiteY42" fmla="*/ 4143375 h 4496940"/>
              <a:gd name="connsiteX43" fmla="*/ 3383302 w 4519987"/>
              <a:gd name="connsiteY43" fmla="*/ 4210050 h 4496940"/>
              <a:gd name="connsiteX44" fmla="*/ 3335677 w 4519987"/>
              <a:gd name="connsiteY44" fmla="*/ 4238625 h 4496940"/>
              <a:gd name="connsiteX45" fmla="*/ 3288052 w 4519987"/>
              <a:gd name="connsiteY45" fmla="*/ 4248150 h 4496940"/>
              <a:gd name="connsiteX46" fmla="*/ 3240427 w 4519987"/>
              <a:gd name="connsiteY46" fmla="*/ 4267200 h 4496940"/>
              <a:gd name="connsiteX47" fmla="*/ 3068977 w 4519987"/>
              <a:gd name="connsiteY47" fmla="*/ 4286250 h 4496940"/>
              <a:gd name="connsiteX48" fmla="*/ 2935627 w 4519987"/>
              <a:gd name="connsiteY48" fmla="*/ 4333875 h 4496940"/>
              <a:gd name="connsiteX49" fmla="*/ 2811802 w 4519987"/>
              <a:gd name="connsiteY49" fmla="*/ 4371975 h 4496940"/>
              <a:gd name="connsiteX50" fmla="*/ 2745127 w 4519987"/>
              <a:gd name="connsiteY50" fmla="*/ 4410075 h 4496940"/>
              <a:gd name="connsiteX51" fmla="*/ 2697502 w 4519987"/>
              <a:gd name="connsiteY51" fmla="*/ 4429125 h 4496940"/>
              <a:gd name="connsiteX52" fmla="*/ 2640352 w 4519987"/>
              <a:gd name="connsiteY52" fmla="*/ 4457700 h 4496940"/>
              <a:gd name="connsiteX53" fmla="*/ 2583202 w 4519987"/>
              <a:gd name="connsiteY53" fmla="*/ 4467225 h 4496940"/>
              <a:gd name="connsiteX54" fmla="*/ 2545102 w 4519987"/>
              <a:gd name="connsiteY54" fmla="*/ 4486275 h 4496940"/>
              <a:gd name="connsiteX55" fmla="*/ 2306977 w 4519987"/>
              <a:gd name="connsiteY55" fmla="*/ 4476750 h 4496940"/>
              <a:gd name="connsiteX56" fmla="*/ 2202202 w 4519987"/>
              <a:gd name="connsiteY56" fmla="*/ 4457700 h 4496940"/>
              <a:gd name="connsiteX57" fmla="*/ 2126002 w 4519987"/>
              <a:gd name="connsiteY57" fmla="*/ 4429125 h 4496940"/>
              <a:gd name="connsiteX58" fmla="*/ 1935502 w 4519987"/>
              <a:gd name="connsiteY58" fmla="*/ 4400550 h 4496940"/>
              <a:gd name="connsiteX59" fmla="*/ 1821202 w 4519987"/>
              <a:gd name="connsiteY59" fmla="*/ 4371975 h 4496940"/>
              <a:gd name="connsiteX60" fmla="*/ 1754527 w 4519987"/>
              <a:gd name="connsiteY60" fmla="*/ 4352925 h 4496940"/>
              <a:gd name="connsiteX61" fmla="*/ 1687852 w 4519987"/>
              <a:gd name="connsiteY61" fmla="*/ 4343400 h 4496940"/>
              <a:gd name="connsiteX62" fmla="*/ 1573552 w 4519987"/>
              <a:gd name="connsiteY62" fmla="*/ 4305300 h 4496940"/>
              <a:gd name="connsiteX63" fmla="*/ 1402102 w 4519987"/>
              <a:gd name="connsiteY63" fmla="*/ 4276725 h 4496940"/>
              <a:gd name="connsiteX64" fmla="*/ 1287802 w 4519987"/>
              <a:gd name="connsiteY64" fmla="*/ 4229100 h 4496940"/>
              <a:gd name="connsiteX65" fmla="*/ 1221127 w 4519987"/>
              <a:gd name="connsiteY65" fmla="*/ 4200525 h 4496940"/>
              <a:gd name="connsiteX66" fmla="*/ 1144927 w 4519987"/>
              <a:gd name="connsiteY66" fmla="*/ 4171950 h 4496940"/>
              <a:gd name="connsiteX67" fmla="*/ 1087777 w 4519987"/>
              <a:gd name="connsiteY67" fmla="*/ 4143375 h 4496940"/>
              <a:gd name="connsiteX68" fmla="*/ 1030627 w 4519987"/>
              <a:gd name="connsiteY68" fmla="*/ 4124325 h 4496940"/>
              <a:gd name="connsiteX69" fmla="*/ 925852 w 4519987"/>
              <a:gd name="connsiteY69" fmla="*/ 4067175 h 4496940"/>
              <a:gd name="connsiteX70" fmla="*/ 830602 w 4519987"/>
              <a:gd name="connsiteY70" fmla="*/ 3981450 h 4496940"/>
              <a:gd name="connsiteX71" fmla="*/ 763927 w 4519987"/>
              <a:gd name="connsiteY71" fmla="*/ 3914775 h 4496940"/>
              <a:gd name="connsiteX72" fmla="*/ 725827 w 4519987"/>
              <a:gd name="connsiteY72" fmla="*/ 3876675 h 4496940"/>
              <a:gd name="connsiteX73" fmla="*/ 697252 w 4519987"/>
              <a:gd name="connsiteY73" fmla="*/ 3838575 h 4496940"/>
              <a:gd name="connsiteX74" fmla="*/ 640102 w 4519987"/>
              <a:gd name="connsiteY74" fmla="*/ 3781425 h 4496940"/>
              <a:gd name="connsiteX75" fmla="*/ 611527 w 4519987"/>
              <a:gd name="connsiteY75" fmla="*/ 3733800 h 4496940"/>
              <a:gd name="connsiteX76" fmla="*/ 554377 w 4519987"/>
              <a:gd name="connsiteY76" fmla="*/ 3657600 h 4496940"/>
              <a:gd name="connsiteX77" fmla="*/ 525802 w 4519987"/>
              <a:gd name="connsiteY77" fmla="*/ 3609975 h 4496940"/>
              <a:gd name="connsiteX78" fmla="*/ 497227 w 4519987"/>
              <a:gd name="connsiteY78" fmla="*/ 3552825 h 4496940"/>
              <a:gd name="connsiteX79" fmla="*/ 440077 w 4519987"/>
              <a:gd name="connsiteY79" fmla="*/ 3495675 h 4496940"/>
              <a:gd name="connsiteX80" fmla="*/ 411502 w 4519987"/>
              <a:gd name="connsiteY80" fmla="*/ 3448050 h 4496940"/>
              <a:gd name="connsiteX81" fmla="*/ 278152 w 4519987"/>
              <a:gd name="connsiteY81" fmla="*/ 3257550 h 4496940"/>
              <a:gd name="connsiteX82" fmla="*/ 249577 w 4519987"/>
              <a:gd name="connsiteY82" fmla="*/ 3200400 h 4496940"/>
              <a:gd name="connsiteX83" fmla="*/ 240052 w 4519987"/>
              <a:gd name="connsiteY83" fmla="*/ 3162300 h 4496940"/>
              <a:gd name="connsiteX84" fmla="*/ 221002 w 4519987"/>
              <a:gd name="connsiteY84" fmla="*/ 3105150 h 4496940"/>
              <a:gd name="connsiteX85" fmla="*/ 173377 w 4519987"/>
              <a:gd name="connsiteY85" fmla="*/ 3019425 h 4496940"/>
              <a:gd name="connsiteX86" fmla="*/ 144802 w 4519987"/>
              <a:gd name="connsiteY86" fmla="*/ 2924175 h 4496940"/>
              <a:gd name="connsiteX87" fmla="*/ 68602 w 4519987"/>
              <a:gd name="connsiteY87" fmla="*/ 2724150 h 4496940"/>
              <a:gd name="connsiteX88" fmla="*/ 49552 w 4519987"/>
              <a:gd name="connsiteY88" fmla="*/ 2638425 h 4496940"/>
              <a:gd name="connsiteX89" fmla="*/ 40027 w 4519987"/>
              <a:gd name="connsiteY89" fmla="*/ 2562225 h 4496940"/>
              <a:gd name="connsiteX90" fmla="*/ 30502 w 4519987"/>
              <a:gd name="connsiteY90" fmla="*/ 2514600 h 4496940"/>
              <a:gd name="connsiteX91" fmla="*/ 11452 w 4519987"/>
              <a:gd name="connsiteY91" fmla="*/ 2400300 h 4496940"/>
              <a:gd name="connsiteX92" fmla="*/ 20977 w 4519987"/>
              <a:gd name="connsiteY92" fmla="*/ 1905000 h 4496940"/>
              <a:gd name="connsiteX93" fmla="*/ 30502 w 4519987"/>
              <a:gd name="connsiteY93" fmla="*/ 1838325 h 4496940"/>
              <a:gd name="connsiteX94" fmla="*/ 49552 w 4519987"/>
              <a:gd name="connsiteY94" fmla="*/ 1781175 h 4496940"/>
              <a:gd name="connsiteX95" fmla="*/ 59077 w 4519987"/>
              <a:gd name="connsiteY95" fmla="*/ 1743075 h 4496940"/>
              <a:gd name="connsiteX96" fmla="*/ 78127 w 4519987"/>
              <a:gd name="connsiteY96" fmla="*/ 1685925 h 4496940"/>
              <a:gd name="connsiteX97" fmla="*/ 87652 w 4519987"/>
              <a:gd name="connsiteY97" fmla="*/ 1638300 h 4496940"/>
              <a:gd name="connsiteX98" fmla="*/ 106702 w 4519987"/>
              <a:gd name="connsiteY98" fmla="*/ 1590675 h 4496940"/>
              <a:gd name="connsiteX99" fmla="*/ 135277 w 4519987"/>
              <a:gd name="connsiteY99" fmla="*/ 1504950 h 4496940"/>
              <a:gd name="connsiteX100" fmla="*/ 154327 w 4519987"/>
              <a:gd name="connsiteY100" fmla="*/ 1419225 h 4496940"/>
              <a:gd name="connsiteX101" fmla="*/ 230527 w 4519987"/>
              <a:gd name="connsiteY101" fmla="*/ 1276350 h 4496940"/>
              <a:gd name="connsiteX102" fmla="*/ 240052 w 4519987"/>
              <a:gd name="connsiteY102" fmla="*/ 1247775 h 4496940"/>
              <a:gd name="connsiteX103" fmla="*/ 268627 w 4519987"/>
              <a:gd name="connsiteY103" fmla="*/ 1200150 h 4496940"/>
              <a:gd name="connsiteX104" fmla="*/ 287677 w 4519987"/>
              <a:gd name="connsiteY104" fmla="*/ 1152525 h 4496940"/>
              <a:gd name="connsiteX105" fmla="*/ 316252 w 4519987"/>
              <a:gd name="connsiteY105" fmla="*/ 1114425 h 4496940"/>
              <a:gd name="connsiteX106" fmla="*/ 363877 w 4519987"/>
              <a:gd name="connsiteY106" fmla="*/ 1038225 h 4496940"/>
              <a:gd name="connsiteX107" fmla="*/ 382927 w 4519987"/>
              <a:gd name="connsiteY107" fmla="*/ 1009650 h 4496940"/>
              <a:gd name="connsiteX108" fmla="*/ 440077 w 4519987"/>
              <a:gd name="connsiteY108" fmla="*/ 904875 h 4496940"/>
              <a:gd name="connsiteX109" fmla="*/ 478177 w 4519987"/>
              <a:gd name="connsiteY109" fmla="*/ 857250 h 4496940"/>
              <a:gd name="connsiteX110" fmla="*/ 497227 w 4519987"/>
              <a:gd name="connsiteY110" fmla="*/ 828675 h 4496940"/>
              <a:gd name="connsiteX111" fmla="*/ 535327 w 4519987"/>
              <a:gd name="connsiteY111" fmla="*/ 800100 h 4496940"/>
              <a:gd name="connsiteX112" fmla="*/ 602002 w 4519987"/>
              <a:gd name="connsiteY112" fmla="*/ 733425 h 4496940"/>
              <a:gd name="connsiteX113" fmla="*/ 668677 w 4519987"/>
              <a:gd name="connsiteY113" fmla="*/ 676275 h 4496940"/>
              <a:gd name="connsiteX114" fmla="*/ 697252 w 4519987"/>
              <a:gd name="connsiteY114" fmla="*/ 657225 h 4496940"/>
              <a:gd name="connsiteX115" fmla="*/ 840127 w 4519987"/>
              <a:gd name="connsiteY115" fmla="*/ 533400 h 4496940"/>
              <a:gd name="connsiteX116" fmla="*/ 887752 w 4519987"/>
              <a:gd name="connsiteY116" fmla="*/ 504825 h 4496940"/>
              <a:gd name="connsiteX117" fmla="*/ 1167152 w 4519987"/>
              <a:gd name="connsiteY117" fmla="*/ 311150 h 4496940"/>
              <a:gd name="connsiteX118" fmla="*/ 1268752 w 4519987"/>
              <a:gd name="connsiteY118" fmla="*/ 285750 h 4496940"/>
              <a:gd name="connsiteX119" fmla="*/ 1411627 w 4519987"/>
              <a:gd name="connsiteY119" fmla="*/ 190500 h 4496940"/>
              <a:gd name="connsiteX120" fmla="*/ 1449727 w 4519987"/>
              <a:gd name="connsiteY120" fmla="*/ 161925 h 4496940"/>
              <a:gd name="connsiteX121" fmla="*/ 1525927 w 4519987"/>
              <a:gd name="connsiteY121" fmla="*/ 152400 h 4496940"/>
              <a:gd name="connsiteX122" fmla="*/ 1583077 w 4519987"/>
              <a:gd name="connsiteY122" fmla="*/ 142875 h 4496940"/>
              <a:gd name="connsiteX123" fmla="*/ 1716427 w 4519987"/>
              <a:gd name="connsiteY123" fmla="*/ 123825 h 4496940"/>
              <a:gd name="connsiteX124" fmla="*/ 1811677 w 4519987"/>
              <a:gd name="connsiteY124" fmla="*/ 114300 h 4496940"/>
              <a:gd name="connsiteX125" fmla="*/ 1859302 w 4519987"/>
              <a:gd name="connsiteY125" fmla="*/ 104775 h 4496940"/>
              <a:gd name="connsiteX126" fmla="*/ 1916452 w 4519987"/>
              <a:gd name="connsiteY126" fmla="*/ 95250 h 4496940"/>
              <a:gd name="connsiteX127" fmla="*/ 2030752 w 4519987"/>
              <a:gd name="connsiteY127" fmla="*/ 66675 h 4496940"/>
              <a:gd name="connsiteX128" fmla="*/ 2097427 w 4519987"/>
              <a:gd name="connsiteY128" fmla="*/ 47625 h 4496940"/>
              <a:gd name="connsiteX129" fmla="*/ 2164102 w 4519987"/>
              <a:gd name="connsiteY129" fmla="*/ 38100 h 4496940"/>
              <a:gd name="connsiteX130" fmla="*/ 2392702 w 4519987"/>
              <a:gd name="connsiteY13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4002427 w 4519987"/>
              <a:gd name="connsiteY34" fmla="*/ 3600450 h 4496940"/>
              <a:gd name="connsiteX35" fmla="*/ 3954802 w 4519987"/>
              <a:gd name="connsiteY35" fmla="*/ 3648075 h 4496940"/>
              <a:gd name="connsiteX36" fmla="*/ 3659527 w 4519987"/>
              <a:gd name="connsiteY36" fmla="*/ 3971925 h 4496940"/>
              <a:gd name="connsiteX37" fmla="*/ 3630952 w 4519987"/>
              <a:gd name="connsiteY37" fmla="*/ 4010025 h 4496940"/>
              <a:gd name="connsiteX38" fmla="*/ 3621427 w 4519987"/>
              <a:gd name="connsiteY38" fmla="*/ 4038600 h 4496940"/>
              <a:gd name="connsiteX39" fmla="*/ 3554752 w 4519987"/>
              <a:gd name="connsiteY39" fmla="*/ 4095750 h 4496940"/>
              <a:gd name="connsiteX40" fmla="*/ 3516652 w 4519987"/>
              <a:gd name="connsiteY40" fmla="*/ 4114800 h 4496940"/>
              <a:gd name="connsiteX41" fmla="*/ 3497602 w 4519987"/>
              <a:gd name="connsiteY41" fmla="*/ 4143375 h 4496940"/>
              <a:gd name="connsiteX42" fmla="*/ 3383302 w 4519987"/>
              <a:gd name="connsiteY42" fmla="*/ 4210050 h 4496940"/>
              <a:gd name="connsiteX43" fmla="*/ 3335677 w 4519987"/>
              <a:gd name="connsiteY43" fmla="*/ 4238625 h 4496940"/>
              <a:gd name="connsiteX44" fmla="*/ 3288052 w 4519987"/>
              <a:gd name="connsiteY44" fmla="*/ 4248150 h 4496940"/>
              <a:gd name="connsiteX45" fmla="*/ 3240427 w 4519987"/>
              <a:gd name="connsiteY45" fmla="*/ 4267200 h 4496940"/>
              <a:gd name="connsiteX46" fmla="*/ 3068977 w 4519987"/>
              <a:gd name="connsiteY46" fmla="*/ 4286250 h 4496940"/>
              <a:gd name="connsiteX47" fmla="*/ 2935627 w 4519987"/>
              <a:gd name="connsiteY47" fmla="*/ 4333875 h 4496940"/>
              <a:gd name="connsiteX48" fmla="*/ 2811802 w 4519987"/>
              <a:gd name="connsiteY48" fmla="*/ 4371975 h 4496940"/>
              <a:gd name="connsiteX49" fmla="*/ 2745127 w 4519987"/>
              <a:gd name="connsiteY49" fmla="*/ 4410075 h 4496940"/>
              <a:gd name="connsiteX50" fmla="*/ 2697502 w 4519987"/>
              <a:gd name="connsiteY50" fmla="*/ 4429125 h 4496940"/>
              <a:gd name="connsiteX51" fmla="*/ 2640352 w 4519987"/>
              <a:gd name="connsiteY51" fmla="*/ 4457700 h 4496940"/>
              <a:gd name="connsiteX52" fmla="*/ 2583202 w 4519987"/>
              <a:gd name="connsiteY52" fmla="*/ 4467225 h 4496940"/>
              <a:gd name="connsiteX53" fmla="*/ 2545102 w 4519987"/>
              <a:gd name="connsiteY53" fmla="*/ 4486275 h 4496940"/>
              <a:gd name="connsiteX54" fmla="*/ 2306977 w 4519987"/>
              <a:gd name="connsiteY54" fmla="*/ 4476750 h 4496940"/>
              <a:gd name="connsiteX55" fmla="*/ 2202202 w 4519987"/>
              <a:gd name="connsiteY55" fmla="*/ 4457700 h 4496940"/>
              <a:gd name="connsiteX56" fmla="*/ 2126002 w 4519987"/>
              <a:gd name="connsiteY56" fmla="*/ 4429125 h 4496940"/>
              <a:gd name="connsiteX57" fmla="*/ 1935502 w 4519987"/>
              <a:gd name="connsiteY57" fmla="*/ 4400550 h 4496940"/>
              <a:gd name="connsiteX58" fmla="*/ 1821202 w 4519987"/>
              <a:gd name="connsiteY58" fmla="*/ 4371975 h 4496940"/>
              <a:gd name="connsiteX59" fmla="*/ 1754527 w 4519987"/>
              <a:gd name="connsiteY59" fmla="*/ 4352925 h 4496940"/>
              <a:gd name="connsiteX60" fmla="*/ 1687852 w 4519987"/>
              <a:gd name="connsiteY60" fmla="*/ 4343400 h 4496940"/>
              <a:gd name="connsiteX61" fmla="*/ 1573552 w 4519987"/>
              <a:gd name="connsiteY61" fmla="*/ 4305300 h 4496940"/>
              <a:gd name="connsiteX62" fmla="*/ 1402102 w 4519987"/>
              <a:gd name="connsiteY62" fmla="*/ 4276725 h 4496940"/>
              <a:gd name="connsiteX63" fmla="*/ 1287802 w 4519987"/>
              <a:gd name="connsiteY63" fmla="*/ 4229100 h 4496940"/>
              <a:gd name="connsiteX64" fmla="*/ 1221127 w 4519987"/>
              <a:gd name="connsiteY64" fmla="*/ 4200525 h 4496940"/>
              <a:gd name="connsiteX65" fmla="*/ 1144927 w 4519987"/>
              <a:gd name="connsiteY65" fmla="*/ 4171950 h 4496940"/>
              <a:gd name="connsiteX66" fmla="*/ 1087777 w 4519987"/>
              <a:gd name="connsiteY66" fmla="*/ 4143375 h 4496940"/>
              <a:gd name="connsiteX67" fmla="*/ 1030627 w 4519987"/>
              <a:gd name="connsiteY67" fmla="*/ 4124325 h 4496940"/>
              <a:gd name="connsiteX68" fmla="*/ 925852 w 4519987"/>
              <a:gd name="connsiteY68" fmla="*/ 4067175 h 4496940"/>
              <a:gd name="connsiteX69" fmla="*/ 830602 w 4519987"/>
              <a:gd name="connsiteY69" fmla="*/ 3981450 h 4496940"/>
              <a:gd name="connsiteX70" fmla="*/ 763927 w 4519987"/>
              <a:gd name="connsiteY70" fmla="*/ 3914775 h 4496940"/>
              <a:gd name="connsiteX71" fmla="*/ 725827 w 4519987"/>
              <a:gd name="connsiteY71" fmla="*/ 3876675 h 4496940"/>
              <a:gd name="connsiteX72" fmla="*/ 697252 w 4519987"/>
              <a:gd name="connsiteY72" fmla="*/ 3838575 h 4496940"/>
              <a:gd name="connsiteX73" fmla="*/ 640102 w 4519987"/>
              <a:gd name="connsiteY73" fmla="*/ 3781425 h 4496940"/>
              <a:gd name="connsiteX74" fmla="*/ 611527 w 4519987"/>
              <a:gd name="connsiteY74" fmla="*/ 3733800 h 4496940"/>
              <a:gd name="connsiteX75" fmla="*/ 554377 w 4519987"/>
              <a:gd name="connsiteY75" fmla="*/ 3657600 h 4496940"/>
              <a:gd name="connsiteX76" fmla="*/ 525802 w 4519987"/>
              <a:gd name="connsiteY76" fmla="*/ 3609975 h 4496940"/>
              <a:gd name="connsiteX77" fmla="*/ 497227 w 4519987"/>
              <a:gd name="connsiteY77" fmla="*/ 3552825 h 4496940"/>
              <a:gd name="connsiteX78" fmla="*/ 440077 w 4519987"/>
              <a:gd name="connsiteY78" fmla="*/ 3495675 h 4496940"/>
              <a:gd name="connsiteX79" fmla="*/ 411502 w 4519987"/>
              <a:gd name="connsiteY79" fmla="*/ 3448050 h 4496940"/>
              <a:gd name="connsiteX80" fmla="*/ 278152 w 4519987"/>
              <a:gd name="connsiteY80" fmla="*/ 3257550 h 4496940"/>
              <a:gd name="connsiteX81" fmla="*/ 249577 w 4519987"/>
              <a:gd name="connsiteY81" fmla="*/ 3200400 h 4496940"/>
              <a:gd name="connsiteX82" fmla="*/ 240052 w 4519987"/>
              <a:gd name="connsiteY82" fmla="*/ 3162300 h 4496940"/>
              <a:gd name="connsiteX83" fmla="*/ 221002 w 4519987"/>
              <a:gd name="connsiteY83" fmla="*/ 3105150 h 4496940"/>
              <a:gd name="connsiteX84" fmla="*/ 173377 w 4519987"/>
              <a:gd name="connsiteY84" fmla="*/ 3019425 h 4496940"/>
              <a:gd name="connsiteX85" fmla="*/ 144802 w 4519987"/>
              <a:gd name="connsiteY85" fmla="*/ 2924175 h 4496940"/>
              <a:gd name="connsiteX86" fmla="*/ 68602 w 4519987"/>
              <a:gd name="connsiteY86" fmla="*/ 2724150 h 4496940"/>
              <a:gd name="connsiteX87" fmla="*/ 49552 w 4519987"/>
              <a:gd name="connsiteY87" fmla="*/ 2638425 h 4496940"/>
              <a:gd name="connsiteX88" fmla="*/ 40027 w 4519987"/>
              <a:gd name="connsiteY88" fmla="*/ 2562225 h 4496940"/>
              <a:gd name="connsiteX89" fmla="*/ 30502 w 4519987"/>
              <a:gd name="connsiteY89" fmla="*/ 2514600 h 4496940"/>
              <a:gd name="connsiteX90" fmla="*/ 11452 w 4519987"/>
              <a:gd name="connsiteY90" fmla="*/ 2400300 h 4496940"/>
              <a:gd name="connsiteX91" fmla="*/ 20977 w 4519987"/>
              <a:gd name="connsiteY91" fmla="*/ 1905000 h 4496940"/>
              <a:gd name="connsiteX92" fmla="*/ 30502 w 4519987"/>
              <a:gd name="connsiteY92" fmla="*/ 1838325 h 4496940"/>
              <a:gd name="connsiteX93" fmla="*/ 49552 w 4519987"/>
              <a:gd name="connsiteY93" fmla="*/ 1781175 h 4496940"/>
              <a:gd name="connsiteX94" fmla="*/ 59077 w 4519987"/>
              <a:gd name="connsiteY94" fmla="*/ 1743075 h 4496940"/>
              <a:gd name="connsiteX95" fmla="*/ 78127 w 4519987"/>
              <a:gd name="connsiteY95" fmla="*/ 1685925 h 4496940"/>
              <a:gd name="connsiteX96" fmla="*/ 87652 w 4519987"/>
              <a:gd name="connsiteY96" fmla="*/ 1638300 h 4496940"/>
              <a:gd name="connsiteX97" fmla="*/ 106702 w 4519987"/>
              <a:gd name="connsiteY97" fmla="*/ 1590675 h 4496940"/>
              <a:gd name="connsiteX98" fmla="*/ 135277 w 4519987"/>
              <a:gd name="connsiteY98" fmla="*/ 1504950 h 4496940"/>
              <a:gd name="connsiteX99" fmla="*/ 154327 w 4519987"/>
              <a:gd name="connsiteY99" fmla="*/ 1419225 h 4496940"/>
              <a:gd name="connsiteX100" fmla="*/ 230527 w 4519987"/>
              <a:gd name="connsiteY100" fmla="*/ 1276350 h 4496940"/>
              <a:gd name="connsiteX101" fmla="*/ 240052 w 4519987"/>
              <a:gd name="connsiteY101" fmla="*/ 1247775 h 4496940"/>
              <a:gd name="connsiteX102" fmla="*/ 268627 w 4519987"/>
              <a:gd name="connsiteY102" fmla="*/ 1200150 h 4496940"/>
              <a:gd name="connsiteX103" fmla="*/ 287677 w 4519987"/>
              <a:gd name="connsiteY103" fmla="*/ 1152525 h 4496940"/>
              <a:gd name="connsiteX104" fmla="*/ 316252 w 4519987"/>
              <a:gd name="connsiteY104" fmla="*/ 1114425 h 4496940"/>
              <a:gd name="connsiteX105" fmla="*/ 363877 w 4519987"/>
              <a:gd name="connsiteY105" fmla="*/ 1038225 h 4496940"/>
              <a:gd name="connsiteX106" fmla="*/ 382927 w 4519987"/>
              <a:gd name="connsiteY106" fmla="*/ 1009650 h 4496940"/>
              <a:gd name="connsiteX107" fmla="*/ 440077 w 4519987"/>
              <a:gd name="connsiteY107" fmla="*/ 904875 h 4496940"/>
              <a:gd name="connsiteX108" fmla="*/ 478177 w 4519987"/>
              <a:gd name="connsiteY108" fmla="*/ 857250 h 4496940"/>
              <a:gd name="connsiteX109" fmla="*/ 497227 w 4519987"/>
              <a:gd name="connsiteY109" fmla="*/ 828675 h 4496940"/>
              <a:gd name="connsiteX110" fmla="*/ 535327 w 4519987"/>
              <a:gd name="connsiteY110" fmla="*/ 800100 h 4496940"/>
              <a:gd name="connsiteX111" fmla="*/ 602002 w 4519987"/>
              <a:gd name="connsiteY111" fmla="*/ 733425 h 4496940"/>
              <a:gd name="connsiteX112" fmla="*/ 668677 w 4519987"/>
              <a:gd name="connsiteY112" fmla="*/ 676275 h 4496940"/>
              <a:gd name="connsiteX113" fmla="*/ 697252 w 4519987"/>
              <a:gd name="connsiteY113" fmla="*/ 657225 h 4496940"/>
              <a:gd name="connsiteX114" fmla="*/ 840127 w 4519987"/>
              <a:gd name="connsiteY114" fmla="*/ 533400 h 4496940"/>
              <a:gd name="connsiteX115" fmla="*/ 887752 w 4519987"/>
              <a:gd name="connsiteY115" fmla="*/ 504825 h 4496940"/>
              <a:gd name="connsiteX116" fmla="*/ 1167152 w 4519987"/>
              <a:gd name="connsiteY116" fmla="*/ 311150 h 4496940"/>
              <a:gd name="connsiteX117" fmla="*/ 1268752 w 4519987"/>
              <a:gd name="connsiteY117" fmla="*/ 285750 h 4496940"/>
              <a:gd name="connsiteX118" fmla="*/ 1411627 w 4519987"/>
              <a:gd name="connsiteY118" fmla="*/ 190500 h 4496940"/>
              <a:gd name="connsiteX119" fmla="*/ 1449727 w 4519987"/>
              <a:gd name="connsiteY119" fmla="*/ 161925 h 4496940"/>
              <a:gd name="connsiteX120" fmla="*/ 1525927 w 4519987"/>
              <a:gd name="connsiteY120" fmla="*/ 152400 h 4496940"/>
              <a:gd name="connsiteX121" fmla="*/ 1583077 w 4519987"/>
              <a:gd name="connsiteY121" fmla="*/ 142875 h 4496940"/>
              <a:gd name="connsiteX122" fmla="*/ 1716427 w 4519987"/>
              <a:gd name="connsiteY122" fmla="*/ 123825 h 4496940"/>
              <a:gd name="connsiteX123" fmla="*/ 1811677 w 4519987"/>
              <a:gd name="connsiteY123" fmla="*/ 114300 h 4496940"/>
              <a:gd name="connsiteX124" fmla="*/ 1859302 w 4519987"/>
              <a:gd name="connsiteY124" fmla="*/ 104775 h 4496940"/>
              <a:gd name="connsiteX125" fmla="*/ 1916452 w 4519987"/>
              <a:gd name="connsiteY125" fmla="*/ 95250 h 4496940"/>
              <a:gd name="connsiteX126" fmla="*/ 2030752 w 4519987"/>
              <a:gd name="connsiteY126" fmla="*/ 66675 h 4496940"/>
              <a:gd name="connsiteX127" fmla="*/ 2097427 w 4519987"/>
              <a:gd name="connsiteY127" fmla="*/ 47625 h 4496940"/>
              <a:gd name="connsiteX128" fmla="*/ 2164102 w 4519987"/>
              <a:gd name="connsiteY128" fmla="*/ 38100 h 4496940"/>
              <a:gd name="connsiteX129" fmla="*/ 2392702 w 4519987"/>
              <a:gd name="connsiteY12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516652 w 4519987"/>
              <a:gd name="connsiteY39" fmla="*/ 4114800 h 4496940"/>
              <a:gd name="connsiteX40" fmla="*/ 3497602 w 4519987"/>
              <a:gd name="connsiteY40" fmla="*/ 4143375 h 4496940"/>
              <a:gd name="connsiteX41" fmla="*/ 3383302 w 4519987"/>
              <a:gd name="connsiteY41" fmla="*/ 4210050 h 4496940"/>
              <a:gd name="connsiteX42" fmla="*/ 3335677 w 4519987"/>
              <a:gd name="connsiteY42" fmla="*/ 4238625 h 4496940"/>
              <a:gd name="connsiteX43" fmla="*/ 3288052 w 4519987"/>
              <a:gd name="connsiteY43" fmla="*/ 4248150 h 4496940"/>
              <a:gd name="connsiteX44" fmla="*/ 3240427 w 4519987"/>
              <a:gd name="connsiteY44" fmla="*/ 4267200 h 4496940"/>
              <a:gd name="connsiteX45" fmla="*/ 3068977 w 4519987"/>
              <a:gd name="connsiteY45" fmla="*/ 4286250 h 4496940"/>
              <a:gd name="connsiteX46" fmla="*/ 2935627 w 4519987"/>
              <a:gd name="connsiteY46" fmla="*/ 4333875 h 4496940"/>
              <a:gd name="connsiteX47" fmla="*/ 2811802 w 4519987"/>
              <a:gd name="connsiteY47" fmla="*/ 4371975 h 4496940"/>
              <a:gd name="connsiteX48" fmla="*/ 2745127 w 4519987"/>
              <a:gd name="connsiteY48" fmla="*/ 4410075 h 4496940"/>
              <a:gd name="connsiteX49" fmla="*/ 2697502 w 4519987"/>
              <a:gd name="connsiteY49" fmla="*/ 4429125 h 4496940"/>
              <a:gd name="connsiteX50" fmla="*/ 2640352 w 4519987"/>
              <a:gd name="connsiteY50" fmla="*/ 4457700 h 4496940"/>
              <a:gd name="connsiteX51" fmla="*/ 2583202 w 4519987"/>
              <a:gd name="connsiteY51" fmla="*/ 4467225 h 4496940"/>
              <a:gd name="connsiteX52" fmla="*/ 2545102 w 4519987"/>
              <a:gd name="connsiteY52" fmla="*/ 4486275 h 4496940"/>
              <a:gd name="connsiteX53" fmla="*/ 2306977 w 4519987"/>
              <a:gd name="connsiteY53" fmla="*/ 4476750 h 4496940"/>
              <a:gd name="connsiteX54" fmla="*/ 2202202 w 4519987"/>
              <a:gd name="connsiteY54" fmla="*/ 4457700 h 4496940"/>
              <a:gd name="connsiteX55" fmla="*/ 2126002 w 4519987"/>
              <a:gd name="connsiteY55" fmla="*/ 4429125 h 4496940"/>
              <a:gd name="connsiteX56" fmla="*/ 1935502 w 4519987"/>
              <a:gd name="connsiteY56" fmla="*/ 4400550 h 4496940"/>
              <a:gd name="connsiteX57" fmla="*/ 1821202 w 4519987"/>
              <a:gd name="connsiteY57" fmla="*/ 4371975 h 4496940"/>
              <a:gd name="connsiteX58" fmla="*/ 1754527 w 4519987"/>
              <a:gd name="connsiteY58" fmla="*/ 4352925 h 4496940"/>
              <a:gd name="connsiteX59" fmla="*/ 1687852 w 4519987"/>
              <a:gd name="connsiteY59" fmla="*/ 4343400 h 4496940"/>
              <a:gd name="connsiteX60" fmla="*/ 1573552 w 4519987"/>
              <a:gd name="connsiteY60" fmla="*/ 4305300 h 4496940"/>
              <a:gd name="connsiteX61" fmla="*/ 1402102 w 4519987"/>
              <a:gd name="connsiteY61" fmla="*/ 4276725 h 4496940"/>
              <a:gd name="connsiteX62" fmla="*/ 1287802 w 4519987"/>
              <a:gd name="connsiteY62" fmla="*/ 4229100 h 4496940"/>
              <a:gd name="connsiteX63" fmla="*/ 1221127 w 4519987"/>
              <a:gd name="connsiteY63" fmla="*/ 4200525 h 4496940"/>
              <a:gd name="connsiteX64" fmla="*/ 1144927 w 4519987"/>
              <a:gd name="connsiteY64" fmla="*/ 4171950 h 4496940"/>
              <a:gd name="connsiteX65" fmla="*/ 1087777 w 4519987"/>
              <a:gd name="connsiteY65" fmla="*/ 4143375 h 4496940"/>
              <a:gd name="connsiteX66" fmla="*/ 1030627 w 4519987"/>
              <a:gd name="connsiteY66" fmla="*/ 4124325 h 4496940"/>
              <a:gd name="connsiteX67" fmla="*/ 925852 w 4519987"/>
              <a:gd name="connsiteY67" fmla="*/ 4067175 h 4496940"/>
              <a:gd name="connsiteX68" fmla="*/ 830602 w 4519987"/>
              <a:gd name="connsiteY68" fmla="*/ 3981450 h 4496940"/>
              <a:gd name="connsiteX69" fmla="*/ 763927 w 4519987"/>
              <a:gd name="connsiteY69" fmla="*/ 3914775 h 4496940"/>
              <a:gd name="connsiteX70" fmla="*/ 725827 w 4519987"/>
              <a:gd name="connsiteY70" fmla="*/ 3876675 h 4496940"/>
              <a:gd name="connsiteX71" fmla="*/ 697252 w 4519987"/>
              <a:gd name="connsiteY71" fmla="*/ 3838575 h 4496940"/>
              <a:gd name="connsiteX72" fmla="*/ 640102 w 4519987"/>
              <a:gd name="connsiteY72" fmla="*/ 3781425 h 4496940"/>
              <a:gd name="connsiteX73" fmla="*/ 611527 w 4519987"/>
              <a:gd name="connsiteY73" fmla="*/ 3733800 h 4496940"/>
              <a:gd name="connsiteX74" fmla="*/ 554377 w 4519987"/>
              <a:gd name="connsiteY74" fmla="*/ 3657600 h 4496940"/>
              <a:gd name="connsiteX75" fmla="*/ 525802 w 4519987"/>
              <a:gd name="connsiteY75" fmla="*/ 3609975 h 4496940"/>
              <a:gd name="connsiteX76" fmla="*/ 497227 w 4519987"/>
              <a:gd name="connsiteY76" fmla="*/ 3552825 h 4496940"/>
              <a:gd name="connsiteX77" fmla="*/ 440077 w 4519987"/>
              <a:gd name="connsiteY77" fmla="*/ 3495675 h 4496940"/>
              <a:gd name="connsiteX78" fmla="*/ 411502 w 4519987"/>
              <a:gd name="connsiteY78" fmla="*/ 3448050 h 4496940"/>
              <a:gd name="connsiteX79" fmla="*/ 278152 w 4519987"/>
              <a:gd name="connsiteY79" fmla="*/ 3257550 h 4496940"/>
              <a:gd name="connsiteX80" fmla="*/ 249577 w 4519987"/>
              <a:gd name="connsiteY80" fmla="*/ 3200400 h 4496940"/>
              <a:gd name="connsiteX81" fmla="*/ 240052 w 4519987"/>
              <a:gd name="connsiteY81" fmla="*/ 3162300 h 4496940"/>
              <a:gd name="connsiteX82" fmla="*/ 221002 w 4519987"/>
              <a:gd name="connsiteY82" fmla="*/ 3105150 h 4496940"/>
              <a:gd name="connsiteX83" fmla="*/ 173377 w 4519987"/>
              <a:gd name="connsiteY83" fmla="*/ 3019425 h 4496940"/>
              <a:gd name="connsiteX84" fmla="*/ 144802 w 4519987"/>
              <a:gd name="connsiteY84" fmla="*/ 2924175 h 4496940"/>
              <a:gd name="connsiteX85" fmla="*/ 68602 w 4519987"/>
              <a:gd name="connsiteY85" fmla="*/ 2724150 h 4496940"/>
              <a:gd name="connsiteX86" fmla="*/ 49552 w 4519987"/>
              <a:gd name="connsiteY86" fmla="*/ 2638425 h 4496940"/>
              <a:gd name="connsiteX87" fmla="*/ 40027 w 4519987"/>
              <a:gd name="connsiteY87" fmla="*/ 2562225 h 4496940"/>
              <a:gd name="connsiteX88" fmla="*/ 30502 w 4519987"/>
              <a:gd name="connsiteY88" fmla="*/ 2514600 h 4496940"/>
              <a:gd name="connsiteX89" fmla="*/ 11452 w 4519987"/>
              <a:gd name="connsiteY89" fmla="*/ 2400300 h 4496940"/>
              <a:gd name="connsiteX90" fmla="*/ 20977 w 4519987"/>
              <a:gd name="connsiteY90" fmla="*/ 1905000 h 4496940"/>
              <a:gd name="connsiteX91" fmla="*/ 30502 w 4519987"/>
              <a:gd name="connsiteY91" fmla="*/ 1838325 h 4496940"/>
              <a:gd name="connsiteX92" fmla="*/ 49552 w 4519987"/>
              <a:gd name="connsiteY92" fmla="*/ 1781175 h 4496940"/>
              <a:gd name="connsiteX93" fmla="*/ 59077 w 4519987"/>
              <a:gd name="connsiteY93" fmla="*/ 1743075 h 4496940"/>
              <a:gd name="connsiteX94" fmla="*/ 78127 w 4519987"/>
              <a:gd name="connsiteY94" fmla="*/ 1685925 h 4496940"/>
              <a:gd name="connsiteX95" fmla="*/ 87652 w 4519987"/>
              <a:gd name="connsiteY95" fmla="*/ 1638300 h 4496940"/>
              <a:gd name="connsiteX96" fmla="*/ 106702 w 4519987"/>
              <a:gd name="connsiteY96" fmla="*/ 1590675 h 4496940"/>
              <a:gd name="connsiteX97" fmla="*/ 135277 w 4519987"/>
              <a:gd name="connsiteY97" fmla="*/ 1504950 h 4496940"/>
              <a:gd name="connsiteX98" fmla="*/ 154327 w 4519987"/>
              <a:gd name="connsiteY98" fmla="*/ 1419225 h 4496940"/>
              <a:gd name="connsiteX99" fmla="*/ 230527 w 4519987"/>
              <a:gd name="connsiteY99" fmla="*/ 1276350 h 4496940"/>
              <a:gd name="connsiteX100" fmla="*/ 240052 w 4519987"/>
              <a:gd name="connsiteY100" fmla="*/ 1247775 h 4496940"/>
              <a:gd name="connsiteX101" fmla="*/ 268627 w 4519987"/>
              <a:gd name="connsiteY101" fmla="*/ 1200150 h 4496940"/>
              <a:gd name="connsiteX102" fmla="*/ 287677 w 4519987"/>
              <a:gd name="connsiteY102" fmla="*/ 1152525 h 4496940"/>
              <a:gd name="connsiteX103" fmla="*/ 316252 w 4519987"/>
              <a:gd name="connsiteY103" fmla="*/ 1114425 h 4496940"/>
              <a:gd name="connsiteX104" fmla="*/ 363877 w 4519987"/>
              <a:gd name="connsiteY104" fmla="*/ 1038225 h 4496940"/>
              <a:gd name="connsiteX105" fmla="*/ 382927 w 4519987"/>
              <a:gd name="connsiteY105" fmla="*/ 1009650 h 4496940"/>
              <a:gd name="connsiteX106" fmla="*/ 440077 w 4519987"/>
              <a:gd name="connsiteY106" fmla="*/ 904875 h 4496940"/>
              <a:gd name="connsiteX107" fmla="*/ 478177 w 4519987"/>
              <a:gd name="connsiteY107" fmla="*/ 857250 h 4496940"/>
              <a:gd name="connsiteX108" fmla="*/ 497227 w 4519987"/>
              <a:gd name="connsiteY108" fmla="*/ 828675 h 4496940"/>
              <a:gd name="connsiteX109" fmla="*/ 535327 w 4519987"/>
              <a:gd name="connsiteY109" fmla="*/ 800100 h 4496940"/>
              <a:gd name="connsiteX110" fmla="*/ 602002 w 4519987"/>
              <a:gd name="connsiteY110" fmla="*/ 733425 h 4496940"/>
              <a:gd name="connsiteX111" fmla="*/ 668677 w 4519987"/>
              <a:gd name="connsiteY111" fmla="*/ 676275 h 4496940"/>
              <a:gd name="connsiteX112" fmla="*/ 697252 w 4519987"/>
              <a:gd name="connsiteY112" fmla="*/ 657225 h 4496940"/>
              <a:gd name="connsiteX113" fmla="*/ 840127 w 4519987"/>
              <a:gd name="connsiteY113" fmla="*/ 533400 h 4496940"/>
              <a:gd name="connsiteX114" fmla="*/ 887752 w 4519987"/>
              <a:gd name="connsiteY114" fmla="*/ 504825 h 4496940"/>
              <a:gd name="connsiteX115" fmla="*/ 1167152 w 4519987"/>
              <a:gd name="connsiteY115" fmla="*/ 311150 h 4496940"/>
              <a:gd name="connsiteX116" fmla="*/ 1268752 w 4519987"/>
              <a:gd name="connsiteY116" fmla="*/ 285750 h 4496940"/>
              <a:gd name="connsiteX117" fmla="*/ 1411627 w 4519987"/>
              <a:gd name="connsiteY117" fmla="*/ 190500 h 4496940"/>
              <a:gd name="connsiteX118" fmla="*/ 1449727 w 4519987"/>
              <a:gd name="connsiteY118" fmla="*/ 161925 h 4496940"/>
              <a:gd name="connsiteX119" fmla="*/ 1525927 w 4519987"/>
              <a:gd name="connsiteY119" fmla="*/ 152400 h 4496940"/>
              <a:gd name="connsiteX120" fmla="*/ 1583077 w 4519987"/>
              <a:gd name="connsiteY120" fmla="*/ 142875 h 4496940"/>
              <a:gd name="connsiteX121" fmla="*/ 1716427 w 4519987"/>
              <a:gd name="connsiteY121" fmla="*/ 123825 h 4496940"/>
              <a:gd name="connsiteX122" fmla="*/ 1811677 w 4519987"/>
              <a:gd name="connsiteY122" fmla="*/ 114300 h 4496940"/>
              <a:gd name="connsiteX123" fmla="*/ 1859302 w 4519987"/>
              <a:gd name="connsiteY123" fmla="*/ 104775 h 4496940"/>
              <a:gd name="connsiteX124" fmla="*/ 1916452 w 4519987"/>
              <a:gd name="connsiteY124" fmla="*/ 95250 h 4496940"/>
              <a:gd name="connsiteX125" fmla="*/ 2030752 w 4519987"/>
              <a:gd name="connsiteY125" fmla="*/ 66675 h 4496940"/>
              <a:gd name="connsiteX126" fmla="*/ 2097427 w 4519987"/>
              <a:gd name="connsiteY126" fmla="*/ 47625 h 4496940"/>
              <a:gd name="connsiteX127" fmla="*/ 2164102 w 4519987"/>
              <a:gd name="connsiteY127" fmla="*/ 38100 h 4496940"/>
              <a:gd name="connsiteX128" fmla="*/ 2392702 w 4519987"/>
              <a:gd name="connsiteY12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516652 w 4519987"/>
              <a:gd name="connsiteY39" fmla="*/ 4114800 h 4496940"/>
              <a:gd name="connsiteX40" fmla="*/ 3383302 w 4519987"/>
              <a:gd name="connsiteY40" fmla="*/ 4210050 h 4496940"/>
              <a:gd name="connsiteX41" fmla="*/ 3335677 w 4519987"/>
              <a:gd name="connsiteY41" fmla="*/ 4238625 h 4496940"/>
              <a:gd name="connsiteX42" fmla="*/ 3288052 w 4519987"/>
              <a:gd name="connsiteY42" fmla="*/ 4248150 h 4496940"/>
              <a:gd name="connsiteX43" fmla="*/ 3240427 w 4519987"/>
              <a:gd name="connsiteY43" fmla="*/ 4267200 h 4496940"/>
              <a:gd name="connsiteX44" fmla="*/ 3068977 w 4519987"/>
              <a:gd name="connsiteY44" fmla="*/ 4286250 h 4496940"/>
              <a:gd name="connsiteX45" fmla="*/ 2935627 w 4519987"/>
              <a:gd name="connsiteY45" fmla="*/ 4333875 h 4496940"/>
              <a:gd name="connsiteX46" fmla="*/ 2811802 w 4519987"/>
              <a:gd name="connsiteY46" fmla="*/ 4371975 h 4496940"/>
              <a:gd name="connsiteX47" fmla="*/ 2745127 w 4519987"/>
              <a:gd name="connsiteY47" fmla="*/ 4410075 h 4496940"/>
              <a:gd name="connsiteX48" fmla="*/ 2697502 w 4519987"/>
              <a:gd name="connsiteY48" fmla="*/ 4429125 h 4496940"/>
              <a:gd name="connsiteX49" fmla="*/ 2640352 w 4519987"/>
              <a:gd name="connsiteY49" fmla="*/ 4457700 h 4496940"/>
              <a:gd name="connsiteX50" fmla="*/ 2583202 w 4519987"/>
              <a:gd name="connsiteY50" fmla="*/ 4467225 h 4496940"/>
              <a:gd name="connsiteX51" fmla="*/ 2545102 w 4519987"/>
              <a:gd name="connsiteY51" fmla="*/ 4486275 h 4496940"/>
              <a:gd name="connsiteX52" fmla="*/ 2306977 w 4519987"/>
              <a:gd name="connsiteY52" fmla="*/ 4476750 h 4496940"/>
              <a:gd name="connsiteX53" fmla="*/ 2202202 w 4519987"/>
              <a:gd name="connsiteY53" fmla="*/ 4457700 h 4496940"/>
              <a:gd name="connsiteX54" fmla="*/ 2126002 w 4519987"/>
              <a:gd name="connsiteY54" fmla="*/ 4429125 h 4496940"/>
              <a:gd name="connsiteX55" fmla="*/ 1935502 w 4519987"/>
              <a:gd name="connsiteY55" fmla="*/ 4400550 h 4496940"/>
              <a:gd name="connsiteX56" fmla="*/ 1821202 w 4519987"/>
              <a:gd name="connsiteY56" fmla="*/ 4371975 h 4496940"/>
              <a:gd name="connsiteX57" fmla="*/ 1754527 w 4519987"/>
              <a:gd name="connsiteY57" fmla="*/ 4352925 h 4496940"/>
              <a:gd name="connsiteX58" fmla="*/ 1687852 w 4519987"/>
              <a:gd name="connsiteY58" fmla="*/ 4343400 h 4496940"/>
              <a:gd name="connsiteX59" fmla="*/ 1573552 w 4519987"/>
              <a:gd name="connsiteY59" fmla="*/ 4305300 h 4496940"/>
              <a:gd name="connsiteX60" fmla="*/ 1402102 w 4519987"/>
              <a:gd name="connsiteY60" fmla="*/ 4276725 h 4496940"/>
              <a:gd name="connsiteX61" fmla="*/ 1287802 w 4519987"/>
              <a:gd name="connsiteY61" fmla="*/ 4229100 h 4496940"/>
              <a:gd name="connsiteX62" fmla="*/ 1221127 w 4519987"/>
              <a:gd name="connsiteY62" fmla="*/ 4200525 h 4496940"/>
              <a:gd name="connsiteX63" fmla="*/ 1144927 w 4519987"/>
              <a:gd name="connsiteY63" fmla="*/ 4171950 h 4496940"/>
              <a:gd name="connsiteX64" fmla="*/ 1087777 w 4519987"/>
              <a:gd name="connsiteY64" fmla="*/ 4143375 h 4496940"/>
              <a:gd name="connsiteX65" fmla="*/ 1030627 w 4519987"/>
              <a:gd name="connsiteY65" fmla="*/ 4124325 h 4496940"/>
              <a:gd name="connsiteX66" fmla="*/ 925852 w 4519987"/>
              <a:gd name="connsiteY66" fmla="*/ 4067175 h 4496940"/>
              <a:gd name="connsiteX67" fmla="*/ 830602 w 4519987"/>
              <a:gd name="connsiteY67" fmla="*/ 3981450 h 4496940"/>
              <a:gd name="connsiteX68" fmla="*/ 763927 w 4519987"/>
              <a:gd name="connsiteY68" fmla="*/ 3914775 h 4496940"/>
              <a:gd name="connsiteX69" fmla="*/ 725827 w 4519987"/>
              <a:gd name="connsiteY69" fmla="*/ 3876675 h 4496940"/>
              <a:gd name="connsiteX70" fmla="*/ 697252 w 4519987"/>
              <a:gd name="connsiteY70" fmla="*/ 3838575 h 4496940"/>
              <a:gd name="connsiteX71" fmla="*/ 640102 w 4519987"/>
              <a:gd name="connsiteY71" fmla="*/ 3781425 h 4496940"/>
              <a:gd name="connsiteX72" fmla="*/ 611527 w 4519987"/>
              <a:gd name="connsiteY72" fmla="*/ 3733800 h 4496940"/>
              <a:gd name="connsiteX73" fmla="*/ 554377 w 4519987"/>
              <a:gd name="connsiteY73" fmla="*/ 3657600 h 4496940"/>
              <a:gd name="connsiteX74" fmla="*/ 525802 w 4519987"/>
              <a:gd name="connsiteY74" fmla="*/ 3609975 h 4496940"/>
              <a:gd name="connsiteX75" fmla="*/ 497227 w 4519987"/>
              <a:gd name="connsiteY75" fmla="*/ 3552825 h 4496940"/>
              <a:gd name="connsiteX76" fmla="*/ 440077 w 4519987"/>
              <a:gd name="connsiteY76" fmla="*/ 3495675 h 4496940"/>
              <a:gd name="connsiteX77" fmla="*/ 411502 w 4519987"/>
              <a:gd name="connsiteY77" fmla="*/ 3448050 h 4496940"/>
              <a:gd name="connsiteX78" fmla="*/ 278152 w 4519987"/>
              <a:gd name="connsiteY78" fmla="*/ 3257550 h 4496940"/>
              <a:gd name="connsiteX79" fmla="*/ 249577 w 4519987"/>
              <a:gd name="connsiteY79" fmla="*/ 3200400 h 4496940"/>
              <a:gd name="connsiteX80" fmla="*/ 240052 w 4519987"/>
              <a:gd name="connsiteY80" fmla="*/ 3162300 h 4496940"/>
              <a:gd name="connsiteX81" fmla="*/ 221002 w 4519987"/>
              <a:gd name="connsiteY81" fmla="*/ 3105150 h 4496940"/>
              <a:gd name="connsiteX82" fmla="*/ 173377 w 4519987"/>
              <a:gd name="connsiteY82" fmla="*/ 3019425 h 4496940"/>
              <a:gd name="connsiteX83" fmla="*/ 144802 w 4519987"/>
              <a:gd name="connsiteY83" fmla="*/ 2924175 h 4496940"/>
              <a:gd name="connsiteX84" fmla="*/ 68602 w 4519987"/>
              <a:gd name="connsiteY84" fmla="*/ 2724150 h 4496940"/>
              <a:gd name="connsiteX85" fmla="*/ 49552 w 4519987"/>
              <a:gd name="connsiteY85" fmla="*/ 2638425 h 4496940"/>
              <a:gd name="connsiteX86" fmla="*/ 40027 w 4519987"/>
              <a:gd name="connsiteY86" fmla="*/ 2562225 h 4496940"/>
              <a:gd name="connsiteX87" fmla="*/ 30502 w 4519987"/>
              <a:gd name="connsiteY87" fmla="*/ 2514600 h 4496940"/>
              <a:gd name="connsiteX88" fmla="*/ 11452 w 4519987"/>
              <a:gd name="connsiteY88" fmla="*/ 2400300 h 4496940"/>
              <a:gd name="connsiteX89" fmla="*/ 20977 w 4519987"/>
              <a:gd name="connsiteY89" fmla="*/ 1905000 h 4496940"/>
              <a:gd name="connsiteX90" fmla="*/ 30502 w 4519987"/>
              <a:gd name="connsiteY90" fmla="*/ 1838325 h 4496940"/>
              <a:gd name="connsiteX91" fmla="*/ 49552 w 4519987"/>
              <a:gd name="connsiteY91" fmla="*/ 1781175 h 4496940"/>
              <a:gd name="connsiteX92" fmla="*/ 59077 w 4519987"/>
              <a:gd name="connsiteY92" fmla="*/ 1743075 h 4496940"/>
              <a:gd name="connsiteX93" fmla="*/ 78127 w 4519987"/>
              <a:gd name="connsiteY93" fmla="*/ 1685925 h 4496940"/>
              <a:gd name="connsiteX94" fmla="*/ 87652 w 4519987"/>
              <a:gd name="connsiteY94" fmla="*/ 1638300 h 4496940"/>
              <a:gd name="connsiteX95" fmla="*/ 106702 w 4519987"/>
              <a:gd name="connsiteY95" fmla="*/ 1590675 h 4496940"/>
              <a:gd name="connsiteX96" fmla="*/ 135277 w 4519987"/>
              <a:gd name="connsiteY96" fmla="*/ 1504950 h 4496940"/>
              <a:gd name="connsiteX97" fmla="*/ 154327 w 4519987"/>
              <a:gd name="connsiteY97" fmla="*/ 1419225 h 4496940"/>
              <a:gd name="connsiteX98" fmla="*/ 230527 w 4519987"/>
              <a:gd name="connsiteY98" fmla="*/ 1276350 h 4496940"/>
              <a:gd name="connsiteX99" fmla="*/ 240052 w 4519987"/>
              <a:gd name="connsiteY99" fmla="*/ 1247775 h 4496940"/>
              <a:gd name="connsiteX100" fmla="*/ 268627 w 4519987"/>
              <a:gd name="connsiteY100" fmla="*/ 1200150 h 4496940"/>
              <a:gd name="connsiteX101" fmla="*/ 287677 w 4519987"/>
              <a:gd name="connsiteY101" fmla="*/ 1152525 h 4496940"/>
              <a:gd name="connsiteX102" fmla="*/ 316252 w 4519987"/>
              <a:gd name="connsiteY102" fmla="*/ 1114425 h 4496940"/>
              <a:gd name="connsiteX103" fmla="*/ 363877 w 4519987"/>
              <a:gd name="connsiteY103" fmla="*/ 1038225 h 4496940"/>
              <a:gd name="connsiteX104" fmla="*/ 382927 w 4519987"/>
              <a:gd name="connsiteY104" fmla="*/ 1009650 h 4496940"/>
              <a:gd name="connsiteX105" fmla="*/ 440077 w 4519987"/>
              <a:gd name="connsiteY105" fmla="*/ 904875 h 4496940"/>
              <a:gd name="connsiteX106" fmla="*/ 478177 w 4519987"/>
              <a:gd name="connsiteY106" fmla="*/ 857250 h 4496940"/>
              <a:gd name="connsiteX107" fmla="*/ 497227 w 4519987"/>
              <a:gd name="connsiteY107" fmla="*/ 828675 h 4496940"/>
              <a:gd name="connsiteX108" fmla="*/ 535327 w 4519987"/>
              <a:gd name="connsiteY108" fmla="*/ 800100 h 4496940"/>
              <a:gd name="connsiteX109" fmla="*/ 602002 w 4519987"/>
              <a:gd name="connsiteY109" fmla="*/ 733425 h 4496940"/>
              <a:gd name="connsiteX110" fmla="*/ 668677 w 4519987"/>
              <a:gd name="connsiteY110" fmla="*/ 676275 h 4496940"/>
              <a:gd name="connsiteX111" fmla="*/ 697252 w 4519987"/>
              <a:gd name="connsiteY111" fmla="*/ 657225 h 4496940"/>
              <a:gd name="connsiteX112" fmla="*/ 840127 w 4519987"/>
              <a:gd name="connsiteY112" fmla="*/ 533400 h 4496940"/>
              <a:gd name="connsiteX113" fmla="*/ 887752 w 4519987"/>
              <a:gd name="connsiteY113" fmla="*/ 504825 h 4496940"/>
              <a:gd name="connsiteX114" fmla="*/ 1167152 w 4519987"/>
              <a:gd name="connsiteY114" fmla="*/ 311150 h 4496940"/>
              <a:gd name="connsiteX115" fmla="*/ 1268752 w 4519987"/>
              <a:gd name="connsiteY115" fmla="*/ 285750 h 4496940"/>
              <a:gd name="connsiteX116" fmla="*/ 1411627 w 4519987"/>
              <a:gd name="connsiteY116" fmla="*/ 190500 h 4496940"/>
              <a:gd name="connsiteX117" fmla="*/ 1449727 w 4519987"/>
              <a:gd name="connsiteY117" fmla="*/ 161925 h 4496940"/>
              <a:gd name="connsiteX118" fmla="*/ 1525927 w 4519987"/>
              <a:gd name="connsiteY118" fmla="*/ 152400 h 4496940"/>
              <a:gd name="connsiteX119" fmla="*/ 1583077 w 4519987"/>
              <a:gd name="connsiteY119" fmla="*/ 142875 h 4496940"/>
              <a:gd name="connsiteX120" fmla="*/ 1716427 w 4519987"/>
              <a:gd name="connsiteY120" fmla="*/ 123825 h 4496940"/>
              <a:gd name="connsiteX121" fmla="*/ 1811677 w 4519987"/>
              <a:gd name="connsiteY121" fmla="*/ 114300 h 4496940"/>
              <a:gd name="connsiteX122" fmla="*/ 1859302 w 4519987"/>
              <a:gd name="connsiteY122" fmla="*/ 104775 h 4496940"/>
              <a:gd name="connsiteX123" fmla="*/ 1916452 w 4519987"/>
              <a:gd name="connsiteY123" fmla="*/ 95250 h 4496940"/>
              <a:gd name="connsiteX124" fmla="*/ 2030752 w 4519987"/>
              <a:gd name="connsiteY124" fmla="*/ 66675 h 4496940"/>
              <a:gd name="connsiteX125" fmla="*/ 2097427 w 4519987"/>
              <a:gd name="connsiteY125" fmla="*/ 47625 h 4496940"/>
              <a:gd name="connsiteX126" fmla="*/ 2164102 w 4519987"/>
              <a:gd name="connsiteY126" fmla="*/ 38100 h 4496940"/>
              <a:gd name="connsiteX127" fmla="*/ 2392702 w 4519987"/>
              <a:gd name="connsiteY12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383302 w 4519987"/>
              <a:gd name="connsiteY39" fmla="*/ 4210050 h 4496940"/>
              <a:gd name="connsiteX40" fmla="*/ 3335677 w 4519987"/>
              <a:gd name="connsiteY40" fmla="*/ 4238625 h 4496940"/>
              <a:gd name="connsiteX41" fmla="*/ 3288052 w 4519987"/>
              <a:gd name="connsiteY41" fmla="*/ 4248150 h 4496940"/>
              <a:gd name="connsiteX42" fmla="*/ 3240427 w 4519987"/>
              <a:gd name="connsiteY42" fmla="*/ 4267200 h 4496940"/>
              <a:gd name="connsiteX43" fmla="*/ 3068977 w 4519987"/>
              <a:gd name="connsiteY43" fmla="*/ 4286250 h 4496940"/>
              <a:gd name="connsiteX44" fmla="*/ 2935627 w 4519987"/>
              <a:gd name="connsiteY44" fmla="*/ 4333875 h 4496940"/>
              <a:gd name="connsiteX45" fmla="*/ 2811802 w 4519987"/>
              <a:gd name="connsiteY45" fmla="*/ 4371975 h 4496940"/>
              <a:gd name="connsiteX46" fmla="*/ 2745127 w 4519987"/>
              <a:gd name="connsiteY46" fmla="*/ 4410075 h 4496940"/>
              <a:gd name="connsiteX47" fmla="*/ 2697502 w 4519987"/>
              <a:gd name="connsiteY47" fmla="*/ 4429125 h 4496940"/>
              <a:gd name="connsiteX48" fmla="*/ 2640352 w 4519987"/>
              <a:gd name="connsiteY48" fmla="*/ 4457700 h 4496940"/>
              <a:gd name="connsiteX49" fmla="*/ 2583202 w 4519987"/>
              <a:gd name="connsiteY49" fmla="*/ 4467225 h 4496940"/>
              <a:gd name="connsiteX50" fmla="*/ 2545102 w 4519987"/>
              <a:gd name="connsiteY50" fmla="*/ 4486275 h 4496940"/>
              <a:gd name="connsiteX51" fmla="*/ 2306977 w 4519987"/>
              <a:gd name="connsiteY51" fmla="*/ 4476750 h 4496940"/>
              <a:gd name="connsiteX52" fmla="*/ 2202202 w 4519987"/>
              <a:gd name="connsiteY52" fmla="*/ 4457700 h 4496940"/>
              <a:gd name="connsiteX53" fmla="*/ 2126002 w 4519987"/>
              <a:gd name="connsiteY53" fmla="*/ 4429125 h 4496940"/>
              <a:gd name="connsiteX54" fmla="*/ 1935502 w 4519987"/>
              <a:gd name="connsiteY54" fmla="*/ 4400550 h 4496940"/>
              <a:gd name="connsiteX55" fmla="*/ 1821202 w 4519987"/>
              <a:gd name="connsiteY55" fmla="*/ 4371975 h 4496940"/>
              <a:gd name="connsiteX56" fmla="*/ 1754527 w 4519987"/>
              <a:gd name="connsiteY56" fmla="*/ 4352925 h 4496940"/>
              <a:gd name="connsiteX57" fmla="*/ 1687852 w 4519987"/>
              <a:gd name="connsiteY57" fmla="*/ 4343400 h 4496940"/>
              <a:gd name="connsiteX58" fmla="*/ 1573552 w 4519987"/>
              <a:gd name="connsiteY58" fmla="*/ 4305300 h 4496940"/>
              <a:gd name="connsiteX59" fmla="*/ 1402102 w 4519987"/>
              <a:gd name="connsiteY59" fmla="*/ 4276725 h 4496940"/>
              <a:gd name="connsiteX60" fmla="*/ 1287802 w 4519987"/>
              <a:gd name="connsiteY60" fmla="*/ 4229100 h 4496940"/>
              <a:gd name="connsiteX61" fmla="*/ 1221127 w 4519987"/>
              <a:gd name="connsiteY61" fmla="*/ 4200525 h 4496940"/>
              <a:gd name="connsiteX62" fmla="*/ 1144927 w 4519987"/>
              <a:gd name="connsiteY62" fmla="*/ 4171950 h 4496940"/>
              <a:gd name="connsiteX63" fmla="*/ 1087777 w 4519987"/>
              <a:gd name="connsiteY63" fmla="*/ 4143375 h 4496940"/>
              <a:gd name="connsiteX64" fmla="*/ 1030627 w 4519987"/>
              <a:gd name="connsiteY64" fmla="*/ 4124325 h 4496940"/>
              <a:gd name="connsiteX65" fmla="*/ 925852 w 4519987"/>
              <a:gd name="connsiteY65" fmla="*/ 4067175 h 4496940"/>
              <a:gd name="connsiteX66" fmla="*/ 830602 w 4519987"/>
              <a:gd name="connsiteY66" fmla="*/ 3981450 h 4496940"/>
              <a:gd name="connsiteX67" fmla="*/ 763927 w 4519987"/>
              <a:gd name="connsiteY67" fmla="*/ 3914775 h 4496940"/>
              <a:gd name="connsiteX68" fmla="*/ 725827 w 4519987"/>
              <a:gd name="connsiteY68" fmla="*/ 3876675 h 4496940"/>
              <a:gd name="connsiteX69" fmla="*/ 697252 w 4519987"/>
              <a:gd name="connsiteY69" fmla="*/ 3838575 h 4496940"/>
              <a:gd name="connsiteX70" fmla="*/ 640102 w 4519987"/>
              <a:gd name="connsiteY70" fmla="*/ 3781425 h 4496940"/>
              <a:gd name="connsiteX71" fmla="*/ 611527 w 4519987"/>
              <a:gd name="connsiteY71" fmla="*/ 3733800 h 4496940"/>
              <a:gd name="connsiteX72" fmla="*/ 554377 w 4519987"/>
              <a:gd name="connsiteY72" fmla="*/ 3657600 h 4496940"/>
              <a:gd name="connsiteX73" fmla="*/ 525802 w 4519987"/>
              <a:gd name="connsiteY73" fmla="*/ 3609975 h 4496940"/>
              <a:gd name="connsiteX74" fmla="*/ 497227 w 4519987"/>
              <a:gd name="connsiteY74" fmla="*/ 3552825 h 4496940"/>
              <a:gd name="connsiteX75" fmla="*/ 440077 w 4519987"/>
              <a:gd name="connsiteY75" fmla="*/ 3495675 h 4496940"/>
              <a:gd name="connsiteX76" fmla="*/ 411502 w 4519987"/>
              <a:gd name="connsiteY76" fmla="*/ 3448050 h 4496940"/>
              <a:gd name="connsiteX77" fmla="*/ 278152 w 4519987"/>
              <a:gd name="connsiteY77" fmla="*/ 3257550 h 4496940"/>
              <a:gd name="connsiteX78" fmla="*/ 249577 w 4519987"/>
              <a:gd name="connsiteY78" fmla="*/ 3200400 h 4496940"/>
              <a:gd name="connsiteX79" fmla="*/ 240052 w 4519987"/>
              <a:gd name="connsiteY79" fmla="*/ 3162300 h 4496940"/>
              <a:gd name="connsiteX80" fmla="*/ 221002 w 4519987"/>
              <a:gd name="connsiteY80" fmla="*/ 3105150 h 4496940"/>
              <a:gd name="connsiteX81" fmla="*/ 173377 w 4519987"/>
              <a:gd name="connsiteY81" fmla="*/ 3019425 h 4496940"/>
              <a:gd name="connsiteX82" fmla="*/ 144802 w 4519987"/>
              <a:gd name="connsiteY82" fmla="*/ 2924175 h 4496940"/>
              <a:gd name="connsiteX83" fmla="*/ 68602 w 4519987"/>
              <a:gd name="connsiteY83" fmla="*/ 2724150 h 4496940"/>
              <a:gd name="connsiteX84" fmla="*/ 49552 w 4519987"/>
              <a:gd name="connsiteY84" fmla="*/ 2638425 h 4496940"/>
              <a:gd name="connsiteX85" fmla="*/ 40027 w 4519987"/>
              <a:gd name="connsiteY85" fmla="*/ 2562225 h 4496940"/>
              <a:gd name="connsiteX86" fmla="*/ 30502 w 4519987"/>
              <a:gd name="connsiteY86" fmla="*/ 2514600 h 4496940"/>
              <a:gd name="connsiteX87" fmla="*/ 11452 w 4519987"/>
              <a:gd name="connsiteY87" fmla="*/ 2400300 h 4496940"/>
              <a:gd name="connsiteX88" fmla="*/ 20977 w 4519987"/>
              <a:gd name="connsiteY88" fmla="*/ 1905000 h 4496940"/>
              <a:gd name="connsiteX89" fmla="*/ 30502 w 4519987"/>
              <a:gd name="connsiteY89" fmla="*/ 1838325 h 4496940"/>
              <a:gd name="connsiteX90" fmla="*/ 49552 w 4519987"/>
              <a:gd name="connsiteY90" fmla="*/ 1781175 h 4496940"/>
              <a:gd name="connsiteX91" fmla="*/ 59077 w 4519987"/>
              <a:gd name="connsiteY91" fmla="*/ 1743075 h 4496940"/>
              <a:gd name="connsiteX92" fmla="*/ 78127 w 4519987"/>
              <a:gd name="connsiteY92" fmla="*/ 1685925 h 4496940"/>
              <a:gd name="connsiteX93" fmla="*/ 87652 w 4519987"/>
              <a:gd name="connsiteY93" fmla="*/ 1638300 h 4496940"/>
              <a:gd name="connsiteX94" fmla="*/ 106702 w 4519987"/>
              <a:gd name="connsiteY94" fmla="*/ 1590675 h 4496940"/>
              <a:gd name="connsiteX95" fmla="*/ 135277 w 4519987"/>
              <a:gd name="connsiteY95" fmla="*/ 1504950 h 4496940"/>
              <a:gd name="connsiteX96" fmla="*/ 154327 w 4519987"/>
              <a:gd name="connsiteY96" fmla="*/ 1419225 h 4496940"/>
              <a:gd name="connsiteX97" fmla="*/ 230527 w 4519987"/>
              <a:gd name="connsiteY97" fmla="*/ 1276350 h 4496940"/>
              <a:gd name="connsiteX98" fmla="*/ 240052 w 4519987"/>
              <a:gd name="connsiteY98" fmla="*/ 1247775 h 4496940"/>
              <a:gd name="connsiteX99" fmla="*/ 268627 w 4519987"/>
              <a:gd name="connsiteY99" fmla="*/ 1200150 h 4496940"/>
              <a:gd name="connsiteX100" fmla="*/ 287677 w 4519987"/>
              <a:gd name="connsiteY100" fmla="*/ 1152525 h 4496940"/>
              <a:gd name="connsiteX101" fmla="*/ 316252 w 4519987"/>
              <a:gd name="connsiteY101" fmla="*/ 1114425 h 4496940"/>
              <a:gd name="connsiteX102" fmla="*/ 363877 w 4519987"/>
              <a:gd name="connsiteY102" fmla="*/ 1038225 h 4496940"/>
              <a:gd name="connsiteX103" fmla="*/ 382927 w 4519987"/>
              <a:gd name="connsiteY103" fmla="*/ 1009650 h 4496940"/>
              <a:gd name="connsiteX104" fmla="*/ 440077 w 4519987"/>
              <a:gd name="connsiteY104" fmla="*/ 904875 h 4496940"/>
              <a:gd name="connsiteX105" fmla="*/ 478177 w 4519987"/>
              <a:gd name="connsiteY105" fmla="*/ 857250 h 4496940"/>
              <a:gd name="connsiteX106" fmla="*/ 497227 w 4519987"/>
              <a:gd name="connsiteY106" fmla="*/ 828675 h 4496940"/>
              <a:gd name="connsiteX107" fmla="*/ 535327 w 4519987"/>
              <a:gd name="connsiteY107" fmla="*/ 800100 h 4496940"/>
              <a:gd name="connsiteX108" fmla="*/ 602002 w 4519987"/>
              <a:gd name="connsiteY108" fmla="*/ 733425 h 4496940"/>
              <a:gd name="connsiteX109" fmla="*/ 668677 w 4519987"/>
              <a:gd name="connsiteY109" fmla="*/ 676275 h 4496940"/>
              <a:gd name="connsiteX110" fmla="*/ 697252 w 4519987"/>
              <a:gd name="connsiteY110" fmla="*/ 657225 h 4496940"/>
              <a:gd name="connsiteX111" fmla="*/ 840127 w 4519987"/>
              <a:gd name="connsiteY111" fmla="*/ 533400 h 4496940"/>
              <a:gd name="connsiteX112" fmla="*/ 887752 w 4519987"/>
              <a:gd name="connsiteY112" fmla="*/ 504825 h 4496940"/>
              <a:gd name="connsiteX113" fmla="*/ 1167152 w 4519987"/>
              <a:gd name="connsiteY113" fmla="*/ 311150 h 4496940"/>
              <a:gd name="connsiteX114" fmla="*/ 1268752 w 4519987"/>
              <a:gd name="connsiteY114" fmla="*/ 285750 h 4496940"/>
              <a:gd name="connsiteX115" fmla="*/ 1411627 w 4519987"/>
              <a:gd name="connsiteY115" fmla="*/ 190500 h 4496940"/>
              <a:gd name="connsiteX116" fmla="*/ 1449727 w 4519987"/>
              <a:gd name="connsiteY116" fmla="*/ 161925 h 4496940"/>
              <a:gd name="connsiteX117" fmla="*/ 1525927 w 4519987"/>
              <a:gd name="connsiteY117" fmla="*/ 152400 h 4496940"/>
              <a:gd name="connsiteX118" fmla="*/ 1583077 w 4519987"/>
              <a:gd name="connsiteY118" fmla="*/ 142875 h 4496940"/>
              <a:gd name="connsiteX119" fmla="*/ 1716427 w 4519987"/>
              <a:gd name="connsiteY119" fmla="*/ 123825 h 4496940"/>
              <a:gd name="connsiteX120" fmla="*/ 1811677 w 4519987"/>
              <a:gd name="connsiteY120" fmla="*/ 114300 h 4496940"/>
              <a:gd name="connsiteX121" fmla="*/ 1859302 w 4519987"/>
              <a:gd name="connsiteY121" fmla="*/ 104775 h 4496940"/>
              <a:gd name="connsiteX122" fmla="*/ 1916452 w 4519987"/>
              <a:gd name="connsiteY122" fmla="*/ 95250 h 4496940"/>
              <a:gd name="connsiteX123" fmla="*/ 2030752 w 4519987"/>
              <a:gd name="connsiteY123" fmla="*/ 66675 h 4496940"/>
              <a:gd name="connsiteX124" fmla="*/ 2097427 w 4519987"/>
              <a:gd name="connsiteY124" fmla="*/ 47625 h 4496940"/>
              <a:gd name="connsiteX125" fmla="*/ 2164102 w 4519987"/>
              <a:gd name="connsiteY125" fmla="*/ 38100 h 4496940"/>
              <a:gd name="connsiteX126" fmla="*/ 2392702 w 4519987"/>
              <a:gd name="connsiteY12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554752 w 4519987"/>
              <a:gd name="connsiteY37" fmla="*/ 4095750 h 4496940"/>
              <a:gd name="connsiteX38" fmla="*/ 3383302 w 4519987"/>
              <a:gd name="connsiteY38" fmla="*/ 4210050 h 4496940"/>
              <a:gd name="connsiteX39" fmla="*/ 3335677 w 4519987"/>
              <a:gd name="connsiteY39" fmla="*/ 4238625 h 4496940"/>
              <a:gd name="connsiteX40" fmla="*/ 3288052 w 4519987"/>
              <a:gd name="connsiteY40" fmla="*/ 4248150 h 4496940"/>
              <a:gd name="connsiteX41" fmla="*/ 3240427 w 4519987"/>
              <a:gd name="connsiteY41" fmla="*/ 4267200 h 4496940"/>
              <a:gd name="connsiteX42" fmla="*/ 3068977 w 4519987"/>
              <a:gd name="connsiteY42" fmla="*/ 4286250 h 4496940"/>
              <a:gd name="connsiteX43" fmla="*/ 2935627 w 4519987"/>
              <a:gd name="connsiteY43" fmla="*/ 4333875 h 4496940"/>
              <a:gd name="connsiteX44" fmla="*/ 2811802 w 4519987"/>
              <a:gd name="connsiteY44" fmla="*/ 4371975 h 4496940"/>
              <a:gd name="connsiteX45" fmla="*/ 2745127 w 4519987"/>
              <a:gd name="connsiteY45" fmla="*/ 4410075 h 4496940"/>
              <a:gd name="connsiteX46" fmla="*/ 2697502 w 4519987"/>
              <a:gd name="connsiteY46" fmla="*/ 4429125 h 4496940"/>
              <a:gd name="connsiteX47" fmla="*/ 2640352 w 4519987"/>
              <a:gd name="connsiteY47" fmla="*/ 4457700 h 4496940"/>
              <a:gd name="connsiteX48" fmla="*/ 2583202 w 4519987"/>
              <a:gd name="connsiteY48" fmla="*/ 4467225 h 4496940"/>
              <a:gd name="connsiteX49" fmla="*/ 2545102 w 4519987"/>
              <a:gd name="connsiteY49" fmla="*/ 4486275 h 4496940"/>
              <a:gd name="connsiteX50" fmla="*/ 2306977 w 4519987"/>
              <a:gd name="connsiteY50" fmla="*/ 4476750 h 4496940"/>
              <a:gd name="connsiteX51" fmla="*/ 2202202 w 4519987"/>
              <a:gd name="connsiteY51" fmla="*/ 4457700 h 4496940"/>
              <a:gd name="connsiteX52" fmla="*/ 2126002 w 4519987"/>
              <a:gd name="connsiteY52" fmla="*/ 4429125 h 4496940"/>
              <a:gd name="connsiteX53" fmla="*/ 1935502 w 4519987"/>
              <a:gd name="connsiteY53" fmla="*/ 4400550 h 4496940"/>
              <a:gd name="connsiteX54" fmla="*/ 1821202 w 4519987"/>
              <a:gd name="connsiteY54" fmla="*/ 4371975 h 4496940"/>
              <a:gd name="connsiteX55" fmla="*/ 1754527 w 4519987"/>
              <a:gd name="connsiteY55" fmla="*/ 4352925 h 4496940"/>
              <a:gd name="connsiteX56" fmla="*/ 1687852 w 4519987"/>
              <a:gd name="connsiteY56" fmla="*/ 4343400 h 4496940"/>
              <a:gd name="connsiteX57" fmla="*/ 1573552 w 4519987"/>
              <a:gd name="connsiteY57" fmla="*/ 4305300 h 4496940"/>
              <a:gd name="connsiteX58" fmla="*/ 1402102 w 4519987"/>
              <a:gd name="connsiteY58" fmla="*/ 4276725 h 4496940"/>
              <a:gd name="connsiteX59" fmla="*/ 1287802 w 4519987"/>
              <a:gd name="connsiteY59" fmla="*/ 4229100 h 4496940"/>
              <a:gd name="connsiteX60" fmla="*/ 1221127 w 4519987"/>
              <a:gd name="connsiteY60" fmla="*/ 4200525 h 4496940"/>
              <a:gd name="connsiteX61" fmla="*/ 1144927 w 4519987"/>
              <a:gd name="connsiteY61" fmla="*/ 4171950 h 4496940"/>
              <a:gd name="connsiteX62" fmla="*/ 1087777 w 4519987"/>
              <a:gd name="connsiteY62" fmla="*/ 4143375 h 4496940"/>
              <a:gd name="connsiteX63" fmla="*/ 1030627 w 4519987"/>
              <a:gd name="connsiteY63" fmla="*/ 4124325 h 4496940"/>
              <a:gd name="connsiteX64" fmla="*/ 925852 w 4519987"/>
              <a:gd name="connsiteY64" fmla="*/ 4067175 h 4496940"/>
              <a:gd name="connsiteX65" fmla="*/ 830602 w 4519987"/>
              <a:gd name="connsiteY65" fmla="*/ 3981450 h 4496940"/>
              <a:gd name="connsiteX66" fmla="*/ 763927 w 4519987"/>
              <a:gd name="connsiteY66" fmla="*/ 3914775 h 4496940"/>
              <a:gd name="connsiteX67" fmla="*/ 725827 w 4519987"/>
              <a:gd name="connsiteY67" fmla="*/ 3876675 h 4496940"/>
              <a:gd name="connsiteX68" fmla="*/ 697252 w 4519987"/>
              <a:gd name="connsiteY68" fmla="*/ 3838575 h 4496940"/>
              <a:gd name="connsiteX69" fmla="*/ 640102 w 4519987"/>
              <a:gd name="connsiteY69" fmla="*/ 3781425 h 4496940"/>
              <a:gd name="connsiteX70" fmla="*/ 611527 w 4519987"/>
              <a:gd name="connsiteY70" fmla="*/ 3733800 h 4496940"/>
              <a:gd name="connsiteX71" fmla="*/ 554377 w 4519987"/>
              <a:gd name="connsiteY71" fmla="*/ 3657600 h 4496940"/>
              <a:gd name="connsiteX72" fmla="*/ 525802 w 4519987"/>
              <a:gd name="connsiteY72" fmla="*/ 3609975 h 4496940"/>
              <a:gd name="connsiteX73" fmla="*/ 497227 w 4519987"/>
              <a:gd name="connsiteY73" fmla="*/ 3552825 h 4496940"/>
              <a:gd name="connsiteX74" fmla="*/ 440077 w 4519987"/>
              <a:gd name="connsiteY74" fmla="*/ 3495675 h 4496940"/>
              <a:gd name="connsiteX75" fmla="*/ 411502 w 4519987"/>
              <a:gd name="connsiteY75" fmla="*/ 3448050 h 4496940"/>
              <a:gd name="connsiteX76" fmla="*/ 278152 w 4519987"/>
              <a:gd name="connsiteY76" fmla="*/ 3257550 h 4496940"/>
              <a:gd name="connsiteX77" fmla="*/ 249577 w 4519987"/>
              <a:gd name="connsiteY77" fmla="*/ 3200400 h 4496940"/>
              <a:gd name="connsiteX78" fmla="*/ 240052 w 4519987"/>
              <a:gd name="connsiteY78" fmla="*/ 3162300 h 4496940"/>
              <a:gd name="connsiteX79" fmla="*/ 221002 w 4519987"/>
              <a:gd name="connsiteY79" fmla="*/ 3105150 h 4496940"/>
              <a:gd name="connsiteX80" fmla="*/ 173377 w 4519987"/>
              <a:gd name="connsiteY80" fmla="*/ 3019425 h 4496940"/>
              <a:gd name="connsiteX81" fmla="*/ 144802 w 4519987"/>
              <a:gd name="connsiteY81" fmla="*/ 2924175 h 4496940"/>
              <a:gd name="connsiteX82" fmla="*/ 68602 w 4519987"/>
              <a:gd name="connsiteY82" fmla="*/ 2724150 h 4496940"/>
              <a:gd name="connsiteX83" fmla="*/ 49552 w 4519987"/>
              <a:gd name="connsiteY83" fmla="*/ 2638425 h 4496940"/>
              <a:gd name="connsiteX84" fmla="*/ 40027 w 4519987"/>
              <a:gd name="connsiteY84" fmla="*/ 2562225 h 4496940"/>
              <a:gd name="connsiteX85" fmla="*/ 30502 w 4519987"/>
              <a:gd name="connsiteY85" fmla="*/ 2514600 h 4496940"/>
              <a:gd name="connsiteX86" fmla="*/ 11452 w 4519987"/>
              <a:gd name="connsiteY86" fmla="*/ 2400300 h 4496940"/>
              <a:gd name="connsiteX87" fmla="*/ 20977 w 4519987"/>
              <a:gd name="connsiteY87" fmla="*/ 1905000 h 4496940"/>
              <a:gd name="connsiteX88" fmla="*/ 30502 w 4519987"/>
              <a:gd name="connsiteY88" fmla="*/ 1838325 h 4496940"/>
              <a:gd name="connsiteX89" fmla="*/ 49552 w 4519987"/>
              <a:gd name="connsiteY89" fmla="*/ 1781175 h 4496940"/>
              <a:gd name="connsiteX90" fmla="*/ 59077 w 4519987"/>
              <a:gd name="connsiteY90" fmla="*/ 1743075 h 4496940"/>
              <a:gd name="connsiteX91" fmla="*/ 78127 w 4519987"/>
              <a:gd name="connsiteY91" fmla="*/ 1685925 h 4496940"/>
              <a:gd name="connsiteX92" fmla="*/ 87652 w 4519987"/>
              <a:gd name="connsiteY92" fmla="*/ 1638300 h 4496940"/>
              <a:gd name="connsiteX93" fmla="*/ 106702 w 4519987"/>
              <a:gd name="connsiteY93" fmla="*/ 1590675 h 4496940"/>
              <a:gd name="connsiteX94" fmla="*/ 135277 w 4519987"/>
              <a:gd name="connsiteY94" fmla="*/ 1504950 h 4496940"/>
              <a:gd name="connsiteX95" fmla="*/ 154327 w 4519987"/>
              <a:gd name="connsiteY95" fmla="*/ 1419225 h 4496940"/>
              <a:gd name="connsiteX96" fmla="*/ 230527 w 4519987"/>
              <a:gd name="connsiteY96" fmla="*/ 1276350 h 4496940"/>
              <a:gd name="connsiteX97" fmla="*/ 240052 w 4519987"/>
              <a:gd name="connsiteY97" fmla="*/ 1247775 h 4496940"/>
              <a:gd name="connsiteX98" fmla="*/ 268627 w 4519987"/>
              <a:gd name="connsiteY98" fmla="*/ 1200150 h 4496940"/>
              <a:gd name="connsiteX99" fmla="*/ 287677 w 4519987"/>
              <a:gd name="connsiteY99" fmla="*/ 1152525 h 4496940"/>
              <a:gd name="connsiteX100" fmla="*/ 316252 w 4519987"/>
              <a:gd name="connsiteY100" fmla="*/ 1114425 h 4496940"/>
              <a:gd name="connsiteX101" fmla="*/ 363877 w 4519987"/>
              <a:gd name="connsiteY101" fmla="*/ 1038225 h 4496940"/>
              <a:gd name="connsiteX102" fmla="*/ 382927 w 4519987"/>
              <a:gd name="connsiteY102" fmla="*/ 1009650 h 4496940"/>
              <a:gd name="connsiteX103" fmla="*/ 440077 w 4519987"/>
              <a:gd name="connsiteY103" fmla="*/ 904875 h 4496940"/>
              <a:gd name="connsiteX104" fmla="*/ 478177 w 4519987"/>
              <a:gd name="connsiteY104" fmla="*/ 857250 h 4496940"/>
              <a:gd name="connsiteX105" fmla="*/ 497227 w 4519987"/>
              <a:gd name="connsiteY105" fmla="*/ 828675 h 4496940"/>
              <a:gd name="connsiteX106" fmla="*/ 535327 w 4519987"/>
              <a:gd name="connsiteY106" fmla="*/ 800100 h 4496940"/>
              <a:gd name="connsiteX107" fmla="*/ 602002 w 4519987"/>
              <a:gd name="connsiteY107" fmla="*/ 733425 h 4496940"/>
              <a:gd name="connsiteX108" fmla="*/ 668677 w 4519987"/>
              <a:gd name="connsiteY108" fmla="*/ 676275 h 4496940"/>
              <a:gd name="connsiteX109" fmla="*/ 697252 w 4519987"/>
              <a:gd name="connsiteY109" fmla="*/ 657225 h 4496940"/>
              <a:gd name="connsiteX110" fmla="*/ 840127 w 4519987"/>
              <a:gd name="connsiteY110" fmla="*/ 533400 h 4496940"/>
              <a:gd name="connsiteX111" fmla="*/ 887752 w 4519987"/>
              <a:gd name="connsiteY111" fmla="*/ 504825 h 4496940"/>
              <a:gd name="connsiteX112" fmla="*/ 1167152 w 4519987"/>
              <a:gd name="connsiteY112" fmla="*/ 311150 h 4496940"/>
              <a:gd name="connsiteX113" fmla="*/ 1268752 w 4519987"/>
              <a:gd name="connsiteY113" fmla="*/ 285750 h 4496940"/>
              <a:gd name="connsiteX114" fmla="*/ 1411627 w 4519987"/>
              <a:gd name="connsiteY114" fmla="*/ 190500 h 4496940"/>
              <a:gd name="connsiteX115" fmla="*/ 1449727 w 4519987"/>
              <a:gd name="connsiteY115" fmla="*/ 161925 h 4496940"/>
              <a:gd name="connsiteX116" fmla="*/ 1525927 w 4519987"/>
              <a:gd name="connsiteY116" fmla="*/ 152400 h 4496940"/>
              <a:gd name="connsiteX117" fmla="*/ 1583077 w 4519987"/>
              <a:gd name="connsiteY117" fmla="*/ 142875 h 4496940"/>
              <a:gd name="connsiteX118" fmla="*/ 1716427 w 4519987"/>
              <a:gd name="connsiteY118" fmla="*/ 123825 h 4496940"/>
              <a:gd name="connsiteX119" fmla="*/ 1811677 w 4519987"/>
              <a:gd name="connsiteY119" fmla="*/ 114300 h 4496940"/>
              <a:gd name="connsiteX120" fmla="*/ 1859302 w 4519987"/>
              <a:gd name="connsiteY120" fmla="*/ 104775 h 4496940"/>
              <a:gd name="connsiteX121" fmla="*/ 1916452 w 4519987"/>
              <a:gd name="connsiteY121" fmla="*/ 95250 h 4496940"/>
              <a:gd name="connsiteX122" fmla="*/ 2030752 w 4519987"/>
              <a:gd name="connsiteY122" fmla="*/ 66675 h 4496940"/>
              <a:gd name="connsiteX123" fmla="*/ 2097427 w 4519987"/>
              <a:gd name="connsiteY123" fmla="*/ 47625 h 4496940"/>
              <a:gd name="connsiteX124" fmla="*/ 2164102 w 4519987"/>
              <a:gd name="connsiteY124" fmla="*/ 38100 h 4496940"/>
              <a:gd name="connsiteX125" fmla="*/ 2392702 w 4519987"/>
              <a:gd name="connsiteY12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54752 w 4519987"/>
              <a:gd name="connsiteY36" fmla="*/ 4095750 h 4496940"/>
              <a:gd name="connsiteX37" fmla="*/ 3383302 w 4519987"/>
              <a:gd name="connsiteY37" fmla="*/ 4210050 h 4496940"/>
              <a:gd name="connsiteX38" fmla="*/ 3335677 w 4519987"/>
              <a:gd name="connsiteY38" fmla="*/ 4238625 h 4496940"/>
              <a:gd name="connsiteX39" fmla="*/ 3288052 w 4519987"/>
              <a:gd name="connsiteY39" fmla="*/ 4248150 h 4496940"/>
              <a:gd name="connsiteX40" fmla="*/ 3240427 w 4519987"/>
              <a:gd name="connsiteY40" fmla="*/ 4267200 h 4496940"/>
              <a:gd name="connsiteX41" fmla="*/ 3068977 w 4519987"/>
              <a:gd name="connsiteY41" fmla="*/ 4286250 h 4496940"/>
              <a:gd name="connsiteX42" fmla="*/ 2935627 w 4519987"/>
              <a:gd name="connsiteY42" fmla="*/ 4333875 h 4496940"/>
              <a:gd name="connsiteX43" fmla="*/ 2811802 w 4519987"/>
              <a:gd name="connsiteY43" fmla="*/ 4371975 h 4496940"/>
              <a:gd name="connsiteX44" fmla="*/ 2745127 w 4519987"/>
              <a:gd name="connsiteY44" fmla="*/ 4410075 h 4496940"/>
              <a:gd name="connsiteX45" fmla="*/ 2697502 w 4519987"/>
              <a:gd name="connsiteY45" fmla="*/ 4429125 h 4496940"/>
              <a:gd name="connsiteX46" fmla="*/ 2640352 w 4519987"/>
              <a:gd name="connsiteY46" fmla="*/ 4457700 h 4496940"/>
              <a:gd name="connsiteX47" fmla="*/ 2583202 w 4519987"/>
              <a:gd name="connsiteY47" fmla="*/ 4467225 h 4496940"/>
              <a:gd name="connsiteX48" fmla="*/ 2545102 w 4519987"/>
              <a:gd name="connsiteY48" fmla="*/ 4486275 h 4496940"/>
              <a:gd name="connsiteX49" fmla="*/ 2306977 w 4519987"/>
              <a:gd name="connsiteY49" fmla="*/ 4476750 h 4496940"/>
              <a:gd name="connsiteX50" fmla="*/ 2202202 w 4519987"/>
              <a:gd name="connsiteY50" fmla="*/ 4457700 h 4496940"/>
              <a:gd name="connsiteX51" fmla="*/ 2126002 w 4519987"/>
              <a:gd name="connsiteY51" fmla="*/ 4429125 h 4496940"/>
              <a:gd name="connsiteX52" fmla="*/ 1935502 w 4519987"/>
              <a:gd name="connsiteY52" fmla="*/ 4400550 h 4496940"/>
              <a:gd name="connsiteX53" fmla="*/ 1821202 w 4519987"/>
              <a:gd name="connsiteY53" fmla="*/ 4371975 h 4496940"/>
              <a:gd name="connsiteX54" fmla="*/ 1754527 w 4519987"/>
              <a:gd name="connsiteY54" fmla="*/ 4352925 h 4496940"/>
              <a:gd name="connsiteX55" fmla="*/ 1687852 w 4519987"/>
              <a:gd name="connsiteY55" fmla="*/ 4343400 h 4496940"/>
              <a:gd name="connsiteX56" fmla="*/ 1573552 w 4519987"/>
              <a:gd name="connsiteY56" fmla="*/ 4305300 h 4496940"/>
              <a:gd name="connsiteX57" fmla="*/ 1402102 w 4519987"/>
              <a:gd name="connsiteY57" fmla="*/ 4276725 h 4496940"/>
              <a:gd name="connsiteX58" fmla="*/ 1287802 w 4519987"/>
              <a:gd name="connsiteY58" fmla="*/ 4229100 h 4496940"/>
              <a:gd name="connsiteX59" fmla="*/ 1221127 w 4519987"/>
              <a:gd name="connsiteY59" fmla="*/ 4200525 h 4496940"/>
              <a:gd name="connsiteX60" fmla="*/ 1144927 w 4519987"/>
              <a:gd name="connsiteY60" fmla="*/ 4171950 h 4496940"/>
              <a:gd name="connsiteX61" fmla="*/ 1087777 w 4519987"/>
              <a:gd name="connsiteY61" fmla="*/ 4143375 h 4496940"/>
              <a:gd name="connsiteX62" fmla="*/ 1030627 w 4519987"/>
              <a:gd name="connsiteY62" fmla="*/ 4124325 h 4496940"/>
              <a:gd name="connsiteX63" fmla="*/ 925852 w 4519987"/>
              <a:gd name="connsiteY63" fmla="*/ 4067175 h 4496940"/>
              <a:gd name="connsiteX64" fmla="*/ 830602 w 4519987"/>
              <a:gd name="connsiteY64" fmla="*/ 3981450 h 4496940"/>
              <a:gd name="connsiteX65" fmla="*/ 763927 w 4519987"/>
              <a:gd name="connsiteY65" fmla="*/ 3914775 h 4496940"/>
              <a:gd name="connsiteX66" fmla="*/ 725827 w 4519987"/>
              <a:gd name="connsiteY66" fmla="*/ 3876675 h 4496940"/>
              <a:gd name="connsiteX67" fmla="*/ 697252 w 4519987"/>
              <a:gd name="connsiteY67" fmla="*/ 3838575 h 4496940"/>
              <a:gd name="connsiteX68" fmla="*/ 640102 w 4519987"/>
              <a:gd name="connsiteY68" fmla="*/ 3781425 h 4496940"/>
              <a:gd name="connsiteX69" fmla="*/ 611527 w 4519987"/>
              <a:gd name="connsiteY69" fmla="*/ 3733800 h 4496940"/>
              <a:gd name="connsiteX70" fmla="*/ 554377 w 4519987"/>
              <a:gd name="connsiteY70" fmla="*/ 3657600 h 4496940"/>
              <a:gd name="connsiteX71" fmla="*/ 525802 w 4519987"/>
              <a:gd name="connsiteY71" fmla="*/ 3609975 h 4496940"/>
              <a:gd name="connsiteX72" fmla="*/ 497227 w 4519987"/>
              <a:gd name="connsiteY72" fmla="*/ 3552825 h 4496940"/>
              <a:gd name="connsiteX73" fmla="*/ 440077 w 4519987"/>
              <a:gd name="connsiteY73" fmla="*/ 3495675 h 4496940"/>
              <a:gd name="connsiteX74" fmla="*/ 411502 w 4519987"/>
              <a:gd name="connsiteY74" fmla="*/ 3448050 h 4496940"/>
              <a:gd name="connsiteX75" fmla="*/ 278152 w 4519987"/>
              <a:gd name="connsiteY75" fmla="*/ 3257550 h 4496940"/>
              <a:gd name="connsiteX76" fmla="*/ 249577 w 4519987"/>
              <a:gd name="connsiteY76" fmla="*/ 3200400 h 4496940"/>
              <a:gd name="connsiteX77" fmla="*/ 240052 w 4519987"/>
              <a:gd name="connsiteY77" fmla="*/ 3162300 h 4496940"/>
              <a:gd name="connsiteX78" fmla="*/ 221002 w 4519987"/>
              <a:gd name="connsiteY78" fmla="*/ 3105150 h 4496940"/>
              <a:gd name="connsiteX79" fmla="*/ 173377 w 4519987"/>
              <a:gd name="connsiteY79" fmla="*/ 3019425 h 4496940"/>
              <a:gd name="connsiteX80" fmla="*/ 144802 w 4519987"/>
              <a:gd name="connsiteY80" fmla="*/ 2924175 h 4496940"/>
              <a:gd name="connsiteX81" fmla="*/ 68602 w 4519987"/>
              <a:gd name="connsiteY81" fmla="*/ 2724150 h 4496940"/>
              <a:gd name="connsiteX82" fmla="*/ 49552 w 4519987"/>
              <a:gd name="connsiteY82" fmla="*/ 2638425 h 4496940"/>
              <a:gd name="connsiteX83" fmla="*/ 40027 w 4519987"/>
              <a:gd name="connsiteY83" fmla="*/ 2562225 h 4496940"/>
              <a:gd name="connsiteX84" fmla="*/ 30502 w 4519987"/>
              <a:gd name="connsiteY84" fmla="*/ 2514600 h 4496940"/>
              <a:gd name="connsiteX85" fmla="*/ 11452 w 4519987"/>
              <a:gd name="connsiteY85" fmla="*/ 2400300 h 4496940"/>
              <a:gd name="connsiteX86" fmla="*/ 20977 w 4519987"/>
              <a:gd name="connsiteY86" fmla="*/ 1905000 h 4496940"/>
              <a:gd name="connsiteX87" fmla="*/ 30502 w 4519987"/>
              <a:gd name="connsiteY87" fmla="*/ 1838325 h 4496940"/>
              <a:gd name="connsiteX88" fmla="*/ 49552 w 4519987"/>
              <a:gd name="connsiteY88" fmla="*/ 1781175 h 4496940"/>
              <a:gd name="connsiteX89" fmla="*/ 59077 w 4519987"/>
              <a:gd name="connsiteY89" fmla="*/ 1743075 h 4496940"/>
              <a:gd name="connsiteX90" fmla="*/ 78127 w 4519987"/>
              <a:gd name="connsiteY90" fmla="*/ 1685925 h 4496940"/>
              <a:gd name="connsiteX91" fmla="*/ 87652 w 4519987"/>
              <a:gd name="connsiteY91" fmla="*/ 1638300 h 4496940"/>
              <a:gd name="connsiteX92" fmla="*/ 106702 w 4519987"/>
              <a:gd name="connsiteY92" fmla="*/ 1590675 h 4496940"/>
              <a:gd name="connsiteX93" fmla="*/ 135277 w 4519987"/>
              <a:gd name="connsiteY93" fmla="*/ 1504950 h 4496940"/>
              <a:gd name="connsiteX94" fmla="*/ 154327 w 4519987"/>
              <a:gd name="connsiteY94" fmla="*/ 1419225 h 4496940"/>
              <a:gd name="connsiteX95" fmla="*/ 230527 w 4519987"/>
              <a:gd name="connsiteY95" fmla="*/ 1276350 h 4496940"/>
              <a:gd name="connsiteX96" fmla="*/ 240052 w 4519987"/>
              <a:gd name="connsiteY96" fmla="*/ 1247775 h 4496940"/>
              <a:gd name="connsiteX97" fmla="*/ 268627 w 4519987"/>
              <a:gd name="connsiteY97" fmla="*/ 1200150 h 4496940"/>
              <a:gd name="connsiteX98" fmla="*/ 287677 w 4519987"/>
              <a:gd name="connsiteY98" fmla="*/ 1152525 h 4496940"/>
              <a:gd name="connsiteX99" fmla="*/ 316252 w 4519987"/>
              <a:gd name="connsiteY99" fmla="*/ 1114425 h 4496940"/>
              <a:gd name="connsiteX100" fmla="*/ 363877 w 4519987"/>
              <a:gd name="connsiteY100" fmla="*/ 1038225 h 4496940"/>
              <a:gd name="connsiteX101" fmla="*/ 382927 w 4519987"/>
              <a:gd name="connsiteY101" fmla="*/ 1009650 h 4496940"/>
              <a:gd name="connsiteX102" fmla="*/ 440077 w 4519987"/>
              <a:gd name="connsiteY102" fmla="*/ 904875 h 4496940"/>
              <a:gd name="connsiteX103" fmla="*/ 478177 w 4519987"/>
              <a:gd name="connsiteY103" fmla="*/ 857250 h 4496940"/>
              <a:gd name="connsiteX104" fmla="*/ 497227 w 4519987"/>
              <a:gd name="connsiteY104" fmla="*/ 828675 h 4496940"/>
              <a:gd name="connsiteX105" fmla="*/ 535327 w 4519987"/>
              <a:gd name="connsiteY105" fmla="*/ 800100 h 4496940"/>
              <a:gd name="connsiteX106" fmla="*/ 602002 w 4519987"/>
              <a:gd name="connsiteY106" fmla="*/ 733425 h 4496940"/>
              <a:gd name="connsiteX107" fmla="*/ 668677 w 4519987"/>
              <a:gd name="connsiteY107" fmla="*/ 676275 h 4496940"/>
              <a:gd name="connsiteX108" fmla="*/ 697252 w 4519987"/>
              <a:gd name="connsiteY108" fmla="*/ 657225 h 4496940"/>
              <a:gd name="connsiteX109" fmla="*/ 840127 w 4519987"/>
              <a:gd name="connsiteY109" fmla="*/ 533400 h 4496940"/>
              <a:gd name="connsiteX110" fmla="*/ 887752 w 4519987"/>
              <a:gd name="connsiteY110" fmla="*/ 504825 h 4496940"/>
              <a:gd name="connsiteX111" fmla="*/ 1167152 w 4519987"/>
              <a:gd name="connsiteY111" fmla="*/ 311150 h 4496940"/>
              <a:gd name="connsiteX112" fmla="*/ 1268752 w 4519987"/>
              <a:gd name="connsiteY112" fmla="*/ 285750 h 4496940"/>
              <a:gd name="connsiteX113" fmla="*/ 1411627 w 4519987"/>
              <a:gd name="connsiteY113" fmla="*/ 190500 h 4496940"/>
              <a:gd name="connsiteX114" fmla="*/ 1449727 w 4519987"/>
              <a:gd name="connsiteY114" fmla="*/ 161925 h 4496940"/>
              <a:gd name="connsiteX115" fmla="*/ 1525927 w 4519987"/>
              <a:gd name="connsiteY115" fmla="*/ 152400 h 4496940"/>
              <a:gd name="connsiteX116" fmla="*/ 1583077 w 4519987"/>
              <a:gd name="connsiteY116" fmla="*/ 142875 h 4496940"/>
              <a:gd name="connsiteX117" fmla="*/ 1716427 w 4519987"/>
              <a:gd name="connsiteY117" fmla="*/ 123825 h 4496940"/>
              <a:gd name="connsiteX118" fmla="*/ 1811677 w 4519987"/>
              <a:gd name="connsiteY118" fmla="*/ 114300 h 4496940"/>
              <a:gd name="connsiteX119" fmla="*/ 1859302 w 4519987"/>
              <a:gd name="connsiteY119" fmla="*/ 104775 h 4496940"/>
              <a:gd name="connsiteX120" fmla="*/ 1916452 w 4519987"/>
              <a:gd name="connsiteY120" fmla="*/ 95250 h 4496940"/>
              <a:gd name="connsiteX121" fmla="*/ 2030752 w 4519987"/>
              <a:gd name="connsiteY121" fmla="*/ 66675 h 4496940"/>
              <a:gd name="connsiteX122" fmla="*/ 2097427 w 4519987"/>
              <a:gd name="connsiteY122" fmla="*/ 47625 h 4496940"/>
              <a:gd name="connsiteX123" fmla="*/ 2164102 w 4519987"/>
              <a:gd name="connsiteY123" fmla="*/ 38100 h 4496940"/>
              <a:gd name="connsiteX124" fmla="*/ 2392702 w 4519987"/>
              <a:gd name="connsiteY12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83302 w 4519987"/>
              <a:gd name="connsiteY37" fmla="*/ 4210050 h 4496940"/>
              <a:gd name="connsiteX38" fmla="*/ 3335677 w 4519987"/>
              <a:gd name="connsiteY38" fmla="*/ 4238625 h 4496940"/>
              <a:gd name="connsiteX39" fmla="*/ 3288052 w 4519987"/>
              <a:gd name="connsiteY39" fmla="*/ 4248150 h 4496940"/>
              <a:gd name="connsiteX40" fmla="*/ 3240427 w 4519987"/>
              <a:gd name="connsiteY40" fmla="*/ 4267200 h 4496940"/>
              <a:gd name="connsiteX41" fmla="*/ 3068977 w 4519987"/>
              <a:gd name="connsiteY41" fmla="*/ 4286250 h 4496940"/>
              <a:gd name="connsiteX42" fmla="*/ 2935627 w 4519987"/>
              <a:gd name="connsiteY42" fmla="*/ 4333875 h 4496940"/>
              <a:gd name="connsiteX43" fmla="*/ 2811802 w 4519987"/>
              <a:gd name="connsiteY43" fmla="*/ 4371975 h 4496940"/>
              <a:gd name="connsiteX44" fmla="*/ 2745127 w 4519987"/>
              <a:gd name="connsiteY44" fmla="*/ 4410075 h 4496940"/>
              <a:gd name="connsiteX45" fmla="*/ 2697502 w 4519987"/>
              <a:gd name="connsiteY45" fmla="*/ 4429125 h 4496940"/>
              <a:gd name="connsiteX46" fmla="*/ 2640352 w 4519987"/>
              <a:gd name="connsiteY46" fmla="*/ 4457700 h 4496940"/>
              <a:gd name="connsiteX47" fmla="*/ 2583202 w 4519987"/>
              <a:gd name="connsiteY47" fmla="*/ 4467225 h 4496940"/>
              <a:gd name="connsiteX48" fmla="*/ 2545102 w 4519987"/>
              <a:gd name="connsiteY48" fmla="*/ 4486275 h 4496940"/>
              <a:gd name="connsiteX49" fmla="*/ 2306977 w 4519987"/>
              <a:gd name="connsiteY49" fmla="*/ 4476750 h 4496940"/>
              <a:gd name="connsiteX50" fmla="*/ 2202202 w 4519987"/>
              <a:gd name="connsiteY50" fmla="*/ 4457700 h 4496940"/>
              <a:gd name="connsiteX51" fmla="*/ 2126002 w 4519987"/>
              <a:gd name="connsiteY51" fmla="*/ 4429125 h 4496940"/>
              <a:gd name="connsiteX52" fmla="*/ 1935502 w 4519987"/>
              <a:gd name="connsiteY52" fmla="*/ 4400550 h 4496940"/>
              <a:gd name="connsiteX53" fmla="*/ 1821202 w 4519987"/>
              <a:gd name="connsiteY53" fmla="*/ 4371975 h 4496940"/>
              <a:gd name="connsiteX54" fmla="*/ 1754527 w 4519987"/>
              <a:gd name="connsiteY54" fmla="*/ 4352925 h 4496940"/>
              <a:gd name="connsiteX55" fmla="*/ 1687852 w 4519987"/>
              <a:gd name="connsiteY55" fmla="*/ 4343400 h 4496940"/>
              <a:gd name="connsiteX56" fmla="*/ 1573552 w 4519987"/>
              <a:gd name="connsiteY56" fmla="*/ 4305300 h 4496940"/>
              <a:gd name="connsiteX57" fmla="*/ 1402102 w 4519987"/>
              <a:gd name="connsiteY57" fmla="*/ 4276725 h 4496940"/>
              <a:gd name="connsiteX58" fmla="*/ 1287802 w 4519987"/>
              <a:gd name="connsiteY58" fmla="*/ 4229100 h 4496940"/>
              <a:gd name="connsiteX59" fmla="*/ 1221127 w 4519987"/>
              <a:gd name="connsiteY59" fmla="*/ 4200525 h 4496940"/>
              <a:gd name="connsiteX60" fmla="*/ 1144927 w 4519987"/>
              <a:gd name="connsiteY60" fmla="*/ 4171950 h 4496940"/>
              <a:gd name="connsiteX61" fmla="*/ 1087777 w 4519987"/>
              <a:gd name="connsiteY61" fmla="*/ 4143375 h 4496940"/>
              <a:gd name="connsiteX62" fmla="*/ 1030627 w 4519987"/>
              <a:gd name="connsiteY62" fmla="*/ 4124325 h 4496940"/>
              <a:gd name="connsiteX63" fmla="*/ 925852 w 4519987"/>
              <a:gd name="connsiteY63" fmla="*/ 4067175 h 4496940"/>
              <a:gd name="connsiteX64" fmla="*/ 830602 w 4519987"/>
              <a:gd name="connsiteY64" fmla="*/ 3981450 h 4496940"/>
              <a:gd name="connsiteX65" fmla="*/ 763927 w 4519987"/>
              <a:gd name="connsiteY65" fmla="*/ 3914775 h 4496940"/>
              <a:gd name="connsiteX66" fmla="*/ 725827 w 4519987"/>
              <a:gd name="connsiteY66" fmla="*/ 3876675 h 4496940"/>
              <a:gd name="connsiteX67" fmla="*/ 697252 w 4519987"/>
              <a:gd name="connsiteY67" fmla="*/ 3838575 h 4496940"/>
              <a:gd name="connsiteX68" fmla="*/ 640102 w 4519987"/>
              <a:gd name="connsiteY68" fmla="*/ 3781425 h 4496940"/>
              <a:gd name="connsiteX69" fmla="*/ 611527 w 4519987"/>
              <a:gd name="connsiteY69" fmla="*/ 3733800 h 4496940"/>
              <a:gd name="connsiteX70" fmla="*/ 554377 w 4519987"/>
              <a:gd name="connsiteY70" fmla="*/ 3657600 h 4496940"/>
              <a:gd name="connsiteX71" fmla="*/ 525802 w 4519987"/>
              <a:gd name="connsiteY71" fmla="*/ 3609975 h 4496940"/>
              <a:gd name="connsiteX72" fmla="*/ 497227 w 4519987"/>
              <a:gd name="connsiteY72" fmla="*/ 3552825 h 4496940"/>
              <a:gd name="connsiteX73" fmla="*/ 440077 w 4519987"/>
              <a:gd name="connsiteY73" fmla="*/ 3495675 h 4496940"/>
              <a:gd name="connsiteX74" fmla="*/ 411502 w 4519987"/>
              <a:gd name="connsiteY74" fmla="*/ 3448050 h 4496940"/>
              <a:gd name="connsiteX75" fmla="*/ 278152 w 4519987"/>
              <a:gd name="connsiteY75" fmla="*/ 3257550 h 4496940"/>
              <a:gd name="connsiteX76" fmla="*/ 249577 w 4519987"/>
              <a:gd name="connsiteY76" fmla="*/ 3200400 h 4496940"/>
              <a:gd name="connsiteX77" fmla="*/ 240052 w 4519987"/>
              <a:gd name="connsiteY77" fmla="*/ 3162300 h 4496940"/>
              <a:gd name="connsiteX78" fmla="*/ 221002 w 4519987"/>
              <a:gd name="connsiteY78" fmla="*/ 3105150 h 4496940"/>
              <a:gd name="connsiteX79" fmla="*/ 173377 w 4519987"/>
              <a:gd name="connsiteY79" fmla="*/ 3019425 h 4496940"/>
              <a:gd name="connsiteX80" fmla="*/ 144802 w 4519987"/>
              <a:gd name="connsiteY80" fmla="*/ 2924175 h 4496940"/>
              <a:gd name="connsiteX81" fmla="*/ 68602 w 4519987"/>
              <a:gd name="connsiteY81" fmla="*/ 2724150 h 4496940"/>
              <a:gd name="connsiteX82" fmla="*/ 49552 w 4519987"/>
              <a:gd name="connsiteY82" fmla="*/ 2638425 h 4496940"/>
              <a:gd name="connsiteX83" fmla="*/ 40027 w 4519987"/>
              <a:gd name="connsiteY83" fmla="*/ 2562225 h 4496940"/>
              <a:gd name="connsiteX84" fmla="*/ 30502 w 4519987"/>
              <a:gd name="connsiteY84" fmla="*/ 2514600 h 4496940"/>
              <a:gd name="connsiteX85" fmla="*/ 11452 w 4519987"/>
              <a:gd name="connsiteY85" fmla="*/ 2400300 h 4496940"/>
              <a:gd name="connsiteX86" fmla="*/ 20977 w 4519987"/>
              <a:gd name="connsiteY86" fmla="*/ 1905000 h 4496940"/>
              <a:gd name="connsiteX87" fmla="*/ 30502 w 4519987"/>
              <a:gd name="connsiteY87" fmla="*/ 1838325 h 4496940"/>
              <a:gd name="connsiteX88" fmla="*/ 49552 w 4519987"/>
              <a:gd name="connsiteY88" fmla="*/ 1781175 h 4496940"/>
              <a:gd name="connsiteX89" fmla="*/ 59077 w 4519987"/>
              <a:gd name="connsiteY89" fmla="*/ 1743075 h 4496940"/>
              <a:gd name="connsiteX90" fmla="*/ 78127 w 4519987"/>
              <a:gd name="connsiteY90" fmla="*/ 1685925 h 4496940"/>
              <a:gd name="connsiteX91" fmla="*/ 87652 w 4519987"/>
              <a:gd name="connsiteY91" fmla="*/ 1638300 h 4496940"/>
              <a:gd name="connsiteX92" fmla="*/ 106702 w 4519987"/>
              <a:gd name="connsiteY92" fmla="*/ 1590675 h 4496940"/>
              <a:gd name="connsiteX93" fmla="*/ 135277 w 4519987"/>
              <a:gd name="connsiteY93" fmla="*/ 1504950 h 4496940"/>
              <a:gd name="connsiteX94" fmla="*/ 154327 w 4519987"/>
              <a:gd name="connsiteY94" fmla="*/ 1419225 h 4496940"/>
              <a:gd name="connsiteX95" fmla="*/ 230527 w 4519987"/>
              <a:gd name="connsiteY95" fmla="*/ 1276350 h 4496940"/>
              <a:gd name="connsiteX96" fmla="*/ 240052 w 4519987"/>
              <a:gd name="connsiteY96" fmla="*/ 1247775 h 4496940"/>
              <a:gd name="connsiteX97" fmla="*/ 268627 w 4519987"/>
              <a:gd name="connsiteY97" fmla="*/ 1200150 h 4496940"/>
              <a:gd name="connsiteX98" fmla="*/ 287677 w 4519987"/>
              <a:gd name="connsiteY98" fmla="*/ 1152525 h 4496940"/>
              <a:gd name="connsiteX99" fmla="*/ 316252 w 4519987"/>
              <a:gd name="connsiteY99" fmla="*/ 1114425 h 4496940"/>
              <a:gd name="connsiteX100" fmla="*/ 363877 w 4519987"/>
              <a:gd name="connsiteY100" fmla="*/ 1038225 h 4496940"/>
              <a:gd name="connsiteX101" fmla="*/ 382927 w 4519987"/>
              <a:gd name="connsiteY101" fmla="*/ 1009650 h 4496940"/>
              <a:gd name="connsiteX102" fmla="*/ 440077 w 4519987"/>
              <a:gd name="connsiteY102" fmla="*/ 904875 h 4496940"/>
              <a:gd name="connsiteX103" fmla="*/ 478177 w 4519987"/>
              <a:gd name="connsiteY103" fmla="*/ 857250 h 4496940"/>
              <a:gd name="connsiteX104" fmla="*/ 497227 w 4519987"/>
              <a:gd name="connsiteY104" fmla="*/ 828675 h 4496940"/>
              <a:gd name="connsiteX105" fmla="*/ 535327 w 4519987"/>
              <a:gd name="connsiteY105" fmla="*/ 800100 h 4496940"/>
              <a:gd name="connsiteX106" fmla="*/ 602002 w 4519987"/>
              <a:gd name="connsiteY106" fmla="*/ 733425 h 4496940"/>
              <a:gd name="connsiteX107" fmla="*/ 668677 w 4519987"/>
              <a:gd name="connsiteY107" fmla="*/ 676275 h 4496940"/>
              <a:gd name="connsiteX108" fmla="*/ 697252 w 4519987"/>
              <a:gd name="connsiteY108" fmla="*/ 657225 h 4496940"/>
              <a:gd name="connsiteX109" fmla="*/ 840127 w 4519987"/>
              <a:gd name="connsiteY109" fmla="*/ 533400 h 4496940"/>
              <a:gd name="connsiteX110" fmla="*/ 887752 w 4519987"/>
              <a:gd name="connsiteY110" fmla="*/ 504825 h 4496940"/>
              <a:gd name="connsiteX111" fmla="*/ 1167152 w 4519987"/>
              <a:gd name="connsiteY111" fmla="*/ 311150 h 4496940"/>
              <a:gd name="connsiteX112" fmla="*/ 1268752 w 4519987"/>
              <a:gd name="connsiteY112" fmla="*/ 285750 h 4496940"/>
              <a:gd name="connsiteX113" fmla="*/ 1411627 w 4519987"/>
              <a:gd name="connsiteY113" fmla="*/ 190500 h 4496940"/>
              <a:gd name="connsiteX114" fmla="*/ 1449727 w 4519987"/>
              <a:gd name="connsiteY114" fmla="*/ 161925 h 4496940"/>
              <a:gd name="connsiteX115" fmla="*/ 1525927 w 4519987"/>
              <a:gd name="connsiteY115" fmla="*/ 152400 h 4496940"/>
              <a:gd name="connsiteX116" fmla="*/ 1583077 w 4519987"/>
              <a:gd name="connsiteY116" fmla="*/ 142875 h 4496940"/>
              <a:gd name="connsiteX117" fmla="*/ 1716427 w 4519987"/>
              <a:gd name="connsiteY117" fmla="*/ 123825 h 4496940"/>
              <a:gd name="connsiteX118" fmla="*/ 1811677 w 4519987"/>
              <a:gd name="connsiteY118" fmla="*/ 114300 h 4496940"/>
              <a:gd name="connsiteX119" fmla="*/ 1859302 w 4519987"/>
              <a:gd name="connsiteY119" fmla="*/ 104775 h 4496940"/>
              <a:gd name="connsiteX120" fmla="*/ 1916452 w 4519987"/>
              <a:gd name="connsiteY120" fmla="*/ 95250 h 4496940"/>
              <a:gd name="connsiteX121" fmla="*/ 2030752 w 4519987"/>
              <a:gd name="connsiteY121" fmla="*/ 66675 h 4496940"/>
              <a:gd name="connsiteX122" fmla="*/ 2097427 w 4519987"/>
              <a:gd name="connsiteY122" fmla="*/ 47625 h 4496940"/>
              <a:gd name="connsiteX123" fmla="*/ 2164102 w 4519987"/>
              <a:gd name="connsiteY123" fmla="*/ 38100 h 4496940"/>
              <a:gd name="connsiteX124" fmla="*/ 2392702 w 4519987"/>
              <a:gd name="connsiteY12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35677 w 4519987"/>
              <a:gd name="connsiteY37" fmla="*/ 4238625 h 4496940"/>
              <a:gd name="connsiteX38" fmla="*/ 3288052 w 4519987"/>
              <a:gd name="connsiteY38" fmla="*/ 4248150 h 4496940"/>
              <a:gd name="connsiteX39" fmla="*/ 3240427 w 4519987"/>
              <a:gd name="connsiteY39" fmla="*/ 4267200 h 4496940"/>
              <a:gd name="connsiteX40" fmla="*/ 3068977 w 4519987"/>
              <a:gd name="connsiteY40" fmla="*/ 4286250 h 4496940"/>
              <a:gd name="connsiteX41" fmla="*/ 2935627 w 4519987"/>
              <a:gd name="connsiteY41" fmla="*/ 4333875 h 4496940"/>
              <a:gd name="connsiteX42" fmla="*/ 2811802 w 4519987"/>
              <a:gd name="connsiteY42" fmla="*/ 4371975 h 4496940"/>
              <a:gd name="connsiteX43" fmla="*/ 2745127 w 4519987"/>
              <a:gd name="connsiteY43" fmla="*/ 4410075 h 4496940"/>
              <a:gd name="connsiteX44" fmla="*/ 2697502 w 4519987"/>
              <a:gd name="connsiteY44" fmla="*/ 4429125 h 4496940"/>
              <a:gd name="connsiteX45" fmla="*/ 2640352 w 4519987"/>
              <a:gd name="connsiteY45" fmla="*/ 4457700 h 4496940"/>
              <a:gd name="connsiteX46" fmla="*/ 2583202 w 4519987"/>
              <a:gd name="connsiteY46" fmla="*/ 4467225 h 4496940"/>
              <a:gd name="connsiteX47" fmla="*/ 2545102 w 4519987"/>
              <a:gd name="connsiteY47" fmla="*/ 4486275 h 4496940"/>
              <a:gd name="connsiteX48" fmla="*/ 2306977 w 4519987"/>
              <a:gd name="connsiteY48" fmla="*/ 4476750 h 4496940"/>
              <a:gd name="connsiteX49" fmla="*/ 2202202 w 4519987"/>
              <a:gd name="connsiteY49" fmla="*/ 4457700 h 4496940"/>
              <a:gd name="connsiteX50" fmla="*/ 2126002 w 4519987"/>
              <a:gd name="connsiteY50" fmla="*/ 4429125 h 4496940"/>
              <a:gd name="connsiteX51" fmla="*/ 1935502 w 4519987"/>
              <a:gd name="connsiteY51" fmla="*/ 4400550 h 4496940"/>
              <a:gd name="connsiteX52" fmla="*/ 1821202 w 4519987"/>
              <a:gd name="connsiteY52" fmla="*/ 4371975 h 4496940"/>
              <a:gd name="connsiteX53" fmla="*/ 1754527 w 4519987"/>
              <a:gd name="connsiteY53" fmla="*/ 4352925 h 4496940"/>
              <a:gd name="connsiteX54" fmla="*/ 1687852 w 4519987"/>
              <a:gd name="connsiteY54" fmla="*/ 4343400 h 4496940"/>
              <a:gd name="connsiteX55" fmla="*/ 1573552 w 4519987"/>
              <a:gd name="connsiteY55" fmla="*/ 4305300 h 4496940"/>
              <a:gd name="connsiteX56" fmla="*/ 1402102 w 4519987"/>
              <a:gd name="connsiteY56" fmla="*/ 4276725 h 4496940"/>
              <a:gd name="connsiteX57" fmla="*/ 1287802 w 4519987"/>
              <a:gd name="connsiteY57" fmla="*/ 4229100 h 4496940"/>
              <a:gd name="connsiteX58" fmla="*/ 1221127 w 4519987"/>
              <a:gd name="connsiteY58" fmla="*/ 4200525 h 4496940"/>
              <a:gd name="connsiteX59" fmla="*/ 1144927 w 4519987"/>
              <a:gd name="connsiteY59" fmla="*/ 4171950 h 4496940"/>
              <a:gd name="connsiteX60" fmla="*/ 1087777 w 4519987"/>
              <a:gd name="connsiteY60" fmla="*/ 4143375 h 4496940"/>
              <a:gd name="connsiteX61" fmla="*/ 1030627 w 4519987"/>
              <a:gd name="connsiteY61" fmla="*/ 4124325 h 4496940"/>
              <a:gd name="connsiteX62" fmla="*/ 925852 w 4519987"/>
              <a:gd name="connsiteY62" fmla="*/ 4067175 h 4496940"/>
              <a:gd name="connsiteX63" fmla="*/ 830602 w 4519987"/>
              <a:gd name="connsiteY63" fmla="*/ 3981450 h 4496940"/>
              <a:gd name="connsiteX64" fmla="*/ 763927 w 4519987"/>
              <a:gd name="connsiteY64" fmla="*/ 3914775 h 4496940"/>
              <a:gd name="connsiteX65" fmla="*/ 725827 w 4519987"/>
              <a:gd name="connsiteY65" fmla="*/ 3876675 h 4496940"/>
              <a:gd name="connsiteX66" fmla="*/ 697252 w 4519987"/>
              <a:gd name="connsiteY66" fmla="*/ 3838575 h 4496940"/>
              <a:gd name="connsiteX67" fmla="*/ 640102 w 4519987"/>
              <a:gd name="connsiteY67" fmla="*/ 3781425 h 4496940"/>
              <a:gd name="connsiteX68" fmla="*/ 611527 w 4519987"/>
              <a:gd name="connsiteY68" fmla="*/ 3733800 h 4496940"/>
              <a:gd name="connsiteX69" fmla="*/ 554377 w 4519987"/>
              <a:gd name="connsiteY69" fmla="*/ 3657600 h 4496940"/>
              <a:gd name="connsiteX70" fmla="*/ 525802 w 4519987"/>
              <a:gd name="connsiteY70" fmla="*/ 3609975 h 4496940"/>
              <a:gd name="connsiteX71" fmla="*/ 497227 w 4519987"/>
              <a:gd name="connsiteY71" fmla="*/ 3552825 h 4496940"/>
              <a:gd name="connsiteX72" fmla="*/ 440077 w 4519987"/>
              <a:gd name="connsiteY72" fmla="*/ 3495675 h 4496940"/>
              <a:gd name="connsiteX73" fmla="*/ 411502 w 4519987"/>
              <a:gd name="connsiteY73" fmla="*/ 3448050 h 4496940"/>
              <a:gd name="connsiteX74" fmla="*/ 278152 w 4519987"/>
              <a:gd name="connsiteY74" fmla="*/ 3257550 h 4496940"/>
              <a:gd name="connsiteX75" fmla="*/ 249577 w 4519987"/>
              <a:gd name="connsiteY75" fmla="*/ 3200400 h 4496940"/>
              <a:gd name="connsiteX76" fmla="*/ 240052 w 4519987"/>
              <a:gd name="connsiteY76" fmla="*/ 3162300 h 4496940"/>
              <a:gd name="connsiteX77" fmla="*/ 221002 w 4519987"/>
              <a:gd name="connsiteY77" fmla="*/ 3105150 h 4496940"/>
              <a:gd name="connsiteX78" fmla="*/ 173377 w 4519987"/>
              <a:gd name="connsiteY78" fmla="*/ 3019425 h 4496940"/>
              <a:gd name="connsiteX79" fmla="*/ 144802 w 4519987"/>
              <a:gd name="connsiteY79" fmla="*/ 2924175 h 4496940"/>
              <a:gd name="connsiteX80" fmla="*/ 68602 w 4519987"/>
              <a:gd name="connsiteY80" fmla="*/ 2724150 h 4496940"/>
              <a:gd name="connsiteX81" fmla="*/ 49552 w 4519987"/>
              <a:gd name="connsiteY81" fmla="*/ 2638425 h 4496940"/>
              <a:gd name="connsiteX82" fmla="*/ 40027 w 4519987"/>
              <a:gd name="connsiteY82" fmla="*/ 2562225 h 4496940"/>
              <a:gd name="connsiteX83" fmla="*/ 30502 w 4519987"/>
              <a:gd name="connsiteY83" fmla="*/ 2514600 h 4496940"/>
              <a:gd name="connsiteX84" fmla="*/ 11452 w 4519987"/>
              <a:gd name="connsiteY84" fmla="*/ 2400300 h 4496940"/>
              <a:gd name="connsiteX85" fmla="*/ 20977 w 4519987"/>
              <a:gd name="connsiteY85" fmla="*/ 1905000 h 4496940"/>
              <a:gd name="connsiteX86" fmla="*/ 30502 w 4519987"/>
              <a:gd name="connsiteY86" fmla="*/ 1838325 h 4496940"/>
              <a:gd name="connsiteX87" fmla="*/ 49552 w 4519987"/>
              <a:gd name="connsiteY87" fmla="*/ 1781175 h 4496940"/>
              <a:gd name="connsiteX88" fmla="*/ 59077 w 4519987"/>
              <a:gd name="connsiteY88" fmla="*/ 1743075 h 4496940"/>
              <a:gd name="connsiteX89" fmla="*/ 78127 w 4519987"/>
              <a:gd name="connsiteY89" fmla="*/ 1685925 h 4496940"/>
              <a:gd name="connsiteX90" fmla="*/ 87652 w 4519987"/>
              <a:gd name="connsiteY90" fmla="*/ 1638300 h 4496940"/>
              <a:gd name="connsiteX91" fmla="*/ 106702 w 4519987"/>
              <a:gd name="connsiteY91" fmla="*/ 1590675 h 4496940"/>
              <a:gd name="connsiteX92" fmla="*/ 135277 w 4519987"/>
              <a:gd name="connsiteY92" fmla="*/ 1504950 h 4496940"/>
              <a:gd name="connsiteX93" fmla="*/ 154327 w 4519987"/>
              <a:gd name="connsiteY93" fmla="*/ 1419225 h 4496940"/>
              <a:gd name="connsiteX94" fmla="*/ 230527 w 4519987"/>
              <a:gd name="connsiteY94" fmla="*/ 1276350 h 4496940"/>
              <a:gd name="connsiteX95" fmla="*/ 240052 w 4519987"/>
              <a:gd name="connsiteY95" fmla="*/ 1247775 h 4496940"/>
              <a:gd name="connsiteX96" fmla="*/ 268627 w 4519987"/>
              <a:gd name="connsiteY96" fmla="*/ 1200150 h 4496940"/>
              <a:gd name="connsiteX97" fmla="*/ 287677 w 4519987"/>
              <a:gd name="connsiteY97" fmla="*/ 1152525 h 4496940"/>
              <a:gd name="connsiteX98" fmla="*/ 316252 w 4519987"/>
              <a:gd name="connsiteY98" fmla="*/ 1114425 h 4496940"/>
              <a:gd name="connsiteX99" fmla="*/ 363877 w 4519987"/>
              <a:gd name="connsiteY99" fmla="*/ 1038225 h 4496940"/>
              <a:gd name="connsiteX100" fmla="*/ 382927 w 4519987"/>
              <a:gd name="connsiteY100" fmla="*/ 1009650 h 4496940"/>
              <a:gd name="connsiteX101" fmla="*/ 440077 w 4519987"/>
              <a:gd name="connsiteY101" fmla="*/ 904875 h 4496940"/>
              <a:gd name="connsiteX102" fmla="*/ 478177 w 4519987"/>
              <a:gd name="connsiteY102" fmla="*/ 857250 h 4496940"/>
              <a:gd name="connsiteX103" fmla="*/ 497227 w 4519987"/>
              <a:gd name="connsiteY103" fmla="*/ 828675 h 4496940"/>
              <a:gd name="connsiteX104" fmla="*/ 535327 w 4519987"/>
              <a:gd name="connsiteY104" fmla="*/ 800100 h 4496940"/>
              <a:gd name="connsiteX105" fmla="*/ 602002 w 4519987"/>
              <a:gd name="connsiteY105" fmla="*/ 733425 h 4496940"/>
              <a:gd name="connsiteX106" fmla="*/ 668677 w 4519987"/>
              <a:gd name="connsiteY106" fmla="*/ 676275 h 4496940"/>
              <a:gd name="connsiteX107" fmla="*/ 697252 w 4519987"/>
              <a:gd name="connsiteY107" fmla="*/ 657225 h 4496940"/>
              <a:gd name="connsiteX108" fmla="*/ 840127 w 4519987"/>
              <a:gd name="connsiteY108" fmla="*/ 533400 h 4496940"/>
              <a:gd name="connsiteX109" fmla="*/ 887752 w 4519987"/>
              <a:gd name="connsiteY109" fmla="*/ 504825 h 4496940"/>
              <a:gd name="connsiteX110" fmla="*/ 1167152 w 4519987"/>
              <a:gd name="connsiteY110" fmla="*/ 311150 h 4496940"/>
              <a:gd name="connsiteX111" fmla="*/ 1268752 w 4519987"/>
              <a:gd name="connsiteY111" fmla="*/ 285750 h 4496940"/>
              <a:gd name="connsiteX112" fmla="*/ 1411627 w 4519987"/>
              <a:gd name="connsiteY112" fmla="*/ 190500 h 4496940"/>
              <a:gd name="connsiteX113" fmla="*/ 1449727 w 4519987"/>
              <a:gd name="connsiteY113" fmla="*/ 161925 h 4496940"/>
              <a:gd name="connsiteX114" fmla="*/ 1525927 w 4519987"/>
              <a:gd name="connsiteY114" fmla="*/ 152400 h 4496940"/>
              <a:gd name="connsiteX115" fmla="*/ 1583077 w 4519987"/>
              <a:gd name="connsiteY115" fmla="*/ 142875 h 4496940"/>
              <a:gd name="connsiteX116" fmla="*/ 1716427 w 4519987"/>
              <a:gd name="connsiteY116" fmla="*/ 123825 h 4496940"/>
              <a:gd name="connsiteX117" fmla="*/ 1811677 w 4519987"/>
              <a:gd name="connsiteY117" fmla="*/ 114300 h 4496940"/>
              <a:gd name="connsiteX118" fmla="*/ 1859302 w 4519987"/>
              <a:gd name="connsiteY118" fmla="*/ 104775 h 4496940"/>
              <a:gd name="connsiteX119" fmla="*/ 1916452 w 4519987"/>
              <a:gd name="connsiteY119" fmla="*/ 95250 h 4496940"/>
              <a:gd name="connsiteX120" fmla="*/ 2030752 w 4519987"/>
              <a:gd name="connsiteY120" fmla="*/ 66675 h 4496940"/>
              <a:gd name="connsiteX121" fmla="*/ 2097427 w 4519987"/>
              <a:gd name="connsiteY121" fmla="*/ 47625 h 4496940"/>
              <a:gd name="connsiteX122" fmla="*/ 2164102 w 4519987"/>
              <a:gd name="connsiteY122" fmla="*/ 38100 h 4496940"/>
              <a:gd name="connsiteX123" fmla="*/ 2392702 w 4519987"/>
              <a:gd name="connsiteY12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35677 w 4519987"/>
              <a:gd name="connsiteY37" fmla="*/ 4238625 h 4496940"/>
              <a:gd name="connsiteX38" fmla="*/ 3240427 w 4519987"/>
              <a:gd name="connsiteY38" fmla="*/ 4267200 h 4496940"/>
              <a:gd name="connsiteX39" fmla="*/ 3068977 w 4519987"/>
              <a:gd name="connsiteY39" fmla="*/ 4286250 h 4496940"/>
              <a:gd name="connsiteX40" fmla="*/ 2935627 w 4519987"/>
              <a:gd name="connsiteY40" fmla="*/ 4333875 h 4496940"/>
              <a:gd name="connsiteX41" fmla="*/ 2811802 w 4519987"/>
              <a:gd name="connsiteY41" fmla="*/ 4371975 h 4496940"/>
              <a:gd name="connsiteX42" fmla="*/ 2745127 w 4519987"/>
              <a:gd name="connsiteY42" fmla="*/ 4410075 h 4496940"/>
              <a:gd name="connsiteX43" fmla="*/ 2697502 w 4519987"/>
              <a:gd name="connsiteY43" fmla="*/ 4429125 h 4496940"/>
              <a:gd name="connsiteX44" fmla="*/ 2640352 w 4519987"/>
              <a:gd name="connsiteY44" fmla="*/ 4457700 h 4496940"/>
              <a:gd name="connsiteX45" fmla="*/ 2583202 w 4519987"/>
              <a:gd name="connsiteY45" fmla="*/ 4467225 h 4496940"/>
              <a:gd name="connsiteX46" fmla="*/ 2545102 w 4519987"/>
              <a:gd name="connsiteY46" fmla="*/ 4486275 h 4496940"/>
              <a:gd name="connsiteX47" fmla="*/ 2306977 w 4519987"/>
              <a:gd name="connsiteY47" fmla="*/ 4476750 h 4496940"/>
              <a:gd name="connsiteX48" fmla="*/ 2202202 w 4519987"/>
              <a:gd name="connsiteY48" fmla="*/ 4457700 h 4496940"/>
              <a:gd name="connsiteX49" fmla="*/ 2126002 w 4519987"/>
              <a:gd name="connsiteY49" fmla="*/ 4429125 h 4496940"/>
              <a:gd name="connsiteX50" fmla="*/ 1935502 w 4519987"/>
              <a:gd name="connsiteY50" fmla="*/ 4400550 h 4496940"/>
              <a:gd name="connsiteX51" fmla="*/ 1821202 w 4519987"/>
              <a:gd name="connsiteY51" fmla="*/ 4371975 h 4496940"/>
              <a:gd name="connsiteX52" fmla="*/ 1754527 w 4519987"/>
              <a:gd name="connsiteY52" fmla="*/ 4352925 h 4496940"/>
              <a:gd name="connsiteX53" fmla="*/ 1687852 w 4519987"/>
              <a:gd name="connsiteY53" fmla="*/ 4343400 h 4496940"/>
              <a:gd name="connsiteX54" fmla="*/ 1573552 w 4519987"/>
              <a:gd name="connsiteY54" fmla="*/ 4305300 h 4496940"/>
              <a:gd name="connsiteX55" fmla="*/ 1402102 w 4519987"/>
              <a:gd name="connsiteY55" fmla="*/ 4276725 h 4496940"/>
              <a:gd name="connsiteX56" fmla="*/ 1287802 w 4519987"/>
              <a:gd name="connsiteY56" fmla="*/ 4229100 h 4496940"/>
              <a:gd name="connsiteX57" fmla="*/ 1221127 w 4519987"/>
              <a:gd name="connsiteY57" fmla="*/ 4200525 h 4496940"/>
              <a:gd name="connsiteX58" fmla="*/ 1144927 w 4519987"/>
              <a:gd name="connsiteY58" fmla="*/ 4171950 h 4496940"/>
              <a:gd name="connsiteX59" fmla="*/ 1087777 w 4519987"/>
              <a:gd name="connsiteY59" fmla="*/ 4143375 h 4496940"/>
              <a:gd name="connsiteX60" fmla="*/ 1030627 w 4519987"/>
              <a:gd name="connsiteY60" fmla="*/ 4124325 h 4496940"/>
              <a:gd name="connsiteX61" fmla="*/ 925852 w 4519987"/>
              <a:gd name="connsiteY61" fmla="*/ 4067175 h 4496940"/>
              <a:gd name="connsiteX62" fmla="*/ 830602 w 4519987"/>
              <a:gd name="connsiteY62" fmla="*/ 3981450 h 4496940"/>
              <a:gd name="connsiteX63" fmla="*/ 763927 w 4519987"/>
              <a:gd name="connsiteY63" fmla="*/ 3914775 h 4496940"/>
              <a:gd name="connsiteX64" fmla="*/ 725827 w 4519987"/>
              <a:gd name="connsiteY64" fmla="*/ 3876675 h 4496940"/>
              <a:gd name="connsiteX65" fmla="*/ 697252 w 4519987"/>
              <a:gd name="connsiteY65" fmla="*/ 3838575 h 4496940"/>
              <a:gd name="connsiteX66" fmla="*/ 640102 w 4519987"/>
              <a:gd name="connsiteY66" fmla="*/ 3781425 h 4496940"/>
              <a:gd name="connsiteX67" fmla="*/ 611527 w 4519987"/>
              <a:gd name="connsiteY67" fmla="*/ 3733800 h 4496940"/>
              <a:gd name="connsiteX68" fmla="*/ 554377 w 4519987"/>
              <a:gd name="connsiteY68" fmla="*/ 3657600 h 4496940"/>
              <a:gd name="connsiteX69" fmla="*/ 525802 w 4519987"/>
              <a:gd name="connsiteY69" fmla="*/ 3609975 h 4496940"/>
              <a:gd name="connsiteX70" fmla="*/ 497227 w 4519987"/>
              <a:gd name="connsiteY70" fmla="*/ 3552825 h 4496940"/>
              <a:gd name="connsiteX71" fmla="*/ 440077 w 4519987"/>
              <a:gd name="connsiteY71" fmla="*/ 3495675 h 4496940"/>
              <a:gd name="connsiteX72" fmla="*/ 411502 w 4519987"/>
              <a:gd name="connsiteY72" fmla="*/ 3448050 h 4496940"/>
              <a:gd name="connsiteX73" fmla="*/ 278152 w 4519987"/>
              <a:gd name="connsiteY73" fmla="*/ 3257550 h 4496940"/>
              <a:gd name="connsiteX74" fmla="*/ 249577 w 4519987"/>
              <a:gd name="connsiteY74" fmla="*/ 3200400 h 4496940"/>
              <a:gd name="connsiteX75" fmla="*/ 240052 w 4519987"/>
              <a:gd name="connsiteY75" fmla="*/ 3162300 h 4496940"/>
              <a:gd name="connsiteX76" fmla="*/ 221002 w 4519987"/>
              <a:gd name="connsiteY76" fmla="*/ 3105150 h 4496940"/>
              <a:gd name="connsiteX77" fmla="*/ 173377 w 4519987"/>
              <a:gd name="connsiteY77" fmla="*/ 3019425 h 4496940"/>
              <a:gd name="connsiteX78" fmla="*/ 144802 w 4519987"/>
              <a:gd name="connsiteY78" fmla="*/ 2924175 h 4496940"/>
              <a:gd name="connsiteX79" fmla="*/ 68602 w 4519987"/>
              <a:gd name="connsiteY79" fmla="*/ 2724150 h 4496940"/>
              <a:gd name="connsiteX80" fmla="*/ 49552 w 4519987"/>
              <a:gd name="connsiteY80" fmla="*/ 2638425 h 4496940"/>
              <a:gd name="connsiteX81" fmla="*/ 40027 w 4519987"/>
              <a:gd name="connsiteY81" fmla="*/ 2562225 h 4496940"/>
              <a:gd name="connsiteX82" fmla="*/ 30502 w 4519987"/>
              <a:gd name="connsiteY82" fmla="*/ 2514600 h 4496940"/>
              <a:gd name="connsiteX83" fmla="*/ 11452 w 4519987"/>
              <a:gd name="connsiteY83" fmla="*/ 2400300 h 4496940"/>
              <a:gd name="connsiteX84" fmla="*/ 20977 w 4519987"/>
              <a:gd name="connsiteY84" fmla="*/ 1905000 h 4496940"/>
              <a:gd name="connsiteX85" fmla="*/ 30502 w 4519987"/>
              <a:gd name="connsiteY85" fmla="*/ 1838325 h 4496940"/>
              <a:gd name="connsiteX86" fmla="*/ 49552 w 4519987"/>
              <a:gd name="connsiteY86" fmla="*/ 1781175 h 4496940"/>
              <a:gd name="connsiteX87" fmla="*/ 59077 w 4519987"/>
              <a:gd name="connsiteY87" fmla="*/ 1743075 h 4496940"/>
              <a:gd name="connsiteX88" fmla="*/ 78127 w 4519987"/>
              <a:gd name="connsiteY88" fmla="*/ 1685925 h 4496940"/>
              <a:gd name="connsiteX89" fmla="*/ 87652 w 4519987"/>
              <a:gd name="connsiteY89" fmla="*/ 1638300 h 4496940"/>
              <a:gd name="connsiteX90" fmla="*/ 106702 w 4519987"/>
              <a:gd name="connsiteY90" fmla="*/ 1590675 h 4496940"/>
              <a:gd name="connsiteX91" fmla="*/ 135277 w 4519987"/>
              <a:gd name="connsiteY91" fmla="*/ 1504950 h 4496940"/>
              <a:gd name="connsiteX92" fmla="*/ 154327 w 4519987"/>
              <a:gd name="connsiteY92" fmla="*/ 1419225 h 4496940"/>
              <a:gd name="connsiteX93" fmla="*/ 230527 w 4519987"/>
              <a:gd name="connsiteY93" fmla="*/ 1276350 h 4496940"/>
              <a:gd name="connsiteX94" fmla="*/ 240052 w 4519987"/>
              <a:gd name="connsiteY94" fmla="*/ 1247775 h 4496940"/>
              <a:gd name="connsiteX95" fmla="*/ 268627 w 4519987"/>
              <a:gd name="connsiteY95" fmla="*/ 1200150 h 4496940"/>
              <a:gd name="connsiteX96" fmla="*/ 287677 w 4519987"/>
              <a:gd name="connsiteY96" fmla="*/ 1152525 h 4496940"/>
              <a:gd name="connsiteX97" fmla="*/ 316252 w 4519987"/>
              <a:gd name="connsiteY97" fmla="*/ 1114425 h 4496940"/>
              <a:gd name="connsiteX98" fmla="*/ 363877 w 4519987"/>
              <a:gd name="connsiteY98" fmla="*/ 1038225 h 4496940"/>
              <a:gd name="connsiteX99" fmla="*/ 382927 w 4519987"/>
              <a:gd name="connsiteY99" fmla="*/ 1009650 h 4496940"/>
              <a:gd name="connsiteX100" fmla="*/ 440077 w 4519987"/>
              <a:gd name="connsiteY100" fmla="*/ 904875 h 4496940"/>
              <a:gd name="connsiteX101" fmla="*/ 478177 w 4519987"/>
              <a:gd name="connsiteY101" fmla="*/ 857250 h 4496940"/>
              <a:gd name="connsiteX102" fmla="*/ 497227 w 4519987"/>
              <a:gd name="connsiteY102" fmla="*/ 828675 h 4496940"/>
              <a:gd name="connsiteX103" fmla="*/ 535327 w 4519987"/>
              <a:gd name="connsiteY103" fmla="*/ 800100 h 4496940"/>
              <a:gd name="connsiteX104" fmla="*/ 602002 w 4519987"/>
              <a:gd name="connsiteY104" fmla="*/ 733425 h 4496940"/>
              <a:gd name="connsiteX105" fmla="*/ 668677 w 4519987"/>
              <a:gd name="connsiteY105" fmla="*/ 676275 h 4496940"/>
              <a:gd name="connsiteX106" fmla="*/ 697252 w 4519987"/>
              <a:gd name="connsiteY106" fmla="*/ 657225 h 4496940"/>
              <a:gd name="connsiteX107" fmla="*/ 840127 w 4519987"/>
              <a:gd name="connsiteY107" fmla="*/ 533400 h 4496940"/>
              <a:gd name="connsiteX108" fmla="*/ 887752 w 4519987"/>
              <a:gd name="connsiteY108" fmla="*/ 504825 h 4496940"/>
              <a:gd name="connsiteX109" fmla="*/ 1167152 w 4519987"/>
              <a:gd name="connsiteY109" fmla="*/ 311150 h 4496940"/>
              <a:gd name="connsiteX110" fmla="*/ 1268752 w 4519987"/>
              <a:gd name="connsiteY110" fmla="*/ 285750 h 4496940"/>
              <a:gd name="connsiteX111" fmla="*/ 1411627 w 4519987"/>
              <a:gd name="connsiteY111" fmla="*/ 190500 h 4496940"/>
              <a:gd name="connsiteX112" fmla="*/ 1449727 w 4519987"/>
              <a:gd name="connsiteY112" fmla="*/ 161925 h 4496940"/>
              <a:gd name="connsiteX113" fmla="*/ 1525927 w 4519987"/>
              <a:gd name="connsiteY113" fmla="*/ 152400 h 4496940"/>
              <a:gd name="connsiteX114" fmla="*/ 1583077 w 4519987"/>
              <a:gd name="connsiteY114" fmla="*/ 142875 h 4496940"/>
              <a:gd name="connsiteX115" fmla="*/ 1716427 w 4519987"/>
              <a:gd name="connsiteY115" fmla="*/ 123825 h 4496940"/>
              <a:gd name="connsiteX116" fmla="*/ 1811677 w 4519987"/>
              <a:gd name="connsiteY116" fmla="*/ 114300 h 4496940"/>
              <a:gd name="connsiteX117" fmla="*/ 1859302 w 4519987"/>
              <a:gd name="connsiteY117" fmla="*/ 104775 h 4496940"/>
              <a:gd name="connsiteX118" fmla="*/ 1916452 w 4519987"/>
              <a:gd name="connsiteY118" fmla="*/ 95250 h 4496940"/>
              <a:gd name="connsiteX119" fmla="*/ 2030752 w 4519987"/>
              <a:gd name="connsiteY119" fmla="*/ 66675 h 4496940"/>
              <a:gd name="connsiteX120" fmla="*/ 2097427 w 4519987"/>
              <a:gd name="connsiteY120" fmla="*/ 47625 h 4496940"/>
              <a:gd name="connsiteX121" fmla="*/ 2164102 w 4519987"/>
              <a:gd name="connsiteY121" fmla="*/ 38100 h 4496940"/>
              <a:gd name="connsiteX122" fmla="*/ 2392702 w 4519987"/>
              <a:gd name="connsiteY12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40427 w 4519987"/>
              <a:gd name="connsiteY37" fmla="*/ 426720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97502 w 4519987"/>
              <a:gd name="connsiteY42" fmla="*/ 4429125 h 4496940"/>
              <a:gd name="connsiteX43" fmla="*/ 2640352 w 4519987"/>
              <a:gd name="connsiteY43" fmla="*/ 4457700 h 4496940"/>
              <a:gd name="connsiteX44" fmla="*/ 2583202 w 4519987"/>
              <a:gd name="connsiteY44" fmla="*/ 4467225 h 4496940"/>
              <a:gd name="connsiteX45" fmla="*/ 2545102 w 4519987"/>
              <a:gd name="connsiteY45" fmla="*/ 4486275 h 4496940"/>
              <a:gd name="connsiteX46" fmla="*/ 2306977 w 4519987"/>
              <a:gd name="connsiteY46" fmla="*/ 4476750 h 4496940"/>
              <a:gd name="connsiteX47" fmla="*/ 2202202 w 4519987"/>
              <a:gd name="connsiteY47" fmla="*/ 4457700 h 4496940"/>
              <a:gd name="connsiteX48" fmla="*/ 2126002 w 4519987"/>
              <a:gd name="connsiteY48" fmla="*/ 4429125 h 4496940"/>
              <a:gd name="connsiteX49" fmla="*/ 1935502 w 4519987"/>
              <a:gd name="connsiteY49" fmla="*/ 4400550 h 4496940"/>
              <a:gd name="connsiteX50" fmla="*/ 1821202 w 4519987"/>
              <a:gd name="connsiteY50" fmla="*/ 4371975 h 4496940"/>
              <a:gd name="connsiteX51" fmla="*/ 1754527 w 4519987"/>
              <a:gd name="connsiteY51" fmla="*/ 4352925 h 4496940"/>
              <a:gd name="connsiteX52" fmla="*/ 1687852 w 4519987"/>
              <a:gd name="connsiteY52" fmla="*/ 4343400 h 4496940"/>
              <a:gd name="connsiteX53" fmla="*/ 1573552 w 4519987"/>
              <a:gd name="connsiteY53" fmla="*/ 4305300 h 4496940"/>
              <a:gd name="connsiteX54" fmla="*/ 1402102 w 4519987"/>
              <a:gd name="connsiteY54" fmla="*/ 4276725 h 4496940"/>
              <a:gd name="connsiteX55" fmla="*/ 1287802 w 4519987"/>
              <a:gd name="connsiteY55" fmla="*/ 4229100 h 4496940"/>
              <a:gd name="connsiteX56" fmla="*/ 1221127 w 4519987"/>
              <a:gd name="connsiteY56" fmla="*/ 4200525 h 4496940"/>
              <a:gd name="connsiteX57" fmla="*/ 1144927 w 4519987"/>
              <a:gd name="connsiteY57" fmla="*/ 4171950 h 4496940"/>
              <a:gd name="connsiteX58" fmla="*/ 1087777 w 4519987"/>
              <a:gd name="connsiteY58" fmla="*/ 4143375 h 4496940"/>
              <a:gd name="connsiteX59" fmla="*/ 1030627 w 4519987"/>
              <a:gd name="connsiteY59" fmla="*/ 4124325 h 4496940"/>
              <a:gd name="connsiteX60" fmla="*/ 925852 w 4519987"/>
              <a:gd name="connsiteY60" fmla="*/ 4067175 h 4496940"/>
              <a:gd name="connsiteX61" fmla="*/ 830602 w 4519987"/>
              <a:gd name="connsiteY61" fmla="*/ 3981450 h 4496940"/>
              <a:gd name="connsiteX62" fmla="*/ 763927 w 4519987"/>
              <a:gd name="connsiteY62" fmla="*/ 3914775 h 4496940"/>
              <a:gd name="connsiteX63" fmla="*/ 725827 w 4519987"/>
              <a:gd name="connsiteY63" fmla="*/ 3876675 h 4496940"/>
              <a:gd name="connsiteX64" fmla="*/ 697252 w 4519987"/>
              <a:gd name="connsiteY64" fmla="*/ 3838575 h 4496940"/>
              <a:gd name="connsiteX65" fmla="*/ 640102 w 4519987"/>
              <a:gd name="connsiteY65" fmla="*/ 3781425 h 4496940"/>
              <a:gd name="connsiteX66" fmla="*/ 611527 w 4519987"/>
              <a:gd name="connsiteY66" fmla="*/ 3733800 h 4496940"/>
              <a:gd name="connsiteX67" fmla="*/ 554377 w 4519987"/>
              <a:gd name="connsiteY67" fmla="*/ 3657600 h 4496940"/>
              <a:gd name="connsiteX68" fmla="*/ 525802 w 4519987"/>
              <a:gd name="connsiteY68" fmla="*/ 3609975 h 4496940"/>
              <a:gd name="connsiteX69" fmla="*/ 497227 w 4519987"/>
              <a:gd name="connsiteY69" fmla="*/ 3552825 h 4496940"/>
              <a:gd name="connsiteX70" fmla="*/ 440077 w 4519987"/>
              <a:gd name="connsiteY70" fmla="*/ 3495675 h 4496940"/>
              <a:gd name="connsiteX71" fmla="*/ 411502 w 4519987"/>
              <a:gd name="connsiteY71" fmla="*/ 3448050 h 4496940"/>
              <a:gd name="connsiteX72" fmla="*/ 278152 w 4519987"/>
              <a:gd name="connsiteY72" fmla="*/ 3257550 h 4496940"/>
              <a:gd name="connsiteX73" fmla="*/ 249577 w 4519987"/>
              <a:gd name="connsiteY73" fmla="*/ 3200400 h 4496940"/>
              <a:gd name="connsiteX74" fmla="*/ 240052 w 4519987"/>
              <a:gd name="connsiteY74" fmla="*/ 3162300 h 4496940"/>
              <a:gd name="connsiteX75" fmla="*/ 221002 w 4519987"/>
              <a:gd name="connsiteY75" fmla="*/ 3105150 h 4496940"/>
              <a:gd name="connsiteX76" fmla="*/ 173377 w 4519987"/>
              <a:gd name="connsiteY76" fmla="*/ 3019425 h 4496940"/>
              <a:gd name="connsiteX77" fmla="*/ 144802 w 4519987"/>
              <a:gd name="connsiteY77" fmla="*/ 2924175 h 4496940"/>
              <a:gd name="connsiteX78" fmla="*/ 68602 w 4519987"/>
              <a:gd name="connsiteY78" fmla="*/ 2724150 h 4496940"/>
              <a:gd name="connsiteX79" fmla="*/ 49552 w 4519987"/>
              <a:gd name="connsiteY79" fmla="*/ 2638425 h 4496940"/>
              <a:gd name="connsiteX80" fmla="*/ 40027 w 4519987"/>
              <a:gd name="connsiteY80" fmla="*/ 2562225 h 4496940"/>
              <a:gd name="connsiteX81" fmla="*/ 30502 w 4519987"/>
              <a:gd name="connsiteY81" fmla="*/ 2514600 h 4496940"/>
              <a:gd name="connsiteX82" fmla="*/ 11452 w 4519987"/>
              <a:gd name="connsiteY82" fmla="*/ 2400300 h 4496940"/>
              <a:gd name="connsiteX83" fmla="*/ 20977 w 4519987"/>
              <a:gd name="connsiteY83" fmla="*/ 1905000 h 4496940"/>
              <a:gd name="connsiteX84" fmla="*/ 30502 w 4519987"/>
              <a:gd name="connsiteY84" fmla="*/ 1838325 h 4496940"/>
              <a:gd name="connsiteX85" fmla="*/ 49552 w 4519987"/>
              <a:gd name="connsiteY85" fmla="*/ 1781175 h 4496940"/>
              <a:gd name="connsiteX86" fmla="*/ 59077 w 4519987"/>
              <a:gd name="connsiteY86" fmla="*/ 1743075 h 4496940"/>
              <a:gd name="connsiteX87" fmla="*/ 78127 w 4519987"/>
              <a:gd name="connsiteY87" fmla="*/ 1685925 h 4496940"/>
              <a:gd name="connsiteX88" fmla="*/ 87652 w 4519987"/>
              <a:gd name="connsiteY88" fmla="*/ 1638300 h 4496940"/>
              <a:gd name="connsiteX89" fmla="*/ 106702 w 4519987"/>
              <a:gd name="connsiteY89" fmla="*/ 1590675 h 4496940"/>
              <a:gd name="connsiteX90" fmla="*/ 135277 w 4519987"/>
              <a:gd name="connsiteY90" fmla="*/ 1504950 h 4496940"/>
              <a:gd name="connsiteX91" fmla="*/ 154327 w 4519987"/>
              <a:gd name="connsiteY91" fmla="*/ 1419225 h 4496940"/>
              <a:gd name="connsiteX92" fmla="*/ 230527 w 4519987"/>
              <a:gd name="connsiteY92" fmla="*/ 1276350 h 4496940"/>
              <a:gd name="connsiteX93" fmla="*/ 240052 w 4519987"/>
              <a:gd name="connsiteY93" fmla="*/ 1247775 h 4496940"/>
              <a:gd name="connsiteX94" fmla="*/ 268627 w 4519987"/>
              <a:gd name="connsiteY94" fmla="*/ 1200150 h 4496940"/>
              <a:gd name="connsiteX95" fmla="*/ 287677 w 4519987"/>
              <a:gd name="connsiteY95" fmla="*/ 1152525 h 4496940"/>
              <a:gd name="connsiteX96" fmla="*/ 316252 w 4519987"/>
              <a:gd name="connsiteY96" fmla="*/ 1114425 h 4496940"/>
              <a:gd name="connsiteX97" fmla="*/ 363877 w 4519987"/>
              <a:gd name="connsiteY97" fmla="*/ 1038225 h 4496940"/>
              <a:gd name="connsiteX98" fmla="*/ 382927 w 4519987"/>
              <a:gd name="connsiteY98" fmla="*/ 1009650 h 4496940"/>
              <a:gd name="connsiteX99" fmla="*/ 440077 w 4519987"/>
              <a:gd name="connsiteY99" fmla="*/ 904875 h 4496940"/>
              <a:gd name="connsiteX100" fmla="*/ 478177 w 4519987"/>
              <a:gd name="connsiteY100" fmla="*/ 857250 h 4496940"/>
              <a:gd name="connsiteX101" fmla="*/ 497227 w 4519987"/>
              <a:gd name="connsiteY101" fmla="*/ 828675 h 4496940"/>
              <a:gd name="connsiteX102" fmla="*/ 535327 w 4519987"/>
              <a:gd name="connsiteY102" fmla="*/ 800100 h 4496940"/>
              <a:gd name="connsiteX103" fmla="*/ 602002 w 4519987"/>
              <a:gd name="connsiteY103" fmla="*/ 733425 h 4496940"/>
              <a:gd name="connsiteX104" fmla="*/ 668677 w 4519987"/>
              <a:gd name="connsiteY104" fmla="*/ 676275 h 4496940"/>
              <a:gd name="connsiteX105" fmla="*/ 697252 w 4519987"/>
              <a:gd name="connsiteY105" fmla="*/ 657225 h 4496940"/>
              <a:gd name="connsiteX106" fmla="*/ 840127 w 4519987"/>
              <a:gd name="connsiteY106" fmla="*/ 533400 h 4496940"/>
              <a:gd name="connsiteX107" fmla="*/ 887752 w 4519987"/>
              <a:gd name="connsiteY107" fmla="*/ 504825 h 4496940"/>
              <a:gd name="connsiteX108" fmla="*/ 1167152 w 4519987"/>
              <a:gd name="connsiteY108" fmla="*/ 311150 h 4496940"/>
              <a:gd name="connsiteX109" fmla="*/ 1268752 w 4519987"/>
              <a:gd name="connsiteY109" fmla="*/ 285750 h 4496940"/>
              <a:gd name="connsiteX110" fmla="*/ 1411627 w 4519987"/>
              <a:gd name="connsiteY110" fmla="*/ 190500 h 4496940"/>
              <a:gd name="connsiteX111" fmla="*/ 1449727 w 4519987"/>
              <a:gd name="connsiteY111" fmla="*/ 161925 h 4496940"/>
              <a:gd name="connsiteX112" fmla="*/ 1525927 w 4519987"/>
              <a:gd name="connsiteY112" fmla="*/ 152400 h 4496940"/>
              <a:gd name="connsiteX113" fmla="*/ 1583077 w 4519987"/>
              <a:gd name="connsiteY113" fmla="*/ 142875 h 4496940"/>
              <a:gd name="connsiteX114" fmla="*/ 1716427 w 4519987"/>
              <a:gd name="connsiteY114" fmla="*/ 123825 h 4496940"/>
              <a:gd name="connsiteX115" fmla="*/ 1811677 w 4519987"/>
              <a:gd name="connsiteY115" fmla="*/ 114300 h 4496940"/>
              <a:gd name="connsiteX116" fmla="*/ 1859302 w 4519987"/>
              <a:gd name="connsiteY116" fmla="*/ 104775 h 4496940"/>
              <a:gd name="connsiteX117" fmla="*/ 1916452 w 4519987"/>
              <a:gd name="connsiteY117" fmla="*/ 95250 h 4496940"/>
              <a:gd name="connsiteX118" fmla="*/ 2030752 w 4519987"/>
              <a:gd name="connsiteY118" fmla="*/ 66675 h 4496940"/>
              <a:gd name="connsiteX119" fmla="*/ 2097427 w 4519987"/>
              <a:gd name="connsiteY119" fmla="*/ 47625 h 4496940"/>
              <a:gd name="connsiteX120" fmla="*/ 2164102 w 4519987"/>
              <a:gd name="connsiteY120" fmla="*/ 38100 h 4496940"/>
              <a:gd name="connsiteX121" fmla="*/ 2392702 w 4519987"/>
              <a:gd name="connsiteY12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21377 w 4519987"/>
              <a:gd name="connsiteY37" fmla="*/ 422275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97502 w 4519987"/>
              <a:gd name="connsiteY42" fmla="*/ 4429125 h 4496940"/>
              <a:gd name="connsiteX43" fmla="*/ 2640352 w 4519987"/>
              <a:gd name="connsiteY43" fmla="*/ 4457700 h 4496940"/>
              <a:gd name="connsiteX44" fmla="*/ 2583202 w 4519987"/>
              <a:gd name="connsiteY44" fmla="*/ 4467225 h 4496940"/>
              <a:gd name="connsiteX45" fmla="*/ 2545102 w 4519987"/>
              <a:gd name="connsiteY45" fmla="*/ 4486275 h 4496940"/>
              <a:gd name="connsiteX46" fmla="*/ 2306977 w 4519987"/>
              <a:gd name="connsiteY46" fmla="*/ 4476750 h 4496940"/>
              <a:gd name="connsiteX47" fmla="*/ 2202202 w 4519987"/>
              <a:gd name="connsiteY47" fmla="*/ 4457700 h 4496940"/>
              <a:gd name="connsiteX48" fmla="*/ 2126002 w 4519987"/>
              <a:gd name="connsiteY48" fmla="*/ 4429125 h 4496940"/>
              <a:gd name="connsiteX49" fmla="*/ 1935502 w 4519987"/>
              <a:gd name="connsiteY49" fmla="*/ 4400550 h 4496940"/>
              <a:gd name="connsiteX50" fmla="*/ 1821202 w 4519987"/>
              <a:gd name="connsiteY50" fmla="*/ 4371975 h 4496940"/>
              <a:gd name="connsiteX51" fmla="*/ 1754527 w 4519987"/>
              <a:gd name="connsiteY51" fmla="*/ 4352925 h 4496940"/>
              <a:gd name="connsiteX52" fmla="*/ 1687852 w 4519987"/>
              <a:gd name="connsiteY52" fmla="*/ 4343400 h 4496940"/>
              <a:gd name="connsiteX53" fmla="*/ 1573552 w 4519987"/>
              <a:gd name="connsiteY53" fmla="*/ 4305300 h 4496940"/>
              <a:gd name="connsiteX54" fmla="*/ 1402102 w 4519987"/>
              <a:gd name="connsiteY54" fmla="*/ 4276725 h 4496940"/>
              <a:gd name="connsiteX55" fmla="*/ 1287802 w 4519987"/>
              <a:gd name="connsiteY55" fmla="*/ 4229100 h 4496940"/>
              <a:gd name="connsiteX56" fmla="*/ 1221127 w 4519987"/>
              <a:gd name="connsiteY56" fmla="*/ 4200525 h 4496940"/>
              <a:gd name="connsiteX57" fmla="*/ 1144927 w 4519987"/>
              <a:gd name="connsiteY57" fmla="*/ 4171950 h 4496940"/>
              <a:gd name="connsiteX58" fmla="*/ 1087777 w 4519987"/>
              <a:gd name="connsiteY58" fmla="*/ 4143375 h 4496940"/>
              <a:gd name="connsiteX59" fmla="*/ 1030627 w 4519987"/>
              <a:gd name="connsiteY59" fmla="*/ 4124325 h 4496940"/>
              <a:gd name="connsiteX60" fmla="*/ 925852 w 4519987"/>
              <a:gd name="connsiteY60" fmla="*/ 4067175 h 4496940"/>
              <a:gd name="connsiteX61" fmla="*/ 830602 w 4519987"/>
              <a:gd name="connsiteY61" fmla="*/ 3981450 h 4496940"/>
              <a:gd name="connsiteX62" fmla="*/ 763927 w 4519987"/>
              <a:gd name="connsiteY62" fmla="*/ 3914775 h 4496940"/>
              <a:gd name="connsiteX63" fmla="*/ 725827 w 4519987"/>
              <a:gd name="connsiteY63" fmla="*/ 3876675 h 4496940"/>
              <a:gd name="connsiteX64" fmla="*/ 697252 w 4519987"/>
              <a:gd name="connsiteY64" fmla="*/ 3838575 h 4496940"/>
              <a:gd name="connsiteX65" fmla="*/ 640102 w 4519987"/>
              <a:gd name="connsiteY65" fmla="*/ 3781425 h 4496940"/>
              <a:gd name="connsiteX66" fmla="*/ 611527 w 4519987"/>
              <a:gd name="connsiteY66" fmla="*/ 3733800 h 4496940"/>
              <a:gd name="connsiteX67" fmla="*/ 554377 w 4519987"/>
              <a:gd name="connsiteY67" fmla="*/ 3657600 h 4496940"/>
              <a:gd name="connsiteX68" fmla="*/ 525802 w 4519987"/>
              <a:gd name="connsiteY68" fmla="*/ 3609975 h 4496940"/>
              <a:gd name="connsiteX69" fmla="*/ 497227 w 4519987"/>
              <a:gd name="connsiteY69" fmla="*/ 3552825 h 4496940"/>
              <a:gd name="connsiteX70" fmla="*/ 440077 w 4519987"/>
              <a:gd name="connsiteY70" fmla="*/ 3495675 h 4496940"/>
              <a:gd name="connsiteX71" fmla="*/ 411502 w 4519987"/>
              <a:gd name="connsiteY71" fmla="*/ 3448050 h 4496940"/>
              <a:gd name="connsiteX72" fmla="*/ 278152 w 4519987"/>
              <a:gd name="connsiteY72" fmla="*/ 3257550 h 4496940"/>
              <a:gd name="connsiteX73" fmla="*/ 249577 w 4519987"/>
              <a:gd name="connsiteY73" fmla="*/ 3200400 h 4496940"/>
              <a:gd name="connsiteX74" fmla="*/ 240052 w 4519987"/>
              <a:gd name="connsiteY74" fmla="*/ 3162300 h 4496940"/>
              <a:gd name="connsiteX75" fmla="*/ 221002 w 4519987"/>
              <a:gd name="connsiteY75" fmla="*/ 3105150 h 4496940"/>
              <a:gd name="connsiteX76" fmla="*/ 173377 w 4519987"/>
              <a:gd name="connsiteY76" fmla="*/ 3019425 h 4496940"/>
              <a:gd name="connsiteX77" fmla="*/ 144802 w 4519987"/>
              <a:gd name="connsiteY77" fmla="*/ 2924175 h 4496940"/>
              <a:gd name="connsiteX78" fmla="*/ 68602 w 4519987"/>
              <a:gd name="connsiteY78" fmla="*/ 2724150 h 4496940"/>
              <a:gd name="connsiteX79" fmla="*/ 49552 w 4519987"/>
              <a:gd name="connsiteY79" fmla="*/ 2638425 h 4496940"/>
              <a:gd name="connsiteX80" fmla="*/ 40027 w 4519987"/>
              <a:gd name="connsiteY80" fmla="*/ 2562225 h 4496940"/>
              <a:gd name="connsiteX81" fmla="*/ 30502 w 4519987"/>
              <a:gd name="connsiteY81" fmla="*/ 2514600 h 4496940"/>
              <a:gd name="connsiteX82" fmla="*/ 11452 w 4519987"/>
              <a:gd name="connsiteY82" fmla="*/ 2400300 h 4496940"/>
              <a:gd name="connsiteX83" fmla="*/ 20977 w 4519987"/>
              <a:gd name="connsiteY83" fmla="*/ 1905000 h 4496940"/>
              <a:gd name="connsiteX84" fmla="*/ 30502 w 4519987"/>
              <a:gd name="connsiteY84" fmla="*/ 1838325 h 4496940"/>
              <a:gd name="connsiteX85" fmla="*/ 49552 w 4519987"/>
              <a:gd name="connsiteY85" fmla="*/ 1781175 h 4496940"/>
              <a:gd name="connsiteX86" fmla="*/ 59077 w 4519987"/>
              <a:gd name="connsiteY86" fmla="*/ 1743075 h 4496940"/>
              <a:gd name="connsiteX87" fmla="*/ 78127 w 4519987"/>
              <a:gd name="connsiteY87" fmla="*/ 1685925 h 4496940"/>
              <a:gd name="connsiteX88" fmla="*/ 87652 w 4519987"/>
              <a:gd name="connsiteY88" fmla="*/ 1638300 h 4496940"/>
              <a:gd name="connsiteX89" fmla="*/ 106702 w 4519987"/>
              <a:gd name="connsiteY89" fmla="*/ 1590675 h 4496940"/>
              <a:gd name="connsiteX90" fmla="*/ 135277 w 4519987"/>
              <a:gd name="connsiteY90" fmla="*/ 1504950 h 4496940"/>
              <a:gd name="connsiteX91" fmla="*/ 154327 w 4519987"/>
              <a:gd name="connsiteY91" fmla="*/ 1419225 h 4496940"/>
              <a:gd name="connsiteX92" fmla="*/ 230527 w 4519987"/>
              <a:gd name="connsiteY92" fmla="*/ 1276350 h 4496940"/>
              <a:gd name="connsiteX93" fmla="*/ 240052 w 4519987"/>
              <a:gd name="connsiteY93" fmla="*/ 1247775 h 4496940"/>
              <a:gd name="connsiteX94" fmla="*/ 268627 w 4519987"/>
              <a:gd name="connsiteY94" fmla="*/ 1200150 h 4496940"/>
              <a:gd name="connsiteX95" fmla="*/ 287677 w 4519987"/>
              <a:gd name="connsiteY95" fmla="*/ 1152525 h 4496940"/>
              <a:gd name="connsiteX96" fmla="*/ 316252 w 4519987"/>
              <a:gd name="connsiteY96" fmla="*/ 1114425 h 4496940"/>
              <a:gd name="connsiteX97" fmla="*/ 363877 w 4519987"/>
              <a:gd name="connsiteY97" fmla="*/ 1038225 h 4496940"/>
              <a:gd name="connsiteX98" fmla="*/ 382927 w 4519987"/>
              <a:gd name="connsiteY98" fmla="*/ 1009650 h 4496940"/>
              <a:gd name="connsiteX99" fmla="*/ 440077 w 4519987"/>
              <a:gd name="connsiteY99" fmla="*/ 904875 h 4496940"/>
              <a:gd name="connsiteX100" fmla="*/ 478177 w 4519987"/>
              <a:gd name="connsiteY100" fmla="*/ 857250 h 4496940"/>
              <a:gd name="connsiteX101" fmla="*/ 497227 w 4519987"/>
              <a:gd name="connsiteY101" fmla="*/ 828675 h 4496940"/>
              <a:gd name="connsiteX102" fmla="*/ 535327 w 4519987"/>
              <a:gd name="connsiteY102" fmla="*/ 800100 h 4496940"/>
              <a:gd name="connsiteX103" fmla="*/ 602002 w 4519987"/>
              <a:gd name="connsiteY103" fmla="*/ 733425 h 4496940"/>
              <a:gd name="connsiteX104" fmla="*/ 668677 w 4519987"/>
              <a:gd name="connsiteY104" fmla="*/ 676275 h 4496940"/>
              <a:gd name="connsiteX105" fmla="*/ 697252 w 4519987"/>
              <a:gd name="connsiteY105" fmla="*/ 657225 h 4496940"/>
              <a:gd name="connsiteX106" fmla="*/ 840127 w 4519987"/>
              <a:gd name="connsiteY106" fmla="*/ 533400 h 4496940"/>
              <a:gd name="connsiteX107" fmla="*/ 887752 w 4519987"/>
              <a:gd name="connsiteY107" fmla="*/ 504825 h 4496940"/>
              <a:gd name="connsiteX108" fmla="*/ 1167152 w 4519987"/>
              <a:gd name="connsiteY108" fmla="*/ 311150 h 4496940"/>
              <a:gd name="connsiteX109" fmla="*/ 1268752 w 4519987"/>
              <a:gd name="connsiteY109" fmla="*/ 285750 h 4496940"/>
              <a:gd name="connsiteX110" fmla="*/ 1411627 w 4519987"/>
              <a:gd name="connsiteY110" fmla="*/ 190500 h 4496940"/>
              <a:gd name="connsiteX111" fmla="*/ 1449727 w 4519987"/>
              <a:gd name="connsiteY111" fmla="*/ 161925 h 4496940"/>
              <a:gd name="connsiteX112" fmla="*/ 1525927 w 4519987"/>
              <a:gd name="connsiteY112" fmla="*/ 152400 h 4496940"/>
              <a:gd name="connsiteX113" fmla="*/ 1583077 w 4519987"/>
              <a:gd name="connsiteY113" fmla="*/ 142875 h 4496940"/>
              <a:gd name="connsiteX114" fmla="*/ 1716427 w 4519987"/>
              <a:gd name="connsiteY114" fmla="*/ 123825 h 4496940"/>
              <a:gd name="connsiteX115" fmla="*/ 1811677 w 4519987"/>
              <a:gd name="connsiteY115" fmla="*/ 114300 h 4496940"/>
              <a:gd name="connsiteX116" fmla="*/ 1859302 w 4519987"/>
              <a:gd name="connsiteY116" fmla="*/ 104775 h 4496940"/>
              <a:gd name="connsiteX117" fmla="*/ 1916452 w 4519987"/>
              <a:gd name="connsiteY117" fmla="*/ 95250 h 4496940"/>
              <a:gd name="connsiteX118" fmla="*/ 2030752 w 4519987"/>
              <a:gd name="connsiteY118" fmla="*/ 66675 h 4496940"/>
              <a:gd name="connsiteX119" fmla="*/ 2097427 w 4519987"/>
              <a:gd name="connsiteY119" fmla="*/ 47625 h 4496940"/>
              <a:gd name="connsiteX120" fmla="*/ 2164102 w 4519987"/>
              <a:gd name="connsiteY120" fmla="*/ 38100 h 4496940"/>
              <a:gd name="connsiteX121" fmla="*/ 2392702 w 4519987"/>
              <a:gd name="connsiteY12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21377 w 4519987"/>
              <a:gd name="connsiteY37" fmla="*/ 422275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40352 w 4519987"/>
              <a:gd name="connsiteY42" fmla="*/ 4457700 h 4496940"/>
              <a:gd name="connsiteX43" fmla="*/ 2583202 w 4519987"/>
              <a:gd name="connsiteY43" fmla="*/ 4467225 h 4496940"/>
              <a:gd name="connsiteX44" fmla="*/ 2545102 w 4519987"/>
              <a:gd name="connsiteY44" fmla="*/ 4486275 h 4496940"/>
              <a:gd name="connsiteX45" fmla="*/ 2306977 w 4519987"/>
              <a:gd name="connsiteY45" fmla="*/ 4476750 h 4496940"/>
              <a:gd name="connsiteX46" fmla="*/ 2202202 w 4519987"/>
              <a:gd name="connsiteY46" fmla="*/ 4457700 h 4496940"/>
              <a:gd name="connsiteX47" fmla="*/ 2126002 w 4519987"/>
              <a:gd name="connsiteY47" fmla="*/ 4429125 h 4496940"/>
              <a:gd name="connsiteX48" fmla="*/ 1935502 w 4519987"/>
              <a:gd name="connsiteY48" fmla="*/ 4400550 h 4496940"/>
              <a:gd name="connsiteX49" fmla="*/ 1821202 w 4519987"/>
              <a:gd name="connsiteY49" fmla="*/ 4371975 h 4496940"/>
              <a:gd name="connsiteX50" fmla="*/ 1754527 w 4519987"/>
              <a:gd name="connsiteY50" fmla="*/ 4352925 h 4496940"/>
              <a:gd name="connsiteX51" fmla="*/ 1687852 w 4519987"/>
              <a:gd name="connsiteY51" fmla="*/ 4343400 h 4496940"/>
              <a:gd name="connsiteX52" fmla="*/ 1573552 w 4519987"/>
              <a:gd name="connsiteY52" fmla="*/ 4305300 h 4496940"/>
              <a:gd name="connsiteX53" fmla="*/ 1402102 w 4519987"/>
              <a:gd name="connsiteY53" fmla="*/ 4276725 h 4496940"/>
              <a:gd name="connsiteX54" fmla="*/ 1287802 w 4519987"/>
              <a:gd name="connsiteY54" fmla="*/ 4229100 h 4496940"/>
              <a:gd name="connsiteX55" fmla="*/ 1221127 w 4519987"/>
              <a:gd name="connsiteY55" fmla="*/ 4200525 h 4496940"/>
              <a:gd name="connsiteX56" fmla="*/ 1144927 w 4519987"/>
              <a:gd name="connsiteY56" fmla="*/ 4171950 h 4496940"/>
              <a:gd name="connsiteX57" fmla="*/ 1087777 w 4519987"/>
              <a:gd name="connsiteY57" fmla="*/ 4143375 h 4496940"/>
              <a:gd name="connsiteX58" fmla="*/ 1030627 w 4519987"/>
              <a:gd name="connsiteY58" fmla="*/ 4124325 h 4496940"/>
              <a:gd name="connsiteX59" fmla="*/ 925852 w 4519987"/>
              <a:gd name="connsiteY59" fmla="*/ 4067175 h 4496940"/>
              <a:gd name="connsiteX60" fmla="*/ 830602 w 4519987"/>
              <a:gd name="connsiteY60" fmla="*/ 3981450 h 4496940"/>
              <a:gd name="connsiteX61" fmla="*/ 763927 w 4519987"/>
              <a:gd name="connsiteY61" fmla="*/ 3914775 h 4496940"/>
              <a:gd name="connsiteX62" fmla="*/ 725827 w 4519987"/>
              <a:gd name="connsiteY62" fmla="*/ 3876675 h 4496940"/>
              <a:gd name="connsiteX63" fmla="*/ 697252 w 4519987"/>
              <a:gd name="connsiteY63" fmla="*/ 3838575 h 4496940"/>
              <a:gd name="connsiteX64" fmla="*/ 640102 w 4519987"/>
              <a:gd name="connsiteY64" fmla="*/ 3781425 h 4496940"/>
              <a:gd name="connsiteX65" fmla="*/ 611527 w 4519987"/>
              <a:gd name="connsiteY65" fmla="*/ 3733800 h 4496940"/>
              <a:gd name="connsiteX66" fmla="*/ 554377 w 4519987"/>
              <a:gd name="connsiteY66" fmla="*/ 3657600 h 4496940"/>
              <a:gd name="connsiteX67" fmla="*/ 525802 w 4519987"/>
              <a:gd name="connsiteY67" fmla="*/ 3609975 h 4496940"/>
              <a:gd name="connsiteX68" fmla="*/ 497227 w 4519987"/>
              <a:gd name="connsiteY68" fmla="*/ 3552825 h 4496940"/>
              <a:gd name="connsiteX69" fmla="*/ 440077 w 4519987"/>
              <a:gd name="connsiteY69" fmla="*/ 3495675 h 4496940"/>
              <a:gd name="connsiteX70" fmla="*/ 411502 w 4519987"/>
              <a:gd name="connsiteY70" fmla="*/ 3448050 h 4496940"/>
              <a:gd name="connsiteX71" fmla="*/ 278152 w 4519987"/>
              <a:gd name="connsiteY71" fmla="*/ 3257550 h 4496940"/>
              <a:gd name="connsiteX72" fmla="*/ 249577 w 4519987"/>
              <a:gd name="connsiteY72" fmla="*/ 3200400 h 4496940"/>
              <a:gd name="connsiteX73" fmla="*/ 240052 w 4519987"/>
              <a:gd name="connsiteY73" fmla="*/ 3162300 h 4496940"/>
              <a:gd name="connsiteX74" fmla="*/ 221002 w 4519987"/>
              <a:gd name="connsiteY74" fmla="*/ 3105150 h 4496940"/>
              <a:gd name="connsiteX75" fmla="*/ 173377 w 4519987"/>
              <a:gd name="connsiteY75" fmla="*/ 3019425 h 4496940"/>
              <a:gd name="connsiteX76" fmla="*/ 144802 w 4519987"/>
              <a:gd name="connsiteY76" fmla="*/ 2924175 h 4496940"/>
              <a:gd name="connsiteX77" fmla="*/ 68602 w 4519987"/>
              <a:gd name="connsiteY77" fmla="*/ 2724150 h 4496940"/>
              <a:gd name="connsiteX78" fmla="*/ 49552 w 4519987"/>
              <a:gd name="connsiteY78" fmla="*/ 2638425 h 4496940"/>
              <a:gd name="connsiteX79" fmla="*/ 40027 w 4519987"/>
              <a:gd name="connsiteY79" fmla="*/ 2562225 h 4496940"/>
              <a:gd name="connsiteX80" fmla="*/ 30502 w 4519987"/>
              <a:gd name="connsiteY80" fmla="*/ 2514600 h 4496940"/>
              <a:gd name="connsiteX81" fmla="*/ 11452 w 4519987"/>
              <a:gd name="connsiteY81" fmla="*/ 2400300 h 4496940"/>
              <a:gd name="connsiteX82" fmla="*/ 20977 w 4519987"/>
              <a:gd name="connsiteY82" fmla="*/ 1905000 h 4496940"/>
              <a:gd name="connsiteX83" fmla="*/ 30502 w 4519987"/>
              <a:gd name="connsiteY83" fmla="*/ 1838325 h 4496940"/>
              <a:gd name="connsiteX84" fmla="*/ 49552 w 4519987"/>
              <a:gd name="connsiteY84" fmla="*/ 1781175 h 4496940"/>
              <a:gd name="connsiteX85" fmla="*/ 59077 w 4519987"/>
              <a:gd name="connsiteY85" fmla="*/ 1743075 h 4496940"/>
              <a:gd name="connsiteX86" fmla="*/ 78127 w 4519987"/>
              <a:gd name="connsiteY86" fmla="*/ 1685925 h 4496940"/>
              <a:gd name="connsiteX87" fmla="*/ 87652 w 4519987"/>
              <a:gd name="connsiteY87" fmla="*/ 1638300 h 4496940"/>
              <a:gd name="connsiteX88" fmla="*/ 106702 w 4519987"/>
              <a:gd name="connsiteY88" fmla="*/ 1590675 h 4496940"/>
              <a:gd name="connsiteX89" fmla="*/ 135277 w 4519987"/>
              <a:gd name="connsiteY89" fmla="*/ 1504950 h 4496940"/>
              <a:gd name="connsiteX90" fmla="*/ 154327 w 4519987"/>
              <a:gd name="connsiteY90" fmla="*/ 1419225 h 4496940"/>
              <a:gd name="connsiteX91" fmla="*/ 230527 w 4519987"/>
              <a:gd name="connsiteY91" fmla="*/ 1276350 h 4496940"/>
              <a:gd name="connsiteX92" fmla="*/ 240052 w 4519987"/>
              <a:gd name="connsiteY92" fmla="*/ 1247775 h 4496940"/>
              <a:gd name="connsiteX93" fmla="*/ 268627 w 4519987"/>
              <a:gd name="connsiteY93" fmla="*/ 1200150 h 4496940"/>
              <a:gd name="connsiteX94" fmla="*/ 287677 w 4519987"/>
              <a:gd name="connsiteY94" fmla="*/ 1152525 h 4496940"/>
              <a:gd name="connsiteX95" fmla="*/ 316252 w 4519987"/>
              <a:gd name="connsiteY95" fmla="*/ 1114425 h 4496940"/>
              <a:gd name="connsiteX96" fmla="*/ 363877 w 4519987"/>
              <a:gd name="connsiteY96" fmla="*/ 1038225 h 4496940"/>
              <a:gd name="connsiteX97" fmla="*/ 382927 w 4519987"/>
              <a:gd name="connsiteY97" fmla="*/ 1009650 h 4496940"/>
              <a:gd name="connsiteX98" fmla="*/ 440077 w 4519987"/>
              <a:gd name="connsiteY98" fmla="*/ 904875 h 4496940"/>
              <a:gd name="connsiteX99" fmla="*/ 478177 w 4519987"/>
              <a:gd name="connsiteY99" fmla="*/ 857250 h 4496940"/>
              <a:gd name="connsiteX100" fmla="*/ 497227 w 4519987"/>
              <a:gd name="connsiteY100" fmla="*/ 828675 h 4496940"/>
              <a:gd name="connsiteX101" fmla="*/ 535327 w 4519987"/>
              <a:gd name="connsiteY101" fmla="*/ 800100 h 4496940"/>
              <a:gd name="connsiteX102" fmla="*/ 602002 w 4519987"/>
              <a:gd name="connsiteY102" fmla="*/ 733425 h 4496940"/>
              <a:gd name="connsiteX103" fmla="*/ 668677 w 4519987"/>
              <a:gd name="connsiteY103" fmla="*/ 676275 h 4496940"/>
              <a:gd name="connsiteX104" fmla="*/ 697252 w 4519987"/>
              <a:gd name="connsiteY104" fmla="*/ 657225 h 4496940"/>
              <a:gd name="connsiteX105" fmla="*/ 840127 w 4519987"/>
              <a:gd name="connsiteY105" fmla="*/ 533400 h 4496940"/>
              <a:gd name="connsiteX106" fmla="*/ 887752 w 4519987"/>
              <a:gd name="connsiteY106" fmla="*/ 504825 h 4496940"/>
              <a:gd name="connsiteX107" fmla="*/ 1167152 w 4519987"/>
              <a:gd name="connsiteY107" fmla="*/ 311150 h 4496940"/>
              <a:gd name="connsiteX108" fmla="*/ 1268752 w 4519987"/>
              <a:gd name="connsiteY108" fmla="*/ 285750 h 4496940"/>
              <a:gd name="connsiteX109" fmla="*/ 1411627 w 4519987"/>
              <a:gd name="connsiteY109" fmla="*/ 190500 h 4496940"/>
              <a:gd name="connsiteX110" fmla="*/ 1449727 w 4519987"/>
              <a:gd name="connsiteY110" fmla="*/ 161925 h 4496940"/>
              <a:gd name="connsiteX111" fmla="*/ 1525927 w 4519987"/>
              <a:gd name="connsiteY111" fmla="*/ 152400 h 4496940"/>
              <a:gd name="connsiteX112" fmla="*/ 1583077 w 4519987"/>
              <a:gd name="connsiteY112" fmla="*/ 142875 h 4496940"/>
              <a:gd name="connsiteX113" fmla="*/ 1716427 w 4519987"/>
              <a:gd name="connsiteY113" fmla="*/ 123825 h 4496940"/>
              <a:gd name="connsiteX114" fmla="*/ 1811677 w 4519987"/>
              <a:gd name="connsiteY114" fmla="*/ 114300 h 4496940"/>
              <a:gd name="connsiteX115" fmla="*/ 1859302 w 4519987"/>
              <a:gd name="connsiteY115" fmla="*/ 104775 h 4496940"/>
              <a:gd name="connsiteX116" fmla="*/ 1916452 w 4519987"/>
              <a:gd name="connsiteY116" fmla="*/ 95250 h 4496940"/>
              <a:gd name="connsiteX117" fmla="*/ 2030752 w 4519987"/>
              <a:gd name="connsiteY117" fmla="*/ 66675 h 4496940"/>
              <a:gd name="connsiteX118" fmla="*/ 2097427 w 4519987"/>
              <a:gd name="connsiteY118" fmla="*/ 47625 h 4496940"/>
              <a:gd name="connsiteX119" fmla="*/ 2164102 w 4519987"/>
              <a:gd name="connsiteY119" fmla="*/ 38100 h 4496940"/>
              <a:gd name="connsiteX120" fmla="*/ 2392702 w 4519987"/>
              <a:gd name="connsiteY120" fmla="*/ 28575 h 4496940"/>
              <a:gd name="connsiteX0" fmla="*/ 2297452 w 4519987"/>
              <a:gd name="connsiteY0" fmla="*/ 0 h 4487372"/>
              <a:gd name="connsiteX1" fmla="*/ 2421277 w 4519987"/>
              <a:gd name="connsiteY1" fmla="*/ 28575 h 4487372"/>
              <a:gd name="connsiteX2" fmla="*/ 2497477 w 4519987"/>
              <a:gd name="connsiteY2" fmla="*/ 47625 h 4487372"/>
              <a:gd name="connsiteX3" fmla="*/ 2754652 w 4519987"/>
              <a:gd name="connsiteY3" fmla="*/ 66675 h 4487372"/>
              <a:gd name="connsiteX4" fmla="*/ 2830852 w 4519987"/>
              <a:gd name="connsiteY4" fmla="*/ 76200 h 4487372"/>
              <a:gd name="connsiteX5" fmla="*/ 2916577 w 4519987"/>
              <a:gd name="connsiteY5" fmla="*/ 85725 h 4487372"/>
              <a:gd name="connsiteX6" fmla="*/ 2973727 w 4519987"/>
              <a:gd name="connsiteY6" fmla="*/ 114300 h 4487372"/>
              <a:gd name="connsiteX7" fmla="*/ 3011827 w 4519987"/>
              <a:gd name="connsiteY7" fmla="*/ 123825 h 4487372"/>
              <a:gd name="connsiteX8" fmla="*/ 3135652 w 4519987"/>
              <a:gd name="connsiteY8" fmla="*/ 171450 h 4487372"/>
              <a:gd name="connsiteX9" fmla="*/ 3173752 w 4519987"/>
              <a:gd name="connsiteY9" fmla="*/ 190500 h 4487372"/>
              <a:gd name="connsiteX10" fmla="*/ 3240427 w 4519987"/>
              <a:gd name="connsiteY10" fmla="*/ 228600 h 4487372"/>
              <a:gd name="connsiteX11" fmla="*/ 3269002 w 4519987"/>
              <a:gd name="connsiteY11" fmla="*/ 238125 h 4487372"/>
              <a:gd name="connsiteX12" fmla="*/ 3297577 w 4519987"/>
              <a:gd name="connsiteY12" fmla="*/ 257175 h 4487372"/>
              <a:gd name="connsiteX13" fmla="*/ 3326152 w 4519987"/>
              <a:gd name="connsiteY13" fmla="*/ 266700 h 4487372"/>
              <a:gd name="connsiteX14" fmla="*/ 3354727 w 4519987"/>
              <a:gd name="connsiteY14" fmla="*/ 285750 h 4487372"/>
              <a:gd name="connsiteX15" fmla="*/ 3421402 w 4519987"/>
              <a:gd name="connsiteY15" fmla="*/ 323850 h 4487372"/>
              <a:gd name="connsiteX16" fmla="*/ 3469027 w 4519987"/>
              <a:gd name="connsiteY16" fmla="*/ 361950 h 4487372"/>
              <a:gd name="connsiteX17" fmla="*/ 3516652 w 4519987"/>
              <a:gd name="connsiteY17" fmla="*/ 390525 h 4487372"/>
              <a:gd name="connsiteX18" fmla="*/ 3630952 w 4519987"/>
              <a:gd name="connsiteY18" fmla="*/ 485775 h 4487372"/>
              <a:gd name="connsiteX19" fmla="*/ 3745252 w 4519987"/>
              <a:gd name="connsiteY19" fmla="*/ 542925 h 4487372"/>
              <a:gd name="connsiteX20" fmla="*/ 3811927 w 4519987"/>
              <a:gd name="connsiteY20" fmla="*/ 581025 h 4487372"/>
              <a:gd name="connsiteX21" fmla="*/ 4027827 w 4519987"/>
              <a:gd name="connsiteY21" fmla="*/ 819150 h 4487372"/>
              <a:gd name="connsiteX22" fmla="*/ 4164352 w 4519987"/>
              <a:gd name="connsiteY22" fmla="*/ 990600 h 4487372"/>
              <a:gd name="connsiteX23" fmla="*/ 4250077 w 4519987"/>
              <a:gd name="connsiteY23" fmla="*/ 1143000 h 4487372"/>
              <a:gd name="connsiteX24" fmla="*/ 4307227 w 4519987"/>
              <a:gd name="connsiteY24" fmla="*/ 1266825 h 4487372"/>
              <a:gd name="connsiteX25" fmla="*/ 4345327 w 4519987"/>
              <a:gd name="connsiteY25" fmla="*/ 1362075 h 4487372"/>
              <a:gd name="connsiteX26" fmla="*/ 4392952 w 4519987"/>
              <a:gd name="connsiteY26" fmla="*/ 1552575 h 4487372"/>
              <a:gd name="connsiteX27" fmla="*/ 4431052 w 4519987"/>
              <a:gd name="connsiteY27" fmla="*/ 1685925 h 4487372"/>
              <a:gd name="connsiteX28" fmla="*/ 4519952 w 4519987"/>
              <a:gd name="connsiteY28" fmla="*/ 2181225 h 4487372"/>
              <a:gd name="connsiteX29" fmla="*/ 4446927 w 4519987"/>
              <a:gd name="connsiteY29" fmla="*/ 2768600 h 4487372"/>
              <a:gd name="connsiteX30" fmla="*/ 4383427 w 4519987"/>
              <a:gd name="connsiteY30" fmla="*/ 2990850 h 4487372"/>
              <a:gd name="connsiteX31" fmla="*/ 4278652 w 4519987"/>
              <a:gd name="connsiteY31" fmla="*/ 3248025 h 4487372"/>
              <a:gd name="connsiteX32" fmla="*/ 4183402 w 4519987"/>
              <a:gd name="connsiteY32" fmla="*/ 3400425 h 4487372"/>
              <a:gd name="connsiteX33" fmla="*/ 4059577 w 4519987"/>
              <a:gd name="connsiteY33" fmla="*/ 3533775 h 4487372"/>
              <a:gd name="connsiteX34" fmla="*/ 3954802 w 4519987"/>
              <a:gd name="connsiteY34" fmla="*/ 3648075 h 4487372"/>
              <a:gd name="connsiteX35" fmla="*/ 3659527 w 4519987"/>
              <a:gd name="connsiteY35" fmla="*/ 3971925 h 4487372"/>
              <a:gd name="connsiteX36" fmla="*/ 3516652 w 4519987"/>
              <a:gd name="connsiteY36" fmla="*/ 4083050 h 4487372"/>
              <a:gd name="connsiteX37" fmla="*/ 3221377 w 4519987"/>
              <a:gd name="connsiteY37" fmla="*/ 4222750 h 4487372"/>
              <a:gd name="connsiteX38" fmla="*/ 3068977 w 4519987"/>
              <a:gd name="connsiteY38" fmla="*/ 4286250 h 4487372"/>
              <a:gd name="connsiteX39" fmla="*/ 2935627 w 4519987"/>
              <a:gd name="connsiteY39" fmla="*/ 4333875 h 4487372"/>
              <a:gd name="connsiteX40" fmla="*/ 2811802 w 4519987"/>
              <a:gd name="connsiteY40" fmla="*/ 4371975 h 4487372"/>
              <a:gd name="connsiteX41" fmla="*/ 2745127 w 4519987"/>
              <a:gd name="connsiteY41" fmla="*/ 4410075 h 4487372"/>
              <a:gd name="connsiteX42" fmla="*/ 2640352 w 4519987"/>
              <a:gd name="connsiteY42" fmla="*/ 4457700 h 4487372"/>
              <a:gd name="connsiteX43" fmla="*/ 2545102 w 4519987"/>
              <a:gd name="connsiteY43" fmla="*/ 4486275 h 4487372"/>
              <a:gd name="connsiteX44" fmla="*/ 2306977 w 4519987"/>
              <a:gd name="connsiteY44" fmla="*/ 4476750 h 4487372"/>
              <a:gd name="connsiteX45" fmla="*/ 2202202 w 4519987"/>
              <a:gd name="connsiteY45" fmla="*/ 4457700 h 4487372"/>
              <a:gd name="connsiteX46" fmla="*/ 2126002 w 4519987"/>
              <a:gd name="connsiteY46" fmla="*/ 4429125 h 4487372"/>
              <a:gd name="connsiteX47" fmla="*/ 1935502 w 4519987"/>
              <a:gd name="connsiteY47" fmla="*/ 4400550 h 4487372"/>
              <a:gd name="connsiteX48" fmla="*/ 1821202 w 4519987"/>
              <a:gd name="connsiteY48" fmla="*/ 4371975 h 4487372"/>
              <a:gd name="connsiteX49" fmla="*/ 1754527 w 4519987"/>
              <a:gd name="connsiteY49" fmla="*/ 4352925 h 4487372"/>
              <a:gd name="connsiteX50" fmla="*/ 1687852 w 4519987"/>
              <a:gd name="connsiteY50" fmla="*/ 4343400 h 4487372"/>
              <a:gd name="connsiteX51" fmla="*/ 1573552 w 4519987"/>
              <a:gd name="connsiteY51" fmla="*/ 4305300 h 4487372"/>
              <a:gd name="connsiteX52" fmla="*/ 1402102 w 4519987"/>
              <a:gd name="connsiteY52" fmla="*/ 4276725 h 4487372"/>
              <a:gd name="connsiteX53" fmla="*/ 1287802 w 4519987"/>
              <a:gd name="connsiteY53" fmla="*/ 4229100 h 4487372"/>
              <a:gd name="connsiteX54" fmla="*/ 1221127 w 4519987"/>
              <a:gd name="connsiteY54" fmla="*/ 4200525 h 4487372"/>
              <a:gd name="connsiteX55" fmla="*/ 1144927 w 4519987"/>
              <a:gd name="connsiteY55" fmla="*/ 4171950 h 4487372"/>
              <a:gd name="connsiteX56" fmla="*/ 1087777 w 4519987"/>
              <a:gd name="connsiteY56" fmla="*/ 4143375 h 4487372"/>
              <a:gd name="connsiteX57" fmla="*/ 1030627 w 4519987"/>
              <a:gd name="connsiteY57" fmla="*/ 4124325 h 4487372"/>
              <a:gd name="connsiteX58" fmla="*/ 925852 w 4519987"/>
              <a:gd name="connsiteY58" fmla="*/ 4067175 h 4487372"/>
              <a:gd name="connsiteX59" fmla="*/ 830602 w 4519987"/>
              <a:gd name="connsiteY59" fmla="*/ 3981450 h 4487372"/>
              <a:gd name="connsiteX60" fmla="*/ 763927 w 4519987"/>
              <a:gd name="connsiteY60" fmla="*/ 3914775 h 4487372"/>
              <a:gd name="connsiteX61" fmla="*/ 725827 w 4519987"/>
              <a:gd name="connsiteY61" fmla="*/ 3876675 h 4487372"/>
              <a:gd name="connsiteX62" fmla="*/ 697252 w 4519987"/>
              <a:gd name="connsiteY62" fmla="*/ 3838575 h 4487372"/>
              <a:gd name="connsiteX63" fmla="*/ 640102 w 4519987"/>
              <a:gd name="connsiteY63" fmla="*/ 3781425 h 4487372"/>
              <a:gd name="connsiteX64" fmla="*/ 611527 w 4519987"/>
              <a:gd name="connsiteY64" fmla="*/ 3733800 h 4487372"/>
              <a:gd name="connsiteX65" fmla="*/ 554377 w 4519987"/>
              <a:gd name="connsiteY65" fmla="*/ 3657600 h 4487372"/>
              <a:gd name="connsiteX66" fmla="*/ 525802 w 4519987"/>
              <a:gd name="connsiteY66" fmla="*/ 3609975 h 4487372"/>
              <a:gd name="connsiteX67" fmla="*/ 497227 w 4519987"/>
              <a:gd name="connsiteY67" fmla="*/ 3552825 h 4487372"/>
              <a:gd name="connsiteX68" fmla="*/ 440077 w 4519987"/>
              <a:gd name="connsiteY68" fmla="*/ 3495675 h 4487372"/>
              <a:gd name="connsiteX69" fmla="*/ 411502 w 4519987"/>
              <a:gd name="connsiteY69" fmla="*/ 3448050 h 4487372"/>
              <a:gd name="connsiteX70" fmla="*/ 278152 w 4519987"/>
              <a:gd name="connsiteY70" fmla="*/ 3257550 h 4487372"/>
              <a:gd name="connsiteX71" fmla="*/ 249577 w 4519987"/>
              <a:gd name="connsiteY71" fmla="*/ 3200400 h 4487372"/>
              <a:gd name="connsiteX72" fmla="*/ 240052 w 4519987"/>
              <a:gd name="connsiteY72" fmla="*/ 3162300 h 4487372"/>
              <a:gd name="connsiteX73" fmla="*/ 221002 w 4519987"/>
              <a:gd name="connsiteY73" fmla="*/ 3105150 h 4487372"/>
              <a:gd name="connsiteX74" fmla="*/ 173377 w 4519987"/>
              <a:gd name="connsiteY74" fmla="*/ 3019425 h 4487372"/>
              <a:gd name="connsiteX75" fmla="*/ 144802 w 4519987"/>
              <a:gd name="connsiteY75" fmla="*/ 2924175 h 4487372"/>
              <a:gd name="connsiteX76" fmla="*/ 68602 w 4519987"/>
              <a:gd name="connsiteY76" fmla="*/ 2724150 h 4487372"/>
              <a:gd name="connsiteX77" fmla="*/ 49552 w 4519987"/>
              <a:gd name="connsiteY77" fmla="*/ 2638425 h 4487372"/>
              <a:gd name="connsiteX78" fmla="*/ 40027 w 4519987"/>
              <a:gd name="connsiteY78" fmla="*/ 2562225 h 4487372"/>
              <a:gd name="connsiteX79" fmla="*/ 30502 w 4519987"/>
              <a:gd name="connsiteY79" fmla="*/ 2514600 h 4487372"/>
              <a:gd name="connsiteX80" fmla="*/ 11452 w 4519987"/>
              <a:gd name="connsiteY80" fmla="*/ 2400300 h 4487372"/>
              <a:gd name="connsiteX81" fmla="*/ 20977 w 4519987"/>
              <a:gd name="connsiteY81" fmla="*/ 1905000 h 4487372"/>
              <a:gd name="connsiteX82" fmla="*/ 30502 w 4519987"/>
              <a:gd name="connsiteY82" fmla="*/ 1838325 h 4487372"/>
              <a:gd name="connsiteX83" fmla="*/ 49552 w 4519987"/>
              <a:gd name="connsiteY83" fmla="*/ 1781175 h 4487372"/>
              <a:gd name="connsiteX84" fmla="*/ 59077 w 4519987"/>
              <a:gd name="connsiteY84" fmla="*/ 1743075 h 4487372"/>
              <a:gd name="connsiteX85" fmla="*/ 78127 w 4519987"/>
              <a:gd name="connsiteY85" fmla="*/ 1685925 h 4487372"/>
              <a:gd name="connsiteX86" fmla="*/ 87652 w 4519987"/>
              <a:gd name="connsiteY86" fmla="*/ 1638300 h 4487372"/>
              <a:gd name="connsiteX87" fmla="*/ 106702 w 4519987"/>
              <a:gd name="connsiteY87" fmla="*/ 1590675 h 4487372"/>
              <a:gd name="connsiteX88" fmla="*/ 135277 w 4519987"/>
              <a:gd name="connsiteY88" fmla="*/ 1504950 h 4487372"/>
              <a:gd name="connsiteX89" fmla="*/ 154327 w 4519987"/>
              <a:gd name="connsiteY89" fmla="*/ 1419225 h 4487372"/>
              <a:gd name="connsiteX90" fmla="*/ 230527 w 4519987"/>
              <a:gd name="connsiteY90" fmla="*/ 1276350 h 4487372"/>
              <a:gd name="connsiteX91" fmla="*/ 240052 w 4519987"/>
              <a:gd name="connsiteY91" fmla="*/ 1247775 h 4487372"/>
              <a:gd name="connsiteX92" fmla="*/ 268627 w 4519987"/>
              <a:gd name="connsiteY92" fmla="*/ 1200150 h 4487372"/>
              <a:gd name="connsiteX93" fmla="*/ 287677 w 4519987"/>
              <a:gd name="connsiteY93" fmla="*/ 1152525 h 4487372"/>
              <a:gd name="connsiteX94" fmla="*/ 316252 w 4519987"/>
              <a:gd name="connsiteY94" fmla="*/ 1114425 h 4487372"/>
              <a:gd name="connsiteX95" fmla="*/ 363877 w 4519987"/>
              <a:gd name="connsiteY95" fmla="*/ 1038225 h 4487372"/>
              <a:gd name="connsiteX96" fmla="*/ 382927 w 4519987"/>
              <a:gd name="connsiteY96" fmla="*/ 1009650 h 4487372"/>
              <a:gd name="connsiteX97" fmla="*/ 440077 w 4519987"/>
              <a:gd name="connsiteY97" fmla="*/ 904875 h 4487372"/>
              <a:gd name="connsiteX98" fmla="*/ 478177 w 4519987"/>
              <a:gd name="connsiteY98" fmla="*/ 857250 h 4487372"/>
              <a:gd name="connsiteX99" fmla="*/ 497227 w 4519987"/>
              <a:gd name="connsiteY99" fmla="*/ 828675 h 4487372"/>
              <a:gd name="connsiteX100" fmla="*/ 535327 w 4519987"/>
              <a:gd name="connsiteY100" fmla="*/ 800100 h 4487372"/>
              <a:gd name="connsiteX101" fmla="*/ 602002 w 4519987"/>
              <a:gd name="connsiteY101" fmla="*/ 733425 h 4487372"/>
              <a:gd name="connsiteX102" fmla="*/ 668677 w 4519987"/>
              <a:gd name="connsiteY102" fmla="*/ 676275 h 4487372"/>
              <a:gd name="connsiteX103" fmla="*/ 697252 w 4519987"/>
              <a:gd name="connsiteY103" fmla="*/ 657225 h 4487372"/>
              <a:gd name="connsiteX104" fmla="*/ 840127 w 4519987"/>
              <a:gd name="connsiteY104" fmla="*/ 533400 h 4487372"/>
              <a:gd name="connsiteX105" fmla="*/ 887752 w 4519987"/>
              <a:gd name="connsiteY105" fmla="*/ 504825 h 4487372"/>
              <a:gd name="connsiteX106" fmla="*/ 1167152 w 4519987"/>
              <a:gd name="connsiteY106" fmla="*/ 311150 h 4487372"/>
              <a:gd name="connsiteX107" fmla="*/ 1268752 w 4519987"/>
              <a:gd name="connsiteY107" fmla="*/ 285750 h 4487372"/>
              <a:gd name="connsiteX108" fmla="*/ 1411627 w 4519987"/>
              <a:gd name="connsiteY108" fmla="*/ 190500 h 4487372"/>
              <a:gd name="connsiteX109" fmla="*/ 1449727 w 4519987"/>
              <a:gd name="connsiteY109" fmla="*/ 161925 h 4487372"/>
              <a:gd name="connsiteX110" fmla="*/ 1525927 w 4519987"/>
              <a:gd name="connsiteY110" fmla="*/ 152400 h 4487372"/>
              <a:gd name="connsiteX111" fmla="*/ 1583077 w 4519987"/>
              <a:gd name="connsiteY111" fmla="*/ 142875 h 4487372"/>
              <a:gd name="connsiteX112" fmla="*/ 1716427 w 4519987"/>
              <a:gd name="connsiteY112" fmla="*/ 123825 h 4487372"/>
              <a:gd name="connsiteX113" fmla="*/ 1811677 w 4519987"/>
              <a:gd name="connsiteY113" fmla="*/ 114300 h 4487372"/>
              <a:gd name="connsiteX114" fmla="*/ 1859302 w 4519987"/>
              <a:gd name="connsiteY114" fmla="*/ 104775 h 4487372"/>
              <a:gd name="connsiteX115" fmla="*/ 1916452 w 4519987"/>
              <a:gd name="connsiteY115" fmla="*/ 95250 h 4487372"/>
              <a:gd name="connsiteX116" fmla="*/ 2030752 w 4519987"/>
              <a:gd name="connsiteY116" fmla="*/ 66675 h 4487372"/>
              <a:gd name="connsiteX117" fmla="*/ 2097427 w 4519987"/>
              <a:gd name="connsiteY117" fmla="*/ 47625 h 4487372"/>
              <a:gd name="connsiteX118" fmla="*/ 2164102 w 4519987"/>
              <a:gd name="connsiteY118" fmla="*/ 38100 h 4487372"/>
              <a:gd name="connsiteX119" fmla="*/ 2392702 w 4519987"/>
              <a:gd name="connsiteY119" fmla="*/ 28575 h 4487372"/>
              <a:gd name="connsiteX0" fmla="*/ 2297452 w 4519987"/>
              <a:gd name="connsiteY0" fmla="*/ 0 h 4476750"/>
              <a:gd name="connsiteX1" fmla="*/ 2421277 w 4519987"/>
              <a:gd name="connsiteY1" fmla="*/ 28575 h 4476750"/>
              <a:gd name="connsiteX2" fmla="*/ 2497477 w 4519987"/>
              <a:gd name="connsiteY2" fmla="*/ 47625 h 4476750"/>
              <a:gd name="connsiteX3" fmla="*/ 2754652 w 4519987"/>
              <a:gd name="connsiteY3" fmla="*/ 66675 h 4476750"/>
              <a:gd name="connsiteX4" fmla="*/ 2830852 w 4519987"/>
              <a:gd name="connsiteY4" fmla="*/ 76200 h 4476750"/>
              <a:gd name="connsiteX5" fmla="*/ 2916577 w 4519987"/>
              <a:gd name="connsiteY5" fmla="*/ 85725 h 4476750"/>
              <a:gd name="connsiteX6" fmla="*/ 2973727 w 4519987"/>
              <a:gd name="connsiteY6" fmla="*/ 114300 h 4476750"/>
              <a:gd name="connsiteX7" fmla="*/ 3011827 w 4519987"/>
              <a:gd name="connsiteY7" fmla="*/ 123825 h 4476750"/>
              <a:gd name="connsiteX8" fmla="*/ 3135652 w 4519987"/>
              <a:gd name="connsiteY8" fmla="*/ 171450 h 4476750"/>
              <a:gd name="connsiteX9" fmla="*/ 3173752 w 4519987"/>
              <a:gd name="connsiteY9" fmla="*/ 190500 h 4476750"/>
              <a:gd name="connsiteX10" fmla="*/ 3240427 w 4519987"/>
              <a:gd name="connsiteY10" fmla="*/ 228600 h 4476750"/>
              <a:gd name="connsiteX11" fmla="*/ 3269002 w 4519987"/>
              <a:gd name="connsiteY11" fmla="*/ 238125 h 4476750"/>
              <a:gd name="connsiteX12" fmla="*/ 3297577 w 4519987"/>
              <a:gd name="connsiteY12" fmla="*/ 257175 h 4476750"/>
              <a:gd name="connsiteX13" fmla="*/ 3326152 w 4519987"/>
              <a:gd name="connsiteY13" fmla="*/ 266700 h 4476750"/>
              <a:gd name="connsiteX14" fmla="*/ 3354727 w 4519987"/>
              <a:gd name="connsiteY14" fmla="*/ 285750 h 4476750"/>
              <a:gd name="connsiteX15" fmla="*/ 3421402 w 4519987"/>
              <a:gd name="connsiteY15" fmla="*/ 323850 h 4476750"/>
              <a:gd name="connsiteX16" fmla="*/ 3469027 w 4519987"/>
              <a:gd name="connsiteY16" fmla="*/ 361950 h 4476750"/>
              <a:gd name="connsiteX17" fmla="*/ 3516652 w 4519987"/>
              <a:gd name="connsiteY17" fmla="*/ 390525 h 4476750"/>
              <a:gd name="connsiteX18" fmla="*/ 3630952 w 4519987"/>
              <a:gd name="connsiteY18" fmla="*/ 485775 h 4476750"/>
              <a:gd name="connsiteX19" fmla="*/ 3745252 w 4519987"/>
              <a:gd name="connsiteY19" fmla="*/ 542925 h 4476750"/>
              <a:gd name="connsiteX20" fmla="*/ 3811927 w 4519987"/>
              <a:gd name="connsiteY20" fmla="*/ 581025 h 4476750"/>
              <a:gd name="connsiteX21" fmla="*/ 4027827 w 4519987"/>
              <a:gd name="connsiteY21" fmla="*/ 819150 h 4476750"/>
              <a:gd name="connsiteX22" fmla="*/ 4164352 w 4519987"/>
              <a:gd name="connsiteY22" fmla="*/ 990600 h 4476750"/>
              <a:gd name="connsiteX23" fmla="*/ 4250077 w 4519987"/>
              <a:gd name="connsiteY23" fmla="*/ 1143000 h 4476750"/>
              <a:gd name="connsiteX24" fmla="*/ 4307227 w 4519987"/>
              <a:gd name="connsiteY24" fmla="*/ 1266825 h 4476750"/>
              <a:gd name="connsiteX25" fmla="*/ 4345327 w 4519987"/>
              <a:gd name="connsiteY25" fmla="*/ 1362075 h 4476750"/>
              <a:gd name="connsiteX26" fmla="*/ 4392952 w 4519987"/>
              <a:gd name="connsiteY26" fmla="*/ 1552575 h 4476750"/>
              <a:gd name="connsiteX27" fmla="*/ 4431052 w 4519987"/>
              <a:gd name="connsiteY27" fmla="*/ 1685925 h 4476750"/>
              <a:gd name="connsiteX28" fmla="*/ 4519952 w 4519987"/>
              <a:gd name="connsiteY28" fmla="*/ 2181225 h 4476750"/>
              <a:gd name="connsiteX29" fmla="*/ 4446927 w 4519987"/>
              <a:gd name="connsiteY29" fmla="*/ 2768600 h 4476750"/>
              <a:gd name="connsiteX30" fmla="*/ 4383427 w 4519987"/>
              <a:gd name="connsiteY30" fmla="*/ 2990850 h 4476750"/>
              <a:gd name="connsiteX31" fmla="*/ 4278652 w 4519987"/>
              <a:gd name="connsiteY31" fmla="*/ 3248025 h 4476750"/>
              <a:gd name="connsiteX32" fmla="*/ 4183402 w 4519987"/>
              <a:gd name="connsiteY32" fmla="*/ 3400425 h 4476750"/>
              <a:gd name="connsiteX33" fmla="*/ 4059577 w 4519987"/>
              <a:gd name="connsiteY33" fmla="*/ 3533775 h 4476750"/>
              <a:gd name="connsiteX34" fmla="*/ 3954802 w 4519987"/>
              <a:gd name="connsiteY34" fmla="*/ 3648075 h 4476750"/>
              <a:gd name="connsiteX35" fmla="*/ 3659527 w 4519987"/>
              <a:gd name="connsiteY35" fmla="*/ 3971925 h 4476750"/>
              <a:gd name="connsiteX36" fmla="*/ 3516652 w 4519987"/>
              <a:gd name="connsiteY36" fmla="*/ 4083050 h 4476750"/>
              <a:gd name="connsiteX37" fmla="*/ 3221377 w 4519987"/>
              <a:gd name="connsiteY37" fmla="*/ 4222750 h 4476750"/>
              <a:gd name="connsiteX38" fmla="*/ 3068977 w 4519987"/>
              <a:gd name="connsiteY38" fmla="*/ 4286250 h 4476750"/>
              <a:gd name="connsiteX39" fmla="*/ 2935627 w 4519987"/>
              <a:gd name="connsiteY39" fmla="*/ 4333875 h 4476750"/>
              <a:gd name="connsiteX40" fmla="*/ 2811802 w 4519987"/>
              <a:gd name="connsiteY40" fmla="*/ 4371975 h 4476750"/>
              <a:gd name="connsiteX41" fmla="*/ 2745127 w 4519987"/>
              <a:gd name="connsiteY41" fmla="*/ 4410075 h 4476750"/>
              <a:gd name="connsiteX42" fmla="*/ 2640352 w 4519987"/>
              <a:gd name="connsiteY42" fmla="*/ 4457700 h 4476750"/>
              <a:gd name="connsiteX43" fmla="*/ 2306977 w 4519987"/>
              <a:gd name="connsiteY43" fmla="*/ 4476750 h 4476750"/>
              <a:gd name="connsiteX44" fmla="*/ 2202202 w 4519987"/>
              <a:gd name="connsiteY44" fmla="*/ 4457700 h 4476750"/>
              <a:gd name="connsiteX45" fmla="*/ 2126002 w 4519987"/>
              <a:gd name="connsiteY45" fmla="*/ 4429125 h 4476750"/>
              <a:gd name="connsiteX46" fmla="*/ 1935502 w 4519987"/>
              <a:gd name="connsiteY46" fmla="*/ 4400550 h 4476750"/>
              <a:gd name="connsiteX47" fmla="*/ 1821202 w 4519987"/>
              <a:gd name="connsiteY47" fmla="*/ 4371975 h 4476750"/>
              <a:gd name="connsiteX48" fmla="*/ 1754527 w 4519987"/>
              <a:gd name="connsiteY48" fmla="*/ 4352925 h 4476750"/>
              <a:gd name="connsiteX49" fmla="*/ 1687852 w 4519987"/>
              <a:gd name="connsiteY49" fmla="*/ 4343400 h 4476750"/>
              <a:gd name="connsiteX50" fmla="*/ 1573552 w 4519987"/>
              <a:gd name="connsiteY50" fmla="*/ 4305300 h 4476750"/>
              <a:gd name="connsiteX51" fmla="*/ 1402102 w 4519987"/>
              <a:gd name="connsiteY51" fmla="*/ 4276725 h 4476750"/>
              <a:gd name="connsiteX52" fmla="*/ 1287802 w 4519987"/>
              <a:gd name="connsiteY52" fmla="*/ 4229100 h 4476750"/>
              <a:gd name="connsiteX53" fmla="*/ 1221127 w 4519987"/>
              <a:gd name="connsiteY53" fmla="*/ 4200525 h 4476750"/>
              <a:gd name="connsiteX54" fmla="*/ 1144927 w 4519987"/>
              <a:gd name="connsiteY54" fmla="*/ 4171950 h 4476750"/>
              <a:gd name="connsiteX55" fmla="*/ 1087777 w 4519987"/>
              <a:gd name="connsiteY55" fmla="*/ 4143375 h 4476750"/>
              <a:gd name="connsiteX56" fmla="*/ 1030627 w 4519987"/>
              <a:gd name="connsiteY56" fmla="*/ 4124325 h 4476750"/>
              <a:gd name="connsiteX57" fmla="*/ 925852 w 4519987"/>
              <a:gd name="connsiteY57" fmla="*/ 4067175 h 4476750"/>
              <a:gd name="connsiteX58" fmla="*/ 830602 w 4519987"/>
              <a:gd name="connsiteY58" fmla="*/ 3981450 h 4476750"/>
              <a:gd name="connsiteX59" fmla="*/ 763927 w 4519987"/>
              <a:gd name="connsiteY59" fmla="*/ 3914775 h 4476750"/>
              <a:gd name="connsiteX60" fmla="*/ 725827 w 4519987"/>
              <a:gd name="connsiteY60" fmla="*/ 3876675 h 4476750"/>
              <a:gd name="connsiteX61" fmla="*/ 697252 w 4519987"/>
              <a:gd name="connsiteY61" fmla="*/ 3838575 h 4476750"/>
              <a:gd name="connsiteX62" fmla="*/ 640102 w 4519987"/>
              <a:gd name="connsiteY62" fmla="*/ 3781425 h 4476750"/>
              <a:gd name="connsiteX63" fmla="*/ 611527 w 4519987"/>
              <a:gd name="connsiteY63" fmla="*/ 3733800 h 4476750"/>
              <a:gd name="connsiteX64" fmla="*/ 554377 w 4519987"/>
              <a:gd name="connsiteY64" fmla="*/ 3657600 h 4476750"/>
              <a:gd name="connsiteX65" fmla="*/ 525802 w 4519987"/>
              <a:gd name="connsiteY65" fmla="*/ 3609975 h 4476750"/>
              <a:gd name="connsiteX66" fmla="*/ 497227 w 4519987"/>
              <a:gd name="connsiteY66" fmla="*/ 3552825 h 4476750"/>
              <a:gd name="connsiteX67" fmla="*/ 440077 w 4519987"/>
              <a:gd name="connsiteY67" fmla="*/ 3495675 h 4476750"/>
              <a:gd name="connsiteX68" fmla="*/ 411502 w 4519987"/>
              <a:gd name="connsiteY68" fmla="*/ 3448050 h 4476750"/>
              <a:gd name="connsiteX69" fmla="*/ 278152 w 4519987"/>
              <a:gd name="connsiteY69" fmla="*/ 3257550 h 4476750"/>
              <a:gd name="connsiteX70" fmla="*/ 249577 w 4519987"/>
              <a:gd name="connsiteY70" fmla="*/ 3200400 h 4476750"/>
              <a:gd name="connsiteX71" fmla="*/ 240052 w 4519987"/>
              <a:gd name="connsiteY71" fmla="*/ 3162300 h 4476750"/>
              <a:gd name="connsiteX72" fmla="*/ 221002 w 4519987"/>
              <a:gd name="connsiteY72" fmla="*/ 3105150 h 4476750"/>
              <a:gd name="connsiteX73" fmla="*/ 173377 w 4519987"/>
              <a:gd name="connsiteY73" fmla="*/ 3019425 h 4476750"/>
              <a:gd name="connsiteX74" fmla="*/ 144802 w 4519987"/>
              <a:gd name="connsiteY74" fmla="*/ 2924175 h 4476750"/>
              <a:gd name="connsiteX75" fmla="*/ 68602 w 4519987"/>
              <a:gd name="connsiteY75" fmla="*/ 2724150 h 4476750"/>
              <a:gd name="connsiteX76" fmla="*/ 49552 w 4519987"/>
              <a:gd name="connsiteY76" fmla="*/ 2638425 h 4476750"/>
              <a:gd name="connsiteX77" fmla="*/ 40027 w 4519987"/>
              <a:gd name="connsiteY77" fmla="*/ 2562225 h 4476750"/>
              <a:gd name="connsiteX78" fmla="*/ 30502 w 4519987"/>
              <a:gd name="connsiteY78" fmla="*/ 2514600 h 4476750"/>
              <a:gd name="connsiteX79" fmla="*/ 11452 w 4519987"/>
              <a:gd name="connsiteY79" fmla="*/ 2400300 h 4476750"/>
              <a:gd name="connsiteX80" fmla="*/ 20977 w 4519987"/>
              <a:gd name="connsiteY80" fmla="*/ 1905000 h 4476750"/>
              <a:gd name="connsiteX81" fmla="*/ 30502 w 4519987"/>
              <a:gd name="connsiteY81" fmla="*/ 1838325 h 4476750"/>
              <a:gd name="connsiteX82" fmla="*/ 49552 w 4519987"/>
              <a:gd name="connsiteY82" fmla="*/ 1781175 h 4476750"/>
              <a:gd name="connsiteX83" fmla="*/ 59077 w 4519987"/>
              <a:gd name="connsiteY83" fmla="*/ 1743075 h 4476750"/>
              <a:gd name="connsiteX84" fmla="*/ 78127 w 4519987"/>
              <a:gd name="connsiteY84" fmla="*/ 1685925 h 4476750"/>
              <a:gd name="connsiteX85" fmla="*/ 87652 w 4519987"/>
              <a:gd name="connsiteY85" fmla="*/ 1638300 h 4476750"/>
              <a:gd name="connsiteX86" fmla="*/ 106702 w 4519987"/>
              <a:gd name="connsiteY86" fmla="*/ 1590675 h 4476750"/>
              <a:gd name="connsiteX87" fmla="*/ 135277 w 4519987"/>
              <a:gd name="connsiteY87" fmla="*/ 1504950 h 4476750"/>
              <a:gd name="connsiteX88" fmla="*/ 154327 w 4519987"/>
              <a:gd name="connsiteY88" fmla="*/ 1419225 h 4476750"/>
              <a:gd name="connsiteX89" fmla="*/ 230527 w 4519987"/>
              <a:gd name="connsiteY89" fmla="*/ 1276350 h 4476750"/>
              <a:gd name="connsiteX90" fmla="*/ 240052 w 4519987"/>
              <a:gd name="connsiteY90" fmla="*/ 1247775 h 4476750"/>
              <a:gd name="connsiteX91" fmla="*/ 268627 w 4519987"/>
              <a:gd name="connsiteY91" fmla="*/ 1200150 h 4476750"/>
              <a:gd name="connsiteX92" fmla="*/ 287677 w 4519987"/>
              <a:gd name="connsiteY92" fmla="*/ 1152525 h 4476750"/>
              <a:gd name="connsiteX93" fmla="*/ 316252 w 4519987"/>
              <a:gd name="connsiteY93" fmla="*/ 1114425 h 4476750"/>
              <a:gd name="connsiteX94" fmla="*/ 363877 w 4519987"/>
              <a:gd name="connsiteY94" fmla="*/ 1038225 h 4476750"/>
              <a:gd name="connsiteX95" fmla="*/ 382927 w 4519987"/>
              <a:gd name="connsiteY95" fmla="*/ 1009650 h 4476750"/>
              <a:gd name="connsiteX96" fmla="*/ 440077 w 4519987"/>
              <a:gd name="connsiteY96" fmla="*/ 904875 h 4476750"/>
              <a:gd name="connsiteX97" fmla="*/ 478177 w 4519987"/>
              <a:gd name="connsiteY97" fmla="*/ 857250 h 4476750"/>
              <a:gd name="connsiteX98" fmla="*/ 497227 w 4519987"/>
              <a:gd name="connsiteY98" fmla="*/ 828675 h 4476750"/>
              <a:gd name="connsiteX99" fmla="*/ 535327 w 4519987"/>
              <a:gd name="connsiteY99" fmla="*/ 800100 h 4476750"/>
              <a:gd name="connsiteX100" fmla="*/ 602002 w 4519987"/>
              <a:gd name="connsiteY100" fmla="*/ 733425 h 4476750"/>
              <a:gd name="connsiteX101" fmla="*/ 668677 w 4519987"/>
              <a:gd name="connsiteY101" fmla="*/ 676275 h 4476750"/>
              <a:gd name="connsiteX102" fmla="*/ 697252 w 4519987"/>
              <a:gd name="connsiteY102" fmla="*/ 657225 h 4476750"/>
              <a:gd name="connsiteX103" fmla="*/ 840127 w 4519987"/>
              <a:gd name="connsiteY103" fmla="*/ 533400 h 4476750"/>
              <a:gd name="connsiteX104" fmla="*/ 887752 w 4519987"/>
              <a:gd name="connsiteY104" fmla="*/ 504825 h 4476750"/>
              <a:gd name="connsiteX105" fmla="*/ 1167152 w 4519987"/>
              <a:gd name="connsiteY105" fmla="*/ 311150 h 4476750"/>
              <a:gd name="connsiteX106" fmla="*/ 1268752 w 4519987"/>
              <a:gd name="connsiteY106" fmla="*/ 285750 h 4476750"/>
              <a:gd name="connsiteX107" fmla="*/ 1411627 w 4519987"/>
              <a:gd name="connsiteY107" fmla="*/ 190500 h 4476750"/>
              <a:gd name="connsiteX108" fmla="*/ 1449727 w 4519987"/>
              <a:gd name="connsiteY108" fmla="*/ 161925 h 4476750"/>
              <a:gd name="connsiteX109" fmla="*/ 1525927 w 4519987"/>
              <a:gd name="connsiteY109" fmla="*/ 152400 h 4476750"/>
              <a:gd name="connsiteX110" fmla="*/ 1583077 w 4519987"/>
              <a:gd name="connsiteY110" fmla="*/ 142875 h 4476750"/>
              <a:gd name="connsiteX111" fmla="*/ 1716427 w 4519987"/>
              <a:gd name="connsiteY111" fmla="*/ 123825 h 4476750"/>
              <a:gd name="connsiteX112" fmla="*/ 1811677 w 4519987"/>
              <a:gd name="connsiteY112" fmla="*/ 114300 h 4476750"/>
              <a:gd name="connsiteX113" fmla="*/ 1859302 w 4519987"/>
              <a:gd name="connsiteY113" fmla="*/ 104775 h 4476750"/>
              <a:gd name="connsiteX114" fmla="*/ 1916452 w 4519987"/>
              <a:gd name="connsiteY114" fmla="*/ 95250 h 4476750"/>
              <a:gd name="connsiteX115" fmla="*/ 2030752 w 4519987"/>
              <a:gd name="connsiteY115" fmla="*/ 66675 h 4476750"/>
              <a:gd name="connsiteX116" fmla="*/ 2097427 w 4519987"/>
              <a:gd name="connsiteY116" fmla="*/ 47625 h 4476750"/>
              <a:gd name="connsiteX117" fmla="*/ 2164102 w 4519987"/>
              <a:gd name="connsiteY117" fmla="*/ 38100 h 4476750"/>
              <a:gd name="connsiteX118" fmla="*/ 2392702 w 4519987"/>
              <a:gd name="connsiteY118" fmla="*/ 28575 h 4476750"/>
              <a:gd name="connsiteX0" fmla="*/ 2297452 w 4519987"/>
              <a:gd name="connsiteY0" fmla="*/ 0 h 4478541"/>
              <a:gd name="connsiteX1" fmla="*/ 2421277 w 4519987"/>
              <a:gd name="connsiteY1" fmla="*/ 28575 h 4478541"/>
              <a:gd name="connsiteX2" fmla="*/ 2497477 w 4519987"/>
              <a:gd name="connsiteY2" fmla="*/ 47625 h 4478541"/>
              <a:gd name="connsiteX3" fmla="*/ 2754652 w 4519987"/>
              <a:gd name="connsiteY3" fmla="*/ 66675 h 4478541"/>
              <a:gd name="connsiteX4" fmla="*/ 2830852 w 4519987"/>
              <a:gd name="connsiteY4" fmla="*/ 76200 h 4478541"/>
              <a:gd name="connsiteX5" fmla="*/ 2916577 w 4519987"/>
              <a:gd name="connsiteY5" fmla="*/ 85725 h 4478541"/>
              <a:gd name="connsiteX6" fmla="*/ 2973727 w 4519987"/>
              <a:gd name="connsiteY6" fmla="*/ 114300 h 4478541"/>
              <a:gd name="connsiteX7" fmla="*/ 3011827 w 4519987"/>
              <a:gd name="connsiteY7" fmla="*/ 123825 h 4478541"/>
              <a:gd name="connsiteX8" fmla="*/ 3135652 w 4519987"/>
              <a:gd name="connsiteY8" fmla="*/ 171450 h 4478541"/>
              <a:gd name="connsiteX9" fmla="*/ 3173752 w 4519987"/>
              <a:gd name="connsiteY9" fmla="*/ 190500 h 4478541"/>
              <a:gd name="connsiteX10" fmla="*/ 3240427 w 4519987"/>
              <a:gd name="connsiteY10" fmla="*/ 228600 h 4478541"/>
              <a:gd name="connsiteX11" fmla="*/ 3269002 w 4519987"/>
              <a:gd name="connsiteY11" fmla="*/ 238125 h 4478541"/>
              <a:gd name="connsiteX12" fmla="*/ 3297577 w 4519987"/>
              <a:gd name="connsiteY12" fmla="*/ 257175 h 4478541"/>
              <a:gd name="connsiteX13" fmla="*/ 3326152 w 4519987"/>
              <a:gd name="connsiteY13" fmla="*/ 266700 h 4478541"/>
              <a:gd name="connsiteX14" fmla="*/ 3354727 w 4519987"/>
              <a:gd name="connsiteY14" fmla="*/ 285750 h 4478541"/>
              <a:gd name="connsiteX15" fmla="*/ 3421402 w 4519987"/>
              <a:gd name="connsiteY15" fmla="*/ 323850 h 4478541"/>
              <a:gd name="connsiteX16" fmla="*/ 3469027 w 4519987"/>
              <a:gd name="connsiteY16" fmla="*/ 361950 h 4478541"/>
              <a:gd name="connsiteX17" fmla="*/ 3516652 w 4519987"/>
              <a:gd name="connsiteY17" fmla="*/ 390525 h 4478541"/>
              <a:gd name="connsiteX18" fmla="*/ 3630952 w 4519987"/>
              <a:gd name="connsiteY18" fmla="*/ 485775 h 4478541"/>
              <a:gd name="connsiteX19" fmla="*/ 3745252 w 4519987"/>
              <a:gd name="connsiteY19" fmla="*/ 542925 h 4478541"/>
              <a:gd name="connsiteX20" fmla="*/ 3811927 w 4519987"/>
              <a:gd name="connsiteY20" fmla="*/ 581025 h 4478541"/>
              <a:gd name="connsiteX21" fmla="*/ 4027827 w 4519987"/>
              <a:gd name="connsiteY21" fmla="*/ 819150 h 4478541"/>
              <a:gd name="connsiteX22" fmla="*/ 4164352 w 4519987"/>
              <a:gd name="connsiteY22" fmla="*/ 990600 h 4478541"/>
              <a:gd name="connsiteX23" fmla="*/ 4250077 w 4519987"/>
              <a:gd name="connsiteY23" fmla="*/ 1143000 h 4478541"/>
              <a:gd name="connsiteX24" fmla="*/ 4307227 w 4519987"/>
              <a:gd name="connsiteY24" fmla="*/ 1266825 h 4478541"/>
              <a:gd name="connsiteX25" fmla="*/ 4345327 w 4519987"/>
              <a:gd name="connsiteY25" fmla="*/ 1362075 h 4478541"/>
              <a:gd name="connsiteX26" fmla="*/ 4392952 w 4519987"/>
              <a:gd name="connsiteY26" fmla="*/ 1552575 h 4478541"/>
              <a:gd name="connsiteX27" fmla="*/ 4431052 w 4519987"/>
              <a:gd name="connsiteY27" fmla="*/ 1685925 h 4478541"/>
              <a:gd name="connsiteX28" fmla="*/ 4519952 w 4519987"/>
              <a:gd name="connsiteY28" fmla="*/ 2181225 h 4478541"/>
              <a:gd name="connsiteX29" fmla="*/ 4446927 w 4519987"/>
              <a:gd name="connsiteY29" fmla="*/ 2768600 h 4478541"/>
              <a:gd name="connsiteX30" fmla="*/ 4383427 w 4519987"/>
              <a:gd name="connsiteY30" fmla="*/ 2990850 h 4478541"/>
              <a:gd name="connsiteX31" fmla="*/ 4278652 w 4519987"/>
              <a:gd name="connsiteY31" fmla="*/ 3248025 h 4478541"/>
              <a:gd name="connsiteX32" fmla="*/ 4183402 w 4519987"/>
              <a:gd name="connsiteY32" fmla="*/ 3400425 h 4478541"/>
              <a:gd name="connsiteX33" fmla="*/ 4059577 w 4519987"/>
              <a:gd name="connsiteY33" fmla="*/ 3533775 h 4478541"/>
              <a:gd name="connsiteX34" fmla="*/ 3954802 w 4519987"/>
              <a:gd name="connsiteY34" fmla="*/ 3648075 h 4478541"/>
              <a:gd name="connsiteX35" fmla="*/ 3659527 w 4519987"/>
              <a:gd name="connsiteY35" fmla="*/ 3971925 h 4478541"/>
              <a:gd name="connsiteX36" fmla="*/ 3516652 w 4519987"/>
              <a:gd name="connsiteY36" fmla="*/ 4083050 h 4478541"/>
              <a:gd name="connsiteX37" fmla="*/ 3221377 w 4519987"/>
              <a:gd name="connsiteY37" fmla="*/ 4222750 h 4478541"/>
              <a:gd name="connsiteX38" fmla="*/ 3068977 w 4519987"/>
              <a:gd name="connsiteY38" fmla="*/ 4286250 h 4478541"/>
              <a:gd name="connsiteX39" fmla="*/ 2935627 w 4519987"/>
              <a:gd name="connsiteY39" fmla="*/ 4333875 h 4478541"/>
              <a:gd name="connsiteX40" fmla="*/ 2811802 w 4519987"/>
              <a:gd name="connsiteY40" fmla="*/ 4371975 h 4478541"/>
              <a:gd name="connsiteX41" fmla="*/ 2745127 w 4519987"/>
              <a:gd name="connsiteY41" fmla="*/ 4410075 h 4478541"/>
              <a:gd name="connsiteX42" fmla="*/ 2306977 w 4519987"/>
              <a:gd name="connsiteY42" fmla="*/ 4476750 h 4478541"/>
              <a:gd name="connsiteX43" fmla="*/ 2202202 w 4519987"/>
              <a:gd name="connsiteY43" fmla="*/ 4457700 h 4478541"/>
              <a:gd name="connsiteX44" fmla="*/ 2126002 w 4519987"/>
              <a:gd name="connsiteY44" fmla="*/ 4429125 h 4478541"/>
              <a:gd name="connsiteX45" fmla="*/ 1935502 w 4519987"/>
              <a:gd name="connsiteY45" fmla="*/ 4400550 h 4478541"/>
              <a:gd name="connsiteX46" fmla="*/ 1821202 w 4519987"/>
              <a:gd name="connsiteY46" fmla="*/ 4371975 h 4478541"/>
              <a:gd name="connsiteX47" fmla="*/ 1754527 w 4519987"/>
              <a:gd name="connsiteY47" fmla="*/ 4352925 h 4478541"/>
              <a:gd name="connsiteX48" fmla="*/ 1687852 w 4519987"/>
              <a:gd name="connsiteY48" fmla="*/ 4343400 h 4478541"/>
              <a:gd name="connsiteX49" fmla="*/ 1573552 w 4519987"/>
              <a:gd name="connsiteY49" fmla="*/ 4305300 h 4478541"/>
              <a:gd name="connsiteX50" fmla="*/ 1402102 w 4519987"/>
              <a:gd name="connsiteY50" fmla="*/ 4276725 h 4478541"/>
              <a:gd name="connsiteX51" fmla="*/ 1287802 w 4519987"/>
              <a:gd name="connsiteY51" fmla="*/ 4229100 h 4478541"/>
              <a:gd name="connsiteX52" fmla="*/ 1221127 w 4519987"/>
              <a:gd name="connsiteY52" fmla="*/ 4200525 h 4478541"/>
              <a:gd name="connsiteX53" fmla="*/ 1144927 w 4519987"/>
              <a:gd name="connsiteY53" fmla="*/ 4171950 h 4478541"/>
              <a:gd name="connsiteX54" fmla="*/ 1087777 w 4519987"/>
              <a:gd name="connsiteY54" fmla="*/ 4143375 h 4478541"/>
              <a:gd name="connsiteX55" fmla="*/ 1030627 w 4519987"/>
              <a:gd name="connsiteY55" fmla="*/ 4124325 h 4478541"/>
              <a:gd name="connsiteX56" fmla="*/ 925852 w 4519987"/>
              <a:gd name="connsiteY56" fmla="*/ 4067175 h 4478541"/>
              <a:gd name="connsiteX57" fmla="*/ 830602 w 4519987"/>
              <a:gd name="connsiteY57" fmla="*/ 3981450 h 4478541"/>
              <a:gd name="connsiteX58" fmla="*/ 763927 w 4519987"/>
              <a:gd name="connsiteY58" fmla="*/ 3914775 h 4478541"/>
              <a:gd name="connsiteX59" fmla="*/ 725827 w 4519987"/>
              <a:gd name="connsiteY59" fmla="*/ 3876675 h 4478541"/>
              <a:gd name="connsiteX60" fmla="*/ 697252 w 4519987"/>
              <a:gd name="connsiteY60" fmla="*/ 3838575 h 4478541"/>
              <a:gd name="connsiteX61" fmla="*/ 640102 w 4519987"/>
              <a:gd name="connsiteY61" fmla="*/ 3781425 h 4478541"/>
              <a:gd name="connsiteX62" fmla="*/ 611527 w 4519987"/>
              <a:gd name="connsiteY62" fmla="*/ 3733800 h 4478541"/>
              <a:gd name="connsiteX63" fmla="*/ 554377 w 4519987"/>
              <a:gd name="connsiteY63" fmla="*/ 3657600 h 4478541"/>
              <a:gd name="connsiteX64" fmla="*/ 525802 w 4519987"/>
              <a:gd name="connsiteY64" fmla="*/ 3609975 h 4478541"/>
              <a:gd name="connsiteX65" fmla="*/ 497227 w 4519987"/>
              <a:gd name="connsiteY65" fmla="*/ 3552825 h 4478541"/>
              <a:gd name="connsiteX66" fmla="*/ 440077 w 4519987"/>
              <a:gd name="connsiteY66" fmla="*/ 3495675 h 4478541"/>
              <a:gd name="connsiteX67" fmla="*/ 411502 w 4519987"/>
              <a:gd name="connsiteY67" fmla="*/ 3448050 h 4478541"/>
              <a:gd name="connsiteX68" fmla="*/ 278152 w 4519987"/>
              <a:gd name="connsiteY68" fmla="*/ 3257550 h 4478541"/>
              <a:gd name="connsiteX69" fmla="*/ 249577 w 4519987"/>
              <a:gd name="connsiteY69" fmla="*/ 3200400 h 4478541"/>
              <a:gd name="connsiteX70" fmla="*/ 240052 w 4519987"/>
              <a:gd name="connsiteY70" fmla="*/ 3162300 h 4478541"/>
              <a:gd name="connsiteX71" fmla="*/ 221002 w 4519987"/>
              <a:gd name="connsiteY71" fmla="*/ 3105150 h 4478541"/>
              <a:gd name="connsiteX72" fmla="*/ 173377 w 4519987"/>
              <a:gd name="connsiteY72" fmla="*/ 3019425 h 4478541"/>
              <a:gd name="connsiteX73" fmla="*/ 144802 w 4519987"/>
              <a:gd name="connsiteY73" fmla="*/ 2924175 h 4478541"/>
              <a:gd name="connsiteX74" fmla="*/ 68602 w 4519987"/>
              <a:gd name="connsiteY74" fmla="*/ 2724150 h 4478541"/>
              <a:gd name="connsiteX75" fmla="*/ 49552 w 4519987"/>
              <a:gd name="connsiteY75" fmla="*/ 2638425 h 4478541"/>
              <a:gd name="connsiteX76" fmla="*/ 40027 w 4519987"/>
              <a:gd name="connsiteY76" fmla="*/ 2562225 h 4478541"/>
              <a:gd name="connsiteX77" fmla="*/ 30502 w 4519987"/>
              <a:gd name="connsiteY77" fmla="*/ 2514600 h 4478541"/>
              <a:gd name="connsiteX78" fmla="*/ 11452 w 4519987"/>
              <a:gd name="connsiteY78" fmla="*/ 2400300 h 4478541"/>
              <a:gd name="connsiteX79" fmla="*/ 20977 w 4519987"/>
              <a:gd name="connsiteY79" fmla="*/ 1905000 h 4478541"/>
              <a:gd name="connsiteX80" fmla="*/ 30502 w 4519987"/>
              <a:gd name="connsiteY80" fmla="*/ 1838325 h 4478541"/>
              <a:gd name="connsiteX81" fmla="*/ 49552 w 4519987"/>
              <a:gd name="connsiteY81" fmla="*/ 1781175 h 4478541"/>
              <a:gd name="connsiteX82" fmla="*/ 59077 w 4519987"/>
              <a:gd name="connsiteY82" fmla="*/ 1743075 h 4478541"/>
              <a:gd name="connsiteX83" fmla="*/ 78127 w 4519987"/>
              <a:gd name="connsiteY83" fmla="*/ 1685925 h 4478541"/>
              <a:gd name="connsiteX84" fmla="*/ 87652 w 4519987"/>
              <a:gd name="connsiteY84" fmla="*/ 1638300 h 4478541"/>
              <a:gd name="connsiteX85" fmla="*/ 106702 w 4519987"/>
              <a:gd name="connsiteY85" fmla="*/ 1590675 h 4478541"/>
              <a:gd name="connsiteX86" fmla="*/ 135277 w 4519987"/>
              <a:gd name="connsiteY86" fmla="*/ 1504950 h 4478541"/>
              <a:gd name="connsiteX87" fmla="*/ 154327 w 4519987"/>
              <a:gd name="connsiteY87" fmla="*/ 1419225 h 4478541"/>
              <a:gd name="connsiteX88" fmla="*/ 230527 w 4519987"/>
              <a:gd name="connsiteY88" fmla="*/ 1276350 h 4478541"/>
              <a:gd name="connsiteX89" fmla="*/ 240052 w 4519987"/>
              <a:gd name="connsiteY89" fmla="*/ 1247775 h 4478541"/>
              <a:gd name="connsiteX90" fmla="*/ 268627 w 4519987"/>
              <a:gd name="connsiteY90" fmla="*/ 1200150 h 4478541"/>
              <a:gd name="connsiteX91" fmla="*/ 287677 w 4519987"/>
              <a:gd name="connsiteY91" fmla="*/ 1152525 h 4478541"/>
              <a:gd name="connsiteX92" fmla="*/ 316252 w 4519987"/>
              <a:gd name="connsiteY92" fmla="*/ 1114425 h 4478541"/>
              <a:gd name="connsiteX93" fmla="*/ 363877 w 4519987"/>
              <a:gd name="connsiteY93" fmla="*/ 1038225 h 4478541"/>
              <a:gd name="connsiteX94" fmla="*/ 382927 w 4519987"/>
              <a:gd name="connsiteY94" fmla="*/ 1009650 h 4478541"/>
              <a:gd name="connsiteX95" fmla="*/ 440077 w 4519987"/>
              <a:gd name="connsiteY95" fmla="*/ 904875 h 4478541"/>
              <a:gd name="connsiteX96" fmla="*/ 478177 w 4519987"/>
              <a:gd name="connsiteY96" fmla="*/ 857250 h 4478541"/>
              <a:gd name="connsiteX97" fmla="*/ 497227 w 4519987"/>
              <a:gd name="connsiteY97" fmla="*/ 828675 h 4478541"/>
              <a:gd name="connsiteX98" fmla="*/ 535327 w 4519987"/>
              <a:gd name="connsiteY98" fmla="*/ 800100 h 4478541"/>
              <a:gd name="connsiteX99" fmla="*/ 602002 w 4519987"/>
              <a:gd name="connsiteY99" fmla="*/ 733425 h 4478541"/>
              <a:gd name="connsiteX100" fmla="*/ 668677 w 4519987"/>
              <a:gd name="connsiteY100" fmla="*/ 676275 h 4478541"/>
              <a:gd name="connsiteX101" fmla="*/ 697252 w 4519987"/>
              <a:gd name="connsiteY101" fmla="*/ 657225 h 4478541"/>
              <a:gd name="connsiteX102" fmla="*/ 840127 w 4519987"/>
              <a:gd name="connsiteY102" fmla="*/ 533400 h 4478541"/>
              <a:gd name="connsiteX103" fmla="*/ 887752 w 4519987"/>
              <a:gd name="connsiteY103" fmla="*/ 504825 h 4478541"/>
              <a:gd name="connsiteX104" fmla="*/ 1167152 w 4519987"/>
              <a:gd name="connsiteY104" fmla="*/ 311150 h 4478541"/>
              <a:gd name="connsiteX105" fmla="*/ 1268752 w 4519987"/>
              <a:gd name="connsiteY105" fmla="*/ 285750 h 4478541"/>
              <a:gd name="connsiteX106" fmla="*/ 1411627 w 4519987"/>
              <a:gd name="connsiteY106" fmla="*/ 190500 h 4478541"/>
              <a:gd name="connsiteX107" fmla="*/ 1449727 w 4519987"/>
              <a:gd name="connsiteY107" fmla="*/ 161925 h 4478541"/>
              <a:gd name="connsiteX108" fmla="*/ 1525927 w 4519987"/>
              <a:gd name="connsiteY108" fmla="*/ 152400 h 4478541"/>
              <a:gd name="connsiteX109" fmla="*/ 1583077 w 4519987"/>
              <a:gd name="connsiteY109" fmla="*/ 142875 h 4478541"/>
              <a:gd name="connsiteX110" fmla="*/ 1716427 w 4519987"/>
              <a:gd name="connsiteY110" fmla="*/ 123825 h 4478541"/>
              <a:gd name="connsiteX111" fmla="*/ 1811677 w 4519987"/>
              <a:gd name="connsiteY111" fmla="*/ 114300 h 4478541"/>
              <a:gd name="connsiteX112" fmla="*/ 1859302 w 4519987"/>
              <a:gd name="connsiteY112" fmla="*/ 104775 h 4478541"/>
              <a:gd name="connsiteX113" fmla="*/ 1916452 w 4519987"/>
              <a:gd name="connsiteY113" fmla="*/ 95250 h 4478541"/>
              <a:gd name="connsiteX114" fmla="*/ 2030752 w 4519987"/>
              <a:gd name="connsiteY114" fmla="*/ 66675 h 4478541"/>
              <a:gd name="connsiteX115" fmla="*/ 2097427 w 4519987"/>
              <a:gd name="connsiteY115" fmla="*/ 47625 h 4478541"/>
              <a:gd name="connsiteX116" fmla="*/ 2164102 w 4519987"/>
              <a:gd name="connsiteY116" fmla="*/ 38100 h 4478541"/>
              <a:gd name="connsiteX117" fmla="*/ 2392702 w 4519987"/>
              <a:gd name="connsiteY117" fmla="*/ 28575 h 4478541"/>
              <a:gd name="connsiteX0" fmla="*/ 2297452 w 4519987"/>
              <a:gd name="connsiteY0" fmla="*/ 0 h 4476750"/>
              <a:gd name="connsiteX1" fmla="*/ 2421277 w 4519987"/>
              <a:gd name="connsiteY1" fmla="*/ 28575 h 4476750"/>
              <a:gd name="connsiteX2" fmla="*/ 2497477 w 4519987"/>
              <a:gd name="connsiteY2" fmla="*/ 47625 h 4476750"/>
              <a:gd name="connsiteX3" fmla="*/ 2754652 w 4519987"/>
              <a:gd name="connsiteY3" fmla="*/ 66675 h 4476750"/>
              <a:gd name="connsiteX4" fmla="*/ 2830852 w 4519987"/>
              <a:gd name="connsiteY4" fmla="*/ 76200 h 4476750"/>
              <a:gd name="connsiteX5" fmla="*/ 2916577 w 4519987"/>
              <a:gd name="connsiteY5" fmla="*/ 85725 h 4476750"/>
              <a:gd name="connsiteX6" fmla="*/ 2973727 w 4519987"/>
              <a:gd name="connsiteY6" fmla="*/ 114300 h 4476750"/>
              <a:gd name="connsiteX7" fmla="*/ 3011827 w 4519987"/>
              <a:gd name="connsiteY7" fmla="*/ 123825 h 4476750"/>
              <a:gd name="connsiteX8" fmla="*/ 3135652 w 4519987"/>
              <a:gd name="connsiteY8" fmla="*/ 171450 h 4476750"/>
              <a:gd name="connsiteX9" fmla="*/ 3173752 w 4519987"/>
              <a:gd name="connsiteY9" fmla="*/ 190500 h 4476750"/>
              <a:gd name="connsiteX10" fmla="*/ 3240427 w 4519987"/>
              <a:gd name="connsiteY10" fmla="*/ 228600 h 4476750"/>
              <a:gd name="connsiteX11" fmla="*/ 3269002 w 4519987"/>
              <a:gd name="connsiteY11" fmla="*/ 238125 h 4476750"/>
              <a:gd name="connsiteX12" fmla="*/ 3297577 w 4519987"/>
              <a:gd name="connsiteY12" fmla="*/ 257175 h 4476750"/>
              <a:gd name="connsiteX13" fmla="*/ 3326152 w 4519987"/>
              <a:gd name="connsiteY13" fmla="*/ 266700 h 4476750"/>
              <a:gd name="connsiteX14" fmla="*/ 3354727 w 4519987"/>
              <a:gd name="connsiteY14" fmla="*/ 285750 h 4476750"/>
              <a:gd name="connsiteX15" fmla="*/ 3421402 w 4519987"/>
              <a:gd name="connsiteY15" fmla="*/ 323850 h 4476750"/>
              <a:gd name="connsiteX16" fmla="*/ 3469027 w 4519987"/>
              <a:gd name="connsiteY16" fmla="*/ 361950 h 4476750"/>
              <a:gd name="connsiteX17" fmla="*/ 3516652 w 4519987"/>
              <a:gd name="connsiteY17" fmla="*/ 390525 h 4476750"/>
              <a:gd name="connsiteX18" fmla="*/ 3630952 w 4519987"/>
              <a:gd name="connsiteY18" fmla="*/ 485775 h 4476750"/>
              <a:gd name="connsiteX19" fmla="*/ 3745252 w 4519987"/>
              <a:gd name="connsiteY19" fmla="*/ 542925 h 4476750"/>
              <a:gd name="connsiteX20" fmla="*/ 3811927 w 4519987"/>
              <a:gd name="connsiteY20" fmla="*/ 581025 h 4476750"/>
              <a:gd name="connsiteX21" fmla="*/ 4027827 w 4519987"/>
              <a:gd name="connsiteY21" fmla="*/ 819150 h 4476750"/>
              <a:gd name="connsiteX22" fmla="*/ 4164352 w 4519987"/>
              <a:gd name="connsiteY22" fmla="*/ 990600 h 4476750"/>
              <a:gd name="connsiteX23" fmla="*/ 4250077 w 4519987"/>
              <a:gd name="connsiteY23" fmla="*/ 1143000 h 4476750"/>
              <a:gd name="connsiteX24" fmla="*/ 4307227 w 4519987"/>
              <a:gd name="connsiteY24" fmla="*/ 1266825 h 4476750"/>
              <a:gd name="connsiteX25" fmla="*/ 4345327 w 4519987"/>
              <a:gd name="connsiteY25" fmla="*/ 1362075 h 4476750"/>
              <a:gd name="connsiteX26" fmla="*/ 4392952 w 4519987"/>
              <a:gd name="connsiteY26" fmla="*/ 1552575 h 4476750"/>
              <a:gd name="connsiteX27" fmla="*/ 4431052 w 4519987"/>
              <a:gd name="connsiteY27" fmla="*/ 1685925 h 4476750"/>
              <a:gd name="connsiteX28" fmla="*/ 4519952 w 4519987"/>
              <a:gd name="connsiteY28" fmla="*/ 2181225 h 4476750"/>
              <a:gd name="connsiteX29" fmla="*/ 4446927 w 4519987"/>
              <a:gd name="connsiteY29" fmla="*/ 2768600 h 4476750"/>
              <a:gd name="connsiteX30" fmla="*/ 4383427 w 4519987"/>
              <a:gd name="connsiteY30" fmla="*/ 2990850 h 4476750"/>
              <a:gd name="connsiteX31" fmla="*/ 4278652 w 4519987"/>
              <a:gd name="connsiteY31" fmla="*/ 3248025 h 4476750"/>
              <a:gd name="connsiteX32" fmla="*/ 4183402 w 4519987"/>
              <a:gd name="connsiteY32" fmla="*/ 3400425 h 4476750"/>
              <a:gd name="connsiteX33" fmla="*/ 4059577 w 4519987"/>
              <a:gd name="connsiteY33" fmla="*/ 3533775 h 4476750"/>
              <a:gd name="connsiteX34" fmla="*/ 3954802 w 4519987"/>
              <a:gd name="connsiteY34" fmla="*/ 3648075 h 4476750"/>
              <a:gd name="connsiteX35" fmla="*/ 3659527 w 4519987"/>
              <a:gd name="connsiteY35" fmla="*/ 3971925 h 4476750"/>
              <a:gd name="connsiteX36" fmla="*/ 3516652 w 4519987"/>
              <a:gd name="connsiteY36" fmla="*/ 4083050 h 4476750"/>
              <a:gd name="connsiteX37" fmla="*/ 3221377 w 4519987"/>
              <a:gd name="connsiteY37" fmla="*/ 4222750 h 4476750"/>
              <a:gd name="connsiteX38" fmla="*/ 3068977 w 4519987"/>
              <a:gd name="connsiteY38" fmla="*/ 4286250 h 4476750"/>
              <a:gd name="connsiteX39" fmla="*/ 2935627 w 4519987"/>
              <a:gd name="connsiteY39" fmla="*/ 4333875 h 4476750"/>
              <a:gd name="connsiteX40" fmla="*/ 2811802 w 4519987"/>
              <a:gd name="connsiteY40" fmla="*/ 4371975 h 4476750"/>
              <a:gd name="connsiteX41" fmla="*/ 2580027 w 4519987"/>
              <a:gd name="connsiteY41" fmla="*/ 4391025 h 4476750"/>
              <a:gd name="connsiteX42" fmla="*/ 2306977 w 4519987"/>
              <a:gd name="connsiteY42" fmla="*/ 4476750 h 4476750"/>
              <a:gd name="connsiteX43" fmla="*/ 2202202 w 4519987"/>
              <a:gd name="connsiteY43" fmla="*/ 4457700 h 4476750"/>
              <a:gd name="connsiteX44" fmla="*/ 2126002 w 4519987"/>
              <a:gd name="connsiteY44" fmla="*/ 4429125 h 4476750"/>
              <a:gd name="connsiteX45" fmla="*/ 1935502 w 4519987"/>
              <a:gd name="connsiteY45" fmla="*/ 4400550 h 4476750"/>
              <a:gd name="connsiteX46" fmla="*/ 1821202 w 4519987"/>
              <a:gd name="connsiteY46" fmla="*/ 4371975 h 4476750"/>
              <a:gd name="connsiteX47" fmla="*/ 1754527 w 4519987"/>
              <a:gd name="connsiteY47" fmla="*/ 4352925 h 4476750"/>
              <a:gd name="connsiteX48" fmla="*/ 1687852 w 4519987"/>
              <a:gd name="connsiteY48" fmla="*/ 4343400 h 4476750"/>
              <a:gd name="connsiteX49" fmla="*/ 1573552 w 4519987"/>
              <a:gd name="connsiteY49" fmla="*/ 4305300 h 4476750"/>
              <a:gd name="connsiteX50" fmla="*/ 1402102 w 4519987"/>
              <a:gd name="connsiteY50" fmla="*/ 4276725 h 4476750"/>
              <a:gd name="connsiteX51" fmla="*/ 1287802 w 4519987"/>
              <a:gd name="connsiteY51" fmla="*/ 4229100 h 4476750"/>
              <a:gd name="connsiteX52" fmla="*/ 1221127 w 4519987"/>
              <a:gd name="connsiteY52" fmla="*/ 4200525 h 4476750"/>
              <a:gd name="connsiteX53" fmla="*/ 1144927 w 4519987"/>
              <a:gd name="connsiteY53" fmla="*/ 4171950 h 4476750"/>
              <a:gd name="connsiteX54" fmla="*/ 1087777 w 4519987"/>
              <a:gd name="connsiteY54" fmla="*/ 4143375 h 4476750"/>
              <a:gd name="connsiteX55" fmla="*/ 1030627 w 4519987"/>
              <a:gd name="connsiteY55" fmla="*/ 4124325 h 4476750"/>
              <a:gd name="connsiteX56" fmla="*/ 925852 w 4519987"/>
              <a:gd name="connsiteY56" fmla="*/ 4067175 h 4476750"/>
              <a:gd name="connsiteX57" fmla="*/ 830602 w 4519987"/>
              <a:gd name="connsiteY57" fmla="*/ 3981450 h 4476750"/>
              <a:gd name="connsiteX58" fmla="*/ 763927 w 4519987"/>
              <a:gd name="connsiteY58" fmla="*/ 3914775 h 4476750"/>
              <a:gd name="connsiteX59" fmla="*/ 725827 w 4519987"/>
              <a:gd name="connsiteY59" fmla="*/ 3876675 h 4476750"/>
              <a:gd name="connsiteX60" fmla="*/ 697252 w 4519987"/>
              <a:gd name="connsiteY60" fmla="*/ 3838575 h 4476750"/>
              <a:gd name="connsiteX61" fmla="*/ 640102 w 4519987"/>
              <a:gd name="connsiteY61" fmla="*/ 3781425 h 4476750"/>
              <a:gd name="connsiteX62" fmla="*/ 611527 w 4519987"/>
              <a:gd name="connsiteY62" fmla="*/ 3733800 h 4476750"/>
              <a:gd name="connsiteX63" fmla="*/ 554377 w 4519987"/>
              <a:gd name="connsiteY63" fmla="*/ 3657600 h 4476750"/>
              <a:gd name="connsiteX64" fmla="*/ 525802 w 4519987"/>
              <a:gd name="connsiteY64" fmla="*/ 3609975 h 4476750"/>
              <a:gd name="connsiteX65" fmla="*/ 497227 w 4519987"/>
              <a:gd name="connsiteY65" fmla="*/ 3552825 h 4476750"/>
              <a:gd name="connsiteX66" fmla="*/ 440077 w 4519987"/>
              <a:gd name="connsiteY66" fmla="*/ 3495675 h 4476750"/>
              <a:gd name="connsiteX67" fmla="*/ 411502 w 4519987"/>
              <a:gd name="connsiteY67" fmla="*/ 3448050 h 4476750"/>
              <a:gd name="connsiteX68" fmla="*/ 278152 w 4519987"/>
              <a:gd name="connsiteY68" fmla="*/ 3257550 h 4476750"/>
              <a:gd name="connsiteX69" fmla="*/ 249577 w 4519987"/>
              <a:gd name="connsiteY69" fmla="*/ 3200400 h 4476750"/>
              <a:gd name="connsiteX70" fmla="*/ 240052 w 4519987"/>
              <a:gd name="connsiteY70" fmla="*/ 3162300 h 4476750"/>
              <a:gd name="connsiteX71" fmla="*/ 221002 w 4519987"/>
              <a:gd name="connsiteY71" fmla="*/ 3105150 h 4476750"/>
              <a:gd name="connsiteX72" fmla="*/ 173377 w 4519987"/>
              <a:gd name="connsiteY72" fmla="*/ 3019425 h 4476750"/>
              <a:gd name="connsiteX73" fmla="*/ 144802 w 4519987"/>
              <a:gd name="connsiteY73" fmla="*/ 2924175 h 4476750"/>
              <a:gd name="connsiteX74" fmla="*/ 68602 w 4519987"/>
              <a:gd name="connsiteY74" fmla="*/ 2724150 h 4476750"/>
              <a:gd name="connsiteX75" fmla="*/ 49552 w 4519987"/>
              <a:gd name="connsiteY75" fmla="*/ 2638425 h 4476750"/>
              <a:gd name="connsiteX76" fmla="*/ 40027 w 4519987"/>
              <a:gd name="connsiteY76" fmla="*/ 2562225 h 4476750"/>
              <a:gd name="connsiteX77" fmla="*/ 30502 w 4519987"/>
              <a:gd name="connsiteY77" fmla="*/ 2514600 h 4476750"/>
              <a:gd name="connsiteX78" fmla="*/ 11452 w 4519987"/>
              <a:gd name="connsiteY78" fmla="*/ 2400300 h 4476750"/>
              <a:gd name="connsiteX79" fmla="*/ 20977 w 4519987"/>
              <a:gd name="connsiteY79" fmla="*/ 1905000 h 4476750"/>
              <a:gd name="connsiteX80" fmla="*/ 30502 w 4519987"/>
              <a:gd name="connsiteY80" fmla="*/ 1838325 h 4476750"/>
              <a:gd name="connsiteX81" fmla="*/ 49552 w 4519987"/>
              <a:gd name="connsiteY81" fmla="*/ 1781175 h 4476750"/>
              <a:gd name="connsiteX82" fmla="*/ 59077 w 4519987"/>
              <a:gd name="connsiteY82" fmla="*/ 1743075 h 4476750"/>
              <a:gd name="connsiteX83" fmla="*/ 78127 w 4519987"/>
              <a:gd name="connsiteY83" fmla="*/ 1685925 h 4476750"/>
              <a:gd name="connsiteX84" fmla="*/ 87652 w 4519987"/>
              <a:gd name="connsiteY84" fmla="*/ 1638300 h 4476750"/>
              <a:gd name="connsiteX85" fmla="*/ 106702 w 4519987"/>
              <a:gd name="connsiteY85" fmla="*/ 1590675 h 4476750"/>
              <a:gd name="connsiteX86" fmla="*/ 135277 w 4519987"/>
              <a:gd name="connsiteY86" fmla="*/ 1504950 h 4476750"/>
              <a:gd name="connsiteX87" fmla="*/ 154327 w 4519987"/>
              <a:gd name="connsiteY87" fmla="*/ 1419225 h 4476750"/>
              <a:gd name="connsiteX88" fmla="*/ 230527 w 4519987"/>
              <a:gd name="connsiteY88" fmla="*/ 1276350 h 4476750"/>
              <a:gd name="connsiteX89" fmla="*/ 240052 w 4519987"/>
              <a:gd name="connsiteY89" fmla="*/ 1247775 h 4476750"/>
              <a:gd name="connsiteX90" fmla="*/ 268627 w 4519987"/>
              <a:gd name="connsiteY90" fmla="*/ 1200150 h 4476750"/>
              <a:gd name="connsiteX91" fmla="*/ 287677 w 4519987"/>
              <a:gd name="connsiteY91" fmla="*/ 1152525 h 4476750"/>
              <a:gd name="connsiteX92" fmla="*/ 316252 w 4519987"/>
              <a:gd name="connsiteY92" fmla="*/ 1114425 h 4476750"/>
              <a:gd name="connsiteX93" fmla="*/ 363877 w 4519987"/>
              <a:gd name="connsiteY93" fmla="*/ 1038225 h 4476750"/>
              <a:gd name="connsiteX94" fmla="*/ 382927 w 4519987"/>
              <a:gd name="connsiteY94" fmla="*/ 1009650 h 4476750"/>
              <a:gd name="connsiteX95" fmla="*/ 440077 w 4519987"/>
              <a:gd name="connsiteY95" fmla="*/ 904875 h 4476750"/>
              <a:gd name="connsiteX96" fmla="*/ 478177 w 4519987"/>
              <a:gd name="connsiteY96" fmla="*/ 857250 h 4476750"/>
              <a:gd name="connsiteX97" fmla="*/ 497227 w 4519987"/>
              <a:gd name="connsiteY97" fmla="*/ 828675 h 4476750"/>
              <a:gd name="connsiteX98" fmla="*/ 535327 w 4519987"/>
              <a:gd name="connsiteY98" fmla="*/ 800100 h 4476750"/>
              <a:gd name="connsiteX99" fmla="*/ 602002 w 4519987"/>
              <a:gd name="connsiteY99" fmla="*/ 733425 h 4476750"/>
              <a:gd name="connsiteX100" fmla="*/ 668677 w 4519987"/>
              <a:gd name="connsiteY100" fmla="*/ 676275 h 4476750"/>
              <a:gd name="connsiteX101" fmla="*/ 697252 w 4519987"/>
              <a:gd name="connsiteY101" fmla="*/ 657225 h 4476750"/>
              <a:gd name="connsiteX102" fmla="*/ 840127 w 4519987"/>
              <a:gd name="connsiteY102" fmla="*/ 533400 h 4476750"/>
              <a:gd name="connsiteX103" fmla="*/ 887752 w 4519987"/>
              <a:gd name="connsiteY103" fmla="*/ 504825 h 4476750"/>
              <a:gd name="connsiteX104" fmla="*/ 1167152 w 4519987"/>
              <a:gd name="connsiteY104" fmla="*/ 311150 h 4476750"/>
              <a:gd name="connsiteX105" fmla="*/ 1268752 w 4519987"/>
              <a:gd name="connsiteY105" fmla="*/ 285750 h 4476750"/>
              <a:gd name="connsiteX106" fmla="*/ 1411627 w 4519987"/>
              <a:gd name="connsiteY106" fmla="*/ 190500 h 4476750"/>
              <a:gd name="connsiteX107" fmla="*/ 1449727 w 4519987"/>
              <a:gd name="connsiteY107" fmla="*/ 161925 h 4476750"/>
              <a:gd name="connsiteX108" fmla="*/ 1525927 w 4519987"/>
              <a:gd name="connsiteY108" fmla="*/ 152400 h 4476750"/>
              <a:gd name="connsiteX109" fmla="*/ 1583077 w 4519987"/>
              <a:gd name="connsiteY109" fmla="*/ 142875 h 4476750"/>
              <a:gd name="connsiteX110" fmla="*/ 1716427 w 4519987"/>
              <a:gd name="connsiteY110" fmla="*/ 123825 h 4476750"/>
              <a:gd name="connsiteX111" fmla="*/ 1811677 w 4519987"/>
              <a:gd name="connsiteY111" fmla="*/ 114300 h 4476750"/>
              <a:gd name="connsiteX112" fmla="*/ 1859302 w 4519987"/>
              <a:gd name="connsiteY112" fmla="*/ 104775 h 4476750"/>
              <a:gd name="connsiteX113" fmla="*/ 1916452 w 4519987"/>
              <a:gd name="connsiteY113" fmla="*/ 95250 h 4476750"/>
              <a:gd name="connsiteX114" fmla="*/ 2030752 w 4519987"/>
              <a:gd name="connsiteY114" fmla="*/ 66675 h 4476750"/>
              <a:gd name="connsiteX115" fmla="*/ 2097427 w 4519987"/>
              <a:gd name="connsiteY115" fmla="*/ 47625 h 4476750"/>
              <a:gd name="connsiteX116" fmla="*/ 2164102 w 4519987"/>
              <a:gd name="connsiteY116" fmla="*/ 38100 h 4476750"/>
              <a:gd name="connsiteX117" fmla="*/ 2392702 w 4519987"/>
              <a:gd name="connsiteY117" fmla="*/ 28575 h 4476750"/>
              <a:gd name="connsiteX0" fmla="*/ 2297452 w 4519987"/>
              <a:gd name="connsiteY0" fmla="*/ 0 h 4457700"/>
              <a:gd name="connsiteX1" fmla="*/ 2421277 w 4519987"/>
              <a:gd name="connsiteY1" fmla="*/ 28575 h 4457700"/>
              <a:gd name="connsiteX2" fmla="*/ 2497477 w 4519987"/>
              <a:gd name="connsiteY2" fmla="*/ 47625 h 4457700"/>
              <a:gd name="connsiteX3" fmla="*/ 2754652 w 4519987"/>
              <a:gd name="connsiteY3" fmla="*/ 66675 h 4457700"/>
              <a:gd name="connsiteX4" fmla="*/ 2830852 w 4519987"/>
              <a:gd name="connsiteY4" fmla="*/ 76200 h 4457700"/>
              <a:gd name="connsiteX5" fmla="*/ 2916577 w 4519987"/>
              <a:gd name="connsiteY5" fmla="*/ 85725 h 4457700"/>
              <a:gd name="connsiteX6" fmla="*/ 2973727 w 4519987"/>
              <a:gd name="connsiteY6" fmla="*/ 114300 h 4457700"/>
              <a:gd name="connsiteX7" fmla="*/ 3011827 w 4519987"/>
              <a:gd name="connsiteY7" fmla="*/ 123825 h 4457700"/>
              <a:gd name="connsiteX8" fmla="*/ 3135652 w 4519987"/>
              <a:gd name="connsiteY8" fmla="*/ 171450 h 4457700"/>
              <a:gd name="connsiteX9" fmla="*/ 3173752 w 4519987"/>
              <a:gd name="connsiteY9" fmla="*/ 190500 h 4457700"/>
              <a:gd name="connsiteX10" fmla="*/ 3240427 w 4519987"/>
              <a:gd name="connsiteY10" fmla="*/ 228600 h 4457700"/>
              <a:gd name="connsiteX11" fmla="*/ 3269002 w 4519987"/>
              <a:gd name="connsiteY11" fmla="*/ 238125 h 4457700"/>
              <a:gd name="connsiteX12" fmla="*/ 3297577 w 4519987"/>
              <a:gd name="connsiteY12" fmla="*/ 257175 h 4457700"/>
              <a:gd name="connsiteX13" fmla="*/ 3326152 w 4519987"/>
              <a:gd name="connsiteY13" fmla="*/ 266700 h 4457700"/>
              <a:gd name="connsiteX14" fmla="*/ 3354727 w 4519987"/>
              <a:gd name="connsiteY14" fmla="*/ 285750 h 4457700"/>
              <a:gd name="connsiteX15" fmla="*/ 3421402 w 4519987"/>
              <a:gd name="connsiteY15" fmla="*/ 323850 h 4457700"/>
              <a:gd name="connsiteX16" fmla="*/ 3469027 w 4519987"/>
              <a:gd name="connsiteY16" fmla="*/ 361950 h 4457700"/>
              <a:gd name="connsiteX17" fmla="*/ 3516652 w 4519987"/>
              <a:gd name="connsiteY17" fmla="*/ 390525 h 4457700"/>
              <a:gd name="connsiteX18" fmla="*/ 3630952 w 4519987"/>
              <a:gd name="connsiteY18" fmla="*/ 485775 h 4457700"/>
              <a:gd name="connsiteX19" fmla="*/ 3745252 w 4519987"/>
              <a:gd name="connsiteY19" fmla="*/ 542925 h 4457700"/>
              <a:gd name="connsiteX20" fmla="*/ 3811927 w 4519987"/>
              <a:gd name="connsiteY20" fmla="*/ 581025 h 4457700"/>
              <a:gd name="connsiteX21" fmla="*/ 4027827 w 4519987"/>
              <a:gd name="connsiteY21" fmla="*/ 819150 h 4457700"/>
              <a:gd name="connsiteX22" fmla="*/ 4164352 w 4519987"/>
              <a:gd name="connsiteY22" fmla="*/ 990600 h 4457700"/>
              <a:gd name="connsiteX23" fmla="*/ 4250077 w 4519987"/>
              <a:gd name="connsiteY23" fmla="*/ 1143000 h 4457700"/>
              <a:gd name="connsiteX24" fmla="*/ 4307227 w 4519987"/>
              <a:gd name="connsiteY24" fmla="*/ 1266825 h 4457700"/>
              <a:gd name="connsiteX25" fmla="*/ 4345327 w 4519987"/>
              <a:gd name="connsiteY25" fmla="*/ 1362075 h 4457700"/>
              <a:gd name="connsiteX26" fmla="*/ 4392952 w 4519987"/>
              <a:gd name="connsiteY26" fmla="*/ 1552575 h 4457700"/>
              <a:gd name="connsiteX27" fmla="*/ 4431052 w 4519987"/>
              <a:gd name="connsiteY27" fmla="*/ 1685925 h 4457700"/>
              <a:gd name="connsiteX28" fmla="*/ 4519952 w 4519987"/>
              <a:gd name="connsiteY28" fmla="*/ 2181225 h 4457700"/>
              <a:gd name="connsiteX29" fmla="*/ 4446927 w 4519987"/>
              <a:gd name="connsiteY29" fmla="*/ 2768600 h 4457700"/>
              <a:gd name="connsiteX30" fmla="*/ 4383427 w 4519987"/>
              <a:gd name="connsiteY30" fmla="*/ 2990850 h 4457700"/>
              <a:gd name="connsiteX31" fmla="*/ 4278652 w 4519987"/>
              <a:gd name="connsiteY31" fmla="*/ 3248025 h 4457700"/>
              <a:gd name="connsiteX32" fmla="*/ 4183402 w 4519987"/>
              <a:gd name="connsiteY32" fmla="*/ 3400425 h 4457700"/>
              <a:gd name="connsiteX33" fmla="*/ 4059577 w 4519987"/>
              <a:gd name="connsiteY33" fmla="*/ 3533775 h 4457700"/>
              <a:gd name="connsiteX34" fmla="*/ 3954802 w 4519987"/>
              <a:gd name="connsiteY34" fmla="*/ 3648075 h 4457700"/>
              <a:gd name="connsiteX35" fmla="*/ 3659527 w 4519987"/>
              <a:gd name="connsiteY35" fmla="*/ 3971925 h 4457700"/>
              <a:gd name="connsiteX36" fmla="*/ 3516652 w 4519987"/>
              <a:gd name="connsiteY36" fmla="*/ 4083050 h 4457700"/>
              <a:gd name="connsiteX37" fmla="*/ 3221377 w 4519987"/>
              <a:gd name="connsiteY37" fmla="*/ 4222750 h 4457700"/>
              <a:gd name="connsiteX38" fmla="*/ 3068977 w 4519987"/>
              <a:gd name="connsiteY38" fmla="*/ 4286250 h 4457700"/>
              <a:gd name="connsiteX39" fmla="*/ 2935627 w 4519987"/>
              <a:gd name="connsiteY39" fmla="*/ 4333875 h 4457700"/>
              <a:gd name="connsiteX40" fmla="*/ 2811802 w 4519987"/>
              <a:gd name="connsiteY40" fmla="*/ 4371975 h 4457700"/>
              <a:gd name="connsiteX41" fmla="*/ 2580027 w 4519987"/>
              <a:gd name="connsiteY41" fmla="*/ 4391025 h 4457700"/>
              <a:gd name="connsiteX42" fmla="*/ 2202202 w 4519987"/>
              <a:gd name="connsiteY42" fmla="*/ 4457700 h 4457700"/>
              <a:gd name="connsiteX43" fmla="*/ 2126002 w 4519987"/>
              <a:gd name="connsiteY43" fmla="*/ 4429125 h 4457700"/>
              <a:gd name="connsiteX44" fmla="*/ 1935502 w 4519987"/>
              <a:gd name="connsiteY44" fmla="*/ 4400550 h 4457700"/>
              <a:gd name="connsiteX45" fmla="*/ 1821202 w 4519987"/>
              <a:gd name="connsiteY45" fmla="*/ 4371975 h 4457700"/>
              <a:gd name="connsiteX46" fmla="*/ 1754527 w 4519987"/>
              <a:gd name="connsiteY46" fmla="*/ 4352925 h 4457700"/>
              <a:gd name="connsiteX47" fmla="*/ 1687852 w 4519987"/>
              <a:gd name="connsiteY47" fmla="*/ 4343400 h 4457700"/>
              <a:gd name="connsiteX48" fmla="*/ 1573552 w 4519987"/>
              <a:gd name="connsiteY48" fmla="*/ 4305300 h 4457700"/>
              <a:gd name="connsiteX49" fmla="*/ 1402102 w 4519987"/>
              <a:gd name="connsiteY49" fmla="*/ 4276725 h 4457700"/>
              <a:gd name="connsiteX50" fmla="*/ 1287802 w 4519987"/>
              <a:gd name="connsiteY50" fmla="*/ 4229100 h 4457700"/>
              <a:gd name="connsiteX51" fmla="*/ 1221127 w 4519987"/>
              <a:gd name="connsiteY51" fmla="*/ 4200525 h 4457700"/>
              <a:gd name="connsiteX52" fmla="*/ 1144927 w 4519987"/>
              <a:gd name="connsiteY52" fmla="*/ 4171950 h 4457700"/>
              <a:gd name="connsiteX53" fmla="*/ 1087777 w 4519987"/>
              <a:gd name="connsiteY53" fmla="*/ 4143375 h 4457700"/>
              <a:gd name="connsiteX54" fmla="*/ 1030627 w 4519987"/>
              <a:gd name="connsiteY54" fmla="*/ 4124325 h 4457700"/>
              <a:gd name="connsiteX55" fmla="*/ 925852 w 4519987"/>
              <a:gd name="connsiteY55" fmla="*/ 4067175 h 4457700"/>
              <a:gd name="connsiteX56" fmla="*/ 830602 w 4519987"/>
              <a:gd name="connsiteY56" fmla="*/ 3981450 h 4457700"/>
              <a:gd name="connsiteX57" fmla="*/ 763927 w 4519987"/>
              <a:gd name="connsiteY57" fmla="*/ 3914775 h 4457700"/>
              <a:gd name="connsiteX58" fmla="*/ 725827 w 4519987"/>
              <a:gd name="connsiteY58" fmla="*/ 3876675 h 4457700"/>
              <a:gd name="connsiteX59" fmla="*/ 697252 w 4519987"/>
              <a:gd name="connsiteY59" fmla="*/ 3838575 h 4457700"/>
              <a:gd name="connsiteX60" fmla="*/ 640102 w 4519987"/>
              <a:gd name="connsiteY60" fmla="*/ 3781425 h 4457700"/>
              <a:gd name="connsiteX61" fmla="*/ 611527 w 4519987"/>
              <a:gd name="connsiteY61" fmla="*/ 3733800 h 4457700"/>
              <a:gd name="connsiteX62" fmla="*/ 554377 w 4519987"/>
              <a:gd name="connsiteY62" fmla="*/ 3657600 h 4457700"/>
              <a:gd name="connsiteX63" fmla="*/ 525802 w 4519987"/>
              <a:gd name="connsiteY63" fmla="*/ 3609975 h 4457700"/>
              <a:gd name="connsiteX64" fmla="*/ 497227 w 4519987"/>
              <a:gd name="connsiteY64" fmla="*/ 3552825 h 4457700"/>
              <a:gd name="connsiteX65" fmla="*/ 440077 w 4519987"/>
              <a:gd name="connsiteY65" fmla="*/ 3495675 h 4457700"/>
              <a:gd name="connsiteX66" fmla="*/ 411502 w 4519987"/>
              <a:gd name="connsiteY66" fmla="*/ 3448050 h 4457700"/>
              <a:gd name="connsiteX67" fmla="*/ 278152 w 4519987"/>
              <a:gd name="connsiteY67" fmla="*/ 3257550 h 4457700"/>
              <a:gd name="connsiteX68" fmla="*/ 249577 w 4519987"/>
              <a:gd name="connsiteY68" fmla="*/ 3200400 h 4457700"/>
              <a:gd name="connsiteX69" fmla="*/ 240052 w 4519987"/>
              <a:gd name="connsiteY69" fmla="*/ 3162300 h 4457700"/>
              <a:gd name="connsiteX70" fmla="*/ 221002 w 4519987"/>
              <a:gd name="connsiteY70" fmla="*/ 3105150 h 4457700"/>
              <a:gd name="connsiteX71" fmla="*/ 173377 w 4519987"/>
              <a:gd name="connsiteY71" fmla="*/ 3019425 h 4457700"/>
              <a:gd name="connsiteX72" fmla="*/ 144802 w 4519987"/>
              <a:gd name="connsiteY72" fmla="*/ 2924175 h 4457700"/>
              <a:gd name="connsiteX73" fmla="*/ 68602 w 4519987"/>
              <a:gd name="connsiteY73" fmla="*/ 2724150 h 4457700"/>
              <a:gd name="connsiteX74" fmla="*/ 49552 w 4519987"/>
              <a:gd name="connsiteY74" fmla="*/ 2638425 h 4457700"/>
              <a:gd name="connsiteX75" fmla="*/ 40027 w 4519987"/>
              <a:gd name="connsiteY75" fmla="*/ 2562225 h 4457700"/>
              <a:gd name="connsiteX76" fmla="*/ 30502 w 4519987"/>
              <a:gd name="connsiteY76" fmla="*/ 2514600 h 4457700"/>
              <a:gd name="connsiteX77" fmla="*/ 11452 w 4519987"/>
              <a:gd name="connsiteY77" fmla="*/ 2400300 h 4457700"/>
              <a:gd name="connsiteX78" fmla="*/ 20977 w 4519987"/>
              <a:gd name="connsiteY78" fmla="*/ 1905000 h 4457700"/>
              <a:gd name="connsiteX79" fmla="*/ 30502 w 4519987"/>
              <a:gd name="connsiteY79" fmla="*/ 1838325 h 4457700"/>
              <a:gd name="connsiteX80" fmla="*/ 49552 w 4519987"/>
              <a:gd name="connsiteY80" fmla="*/ 1781175 h 4457700"/>
              <a:gd name="connsiteX81" fmla="*/ 59077 w 4519987"/>
              <a:gd name="connsiteY81" fmla="*/ 1743075 h 4457700"/>
              <a:gd name="connsiteX82" fmla="*/ 78127 w 4519987"/>
              <a:gd name="connsiteY82" fmla="*/ 1685925 h 4457700"/>
              <a:gd name="connsiteX83" fmla="*/ 87652 w 4519987"/>
              <a:gd name="connsiteY83" fmla="*/ 1638300 h 4457700"/>
              <a:gd name="connsiteX84" fmla="*/ 106702 w 4519987"/>
              <a:gd name="connsiteY84" fmla="*/ 1590675 h 4457700"/>
              <a:gd name="connsiteX85" fmla="*/ 135277 w 4519987"/>
              <a:gd name="connsiteY85" fmla="*/ 1504950 h 4457700"/>
              <a:gd name="connsiteX86" fmla="*/ 154327 w 4519987"/>
              <a:gd name="connsiteY86" fmla="*/ 1419225 h 4457700"/>
              <a:gd name="connsiteX87" fmla="*/ 230527 w 4519987"/>
              <a:gd name="connsiteY87" fmla="*/ 1276350 h 4457700"/>
              <a:gd name="connsiteX88" fmla="*/ 240052 w 4519987"/>
              <a:gd name="connsiteY88" fmla="*/ 1247775 h 4457700"/>
              <a:gd name="connsiteX89" fmla="*/ 268627 w 4519987"/>
              <a:gd name="connsiteY89" fmla="*/ 1200150 h 4457700"/>
              <a:gd name="connsiteX90" fmla="*/ 287677 w 4519987"/>
              <a:gd name="connsiteY90" fmla="*/ 1152525 h 4457700"/>
              <a:gd name="connsiteX91" fmla="*/ 316252 w 4519987"/>
              <a:gd name="connsiteY91" fmla="*/ 1114425 h 4457700"/>
              <a:gd name="connsiteX92" fmla="*/ 363877 w 4519987"/>
              <a:gd name="connsiteY92" fmla="*/ 1038225 h 4457700"/>
              <a:gd name="connsiteX93" fmla="*/ 382927 w 4519987"/>
              <a:gd name="connsiteY93" fmla="*/ 1009650 h 4457700"/>
              <a:gd name="connsiteX94" fmla="*/ 440077 w 4519987"/>
              <a:gd name="connsiteY94" fmla="*/ 904875 h 4457700"/>
              <a:gd name="connsiteX95" fmla="*/ 478177 w 4519987"/>
              <a:gd name="connsiteY95" fmla="*/ 857250 h 4457700"/>
              <a:gd name="connsiteX96" fmla="*/ 497227 w 4519987"/>
              <a:gd name="connsiteY96" fmla="*/ 828675 h 4457700"/>
              <a:gd name="connsiteX97" fmla="*/ 535327 w 4519987"/>
              <a:gd name="connsiteY97" fmla="*/ 800100 h 4457700"/>
              <a:gd name="connsiteX98" fmla="*/ 602002 w 4519987"/>
              <a:gd name="connsiteY98" fmla="*/ 733425 h 4457700"/>
              <a:gd name="connsiteX99" fmla="*/ 668677 w 4519987"/>
              <a:gd name="connsiteY99" fmla="*/ 676275 h 4457700"/>
              <a:gd name="connsiteX100" fmla="*/ 697252 w 4519987"/>
              <a:gd name="connsiteY100" fmla="*/ 657225 h 4457700"/>
              <a:gd name="connsiteX101" fmla="*/ 840127 w 4519987"/>
              <a:gd name="connsiteY101" fmla="*/ 533400 h 4457700"/>
              <a:gd name="connsiteX102" fmla="*/ 887752 w 4519987"/>
              <a:gd name="connsiteY102" fmla="*/ 504825 h 4457700"/>
              <a:gd name="connsiteX103" fmla="*/ 1167152 w 4519987"/>
              <a:gd name="connsiteY103" fmla="*/ 311150 h 4457700"/>
              <a:gd name="connsiteX104" fmla="*/ 1268752 w 4519987"/>
              <a:gd name="connsiteY104" fmla="*/ 285750 h 4457700"/>
              <a:gd name="connsiteX105" fmla="*/ 1411627 w 4519987"/>
              <a:gd name="connsiteY105" fmla="*/ 190500 h 4457700"/>
              <a:gd name="connsiteX106" fmla="*/ 1449727 w 4519987"/>
              <a:gd name="connsiteY106" fmla="*/ 161925 h 4457700"/>
              <a:gd name="connsiteX107" fmla="*/ 1525927 w 4519987"/>
              <a:gd name="connsiteY107" fmla="*/ 152400 h 4457700"/>
              <a:gd name="connsiteX108" fmla="*/ 1583077 w 4519987"/>
              <a:gd name="connsiteY108" fmla="*/ 142875 h 4457700"/>
              <a:gd name="connsiteX109" fmla="*/ 1716427 w 4519987"/>
              <a:gd name="connsiteY109" fmla="*/ 123825 h 4457700"/>
              <a:gd name="connsiteX110" fmla="*/ 1811677 w 4519987"/>
              <a:gd name="connsiteY110" fmla="*/ 114300 h 4457700"/>
              <a:gd name="connsiteX111" fmla="*/ 1859302 w 4519987"/>
              <a:gd name="connsiteY111" fmla="*/ 104775 h 4457700"/>
              <a:gd name="connsiteX112" fmla="*/ 1916452 w 4519987"/>
              <a:gd name="connsiteY112" fmla="*/ 95250 h 4457700"/>
              <a:gd name="connsiteX113" fmla="*/ 2030752 w 4519987"/>
              <a:gd name="connsiteY113" fmla="*/ 66675 h 4457700"/>
              <a:gd name="connsiteX114" fmla="*/ 2097427 w 4519987"/>
              <a:gd name="connsiteY114" fmla="*/ 47625 h 4457700"/>
              <a:gd name="connsiteX115" fmla="*/ 2164102 w 4519987"/>
              <a:gd name="connsiteY115" fmla="*/ 38100 h 4457700"/>
              <a:gd name="connsiteX116" fmla="*/ 2392702 w 4519987"/>
              <a:gd name="connsiteY116" fmla="*/ 28575 h 4457700"/>
              <a:gd name="connsiteX0" fmla="*/ 2297452 w 4519987"/>
              <a:gd name="connsiteY0" fmla="*/ 0 h 4429260"/>
              <a:gd name="connsiteX1" fmla="*/ 2421277 w 4519987"/>
              <a:gd name="connsiteY1" fmla="*/ 28575 h 4429260"/>
              <a:gd name="connsiteX2" fmla="*/ 2497477 w 4519987"/>
              <a:gd name="connsiteY2" fmla="*/ 47625 h 4429260"/>
              <a:gd name="connsiteX3" fmla="*/ 2754652 w 4519987"/>
              <a:gd name="connsiteY3" fmla="*/ 66675 h 4429260"/>
              <a:gd name="connsiteX4" fmla="*/ 2830852 w 4519987"/>
              <a:gd name="connsiteY4" fmla="*/ 76200 h 4429260"/>
              <a:gd name="connsiteX5" fmla="*/ 2916577 w 4519987"/>
              <a:gd name="connsiteY5" fmla="*/ 85725 h 4429260"/>
              <a:gd name="connsiteX6" fmla="*/ 2973727 w 4519987"/>
              <a:gd name="connsiteY6" fmla="*/ 114300 h 4429260"/>
              <a:gd name="connsiteX7" fmla="*/ 3011827 w 4519987"/>
              <a:gd name="connsiteY7" fmla="*/ 123825 h 4429260"/>
              <a:gd name="connsiteX8" fmla="*/ 3135652 w 4519987"/>
              <a:gd name="connsiteY8" fmla="*/ 171450 h 4429260"/>
              <a:gd name="connsiteX9" fmla="*/ 3173752 w 4519987"/>
              <a:gd name="connsiteY9" fmla="*/ 190500 h 4429260"/>
              <a:gd name="connsiteX10" fmla="*/ 3240427 w 4519987"/>
              <a:gd name="connsiteY10" fmla="*/ 228600 h 4429260"/>
              <a:gd name="connsiteX11" fmla="*/ 3269002 w 4519987"/>
              <a:gd name="connsiteY11" fmla="*/ 238125 h 4429260"/>
              <a:gd name="connsiteX12" fmla="*/ 3297577 w 4519987"/>
              <a:gd name="connsiteY12" fmla="*/ 257175 h 4429260"/>
              <a:gd name="connsiteX13" fmla="*/ 3326152 w 4519987"/>
              <a:gd name="connsiteY13" fmla="*/ 266700 h 4429260"/>
              <a:gd name="connsiteX14" fmla="*/ 3354727 w 4519987"/>
              <a:gd name="connsiteY14" fmla="*/ 285750 h 4429260"/>
              <a:gd name="connsiteX15" fmla="*/ 3421402 w 4519987"/>
              <a:gd name="connsiteY15" fmla="*/ 323850 h 4429260"/>
              <a:gd name="connsiteX16" fmla="*/ 3469027 w 4519987"/>
              <a:gd name="connsiteY16" fmla="*/ 361950 h 4429260"/>
              <a:gd name="connsiteX17" fmla="*/ 3516652 w 4519987"/>
              <a:gd name="connsiteY17" fmla="*/ 390525 h 4429260"/>
              <a:gd name="connsiteX18" fmla="*/ 3630952 w 4519987"/>
              <a:gd name="connsiteY18" fmla="*/ 485775 h 4429260"/>
              <a:gd name="connsiteX19" fmla="*/ 3745252 w 4519987"/>
              <a:gd name="connsiteY19" fmla="*/ 542925 h 4429260"/>
              <a:gd name="connsiteX20" fmla="*/ 3811927 w 4519987"/>
              <a:gd name="connsiteY20" fmla="*/ 581025 h 4429260"/>
              <a:gd name="connsiteX21" fmla="*/ 4027827 w 4519987"/>
              <a:gd name="connsiteY21" fmla="*/ 819150 h 4429260"/>
              <a:gd name="connsiteX22" fmla="*/ 4164352 w 4519987"/>
              <a:gd name="connsiteY22" fmla="*/ 990600 h 4429260"/>
              <a:gd name="connsiteX23" fmla="*/ 4250077 w 4519987"/>
              <a:gd name="connsiteY23" fmla="*/ 1143000 h 4429260"/>
              <a:gd name="connsiteX24" fmla="*/ 4307227 w 4519987"/>
              <a:gd name="connsiteY24" fmla="*/ 1266825 h 4429260"/>
              <a:gd name="connsiteX25" fmla="*/ 4345327 w 4519987"/>
              <a:gd name="connsiteY25" fmla="*/ 1362075 h 4429260"/>
              <a:gd name="connsiteX26" fmla="*/ 4392952 w 4519987"/>
              <a:gd name="connsiteY26" fmla="*/ 1552575 h 4429260"/>
              <a:gd name="connsiteX27" fmla="*/ 4431052 w 4519987"/>
              <a:gd name="connsiteY27" fmla="*/ 1685925 h 4429260"/>
              <a:gd name="connsiteX28" fmla="*/ 4519952 w 4519987"/>
              <a:gd name="connsiteY28" fmla="*/ 2181225 h 4429260"/>
              <a:gd name="connsiteX29" fmla="*/ 4446927 w 4519987"/>
              <a:gd name="connsiteY29" fmla="*/ 2768600 h 4429260"/>
              <a:gd name="connsiteX30" fmla="*/ 4383427 w 4519987"/>
              <a:gd name="connsiteY30" fmla="*/ 2990850 h 4429260"/>
              <a:gd name="connsiteX31" fmla="*/ 4278652 w 4519987"/>
              <a:gd name="connsiteY31" fmla="*/ 3248025 h 4429260"/>
              <a:gd name="connsiteX32" fmla="*/ 4183402 w 4519987"/>
              <a:gd name="connsiteY32" fmla="*/ 3400425 h 4429260"/>
              <a:gd name="connsiteX33" fmla="*/ 4059577 w 4519987"/>
              <a:gd name="connsiteY33" fmla="*/ 3533775 h 4429260"/>
              <a:gd name="connsiteX34" fmla="*/ 3954802 w 4519987"/>
              <a:gd name="connsiteY34" fmla="*/ 3648075 h 4429260"/>
              <a:gd name="connsiteX35" fmla="*/ 3659527 w 4519987"/>
              <a:gd name="connsiteY35" fmla="*/ 3971925 h 4429260"/>
              <a:gd name="connsiteX36" fmla="*/ 3516652 w 4519987"/>
              <a:gd name="connsiteY36" fmla="*/ 4083050 h 4429260"/>
              <a:gd name="connsiteX37" fmla="*/ 3221377 w 4519987"/>
              <a:gd name="connsiteY37" fmla="*/ 4222750 h 4429260"/>
              <a:gd name="connsiteX38" fmla="*/ 3068977 w 4519987"/>
              <a:gd name="connsiteY38" fmla="*/ 4286250 h 4429260"/>
              <a:gd name="connsiteX39" fmla="*/ 2935627 w 4519987"/>
              <a:gd name="connsiteY39" fmla="*/ 4333875 h 4429260"/>
              <a:gd name="connsiteX40" fmla="*/ 2811802 w 4519987"/>
              <a:gd name="connsiteY40" fmla="*/ 4371975 h 4429260"/>
              <a:gd name="connsiteX41" fmla="*/ 2580027 w 4519987"/>
              <a:gd name="connsiteY41" fmla="*/ 4391025 h 4429260"/>
              <a:gd name="connsiteX42" fmla="*/ 2126002 w 4519987"/>
              <a:gd name="connsiteY42" fmla="*/ 4429125 h 4429260"/>
              <a:gd name="connsiteX43" fmla="*/ 1935502 w 4519987"/>
              <a:gd name="connsiteY43" fmla="*/ 4400550 h 4429260"/>
              <a:gd name="connsiteX44" fmla="*/ 1821202 w 4519987"/>
              <a:gd name="connsiteY44" fmla="*/ 4371975 h 4429260"/>
              <a:gd name="connsiteX45" fmla="*/ 1754527 w 4519987"/>
              <a:gd name="connsiteY45" fmla="*/ 4352925 h 4429260"/>
              <a:gd name="connsiteX46" fmla="*/ 1687852 w 4519987"/>
              <a:gd name="connsiteY46" fmla="*/ 4343400 h 4429260"/>
              <a:gd name="connsiteX47" fmla="*/ 1573552 w 4519987"/>
              <a:gd name="connsiteY47" fmla="*/ 4305300 h 4429260"/>
              <a:gd name="connsiteX48" fmla="*/ 1402102 w 4519987"/>
              <a:gd name="connsiteY48" fmla="*/ 4276725 h 4429260"/>
              <a:gd name="connsiteX49" fmla="*/ 1287802 w 4519987"/>
              <a:gd name="connsiteY49" fmla="*/ 4229100 h 4429260"/>
              <a:gd name="connsiteX50" fmla="*/ 1221127 w 4519987"/>
              <a:gd name="connsiteY50" fmla="*/ 4200525 h 4429260"/>
              <a:gd name="connsiteX51" fmla="*/ 1144927 w 4519987"/>
              <a:gd name="connsiteY51" fmla="*/ 4171950 h 4429260"/>
              <a:gd name="connsiteX52" fmla="*/ 1087777 w 4519987"/>
              <a:gd name="connsiteY52" fmla="*/ 4143375 h 4429260"/>
              <a:gd name="connsiteX53" fmla="*/ 1030627 w 4519987"/>
              <a:gd name="connsiteY53" fmla="*/ 4124325 h 4429260"/>
              <a:gd name="connsiteX54" fmla="*/ 925852 w 4519987"/>
              <a:gd name="connsiteY54" fmla="*/ 4067175 h 4429260"/>
              <a:gd name="connsiteX55" fmla="*/ 830602 w 4519987"/>
              <a:gd name="connsiteY55" fmla="*/ 3981450 h 4429260"/>
              <a:gd name="connsiteX56" fmla="*/ 763927 w 4519987"/>
              <a:gd name="connsiteY56" fmla="*/ 3914775 h 4429260"/>
              <a:gd name="connsiteX57" fmla="*/ 725827 w 4519987"/>
              <a:gd name="connsiteY57" fmla="*/ 3876675 h 4429260"/>
              <a:gd name="connsiteX58" fmla="*/ 697252 w 4519987"/>
              <a:gd name="connsiteY58" fmla="*/ 3838575 h 4429260"/>
              <a:gd name="connsiteX59" fmla="*/ 640102 w 4519987"/>
              <a:gd name="connsiteY59" fmla="*/ 3781425 h 4429260"/>
              <a:gd name="connsiteX60" fmla="*/ 611527 w 4519987"/>
              <a:gd name="connsiteY60" fmla="*/ 3733800 h 4429260"/>
              <a:gd name="connsiteX61" fmla="*/ 554377 w 4519987"/>
              <a:gd name="connsiteY61" fmla="*/ 3657600 h 4429260"/>
              <a:gd name="connsiteX62" fmla="*/ 525802 w 4519987"/>
              <a:gd name="connsiteY62" fmla="*/ 3609975 h 4429260"/>
              <a:gd name="connsiteX63" fmla="*/ 497227 w 4519987"/>
              <a:gd name="connsiteY63" fmla="*/ 3552825 h 4429260"/>
              <a:gd name="connsiteX64" fmla="*/ 440077 w 4519987"/>
              <a:gd name="connsiteY64" fmla="*/ 3495675 h 4429260"/>
              <a:gd name="connsiteX65" fmla="*/ 411502 w 4519987"/>
              <a:gd name="connsiteY65" fmla="*/ 3448050 h 4429260"/>
              <a:gd name="connsiteX66" fmla="*/ 278152 w 4519987"/>
              <a:gd name="connsiteY66" fmla="*/ 3257550 h 4429260"/>
              <a:gd name="connsiteX67" fmla="*/ 249577 w 4519987"/>
              <a:gd name="connsiteY67" fmla="*/ 3200400 h 4429260"/>
              <a:gd name="connsiteX68" fmla="*/ 240052 w 4519987"/>
              <a:gd name="connsiteY68" fmla="*/ 3162300 h 4429260"/>
              <a:gd name="connsiteX69" fmla="*/ 221002 w 4519987"/>
              <a:gd name="connsiteY69" fmla="*/ 3105150 h 4429260"/>
              <a:gd name="connsiteX70" fmla="*/ 173377 w 4519987"/>
              <a:gd name="connsiteY70" fmla="*/ 3019425 h 4429260"/>
              <a:gd name="connsiteX71" fmla="*/ 144802 w 4519987"/>
              <a:gd name="connsiteY71" fmla="*/ 2924175 h 4429260"/>
              <a:gd name="connsiteX72" fmla="*/ 68602 w 4519987"/>
              <a:gd name="connsiteY72" fmla="*/ 2724150 h 4429260"/>
              <a:gd name="connsiteX73" fmla="*/ 49552 w 4519987"/>
              <a:gd name="connsiteY73" fmla="*/ 2638425 h 4429260"/>
              <a:gd name="connsiteX74" fmla="*/ 40027 w 4519987"/>
              <a:gd name="connsiteY74" fmla="*/ 2562225 h 4429260"/>
              <a:gd name="connsiteX75" fmla="*/ 30502 w 4519987"/>
              <a:gd name="connsiteY75" fmla="*/ 2514600 h 4429260"/>
              <a:gd name="connsiteX76" fmla="*/ 11452 w 4519987"/>
              <a:gd name="connsiteY76" fmla="*/ 2400300 h 4429260"/>
              <a:gd name="connsiteX77" fmla="*/ 20977 w 4519987"/>
              <a:gd name="connsiteY77" fmla="*/ 1905000 h 4429260"/>
              <a:gd name="connsiteX78" fmla="*/ 30502 w 4519987"/>
              <a:gd name="connsiteY78" fmla="*/ 1838325 h 4429260"/>
              <a:gd name="connsiteX79" fmla="*/ 49552 w 4519987"/>
              <a:gd name="connsiteY79" fmla="*/ 1781175 h 4429260"/>
              <a:gd name="connsiteX80" fmla="*/ 59077 w 4519987"/>
              <a:gd name="connsiteY80" fmla="*/ 1743075 h 4429260"/>
              <a:gd name="connsiteX81" fmla="*/ 78127 w 4519987"/>
              <a:gd name="connsiteY81" fmla="*/ 1685925 h 4429260"/>
              <a:gd name="connsiteX82" fmla="*/ 87652 w 4519987"/>
              <a:gd name="connsiteY82" fmla="*/ 1638300 h 4429260"/>
              <a:gd name="connsiteX83" fmla="*/ 106702 w 4519987"/>
              <a:gd name="connsiteY83" fmla="*/ 1590675 h 4429260"/>
              <a:gd name="connsiteX84" fmla="*/ 135277 w 4519987"/>
              <a:gd name="connsiteY84" fmla="*/ 1504950 h 4429260"/>
              <a:gd name="connsiteX85" fmla="*/ 154327 w 4519987"/>
              <a:gd name="connsiteY85" fmla="*/ 1419225 h 4429260"/>
              <a:gd name="connsiteX86" fmla="*/ 230527 w 4519987"/>
              <a:gd name="connsiteY86" fmla="*/ 1276350 h 4429260"/>
              <a:gd name="connsiteX87" fmla="*/ 240052 w 4519987"/>
              <a:gd name="connsiteY87" fmla="*/ 1247775 h 4429260"/>
              <a:gd name="connsiteX88" fmla="*/ 268627 w 4519987"/>
              <a:gd name="connsiteY88" fmla="*/ 1200150 h 4429260"/>
              <a:gd name="connsiteX89" fmla="*/ 287677 w 4519987"/>
              <a:gd name="connsiteY89" fmla="*/ 1152525 h 4429260"/>
              <a:gd name="connsiteX90" fmla="*/ 316252 w 4519987"/>
              <a:gd name="connsiteY90" fmla="*/ 1114425 h 4429260"/>
              <a:gd name="connsiteX91" fmla="*/ 363877 w 4519987"/>
              <a:gd name="connsiteY91" fmla="*/ 1038225 h 4429260"/>
              <a:gd name="connsiteX92" fmla="*/ 382927 w 4519987"/>
              <a:gd name="connsiteY92" fmla="*/ 1009650 h 4429260"/>
              <a:gd name="connsiteX93" fmla="*/ 440077 w 4519987"/>
              <a:gd name="connsiteY93" fmla="*/ 904875 h 4429260"/>
              <a:gd name="connsiteX94" fmla="*/ 478177 w 4519987"/>
              <a:gd name="connsiteY94" fmla="*/ 857250 h 4429260"/>
              <a:gd name="connsiteX95" fmla="*/ 497227 w 4519987"/>
              <a:gd name="connsiteY95" fmla="*/ 828675 h 4429260"/>
              <a:gd name="connsiteX96" fmla="*/ 535327 w 4519987"/>
              <a:gd name="connsiteY96" fmla="*/ 800100 h 4429260"/>
              <a:gd name="connsiteX97" fmla="*/ 602002 w 4519987"/>
              <a:gd name="connsiteY97" fmla="*/ 733425 h 4429260"/>
              <a:gd name="connsiteX98" fmla="*/ 668677 w 4519987"/>
              <a:gd name="connsiteY98" fmla="*/ 676275 h 4429260"/>
              <a:gd name="connsiteX99" fmla="*/ 697252 w 4519987"/>
              <a:gd name="connsiteY99" fmla="*/ 657225 h 4429260"/>
              <a:gd name="connsiteX100" fmla="*/ 840127 w 4519987"/>
              <a:gd name="connsiteY100" fmla="*/ 533400 h 4429260"/>
              <a:gd name="connsiteX101" fmla="*/ 887752 w 4519987"/>
              <a:gd name="connsiteY101" fmla="*/ 504825 h 4429260"/>
              <a:gd name="connsiteX102" fmla="*/ 1167152 w 4519987"/>
              <a:gd name="connsiteY102" fmla="*/ 311150 h 4429260"/>
              <a:gd name="connsiteX103" fmla="*/ 1268752 w 4519987"/>
              <a:gd name="connsiteY103" fmla="*/ 285750 h 4429260"/>
              <a:gd name="connsiteX104" fmla="*/ 1411627 w 4519987"/>
              <a:gd name="connsiteY104" fmla="*/ 190500 h 4429260"/>
              <a:gd name="connsiteX105" fmla="*/ 1449727 w 4519987"/>
              <a:gd name="connsiteY105" fmla="*/ 161925 h 4429260"/>
              <a:gd name="connsiteX106" fmla="*/ 1525927 w 4519987"/>
              <a:gd name="connsiteY106" fmla="*/ 152400 h 4429260"/>
              <a:gd name="connsiteX107" fmla="*/ 1583077 w 4519987"/>
              <a:gd name="connsiteY107" fmla="*/ 142875 h 4429260"/>
              <a:gd name="connsiteX108" fmla="*/ 1716427 w 4519987"/>
              <a:gd name="connsiteY108" fmla="*/ 123825 h 4429260"/>
              <a:gd name="connsiteX109" fmla="*/ 1811677 w 4519987"/>
              <a:gd name="connsiteY109" fmla="*/ 114300 h 4429260"/>
              <a:gd name="connsiteX110" fmla="*/ 1859302 w 4519987"/>
              <a:gd name="connsiteY110" fmla="*/ 104775 h 4429260"/>
              <a:gd name="connsiteX111" fmla="*/ 1916452 w 4519987"/>
              <a:gd name="connsiteY111" fmla="*/ 95250 h 4429260"/>
              <a:gd name="connsiteX112" fmla="*/ 2030752 w 4519987"/>
              <a:gd name="connsiteY112" fmla="*/ 66675 h 4429260"/>
              <a:gd name="connsiteX113" fmla="*/ 2097427 w 4519987"/>
              <a:gd name="connsiteY113" fmla="*/ 47625 h 4429260"/>
              <a:gd name="connsiteX114" fmla="*/ 2164102 w 4519987"/>
              <a:gd name="connsiteY114" fmla="*/ 38100 h 4429260"/>
              <a:gd name="connsiteX115" fmla="*/ 2392702 w 4519987"/>
              <a:gd name="connsiteY115" fmla="*/ 28575 h 4429260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687852 w 4519987"/>
              <a:gd name="connsiteY45" fmla="*/ 4343400 h 4429225"/>
              <a:gd name="connsiteX46" fmla="*/ 1573552 w 4519987"/>
              <a:gd name="connsiteY46" fmla="*/ 4305300 h 4429225"/>
              <a:gd name="connsiteX47" fmla="*/ 1402102 w 4519987"/>
              <a:gd name="connsiteY47" fmla="*/ 4276725 h 4429225"/>
              <a:gd name="connsiteX48" fmla="*/ 1287802 w 4519987"/>
              <a:gd name="connsiteY48" fmla="*/ 4229100 h 4429225"/>
              <a:gd name="connsiteX49" fmla="*/ 1221127 w 4519987"/>
              <a:gd name="connsiteY49" fmla="*/ 4200525 h 4429225"/>
              <a:gd name="connsiteX50" fmla="*/ 1144927 w 4519987"/>
              <a:gd name="connsiteY50" fmla="*/ 4171950 h 4429225"/>
              <a:gd name="connsiteX51" fmla="*/ 1087777 w 4519987"/>
              <a:gd name="connsiteY51" fmla="*/ 4143375 h 4429225"/>
              <a:gd name="connsiteX52" fmla="*/ 1030627 w 4519987"/>
              <a:gd name="connsiteY52" fmla="*/ 4124325 h 4429225"/>
              <a:gd name="connsiteX53" fmla="*/ 925852 w 4519987"/>
              <a:gd name="connsiteY53" fmla="*/ 4067175 h 4429225"/>
              <a:gd name="connsiteX54" fmla="*/ 830602 w 4519987"/>
              <a:gd name="connsiteY54" fmla="*/ 3981450 h 4429225"/>
              <a:gd name="connsiteX55" fmla="*/ 763927 w 4519987"/>
              <a:gd name="connsiteY55" fmla="*/ 3914775 h 4429225"/>
              <a:gd name="connsiteX56" fmla="*/ 725827 w 4519987"/>
              <a:gd name="connsiteY56" fmla="*/ 3876675 h 4429225"/>
              <a:gd name="connsiteX57" fmla="*/ 697252 w 4519987"/>
              <a:gd name="connsiteY57" fmla="*/ 3838575 h 4429225"/>
              <a:gd name="connsiteX58" fmla="*/ 640102 w 4519987"/>
              <a:gd name="connsiteY58" fmla="*/ 3781425 h 4429225"/>
              <a:gd name="connsiteX59" fmla="*/ 611527 w 4519987"/>
              <a:gd name="connsiteY59" fmla="*/ 3733800 h 4429225"/>
              <a:gd name="connsiteX60" fmla="*/ 554377 w 4519987"/>
              <a:gd name="connsiteY60" fmla="*/ 3657600 h 4429225"/>
              <a:gd name="connsiteX61" fmla="*/ 525802 w 4519987"/>
              <a:gd name="connsiteY61" fmla="*/ 3609975 h 4429225"/>
              <a:gd name="connsiteX62" fmla="*/ 497227 w 4519987"/>
              <a:gd name="connsiteY62" fmla="*/ 3552825 h 4429225"/>
              <a:gd name="connsiteX63" fmla="*/ 440077 w 4519987"/>
              <a:gd name="connsiteY63" fmla="*/ 3495675 h 4429225"/>
              <a:gd name="connsiteX64" fmla="*/ 411502 w 4519987"/>
              <a:gd name="connsiteY64" fmla="*/ 3448050 h 4429225"/>
              <a:gd name="connsiteX65" fmla="*/ 278152 w 4519987"/>
              <a:gd name="connsiteY65" fmla="*/ 3257550 h 4429225"/>
              <a:gd name="connsiteX66" fmla="*/ 249577 w 4519987"/>
              <a:gd name="connsiteY66" fmla="*/ 3200400 h 4429225"/>
              <a:gd name="connsiteX67" fmla="*/ 240052 w 4519987"/>
              <a:gd name="connsiteY67" fmla="*/ 3162300 h 4429225"/>
              <a:gd name="connsiteX68" fmla="*/ 221002 w 4519987"/>
              <a:gd name="connsiteY68" fmla="*/ 3105150 h 4429225"/>
              <a:gd name="connsiteX69" fmla="*/ 173377 w 4519987"/>
              <a:gd name="connsiteY69" fmla="*/ 3019425 h 4429225"/>
              <a:gd name="connsiteX70" fmla="*/ 144802 w 4519987"/>
              <a:gd name="connsiteY70" fmla="*/ 2924175 h 4429225"/>
              <a:gd name="connsiteX71" fmla="*/ 68602 w 4519987"/>
              <a:gd name="connsiteY71" fmla="*/ 2724150 h 4429225"/>
              <a:gd name="connsiteX72" fmla="*/ 49552 w 4519987"/>
              <a:gd name="connsiteY72" fmla="*/ 2638425 h 4429225"/>
              <a:gd name="connsiteX73" fmla="*/ 40027 w 4519987"/>
              <a:gd name="connsiteY73" fmla="*/ 2562225 h 4429225"/>
              <a:gd name="connsiteX74" fmla="*/ 30502 w 4519987"/>
              <a:gd name="connsiteY74" fmla="*/ 2514600 h 4429225"/>
              <a:gd name="connsiteX75" fmla="*/ 11452 w 4519987"/>
              <a:gd name="connsiteY75" fmla="*/ 2400300 h 4429225"/>
              <a:gd name="connsiteX76" fmla="*/ 20977 w 4519987"/>
              <a:gd name="connsiteY76" fmla="*/ 1905000 h 4429225"/>
              <a:gd name="connsiteX77" fmla="*/ 30502 w 4519987"/>
              <a:gd name="connsiteY77" fmla="*/ 1838325 h 4429225"/>
              <a:gd name="connsiteX78" fmla="*/ 49552 w 4519987"/>
              <a:gd name="connsiteY78" fmla="*/ 1781175 h 4429225"/>
              <a:gd name="connsiteX79" fmla="*/ 59077 w 4519987"/>
              <a:gd name="connsiteY79" fmla="*/ 1743075 h 4429225"/>
              <a:gd name="connsiteX80" fmla="*/ 78127 w 4519987"/>
              <a:gd name="connsiteY80" fmla="*/ 1685925 h 4429225"/>
              <a:gd name="connsiteX81" fmla="*/ 87652 w 4519987"/>
              <a:gd name="connsiteY81" fmla="*/ 1638300 h 4429225"/>
              <a:gd name="connsiteX82" fmla="*/ 106702 w 4519987"/>
              <a:gd name="connsiteY82" fmla="*/ 1590675 h 4429225"/>
              <a:gd name="connsiteX83" fmla="*/ 135277 w 4519987"/>
              <a:gd name="connsiteY83" fmla="*/ 1504950 h 4429225"/>
              <a:gd name="connsiteX84" fmla="*/ 154327 w 4519987"/>
              <a:gd name="connsiteY84" fmla="*/ 1419225 h 4429225"/>
              <a:gd name="connsiteX85" fmla="*/ 230527 w 4519987"/>
              <a:gd name="connsiteY85" fmla="*/ 1276350 h 4429225"/>
              <a:gd name="connsiteX86" fmla="*/ 240052 w 4519987"/>
              <a:gd name="connsiteY86" fmla="*/ 1247775 h 4429225"/>
              <a:gd name="connsiteX87" fmla="*/ 268627 w 4519987"/>
              <a:gd name="connsiteY87" fmla="*/ 1200150 h 4429225"/>
              <a:gd name="connsiteX88" fmla="*/ 287677 w 4519987"/>
              <a:gd name="connsiteY88" fmla="*/ 1152525 h 4429225"/>
              <a:gd name="connsiteX89" fmla="*/ 316252 w 4519987"/>
              <a:gd name="connsiteY89" fmla="*/ 1114425 h 4429225"/>
              <a:gd name="connsiteX90" fmla="*/ 363877 w 4519987"/>
              <a:gd name="connsiteY90" fmla="*/ 1038225 h 4429225"/>
              <a:gd name="connsiteX91" fmla="*/ 382927 w 4519987"/>
              <a:gd name="connsiteY91" fmla="*/ 1009650 h 4429225"/>
              <a:gd name="connsiteX92" fmla="*/ 440077 w 4519987"/>
              <a:gd name="connsiteY92" fmla="*/ 904875 h 4429225"/>
              <a:gd name="connsiteX93" fmla="*/ 478177 w 4519987"/>
              <a:gd name="connsiteY93" fmla="*/ 857250 h 4429225"/>
              <a:gd name="connsiteX94" fmla="*/ 497227 w 4519987"/>
              <a:gd name="connsiteY94" fmla="*/ 828675 h 4429225"/>
              <a:gd name="connsiteX95" fmla="*/ 535327 w 4519987"/>
              <a:gd name="connsiteY95" fmla="*/ 800100 h 4429225"/>
              <a:gd name="connsiteX96" fmla="*/ 602002 w 4519987"/>
              <a:gd name="connsiteY96" fmla="*/ 733425 h 4429225"/>
              <a:gd name="connsiteX97" fmla="*/ 668677 w 4519987"/>
              <a:gd name="connsiteY97" fmla="*/ 676275 h 4429225"/>
              <a:gd name="connsiteX98" fmla="*/ 697252 w 4519987"/>
              <a:gd name="connsiteY98" fmla="*/ 657225 h 4429225"/>
              <a:gd name="connsiteX99" fmla="*/ 840127 w 4519987"/>
              <a:gd name="connsiteY99" fmla="*/ 533400 h 4429225"/>
              <a:gd name="connsiteX100" fmla="*/ 887752 w 4519987"/>
              <a:gd name="connsiteY100" fmla="*/ 504825 h 4429225"/>
              <a:gd name="connsiteX101" fmla="*/ 1167152 w 4519987"/>
              <a:gd name="connsiteY101" fmla="*/ 311150 h 4429225"/>
              <a:gd name="connsiteX102" fmla="*/ 1268752 w 4519987"/>
              <a:gd name="connsiteY102" fmla="*/ 285750 h 4429225"/>
              <a:gd name="connsiteX103" fmla="*/ 1411627 w 4519987"/>
              <a:gd name="connsiteY103" fmla="*/ 190500 h 4429225"/>
              <a:gd name="connsiteX104" fmla="*/ 1449727 w 4519987"/>
              <a:gd name="connsiteY104" fmla="*/ 161925 h 4429225"/>
              <a:gd name="connsiteX105" fmla="*/ 1525927 w 4519987"/>
              <a:gd name="connsiteY105" fmla="*/ 152400 h 4429225"/>
              <a:gd name="connsiteX106" fmla="*/ 1583077 w 4519987"/>
              <a:gd name="connsiteY106" fmla="*/ 142875 h 4429225"/>
              <a:gd name="connsiteX107" fmla="*/ 1716427 w 4519987"/>
              <a:gd name="connsiteY107" fmla="*/ 123825 h 4429225"/>
              <a:gd name="connsiteX108" fmla="*/ 1811677 w 4519987"/>
              <a:gd name="connsiteY108" fmla="*/ 114300 h 4429225"/>
              <a:gd name="connsiteX109" fmla="*/ 1859302 w 4519987"/>
              <a:gd name="connsiteY109" fmla="*/ 104775 h 4429225"/>
              <a:gd name="connsiteX110" fmla="*/ 1916452 w 4519987"/>
              <a:gd name="connsiteY110" fmla="*/ 95250 h 4429225"/>
              <a:gd name="connsiteX111" fmla="*/ 2030752 w 4519987"/>
              <a:gd name="connsiteY111" fmla="*/ 66675 h 4429225"/>
              <a:gd name="connsiteX112" fmla="*/ 2097427 w 4519987"/>
              <a:gd name="connsiteY112" fmla="*/ 47625 h 4429225"/>
              <a:gd name="connsiteX113" fmla="*/ 2164102 w 4519987"/>
              <a:gd name="connsiteY113" fmla="*/ 38100 h 4429225"/>
              <a:gd name="connsiteX114" fmla="*/ 2392702 w 4519987"/>
              <a:gd name="connsiteY114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402102 w 4519987"/>
              <a:gd name="connsiteY46" fmla="*/ 4276725 h 4429225"/>
              <a:gd name="connsiteX47" fmla="*/ 1287802 w 4519987"/>
              <a:gd name="connsiteY47" fmla="*/ 4229100 h 4429225"/>
              <a:gd name="connsiteX48" fmla="*/ 1221127 w 4519987"/>
              <a:gd name="connsiteY48" fmla="*/ 4200525 h 4429225"/>
              <a:gd name="connsiteX49" fmla="*/ 1144927 w 4519987"/>
              <a:gd name="connsiteY49" fmla="*/ 4171950 h 4429225"/>
              <a:gd name="connsiteX50" fmla="*/ 1087777 w 4519987"/>
              <a:gd name="connsiteY50" fmla="*/ 4143375 h 4429225"/>
              <a:gd name="connsiteX51" fmla="*/ 1030627 w 4519987"/>
              <a:gd name="connsiteY51" fmla="*/ 4124325 h 4429225"/>
              <a:gd name="connsiteX52" fmla="*/ 925852 w 4519987"/>
              <a:gd name="connsiteY52" fmla="*/ 4067175 h 4429225"/>
              <a:gd name="connsiteX53" fmla="*/ 830602 w 4519987"/>
              <a:gd name="connsiteY53" fmla="*/ 3981450 h 4429225"/>
              <a:gd name="connsiteX54" fmla="*/ 763927 w 4519987"/>
              <a:gd name="connsiteY54" fmla="*/ 3914775 h 4429225"/>
              <a:gd name="connsiteX55" fmla="*/ 725827 w 4519987"/>
              <a:gd name="connsiteY55" fmla="*/ 3876675 h 4429225"/>
              <a:gd name="connsiteX56" fmla="*/ 697252 w 4519987"/>
              <a:gd name="connsiteY56" fmla="*/ 3838575 h 4429225"/>
              <a:gd name="connsiteX57" fmla="*/ 640102 w 4519987"/>
              <a:gd name="connsiteY57" fmla="*/ 3781425 h 4429225"/>
              <a:gd name="connsiteX58" fmla="*/ 611527 w 4519987"/>
              <a:gd name="connsiteY58" fmla="*/ 3733800 h 4429225"/>
              <a:gd name="connsiteX59" fmla="*/ 554377 w 4519987"/>
              <a:gd name="connsiteY59" fmla="*/ 3657600 h 4429225"/>
              <a:gd name="connsiteX60" fmla="*/ 525802 w 4519987"/>
              <a:gd name="connsiteY60" fmla="*/ 3609975 h 4429225"/>
              <a:gd name="connsiteX61" fmla="*/ 497227 w 4519987"/>
              <a:gd name="connsiteY61" fmla="*/ 3552825 h 4429225"/>
              <a:gd name="connsiteX62" fmla="*/ 440077 w 4519987"/>
              <a:gd name="connsiteY62" fmla="*/ 3495675 h 4429225"/>
              <a:gd name="connsiteX63" fmla="*/ 411502 w 4519987"/>
              <a:gd name="connsiteY63" fmla="*/ 3448050 h 4429225"/>
              <a:gd name="connsiteX64" fmla="*/ 278152 w 4519987"/>
              <a:gd name="connsiteY64" fmla="*/ 3257550 h 4429225"/>
              <a:gd name="connsiteX65" fmla="*/ 249577 w 4519987"/>
              <a:gd name="connsiteY65" fmla="*/ 3200400 h 4429225"/>
              <a:gd name="connsiteX66" fmla="*/ 240052 w 4519987"/>
              <a:gd name="connsiteY66" fmla="*/ 3162300 h 4429225"/>
              <a:gd name="connsiteX67" fmla="*/ 221002 w 4519987"/>
              <a:gd name="connsiteY67" fmla="*/ 3105150 h 4429225"/>
              <a:gd name="connsiteX68" fmla="*/ 173377 w 4519987"/>
              <a:gd name="connsiteY68" fmla="*/ 3019425 h 4429225"/>
              <a:gd name="connsiteX69" fmla="*/ 144802 w 4519987"/>
              <a:gd name="connsiteY69" fmla="*/ 2924175 h 4429225"/>
              <a:gd name="connsiteX70" fmla="*/ 68602 w 4519987"/>
              <a:gd name="connsiteY70" fmla="*/ 2724150 h 4429225"/>
              <a:gd name="connsiteX71" fmla="*/ 49552 w 4519987"/>
              <a:gd name="connsiteY71" fmla="*/ 2638425 h 4429225"/>
              <a:gd name="connsiteX72" fmla="*/ 40027 w 4519987"/>
              <a:gd name="connsiteY72" fmla="*/ 2562225 h 4429225"/>
              <a:gd name="connsiteX73" fmla="*/ 30502 w 4519987"/>
              <a:gd name="connsiteY73" fmla="*/ 2514600 h 4429225"/>
              <a:gd name="connsiteX74" fmla="*/ 11452 w 4519987"/>
              <a:gd name="connsiteY74" fmla="*/ 2400300 h 4429225"/>
              <a:gd name="connsiteX75" fmla="*/ 20977 w 4519987"/>
              <a:gd name="connsiteY75" fmla="*/ 1905000 h 4429225"/>
              <a:gd name="connsiteX76" fmla="*/ 30502 w 4519987"/>
              <a:gd name="connsiteY76" fmla="*/ 1838325 h 4429225"/>
              <a:gd name="connsiteX77" fmla="*/ 49552 w 4519987"/>
              <a:gd name="connsiteY77" fmla="*/ 1781175 h 4429225"/>
              <a:gd name="connsiteX78" fmla="*/ 59077 w 4519987"/>
              <a:gd name="connsiteY78" fmla="*/ 1743075 h 4429225"/>
              <a:gd name="connsiteX79" fmla="*/ 78127 w 4519987"/>
              <a:gd name="connsiteY79" fmla="*/ 1685925 h 4429225"/>
              <a:gd name="connsiteX80" fmla="*/ 87652 w 4519987"/>
              <a:gd name="connsiteY80" fmla="*/ 1638300 h 4429225"/>
              <a:gd name="connsiteX81" fmla="*/ 106702 w 4519987"/>
              <a:gd name="connsiteY81" fmla="*/ 1590675 h 4429225"/>
              <a:gd name="connsiteX82" fmla="*/ 135277 w 4519987"/>
              <a:gd name="connsiteY82" fmla="*/ 1504950 h 4429225"/>
              <a:gd name="connsiteX83" fmla="*/ 154327 w 4519987"/>
              <a:gd name="connsiteY83" fmla="*/ 1419225 h 4429225"/>
              <a:gd name="connsiteX84" fmla="*/ 230527 w 4519987"/>
              <a:gd name="connsiteY84" fmla="*/ 1276350 h 4429225"/>
              <a:gd name="connsiteX85" fmla="*/ 240052 w 4519987"/>
              <a:gd name="connsiteY85" fmla="*/ 1247775 h 4429225"/>
              <a:gd name="connsiteX86" fmla="*/ 268627 w 4519987"/>
              <a:gd name="connsiteY86" fmla="*/ 1200150 h 4429225"/>
              <a:gd name="connsiteX87" fmla="*/ 287677 w 4519987"/>
              <a:gd name="connsiteY87" fmla="*/ 1152525 h 4429225"/>
              <a:gd name="connsiteX88" fmla="*/ 316252 w 4519987"/>
              <a:gd name="connsiteY88" fmla="*/ 1114425 h 4429225"/>
              <a:gd name="connsiteX89" fmla="*/ 363877 w 4519987"/>
              <a:gd name="connsiteY89" fmla="*/ 1038225 h 4429225"/>
              <a:gd name="connsiteX90" fmla="*/ 382927 w 4519987"/>
              <a:gd name="connsiteY90" fmla="*/ 1009650 h 4429225"/>
              <a:gd name="connsiteX91" fmla="*/ 440077 w 4519987"/>
              <a:gd name="connsiteY91" fmla="*/ 904875 h 4429225"/>
              <a:gd name="connsiteX92" fmla="*/ 478177 w 4519987"/>
              <a:gd name="connsiteY92" fmla="*/ 857250 h 4429225"/>
              <a:gd name="connsiteX93" fmla="*/ 497227 w 4519987"/>
              <a:gd name="connsiteY93" fmla="*/ 828675 h 4429225"/>
              <a:gd name="connsiteX94" fmla="*/ 535327 w 4519987"/>
              <a:gd name="connsiteY94" fmla="*/ 800100 h 4429225"/>
              <a:gd name="connsiteX95" fmla="*/ 602002 w 4519987"/>
              <a:gd name="connsiteY95" fmla="*/ 733425 h 4429225"/>
              <a:gd name="connsiteX96" fmla="*/ 668677 w 4519987"/>
              <a:gd name="connsiteY96" fmla="*/ 676275 h 4429225"/>
              <a:gd name="connsiteX97" fmla="*/ 697252 w 4519987"/>
              <a:gd name="connsiteY97" fmla="*/ 657225 h 4429225"/>
              <a:gd name="connsiteX98" fmla="*/ 840127 w 4519987"/>
              <a:gd name="connsiteY98" fmla="*/ 533400 h 4429225"/>
              <a:gd name="connsiteX99" fmla="*/ 887752 w 4519987"/>
              <a:gd name="connsiteY99" fmla="*/ 504825 h 4429225"/>
              <a:gd name="connsiteX100" fmla="*/ 1167152 w 4519987"/>
              <a:gd name="connsiteY100" fmla="*/ 311150 h 4429225"/>
              <a:gd name="connsiteX101" fmla="*/ 1268752 w 4519987"/>
              <a:gd name="connsiteY101" fmla="*/ 285750 h 4429225"/>
              <a:gd name="connsiteX102" fmla="*/ 1411627 w 4519987"/>
              <a:gd name="connsiteY102" fmla="*/ 190500 h 4429225"/>
              <a:gd name="connsiteX103" fmla="*/ 1449727 w 4519987"/>
              <a:gd name="connsiteY103" fmla="*/ 161925 h 4429225"/>
              <a:gd name="connsiteX104" fmla="*/ 1525927 w 4519987"/>
              <a:gd name="connsiteY104" fmla="*/ 152400 h 4429225"/>
              <a:gd name="connsiteX105" fmla="*/ 1583077 w 4519987"/>
              <a:gd name="connsiteY105" fmla="*/ 142875 h 4429225"/>
              <a:gd name="connsiteX106" fmla="*/ 1716427 w 4519987"/>
              <a:gd name="connsiteY106" fmla="*/ 123825 h 4429225"/>
              <a:gd name="connsiteX107" fmla="*/ 1811677 w 4519987"/>
              <a:gd name="connsiteY107" fmla="*/ 114300 h 4429225"/>
              <a:gd name="connsiteX108" fmla="*/ 1859302 w 4519987"/>
              <a:gd name="connsiteY108" fmla="*/ 104775 h 4429225"/>
              <a:gd name="connsiteX109" fmla="*/ 1916452 w 4519987"/>
              <a:gd name="connsiteY109" fmla="*/ 95250 h 4429225"/>
              <a:gd name="connsiteX110" fmla="*/ 2030752 w 4519987"/>
              <a:gd name="connsiteY110" fmla="*/ 66675 h 4429225"/>
              <a:gd name="connsiteX111" fmla="*/ 2097427 w 4519987"/>
              <a:gd name="connsiteY111" fmla="*/ 47625 h 4429225"/>
              <a:gd name="connsiteX112" fmla="*/ 2164102 w 4519987"/>
              <a:gd name="connsiteY112" fmla="*/ 38100 h 4429225"/>
              <a:gd name="connsiteX113" fmla="*/ 2392702 w 4519987"/>
              <a:gd name="connsiteY113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221127 w 4519987"/>
              <a:gd name="connsiteY47" fmla="*/ 4200525 h 4429225"/>
              <a:gd name="connsiteX48" fmla="*/ 1144927 w 4519987"/>
              <a:gd name="connsiteY48" fmla="*/ 4171950 h 4429225"/>
              <a:gd name="connsiteX49" fmla="*/ 1087777 w 4519987"/>
              <a:gd name="connsiteY49" fmla="*/ 4143375 h 4429225"/>
              <a:gd name="connsiteX50" fmla="*/ 1030627 w 4519987"/>
              <a:gd name="connsiteY50" fmla="*/ 4124325 h 4429225"/>
              <a:gd name="connsiteX51" fmla="*/ 925852 w 4519987"/>
              <a:gd name="connsiteY51" fmla="*/ 4067175 h 4429225"/>
              <a:gd name="connsiteX52" fmla="*/ 830602 w 4519987"/>
              <a:gd name="connsiteY52" fmla="*/ 3981450 h 4429225"/>
              <a:gd name="connsiteX53" fmla="*/ 763927 w 4519987"/>
              <a:gd name="connsiteY53" fmla="*/ 3914775 h 4429225"/>
              <a:gd name="connsiteX54" fmla="*/ 725827 w 4519987"/>
              <a:gd name="connsiteY54" fmla="*/ 3876675 h 4429225"/>
              <a:gd name="connsiteX55" fmla="*/ 697252 w 4519987"/>
              <a:gd name="connsiteY55" fmla="*/ 3838575 h 4429225"/>
              <a:gd name="connsiteX56" fmla="*/ 640102 w 4519987"/>
              <a:gd name="connsiteY56" fmla="*/ 3781425 h 4429225"/>
              <a:gd name="connsiteX57" fmla="*/ 611527 w 4519987"/>
              <a:gd name="connsiteY57" fmla="*/ 3733800 h 4429225"/>
              <a:gd name="connsiteX58" fmla="*/ 554377 w 4519987"/>
              <a:gd name="connsiteY58" fmla="*/ 3657600 h 4429225"/>
              <a:gd name="connsiteX59" fmla="*/ 525802 w 4519987"/>
              <a:gd name="connsiteY59" fmla="*/ 3609975 h 4429225"/>
              <a:gd name="connsiteX60" fmla="*/ 497227 w 4519987"/>
              <a:gd name="connsiteY60" fmla="*/ 3552825 h 4429225"/>
              <a:gd name="connsiteX61" fmla="*/ 440077 w 4519987"/>
              <a:gd name="connsiteY61" fmla="*/ 3495675 h 4429225"/>
              <a:gd name="connsiteX62" fmla="*/ 411502 w 4519987"/>
              <a:gd name="connsiteY62" fmla="*/ 3448050 h 4429225"/>
              <a:gd name="connsiteX63" fmla="*/ 278152 w 4519987"/>
              <a:gd name="connsiteY63" fmla="*/ 3257550 h 4429225"/>
              <a:gd name="connsiteX64" fmla="*/ 249577 w 4519987"/>
              <a:gd name="connsiteY64" fmla="*/ 3200400 h 4429225"/>
              <a:gd name="connsiteX65" fmla="*/ 240052 w 4519987"/>
              <a:gd name="connsiteY65" fmla="*/ 3162300 h 4429225"/>
              <a:gd name="connsiteX66" fmla="*/ 221002 w 4519987"/>
              <a:gd name="connsiteY66" fmla="*/ 3105150 h 4429225"/>
              <a:gd name="connsiteX67" fmla="*/ 173377 w 4519987"/>
              <a:gd name="connsiteY67" fmla="*/ 3019425 h 4429225"/>
              <a:gd name="connsiteX68" fmla="*/ 144802 w 4519987"/>
              <a:gd name="connsiteY68" fmla="*/ 2924175 h 4429225"/>
              <a:gd name="connsiteX69" fmla="*/ 68602 w 4519987"/>
              <a:gd name="connsiteY69" fmla="*/ 2724150 h 4429225"/>
              <a:gd name="connsiteX70" fmla="*/ 49552 w 4519987"/>
              <a:gd name="connsiteY70" fmla="*/ 2638425 h 4429225"/>
              <a:gd name="connsiteX71" fmla="*/ 40027 w 4519987"/>
              <a:gd name="connsiteY71" fmla="*/ 2562225 h 4429225"/>
              <a:gd name="connsiteX72" fmla="*/ 30502 w 4519987"/>
              <a:gd name="connsiteY72" fmla="*/ 2514600 h 4429225"/>
              <a:gd name="connsiteX73" fmla="*/ 11452 w 4519987"/>
              <a:gd name="connsiteY73" fmla="*/ 2400300 h 4429225"/>
              <a:gd name="connsiteX74" fmla="*/ 20977 w 4519987"/>
              <a:gd name="connsiteY74" fmla="*/ 1905000 h 4429225"/>
              <a:gd name="connsiteX75" fmla="*/ 30502 w 4519987"/>
              <a:gd name="connsiteY75" fmla="*/ 1838325 h 4429225"/>
              <a:gd name="connsiteX76" fmla="*/ 49552 w 4519987"/>
              <a:gd name="connsiteY76" fmla="*/ 1781175 h 4429225"/>
              <a:gd name="connsiteX77" fmla="*/ 59077 w 4519987"/>
              <a:gd name="connsiteY77" fmla="*/ 1743075 h 4429225"/>
              <a:gd name="connsiteX78" fmla="*/ 78127 w 4519987"/>
              <a:gd name="connsiteY78" fmla="*/ 1685925 h 4429225"/>
              <a:gd name="connsiteX79" fmla="*/ 87652 w 4519987"/>
              <a:gd name="connsiteY79" fmla="*/ 1638300 h 4429225"/>
              <a:gd name="connsiteX80" fmla="*/ 106702 w 4519987"/>
              <a:gd name="connsiteY80" fmla="*/ 1590675 h 4429225"/>
              <a:gd name="connsiteX81" fmla="*/ 135277 w 4519987"/>
              <a:gd name="connsiteY81" fmla="*/ 1504950 h 4429225"/>
              <a:gd name="connsiteX82" fmla="*/ 154327 w 4519987"/>
              <a:gd name="connsiteY82" fmla="*/ 1419225 h 4429225"/>
              <a:gd name="connsiteX83" fmla="*/ 230527 w 4519987"/>
              <a:gd name="connsiteY83" fmla="*/ 1276350 h 4429225"/>
              <a:gd name="connsiteX84" fmla="*/ 240052 w 4519987"/>
              <a:gd name="connsiteY84" fmla="*/ 1247775 h 4429225"/>
              <a:gd name="connsiteX85" fmla="*/ 268627 w 4519987"/>
              <a:gd name="connsiteY85" fmla="*/ 1200150 h 4429225"/>
              <a:gd name="connsiteX86" fmla="*/ 287677 w 4519987"/>
              <a:gd name="connsiteY86" fmla="*/ 1152525 h 4429225"/>
              <a:gd name="connsiteX87" fmla="*/ 316252 w 4519987"/>
              <a:gd name="connsiteY87" fmla="*/ 1114425 h 4429225"/>
              <a:gd name="connsiteX88" fmla="*/ 363877 w 4519987"/>
              <a:gd name="connsiteY88" fmla="*/ 1038225 h 4429225"/>
              <a:gd name="connsiteX89" fmla="*/ 382927 w 4519987"/>
              <a:gd name="connsiteY89" fmla="*/ 1009650 h 4429225"/>
              <a:gd name="connsiteX90" fmla="*/ 440077 w 4519987"/>
              <a:gd name="connsiteY90" fmla="*/ 904875 h 4429225"/>
              <a:gd name="connsiteX91" fmla="*/ 478177 w 4519987"/>
              <a:gd name="connsiteY91" fmla="*/ 857250 h 4429225"/>
              <a:gd name="connsiteX92" fmla="*/ 497227 w 4519987"/>
              <a:gd name="connsiteY92" fmla="*/ 828675 h 4429225"/>
              <a:gd name="connsiteX93" fmla="*/ 535327 w 4519987"/>
              <a:gd name="connsiteY93" fmla="*/ 800100 h 4429225"/>
              <a:gd name="connsiteX94" fmla="*/ 602002 w 4519987"/>
              <a:gd name="connsiteY94" fmla="*/ 733425 h 4429225"/>
              <a:gd name="connsiteX95" fmla="*/ 668677 w 4519987"/>
              <a:gd name="connsiteY95" fmla="*/ 676275 h 4429225"/>
              <a:gd name="connsiteX96" fmla="*/ 697252 w 4519987"/>
              <a:gd name="connsiteY96" fmla="*/ 657225 h 4429225"/>
              <a:gd name="connsiteX97" fmla="*/ 840127 w 4519987"/>
              <a:gd name="connsiteY97" fmla="*/ 533400 h 4429225"/>
              <a:gd name="connsiteX98" fmla="*/ 887752 w 4519987"/>
              <a:gd name="connsiteY98" fmla="*/ 504825 h 4429225"/>
              <a:gd name="connsiteX99" fmla="*/ 1167152 w 4519987"/>
              <a:gd name="connsiteY99" fmla="*/ 311150 h 4429225"/>
              <a:gd name="connsiteX100" fmla="*/ 1268752 w 4519987"/>
              <a:gd name="connsiteY100" fmla="*/ 285750 h 4429225"/>
              <a:gd name="connsiteX101" fmla="*/ 1411627 w 4519987"/>
              <a:gd name="connsiteY101" fmla="*/ 190500 h 4429225"/>
              <a:gd name="connsiteX102" fmla="*/ 1449727 w 4519987"/>
              <a:gd name="connsiteY102" fmla="*/ 161925 h 4429225"/>
              <a:gd name="connsiteX103" fmla="*/ 1525927 w 4519987"/>
              <a:gd name="connsiteY103" fmla="*/ 152400 h 4429225"/>
              <a:gd name="connsiteX104" fmla="*/ 1583077 w 4519987"/>
              <a:gd name="connsiteY104" fmla="*/ 142875 h 4429225"/>
              <a:gd name="connsiteX105" fmla="*/ 1716427 w 4519987"/>
              <a:gd name="connsiteY105" fmla="*/ 123825 h 4429225"/>
              <a:gd name="connsiteX106" fmla="*/ 1811677 w 4519987"/>
              <a:gd name="connsiteY106" fmla="*/ 114300 h 4429225"/>
              <a:gd name="connsiteX107" fmla="*/ 1859302 w 4519987"/>
              <a:gd name="connsiteY107" fmla="*/ 104775 h 4429225"/>
              <a:gd name="connsiteX108" fmla="*/ 1916452 w 4519987"/>
              <a:gd name="connsiteY108" fmla="*/ 95250 h 4429225"/>
              <a:gd name="connsiteX109" fmla="*/ 2030752 w 4519987"/>
              <a:gd name="connsiteY109" fmla="*/ 66675 h 4429225"/>
              <a:gd name="connsiteX110" fmla="*/ 2097427 w 4519987"/>
              <a:gd name="connsiteY110" fmla="*/ 47625 h 4429225"/>
              <a:gd name="connsiteX111" fmla="*/ 2164102 w 4519987"/>
              <a:gd name="connsiteY111" fmla="*/ 38100 h 4429225"/>
              <a:gd name="connsiteX112" fmla="*/ 2392702 w 4519987"/>
              <a:gd name="connsiteY112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221127 w 4519987"/>
              <a:gd name="connsiteY47" fmla="*/ 4200525 h 4429225"/>
              <a:gd name="connsiteX48" fmla="*/ 1087777 w 4519987"/>
              <a:gd name="connsiteY48" fmla="*/ 4143375 h 4429225"/>
              <a:gd name="connsiteX49" fmla="*/ 1030627 w 4519987"/>
              <a:gd name="connsiteY49" fmla="*/ 4124325 h 4429225"/>
              <a:gd name="connsiteX50" fmla="*/ 925852 w 4519987"/>
              <a:gd name="connsiteY50" fmla="*/ 4067175 h 4429225"/>
              <a:gd name="connsiteX51" fmla="*/ 830602 w 4519987"/>
              <a:gd name="connsiteY51" fmla="*/ 3981450 h 4429225"/>
              <a:gd name="connsiteX52" fmla="*/ 763927 w 4519987"/>
              <a:gd name="connsiteY52" fmla="*/ 3914775 h 4429225"/>
              <a:gd name="connsiteX53" fmla="*/ 725827 w 4519987"/>
              <a:gd name="connsiteY53" fmla="*/ 3876675 h 4429225"/>
              <a:gd name="connsiteX54" fmla="*/ 697252 w 4519987"/>
              <a:gd name="connsiteY54" fmla="*/ 3838575 h 4429225"/>
              <a:gd name="connsiteX55" fmla="*/ 640102 w 4519987"/>
              <a:gd name="connsiteY55" fmla="*/ 3781425 h 4429225"/>
              <a:gd name="connsiteX56" fmla="*/ 611527 w 4519987"/>
              <a:gd name="connsiteY56" fmla="*/ 3733800 h 4429225"/>
              <a:gd name="connsiteX57" fmla="*/ 554377 w 4519987"/>
              <a:gd name="connsiteY57" fmla="*/ 3657600 h 4429225"/>
              <a:gd name="connsiteX58" fmla="*/ 525802 w 4519987"/>
              <a:gd name="connsiteY58" fmla="*/ 3609975 h 4429225"/>
              <a:gd name="connsiteX59" fmla="*/ 497227 w 4519987"/>
              <a:gd name="connsiteY59" fmla="*/ 3552825 h 4429225"/>
              <a:gd name="connsiteX60" fmla="*/ 440077 w 4519987"/>
              <a:gd name="connsiteY60" fmla="*/ 3495675 h 4429225"/>
              <a:gd name="connsiteX61" fmla="*/ 411502 w 4519987"/>
              <a:gd name="connsiteY61" fmla="*/ 3448050 h 4429225"/>
              <a:gd name="connsiteX62" fmla="*/ 278152 w 4519987"/>
              <a:gd name="connsiteY62" fmla="*/ 3257550 h 4429225"/>
              <a:gd name="connsiteX63" fmla="*/ 249577 w 4519987"/>
              <a:gd name="connsiteY63" fmla="*/ 3200400 h 4429225"/>
              <a:gd name="connsiteX64" fmla="*/ 240052 w 4519987"/>
              <a:gd name="connsiteY64" fmla="*/ 3162300 h 4429225"/>
              <a:gd name="connsiteX65" fmla="*/ 221002 w 4519987"/>
              <a:gd name="connsiteY65" fmla="*/ 3105150 h 4429225"/>
              <a:gd name="connsiteX66" fmla="*/ 173377 w 4519987"/>
              <a:gd name="connsiteY66" fmla="*/ 3019425 h 4429225"/>
              <a:gd name="connsiteX67" fmla="*/ 144802 w 4519987"/>
              <a:gd name="connsiteY67" fmla="*/ 2924175 h 4429225"/>
              <a:gd name="connsiteX68" fmla="*/ 68602 w 4519987"/>
              <a:gd name="connsiteY68" fmla="*/ 2724150 h 4429225"/>
              <a:gd name="connsiteX69" fmla="*/ 49552 w 4519987"/>
              <a:gd name="connsiteY69" fmla="*/ 2638425 h 4429225"/>
              <a:gd name="connsiteX70" fmla="*/ 40027 w 4519987"/>
              <a:gd name="connsiteY70" fmla="*/ 2562225 h 4429225"/>
              <a:gd name="connsiteX71" fmla="*/ 30502 w 4519987"/>
              <a:gd name="connsiteY71" fmla="*/ 2514600 h 4429225"/>
              <a:gd name="connsiteX72" fmla="*/ 11452 w 4519987"/>
              <a:gd name="connsiteY72" fmla="*/ 2400300 h 4429225"/>
              <a:gd name="connsiteX73" fmla="*/ 20977 w 4519987"/>
              <a:gd name="connsiteY73" fmla="*/ 1905000 h 4429225"/>
              <a:gd name="connsiteX74" fmla="*/ 30502 w 4519987"/>
              <a:gd name="connsiteY74" fmla="*/ 1838325 h 4429225"/>
              <a:gd name="connsiteX75" fmla="*/ 49552 w 4519987"/>
              <a:gd name="connsiteY75" fmla="*/ 1781175 h 4429225"/>
              <a:gd name="connsiteX76" fmla="*/ 59077 w 4519987"/>
              <a:gd name="connsiteY76" fmla="*/ 1743075 h 4429225"/>
              <a:gd name="connsiteX77" fmla="*/ 78127 w 4519987"/>
              <a:gd name="connsiteY77" fmla="*/ 1685925 h 4429225"/>
              <a:gd name="connsiteX78" fmla="*/ 87652 w 4519987"/>
              <a:gd name="connsiteY78" fmla="*/ 1638300 h 4429225"/>
              <a:gd name="connsiteX79" fmla="*/ 106702 w 4519987"/>
              <a:gd name="connsiteY79" fmla="*/ 1590675 h 4429225"/>
              <a:gd name="connsiteX80" fmla="*/ 135277 w 4519987"/>
              <a:gd name="connsiteY80" fmla="*/ 1504950 h 4429225"/>
              <a:gd name="connsiteX81" fmla="*/ 154327 w 4519987"/>
              <a:gd name="connsiteY81" fmla="*/ 1419225 h 4429225"/>
              <a:gd name="connsiteX82" fmla="*/ 230527 w 4519987"/>
              <a:gd name="connsiteY82" fmla="*/ 1276350 h 4429225"/>
              <a:gd name="connsiteX83" fmla="*/ 240052 w 4519987"/>
              <a:gd name="connsiteY83" fmla="*/ 1247775 h 4429225"/>
              <a:gd name="connsiteX84" fmla="*/ 268627 w 4519987"/>
              <a:gd name="connsiteY84" fmla="*/ 1200150 h 4429225"/>
              <a:gd name="connsiteX85" fmla="*/ 287677 w 4519987"/>
              <a:gd name="connsiteY85" fmla="*/ 1152525 h 4429225"/>
              <a:gd name="connsiteX86" fmla="*/ 316252 w 4519987"/>
              <a:gd name="connsiteY86" fmla="*/ 1114425 h 4429225"/>
              <a:gd name="connsiteX87" fmla="*/ 363877 w 4519987"/>
              <a:gd name="connsiteY87" fmla="*/ 1038225 h 4429225"/>
              <a:gd name="connsiteX88" fmla="*/ 382927 w 4519987"/>
              <a:gd name="connsiteY88" fmla="*/ 1009650 h 4429225"/>
              <a:gd name="connsiteX89" fmla="*/ 440077 w 4519987"/>
              <a:gd name="connsiteY89" fmla="*/ 904875 h 4429225"/>
              <a:gd name="connsiteX90" fmla="*/ 478177 w 4519987"/>
              <a:gd name="connsiteY90" fmla="*/ 857250 h 4429225"/>
              <a:gd name="connsiteX91" fmla="*/ 497227 w 4519987"/>
              <a:gd name="connsiteY91" fmla="*/ 828675 h 4429225"/>
              <a:gd name="connsiteX92" fmla="*/ 535327 w 4519987"/>
              <a:gd name="connsiteY92" fmla="*/ 800100 h 4429225"/>
              <a:gd name="connsiteX93" fmla="*/ 602002 w 4519987"/>
              <a:gd name="connsiteY93" fmla="*/ 733425 h 4429225"/>
              <a:gd name="connsiteX94" fmla="*/ 668677 w 4519987"/>
              <a:gd name="connsiteY94" fmla="*/ 676275 h 4429225"/>
              <a:gd name="connsiteX95" fmla="*/ 697252 w 4519987"/>
              <a:gd name="connsiteY95" fmla="*/ 657225 h 4429225"/>
              <a:gd name="connsiteX96" fmla="*/ 840127 w 4519987"/>
              <a:gd name="connsiteY96" fmla="*/ 533400 h 4429225"/>
              <a:gd name="connsiteX97" fmla="*/ 887752 w 4519987"/>
              <a:gd name="connsiteY97" fmla="*/ 504825 h 4429225"/>
              <a:gd name="connsiteX98" fmla="*/ 1167152 w 4519987"/>
              <a:gd name="connsiteY98" fmla="*/ 311150 h 4429225"/>
              <a:gd name="connsiteX99" fmla="*/ 1268752 w 4519987"/>
              <a:gd name="connsiteY99" fmla="*/ 285750 h 4429225"/>
              <a:gd name="connsiteX100" fmla="*/ 1411627 w 4519987"/>
              <a:gd name="connsiteY100" fmla="*/ 190500 h 4429225"/>
              <a:gd name="connsiteX101" fmla="*/ 1449727 w 4519987"/>
              <a:gd name="connsiteY101" fmla="*/ 161925 h 4429225"/>
              <a:gd name="connsiteX102" fmla="*/ 1525927 w 4519987"/>
              <a:gd name="connsiteY102" fmla="*/ 152400 h 4429225"/>
              <a:gd name="connsiteX103" fmla="*/ 1583077 w 4519987"/>
              <a:gd name="connsiteY103" fmla="*/ 142875 h 4429225"/>
              <a:gd name="connsiteX104" fmla="*/ 1716427 w 4519987"/>
              <a:gd name="connsiteY104" fmla="*/ 123825 h 4429225"/>
              <a:gd name="connsiteX105" fmla="*/ 1811677 w 4519987"/>
              <a:gd name="connsiteY105" fmla="*/ 114300 h 4429225"/>
              <a:gd name="connsiteX106" fmla="*/ 1859302 w 4519987"/>
              <a:gd name="connsiteY106" fmla="*/ 104775 h 4429225"/>
              <a:gd name="connsiteX107" fmla="*/ 1916452 w 4519987"/>
              <a:gd name="connsiteY107" fmla="*/ 95250 h 4429225"/>
              <a:gd name="connsiteX108" fmla="*/ 2030752 w 4519987"/>
              <a:gd name="connsiteY108" fmla="*/ 66675 h 4429225"/>
              <a:gd name="connsiteX109" fmla="*/ 2097427 w 4519987"/>
              <a:gd name="connsiteY109" fmla="*/ 47625 h 4429225"/>
              <a:gd name="connsiteX110" fmla="*/ 2164102 w 4519987"/>
              <a:gd name="connsiteY110" fmla="*/ 38100 h 4429225"/>
              <a:gd name="connsiteX111" fmla="*/ 2392702 w 4519987"/>
              <a:gd name="connsiteY111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1030627 w 4519987"/>
              <a:gd name="connsiteY48" fmla="*/ 4124325 h 4429225"/>
              <a:gd name="connsiteX49" fmla="*/ 925852 w 4519987"/>
              <a:gd name="connsiteY49" fmla="*/ 4067175 h 4429225"/>
              <a:gd name="connsiteX50" fmla="*/ 830602 w 4519987"/>
              <a:gd name="connsiteY50" fmla="*/ 3981450 h 4429225"/>
              <a:gd name="connsiteX51" fmla="*/ 763927 w 4519987"/>
              <a:gd name="connsiteY51" fmla="*/ 3914775 h 4429225"/>
              <a:gd name="connsiteX52" fmla="*/ 725827 w 4519987"/>
              <a:gd name="connsiteY52" fmla="*/ 3876675 h 4429225"/>
              <a:gd name="connsiteX53" fmla="*/ 697252 w 4519987"/>
              <a:gd name="connsiteY53" fmla="*/ 3838575 h 4429225"/>
              <a:gd name="connsiteX54" fmla="*/ 640102 w 4519987"/>
              <a:gd name="connsiteY54" fmla="*/ 3781425 h 4429225"/>
              <a:gd name="connsiteX55" fmla="*/ 611527 w 4519987"/>
              <a:gd name="connsiteY55" fmla="*/ 3733800 h 4429225"/>
              <a:gd name="connsiteX56" fmla="*/ 554377 w 4519987"/>
              <a:gd name="connsiteY56" fmla="*/ 3657600 h 4429225"/>
              <a:gd name="connsiteX57" fmla="*/ 525802 w 4519987"/>
              <a:gd name="connsiteY57" fmla="*/ 3609975 h 4429225"/>
              <a:gd name="connsiteX58" fmla="*/ 497227 w 4519987"/>
              <a:gd name="connsiteY58" fmla="*/ 3552825 h 4429225"/>
              <a:gd name="connsiteX59" fmla="*/ 440077 w 4519987"/>
              <a:gd name="connsiteY59" fmla="*/ 3495675 h 4429225"/>
              <a:gd name="connsiteX60" fmla="*/ 411502 w 4519987"/>
              <a:gd name="connsiteY60" fmla="*/ 3448050 h 4429225"/>
              <a:gd name="connsiteX61" fmla="*/ 278152 w 4519987"/>
              <a:gd name="connsiteY61" fmla="*/ 3257550 h 4429225"/>
              <a:gd name="connsiteX62" fmla="*/ 249577 w 4519987"/>
              <a:gd name="connsiteY62" fmla="*/ 3200400 h 4429225"/>
              <a:gd name="connsiteX63" fmla="*/ 240052 w 4519987"/>
              <a:gd name="connsiteY63" fmla="*/ 3162300 h 4429225"/>
              <a:gd name="connsiteX64" fmla="*/ 221002 w 4519987"/>
              <a:gd name="connsiteY64" fmla="*/ 3105150 h 4429225"/>
              <a:gd name="connsiteX65" fmla="*/ 173377 w 4519987"/>
              <a:gd name="connsiteY65" fmla="*/ 3019425 h 4429225"/>
              <a:gd name="connsiteX66" fmla="*/ 144802 w 4519987"/>
              <a:gd name="connsiteY66" fmla="*/ 2924175 h 4429225"/>
              <a:gd name="connsiteX67" fmla="*/ 68602 w 4519987"/>
              <a:gd name="connsiteY67" fmla="*/ 2724150 h 4429225"/>
              <a:gd name="connsiteX68" fmla="*/ 49552 w 4519987"/>
              <a:gd name="connsiteY68" fmla="*/ 2638425 h 4429225"/>
              <a:gd name="connsiteX69" fmla="*/ 40027 w 4519987"/>
              <a:gd name="connsiteY69" fmla="*/ 2562225 h 4429225"/>
              <a:gd name="connsiteX70" fmla="*/ 30502 w 4519987"/>
              <a:gd name="connsiteY70" fmla="*/ 2514600 h 4429225"/>
              <a:gd name="connsiteX71" fmla="*/ 11452 w 4519987"/>
              <a:gd name="connsiteY71" fmla="*/ 2400300 h 4429225"/>
              <a:gd name="connsiteX72" fmla="*/ 20977 w 4519987"/>
              <a:gd name="connsiteY72" fmla="*/ 1905000 h 4429225"/>
              <a:gd name="connsiteX73" fmla="*/ 30502 w 4519987"/>
              <a:gd name="connsiteY73" fmla="*/ 1838325 h 4429225"/>
              <a:gd name="connsiteX74" fmla="*/ 49552 w 4519987"/>
              <a:gd name="connsiteY74" fmla="*/ 1781175 h 4429225"/>
              <a:gd name="connsiteX75" fmla="*/ 59077 w 4519987"/>
              <a:gd name="connsiteY75" fmla="*/ 1743075 h 4429225"/>
              <a:gd name="connsiteX76" fmla="*/ 78127 w 4519987"/>
              <a:gd name="connsiteY76" fmla="*/ 1685925 h 4429225"/>
              <a:gd name="connsiteX77" fmla="*/ 87652 w 4519987"/>
              <a:gd name="connsiteY77" fmla="*/ 1638300 h 4429225"/>
              <a:gd name="connsiteX78" fmla="*/ 106702 w 4519987"/>
              <a:gd name="connsiteY78" fmla="*/ 1590675 h 4429225"/>
              <a:gd name="connsiteX79" fmla="*/ 135277 w 4519987"/>
              <a:gd name="connsiteY79" fmla="*/ 1504950 h 4429225"/>
              <a:gd name="connsiteX80" fmla="*/ 154327 w 4519987"/>
              <a:gd name="connsiteY80" fmla="*/ 1419225 h 4429225"/>
              <a:gd name="connsiteX81" fmla="*/ 230527 w 4519987"/>
              <a:gd name="connsiteY81" fmla="*/ 1276350 h 4429225"/>
              <a:gd name="connsiteX82" fmla="*/ 240052 w 4519987"/>
              <a:gd name="connsiteY82" fmla="*/ 1247775 h 4429225"/>
              <a:gd name="connsiteX83" fmla="*/ 268627 w 4519987"/>
              <a:gd name="connsiteY83" fmla="*/ 1200150 h 4429225"/>
              <a:gd name="connsiteX84" fmla="*/ 287677 w 4519987"/>
              <a:gd name="connsiteY84" fmla="*/ 1152525 h 4429225"/>
              <a:gd name="connsiteX85" fmla="*/ 316252 w 4519987"/>
              <a:gd name="connsiteY85" fmla="*/ 1114425 h 4429225"/>
              <a:gd name="connsiteX86" fmla="*/ 363877 w 4519987"/>
              <a:gd name="connsiteY86" fmla="*/ 1038225 h 4429225"/>
              <a:gd name="connsiteX87" fmla="*/ 382927 w 4519987"/>
              <a:gd name="connsiteY87" fmla="*/ 1009650 h 4429225"/>
              <a:gd name="connsiteX88" fmla="*/ 440077 w 4519987"/>
              <a:gd name="connsiteY88" fmla="*/ 904875 h 4429225"/>
              <a:gd name="connsiteX89" fmla="*/ 478177 w 4519987"/>
              <a:gd name="connsiteY89" fmla="*/ 857250 h 4429225"/>
              <a:gd name="connsiteX90" fmla="*/ 497227 w 4519987"/>
              <a:gd name="connsiteY90" fmla="*/ 828675 h 4429225"/>
              <a:gd name="connsiteX91" fmla="*/ 535327 w 4519987"/>
              <a:gd name="connsiteY91" fmla="*/ 800100 h 4429225"/>
              <a:gd name="connsiteX92" fmla="*/ 602002 w 4519987"/>
              <a:gd name="connsiteY92" fmla="*/ 733425 h 4429225"/>
              <a:gd name="connsiteX93" fmla="*/ 668677 w 4519987"/>
              <a:gd name="connsiteY93" fmla="*/ 676275 h 4429225"/>
              <a:gd name="connsiteX94" fmla="*/ 697252 w 4519987"/>
              <a:gd name="connsiteY94" fmla="*/ 657225 h 4429225"/>
              <a:gd name="connsiteX95" fmla="*/ 840127 w 4519987"/>
              <a:gd name="connsiteY95" fmla="*/ 533400 h 4429225"/>
              <a:gd name="connsiteX96" fmla="*/ 887752 w 4519987"/>
              <a:gd name="connsiteY96" fmla="*/ 504825 h 4429225"/>
              <a:gd name="connsiteX97" fmla="*/ 1167152 w 4519987"/>
              <a:gd name="connsiteY97" fmla="*/ 311150 h 4429225"/>
              <a:gd name="connsiteX98" fmla="*/ 1268752 w 4519987"/>
              <a:gd name="connsiteY98" fmla="*/ 285750 h 4429225"/>
              <a:gd name="connsiteX99" fmla="*/ 1411627 w 4519987"/>
              <a:gd name="connsiteY99" fmla="*/ 190500 h 4429225"/>
              <a:gd name="connsiteX100" fmla="*/ 1449727 w 4519987"/>
              <a:gd name="connsiteY100" fmla="*/ 161925 h 4429225"/>
              <a:gd name="connsiteX101" fmla="*/ 1525927 w 4519987"/>
              <a:gd name="connsiteY101" fmla="*/ 152400 h 4429225"/>
              <a:gd name="connsiteX102" fmla="*/ 1583077 w 4519987"/>
              <a:gd name="connsiteY102" fmla="*/ 142875 h 4429225"/>
              <a:gd name="connsiteX103" fmla="*/ 1716427 w 4519987"/>
              <a:gd name="connsiteY103" fmla="*/ 123825 h 4429225"/>
              <a:gd name="connsiteX104" fmla="*/ 1811677 w 4519987"/>
              <a:gd name="connsiteY104" fmla="*/ 114300 h 4429225"/>
              <a:gd name="connsiteX105" fmla="*/ 1859302 w 4519987"/>
              <a:gd name="connsiteY105" fmla="*/ 104775 h 4429225"/>
              <a:gd name="connsiteX106" fmla="*/ 1916452 w 4519987"/>
              <a:gd name="connsiteY106" fmla="*/ 95250 h 4429225"/>
              <a:gd name="connsiteX107" fmla="*/ 2030752 w 4519987"/>
              <a:gd name="connsiteY107" fmla="*/ 66675 h 4429225"/>
              <a:gd name="connsiteX108" fmla="*/ 2097427 w 4519987"/>
              <a:gd name="connsiteY108" fmla="*/ 47625 h 4429225"/>
              <a:gd name="connsiteX109" fmla="*/ 2164102 w 4519987"/>
              <a:gd name="connsiteY109" fmla="*/ 38100 h 4429225"/>
              <a:gd name="connsiteX110" fmla="*/ 2392702 w 4519987"/>
              <a:gd name="connsiteY110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925852 w 4519987"/>
              <a:gd name="connsiteY48" fmla="*/ 4067175 h 4429225"/>
              <a:gd name="connsiteX49" fmla="*/ 830602 w 4519987"/>
              <a:gd name="connsiteY49" fmla="*/ 3981450 h 4429225"/>
              <a:gd name="connsiteX50" fmla="*/ 763927 w 4519987"/>
              <a:gd name="connsiteY50" fmla="*/ 3914775 h 4429225"/>
              <a:gd name="connsiteX51" fmla="*/ 725827 w 4519987"/>
              <a:gd name="connsiteY51" fmla="*/ 3876675 h 4429225"/>
              <a:gd name="connsiteX52" fmla="*/ 697252 w 4519987"/>
              <a:gd name="connsiteY52" fmla="*/ 3838575 h 4429225"/>
              <a:gd name="connsiteX53" fmla="*/ 640102 w 4519987"/>
              <a:gd name="connsiteY53" fmla="*/ 3781425 h 4429225"/>
              <a:gd name="connsiteX54" fmla="*/ 611527 w 4519987"/>
              <a:gd name="connsiteY54" fmla="*/ 3733800 h 4429225"/>
              <a:gd name="connsiteX55" fmla="*/ 554377 w 4519987"/>
              <a:gd name="connsiteY55" fmla="*/ 3657600 h 4429225"/>
              <a:gd name="connsiteX56" fmla="*/ 525802 w 4519987"/>
              <a:gd name="connsiteY56" fmla="*/ 3609975 h 4429225"/>
              <a:gd name="connsiteX57" fmla="*/ 497227 w 4519987"/>
              <a:gd name="connsiteY57" fmla="*/ 3552825 h 4429225"/>
              <a:gd name="connsiteX58" fmla="*/ 440077 w 4519987"/>
              <a:gd name="connsiteY58" fmla="*/ 3495675 h 4429225"/>
              <a:gd name="connsiteX59" fmla="*/ 411502 w 4519987"/>
              <a:gd name="connsiteY59" fmla="*/ 3448050 h 4429225"/>
              <a:gd name="connsiteX60" fmla="*/ 278152 w 4519987"/>
              <a:gd name="connsiteY60" fmla="*/ 3257550 h 4429225"/>
              <a:gd name="connsiteX61" fmla="*/ 249577 w 4519987"/>
              <a:gd name="connsiteY61" fmla="*/ 3200400 h 4429225"/>
              <a:gd name="connsiteX62" fmla="*/ 240052 w 4519987"/>
              <a:gd name="connsiteY62" fmla="*/ 3162300 h 4429225"/>
              <a:gd name="connsiteX63" fmla="*/ 221002 w 4519987"/>
              <a:gd name="connsiteY63" fmla="*/ 3105150 h 4429225"/>
              <a:gd name="connsiteX64" fmla="*/ 173377 w 4519987"/>
              <a:gd name="connsiteY64" fmla="*/ 3019425 h 4429225"/>
              <a:gd name="connsiteX65" fmla="*/ 144802 w 4519987"/>
              <a:gd name="connsiteY65" fmla="*/ 2924175 h 4429225"/>
              <a:gd name="connsiteX66" fmla="*/ 68602 w 4519987"/>
              <a:gd name="connsiteY66" fmla="*/ 2724150 h 4429225"/>
              <a:gd name="connsiteX67" fmla="*/ 49552 w 4519987"/>
              <a:gd name="connsiteY67" fmla="*/ 2638425 h 4429225"/>
              <a:gd name="connsiteX68" fmla="*/ 40027 w 4519987"/>
              <a:gd name="connsiteY68" fmla="*/ 2562225 h 4429225"/>
              <a:gd name="connsiteX69" fmla="*/ 30502 w 4519987"/>
              <a:gd name="connsiteY69" fmla="*/ 2514600 h 4429225"/>
              <a:gd name="connsiteX70" fmla="*/ 11452 w 4519987"/>
              <a:gd name="connsiteY70" fmla="*/ 2400300 h 4429225"/>
              <a:gd name="connsiteX71" fmla="*/ 20977 w 4519987"/>
              <a:gd name="connsiteY71" fmla="*/ 1905000 h 4429225"/>
              <a:gd name="connsiteX72" fmla="*/ 30502 w 4519987"/>
              <a:gd name="connsiteY72" fmla="*/ 1838325 h 4429225"/>
              <a:gd name="connsiteX73" fmla="*/ 49552 w 4519987"/>
              <a:gd name="connsiteY73" fmla="*/ 1781175 h 4429225"/>
              <a:gd name="connsiteX74" fmla="*/ 59077 w 4519987"/>
              <a:gd name="connsiteY74" fmla="*/ 1743075 h 4429225"/>
              <a:gd name="connsiteX75" fmla="*/ 78127 w 4519987"/>
              <a:gd name="connsiteY75" fmla="*/ 1685925 h 4429225"/>
              <a:gd name="connsiteX76" fmla="*/ 87652 w 4519987"/>
              <a:gd name="connsiteY76" fmla="*/ 1638300 h 4429225"/>
              <a:gd name="connsiteX77" fmla="*/ 106702 w 4519987"/>
              <a:gd name="connsiteY77" fmla="*/ 1590675 h 4429225"/>
              <a:gd name="connsiteX78" fmla="*/ 135277 w 4519987"/>
              <a:gd name="connsiteY78" fmla="*/ 1504950 h 4429225"/>
              <a:gd name="connsiteX79" fmla="*/ 154327 w 4519987"/>
              <a:gd name="connsiteY79" fmla="*/ 1419225 h 4429225"/>
              <a:gd name="connsiteX80" fmla="*/ 230527 w 4519987"/>
              <a:gd name="connsiteY80" fmla="*/ 1276350 h 4429225"/>
              <a:gd name="connsiteX81" fmla="*/ 240052 w 4519987"/>
              <a:gd name="connsiteY81" fmla="*/ 1247775 h 4429225"/>
              <a:gd name="connsiteX82" fmla="*/ 268627 w 4519987"/>
              <a:gd name="connsiteY82" fmla="*/ 1200150 h 4429225"/>
              <a:gd name="connsiteX83" fmla="*/ 287677 w 4519987"/>
              <a:gd name="connsiteY83" fmla="*/ 1152525 h 4429225"/>
              <a:gd name="connsiteX84" fmla="*/ 316252 w 4519987"/>
              <a:gd name="connsiteY84" fmla="*/ 1114425 h 4429225"/>
              <a:gd name="connsiteX85" fmla="*/ 363877 w 4519987"/>
              <a:gd name="connsiteY85" fmla="*/ 1038225 h 4429225"/>
              <a:gd name="connsiteX86" fmla="*/ 382927 w 4519987"/>
              <a:gd name="connsiteY86" fmla="*/ 1009650 h 4429225"/>
              <a:gd name="connsiteX87" fmla="*/ 440077 w 4519987"/>
              <a:gd name="connsiteY87" fmla="*/ 904875 h 4429225"/>
              <a:gd name="connsiteX88" fmla="*/ 478177 w 4519987"/>
              <a:gd name="connsiteY88" fmla="*/ 857250 h 4429225"/>
              <a:gd name="connsiteX89" fmla="*/ 497227 w 4519987"/>
              <a:gd name="connsiteY89" fmla="*/ 828675 h 4429225"/>
              <a:gd name="connsiteX90" fmla="*/ 535327 w 4519987"/>
              <a:gd name="connsiteY90" fmla="*/ 800100 h 4429225"/>
              <a:gd name="connsiteX91" fmla="*/ 602002 w 4519987"/>
              <a:gd name="connsiteY91" fmla="*/ 733425 h 4429225"/>
              <a:gd name="connsiteX92" fmla="*/ 668677 w 4519987"/>
              <a:gd name="connsiteY92" fmla="*/ 676275 h 4429225"/>
              <a:gd name="connsiteX93" fmla="*/ 697252 w 4519987"/>
              <a:gd name="connsiteY93" fmla="*/ 657225 h 4429225"/>
              <a:gd name="connsiteX94" fmla="*/ 840127 w 4519987"/>
              <a:gd name="connsiteY94" fmla="*/ 533400 h 4429225"/>
              <a:gd name="connsiteX95" fmla="*/ 887752 w 4519987"/>
              <a:gd name="connsiteY95" fmla="*/ 504825 h 4429225"/>
              <a:gd name="connsiteX96" fmla="*/ 1167152 w 4519987"/>
              <a:gd name="connsiteY96" fmla="*/ 311150 h 4429225"/>
              <a:gd name="connsiteX97" fmla="*/ 1268752 w 4519987"/>
              <a:gd name="connsiteY97" fmla="*/ 285750 h 4429225"/>
              <a:gd name="connsiteX98" fmla="*/ 1411627 w 4519987"/>
              <a:gd name="connsiteY98" fmla="*/ 190500 h 4429225"/>
              <a:gd name="connsiteX99" fmla="*/ 1449727 w 4519987"/>
              <a:gd name="connsiteY99" fmla="*/ 161925 h 4429225"/>
              <a:gd name="connsiteX100" fmla="*/ 1525927 w 4519987"/>
              <a:gd name="connsiteY100" fmla="*/ 152400 h 4429225"/>
              <a:gd name="connsiteX101" fmla="*/ 1583077 w 4519987"/>
              <a:gd name="connsiteY101" fmla="*/ 142875 h 4429225"/>
              <a:gd name="connsiteX102" fmla="*/ 1716427 w 4519987"/>
              <a:gd name="connsiteY102" fmla="*/ 123825 h 4429225"/>
              <a:gd name="connsiteX103" fmla="*/ 1811677 w 4519987"/>
              <a:gd name="connsiteY103" fmla="*/ 114300 h 4429225"/>
              <a:gd name="connsiteX104" fmla="*/ 1859302 w 4519987"/>
              <a:gd name="connsiteY104" fmla="*/ 104775 h 4429225"/>
              <a:gd name="connsiteX105" fmla="*/ 1916452 w 4519987"/>
              <a:gd name="connsiteY105" fmla="*/ 95250 h 4429225"/>
              <a:gd name="connsiteX106" fmla="*/ 2030752 w 4519987"/>
              <a:gd name="connsiteY106" fmla="*/ 66675 h 4429225"/>
              <a:gd name="connsiteX107" fmla="*/ 2097427 w 4519987"/>
              <a:gd name="connsiteY107" fmla="*/ 47625 h 4429225"/>
              <a:gd name="connsiteX108" fmla="*/ 2164102 w 4519987"/>
              <a:gd name="connsiteY108" fmla="*/ 38100 h 4429225"/>
              <a:gd name="connsiteX109" fmla="*/ 2392702 w 4519987"/>
              <a:gd name="connsiteY109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725827 w 4519987"/>
              <a:gd name="connsiteY50" fmla="*/ 3876675 h 4429225"/>
              <a:gd name="connsiteX51" fmla="*/ 697252 w 4519987"/>
              <a:gd name="connsiteY51" fmla="*/ 3838575 h 4429225"/>
              <a:gd name="connsiteX52" fmla="*/ 640102 w 4519987"/>
              <a:gd name="connsiteY52" fmla="*/ 3781425 h 4429225"/>
              <a:gd name="connsiteX53" fmla="*/ 611527 w 4519987"/>
              <a:gd name="connsiteY53" fmla="*/ 3733800 h 4429225"/>
              <a:gd name="connsiteX54" fmla="*/ 554377 w 4519987"/>
              <a:gd name="connsiteY54" fmla="*/ 3657600 h 4429225"/>
              <a:gd name="connsiteX55" fmla="*/ 525802 w 4519987"/>
              <a:gd name="connsiteY55" fmla="*/ 3609975 h 4429225"/>
              <a:gd name="connsiteX56" fmla="*/ 497227 w 4519987"/>
              <a:gd name="connsiteY56" fmla="*/ 3552825 h 4429225"/>
              <a:gd name="connsiteX57" fmla="*/ 440077 w 4519987"/>
              <a:gd name="connsiteY57" fmla="*/ 3495675 h 4429225"/>
              <a:gd name="connsiteX58" fmla="*/ 411502 w 4519987"/>
              <a:gd name="connsiteY58" fmla="*/ 3448050 h 4429225"/>
              <a:gd name="connsiteX59" fmla="*/ 278152 w 4519987"/>
              <a:gd name="connsiteY59" fmla="*/ 3257550 h 4429225"/>
              <a:gd name="connsiteX60" fmla="*/ 249577 w 4519987"/>
              <a:gd name="connsiteY60" fmla="*/ 3200400 h 4429225"/>
              <a:gd name="connsiteX61" fmla="*/ 240052 w 4519987"/>
              <a:gd name="connsiteY61" fmla="*/ 3162300 h 4429225"/>
              <a:gd name="connsiteX62" fmla="*/ 221002 w 4519987"/>
              <a:gd name="connsiteY62" fmla="*/ 3105150 h 4429225"/>
              <a:gd name="connsiteX63" fmla="*/ 173377 w 4519987"/>
              <a:gd name="connsiteY63" fmla="*/ 3019425 h 4429225"/>
              <a:gd name="connsiteX64" fmla="*/ 144802 w 4519987"/>
              <a:gd name="connsiteY64" fmla="*/ 2924175 h 4429225"/>
              <a:gd name="connsiteX65" fmla="*/ 68602 w 4519987"/>
              <a:gd name="connsiteY65" fmla="*/ 2724150 h 4429225"/>
              <a:gd name="connsiteX66" fmla="*/ 49552 w 4519987"/>
              <a:gd name="connsiteY66" fmla="*/ 2638425 h 4429225"/>
              <a:gd name="connsiteX67" fmla="*/ 40027 w 4519987"/>
              <a:gd name="connsiteY67" fmla="*/ 2562225 h 4429225"/>
              <a:gd name="connsiteX68" fmla="*/ 30502 w 4519987"/>
              <a:gd name="connsiteY68" fmla="*/ 2514600 h 4429225"/>
              <a:gd name="connsiteX69" fmla="*/ 11452 w 4519987"/>
              <a:gd name="connsiteY69" fmla="*/ 2400300 h 4429225"/>
              <a:gd name="connsiteX70" fmla="*/ 20977 w 4519987"/>
              <a:gd name="connsiteY70" fmla="*/ 1905000 h 4429225"/>
              <a:gd name="connsiteX71" fmla="*/ 30502 w 4519987"/>
              <a:gd name="connsiteY71" fmla="*/ 1838325 h 4429225"/>
              <a:gd name="connsiteX72" fmla="*/ 49552 w 4519987"/>
              <a:gd name="connsiteY72" fmla="*/ 1781175 h 4429225"/>
              <a:gd name="connsiteX73" fmla="*/ 59077 w 4519987"/>
              <a:gd name="connsiteY73" fmla="*/ 1743075 h 4429225"/>
              <a:gd name="connsiteX74" fmla="*/ 78127 w 4519987"/>
              <a:gd name="connsiteY74" fmla="*/ 1685925 h 4429225"/>
              <a:gd name="connsiteX75" fmla="*/ 87652 w 4519987"/>
              <a:gd name="connsiteY75" fmla="*/ 1638300 h 4429225"/>
              <a:gd name="connsiteX76" fmla="*/ 106702 w 4519987"/>
              <a:gd name="connsiteY76" fmla="*/ 1590675 h 4429225"/>
              <a:gd name="connsiteX77" fmla="*/ 135277 w 4519987"/>
              <a:gd name="connsiteY77" fmla="*/ 1504950 h 4429225"/>
              <a:gd name="connsiteX78" fmla="*/ 154327 w 4519987"/>
              <a:gd name="connsiteY78" fmla="*/ 1419225 h 4429225"/>
              <a:gd name="connsiteX79" fmla="*/ 230527 w 4519987"/>
              <a:gd name="connsiteY79" fmla="*/ 1276350 h 4429225"/>
              <a:gd name="connsiteX80" fmla="*/ 240052 w 4519987"/>
              <a:gd name="connsiteY80" fmla="*/ 1247775 h 4429225"/>
              <a:gd name="connsiteX81" fmla="*/ 268627 w 4519987"/>
              <a:gd name="connsiteY81" fmla="*/ 1200150 h 4429225"/>
              <a:gd name="connsiteX82" fmla="*/ 287677 w 4519987"/>
              <a:gd name="connsiteY82" fmla="*/ 1152525 h 4429225"/>
              <a:gd name="connsiteX83" fmla="*/ 316252 w 4519987"/>
              <a:gd name="connsiteY83" fmla="*/ 1114425 h 4429225"/>
              <a:gd name="connsiteX84" fmla="*/ 363877 w 4519987"/>
              <a:gd name="connsiteY84" fmla="*/ 1038225 h 4429225"/>
              <a:gd name="connsiteX85" fmla="*/ 382927 w 4519987"/>
              <a:gd name="connsiteY85" fmla="*/ 1009650 h 4429225"/>
              <a:gd name="connsiteX86" fmla="*/ 440077 w 4519987"/>
              <a:gd name="connsiteY86" fmla="*/ 904875 h 4429225"/>
              <a:gd name="connsiteX87" fmla="*/ 478177 w 4519987"/>
              <a:gd name="connsiteY87" fmla="*/ 857250 h 4429225"/>
              <a:gd name="connsiteX88" fmla="*/ 497227 w 4519987"/>
              <a:gd name="connsiteY88" fmla="*/ 828675 h 4429225"/>
              <a:gd name="connsiteX89" fmla="*/ 535327 w 4519987"/>
              <a:gd name="connsiteY89" fmla="*/ 800100 h 4429225"/>
              <a:gd name="connsiteX90" fmla="*/ 602002 w 4519987"/>
              <a:gd name="connsiteY90" fmla="*/ 733425 h 4429225"/>
              <a:gd name="connsiteX91" fmla="*/ 668677 w 4519987"/>
              <a:gd name="connsiteY91" fmla="*/ 676275 h 4429225"/>
              <a:gd name="connsiteX92" fmla="*/ 697252 w 4519987"/>
              <a:gd name="connsiteY92" fmla="*/ 657225 h 4429225"/>
              <a:gd name="connsiteX93" fmla="*/ 840127 w 4519987"/>
              <a:gd name="connsiteY93" fmla="*/ 533400 h 4429225"/>
              <a:gd name="connsiteX94" fmla="*/ 887752 w 4519987"/>
              <a:gd name="connsiteY94" fmla="*/ 504825 h 4429225"/>
              <a:gd name="connsiteX95" fmla="*/ 1167152 w 4519987"/>
              <a:gd name="connsiteY95" fmla="*/ 311150 h 4429225"/>
              <a:gd name="connsiteX96" fmla="*/ 1268752 w 4519987"/>
              <a:gd name="connsiteY96" fmla="*/ 285750 h 4429225"/>
              <a:gd name="connsiteX97" fmla="*/ 1411627 w 4519987"/>
              <a:gd name="connsiteY97" fmla="*/ 190500 h 4429225"/>
              <a:gd name="connsiteX98" fmla="*/ 1449727 w 4519987"/>
              <a:gd name="connsiteY98" fmla="*/ 161925 h 4429225"/>
              <a:gd name="connsiteX99" fmla="*/ 1525927 w 4519987"/>
              <a:gd name="connsiteY99" fmla="*/ 152400 h 4429225"/>
              <a:gd name="connsiteX100" fmla="*/ 1583077 w 4519987"/>
              <a:gd name="connsiteY100" fmla="*/ 142875 h 4429225"/>
              <a:gd name="connsiteX101" fmla="*/ 1716427 w 4519987"/>
              <a:gd name="connsiteY101" fmla="*/ 123825 h 4429225"/>
              <a:gd name="connsiteX102" fmla="*/ 1811677 w 4519987"/>
              <a:gd name="connsiteY102" fmla="*/ 114300 h 4429225"/>
              <a:gd name="connsiteX103" fmla="*/ 1859302 w 4519987"/>
              <a:gd name="connsiteY103" fmla="*/ 104775 h 4429225"/>
              <a:gd name="connsiteX104" fmla="*/ 1916452 w 4519987"/>
              <a:gd name="connsiteY104" fmla="*/ 95250 h 4429225"/>
              <a:gd name="connsiteX105" fmla="*/ 2030752 w 4519987"/>
              <a:gd name="connsiteY105" fmla="*/ 66675 h 4429225"/>
              <a:gd name="connsiteX106" fmla="*/ 2097427 w 4519987"/>
              <a:gd name="connsiteY106" fmla="*/ 47625 h 4429225"/>
              <a:gd name="connsiteX107" fmla="*/ 2164102 w 4519987"/>
              <a:gd name="connsiteY107" fmla="*/ 38100 h 4429225"/>
              <a:gd name="connsiteX108" fmla="*/ 2392702 w 4519987"/>
              <a:gd name="connsiteY108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640102 w 4519987"/>
              <a:gd name="connsiteY51" fmla="*/ 3781425 h 4429225"/>
              <a:gd name="connsiteX52" fmla="*/ 611527 w 4519987"/>
              <a:gd name="connsiteY52" fmla="*/ 3733800 h 4429225"/>
              <a:gd name="connsiteX53" fmla="*/ 554377 w 4519987"/>
              <a:gd name="connsiteY53" fmla="*/ 3657600 h 4429225"/>
              <a:gd name="connsiteX54" fmla="*/ 525802 w 4519987"/>
              <a:gd name="connsiteY54" fmla="*/ 3609975 h 4429225"/>
              <a:gd name="connsiteX55" fmla="*/ 497227 w 4519987"/>
              <a:gd name="connsiteY55" fmla="*/ 3552825 h 4429225"/>
              <a:gd name="connsiteX56" fmla="*/ 440077 w 4519987"/>
              <a:gd name="connsiteY56" fmla="*/ 3495675 h 4429225"/>
              <a:gd name="connsiteX57" fmla="*/ 411502 w 4519987"/>
              <a:gd name="connsiteY57" fmla="*/ 3448050 h 4429225"/>
              <a:gd name="connsiteX58" fmla="*/ 278152 w 4519987"/>
              <a:gd name="connsiteY58" fmla="*/ 3257550 h 4429225"/>
              <a:gd name="connsiteX59" fmla="*/ 249577 w 4519987"/>
              <a:gd name="connsiteY59" fmla="*/ 3200400 h 4429225"/>
              <a:gd name="connsiteX60" fmla="*/ 240052 w 4519987"/>
              <a:gd name="connsiteY60" fmla="*/ 3162300 h 4429225"/>
              <a:gd name="connsiteX61" fmla="*/ 221002 w 4519987"/>
              <a:gd name="connsiteY61" fmla="*/ 3105150 h 4429225"/>
              <a:gd name="connsiteX62" fmla="*/ 173377 w 4519987"/>
              <a:gd name="connsiteY62" fmla="*/ 3019425 h 4429225"/>
              <a:gd name="connsiteX63" fmla="*/ 144802 w 4519987"/>
              <a:gd name="connsiteY63" fmla="*/ 2924175 h 4429225"/>
              <a:gd name="connsiteX64" fmla="*/ 68602 w 4519987"/>
              <a:gd name="connsiteY64" fmla="*/ 2724150 h 4429225"/>
              <a:gd name="connsiteX65" fmla="*/ 49552 w 4519987"/>
              <a:gd name="connsiteY65" fmla="*/ 2638425 h 4429225"/>
              <a:gd name="connsiteX66" fmla="*/ 40027 w 4519987"/>
              <a:gd name="connsiteY66" fmla="*/ 2562225 h 4429225"/>
              <a:gd name="connsiteX67" fmla="*/ 30502 w 4519987"/>
              <a:gd name="connsiteY67" fmla="*/ 2514600 h 4429225"/>
              <a:gd name="connsiteX68" fmla="*/ 11452 w 4519987"/>
              <a:gd name="connsiteY68" fmla="*/ 2400300 h 4429225"/>
              <a:gd name="connsiteX69" fmla="*/ 20977 w 4519987"/>
              <a:gd name="connsiteY69" fmla="*/ 1905000 h 4429225"/>
              <a:gd name="connsiteX70" fmla="*/ 30502 w 4519987"/>
              <a:gd name="connsiteY70" fmla="*/ 1838325 h 4429225"/>
              <a:gd name="connsiteX71" fmla="*/ 49552 w 4519987"/>
              <a:gd name="connsiteY71" fmla="*/ 1781175 h 4429225"/>
              <a:gd name="connsiteX72" fmla="*/ 59077 w 4519987"/>
              <a:gd name="connsiteY72" fmla="*/ 1743075 h 4429225"/>
              <a:gd name="connsiteX73" fmla="*/ 78127 w 4519987"/>
              <a:gd name="connsiteY73" fmla="*/ 1685925 h 4429225"/>
              <a:gd name="connsiteX74" fmla="*/ 87652 w 4519987"/>
              <a:gd name="connsiteY74" fmla="*/ 1638300 h 4429225"/>
              <a:gd name="connsiteX75" fmla="*/ 106702 w 4519987"/>
              <a:gd name="connsiteY75" fmla="*/ 1590675 h 4429225"/>
              <a:gd name="connsiteX76" fmla="*/ 135277 w 4519987"/>
              <a:gd name="connsiteY76" fmla="*/ 1504950 h 4429225"/>
              <a:gd name="connsiteX77" fmla="*/ 154327 w 4519987"/>
              <a:gd name="connsiteY77" fmla="*/ 1419225 h 4429225"/>
              <a:gd name="connsiteX78" fmla="*/ 230527 w 4519987"/>
              <a:gd name="connsiteY78" fmla="*/ 1276350 h 4429225"/>
              <a:gd name="connsiteX79" fmla="*/ 240052 w 4519987"/>
              <a:gd name="connsiteY79" fmla="*/ 1247775 h 4429225"/>
              <a:gd name="connsiteX80" fmla="*/ 268627 w 4519987"/>
              <a:gd name="connsiteY80" fmla="*/ 1200150 h 4429225"/>
              <a:gd name="connsiteX81" fmla="*/ 287677 w 4519987"/>
              <a:gd name="connsiteY81" fmla="*/ 1152525 h 4429225"/>
              <a:gd name="connsiteX82" fmla="*/ 316252 w 4519987"/>
              <a:gd name="connsiteY82" fmla="*/ 1114425 h 4429225"/>
              <a:gd name="connsiteX83" fmla="*/ 363877 w 4519987"/>
              <a:gd name="connsiteY83" fmla="*/ 1038225 h 4429225"/>
              <a:gd name="connsiteX84" fmla="*/ 382927 w 4519987"/>
              <a:gd name="connsiteY84" fmla="*/ 1009650 h 4429225"/>
              <a:gd name="connsiteX85" fmla="*/ 440077 w 4519987"/>
              <a:gd name="connsiteY85" fmla="*/ 904875 h 4429225"/>
              <a:gd name="connsiteX86" fmla="*/ 478177 w 4519987"/>
              <a:gd name="connsiteY86" fmla="*/ 857250 h 4429225"/>
              <a:gd name="connsiteX87" fmla="*/ 497227 w 4519987"/>
              <a:gd name="connsiteY87" fmla="*/ 828675 h 4429225"/>
              <a:gd name="connsiteX88" fmla="*/ 535327 w 4519987"/>
              <a:gd name="connsiteY88" fmla="*/ 800100 h 4429225"/>
              <a:gd name="connsiteX89" fmla="*/ 602002 w 4519987"/>
              <a:gd name="connsiteY89" fmla="*/ 733425 h 4429225"/>
              <a:gd name="connsiteX90" fmla="*/ 668677 w 4519987"/>
              <a:gd name="connsiteY90" fmla="*/ 676275 h 4429225"/>
              <a:gd name="connsiteX91" fmla="*/ 697252 w 4519987"/>
              <a:gd name="connsiteY91" fmla="*/ 657225 h 4429225"/>
              <a:gd name="connsiteX92" fmla="*/ 840127 w 4519987"/>
              <a:gd name="connsiteY92" fmla="*/ 533400 h 4429225"/>
              <a:gd name="connsiteX93" fmla="*/ 887752 w 4519987"/>
              <a:gd name="connsiteY93" fmla="*/ 504825 h 4429225"/>
              <a:gd name="connsiteX94" fmla="*/ 1167152 w 4519987"/>
              <a:gd name="connsiteY94" fmla="*/ 311150 h 4429225"/>
              <a:gd name="connsiteX95" fmla="*/ 1268752 w 4519987"/>
              <a:gd name="connsiteY95" fmla="*/ 285750 h 4429225"/>
              <a:gd name="connsiteX96" fmla="*/ 1411627 w 4519987"/>
              <a:gd name="connsiteY96" fmla="*/ 190500 h 4429225"/>
              <a:gd name="connsiteX97" fmla="*/ 1449727 w 4519987"/>
              <a:gd name="connsiteY97" fmla="*/ 161925 h 4429225"/>
              <a:gd name="connsiteX98" fmla="*/ 1525927 w 4519987"/>
              <a:gd name="connsiteY98" fmla="*/ 152400 h 4429225"/>
              <a:gd name="connsiteX99" fmla="*/ 1583077 w 4519987"/>
              <a:gd name="connsiteY99" fmla="*/ 142875 h 4429225"/>
              <a:gd name="connsiteX100" fmla="*/ 1716427 w 4519987"/>
              <a:gd name="connsiteY100" fmla="*/ 123825 h 4429225"/>
              <a:gd name="connsiteX101" fmla="*/ 1811677 w 4519987"/>
              <a:gd name="connsiteY101" fmla="*/ 114300 h 4429225"/>
              <a:gd name="connsiteX102" fmla="*/ 1859302 w 4519987"/>
              <a:gd name="connsiteY102" fmla="*/ 104775 h 4429225"/>
              <a:gd name="connsiteX103" fmla="*/ 1916452 w 4519987"/>
              <a:gd name="connsiteY103" fmla="*/ 95250 h 4429225"/>
              <a:gd name="connsiteX104" fmla="*/ 2030752 w 4519987"/>
              <a:gd name="connsiteY104" fmla="*/ 66675 h 4429225"/>
              <a:gd name="connsiteX105" fmla="*/ 2097427 w 4519987"/>
              <a:gd name="connsiteY105" fmla="*/ 47625 h 4429225"/>
              <a:gd name="connsiteX106" fmla="*/ 2164102 w 4519987"/>
              <a:gd name="connsiteY106" fmla="*/ 38100 h 4429225"/>
              <a:gd name="connsiteX107" fmla="*/ 2392702 w 4519987"/>
              <a:gd name="connsiteY107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611527 w 4519987"/>
              <a:gd name="connsiteY51" fmla="*/ 3733800 h 4429225"/>
              <a:gd name="connsiteX52" fmla="*/ 554377 w 4519987"/>
              <a:gd name="connsiteY52" fmla="*/ 3657600 h 4429225"/>
              <a:gd name="connsiteX53" fmla="*/ 525802 w 4519987"/>
              <a:gd name="connsiteY53" fmla="*/ 3609975 h 4429225"/>
              <a:gd name="connsiteX54" fmla="*/ 497227 w 4519987"/>
              <a:gd name="connsiteY54" fmla="*/ 3552825 h 4429225"/>
              <a:gd name="connsiteX55" fmla="*/ 440077 w 4519987"/>
              <a:gd name="connsiteY55" fmla="*/ 3495675 h 4429225"/>
              <a:gd name="connsiteX56" fmla="*/ 411502 w 4519987"/>
              <a:gd name="connsiteY56" fmla="*/ 3448050 h 4429225"/>
              <a:gd name="connsiteX57" fmla="*/ 278152 w 4519987"/>
              <a:gd name="connsiteY57" fmla="*/ 3257550 h 4429225"/>
              <a:gd name="connsiteX58" fmla="*/ 249577 w 4519987"/>
              <a:gd name="connsiteY58" fmla="*/ 3200400 h 4429225"/>
              <a:gd name="connsiteX59" fmla="*/ 240052 w 4519987"/>
              <a:gd name="connsiteY59" fmla="*/ 3162300 h 4429225"/>
              <a:gd name="connsiteX60" fmla="*/ 221002 w 4519987"/>
              <a:gd name="connsiteY60" fmla="*/ 3105150 h 4429225"/>
              <a:gd name="connsiteX61" fmla="*/ 173377 w 4519987"/>
              <a:gd name="connsiteY61" fmla="*/ 3019425 h 4429225"/>
              <a:gd name="connsiteX62" fmla="*/ 144802 w 4519987"/>
              <a:gd name="connsiteY62" fmla="*/ 2924175 h 4429225"/>
              <a:gd name="connsiteX63" fmla="*/ 68602 w 4519987"/>
              <a:gd name="connsiteY63" fmla="*/ 2724150 h 4429225"/>
              <a:gd name="connsiteX64" fmla="*/ 49552 w 4519987"/>
              <a:gd name="connsiteY64" fmla="*/ 2638425 h 4429225"/>
              <a:gd name="connsiteX65" fmla="*/ 40027 w 4519987"/>
              <a:gd name="connsiteY65" fmla="*/ 2562225 h 4429225"/>
              <a:gd name="connsiteX66" fmla="*/ 30502 w 4519987"/>
              <a:gd name="connsiteY66" fmla="*/ 2514600 h 4429225"/>
              <a:gd name="connsiteX67" fmla="*/ 11452 w 4519987"/>
              <a:gd name="connsiteY67" fmla="*/ 2400300 h 4429225"/>
              <a:gd name="connsiteX68" fmla="*/ 20977 w 4519987"/>
              <a:gd name="connsiteY68" fmla="*/ 1905000 h 4429225"/>
              <a:gd name="connsiteX69" fmla="*/ 30502 w 4519987"/>
              <a:gd name="connsiteY69" fmla="*/ 1838325 h 4429225"/>
              <a:gd name="connsiteX70" fmla="*/ 49552 w 4519987"/>
              <a:gd name="connsiteY70" fmla="*/ 1781175 h 4429225"/>
              <a:gd name="connsiteX71" fmla="*/ 59077 w 4519987"/>
              <a:gd name="connsiteY71" fmla="*/ 1743075 h 4429225"/>
              <a:gd name="connsiteX72" fmla="*/ 78127 w 4519987"/>
              <a:gd name="connsiteY72" fmla="*/ 1685925 h 4429225"/>
              <a:gd name="connsiteX73" fmla="*/ 87652 w 4519987"/>
              <a:gd name="connsiteY73" fmla="*/ 1638300 h 4429225"/>
              <a:gd name="connsiteX74" fmla="*/ 106702 w 4519987"/>
              <a:gd name="connsiteY74" fmla="*/ 1590675 h 4429225"/>
              <a:gd name="connsiteX75" fmla="*/ 135277 w 4519987"/>
              <a:gd name="connsiteY75" fmla="*/ 1504950 h 4429225"/>
              <a:gd name="connsiteX76" fmla="*/ 154327 w 4519987"/>
              <a:gd name="connsiteY76" fmla="*/ 1419225 h 4429225"/>
              <a:gd name="connsiteX77" fmla="*/ 230527 w 4519987"/>
              <a:gd name="connsiteY77" fmla="*/ 1276350 h 4429225"/>
              <a:gd name="connsiteX78" fmla="*/ 240052 w 4519987"/>
              <a:gd name="connsiteY78" fmla="*/ 1247775 h 4429225"/>
              <a:gd name="connsiteX79" fmla="*/ 268627 w 4519987"/>
              <a:gd name="connsiteY79" fmla="*/ 1200150 h 4429225"/>
              <a:gd name="connsiteX80" fmla="*/ 287677 w 4519987"/>
              <a:gd name="connsiteY80" fmla="*/ 1152525 h 4429225"/>
              <a:gd name="connsiteX81" fmla="*/ 316252 w 4519987"/>
              <a:gd name="connsiteY81" fmla="*/ 1114425 h 4429225"/>
              <a:gd name="connsiteX82" fmla="*/ 363877 w 4519987"/>
              <a:gd name="connsiteY82" fmla="*/ 1038225 h 4429225"/>
              <a:gd name="connsiteX83" fmla="*/ 382927 w 4519987"/>
              <a:gd name="connsiteY83" fmla="*/ 1009650 h 4429225"/>
              <a:gd name="connsiteX84" fmla="*/ 440077 w 4519987"/>
              <a:gd name="connsiteY84" fmla="*/ 904875 h 4429225"/>
              <a:gd name="connsiteX85" fmla="*/ 478177 w 4519987"/>
              <a:gd name="connsiteY85" fmla="*/ 857250 h 4429225"/>
              <a:gd name="connsiteX86" fmla="*/ 497227 w 4519987"/>
              <a:gd name="connsiteY86" fmla="*/ 828675 h 4429225"/>
              <a:gd name="connsiteX87" fmla="*/ 535327 w 4519987"/>
              <a:gd name="connsiteY87" fmla="*/ 800100 h 4429225"/>
              <a:gd name="connsiteX88" fmla="*/ 602002 w 4519987"/>
              <a:gd name="connsiteY88" fmla="*/ 733425 h 4429225"/>
              <a:gd name="connsiteX89" fmla="*/ 668677 w 4519987"/>
              <a:gd name="connsiteY89" fmla="*/ 676275 h 4429225"/>
              <a:gd name="connsiteX90" fmla="*/ 697252 w 4519987"/>
              <a:gd name="connsiteY90" fmla="*/ 657225 h 4429225"/>
              <a:gd name="connsiteX91" fmla="*/ 840127 w 4519987"/>
              <a:gd name="connsiteY91" fmla="*/ 533400 h 4429225"/>
              <a:gd name="connsiteX92" fmla="*/ 887752 w 4519987"/>
              <a:gd name="connsiteY92" fmla="*/ 504825 h 4429225"/>
              <a:gd name="connsiteX93" fmla="*/ 1167152 w 4519987"/>
              <a:gd name="connsiteY93" fmla="*/ 311150 h 4429225"/>
              <a:gd name="connsiteX94" fmla="*/ 1268752 w 4519987"/>
              <a:gd name="connsiteY94" fmla="*/ 285750 h 4429225"/>
              <a:gd name="connsiteX95" fmla="*/ 1411627 w 4519987"/>
              <a:gd name="connsiteY95" fmla="*/ 190500 h 4429225"/>
              <a:gd name="connsiteX96" fmla="*/ 1449727 w 4519987"/>
              <a:gd name="connsiteY96" fmla="*/ 161925 h 4429225"/>
              <a:gd name="connsiteX97" fmla="*/ 1525927 w 4519987"/>
              <a:gd name="connsiteY97" fmla="*/ 152400 h 4429225"/>
              <a:gd name="connsiteX98" fmla="*/ 1583077 w 4519987"/>
              <a:gd name="connsiteY98" fmla="*/ 142875 h 4429225"/>
              <a:gd name="connsiteX99" fmla="*/ 1716427 w 4519987"/>
              <a:gd name="connsiteY99" fmla="*/ 123825 h 4429225"/>
              <a:gd name="connsiteX100" fmla="*/ 1811677 w 4519987"/>
              <a:gd name="connsiteY100" fmla="*/ 114300 h 4429225"/>
              <a:gd name="connsiteX101" fmla="*/ 1859302 w 4519987"/>
              <a:gd name="connsiteY101" fmla="*/ 104775 h 4429225"/>
              <a:gd name="connsiteX102" fmla="*/ 1916452 w 4519987"/>
              <a:gd name="connsiteY102" fmla="*/ 95250 h 4429225"/>
              <a:gd name="connsiteX103" fmla="*/ 2030752 w 4519987"/>
              <a:gd name="connsiteY103" fmla="*/ 66675 h 4429225"/>
              <a:gd name="connsiteX104" fmla="*/ 2097427 w 4519987"/>
              <a:gd name="connsiteY104" fmla="*/ 47625 h 4429225"/>
              <a:gd name="connsiteX105" fmla="*/ 2164102 w 4519987"/>
              <a:gd name="connsiteY105" fmla="*/ 38100 h 4429225"/>
              <a:gd name="connsiteX106" fmla="*/ 2392702 w 4519987"/>
              <a:gd name="connsiteY106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525802 w 4519987"/>
              <a:gd name="connsiteY52" fmla="*/ 3609975 h 4429225"/>
              <a:gd name="connsiteX53" fmla="*/ 497227 w 4519987"/>
              <a:gd name="connsiteY53" fmla="*/ 3552825 h 4429225"/>
              <a:gd name="connsiteX54" fmla="*/ 440077 w 4519987"/>
              <a:gd name="connsiteY54" fmla="*/ 3495675 h 4429225"/>
              <a:gd name="connsiteX55" fmla="*/ 411502 w 4519987"/>
              <a:gd name="connsiteY55" fmla="*/ 3448050 h 4429225"/>
              <a:gd name="connsiteX56" fmla="*/ 278152 w 4519987"/>
              <a:gd name="connsiteY56" fmla="*/ 3257550 h 4429225"/>
              <a:gd name="connsiteX57" fmla="*/ 249577 w 4519987"/>
              <a:gd name="connsiteY57" fmla="*/ 3200400 h 4429225"/>
              <a:gd name="connsiteX58" fmla="*/ 240052 w 4519987"/>
              <a:gd name="connsiteY58" fmla="*/ 3162300 h 4429225"/>
              <a:gd name="connsiteX59" fmla="*/ 221002 w 4519987"/>
              <a:gd name="connsiteY59" fmla="*/ 3105150 h 4429225"/>
              <a:gd name="connsiteX60" fmla="*/ 173377 w 4519987"/>
              <a:gd name="connsiteY60" fmla="*/ 3019425 h 4429225"/>
              <a:gd name="connsiteX61" fmla="*/ 144802 w 4519987"/>
              <a:gd name="connsiteY61" fmla="*/ 2924175 h 4429225"/>
              <a:gd name="connsiteX62" fmla="*/ 68602 w 4519987"/>
              <a:gd name="connsiteY62" fmla="*/ 2724150 h 4429225"/>
              <a:gd name="connsiteX63" fmla="*/ 49552 w 4519987"/>
              <a:gd name="connsiteY63" fmla="*/ 2638425 h 4429225"/>
              <a:gd name="connsiteX64" fmla="*/ 40027 w 4519987"/>
              <a:gd name="connsiteY64" fmla="*/ 2562225 h 4429225"/>
              <a:gd name="connsiteX65" fmla="*/ 30502 w 4519987"/>
              <a:gd name="connsiteY65" fmla="*/ 2514600 h 4429225"/>
              <a:gd name="connsiteX66" fmla="*/ 11452 w 4519987"/>
              <a:gd name="connsiteY66" fmla="*/ 2400300 h 4429225"/>
              <a:gd name="connsiteX67" fmla="*/ 20977 w 4519987"/>
              <a:gd name="connsiteY67" fmla="*/ 1905000 h 4429225"/>
              <a:gd name="connsiteX68" fmla="*/ 30502 w 4519987"/>
              <a:gd name="connsiteY68" fmla="*/ 1838325 h 4429225"/>
              <a:gd name="connsiteX69" fmla="*/ 49552 w 4519987"/>
              <a:gd name="connsiteY69" fmla="*/ 1781175 h 4429225"/>
              <a:gd name="connsiteX70" fmla="*/ 59077 w 4519987"/>
              <a:gd name="connsiteY70" fmla="*/ 1743075 h 4429225"/>
              <a:gd name="connsiteX71" fmla="*/ 78127 w 4519987"/>
              <a:gd name="connsiteY71" fmla="*/ 1685925 h 4429225"/>
              <a:gd name="connsiteX72" fmla="*/ 87652 w 4519987"/>
              <a:gd name="connsiteY72" fmla="*/ 1638300 h 4429225"/>
              <a:gd name="connsiteX73" fmla="*/ 106702 w 4519987"/>
              <a:gd name="connsiteY73" fmla="*/ 1590675 h 4429225"/>
              <a:gd name="connsiteX74" fmla="*/ 135277 w 4519987"/>
              <a:gd name="connsiteY74" fmla="*/ 1504950 h 4429225"/>
              <a:gd name="connsiteX75" fmla="*/ 154327 w 4519987"/>
              <a:gd name="connsiteY75" fmla="*/ 1419225 h 4429225"/>
              <a:gd name="connsiteX76" fmla="*/ 230527 w 4519987"/>
              <a:gd name="connsiteY76" fmla="*/ 1276350 h 4429225"/>
              <a:gd name="connsiteX77" fmla="*/ 240052 w 4519987"/>
              <a:gd name="connsiteY77" fmla="*/ 1247775 h 4429225"/>
              <a:gd name="connsiteX78" fmla="*/ 268627 w 4519987"/>
              <a:gd name="connsiteY78" fmla="*/ 1200150 h 4429225"/>
              <a:gd name="connsiteX79" fmla="*/ 287677 w 4519987"/>
              <a:gd name="connsiteY79" fmla="*/ 1152525 h 4429225"/>
              <a:gd name="connsiteX80" fmla="*/ 316252 w 4519987"/>
              <a:gd name="connsiteY80" fmla="*/ 1114425 h 4429225"/>
              <a:gd name="connsiteX81" fmla="*/ 363877 w 4519987"/>
              <a:gd name="connsiteY81" fmla="*/ 1038225 h 4429225"/>
              <a:gd name="connsiteX82" fmla="*/ 382927 w 4519987"/>
              <a:gd name="connsiteY82" fmla="*/ 1009650 h 4429225"/>
              <a:gd name="connsiteX83" fmla="*/ 440077 w 4519987"/>
              <a:gd name="connsiteY83" fmla="*/ 904875 h 4429225"/>
              <a:gd name="connsiteX84" fmla="*/ 478177 w 4519987"/>
              <a:gd name="connsiteY84" fmla="*/ 857250 h 4429225"/>
              <a:gd name="connsiteX85" fmla="*/ 497227 w 4519987"/>
              <a:gd name="connsiteY85" fmla="*/ 828675 h 4429225"/>
              <a:gd name="connsiteX86" fmla="*/ 535327 w 4519987"/>
              <a:gd name="connsiteY86" fmla="*/ 800100 h 4429225"/>
              <a:gd name="connsiteX87" fmla="*/ 602002 w 4519987"/>
              <a:gd name="connsiteY87" fmla="*/ 733425 h 4429225"/>
              <a:gd name="connsiteX88" fmla="*/ 668677 w 4519987"/>
              <a:gd name="connsiteY88" fmla="*/ 676275 h 4429225"/>
              <a:gd name="connsiteX89" fmla="*/ 697252 w 4519987"/>
              <a:gd name="connsiteY89" fmla="*/ 657225 h 4429225"/>
              <a:gd name="connsiteX90" fmla="*/ 840127 w 4519987"/>
              <a:gd name="connsiteY90" fmla="*/ 533400 h 4429225"/>
              <a:gd name="connsiteX91" fmla="*/ 887752 w 4519987"/>
              <a:gd name="connsiteY91" fmla="*/ 504825 h 4429225"/>
              <a:gd name="connsiteX92" fmla="*/ 1167152 w 4519987"/>
              <a:gd name="connsiteY92" fmla="*/ 311150 h 4429225"/>
              <a:gd name="connsiteX93" fmla="*/ 1268752 w 4519987"/>
              <a:gd name="connsiteY93" fmla="*/ 285750 h 4429225"/>
              <a:gd name="connsiteX94" fmla="*/ 1411627 w 4519987"/>
              <a:gd name="connsiteY94" fmla="*/ 190500 h 4429225"/>
              <a:gd name="connsiteX95" fmla="*/ 1449727 w 4519987"/>
              <a:gd name="connsiteY95" fmla="*/ 161925 h 4429225"/>
              <a:gd name="connsiteX96" fmla="*/ 1525927 w 4519987"/>
              <a:gd name="connsiteY96" fmla="*/ 152400 h 4429225"/>
              <a:gd name="connsiteX97" fmla="*/ 1583077 w 4519987"/>
              <a:gd name="connsiteY97" fmla="*/ 142875 h 4429225"/>
              <a:gd name="connsiteX98" fmla="*/ 1716427 w 4519987"/>
              <a:gd name="connsiteY98" fmla="*/ 123825 h 4429225"/>
              <a:gd name="connsiteX99" fmla="*/ 1811677 w 4519987"/>
              <a:gd name="connsiteY99" fmla="*/ 114300 h 4429225"/>
              <a:gd name="connsiteX100" fmla="*/ 1859302 w 4519987"/>
              <a:gd name="connsiteY100" fmla="*/ 104775 h 4429225"/>
              <a:gd name="connsiteX101" fmla="*/ 1916452 w 4519987"/>
              <a:gd name="connsiteY101" fmla="*/ 95250 h 4429225"/>
              <a:gd name="connsiteX102" fmla="*/ 2030752 w 4519987"/>
              <a:gd name="connsiteY102" fmla="*/ 66675 h 4429225"/>
              <a:gd name="connsiteX103" fmla="*/ 2097427 w 4519987"/>
              <a:gd name="connsiteY103" fmla="*/ 47625 h 4429225"/>
              <a:gd name="connsiteX104" fmla="*/ 2164102 w 4519987"/>
              <a:gd name="connsiteY104" fmla="*/ 38100 h 4429225"/>
              <a:gd name="connsiteX105" fmla="*/ 2392702 w 4519987"/>
              <a:gd name="connsiteY105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97227 w 4519987"/>
              <a:gd name="connsiteY52" fmla="*/ 3552825 h 4429225"/>
              <a:gd name="connsiteX53" fmla="*/ 440077 w 4519987"/>
              <a:gd name="connsiteY53" fmla="*/ 3495675 h 4429225"/>
              <a:gd name="connsiteX54" fmla="*/ 411502 w 4519987"/>
              <a:gd name="connsiteY54" fmla="*/ 3448050 h 4429225"/>
              <a:gd name="connsiteX55" fmla="*/ 278152 w 4519987"/>
              <a:gd name="connsiteY55" fmla="*/ 3257550 h 4429225"/>
              <a:gd name="connsiteX56" fmla="*/ 249577 w 4519987"/>
              <a:gd name="connsiteY56" fmla="*/ 3200400 h 4429225"/>
              <a:gd name="connsiteX57" fmla="*/ 240052 w 4519987"/>
              <a:gd name="connsiteY57" fmla="*/ 3162300 h 4429225"/>
              <a:gd name="connsiteX58" fmla="*/ 221002 w 4519987"/>
              <a:gd name="connsiteY58" fmla="*/ 3105150 h 4429225"/>
              <a:gd name="connsiteX59" fmla="*/ 173377 w 4519987"/>
              <a:gd name="connsiteY59" fmla="*/ 3019425 h 4429225"/>
              <a:gd name="connsiteX60" fmla="*/ 144802 w 4519987"/>
              <a:gd name="connsiteY60" fmla="*/ 2924175 h 4429225"/>
              <a:gd name="connsiteX61" fmla="*/ 68602 w 4519987"/>
              <a:gd name="connsiteY61" fmla="*/ 2724150 h 4429225"/>
              <a:gd name="connsiteX62" fmla="*/ 49552 w 4519987"/>
              <a:gd name="connsiteY62" fmla="*/ 2638425 h 4429225"/>
              <a:gd name="connsiteX63" fmla="*/ 40027 w 4519987"/>
              <a:gd name="connsiteY63" fmla="*/ 2562225 h 4429225"/>
              <a:gd name="connsiteX64" fmla="*/ 30502 w 4519987"/>
              <a:gd name="connsiteY64" fmla="*/ 2514600 h 4429225"/>
              <a:gd name="connsiteX65" fmla="*/ 11452 w 4519987"/>
              <a:gd name="connsiteY65" fmla="*/ 2400300 h 4429225"/>
              <a:gd name="connsiteX66" fmla="*/ 20977 w 4519987"/>
              <a:gd name="connsiteY66" fmla="*/ 1905000 h 4429225"/>
              <a:gd name="connsiteX67" fmla="*/ 30502 w 4519987"/>
              <a:gd name="connsiteY67" fmla="*/ 1838325 h 4429225"/>
              <a:gd name="connsiteX68" fmla="*/ 49552 w 4519987"/>
              <a:gd name="connsiteY68" fmla="*/ 1781175 h 4429225"/>
              <a:gd name="connsiteX69" fmla="*/ 59077 w 4519987"/>
              <a:gd name="connsiteY69" fmla="*/ 1743075 h 4429225"/>
              <a:gd name="connsiteX70" fmla="*/ 78127 w 4519987"/>
              <a:gd name="connsiteY70" fmla="*/ 1685925 h 4429225"/>
              <a:gd name="connsiteX71" fmla="*/ 87652 w 4519987"/>
              <a:gd name="connsiteY71" fmla="*/ 1638300 h 4429225"/>
              <a:gd name="connsiteX72" fmla="*/ 106702 w 4519987"/>
              <a:gd name="connsiteY72" fmla="*/ 1590675 h 4429225"/>
              <a:gd name="connsiteX73" fmla="*/ 135277 w 4519987"/>
              <a:gd name="connsiteY73" fmla="*/ 1504950 h 4429225"/>
              <a:gd name="connsiteX74" fmla="*/ 154327 w 4519987"/>
              <a:gd name="connsiteY74" fmla="*/ 1419225 h 4429225"/>
              <a:gd name="connsiteX75" fmla="*/ 230527 w 4519987"/>
              <a:gd name="connsiteY75" fmla="*/ 1276350 h 4429225"/>
              <a:gd name="connsiteX76" fmla="*/ 240052 w 4519987"/>
              <a:gd name="connsiteY76" fmla="*/ 1247775 h 4429225"/>
              <a:gd name="connsiteX77" fmla="*/ 268627 w 4519987"/>
              <a:gd name="connsiteY77" fmla="*/ 1200150 h 4429225"/>
              <a:gd name="connsiteX78" fmla="*/ 287677 w 4519987"/>
              <a:gd name="connsiteY78" fmla="*/ 1152525 h 4429225"/>
              <a:gd name="connsiteX79" fmla="*/ 316252 w 4519987"/>
              <a:gd name="connsiteY79" fmla="*/ 1114425 h 4429225"/>
              <a:gd name="connsiteX80" fmla="*/ 363877 w 4519987"/>
              <a:gd name="connsiteY80" fmla="*/ 1038225 h 4429225"/>
              <a:gd name="connsiteX81" fmla="*/ 382927 w 4519987"/>
              <a:gd name="connsiteY81" fmla="*/ 1009650 h 4429225"/>
              <a:gd name="connsiteX82" fmla="*/ 440077 w 4519987"/>
              <a:gd name="connsiteY82" fmla="*/ 904875 h 4429225"/>
              <a:gd name="connsiteX83" fmla="*/ 478177 w 4519987"/>
              <a:gd name="connsiteY83" fmla="*/ 857250 h 4429225"/>
              <a:gd name="connsiteX84" fmla="*/ 497227 w 4519987"/>
              <a:gd name="connsiteY84" fmla="*/ 828675 h 4429225"/>
              <a:gd name="connsiteX85" fmla="*/ 535327 w 4519987"/>
              <a:gd name="connsiteY85" fmla="*/ 800100 h 4429225"/>
              <a:gd name="connsiteX86" fmla="*/ 602002 w 4519987"/>
              <a:gd name="connsiteY86" fmla="*/ 733425 h 4429225"/>
              <a:gd name="connsiteX87" fmla="*/ 668677 w 4519987"/>
              <a:gd name="connsiteY87" fmla="*/ 676275 h 4429225"/>
              <a:gd name="connsiteX88" fmla="*/ 697252 w 4519987"/>
              <a:gd name="connsiteY88" fmla="*/ 657225 h 4429225"/>
              <a:gd name="connsiteX89" fmla="*/ 840127 w 4519987"/>
              <a:gd name="connsiteY89" fmla="*/ 533400 h 4429225"/>
              <a:gd name="connsiteX90" fmla="*/ 887752 w 4519987"/>
              <a:gd name="connsiteY90" fmla="*/ 504825 h 4429225"/>
              <a:gd name="connsiteX91" fmla="*/ 1167152 w 4519987"/>
              <a:gd name="connsiteY91" fmla="*/ 311150 h 4429225"/>
              <a:gd name="connsiteX92" fmla="*/ 1268752 w 4519987"/>
              <a:gd name="connsiteY92" fmla="*/ 285750 h 4429225"/>
              <a:gd name="connsiteX93" fmla="*/ 1411627 w 4519987"/>
              <a:gd name="connsiteY93" fmla="*/ 190500 h 4429225"/>
              <a:gd name="connsiteX94" fmla="*/ 1449727 w 4519987"/>
              <a:gd name="connsiteY94" fmla="*/ 161925 h 4429225"/>
              <a:gd name="connsiteX95" fmla="*/ 1525927 w 4519987"/>
              <a:gd name="connsiteY95" fmla="*/ 152400 h 4429225"/>
              <a:gd name="connsiteX96" fmla="*/ 1583077 w 4519987"/>
              <a:gd name="connsiteY96" fmla="*/ 142875 h 4429225"/>
              <a:gd name="connsiteX97" fmla="*/ 1716427 w 4519987"/>
              <a:gd name="connsiteY97" fmla="*/ 123825 h 4429225"/>
              <a:gd name="connsiteX98" fmla="*/ 1811677 w 4519987"/>
              <a:gd name="connsiteY98" fmla="*/ 114300 h 4429225"/>
              <a:gd name="connsiteX99" fmla="*/ 1859302 w 4519987"/>
              <a:gd name="connsiteY99" fmla="*/ 104775 h 4429225"/>
              <a:gd name="connsiteX100" fmla="*/ 1916452 w 4519987"/>
              <a:gd name="connsiteY100" fmla="*/ 95250 h 4429225"/>
              <a:gd name="connsiteX101" fmla="*/ 2030752 w 4519987"/>
              <a:gd name="connsiteY101" fmla="*/ 66675 h 4429225"/>
              <a:gd name="connsiteX102" fmla="*/ 2097427 w 4519987"/>
              <a:gd name="connsiteY102" fmla="*/ 47625 h 4429225"/>
              <a:gd name="connsiteX103" fmla="*/ 2164102 w 4519987"/>
              <a:gd name="connsiteY103" fmla="*/ 38100 h 4429225"/>
              <a:gd name="connsiteX104" fmla="*/ 2392702 w 4519987"/>
              <a:gd name="connsiteY104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97227 w 4519987"/>
              <a:gd name="connsiteY52" fmla="*/ 3552825 h 4429225"/>
              <a:gd name="connsiteX53" fmla="*/ 440077 w 4519987"/>
              <a:gd name="connsiteY53" fmla="*/ 3495675 h 4429225"/>
              <a:gd name="connsiteX54" fmla="*/ 278152 w 4519987"/>
              <a:gd name="connsiteY54" fmla="*/ 3257550 h 4429225"/>
              <a:gd name="connsiteX55" fmla="*/ 249577 w 4519987"/>
              <a:gd name="connsiteY55" fmla="*/ 3200400 h 4429225"/>
              <a:gd name="connsiteX56" fmla="*/ 240052 w 4519987"/>
              <a:gd name="connsiteY56" fmla="*/ 3162300 h 4429225"/>
              <a:gd name="connsiteX57" fmla="*/ 221002 w 4519987"/>
              <a:gd name="connsiteY57" fmla="*/ 3105150 h 4429225"/>
              <a:gd name="connsiteX58" fmla="*/ 173377 w 4519987"/>
              <a:gd name="connsiteY58" fmla="*/ 3019425 h 4429225"/>
              <a:gd name="connsiteX59" fmla="*/ 144802 w 4519987"/>
              <a:gd name="connsiteY59" fmla="*/ 2924175 h 4429225"/>
              <a:gd name="connsiteX60" fmla="*/ 68602 w 4519987"/>
              <a:gd name="connsiteY60" fmla="*/ 2724150 h 4429225"/>
              <a:gd name="connsiteX61" fmla="*/ 49552 w 4519987"/>
              <a:gd name="connsiteY61" fmla="*/ 2638425 h 4429225"/>
              <a:gd name="connsiteX62" fmla="*/ 40027 w 4519987"/>
              <a:gd name="connsiteY62" fmla="*/ 2562225 h 4429225"/>
              <a:gd name="connsiteX63" fmla="*/ 30502 w 4519987"/>
              <a:gd name="connsiteY63" fmla="*/ 2514600 h 4429225"/>
              <a:gd name="connsiteX64" fmla="*/ 11452 w 4519987"/>
              <a:gd name="connsiteY64" fmla="*/ 2400300 h 4429225"/>
              <a:gd name="connsiteX65" fmla="*/ 20977 w 4519987"/>
              <a:gd name="connsiteY65" fmla="*/ 1905000 h 4429225"/>
              <a:gd name="connsiteX66" fmla="*/ 30502 w 4519987"/>
              <a:gd name="connsiteY66" fmla="*/ 1838325 h 4429225"/>
              <a:gd name="connsiteX67" fmla="*/ 49552 w 4519987"/>
              <a:gd name="connsiteY67" fmla="*/ 1781175 h 4429225"/>
              <a:gd name="connsiteX68" fmla="*/ 59077 w 4519987"/>
              <a:gd name="connsiteY68" fmla="*/ 1743075 h 4429225"/>
              <a:gd name="connsiteX69" fmla="*/ 78127 w 4519987"/>
              <a:gd name="connsiteY69" fmla="*/ 1685925 h 4429225"/>
              <a:gd name="connsiteX70" fmla="*/ 87652 w 4519987"/>
              <a:gd name="connsiteY70" fmla="*/ 1638300 h 4429225"/>
              <a:gd name="connsiteX71" fmla="*/ 106702 w 4519987"/>
              <a:gd name="connsiteY71" fmla="*/ 1590675 h 4429225"/>
              <a:gd name="connsiteX72" fmla="*/ 135277 w 4519987"/>
              <a:gd name="connsiteY72" fmla="*/ 1504950 h 4429225"/>
              <a:gd name="connsiteX73" fmla="*/ 154327 w 4519987"/>
              <a:gd name="connsiteY73" fmla="*/ 1419225 h 4429225"/>
              <a:gd name="connsiteX74" fmla="*/ 230527 w 4519987"/>
              <a:gd name="connsiteY74" fmla="*/ 1276350 h 4429225"/>
              <a:gd name="connsiteX75" fmla="*/ 240052 w 4519987"/>
              <a:gd name="connsiteY75" fmla="*/ 1247775 h 4429225"/>
              <a:gd name="connsiteX76" fmla="*/ 268627 w 4519987"/>
              <a:gd name="connsiteY76" fmla="*/ 1200150 h 4429225"/>
              <a:gd name="connsiteX77" fmla="*/ 287677 w 4519987"/>
              <a:gd name="connsiteY77" fmla="*/ 1152525 h 4429225"/>
              <a:gd name="connsiteX78" fmla="*/ 316252 w 4519987"/>
              <a:gd name="connsiteY78" fmla="*/ 1114425 h 4429225"/>
              <a:gd name="connsiteX79" fmla="*/ 363877 w 4519987"/>
              <a:gd name="connsiteY79" fmla="*/ 1038225 h 4429225"/>
              <a:gd name="connsiteX80" fmla="*/ 382927 w 4519987"/>
              <a:gd name="connsiteY80" fmla="*/ 1009650 h 4429225"/>
              <a:gd name="connsiteX81" fmla="*/ 440077 w 4519987"/>
              <a:gd name="connsiteY81" fmla="*/ 904875 h 4429225"/>
              <a:gd name="connsiteX82" fmla="*/ 478177 w 4519987"/>
              <a:gd name="connsiteY82" fmla="*/ 857250 h 4429225"/>
              <a:gd name="connsiteX83" fmla="*/ 497227 w 4519987"/>
              <a:gd name="connsiteY83" fmla="*/ 828675 h 4429225"/>
              <a:gd name="connsiteX84" fmla="*/ 535327 w 4519987"/>
              <a:gd name="connsiteY84" fmla="*/ 800100 h 4429225"/>
              <a:gd name="connsiteX85" fmla="*/ 602002 w 4519987"/>
              <a:gd name="connsiteY85" fmla="*/ 733425 h 4429225"/>
              <a:gd name="connsiteX86" fmla="*/ 668677 w 4519987"/>
              <a:gd name="connsiteY86" fmla="*/ 676275 h 4429225"/>
              <a:gd name="connsiteX87" fmla="*/ 697252 w 4519987"/>
              <a:gd name="connsiteY87" fmla="*/ 657225 h 4429225"/>
              <a:gd name="connsiteX88" fmla="*/ 840127 w 4519987"/>
              <a:gd name="connsiteY88" fmla="*/ 533400 h 4429225"/>
              <a:gd name="connsiteX89" fmla="*/ 887752 w 4519987"/>
              <a:gd name="connsiteY89" fmla="*/ 504825 h 4429225"/>
              <a:gd name="connsiteX90" fmla="*/ 1167152 w 4519987"/>
              <a:gd name="connsiteY90" fmla="*/ 311150 h 4429225"/>
              <a:gd name="connsiteX91" fmla="*/ 1268752 w 4519987"/>
              <a:gd name="connsiteY91" fmla="*/ 285750 h 4429225"/>
              <a:gd name="connsiteX92" fmla="*/ 1411627 w 4519987"/>
              <a:gd name="connsiteY92" fmla="*/ 190500 h 4429225"/>
              <a:gd name="connsiteX93" fmla="*/ 1449727 w 4519987"/>
              <a:gd name="connsiteY93" fmla="*/ 161925 h 4429225"/>
              <a:gd name="connsiteX94" fmla="*/ 1525927 w 4519987"/>
              <a:gd name="connsiteY94" fmla="*/ 152400 h 4429225"/>
              <a:gd name="connsiteX95" fmla="*/ 1583077 w 4519987"/>
              <a:gd name="connsiteY95" fmla="*/ 142875 h 4429225"/>
              <a:gd name="connsiteX96" fmla="*/ 1716427 w 4519987"/>
              <a:gd name="connsiteY96" fmla="*/ 123825 h 4429225"/>
              <a:gd name="connsiteX97" fmla="*/ 1811677 w 4519987"/>
              <a:gd name="connsiteY97" fmla="*/ 114300 h 4429225"/>
              <a:gd name="connsiteX98" fmla="*/ 1859302 w 4519987"/>
              <a:gd name="connsiteY98" fmla="*/ 104775 h 4429225"/>
              <a:gd name="connsiteX99" fmla="*/ 1916452 w 4519987"/>
              <a:gd name="connsiteY99" fmla="*/ 95250 h 4429225"/>
              <a:gd name="connsiteX100" fmla="*/ 2030752 w 4519987"/>
              <a:gd name="connsiteY100" fmla="*/ 66675 h 4429225"/>
              <a:gd name="connsiteX101" fmla="*/ 2097427 w 4519987"/>
              <a:gd name="connsiteY101" fmla="*/ 47625 h 4429225"/>
              <a:gd name="connsiteX102" fmla="*/ 2164102 w 4519987"/>
              <a:gd name="connsiteY102" fmla="*/ 38100 h 4429225"/>
              <a:gd name="connsiteX103" fmla="*/ 2392702 w 4519987"/>
              <a:gd name="connsiteY103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40077 w 4519987"/>
              <a:gd name="connsiteY52" fmla="*/ 3495675 h 4429225"/>
              <a:gd name="connsiteX53" fmla="*/ 278152 w 4519987"/>
              <a:gd name="connsiteY53" fmla="*/ 3257550 h 4429225"/>
              <a:gd name="connsiteX54" fmla="*/ 249577 w 4519987"/>
              <a:gd name="connsiteY54" fmla="*/ 3200400 h 4429225"/>
              <a:gd name="connsiteX55" fmla="*/ 240052 w 4519987"/>
              <a:gd name="connsiteY55" fmla="*/ 3162300 h 4429225"/>
              <a:gd name="connsiteX56" fmla="*/ 221002 w 4519987"/>
              <a:gd name="connsiteY56" fmla="*/ 3105150 h 4429225"/>
              <a:gd name="connsiteX57" fmla="*/ 173377 w 4519987"/>
              <a:gd name="connsiteY57" fmla="*/ 3019425 h 4429225"/>
              <a:gd name="connsiteX58" fmla="*/ 144802 w 4519987"/>
              <a:gd name="connsiteY58" fmla="*/ 2924175 h 4429225"/>
              <a:gd name="connsiteX59" fmla="*/ 68602 w 4519987"/>
              <a:gd name="connsiteY59" fmla="*/ 2724150 h 4429225"/>
              <a:gd name="connsiteX60" fmla="*/ 49552 w 4519987"/>
              <a:gd name="connsiteY60" fmla="*/ 2638425 h 4429225"/>
              <a:gd name="connsiteX61" fmla="*/ 40027 w 4519987"/>
              <a:gd name="connsiteY61" fmla="*/ 2562225 h 4429225"/>
              <a:gd name="connsiteX62" fmla="*/ 30502 w 4519987"/>
              <a:gd name="connsiteY62" fmla="*/ 2514600 h 4429225"/>
              <a:gd name="connsiteX63" fmla="*/ 11452 w 4519987"/>
              <a:gd name="connsiteY63" fmla="*/ 2400300 h 4429225"/>
              <a:gd name="connsiteX64" fmla="*/ 20977 w 4519987"/>
              <a:gd name="connsiteY64" fmla="*/ 1905000 h 4429225"/>
              <a:gd name="connsiteX65" fmla="*/ 30502 w 4519987"/>
              <a:gd name="connsiteY65" fmla="*/ 1838325 h 4429225"/>
              <a:gd name="connsiteX66" fmla="*/ 49552 w 4519987"/>
              <a:gd name="connsiteY66" fmla="*/ 1781175 h 4429225"/>
              <a:gd name="connsiteX67" fmla="*/ 59077 w 4519987"/>
              <a:gd name="connsiteY67" fmla="*/ 1743075 h 4429225"/>
              <a:gd name="connsiteX68" fmla="*/ 78127 w 4519987"/>
              <a:gd name="connsiteY68" fmla="*/ 1685925 h 4429225"/>
              <a:gd name="connsiteX69" fmla="*/ 87652 w 4519987"/>
              <a:gd name="connsiteY69" fmla="*/ 1638300 h 4429225"/>
              <a:gd name="connsiteX70" fmla="*/ 106702 w 4519987"/>
              <a:gd name="connsiteY70" fmla="*/ 1590675 h 4429225"/>
              <a:gd name="connsiteX71" fmla="*/ 135277 w 4519987"/>
              <a:gd name="connsiteY71" fmla="*/ 1504950 h 4429225"/>
              <a:gd name="connsiteX72" fmla="*/ 154327 w 4519987"/>
              <a:gd name="connsiteY72" fmla="*/ 1419225 h 4429225"/>
              <a:gd name="connsiteX73" fmla="*/ 230527 w 4519987"/>
              <a:gd name="connsiteY73" fmla="*/ 1276350 h 4429225"/>
              <a:gd name="connsiteX74" fmla="*/ 240052 w 4519987"/>
              <a:gd name="connsiteY74" fmla="*/ 1247775 h 4429225"/>
              <a:gd name="connsiteX75" fmla="*/ 268627 w 4519987"/>
              <a:gd name="connsiteY75" fmla="*/ 1200150 h 4429225"/>
              <a:gd name="connsiteX76" fmla="*/ 287677 w 4519987"/>
              <a:gd name="connsiteY76" fmla="*/ 1152525 h 4429225"/>
              <a:gd name="connsiteX77" fmla="*/ 316252 w 4519987"/>
              <a:gd name="connsiteY77" fmla="*/ 1114425 h 4429225"/>
              <a:gd name="connsiteX78" fmla="*/ 363877 w 4519987"/>
              <a:gd name="connsiteY78" fmla="*/ 1038225 h 4429225"/>
              <a:gd name="connsiteX79" fmla="*/ 382927 w 4519987"/>
              <a:gd name="connsiteY79" fmla="*/ 1009650 h 4429225"/>
              <a:gd name="connsiteX80" fmla="*/ 440077 w 4519987"/>
              <a:gd name="connsiteY80" fmla="*/ 904875 h 4429225"/>
              <a:gd name="connsiteX81" fmla="*/ 478177 w 4519987"/>
              <a:gd name="connsiteY81" fmla="*/ 857250 h 4429225"/>
              <a:gd name="connsiteX82" fmla="*/ 497227 w 4519987"/>
              <a:gd name="connsiteY82" fmla="*/ 828675 h 4429225"/>
              <a:gd name="connsiteX83" fmla="*/ 535327 w 4519987"/>
              <a:gd name="connsiteY83" fmla="*/ 800100 h 4429225"/>
              <a:gd name="connsiteX84" fmla="*/ 602002 w 4519987"/>
              <a:gd name="connsiteY84" fmla="*/ 733425 h 4429225"/>
              <a:gd name="connsiteX85" fmla="*/ 668677 w 4519987"/>
              <a:gd name="connsiteY85" fmla="*/ 676275 h 4429225"/>
              <a:gd name="connsiteX86" fmla="*/ 697252 w 4519987"/>
              <a:gd name="connsiteY86" fmla="*/ 657225 h 4429225"/>
              <a:gd name="connsiteX87" fmla="*/ 840127 w 4519987"/>
              <a:gd name="connsiteY87" fmla="*/ 533400 h 4429225"/>
              <a:gd name="connsiteX88" fmla="*/ 887752 w 4519987"/>
              <a:gd name="connsiteY88" fmla="*/ 504825 h 4429225"/>
              <a:gd name="connsiteX89" fmla="*/ 1167152 w 4519987"/>
              <a:gd name="connsiteY89" fmla="*/ 311150 h 4429225"/>
              <a:gd name="connsiteX90" fmla="*/ 1268752 w 4519987"/>
              <a:gd name="connsiteY90" fmla="*/ 285750 h 4429225"/>
              <a:gd name="connsiteX91" fmla="*/ 1411627 w 4519987"/>
              <a:gd name="connsiteY91" fmla="*/ 190500 h 4429225"/>
              <a:gd name="connsiteX92" fmla="*/ 1449727 w 4519987"/>
              <a:gd name="connsiteY92" fmla="*/ 161925 h 4429225"/>
              <a:gd name="connsiteX93" fmla="*/ 1525927 w 4519987"/>
              <a:gd name="connsiteY93" fmla="*/ 152400 h 4429225"/>
              <a:gd name="connsiteX94" fmla="*/ 1583077 w 4519987"/>
              <a:gd name="connsiteY94" fmla="*/ 142875 h 4429225"/>
              <a:gd name="connsiteX95" fmla="*/ 1716427 w 4519987"/>
              <a:gd name="connsiteY95" fmla="*/ 123825 h 4429225"/>
              <a:gd name="connsiteX96" fmla="*/ 1811677 w 4519987"/>
              <a:gd name="connsiteY96" fmla="*/ 114300 h 4429225"/>
              <a:gd name="connsiteX97" fmla="*/ 1859302 w 4519987"/>
              <a:gd name="connsiteY97" fmla="*/ 104775 h 4429225"/>
              <a:gd name="connsiteX98" fmla="*/ 1916452 w 4519987"/>
              <a:gd name="connsiteY98" fmla="*/ 95250 h 4429225"/>
              <a:gd name="connsiteX99" fmla="*/ 2030752 w 4519987"/>
              <a:gd name="connsiteY99" fmla="*/ 66675 h 4429225"/>
              <a:gd name="connsiteX100" fmla="*/ 2097427 w 4519987"/>
              <a:gd name="connsiteY100" fmla="*/ 47625 h 4429225"/>
              <a:gd name="connsiteX101" fmla="*/ 2164102 w 4519987"/>
              <a:gd name="connsiteY101" fmla="*/ 38100 h 4429225"/>
              <a:gd name="connsiteX102" fmla="*/ 2392702 w 4519987"/>
              <a:gd name="connsiteY102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49577 w 4519987"/>
              <a:gd name="connsiteY53" fmla="*/ 3200400 h 4429225"/>
              <a:gd name="connsiteX54" fmla="*/ 240052 w 4519987"/>
              <a:gd name="connsiteY54" fmla="*/ 3162300 h 4429225"/>
              <a:gd name="connsiteX55" fmla="*/ 221002 w 4519987"/>
              <a:gd name="connsiteY55" fmla="*/ 3105150 h 4429225"/>
              <a:gd name="connsiteX56" fmla="*/ 173377 w 4519987"/>
              <a:gd name="connsiteY56" fmla="*/ 3019425 h 4429225"/>
              <a:gd name="connsiteX57" fmla="*/ 144802 w 4519987"/>
              <a:gd name="connsiteY57" fmla="*/ 2924175 h 4429225"/>
              <a:gd name="connsiteX58" fmla="*/ 68602 w 4519987"/>
              <a:gd name="connsiteY58" fmla="*/ 2724150 h 4429225"/>
              <a:gd name="connsiteX59" fmla="*/ 49552 w 4519987"/>
              <a:gd name="connsiteY59" fmla="*/ 2638425 h 4429225"/>
              <a:gd name="connsiteX60" fmla="*/ 40027 w 4519987"/>
              <a:gd name="connsiteY60" fmla="*/ 2562225 h 4429225"/>
              <a:gd name="connsiteX61" fmla="*/ 30502 w 4519987"/>
              <a:gd name="connsiteY61" fmla="*/ 2514600 h 4429225"/>
              <a:gd name="connsiteX62" fmla="*/ 11452 w 4519987"/>
              <a:gd name="connsiteY62" fmla="*/ 2400300 h 4429225"/>
              <a:gd name="connsiteX63" fmla="*/ 20977 w 4519987"/>
              <a:gd name="connsiteY63" fmla="*/ 1905000 h 4429225"/>
              <a:gd name="connsiteX64" fmla="*/ 30502 w 4519987"/>
              <a:gd name="connsiteY64" fmla="*/ 1838325 h 4429225"/>
              <a:gd name="connsiteX65" fmla="*/ 49552 w 4519987"/>
              <a:gd name="connsiteY65" fmla="*/ 1781175 h 4429225"/>
              <a:gd name="connsiteX66" fmla="*/ 59077 w 4519987"/>
              <a:gd name="connsiteY66" fmla="*/ 1743075 h 4429225"/>
              <a:gd name="connsiteX67" fmla="*/ 78127 w 4519987"/>
              <a:gd name="connsiteY67" fmla="*/ 1685925 h 4429225"/>
              <a:gd name="connsiteX68" fmla="*/ 87652 w 4519987"/>
              <a:gd name="connsiteY68" fmla="*/ 1638300 h 4429225"/>
              <a:gd name="connsiteX69" fmla="*/ 106702 w 4519987"/>
              <a:gd name="connsiteY69" fmla="*/ 1590675 h 4429225"/>
              <a:gd name="connsiteX70" fmla="*/ 135277 w 4519987"/>
              <a:gd name="connsiteY70" fmla="*/ 1504950 h 4429225"/>
              <a:gd name="connsiteX71" fmla="*/ 154327 w 4519987"/>
              <a:gd name="connsiteY71" fmla="*/ 1419225 h 4429225"/>
              <a:gd name="connsiteX72" fmla="*/ 230527 w 4519987"/>
              <a:gd name="connsiteY72" fmla="*/ 1276350 h 4429225"/>
              <a:gd name="connsiteX73" fmla="*/ 240052 w 4519987"/>
              <a:gd name="connsiteY73" fmla="*/ 1247775 h 4429225"/>
              <a:gd name="connsiteX74" fmla="*/ 268627 w 4519987"/>
              <a:gd name="connsiteY74" fmla="*/ 1200150 h 4429225"/>
              <a:gd name="connsiteX75" fmla="*/ 287677 w 4519987"/>
              <a:gd name="connsiteY75" fmla="*/ 1152525 h 4429225"/>
              <a:gd name="connsiteX76" fmla="*/ 316252 w 4519987"/>
              <a:gd name="connsiteY76" fmla="*/ 1114425 h 4429225"/>
              <a:gd name="connsiteX77" fmla="*/ 363877 w 4519987"/>
              <a:gd name="connsiteY77" fmla="*/ 1038225 h 4429225"/>
              <a:gd name="connsiteX78" fmla="*/ 382927 w 4519987"/>
              <a:gd name="connsiteY78" fmla="*/ 1009650 h 4429225"/>
              <a:gd name="connsiteX79" fmla="*/ 440077 w 4519987"/>
              <a:gd name="connsiteY79" fmla="*/ 904875 h 4429225"/>
              <a:gd name="connsiteX80" fmla="*/ 478177 w 4519987"/>
              <a:gd name="connsiteY80" fmla="*/ 857250 h 4429225"/>
              <a:gd name="connsiteX81" fmla="*/ 497227 w 4519987"/>
              <a:gd name="connsiteY81" fmla="*/ 828675 h 4429225"/>
              <a:gd name="connsiteX82" fmla="*/ 535327 w 4519987"/>
              <a:gd name="connsiteY82" fmla="*/ 800100 h 4429225"/>
              <a:gd name="connsiteX83" fmla="*/ 602002 w 4519987"/>
              <a:gd name="connsiteY83" fmla="*/ 733425 h 4429225"/>
              <a:gd name="connsiteX84" fmla="*/ 668677 w 4519987"/>
              <a:gd name="connsiteY84" fmla="*/ 676275 h 4429225"/>
              <a:gd name="connsiteX85" fmla="*/ 697252 w 4519987"/>
              <a:gd name="connsiteY85" fmla="*/ 657225 h 4429225"/>
              <a:gd name="connsiteX86" fmla="*/ 840127 w 4519987"/>
              <a:gd name="connsiteY86" fmla="*/ 533400 h 4429225"/>
              <a:gd name="connsiteX87" fmla="*/ 887752 w 4519987"/>
              <a:gd name="connsiteY87" fmla="*/ 504825 h 4429225"/>
              <a:gd name="connsiteX88" fmla="*/ 1167152 w 4519987"/>
              <a:gd name="connsiteY88" fmla="*/ 311150 h 4429225"/>
              <a:gd name="connsiteX89" fmla="*/ 1268752 w 4519987"/>
              <a:gd name="connsiteY89" fmla="*/ 285750 h 4429225"/>
              <a:gd name="connsiteX90" fmla="*/ 1411627 w 4519987"/>
              <a:gd name="connsiteY90" fmla="*/ 190500 h 4429225"/>
              <a:gd name="connsiteX91" fmla="*/ 1449727 w 4519987"/>
              <a:gd name="connsiteY91" fmla="*/ 161925 h 4429225"/>
              <a:gd name="connsiteX92" fmla="*/ 1525927 w 4519987"/>
              <a:gd name="connsiteY92" fmla="*/ 152400 h 4429225"/>
              <a:gd name="connsiteX93" fmla="*/ 1583077 w 4519987"/>
              <a:gd name="connsiteY93" fmla="*/ 142875 h 4429225"/>
              <a:gd name="connsiteX94" fmla="*/ 1716427 w 4519987"/>
              <a:gd name="connsiteY94" fmla="*/ 123825 h 4429225"/>
              <a:gd name="connsiteX95" fmla="*/ 1811677 w 4519987"/>
              <a:gd name="connsiteY95" fmla="*/ 114300 h 4429225"/>
              <a:gd name="connsiteX96" fmla="*/ 1859302 w 4519987"/>
              <a:gd name="connsiteY96" fmla="*/ 104775 h 4429225"/>
              <a:gd name="connsiteX97" fmla="*/ 1916452 w 4519987"/>
              <a:gd name="connsiteY97" fmla="*/ 95250 h 4429225"/>
              <a:gd name="connsiteX98" fmla="*/ 2030752 w 4519987"/>
              <a:gd name="connsiteY98" fmla="*/ 66675 h 4429225"/>
              <a:gd name="connsiteX99" fmla="*/ 2097427 w 4519987"/>
              <a:gd name="connsiteY99" fmla="*/ 47625 h 4429225"/>
              <a:gd name="connsiteX100" fmla="*/ 2164102 w 4519987"/>
              <a:gd name="connsiteY100" fmla="*/ 38100 h 4429225"/>
              <a:gd name="connsiteX101" fmla="*/ 2392702 w 4519987"/>
              <a:gd name="connsiteY101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49577 w 4519987"/>
              <a:gd name="connsiteY53" fmla="*/ 3200400 h 4429225"/>
              <a:gd name="connsiteX54" fmla="*/ 221002 w 4519987"/>
              <a:gd name="connsiteY54" fmla="*/ 3105150 h 4429225"/>
              <a:gd name="connsiteX55" fmla="*/ 173377 w 4519987"/>
              <a:gd name="connsiteY55" fmla="*/ 3019425 h 4429225"/>
              <a:gd name="connsiteX56" fmla="*/ 144802 w 4519987"/>
              <a:gd name="connsiteY56" fmla="*/ 2924175 h 4429225"/>
              <a:gd name="connsiteX57" fmla="*/ 68602 w 4519987"/>
              <a:gd name="connsiteY57" fmla="*/ 2724150 h 4429225"/>
              <a:gd name="connsiteX58" fmla="*/ 49552 w 4519987"/>
              <a:gd name="connsiteY58" fmla="*/ 2638425 h 4429225"/>
              <a:gd name="connsiteX59" fmla="*/ 40027 w 4519987"/>
              <a:gd name="connsiteY59" fmla="*/ 2562225 h 4429225"/>
              <a:gd name="connsiteX60" fmla="*/ 30502 w 4519987"/>
              <a:gd name="connsiteY60" fmla="*/ 2514600 h 4429225"/>
              <a:gd name="connsiteX61" fmla="*/ 11452 w 4519987"/>
              <a:gd name="connsiteY61" fmla="*/ 2400300 h 4429225"/>
              <a:gd name="connsiteX62" fmla="*/ 20977 w 4519987"/>
              <a:gd name="connsiteY62" fmla="*/ 1905000 h 4429225"/>
              <a:gd name="connsiteX63" fmla="*/ 30502 w 4519987"/>
              <a:gd name="connsiteY63" fmla="*/ 1838325 h 4429225"/>
              <a:gd name="connsiteX64" fmla="*/ 49552 w 4519987"/>
              <a:gd name="connsiteY64" fmla="*/ 1781175 h 4429225"/>
              <a:gd name="connsiteX65" fmla="*/ 59077 w 4519987"/>
              <a:gd name="connsiteY65" fmla="*/ 1743075 h 4429225"/>
              <a:gd name="connsiteX66" fmla="*/ 78127 w 4519987"/>
              <a:gd name="connsiteY66" fmla="*/ 1685925 h 4429225"/>
              <a:gd name="connsiteX67" fmla="*/ 87652 w 4519987"/>
              <a:gd name="connsiteY67" fmla="*/ 1638300 h 4429225"/>
              <a:gd name="connsiteX68" fmla="*/ 106702 w 4519987"/>
              <a:gd name="connsiteY68" fmla="*/ 1590675 h 4429225"/>
              <a:gd name="connsiteX69" fmla="*/ 135277 w 4519987"/>
              <a:gd name="connsiteY69" fmla="*/ 1504950 h 4429225"/>
              <a:gd name="connsiteX70" fmla="*/ 154327 w 4519987"/>
              <a:gd name="connsiteY70" fmla="*/ 1419225 h 4429225"/>
              <a:gd name="connsiteX71" fmla="*/ 230527 w 4519987"/>
              <a:gd name="connsiteY71" fmla="*/ 1276350 h 4429225"/>
              <a:gd name="connsiteX72" fmla="*/ 240052 w 4519987"/>
              <a:gd name="connsiteY72" fmla="*/ 1247775 h 4429225"/>
              <a:gd name="connsiteX73" fmla="*/ 268627 w 4519987"/>
              <a:gd name="connsiteY73" fmla="*/ 1200150 h 4429225"/>
              <a:gd name="connsiteX74" fmla="*/ 287677 w 4519987"/>
              <a:gd name="connsiteY74" fmla="*/ 1152525 h 4429225"/>
              <a:gd name="connsiteX75" fmla="*/ 316252 w 4519987"/>
              <a:gd name="connsiteY75" fmla="*/ 1114425 h 4429225"/>
              <a:gd name="connsiteX76" fmla="*/ 363877 w 4519987"/>
              <a:gd name="connsiteY76" fmla="*/ 1038225 h 4429225"/>
              <a:gd name="connsiteX77" fmla="*/ 382927 w 4519987"/>
              <a:gd name="connsiteY77" fmla="*/ 1009650 h 4429225"/>
              <a:gd name="connsiteX78" fmla="*/ 440077 w 4519987"/>
              <a:gd name="connsiteY78" fmla="*/ 904875 h 4429225"/>
              <a:gd name="connsiteX79" fmla="*/ 478177 w 4519987"/>
              <a:gd name="connsiteY79" fmla="*/ 857250 h 4429225"/>
              <a:gd name="connsiteX80" fmla="*/ 497227 w 4519987"/>
              <a:gd name="connsiteY80" fmla="*/ 828675 h 4429225"/>
              <a:gd name="connsiteX81" fmla="*/ 535327 w 4519987"/>
              <a:gd name="connsiteY81" fmla="*/ 800100 h 4429225"/>
              <a:gd name="connsiteX82" fmla="*/ 602002 w 4519987"/>
              <a:gd name="connsiteY82" fmla="*/ 733425 h 4429225"/>
              <a:gd name="connsiteX83" fmla="*/ 668677 w 4519987"/>
              <a:gd name="connsiteY83" fmla="*/ 676275 h 4429225"/>
              <a:gd name="connsiteX84" fmla="*/ 697252 w 4519987"/>
              <a:gd name="connsiteY84" fmla="*/ 657225 h 4429225"/>
              <a:gd name="connsiteX85" fmla="*/ 840127 w 4519987"/>
              <a:gd name="connsiteY85" fmla="*/ 533400 h 4429225"/>
              <a:gd name="connsiteX86" fmla="*/ 887752 w 4519987"/>
              <a:gd name="connsiteY86" fmla="*/ 504825 h 4429225"/>
              <a:gd name="connsiteX87" fmla="*/ 1167152 w 4519987"/>
              <a:gd name="connsiteY87" fmla="*/ 311150 h 4429225"/>
              <a:gd name="connsiteX88" fmla="*/ 1268752 w 4519987"/>
              <a:gd name="connsiteY88" fmla="*/ 285750 h 4429225"/>
              <a:gd name="connsiteX89" fmla="*/ 1411627 w 4519987"/>
              <a:gd name="connsiteY89" fmla="*/ 190500 h 4429225"/>
              <a:gd name="connsiteX90" fmla="*/ 1449727 w 4519987"/>
              <a:gd name="connsiteY90" fmla="*/ 161925 h 4429225"/>
              <a:gd name="connsiteX91" fmla="*/ 1525927 w 4519987"/>
              <a:gd name="connsiteY91" fmla="*/ 152400 h 4429225"/>
              <a:gd name="connsiteX92" fmla="*/ 1583077 w 4519987"/>
              <a:gd name="connsiteY92" fmla="*/ 142875 h 4429225"/>
              <a:gd name="connsiteX93" fmla="*/ 1716427 w 4519987"/>
              <a:gd name="connsiteY93" fmla="*/ 123825 h 4429225"/>
              <a:gd name="connsiteX94" fmla="*/ 1811677 w 4519987"/>
              <a:gd name="connsiteY94" fmla="*/ 114300 h 4429225"/>
              <a:gd name="connsiteX95" fmla="*/ 1859302 w 4519987"/>
              <a:gd name="connsiteY95" fmla="*/ 104775 h 4429225"/>
              <a:gd name="connsiteX96" fmla="*/ 1916452 w 4519987"/>
              <a:gd name="connsiteY96" fmla="*/ 95250 h 4429225"/>
              <a:gd name="connsiteX97" fmla="*/ 2030752 w 4519987"/>
              <a:gd name="connsiteY97" fmla="*/ 66675 h 4429225"/>
              <a:gd name="connsiteX98" fmla="*/ 2097427 w 4519987"/>
              <a:gd name="connsiteY98" fmla="*/ 47625 h 4429225"/>
              <a:gd name="connsiteX99" fmla="*/ 2164102 w 4519987"/>
              <a:gd name="connsiteY99" fmla="*/ 38100 h 4429225"/>
              <a:gd name="connsiteX100" fmla="*/ 2392702 w 4519987"/>
              <a:gd name="connsiteY100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73377 w 4519987"/>
              <a:gd name="connsiteY54" fmla="*/ 3019425 h 4429225"/>
              <a:gd name="connsiteX55" fmla="*/ 144802 w 4519987"/>
              <a:gd name="connsiteY55" fmla="*/ 2924175 h 4429225"/>
              <a:gd name="connsiteX56" fmla="*/ 68602 w 4519987"/>
              <a:gd name="connsiteY56" fmla="*/ 2724150 h 4429225"/>
              <a:gd name="connsiteX57" fmla="*/ 49552 w 4519987"/>
              <a:gd name="connsiteY57" fmla="*/ 2638425 h 4429225"/>
              <a:gd name="connsiteX58" fmla="*/ 40027 w 4519987"/>
              <a:gd name="connsiteY58" fmla="*/ 2562225 h 4429225"/>
              <a:gd name="connsiteX59" fmla="*/ 30502 w 4519987"/>
              <a:gd name="connsiteY59" fmla="*/ 2514600 h 4429225"/>
              <a:gd name="connsiteX60" fmla="*/ 11452 w 4519987"/>
              <a:gd name="connsiteY60" fmla="*/ 2400300 h 4429225"/>
              <a:gd name="connsiteX61" fmla="*/ 20977 w 4519987"/>
              <a:gd name="connsiteY61" fmla="*/ 1905000 h 4429225"/>
              <a:gd name="connsiteX62" fmla="*/ 30502 w 4519987"/>
              <a:gd name="connsiteY62" fmla="*/ 1838325 h 4429225"/>
              <a:gd name="connsiteX63" fmla="*/ 49552 w 4519987"/>
              <a:gd name="connsiteY63" fmla="*/ 1781175 h 4429225"/>
              <a:gd name="connsiteX64" fmla="*/ 59077 w 4519987"/>
              <a:gd name="connsiteY64" fmla="*/ 1743075 h 4429225"/>
              <a:gd name="connsiteX65" fmla="*/ 78127 w 4519987"/>
              <a:gd name="connsiteY65" fmla="*/ 1685925 h 4429225"/>
              <a:gd name="connsiteX66" fmla="*/ 87652 w 4519987"/>
              <a:gd name="connsiteY66" fmla="*/ 1638300 h 4429225"/>
              <a:gd name="connsiteX67" fmla="*/ 106702 w 4519987"/>
              <a:gd name="connsiteY67" fmla="*/ 1590675 h 4429225"/>
              <a:gd name="connsiteX68" fmla="*/ 135277 w 4519987"/>
              <a:gd name="connsiteY68" fmla="*/ 1504950 h 4429225"/>
              <a:gd name="connsiteX69" fmla="*/ 154327 w 4519987"/>
              <a:gd name="connsiteY69" fmla="*/ 1419225 h 4429225"/>
              <a:gd name="connsiteX70" fmla="*/ 230527 w 4519987"/>
              <a:gd name="connsiteY70" fmla="*/ 1276350 h 4429225"/>
              <a:gd name="connsiteX71" fmla="*/ 240052 w 4519987"/>
              <a:gd name="connsiteY71" fmla="*/ 1247775 h 4429225"/>
              <a:gd name="connsiteX72" fmla="*/ 268627 w 4519987"/>
              <a:gd name="connsiteY72" fmla="*/ 1200150 h 4429225"/>
              <a:gd name="connsiteX73" fmla="*/ 287677 w 4519987"/>
              <a:gd name="connsiteY73" fmla="*/ 1152525 h 4429225"/>
              <a:gd name="connsiteX74" fmla="*/ 316252 w 4519987"/>
              <a:gd name="connsiteY74" fmla="*/ 1114425 h 4429225"/>
              <a:gd name="connsiteX75" fmla="*/ 363877 w 4519987"/>
              <a:gd name="connsiteY75" fmla="*/ 1038225 h 4429225"/>
              <a:gd name="connsiteX76" fmla="*/ 382927 w 4519987"/>
              <a:gd name="connsiteY76" fmla="*/ 1009650 h 4429225"/>
              <a:gd name="connsiteX77" fmla="*/ 440077 w 4519987"/>
              <a:gd name="connsiteY77" fmla="*/ 904875 h 4429225"/>
              <a:gd name="connsiteX78" fmla="*/ 478177 w 4519987"/>
              <a:gd name="connsiteY78" fmla="*/ 857250 h 4429225"/>
              <a:gd name="connsiteX79" fmla="*/ 497227 w 4519987"/>
              <a:gd name="connsiteY79" fmla="*/ 828675 h 4429225"/>
              <a:gd name="connsiteX80" fmla="*/ 535327 w 4519987"/>
              <a:gd name="connsiteY80" fmla="*/ 800100 h 4429225"/>
              <a:gd name="connsiteX81" fmla="*/ 602002 w 4519987"/>
              <a:gd name="connsiteY81" fmla="*/ 733425 h 4429225"/>
              <a:gd name="connsiteX82" fmla="*/ 668677 w 4519987"/>
              <a:gd name="connsiteY82" fmla="*/ 676275 h 4429225"/>
              <a:gd name="connsiteX83" fmla="*/ 697252 w 4519987"/>
              <a:gd name="connsiteY83" fmla="*/ 657225 h 4429225"/>
              <a:gd name="connsiteX84" fmla="*/ 840127 w 4519987"/>
              <a:gd name="connsiteY84" fmla="*/ 533400 h 4429225"/>
              <a:gd name="connsiteX85" fmla="*/ 887752 w 4519987"/>
              <a:gd name="connsiteY85" fmla="*/ 504825 h 4429225"/>
              <a:gd name="connsiteX86" fmla="*/ 1167152 w 4519987"/>
              <a:gd name="connsiteY86" fmla="*/ 311150 h 4429225"/>
              <a:gd name="connsiteX87" fmla="*/ 1268752 w 4519987"/>
              <a:gd name="connsiteY87" fmla="*/ 285750 h 4429225"/>
              <a:gd name="connsiteX88" fmla="*/ 1411627 w 4519987"/>
              <a:gd name="connsiteY88" fmla="*/ 190500 h 4429225"/>
              <a:gd name="connsiteX89" fmla="*/ 1449727 w 4519987"/>
              <a:gd name="connsiteY89" fmla="*/ 161925 h 4429225"/>
              <a:gd name="connsiteX90" fmla="*/ 1525927 w 4519987"/>
              <a:gd name="connsiteY90" fmla="*/ 152400 h 4429225"/>
              <a:gd name="connsiteX91" fmla="*/ 1583077 w 4519987"/>
              <a:gd name="connsiteY91" fmla="*/ 142875 h 4429225"/>
              <a:gd name="connsiteX92" fmla="*/ 1716427 w 4519987"/>
              <a:gd name="connsiteY92" fmla="*/ 123825 h 4429225"/>
              <a:gd name="connsiteX93" fmla="*/ 1811677 w 4519987"/>
              <a:gd name="connsiteY93" fmla="*/ 114300 h 4429225"/>
              <a:gd name="connsiteX94" fmla="*/ 1859302 w 4519987"/>
              <a:gd name="connsiteY94" fmla="*/ 104775 h 4429225"/>
              <a:gd name="connsiteX95" fmla="*/ 1916452 w 4519987"/>
              <a:gd name="connsiteY95" fmla="*/ 95250 h 4429225"/>
              <a:gd name="connsiteX96" fmla="*/ 2030752 w 4519987"/>
              <a:gd name="connsiteY96" fmla="*/ 66675 h 4429225"/>
              <a:gd name="connsiteX97" fmla="*/ 2097427 w 4519987"/>
              <a:gd name="connsiteY97" fmla="*/ 47625 h 4429225"/>
              <a:gd name="connsiteX98" fmla="*/ 2164102 w 4519987"/>
              <a:gd name="connsiteY98" fmla="*/ 38100 h 4429225"/>
              <a:gd name="connsiteX99" fmla="*/ 2392702 w 4519987"/>
              <a:gd name="connsiteY99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9552 w 4519987"/>
              <a:gd name="connsiteY56" fmla="*/ 2638425 h 4429225"/>
              <a:gd name="connsiteX57" fmla="*/ 40027 w 4519987"/>
              <a:gd name="connsiteY57" fmla="*/ 2562225 h 4429225"/>
              <a:gd name="connsiteX58" fmla="*/ 30502 w 4519987"/>
              <a:gd name="connsiteY58" fmla="*/ 2514600 h 4429225"/>
              <a:gd name="connsiteX59" fmla="*/ 11452 w 4519987"/>
              <a:gd name="connsiteY59" fmla="*/ 2400300 h 4429225"/>
              <a:gd name="connsiteX60" fmla="*/ 20977 w 4519987"/>
              <a:gd name="connsiteY60" fmla="*/ 1905000 h 4429225"/>
              <a:gd name="connsiteX61" fmla="*/ 30502 w 4519987"/>
              <a:gd name="connsiteY61" fmla="*/ 1838325 h 4429225"/>
              <a:gd name="connsiteX62" fmla="*/ 49552 w 4519987"/>
              <a:gd name="connsiteY62" fmla="*/ 1781175 h 4429225"/>
              <a:gd name="connsiteX63" fmla="*/ 59077 w 4519987"/>
              <a:gd name="connsiteY63" fmla="*/ 1743075 h 4429225"/>
              <a:gd name="connsiteX64" fmla="*/ 78127 w 4519987"/>
              <a:gd name="connsiteY64" fmla="*/ 1685925 h 4429225"/>
              <a:gd name="connsiteX65" fmla="*/ 87652 w 4519987"/>
              <a:gd name="connsiteY65" fmla="*/ 1638300 h 4429225"/>
              <a:gd name="connsiteX66" fmla="*/ 106702 w 4519987"/>
              <a:gd name="connsiteY66" fmla="*/ 1590675 h 4429225"/>
              <a:gd name="connsiteX67" fmla="*/ 135277 w 4519987"/>
              <a:gd name="connsiteY67" fmla="*/ 1504950 h 4429225"/>
              <a:gd name="connsiteX68" fmla="*/ 154327 w 4519987"/>
              <a:gd name="connsiteY68" fmla="*/ 1419225 h 4429225"/>
              <a:gd name="connsiteX69" fmla="*/ 230527 w 4519987"/>
              <a:gd name="connsiteY69" fmla="*/ 1276350 h 4429225"/>
              <a:gd name="connsiteX70" fmla="*/ 240052 w 4519987"/>
              <a:gd name="connsiteY70" fmla="*/ 1247775 h 4429225"/>
              <a:gd name="connsiteX71" fmla="*/ 268627 w 4519987"/>
              <a:gd name="connsiteY71" fmla="*/ 1200150 h 4429225"/>
              <a:gd name="connsiteX72" fmla="*/ 287677 w 4519987"/>
              <a:gd name="connsiteY72" fmla="*/ 1152525 h 4429225"/>
              <a:gd name="connsiteX73" fmla="*/ 316252 w 4519987"/>
              <a:gd name="connsiteY73" fmla="*/ 1114425 h 4429225"/>
              <a:gd name="connsiteX74" fmla="*/ 363877 w 4519987"/>
              <a:gd name="connsiteY74" fmla="*/ 1038225 h 4429225"/>
              <a:gd name="connsiteX75" fmla="*/ 382927 w 4519987"/>
              <a:gd name="connsiteY75" fmla="*/ 1009650 h 4429225"/>
              <a:gd name="connsiteX76" fmla="*/ 440077 w 4519987"/>
              <a:gd name="connsiteY76" fmla="*/ 904875 h 4429225"/>
              <a:gd name="connsiteX77" fmla="*/ 478177 w 4519987"/>
              <a:gd name="connsiteY77" fmla="*/ 857250 h 4429225"/>
              <a:gd name="connsiteX78" fmla="*/ 497227 w 4519987"/>
              <a:gd name="connsiteY78" fmla="*/ 828675 h 4429225"/>
              <a:gd name="connsiteX79" fmla="*/ 535327 w 4519987"/>
              <a:gd name="connsiteY79" fmla="*/ 800100 h 4429225"/>
              <a:gd name="connsiteX80" fmla="*/ 602002 w 4519987"/>
              <a:gd name="connsiteY80" fmla="*/ 733425 h 4429225"/>
              <a:gd name="connsiteX81" fmla="*/ 668677 w 4519987"/>
              <a:gd name="connsiteY81" fmla="*/ 676275 h 4429225"/>
              <a:gd name="connsiteX82" fmla="*/ 697252 w 4519987"/>
              <a:gd name="connsiteY82" fmla="*/ 657225 h 4429225"/>
              <a:gd name="connsiteX83" fmla="*/ 840127 w 4519987"/>
              <a:gd name="connsiteY83" fmla="*/ 533400 h 4429225"/>
              <a:gd name="connsiteX84" fmla="*/ 887752 w 4519987"/>
              <a:gd name="connsiteY84" fmla="*/ 504825 h 4429225"/>
              <a:gd name="connsiteX85" fmla="*/ 1167152 w 4519987"/>
              <a:gd name="connsiteY85" fmla="*/ 311150 h 4429225"/>
              <a:gd name="connsiteX86" fmla="*/ 1268752 w 4519987"/>
              <a:gd name="connsiteY86" fmla="*/ 285750 h 4429225"/>
              <a:gd name="connsiteX87" fmla="*/ 1411627 w 4519987"/>
              <a:gd name="connsiteY87" fmla="*/ 190500 h 4429225"/>
              <a:gd name="connsiteX88" fmla="*/ 1449727 w 4519987"/>
              <a:gd name="connsiteY88" fmla="*/ 161925 h 4429225"/>
              <a:gd name="connsiteX89" fmla="*/ 1525927 w 4519987"/>
              <a:gd name="connsiteY89" fmla="*/ 152400 h 4429225"/>
              <a:gd name="connsiteX90" fmla="*/ 1583077 w 4519987"/>
              <a:gd name="connsiteY90" fmla="*/ 142875 h 4429225"/>
              <a:gd name="connsiteX91" fmla="*/ 1716427 w 4519987"/>
              <a:gd name="connsiteY91" fmla="*/ 123825 h 4429225"/>
              <a:gd name="connsiteX92" fmla="*/ 1811677 w 4519987"/>
              <a:gd name="connsiteY92" fmla="*/ 114300 h 4429225"/>
              <a:gd name="connsiteX93" fmla="*/ 1859302 w 4519987"/>
              <a:gd name="connsiteY93" fmla="*/ 104775 h 4429225"/>
              <a:gd name="connsiteX94" fmla="*/ 1916452 w 4519987"/>
              <a:gd name="connsiteY94" fmla="*/ 95250 h 4429225"/>
              <a:gd name="connsiteX95" fmla="*/ 2030752 w 4519987"/>
              <a:gd name="connsiteY95" fmla="*/ 66675 h 4429225"/>
              <a:gd name="connsiteX96" fmla="*/ 2097427 w 4519987"/>
              <a:gd name="connsiteY96" fmla="*/ 47625 h 4429225"/>
              <a:gd name="connsiteX97" fmla="*/ 2164102 w 4519987"/>
              <a:gd name="connsiteY97" fmla="*/ 38100 h 4429225"/>
              <a:gd name="connsiteX98" fmla="*/ 2392702 w 4519987"/>
              <a:gd name="connsiteY98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0027 w 4519987"/>
              <a:gd name="connsiteY56" fmla="*/ 2562225 h 4429225"/>
              <a:gd name="connsiteX57" fmla="*/ 30502 w 4519987"/>
              <a:gd name="connsiteY57" fmla="*/ 2514600 h 4429225"/>
              <a:gd name="connsiteX58" fmla="*/ 11452 w 4519987"/>
              <a:gd name="connsiteY58" fmla="*/ 2400300 h 4429225"/>
              <a:gd name="connsiteX59" fmla="*/ 20977 w 4519987"/>
              <a:gd name="connsiteY59" fmla="*/ 1905000 h 4429225"/>
              <a:gd name="connsiteX60" fmla="*/ 30502 w 4519987"/>
              <a:gd name="connsiteY60" fmla="*/ 1838325 h 4429225"/>
              <a:gd name="connsiteX61" fmla="*/ 49552 w 4519987"/>
              <a:gd name="connsiteY61" fmla="*/ 1781175 h 4429225"/>
              <a:gd name="connsiteX62" fmla="*/ 59077 w 4519987"/>
              <a:gd name="connsiteY62" fmla="*/ 1743075 h 4429225"/>
              <a:gd name="connsiteX63" fmla="*/ 78127 w 4519987"/>
              <a:gd name="connsiteY63" fmla="*/ 1685925 h 4429225"/>
              <a:gd name="connsiteX64" fmla="*/ 87652 w 4519987"/>
              <a:gd name="connsiteY64" fmla="*/ 1638300 h 4429225"/>
              <a:gd name="connsiteX65" fmla="*/ 106702 w 4519987"/>
              <a:gd name="connsiteY65" fmla="*/ 1590675 h 4429225"/>
              <a:gd name="connsiteX66" fmla="*/ 135277 w 4519987"/>
              <a:gd name="connsiteY66" fmla="*/ 1504950 h 4429225"/>
              <a:gd name="connsiteX67" fmla="*/ 154327 w 4519987"/>
              <a:gd name="connsiteY67" fmla="*/ 1419225 h 4429225"/>
              <a:gd name="connsiteX68" fmla="*/ 230527 w 4519987"/>
              <a:gd name="connsiteY68" fmla="*/ 1276350 h 4429225"/>
              <a:gd name="connsiteX69" fmla="*/ 240052 w 4519987"/>
              <a:gd name="connsiteY69" fmla="*/ 1247775 h 4429225"/>
              <a:gd name="connsiteX70" fmla="*/ 268627 w 4519987"/>
              <a:gd name="connsiteY70" fmla="*/ 1200150 h 4429225"/>
              <a:gd name="connsiteX71" fmla="*/ 287677 w 4519987"/>
              <a:gd name="connsiteY71" fmla="*/ 1152525 h 4429225"/>
              <a:gd name="connsiteX72" fmla="*/ 316252 w 4519987"/>
              <a:gd name="connsiteY72" fmla="*/ 1114425 h 4429225"/>
              <a:gd name="connsiteX73" fmla="*/ 363877 w 4519987"/>
              <a:gd name="connsiteY73" fmla="*/ 1038225 h 4429225"/>
              <a:gd name="connsiteX74" fmla="*/ 382927 w 4519987"/>
              <a:gd name="connsiteY74" fmla="*/ 1009650 h 4429225"/>
              <a:gd name="connsiteX75" fmla="*/ 440077 w 4519987"/>
              <a:gd name="connsiteY75" fmla="*/ 904875 h 4429225"/>
              <a:gd name="connsiteX76" fmla="*/ 478177 w 4519987"/>
              <a:gd name="connsiteY76" fmla="*/ 857250 h 4429225"/>
              <a:gd name="connsiteX77" fmla="*/ 497227 w 4519987"/>
              <a:gd name="connsiteY77" fmla="*/ 828675 h 4429225"/>
              <a:gd name="connsiteX78" fmla="*/ 535327 w 4519987"/>
              <a:gd name="connsiteY78" fmla="*/ 800100 h 4429225"/>
              <a:gd name="connsiteX79" fmla="*/ 602002 w 4519987"/>
              <a:gd name="connsiteY79" fmla="*/ 733425 h 4429225"/>
              <a:gd name="connsiteX80" fmla="*/ 668677 w 4519987"/>
              <a:gd name="connsiteY80" fmla="*/ 676275 h 4429225"/>
              <a:gd name="connsiteX81" fmla="*/ 697252 w 4519987"/>
              <a:gd name="connsiteY81" fmla="*/ 657225 h 4429225"/>
              <a:gd name="connsiteX82" fmla="*/ 840127 w 4519987"/>
              <a:gd name="connsiteY82" fmla="*/ 533400 h 4429225"/>
              <a:gd name="connsiteX83" fmla="*/ 887752 w 4519987"/>
              <a:gd name="connsiteY83" fmla="*/ 504825 h 4429225"/>
              <a:gd name="connsiteX84" fmla="*/ 1167152 w 4519987"/>
              <a:gd name="connsiteY84" fmla="*/ 311150 h 4429225"/>
              <a:gd name="connsiteX85" fmla="*/ 1268752 w 4519987"/>
              <a:gd name="connsiteY85" fmla="*/ 285750 h 4429225"/>
              <a:gd name="connsiteX86" fmla="*/ 1411627 w 4519987"/>
              <a:gd name="connsiteY86" fmla="*/ 190500 h 4429225"/>
              <a:gd name="connsiteX87" fmla="*/ 1449727 w 4519987"/>
              <a:gd name="connsiteY87" fmla="*/ 161925 h 4429225"/>
              <a:gd name="connsiteX88" fmla="*/ 1525927 w 4519987"/>
              <a:gd name="connsiteY88" fmla="*/ 152400 h 4429225"/>
              <a:gd name="connsiteX89" fmla="*/ 1583077 w 4519987"/>
              <a:gd name="connsiteY89" fmla="*/ 142875 h 4429225"/>
              <a:gd name="connsiteX90" fmla="*/ 1716427 w 4519987"/>
              <a:gd name="connsiteY90" fmla="*/ 123825 h 4429225"/>
              <a:gd name="connsiteX91" fmla="*/ 1811677 w 4519987"/>
              <a:gd name="connsiteY91" fmla="*/ 114300 h 4429225"/>
              <a:gd name="connsiteX92" fmla="*/ 1859302 w 4519987"/>
              <a:gd name="connsiteY92" fmla="*/ 104775 h 4429225"/>
              <a:gd name="connsiteX93" fmla="*/ 1916452 w 4519987"/>
              <a:gd name="connsiteY93" fmla="*/ 95250 h 4429225"/>
              <a:gd name="connsiteX94" fmla="*/ 2030752 w 4519987"/>
              <a:gd name="connsiteY94" fmla="*/ 66675 h 4429225"/>
              <a:gd name="connsiteX95" fmla="*/ 2097427 w 4519987"/>
              <a:gd name="connsiteY95" fmla="*/ 47625 h 4429225"/>
              <a:gd name="connsiteX96" fmla="*/ 2164102 w 4519987"/>
              <a:gd name="connsiteY96" fmla="*/ 38100 h 4429225"/>
              <a:gd name="connsiteX97" fmla="*/ 2392702 w 4519987"/>
              <a:gd name="connsiteY97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0027 w 4519987"/>
              <a:gd name="connsiteY56" fmla="*/ 2562225 h 4429225"/>
              <a:gd name="connsiteX57" fmla="*/ 11452 w 4519987"/>
              <a:gd name="connsiteY57" fmla="*/ 2400300 h 4429225"/>
              <a:gd name="connsiteX58" fmla="*/ 20977 w 4519987"/>
              <a:gd name="connsiteY58" fmla="*/ 1905000 h 4429225"/>
              <a:gd name="connsiteX59" fmla="*/ 30502 w 4519987"/>
              <a:gd name="connsiteY59" fmla="*/ 1838325 h 4429225"/>
              <a:gd name="connsiteX60" fmla="*/ 49552 w 4519987"/>
              <a:gd name="connsiteY60" fmla="*/ 1781175 h 4429225"/>
              <a:gd name="connsiteX61" fmla="*/ 59077 w 4519987"/>
              <a:gd name="connsiteY61" fmla="*/ 1743075 h 4429225"/>
              <a:gd name="connsiteX62" fmla="*/ 78127 w 4519987"/>
              <a:gd name="connsiteY62" fmla="*/ 1685925 h 4429225"/>
              <a:gd name="connsiteX63" fmla="*/ 87652 w 4519987"/>
              <a:gd name="connsiteY63" fmla="*/ 1638300 h 4429225"/>
              <a:gd name="connsiteX64" fmla="*/ 106702 w 4519987"/>
              <a:gd name="connsiteY64" fmla="*/ 1590675 h 4429225"/>
              <a:gd name="connsiteX65" fmla="*/ 135277 w 4519987"/>
              <a:gd name="connsiteY65" fmla="*/ 1504950 h 4429225"/>
              <a:gd name="connsiteX66" fmla="*/ 154327 w 4519987"/>
              <a:gd name="connsiteY66" fmla="*/ 1419225 h 4429225"/>
              <a:gd name="connsiteX67" fmla="*/ 230527 w 4519987"/>
              <a:gd name="connsiteY67" fmla="*/ 1276350 h 4429225"/>
              <a:gd name="connsiteX68" fmla="*/ 240052 w 4519987"/>
              <a:gd name="connsiteY68" fmla="*/ 1247775 h 4429225"/>
              <a:gd name="connsiteX69" fmla="*/ 268627 w 4519987"/>
              <a:gd name="connsiteY69" fmla="*/ 1200150 h 4429225"/>
              <a:gd name="connsiteX70" fmla="*/ 287677 w 4519987"/>
              <a:gd name="connsiteY70" fmla="*/ 1152525 h 4429225"/>
              <a:gd name="connsiteX71" fmla="*/ 316252 w 4519987"/>
              <a:gd name="connsiteY71" fmla="*/ 1114425 h 4429225"/>
              <a:gd name="connsiteX72" fmla="*/ 363877 w 4519987"/>
              <a:gd name="connsiteY72" fmla="*/ 1038225 h 4429225"/>
              <a:gd name="connsiteX73" fmla="*/ 382927 w 4519987"/>
              <a:gd name="connsiteY73" fmla="*/ 1009650 h 4429225"/>
              <a:gd name="connsiteX74" fmla="*/ 440077 w 4519987"/>
              <a:gd name="connsiteY74" fmla="*/ 904875 h 4429225"/>
              <a:gd name="connsiteX75" fmla="*/ 478177 w 4519987"/>
              <a:gd name="connsiteY75" fmla="*/ 857250 h 4429225"/>
              <a:gd name="connsiteX76" fmla="*/ 497227 w 4519987"/>
              <a:gd name="connsiteY76" fmla="*/ 828675 h 4429225"/>
              <a:gd name="connsiteX77" fmla="*/ 535327 w 4519987"/>
              <a:gd name="connsiteY77" fmla="*/ 800100 h 4429225"/>
              <a:gd name="connsiteX78" fmla="*/ 602002 w 4519987"/>
              <a:gd name="connsiteY78" fmla="*/ 733425 h 4429225"/>
              <a:gd name="connsiteX79" fmla="*/ 668677 w 4519987"/>
              <a:gd name="connsiteY79" fmla="*/ 676275 h 4429225"/>
              <a:gd name="connsiteX80" fmla="*/ 697252 w 4519987"/>
              <a:gd name="connsiteY80" fmla="*/ 657225 h 4429225"/>
              <a:gd name="connsiteX81" fmla="*/ 840127 w 4519987"/>
              <a:gd name="connsiteY81" fmla="*/ 533400 h 4429225"/>
              <a:gd name="connsiteX82" fmla="*/ 887752 w 4519987"/>
              <a:gd name="connsiteY82" fmla="*/ 504825 h 4429225"/>
              <a:gd name="connsiteX83" fmla="*/ 1167152 w 4519987"/>
              <a:gd name="connsiteY83" fmla="*/ 311150 h 4429225"/>
              <a:gd name="connsiteX84" fmla="*/ 1268752 w 4519987"/>
              <a:gd name="connsiteY84" fmla="*/ 285750 h 4429225"/>
              <a:gd name="connsiteX85" fmla="*/ 1411627 w 4519987"/>
              <a:gd name="connsiteY85" fmla="*/ 190500 h 4429225"/>
              <a:gd name="connsiteX86" fmla="*/ 1449727 w 4519987"/>
              <a:gd name="connsiteY86" fmla="*/ 161925 h 4429225"/>
              <a:gd name="connsiteX87" fmla="*/ 1525927 w 4519987"/>
              <a:gd name="connsiteY87" fmla="*/ 152400 h 4429225"/>
              <a:gd name="connsiteX88" fmla="*/ 1583077 w 4519987"/>
              <a:gd name="connsiteY88" fmla="*/ 142875 h 4429225"/>
              <a:gd name="connsiteX89" fmla="*/ 1716427 w 4519987"/>
              <a:gd name="connsiteY89" fmla="*/ 123825 h 4429225"/>
              <a:gd name="connsiteX90" fmla="*/ 1811677 w 4519987"/>
              <a:gd name="connsiteY90" fmla="*/ 114300 h 4429225"/>
              <a:gd name="connsiteX91" fmla="*/ 1859302 w 4519987"/>
              <a:gd name="connsiteY91" fmla="*/ 104775 h 4429225"/>
              <a:gd name="connsiteX92" fmla="*/ 1916452 w 4519987"/>
              <a:gd name="connsiteY92" fmla="*/ 95250 h 4429225"/>
              <a:gd name="connsiteX93" fmla="*/ 2030752 w 4519987"/>
              <a:gd name="connsiteY93" fmla="*/ 66675 h 4429225"/>
              <a:gd name="connsiteX94" fmla="*/ 2097427 w 4519987"/>
              <a:gd name="connsiteY94" fmla="*/ 47625 h 4429225"/>
              <a:gd name="connsiteX95" fmla="*/ 2164102 w 4519987"/>
              <a:gd name="connsiteY95" fmla="*/ 38100 h 4429225"/>
              <a:gd name="connsiteX96" fmla="*/ 2392702 w 4519987"/>
              <a:gd name="connsiteY96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11452 w 4519987"/>
              <a:gd name="connsiteY56" fmla="*/ 2400300 h 4429225"/>
              <a:gd name="connsiteX57" fmla="*/ 20977 w 4519987"/>
              <a:gd name="connsiteY57" fmla="*/ 1905000 h 4429225"/>
              <a:gd name="connsiteX58" fmla="*/ 30502 w 4519987"/>
              <a:gd name="connsiteY58" fmla="*/ 1838325 h 4429225"/>
              <a:gd name="connsiteX59" fmla="*/ 49552 w 4519987"/>
              <a:gd name="connsiteY59" fmla="*/ 1781175 h 4429225"/>
              <a:gd name="connsiteX60" fmla="*/ 59077 w 4519987"/>
              <a:gd name="connsiteY60" fmla="*/ 1743075 h 4429225"/>
              <a:gd name="connsiteX61" fmla="*/ 78127 w 4519987"/>
              <a:gd name="connsiteY61" fmla="*/ 1685925 h 4429225"/>
              <a:gd name="connsiteX62" fmla="*/ 87652 w 4519987"/>
              <a:gd name="connsiteY62" fmla="*/ 1638300 h 4429225"/>
              <a:gd name="connsiteX63" fmla="*/ 106702 w 4519987"/>
              <a:gd name="connsiteY63" fmla="*/ 1590675 h 4429225"/>
              <a:gd name="connsiteX64" fmla="*/ 135277 w 4519987"/>
              <a:gd name="connsiteY64" fmla="*/ 1504950 h 4429225"/>
              <a:gd name="connsiteX65" fmla="*/ 154327 w 4519987"/>
              <a:gd name="connsiteY65" fmla="*/ 1419225 h 4429225"/>
              <a:gd name="connsiteX66" fmla="*/ 230527 w 4519987"/>
              <a:gd name="connsiteY66" fmla="*/ 1276350 h 4429225"/>
              <a:gd name="connsiteX67" fmla="*/ 240052 w 4519987"/>
              <a:gd name="connsiteY67" fmla="*/ 1247775 h 4429225"/>
              <a:gd name="connsiteX68" fmla="*/ 268627 w 4519987"/>
              <a:gd name="connsiteY68" fmla="*/ 1200150 h 4429225"/>
              <a:gd name="connsiteX69" fmla="*/ 287677 w 4519987"/>
              <a:gd name="connsiteY69" fmla="*/ 1152525 h 4429225"/>
              <a:gd name="connsiteX70" fmla="*/ 316252 w 4519987"/>
              <a:gd name="connsiteY70" fmla="*/ 1114425 h 4429225"/>
              <a:gd name="connsiteX71" fmla="*/ 363877 w 4519987"/>
              <a:gd name="connsiteY71" fmla="*/ 1038225 h 4429225"/>
              <a:gd name="connsiteX72" fmla="*/ 382927 w 4519987"/>
              <a:gd name="connsiteY72" fmla="*/ 1009650 h 4429225"/>
              <a:gd name="connsiteX73" fmla="*/ 440077 w 4519987"/>
              <a:gd name="connsiteY73" fmla="*/ 904875 h 4429225"/>
              <a:gd name="connsiteX74" fmla="*/ 478177 w 4519987"/>
              <a:gd name="connsiteY74" fmla="*/ 857250 h 4429225"/>
              <a:gd name="connsiteX75" fmla="*/ 497227 w 4519987"/>
              <a:gd name="connsiteY75" fmla="*/ 828675 h 4429225"/>
              <a:gd name="connsiteX76" fmla="*/ 535327 w 4519987"/>
              <a:gd name="connsiteY76" fmla="*/ 800100 h 4429225"/>
              <a:gd name="connsiteX77" fmla="*/ 602002 w 4519987"/>
              <a:gd name="connsiteY77" fmla="*/ 733425 h 4429225"/>
              <a:gd name="connsiteX78" fmla="*/ 668677 w 4519987"/>
              <a:gd name="connsiteY78" fmla="*/ 676275 h 4429225"/>
              <a:gd name="connsiteX79" fmla="*/ 697252 w 4519987"/>
              <a:gd name="connsiteY79" fmla="*/ 657225 h 4429225"/>
              <a:gd name="connsiteX80" fmla="*/ 840127 w 4519987"/>
              <a:gd name="connsiteY80" fmla="*/ 533400 h 4429225"/>
              <a:gd name="connsiteX81" fmla="*/ 887752 w 4519987"/>
              <a:gd name="connsiteY81" fmla="*/ 504825 h 4429225"/>
              <a:gd name="connsiteX82" fmla="*/ 1167152 w 4519987"/>
              <a:gd name="connsiteY82" fmla="*/ 311150 h 4429225"/>
              <a:gd name="connsiteX83" fmla="*/ 1268752 w 4519987"/>
              <a:gd name="connsiteY83" fmla="*/ 285750 h 4429225"/>
              <a:gd name="connsiteX84" fmla="*/ 1411627 w 4519987"/>
              <a:gd name="connsiteY84" fmla="*/ 190500 h 4429225"/>
              <a:gd name="connsiteX85" fmla="*/ 1449727 w 4519987"/>
              <a:gd name="connsiteY85" fmla="*/ 161925 h 4429225"/>
              <a:gd name="connsiteX86" fmla="*/ 1525927 w 4519987"/>
              <a:gd name="connsiteY86" fmla="*/ 152400 h 4429225"/>
              <a:gd name="connsiteX87" fmla="*/ 1583077 w 4519987"/>
              <a:gd name="connsiteY87" fmla="*/ 142875 h 4429225"/>
              <a:gd name="connsiteX88" fmla="*/ 1716427 w 4519987"/>
              <a:gd name="connsiteY88" fmla="*/ 123825 h 4429225"/>
              <a:gd name="connsiteX89" fmla="*/ 1811677 w 4519987"/>
              <a:gd name="connsiteY89" fmla="*/ 114300 h 4429225"/>
              <a:gd name="connsiteX90" fmla="*/ 1859302 w 4519987"/>
              <a:gd name="connsiteY90" fmla="*/ 104775 h 4429225"/>
              <a:gd name="connsiteX91" fmla="*/ 1916452 w 4519987"/>
              <a:gd name="connsiteY91" fmla="*/ 95250 h 4429225"/>
              <a:gd name="connsiteX92" fmla="*/ 2030752 w 4519987"/>
              <a:gd name="connsiteY92" fmla="*/ 66675 h 4429225"/>
              <a:gd name="connsiteX93" fmla="*/ 2097427 w 4519987"/>
              <a:gd name="connsiteY93" fmla="*/ 47625 h 4429225"/>
              <a:gd name="connsiteX94" fmla="*/ 2164102 w 4519987"/>
              <a:gd name="connsiteY94" fmla="*/ 38100 h 4429225"/>
              <a:gd name="connsiteX95" fmla="*/ 2392702 w 4519987"/>
              <a:gd name="connsiteY95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202394 w 4501379"/>
              <a:gd name="connsiteY53" fmla="*/ 3105150 h 4429225"/>
              <a:gd name="connsiteX54" fmla="*/ 126194 w 4501379"/>
              <a:gd name="connsiteY54" fmla="*/ 2924175 h 4429225"/>
              <a:gd name="connsiteX55" fmla="*/ 49994 w 4501379"/>
              <a:gd name="connsiteY55" fmla="*/ 2724150 h 4429225"/>
              <a:gd name="connsiteX56" fmla="*/ 56344 w 4501379"/>
              <a:gd name="connsiteY56" fmla="*/ 2368550 h 4429225"/>
              <a:gd name="connsiteX57" fmla="*/ 2369 w 4501379"/>
              <a:gd name="connsiteY57" fmla="*/ 1905000 h 4429225"/>
              <a:gd name="connsiteX58" fmla="*/ 11894 w 4501379"/>
              <a:gd name="connsiteY58" fmla="*/ 1838325 h 4429225"/>
              <a:gd name="connsiteX59" fmla="*/ 30944 w 4501379"/>
              <a:gd name="connsiteY59" fmla="*/ 1781175 h 4429225"/>
              <a:gd name="connsiteX60" fmla="*/ 40469 w 4501379"/>
              <a:gd name="connsiteY60" fmla="*/ 1743075 h 4429225"/>
              <a:gd name="connsiteX61" fmla="*/ 59519 w 4501379"/>
              <a:gd name="connsiteY61" fmla="*/ 1685925 h 4429225"/>
              <a:gd name="connsiteX62" fmla="*/ 69044 w 4501379"/>
              <a:gd name="connsiteY62" fmla="*/ 1638300 h 4429225"/>
              <a:gd name="connsiteX63" fmla="*/ 88094 w 4501379"/>
              <a:gd name="connsiteY63" fmla="*/ 1590675 h 4429225"/>
              <a:gd name="connsiteX64" fmla="*/ 116669 w 4501379"/>
              <a:gd name="connsiteY64" fmla="*/ 1504950 h 4429225"/>
              <a:gd name="connsiteX65" fmla="*/ 135719 w 4501379"/>
              <a:gd name="connsiteY65" fmla="*/ 1419225 h 4429225"/>
              <a:gd name="connsiteX66" fmla="*/ 211919 w 4501379"/>
              <a:gd name="connsiteY66" fmla="*/ 1276350 h 4429225"/>
              <a:gd name="connsiteX67" fmla="*/ 221444 w 4501379"/>
              <a:gd name="connsiteY67" fmla="*/ 1247775 h 4429225"/>
              <a:gd name="connsiteX68" fmla="*/ 250019 w 4501379"/>
              <a:gd name="connsiteY68" fmla="*/ 1200150 h 4429225"/>
              <a:gd name="connsiteX69" fmla="*/ 269069 w 4501379"/>
              <a:gd name="connsiteY69" fmla="*/ 1152525 h 4429225"/>
              <a:gd name="connsiteX70" fmla="*/ 297644 w 4501379"/>
              <a:gd name="connsiteY70" fmla="*/ 1114425 h 4429225"/>
              <a:gd name="connsiteX71" fmla="*/ 345269 w 4501379"/>
              <a:gd name="connsiteY71" fmla="*/ 1038225 h 4429225"/>
              <a:gd name="connsiteX72" fmla="*/ 364319 w 4501379"/>
              <a:gd name="connsiteY72" fmla="*/ 1009650 h 4429225"/>
              <a:gd name="connsiteX73" fmla="*/ 421469 w 4501379"/>
              <a:gd name="connsiteY73" fmla="*/ 904875 h 4429225"/>
              <a:gd name="connsiteX74" fmla="*/ 459569 w 4501379"/>
              <a:gd name="connsiteY74" fmla="*/ 857250 h 4429225"/>
              <a:gd name="connsiteX75" fmla="*/ 478619 w 4501379"/>
              <a:gd name="connsiteY75" fmla="*/ 828675 h 4429225"/>
              <a:gd name="connsiteX76" fmla="*/ 516719 w 4501379"/>
              <a:gd name="connsiteY76" fmla="*/ 800100 h 4429225"/>
              <a:gd name="connsiteX77" fmla="*/ 583394 w 4501379"/>
              <a:gd name="connsiteY77" fmla="*/ 733425 h 4429225"/>
              <a:gd name="connsiteX78" fmla="*/ 650069 w 4501379"/>
              <a:gd name="connsiteY78" fmla="*/ 676275 h 4429225"/>
              <a:gd name="connsiteX79" fmla="*/ 678644 w 4501379"/>
              <a:gd name="connsiteY79" fmla="*/ 657225 h 4429225"/>
              <a:gd name="connsiteX80" fmla="*/ 821519 w 4501379"/>
              <a:gd name="connsiteY80" fmla="*/ 533400 h 4429225"/>
              <a:gd name="connsiteX81" fmla="*/ 869144 w 4501379"/>
              <a:gd name="connsiteY81" fmla="*/ 504825 h 4429225"/>
              <a:gd name="connsiteX82" fmla="*/ 1148544 w 4501379"/>
              <a:gd name="connsiteY82" fmla="*/ 311150 h 4429225"/>
              <a:gd name="connsiteX83" fmla="*/ 1250144 w 4501379"/>
              <a:gd name="connsiteY83" fmla="*/ 285750 h 4429225"/>
              <a:gd name="connsiteX84" fmla="*/ 1393019 w 4501379"/>
              <a:gd name="connsiteY84" fmla="*/ 190500 h 4429225"/>
              <a:gd name="connsiteX85" fmla="*/ 1431119 w 4501379"/>
              <a:gd name="connsiteY85" fmla="*/ 161925 h 4429225"/>
              <a:gd name="connsiteX86" fmla="*/ 1507319 w 4501379"/>
              <a:gd name="connsiteY86" fmla="*/ 152400 h 4429225"/>
              <a:gd name="connsiteX87" fmla="*/ 1564469 w 4501379"/>
              <a:gd name="connsiteY87" fmla="*/ 142875 h 4429225"/>
              <a:gd name="connsiteX88" fmla="*/ 1697819 w 4501379"/>
              <a:gd name="connsiteY88" fmla="*/ 123825 h 4429225"/>
              <a:gd name="connsiteX89" fmla="*/ 1793069 w 4501379"/>
              <a:gd name="connsiteY89" fmla="*/ 114300 h 4429225"/>
              <a:gd name="connsiteX90" fmla="*/ 1840694 w 4501379"/>
              <a:gd name="connsiteY90" fmla="*/ 104775 h 4429225"/>
              <a:gd name="connsiteX91" fmla="*/ 1897844 w 4501379"/>
              <a:gd name="connsiteY91" fmla="*/ 95250 h 4429225"/>
              <a:gd name="connsiteX92" fmla="*/ 2012144 w 4501379"/>
              <a:gd name="connsiteY92" fmla="*/ 66675 h 4429225"/>
              <a:gd name="connsiteX93" fmla="*/ 2078819 w 4501379"/>
              <a:gd name="connsiteY93" fmla="*/ 47625 h 4429225"/>
              <a:gd name="connsiteX94" fmla="*/ 2145494 w 4501379"/>
              <a:gd name="connsiteY94" fmla="*/ 38100 h 4429225"/>
              <a:gd name="connsiteX95" fmla="*/ 2374094 w 4501379"/>
              <a:gd name="connsiteY95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202394 w 4501379"/>
              <a:gd name="connsiteY53" fmla="*/ 3105150 h 4429225"/>
              <a:gd name="connsiteX54" fmla="*/ 126194 w 4501379"/>
              <a:gd name="connsiteY54" fmla="*/ 2924175 h 4429225"/>
              <a:gd name="connsiteX55" fmla="*/ 56344 w 4501379"/>
              <a:gd name="connsiteY55" fmla="*/ 2368550 h 4429225"/>
              <a:gd name="connsiteX56" fmla="*/ 2369 w 4501379"/>
              <a:gd name="connsiteY56" fmla="*/ 1905000 h 4429225"/>
              <a:gd name="connsiteX57" fmla="*/ 11894 w 4501379"/>
              <a:gd name="connsiteY57" fmla="*/ 1838325 h 4429225"/>
              <a:gd name="connsiteX58" fmla="*/ 30944 w 4501379"/>
              <a:gd name="connsiteY58" fmla="*/ 1781175 h 4429225"/>
              <a:gd name="connsiteX59" fmla="*/ 40469 w 4501379"/>
              <a:gd name="connsiteY59" fmla="*/ 1743075 h 4429225"/>
              <a:gd name="connsiteX60" fmla="*/ 59519 w 4501379"/>
              <a:gd name="connsiteY60" fmla="*/ 1685925 h 4429225"/>
              <a:gd name="connsiteX61" fmla="*/ 69044 w 4501379"/>
              <a:gd name="connsiteY61" fmla="*/ 1638300 h 4429225"/>
              <a:gd name="connsiteX62" fmla="*/ 88094 w 4501379"/>
              <a:gd name="connsiteY62" fmla="*/ 1590675 h 4429225"/>
              <a:gd name="connsiteX63" fmla="*/ 116669 w 4501379"/>
              <a:gd name="connsiteY63" fmla="*/ 1504950 h 4429225"/>
              <a:gd name="connsiteX64" fmla="*/ 135719 w 4501379"/>
              <a:gd name="connsiteY64" fmla="*/ 1419225 h 4429225"/>
              <a:gd name="connsiteX65" fmla="*/ 211919 w 4501379"/>
              <a:gd name="connsiteY65" fmla="*/ 1276350 h 4429225"/>
              <a:gd name="connsiteX66" fmla="*/ 221444 w 4501379"/>
              <a:gd name="connsiteY66" fmla="*/ 1247775 h 4429225"/>
              <a:gd name="connsiteX67" fmla="*/ 250019 w 4501379"/>
              <a:gd name="connsiteY67" fmla="*/ 1200150 h 4429225"/>
              <a:gd name="connsiteX68" fmla="*/ 269069 w 4501379"/>
              <a:gd name="connsiteY68" fmla="*/ 1152525 h 4429225"/>
              <a:gd name="connsiteX69" fmla="*/ 297644 w 4501379"/>
              <a:gd name="connsiteY69" fmla="*/ 1114425 h 4429225"/>
              <a:gd name="connsiteX70" fmla="*/ 345269 w 4501379"/>
              <a:gd name="connsiteY70" fmla="*/ 1038225 h 4429225"/>
              <a:gd name="connsiteX71" fmla="*/ 364319 w 4501379"/>
              <a:gd name="connsiteY71" fmla="*/ 1009650 h 4429225"/>
              <a:gd name="connsiteX72" fmla="*/ 421469 w 4501379"/>
              <a:gd name="connsiteY72" fmla="*/ 904875 h 4429225"/>
              <a:gd name="connsiteX73" fmla="*/ 459569 w 4501379"/>
              <a:gd name="connsiteY73" fmla="*/ 857250 h 4429225"/>
              <a:gd name="connsiteX74" fmla="*/ 478619 w 4501379"/>
              <a:gd name="connsiteY74" fmla="*/ 828675 h 4429225"/>
              <a:gd name="connsiteX75" fmla="*/ 516719 w 4501379"/>
              <a:gd name="connsiteY75" fmla="*/ 800100 h 4429225"/>
              <a:gd name="connsiteX76" fmla="*/ 583394 w 4501379"/>
              <a:gd name="connsiteY76" fmla="*/ 733425 h 4429225"/>
              <a:gd name="connsiteX77" fmla="*/ 650069 w 4501379"/>
              <a:gd name="connsiteY77" fmla="*/ 676275 h 4429225"/>
              <a:gd name="connsiteX78" fmla="*/ 678644 w 4501379"/>
              <a:gd name="connsiteY78" fmla="*/ 657225 h 4429225"/>
              <a:gd name="connsiteX79" fmla="*/ 821519 w 4501379"/>
              <a:gd name="connsiteY79" fmla="*/ 533400 h 4429225"/>
              <a:gd name="connsiteX80" fmla="*/ 869144 w 4501379"/>
              <a:gd name="connsiteY80" fmla="*/ 504825 h 4429225"/>
              <a:gd name="connsiteX81" fmla="*/ 1148544 w 4501379"/>
              <a:gd name="connsiteY81" fmla="*/ 311150 h 4429225"/>
              <a:gd name="connsiteX82" fmla="*/ 1250144 w 4501379"/>
              <a:gd name="connsiteY82" fmla="*/ 285750 h 4429225"/>
              <a:gd name="connsiteX83" fmla="*/ 1393019 w 4501379"/>
              <a:gd name="connsiteY83" fmla="*/ 190500 h 4429225"/>
              <a:gd name="connsiteX84" fmla="*/ 1431119 w 4501379"/>
              <a:gd name="connsiteY84" fmla="*/ 161925 h 4429225"/>
              <a:gd name="connsiteX85" fmla="*/ 1507319 w 4501379"/>
              <a:gd name="connsiteY85" fmla="*/ 152400 h 4429225"/>
              <a:gd name="connsiteX86" fmla="*/ 1564469 w 4501379"/>
              <a:gd name="connsiteY86" fmla="*/ 142875 h 4429225"/>
              <a:gd name="connsiteX87" fmla="*/ 1697819 w 4501379"/>
              <a:gd name="connsiteY87" fmla="*/ 123825 h 4429225"/>
              <a:gd name="connsiteX88" fmla="*/ 1793069 w 4501379"/>
              <a:gd name="connsiteY88" fmla="*/ 114300 h 4429225"/>
              <a:gd name="connsiteX89" fmla="*/ 1840694 w 4501379"/>
              <a:gd name="connsiteY89" fmla="*/ 104775 h 4429225"/>
              <a:gd name="connsiteX90" fmla="*/ 1897844 w 4501379"/>
              <a:gd name="connsiteY90" fmla="*/ 95250 h 4429225"/>
              <a:gd name="connsiteX91" fmla="*/ 2012144 w 4501379"/>
              <a:gd name="connsiteY91" fmla="*/ 66675 h 4429225"/>
              <a:gd name="connsiteX92" fmla="*/ 2078819 w 4501379"/>
              <a:gd name="connsiteY92" fmla="*/ 47625 h 4429225"/>
              <a:gd name="connsiteX93" fmla="*/ 2145494 w 4501379"/>
              <a:gd name="connsiteY93" fmla="*/ 38100 h 4429225"/>
              <a:gd name="connsiteX94" fmla="*/ 2374094 w 4501379"/>
              <a:gd name="connsiteY94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126194 w 4501379"/>
              <a:gd name="connsiteY53" fmla="*/ 292417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4051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92919 w 4501379"/>
              <a:gd name="connsiteY50" fmla="*/ 3657600 h 4429225"/>
              <a:gd name="connsiteX51" fmla="*/ 44051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92919 w 4501379"/>
              <a:gd name="connsiteY50" fmla="*/ 3657600 h 4429225"/>
              <a:gd name="connsiteX51" fmla="*/ 446869 w 4501379"/>
              <a:gd name="connsiteY51" fmla="*/ 34702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145369 w 4501379"/>
              <a:gd name="connsiteY47" fmla="*/ 411162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313644 w 4501379"/>
              <a:gd name="connsiteY46" fmla="*/ 4216400 h 4429225"/>
              <a:gd name="connsiteX47" fmla="*/ 1145369 w 4501379"/>
              <a:gd name="connsiteY47" fmla="*/ 411162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94"/>
              <a:gd name="connsiteX1" fmla="*/ 2402669 w 4501379"/>
              <a:gd name="connsiteY1" fmla="*/ 28575 h 4429294"/>
              <a:gd name="connsiteX2" fmla="*/ 2478869 w 4501379"/>
              <a:gd name="connsiteY2" fmla="*/ 47625 h 4429294"/>
              <a:gd name="connsiteX3" fmla="*/ 2736044 w 4501379"/>
              <a:gd name="connsiteY3" fmla="*/ 66675 h 4429294"/>
              <a:gd name="connsiteX4" fmla="*/ 2812244 w 4501379"/>
              <a:gd name="connsiteY4" fmla="*/ 76200 h 4429294"/>
              <a:gd name="connsiteX5" fmla="*/ 2897969 w 4501379"/>
              <a:gd name="connsiteY5" fmla="*/ 85725 h 4429294"/>
              <a:gd name="connsiteX6" fmla="*/ 2955119 w 4501379"/>
              <a:gd name="connsiteY6" fmla="*/ 114300 h 4429294"/>
              <a:gd name="connsiteX7" fmla="*/ 2993219 w 4501379"/>
              <a:gd name="connsiteY7" fmla="*/ 123825 h 4429294"/>
              <a:gd name="connsiteX8" fmla="*/ 3117044 w 4501379"/>
              <a:gd name="connsiteY8" fmla="*/ 171450 h 4429294"/>
              <a:gd name="connsiteX9" fmla="*/ 3155144 w 4501379"/>
              <a:gd name="connsiteY9" fmla="*/ 190500 h 4429294"/>
              <a:gd name="connsiteX10" fmla="*/ 3221819 w 4501379"/>
              <a:gd name="connsiteY10" fmla="*/ 228600 h 4429294"/>
              <a:gd name="connsiteX11" fmla="*/ 3250394 w 4501379"/>
              <a:gd name="connsiteY11" fmla="*/ 238125 h 4429294"/>
              <a:gd name="connsiteX12" fmla="*/ 3278969 w 4501379"/>
              <a:gd name="connsiteY12" fmla="*/ 257175 h 4429294"/>
              <a:gd name="connsiteX13" fmla="*/ 3307544 w 4501379"/>
              <a:gd name="connsiteY13" fmla="*/ 266700 h 4429294"/>
              <a:gd name="connsiteX14" fmla="*/ 3336119 w 4501379"/>
              <a:gd name="connsiteY14" fmla="*/ 285750 h 4429294"/>
              <a:gd name="connsiteX15" fmla="*/ 3402794 w 4501379"/>
              <a:gd name="connsiteY15" fmla="*/ 323850 h 4429294"/>
              <a:gd name="connsiteX16" fmla="*/ 3450419 w 4501379"/>
              <a:gd name="connsiteY16" fmla="*/ 361950 h 4429294"/>
              <a:gd name="connsiteX17" fmla="*/ 3498044 w 4501379"/>
              <a:gd name="connsiteY17" fmla="*/ 390525 h 4429294"/>
              <a:gd name="connsiteX18" fmla="*/ 3612344 w 4501379"/>
              <a:gd name="connsiteY18" fmla="*/ 485775 h 4429294"/>
              <a:gd name="connsiteX19" fmla="*/ 3726644 w 4501379"/>
              <a:gd name="connsiteY19" fmla="*/ 542925 h 4429294"/>
              <a:gd name="connsiteX20" fmla="*/ 3793319 w 4501379"/>
              <a:gd name="connsiteY20" fmla="*/ 581025 h 4429294"/>
              <a:gd name="connsiteX21" fmla="*/ 4009219 w 4501379"/>
              <a:gd name="connsiteY21" fmla="*/ 819150 h 4429294"/>
              <a:gd name="connsiteX22" fmla="*/ 4145744 w 4501379"/>
              <a:gd name="connsiteY22" fmla="*/ 990600 h 4429294"/>
              <a:gd name="connsiteX23" fmla="*/ 4231469 w 4501379"/>
              <a:gd name="connsiteY23" fmla="*/ 1143000 h 4429294"/>
              <a:gd name="connsiteX24" fmla="*/ 4288619 w 4501379"/>
              <a:gd name="connsiteY24" fmla="*/ 1266825 h 4429294"/>
              <a:gd name="connsiteX25" fmla="*/ 4326719 w 4501379"/>
              <a:gd name="connsiteY25" fmla="*/ 1362075 h 4429294"/>
              <a:gd name="connsiteX26" fmla="*/ 4374344 w 4501379"/>
              <a:gd name="connsiteY26" fmla="*/ 1552575 h 4429294"/>
              <a:gd name="connsiteX27" fmla="*/ 4412444 w 4501379"/>
              <a:gd name="connsiteY27" fmla="*/ 1685925 h 4429294"/>
              <a:gd name="connsiteX28" fmla="*/ 4501344 w 4501379"/>
              <a:gd name="connsiteY28" fmla="*/ 2181225 h 4429294"/>
              <a:gd name="connsiteX29" fmla="*/ 4428319 w 4501379"/>
              <a:gd name="connsiteY29" fmla="*/ 2768600 h 4429294"/>
              <a:gd name="connsiteX30" fmla="*/ 4364819 w 4501379"/>
              <a:gd name="connsiteY30" fmla="*/ 2990850 h 4429294"/>
              <a:gd name="connsiteX31" fmla="*/ 4260044 w 4501379"/>
              <a:gd name="connsiteY31" fmla="*/ 3248025 h 4429294"/>
              <a:gd name="connsiteX32" fmla="*/ 4164794 w 4501379"/>
              <a:gd name="connsiteY32" fmla="*/ 3400425 h 4429294"/>
              <a:gd name="connsiteX33" fmla="*/ 4040969 w 4501379"/>
              <a:gd name="connsiteY33" fmla="*/ 3533775 h 4429294"/>
              <a:gd name="connsiteX34" fmla="*/ 3936194 w 4501379"/>
              <a:gd name="connsiteY34" fmla="*/ 3648075 h 4429294"/>
              <a:gd name="connsiteX35" fmla="*/ 3640919 w 4501379"/>
              <a:gd name="connsiteY35" fmla="*/ 3971925 h 4429294"/>
              <a:gd name="connsiteX36" fmla="*/ 3498044 w 4501379"/>
              <a:gd name="connsiteY36" fmla="*/ 4083050 h 4429294"/>
              <a:gd name="connsiteX37" fmla="*/ 3202769 w 4501379"/>
              <a:gd name="connsiteY37" fmla="*/ 4222750 h 4429294"/>
              <a:gd name="connsiteX38" fmla="*/ 3050369 w 4501379"/>
              <a:gd name="connsiteY38" fmla="*/ 4286250 h 4429294"/>
              <a:gd name="connsiteX39" fmla="*/ 2917019 w 4501379"/>
              <a:gd name="connsiteY39" fmla="*/ 4333875 h 4429294"/>
              <a:gd name="connsiteX40" fmla="*/ 2793194 w 4501379"/>
              <a:gd name="connsiteY40" fmla="*/ 4371975 h 4429294"/>
              <a:gd name="connsiteX41" fmla="*/ 2561419 w 4501379"/>
              <a:gd name="connsiteY41" fmla="*/ 4391025 h 4429294"/>
              <a:gd name="connsiteX42" fmla="*/ 2107394 w 4501379"/>
              <a:gd name="connsiteY42" fmla="*/ 4429125 h 4429294"/>
              <a:gd name="connsiteX43" fmla="*/ 1916894 w 4501379"/>
              <a:gd name="connsiteY43" fmla="*/ 4400550 h 4429294"/>
              <a:gd name="connsiteX44" fmla="*/ 1554944 w 4501379"/>
              <a:gd name="connsiteY44" fmla="*/ 4305300 h 4429294"/>
              <a:gd name="connsiteX45" fmla="*/ 1313644 w 4501379"/>
              <a:gd name="connsiteY45" fmla="*/ 4216400 h 4429294"/>
              <a:gd name="connsiteX46" fmla="*/ 1145369 w 4501379"/>
              <a:gd name="connsiteY46" fmla="*/ 4111625 h 4429294"/>
              <a:gd name="connsiteX47" fmla="*/ 926294 w 4501379"/>
              <a:gd name="connsiteY47" fmla="*/ 3968750 h 4429294"/>
              <a:gd name="connsiteX48" fmla="*/ 592919 w 4501379"/>
              <a:gd name="connsiteY48" fmla="*/ 3657600 h 4429294"/>
              <a:gd name="connsiteX49" fmla="*/ 446869 w 4501379"/>
              <a:gd name="connsiteY49" fmla="*/ 3470275 h 4429294"/>
              <a:gd name="connsiteX50" fmla="*/ 316694 w 4501379"/>
              <a:gd name="connsiteY50" fmla="*/ 3244850 h 4429294"/>
              <a:gd name="connsiteX51" fmla="*/ 164294 w 4501379"/>
              <a:gd name="connsiteY51" fmla="*/ 2892425 h 4429294"/>
              <a:gd name="connsiteX52" fmla="*/ 56344 w 4501379"/>
              <a:gd name="connsiteY52" fmla="*/ 2368550 h 4429294"/>
              <a:gd name="connsiteX53" fmla="*/ 2369 w 4501379"/>
              <a:gd name="connsiteY53" fmla="*/ 1905000 h 4429294"/>
              <a:gd name="connsiteX54" fmla="*/ 11894 w 4501379"/>
              <a:gd name="connsiteY54" fmla="*/ 1838325 h 4429294"/>
              <a:gd name="connsiteX55" fmla="*/ 30944 w 4501379"/>
              <a:gd name="connsiteY55" fmla="*/ 1781175 h 4429294"/>
              <a:gd name="connsiteX56" fmla="*/ 40469 w 4501379"/>
              <a:gd name="connsiteY56" fmla="*/ 1743075 h 4429294"/>
              <a:gd name="connsiteX57" fmla="*/ 59519 w 4501379"/>
              <a:gd name="connsiteY57" fmla="*/ 1685925 h 4429294"/>
              <a:gd name="connsiteX58" fmla="*/ 69044 w 4501379"/>
              <a:gd name="connsiteY58" fmla="*/ 1638300 h 4429294"/>
              <a:gd name="connsiteX59" fmla="*/ 88094 w 4501379"/>
              <a:gd name="connsiteY59" fmla="*/ 1590675 h 4429294"/>
              <a:gd name="connsiteX60" fmla="*/ 116669 w 4501379"/>
              <a:gd name="connsiteY60" fmla="*/ 1504950 h 4429294"/>
              <a:gd name="connsiteX61" fmla="*/ 135719 w 4501379"/>
              <a:gd name="connsiteY61" fmla="*/ 1419225 h 4429294"/>
              <a:gd name="connsiteX62" fmla="*/ 211919 w 4501379"/>
              <a:gd name="connsiteY62" fmla="*/ 1276350 h 4429294"/>
              <a:gd name="connsiteX63" fmla="*/ 221444 w 4501379"/>
              <a:gd name="connsiteY63" fmla="*/ 1247775 h 4429294"/>
              <a:gd name="connsiteX64" fmla="*/ 250019 w 4501379"/>
              <a:gd name="connsiteY64" fmla="*/ 1200150 h 4429294"/>
              <a:gd name="connsiteX65" fmla="*/ 269069 w 4501379"/>
              <a:gd name="connsiteY65" fmla="*/ 1152525 h 4429294"/>
              <a:gd name="connsiteX66" fmla="*/ 297644 w 4501379"/>
              <a:gd name="connsiteY66" fmla="*/ 1114425 h 4429294"/>
              <a:gd name="connsiteX67" fmla="*/ 345269 w 4501379"/>
              <a:gd name="connsiteY67" fmla="*/ 1038225 h 4429294"/>
              <a:gd name="connsiteX68" fmla="*/ 364319 w 4501379"/>
              <a:gd name="connsiteY68" fmla="*/ 1009650 h 4429294"/>
              <a:gd name="connsiteX69" fmla="*/ 421469 w 4501379"/>
              <a:gd name="connsiteY69" fmla="*/ 904875 h 4429294"/>
              <a:gd name="connsiteX70" fmla="*/ 459569 w 4501379"/>
              <a:gd name="connsiteY70" fmla="*/ 857250 h 4429294"/>
              <a:gd name="connsiteX71" fmla="*/ 478619 w 4501379"/>
              <a:gd name="connsiteY71" fmla="*/ 828675 h 4429294"/>
              <a:gd name="connsiteX72" fmla="*/ 516719 w 4501379"/>
              <a:gd name="connsiteY72" fmla="*/ 800100 h 4429294"/>
              <a:gd name="connsiteX73" fmla="*/ 583394 w 4501379"/>
              <a:gd name="connsiteY73" fmla="*/ 733425 h 4429294"/>
              <a:gd name="connsiteX74" fmla="*/ 650069 w 4501379"/>
              <a:gd name="connsiteY74" fmla="*/ 676275 h 4429294"/>
              <a:gd name="connsiteX75" fmla="*/ 678644 w 4501379"/>
              <a:gd name="connsiteY75" fmla="*/ 657225 h 4429294"/>
              <a:gd name="connsiteX76" fmla="*/ 821519 w 4501379"/>
              <a:gd name="connsiteY76" fmla="*/ 533400 h 4429294"/>
              <a:gd name="connsiteX77" fmla="*/ 869144 w 4501379"/>
              <a:gd name="connsiteY77" fmla="*/ 504825 h 4429294"/>
              <a:gd name="connsiteX78" fmla="*/ 1148544 w 4501379"/>
              <a:gd name="connsiteY78" fmla="*/ 311150 h 4429294"/>
              <a:gd name="connsiteX79" fmla="*/ 1250144 w 4501379"/>
              <a:gd name="connsiteY79" fmla="*/ 285750 h 4429294"/>
              <a:gd name="connsiteX80" fmla="*/ 1393019 w 4501379"/>
              <a:gd name="connsiteY80" fmla="*/ 190500 h 4429294"/>
              <a:gd name="connsiteX81" fmla="*/ 1431119 w 4501379"/>
              <a:gd name="connsiteY81" fmla="*/ 161925 h 4429294"/>
              <a:gd name="connsiteX82" fmla="*/ 1507319 w 4501379"/>
              <a:gd name="connsiteY82" fmla="*/ 152400 h 4429294"/>
              <a:gd name="connsiteX83" fmla="*/ 1564469 w 4501379"/>
              <a:gd name="connsiteY83" fmla="*/ 142875 h 4429294"/>
              <a:gd name="connsiteX84" fmla="*/ 1697819 w 4501379"/>
              <a:gd name="connsiteY84" fmla="*/ 123825 h 4429294"/>
              <a:gd name="connsiteX85" fmla="*/ 1793069 w 4501379"/>
              <a:gd name="connsiteY85" fmla="*/ 114300 h 4429294"/>
              <a:gd name="connsiteX86" fmla="*/ 1840694 w 4501379"/>
              <a:gd name="connsiteY86" fmla="*/ 104775 h 4429294"/>
              <a:gd name="connsiteX87" fmla="*/ 1897844 w 4501379"/>
              <a:gd name="connsiteY87" fmla="*/ 95250 h 4429294"/>
              <a:gd name="connsiteX88" fmla="*/ 2012144 w 4501379"/>
              <a:gd name="connsiteY88" fmla="*/ 66675 h 4429294"/>
              <a:gd name="connsiteX89" fmla="*/ 2078819 w 4501379"/>
              <a:gd name="connsiteY89" fmla="*/ 47625 h 4429294"/>
              <a:gd name="connsiteX90" fmla="*/ 2145494 w 4501379"/>
              <a:gd name="connsiteY90" fmla="*/ 38100 h 4429294"/>
              <a:gd name="connsiteX91" fmla="*/ 2374094 w 4501379"/>
              <a:gd name="connsiteY91" fmla="*/ 28575 h 4429294"/>
              <a:gd name="connsiteX0" fmla="*/ 2278844 w 4501379"/>
              <a:gd name="connsiteY0" fmla="*/ 0 h 4429294"/>
              <a:gd name="connsiteX1" fmla="*/ 2402669 w 4501379"/>
              <a:gd name="connsiteY1" fmla="*/ 28575 h 4429294"/>
              <a:gd name="connsiteX2" fmla="*/ 2478869 w 4501379"/>
              <a:gd name="connsiteY2" fmla="*/ 47625 h 4429294"/>
              <a:gd name="connsiteX3" fmla="*/ 2736044 w 4501379"/>
              <a:gd name="connsiteY3" fmla="*/ 66675 h 4429294"/>
              <a:gd name="connsiteX4" fmla="*/ 2812244 w 4501379"/>
              <a:gd name="connsiteY4" fmla="*/ 76200 h 4429294"/>
              <a:gd name="connsiteX5" fmla="*/ 2897969 w 4501379"/>
              <a:gd name="connsiteY5" fmla="*/ 85725 h 4429294"/>
              <a:gd name="connsiteX6" fmla="*/ 2955119 w 4501379"/>
              <a:gd name="connsiteY6" fmla="*/ 114300 h 4429294"/>
              <a:gd name="connsiteX7" fmla="*/ 2993219 w 4501379"/>
              <a:gd name="connsiteY7" fmla="*/ 123825 h 4429294"/>
              <a:gd name="connsiteX8" fmla="*/ 3117044 w 4501379"/>
              <a:gd name="connsiteY8" fmla="*/ 171450 h 4429294"/>
              <a:gd name="connsiteX9" fmla="*/ 3155144 w 4501379"/>
              <a:gd name="connsiteY9" fmla="*/ 190500 h 4429294"/>
              <a:gd name="connsiteX10" fmla="*/ 3221819 w 4501379"/>
              <a:gd name="connsiteY10" fmla="*/ 228600 h 4429294"/>
              <a:gd name="connsiteX11" fmla="*/ 3250394 w 4501379"/>
              <a:gd name="connsiteY11" fmla="*/ 238125 h 4429294"/>
              <a:gd name="connsiteX12" fmla="*/ 3278969 w 4501379"/>
              <a:gd name="connsiteY12" fmla="*/ 257175 h 4429294"/>
              <a:gd name="connsiteX13" fmla="*/ 3307544 w 4501379"/>
              <a:gd name="connsiteY13" fmla="*/ 266700 h 4429294"/>
              <a:gd name="connsiteX14" fmla="*/ 3336119 w 4501379"/>
              <a:gd name="connsiteY14" fmla="*/ 285750 h 4429294"/>
              <a:gd name="connsiteX15" fmla="*/ 3402794 w 4501379"/>
              <a:gd name="connsiteY15" fmla="*/ 323850 h 4429294"/>
              <a:gd name="connsiteX16" fmla="*/ 3450419 w 4501379"/>
              <a:gd name="connsiteY16" fmla="*/ 361950 h 4429294"/>
              <a:gd name="connsiteX17" fmla="*/ 3498044 w 4501379"/>
              <a:gd name="connsiteY17" fmla="*/ 390525 h 4429294"/>
              <a:gd name="connsiteX18" fmla="*/ 3612344 w 4501379"/>
              <a:gd name="connsiteY18" fmla="*/ 485775 h 4429294"/>
              <a:gd name="connsiteX19" fmla="*/ 3726644 w 4501379"/>
              <a:gd name="connsiteY19" fmla="*/ 542925 h 4429294"/>
              <a:gd name="connsiteX20" fmla="*/ 3793319 w 4501379"/>
              <a:gd name="connsiteY20" fmla="*/ 581025 h 4429294"/>
              <a:gd name="connsiteX21" fmla="*/ 4009219 w 4501379"/>
              <a:gd name="connsiteY21" fmla="*/ 819150 h 4429294"/>
              <a:gd name="connsiteX22" fmla="*/ 4145744 w 4501379"/>
              <a:gd name="connsiteY22" fmla="*/ 990600 h 4429294"/>
              <a:gd name="connsiteX23" fmla="*/ 4231469 w 4501379"/>
              <a:gd name="connsiteY23" fmla="*/ 1143000 h 4429294"/>
              <a:gd name="connsiteX24" fmla="*/ 4288619 w 4501379"/>
              <a:gd name="connsiteY24" fmla="*/ 1266825 h 4429294"/>
              <a:gd name="connsiteX25" fmla="*/ 4326719 w 4501379"/>
              <a:gd name="connsiteY25" fmla="*/ 1362075 h 4429294"/>
              <a:gd name="connsiteX26" fmla="*/ 4374344 w 4501379"/>
              <a:gd name="connsiteY26" fmla="*/ 1552575 h 4429294"/>
              <a:gd name="connsiteX27" fmla="*/ 4412444 w 4501379"/>
              <a:gd name="connsiteY27" fmla="*/ 1685925 h 4429294"/>
              <a:gd name="connsiteX28" fmla="*/ 4501344 w 4501379"/>
              <a:gd name="connsiteY28" fmla="*/ 2181225 h 4429294"/>
              <a:gd name="connsiteX29" fmla="*/ 4428319 w 4501379"/>
              <a:gd name="connsiteY29" fmla="*/ 2768600 h 4429294"/>
              <a:gd name="connsiteX30" fmla="*/ 4364819 w 4501379"/>
              <a:gd name="connsiteY30" fmla="*/ 2990850 h 4429294"/>
              <a:gd name="connsiteX31" fmla="*/ 4260044 w 4501379"/>
              <a:gd name="connsiteY31" fmla="*/ 3248025 h 4429294"/>
              <a:gd name="connsiteX32" fmla="*/ 4164794 w 4501379"/>
              <a:gd name="connsiteY32" fmla="*/ 3400425 h 4429294"/>
              <a:gd name="connsiteX33" fmla="*/ 4040969 w 4501379"/>
              <a:gd name="connsiteY33" fmla="*/ 3533775 h 4429294"/>
              <a:gd name="connsiteX34" fmla="*/ 3936194 w 4501379"/>
              <a:gd name="connsiteY34" fmla="*/ 3648075 h 4429294"/>
              <a:gd name="connsiteX35" fmla="*/ 3640919 w 4501379"/>
              <a:gd name="connsiteY35" fmla="*/ 3971925 h 4429294"/>
              <a:gd name="connsiteX36" fmla="*/ 3498044 w 4501379"/>
              <a:gd name="connsiteY36" fmla="*/ 4083050 h 4429294"/>
              <a:gd name="connsiteX37" fmla="*/ 3202769 w 4501379"/>
              <a:gd name="connsiteY37" fmla="*/ 4222750 h 4429294"/>
              <a:gd name="connsiteX38" fmla="*/ 3050369 w 4501379"/>
              <a:gd name="connsiteY38" fmla="*/ 4286250 h 4429294"/>
              <a:gd name="connsiteX39" fmla="*/ 2917019 w 4501379"/>
              <a:gd name="connsiteY39" fmla="*/ 4333875 h 4429294"/>
              <a:gd name="connsiteX40" fmla="*/ 2793194 w 4501379"/>
              <a:gd name="connsiteY40" fmla="*/ 4371975 h 4429294"/>
              <a:gd name="connsiteX41" fmla="*/ 2561419 w 4501379"/>
              <a:gd name="connsiteY41" fmla="*/ 4391025 h 4429294"/>
              <a:gd name="connsiteX42" fmla="*/ 2107394 w 4501379"/>
              <a:gd name="connsiteY42" fmla="*/ 4429125 h 4429294"/>
              <a:gd name="connsiteX43" fmla="*/ 1916894 w 4501379"/>
              <a:gd name="connsiteY43" fmla="*/ 4400550 h 4429294"/>
              <a:gd name="connsiteX44" fmla="*/ 1554944 w 4501379"/>
              <a:gd name="connsiteY44" fmla="*/ 4305300 h 4429294"/>
              <a:gd name="connsiteX45" fmla="*/ 1313644 w 4501379"/>
              <a:gd name="connsiteY45" fmla="*/ 4216400 h 4429294"/>
              <a:gd name="connsiteX46" fmla="*/ 1145369 w 4501379"/>
              <a:gd name="connsiteY46" fmla="*/ 4111625 h 4429294"/>
              <a:gd name="connsiteX47" fmla="*/ 926294 w 4501379"/>
              <a:gd name="connsiteY47" fmla="*/ 3968750 h 4429294"/>
              <a:gd name="connsiteX48" fmla="*/ 592919 w 4501379"/>
              <a:gd name="connsiteY48" fmla="*/ 3657600 h 4429294"/>
              <a:gd name="connsiteX49" fmla="*/ 446869 w 4501379"/>
              <a:gd name="connsiteY49" fmla="*/ 3470275 h 4429294"/>
              <a:gd name="connsiteX50" fmla="*/ 316694 w 4501379"/>
              <a:gd name="connsiteY50" fmla="*/ 3244850 h 4429294"/>
              <a:gd name="connsiteX51" fmla="*/ 164294 w 4501379"/>
              <a:gd name="connsiteY51" fmla="*/ 2892425 h 4429294"/>
              <a:gd name="connsiteX52" fmla="*/ 56344 w 4501379"/>
              <a:gd name="connsiteY52" fmla="*/ 2368550 h 4429294"/>
              <a:gd name="connsiteX53" fmla="*/ 2369 w 4501379"/>
              <a:gd name="connsiteY53" fmla="*/ 1905000 h 4429294"/>
              <a:gd name="connsiteX54" fmla="*/ 11894 w 4501379"/>
              <a:gd name="connsiteY54" fmla="*/ 1838325 h 4429294"/>
              <a:gd name="connsiteX55" fmla="*/ 30944 w 4501379"/>
              <a:gd name="connsiteY55" fmla="*/ 1781175 h 4429294"/>
              <a:gd name="connsiteX56" fmla="*/ 40469 w 4501379"/>
              <a:gd name="connsiteY56" fmla="*/ 1743075 h 4429294"/>
              <a:gd name="connsiteX57" fmla="*/ 59519 w 4501379"/>
              <a:gd name="connsiteY57" fmla="*/ 1685925 h 4429294"/>
              <a:gd name="connsiteX58" fmla="*/ 69044 w 4501379"/>
              <a:gd name="connsiteY58" fmla="*/ 1638300 h 4429294"/>
              <a:gd name="connsiteX59" fmla="*/ 88094 w 4501379"/>
              <a:gd name="connsiteY59" fmla="*/ 1590675 h 4429294"/>
              <a:gd name="connsiteX60" fmla="*/ 116669 w 4501379"/>
              <a:gd name="connsiteY60" fmla="*/ 1504950 h 4429294"/>
              <a:gd name="connsiteX61" fmla="*/ 135719 w 4501379"/>
              <a:gd name="connsiteY61" fmla="*/ 1419225 h 4429294"/>
              <a:gd name="connsiteX62" fmla="*/ 211919 w 4501379"/>
              <a:gd name="connsiteY62" fmla="*/ 1276350 h 4429294"/>
              <a:gd name="connsiteX63" fmla="*/ 221444 w 4501379"/>
              <a:gd name="connsiteY63" fmla="*/ 1247775 h 4429294"/>
              <a:gd name="connsiteX64" fmla="*/ 250019 w 4501379"/>
              <a:gd name="connsiteY64" fmla="*/ 1200150 h 4429294"/>
              <a:gd name="connsiteX65" fmla="*/ 269069 w 4501379"/>
              <a:gd name="connsiteY65" fmla="*/ 1152525 h 4429294"/>
              <a:gd name="connsiteX66" fmla="*/ 297644 w 4501379"/>
              <a:gd name="connsiteY66" fmla="*/ 1114425 h 4429294"/>
              <a:gd name="connsiteX67" fmla="*/ 345269 w 4501379"/>
              <a:gd name="connsiteY67" fmla="*/ 1038225 h 4429294"/>
              <a:gd name="connsiteX68" fmla="*/ 364319 w 4501379"/>
              <a:gd name="connsiteY68" fmla="*/ 1009650 h 4429294"/>
              <a:gd name="connsiteX69" fmla="*/ 421469 w 4501379"/>
              <a:gd name="connsiteY69" fmla="*/ 904875 h 4429294"/>
              <a:gd name="connsiteX70" fmla="*/ 459569 w 4501379"/>
              <a:gd name="connsiteY70" fmla="*/ 857250 h 4429294"/>
              <a:gd name="connsiteX71" fmla="*/ 478619 w 4501379"/>
              <a:gd name="connsiteY71" fmla="*/ 828675 h 4429294"/>
              <a:gd name="connsiteX72" fmla="*/ 516719 w 4501379"/>
              <a:gd name="connsiteY72" fmla="*/ 800100 h 4429294"/>
              <a:gd name="connsiteX73" fmla="*/ 583394 w 4501379"/>
              <a:gd name="connsiteY73" fmla="*/ 733425 h 4429294"/>
              <a:gd name="connsiteX74" fmla="*/ 650069 w 4501379"/>
              <a:gd name="connsiteY74" fmla="*/ 676275 h 4429294"/>
              <a:gd name="connsiteX75" fmla="*/ 678644 w 4501379"/>
              <a:gd name="connsiteY75" fmla="*/ 657225 h 4429294"/>
              <a:gd name="connsiteX76" fmla="*/ 821519 w 4501379"/>
              <a:gd name="connsiteY76" fmla="*/ 533400 h 4429294"/>
              <a:gd name="connsiteX77" fmla="*/ 869144 w 4501379"/>
              <a:gd name="connsiteY77" fmla="*/ 504825 h 4429294"/>
              <a:gd name="connsiteX78" fmla="*/ 1148544 w 4501379"/>
              <a:gd name="connsiteY78" fmla="*/ 311150 h 4429294"/>
              <a:gd name="connsiteX79" fmla="*/ 1250144 w 4501379"/>
              <a:gd name="connsiteY79" fmla="*/ 285750 h 4429294"/>
              <a:gd name="connsiteX80" fmla="*/ 1393019 w 4501379"/>
              <a:gd name="connsiteY80" fmla="*/ 190500 h 4429294"/>
              <a:gd name="connsiteX81" fmla="*/ 1431119 w 4501379"/>
              <a:gd name="connsiteY81" fmla="*/ 161925 h 4429294"/>
              <a:gd name="connsiteX82" fmla="*/ 1507319 w 4501379"/>
              <a:gd name="connsiteY82" fmla="*/ 152400 h 4429294"/>
              <a:gd name="connsiteX83" fmla="*/ 1564469 w 4501379"/>
              <a:gd name="connsiteY83" fmla="*/ 142875 h 4429294"/>
              <a:gd name="connsiteX84" fmla="*/ 1697819 w 4501379"/>
              <a:gd name="connsiteY84" fmla="*/ 123825 h 4429294"/>
              <a:gd name="connsiteX85" fmla="*/ 1793069 w 4501379"/>
              <a:gd name="connsiteY85" fmla="*/ 114300 h 4429294"/>
              <a:gd name="connsiteX86" fmla="*/ 1840694 w 4501379"/>
              <a:gd name="connsiteY86" fmla="*/ 104775 h 4429294"/>
              <a:gd name="connsiteX87" fmla="*/ 1897844 w 4501379"/>
              <a:gd name="connsiteY87" fmla="*/ 95250 h 4429294"/>
              <a:gd name="connsiteX88" fmla="*/ 2012144 w 4501379"/>
              <a:gd name="connsiteY88" fmla="*/ 66675 h 4429294"/>
              <a:gd name="connsiteX89" fmla="*/ 2078819 w 4501379"/>
              <a:gd name="connsiteY89" fmla="*/ 47625 h 4429294"/>
              <a:gd name="connsiteX90" fmla="*/ 2145494 w 4501379"/>
              <a:gd name="connsiteY90" fmla="*/ 38100 h 4429294"/>
              <a:gd name="connsiteX0" fmla="*/ 2278844 w 4501379"/>
              <a:gd name="connsiteY0" fmla="*/ 0 h 4429294"/>
              <a:gd name="connsiteX1" fmla="*/ 2478869 w 4501379"/>
              <a:gd name="connsiteY1" fmla="*/ 47625 h 4429294"/>
              <a:gd name="connsiteX2" fmla="*/ 2736044 w 4501379"/>
              <a:gd name="connsiteY2" fmla="*/ 66675 h 4429294"/>
              <a:gd name="connsiteX3" fmla="*/ 2812244 w 4501379"/>
              <a:gd name="connsiteY3" fmla="*/ 76200 h 4429294"/>
              <a:gd name="connsiteX4" fmla="*/ 2897969 w 4501379"/>
              <a:gd name="connsiteY4" fmla="*/ 85725 h 4429294"/>
              <a:gd name="connsiteX5" fmla="*/ 2955119 w 4501379"/>
              <a:gd name="connsiteY5" fmla="*/ 114300 h 4429294"/>
              <a:gd name="connsiteX6" fmla="*/ 2993219 w 4501379"/>
              <a:gd name="connsiteY6" fmla="*/ 123825 h 4429294"/>
              <a:gd name="connsiteX7" fmla="*/ 3117044 w 4501379"/>
              <a:gd name="connsiteY7" fmla="*/ 171450 h 4429294"/>
              <a:gd name="connsiteX8" fmla="*/ 3155144 w 4501379"/>
              <a:gd name="connsiteY8" fmla="*/ 190500 h 4429294"/>
              <a:gd name="connsiteX9" fmla="*/ 3221819 w 4501379"/>
              <a:gd name="connsiteY9" fmla="*/ 228600 h 4429294"/>
              <a:gd name="connsiteX10" fmla="*/ 3250394 w 4501379"/>
              <a:gd name="connsiteY10" fmla="*/ 238125 h 4429294"/>
              <a:gd name="connsiteX11" fmla="*/ 3278969 w 4501379"/>
              <a:gd name="connsiteY11" fmla="*/ 257175 h 4429294"/>
              <a:gd name="connsiteX12" fmla="*/ 3307544 w 4501379"/>
              <a:gd name="connsiteY12" fmla="*/ 266700 h 4429294"/>
              <a:gd name="connsiteX13" fmla="*/ 3336119 w 4501379"/>
              <a:gd name="connsiteY13" fmla="*/ 285750 h 4429294"/>
              <a:gd name="connsiteX14" fmla="*/ 3402794 w 4501379"/>
              <a:gd name="connsiteY14" fmla="*/ 323850 h 4429294"/>
              <a:gd name="connsiteX15" fmla="*/ 3450419 w 4501379"/>
              <a:gd name="connsiteY15" fmla="*/ 361950 h 4429294"/>
              <a:gd name="connsiteX16" fmla="*/ 3498044 w 4501379"/>
              <a:gd name="connsiteY16" fmla="*/ 390525 h 4429294"/>
              <a:gd name="connsiteX17" fmla="*/ 3612344 w 4501379"/>
              <a:gd name="connsiteY17" fmla="*/ 485775 h 4429294"/>
              <a:gd name="connsiteX18" fmla="*/ 3726644 w 4501379"/>
              <a:gd name="connsiteY18" fmla="*/ 542925 h 4429294"/>
              <a:gd name="connsiteX19" fmla="*/ 3793319 w 4501379"/>
              <a:gd name="connsiteY19" fmla="*/ 581025 h 4429294"/>
              <a:gd name="connsiteX20" fmla="*/ 4009219 w 4501379"/>
              <a:gd name="connsiteY20" fmla="*/ 819150 h 4429294"/>
              <a:gd name="connsiteX21" fmla="*/ 4145744 w 4501379"/>
              <a:gd name="connsiteY21" fmla="*/ 990600 h 4429294"/>
              <a:gd name="connsiteX22" fmla="*/ 4231469 w 4501379"/>
              <a:gd name="connsiteY22" fmla="*/ 1143000 h 4429294"/>
              <a:gd name="connsiteX23" fmla="*/ 4288619 w 4501379"/>
              <a:gd name="connsiteY23" fmla="*/ 1266825 h 4429294"/>
              <a:gd name="connsiteX24" fmla="*/ 4326719 w 4501379"/>
              <a:gd name="connsiteY24" fmla="*/ 1362075 h 4429294"/>
              <a:gd name="connsiteX25" fmla="*/ 4374344 w 4501379"/>
              <a:gd name="connsiteY25" fmla="*/ 1552575 h 4429294"/>
              <a:gd name="connsiteX26" fmla="*/ 4412444 w 4501379"/>
              <a:gd name="connsiteY26" fmla="*/ 1685925 h 4429294"/>
              <a:gd name="connsiteX27" fmla="*/ 4501344 w 4501379"/>
              <a:gd name="connsiteY27" fmla="*/ 2181225 h 4429294"/>
              <a:gd name="connsiteX28" fmla="*/ 4428319 w 4501379"/>
              <a:gd name="connsiteY28" fmla="*/ 2768600 h 4429294"/>
              <a:gd name="connsiteX29" fmla="*/ 4364819 w 4501379"/>
              <a:gd name="connsiteY29" fmla="*/ 2990850 h 4429294"/>
              <a:gd name="connsiteX30" fmla="*/ 4260044 w 4501379"/>
              <a:gd name="connsiteY30" fmla="*/ 3248025 h 4429294"/>
              <a:gd name="connsiteX31" fmla="*/ 4164794 w 4501379"/>
              <a:gd name="connsiteY31" fmla="*/ 3400425 h 4429294"/>
              <a:gd name="connsiteX32" fmla="*/ 4040969 w 4501379"/>
              <a:gd name="connsiteY32" fmla="*/ 3533775 h 4429294"/>
              <a:gd name="connsiteX33" fmla="*/ 3936194 w 4501379"/>
              <a:gd name="connsiteY33" fmla="*/ 3648075 h 4429294"/>
              <a:gd name="connsiteX34" fmla="*/ 3640919 w 4501379"/>
              <a:gd name="connsiteY34" fmla="*/ 3971925 h 4429294"/>
              <a:gd name="connsiteX35" fmla="*/ 3498044 w 4501379"/>
              <a:gd name="connsiteY35" fmla="*/ 4083050 h 4429294"/>
              <a:gd name="connsiteX36" fmla="*/ 3202769 w 4501379"/>
              <a:gd name="connsiteY36" fmla="*/ 4222750 h 4429294"/>
              <a:gd name="connsiteX37" fmla="*/ 3050369 w 4501379"/>
              <a:gd name="connsiteY37" fmla="*/ 4286250 h 4429294"/>
              <a:gd name="connsiteX38" fmla="*/ 2917019 w 4501379"/>
              <a:gd name="connsiteY38" fmla="*/ 4333875 h 4429294"/>
              <a:gd name="connsiteX39" fmla="*/ 2793194 w 4501379"/>
              <a:gd name="connsiteY39" fmla="*/ 4371975 h 4429294"/>
              <a:gd name="connsiteX40" fmla="*/ 2561419 w 4501379"/>
              <a:gd name="connsiteY40" fmla="*/ 4391025 h 4429294"/>
              <a:gd name="connsiteX41" fmla="*/ 2107394 w 4501379"/>
              <a:gd name="connsiteY41" fmla="*/ 4429125 h 4429294"/>
              <a:gd name="connsiteX42" fmla="*/ 1916894 w 4501379"/>
              <a:gd name="connsiteY42" fmla="*/ 4400550 h 4429294"/>
              <a:gd name="connsiteX43" fmla="*/ 1554944 w 4501379"/>
              <a:gd name="connsiteY43" fmla="*/ 4305300 h 4429294"/>
              <a:gd name="connsiteX44" fmla="*/ 1313644 w 4501379"/>
              <a:gd name="connsiteY44" fmla="*/ 4216400 h 4429294"/>
              <a:gd name="connsiteX45" fmla="*/ 1145369 w 4501379"/>
              <a:gd name="connsiteY45" fmla="*/ 4111625 h 4429294"/>
              <a:gd name="connsiteX46" fmla="*/ 926294 w 4501379"/>
              <a:gd name="connsiteY46" fmla="*/ 3968750 h 4429294"/>
              <a:gd name="connsiteX47" fmla="*/ 592919 w 4501379"/>
              <a:gd name="connsiteY47" fmla="*/ 3657600 h 4429294"/>
              <a:gd name="connsiteX48" fmla="*/ 446869 w 4501379"/>
              <a:gd name="connsiteY48" fmla="*/ 3470275 h 4429294"/>
              <a:gd name="connsiteX49" fmla="*/ 316694 w 4501379"/>
              <a:gd name="connsiteY49" fmla="*/ 3244850 h 4429294"/>
              <a:gd name="connsiteX50" fmla="*/ 164294 w 4501379"/>
              <a:gd name="connsiteY50" fmla="*/ 2892425 h 4429294"/>
              <a:gd name="connsiteX51" fmla="*/ 56344 w 4501379"/>
              <a:gd name="connsiteY51" fmla="*/ 2368550 h 4429294"/>
              <a:gd name="connsiteX52" fmla="*/ 2369 w 4501379"/>
              <a:gd name="connsiteY52" fmla="*/ 1905000 h 4429294"/>
              <a:gd name="connsiteX53" fmla="*/ 11894 w 4501379"/>
              <a:gd name="connsiteY53" fmla="*/ 1838325 h 4429294"/>
              <a:gd name="connsiteX54" fmla="*/ 30944 w 4501379"/>
              <a:gd name="connsiteY54" fmla="*/ 1781175 h 4429294"/>
              <a:gd name="connsiteX55" fmla="*/ 40469 w 4501379"/>
              <a:gd name="connsiteY55" fmla="*/ 1743075 h 4429294"/>
              <a:gd name="connsiteX56" fmla="*/ 59519 w 4501379"/>
              <a:gd name="connsiteY56" fmla="*/ 1685925 h 4429294"/>
              <a:gd name="connsiteX57" fmla="*/ 69044 w 4501379"/>
              <a:gd name="connsiteY57" fmla="*/ 1638300 h 4429294"/>
              <a:gd name="connsiteX58" fmla="*/ 88094 w 4501379"/>
              <a:gd name="connsiteY58" fmla="*/ 1590675 h 4429294"/>
              <a:gd name="connsiteX59" fmla="*/ 116669 w 4501379"/>
              <a:gd name="connsiteY59" fmla="*/ 1504950 h 4429294"/>
              <a:gd name="connsiteX60" fmla="*/ 135719 w 4501379"/>
              <a:gd name="connsiteY60" fmla="*/ 1419225 h 4429294"/>
              <a:gd name="connsiteX61" fmla="*/ 211919 w 4501379"/>
              <a:gd name="connsiteY61" fmla="*/ 1276350 h 4429294"/>
              <a:gd name="connsiteX62" fmla="*/ 221444 w 4501379"/>
              <a:gd name="connsiteY62" fmla="*/ 1247775 h 4429294"/>
              <a:gd name="connsiteX63" fmla="*/ 250019 w 4501379"/>
              <a:gd name="connsiteY63" fmla="*/ 1200150 h 4429294"/>
              <a:gd name="connsiteX64" fmla="*/ 269069 w 4501379"/>
              <a:gd name="connsiteY64" fmla="*/ 1152525 h 4429294"/>
              <a:gd name="connsiteX65" fmla="*/ 297644 w 4501379"/>
              <a:gd name="connsiteY65" fmla="*/ 1114425 h 4429294"/>
              <a:gd name="connsiteX66" fmla="*/ 345269 w 4501379"/>
              <a:gd name="connsiteY66" fmla="*/ 1038225 h 4429294"/>
              <a:gd name="connsiteX67" fmla="*/ 364319 w 4501379"/>
              <a:gd name="connsiteY67" fmla="*/ 1009650 h 4429294"/>
              <a:gd name="connsiteX68" fmla="*/ 421469 w 4501379"/>
              <a:gd name="connsiteY68" fmla="*/ 904875 h 4429294"/>
              <a:gd name="connsiteX69" fmla="*/ 459569 w 4501379"/>
              <a:gd name="connsiteY69" fmla="*/ 857250 h 4429294"/>
              <a:gd name="connsiteX70" fmla="*/ 478619 w 4501379"/>
              <a:gd name="connsiteY70" fmla="*/ 828675 h 4429294"/>
              <a:gd name="connsiteX71" fmla="*/ 516719 w 4501379"/>
              <a:gd name="connsiteY71" fmla="*/ 800100 h 4429294"/>
              <a:gd name="connsiteX72" fmla="*/ 583394 w 4501379"/>
              <a:gd name="connsiteY72" fmla="*/ 733425 h 4429294"/>
              <a:gd name="connsiteX73" fmla="*/ 650069 w 4501379"/>
              <a:gd name="connsiteY73" fmla="*/ 676275 h 4429294"/>
              <a:gd name="connsiteX74" fmla="*/ 678644 w 4501379"/>
              <a:gd name="connsiteY74" fmla="*/ 657225 h 4429294"/>
              <a:gd name="connsiteX75" fmla="*/ 821519 w 4501379"/>
              <a:gd name="connsiteY75" fmla="*/ 533400 h 4429294"/>
              <a:gd name="connsiteX76" fmla="*/ 869144 w 4501379"/>
              <a:gd name="connsiteY76" fmla="*/ 504825 h 4429294"/>
              <a:gd name="connsiteX77" fmla="*/ 1148544 w 4501379"/>
              <a:gd name="connsiteY77" fmla="*/ 311150 h 4429294"/>
              <a:gd name="connsiteX78" fmla="*/ 1250144 w 4501379"/>
              <a:gd name="connsiteY78" fmla="*/ 285750 h 4429294"/>
              <a:gd name="connsiteX79" fmla="*/ 1393019 w 4501379"/>
              <a:gd name="connsiteY79" fmla="*/ 190500 h 4429294"/>
              <a:gd name="connsiteX80" fmla="*/ 1431119 w 4501379"/>
              <a:gd name="connsiteY80" fmla="*/ 161925 h 4429294"/>
              <a:gd name="connsiteX81" fmla="*/ 1507319 w 4501379"/>
              <a:gd name="connsiteY81" fmla="*/ 152400 h 4429294"/>
              <a:gd name="connsiteX82" fmla="*/ 1564469 w 4501379"/>
              <a:gd name="connsiteY82" fmla="*/ 142875 h 4429294"/>
              <a:gd name="connsiteX83" fmla="*/ 1697819 w 4501379"/>
              <a:gd name="connsiteY83" fmla="*/ 123825 h 4429294"/>
              <a:gd name="connsiteX84" fmla="*/ 1793069 w 4501379"/>
              <a:gd name="connsiteY84" fmla="*/ 114300 h 4429294"/>
              <a:gd name="connsiteX85" fmla="*/ 1840694 w 4501379"/>
              <a:gd name="connsiteY85" fmla="*/ 104775 h 4429294"/>
              <a:gd name="connsiteX86" fmla="*/ 1897844 w 4501379"/>
              <a:gd name="connsiteY86" fmla="*/ 95250 h 4429294"/>
              <a:gd name="connsiteX87" fmla="*/ 2012144 w 4501379"/>
              <a:gd name="connsiteY87" fmla="*/ 66675 h 4429294"/>
              <a:gd name="connsiteX88" fmla="*/ 2078819 w 4501379"/>
              <a:gd name="connsiteY88" fmla="*/ 47625 h 4429294"/>
              <a:gd name="connsiteX89" fmla="*/ 2145494 w 4501379"/>
              <a:gd name="connsiteY89" fmla="*/ 38100 h 4429294"/>
              <a:gd name="connsiteX0" fmla="*/ 2278844 w 4501379"/>
              <a:gd name="connsiteY0" fmla="*/ 0 h 4429294"/>
              <a:gd name="connsiteX1" fmla="*/ 2736044 w 4501379"/>
              <a:gd name="connsiteY1" fmla="*/ 66675 h 4429294"/>
              <a:gd name="connsiteX2" fmla="*/ 2812244 w 4501379"/>
              <a:gd name="connsiteY2" fmla="*/ 76200 h 4429294"/>
              <a:gd name="connsiteX3" fmla="*/ 2897969 w 4501379"/>
              <a:gd name="connsiteY3" fmla="*/ 85725 h 4429294"/>
              <a:gd name="connsiteX4" fmla="*/ 2955119 w 4501379"/>
              <a:gd name="connsiteY4" fmla="*/ 114300 h 4429294"/>
              <a:gd name="connsiteX5" fmla="*/ 2993219 w 4501379"/>
              <a:gd name="connsiteY5" fmla="*/ 123825 h 4429294"/>
              <a:gd name="connsiteX6" fmla="*/ 3117044 w 4501379"/>
              <a:gd name="connsiteY6" fmla="*/ 171450 h 4429294"/>
              <a:gd name="connsiteX7" fmla="*/ 3155144 w 4501379"/>
              <a:gd name="connsiteY7" fmla="*/ 190500 h 4429294"/>
              <a:gd name="connsiteX8" fmla="*/ 3221819 w 4501379"/>
              <a:gd name="connsiteY8" fmla="*/ 228600 h 4429294"/>
              <a:gd name="connsiteX9" fmla="*/ 3250394 w 4501379"/>
              <a:gd name="connsiteY9" fmla="*/ 238125 h 4429294"/>
              <a:gd name="connsiteX10" fmla="*/ 3278969 w 4501379"/>
              <a:gd name="connsiteY10" fmla="*/ 257175 h 4429294"/>
              <a:gd name="connsiteX11" fmla="*/ 3307544 w 4501379"/>
              <a:gd name="connsiteY11" fmla="*/ 266700 h 4429294"/>
              <a:gd name="connsiteX12" fmla="*/ 3336119 w 4501379"/>
              <a:gd name="connsiteY12" fmla="*/ 285750 h 4429294"/>
              <a:gd name="connsiteX13" fmla="*/ 3402794 w 4501379"/>
              <a:gd name="connsiteY13" fmla="*/ 323850 h 4429294"/>
              <a:gd name="connsiteX14" fmla="*/ 3450419 w 4501379"/>
              <a:gd name="connsiteY14" fmla="*/ 361950 h 4429294"/>
              <a:gd name="connsiteX15" fmla="*/ 3498044 w 4501379"/>
              <a:gd name="connsiteY15" fmla="*/ 390525 h 4429294"/>
              <a:gd name="connsiteX16" fmla="*/ 3612344 w 4501379"/>
              <a:gd name="connsiteY16" fmla="*/ 485775 h 4429294"/>
              <a:gd name="connsiteX17" fmla="*/ 3726644 w 4501379"/>
              <a:gd name="connsiteY17" fmla="*/ 542925 h 4429294"/>
              <a:gd name="connsiteX18" fmla="*/ 3793319 w 4501379"/>
              <a:gd name="connsiteY18" fmla="*/ 581025 h 4429294"/>
              <a:gd name="connsiteX19" fmla="*/ 4009219 w 4501379"/>
              <a:gd name="connsiteY19" fmla="*/ 819150 h 4429294"/>
              <a:gd name="connsiteX20" fmla="*/ 4145744 w 4501379"/>
              <a:gd name="connsiteY20" fmla="*/ 990600 h 4429294"/>
              <a:gd name="connsiteX21" fmla="*/ 4231469 w 4501379"/>
              <a:gd name="connsiteY21" fmla="*/ 1143000 h 4429294"/>
              <a:gd name="connsiteX22" fmla="*/ 4288619 w 4501379"/>
              <a:gd name="connsiteY22" fmla="*/ 1266825 h 4429294"/>
              <a:gd name="connsiteX23" fmla="*/ 4326719 w 4501379"/>
              <a:gd name="connsiteY23" fmla="*/ 1362075 h 4429294"/>
              <a:gd name="connsiteX24" fmla="*/ 4374344 w 4501379"/>
              <a:gd name="connsiteY24" fmla="*/ 1552575 h 4429294"/>
              <a:gd name="connsiteX25" fmla="*/ 4412444 w 4501379"/>
              <a:gd name="connsiteY25" fmla="*/ 1685925 h 4429294"/>
              <a:gd name="connsiteX26" fmla="*/ 4501344 w 4501379"/>
              <a:gd name="connsiteY26" fmla="*/ 2181225 h 4429294"/>
              <a:gd name="connsiteX27" fmla="*/ 4428319 w 4501379"/>
              <a:gd name="connsiteY27" fmla="*/ 2768600 h 4429294"/>
              <a:gd name="connsiteX28" fmla="*/ 4364819 w 4501379"/>
              <a:gd name="connsiteY28" fmla="*/ 2990850 h 4429294"/>
              <a:gd name="connsiteX29" fmla="*/ 4260044 w 4501379"/>
              <a:gd name="connsiteY29" fmla="*/ 3248025 h 4429294"/>
              <a:gd name="connsiteX30" fmla="*/ 4164794 w 4501379"/>
              <a:gd name="connsiteY30" fmla="*/ 3400425 h 4429294"/>
              <a:gd name="connsiteX31" fmla="*/ 4040969 w 4501379"/>
              <a:gd name="connsiteY31" fmla="*/ 3533775 h 4429294"/>
              <a:gd name="connsiteX32" fmla="*/ 3936194 w 4501379"/>
              <a:gd name="connsiteY32" fmla="*/ 3648075 h 4429294"/>
              <a:gd name="connsiteX33" fmla="*/ 3640919 w 4501379"/>
              <a:gd name="connsiteY33" fmla="*/ 3971925 h 4429294"/>
              <a:gd name="connsiteX34" fmla="*/ 3498044 w 4501379"/>
              <a:gd name="connsiteY34" fmla="*/ 4083050 h 4429294"/>
              <a:gd name="connsiteX35" fmla="*/ 3202769 w 4501379"/>
              <a:gd name="connsiteY35" fmla="*/ 4222750 h 4429294"/>
              <a:gd name="connsiteX36" fmla="*/ 3050369 w 4501379"/>
              <a:gd name="connsiteY36" fmla="*/ 4286250 h 4429294"/>
              <a:gd name="connsiteX37" fmla="*/ 2917019 w 4501379"/>
              <a:gd name="connsiteY37" fmla="*/ 4333875 h 4429294"/>
              <a:gd name="connsiteX38" fmla="*/ 2793194 w 4501379"/>
              <a:gd name="connsiteY38" fmla="*/ 4371975 h 4429294"/>
              <a:gd name="connsiteX39" fmla="*/ 2561419 w 4501379"/>
              <a:gd name="connsiteY39" fmla="*/ 4391025 h 4429294"/>
              <a:gd name="connsiteX40" fmla="*/ 2107394 w 4501379"/>
              <a:gd name="connsiteY40" fmla="*/ 4429125 h 4429294"/>
              <a:gd name="connsiteX41" fmla="*/ 1916894 w 4501379"/>
              <a:gd name="connsiteY41" fmla="*/ 4400550 h 4429294"/>
              <a:gd name="connsiteX42" fmla="*/ 1554944 w 4501379"/>
              <a:gd name="connsiteY42" fmla="*/ 4305300 h 4429294"/>
              <a:gd name="connsiteX43" fmla="*/ 1313644 w 4501379"/>
              <a:gd name="connsiteY43" fmla="*/ 4216400 h 4429294"/>
              <a:gd name="connsiteX44" fmla="*/ 1145369 w 4501379"/>
              <a:gd name="connsiteY44" fmla="*/ 4111625 h 4429294"/>
              <a:gd name="connsiteX45" fmla="*/ 926294 w 4501379"/>
              <a:gd name="connsiteY45" fmla="*/ 3968750 h 4429294"/>
              <a:gd name="connsiteX46" fmla="*/ 592919 w 4501379"/>
              <a:gd name="connsiteY46" fmla="*/ 3657600 h 4429294"/>
              <a:gd name="connsiteX47" fmla="*/ 446869 w 4501379"/>
              <a:gd name="connsiteY47" fmla="*/ 3470275 h 4429294"/>
              <a:gd name="connsiteX48" fmla="*/ 316694 w 4501379"/>
              <a:gd name="connsiteY48" fmla="*/ 3244850 h 4429294"/>
              <a:gd name="connsiteX49" fmla="*/ 164294 w 4501379"/>
              <a:gd name="connsiteY49" fmla="*/ 2892425 h 4429294"/>
              <a:gd name="connsiteX50" fmla="*/ 56344 w 4501379"/>
              <a:gd name="connsiteY50" fmla="*/ 2368550 h 4429294"/>
              <a:gd name="connsiteX51" fmla="*/ 2369 w 4501379"/>
              <a:gd name="connsiteY51" fmla="*/ 1905000 h 4429294"/>
              <a:gd name="connsiteX52" fmla="*/ 11894 w 4501379"/>
              <a:gd name="connsiteY52" fmla="*/ 1838325 h 4429294"/>
              <a:gd name="connsiteX53" fmla="*/ 30944 w 4501379"/>
              <a:gd name="connsiteY53" fmla="*/ 1781175 h 4429294"/>
              <a:gd name="connsiteX54" fmla="*/ 40469 w 4501379"/>
              <a:gd name="connsiteY54" fmla="*/ 1743075 h 4429294"/>
              <a:gd name="connsiteX55" fmla="*/ 59519 w 4501379"/>
              <a:gd name="connsiteY55" fmla="*/ 1685925 h 4429294"/>
              <a:gd name="connsiteX56" fmla="*/ 69044 w 4501379"/>
              <a:gd name="connsiteY56" fmla="*/ 1638300 h 4429294"/>
              <a:gd name="connsiteX57" fmla="*/ 88094 w 4501379"/>
              <a:gd name="connsiteY57" fmla="*/ 1590675 h 4429294"/>
              <a:gd name="connsiteX58" fmla="*/ 116669 w 4501379"/>
              <a:gd name="connsiteY58" fmla="*/ 1504950 h 4429294"/>
              <a:gd name="connsiteX59" fmla="*/ 135719 w 4501379"/>
              <a:gd name="connsiteY59" fmla="*/ 1419225 h 4429294"/>
              <a:gd name="connsiteX60" fmla="*/ 211919 w 4501379"/>
              <a:gd name="connsiteY60" fmla="*/ 1276350 h 4429294"/>
              <a:gd name="connsiteX61" fmla="*/ 221444 w 4501379"/>
              <a:gd name="connsiteY61" fmla="*/ 1247775 h 4429294"/>
              <a:gd name="connsiteX62" fmla="*/ 250019 w 4501379"/>
              <a:gd name="connsiteY62" fmla="*/ 1200150 h 4429294"/>
              <a:gd name="connsiteX63" fmla="*/ 269069 w 4501379"/>
              <a:gd name="connsiteY63" fmla="*/ 1152525 h 4429294"/>
              <a:gd name="connsiteX64" fmla="*/ 297644 w 4501379"/>
              <a:gd name="connsiteY64" fmla="*/ 1114425 h 4429294"/>
              <a:gd name="connsiteX65" fmla="*/ 345269 w 4501379"/>
              <a:gd name="connsiteY65" fmla="*/ 1038225 h 4429294"/>
              <a:gd name="connsiteX66" fmla="*/ 364319 w 4501379"/>
              <a:gd name="connsiteY66" fmla="*/ 1009650 h 4429294"/>
              <a:gd name="connsiteX67" fmla="*/ 421469 w 4501379"/>
              <a:gd name="connsiteY67" fmla="*/ 904875 h 4429294"/>
              <a:gd name="connsiteX68" fmla="*/ 459569 w 4501379"/>
              <a:gd name="connsiteY68" fmla="*/ 857250 h 4429294"/>
              <a:gd name="connsiteX69" fmla="*/ 478619 w 4501379"/>
              <a:gd name="connsiteY69" fmla="*/ 828675 h 4429294"/>
              <a:gd name="connsiteX70" fmla="*/ 516719 w 4501379"/>
              <a:gd name="connsiteY70" fmla="*/ 800100 h 4429294"/>
              <a:gd name="connsiteX71" fmla="*/ 583394 w 4501379"/>
              <a:gd name="connsiteY71" fmla="*/ 733425 h 4429294"/>
              <a:gd name="connsiteX72" fmla="*/ 650069 w 4501379"/>
              <a:gd name="connsiteY72" fmla="*/ 676275 h 4429294"/>
              <a:gd name="connsiteX73" fmla="*/ 678644 w 4501379"/>
              <a:gd name="connsiteY73" fmla="*/ 657225 h 4429294"/>
              <a:gd name="connsiteX74" fmla="*/ 821519 w 4501379"/>
              <a:gd name="connsiteY74" fmla="*/ 533400 h 4429294"/>
              <a:gd name="connsiteX75" fmla="*/ 869144 w 4501379"/>
              <a:gd name="connsiteY75" fmla="*/ 504825 h 4429294"/>
              <a:gd name="connsiteX76" fmla="*/ 1148544 w 4501379"/>
              <a:gd name="connsiteY76" fmla="*/ 311150 h 4429294"/>
              <a:gd name="connsiteX77" fmla="*/ 1250144 w 4501379"/>
              <a:gd name="connsiteY77" fmla="*/ 285750 h 4429294"/>
              <a:gd name="connsiteX78" fmla="*/ 1393019 w 4501379"/>
              <a:gd name="connsiteY78" fmla="*/ 190500 h 4429294"/>
              <a:gd name="connsiteX79" fmla="*/ 1431119 w 4501379"/>
              <a:gd name="connsiteY79" fmla="*/ 161925 h 4429294"/>
              <a:gd name="connsiteX80" fmla="*/ 1507319 w 4501379"/>
              <a:gd name="connsiteY80" fmla="*/ 152400 h 4429294"/>
              <a:gd name="connsiteX81" fmla="*/ 1564469 w 4501379"/>
              <a:gd name="connsiteY81" fmla="*/ 142875 h 4429294"/>
              <a:gd name="connsiteX82" fmla="*/ 1697819 w 4501379"/>
              <a:gd name="connsiteY82" fmla="*/ 123825 h 4429294"/>
              <a:gd name="connsiteX83" fmla="*/ 1793069 w 4501379"/>
              <a:gd name="connsiteY83" fmla="*/ 114300 h 4429294"/>
              <a:gd name="connsiteX84" fmla="*/ 1840694 w 4501379"/>
              <a:gd name="connsiteY84" fmla="*/ 104775 h 4429294"/>
              <a:gd name="connsiteX85" fmla="*/ 1897844 w 4501379"/>
              <a:gd name="connsiteY85" fmla="*/ 95250 h 4429294"/>
              <a:gd name="connsiteX86" fmla="*/ 2012144 w 4501379"/>
              <a:gd name="connsiteY86" fmla="*/ 66675 h 4429294"/>
              <a:gd name="connsiteX87" fmla="*/ 2078819 w 4501379"/>
              <a:gd name="connsiteY87" fmla="*/ 47625 h 4429294"/>
              <a:gd name="connsiteX88" fmla="*/ 2145494 w 4501379"/>
              <a:gd name="connsiteY8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12244 w 4501379"/>
              <a:gd name="connsiteY2" fmla="*/ 76200 h 4429294"/>
              <a:gd name="connsiteX3" fmla="*/ 2897969 w 4501379"/>
              <a:gd name="connsiteY3" fmla="*/ 85725 h 4429294"/>
              <a:gd name="connsiteX4" fmla="*/ 2955119 w 4501379"/>
              <a:gd name="connsiteY4" fmla="*/ 114300 h 4429294"/>
              <a:gd name="connsiteX5" fmla="*/ 2993219 w 4501379"/>
              <a:gd name="connsiteY5" fmla="*/ 123825 h 4429294"/>
              <a:gd name="connsiteX6" fmla="*/ 3117044 w 4501379"/>
              <a:gd name="connsiteY6" fmla="*/ 171450 h 4429294"/>
              <a:gd name="connsiteX7" fmla="*/ 3155144 w 4501379"/>
              <a:gd name="connsiteY7" fmla="*/ 190500 h 4429294"/>
              <a:gd name="connsiteX8" fmla="*/ 3221819 w 4501379"/>
              <a:gd name="connsiteY8" fmla="*/ 228600 h 4429294"/>
              <a:gd name="connsiteX9" fmla="*/ 3250394 w 4501379"/>
              <a:gd name="connsiteY9" fmla="*/ 238125 h 4429294"/>
              <a:gd name="connsiteX10" fmla="*/ 3278969 w 4501379"/>
              <a:gd name="connsiteY10" fmla="*/ 257175 h 4429294"/>
              <a:gd name="connsiteX11" fmla="*/ 3307544 w 4501379"/>
              <a:gd name="connsiteY11" fmla="*/ 266700 h 4429294"/>
              <a:gd name="connsiteX12" fmla="*/ 3336119 w 4501379"/>
              <a:gd name="connsiteY12" fmla="*/ 285750 h 4429294"/>
              <a:gd name="connsiteX13" fmla="*/ 3402794 w 4501379"/>
              <a:gd name="connsiteY13" fmla="*/ 323850 h 4429294"/>
              <a:gd name="connsiteX14" fmla="*/ 3450419 w 4501379"/>
              <a:gd name="connsiteY14" fmla="*/ 361950 h 4429294"/>
              <a:gd name="connsiteX15" fmla="*/ 3498044 w 4501379"/>
              <a:gd name="connsiteY15" fmla="*/ 390525 h 4429294"/>
              <a:gd name="connsiteX16" fmla="*/ 3612344 w 4501379"/>
              <a:gd name="connsiteY16" fmla="*/ 485775 h 4429294"/>
              <a:gd name="connsiteX17" fmla="*/ 3726644 w 4501379"/>
              <a:gd name="connsiteY17" fmla="*/ 542925 h 4429294"/>
              <a:gd name="connsiteX18" fmla="*/ 3793319 w 4501379"/>
              <a:gd name="connsiteY18" fmla="*/ 581025 h 4429294"/>
              <a:gd name="connsiteX19" fmla="*/ 4009219 w 4501379"/>
              <a:gd name="connsiteY19" fmla="*/ 819150 h 4429294"/>
              <a:gd name="connsiteX20" fmla="*/ 4145744 w 4501379"/>
              <a:gd name="connsiteY20" fmla="*/ 990600 h 4429294"/>
              <a:gd name="connsiteX21" fmla="*/ 4231469 w 4501379"/>
              <a:gd name="connsiteY21" fmla="*/ 1143000 h 4429294"/>
              <a:gd name="connsiteX22" fmla="*/ 4288619 w 4501379"/>
              <a:gd name="connsiteY22" fmla="*/ 1266825 h 4429294"/>
              <a:gd name="connsiteX23" fmla="*/ 4326719 w 4501379"/>
              <a:gd name="connsiteY23" fmla="*/ 1362075 h 4429294"/>
              <a:gd name="connsiteX24" fmla="*/ 4374344 w 4501379"/>
              <a:gd name="connsiteY24" fmla="*/ 1552575 h 4429294"/>
              <a:gd name="connsiteX25" fmla="*/ 4412444 w 4501379"/>
              <a:gd name="connsiteY25" fmla="*/ 1685925 h 4429294"/>
              <a:gd name="connsiteX26" fmla="*/ 4501344 w 4501379"/>
              <a:gd name="connsiteY26" fmla="*/ 2181225 h 4429294"/>
              <a:gd name="connsiteX27" fmla="*/ 4428319 w 4501379"/>
              <a:gd name="connsiteY27" fmla="*/ 2768600 h 4429294"/>
              <a:gd name="connsiteX28" fmla="*/ 4364819 w 4501379"/>
              <a:gd name="connsiteY28" fmla="*/ 2990850 h 4429294"/>
              <a:gd name="connsiteX29" fmla="*/ 4260044 w 4501379"/>
              <a:gd name="connsiteY29" fmla="*/ 3248025 h 4429294"/>
              <a:gd name="connsiteX30" fmla="*/ 4164794 w 4501379"/>
              <a:gd name="connsiteY30" fmla="*/ 3400425 h 4429294"/>
              <a:gd name="connsiteX31" fmla="*/ 4040969 w 4501379"/>
              <a:gd name="connsiteY31" fmla="*/ 3533775 h 4429294"/>
              <a:gd name="connsiteX32" fmla="*/ 3936194 w 4501379"/>
              <a:gd name="connsiteY32" fmla="*/ 3648075 h 4429294"/>
              <a:gd name="connsiteX33" fmla="*/ 3640919 w 4501379"/>
              <a:gd name="connsiteY33" fmla="*/ 3971925 h 4429294"/>
              <a:gd name="connsiteX34" fmla="*/ 3498044 w 4501379"/>
              <a:gd name="connsiteY34" fmla="*/ 4083050 h 4429294"/>
              <a:gd name="connsiteX35" fmla="*/ 3202769 w 4501379"/>
              <a:gd name="connsiteY35" fmla="*/ 4222750 h 4429294"/>
              <a:gd name="connsiteX36" fmla="*/ 3050369 w 4501379"/>
              <a:gd name="connsiteY36" fmla="*/ 4286250 h 4429294"/>
              <a:gd name="connsiteX37" fmla="*/ 2917019 w 4501379"/>
              <a:gd name="connsiteY37" fmla="*/ 4333875 h 4429294"/>
              <a:gd name="connsiteX38" fmla="*/ 2793194 w 4501379"/>
              <a:gd name="connsiteY38" fmla="*/ 4371975 h 4429294"/>
              <a:gd name="connsiteX39" fmla="*/ 2561419 w 4501379"/>
              <a:gd name="connsiteY39" fmla="*/ 4391025 h 4429294"/>
              <a:gd name="connsiteX40" fmla="*/ 2107394 w 4501379"/>
              <a:gd name="connsiteY40" fmla="*/ 4429125 h 4429294"/>
              <a:gd name="connsiteX41" fmla="*/ 1916894 w 4501379"/>
              <a:gd name="connsiteY41" fmla="*/ 4400550 h 4429294"/>
              <a:gd name="connsiteX42" fmla="*/ 1554944 w 4501379"/>
              <a:gd name="connsiteY42" fmla="*/ 4305300 h 4429294"/>
              <a:gd name="connsiteX43" fmla="*/ 1313644 w 4501379"/>
              <a:gd name="connsiteY43" fmla="*/ 4216400 h 4429294"/>
              <a:gd name="connsiteX44" fmla="*/ 1145369 w 4501379"/>
              <a:gd name="connsiteY44" fmla="*/ 4111625 h 4429294"/>
              <a:gd name="connsiteX45" fmla="*/ 926294 w 4501379"/>
              <a:gd name="connsiteY45" fmla="*/ 3968750 h 4429294"/>
              <a:gd name="connsiteX46" fmla="*/ 592919 w 4501379"/>
              <a:gd name="connsiteY46" fmla="*/ 3657600 h 4429294"/>
              <a:gd name="connsiteX47" fmla="*/ 446869 w 4501379"/>
              <a:gd name="connsiteY47" fmla="*/ 3470275 h 4429294"/>
              <a:gd name="connsiteX48" fmla="*/ 316694 w 4501379"/>
              <a:gd name="connsiteY48" fmla="*/ 3244850 h 4429294"/>
              <a:gd name="connsiteX49" fmla="*/ 164294 w 4501379"/>
              <a:gd name="connsiteY49" fmla="*/ 2892425 h 4429294"/>
              <a:gd name="connsiteX50" fmla="*/ 56344 w 4501379"/>
              <a:gd name="connsiteY50" fmla="*/ 2368550 h 4429294"/>
              <a:gd name="connsiteX51" fmla="*/ 2369 w 4501379"/>
              <a:gd name="connsiteY51" fmla="*/ 1905000 h 4429294"/>
              <a:gd name="connsiteX52" fmla="*/ 11894 w 4501379"/>
              <a:gd name="connsiteY52" fmla="*/ 1838325 h 4429294"/>
              <a:gd name="connsiteX53" fmla="*/ 30944 w 4501379"/>
              <a:gd name="connsiteY53" fmla="*/ 1781175 h 4429294"/>
              <a:gd name="connsiteX54" fmla="*/ 40469 w 4501379"/>
              <a:gd name="connsiteY54" fmla="*/ 1743075 h 4429294"/>
              <a:gd name="connsiteX55" fmla="*/ 59519 w 4501379"/>
              <a:gd name="connsiteY55" fmla="*/ 1685925 h 4429294"/>
              <a:gd name="connsiteX56" fmla="*/ 69044 w 4501379"/>
              <a:gd name="connsiteY56" fmla="*/ 1638300 h 4429294"/>
              <a:gd name="connsiteX57" fmla="*/ 88094 w 4501379"/>
              <a:gd name="connsiteY57" fmla="*/ 1590675 h 4429294"/>
              <a:gd name="connsiteX58" fmla="*/ 116669 w 4501379"/>
              <a:gd name="connsiteY58" fmla="*/ 1504950 h 4429294"/>
              <a:gd name="connsiteX59" fmla="*/ 135719 w 4501379"/>
              <a:gd name="connsiteY59" fmla="*/ 1419225 h 4429294"/>
              <a:gd name="connsiteX60" fmla="*/ 211919 w 4501379"/>
              <a:gd name="connsiteY60" fmla="*/ 1276350 h 4429294"/>
              <a:gd name="connsiteX61" fmla="*/ 221444 w 4501379"/>
              <a:gd name="connsiteY61" fmla="*/ 1247775 h 4429294"/>
              <a:gd name="connsiteX62" fmla="*/ 250019 w 4501379"/>
              <a:gd name="connsiteY62" fmla="*/ 1200150 h 4429294"/>
              <a:gd name="connsiteX63" fmla="*/ 269069 w 4501379"/>
              <a:gd name="connsiteY63" fmla="*/ 1152525 h 4429294"/>
              <a:gd name="connsiteX64" fmla="*/ 297644 w 4501379"/>
              <a:gd name="connsiteY64" fmla="*/ 1114425 h 4429294"/>
              <a:gd name="connsiteX65" fmla="*/ 345269 w 4501379"/>
              <a:gd name="connsiteY65" fmla="*/ 1038225 h 4429294"/>
              <a:gd name="connsiteX66" fmla="*/ 364319 w 4501379"/>
              <a:gd name="connsiteY66" fmla="*/ 1009650 h 4429294"/>
              <a:gd name="connsiteX67" fmla="*/ 421469 w 4501379"/>
              <a:gd name="connsiteY67" fmla="*/ 904875 h 4429294"/>
              <a:gd name="connsiteX68" fmla="*/ 459569 w 4501379"/>
              <a:gd name="connsiteY68" fmla="*/ 857250 h 4429294"/>
              <a:gd name="connsiteX69" fmla="*/ 478619 w 4501379"/>
              <a:gd name="connsiteY69" fmla="*/ 828675 h 4429294"/>
              <a:gd name="connsiteX70" fmla="*/ 516719 w 4501379"/>
              <a:gd name="connsiteY70" fmla="*/ 800100 h 4429294"/>
              <a:gd name="connsiteX71" fmla="*/ 583394 w 4501379"/>
              <a:gd name="connsiteY71" fmla="*/ 733425 h 4429294"/>
              <a:gd name="connsiteX72" fmla="*/ 650069 w 4501379"/>
              <a:gd name="connsiteY72" fmla="*/ 676275 h 4429294"/>
              <a:gd name="connsiteX73" fmla="*/ 678644 w 4501379"/>
              <a:gd name="connsiteY73" fmla="*/ 657225 h 4429294"/>
              <a:gd name="connsiteX74" fmla="*/ 821519 w 4501379"/>
              <a:gd name="connsiteY74" fmla="*/ 533400 h 4429294"/>
              <a:gd name="connsiteX75" fmla="*/ 869144 w 4501379"/>
              <a:gd name="connsiteY75" fmla="*/ 504825 h 4429294"/>
              <a:gd name="connsiteX76" fmla="*/ 1148544 w 4501379"/>
              <a:gd name="connsiteY76" fmla="*/ 311150 h 4429294"/>
              <a:gd name="connsiteX77" fmla="*/ 1250144 w 4501379"/>
              <a:gd name="connsiteY77" fmla="*/ 285750 h 4429294"/>
              <a:gd name="connsiteX78" fmla="*/ 1393019 w 4501379"/>
              <a:gd name="connsiteY78" fmla="*/ 190500 h 4429294"/>
              <a:gd name="connsiteX79" fmla="*/ 1431119 w 4501379"/>
              <a:gd name="connsiteY79" fmla="*/ 161925 h 4429294"/>
              <a:gd name="connsiteX80" fmla="*/ 1507319 w 4501379"/>
              <a:gd name="connsiteY80" fmla="*/ 152400 h 4429294"/>
              <a:gd name="connsiteX81" fmla="*/ 1564469 w 4501379"/>
              <a:gd name="connsiteY81" fmla="*/ 142875 h 4429294"/>
              <a:gd name="connsiteX82" fmla="*/ 1697819 w 4501379"/>
              <a:gd name="connsiteY82" fmla="*/ 123825 h 4429294"/>
              <a:gd name="connsiteX83" fmla="*/ 1793069 w 4501379"/>
              <a:gd name="connsiteY83" fmla="*/ 114300 h 4429294"/>
              <a:gd name="connsiteX84" fmla="*/ 1840694 w 4501379"/>
              <a:gd name="connsiteY84" fmla="*/ 104775 h 4429294"/>
              <a:gd name="connsiteX85" fmla="*/ 1897844 w 4501379"/>
              <a:gd name="connsiteY85" fmla="*/ 95250 h 4429294"/>
              <a:gd name="connsiteX86" fmla="*/ 2012144 w 4501379"/>
              <a:gd name="connsiteY86" fmla="*/ 66675 h 4429294"/>
              <a:gd name="connsiteX87" fmla="*/ 2078819 w 4501379"/>
              <a:gd name="connsiteY87" fmla="*/ 47625 h 4429294"/>
              <a:gd name="connsiteX88" fmla="*/ 2145494 w 4501379"/>
              <a:gd name="connsiteY8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2955119 w 4501379"/>
              <a:gd name="connsiteY3" fmla="*/ 114300 h 4429294"/>
              <a:gd name="connsiteX4" fmla="*/ 2993219 w 4501379"/>
              <a:gd name="connsiteY4" fmla="*/ 123825 h 4429294"/>
              <a:gd name="connsiteX5" fmla="*/ 3117044 w 4501379"/>
              <a:gd name="connsiteY5" fmla="*/ 171450 h 4429294"/>
              <a:gd name="connsiteX6" fmla="*/ 3155144 w 4501379"/>
              <a:gd name="connsiteY6" fmla="*/ 190500 h 4429294"/>
              <a:gd name="connsiteX7" fmla="*/ 3221819 w 4501379"/>
              <a:gd name="connsiteY7" fmla="*/ 228600 h 4429294"/>
              <a:gd name="connsiteX8" fmla="*/ 3250394 w 4501379"/>
              <a:gd name="connsiteY8" fmla="*/ 238125 h 4429294"/>
              <a:gd name="connsiteX9" fmla="*/ 3278969 w 4501379"/>
              <a:gd name="connsiteY9" fmla="*/ 257175 h 4429294"/>
              <a:gd name="connsiteX10" fmla="*/ 3307544 w 4501379"/>
              <a:gd name="connsiteY10" fmla="*/ 266700 h 4429294"/>
              <a:gd name="connsiteX11" fmla="*/ 3336119 w 4501379"/>
              <a:gd name="connsiteY11" fmla="*/ 285750 h 4429294"/>
              <a:gd name="connsiteX12" fmla="*/ 3402794 w 4501379"/>
              <a:gd name="connsiteY12" fmla="*/ 323850 h 4429294"/>
              <a:gd name="connsiteX13" fmla="*/ 3450419 w 4501379"/>
              <a:gd name="connsiteY13" fmla="*/ 361950 h 4429294"/>
              <a:gd name="connsiteX14" fmla="*/ 3498044 w 4501379"/>
              <a:gd name="connsiteY14" fmla="*/ 390525 h 4429294"/>
              <a:gd name="connsiteX15" fmla="*/ 3612344 w 4501379"/>
              <a:gd name="connsiteY15" fmla="*/ 485775 h 4429294"/>
              <a:gd name="connsiteX16" fmla="*/ 3726644 w 4501379"/>
              <a:gd name="connsiteY16" fmla="*/ 542925 h 4429294"/>
              <a:gd name="connsiteX17" fmla="*/ 3793319 w 4501379"/>
              <a:gd name="connsiteY17" fmla="*/ 581025 h 4429294"/>
              <a:gd name="connsiteX18" fmla="*/ 4009219 w 4501379"/>
              <a:gd name="connsiteY18" fmla="*/ 819150 h 4429294"/>
              <a:gd name="connsiteX19" fmla="*/ 4145744 w 4501379"/>
              <a:gd name="connsiteY19" fmla="*/ 990600 h 4429294"/>
              <a:gd name="connsiteX20" fmla="*/ 4231469 w 4501379"/>
              <a:gd name="connsiteY20" fmla="*/ 1143000 h 4429294"/>
              <a:gd name="connsiteX21" fmla="*/ 4288619 w 4501379"/>
              <a:gd name="connsiteY21" fmla="*/ 1266825 h 4429294"/>
              <a:gd name="connsiteX22" fmla="*/ 4326719 w 4501379"/>
              <a:gd name="connsiteY22" fmla="*/ 1362075 h 4429294"/>
              <a:gd name="connsiteX23" fmla="*/ 4374344 w 4501379"/>
              <a:gd name="connsiteY23" fmla="*/ 1552575 h 4429294"/>
              <a:gd name="connsiteX24" fmla="*/ 4412444 w 4501379"/>
              <a:gd name="connsiteY24" fmla="*/ 1685925 h 4429294"/>
              <a:gd name="connsiteX25" fmla="*/ 4501344 w 4501379"/>
              <a:gd name="connsiteY25" fmla="*/ 2181225 h 4429294"/>
              <a:gd name="connsiteX26" fmla="*/ 4428319 w 4501379"/>
              <a:gd name="connsiteY26" fmla="*/ 2768600 h 4429294"/>
              <a:gd name="connsiteX27" fmla="*/ 4364819 w 4501379"/>
              <a:gd name="connsiteY27" fmla="*/ 2990850 h 4429294"/>
              <a:gd name="connsiteX28" fmla="*/ 4260044 w 4501379"/>
              <a:gd name="connsiteY28" fmla="*/ 3248025 h 4429294"/>
              <a:gd name="connsiteX29" fmla="*/ 4164794 w 4501379"/>
              <a:gd name="connsiteY29" fmla="*/ 3400425 h 4429294"/>
              <a:gd name="connsiteX30" fmla="*/ 4040969 w 4501379"/>
              <a:gd name="connsiteY30" fmla="*/ 3533775 h 4429294"/>
              <a:gd name="connsiteX31" fmla="*/ 3936194 w 4501379"/>
              <a:gd name="connsiteY31" fmla="*/ 3648075 h 4429294"/>
              <a:gd name="connsiteX32" fmla="*/ 3640919 w 4501379"/>
              <a:gd name="connsiteY32" fmla="*/ 3971925 h 4429294"/>
              <a:gd name="connsiteX33" fmla="*/ 3498044 w 4501379"/>
              <a:gd name="connsiteY33" fmla="*/ 4083050 h 4429294"/>
              <a:gd name="connsiteX34" fmla="*/ 3202769 w 4501379"/>
              <a:gd name="connsiteY34" fmla="*/ 4222750 h 4429294"/>
              <a:gd name="connsiteX35" fmla="*/ 3050369 w 4501379"/>
              <a:gd name="connsiteY35" fmla="*/ 4286250 h 4429294"/>
              <a:gd name="connsiteX36" fmla="*/ 2917019 w 4501379"/>
              <a:gd name="connsiteY36" fmla="*/ 4333875 h 4429294"/>
              <a:gd name="connsiteX37" fmla="*/ 2793194 w 4501379"/>
              <a:gd name="connsiteY37" fmla="*/ 4371975 h 4429294"/>
              <a:gd name="connsiteX38" fmla="*/ 2561419 w 4501379"/>
              <a:gd name="connsiteY38" fmla="*/ 4391025 h 4429294"/>
              <a:gd name="connsiteX39" fmla="*/ 2107394 w 4501379"/>
              <a:gd name="connsiteY39" fmla="*/ 4429125 h 4429294"/>
              <a:gd name="connsiteX40" fmla="*/ 1916894 w 4501379"/>
              <a:gd name="connsiteY40" fmla="*/ 4400550 h 4429294"/>
              <a:gd name="connsiteX41" fmla="*/ 1554944 w 4501379"/>
              <a:gd name="connsiteY41" fmla="*/ 4305300 h 4429294"/>
              <a:gd name="connsiteX42" fmla="*/ 1313644 w 4501379"/>
              <a:gd name="connsiteY42" fmla="*/ 4216400 h 4429294"/>
              <a:gd name="connsiteX43" fmla="*/ 1145369 w 4501379"/>
              <a:gd name="connsiteY43" fmla="*/ 4111625 h 4429294"/>
              <a:gd name="connsiteX44" fmla="*/ 926294 w 4501379"/>
              <a:gd name="connsiteY44" fmla="*/ 3968750 h 4429294"/>
              <a:gd name="connsiteX45" fmla="*/ 592919 w 4501379"/>
              <a:gd name="connsiteY45" fmla="*/ 3657600 h 4429294"/>
              <a:gd name="connsiteX46" fmla="*/ 446869 w 4501379"/>
              <a:gd name="connsiteY46" fmla="*/ 3470275 h 4429294"/>
              <a:gd name="connsiteX47" fmla="*/ 316694 w 4501379"/>
              <a:gd name="connsiteY47" fmla="*/ 3244850 h 4429294"/>
              <a:gd name="connsiteX48" fmla="*/ 164294 w 4501379"/>
              <a:gd name="connsiteY48" fmla="*/ 2892425 h 4429294"/>
              <a:gd name="connsiteX49" fmla="*/ 56344 w 4501379"/>
              <a:gd name="connsiteY49" fmla="*/ 2368550 h 4429294"/>
              <a:gd name="connsiteX50" fmla="*/ 2369 w 4501379"/>
              <a:gd name="connsiteY50" fmla="*/ 1905000 h 4429294"/>
              <a:gd name="connsiteX51" fmla="*/ 11894 w 4501379"/>
              <a:gd name="connsiteY51" fmla="*/ 1838325 h 4429294"/>
              <a:gd name="connsiteX52" fmla="*/ 30944 w 4501379"/>
              <a:gd name="connsiteY52" fmla="*/ 1781175 h 4429294"/>
              <a:gd name="connsiteX53" fmla="*/ 40469 w 4501379"/>
              <a:gd name="connsiteY53" fmla="*/ 1743075 h 4429294"/>
              <a:gd name="connsiteX54" fmla="*/ 59519 w 4501379"/>
              <a:gd name="connsiteY54" fmla="*/ 1685925 h 4429294"/>
              <a:gd name="connsiteX55" fmla="*/ 69044 w 4501379"/>
              <a:gd name="connsiteY55" fmla="*/ 1638300 h 4429294"/>
              <a:gd name="connsiteX56" fmla="*/ 88094 w 4501379"/>
              <a:gd name="connsiteY56" fmla="*/ 1590675 h 4429294"/>
              <a:gd name="connsiteX57" fmla="*/ 116669 w 4501379"/>
              <a:gd name="connsiteY57" fmla="*/ 1504950 h 4429294"/>
              <a:gd name="connsiteX58" fmla="*/ 135719 w 4501379"/>
              <a:gd name="connsiteY58" fmla="*/ 1419225 h 4429294"/>
              <a:gd name="connsiteX59" fmla="*/ 211919 w 4501379"/>
              <a:gd name="connsiteY59" fmla="*/ 1276350 h 4429294"/>
              <a:gd name="connsiteX60" fmla="*/ 221444 w 4501379"/>
              <a:gd name="connsiteY60" fmla="*/ 1247775 h 4429294"/>
              <a:gd name="connsiteX61" fmla="*/ 250019 w 4501379"/>
              <a:gd name="connsiteY61" fmla="*/ 1200150 h 4429294"/>
              <a:gd name="connsiteX62" fmla="*/ 269069 w 4501379"/>
              <a:gd name="connsiteY62" fmla="*/ 1152525 h 4429294"/>
              <a:gd name="connsiteX63" fmla="*/ 297644 w 4501379"/>
              <a:gd name="connsiteY63" fmla="*/ 1114425 h 4429294"/>
              <a:gd name="connsiteX64" fmla="*/ 345269 w 4501379"/>
              <a:gd name="connsiteY64" fmla="*/ 1038225 h 4429294"/>
              <a:gd name="connsiteX65" fmla="*/ 364319 w 4501379"/>
              <a:gd name="connsiteY65" fmla="*/ 1009650 h 4429294"/>
              <a:gd name="connsiteX66" fmla="*/ 421469 w 4501379"/>
              <a:gd name="connsiteY66" fmla="*/ 904875 h 4429294"/>
              <a:gd name="connsiteX67" fmla="*/ 459569 w 4501379"/>
              <a:gd name="connsiteY67" fmla="*/ 857250 h 4429294"/>
              <a:gd name="connsiteX68" fmla="*/ 478619 w 4501379"/>
              <a:gd name="connsiteY68" fmla="*/ 828675 h 4429294"/>
              <a:gd name="connsiteX69" fmla="*/ 516719 w 4501379"/>
              <a:gd name="connsiteY69" fmla="*/ 800100 h 4429294"/>
              <a:gd name="connsiteX70" fmla="*/ 583394 w 4501379"/>
              <a:gd name="connsiteY70" fmla="*/ 733425 h 4429294"/>
              <a:gd name="connsiteX71" fmla="*/ 650069 w 4501379"/>
              <a:gd name="connsiteY71" fmla="*/ 676275 h 4429294"/>
              <a:gd name="connsiteX72" fmla="*/ 678644 w 4501379"/>
              <a:gd name="connsiteY72" fmla="*/ 657225 h 4429294"/>
              <a:gd name="connsiteX73" fmla="*/ 821519 w 4501379"/>
              <a:gd name="connsiteY73" fmla="*/ 533400 h 4429294"/>
              <a:gd name="connsiteX74" fmla="*/ 869144 w 4501379"/>
              <a:gd name="connsiteY74" fmla="*/ 504825 h 4429294"/>
              <a:gd name="connsiteX75" fmla="*/ 1148544 w 4501379"/>
              <a:gd name="connsiteY75" fmla="*/ 311150 h 4429294"/>
              <a:gd name="connsiteX76" fmla="*/ 1250144 w 4501379"/>
              <a:gd name="connsiteY76" fmla="*/ 285750 h 4429294"/>
              <a:gd name="connsiteX77" fmla="*/ 1393019 w 4501379"/>
              <a:gd name="connsiteY77" fmla="*/ 190500 h 4429294"/>
              <a:gd name="connsiteX78" fmla="*/ 1431119 w 4501379"/>
              <a:gd name="connsiteY78" fmla="*/ 161925 h 4429294"/>
              <a:gd name="connsiteX79" fmla="*/ 1507319 w 4501379"/>
              <a:gd name="connsiteY79" fmla="*/ 152400 h 4429294"/>
              <a:gd name="connsiteX80" fmla="*/ 1564469 w 4501379"/>
              <a:gd name="connsiteY80" fmla="*/ 142875 h 4429294"/>
              <a:gd name="connsiteX81" fmla="*/ 1697819 w 4501379"/>
              <a:gd name="connsiteY81" fmla="*/ 123825 h 4429294"/>
              <a:gd name="connsiteX82" fmla="*/ 1793069 w 4501379"/>
              <a:gd name="connsiteY82" fmla="*/ 114300 h 4429294"/>
              <a:gd name="connsiteX83" fmla="*/ 1840694 w 4501379"/>
              <a:gd name="connsiteY83" fmla="*/ 104775 h 4429294"/>
              <a:gd name="connsiteX84" fmla="*/ 1897844 w 4501379"/>
              <a:gd name="connsiteY84" fmla="*/ 95250 h 4429294"/>
              <a:gd name="connsiteX85" fmla="*/ 2012144 w 4501379"/>
              <a:gd name="connsiteY85" fmla="*/ 66675 h 4429294"/>
              <a:gd name="connsiteX86" fmla="*/ 2078819 w 4501379"/>
              <a:gd name="connsiteY86" fmla="*/ 47625 h 4429294"/>
              <a:gd name="connsiteX87" fmla="*/ 2145494 w 4501379"/>
              <a:gd name="connsiteY8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2955119 w 4501379"/>
              <a:gd name="connsiteY3" fmla="*/ 114300 h 4429294"/>
              <a:gd name="connsiteX4" fmla="*/ 3117044 w 4501379"/>
              <a:gd name="connsiteY4" fmla="*/ 171450 h 4429294"/>
              <a:gd name="connsiteX5" fmla="*/ 3155144 w 4501379"/>
              <a:gd name="connsiteY5" fmla="*/ 190500 h 4429294"/>
              <a:gd name="connsiteX6" fmla="*/ 3221819 w 4501379"/>
              <a:gd name="connsiteY6" fmla="*/ 228600 h 4429294"/>
              <a:gd name="connsiteX7" fmla="*/ 3250394 w 4501379"/>
              <a:gd name="connsiteY7" fmla="*/ 238125 h 4429294"/>
              <a:gd name="connsiteX8" fmla="*/ 3278969 w 4501379"/>
              <a:gd name="connsiteY8" fmla="*/ 257175 h 4429294"/>
              <a:gd name="connsiteX9" fmla="*/ 3307544 w 4501379"/>
              <a:gd name="connsiteY9" fmla="*/ 266700 h 4429294"/>
              <a:gd name="connsiteX10" fmla="*/ 3336119 w 4501379"/>
              <a:gd name="connsiteY10" fmla="*/ 285750 h 4429294"/>
              <a:gd name="connsiteX11" fmla="*/ 3402794 w 4501379"/>
              <a:gd name="connsiteY11" fmla="*/ 323850 h 4429294"/>
              <a:gd name="connsiteX12" fmla="*/ 3450419 w 4501379"/>
              <a:gd name="connsiteY12" fmla="*/ 361950 h 4429294"/>
              <a:gd name="connsiteX13" fmla="*/ 3498044 w 4501379"/>
              <a:gd name="connsiteY13" fmla="*/ 390525 h 4429294"/>
              <a:gd name="connsiteX14" fmla="*/ 3612344 w 4501379"/>
              <a:gd name="connsiteY14" fmla="*/ 485775 h 4429294"/>
              <a:gd name="connsiteX15" fmla="*/ 3726644 w 4501379"/>
              <a:gd name="connsiteY15" fmla="*/ 542925 h 4429294"/>
              <a:gd name="connsiteX16" fmla="*/ 3793319 w 4501379"/>
              <a:gd name="connsiteY16" fmla="*/ 581025 h 4429294"/>
              <a:gd name="connsiteX17" fmla="*/ 4009219 w 4501379"/>
              <a:gd name="connsiteY17" fmla="*/ 819150 h 4429294"/>
              <a:gd name="connsiteX18" fmla="*/ 4145744 w 4501379"/>
              <a:gd name="connsiteY18" fmla="*/ 990600 h 4429294"/>
              <a:gd name="connsiteX19" fmla="*/ 4231469 w 4501379"/>
              <a:gd name="connsiteY19" fmla="*/ 1143000 h 4429294"/>
              <a:gd name="connsiteX20" fmla="*/ 4288619 w 4501379"/>
              <a:gd name="connsiteY20" fmla="*/ 1266825 h 4429294"/>
              <a:gd name="connsiteX21" fmla="*/ 4326719 w 4501379"/>
              <a:gd name="connsiteY21" fmla="*/ 1362075 h 4429294"/>
              <a:gd name="connsiteX22" fmla="*/ 4374344 w 4501379"/>
              <a:gd name="connsiteY22" fmla="*/ 1552575 h 4429294"/>
              <a:gd name="connsiteX23" fmla="*/ 4412444 w 4501379"/>
              <a:gd name="connsiteY23" fmla="*/ 1685925 h 4429294"/>
              <a:gd name="connsiteX24" fmla="*/ 4501344 w 4501379"/>
              <a:gd name="connsiteY24" fmla="*/ 2181225 h 4429294"/>
              <a:gd name="connsiteX25" fmla="*/ 4428319 w 4501379"/>
              <a:gd name="connsiteY25" fmla="*/ 2768600 h 4429294"/>
              <a:gd name="connsiteX26" fmla="*/ 4364819 w 4501379"/>
              <a:gd name="connsiteY26" fmla="*/ 2990850 h 4429294"/>
              <a:gd name="connsiteX27" fmla="*/ 4260044 w 4501379"/>
              <a:gd name="connsiteY27" fmla="*/ 3248025 h 4429294"/>
              <a:gd name="connsiteX28" fmla="*/ 4164794 w 4501379"/>
              <a:gd name="connsiteY28" fmla="*/ 3400425 h 4429294"/>
              <a:gd name="connsiteX29" fmla="*/ 4040969 w 4501379"/>
              <a:gd name="connsiteY29" fmla="*/ 3533775 h 4429294"/>
              <a:gd name="connsiteX30" fmla="*/ 3936194 w 4501379"/>
              <a:gd name="connsiteY30" fmla="*/ 3648075 h 4429294"/>
              <a:gd name="connsiteX31" fmla="*/ 3640919 w 4501379"/>
              <a:gd name="connsiteY31" fmla="*/ 3971925 h 4429294"/>
              <a:gd name="connsiteX32" fmla="*/ 3498044 w 4501379"/>
              <a:gd name="connsiteY32" fmla="*/ 4083050 h 4429294"/>
              <a:gd name="connsiteX33" fmla="*/ 3202769 w 4501379"/>
              <a:gd name="connsiteY33" fmla="*/ 4222750 h 4429294"/>
              <a:gd name="connsiteX34" fmla="*/ 3050369 w 4501379"/>
              <a:gd name="connsiteY34" fmla="*/ 4286250 h 4429294"/>
              <a:gd name="connsiteX35" fmla="*/ 2917019 w 4501379"/>
              <a:gd name="connsiteY35" fmla="*/ 4333875 h 4429294"/>
              <a:gd name="connsiteX36" fmla="*/ 2793194 w 4501379"/>
              <a:gd name="connsiteY36" fmla="*/ 4371975 h 4429294"/>
              <a:gd name="connsiteX37" fmla="*/ 2561419 w 4501379"/>
              <a:gd name="connsiteY37" fmla="*/ 4391025 h 4429294"/>
              <a:gd name="connsiteX38" fmla="*/ 2107394 w 4501379"/>
              <a:gd name="connsiteY38" fmla="*/ 4429125 h 4429294"/>
              <a:gd name="connsiteX39" fmla="*/ 1916894 w 4501379"/>
              <a:gd name="connsiteY39" fmla="*/ 4400550 h 4429294"/>
              <a:gd name="connsiteX40" fmla="*/ 1554944 w 4501379"/>
              <a:gd name="connsiteY40" fmla="*/ 4305300 h 4429294"/>
              <a:gd name="connsiteX41" fmla="*/ 1313644 w 4501379"/>
              <a:gd name="connsiteY41" fmla="*/ 4216400 h 4429294"/>
              <a:gd name="connsiteX42" fmla="*/ 1145369 w 4501379"/>
              <a:gd name="connsiteY42" fmla="*/ 4111625 h 4429294"/>
              <a:gd name="connsiteX43" fmla="*/ 926294 w 4501379"/>
              <a:gd name="connsiteY43" fmla="*/ 3968750 h 4429294"/>
              <a:gd name="connsiteX44" fmla="*/ 592919 w 4501379"/>
              <a:gd name="connsiteY44" fmla="*/ 3657600 h 4429294"/>
              <a:gd name="connsiteX45" fmla="*/ 446869 w 4501379"/>
              <a:gd name="connsiteY45" fmla="*/ 3470275 h 4429294"/>
              <a:gd name="connsiteX46" fmla="*/ 316694 w 4501379"/>
              <a:gd name="connsiteY46" fmla="*/ 3244850 h 4429294"/>
              <a:gd name="connsiteX47" fmla="*/ 164294 w 4501379"/>
              <a:gd name="connsiteY47" fmla="*/ 2892425 h 4429294"/>
              <a:gd name="connsiteX48" fmla="*/ 56344 w 4501379"/>
              <a:gd name="connsiteY48" fmla="*/ 2368550 h 4429294"/>
              <a:gd name="connsiteX49" fmla="*/ 2369 w 4501379"/>
              <a:gd name="connsiteY49" fmla="*/ 1905000 h 4429294"/>
              <a:gd name="connsiteX50" fmla="*/ 11894 w 4501379"/>
              <a:gd name="connsiteY50" fmla="*/ 1838325 h 4429294"/>
              <a:gd name="connsiteX51" fmla="*/ 30944 w 4501379"/>
              <a:gd name="connsiteY51" fmla="*/ 1781175 h 4429294"/>
              <a:gd name="connsiteX52" fmla="*/ 40469 w 4501379"/>
              <a:gd name="connsiteY52" fmla="*/ 1743075 h 4429294"/>
              <a:gd name="connsiteX53" fmla="*/ 59519 w 4501379"/>
              <a:gd name="connsiteY53" fmla="*/ 1685925 h 4429294"/>
              <a:gd name="connsiteX54" fmla="*/ 69044 w 4501379"/>
              <a:gd name="connsiteY54" fmla="*/ 1638300 h 4429294"/>
              <a:gd name="connsiteX55" fmla="*/ 88094 w 4501379"/>
              <a:gd name="connsiteY55" fmla="*/ 1590675 h 4429294"/>
              <a:gd name="connsiteX56" fmla="*/ 116669 w 4501379"/>
              <a:gd name="connsiteY56" fmla="*/ 1504950 h 4429294"/>
              <a:gd name="connsiteX57" fmla="*/ 135719 w 4501379"/>
              <a:gd name="connsiteY57" fmla="*/ 1419225 h 4429294"/>
              <a:gd name="connsiteX58" fmla="*/ 211919 w 4501379"/>
              <a:gd name="connsiteY58" fmla="*/ 1276350 h 4429294"/>
              <a:gd name="connsiteX59" fmla="*/ 221444 w 4501379"/>
              <a:gd name="connsiteY59" fmla="*/ 1247775 h 4429294"/>
              <a:gd name="connsiteX60" fmla="*/ 250019 w 4501379"/>
              <a:gd name="connsiteY60" fmla="*/ 1200150 h 4429294"/>
              <a:gd name="connsiteX61" fmla="*/ 269069 w 4501379"/>
              <a:gd name="connsiteY61" fmla="*/ 1152525 h 4429294"/>
              <a:gd name="connsiteX62" fmla="*/ 297644 w 4501379"/>
              <a:gd name="connsiteY62" fmla="*/ 1114425 h 4429294"/>
              <a:gd name="connsiteX63" fmla="*/ 345269 w 4501379"/>
              <a:gd name="connsiteY63" fmla="*/ 1038225 h 4429294"/>
              <a:gd name="connsiteX64" fmla="*/ 364319 w 4501379"/>
              <a:gd name="connsiteY64" fmla="*/ 1009650 h 4429294"/>
              <a:gd name="connsiteX65" fmla="*/ 421469 w 4501379"/>
              <a:gd name="connsiteY65" fmla="*/ 904875 h 4429294"/>
              <a:gd name="connsiteX66" fmla="*/ 459569 w 4501379"/>
              <a:gd name="connsiteY66" fmla="*/ 857250 h 4429294"/>
              <a:gd name="connsiteX67" fmla="*/ 478619 w 4501379"/>
              <a:gd name="connsiteY67" fmla="*/ 828675 h 4429294"/>
              <a:gd name="connsiteX68" fmla="*/ 516719 w 4501379"/>
              <a:gd name="connsiteY68" fmla="*/ 800100 h 4429294"/>
              <a:gd name="connsiteX69" fmla="*/ 583394 w 4501379"/>
              <a:gd name="connsiteY69" fmla="*/ 733425 h 4429294"/>
              <a:gd name="connsiteX70" fmla="*/ 650069 w 4501379"/>
              <a:gd name="connsiteY70" fmla="*/ 676275 h 4429294"/>
              <a:gd name="connsiteX71" fmla="*/ 678644 w 4501379"/>
              <a:gd name="connsiteY71" fmla="*/ 657225 h 4429294"/>
              <a:gd name="connsiteX72" fmla="*/ 821519 w 4501379"/>
              <a:gd name="connsiteY72" fmla="*/ 533400 h 4429294"/>
              <a:gd name="connsiteX73" fmla="*/ 869144 w 4501379"/>
              <a:gd name="connsiteY73" fmla="*/ 504825 h 4429294"/>
              <a:gd name="connsiteX74" fmla="*/ 1148544 w 4501379"/>
              <a:gd name="connsiteY74" fmla="*/ 311150 h 4429294"/>
              <a:gd name="connsiteX75" fmla="*/ 1250144 w 4501379"/>
              <a:gd name="connsiteY75" fmla="*/ 285750 h 4429294"/>
              <a:gd name="connsiteX76" fmla="*/ 1393019 w 4501379"/>
              <a:gd name="connsiteY76" fmla="*/ 190500 h 4429294"/>
              <a:gd name="connsiteX77" fmla="*/ 1431119 w 4501379"/>
              <a:gd name="connsiteY77" fmla="*/ 161925 h 4429294"/>
              <a:gd name="connsiteX78" fmla="*/ 1507319 w 4501379"/>
              <a:gd name="connsiteY78" fmla="*/ 152400 h 4429294"/>
              <a:gd name="connsiteX79" fmla="*/ 1564469 w 4501379"/>
              <a:gd name="connsiteY79" fmla="*/ 142875 h 4429294"/>
              <a:gd name="connsiteX80" fmla="*/ 1697819 w 4501379"/>
              <a:gd name="connsiteY80" fmla="*/ 123825 h 4429294"/>
              <a:gd name="connsiteX81" fmla="*/ 1793069 w 4501379"/>
              <a:gd name="connsiteY81" fmla="*/ 114300 h 4429294"/>
              <a:gd name="connsiteX82" fmla="*/ 1840694 w 4501379"/>
              <a:gd name="connsiteY82" fmla="*/ 104775 h 4429294"/>
              <a:gd name="connsiteX83" fmla="*/ 1897844 w 4501379"/>
              <a:gd name="connsiteY83" fmla="*/ 95250 h 4429294"/>
              <a:gd name="connsiteX84" fmla="*/ 2012144 w 4501379"/>
              <a:gd name="connsiteY84" fmla="*/ 66675 h 4429294"/>
              <a:gd name="connsiteX85" fmla="*/ 2078819 w 4501379"/>
              <a:gd name="connsiteY85" fmla="*/ 47625 h 4429294"/>
              <a:gd name="connsiteX86" fmla="*/ 2145494 w 4501379"/>
              <a:gd name="connsiteY86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155144 w 4501379"/>
              <a:gd name="connsiteY4" fmla="*/ 190500 h 4429294"/>
              <a:gd name="connsiteX5" fmla="*/ 3221819 w 4501379"/>
              <a:gd name="connsiteY5" fmla="*/ 228600 h 4429294"/>
              <a:gd name="connsiteX6" fmla="*/ 3250394 w 4501379"/>
              <a:gd name="connsiteY6" fmla="*/ 238125 h 4429294"/>
              <a:gd name="connsiteX7" fmla="*/ 3278969 w 4501379"/>
              <a:gd name="connsiteY7" fmla="*/ 257175 h 4429294"/>
              <a:gd name="connsiteX8" fmla="*/ 3307544 w 4501379"/>
              <a:gd name="connsiteY8" fmla="*/ 266700 h 4429294"/>
              <a:gd name="connsiteX9" fmla="*/ 3336119 w 4501379"/>
              <a:gd name="connsiteY9" fmla="*/ 285750 h 4429294"/>
              <a:gd name="connsiteX10" fmla="*/ 3402794 w 4501379"/>
              <a:gd name="connsiteY10" fmla="*/ 323850 h 4429294"/>
              <a:gd name="connsiteX11" fmla="*/ 3450419 w 4501379"/>
              <a:gd name="connsiteY11" fmla="*/ 361950 h 4429294"/>
              <a:gd name="connsiteX12" fmla="*/ 3498044 w 4501379"/>
              <a:gd name="connsiteY12" fmla="*/ 390525 h 4429294"/>
              <a:gd name="connsiteX13" fmla="*/ 3612344 w 4501379"/>
              <a:gd name="connsiteY13" fmla="*/ 485775 h 4429294"/>
              <a:gd name="connsiteX14" fmla="*/ 3726644 w 4501379"/>
              <a:gd name="connsiteY14" fmla="*/ 542925 h 4429294"/>
              <a:gd name="connsiteX15" fmla="*/ 3793319 w 4501379"/>
              <a:gd name="connsiteY15" fmla="*/ 581025 h 4429294"/>
              <a:gd name="connsiteX16" fmla="*/ 4009219 w 4501379"/>
              <a:gd name="connsiteY16" fmla="*/ 819150 h 4429294"/>
              <a:gd name="connsiteX17" fmla="*/ 4145744 w 4501379"/>
              <a:gd name="connsiteY17" fmla="*/ 990600 h 4429294"/>
              <a:gd name="connsiteX18" fmla="*/ 4231469 w 4501379"/>
              <a:gd name="connsiteY18" fmla="*/ 1143000 h 4429294"/>
              <a:gd name="connsiteX19" fmla="*/ 4288619 w 4501379"/>
              <a:gd name="connsiteY19" fmla="*/ 1266825 h 4429294"/>
              <a:gd name="connsiteX20" fmla="*/ 4326719 w 4501379"/>
              <a:gd name="connsiteY20" fmla="*/ 1362075 h 4429294"/>
              <a:gd name="connsiteX21" fmla="*/ 4374344 w 4501379"/>
              <a:gd name="connsiteY21" fmla="*/ 1552575 h 4429294"/>
              <a:gd name="connsiteX22" fmla="*/ 4412444 w 4501379"/>
              <a:gd name="connsiteY22" fmla="*/ 1685925 h 4429294"/>
              <a:gd name="connsiteX23" fmla="*/ 4501344 w 4501379"/>
              <a:gd name="connsiteY23" fmla="*/ 2181225 h 4429294"/>
              <a:gd name="connsiteX24" fmla="*/ 4428319 w 4501379"/>
              <a:gd name="connsiteY24" fmla="*/ 2768600 h 4429294"/>
              <a:gd name="connsiteX25" fmla="*/ 4364819 w 4501379"/>
              <a:gd name="connsiteY25" fmla="*/ 2990850 h 4429294"/>
              <a:gd name="connsiteX26" fmla="*/ 4260044 w 4501379"/>
              <a:gd name="connsiteY26" fmla="*/ 3248025 h 4429294"/>
              <a:gd name="connsiteX27" fmla="*/ 4164794 w 4501379"/>
              <a:gd name="connsiteY27" fmla="*/ 3400425 h 4429294"/>
              <a:gd name="connsiteX28" fmla="*/ 4040969 w 4501379"/>
              <a:gd name="connsiteY28" fmla="*/ 3533775 h 4429294"/>
              <a:gd name="connsiteX29" fmla="*/ 3936194 w 4501379"/>
              <a:gd name="connsiteY29" fmla="*/ 3648075 h 4429294"/>
              <a:gd name="connsiteX30" fmla="*/ 3640919 w 4501379"/>
              <a:gd name="connsiteY30" fmla="*/ 3971925 h 4429294"/>
              <a:gd name="connsiteX31" fmla="*/ 3498044 w 4501379"/>
              <a:gd name="connsiteY31" fmla="*/ 4083050 h 4429294"/>
              <a:gd name="connsiteX32" fmla="*/ 3202769 w 4501379"/>
              <a:gd name="connsiteY32" fmla="*/ 4222750 h 4429294"/>
              <a:gd name="connsiteX33" fmla="*/ 3050369 w 4501379"/>
              <a:gd name="connsiteY33" fmla="*/ 4286250 h 4429294"/>
              <a:gd name="connsiteX34" fmla="*/ 2917019 w 4501379"/>
              <a:gd name="connsiteY34" fmla="*/ 4333875 h 4429294"/>
              <a:gd name="connsiteX35" fmla="*/ 2793194 w 4501379"/>
              <a:gd name="connsiteY35" fmla="*/ 4371975 h 4429294"/>
              <a:gd name="connsiteX36" fmla="*/ 2561419 w 4501379"/>
              <a:gd name="connsiteY36" fmla="*/ 4391025 h 4429294"/>
              <a:gd name="connsiteX37" fmla="*/ 2107394 w 4501379"/>
              <a:gd name="connsiteY37" fmla="*/ 4429125 h 4429294"/>
              <a:gd name="connsiteX38" fmla="*/ 1916894 w 4501379"/>
              <a:gd name="connsiteY38" fmla="*/ 4400550 h 4429294"/>
              <a:gd name="connsiteX39" fmla="*/ 1554944 w 4501379"/>
              <a:gd name="connsiteY39" fmla="*/ 4305300 h 4429294"/>
              <a:gd name="connsiteX40" fmla="*/ 1313644 w 4501379"/>
              <a:gd name="connsiteY40" fmla="*/ 4216400 h 4429294"/>
              <a:gd name="connsiteX41" fmla="*/ 1145369 w 4501379"/>
              <a:gd name="connsiteY41" fmla="*/ 4111625 h 4429294"/>
              <a:gd name="connsiteX42" fmla="*/ 926294 w 4501379"/>
              <a:gd name="connsiteY42" fmla="*/ 3968750 h 4429294"/>
              <a:gd name="connsiteX43" fmla="*/ 592919 w 4501379"/>
              <a:gd name="connsiteY43" fmla="*/ 3657600 h 4429294"/>
              <a:gd name="connsiteX44" fmla="*/ 446869 w 4501379"/>
              <a:gd name="connsiteY44" fmla="*/ 3470275 h 4429294"/>
              <a:gd name="connsiteX45" fmla="*/ 316694 w 4501379"/>
              <a:gd name="connsiteY45" fmla="*/ 3244850 h 4429294"/>
              <a:gd name="connsiteX46" fmla="*/ 164294 w 4501379"/>
              <a:gd name="connsiteY46" fmla="*/ 2892425 h 4429294"/>
              <a:gd name="connsiteX47" fmla="*/ 56344 w 4501379"/>
              <a:gd name="connsiteY47" fmla="*/ 2368550 h 4429294"/>
              <a:gd name="connsiteX48" fmla="*/ 2369 w 4501379"/>
              <a:gd name="connsiteY48" fmla="*/ 1905000 h 4429294"/>
              <a:gd name="connsiteX49" fmla="*/ 11894 w 4501379"/>
              <a:gd name="connsiteY49" fmla="*/ 1838325 h 4429294"/>
              <a:gd name="connsiteX50" fmla="*/ 30944 w 4501379"/>
              <a:gd name="connsiteY50" fmla="*/ 1781175 h 4429294"/>
              <a:gd name="connsiteX51" fmla="*/ 40469 w 4501379"/>
              <a:gd name="connsiteY51" fmla="*/ 1743075 h 4429294"/>
              <a:gd name="connsiteX52" fmla="*/ 59519 w 4501379"/>
              <a:gd name="connsiteY52" fmla="*/ 1685925 h 4429294"/>
              <a:gd name="connsiteX53" fmla="*/ 69044 w 4501379"/>
              <a:gd name="connsiteY53" fmla="*/ 1638300 h 4429294"/>
              <a:gd name="connsiteX54" fmla="*/ 88094 w 4501379"/>
              <a:gd name="connsiteY54" fmla="*/ 1590675 h 4429294"/>
              <a:gd name="connsiteX55" fmla="*/ 116669 w 4501379"/>
              <a:gd name="connsiteY55" fmla="*/ 1504950 h 4429294"/>
              <a:gd name="connsiteX56" fmla="*/ 135719 w 4501379"/>
              <a:gd name="connsiteY56" fmla="*/ 1419225 h 4429294"/>
              <a:gd name="connsiteX57" fmla="*/ 211919 w 4501379"/>
              <a:gd name="connsiteY57" fmla="*/ 1276350 h 4429294"/>
              <a:gd name="connsiteX58" fmla="*/ 221444 w 4501379"/>
              <a:gd name="connsiteY58" fmla="*/ 1247775 h 4429294"/>
              <a:gd name="connsiteX59" fmla="*/ 250019 w 4501379"/>
              <a:gd name="connsiteY59" fmla="*/ 1200150 h 4429294"/>
              <a:gd name="connsiteX60" fmla="*/ 269069 w 4501379"/>
              <a:gd name="connsiteY60" fmla="*/ 1152525 h 4429294"/>
              <a:gd name="connsiteX61" fmla="*/ 297644 w 4501379"/>
              <a:gd name="connsiteY61" fmla="*/ 1114425 h 4429294"/>
              <a:gd name="connsiteX62" fmla="*/ 345269 w 4501379"/>
              <a:gd name="connsiteY62" fmla="*/ 1038225 h 4429294"/>
              <a:gd name="connsiteX63" fmla="*/ 364319 w 4501379"/>
              <a:gd name="connsiteY63" fmla="*/ 1009650 h 4429294"/>
              <a:gd name="connsiteX64" fmla="*/ 421469 w 4501379"/>
              <a:gd name="connsiteY64" fmla="*/ 904875 h 4429294"/>
              <a:gd name="connsiteX65" fmla="*/ 459569 w 4501379"/>
              <a:gd name="connsiteY65" fmla="*/ 857250 h 4429294"/>
              <a:gd name="connsiteX66" fmla="*/ 478619 w 4501379"/>
              <a:gd name="connsiteY66" fmla="*/ 828675 h 4429294"/>
              <a:gd name="connsiteX67" fmla="*/ 516719 w 4501379"/>
              <a:gd name="connsiteY67" fmla="*/ 800100 h 4429294"/>
              <a:gd name="connsiteX68" fmla="*/ 583394 w 4501379"/>
              <a:gd name="connsiteY68" fmla="*/ 733425 h 4429294"/>
              <a:gd name="connsiteX69" fmla="*/ 650069 w 4501379"/>
              <a:gd name="connsiteY69" fmla="*/ 676275 h 4429294"/>
              <a:gd name="connsiteX70" fmla="*/ 678644 w 4501379"/>
              <a:gd name="connsiteY70" fmla="*/ 657225 h 4429294"/>
              <a:gd name="connsiteX71" fmla="*/ 821519 w 4501379"/>
              <a:gd name="connsiteY71" fmla="*/ 533400 h 4429294"/>
              <a:gd name="connsiteX72" fmla="*/ 869144 w 4501379"/>
              <a:gd name="connsiteY72" fmla="*/ 504825 h 4429294"/>
              <a:gd name="connsiteX73" fmla="*/ 1148544 w 4501379"/>
              <a:gd name="connsiteY73" fmla="*/ 311150 h 4429294"/>
              <a:gd name="connsiteX74" fmla="*/ 1250144 w 4501379"/>
              <a:gd name="connsiteY74" fmla="*/ 285750 h 4429294"/>
              <a:gd name="connsiteX75" fmla="*/ 1393019 w 4501379"/>
              <a:gd name="connsiteY75" fmla="*/ 190500 h 4429294"/>
              <a:gd name="connsiteX76" fmla="*/ 1431119 w 4501379"/>
              <a:gd name="connsiteY76" fmla="*/ 161925 h 4429294"/>
              <a:gd name="connsiteX77" fmla="*/ 1507319 w 4501379"/>
              <a:gd name="connsiteY77" fmla="*/ 152400 h 4429294"/>
              <a:gd name="connsiteX78" fmla="*/ 1564469 w 4501379"/>
              <a:gd name="connsiteY78" fmla="*/ 142875 h 4429294"/>
              <a:gd name="connsiteX79" fmla="*/ 1697819 w 4501379"/>
              <a:gd name="connsiteY79" fmla="*/ 123825 h 4429294"/>
              <a:gd name="connsiteX80" fmla="*/ 1793069 w 4501379"/>
              <a:gd name="connsiteY80" fmla="*/ 114300 h 4429294"/>
              <a:gd name="connsiteX81" fmla="*/ 1840694 w 4501379"/>
              <a:gd name="connsiteY81" fmla="*/ 104775 h 4429294"/>
              <a:gd name="connsiteX82" fmla="*/ 1897844 w 4501379"/>
              <a:gd name="connsiteY82" fmla="*/ 95250 h 4429294"/>
              <a:gd name="connsiteX83" fmla="*/ 2012144 w 4501379"/>
              <a:gd name="connsiteY83" fmla="*/ 66675 h 4429294"/>
              <a:gd name="connsiteX84" fmla="*/ 2078819 w 4501379"/>
              <a:gd name="connsiteY84" fmla="*/ 47625 h 4429294"/>
              <a:gd name="connsiteX85" fmla="*/ 2145494 w 4501379"/>
              <a:gd name="connsiteY85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278969 w 4501379"/>
              <a:gd name="connsiteY6" fmla="*/ 257175 h 4429294"/>
              <a:gd name="connsiteX7" fmla="*/ 3307544 w 4501379"/>
              <a:gd name="connsiteY7" fmla="*/ 266700 h 4429294"/>
              <a:gd name="connsiteX8" fmla="*/ 3336119 w 4501379"/>
              <a:gd name="connsiteY8" fmla="*/ 285750 h 4429294"/>
              <a:gd name="connsiteX9" fmla="*/ 3402794 w 4501379"/>
              <a:gd name="connsiteY9" fmla="*/ 323850 h 4429294"/>
              <a:gd name="connsiteX10" fmla="*/ 3450419 w 4501379"/>
              <a:gd name="connsiteY10" fmla="*/ 361950 h 4429294"/>
              <a:gd name="connsiteX11" fmla="*/ 3498044 w 4501379"/>
              <a:gd name="connsiteY11" fmla="*/ 390525 h 4429294"/>
              <a:gd name="connsiteX12" fmla="*/ 3612344 w 4501379"/>
              <a:gd name="connsiteY12" fmla="*/ 485775 h 4429294"/>
              <a:gd name="connsiteX13" fmla="*/ 3726644 w 4501379"/>
              <a:gd name="connsiteY13" fmla="*/ 542925 h 4429294"/>
              <a:gd name="connsiteX14" fmla="*/ 3793319 w 4501379"/>
              <a:gd name="connsiteY14" fmla="*/ 581025 h 4429294"/>
              <a:gd name="connsiteX15" fmla="*/ 4009219 w 4501379"/>
              <a:gd name="connsiteY15" fmla="*/ 819150 h 4429294"/>
              <a:gd name="connsiteX16" fmla="*/ 4145744 w 4501379"/>
              <a:gd name="connsiteY16" fmla="*/ 990600 h 4429294"/>
              <a:gd name="connsiteX17" fmla="*/ 4231469 w 4501379"/>
              <a:gd name="connsiteY17" fmla="*/ 1143000 h 4429294"/>
              <a:gd name="connsiteX18" fmla="*/ 4288619 w 4501379"/>
              <a:gd name="connsiteY18" fmla="*/ 1266825 h 4429294"/>
              <a:gd name="connsiteX19" fmla="*/ 4326719 w 4501379"/>
              <a:gd name="connsiteY19" fmla="*/ 1362075 h 4429294"/>
              <a:gd name="connsiteX20" fmla="*/ 4374344 w 4501379"/>
              <a:gd name="connsiteY20" fmla="*/ 1552575 h 4429294"/>
              <a:gd name="connsiteX21" fmla="*/ 4412444 w 4501379"/>
              <a:gd name="connsiteY21" fmla="*/ 1685925 h 4429294"/>
              <a:gd name="connsiteX22" fmla="*/ 4501344 w 4501379"/>
              <a:gd name="connsiteY22" fmla="*/ 2181225 h 4429294"/>
              <a:gd name="connsiteX23" fmla="*/ 4428319 w 4501379"/>
              <a:gd name="connsiteY23" fmla="*/ 2768600 h 4429294"/>
              <a:gd name="connsiteX24" fmla="*/ 4364819 w 4501379"/>
              <a:gd name="connsiteY24" fmla="*/ 2990850 h 4429294"/>
              <a:gd name="connsiteX25" fmla="*/ 4260044 w 4501379"/>
              <a:gd name="connsiteY25" fmla="*/ 3248025 h 4429294"/>
              <a:gd name="connsiteX26" fmla="*/ 4164794 w 4501379"/>
              <a:gd name="connsiteY26" fmla="*/ 3400425 h 4429294"/>
              <a:gd name="connsiteX27" fmla="*/ 4040969 w 4501379"/>
              <a:gd name="connsiteY27" fmla="*/ 3533775 h 4429294"/>
              <a:gd name="connsiteX28" fmla="*/ 3936194 w 4501379"/>
              <a:gd name="connsiteY28" fmla="*/ 3648075 h 4429294"/>
              <a:gd name="connsiteX29" fmla="*/ 3640919 w 4501379"/>
              <a:gd name="connsiteY29" fmla="*/ 3971925 h 4429294"/>
              <a:gd name="connsiteX30" fmla="*/ 3498044 w 4501379"/>
              <a:gd name="connsiteY30" fmla="*/ 4083050 h 4429294"/>
              <a:gd name="connsiteX31" fmla="*/ 3202769 w 4501379"/>
              <a:gd name="connsiteY31" fmla="*/ 4222750 h 4429294"/>
              <a:gd name="connsiteX32" fmla="*/ 3050369 w 4501379"/>
              <a:gd name="connsiteY32" fmla="*/ 4286250 h 4429294"/>
              <a:gd name="connsiteX33" fmla="*/ 2917019 w 4501379"/>
              <a:gd name="connsiteY33" fmla="*/ 4333875 h 4429294"/>
              <a:gd name="connsiteX34" fmla="*/ 2793194 w 4501379"/>
              <a:gd name="connsiteY34" fmla="*/ 4371975 h 4429294"/>
              <a:gd name="connsiteX35" fmla="*/ 2561419 w 4501379"/>
              <a:gd name="connsiteY35" fmla="*/ 4391025 h 4429294"/>
              <a:gd name="connsiteX36" fmla="*/ 2107394 w 4501379"/>
              <a:gd name="connsiteY36" fmla="*/ 4429125 h 4429294"/>
              <a:gd name="connsiteX37" fmla="*/ 1916894 w 4501379"/>
              <a:gd name="connsiteY37" fmla="*/ 4400550 h 4429294"/>
              <a:gd name="connsiteX38" fmla="*/ 1554944 w 4501379"/>
              <a:gd name="connsiteY38" fmla="*/ 4305300 h 4429294"/>
              <a:gd name="connsiteX39" fmla="*/ 1313644 w 4501379"/>
              <a:gd name="connsiteY39" fmla="*/ 4216400 h 4429294"/>
              <a:gd name="connsiteX40" fmla="*/ 1145369 w 4501379"/>
              <a:gd name="connsiteY40" fmla="*/ 4111625 h 4429294"/>
              <a:gd name="connsiteX41" fmla="*/ 926294 w 4501379"/>
              <a:gd name="connsiteY41" fmla="*/ 3968750 h 4429294"/>
              <a:gd name="connsiteX42" fmla="*/ 592919 w 4501379"/>
              <a:gd name="connsiteY42" fmla="*/ 3657600 h 4429294"/>
              <a:gd name="connsiteX43" fmla="*/ 446869 w 4501379"/>
              <a:gd name="connsiteY43" fmla="*/ 3470275 h 4429294"/>
              <a:gd name="connsiteX44" fmla="*/ 316694 w 4501379"/>
              <a:gd name="connsiteY44" fmla="*/ 3244850 h 4429294"/>
              <a:gd name="connsiteX45" fmla="*/ 164294 w 4501379"/>
              <a:gd name="connsiteY45" fmla="*/ 2892425 h 4429294"/>
              <a:gd name="connsiteX46" fmla="*/ 56344 w 4501379"/>
              <a:gd name="connsiteY46" fmla="*/ 2368550 h 4429294"/>
              <a:gd name="connsiteX47" fmla="*/ 2369 w 4501379"/>
              <a:gd name="connsiteY47" fmla="*/ 1905000 h 4429294"/>
              <a:gd name="connsiteX48" fmla="*/ 11894 w 4501379"/>
              <a:gd name="connsiteY48" fmla="*/ 1838325 h 4429294"/>
              <a:gd name="connsiteX49" fmla="*/ 30944 w 4501379"/>
              <a:gd name="connsiteY49" fmla="*/ 1781175 h 4429294"/>
              <a:gd name="connsiteX50" fmla="*/ 40469 w 4501379"/>
              <a:gd name="connsiteY50" fmla="*/ 1743075 h 4429294"/>
              <a:gd name="connsiteX51" fmla="*/ 59519 w 4501379"/>
              <a:gd name="connsiteY51" fmla="*/ 1685925 h 4429294"/>
              <a:gd name="connsiteX52" fmla="*/ 69044 w 4501379"/>
              <a:gd name="connsiteY52" fmla="*/ 1638300 h 4429294"/>
              <a:gd name="connsiteX53" fmla="*/ 88094 w 4501379"/>
              <a:gd name="connsiteY53" fmla="*/ 1590675 h 4429294"/>
              <a:gd name="connsiteX54" fmla="*/ 116669 w 4501379"/>
              <a:gd name="connsiteY54" fmla="*/ 1504950 h 4429294"/>
              <a:gd name="connsiteX55" fmla="*/ 135719 w 4501379"/>
              <a:gd name="connsiteY55" fmla="*/ 1419225 h 4429294"/>
              <a:gd name="connsiteX56" fmla="*/ 211919 w 4501379"/>
              <a:gd name="connsiteY56" fmla="*/ 1276350 h 4429294"/>
              <a:gd name="connsiteX57" fmla="*/ 221444 w 4501379"/>
              <a:gd name="connsiteY57" fmla="*/ 1247775 h 4429294"/>
              <a:gd name="connsiteX58" fmla="*/ 250019 w 4501379"/>
              <a:gd name="connsiteY58" fmla="*/ 1200150 h 4429294"/>
              <a:gd name="connsiteX59" fmla="*/ 269069 w 4501379"/>
              <a:gd name="connsiteY59" fmla="*/ 1152525 h 4429294"/>
              <a:gd name="connsiteX60" fmla="*/ 297644 w 4501379"/>
              <a:gd name="connsiteY60" fmla="*/ 1114425 h 4429294"/>
              <a:gd name="connsiteX61" fmla="*/ 345269 w 4501379"/>
              <a:gd name="connsiteY61" fmla="*/ 1038225 h 4429294"/>
              <a:gd name="connsiteX62" fmla="*/ 364319 w 4501379"/>
              <a:gd name="connsiteY62" fmla="*/ 1009650 h 4429294"/>
              <a:gd name="connsiteX63" fmla="*/ 421469 w 4501379"/>
              <a:gd name="connsiteY63" fmla="*/ 904875 h 4429294"/>
              <a:gd name="connsiteX64" fmla="*/ 459569 w 4501379"/>
              <a:gd name="connsiteY64" fmla="*/ 857250 h 4429294"/>
              <a:gd name="connsiteX65" fmla="*/ 478619 w 4501379"/>
              <a:gd name="connsiteY65" fmla="*/ 828675 h 4429294"/>
              <a:gd name="connsiteX66" fmla="*/ 516719 w 4501379"/>
              <a:gd name="connsiteY66" fmla="*/ 800100 h 4429294"/>
              <a:gd name="connsiteX67" fmla="*/ 583394 w 4501379"/>
              <a:gd name="connsiteY67" fmla="*/ 733425 h 4429294"/>
              <a:gd name="connsiteX68" fmla="*/ 650069 w 4501379"/>
              <a:gd name="connsiteY68" fmla="*/ 676275 h 4429294"/>
              <a:gd name="connsiteX69" fmla="*/ 678644 w 4501379"/>
              <a:gd name="connsiteY69" fmla="*/ 657225 h 4429294"/>
              <a:gd name="connsiteX70" fmla="*/ 821519 w 4501379"/>
              <a:gd name="connsiteY70" fmla="*/ 533400 h 4429294"/>
              <a:gd name="connsiteX71" fmla="*/ 869144 w 4501379"/>
              <a:gd name="connsiteY71" fmla="*/ 504825 h 4429294"/>
              <a:gd name="connsiteX72" fmla="*/ 1148544 w 4501379"/>
              <a:gd name="connsiteY72" fmla="*/ 311150 h 4429294"/>
              <a:gd name="connsiteX73" fmla="*/ 1250144 w 4501379"/>
              <a:gd name="connsiteY73" fmla="*/ 285750 h 4429294"/>
              <a:gd name="connsiteX74" fmla="*/ 1393019 w 4501379"/>
              <a:gd name="connsiteY74" fmla="*/ 190500 h 4429294"/>
              <a:gd name="connsiteX75" fmla="*/ 1431119 w 4501379"/>
              <a:gd name="connsiteY75" fmla="*/ 161925 h 4429294"/>
              <a:gd name="connsiteX76" fmla="*/ 1507319 w 4501379"/>
              <a:gd name="connsiteY76" fmla="*/ 152400 h 4429294"/>
              <a:gd name="connsiteX77" fmla="*/ 1564469 w 4501379"/>
              <a:gd name="connsiteY77" fmla="*/ 142875 h 4429294"/>
              <a:gd name="connsiteX78" fmla="*/ 1697819 w 4501379"/>
              <a:gd name="connsiteY78" fmla="*/ 123825 h 4429294"/>
              <a:gd name="connsiteX79" fmla="*/ 1793069 w 4501379"/>
              <a:gd name="connsiteY79" fmla="*/ 114300 h 4429294"/>
              <a:gd name="connsiteX80" fmla="*/ 1840694 w 4501379"/>
              <a:gd name="connsiteY80" fmla="*/ 104775 h 4429294"/>
              <a:gd name="connsiteX81" fmla="*/ 1897844 w 4501379"/>
              <a:gd name="connsiteY81" fmla="*/ 95250 h 4429294"/>
              <a:gd name="connsiteX82" fmla="*/ 2012144 w 4501379"/>
              <a:gd name="connsiteY82" fmla="*/ 66675 h 4429294"/>
              <a:gd name="connsiteX83" fmla="*/ 2078819 w 4501379"/>
              <a:gd name="connsiteY83" fmla="*/ 47625 h 4429294"/>
              <a:gd name="connsiteX84" fmla="*/ 2145494 w 4501379"/>
              <a:gd name="connsiteY84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307544 w 4501379"/>
              <a:gd name="connsiteY6" fmla="*/ 266700 h 4429294"/>
              <a:gd name="connsiteX7" fmla="*/ 3336119 w 4501379"/>
              <a:gd name="connsiteY7" fmla="*/ 285750 h 4429294"/>
              <a:gd name="connsiteX8" fmla="*/ 3402794 w 4501379"/>
              <a:gd name="connsiteY8" fmla="*/ 323850 h 4429294"/>
              <a:gd name="connsiteX9" fmla="*/ 3450419 w 4501379"/>
              <a:gd name="connsiteY9" fmla="*/ 361950 h 4429294"/>
              <a:gd name="connsiteX10" fmla="*/ 3498044 w 4501379"/>
              <a:gd name="connsiteY10" fmla="*/ 390525 h 4429294"/>
              <a:gd name="connsiteX11" fmla="*/ 3612344 w 4501379"/>
              <a:gd name="connsiteY11" fmla="*/ 485775 h 4429294"/>
              <a:gd name="connsiteX12" fmla="*/ 3726644 w 4501379"/>
              <a:gd name="connsiteY12" fmla="*/ 542925 h 4429294"/>
              <a:gd name="connsiteX13" fmla="*/ 3793319 w 4501379"/>
              <a:gd name="connsiteY13" fmla="*/ 581025 h 4429294"/>
              <a:gd name="connsiteX14" fmla="*/ 4009219 w 4501379"/>
              <a:gd name="connsiteY14" fmla="*/ 819150 h 4429294"/>
              <a:gd name="connsiteX15" fmla="*/ 4145744 w 4501379"/>
              <a:gd name="connsiteY15" fmla="*/ 990600 h 4429294"/>
              <a:gd name="connsiteX16" fmla="*/ 4231469 w 4501379"/>
              <a:gd name="connsiteY16" fmla="*/ 1143000 h 4429294"/>
              <a:gd name="connsiteX17" fmla="*/ 4288619 w 4501379"/>
              <a:gd name="connsiteY17" fmla="*/ 1266825 h 4429294"/>
              <a:gd name="connsiteX18" fmla="*/ 4326719 w 4501379"/>
              <a:gd name="connsiteY18" fmla="*/ 1362075 h 4429294"/>
              <a:gd name="connsiteX19" fmla="*/ 4374344 w 4501379"/>
              <a:gd name="connsiteY19" fmla="*/ 1552575 h 4429294"/>
              <a:gd name="connsiteX20" fmla="*/ 4412444 w 4501379"/>
              <a:gd name="connsiteY20" fmla="*/ 1685925 h 4429294"/>
              <a:gd name="connsiteX21" fmla="*/ 4501344 w 4501379"/>
              <a:gd name="connsiteY21" fmla="*/ 2181225 h 4429294"/>
              <a:gd name="connsiteX22" fmla="*/ 4428319 w 4501379"/>
              <a:gd name="connsiteY22" fmla="*/ 2768600 h 4429294"/>
              <a:gd name="connsiteX23" fmla="*/ 4364819 w 4501379"/>
              <a:gd name="connsiteY23" fmla="*/ 2990850 h 4429294"/>
              <a:gd name="connsiteX24" fmla="*/ 4260044 w 4501379"/>
              <a:gd name="connsiteY24" fmla="*/ 3248025 h 4429294"/>
              <a:gd name="connsiteX25" fmla="*/ 4164794 w 4501379"/>
              <a:gd name="connsiteY25" fmla="*/ 3400425 h 4429294"/>
              <a:gd name="connsiteX26" fmla="*/ 4040969 w 4501379"/>
              <a:gd name="connsiteY26" fmla="*/ 3533775 h 4429294"/>
              <a:gd name="connsiteX27" fmla="*/ 3936194 w 4501379"/>
              <a:gd name="connsiteY27" fmla="*/ 3648075 h 4429294"/>
              <a:gd name="connsiteX28" fmla="*/ 3640919 w 4501379"/>
              <a:gd name="connsiteY28" fmla="*/ 3971925 h 4429294"/>
              <a:gd name="connsiteX29" fmla="*/ 3498044 w 4501379"/>
              <a:gd name="connsiteY29" fmla="*/ 4083050 h 4429294"/>
              <a:gd name="connsiteX30" fmla="*/ 3202769 w 4501379"/>
              <a:gd name="connsiteY30" fmla="*/ 4222750 h 4429294"/>
              <a:gd name="connsiteX31" fmla="*/ 3050369 w 4501379"/>
              <a:gd name="connsiteY31" fmla="*/ 4286250 h 4429294"/>
              <a:gd name="connsiteX32" fmla="*/ 2917019 w 4501379"/>
              <a:gd name="connsiteY32" fmla="*/ 4333875 h 4429294"/>
              <a:gd name="connsiteX33" fmla="*/ 2793194 w 4501379"/>
              <a:gd name="connsiteY33" fmla="*/ 4371975 h 4429294"/>
              <a:gd name="connsiteX34" fmla="*/ 2561419 w 4501379"/>
              <a:gd name="connsiteY34" fmla="*/ 4391025 h 4429294"/>
              <a:gd name="connsiteX35" fmla="*/ 2107394 w 4501379"/>
              <a:gd name="connsiteY35" fmla="*/ 4429125 h 4429294"/>
              <a:gd name="connsiteX36" fmla="*/ 1916894 w 4501379"/>
              <a:gd name="connsiteY36" fmla="*/ 4400550 h 4429294"/>
              <a:gd name="connsiteX37" fmla="*/ 1554944 w 4501379"/>
              <a:gd name="connsiteY37" fmla="*/ 4305300 h 4429294"/>
              <a:gd name="connsiteX38" fmla="*/ 1313644 w 4501379"/>
              <a:gd name="connsiteY38" fmla="*/ 4216400 h 4429294"/>
              <a:gd name="connsiteX39" fmla="*/ 1145369 w 4501379"/>
              <a:gd name="connsiteY39" fmla="*/ 4111625 h 4429294"/>
              <a:gd name="connsiteX40" fmla="*/ 926294 w 4501379"/>
              <a:gd name="connsiteY40" fmla="*/ 3968750 h 4429294"/>
              <a:gd name="connsiteX41" fmla="*/ 592919 w 4501379"/>
              <a:gd name="connsiteY41" fmla="*/ 3657600 h 4429294"/>
              <a:gd name="connsiteX42" fmla="*/ 446869 w 4501379"/>
              <a:gd name="connsiteY42" fmla="*/ 3470275 h 4429294"/>
              <a:gd name="connsiteX43" fmla="*/ 316694 w 4501379"/>
              <a:gd name="connsiteY43" fmla="*/ 3244850 h 4429294"/>
              <a:gd name="connsiteX44" fmla="*/ 164294 w 4501379"/>
              <a:gd name="connsiteY44" fmla="*/ 2892425 h 4429294"/>
              <a:gd name="connsiteX45" fmla="*/ 56344 w 4501379"/>
              <a:gd name="connsiteY45" fmla="*/ 2368550 h 4429294"/>
              <a:gd name="connsiteX46" fmla="*/ 2369 w 4501379"/>
              <a:gd name="connsiteY46" fmla="*/ 1905000 h 4429294"/>
              <a:gd name="connsiteX47" fmla="*/ 11894 w 4501379"/>
              <a:gd name="connsiteY47" fmla="*/ 1838325 h 4429294"/>
              <a:gd name="connsiteX48" fmla="*/ 30944 w 4501379"/>
              <a:gd name="connsiteY48" fmla="*/ 1781175 h 4429294"/>
              <a:gd name="connsiteX49" fmla="*/ 40469 w 4501379"/>
              <a:gd name="connsiteY49" fmla="*/ 1743075 h 4429294"/>
              <a:gd name="connsiteX50" fmla="*/ 59519 w 4501379"/>
              <a:gd name="connsiteY50" fmla="*/ 1685925 h 4429294"/>
              <a:gd name="connsiteX51" fmla="*/ 69044 w 4501379"/>
              <a:gd name="connsiteY51" fmla="*/ 1638300 h 4429294"/>
              <a:gd name="connsiteX52" fmla="*/ 88094 w 4501379"/>
              <a:gd name="connsiteY52" fmla="*/ 1590675 h 4429294"/>
              <a:gd name="connsiteX53" fmla="*/ 116669 w 4501379"/>
              <a:gd name="connsiteY53" fmla="*/ 1504950 h 4429294"/>
              <a:gd name="connsiteX54" fmla="*/ 135719 w 4501379"/>
              <a:gd name="connsiteY54" fmla="*/ 1419225 h 4429294"/>
              <a:gd name="connsiteX55" fmla="*/ 211919 w 4501379"/>
              <a:gd name="connsiteY55" fmla="*/ 1276350 h 4429294"/>
              <a:gd name="connsiteX56" fmla="*/ 221444 w 4501379"/>
              <a:gd name="connsiteY56" fmla="*/ 1247775 h 4429294"/>
              <a:gd name="connsiteX57" fmla="*/ 250019 w 4501379"/>
              <a:gd name="connsiteY57" fmla="*/ 1200150 h 4429294"/>
              <a:gd name="connsiteX58" fmla="*/ 269069 w 4501379"/>
              <a:gd name="connsiteY58" fmla="*/ 1152525 h 4429294"/>
              <a:gd name="connsiteX59" fmla="*/ 297644 w 4501379"/>
              <a:gd name="connsiteY59" fmla="*/ 1114425 h 4429294"/>
              <a:gd name="connsiteX60" fmla="*/ 345269 w 4501379"/>
              <a:gd name="connsiteY60" fmla="*/ 1038225 h 4429294"/>
              <a:gd name="connsiteX61" fmla="*/ 364319 w 4501379"/>
              <a:gd name="connsiteY61" fmla="*/ 1009650 h 4429294"/>
              <a:gd name="connsiteX62" fmla="*/ 421469 w 4501379"/>
              <a:gd name="connsiteY62" fmla="*/ 904875 h 4429294"/>
              <a:gd name="connsiteX63" fmla="*/ 459569 w 4501379"/>
              <a:gd name="connsiteY63" fmla="*/ 857250 h 4429294"/>
              <a:gd name="connsiteX64" fmla="*/ 478619 w 4501379"/>
              <a:gd name="connsiteY64" fmla="*/ 828675 h 4429294"/>
              <a:gd name="connsiteX65" fmla="*/ 516719 w 4501379"/>
              <a:gd name="connsiteY65" fmla="*/ 800100 h 4429294"/>
              <a:gd name="connsiteX66" fmla="*/ 583394 w 4501379"/>
              <a:gd name="connsiteY66" fmla="*/ 733425 h 4429294"/>
              <a:gd name="connsiteX67" fmla="*/ 650069 w 4501379"/>
              <a:gd name="connsiteY67" fmla="*/ 676275 h 4429294"/>
              <a:gd name="connsiteX68" fmla="*/ 678644 w 4501379"/>
              <a:gd name="connsiteY68" fmla="*/ 657225 h 4429294"/>
              <a:gd name="connsiteX69" fmla="*/ 821519 w 4501379"/>
              <a:gd name="connsiteY69" fmla="*/ 533400 h 4429294"/>
              <a:gd name="connsiteX70" fmla="*/ 869144 w 4501379"/>
              <a:gd name="connsiteY70" fmla="*/ 504825 h 4429294"/>
              <a:gd name="connsiteX71" fmla="*/ 1148544 w 4501379"/>
              <a:gd name="connsiteY71" fmla="*/ 311150 h 4429294"/>
              <a:gd name="connsiteX72" fmla="*/ 1250144 w 4501379"/>
              <a:gd name="connsiteY72" fmla="*/ 285750 h 4429294"/>
              <a:gd name="connsiteX73" fmla="*/ 1393019 w 4501379"/>
              <a:gd name="connsiteY73" fmla="*/ 190500 h 4429294"/>
              <a:gd name="connsiteX74" fmla="*/ 1431119 w 4501379"/>
              <a:gd name="connsiteY74" fmla="*/ 161925 h 4429294"/>
              <a:gd name="connsiteX75" fmla="*/ 1507319 w 4501379"/>
              <a:gd name="connsiteY75" fmla="*/ 152400 h 4429294"/>
              <a:gd name="connsiteX76" fmla="*/ 1564469 w 4501379"/>
              <a:gd name="connsiteY76" fmla="*/ 142875 h 4429294"/>
              <a:gd name="connsiteX77" fmla="*/ 1697819 w 4501379"/>
              <a:gd name="connsiteY77" fmla="*/ 123825 h 4429294"/>
              <a:gd name="connsiteX78" fmla="*/ 1793069 w 4501379"/>
              <a:gd name="connsiteY78" fmla="*/ 114300 h 4429294"/>
              <a:gd name="connsiteX79" fmla="*/ 1840694 w 4501379"/>
              <a:gd name="connsiteY79" fmla="*/ 104775 h 4429294"/>
              <a:gd name="connsiteX80" fmla="*/ 1897844 w 4501379"/>
              <a:gd name="connsiteY80" fmla="*/ 95250 h 4429294"/>
              <a:gd name="connsiteX81" fmla="*/ 2012144 w 4501379"/>
              <a:gd name="connsiteY81" fmla="*/ 66675 h 4429294"/>
              <a:gd name="connsiteX82" fmla="*/ 2078819 w 4501379"/>
              <a:gd name="connsiteY82" fmla="*/ 47625 h 4429294"/>
              <a:gd name="connsiteX83" fmla="*/ 2145494 w 4501379"/>
              <a:gd name="connsiteY83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307544 w 4501379"/>
              <a:gd name="connsiteY6" fmla="*/ 266700 h 4429294"/>
              <a:gd name="connsiteX7" fmla="*/ 3402794 w 4501379"/>
              <a:gd name="connsiteY7" fmla="*/ 323850 h 4429294"/>
              <a:gd name="connsiteX8" fmla="*/ 3450419 w 4501379"/>
              <a:gd name="connsiteY8" fmla="*/ 361950 h 4429294"/>
              <a:gd name="connsiteX9" fmla="*/ 3498044 w 4501379"/>
              <a:gd name="connsiteY9" fmla="*/ 390525 h 4429294"/>
              <a:gd name="connsiteX10" fmla="*/ 3612344 w 4501379"/>
              <a:gd name="connsiteY10" fmla="*/ 485775 h 4429294"/>
              <a:gd name="connsiteX11" fmla="*/ 3726644 w 4501379"/>
              <a:gd name="connsiteY11" fmla="*/ 542925 h 4429294"/>
              <a:gd name="connsiteX12" fmla="*/ 3793319 w 4501379"/>
              <a:gd name="connsiteY12" fmla="*/ 581025 h 4429294"/>
              <a:gd name="connsiteX13" fmla="*/ 4009219 w 4501379"/>
              <a:gd name="connsiteY13" fmla="*/ 819150 h 4429294"/>
              <a:gd name="connsiteX14" fmla="*/ 4145744 w 4501379"/>
              <a:gd name="connsiteY14" fmla="*/ 990600 h 4429294"/>
              <a:gd name="connsiteX15" fmla="*/ 4231469 w 4501379"/>
              <a:gd name="connsiteY15" fmla="*/ 1143000 h 4429294"/>
              <a:gd name="connsiteX16" fmla="*/ 4288619 w 4501379"/>
              <a:gd name="connsiteY16" fmla="*/ 1266825 h 4429294"/>
              <a:gd name="connsiteX17" fmla="*/ 4326719 w 4501379"/>
              <a:gd name="connsiteY17" fmla="*/ 1362075 h 4429294"/>
              <a:gd name="connsiteX18" fmla="*/ 4374344 w 4501379"/>
              <a:gd name="connsiteY18" fmla="*/ 1552575 h 4429294"/>
              <a:gd name="connsiteX19" fmla="*/ 4412444 w 4501379"/>
              <a:gd name="connsiteY19" fmla="*/ 1685925 h 4429294"/>
              <a:gd name="connsiteX20" fmla="*/ 4501344 w 4501379"/>
              <a:gd name="connsiteY20" fmla="*/ 2181225 h 4429294"/>
              <a:gd name="connsiteX21" fmla="*/ 4428319 w 4501379"/>
              <a:gd name="connsiteY21" fmla="*/ 2768600 h 4429294"/>
              <a:gd name="connsiteX22" fmla="*/ 4364819 w 4501379"/>
              <a:gd name="connsiteY22" fmla="*/ 2990850 h 4429294"/>
              <a:gd name="connsiteX23" fmla="*/ 4260044 w 4501379"/>
              <a:gd name="connsiteY23" fmla="*/ 3248025 h 4429294"/>
              <a:gd name="connsiteX24" fmla="*/ 4164794 w 4501379"/>
              <a:gd name="connsiteY24" fmla="*/ 3400425 h 4429294"/>
              <a:gd name="connsiteX25" fmla="*/ 4040969 w 4501379"/>
              <a:gd name="connsiteY25" fmla="*/ 3533775 h 4429294"/>
              <a:gd name="connsiteX26" fmla="*/ 3936194 w 4501379"/>
              <a:gd name="connsiteY26" fmla="*/ 3648075 h 4429294"/>
              <a:gd name="connsiteX27" fmla="*/ 3640919 w 4501379"/>
              <a:gd name="connsiteY27" fmla="*/ 3971925 h 4429294"/>
              <a:gd name="connsiteX28" fmla="*/ 3498044 w 4501379"/>
              <a:gd name="connsiteY28" fmla="*/ 4083050 h 4429294"/>
              <a:gd name="connsiteX29" fmla="*/ 3202769 w 4501379"/>
              <a:gd name="connsiteY29" fmla="*/ 4222750 h 4429294"/>
              <a:gd name="connsiteX30" fmla="*/ 3050369 w 4501379"/>
              <a:gd name="connsiteY30" fmla="*/ 4286250 h 4429294"/>
              <a:gd name="connsiteX31" fmla="*/ 2917019 w 4501379"/>
              <a:gd name="connsiteY31" fmla="*/ 4333875 h 4429294"/>
              <a:gd name="connsiteX32" fmla="*/ 2793194 w 4501379"/>
              <a:gd name="connsiteY32" fmla="*/ 4371975 h 4429294"/>
              <a:gd name="connsiteX33" fmla="*/ 2561419 w 4501379"/>
              <a:gd name="connsiteY33" fmla="*/ 4391025 h 4429294"/>
              <a:gd name="connsiteX34" fmla="*/ 2107394 w 4501379"/>
              <a:gd name="connsiteY34" fmla="*/ 4429125 h 4429294"/>
              <a:gd name="connsiteX35" fmla="*/ 1916894 w 4501379"/>
              <a:gd name="connsiteY35" fmla="*/ 4400550 h 4429294"/>
              <a:gd name="connsiteX36" fmla="*/ 1554944 w 4501379"/>
              <a:gd name="connsiteY36" fmla="*/ 4305300 h 4429294"/>
              <a:gd name="connsiteX37" fmla="*/ 1313644 w 4501379"/>
              <a:gd name="connsiteY37" fmla="*/ 4216400 h 4429294"/>
              <a:gd name="connsiteX38" fmla="*/ 1145369 w 4501379"/>
              <a:gd name="connsiteY38" fmla="*/ 4111625 h 4429294"/>
              <a:gd name="connsiteX39" fmla="*/ 926294 w 4501379"/>
              <a:gd name="connsiteY39" fmla="*/ 3968750 h 4429294"/>
              <a:gd name="connsiteX40" fmla="*/ 592919 w 4501379"/>
              <a:gd name="connsiteY40" fmla="*/ 3657600 h 4429294"/>
              <a:gd name="connsiteX41" fmla="*/ 446869 w 4501379"/>
              <a:gd name="connsiteY41" fmla="*/ 3470275 h 4429294"/>
              <a:gd name="connsiteX42" fmla="*/ 316694 w 4501379"/>
              <a:gd name="connsiteY42" fmla="*/ 3244850 h 4429294"/>
              <a:gd name="connsiteX43" fmla="*/ 164294 w 4501379"/>
              <a:gd name="connsiteY43" fmla="*/ 2892425 h 4429294"/>
              <a:gd name="connsiteX44" fmla="*/ 56344 w 4501379"/>
              <a:gd name="connsiteY44" fmla="*/ 2368550 h 4429294"/>
              <a:gd name="connsiteX45" fmla="*/ 2369 w 4501379"/>
              <a:gd name="connsiteY45" fmla="*/ 1905000 h 4429294"/>
              <a:gd name="connsiteX46" fmla="*/ 11894 w 4501379"/>
              <a:gd name="connsiteY46" fmla="*/ 1838325 h 4429294"/>
              <a:gd name="connsiteX47" fmla="*/ 30944 w 4501379"/>
              <a:gd name="connsiteY47" fmla="*/ 1781175 h 4429294"/>
              <a:gd name="connsiteX48" fmla="*/ 40469 w 4501379"/>
              <a:gd name="connsiteY48" fmla="*/ 1743075 h 4429294"/>
              <a:gd name="connsiteX49" fmla="*/ 59519 w 4501379"/>
              <a:gd name="connsiteY49" fmla="*/ 1685925 h 4429294"/>
              <a:gd name="connsiteX50" fmla="*/ 69044 w 4501379"/>
              <a:gd name="connsiteY50" fmla="*/ 1638300 h 4429294"/>
              <a:gd name="connsiteX51" fmla="*/ 88094 w 4501379"/>
              <a:gd name="connsiteY51" fmla="*/ 1590675 h 4429294"/>
              <a:gd name="connsiteX52" fmla="*/ 116669 w 4501379"/>
              <a:gd name="connsiteY52" fmla="*/ 1504950 h 4429294"/>
              <a:gd name="connsiteX53" fmla="*/ 135719 w 4501379"/>
              <a:gd name="connsiteY53" fmla="*/ 1419225 h 4429294"/>
              <a:gd name="connsiteX54" fmla="*/ 211919 w 4501379"/>
              <a:gd name="connsiteY54" fmla="*/ 1276350 h 4429294"/>
              <a:gd name="connsiteX55" fmla="*/ 221444 w 4501379"/>
              <a:gd name="connsiteY55" fmla="*/ 1247775 h 4429294"/>
              <a:gd name="connsiteX56" fmla="*/ 250019 w 4501379"/>
              <a:gd name="connsiteY56" fmla="*/ 1200150 h 4429294"/>
              <a:gd name="connsiteX57" fmla="*/ 269069 w 4501379"/>
              <a:gd name="connsiteY57" fmla="*/ 1152525 h 4429294"/>
              <a:gd name="connsiteX58" fmla="*/ 297644 w 4501379"/>
              <a:gd name="connsiteY58" fmla="*/ 1114425 h 4429294"/>
              <a:gd name="connsiteX59" fmla="*/ 345269 w 4501379"/>
              <a:gd name="connsiteY59" fmla="*/ 1038225 h 4429294"/>
              <a:gd name="connsiteX60" fmla="*/ 364319 w 4501379"/>
              <a:gd name="connsiteY60" fmla="*/ 1009650 h 4429294"/>
              <a:gd name="connsiteX61" fmla="*/ 421469 w 4501379"/>
              <a:gd name="connsiteY61" fmla="*/ 904875 h 4429294"/>
              <a:gd name="connsiteX62" fmla="*/ 459569 w 4501379"/>
              <a:gd name="connsiteY62" fmla="*/ 857250 h 4429294"/>
              <a:gd name="connsiteX63" fmla="*/ 478619 w 4501379"/>
              <a:gd name="connsiteY63" fmla="*/ 828675 h 4429294"/>
              <a:gd name="connsiteX64" fmla="*/ 516719 w 4501379"/>
              <a:gd name="connsiteY64" fmla="*/ 800100 h 4429294"/>
              <a:gd name="connsiteX65" fmla="*/ 583394 w 4501379"/>
              <a:gd name="connsiteY65" fmla="*/ 733425 h 4429294"/>
              <a:gd name="connsiteX66" fmla="*/ 650069 w 4501379"/>
              <a:gd name="connsiteY66" fmla="*/ 676275 h 4429294"/>
              <a:gd name="connsiteX67" fmla="*/ 678644 w 4501379"/>
              <a:gd name="connsiteY67" fmla="*/ 657225 h 4429294"/>
              <a:gd name="connsiteX68" fmla="*/ 821519 w 4501379"/>
              <a:gd name="connsiteY68" fmla="*/ 533400 h 4429294"/>
              <a:gd name="connsiteX69" fmla="*/ 869144 w 4501379"/>
              <a:gd name="connsiteY69" fmla="*/ 504825 h 4429294"/>
              <a:gd name="connsiteX70" fmla="*/ 1148544 w 4501379"/>
              <a:gd name="connsiteY70" fmla="*/ 311150 h 4429294"/>
              <a:gd name="connsiteX71" fmla="*/ 1250144 w 4501379"/>
              <a:gd name="connsiteY71" fmla="*/ 285750 h 4429294"/>
              <a:gd name="connsiteX72" fmla="*/ 1393019 w 4501379"/>
              <a:gd name="connsiteY72" fmla="*/ 190500 h 4429294"/>
              <a:gd name="connsiteX73" fmla="*/ 1431119 w 4501379"/>
              <a:gd name="connsiteY73" fmla="*/ 161925 h 4429294"/>
              <a:gd name="connsiteX74" fmla="*/ 1507319 w 4501379"/>
              <a:gd name="connsiteY74" fmla="*/ 152400 h 4429294"/>
              <a:gd name="connsiteX75" fmla="*/ 1564469 w 4501379"/>
              <a:gd name="connsiteY75" fmla="*/ 142875 h 4429294"/>
              <a:gd name="connsiteX76" fmla="*/ 1697819 w 4501379"/>
              <a:gd name="connsiteY76" fmla="*/ 123825 h 4429294"/>
              <a:gd name="connsiteX77" fmla="*/ 1793069 w 4501379"/>
              <a:gd name="connsiteY77" fmla="*/ 114300 h 4429294"/>
              <a:gd name="connsiteX78" fmla="*/ 1840694 w 4501379"/>
              <a:gd name="connsiteY78" fmla="*/ 104775 h 4429294"/>
              <a:gd name="connsiteX79" fmla="*/ 1897844 w 4501379"/>
              <a:gd name="connsiteY79" fmla="*/ 95250 h 4429294"/>
              <a:gd name="connsiteX80" fmla="*/ 2012144 w 4501379"/>
              <a:gd name="connsiteY80" fmla="*/ 66675 h 4429294"/>
              <a:gd name="connsiteX81" fmla="*/ 2078819 w 4501379"/>
              <a:gd name="connsiteY81" fmla="*/ 47625 h 4429294"/>
              <a:gd name="connsiteX82" fmla="*/ 2145494 w 4501379"/>
              <a:gd name="connsiteY82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307544 w 4501379"/>
              <a:gd name="connsiteY5" fmla="*/ 266700 h 4429294"/>
              <a:gd name="connsiteX6" fmla="*/ 3402794 w 4501379"/>
              <a:gd name="connsiteY6" fmla="*/ 323850 h 4429294"/>
              <a:gd name="connsiteX7" fmla="*/ 3450419 w 4501379"/>
              <a:gd name="connsiteY7" fmla="*/ 361950 h 4429294"/>
              <a:gd name="connsiteX8" fmla="*/ 3498044 w 4501379"/>
              <a:gd name="connsiteY8" fmla="*/ 390525 h 4429294"/>
              <a:gd name="connsiteX9" fmla="*/ 3612344 w 4501379"/>
              <a:gd name="connsiteY9" fmla="*/ 485775 h 4429294"/>
              <a:gd name="connsiteX10" fmla="*/ 3726644 w 4501379"/>
              <a:gd name="connsiteY10" fmla="*/ 542925 h 4429294"/>
              <a:gd name="connsiteX11" fmla="*/ 3793319 w 4501379"/>
              <a:gd name="connsiteY11" fmla="*/ 581025 h 4429294"/>
              <a:gd name="connsiteX12" fmla="*/ 4009219 w 4501379"/>
              <a:gd name="connsiteY12" fmla="*/ 819150 h 4429294"/>
              <a:gd name="connsiteX13" fmla="*/ 4145744 w 4501379"/>
              <a:gd name="connsiteY13" fmla="*/ 990600 h 4429294"/>
              <a:gd name="connsiteX14" fmla="*/ 4231469 w 4501379"/>
              <a:gd name="connsiteY14" fmla="*/ 1143000 h 4429294"/>
              <a:gd name="connsiteX15" fmla="*/ 4288619 w 4501379"/>
              <a:gd name="connsiteY15" fmla="*/ 1266825 h 4429294"/>
              <a:gd name="connsiteX16" fmla="*/ 4326719 w 4501379"/>
              <a:gd name="connsiteY16" fmla="*/ 1362075 h 4429294"/>
              <a:gd name="connsiteX17" fmla="*/ 4374344 w 4501379"/>
              <a:gd name="connsiteY17" fmla="*/ 1552575 h 4429294"/>
              <a:gd name="connsiteX18" fmla="*/ 4412444 w 4501379"/>
              <a:gd name="connsiteY18" fmla="*/ 1685925 h 4429294"/>
              <a:gd name="connsiteX19" fmla="*/ 4501344 w 4501379"/>
              <a:gd name="connsiteY19" fmla="*/ 2181225 h 4429294"/>
              <a:gd name="connsiteX20" fmla="*/ 4428319 w 4501379"/>
              <a:gd name="connsiteY20" fmla="*/ 2768600 h 4429294"/>
              <a:gd name="connsiteX21" fmla="*/ 4364819 w 4501379"/>
              <a:gd name="connsiteY21" fmla="*/ 2990850 h 4429294"/>
              <a:gd name="connsiteX22" fmla="*/ 4260044 w 4501379"/>
              <a:gd name="connsiteY22" fmla="*/ 3248025 h 4429294"/>
              <a:gd name="connsiteX23" fmla="*/ 4164794 w 4501379"/>
              <a:gd name="connsiteY23" fmla="*/ 3400425 h 4429294"/>
              <a:gd name="connsiteX24" fmla="*/ 4040969 w 4501379"/>
              <a:gd name="connsiteY24" fmla="*/ 3533775 h 4429294"/>
              <a:gd name="connsiteX25" fmla="*/ 3936194 w 4501379"/>
              <a:gd name="connsiteY25" fmla="*/ 3648075 h 4429294"/>
              <a:gd name="connsiteX26" fmla="*/ 3640919 w 4501379"/>
              <a:gd name="connsiteY26" fmla="*/ 3971925 h 4429294"/>
              <a:gd name="connsiteX27" fmla="*/ 3498044 w 4501379"/>
              <a:gd name="connsiteY27" fmla="*/ 4083050 h 4429294"/>
              <a:gd name="connsiteX28" fmla="*/ 3202769 w 4501379"/>
              <a:gd name="connsiteY28" fmla="*/ 4222750 h 4429294"/>
              <a:gd name="connsiteX29" fmla="*/ 3050369 w 4501379"/>
              <a:gd name="connsiteY29" fmla="*/ 4286250 h 4429294"/>
              <a:gd name="connsiteX30" fmla="*/ 2917019 w 4501379"/>
              <a:gd name="connsiteY30" fmla="*/ 4333875 h 4429294"/>
              <a:gd name="connsiteX31" fmla="*/ 2793194 w 4501379"/>
              <a:gd name="connsiteY31" fmla="*/ 4371975 h 4429294"/>
              <a:gd name="connsiteX32" fmla="*/ 2561419 w 4501379"/>
              <a:gd name="connsiteY32" fmla="*/ 4391025 h 4429294"/>
              <a:gd name="connsiteX33" fmla="*/ 2107394 w 4501379"/>
              <a:gd name="connsiteY33" fmla="*/ 4429125 h 4429294"/>
              <a:gd name="connsiteX34" fmla="*/ 1916894 w 4501379"/>
              <a:gd name="connsiteY34" fmla="*/ 4400550 h 4429294"/>
              <a:gd name="connsiteX35" fmla="*/ 1554944 w 4501379"/>
              <a:gd name="connsiteY35" fmla="*/ 4305300 h 4429294"/>
              <a:gd name="connsiteX36" fmla="*/ 1313644 w 4501379"/>
              <a:gd name="connsiteY36" fmla="*/ 4216400 h 4429294"/>
              <a:gd name="connsiteX37" fmla="*/ 1145369 w 4501379"/>
              <a:gd name="connsiteY37" fmla="*/ 4111625 h 4429294"/>
              <a:gd name="connsiteX38" fmla="*/ 926294 w 4501379"/>
              <a:gd name="connsiteY38" fmla="*/ 3968750 h 4429294"/>
              <a:gd name="connsiteX39" fmla="*/ 592919 w 4501379"/>
              <a:gd name="connsiteY39" fmla="*/ 3657600 h 4429294"/>
              <a:gd name="connsiteX40" fmla="*/ 446869 w 4501379"/>
              <a:gd name="connsiteY40" fmla="*/ 3470275 h 4429294"/>
              <a:gd name="connsiteX41" fmla="*/ 316694 w 4501379"/>
              <a:gd name="connsiteY41" fmla="*/ 3244850 h 4429294"/>
              <a:gd name="connsiteX42" fmla="*/ 164294 w 4501379"/>
              <a:gd name="connsiteY42" fmla="*/ 2892425 h 4429294"/>
              <a:gd name="connsiteX43" fmla="*/ 56344 w 4501379"/>
              <a:gd name="connsiteY43" fmla="*/ 2368550 h 4429294"/>
              <a:gd name="connsiteX44" fmla="*/ 2369 w 4501379"/>
              <a:gd name="connsiteY44" fmla="*/ 1905000 h 4429294"/>
              <a:gd name="connsiteX45" fmla="*/ 11894 w 4501379"/>
              <a:gd name="connsiteY45" fmla="*/ 1838325 h 4429294"/>
              <a:gd name="connsiteX46" fmla="*/ 30944 w 4501379"/>
              <a:gd name="connsiteY46" fmla="*/ 1781175 h 4429294"/>
              <a:gd name="connsiteX47" fmla="*/ 40469 w 4501379"/>
              <a:gd name="connsiteY47" fmla="*/ 1743075 h 4429294"/>
              <a:gd name="connsiteX48" fmla="*/ 59519 w 4501379"/>
              <a:gd name="connsiteY48" fmla="*/ 1685925 h 4429294"/>
              <a:gd name="connsiteX49" fmla="*/ 69044 w 4501379"/>
              <a:gd name="connsiteY49" fmla="*/ 1638300 h 4429294"/>
              <a:gd name="connsiteX50" fmla="*/ 88094 w 4501379"/>
              <a:gd name="connsiteY50" fmla="*/ 1590675 h 4429294"/>
              <a:gd name="connsiteX51" fmla="*/ 116669 w 4501379"/>
              <a:gd name="connsiteY51" fmla="*/ 1504950 h 4429294"/>
              <a:gd name="connsiteX52" fmla="*/ 135719 w 4501379"/>
              <a:gd name="connsiteY52" fmla="*/ 1419225 h 4429294"/>
              <a:gd name="connsiteX53" fmla="*/ 211919 w 4501379"/>
              <a:gd name="connsiteY53" fmla="*/ 1276350 h 4429294"/>
              <a:gd name="connsiteX54" fmla="*/ 221444 w 4501379"/>
              <a:gd name="connsiteY54" fmla="*/ 1247775 h 4429294"/>
              <a:gd name="connsiteX55" fmla="*/ 250019 w 4501379"/>
              <a:gd name="connsiteY55" fmla="*/ 1200150 h 4429294"/>
              <a:gd name="connsiteX56" fmla="*/ 269069 w 4501379"/>
              <a:gd name="connsiteY56" fmla="*/ 1152525 h 4429294"/>
              <a:gd name="connsiteX57" fmla="*/ 297644 w 4501379"/>
              <a:gd name="connsiteY57" fmla="*/ 1114425 h 4429294"/>
              <a:gd name="connsiteX58" fmla="*/ 345269 w 4501379"/>
              <a:gd name="connsiteY58" fmla="*/ 1038225 h 4429294"/>
              <a:gd name="connsiteX59" fmla="*/ 364319 w 4501379"/>
              <a:gd name="connsiteY59" fmla="*/ 1009650 h 4429294"/>
              <a:gd name="connsiteX60" fmla="*/ 421469 w 4501379"/>
              <a:gd name="connsiteY60" fmla="*/ 904875 h 4429294"/>
              <a:gd name="connsiteX61" fmla="*/ 459569 w 4501379"/>
              <a:gd name="connsiteY61" fmla="*/ 857250 h 4429294"/>
              <a:gd name="connsiteX62" fmla="*/ 478619 w 4501379"/>
              <a:gd name="connsiteY62" fmla="*/ 828675 h 4429294"/>
              <a:gd name="connsiteX63" fmla="*/ 516719 w 4501379"/>
              <a:gd name="connsiteY63" fmla="*/ 800100 h 4429294"/>
              <a:gd name="connsiteX64" fmla="*/ 583394 w 4501379"/>
              <a:gd name="connsiteY64" fmla="*/ 733425 h 4429294"/>
              <a:gd name="connsiteX65" fmla="*/ 650069 w 4501379"/>
              <a:gd name="connsiteY65" fmla="*/ 676275 h 4429294"/>
              <a:gd name="connsiteX66" fmla="*/ 678644 w 4501379"/>
              <a:gd name="connsiteY66" fmla="*/ 657225 h 4429294"/>
              <a:gd name="connsiteX67" fmla="*/ 821519 w 4501379"/>
              <a:gd name="connsiteY67" fmla="*/ 533400 h 4429294"/>
              <a:gd name="connsiteX68" fmla="*/ 869144 w 4501379"/>
              <a:gd name="connsiteY68" fmla="*/ 504825 h 4429294"/>
              <a:gd name="connsiteX69" fmla="*/ 1148544 w 4501379"/>
              <a:gd name="connsiteY69" fmla="*/ 311150 h 4429294"/>
              <a:gd name="connsiteX70" fmla="*/ 1250144 w 4501379"/>
              <a:gd name="connsiteY70" fmla="*/ 285750 h 4429294"/>
              <a:gd name="connsiteX71" fmla="*/ 1393019 w 4501379"/>
              <a:gd name="connsiteY71" fmla="*/ 190500 h 4429294"/>
              <a:gd name="connsiteX72" fmla="*/ 1431119 w 4501379"/>
              <a:gd name="connsiteY72" fmla="*/ 161925 h 4429294"/>
              <a:gd name="connsiteX73" fmla="*/ 1507319 w 4501379"/>
              <a:gd name="connsiteY73" fmla="*/ 152400 h 4429294"/>
              <a:gd name="connsiteX74" fmla="*/ 1564469 w 4501379"/>
              <a:gd name="connsiteY74" fmla="*/ 142875 h 4429294"/>
              <a:gd name="connsiteX75" fmla="*/ 1697819 w 4501379"/>
              <a:gd name="connsiteY75" fmla="*/ 123825 h 4429294"/>
              <a:gd name="connsiteX76" fmla="*/ 1793069 w 4501379"/>
              <a:gd name="connsiteY76" fmla="*/ 114300 h 4429294"/>
              <a:gd name="connsiteX77" fmla="*/ 1840694 w 4501379"/>
              <a:gd name="connsiteY77" fmla="*/ 104775 h 4429294"/>
              <a:gd name="connsiteX78" fmla="*/ 1897844 w 4501379"/>
              <a:gd name="connsiteY78" fmla="*/ 95250 h 4429294"/>
              <a:gd name="connsiteX79" fmla="*/ 2012144 w 4501379"/>
              <a:gd name="connsiteY79" fmla="*/ 66675 h 4429294"/>
              <a:gd name="connsiteX80" fmla="*/ 2078819 w 4501379"/>
              <a:gd name="connsiteY80" fmla="*/ 47625 h 4429294"/>
              <a:gd name="connsiteX81" fmla="*/ 2145494 w 4501379"/>
              <a:gd name="connsiteY81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450419 w 4501379"/>
              <a:gd name="connsiteY6" fmla="*/ 361950 h 4429294"/>
              <a:gd name="connsiteX7" fmla="*/ 3498044 w 4501379"/>
              <a:gd name="connsiteY7" fmla="*/ 390525 h 4429294"/>
              <a:gd name="connsiteX8" fmla="*/ 3612344 w 4501379"/>
              <a:gd name="connsiteY8" fmla="*/ 485775 h 4429294"/>
              <a:gd name="connsiteX9" fmla="*/ 3726644 w 4501379"/>
              <a:gd name="connsiteY9" fmla="*/ 542925 h 4429294"/>
              <a:gd name="connsiteX10" fmla="*/ 3793319 w 4501379"/>
              <a:gd name="connsiteY10" fmla="*/ 581025 h 4429294"/>
              <a:gd name="connsiteX11" fmla="*/ 4009219 w 4501379"/>
              <a:gd name="connsiteY11" fmla="*/ 819150 h 4429294"/>
              <a:gd name="connsiteX12" fmla="*/ 4145744 w 4501379"/>
              <a:gd name="connsiteY12" fmla="*/ 990600 h 4429294"/>
              <a:gd name="connsiteX13" fmla="*/ 4231469 w 4501379"/>
              <a:gd name="connsiteY13" fmla="*/ 1143000 h 4429294"/>
              <a:gd name="connsiteX14" fmla="*/ 4288619 w 4501379"/>
              <a:gd name="connsiteY14" fmla="*/ 1266825 h 4429294"/>
              <a:gd name="connsiteX15" fmla="*/ 4326719 w 4501379"/>
              <a:gd name="connsiteY15" fmla="*/ 1362075 h 4429294"/>
              <a:gd name="connsiteX16" fmla="*/ 4374344 w 4501379"/>
              <a:gd name="connsiteY16" fmla="*/ 1552575 h 4429294"/>
              <a:gd name="connsiteX17" fmla="*/ 4412444 w 4501379"/>
              <a:gd name="connsiteY17" fmla="*/ 1685925 h 4429294"/>
              <a:gd name="connsiteX18" fmla="*/ 4501344 w 4501379"/>
              <a:gd name="connsiteY18" fmla="*/ 2181225 h 4429294"/>
              <a:gd name="connsiteX19" fmla="*/ 4428319 w 4501379"/>
              <a:gd name="connsiteY19" fmla="*/ 2768600 h 4429294"/>
              <a:gd name="connsiteX20" fmla="*/ 4364819 w 4501379"/>
              <a:gd name="connsiteY20" fmla="*/ 2990850 h 4429294"/>
              <a:gd name="connsiteX21" fmla="*/ 4260044 w 4501379"/>
              <a:gd name="connsiteY21" fmla="*/ 3248025 h 4429294"/>
              <a:gd name="connsiteX22" fmla="*/ 4164794 w 4501379"/>
              <a:gd name="connsiteY22" fmla="*/ 3400425 h 4429294"/>
              <a:gd name="connsiteX23" fmla="*/ 4040969 w 4501379"/>
              <a:gd name="connsiteY23" fmla="*/ 3533775 h 4429294"/>
              <a:gd name="connsiteX24" fmla="*/ 3936194 w 4501379"/>
              <a:gd name="connsiteY24" fmla="*/ 3648075 h 4429294"/>
              <a:gd name="connsiteX25" fmla="*/ 3640919 w 4501379"/>
              <a:gd name="connsiteY25" fmla="*/ 3971925 h 4429294"/>
              <a:gd name="connsiteX26" fmla="*/ 3498044 w 4501379"/>
              <a:gd name="connsiteY26" fmla="*/ 4083050 h 4429294"/>
              <a:gd name="connsiteX27" fmla="*/ 3202769 w 4501379"/>
              <a:gd name="connsiteY27" fmla="*/ 4222750 h 4429294"/>
              <a:gd name="connsiteX28" fmla="*/ 3050369 w 4501379"/>
              <a:gd name="connsiteY28" fmla="*/ 4286250 h 4429294"/>
              <a:gd name="connsiteX29" fmla="*/ 2917019 w 4501379"/>
              <a:gd name="connsiteY29" fmla="*/ 4333875 h 4429294"/>
              <a:gd name="connsiteX30" fmla="*/ 2793194 w 4501379"/>
              <a:gd name="connsiteY30" fmla="*/ 4371975 h 4429294"/>
              <a:gd name="connsiteX31" fmla="*/ 2561419 w 4501379"/>
              <a:gd name="connsiteY31" fmla="*/ 4391025 h 4429294"/>
              <a:gd name="connsiteX32" fmla="*/ 2107394 w 4501379"/>
              <a:gd name="connsiteY32" fmla="*/ 4429125 h 4429294"/>
              <a:gd name="connsiteX33" fmla="*/ 1916894 w 4501379"/>
              <a:gd name="connsiteY33" fmla="*/ 4400550 h 4429294"/>
              <a:gd name="connsiteX34" fmla="*/ 1554944 w 4501379"/>
              <a:gd name="connsiteY34" fmla="*/ 4305300 h 4429294"/>
              <a:gd name="connsiteX35" fmla="*/ 1313644 w 4501379"/>
              <a:gd name="connsiteY35" fmla="*/ 4216400 h 4429294"/>
              <a:gd name="connsiteX36" fmla="*/ 1145369 w 4501379"/>
              <a:gd name="connsiteY36" fmla="*/ 4111625 h 4429294"/>
              <a:gd name="connsiteX37" fmla="*/ 926294 w 4501379"/>
              <a:gd name="connsiteY37" fmla="*/ 3968750 h 4429294"/>
              <a:gd name="connsiteX38" fmla="*/ 592919 w 4501379"/>
              <a:gd name="connsiteY38" fmla="*/ 3657600 h 4429294"/>
              <a:gd name="connsiteX39" fmla="*/ 446869 w 4501379"/>
              <a:gd name="connsiteY39" fmla="*/ 3470275 h 4429294"/>
              <a:gd name="connsiteX40" fmla="*/ 316694 w 4501379"/>
              <a:gd name="connsiteY40" fmla="*/ 3244850 h 4429294"/>
              <a:gd name="connsiteX41" fmla="*/ 164294 w 4501379"/>
              <a:gd name="connsiteY41" fmla="*/ 2892425 h 4429294"/>
              <a:gd name="connsiteX42" fmla="*/ 56344 w 4501379"/>
              <a:gd name="connsiteY42" fmla="*/ 2368550 h 4429294"/>
              <a:gd name="connsiteX43" fmla="*/ 2369 w 4501379"/>
              <a:gd name="connsiteY43" fmla="*/ 1905000 h 4429294"/>
              <a:gd name="connsiteX44" fmla="*/ 11894 w 4501379"/>
              <a:gd name="connsiteY44" fmla="*/ 1838325 h 4429294"/>
              <a:gd name="connsiteX45" fmla="*/ 30944 w 4501379"/>
              <a:gd name="connsiteY45" fmla="*/ 1781175 h 4429294"/>
              <a:gd name="connsiteX46" fmla="*/ 40469 w 4501379"/>
              <a:gd name="connsiteY46" fmla="*/ 1743075 h 4429294"/>
              <a:gd name="connsiteX47" fmla="*/ 59519 w 4501379"/>
              <a:gd name="connsiteY47" fmla="*/ 1685925 h 4429294"/>
              <a:gd name="connsiteX48" fmla="*/ 69044 w 4501379"/>
              <a:gd name="connsiteY48" fmla="*/ 1638300 h 4429294"/>
              <a:gd name="connsiteX49" fmla="*/ 88094 w 4501379"/>
              <a:gd name="connsiteY49" fmla="*/ 1590675 h 4429294"/>
              <a:gd name="connsiteX50" fmla="*/ 116669 w 4501379"/>
              <a:gd name="connsiteY50" fmla="*/ 1504950 h 4429294"/>
              <a:gd name="connsiteX51" fmla="*/ 135719 w 4501379"/>
              <a:gd name="connsiteY51" fmla="*/ 1419225 h 4429294"/>
              <a:gd name="connsiteX52" fmla="*/ 211919 w 4501379"/>
              <a:gd name="connsiteY52" fmla="*/ 1276350 h 4429294"/>
              <a:gd name="connsiteX53" fmla="*/ 221444 w 4501379"/>
              <a:gd name="connsiteY53" fmla="*/ 1247775 h 4429294"/>
              <a:gd name="connsiteX54" fmla="*/ 250019 w 4501379"/>
              <a:gd name="connsiteY54" fmla="*/ 1200150 h 4429294"/>
              <a:gd name="connsiteX55" fmla="*/ 269069 w 4501379"/>
              <a:gd name="connsiteY55" fmla="*/ 1152525 h 4429294"/>
              <a:gd name="connsiteX56" fmla="*/ 297644 w 4501379"/>
              <a:gd name="connsiteY56" fmla="*/ 1114425 h 4429294"/>
              <a:gd name="connsiteX57" fmla="*/ 345269 w 4501379"/>
              <a:gd name="connsiteY57" fmla="*/ 1038225 h 4429294"/>
              <a:gd name="connsiteX58" fmla="*/ 364319 w 4501379"/>
              <a:gd name="connsiteY58" fmla="*/ 1009650 h 4429294"/>
              <a:gd name="connsiteX59" fmla="*/ 421469 w 4501379"/>
              <a:gd name="connsiteY59" fmla="*/ 904875 h 4429294"/>
              <a:gd name="connsiteX60" fmla="*/ 459569 w 4501379"/>
              <a:gd name="connsiteY60" fmla="*/ 857250 h 4429294"/>
              <a:gd name="connsiteX61" fmla="*/ 478619 w 4501379"/>
              <a:gd name="connsiteY61" fmla="*/ 828675 h 4429294"/>
              <a:gd name="connsiteX62" fmla="*/ 516719 w 4501379"/>
              <a:gd name="connsiteY62" fmla="*/ 800100 h 4429294"/>
              <a:gd name="connsiteX63" fmla="*/ 583394 w 4501379"/>
              <a:gd name="connsiteY63" fmla="*/ 733425 h 4429294"/>
              <a:gd name="connsiteX64" fmla="*/ 650069 w 4501379"/>
              <a:gd name="connsiteY64" fmla="*/ 676275 h 4429294"/>
              <a:gd name="connsiteX65" fmla="*/ 678644 w 4501379"/>
              <a:gd name="connsiteY65" fmla="*/ 657225 h 4429294"/>
              <a:gd name="connsiteX66" fmla="*/ 821519 w 4501379"/>
              <a:gd name="connsiteY66" fmla="*/ 533400 h 4429294"/>
              <a:gd name="connsiteX67" fmla="*/ 869144 w 4501379"/>
              <a:gd name="connsiteY67" fmla="*/ 504825 h 4429294"/>
              <a:gd name="connsiteX68" fmla="*/ 1148544 w 4501379"/>
              <a:gd name="connsiteY68" fmla="*/ 311150 h 4429294"/>
              <a:gd name="connsiteX69" fmla="*/ 1250144 w 4501379"/>
              <a:gd name="connsiteY69" fmla="*/ 285750 h 4429294"/>
              <a:gd name="connsiteX70" fmla="*/ 1393019 w 4501379"/>
              <a:gd name="connsiteY70" fmla="*/ 190500 h 4429294"/>
              <a:gd name="connsiteX71" fmla="*/ 1431119 w 4501379"/>
              <a:gd name="connsiteY71" fmla="*/ 161925 h 4429294"/>
              <a:gd name="connsiteX72" fmla="*/ 1507319 w 4501379"/>
              <a:gd name="connsiteY72" fmla="*/ 152400 h 4429294"/>
              <a:gd name="connsiteX73" fmla="*/ 1564469 w 4501379"/>
              <a:gd name="connsiteY73" fmla="*/ 142875 h 4429294"/>
              <a:gd name="connsiteX74" fmla="*/ 1697819 w 4501379"/>
              <a:gd name="connsiteY74" fmla="*/ 123825 h 4429294"/>
              <a:gd name="connsiteX75" fmla="*/ 1793069 w 4501379"/>
              <a:gd name="connsiteY75" fmla="*/ 114300 h 4429294"/>
              <a:gd name="connsiteX76" fmla="*/ 1840694 w 4501379"/>
              <a:gd name="connsiteY76" fmla="*/ 104775 h 4429294"/>
              <a:gd name="connsiteX77" fmla="*/ 1897844 w 4501379"/>
              <a:gd name="connsiteY77" fmla="*/ 95250 h 4429294"/>
              <a:gd name="connsiteX78" fmla="*/ 2012144 w 4501379"/>
              <a:gd name="connsiteY78" fmla="*/ 66675 h 4429294"/>
              <a:gd name="connsiteX79" fmla="*/ 2078819 w 4501379"/>
              <a:gd name="connsiteY79" fmla="*/ 47625 h 4429294"/>
              <a:gd name="connsiteX80" fmla="*/ 2145494 w 4501379"/>
              <a:gd name="connsiteY80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450419 w 4501379"/>
              <a:gd name="connsiteY6" fmla="*/ 361950 h 4429294"/>
              <a:gd name="connsiteX7" fmla="*/ 3612344 w 4501379"/>
              <a:gd name="connsiteY7" fmla="*/ 485775 h 4429294"/>
              <a:gd name="connsiteX8" fmla="*/ 3726644 w 4501379"/>
              <a:gd name="connsiteY8" fmla="*/ 542925 h 4429294"/>
              <a:gd name="connsiteX9" fmla="*/ 3793319 w 4501379"/>
              <a:gd name="connsiteY9" fmla="*/ 581025 h 4429294"/>
              <a:gd name="connsiteX10" fmla="*/ 4009219 w 4501379"/>
              <a:gd name="connsiteY10" fmla="*/ 819150 h 4429294"/>
              <a:gd name="connsiteX11" fmla="*/ 4145744 w 4501379"/>
              <a:gd name="connsiteY11" fmla="*/ 990600 h 4429294"/>
              <a:gd name="connsiteX12" fmla="*/ 4231469 w 4501379"/>
              <a:gd name="connsiteY12" fmla="*/ 1143000 h 4429294"/>
              <a:gd name="connsiteX13" fmla="*/ 4288619 w 4501379"/>
              <a:gd name="connsiteY13" fmla="*/ 1266825 h 4429294"/>
              <a:gd name="connsiteX14" fmla="*/ 4326719 w 4501379"/>
              <a:gd name="connsiteY14" fmla="*/ 1362075 h 4429294"/>
              <a:gd name="connsiteX15" fmla="*/ 4374344 w 4501379"/>
              <a:gd name="connsiteY15" fmla="*/ 1552575 h 4429294"/>
              <a:gd name="connsiteX16" fmla="*/ 4412444 w 4501379"/>
              <a:gd name="connsiteY16" fmla="*/ 1685925 h 4429294"/>
              <a:gd name="connsiteX17" fmla="*/ 4501344 w 4501379"/>
              <a:gd name="connsiteY17" fmla="*/ 2181225 h 4429294"/>
              <a:gd name="connsiteX18" fmla="*/ 4428319 w 4501379"/>
              <a:gd name="connsiteY18" fmla="*/ 2768600 h 4429294"/>
              <a:gd name="connsiteX19" fmla="*/ 4364819 w 4501379"/>
              <a:gd name="connsiteY19" fmla="*/ 2990850 h 4429294"/>
              <a:gd name="connsiteX20" fmla="*/ 4260044 w 4501379"/>
              <a:gd name="connsiteY20" fmla="*/ 3248025 h 4429294"/>
              <a:gd name="connsiteX21" fmla="*/ 4164794 w 4501379"/>
              <a:gd name="connsiteY21" fmla="*/ 3400425 h 4429294"/>
              <a:gd name="connsiteX22" fmla="*/ 4040969 w 4501379"/>
              <a:gd name="connsiteY22" fmla="*/ 3533775 h 4429294"/>
              <a:gd name="connsiteX23" fmla="*/ 3936194 w 4501379"/>
              <a:gd name="connsiteY23" fmla="*/ 3648075 h 4429294"/>
              <a:gd name="connsiteX24" fmla="*/ 3640919 w 4501379"/>
              <a:gd name="connsiteY24" fmla="*/ 3971925 h 4429294"/>
              <a:gd name="connsiteX25" fmla="*/ 3498044 w 4501379"/>
              <a:gd name="connsiteY25" fmla="*/ 4083050 h 4429294"/>
              <a:gd name="connsiteX26" fmla="*/ 3202769 w 4501379"/>
              <a:gd name="connsiteY26" fmla="*/ 4222750 h 4429294"/>
              <a:gd name="connsiteX27" fmla="*/ 3050369 w 4501379"/>
              <a:gd name="connsiteY27" fmla="*/ 4286250 h 4429294"/>
              <a:gd name="connsiteX28" fmla="*/ 2917019 w 4501379"/>
              <a:gd name="connsiteY28" fmla="*/ 4333875 h 4429294"/>
              <a:gd name="connsiteX29" fmla="*/ 2793194 w 4501379"/>
              <a:gd name="connsiteY29" fmla="*/ 4371975 h 4429294"/>
              <a:gd name="connsiteX30" fmla="*/ 2561419 w 4501379"/>
              <a:gd name="connsiteY30" fmla="*/ 4391025 h 4429294"/>
              <a:gd name="connsiteX31" fmla="*/ 2107394 w 4501379"/>
              <a:gd name="connsiteY31" fmla="*/ 4429125 h 4429294"/>
              <a:gd name="connsiteX32" fmla="*/ 1916894 w 4501379"/>
              <a:gd name="connsiteY32" fmla="*/ 4400550 h 4429294"/>
              <a:gd name="connsiteX33" fmla="*/ 1554944 w 4501379"/>
              <a:gd name="connsiteY33" fmla="*/ 4305300 h 4429294"/>
              <a:gd name="connsiteX34" fmla="*/ 1313644 w 4501379"/>
              <a:gd name="connsiteY34" fmla="*/ 4216400 h 4429294"/>
              <a:gd name="connsiteX35" fmla="*/ 1145369 w 4501379"/>
              <a:gd name="connsiteY35" fmla="*/ 4111625 h 4429294"/>
              <a:gd name="connsiteX36" fmla="*/ 926294 w 4501379"/>
              <a:gd name="connsiteY36" fmla="*/ 3968750 h 4429294"/>
              <a:gd name="connsiteX37" fmla="*/ 592919 w 4501379"/>
              <a:gd name="connsiteY37" fmla="*/ 3657600 h 4429294"/>
              <a:gd name="connsiteX38" fmla="*/ 446869 w 4501379"/>
              <a:gd name="connsiteY38" fmla="*/ 3470275 h 4429294"/>
              <a:gd name="connsiteX39" fmla="*/ 316694 w 4501379"/>
              <a:gd name="connsiteY39" fmla="*/ 3244850 h 4429294"/>
              <a:gd name="connsiteX40" fmla="*/ 164294 w 4501379"/>
              <a:gd name="connsiteY40" fmla="*/ 2892425 h 4429294"/>
              <a:gd name="connsiteX41" fmla="*/ 56344 w 4501379"/>
              <a:gd name="connsiteY41" fmla="*/ 2368550 h 4429294"/>
              <a:gd name="connsiteX42" fmla="*/ 2369 w 4501379"/>
              <a:gd name="connsiteY42" fmla="*/ 1905000 h 4429294"/>
              <a:gd name="connsiteX43" fmla="*/ 11894 w 4501379"/>
              <a:gd name="connsiteY43" fmla="*/ 1838325 h 4429294"/>
              <a:gd name="connsiteX44" fmla="*/ 30944 w 4501379"/>
              <a:gd name="connsiteY44" fmla="*/ 1781175 h 4429294"/>
              <a:gd name="connsiteX45" fmla="*/ 40469 w 4501379"/>
              <a:gd name="connsiteY45" fmla="*/ 1743075 h 4429294"/>
              <a:gd name="connsiteX46" fmla="*/ 59519 w 4501379"/>
              <a:gd name="connsiteY46" fmla="*/ 1685925 h 4429294"/>
              <a:gd name="connsiteX47" fmla="*/ 69044 w 4501379"/>
              <a:gd name="connsiteY47" fmla="*/ 1638300 h 4429294"/>
              <a:gd name="connsiteX48" fmla="*/ 88094 w 4501379"/>
              <a:gd name="connsiteY48" fmla="*/ 1590675 h 4429294"/>
              <a:gd name="connsiteX49" fmla="*/ 116669 w 4501379"/>
              <a:gd name="connsiteY49" fmla="*/ 1504950 h 4429294"/>
              <a:gd name="connsiteX50" fmla="*/ 135719 w 4501379"/>
              <a:gd name="connsiteY50" fmla="*/ 1419225 h 4429294"/>
              <a:gd name="connsiteX51" fmla="*/ 211919 w 4501379"/>
              <a:gd name="connsiteY51" fmla="*/ 1276350 h 4429294"/>
              <a:gd name="connsiteX52" fmla="*/ 221444 w 4501379"/>
              <a:gd name="connsiteY52" fmla="*/ 1247775 h 4429294"/>
              <a:gd name="connsiteX53" fmla="*/ 250019 w 4501379"/>
              <a:gd name="connsiteY53" fmla="*/ 1200150 h 4429294"/>
              <a:gd name="connsiteX54" fmla="*/ 269069 w 4501379"/>
              <a:gd name="connsiteY54" fmla="*/ 1152525 h 4429294"/>
              <a:gd name="connsiteX55" fmla="*/ 297644 w 4501379"/>
              <a:gd name="connsiteY55" fmla="*/ 1114425 h 4429294"/>
              <a:gd name="connsiteX56" fmla="*/ 345269 w 4501379"/>
              <a:gd name="connsiteY56" fmla="*/ 1038225 h 4429294"/>
              <a:gd name="connsiteX57" fmla="*/ 364319 w 4501379"/>
              <a:gd name="connsiteY57" fmla="*/ 1009650 h 4429294"/>
              <a:gd name="connsiteX58" fmla="*/ 421469 w 4501379"/>
              <a:gd name="connsiteY58" fmla="*/ 904875 h 4429294"/>
              <a:gd name="connsiteX59" fmla="*/ 459569 w 4501379"/>
              <a:gd name="connsiteY59" fmla="*/ 857250 h 4429294"/>
              <a:gd name="connsiteX60" fmla="*/ 478619 w 4501379"/>
              <a:gd name="connsiteY60" fmla="*/ 828675 h 4429294"/>
              <a:gd name="connsiteX61" fmla="*/ 516719 w 4501379"/>
              <a:gd name="connsiteY61" fmla="*/ 800100 h 4429294"/>
              <a:gd name="connsiteX62" fmla="*/ 583394 w 4501379"/>
              <a:gd name="connsiteY62" fmla="*/ 733425 h 4429294"/>
              <a:gd name="connsiteX63" fmla="*/ 650069 w 4501379"/>
              <a:gd name="connsiteY63" fmla="*/ 676275 h 4429294"/>
              <a:gd name="connsiteX64" fmla="*/ 678644 w 4501379"/>
              <a:gd name="connsiteY64" fmla="*/ 657225 h 4429294"/>
              <a:gd name="connsiteX65" fmla="*/ 821519 w 4501379"/>
              <a:gd name="connsiteY65" fmla="*/ 533400 h 4429294"/>
              <a:gd name="connsiteX66" fmla="*/ 869144 w 4501379"/>
              <a:gd name="connsiteY66" fmla="*/ 504825 h 4429294"/>
              <a:gd name="connsiteX67" fmla="*/ 1148544 w 4501379"/>
              <a:gd name="connsiteY67" fmla="*/ 311150 h 4429294"/>
              <a:gd name="connsiteX68" fmla="*/ 1250144 w 4501379"/>
              <a:gd name="connsiteY68" fmla="*/ 285750 h 4429294"/>
              <a:gd name="connsiteX69" fmla="*/ 1393019 w 4501379"/>
              <a:gd name="connsiteY69" fmla="*/ 190500 h 4429294"/>
              <a:gd name="connsiteX70" fmla="*/ 1431119 w 4501379"/>
              <a:gd name="connsiteY70" fmla="*/ 161925 h 4429294"/>
              <a:gd name="connsiteX71" fmla="*/ 1507319 w 4501379"/>
              <a:gd name="connsiteY71" fmla="*/ 152400 h 4429294"/>
              <a:gd name="connsiteX72" fmla="*/ 1564469 w 4501379"/>
              <a:gd name="connsiteY72" fmla="*/ 142875 h 4429294"/>
              <a:gd name="connsiteX73" fmla="*/ 1697819 w 4501379"/>
              <a:gd name="connsiteY73" fmla="*/ 123825 h 4429294"/>
              <a:gd name="connsiteX74" fmla="*/ 1793069 w 4501379"/>
              <a:gd name="connsiteY74" fmla="*/ 114300 h 4429294"/>
              <a:gd name="connsiteX75" fmla="*/ 1840694 w 4501379"/>
              <a:gd name="connsiteY75" fmla="*/ 104775 h 4429294"/>
              <a:gd name="connsiteX76" fmla="*/ 1897844 w 4501379"/>
              <a:gd name="connsiteY76" fmla="*/ 95250 h 4429294"/>
              <a:gd name="connsiteX77" fmla="*/ 2012144 w 4501379"/>
              <a:gd name="connsiteY77" fmla="*/ 66675 h 4429294"/>
              <a:gd name="connsiteX78" fmla="*/ 2078819 w 4501379"/>
              <a:gd name="connsiteY78" fmla="*/ 47625 h 4429294"/>
              <a:gd name="connsiteX79" fmla="*/ 2145494 w 4501379"/>
              <a:gd name="connsiteY79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612344 w 4501379"/>
              <a:gd name="connsiteY6" fmla="*/ 485775 h 4429294"/>
              <a:gd name="connsiteX7" fmla="*/ 3726644 w 4501379"/>
              <a:gd name="connsiteY7" fmla="*/ 542925 h 4429294"/>
              <a:gd name="connsiteX8" fmla="*/ 3793319 w 4501379"/>
              <a:gd name="connsiteY8" fmla="*/ 581025 h 4429294"/>
              <a:gd name="connsiteX9" fmla="*/ 4009219 w 4501379"/>
              <a:gd name="connsiteY9" fmla="*/ 819150 h 4429294"/>
              <a:gd name="connsiteX10" fmla="*/ 4145744 w 4501379"/>
              <a:gd name="connsiteY10" fmla="*/ 990600 h 4429294"/>
              <a:gd name="connsiteX11" fmla="*/ 4231469 w 4501379"/>
              <a:gd name="connsiteY11" fmla="*/ 1143000 h 4429294"/>
              <a:gd name="connsiteX12" fmla="*/ 4288619 w 4501379"/>
              <a:gd name="connsiteY12" fmla="*/ 1266825 h 4429294"/>
              <a:gd name="connsiteX13" fmla="*/ 4326719 w 4501379"/>
              <a:gd name="connsiteY13" fmla="*/ 1362075 h 4429294"/>
              <a:gd name="connsiteX14" fmla="*/ 4374344 w 4501379"/>
              <a:gd name="connsiteY14" fmla="*/ 1552575 h 4429294"/>
              <a:gd name="connsiteX15" fmla="*/ 4412444 w 4501379"/>
              <a:gd name="connsiteY15" fmla="*/ 1685925 h 4429294"/>
              <a:gd name="connsiteX16" fmla="*/ 4501344 w 4501379"/>
              <a:gd name="connsiteY16" fmla="*/ 2181225 h 4429294"/>
              <a:gd name="connsiteX17" fmla="*/ 4428319 w 4501379"/>
              <a:gd name="connsiteY17" fmla="*/ 2768600 h 4429294"/>
              <a:gd name="connsiteX18" fmla="*/ 4364819 w 4501379"/>
              <a:gd name="connsiteY18" fmla="*/ 2990850 h 4429294"/>
              <a:gd name="connsiteX19" fmla="*/ 4260044 w 4501379"/>
              <a:gd name="connsiteY19" fmla="*/ 3248025 h 4429294"/>
              <a:gd name="connsiteX20" fmla="*/ 4164794 w 4501379"/>
              <a:gd name="connsiteY20" fmla="*/ 3400425 h 4429294"/>
              <a:gd name="connsiteX21" fmla="*/ 4040969 w 4501379"/>
              <a:gd name="connsiteY21" fmla="*/ 3533775 h 4429294"/>
              <a:gd name="connsiteX22" fmla="*/ 3936194 w 4501379"/>
              <a:gd name="connsiteY22" fmla="*/ 3648075 h 4429294"/>
              <a:gd name="connsiteX23" fmla="*/ 3640919 w 4501379"/>
              <a:gd name="connsiteY23" fmla="*/ 3971925 h 4429294"/>
              <a:gd name="connsiteX24" fmla="*/ 3498044 w 4501379"/>
              <a:gd name="connsiteY24" fmla="*/ 4083050 h 4429294"/>
              <a:gd name="connsiteX25" fmla="*/ 3202769 w 4501379"/>
              <a:gd name="connsiteY25" fmla="*/ 4222750 h 4429294"/>
              <a:gd name="connsiteX26" fmla="*/ 3050369 w 4501379"/>
              <a:gd name="connsiteY26" fmla="*/ 4286250 h 4429294"/>
              <a:gd name="connsiteX27" fmla="*/ 2917019 w 4501379"/>
              <a:gd name="connsiteY27" fmla="*/ 4333875 h 4429294"/>
              <a:gd name="connsiteX28" fmla="*/ 2793194 w 4501379"/>
              <a:gd name="connsiteY28" fmla="*/ 4371975 h 4429294"/>
              <a:gd name="connsiteX29" fmla="*/ 2561419 w 4501379"/>
              <a:gd name="connsiteY29" fmla="*/ 4391025 h 4429294"/>
              <a:gd name="connsiteX30" fmla="*/ 2107394 w 4501379"/>
              <a:gd name="connsiteY30" fmla="*/ 4429125 h 4429294"/>
              <a:gd name="connsiteX31" fmla="*/ 1916894 w 4501379"/>
              <a:gd name="connsiteY31" fmla="*/ 4400550 h 4429294"/>
              <a:gd name="connsiteX32" fmla="*/ 1554944 w 4501379"/>
              <a:gd name="connsiteY32" fmla="*/ 4305300 h 4429294"/>
              <a:gd name="connsiteX33" fmla="*/ 1313644 w 4501379"/>
              <a:gd name="connsiteY33" fmla="*/ 4216400 h 4429294"/>
              <a:gd name="connsiteX34" fmla="*/ 1145369 w 4501379"/>
              <a:gd name="connsiteY34" fmla="*/ 4111625 h 4429294"/>
              <a:gd name="connsiteX35" fmla="*/ 926294 w 4501379"/>
              <a:gd name="connsiteY35" fmla="*/ 3968750 h 4429294"/>
              <a:gd name="connsiteX36" fmla="*/ 592919 w 4501379"/>
              <a:gd name="connsiteY36" fmla="*/ 3657600 h 4429294"/>
              <a:gd name="connsiteX37" fmla="*/ 446869 w 4501379"/>
              <a:gd name="connsiteY37" fmla="*/ 3470275 h 4429294"/>
              <a:gd name="connsiteX38" fmla="*/ 316694 w 4501379"/>
              <a:gd name="connsiteY38" fmla="*/ 3244850 h 4429294"/>
              <a:gd name="connsiteX39" fmla="*/ 164294 w 4501379"/>
              <a:gd name="connsiteY39" fmla="*/ 2892425 h 4429294"/>
              <a:gd name="connsiteX40" fmla="*/ 56344 w 4501379"/>
              <a:gd name="connsiteY40" fmla="*/ 2368550 h 4429294"/>
              <a:gd name="connsiteX41" fmla="*/ 2369 w 4501379"/>
              <a:gd name="connsiteY41" fmla="*/ 1905000 h 4429294"/>
              <a:gd name="connsiteX42" fmla="*/ 11894 w 4501379"/>
              <a:gd name="connsiteY42" fmla="*/ 1838325 h 4429294"/>
              <a:gd name="connsiteX43" fmla="*/ 30944 w 4501379"/>
              <a:gd name="connsiteY43" fmla="*/ 1781175 h 4429294"/>
              <a:gd name="connsiteX44" fmla="*/ 40469 w 4501379"/>
              <a:gd name="connsiteY44" fmla="*/ 1743075 h 4429294"/>
              <a:gd name="connsiteX45" fmla="*/ 59519 w 4501379"/>
              <a:gd name="connsiteY45" fmla="*/ 1685925 h 4429294"/>
              <a:gd name="connsiteX46" fmla="*/ 69044 w 4501379"/>
              <a:gd name="connsiteY46" fmla="*/ 1638300 h 4429294"/>
              <a:gd name="connsiteX47" fmla="*/ 88094 w 4501379"/>
              <a:gd name="connsiteY47" fmla="*/ 1590675 h 4429294"/>
              <a:gd name="connsiteX48" fmla="*/ 116669 w 4501379"/>
              <a:gd name="connsiteY48" fmla="*/ 1504950 h 4429294"/>
              <a:gd name="connsiteX49" fmla="*/ 135719 w 4501379"/>
              <a:gd name="connsiteY49" fmla="*/ 1419225 h 4429294"/>
              <a:gd name="connsiteX50" fmla="*/ 211919 w 4501379"/>
              <a:gd name="connsiteY50" fmla="*/ 1276350 h 4429294"/>
              <a:gd name="connsiteX51" fmla="*/ 221444 w 4501379"/>
              <a:gd name="connsiteY51" fmla="*/ 1247775 h 4429294"/>
              <a:gd name="connsiteX52" fmla="*/ 250019 w 4501379"/>
              <a:gd name="connsiteY52" fmla="*/ 1200150 h 4429294"/>
              <a:gd name="connsiteX53" fmla="*/ 269069 w 4501379"/>
              <a:gd name="connsiteY53" fmla="*/ 1152525 h 4429294"/>
              <a:gd name="connsiteX54" fmla="*/ 297644 w 4501379"/>
              <a:gd name="connsiteY54" fmla="*/ 1114425 h 4429294"/>
              <a:gd name="connsiteX55" fmla="*/ 345269 w 4501379"/>
              <a:gd name="connsiteY55" fmla="*/ 1038225 h 4429294"/>
              <a:gd name="connsiteX56" fmla="*/ 364319 w 4501379"/>
              <a:gd name="connsiteY56" fmla="*/ 1009650 h 4429294"/>
              <a:gd name="connsiteX57" fmla="*/ 421469 w 4501379"/>
              <a:gd name="connsiteY57" fmla="*/ 904875 h 4429294"/>
              <a:gd name="connsiteX58" fmla="*/ 459569 w 4501379"/>
              <a:gd name="connsiteY58" fmla="*/ 857250 h 4429294"/>
              <a:gd name="connsiteX59" fmla="*/ 478619 w 4501379"/>
              <a:gd name="connsiteY59" fmla="*/ 828675 h 4429294"/>
              <a:gd name="connsiteX60" fmla="*/ 516719 w 4501379"/>
              <a:gd name="connsiteY60" fmla="*/ 800100 h 4429294"/>
              <a:gd name="connsiteX61" fmla="*/ 583394 w 4501379"/>
              <a:gd name="connsiteY61" fmla="*/ 733425 h 4429294"/>
              <a:gd name="connsiteX62" fmla="*/ 650069 w 4501379"/>
              <a:gd name="connsiteY62" fmla="*/ 676275 h 4429294"/>
              <a:gd name="connsiteX63" fmla="*/ 678644 w 4501379"/>
              <a:gd name="connsiteY63" fmla="*/ 657225 h 4429294"/>
              <a:gd name="connsiteX64" fmla="*/ 821519 w 4501379"/>
              <a:gd name="connsiteY64" fmla="*/ 533400 h 4429294"/>
              <a:gd name="connsiteX65" fmla="*/ 869144 w 4501379"/>
              <a:gd name="connsiteY65" fmla="*/ 504825 h 4429294"/>
              <a:gd name="connsiteX66" fmla="*/ 1148544 w 4501379"/>
              <a:gd name="connsiteY66" fmla="*/ 311150 h 4429294"/>
              <a:gd name="connsiteX67" fmla="*/ 1250144 w 4501379"/>
              <a:gd name="connsiteY67" fmla="*/ 285750 h 4429294"/>
              <a:gd name="connsiteX68" fmla="*/ 1393019 w 4501379"/>
              <a:gd name="connsiteY68" fmla="*/ 190500 h 4429294"/>
              <a:gd name="connsiteX69" fmla="*/ 1431119 w 4501379"/>
              <a:gd name="connsiteY69" fmla="*/ 161925 h 4429294"/>
              <a:gd name="connsiteX70" fmla="*/ 1507319 w 4501379"/>
              <a:gd name="connsiteY70" fmla="*/ 152400 h 4429294"/>
              <a:gd name="connsiteX71" fmla="*/ 1564469 w 4501379"/>
              <a:gd name="connsiteY71" fmla="*/ 142875 h 4429294"/>
              <a:gd name="connsiteX72" fmla="*/ 1697819 w 4501379"/>
              <a:gd name="connsiteY72" fmla="*/ 123825 h 4429294"/>
              <a:gd name="connsiteX73" fmla="*/ 1793069 w 4501379"/>
              <a:gd name="connsiteY73" fmla="*/ 114300 h 4429294"/>
              <a:gd name="connsiteX74" fmla="*/ 1840694 w 4501379"/>
              <a:gd name="connsiteY74" fmla="*/ 104775 h 4429294"/>
              <a:gd name="connsiteX75" fmla="*/ 1897844 w 4501379"/>
              <a:gd name="connsiteY75" fmla="*/ 95250 h 4429294"/>
              <a:gd name="connsiteX76" fmla="*/ 2012144 w 4501379"/>
              <a:gd name="connsiteY76" fmla="*/ 66675 h 4429294"/>
              <a:gd name="connsiteX77" fmla="*/ 2078819 w 4501379"/>
              <a:gd name="connsiteY77" fmla="*/ 47625 h 4429294"/>
              <a:gd name="connsiteX78" fmla="*/ 2145494 w 4501379"/>
              <a:gd name="connsiteY7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612344 w 4501379"/>
              <a:gd name="connsiteY6" fmla="*/ 485775 h 4429294"/>
              <a:gd name="connsiteX7" fmla="*/ 3793319 w 4501379"/>
              <a:gd name="connsiteY7" fmla="*/ 581025 h 4429294"/>
              <a:gd name="connsiteX8" fmla="*/ 4009219 w 4501379"/>
              <a:gd name="connsiteY8" fmla="*/ 819150 h 4429294"/>
              <a:gd name="connsiteX9" fmla="*/ 4145744 w 4501379"/>
              <a:gd name="connsiteY9" fmla="*/ 990600 h 4429294"/>
              <a:gd name="connsiteX10" fmla="*/ 4231469 w 4501379"/>
              <a:gd name="connsiteY10" fmla="*/ 1143000 h 4429294"/>
              <a:gd name="connsiteX11" fmla="*/ 4288619 w 4501379"/>
              <a:gd name="connsiteY11" fmla="*/ 1266825 h 4429294"/>
              <a:gd name="connsiteX12" fmla="*/ 4326719 w 4501379"/>
              <a:gd name="connsiteY12" fmla="*/ 1362075 h 4429294"/>
              <a:gd name="connsiteX13" fmla="*/ 4374344 w 4501379"/>
              <a:gd name="connsiteY13" fmla="*/ 1552575 h 4429294"/>
              <a:gd name="connsiteX14" fmla="*/ 4412444 w 4501379"/>
              <a:gd name="connsiteY14" fmla="*/ 1685925 h 4429294"/>
              <a:gd name="connsiteX15" fmla="*/ 4501344 w 4501379"/>
              <a:gd name="connsiteY15" fmla="*/ 2181225 h 4429294"/>
              <a:gd name="connsiteX16" fmla="*/ 4428319 w 4501379"/>
              <a:gd name="connsiteY16" fmla="*/ 2768600 h 4429294"/>
              <a:gd name="connsiteX17" fmla="*/ 4364819 w 4501379"/>
              <a:gd name="connsiteY17" fmla="*/ 2990850 h 4429294"/>
              <a:gd name="connsiteX18" fmla="*/ 4260044 w 4501379"/>
              <a:gd name="connsiteY18" fmla="*/ 3248025 h 4429294"/>
              <a:gd name="connsiteX19" fmla="*/ 4164794 w 4501379"/>
              <a:gd name="connsiteY19" fmla="*/ 3400425 h 4429294"/>
              <a:gd name="connsiteX20" fmla="*/ 4040969 w 4501379"/>
              <a:gd name="connsiteY20" fmla="*/ 3533775 h 4429294"/>
              <a:gd name="connsiteX21" fmla="*/ 3936194 w 4501379"/>
              <a:gd name="connsiteY21" fmla="*/ 3648075 h 4429294"/>
              <a:gd name="connsiteX22" fmla="*/ 3640919 w 4501379"/>
              <a:gd name="connsiteY22" fmla="*/ 3971925 h 4429294"/>
              <a:gd name="connsiteX23" fmla="*/ 3498044 w 4501379"/>
              <a:gd name="connsiteY23" fmla="*/ 4083050 h 4429294"/>
              <a:gd name="connsiteX24" fmla="*/ 3202769 w 4501379"/>
              <a:gd name="connsiteY24" fmla="*/ 4222750 h 4429294"/>
              <a:gd name="connsiteX25" fmla="*/ 3050369 w 4501379"/>
              <a:gd name="connsiteY25" fmla="*/ 4286250 h 4429294"/>
              <a:gd name="connsiteX26" fmla="*/ 2917019 w 4501379"/>
              <a:gd name="connsiteY26" fmla="*/ 4333875 h 4429294"/>
              <a:gd name="connsiteX27" fmla="*/ 2793194 w 4501379"/>
              <a:gd name="connsiteY27" fmla="*/ 4371975 h 4429294"/>
              <a:gd name="connsiteX28" fmla="*/ 2561419 w 4501379"/>
              <a:gd name="connsiteY28" fmla="*/ 4391025 h 4429294"/>
              <a:gd name="connsiteX29" fmla="*/ 2107394 w 4501379"/>
              <a:gd name="connsiteY29" fmla="*/ 4429125 h 4429294"/>
              <a:gd name="connsiteX30" fmla="*/ 1916894 w 4501379"/>
              <a:gd name="connsiteY30" fmla="*/ 4400550 h 4429294"/>
              <a:gd name="connsiteX31" fmla="*/ 1554944 w 4501379"/>
              <a:gd name="connsiteY31" fmla="*/ 4305300 h 4429294"/>
              <a:gd name="connsiteX32" fmla="*/ 1313644 w 4501379"/>
              <a:gd name="connsiteY32" fmla="*/ 4216400 h 4429294"/>
              <a:gd name="connsiteX33" fmla="*/ 1145369 w 4501379"/>
              <a:gd name="connsiteY33" fmla="*/ 4111625 h 4429294"/>
              <a:gd name="connsiteX34" fmla="*/ 926294 w 4501379"/>
              <a:gd name="connsiteY34" fmla="*/ 3968750 h 4429294"/>
              <a:gd name="connsiteX35" fmla="*/ 592919 w 4501379"/>
              <a:gd name="connsiteY35" fmla="*/ 3657600 h 4429294"/>
              <a:gd name="connsiteX36" fmla="*/ 446869 w 4501379"/>
              <a:gd name="connsiteY36" fmla="*/ 3470275 h 4429294"/>
              <a:gd name="connsiteX37" fmla="*/ 316694 w 4501379"/>
              <a:gd name="connsiteY37" fmla="*/ 3244850 h 4429294"/>
              <a:gd name="connsiteX38" fmla="*/ 164294 w 4501379"/>
              <a:gd name="connsiteY38" fmla="*/ 2892425 h 4429294"/>
              <a:gd name="connsiteX39" fmla="*/ 56344 w 4501379"/>
              <a:gd name="connsiteY39" fmla="*/ 2368550 h 4429294"/>
              <a:gd name="connsiteX40" fmla="*/ 2369 w 4501379"/>
              <a:gd name="connsiteY40" fmla="*/ 1905000 h 4429294"/>
              <a:gd name="connsiteX41" fmla="*/ 11894 w 4501379"/>
              <a:gd name="connsiteY41" fmla="*/ 1838325 h 4429294"/>
              <a:gd name="connsiteX42" fmla="*/ 30944 w 4501379"/>
              <a:gd name="connsiteY42" fmla="*/ 1781175 h 4429294"/>
              <a:gd name="connsiteX43" fmla="*/ 40469 w 4501379"/>
              <a:gd name="connsiteY43" fmla="*/ 1743075 h 4429294"/>
              <a:gd name="connsiteX44" fmla="*/ 59519 w 4501379"/>
              <a:gd name="connsiteY44" fmla="*/ 1685925 h 4429294"/>
              <a:gd name="connsiteX45" fmla="*/ 69044 w 4501379"/>
              <a:gd name="connsiteY45" fmla="*/ 1638300 h 4429294"/>
              <a:gd name="connsiteX46" fmla="*/ 88094 w 4501379"/>
              <a:gd name="connsiteY46" fmla="*/ 1590675 h 4429294"/>
              <a:gd name="connsiteX47" fmla="*/ 116669 w 4501379"/>
              <a:gd name="connsiteY47" fmla="*/ 1504950 h 4429294"/>
              <a:gd name="connsiteX48" fmla="*/ 135719 w 4501379"/>
              <a:gd name="connsiteY48" fmla="*/ 1419225 h 4429294"/>
              <a:gd name="connsiteX49" fmla="*/ 211919 w 4501379"/>
              <a:gd name="connsiteY49" fmla="*/ 1276350 h 4429294"/>
              <a:gd name="connsiteX50" fmla="*/ 221444 w 4501379"/>
              <a:gd name="connsiteY50" fmla="*/ 1247775 h 4429294"/>
              <a:gd name="connsiteX51" fmla="*/ 250019 w 4501379"/>
              <a:gd name="connsiteY51" fmla="*/ 1200150 h 4429294"/>
              <a:gd name="connsiteX52" fmla="*/ 269069 w 4501379"/>
              <a:gd name="connsiteY52" fmla="*/ 1152525 h 4429294"/>
              <a:gd name="connsiteX53" fmla="*/ 297644 w 4501379"/>
              <a:gd name="connsiteY53" fmla="*/ 1114425 h 4429294"/>
              <a:gd name="connsiteX54" fmla="*/ 345269 w 4501379"/>
              <a:gd name="connsiteY54" fmla="*/ 1038225 h 4429294"/>
              <a:gd name="connsiteX55" fmla="*/ 364319 w 4501379"/>
              <a:gd name="connsiteY55" fmla="*/ 1009650 h 4429294"/>
              <a:gd name="connsiteX56" fmla="*/ 421469 w 4501379"/>
              <a:gd name="connsiteY56" fmla="*/ 904875 h 4429294"/>
              <a:gd name="connsiteX57" fmla="*/ 459569 w 4501379"/>
              <a:gd name="connsiteY57" fmla="*/ 857250 h 4429294"/>
              <a:gd name="connsiteX58" fmla="*/ 478619 w 4501379"/>
              <a:gd name="connsiteY58" fmla="*/ 828675 h 4429294"/>
              <a:gd name="connsiteX59" fmla="*/ 516719 w 4501379"/>
              <a:gd name="connsiteY59" fmla="*/ 800100 h 4429294"/>
              <a:gd name="connsiteX60" fmla="*/ 583394 w 4501379"/>
              <a:gd name="connsiteY60" fmla="*/ 733425 h 4429294"/>
              <a:gd name="connsiteX61" fmla="*/ 650069 w 4501379"/>
              <a:gd name="connsiteY61" fmla="*/ 676275 h 4429294"/>
              <a:gd name="connsiteX62" fmla="*/ 678644 w 4501379"/>
              <a:gd name="connsiteY62" fmla="*/ 657225 h 4429294"/>
              <a:gd name="connsiteX63" fmla="*/ 821519 w 4501379"/>
              <a:gd name="connsiteY63" fmla="*/ 533400 h 4429294"/>
              <a:gd name="connsiteX64" fmla="*/ 869144 w 4501379"/>
              <a:gd name="connsiteY64" fmla="*/ 504825 h 4429294"/>
              <a:gd name="connsiteX65" fmla="*/ 1148544 w 4501379"/>
              <a:gd name="connsiteY65" fmla="*/ 311150 h 4429294"/>
              <a:gd name="connsiteX66" fmla="*/ 1250144 w 4501379"/>
              <a:gd name="connsiteY66" fmla="*/ 285750 h 4429294"/>
              <a:gd name="connsiteX67" fmla="*/ 1393019 w 4501379"/>
              <a:gd name="connsiteY67" fmla="*/ 190500 h 4429294"/>
              <a:gd name="connsiteX68" fmla="*/ 1431119 w 4501379"/>
              <a:gd name="connsiteY68" fmla="*/ 161925 h 4429294"/>
              <a:gd name="connsiteX69" fmla="*/ 1507319 w 4501379"/>
              <a:gd name="connsiteY69" fmla="*/ 152400 h 4429294"/>
              <a:gd name="connsiteX70" fmla="*/ 1564469 w 4501379"/>
              <a:gd name="connsiteY70" fmla="*/ 142875 h 4429294"/>
              <a:gd name="connsiteX71" fmla="*/ 1697819 w 4501379"/>
              <a:gd name="connsiteY71" fmla="*/ 123825 h 4429294"/>
              <a:gd name="connsiteX72" fmla="*/ 1793069 w 4501379"/>
              <a:gd name="connsiteY72" fmla="*/ 114300 h 4429294"/>
              <a:gd name="connsiteX73" fmla="*/ 1840694 w 4501379"/>
              <a:gd name="connsiteY73" fmla="*/ 104775 h 4429294"/>
              <a:gd name="connsiteX74" fmla="*/ 1897844 w 4501379"/>
              <a:gd name="connsiteY74" fmla="*/ 95250 h 4429294"/>
              <a:gd name="connsiteX75" fmla="*/ 2012144 w 4501379"/>
              <a:gd name="connsiteY75" fmla="*/ 66675 h 4429294"/>
              <a:gd name="connsiteX76" fmla="*/ 2078819 w 4501379"/>
              <a:gd name="connsiteY76" fmla="*/ 47625 h 4429294"/>
              <a:gd name="connsiteX77" fmla="*/ 2145494 w 4501379"/>
              <a:gd name="connsiteY7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393019 w 4501379"/>
              <a:gd name="connsiteY66" fmla="*/ 190500 h 4429294"/>
              <a:gd name="connsiteX67" fmla="*/ 1431119 w 4501379"/>
              <a:gd name="connsiteY67" fmla="*/ 161925 h 4429294"/>
              <a:gd name="connsiteX68" fmla="*/ 1507319 w 4501379"/>
              <a:gd name="connsiteY68" fmla="*/ 152400 h 4429294"/>
              <a:gd name="connsiteX69" fmla="*/ 1564469 w 4501379"/>
              <a:gd name="connsiteY69" fmla="*/ 142875 h 4429294"/>
              <a:gd name="connsiteX70" fmla="*/ 1697819 w 4501379"/>
              <a:gd name="connsiteY70" fmla="*/ 123825 h 4429294"/>
              <a:gd name="connsiteX71" fmla="*/ 1793069 w 4501379"/>
              <a:gd name="connsiteY71" fmla="*/ 114300 h 4429294"/>
              <a:gd name="connsiteX72" fmla="*/ 1840694 w 4501379"/>
              <a:gd name="connsiteY72" fmla="*/ 104775 h 4429294"/>
              <a:gd name="connsiteX73" fmla="*/ 1897844 w 4501379"/>
              <a:gd name="connsiteY73" fmla="*/ 95250 h 4429294"/>
              <a:gd name="connsiteX74" fmla="*/ 2012144 w 4501379"/>
              <a:gd name="connsiteY74" fmla="*/ 66675 h 4429294"/>
              <a:gd name="connsiteX75" fmla="*/ 2078819 w 4501379"/>
              <a:gd name="connsiteY75" fmla="*/ 47625 h 4429294"/>
              <a:gd name="connsiteX76" fmla="*/ 2145494 w 4501379"/>
              <a:gd name="connsiteY76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431119 w 4501379"/>
              <a:gd name="connsiteY66" fmla="*/ 161925 h 4429294"/>
              <a:gd name="connsiteX67" fmla="*/ 1507319 w 4501379"/>
              <a:gd name="connsiteY67" fmla="*/ 152400 h 4429294"/>
              <a:gd name="connsiteX68" fmla="*/ 1564469 w 4501379"/>
              <a:gd name="connsiteY68" fmla="*/ 142875 h 4429294"/>
              <a:gd name="connsiteX69" fmla="*/ 1697819 w 4501379"/>
              <a:gd name="connsiteY69" fmla="*/ 123825 h 4429294"/>
              <a:gd name="connsiteX70" fmla="*/ 1793069 w 4501379"/>
              <a:gd name="connsiteY70" fmla="*/ 114300 h 4429294"/>
              <a:gd name="connsiteX71" fmla="*/ 1840694 w 4501379"/>
              <a:gd name="connsiteY71" fmla="*/ 104775 h 4429294"/>
              <a:gd name="connsiteX72" fmla="*/ 1897844 w 4501379"/>
              <a:gd name="connsiteY72" fmla="*/ 95250 h 4429294"/>
              <a:gd name="connsiteX73" fmla="*/ 2012144 w 4501379"/>
              <a:gd name="connsiteY73" fmla="*/ 66675 h 4429294"/>
              <a:gd name="connsiteX74" fmla="*/ 2078819 w 4501379"/>
              <a:gd name="connsiteY74" fmla="*/ 47625 h 4429294"/>
              <a:gd name="connsiteX75" fmla="*/ 2145494 w 4501379"/>
              <a:gd name="connsiteY75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507319 w 4501379"/>
              <a:gd name="connsiteY66" fmla="*/ 152400 h 4429294"/>
              <a:gd name="connsiteX67" fmla="*/ 1564469 w 4501379"/>
              <a:gd name="connsiteY67" fmla="*/ 142875 h 4429294"/>
              <a:gd name="connsiteX68" fmla="*/ 1697819 w 4501379"/>
              <a:gd name="connsiteY68" fmla="*/ 123825 h 4429294"/>
              <a:gd name="connsiteX69" fmla="*/ 1793069 w 4501379"/>
              <a:gd name="connsiteY69" fmla="*/ 114300 h 4429294"/>
              <a:gd name="connsiteX70" fmla="*/ 1840694 w 4501379"/>
              <a:gd name="connsiteY70" fmla="*/ 104775 h 4429294"/>
              <a:gd name="connsiteX71" fmla="*/ 1897844 w 4501379"/>
              <a:gd name="connsiteY71" fmla="*/ 95250 h 4429294"/>
              <a:gd name="connsiteX72" fmla="*/ 2012144 w 4501379"/>
              <a:gd name="connsiteY72" fmla="*/ 66675 h 4429294"/>
              <a:gd name="connsiteX73" fmla="*/ 2078819 w 4501379"/>
              <a:gd name="connsiteY73" fmla="*/ 47625 h 4429294"/>
              <a:gd name="connsiteX74" fmla="*/ 2145494 w 4501379"/>
              <a:gd name="connsiteY74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697819 w 4501379"/>
              <a:gd name="connsiteY67" fmla="*/ 123825 h 4429294"/>
              <a:gd name="connsiteX68" fmla="*/ 1793069 w 4501379"/>
              <a:gd name="connsiteY68" fmla="*/ 114300 h 4429294"/>
              <a:gd name="connsiteX69" fmla="*/ 1840694 w 4501379"/>
              <a:gd name="connsiteY69" fmla="*/ 104775 h 4429294"/>
              <a:gd name="connsiteX70" fmla="*/ 1897844 w 4501379"/>
              <a:gd name="connsiteY70" fmla="*/ 95250 h 4429294"/>
              <a:gd name="connsiteX71" fmla="*/ 2012144 w 4501379"/>
              <a:gd name="connsiteY71" fmla="*/ 66675 h 4429294"/>
              <a:gd name="connsiteX72" fmla="*/ 2078819 w 4501379"/>
              <a:gd name="connsiteY72" fmla="*/ 47625 h 4429294"/>
              <a:gd name="connsiteX73" fmla="*/ 2145494 w 4501379"/>
              <a:gd name="connsiteY73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793069 w 4501379"/>
              <a:gd name="connsiteY67" fmla="*/ 114300 h 4429294"/>
              <a:gd name="connsiteX68" fmla="*/ 1840694 w 4501379"/>
              <a:gd name="connsiteY68" fmla="*/ 104775 h 4429294"/>
              <a:gd name="connsiteX69" fmla="*/ 1897844 w 4501379"/>
              <a:gd name="connsiteY69" fmla="*/ 95250 h 4429294"/>
              <a:gd name="connsiteX70" fmla="*/ 2012144 w 4501379"/>
              <a:gd name="connsiteY70" fmla="*/ 66675 h 4429294"/>
              <a:gd name="connsiteX71" fmla="*/ 2078819 w 4501379"/>
              <a:gd name="connsiteY71" fmla="*/ 47625 h 4429294"/>
              <a:gd name="connsiteX72" fmla="*/ 2145494 w 4501379"/>
              <a:gd name="connsiteY72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840694 w 4501379"/>
              <a:gd name="connsiteY67" fmla="*/ 104775 h 4429294"/>
              <a:gd name="connsiteX68" fmla="*/ 1897844 w 4501379"/>
              <a:gd name="connsiteY68" fmla="*/ 95250 h 4429294"/>
              <a:gd name="connsiteX69" fmla="*/ 2012144 w 4501379"/>
              <a:gd name="connsiteY69" fmla="*/ 66675 h 4429294"/>
              <a:gd name="connsiteX70" fmla="*/ 2078819 w 4501379"/>
              <a:gd name="connsiteY70" fmla="*/ 47625 h 4429294"/>
              <a:gd name="connsiteX71" fmla="*/ 2145494 w 4501379"/>
              <a:gd name="connsiteY71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897844 w 4501379"/>
              <a:gd name="connsiteY67" fmla="*/ 95250 h 4429294"/>
              <a:gd name="connsiteX68" fmla="*/ 2012144 w 4501379"/>
              <a:gd name="connsiteY68" fmla="*/ 66675 h 4429294"/>
              <a:gd name="connsiteX69" fmla="*/ 2078819 w 4501379"/>
              <a:gd name="connsiteY69" fmla="*/ 47625 h 4429294"/>
              <a:gd name="connsiteX70" fmla="*/ 2145494 w 4501379"/>
              <a:gd name="connsiteY70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012144 w 4501379"/>
              <a:gd name="connsiteY67" fmla="*/ 66675 h 4429294"/>
              <a:gd name="connsiteX68" fmla="*/ 2078819 w 4501379"/>
              <a:gd name="connsiteY68" fmla="*/ 47625 h 4429294"/>
              <a:gd name="connsiteX69" fmla="*/ 2145494 w 4501379"/>
              <a:gd name="connsiteY69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078819 w 4501379"/>
              <a:gd name="connsiteY67" fmla="*/ 47625 h 4429294"/>
              <a:gd name="connsiteX68" fmla="*/ 2145494 w 4501379"/>
              <a:gd name="connsiteY6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145494 w 4501379"/>
              <a:gd name="connsiteY6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621619 w 4501379"/>
              <a:gd name="connsiteY66" fmla="*/ 11112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678644 w 4501379"/>
              <a:gd name="connsiteY60" fmla="*/ 657225 h 4429294"/>
              <a:gd name="connsiteX61" fmla="*/ 821519 w 4501379"/>
              <a:gd name="connsiteY61" fmla="*/ 533400 h 4429294"/>
              <a:gd name="connsiteX62" fmla="*/ 869144 w 4501379"/>
              <a:gd name="connsiteY62" fmla="*/ 504825 h 4429294"/>
              <a:gd name="connsiteX63" fmla="*/ 1148544 w 4501379"/>
              <a:gd name="connsiteY63" fmla="*/ 311150 h 4429294"/>
              <a:gd name="connsiteX64" fmla="*/ 1507319 w 4501379"/>
              <a:gd name="connsiteY64" fmla="*/ 152400 h 4429294"/>
              <a:gd name="connsiteX65" fmla="*/ 1621619 w 4501379"/>
              <a:gd name="connsiteY65" fmla="*/ 111125 h 4429294"/>
              <a:gd name="connsiteX66" fmla="*/ 2253444 w 4501379"/>
              <a:gd name="connsiteY66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821519 w 4501379"/>
              <a:gd name="connsiteY60" fmla="*/ 533400 h 4429294"/>
              <a:gd name="connsiteX61" fmla="*/ 869144 w 4501379"/>
              <a:gd name="connsiteY61" fmla="*/ 504825 h 4429294"/>
              <a:gd name="connsiteX62" fmla="*/ 1148544 w 4501379"/>
              <a:gd name="connsiteY62" fmla="*/ 311150 h 4429294"/>
              <a:gd name="connsiteX63" fmla="*/ 1507319 w 4501379"/>
              <a:gd name="connsiteY63" fmla="*/ 152400 h 4429294"/>
              <a:gd name="connsiteX64" fmla="*/ 1621619 w 4501379"/>
              <a:gd name="connsiteY64" fmla="*/ 111125 h 4429294"/>
              <a:gd name="connsiteX65" fmla="*/ 2253444 w 4501379"/>
              <a:gd name="connsiteY65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869144 w 4501379"/>
              <a:gd name="connsiteY60" fmla="*/ 504825 h 4429294"/>
              <a:gd name="connsiteX61" fmla="*/ 1148544 w 4501379"/>
              <a:gd name="connsiteY61" fmla="*/ 311150 h 4429294"/>
              <a:gd name="connsiteX62" fmla="*/ 1507319 w 4501379"/>
              <a:gd name="connsiteY62" fmla="*/ 152400 h 4429294"/>
              <a:gd name="connsiteX63" fmla="*/ 1621619 w 4501379"/>
              <a:gd name="connsiteY63" fmla="*/ 111125 h 4429294"/>
              <a:gd name="connsiteX64" fmla="*/ 2253444 w 4501379"/>
              <a:gd name="connsiteY64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64319 w 4501379"/>
              <a:gd name="connsiteY53" fmla="*/ 1009650 h 4429294"/>
              <a:gd name="connsiteX54" fmla="*/ 421469 w 4501379"/>
              <a:gd name="connsiteY54" fmla="*/ 904875 h 4429294"/>
              <a:gd name="connsiteX55" fmla="*/ 459569 w 4501379"/>
              <a:gd name="connsiteY55" fmla="*/ 857250 h 4429294"/>
              <a:gd name="connsiteX56" fmla="*/ 478619 w 4501379"/>
              <a:gd name="connsiteY56" fmla="*/ 828675 h 4429294"/>
              <a:gd name="connsiteX57" fmla="*/ 516719 w 4501379"/>
              <a:gd name="connsiteY57" fmla="*/ 800100 h 4429294"/>
              <a:gd name="connsiteX58" fmla="*/ 650069 w 4501379"/>
              <a:gd name="connsiteY58" fmla="*/ 676275 h 4429294"/>
              <a:gd name="connsiteX59" fmla="*/ 869144 w 4501379"/>
              <a:gd name="connsiteY59" fmla="*/ 504825 h 4429294"/>
              <a:gd name="connsiteX60" fmla="*/ 1148544 w 4501379"/>
              <a:gd name="connsiteY60" fmla="*/ 311150 h 4429294"/>
              <a:gd name="connsiteX61" fmla="*/ 1507319 w 4501379"/>
              <a:gd name="connsiteY61" fmla="*/ 152400 h 4429294"/>
              <a:gd name="connsiteX62" fmla="*/ 1621619 w 4501379"/>
              <a:gd name="connsiteY62" fmla="*/ 111125 h 4429294"/>
              <a:gd name="connsiteX63" fmla="*/ 2253444 w 4501379"/>
              <a:gd name="connsiteY63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21469 w 4501379"/>
              <a:gd name="connsiteY53" fmla="*/ 904875 h 4429294"/>
              <a:gd name="connsiteX54" fmla="*/ 459569 w 4501379"/>
              <a:gd name="connsiteY54" fmla="*/ 857250 h 4429294"/>
              <a:gd name="connsiteX55" fmla="*/ 478619 w 4501379"/>
              <a:gd name="connsiteY55" fmla="*/ 828675 h 4429294"/>
              <a:gd name="connsiteX56" fmla="*/ 516719 w 4501379"/>
              <a:gd name="connsiteY56" fmla="*/ 800100 h 4429294"/>
              <a:gd name="connsiteX57" fmla="*/ 650069 w 4501379"/>
              <a:gd name="connsiteY57" fmla="*/ 676275 h 4429294"/>
              <a:gd name="connsiteX58" fmla="*/ 869144 w 4501379"/>
              <a:gd name="connsiteY58" fmla="*/ 504825 h 4429294"/>
              <a:gd name="connsiteX59" fmla="*/ 1148544 w 4501379"/>
              <a:gd name="connsiteY59" fmla="*/ 311150 h 4429294"/>
              <a:gd name="connsiteX60" fmla="*/ 1507319 w 4501379"/>
              <a:gd name="connsiteY60" fmla="*/ 152400 h 4429294"/>
              <a:gd name="connsiteX61" fmla="*/ 1621619 w 4501379"/>
              <a:gd name="connsiteY61" fmla="*/ 111125 h 4429294"/>
              <a:gd name="connsiteX62" fmla="*/ 2253444 w 4501379"/>
              <a:gd name="connsiteY62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59569 w 4501379"/>
              <a:gd name="connsiteY53" fmla="*/ 857250 h 4429294"/>
              <a:gd name="connsiteX54" fmla="*/ 478619 w 4501379"/>
              <a:gd name="connsiteY54" fmla="*/ 828675 h 4429294"/>
              <a:gd name="connsiteX55" fmla="*/ 516719 w 4501379"/>
              <a:gd name="connsiteY55" fmla="*/ 800100 h 4429294"/>
              <a:gd name="connsiteX56" fmla="*/ 650069 w 4501379"/>
              <a:gd name="connsiteY56" fmla="*/ 676275 h 4429294"/>
              <a:gd name="connsiteX57" fmla="*/ 869144 w 4501379"/>
              <a:gd name="connsiteY57" fmla="*/ 504825 h 4429294"/>
              <a:gd name="connsiteX58" fmla="*/ 1148544 w 4501379"/>
              <a:gd name="connsiteY58" fmla="*/ 311150 h 4429294"/>
              <a:gd name="connsiteX59" fmla="*/ 1507319 w 4501379"/>
              <a:gd name="connsiteY59" fmla="*/ 152400 h 4429294"/>
              <a:gd name="connsiteX60" fmla="*/ 1621619 w 4501379"/>
              <a:gd name="connsiteY60" fmla="*/ 111125 h 4429294"/>
              <a:gd name="connsiteX61" fmla="*/ 2253444 w 4501379"/>
              <a:gd name="connsiteY61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59569 w 4501379"/>
              <a:gd name="connsiteY53" fmla="*/ 857250 h 4429294"/>
              <a:gd name="connsiteX54" fmla="*/ 516719 w 4501379"/>
              <a:gd name="connsiteY54" fmla="*/ 800100 h 4429294"/>
              <a:gd name="connsiteX55" fmla="*/ 650069 w 4501379"/>
              <a:gd name="connsiteY55" fmla="*/ 676275 h 4429294"/>
              <a:gd name="connsiteX56" fmla="*/ 869144 w 4501379"/>
              <a:gd name="connsiteY56" fmla="*/ 504825 h 4429294"/>
              <a:gd name="connsiteX57" fmla="*/ 1148544 w 4501379"/>
              <a:gd name="connsiteY57" fmla="*/ 311150 h 4429294"/>
              <a:gd name="connsiteX58" fmla="*/ 1507319 w 4501379"/>
              <a:gd name="connsiteY58" fmla="*/ 152400 h 4429294"/>
              <a:gd name="connsiteX59" fmla="*/ 1621619 w 4501379"/>
              <a:gd name="connsiteY59" fmla="*/ 111125 h 4429294"/>
              <a:gd name="connsiteX60" fmla="*/ 2253444 w 4501379"/>
              <a:gd name="connsiteY60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69069 w 4501379"/>
              <a:gd name="connsiteY50" fmla="*/ 1152525 h 4429294"/>
              <a:gd name="connsiteX51" fmla="*/ 297644 w 4501379"/>
              <a:gd name="connsiteY51" fmla="*/ 1114425 h 4429294"/>
              <a:gd name="connsiteX52" fmla="*/ 459569 w 4501379"/>
              <a:gd name="connsiteY52" fmla="*/ 857250 h 4429294"/>
              <a:gd name="connsiteX53" fmla="*/ 516719 w 4501379"/>
              <a:gd name="connsiteY53" fmla="*/ 800100 h 4429294"/>
              <a:gd name="connsiteX54" fmla="*/ 650069 w 4501379"/>
              <a:gd name="connsiteY54" fmla="*/ 676275 h 4429294"/>
              <a:gd name="connsiteX55" fmla="*/ 869144 w 4501379"/>
              <a:gd name="connsiteY55" fmla="*/ 504825 h 4429294"/>
              <a:gd name="connsiteX56" fmla="*/ 1148544 w 4501379"/>
              <a:gd name="connsiteY56" fmla="*/ 311150 h 4429294"/>
              <a:gd name="connsiteX57" fmla="*/ 1507319 w 4501379"/>
              <a:gd name="connsiteY57" fmla="*/ 152400 h 4429294"/>
              <a:gd name="connsiteX58" fmla="*/ 1621619 w 4501379"/>
              <a:gd name="connsiteY58" fmla="*/ 111125 h 4429294"/>
              <a:gd name="connsiteX59" fmla="*/ 2253444 w 4501379"/>
              <a:gd name="connsiteY59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97644 w 4501379"/>
              <a:gd name="connsiteY50" fmla="*/ 1114425 h 4429294"/>
              <a:gd name="connsiteX51" fmla="*/ 459569 w 4501379"/>
              <a:gd name="connsiteY51" fmla="*/ 857250 h 4429294"/>
              <a:gd name="connsiteX52" fmla="*/ 516719 w 4501379"/>
              <a:gd name="connsiteY52" fmla="*/ 800100 h 4429294"/>
              <a:gd name="connsiteX53" fmla="*/ 650069 w 4501379"/>
              <a:gd name="connsiteY53" fmla="*/ 676275 h 4429294"/>
              <a:gd name="connsiteX54" fmla="*/ 869144 w 4501379"/>
              <a:gd name="connsiteY54" fmla="*/ 504825 h 4429294"/>
              <a:gd name="connsiteX55" fmla="*/ 1148544 w 4501379"/>
              <a:gd name="connsiteY55" fmla="*/ 311150 h 4429294"/>
              <a:gd name="connsiteX56" fmla="*/ 1507319 w 4501379"/>
              <a:gd name="connsiteY56" fmla="*/ 152400 h 4429294"/>
              <a:gd name="connsiteX57" fmla="*/ 1621619 w 4501379"/>
              <a:gd name="connsiteY57" fmla="*/ 111125 h 4429294"/>
              <a:gd name="connsiteX58" fmla="*/ 2253444 w 4501379"/>
              <a:gd name="connsiteY58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97644 w 4501379"/>
              <a:gd name="connsiteY49" fmla="*/ 1114425 h 4429294"/>
              <a:gd name="connsiteX50" fmla="*/ 459569 w 4501379"/>
              <a:gd name="connsiteY50" fmla="*/ 857250 h 4429294"/>
              <a:gd name="connsiteX51" fmla="*/ 516719 w 4501379"/>
              <a:gd name="connsiteY51" fmla="*/ 800100 h 4429294"/>
              <a:gd name="connsiteX52" fmla="*/ 650069 w 4501379"/>
              <a:gd name="connsiteY52" fmla="*/ 676275 h 4429294"/>
              <a:gd name="connsiteX53" fmla="*/ 869144 w 4501379"/>
              <a:gd name="connsiteY53" fmla="*/ 504825 h 4429294"/>
              <a:gd name="connsiteX54" fmla="*/ 1148544 w 4501379"/>
              <a:gd name="connsiteY54" fmla="*/ 311150 h 4429294"/>
              <a:gd name="connsiteX55" fmla="*/ 1507319 w 4501379"/>
              <a:gd name="connsiteY55" fmla="*/ 152400 h 4429294"/>
              <a:gd name="connsiteX56" fmla="*/ 1621619 w 4501379"/>
              <a:gd name="connsiteY56" fmla="*/ 111125 h 4429294"/>
              <a:gd name="connsiteX57" fmla="*/ 2253444 w 4501379"/>
              <a:gd name="connsiteY5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35719 w 4501379"/>
              <a:gd name="connsiteY46" fmla="*/ 1419225 h 4429294"/>
              <a:gd name="connsiteX47" fmla="*/ 211919 w 4501379"/>
              <a:gd name="connsiteY47" fmla="*/ 1276350 h 4429294"/>
              <a:gd name="connsiteX48" fmla="*/ 297644 w 4501379"/>
              <a:gd name="connsiteY48" fmla="*/ 1114425 h 4429294"/>
              <a:gd name="connsiteX49" fmla="*/ 459569 w 4501379"/>
              <a:gd name="connsiteY49" fmla="*/ 857250 h 4429294"/>
              <a:gd name="connsiteX50" fmla="*/ 516719 w 4501379"/>
              <a:gd name="connsiteY50" fmla="*/ 800100 h 4429294"/>
              <a:gd name="connsiteX51" fmla="*/ 650069 w 4501379"/>
              <a:gd name="connsiteY51" fmla="*/ 676275 h 4429294"/>
              <a:gd name="connsiteX52" fmla="*/ 869144 w 4501379"/>
              <a:gd name="connsiteY52" fmla="*/ 504825 h 4429294"/>
              <a:gd name="connsiteX53" fmla="*/ 1148544 w 4501379"/>
              <a:gd name="connsiteY53" fmla="*/ 311150 h 4429294"/>
              <a:gd name="connsiteX54" fmla="*/ 1507319 w 4501379"/>
              <a:gd name="connsiteY54" fmla="*/ 152400 h 4429294"/>
              <a:gd name="connsiteX55" fmla="*/ 1621619 w 4501379"/>
              <a:gd name="connsiteY55" fmla="*/ 111125 h 4429294"/>
              <a:gd name="connsiteX56" fmla="*/ 2253444 w 4501379"/>
              <a:gd name="connsiteY56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88094 w 4501379"/>
              <a:gd name="connsiteY44" fmla="*/ 1590675 h 4429294"/>
              <a:gd name="connsiteX45" fmla="*/ 135719 w 4501379"/>
              <a:gd name="connsiteY45" fmla="*/ 1419225 h 4429294"/>
              <a:gd name="connsiteX46" fmla="*/ 211919 w 4501379"/>
              <a:gd name="connsiteY46" fmla="*/ 1276350 h 4429294"/>
              <a:gd name="connsiteX47" fmla="*/ 297644 w 4501379"/>
              <a:gd name="connsiteY47" fmla="*/ 1114425 h 4429294"/>
              <a:gd name="connsiteX48" fmla="*/ 459569 w 4501379"/>
              <a:gd name="connsiteY48" fmla="*/ 857250 h 4429294"/>
              <a:gd name="connsiteX49" fmla="*/ 516719 w 4501379"/>
              <a:gd name="connsiteY49" fmla="*/ 800100 h 4429294"/>
              <a:gd name="connsiteX50" fmla="*/ 650069 w 4501379"/>
              <a:gd name="connsiteY50" fmla="*/ 676275 h 4429294"/>
              <a:gd name="connsiteX51" fmla="*/ 869144 w 4501379"/>
              <a:gd name="connsiteY51" fmla="*/ 504825 h 4429294"/>
              <a:gd name="connsiteX52" fmla="*/ 1148544 w 4501379"/>
              <a:gd name="connsiteY52" fmla="*/ 311150 h 4429294"/>
              <a:gd name="connsiteX53" fmla="*/ 1507319 w 4501379"/>
              <a:gd name="connsiteY53" fmla="*/ 152400 h 4429294"/>
              <a:gd name="connsiteX54" fmla="*/ 1621619 w 4501379"/>
              <a:gd name="connsiteY54" fmla="*/ 111125 h 4429294"/>
              <a:gd name="connsiteX55" fmla="*/ 2253444 w 4501379"/>
              <a:gd name="connsiteY55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88094 w 4501379"/>
              <a:gd name="connsiteY43" fmla="*/ 1590675 h 4429294"/>
              <a:gd name="connsiteX44" fmla="*/ 135719 w 4501379"/>
              <a:gd name="connsiteY44" fmla="*/ 1419225 h 4429294"/>
              <a:gd name="connsiteX45" fmla="*/ 211919 w 4501379"/>
              <a:gd name="connsiteY45" fmla="*/ 1276350 h 4429294"/>
              <a:gd name="connsiteX46" fmla="*/ 297644 w 4501379"/>
              <a:gd name="connsiteY46" fmla="*/ 1114425 h 4429294"/>
              <a:gd name="connsiteX47" fmla="*/ 459569 w 4501379"/>
              <a:gd name="connsiteY47" fmla="*/ 857250 h 4429294"/>
              <a:gd name="connsiteX48" fmla="*/ 516719 w 4501379"/>
              <a:gd name="connsiteY48" fmla="*/ 800100 h 4429294"/>
              <a:gd name="connsiteX49" fmla="*/ 650069 w 4501379"/>
              <a:gd name="connsiteY49" fmla="*/ 676275 h 4429294"/>
              <a:gd name="connsiteX50" fmla="*/ 869144 w 4501379"/>
              <a:gd name="connsiteY50" fmla="*/ 504825 h 4429294"/>
              <a:gd name="connsiteX51" fmla="*/ 1148544 w 4501379"/>
              <a:gd name="connsiteY51" fmla="*/ 311150 h 4429294"/>
              <a:gd name="connsiteX52" fmla="*/ 1507319 w 4501379"/>
              <a:gd name="connsiteY52" fmla="*/ 152400 h 4429294"/>
              <a:gd name="connsiteX53" fmla="*/ 1621619 w 4501379"/>
              <a:gd name="connsiteY53" fmla="*/ 111125 h 4429294"/>
              <a:gd name="connsiteX54" fmla="*/ 2253444 w 4501379"/>
              <a:gd name="connsiteY54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88094 w 4501379"/>
              <a:gd name="connsiteY42" fmla="*/ 1590675 h 4429294"/>
              <a:gd name="connsiteX43" fmla="*/ 135719 w 4501379"/>
              <a:gd name="connsiteY43" fmla="*/ 1419225 h 4429294"/>
              <a:gd name="connsiteX44" fmla="*/ 211919 w 4501379"/>
              <a:gd name="connsiteY44" fmla="*/ 1276350 h 4429294"/>
              <a:gd name="connsiteX45" fmla="*/ 297644 w 4501379"/>
              <a:gd name="connsiteY45" fmla="*/ 1114425 h 4429294"/>
              <a:gd name="connsiteX46" fmla="*/ 459569 w 4501379"/>
              <a:gd name="connsiteY46" fmla="*/ 857250 h 4429294"/>
              <a:gd name="connsiteX47" fmla="*/ 516719 w 4501379"/>
              <a:gd name="connsiteY47" fmla="*/ 800100 h 4429294"/>
              <a:gd name="connsiteX48" fmla="*/ 650069 w 4501379"/>
              <a:gd name="connsiteY48" fmla="*/ 676275 h 4429294"/>
              <a:gd name="connsiteX49" fmla="*/ 869144 w 4501379"/>
              <a:gd name="connsiteY49" fmla="*/ 504825 h 4429294"/>
              <a:gd name="connsiteX50" fmla="*/ 1148544 w 4501379"/>
              <a:gd name="connsiteY50" fmla="*/ 311150 h 4429294"/>
              <a:gd name="connsiteX51" fmla="*/ 1507319 w 4501379"/>
              <a:gd name="connsiteY51" fmla="*/ 152400 h 4429294"/>
              <a:gd name="connsiteX52" fmla="*/ 1621619 w 4501379"/>
              <a:gd name="connsiteY52" fmla="*/ 111125 h 4429294"/>
              <a:gd name="connsiteX53" fmla="*/ 2253444 w 4501379"/>
              <a:gd name="connsiteY53" fmla="*/ 12700 h 4429294"/>
              <a:gd name="connsiteX0" fmla="*/ 2277090 w 4499625"/>
              <a:gd name="connsiteY0" fmla="*/ 0 h 4429294"/>
              <a:gd name="connsiteX1" fmla="*/ 2600940 w 4499625"/>
              <a:gd name="connsiteY1" fmla="*/ 15875 h 4429294"/>
              <a:gd name="connsiteX2" fmla="*/ 2896215 w 4499625"/>
              <a:gd name="connsiteY2" fmla="*/ 85725 h 4429294"/>
              <a:gd name="connsiteX3" fmla="*/ 3115290 w 4499625"/>
              <a:gd name="connsiteY3" fmla="*/ 171450 h 4429294"/>
              <a:gd name="connsiteX4" fmla="*/ 3220065 w 4499625"/>
              <a:gd name="connsiteY4" fmla="*/ 228600 h 4429294"/>
              <a:gd name="connsiteX5" fmla="*/ 3401040 w 4499625"/>
              <a:gd name="connsiteY5" fmla="*/ 323850 h 4429294"/>
              <a:gd name="connsiteX6" fmla="*/ 3791565 w 4499625"/>
              <a:gd name="connsiteY6" fmla="*/ 581025 h 4429294"/>
              <a:gd name="connsiteX7" fmla="*/ 4007465 w 4499625"/>
              <a:gd name="connsiteY7" fmla="*/ 819150 h 4429294"/>
              <a:gd name="connsiteX8" fmla="*/ 4143990 w 4499625"/>
              <a:gd name="connsiteY8" fmla="*/ 990600 h 4429294"/>
              <a:gd name="connsiteX9" fmla="*/ 4229715 w 4499625"/>
              <a:gd name="connsiteY9" fmla="*/ 1143000 h 4429294"/>
              <a:gd name="connsiteX10" fmla="*/ 4286865 w 4499625"/>
              <a:gd name="connsiteY10" fmla="*/ 1266825 h 4429294"/>
              <a:gd name="connsiteX11" fmla="*/ 4324965 w 4499625"/>
              <a:gd name="connsiteY11" fmla="*/ 1362075 h 4429294"/>
              <a:gd name="connsiteX12" fmla="*/ 4372590 w 4499625"/>
              <a:gd name="connsiteY12" fmla="*/ 1552575 h 4429294"/>
              <a:gd name="connsiteX13" fmla="*/ 4410690 w 4499625"/>
              <a:gd name="connsiteY13" fmla="*/ 1685925 h 4429294"/>
              <a:gd name="connsiteX14" fmla="*/ 4499590 w 4499625"/>
              <a:gd name="connsiteY14" fmla="*/ 2181225 h 4429294"/>
              <a:gd name="connsiteX15" fmla="*/ 4426565 w 4499625"/>
              <a:gd name="connsiteY15" fmla="*/ 2768600 h 4429294"/>
              <a:gd name="connsiteX16" fmla="*/ 4363065 w 4499625"/>
              <a:gd name="connsiteY16" fmla="*/ 2990850 h 4429294"/>
              <a:gd name="connsiteX17" fmla="*/ 4258290 w 4499625"/>
              <a:gd name="connsiteY17" fmla="*/ 3248025 h 4429294"/>
              <a:gd name="connsiteX18" fmla="*/ 4163040 w 4499625"/>
              <a:gd name="connsiteY18" fmla="*/ 3400425 h 4429294"/>
              <a:gd name="connsiteX19" fmla="*/ 4039215 w 4499625"/>
              <a:gd name="connsiteY19" fmla="*/ 3533775 h 4429294"/>
              <a:gd name="connsiteX20" fmla="*/ 3934440 w 4499625"/>
              <a:gd name="connsiteY20" fmla="*/ 3648075 h 4429294"/>
              <a:gd name="connsiteX21" fmla="*/ 3639165 w 4499625"/>
              <a:gd name="connsiteY21" fmla="*/ 3971925 h 4429294"/>
              <a:gd name="connsiteX22" fmla="*/ 3496290 w 4499625"/>
              <a:gd name="connsiteY22" fmla="*/ 4083050 h 4429294"/>
              <a:gd name="connsiteX23" fmla="*/ 3201015 w 4499625"/>
              <a:gd name="connsiteY23" fmla="*/ 4222750 h 4429294"/>
              <a:gd name="connsiteX24" fmla="*/ 3048615 w 4499625"/>
              <a:gd name="connsiteY24" fmla="*/ 4286250 h 4429294"/>
              <a:gd name="connsiteX25" fmla="*/ 2915265 w 4499625"/>
              <a:gd name="connsiteY25" fmla="*/ 4333875 h 4429294"/>
              <a:gd name="connsiteX26" fmla="*/ 2791440 w 4499625"/>
              <a:gd name="connsiteY26" fmla="*/ 4371975 h 4429294"/>
              <a:gd name="connsiteX27" fmla="*/ 2559665 w 4499625"/>
              <a:gd name="connsiteY27" fmla="*/ 4391025 h 4429294"/>
              <a:gd name="connsiteX28" fmla="*/ 2105640 w 4499625"/>
              <a:gd name="connsiteY28" fmla="*/ 4429125 h 4429294"/>
              <a:gd name="connsiteX29" fmla="*/ 1915140 w 4499625"/>
              <a:gd name="connsiteY29" fmla="*/ 4400550 h 4429294"/>
              <a:gd name="connsiteX30" fmla="*/ 1553190 w 4499625"/>
              <a:gd name="connsiteY30" fmla="*/ 4305300 h 4429294"/>
              <a:gd name="connsiteX31" fmla="*/ 1311890 w 4499625"/>
              <a:gd name="connsiteY31" fmla="*/ 4216400 h 4429294"/>
              <a:gd name="connsiteX32" fmla="*/ 1143615 w 4499625"/>
              <a:gd name="connsiteY32" fmla="*/ 4111625 h 4429294"/>
              <a:gd name="connsiteX33" fmla="*/ 924540 w 4499625"/>
              <a:gd name="connsiteY33" fmla="*/ 3968750 h 4429294"/>
              <a:gd name="connsiteX34" fmla="*/ 591165 w 4499625"/>
              <a:gd name="connsiteY34" fmla="*/ 3657600 h 4429294"/>
              <a:gd name="connsiteX35" fmla="*/ 445115 w 4499625"/>
              <a:gd name="connsiteY35" fmla="*/ 3470275 h 4429294"/>
              <a:gd name="connsiteX36" fmla="*/ 314940 w 4499625"/>
              <a:gd name="connsiteY36" fmla="*/ 3244850 h 4429294"/>
              <a:gd name="connsiteX37" fmla="*/ 162540 w 4499625"/>
              <a:gd name="connsiteY37" fmla="*/ 2892425 h 4429294"/>
              <a:gd name="connsiteX38" fmla="*/ 54590 w 4499625"/>
              <a:gd name="connsiteY38" fmla="*/ 2368550 h 4429294"/>
              <a:gd name="connsiteX39" fmla="*/ 615 w 4499625"/>
              <a:gd name="connsiteY39" fmla="*/ 1905000 h 4429294"/>
              <a:gd name="connsiteX40" fmla="*/ 29190 w 4499625"/>
              <a:gd name="connsiteY40" fmla="*/ 1781175 h 4429294"/>
              <a:gd name="connsiteX41" fmla="*/ 86340 w 4499625"/>
              <a:gd name="connsiteY41" fmla="*/ 1590675 h 4429294"/>
              <a:gd name="connsiteX42" fmla="*/ 133965 w 4499625"/>
              <a:gd name="connsiteY42" fmla="*/ 1419225 h 4429294"/>
              <a:gd name="connsiteX43" fmla="*/ 210165 w 4499625"/>
              <a:gd name="connsiteY43" fmla="*/ 1276350 h 4429294"/>
              <a:gd name="connsiteX44" fmla="*/ 295890 w 4499625"/>
              <a:gd name="connsiteY44" fmla="*/ 1114425 h 4429294"/>
              <a:gd name="connsiteX45" fmla="*/ 457815 w 4499625"/>
              <a:gd name="connsiteY45" fmla="*/ 857250 h 4429294"/>
              <a:gd name="connsiteX46" fmla="*/ 514965 w 4499625"/>
              <a:gd name="connsiteY46" fmla="*/ 800100 h 4429294"/>
              <a:gd name="connsiteX47" fmla="*/ 648315 w 4499625"/>
              <a:gd name="connsiteY47" fmla="*/ 676275 h 4429294"/>
              <a:gd name="connsiteX48" fmla="*/ 867390 w 4499625"/>
              <a:gd name="connsiteY48" fmla="*/ 504825 h 4429294"/>
              <a:gd name="connsiteX49" fmla="*/ 1146790 w 4499625"/>
              <a:gd name="connsiteY49" fmla="*/ 311150 h 4429294"/>
              <a:gd name="connsiteX50" fmla="*/ 1505565 w 4499625"/>
              <a:gd name="connsiteY50" fmla="*/ 152400 h 4429294"/>
              <a:gd name="connsiteX51" fmla="*/ 1619865 w 4499625"/>
              <a:gd name="connsiteY51" fmla="*/ 111125 h 4429294"/>
              <a:gd name="connsiteX52" fmla="*/ 2251690 w 4499625"/>
              <a:gd name="connsiteY52" fmla="*/ 12700 h 4429294"/>
              <a:gd name="connsiteX0" fmla="*/ 2249427 w 4471962"/>
              <a:gd name="connsiteY0" fmla="*/ 0 h 4429294"/>
              <a:gd name="connsiteX1" fmla="*/ 2573277 w 4471962"/>
              <a:gd name="connsiteY1" fmla="*/ 15875 h 4429294"/>
              <a:gd name="connsiteX2" fmla="*/ 2868552 w 4471962"/>
              <a:gd name="connsiteY2" fmla="*/ 85725 h 4429294"/>
              <a:gd name="connsiteX3" fmla="*/ 3087627 w 4471962"/>
              <a:gd name="connsiteY3" fmla="*/ 171450 h 4429294"/>
              <a:gd name="connsiteX4" fmla="*/ 3192402 w 4471962"/>
              <a:gd name="connsiteY4" fmla="*/ 228600 h 4429294"/>
              <a:gd name="connsiteX5" fmla="*/ 3373377 w 4471962"/>
              <a:gd name="connsiteY5" fmla="*/ 323850 h 4429294"/>
              <a:gd name="connsiteX6" fmla="*/ 3763902 w 4471962"/>
              <a:gd name="connsiteY6" fmla="*/ 581025 h 4429294"/>
              <a:gd name="connsiteX7" fmla="*/ 3979802 w 4471962"/>
              <a:gd name="connsiteY7" fmla="*/ 819150 h 4429294"/>
              <a:gd name="connsiteX8" fmla="*/ 4116327 w 4471962"/>
              <a:gd name="connsiteY8" fmla="*/ 990600 h 4429294"/>
              <a:gd name="connsiteX9" fmla="*/ 4202052 w 4471962"/>
              <a:gd name="connsiteY9" fmla="*/ 1143000 h 4429294"/>
              <a:gd name="connsiteX10" fmla="*/ 4259202 w 4471962"/>
              <a:gd name="connsiteY10" fmla="*/ 1266825 h 4429294"/>
              <a:gd name="connsiteX11" fmla="*/ 4297302 w 4471962"/>
              <a:gd name="connsiteY11" fmla="*/ 1362075 h 4429294"/>
              <a:gd name="connsiteX12" fmla="*/ 4344927 w 4471962"/>
              <a:gd name="connsiteY12" fmla="*/ 1552575 h 4429294"/>
              <a:gd name="connsiteX13" fmla="*/ 4383027 w 4471962"/>
              <a:gd name="connsiteY13" fmla="*/ 1685925 h 4429294"/>
              <a:gd name="connsiteX14" fmla="*/ 4471927 w 4471962"/>
              <a:gd name="connsiteY14" fmla="*/ 2181225 h 4429294"/>
              <a:gd name="connsiteX15" fmla="*/ 4398902 w 4471962"/>
              <a:gd name="connsiteY15" fmla="*/ 2768600 h 4429294"/>
              <a:gd name="connsiteX16" fmla="*/ 4335402 w 4471962"/>
              <a:gd name="connsiteY16" fmla="*/ 2990850 h 4429294"/>
              <a:gd name="connsiteX17" fmla="*/ 4230627 w 4471962"/>
              <a:gd name="connsiteY17" fmla="*/ 3248025 h 4429294"/>
              <a:gd name="connsiteX18" fmla="*/ 4135377 w 4471962"/>
              <a:gd name="connsiteY18" fmla="*/ 3400425 h 4429294"/>
              <a:gd name="connsiteX19" fmla="*/ 4011552 w 4471962"/>
              <a:gd name="connsiteY19" fmla="*/ 3533775 h 4429294"/>
              <a:gd name="connsiteX20" fmla="*/ 3906777 w 4471962"/>
              <a:gd name="connsiteY20" fmla="*/ 3648075 h 4429294"/>
              <a:gd name="connsiteX21" fmla="*/ 3611502 w 4471962"/>
              <a:gd name="connsiteY21" fmla="*/ 3971925 h 4429294"/>
              <a:gd name="connsiteX22" fmla="*/ 3468627 w 4471962"/>
              <a:gd name="connsiteY22" fmla="*/ 4083050 h 4429294"/>
              <a:gd name="connsiteX23" fmla="*/ 3173352 w 4471962"/>
              <a:gd name="connsiteY23" fmla="*/ 4222750 h 4429294"/>
              <a:gd name="connsiteX24" fmla="*/ 3020952 w 4471962"/>
              <a:gd name="connsiteY24" fmla="*/ 4286250 h 4429294"/>
              <a:gd name="connsiteX25" fmla="*/ 2887602 w 4471962"/>
              <a:gd name="connsiteY25" fmla="*/ 4333875 h 4429294"/>
              <a:gd name="connsiteX26" fmla="*/ 2763777 w 4471962"/>
              <a:gd name="connsiteY26" fmla="*/ 4371975 h 4429294"/>
              <a:gd name="connsiteX27" fmla="*/ 2532002 w 4471962"/>
              <a:gd name="connsiteY27" fmla="*/ 4391025 h 4429294"/>
              <a:gd name="connsiteX28" fmla="*/ 2077977 w 4471962"/>
              <a:gd name="connsiteY28" fmla="*/ 4429125 h 4429294"/>
              <a:gd name="connsiteX29" fmla="*/ 1887477 w 4471962"/>
              <a:gd name="connsiteY29" fmla="*/ 4400550 h 4429294"/>
              <a:gd name="connsiteX30" fmla="*/ 1525527 w 4471962"/>
              <a:gd name="connsiteY30" fmla="*/ 4305300 h 4429294"/>
              <a:gd name="connsiteX31" fmla="*/ 1284227 w 4471962"/>
              <a:gd name="connsiteY31" fmla="*/ 4216400 h 4429294"/>
              <a:gd name="connsiteX32" fmla="*/ 1115952 w 4471962"/>
              <a:gd name="connsiteY32" fmla="*/ 4111625 h 4429294"/>
              <a:gd name="connsiteX33" fmla="*/ 896877 w 4471962"/>
              <a:gd name="connsiteY33" fmla="*/ 3968750 h 4429294"/>
              <a:gd name="connsiteX34" fmla="*/ 563502 w 4471962"/>
              <a:gd name="connsiteY34" fmla="*/ 3657600 h 4429294"/>
              <a:gd name="connsiteX35" fmla="*/ 417452 w 4471962"/>
              <a:gd name="connsiteY35" fmla="*/ 3470275 h 4429294"/>
              <a:gd name="connsiteX36" fmla="*/ 287277 w 4471962"/>
              <a:gd name="connsiteY36" fmla="*/ 3244850 h 4429294"/>
              <a:gd name="connsiteX37" fmla="*/ 134877 w 4471962"/>
              <a:gd name="connsiteY37" fmla="*/ 2892425 h 4429294"/>
              <a:gd name="connsiteX38" fmla="*/ 26927 w 4471962"/>
              <a:gd name="connsiteY38" fmla="*/ 2368550 h 4429294"/>
              <a:gd name="connsiteX39" fmla="*/ 1527 w 4471962"/>
              <a:gd name="connsiteY39" fmla="*/ 1781175 h 4429294"/>
              <a:gd name="connsiteX40" fmla="*/ 58677 w 4471962"/>
              <a:gd name="connsiteY40" fmla="*/ 1590675 h 4429294"/>
              <a:gd name="connsiteX41" fmla="*/ 106302 w 4471962"/>
              <a:gd name="connsiteY41" fmla="*/ 1419225 h 4429294"/>
              <a:gd name="connsiteX42" fmla="*/ 182502 w 4471962"/>
              <a:gd name="connsiteY42" fmla="*/ 1276350 h 4429294"/>
              <a:gd name="connsiteX43" fmla="*/ 268227 w 4471962"/>
              <a:gd name="connsiteY43" fmla="*/ 1114425 h 4429294"/>
              <a:gd name="connsiteX44" fmla="*/ 430152 w 4471962"/>
              <a:gd name="connsiteY44" fmla="*/ 857250 h 4429294"/>
              <a:gd name="connsiteX45" fmla="*/ 487302 w 4471962"/>
              <a:gd name="connsiteY45" fmla="*/ 800100 h 4429294"/>
              <a:gd name="connsiteX46" fmla="*/ 620652 w 4471962"/>
              <a:gd name="connsiteY46" fmla="*/ 676275 h 4429294"/>
              <a:gd name="connsiteX47" fmla="*/ 839727 w 4471962"/>
              <a:gd name="connsiteY47" fmla="*/ 504825 h 4429294"/>
              <a:gd name="connsiteX48" fmla="*/ 1119127 w 4471962"/>
              <a:gd name="connsiteY48" fmla="*/ 311150 h 4429294"/>
              <a:gd name="connsiteX49" fmla="*/ 1477902 w 4471962"/>
              <a:gd name="connsiteY49" fmla="*/ 152400 h 4429294"/>
              <a:gd name="connsiteX50" fmla="*/ 1592202 w 4471962"/>
              <a:gd name="connsiteY50" fmla="*/ 111125 h 4429294"/>
              <a:gd name="connsiteX51" fmla="*/ 2224027 w 4471962"/>
              <a:gd name="connsiteY51" fmla="*/ 12700 h 4429294"/>
              <a:gd name="connsiteX0" fmla="*/ 2231942 w 4454477"/>
              <a:gd name="connsiteY0" fmla="*/ 0 h 4429294"/>
              <a:gd name="connsiteX1" fmla="*/ 2555792 w 4454477"/>
              <a:gd name="connsiteY1" fmla="*/ 15875 h 4429294"/>
              <a:gd name="connsiteX2" fmla="*/ 2851067 w 4454477"/>
              <a:gd name="connsiteY2" fmla="*/ 85725 h 4429294"/>
              <a:gd name="connsiteX3" fmla="*/ 3070142 w 4454477"/>
              <a:gd name="connsiteY3" fmla="*/ 171450 h 4429294"/>
              <a:gd name="connsiteX4" fmla="*/ 3174917 w 4454477"/>
              <a:gd name="connsiteY4" fmla="*/ 228600 h 4429294"/>
              <a:gd name="connsiteX5" fmla="*/ 3355892 w 4454477"/>
              <a:gd name="connsiteY5" fmla="*/ 323850 h 4429294"/>
              <a:gd name="connsiteX6" fmla="*/ 3746417 w 4454477"/>
              <a:gd name="connsiteY6" fmla="*/ 581025 h 4429294"/>
              <a:gd name="connsiteX7" fmla="*/ 3962317 w 4454477"/>
              <a:gd name="connsiteY7" fmla="*/ 819150 h 4429294"/>
              <a:gd name="connsiteX8" fmla="*/ 4098842 w 4454477"/>
              <a:gd name="connsiteY8" fmla="*/ 990600 h 4429294"/>
              <a:gd name="connsiteX9" fmla="*/ 4184567 w 4454477"/>
              <a:gd name="connsiteY9" fmla="*/ 1143000 h 4429294"/>
              <a:gd name="connsiteX10" fmla="*/ 4241717 w 4454477"/>
              <a:gd name="connsiteY10" fmla="*/ 1266825 h 4429294"/>
              <a:gd name="connsiteX11" fmla="*/ 4279817 w 4454477"/>
              <a:gd name="connsiteY11" fmla="*/ 1362075 h 4429294"/>
              <a:gd name="connsiteX12" fmla="*/ 4327442 w 4454477"/>
              <a:gd name="connsiteY12" fmla="*/ 1552575 h 4429294"/>
              <a:gd name="connsiteX13" fmla="*/ 4365542 w 4454477"/>
              <a:gd name="connsiteY13" fmla="*/ 1685925 h 4429294"/>
              <a:gd name="connsiteX14" fmla="*/ 4454442 w 4454477"/>
              <a:gd name="connsiteY14" fmla="*/ 2181225 h 4429294"/>
              <a:gd name="connsiteX15" fmla="*/ 4381417 w 4454477"/>
              <a:gd name="connsiteY15" fmla="*/ 2768600 h 4429294"/>
              <a:gd name="connsiteX16" fmla="*/ 4317917 w 4454477"/>
              <a:gd name="connsiteY16" fmla="*/ 2990850 h 4429294"/>
              <a:gd name="connsiteX17" fmla="*/ 4213142 w 4454477"/>
              <a:gd name="connsiteY17" fmla="*/ 3248025 h 4429294"/>
              <a:gd name="connsiteX18" fmla="*/ 4117892 w 4454477"/>
              <a:gd name="connsiteY18" fmla="*/ 3400425 h 4429294"/>
              <a:gd name="connsiteX19" fmla="*/ 3994067 w 4454477"/>
              <a:gd name="connsiteY19" fmla="*/ 3533775 h 4429294"/>
              <a:gd name="connsiteX20" fmla="*/ 3889292 w 4454477"/>
              <a:gd name="connsiteY20" fmla="*/ 3648075 h 4429294"/>
              <a:gd name="connsiteX21" fmla="*/ 3594017 w 4454477"/>
              <a:gd name="connsiteY21" fmla="*/ 3971925 h 4429294"/>
              <a:gd name="connsiteX22" fmla="*/ 3451142 w 4454477"/>
              <a:gd name="connsiteY22" fmla="*/ 4083050 h 4429294"/>
              <a:gd name="connsiteX23" fmla="*/ 3155867 w 4454477"/>
              <a:gd name="connsiteY23" fmla="*/ 4222750 h 4429294"/>
              <a:gd name="connsiteX24" fmla="*/ 3003467 w 4454477"/>
              <a:gd name="connsiteY24" fmla="*/ 4286250 h 4429294"/>
              <a:gd name="connsiteX25" fmla="*/ 2870117 w 4454477"/>
              <a:gd name="connsiteY25" fmla="*/ 4333875 h 4429294"/>
              <a:gd name="connsiteX26" fmla="*/ 2746292 w 4454477"/>
              <a:gd name="connsiteY26" fmla="*/ 4371975 h 4429294"/>
              <a:gd name="connsiteX27" fmla="*/ 2514517 w 4454477"/>
              <a:gd name="connsiteY27" fmla="*/ 4391025 h 4429294"/>
              <a:gd name="connsiteX28" fmla="*/ 2060492 w 4454477"/>
              <a:gd name="connsiteY28" fmla="*/ 4429125 h 4429294"/>
              <a:gd name="connsiteX29" fmla="*/ 1869992 w 4454477"/>
              <a:gd name="connsiteY29" fmla="*/ 4400550 h 4429294"/>
              <a:gd name="connsiteX30" fmla="*/ 1508042 w 4454477"/>
              <a:gd name="connsiteY30" fmla="*/ 4305300 h 4429294"/>
              <a:gd name="connsiteX31" fmla="*/ 1266742 w 4454477"/>
              <a:gd name="connsiteY31" fmla="*/ 4216400 h 4429294"/>
              <a:gd name="connsiteX32" fmla="*/ 1098467 w 4454477"/>
              <a:gd name="connsiteY32" fmla="*/ 4111625 h 4429294"/>
              <a:gd name="connsiteX33" fmla="*/ 879392 w 4454477"/>
              <a:gd name="connsiteY33" fmla="*/ 3968750 h 4429294"/>
              <a:gd name="connsiteX34" fmla="*/ 546017 w 4454477"/>
              <a:gd name="connsiteY34" fmla="*/ 3657600 h 4429294"/>
              <a:gd name="connsiteX35" fmla="*/ 399967 w 4454477"/>
              <a:gd name="connsiteY35" fmla="*/ 3470275 h 4429294"/>
              <a:gd name="connsiteX36" fmla="*/ 269792 w 4454477"/>
              <a:gd name="connsiteY36" fmla="*/ 3244850 h 4429294"/>
              <a:gd name="connsiteX37" fmla="*/ 117392 w 4454477"/>
              <a:gd name="connsiteY37" fmla="*/ 2892425 h 4429294"/>
              <a:gd name="connsiteX38" fmla="*/ 9442 w 4454477"/>
              <a:gd name="connsiteY38" fmla="*/ 2368550 h 4429294"/>
              <a:gd name="connsiteX39" fmla="*/ 15792 w 4454477"/>
              <a:gd name="connsiteY39" fmla="*/ 1870075 h 4429294"/>
              <a:gd name="connsiteX40" fmla="*/ 41192 w 4454477"/>
              <a:gd name="connsiteY40" fmla="*/ 1590675 h 4429294"/>
              <a:gd name="connsiteX41" fmla="*/ 88817 w 4454477"/>
              <a:gd name="connsiteY41" fmla="*/ 1419225 h 4429294"/>
              <a:gd name="connsiteX42" fmla="*/ 165017 w 4454477"/>
              <a:gd name="connsiteY42" fmla="*/ 1276350 h 4429294"/>
              <a:gd name="connsiteX43" fmla="*/ 250742 w 4454477"/>
              <a:gd name="connsiteY43" fmla="*/ 1114425 h 4429294"/>
              <a:gd name="connsiteX44" fmla="*/ 412667 w 4454477"/>
              <a:gd name="connsiteY44" fmla="*/ 857250 h 4429294"/>
              <a:gd name="connsiteX45" fmla="*/ 469817 w 4454477"/>
              <a:gd name="connsiteY45" fmla="*/ 800100 h 4429294"/>
              <a:gd name="connsiteX46" fmla="*/ 603167 w 4454477"/>
              <a:gd name="connsiteY46" fmla="*/ 676275 h 4429294"/>
              <a:gd name="connsiteX47" fmla="*/ 822242 w 4454477"/>
              <a:gd name="connsiteY47" fmla="*/ 504825 h 4429294"/>
              <a:gd name="connsiteX48" fmla="*/ 1101642 w 4454477"/>
              <a:gd name="connsiteY48" fmla="*/ 311150 h 4429294"/>
              <a:gd name="connsiteX49" fmla="*/ 1460417 w 4454477"/>
              <a:gd name="connsiteY49" fmla="*/ 152400 h 4429294"/>
              <a:gd name="connsiteX50" fmla="*/ 1574717 w 4454477"/>
              <a:gd name="connsiteY50" fmla="*/ 111125 h 4429294"/>
              <a:gd name="connsiteX51" fmla="*/ 2206542 w 4454477"/>
              <a:gd name="connsiteY51" fmla="*/ 12700 h 4429294"/>
              <a:gd name="connsiteX0" fmla="*/ 2233750 w 4456285"/>
              <a:gd name="connsiteY0" fmla="*/ 0 h 4429294"/>
              <a:gd name="connsiteX1" fmla="*/ 2557600 w 4456285"/>
              <a:gd name="connsiteY1" fmla="*/ 15875 h 4429294"/>
              <a:gd name="connsiteX2" fmla="*/ 2852875 w 4456285"/>
              <a:gd name="connsiteY2" fmla="*/ 85725 h 4429294"/>
              <a:gd name="connsiteX3" fmla="*/ 3071950 w 4456285"/>
              <a:gd name="connsiteY3" fmla="*/ 171450 h 4429294"/>
              <a:gd name="connsiteX4" fmla="*/ 3176725 w 4456285"/>
              <a:gd name="connsiteY4" fmla="*/ 228600 h 4429294"/>
              <a:gd name="connsiteX5" fmla="*/ 3357700 w 4456285"/>
              <a:gd name="connsiteY5" fmla="*/ 323850 h 4429294"/>
              <a:gd name="connsiteX6" fmla="*/ 3748225 w 4456285"/>
              <a:gd name="connsiteY6" fmla="*/ 581025 h 4429294"/>
              <a:gd name="connsiteX7" fmla="*/ 3964125 w 4456285"/>
              <a:gd name="connsiteY7" fmla="*/ 819150 h 4429294"/>
              <a:gd name="connsiteX8" fmla="*/ 4100650 w 4456285"/>
              <a:gd name="connsiteY8" fmla="*/ 990600 h 4429294"/>
              <a:gd name="connsiteX9" fmla="*/ 4186375 w 4456285"/>
              <a:gd name="connsiteY9" fmla="*/ 1143000 h 4429294"/>
              <a:gd name="connsiteX10" fmla="*/ 4243525 w 4456285"/>
              <a:gd name="connsiteY10" fmla="*/ 1266825 h 4429294"/>
              <a:gd name="connsiteX11" fmla="*/ 4281625 w 4456285"/>
              <a:gd name="connsiteY11" fmla="*/ 1362075 h 4429294"/>
              <a:gd name="connsiteX12" fmla="*/ 4329250 w 4456285"/>
              <a:gd name="connsiteY12" fmla="*/ 1552575 h 4429294"/>
              <a:gd name="connsiteX13" fmla="*/ 4367350 w 4456285"/>
              <a:gd name="connsiteY13" fmla="*/ 1685925 h 4429294"/>
              <a:gd name="connsiteX14" fmla="*/ 4456250 w 4456285"/>
              <a:gd name="connsiteY14" fmla="*/ 2181225 h 4429294"/>
              <a:gd name="connsiteX15" fmla="*/ 4383225 w 4456285"/>
              <a:gd name="connsiteY15" fmla="*/ 2768600 h 4429294"/>
              <a:gd name="connsiteX16" fmla="*/ 4319725 w 4456285"/>
              <a:gd name="connsiteY16" fmla="*/ 2990850 h 4429294"/>
              <a:gd name="connsiteX17" fmla="*/ 4214950 w 4456285"/>
              <a:gd name="connsiteY17" fmla="*/ 3248025 h 4429294"/>
              <a:gd name="connsiteX18" fmla="*/ 4119700 w 4456285"/>
              <a:gd name="connsiteY18" fmla="*/ 3400425 h 4429294"/>
              <a:gd name="connsiteX19" fmla="*/ 3995875 w 4456285"/>
              <a:gd name="connsiteY19" fmla="*/ 3533775 h 4429294"/>
              <a:gd name="connsiteX20" fmla="*/ 3891100 w 4456285"/>
              <a:gd name="connsiteY20" fmla="*/ 3648075 h 4429294"/>
              <a:gd name="connsiteX21" fmla="*/ 3595825 w 4456285"/>
              <a:gd name="connsiteY21" fmla="*/ 3971925 h 4429294"/>
              <a:gd name="connsiteX22" fmla="*/ 3452950 w 4456285"/>
              <a:gd name="connsiteY22" fmla="*/ 4083050 h 4429294"/>
              <a:gd name="connsiteX23" fmla="*/ 3157675 w 4456285"/>
              <a:gd name="connsiteY23" fmla="*/ 4222750 h 4429294"/>
              <a:gd name="connsiteX24" fmla="*/ 3005275 w 4456285"/>
              <a:gd name="connsiteY24" fmla="*/ 4286250 h 4429294"/>
              <a:gd name="connsiteX25" fmla="*/ 2871925 w 4456285"/>
              <a:gd name="connsiteY25" fmla="*/ 4333875 h 4429294"/>
              <a:gd name="connsiteX26" fmla="*/ 2748100 w 4456285"/>
              <a:gd name="connsiteY26" fmla="*/ 4371975 h 4429294"/>
              <a:gd name="connsiteX27" fmla="*/ 2516325 w 4456285"/>
              <a:gd name="connsiteY27" fmla="*/ 4391025 h 4429294"/>
              <a:gd name="connsiteX28" fmla="*/ 2062300 w 4456285"/>
              <a:gd name="connsiteY28" fmla="*/ 4429125 h 4429294"/>
              <a:gd name="connsiteX29" fmla="*/ 1871800 w 4456285"/>
              <a:gd name="connsiteY29" fmla="*/ 4400550 h 4429294"/>
              <a:gd name="connsiteX30" fmla="*/ 1509850 w 4456285"/>
              <a:gd name="connsiteY30" fmla="*/ 4305300 h 4429294"/>
              <a:gd name="connsiteX31" fmla="*/ 1268550 w 4456285"/>
              <a:gd name="connsiteY31" fmla="*/ 4216400 h 4429294"/>
              <a:gd name="connsiteX32" fmla="*/ 1100275 w 4456285"/>
              <a:gd name="connsiteY32" fmla="*/ 4111625 h 4429294"/>
              <a:gd name="connsiteX33" fmla="*/ 881200 w 4456285"/>
              <a:gd name="connsiteY33" fmla="*/ 3968750 h 4429294"/>
              <a:gd name="connsiteX34" fmla="*/ 547825 w 4456285"/>
              <a:gd name="connsiteY34" fmla="*/ 3657600 h 4429294"/>
              <a:gd name="connsiteX35" fmla="*/ 401775 w 4456285"/>
              <a:gd name="connsiteY35" fmla="*/ 3470275 h 4429294"/>
              <a:gd name="connsiteX36" fmla="*/ 271600 w 4456285"/>
              <a:gd name="connsiteY36" fmla="*/ 3244850 h 4429294"/>
              <a:gd name="connsiteX37" fmla="*/ 119200 w 4456285"/>
              <a:gd name="connsiteY37" fmla="*/ 2892425 h 4429294"/>
              <a:gd name="connsiteX38" fmla="*/ 11250 w 4456285"/>
              <a:gd name="connsiteY38" fmla="*/ 2368550 h 4429294"/>
              <a:gd name="connsiteX39" fmla="*/ 17600 w 4456285"/>
              <a:gd name="connsiteY39" fmla="*/ 1870075 h 4429294"/>
              <a:gd name="connsiteX40" fmla="*/ 90625 w 4456285"/>
              <a:gd name="connsiteY40" fmla="*/ 1419225 h 4429294"/>
              <a:gd name="connsiteX41" fmla="*/ 166825 w 4456285"/>
              <a:gd name="connsiteY41" fmla="*/ 1276350 h 4429294"/>
              <a:gd name="connsiteX42" fmla="*/ 252550 w 4456285"/>
              <a:gd name="connsiteY42" fmla="*/ 1114425 h 4429294"/>
              <a:gd name="connsiteX43" fmla="*/ 414475 w 4456285"/>
              <a:gd name="connsiteY43" fmla="*/ 857250 h 4429294"/>
              <a:gd name="connsiteX44" fmla="*/ 471625 w 4456285"/>
              <a:gd name="connsiteY44" fmla="*/ 800100 h 4429294"/>
              <a:gd name="connsiteX45" fmla="*/ 604975 w 4456285"/>
              <a:gd name="connsiteY45" fmla="*/ 676275 h 4429294"/>
              <a:gd name="connsiteX46" fmla="*/ 824050 w 4456285"/>
              <a:gd name="connsiteY46" fmla="*/ 504825 h 4429294"/>
              <a:gd name="connsiteX47" fmla="*/ 1103450 w 4456285"/>
              <a:gd name="connsiteY47" fmla="*/ 311150 h 4429294"/>
              <a:gd name="connsiteX48" fmla="*/ 1462225 w 4456285"/>
              <a:gd name="connsiteY48" fmla="*/ 152400 h 4429294"/>
              <a:gd name="connsiteX49" fmla="*/ 1576525 w 4456285"/>
              <a:gd name="connsiteY49" fmla="*/ 111125 h 4429294"/>
              <a:gd name="connsiteX50" fmla="*/ 2208350 w 4456285"/>
              <a:gd name="connsiteY50" fmla="*/ 12700 h 4429294"/>
              <a:gd name="connsiteX0" fmla="*/ 2237540 w 4460075"/>
              <a:gd name="connsiteY0" fmla="*/ 0 h 4429294"/>
              <a:gd name="connsiteX1" fmla="*/ 2561390 w 4460075"/>
              <a:gd name="connsiteY1" fmla="*/ 15875 h 4429294"/>
              <a:gd name="connsiteX2" fmla="*/ 2856665 w 4460075"/>
              <a:gd name="connsiteY2" fmla="*/ 85725 h 4429294"/>
              <a:gd name="connsiteX3" fmla="*/ 3075740 w 4460075"/>
              <a:gd name="connsiteY3" fmla="*/ 171450 h 4429294"/>
              <a:gd name="connsiteX4" fmla="*/ 3180515 w 4460075"/>
              <a:gd name="connsiteY4" fmla="*/ 228600 h 4429294"/>
              <a:gd name="connsiteX5" fmla="*/ 3361490 w 4460075"/>
              <a:gd name="connsiteY5" fmla="*/ 323850 h 4429294"/>
              <a:gd name="connsiteX6" fmla="*/ 3752015 w 4460075"/>
              <a:gd name="connsiteY6" fmla="*/ 581025 h 4429294"/>
              <a:gd name="connsiteX7" fmla="*/ 3967915 w 4460075"/>
              <a:gd name="connsiteY7" fmla="*/ 819150 h 4429294"/>
              <a:gd name="connsiteX8" fmla="*/ 4104440 w 4460075"/>
              <a:gd name="connsiteY8" fmla="*/ 990600 h 4429294"/>
              <a:gd name="connsiteX9" fmla="*/ 4190165 w 4460075"/>
              <a:gd name="connsiteY9" fmla="*/ 1143000 h 4429294"/>
              <a:gd name="connsiteX10" fmla="*/ 4247315 w 4460075"/>
              <a:gd name="connsiteY10" fmla="*/ 1266825 h 4429294"/>
              <a:gd name="connsiteX11" fmla="*/ 4285415 w 4460075"/>
              <a:gd name="connsiteY11" fmla="*/ 1362075 h 4429294"/>
              <a:gd name="connsiteX12" fmla="*/ 4333040 w 4460075"/>
              <a:gd name="connsiteY12" fmla="*/ 1552575 h 4429294"/>
              <a:gd name="connsiteX13" fmla="*/ 4371140 w 4460075"/>
              <a:gd name="connsiteY13" fmla="*/ 1685925 h 4429294"/>
              <a:gd name="connsiteX14" fmla="*/ 4460040 w 4460075"/>
              <a:gd name="connsiteY14" fmla="*/ 2181225 h 4429294"/>
              <a:gd name="connsiteX15" fmla="*/ 4387015 w 4460075"/>
              <a:gd name="connsiteY15" fmla="*/ 2768600 h 4429294"/>
              <a:gd name="connsiteX16" fmla="*/ 4323515 w 4460075"/>
              <a:gd name="connsiteY16" fmla="*/ 2990850 h 4429294"/>
              <a:gd name="connsiteX17" fmla="*/ 4218740 w 4460075"/>
              <a:gd name="connsiteY17" fmla="*/ 3248025 h 4429294"/>
              <a:gd name="connsiteX18" fmla="*/ 4123490 w 4460075"/>
              <a:gd name="connsiteY18" fmla="*/ 3400425 h 4429294"/>
              <a:gd name="connsiteX19" fmla="*/ 3999665 w 4460075"/>
              <a:gd name="connsiteY19" fmla="*/ 3533775 h 4429294"/>
              <a:gd name="connsiteX20" fmla="*/ 3894890 w 4460075"/>
              <a:gd name="connsiteY20" fmla="*/ 3648075 h 4429294"/>
              <a:gd name="connsiteX21" fmla="*/ 3599615 w 4460075"/>
              <a:gd name="connsiteY21" fmla="*/ 3971925 h 4429294"/>
              <a:gd name="connsiteX22" fmla="*/ 3456740 w 4460075"/>
              <a:gd name="connsiteY22" fmla="*/ 4083050 h 4429294"/>
              <a:gd name="connsiteX23" fmla="*/ 3161465 w 4460075"/>
              <a:gd name="connsiteY23" fmla="*/ 4222750 h 4429294"/>
              <a:gd name="connsiteX24" fmla="*/ 3009065 w 4460075"/>
              <a:gd name="connsiteY24" fmla="*/ 4286250 h 4429294"/>
              <a:gd name="connsiteX25" fmla="*/ 2875715 w 4460075"/>
              <a:gd name="connsiteY25" fmla="*/ 4333875 h 4429294"/>
              <a:gd name="connsiteX26" fmla="*/ 2751890 w 4460075"/>
              <a:gd name="connsiteY26" fmla="*/ 4371975 h 4429294"/>
              <a:gd name="connsiteX27" fmla="*/ 2520115 w 4460075"/>
              <a:gd name="connsiteY27" fmla="*/ 4391025 h 4429294"/>
              <a:gd name="connsiteX28" fmla="*/ 2066090 w 4460075"/>
              <a:gd name="connsiteY28" fmla="*/ 4429125 h 4429294"/>
              <a:gd name="connsiteX29" fmla="*/ 1875590 w 4460075"/>
              <a:gd name="connsiteY29" fmla="*/ 4400550 h 4429294"/>
              <a:gd name="connsiteX30" fmla="*/ 1513640 w 4460075"/>
              <a:gd name="connsiteY30" fmla="*/ 4305300 h 4429294"/>
              <a:gd name="connsiteX31" fmla="*/ 1272340 w 4460075"/>
              <a:gd name="connsiteY31" fmla="*/ 4216400 h 4429294"/>
              <a:gd name="connsiteX32" fmla="*/ 1104065 w 4460075"/>
              <a:gd name="connsiteY32" fmla="*/ 4111625 h 4429294"/>
              <a:gd name="connsiteX33" fmla="*/ 884990 w 4460075"/>
              <a:gd name="connsiteY33" fmla="*/ 3968750 h 4429294"/>
              <a:gd name="connsiteX34" fmla="*/ 551615 w 4460075"/>
              <a:gd name="connsiteY34" fmla="*/ 3657600 h 4429294"/>
              <a:gd name="connsiteX35" fmla="*/ 405565 w 4460075"/>
              <a:gd name="connsiteY35" fmla="*/ 3470275 h 4429294"/>
              <a:gd name="connsiteX36" fmla="*/ 275390 w 4460075"/>
              <a:gd name="connsiteY36" fmla="*/ 3244850 h 4429294"/>
              <a:gd name="connsiteX37" fmla="*/ 122990 w 4460075"/>
              <a:gd name="connsiteY37" fmla="*/ 2892425 h 4429294"/>
              <a:gd name="connsiteX38" fmla="*/ 15040 w 4460075"/>
              <a:gd name="connsiteY38" fmla="*/ 2368550 h 4429294"/>
              <a:gd name="connsiteX39" fmla="*/ 21390 w 4460075"/>
              <a:gd name="connsiteY39" fmla="*/ 1870075 h 4429294"/>
              <a:gd name="connsiteX40" fmla="*/ 170615 w 4460075"/>
              <a:gd name="connsiteY40" fmla="*/ 1276350 h 4429294"/>
              <a:gd name="connsiteX41" fmla="*/ 256340 w 4460075"/>
              <a:gd name="connsiteY41" fmla="*/ 1114425 h 4429294"/>
              <a:gd name="connsiteX42" fmla="*/ 418265 w 4460075"/>
              <a:gd name="connsiteY42" fmla="*/ 857250 h 4429294"/>
              <a:gd name="connsiteX43" fmla="*/ 475415 w 4460075"/>
              <a:gd name="connsiteY43" fmla="*/ 800100 h 4429294"/>
              <a:gd name="connsiteX44" fmla="*/ 608765 w 4460075"/>
              <a:gd name="connsiteY44" fmla="*/ 676275 h 4429294"/>
              <a:gd name="connsiteX45" fmla="*/ 827840 w 4460075"/>
              <a:gd name="connsiteY45" fmla="*/ 504825 h 4429294"/>
              <a:gd name="connsiteX46" fmla="*/ 1107240 w 4460075"/>
              <a:gd name="connsiteY46" fmla="*/ 311150 h 4429294"/>
              <a:gd name="connsiteX47" fmla="*/ 1466015 w 4460075"/>
              <a:gd name="connsiteY47" fmla="*/ 152400 h 4429294"/>
              <a:gd name="connsiteX48" fmla="*/ 1580315 w 4460075"/>
              <a:gd name="connsiteY48" fmla="*/ 111125 h 4429294"/>
              <a:gd name="connsiteX49" fmla="*/ 2212140 w 4460075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57065 w 4460800"/>
              <a:gd name="connsiteY41" fmla="*/ 1114425 h 4429294"/>
              <a:gd name="connsiteX42" fmla="*/ 418990 w 4460800"/>
              <a:gd name="connsiteY42" fmla="*/ 857250 h 4429294"/>
              <a:gd name="connsiteX43" fmla="*/ 476140 w 4460800"/>
              <a:gd name="connsiteY43" fmla="*/ 800100 h 4429294"/>
              <a:gd name="connsiteX44" fmla="*/ 609490 w 4460800"/>
              <a:gd name="connsiteY44" fmla="*/ 676275 h 4429294"/>
              <a:gd name="connsiteX45" fmla="*/ 828565 w 4460800"/>
              <a:gd name="connsiteY45" fmla="*/ 504825 h 4429294"/>
              <a:gd name="connsiteX46" fmla="*/ 1107965 w 4460800"/>
              <a:gd name="connsiteY46" fmla="*/ 311150 h 4429294"/>
              <a:gd name="connsiteX47" fmla="*/ 1466740 w 4460800"/>
              <a:gd name="connsiteY47" fmla="*/ 152400 h 4429294"/>
              <a:gd name="connsiteX48" fmla="*/ 1581040 w 4460800"/>
              <a:gd name="connsiteY48" fmla="*/ 111125 h 4429294"/>
              <a:gd name="connsiteX49" fmla="*/ 2212865 w 4460800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418990 w 4460800"/>
              <a:gd name="connsiteY42" fmla="*/ 857250 h 4429294"/>
              <a:gd name="connsiteX43" fmla="*/ 476140 w 4460800"/>
              <a:gd name="connsiteY43" fmla="*/ 800100 h 4429294"/>
              <a:gd name="connsiteX44" fmla="*/ 609490 w 4460800"/>
              <a:gd name="connsiteY44" fmla="*/ 676275 h 4429294"/>
              <a:gd name="connsiteX45" fmla="*/ 828565 w 4460800"/>
              <a:gd name="connsiteY45" fmla="*/ 504825 h 4429294"/>
              <a:gd name="connsiteX46" fmla="*/ 1107965 w 4460800"/>
              <a:gd name="connsiteY46" fmla="*/ 311150 h 4429294"/>
              <a:gd name="connsiteX47" fmla="*/ 1466740 w 4460800"/>
              <a:gd name="connsiteY47" fmla="*/ 152400 h 4429294"/>
              <a:gd name="connsiteX48" fmla="*/ 1581040 w 4460800"/>
              <a:gd name="connsiteY48" fmla="*/ 111125 h 4429294"/>
              <a:gd name="connsiteX49" fmla="*/ 2212865 w 4460800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476140 w 4460800"/>
              <a:gd name="connsiteY42" fmla="*/ 800100 h 4429294"/>
              <a:gd name="connsiteX43" fmla="*/ 609490 w 4460800"/>
              <a:gd name="connsiteY43" fmla="*/ 676275 h 4429294"/>
              <a:gd name="connsiteX44" fmla="*/ 828565 w 4460800"/>
              <a:gd name="connsiteY44" fmla="*/ 504825 h 4429294"/>
              <a:gd name="connsiteX45" fmla="*/ 1107965 w 4460800"/>
              <a:gd name="connsiteY45" fmla="*/ 311150 h 4429294"/>
              <a:gd name="connsiteX46" fmla="*/ 1466740 w 4460800"/>
              <a:gd name="connsiteY46" fmla="*/ 152400 h 4429294"/>
              <a:gd name="connsiteX47" fmla="*/ 1581040 w 4460800"/>
              <a:gd name="connsiteY47" fmla="*/ 111125 h 4429294"/>
              <a:gd name="connsiteX48" fmla="*/ 2212865 w 4460800"/>
              <a:gd name="connsiteY48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609490 w 4460800"/>
              <a:gd name="connsiteY42" fmla="*/ 676275 h 4429294"/>
              <a:gd name="connsiteX43" fmla="*/ 828565 w 4460800"/>
              <a:gd name="connsiteY43" fmla="*/ 504825 h 4429294"/>
              <a:gd name="connsiteX44" fmla="*/ 1107965 w 4460800"/>
              <a:gd name="connsiteY44" fmla="*/ 311150 h 4429294"/>
              <a:gd name="connsiteX45" fmla="*/ 1466740 w 4460800"/>
              <a:gd name="connsiteY45" fmla="*/ 152400 h 4429294"/>
              <a:gd name="connsiteX46" fmla="*/ 1581040 w 4460800"/>
              <a:gd name="connsiteY46" fmla="*/ 111125 h 4429294"/>
              <a:gd name="connsiteX47" fmla="*/ 2212865 w 4460800"/>
              <a:gd name="connsiteY47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609490 w 4460800"/>
              <a:gd name="connsiteY42" fmla="*/ 676275 h 4429294"/>
              <a:gd name="connsiteX43" fmla="*/ 828565 w 4460800"/>
              <a:gd name="connsiteY43" fmla="*/ 504825 h 4429294"/>
              <a:gd name="connsiteX44" fmla="*/ 1107965 w 4460800"/>
              <a:gd name="connsiteY44" fmla="*/ 311150 h 4429294"/>
              <a:gd name="connsiteX45" fmla="*/ 1466740 w 4460800"/>
              <a:gd name="connsiteY45" fmla="*/ 152400 h 4429294"/>
              <a:gd name="connsiteX46" fmla="*/ 1581040 w 4460800"/>
              <a:gd name="connsiteY46" fmla="*/ 111125 h 4429294"/>
              <a:gd name="connsiteX47" fmla="*/ 2212865 w 4460800"/>
              <a:gd name="connsiteY47" fmla="*/ 12700 h 4429294"/>
              <a:gd name="connsiteX48" fmla="*/ 2238265 w 4460800"/>
              <a:gd name="connsiteY48" fmla="*/ 0 h 4429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460800" h="4429294">
                <a:moveTo>
                  <a:pt x="2238265" y="0"/>
                </a:moveTo>
                <a:cubicBezTo>
                  <a:pt x="2346215" y="5292"/>
                  <a:pt x="2458928" y="1588"/>
                  <a:pt x="2562115" y="15875"/>
                </a:cubicBezTo>
                <a:cubicBezTo>
                  <a:pt x="2665302" y="30162"/>
                  <a:pt x="2798653" y="69321"/>
                  <a:pt x="2857390" y="85725"/>
                </a:cubicBezTo>
                <a:cubicBezTo>
                  <a:pt x="2943115" y="111654"/>
                  <a:pt x="3033603" y="153988"/>
                  <a:pt x="3076465" y="171450"/>
                </a:cubicBezTo>
                <a:cubicBezTo>
                  <a:pt x="3130440" y="195262"/>
                  <a:pt x="3133615" y="203200"/>
                  <a:pt x="3181240" y="228600"/>
                </a:cubicBezTo>
                <a:cubicBezTo>
                  <a:pt x="3228865" y="254000"/>
                  <a:pt x="3266965" y="265113"/>
                  <a:pt x="3362215" y="323850"/>
                </a:cubicBezTo>
                <a:cubicBezTo>
                  <a:pt x="3457465" y="382588"/>
                  <a:pt x="3651669" y="498475"/>
                  <a:pt x="3752740" y="581025"/>
                </a:cubicBezTo>
                <a:cubicBezTo>
                  <a:pt x="3853811" y="663575"/>
                  <a:pt x="3909903" y="750888"/>
                  <a:pt x="3968640" y="819150"/>
                </a:cubicBezTo>
                <a:cubicBezTo>
                  <a:pt x="4027378" y="887413"/>
                  <a:pt x="4068123" y="936625"/>
                  <a:pt x="4105165" y="990600"/>
                </a:cubicBezTo>
                <a:cubicBezTo>
                  <a:pt x="4142207" y="1044575"/>
                  <a:pt x="4175015" y="1109663"/>
                  <a:pt x="4190890" y="1143000"/>
                </a:cubicBezTo>
                <a:cubicBezTo>
                  <a:pt x="4214703" y="1189038"/>
                  <a:pt x="4232165" y="1230313"/>
                  <a:pt x="4248040" y="1266825"/>
                </a:cubicBezTo>
                <a:cubicBezTo>
                  <a:pt x="4263915" y="1303338"/>
                  <a:pt x="4271853" y="1314450"/>
                  <a:pt x="4286140" y="1362075"/>
                </a:cubicBezTo>
                <a:cubicBezTo>
                  <a:pt x="4300427" y="1409700"/>
                  <a:pt x="4319478" y="1498600"/>
                  <a:pt x="4333765" y="1552575"/>
                </a:cubicBezTo>
                <a:cubicBezTo>
                  <a:pt x="4348053" y="1606550"/>
                  <a:pt x="4350698" y="1581150"/>
                  <a:pt x="4371865" y="1685925"/>
                </a:cubicBezTo>
                <a:cubicBezTo>
                  <a:pt x="4393032" y="1790700"/>
                  <a:pt x="4459178" y="1982788"/>
                  <a:pt x="4460765" y="2181225"/>
                </a:cubicBezTo>
                <a:cubicBezTo>
                  <a:pt x="4462352" y="2379662"/>
                  <a:pt x="4410494" y="2633663"/>
                  <a:pt x="4387740" y="2768600"/>
                </a:cubicBezTo>
                <a:cubicBezTo>
                  <a:pt x="4364986" y="2903537"/>
                  <a:pt x="4352286" y="2910946"/>
                  <a:pt x="4324240" y="2990850"/>
                </a:cubicBezTo>
                <a:cubicBezTo>
                  <a:pt x="4296194" y="3070754"/>
                  <a:pt x="4252802" y="3179763"/>
                  <a:pt x="4219465" y="3248025"/>
                </a:cubicBezTo>
                <a:cubicBezTo>
                  <a:pt x="4186128" y="3316287"/>
                  <a:pt x="4160728" y="3352800"/>
                  <a:pt x="4124215" y="3400425"/>
                </a:cubicBezTo>
                <a:cubicBezTo>
                  <a:pt x="4087703" y="3448050"/>
                  <a:pt x="4038490" y="3492500"/>
                  <a:pt x="4000390" y="3533775"/>
                </a:cubicBezTo>
                <a:lnTo>
                  <a:pt x="3895615" y="3648075"/>
                </a:lnTo>
                <a:cubicBezTo>
                  <a:pt x="3797190" y="3756025"/>
                  <a:pt x="3673365" y="3899429"/>
                  <a:pt x="3600340" y="3971925"/>
                </a:cubicBezTo>
                <a:cubicBezTo>
                  <a:pt x="3527315" y="4044421"/>
                  <a:pt x="3530490" y="4041246"/>
                  <a:pt x="3457465" y="4083050"/>
                </a:cubicBezTo>
                <a:cubicBezTo>
                  <a:pt x="3384440" y="4124854"/>
                  <a:pt x="3236802" y="4188883"/>
                  <a:pt x="3162190" y="4222750"/>
                </a:cubicBezTo>
                <a:cubicBezTo>
                  <a:pt x="3087578" y="4256617"/>
                  <a:pt x="3038173" y="4283885"/>
                  <a:pt x="3009790" y="4286250"/>
                </a:cubicBezTo>
                <a:cubicBezTo>
                  <a:pt x="2947977" y="4310975"/>
                  <a:pt x="2954113" y="4309602"/>
                  <a:pt x="2876440" y="4333875"/>
                </a:cubicBezTo>
                <a:cubicBezTo>
                  <a:pt x="2853306" y="4341104"/>
                  <a:pt x="2811882" y="4362450"/>
                  <a:pt x="2752615" y="4371975"/>
                </a:cubicBezTo>
                <a:cubicBezTo>
                  <a:pt x="2693348" y="4381500"/>
                  <a:pt x="2635140" y="4381500"/>
                  <a:pt x="2520840" y="4391025"/>
                </a:cubicBezTo>
                <a:cubicBezTo>
                  <a:pt x="2406540" y="4400550"/>
                  <a:pt x="2174236" y="4427538"/>
                  <a:pt x="2066815" y="4429125"/>
                </a:cubicBezTo>
                <a:cubicBezTo>
                  <a:pt x="1959394" y="4430712"/>
                  <a:pt x="1968390" y="4421187"/>
                  <a:pt x="1876315" y="4400550"/>
                </a:cubicBezTo>
                <a:cubicBezTo>
                  <a:pt x="1784240" y="4379913"/>
                  <a:pt x="1614907" y="4335992"/>
                  <a:pt x="1514365" y="4305300"/>
                </a:cubicBezTo>
                <a:cubicBezTo>
                  <a:pt x="1413823" y="4274608"/>
                  <a:pt x="1353498" y="4246033"/>
                  <a:pt x="1273065" y="4216400"/>
                </a:cubicBezTo>
                <a:cubicBezTo>
                  <a:pt x="1206390" y="4187825"/>
                  <a:pt x="1169348" y="4152900"/>
                  <a:pt x="1104790" y="4111625"/>
                </a:cubicBezTo>
                <a:cubicBezTo>
                  <a:pt x="1040232" y="4070350"/>
                  <a:pt x="977790" y="4044421"/>
                  <a:pt x="885715" y="3968750"/>
                </a:cubicBezTo>
                <a:cubicBezTo>
                  <a:pt x="793640" y="3893079"/>
                  <a:pt x="632244" y="3740679"/>
                  <a:pt x="552340" y="3657600"/>
                </a:cubicBezTo>
                <a:cubicBezTo>
                  <a:pt x="472436" y="3574521"/>
                  <a:pt x="452327" y="3539067"/>
                  <a:pt x="406290" y="3470275"/>
                </a:cubicBezTo>
                <a:cubicBezTo>
                  <a:pt x="360253" y="3401483"/>
                  <a:pt x="323211" y="3341158"/>
                  <a:pt x="276115" y="3244850"/>
                </a:cubicBezTo>
                <a:cubicBezTo>
                  <a:pt x="229019" y="3148542"/>
                  <a:pt x="167107" y="3038475"/>
                  <a:pt x="123715" y="2892425"/>
                </a:cubicBezTo>
                <a:cubicBezTo>
                  <a:pt x="80323" y="2746375"/>
                  <a:pt x="37990" y="2553758"/>
                  <a:pt x="15765" y="2368550"/>
                </a:cubicBezTo>
                <a:cubicBezTo>
                  <a:pt x="-6460" y="2183342"/>
                  <a:pt x="-5931" y="2044700"/>
                  <a:pt x="22115" y="1870075"/>
                </a:cubicBezTo>
                <a:cubicBezTo>
                  <a:pt x="50161" y="1695450"/>
                  <a:pt x="139590" y="1446742"/>
                  <a:pt x="184040" y="1320800"/>
                </a:cubicBezTo>
                <a:cubicBezTo>
                  <a:pt x="228490" y="1194858"/>
                  <a:pt x="217907" y="1221846"/>
                  <a:pt x="288815" y="1114425"/>
                </a:cubicBezTo>
                <a:cubicBezTo>
                  <a:pt x="359723" y="1007004"/>
                  <a:pt x="519532" y="777875"/>
                  <a:pt x="609490" y="676275"/>
                </a:cubicBezTo>
                <a:cubicBezTo>
                  <a:pt x="699448" y="574675"/>
                  <a:pt x="745486" y="565679"/>
                  <a:pt x="828565" y="504825"/>
                </a:cubicBezTo>
                <a:cubicBezTo>
                  <a:pt x="911644" y="443971"/>
                  <a:pt x="997898" y="379942"/>
                  <a:pt x="1107965" y="311150"/>
                </a:cubicBezTo>
                <a:cubicBezTo>
                  <a:pt x="1214328" y="252413"/>
                  <a:pt x="1387894" y="185737"/>
                  <a:pt x="1466740" y="152400"/>
                </a:cubicBezTo>
                <a:cubicBezTo>
                  <a:pt x="1545586" y="119063"/>
                  <a:pt x="1456686" y="134408"/>
                  <a:pt x="1581040" y="111125"/>
                </a:cubicBezTo>
                <a:cubicBezTo>
                  <a:pt x="1810698" y="67733"/>
                  <a:pt x="1945107" y="-7408"/>
                  <a:pt x="2212865" y="12700"/>
                </a:cubicBezTo>
                <a:lnTo>
                  <a:pt x="2238265" y="0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40" tIns="45720" rIns="91440" bIns="45720" rtlCol="0" anchor="ctr"/>
          <a:lstStyle/>
          <a:p>
            <a:pPr algn="ctr" fontAlgn="t"/>
            <a:endParaRPr lang="da-DK" sz="1200" b="1">
              <a:solidFill>
                <a:srgbClr val="004C45"/>
              </a:solidFill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EFC620EA-9D50-4AE8-94F8-09143B8278B6}"/>
              </a:ext>
            </a:extLst>
          </p:cNvPr>
          <p:cNvGrpSpPr/>
          <p:nvPr/>
        </p:nvGrpSpPr>
        <p:grpSpPr>
          <a:xfrm>
            <a:off x="2905803" y="5593335"/>
            <a:ext cx="498628" cy="498626"/>
            <a:chOff x="-1159155" y="1739431"/>
            <a:chExt cx="563866" cy="563864"/>
          </a:xfrm>
        </p:grpSpPr>
        <p:sp>
          <p:nvSpPr>
            <p:cNvPr id="71" name="Oval 587">
              <a:extLst>
                <a:ext uri="{FF2B5EF4-FFF2-40B4-BE49-F238E27FC236}">
                  <a16:creationId xmlns:a16="http://schemas.microsoft.com/office/drawing/2014/main" id="{F673C80E-ABBA-44AA-A705-E4DA4F6020E1}"/>
                </a:ext>
              </a:extLst>
            </p:cNvPr>
            <p:cNvSpPr/>
            <p:nvPr/>
          </p:nvSpPr>
          <p:spPr>
            <a:xfrm>
              <a:off x="-1159155" y="1739431"/>
              <a:ext cx="563866" cy="563864"/>
            </a:xfrm>
            <a:prstGeom prst="ellipse">
              <a:avLst/>
            </a:pr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72" name="Freeform: Shape 591">
              <a:extLst>
                <a:ext uri="{FF2B5EF4-FFF2-40B4-BE49-F238E27FC236}">
                  <a16:creationId xmlns:a16="http://schemas.microsoft.com/office/drawing/2014/main" id="{88CFB0E7-99FE-4FE2-A314-DF0477F30638}"/>
                </a:ext>
              </a:extLst>
            </p:cNvPr>
            <p:cNvSpPr/>
            <p:nvPr/>
          </p:nvSpPr>
          <p:spPr>
            <a:xfrm>
              <a:off x="-1023531" y="1910589"/>
              <a:ext cx="292618" cy="221550"/>
            </a:xfrm>
            <a:custGeom>
              <a:avLst/>
              <a:gdLst/>
              <a:ahLst/>
              <a:cxnLst/>
              <a:rect l="l" t="t" r="r" b="b"/>
              <a:pathLst>
                <a:path w="75629" h="57261">
                  <a:moveTo>
                    <a:pt x="70210" y="0"/>
                  </a:moveTo>
                  <a:cubicBezTo>
                    <a:pt x="71401" y="0"/>
                    <a:pt x="72405" y="55"/>
                    <a:pt x="73224" y="167"/>
                  </a:cubicBezTo>
                  <a:cubicBezTo>
                    <a:pt x="74042" y="279"/>
                    <a:pt x="74638" y="465"/>
                    <a:pt x="75010" y="725"/>
                  </a:cubicBezTo>
                  <a:cubicBezTo>
                    <a:pt x="75382" y="985"/>
                    <a:pt x="75587" y="1339"/>
                    <a:pt x="75624" y="1785"/>
                  </a:cubicBezTo>
                  <a:cubicBezTo>
                    <a:pt x="75661" y="2232"/>
                    <a:pt x="75494" y="2753"/>
                    <a:pt x="75121" y="3348"/>
                  </a:cubicBezTo>
                  <a:lnTo>
                    <a:pt x="60499" y="34044"/>
                  </a:lnTo>
                  <a:lnTo>
                    <a:pt x="60499" y="48108"/>
                  </a:lnTo>
                  <a:cubicBezTo>
                    <a:pt x="60499" y="50043"/>
                    <a:pt x="60294" y="51606"/>
                    <a:pt x="59885" y="52796"/>
                  </a:cubicBezTo>
                  <a:cubicBezTo>
                    <a:pt x="59476" y="53987"/>
                    <a:pt x="58843" y="54917"/>
                    <a:pt x="57988" y="55587"/>
                  </a:cubicBezTo>
                  <a:cubicBezTo>
                    <a:pt x="57132" y="56257"/>
                    <a:pt x="56053" y="56703"/>
                    <a:pt x="54751" y="56926"/>
                  </a:cubicBezTo>
                  <a:cubicBezTo>
                    <a:pt x="53448" y="57150"/>
                    <a:pt x="51904" y="57261"/>
                    <a:pt x="50118" y="57261"/>
                  </a:cubicBezTo>
                  <a:cubicBezTo>
                    <a:pt x="48332" y="57261"/>
                    <a:pt x="46807" y="57150"/>
                    <a:pt x="45542" y="56926"/>
                  </a:cubicBezTo>
                  <a:cubicBezTo>
                    <a:pt x="44277" y="56703"/>
                    <a:pt x="43235" y="56257"/>
                    <a:pt x="42416" y="55587"/>
                  </a:cubicBezTo>
                  <a:cubicBezTo>
                    <a:pt x="41598" y="54917"/>
                    <a:pt x="40984" y="53987"/>
                    <a:pt x="40575" y="52796"/>
                  </a:cubicBezTo>
                  <a:cubicBezTo>
                    <a:pt x="40165" y="51606"/>
                    <a:pt x="39961" y="50043"/>
                    <a:pt x="39961" y="48108"/>
                  </a:cubicBezTo>
                  <a:cubicBezTo>
                    <a:pt x="39961" y="45876"/>
                    <a:pt x="40072" y="43811"/>
                    <a:pt x="40296" y="41913"/>
                  </a:cubicBezTo>
                  <a:cubicBezTo>
                    <a:pt x="40519" y="40016"/>
                    <a:pt x="40872" y="38211"/>
                    <a:pt x="41356" y="36500"/>
                  </a:cubicBezTo>
                  <a:cubicBezTo>
                    <a:pt x="41840" y="34788"/>
                    <a:pt x="42509" y="33095"/>
                    <a:pt x="43365" y="31421"/>
                  </a:cubicBezTo>
                  <a:cubicBezTo>
                    <a:pt x="44221" y="29747"/>
                    <a:pt x="45244" y="27979"/>
                    <a:pt x="46435" y="26119"/>
                  </a:cubicBezTo>
                  <a:lnTo>
                    <a:pt x="61504" y="3237"/>
                  </a:lnTo>
                  <a:cubicBezTo>
                    <a:pt x="61876" y="2641"/>
                    <a:pt x="62285" y="2158"/>
                    <a:pt x="62732" y="1785"/>
                  </a:cubicBezTo>
                  <a:cubicBezTo>
                    <a:pt x="63178" y="1413"/>
                    <a:pt x="63736" y="1097"/>
                    <a:pt x="64406" y="837"/>
                  </a:cubicBezTo>
                  <a:cubicBezTo>
                    <a:pt x="65076" y="576"/>
                    <a:pt x="65876" y="372"/>
                    <a:pt x="66806" y="223"/>
                  </a:cubicBezTo>
                  <a:cubicBezTo>
                    <a:pt x="67736" y="74"/>
                    <a:pt x="68871" y="0"/>
                    <a:pt x="70210" y="0"/>
                  </a:cubicBezTo>
                  <a:close/>
                  <a:moveTo>
                    <a:pt x="30250" y="0"/>
                  </a:moveTo>
                  <a:cubicBezTo>
                    <a:pt x="31440" y="0"/>
                    <a:pt x="32426" y="55"/>
                    <a:pt x="33208" y="167"/>
                  </a:cubicBezTo>
                  <a:cubicBezTo>
                    <a:pt x="33989" y="279"/>
                    <a:pt x="34584" y="465"/>
                    <a:pt x="34994" y="725"/>
                  </a:cubicBezTo>
                  <a:cubicBezTo>
                    <a:pt x="35403" y="985"/>
                    <a:pt x="35608" y="1339"/>
                    <a:pt x="35608" y="1785"/>
                  </a:cubicBezTo>
                  <a:cubicBezTo>
                    <a:pt x="35608" y="2232"/>
                    <a:pt x="35459" y="2753"/>
                    <a:pt x="35161" y="3348"/>
                  </a:cubicBezTo>
                  <a:lnTo>
                    <a:pt x="20539" y="34044"/>
                  </a:lnTo>
                  <a:lnTo>
                    <a:pt x="20539" y="48108"/>
                  </a:lnTo>
                  <a:cubicBezTo>
                    <a:pt x="20539" y="50043"/>
                    <a:pt x="20334" y="51606"/>
                    <a:pt x="19925" y="52796"/>
                  </a:cubicBezTo>
                  <a:cubicBezTo>
                    <a:pt x="19516" y="53987"/>
                    <a:pt x="18883" y="54917"/>
                    <a:pt x="18027" y="55587"/>
                  </a:cubicBezTo>
                  <a:cubicBezTo>
                    <a:pt x="17172" y="56257"/>
                    <a:pt x="16093" y="56703"/>
                    <a:pt x="14790" y="56926"/>
                  </a:cubicBezTo>
                  <a:cubicBezTo>
                    <a:pt x="13488" y="57150"/>
                    <a:pt x="11944" y="57261"/>
                    <a:pt x="10158" y="57261"/>
                  </a:cubicBezTo>
                  <a:cubicBezTo>
                    <a:pt x="8372" y="57261"/>
                    <a:pt x="6847" y="57150"/>
                    <a:pt x="5582" y="56926"/>
                  </a:cubicBezTo>
                  <a:cubicBezTo>
                    <a:pt x="4316" y="56703"/>
                    <a:pt x="3275" y="56257"/>
                    <a:pt x="2456" y="55587"/>
                  </a:cubicBezTo>
                  <a:cubicBezTo>
                    <a:pt x="1638" y="54917"/>
                    <a:pt x="1024" y="53987"/>
                    <a:pt x="614" y="52796"/>
                  </a:cubicBezTo>
                  <a:cubicBezTo>
                    <a:pt x="205" y="51606"/>
                    <a:pt x="0" y="50043"/>
                    <a:pt x="0" y="48108"/>
                  </a:cubicBezTo>
                  <a:cubicBezTo>
                    <a:pt x="0" y="45876"/>
                    <a:pt x="112" y="43811"/>
                    <a:pt x="335" y="41913"/>
                  </a:cubicBezTo>
                  <a:cubicBezTo>
                    <a:pt x="559" y="40016"/>
                    <a:pt x="912" y="38211"/>
                    <a:pt x="1396" y="36500"/>
                  </a:cubicBezTo>
                  <a:cubicBezTo>
                    <a:pt x="1879" y="34788"/>
                    <a:pt x="2549" y="33095"/>
                    <a:pt x="3405" y="31421"/>
                  </a:cubicBezTo>
                  <a:cubicBezTo>
                    <a:pt x="4261" y="29747"/>
                    <a:pt x="5284" y="27979"/>
                    <a:pt x="6474" y="26119"/>
                  </a:cubicBezTo>
                  <a:lnTo>
                    <a:pt x="21543" y="3237"/>
                  </a:lnTo>
                  <a:cubicBezTo>
                    <a:pt x="21915" y="2641"/>
                    <a:pt x="22325" y="2158"/>
                    <a:pt x="22771" y="1785"/>
                  </a:cubicBezTo>
                  <a:cubicBezTo>
                    <a:pt x="23218" y="1413"/>
                    <a:pt x="23776" y="1097"/>
                    <a:pt x="24445" y="837"/>
                  </a:cubicBezTo>
                  <a:cubicBezTo>
                    <a:pt x="25115" y="576"/>
                    <a:pt x="25915" y="372"/>
                    <a:pt x="26845" y="223"/>
                  </a:cubicBezTo>
                  <a:cubicBezTo>
                    <a:pt x="27776" y="74"/>
                    <a:pt x="28910" y="0"/>
                    <a:pt x="30250" y="0"/>
                  </a:cubicBezTo>
                  <a:close/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a-DK" sz="1400"/>
            </a:p>
          </p:txBody>
        </p:sp>
      </p:grpSp>
      <p:sp>
        <p:nvSpPr>
          <p:cNvPr id="97" name="Freeform: Shape 4">
            <a:extLst>
              <a:ext uri="{FF2B5EF4-FFF2-40B4-BE49-F238E27FC236}">
                <a16:creationId xmlns:a16="http://schemas.microsoft.com/office/drawing/2014/main" id="{CE2654BF-E4AB-4607-97ED-482C166621F6}"/>
              </a:ext>
            </a:extLst>
          </p:cNvPr>
          <p:cNvSpPr/>
          <p:nvPr/>
        </p:nvSpPr>
        <p:spPr>
          <a:xfrm>
            <a:off x="360000" y="3100932"/>
            <a:ext cx="1750154" cy="1666105"/>
          </a:xfrm>
          <a:custGeom>
            <a:avLst/>
            <a:gdLst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944902 w 4469152"/>
              <a:gd name="connsiteY150" fmla="*/ 476250 h 4496940"/>
              <a:gd name="connsiteX151" fmla="*/ 1087777 w 4469152"/>
              <a:gd name="connsiteY151" fmla="*/ 409575 h 4496940"/>
              <a:gd name="connsiteX152" fmla="*/ 1202077 w 4469152"/>
              <a:gd name="connsiteY152" fmla="*/ 314325 h 4496940"/>
              <a:gd name="connsiteX153" fmla="*/ 1268752 w 4469152"/>
              <a:gd name="connsiteY153" fmla="*/ 285750 h 4496940"/>
              <a:gd name="connsiteX154" fmla="*/ 1411627 w 4469152"/>
              <a:gd name="connsiteY154" fmla="*/ 190500 h 4496940"/>
              <a:gd name="connsiteX155" fmla="*/ 1449727 w 4469152"/>
              <a:gd name="connsiteY155" fmla="*/ 161925 h 4496940"/>
              <a:gd name="connsiteX156" fmla="*/ 1525927 w 4469152"/>
              <a:gd name="connsiteY156" fmla="*/ 152400 h 4496940"/>
              <a:gd name="connsiteX157" fmla="*/ 1583077 w 4469152"/>
              <a:gd name="connsiteY157" fmla="*/ 142875 h 4496940"/>
              <a:gd name="connsiteX158" fmla="*/ 1716427 w 4469152"/>
              <a:gd name="connsiteY158" fmla="*/ 123825 h 4496940"/>
              <a:gd name="connsiteX159" fmla="*/ 1811677 w 4469152"/>
              <a:gd name="connsiteY159" fmla="*/ 114300 h 4496940"/>
              <a:gd name="connsiteX160" fmla="*/ 1859302 w 4469152"/>
              <a:gd name="connsiteY160" fmla="*/ 104775 h 4496940"/>
              <a:gd name="connsiteX161" fmla="*/ 1916452 w 4469152"/>
              <a:gd name="connsiteY161" fmla="*/ 95250 h 4496940"/>
              <a:gd name="connsiteX162" fmla="*/ 2030752 w 4469152"/>
              <a:gd name="connsiteY162" fmla="*/ 66675 h 4496940"/>
              <a:gd name="connsiteX163" fmla="*/ 2097427 w 4469152"/>
              <a:gd name="connsiteY163" fmla="*/ 47625 h 4496940"/>
              <a:gd name="connsiteX164" fmla="*/ 2164102 w 4469152"/>
              <a:gd name="connsiteY164" fmla="*/ 38100 h 4496940"/>
              <a:gd name="connsiteX165" fmla="*/ 2392702 w 4469152"/>
              <a:gd name="connsiteY165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087777 w 4469152"/>
              <a:gd name="connsiteY150" fmla="*/ 409575 h 4496940"/>
              <a:gd name="connsiteX151" fmla="*/ 1202077 w 4469152"/>
              <a:gd name="connsiteY151" fmla="*/ 314325 h 4496940"/>
              <a:gd name="connsiteX152" fmla="*/ 1268752 w 4469152"/>
              <a:gd name="connsiteY152" fmla="*/ 285750 h 4496940"/>
              <a:gd name="connsiteX153" fmla="*/ 1411627 w 4469152"/>
              <a:gd name="connsiteY153" fmla="*/ 190500 h 4496940"/>
              <a:gd name="connsiteX154" fmla="*/ 1449727 w 4469152"/>
              <a:gd name="connsiteY154" fmla="*/ 161925 h 4496940"/>
              <a:gd name="connsiteX155" fmla="*/ 1525927 w 4469152"/>
              <a:gd name="connsiteY155" fmla="*/ 152400 h 4496940"/>
              <a:gd name="connsiteX156" fmla="*/ 1583077 w 4469152"/>
              <a:gd name="connsiteY156" fmla="*/ 142875 h 4496940"/>
              <a:gd name="connsiteX157" fmla="*/ 1716427 w 4469152"/>
              <a:gd name="connsiteY157" fmla="*/ 123825 h 4496940"/>
              <a:gd name="connsiteX158" fmla="*/ 1811677 w 4469152"/>
              <a:gd name="connsiteY158" fmla="*/ 114300 h 4496940"/>
              <a:gd name="connsiteX159" fmla="*/ 1859302 w 4469152"/>
              <a:gd name="connsiteY159" fmla="*/ 104775 h 4496940"/>
              <a:gd name="connsiteX160" fmla="*/ 1916452 w 4469152"/>
              <a:gd name="connsiteY160" fmla="*/ 95250 h 4496940"/>
              <a:gd name="connsiteX161" fmla="*/ 2030752 w 4469152"/>
              <a:gd name="connsiteY161" fmla="*/ 66675 h 4496940"/>
              <a:gd name="connsiteX162" fmla="*/ 2097427 w 4469152"/>
              <a:gd name="connsiteY162" fmla="*/ 47625 h 4496940"/>
              <a:gd name="connsiteX163" fmla="*/ 2164102 w 4469152"/>
              <a:gd name="connsiteY163" fmla="*/ 38100 h 4496940"/>
              <a:gd name="connsiteX164" fmla="*/ 2392702 w 4469152"/>
              <a:gd name="connsiteY164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202077 w 4469152"/>
              <a:gd name="connsiteY150" fmla="*/ 314325 h 4496940"/>
              <a:gd name="connsiteX151" fmla="*/ 1268752 w 4469152"/>
              <a:gd name="connsiteY151" fmla="*/ 285750 h 4496940"/>
              <a:gd name="connsiteX152" fmla="*/ 1411627 w 4469152"/>
              <a:gd name="connsiteY152" fmla="*/ 190500 h 4496940"/>
              <a:gd name="connsiteX153" fmla="*/ 1449727 w 4469152"/>
              <a:gd name="connsiteY153" fmla="*/ 161925 h 4496940"/>
              <a:gd name="connsiteX154" fmla="*/ 1525927 w 4469152"/>
              <a:gd name="connsiteY154" fmla="*/ 152400 h 4496940"/>
              <a:gd name="connsiteX155" fmla="*/ 1583077 w 4469152"/>
              <a:gd name="connsiteY155" fmla="*/ 142875 h 4496940"/>
              <a:gd name="connsiteX156" fmla="*/ 1716427 w 4469152"/>
              <a:gd name="connsiteY156" fmla="*/ 123825 h 4496940"/>
              <a:gd name="connsiteX157" fmla="*/ 1811677 w 4469152"/>
              <a:gd name="connsiteY157" fmla="*/ 114300 h 4496940"/>
              <a:gd name="connsiteX158" fmla="*/ 1859302 w 4469152"/>
              <a:gd name="connsiteY158" fmla="*/ 104775 h 4496940"/>
              <a:gd name="connsiteX159" fmla="*/ 1916452 w 4469152"/>
              <a:gd name="connsiteY159" fmla="*/ 95250 h 4496940"/>
              <a:gd name="connsiteX160" fmla="*/ 2030752 w 4469152"/>
              <a:gd name="connsiteY160" fmla="*/ 66675 h 4496940"/>
              <a:gd name="connsiteX161" fmla="*/ 2097427 w 4469152"/>
              <a:gd name="connsiteY161" fmla="*/ 47625 h 4496940"/>
              <a:gd name="connsiteX162" fmla="*/ 2164102 w 4469152"/>
              <a:gd name="connsiteY162" fmla="*/ 38100 h 4496940"/>
              <a:gd name="connsiteX163" fmla="*/ 2392702 w 4469152"/>
              <a:gd name="connsiteY163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268752 w 4469152"/>
              <a:gd name="connsiteY150" fmla="*/ 285750 h 4496940"/>
              <a:gd name="connsiteX151" fmla="*/ 1411627 w 4469152"/>
              <a:gd name="connsiteY151" fmla="*/ 190500 h 4496940"/>
              <a:gd name="connsiteX152" fmla="*/ 1449727 w 4469152"/>
              <a:gd name="connsiteY152" fmla="*/ 161925 h 4496940"/>
              <a:gd name="connsiteX153" fmla="*/ 1525927 w 4469152"/>
              <a:gd name="connsiteY153" fmla="*/ 152400 h 4496940"/>
              <a:gd name="connsiteX154" fmla="*/ 1583077 w 4469152"/>
              <a:gd name="connsiteY154" fmla="*/ 142875 h 4496940"/>
              <a:gd name="connsiteX155" fmla="*/ 1716427 w 4469152"/>
              <a:gd name="connsiteY155" fmla="*/ 123825 h 4496940"/>
              <a:gd name="connsiteX156" fmla="*/ 1811677 w 4469152"/>
              <a:gd name="connsiteY156" fmla="*/ 114300 h 4496940"/>
              <a:gd name="connsiteX157" fmla="*/ 1859302 w 4469152"/>
              <a:gd name="connsiteY157" fmla="*/ 104775 h 4496940"/>
              <a:gd name="connsiteX158" fmla="*/ 1916452 w 4469152"/>
              <a:gd name="connsiteY158" fmla="*/ 95250 h 4496940"/>
              <a:gd name="connsiteX159" fmla="*/ 2030752 w 4469152"/>
              <a:gd name="connsiteY159" fmla="*/ 66675 h 4496940"/>
              <a:gd name="connsiteX160" fmla="*/ 2097427 w 4469152"/>
              <a:gd name="connsiteY160" fmla="*/ 47625 h 4496940"/>
              <a:gd name="connsiteX161" fmla="*/ 2164102 w 4469152"/>
              <a:gd name="connsiteY161" fmla="*/ 38100 h 4496940"/>
              <a:gd name="connsiteX162" fmla="*/ 2392702 w 4469152"/>
              <a:gd name="connsiteY162" fmla="*/ 28575 h 4496940"/>
              <a:gd name="connsiteX0" fmla="*/ 2297452 w 4469152"/>
              <a:gd name="connsiteY0" fmla="*/ 0 h 4496940"/>
              <a:gd name="connsiteX1" fmla="*/ 2421277 w 4469152"/>
              <a:gd name="connsiteY1" fmla="*/ 28575 h 4496940"/>
              <a:gd name="connsiteX2" fmla="*/ 2497477 w 4469152"/>
              <a:gd name="connsiteY2" fmla="*/ 47625 h 4496940"/>
              <a:gd name="connsiteX3" fmla="*/ 2754652 w 4469152"/>
              <a:gd name="connsiteY3" fmla="*/ 66675 h 4496940"/>
              <a:gd name="connsiteX4" fmla="*/ 2830852 w 4469152"/>
              <a:gd name="connsiteY4" fmla="*/ 76200 h 4496940"/>
              <a:gd name="connsiteX5" fmla="*/ 2916577 w 4469152"/>
              <a:gd name="connsiteY5" fmla="*/ 85725 h 4496940"/>
              <a:gd name="connsiteX6" fmla="*/ 2973727 w 4469152"/>
              <a:gd name="connsiteY6" fmla="*/ 114300 h 4496940"/>
              <a:gd name="connsiteX7" fmla="*/ 3011827 w 4469152"/>
              <a:gd name="connsiteY7" fmla="*/ 123825 h 4496940"/>
              <a:gd name="connsiteX8" fmla="*/ 3135652 w 4469152"/>
              <a:gd name="connsiteY8" fmla="*/ 171450 h 4496940"/>
              <a:gd name="connsiteX9" fmla="*/ 3173752 w 4469152"/>
              <a:gd name="connsiteY9" fmla="*/ 190500 h 4496940"/>
              <a:gd name="connsiteX10" fmla="*/ 3240427 w 4469152"/>
              <a:gd name="connsiteY10" fmla="*/ 228600 h 4496940"/>
              <a:gd name="connsiteX11" fmla="*/ 3269002 w 4469152"/>
              <a:gd name="connsiteY11" fmla="*/ 238125 h 4496940"/>
              <a:gd name="connsiteX12" fmla="*/ 3297577 w 4469152"/>
              <a:gd name="connsiteY12" fmla="*/ 257175 h 4496940"/>
              <a:gd name="connsiteX13" fmla="*/ 3326152 w 4469152"/>
              <a:gd name="connsiteY13" fmla="*/ 266700 h 4496940"/>
              <a:gd name="connsiteX14" fmla="*/ 3354727 w 4469152"/>
              <a:gd name="connsiteY14" fmla="*/ 285750 h 4496940"/>
              <a:gd name="connsiteX15" fmla="*/ 3421402 w 4469152"/>
              <a:gd name="connsiteY15" fmla="*/ 323850 h 4496940"/>
              <a:gd name="connsiteX16" fmla="*/ 3469027 w 4469152"/>
              <a:gd name="connsiteY16" fmla="*/ 361950 h 4496940"/>
              <a:gd name="connsiteX17" fmla="*/ 3516652 w 4469152"/>
              <a:gd name="connsiteY17" fmla="*/ 390525 h 4496940"/>
              <a:gd name="connsiteX18" fmla="*/ 3545227 w 4469152"/>
              <a:gd name="connsiteY18" fmla="*/ 419100 h 4496940"/>
              <a:gd name="connsiteX19" fmla="*/ 3602377 w 4469152"/>
              <a:gd name="connsiteY19" fmla="*/ 457200 h 4496940"/>
              <a:gd name="connsiteX20" fmla="*/ 3630952 w 4469152"/>
              <a:gd name="connsiteY20" fmla="*/ 485775 h 4496940"/>
              <a:gd name="connsiteX21" fmla="*/ 3678577 w 4469152"/>
              <a:gd name="connsiteY21" fmla="*/ 504825 h 4496940"/>
              <a:gd name="connsiteX22" fmla="*/ 3745252 w 4469152"/>
              <a:gd name="connsiteY22" fmla="*/ 542925 h 4496940"/>
              <a:gd name="connsiteX23" fmla="*/ 3811927 w 4469152"/>
              <a:gd name="connsiteY23" fmla="*/ 581025 h 4496940"/>
              <a:gd name="connsiteX24" fmla="*/ 3840502 w 4469152"/>
              <a:gd name="connsiteY24" fmla="*/ 600075 h 4496940"/>
              <a:gd name="connsiteX25" fmla="*/ 3869077 w 4469152"/>
              <a:gd name="connsiteY25" fmla="*/ 628650 h 4496940"/>
              <a:gd name="connsiteX26" fmla="*/ 3907177 w 4469152"/>
              <a:gd name="connsiteY26" fmla="*/ 647700 h 4496940"/>
              <a:gd name="connsiteX27" fmla="*/ 3935752 w 4469152"/>
              <a:gd name="connsiteY27" fmla="*/ 676275 h 4496940"/>
              <a:gd name="connsiteX28" fmla="*/ 3992902 w 4469152"/>
              <a:gd name="connsiteY28" fmla="*/ 714375 h 4496940"/>
              <a:gd name="connsiteX29" fmla="*/ 4050052 w 4469152"/>
              <a:gd name="connsiteY29" fmla="*/ 790575 h 4496940"/>
              <a:gd name="connsiteX30" fmla="*/ 4078627 w 4469152"/>
              <a:gd name="connsiteY30" fmla="*/ 838200 h 4496940"/>
              <a:gd name="connsiteX31" fmla="*/ 4107202 w 4469152"/>
              <a:gd name="connsiteY31" fmla="*/ 876300 h 4496940"/>
              <a:gd name="connsiteX32" fmla="*/ 4116727 w 4469152"/>
              <a:gd name="connsiteY32" fmla="*/ 904875 h 4496940"/>
              <a:gd name="connsiteX33" fmla="*/ 4135777 w 4469152"/>
              <a:gd name="connsiteY33" fmla="*/ 933450 h 4496940"/>
              <a:gd name="connsiteX34" fmla="*/ 4164352 w 4469152"/>
              <a:gd name="connsiteY34" fmla="*/ 990600 h 4496940"/>
              <a:gd name="connsiteX35" fmla="*/ 4173877 w 4469152"/>
              <a:gd name="connsiteY35" fmla="*/ 1019175 h 4496940"/>
              <a:gd name="connsiteX36" fmla="*/ 4192927 w 4469152"/>
              <a:gd name="connsiteY36" fmla="*/ 1057275 h 4496940"/>
              <a:gd name="connsiteX37" fmla="*/ 4202452 w 4469152"/>
              <a:gd name="connsiteY37" fmla="*/ 1085850 h 4496940"/>
              <a:gd name="connsiteX38" fmla="*/ 4250077 w 4469152"/>
              <a:gd name="connsiteY38" fmla="*/ 1143000 h 4496940"/>
              <a:gd name="connsiteX39" fmla="*/ 4259602 w 4469152"/>
              <a:gd name="connsiteY39" fmla="*/ 1190625 h 4496940"/>
              <a:gd name="connsiteX40" fmla="*/ 4307227 w 4469152"/>
              <a:gd name="connsiteY40" fmla="*/ 1266825 h 4496940"/>
              <a:gd name="connsiteX41" fmla="*/ 4345327 w 4469152"/>
              <a:gd name="connsiteY41" fmla="*/ 1362075 h 4496940"/>
              <a:gd name="connsiteX42" fmla="*/ 4373902 w 4469152"/>
              <a:gd name="connsiteY42" fmla="*/ 1428750 h 4496940"/>
              <a:gd name="connsiteX43" fmla="*/ 4392952 w 4469152"/>
              <a:gd name="connsiteY43" fmla="*/ 1552575 h 4496940"/>
              <a:gd name="connsiteX44" fmla="*/ 4402477 w 4469152"/>
              <a:gd name="connsiteY44" fmla="*/ 1590675 h 4496940"/>
              <a:gd name="connsiteX45" fmla="*/ 4431052 w 4469152"/>
              <a:gd name="connsiteY45" fmla="*/ 1685925 h 4496940"/>
              <a:gd name="connsiteX46" fmla="*/ 4440577 w 4469152"/>
              <a:gd name="connsiteY46" fmla="*/ 1762125 h 4496940"/>
              <a:gd name="connsiteX47" fmla="*/ 4459627 w 4469152"/>
              <a:gd name="connsiteY47" fmla="*/ 1828800 h 4496940"/>
              <a:gd name="connsiteX48" fmla="*/ 4469152 w 4469152"/>
              <a:gd name="connsiteY48" fmla="*/ 1933575 h 4496940"/>
              <a:gd name="connsiteX49" fmla="*/ 4440577 w 4469152"/>
              <a:gd name="connsiteY49" fmla="*/ 2876550 h 4496940"/>
              <a:gd name="connsiteX50" fmla="*/ 4383427 w 4469152"/>
              <a:gd name="connsiteY50" fmla="*/ 2990850 h 4496940"/>
              <a:gd name="connsiteX51" fmla="*/ 4354852 w 4469152"/>
              <a:gd name="connsiteY51" fmla="*/ 3057525 h 4496940"/>
              <a:gd name="connsiteX52" fmla="*/ 4335802 w 4469152"/>
              <a:gd name="connsiteY52" fmla="*/ 3095625 h 4496940"/>
              <a:gd name="connsiteX53" fmla="*/ 4278652 w 4469152"/>
              <a:gd name="connsiteY53" fmla="*/ 3248025 h 4496940"/>
              <a:gd name="connsiteX54" fmla="*/ 4259602 w 4469152"/>
              <a:gd name="connsiteY54" fmla="*/ 3276600 h 4496940"/>
              <a:gd name="connsiteX55" fmla="*/ 4221502 w 4469152"/>
              <a:gd name="connsiteY55" fmla="*/ 3333750 h 4496940"/>
              <a:gd name="connsiteX56" fmla="*/ 4211977 w 4469152"/>
              <a:gd name="connsiteY56" fmla="*/ 3362325 h 4496940"/>
              <a:gd name="connsiteX57" fmla="*/ 4183402 w 4469152"/>
              <a:gd name="connsiteY57" fmla="*/ 3400425 h 4496940"/>
              <a:gd name="connsiteX58" fmla="*/ 4164352 w 4469152"/>
              <a:gd name="connsiteY58" fmla="*/ 3429000 h 4496940"/>
              <a:gd name="connsiteX59" fmla="*/ 4088152 w 4469152"/>
              <a:gd name="connsiteY59" fmla="*/ 3495675 h 4496940"/>
              <a:gd name="connsiteX60" fmla="*/ 4059577 w 4469152"/>
              <a:gd name="connsiteY60" fmla="*/ 3533775 h 4496940"/>
              <a:gd name="connsiteX61" fmla="*/ 4002427 w 4469152"/>
              <a:gd name="connsiteY61" fmla="*/ 3600450 h 4496940"/>
              <a:gd name="connsiteX62" fmla="*/ 3983377 w 4469152"/>
              <a:gd name="connsiteY62" fmla="*/ 3629025 h 4496940"/>
              <a:gd name="connsiteX63" fmla="*/ 3954802 w 4469152"/>
              <a:gd name="connsiteY63" fmla="*/ 3648075 h 4496940"/>
              <a:gd name="connsiteX64" fmla="*/ 3907177 w 4469152"/>
              <a:gd name="connsiteY64" fmla="*/ 3686175 h 4496940"/>
              <a:gd name="connsiteX65" fmla="*/ 3869077 w 4469152"/>
              <a:gd name="connsiteY65" fmla="*/ 3724275 h 4496940"/>
              <a:gd name="connsiteX66" fmla="*/ 3792877 w 4469152"/>
              <a:gd name="connsiteY66" fmla="*/ 3781425 h 4496940"/>
              <a:gd name="connsiteX67" fmla="*/ 3783352 w 4469152"/>
              <a:gd name="connsiteY67" fmla="*/ 3810000 h 4496940"/>
              <a:gd name="connsiteX68" fmla="*/ 3745252 w 4469152"/>
              <a:gd name="connsiteY68" fmla="*/ 3819525 h 4496940"/>
              <a:gd name="connsiteX69" fmla="*/ 3678577 w 4469152"/>
              <a:gd name="connsiteY69" fmla="*/ 3848100 h 4496940"/>
              <a:gd name="connsiteX70" fmla="*/ 3659527 w 4469152"/>
              <a:gd name="connsiteY70" fmla="*/ 3971925 h 4496940"/>
              <a:gd name="connsiteX71" fmla="*/ 3630952 w 4469152"/>
              <a:gd name="connsiteY71" fmla="*/ 4010025 h 4496940"/>
              <a:gd name="connsiteX72" fmla="*/ 3621427 w 4469152"/>
              <a:gd name="connsiteY72" fmla="*/ 4038600 h 4496940"/>
              <a:gd name="connsiteX73" fmla="*/ 3554752 w 4469152"/>
              <a:gd name="connsiteY73" fmla="*/ 4095750 h 4496940"/>
              <a:gd name="connsiteX74" fmla="*/ 3516652 w 4469152"/>
              <a:gd name="connsiteY74" fmla="*/ 4114800 h 4496940"/>
              <a:gd name="connsiteX75" fmla="*/ 3497602 w 4469152"/>
              <a:gd name="connsiteY75" fmla="*/ 4143375 h 4496940"/>
              <a:gd name="connsiteX76" fmla="*/ 3383302 w 4469152"/>
              <a:gd name="connsiteY76" fmla="*/ 4210050 h 4496940"/>
              <a:gd name="connsiteX77" fmla="*/ 3335677 w 4469152"/>
              <a:gd name="connsiteY77" fmla="*/ 4238625 h 4496940"/>
              <a:gd name="connsiteX78" fmla="*/ 3288052 w 4469152"/>
              <a:gd name="connsiteY78" fmla="*/ 4248150 h 4496940"/>
              <a:gd name="connsiteX79" fmla="*/ 3240427 w 4469152"/>
              <a:gd name="connsiteY79" fmla="*/ 4267200 h 4496940"/>
              <a:gd name="connsiteX80" fmla="*/ 3068977 w 4469152"/>
              <a:gd name="connsiteY80" fmla="*/ 4286250 h 4496940"/>
              <a:gd name="connsiteX81" fmla="*/ 2935627 w 4469152"/>
              <a:gd name="connsiteY81" fmla="*/ 4333875 h 4496940"/>
              <a:gd name="connsiteX82" fmla="*/ 2811802 w 4469152"/>
              <a:gd name="connsiteY82" fmla="*/ 4371975 h 4496940"/>
              <a:gd name="connsiteX83" fmla="*/ 2745127 w 4469152"/>
              <a:gd name="connsiteY83" fmla="*/ 4410075 h 4496940"/>
              <a:gd name="connsiteX84" fmla="*/ 2697502 w 4469152"/>
              <a:gd name="connsiteY84" fmla="*/ 4429125 h 4496940"/>
              <a:gd name="connsiteX85" fmla="*/ 2640352 w 4469152"/>
              <a:gd name="connsiteY85" fmla="*/ 4457700 h 4496940"/>
              <a:gd name="connsiteX86" fmla="*/ 2583202 w 4469152"/>
              <a:gd name="connsiteY86" fmla="*/ 4467225 h 4496940"/>
              <a:gd name="connsiteX87" fmla="*/ 2545102 w 4469152"/>
              <a:gd name="connsiteY87" fmla="*/ 4486275 h 4496940"/>
              <a:gd name="connsiteX88" fmla="*/ 2306977 w 4469152"/>
              <a:gd name="connsiteY88" fmla="*/ 4476750 h 4496940"/>
              <a:gd name="connsiteX89" fmla="*/ 2202202 w 4469152"/>
              <a:gd name="connsiteY89" fmla="*/ 4457700 h 4496940"/>
              <a:gd name="connsiteX90" fmla="*/ 2126002 w 4469152"/>
              <a:gd name="connsiteY90" fmla="*/ 4429125 h 4496940"/>
              <a:gd name="connsiteX91" fmla="*/ 1935502 w 4469152"/>
              <a:gd name="connsiteY91" fmla="*/ 4400550 h 4496940"/>
              <a:gd name="connsiteX92" fmla="*/ 1821202 w 4469152"/>
              <a:gd name="connsiteY92" fmla="*/ 4371975 h 4496940"/>
              <a:gd name="connsiteX93" fmla="*/ 1754527 w 4469152"/>
              <a:gd name="connsiteY93" fmla="*/ 4352925 h 4496940"/>
              <a:gd name="connsiteX94" fmla="*/ 1687852 w 4469152"/>
              <a:gd name="connsiteY94" fmla="*/ 4343400 h 4496940"/>
              <a:gd name="connsiteX95" fmla="*/ 1573552 w 4469152"/>
              <a:gd name="connsiteY95" fmla="*/ 4305300 h 4496940"/>
              <a:gd name="connsiteX96" fmla="*/ 1402102 w 4469152"/>
              <a:gd name="connsiteY96" fmla="*/ 4276725 h 4496940"/>
              <a:gd name="connsiteX97" fmla="*/ 1287802 w 4469152"/>
              <a:gd name="connsiteY97" fmla="*/ 4229100 h 4496940"/>
              <a:gd name="connsiteX98" fmla="*/ 1221127 w 4469152"/>
              <a:gd name="connsiteY98" fmla="*/ 4200525 h 4496940"/>
              <a:gd name="connsiteX99" fmla="*/ 1144927 w 4469152"/>
              <a:gd name="connsiteY99" fmla="*/ 4171950 h 4496940"/>
              <a:gd name="connsiteX100" fmla="*/ 1087777 w 4469152"/>
              <a:gd name="connsiteY100" fmla="*/ 4143375 h 4496940"/>
              <a:gd name="connsiteX101" fmla="*/ 1030627 w 4469152"/>
              <a:gd name="connsiteY101" fmla="*/ 4124325 h 4496940"/>
              <a:gd name="connsiteX102" fmla="*/ 925852 w 4469152"/>
              <a:gd name="connsiteY102" fmla="*/ 4067175 h 4496940"/>
              <a:gd name="connsiteX103" fmla="*/ 830602 w 4469152"/>
              <a:gd name="connsiteY103" fmla="*/ 3981450 h 4496940"/>
              <a:gd name="connsiteX104" fmla="*/ 763927 w 4469152"/>
              <a:gd name="connsiteY104" fmla="*/ 3914775 h 4496940"/>
              <a:gd name="connsiteX105" fmla="*/ 725827 w 4469152"/>
              <a:gd name="connsiteY105" fmla="*/ 3876675 h 4496940"/>
              <a:gd name="connsiteX106" fmla="*/ 697252 w 4469152"/>
              <a:gd name="connsiteY106" fmla="*/ 3838575 h 4496940"/>
              <a:gd name="connsiteX107" fmla="*/ 640102 w 4469152"/>
              <a:gd name="connsiteY107" fmla="*/ 3781425 h 4496940"/>
              <a:gd name="connsiteX108" fmla="*/ 611527 w 4469152"/>
              <a:gd name="connsiteY108" fmla="*/ 3733800 h 4496940"/>
              <a:gd name="connsiteX109" fmla="*/ 554377 w 4469152"/>
              <a:gd name="connsiteY109" fmla="*/ 3657600 h 4496940"/>
              <a:gd name="connsiteX110" fmla="*/ 525802 w 4469152"/>
              <a:gd name="connsiteY110" fmla="*/ 3609975 h 4496940"/>
              <a:gd name="connsiteX111" fmla="*/ 497227 w 4469152"/>
              <a:gd name="connsiteY111" fmla="*/ 3552825 h 4496940"/>
              <a:gd name="connsiteX112" fmla="*/ 440077 w 4469152"/>
              <a:gd name="connsiteY112" fmla="*/ 3495675 h 4496940"/>
              <a:gd name="connsiteX113" fmla="*/ 411502 w 4469152"/>
              <a:gd name="connsiteY113" fmla="*/ 3448050 h 4496940"/>
              <a:gd name="connsiteX114" fmla="*/ 278152 w 4469152"/>
              <a:gd name="connsiteY114" fmla="*/ 3257550 h 4496940"/>
              <a:gd name="connsiteX115" fmla="*/ 249577 w 4469152"/>
              <a:gd name="connsiteY115" fmla="*/ 3200400 h 4496940"/>
              <a:gd name="connsiteX116" fmla="*/ 240052 w 4469152"/>
              <a:gd name="connsiteY116" fmla="*/ 3162300 h 4496940"/>
              <a:gd name="connsiteX117" fmla="*/ 221002 w 4469152"/>
              <a:gd name="connsiteY117" fmla="*/ 3105150 h 4496940"/>
              <a:gd name="connsiteX118" fmla="*/ 173377 w 4469152"/>
              <a:gd name="connsiteY118" fmla="*/ 3019425 h 4496940"/>
              <a:gd name="connsiteX119" fmla="*/ 144802 w 4469152"/>
              <a:gd name="connsiteY119" fmla="*/ 2924175 h 4496940"/>
              <a:gd name="connsiteX120" fmla="*/ 68602 w 4469152"/>
              <a:gd name="connsiteY120" fmla="*/ 2724150 h 4496940"/>
              <a:gd name="connsiteX121" fmla="*/ 49552 w 4469152"/>
              <a:gd name="connsiteY121" fmla="*/ 2638425 h 4496940"/>
              <a:gd name="connsiteX122" fmla="*/ 40027 w 4469152"/>
              <a:gd name="connsiteY122" fmla="*/ 2562225 h 4496940"/>
              <a:gd name="connsiteX123" fmla="*/ 30502 w 4469152"/>
              <a:gd name="connsiteY123" fmla="*/ 2514600 h 4496940"/>
              <a:gd name="connsiteX124" fmla="*/ 11452 w 4469152"/>
              <a:gd name="connsiteY124" fmla="*/ 2400300 h 4496940"/>
              <a:gd name="connsiteX125" fmla="*/ 20977 w 4469152"/>
              <a:gd name="connsiteY125" fmla="*/ 1905000 h 4496940"/>
              <a:gd name="connsiteX126" fmla="*/ 30502 w 4469152"/>
              <a:gd name="connsiteY126" fmla="*/ 1838325 h 4496940"/>
              <a:gd name="connsiteX127" fmla="*/ 49552 w 4469152"/>
              <a:gd name="connsiteY127" fmla="*/ 1781175 h 4496940"/>
              <a:gd name="connsiteX128" fmla="*/ 59077 w 4469152"/>
              <a:gd name="connsiteY128" fmla="*/ 1743075 h 4496940"/>
              <a:gd name="connsiteX129" fmla="*/ 78127 w 4469152"/>
              <a:gd name="connsiteY129" fmla="*/ 1685925 h 4496940"/>
              <a:gd name="connsiteX130" fmla="*/ 87652 w 4469152"/>
              <a:gd name="connsiteY130" fmla="*/ 1638300 h 4496940"/>
              <a:gd name="connsiteX131" fmla="*/ 106702 w 4469152"/>
              <a:gd name="connsiteY131" fmla="*/ 1590675 h 4496940"/>
              <a:gd name="connsiteX132" fmla="*/ 135277 w 4469152"/>
              <a:gd name="connsiteY132" fmla="*/ 1504950 h 4496940"/>
              <a:gd name="connsiteX133" fmla="*/ 154327 w 4469152"/>
              <a:gd name="connsiteY133" fmla="*/ 1419225 h 4496940"/>
              <a:gd name="connsiteX134" fmla="*/ 230527 w 4469152"/>
              <a:gd name="connsiteY134" fmla="*/ 1276350 h 4496940"/>
              <a:gd name="connsiteX135" fmla="*/ 240052 w 4469152"/>
              <a:gd name="connsiteY135" fmla="*/ 1247775 h 4496940"/>
              <a:gd name="connsiteX136" fmla="*/ 268627 w 4469152"/>
              <a:gd name="connsiteY136" fmla="*/ 1200150 h 4496940"/>
              <a:gd name="connsiteX137" fmla="*/ 287677 w 4469152"/>
              <a:gd name="connsiteY137" fmla="*/ 1152525 h 4496940"/>
              <a:gd name="connsiteX138" fmla="*/ 316252 w 4469152"/>
              <a:gd name="connsiteY138" fmla="*/ 1114425 h 4496940"/>
              <a:gd name="connsiteX139" fmla="*/ 363877 w 4469152"/>
              <a:gd name="connsiteY139" fmla="*/ 1038225 h 4496940"/>
              <a:gd name="connsiteX140" fmla="*/ 382927 w 4469152"/>
              <a:gd name="connsiteY140" fmla="*/ 1009650 h 4496940"/>
              <a:gd name="connsiteX141" fmla="*/ 440077 w 4469152"/>
              <a:gd name="connsiteY141" fmla="*/ 904875 h 4496940"/>
              <a:gd name="connsiteX142" fmla="*/ 478177 w 4469152"/>
              <a:gd name="connsiteY142" fmla="*/ 857250 h 4496940"/>
              <a:gd name="connsiteX143" fmla="*/ 497227 w 4469152"/>
              <a:gd name="connsiteY143" fmla="*/ 828675 h 4496940"/>
              <a:gd name="connsiteX144" fmla="*/ 535327 w 4469152"/>
              <a:gd name="connsiteY144" fmla="*/ 800100 h 4496940"/>
              <a:gd name="connsiteX145" fmla="*/ 602002 w 4469152"/>
              <a:gd name="connsiteY145" fmla="*/ 733425 h 4496940"/>
              <a:gd name="connsiteX146" fmla="*/ 668677 w 4469152"/>
              <a:gd name="connsiteY146" fmla="*/ 676275 h 4496940"/>
              <a:gd name="connsiteX147" fmla="*/ 697252 w 4469152"/>
              <a:gd name="connsiteY147" fmla="*/ 657225 h 4496940"/>
              <a:gd name="connsiteX148" fmla="*/ 840127 w 4469152"/>
              <a:gd name="connsiteY148" fmla="*/ 533400 h 4496940"/>
              <a:gd name="connsiteX149" fmla="*/ 887752 w 4469152"/>
              <a:gd name="connsiteY149" fmla="*/ 504825 h 4496940"/>
              <a:gd name="connsiteX150" fmla="*/ 1167152 w 4469152"/>
              <a:gd name="connsiteY150" fmla="*/ 311150 h 4496940"/>
              <a:gd name="connsiteX151" fmla="*/ 1268752 w 4469152"/>
              <a:gd name="connsiteY151" fmla="*/ 285750 h 4496940"/>
              <a:gd name="connsiteX152" fmla="*/ 1411627 w 4469152"/>
              <a:gd name="connsiteY152" fmla="*/ 190500 h 4496940"/>
              <a:gd name="connsiteX153" fmla="*/ 1449727 w 4469152"/>
              <a:gd name="connsiteY153" fmla="*/ 161925 h 4496940"/>
              <a:gd name="connsiteX154" fmla="*/ 1525927 w 4469152"/>
              <a:gd name="connsiteY154" fmla="*/ 152400 h 4496940"/>
              <a:gd name="connsiteX155" fmla="*/ 1583077 w 4469152"/>
              <a:gd name="connsiteY155" fmla="*/ 142875 h 4496940"/>
              <a:gd name="connsiteX156" fmla="*/ 1716427 w 4469152"/>
              <a:gd name="connsiteY156" fmla="*/ 123825 h 4496940"/>
              <a:gd name="connsiteX157" fmla="*/ 1811677 w 4469152"/>
              <a:gd name="connsiteY157" fmla="*/ 114300 h 4496940"/>
              <a:gd name="connsiteX158" fmla="*/ 1859302 w 4469152"/>
              <a:gd name="connsiteY158" fmla="*/ 104775 h 4496940"/>
              <a:gd name="connsiteX159" fmla="*/ 1916452 w 4469152"/>
              <a:gd name="connsiteY159" fmla="*/ 95250 h 4496940"/>
              <a:gd name="connsiteX160" fmla="*/ 2030752 w 4469152"/>
              <a:gd name="connsiteY160" fmla="*/ 66675 h 4496940"/>
              <a:gd name="connsiteX161" fmla="*/ 2097427 w 4469152"/>
              <a:gd name="connsiteY161" fmla="*/ 47625 h 4496940"/>
              <a:gd name="connsiteX162" fmla="*/ 2164102 w 4469152"/>
              <a:gd name="connsiteY162" fmla="*/ 38100 h 4496940"/>
              <a:gd name="connsiteX163" fmla="*/ 2392702 w 4469152"/>
              <a:gd name="connsiteY163" fmla="*/ 28575 h 4496940"/>
              <a:gd name="connsiteX0" fmla="*/ 2297452 w 4519952"/>
              <a:gd name="connsiteY0" fmla="*/ 0 h 4496940"/>
              <a:gd name="connsiteX1" fmla="*/ 2421277 w 4519952"/>
              <a:gd name="connsiteY1" fmla="*/ 28575 h 4496940"/>
              <a:gd name="connsiteX2" fmla="*/ 2497477 w 4519952"/>
              <a:gd name="connsiteY2" fmla="*/ 47625 h 4496940"/>
              <a:gd name="connsiteX3" fmla="*/ 2754652 w 4519952"/>
              <a:gd name="connsiteY3" fmla="*/ 66675 h 4496940"/>
              <a:gd name="connsiteX4" fmla="*/ 2830852 w 4519952"/>
              <a:gd name="connsiteY4" fmla="*/ 76200 h 4496940"/>
              <a:gd name="connsiteX5" fmla="*/ 2916577 w 4519952"/>
              <a:gd name="connsiteY5" fmla="*/ 85725 h 4496940"/>
              <a:gd name="connsiteX6" fmla="*/ 2973727 w 4519952"/>
              <a:gd name="connsiteY6" fmla="*/ 114300 h 4496940"/>
              <a:gd name="connsiteX7" fmla="*/ 3011827 w 4519952"/>
              <a:gd name="connsiteY7" fmla="*/ 123825 h 4496940"/>
              <a:gd name="connsiteX8" fmla="*/ 3135652 w 4519952"/>
              <a:gd name="connsiteY8" fmla="*/ 171450 h 4496940"/>
              <a:gd name="connsiteX9" fmla="*/ 3173752 w 4519952"/>
              <a:gd name="connsiteY9" fmla="*/ 190500 h 4496940"/>
              <a:gd name="connsiteX10" fmla="*/ 3240427 w 4519952"/>
              <a:gd name="connsiteY10" fmla="*/ 228600 h 4496940"/>
              <a:gd name="connsiteX11" fmla="*/ 3269002 w 4519952"/>
              <a:gd name="connsiteY11" fmla="*/ 238125 h 4496940"/>
              <a:gd name="connsiteX12" fmla="*/ 3297577 w 4519952"/>
              <a:gd name="connsiteY12" fmla="*/ 257175 h 4496940"/>
              <a:gd name="connsiteX13" fmla="*/ 3326152 w 4519952"/>
              <a:gd name="connsiteY13" fmla="*/ 266700 h 4496940"/>
              <a:gd name="connsiteX14" fmla="*/ 3354727 w 4519952"/>
              <a:gd name="connsiteY14" fmla="*/ 285750 h 4496940"/>
              <a:gd name="connsiteX15" fmla="*/ 3421402 w 4519952"/>
              <a:gd name="connsiteY15" fmla="*/ 323850 h 4496940"/>
              <a:gd name="connsiteX16" fmla="*/ 3469027 w 4519952"/>
              <a:gd name="connsiteY16" fmla="*/ 361950 h 4496940"/>
              <a:gd name="connsiteX17" fmla="*/ 3516652 w 4519952"/>
              <a:gd name="connsiteY17" fmla="*/ 390525 h 4496940"/>
              <a:gd name="connsiteX18" fmla="*/ 3545227 w 4519952"/>
              <a:gd name="connsiteY18" fmla="*/ 419100 h 4496940"/>
              <a:gd name="connsiteX19" fmla="*/ 3602377 w 4519952"/>
              <a:gd name="connsiteY19" fmla="*/ 457200 h 4496940"/>
              <a:gd name="connsiteX20" fmla="*/ 3630952 w 4519952"/>
              <a:gd name="connsiteY20" fmla="*/ 485775 h 4496940"/>
              <a:gd name="connsiteX21" fmla="*/ 3678577 w 4519952"/>
              <a:gd name="connsiteY21" fmla="*/ 504825 h 4496940"/>
              <a:gd name="connsiteX22" fmla="*/ 3745252 w 4519952"/>
              <a:gd name="connsiteY22" fmla="*/ 542925 h 4496940"/>
              <a:gd name="connsiteX23" fmla="*/ 3811927 w 4519952"/>
              <a:gd name="connsiteY23" fmla="*/ 581025 h 4496940"/>
              <a:gd name="connsiteX24" fmla="*/ 3840502 w 4519952"/>
              <a:gd name="connsiteY24" fmla="*/ 600075 h 4496940"/>
              <a:gd name="connsiteX25" fmla="*/ 3869077 w 4519952"/>
              <a:gd name="connsiteY25" fmla="*/ 628650 h 4496940"/>
              <a:gd name="connsiteX26" fmla="*/ 3907177 w 4519952"/>
              <a:gd name="connsiteY26" fmla="*/ 647700 h 4496940"/>
              <a:gd name="connsiteX27" fmla="*/ 3935752 w 4519952"/>
              <a:gd name="connsiteY27" fmla="*/ 676275 h 4496940"/>
              <a:gd name="connsiteX28" fmla="*/ 3992902 w 4519952"/>
              <a:gd name="connsiteY28" fmla="*/ 714375 h 4496940"/>
              <a:gd name="connsiteX29" fmla="*/ 4050052 w 4519952"/>
              <a:gd name="connsiteY29" fmla="*/ 790575 h 4496940"/>
              <a:gd name="connsiteX30" fmla="*/ 4078627 w 4519952"/>
              <a:gd name="connsiteY30" fmla="*/ 838200 h 4496940"/>
              <a:gd name="connsiteX31" fmla="*/ 4107202 w 4519952"/>
              <a:gd name="connsiteY31" fmla="*/ 876300 h 4496940"/>
              <a:gd name="connsiteX32" fmla="*/ 4116727 w 4519952"/>
              <a:gd name="connsiteY32" fmla="*/ 904875 h 4496940"/>
              <a:gd name="connsiteX33" fmla="*/ 4135777 w 4519952"/>
              <a:gd name="connsiteY33" fmla="*/ 933450 h 4496940"/>
              <a:gd name="connsiteX34" fmla="*/ 4164352 w 4519952"/>
              <a:gd name="connsiteY34" fmla="*/ 990600 h 4496940"/>
              <a:gd name="connsiteX35" fmla="*/ 4173877 w 4519952"/>
              <a:gd name="connsiteY35" fmla="*/ 1019175 h 4496940"/>
              <a:gd name="connsiteX36" fmla="*/ 4192927 w 4519952"/>
              <a:gd name="connsiteY36" fmla="*/ 1057275 h 4496940"/>
              <a:gd name="connsiteX37" fmla="*/ 4202452 w 4519952"/>
              <a:gd name="connsiteY37" fmla="*/ 1085850 h 4496940"/>
              <a:gd name="connsiteX38" fmla="*/ 4250077 w 4519952"/>
              <a:gd name="connsiteY38" fmla="*/ 1143000 h 4496940"/>
              <a:gd name="connsiteX39" fmla="*/ 4259602 w 4519952"/>
              <a:gd name="connsiteY39" fmla="*/ 1190625 h 4496940"/>
              <a:gd name="connsiteX40" fmla="*/ 4307227 w 4519952"/>
              <a:gd name="connsiteY40" fmla="*/ 1266825 h 4496940"/>
              <a:gd name="connsiteX41" fmla="*/ 4345327 w 4519952"/>
              <a:gd name="connsiteY41" fmla="*/ 1362075 h 4496940"/>
              <a:gd name="connsiteX42" fmla="*/ 4373902 w 4519952"/>
              <a:gd name="connsiteY42" fmla="*/ 1428750 h 4496940"/>
              <a:gd name="connsiteX43" fmla="*/ 4392952 w 4519952"/>
              <a:gd name="connsiteY43" fmla="*/ 1552575 h 4496940"/>
              <a:gd name="connsiteX44" fmla="*/ 4402477 w 4519952"/>
              <a:gd name="connsiteY44" fmla="*/ 1590675 h 4496940"/>
              <a:gd name="connsiteX45" fmla="*/ 4431052 w 4519952"/>
              <a:gd name="connsiteY45" fmla="*/ 1685925 h 4496940"/>
              <a:gd name="connsiteX46" fmla="*/ 4440577 w 4519952"/>
              <a:gd name="connsiteY46" fmla="*/ 1762125 h 4496940"/>
              <a:gd name="connsiteX47" fmla="*/ 4459627 w 4519952"/>
              <a:gd name="connsiteY47" fmla="*/ 1828800 h 4496940"/>
              <a:gd name="connsiteX48" fmla="*/ 4519952 w 4519952"/>
              <a:gd name="connsiteY48" fmla="*/ 2181225 h 4496940"/>
              <a:gd name="connsiteX49" fmla="*/ 4440577 w 4519952"/>
              <a:gd name="connsiteY49" fmla="*/ 2876550 h 4496940"/>
              <a:gd name="connsiteX50" fmla="*/ 4383427 w 4519952"/>
              <a:gd name="connsiteY50" fmla="*/ 2990850 h 4496940"/>
              <a:gd name="connsiteX51" fmla="*/ 4354852 w 4519952"/>
              <a:gd name="connsiteY51" fmla="*/ 3057525 h 4496940"/>
              <a:gd name="connsiteX52" fmla="*/ 4335802 w 4519952"/>
              <a:gd name="connsiteY52" fmla="*/ 3095625 h 4496940"/>
              <a:gd name="connsiteX53" fmla="*/ 4278652 w 4519952"/>
              <a:gd name="connsiteY53" fmla="*/ 3248025 h 4496940"/>
              <a:gd name="connsiteX54" fmla="*/ 4259602 w 4519952"/>
              <a:gd name="connsiteY54" fmla="*/ 3276600 h 4496940"/>
              <a:gd name="connsiteX55" fmla="*/ 4221502 w 4519952"/>
              <a:gd name="connsiteY55" fmla="*/ 3333750 h 4496940"/>
              <a:gd name="connsiteX56" fmla="*/ 4211977 w 4519952"/>
              <a:gd name="connsiteY56" fmla="*/ 3362325 h 4496940"/>
              <a:gd name="connsiteX57" fmla="*/ 4183402 w 4519952"/>
              <a:gd name="connsiteY57" fmla="*/ 3400425 h 4496940"/>
              <a:gd name="connsiteX58" fmla="*/ 4164352 w 4519952"/>
              <a:gd name="connsiteY58" fmla="*/ 3429000 h 4496940"/>
              <a:gd name="connsiteX59" fmla="*/ 4088152 w 4519952"/>
              <a:gd name="connsiteY59" fmla="*/ 3495675 h 4496940"/>
              <a:gd name="connsiteX60" fmla="*/ 4059577 w 4519952"/>
              <a:gd name="connsiteY60" fmla="*/ 3533775 h 4496940"/>
              <a:gd name="connsiteX61" fmla="*/ 4002427 w 4519952"/>
              <a:gd name="connsiteY61" fmla="*/ 3600450 h 4496940"/>
              <a:gd name="connsiteX62" fmla="*/ 3983377 w 4519952"/>
              <a:gd name="connsiteY62" fmla="*/ 3629025 h 4496940"/>
              <a:gd name="connsiteX63" fmla="*/ 3954802 w 4519952"/>
              <a:gd name="connsiteY63" fmla="*/ 3648075 h 4496940"/>
              <a:gd name="connsiteX64" fmla="*/ 3907177 w 4519952"/>
              <a:gd name="connsiteY64" fmla="*/ 3686175 h 4496940"/>
              <a:gd name="connsiteX65" fmla="*/ 3869077 w 4519952"/>
              <a:gd name="connsiteY65" fmla="*/ 3724275 h 4496940"/>
              <a:gd name="connsiteX66" fmla="*/ 3792877 w 4519952"/>
              <a:gd name="connsiteY66" fmla="*/ 3781425 h 4496940"/>
              <a:gd name="connsiteX67" fmla="*/ 3783352 w 4519952"/>
              <a:gd name="connsiteY67" fmla="*/ 3810000 h 4496940"/>
              <a:gd name="connsiteX68" fmla="*/ 3745252 w 4519952"/>
              <a:gd name="connsiteY68" fmla="*/ 3819525 h 4496940"/>
              <a:gd name="connsiteX69" fmla="*/ 3678577 w 4519952"/>
              <a:gd name="connsiteY69" fmla="*/ 3848100 h 4496940"/>
              <a:gd name="connsiteX70" fmla="*/ 3659527 w 4519952"/>
              <a:gd name="connsiteY70" fmla="*/ 3971925 h 4496940"/>
              <a:gd name="connsiteX71" fmla="*/ 3630952 w 4519952"/>
              <a:gd name="connsiteY71" fmla="*/ 4010025 h 4496940"/>
              <a:gd name="connsiteX72" fmla="*/ 3621427 w 4519952"/>
              <a:gd name="connsiteY72" fmla="*/ 4038600 h 4496940"/>
              <a:gd name="connsiteX73" fmla="*/ 3554752 w 4519952"/>
              <a:gd name="connsiteY73" fmla="*/ 4095750 h 4496940"/>
              <a:gd name="connsiteX74" fmla="*/ 3516652 w 4519952"/>
              <a:gd name="connsiteY74" fmla="*/ 4114800 h 4496940"/>
              <a:gd name="connsiteX75" fmla="*/ 3497602 w 4519952"/>
              <a:gd name="connsiteY75" fmla="*/ 4143375 h 4496940"/>
              <a:gd name="connsiteX76" fmla="*/ 3383302 w 4519952"/>
              <a:gd name="connsiteY76" fmla="*/ 4210050 h 4496940"/>
              <a:gd name="connsiteX77" fmla="*/ 3335677 w 4519952"/>
              <a:gd name="connsiteY77" fmla="*/ 4238625 h 4496940"/>
              <a:gd name="connsiteX78" fmla="*/ 3288052 w 4519952"/>
              <a:gd name="connsiteY78" fmla="*/ 4248150 h 4496940"/>
              <a:gd name="connsiteX79" fmla="*/ 3240427 w 4519952"/>
              <a:gd name="connsiteY79" fmla="*/ 4267200 h 4496940"/>
              <a:gd name="connsiteX80" fmla="*/ 3068977 w 4519952"/>
              <a:gd name="connsiteY80" fmla="*/ 4286250 h 4496940"/>
              <a:gd name="connsiteX81" fmla="*/ 2935627 w 4519952"/>
              <a:gd name="connsiteY81" fmla="*/ 4333875 h 4496940"/>
              <a:gd name="connsiteX82" fmla="*/ 2811802 w 4519952"/>
              <a:gd name="connsiteY82" fmla="*/ 4371975 h 4496940"/>
              <a:gd name="connsiteX83" fmla="*/ 2745127 w 4519952"/>
              <a:gd name="connsiteY83" fmla="*/ 4410075 h 4496940"/>
              <a:gd name="connsiteX84" fmla="*/ 2697502 w 4519952"/>
              <a:gd name="connsiteY84" fmla="*/ 4429125 h 4496940"/>
              <a:gd name="connsiteX85" fmla="*/ 2640352 w 4519952"/>
              <a:gd name="connsiteY85" fmla="*/ 4457700 h 4496940"/>
              <a:gd name="connsiteX86" fmla="*/ 2583202 w 4519952"/>
              <a:gd name="connsiteY86" fmla="*/ 4467225 h 4496940"/>
              <a:gd name="connsiteX87" fmla="*/ 2545102 w 4519952"/>
              <a:gd name="connsiteY87" fmla="*/ 4486275 h 4496940"/>
              <a:gd name="connsiteX88" fmla="*/ 2306977 w 4519952"/>
              <a:gd name="connsiteY88" fmla="*/ 4476750 h 4496940"/>
              <a:gd name="connsiteX89" fmla="*/ 2202202 w 4519952"/>
              <a:gd name="connsiteY89" fmla="*/ 4457700 h 4496940"/>
              <a:gd name="connsiteX90" fmla="*/ 2126002 w 4519952"/>
              <a:gd name="connsiteY90" fmla="*/ 4429125 h 4496940"/>
              <a:gd name="connsiteX91" fmla="*/ 1935502 w 4519952"/>
              <a:gd name="connsiteY91" fmla="*/ 4400550 h 4496940"/>
              <a:gd name="connsiteX92" fmla="*/ 1821202 w 4519952"/>
              <a:gd name="connsiteY92" fmla="*/ 4371975 h 4496940"/>
              <a:gd name="connsiteX93" fmla="*/ 1754527 w 4519952"/>
              <a:gd name="connsiteY93" fmla="*/ 4352925 h 4496940"/>
              <a:gd name="connsiteX94" fmla="*/ 1687852 w 4519952"/>
              <a:gd name="connsiteY94" fmla="*/ 4343400 h 4496940"/>
              <a:gd name="connsiteX95" fmla="*/ 1573552 w 4519952"/>
              <a:gd name="connsiteY95" fmla="*/ 4305300 h 4496940"/>
              <a:gd name="connsiteX96" fmla="*/ 1402102 w 4519952"/>
              <a:gd name="connsiteY96" fmla="*/ 4276725 h 4496940"/>
              <a:gd name="connsiteX97" fmla="*/ 1287802 w 4519952"/>
              <a:gd name="connsiteY97" fmla="*/ 4229100 h 4496940"/>
              <a:gd name="connsiteX98" fmla="*/ 1221127 w 4519952"/>
              <a:gd name="connsiteY98" fmla="*/ 4200525 h 4496940"/>
              <a:gd name="connsiteX99" fmla="*/ 1144927 w 4519952"/>
              <a:gd name="connsiteY99" fmla="*/ 4171950 h 4496940"/>
              <a:gd name="connsiteX100" fmla="*/ 1087777 w 4519952"/>
              <a:gd name="connsiteY100" fmla="*/ 4143375 h 4496940"/>
              <a:gd name="connsiteX101" fmla="*/ 1030627 w 4519952"/>
              <a:gd name="connsiteY101" fmla="*/ 4124325 h 4496940"/>
              <a:gd name="connsiteX102" fmla="*/ 925852 w 4519952"/>
              <a:gd name="connsiteY102" fmla="*/ 4067175 h 4496940"/>
              <a:gd name="connsiteX103" fmla="*/ 830602 w 4519952"/>
              <a:gd name="connsiteY103" fmla="*/ 3981450 h 4496940"/>
              <a:gd name="connsiteX104" fmla="*/ 763927 w 4519952"/>
              <a:gd name="connsiteY104" fmla="*/ 3914775 h 4496940"/>
              <a:gd name="connsiteX105" fmla="*/ 725827 w 4519952"/>
              <a:gd name="connsiteY105" fmla="*/ 3876675 h 4496940"/>
              <a:gd name="connsiteX106" fmla="*/ 697252 w 4519952"/>
              <a:gd name="connsiteY106" fmla="*/ 3838575 h 4496940"/>
              <a:gd name="connsiteX107" fmla="*/ 640102 w 4519952"/>
              <a:gd name="connsiteY107" fmla="*/ 3781425 h 4496940"/>
              <a:gd name="connsiteX108" fmla="*/ 611527 w 4519952"/>
              <a:gd name="connsiteY108" fmla="*/ 3733800 h 4496940"/>
              <a:gd name="connsiteX109" fmla="*/ 554377 w 4519952"/>
              <a:gd name="connsiteY109" fmla="*/ 3657600 h 4496940"/>
              <a:gd name="connsiteX110" fmla="*/ 525802 w 4519952"/>
              <a:gd name="connsiteY110" fmla="*/ 3609975 h 4496940"/>
              <a:gd name="connsiteX111" fmla="*/ 497227 w 4519952"/>
              <a:gd name="connsiteY111" fmla="*/ 3552825 h 4496940"/>
              <a:gd name="connsiteX112" fmla="*/ 440077 w 4519952"/>
              <a:gd name="connsiteY112" fmla="*/ 3495675 h 4496940"/>
              <a:gd name="connsiteX113" fmla="*/ 411502 w 4519952"/>
              <a:gd name="connsiteY113" fmla="*/ 3448050 h 4496940"/>
              <a:gd name="connsiteX114" fmla="*/ 278152 w 4519952"/>
              <a:gd name="connsiteY114" fmla="*/ 3257550 h 4496940"/>
              <a:gd name="connsiteX115" fmla="*/ 249577 w 4519952"/>
              <a:gd name="connsiteY115" fmla="*/ 3200400 h 4496940"/>
              <a:gd name="connsiteX116" fmla="*/ 240052 w 4519952"/>
              <a:gd name="connsiteY116" fmla="*/ 3162300 h 4496940"/>
              <a:gd name="connsiteX117" fmla="*/ 221002 w 4519952"/>
              <a:gd name="connsiteY117" fmla="*/ 3105150 h 4496940"/>
              <a:gd name="connsiteX118" fmla="*/ 173377 w 4519952"/>
              <a:gd name="connsiteY118" fmla="*/ 3019425 h 4496940"/>
              <a:gd name="connsiteX119" fmla="*/ 144802 w 4519952"/>
              <a:gd name="connsiteY119" fmla="*/ 2924175 h 4496940"/>
              <a:gd name="connsiteX120" fmla="*/ 68602 w 4519952"/>
              <a:gd name="connsiteY120" fmla="*/ 2724150 h 4496940"/>
              <a:gd name="connsiteX121" fmla="*/ 49552 w 4519952"/>
              <a:gd name="connsiteY121" fmla="*/ 2638425 h 4496940"/>
              <a:gd name="connsiteX122" fmla="*/ 40027 w 4519952"/>
              <a:gd name="connsiteY122" fmla="*/ 2562225 h 4496940"/>
              <a:gd name="connsiteX123" fmla="*/ 30502 w 4519952"/>
              <a:gd name="connsiteY123" fmla="*/ 2514600 h 4496940"/>
              <a:gd name="connsiteX124" fmla="*/ 11452 w 4519952"/>
              <a:gd name="connsiteY124" fmla="*/ 2400300 h 4496940"/>
              <a:gd name="connsiteX125" fmla="*/ 20977 w 4519952"/>
              <a:gd name="connsiteY125" fmla="*/ 1905000 h 4496940"/>
              <a:gd name="connsiteX126" fmla="*/ 30502 w 4519952"/>
              <a:gd name="connsiteY126" fmla="*/ 1838325 h 4496940"/>
              <a:gd name="connsiteX127" fmla="*/ 49552 w 4519952"/>
              <a:gd name="connsiteY127" fmla="*/ 1781175 h 4496940"/>
              <a:gd name="connsiteX128" fmla="*/ 59077 w 4519952"/>
              <a:gd name="connsiteY128" fmla="*/ 1743075 h 4496940"/>
              <a:gd name="connsiteX129" fmla="*/ 78127 w 4519952"/>
              <a:gd name="connsiteY129" fmla="*/ 1685925 h 4496940"/>
              <a:gd name="connsiteX130" fmla="*/ 87652 w 4519952"/>
              <a:gd name="connsiteY130" fmla="*/ 1638300 h 4496940"/>
              <a:gd name="connsiteX131" fmla="*/ 106702 w 4519952"/>
              <a:gd name="connsiteY131" fmla="*/ 1590675 h 4496940"/>
              <a:gd name="connsiteX132" fmla="*/ 135277 w 4519952"/>
              <a:gd name="connsiteY132" fmla="*/ 1504950 h 4496940"/>
              <a:gd name="connsiteX133" fmla="*/ 154327 w 4519952"/>
              <a:gd name="connsiteY133" fmla="*/ 1419225 h 4496940"/>
              <a:gd name="connsiteX134" fmla="*/ 230527 w 4519952"/>
              <a:gd name="connsiteY134" fmla="*/ 1276350 h 4496940"/>
              <a:gd name="connsiteX135" fmla="*/ 240052 w 4519952"/>
              <a:gd name="connsiteY135" fmla="*/ 1247775 h 4496940"/>
              <a:gd name="connsiteX136" fmla="*/ 268627 w 4519952"/>
              <a:gd name="connsiteY136" fmla="*/ 1200150 h 4496940"/>
              <a:gd name="connsiteX137" fmla="*/ 287677 w 4519952"/>
              <a:gd name="connsiteY137" fmla="*/ 1152525 h 4496940"/>
              <a:gd name="connsiteX138" fmla="*/ 316252 w 4519952"/>
              <a:gd name="connsiteY138" fmla="*/ 1114425 h 4496940"/>
              <a:gd name="connsiteX139" fmla="*/ 363877 w 4519952"/>
              <a:gd name="connsiteY139" fmla="*/ 1038225 h 4496940"/>
              <a:gd name="connsiteX140" fmla="*/ 382927 w 4519952"/>
              <a:gd name="connsiteY140" fmla="*/ 1009650 h 4496940"/>
              <a:gd name="connsiteX141" fmla="*/ 440077 w 4519952"/>
              <a:gd name="connsiteY141" fmla="*/ 904875 h 4496940"/>
              <a:gd name="connsiteX142" fmla="*/ 478177 w 4519952"/>
              <a:gd name="connsiteY142" fmla="*/ 857250 h 4496940"/>
              <a:gd name="connsiteX143" fmla="*/ 497227 w 4519952"/>
              <a:gd name="connsiteY143" fmla="*/ 828675 h 4496940"/>
              <a:gd name="connsiteX144" fmla="*/ 535327 w 4519952"/>
              <a:gd name="connsiteY144" fmla="*/ 800100 h 4496940"/>
              <a:gd name="connsiteX145" fmla="*/ 602002 w 4519952"/>
              <a:gd name="connsiteY145" fmla="*/ 733425 h 4496940"/>
              <a:gd name="connsiteX146" fmla="*/ 668677 w 4519952"/>
              <a:gd name="connsiteY146" fmla="*/ 676275 h 4496940"/>
              <a:gd name="connsiteX147" fmla="*/ 697252 w 4519952"/>
              <a:gd name="connsiteY147" fmla="*/ 657225 h 4496940"/>
              <a:gd name="connsiteX148" fmla="*/ 840127 w 4519952"/>
              <a:gd name="connsiteY148" fmla="*/ 533400 h 4496940"/>
              <a:gd name="connsiteX149" fmla="*/ 887752 w 4519952"/>
              <a:gd name="connsiteY149" fmla="*/ 504825 h 4496940"/>
              <a:gd name="connsiteX150" fmla="*/ 1167152 w 4519952"/>
              <a:gd name="connsiteY150" fmla="*/ 311150 h 4496940"/>
              <a:gd name="connsiteX151" fmla="*/ 1268752 w 4519952"/>
              <a:gd name="connsiteY151" fmla="*/ 285750 h 4496940"/>
              <a:gd name="connsiteX152" fmla="*/ 1411627 w 4519952"/>
              <a:gd name="connsiteY152" fmla="*/ 190500 h 4496940"/>
              <a:gd name="connsiteX153" fmla="*/ 1449727 w 4519952"/>
              <a:gd name="connsiteY153" fmla="*/ 161925 h 4496940"/>
              <a:gd name="connsiteX154" fmla="*/ 1525927 w 4519952"/>
              <a:gd name="connsiteY154" fmla="*/ 152400 h 4496940"/>
              <a:gd name="connsiteX155" fmla="*/ 1583077 w 4519952"/>
              <a:gd name="connsiteY155" fmla="*/ 142875 h 4496940"/>
              <a:gd name="connsiteX156" fmla="*/ 1716427 w 4519952"/>
              <a:gd name="connsiteY156" fmla="*/ 123825 h 4496940"/>
              <a:gd name="connsiteX157" fmla="*/ 1811677 w 4519952"/>
              <a:gd name="connsiteY157" fmla="*/ 114300 h 4496940"/>
              <a:gd name="connsiteX158" fmla="*/ 1859302 w 4519952"/>
              <a:gd name="connsiteY158" fmla="*/ 104775 h 4496940"/>
              <a:gd name="connsiteX159" fmla="*/ 1916452 w 4519952"/>
              <a:gd name="connsiteY159" fmla="*/ 95250 h 4496940"/>
              <a:gd name="connsiteX160" fmla="*/ 2030752 w 4519952"/>
              <a:gd name="connsiteY160" fmla="*/ 66675 h 4496940"/>
              <a:gd name="connsiteX161" fmla="*/ 2097427 w 4519952"/>
              <a:gd name="connsiteY161" fmla="*/ 47625 h 4496940"/>
              <a:gd name="connsiteX162" fmla="*/ 2164102 w 4519952"/>
              <a:gd name="connsiteY162" fmla="*/ 38100 h 4496940"/>
              <a:gd name="connsiteX163" fmla="*/ 2392702 w 4519952"/>
              <a:gd name="connsiteY163" fmla="*/ 28575 h 4496940"/>
              <a:gd name="connsiteX0" fmla="*/ 2297452 w 4519952"/>
              <a:gd name="connsiteY0" fmla="*/ 0 h 4496940"/>
              <a:gd name="connsiteX1" fmla="*/ 2421277 w 4519952"/>
              <a:gd name="connsiteY1" fmla="*/ 28575 h 4496940"/>
              <a:gd name="connsiteX2" fmla="*/ 2497477 w 4519952"/>
              <a:gd name="connsiteY2" fmla="*/ 47625 h 4496940"/>
              <a:gd name="connsiteX3" fmla="*/ 2754652 w 4519952"/>
              <a:gd name="connsiteY3" fmla="*/ 66675 h 4496940"/>
              <a:gd name="connsiteX4" fmla="*/ 2830852 w 4519952"/>
              <a:gd name="connsiteY4" fmla="*/ 76200 h 4496940"/>
              <a:gd name="connsiteX5" fmla="*/ 2916577 w 4519952"/>
              <a:gd name="connsiteY5" fmla="*/ 85725 h 4496940"/>
              <a:gd name="connsiteX6" fmla="*/ 2973727 w 4519952"/>
              <a:gd name="connsiteY6" fmla="*/ 114300 h 4496940"/>
              <a:gd name="connsiteX7" fmla="*/ 3011827 w 4519952"/>
              <a:gd name="connsiteY7" fmla="*/ 123825 h 4496940"/>
              <a:gd name="connsiteX8" fmla="*/ 3135652 w 4519952"/>
              <a:gd name="connsiteY8" fmla="*/ 171450 h 4496940"/>
              <a:gd name="connsiteX9" fmla="*/ 3173752 w 4519952"/>
              <a:gd name="connsiteY9" fmla="*/ 190500 h 4496940"/>
              <a:gd name="connsiteX10" fmla="*/ 3240427 w 4519952"/>
              <a:gd name="connsiteY10" fmla="*/ 228600 h 4496940"/>
              <a:gd name="connsiteX11" fmla="*/ 3269002 w 4519952"/>
              <a:gd name="connsiteY11" fmla="*/ 238125 h 4496940"/>
              <a:gd name="connsiteX12" fmla="*/ 3297577 w 4519952"/>
              <a:gd name="connsiteY12" fmla="*/ 257175 h 4496940"/>
              <a:gd name="connsiteX13" fmla="*/ 3326152 w 4519952"/>
              <a:gd name="connsiteY13" fmla="*/ 266700 h 4496940"/>
              <a:gd name="connsiteX14" fmla="*/ 3354727 w 4519952"/>
              <a:gd name="connsiteY14" fmla="*/ 285750 h 4496940"/>
              <a:gd name="connsiteX15" fmla="*/ 3421402 w 4519952"/>
              <a:gd name="connsiteY15" fmla="*/ 323850 h 4496940"/>
              <a:gd name="connsiteX16" fmla="*/ 3469027 w 4519952"/>
              <a:gd name="connsiteY16" fmla="*/ 361950 h 4496940"/>
              <a:gd name="connsiteX17" fmla="*/ 3516652 w 4519952"/>
              <a:gd name="connsiteY17" fmla="*/ 390525 h 4496940"/>
              <a:gd name="connsiteX18" fmla="*/ 3545227 w 4519952"/>
              <a:gd name="connsiteY18" fmla="*/ 419100 h 4496940"/>
              <a:gd name="connsiteX19" fmla="*/ 3602377 w 4519952"/>
              <a:gd name="connsiteY19" fmla="*/ 457200 h 4496940"/>
              <a:gd name="connsiteX20" fmla="*/ 3630952 w 4519952"/>
              <a:gd name="connsiteY20" fmla="*/ 485775 h 4496940"/>
              <a:gd name="connsiteX21" fmla="*/ 3678577 w 4519952"/>
              <a:gd name="connsiteY21" fmla="*/ 504825 h 4496940"/>
              <a:gd name="connsiteX22" fmla="*/ 3745252 w 4519952"/>
              <a:gd name="connsiteY22" fmla="*/ 542925 h 4496940"/>
              <a:gd name="connsiteX23" fmla="*/ 3811927 w 4519952"/>
              <a:gd name="connsiteY23" fmla="*/ 581025 h 4496940"/>
              <a:gd name="connsiteX24" fmla="*/ 3840502 w 4519952"/>
              <a:gd name="connsiteY24" fmla="*/ 600075 h 4496940"/>
              <a:gd name="connsiteX25" fmla="*/ 3869077 w 4519952"/>
              <a:gd name="connsiteY25" fmla="*/ 628650 h 4496940"/>
              <a:gd name="connsiteX26" fmla="*/ 3907177 w 4519952"/>
              <a:gd name="connsiteY26" fmla="*/ 647700 h 4496940"/>
              <a:gd name="connsiteX27" fmla="*/ 3935752 w 4519952"/>
              <a:gd name="connsiteY27" fmla="*/ 676275 h 4496940"/>
              <a:gd name="connsiteX28" fmla="*/ 3992902 w 4519952"/>
              <a:gd name="connsiteY28" fmla="*/ 714375 h 4496940"/>
              <a:gd name="connsiteX29" fmla="*/ 4050052 w 4519952"/>
              <a:gd name="connsiteY29" fmla="*/ 790575 h 4496940"/>
              <a:gd name="connsiteX30" fmla="*/ 4078627 w 4519952"/>
              <a:gd name="connsiteY30" fmla="*/ 838200 h 4496940"/>
              <a:gd name="connsiteX31" fmla="*/ 4107202 w 4519952"/>
              <a:gd name="connsiteY31" fmla="*/ 876300 h 4496940"/>
              <a:gd name="connsiteX32" fmla="*/ 4116727 w 4519952"/>
              <a:gd name="connsiteY32" fmla="*/ 904875 h 4496940"/>
              <a:gd name="connsiteX33" fmla="*/ 4135777 w 4519952"/>
              <a:gd name="connsiteY33" fmla="*/ 933450 h 4496940"/>
              <a:gd name="connsiteX34" fmla="*/ 4164352 w 4519952"/>
              <a:gd name="connsiteY34" fmla="*/ 990600 h 4496940"/>
              <a:gd name="connsiteX35" fmla="*/ 4173877 w 4519952"/>
              <a:gd name="connsiteY35" fmla="*/ 1019175 h 4496940"/>
              <a:gd name="connsiteX36" fmla="*/ 4192927 w 4519952"/>
              <a:gd name="connsiteY36" fmla="*/ 1057275 h 4496940"/>
              <a:gd name="connsiteX37" fmla="*/ 4202452 w 4519952"/>
              <a:gd name="connsiteY37" fmla="*/ 1085850 h 4496940"/>
              <a:gd name="connsiteX38" fmla="*/ 4250077 w 4519952"/>
              <a:gd name="connsiteY38" fmla="*/ 1143000 h 4496940"/>
              <a:gd name="connsiteX39" fmla="*/ 4259602 w 4519952"/>
              <a:gd name="connsiteY39" fmla="*/ 1190625 h 4496940"/>
              <a:gd name="connsiteX40" fmla="*/ 4307227 w 4519952"/>
              <a:gd name="connsiteY40" fmla="*/ 1266825 h 4496940"/>
              <a:gd name="connsiteX41" fmla="*/ 4345327 w 4519952"/>
              <a:gd name="connsiteY41" fmla="*/ 1362075 h 4496940"/>
              <a:gd name="connsiteX42" fmla="*/ 4373902 w 4519952"/>
              <a:gd name="connsiteY42" fmla="*/ 1428750 h 4496940"/>
              <a:gd name="connsiteX43" fmla="*/ 4392952 w 4519952"/>
              <a:gd name="connsiteY43" fmla="*/ 1552575 h 4496940"/>
              <a:gd name="connsiteX44" fmla="*/ 4402477 w 4519952"/>
              <a:gd name="connsiteY44" fmla="*/ 1590675 h 4496940"/>
              <a:gd name="connsiteX45" fmla="*/ 4431052 w 4519952"/>
              <a:gd name="connsiteY45" fmla="*/ 1685925 h 4496940"/>
              <a:gd name="connsiteX46" fmla="*/ 4459627 w 4519952"/>
              <a:gd name="connsiteY46" fmla="*/ 1828800 h 4496940"/>
              <a:gd name="connsiteX47" fmla="*/ 4519952 w 4519952"/>
              <a:gd name="connsiteY47" fmla="*/ 2181225 h 4496940"/>
              <a:gd name="connsiteX48" fmla="*/ 4440577 w 4519952"/>
              <a:gd name="connsiteY48" fmla="*/ 2876550 h 4496940"/>
              <a:gd name="connsiteX49" fmla="*/ 4383427 w 4519952"/>
              <a:gd name="connsiteY49" fmla="*/ 2990850 h 4496940"/>
              <a:gd name="connsiteX50" fmla="*/ 4354852 w 4519952"/>
              <a:gd name="connsiteY50" fmla="*/ 3057525 h 4496940"/>
              <a:gd name="connsiteX51" fmla="*/ 4335802 w 4519952"/>
              <a:gd name="connsiteY51" fmla="*/ 3095625 h 4496940"/>
              <a:gd name="connsiteX52" fmla="*/ 4278652 w 4519952"/>
              <a:gd name="connsiteY52" fmla="*/ 3248025 h 4496940"/>
              <a:gd name="connsiteX53" fmla="*/ 4259602 w 4519952"/>
              <a:gd name="connsiteY53" fmla="*/ 3276600 h 4496940"/>
              <a:gd name="connsiteX54" fmla="*/ 4221502 w 4519952"/>
              <a:gd name="connsiteY54" fmla="*/ 3333750 h 4496940"/>
              <a:gd name="connsiteX55" fmla="*/ 4211977 w 4519952"/>
              <a:gd name="connsiteY55" fmla="*/ 3362325 h 4496940"/>
              <a:gd name="connsiteX56" fmla="*/ 4183402 w 4519952"/>
              <a:gd name="connsiteY56" fmla="*/ 3400425 h 4496940"/>
              <a:gd name="connsiteX57" fmla="*/ 4164352 w 4519952"/>
              <a:gd name="connsiteY57" fmla="*/ 3429000 h 4496940"/>
              <a:gd name="connsiteX58" fmla="*/ 4088152 w 4519952"/>
              <a:gd name="connsiteY58" fmla="*/ 3495675 h 4496940"/>
              <a:gd name="connsiteX59" fmla="*/ 4059577 w 4519952"/>
              <a:gd name="connsiteY59" fmla="*/ 3533775 h 4496940"/>
              <a:gd name="connsiteX60" fmla="*/ 4002427 w 4519952"/>
              <a:gd name="connsiteY60" fmla="*/ 3600450 h 4496940"/>
              <a:gd name="connsiteX61" fmla="*/ 3983377 w 4519952"/>
              <a:gd name="connsiteY61" fmla="*/ 3629025 h 4496940"/>
              <a:gd name="connsiteX62" fmla="*/ 3954802 w 4519952"/>
              <a:gd name="connsiteY62" fmla="*/ 3648075 h 4496940"/>
              <a:gd name="connsiteX63" fmla="*/ 3907177 w 4519952"/>
              <a:gd name="connsiteY63" fmla="*/ 3686175 h 4496940"/>
              <a:gd name="connsiteX64" fmla="*/ 3869077 w 4519952"/>
              <a:gd name="connsiteY64" fmla="*/ 3724275 h 4496940"/>
              <a:gd name="connsiteX65" fmla="*/ 3792877 w 4519952"/>
              <a:gd name="connsiteY65" fmla="*/ 3781425 h 4496940"/>
              <a:gd name="connsiteX66" fmla="*/ 3783352 w 4519952"/>
              <a:gd name="connsiteY66" fmla="*/ 3810000 h 4496940"/>
              <a:gd name="connsiteX67" fmla="*/ 3745252 w 4519952"/>
              <a:gd name="connsiteY67" fmla="*/ 3819525 h 4496940"/>
              <a:gd name="connsiteX68" fmla="*/ 3678577 w 4519952"/>
              <a:gd name="connsiteY68" fmla="*/ 3848100 h 4496940"/>
              <a:gd name="connsiteX69" fmla="*/ 3659527 w 4519952"/>
              <a:gd name="connsiteY69" fmla="*/ 3971925 h 4496940"/>
              <a:gd name="connsiteX70" fmla="*/ 3630952 w 4519952"/>
              <a:gd name="connsiteY70" fmla="*/ 4010025 h 4496940"/>
              <a:gd name="connsiteX71" fmla="*/ 3621427 w 4519952"/>
              <a:gd name="connsiteY71" fmla="*/ 4038600 h 4496940"/>
              <a:gd name="connsiteX72" fmla="*/ 3554752 w 4519952"/>
              <a:gd name="connsiteY72" fmla="*/ 4095750 h 4496940"/>
              <a:gd name="connsiteX73" fmla="*/ 3516652 w 4519952"/>
              <a:gd name="connsiteY73" fmla="*/ 4114800 h 4496940"/>
              <a:gd name="connsiteX74" fmla="*/ 3497602 w 4519952"/>
              <a:gd name="connsiteY74" fmla="*/ 4143375 h 4496940"/>
              <a:gd name="connsiteX75" fmla="*/ 3383302 w 4519952"/>
              <a:gd name="connsiteY75" fmla="*/ 4210050 h 4496940"/>
              <a:gd name="connsiteX76" fmla="*/ 3335677 w 4519952"/>
              <a:gd name="connsiteY76" fmla="*/ 4238625 h 4496940"/>
              <a:gd name="connsiteX77" fmla="*/ 3288052 w 4519952"/>
              <a:gd name="connsiteY77" fmla="*/ 4248150 h 4496940"/>
              <a:gd name="connsiteX78" fmla="*/ 3240427 w 4519952"/>
              <a:gd name="connsiteY78" fmla="*/ 4267200 h 4496940"/>
              <a:gd name="connsiteX79" fmla="*/ 3068977 w 4519952"/>
              <a:gd name="connsiteY79" fmla="*/ 4286250 h 4496940"/>
              <a:gd name="connsiteX80" fmla="*/ 2935627 w 4519952"/>
              <a:gd name="connsiteY80" fmla="*/ 4333875 h 4496940"/>
              <a:gd name="connsiteX81" fmla="*/ 2811802 w 4519952"/>
              <a:gd name="connsiteY81" fmla="*/ 4371975 h 4496940"/>
              <a:gd name="connsiteX82" fmla="*/ 2745127 w 4519952"/>
              <a:gd name="connsiteY82" fmla="*/ 4410075 h 4496940"/>
              <a:gd name="connsiteX83" fmla="*/ 2697502 w 4519952"/>
              <a:gd name="connsiteY83" fmla="*/ 4429125 h 4496940"/>
              <a:gd name="connsiteX84" fmla="*/ 2640352 w 4519952"/>
              <a:gd name="connsiteY84" fmla="*/ 4457700 h 4496940"/>
              <a:gd name="connsiteX85" fmla="*/ 2583202 w 4519952"/>
              <a:gd name="connsiteY85" fmla="*/ 4467225 h 4496940"/>
              <a:gd name="connsiteX86" fmla="*/ 2545102 w 4519952"/>
              <a:gd name="connsiteY86" fmla="*/ 4486275 h 4496940"/>
              <a:gd name="connsiteX87" fmla="*/ 2306977 w 4519952"/>
              <a:gd name="connsiteY87" fmla="*/ 4476750 h 4496940"/>
              <a:gd name="connsiteX88" fmla="*/ 2202202 w 4519952"/>
              <a:gd name="connsiteY88" fmla="*/ 4457700 h 4496940"/>
              <a:gd name="connsiteX89" fmla="*/ 2126002 w 4519952"/>
              <a:gd name="connsiteY89" fmla="*/ 4429125 h 4496940"/>
              <a:gd name="connsiteX90" fmla="*/ 1935502 w 4519952"/>
              <a:gd name="connsiteY90" fmla="*/ 4400550 h 4496940"/>
              <a:gd name="connsiteX91" fmla="*/ 1821202 w 4519952"/>
              <a:gd name="connsiteY91" fmla="*/ 4371975 h 4496940"/>
              <a:gd name="connsiteX92" fmla="*/ 1754527 w 4519952"/>
              <a:gd name="connsiteY92" fmla="*/ 4352925 h 4496940"/>
              <a:gd name="connsiteX93" fmla="*/ 1687852 w 4519952"/>
              <a:gd name="connsiteY93" fmla="*/ 4343400 h 4496940"/>
              <a:gd name="connsiteX94" fmla="*/ 1573552 w 4519952"/>
              <a:gd name="connsiteY94" fmla="*/ 4305300 h 4496940"/>
              <a:gd name="connsiteX95" fmla="*/ 1402102 w 4519952"/>
              <a:gd name="connsiteY95" fmla="*/ 4276725 h 4496940"/>
              <a:gd name="connsiteX96" fmla="*/ 1287802 w 4519952"/>
              <a:gd name="connsiteY96" fmla="*/ 4229100 h 4496940"/>
              <a:gd name="connsiteX97" fmla="*/ 1221127 w 4519952"/>
              <a:gd name="connsiteY97" fmla="*/ 4200525 h 4496940"/>
              <a:gd name="connsiteX98" fmla="*/ 1144927 w 4519952"/>
              <a:gd name="connsiteY98" fmla="*/ 4171950 h 4496940"/>
              <a:gd name="connsiteX99" fmla="*/ 1087777 w 4519952"/>
              <a:gd name="connsiteY99" fmla="*/ 4143375 h 4496940"/>
              <a:gd name="connsiteX100" fmla="*/ 1030627 w 4519952"/>
              <a:gd name="connsiteY100" fmla="*/ 4124325 h 4496940"/>
              <a:gd name="connsiteX101" fmla="*/ 925852 w 4519952"/>
              <a:gd name="connsiteY101" fmla="*/ 4067175 h 4496940"/>
              <a:gd name="connsiteX102" fmla="*/ 830602 w 4519952"/>
              <a:gd name="connsiteY102" fmla="*/ 3981450 h 4496940"/>
              <a:gd name="connsiteX103" fmla="*/ 763927 w 4519952"/>
              <a:gd name="connsiteY103" fmla="*/ 3914775 h 4496940"/>
              <a:gd name="connsiteX104" fmla="*/ 725827 w 4519952"/>
              <a:gd name="connsiteY104" fmla="*/ 3876675 h 4496940"/>
              <a:gd name="connsiteX105" fmla="*/ 697252 w 4519952"/>
              <a:gd name="connsiteY105" fmla="*/ 3838575 h 4496940"/>
              <a:gd name="connsiteX106" fmla="*/ 640102 w 4519952"/>
              <a:gd name="connsiteY106" fmla="*/ 3781425 h 4496940"/>
              <a:gd name="connsiteX107" fmla="*/ 611527 w 4519952"/>
              <a:gd name="connsiteY107" fmla="*/ 3733800 h 4496940"/>
              <a:gd name="connsiteX108" fmla="*/ 554377 w 4519952"/>
              <a:gd name="connsiteY108" fmla="*/ 3657600 h 4496940"/>
              <a:gd name="connsiteX109" fmla="*/ 525802 w 4519952"/>
              <a:gd name="connsiteY109" fmla="*/ 3609975 h 4496940"/>
              <a:gd name="connsiteX110" fmla="*/ 497227 w 4519952"/>
              <a:gd name="connsiteY110" fmla="*/ 3552825 h 4496940"/>
              <a:gd name="connsiteX111" fmla="*/ 440077 w 4519952"/>
              <a:gd name="connsiteY111" fmla="*/ 3495675 h 4496940"/>
              <a:gd name="connsiteX112" fmla="*/ 411502 w 4519952"/>
              <a:gd name="connsiteY112" fmla="*/ 3448050 h 4496940"/>
              <a:gd name="connsiteX113" fmla="*/ 278152 w 4519952"/>
              <a:gd name="connsiteY113" fmla="*/ 3257550 h 4496940"/>
              <a:gd name="connsiteX114" fmla="*/ 249577 w 4519952"/>
              <a:gd name="connsiteY114" fmla="*/ 3200400 h 4496940"/>
              <a:gd name="connsiteX115" fmla="*/ 240052 w 4519952"/>
              <a:gd name="connsiteY115" fmla="*/ 3162300 h 4496940"/>
              <a:gd name="connsiteX116" fmla="*/ 221002 w 4519952"/>
              <a:gd name="connsiteY116" fmla="*/ 3105150 h 4496940"/>
              <a:gd name="connsiteX117" fmla="*/ 173377 w 4519952"/>
              <a:gd name="connsiteY117" fmla="*/ 3019425 h 4496940"/>
              <a:gd name="connsiteX118" fmla="*/ 144802 w 4519952"/>
              <a:gd name="connsiteY118" fmla="*/ 2924175 h 4496940"/>
              <a:gd name="connsiteX119" fmla="*/ 68602 w 4519952"/>
              <a:gd name="connsiteY119" fmla="*/ 2724150 h 4496940"/>
              <a:gd name="connsiteX120" fmla="*/ 49552 w 4519952"/>
              <a:gd name="connsiteY120" fmla="*/ 2638425 h 4496940"/>
              <a:gd name="connsiteX121" fmla="*/ 40027 w 4519952"/>
              <a:gd name="connsiteY121" fmla="*/ 2562225 h 4496940"/>
              <a:gd name="connsiteX122" fmla="*/ 30502 w 4519952"/>
              <a:gd name="connsiteY122" fmla="*/ 2514600 h 4496940"/>
              <a:gd name="connsiteX123" fmla="*/ 11452 w 4519952"/>
              <a:gd name="connsiteY123" fmla="*/ 2400300 h 4496940"/>
              <a:gd name="connsiteX124" fmla="*/ 20977 w 4519952"/>
              <a:gd name="connsiteY124" fmla="*/ 1905000 h 4496940"/>
              <a:gd name="connsiteX125" fmla="*/ 30502 w 4519952"/>
              <a:gd name="connsiteY125" fmla="*/ 1838325 h 4496940"/>
              <a:gd name="connsiteX126" fmla="*/ 49552 w 4519952"/>
              <a:gd name="connsiteY126" fmla="*/ 1781175 h 4496940"/>
              <a:gd name="connsiteX127" fmla="*/ 59077 w 4519952"/>
              <a:gd name="connsiteY127" fmla="*/ 1743075 h 4496940"/>
              <a:gd name="connsiteX128" fmla="*/ 78127 w 4519952"/>
              <a:gd name="connsiteY128" fmla="*/ 1685925 h 4496940"/>
              <a:gd name="connsiteX129" fmla="*/ 87652 w 4519952"/>
              <a:gd name="connsiteY129" fmla="*/ 1638300 h 4496940"/>
              <a:gd name="connsiteX130" fmla="*/ 106702 w 4519952"/>
              <a:gd name="connsiteY130" fmla="*/ 1590675 h 4496940"/>
              <a:gd name="connsiteX131" fmla="*/ 135277 w 4519952"/>
              <a:gd name="connsiteY131" fmla="*/ 1504950 h 4496940"/>
              <a:gd name="connsiteX132" fmla="*/ 154327 w 4519952"/>
              <a:gd name="connsiteY132" fmla="*/ 1419225 h 4496940"/>
              <a:gd name="connsiteX133" fmla="*/ 230527 w 4519952"/>
              <a:gd name="connsiteY133" fmla="*/ 1276350 h 4496940"/>
              <a:gd name="connsiteX134" fmla="*/ 240052 w 4519952"/>
              <a:gd name="connsiteY134" fmla="*/ 1247775 h 4496940"/>
              <a:gd name="connsiteX135" fmla="*/ 268627 w 4519952"/>
              <a:gd name="connsiteY135" fmla="*/ 1200150 h 4496940"/>
              <a:gd name="connsiteX136" fmla="*/ 287677 w 4519952"/>
              <a:gd name="connsiteY136" fmla="*/ 1152525 h 4496940"/>
              <a:gd name="connsiteX137" fmla="*/ 316252 w 4519952"/>
              <a:gd name="connsiteY137" fmla="*/ 1114425 h 4496940"/>
              <a:gd name="connsiteX138" fmla="*/ 363877 w 4519952"/>
              <a:gd name="connsiteY138" fmla="*/ 1038225 h 4496940"/>
              <a:gd name="connsiteX139" fmla="*/ 382927 w 4519952"/>
              <a:gd name="connsiteY139" fmla="*/ 1009650 h 4496940"/>
              <a:gd name="connsiteX140" fmla="*/ 440077 w 4519952"/>
              <a:gd name="connsiteY140" fmla="*/ 904875 h 4496940"/>
              <a:gd name="connsiteX141" fmla="*/ 478177 w 4519952"/>
              <a:gd name="connsiteY141" fmla="*/ 857250 h 4496940"/>
              <a:gd name="connsiteX142" fmla="*/ 497227 w 4519952"/>
              <a:gd name="connsiteY142" fmla="*/ 828675 h 4496940"/>
              <a:gd name="connsiteX143" fmla="*/ 535327 w 4519952"/>
              <a:gd name="connsiteY143" fmla="*/ 800100 h 4496940"/>
              <a:gd name="connsiteX144" fmla="*/ 602002 w 4519952"/>
              <a:gd name="connsiteY144" fmla="*/ 733425 h 4496940"/>
              <a:gd name="connsiteX145" fmla="*/ 668677 w 4519952"/>
              <a:gd name="connsiteY145" fmla="*/ 676275 h 4496940"/>
              <a:gd name="connsiteX146" fmla="*/ 697252 w 4519952"/>
              <a:gd name="connsiteY146" fmla="*/ 657225 h 4496940"/>
              <a:gd name="connsiteX147" fmla="*/ 840127 w 4519952"/>
              <a:gd name="connsiteY147" fmla="*/ 533400 h 4496940"/>
              <a:gd name="connsiteX148" fmla="*/ 887752 w 4519952"/>
              <a:gd name="connsiteY148" fmla="*/ 504825 h 4496940"/>
              <a:gd name="connsiteX149" fmla="*/ 1167152 w 4519952"/>
              <a:gd name="connsiteY149" fmla="*/ 311150 h 4496940"/>
              <a:gd name="connsiteX150" fmla="*/ 1268752 w 4519952"/>
              <a:gd name="connsiteY150" fmla="*/ 285750 h 4496940"/>
              <a:gd name="connsiteX151" fmla="*/ 1411627 w 4519952"/>
              <a:gd name="connsiteY151" fmla="*/ 190500 h 4496940"/>
              <a:gd name="connsiteX152" fmla="*/ 1449727 w 4519952"/>
              <a:gd name="connsiteY152" fmla="*/ 161925 h 4496940"/>
              <a:gd name="connsiteX153" fmla="*/ 1525927 w 4519952"/>
              <a:gd name="connsiteY153" fmla="*/ 152400 h 4496940"/>
              <a:gd name="connsiteX154" fmla="*/ 1583077 w 4519952"/>
              <a:gd name="connsiteY154" fmla="*/ 142875 h 4496940"/>
              <a:gd name="connsiteX155" fmla="*/ 1716427 w 4519952"/>
              <a:gd name="connsiteY155" fmla="*/ 123825 h 4496940"/>
              <a:gd name="connsiteX156" fmla="*/ 1811677 w 4519952"/>
              <a:gd name="connsiteY156" fmla="*/ 114300 h 4496940"/>
              <a:gd name="connsiteX157" fmla="*/ 1859302 w 4519952"/>
              <a:gd name="connsiteY157" fmla="*/ 104775 h 4496940"/>
              <a:gd name="connsiteX158" fmla="*/ 1916452 w 4519952"/>
              <a:gd name="connsiteY158" fmla="*/ 95250 h 4496940"/>
              <a:gd name="connsiteX159" fmla="*/ 2030752 w 4519952"/>
              <a:gd name="connsiteY159" fmla="*/ 66675 h 4496940"/>
              <a:gd name="connsiteX160" fmla="*/ 2097427 w 4519952"/>
              <a:gd name="connsiteY160" fmla="*/ 47625 h 4496940"/>
              <a:gd name="connsiteX161" fmla="*/ 2164102 w 4519952"/>
              <a:gd name="connsiteY161" fmla="*/ 38100 h 4496940"/>
              <a:gd name="connsiteX162" fmla="*/ 2392702 w 4519952"/>
              <a:gd name="connsiteY162" fmla="*/ 28575 h 4496940"/>
              <a:gd name="connsiteX0" fmla="*/ 2297452 w 4519983"/>
              <a:gd name="connsiteY0" fmla="*/ 0 h 4496940"/>
              <a:gd name="connsiteX1" fmla="*/ 2421277 w 4519983"/>
              <a:gd name="connsiteY1" fmla="*/ 28575 h 4496940"/>
              <a:gd name="connsiteX2" fmla="*/ 2497477 w 4519983"/>
              <a:gd name="connsiteY2" fmla="*/ 47625 h 4496940"/>
              <a:gd name="connsiteX3" fmla="*/ 2754652 w 4519983"/>
              <a:gd name="connsiteY3" fmla="*/ 66675 h 4496940"/>
              <a:gd name="connsiteX4" fmla="*/ 2830852 w 4519983"/>
              <a:gd name="connsiteY4" fmla="*/ 76200 h 4496940"/>
              <a:gd name="connsiteX5" fmla="*/ 2916577 w 4519983"/>
              <a:gd name="connsiteY5" fmla="*/ 85725 h 4496940"/>
              <a:gd name="connsiteX6" fmla="*/ 2973727 w 4519983"/>
              <a:gd name="connsiteY6" fmla="*/ 114300 h 4496940"/>
              <a:gd name="connsiteX7" fmla="*/ 3011827 w 4519983"/>
              <a:gd name="connsiteY7" fmla="*/ 123825 h 4496940"/>
              <a:gd name="connsiteX8" fmla="*/ 3135652 w 4519983"/>
              <a:gd name="connsiteY8" fmla="*/ 171450 h 4496940"/>
              <a:gd name="connsiteX9" fmla="*/ 3173752 w 4519983"/>
              <a:gd name="connsiteY9" fmla="*/ 190500 h 4496940"/>
              <a:gd name="connsiteX10" fmla="*/ 3240427 w 4519983"/>
              <a:gd name="connsiteY10" fmla="*/ 228600 h 4496940"/>
              <a:gd name="connsiteX11" fmla="*/ 3269002 w 4519983"/>
              <a:gd name="connsiteY11" fmla="*/ 238125 h 4496940"/>
              <a:gd name="connsiteX12" fmla="*/ 3297577 w 4519983"/>
              <a:gd name="connsiteY12" fmla="*/ 257175 h 4496940"/>
              <a:gd name="connsiteX13" fmla="*/ 3326152 w 4519983"/>
              <a:gd name="connsiteY13" fmla="*/ 266700 h 4496940"/>
              <a:gd name="connsiteX14" fmla="*/ 3354727 w 4519983"/>
              <a:gd name="connsiteY14" fmla="*/ 285750 h 4496940"/>
              <a:gd name="connsiteX15" fmla="*/ 3421402 w 4519983"/>
              <a:gd name="connsiteY15" fmla="*/ 323850 h 4496940"/>
              <a:gd name="connsiteX16" fmla="*/ 3469027 w 4519983"/>
              <a:gd name="connsiteY16" fmla="*/ 361950 h 4496940"/>
              <a:gd name="connsiteX17" fmla="*/ 3516652 w 4519983"/>
              <a:gd name="connsiteY17" fmla="*/ 390525 h 4496940"/>
              <a:gd name="connsiteX18" fmla="*/ 3545227 w 4519983"/>
              <a:gd name="connsiteY18" fmla="*/ 419100 h 4496940"/>
              <a:gd name="connsiteX19" fmla="*/ 3602377 w 4519983"/>
              <a:gd name="connsiteY19" fmla="*/ 457200 h 4496940"/>
              <a:gd name="connsiteX20" fmla="*/ 3630952 w 4519983"/>
              <a:gd name="connsiteY20" fmla="*/ 485775 h 4496940"/>
              <a:gd name="connsiteX21" fmla="*/ 3678577 w 4519983"/>
              <a:gd name="connsiteY21" fmla="*/ 504825 h 4496940"/>
              <a:gd name="connsiteX22" fmla="*/ 3745252 w 4519983"/>
              <a:gd name="connsiteY22" fmla="*/ 542925 h 4496940"/>
              <a:gd name="connsiteX23" fmla="*/ 3811927 w 4519983"/>
              <a:gd name="connsiteY23" fmla="*/ 581025 h 4496940"/>
              <a:gd name="connsiteX24" fmla="*/ 3840502 w 4519983"/>
              <a:gd name="connsiteY24" fmla="*/ 600075 h 4496940"/>
              <a:gd name="connsiteX25" fmla="*/ 3869077 w 4519983"/>
              <a:gd name="connsiteY25" fmla="*/ 628650 h 4496940"/>
              <a:gd name="connsiteX26" fmla="*/ 3907177 w 4519983"/>
              <a:gd name="connsiteY26" fmla="*/ 647700 h 4496940"/>
              <a:gd name="connsiteX27" fmla="*/ 3935752 w 4519983"/>
              <a:gd name="connsiteY27" fmla="*/ 676275 h 4496940"/>
              <a:gd name="connsiteX28" fmla="*/ 3992902 w 4519983"/>
              <a:gd name="connsiteY28" fmla="*/ 714375 h 4496940"/>
              <a:gd name="connsiteX29" fmla="*/ 4050052 w 4519983"/>
              <a:gd name="connsiteY29" fmla="*/ 790575 h 4496940"/>
              <a:gd name="connsiteX30" fmla="*/ 4078627 w 4519983"/>
              <a:gd name="connsiteY30" fmla="*/ 838200 h 4496940"/>
              <a:gd name="connsiteX31" fmla="*/ 4107202 w 4519983"/>
              <a:gd name="connsiteY31" fmla="*/ 876300 h 4496940"/>
              <a:gd name="connsiteX32" fmla="*/ 4116727 w 4519983"/>
              <a:gd name="connsiteY32" fmla="*/ 904875 h 4496940"/>
              <a:gd name="connsiteX33" fmla="*/ 4135777 w 4519983"/>
              <a:gd name="connsiteY33" fmla="*/ 933450 h 4496940"/>
              <a:gd name="connsiteX34" fmla="*/ 4164352 w 4519983"/>
              <a:gd name="connsiteY34" fmla="*/ 990600 h 4496940"/>
              <a:gd name="connsiteX35" fmla="*/ 4173877 w 4519983"/>
              <a:gd name="connsiteY35" fmla="*/ 1019175 h 4496940"/>
              <a:gd name="connsiteX36" fmla="*/ 4192927 w 4519983"/>
              <a:gd name="connsiteY36" fmla="*/ 1057275 h 4496940"/>
              <a:gd name="connsiteX37" fmla="*/ 4202452 w 4519983"/>
              <a:gd name="connsiteY37" fmla="*/ 1085850 h 4496940"/>
              <a:gd name="connsiteX38" fmla="*/ 4250077 w 4519983"/>
              <a:gd name="connsiteY38" fmla="*/ 1143000 h 4496940"/>
              <a:gd name="connsiteX39" fmla="*/ 4259602 w 4519983"/>
              <a:gd name="connsiteY39" fmla="*/ 1190625 h 4496940"/>
              <a:gd name="connsiteX40" fmla="*/ 4307227 w 4519983"/>
              <a:gd name="connsiteY40" fmla="*/ 1266825 h 4496940"/>
              <a:gd name="connsiteX41" fmla="*/ 4345327 w 4519983"/>
              <a:gd name="connsiteY41" fmla="*/ 1362075 h 4496940"/>
              <a:gd name="connsiteX42" fmla="*/ 4373902 w 4519983"/>
              <a:gd name="connsiteY42" fmla="*/ 1428750 h 4496940"/>
              <a:gd name="connsiteX43" fmla="*/ 4392952 w 4519983"/>
              <a:gd name="connsiteY43" fmla="*/ 1552575 h 4496940"/>
              <a:gd name="connsiteX44" fmla="*/ 4402477 w 4519983"/>
              <a:gd name="connsiteY44" fmla="*/ 1590675 h 4496940"/>
              <a:gd name="connsiteX45" fmla="*/ 4431052 w 4519983"/>
              <a:gd name="connsiteY45" fmla="*/ 1685925 h 4496940"/>
              <a:gd name="connsiteX46" fmla="*/ 4519952 w 4519983"/>
              <a:gd name="connsiteY46" fmla="*/ 2181225 h 4496940"/>
              <a:gd name="connsiteX47" fmla="*/ 4440577 w 4519983"/>
              <a:gd name="connsiteY47" fmla="*/ 2876550 h 4496940"/>
              <a:gd name="connsiteX48" fmla="*/ 4383427 w 4519983"/>
              <a:gd name="connsiteY48" fmla="*/ 2990850 h 4496940"/>
              <a:gd name="connsiteX49" fmla="*/ 4354852 w 4519983"/>
              <a:gd name="connsiteY49" fmla="*/ 3057525 h 4496940"/>
              <a:gd name="connsiteX50" fmla="*/ 4335802 w 4519983"/>
              <a:gd name="connsiteY50" fmla="*/ 3095625 h 4496940"/>
              <a:gd name="connsiteX51" fmla="*/ 4278652 w 4519983"/>
              <a:gd name="connsiteY51" fmla="*/ 3248025 h 4496940"/>
              <a:gd name="connsiteX52" fmla="*/ 4259602 w 4519983"/>
              <a:gd name="connsiteY52" fmla="*/ 3276600 h 4496940"/>
              <a:gd name="connsiteX53" fmla="*/ 4221502 w 4519983"/>
              <a:gd name="connsiteY53" fmla="*/ 3333750 h 4496940"/>
              <a:gd name="connsiteX54" fmla="*/ 4211977 w 4519983"/>
              <a:gd name="connsiteY54" fmla="*/ 3362325 h 4496940"/>
              <a:gd name="connsiteX55" fmla="*/ 4183402 w 4519983"/>
              <a:gd name="connsiteY55" fmla="*/ 3400425 h 4496940"/>
              <a:gd name="connsiteX56" fmla="*/ 4164352 w 4519983"/>
              <a:gd name="connsiteY56" fmla="*/ 3429000 h 4496940"/>
              <a:gd name="connsiteX57" fmla="*/ 4088152 w 4519983"/>
              <a:gd name="connsiteY57" fmla="*/ 3495675 h 4496940"/>
              <a:gd name="connsiteX58" fmla="*/ 4059577 w 4519983"/>
              <a:gd name="connsiteY58" fmla="*/ 3533775 h 4496940"/>
              <a:gd name="connsiteX59" fmla="*/ 4002427 w 4519983"/>
              <a:gd name="connsiteY59" fmla="*/ 3600450 h 4496940"/>
              <a:gd name="connsiteX60" fmla="*/ 3983377 w 4519983"/>
              <a:gd name="connsiteY60" fmla="*/ 3629025 h 4496940"/>
              <a:gd name="connsiteX61" fmla="*/ 3954802 w 4519983"/>
              <a:gd name="connsiteY61" fmla="*/ 3648075 h 4496940"/>
              <a:gd name="connsiteX62" fmla="*/ 3907177 w 4519983"/>
              <a:gd name="connsiteY62" fmla="*/ 3686175 h 4496940"/>
              <a:gd name="connsiteX63" fmla="*/ 3869077 w 4519983"/>
              <a:gd name="connsiteY63" fmla="*/ 3724275 h 4496940"/>
              <a:gd name="connsiteX64" fmla="*/ 3792877 w 4519983"/>
              <a:gd name="connsiteY64" fmla="*/ 3781425 h 4496940"/>
              <a:gd name="connsiteX65" fmla="*/ 3783352 w 4519983"/>
              <a:gd name="connsiteY65" fmla="*/ 3810000 h 4496940"/>
              <a:gd name="connsiteX66" fmla="*/ 3745252 w 4519983"/>
              <a:gd name="connsiteY66" fmla="*/ 3819525 h 4496940"/>
              <a:gd name="connsiteX67" fmla="*/ 3678577 w 4519983"/>
              <a:gd name="connsiteY67" fmla="*/ 3848100 h 4496940"/>
              <a:gd name="connsiteX68" fmla="*/ 3659527 w 4519983"/>
              <a:gd name="connsiteY68" fmla="*/ 3971925 h 4496940"/>
              <a:gd name="connsiteX69" fmla="*/ 3630952 w 4519983"/>
              <a:gd name="connsiteY69" fmla="*/ 4010025 h 4496940"/>
              <a:gd name="connsiteX70" fmla="*/ 3621427 w 4519983"/>
              <a:gd name="connsiteY70" fmla="*/ 4038600 h 4496940"/>
              <a:gd name="connsiteX71" fmla="*/ 3554752 w 4519983"/>
              <a:gd name="connsiteY71" fmla="*/ 4095750 h 4496940"/>
              <a:gd name="connsiteX72" fmla="*/ 3516652 w 4519983"/>
              <a:gd name="connsiteY72" fmla="*/ 4114800 h 4496940"/>
              <a:gd name="connsiteX73" fmla="*/ 3497602 w 4519983"/>
              <a:gd name="connsiteY73" fmla="*/ 4143375 h 4496940"/>
              <a:gd name="connsiteX74" fmla="*/ 3383302 w 4519983"/>
              <a:gd name="connsiteY74" fmla="*/ 4210050 h 4496940"/>
              <a:gd name="connsiteX75" fmla="*/ 3335677 w 4519983"/>
              <a:gd name="connsiteY75" fmla="*/ 4238625 h 4496940"/>
              <a:gd name="connsiteX76" fmla="*/ 3288052 w 4519983"/>
              <a:gd name="connsiteY76" fmla="*/ 4248150 h 4496940"/>
              <a:gd name="connsiteX77" fmla="*/ 3240427 w 4519983"/>
              <a:gd name="connsiteY77" fmla="*/ 4267200 h 4496940"/>
              <a:gd name="connsiteX78" fmla="*/ 3068977 w 4519983"/>
              <a:gd name="connsiteY78" fmla="*/ 4286250 h 4496940"/>
              <a:gd name="connsiteX79" fmla="*/ 2935627 w 4519983"/>
              <a:gd name="connsiteY79" fmla="*/ 4333875 h 4496940"/>
              <a:gd name="connsiteX80" fmla="*/ 2811802 w 4519983"/>
              <a:gd name="connsiteY80" fmla="*/ 4371975 h 4496940"/>
              <a:gd name="connsiteX81" fmla="*/ 2745127 w 4519983"/>
              <a:gd name="connsiteY81" fmla="*/ 4410075 h 4496940"/>
              <a:gd name="connsiteX82" fmla="*/ 2697502 w 4519983"/>
              <a:gd name="connsiteY82" fmla="*/ 4429125 h 4496940"/>
              <a:gd name="connsiteX83" fmla="*/ 2640352 w 4519983"/>
              <a:gd name="connsiteY83" fmla="*/ 4457700 h 4496940"/>
              <a:gd name="connsiteX84" fmla="*/ 2583202 w 4519983"/>
              <a:gd name="connsiteY84" fmla="*/ 4467225 h 4496940"/>
              <a:gd name="connsiteX85" fmla="*/ 2545102 w 4519983"/>
              <a:gd name="connsiteY85" fmla="*/ 4486275 h 4496940"/>
              <a:gd name="connsiteX86" fmla="*/ 2306977 w 4519983"/>
              <a:gd name="connsiteY86" fmla="*/ 4476750 h 4496940"/>
              <a:gd name="connsiteX87" fmla="*/ 2202202 w 4519983"/>
              <a:gd name="connsiteY87" fmla="*/ 4457700 h 4496940"/>
              <a:gd name="connsiteX88" fmla="*/ 2126002 w 4519983"/>
              <a:gd name="connsiteY88" fmla="*/ 4429125 h 4496940"/>
              <a:gd name="connsiteX89" fmla="*/ 1935502 w 4519983"/>
              <a:gd name="connsiteY89" fmla="*/ 4400550 h 4496940"/>
              <a:gd name="connsiteX90" fmla="*/ 1821202 w 4519983"/>
              <a:gd name="connsiteY90" fmla="*/ 4371975 h 4496940"/>
              <a:gd name="connsiteX91" fmla="*/ 1754527 w 4519983"/>
              <a:gd name="connsiteY91" fmla="*/ 4352925 h 4496940"/>
              <a:gd name="connsiteX92" fmla="*/ 1687852 w 4519983"/>
              <a:gd name="connsiteY92" fmla="*/ 4343400 h 4496940"/>
              <a:gd name="connsiteX93" fmla="*/ 1573552 w 4519983"/>
              <a:gd name="connsiteY93" fmla="*/ 4305300 h 4496940"/>
              <a:gd name="connsiteX94" fmla="*/ 1402102 w 4519983"/>
              <a:gd name="connsiteY94" fmla="*/ 4276725 h 4496940"/>
              <a:gd name="connsiteX95" fmla="*/ 1287802 w 4519983"/>
              <a:gd name="connsiteY95" fmla="*/ 4229100 h 4496940"/>
              <a:gd name="connsiteX96" fmla="*/ 1221127 w 4519983"/>
              <a:gd name="connsiteY96" fmla="*/ 4200525 h 4496940"/>
              <a:gd name="connsiteX97" fmla="*/ 1144927 w 4519983"/>
              <a:gd name="connsiteY97" fmla="*/ 4171950 h 4496940"/>
              <a:gd name="connsiteX98" fmla="*/ 1087777 w 4519983"/>
              <a:gd name="connsiteY98" fmla="*/ 4143375 h 4496940"/>
              <a:gd name="connsiteX99" fmla="*/ 1030627 w 4519983"/>
              <a:gd name="connsiteY99" fmla="*/ 4124325 h 4496940"/>
              <a:gd name="connsiteX100" fmla="*/ 925852 w 4519983"/>
              <a:gd name="connsiteY100" fmla="*/ 4067175 h 4496940"/>
              <a:gd name="connsiteX101" fmla="*/ 830602 w 4519983"/>
              <a:gd name="connsiteY101" fmla="*/ 3981450 h 4496940"/>
              <a:gd name="connsiteX102" fmla="*/ 763927 w 4519983"/>
              <a:gd name="connsiteY102" fmla="*/ 3914775 h 4496940"/>
              <a:gd name="connsiteX103" fmla="*/ 725827 w 4519983"/>
              <a:gd name="connsiteY103" fmla="*/ 3876675 h 4496940"/>
              <a:gd name="connsiteX104" fmla="*/ 697252 w 4519983"/>
              <a:gd name="connsiteY104" fmla="*/ 3838575 h 4496940"/>
              <a:gd name="connsiteX105" fmla="*/ 640102 w 4519983"/>
              <a:gd name="connsiteY105" fmla="*/ 3781425 h 4496940"/>
              <a:gd name="connsiteX106" fmla="*/ 611527 w 4519983"/>
              <a:gd name="connsiteY106" fmla="*/ 3733800 h 4496940"/>
              <a:gd name="connsiteX107" fmla="*/ 554377 w 4519983"/>
              <a:gd name="connsiteY107" fmla="*/ 3657600 h 4496940"/>
              <a:gd name="connsiteX108" fmla="*/ 525802 w 4519983"/>
              <a:gd name="connsiteY108" fmla="*/ 3609975 h 4496940"/>
              <a:gd name="connsiteX109" fmla="*/ 497227 w 4519983"/>
              <a:gd name="connsiteY109" fmla="*/ 3552825 h 4496940"/>
              <a:gd name="connsiteX110" fmla="*/ 440077 w 4519983"/>
              <a:gd name="connsiteY110" fmla="*/ 3495675 h 4496940"/>
              <a:gd name="connsiteX111" fmla="*/ 411502 w 4519983"/>
              <a:gd name="connsiteY111" fmla="*/ 3448050 h 4496940"/>
              <a:gd name="connsiteX112" fmla="*/ 278152 w 4519983"/>
              <a:gd name="connsiteY112" fmla="*/ 3257550 h 4496940"/>
              <a:gd name="connsiteX113" fmla="*/ 249577 w 4519983"/>
              <a:gd name="connsiteY113" fmla="*/ 3200400 h 4496940"/>
              <a:gd name="connsiteX114" fmla="*/ 240052 w 4519983"/>
              <a:gd name="connsiteY114" fmla="*/ 3162300 h 4496940"/>
              <a:gd name="connsiteX115" fmla="*/ 221002 w 4519983"/>
              <a:gd name="connsiteY115" fmla="*/ 3105150 h 4496940"/>
              <a:gd name="connsiteX116" fmla="*/ 173377 w 4519983"/>
              <a:gd name="connsiteY116" fmla="*/ 3019425 h 4496940"/>
              <a:gd name="connsiteX117" fmla="*/ 144802 w 4519983"/>
              <a:gd name="connsiteY117" fmla="*/ 2924175 h 4496940"/>
              <a:gd name="connsiteX118" fmla="*/ 68602 w 4519983"/>
              <a:gd name="connsiteY118" fmla="*/ 2724150 h 4496940"/>
              <a:gd name="connsiteX119" fmla="*/ 49552 w 4519983"/>
              <a:gd name="connsiteY119" fmla="*/ 2638425 h 4496940"/>
              <a:gd name="connsiteX120" fmla="*/ 40027 w 4519983"/>
              <a:gd name="connsiteY120" fmla="*/ 2562225 h 4496940"/>
              <a:gd name="connsiteX121" fmla="*/ 30502 w 4519983"/>
              <a:gd name="connsiteY121" fmla="*/ 2514600 h 4496940"/>
              <a:gd name="connsiteX122" fmla="*/ 11452 w 4519983"/>
              <a:gd name="connsiteY122" fmla="*/ 2400300 h 4496940"/>
              <a:gd name="connsiteX123" fmla="*/ 20977 w 4519983"/>
              <a:gd name="connsiteY123" fmla="*/ 1905000 h 4496940"/>
              <a:gd name="connsiteX124" fmla="*/ 30502 w 4519983"/>
              <a:gd name="connsiteY124" fmla="*/ 1838325 h 4496940"/>
              <a:gd name="connsiteX125" fmla="*/ 49552 w 4519983"/>
              <a:gd name="connsiteY125" fmla="*/ 1781175 h 4496940"/>
              <a:gd name="connsiteX126" fmla="*/ 59077 w 4519983"/>
              <a:gd name="connsiteY126" fmla="*/ 1743075 h 4496940"/>
              <a:gd name="connsiteX127" fmla="*/ 78127 w 4519983"/>
              <a:gd name="connsiteY127" fmla="*/ 1685925 h 4496940"/>
              <a:gd name="connsiteX128" fmla="*/ 87652 w 4519983"/>
              <a:gd name="connsiteY128" fmla="*/ 1638300 h 4496940"/>
              <a:gd name="connsiteX129" fmla="*/ 106702 w 4519983"/>
              <a:gd name="connsiteY129" fmla="*/ 1590675 h 4496940"/>
              <a:gd name="connsiteX130" fmla="*/ 135277 w 4519983"/>
              <a:gd name="connsiteY130" fmla="*/ 1504950 h 4496940"/>
              <a:gd name="connsiteX131" fmla="*/ 154327 w 4519983"/>
              <a:gd name="connsiteY131" fmla="*/ 1419225 h 4496940"/>
              <a:gd name="connsiteX132" fmla="*/ 230527 w 4519983"/>
              <a:gd name="connsiteY132" fmla="*/ 1276350 h 4496940"/>
              <a:gd name="connsiteX133" fmla="*/ 240052 w 4519983"/>
              <a:gd name="connsiteY133" fmla="*/ 1247775 h 4496940"/>
              <a:gd name="connsiteX134" fmla="*/ 268627 w 4519983"/>
              <a:gd name="connsiteY134" fmla="*/ 1200150 h 4496940"/>
              <a:gd name="connsiteX135" fmla="*/ 287677 w 4519983"/>
              <a:gd name="connsiteY135" fmla="*/ 1152525 h 4496940"/>
              <a:gd name="connsiteX136" fmla="*/ 316252 w 4519983"/>
              <a:gd name="connsiteY136" fmla="*/ 1114425 h 4496940"/>
              <a:gd name="connsiteX137" fmla="*/ 363877 w 4519983"/>
              <a:gd name="connsiteY137" fmla="*/ 1038225 h 4496940"/>
              <a:gd name="connsiteX138" fmla="*/ 382927 w 4519983"/>
              <a:gd name="connsiteY138" fmla="*/ 1009650 h 4496940"/>
              <a:gd name="connsiteX139" fmla="*/ 440077 w 4519983"/>
              <a:gd name="connsiteY139" fmla="*/ 904875 h 4496940"/>
              <a:gd name="connsiteX140" fmla="*/ 478177 w 4519983"/>
              <a:gd name="connsiteY140" fmla="*/ 857250 h 4496940"/>
              <a:gd name="connsiteX141" fmla="*/ 497227 w 4519983"/>
              <a:gd name="connsiteY141" fmla="*/ 828675 h 4496940"/>
              <a:gd name="connsiteX142" fmla="*/ 535327 w 4519983"/>
              <a:gd name="connsiteY142" fmla="*/ 800100 h 4496940"/>
              <a:gd name="connsiteX143" fmla="*/ 602002 w 4519983"/>
              <a:gd name="connsiteY143" fmla="*/ 733425 h 4496940"/>
              <a:gd name="connsiteX144" fmla="*/ 668677 w 4519983"/>
              <a:gd name="connsiteY144" fmla="*/ 676275 h 4496940"/>
              <a:gd name="connsiteX145" fmla="*/ 697252 w 4519983"/>
              <a:gd name="connsiteY145" fmla="*/ 657225 h 4496940"/>
              <a:gd name="connsiteX146" fmla="*/ 840127 w 4519983"/>
              <a:gd name="connsiteY146" fmla="*/ 533400 h 4496940"/>
              <a:gd name="connsiteX147" fmla="*/ 887752 w 4519983"/>
              <a:gd name="connsiteY147" fmla="*/ 504825 h 4496940"/>
              <a:gd name="connsiteX148" fmla="*/ 1167152 w 4519983"/>
              <a:gd name="connsiteY148" fmla="*/ 311150 h 4496940"/>
              <a:gd name="connsiteX149" fmla="*/ 1268752 w 4519983"/>
              <a:gd name="connsiteY149" fmla="*/ 285750 h 4496940"/>
              <a:gd name="connsiteX150" fmla="*/ 1411627 w 4519983"/>
              <a:gd name="connsiteY150" fmla="*/ 190500 h 4496940"/>
              <a:gd name="connsiteX151" fmla="*/ 1449727 w 4519983"/>
              <a:gd name="connsiteY151" fmla="*/ 161925 h 4496940"/>
              <a:gd name="connsiteX152" fmla="*/ 1525927 w 4519983"/>
              <a:gd name="connsiteY152" fmla="*/ 152400 h 4496940"/>
              <a:gd name="connsiteX153" fmla="*/ 1583077 w 4519983"/>
              <a:gd name="connsiteY153" fmla="*/ 142875 h 4496940"/>
              <a:gd name="connsiteX154" fmla="*/ 1716427 w 4519983"/>
              <a:gd name="connsiteY154" fmla="*/ 123825 h 4496940"/>
              <a:gd name="connsiteX155" fmla="*/ 1811677 w 4519983"/>
              <a:gd name="connsiteY155" fmla="*/ 114300 h 4496940"/>
              <a:gd name="connsiteX156" fmla="*/ 1859302 w 4519983"/>
              <a:gd name="connsiteY156" fmla="*/ 104775 h 4496940"/>
              <a:gd name="connsiteX157" fmla="*/ 1916452 w 4519983"/>
              <a:gd name="connsiteY157" fmla="*/ 95250 h 4496940"/>
              <a:gd name="connsiteX158" fmla="*/ 2030752 w 4519983"/>
              <a:gd name="connsiteY158" fmla="*/ 66675 h 4496940"/>
              <a:gd name="connsiteX159" fmla="*/ 2097427 w 4519983"/>
              <a:gd name="connsiteY159" fmla="*/ 47625 h 4496940"/>
              <a:gd name="connsiteX160" fmla="*/ 2164102 w 4519983"/>
              <a:gd name="connsiteY160" fmla="*/ 38100 h 4496940"/>
              <a:gd name="connsiteX161" fmla="*/ 2392702 w 4519983"/>
              <a:gd name="connsiteY16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354852 w 4519987"/>
              <a:gd name="connsiteY49" fmla="*/ 3057525 h 4496940"/>
              <a:gd name="connsiteX50" fmla="*/ 4335802 w 4519987"/>
              <a:gd name="connsiteY50" fmla="*/ 3095625 h 4496940"/>
              <a:gd name="connsiteX51" fmla="*/ 4278652 w 4519987"/>
              <a:gd name="connsiteY51" fmla="*/ 3248025 h 4496940"/>
              <a:gd name="connsiteX52" fmla="*/ 4259602 w 4519987"/>
              <a:gd name="connsiteY52" fmla="*/ 3276600 h 4496940"/>
              <a:gd name="connsiteX53" fmla="*/ 4221502 w 4519987"/>
              <a:gd name="connsiteY53" fmla="*/ 3333750 h 4496940"/>
              <a:gd name="connsiteX54" fmla="*/ 4211977 w 4519987"/>
              <a:gd name="connsiteY54" fmla="*/ 3362325 h 4496940"/>
              <a:gd name="connsiteX55" fmla="*/ 4183402 w 4519987"/>
              <a:gd name="connsiteY55" fmla="*/ 3400425 h 4496940"/>
              <a:gd name="connsiteX56" fmla="*/ 4164352 w 4519987"/>
              <a:gd name="connsiteY56" fmla="*/ 3429000 h 4496940"/>
              <a:gd name="connsiteX57" fmla="*/ 4088152 w 4519987"/>
              <a:gd name="connsiteY57" fmla="*/ 3495675 h 4496940"/>
              <a:gd name="connsiteX58" fmla="*/ 4059577 w 4519987"/>
              <a:gd name="connsiteY58" fmla="*/ 3533775 h 4496940"/>
              <a:gd name="connsiteX59" fmla="*/ 4002427 w 4519987"/>
              <a:gd name="connsiteY59" fmla="*/ 3600450 h 4496940"/>
              <a:gd name="connsiteX60" fmla="*/ 3983377 w 4519987"/>
              <a:gd name="connsiteY60" fmla="*/ 3629025 h 4496940"/>
              <a:gd name="connsiteX61" fmla="*/ 3954802 w 4519987"/>
              <a:gd name="connsiteY61" fmla="*/ 3648075 h 4496940"/>
              <a:gd name="connsiteX62" fmla="*/ 3907177 w 4519987"/>
              <a:gd name="connsiteY62" fmla="*/ 3686175 h 4496940"/>
              <a:gd name="connsiteX63" fmla="*/ 3869077 w 4519987"/>
              <a:gd name="connsiteY63" fmla="*/ 3724275 h 4496940"/>
              <a:gd name="connsiteX64" fmla="*/ 3792877 w 4519987"/>
              <a:gd name="connsiteY64" fmla="*/ 3781425 h 4496940"/>
              <a:gd name="connsiteX65" fmla="*/ 3783352 w 4519987"/>
              <a:gd name="connsiteY65" fmla="*/ 3810000 h 4496940"/>
              <a:gd name="connsiteX66" fmla="*/ 3745252 w 4519987"/>
              <a:gd name="connsiteY66" fmla="*/ 3819525 h 4496940"/>
              <a:gd name="connsiteX67" fmla="*/ 3678577 w 4519987"/>
              <a:gd name="connsiteY67" fmla="*/ 3848100 h 4496940"/>
              <a:gd name="connsiteX68" fmla="*/ 3659527 w 4519987"/>
              <a:gd name="connsiteY68" fmla="*/ 3971925 h 4496940"/>
              <a:gd name="connsiteX69" fmla="*/ 3630952 w 4519987"/>
              <a:gd name="connsiteY69" fmla="*/ 4010025 h 4496940"/>
              <a:gd name="connsiteX70" fmla="*/ 3621427 w 4519987"/>
              <a:gd name="connsiteY70" fmla="*/ 4038600 h 4496940"/>
              <a:gd name="connsiteX71" fmla="*/ 3554752 w 4519987"/>
              <a:gd name="connsiteY71" fmla="*/ 4095750 h 4496940"/>
              <a:gd name="connsiteX72" fmla="*/ 3516652 w 4519987"/>
              <a:gd name="connsiteY72" fmla="*/ 4114800 h 4496940"/>
              <a:gd name="connsiteX73" fmla="*/ 3497602 w 4519987"/>
              <a:gd name="connsiteY73" fmla="*/ 4143375 h 4496940"/>
              <a:gd name="connsiteX74" fmla="*/ 3383302 w 4519987"/>
              <a:gd name="connsiteY74" fmla="*/ 4210050 h 4496940"/>
              <a:gd name="connsiteX75" fmla="*/ 3335677 w 4519987"/>
              <a:gd name="connsiteY75" fmla="*/ 4238625 h 4496940"/>
              <a:gd name="connsiteX76" fmla="*/ 3288052 w 4519987"/>
              <a:gd name="connsiteY76" fmla="*/ 4248150 h 4496940"/>
              <a:gd name="connsiteX77" fmla="*/ 3240427 w 4519987"/>
              <a:gd name="connsiteY77" fmla="*/ 4267200 h 4496940"/>
              <a:gd name="connsiteX78" fmla="*/ 3068977 w 4519987"/>
              <a:gd name="connsiteY78" fmla="*/ 4286250 h 4496940"/>
              <a:gd name="connsiteX79" fmla="*/ 2935627 w 4519987"/>
              <a:gd name="connsiteY79" fmla="*/ 4333875 h 4496940"/>
              <a:gd name="connsiteX80" fmla="*/ 2811802 w 4519987"/>
              <a:gd name="connsiteY80" fmla="*/ 4371975 h 4496940"/>
              <a:gd name="connsiteX81" fmla="*/ 2745127 w 4519987"/>
              <a:gd name="connsiteY81" fmla="*/ 4410075 h 4496940"/>
              <a:gd name="connsiteX82" fmla="*/ 2697502 w 4519987"/>
              <a:gd name="connsiteY82" fmla="*/ 4429125 h 4496940"/>
              <a:gd name="connsiteX83" fmla="*/ 2640352 w 4519987"/>
              <a:gd name="connsiteY83" fmla="*/ 4457700 h 4496940"/>
              <a:gd name="connsiteX84" fmla="*/ 2583202 w 4519987"/>
              <a:gd name="connsiteY84" fmla="*/ 4467225 h 4496940"/>
              <a:gd name="connsiteX85" fmla="*/ 2545102 w 4519987"/>
              <a:gd name="connsiteY85" fmla="*/ 4486275 h 4496940"/>
              <a:gd name="connsiteX86" fmla="*/ 2306977 w 4519987"/>
              <a:gd name="connsiteY86" fmla="*/ 4476750 h 4496940"/>
              <a:gd name="connsiteX87" fmla="*/ 2202202 w 4519987"/>
              <a:gd name="connsiteY87" fmla="*/ 4457700 h 4496940"/>
              <a:gd name="connsiteX88" fmla="*/ 2126002 w 4519987"/>
              <a:gd name="connsiteY88" fmla="*/ 4429125 h 4496940"/>
              <a:gd name="connsiteX89" fmla="*/ 1935502 w 4519987"/>
              <a:gd name="connsiteY89" fmla="*/ 4400550 h 4496940"/>
              <a:gd name="connsiteX90" fmla="*/ 1821202 w 4519987"/>
              <a:gd name="connsiteY90" fmla="*/ 4371975 h 4496940"/>
              <a:gd name="connsiteX91" fmla="*/ 1754527 w 4519987"/>
              <a:gd name="connsiteY91" fmla="*/ 4352925 h 4496940"/>
              <a:gd name="connsiteX92" fmla="*/ 1687852 w 4519987"/>
              <a:gd name="connsiteY92" fmla="*/ 4343400 h 4496940"/>
              <a:gd name="connsiteX93" fmla="*/ 1573552 w 4519987"/>
              <a:gd name="connsiteY93" fmla="*/ 4305300 h 4496940"/>
              <a:gd name="connsiteX94" fmla="*/ 1402102 w 4519987"/>
              <a:gd name="connsiteY94" fmla="*/ 4276725 h 4496940"/>
              <a:gd name="connsiteX95" fmla="*/ 1287802 w 4519987"/>
              <a:gd name="connsiteY95" fmla="*/ 4229100 h 4496940"/>
              <a:gd name="connsiteX96" fmla="*/ 1221127 w 4519987"/>
              <a:gd name="connsiteY96" fmla="*/ 4200525 h 4496940"/>
              <a:gd name="connsiteX97" fmla="*/ 1144927 w 4519987"/>
              <a:gd name="connsiteY97" fmla="*/ 4171950 h 4496940"/>
              <a:gd name="connsiteX98" fmla="*/ 1087777 w 4519987"/>
              <a:gd name="connsiteY98" fmla="*/ 4143375 h 4496940"/>
              <a:gd name="connsiteX99" fmla="*/ 1030627 w 4519987"/>
              <a:gd name="connsiteY99" fmla="*/ 4124325 h 4496940"/>
              <a:gd name="connsiteX100" fmla="*/ 925852 w 4519987"/>
              <a:gd name="connsiteY100" fmla="*/ 4067175 h 4496940"/>
              <a:gd name="connsiteX101" fmla="*/ 830602 w 4519987"/>
              <a:gd name="connsiteY101" fmla="*/ 3981450 h 4496940"/>
              <a:gd name="connsiteX102" fmla="*/ 763927 w 4519987"/>
              <a:gd name="connsiteY102" fmla="*/ 3914775 h 4496940"/>
              <a:gd name="connsiteX103" fmla="*/ 725827 w 4519987"/>
              <a:gd name="connsiteY103" fmla="*/ 3876675 h 4496940"/>
              <a:gd name="connsiteX104" fmla="*/ 697252 w 4519987"/>
              <a:gd name="connsiteY104" fmla="*/ 3838575 h 4496940"/>
              <a:gd name="connsiteX105" fmla="*/ 640102 w 4519987"/>
              <a:gd name="connsiteY105" fmla="*/ 3781425 h 4496940"/>
              <a:gd name="connsiteX106" fmla="*/ 611527 w 4519987"/>
              <a:gd name="connsiteY106" fmla="*/ 3733800 h 4496940"/>
              <a:gd name="connsiteX107" fmla="*/ 554377 w 4519987"/>
              <a:gd name="connsiteY107" fmla="*/ 3657600 h 4496940"/>
              <a:gd name="connsiteX108" fmla="*/ 525802 w 4519987"/>
              <a:gd name="connsiteY108" fmla="*/ 3609975 h 4496940"/>
              <a:gd name="connsiteX109" fmla="*/ 497227 w 4519987"/>
              <a:gd name="connsiteY109" fmla="*/ 3552825 h 4496940"/>
              <a:gd name="connsiteX110" fmla="*/ 440077 w 4519987"/>
              <a:gd name="connsiteY110" fmla="*/ 3495675 h 4496940"/>
              <a:gd name="connsiteX111" fmla="*/ 411502 w 4519987"/>
              <a:gd name="connsiteY111" fmla="*/ 3448050 h 4496940"/>
              <a:gd name="connsiteX112" fmla="*/ 278152 w 4519987"/>
              <a:gd name="connsiteY112" fmla="*/ 3257550 h 4496940"/>
              <a:gd name="connsiteX113" fmla="*/ 249577 w 4519987"/>
              <a:gd name="connsiteY113" fmla="*/ 3200400 h 4496940"/>
              <a:gd name="connsiteX114" fmla="*/ 240052 w 4519987"/>
              <a:gd name="connsiteY114" fmla="*/ 3162300 h 4496940"/>
              <a:gd name="connsiteX115" fmla="*/ 221002 w 4519987"/>
              <a:gd name="connsiteY115" fmla="*/ 3105150 h 4496940"/>
              <a:gd name="connsiteX116" fmla="*/ 173377 w 4519987"/>
              <a:gd name="connsiteY116" fmla="*/ 3019425 h 4496940"/>
              <a:gd name="connsiteX117" fmla="*/ 144802 w 4519987"/>
              <a:gd name="connsiteY117" fmla="*/ 2924175 h 4496940"/>
              <a:gd name="connsiteX118" fmla="*/ 68602 w 4519987"/>
              <a:gd name="connsiteY118" fmla="*/ 2724150 h 4496940"/>
              <a:gd name="connsiteX119" fmla="*/ 49552 w 4519987"/>
              <a:gd name="connsiteY119" fmla="*/ 2638425 h 4496940"/>
              <a:gd name="connsiteX120" fmla="*/ 40027 w 4519987"/>
              <a:gd name="connsiteY120" fmla="*/ 2562225 h 4496940"/>
              <a:gd name="connsiteX121" fmla="*/ 30502 w 4519987"/>
              <a:gd name="connsiteY121" fmla="*/ 2514600 h 4496940"/>
              <a:gd name="connsiteX122" fmla="*/ 11452 w 4519987"/>
              <a:gd name="connsiteY122" fmla="*/ 2400300 h 4496940"/>
              <a:gd name="connsiteX123" fmla="*/ 20977 w 4519987"/>
              <a:gd name="connsiteY123" fmla="*/ 1905000 h 4496940"/>
              <a:gd name="connsiteX124" fmla="*/ 30502 w 4519987"/>
              <a:gd name="connsiteY124" fmla="*/ 1838325 h 4496940"/>
              <a:gd name="connsiteX125" fmla="*/ 49552 w 4519987"/>
              <a:gd name="connsiteY125" fmla="*/ 1781175 h 4496940"/>
              <a:gd name="connsiteX126" fmla="*/ 59077 w 4519987"/>
              <a:gd name="connsiteY126" fmla="*/ 1743075 h 4496940"/>
              <a:gd name="connsiteX127" fmla="*/ 78127 w 4519987"/>
              <a:gd name="connsiteY127" fmla="*/ 1685925 h 4496940"/>
              <a:gd name="connsiteX128" fmla="*/ 87652 w 4519987"/>
              <a:gd name="connsiteY128" fmla="*/ 1638300 h 4496940"/>
              <a:gd name="connsiteX129" fmla="*/ 106702 w 4519987"/>
              <a:gd name="connsiteY129" fmla="*/ 1590675 h 4496940"/>
              <a:gd name="connsiteX130" fmla="*/ 135277 w 4519987"/>
              <a:gd name="connsiteY130" fmla="*/ 1504950 h 4496940"/>
              <a:gd name="connsiteX131" fmla="*/ 154327 w 4519987"/>
              <a:gd name="connsiteY131" fmla="*/ 1419225 h 4496940"/>
              <a:gd name="connsiteX132" fmla="*/ 230527 w 4519987"/>
              <a:gd name="connsiteY132" fmla="*/ 1276350 h 4496940"/>
              <a:gd name="connsiteX133" fmla="*/ 240052 w 4519987"/>
              <a:gd name="connsiteY133" fmla="*/ 1247775 h 4496940"/>
              <a:gd name="connsiteX134" fmla="*/ 268627 w 4519987"/>
              <a:gd name="connsiteY134" fmla="*/ 1200150 h 4496940"/>
              <a:gd name="connsiteX135" fmla="*/ 287677 w 4519987"/>
              <a:gd name="connsiteY135" fmla="*/ 1152525 h 4496940"/>
              <a:gd name="connsiteX136" fmla="*/ 316252 w 4519987"/>
              <a:gd name="connsiteY136" fmla="*/ 1114425 h 4496940"/>
              <a:gd name="connsiteX137" fmla="*/ 363877 w 4519987"/>
              <a:gd name="connsiteY137" fmla="*/ 1038225 h 4496940"/>
              <a:gd name="connsiteX138" fmla="*/ 382927 w 4519987"/>
              <a:gd name="connsiteY138" fmla="*/ 1009650 h 4496940"/>
              <a:gd name="connsiteX139" fmla="*/ 440077 w 4519987"/>
              <a:gd name="connsiteY139" fmla="*/ 904875 h 4496940"/>
              <a:gd name="connsiteX140" fmla="*/ 478177 w 4519987"/>
              <a:gd name="connsiteY140" fmla="*/ 857250 h 4496940"/>
              <a:gd name="connsiteX141" fmla="*/ 497227 w 4519987"/>
              <a:gd name="connsiteY141" fmla="*/ 828675 h 4496940"/>
              <a:gd name="connsiteX142" fmla="*/ 535327 w 4519987"/>
              <a:gd name="connsiteY142" fmla="*/ 800100 h 4496940"/>
              <a:gd name="connsiteX143" fmla="*/ 602002 w 4519987"/>
              <a:gd name="connsiteY143" fmla="*/ 733425 h 4496940"/>
              <a:gd name="connsiteX144" fmla="*/ 668677 w 4519987"/>
              <a:gd name="connsiteY144" fmla="*/ 676275 h 4496940"/>
              <a:gd name="connsiteX145" fmla="*/ 697252 w 4519987"/>
              <a:gd name="connsiteY145" fmla="*/ 657225 h 4496940"/>
              <a:gd name="connsiteX146" fmla="*/ 840127 w 4519987"/>
              <a:gd name="connsiteY146" fmla="*/ 533400 h 4496940"/>
              <a:gd name="connsiteX147" fmla="*/ 887752 w 4519987"/>
              <a:gd name="connsiteY147" fmla="*/ 504825 h 4496940"/>
              <a:gd name="connsiteX148" fmla="*/ 1167152 w 4519987"/>
              <a:gd name="connsiteY148" fmla="*/ 311150 h 4496940"/>
              <a:gd name="connsiteX149" fmla="*/ 1268752 w 4519987"/>
              <a:gd name="connsiteY149" fmla="*/ 285750 h 4496940"/>
              <a:gd name="connsiteX150" fmla="*/ 1411627 w 4519987"/>
              <a:gd name="connsiteY150" fmla="*/ 190500 h 4496940"/>
              <a:gd name="connsiteX151" fmla="*/ 1449727 w 4519987"/>
              <a:gd name="connsiteY151" fmla="*/ 161925 h 4496940"/>
              <a:gd name="connsiteX152" fmla="*/ 1525927 w 4519987"/>
              <a:gd name="connsiteY152" fmla="*/ 152400 h 4496940"/>
              <a:gd name="connsiteX153" fmla="*/ 1583077 w 4519987"/>
              <a:gd name="connsiteY153" fmla="*/ 142875 h 4496940"/>
              <a:gd name="connsiteX154" fmla="*/ 1716427 w 4519987"/>
              <a:gd name="connsiteY154" fmla="*/ 123825 h 4496940"/>
              <a:gd name="connsiteX155" fmla="*/ 1811677 w 4519987"/>
              <a:gd name="connsiteY155" fmla="*/ 114300 h 4496940"/>
              <a:gd name="connsiteX156" fmla="*/ 1859302 w 4519987"/>
              <a:gd name="connsiteY156" fmla="*/ 104775 h 4496940"/>
              <a:gd name="connsiteX157" fmla="*/ 1916452 w 4519987"/>
              <a:gd name="connsiteY157" fmla="*/ 95250 h 4496940"/>
              <a:gd name="connsiteX158" fmla="*/ 2030752 w 4519987"/>
              <a:gd name="connsiteY158" fmla="*/ 66675 h 4496940"/>
              <a:gd name="connsiteX159" fmla="*/ 2097427 w 4519987"/>
              <a:gd name="connsiteY159" fmla="*/ 47625 h 4496940"/>
              <a:gd name="connsiteX160" fmla="*/ 2164102 w 4519987"/>
              <a:gd name="connsiteY160" fmla="*/ 38100 h 4496940"/>
              <a:gd name="connsiteX161" fmla="*/ 2392702 w 4519987"/>
              <a:gd name="connsiteY16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354852 w 4519987"/>
              <a:gd name="connsiteY49" fmla="*/ 3057525 h 4496940"/>
              <a:gd name="connsiteX50" fmla="*/ 4278652 w 4519987"/>
              <a:gd name="connsiteY50" fmla="*/ 3248025 h 4496940"/>
              <a:gd name="connsiteX51" fmla="*/ 4259602 w 4519987"/>
              <a:gd name="connsiteY51" fmla="*/ 3276600 h 4496940"/>
              <a:gd name="connsiteX52" fmla="*/ 4221502 w 4519987"/>
              <a:gd name="connsiteY52" fmla="*/ 3333750 h 4496940"/>
              <a:gd name="connsiteX53" fmla="*/ 4211977 w 4519987"/>
              <a:gd name="connsiteY53" fmla="*/ 3362325 h 4496940"/>
              <a:gd name="connsiteX54" fmla="*/ 4183402 w 4519987"/>
              <a:gd name="connsiteY54" fmla="*/ 3400425 h 4496940"/>
              <a:gd name="connsiteX55" fmla="*/ 4164352 w 4519987"/>
              <a:gd name="connsiteY55" fmla="*/ 3429000 h 4496940"/>
              <a:gd name="connsiteX56" fmla="*/ 4088152 w 4519987"/>
              <a:gd name="connsiteY56" fmla="*/ 3495675 h 4496940"/>
              <a:gd name="connsiteX57" fmla="*/ 4059577 w 4519987"/>
              <a:gd name="connsiteY57" fmla="*/ 3533775 h 4496940"/>
              <a:gd name="connsiteX58" fmla="*/ 4002427 w 4519987"/>
              <a:gd name="connsiteY58" fmla="*/ 3600450 h 4496940"/>
              <a:gd name="connsiteX59" fmla="*/ 3983377 w 4519987"/>
              <a:gd name="connsiteY59" fmla="*/ 3629025 h 4496940"/>
              <a:gd name="connsiteX60" fmla="*/ 3954802 w 4519987"/>
              <a:gd name="connsiteY60" fmla="*/ 3648075 h 4496940"/>
              <a:gd name="connsiteX61" fmla="*/ 3907177 w 4519987"/>
              <a:gd name="connsiteY61" fmla="*/ 3686175 h 4496940"/>
              <a:gd name="connsiteX62" fmla="*/ 3869077 w 4519987"/>
              <a:gd name="connsiteY62" fmla="*/ 3724275 h 4496940"/>
              <a:gd name="connsiteX63" fmla="*/ 3792877 w 4519987"/>
              <a:gd name="connsiteY63" fmla="*/ 3781425 h 4496940"/>
              <a:gd name="connsiteX64" fmla="*/ 3783352 w 4519987"/>
              <a:gd name="connsiteY64" fmla="*/ 3810000 h 4496940"/>
              <a:gd name="connsiteX65" fmla="*/ 3745252 w 4519987"/>
              <a:gd name="connsiteY65" fmla="*/ 3819525 h 4496940"/>
              <a:gd name="connsiteX66" fmla="*/ 3678577 w 4519987"/>
              <a:gd name="connsiteY66" fmla="*/ 3848100 h 4496940"/>
              <a:gd name="connsiteX67" fmla="*/ 3659527 w 4519987"/>
              <a:gd name="connsiteY67" fmla="*/ 3971925 h 4496940"/>
              <a:gd name="connsiteX68" fmla="*/ 3630952 w 4519987"/>
              <a:gd name="connsiteY68" fmla="*/ 4010025 h 4496940"/>
              <a:gd name="connsiteX69" fmla="*/ 3621427 w 4519987"/>
              <a:gd name="connsiteY69" fmla="*/ 4038600 h 4496940"/>
              <a:gd name="connsiteX70" fmla="*/ 3554752 w 4519987"/>
              <a:gd name="connsiteY70" fmla="*/ 4095750 h 4496940"/>
              <a:gd name="connsiteX71" fmla="*/ 3516652 w 4519987"/>
              <a:gd name="connsiteY71" fmla="*/ 4114800 h 4496940"/>
              <a:gd name="connsiteX72" fmla="*/ 3497602 w 4519987"/>
              <a:gd name="connsiteY72" fmla="*/ 4143375 h 4496940"/>
              <a:gd name="connsiteX73" fmla="*/ 3383302 w 4519987"/>
              <a:gd name="connsiteY73" fmla="*/ 4210050 h 4496940"/>
              <a:gd name="connsiteX74" fmla="*/ 3335677 w 4519987"/>
              <a:gd name="connsiteY74" fmla="*/ 4238625 h 4496940"/>
              <a:gd name="connsiteX75" fmla="*/ 3288052 w 4519987"/>
              <a:gd name="connsiteY75" fmla="*/ 4248150 h 4496940"/>
              <a:gd name="connsiteX76" fmla="*/ 3240427 w 4519987"/>
              <a:gd name="connsiteY76" fmla="*/ 4267200 h 4496940"/>
              <a:gd name="connsiteX77" fmla="*/ 3068977 w 4519987"/>
              <a:gd name="connsiteY77" fmla="*/ 4286250 h 4496940"/>
              <a:gd name="connsiteX78" fmla="*/ 2935627 w 4519987"/>
              <a:gd name="connsiteY78" fmla="*/ 4333875 h 4496940"/>
              <a:gd name="connsiteX79" fmla="*/ 2811802 w 4519987"/>
              <a:gd name="connsiteY79" fmla="*/ 4371975 h 4496940"/>
              <a:gd name="connsiteX80" fmla="*/ 2745127 w 4519987"/>
              <a:gd name="connsiteY80" fmla="*/ 4410075 h 4496940"/>
              <a:gd name="connsiteX81" fmla="*/ 2697502 w 4519987"/>
              <a:gd name="connsiteY81" fmla="*/ 4429125 h 4496940"/>
              <a:gd name="connsiteX82" fmla="*/ 2640352 w 4519987"/>
              <a:gd name="connsiteY82" fmla="*/ 4457700 h 4496940"/>
              <a:gd name="connsiteX83" fmla="*/ 2583202 w 4519987"/>
              <a:gd name="connsiteY83" fmla="*/ 4467225 h 4496940"/>
              <a:gd name="connsiteX84" fmla="*/ 2545102 w 4519987"/>
              <a:gd name="connsiteY84" fmla="*/ 4486275 h 4496940"/>
              <a:gd name="connsiteX85" fmla="*/ 2306977 w 4519987"/>
              <a:gd name="connsiteY85" fmla="*/ 4476750 h 4496940"/>
              <a:gd name="connsiteX86" fmla="*/ 2202202 w 4519987"/>
              <a:gd name="connsiteY86" fmla="*/ 4457700 h 4496940"/>
              <a:gd name="connsiteX87" fmla="*/ 2126002 w 4519987"/>
              <a:gd name="connsiteY87" fmla="*/ 4429125 h 4496940"/>
              <a:gd name="connsiteX88" fmla="*/ 1935502 w 4519987"/>
              <a:gd name="connsiteY88" fmla="*/ 4400550 h 4496940"/>
              <a:gd name="connsiteX89" fmla="*/ 1821202 w 4519987"/>
              <a:gd name="connsiteY89" fmla="*/ 4371975 h 4496940"/>
              <a:gd name="connsiteX90" fmla="*/ 1754527 w 4519987"/>
              <a:gd name="connsiteY90" fmla="*/ 4352925 h 4496940"/>
              <a:gd name="connsiteX91" fmla="*/ 1687852 w 4519987"/>
              <a:gd name="connsiteY91" fmla="*/ 4343400 h 4496940"/>
              <a:gd name="connsiteX92" fmla="*/ 1573552 w 4519987"/>
              <a:gd name="connsiteY92" fmla="*/ 4305300 h 4496940"/>
              <a:gd name="connsiteX93" fmla="*/ 1402102 w 4519987"/>
              <a:gd name="connsiteY93" fmla="*/ 4276725 h 4496940"/>
              <a:gd name="connsiteX94" fmla="*/ 1287802 w 4519987"/>
              <a:gd name="connsiteY94" fmla="*/ 4229100 h 4496940"/>
              <a:gd name="connsiteX95" fmla="*/ 1221127 w 4519987"/>
              <a:gd name="connsiteY95" fmla="*/ 4200525 h 4496940"/>
              <a:gd name="connsiteX96" fmla="*/ 1144927 w 4519987"/>
              <a:gd name="connsiteY96" fmla="*/ 4171950 h 4496940"/>
              <a:gd name="connsiteX97" fmla="*/ 1087777 w 4519987"/>
              <a:gd name="connsiteY97" fmla="*/ 4143375 h 4496940"/>
              <a:gd name="connsiteX98" fmla="*/ 1030627 w 4519987"/>
              <a:gd name="connsiteY98" fmla="*/ 4124325 h 4496940"/>
              <a:gd name="connsiteX99" fmla="*/ 925852 w 4519987"/>
              <a:gd name="connsiteY99" fmla="*/ 4067175 h 4496940"/>
              <a:gd name="connsiteX100" fmla="*/ 830602 w 4519987"/>
              <a:gd name="connsiteY100" fmla="*/ 3981450 h 4496940"/>
              <a:gd name="connsiteX101" fmla="*/ 763927 w 4519987"/>
              <a:gd name="connsiteY101" fmla="*/ 3914775 h 4496940"/>
              <a:gd name="connsiteX102" fmla="*/ 725827 w 4519987"/>
              <a:gd name="connsiteY102" fmla="*/ 3876675 h 4496940"/>
              <a:gd name="connsiteX103" fmla="*/ 697252 w 4519987"/>
              <a:gd name="connsiteY103" fmla="*/ 3838575 h 4496940"/>
              <a:gd name="connsiteX104" fmla="*/ 640102 w 4519987"/>
              <a:gd name="connsiteY104" fmla="*/ 3781425 h 4496940"/>
              <a:gd name="connsiteX105" fmla="*/ 611527 w 4519987"/>
              <a:gd name="connsiteY105" fmla="*/ 3733800 h 4496940"/>
              <a:gd name="connsiteX106" fmla="*/ 554377 w 4519987"/>
              <a:gd name="connsiteY106" fmla="*/ 3657600 h 4496940"/>
              <a:gd name="connsiteX107" fmla="*/ 525802 w 4519987"/>
              <a:gd name="connsiteY107" fmla="*/ 3609975 h 4496940"/>
              <a:gd name="connsiteX108" fmla="*/ 497227 w 4519987"/>
              <a:gd name="connsiteY108" fmla="*/ 3552825 h 4496940"/>
              <a:gd name="connsiteX109" fmla="*/ 440077 w 4519987"/>
              <a:gd name="connsiteY109" fmla="*/ 3495675 h 4496940"/>
              <a:gd name="connsiteX110" fmla="*/ 411502 w 4519987"/>
              <a:gd name="connsiteY110" fmla="*/ 3448050 h 4496940"/>
              <a:gd name="connsiteX111" fmla="*/ 278152 w 4519987"/>
              <a:gd name="connsiteY111" fmla="*/ 3257550 h 4496940"/>
              <a:gd name="connsiteX112" fmla="*/ 249577 w 4519987"/>
              <a:gd name="connsiteY112" fmla="*/ 3200400 h 4496940"/>
              <a:gd name="connsiteX113" fmla="*/ 240052 w 4519987"/>
              <a:gd name="connsiteY113" fmla="*/ 3162300 h 4496940"/>
              <a:gd name="connsiteX114" fmla="*/ 221002 w 4519987"/>
              <a:gd name="connsiteY114" fmla="*/ 3105150 h 4496940"/>
              <a:gd name="connsiteX115" fmla="*/ 173377 w 4519987"/>
              <a:gd name="connsiteY115" fmla="*/ 3019425 h 4496940"/>
              <a:gd name="connsiteX116" fmla="*/ 144802 w 4519987"/>
              <a:gd name="connsiteY116" fmla="*/ 2924175 h 4496940"/>
              <a:gd name="connsiteX117" fmla="*/ 68602 w 4519987"/>
              <a:gd name="connsiteY117" fmla="*/ 2724150 h 4496940"/>
              <a:gd name="connsiteX118" fmla="*/ 49552 w 4519987"/>
              <a:gd name="connsiteY118" fmla="*/ 2638425 h 4496940"/>
              <a:gd name="connsiteX119" fmla="*/ 40027 w 4519987"/>
              <a:gd name="connsiteY119" fmla="*/ 2562225 h 4496940"/>
              <a:gd name="connsiteX120" fmla="*/ 30502 w 4519987"/>
              <a:gd name="connsiteY120" fmla="*/ 2514600 h 4496940"/>
              <a:gd name="connsiteX121" fmla="*/ 11452 w 4519987"/>
              <a:gd name="connsiteY121" fmla="*/ 2400300 h 4496940"/>
              <a:gd name="connsiteX122" fmla="*/ 20977 w 4519987"/>
              <a:gd name="connsiteY122" fmla="*/ 1905000 h 4496940"/>
              <a:gd name="connsiteX123" fmla="*/ 30502 w 4519987"/>
              <a:gd name="connsiteY123" fmla="*/ 1838325 h 4496940"/>
              <a:gd name="connsiteX124" fmla="*/ 49552 w 4519987"/>
              <a:gd name="connsiteY124" fmla="*/ 1781175 h 4496940"/>
              <a:gd name="connsiteX125" fmla="*/ 59077 w 4519987"/>
              <a:gd name="connsiteY125" fmla="*/ 1743075 h 4496940"/>
              <a:gd name="connsiteX126" fmla="*/ 78127 w 4519987"/>
              <a:gd name="connsiteY126" fmla="*/ 1685925 h 4496940"/>
              <a:gd name="connsiteX127" fmla="*/ 87652 w 4519987"/>
              <a:gd name="connsiteY127" fmla="*/ 1638300 h 4496940"/>
              <a:gd name="connsiteX128" fmla="*/ 106702 w 4519987"/>
              <a:gd name="connsiteY128" fmla="*/ 1590675 h 4496940"/>
              <a:gd name="connsiteX129" fmla="*/ 135277 w 4519987"/>
              <a:gd name="connsiteY129" fmla="*/ 1504950 h 4496940"/>
              <a:gd name="connsiteX130" fmla="*/ 154327 w 4519987"/>
              <a:gd name="connsiteY130" fmla="*/ 1419225 h 4496940"/>
              <a:gd name="connsiteX131" fmla="*/ 230527 w 4519987"/>
              <a:gd name="connsiteY131" fmla="*/ 1276350 h 4496940"/>
              <a:gd name="connsiteX132" fmla="*/ 240052 w 4519987"/>
              <a:gd name="connsiteY132" fmla="*/ 1247775 h 4496940"/>
              <a:gd name="connsiteX133" fmla="*/ 268627 w 4519987"/>
              <a:gd name="connsiteY133" fmla="*/ 1200150 h 4496940"/>
              <a:gd name="connsiteX134" fmla="*/ 287677 w 4519987"/>
              <a:gd name="connsiteY134" fmla="*/ 1152525 h 4496940"/>
              <a:gd name="connsiteX135" fmla="*/ 316252 w 4519987"/>
              <a:gd name="connsiteY135" fmla="*/ 1114425 h 4496940"/>
              <a:gd name="connsiteX136" fmla="*/ 363877 w 4519987"/>
              <a:gd name="connsiteY136" fmla="*/ 1038225 h 4496940"/>
              <a:gd name="connsiteX137" fmla="*/ 382927 w 4519987"/>
              <a:gd name="connsiteY137" fmla="*/ 1009650 h 4496940"/>
              <a:gd name="connsiteX138" fmla="*/ 440077 w 4519987"/>
              <a:gd name="connsiteY138" fmla="*/ 904875 h 4496940"/>
              <a:gd name="connsiteX139" fmla="*/ 478177 w 4519987"/>
              <a:gd name="connsiteY139" fmla="*/ 857250 h 4496940"/>
              <a:gd name="connsiteX140" fmla="*/ 497227 w 4519987"/>
              <a:gd name="connsiteY140" fmla="*/ 828675 h 4496940"/>
              <a:gd name="connsiteX141" fmla="*/ 535327 w 4519987"/>
              <a:gd name="connsiteY141" fmla="*/ 800100 h 4496940"/>
              <a:gd name="connsiteX142" fmla="*/ 602002 w 4519987"/>
              <a:gd name="connsiteY142" fmla="*/ 733425 h 4496940"/>
              <a:gd name="connsiteX143" fmla="*/ 668677 w 4519987"/>
              <a:gd name="connsiteY143" fmla="*/ 676275 h 4496940"/>
              <a:gd name="connsiteX144" fmla="*/ 697252 w 4519987"/>
              <a:gd name="connsiteY144" fmla="*/ 657225 h 4496940"/>
              <a:gd name="connsiteX145" fmla="*/ 840127 w 4519987"/>
              <a:gd name="connsiteY145" fmla="*/ 533400 h 4496940"/>
              <a:gd name="connsiteX146" fmla="*/ 887752 w 4519987"/>
              <a:gd name="connsiteY146" fmla="*/ 504825 h 4496940"/>
              <a:gd name="connsiteX147" fmla="*/ 1167152 w 4519987"/>
              <a:gd name="connsiteY147" fmla="*/ 311150 h 4496940"/>
              <a:gd name="connsiteX148" fmla="*/ 1268752 w 4519987"/>
              <a:gd name="connsiteY148" fmla="*/ 285750 h 4496940"/>
              <a:gd name="connsiteX149" fmla="*/ 1411627 w 4519987"/>
              <a:gd name="connsiteY149" fmla="*/ 190500 h 4496940"/>
              <a:gd name="connsiteX150" fmla="*/ 1449727 w 4519987"/>
              <a:gd name="connsiteY150" fmla="*/ 161925 h 4496940"/>
              <a:gd name="connsiteX151" fmla="*/ 1525927 w 4519987"/>
              <a:gd name="connsiteY151" fmla="*/ 152400 h 4496940"/>
              <a:gd name="connsiteX152" fmla="*/ 1583077 w 4519987"/>
              <a:gd name="connsiteY152" fmla="*/ 142875 h 4496940"/>
              <a:gd name="connsiteX153" fmla="*/ 1716427 w 4519987"/>
              <a:gd name="connsiteY153" fmla="*/ 123825 h 4496940"/>
              <a:gd name="connsiteX154" fmla="*/ 1811677 w 4519987"/>
              <a:gd name="connsiteY154" fmla="*/ 114300 h 4496940"/>
              <a:gd name="connsiteX155" fmla="*/ 1859302 w 4519987"/>
              <a:gd name="connsiteY155" fmla="*/ 104775 h 4496940"/>
              <a:gd name="connsiteX156" fmla="*/ 1916452 w 4519987"/>
              <a:gd name="connsiteY156" fmla="*/ 95250 h 4496940"/>
              <a:gd name="connsiteX157" fmla="*/ 2030752 w 4519987"/>
              <a:gd name="connsiteY157" fmla="*/ 66675 h 4496940"/>
              <a:gd name="connsiteX158" fmla="*/ 2097427 w 4519987"/>
              <a:gd name="connsiteY158" fmla="*/ 47625 h 4496940"/>
              <a:gd name="connsiteX159" fmla="*/ 2164102 w 4519987"/>
              <a:gd name="connsiteY159" fmla="*/ 38100 h 4496940"/>
              <a:gd name="connsiteX160" fmla="*/ 2392702 w 4519987"/>
              <a:gd name="connsiteY16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3992902 w 4519987"/>
              <a:gd name="connsiteY28" fmla="*/ 714375 h 4496940"/>
              <a:gd name="connsiteX29" fmla="*/ 4050052 w 4519987"/>
              <a:gd name="connsiteY29" fmla="*/ 790575 h 4496940"/>
              <a:gd name="connsiteX30" fmla="*/ 4078627 w 4519987"/>
              <a:gd name="connsiteY30" fmla="*/ 838200 h 4496940"/>
              <a:gd name="connsiteX31" fmla="*/ 4107202 w 4519987"/>
              <a:gd name="connsiteY31" fmla="*/ 876300 h 4496940"/>
              <a:gd name="connsiteX32" fmla="*/ 4116727 w 4519987"/>
              <a:gd name="connsiteY32" fmla="*/ 904875 h 4496940"/>
              <a:gd name="connsiteX33" fmla="*/ 4135777 w 4519987"/>
              <a:gd name="connsiteY33" fmla="*/ 933450 h 4496940"/>
              <a:gd name="connsiteX34" fmla="*/ 4164352 w 4519987"/>
              <a:gd name="connsiteY34" fmla="*/ 990600 h 4496940"/>
              <a:gd name="connsiteX35" fmla="*/ 4173877 w 4519987"/>
              <a:gd name="connsiteY35" fmla="*/ 1019175 h 4496940"/>
              <a:gd name="connsiteX36" fmla="*/ 4192927 w 4519987"/>
              <a:gd name="connsiteY36" fmla="*/ 1057275 h 4496940"/>
              <a:gd name="connsiteX37" fmla="*/ 4202452 w 4519987"/>
              <a:gd name="connsiteY37" fmla="*/ 1085850 h 4496940"/>
              <a:gd name="connsiteX38" fmla="*/ 4250077 w 4519987"/>
              <a:gd name="connsiteY38" fmla="*/ 1143000 h 4496940"/>
              <a:gd name="connsiteX39" fmla="*/ 4259602 w 4519987"/>
              <a:gd name="connsiteY39" fmla="*/ 1190625 h 4496940"/>
              <a:gd name="connsiteX40" fmla="*/ 4307227 w 4519987"/>
              <a:gd name="connsiteY40" fmla="*/ 1266825 h 4496940"/>
              <a:gd name="connsiteX41" fmla="*/ 4345327 w 4519987"/>
              <a:gd name="connsiteY41" fmla="*/ 1362075 h 4496940"/>
              <a:gd name="connsiteX42" fmla="*/ 4373902 w 4519987"/>
              <a:gd name="connsiteY42" fmla="*/ 1428750 h 4496940"/>
              <a:gd name="connsiteX43" fmla="*/ 4392952 w 4519987"/>
              <a:gd name="connsiteY43" fmla="*/ 1552575 h 4496940"/>
              <a:gd name="connsiteX44" fmla="*/ 4402477 w 4519987"/>
              <a:gd name="connsiteY44" fmla="*/ 1590675 h 4496940"/>
              <a:gd name="connsiteX45" fmla="*/ 4431052 w 4519987"/>
              <a:gd name="connsiteY45" fmla="*/ 1685925 h 4496940"/>
              <a:gd name="connsiteX46" fmla="*/ 4519952 w 4519987"/>
              <a:gd name="connsiteY46" fmla="*/ 2181225 h 4496940"/>
              <a:gd name="connsiteX47" fmla="*/ 4446927 w 4519987"/>
              <a:gd name="connsiteY47" fmla="*/ 2768600 h 4496940"/>
              <a:gd name="connsiteX48" fmla="*/ 4383427 w 4519987"/>
              <a:gd name="connsiteY48" fmla="*/ 2990850 h 4496940"/>
              <a:gd name="connsiteX49" fmla="*/ 4278652 w 4519987"/>
              <a:gd name="connsiteY49" fmla="*/ 3248025 h 4496940"/>
              <a:gd name="connsiteX50" fmla="*/ 4259602 w 4519987"/>
              <a:gd name="connsiteY50" fmla="*/ 3276600 h 4496940"/>
              <a:gd name="connsiteX51" fmla="*/ 4221502 w 4519987"/>
              <a:gd name="connsiteY51" fmla="*/ 3333750 h 4496940"/>
              <a:gd name="connsiteX52" fmla="*/ 4211977 w 4519987"/>
              <a:gd name="connsiteY52" fmla="*/ 3362325 h 4496940"/>
              <a:gd name="connsiteX53" fmla="*/ 4183402 w 4519987"/>
              <a:gd name="connsiteY53" fmla="*/ 3400425 h 4496940"/>
              <a:gd name="connsiteX54" fmla="*/ 4164352 w 4519987"/>
              <a:gd name="connsiteY54" fmla="*/ 3429000 h 4496940"/>
              <a:gd name="connsiteX55" fmla="*/ 4088152 w 4519987"/>
              <a:gd name="connsiteY55" fmla="*/ 3495675 h 4496940"/>
              <a:gd name="connsiteX56" fmla="*/ 4059577 w 4519987"/>
              <a:gd name="connsiteY56" fmla="*/ 3533775 h 4496940"/>
              <a:gd name="connsiteX57" fmla="*/ 4002427 w 4519987"/>
              <a:gd name="connsiteY57" fmla="*/ 3600450 h 4496940"/>
              <a:gd name="connsiteX58" fmla="*/ 3983377 w 4519987"/>
              <a:gd name="connsiteY58" fmla="*/ 3629025 h 4496940"/>
              <a:gd name="connsiteX59" fmla="*/ 3954802 w 4519987"/>
              <a:gd name="connsiteY59" fmla="*/ 3648075 h 4496940"/>
              <a:gd name="connsiteX60" fmla="*/ 3907177 w 4519987"/>
              <a:gd name="connsiteY60" fmla="*/ 3686175 h 4496940"/>
              <a:gd name="connsiteX61" fmla="*/ 3869077 w 4519987"/>
              <a:gd name="connsiteY61" fmla="*/ 3724275 h 4496940"/>
              <a:gd name="connsiteX62" fmla="*/ 3792877 w 4519987"/>
              <a:gd name="connsiteY62" fmla="*/ 3781425 h 4496940"/>
              <a:gd name="connsiteX63" fmla="*/ 3783352 w 4519987"/>
              <a:gd name="connsiteY63" fmla="*/ 3810000 h 4496940"/>
              <a:gd name="connsiteX64" fmla="*/ 3745252 w 4519987"/>
              <a:gd name="connsiteY64" fmla="*/ 3819525 h 4496940"/>
              <a:gd name="connsiteX65" fmla="*/ 3678577 w 4519987"/>
              <a:gd name="connsiteY65" fmla="*/ 3848100 h 4496940"/>
              <a:gd name="connsiteX66" fmla="*/ 3659527 w 4519987"/>
              <a:gd name="connsiteY66" fmla="*/ 3971925 h 4496940"/>
              <a:gd name="connsiteX67" fmla="*/ 3630952 w 4519987"/>
              <a:gd name="connsiteY67" fmla="*/ 4010025 h 4496940"/>
              <a:gd name="connsiteX68" fmla="*/ 3621427 w 4519987"/>
              <a:gd name="connsiteY68" fmla="*/ 4038600 h 4496940"/>
              <a:gd name="connsiteX69" fmla="*/ 3554752 w 4519987"/>
              <a:gd name="connsiteY69" fmla="*/ 4095750 h 4496940"/>
              <a:gd name="connsiteX70" fmla="*/ 3516652 w 4519987"/>
              <a:gd name="connsiteY70" fmla="*/ 4114800 h 4496940"/>
              <a:gd name="connsiteX71" fmla="*/ 3497602 w 4519987"/>
              <a:gd name="connsiteY71" fmla="*/ 4143375 h 4496940"/>
              <a:gd name="connsiteX72" fmla="*/ 3383302 w 4519987"/>
              <a:gd name="connsiteY72" fmla="*/ 4210050 h 4496940"/>
              <a:gd name="connsiteX73" fmla="*/ 3335677 w 4519987"/>
              <a:gd name="connsiteY73" fmla="*/ 4238625 h 4496940"/>
              <a:gd name="connsiteX74" fmla="*/ 3288052 w 4519987"/>
              <a:gd name="connsiteY74" fmla="*/ 4248150 h 4496940"/>
              <a:gd name="connsiteX75" fmla="*/ 3240427 w 4519987"/>
              <a:gd name="connsiteY75" fmla="*/ 4267200 h 4496940"/>
              <a:gd name="connsiteX76" fmla="*/ 3068977 w 4519987"/>
              <a:gd name="connsiteY76" fmla="*/ 4286250 h 4496940"/>
              <a:gd name="connsiteX77" fmla="*/ 2935627 w 4519987"/>
              <a:gd name="connsiteY77" fmla="*/ 4333875 h 4496940"/>
              <a:gd name="connsiteX78" fmla="*/ 2811802 w 4519987"/>
              <a:gd name="connsiteY78" fmla="*/ 4371975 h 4496940"/>
              <a:gd name="connsiteX79" fmla="*/ 2745127 w 4519987"/>
              <a:gd name="connsiteY79" fmla="*/ 4410075 h 4496940"/>
              <a:gd name="connsiteX80" fmla="*/ 2697502 w 4519987"/>
              <a:gd name="connsiteY80" fmla="*/ 4429125 h 4496940"/>
              <a:gd name="connsiteX81" fmla="*/ 2640352 w 4519987"/>
              <a:gd name="connsiteY81" fmla="*/ 4457700 h 4496940"/>
              <a:gd name="connsiteX82" fmla="*/ 2583202 w 4519987"/>
              <a:gd name="connsiteY82" fmla="*/ 4467225 h 4496940"/>
              <a:gd name="connsiteX83" fmla="*/ 2545102 w 4519987"/>
              <a:gd name="connsiteY83" fmla="*/ 4486275 h 4496940"/>
              <a:gd name="connsiteX84" fmla="*/ 2306977 w 4519987"/>
              <a:gd name="connsiteY84" fmla="*/ 4476750 h 4496940"/>
              <a:gd name="connsiteX85" fmla="*/ 2202202 w 4519987"/>
              <a:gd name="connsiteY85" fmla="*/ 4457700 h 4496940"/>
              <a:gd name="connsiteX86" fmla="*/ 2126002 w 4519987"/>
              <a:gd name="connsiteY86" fmla="*/ 4429125 h 4496940"/>
              <a:gd name="connsiteX87" fmla="*/ 1935502 w 4519987"/>
              <a:gd name="connsiteY87" fmla="*/ 4400550 h 4496940"/>
              <a:gd name="connsiteX88" fmla="*/ 1821202 w 4519987"/>
              <a:gd name="connsiteY88" fmla="*/ 4371975 h 4496940"/>
              <a:gd name="connsiteX89" fmla="*/ 1754527 w 4519987"/>
              <a:gd name="connsiteY89" fmla="*/ 4352925 h 4496940"/>
              <a:gd name="connsiteX90" fmla="*/ 1687852 w 4519987"/>
              <a:gd name="connsiteY90" fmla="*/ 4343400 h 4496940"/>
              <a:gd name="connsiteX91" fmla="*/ 1573552 w 4519987"/>
              <a:gd name="connsiteY91" fmla="*/ 4305300 h 4496940"/>
              <a:gd name="connsiteX92" fmla="*/ 1402102 w 4519987"/>
              <a:gd name="connsiteY92" fmla="*/ 4276725 h 4496940"/>
              <a:gd name="connsiteX93" fmla="*/ 1287802 w 4519987"/>
              <a:gd name="connsiteY93" fmla="*/ 4229100 h 4496940"/>
              <a:gd name="connsiteX94" fmla="*/ 1221127 w 4519987"/>
              <a:gd name="connsiteY94" fmla="*/ 4200525 h 4496940"/>
              <a:gd name="connsiteX95" fmla="*/ 1144927 w 4519987"/>
              <a:gd name="connsiteY95" fmla="*/ 4171950 h 4496940"/>
              <a:gd name="connsiteX96" fmla="*/ 1087777 w 4519987"/>
              <a:gd name="connsiteY96" fmla="*/ 4143375 h 4496940"/>
              <a:gd name="connsiteX97" fmla="*/ 1030627 w 4519987"/>
              <a:gd name="connsiteY97" fmla="*/ 4124325 h 4496940"/>
              <a:gd name="connsiteX98" fmla="*/ 925852 w 4519987"/>
              <a:gd name="connsiteY98" fmla="*/ 4067175 h 4496940"/>
              <a:gd name="connsiteX99" fmla="*/ 830602 w 4519987"/>
              <a:gd name="connsiteY99" fmla="*/ 3981450 h 4496940"/>
              <a:gd name="connsiteX100" fmla="*/ 763927 w 4519987"/>
              <a:gd name="connsiteY100" fmla="*/ 3914775 h 4496940"/>
              <a:gd name="connsiteX101" fmla="*/ 725827 w 4519987"/>
              <a:gd name="connsiteY101" fmla="*/ 3876675 h 4496940"/>
              <a:gd name="connsiteX102" fmla="*/ 697252 w 4519987"/>
              <a:gd name="connsiteY102" fmla="*/ 3838575 h 4496940"/>
              <a:gd name="connsiteX103" fmla="*/ 640102 w 4519987"/>
              <a:gd name="connsiteY103" fmla="*/ 3781425 h 4496940"/>
              <a:gd name="connsiteX104" fmla="*/ 611527 w 4519987"/>
              <a:gd name="connsiteY104" fmla="*/ 3733800 h 4496940"/>
              <a:gd name="connsiteX105" fmla="*/ 554377 w 4519987"/>
              <a:gd name="connsiteY105" fmla="*/ 3657600 h 4496940"/>
              <a:gd name="connsiteX106" fmla="*/ 525802 w 4519987"/>
              <a:gd name="connsiteY106" fmla="*/ 3609975 h 4496940"/>
              <a:gd name="connsiteX107" fmla="*/ 497227 w 4519987"/>
              <a:gd name="connsiteY107" fmla="*/ 3552825 h 4496940"/>
              <a:gd name="connsiteX108" fmla="*/ 440077 w 4519987"/>
              <a:gd name="connsiteY108" fmla="*/ 3495675 h 4496940"/>
              <a:gd name="connsiteX109" fmla="*/ 411502 w 4519987"/>
              <a:gd name="connsiteY109" fmla="*/ 3448050 h 4496940"/>
              <a:gd name="connsiteX110" fmla="*/ 278152 w 4519987"/>
              <a:gd name="connsiteY110" fmla="*/ 3257550 h 4496940"/>
              <a:gd name="connsiteX111" fmla="*/ 249577 w 4519987"/>
              <a:gd name="connsiteY111" fmla="*/ 3200400 h 4496940"/>
              <a:gd name="connsiteX112" fmla="*/ 240052 w 4519987"/>
              <a:gd name="connsiteY112" fmla="*/ 3162300 h 4496940"/>
              <a:gd name="connsiteX113" fmla="*/ 221002 w 4519987"/>
              <a:gd name="connsiteY113" fmla="*/ 3105150 h 4496940"/>
              <a:gd name="connsiteX114" fmla="*/ 173377 w 4519987"/>
              <a:gd name="connsiteY114" fmla="*/ 3019425 h 4496940"/>
              <a:gd name="connsiteX115" fmla="*/ 144802 w 4519987"/>
              <a:gd name="connsiteY115" fmla="*/ 2924175 h 4496940"/>
              <a:gd name="connsiteX116" fmla="*/ 68602 w 4519987"/>
              <a:gd name="connsiteY116" fmla="*/ 2724150 h 4496940"/>
              <a:gd name="connsiteX117" fmla="*/ 49552 w 4519987"/>
              <a:gd name="connsiteY117" fmla="*/ 2638425 h 4496940"/>
              <a:gd name="connsiteX118" fmla="*/ 40027 w 4519987"/>
              <a:gd name="connsiteY118" fmla="*/ 2562225 h 4496940"/>
              <a:gd name="connsiteX119" fmla="*/ 30502 w 4519987"/>
              <a:gd name="connsiteY119" fmla="*/ 2514600 h 4496940"/>
              <a:gd name="connsiteX120" fmla="*/ 11452 w 4519987"/>
              <a:gd name="connsiteY120" fmla="*/ 2400300 h 4496940"/>
              <a:gd name="connsiteX121" fmla="*/ 20977 w 4519987"/>
              <a:gd name="connsiteY121" fmla="*/ 1905000 h 4496940"/>
              <a:gd name="connsiteX122" fmla="*/ 30502 w 4519987"/>
              <a:gd name="connsiteY122" fmla="*/ 1838325 h 4496940"/>
              <a:gd name="connsiteX123" fmla="*/ 49552 w 4519987"/>
              <a:gd name="connsiteY123" fmla="*/ 1781175 h 4496940"/>
              <a:gd name="connsiteX124" fmla="*/ 59077 w 4519987"/>
              <a:gd name="connsiteY124" fmla="*/ 1743075 h 4496940"/>
              <a:gd name="connsiteX125" fmla="*/ 78127 w 4519987"/>
              <a:gd name="connsiteY125" fmla="*/ 1685925 h 4496940"/>
              <a:gd name="connsiteX126" fmla="*/ 87652 w 4519987"/>
              <a:gd name="connsiteY126" fmla="*/ 1638300 h 4496940"/>
              <a:gd name="connsiteX127" fmla="*/ 106702 w 4519987"/>
              <a:gd name="connsiteY127" fmla="*/ 1590675 h 4496940"/>
              <a:gd name="connsiteX128" fmla="*/ 135277 w 4519987"/>
              <a:gd name="connsiteY128" fmla="*/ 1504950 h 4496940"/>
              <a:gd name="connsiteX129" fmla="*/ 154327 w 4519987"/>
              <a:gd name="connsiteY129" fmla="*/ 1419225 h 4496940"/>
              <a:gd name="connsiteX130" fmla="*/ 230527 w 4519987"/>
              <a:gd name="connsiteY130" fmla="*/ 1276350 h 4496940"/>
              <a:gd name="connsiteX131" fmla="*/ 240052 w 4519987"/>
              <a:gd name="connsiteY131" fmla="*/ 1247775 h 4496940"/>
              <a:gd name="connsiteX132" fmla="*/ 268627 w 4519987"/>
              <a:gd name="connsiteY132" fmla="*/ 1200150 h 4496940"/>
              <a:gd name="connsiteX133" fmla="*/ 287677 w 4519987"/>
              <a:gd name="connsiteY133" fmla="*/ 1152525 h 4496940"/>
              <a:gd name="connsiteX134" fmla="*/ 316252 w 4519987"/>
              <a:gd name="connsiteY134" fmla="*/ 1114425 h 4496940"/>
              <a:gd name="connsiteX135" fmla="*/ 363877 w 4519987"/>
              <a:gd name="connsiteY135" fmla="*/ 1038225 h 4496940"/>
              <a:gd name="connsiteX136" fmla="*/ 382927 w 4519987"/>
              <a:gd name="connsiteY136" fmla="*/ 1009650 h 4496940"/>
              <a:gd name="connsiteX137" fmla="*/ 440077 w 4519987"/>
              <a:gd name="connsiteY137" fmla="*/ 904875 h 4496940"/>
              <a:gd name="connsiteX138" fmla="*/ 478177 w 4519987"/>
              <a:gd name="connsiteY138" fmla="*/ 857250 h 4496940"/>
              <a:gd name="connsiteX139" fmla="*/ 497227 w 4519987"/>
              <a:gd name="connsiteY139" fmla="*/ 828675 h 4496940"/>
              <a:gd name="connsiteX140" fmla="*/ 535327 w 4519987"/>
              <a:gd name="connsiteY140" fmla="*/ 800100 h 4496940"/>
              <a:gd name="connsiteX141" fmla="*/ 602002 w 4519987"/>
              <a:gd name="connsiteY141" fmla="*/ 733425 h 4496940"/>
              <a:gd name="connsiteX142" fmla="*/ 668677 w 4519987"/>
              <a:gd name="connsiteY142" fmla="*/ 676275 h 4496940"/>
              <a:gd name="connsiteX143" fmla="*/ 697252 w 4519987"/>
              <a:gd name="connsiteY143" fmla="*/ 657225 h 4496940"/>
              <a:gd name="connsiteX144" fmla="*/ 840127 w 4519987"/>
              <a:gd name="connsiteY144" fmla="*/ 533400 h 4496940"/>
              <a:gd name="connsiteX145" fmla="*/ 887752 w 4519987"/>
              <a:gd name="connsiteY145" fmla="*/ 504825 h 4496940"/>
              <a:gd name="connsiteX146" fmla="*/ 1167152 w 4519987"/>
              <a:gd name="connsiteY146" fmla="*/ 311150 h 4496940"/>
              <a:gd name="connsiteX147" fmla="*/ 1268752 w 4519987"/>
              <a:gd name="connsiteY147" fmla="*/ 285750 h 4496940"/>
              <a:gd name="connsiteX148" fmla="*/ 1411627 w 4519987"/>
              <a:gd name="connsiteY148" fmla="*/ 190500 h 4496940"/>
              <a:gd name="connsiteX149" fmla="*/ 1449727 w 4519987"/>
              <a:gd name="connsiteY149" fmla="*/ 161925 h 4496940"/>
              <a:gd name="connsiteX150" fmla="*/ 1525927 w 4519987"/>
              <a:gd name="connsiteY150" fmla="*/ 152400 h 4496940"/>
              <a:gd name="connsiteX151" fmla="*/ 1583077 w 4519987"/>
              <a:gd name="connsiteY151" fmla="*/ 142875 h 4496940"/>
              <a:gd name="connsiteX152" fmla="*/ 1716427 w 4519987"/>
              <a:gd name="connsiteY152" fmla="*/ 123825 h 4496940"/>
              <a:gd name="connsiteX153" fmla="*/ 1811677 w 4519987"/>
              <a:gd name="connsiteY153" fmla="*/ 114300 h 4496940"/>
              <a:gd name="connsiteX154" fmla="*/ 1859302 w 4519987"/>
              <a:gd name="connsiteY154" fmla="*/ 104775 h 4496940"/>
              <a:gd name="connsiteX155" fmla="*/ 1916452 w 4519987"/>
              <a:gd name="connsiteY155" fmla="*/ 95250 h 4496940"/>
              <a:gd name="connsiteX156" fmla="*/ 2030752 w 4519987"/>
              <a:gd name="connsiteY156" fmla="*/ 66675 h 4496940"/>
              <a:gd name="connsiteX157" fmla="*/ 2097427 w 4519987"/>
              <a:gd name="connsiteY157" fmla="*/ 47625 h 4496940"/>
              <a:gd name="connsiteX158" fmla="*/ 2164102 w 4519987"/>
              <a:gd name="connsiteY158" fmla="*/ 38100 h 4496940"/>
              <a:gd name="connsiteX159" fmla="*/ 2392702 w 4519987"/>
              <a:gd name="connsiteY15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50052 w 4519987"/>
              <a:gd name="connsiteY28" fmla="*/ 790575 h 4496940"/>
              <a:gd name="connsiteX29" fmla="*/ 4078627 w 4519987"/>
              <a:gd name="connsiteY29" fmla="*/ 838200 h 4496940"/>
              <a:gd name="connsiteX30" fmla="*/ 4107202 w 4519987"/>
              <a:gd name="connsiteY30" fmla="*/ 876300 h 4496940"/>
              <a:gd name="connsiteX31" fmla="*/ 4116727 w 4519987"/>
              <a:gd name="connsiteY31" fmla="*/ 904875 h 4496940"/>
              <a:gd name="connsiteX32" fmla="*/ 4135777 w 4519987"/>
              <a:gd name="connsiteY32" fmla="*/ 933450 h 4496940"/>
              <a:gd name="connsiteX33" fmla="*/ 4164352 w 4519987"/>
              <a:gd name="connsiteY33" fmla="*/ 990600 h 4496940"/>
              <a:gd name="connsiteX34" fmla="*/ 4173877 w 4519987"/>
              <a:gd name="connsiteY34" fmla="*/ 1019175 h 4496940"/>
              <a:gd name="connsiteX35" fmla="*/ 4192927 w 4519987"/>
              <a:gd name="connsiteY35" fmla="*/ 1057275 h 4496940"/>
              <a:gd name="connsiteX36" fmla="*/ 4202452 w 4519987"/>
              <a:gd name="connsiteY36" fmla="*/ 1085850 h 4496940"/>
              <a:gd name="connsiteX37" fmla="*/ 4250077 w 4519987"/>
              <a:gd name="connsiteY37" fmla="*/ 1143000 h 4496940"/>
              <a:gd name="connsiteX38" fmla="*/ 4259602 w 4519987"/>
              <a:gd name="connsiteY38" fmla="*/ 1190625 h 4496940"/>
              <a:gd name="connsiteX39" fmla="*/ 4307227 w 4519987"/>
              <a:gd name="connsiteY39" fmla="*/ 1266825 h 4496940"/>
              <a:gd name="connsiteX40" fmla="*/ 4345327 w 4519987"/>
              <a:gd name="connsiteY40" fmla="*/ 1362075 h 4496940"/>
              <a:gd name="connsiteX41" fmla="*/ 4373902 w 4519987"/>
              <a:gd name="connsiteY41" fmla="*/ 1428750 h 4496940"/>
              <a:gd name="connsiteX42" fmla="*/ 4392952 w 4519987"/>
              <a:gd name="connsiteY42" fmla="*/ 1552575 h 4496940"/>
              <a:gd name="connsiteX43" fmla="*/ 4402477 w 4519987"/>
              <a:gd name="connsiteY43" fmla="*/ 1590675 h 4496940"/>
              <a:gd name="connsiteX44" fmla="*/ 4431052 w 4519987"/>
              <a:gd name="connsiteY44" fmla="*/ 1685925 h 4496940"/>
              <a:gd name="connsiteX45" fmla="*/ 4519952 w 4519987"/>
              <a:gd name="connsiteY45" fmla="*/ 2181225 h 4496940"/>
              <a:gd name="connsiteX46" fmla="*/ 4446927 w 4519987"/>
              <a:gd name="connsiteY46" fmla="*/ 2768600 h 4496940"/>
              <a:gd name="connsiteX47" fmla="*/ 4383427 w 4519987"/>
              <a:gd name="connsiteY47" fmla="*/ 2990850 h 4496940"/>
              <a:gd name="connsiteX48" fmla="*/ 4278652 w 4519987"/>
              <a:gd name="connsiteY48" fmla="*/ 3248025 h 4496940"/>
              <a:gd name="connsiteX49" fmla="*/ 4259602 w 4519987"/>
              <a:gd name="connsiteY49" fmla="*/ 3276600 h 4496940"/>
              <a:gd name="connsiteX50" fmla="*/ 4221502 w 4519987"/>
              <a:gd name="connsiteY50" fmla="*/ 3333750 h 4496940"/>
              <a:gd name="connsiteX51" fmla="*/ 4211977 w 4519987"/>
              <a:gd name="connsiteY51" fmla="*/ 3362325 h 4496940"/>
              <a:gd name="connsiteX52" fmla="*/ 4183402 w 4519987"/>
              <a:gd name="connsiteY52" fmla="*/ 3400425 h 4496940"/>
              <a:gd name="connsiteX53" fmla="*/ 4164352 w 4519987"/>
              <a:gd name="connsiteY53" fmla="*/ 3429000 h 4496940"/>
              <a:gd name="connsiteX54" fmla="*/ 4088152 w 4519987"/>
              <a:gd name="connsiteY54" fmla="*/ 3495675 h 4496940"/>
              <a:gd name="connsiteX55" fmla="*/ 4059577 w 4519987"/>
              <a:gd name="connsiteY55" fmla="*/ 3533775 h 4496940"/>
              <a:gd name="connsiteX56" fmla="*/ 4002427 w 4519987"/>
              <a:gd name="connsiteY56" fmla="*/ 3600450 h 4496940"/>
              <a:gd name="connsiteX57" fmla="*/ 3983377 w 4519987"/>
              <a:gd name="connsiteY57" fmla="*/ 3629025 h 4496940"/>
              <a:gd name="connsiteX58" fmla="*/ 3954802 w 4519987"/>
              <a:gd name="connsiteY58" fmla="*/ 3648075 h 4496940"/>
              <a:gd name="connsiteX59" fmla="*/ 3907177 w 4519987"/>
              <a:gd name="connsiteY59" fmla="*/ 3686175 h 4496940"/>
              <a:gd name="connsiteX60" fmla="*/ 3869077 w 4519987"/>
              <a:gd name="connsiteY60" fmla="*/ 3724275 h 4496940"/>
              <a:gd name="connsiteX61" fmla="*/ 3792877 w 4519987"/>
              <a:gd name="connsiteY61" fmla="*/ 3781425 h 4496940"/>
              <a:gd name="connsiteX62" fmla="*/ 3783352 w 4519987"/>
              <a:gd name="connsiteY62" fmla="*/ 3810000 h 4496940"/>
              <a:gd name="connsiteX63" fmla="*/ 3745252 w 4519987"/>
              <a:gd name="connsiteY63" fmla="*/ 3819525 h 4496940"/>
              <a:gd name="connsiteX64" fmla="*/ 3678577 w 4519987"/>
              <a:gd name="connsiteY64" fmla="*/ 3848100 h 4496940"/>
              <a:gd name="connsiteX65" fmla="*/ 3659527 w 4519987"/>
              <a:gd name="connsiteY65" fmla="*/ 3971925 h 4496940"/>
              <a:gd name="connsiteX66" fmla="*/ 3630952 w 4519987"/>
              <a:gd name="connsiteY66" fmla="*/ 4010025 h 4496940"/>
              <a:gd name="connsiteX67" fmla="*/ 3621427 w 4519987"/>
              <a:gd name="connsiteY67" fmla="*/ 4038600 h 4496940"/>
              <a:gd name="connsiteX68" fmla="*/ 3554752 w 4519987"/>
              <a:gd name="connsiteY68" fmla="*/ 4095750 h 4496940"/>
              <a:gd name="connsiteX69" fmla="*/ 3516652 w 4519987"/>
              <a:gd name="connsiteY69" fmla="*/ 4114800 h 4496940"/>
              <a:gd name="connsiteX70" fmla="*/ 3497602 w 4519987"/>
              <a:gd name="connsiteY70" fmla="*/ 4143375 h 4496940"/>
              <a:gd name="connsiteX71" fmla="*/ 3383302 w 4519987"/>
              <a:gd name="connsiteY71" fmla="*/ 4210050 h 4496940"/>
              <a:gd name="connsiteX72" fmla="*/ 3335677 w 4519987"/>
              <a:gd name="connsiteY72" fmla="*/ 4238625 h 4496940"/>
              <a:gd name="connsiteX73" fmla="*/ 3288052 w 4519987"/>
              <a:gd name="connsiteY73" fmla="*/ 4248150 h 4496940"/>
              <a:gd name="connsiteX74" fmla="*/ 3240427 w 4519987"/>
              <a:gd name="connsiteY74" fmla="*/ 4267200 h 4496940"/>
              <a:gd name="connsiteX75" fmla="*/ 3068977 w 4519987"/>
              <a:gd name="connsiteY75" fmla="*/ 4286250 h 4496940"/>
              <a:gd name="connsiteX76" fmla="*/ 2935627 w 4519987"/>
              <a:gd name="connsiteY76" fmla="*/ 4333875 h 4496940"/>
              <a:gd name="connsiteX77" fmla="*/ 2811802 w 4519987"/>
              <a:gd name="connsiteY77" fmla="*/ 4371975 h 4496940"/>
              <a:gd name="connsiteX78" fmla="*/ 2745127 w 4519987"/>
              <a:gd name="connsiteY78" fmla="*/ 4410075 h 4496940"/>
              <a:gd name="connsiteX79" fmla="*/ 2697502 w 4519987"/>
              <a:gd name="connsiteY79" fmla="*/ 4429125 h 4496940"/>
              <a:gd name="connsiteX80" fmla="*/ 2640352 w 4519987"/>
              <a:gd name="connsiteY80" fmla="*/ 4457700 h 4496940"/>
              <a:gd name="connsiteX81" fmla="*/ 2583202 w 4519987"/>
              <a:gd name="connsiteY81" fmla="*/ 4467225 h 4496940"/>
              <a:gd name="connsiteX82" fmla="*/ 2545102 w 4519987"/>
              <a:gd name="connsiteY82" fmla="*/ 4486275 h 4496940"/>
              <a:gd name="connsiteX83" fmla="*/ 2306977 w 4519987"/>
              <a:gd name="connsiteY83" fmla="*/ 4476750 h 4496940"/>
              <a:gd name="connsiteX84" fmla="*/ 2202202 w 4519987"/>
              <a:gd name="connsiteY84" fmla="*/ 4457700 h 4496940"/>
              <a:gd name="connsiteX85" fmla="*/ 2126002 w 4519987"/>
              <a:gd name="connsiteY85" fmla="*/ 4429125 h 4496940"/>
              <a:gd name="connsiteX86" fmla="*/ 1935502 w 4519987"/>
              <a:gd name="connsiteY86" fmla="*/ 4400550 h 4496940"/>
              <a:gd name="connsiteX87" fmla="*/ 1821202 w 4519987"/>
              <a:gd name="connsiteY87" fmla="*/ 4371975 h 4496940"/>
              <a:gd name="connsiteX88" fmla="*/ 1754527 w 4519987"/>
              <a:gd name="connsiteY88" fmla="*/ 4352925 h 4496940"/>
              <a:gd name="connsiteX89" fmla="*/ 1687852 w 4519987"/>
              <a:gd name="connsiteY89" fmla="*/ 4343400 h 4496940"/>
              <a:gd name="connsiteX90" fmla="*/ 1573552 w 4519987"/>
              <a:gd name="connsiteY90" fmla="*/ 4305300 h 4496940"/>
              <a:gd name="connsiteX91" fmla="*/ 1402102 w 4519987"/>
              <a:gd name="connsiteY91" fmla="*/ 4276725 h 4496940"/>
              <a:gd name="connsiteX92" fmla="*/ 1287802 w 4519987"/>
              <a:gd name="connsiteY92" fmla="*/ 4229100 h 4496940"/>
              <a:gd name="connsiteX93" fmla="*/ 1221127 w 4519987"/>
              <a:gd name="connsiteY93" fmla="*/ 4200525 h 4496940"/>
              <a:gd name="connsiteX94" fmla="*/ 1144927 w 4519987"/>
              <a:gd name="connsiteY94" fmla="*/ 4171950 h 4496940"/>
              <a:gd name="connsiteX95" fmla="*/ 1087777 w 4519987"/>
              <a:gd name="connsiteY95" fmla="*/ 4143375 h 4496940"/>
              <a:gd name="connsiteX96" fmla="*/ 1030627 w 4519987"/>
              <a:gd name="connsiteY96" fmla="*/ 4124325 h 4496940"/>
              <a:gd name="connsiteX97" fmla="*/ 925852 w 4519987"/>
              <a:gd name="connsiteY97" fmla="*/ 4067175 h 4496940"/>
              <a:gd name="connsiteX98" fmla="*/ 830602 w 4519987"/>
              <a:gd name="connsiteY98" fmla="*/ 3981450 h 4496940"/>
              <a:gd name="connsiteX99" fmla="*/ 763927 w 4519987"/>
              <a:gd name="connsiteY99" fmla="*/ 3914775 h 4496940"/>
              <a:gd name="connsiteX100" fmla="*/ 725827 w 4519987"/>
              <a:gd name="connsiteY100" fmla="*/ 3876675 h 4496940"/>
              <a:gd name="connsiteX101" fmla="*/ 697252 w 4519987"/>
              <a:gd name="connsiteY101" fmla="*/ 3838575 h 4496940"/>
              <a:gd name="connsiteX102" fmla="*/ 640102 w 4519987"/>
              <a:gd name="connsiteY102" fmla="*/ 3781425 h 4496940"/>
              <a:gd name="connsiteX103" fmla="*/ 611527 w 4519987"/>
              <a:gd name="connsiteY103" fmla="*/ 3733800 h 4496940"/>
              <a:gd name="connsiteX104" fmla="*/ 554377 w 4519987"/>
              <a:gd name="connsiteY104" fmla="*/ 3657600 h 4496940"/>
              <a:gd name="connsiteX105" fmla="*/ 525802 w 4519987"/>
              <a:gd name="connsiteY105" fmla="*/ 3609975 h 4496940"/>
              <a:gd name="connsiteX106" fmla="*/ 497227 w 4519987"/>
              <a:gd name="connsiteY106" fmla="*/ 3552825 h 4496940"/>
              <a:gd name="connsiteX107" fmla="*/ 440077 w 4519987"/>
              <a:gd name="connsiteY107" fmla="*/ 3495675 h 4496940"/>
              <a:gd name="connsiteX108" fmla="*/ 411502 w 4519987"/>
              <a:gd name="connsiteY108" fmla="*/ 3448050 h 4496940"/>
              <a:gd name="connsiteX109" fmla="*/ 278152 w 4519987"/>
              <a:gd name="connsiteY109" fmla="*/ 3257550 h 4496940"/>
              <a:gd name="connsiteX110" fmla="*/ 249577 w 4519987"/>
              <a:gd name="connsiteY110" fmla="*/ 3200400 h 4496940"/>
              <a:gd name="connsiteX111" fmla="*/ 240052 w 4519987"/>
              <a:gd name="connsiteY111" fmla="*/ 3162300 h 4496940"/>
              <a:gd name="connsiteX112" fmla="*/ 221002 w 4519987"/>
              <a:gd name="connsiteY112" fmla="*/ 3105150 h 4496940"/>
              <a:gd name="connsiteX113" fmla="*/ 173377 w 4519987"/>
              <a:gd name="connsiteY113" fmla="*/ 3019425 h 4496940"/>
              <a:gd name="connsiteX114" fmla="*/ 144802 w 4519987"/>
              <a:gd name="connsiteY114" fmla="*/ 2924175 h 4496940"/>
              <a:gd name="connsiteX115" fmla="*/ 68602 w 4519987"/>
              <a:gd name="connsiteY115" fmla="*/ 2724150 h 4496940"/>
              <a:gd name="connsiteX116" fmla="*/ 49552 w 4519987"/>
              <a:gd name="connsiteY116" fmla="*/ 2638425 h 4496940"/>
              <a:gd name="connsiteX117" fmla="*/ 40027 w 4519987"/>
              <a:gd name="connsiteY117" fmla="*/ 2562225 h 4496940"/>
              <a:gd name="connsiteX118" fmla="*/ 30502 w 4519987"/>
              <a:gd name="connsiteY118" fmla="*/ 2514600 h 4496940"/>
              <a:gd name="connsiteX119" fmla="*/ 11452 w 4519987"/>
              <a:gd name="connsiteY119" fmla="*/ 2400300 h 4496940"/>
              <a:gd name="connsiteX120" fmla="*/ 20977 w 4519987"/>
              <a:gd name="connsiteY120" fmla="*/ 1905000 h 4496940"/>
              <a:gd name="connsiteX121" fmla="*/ 30502 w 4519987"/>
              <a:gd name="connsiteY121" fmla="*/ 1838325 h 4496940"/>
              <a:gd name="connsiteX122" fmla="*/ 49552 w 4519987"/>
              <a:gd name="connsiteY122" fmla="*/ 1781175 h 4496940"/>
              <a:gd name="connsiteX123" fmla="*/ 59077 w 4519987"/>
              <a:gd name="connsiteY123" fmla="*/ 1743075 h 4496940"/>
              <a:gd name="connsiteX124" fmla="*/ 78127 w 4519987"/>
              <a:gd name="connsiteY124" fmla="*/ 1685925 h 4496940"/>
              <a:gd name="connsiteX125" fmla="*/ 87652 w 4519987"/>
              <a:gd name="connsiteY125" fmla="*/ 1638300 h 4496940"/>
              <a:gd name="connsiteX126" fmla="*/ 106702 w 4519987"/>
              <a:gd name="connsiteY126" fmla="*/ 1590675 h 4496940"/>
              <a:gd name="connsiteX127" fmla="*/ 135277 w 4519987"/>
              <a:gd name="connsiteY127" fmla="*/ 1504950 h 4496940"/>
              <a:gd name="connsiteX128" fmla="*/ 154327 w 4519987"/>
              <a:gd name="connsiteY128" fmla="*/ 1419225 h 4496940"/>
              <a:gd name="connsiteX129" fmla="*/ 230527 w 4519987"/>
              <a:gd name="connsiteY129" fmla="*/ 1276350 h 4496940"/>
              <a:gd name="connsiteX130" fmla="*/ 240052 w 4519987"/>
              <a:gd name="connsiteY130" fmla="*/ 1247775 h 4496940"/>
              <a:gd name="connsiteX131" fmla="*/ 268627 w 4519987"/>
              <a:gd name="connsiteY131" fmla="*/ 1200150 h 4496940"/>
              <a:gd name="connsiteX132" fmla="*/ 287677 w 4519987"/>
              <a:gd name="connsiteY132" fmla="*/ 1152525 h 4496940"/>
              <a:gd name="connsiteX133" fmla="*/ 316252 w 4519987"/>
              <a:gd name="connsiteY133" fmla="*/ 1114425 h 4496940"/>
              <a:gd name="connsiteX134" fmla="*/ 363877 w 4519987"/>
              <a:gd name="connsiteY134" fmla="*/ 1038225 h 4496940"/>
              <a:gd name="connsiteX135" fmla="*/ 382927 w 4519987"/>
              <a:gd name="connsiteY135" fmla="*/ 1009650 h 4496940"/>
              <a:gd name="connsiteX136" fmla="*/ 440077 w 4519987"/>
              <a:gd name="connsiteY136" fmla="*/ 904875 h 4496940"/>
              <a:gd name="connsiteX137" fmla="*/ 478177 w 4519987"/>
              <a:gd name="connsiteY137" fmla="*/ 857250 h 4496940"/>
              <a:gd name="connsiteX138" fmla="*/ 497227 w 4519987"/>
              <a:gd name="connsiteY138" fmla="*/ 828675 h 4496940"/>
              <a:gd name="connsiteX139" fmla="*/ 535327 w 4519987"/>
              <a:gd name="connsiteY139" fmla="*/ 800100 h 4496940"/>
              <a:gd name="connsiteX140" fmla="*/ 602002 w 4519987"/>
              <a:gd name="connsiteY140" fmla="*/ 733425 h 4496940"/>
              <a:gd name="connsiteX141" fmla="*/ 668677 w 4519987"/>
              <a:gd name="connsiteY141" fmla="*/ 676275 h 4496940"/>
              <a:gd name="connsiteX142" fmla="*/ 697252 w 4519987"/>
              <a:gd name="connsiteY142" fmla="*/ 657225 h 4496940"/>
              <a:gd name="connsiteX143" fmla="*/ 840127 w 4519987"/>
              <a:gd name="connsiteY143" fmla="*/ 533400 h 4496940"/>
              <a:gd name="connsiteX144" fmla="*/ 887752 w 4519987"/>
              <a:gd name="connsiteY144" fmla="*/ 504825 h 4496940"/>
              <a:gd name="connsiteX145" fmla="*/ 1167152 w 4519987"/>
              <a:gd name="connsiteY145" fmla="*/ 311150 h 4496940"/>
              <a:gd name="connsiteX146" fmla="*/ 1268752 w 4519987"/>
              <a:gd name="connsiteY146" fmla="*/ 285750 h 4496940"/>
              <a:gd name="connsiteX147" fmla="*/ 1411627 w 4519987"/>
              <a:gd name="connsiteY147" fmla="*/ 190500 h 4496940"/>
              <a:gd name="connsiteX148" fmla="*/ 1449727 w 4519987"/>
              <a:gd name="connsiteY148" fmla="*/ 161925 h 4496940"/>
              <a:gd name="connsiteX149" fmla="*/ 1525927 w 4519987"/>
              <a:gd name="connsiteY149" fmla="*/ 152400 h 4496940"/>
              <a:gd name="connsiteX150" fmla="*/ 1583077 w 4519987"/>
              <a:gd name="connsiteY150" fmla="*/ 142875 h 4496940"/>
              <a:gd name="connsiteX151" fmla="*/ 1716427 w 4519987"/>
              <a:gd name="connsiteY151" fmla="*/ 123825 h 4496940"/>
              <a:gd name="connsiteX152" fmla="*/ 1811677 w 4519987"/>
              <a:gd name="connsiteY152" fmla="*/ 114300 h 4496940"/>
              <a:gd name="connsiteX153" fmla="*/ 1859302 w 4519987"/>
              <a:gd name="connsiteY153" fmla="*/ 104775 h 4496940"/>
              <a:gd name="connsiteX154" fmla="*/ 1916452 w 4519987"/>
              <a:gd name="connsiteY154" fmla="*/ 95250 h 4496940"/>
              <a:gd name="connsiteX155" fmla="*/ 2030752 w 4519987"/>
              <a:gd name="connsiteY155" fmla="*/ 66675 h 4496940"/>
              <a:gd name="connsiteX156" fmla="*/ 2097427 w 4519987"/>
              <a:gd name="connsiteY156" fmla="*/ 47625 h 4496940"/>
              <a:gd name="connsiteX157" fmla="*/ 2164102 w 4519987"/>
              <a:gd name="connsiteY157" fmla="*/ 38100 h 4496940"/>
              <a:gd name="connsiteX158" fmla="*/ 2392702 w 4519987"/>
              <a:gd name="connsiteY15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07202 w 4519987"/>
              <a:gd name="connsiteY29" fmla="*/ 876300 h 4496940"/>
              <a:gd name="connsiteX30" fmla="*/ 4116727 w 4519987"/>
              <a:gd name="connsiteY30" fmla="*/ 904875 h 4496940"/>
              <a:gd name="connsiteX31" fmla="*/ 4135777 w 4519987"/>
              <a:gd name="connsiteY31" fmla="*/ 933450 h 4496940"/>
              <a:gd name="connsiteX32" fmla="*/ 4164352 w 4519987"/>
              <a:gd name="connsiteY32" fmla="*/ 990600 h 4496940"/>
              <a:gd name="connsiteX33" fmla="*/ 4173877 w 4519987"/>
              <a:gd name="connsiteY33" fmla="*/ 1019175 h 4496940"/>
              <a:gd name="connsiteX34" fmla="*/ 4192927 w 4519987"/>
              <a:gd name="connsiteY34" fmla="*/ 1057275 h 4496940"/>
              <a:gd name="connsiteX35" fmla="*/ 4202452 w 4519987"/>
              <a:gd name="connsiteY35" fmla="*/ 1085850 h 4496940"/>
              <a:gd name="connsiteX36" fmla="*/ 4250077 w 4519987"/>
              <a:gd name="connsiteY36" fmla="*/ 1143000 h 4496940"/>
              <a:gd name="connsiteX37" fmla="*/ 4259602 w 4519987"/>
              <a:gd name="connsiteY37" fmla="*/ 1190625 h 4496940"/>
              <a:gd name="connsiteX38" fmla="*/ 4307227 w 4519987"/>
              <a:gd name="connsiteY38" fmla="*/ 1266825 h 4496940"/>
              <a:gd name="connsiteX39" fmla="*/ 4345327 w 4519987"/>
              <a:gd name="connsiteY39" fmla="*/ 1362075 h 4496940"/>
              <a:gd name="connsiteX40" fmla="*/ 4373902 w 4519987"/>
              <a:gd name="connsiteY40" fmla="*/ 1428750 h 4496940"/>
              <a:gd name="connsiteX41" fmla="*/ 4392952 w 4519987"/>
              <a:gd name="connsiteY41" fmla="*/ 1552575 h 4496940"/>
              <a:gd name="connsiteX42" fmla="*/ 4402477 w 4519987"/>
              <a:gd name="connsiteY42" fmla="*/ 1590675 h 4496940"/>
              <a:gd name="connsiteX43" fmla="*/ 4431052 w 4519987"/>
              <a:gd name="connsiteY43" fmla="*/ 1685925 h 4496940"/>
              <a:gd name="connsiteX44" fmla="*/ 4519952 w 4519987"/>
              <a:gd name="connsiteY44" fmla="*/ 2181225 h 4496940"/>
              <a:gd name="connsiteX45" fmla="*/ 4446927 w 4519987"/>
              <a:gd name="connsiteY45" fmla="*/ 2768600 h 4496940"/>
              <a:gd name="connsiteX46" fmla="*/ 4383427 w 4519987"/>
              <a:gd name="connsiteY46" fmla="*/ 2990850 h 4496940"/>
              <a:gd name="connsiteX47" fmla="*/ 4278652 w 4519987"/>
              <a:gd name="connsiteY47" fmla="*/ 3248025 h 4496940"/>
              <a:gd name="connsiteX48" fmla="*/ 4259602 w 4519987"/>
              <a:gd name="connsiteY48" fmla="*/ 3276600 h 4496940"/>
              <a:gd name="connsiteX49" fmla="*/ 4221502 w 4519987"/>
              <a:gd name="connsiteY49" fmla="*/ 3333750 h 4496940"/>
              <a:gd name="connsiteX50" fmla="*/ 4211977 w 4519987"/>
              <a:gd name="connsiteY50" fmla="*/ 3362325 h 4496940"/>
              <a:gd name="connsiteX51" fmla="*/ 4183402 w 4519987"/>
              <a:gd name="connsiteY51" fmla="*/ 3400425 h 4496940"/>
              <a:gd name="connsiteX52" fmla="*/ 4164352 w 4519987"/>
              <a:gd name="connsiteY52" fmla="*/ 3429000 h 4496940"/>
              <a:gd name="connsiteX53" fmla="*/ 4088152 w 4519987"/>
              <a:gd name="connsiteY53" fmla="*/ 3495675 h 4496940"/>
              <a:gd name="connsiteX54" fmla="*/ 4059577 w 4519987"/>
              <a:gd name="connsiteY54" fmla="*/ 3533775 h 4496940"/>
              <a:gd name="connsiteX55" fmla="*/ 4002427 w 4519987"/>
              <a:gd name="connsiteY55" fmla="*/ 3600450 h 4496940"/>
              <a:gd name="connsiteX56" fmla="*/ 3983377 w 4519987"/>
              <a:gd name="connsiteY56" fmla="*/ 3629025 h 4496940"/>
              <a:gd name="connsiteX57" fmla="*/ 3954802 w 4519987"/>
              <a:gd name="connsiteY57" fmla="*/ 3648075 h 4496940"/>
              <a:gd name="connsiteX58" fmla="*/ 3907177 w 4519987"/>
              <a:gd name="connsiteY58" fmla="*/ 3686175 h 4496940"/>
              <a:gd name="connsiteX59" fmla="*/ 3869077 w 4519987"/>
              <a:gd name="connsiteY59" fmla="*/ 3724275 h 4496940"/>
              <a:gd name="connsiteX60" fmla="*/ 3792877 w 4519987"/>
              <a:gd name="connsiteY60" fmla="*/ 3781425 h 4496940"/>
              <a:gd name="connsiteX61" fmla="*/ 3783352 w 4519987"/>
              <a:gd name="connsiteY61" fmla="*/ 3810000 h 4496940"/>
              <a:gd name="connsiteX62" fmla="*/ 3745252 w 4519987"/>
              <a:gd name="connsiteY62" fmla="*/ 3819525 h 4496940"/>
              <a:gd name="connsiteX63" fmla="*/ 3678577 w 4519987"/>
              <a:gd name="connsiteY63" fmla="*/ 3848100 h 4496940"/>
              <a:gd name="connsiteX64" fmla="*/ 3659527 w 4519987"/>
              <a:gd name="connsiteY64" fmla="*/ 3971925 h 4496940"/>
              <a:gd name="connsiteX65" fmla="*/ 3630952 w 4519987"/>
              <a:gd name="connsiteY65" fmla="*/ 4010025 h 4496940"/>
              <a:gd name="connsiteX66" fmla="*/ 3621427 w 4519987"/>
              <a:gd name="connsiteY66" fmla="*/ 4038600 h 4496940"/>
              <a:gd name="connsiteX67" fmla="*/ 3554752 w 4519987"/>
              <a:gd name="connsiteY67" fmla="*/ 4095750 h 4496940"/>
              <a:gd name="connsiteX68" fmla="*/ 3516652 w 4519987"/>
              <a:gd name="connsiteY68" fmla="*/ 4114800 h 4496940"/>
              <a:gd name="connsiteX69" fmla="*/ 3497602 w 4519987"/>
              <a:gd name="connsiteY69" fmla="*/ 4143375 h 4496940"/>
              <a:gd name="connsiteX70" fmla="*/ 3383302 w 4519987"/>
              <a:gd name="connsiteY70" fmla="*/ 4210050 h 4496940"/>
              <a:gd name="connsiteX71" fmla="*/ 3335677 w 4519987"/>
              <a:gd name="connsiteY71" fmla="*/ 4238625 h 4496940"/>
              <a:gd name="connsiteX72" fmla="*/ 3288052 w 4519987"/>
              <a:gd name="connsiteY72" fmla="*/ 4248150 h 4496940"/>
              <a:gd name="connsiteX73" fmla="*/ 3240427 w 4519987"/>
              <a:gd name="connsiteY73" fmla="*/ 4267200 h 4496940"/>
              <a:gd name="connsiteX74" fmla="*/ 3068977 w 4519987"/>
              <a:gd name="connsiteY74" fmla="*/ 4286250 h 4496940"/>
              <a:gd name="connsiteX75" fmla="*/ 2935627 w 4519987"/>
              <a:gd name="connsiteY75" fmla="*/ 4333875 h 4496940"/>
              <a:gd name="connsiteX76" fmla="*/ 2811802 w 4519987"/>
              <a:gd name="connsiteY76" fmla="*/ 4371975 h 4496940"/>
              <a:gd name="connsiteX77" fmla="*/ 2745127 w 4519987"/>
              <a:gd name="connsiteY77" fmla="*/ 4410075 h 4496940"/>
              <a:gd name="connsiteX78" fmla="*/ 2697502 w 4519987"/>
              <a:gd name="connsiteY78" fmla="*/ 4429125 h 4496940"/>
              <a:gd name="connsiteX79" fmla="*/ 2640352 w 4519987"/>
              <a:gd name="connsiteY79" fmla="*/ 4457700 h 4496940"/>
              <a:gd name="connsiteX80" fmla="*/ 2583202 w 4519987"/>
              <a:gd name="connsiteY80" fmla="*/ 4467225 h 4496940"/>
              <a:gd name="connsiteX81" fmla="*/ 2545102 w 4519987"/>
              <a:gd name="connsiteY81" fmla="*/ 4486275 h 4496940"/>
              <a:gd name="connsiteX82" fmla="*/ 2306977 w 4519987"/>
              <a:gd name="connsiteY82" fmla="*/ 4476750 h 4496940"/>
              <a:gd name="connsiteX83" fmla="*/ 2202202 w 4519987"/>
              <a:gd name="connsiteY83" fmla="*/ 4457700 h 4496940"/>
              <a:gd name="connsiteX84" fmla="*/ 2126002 w 4519987"/>
              <a:gd name="connsiteY84" fmla="*/ 4429125 h 4496940"/>
              <a:gd name="connsiteX85" fmla="*/ 1935502 w 4519987"/>
              <a:gd name="connsiteY85" fmla="*/ 4400550 h 4496940"/>
              <a:gd name="connsiteX86" fmla="*/ 1821202 w 4519987"/>
              <a:gd name="connsiteY86" fmla="*/ 4371975 h 4496940"/>
              <a:gd name="connsiteX87" fmla="*/ 1754527 w 4519987"/>
              <a:gd name="connsiteY87" fmla="*/ 4352925 h 4496940"/>
              <a:gd name="connsiteX88" fmla="*/ 1687852 w 4519987"/>
              <a:gd name="connsiteY88" fmla="*/ 4343400 h 4496940"/>
              <a:gd name="connsiteX89" fmla="*/ 1573552 w 4519987"/>
              <a:gd name="connsiteY89" fmla="*/ 4305300 h 4496940"/>
              <a:gd name="connsiteX90" fmla="*/ 1402102 w 4519987"/>
              <a:gd name="connsiteY90" fmla="*/ 4276725 h 4496940"/>
              <a:gd name="connsiteX91" fmla="*/ 1287802 w 4519987"/>
              <a:gd name="connsiteY91" fmla="*/ 4229100 h 4496940"/>
              <a:gd name="connsiteX92" fmla="*/ 1221127 w 4519987"/>
              <a:gd name="connsiteY92" fmla="*/ 4200525 h 4496940"/>
              <a:gd name="connsiteX93" fmla="*/ 1144927 w 4519987"/>
              <a:gd name="connsiteY93" fmla="*/ 4171950 h 4496940"/>
              <a:gd name="connsiteX94" fmla="*/ 1087777 w 4519987"/>
              <a:gd name="connsiteY94" fmla="*/ 4143375 h 4496940"/>
              <a:gd name="connsiteX95" fmla="*/ 1030627 w 4519987"/>
              <a:gd name="connsiteY95" fmla="*/ 4124325 h 4496940"/>
              <a:gd name="connsiteX96" fmla="*/ 925852 w 4519987"/>
              <a:gd name="connsiteY96" fmla="*/ 4067175 h 4496940"/>
              <a:gd name="connsiteX97" fmla="*/ 830602 w 4519987"/>
              <a:gd name="connsiteY97" fmla="*/ 3981450 h 4496940"/>
              <a:gd name="connsiteX98" fmla="*/ 763927 w 4519987"/>
              <a:gd name="connsiteY98" fmla="*/ 3914775 h 4496940"/>
              <a:gd name="connsiteX99" fmla="*/ 725827 w 4519987"/>
              <a:gd name="connsiteY99" fmla="*/ 3876675 h 4496940"/>
              <a:gd name="connsiteX100" fmla="*/ 697252 w 4519987"/>
              <a:gd name="connsiteY100" fmla="*/ 3838575 h 4496940"/>
              <a:gd name="connsiteX101" fmla="*/ 640102 w 4519987"/>
              <a:gd name="connsiteY101" fmla="*/ 3781425 h 4496940"/>
              <a:gd name="connsiteX102" fmla="*/ 611527 w 4519987"/>
              <a:gd name="connsiteY102" fmla="*/ 3733800 h 4496940"/>
              <a:gd name="connsiteX103" fmla="*/ 554377 w 4519987"/>
              <a:gd name="connsiteY103" fmla="*/ 3657600 h 4496940"/>
              <a:gd name="connsiteX104" fmla="*/ 525802 w 4519987"/>
              <a:gd name="connsiteY104" fmla="*/ 3609975 h 4496940"/>
              <a:gd name="connsiteX105" fmla="*/ 497227 w 4519987"/>
              <a:gd name="connsiteY105" fmla="*/ 3552825 h 4496940"/>
              <a:gd name="connsiteX106" fmla="*/ 440077 w 4519987"/>
              <a:gd name="connsiteY106" fmla="*/ 3495675 h 4496940"/>
              <a:gd name="connsiteX107" fmla="*/ 411502 w 4519987"/>
              <a:gd name="connsiteY107" fmla="*/ 3448050 h 4496940"/>
              <a:gd name="connsiteX108" fmla="*/ 278152 w 4519987"/>
              <a:gd name="connsiteY108" fmla="*/ 3257550 h 4496940"/>
              <a:gd name="connsiteX109" fmla="*/ 249577 w 4519987"/>
              <a:gd name="connsiteY109" fmla="*/ 3200400 h 4496940"/>
              <a:gd name="connsiteX110" fmla="*/ 240052 w 4519987"/>
              <a:gd name="connsiteY110" fmla="*/ 3162300 h 4496940"/>
              <a:gd name="connsiteX111" fmla="*/ 221002 w 4519987"/>
              <a:gd name="connsiteY111" fmla="*/ 3105150 h 4496940"/>
              <a:gd name="connsiteX112" fmla="*/ 173377 w 4519987"/>
              <a:gd name="connsiteY112" fmla="*/ 3019425 h 4496940"/>
              <a:gd name="connsiteX113" fmla="*/ 144802 w 4519987"/>
              <a:gd name="connsiteY113" fmla="*/ 2924175 h 4496940"/>
              <a:gd name="connsiteX114" fmla="*/ 68602 w 4519987"/>
              <a:gd name="connsiteY114" fmla="*/ 2724150 h 4496940"/>
              <a:gd name="connsiteX115" fmla="*/ 49552 w 4519987"/>
              <a:gd name="connsiteY115" fmla="*/ 2638425 h 4496940"/>
              <a:gd name="connsiteX116" fmla="*/ 40027 w 4519987"/>
              <a:gd name="connsiteY116" fmla="*/ 2562225 h 4496940"/>
              <a:gd name="connsiteX117" fmla="*/ 30502 w 4519987"/>
              <a:gd name="connsiteY117" fmla="*/ 2514600 h 4496940"/>
              <a:gd name="connsiteX118" fmla="*/ 11452 w 4519987"/>
              <a:gd name="connsiteY118" fmla="*/ 2400300 h 4496940"/>
              <a:gd name="connsiteX119" fmla="*/ 20977 w 4519987"/>
              <a:gd name="connsiteY119" fmla="*/ 1905000 h 4496940"/>
              <a:gd name="connsiteX120" fmla="*/ 30502 w 4519987"/>
              <a:gd name="connsiteY120" fmla="*/ 1838325 h 4496940"/>
              <a:gd name="connsiteX121" fmla="*/ 49552 w 4519987"/>
              <a:gd name="connsiteY121" fmla="*/ 1781175 h 4496940"/>
              <a:gd name="connsiteX122" fmla="*/ 59077 w 4519987"/>
              <a:gd name="connsiteY122" fmla="*/ 1743075 h 4496940"/>
              <a:gd name="connsiteX123" fmla="*/ 78127 w 4519987"/>
              <a:gd name="connsiteY123" fmla="*/ 1685925 h 4496940"/>
              <a:gd name="connsiteX124" fmla="*/ 87652 w 4519987"/>
              <a:gd name="connsiteY124" fmla="*/ 1638300 h 4496940"/>
              <a:gd name="connsiteX125" fmla="*/ 106702 w 4519987"/>
              <a:gd name="connsiteY125" fmla="*/ 1590675 h 4496940"/>
              <a:gd name="connsiteX126" fmla="*/ 135277 w 4519987"/>
              <a:gd name="connsiteY126" fmla="*/ 1504950 h 4496940"/>
              <a:gd name="connsiteX127" fmla="*/ 154327 w 4519987"/>
              <a:gd name="connsiteY127" fmla="*/ 1419225 h 4496940"/>
              <a:gd name="connsiteX128" fmla="*/ 230527 w 4519987"/>
              <a:gd name="connsiteY128" fmla="*/ 1276350 h 4496940"/>
              <a:gd name="connsiteX129" fmla="*/ 240052 w 4519987"/>
              <a:gd name="connsiteY129" fmla="*/ 1247775 h 4496940"/>
              <a:gd name="connsiteX130" fmla="*/ 268627 w 4519987"/>
              <a:gd name="connsiteY130" fmla="*/ 1200150 h 4496940"/>
              <a:gd name="connsiteX131" fmla="*/ 287677 w 4519987"/>
              <a:gd name="connsiteY131" fmla="*/ 1152525 h 4496940"/>
              <a:gd name="connsiteX132" fmla="*/ 316252 w 4519987"/>
              <a:gd name="connsiteY132" fmla="*/ 1114425 h 4496940"/>
              <a:gd name="connsiteX133" fmla="*/ 363877 w 4519987"/>
              <a:gd name="connsiteY133" fmla="*/ 1038225 h 4496940"/>
              <a:gd name="connsiteX134" fmla="*/ 382927 w 4519987"/>
              <a:gd name="connsiteY134" fmla="*/ 1009650 h 4496940"/>
              <a:gd name="connsiteX135" fmla="*/ 440077 w 4519987"/>
              <a:gd name="connsiteY135" fmla="*/ 904875 h 4496940"/>
              <a:gd name="connsiteX136" fmla="*/ 478177 w 4519987"/>
              <a:gd name="connsiteY136" fmla="*/ 857250 h 4496940"/>
              <a:gd name="connsiteX137" fmla="*/ 497227 w 4519987"/>
              <a:gd name="connsiteY137" fmla="*/ 828675 h 4496940"/>
              <a:gd name="connsiteX138" fmla="*/ 535327 w 4519987"/>
              <a:gd name="connsiteY138" fmla="*/ 800100 h 4496940"/>
              <a:gd name="connsiteX139" fmla="*/ 602002 w 4519987"/>
              <a:gd name="connsiteY139" fmla="*/ 733425 h 4496940"/>
              <a:gd name="connsiteX140" fmla="*/ 668677 w 4519987"/>
              <a:gd name="connsiteY140" fmla="*/ 676275 h 4496940"/>
              <a:gd name="connsiteX141" fmla="*/ 697252 w 4519987"/>
              <a:gd name="connsiteY141" fmla="*/ 657225 h 4496940"/>
              <a:gd name="connsiteX142" fmla="*/ 840127 w 4519987"/>
              <a:gd name="connsiteY142" fmla="*/ 533400 h 4496940"/>
              <a:gd name="connsiteX143" fmla="*/ 887752 w 4519987"/>
              <a:gd name="connsiteY143" fmla="*/ 504825 h 4496940"/>
              <a:gd name="connsiteX144" fmla="*/ 1167152 w 4519987"/>
              <a:gd name="connsiteY144" fmla="*/ 311150 h 4496940"/>
              <a:gd name="connsiteX145" fmla="*/ 1268752 w 4519987"/>
              <a:gd name="connsiteY145" fmla="*/ 285750 h 4496940"/>
              <a:gd name="connsiteX146" fmla="*/ 1411627 w 4519987"/>
              <a:gd name="connsiteY146" fmla="*/ 190500 h 4496940"/>
              <a:gd name="connsiteX147" fmla="*/ 1449727 w 4519987"/>
              <a:gd name="connsiteY147" fmla="*/ 161925 h 4496940"/>
              <a:gd name="connsiteX148" fmla="*/ 1525927 w 4519987"/>
              <a:gd name="connsiteY148" fmla="*/ 152400 h 4496940"/>
              <a:gd name="connsiteX149" fmla="*/ 1583077 w 4519987"/>
              <a:gd name="connsiteY149" fmla="*/ 142875 h 4496940"/>
              <a:gd name="connsiteX150" fmla="*/ 1716427 w 4519987"/>
              <a:gd name="connsiteY150" fmla="*/ 123825 h 4496940"/>
              <a:gd name="connsiteX151" fmla="*/ 1811677 w 4519987"/>
              <a:gd name="connsiteY151" fmla="*/ 114300 h 4496940"/>
              <a:gd name="connsiteX152" fmla="*/ 1859302 w 4519987"/>
              <a:gd name="connsiteY152" fmla="*/ 104775 h 4496940"/>
              <a:gd name="connsiteX153" fmla="*/ 1916452 w 4519987"/>
              <a:gd name="connsiteY153" fmla="*/ 95250 h 4496940"/>
              <a:gd name="connsiteX154" fmla="*/ 2030752 w 4519987"/>
              <a:gd name="connsiteY154" fmla="*/ 66675 h 4496940"/>
              <a:gd name="connsiteX155" fmla="*/ 2097427 w 4519987"/>
              <a:gd name="connsiteY155" fmla="*/ 47625 h 4496940"/>
              <a:gd name="connsiteX156" fmla="*/ 2164102 w 4519987"/>
              <a:gd name="connsiteY156" fmla="*/ 38100 h 4496940"/>
              <a:gd name="connsiteX157" fmla="*/ 2392702 w 4519987"/>
              <a:gd name="connsiteY15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07202 w 4519987"/>
              <a:gd name="connsiteY29" fmla="*/ 876300 h 4496940"/>
              <a:gd name="connsiteX30" fmla="*/ 4135777 w 4519987"/>
              <a:gd name="connsiteY30" fmla="*/ 933450 h 4496940"/>
              <a:gd name="connsiteX31" fmla="*/ 4164352 w 4519987"/>
              <a:gd name="connsiteY31" fmla="*/ 990600 h 4496940"/>
              <a:gd name="connsiteX32" fmla="*/ 4173877 w 4519987"/>
              <a:gd name="connsiteY32" fmla="*/ 1019175 h 4496940"/>
              <a:gd name="connsiteX33" fmla="*/ 4192927 w 4519987"/>
              <a:gd name="connsiteY33" fmla="*/ 1057275 h 4496940"/>
              <a:gd name="connsiteX34" fmla="*/ 4202452 w 4519987"/>
              <a:gd name="connsiteY34" fmla="*/ 1085850 h 4496940"/>
              <a:gd name="connsiteX35" fmla="*/ 4250077 w 4519987"/>
              <a:gd name="connsiteY35" fmla="*/ 1143000 h 4496940"/>
              <a:gd name="connsiteX36" fmla="*/ 4259602 w 4519987"/>
              <a:gd name="connsiteY36" fmla="*/ 1190625 h 4496940"/>
              <a:gd name="connsiteX37" fmla="*/ 4307227 w 4519987"/>
              <a:gd name="connsiteY37" fmla="*/ 1266825 h 4496940"/>
              <a:gd name="connsiteX38" fmla="*/ 4345327 w 4519987"/>
              <a:gd name="connsiteY38" fmla="*/ 1362075 h 4496940"/>
              <a:gd name="connsiteX39" fmla="*/ 4373902 w 4519987"/>
              <a:gd name="connsiteY39" fmla="*/ 1428750 h 4496940"/>
              <a:gd name="connsiteX40" fmla="*/ 4392952 w 4519987"/>
              <a:gd name="connsiteY40" fmla="*/ 1552575 h 4496940"/>
              <a:gd name="connsiteX41" fmla="*/ 4402477 w 4519987"/>
              <a:gd name="connsiteY41" fmla="*/ 1590675 h 4496940"/>
              <a:gd name="connsiteX42" fmla="*/ 4431052 w 4519987"/>
              <a:gd name="connsiteY42" fmla="*/ 1685925 h 4496940"/>
              <a:gd name="connsiteX43" fmla="*/ 4519952 w 4519987"/>
              <a:gd name="connsiteY43" fmla="*/ 2181225 h 4496940"/>
              <a:gd name="connsiteX44" fmla="*/ 4446927 w 4519987"/>
              <a:gd name="connsiteY44" fmla="*/ 2768600 h 4496940"/>
              <a:gd name="connsiteX45" fmla="*/ 4383427 w 4519987"/>
              <a:gd name="connsiteY45" fmla="*/ 2990850 h 4496940"/>
              <a:gd name="connsiteX46" fmla="*/ 4278652 w 4519987"/>
              <a:gd name="connsiteY46" fmla="*/ 3248025 h 4496940"/>
              <a:gd name="connsiteX47" fmla="*/ 4259602 w 4519987"/>
              <a:gd name="connsiteY47" fmla="*/ 3276600 h 4496940"/>
              <a:gd name="connsiteX48" fmla="*/ 4221502 w 4519987"/>
              <a:gd name="connsiteY48" fmla="*/ 3333750 h 4496940"/>
              <a:gd name="connsiteX49" fmla="*/ 4211977 w 4519987"/>
              <a:gd name="connsiteY49" fmla="*/ 3362325 h 4496940"/>
              <a:gd name="connsiteX50" fmla="*/ 4183402 w 4519987"/>
              <a:gd name="connsiteY50" fmla="*/ 3400425 h 4496940"/>
              <a:gd name="connsiteX51" fmla="*/ 4164352 w 4519987"/>
              <a:gd name="connsiteY51" fmla="*/ 3429000 h 4496940"/>
              <a:gd name="connsiteX52" fmla="*/ 4088152 w 4519987"/>
              <a:gd name="connsiteY52" fmla="*/ 3495675 h 4496940"/>
              <a:gd name="connsiteX53" fmla="*/ 4059577 w 4519987"/>
              <a:gd name="connsiteY53" fmla="*/ 3533775 h 4496940"/>
              <a:gd name="connsiteX54" fmla="*/ 4002427 w 4519987"/>
              <a:gd name="connsiteY54" fmla="*/ 3600450 h 4496940"/>
              <a:gd name="connsiteX55" fmla="*/ 3983377 w 4519987"/>
              <a:gd name="connsiteY55" fmla="*/ 3629025 h 4496940"/>
              <a:gd name="connsiteX56" fmla="*/ 3954802 w 4519987"/>
              <a:gd name="connsiteY56" fmla="*/ 3648075 h 4496940"/>
              <a:gd name="connsiteX57" fmla="*/ 3907177 w 4519987"/>
              <a:gd name="connsiteY57" fmla="*/ 3686175 h 4496940"/>
              <a:gd name="connsiteX58" fmla="*/ 3869077 w 4519987"/>
              <a:gd name="connsiteY58" fmla="*/ 3724275 h 4496940"/>
              <a:gd name="connsiteX59" fmla="*/ 3792877 w 4519987"/>
              <a:gd name="connsiteY59" fmla="*/ 3781425 h 4496940"/>
              <a:gd name="connsiteX60" fmla="*/ 3783352 w 4519987"/>
              <a:gd name="connsiteY60" fmla="*/ 3810000 h 4496940"/>
              <a:gd name="connsiteX61" fmla="*/ 3745252 w 4519987"/>
              <a:gd name="connsiteY61" fmla="*/ 3819525 h 4496940"/>
              <a:gd name="connsiteX62" fmla="*/ 3678577 w 4519987"/>
              <a:gd name="connsiteY62" fmla="*/ 3848100 h 4496940"/>
              <a:gd name="connsiteX63" fmla="*/ 3659527 w 4519987"/>
              <a:gd name="connsiteY63" fmla="*/ 3971925 h 4496940"/>
              <a:gd name="connsiteX64" fmla="*/ 3630952 w 4519987"/>
              <a:gd name="connsiteY64" fmla="*/ 4010025 h 4496940"/>
              <a:gd name="connsiteX65" fmla="*/ 3621427 w 4519987"/>
              <a:gd name="connsiteY65" fmla="*/ 4038600 h 4496940"/>
              <a:gd name="connsiteX66" fmla="*/ 3554752 w 4519987"/>
              <a:gd name="connsiteY66" fmla="*/ 4095750 h 4496940"/>
              <a:gd name="connsiteX67" fmla="*/ 3516652 w 4519987"/>
              <a:gd name="connsiteY67" fmla="*/ 4114800 h 4496940"/>
              <a:gd name="connsiteX68" fmla="*/ 3497602 w 4519987"/>
              <a:gd name="connsiteY68" fmla="*/ 4143375 h 4496940"/>
              <a:gd name="connsiteX69" fmla="*/ 3383302 w 4519987"/>
              <a:gd name="connsiteY69" fmla="*/ 4210050 h 4496940"/>
              <a:gd name="connsiteX70" fmla="*/ 3335677 w 4519987"/>
              <a:gd name="connsiteY70" fmla="*/ 4238625 h 4496940"/>
              <a:gd name="connsiteX71" fmla="*/ 3288052 w 4519987"/>
              <a:gd name="connsiteY71" fmla="*/ 4248150 h 4496940"/>
              <a:gd name="connsiteX72" fmla="*/ 3240427 w 4519987"/>
              <a:gd name="connsiteY72" fmla="*/ 4267200 h 4496940"/>
              <a:gd name="connsiteX73" fmla="*/ 3068977 w 4519987"/>
              <a:gd name="connsiteY73" fmla="*/ 4286250 h 4496940"/>
              <a:gd name="connsiteX74" fmla="*/ 2935627 w 4519987"/>
              <a:gd name="connsiteY74" fmla="*/ 4333875 h 4496940"/>
              <a:gd name="connsiteX75" fmla="*/ 2811802 w 4519987"/>
              <a:gd name="connsiteY75" fmla="*/ 4371975 h 4496940"/>
              <a:gd name="connsiteX76" fmla="*/ 2745127 w 4519987"/>
              <a:gd name="connsiteY76" fmla="*/ 4410075 h 4496940"/>
              <a:gd name="connsiteX77" fmla="*/ 2697502 w 4519987"/>
              <a:gd name="connsiteY77" fmla="*/ 4429125 h 4496940"/>
              <a:gd name="connsiteX78" fmla="*/ 2640352 w 4519987"/>
              <a:gd name="connsiteY78" fmla="*/ 4457700 h 4496940"/>
              <a:gd name="connsiteX79" fmla="*/ 2583202 w 4519987"/>
              <a:gd name="connsiteY79" fmla="*/ 4467225 h 4496940"/>
              <a:gd name="connsiteX80" fmla="*/ 2545102 w 4519987"/>
              <a:gd name="connsiteY80" fmla="*/ 4486275 h 4496940"/>
              <a:gd name="connsiteX81" fmla="*/ 2306977 w 4519987"/>
              <a:gd name="connsiteY81" fmla="*/ 4476750 h 4496940"/>
              <a:gd name="connsiteX82" fmla="*/ 2202202 w 4519987"/>
              <a:gd name="connsiteY82" fmla="*/ 4457700 h 4496940"/>
              <a:gd name="connsiteX83" fmla="*/ 2126002 w 4519987"/>
              <a:gd name="connsiteY83" fmla="*/ 4429125 h 4496940"/>
              <a:gd name="connsiteX84" fmla="*/ 1935502 w 4519987"/>
              <a:gd name="connsiteY84" fmla="*/ 4400550 h 4496940"/>
              <a:gd name="connsiteX85" fmla="*/ 1821202 w 4519987"/>
              <a:gd name="connsiteY85" fmla="*/ 4371975 h 4496940"/>
              <a:gd name="connsiteX86" fmla="*/ 1754527 w 4519987"/>
              <a:gd name="connsiteY86" fmla="*/ 4352925 h 4496940"/>
              <a:gd name="connsiteX87" fmla="*/ 1687852 w 4519987"/>
              <a:gd name="connsiteY87" fmla="*/ 4343400 h 4496940"/>
              <a:gd name="connsiteX88" fmla="*/ 1573552 w 4519987"/>
              <a:gd name="connsiteY88" fmla="*/ 4305300 h 4496940"/>
              <a:gd name="connsiteX89" fmla="*/ 1402102 w 4519987"/>
              <a:gd name="connsiteY89" fmla="*/ 4276725 h 4496940"/>
              <a:gd name="connsiteX90" fmla="*/ 1287802 w 4519987"/>
              <a:gd name="connsiteY90" fmla="*/ 4229100 h 4496940"/>
              <a:gd name="connsiteX91" fmla="*/ 1221127 w 4519987"/>
              <a:gd name="connsiteY91" fmla="*/ 4200525 h 4496940"/>
              <a:gd name="connsiteX92" fmla="*/ 1144927 w 4519987"/>
              <a:gd name="connsiteY92" fmla="*/ 4171950 h 4496940"/>
              <a:gd name="connsiteX93" fmla="*/ 1087777 w 4519987"/>
              <a:gd name="connsiteY93" fmla="*/ 4143375 h 4496940"/>
              <a:gd name="connsiteX94" fmla="*/ 1030627 w 4519987"/>
              <a:gd name="connsiteY94" fmla="*/ 4124325 h 4496940"/>
              <a:gd name="connsiteX95" fmla="*/ 925852 w 4519987"/>
              <a:gd name="connsiteY95" fmla="*/ 4067175 h 4496940"/>
              <a:gd name="connsiteX96" fmla="*/ 830602 w 4519987"/>
              <a:gd name="connsiteY96" fmla="*/ 3981450 h 4496940"/>
              <a:gd name="connsiteX97" fmla="*/ 763927 w 4519987"/>
              <a:gd name="connsiteY97" fmla="*/ 3914775 h 4496940"/>
              <a:gd name="connsiteX98" fmla="*/ 725827 w 4519987"/>
              <a:gd name="connsiteY98" fmla="*/ 3876675 h 4496940"/>
              <a:gd name="connsiteX99" fmla="*/ 697252 w 4519987"/>
              <a:gd name="connsiteY99" fmla="*/ 3838575 h 4496940"/>
              <a:gd name="connsiteX100" fmla="*/ 640102 w 4519987"/>
              <a:gd name="connsiteY100" fmla="*/ 3781425 h 4496940"/>
              <a:gd name="connsiteX101" fmla="*/ 611527 w 4519987"/>
              <a:gd name="connsiteY101" fmla="*/ 3733800 h 4496940"/>
              <a:gd name="connsiteX102" fmla="*/ 554377 w 4519987"/>
              <a:gd name="connsiteY102" fmla="*/ 3657600 h 4496940"/>
              <a:gd name="connsiteX103" fmla="*/ 525802 w 4519987"/>
              <a:gd name="connsiteY103" fmla="*/ 3609975 h 4496940"/>
              <a:gd name="connsiteX104" fmla="*/ 497227 w 4519987"/>
              <a:gd name="connsiteY104" fmla="*/ 3552825 h 4496940"/>
              <a:gd name="connsiteX105" fmla="*/ 440077 w 4519987"/>
              <a:gd name="connsiteY105" fmla="*/ 3495675 h 4496940"/>
              <a:gd name="connsiteX106" fmla="*/ 411502 w 4519987"/>
              <a:gd name="connsiteY106" fmla="*/ 3448050 h 4496940"/>
              <a:gd name="connsiteX107" fmla="*/ 278152 w 4519987"/>
              <a:gd name="connsiteY107" fmla="*/ 3257550 h 4496940"/>
              <a:gd name="connsiteX108" fmla="*/ 249577 w 4519987"/>
              <a:gd name="connsiteY108" fmla="*/ 3200400 h 4496940"/>
              <a:gd name="connsiteX109" fmla="*/ 240052 w 4519987"/>
              <a:gd name="connsiteY109" fmla="*/ 3162300 h 4496940"/>
              <a:gd name="connsiteX110" fmla="*/ 221002 w 4519987"/>
              <a:gd name="connsiteY110" fmla="*/ 3105150 h 4496940"/>
              <a:gd name="connsiteX111" fmla="*/ 173377 w 4519987"/>
              <a:gd name="connsiteY111" fmla="*/ 3019425 h 4496940"/>
              <a:gd name="connsiteX112" fmla="*/ 144802 w 4519987"/>
              <a:gd name="connsiteY112" fmla="*/ 2924175 h 4496940"/>
              <a:gd name="connsiteX113" fmla="*/ 68602 w 4519987"/>
              <a:gd name="connsiteY113" fmla="*/ 2724150 h 4496940"/>
              <a:gd name="connsiteX114" fmla="*/ 49552 w 4519987"/>
              <a:gd name="connsiteY114" fmla="*/ 2638425 h 4496940"/>
              <a:gd name="connsiteX115" fmla="*/ 40027 w 4519987"/>
              <a:gd name="connsiteY115" fmla="*/ 2562225 h 4496940"/>
              <a:gd name="connsiteX116" fmla="*/ 30502 w 4519987"/>
              <a:gd name="connsiteY116" fmla="*/ 2514600 h 4496940"/>
              <a:gd name="connsiteX117" fmla="*/ 11452 w 4519987"/>
              <a:gd name="connsiteY117" fmla="*/ 2400300 h 4496940"/>
              <a:gd name="connsiteX118" fmla="*/ 20977 w 4519987"/>
              <a:gd name="connsiteY118" fmla="*/ 1905000 h 4496940"/>
              <a:gd name="connsiteX119" fmla="*/ 30502 w 4519987"/>
              <a:gd name="connsiteY119" fmla="*/ 1838325 h 4496940"/>
              <a:gd name="connsiteX120" fmla="*/ 49552 w 4519987"/>
              <a:gd name="connsiteY120" fmla="*/ 1781175 h 4496940"/>
              <a:gd name="connsiteX121" fmla="*/ 59077 w 4519987"/>
              <a:gd name="connsiteY121" fmla="*/ 1743075 h 4496940"/>
              <a:gd name="connsiteX122" fmla="*/ 78127 w 4519987"/>
              <a:gd name="connsiteY122" fmla="*/ 1685925 h 4496940"/>
              <a:gd name="connsiteX123" fmla="*/ 87652 w 4519987"/>
              <a:gd name="connsiteY123" fmla="*/ 1638300 h 4496940"/>
              <a:gd name="connsiteX124" fmla="*/ 106702 w 4519987"/>
              <a:gd name="connsiteY124" fmla="*/ 1590675 h 4496940"/>
              <a:gd name="connsiteX125" fmla="*/ 135277 w 4519987"/>
              <a:gd name="connsiteY125" fmla="*/ 1504950 h 4496940"/>
              <a:gd name="connsiteX126" fmla="*/ 154327 w 4519987"/>
              <a:gd name="connsiteY126" fmla="*/ 1419225 h 4496940"/>
              <a:gd name="connsiteX127" fmla="*/ 230527 w 4519987"/>
              <a:gd name="connsiteY127" fmla="*/ 1276350 h 4496940"/>
              <a:gd name="connsiteX128" fmla="*/ 240052 w 4519987"/>
              <a:gd name="connsiteY128" fmla="*/ 1247775 h 4496940"/>
              <a:gd name="connsiteX129" fmla="*/ 268627 w 4519987"/>
              <a:gd name="connsiteY129" fmla="*/ 1200150 h 4496940"/>
              <a:gd name="connsiteX130" fmla="*/ 287677 w 4519987"/>
              <a:gd name="connsiteY130" fmla="*/ 1152525 h 4496940"/>
              <a:gd name="connsiteX131" fmla="*/ 316252 w 4519987"/>
              <a:gd name="connsiteY131" fmla="*/ 1114425 h 4496940"/>
              <a:gd name="connsiteX132" fmla="*/ 363877 w 4519987"/>
              <a:gd name="connsiteY132" fmla="*/ 1038225 h 4496940"/>
              <a:gd name="connsiteX133" fmla="*/ 382927 w 4519987"/>
              <a:gd name="connsiteY133" fmla="*/ 1009650 h 4496940"/>
              <a:gd name="connsiteX134" fmla="*/ 440077 w 4519987"/>
              <a:gd name="connsiteY134" fmla="*/ 904875 h 4496940"/>
              <a:gd name="connsiteX135" fmla="*/ 478177 w 4519987"/>
              <a:gd name="connsiteY135" fmla="*/ 857250 h 4496940"/>
              <a:gd name="connsiteX136" fmla="*/ 497227 w 4519987"/>
              <a:gd name="connsiteY136" fmla="*/ 828675 h 4496940"/>
              <a:gd name="connsiteX137" fmla="*/ 535327 w 4519987"/>
              <a:gd name="connsiteY137" fmla="*/ 800100 h 4496940"/>
              <a:gd name="connsiteX138" fmla="*/ 602002 w 4519987"/>
              <a:gd name="connsiteY138" fmla="*/ 733425 h 4496940"/>
              <a:gd name="connsiteX139" fmla="*/ 668677 w 4519987"/>
              <a:gd name="connsiteY139" fmla="*/ 676275 h 4496940"/>
              <a:gd name="connsiteX140" fmla="*/ 697252 w 4519987"/>
              <a:gd name="connsiteY140" fmla="*/ 657225 h 4496940"/>
              <a:gd name="connsiteX141" fmla="*/ 840127 w 4519987"/>
              <a:gd name="connsiteY141" fmla="*/ 533400 h 4496940"/>
              <a:gd name="connsiteX142" fmla="*/ 887752 w 4519987"/>
              <a:gd name="connsiteY142" fmla="*/ 504825 h 4496940"/>
              <a:gd name="connsiteX143" fmla="*/ 1167152 w 4519987"/>
              <a:gd name="connsiteY143" fmla="*/ 311150 h 4496940"/>
              <a:gd name="connsiteX144" fmla="*/ 1268752 w 4519987"/>
              <a:gd name="connsiteY144" fmla="*/ 285750 h 4496940"/>
              <a:gd name="connsiteX145" fmla="*/ 1411627 w 4519987"/>
              <a:gd name="connsiteY145" fmla="*/ 190500 h 4496940"/>
              <a:gd name="connsiteX146" fmla="*/ 1449727 w 4519987"/>
              <a:gd name="connsiteY146" fmla="*/ 161925 h 4496940"/>
              <a:gd name="connsiteX147" fmla="*/ 1525927 w 4519987"/>
              <a:gd name="connsiteY147" fmla="*/ 152400 h 4496940"/>
              <a:gd name="connsiteX148" fmla="*/ 1583077 w 4519987"/>
              <a:gd name="connsiteY148" fmla="*/ 142875 h 4496940"/>
              <a:gd name="connsiteX149" fmla="*/ 1716427 w 4519987"/>
              <a:gd name="connsiteY149" fmla="*/ 123825 h 4496940"/>
              <a:gd name="connsiteX150" fmla="*/ 1811677 w 4519987"/>
              <a:gd name="connsiteY150" fmla="*/ 114300 h 4496940"/>
              <a:gd name="connsiteX151" fmla="*/ 1859302 w 4519987"/>
              <a:gd name="connsiteY151" fmla="*/ 104775 h 4496940"/>
              <a:gd name="connsiteX152" fmla="*/ 1916452 w 4519987"/>
              <a:gd name="connsiteY152" fmla="*/ 95250 h 4496940"/>
              <a:gd name="connsiteX153" fmla="*/ 2030752 w 4519987"/>
              <a:gd name="connsiteY153" fmla="*/ 66675 h 4496940"/>
              <a:gd name="connsiteX154" fmla="*/ 2097427 w 4519987"/>
              <a:gd name="connsiteY154" fmla="*/ 47625 h 4496940"/>
              <a:gd name="connsiteX155" fmla="*/ 2164102 w 4519987"/>
              <a:gd name="connsiteY155" fmla="*/ 38100 h 4496940"/>
              <a:gd name="connsiteX156" fmla="*/ 2392702 w 4519987"/>
              <a:gd name="connsiteY15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869077 w 4519987"/>
              <a:gd name="connsiteY25" fmla="*/ 628650 h 4496940"/>
              <a:gd name="connsiteX26" fmla="*/ 3907177 w 4519987"/>
              <a:gd name="connsiteY26" fmla="*/ 647700 h 4496940"/>
              <a:gd name="connsiteX27" fmla="*/ 3935752 w 4519987"/>
              <a:gd name="connsiteY27" fmla="*/ 676275 h 4496940"/>
              <a:gd name="connsiteX28" fmla="*/ 4078627 w 4519987"/>
              <a:gd name="connsiteY28" fmla="*/ 838200 h 4496940"/>
              <a:gd name="connsiteX29" fmla="*/ 4135777 w 4519987"/>
              <a:gd name="connsiteY29" fmla="*/ 933450 h 4496940"/>
              <a:gd name="connsiteX30" fmla="*/ 4164352 w 4519987"/>
              <a:gd name="connsiteY30" fmla="*/ 990600 h 4496940"/>
              <a:gd name="connsiteX31" fmla="*/ 4173877 w 4519987"/>
              <a:gd name="connsiteY31" fmla="*/ 1019175 h 4496940"/>
              <a:gd name="connsiteX32" fmla="*/ 4192927 w 4519987"/>
              <a:gd name="connsiteY32" fmla="*/ 1057275 h 4496940"/>
              <a:gd name="connsiteX33" fmla="*/ 4202452 w 4519987"/>
              <a:gd name="connsiteY33" fmla="*/ 1085850 h 4496940"/>
              <a:gd name="connsiteX34" fmla="*/ 4250077 w 4519987"/>
              <a:gd name="connsiteY34" fmla="*/ 1143000 h 4496940"/>
              <a:gd name="connsiteX35" fmla="*/ 4259602 w 4519987"/>
              <a:gd name="connsiteY35" fmla="*/ 1190625 h 4496940"/>
              <a:gd name="connsiteX36" fmla="*/ 4307227 w 4519987"/>
              <a:gd name="connsiteY36" fmla="*/ 1266825 h 4496940"/>
              <a:gd name="connsiteX37" fmla="*/ 4345327 w 4519987"/>
              <a:gd name="connsiteY37" fmla="*/ 1362075 h 4496940"/>
              <a:gd name="connsiteX38" fmla="*/ 4373902 w 4519987"/>
              <a:gd name="connsiteY38" fmla="*/ 1428750 h 4496940"/>
              <a:gd name="connsiteX39" fmla="*/ 4392952 w 4519987"/>
              <a:gd name="connsiteY39" fmla="*/ 1552575 h 4496940"/>
              <a:gd name="connsiteX40" fmla="*/ 4402477 w 4519987"/>
              <a:gd name="connsiteY40" fmla="*/ 1590675 h 4496940"/>
              <a:gd name="connsiteX41" fmla="*/ 4431052 w 4519987"/>
              <a:gd name="connsiteY41" fmla="*/ 1685925 h 4496940"/>
              <a:gd name="connsiteX42" fmla="*/ 4519952 w 4519987"/>
              <a:gd name="connsiteY42" fmla="*/ 2181225 h 4496940"/>
              <a:gd name="connsiteX43" fmla="*/ 4446927 w 4519987"/>
              <a:gd name="connsiteY43" fmla="*/ 2768600 h 4496940"/>
              <a:gd name="connsiteX44" fmla="*/ 4383427 w 4519987"/>
              <a:gd name="connsiteY44" fmla="*/ 2990850 h 4496940"/>
              <a:gd name="connsiteX45" fmla="*/ 4278652 w 4519987"/>
              <a:gd name="connsiteY45" fmla="*/ 3248025 h 4496940"/>
              <a:gd name="connsiteX46" fmla="*/ 4259602 w 4519987"/>
              <a:gd name="connsiteY46" fmla="*/ 3276600 h 4496940"/>
              <a:gd name="connsiteX47" fmla="*/ 4221502 w 4519987"/>
              <a:gd name="connsiteY47" fmla="*/ 3333750 h 4496940"/>
              <a:gd name="connsiteX48" fmla="*/ 4211977 w 4519987"/>
              <a:gd name="connsiteY48" fmla="*/ 3362325 h 4496940"/>
              <a:gd name="connsiteX49" fmla="*/ 4183402 w 4519987"/>
              <a:gd name="connsiteY49" fmla="*/ 3400425 h 4496940"/>
              <a:gd name="connsiteX50" fmla="*/ 4164352 w 4519987"/>
              <a:gd name="connsiteY50" fmla="*/ 3429000 h 4496940"/>
              <a:gd name="connsiteX51" fmla="*/ 4088152 w 4519987"/>
              <a:gd name="connsiteY51" fmla="*/ 3495675 h 4496940"/>
              <a:gd name="connsiteX52" fmla="*/ 4059577 w 4519987"/>
              <a:gd name="connsiteY52" fmla="*/ 3533775 h 4496940"/>
              <a:gd name="connsiteX53" fmla="*/ 4002427 w 4519987"/>
              <a:gd name="connsiteY53" fmla="*/ 3600450 h 4496940"/>
              <a:gd name="connsiteX54" fmla="*/ 3983377 w 4519987"/>
              <a:gd name="connsiteY54" fmla="*/ 3629025 h 4496940"/>
              <a:gd name="connsiteX55" fmla="*/ 3954802 w 4519987"/>
              <a:gd name="connsiteY55" fmla="*/ 3648075 h 4496940"/>
              <a:gd name="connsiteX56" fmla="*/ 3907177 w 4519987"/>
              <a:gd name="connsiteY56" fmla="*/ 3686175 h 4496940"/>
              <a:gd name="connsiteX57" fmla="*/ 3869077 w 4519987"/>
              <a:gd name="connsiteY57" fmla="*/ 3724275 h 4496940"/>
              <a:gd name="connsiteX58" fmla="*/ 3792877 w 4519987"/>
              <a:gd name="connsiteY58" fmla="*/ 3781425 h 4496940"/>
              <a:gd name="connsiteX59" fmla="*/ 3783352 w 4519987"/>
              <a:gd name="connsiteY59" fmla="*/ 3810000 h 4496940"/>
              <a:gd name="connsiteX60" fmla="*/ 3745252 w 4519987"/>
              <a:gd name="connsiteY60" fmla="*/ 3819525 h 4496940"/>
              <a:gd name="connsiteX61" fmla="*/ 3678577 w 4519987"/>
              <a:gd name="connsiteY61" fmla="*/ 3848100 h 4496940"/>
              <a:gd name="connsiteX62" fmla="*/ 3659527 w 4519987"/>
              <a:gd name="connsiteY62" fmla="*/ 3971925 h 4496940"/>
              <a:gd name="connsiteX63" fmla="*/ 3630952 w 4519987"/>
              <a:gd name="connsiteY63" fmla="*/ 4010025 h 4496940"/>
              <a:gd name="connsiteX64" fmla="*/ 3621427 w 4519987"/>
              <a:gd name="connsiteY64" fmla="*/ 4038600 h 4496940"/>
              <a:gd name="connsiteX65" fmla="*/ 3554752 w 4519987"/>
              <a:gd name="connsiteY65" fmla="*/ 4095750 h 4496940"/>
              <a:gd name="connsiteX66" fmla="*/ 3516652 w 4519987"/>
              <a:gd name="connsiteY66" fmla="*/ 4114800 h 4496940"/>
              <a:gd name="connsiteX67" fmla="*/ 3497602 w 4519987"/>
              <a:gd name="connsiteY67" fmla="*/ 4143375 h 4496940"/>
              <a:gd name="connsiteX68" fmla="*/ 3383302 w 4519987"/>
              <a:gd name="connsiteY68" fmla="*/ 4210050 h 4496940"/>
              <a:gd name="connsiteX69" fmla="*/ 3335677 w 4519987"/>
              <a:gd name="connsiteY69" fmla="*/ 4238625 h 4496940"/>
              <a:gd name="connsiteX70" fmla="*/ 3288052 w 4519987"/>
              <a:gd name="connsiteY70" fmla="*/ 4248150 h 4496940"/>
              <a:gd name="connsiteX71" fmla="*/ 3240427 w 4519987"/>
              <a:gd name="connsiteY71" fmla="*/ 4267200 h 4496940"/>
              <a:gd name="connsiteX72" fmla="*/ 3068977 w 4519987"/>
              <a:gd name="connsiteY72" fmla="*/ 4286250 h 4496940"/>
              <a:gd name="connsiteX73" fmla="*/ 2935627 w 4519987"/>
              <a:gd name="connsiteY73" fmla="*/ 4333875 h 4496940"/>
              <a:gd name="connsiteX74" fmla="*/ 2811802 w 4519987"/>
              <a:gd name="connsiteY74" fmla="*/ 4371975 h 4496940"/>
              <a:gd name="connsiteX75" fmla="*/ 2745127 w 4519987"/>
              <a:gd name="connsiteY75" fmla="*/ 4410075 h 4496940"/>
              <a:gd name="connsiteX76" fmla="*/ 2697502 w 4519987"/>
              <a:gd name="connsiteY76" fmla="*/ 4429125 h 4496940"/>
              <a:gd name="connsiteX77" fmla="*/ 2640352 w 4519987"/>
              <a:gd name="connsiteY77" fmla="*/ 4457700 h 4496940"/>
              <a:gd name="connsiteX78" fmla="*/ 2583202 w 4519987"/>
              <a:gd name="connsiteY78" fmla="*/ 4467225 h 4496940"/>
              <a:gd name="connsiteX79" fmla="*/ 2545102 w 4519987"/>
              <a:gd name="connsiteY79" fmla="*/ 4486275 h 4496940"/>
              <a:gd name="connsiteX80" fmla="*/ 2306977 w 4519987"/>
              <a:gd name="connsiteY80" fmla="*/ 4476750 h 4496940"/>
              <a:gd name="connsiteX81" fmla="*/ 2202202 w 4519987"/>
              <a:gd name="connsiteY81" fmla="*/ 4457700 h 4496940"/>
              <a:gd name="connsiteX82" fmla="*/ 2126002 w 4519987"/>
              <a:gd name="connsiteY82" fmla="*/ 4429125 h 4496940"/>
              <a:gd name="connsiteX83" fmla="*/ 1935502 w 4519987"/>
              <a:gd name="connsiteY83" fmla="*/ 4400550 h 4496940"/>
              <a:gd name="connsiteX84" fmla="*/ 1821202 w 4519987"/>
              <a:gd name="connsiteY84" fmla="*/ 4371975 h 4496940"/>
              <a:gd name="connsiteX85" fmla="*/ 1754527 w 4519987"/>
              <a:gd name="connsiteY85" fmla="*/ 4352925 h 4496940"/>
              <a:gd name="connsiteX86" fmla="*/ 1687852 w 4519987"/>
              <a:gd name="connsiteY86" fmla="*/ 4343400 h 4496940"/>
              <a:gd name="connsiteX87" fmla="*/ 1573552 w 4519987"/>
              <a:gd name="connsiteY87" fmla="*/ 4305300 h 4496940"/>
              <a:gd name="connsiteX88" fmla="*/ 1402102 w 4519987"/>
              <a:gd name="connsiteY88" fmla="*/ 4276725 h 4496940"/>
              <a:gd name="connsiteX89" fmla="*/ 1287802 w 4519987"/>
              <a:gd name="connsiteY89" fmla="*/ 4229100 h 4496940"/>
              <a:gd name="connsiteX90" fmla="*/ 1221127 w 4519987"/>
              <a:gd name="connsiteY90" fmla="*/ 4200525 h 4496940"/>
              <a:gd name="connsiteX91" fmla="*/ 1144927 w 4519987"/>
              <a:gd name="connsiteY91" fmla="*/ 4171950 h 4496940"/>
              <a:gd name="connsiteX92" fmla="*/ 1087777 w 4519987"/>
              <a:gd name="connsiteY92" fmla="*/ 4143375 h 4496940"/>
              <a:gd name="connsiteX93" fmla="*/ 1030627 w 4519987"/>
              <a:gd name="connsiteY93" fmla="*/ 4124325 h 4496940"/>
              <a:gd name="connsiteX94" fmla="*/ 925852 w 4519987"/>
              <a:gd name="connsiteY94" fmla="*/ 4067175 h 4496940"/>
              <a:gd name="connsiteX95" fmla="*/ 830602 w 4519987"/>
              <a:gd name="connsiteY95" fmla="*/ 3981450 h 4496940"/>
              <a:gd name="connsiteX96" fmla="*/ 763927 w 4519987"/>
              <a:gd name="connsiteY96" fmla="*/ 3914775 h 4496940"/>
              <a:gd name="connsiteX97" fmla="*/ 725827 w 4519987"/>
              <a:gd name="connsiteY97" fmla="*/ 3876675 h 4496940"/>
              <a:gd name="connsiteX98" fmla="*/ 697252 w 4519987"/>
              <a:gd name="connsiteY98" fmla="*/ 3838575 h 4496940"/>
              <a:gd name="connsiteX99" fmla="*/ 640102 w 4519987"/>
              <a:gd name="connsiteY99" fmla="*/ 3781425 h 4496940"/>
              <a:gd name="connsiteX100" fmla="*/ 611527 w 4519987"/>
              <a:gd name="connsiteY100" fmla="*/ 3733800 h 4496940"/>
              <a:gd name="connsiteX101" fmla="*/ 554377 w 4519987"/>
              <a:gd name="connsiteY101" fmla="*/ 3657600 h 4496940"/>
              <a:gd name="connsiteX102" fmla="*/ 525802 w 4519987"/>
              <a:gd name="connsiteY102" fmla="*/ 3609975 h 4496940"/>
              <a:gd name="connsiteX103" fmla="*/ 497227 w 4519987"/>
              <a:gd name="connsiteY103" fmla="*/ 3552825 h 4496940"/>
              <a:gd name="connsiteX104" fmla="*/ 440077 w 4519987"/>
              <a:gd name="connsiteY104" fmla="*/ 3495675 h 4496940"/>
              <a:gd name="connsiteX105" fmla="*/ 411502 w 4519987"/>
              <a:gd name="connsiteY105" fmla="*/ 3448050 h 4496940"/>
              <a:gd name="connsiteX106" fmla="*/ 278152 w 4519987"/>
              <a:gd name="connsiteY106" fmla="*/ 3257550 h 4496940"/>
              <a:gd name="connsiteX107" fmla="*/ 249577 w 4519987"/>
              <a:gd name="connsiteY107" fmla="*/ 3200400 h 4496940"/>
              <a:gd name="connsiteX108" fmla="*/ 240052 w 4519987"/>
              <a:gd name="connsiteY108" fmla="*/ 3162300 h 4496940"/>
              <a:gd name="connsiteX109" fmla="*/ 221002 w 4519987"/>
              <a:gd name="connsiteY109" fmla="*/ 3105150 h 4496940"/>
              <a:gd name="connsiteX110" fmla="*/ 173377 w 4519987"/>
              <a:gd name="connsiteY110" fmla="*/ 3019425 h 4496940"/>
              <a:gd name="connsiteX111" fmla="*/ 144802 w 4519987"/>
              <a:gd name="connsiteY111" fmla="*/ 2924175 h 4496940"/>
              <a:gd name="connsiteX112" fmla="*/ 68602 w 4519987"/>
              <a:gd name="connsiteY112" fmla="*/ 2724150 h 4496940"/>
              <a:gd name="connsiteX113" fmla="*/ 49552 w 4519987"/>
              <a:gd name="connsiteY113" fmla="*/ 2638425 h 4496940"/>
              <a:gd name="connsiteX114" fmla="*/ 40027 w 4519987"/>
              <a:gd name="connsiteY114" fmla="*/ 2562225 h 4496940"/>
              <a:gd name="connsiteX115" fmla="*/ 30502 w 4519987"/>
              <a:gd name="connsiteY115" fmla="*/ 2514600 h 4496940"/>
              <a:gd name="connsiteX116" fmla="*/ 11452 w 4519987"/>
              <a:gd name="connsiteY116" fmla="*/ 2400300 h 4496940"/>
              <a:gd name="connsiteX117" fmla="*/ 20977 w 4519987"/>
              <a:gd name="connsiteY117" fmla="*/ 1905000 h 4496940"/>
              <a:gd name="connsiteX118" fmla="*/ 30502 w 4519987"/>
              <a:gd name="connsiteY118" fmla="*/ 1838325 h 4496940"/>
              <a:gd name="connsiteX119" fmla="*/ 49552 w 4519987"/>
              <a:gd name="connsiteY119" fmla="*/ 1781175 h 4496940"/>
              <a:gd name="connsiteX120" fmla="*/ 59077 w 4519987"/>
              <a:gd name="connsiteY120" fmla="*/ 1743075 h 4496940"/>
              <a:gd name="connsiteX121" fmla="*/ 78127 w 4519987"/>
              <a:gd name="connsiteY121" fmla="*/ 1685925 h 4496940"/>
              <a:gd name="connsiteX122" fmla="*/ 87652 w 4519987"/>
              <a:gd name="connsiteY122" fmla="*/ 1638300 h 4496940"/>
              <a:gd name="connsiteX123" fmla="*/ 106702 w 4519987"/>
              <a:gd name="connsiteY123" fmla="*/ 1590675 h 4496940"/>
              <a:gd name="connsiteX124" fmla="*/ 135277 w 4519987"/>
              <a:gd name="connsiteY124" fmla="*/ 1504950 h 4496940"/>
              <a:gd name="connsiteX125" fmla="*/ 154327 w 4519987"/>
              <a:gd name="connsiteY125" fmla="*/ 1419225 h 4496940"/>
              <a:gd name="connsiteX126" fmla="*/ 230527 w 4519987"/>
              <a:gd name="connsiteY126" fmla="*/ 1276350 h 4496940"/>
              <a:gd name="connsiteX127" fmla="*/ 240052 w 4519987"/>
              <a:gd name="connsiteY127" fmla="*/ 1247775 h 4496940"/>
              <a:gd name="connsiteX128" fmla="*/ 268627 w 4519987"/>
              <a:gd name="connsiteY128" fmla="*/ 1200150 h 4496940"/>
              <a:gd name="connsiteX129" fmla="*/ 287677 w 4519987"/>
              <a:gd name="connsiteY129" fmla="*/ 1152525 h 4496940"/>
              <a:gd name="connsiteX130" fmla="*/ 316252 w 4519987"/>
              <a:gd name="connsiteY130" fmla="*/ 1114425 h 4496940"/>
              <a:gd name="connsiteX131" fmla="*/ 363877 w 4519987"/>
              <a:gd name="connsiteY131" fmla="*/ 1038225 h 4496940"/>
              <a:gd name="connsiteX132" fmla="*/ 382927 w 4519987"/>
              <a:gd name="connsiteY132" fmla="*/ 1009650 h 4496940"/>
              <a:gd name="connsiteX133" fmla="*/ 440077 w 4519987"/>
              <a:gd name="connsiteY133" fmla="*/ 904875 h 4496940"/>
              <a:gd name="connsiteX134" fmla="*/ 478177 w 4519987"/>
              <a:gd name="connsiteY134" fmla="*/ 857250 h 4496940"/>
              <a:gd name="connsiteX135" fmla="*/ 497227 w 4519987"/>
              <a:gd name="connsiteY135" fmla="*/ 828675 h 4496940"/>
              <a:gd name="connsiteX136" fmla="*/ 535327 w 4519987"/>
              <a:gd name="connsiteY136" fmla="*/ 800100 h 4496940"/>
              <a:gd name="connsiteX137" fmla="*/ 602002 w 4519987"/>
              <a:gd name="connsiteY137" fmla="*/ 733425 h 4496940"/>
              <a:gd name="connsiteX138" fmla="*/ 668677 w 4519987"/>
              <a:gd name="connsiteY138" fmla="*/ 676275 h 4496940"/>
              <a:gd name="connsiteX139" fmla="*/ 697252 w 4519987"/>
              <a:gd name="connsiteY139" fmla="*/ 657225 h 4496940"/>
              <a:gd name="connsiteX140" fmla="*/ 840127 w 4519987"/>
              <a:gd name="connsiteY140" fmla="*/ 533400 h 4496940"/>
              <a:gd name="connsiteX141" fmla="*/ 887752 w 4519987"/>
              <a:gd name="connsiteY141" fmla="*/ 504825 h 4496940"/>
              <a:gd name="connsiteX142" fmla="*/ 1167152 w 4519987"/>
              <a:gd name="connsiteY142" fmla="*/ 311150 h 4496940"/>
              <a:gd name="connsiteX143" fmla="*/ 1268752 w 4519987"/>
              <a:gd name="connsiteY143" fmla="*/ 285750 h 4496940"/>
              <a:gd name="connsiteX144" fmla="*/ 1411627 w 4519987"/>
              <a:gd name="connsiteY144" fmla="*/ 190500 h 4496940"/>
              <a:gd name="connsiteX145" fmla="*/ 1449727 w 4519987"/>
              <a:gd name="connsiteY145" fmla="*/ 161925 h 4496940"/>
              <a:gd name="connsiteX146" fmla="*/ 1525927 w 4519987"/>
              <a:gd name="connsiteY146" fmla="*/ 152400 h 4496940"/>
              <a:gd name="connsiteX147" fmla="*/ 1583077 w 4519987"/>
              <a:gd name="connsiteY147" fmla="*/ 142875 h 4496940"/>
              <a:gd name="connsiteX148" fmla="*/ 1716427 w 4519987"/>
              <a:gd name="connsiteY148" fmla="*/ 123825 h 4496940"/>
              <a:gd name="connsiteX149" fmla="*/ 1811677 w 4519987"/>
              <a:gd name="connsiteY149" fmla="*/ 114300 h 4496940"/>
              <a:gd name="connsiteX150" fmla="*/ 1859302 w 4519987"/>
              <a:gd name="connsiteY150" fmla="*/ 104775 h 4496940"/>
              <a:gd name="connsiteX151" fmla="*/ 1916452 w 4519987"/>
              <a:gd name="connsiteY151" fmla="*/ 95250 h 4496940"/>
              <a:gd name="connsiteX152" fmla="*/ 2030752 w 4519987"/>
              <a:gd name="connsiteY152" fmla="*/ 66675 h 4496940"/>
              <a:gd name="connsiteX153" fmla="*/ 2097427 w 4519987"/>
              <a:gd name="connsiteY153" fmla="*/ 47625 h 4496940"/>
              <a:gd name="connsiteX154" fmla="*/ 2164102 w 4519987"/>
              <a:gd name="connsiteY154" fmla="*/ 38100 h 4496940"/>
              <a:gd name="connsiteX155" fmla="*/ 2392702 w 4519987"/>
              <a:gd name="connsiteY15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840502 w 4519987"/>
              <a:gd name="connsiteY24" fmla="*/ 600075 h 4496940"/>
              <a:gd name="connsiteX25" fmla="*/ 3907177 w 4519987"/>
              <a:gd name="connsiteY25" fmla="*/ 647700 h 4496940"/>
              <a:gd name="connsiteX26" fmla="*/ 3935752 w 4519987"/>
              <a:gd name="connsiteY26" fmla="*/ 676275 h 4496940"/>
              <a:gd name="connsiteX27" fmla="*/ 4078627 w 4519987"/>
              <a:gd name="connsiteY27" fmla="*/ 838200 h 4496940"/>
              <a:gd name="connsiteX28" fmla="*/ 4135777 w 4519987"/>
              <a:gd name="connsiteY28" fmla="*/ 933450 h 4496940"/>
              <a:gd name="connsiteX29" fmla="*/ 4164352 w 4519987"/>
              <a:gd name="connsiteY29" fmla="*/ 990600 h 4496940"/>
              <a:gd name="connsiteX30" fmla="*/ 4173877 w 4519987"/>
              <a:gd name="connsiteY30" fmla="*/ 1019175 h 4496940"/>
              <a:gd name="connsiteX31" fmla="*/ 4192927 w 4519987"/>
              <a:gd name="connsiteY31" fmla="*/ 1057275 h 4496940"/>
              <a:gd name="connsiteX32" fmla="*/ 4202452 w 4519987"/>
              <a:gd name="connsiteY32" fmla="*/ 1085850 h 4496940"/>
              <a:gd name="connsiteX33" fmla="*/ 4250077 w 4519987"/>
              <a:gd name="connsiteY33" fmla="*/ 1143000 h 4496940"/>
              <a:gd name="connsiteX34" fmla="*/ 4259602 w 4519987"/>
              <a:gd name="connsiteY34" fmla="*/ 1190625 h 4496940"/>
              <a:gd name="connsiteX35" fmla="*/ 4307227 w 4519987"/>
              <a:gd name="connsiteY35" fmla="*/ 1266825 h 4496940"/>
              <a:gd name="connsiteX36" fmla="*/ 4345327 w 4519987"/>
              <a:gd name="connsiteY36" fmla="*/ 1362075 h 4496940"/>
              <a:gd name="connsiteX37" fmla="*/ 4373902 w 4519987"/>
              <a:gd name="connsiteY37" fmla="*/ 1428750 h 4496940"/>
              <a:gd name="connsiteX38" fmla="*/ 4392952 w 4519987"/>
              <a:gd name="connsiteY38" fmla="*/ 1552575 h 4496940"/>
              <a:gd name="connsiteX39" fmla="*/ 4402477 w 4519987"/>
              <a:gd name="connsiteY39" fmla="*/ 1590675 h 4496940"/>
              <a:gd name="connsiteX40" fmla="*/ 4431052 w 4519987"/>
              <a:gd name="connsiteY40" fmla="*/ 1685925 h 4496940"/>
              <a:gd name="connsiteX41" fmla="*/ 4519952 w 4519987"/>
              <a:gd name="connsiteY41" fmla="*/ 2181225 h 4496940"/>
              <a:gd name="connsiteX42" fmla="*/ 4446927 w 4519987"/>
              <a:gd name="connsiteY42" fmla="*/ 2768600 h 4496940"/>
              <a:gd name="connsiteX43" fmla="*/ 4383427 w 4519987"/>
              <a:gd name="connsiteY43" fmla="*/ 2990850 h 4496940"/>
              <a:gd name="connsiteX44" fmla="*/ 4278652 w 4519987"/>
              <a:gd name="connsiteY44" fmla="*/ 3248025 h 4496940"/>
              <a:gd name="connsiteX45" fmla="*/ 4259602 w 4519987"/>
              <a:gd name="connsiteY45" fmla="*/ 3276600 h 4496940"/>
              <a:gd name="connsiteX46" fmla="*/ 4221502 w 4519987"/>
              <a:gd name="connsiteY46" fmla="*/ 3333750 h 4496940"/>
              <a:gd name="connsiteX47" fmla="*/ 4211977 w 4519987"/>
              <a:gd name="connsiteY47" fmla="*/ 3362325 h 4496940"/>
              <a:gd name="connsiteX48" fmla="*/ 4183402 w 4519987"/>
              <a:gd name="connsiteY48" fmla="*/ 3400425 h 4496940"/>
              <a:gd name="connsiteX49" fmla="*/ 4164352 w 4519987"/>
              <a:gd name="connsiteY49" fmla="*/ 3429000 h 4496940"/>
              <a:gd name="connsiteX50" fmla="*/ 4088152 w 4519987"/>
              <a:gd name="connsiteY50" fmla="*/ 3495675 h 4496940"/>
              <a:gd name="connsiteX51" fmla="*/ 4059577 w 4519987"/>
              <a:gd name="connsiteY51" fmla="*/ 3533775 h 4496940"/>
              <a:gd name="connsiteX52" fmla="*/ 4002427 w 4519987"/>
              <a:gd name="connsiteY52" fmla="*/ 3600450 h 4496940"/>
              <a:gd name="connsiteX53" fmla="*/ 3983377 w 4519987"/>
              <a:gd name="connsiteY53" fmla="*/ 3629025 h 4496940"/>
              <a:gd name="connsiteX54" fmla="*/ 3954802 w 4519987"/>
              <a:gd name="connsiteY54" fmla="*/ 3648075 h 4496940"/>
              <a:gd name="connsiteX55" fmla="*/ 3907177 w 4519987"/>
              <a:gd name="connsiteY55" fmla="*/ 3686175 h 4496940"/>
              <a:gd name="connsiteX56" fmla="*/ 3869077 w 4519987"/>
              <a:gd name="connsiteY56" fmla="*/ 3724275 h 4496940"/>
              <a:gd name="connsiteX57" fmla="*/ 3792877 w 4519987"/>
              <a:gd name="connsiteY57" fmla="*/ 3781425 h 4496940"/>
              <a:gd name="connsiteX58" fmla="*/ 3783352 w 4519987"/>
              <a:gd name="connsiteY58" fmla="*/ 3810000 h 4496940"/>
              <a:gd name="connsiteX59" fmla="*/ 3745252 w 4519987"/>
              <a:gd name="connsiteY59" fmla="*/ 3819525 h 4496940"/>
              <a:gd name="connsiteX60" fmla="*/ 3678577 w 4519987"/>
              <a:gd name="connsiteY60" fmla="*/ 3848100 h 4496940"/>
              <a:gd name="connsiteX61" fmla="*/ 3659527 w 4519987"/>
              <a:gd name="connsiteY61" fmla="*/ 3971925 h 4496940"/>
              <a:gd name="connsiteX62" fmla="*/ 3630952 w 4519987"/>
              <a:gd name="connsiteY62" fmla="*/ 4010025 h 4496940"/>
              <a:gd name="connsiteX63" fmla="*/ 3621427 w 4519987"/>
              <a:gd name="connsiteY63" fmla="*/ 4038600 h 4496940"/>
              <a:gd name="connsiteX64" fmla="*/ 3554752 w 4519987"/>
              <a:gd name="connsiteY64" fmla="*/ 4095750 h 4496940"/>
              <a:gd name="connsiteX65" fmla="*/ 3516652 w 4519987"/>
              <a:gd name="connsiteY65" fmla="*/ 4114800 h 4496940"/>
              <a:gd name="connsiteX66" fmla="*/ 3497602 w 4519987"/>
              <a:gd name="connsiteY66" fmla="*/ 4143375 h 4496940"/>
              <a:gd name="connsiteX67" fmla="*/ 3383302 w 4519987"/>
              <a:gd name="connsiteY67" fmla="*/ 4210050 h 4496940"/>
              <a:gd name="connsiteX68" fmla="*/ 3335677 w 4519987"/>
              <a:gd name="connsiteY68" fmla="*/ 4238625 h 4496940"/>
              <a:gd name="connsiteX69" fmla="*/ 3288052 w 4519987"/>
              <a:gd name="connsiteY69" fmla="*/ 4248150 h 4496940"/>
              <a:gd name="connsiteX70" fmla="*/ 3240427 w 4519987"/>
              <a:gd name="connsiteY70" fmla="*/ 4267200 h 4496940"/>
              <a:gd name="connsiteX71" fmla="*/ 3068977 w 4519987"/>
              <a:gd name="connsiteY71" fmla="*/ 4286250 h 4496940"/>
              <a:gd name="connsiteX72" fmla="*/ 2935627 w 4519987"/>
              <a:gd name="connsiteY72" fmla="*/ 4333875 h 4496940"/>
              <a:gd name="connsiteX73" fmla="*/ 2811802 w 4519987"/>
              <a:gd name="connsiteY73" fmla="*/ 4371975 h 4496940"/>
              <a:gd name="connsiteX74" fmla="*/ 2745127 w 4519987"/>
              <a:gd name="connsiteY74" fmla="*/ 4410075 h 4496940"/>
              <a:gd name="connsiteX75" fmla="*/ 2697502 w 4519987"/>
              <a:gd name="connsiteY75" fmla="*/ 4429125 h 4496940"/>
              <a:gd name="connsiteX76" fmla="*/ 2640352 w 4519987"/>
              <a:gd name="connsiteY76" fmla="*/ 4457700 h 4496940"/>
              <a:gd name="connsiteX77" fmla="*/ 2583202 w 4519987"/>
              <a:gd name="connsiteY77" fmla="*/ 4467225 h 4496940"/>
              <a:gd name="connsiteX78" fmla="*/ 2545102 w 4519987"/>
              <a:gd name="connsiteY78" fmla="*/ 4486275 h 4496940"/>
              <a:gd name="connsiteX79" fmla="*/ 2306977 w 4519987"/>
              <a:gd name="connsiteY79" fmla="*/ 4476750 h 4496940"/>
              <a:gd name="connsiteX80" fmla="*/ 2202202 w 4519987"/>
              <a:gd name="connsiteY80" fmla="*/ 4457700 h 4496940"/>
              <a:gd name="connsiteX81" fmla="*/ 2126002 w 4519987"/>
              <a:gd name="connsiteY81" fmla="*/ 4429125 h 4496940"/>
              <a:gd name="connsiteX82" fmla="*/ 1935502 w 4519987"/>
              <a:gd name="connsiteY82" fmla="*/ 4400550 h 4496940"/>
              <a:gd name="connsiteX83" fmla="*/ 1821202 w 4519987"/>
              <a:gd name="connsiteY83" fmla="*/ 4371975 h 4496940"/>
              <a:gd name="connsiteX84" fmla="*/ 1754527 w 4519987"/>
              <a:gd name="connsiteY84" fmla="*/ 4352925 h 4496940"/>
              <a:gd name="connsiteX85" fmla="*/ 1687852 w 4519987"/>
              <a:gd name="connsiteY85" fmla="*/ 4343400 h 4496940"/>
              <a:gd name="connsiteX86" fmla="*/ 1573552 w 4519987"/>
              <a:gd name="connsiteY86" fmla="*/ 4305300 h 4496940"/>
              <a:gd name="connsiteX87" fmla="*/ 1402102 w 4519987"/>
              <a:gd name="connsiteY87" fmla="*/ 4276725 h 4496940"/>
              <a:gd name="connsiteX88" fmla="*/ 1287802 w 4519987"/>
              <a:gd name="connsiteY88" fmla="*/ 4229100 h 4496940"/>
              <a:gd name="connsiteX89" fmla="*/ 1221127 w 4519987"/>
              <a:gd name="connsiteY89" fmla="*/ 4200525 h 4496940"/>
              <a:gd name="connsiteX90" fmla="*/ 1144927 w 4519987"/>
              <a:gd name="connsiteY90" fmla="*/ 4171950 h 4496940"/>
              <a:gd name="connsiteX91" fmla="*/ 1087777 w 4519987"/>
              <a:gd name="connsiteY91" fmla="*/ 4143375 h 4496940"/>
              <a:gd name="connsiteX92" fmla="*/ 1030627 w 4519987"/>
              <a:gd name="connsiteY92" fmla="*/ 4124325 h 4496940"/>
              <a:gd name="connsiteX93" fmla="*/ 925852 w 4519987"/>
              <a:gd name="connsiteY93" fmla="*/ 4067175 h 4496940"/>
              <a:gd name="connsiteX94" fmla="*/ 830602 w 4519987"/>
              <a:gd name="connsiteY94" fmla="*/ 3981450 h 4496940"/>
              <a:gd name="connsiteX95" fmla="*/ 763927 w 4519987"/>
              <a:gd name="connsiteY95" fmla="*/ 3914775 h 4496940"/>
              <a:gd name="connsiteX96" fmla="*/ 725827 w 4519987"/>
              <a:gd name="connsiteY96" fmla="*/ 3876675 h 4496940"/>
              <a:gd name="connsiteX97" fmla="*/ 697252 w 4519987"/>
              <a:gd name="connsiteY97" fmla="*/ 3838575 h 4496940"/>
              <a:gd name="connsiteX98" fmla="*/ 640102 w 4519987"/>
              <a:gd name="connsiteY98" fmla="*/ 3781425 h 4496940"/>
              <a:gd name="connsiteX99" fmla="*/ 611527 w 4519987"/>
              <a:gd name="connsiteY99" fmla="*/ 3733800 h 4496940"/>
              <a:gd name="connsiteX100" fmla="*/ 554377 w 4519987"/>
              <a:gd name="connsiteY100" fmla="*/ 3657600 h 4496940"/>
              <a:gd name="connsiteX101" fmla="*/ 525802 w 4519987"/>
              <a:gd name="connsiteY101" fmla="*/ 3609975 h 4496940"/>
              <a:gd name="connsiteX102" fmla="*/ 497227 w 4519987"/>
              <a:gd name="connsiteY102" fmla="*/ 3552825 h 4496940"/>
              <a:gd name="connsiteX103" fmla="*/ 440077 w 4519987"/>
              <a:gd name="connsiteY103" fmla="*/ 3495675 h 4496940"/>
              <a:gd name="connsiteX104" fmla="*/ 411502 w 4519987"/>
              <a:gd name="connsiteY104" fmla="*/ 3448050 h 4496940"/>
              <a:gd name="connsiteX105" fmla="*/ 278152 w 4519987"/>
              <a:gd name="connsiteY105" fmla="*/ 3257550 h 4496940"/>
              <a:gd name="connsiteX106" fmla="*/ 249577 w 4519987"/>
              <a:gd name="connsiteY106" fmla="*/ 3200400 h 4496940"/>
              <a:gd name="connsiteX107" fmla="*/ 240052 w 4519987"/>
              <a:gd name="connsiteY107" fmla="*/ 3162300 h 4496940"/>
              <a:gd name="connsiteX108" fmla="*/ 221002 w 4519987"/>
              <a:gd name="connsiteY108" fmla="*/ 3105150 h 4496940"/>
              <a:gd name="connsiteX109" fmla="*/ 173377 w 4519987"/>
              <a:gd name="connsiteY109" fmla="*/ 3019425 h 4496940"/>
              <a:gd name="connsiteX110" fmla="*/ 144802 w 4519987"/>
              <a:gd name="connsiteY110" fmla="*/ 2924175 h 4496940"/>
              <a:gd name="connsiteX111" fmla="*/ 68602 w 4519987"/>
              <a:gd name="connsiteY111" fmla="*/ 2724150 h 4496940"/>
              <a:gd name="connsiteX112" fmla="*/ 49552 w 4519987"/>
              <a:gd name="connsiteY112" fmla="*/ 2638425 h 4496940"/>
              <a:gd name="connsiteX113" fmla="*/ 40027 w 4519987"/>
              <a:gd name="connsiteY113" fmla="*/ 2562225 h 4496940"/>
              <a:gd name="connsiteX114" fmla="*/ 30502 w 4519987"/>
              <a:gd name="connsiteY114" fmla="*/ 2514600 h 4496940"/>
              <a:gd name="connsiteX115" fmla="*/ 11452 w 4519987"/>
              <a:gd name="connsiteY115" fmla="*/ 2400300 h 4496940"/>
              <a:gd name="connsiteX116" fmla="*/ 20977 w 4519987"/>
              <a:gd name="connsiteY116" fmla="*/ 1905000 h 4496940"/>
              <a:gd name="connsiteX117" fmla="*/ 30502 w 4519987"/>
              <a:gd name="connsiteY117" fmla="*/ 1838325 h 4496940"/>
              <a:gd name="connsiteX118" fmla="*/ 49552 w 4519987"/>
              <a:gd name="connsiteY118" fmla="*/ 1781175 h 4496940"/>
              <a:gd name="connsiteX119" fmla="*/ 59077 w 4519987"/>
              <a:gd name="connsiteY119" fmla="*/ 1743075 h 4496940"/>
              <a:gd name="connsiteX120" fmla="*/ 78127 w 4519987"/>
              <a:gd name="connsiteY120" fmla="*/ 1685925 h 4496940"/>
              <a:gd name="connsiteX121" fmla="*/ 87652 w 4519987"/>
              <a:gd name="connsiteY121" fmla="*/ 1638300 h 4496940"/>
              <a:gd name="connsiteX122" fmla="*/ 106702 w 4519987"/>
              <a:gd name="connsiteY122" fmla="*/ 1590675 h 4496940"/>
              <a:gd name="connsiteX123" fmla="*/ 135277 w 4519987"/>
              <a:gd name="connsiteY123" fmla="*/ 1504950 h 4496940"/>
              <a:gd name="connsiteX124" fmla="*/ 154327 w 4519987"/>
              <a:gd name="connsiteY124" fmla="*/ 1419225 h 4496940"/>
              <a:gd name="connsiteX125" fmla="*/ 230527 w 4519987"/>
              <a:gd name="connsiteY125" fmla="*/ 1276350 h 4496940"/>
              <a:gd name="connsiteX126" fmla="*/ 240052 w 4519987"/>
              <a:gd name="connsiteY126" fmla="*/ 1247775 h 4496940"/>
              <a:gd name="connsiteX127" fmla="*/ 268627 w 4519987"/>
              <a:gd name="connsiteY127" fmla="*/ 1200150 h 4496940"/>
              <a:gd name="connsiteX128" fmla="*/ 287677 w 4519987"/>
              <a:gd name="connsiteY128" fmla="*/ 1152525 h 4496940"/>
              <a:gd name="connsiteX129" fmla="*/ 316252 w 4519987"/>
              <a:gd name="connsiteY129" fmla="*/ 1114425 h 4496940"/>
              <a:gd name="connsiteX130" fmla="*/ 363877 w 4519987"/>
              <a:gd name="connsiteY130" fmla="*/ 1038225 h 4496940"/>
              <a:gd name="connsiteX131" fmla="*/ 382927 w 4519987"/>
              <a:gd name="connsiteY131" fmla="*/ 1009650 h 4496940"/>
              <a:gd name="connsiteX132" fmla="*/ 440077 w 4519987"/>
              <a:gd name="connsiteY132" fmla="*/ 904875 h 4496940"/>
              <a:gd name="connsiteX133" fmla="*/ 478177 w 4519987"/>
              <a:gd name="connsiteY133" fmla="*/ 857250 h 4496940"/>
              <a:gd name="connsiteX134" fmla="*/ 497227 w 4519987"/>
              <a:gd name="connsiteY134" fmla="*/ 828675 h 4496940"/>
              <a:gd name="connsiteX135" fmla="*/ 535327 w 4519987"/>
              <a:gd name="connsiteY135" fmla="*/ 800100 h 4496940"/>
              <a:gd name="connsiteX136" fmla="*/ 602002 w 4519987"/>
              <a:gd name="connsiteY136" fmla="*/ 733425 h 4496940"/>
              <a:gd name="connsiteX137" fmla="*/ 668677 w 4519987"/>
              <a:gd name="connsiteY137" fmla="*/ 676275 h 4496940"/>
              <a:gd name="connsiteX138" fmla="*/ 697252 w 4519987"/>
              <a:gd name="connsiteY138" fmla="*/ 657225 h 4496940"/>
              <a:gd name="connsiteX139" fmla="*/ 840127 w 4519987"/>
              <a:gd name="connsiteY139" fmla="*/ 533400 h 4496940"/>
              <a:gd name="connsiteX140" fmla="*/ 887752 w 4519987"/>
              <a:gd name="connsiteY140" fmla="*/ 504825 h 4496940"/>
              <a:gd name="connsiteX141" fmla="*/ 1167152 w 4519987"/>
              <a:gd name="connsiteY141" fmla="*/ 311150 h 4496940"/>
              <a:gd name="connsiteX142" fmla="*/ 1268752 w 4519987"/>
              <a:gd name="connsiteY142" fmla="*/ 285750 h 4496940"/>
              <a:gd name="connsiteX143" fmla="*/ 1411627 w 4519987"/>
              <a:gd name="connsiteY143" fmla="*/ 190500 h 4496940"/>
              <a:gd name="connsiteX144" fmla="*/ 1449727 w 4519987"/>
              <a:gd name="connsiteY144" fmla="*/ 161925 h 4496940"/>
              <a:gd name="connsiteX145" fmla="*/ 1525927 w 4519987"/>
              <a:gd name="connsiteY145" fmla="*/ 152400 h 4496940"/>
              <a:gd name="connsiteX146" fmla="*/ 1583077 w 4519987"/>
              <a:gd name="connsiteY146" fmla="*/ 142875 h 4496940"/>
              <a:gd name="connsiteX147" fmla="*/ 1716427 w 4519987"/>
              <a:gd name="connsiteY147" fmla="*/ 123825 h 4496940"/>
              <a:gd name="connsiteX148" fmla="*/ 1811677 w 4519987"/>
              <a:gd name="connsiteY148" fmla="*/ 114300 h 4496940"/>
              <a:gd name="connsiteX149" fmla="*/ 1859302 w 4519987"/>
              <a:gd name="connsiteY149" fmla="*/ 104775 h 4496940"/>
              <a:gd name="connsiteX150" fmla="*/ 1916452 w 4519987"/>
              <a:gd name="connsiteY150" fmla="*/ 95250 h 4496940"/>
              <a:gd name="connsiteX151" fmla="*/ 2030752 w 4519987"/>
              <a:gd name="connsiteY151" fmla="*/ 66675 h 4496940"/>
              <a:gd name="connsiteX152" fmla="*/ 2097427 w 4519987"/>
              <a:gd name="connsiteY152" fmla="*/ 47625 h 4496940"/>
              <a:gd name="connsiteX153" fmla="*/ 2164102 w 4519987"/>
              <a:gd name="connsiteY153" fmla="*/ 38100 h 4496940"/>
              <a:gd name="connsiteX154" fmla="*/ 2392702 w 4519987"/>
              <a:gd name="connsiteY15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545227 w 4519987"/>
              <a:gd name="connsiteY18" fmla="*/ 419100 h 4496940"/>
              <a:gd name="connsiteX19" fmla="*/ 3602377 w 4519987"/>
              <a:gd name="connsiteY19" fmla="*/ 457200 h 4496940"/>
              <a:gd name="connsiteX20" fmla="*/ 3630952 w 4519987"/>
              <a:gd name="connsiteY20" fmla="*/ 485775 h 4496940"/>
              <a:gd name="connsiteX21" fmla="*/ 3678577 w 4519987"/>
              <a:gd name="connsiteY21" fmla="*/ 504825 h 4496940"/>
              <a:gd name="connsiteX22" fmla="*/ 3745252 w 4519987"/>
              <a:gd name="connsiteY22" fmla="*/ 542925 h 4496940"/>
              <a:gd name="connsiteX23" fmla="*/ 3811927 w 4519987"/>
              <a:gd name="connsiteY23" fmla="*/ 581025 h 4496940"/>
              <a:gd name="connsiteX24" fmla="*/ 3907177 w 4519987"/>
              <a:gd name="connsiteY24" fmla="*/ 647700 h 4496940"/>
              <a:gd name="connsiteX25" fmla="*/ 3935752 w 4519987"/>
              <a:gd name="connsiteY25" fmla="*/ 676275 h 4496940"/>
              <a:gd name="connsiteX26" fmla="*/ 4078627 w 4519987"/>
              <a:gd name="connsiteY26" fmla="*/ 838200 h 4496940"/>
              <a:gd name="connsiteX27" fmla="*/ 4135777 w 4519987"/>
              <a:gd name="connsiteY27" fmla="*/ 933450 h 4496940"/>
              <a:gd name="connsiteX28" fmla="*/ 4164352 w 4519987"/>
              <a:gd name="connsiteY28" fmla="*/ 990600 h 4496940"/>
              <a:gd name="connsiteX29" fmla="*/ 4173877 w 4519987"/>
              <a:gd name="connsiteY29" fmla="*/ 1019175 h 4496940"/>
              <a:gd name="connsiteX30" fmla="*/ 4192927 w 4519987"/>
              <a:gd name="connsiteY30" fmla="*/ 1057275 h 4496940"/>
              <a:gd name="connsiteX31" fmla="*/ 4202452 w 4519987"/>
              <a:gd name="connsiteY31" fmla="*/ 1085850 h 4496940"/>
              <a:gd name="connsiteX32" fmla="*/ 4250077 w 4519987"/>
              <a:gd name="connsiteY32" fmla="*/ 1143000 h 4496940"/>
              <a:gd name="connsiteX33" fmla="*/ 4259602 w 4519987"/>
              <a:gd name="connsiteY33" fmla="*/ 1190625 h 4496940"/>
              <a:gd name="connsiteX34" fmla="*/ 4307227 w 4519987"/>
              <a:gd name="connsiteY34" fmla="*/ 1266825 h 4496940"/>
              <a:gd name="connsiteX35" fmla="*/ 4345327 w 4519987"/>
              <a:gd name="connsiteY35" fmla="*/ 1362075 h 4496940"/>
              <a:gd name="connsiteX36" fmla="*/ 4373902 w 4519987"/>
              <a:gd name="connsiteY36" fmla="*/ 1428750 h 4496940"/>
              <a:gd name="connsiteX37" fmla="*/ 4392952 w 4519987"/>
              <a:gd name="connsiteY37" fmla="*/ 1552575 h 4496940"/>
              <a:gd name="connsiteX38" fmla="*/ 4402477 w 4519987"/>
              <a:gd name="connsiteY38" fmla="*/ 1590675 h 4496940"/>
              <a:gd name="connsiteX39" fmla="*/ 4431052 w 4519987"/>
              <a:gd name="connsiteY39" fmla="*/ 1685925 h 4496940"/>
              <a:gd name="connsiteX40" fmla="*/ 4519952 w 4519987"/>
              <a:gd name="connsiteY40" fmla="*/ 2181225 h 4496940"/>
              <a:gd name="connsiteX41" fmla="*/ 4446927 w 4519987"/>
              <a:gd name="connsiteY41" fmla="*/ 2768600 h 4496940"/>
              <a:gd name="connsiteX42" fmla="*/ 4383427 w 4519987"/>
              <a:gd name="connsiteY42" fmla="*/ 2990850 h 4496940"/>
              <a:gd name="connsiteX43" fmla="*/ 4278652 w 4519987"/>
              <a:gd name="connsiteY43" fmla="*/ 3248025 h 4496940"/>
              <a:gd name="connsiteX44" fmla="*/ 4259602 w 4519987"/>
              <a:gd name="connsiteY44" fmla="*/ 3276600 h 4496940"/>
              <a:gd name="connsiteX45" fmla="*/ 4221502 w 4519987"/>
              <a:gd name="connsiteY45" fmla="*/ 3333750 h 4496940"/>
              <a:gd name="connsiteX46" fmla="*/ 4211977 w 4519987"/>
              <a:gd name="connsiteY46" fmla="*/ 3362325 h 4496940"/>
              <a:gd name="connsiteX47" fmla="*/ 4183402 w 4519987"/>
              <a:gd name="connsiteY47" fmla="*/ 3400425 h 4496940"/>
              <a:gd name="connsiteX48" fmla="*/ 4164352 w 4519987"/>
              <a:gd name="connsiteY48" fmla="*/ 3429000 h 4496940"/>
              <a:gd name="connsiteX49" fmla="*/ 4088152 w 4519987"/>
              <a:gd name="connsiteY49" fmla="*/ 3495675 h 4496940"/>
              <a:gd name="connsiteX50" fmla="*/ 4059577 w 4519987"/>
              <a:gd name="connsiteY50" fmla="*/ 3533775 h 4496940"/>
              <a:gd name="connsiteX51" fmla="*/ 4002427 w 4519987"/>
              <a:gd name="connsiteY51" fmla="*/ 3600450 h 4496940"/>
              <a:gd name="connsiteX52" fmla="*/ 3983377 w 4519987"/>
              <a:gd name="connsiteY52" fmla="*/ 3629025 h 4496940"/>
              <a:gd name="connsiteX53" fmla="*/ 3954802 w 4519987"/>
              <a:gd name="connsiteY53" fmla="*/ 3648075 h 4496940"/>
              <a:gd name="connsiteX54" fmla="*/ 3907177 w 4519987"/>
              <a:gd name="connsiteY54" fmla="*/ 3686175 h 4496940"/>
              <a:gd name="connsiteX55" fmla="*/ 3869077 w 4519987"/>
              <a:gd name="connsiteY55" fmla="*/ 3724275 h 4496940"/>
              <a:gd name="connsiteX56" fmla="*/ 3792877 w 4519987"/>
              <a:gd name="connsiteY56" fmla="*/ 3781425 h 4496940"/>
              <a:gd name="connsiteX57" fmla="*/ 3783352 w 4519987"/>
              <a:gd name="connsiteY57" fmla="*/ 3810000 h 4496940"/>
              <a:gd name="connsiteX58" fmla="*/ 3745252 w 4519987"/>
              <a:gd name="connsiteY58" fmla="*/ 3819525 h 4496940"/>
              <a:gd name="connsiteX59" fmla="*/ 3678577 w 4519987"/>
              <a:gd name="connsiteY59" fmla="*/ 3848100 h 4496940"/>
              <a:gd name="connsiteX60" fmla="*/ 3659527 w 4519987"/>
              <a:gd name="connsiteY60" fmla="*/ 3971925 h 4496940"/>
              <a:gd name="connsiteX61" fmla="*/ 3630952 w 4519987"/>
              <a:gd name="connsiteY61" fmla="*/ 4010025 h 4496940"/>
              <a:gd name="connsiteX62" fmla="*/ 3621427 w 4519987"/>
              <a:gd name="connsiteY62" fmla="*/ 4038600 h 4496940"/>
              <a:gd name="connsiteX63" fmla="*/ 3554752 w 4519987"/>
              <a:gd name="connsiteY63" fmla="*/ 4095750 h 4496940"/>
              <a:gd name="connsiteX64" fmla="*/ 3516652 w 4519987"/>
              <a:gd name="connsiteY64" fmla="*/ 4114800 h 4496940"/>
              <a:gd name="connsiteX65" fmla="*/ 3497602 w 4519987"/>
              <a:gd name="connsiteY65" fmla="*/ 4143375 h 4496940"/>
              <a:gd name="connsiteX66" fmla="*/ 3383302 w 4519987"/>
              <a:gd name="connsiteY66" fmla="*/ 4210050 h 4496940"/>
              <a:gd name="connsiteX67" fmla="*/ 3335677 w 4519987"/>
              <a:gd name="connsiteY67" fmla="*/ 4238625 h 4496940"/>
              <a:gd name="connsiteX68" fmla="*/ 3288052 w 4519987"/>
              <a:gd name="connsiteY68" fmla="*/ 4248150 h 4496940"/>
              <a:gd name="connsiteX69" fmla="*/ 3240427 w 4519987"/>
              <a:gd name="connsiteY69" fmla="*/ 4267200 h 4496940"/>
              <a:gd name="connsiteX70" fmla="*/ 3068977 w 4519987"/>
              <a:gd name="connsiteY70" fmla="*/ 4286250 h 4496940"/>
              <a:gd name="connsiteX71" fmla="*/ 2935627 w 4519987"/>
              <a:gd name="connsiteY71" fmla="*/ 4333875 h 4496940"/>
              <a:gd name="connsiteX72" fmla="*/ 2811802 w 4519987"/>
              <a:gd name="connsiteY72" fmla="*/ 4371975 h 4496940"/>
              <a:gd name="connsiteX73" fmla="*/ 2745127 w 4519987"/>
              <a:gd name="connsiteY73" fmla="*/ 4410075 h 4496940"/>
              <a:gd name="connsiteX74" fmla="*/ 2697502 w 4519987"/>
              <a:gd name="connsiteY74" fmla="*/ 4429125 h 4496940"/>
              <a:gd name="connsiteX75" fmla="*/ 2640352 w 4519987"/>
              <a:gd name="connsiteY75" fmla="*/ 4457700 h 4496940"/>
              <a:gd name="connsiteX76" fmla="*/ 2583202 w 4519987"/>
              <a:gd name="connsiteY76" fmla="*/ 4467225 h 4496940"/>
              <a:gd name="connsiteX77" fmla="*/ 2545102 w 4519987"/>
              <a:gd name="connsiteY77" fmla="*/ 4486275 h 4496940"/>
              <a:gd name="connsiteX78" fmla="*/ 2306977 w 4519987"/>
              <a:gd name="connsiteY78" fmla="*/ 4476750 h 4496940"/>
              <a:gd name="connsiteX79" fmla="*/ 2202202 w 4519987"/>
              <a:gd name="connsiteY79" fmla="*/ 4457700 h 4496940"/>
              <a:gd name="connsiteX80" fmla="*/ 2126002 w 4519987"/>
              <a:gd name="connsiteY80" fmla="*/ 4429125 h 4496940"/>
              <a:gd name="connsiteX81" fmla="*/ 1935502 w 4519987"/>
              <a:gd name="connsiteY81" fmla="*/ 4400550 h 4496940"/>
              <a:gd name="connsiteX82" fmla="*/ 1821202 w 4519987"/>
              <a:gd name="connsiteY82" fmla="*/ 4371975 h 4496940"/>
              <a:gd name="connsiteX83" fmla="*/ 1754527 w 4519987"/>
              <a:gd name="connsiteY83" fmla="*/ 4352925 h 4496940"/>
              <a:gd name="connsiteX84" fmla="*/ 1687852 w 4519987"/>
              <a:gd name="connsiteY84" fmla="*/ 4343400 h 4496940"/>
              <a:gd name="connsiteX85" fmla="*/ 1573552 w 4519987"/>
              <a:gd name="connsiteY85" fmla="*/ 4305300 h 4496940"/>
              <a:gd name="connsiteX86" fmla="*/ 1402102 w 4519987"/>
              <a:gd name="connsiteY86" fmla="*/ 4276725 h 4496940"/>
              <a:gd name="connsiteX87" fmla="*/ 1287802 w 4519987"/>
              <a:gd name="connsiteY87" fmla="*/ 4229100 h 4496940"/>
              <a:gd name="connsiteX88" fmla="*/ 1221127 w 4519987"/>
              <a:gd name="connsiteY88" fmla="*/ 4200525 h 4496940"/>
              <a:gd name="connsiteX89" fmla="*/ 1144927 w 4519987"/>
              <a:gd name="connsiteY89" fmla="*/ 4171950 h 4496940"/>
              <a:gd name="connsiteX90" fmla="*/ 1087777 w 4519987"/>
              <a:gd name="connsiteY90" fmla="*/ 4143375 h 4496940"/>
              <a:gd name="connsiteX91" fmla="*/ 1030627 w 4519987"/>
              <a:gd name="connsiteY91" fmla="*/ 4124325 h 4496940"/>
              <a:gd name="connsiteX92" fmla="*/ 925852 w 4519987"/>
              <a:gd name="connsiteY92" fmla="*/ 4067175 h 4496940"/>
              <a:gd name="connsiteX93" fmla="*/ 830602 w 4519987"/>
              <a:gd name="connsiteY93" fmla="*/ 3981450 h 4496940"/>
              <a:gd name="connsiteX94" fmla="*/ 763927 w 4519987"/>
              <a:gd name="connsiteY94" fmla="*/ 3914775 h 4496940"/>
              <a:gd name="connsiteX95" fmla="*/ 725827 w 4519987"/>
              <a:gd name="connsiteY95" fmla="*/ 3876675 h 4496940"/>
              <a:gd name="connsiteX96" fmla="*/ 697252 w 4519987"/>
              <a:gd name="connsiteY96" fmla="*/ 3838575 h 4496940"/>
              <a:gd name="connsiteX97" fmla="*/ 640102 w 4519987"/>
              <a:gd name="connsiteY97" fmla="*/ 3781425 h 4496940"/>
              <a:gd name="connsiteX98" fmla="*/ 611527 w 4519987"/>
              <a:gd name="connsiteY98" fmla="*/ 3733800 h 4496940"/>
              <a:gd name="connsiteX99" fmla="*/ 554377 w 4519987"/>
              <a:gd name="connsiteY99" fmla="*/ 3657600 h 4496940"/>
              <a:gd name="connsiteX100" fmla="*/ 525802 w 4519987"/>
              <a:gd name="connsiteY100" fmla="*/ 3609975 h 4496940"/>
              <a:gd name="connsiteX101" fmla="*/ 497227 w 4519987"/>
              <a:gd name="connsiteY101" fmla="*/ 3552825 h 4496940"/>
              <a:gd name="connsiteX102" fmla="*/ 440077 w 4519987"/>
              <a:gd name="connsiteY102" fmla="*/ 3495675 h 4496940"/>
              <a:gd name="connsiteX103" fmla="*/ 411502 w 4519987"/>
              <a:gd name="connsiteY103" fmla="*/ 3448050 h 4496940"/>
              <a:gd name="connsiteX104" fmla="*/ 278152 w 4519987"/>
              <a:gd name="connsiteY104" fmla="*/ 3257550 h 4496940"/>
              <a:gd name="connsiteX105" fmla="*/ 249577 w 4519987"/>
              <a:gd name="connsiteY105" fmla="*/ 3200400 h 4496940"/>
              <a:gd name="connsiteX106" fmla="*/ 240052 w 4519987"/>
              <a:gd name="connsiteY106" fmla="*/ 3162300 h 4496940"/>
              <a:gd name="connsiteX107" fmla="*/ 221002 w 4519987"/>
              <a:gd name="connsiteY107" fmla="*/ 3105150 h 4496940"/>
              <a:gd name="connsiteX108" fmla="*/ 173377 w 4519987"/>
              <a:gd name="connsiteY108" fmla="*/ 3019425 h 4496940"/>
              <a:gd name="connsiteX109" fmla="*/ 144802 w 4519987"/>
              <a:gd name="connsiteY109" fmla="*/ 2924175 h 4496940"/>
              <a:gd name="connsiteX110" fmla="*/ 68602 w 4519987"/>
              <a:gd name="connsiteY110" fmla="*/ 2724150 h 4496940"/>
              <a:gd name="connsiteX111" fmla="*/ 49552 w 4519987"/>
              <a:gd name="connsiteY111" fmla="*/ 2638425 h 4496940"/>
              <a:gd name="connsiteX112" fmla="*/ 40027 w 4519987"/>
              <a:gd name="connsiteY112" fmla="*/ 2562225 h 4496940"/>
              <a:gd name="connsiteX113" fmla="*/ 30502 w 4519987"/>
              <a:gd name="connsiteY113" fmla="*/ 2514600 h 4496940"/>
              <a:gd name="connsiteX114" fmla="*/ 11452 w 4519987"/>
              <a:gd name="connsiteY114" fmla="*/ 2400300 h 4496940"/>
              <a:gd name="connsiteX115" fmla="*/ 20977 w 4519987"/>
              <a:gd name="connsiteY115" fmla="*/ 1905000 h 4496940"/>
              <a:gd name="connsiteX116" fmla="*/ 30502 w 4519987"/>
              <a:gd name="connsiteY116" fmla="*/ 1838325 h 4496940"/>
              <a:gd name="connsiteX117" fmla="*/ 49552 w 4519987"/>
              <a:gd name="connsiteY117" fmla="*/ 1781175 h 4496940"/>
              <a:gd name="connsiteX118" fmla="*/ 59077 w 4519987"/>
              <a:gd name="connsiteY118" fmla="*/ 1743075 h 4496940"/>
              <a:gd name="connsiteX119" fmla="*/ 78127 w 4519987"/>
              <a:gd name="connsiteY119" fmla="*/ 1685925 h 4496940"/>
              <a:gd name="connsiteX120" fmla="*/ 87652 w 4519987"/>
              <a:gd name="connsiteY120" fmla="*/ 1638300 h 4496940"/>
              <a:gd name="connsiteX121" fmla="*/ 106702 w 4519987"/>
              <a:gd name="connsiteY121" fmla="*/ 1590675 h 4496940"/>
              <a:gd name="connsiteX122" fmla="*/ 135277 w 4519987"/>
              <a:gd name="connsiteY122" fmla="*/ 1504950 h 4496940"/>
              <a:gd name="connsiteX123" fmla="*/ 154327 w 4519987"/>
              <a:gd name="connsiteY123" fmla="*/ 1419225 h 4496940"/>
              <a:gd name="connsiteX124" fmla="*/ 230527 w 4519987"/>
              <a:gd name="connsiteY124" fmla="*/ 1276350 h 4496940"/>
              <a:gd name="connsiteX125" fmla="*/ 240052 w 4519987"/>
              <a:gd name="connsiteY125" fmla="*/ 1247775 h 4496940"/>
              <a:gd name="connsiteX126" fmla="*/ 268627 w 4519987"/>
              <a:gd name="connsiteY126" fmla="*/ 1200150 h 4496940"/>
              <a:gd name="connsiteX127" fmla="*/ 287677 w 4519987"/>
              <a:gd name="connsiteY127" fmla="*/ 1152525 h 4496940"/>
              <a:gd name="connsiteX128" fmla="*/ 316252 w 4519987"/>
              <a:gd name="connsiteY128" fmla="*/ 1114425 h 4496940"/>
              <a:gd name="connsiteX129" fmla="*/ 363877 w 4519987"/>
              <a:gd name="connsiteY129" fmla="*/ 1038225 h 4496940"/>
              <a:gd name="connsiteX130" fmla="*/ 382927 w 4519987"/>
              <a:gd name="connsiteY130" fmla="*/ 1009650 h 4496940"/>
              <a:gd name="connsiteX131" fmla="*/ 440077 w 4519987"/>
              <a:gd name="connsiteY131" fmla="*/ 904875 h 4496940"/>
              <a:gd name="connsiteX132" fmla="*/ 478177 w 4519987"/>
              <a:gd name="connsiteY132" fmla="*/ 857250 h 4496940"/>
              <a:gd name="connsiteX133" fmla="*/ 497227 w 4519987"/>
              <a:gd name="connsiteY133" fmla="*/ 828675 h 4496940"/>
              <a:gd name="connsiteX134" fmla="*/ 535327 w 4519987"/>
              <a:gd name="connsiteY134" fmla="*/ 800100 h 4496940"/>
              <a:gd name="connsiteX135" fmla="*/ 602002 w 4519987"/>
              <a:gd name="connsiteY135" fmla="*/ 733425 h 4496940"/>
              <a:gd name="connsiteX136" fmla="*/ 668677 w 4519987"/>
              <a:gd name="connsiteY136" fmla="*/ 676275 h 4496940"/>
              <a:gd name="connsiteX137" fmla="*/ 697252 w 4519987"/>
              <a:gd name="connsiteY137" fmla="*/ 657225 h 4496940"/>
              <a:gd name="connsiteX138" fmla="*/ 840127 w 4519987"/>
              <a:gd name="connsiteY138" fmla="*/ 533400 h 4496940"/>
              <a:gd name="connsiteX139" fmla="*/ 887752 w 4519987"/>
              <a:gd name="connsiteY139" fmla="*/ 504825 h 4496940"/>
              <a:gd name="connsiteX140" fmla="*/ 1167152 w 4519987"/>
              <a:gd name="connsiteY140" fmla="*/ 311150 h 4496940"/>
              <a:gd name="connsiteX141" fmla="*/ 1268752 w 4519987"/>
              <a:gd name="connsiteY141" fmla="*/ 285750 h 4496940"/>
              <a:gd name="connsiteX142" fmla="*/ 1411627 w 4519987"/>
              <a:gd name="connsiteY142" fmla="*/ 190500 h 4496940"/>
              <a:gd name="connsiteX143" fmla="*/ 1449727 w 4519987"/>
              <a:gd name="connsiteY143" fmla="*/ 161925 h 4496940"/>
              <a:gd name="connsiteX144" fmla="*/ 1525927 w 4519987"/>
              <a:gd name="connsiteY144" fmla="*/ 152400 h 4496940"/>
              <a:gd name="connsiteX145" fmla="*/ 1583077 w 4519987"/>
              <a:gd name="connsiteY145" fmla="*/ 142875 h 4496940"/>
              <a:gd name="connsiteX146" fmla="*/ 1716427 w 4519987"/>
              <a:gd name="connsiteY146" fmla="*/ 123825 h 4496940"/>
              <a:gd name="connsiteX147" fmla="*/ 1811677 w 4519987"/>
              <a:gd name="connsiteY147" fmla="*/ 114300 h 4496940"/>
              <a:gd name="connsiteX148" fmla="*/ 1859302 w 4519987"/>
              <a:gd name="connsiteY148" fmla="*/ 104775 h 4496940"/>
              <a:gd name="connsiteX149" fmla="*/ 1916452 w 4519987"/>
              <a:gd name="connsiteY149" fmla="*/ 95250 h 4496940"/>
              <a:gd name="connsiteX150" fmla="*/ 2030752 w 4519987"/>
              <a:gd name="connsiteY150" fmla="*/ 66675 h 4496940"/>
              <a:gd name="connsiteX151" fmla="*/ 2097427 w 4519987"/>
              <a:gd name="connsiteY151" fmla="*/ 47625 h 4496940"/>
              <a:gd name="connsiteX152" fmla="*/ 2164102 w 4519987"/>
              <a:gd name="connsiteY152" fmla="*/ 38100 h 4496940"/>
              <a:gd name="connsiteX153" fmla="*/ 2392702 w 4519987"/>
              <a:gd name="connsiteY15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02377 w 4519987"/>
              <a:gd name="connsiteY18" fmla="*/ 457200 h 4496940"/>
              <a:gd name="connsiteX19" fmla="*/ 3630952 w 4519987"/>
              <a:gd name="connsiteY19" fmla="*/ 485775 h 4496940"/>
              <a:gd name="connsiteX20" fmla="*/ 3678577 w 4519987"/>
              <a:gd name="connsiteY20" fmla="*/ 504825 h 4496940"/>
              <a:gd name="connsiteX21" fmla="*/ 3745252 w 4519987"/>
              <a:gd name="connsiteY21" fmla="*/ 542925 h 4496940"/>
              <a:gd name="connsiteX22" fmla="*/ 3811927 w 4519987"/>
              <a:gd name="connsiteY22" fmla="*/ 581025 h 4496940"/>
              <a:gd name="connsiteX23" fmla="*/ 3907177 w 4519987"/>
              <a:gd name="connsiteY23" fmla="*/ 647700 h 4496940"/>
              <a:gd name="connsiteX24" fmla="*/ 3935752 w 4519987"/>
              <a:gd name="connsiteY24" fmla="*/ 676275 h 4496940"/>
              <a:gd name="connsiteX25" fmla="*/ 4078627 w 4519987"/>
              <a:gd name="connsiteY25" fmla="*/ 838200 h 4496940"/>
              <a:gd name="connsiteX26" fmla="*/ 4135777 w 4519987"/>
              <a:gd name="connsiteY26" fmla="*/ 933450 h 4496940"/>
              <a:gd name="connsiteX27" fmla="*/ 4164352 w 4519987"/>
              <a:gd name="connsiteY27" fmla="*/ 990600 h 4496940"/>
              <a:gd name="connsiteX28" fmla="*/ 4173877 w 4519987"/>
              <a:gd name="connsiteY28" fmla="*/ 1019175 h 4496940"/>
              <a:gd name="connsiteX29" fmla="*/ 4192927 w 4519987"/>
              <a:gd name="connsiteY29" fmla="*/ 1057275 h 4496940"/>
              <a:gd name="connsiteX30" fmla="*/ 4202452 w 4519987"/>
              <a:gd name="connsiteY30" fmla="*/ 1085850 h 4496940"/>
              <a:gd name="connsiteX31" fmla="*/ 4250077 w 4519987"/>
              <a:gd name="connsiteY31" fmla="*/ 1143000 h 4496940"/>
              <a:gd name="connsiteX32" fmla="*/ 4259602 w 4519987"/>
              <a:gd name="connsiteY32" fmla="*/ 1190625 h 4496940"/>
              <a:gd name="connsiteX33" fmla="*/ 4307227 w 4519987"/>
              <a:gd name="connsiteY33" fmla="*/ 1266825 h 4496940"/>
              <a:gd name="connsiteX34" fmla="*/ 4345327 w 4519987"/>
              <a:gd name="connsiteY34" fmla="*/ 1362075 h 4496940"/>
              <a:gd name="connsiteX35" fmla="*/ 4373902 w 4519987"/>
              <a:gd name="connsiteY35" fmla="*/ 1428750 h 4496940"/>
              <a:gd name="connsiteX36" fmla="*/ 4392952 w 4519987"/>
              <a:gd name="connsiteY36" fmla="*/ 1552575 h 4496940"/>
              <a:gd name="connsiteX37" fmla="*/ 4402477 w 4519987"/>
              <a:gd name="connsiteY37" fmla="*/ 1590675 h 4496940"/>
              <a:gd name="connsiteX38" fmla="*/ 4431052 w 4519987"/>
              <a:gd name="connsiteY38" fmla="*/ 1685925 h 4496940"/>
              <a:gd name="connsiteX39" fmla="*/ 4519952 w 4519987"/>
              <a:gd name="connsiteY39" fmla="*/ 2181225 h 4496940"/>
              <a:gd name="connsiteX40" fmla="*/ 4446927 w 4519987"/>
              <a:gd name="connsiteY40" fmla="*/ 2768600 h 4496940"/>
              <a:gd name="connsiteX41" fmla="*/ 4383427 w 4519987"/>
              <a:gd name="connsiteY41" fmla="*/ 2990850 h 4496940"/>
              <a:gd name="connsiteX42" fmla="*/ 4278652 w 4519987"/>
              <a:gd name="connsiteY42" fmla="*/ 3248025 h 4496940"/>
              <a:gd name="connsiteX43" fmla="*/ 4259602 w 4519987"/>
              <a:gd name="connsiteY43" fmla="*/ 3276600 h 4496940"/>
              <a:gd name="connsiteX44" fmla="*/ 4221502 w 4519987"/>
              <a:gd name="connsiteY44" fmla="*/ 3333750 h 4496940"/>
              <a:gd name="connsiteX45" fmla="*/ 4211977 w 4519987"/>
              <a:gd name="connsiteY45" fmla="*/ 3362325 h 4496940"/>
              <a:gd name="connsiteX46" fmla="*/ 4183402 w 4519987"/>
              <a:gd name="connsiteY46" fmla="*/ 3400425 h 4496940"/>
              <a:gd name="connsiteX47" fmla="*/ 4164352 w 4519987"/>
              <a:gd name="connsiteY47" fmla="*/ 3429000 h 4496940"/>
              <a:gd name="connsiteX48" fmla="*/ 4088152 w 4519987"/>
              <a:gd name="connsiteY48" fmla="*/ 3495675 h 4496940"/>
              <a:gd name="connsiteX49" fmla="*/ 4059577 w 4519987"/>
              <a:gd name="connsiteY49" fmla="*/ 3533775 h 4496940"/>
              <a:gd name="connsiteX50" fmla="*/ 4002427 w 4519987"/>
              <a:gd name="connsiteY50" fmla="*/ 3600450 h 4496940"/>
              <a:gd name="connsiteX51" fmla="*/ 3983377 w 4519987"/>
              <a:gd name="connsiteY51" fmla="*/ 3629025 h 4496940"/>
              <a:gd name="connsiteX52" fmla="*/ 3954802 w 4519987"/>
              <a:gd name="connsiteY52" fmla="*/ 3648075 h 4496940"/>
              <a:gd name="connsiteX53" fmla="*/ 3907177 w 4519987"/>
              <a:gd name="connsiteY53" fmla="*/ 3686175 h 4496940"/>
              <a:gd name="connsiteX54" fmla="*/ 3869077 w 4519987"/>
              <a:gd name="connsiteY54" fmla="*/ 3724275 h 4496940"/>
              <a:gd name="connsiteX55" fmla="*/ 3792877 w 4519987"/>
              <a:gd name="connsiteY55" fmla="*/ 3781425 h 4496940"/>
              <a:gd name="connsiteX56" fmla="*/ 3783352 w 4519987"/>
              <a:gd name="connsiteY56" fmla="*/ 3810000 h 4496940"/>
              <a:gd name="connsiteX57" fmla="*/ 3745252 w 4519987"/>
              <a:gd name="connsiteY57" fmla="*/ 3819525 h 4496940"/>
              <a:gd name="connsiteX58" fmla="*/ 3678577 w 4519987"/>
              <a:gd name="connsiteY58" fmla="*/ 3848100 h 4496940"/>
              <a:gd name="connsiteX59" fmla="*/ 3659527 w 4519987"/>
              <a:gd name="connsiteY59" fmla="*/ 3971925 h 4496940"/>
              <a:gd name="connsiteX60" fmla="*/ 3630952 w 4519987"/>
              <a:gd name="connsiteY60" fmla="*/ 4010025 h 4496940"/>
              <a:gd name="connsiteX61" fmla="*/ 3621427 w 4519987"/>
              <a:gd name="connsiteY61" fmla="*/ 4038600 h 4496940"/>
              <a:gd name="connsiteX62" fmla="*/ 3554752 w 4519987"/>
              <a:gd name="connsiteY62" fmla="*/ 4095750 h 4496940"/>
              <a:gd name="connsiteX63" fmla="*/ 3516652 w 4519987"/>
              <a:gd name="connsiteY63" fmla="*/ 4114800 h 4496940"/>
              <a:gd name="connsiteX64" fmla="*/ 3497602 w 4519987"/>
              <a:gd name="connsiteY64" fmla="*/ 4143375 h 4496940"/>
              <a:gd name="connsiteX65" fmla="*/ 3383302 w 4519987"/>
              <a:gd name="connsiteY65" fmla="*/ 4210050 h 4496940"/>
              <a:gd name="connsiteX66" fmla="*/ 3335677 w 4519987"/>
              <a:gd name="connsiteY66" fmla="*/ 4238625 h 4496940"/>
              <a:gd name="connsiteX67" fmla="*/ 3288052 w 4519987"/>
              <a:gd name="connsiteY67" fmla="*/ 4248150 h 4496940"/>
              <a:gd name="connsiteX68" fmla="*/ 3240427 w 4519987"/>
              <a:gd name="connsiteY68" fmla="*/ 4267200 h 4496940"/>
              <a:gd name="connsiteX69" fmla="*/ 3068977 w 4519987"/>
              <a:gd name="connsiteY69" fmla="*/ 4286250 h 4496940"/>
              <a:gd name="connsiteX70" fmla="*/ 2935627 w 4519987"/>
              <a:gd name="connsiteY70" fmla="*/ 4333875 h 4496940"/>
              <a:gd name="connsiteX71" fmla="*/ 2811802 w 4519987"/>
              <a:gd name="connsiteY71" fmla="*/ 4371975 h 4496940"/>
              <a:gd name="connsiteX72" fmla="*/ 2745127 w 4519987"/>
              <a:gd name="connsiteY72" fmla="*/ 4410075 h 4496940"/>
              <a:gd name="connsiteX73" fmla="*/ 2697502 w 4519987"/>
              <a:gd name="connsiteY73" fmla="*/ 4429125 h 4496940"/>
              <a:gd name="connsiteX74" fmla="*/ 2640352 w 4519987"/>
              <a:gd name="connsiteY74" fmla="*/ 4457700 h 4496940"/>
              <a:gd name="connsiteX75" fmla="*/ 2583202 w 4519987"/>
              <a:gd name="connsiteY75" fmla="*/ 4467225 h 4496940"/>
              <a:gd name="connsiteX76" fmla="*/ 2545102 w 4519987"/>
              <a:gd name="connsiteY76" fmla="*/ 4486275 h 4496940"/>
              <a:gd name="connsiteX77" fmla="*/ 2306977 w 4519987"/>
              <a:gd name="connsiteY77" fmla="*/ 4476750 h 4496940"/>
              <a:gd name="connsiteX78" fmla="*/ 2202202 w 4519987"/>
              <a:gd name="connsiteY78" fmla="*/ 4457700 h 4496940"/>
              <a:gd name="connsiteX79" fmla="*/ 2126002 w 4519987"/>
              <a:gd name="connsiteY79" fmla="*/ 4429125 h 4496940"/>
              <a:gd name="connsiteX80" fmla="*/ 1935502 w 4519987"/>
              <a:gd name="connsiteY80" fmla="*/ 4400550 h 4496940"/>
              <a:gd name="connsiteX81" fmla="*/ 1821202 w 4519987"/>
              <a:gd name="connsiteY81" fmla="*/ 4371975 h 4496940"/>
              <a:gd name="connsiteX82" fmla="*/ 1754527 w 4519987"/>
              <a:gd name="connsiteY82" fmla="*/ 4352925 h 4496940"/>
              <a:gd name="connsiteX83" fmla="*/ 1687852 w 4519987"/>
              <a:gd name="connsiteY83" fmla="*/ 4343400 h 4496940"/>
              <a:gd name="connsiteX84" fmla="*/ 1573552 w 4519987"/>
              <a:gd name="connsiteY84" fmla="*/ 4305300 h 4496940"/>
              <a:gd name="connsiteX85" fmla="*/ 1402102 w 4519987"/>
              <a:gd name="connsiteY85" fmla="*/ 4276725 h 4496940"/>
              <a:gd name="connsiteX86" fmla="*/ 1287802 w 4519987"/>
              <a:gd name="connsiteY86" fmla="*/ 4229100 h 4496940"/>
              <a:gd name="connsiteX87" fmla="*/ 1221127 w 4519987"/>
              <a:gd name="connsiteY87" fmla="*/ 4200525 h 4496940"/>
              <a:gd name="connsiteX88" fmla="*/ 1144927 w 4519987"/>
              <a:gd name="connsiteY88" fmla="*/ 4171950 h 4496940"/>
              <a:gd name="connsiteX89" fmla="*/ 1087777 w 4519987"/>
              <a:gd name="connsiteY89" fmla="*/ 4143375 h 4496940"/>
              <a:gd name="connsiteX90" fmla="*/ 1030627 w 4519987"/>
              <a:gd name="connsiteY90" fmla="*/ 4124325 h 4496940"/>
              <a:gd name="connsiteX91" fmla="*/ 925852 w 4519987"/>
              <a:gd name="connsiteY91" fmla="*/ 4067175 h 4496940"/>
              <a:gd name="connsiteX92" fmla="*/ 830602 w 4519987"/>
              <a:gd name="connsiteY92" fmla="*/ 3981450 h 4496940"/>
              <a:gd name="connsiteX93" fmla="*/ 763927 w 4519987"/>
              <a:gd name="connsiteY93" fmla="*/ 3914775 h 4496940"/>
              <a:gd name="connsiteX94" fmla="*/ 725827 w 4519987"/>
              <a:gd name="connsiteY94" fmla="*/ 3876675 h 4496940"/>
              <a:gd name="connsiteX95" fmla="*/ 697252 w 4519987"/>
              <a:gd name="connsiteY95" fmla="*/ 3838575 h 4496940"/>
              <a:gd name="connsiteX96" fmla="*/ 640102 w 4519987"/>
              <a:gd name="connsiteY96" fmla="*/ 3781425 h 4496940"/>
              <a:gd name="connsiteX97" fmla="*/ 611527 w 4519987"/>
              <a:gd name="connsiteY97" fmla="*/ 3733800 h 4496940"/>
              <a:gd name="connsiteX98" fmla="*/ 554377 w 4519987"/>
              <a:gd name="connsiteY98" fmla="*/ 3657600 h 4496940"/>
              <a:gd name="connsiteX99" fmla="*/ 525802 w 4519987"/>
              <a:gd name="connsiteY99" fmla="*/ 3609975 h 4496940"/>
              <a:gd name="connsiteX100" fmla="*/ 497227 w 4519987"/>
              <a:gd name="connsiteY100" fmla="*/ 3552825 h 4496940"/>
              <a:gd name="connsiteX101" fmla="*/ 440077 w 4519987"/>
              <a:gd name="connsiteY101" fmla="*/ 3495675 h 4496940"/>
              <a:gd name="connsiteX102" fmla="*/ 411502 w 4519987"/>
              <a:gd name="connsiteY102" fmla="*/ 3448050 h 4496940"/>
              <a:gd name="connsiteX103" fmla="*/ 278152 w 4519987"/>
              <a:gd name="connsiteY103" fmla="*/ 3257550 h 4496940"/>
              <a:gd name="connsiteX104" fmla="*/ 249577 w 4519987"/>
              <a:gd name="connsiteY104" fmla="*/ 3200400 h 4496940"/>
              <a:gd name="connsiteX105" fmla="*/ 240052 w 4519987"/>
              <a:gd name="connsiteY105" fmla="*/ 3162300 h 4496940"/>
              <a:gd name="connsiteX106" fmla="*/ 221002 w 4519987"/>
              <a:gd name="connsiteY106" fmla="*/ 3105150 h 4496940"/>
              <a:gd name="connsiteX107" fmla="*/ 173377 w 4519987"/>
              <a:gd name="connsiteY107" fmla="*/ 3019425 h 4496940"/>
              <a:gd name="connsiteX108" fmla="*/ 144802 w 4519987"/>
              <a:gd name="connsiteY108" fmla="*/ 2924175 h 4496940"/>
              <a:gd name="connsiteX109" fmla="*/ 68602 w 4519987"/>
              <a:gd name="connsiteY109" fmla="*/ 2724150 h 4496940"/>
              <a:gd name="connsiteX110" fmla="*/ 49552 w 4519987"/>
              <a:gd name="connsiteY110" fmla="*/ 2638425 h 4496940"/>
              <a:gd name="connsiteX111" fmla="*/ 40027 w 4519987"/>
              <a:gd name="connsiteY111" fmla="*/ 2562225 h 4496940"/>
              <a:gd name="connsiteX112" fmla="*/ 30502 w 4519987"/>
              <a:gd name="connsiteY112" fmla="*/ 2514600 h 4496940"/>
              <a:gd name="connsiteX113" fmla="*/ 11452 w 4519987"/>
              <a:gd name="connsiteY113" fmla="*/ 2400300 h 4496940"/>
              <a:gd name="connsiteX114" fmla="*/ 20977 w 4519987"/>
              <a:gd name="connsiteY114" fmla="*/ 1905000 h 4496940"/>
              <a:gd name="connsiteX115" fmla="*/ 30502 w 4519987"/>
              <a:gd name="connsiteY115" fmla="*/ 1838325 h 4496940"/>
              <a:gd name="connsiteX116" fmla="*/ 49552 w 4519987"/>
              <a:gd name="connsiteY116" fmla="*/ 1781175 h 4496940"/>
              <a:gd name="connsiteX117" fmla="*/ 59077 w 4519987"/>
              <a:gd name="connsiteY117" fmla="*/ 1743075 h 4496940"/>
              <a:gd name="connsiteX118" fmla="*/ 78127 w 4519987"/>
              <a:gd name="connsiteY118" fmla="*/ 1685925 h 4496940"/>
              <a:gd name="connsiteX119" fmla="*/ 87652 w 4519987"/>
              <a:gd name="connsiteY119" fmla="*/ 1638300 h 4496940"/>
              <a:gd name="connsiteX120" fmla="*/ 106702 w 4519987"/>
              <a:gd name="connsiteY120" fmla="*/ 1590675 h 4496940"/>
              <a:gd name="connsiteX121" fmla="*/ 135277 w 4519987"/>
              <a:gd name="connsiteY121" fmla="*/ 1504950 h 4496940"/>
              <a:gd name="connsiteX122" fmla="*/ 154327 w 4519987"/>
              <a:gd name="connsiteY122" fmla="*/ 1419225 h 4496940"/>
              <a:gd name="connsiteX123" fmla="*/ 230527 w 4519987"/>
              <a:gd name="connsiteY123" fmla="*/ 1276350 h 4496940"/>
              <a:gd name="connsiteX124" fmla="*/ 240052 w 4519987"/>
              <a:gd name="connsiteY124" fmla="*/ 1247775 h 4496940"/>
              <a:gd name="connsiteX125" fmla="*/ 268627 w 4519987"/>
              <a:gd name="connsiteY125" fmla="*/ 1200150 h 4496940"/>
              <a:gd name="connsiteX126" fmla="*/ 287677 w 4519987"/>
              <a:gd name="connsiteY126" fmla="*/ 1152525 h 4496940"/>
              <a:gd name="connsiteX127" fmla="*/ 316252 w 4519987"/>
              <a:gd name="connsiteY127" fmla="*/ 1114425 h 4496940"/>
              <a:gd name="connsiteX128" fmla="*/ 363877 w 4519987"/>
              <a:gd name="connsiteY128" fmla="*/ 1038225 h 4496940"/>
              <a:gd name="connsiteX129" fmla="*/ 382927 w 4519987"/>
              <a:gd name="connsiteY129" fmla="*/ 1009650 h 4496940"/>
              <a:gd name="connsiteX130" fmla="*/ 440077 w 4519987"/>
              <a:gd name="connsiteY130" fmla="*/ 904875 h 4496940"/>
              <a:gd name="connsiteX131" fmla="*/ 478177 w 4519987"/>
              <a:gd name="connsiteY131" fmla="*/ 857250 h 4496940"/>
              <a:gd name="connsiteX132" fmla="*/ 497227 w 4519987"/>
              <a:gd name="connsiteY132" fmla="*/ 828675 h 4496940"/>
              <a:gd name="connsiteX133" fmla="*/ 535327 w 4519987"/>
              <a:gd name="connsiteY133" fmla="*/ 800100 h 4496940"/>
              <a:gd name="connsiteX134" fmla="*/ 602002 w 4519987"/>
              <a:gd name="connsiteY134" fmla="*/ 733425 h 4496940"/>
              <a:gd name="connsiteX135" fmla="*/ 668677 w 4519987"/>
              <a:gd name="connsiteY135" fmla="*/ 676275 h 4496940"/>
              <a:gd name="connsiteX136" fmla="*/ 697252 w 4519987"/>
              <a:gd name="connsiteY136" fmla="*/ 657225 h 4496940"/>
              <a:gd name="connsiteX137" fmla="*/ 840127 w 4519987"/>
              <a:gd name="connsiteY137" fmla="*/ 533400 h 4496940"/>
              <a:gd name="connsiteX138" fmla="*/ 887752 w 4519987"/>
              <a:gd name="connsiteY138" fmla="*/ 504825 h 4496940"/>
              <a:gd name="connsiteX139" fmla="*/ 1167152 w 4519987"/>
              <a:gd name="connsiteY139" fmla="*/ 311150 h 4496940"/>
              <a:gd name="connsiteX140" fmla="*/ 1268752 w 4519987"/>
              <a:gd name="connsiteY140" fmla="*/ 285750 h 4496940"/>
              <a:gd name="connsiteX141" fmla="*/ 1411627 w 4519987"/>
              <a:gd name="connsiteY141" fmla="*/ 190500 h 4496940"/>
              <a:gd name="connsiteX142" fmla="*/ 1449727 w 4519987"/>
              <a:gd name="connsiteY142" fmla="*/ 161925 h 4496940"/>
              <a:gd name="connsiteX143" fmla="*/ 1525927 w 4519987"/>
              <a:gd name="connsiteY143" fmla="*/ 152400 h 4496940"/>
              <a:gd name="connsiteX144" fmla="*/ 1583077 w 4519987"/>
              <a:gd name="connsiteY144" fmla="*/ 142875 h 4496940"/>
              <a:gd name="connsiteX145" fmla="*/ 1716427 w 4519987"/>
              <a:gd name="connsiteY145" fmla="*/ 123825 h 4496940"/>
              <a:gd name="connsiteX146" fmla="*/ 1811677 w 4519987"/>
              <a:gd name="connsiteY146" fmla="*/ 114300 h 4496940"/>
              <a:gd name="connsiteX147" fmla="*/ 1859302 w 4519987"/>
              <a:gd name="connsiteY147" fmla="*/ 104775 h 4496940"/>
              <a:gd name="connsiteX148" fmla="*/ 1916452 w 4519987"/>
              <a:gd name="connsiteY148" fmla="*/ 95250 h 4496940"/>
              <a:gd name="connsiteX149" fmla="*/ 2030752 w 4519987"/>
              <a:gd name="connsiteY149" fmla="*/ 66675 h 4496940"/>
              <a:gd name="connsiteX150" fmla="*/ 2097427 w 4519987"/>
              <a:gd name="connsiteY150" fmla="*/ 47625 h 4496940"/>
              <a:gd name="connsiteX151" fmla="*/ 2164102 w 4519987"/>
              <a:gd name="connsiteY151" fmla="*/ 38100 h 4496940"/>
              <a:gd name="connsiteX152" fmla="*/ 2392702 w 4519987"/>
              <a:gd name="connsiteY15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02377 w 4519987"/>
              <a:gd name="connsiteY18" fmla="*/ 457200 h 4496940"/>
              <a:gd name="connsiteX19" fmla="*/ 3630952 w 4519987"/>
              <a:gd name="connsiteY19" fmla="*/ 485775 h 4496940"/>
              <a:gd name="connsiteX20" fmla="*/ 3745252 w 4519987"/>
              <a:gd name="connsiteY20" fmla="*/ 542925 h 4496940"/>
              <a:gd name="connsiteX21" fmla="*/ 3811927 w 4519987"/>
              <a:gd name="connsiteY21" fmla="*/ 581025 h 4496940"/>
              <a:gd name="connsiteX22" fmla="*/ 3907177 w 4519987"/>
              <a:gd name="connsiteY22" fmla="*/ 647700 h 4496940"/>
              <a:gd name="connsiteX23" fmla="*/ 3935752 w 4519987"/>
              <a:gd name="connsiteY23" fmla="*/ 676275 h 4496940"/>
              <a:gd name="connsiteX24" fmla="*/ 4078627 w 4519987"/>
              <a:gd name="connsiteY24" fmla="*/ 838200 h 4496940"/>
              <a:gd name="connsiteX25" fmla="*/ 4135777 w 4519987"/>
              <a:gd name="connsiteY25" fmla="*/ 933450 h 4496940"/>
              <a:gd name="connsiteX26" fmla="*/ 4164352 w 4519987"/>
              <a:gd name="connsiteY26" fmla="*/ 990600 h 4496940"/>
              <a:gd name="connsiteX27" fmla="*/ 4173877 w 4519987"/>
              <a:gd name="connsiteY27" fmla="*/ 1019175 h 4496940"/>
              <a:gd name="connsiteX28" fmla="*/ 4192927 w 4519987"/>
              <a:gd name="connsiteY28" fmla="*/ 1057275 h 4496940"/>
              <a:gd name="connsiteX29" fmla="*/ 4202452 w 4519987"/>
              <a:gd name="connsiteY29" fmla="*/ 1085850 h 4496940"/>
              <a:gd name="connsiteX30" fmla="*/ 4250077 w 4519987"/>
              <a:gd name="connsiteY30" fmla="*/ 1143000 h 4496940"/>
              <a:gd name="connsiteX31" fmla="*/ 4259602 w 4519987"/>
              <a:gd name="connsiteY31" fmla="*/ 1190625 h 4496940"/>
              <a:gd name="connsiteX32" fmla="*/ 4307227 w 4519987"/>
              <a:gd name="connsiteY32" fmla="*/ 1266825 h 4496940"/>
              <a:gd name="connsiteX33" fmla="*/ 4345327 w 4519987"/>
              <a:gd name="connsiteY33" fmla="*/ 1362075 h 4496940"/>
              <a:gd name="connsiteX34" fmla="*/ 4373902 w 4519987"/>
              <a:gd name="connsiteY34" fmla="*/ 1428750 h 4496940"/>
              <a:gd name="connsiteX35" fmla="*/ 4392952 w 4519987"/>
              <a:gd name="connsiteY35" fmla="*/ 1552575 h 4496940"/>
              <a:gd name="connsiteX36" fmla="*/ 4402477 w 4519987"/>
              <a:gd name="connsiteY36" fmla="*/ 1590675 h 4496940"/>
              <a:gd name="connsiteX37" fmla="*/ 4431052 w 4519987"/>
              <a:gd name="connsiteY37" fmla="*/ 1685925 h 4496940"/>
              <a:gd name="connsiteX38" fmla="*/ 4519952 w 4519987"/>
              <a:gd name="connsiteY38" fmla="*/ 2181225 h 4496940"/>
              <a:gd name="connsiteX39" fmla="*/ 4446927 w 4519987"/>
              <a:gd name="connsiteY39" fmla="*/ 2768600 h 4496940"/>
              <a:gd name="connsiteX40" fmla="*/ 4383427 w 4519987"/>
              <a:gd name="connsiteY40" fmla="*/ 2990850 h 4496940"/>
              <a:gd name="connsiteX41" fmla="*/ 4278652 w 4519987"/>
              <a:gd name="connsiteY41" fmla="*/ 3248025 h 4496940"/>
              <a:gd name="connsiteX42" fmla="*/ 4259602 w 4519987"/>
              <a:gd name="connsiteY42" fmla="*/ 3276600 h 4496940"/>
              <a:gd name="connsiteX43" fmla="*/ 4221502 w 4519987"/>
              <a:gd name="connsiteY43" fmla="*/ 3333750 h 4496940"/>
              <a:gd name="connsiteX44" fmla="*/ 4211977 w 4519987"/>
              <a:gd name="connsiteY44" fmla="*/ 3362325 h 4496940"/>
              <a:gd name="connsiteX45" fmla="*/ 4183402 w 4519987"/>
              <a:gd name="connsiteY45" fmla="*/ 3400425 h 4496940"/>
              <a:gd name="connsiteX46" fmla="*/ 4164352 w 4519987"/>
              <a:gd name="connsiteY46" fmla="*/ 3429000 h 4496940"/>
              <a:gd name="connsiteX47" fmla="*/ 4088152 w 4519987"/>
              <a:gd name="connsiteY47" fmla="*/ 3495675 h 4496940"/>
              <a:gd name="connsiteX48" fmla="*/ 4059577 w 4519987"/>
              <a:gd name="connsiteY48" fmla="*/ 3533775 h 4496940"/>
              <a:gd name="connsiteX49" fmla="*/ 4002427 w 4519987"/>
              <a:gd name="connsiteY49" fmla="*/ 3600450 h 4496940"/>
              <a:gd name="connsiteX50" fmla="*/ 3983377 w 4519987"/>
              <a:gd name="connsiteY50" fmla="*/ 3629025 h 4496940"/>
              <a:gd name="connsiteX51" fmla="*/ 3954802 w 4519987"/>
              <a:gd name="connsiteY51" fmla="*/ 3648075 h 4496940"/>
              <a:gd name="connsiteX52" fmla="*/ 3907177 w 4519987"/>
              <a:gd name="connsiteY52" fmla="*/ 3686175 h 4496940"/>
              <a:gd name="connsiteX53" fmla="*/ 3869077 w 4519987"/>
              <a:gd name="connsiteY53" fmla="*/ 3724275 h 4496940"/>
              <a:gd name="connsiteX54" fmla="*/ 3792877 w 4519987"/>
              <a:gd name="connsiteY54" fmla="*/ 3781425 h 4496940"/>
              <a:gd name="connsiteX55" fmla="*/ 3783352 w 4519987"/>
              <a:gd name="connsiteY55" fmla="*/ 3810000 h 4496940"/>
              <a:gd name="connsiteX56" fmla="*/ 3745252 w 4519987"/>
              <a:gd name="connsiteY56" fmla="*/ 3819525 h 4496940"/>
              <a:gd name="connsiteX57" fmla="*/ 3678577 w 4519987"/>
              <a:gd name="connsiteY57" fmla="*/ 3848100 h 4496940"/>
              <a:gd name="connsiteX58" fmla="*/ 3659527 w 4519987"/>
              <a:gd name="connsiteY58" fmla="*/ 3971925 h 4496940"/>
              <a:gd name="connsiteX59" fmla="*/ 3630952 w 4519987"/>
              <a:gd name="connsiteY59" fmla="*/ 4010025 h 4496940"/>
              <a:gd name="connsiteX60" fmla="*/ 3621427 w 4519987"/>
              <a:gd name="connsiteY60" fmla="*/ 4038600 h 4496940"/>
              <a:gd name="connsiteX61" fmla="*/ 3554752 w 4519987"/>
              <a:gd name="connsiteY61" fmla="*/ 4095750 h 4496940"/>
              <a:gd name="connsiteX62" fmla="*/ 3516652 w 4519987"/>
              <a:gd name="connsiteY62" fmla="*/ 4114800 h 4496940"/>
              <a:gd name="connsiteX63" fmla="*/ 3497602 w 4519987"/>
              <a:gd name="connsiteY63" fmla="*/ 4143375 h 4496940"/>
              <a:gd name="connsiteX64" fmla="*/ 3383302 w 4519987"/>
              <a:gd name="connsiteY64" fmla="*/ 4210050 h 4496940"/>
              <a:gd name="connsiteX65" fmla="*/ 3335677 w 4519987"/>
              <a:gd name="connsiteY65" fmla="*/ 4238625 h 4496940"/>
              <a:gd name="connsiteX66" fmla="*/ 3288052 w 4519987"/>
              <a:gd name="connsiteY66" fmla="*/ 4248150 h 4496940"/>
              <a:gd name="connsiteX67" fmla="*/ 3240427 w 4519987"/>
              <a:gd name="connsiteY67" fmla="*/ 4267200 h 4496940"/>
              <a:gd name="connsiteX68" fmla="*/ 3068977 w 4519987"/>
              <a:gd name="connsiteY68" fmla="*/ 4286250 h 4496940"/>
              <a:gd name="connsiteX69" fmla="*/ 2935627 w 4519987"/>
              <a:gd name="connsiteY69" fmla="*/ 4333875 h 4496940"/>
              <a:gd name="connsiteX70" fmla="*/ 2811802 w 4519987"/>
              <a:gd name="connsiteY70" fmla="*/ 4371975 h 4496940"/>
              <a:gd name="connsiteX71" fmla="*/ 2745127 w 4519987"/>
              <a:gd name="connsiteY71" fmla="*/ 4410075 h 4496940"/>
              <a:gd name="connsiteX72" fmla="*/ 2697502 w 4519987"/>
              <a:gd name="connsiteY72" fmla="*/ 4429125 h 4496940"/>
              <a:gd name="connsiteX73" fmla="*/ 2640352 w 4519987"/>
              <a:gd name="connsiteY73" fmla="*/ 4457700 h 4496940"/>
              <a:gd name="connsiteX74" fmla="*/ 2583202 w 4519987"/>
              <a:gd name="connsiteY74" fmla="*/ 4467225 h 4496940"/>
              <a:gd name="connsiteX75" fmla="*/ 2545102 w 4519987"/>
              <a:gd name="connsiteY75" fmla="*/ 4486275 h 4496940"/>
              <a:gd name="connsiteX76" fmla="*/ 2306977 w 4519987"/>
              <a:gd name="connsiteY76" fmla="*/ 4476750 h 4496940"/>
              <a:gd name="connsiteX77" fmla="*/ 2202202 w 4519987"/>
              <a:gd name="connsiteY77" fmla="*/ 4457700 h 4496940"/>
              <a:gd name="connsiteX78" fmla="*/ 2126002 w 4519987"/>
              <a:gd name="connsiteY78" fmla="*/ 4429125 h 4496940"/>
              <a:gd name="connsiteX79" fmla="*/ 1935502 w 4519987"/>
              <a:gd name="connsiteY79" fmla="*/ 4400550 h 4496940"/>
              <a:gd name="connsiteX80" fmla="*/ 1821202 w 4519987"/>
              <a:gd name="connsiteY80" fmla="*/ 4371975 h 4496940"/>
              <a:gd name="connsiteX81" fmla="*/ 1754527 w 4519987"/>
              <a:gd name="connsiteY81" fmla="*/ 4352925 h 4496940"/>
              <a:gd name="connsiteX82" fmla="*/ 1687852 w 4519987"/>
              <a:gd name="connsiteY82" fmla="*/ 4343400 h 4496940"/>
              <a:gd name="connsiteX83" fmla="*/ 1573552 w 4519987"/>
              <a:gd name="connsiteY83" fmla="*/ 4305300 h 4496940"/>
              <a:gd name="connsiteX84" fmla="*/ 1402102 w 4519987"/>
              <a:gd name="connsiteY84" fmla="*/ 4276725 h 4496940"/>
              <a:gd name="connsiteX85" fmla="*/ 1287802 w 4519987"/>
              <a:gd name="connsiteY85" fmla="*/ 4229100 h 4496940"/>
              <a:gd name="connsiteX86" fmla="*/ 1221127 w 4519987"/>
              <a:gd name="connsiteY86" fmla="*/ 4200525 h 4496940"/>
              <a:gd name="connsiteX87" fmla="*/ 1144927 w 4519987"/>
              <a:gd name="connsiteY87" fmla="*/ 4171950 h 4496940"/>
              <a:gd name="connsiteX88" fmla="*/ 1087777 w 4519987"/>
              <a:gd name="connsiteY88" fmla="*/ 4143375 h 4496940"/>
              <a:gd name="connsiteX89" fmla="*/ 1030627 w 4519987"/>
              <a:gd name="connsiteY89" fmla="*/ 4124325 h 4496940"/>
              <a:gd name="connsiteX90" fmla="*/ 925852 w 4519987"/>
              <a:gd name="connsiteY90" fmla="*/ 4067175 h 4496940"/>
              <a:gd name="connsiteX91" fmla="*/ 830602 w 4519987"/>
              <a:gd name="connsiteY91" fmla="*/ 3981450 h 4496940"/>
              <a:gd name="connsiteX92" fmla="*/ 763927 w 4519987"/>
              <a:gd name="connsiteY92" fmla="*/ 3914775 h 4496940"/>
              <a:gd name="connsiteX93" fmla="*/ 725827 w 4519987"/>
              <a:gd name="connsiteY93" fmla="*/ 3876675 h 4496940"/>
              <a:gd name="connsiteX94" fmla="*/ 697252 w 4519987"/>
              <a:gd name="connsiteY94" fmla="*/ 3838575 h 4496940"/>
              <a:gd name="connsiteX95" fmla="*/ 640102 w 4519987"/>
              <a:gd name="connsiteY95" fmla="*/ 3781425 h 4496940"/>
              <a:gd name="connsiteX96" fmla="*/ 611527 w 4519987"/>
              <a:gd name="connsiteY96" fmla="*/ 3733800 h 4496940"/>
              <a:gd name="connsiteX97" fmla="*/ 554377 w 4519987"/>
              <a:gd name="connsiteY97" fmla="*/ 3657600 h 4496940"/>
              <a:gd name="connsiteX98" fmla="*/ 525802 w 4519987"/>
              <a:gd name="connsiteY98" fmla="*/ 3609975 h 4496940"/>
              <a:gd name="connsiteX99" fmla="*/ 497227 w 4519987"/>
              <a:gd name="connsiteY99" fmla="*/ 3552825 h 4496940"/>
              <a:gd name="connsiteX100" fmla="*/ 440077 w 4519987"/>
              <a:gd name="connsiteY100" fmla="*/ 3495675 h 4496940"/>
              <a:gd name="connsiteX101" fmla="*/ 411502 w 4519987"/>
              <a:gd name="connsiteY101" fmla="*/ 3448050 h 4496940"/>
              <a:gd name="connsiteX102" fmla="*/ 278152 w 4519987"/>
              <a:gd name="connsiteY102" fmla="*/ 3257550 h 4496940"/>
              <a:gd name="connsiteX103" fmla="*/ 249577 w 4519987"/>
              <a:gd name="connsiteY103" fmla="*/ 3200400 h 4496940"/>
              <a:gd name="connsiteX104" fmla="*/ 240052 w 4519987"/>
              <a:gd name="connsiteY104" fmla="*/ 3162300 h 4496940"/>
              <a:gd name="connsiteX105" fmla="*/ 221002 w 4519987"/>
              <a:gd name="connsiteY105" fmla="*/ 3105150 h 4496940"/>
              <a:gd name="connsiteX106" fmla="*/ 173377 w 4519987"/>
              <a:gd name="connsiteY106" fmla="*/ 3019425 h 4496940"/>
              <a:gd name="connsiteX107" fmla="*/ 144802 w 4519987"/>
              <a:gd name="connsiteY107" fmla="*/ 2924175 h 4496940"/>
              <a:gd name="connsiteX108" fmla="*/ 68602 w 4519987"/>
              <a:gd name="connsiteY108" fmla="*/ 2724150 h 4496940"/>
              <a:gd name="connsiteX109" fmla="*/ 49552 w 4519987"/>
              <a:gd name="connsiteY109" fmla="*/ 2638425 h 4496940"/>
              <a:gd name="connsiteX110" fmla="*/ 40027 w 4519987"/>
              <a:gd name="connsiteY110" fmla="*/ 2562225 h 4496940"/>
              <a:gd name="connsiteX111" fmla="*/ 30502 w 4519987"/>
              <a:gd name="connsiteY111" fmla="*/ 2514600 h 4496940"/>
              <a:gd name="connsiteX112" fmla="*/ 11452 w 4519987"/>
              <a:gd name="connsiteY112" fmla="*/ 2400300 h 4496940"/>
              <a:gd name="connsiteX113" fmla="*/ 20977 w 4519987"/>
              <a:gd name="connsiteY113" fmla="*/ 1905000 h 4496940"/>
              <a:gd name="connsiteX114" fmla="*/ 30502 w 4519987"/>
              <a:gd name="connsiteY114" fmla="*/ 1838325 h 4496940"/>
              <a:gd name="connsiteX115" fmla="*/ 49552 w 4519987"/>
              <a:gd name="connsiteY115" fmla="*/ 1781175 h 4496940"/>
              <a:gd name="connsiteX116" fmla="*/ 59077 w 4519987"/>
              <a:gd name="connsiteY116" fmla="*/ 1743075 h 4496940"/>
              <a:gd name="connsiteX117" fmla="*/ 78127 w 4519987"/>
              <a:gd name="connsiteY117" fmla="*/ 1685925 h 4496940"/>
              <a:gd name="connsiteX118" fmla="*/ 87652 w 4519987"/>
              <a:gd name="connsiteY118" fmla="*/ 1638300 h 4496940"/>
              <a:gd name="connsiteX119" fmla="*/ 106702 w 4519987"/>
              <a:gd name="connsiteY119" fmla="*/ 1590675 h 4496940"/>
              <a:gd name="connsiteX120" fmla="*/ 135277 w 4519987"/>
              <a:gd name="connsiteY120" fmla="*/ 1504950 h 4496940"/>
              <a:gd name="connsiteX121" fmla="*/ 154327 w 4519987"/>
              <a:gd name="connsiteY121" fmla="*/ 1419225 h 4496940"/>
              <a:gd name="connsiteX122" fmla="*/ 230527 w 4519987"/>
              <a:gd name="connsiteY122" fmla="*/ 1276350 h 4496940"/>
              <a:gd name="connsiteX123" fmla="*/ 240052 w 4519987"/>
              <a:gd name="connsiteY123" fmla="*/ 1247775 h 4496940"/>
              <a:gd name="connsiteX124" fmla="*/ 268627 w 4519987"/>
              <a:gd name="connsiteY124" fmla="*/ 1200150 h 4496940"/>
              <a:gd name="connsiteX125" fmla="*/ 287677 w 4519987"/>
              <a:gd name="connsiteY125" fmla="*/ 1152525 h 4496940"/>
              <a:gd name="connsiteX126" fmla="*/ 316252 w 4519987"/>
              <a:gd name="connsiteY126" fmla="*/ 1114425 h 4496940"/>
              <a:gd name="connsiteX127" fmla="*/ 363877 w 4519987"/>
              <a:gd name="connsiteY127" fmla="*/ 1038225 h 4496940"/>
              <a:gd name="connsiteX128" fmla="*/ 382927 w 4519987"/>
              <a:gd name="connsiteY128" fmla="*/ 1009650 h 4496940"/>
              <a:gd name="connsiteX129" fmla="*/ 440077 w 4519987"/>
              <a:gd name="connsiteY129" fmla="*/ 904875 h 4496940"/>
              <a:gd name="connsiteX130" fmla="*/ 478177 w 4519987"/>
              <a:gd name="connsiteY130" fmla="*/ 857250 h 4496940"/>
              <a:gd name="connsiteX131" fmla="*/ 497227 w 4519987"/>
              <a:gd name="connsiteY131" fmla="*/ 828675 h 4496940"/>
              <a:gd name="connsiteX132" fmla="*/ 535327 w 4519987"/>
              <a:gd name="connsiteY132" fmla="*/ 800100 h 4496940"/>
              <a:gd name="connsiteX133" fmla="*/ 602002 w 4519987"/>
              <a:gd name="connsiteY133" fmla="*/ 733425 h 4496940"/>
              <a:gd name="connsiteX134" fmla="*/ 668677 w 4519987"/>
              <a:gd name="connsiteY134" fmla="*/ 676275 h 4496940"/>
              <a:gd name="connsiteX135" fmla="*/ 697252 w 4519987"/>
              <a:gd name="connsiteY135" fmla="*/ 657225 h 4496940"/>
              <a:gd name="connsiteX136" fmla="*/ 840127 w 4519987"/>
              <a:gd name="connsiteY136" fmla="*/ 533400 h 4496940"/>
              <a:gd name="connsiteX137" fmla="*/ 887752 w 4519987"/>
              <a:gd name="connsiteY137" fmla="*/ 504825 h 4496940"/>
              <a:gd name="connsiteX138" fmla="*/ 1167152 w 4519987"/>
              <a:gd name="connsiteY138" fmla="*/ 311150 h 4496940"/>
              <a:gd name="connsiteX139" fmla="*/ 1268752 w 4519987"/>
              <a:gd name="connsiteY139" fmla="*/ 285750 h 4496940"/>
              <a:gd name="connsiteX140" fmla="*/ 1411627 w 4519987"/>
              <a:gd name="connsiteY140" fmla="*/ 190500 h 4496940"/>
              <a:gd name="connsiteX141" fmla="*/ 1449727 w 4519987"/>
              <a:gd name="connsiteY141" fmla="*/ 161925 h 4496940"/>
              <a:gd name="connsiteX142" fmla="*/ 1525927 w 4519987"/>
              <a:gd name="connsiteY142" fmla="*/ 152400 h 4496940"/>
              <a:gd name="connsiteX143" fmla="*/ 1583077 w 4519987"/>
              <a:gd name="connsiteY143" fmla="*/ 142875 h 4496940"/>
              <a:gd name="connsiteX144" fmla="*/ 1716427 w 4519987"/>
              <a:gd name="connsiteY144" fmla="*/ 123825 h 4496940"/>
              <a:gd name="connsiteX145" fmla="*/ 1811677 w 4519987"/>
              <a:gd name="connsiteY145" fmla="*/ 114300 h 4496940"/>
              <a:gd name="connsiteX146" fmla="*/ 1859302 w 4519987"/>
              <a:gd name="connsiteY146" fmla="*/ 104775 h 4496940"/>
              <a:gd name="connsiteX147" fmla="*/ 1916452 w 4519987"/>
              <a:gd name="connsiteY147" fmla="*/ 95250 h 4496940"/>
              <a:gd name="connsiteX148" fmla="*/ 2030752 w 4519987"/>
              <a:gd name="connsiteY148" fmla="*/ 66675 h 4496940"/>
              <a:gd name="connsiteX149" fmla="*/ 2097427 w 4519987"/>
              <a:gd name="connsiteY149" fmla="*/ 47625 h 4496940"/>
              <a:gd name="connsiteX150" fmla="*/ 2164102 w 4519987"/>
              <a:gd name="connsiteY150" fmla="*/ 38100 h 4496940"/>
              <a:gd name="connsiteX151" fmla="*/ 2392702 w 4519987"/>
              <a:gd name="connsiteY15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3907177 w 4519987"/>
              <a:gd name="connsiteY21" fmla="*/ 647700 h 4496940"/>
              <a:gd name="connsiteX22" fmla="*/ 3935752 w 4519987"/>
              <a:gd name="connsiteY22" fmla="*/ 676275 h 4496940"/>
              <a:gd name="connsiteX23" fmla="*/ 4078627 w 4519987"/>
              <a:gd name="connsiteY23" fmla="*/ 838200 h 4496940"/>
              <a:gd name="connsiteX24" fmla="*/ 4135777 w 4519987"/>
              <a:gd name="connsiteY24" fmla="*/ 933450 h 4496940"/>
              <a:gd name="connsiteX25" fmla="*/ 4164352 w 4519987"/>
              <a:gd name="connsiteY25" fmla="*/ 990600 h 4496940"/>
              <a:gd name="connsiteX26" fmla="*/ 4173877 w 4519987"/>
              <a:gd name="connsiteY26" fmla="*/ 1019175 h 4496940"/>
              <a:gd name="connsiteX27" fmla="*/ 4192927 w 4519987"/>
              <a:gd name="connsiteY27" fmla="*/ 1057275 h 4496940"/>
              <a:gd name="connsiteX28" fmla="*/ 4202452 w 4519987"/>
              <a:gd name="connsiteY28" fmla="*/ 1085850 h 4496940"/>
              <a:gd name="connsiteX29" fmla="*/ 4250077 w 4519987"/>
              <a:gd name="connsiteY29" fmla="*/ 1143000 h 4496940"/>
              <a:gd name="connsiteX30" fmla="*/ 4259602 w 4519987"/>
              <a:gd name="connsiteY30" fmla="*/ 1190625 h 4496940"/>
              <a:gd name="connsiteX31" fmla="*/ 4307227 w 4519987"/>
              <a:gd name="connsiteY31" fmla="*/ 1266825 h 4496940"/>
              <a:gd name="connsiteX32" fmla="*/ 4345327 w 4519987"/>
              <a:gd name="connsiteY32" fmla="*/ 1362075 h 4496940"/>
              <a:gd name="connsiteX33" fmla="*/ 4373902 w 4519987"/>
              <a:gd name="connsiteY33" fmla="*/ 1428750 h 4496940"/>
              <a:gd name="connsiteX34" fmla="*/ 4392952 w 4519987"/>
              <a:gd name="connsiteY34" fmla="*/ 1552575 h 4496940"/>
              <a:gd name="connsiteX35" fmla="*/ 4402477 w 4519987"/>
              <a:gd name="connsiteY35" fmla="*/ 1590675 h 4496940"/>
              <a:gd name="connsiteX36" fmla="*/ 4431052 w 4519987"/>
              <a:gd name="connsiteY36" fmla="*/ 1685925 h 4496940"/>
              <a:gd name="connsiteX37" fmla="*/ 4519952 w 4519987"/>
              <a:gd name="connsiteY37" fmla="*/ 2181225 h 4496940"/>
              <a:gd name="connsiteX38" fmla="*/ 4446927 w 4519987"/>
              <a:gd name="connsiteY38" fmla="*/ 2768600 h 4496940"/>
              <a:gd name="connsiteX39" fmla="*/ 4383427 w 4519987"/>
              <a:gd name="connsiteY39" fmla="*/ 2990850 h 4496940"/>
              <a:gd name="connsiteX40" fmla="*/ 4278652 w 4519987"/>
              <a:gd name="connsiteY40" fmla="*/ 3248025 h 4496940"/>
              <a:gd name="connsiteX41" fmla="*/ 4259602 w 4519987"/>
              <a:gd name="connsiteY41" fmla="*/ 3276600 h 4496940"/>
              <a:gd name="connsiteX42" fmla="*/ 4221502 w 4519987"/>
              <a:gd name="connsiteY42" fmla="*/ 3333750 h 4496940"/>
              <a:gd name="connsiteX43" fmla="*/ 4211977 w 4519987"/>
              <a:gd name="connsiteY43" fmla="*/ 3362325 h 4496940"/>
              <a:gd name="connsiteX44" fmla="*/ 4183402 w 4519987"/>
              <a:gd name="connsiteY44" fmla="*/ 3400425 h 4496940"/>
              <a:gd name="connsiteX45" fmla="*/ 4164352 w 4519987"/>
              <a:gd name="connsiteY45" fmla="*/ 3429000 h 4496940"/>
              <a:gd name="connsiteX46" fmla="*/ 4088152 w 4519987"/>
              <a:gd name="connsiteY46" fmla="*/ 3495675 h 4496940"/>
              <a:gd name="connsiteX47" fmla="*/ 4059577 w 4519987"/>
              <a:gd name="connsiteY47" fmla="*/ 3533775 h 4496940"/>
              <a:gd name="connsiteX48" fmla="*/ 4002427 w 4519987"/>
              <a:gd name="connsiteY48" fmla="*/ 3600450 h 4496940"/>
              <a:gd name="connsiteX49" fmla="*/ 3983377 w 4519987"/>
              <a:gd name="connsiteY49" fmla="*/ 3629025 h 4496940"/>
              <a:gd name="connsiteX50" fmla="*/ 3954802 w 4519987"/>
              <a:gd name="connsiteY50" fmla="*/ 3648075 h 4496940"/>
              <a:gd name="connsiteX51" fmla="*/ 3907177 w 4519987"/>
              <a:gd name="connsiteY51" fmla="*/ 3686175 h 4496940"/>
              <a:gd name="connsiteX52" fmla="*/ 3869077 w 4519987"/>
              <a:gd name="connsiteY52" fmla="*/ 3724275 h 4496940"/>
              <a:gd name="connsiteX53" fmla="*/ 3792877 w 4519987"/>
              <a:gd name="connsiteY53" fmla="*/ 3781425 h 4496940"/>
              <a:gd name="connsiteX54" fmla="*/ 3783352 w 4519987"/>
              <a:gd name="connsiteY54" fmla="*/ 3810000 h 4496940"/>
              <a:gd name="connsiteX55" fmla="*/ 3745252 w 4519987"/>
              <a:gd name="connsiteY55" fmla="*/ 3819525 h 4496940"/>
              <a:gd name="connsiteX56" fmla="*/ 3678577 w 4519987"/>
              <a:gd name="connsiteY56" fmla="*/ 3848100 h 4496940"/>
              <a:gd name="connsiteX57" fmla="*/ 3659527 w 4519987"/>
              <a:gd name="connsiteY57" fmla="*/ 3971925 h 4496940"/>
              <a:gd name="connsiteX58" fmla="*/ 3630952 w 4519987"/>
              <a:gd name="connsiteY58" fmla="*/ 4010025 h 4496940"/>
              <a:gd name="connsiteX59" fmla="*/ 3621427 w 4519987"/>
              <a:gd name="connsiteY59" fmla="*/ 4038600 h 4496940"/>
              <a:gd name="connsiteX60" fmla="*/ 3554752 w 4519987"/>
              <a:gd name="connsiteY60" fmla="*/ 4095750 h 4496940"/>
              <a:gd name="connsiteX61" fmla="*/ 3516652 w 4519987"/>
              <a:gd name="connsiteY61" fmla="*/ 4114800 h 4496940"/>
              <a:gd name="connsiteX62" fmla="*/ 3497602 w 4519987"/>
              <a:gd name="connsiteY62" fmla="*/ 4143375 h 4496940"/>
              <a:gd name="connsiteX63" fmla="*/ 3383302 w 4519987"/>
              <a:gd name="connsiteY63" fmla="*/ 4210050 h 4496940"/>
              <a:gd name="connsiteX64" fmla="*/ 3335677 w 4519987"/>
              <a:gd name="connsiteY64" fmla="*/ 4238625 h 4496940"/>
              <a:gd name="connsiteX65" fmla="*/ 3288052 w 4519987"/>
              <a:gd name="connsiteY65" fmla="*/ 4248150 h 4496940"/>
              <a:gd name="connsiteX66" fmla="*/ 3240427 w 4519987"/>
              <a:gd name="connsiteY66" fmla="*/ 4267200 h 4496940"/>
              <a:gd name="connsiteX67" fmla="*/ 3068977 w 4519987"/>
              <a:gd name="connsiteY67" fmla="*/ 4286250 h 4496940"/>
              <a:gd name="connsiteX68" fmla="*/ 2935627 w 4519987"/>
              <a:gd name="connsiteY68" fmla="*/ 4333875 h 4496940"/>
              <a:gd name="connsiteX69" fmla="*/ 2811802 w 4519987"/>
              <a:gd name="connsiteY69" fmla="*/ 4371975 h 4496940"/>
              <a:gd name="connsiteX70" fmla="*/ 2745127 w 4519987"/>
              <a:gd name="connsiteY70" fmla="*/ 4410075 h 4496940"/>
              <a:gd name="connsiteX71" fmla="*/ 2697502 w 4519987"/>
              <a:gd name="connsiteY71" fmla="*/ 4429125 h 4496940"/>
              <a:gd name="connsiteX72" fmla="*/ 2640352 w 4519987"/>
              <a:gd name="connsiteY72" fmla="*/ 4457700 h 4496940"/>
              <a:gd name="connsiteX73" fmla="*/ 2583202 w 4519987"/>
              <a:gd name="connsiteY73" fmla="*/ 4467225 h 4496940"/>
              <a:gd name="connsiteX74" fmla="*/ 2545102 w 4519987"/>
              <a:gd name="connsiteY74" fmla="*/ 4486275 h 4496940"/>
              <a:gd name="connsiteX75" fmla="*/ 2306977 w 4519987"/>
              <a:gd name="connsiteY75" fmla="*/ 4476750 h 4496940"/>
              <a:gd name="connsiteX76" fmla="*/ 2202202 w 4519987"/>
              <a:gd name="connsiteY76" fmla="*/ 4457700 h 4496940"/>
              <a:gd name="connsiteX77" fmla="*/ 2126002 w 4519987"/>
              <a:gd name="connsiteY77" fmla="*/ 4429125 h 4496940"/>
              <a:gd name="connsiteX78" fmla="*/ 1935502 w 4519987"/>
              <a:gd name="connsiteY78" fmla="*/ 4400550 h 4496940"/>
              <a:gd name="connsiteX79" fmla="*/ 1821202 w 4519987"/>
              <a:gd name="connsiteY79" fmla="*/ 4371975 h 4496940"/>
              <a:gd name="connsiteX80" fmla="*/ 1754527 w 4519987"/>
              <a:gd name="connsiteY80" fmla="*/ 4352925 h 4496940"/>
              <a:gd name="connsiteX81" fmla="*/ 1687852 w 4519987"/>
              <a:gd name="connsiteY81" fmla="*/ 4343400 h 4496940"/>
              <a:gd name="connsiteX82" fmla="*/ 1573552 w 4519987"/>
              <a:gd name="connsiteY82" fmla="*/ 4305300 h 4496940"/>
              <a:gd name="connsiteX83" fmla="*/ 1402102 w 4519987"/>
              <a:gd name="connsiteY83" fmla="*/ 4276725 h 4496940"/>
              <a:gd name="connsiteX84" fmla="*/ 1287802 w 4519987"/>
              <a:gd name="connsiteY84" fmla="*/ 4229100 h 4496940"/>
              <a:gd name="connsiteX85" fmla="*/ 1221127 w 4519987"/>
              <a:gd name="connsiteY85" fmla="*/ 4200525 h 4496940"/>
              <a:gd name="connsiteX86" fmla="*/ 1144927 w 4519987"/>
              <a:gd name="connsiteY86" fmla="*/ 4171950 h 4496940"/>
              <a:gd name="connsiteX87" fmla="*/ 1087777 w 4519987"/>
              <a:gd name="connsiteY87" fmla="*/ 4143375 h 4496940"/>
              <a:gd name="connsiteX88" fmla="*/ 1030627 w 4519987"/>
              <a:gd name="connsiteY88" fmla="*/ 4124325 h 4496940"/>
              <a:gd name="connsiteX89" fmla="*/ 925852 w 4519987"/>
              <a:gd name="connsiteY89" fmla="*/ 4067175 h 4496940"/>
              <a:gd name="connsiteX90" fmla="*/ 830602 w 4519987"/>
              <a:gd name="connsiteY90" fmla="*/ 3981450 h 4496940"/>
              <a:gd name="connsiteX91" fmla="*/ 763927 w 4519987"/>
              <a:gd name="connsiteY91" fmla="*/ 3914775 h 4496940"/>
              <a:gd name="connsiteX92" fmla="*/ 725827 w 4519987"/>
              <a:gd name="connsiteY92" fmla="*/ 3876675 h 4496940"/>
              <a:gd name="connsiteX93" fmla="*/ 697252 w 4519987"/>
              <a:gd name="connsiteY93" fmla="*/ 3838575 h 4496940"/>
              <a:gd name="connsiteX94" fmla="*/ 640102 w 4519987"/>
              <a:gd name="connsiteY94" fmla="*/ 3781425 h 4496940"/>
              <a:gd name="connsiteX95" fmla="*/ 611527 w 4519987"/>
              <a:gd name="connsiteY95" fmla="*/ 3733800 h 4496940"/>
              <a:gd name="connsiteX96" fmla="*/ 554377 w 4519987"/>
              <a:gd name="connsiteY96" fmla="*/ 3657600 h 4496940"/>
              <a:gd name="connsiteX97" fmla="*/ 525802 w 4519987"/>
              <a:gd name="connsiteY97" fmla="*/ 3609975 h 4496940"/>
              <a:gd name="connsiteX98" fmla="*/ 497227 w 4519987"/>
              <a:gd name="connsiteY98" fmla="*/ 3552825 h 4496940"/>
              <a:gd name="connsiteX99" fmla="*/ 440077 w 4519987"/>
              <a:gd name="connsiteY99" fmla="*/ 3495675 h 4496940"/>
              <a:gd name="connsiteX100" fmla="*/ 411502 w 4519987"/>
              <a:gd name="connsiteY100" fmla="*/ 3448050 h 4496940"/>
              <a:gd name="connsiteX101" fmla="*/ 278152 w 4519987"/>
              <a:gd name="connsiteY101" fmla="*/ 3257550 h 4496940"/>
              <a:gd name="connsiteX102" fmla="*/ 249577 w 4519987"/>
              <a:gd name="connsiteY102" fmla="*/ 3200400 h 4496940"/>
              <a:gd name="connsiteX103" fmla="*/ 240052 w 4519987"/>
              <a:gd name="connsiteY103" fmla="*/ 3162300 h 4496940"/>
              <a:gd name="connsiteX104" fmla="*/ 221002 w 4519987"/>
              <a:gd name="connsiteY104" fmla="*/ 3105150 h 4496940"/>
              <a:gd name="connsiteX105" fmla="*/ 173377 w 4519987"/>
              <a:gd name="connsiteY105" fmla="*/ 3019425 h 4496940"/>
              <a:gd name="connsiteX106" fmla="*/ 144802 w 4519987"/>
              <a:gd name="connsiteY106" fmla="*/ 2924175 h 4496940"/>
              <a:gd name="connsiteX107" fmla="*/ 68602 w 4519987"/>
              <a:gd name="connsiteY107" fmla="*/ 2724150 h 4496940"/>
              <a:gd name="connsiteX108" fmla="*/ 49552 w 4519987"/>
              <a:gd name="connsiteY108" fmla="*/ 2638425 h 4496940"/>
              <a:gd name="connsiteX109" fmla="*/ 40027 w 4519987"/>
              <a:gd name="connsiteY109" fmla="*/ 2562225 h 4496940"/>
              <a:gd name="connsiteX110" fmla="*/ 30502 w 4519987"/>
              <a:gd name="connsiteY110" fmla="*/ 2514600 h 4496940"/>
              <a:gd name="connsiteX111" fmla="*/ 11452 w 4519987"/>
              <a:gd name="connsiteY111" fmla="*/ 2400300 h 4496940"/>
              <a:gd name="connsiteX112" fmla="*/ 20977 w 4519987"/>
              <a:gd name="connsiteY112" fmla="*/ 1905000 h 4496940"/>
              <a:gd name="connsiteX113" fmla="*/ 30502 w 4519987"/>
              <a:gd name="connsiteY113" fmla="*/ 1838325 h 4496940"/>
              <a:gd name="connsiteX114" fmla="*/ 49552 w 4519987"/>
              <a:gd name="connsiteY114" fmla="*/ 1781175 h 4496940"/>
              <a:gd name="connsiteX115" fmla="*/ 59077 w 4519987"/>
              <a:gd name="connsiteY115" fmla="*/ 1743075 h 4496940"/>
              <a:gd name="connsiteX116" fmla="*/ 78127 w 4519987"/>
              <a:gd name="connsiteY116" fmla="*/ 1685925 h 4496940"/>
              <a:gd name="connsiteX117" fmla="*/ 87652 w 4519987"/>
              <a:gd name="connsiteY117" fmla="*/ 1638300 h 4496940"/>
              <a:gd name="connsiteX118" fmla="*/ 106702 w 4519987"/>
              <a:gd name="connsiteY118" fmla="*/ 1590675 h 4496940"/>
              <a:gd name="connsiteX119" fmla="*/ 135277 w 4519987"/>
              <a:gd name="connsiteY119" fmla="*/ 1504950 h 4496940"/>
              <a:gd name="connsiteX120" fmla="*/ 154327 w 4519987"/>
              <a:gd name="connsiteY120" fmla="*/ 1419225 h 4496940"/>
              <a:gd name="connsiteX121" fmla="*/ 230527 w 4519987"/>
              <a:gd name="connsiteY121" fmla="*/ 1276350 h 4496940"/>
              <a:gd name="connsiteX122" fmla="*/ 240052 w 4519987"/>
              <a:gd name="connsiteY122" fmla="*/ 1247775 h 4496940"/>
              <a:gd name="connsiteX123" fmla="*/ 268627 w 4519987"/>
              <a:gd name="connsiteY123" fmla="*/ 1200150 h 4496940"/>
              <a:gd name="connsiteX124" fmla="*/ 287677 w 4519987"/>
              <a:gd name="connsiteY124" fmla="*/ 1152525 h 4496940"/>
              <a:gd name="connsiteX125" fmla="*/ 316252 w 4519987"/>
              <a:gd name="connsiteY125" fmla="*/ 1114425 h 4496940"/>
              <a:gd name="connsiteX126" fmla="*/ 363877 w 4519987"/>
              <a:gd name="connsiteY126" fmla="*/ 1038225 h 4496940"/>
              <a:gd name="connsiteX127" fmla="*/ 382927 w 4519987"/>
              <a:gd name="connsiteY127" fmla="*/ 1009650 h 4496940"/>
              <a:gd name="connsiteX128" fmla="*/ 440077 w 4519987"/>
              <a:gd name="connsiteY128" fmla="*/ 904875 h 4496940"/>
              <a:gd name="connsiteX129" fmla="*/ 478177 w 4519987"/>
              <a:gd name="connsiteY129" fmla="*/ 857250 h 4496940"/>
              <a:gd name="connsiteX130" fmla="*/ 497227 w 4519987"/>
              <a:gd name="connsiteY130" fmla="*/ 828675 h 4496940"/>
              <a:gd name="connsiteX131" fmla="*/ 535327 w 4519987"/>
              <a:gd name="connsiteY131" fmla="*/ 800100 h 4496940"/>
              <a:gd name="connsiteX132" fmla="*/ 602002 w 4519987"/>
              <a:gd name="connsiteY132" fmla="*/ 733425 h 4496940"/>
              <a:gd name="connsiteX133" fmla="*/ 668677 w 4519987"/>
              <a:gd name="connsiteY133" fmla="*/ 676275 h 4496940"/>
              <a:gd name="connsiteX134" fmla="*/ 697252 w 4519987"/>
              <a:gd name="connsiteY134" fmla="*/ 657225 h 4496940"/>
              <a:gd name="connsiteX135" fmla="*/ 840127 w 4519987"/>
              <a:gd name="connsiteY135" fmla="*/ 533400 h 4496940"/>
              <a:gd name="connsiteX136" fmla="*/ 887752 w 4519987"/>
              <a:gd name="connsiteY136" fmla="*/ 504825 h 4496940"/>
              <a:gd name="connsiteX137" fmla="*/ 1167152 w 4519987"/>
              <a:gd name="connsiteY137" fmla="*/ 311150 h 4496940"/>
              <a:gd name="connsiteX138" fmla="*/ 1268752 w 4519987"/>
              <a:gd name="connsiteY138" fmla="*/ 285750 h 4496940"/>
              <a:gd name="connsiteX139" fmla="*/ 1411627 w 4519987"/>
              <a:gd name="connsiteY139" fmla="*/ 190500 h 4496940"/>
              <a:gd name="connsiteX140" fmla="*/ 1449727 w 4519987"/>
              <a:gd name="connsiteY140" fmla="*/ 161925 h 4496940"/>
              <a:gd name="connsiteX141" fmla="*/ 1525927 w 4519987"/>
              <a:gd name="connsiteY141" fmla="*/ 152400 h 4496940"/>
              <a:gd name="connsiteX142" fmla="*/ 1583077 w 4519987"/>
              <a:gd name="connsiteY142" fmla="*/ 142875 h 4496940"/>
              <a:gd name="connsiteX143" fmla="*/ 1716427 w 4519987"/>
              <a:gd name="connsiteY143" fmla="*/ 123825 h 4496940"/>
              <a:gd name="connsiteX144" fmla="*/ 1811677 w 4519987"/>
              <a:gd name="connsiteY144" fmla="*/ 114300 h 4496940"/>
              <a:gd name="connsiteX145" fmla="*/ 1859302 w 4519987"/>
              <a:gd name="connsiteY145" fmla="*/ 104775 h 4496940"/>
              <a:gd name="connsiteX146" fmla="*/ 1916452 w 4519987"/>
              <a:gd name="connsiteY146" fmla="*/ 95250 h 4496940"/>
              <a:gd name="connsiteX147" fmla="*/ 2030752 w 4519987"/>
              <a:gd name="connsiteY147" fmla="*/ 66675 h 4496940"/>
              <a:gd name="connsiteX148" fmla="*/ 2097427 w 4519987"/>
              <a:gd name="connsiteY148" fmla="*/ 47625 h 4496940"/>
              <a:gd name="connsiteX149" fmla="*/ 2164102 w 4519987"/>
              <a:gd name="connsiteY149" fmla="*/ 38100 h 4496940"/>
              <a:gd name="connsiteX150" fmla="*/ 2392702 w 4519987"/>
              <a:gd name="connsiteY15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3907177 w 4519987"/>
              <a:gd name="connsiteY21" fmla="*/ 647700 h 4496940"/>
              <a:gd name="connsiteX22" fmla="*/ 4078627 w 4519987"/>
              <a:gd name="connsiteY22" fmla="*/ 838200 h 4496940"/>
              <a:gd name="connsiteX23" fmla="*/ 4135777 w 4519987"/>
              <a:gd name="connsiteY23" fmla="*/ 933450 h 4496940"/>
              <a:gd name="connsiteX24" fmla="*/ 4164352 w 4519987"/>
              <a:gd name="connsiteY24" fmla="*/ 990600 h 4496940"/>
              <a:gd name="connsiteX25" fmla="*/ 4173877 w 4519987"/>
              <a:gd name="connsiteY25" fmla="*/ 1019175 h 4496940"/>
              <a:gd name="connsiteX26" fmla="*/ 4192927 w 4519987"/>
              <a:gd name="connsiteY26" fmla="*/ 1057275 h 4496940"/>
              <a:gd name="connsiteX27" fmla="*/ 4202452 w 4519987"/>
              <a:gd name="connsiteY27" fmla="*/ 1085850 h 4496940"/>
              <a:gd name="connsiteX28" fmla="*/ 4250077 w 4519987"/>
              <a:gd name="connsiteY28" fmla="*/ 1143000 h 4496940"/>
              <a:gd name="connsiteX29" fmla="*/ 4259602 w 4519987"/>
              <a:gd name="connsiteY29" fmla="*/ 1190625 h 4496940"/>
              <a:gd name="connsiteX30" fmla="*/ 4307227 w 4519987"/>
              <a:gd name="connsiteY30" fmla="*/ 1266825 h 4496940"/>
              <a:gd name="connsiteX31" fmla="*/ 4345327 w 4519987"/>
              <a:gd name="connsiteY31" fmla="*/ 1362075 h 4496940"/>
              <a:gd name="connsiteX32" fmla="*/ 4373902 w 4519987"/>
              <a:gd name="connsiteY32" fmla="*/ 1428750 h 4496940"/>
              <a:gd name="connsiteX33" fmla="*/ 4392952 w 4519987"/>
              <a:gd name="connsiteY33" fmla="*/ 1552575 h 4496940"/>
              <a:gd name="connsiteX34" fmla="*/ 4402477 w 4519987"/>
              <a:gd name="connsiteY34" fmla="*/ 1590675 h 4496940"/>
              <a:gd name="connsiteX35" fmla="*/ 4431052 w 4519987"/>
              <a:gd name="connsiteY35" fmla="*/ 1685925 h 4496940"/>
              <a:gd name="connsiteX36" fmla="*/ 4519952 w 4519987"/>
              <a:gd name="connsiteY36" fmla="*/ 2181225 h 4496940"/>
              <a:gd name="connsiteX37" fmla="*/ 4446927 w 4519987"/>
              <a:gd name="connsiteY37" fmla="*/ 2768600 h 4496940"/>
              <a:gd name="connsiteX38" fmla="*/ 4383427 w 4519987"/>
              <a:gd name="connsiteY38" fmla="*/ 2990850 h 4496940"/>
              <a:gd name="connsiteX39" fmla="*/ 4278652 w 4519987"/>
              <a:gd name="connsiteY39" fmla="*/ 3248025 h 4496940"/>
              <a:gd name="connsiteX40" fmla="*/ 4259602 w 4519987"/>
              <a:gd name="connsiteY40" fmla="*/ 3276600 h 4496940"/>
              <a:gd name="connsiteX41" fmla="*/ 4221502 w 4519987"/>
              <a:gd name="connsiteY41" fmla="*/ 3333750 h 4496940"/>
              <a:gd name="connsiteX42" fmla="*/ 4211977 w 4519987"/>
              <a:gd name="connsiteY42" fmla="*/ 3362325 h 4496940"/>
              <a:gd name="connsiteX43" fmla="*/ 4183402 w 4519987"/>
              <a:gd name="connsiteY43" fmla="*/ 3400425 h 4496940"/>
              <a:gd name="connsiteX44" fmla="*/ 4164352 w 4519987"/>
              <a:gd name="connsiteY44" fmla="*/ 3429000 h 4496940"/>
              <a:gd name="connsiteX45" fmla="*/ 4088152 w 4519987"/>
              <a:gd name="connsiteY45" fmla="*/ 3495675 h 4496940"/>
              <a:gd name="connsiteX46" fmla="*/ 4059577 w 4519987"/>
              <a:gd name="connsiteY46" fmla="*/ 3533775 h 4496940"/>
              <a:gd name="connsiteX47" fmla="*/ 4002427 w 4519987"/>
              <a:gd name="connsiteY47" fmla="*/ 3600450 h 4496940"/>
              <a:gd name="connsiteX48" fmla="*/ 3983377 w 4519987"/>
              <a:gd name="connsiteY48" fmla="*/ 3629025 h 4496940"/>
              <a:gd name="connsiteX49" fmla="*/ 3954802 w 4519987"/>
              <a:gd name="connsiteY49" fmla="*/ 3648075 h 4496940"/>
              <a:gd name="connsiteX50" fmla="*/ 3907177 w 4519987"/>
              <a:gd name="connsiteY50" fmla="*/ 3686175 h 4496940"/>
              <a:gd name="connsiteX51" fmla="*/ 3869077 w 4519987"/>
              <a:gd name="connsiteY51" fmla="*/ 3724275 h 4496940"/>
              <a:gd name="connsiteX52" fmla="*/ 3792877 w 4519987"/>
              <a:gd name="connsiteY52" fmla="*/ 3781425 h 4496940"/>
              <a:gd name="connsiteX53" fmla="*/ 3783352 w 4519987"/>
              <a:gd name="connsiteY53" fmla="*/ 3810000 h 4496940"/>
              <a:gd name="connsiteX54" fmla="*/ 3745252 w 4519987"/>
              <a:gd name="connsiteY54" fmla="*/ 3819525 h 4496940"/>
              <a:gd name="connsiteX55" fmla="*/ 3678577 w 4519987"/>
              <a:gd name="connsiteY55" fmla="*/ 3848100 h 4496940"/>
              <a:gd name="connsiteX56" fmla="*/ 3659527 w 4519987"/>
              <a:gd name="connsiteY56" fmla="*/ 3971925 h 4496940"/>
              <a:gd name="connsiteX57" fmla="*/ 3630952 w 4519987"/>
              <a:gd name="connsiteY57" fmla="*/ 4010025 h 4496940"/>
              <a:gd name="connsiteX58" fmla="*/ 3621427 w 4519987"/>
              <a:gd name="connsiteY58" fmla="*/ 4038600 h 4496940"/>
              <a:gd name="connsiteX59" fmla="*/ 3554752 w 4519987"/>
              <a:gd name="connsiteY59" fmla="*/ 4095750 h 4496940"/>
              <a:gd name="connsiteX60" fmla="*/ 3516652 w 4519987"/>
              <a:gd name="connsiteY60" fmla="*/ 4114800 h 4496940"/>
              <a:gd name="connsiteX61" fmla="*/ 3497602 w 4519987"/>
              <a:gd name="connsiteY61" fmla="*/ 4143375 h 4496940"/>
              <a:gd name="connsiteX62" fmla="*/ 3383302 w 4519987"/>
              <a:gd name="connsiteY62" fmla="*/ 4210050 h 4496940"/>
              <a:gd name="connsiteX63" fmla="*/ 3335677 w 4519987"/>
              <a:gd name="connsiteY63" fmla="*/ 4238625 h 4496940"/>
              <a:gd name="connsiteX64" fmla="*/ 3288052 w 4519987"/>
              <a:gd name="connsiteY64" fmla="*/ 4248150 h 4496940"/>
              <a:gd name="connsiteX65" fmla="*/ 3240427 w 4519987"/>
              <a:gd name="connsiteY65" fmla="*/ 4267200 h 4496940"/>
              <a:gd name="connsiteX66" fmla="*/ 3068977 w 4519987"/>
              <a:gd name="connsiteY66" fmla="*/ 4286250 h 4496940"/>
              <a:gd name="connsiteX67" fmla="*/ 2935627 w 4519987"/>
              <a:gd name="connsiteY67" fmla="*/ 4333875 h 4496940"/>
              <a:gd name="connsiteX68" fmla="*/ 2811802 w 4519987"/>
              <a:gd name="connsiteY68" fmla="*/ 4371975 h 4496940"/>
              <a:gd name="connsiteX69" fmla="*/ 2745127 w 4519987"/>
              <a:gd name="connsiteY69" fmla="*/ 4410075 h 4496940"/>
              <a:gd name="connsiteX70" fmla="*/ 2697502 w 4519987"/>
              <a:gd name="connsiteY70" fmla="*/ 4429125 h 4496940"/>
              <a:gd name="connsiteX71" fmla="*/ 2640352 w 4519987"/>
              <a:gd name="connsiteY71" fmla="*/ 4457700 h 4496940"/>
              <a:gd name="connsiteX72" fmla="*/ 2583202 w 4519987"/>
              <a:gd name="connsiteY72" fmla="*/ 4467225 h 4496940"/>
              <a:gd name="connsiteX73" fmla="*/ 2545102 w 4519987"/>
              <a:gd name="connsiteY73" fmla="*/ 4486275 h 4496940"/>
              <a:gd name="connsiteX74" fmla="*/ 2306977 w 4519987"/>
              <a:gd name="connsiteY74" fmla="*/ 4476750 h 4496940"/>
              <a:gd name="connsiteX75" fmla="*/ 2202202 w 4519987"/>
              <a:gd name="connsiteY75" fmla="*/ 4457700 h 4496940"/>
              <a:gd name="connsiteX76" fmla="*/ 2126002 w 4519987"/>
              <a:gd name="connsiteY76" fmla="*/ 4429125 h 4496940"/>
              <a:gd name="connsiteX77" fmla="*/ 1935502 w 4519987"/>
              <a:gd name="connsiteY77" fmla="*/ 4400550 h 4496940"/>
              <a:gd name="connsiteX78" fmla="*/ 1821202 w 4519987"/>
              <a:gd name="connsiteY78" fmla="*/ 4371975 h 4496940"/>
              <a:gd name="connsiteX79" fmla="*/ 1754527 w 4519987"/>
              <a:gd name="connsiteY79" fmla="*/ 4352925 h 4496940"/>
              <a:gd name="connsiteX80" fmla="*/ 1687852 w 4519987"/>
              <a:gd name="connsiteY80" fmla="*/ 4343400 h 4496940"/>
              <a:gd name="connsiteX81" fmla="*/ 1573552 w 4519987"/>
              <a:gd name="connsiteY81" fmla="*/ 4305300 h 4496940"/>
              <a:gd name="connsiteX82" fmla="*/ 1402102 w 4519987"/>
              <a:gd name="connsiteY82" fmla="*/ 4276725 h 4496940"/>
              <a:gd name="connsiteX83" fmla="*/ 1287802 w 4519987"/>
              <a:gd name="connsiteY83" fmla="*/ 4229100 h 4496940"/>
              <a:gd name="connsiteX84" fmla="*/ 1221127 w 4519987"/>
              <a:gd name="connsiteY84" fmla="*/ 4200525 h 4496940"/>
              <a:gd name="connsiteX85" fmla="*/ 1144927 w 4519987"/>
              <a:gd name="connsiteY85" fmla="*/ 4171950 h 4496940"/>
              <a:gd name="connsiteX86" fmla="*/ 1087777 w 4519987"/>
              <a:gd name="connsiteY86" fmla="*/ 4143375 h 4496940"/>
              <a:gd name="connsiteX87" fmla="*/ 1030627 w 4519987"/>
              <a:gd name="connsiteY87" fmla="*/ 4124325 h 4496940"/>
              <a:gd name="connsiteX88" fmla="*/ 925852 w 4519987"/>
              <a:gd name="connsiteY88" fmla="*/ 4067175 h 4496940"/>
              <a:gd name="connsiteX89" fmla="*/ 830602 w 4519987"/>
              <a:gd name="connsiteY89" fmla="*/ 3981450 h 4496940"/>
              <a:gd name="connsiteX90" fmla="*/ 763927 w 4519987"/>
              <a:gd name="connsiteY90" fmla="*/ 3914775 h 4496940"/>
              <a:gd name="connsiteX91" fmla="*/ 725827 w 4519987"/>
              <a:gd name="connsiteY91" fmla="*/ 3876675 h 4496940"/>
              <a:gd name="connsiteX92" fmla="*/ 697252 w 4519987"/>
              <a:gd name="connsiteY92" fmla="*/ 3838575 h 4496940"/>
              <a:gd name="connsiteX93" fmla="*/ 640102 w 4519987"/>
              <a:gd name="connsiteY93" fmla="*/ 3781425 h 4496940"/>
              <a:gd name="connsiteX94" fmla="*/ 611527 w 4519987"/>
              <a:gd name="connsiteY94" fmla="*/ 3733800 h 4496940"/>
              <a:gd name="connsiteX95" fmla="*/ 554377 w 4519987"/>
              <a:gd name="connsiteY95" fmla="*/ 3657600 h 4496940"/>
              <a:gd name="connsiteX96" fmla="*/ 525802 w 4519987"/>
              <a:gd name="connsiteY96" fmla="*/ 3609975 h 4496940"/>
              <a:gd name="connsiteX97" fmla="*/ 497227 w 4519987"/>
              <a:gd name="connsiteY97" fmla="*/ 3552825 h 4496940"/>
              <a:gd name="connsiteX98" fmla="*/ 440077 w 4519987"/>
              <a:gd name="connsiteY98" fmla="*/ 3495675 h 4496940"/>
              <a:gd name="connsiteX99" fmla="*/ 411502 w 4519987"/>
              <a:gd name="connsiteY99" fmla="*/ 3448050 h 4496940"/>
              <a:gd name="connsiteX100" fmla="*/ 278152 w 4519987"/>
              <a:gd name="connsiteY100" fmla="*/ 3257550 h 4496940"/>
              <a:gd name="connsiteX101" fmla="*/ 249577 w 4519987"/>
              <a:gd name="connsiteY101" fmla="*/ 3200400 h 4496940"/>
              <a:gd name="connsiteX102" fmla="*/ 240052 w 4519987"/>
              <a:gd name="connsiteY102" fmla="*/ 3162300 h 4496940"/>
              <a:gd name="connsiteX103" fmla="*/ 221002 w 4519987"/>
              <a:gd name="connsiteY103" fmla="*/ 3105150 h 4496940"/>
              <a:gd name="connsiteX104" fmla="*/ 173377 w 4519987"/>
              <a:gd name="connsiteY104" fmla="*/ 3019425 h 4496940"/>
              <a:gd name="connsiteX105" fmla="*/ 144802 w 4519987"/>
              <a:gd name="connsiteY105" fmla="*/ 2924175 h 4496940"/>
              <a:gd name="connsiteX106" fmla="*/ 68602 w 4519987"/>
              <a:gd name="connsiteY106" fmla="*/ 2724150 h 4496940"/>
              <a:gd name="connsiteX107" fmla="*/ 49552 w 4519987"/>
              <a:gd name="connsiteY107" fmla="*/ 2638425 h 4496940"/>
              <a:gd name="connsiteX108" fmla="*/ 40027 w 4519987"/>
              <a:gd name="connsiteY108" fmla="*/ 2562225 h 4496940"/>
              <a:gd name="connsiteX109" fmla="*/ 30502 w 4519987"/>
              <a:gd name="connsiteY109" fmla="*/ 2514600 h 4496940"/>
              <a:gd name="connsiteX110" fmla="*/ 11452 w 4519987"/>
              <a:gd name="connsiteY110" fmla="*/ 2400300 h 4496940"/>
              <a:gd name="connsiteX111" fmla="*/ 20977 w 4519987"/>
              <a:gd name="connsiteY111" fmla="*/ 1905000 h 4496940"/>
              <a:gd name="connsiteX112" fmla="*/ 30502 w 4519987"/>
              <a:gd name="connsiteY112" fmla="*/ 1838325 h 4496940"/>
              <a:gd name="connsiteX113" fmla="*/ 49552 w 4519987"/>
              <a:gd name="connsiteY113" fmla="*/ 1781175 h 4496940"/>
              <a:gd name="connsiteX114" fmla="*/ 59077 w 4519987"/>
              <a:gd name="connsiteY114" fmla="*/ 1743075 h 4496940"/>
              <a:gd name="connsiteX115" fmla="*/ 78127 w 4519987"/>
              <a:gd name="connsiteY115" fmla="*/ 1685925 h 4496940"/>
              <a:gd name="connsiteX116" fmla="*/ 87652 w 4519987"/>
              <a:gd name="connsiteY116" fmla="*/ 1638300 h 4496940"/>
              <a:gd name="connsiteX117" fmla="*/ 106702 w 4519987"/>
              <a:gd name="connsiteY117" fmla="*/ 1590675 h 4496940"/>
              <a:gd name="connsiteX118" fmla="*/ 135277 w 4519987"/>
              <a:gd name="connsiteY118" fmla="*/ 1504950 h 4496940"/>
              <a:gd name="connsiteX119" fmla="*/ 154327 w 4519987"/>
              <a:gd name="connsiteY119" fmla="*/ 1419225 h 4496940"/>
              <a:gd name="connsiteX120" fmla="*/ 230527 w 4519987"/>
              <a:gd name="connsiteY120" fmla="*/ 1276350 h 4496940"/>
              <a:gd name="connsiteX121" fmla="*/ 240052 w 4519987"/>
              <a:gd name="connsiteY121" fmla="*/ 1247775 h 4496940"/>
              <a:gd name="connsiteX122" fmla="*/ 268627 w 4519987"/>
              <a:gd name="connsiteY122" fmla="*/ 1200150 h 4496940"/>
              <a:gd name="connsiteX123" fmla="*/ 287677 w 4519987"/>
              <a:gd name="connsiteY123" fmla="*/ 1152525 h 4496940"/>
              <a:gd name="connsiteX124" fmla="*/ 316252 w 4519987"/>
              <a:gd name="connsiteY124" fmla="*/ 1114425 h 4496940"/>
              <a:gd name="connsiteX125" fmla="*/ 363877 w 4519987"/>
              <a:gd name="connsiteY125" fmla="*/ 1038225 h 4496940"/>
              <a:gd name="connsiteX126" fmla="*/ 382927 w 4519987"/>
              <a:gd name="connsiteY126" fmla="*/ 1009650 h 4496940"/>
              <a:gd name="connsiteX127" fmla="*/ 440077 w 4519987"/>
              <a:gd name="connsiteY127" fmla="*/ 904875 h 4496940"/>
              <a:gd name="connsiteX128" fmla="*/ 478177 w 4519987"/>
              <a:gd name="connsiteY128" fmla="*/ 857250 h 4496940"/>
              <a:gd name="connsiteX129" fmla="*/ 497227 w 4519987"/>
              <a:gd name="connsiteY129" fmla="*/ 828675 h 4496940"/>
              <a:gd name="connsiteX130" fmla="*/ 535327 w 4519987"/>
              <a:gd name="connsiteY130" fmla="*/ 800100 h 4496940"/>
              <a:gd name="connsiteX131" fmla="*/ 602002 w 4519987"/>
              <a:gd name="connsiteY131" fmla="*/ 733425 h 4496940"/>
              <a:gd name="connsiteX132" fmla="*/ 668677 w 4519987"/>
              <a:gd name="connsiteY132" fmla="*/ 676275 h 4496940"/>
              <a:gd name="connsiteX133" fmla="*/ 697252 w 4519987"/>
              <a:gd name="connsiteY133" fmla="*/ 657225 h 4496940"/>
              <a:gd name="connsiteX134" fmla="*/ 840127 w 4519987"/>
              <a:gd name="connsiteY134" fmla="*/ 533400 h 4496940"/>
              <a:gd name="connsiteX135" fmla="*/ 887752 w 4519987"/>
              <a:gd name="connsiteY135" fmla="*/ 504825 h 4496940"/>
              <a:gd name="connsiteX136" fmla="*/ 1167152 w 4519987"/>
              <a:gd name="connsiteY136" fmla="*/ 311150 h 4496940"/>
              <a:gd name="connsiteX137" fmla="*/ 1268752 w 4519987"/>
              <a:gd name="connsiteY137" fmla="*/ 285750 h 4496940"/>
              <a:gd name="connsiteX138" fmla="*/ 1411627 w 4519987"/>
              <a:gd name="connsiteY138" fmla="*/ 190500 h 4496940"/>
              <a:gd name="connsiteX139" fmla="*/ 1449727 w 4519987"/>
              <a:gd name="connsiteY139" fmla="*/ 161925 h 4496940"/>
              <a:gd name="connsiteX140" fmla="*/ 1525927 w 4519987"/>
              <a:gd name="connsiteY140" fmla="*/ 152400 h 4496940"/>
              <a:gd name="connsiteX141" fmla="*/ 1583077 w 4519987"/>
              <a:gd name="connsiteY141" fmla="*/ 142875 h 4496940"/>
              <a:gd name="connsiteX142" fmla="*/ 1716427 w 4519987"/>
              <a:gd name="connsiteY142" fmla="*/ 123825 h 4496940"/>
              <a:gd name="connsiteX143" fmla="*/ 1811677 w 4519987"/>
              <a:gd name="connsiteY143" fmla="*/ 114300 h 4496940"/>
              <a:gd name="connsiteX144" fmla="*/ 1859302 w 4519987"/>
              <a:gd name="connsiteY144" fmla="*/ 104775 h 4496940"/>
              <a:gd name="connsiteX145" fmla="*/ 1916452 w 4519987"/>
              <a:gd name="connsiteY145" fmla="*/ 95250 h 4496940"/>
              <a:gd name="connsiteX146" fmla="*/ 2030752 w 4519987"/>
              <a:gd name="connsiteY146" fmla="*/ 66675 h 4496940"/>
              <a:gd name="connsiteX147" fmla="*/ 2097427 w 4519987"/>
              <a:gd name="connsiteY147" fmla="*/ 47625 h 4496940"/>
              <a:gd name="connsiteX148" fmla="*/ 2164102 w 4519987"/>
              <a:gd name="connsiteY148" fmla="*/ 38100 h 4496940"/>
              <a:gd name="connsiteX149" fmla="*/ 2392702 w 4519987"/>
              <a:gd name="connsiteY14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78627 w 4519987"/>
              <a:gd name="connsiteY21" fmla="*/ 838200 h 4496940"/>
              <a:gd name="connsiteX22" fmla="*/ 4135777 w 4519987"/>
              <a:gd name="connsiteY22" fmla="*/ 933450 h 4496940"/>
              <a:gd name="connsiteX23" fmla="*/ 4164352 w 4519987"/>
              <a:gd name="connsiteY23" fmla="*/ 990600 h 4496940"/>
              <a:gd name="connsiteX24" fmla="*/ 4173877 w 4519987"/>
              <a:gd name="connsiteY24" fmla="*/ 1019175 h 4496940"/>
              <a:gd name="connsiteX25" fmla="*/ 4192927 w 4519987"/>
              <a:gd name="connsiteY25" fmla="*/ 1057275 h 4496940"/>
              <a:gd name="connsiteX26" fmla="*/ 4202452 w 4519987"/>
              <a:gd name="connsiteY26" fmla="*/ 1085850 h 4496940"/>
              <a:gd name="connsiteX27" fmla="*/ 4250077 w 4519987"/>
              <a:gd name="connsiteY27" fmla="*/ 1143000 h 4496940"/>
              <a:gd name="connsiteX28" fmla="*/ 4259602 w 4519987"/>
              <a:gd name="connsiteY28" fmla="*/ 1190625 h 4496940"/>
              <a:gd name="connsiteX29" fmla="*/ 4307227 w 4519987"/>
              <a:gd name="connsiteY29" fmla="*/ 1266825 h 4496940"/>
              <a:gd name="connsiteX30" fmla="*/ 4345327 w 4519987"/>
              <a:gd name="connsiteY30" fmla="*/ 1362075 h 4496940"/>
              <a:gd name="connsiteX31" fmla="*/ 4373902 w 4519987"/>
              <a:gd name="connsiteY31" fmla="*/ 1428750 h 4496940"/>
              <a:gd name="connsiteX32" fmla="*/ 4392952 w 4519987"/>
              <a:gd name="connsiteY32" fmla="*/ 1552575 h 4496940"/>
              <a:gd name="connsiteX33" fmla="*/ 4402477 w 4519987"/>
              <a:gd name="connsiteY33" fmla="*/ 1590675 h 4496940"/>
              <a:gd name="connsiteX34" fmla="*/ 4431052 w 4519987"/>
              <a:gd name="connsiteY34" fmla="*/ 1685925 h 4496940"/>
              <a:gd name="connsiteX35" fmla="*/ 4519952 w 4519987"/>
              <a:gd name="connsiteY35" fmla="*/ 2181225 h 4496940"/>
              <a:gd name="connsiteX36" fmla="*/ 4446927 w 4519987"/>
              <a:gd name="connsiteY36" fmla="*/ 2768600 h 4496940"/>
              <a:gd name="connsiteX37" fmla="*/ 4383427 w 4519987"/>
              <a:gd name="connsiteY37" fmla="*/ 2990850 h 4496940"/>
              <a:gd name="connsiteX38" fmla="*/ 4278652 w 4519987"/>
              <a:gd name="connsiteY38" fmla="*/ 3248025 h 4496940"/>
              <a:gd name="connsiteX39" fmla="*/ 4259602 w 4519987"/>
              <a:gd name="connsiteY39" fmla="*/ 3276600 h 4496940"/>
              <a:gd name="connsiteX40" fmla="*/ 4221502 w 4519987"/>
              <a:gd name="connsiteY40" fmla="*/ 3333750 h 4496940"/>
              <a:gd name="connsiteX41" fmla="*/ 4211977 w 4519987"/>
              <a:gd name="connsiteY41" fmla="*/ 3362325 h 4496940"/>
              <a:gd name="connsiteX42" fmla="*/ 4183402 w 4519987"/>
              <a:gd name="connsiteY42" fmla="*/ 3400425 h 4496940"/>
              <a:gd name="connsiteX43" fmla="*/ 4164352 w 4519987"/>
              <a:gd name="connsiteY43" fmla="*/ 3429000 h 4496940"/>
              <a:gd name="connsiteX44" fmla="*/ 4088152 w 4519987"/>
              <a:gd name="connsiteY44" fmla="*/ 3495675 h 4496940"/>
              <a:gd name="connsiteX45" fmla="*/ 4059577 w 4519987"/>
              <a:gd name="connsiteY45" fmla="*/ 3533775 h 4496940"/>
              <a:gd name="connsiteX46" fmla="*/ 4002427 w 4519987"/>
              <a:gd name="connsiteY46" fmla="*/ 3600450 h 4496940"/>
              <a:gd name="connsiteX47" fmla="*/ 3983377 w 4519987"/>
              <a:gd name="connsiteY47" fmla="*/ 3629025 h 4496940"/>
              <a:gd name="connsiteX48" fmla="*/ 3954802 w 4519987"/>
              <a:gd name="connsiteY48" fmla="*/ 3648075 h 4496940"/>
              <a:gd name="connsiteX49" fmla="*/ 3907177 w 4519987"/>
              <a:gd name="connsiteY49" fmla="*/ 3686175 h 4496940"/>
              <a:gd name="connsiteX50" fmla="*/ 3869077 w 4519987"/>
              <a:gd name="connsiteY50" fmla="*/ 3724275 h 4496940"/>
              <a:gd name="connsiteX51" fmla="*/ 3792877 w 4519987"/>
              <a:gd name="connsiteY51" fmla="*/ 3781425 h 4496940"/>
              <a:gd name="connsiteX52" fmla="*/ 3783352 w 4519987"/>
              <a:gd name="connsiteY52" fmla="*/ 3810000 h 4496940"/>
              <a:gd name="connsiteX53" fmla="*/ 3745252 w 4519987"/>
              <a:gd name="connsiteY53" fmla="*/ 3819525 h 4496940"/>
              <a:gd name="connsiteX54" fmla="*/ 3678577 w 4519987"/>
              <a:gd name="connsiteY54" fmla="*/ 3848100 h 4496940"/>
              <a:gd name="connsiteX55" fmla="*/ 3659527 w 4519987"/>
              <a:gd name="connsiteY55" fmla="*/ 3971925 h 4496940"/>
              <a:gd name="connsiteX56" fmla="*/ 3630952 w 4519987"/>
              <a:gd name="connsiteY56" fmla="*/ 4010025 h 4496940"/>
              <a:gd name="connsiteX57" fmla="*/ 3621427 w 4519987"/>
              <a:gd name="connsiteY57" fmla="*/ 4038600 h 4496940"/>
              <a:gd name="connsiteX58" fmla="*/ 3554752 w 4519987"/>
              <a:gd name="connsiteY58" fmla="*/ 4095750 h 4496940"/>
              <a:gd name="connsiteX59" fmla="*/ 3516652 w 4519987"/>
              <a:gd name="connsiteY59" fmla="*/ 4114800 h 4496940"/>
              <a:gd name="connsiteX60" fmla="*/ 3497602 w 4519987"/>
              <a:gd name="connsiteY60" fmla="*/ 4143375 h 4496940"/>
              <a:gd name="connsiteX61" fmla="*/ 3383302 w 4519987"/>
              <a:gd name="connsiteY61" fmla="*/ 4210050 h 4496940"/>
              <a:gd name="connsiteX62" fmla="*/ 3335677 w 4519987"/>
              <a:gd name="connsiteY62" fmla="*/ 4238625 h 4496940"/>
              <a:gd name="connsiteX63" fmla="*/ 3288052 w 4519987"/>
              <a:gd name="connsiteY63" fmla="*/ 4248150 h 4496940"/>
              <a:gd name="connsiteX64" fmla="*/ 3240427 w 4519987"/>
              <a:gd name="connsiteY64" fmla="*/ 4267200 h 4496940"/>
              <a:gd name="connsiteX65" fmla="*/ 3068977 w 4519987"/>
              <a:gd name="connsiteY65" fmla="*/ 4286250 h 4496940"/>
              <a:gd name="connsiteX66" fmla="*/ 2935627 w 4519987"/>
              <a:gd name="connsiteY66" fmla="*/ 4333875 h 4496940"/>
              <a:gd name="connsiteX67" fmla="*/ 2811802 w 4519987"/>
              <a:gd name="connsiteY67" fmla="*/ 4371975 h 4496940"/>
              <a:gd name="connsiteX68" fmla="*/ 2745127 w 4519987"/>
              <a:gd name="connsiteY68" fmla="*/ 4410075 h 4496940"/>
              <a:gd name="connsiteX69" fmla="*/ 2697502 w 4519987"/>
              <a:gd name="connsiteY69" fmla="*/ 4429125 h 4496940"/>
              <a:gd name="connsiteX70" fmla="*/ 2640352 w 4519987"/>
              <a:gd name="connsiteY70" fmla="*/ 4457700 h 4496940"/>
              <a:gd name="connsiteX71" fmla="*/ 2583202 w 4519987"/>
              <a:gd name="connsiteY71" fmla="*/ 4467225 h 4496940"/>
              <a:gd name="connsiteX72" fmla="*/ 2545102 w 4519987"/>
              <a:gd name="connsiteY72" fmla="*/ 4486275 h 4496940"/>
              <a:gd name="connsiteX73" fmla="*/ 2306977 w 4519987"/>
              <a:gd name="connsiteY73" fmla="*/ 4476750 h 4496940"/>
              <a:gd name="connsiteX74" fmla="*/ 2202202 w 4519987"/>
              <a:gd name="connsiteY74" fmla="*/ 4457700 h 4496940"/>
              <a:gd name="connsiteX75" fmla="*/ 2126002 w 4519987"/>
              <a:gd name="connsiteY75" fmla="*/ 4429125 h 4496940"/>
              <a:gd name="connsiteX76" fmla="*/ 1935502 w 4519987"/>
              <a:gd name="connsiteY76" fmla="*/ 4400550 h 4496940"/>
              <a:gd name="connsiteX77" fmla="*/ 1821202 w 4519987"/>
              <a:gd name="connsiteY77" fmla="*/ 4371975 h 4496940"/>
              <a:gd name="connsiteX78" fmla="*/ 1754527 w 4519987"/>
              <a:gd name="connsiteY78" fmla="*/ 4352925 h 4496940"/>
              <a:gd name="connsiteX79" fmla="*/ 1687852 w 4519987"/>
              <a:gd name="connsiteY79" fmla="*/ 4343400 h 4496940"/>
              <a:gd name="connsiteX80" fmla="*/ 1573552 w 4519987"/>
              <a:gd name="connsiteY80" fmla="*/ 4305300 h 4496940"/>
              <a:gd name="connsiteX81" fmla="*/ 1402102 w 4519987"/>
              <a:gd name="connsiteY81" fmla="*/ 4276725 h 4496940"/>
              <a:gd name="connsiteX82" fmla="*/ 1287802 w 4519987"/>
              <a:gd name="connsiteY82" fmla="*/ 4229100 h 4496940"/>
              <a:gd name="connsiteX83" fmla="*/ 1221127 w 4519987"/>
              <a:gd name="connsiteY83" fmla="*/ 4200525 h 4496940"/>
              <a:gd name="connsiteX84" fmla="*/ 1144927 w 4519987"/>
              <a:gd name="connsiteY84" fmla="*/ 4171950 h 4496940"/>
              <a:gd name="connsiteX85" fmla="*/ 1087777 w 4519987"/>
              <a:gd name="connsiteY85" fmla="*/ 4143375 h 4496940"/>
              <a:gd name="connsiteX86" fmla="*/ 1030627 w 4519987"/>
              <a:gd name="connsiteY86" fmla="*/ 4124325 h 4496940"/>
              <a:gd name="connsiteX87" fmla="*/ 925852 w 4519987"/>
              <a:gd name="connsiteY87" fmla="*/ 4067175 h 4496940"/>
              <a:gd name="connsiteX88" fmla="*/ 830602 w 4519987"/>
              <a:gd name="connsiteY88" fmla="*/ 3981450 h 4496940"/>
              <a:gd name="connsiteX89" fmla="*/ 763927 w 4519987"/>
              <a:gd name="connsiteY89" fmla="*/ 3914775 h 4496940"/>
              <a:gd name="connsiteX90" fmla="*/ 725827 w 4519987"/>
              <a:gd name="connsiteY90" fmla="*/ 3876675 h 4496940"/>
              <a:gd name="connsiteX91" fmla="*/ 697252 w 4519987"/>
              <a:gd name="connsiteY91" fmla="*/ 3838575 h 4496940"/>
              <a:gd name="connsiteX92" fmla="*/ 640102 w 4519987"/>
              <a:gd name="connsiteY92" fmla="*/ 3781425 h 4496940"/>
              <a:gd name="connsiteX93" fmla="*/ 611527 w 4519987"/>
              <a:gd name="connsiteY93" fmla="*/ 3733800 h 4496940"/>
              <a:gd name="connsiteX94" fmla="*/ 554377 w 4519987"/>
              <a:gd name="connsiteY94" fmla="*/ 3657600 h 4496940"/>
              <a:gd name="connsiteX95" fmla="*/ 525802 w 4519987"/>
              <a:gd name="connsiteY95" fmla="*/ 3609975 h 4496940"/>
              <a:gd name="connsiteX96" fmla="*/ 497227 w 4519987"/>
              <a:gd name="connsiteY96" fmla="*/ 3552825 h 4496940"/>
              <a:gd name="connsiteX97" fmla="*/ 440077 w 4519987"/>
              <a:gd name="connsiteY97" fmla="*/ 3495675 h 4496940"/>
              <a:gd name="connsiteX98" fmla="*/ 411502 w 4519987"/>
              <a:gd name="connsiteY98" fmla="*/ 3448050 h 4496940"/>
              <a:gd name="connsiteX99" fmla="*/ 278152 w 4519987"/>
              <a:gd name="connsiteY99" fmla="*/ 3257550 h 4496940"/>
              <a:gd name="connsiteX100" fmla="*/ 249577 w 4519987"/>
              <a:gd name="connsiteY100" fmla="*/ 3200400 h 4496940"/>
              <a:gd name="connsiteX101" fmla="*/ 240052 w 4519987"/>
              <a:gd name="connsiteY101" fmla="*/ 3162300 h 4496940"/>
              <a:gd name="connsiteX102" fmla="*/ 221002 w 4519987"/>
              <a:gd name="connsiteY102" fmla="*/ 3105150 h 4496940"/>
              <a:gd name="connsiteX103" fmla="*/ 173377 w 4519987"/>
              <a:gd name="connsiteY103" fmla="*/ 3019425 h 4496940"/>
              <a:gd name="connsiteX104" fmla="*/ 144802 w 4519987"/>
              <a:gd name="connsiteY104" fmla="*/ 2924175 h 4496940"/>
              <a:gd name="connsiteX105" fmla="*/ 68602 w 4519987"/>
              <a:gd name="connsiteY105" fmla="*/ 2724150 h 4496940"/>
              <a:gd name="connsiteX106" fmla="*/ 49552 w 4519987"/>
              <a:gd name="connsiteY106" fmla="*/ 2638425 h 4496940"/>
              <a:gd name="connsiteX107" fmla="*/ 40027 w 4519987"/>
              <a:gd name="connsiteY107" fmla="*/ 2562225 h 4496940"/>
              <a:gd name="connsiteX108" fmla="*/ 30502 w 4519987"/>
              <a:gd name="connsiteY108" fmla="*/ 2514600 h 4496940"/>
              <a:gd name="connsiteX109" fmla="*/ 11452 w 4519987"/>
              <a:gd name="connsiteY109" fmla="*/ 2400300 h 4496940"/>
              <a:gd name="connsiteX110" fmla="*/ 20977 w 4519987"/>
              <a:gd name="connsiteY110" fmla="*/ 1905000 h 4496940"/>
              <a:gd name="connsiteX111" fmla="*/ 30502 w 4519987"/>
              <a:gd name="connsiteY111" fmla="*/ 1838325 h 4496940"/>
              <a:gd name="connsiteX112" fmla="*/ 49552 w 4519987"/>
              <a:gd name="connsiteY112" fmla="*/ 1781175 h 4496940"/>
              <a:gd name="connsiteX113" fmla="*/ 59077 w 4519987"/>
              <a:gd name="connsiteY113" fmla="*/ 1743075 h 4496940"/>
              <a:gd name="connsiteX114" fmla="*/ 78127 w 4519987"/>
              <a:gd name="connsiteY114" fmla="*/ 1685925 h 4496940"/>
              <a:gd name="connsiteX115" fmla="*/ 87652 w 4519987"/>
              <a:gd name="connsiteY115" fmla="*/ 1638300 h 4496940"/>
              <a:gd name="connsiteX116" fmla="*/ 106702 w 4519987"/>
              <a:gd name="connsiteY116" fmla="*/ 1590675 h 4496940"/>
              <a:gd name="connsiteX117" fmla="*/ 135277 w 4519987"/>
              <a:gd name="connsiteY117" fmla="*/ 1504950 h 4496940"/>
              <a:gd name="connsiteX118" fmla="*/ 154327 w 4519987"/>
              <a:gd name="connsiteY118" fmla="*/ 1419225 h 4496940"/>
              <a:gd name="connsiteX119" fmla="*/ 230527 w 4519987"/>
              <a:gd name="connsiteY119" fmla="*/ 1276350 h 4496940"/>
              <a:gd name="connsiteX120" fmla="*/ 240052 w 4519987"/>
              <a:gd name="connsiteY120" fmla="*/ 1247775 h 4496940"/>
              <a:gd name="connsiteX121" fmla="*/ 268627 w 4519987"/>
              <a:gd name="connsiteY121" fmla="*/ 1200150 h 4496940"/>
              <a:gd name="connsiteX122" fmla="*/ 287677 w 4519987"/>
              <a:gd name="connsiteY122" fmla="*/ 1152525 h 4496940"/>
              <a:gd name="connsiteX123" fmla="*/ 316252 w 4519987"/>
              <a:gd name="connsiteY123" fmla="*/ 1114425 h 4496940"/>
              <a:gd name="connsiteX124" fmla="*/ 363877 w 4519987"/>
              <a:gd name="connsiteY124" fmla="*/ 1038225 h 4496940"/>
              <a:gd name="connsiteX125" fmla="*/ 382927 w 4519987"/>
              <a:gd name="connsiteY125" fmla="*/ 1009650 h 4496940"/>
              <a:gd name="connsiteX126" fmla="*/ 440077 w 4519987"/>
              <a:gd name="connsiteY126" fmla="*/ 904875 h 4496940"/>
              <a:gd name="connsiteX127" fmla="*/ 478177 w 4519987"/>
              <a:gd name="connsiteY127" fmla="*/ 857250 h 4496940"/>
              <a:gd name="connsiteX128" fmla="*/ 497227 w 4519987"/>
              <a:gd name="connsiteY128" fmla="*/ 828675 h 4496940"/>
              <a:gd name="connsiteX129" fmla="*/ 535327 w 4519987"/>
              <a:gd name="connsiteY129" fmla="*/ 800100 h 4496940"/>
              <a:gd name="connsiteX130" fmla="*/ 602002 w 4519987"/>
              <a:gd name="connsiteY130" fmla="*/ 733425 h 4496940"/>
              <a:gd name="connsiteX131" fmla="*/ 668677 w 4519987"/>
              <a:gd name="connsiteY131" fmla="*/ 676275 h 4496940"/>
              <a:gd name="connsiteX132" fmla="*/ 697252 w 4519987"/>
              <a:gd name="connsiteY132" fmla="*/ 657225 h 4496940"/>
              <a:gd name="connsiteX133" fmla="*/ 840127 w 4519987"/>
              <a:gd name="connsiteY133" fmla="*/ 533400 h 4496940"/>
              <a:gd name="connsiteX134" fmla="*/ 887752 w 4519987"/>
              <a:gd name="connsiteY134" fmla="*/ 504825 h 4496940"/>
              <a:gd name="connsiteX135" fmla="*/ 1167152 w 4519987"/>
              <a:gd name="connsiteY135" fmla="*/ 311150 h 4496940"/>
              <a:gd name="connsiteX136" fmla="*/ 1268752 w 4519987"/>
              <a:gd name="connsiteY136" fmla="*/ 285750 h 4496940"/>
              <a:gd name="connsiteX137" fmla="*/ 1411627 w 4519987"/>
              <a:gd name="connsiteY137" fmla="*/ 190500 h 4496940"/>
              <a:gd name="connsiteX138" fmla="*/ 1449727 w 4519987"/>
              <a:gd name="connsiteY138" fmla="*/ 161925 h 4496940"/>
              <a:gd name="connsiteX139" fmla="*/ 1525927 w 4519987"/>
              <a:gd name="connsiteY139" fmla="*/ 152400 h 4496940"/>
              <a:gd name="connsiteX140" fmla="*/ 1583077 w 4519987"/>
              <a:gd name="connsiteY140" fmla="*/ 142875 h 4496940"/>
              <a:gd name="connsiteX141" fmla="*/ 1716427 w 4519987"/>
              <a:gd name="connsiteY141" fmla="*/ 123825 h 4496940"/>
              <a:gd name="connsiteX142" fmla="*/ 1811677 w 4519987"/>
              <a:gd name="connsiteY142" fmla="*/ 114300 h 4496940"/>
              <a:gd name="connsiteX143" fmla="*/ 1859302 w 4519987"/>
              <a:gd name="connsiteY143" fmla="*/ 104775 h 4496940"/>
              <a:gd name="connsiteX144" fmla="*/ 1916452 w 4519987"/>
              <a:gd name="connsiteY144" fmla="*/ 95250 h 4496940"/>
              <a:gd name="connsiteX145" fmla="*/ 2030752 w 4519987"/>
              <a:gd name="connsiteY145" fmla="*/ 66675 h 4496940"/>
              <a:gd name="connsiteX146" fmla="*/ 2097427 w 4519987"/>
              <a:gd name="connsiteY146" fmla="*/ 47625 h 4496940"/>
              <a:gd name="connsiteX147" fmla="*/ 2164102 w 4519987"/>
              <a:gd name="connsiteY147" fmla="*/ 38100 h 4496940"/>
              <a:gd name="connsiteX148" fmla="*/ 2392702 w 4519987"/>
              <a:gd name="connsiteY14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135777 w 4519987"/>
              <a:gd name="connsiteY21" fmla="*/ 9334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192927 w 4519987"/>
              <a:gd name="connsiteY24" fmla="*/ 1057275 h 4496940"/>
              <a:gd name="connsiteX25" fmla="*/ 4202452 w 4519987"/>
              <a:gd name="connsiteY25" fmla="*/ 1085850 h 4496940"/>
              <a:gd name="connsiteX26" fmla="*/ 4250077 w 4519987"/>
              <a:gd name="connsiteY26" fmla="*/ 1143000 h 4496940"/>
              <a:gd name="connsiteX27" fmla="*/ 4259602 w 4519987"/>
              <a:gd name="connsiteY27" fmla="*/ 1190625 h 4496940"/>
              <a:gd name="connsiteX28" fmla="*/ 4307227 w 4519987"/>
              <a:gd name="connsiteY28" fmla="*/ 1266825 h 4496940"/>
              <a:gd name="connsiteX29" fmla="*/ 4345327 w 4519987"/>
              <a:gd name="connsiteY29" fmla="*/ 1362075 h 4496940"/>
              <a:gd name="connsiteX30" fmla="*/ 4373902 w 4519987"/>
              <a:gd name="connsiteY30" fmla="*/ 1428750 h 4496940"/>
              <a:gd name="connsiteX31" fmla="*/ 4392952 w 4519987"/>
              <a:gd name="connsiteY31" fmla="*/ 1552575 h 4496940"/>
              <a:gd name="connsiteX32" fmla="*/ 4402477 w 4519987"/>
              <a:gd name="connsiteY32" fmla="*/ 1590675 h 4496940"/>
              <a:gd name="connsiteX33" fmla="*/ 4431052 w 4519987"/>
              <a:gd name="connsiteY33" fmla="*/ 1685925 h 4496940"/>
              <a:gd name="connsiteX34" fmla="*/ 4519952 w 4519987"/>
              <a:gd name="connsiteY34" fmla="*/ 2181225 h 4496940"/>
              <a:gd name="connsiteX35" fmla="*/ 4446927 w 4519987"/>
              <a:gd name="connsiteY35" fmla="*/ 2768600 h 4496940"/>
              <a:gd name="connsiteX36" fmla="*/ 4383427 w 4519987"/>
              <a:gd name="connsiteY36" fmla="*/ 2990850 h 4496940"/>
              <a:gd name="connsiteX37" fmla="*/ 4278652 w 4519987"/>
              <a:gd name="connsiteY37" fmla="*/ 3248025 h 4496940"/>
              <a:gd name="connsiteX38" fmla="*/ 4259602 w 4519987"/>
              <a:gd name="connsiteY38" fmla="*/ 3276600 h 4496940"/>
              <a:gd name="connsiteX39" fmla="*/ 4221502 w 4519987"/>
              <a:gd name="connsiteY39" fmla="*/ 3333750 h 4496940"/>
              <a:gd name="connsiteX40" fmla="*/ 4211977 w 4519987"/>
              <a:gd name="connsiteY40" fmla="*/ 3362325 h 4496940"/>
              <a:gd name="connsiteX41" fmla="*/ 4183402 w 4519987"/>
              <a:gd name="connsiteY41" fmla="*/ 3400425 h 4496940"/>
              <a:gd name="connsiteX42" fmla="*/ 4164352 w 4519987"/>
              <a:gd name="connsiteY42" fmla="*/ 3429000 h 4496940"/>
              <a:gd name="connsiteX43" fmla="*/ 4088152 w 4519987"/>
              <a:gd name="connsiteY43" fmla="*/ 3495675 h 4496940"/>
              <a:gd name="connsiteX44" fmla="*/ 4059577 w 4519987"/>
              <a:gd name="connsiteY44" fmla="*/ 3533775 h 4496940"/>
              <a:gd name="connsiteX45" fmla="*/ 4002427 w 4519987"/>
              <a:gd name="connsiteY45" fmla="*/ 3600450 h 4496940"/>
              <a:gd name="connsiteX46" fmla="*/ 3983377 w 4519987"/>
              <a:gd name="connsiteY46" fmla="*/ 3629025 h 4496940"/>
              <a:gd name="connsiteX47" fmla="*/ 3954802 w 4519987"/>
              <a:gd name="connsiteY47" fmla="*/ 3648075 h 4496940"/>
              <a:gd name="connsiteX48" fmla="*/ 3907177 w 4519987"/>
              <a:gd name="connsiteY48" fmla="*/ 3686175 h 4496940"/>
              <a:gd name="connsiteX49" fmla="*/ 3869077 w 4519987"/>
              <a:gd name="connsiteY49" fmla="*/ 3724275 h 4496940"/>
              <a:gd name="connsiteX50" fmla="*/ 3792877 w 4519987"/>
              <a:gd name="connsiteY50" fmla="*/ 3781425 h 4496940"/>
              <a:gd name="connsiteX51" fmla="*/ 3783352 w 4519987"/>
              <a:gd name="connsiteY51" fmla="*/ 3810000 h 4496940"/>
              <a:gd name="connsiteX52" fmla="*/ 3745252 w 4519987"/>
              <a:gd name="connsiteY52" fmla="*/ 3819525 h 4496940"/>
              <a:gd name="connsiteX53" fmla="*/ 3678577 w 4519987"/>
              <a:gd name="connsiteY53" fmla="*/ 3848100 h 4496940"/>
              <a:gd name="connsiteX54" fmla="*/ 3659527 w 4519987"/>
              <a:gd name="connsiteY54" fmla="*/ 3971925 h 4496940"/>
              <a:gd name="connsiteX55" fmla="*/ 3630952 w 4519987"/>
              <a:gd name="connsiteY55" fmla="*/ 4010025 h 4496940"/>
              <a:gd name="connsiteX56" fmla="*/ 3621427 w 4519987"/>
              <a:gd name="connsiteY56" fmla="*/ 4038600 h 4496940"/>
              <a:gd name="connsiteX57" fmla="*/ 3554752 w 4519987"/>
              <a:gd name="connsiteY57" fmla="*/ 4095750 h 4496940"/>
              <a:gd name="connsiteX58" fmla="*/ 3516652 w 4519987"/>
              <a:gd name="connsiteY58" fmla="*/ 4114800 h 4496940"/>
              <a:gd name="connsiteX59" fmla="*/ 3497602 w 4519987"/>
              <a:gd name="connsiteY59" fmla="*/ 4143375 h 4496940"/>
              <a:gd name="connsiteX60" fmla="*/ 3383302 w 4519987"/>
              <a:gd name="connsiteY60" fmla="*/ 4210050 h 4496940"/>
              <a:gd name="connsiteX61" fmla="*/ 3335677 w 4519987"/>
              <a:gd name="connsiteY61" fmla="*/ 4238625 h 4496940"/>
              <a:gd name="connsiteX62" fmla="*/ 3288052 w 4519987"/>
              <a:gd name="connsiteY62" fmla="*/ 4248150 h 4496940"/>
              <a:gd name="connsiteX63" fmla="*/ 3240427 w 4519987"/>
              <a:gd name="connsiteY63" fmla="*/ 4267200 h 4496940"/>
              <a:gd name="connsiteX64" fmla="*/ 3068977 w 4519987"/>
              <a:gd name="connsiteY64" fmla="*/ 4286250 h 4496940"/>
              <a:gd name="connsiteX65" fmla="*/ 2935627 w 4519987"/>
              <a:gd name="connsiteY65" fmla="*/ 4333875 h 4496940"/>
              <a:gd name="connsiteX66" fmla="*/ 2811802 w 4519987"/>
              <a:gd name="connsiteY66" fmla="*/ 4371975 h 4496940"/>
              <a:gd name="connsiteX67" fmla="*/ 2745127 w 4519987"/>
              <a:gd name="connsiteY67" fmla="*/ 4410075 h 4496940"/>
              <a:gd name="connsiteX68" fmla="*/ 2697502 w 4519987"/>
              <a:gd name="connsiteY68" fmla="*/ 4429125 h 4496940"/>
              <a:gd name="connsiteX69" fmla="*/ 2640352 w 4519987"/>
              <a:gd name="connsiteY69" fmla="*/ 4457700 h 4496940"/>
              <a:gd name="connsiteX70" fmla="*/ 2583202 w 4519987"/>
              <a:gd name="connsiteY70" fmla="*/ 4467225 h 4496940"/>
              <a:gd name="connsiteX71" fmla="*/ 2545102 w 4519987"/>
              <a:gd name="connsiteY71" fmla="*/ 4486275 h 4496940"/>
              <a:gd name="connsiteX72" fmla="*/ 2306977 w 4519987"/>
              <a:gd name="connsiteY72" fmla="*/ 4476750 h 4496940"/>
              <a:gd name="connsiteX73" fmla="*/ 2202202 w 4519987"/>
              <a:gd name="connsiteY73" fmla="*/ 4457700 h 4496940"/>
              <a:gd name="connsiteX74" fmla="*/ 2126002 w 4519987"/>
              <a:gd name="connsiteY74" fmla="*/ 4429125 h 4496940"/>
              <a:gd name="connsiteX75" fmla="*/ 1935502 w 4519987"/>
              <a:gd name="connsiteY75" fmla="*/ 4400550 h 4496940"/>
              <a:gd name="connsiteX76" fmla="*/ 1821202 w 4519987"/>
              <a:gd name="connsiteY76" fmla="*/ 4371975 h 4496940"/>
              <a:gd name="connsiteX77" fmla="*/ 1754527 w 4519987"/>
              <a:gd name="connsiteY77" fmla="*/ 4352925 h 4496940"/>
              <a:gd name="connsiteX78" fmla="*/ 1687852 w 4519987"/>
              <a:gd name="connsiteY78" fmla="*/ 4343400 h 4496940"/>
              <a:gd name="connsiteX79" fmla="*/ 1573552 w 4519987"/>
              <a:gd name="connsiteY79" fmla="*/ 4305300 h 4496940"/>
              <a:gd name="connsiteX80" fmla="*/ 1402102 w 4519987"/>
              <a:gd name="connsiteY80" fmla="*/ 4276725 h 4496940"/>
              <a:gd name="connsiteX81" fmla="*/ 1287802 w 4519987"/>
              <a:gd name="connsiteY81" fmla="*/ 4229100 h 4496940"/>
              <a:gd name="connsiteX82" fmla="*/ 1221127 w 4519987"/>
              <a:gd name="connsiteY82" fmla="*/ 4200525 h 4496940"/>
              <a:gd name="connsiteX83" fmla="*/ 1144927 w 4519987"/>
              <a:gd name="connsiteY83" fmla="*/ 4171950 h 4496940"/>
              <a:gd name="connsiteX84" fmla="*/ 1087777 w 4519987"/>
              <a:gd name="connsiteY84" fmla="*/ 4143375 h 4496940"/>
              <a:gd name="connsiteX85" fmla="*/ 1030627 w 4519987"/>
              <a:gd name="connsiteY85" fmla="*/ 4124325 h 4496940"/>
              <a:gd name="connsiteX86" fmla="*/ 925852 w 4519987"/>
              <a:gd name="connsiteY86" fmla="*/ 4067175 h 4496940"/>
              <a:gd name="connsiteX87" fmla="*/ 830602 w 4519987"/>
              <a:gd name="connsiteY87" fmla="*/ 3981450 h 4496940"/>
              <a:gd name="connsiteX88" fmla="*/ 763927 w 4519987"/>
              <a:gd name="connsiteY88" fmla="*/ 3914775 h 4496940"/>
              <a:gd name="connsiteX89" fmla="*/ 725827 w 4519987"/>
              <a:gd name="connsiteY89" fmla="*/ 3876675 h 4496940"/>
              <a:gd name="connsiteX90" fmla="*/ 697252 w 4519987"/>
              <a:gd name="connsiteY90" fmla="*/ 3838575 h 4496940"/>
              <a:gd name="connsiteX91" fmla="*/ 640102 w 4519987"/>
              <a:gd name="connsiteY91" fmla="*/ 3781425 h 4496940"/>
              <a:gd name="connsiteX92" fmla="*/ 611527 w 4519987"/>
              <a:gd name="connsiteY92" fmla="*/ 3733800 h 4496940"/>
              <a:gd name="connsiteX93" fmla="*/ 554377 w 4519987"/>
              <a:gd name="connsiteY93" fmla="*/ 3657600 h 4496940"/>
              <a:gd name="connsiteX94" fmla="*/ 525802 w 4519987"/>
              <a:gd name="connsiteY94" fmla="*/ 3609975 h 4496940"/>
              <a:gd name="connsiteX95" fmla="*/ 497227 w 4519987"/>
              <a:gd name="connsiteY95" fmla="*/ 3552825 h 4496940"/>
              <a:gd name="connsiteX96" fmla="*/ 440077 w 4519987"/>
              <a:gd name="connsiteY96" fmla="*/ 3495675 h 4496940"/>
              <a:gd name="connsiteX97" fmla="*/ 411502 w 4519987"/>
              <a:gd name="connsiteY97" fmla="*/ 3448050 h 4496940"/>
              <a:gd name="connsiteX98" fmla="*/ 278152 w 4519987"/>
              <a:gd name="connsiteY98" fmla="*/ 3257550 h 4496940"/>
              <a:gd name="connsiteX99" fmla="*/ 249577 w 4519987"/>
              <a:gd name="connsiteY99" fmla="*/ 3200400 h 4496940"/>
              <a:gd name="connsiteX100" fmla="*/ 240052 w 4519987"/>
              <a:gd name="connsiteY100" fmla="*/ 3162300 h 4496940"/>
              <a:gd name="connsiteX101" fmla="*/ 221002 w 4519987"/>
              <a:gd name="connsiteY101" fmla="*/ 3105150 h 4496940"/>
              <a:gd name="connsiteX102" fmla="*/ 173377 w 4519987"/>
              <a:gd name="connsiteY102" fmla="*/ 3019425 h 4496940"/>
              <a:gd name="connsiteX103" fmla="*/ 144802 w 4519987"/>
              <a:gd name="connsiteY103" fmla="*/ 2924175 h 4496940"/>
              <a:gd name="connsiteX104" fmla="*/ 68602 w 4519987"/>
              <a:gd name="connsiteY104" fmla="*/ 2724150 h 4496940"/>
              <a:gd name="connsiteX105" fmla="*/ 49552 w 4519987"/>
              <a:gd name="connsiteY105" fmla="*/ 2638425 h 4496940"/>
              <a:gd name="connsiteX106" fmla="*/ 40027 w 4519987"/>
              <a:gd name="connsiteY106" fmla="*/ 2562225 h 4496940"/>
              <a:gd name="connsiteX107" fmla="*/ 30502 w 4519987"/>
              <a:gd name="connsiteY107" fmla="*/ 2514600 h 4496940"/>
              <a:gd name="connsiteX108" fmla="*/ 11452 w 4519987"/>
              <a:gd name="connsiteY108" fmla="*/ 2400300 h 4496940"/>
              <a:gd name="connsiteX109" fmla="*/ 20977 w 4519987"/>
              <a:gd name="connsiteY109" fmla="*/ 1905000 h 4496940"/>
              <a:gd name="connsiteX110" fmla="*/ 30502 w 4519987"/>
              <a:gd name="connsiteY110" fmla="*/ 1838325 h 4496940"/>
              <a:gd name="connsiteX111" fmla="*/ 49552 w 4519987"/>
              <a:gd name="connsiteY111" fmla="*/ 1781175 h 4496940"/>
              <a:gd name="connsiteX112" fmla="*/ 59077 w 4519987"/>
              <a:gd name="connsiteY112" fmla="*/ 1743075 h 4496940"/>
              <a:gd name="connsiteX113" fmla="*/ 78127 w 4519987"/>
              <a:gd name="connsiteY113" fmla="*/ 1685925 h 4496940"/>
              <a:gd name="connsiteX114" fmla="*/ 87652 w 4519987"/>
              <a:gd name="connsiteY114" fmla="*/ 1638300 h 4496940"/>
              <a:gd name="connsiteX115" fmla="*/ 106702 w 4519987"/>
              <a:gd name="connsiteY115" fmla="*/ 1590675 h 4496940"/>
              <a:gd name="connsiteX116" fmla="*/ 135277 w 4519987"/>
              <a:gd name="connsiteY116" fmla="*/ 1504950 h 4496940"/>
              <a:gd name="connsiteX117" fmla="*/ 154327 w 4519987"/>
              <a:gd name="connsiteY117" fmla="*/ 1419225 h 4496940"/>
              <a:gd name="connsiteX118" fmla="*/ 230527 w 4519987"/>
              <a:gd name="connsiteY118" fmla="*/ 1276350 h 4496940"/>
              <a:gd name="connsiteX119" fmla="*/ 240052 w 4519987"/>
              <a:gd name="connsiteY119" fmla="*/ 1247775 h 4496940"/>
              <a:gd name="connsiteX120" fmla="*/ 268627 w 4519987"/>
              <a:gd name="connsiteY120" fmla="*/ 1200150 h 4496940"/>
              <a:gd name="connsiteX121" fmla="*/ 287677 w 4519987"/>
              <a:gd name="connsiteY121" fmla="*/ 1152525 h 4496940"/>
              <a:gd name="connsiteX122" fmla="*/ 316252 w 4519987"/>
              <a:gd name="connsiteY122" fmla="*/ 1114425 h 4496940"/>
              <a:gd name="connsiteX123" fmla="*/ 363877 w 4519987"/>
              <a:gd name="connsiteY123" fmla="*/ 1038225 h 4496940"/>
              <a:gd name="connsiteX124" fmla="*/ 382927 w 4519987"/>
              <a:gd name="connsiteY124" fmla="*/ 1009650 h 4496940"/>
              <a:gd name="connsiteX125" fmla="*/ 440077 w 4519987"/>
              <a:gd name="connsiteY125" fmla="*/ 904875 h 4496940"/>
              <a:gd name="connsiteX126" fmla="*/ 478177 w 4519987"/>
              <a:gd name="connsiteY126" fmla="*/ 857250 h 4496940"/>
              <a:gd name="connsiteX127" fmla="*/ 497227 w 4519987"/>
              <a:gd name="connsiteY127" fmla="*/ 828675 h 4496940"/>
              <a:gd name="connsiteX128" fmla="*/ 535327 w 4519987"/>
              <a:gd name="connsiteY128" fmla="*/ 800100 h 4496940"/>
              <a:gd name="connsiteX129" fmla="*/ 602002 w 4519987"/>
              <a:gd name="connsiteY129" fmla="*/ 733425 h 4496940"/>
              <a:gd name="connsiteX130" fmla="*/ 668677 w 4519987"/>
              <a:gd name="connsiteY130" fmla="*/ 676275 h 4496940"/>
              <a:gd name="connsiteX131" fmla="*/ 697252 w 4519987"/>
              <a:gd name="connsiteY131" fmla="*/ 657225 h 4496940"/>
              <a:gd name="connsiteX132" fmla="*/ 840127 w 4519987"/>
              <a:gd name="connsiteY132" fmla="*/ 533400 h 4496940"/>
              <a:gd name="connsiteX133" fmla="*/ 887752 w 4519987"/>
              <a:gd name="connsiteY133" fmla="*/ 504825 h 4496940"/>
              <a:gd name="connsiteX134" fmla="*/ 1167152 w 4519987"/>
              <a:gd name="connsiteY134" fmla="*/ 311150 h 4496940"/>
              <a:gd name="connsiteX135" fmla="*/ 1268752 w 4519987"/>
              <a:gd name="connsiteY135" fmla="*/ 285750 h 4496940"/>
              <a:gd name="connsiteX136" fmla="*/ 1411627 w 4519987"/>
              <a:gd name="connsiteY136" fmla="*/ 190500 h 4496940"/>
              <a:gd name="connsiteX137" fmla="*/ 1449727 w 4519987"/>
              <a:gd name="connsiteY137" fmla="*/ 161925 h 4496940"/>
              <a:gd name="connsiteX138" fmla="*/ 1525927 w 4519987"/>
              <a:gd name="connsiteY138" fmla="*/ 152400 h 4496940"/>
              <a:gd name="connsiteX139" fmla="*/ 1583077 w 4519987"/>
              <a:gd name="connsiteY139" fmla="*/ 142875 h 4496940"/>
              <a:gd name="connsiteX140" fmla="*/ 1716427 w 4519987"/>
              <a:gd name="connsiteY140" fmla="*/ 123825 h 4496940"/>
              <a:gd name="connsiteX141" fmla="*/ 1811677 w 4519987"/>
              <a:gd name="connsiteY141" fmla="*/ 114300 h 4496940"/>
              <a:gd name="connsiteX142" fmla="*/ 1859302 w 4519987"/>
              <a:gd name="connsiteY142" fmla="*/ 104775 h 4496940"/>
              <a:gd name="connsiteX143" fmla="*/ 1916452 w 4519987"/>
              <a:gd name="connsiteY143" fmla="*/ 95250 h 4496940"/>
              <a:gd name="connsiteX144" fmla="*/ 2030752 w 4519987"/>
              <a:gd name="connsiteY144" fmla="*/ 66675 h 4496940"/>
              <a:gd name="connsiteX145" fmla="*/ 2097427 w 4519987"/>
              <a:gd name="connsiteY145" fmla="*/ 47625 h 4496940"/>
              <a:gd name="connsiteX146" fmla="*/ 2164102 w 4519987"/>
              <a:gd name="connsiteY146" fmla="*/ 38100 h 4496940"/>
              <a:gd name="connsiteX147" fmla="*/ 2392702 w 4519987"/>
              <a:gd name="connsiteY14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192927 w 4519987"/>
              <a:gd name="connsiteY24" fmla="*/ 1057275 h 4496940"/>
              <a:gd name="connsiteX25" fmla="*/ 4202452 w 4519987"/>
              <a:gd name="connsiteY25" fmla="*/ 1085850 h 4496940"/>
              <a:gd name="connsiteX26" fmla="*/ 4250077 w 4519987"/>
              <a:gd name="connsiteY26" fmla="*/ 1143000 h 4496940"/>
              <a:gd name="connsiteX27" fmla="*/ 4259602 w 4519987"/>
              <a:gd name="connsiteY27" fmla="*/ 1190625 h 4496940"/>
              <a:gd name="connsiteX28" fmla="*/ 4307227 w 4519987"/>
              <a:gd name="connsiteY28" fmla="*/ 1266825 h 4496940"/>
              <a:gd name="connsiteX29" fmla="*/ 4345327 w 4519987"/>
              <a:gd name="connsiteY29" fmla="*/ 1362075 h 4496940"/>
              <a:gd name="connsiteX30" fmla="*/ 4373902 w 4519987"/>
              <a:gd name="connsiteY30" fmla="*/ 1428750 h 4496940"/>
              <a:gd name="connsiteX31" fmla="*/ 4392952 w 4519987"/>
              <a:gd name="connsiteY31" fmla="*/ 1552575 h 4496940"/>
              <a:gd name="connsiteX32" fmla="*/ 4402477 w 4519987"/>
              <a:gd name="connsiteY32" fmla="*/ 1590675 h 4496940"/>
              <a:gd name="connsiteX33" fmla="*/ 4431052 w 4519987"/>
              <a:gd name="connsiteY33" fmla="*/ 1685925 h 4496940"/>
              <a:gd name="connsiteX34" fmla="*/ 4519952 w 4519987"/>
              <a:gd name="connsiteY34" fmla="*/ 2181225 h 4496940"/>
              <a:gd name="connsiteX35" fmla="*/ 4446927 w 4519987"/>
              <a:gd name="connsiteY35" fmla="*/ 2768600 h 4496940"/>
              <a:gd name="connsiteX36" fmla="*/ 4383427 w 4519987"/>
              <a:gd name="connsiteY36" fmla="*/ 2990850 h 4496940"/>
              <a:gd name="connsiteX37" fmla="*/ 4278652 w 4519987"/>
              <a:gd name="connsiteY37" fmla="*/ 3248025 h 4496940"/>
              <a:gd name="connsiteX38" fmla="*/ 4259602 w 4519987"/>
              <a:gd name="connsiteY38" fmla="*/ 3276600 h 4496940"/>
              <a:gd name="connsiteX39" fmla="*/ 4221502 w 4519987"/>
              <a:gd name="connsiteY39" fmla="*/ 3333750 h 4496940"/>
              <a:gd name="connsiteX40" fmla="*/ 4211977 w 4519987"/>
              <a:gd name="connsiteY40" fmla="*/ 3362325 h 4496940"/>
              <a:gd name="connsiteX41" fmla="*/ 4183402 w 4519987"/>
              <a:gd name="connsiteY41" fmla="*/ 3400425 h 4496940"/>
              <a:gd name="connsiteX42" fmla="*/ 4164352 w 4519987"/>
              <a:gd name="connsiteY42" fmla="*/ 3429000 h 4496940"/>
              <a:gd name="connsiteX43" fmla="*/ 4088152 w 4519987"/>
              <a:gd name="connsiteY43" fmla="*/ 3495675 h 4496940"/>
              <a:gd name="connsiteX44" fmla="*/ 4059577 w 4519987"/>
              <a:gd name="connsiteY44" fmla="*/ 3533775 h 4496940"/>
              <a:gd name="connsiteX45" fmla="*/ 4002427 w 4519987"/>
              <a:gd name="connsiteY45" fmla="*/ 3600450 h 4496940"/>
              <a:gd name="connsiteX46" fmla="*/ 3983377 w 4519987"/>
              <a:gd name="connsiteY46" fmla="*/ 3629025 h 4496940"/>
              <a:gd name="connsiteX47" fmla="*/ 3954802 w 4519987"/>
              <a:gd name="connsiteY47" fmla="*/ 3648075 h 4496940"/>
              <a:gd name="connsiteX48" fmla="*/ 3907177 w 4519987"/>
              <a:gd name="connsiteY48" fmla="*/ 3686175 h 4496940"/>
              <a:gd name="connsiteX49" fmla="*/ 3869077 w 4519987"/>
              <a:gd name="connsiteY49" fmla="*/ 3724275 h 4496940"/>
              <a:gd name="connsiteX50" fmla="*/ 3792877 w 4519987"/>
              <a:gd name="connsiteY50" fmla="*/ 3781425 h 4496940"/>
              <a:gd name="connsiteX51" fmla="*/ 3783352 w 4519987"/>
              <a:gd name="connsiteY51" fmla="*/ 3810000 h 4496940"/>
              <a:gd name="connsiteX52" fmla="*/ 3745252 w 4519987"/>
              <a:gd name="connsiteY52" fmla="*/ 3819525 h 4496940"/>
              <a:gd name="connsiteX53" fmla="*/ 3678577 w 4519987"/>
              <a:gd name="connsiteY53" fmla="*/ 3848100 h 4496940"/>
              <a:gd name="connsiteX54" fmla="*/ 3659527 w 4519987"/>
              <a:gd name="connsiteY54" fmla="*/ 3971925 h 4496940"/>
              <a:gd name="connsiteX55" fmla="*/ 3630952 w 4519987"/>
              <a:gd name="connsiteY55" fmla="*/ 4010025 h 4496940"/>
              <a:gd name="connsiteX56" fmla="*/ 3621427 w 4519987"/>
              <a:gd name="connsiteY56" fmla="*/ 4038600 h 4496940"/>
              <a:gd name="connsiteX57" fmla="*/ 3554752 w 4519987"/>
              <a:gd name="connsiteY57" fmla="*/ 4095750 h 4496940"/>
              <a:gd name="connsiteX58" fmla="*/ 3516652 w 4519987"/>
              <a:gd name="connsiteY58" fmla="*/ 4114800 h 4496940"/>
              <a:gd name="connsiteX59" fmla="*/ 3497602 w 4519987"/>
              <a:gd name="connsiteY59" fmla="*/ 4143375 h 4496940"/>
              <a:gd name="connsiteX60" fmla="*/ 3383302 w 4519987"/>
              <a:gd name="connsiteY60" fmla="*/ 4210050 h 4496940"/>
              <a:gd name="connsiteX61" fmla="*/ 3335677 w 4519987"/>
              <a:gd name="connsiteY61" fmla="*/ 4238625 h 4496940"/>
              <a:gd name="connsiteX62" fmla="*/ 3288052 w 4519987"/>
              <a:gd name="connsiteY62" fmla="*/ 4248150 h 4496940"/>
              <a:gd name="connsiteX63" fmla="*/ 3240427 w 4519987"/>
              <a:gd name="connsiteY63" fmla="*/ 4267200 h 4496940"/>
              <a:gd name="connsiteX64" fmla="*/ 3068977 w 4519987"/>
              <a:gd name="connsiteY64" fmla="*/ 4286250 h 4496940"/>
              <a:gd name="connsiteX65" fmla="*/ 2935627 w 4519987"/>
              <a:gd name="connsiteY65" fmla="*/ 4333875 h 4496940"/>
              <a:gd name="connsiteX66" fmla="*/ 2811802 w 4519987"/>
              <a:gd name="connsiteY66" fmla="*/ 4371975 h 4496940"/>
              <a:gd name="connsiteX67" fmla="*/ 2745127 w 4519987"/>
              <a:gd name="connsiteY67" fmla="*/ 4410075 h 4496940"/>
              <a:gd name="connsiteX68" fmla="*/ 2697502 w 4519987"/>
              <a:gd name="connsiteY68" fmla="*/ 4429125 h 4496940"/>
              <a:gd name="connsiteX69" fmla="*/ 2640352 w 4519987"/>
              <a:gd name="connsiteY69" fmla="*/ 4457700 h 4496940"/>
              <a:gd name="connsiteX70" fmla="*/ 2583202 w 4519987"/>
              <a:gd name="connsiteY70" fmla="*/ 4467225 h 4496940"/>
              <a:gd name="connsiteX71" fmla="*/ 2545102 w 4519987"/>
              <a:gd name="connsiteY71" fmla="*/ 4486275 h 4496940"/>
              <a:gd name="connsiteX72" fmla="*/ 2306977 w 4519987"/>
              <a:gd name="connsiteY72" fmla="*/ 4476750 h 4496940"/>
              <a:gd name="connsiteX73" fmla="*/ 2202202 w 4519987"/>
              <a:gd name="connsiteY73" fmla="*/ 4457700 h 4496940"/>
              <a:gd name="connsiteX74" fmla="*/ 2126002 w 4519987"/>
              <a:gd name="connsiteY74" fmla="*/ 4429125 h 4496940"/>
              <a:gd name="connsiteX75" fmla="*/ 1935502 w 4519987"/>
              <a:gd name="connsiteY75" fmla="*/ 4400550 h 4496940"/>
              <a:gd name="connsiteX76" fmla="*/ 1821202 w 4519987"/>
              <a:gd name="connsiteY76" fmla="*/ 4371975 h 4496940"/>
              <a:gd name="connsiteX77" fmla="*/ 1754527 w 4519987"/>
              <a:gd name="connsiteY77" fmla="*/ 4352925 h 4496940"/>
              <a:gd name="connsiteX78" fmla="*/ 1687852 w 4519987"/>
              <a:gd name="connsiteY78" fmla="*/ 4343400 h 4496940"/>
              <a:gd name="connsiteX79" fmla="*/ 1573552 w 4519987"/>
              <a:gd name="connsiteY79" fmla="*/ 4305300 h 4496940"/>
              <a:gd name="connsiteX80" fmla="*/ 1402102 w 4519987"/>
              <a:gd name="connsiteY80" fmla="*/ 4276725 h 4496940"/>
              <a:gd name="connsiteX81" fmla="*/ 1287802 w 4519987"/>
              <a:gd name="connsiteY81" fmla="*/ 4229100 h 4496940"/>
              <a:gd name="connsiteX82" fmla="*/ 1221127 w 4519987"/>
              <a:gd name="connsiteY82" fmla="*/ 4200525 h 4496940"/>
              <a:gd name="connsiteX83" fmla="*/ 1144927 w 4519987"/>
              <a:gd name="connsiteY83" fmla="*/ 4171950 h 4496940"/>
              <a:gd name="connsiteX84" fmla="*/ 1087777 w 4519987"/>
              <a:gd name="connsiteY84" fmla="*/ 4143375 h 4496940"/>
              <a:gd name="connsiteX85" fmla="*/ 1030627 w 4519987"/>
              <a:gd name="connsiteY85" fmla="*/ 4124325 h 4496940"/>
              <a:gd name="connsiteX86" fmla="*/ 925852 w 4519987"/>
              <a:gd name="connsiteY86" fmla="*/ 4067175 h 4496940"/>
              <a:gd name="connsiteX87" fmla="*/ 830602 w 4519987"/>
              <a:gd name="connsiteY87" fmla="*/ 3981450 h 4496940"/>
              <a:gd name="connsiteX88" fmla="*/ 763927 w 4519987"/>
              <a:gd name="connsiteY88" fmla="*/ 3914775 h 4496940"/>
              <a:gd name="connsiteX89" fmla="*/ 725827 w 4519987"/>
              <a:gd name="connsiteY89" fmla="*/ 3876675 h 4496940"/>
              <a:gd name="connsiteX90" fmla="*/ 697252 w 4519987"/>
              <a:gd name="connsiteY90" fmla="*/ 3838575 h 4496940"/>
              <a:gd name="connsiteX91" fmla="*/ 640102 w 4519987"/>
              <a:gd name="connsiteY91" fmla="*/ 3781425 h 4496940"/>
              <a:gd name="connsiteX92" fmla="*/ 611527 w 4519987"/>
              <a:gd name="connsiteY92" fmla="*/ 3733800 h 4496940"/>
              <a:gd name="connsiteX93" fmla="*/ 554377 w 4519987"/>
              <a:gd name="connsiteY93" fmla="*/ 3657600 h 4496940"/>
              <a:gd name="connsiteX94" fmla="*/ 525802 w 4519987"/>
              <a:gd name="connsiteY94" fmla="*/ 3609975 h 4496940"/>
              <a:gd name="connsiteX95" fmla="*/ 497227 w 4519987"/>
              <a:gd name="connsiteY95" fmla="*/ 3552825 h 4496940"/>
              <a:gd name="connsiteX96" fmla="*/ 440077 w 4519987"/>
              <a:gd name="connsiteY96" fmla="*/ 3495675 h 4496940"/>
              <a:gd name="connsiteX97" fmla="*/ 411502 w 4519987"/>
              <a:gd name="connsiteY97" fmla="*/ 3448050 h 4496940"/>
              <a:gd name="connsiteX98" fmla="*/ 278152 w 4519987"/>
              <a:gd name="connsiteY98" fmla="*/ 3257550 h 4496940"/>
              <a:gd name="connsiteX99" fmla="*/ 249577 w 4519987"/>
              <a:gd name="connsiteY99" fmla="*/ 3200400 h 4496940"/>
              <a:gd name="connsiteX100" fmla="*/ 240052 w 4519987"/>
              <a:gd name="connsiteY100" fmla="*/ 3162300 h 4496940"/>
              <a:gd name="connsiteX101" fmla="*/ 221002 w 4519987"/>
              <a:gd name="connsiteY101" fmla="*/ 3105150 h 4496940"/>
              <a:gd name="connsiteX102" fmla="*/ 173377 w 4519987"/>
              <a:gd name="connsiteY102" fmla="*/ 3019425 h 4496940"/>
              <a:gd name="connsiteX103" fmla="*/ 144802 w 4519987"/>
              <a:gd name="connsiteY103" fmla="*/ 2924175 h 4496940"/>
              <a:gd name="connsiteX104" fmla="*/ 68602 w 4519987"/>
              <a:gd name="connsiteY104" fmla="*/ 2724150 h 4496940"/>
              <a:gd name="connsiteX105" fmla="*/ 49552 w 4519987"/>
              <a:gd name="connsiteY105" fmla="*/ 2638425 h 4496940"/>
              <a:gd name="connsiteX106" fmla="*/ 40027 w 4519987"/>
              <a:gd name="connsiteY106" fmla="*/ 2562225 h 4496940"/>
              <a:gd name="connsiteX107" fmla="*/ 30502 w 4519987"/>
              <a:gd name="connsiteY107" fmla="*/ 2514600 h 4496940"/>
              <a:gd name="connsiteX108" fmla="*/ 11452 w 4519987"/>
              <a:gd name="connsiteY108" fmla="*/ 2400300 h 4496940"/>
              <a:gd name="connsiteX109" fmla="*/ 20977 w 4519987"/>
              <a:gd name="connsiteY109" fmla="*/ 1905000 h 4496940"/>
              <a:gd name="connsiteX110" fmla="*/ 30502 w 4519987"/>
              <a:gd name="connsiteY110" fmla="*/ 1838325 h 4496940"/>
              <a:gd name="connsiteX111" fmla="*/ 49552 w 4519987"/>
              <a:gd name="connsiteY111" fmla="*/ 1781175 h 4496940"/>
              <a:gd name="connsiteX112" fmla="*/ 59077 w 4519987"/>
              <a:gd name="connsiteY112" fmla="*/ 1743075 h 4496940"/>
              <a:gd name="connsiteX113" fmla="*/ 78127 w 4519987"/>
              <a:gd name="connsiteY113" fmla="*/ 1685925 h 4496940"/>
              <a:gd name="connsiteX114" fmla="*/ 87652 w 4519987"/>
              <a:gd name="connsiteY114" fmla="*/ 1638300 h 4496940"/>
              <a:gd name="connsiteX115" fmla="*/ 106702 w 4519987"/>
              <a:gd name="connsiteY115" fmla="*/ 1590675 h 4496940"/>
              <a:gd name="connsiteX116" fmla="*/ 135277 w 4519987"/>
              <a:gd name="connsiteY116" fmla="*/ 1504950 h 4496940"/>
              <a:gd name="connsiteX117" fmla="*/ 154327 w 4519987"/>
              <a:gd name="connsiteY117" fmla="*/ 1419225 h 4496940"/>
              <a:gd name="connsiteX118" fmla="*/ 230527 w 4519987"/>
              <a:gd name="connsiteY118" fmla="*/ 1276350 h 4496940"/>
              <a:gd name="connsiteX119" fmla="*/ 240052 w 4519987"/>
              <a:gd name="connsiteY119" fmla="*/ 1247775 h 4496940"/>
              <a:gd name="connsiteX120" fmla="*/ 268627 w 4519987"/>
              <a:gd name="connsiteY120" fmla="*/ 1200150 h 4496940"/>
              <a:gd name="connsiteX121" fmla="*/ 287677 w 4519987"/>
              <a:gd name="connsiteY121" fmla="*/ 1152525 h 4496940"/>
              <a:gd name="connsiteX122" fmla="*/ 316252 w 4519987"/>
              <a:gd name="connsiteY122" fmla="*/ 1114425 h 4496940"/>
              <a:gd name="connsiteX123" fmla="*/ 363877 w 4519987"/>
              <a:gd name="connsiteY123" fmla="*/ 1038225 h 4496940"/>
              <a:gd name="connsiteX124" fmla="*/ 382927 w 4519987"/>
              <a:gd name="connsiteY124" fmla="*/ 1009650 h 4496940"/>
              <a:gd name="connsiteX125" fmla="*/ 440077 w 4519987"/>
              <a:gd name="connsiteY125" fmla="*/ 904875 h 4496940"/>
              <a:gd name="connsiteX126" fmla="*/ 478177 w 4519987"/>
              <a:gd name="connsiteY126" fmla="*/ 857250 h 4496940"/>
              <a:gd name="connsiteX127" fmla="*/ 497227 w 4519987"/>
              <a:gd name="connsiteY127" fmla="*/ 828675 h 4496940"/>
              <a:gd name="connsiteX128" fmla="*/ 535327 w 4519987"/>
              <a:gd name="connsiteY128" fmla="*/ 800100 h 4496940"/>
              <a:gd name="connsiteX129" fmla="*/ 602002 w 4519987"/>
              <a:gd name="connsiteY129" fmla="*/ 733425 h 4496940"/>
              <a:gd name="connsiteX130" fmla="*/ 668677 w 4519987"/>
              <a:gd name="connsiteY130" fmla="*/ 676275 h 4496940"/>
              <a:gd name="connsiteX131" fmla="*/ 697252 w 4519987"/>
              <a:gd name="connsiteY131" fmla="*/ 657225 h 4496940"/>
              <a:gd name="connsiteX132" fmla="*/ 840127 w 4519987"/>
              <a:gd name="connsiteY132" fmla="*/ 533400 h 4496940"/>
              <a:gd name="connsiteX133" fmla="*/ 887752 w 4519987"/>
              <a:gd name="connsiteY133" fmla="*/ 504825 h 4496940"/>
              <a:gd name="connsiteX134" fmla="*/ 1167152 w 4519987"/>
              <a:gd name="connsiteY134" fmla="*/ 311150 h 4496940"/>
              <a:gd name="connsiteX135" fmla="*/ 1268752 w 4519987"/>
              <a:gd name="connsiteY135" fmla="*/ 285750 h 4496940"/>
              <a:gd name="connsiteX136" fmla="*/ 1411627 w 4519987"/>
              <a:gd name="connsiteY136" fmla="*/ 190500 h 4496940"/>
              <a:gd name="connsiteX137" fmla="*/ 1449727 w 4519987"/>
              <a:gd name="connsiteY137" fmla="*/ 161925 h 4496940"/>
              <a:gd name="connsiteX138" fmla="*/ 1525927 w 4519987"/>
              <a:gd name="connsiteY138" fmla="*/ 152400 h 4496940"/>
              <a:gd name="connsiteX139" fmla="*/ 1583077 w 4519987"/>
              <a:gd name="connsiteY139" fmla="*/ 142875 h 4496940"/>
              <a:gd name="connsiteX140" fmla="*/ 1716427 w 4519987"/>
              <a:gd name="connsiteY140" fmla="*/ 123825 h 4496940"/>
              <a:gd name="connsiteX141" fmla="*/ 1811677 w 4519987"/>
              <a:gd name="connsiteY141" fmla="*/ 114300 h 4496940"/>
              <a:gd name="connsiteX142" fmla="*/ 1859302 w 4519987"/>
              <a:gd name="connsiteY142" fmla="*/ 104775 h 4496940"/>
              <a:gd name="connsiteX143" fmla="*/ 1916452 w 4519987"/>
              <a:gd name="connsiteY143" fmla="*/ 95250 h 4496940"/>
              <a:gd name="connsiteX144" fmla="*/ 2030752 w 4519987"/>
              <a:gd name="connsiteY144" fmla="*/ 66675 h 4496940"/>
              <a:gd name="connsiteX145" fmla="*/ 2097427 w 4519987"/>
              <a:gd name="connsiteY145" fmla="*/ 47625 h 4496940"/>
              <a:gd name="connsiteX146" fmla="*/ 2164102 w 4519987"/>
              <a:gd name="connsiteY146" fmla="*/ 38100 h 4496940"/>
              <a:gd name="connsiteX147" fmla="*/ 2392702 w 4519987"/>
              <a:gd name="connsiteY14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202452 w 4519987"/>
              <a:gd name="connsiteY24" fmla="*/ 1085850 h 4496940"/>
              <a:gd name="connsiteX25" fmla="*/ 4250077 w 4519987"/>
              <a:gd name="connsiteY25" fmla="*/ 1143000 h 4496940"/>
              <a:gd name="connsiteX26" fmla="*/ 4259602 w 4519987"/>
              <a:gd name="connsiteY26" fmla="*/ 1190625 h 4496940"/>
              <a:gd name="connsiteX27" fmla="*/ 4307227 w 4519987"/>
              <a:gd name="connsiteY27" fmla="*/ 1266825 h 4496940"/>
              <a:gd name="connsiteX28" fmla="*/ 4345327 w 4519987"/>
              <a:gd name="connsiteY28" fmla="*/ 1362075 h 4496940"/>
              <a:gd name="connsiteX29" fmla="*/ 4373902 w 4519987"/>
              <a:gd name="connsiteY29" fmla="*/ 1428750 h 4496940"/>
              <a:gd name="connsiteX30" fmla="*/ 4392952 w 4519987"/>
              <a:gd name="connsiteY30" fmla="*/ 1552575 h 4496940"/>
              <a:gd name="connsiteX31" fmla="*/ 4402477 w 4519987"/>
              <a:gd name="connsiteY31" fmla="*/ 1590675 h 4496940"/>
              <a:gd name="connsiteX32" fmla="*/ 4431052 w 4519987"/>
              <a:gd name="connsiteY32" fmla="*/ 1685925 h 4496940"/>
              <a:gd name="connsiteX33" fmla="*/ 4519952 w 4519987"/>
              <a:gd name="connsiteY33" fmla="*/ 2181225 h 4496940"/>
              <a:gd name="connsiteX34" fmla="*/ 4446927 w 4519987"/>
              <a:gd name="connsiteY34" fmla="*/ 2768600 h 4496940"/>
              <a:gd name="connsiteX35" fmla="*/ 4383427 w 4519987"/>
              <a:gd name="connsiteY35" fmla="*/ 2990850 h 4496940"/>
              <a:gd name="connsiteX36" fmla="*/ 4278652 w 4519987"/>
              <a:gd name="connsiteY36" fmla="*/ 3248025 h 4496940"/>
              <a:gd name="connsiteX37" fmla="*/ 4259602 w 4519987"/>
              <a:gd name="connsiteY37" fmla="*/ 3276600 h 4496940"/>
              <a:gd name="connsiteX38" fmla="*/ 4221502 w 4519987"/>
              <a:gd name="connsiteY38" fmla="*/ 3333750 h 4496940"/>
              <a:gd name="connsiteX39" fmla="*/ 4211977 w 4519987"/>
              <a:gd name="connsiteY39" fmla="*/ 3362325 h 4496940"/>
              <a:gd name="connsiteX40" fmla="*/ 4183402 w 4519987"/>
              <a:gd name="connsiteY40" fmla="*/ 3400425 h 4496940"/>
              <a:gd name="connsiteX41" fmla="*/ 4164352 w 4519987"/>
              <a:gd name="connsiteY41" fmla="*/ 3429000 h 4496940"/>
              <a:gd name="connsiteX42" fmla="*/ 4088152 w 4519987"/>
              <a:gd name="connsiteY42" fmla="*/ 3495675 h 4496940"/>
              <a:gd name="connsiteX43" fmla="*/ 4059577 w 4519987"/>
              <a:gd name="connsiteY43" fmla="*/ 3533775 h 4496940"/>
              <a:gd name="connsiteX44" fmla="*/ 4002427 w 4519987"/>
              <a:gd name="connsiteY44" fmla="*/ 3600450 h 4496940"/>
              <a:gd name="connsiteX45" fmla="*/ 3983377 w 4519987"/>
              <a:gd name="connsiteY45" fmla="*/ 3629025 h 4496940"/>
              <a:gd name="connsiteX46" fmla="*/ 3954802 w 4519987"/>
              <a:gd name="connsiteY46" fmla="*/ 3648075 h 4496940"/>
              <a:gd name="connsiteX47" fmla="*/ 3907177 w 4519987"/>
              <a:gd name="connsiteY47" fmla="*/ 3686175 h 4496940"/>
              <a:gd name="connsiteX48" fmla="*/ 3869077 w 4519987"/>
              <a:gd name="connsiteY48" fmla="*/ 3724275 h 4496940"/>
              <a:gd name="connsiteX49" fmla="*/ 3792877 w 4519987"/>
              <a:gd name="connsiteY49" fmla="*/ 3781425 h 4496940"/>
              <a:gd name="connsiteX50" fmla="*/ 3783352 w 4519987"/>
              <a:gd name="connsiteY50" fmla="*/ 3810000 h 4496940"/>
              <a:gd name="connsiteX51" fmla="*/ 3745252 w 4519987"/>
              <a:gd name="connsiteY51" fmla="*/ 3819525 h 4496940"/>
              <a:gd name="connsiteX52" fmla="*/ 3678577 w 4519987"/>
              <a:gd name="connsiteY52" fmla="*/ 3848100 h 4496940"/>
              <a:gd name="connsiteX53" fmla="*/ 3659527 w 4519987"/>
              <a:gd name="connsiteY53" fmla="*/ 3971925 h 4496940"/>
              <a:gd name="connsiteX54" fmla="*/ 3630952 w 4519987"/>
              <a:gd name="connsiteY54" fmla="*/ 4010025 h 4496940"/>
              <a:gd name="connsiteX55" fmla="*/ 3621427 w 4519987"/>
              <a:gd name="connsiteY55" fmla="*/ 4038600 h 4496940"/>
              <a:gd name="connsiteX56" fmla="*/ 3554752 w 4519987"/>
              <a:gd name="connsiteY56" fmla="*/ 4095750 h 4496940"/>
              <a:gd name="connsiteX57" fmla="*/ 3516652 w 4519987"/>
              <a:gd name="connsiteY57" fmla="*/ 4114800 h 4496940"/>
              <a:gd name="connsiteX58" fmla="*/ 3497602 w 4519987"/>
              <a:gd name="connsiteY58" fmla="*/ 4143375 h 4496940"/>
              <a:gd name="connsiteX59" fmla="*/ 3383302 w 4519987"/>
              <a:gd name="connsiteY59" fmla="*/ 4210050 h 4496940"/>
              <a:gd name="connsiteX60" fmla="*/ 3335677 w 4519987"/>
              <a:gd name="connsiteY60" fmla="*/ 4238625 h 4496940"/>
              <a:gd name="connsiteX61" fmla="*/ 3288052 w 4519987"/>
              <a:gd name="connsiteY61" fmla="*/ 4248150 h 4496940"/>
              <a:gd name="connsiteX62" fmla="*/ 3240427 w 4519987"/>
              <a:gd name="connsiteY62" fmla="*/ 4267200 h 4496940"/>
              <a:gd name="connsiteX63" fmla="*/ 3068977 w 4519987"/>
              <a:gd name="connsiteY63" fmla="*/ 4286250 h 4496940"/>
              <a:gd name="connsiteX64" fmla="*/ 2935627 w 4519987"/>
              <a:gd name="connsiteY64" fmla="*/ 4333875 h 4496940"/>
              <a:gd name="connsiteX65" fmla="*/ 2811802 w 4519987"/>
              <a:gd name="connsiteY65" fmla="*/ 4371975 h 4496940"/>
              <a:gd name="connsiteX66" fmla="*/ 2745127 w 4519987"/>
              <a:gd name="connsiteY66" fmla="*/ 4410075 h 4496940"/>
              <a:gd name="connsiteX67" fmla="*/ 2697502 w 4519987"/>
              <a:gd name="connsiteY67" fmla="*/ 4429125 h 4496940"/>
              <a:gd name="connsiteX68" fmla="*/ 2640352 w 4519987"/>
              <a:gd name="connsiteY68" fmla="*/ 4457700 h 4496940"/>
              <a:gd name="connsiteX69" fmla="*/ 2583202 w 4519987"/>
              <a:gd name="connsiteY69" fmla="*/ 4467225 h 4496940"/>
              <a:gd name="connsiteX70" fmla="*/ 2545102 w 4519987"/>
              <a:gd name="connsiteY70" fmla="*/ 4486275 h 4496940"/>
              <a:gd name="connsiteX71" fmla="*/ 2306977 w 4519987"/>
              <a:gd name="connsiteY71" fmla="*/ 4476750 h 4496940"/>
              <a:gd name="connsiteX72" fmla="*/ 2202202 w 4519987"/>
              <a:gd name="connsiteY72" fmla="*/ 4457700 h 4496940"/>
              <a:gd name="connsiteX73" fmla="*/ 2126002 w 4519987"/>
              <a:gd name="connsiteY73" fmla="*/ 4429125 h 4496940"/>
              <a:gd name="connsiteX74" fmla="*/ 1935502 w 4519987"/>
              <a:gd name="connsiteY74" fmla="*/ 4400550 h 4496940"/>
              <a:gd name="connsiteX75" fmla="*/ 1821202 w 4519987"/>
              <a:gd name="connsiteY75" fmla="*/ 4371975 h 4496940"/>
              <a:gd name="connsiteX76" fmla="*/ 1754527 w 4519987"/>
              <a:gd name="connsiteY76" fmla="*/ 4352925 h 4496940"/>
              <a:gd name="connsiteX77" fmla="*/ 1687852 w 4519987"/>
              <a:gd name="connsiteY77" fmla="*/ 4343400 h 4496940"/>
              <a:gd name="connsiteX78" fmla="*/ 1573552 w 4519987"/>
              <a:gd name="connsiteY78" fmla="*/ 4305300 h 4496940"/>
              <a:gd name="connsiteX79" fmla="*/ 1402102 w 4519987"/>
              <a:gd name="connsiteY79" fmla="*/ 4276725 h 4496940"/>
              <a:gd name="connsiteX80" fmla="*/ 1287802 w 4519987"/>
              <a:gd name="connsiteY80" fmla="*/ 4229100 h 4496940"/>
              <a:gd name="connsiteX81" fmla="*/ 1221127 w 4519987"/>
              <a:gd name="connsiteY81" fmla="*/ 4200525 h 4496940"/>
              <a:gd name="connsiteX82" fmla="*/ 1144927 w 4519987"/>
              <a:gd name="connsiteY82" fmla="*/ 4171950 h 4496940"/>
              <a:gd name="connsiteX83" fmla="*/ 1087777 w 4519987"/>
              <a:gd name="connsiteY83" fmla="*/ 4143375 h 4496940"/>
              <a:gd name="connsiteX84" fmla="*/ 1030627 w 4519987"/>
              <a:gd name="connsiteY84" fmla="*/ 4124325 h 4496940"/>
              <a:gd name="connsiteX85" fmla="*/ 925852 w 4519987"/>
              <a:gd name="connsiteY85" fmla="*/ 4067175 h 4496940"/>
              <a:gd name="connsiteX86" fmla="*/ 830602 w 4519987"/>
              <a:gd name="connsiteY86" fmla="*/ 3981450 h 4496940"/>
              <a:gd name="connsiteX87" fmla="*/ 763927 w 4519987"/>
              <a:gd name="connsiteY87" fmla="*/ 3914775 h 4496940"/>
              <a:gd name="connsiteX88" fmla="*/ 725827 w 4519987"/>
              <a:gd name="connsiteY88" fmla="*/ 3876675 h 4496940"/>
              <a:gd name="connsiteX89" fmla="*/ 697252 w 4519987"/>
              <a:gd name="connsiteY89" fmla="*/ 3838575 h 4496940"/>
              <a:gd name="connsiteX90" fmla="*/ 640102 w 4519987"/>
              <a:gd name="connsiteY90" fmla="*/ 3781425 h 4496940"/>
              <a:gd name="connsiteX91" fmla="*/ 611527 w 4519987"/>
              <a:gd name="connsiteY91" fmla="*/ 3733800 h 4496940"/>
              <a:gd name="connsiteX92" fmla="*/ 554377 w 4519987"/>
              <a:gd name="connsiteY92" fmla="*/ 3657600 h 4496940"/>
              <a:gd name="connsiteX93" fmla="*/ 525802 w 4519987"/>
              <a:gd name="connsiteY93" fmla="*/ 3609975 h 4496940"/>
              <a:gd name="connsiteX94" fmla="*/ 497227 w 4519987"/>
              <a:gd name="connsiteY94" fmla="*/ 3552825 h 4496940"/>
              <a:gd name="connsiteX95" fmla="*/ 440077 w 4519987"/>
              <a:gd name="connsiteY95" fmla="*/ 3495675 h 4496940"/>
              <a:gd name="connsiteX96" fmla="*/ 411502 w 4519987"/>
              <a:gd name="connsiteY96" fmla="*/ 3448050 h 4496940"/>
              <a:gd name="connsiteX97" fmla="*/ 278152 w 4519987"/>
              <a:gd name="connsiteY97" fmla="*/ 3257550 h 4496940"/>
              <a:gd name="connsiteX98" fmla="*/ 249577 w 4519987"/>
              <a:gd name="connsiteY98" fmla="*/ 3200400 h 4496940"/>
              <a:gd name="connsiteX99" fmla="*/ 240052 w 4519987"/>
              <a:gd name="connsiteY99" fmla="*/ 3162300 h 4496940"/>
              <a:gd name="connsiteX100" fmla="*/ 221002 w 4519987"/>
              <a:gd name="connsiteY100" fmla="*/ 3105150 h 4496940"/>
              <a:gd name="connsiteX101" fmla="*/ 173377 w 4519987"/>
              <a:gd name="connsiteY101" fmla="*/ 3019425 h 4496940"/>
              <a:gd name="connsiteX102" fmla="*/ 144802 w 4519987"/>
              <a:gd name="connsiteY102" fmla="*/ 2924175 h 4496940"/>
              <a:gd name="connsiteX103" fmla="*/ 68602 w 4519987"/>
              <a:gd name="connsiteY103" fmla="*/ 2724150 h 4496940"/>
              <a:gd name="connsiteX104" fmla="*/ 49552 w 4519987"/>
              <a:gd name="connsiteY104" fmla="*/ 2638425 h 4496940"/>
              <a:gd name="connsiteX105" fmla="*/ 40027 w 4519987"/>
              <a:gd name="connsiteY105" fmla="*/ 2562225 h 4496940"/>
              <a:gd name="connsiteX106" fmla="*/ 30502 w 4519987"/>
              <a:gd name="connsiteY106" fmla="*/ 2514600 h 4496940"/>
              <a:gd name="connsiteX107" fmla="*/ 11452 w 4519987"/>
              <a:gd name="connsiteY107" fmla="*/ 2400300 h 4496940"/>
              <a:gd name="connsiteX108" fmla="*/ 20977 w 4519987"/>
              <a:gd name="connsiteY108" fmla="*/ 1905000 h 4496940"/>
              <a:gd name="connsiteX109" fmla="*/ 30502 w 4519987"/>
              <a:gd name="connsiteY109" fmla="*/ 1838325 h 4496940"/>
              <a:gd name="connsiteX110" fmla="*/ 49552 w 4519987"/>
              <a:gd name="connsiteY110" fmla="*/ 1781175 h 4496940"/>
              <a:gd name="connsiteX111" fmla="*/ 59077 w 4519987"/>
              <a:gd name="connsiteY111" fmla="*/ 1743075 h 4496940"/>
              <a:gd name="connsiteX112" fmla="*/ 78127 w 4519987"/>
              <a:gd name="connsiteY112" fmla="*/ 1685925 h 4496940"/>
              <a:gd name="connsiteX113" fmla="*/ 87652 w 4519987"/>
              <a:gd name="connsiteY113" fmla="*/ 1638300 h 4496940"/>
              <a:gd name="connsiteX114" fmla="*/ 106702 w 4519987"/>
              <a:gd name="connsiteY114" fmla="*/ 1590675 h 4496940"/>
              <a:gd name="connsiteX115" fmla="*/ 135277 w 4519987"/>
              <a:gd name="connsiteY115" fmla="*/ 1504950 h 4496940"/>
              <a:gd name="connsiteX116" fmla="*/ 154327 w 4519987"/>
              <a:gd name="connsiteY116" fmla="*/ 1419225 h 4496940"/>
              <a:gd name="connsiteX117" fmla="*/ 230527 w 4519987"/>
              <a:gd name="connsiteY117" fmla="*/ 1276350 h 4496940"/>
              <a:gd name="connsiteX118" fmla="*/ 240052 w 4519987"/>
              <a:gd name="connsiteY118" fmla="*/ 1247775 h 4496940"/>
              <a:gd name="connsiteX119" fmla="*/ 268627 w 4519987"/>
              <a:gd name="connsiteY119" fmla="*/ 1200150 h 4496940"/>
              <a:gd name="connsiteX120" fmla="*/ 287677 w 4519987"/>
              <a:gd name="connsiteY120" fmla="*/ 1152525 h 4496940"/>
              <a:gd name="connsiteX121" fmla="*/ 316252 w 4519987"/>
              <a:gd name="connsiteY121" fmla="*/ 1114425 h 4496940"/>
              <a:gd name="connsiteX122" fmla="*/ 363877 w 4519987"/>
              <a:gd name="connsiteY122" fmla="*/ 1038225 h 4496940"/>
              <a:gd name="connsiteX123" fmla="*/ 382927 w 4519987"/>
              <a:gd name="connsiteY123" fmla="*/ 1009650 h 4496940"/>
              <a:gd name="connsiteX124" fmla="*/ 440077 w 4519987"/>
              <a:gd name="connsiteY124" fmla="*/ 904875 h 4496940"/>
              <a:gd name="connsiteX125" fmla="*/ 478177 w 4519987"/>
              <a:gd name="connsiteY125" fmla="*/ 857250 h 4496940"/>
              <a:gd name="connsiteX126" fmla="*/ 497227 w 4519987"/>
              <a:gd name="connsiteY126" fmla="*/ 828675 h 4496940"/>
              <a:gd name="connsiteX127" fmla="*/ 535327 w 4519987"/>
              <a:gd name="connsiteY127" fmla="*/ 800100 h 4496940"/>
              <a:gd name="connsiteX128" fmla="*/ 602002 w 4519987"/>
              <a:gd name="connsiteY128" fmla="*/ 733425 h 4496940"/>
              <a:gd name="connsiteX129" fmla="*/ 668677 w 4519987"/>
              <a:gd name="connsiteY129" fmla="*/ 676275 h 4496940"/>
              <a:gd name="connsiteX130" fmla="*/ 697252 w 4519987"/>
              <a:gd name="connsiteY130" fmla="*/ 657225 h 4496940"/>
              <a:gd name="connsiteX131" fmla="*/ 840127 w 4519987"/>
              <a:gd name="connsiteY131" fmla="*/ 533400 h 4496940"/>
              <a:gd name="connsiteX132" fmla="*/ 887752 w 4519987"/>
              <a:gd name="connsiteY132" fmla="*/ 504825 h 4496940"/>
              <a:gd name="connsiteX133" fmla="*/ 1167152 w 4519987"/>
              <a:gd name="connsiteY133" fmla="*/ 311150 h 4496940"/>
              <a:gd name="connsiteX134" fmla="*/ 1268752 w 4519987"/>
              <a:gd name="connsiteY134" fmla="*/ 285750 h 4496940"/>
              <a:gd name="connsiteX135" fmla="*/ 1411627 w 4519987"/>
              <a:gd name="connsiteY135" fmla="*/ 190500 h 4496940"/>
              <a:gd name="connsiteX136" fmla="*/ 1449727 w 4519987"/>
              <a:gd name="connsiteY136" fmla="*/ 161925 h 4496940"/>
              <a:gd name="connsiteX137" fmla="*/ 1525927 w 4519987"/>
              <a:gd name="connsiteY137" fmla="*/ 152400 h 4496940"/>
              <a:gd name="connsiteX138" fmla="*/ 1583077 w 4519987"/>
              <a:gd name="connsiteY138" fmla="*/ 142875 h 4496940"/>
              <a:gd name="connsiteX139" fmla="*/ 1716427 w 4519987"/>
              <a:gd name="connsiteY139" fmla="*/ 123825 h 4496940"/>
              <a:gd name="connsiteX140" fmla="*/ 1811677 w 4519987"/>
              <a:gd name="connsiteY140" fmla="*/ 114300 h 4496940"/>
              <a:gd name="connsiteX141" fmla="*/ 1859302 w 4519987"/>
              <a:gd name="connsiteY141" fmla="*/ 104775 h 4496940"/>
              <a:gd name="connsiteX142" fmla="*/ 1916452 w 4519987"/>
              <a:gd name="connsiteY142" fmla="*/ 95250 h 4496940"/>
              <a:gd name="connsiteX143" fmla="*/ 2030752 w 4519987"/>
              <a:gd name="connsiteY143" fmla="*/ 66675 h 4496940"/>
              <a:gd name="connsiteX144" fmla="*/ 2097427 w 4519987"/>
              <a:gd name="connsiteY144" fmla="*/ 47625 h 4496940"/>
              <a:gd name="connsiteX145" fmla="*/ 2164102 w 4519987"/>
              <a:gd name="connsiteY145" fmla="*/ 38100 h 4496940"/>
              <a:gd name="connsiteX146" fmla="*/ 2392702 w 4519987"/>
              <a:gd name="connsiteY14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173877 w 4519987"/>
              <a:gd name="connsiteY23" fmla="*/ 1019175 h 4496940"/>
              <a:gd name="connsiteX24" fmla="*/ 4250077 w 4519987"/>
              <a:gd name="connsiteY24" fmla="*/ 1143000 h 4496940"/>
              <a:gd name="connsiteX25" fmla="*/ 4259602 w 4519987"/>
              <a:gd name="connsiteY25" fmla="*/ 1190625 h 4496940"/>
              <a:gd name="connsiteX26" fmla="*/ 4307227 w 4519987"/>
              <a:gd name="connsiteY26" fmla="*/ 1266825 h 4496940"/>
              <a:gd name="connsiteX27" fmla="*/ 4345327 w 4519987"/>
              <a:gd name="connsiteY27" fmla="*/ 1362075 h 4496940"/>
              <a:gd name="connsiteX28" fmla="*/ 4373902 w 4519987"/>
              <a:gd name="connsiteY28" fmla="*/ 1428750 h 4496940"/>
              <a:gd name="connsiteX29" fmla="*/ 4392952 w 4519987"/>
              <a:gd name="connsiteY29" fmla="*/ 1552575 h 4496940"/>
              <a:gd name="connsiteX30" fmla="*/ 4402477 w 4519987"/>
              <a:gd name="connsiteY30" fmla="*/ 1590675 h 4496940"/>
              <a:gd name="connsiteX31" fmla="*/ 4431052 w 4519987"/>
              <a:gd name="connsiteY31" fmla="*/ 1685925 h 4496940"/>
              <a:gd name="connsiteX32" fmla="*/ 4519952 w 4519987"/>
              <a:gd name="connsiteY32" fmla="*/ 2181225 h 4496940"/>
              <a:gd name="connsiteX33" fmla="*/ 4446927 w 4519987"/>
              <a:gd name="connsiteY33" fmla="*/ 2768600 h 4496940"/>
              <a:gd name="connsiteX34" fmla="*/ 4383427 w 4519987"/>
              <a:gd name="connsiteY34" fmla="*/ 2990850 h 4496940"/>
              <a:gd name="connsiteX35" fmla="*/ 4278652 w 4519987"/>
              <a:gd name="connsiteY35" fmla="*/ 3248025 h 4496940"/>
              <a:gd name="connsiteX36" fmla="*/ 4259602 w 4519987"/>
              <a:gd name="connsiteY36" fmla="*/ 3276600 h 4496940"/>
              <a:gd name="connsiteX37" fmla="*/ 4221502 w 4519987"/>
              <a:gd name="connsiteY37" fmla="*/ 3333750 h 4496940"/>
              <a:gd name="connsiteX38" fmla="*/ 4211977 w 4519987"/>
              <a:gd name="connsiteY38" fmla="*/ 3362325 h 4496940"/>
              <a:gd name="connsiteX39" fmla="*/ 4183402 w 4519987"/>
              <a:gd name="connsiteY39" fmla="*/ 3400425 h 4496940"/>
              <a:gd name="connsiteX40" fmla="*/ 4164352 w 4519987"/>
              <a:gd name="connsiteY40" fmla="*/ 3429000 h 4496940"/>
              <a:gd name="connsiteX41" fmla="*/ 4088152 w 4519987"/>
              <a:gd name="connsiteY41" fmla="*/ 3495675 h 4496940"/>
              <a:gd name="connsiteX42" fmla="*/ 4059577 w 4519987"/>
              <a:gd name="connsiteY42" fmla="*/ 3533775 h 4496940"/>
              <a:gd name="connsiteX43" fmla="*/ 4002427 w 4519987"/>
              <a:gd name="connsiteY43" fmla="*/ 3600450 h 4496940"/>
              <a:gd name="connsiteX44" fmla="*/ 3983377 w 4519987"/>
              <a:gd name="connsiteY44" fmla="*/ 3629025 h 4496940"/>
              <a:gd name="connsiteX45" fmla="*/ 3954802 w 4519987"/>
              <a:gd name="connsiteY45" fmla="*/ 3648075 h 4496940"/>
              <a:gd name="connsiteX46" fmla="*/ 3907177 w 4519987"/>
              <a:gd name="connsiteY46" fmla="*/ 3686175 h 4496940"/>
              <a:gd name="connsiteX47" fmla="*/ 3869077 w 4519987"/>
              <a:gd name="connsiteY47" fmla="*/ 3724275 h 4496940"/>
              <a:gd name="connsiteX48" fmla="*/ 3792877 w 4519987"/>
              <a:gd name="connsiteY48" fmla="*/ 3781425 h 4496940"/>
              <a:gd name="connsiteX49" fmla="*/ 3783352 w 4519987"/>
              <a:gd name="connsiteY49" fmla="*/ 3810000 h 4496940"/>
              <a:gd name="connsiteX50" fmla="*/ 3745252 w 4519987"/>
              <a:gd name="connsiteY50" fmla="*/ 3819525 h 4496940"/>
              <a:gd name="connsiteX51" fmla="*/ 3678577 w 4519987"/>
              <a:gd name="connsiteY51" fmla="*/ 3848100 h 4496940"/>
              <a:gd name="connsiteX52" fmla="*/ 3659527 w 4519987"/>
              <a:gd name="connsiteY52" fmla="*/ 3971925 h 4496940"/>
              <a:gd name="connsiteX53" fmla="*/ 3630952 w 4519987"/>
              <a:gd name="connsiteY53" fmla="*/ 4010025 h 4496940"/>
              <a:gd name="connsiteX54" fmla="*/ 3621427 w 4519987"/>
              <a:gd name="connsiteY54" fmla="*/ 4038600 h 4496940"/>
              <a:gd name="connsiteX55" fmla="*/ 3554752 w 4519987"/>
              <a:gd name="connsiteY55" fmla="*/ 4095750 h 4496940"/>
              <a:gd name="connsiteX56" fmla="*/ 3516652 w 4519987"/>
              <a:gd name="connsiteY56" fmla="*/ 4114800 h 4496940"/>
              <a:gd name="connsiteX57" fmla="*/ 3497602 w 4519987"/>
              <a:gd name="connsiteY57" fmla="*/ 4143375 h 4496940"/>
              <a:gd name="connsiteX58" fmla="*/ 3383302 w 4519987"/>
              <a:gd name="connsiteY58" fmla="*/ 4210050 h 4496940"/>
              <a:gd name="connsiteX59" fmla="*/ 3335677 w 4519987"/>
              <a:gd name="connsiteY59" fmla="*/ 4238625 h 4496940"/>
              <a:gd name="connsiteX60" fmla="*/ 3288052 w 4519987"/>
              <a:gd name="connsiteY60" fmla="*/ 4248150 h 4496940"/>
              <a:gd name="connsiteX61" fmla="*/ 3240427 w 4519987"/>
              <a:gd name="connsiteY61" fmla="*/ 4267200 h 4496940"/>
              <a:gd name="connsiteX62" fmla="*/ 3068977 w 4519987"/>
              <a:gd name="connsiteY62" fmla="*/ 4286250 h 4496940"/>
              <a:gd name="connsiteX63" fmla="*/ 2935627 w 4519987"/>
              <a:gd name="connsiteY63" fmla="*/ 4333875 h 4496940"/>
              <a:gd name="connsiteX64" fmla="*/ 2811802 w 4519987"/>
              <a:gd name="connsiteY64" fmla="*/ 4371975 h 4496940"/>
              <a:gd name="connsiteX65" fmla="*/ 2745127 w 4519987"/>
              <a:gd name="connsiteY65" fmla="*/ 4410075 h 4496940"/>
              <a:gd name="connsiteX66" fmla="*/ 2697502 w 4519987"/>
              <a:gd name="connsiteY66" fmla="*/ 4429125 h 4496940"/>
              <a:gd name="connsiteX67" fmla="*/ 2640352 w 4519987"/>
              <a:gd name="connsiteY67" fmla="*/ 4457700 h 4496940"/>
              <a:gd name="connsiteX68" fmla="*/ 2583202 w 4519987"/>
              <a:gd name="connsiteY68" fmla="*/ 4467225 h 4496940"/>
              <a:gd name="connsiteX69" fmla="*/ 2545102 w 4519987"/>
              <a:gd name="connsiteY69" fmla="*/ 4486275 h 4496940"/>
              <a:gd name="connsiteX70" fmla="*/ 2306977 w 4519987"/>
              <a:gd name="connsiteY70" fmla="*/ 4476750 h 4496940"/>
              <a:gd name="connsiteX71" fmla="*/ 2202202 w 4519987"/>
              <a:gd name="connsiteY71" fmla="*/ 4457700 h 4496940"/>
              <a:gd name="connsiteX72" fmla="*/ 2126002 w 4519987"/>
              <a:gd name="connsiteY72" fmla="*/ 4429125 h 4496940"/>
              <a:gd name="connsiteX73" fmla="*/ 1935502 w 4519987"/>
              <a:gd name="connsiteY73" fmla="*/ 4400550 h 4496940"/>
              <a:gd name="connsiteX74" fmla="*/ 1821202 w 4519987"/>
              <a:gd name="connsiteY74" fmla="*/ 4371975 h 4496940"/>
              <a:gd name="connsiteX75" fmla="*/ 1754527 w 4519987"/>
              <a:gd name="connsiteY75" fmla="*/ 4352925 h 4496940"/>
              <a:gd name="connsiteX76" fmla="*/ 1687852 w 4519987"/>
              <a:gd name="connsiteY76" fmla="*/ 4343400 h 4496940"/>
              <a:gd name="connsiteX77" fmla="*/ 1573552 w 4519987"/>
              <a:gd name="connsiteY77" fmla="*/ 4305300 h 4496940"/>
              <a:gd name="connsiteX78" fmla="*/ 1402102 w 4519987"/>
              <a:gd name="connsiteY78" fmla="*/ 4276725 h 4496940"/>
              <a:gd name="connsiteX79" fmla="*/ 1287802 w 4519987"/>
              <a:gd name="connsiteY79" fmla="*/ 4229100 h 4496940"/>
              <a:gd name="connsiteX80" fmla="*/ 1221127 w 4519987"/>
              <a:gd name="connsiteY80" fmla="*/ 4200525 h 4496940"/>
              <a:gd name="connsiteX81" fmla="*/ 1144927 w 4519987"/>
              <a:gd name="connsiteY81" fmla="*/ 4171950 h 4496940"/>
              <a:gd name="connsiteX82" fmla="*/ 1087777 w 4519987"/>
              <a:gd name="connsiteY82" fmla="*/ 4143375 h 4496940"/>
              <a:gd name="connsiteX83" fmla="*/ 1030627 w 4519987"/>
              <a:gd name="connsiteY83" fmla="*/ 4124325 h 4496940"/>
              <a:gd name="connsiteX84" fmla="*/ 925852 w 4519987"/>
              <a:gd name="connsiteY84" fmla="*/ 4067175 h 4496940"/>
              <a:gd name="connsiteX85" fmla="*/ 830602 w 4519987"/>
              <a:gd name="connsiteY85" fmla="*/ 3981450 h 4496940"/>
              <a:gd name="connsiteX86" fmla="*/ 763927 w 4519987"/>
              <a:gd name="connsiteY86" fmla="*/ 3914775 h 4496940"/>
              <a:gd name="connsiteX87" fmla="*/ 725827 w 4519987"/>
              <a:gd name="connsiteY87" fmla="*/ 3876675 h 4496940"/>
              <a:gd name="connsiteX88" fmla="*/ 697252 w 4519987"/>
              <a:gd name="connsiteY88" fmla="*/ 3838575 h 4496940"/>
              <a:gd name="connsiteX89" fmla="*/ 640102 w 4519987"/>
              <a:gd name="connsiteY89" fmla="*/ 3781425 h 4496940"/>
              <a:gd name="connsiteX90" fmla="*/ 611527 w 4519987"/>
              <a:gd name="connsiteY90" fmla="*/ 3733800 h 4496940"/>
              <a:gd name="connsiteX91" fmla="*/ 554377 w 4519987"/>
              <a:gd name="connsiteY91" fmla="*/ 3657600 h 4496940"/>
              <a:gd name="connsiteX92" fmla="*/ 525802 w 4519987"/>
              <a:gd name="connsiteY92" fmla="*/ 3609975 h 4496940"/>
              <a:gd name="connsiteX93" fmla="*/ 497227 w 4519987"/>
              <a:gd name="connsiteY93" fmla="*/ 3552825 h 4496940"/>
              <a:gd name="connsiteX94" fmla="*/ 440077 w 4519987"/>
              <a:gd name="connsiteY94" fmla="*/ 3495675 h 4496940"/>
              <a:gd name="connsiteX95" fmla="*/ 411502 w 4519987"/>
              <a:gd name="connsiteY95" fmla="*/ 3448050 h 4496940"/>
              <a:gd name="connsiteX96" fmla="*/ 278152 w 4519987"/>
              <a:gd name="connsiteY96" fmla="*/ 3257550 h 4496940"/>
              <a:gd name="connsiteX97" fmla="*/ 249577 w 4519987"/>
              <a:gd name="connsiteY97" fmla="*/ 3200400 h 4496940"/>
              <a:gd name="connsiteX98" fmla="*/ 240052 w 4519987"/>
              <a:gd name="connsiteY98" fmla="*/ 3162300 h 4496940"/>
              <a:gd name="connsiteX99" fmla="*/ 221002 w 4519987"/>
              <a:gd name="connsiteY99" fmla="*/ 3105150 h 4496940"/>
              <a:gd name="connsiteX100" fmla="*/ 173377 w 4519987"/>
              <a:gd name="connsiteY100" fmla="*/ 3019425 h 4496940"/>
              <a:gd name="connsiteX101" fmla="*/ 144802 w 4519987"/>
              <a:gd name="connsiteY101" fmla="*/ 2924175 h 4496940"/>
              <a:gd name="connsiteX102" fmla="*/ 68602 w 4519987"/>
              <a:gd name="connsiteY102" fmla="*/ 2724150 h 4496940"/>
              <a:gd name="connsiteX103" fmla="*/ 49552 w 4519987"/>
              <a:gd name="connsiteY103" fmla="*/ 2638425 h 4496940"/>
              <a:gd name="connsiteX104" fmla="*/ 40027 w 4519987"/>
              <a:gd name="connsiteY104" fmla="*/ 2562225 h 4496940"/>
              <a:gd name="connsiteX105" fmla="*/ 30502 w 4519987"/>
              <a:gd name="connsiteY105" fmla="*/ 2514600 h 4496940"/>
              <a:gd name="connsiteX106" fmla="*/ 11452 w 4519987"/>
              <a:gd name="connsiteY106" fmla="*/ 2400300 h 4496940"/>
              <a:gd name="connsiteX107" fmla="*/ 20977 w 4519987"/>
              <a:gd name="connsiteY107" fmla="*/ 1905000 h 4496940"/>
              <a:gd name="connsiteX108" fmla="*/ 30502 w 4519987"/>
              <a:gd name="connsiteY108" fmla="*/ 1838325 h 4496940"/>
              <a:gd name="connsiteX109" fmla="*/ 49552 w 4519987"/>
              <a:gd name="connsiteY109" fmla="*/ 1781175 h 4496940"/>
              <a:gd name="connsiteX110" fmla="*/ 59077 w 4519987"/>
              <a:gd name="connsiteY110" fmla="*/ 1743075 h 4496940"/>
              <a:gd name="connsiteX111" fmla="*/ 78127 w 4519987"/>
              <a:gd name="connsiteY111" fmla="*/ 1685925 h 4496940"/>
              <a:gd name="connsiteX112" fmla="*/ 87652 w 4519987"/>
              <a:gd name="connsiteY112" fmla="*/ 1638300 h 4496940"/>
              <a:gd name="connsiteX113" fmla="*/ 106702 w 4519987"/>
              <a:gd name="connsiteY113" fmla="*/ 1590675 h 4496940"/>
              <a:gd name="connsiteX114" fmla="*/ 135277 w 4519987"/>
              <a:gd name="connsiteY114" fmla="*/ 1504950 h 4496940"/>
              <a:gd name="connsiteX115" fmla="*/ 154327 w 4519987"/>
              <a:gd name="connsiteY115" fmla="*/ 1419225 h 4496940"/>
              <a:gd name="connsiteX116" fmla="*/ 230527 w 4519987"/>
              <a:gd name="connsiteY116" fmla="*/ 1276350 h 4496940"/>
              <a:gd name="connsiteX117" fmla="*/ 240052 w 4519987"/>
              <a:gd name="connsiteY117" fmla="*/ 1247775 h 4496940"/>
              <a:gd name="connsiteX118" fmla="*/ 268627 w 4519987"/>
              <a:gd name="connsiteY118" fmla="*/ 1200150 h 4496940"/>
              <a:gd name="connsiteX119" fmla="*/ 287677 w 4519987"/>
              <a:gd name="connsiteY119" fmla="*/ 1152525 h 4496940"/>
              <a:gd name="connsiteX120" fmla="*/ 316252 w 4519987"/>
              <a:gd name="connsiteY120" fmla="*/ 1114425 h 4496940"/>
              <a:gd name="connsiteX121" fmla="*/ 363877 w 4519987"/>
              <a:gd name="connsiteY121" fmla="*/ 1038225 h 4496940"/>
              <a:gd name="connsiteX122" fmla="*/ 382927 w 4519987"/>
              <a:gd name="connsiteY122" fmla="*/ 1009650 h 4496940"/>
              <a:gd name="connsiteX123" fmla="*/ 440077 w 4519987"/>
              <a:gd name="connsiteY123" fmla="*/ 904875 h 4496940"/>
              <a:gd name="connsiteX124" fmla="*/ 478177 w 4519987"/>
              <a:gd name="connsiteY124" fmla="*/ 857250 h 4496940"/>
              <a:gd name="connsiteX125" fmla="*/ 497227 w 4519987"/>
              <a:gd name="connsiteY125" fmla="*/ 828675 h 4496940"/>
              <a:gd name="connsiteX126" fmla="*/ 535327 w 4519987"/>
              <a:gd name="connsiteY126" fmla="*/ 800100 h 4496940"/>
              <a:gd name="connsiteX127" fmla="*/ 602002 w 4519987"/>
              <a:gd name="connsiteY127" fmla="*/ 733425 h 4496940"/>
              <a:gd name="connsiteX128" fmla="*/ 668677 w 4519987"/>
              <a:gd name="connsiteY128" fmla="*/ 676275 h 4496940"/>
              <a:gd name="connsiteX129" fmla="*/ 697252 w 4519987"/>
              <a:gd name="connsiteY129" fmla="*/ 657225 h 4496940"/>
              <a:gd name="connsiteX130" fmla="*/ 840127 w 4519987"/>
              <a:gd name="connsiteY130" fmla="*/ 533400 h 4496940"/>
              <a:gd name="connsiteX131" fmla="*/ 887752 w 4519987"/>
              <a:gd name="connsiteY131" fmla="*/ 504825 h 4496940"/>
              <a:gd name="connsiteX132" fmla="*/ 1167152 w 4519987"/>
              <a:gd name="connsiteY132" fmla="*/ 311150 h 4496940"/>
              <a:gd name="connsiteX133" fmla="*/ 1268752 w 4519987"/>
              <a:gd name="connsiteY133" fmla="*/ 285750 h 4496940"/>
              <a:gd name="connsiteX134" fmla="*/ 1411627 w 4519987"/>
              <a:gd name="connsiteY134" fmla="*/ 190500 h 4496940"/>
              <a:gd name="connsiteX135" fmla="*/ 1449727 w 4519987"/>
              <a:gd name="connsiteY135" fmla="*/ 161925 h 4496940"/>
              <a:gd name="connsiteX136" fmla="*/ 1525927 w 4519987"/>
              <a:gd name="connsiteY136" fmla="*/ 152400 h 4496940"/>
              <a:gd name="connsiteX137" fmla="*/ 1583077 w 4519987"/>
              <a:gd name="connsiteY137" fmla="*/ 142875 h 4496940"/>
              <a:gd name="connsiteX138" fmla="*/ 1716427 w 4519987"/>
              <a:gd name="connsiteY138" fmla="*/ 123825 h 4496940"/>
              <a:gd name="connsiteX139" fmla="*/ 1811677 w 4519987"/>
              <a:gd name="connsiteY139" fmla="*/ 114300 h 4496940"/>
              <a:gd name="connsiteX140" fmla="*/ 1859302 w 4519987"/>
              <a:gd name="connsiteY140" fmla="*/ 104775 h 4496940"/>
              <a:gd name="connsiteX141" fmla="*/ 1916452 w 4519987"/>
              <a:gd name="connsiteY141" fmla="*/ 95250 h 4496940"/>
              <a:gd name="connsiteX142" fmla="*/ 2030752 w 4519987"/>
              <a:gd name="connsiteY142" fmla="*/ 66675 h 4496940"/>
              <a:gd name="connsiteX143" fmla="*/ 2097427 w 4519987"/>
              <a:gd name="connsiteY143" fmla="*/ 47625 h 4496940"/>
              <a:gd name="connsiteX144" fmla="*/ 2164102 w 4519987"/>
              <a:gd name="connsiteY144" fmla="*/ 38100 h 4496940"/>
              <a:gd name="connsiteX145" fmla="*/ 2392702 w 4519987"/>
              <a:gd name="connsiteY14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259602 w 4519987"/>
              <a:gd name="connsiteY24" fmla="*/ 1190625 h 4496940"/>
              <a:gd name="connsiteX25" fmla="*/ 4307227 w 4519987"/>
              <a:gd name="connsiteY25" fmla="*/ 1266825 h 4496940"/>
              <a:gd name="connsiteX26" fmla="*/ 4345327 w 4519987"/>
              <a:gd name="connsiteY26" fmla="*/ 1362075 h 4496940"/>
              <a:gd name="connsiteX27" fmla="*/ 4373902 w 4519987"/>
              <a:gd name="connsiteY27" fmla="*/ 1428750 h 4496940"/>
              <a:gd name="connsiteX28" fmla="*/ 4392952 w 4519987"/>
              <a:gd name="connsiteY28" fmla="*/ 1552575 h 4496940"/>
              <a:gd name="connsiteX29" fmla="*/ 4402477 w 4519987"/>
              <a:gd name="connsiteY29" fmla="*/ 1590675 h 4496940"/>
              <a:gd name="connsiteX30" fmla="*/ 4431052 w 4519987"/>
              <a:gd name="connsiteY30" fmla="*/ 1685925 h 4496940"/>
              <a:gd name="connsiteX31" fmla="*/ 4519952 w 4519987"/>
              <a:gd name="connsiteY31" fmla="*/ 2181225 h 4496940"/>
              <a:gd name="connsiteX32" fmla="*/ 4446927 w 4519987"/>
              <a:gd name="connsiteY32" fmla="*/ 2768600 h 4496940"/>
              <a:gd name="connsiteX33" fmla="*/ 4383427 w 4519987"/>
              <a:gd name="connsiteY33" fmla="*/ 2990850 h 4496940"/>
              <a:gd name="connsiteX34" fmla="*/ 4278652 w 4519987"/>
              <a:gd name="connsiteY34" fmla="*/ 3248025 h 4496940"/>
              <a:gd name="connsiteX35" fmla="*/ 4259602 w 4519987"/>
              <a:gd name="connsiteY35" fmla="*/ 3276600 h 4496940"/>
              <a:gd name="connsiteX36" fmla="*/ 4221502 w 4519987"/>
              <a:gd name="connsiteY36" fmla="*/ 3333750 h 4496940"/>
              <a:gd name="connsiteX37" fmla="*/ 4211977 w 4519987"/>
              <a:gd name="connsiteY37" fmla="*/ 3362325 h 4496940"/>
              <a:gd name="connsiteX38" fmla="*/ 4183402 w 4519987"/>
              <a:gd name="connsiteY38" fmla="*/ 3400425 h 4496940"/>
              <a:gd name="connsiteX39" fmla="*/ 4164352 w 4519987"/>
              <a:gd name="connsiteY39" fmla="*/ 3429000 h 4496940"/>
              <a:gd name="connsiteX40" fmla="*/ 4088152 w 4519987"/>
              <a:gd name="connsiteY40" fmla="*/ 3495675 h 4496940"/>
              <a:gd name="connsiteX41" fmla="*/ 4059577 w 4519987"/>
              <a:gd name="connsiteY41" fmla="*/ 3533775 h 4496940"/>
              <a:gd name="connsiteX42" fmla="*/ 4002427 w 4519987"/>
              <a:gd name="connsiteY42" fmla="*/ 3600450 h 4496940"/>
              <a:gd name="connsiteX43" fmla="*/ 3983377 w 4519987"/>
              <a:gd name="connsiteY43" fmla="*/ 3629025 h 4496940"/>
              <a:gd name="connsiteX44" fmla="*/ 3954802 w 4519987"/>
              <a:gd name="connsiteY44" fmla="*/ 3648075 h 4496940"/>
              <a:gd name="connsiteX45" fmla="*/ 3907177 w 4519987"/>
              <a:gd name="connsiteY45" fmla="*/ 3686175 h 4496940"/>
              <a:gd name="connsiteX46" fmla="*/ 3869077 w 4519987"/>
              <a:gd name="connsiteY46" fmla="*/ 3724275 h 4496940"/>
              <a:gd name="connsiteX47" fmla="*/ 3792877 w 4519987"/>
              <a:gd name="connsiteY47" fmla="*/ 3781425 h 4496940"/>
              <a:gd name="connsiteX48" fmla="*/ 3783352 w 4519987"/>
              <a:gd name="connsiteY48" fmla="*/ 3810000 h 4496940"/>
              <a:gd name="connsiteX49" fmla="*/ 3745252 w 4519987"/>
              <a:gd name="connsiteY49" fmla="*/ 3819525 h 4496940"/>
              <a:gd name="connsiteX50" fmla="*/ 3678577 w 4519987"/>
              <a:gd name="connsiteY50" fmla="*/ 3848100 h 4496940"/>
              <a:gd name="connsiteX51" fmla="*/ 3659527 w 4519987"/>
              <a:gd name="connsiteY51" fmla="*/ 3971925 h 4496940"/>
              <a:gd name="connsiteX52" fmla="*/ 3630952 w 4519987"/>
              <a:gd name="connsiteY52" fmla="*/ 4010025 h 4496940"/>
              <a:gd name="connsiteX53" fmla="*/ 3621427 w 4519987"/>
              <a:gd name="connsiteY53" fmla="*/ 4038600 h 4496940"/>
              <a:gd name="connsiteX54" fmla="*/ 3554752 w 4519987"/>
              <a:gd name="connsiteY54" fmla="*/ 4095750 h 4496940"/>
              <a:gd name="connsiteX55" fmla="*/ 3516652 w 4519987"/>
              <a:gd name="connsiteY55" fmla="*/ 4114800 h 4496940"/>
              <a:gd name="connsiteX56" fmla="*/ 3497602 w 4519987"/>
              <a:gd name="connsiteY56" fmla="*/ 4143375 h 4496940"/>
              <a:gd name="connsiteX57" fmla="*/ 3383302 w 4519987"/>
              <a:gd name="connsiteY57" fmla="*/ 4210050 h 4496940"/>
              <a:gd name="connsiteX58" fmla="*/ 3335677 w 4519987"/>
              <a:gd name="connsiteY58" fmla="*/ 4238625 h 4496940"/>
              <a:gd name="connsiteX59" fmla="*/ 3288052 w 4519987"/>
              <a:gd name="connsiteY59" fmla="*/ 4248150 h 4496940"/>
              <a:gd name="connsiteX60" fmla="*/ 3240427 w 4519987"/>
              <a:gd name="connsiteY60" fmla="*/ 4267200 h 4496940"/>
              <a:gd name="connsiteX61" fmla="*/ 3068977 w 4519987"/>
              <a:gd name="connsiteY61" fmla="*/ 4286250 h 4496940"/>
              <a:gd name="connsiteX62" fmla="*/ 2935627 w 4519987"/>
              <a:gd name="connsiteY62" fmla="*/ 4333875 h 4496940"/>
              <a:gd name="connsiteX63" fmla="*/ 2811802 w 4519987"/>
              <a:gd name="connsiteY63" fmla="*/ 4371975 h 4496940"/>
              <a:gd name="connsiteX64" fmla="*/ 2745127 w 4519987"/>
              <a:gd name="connsiteY64" fmla="*/ 4410075 h 4496940"/>
              <a:gd name="connsiteX65" fmla="*/ 2697502 w 4519987"/>
              <a:gd name="connsiteY65" fmla="*/ 4429125 h 4496940"/>
              <a:gd name="connsiteX66" fmla="*/ 2640352 w 4519987"/>
              <a:gd name="connsiteY66" fmla="*/ 4457700 h 4496940"/>
              <a:gd name="connsiteX67" fmla="*/ 2583202 w 4519987"/>
              <a:gd name="connsiteY67" fmla="*/ 4467225 h 4496940"/>
              <a:gd name="connsiteX68" fmla="*/ 2545102 w 4519987"/>
              <a:gd name="connsiteY68" fmla="*/ 4486275 h 4496940"/>
              <a:gd name="connsiteX69" fmla="*/ 2306977 w 4519987"/>
              <a:gd name="connsiteY69" fmla="*/ 4476750 h 4496940"/>
              <a:gd name="connsiteX70" fmla="*/ 2202202 w 4519987"/>
              <a:gd name="connsiteY70" fmla="*/ 4457700 h 4496940"/>
              <a:gd name="connsiteX71" fmla="*/ 2126002 w 4519987"/>
              <a:gd name="connsiteY71" fmla="*/ 4429125 h 4496940"/>
              <a:gd name="connsiteX72" fmla="*/ 1935502 w 4519987"/>
              <a:gd name="connsiteY72" fmla="*/ 4400550 h 4496940"/>
              <a:gd name="connsiteX73" fmla="*/ 1821202 w 4519987"/>
              <a:gd name="connsiteY73" fmla="*/ 4371975 h 4496940"/>
              <a:gd name="connsiteX74" fmla="*/ 1754527 w 4519987"/>
              <a:gd name="connsiteY74" fmla="*/ 4352925 h 4496940"/>
              <a:gd name="connsiteX75" fmla="*/ 1687852 w 4519987"/>
              <a:gd name="connsiteY75" fmla="*/ 4343400 h 4496940"/>
              <a:gd name="connsiteX76" fmla="*/ 1573552 w 4519987"/>
              <a:gd name="connsiteY76" fmla="*/ 4305300 h 4496940"/>
              <a:gd name="connsiteX77" fmla="*/ 1402102 w 4519987"/>
              <a:gd name="connsiteY77" fmla="*/ 4276725 h 4496940"/>
              <a:gd name="connsiteX78" fmla="*/ 1287802 w 4519987"/>
              <a:gd name="connsiteY78" fmla="*/ 4229100 h 4496940"/>
              <a:gd name="connsiteX79" fmla="*/ 1221127 w 4519987"/>
              <a:gd name="connsiteY79" fmla="*/ 4200525 h 4496940"/>
              <a:gd name="connsiteX80" fmla="*/ 1144927 w 4519987"/>
              <a:gd name="connsiteY80" fmla="*/ 4171950 h 4496940"/>
              <a:gd name="connsiteX81" fmla="*/ 1087777 w 4519987"/>
              <a:gd name="connsiteY81" fmla="*/ 4143375 h 4496940"/>
              <a:gd name="connsiteX82" fmla="*/ 1030627 w 4519987"/>
              <a:gd name="connsiteY82" fmla="*/ 4124325 h 4496940"/>
              <a:gd name="connsiteX83" fmla="*/ 925852 w 4519987"/>
              <a:gd name="connsiteY83" fmla="*/ 4067175 h 4496940"/>
              <a:gd name="connsiteX84" fmla="*/ 830602 w 4519987"/>
              <a:gd name="connsiteY84" fmla="*/ 3981450 h 4496940"/>
              <a:gd name="connsiteX85" fmla="*/ 763927 w 4519987"/>
              <a:gd name="connsiteY85" fmla="*/ 3914775 h 4496940"/>
              <a:gd name="connsiteX86" fmla="*/ 725827 w 4519987"/>
              <a:gd name="connsiteY86" fmla="*/ 3876675 h 4496940"/>
              <a:gd name="connsiteX87" fmla="*/ 697252 w 4519987"/>
              <a:gd name="connsiteY87" fmla="*/ 3838575 h 4496940"/>
              <a:gd name="connsiteX88" fmla="*/ 640102 w 4519987"/>
              <a:gd name="connsiteY88" fmla="*/ 3781425 h 4496940"/>
              <a:gd name="connsiteX89" fmla="*/ 611527 w 4519987"/>
              <a:gd name="connsiteY89" fmla="*/ 3733800 h 4496940"/>
              <a:gd name="connsiteX90" fmla="*/ 554377 w 4519987"/>
              <a:gd name="connsiteY90" fmla="*/ 3657600 h 4496940"/>
              <a:gd name="connsiteX91" fmla="*/ 525802 w 4519987"/>
              <a:gd name="connsiteY91" fmla="*/ 3609975 h 4496940"/>
              <a:gd name="connsiteX92" fmla="*/ 497227 w 4519987"/>
              <a:gd name="connsiteY92" fmla="*/ 3552825 h 4496940"/>
              <a:gd name="connsiteX93" fmla="*/ 440077 w 4519987"/>
              <a:gd name="connsiteY93" fmla="*/ 3495675 h 4496940"/>
              <a:gd name="connsiteX94" fmla="*/ 411502 w 4519987"/>
              <a:gd name="connsiteY94" fmla="*/ 3448050 h 4496940"/>
              <a:gd name="connsiteX95" fmla="*/ 278152 w 4519987"/>
              <a:gd name="connsiteY95" fmla="*/ 3257550 h 4496940"/>
              <a:gd name="connsiteX96" fmla="*/ 249577 w 4519987"/>
              <a:gd name="connsiteY96" fmla="*/ 3200400 h 4496940"/>
              <a:gd name="connsiteX97" fmla="*/ 240052 w 4519987"/>
              <a:gd name="connsiteY97" fmla="*/ 3162300 h 4496940"/>
              <a:gd name="connsiteX98" fmla="*/ 221002 w 4519987"/>
              <a:gd name="connsiteY98" fmla="*/ 3105150 h 4496940"/>
              <a:gd name="connsiteX99" fmla="*/ 173377 w 4519987"/>
              <a:gd name="connsiteY99" fmla="*/ 3019425 h 4496940"/>
              <a:gd name="connsiteX100" fmla="*/ 144802 w 4519987"/>
              <a:gd name="connsiteY100" fmla="*/ 2924175 h 4496940"/>
              <a:gd name="connsiteX101" fmla="*/ 68602 w 4519987"/>
              <a:gd name="connsiteY101" fmla="*/ 2724150 h 4496940"/>
              <a:gd name="connsiteX102" fmla="*/ 49552 w 4519987"/>
              <a:gd name="connsiteY102" fmla="*/ 2638425 h 4496940"/>
              <a:gd name="connsiteX103" fmla="*/ 40027 w 4519987"/>
              <a:gd name="connsiteY103" fmla="*/ 2562225 h 4496940"/>
              <a:gd name="connsiteX104" fmla="*/ 30502 w 4519987"/>
              <a:gd name="connsiteY104" fmla="*/ 2514600 h 4496940"/>
              <a:gd name="connsiteX105" fmla="*/ 11452 w 4519987"/>
              <a:gd name="connsiteY105" fmla="*/ 2400300 h 4496940"/>
              <a:gd name="connsiteX106" fmla="*/ 20977 w 4519987"/>
              <a:gd name="connsiteY106" fmla="*/ 1905000 h 4496940"/>
              <a:gd name="connsiteX107" fmla="*/ 30502 w 4519987"/>
              <a:gd name="connsiteY107" fmla="*/ 1838325 h 4496940"/>
              <a:gd name="connsiteX108" fmla="*/ 49552 w 4519987"/>
              <a:gd name="connsiteY108" fmla="*/ 1781175 h 4496940"/>
              <a:gd name="connsiteX109" fmla="*/ 59077 w 4519987"/>
              <a:gd name="connsiteY109" fmla="*/ 1743075 h 4496940"/>
              <a:gd name="connsiteX110" fmla="*/ 78127 w 4519987"/>
              <a:gd name="connsiteY110" fmla="*/ 1685925 h 4496940"/>
              <a:gd name="connsiteX111" fmla="*/ 87652 w 4519987"/>
              <a:gd name="connsiteY111" fmla="*/ 1638300 h 4496940"/>
              <a:gd name="connsiteX112" fmla="*/ 106702 w 4519987"/>
              <a:gd name="connsiteY112" fmla="*/ 1590675 h 4496940"/>
              <a:gd name="connsiteX113" fmla="*/ 135277 w 4519987"/>
              <a:gd name="connsiteY113" fmla="*/ 1504950 h 4496940"/>
              <a:gd name="connsiteX114" fmla="*/ 154327 w 4519987"/>
              <a:gd name="connsiteY114" fmla="*/ 1419225 h 4496940"/>
              <a:gd name="connsiteX115" fmla="*/ 230527 w 4519987"/>
              <a:gd name="connsiteY115" fmla="*/ 1276350 h 4496940"/>
              <a:gd name="connsiteX116" fmla="*/ 240052 w 4519987"/>
              <a:gd name="connsiteY116" fmla="*/ 1247775 h 4496940"/>
              <a:gd name="connsiteX117" fmla="*/ 268627 w 4519987"/>
              <a:gd name="connsiteY117" fmla="*/ 1200150 h 4496940"/>
              <a:gd name="connsiteX118" fmla="*/ 287677 w 4519987"/>
              <a:gd name="connsiteY118" fmla="*/ 1152525 h 4496940"/>
              <a:gd name="connsiteX119" fmla="*/ 316252 w 4519987"/>
              <a:gd name="connsiteY119" fmla="*/ 1114425 h 4496940"/>
              <a:gd name="connsiteX120" fmla="*/ 363877 w 4519987"/>
              <a:gd name="connsiteY120" fmla="*/ 1038225 h 4496940"/>
              <a:gd name="connsiteX121" fmla="*/ 382927 w 4519987"/>
              <a:gd name="connsiteY121" fmla="*/ 1009650 h 4496940"/>
              <a:gd name="connsiteX122" fmla="*/ 440077 w 4519987"/>
              <a:gd name="connsiteY122" fmla="*/ 904875 h 4496940"/>
              <a:gd name="connsiteX123" fmla="*/ 478177 w 4519987"/>
              <a:gd name="connsiteY123" fmla="*/ 857250 h 4496940"/>
              <a:gd name="connsiteX124" fmla="*/ 497227 w 4519987"/>
              <a:gd name="connsiteY124" fmla="*/ 828675 h 4496940"/>
              <a:gd name="connsiteX125" fmla="*/ 535327 w 4519987"/>
              <a:gd name="connsiteY125" fmla="*/ 800100 h 4496940"/>
              <a:gd name="connsiteX126" fmla="*/ 602002 w 4519987"/>
              <a:gd name="connsiteY126" fmla="*/ 733425 h 4496940"/>
              <a:gd name="connsiteX127" fmla="*/ 668677 w 4519987"/>
              <a:gd name="connsiteY127" fmla="*/ 676275 h 4496940"/>
              <a:gd name="connsiteX128" fmla="*/ 697252 w 4519987"/>
              <a:gd name="connsiteY128" fmla="*/ 657225 h 4496940"/>
              <a:gd name="connsiteX129" fmla="*/ 840127 w 4519987"/>
              <a:gd name="connsiteY129" fmla="*/ 533400 h 4496940"/>
              <a:gd name="connsiteX130" fmla="*/ 887752 w 4519987"/>
              <a:gd name="connsiteY130" fmla="*/ 504825 h 4496940"/>
              <a:gd name="connsiteX131" fmla="*/ 1167152 w 4519987"/>
              <a:gd name="connsiteY131" fmla="*/ 311150 h 4496940"/>
              <a:gd name="connsiteX132" fmla="*/ 1268752 w 4519987"/>
              <a:gd name="connsiteY132" fmla="*/ 285750 h 4496940"/>
              <a:gd name="connsiteX133" fmla="*/ 1411627 w 4519987"/>
              <a:gd name="connsiteY133" fmla="*/ 190500 h 4496940"/>
              <a:gd name="connsiteX134" fmla="*/ 1449727 w 4519987"/>
              <a:gd name="connsiteY134" fmla="*/ 161925 h 4496940"/>
              <a:gd name="connsiteX135" fmla="*/ 1525927 w 4519987"/>
              <a:gd name="connsiteY135" fmla="*/ 152400 h 4496940"/>
              <a:gd name="connsiteX136" fmla="*/ 1583077 w 4519987"/>
              <a:gd name="connsiteY136" fmla="*/ 142875 h 4496940"/>
              <a:gd name="connsiteX137" fmla="*/ 1716427 w 4519987"/>
              <a:gd name="connsiteY137" fmla="*/ 123825 h 4496940"/>
              <a:gd name="connsiteX138" fmla="*/ 1811677 w 4519987"/>
              <a:gd name="connsiteY138" fmla="*/ 114300 h 4496940"/>
              <a:gd name="connsiteX139" fmla="*/ 1859302 w 4519987"/>
              <a:gd name="connsiteY139" fmla="*/ 104775 h 4496940"/>
              <a:gd name="connsiteX140" fmla="*/ 1916452 w 4519987"/>
              <a:gd name="connsiteY140" fmla="*/ 95250 h 4496940"/>
              <a:gd name="connsiteX141" fmla="*/ 2030752 w 4519987"/>
              <a:gd name="connsiteY141" fmla="*/ 66675 h 4496940"/>
              <a:gd name="connsiteX142" fmla="*/ 2097427 w 4519987"/>
              <a:gd name="connsiteY142" fmla="*/ 47625 h 4496940"/>
              <a:gd name="connsiteX143" fmla="*/ 2164102 w 4519987"/>
              <a:gd name="connsiteY143" fmla="*/ 38100 h 4496940"/>
              <a:gd name="connsiteX144" fmla="*/ 2392702 w 4519987"/>
              <a:gd name="connsiteY14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73902 w 4519987"/>
              <a:gd name="connsiteY26" fmla="*/ 1428750 h 4496940"/>
              <a:gd name="connsiteX27" fmla="*/ 4392952 w 4519987"/>
              <a:gd name="connsiteY27" fmla="*/ 1552575 h 4496940"/>
              <a:gd name="connsiteX28" fmla="*/ 4402477 w 4519987"/>
              <a:gd name="connsiteY28" fmla="*/ 1590675 h 4496940"/>
              <a:gd name="connsiteX29" fmla="*/ 4431052 w 4519987"/>
              <a:gd name="connsiteY29" fmla="*/ 1685925 h 4496940"/>
              <a:gd name="connsiteX30" fmla="*/ 4519952 w 4519987"/>
              <a:gd name="connsiteY30" fmla="*/ 2181225 h 4496940"/>
              <a:gd name="connsiteX31" fmla="*/ 4446927 w 4519987"/>
              <a:gd name="connsiteY31" fmla="*/ 2768600 h 4496940"/>
              <a:gd name="connsiteX32" fmla="*/ 4383427 w 4519987"/>
              <a:gd name="connsiteY32" fmla="*/ 2990850 h 4496940"/>
              <a:gd name="connsiteX33" fmla="*/ 4278652 w 4519987"/>
              <a:gd name="connsiteY33" fmla="*/ 3248025 h 4496940"/>
              <a:gd name="connsiteX34" fmla="*/ 4259602 w 4519987"/>
              <a:gd name="connsiteY34" fmla="*/ 3276600 h 4496940"/>
              <a:gd name="connsiteX35" fmla="*/ 4221502 w 4519987"/>
              <a:gd name="connsiteY35" fmla="*/ 3333750 h 4496940"/>
              <a:gd name="connsiteX36" fmla="*/ 4211977 w 4519987"/>
              <a:gd name="connsiteY36" fmla="*/ 3362325 h 4496940"/>
              <a:gd name="connsiteX37" fmla="*/ 4183402 w 4519987"/>
              <a:gd name="connsiteY37" fmla="*/ 3400425 h 4496940"/>
              <a:gd name="connsiteX38" fmla="*/ 4164352 w 4519987"/>
              <a:gd name="connsiteY38" fmla="*/ 3429000 h 4496940"/>
              <a:gd name="connsiteX39" fmla="*/ 4088152 w 4519987"/>
              <a:gd name="connsiteY39" fmla="*/ 3495675 h 4496940"/>
              <a:gd name="connsiteX40" fmla="*/ 4059577 w 4519987"/>
              <a:gd name="connsiteY40" fmla="*/ 3533775 h 4496940"/>
              <a:gd name="connsiteX41" fmla="*/ 4002427 w 4519987"/>
              <a:gd name="connsiteY41" fmla="*/ 3600450 h 4496940"/>
              <a:gd name="connsiteX42" fmla="*/ 3983377 w 4519987"/>
              <a:gd name="connsiteY42" fmla="*/ 3629025 h 4496940"/>
              <a:gd name="connsiteX43" fmla="*/ 3954802 w 4519987"/>
              <a:gd name="connsiteY43" fmla="*/ 3648075 h 4496940"/>
              <a:gd name="connsiteX44" fmla="*/ 3907177 w 4519987"/>
              <a:gd name="connsiteY44" fmla="*/ 3686175 h 4496940"/>
              <a:gd name="connsiteX45" fmla="*/ 3869077 w 4519987"/>
              <a:gd name="connsiteY45" fmla="*/ 3724275 h 4496940"/>
              <a:gd name="connsiteX46" fmla="*/ 3792877 w 4519987"/>
              <a:gd name="connsiteY46" fmla="*/ 3781425 h 4496940"/>
              <a:gd name="connsiteX47" fmla="*/ 3783352 w 4519987"/>
              <a:gd name="connsiteY47" fmla="*/ 3810000 h 4496940"/>
              <a:gd name="connsiteX48" fmla="*/ 3745252 w 4519987"/>
              <a:gd name="connsiteY48" fmla="*/ 3819525 h 4496940"/>
              <a:gd name="connsiteX49" fmla="*/ 3678577 w 4519987"/>
              <a:gd name="connsiteY49" fmla="*/ 3848100 h 4496940"/>
              <a:gd name="connsiteX50" fmla="*/ 3659527 w 4519987"/>
              <a:gd name="connsiteY50" fmla="*/ 3971925 h 4496940"/>
              <a:gd name="connsiteX51" fmla="*/ 3630952 w 4519987"/>
              <a:gd name="connsiteY51" fmla="*/ 4010025 h 4496940"/>
              <a:gd name="connsiteX52" fmla="*/ 3621427 w 4519987"/>
              <a:gd name="connsiteY52" fmla="*/ 4038600 h 4496940"/>
              <a:gd name="connsiteX53" fmla="*/ 3554752 w 4519987"/>
              <a:gd name="connsiteY53" fmla="*/ 4095750 h 4496940"/>
              <a:gd name="connsiteX54" fmla="*/ 3516652 w 4519987"/>
              <a:gd name="connsiteY54" fmla="*/ 4114800 h 4496940"/>
              <a:gd name="connsiteX55" fmla="*/ 3497602 w 4519987"/>
              <a:gd name="connsiteY55" fmla="*/ 4143375 h 4496940"/>
              <a:gd name="connsiteX56" fmla="*/ 3383302 w 4519987"/>
              <a:gd name="connsiteY56" fmla="*/ 4210050 h 4496940"/>
              <a:gd name="connsiteX57" fmla="*/ 3335677 w 4519987"/>
              <a:gd name="connsiteY57" fmla="*/ 4238625 h 4496940"/>
              <a:gd name="connsiteX58" fmla="*/ 3288052 w 4519987"/>
              <a:gd name="connsiteY58" fmla="*/ 4248150 h 4496940"/>
              <a:gd name="connsiteX59" fmla="*/ 3240427 w 4519987"/>
              <a:gd name="connsiteY59" fmla="*/ 4267200 h 4496940"/>
              <a:gd name="connsiteX60" fmla="*/ 3068977 w 4519987"/>
              <a:gd name="connsiteY60" fmla="*/ 4286250 h 4496940"/>
              <a:gd name="connsiteX61" fmla="*/ 2935627 w 4519987"/>
              <a:gd name="connsiteY61" fmla="*/ 4333875 h 4496940"/>
              <a:gd name="connsiteX62" fmla="*/ 2811802 w 4519987"/>
              <a:gd name="connsiteY62" fmla="*/ 4371975 h 4496940"/>
              <a:gd name="connsiteX63" fmla="*/ 2745127 w 4519987"/>
              <a:gd name="connsiteY63" fmla="*/ 4410075 h 4496940"/>
              <a:gd name="connsiteX64" fmla="*/ 2697502 w 4519987"/>
              <a:gd name="connsiteY64" fmla="*/ 4429125 h 4496940"/>
              <a:gd name="connsiteX65" fmla="*/ 2640352 w 4519987"/>
              <a:gd name="connsiteY65" fmla="*/ 4457700 h 4496940"/>
              <a:gd name="connsiteX66" fmla="*/ 2583202 w 4519987"/>
              <a:gd name="connsiteY66" fmla="*/ 4467225 h 4496940"/>
              <a:gd name="connsiteX67" fmla="*/ 2545102 w 4519987"/>
              <a:gd name="connsiteY67" fmla="*/ 4486275 h 4496940"/>
              <a:gd name="connsiteX68" fmla="*/ 2306977 w 4519987"/>
              <a:gd name="connsiteY68" fmla="*/ 4476750 h 4496940"/>
              <a:gd name="connsiteX69" fmla="*/ 2202202 w 4519987"/>
              <a:gd name="connsiteY69" fmla="*/ 4457700 h 4496940"/>
              <a:gd name="connsiteX70" fmla="*/ 2126002 w 4519987"/>
              <a:gd name="connsiteY70" fmla="*/ 4429125 h 4496940"/>
              <a:gd name="connsiteX71" fmla="*/ 1935502 w 4519987"/>
              <a:gd name="connsiteY71" fmla="*/ 4400550 h 4496940"/>
              <a:gd name="connsiteX72" fmla="*/ 1821202 w 4519987"/>
              <a:gd name="connsiteY72" fmla="*/ 4371975 h 4496940"/>
              <a:gd name="connsiteX73" fmla="*/ 1754527 w 4519987"/>
              <a:gd name="connsiteY73" fmla="*/ 4352925 h 4496940"/>
              <a:gd name="connsiteX74" fmla="*/ 1687852 w 4519987"/>
              <a:gd name="connsiteY74" fmla="*/ 4343400 h 4496940"/>
              <a:gd name="connsiteX75" fmla="*/ 1573552 w 4519987"/>
              <a:gd name="connsiteY75" fmla="*/ 4305300 h 4496940"/>
              <a:gd name="connsiteX76" fmla="*/ 1402102 w 4519987"/>
              <a:gd name="connsiteY76" fmla="*/ 4276725 h 4496940"/>
              <a:gd name="connsiteX77" fmla="*/ 1287802 w 4519987"/>
              <a:gd name="connsiteY77" fmla="*/ 4229100 h 4496940"/>
              <a:gd name="connsiteX78" fmla="*/ 1221127 w 4519987"/>
              <a:gd name="connsiteY78" fmla="*/ 4200525 h 4496940"/>
              <a:gd name="connsiteX79" fmla="*/ 1144927 w 4519987"/>
              <a:gd name="connsiteY79" fmla="*/ 4171950 h 4496940"/>
              <a:gd name="connsiteX80" fmla="*/ 1087777 w 4519987"/>
              <a:gd name="connsiteY80" fmla="*/ 4143375 h 4496940"/>
              <a:gd name="connsiteX81" fmla="*/ 1030627 w 4519987"/>
              <a:gd name="connsiteY81" fmla="*/ 4124325 h 4496940"/>
              <a:gd name="connsiteX82" fmla="*/ 925852 w 4519987"/>
              <a:gd name="connsiteY82" fmla="*/ 4067175 h 4496940"/>
              <a:gd name="connsiteX83" fmla="*/ 830602 w 4519987"/>
              <a:gd name="connsiteY83" fmla="*/ 3981450 h 4496940"/>
              <a:gd name="connsiteX84" fmla="*/ 763927 w 4519987"/>
              <a:gd name="connsiteY84" fmla="*/ 3914775 h 4496940"/>
              <a:gd name="connsiteX85" fmla="*/ 725827 w 4519987"/>
              <a:gd name="connsiteY85" fmla="*/ 3876675 h 4496940"/>
              <a:gd name="connsiteX86" fmla="*/ 697252 w 4519987"/>
              <a:gd name="connsiteY86" fmla="*/ 3838575 h 4496940"/>
              <a:gd name="connsiteX87" fmla="*/ 640102 w 4519987"/>
              <a:gd name="connsiteY87" fmla="*/ 3781425 h 4496940"/>
              <a:gd name="connsiteX88" fmla="*/ 611527 w 4519987"/>
              <a:gd name="connsiteY88" fmla="*/ 3733800 h 4496940"/>
              <a:gd name="connsiteX89" fmla="*/ 554377 w 4519987"/>
              <a:gd name="connsiteY89" fmla="*/ 3657600 h 4496940"/>
              <a:gd name="connsiteX90" fmla="*/ 525802 w 4519987"/>
              <a:gd name="connsiteY90" fmla="*/ 3609975 h 4496940"/>
              <a:gd name="connsiteX91" fmla="*/ 497227 w 4519987"/>
              <a:gd name="connsiteY91" fmla="*/ 3552825 h 4496940"/>
              <a:gd name="connsiteX92" fmla="*/ 440077 w 4519987"/>
              <a:gd name="connsiteY92" fmla="*/ 3495675 h 4496940"/>
              <a:gd name="connsiteX93" fmla="*/ 411502 w 4519987"/>
              <a:gd name="connsiteY93" fmla="*/ 3448050 h 4496940"/>
              <a:gd name="connsiteX94" fmla="*/ 278152 w 4519987"/>
              <a:gd name="connsiteY94" fmla="*/ 3257550 h 4496940"/>
              <a:gd name="connsiteX95" fmla="*/ 249577 w 4519987"/>
              <a:gd name="connsiteY95" fmla="*/ 3200400 h 4496940"/>
              <a:gd name="connsiteX96" fmla="*/ 240052 w 4519987"/>
              <a:gd name="connsiteY96" fmla="*/ 3162300 h 4496940"/>
              <a:gd name="connsiteX97" fmla="*/ 221002 w 4519987"/>
              <a:gd name="connsiteY97" fmla="*/ 3105150 h 4496940"/>
              <a:gd name="connsiteX98" fmla="*/ 173377 w 4519987"/>
              <a:gd name="connsiteY98" fmla="*/ 3019425 h 4496940"/>
              <a:gd name="connsiteX99" fmla="*/ 144802 w 4519987"/>
              <a:gd name="connsiteY99" fmla="*/ 2924175 h 4496940"/>
              <a:gd name="connsiteX100" fmla="*/ 68602 w 4519987"/>
              <a:gd name="connsiteY100" fmla="*/ 2724150 h 4496940"/>
              <a:gd name="connsiteX101" fmla="*/ 49552 w 4519987"/>
              <a:gd name="connsiteY101" fmla="*/ 2638425 h 4496940"/>
              <a:gd name="connsiteX102" fmla="*/ 40027 w 4519987"/>
              <a:gd name="connsiteY102" fmla="*/ 2562225 h 4496940"/>
              <a:gd name="connsiteX103" fmla="*/ 30502 w 4519987"/>
              <a:gd name="connsiteY103" fmla="*/ 2514600 h 4496940"/>
              <a:gd name="connsiteX104" fmla="*/ 11452 w 4519987"/>
              <a:gd name="connsiteY104" fmla="*/ 2400300 h 4496940"/>
              <a:gd name="connsiteX105" fmla="*/ 20977 w 4519987"/>
              <a:gd name="connsiteY105" fmla="*/ 1905000 h 4496940"/>
              <a:gd name="connsiteX106" fmla="*/ 30502 w 4519987"/>
              <a:gd name="connsiteY106" fmla="*/ 1838325 h 4496940"/>
              <a:gd name="connsiteX107" fmla="*/ 49552 w 4519987"/>
              <a:gd name="connsiteY107" fmla="*/ 1781175 h 4496940"/>
              <a:gd name="connsiteX108" fmla="*/ 59077 w 4519987"/>
              <a:gd name="connsiteY108" fmla="*/ 1743075 h 4496940"/>
              <a:gd name="connsiteX109" fmla="*/ 78127 w 4519987"/>
              <a:gd name="connsiteY109" fmla="*/ 1685925 h 4496940"/>
              <a:gd name="connsiteX110" fmla="*/ 87652 w 4519987"/>
              <a:gd name="connsiteY110" fmla="*/ 1638300 h 4496940"/>
              <a:gd name="connsiteX111" fmla="*/ 106702 w 4519987"/>
              <a:gd name="connsiteY111" fmla="*/ 1590675 h 4496940"/>
              <a:gd name="connsiteX112" fmla="*/ 135277 w 4519987"/>
              <a:gd name="connsiteY112" fmla="*/ 1504950 h 4496940"/>
              <a:gd name="connsiteX113" fmla="*/ 154327 w 4519987"/>
              <a:gd name="connsiteY113" fmla="*/ 1419225 h 4496940"/>
              <a:gd name="connsiteX114" fmla="*/ 230527 w 4519987"/>
              <a:gd name="connsiteY114" fmla="*/ 1276350 h 4496940"/>
              <a:gd name="connsiteX115" fmla="*/ 240052 w 4519987"/>
              <a:gd name="connsiteY115" fmla="*/ 1247775 h 4496940"/>
              <a:gd name="connsiteX116" fmla="*/ 268627 w 4519987"/>
              <a:gd name="connsiteY116" fmla="*/ 1200150 h 4496940"/>
              <a:gd name="connsiteX117" fmla="*/ 287677 w 4519987"/>
              <a:gd name="connsiteY117" fmla="*/ 1152525 h 4496940"/>
              <a:gd name="connsiteX118" fmla="*/ 316252 w 4519987"/>
              <a:gd name="connsiteY118" fmla="*/ 1114425 h 4496940"/>
              <a:gd name="connsiteX119" fmla="*/ 363877 w 4519987"/>
              <a:gd name="connsiteY119" fmla="*/ 1038225 h 4496940"/>
              <a:gd name="connsiteX120" fmla="*/ 382927 w 4519987"/>
              <a:gd name="connsiteY120" fmla="*/ 1009650 h 4496940"/>
              <a:gd name="connsiteX121" fmla="*/ 440077 w 4519987"/>
              <a:gd name="connsiteY121" fmla="*/ 904875 h 4496940"/>
              <a:gd name="connsiteX122" fmla="*/ 478177 w 4519987"/>
              <a:gd name="connsiteY122" fmla="*/ 857250 h 4496940"/>
              <a:gd name="connsiteX123" fmla="*/ 497227 w 4519987"/>
              <a:gd name="connsiteY123" fmla="*/ 828675 h 4496940"/>
              <a:gd name="connsiteX124" fmla="*/ 535327 w 4519987"/>
              <a:gd name="connsiteY124" fmla="*/ 800100 h 4496940"/>
              <a:gd name="connsiteX125" fmla="*/ 602002 w 4519987"/>
              <a:gd name="connsiteY125" fmla="*/ 733425 h 4496940"/>
              <a:gd name="connsiteX126" fmla="*/ 668677 w 4519987"/>
              <a:gd name="connsiteY126" fmla="*/ 676275 h 4496940"/>
              <a:gd name="connsiteX127" fmla="*/ 697252 w 4519987"/>
              <a:gd name="connsiteY127" fmla="*/ 657225 h 4496940"/>
              <a:gd name="connsiteX128" fmla="*/ 840127 w 4519987"/>
              <a:gd name="connsiteY128" fmla="*/ 533400 h 4496940"/>
              <a:gd name="connsiteX129" fmla="*/ 887752 w 4519987"/>
              <a:gd name="connsiteY129" fmla="*/ 504825 h 4496940"/>
              <a:gd name="connsiteX130" fmla="*/ 1167152 w 4519987"/>
              <a:gd name="connsiteY130" fmla="*/ 311150 h 4496940"/>
              <a:gd name="connsiteX131" fmla="*/ 1268752 w 4519987"/>
              <a:gd name="connsiteY131" fmla="*/ 285750 h 4496940"/>
              <a:gd name="connsiteX132" fmla="*/ 1411627 w 4519987"/>
              <a:gd name="connsiteY132" fmla="*/ 190500 h 4496940"/>
              <a:gd name="connsiteX133" fmla="*/ 1449727 w 4519987"/>
              <a:gd name="connsiteY133" fmla="*/ 161925 h 4496940"/>
              <a:gd name="connsiteX134" fmla="*/ 1525927 w 4519987"/>
              <a:gd name="connsiteY134" fmla="*/ 152400 h 4496940"/>
              <a:gd name="connsiteX135" fmla="*/ 1583077 w 4519987"/>
              <a:gd name="connsiteY135" fmla="*/ 142875 h 4496940"/>
              <a:gd name="connsiteX136" fmla="*/ 1716427 w 4519987"/>
              <a:gd name="connsiteY136" fmla="*/ 123825 h 4496940"/>
              <a:gd name="connsiteX137" fmla="*/ 1811677 w 4519987"/>
              <a:gd name="connsiteY137" fmla="*/ 114300 h 4496940"/>
              <a:gd name="connsiteX138" fmla="*/ 1859302 w 4519987"/>
              <a:gd name="connsiteY138" fmla="*/ 104775 h 4496940"/>
              <a:gd name="connsiteX139" fmla="*/ 1916452 w 4519987"/>
              <a:gd name="connsiteY139" fmla="*/ 95250 h 4496940"/>
              <a:gd name="connsiteX140" fmla="*/ 2030752 w 4519987"/>
              <a:gd name="connsiteY140" fmla="*/ 66675 h 4496940"/>
              <a:gd name="connsiteX141" fmla="*/ 2097427 w 4519987"/>
              <a:gd name="connsiteY141" fmla="*/ 47625 h 4496940"/>
              <a:gd name="connsiteX142" fmla="*/ 2164102 w 4519987"/>
              <a:gd name="connsiteY142" fmla="*/ 38100 h 4496940"/>
              <a:gd name="connsiteX143" fmla="*/ 2392702 w 4519987"/>
              <a:gd name="connsiteY14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02477 w 4519987"/>
              <a:gd name="connsiteY27" fmla="*/ 1590675 h 4496940"/>
              <a:gd name="connsiteX28" fmla="*/ 4431052 w 4519987"/>
              <a:gd name="connsiteY28" fmla="*/ 1685925 h 4496940"/>
              <a:gd name="connsiteX29" fmla="*/ 4519952 w 4519987"/>
              <a:gd name="connsiteY29" fmla="*/ 2181225 h 4496940"/>
              <a:gd name="connsiteX30" fmla="*/ 4446927 w 4519987"/>
              <a:gd name="connsiteY30" fmla="*/ 2768600 h 4496940"/>
              <a:gd name="connsiteX31" fmla="*/ 4383427 w 4519987"/>
              <a:gd name="connsiteY31" fmla="*/ 2990850 h 4496940"/>
              <a:gd name="connsiteX32" fmla="*/ 4278652 w 4519987"/>
              <a:gd name="connsiteY32" fmla="*/ 3248025 h 4496940"/>
              <a:gd name="connsiteX33" fmla="*/ 4259602 w 4519987"/>
              <a:gd name="connsiteY33" fmla="*/ 3276600 h 4496940"/>
              <a:gd name="connsiteX34" fmla="*/ 4221502 w 4519987"/>
              <a:gd name="connsiteY34" fmla="*/ 3333750 h 4496940"/>
              <a:gd name="connsiteX35" fmla="*/ 4211977 w 4519987"/>
              <a:gd name="connsiteY35" fmla="*/ 3362325 h 4496940"/>
              <a:gd name="connsiteX36" fmla="*/ 4183402 w 4519987"/>
              <a:gd name="connsiteY36" fmla="*/ 3400425 h 4496940"/>
              <a:gd name="connsiteX37" fmla="*/ 4164352 w 4519987"/>
              <a:gd name="connsiteY37" fmla="*/ 3429000 h 4496940"/>
              <a:gd name="connsiteX38" fmla="*/ 4088152 w 4519987"/>
              <a:gd name="connsiteY38" fmla="*/ 3495675 h 4496940"/>
              <a:gd name="connsiteX39" fmla="*/ 4059577 w 4519987"/>
              <a:gd name="connsiteY39" fmla="*/ 3533775 h 4496940"/>
              <a:gd name="connsiteX40" fmla="*/ 4002427 w 4519987"/>
              <a:gd name="connsiteY40" fmla="*/ 3600450 h 4496940"/>
              <a:gd name="connsiteX41" fmla="*/ 3983377 w 4519987"/>
              <a:gd name="connsiteY41" fmla="*/ 3629025 h 4496940"/>
              <a:gd name="connsiteX42" fmla="*/ 3954802 w 4519987"/>
              <a:gd name="connsiteY42" fmla="*/ 3648075 h 4496940"/>
              <a:gd name="connsiteX43" fmla="*/ 3907177 w 4519987"/>
              <a:gd name="connsiteY43" fmla="*/ 3686175 h 4496940"/>
              <a:gd name="connsiteX44" fmla="*/ 3869077 w 4519987"/>
              <a:gd name="connsiteY44" fmla="*/ 3724275 h 4496940"/>
              <a:gd name="connsiteX45" fmla="*/ 3792877 w 4519987"/>
              <a:gd name="connsiteY45" fmla="*/ 3781425 h 4496940"/>
              <a:gd name="connsiteX46" fmla="*/ 3783352 w 4519987"/>
              <a:gd name="connsiteY46" fmla="*/ 3810000 h 4496940"/>
              <a:gd name="connsiteX47" fmla="*/ 3745252 w 4519987"/>
              <a:gd name="connsiteY47" fmla="*/ 3819525 h 4496940"/>
              <a:gd name="connsiteX48" fmla="*/ 3678577 w 4519987"/>
              <a:gd name="connsiteY48" fmla="*/ 3848100 h 4496940"/>
              <a:gd name="connsiteX49" fmla="*/ 3659527 w 4519987"/>
              <a:gd name="connsiteY49" fmla="*/ 3971925 h 4496940"/>
              <a:gd name="connsiteX50" fmla="*/ 3630952 w 4519987"/>
              <a:gd name="connsiteY50" fmla="*/ 4010025 h 4496940"/>
              <a:gd name="connsiteX51" fmla="*/ 3621427 w 4519987"/>
              <a:gd name="connsiteY51" fmla="*/ 4038600 h 4496940"/>
              <a:gd name="connsiteX52" fmla="*/ 3554752 w 4519987"/>
              <a:gd name="connsiteY52" fmla="*/ 4095750 h 4496940"/>
              <a:gd name="connsiteX53" fmla="*/ 3516652 w 4519987"/>
              <a:gd name="connsiteY53" fmla="*/ 4114800 h 4496940"/>
              <a:gd name="connsiteX54" fmla="*/ 3497602 w 4519987"/>
              <a:gd name="connsiteY54" fmla="*/ 4143375 h 4496940"/>
              <a:gd name="connsiteX55" fmla="*/ 3383302 w 4519987"/>
              <a:gd name="connsiteY55" fmla="*/ 4210050 h 4496940"/>
              <a:gd name="connsiteX56" fmla="*/ 3335677 w 4519987"/>
              <a:gd name="connsiteY56" fmla="*/ 4238625 h 4496940"/>
              <a:gd name="connsiteX57" fmla="*/ 3288052 w 4519987"/>
              <a:gd name="connsiteY57" fmla="*/ 4248150 h 4496940"/>
              <a:gd name="connsiteX58" fmla="*/ 3240427 w 4519987"/>
              <a:gd name="connsiteY58" fmla="*/ 4267200 h 4496940"/>
              <a:gd name="connsiteX59" fmla="*/ 3068977 w 4519987"/>
              <a:gd name="connsiteY59" fmla="*/ 4286250 h 4496940"/>
              <a:gd name="connsiteX60" fmla="*/ 2935627 w 4519987"/>
              <a:gd name="connsiteY60" fmla="*/ 4333875 h 4496940"/>
              <a:gd name="connsiteX61" fmla="*/ 2811802 w 4519987"/>
              <a:gd name="connsiteY61" fmla="*/ 4371975 h 4496940"/>
              <a:gd name="connsiteX62" fmla="*/ 2745127 w 4519987"/>
              <a:gd name="connsiteY62" fmla="*/ 4410075 h 4496940"/>
              <a:gd name="connsiteX63" fmla="*/ 2697502 w 4519987"/>
              <a:gd name="connsiteY63" fmla="*/ 4429125 h 4496940"/>
              <a:gd name="connsiteX64" fmla="*/ 2640352 w 4519987"/>
              <a:gd name="connsiteY64" fmla="*/ 4457700 h 4496940"/>
              <a:gd name="connsiteX65" fmla="*/ 2583202 w 4519987"/>
              <a:gd name="connsiteY65" fmla="*/ 4467225 h 4496940"/>
              <a:gd name="connsiteX66" fmla="*/ 2545102 w 4519987"/>
              <a:gd name="connsiteY66" fmla="*/ 4486275 h 4496940"/>
              <a:gd name="connsiteX67" fmla="*/ 2306977 w 4519987"/>
              <a:gd name="connsiteY67" fmla="*/ 4476750 h 4496940"/>
              <a:gd name="connsiteX68" fmla="*/ 2202202 w 4519987"/>
              <a:gd name="connsiteY68" fmla="*/ 4457700 h 4496940"/>
              <a:gd name="connsiteX69" fmla="*/ 2126002 w 4519987"/>
              <a:gd name="connsiteY69" fmla="*/ 4429125 h 4496940"/>
              <a:gd name="connsiteX70" fmla="*/ 1935502 w 4519987"/>
              <a:gd name="connsiteY70" fmla="*/ 4400550 h 4496940"/>
              <a:gd name="connsiteX71" fmla="*/ 1821202 w 4519987"/>
              <a:gd name="connsiteY71" fmla="*/ 4371975 h 4496940"/>
              <a:gd name="connsiteX72" fmla="*/ 1754527 w 4519987"/>
              <a:gd name="connsiteY72" fmla="*/ 4352925 h 4496940"/>
              <a:gd name="connsiteX73" fmla="*/ 1687852 w 4519987"/>
              <a:gd name="connsiteY73" fmla="*/ 4343400 h 4496940"/>
              <a:gd name="connsiteX74" fmla="*/ 1573552 w 4519987"/>
              <a:gd name="connsiteY74" fmla="*/ 4305300 h 4496940"/>
              <a:gd name="connsiteX75" fmla="*/ 1402102 w 4519987"/>
              <a:gd name="connsiteY75" fmla="*/ 4276725 h 4496940"/>
              <a:gd name="connsiteX76" fmla="*/ 1287802 w 4519987"/>
              <a:gd name="connsiteY76" fmla="*/ 4229100 h 4496940"/>
              <a:gd name="connsiteX77" fmla="*/ 1221127 w 4519987"/>
              <a:gd name="connsiteY77" fmla="*/ 4200525 h 4496940"/>
              <a:gd name="connsiteX78" fmla="*/ 1144927 w 4519987"/>
              <a:gd name="connsiteY78" fmla="*/ 4171950 h 4496940"/>
              <a:gd name="connsiteX79" fmla="*/ 1087777 w 4519987"/>
              <a:gd name="connsiteY79" fmla="*/ 4143375 h 4496940"/>
              <a:gd name="connsiteX80" fmla="*/ 1030627 w 4519987"/>
              <a:gd name="connsiteY80" fmla="*/ 4124325 h 4496940"/>
              <a:gd name="connsiteX81" fmla="*/ 925852 w 4519987"/>
              <a:gd name="connsiteY81" fmla="*/ 4067175 h 4496940"/>
              <a:gd name="connsiteX82" fmla="*/ 830602 w 4519987"/>
              <a:gd name="connsiteY82" fmla="*/ 3981450 h 4496940"/>
              <a:gd name="connsiteX83" fmla="*/ 763927 w 4519987"/>
              <a:gd name="connsiteY83" fmla="*/ 3914775 h 4496940"/>
              <a:gd name="connsiteX84" fmla="*/ 725827 w 4519987"/>
              <a:gd name="connsiteY84" fmla="*/ 3876675 h 4496940"/>
              <a:gd name="connsiteX85" fmla="*/ 697252 w 4519987"/>
              <a:gd name="connsiteY85" fmla="*/ 3838575 h 4496940"/>
              <a:gd name="connsiteX86" fmla="*/ 640102 w 4519987"/>
              <a:gd name="connsiteY86" fmla="*/ 3781425 h 4496940"/>
              <a:gd name="connsiteX87" fmla="*/ 611527 w 4519987"/>
              <a:gd name="connsiteY87" fmla="*/ 3733800 h 4496940"/>
              <a:gd name="connsiteX88" fmla="*/ 554377 w 4519987"/>
              <a:gd name="connsiteY88" fmla="*/ 3657600 h 4496940"/>
              <a:gd name="connsiteX89" fmla="*/ 525802 w 4519987"/>
              <a:gd name="connsiteY89" fmla="*/ 3609975 h 4496940"/>
              <a:gd name="connsiteX90" fmla="*/ 497227 w 4519987"/>
              <a:gd name="connsiteY90" fmla="*/ 3552825 h 4496940"/>
              <a:gd name="connsiteX91" fmla="*/ 440077 w 4519987"/>
              <a:gd name="connsiteY91" fmla="*/ 3495675 h 4496940"/>
              <a:gd name="connsiteX92" fmla="*/ 411502 w 4519987"/>
              <a:gd name="connsiteY92" fmla="*/ 3448050 h 4496940"/>
              <a:gd name="connsiteX93" fmla="*/ 278152 w 4519987"/>
              <a:gd name="connsiteY93" fmla="*/ 3257550 h 4496940"/>
              <a:gd name="connsiteX94" fmla="*/ 249577 w 4519987"/>
              <a:gd name="connsiteY94" fmla="*/ 3200400 h 4496940"/>
              <a:gd name="connsiteX95" fmla="*/ 240052 w 4519987"/>
              <a:gd name="connsiteY95" fmla="*/ 3162300 h 4496940"/>
              <a:gd name="connsiteX96" fmla="*/ 221002 w 4519987"/>
              <a:gd name="connsiteY96" fmla="*/ 3105150 h 4496940"/>
              <a:gd name="connsiteX97" fmla="*/ 173377 w 4519987"/>
              <a:gd name="connsiteY97" fmla="*/ 3019425 h 4496940"/>
              <a:gd name="connsiteX98" fmla="*/ 144802 w 4519987"/>
              <a:gd name="connsiteY98" fmla="*/ 2924175 h 4496940"/>
              <a:gd name="connsiteX99" fmla="*/ 68602 w 4519987"/>
              <a:gd name="connsiteY99" fmla="*/ 2724150 h 4496940"/>
              <a:gd name="connsiteX100" fmla="*/ 49552 w 4519987"/>
              <a:gd name="connsiteY100" fmla="*/ 2638425 h 4496940"/>
              <a:gd name="connsiteX101" fmla="*/ 40027 w 4519987"/>
              <a:gd name="connsiteY101" fmla="*/ 2562225 h 4496940"/>
              <a:gd name="connsiteX102" fmla="*/ 30502 w 4519987"/>
              <a:gd name="connsiteY102" fmla="*/ 2514600 h 4496940"/>
              <a:gd name="connsiteX103" fmla="*/ 11452 w 4519987"/>
              <a:gd name="connsiteY103" fmla="*/ 2400300 h 4496940"/>
              <a:gd name="connsiteX104" fmla="*/ 20977 w 4519987"/>
              <a:gd name="connsiteY104" fmla="*/ 1905000 h 4496940"/>
              <a:gd name="connsiteX105" fmla="*/ 30502 w 4519987"/>
              <a:gd name="connsiteY105" fmla="*/ 1838325 h 4496940"/>
              <a:gd name="connsiteX106" fmla="*/ 49552 w 4519987"/>
              <a:gd name="connsiteY106" fmla="*/ 1781175 h 4496940"/>
              <a:gd name="connsiteX107" fmla="*/ 59077 w 4519987"/>
              <a:gd name="connsiteY107" fmla="*/ 1743075 h 4496940"/>
              <a:gd name="connsiteX108" fmla="*/ 78127 w 4519987"/>
              <a:gd name="connsiteY108" fmla="*/ 1685925 h 4496940"/>
              <a:gd name="connsiteX109" fmla="*/ 87652 w 4519987"/>
              <a:gd name="connsiteY109" fmla="*/ 1638300 h 4496940"/>
              <a:gd name="connsiteX110" fmla="*/ 106702 w 4519987"/>
              <a:gd name="connsiteY110" fmla="*/ 1590675 h 4496940"/>
              <a:gd name="connsiteX111" fmla="*/ 135277 w 4519987"/>
              <a:gd name="connsiteY111" fmla="*/ 1504950 h 4496940"/>
              <a:gd name="connsiteX112" fmla="*/ 154327 w 4519987"/>
              <a:gd name="connsiteY112" fmla="*/ 1419225 h 4496940"/>
              <a:gd name="connsiteX113" fmla="*/ 230527 w 4519987"/>
              <a:gd name="connsiteY113" fmla="*/ 1276350 h 4496940"/>
              <a:gd name="connsiteX114" fmla="*/ 240052 w 4519987"/>
              <a:gd name="connsiteY114" fmla="*/ 1247775 h 4496940"/>
              <a:gd name="connsiteX115" fmla="*/ 268627 w 4519987"/>
              <a:gd name="connsiteY115" fmla="*/ 1200150 h 4496940"/>
              <a:gd name="connsiteX116" fmla="*/ 287677 w 4519987"/>
              <a:gd name="connsiteY116" fmla="*/ 1152525 h 4496940"/>
              <a:gd name="connsiteX117" fmla="*/ 316252 w 4519987"/>
              <a:gd name="connsiteY117" fmla="*/ 1114425 h 4496940"/>
              <a:gd name="connsiteX118" fmla="*/ 363877 w 4519987"/>
              <a:gd name="connsiteY118" fmla="*/ 1038225 h 4496940"/>
              <a:gd name="connsiteX119" fmla="*/ 382927 w 4519987"/>
              <a:gd name="connsiteY119" fmla="*/ 1009650 h 4496940"/>
              <a:gd name="connsiteX120" fmla="*/ 440077 w 4519987"/>
              <a:gd name="connsiteY120" fmla="*/ 904875 h 4496940"/>
              <a:gd name="connsiteX121" fmla="*/ 478177 w 4519987"/>
              <a:gd name="connsiteY121" fmla="*/ 857250 h 4496940"/>
              <a:gd name="connsiteX122" fmla="*/ 497227 w 4519987"/>
              <a:gd name="connsiteY122" fmla="*/ 828675 h 4496940"/>
              <a:gd name="connsiteX123" fmla="*/ 535327 w 4519987"/>
              <a:gd name="connsiteY123" fmla="*/ 800100 h 4496940"/>
              <a:gd name="connsiteX124" fmla="*/ 602002 w 4519987"/>
              <a:gd name="connsiteY124" fmla="*/ 733425 h 4496940"/>
              <a:gd name="connsiteX125" fmla="*/ 668677 w 4519987"/>
              <a:gd name="connsiteY125" fmla="*/ 676275 h 4496940"/>
              <a:gd name="connsiteX126" fmla="*/ 697252 w 4519987"/>
              <a:gd name="connsiteY126" fmla="*/ 657225 h 4496940"/>
              <a:gd name="connsiteX127" fmla="*/ 840127 w 4519987"/>
              <a:gd name="connsiteY127" fmla="*/ 533400 h 4496940"/>
              <a:gd name="connsiteX128" fmla="*/ 887752 w 4519987"/>
              <a:gd name="connsiteY128" fmla="*/ 504825 h 4496940"/>
              <a:gd name="connsiteX129" fmla="*/ 1167152 w 4519987"/>
              <a:gd name="connsiteY129" fmla="*/ 311150 h 4496940"/>
              <a:gd name="connsiteX130" fmla="*/ 1268752 w 4519987"/>
              <a:gd name="connsiteY130" fmla="*/ 285750 h 4496940"/>
              <a:gd name="connsiteX131" fmla="*/ 1411627 w 4519987"/>
              <a:gd name="connsiteY131" fmla="*/ 190500 h 4496940"/>
              <a:gd name="connsiteX132" fmla="*/ 1449727 w 4519987"/>
              <a:gd name="connsiteY132" fmla="*/ 161925 h 4496940"/>
              <a:gd name="connsiteX133" fmla="*/ 1525927 w 4519987"/>
              <a:gd name="connsiteY133" fmla="*/ 152400 h 4496940"/>
              <a:gd name="connsiteX134" fmla="*/ 1583077 w 4519987"/>
              <a:gd name="connsiteY134" fmla="*/ 142875 h 4496940"/>
              <a:gd name="connsiteX135" fmla="*/ 1716427 w 4519987"/>
              <a:gd name="connsiteY135" fmla="*/ 123825 h 4496940"/>
              <a:gd name="connsiteX136" fmla="*/ 1811677 w 4519987"/>
              <a:gd name="connsiteY136" fmla="*/ 114300 h 4496940"/>
              <a:gd name="connsiteX137" fmla="*/ 1859302 w 4519987"/>
              <a:gd name="connsiteY137" fmla="*/ 104775 h 4496940"/>
              <a:gd name="connsiteX138" fmla="*/ 1916452 w 4519987"/>
              <a:gd name="connsiteY138" fmla="*/ 95250 h 4496940"/>
              <a:gd name="connsiteX139" fmla="*/ 2030752 w 4519987"/>
              <a:gd name="connsiteY139" fmla="*/ 66675 h 4496940"/>
              <a:gd name="connsiteX140" fmla="*/ 2097427 w 4519987"/>
              <a:gd name="connsiteY140" fmla="*/ 47625 h 4496940"/>
              <a:gd name="connsiteX141" fmla="*/ 2164102 w 4519987"/>
              <a:gd name="connsiteY141" fmla="*/ 38100 h 4496940"/>
              <a:gd name="connsiteX142" fmla="*/ 2392702 w 4519987"/>
              <a:gd name="connsiteY14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211977 w 4519987"/>
              <a:gd name="connsiteY34" fmla="*/ 3362325 h 4496940"/>
              <a:gd name="connsiteX35" fmla="*/ 4183402 w 4519987"/>
              <a:gd name="connsiteY35" fmla="*/ 3400425 h 4496940"/>
              <a:gd name="connsiteX36" fmla="*/ 4164352 w 4519987"/>
              <a:gd name="connsiteY36" fmla="*/ 3429000 h 4496940"/>
              <a:gd name="connsiteX37" fmla="*/ 4088152 w 4519987"/>
              <a:gd name="connsiteY37" fmla="*/ 3495675 h 4496940"/>
              <a:gd name="connsiteX38" fmla="*/ 4059577 w 4519987"/>
              <a:gd name="connsiteY38" fmla="*/ 3533775 h 4496940"/>
              <a:gd name="connsiteX39" fmla="*/ 4002427 w 4519987"/>
              <a:gd name="connsiteY39" fmla="*/ 3600450 h 4496940"/>
              <a:gd name="connsiteX40" fmla="*/ 3983377 w 4519987"/>
              <a:gd name="connsiteY40" fmla="*/ 3629025 h 4496940"/>
              <a:gd name="connsiteX41" fmla="*/ 3954802 w 4519987"/>
              <a:gd name="connsiteY41" fmla="*/ 3648075 h 4496940"/>
              <a:gd name="connsiteX42" fmla="*/ 3907177 w 4519987"/>
              <a:gd name="connsiteY42" fmla="*/ 3686175 h 4496940"/>
              <a:gd name="connsiteX43" fmla="*/ 3869077 w 4519987"/>
              <a:gd name="connsiteY43" fmla="*/ 3724275 h 4496940"/>
              <a:gd name="connsiteX44" fmla="*/ 3792877 w 4519987"/>
              <a:gd name="connsiteY44" fmla="*/ 3781425 h 4496940"/>
              <a:gd name="connsiteX45" fmla="*/ 3783352 w 4519987"/>
              <a:gd name="connsiteY45" fmla="*/ 3810000 h 4496940"/>
              <a:gd name="connsiteX46" fmla="*/ 3745252 w 4519987"/>
              <a:gd name="connsiteY46" fmla="*/ 3819525 h 4496940"/>
              <a:gd name="connsiteX47" fmla="*/ 3678577 w 4519987"/>
              <a:gd name="connsiteY47" fmla="*/ 3848100 h 4496940"/>
              <a:gd name="connsiteX48" fmla="*/ 3659527 w 4519987"/>
              <a:gd name="connsiteY48" fmla="*/ 3971925 h 4496940"/>
              <a:gd name="connsiteX49" fmla="*/ 3630952 w 4519987"/>
              <a:gd name="connsiteY49" fmla="*/ 4010025 h 4496940"/>
              <a:gd name="connsiteX50" fmla="*/ 3621427 w 4519987"/>
              <a:gd name="connsiteY50" fmla="*/ 4038600 h 4496940"/>
              <a:gd name="connsiteX51" fmla="*/ 3554752 w 4519987"/>
              <a:gd name="connsiteY51" fmla="*/ 4095750 h 4496940"/>
              <a:gd name="connsiteX52" fmla="*/ 3516652 w 4519987"/>
              <a:gd name="connsiteY52" fmla="*/ 4114800 h 4496940"/>
              <a:gd name="connsiteX53" fmla="*/ 3497602 w 4519987"/>
              <a:gd name="connsiteY53" fmla="*/ 4143375 h 4496940"/>
              <a:gd name="connsiteX54" fmla="*/ 3383302 w 4519987"/>
              <a:gd name="connsiteY54" fmla="*/ 4210050 h 4496940"/>
              <a:gd name="connsiteX55" fmla="*/ 3335677 w 4519987"/>
              <a:gd name="connsiteY55" fmla="*/ 4238625 h 4496940"/>
              <a:gd name="connsiteX56" fmla="*/ 3288052 w 4519987"/>
              <a:gd name="connsiteY56" fmla="*/ 4248150 h 4496940"/>
              <a:gd name="connsiteX57" fmla="*/ 3240427 w 4519987"/>
              <a:gd name="connsiteY57" fmla="*/ 4267200 h 4496940"/>
              <a:gd name="connsiteX58" fmla="*/ 3068977 w 4519987"/>
              <a:gd name="connsiteY58" fmla="*/ 4286250 h 4496940"/>
              <a:gd name="connsiteX59" fmla="*/ 2935627 w 4519987"/>
              <a:gd name="connsiteY59" fmla="*/ 4333875 h 4496940"/>
              <a:gd name="connsiteX60" fmla="*/ 2811802 w 4519987"/>
              <a:gd name="connsiteY60" fmla="*/ 4371975 h 4496940"/>
              <a:gd name="connsiteX61" fmla="*/ 2745127 w 4519987"/>
              <a:gd name="connsiteY61" fmla="*/ 4410075 h 4496940"/>
              <a:gd name="connsiteX62" fmla="*/ 2697502 w 4519987"/>
              <a:gd name="connsiteY62" fmla="*/ 4429125 h 4496940"/>
              <a:gd name="connsiteX63" fmla="*/ 2640352 w 4519987"/>
              <a:gd name="connsiteY63" fmla="*/ 4457700 h 4496940"/>
              <a:gd name="connsiteX64" fmla="*/ 2583202 w 4519987"/>
              <a:gd name="connsiteY64" fmla="*/ 4467225 h 4496940"/>
              <a:gd name="connsiteX65" fmla="*/ 2545102 w 4519987"/>
              <a:gd name="connsiteY65" fmla="*/ 4486275 h 4496940"/>
              <a:gd name="connsiteX66" fmla="*/ 2306977 w 4519987"/>
              <a:gd name="connsiteY66" fmla="*/ 4476750 h 4496940"/>
              <a:gd name="connsiteX67" fmla="*/ 2202202 w 4519987"/>
              <a:gd name="connsiteY67" fmla="*/ 4457700 h 4496940"/>
              <a:gd name="connsiteX68" fmla="*/ 2126002 w 4519987"/>
              <a:gd name="connsiteY68" fmla="*/ 4429125 h 4496940"/>
              <a:gd name="connsiteX69" fmla="*/ 1935502 w 4519987"/>
              <a:gd name="connsiteY69" fmla="*/ 4400550 h 4496940"/>
              <a:gd name="connsiteX70" fmla="*/ 1821202 w 4519987"/>
              <a:gd name="connsiteY70" fmla="*/ 4371975 h 4496940"/>
              <a:gd name="connsiteX71" fmla="*/ 1754527 w 4519987"/>
              <a:gd name="connsiteY71" fmla="*/ 4352925 h 4496940"/>
              <a:gd name="connsiteX72" fmla="*/ 1687852 w 4519987"/>
              <a:gd name="connsiteY72" fmla="*/ 4343400 h 4496940"/>
              <a:gd name="connsiteX73" fmla="*/ 1573552 w 4519987"/>
              <a:gd name="connsiteY73" fmla="*/ 4305300 h 4496940"/>
              <a:gd name="connsiteX74" fmla="*/ 1402102 w 4519987"/>
              <a:gd name="connsiteY74" fmla="*/ 4276725 h 4496940"/>
              <a:gd name="connsiteX75" fmla="*/ 1287802 w 4519987"/>
              <a:gd name="connsiteY75" fmla="*/ 4229100 h 4496940"/>
              <a:gd name="connsiteX76" fmla="*/ 1221127 w 4519987"/>
              <a:gd name="connsiteY76" fmla="*/ 4200525 h 4496940"/>
              <a:gd name="connsiteX77" fmla="*/ 1144927 w 4519987"/>
              <a:gd name="connsiteY77" fmla="*/ 4171950 h 4496940"/>
              <a:gd name="connsiteX78" fmla="*/ 1087777 w 4519987"/>
              <a:gd name="connsiteY78" fmla="*/ 4143375 h 4496940"/>
              <a:gd name="connsiteX79" fmla="*/ 1030627 w 4519987"/>
              <a:gd name="connsiteY79" fmla="*/ 4124325 h 4496940"/>
              <a:gd name="connsiteX80" fmla="*/ 925852 w 4519987"/>
              <a:gd name="connsiteY80" fmla="*/ 4067175 h 4496940"/>
              <a:gd name="connsiteX81" fmla="*/ 830602 w 4519987"/>
              <a:gd name="connsiteY81" fmla="*/ 3981450 h 4496940"/>
              <a:gd name="connsiteX82" fmla="*/ 763927 w 4519987"/>
              <a:gd name="connsiteY82" fmla="*/ 3914775 h 4496940"/>
              <a:gd name="connsiteX83" fmla="*/ 725827 w 4519987"/>
              <a:gd name="connsiteY83" fmla="*/ 3876675 h 4496940"/>
              <a:gd name="connsiteX84" fmla="*/ 697252 w 4519987"/>
              <a:gd name="connsiteY84" fmla="*/ 3838575 h 4496940"/>
              <a:gd name="connsiteX85" fmla="*/ 640102 w 4519987"/>
              <a:gd name="connsiteY85" fmla="*/ 3781425 h 4496940"/>
              <a:gd name="connsiteX86" fmla="*/ 611527 w 4519987"/>
              <a:gd name="connsiteY86" fmla="*/ 3733800 h 4496940"/>
              <a:gd name="connsiteX87" fmla="*/ 554377 w 4519987"/>
              <a:gd name="connsiteY87" fmla="*/ 3657600 h 4496940"/>
              <a:gd name="connsiteX88" fmla="*/ 525802 w 4519987"/>
              <a:gd name="connsiteY88" fmla="*/ 3609975 h 4496940"/>
              <a:gd name="connsiteX89" fmla="*/ 497227 w 4519987"/>
              <a:gd name="connsiteY89" fmla="*/ 3552825 h 4496940"/>
              <a:gd name="connsiteX90" fmla="*/ 440077 w 4519987"/>
              <a:gd name="connsiteY90" fmla="*/ 3495675 h 4496940"/>
              <a:gd name="connsiteX91" fmla="*/ 411502 w 4519987"/>
              <a:gd name="connsiteY91" fmla="*/ 3448050 h 4496940"/>
              <a:gd name="connsiteX92" fmla="*/ 278152 w 4519987"/>
              <a:gd name="connsiteY92" fmla="*/ 3257550 h 4496940"/>
              <a:gd name="connsiteX93" fmla="*/ 249577 w 4519987"/>
              <a:gd name="connsiteY93" fmla="*/ 3200400 h 4496940"/>
              <a:gd name="connsiteX94" fmla="*/ 240052 w 4519987"/>
              <a:gd name="connsiteY94" fmla="*/ 3162300 h 4496940"/>
              <a:gd name="connsiteX95" fmla="*/ 221002 w 4519987"/>
              <a:gd name="connsiteY95" fmla="*/ 3105150 h 4496940"/>
              <a:gd name="connsiteX96" fmla="*/ 173377 w 4519987"/>
              <a:gd name="connsiteY96" fmla="*/ 3019425 h 4496940"/>
              <a:gd name="connsiteX97" fmla="*/ 144802 w 4519987"/>
              <a:gd name="connsiteY97" fmla="*/ 2924175 h 4496940"/>
              <a:gd name="connsiteX98" fmla="*/ 68602 w 4519987"/>
              <a:gd name="connsiteY98" fmla="*/ 2724150 h 4496940"/>
              <a:gd name="connsiteX99" fmla="*/ 49552 w 4519987"/>
              <a:gd name="connsiteY99" fmla="*/ 2638425 h 4496940"/>
              <a:gd name="connsiteX100" fmla="*/ 40027 w 4519987"/>
              <a:gd name="connsiteY100" fmla="*/ 2562225 h 4496940"/>
              <a:gd name="connsiteX101" fmla="*/ 30502 w 4519987"/>
              <a:gd name="connsiteY101" fmla="*/ 2514600 h 4496940"/>
              <a:gd name="connsiteX102" fmla="*/ 11452 w 4519987"/>
              <a:gd name="connsiteY102" fmla="*/ 2400300 h 4496940"/>
              <a:gd name="connsiteX103" fmla="*/ 20977 w 4519987"/>
              <a:gd name="connsiteY103" fmla="*/ 1905000 h 4496940"/>
              <a:gd name="connsiteX104" fmla="*/ 30502 w 4519987"/>
              <a:gd name="connsiteY104" fmla="*/ 1838325 h 4496940"/>
              <a:gd name="connsiteX105" fmla="*/ 49552 w 4519987"/>
              <a:gd name="connsiteY105" fmla="*/ 1781175 h 4496940"/>
              <a:gd name="connsiteX106" fmla="*/ 59077 w 4519987"/>
              <a:gd name="connsiteY106" fmla="*/ 1743075 h 4496940"/>
              <a:gd name="connsiteX107" fmla="*/ 78127 w 4519987"/>
              <a:gd name="connsiteY107" fmla="*/ 1685925 h 4496940"/>
              <a:gd name="connsiteX108" fmla="*/ 87652 w 4519987"/>
              <a:gd name="connsiteY108" fmla="*/ 1638300 h 4496940"/>
              <a:gd name="connsiteX109" fmla="*/ 106702 w 4519987"/>
              <a:gd name="connsiteY109" fmla="*/ 1590675 h 4496940"/>
              <a:gd name="connsiteX110" fmla="*/ 135277 w 4519987"/>
              <a:gd name="connsiteY110" fmla="*/ 1504950 h 4496940"/>
              <a:gd name="connsiteX111" fmla="*/ 154327 w 4519987"/>
              <a:gd name="connsiteY111" fmla="*/ 1419225 h 4496940"/>
              <a:gd name="connsiteX112" fmla="*/ 230527 w 4519987"/>
              <a:gd name="connsiteY112" fmla="*/ 1276350 h 4496940"/>
              <a:gd name="connsiteX113" fmla="*/ 240052 w 4519987"/>
              <a:gd name="connsiteY113" fmla="*/ 1247775 h 4496940"/>
              <a:gd name="connsiteX114" fmla="*/ 268627 w 4519987"/>
              <a:gd name="connsiteY114" fmla="*/ 1200150 h 4496940"/>
              <a:gd name="connsiteX115" fmla="*/ 287677 w 4519987"/>
              <a:gd name="connsiteY115" fmla="*/ 1152525 h 4496940"/>
              <a:gd name="connsiteX116" fmla="*/ 316252 w 4519987"/>
              <a:gd name="connsiteY116" fmla="*/ 1114425 h 4496940"/>
              <a:gd name="connsiteX117" fmla="*/ 363877 w 4519987"/>
              <a:gd name="connsiteY117" fmla="*/ 1038225 h 4496940"/>
              <a:gd name="connsiteX118" fmla="*/ 382927 w 4519987"/>
              <a:gd name="connsiteY118" fmla="*/ 1009650 h 4496940"/>
              <a:gd name="connsiteX119" fmla="*/ 440077 w 4519987"/>
              <a:gd name="connsiteY119" fmla="*/ 904875 h 4496940"/>
              <a:gd name="connsiteX120" fmla="*/ 478177 w 4519987"/>
              <a:gd name="connsiteY120" fmla="*/ 857250 h 4496940"/>
              <a:gd name="connsiteX121" fmla="*/ 497227 w 4519987"/>
              <a:gd name="connsiteY121" fmla="*/ 828675 h 4496940"/>
              <a:gd name="connsiteX122" fmla="*/ 535327 w 4519987"/>
              <a:gd name="connsiteY122" fmla="*/ 800100 h 4496940"/>
              <a:gd name="connsiteX123" fmla="*/ 602002 w 4519987"/>
              <a:gd name="connsiteY123" fmla="*/ 733425 h 4496940"/>
              <a:gd name="connsiteX124" fmla="*/ 668677 w 4519987"/>
              <a:gd name="connsiteY124" fmla="*/ 676275 h 4496940"/>
              <a:gd name="connsiteX125" fmla="*/ 697252 w 4519987"/>
              <a:gd name="connsiteY125" fmla="*/ 657225 h 4496940"/>
              <a:gd name="connsiteX126" fmla="*/ 840127 w 4519987"/>
              <a:gd name="connsiteY126" fmla="*/ 533400 h 4496940"/>
              <a:gd name="connsiteX127" fmla="*/ 887752 w 4519987"/>
              <a:gd name="connsiteY127" fmla="*/ 504825 h 4496940"/>
              <a:gd name="connsiteX128" fmla="*/ 1167152 w 4519987"/>
              <a:gd name="connsiteY128" fmla="*/ 311150 h 4496940"/>
              <a:gd name="connsiteX129" fmla="*/ 1268752 w 4519987"/>
              <a:gd name="connsiteY129" fmla="*/ 285750 h 4496940"/>
              <a:gd name="connsiteX130" fmla="*/ 1411627 w 4519987"/>
              <a:gd name="connsiteY130" fmla="*/ 190500 h 4496940"/>
              <a:gd name="connsiteX131" fmla="*/ 1449727 w 4519987"/>
              <a:gd name="connsiteY131" fmla="*/ 161925 h 4496940"/>
              <a:gd name="connsiteX132" fmla="*/ 1525927 w 4519987"/>
              <a:gd name="connsiteY132" fmla="*/ 152400 h 4496940"/>
              <a:gd name="connsiteX133" fmla="*/ 1583077 w 4519987"/>
              <a:gd name="connsiteY133" fmla="*/ 142875 h 4496940"/>
              <a:gd name="connsiteX134" fmla="*/ 1716427 w 4519987"/>
              <a:gd name="connsiteY134" fmla="*/ 123825 h 4496940"/>
              <a:gd name="connsiteX135" fmla="*/ 1811677 w 4519987"/>
              <a:gd name="connsiteY135" fmla="*/ 114300 h 4496940"/>
              <a:gd name="connsiteX136" fmla="*/ 1859302 w 4519987"/>
              <a:gd name="connsiteY136" fmla="*/ 104775 h 4496940"/>
              <a:gd name="connsiteX137" fmla="*/ 1916452 w 4519987"/>
              <a:gd name="connsiteY137" fmla="*/ 95250 h 4496940"/>
              <a:gd name="connsiteX138" fmla="*/ 2030752 w 4519987"/>
              <a:gd name="connsiteY138" fmla="*/ 66675 h 4496940"/>
              <a:gd name="connsiteX139" fmla="*/ 2097427 w 4519987"/>
              <a:gd name="connsiteY139" fmla="*/ 47625 h 4496940"/>
              <a:gd name="connsiteX140" fmla="*/ 2164102 w 4519987"/>
              <a:gd name="connsiteY140" fmla="*/ 38100 h 4496940"/>
              <a:gd name="connsiteX141" fmla="*/ 2392702 w 4519987"/>
              <a:gd name="connsiteY14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211977 w 4519987"/>
              <a:gd name="connsiteY34" fmla="*/ 3362325 h 4496940"/>
              <a:gd name="connsiteX35" fmla="*/ 4183402 w 4519987"/>
              <a:gd name="connsiteY35" fmla="*/ 3400425 h 4496940"/>
              <a:gd name="connsiteX36" fmla="*/ 4088152 w 4519987"/>
              <a:gd name="connsiteY36" fmla="*/ 3495675 h 4496940"/>
              <a:gd name="connsiteX37" fmla="*/ 4059577 w 4519987"/>
              <a:gd name="connsiteY37" fmla="*/ 3533775 h 4496940"/>
              <a:gd name="connsiteX38" fmla="*/ 4002427 w 4519987"/>
              <a:gd name="connsiteY38" fmla="*/ 3600450 h 4496940"/>
              <a:gd name="connsiteX39" fmla="*/ 3983377 w 4519987"/>
              <a:gd name="connsiteY39" fmla="*/ 3629025 h 4496940"/>
              <a:gd name="connsiteX40" fmla="*/ 3954802 w 4519987"/>
              <a:gd name="connsiteY40" fmla="*/ 3648075 h 4496940"/>
              <a:gd name="connsiteX41" fmla="*/ 3907177 w 4519987"/>
              <a:gd name="connsiteY41" fmla="*/ 3686175 h 4496940"/>
              <a:gd name="connsiteX42" fmla="*/ 3869077 w 4519987"/>
              <a:gd name="connsiteY42" fmla="*/ 3724275 h 4496940"/>
              <a:gd name="connsiteX43" fmla="*/ 3792877 w 4519987"/>
              <a:gd name="connsiteY43" fmla="*/ 3781425 h 4496940"/>
              <a:gd name="connsiteX44" fmla="*/ 3783352 w 4519987"/>
              <a:gd name="connsiteY44" fmla="*/ 3810000 h 4496940"/>
              <a:gd name="connsiteX45" fmla="*/ 3745252 w 4519987"/>
              <a:gd name="connsiteY45" fmla="*/ 3819525 h 4496940"/>
              <a:gd name="connsiteX46" fmla="*/ 3678577 w 4519987"/>
              <a:gd name="connsiteY46" fmla="*/ 3848100 h 4496940"/>
              <a:gd name="connsiteX47" fmla="*/ 3659527 w 4519987"/>
              <a:gd name="connsiteY47" fmla="*/ 3971925 h 4496940"/>
              <a:gd name="connsiteX48" fmla="*/ 3630952 w 4519987"/>
              <a:gd name="connsiteY48" fmla="*/ 4010025 h 4496940"/>
              <a:gd name="connsiteX49" fmla="*/ 3621427 w 4519987"/>
              <a:gd name="connsiteY49" fmla="*/ 4038600 h 4496940"/>
              <a:gd name="connsiteX50" fmla="*/ 3554752 w 4519987"/>
              <a:gd name="connsiteY50" fmla="*/ 4095750 h 4496940"/>
              <a:gd name="connsiteX51" fmla="*/ 3516652 w 4519987"/>
              <a:gd name="connsiteY51" fmla="*/ 4114800 h 4496940"/>
              <a:gd name="connsiteX52" fmla="*/ 3497602 w 4519987"/>
              <a:gd name="connsiteY52" fmla="*/ 4143375 h 4496940"/>
              <a:gd name="connsiteX53" fmla="*/ 3383302 w 4519987"/>
              <a:gd name="connsiteY53" fmla="*/ 4210050 h 4496940"/>
              <a:gd name="connsiteX54" fmla="*/ 3335677 w 4519987"/>
              <a:gd name="connsiteY54" fmla="*/ 4238625 h 4496940"/>
              <a:gd name="connsiteX55" fmla="*/ 3288052 w 4519987"/>
              <a:gd name="connsiteY55" fmla="*/ 4248150 h 4496940"/>
              <a:gd name="connsiteX56" fmla="*/ 3240427 w 4519987"/>
              <a:gd name="connsiteY56" fmla="*/ 4267200 h 4496940"/>
              <a:gd name="connsiteX57" fmla="*/ 3068977 w 4519987"/>
              <a:gd name="connsiteY57" fmla="*/ 4286250 h 4496940"/>
              <a:gd name="connsiteX58" fmla="*/ 2935627 w 4519987"/>
              <a:gd name="connsiteY58" fmla="*/ 4333875 h 4496940"/>
              <a:gd name="connsiteX59" fmla="*/ 2811802 w 4519987"/>
              <a:gd name="connsiteY59" fmla="*/ 4371975 h 4496940"/>
              <a:gd name="connsiteX60" fmla="*/ 2745127 w 4519987"/>
              <a:gd name="connsiteY60" fmla="*/ 4410075 h 4496940"/>
              <a:gd name="connsiteX61" fmla="*/ 2697502 w 4519987"/>
              <a:gd name="connsiteY61" fmla="*/ 4429125 h 4496940"/>
              <a:gd name="connsiteX62" fmla="*/ 2640352 w 4519987"/>
              <a:gd name="connsiteY62" fmla="*/ 4457700 h 4496940"/>
              <a:gd name="connsiteX63" fmla="*/ 2583202 w 4519987"/>
              <a:gd name="connsiteY63" fmla="*/ 4467225 h 4496940"/>
              <a:gd name="connsiteX64" fmla="*/ 2545102 w 4519987"/>
              <a:gd name="connsiteY64" fmla="*/ 4486275 h 4496940"/>
              <a:gd name="connsiteX65" fmla="*/ 2306977 w 4519987"/>
              <a:gd name="connsiteY65" fmla="*/ 4476750 h 4496940"/>
              <a:gd name="connsiteX66" fmla="*/ 2202202 w 4519987"/>
              <a:gd name="connsiteY66" fmla="*/ 4457700 h 4496940"/>
              <a:gd name="connsiteX67" fmla="*/ 2126002 w 4519987"/>
              <a:gd name="connsiteY67" fmla="*/ 4429125 h 4496940"/>
              <a:gd name="connsiteX68" fmla="*/ 1935502 w 4519987"/>
              <a:gd name="connsiteY68" fmla="*/ 4400550 h 4496940"/>
              <a:gd name="connsiteX69" fmla="*/ 1821202 w 4519987"/>
              <a:gd name="connsiteY69" fmla="*/ 4371975 h 4496940"/>
              <a:gd name="connsiteX70" fmla="*/ 1754527 w 4519987"/>
              <a:gd name="connsiteY70" fmla="*/ 4352925 h 4496940"/>
              <a:gd name="connsiteX71" fmla="*/ 1687852 w 4519987"/>
              <a:gd name="connsiteY71" fmla="*/ 4343400 h 4496940"/>
              <a:gd name="connsiteX72" fmla="*/ 1573552 w 4519987"/>
              <a:gd name="connsiteY72" fmla="*/ 4305300 h 4496940"/>
              <a:gd name="connsiteX73" fmla="*/ 1402102 w 4519987"/>
              <a:gd name="connsiteY73" fmla="*/ 4276725 h 4496940"/>
              <a:gd name="connsiteX74" fmla="*/ 1287802 w 4519987"/>
              <a:gd name="connsiteY74" fmla="*/ 4229100 h 4496940"/>
              <a:gd name="connsiteX75" fmla="*/ 1221127 w 4519987"/>
              <a:gd name="connsiteY75" fmla="*/ 4200525 h 4496940"/>
              <a:gd name="connsiteX76" fmla="*/ 1144927 w 4519987"/>
              <a:gd name="connsiteY76" fmla="*/ 4171950 h 4496940"/>
              <a:gd name="connsiteX77" fmla="*/ 1087777 w 4519987"/>
              <a:gd name="connsiteY77" fmla="*/ 4143375 h 4496940"/>
              <a:gd name="connsiteX78" fmla="*/ 1030627 w 4519987"/>
              <a:gd name="connsiteY78" fmla="*/ 4124325 h 4496940"/>
              <a:gd name="connsiteX79" fmla="*/ 925852 w 4519987"/>
              <a:gd name="connsiteY79" fmla="*/ 4067175 h 4496940"/>
              <a:gd name="connsiteX80" fmla="*/ 830602 w 4519987"/>
              <a:gd name="connsiteY80" fmla="*/ 3981450 h 4496940"/>
              <a:gd name="connsiteX81" fmla="*/ 763927 w 4519987"/>
              <a:gd name="connsiteY81" fmla="*/ 3914775 h 4496940"/>
              <a:gd name="connsiteX82" fmla="*/ 725827 w 4519987"/>
              <a:gd name="connsiteY82" fmla="*/ 3876675 h 4496940"/>
              <a:gd name="connsiteX83" fmla="*/ 697252 w 4519987"/>
              <a:gd name="connsiteY83" fmla="*/ 3838575 h 4496940"/>
              <a:gd name="connsiteX84" fmla="*/ 640102 w 4519987"/>
              <a:gd name="connsiteY84" fmla="*/ 3781425 h 4496940"/>
              <a:gd name="connsiteX85" fmla="*/ 611527 w 4519987"/>
              <a:gd name="connsiteY85" fmla="*/ 3733800 h 4496940"/>
              <a:gd name="connsiteX86" fmla="*/ 554377 w 4519987"/>
              <a:gd name="connsiteY86" fmla="*/ 3657600 h 4496940"/>
              <a:gd name="connsiteX87" fmla="*/ 525802 w 4519987"/>
              <a:gd name="connsiteY87" fmla="*/ 3609975 h 4496940"/>
              <a:gd name="connsiteX88" fmla="*/ 497227 w 4519987"/>
              <a:gd name="connsiteY88" fmla="*/ 3552825 h 4496940"/>
              <a:gd name="connsiteX89" fmla="*/ 440077 w 4519987"/>
              <a:gd name="connsiteY89" fmla="*/ 3495675 h 4496940"/>
              <a:gd name="connsiteX90" fmla="*/ 411502 w 4519987"/>
              <a:gd name="connsiteY90" fmla="*/ 3448050 h 4496940"/>
              <a:gd name="connsiteX91" fmla="*/ 278152 w 4519987"/>
              <a:gd name="connsiteY91" fmla="*/ 3257550 h 4496940"/>
              <a:gd name="connsiteX92" fmla="*/ 249577 w 4519987"/>
              <a:gd name="connsiteY92" fmla="*/ 3200400 h 4496940"/>
              <a:gd name="connsiteX93" fmla="*/ 240052 w 4519987"/>
              <a:gd name="connsiteY93" fmla="*/ 3162300 h 4496940"/>
              <a:gd name="connsiteX94" fmla="*/ 221002 w 4519987"/>
              <a:gd name="connsiteY94" fmla="*/ 3105150 h 4496940"/>
              <a:gd name="connsiteX95" fmla="*/ 173377 w 4519987"/>
              <a:gd name="connsiteY95" fmla="*/ 3019425 h 4496940"/>
              <a:gd name="connsiteX96" fmla="*/ 144802 w 4519987"/>
              <a:gd name="connsiteY96" fmla="*/ 2924175 h 4496940"/>
              <a:gd name="connsiteX97" fmla="*/ 68602 w 4519987"/>
              <a:gd name="connsiteY97" fmla="*/ 2724150 h 4496940"/>
              <a:gd name="connsiteX98" fmla="*/ 49552 w 4519987"/>
              <a:gd name="connsiteY98" fmla="*/ 2638425 h 4496940"/>
              <a:gd name="connsiteX99" fmla="*/ 40027 w 4519987"/>
              <a:gd name="connsiteY99" fmla="*/ 2562225 h 4496940"/>
              <a:gd name="connsiteX100" fmla="*/ 30502 w 4519987"/>
              <a:gd name="connsiteY100" fmla="*/ 2514600 h 4496940"/>
              <a:gd name="connsiteX101" fmla="*/ 11452 w 4519987"/>
              <a:gd name="connsiteY101" fmla="*/ 2400300 h 4496940"/>
              <a:gd name="connsiteX102" fmla="*/ 20977 w 4519987"/>
              <a:gd name="connsiteY102" fmla="*/ 1905000 h 4496940"/>
              <a:gd name="connsiteX103" fmla="*/ 30502 w 4519987"/>
              <a:gd name="connsiteY103" fmla="*/ 1838325 h 4496940"/>
              <a:gd name="connsiteX104" fmla="*/ 49552 w 4519987"/>
              <a:gd name="connsiteY104" fmla="*/ 1781175 h 4496940"/>
              <a:gd name="connsiteX105" fmla="*/ 59077 w 4519987"/>
              <a:gd name="connsiteY105" fmla="*/ 1743075 h 4496940"/>
              <a:gd name="connsiteX106" fmla="*/ 78127 w 4519987"/>
              <a:gd name="connsiteY106" fmla="*/ 1685925 h 4496940"/>
              <a:gd name="connsiteX107" fmla="*/ 87652 w 4519987"/>
              <a:gd name="connsiteY107" fmla="*/ 1638300 h 4496940"/>
              <a:gd name="connsiteX108" fmla="*/ 106702 w 4519987"/>
              <a:gd name="connsiteY108" fmla="*/ 1590675 h 4496940"/>
              <a:gd name="connsiteX109" fmla="*/ 135277 w 4519987"/>
              <a:gd name="connsiteY109" fmla="*/ 1504950 h 4496940"/>
              <a:gd name="connsiteX110" fmla="*/ 154327 w 4519987"/>
              <a:gd name="connsiteY110" fmla="*/ 1419225 h 4496940"/>
              <a:gd name="connsiteX111" fmla="*/ 230527 w 4519987"/>
              <a:gd name="connsiteY111" fmla="*/ 1276350 h 4496940"/>
              <a:gd name="connsiteX112" fmla="*/ 240052 w 4519987"/>
              <a:gd name="connsiteY112" fmla="*/ 1247775 h 4496940"/>
              <a:gd name="connsiteX113" fmla="*/ 268627 w 4519987"/>
              <a:gd name="connsiteY113" fmla="*/ 1200150 h 4496940"/>
              <a:gd name="connsiteX114" fmla="*/ 287677 w 4519987"/>
              <a:gd name="connsiteY114" fmla="*/ 1152525 h 4496940"/>
              <a:gd name="connsiteX115" fmla="*/ 316252 w 4519987"/>
              <a:gd name="connsiteY115" fmla="*/ 1114425 h 4496940"/>
              <a:gd name="connsiteX116" fmla="*/ 363877 w 4519987"/>
              <a:gd name="connsiteY116" fmla="*/ 1038225 h 4496940"/>
              <a:gd name="connsiteX117" fmla="*/ 382927 w 4519987"/>
              <a:gd name="connsiteY117" fmla="*/ 1009650 h 4496940"/>
              <a:gd name="connsiteX118" fmla="*/ 440077 w 4519987"/>
              <a:gd name="connsiteY118" fmla="*/ 904875 h 4496940"/>
              <a:gd name="connsiteX119" fmla="*/ 478177 w 4519987"/>
              <a:gd name="connsiteY119" fmla="*/ 857250 h 4496940"/>
              <a:gd name="connsiteX120" fmla="*/ 497227 w 4519987"/>
              <a:gd name="connsiteY120" fmla="*/ 828675 h 4496940"/>
              <a:gd name="connsiteX121" fmla="*/ 535327 w 4519987"/>
              <a:gd name="connsiteY121" fmla="*/ 800100 h 4496940"/>
              <a:gd name="connsiteX122" fmla="*/ 602002 w 4519987"/>
              <a:gd name="connsiteY122" fmla="*/ 733425 h 4496940"/>
              <a:gd name="connsiteX123" fmla="*/ 668677 w 4519987"/>
              <a:gd name="connsiteY123" fmla="*/ 676275 h 4496940"/>
              <a:gd name="connsiteX124" fmla="*/ 697252 w 4519987"/>
              <a:gd name="connsiteY124" fmla="*/ 657225 h 4496940"/>
              <a:gd name="connsiteX125" fmla="*/ 840127 w 4519987"/>
              <a:gd name="connsiteY125" fmla="*/ 533400 h 4496940"/>
              <a:gd name="connsiteX126" fmla="*/ 887752 w 4519987"/>
              <a:gd name="connsiteY126" fmla="*/ 504825 h 4496940"/>
              <a:gd name="connsiteX127" fmla="*/ 1167152 w 4519987"/>
              <a:gd name="connsiteY127" fmla="*/ 311150 h 4496940"/>
              <a:gd name="connsiteX128" fmla="*/ 1268752 w 4519987"/>
              <a:gd name="connsiteY128" fmla="*/ 285750 h 4496940"/>
              <a:gd name="connsiteX129" fmla="*/ 1411627 w 4519987"/>
              <a:gd name="connsiteY129" fmla="*/ 190500 h 4496940"/>
              <a:gd name="connsiteX130" fmla="*/ 1449727 w 4519987"/>
              <a:gd name="connsiteY130" fmla="*/ 161925 h 4496940"/>
              <a:gd name="connsiteX131" fmla="*/ 1525927 w 4519987"/>
              <a:gd name="connsiteY131" fmla="*/ 152400 h 4496940"/>
              <a:gd name="connsiteX132" fmla="*/ 1583077 w 4519987"/>
              <a:gd name="connsiteY132" fmla="*/ 142875 h 4496940"/>
              <a:gd name="connsiteX133" fmla="*/ 1716427 w 4519987"/>
              <a:gd name="connsiteY133" fmla="*/ 123825 h 4496940"/>
              <a:gd name="connsiteX134" fmla="*/ 1811677 w 4519987"/>
              <a:gd name="connsiteY134" fmla="*/ 114300 h 4496940"/>
              <a:gd name="connsiteX135" fmla="*/ 1859302 w 4519987"/>
              <a:gd name="connsiteY135" fmla="*/ 104775 h 4496940"/>
              <a:gd name="connsiteX136" fmla="*/ 1916452 w 4519987"/>
              <a:gd name="connsiteY136" fmla="*/ 95250 h 4496940"/>
              <a:gd name="connsiteX137" fmla="*/ 2030752 w 4519987"/>
              <a:gd name="connsiteY137" fmla="*/ 66675 h 4496940"/>
              <a:gd name="connsiteX138" fmla="*/ 2097427 w 4519987"/>
              <a:gd name="connsiteY138" fmla="*/ 47625 h 4496940"/>
              <a:gd name="connsiteX139" fmla="*/ 2164102 w 4519987"/>
              <a:gd name="connsiteY139" fmla="*/ 38100 h 4496940"/>
              <a:gd name="connsiteX140" fmla="*/ 2392702 w 4519987"/>
              <a:gd name="connsiteY14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221502 w 4519987"/>
              <a:gd name="connsiteY33" fmla="*/ 3333750 h 4496940"/>
              <a:gd name="connsiteX34" fmla="*/ 4183402 w 4519987"/>
              <a:gd name="connsiteY34" fmla="*/ 3400425 h 4496940"/>
              <a:gd name="connsiteX35" fmla="*/ 4088152 w 4519987"/>
              <a:gd name="connsiteY35" fmla="*/ 3495675 h 4496940"/>
              <a:gd name="connsiteX36" fmla="*/ 4059577 w 4519987"/>
              <a:gd name="connsiteY36" fmla="*/ 3533775 h 4496940"/>
              <a:gd name="connsiteX37" fmla="*/ 4002427 w 4519987"/>
              <a:gd name="connsiteY37" fmla="*/ 3600450 h 4496940"/>
              <a:gd name="connsiteX38" fmla="*/ 3983377 w 4519987"/>
              <a:gd name="connsiteY38" fmla="*/ 3629025 h 4496940"/>
              <a:gd name="connsiteX39" fmla="*/ 3954802 w 4519987"/>
              <a:gd name="connsiteY39" fmla="*/ 3648075 h 4496940"/>
              <a:gd name="connsiteX40" fmla="*/ 3907177 w 4519987"/>
              <a:gd name="connsiteY40" fmla="*/ 3686175 h 4496940"/>
              <a:gd name="connsiteX41" fmla="*/ 3869077 w 4519987"/>
              <a:gd name="connsiteY41" fmla="*/ 3724275 h 4496940"/>
              <a:gd name="connsiteX42" fmla="*/ 3792877 w 4519987"/>
              <a:gd name="connsiteY42" fmla="*/ 3781425 h 4496940"/>
              <a:gd name="connsiteX43" fmla="*/ 3783352 w 4519987"/>
              <a:gd name="connsiteY43" fmla="*/ 3810000 h 4496940"/>
              <a:gd name="connsiteX44" fmla="*/ 3745252 w 4519987"/>
              <a:gd name="connsiteY44" fmla="*/ 3819525 h 4496940"/>
              <a:gd name="connsiteX45" fmla="*/ 3678577 w 4519987"/>
              <a:gd name="connsiteY45" fmla="*/ 3848100 h 4496940"/>
              <a:gd name="connsiteX46" fmla="*/ 3659527 w 4519987"/>
              <a:gd name="connsiteY46" fmla="*/ 3971925 h 4496940"/>
              <a:gd name="connsiteX47" fmla="*/ 3630952 w 4519987"/>
              <a:gd name="connsiteY47" fmla="*/ 4010025 h 4496940"/>
              <a:gd name="connsiteX48" fmla="*/ 3621427 w 4519987"/>
              <a:gd name="connsiteY48" fmla="*/ 4038600 h 4496940"/>
              <a:gd name="connsiteX49" fmla="*/ 3554752 w 4519987"/>
              <a:gd name="connsiteY49" fmla="*/ 4095750 h 4496940"/>
              <a:gd name="connsiteX50" fmla="*/ 3516652 w 4519987"/>
              <a:gd name="connsiteY50" fmla="*/ 4114800 h 4496940"/>
              <a:gd name="connsiteX51" fmla="*/ 3497602 w 4519987"/>
              <a:gd name="connsiteY51" fmla="*/ 4143375 h 4496940"/>
              <a:gd name="connsiteX52" fmla="*/ 3383302 w 4519987"/>
              <a:gd name="connsiteY52" fmla="*/ 4210050 h 4496940"/>
              <a:gd name="connsiteX53" fmla="*/ 3335677 w 4519987"/>
              <a:gd name="connsiteY53" fmla="*/ 4238625 h 4496940"/>
              <a:gd name="connsiteX54" fmla="*/ 3288052 w 4519987"/>
              <a:gd name="connsiteY54" fmla="*/ 4248150 h 4496940"/>
              <a:gd name="connsiteX55" fmla="*/ 3240427 w 4519987"/>
              <a:gd name="connsiteY55" fmla="*/ 4267200 h 4496940"/>
              <a:gd name="connsiteX56" fmla="*/ 3068977 w 4519987"/>
              <a:gd name="connsiteY56" fmla="*/ 4286250 h 4496940"/>
              <a:gd name="connsiteX57" fmla="*/ 2935627 w 4519987"/>
              <a:gd name="connsiteY57" fmla="*/ 4333875 h 4496940"/>
              <a:gd name="connsiteX58" fmla="*/ 2811802 w 4519987"/>
              <a:gd name="connsiteY58" fmla="*/ 4371975 h 4496940"/>
              <a:gd name="connsiteX59" fmla="*/ 2745127 w 4519987"/>
              <a:gd name="connsiteY59" fmla="*/ 4410075 h 4496940"/>
              <a:gd name="connsiteX60" fmla="*/ 2697502 w 4519987"/>
              <a:gd name="connsiteY60" fmla="*/ 4429125 h 4496940"/>
              <a:gd name="connsiteX61" fmla="*/ 2640352 w 4519987"/>
              <a:gd name="connsiteY61" fmla="*/ 4457700 h 4496940"/>
              <a:gd name="connsiteX62" fmla="*/ 2583202 w 4519987"/>
              <a:gd name="connsiteY62" fmla="*/ 4467225 h 4496940"/>
              <a:gd name="connsiteX63" fmla="*/ 2545102 w 4519987"/>
              <a:gd name="connsiteY63" fmla="*/ 4486275 h 4496940"/>
              <a:gd name="connsiteX64" fmla="*/ 2306977 w 4519987"/>
              <a:gd name="connsiteY64" fmla="*/ 4476750 h 4496940"/>
              <a:gd name="connsiteX65" fmla="*/ 2202202 w 4519987"/>
              <a:gd name="connsiteY65" fmla="*/ 4457700 h 4496940"/>
              <a:gd name="connsiteX66" fmla="*/ 2126002 w 4519987"/>
              <a:gd name="connsiteY66" fmla="*/ 4429125 h 4496940"/>
              <a:gd name="connsiteX67" fmla="*/ 1935502 w 4519987"/>
              <a:gd name="connsiteY67" fmla="*/ 4400550 h 4496940"/>
              <a:gd name="connsiteX68" fmla="*/ 1821202 w 4519987"/>
              <a:gd name="connsiteY68" fmla="*/ 4371975 h 4496940"/>
              <a:gd name="connsiteX69" fmla="*/ 1754527 w 4519987"/>
              <a:gd name="connsiteY69" fmla="*/ 4352925 h 4496940"/>
              <a:gd name="connsiteX70" fmla="*/ 1687852 w 4519987"/>
              <a:gd name="connsiteY70" fmla="*/ 4343400 h 4496940"/>
              <a:gd name="connsiteX71" fmla="*/ 1573552 w 4519987"/>
              <a:gd name="connsiteY71" fmla="*/ 4305300 h 4496940"/>
              <a:gd name="connsiteX72" fmla="*/ 1402102 w 4519987"/>
              <a:gd name="connsiteY72" fmla="*/ 4276725 h 4496940"/>
              <a:gd name="connsiteX73" fmla="*/ 1287802 w 4519987"/>
              <a:gd name="connsiteY73" fmla="*/ 4229100 h 4496940"/>
              <a:gd name="connsiteX74" fmla="*/ 1221127 w 4519987"/>
              <a:gd name="connsiteY74" fmla="*/ 4200525 h 4496940"/>
              <a:gd name="connsiteX75" fmla="*/ 1144927 w 4519987"/>
              <a:gd name="connsiteY75" fmla="*/ 4171950 h 4496940"/>
              <a:gd name="connsiteX76" fmla="*/ 1087777 w 4519987"/>
              <a:gd name="connsiteY76" fmla="*/ 4143375 h 4496940"/>
              <a:gd name="connsiteX77" fmla="*/ 1030627 w 4519987"/>
              <a:gd name="connsiteY77" fmla="*/ 4124325 h 4496940"/>
              <a:gd name="connsiteX78" fmla="*/ 925852 w 4519987"/>
              <a:gd name="connsiteY78" fmla="*/ 4067175 h 4496940"/>
              <a:gd name="connsiteX79" fmla="*/ 830602 w 4519987"/>
              <a:gd name="connsiteY79" fmla="*/ 3981450 h 4496940"/>
              <a:gd name="connsiteX80" fmla="*/ 763927 w 4519987"/>
              <a:gd name="connsiteY80" fmla="*/ 3914775 h 4496940"/>
              <a:gd name="connsiteX81" fmla="*/ 725827 w 4519987"/>
              <a:gd name="connsiteY81" fmla="*/ 3876675 h 4496940"/>
              <a:gd name="connsiteX82" fmla="*/ 697252 w 4519987"/>
              <a:gd name="connsiteY82" fmla="*/ 3838575 h 4496940"/>
              <a:gd name="connsiteX83" fmla="*/ 640102 w 4519987"/>
              <a:gd name="connsiteY83" fmla="*/ 3781425 h 4496940"/>
              <a:gd name="connsiteX84" fmla="*/ 611527 w 4519987"/>
              <a:gd name="connsiteY84" fmla="*/ 3733800 h 4496940"/>
              <a:gd name="connsiteX85" fmla="*/ 554377 w 4519987"/>
              <a:gd name="connsiteY85" fmla="*/ 3657600 h 4496940"/>
              <a:gd name="connsiteX86" fmla="*/ 525802 w 4519987"/>
              <a:gd name="connsiteY86" fmla="*/ 3609975 h 4496940"/>
              <a:gd name="connsiteX87" fmla="*/ 497227 w 4519987"/>
              <a:gd name="connsiteY87" fmla="*/ 3552825 h 4496940"/>
              <a:gd name="connsiteX88" fmla="*/ 440077 w 4519987"/>
              <a:gd name="connsiteY88" fmla="*/ 3495675 h 4496940"/>
              <a:gd name="connsiteX89" fmla="*/ 411502 w 4519987"/>
              <a:gd name="connsiteY89" fmla="*/ 3448050 h 4496940"/>
              <a:gd name="connsiteX90" fmla="*/ 278152 w 4519987"/>
              <a:gd name="connsiteY90" fmla="*/ 3257550 h 4496940"/>
              <a:gd name="connsiteX91" fmla="*/ 249577 w 4519987"/>
              <a:gd name="connsiteY91" fmla="*/ 3200400 h 4496940"/>
              <a:gd name="connsiteX92" fmla="*/ 240052 w 4519987"/>
              <a:gd name="connsiteY92" fmla="*/ 3162300 h 4496940"/>
              <a:gd name="connsiteX93" fmla="*/ 221002 w 4519987"/>
              <a:gd name="connsiteY93" fmla="*/ 3105150 h 4496940"/>
              <a:gd name="connsiteX94" fmla="*/ 173377 w 4519987"/>
              <a:gd name="connsiteY94" fmla="*/ 3019425 h 4496940"/>
              <a:gd name="connsiteX95" fmla="*/ 144802 w 4519987"/>
              <a:gd name="connsiteY95" fmla="*/ 2924175 h 4496940"/>
              <a:gd name="connsiteX96" fmla="*/ 68602 w 4519987"/>
              <a:gd name="connsiteY96" fmla="*/ 2724150 h 4496940"/>
              <a:gd name="connsiteX97" fmla="*/ 49552 w 4519987"/>
              <a:gd name="connsiteY97" fmla="*/ 2638425 h 4496940"/>
              <a:gd name="connsiteX98" fmla="*/ 40027 w 4519987"/>
              <a:gd name="connsiteY98" fmla="*/ 2562225 h 4496940"/>
              <a:gd name="connsiteX99" fmla="*/ 30502 w 4519987"/>
              <a:gd name="connsiteY99" fmla="*/ 2514600 h 4496940"/>
              <a:gd name="connsiteX100" fmla="*/ 11452 w 4519987"/>
              <a:gd name="connsiteY100" fmla="*/ 2400300 h 4496940"/>
              <a:gd name="connsiteX101" fmla="*/ 20977 w 4519987"/>
              <a:gd name="connsiteY101" fmla="*/ 1905000 h 4496940"/>
              <a:gd name="connsiteX102" fmla="*/ 30502 w 4519987"/>
              <a:gd name="connsiteY102" fmla="*/ 1838325 h 4496940"/>
              <a:gd name="connsiteX103" fmla="*/ 49552 w 4519987"/>
              <a:gd name="connsiteY103" fmla="*/ 1781175 h 4496940"/>
              <a:gd name="connsiteX104" fmla="*/ 59077 w 4519987"/>
              <a:gd name="connsiteY104" fmla="*/ 1743075 h 4496940"/>
              <a:gd name="connsiteX105" fmla="*/ 78127 w 4519987"/>
              <a:gd name="connsiteY105" fmla="*/ 1685925 h 4496940"/>
              <a:gd name="connsiteX106" fmla="*/ 87652 w 4519987"/>
              <a:gd name="connsiteY106" fmla="*/ 1638300 h 4496940"/>
              <a:gd name="connsiteX107" fmla="*/ 106702 w 4519987"/>
              <a:gd name="connsiteY107" fmla="*/ 1590675 h 4496940"/>
              <a:gd name="connsiteX108" fmla="*/ 135277 w 4519987"/>
              <a:gd name="connsiteY108" fmla="*/ 1504950 h 4496940"/>
              <a:gd name="connsiteX109" fmla="*/ 154327 w 4519987"/>
              <a:gd name="connsiteY109" fmla="*/ 1419225 h 4496940"/>
              <a:gd name="connsiteX110" fmla="*/ 230527 w 4519987"/>
              <a:gd name="connsiteY110" fmla="*/ 1276350 h 4496940"/>
              <a:gd name="connsiteX111" fmla="*/ 240052 w 4519987"/>
              <a:gd name="connsiteY111" fmla="*/ 1247775 h 4496940"/>
              <a:gd name="connsiteX112" fmla="*/ 268627 w 4519987"/>
              <a:gd name="connsiteY112" fmla="*/ 1200150 h 4496940"/>
              <a:gd name="connsiteX113" fmla="*/ 287677 w 4519987"/>
              <a:gd name="connsiteY113" fmla="*/ 1152525 h 4496940"/>
              <a:gd name="connsiteX114" fmla="*/ 316252 w 4519987"/>
              <a:gd name="connsiteY114" fmla="*/ 1114425 h 4496940"/>
              <a:gd name="connsiteX115" fmla="*/ 363877 w 4519987"/>
              <a:gd name="connsiteY115" fmla="*/ 1038225 h 4496940"/>
              <a:gd name="connsiteX116" fmla="*/ 382927 w 4519987"/>
              <a:gd name="connsiteY116" fmla="*/ 1009650 h 4496940"/>
              <a:gd name="connsiteX117" fmla="*/ 440077 w 4519987"/>
              <a:gd name="connsiteY117" fmla="*/ 904875 h 4496940"/>
              <a:gd name="connsiteX118" fmla="*/ 478177 w 4519987"/>
              <a:gd name="connsiteY118" fmla="*/ 857250 h 4496940"/>
              <a:gd name="connsiteX119" fmla="*/ 497227 w 4519987"/>
              <a:gd name="connsiteY119" fmla="*/ 828675 h 4496940"/>
              <a:gd name="connsiteX120" fmla="*/ 535327 w 4519987"/>
              <a:gd name="connsiteY120" fmla="*/ 800100 h 4496940"/>
              <a:gd name="connsiteX121" fmla="*/ 602002 w 4519987"/>
              <a:gd name="connsiteY121" fmla="*/ 733425 h 4496940"/>
              <a:gd name="connsiteX122" fmla="*/ 668677 w 4519987"/>
              <a:gd name="connsiteY122" fmla="*/ 676275 h 4496940"/>
              <a:gd name="connsiteX123" fmla="*/ 697252 w 4519987"/>
              <a:gd name="connsiteY123" fmla="*/ 657225 h 4496940"/>
              <a:gd name="connsiteX124" fmla="*/ 840127 w 4519987"/>
              <a:gd name="connsiteY124" fmla="*/ 533400 h 4496940"/>
              <a:gd name="connsiteX125" fmla="*/ 887752 w 4519987"/>
              <a:gd name="connsiteY125" fmla="*/ 504825 h 4496940"/>
              <a:gd name="connsiteX126" fmla="*/ 1167152 w 4519987"/>
              <a:gd name="connsiteY126" fmla="*/ 311150 h 4496940"/>
              <a:gd name="connsiteX127" fmla="*/ 1268752 w 4519987"/>
              <a:gd name="connsiteY127" fmla="*/ 285750 h 4496940"/>
              <a:gd name="connsiteX128" fmla="*/ 1411627 w 4519987"/>
              <a:gd name="connsiteY128" fmla="*/ 190500 h 4496940"/>
              <a:gd name="connsiteX129" fmla="*/ 1449727 w 4519987"/>
              <a:gd name="connsiteY129" fmla="*/ 161925 h 4496940"/>
              <a:gd name="connsiteX130" fmla="*/ 1525927 w 4519987"/>
              <a:gd name="connsiteY130" fmla="*/ 152400 h 4496940"/>
              <a:gd name="connsiteX131" fmla="*/ 1583077 w 4519987"/>
              <a:gd name="connsiteY131" fmla="*/ 142875 h 4496940"/>
              <a:gd name="connsiteX132" fmla="*/ 1716427 w 4519987"/>
              <a:gd name="connsiteY132" fmla="*/ 123825 h 4496940"/>
              <a:gd name="connsiteX133" fmla="*/ 1811677 w 4519987"/>
              <a:gd name="connsiteY133" fmla="*/ 114300 h 4496940"/>
              <a:gd name="connsiteX134" fmla="*/ 1859302 w 4519987"/>
              <a:gd name="connsiteY134" fmla="*/ 104775 h 4496940"/>
              <a:gd name="connsiteX135" fmla="*/ 1916452 w 4519987"/>
              <a:gd name="connsiteY135" fmla="*/ 95250 h 4496940"/>
              <a:gd name="connsiteX136" fmla="*/ 2030752 w 4519987"/>
              <a:gd name="connsiteY136" fmla="*/ 66675 h 4496940"/>
              <a:gd name="connsiteX137" fmla="*/ 2097427 w 4519987"/>
              <a:gd name="connsiteY137" fmla="*/ 47625 h 4496940"/>
              <a:gd name="connsiteX138" fmla="*/ 2164102 w 4519987"/>
              <a:gd name="connsiteY138" fmla="*/ 38100 h 4496940"/>
              <a:gd name="connsiteX139" fmla="*/ 2392702 w 4519987"/>
              <a:gd name="connsiteY13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83377 w 4519987"/>
              <a:gd name="connsiteY37" fmla="*/ 3629025 h 4496940"/>
              <a:gd name="connsiteX38" fmla="*/ 3954802 w 4519987"/>
              <a:gd name="connsiteY38" fmla="*/ 3648075 h 4496940"/>
              <a:gd name="connsiteX39" fmla="*/ 3907177 w 4519987"/>
              <a:gd name="connsiteY39" fmla="*/ 3686175 h 4496940"/>
              <a:gd name="connsiteX40" fmla="*/ 3869077 w 4519987"/>
              <a:gd name="connsiteY40" fmla="*/ 3724275 h 4496940"/>
              <a:gd name="connsiteX41" fmla="*/ 3792877 w 4519987"/>
              <a:gd name="connsiteY41" fmla="*/ 3781425 h 4496940"/>
              <a:gd name="connsiteX42" fmla="*/ 3783352 w 4519987"/>
              <a:gd name="connsiteY42" fmla="*/ 3810000 h 4496940"/>
              <a:gd name="connsiteX43" fmla="*/ 3745252 w 4519987"/>
              <a:gd name="connsiteY43" fmla="*/ 3819525 h 4496940"/>
              <a:gd name="connsiteX44" fmla="*/ 3678577 w 4519987"/>
              <a:gd name="connsiteY44" fmla="*/ 3848100 h 4496940"/>
              <a:gd name="connsiteX45" fmla="*/ 3659527 w 4519987"/>
              <a:gd name="connsiteY45" fmla="*/ 3971925 h 4496940"/>
              <a:gd name="connsiteX46" fmla="*/ 3630952 w 4519987"/>
              <a:gd name="connsiteY46" fmla="*/ 4010025 h 4496940"/>
              <a:gd name="connsiteX47" fmla="*/ 3621427 w 4519987"/>
              <a:gd name="connsiteY47" fmla="*/ 4038600 h 4496940"/>
              <a:gd name="connsiteX48" fmla="*/ 3554752 w 4519987"/>
              <a:gd name="connsiteY48" fmla="*/ 4095750 h 4496940"/>
              <a:gd name="connsiteX49" fmla="*/ 3516652 w 4519987"/>
              <a:gd name="connsiteY49" fmla="*/ 4114800 h 4496940"/>
              <a:gd name="connsiteX50" fmla="*/ 3497602 w 4519987"/>
              <a:gd name="connsiteY50" fmla="*/ 4143375 h 4496940"/>
              <a:gd name="connsiteX51" fmla="*/ 3383302 w 4519987"/>
              <a:gd name="connsiteY51" fmla="*/ 4210050 h 4496940"/>
              <a:gd name="connsiteX52" fmla="*/ 3335677 w 4519987"/>
              <a:gd name="connsiteY52" fmla="*/ 4238625 h 4496940"/>
              <a:gd name="connsiteX53" fmla="*/ 3288052 w 4519987"/>
              <a:gd name="connsiteY53" fmla="*/ 4248150 h 4496940"/>
              <a:gd name="connsiteX54" fmla="*/ 3240427 w 4519987"/>
              <a:gd name="connsiteY54" fmla="*/ 4267200 h 4496940"/>
              <a:gd name="connsiteX55" fmla="*/ 3068977 w 4519987"/>
              <a:gd name="connsiteY55" fmla="*/ 4286250 h 4496940"/>
              <a:gd name="connsiteX56" fmla="*/ 2935627 w 4519987"/>
              <a:gd name="connsiteY56" fmla="*/ 4333875 h 4496940"/>
              <a:gd name="connsiteX57" fmla="*/ 2811802 w 4519987"/>
              <a:gd name="connsiteY57" fmla="*/ 4371975 h 4496940"/>
              <a:gd name="connsiteX58" fmla="*/ 2745127 w 4519987"/>
              <a:gd name="connsiteY58" fmla="*/ 4410075 h 4496940"/>
              <a:gd name="connsiteX59" fmla="*/ 2697502 w 4519987"/>
              <a:gd name="connsiteY59" fmla="*/ 4429125 h 4496940"/>
              <a:gd name="connsiteX60" fmla="*/ 2640352 w 4519987"/>
              <a:gd name="connsiteY60" fmla="*/ 4457700 h 4496940"/>
              <a:gd name="connsiteX61" fmla="*/ 2583202 w 4519987"/>
              <a:gd name="connsiteY61" fmla="*/ 4467225 h 4496940"/>
              <a:gd name="connsiteX62" fmla="*/ 2545102 w 4519987"/>
              <a:gd name="connsiteY62" fmla="*/ 4486275 h 4496940"/>
              <a:gd name="connsiteX63" fmla="*/ 2306977 w 4519987"/>
              <a:gd name="connsiteY63" fmla="*/ 4476750 h 4496940"/>
              <a:gd name="connsiteX64" fmla="*/ 2202202 w 4519987"/>
              <a:gd name="connsiteY64" fmla="*/ 4457700 h 4496940"/>
              <a:gd name="connsiteX65" fmla="*/ 2126002 w 4519987"/>
              <a:gd name="connsiteY65" fmla="*/ 4429125 h 4496940"/>
              <a:gd name="connsiteX66" fmla="*/ 1935502 w 4519987"/>
              <a:gd name="connsiteY66" fmla="*/ 4400550 h 4496940"/>
              <a:gd name="connsiteX67" fmla="*/ 1821202 w 4519987"/>
              <a:gd name="connsiteY67" fmla="*/ 4371975 h 4496940"/>
              <a:gd name="connsiteX68" fmla="*/ 1754527 w 4519987"/>
              <a:gd name="connsiteY68" fmla="*/ 4352925 h 4496940"/>
              <a:gd name="connsiteX69" fmla="*/ 1687852 w 4519987"/>
              <a:gd name="connsiteY69" fmla="*/ 4343400 h 4496940"/>
              <a:gd name="connsiteX70" fmla="*/ 1573552 w 4519987"/>
              <a:gd name="connsiteY70" fmla="*/ 4305300 h 4496940"/>
              <a:gd name="connsiteX71" fmla="*/ 1402102 w 4519987"/>
              <a:gd name="connsiteY71" fmla="*/ 4276725 h 4496940"/>
              <a:gd name="connsiteX72" fmla="*/ 1287802 w 4519987"/>
              <a:gd name="connsiteY72" fmla="*/ 4229100 h 4496940"/>
              <a:gd name="connsiteX73" fmla="*/ 1221127 w 4519987"/>
              <a:gd name="connsiteY73" fmla="*/ 4200525 h 4496940"/>
              <a:gd name="connsiteX74" fmla="*/ 1144927 w 4519987"/>
              <a:gd name="connsiteY74" fmla="*/ 4171950 h 4496940"/>
              <a:gd name="connsiteX75" fmla="*/ 1087777 w 4519987"/>
              <a:gd name="connsiteY75" fmla="*/ 4143375 h 4496940"/>
              <a:gd name="connsiteX76" fmla="*/ 1030627 w 4519987"/>
              <a:gd name="connsiteY76" fmla="*/ 4124325 h 4496940"/>
              <a:gd name="connsiteX77" fmla="*/ 925852 w 4519987"/>
              <a:gd name="connsiteY77" fmla="*/ 4067175 h 4496940"/>
              <a:gd name="connsiteX78" fmla="*/ 830602 w 4519987"/>
              <a:gd name="connsiteY78" fmla="*/ 3981450 h 4496940"/>
              <a:gd name="connsiteX79" fmla="*/ 763927 w 4519987"/>
              <a:gd name="connsiteY79" fmla="*/ 3914775 h 4496940"/>
              <a:gd name="connsiteX80" fmla="*/ 725827 w 4519987"/>
              <a:gd name="connsiteY80" fmla="*/ 3876675 h 4496940"/>
              <a:gd name="connsiteX81" fmla="*/ 697252 w 4519987"/>
              <a:gd name="connsiteY81" fmla="*/ 3838575 h 4496940"/>
              <a:gd name="connsiteX82" fmla="*/ 640102 w 4519987"/>
              <a:gd name="connsiteY82" fmla="*/ 3781425 h 4496940"/>
              <a:gd name="connsiteX83" fmla="*/ 611527 w 4519987"/>
              <a:gd name="connsiteY83" fmla="*/ 3733800 h 4496940"/>
              <a:gd name="connsiteX84" fmla="*/ 554377 w 4519987"/>
              <a:gd name="connsiteY84" fmla="*/ 3657600 h 4496940"/>
              <a:gd name="connsiteX85" fmla="*/ 525802 w 4519987"/>
              <a:gd name="connsiteY85" fmla="*/ 3609975 h 4496940"/>
              <a:gd name="connsiteX86" fmla="*/ 497227 w 4519987"/>
              <a:gd name="connsiteY86" fmla="*/ 3552825 h 4496940"/>
              <a:gd name="connsiteX87" fmla="*/ 440077 w 4519987"/>
              <a:gd name="connsiteY87" fmla="*/ 3495675 h 4496940"/>
              <a:gd name="connsiteX88" fmla="*/ 411502 w 4519987"/>
              <a:gd name="connsiteY88" fmla="*/ 3448050 h 4496940"/>
              <a:gd name="connsiteX89" fmla="*/ 278152 w 4519987"/>
              <a:gd name="connsiteY89" fmla="*/ 3257550 h 4496940"/>
              <a:gd name="connsiteX90" fmla="*/ 249577 w 4519987"/>
              <a:gd name="connsiteY90" fmla="*/ 3200400 h 4496940"/>
              <a:gd name="connsiteX91" fmla="*/ 240052 w 4519987"/>
              <a:gd name="connsiteY91" fmla="*/ 3162300 h 4496940"/>
              <a:gd name="connsiteX92" fmla="*/ 221002 w 4519987"/>
              <a:gd name="connsiteY92" fmla="*/ 3105150 h 4496940"/>
              <a:gd name="connsiteX93" fmla="*/ 173377 w 4519987"/>
              <a:gd name="connsiteY93" fmla="*/ 3019425 h 4496940"/>
              <a:gd name="connsiteX94" fmla="*/ 144802 w 4519987"/>
              <a:gd name="connsiteY94" fmla="*/ 2924175 h 4496940"/>
              <a:gd name="connsiteX95" fmla="*/ 68602 w 4519987"/>
              <a:gd name="connsiteY95" fmla="*/ 2724150 h 4496940"/>
              <a:gd name="connsiteX96" fmla="*/ 49552 w 4519987"/>
              <a:gd name="connsiteY96" fmla="*/ 2638425 h 4496940"/>
              <a:gd name="connsiteX97" fmla="*/ 40027 w 4519987"/>
              <a:gd name="connsiteY97" fmla="*/ 2562225 h 4496940"/>
              <a:gd name="connsiteX98" fmla="*/ 30502 w 4519987"/>
              <a:gd name="connsiteY98" fmla="*/ 2514600 h 4496940"/>
              <a:gd name="connsiteX99" fmla="*/ 11452 w 4519987"/>
              <a:gd name="connsiteY99" fmla="*/ 2400300 h 4496940"/>
              <a:gd name="connsiteX100" fmla="*/ 20977 w 4519987"/>
              <a:gd name="connsiteY100" fmla="*/ 1905000 h 4496940"/>
              <a:gd name="connsiteX101" fmla="*/ 30502 w 4519987"/>
              <a:gd name="connsiteY101" fmla="*/ 1838325 h 4496940"/>
              <a:gd name="connsiteX102" fmla="*/ 49552 w 4519987"/>
              <a:gd name="connsiteY102" fmla="*/ 1781175 h 4496940"/>
              <a:gd name="connsiteX103" fmla="*/ 59077 w 4519987"/>
              <a:gd name="connsiteY103" fmla="*/ 1743075 h 4496940"/>
              <a:gd name="connsiteX104" fmla="*/ 78127 w 4519987"/>
              <a:gd name="connsiteY104" fmla="*/ 1685925 h 4496940"/>
              <a:gd name="connsiteX105" fmla="*/ 87652 w 4519987"/>
              <a:gd name="connsiteY105" fmla="*/ 1638300 h 4496940"/>
              <a:gd name="connsiteX106" fmla="*/ 106702 w 4519987"/>
              <a:gd name="connsiteY106" fmla="*/ 1590675 h 4496940"/>
              <a:gd name="connsiteX107" fmla="*/ 135277 w 4519987"/>
              <a:gd name="connsiteY107" fmla="*/ 1504950 h 4496940"/>
              <a:gd name="connsiteX108" fmla="*/ 154327 w 4519987"/>
              <a:gd name="connsiteY108" fmla="*/ 1419225 h 4496940"/>
              <a:gd name="connsiteX109" fmla="*/ 230527 w 4519987"/>
              <a:gd name="connsiteY109" fmla="*/ 1276350 h 4496940"/>
              <a:gd name="connsiteX110" fmla="*/ 240052 w 4519987"/>
              <a:gd name="connsiteY110" fmla="*/ 1247775 h 4496940"/>
              <a:gd name="connsiteX111" fmla="*/ 268627 w 4519987"/>
              <a:gd name="connsiteY111" fmla="*/ 1200150 h 4496940"/>
              <a:gd name="connsiteX112" fmla="*/ 287677 w 4519987"/>
              <a:gd name="connsiteY112" fmla="*/ 1152525 h 4496940"/>
              <a:gd name="connsiteX113" fmla="*/ 316252 w 4519987"/>
              <a:gd name="connsiteY113" fmla="*/ 1114425 h 4496940"/>
              <a:gd name="connsiteX114" fmla="*/ 363877 w 4519987"/>
              <a:gd name="connsiteY114" fmla="*/ 1038225 h 4496940"/>
              <a:gd name="connsiteX115" fmla="*/ 382927 w 4519987"/>
              <a:gd name="connsiteY115" fmla="*/ 1009650 h 4496940"/>
              <a:gd name="connsiteX116" fmla="*/ 440077 w 4519987"/>
              <a:gd name="connsiteY116" fmla="*/ 904875 h 4496940"/>
              <a:gd name="connsiteX117" fmla="*/ 478177 w 4519987"/>
              <a:gd name="connsiteY117" fmla="*/ 857250 h 4496940"/>
              <a:gd name="connsiteX118" fmla="*/ 497227 w 4519987"/>
              <a:gd name="connsiteY118" fmla="*/ 828675 h 4496940"/>
              <a:gd name="connsiteX119" fmla="*/ 535327 w 4519987"/>
              <a:gd name="connsiteY119" fmla="*/ 800100 h 4496940"/>
              <a:gd name="connsiteX120" fmla="*/ 602002 w 4519987"/>
              <a:gd name="connsiteY120" fmla="*/ 733425 h 4496940"/>
              <a:gd name="connsiteX121" fmla="*/ 668677 w 4519987"/>
              <a:gd name="connsiteY121" fmla="*/ 676275 h 4496940"/>
              <a:gd name="connsiteX122" fmla="*/ 697252 w 4519987"/>
              <a:gd name="connsiteY122" fmla="*/ 657225 h 4496940"/>
              <a:gd name="connsiteX123" fmla="*/ 840127 w 4519987"/>
              <a:gd name="connsiteY123" fmla="*/ 533400 h 4496940"/>
              <a:gd name="connsiteX124" fmla="*/ 887752 w 4519987"/>
              <a:gd name="connsiteY124" fmla="*/ 504825 h 4496940"/>
              <a:gd name="connsiteX125" fmla="*/ 1167152 w 4519987"/>
              <a:gd name="connsiteY125" fmla="*/ 311150 h 4496940"/>
              <a:gd name="connsiteX126" fmla="*/ 1268752 w 4519987"/>
              <a:gd name="connsiteY126" fmla="*/ 285750 h 4496940"/>
              <a:gd name="connsiteX127" fmla="*/ 1411627 w 4519987"/>
              <a:gd name="connsiteY127" fmla="*/ 190500 h 4496940"/>
              <a:gd name="connsiteX128" fmla="*/ 1449727 w 4519987"/>
              <a:gd name="connsiteY128" fmla="*/ 161925 h 4496940"/>
              <a:gd name="connsiteX129" fmla="*/ 1525927 w 4519987"/>
              <a:gd name="connsiteY129" fmla="*/ 152400 h 4496940"/>
              <a:gd name="connsiteX130" fmla="*/ 1583077 w 4519987"/>
              <a:gd name="connsiteY130" fmla="*/ 142875 h 4496940"/>
              <a:gd name="connsiteX131" fmla="*/ 1716427 w 4519987"/>
              <a:gd name="connsiteY131" fmla="*/ 123825 h 4496940"/>
              <a:gd name="connsiteX132" fmla="*/ 1811677 w 4519987"/>
              <a:gd name="connsiteY132" fmla="*/ 114300 h 4496940"/>
              <a:gd name="connsiteX133" fmla="*/ 1859302 w 4519987"/>
              <a:gd name="connsiteY133" fmla="*/ 104775 h 4496940"/>
              <a:gd name="connsiteX134" fmla="*/ 1916452 w 4519987"/>
              <a:gd name="connsiteY134" fmla="*/ 95250 h 4496940"/>
              <a:gd name="connsiteX135" fmla="*/ 2030752 w 4519987"/>
              <a:gd name="connsiteY135" fmla="*/ 66675 h 4496940"/>
              <a:gd name="connsiteX136" fmla="*/ 2097427 w 4519987"/>
              <a:gd name="connsiteY136" fmla="*/ 47625 h 4496940"/>
              <a:gd name="connsiteX137" fmla="*/ 2164102 w 4519987"/>
              <a:gd name="connsiteY137" fmla="*/ 38100 h 4496940"/>
              <a:gd name="connsiteX138" fmla="*/ 2392702 w 4519987"/>
              <a:gd name="connsiteY13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869077 w 4519987"/>
              <a:gd name="connsiteY39" fmla="*/ 3724275 h 4496940"/>
              <a:gd name="connsiteX40" fmla="*/ 3792877 w 4519987"/>
              <a:gd name="connsiteY40" fmla="*/ 3781425 h 4496940"/>
              <a:gd name="connsiteX41" fmla="*/ 3783352 w 4519987"/>
              <a:gd name="connsiteY41" fmla="*/ 3810000 h 4496940"/>
              <a:gd name="connsiteX42" fmla="*/ 3745252 w 4519987"/>
              <a:gd name="connsiteY42" fmla="*/ 3819525 h 4496940"/>
              <a:gd name="connsiteX43" fmla="*/ 3678577 w 4519987"/>
              <a:gd name="connsiteY43" fmla="*/ 3848100 h 4496940"/>
              <a:gd name="connsiteX44" fmla="*/ 3659527 w 4519987"/>
              <a:gd name="connsiteY44" fmla="*/ 3971925 h 4496940"/>
              <a:gd name="connsiteX45" fmla="*/ 3630952 w 4519987"/>
              <a:gd name="connsiteY45" fmla="*/ 4010025 h 4496940"/>
              <a:gd name="connsiteX46" fmla="*/ 3621427 w 4519987"/>
              <a:gd name="connsiteY46" fmla="*/ 4038600 h 4496940"/>
              <a:gd name="connsiteX47" fmla="*/ 3554752 w 4519987"/>
              <a:gd name="connsiteY47" fmla="*/ 4095750 h 4496940"/>
              <a:gd name="connsiteX48" fmla="*/ 3516652 w 4519987"/>
              <a:gd name="connsiteY48" fmla="*/ 4114800 h 4496940"/>
              <a:gd name="connsiteX49" fmla="*/ 3497602 w 4519987"/>
              <a:gd name="connsiteY49" fmla="*/ 4143375 h 4496940"/>
              <a:gd name="connsiteX50" fmla="*/ 3383302 w 4519987"/>
              <a:gd name="connsiteY50" fmla="*/ 4210050 h 4496940"/>
              <a:gd name="connsiteX51" fmla="*/ 3335677 w 4519987"/>
              <a:gd name="connsiteY51" fmla="*/ 4238625 h 4496940"/>
              <a:gd name="connsiteX52" fmla="*/ 3288052 w 4519987"/>
              <a:gd name="connsiteY52" fmla="*/ 4248150 h 4496940"/>
              <a:gd name="connsiteX53" fmla="*/ 3240427 w 4519987"/>
              <a:gd name="connsiteY53" fmla="*/ 4267200 h 4496940"/>
              <a:gd name="connsiteX54" fmla="*/ 3068977 w 4519987"/>
              <a:gd name="connsiteY54" fmla="*/ 4286250 h 4496940"/>
              <a:gd name="connsiteX55" fmla="*/ 2935627 w 4519987"/>
              <a:gd name="connsiteY55" fmla="*/ 4333875 h 4496940"/>
              <a:gd name="connsiteX56" fmla="*/ 2811802 w 4519987"/>
              <a:gd name="connsiteY56" fmla="*/ 4371975 h 4496940"/>
              <a:gd name="connsiteX57" fmla="*/ 2745127 w 4519987"/>
              <a:gd name="connsiteY57" fmla="*/ 4410075 h 4496940"/>
              <a:gd name="connsiteX58" fmla="*/ 2697502 w 4519987"/>
              <a:gd name="connsiteY58" fmla="*/ 4429125 h 4496940"/>
              <a:gd name="connsiteX59" fmla="*/ 2640352 w 4519987"/>
              <a:gd name="connsiteY59" fmla="*/ 4457700 h 4496940"/>
              <a:gd name="connsiteX60" fmla="*/ 2583202 w 4519987"/>
              <a:gd name="connsiteY60" fmla="*/ 4467225 h 4496940"/>
              <a:gd name="connsiteX61" fmla="*/ 2545102 w 4519987"/>
              <a:gd name="connsiteY61" fmla="*/ 4486275 h 4496940"/>
              <a:gd name="connsiteX62" fmla="*/ 2306977 w 4519987"/>
              <a:gd name="connsiteY62" fmla="*/ 4476750 h 4496940"/>
              <a:gd name="connsiteX63" fmla="*/ 2202202 w 4519987"/>
              <a:gd name="connsiteY63" fmla="*/ 4457700 h 4496940"/>
              <a:gd name="connsiteX64" fmla="*/ 2126002 w 4519987"/>
              <a:gd name="connsiteY64" fmla="*/ 4429125 h 4496940"/>
              <a:gd name="connsiteX65" fmla="*/ 1935502 w 4519987"/>
              <a:gd name="connsiteY65" fmla="*/ 4400550 h 4496940"/>
              <a:gd name="connsiteX66" fmla="*/ 1821202 w 4519987"/>
              <a:gd name="connsiteY66" fmla="*/ 4371975 h 4496940"/>
              <a:gd name="connsiteX67" fmla="*/ 1754527 w 4519987"/>
              <a:gd name="connsiteY67" fmla="*/ 4352925 h 4496940"/>
              <a:gd name="connsiteX68" fmla="*/ 1687852 w 4519987"/>
              <a:gd name="connsiteY68" fmla="*/ 4343400 h 4496940"/>
              <a:gd name="connsiteX69" fmla="*/ 1573552 w 4519987"/>
              <a:gd name="connsiteY69" fmla="*/ 4305300 h 4496940"/>
              <a:gd name="connsiteX70" fmla="*/ 1402102 w 4519987"/>
              <a:gd name="connsiteY70" fmla="*/ 4276725 h 4496940"/>
              <a:gd name="connsiteX71" fmla="*/ 1287802 w 4519987"/>
              <a:gd name="connsiteY71" fmla="*/ 4229100 h 4496940"/>
              <a:gd name="connsiteX72" fmla="*/ 1221127 w 4519987"/>
              <a:gd name="connsiteY72" fmla="*/ 4200525 h 4496940"/>
              <a:gd name="connsiteX73" fmla="*/ 1144927 w 4519987"/>
              <a:gd name="connsiteY73" fmla="*/ 4171950 h 4496940"/>
              <a:gd name="connsiteX74" fmla="*/ 1087777 w 4519987"/>
              <a:gd name="connsiteY74" fmla="*/ 4143375 h 4496940"/>
              <a:gd name="connsiteX75" fmla="*/ 1030627 w 4519987"/>
              <a:gd name="connsiteY75" fmla="*/ 4124325 h 4496940"/>
              <a:gd name="connsiteX76" fmla="*/ 925852 w 4519987"/>
              <a:gd name="connsiteY76" fmla="*/ 4067175 h 4496940"/>
              <a:gd name="connsiteX77" fmla="*/ 830602 w 4519987"/>
              <a:gd name="connsiteY77" fmla="*/ 3981450 h 4496940"/>
              <a:gd name="connsiteX78" fmla="*/ 763927 w 4519987"/>
              <a:gd name="connsiteY78" fmla="*/ 3914775 h 4496940"/>
              <a:gd name="connsiteX79" fmla="*/ 725827 w 4519987"/>
              <a:gd name="connsiteY79" fmla="*/ 3876675 h 4496940"/>
              <a:gd name="connsiteX80" fmla="*/ 697252 w 4519987"/>
              <a:gd name="connsiteY80" fmla="*/ 3838575 h 4496940"/>
              <a:gd name="connsiteX81" fmla="*/ 640102 w 4519987"/>
              <a:gd name="connsiteY81" fmla="*/ 3781425 h 4496940"/>
              <a:gd name="connsiteX82" fmla="*/ 611527 w 4519987"/>
              <a:gd name="connsiteY82" fmla="*/ 3733800 h 4496940"/>
              <a:gd name="connsiteX83" fmla="*/ 554377 w 4519987"/>
              <a:gd name="connsiteY83" fmla="*/ 3657600 h 4496940"/>
              <a:gd name="connsiteX84" fmla="*/ 525802 w 4519987"/>
              <a:gd name="connsiteY84" fmla="*/ 3609975 h 4496940"/>
              <a:gd name="connsiteX85" fmla="*/ 497227 w 4519987"/>
              <a:gd name="connsiteY85" fmla="*/ 3552825 h 4496940"/>
              <a:gd name="connsiteX86" fmla="*/ 440077 w 4519987"/>
              <a:gd name="connsiteY86" fmla="*/ 3495675 h 4496940"/>
              <a:gd name="connsiteX87" fmla="*/ 411502 w 4519987"/>
              <a:gd name="connsiteY87" fmla="*/ 3448050 h 4496940"/>
              <a:gd name="connsiteX88" fmla="*/ 278152 w 4519987"/>
              <a:gd name="connsiteY88" fmla="*/ 3257550 h 4496940"/>
              <a:gd name="connsiteX89" fmla="*/ 249577 w 4519987"/>
              <a:gd name="connsiteY89" fmla="*/ 3200400 h 4496940"/>
              <a:gd name="connsiteX90" fmla="*/ 240052 w 4519987"/>
              <a:gd name="connsiteY90" fmla="*/ 3162300 h 4496940"/>
              <a:gd name="connsiteX91" fmla="*/ 221002 w 4519987"/>
              <a:gd name="connsiteY91" fmla="*/ 3105150 h 4496940"/>
              <a:gd name="connsiteX92" fmla="*/ 173377 w 4519987"/>
              <a:gd name="connsiteY92" fmla="*/ 3019425 h 4496940"/>
              <a:gd name="connsiteX93" fmla="*/ 144802 w 4519987"/>
              <a:gd name="connsiteY93" fmla="*/ 2924175 h 4496940"/>
              <a:gd name="connsiteX94" fmla="*/ 68602 w 4519987"/>
              <a:gd name="connsiteY94" fmla="*/ 2724150 h 4496940"/>
              <a:gd name="connsiteX95" fmla="*/ 49552 w 4519987"/>
              <a:gd name="connsiteY95" fmla="*/ 2638425 h 4496940"/>
              <a:gd name="connsiteX96" fmla="*/ 40027 w 4519987"/>
              <a:gd name="connsiteY96" fmla="*/ 2562225 h 4496940"/>
              <a:gd name="connsiteX97" fmla="*/ 30502 w 4519987"/>
              <a:gd name="connsiteY97" fmla="*/ 2514600 h 4496940"/>
              <a:gd name="connsiteX98" fmla="*/ 11452 w 4519987"/>
              <a:gd name="connsiteY98" fmla="*/ 2400300 h 4496940"/>
              <a:gd name="connsiteX99" fmla="*/ 20977 w 4519987"/>
              <a:gd name="connsiteY99" fmla="*/ 1905000 h 4496940"/>
              <a:gd name="connsiteX100" fmla="*/ 30502 w 4519987"/>
              <a:gd name="connsiteY100" fmla="*/ 1838325 h 4496940"/>
              <a:gd name="connsiteX101" fmla="*/ 49552 w 4519987"/>
              <a:gd name="connsiteY101" fmla="*/ 1781175 h 4496940"/>
              <a:gd name="connsiteX102" fmla="*/ 59077 w 4519987"/>
              <a:gd name="connsiteY102" fmla="*/ 1743075 h 4496940"/>
              <a:gd name="connsiteX103" fmla="*/ 78127 w 4519987"/>
              <a:gd name="connsiteY103" fmla="*/ 1685925 h 4496940"/>
              <a:gd name="connsiteX104" fmla="*/ 87652 w 4519987"/>
              <a:gd name="connsiteY104" fmla="*/ 1638300 h 4496940"/>
              <a:gd name="connsiteX105" fmla="*/ 106702 w 4519987"/>
              <a:gd name="connsiteY105" fmla="*/ 1590675 h 4496940"/>
              <a:gd name="connsiteX106" fmla="*/ 135277 w 4519987"/>
              <a:gd name="connsiteY106" fmla="*/ 1504950 h 4496940"/>
              <a:gd name="connsiteX107" fmla="*/ 154327 w 4519987"/>
              <a:gd name="connsiteY107" fmla="*/ 1419225 h 4496940"/>
              <a:gd name="connsiteX108" fmla="*/ 230527 w 4519987"/>
              <a:gd name="connsiteY108" fmla="*/ 1276350 h 4496940"/>
              <a:gd name="connsiteX109" fmla="*/ 240052 w 4519987"/>
              <a:gd name="connsiteY109" fmla="*/ 1247775 h 4496940"/>
              <a:gd name="connsiteX110" fmla="*/ 268627 w 4519987"/>
              <a:gd name="connsiteY110" fmla="*/ 1200150 h 4496940"/>
              <a:gd name="connsiteX111" fmla="*/ 287677 w 4519987"/>
              <a:gd name="connsiteY111" fmla="*/ 1152525 h 4496940"/>
              <a:gd name="connsiteX112" fmla="*/ 316252 w 4519987"/>
              <a:gd name="connsiteY112" fmla="*/ 1114425 h 4496940"/>
              <a:gd name="connsiteX113" fmla="*/ 363877 w 4519987"/>
              <a:gd name="connsiteY113" fmla="*/ 1038225 h 4496940"/>
              <a:gd name="connsiteX114" fmla="*/ 382927 w 4519987"/>
              <a:gd name="connsiteY114" fmla="*/ 1009650 h 4496940"/>
              <a:gd name="connsiteX115" fmla="*/ 440077 w 4519987"/>
              <a:gd name="connsiteY115" fmla="*/ 904875 h 4496940"/>
              <a:gd name="connsiteX116" fmla="*/ 478177 w 4519987"/>
              <a:gd name="connsiteY116" fmla="*/ 857250 h 4496940"/>
              <a:gd name="connsiteX117" fmla="*/ 497227 w 4519987"/>
              <a:gd name="connsiteY117" fmla="*/ 828675 h 4496940"/>
              <a:gd name="connsiteX118" fmla="*/ 535327 w 4519987"/>
              <a:gd name="connsiteY118" fmla="*/ 800100 h 4496940"/>
              <a:gd name="connsiteX119" fmla="*/ 602002 w 4519987"/>
              <a:gd name="connsiteY119" fmla="*/ 733425 h 4496940"/>
              <a:gd name="connsiteX120" fmla="*/ 668677 w 4519987"/>
              <a:gd name="connsiteY120" fmla="*/ 676275 h 4496940"/>
              <a:gd name="connsiteX121" fmla="*/ 697252 w 4519987"/>
              <a:gd name="connsiteY121" fmla="*/ 657225 h 4496940"/>
              <a:gd name="connsiteX122" fmla="*/ 840127 w 4519987"/>
              <a:gd name="connsiteY122" fmla="*/ 533400 h 4496940"/>
              <a:gd name="connsiteX123" fmla="*/ 887752 w 4519987"/>
              <a:gd name="connsiteY123" fmla="*/ 504825 h 4496940"/>
              <a:gd name="connsiteX124" fmla="*/ 1167152 w 4519987"/>
              <a:gd name="connsiteY124" fmla="*/ 311150 h 4496940"/>
              <a:gd name="connsiteX125" fmla="*/ 1268752 w 4519987"/>
              <a:gd name="connsiteY125" fmla="*/ 285750 h 4496940"/>
              <a:gd name="connsiteX126" fmla="*/ 1411627 w 4519987"/>
              <a:gd name="connsiteY126" fmla="*/ 190500 h 4496940"/>
              <a:gd name="connsiteX127" fmla="*/ 1449727 w 4519987"/>
              <a:gd name="connsiteY127" fmla="*/ 161925 h 4496940"/>
              <a:gd name="connsiteX128" fmla="*/ 1525927 w 4519987"/>
              <a:gd name="connsiteY128" fmla="*/ 152400 h 4496940"/>
              <a:gd name="connsiteX129" fmla="*/ 1583077 w 4519987"/>
              <a:gd name="connsiteY129" fmla="*/ 142875 h 4496940"/>
              <a:gd name="connsiteX130" fmla="*/ 1716427 w 4519987"/>
              <a:gd name="connsiteY130" fmla="*/ 123825 h 4496940"/>
              <a:gd name="connsiteX131" fmla="*/ 1811677 w 4519987"/>
              <a:gd name="connsiteY131" fmla="*/ 114300 h 4496940"/>
              <a:gd name="connsiteX132" fmla="*/ 1859302 w 4519987"/>
              <a:gd name="connsiteY132" fmla="*/ 104775 h 4496940"/>
              <a:gd name="connsiteX133" fmla="*/ 1916452 w 4519987"/>
              <a:gd name="connsiteY133" fmla="*/ 95250 h 4496940"/>
              <a:gd name="connsiteX134" fmla="*/ 2030752 w 4519987"/>
              <a:gd name="connsiteY134" fmla="*/ 66675 h 4496940"/>
              <a:gd name="connsiteX135" fmla="*/ 2097427 w 4519987"/>
              <a:gd name="connsiteY135" fmla="*/ 47625 h 4496940"/>
              <a:gd name="connsiteX136" fmla="*/ 2164102 w 4519987"/>
              <a:gd name="connsiteY136" fmla="*/ 38100 h 4496940"/>
              <a:gd name="connsiteX137" fmla="*/ 2392702 w 4519987"/>
              <a:gd name="connsiteY13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783352 w 4519987"/>
              <a:gd name="connsiteY40" fmla="*/ 3810000 h 4496940"/>
              <a:gd name="connsiteX41" fmla="*/ 3745252 w 4519987"/>
              <a:gd name="connsiteY41" fmla="*/ 3819525 h 4496940"/>
              <a:gd name="connsiteX42" fmla="*/ 3678577 w 4519987"/>
              <a:gd name="connsiteY42" fmla="*/ 3848100 h 4496940"/>
              <a:gd name="connsiteX43" fmla="*/ 3659527 w 4519987"/>
              <a:gd name="connsiteY43" fmla="*/ 3971925 h 4496940"/>
              <a:gd name="connsiteX44" fmla="*/ 3630952 w 4519987"/>
              <a:gd name="connsiteY44" fmla="*/ 4010025 h 4496940"/>
              <a:gd name="connsiteX45" fmla="*/ 3621427 w 4519987"/>
              <a:gd name="connsiteY45" fmla="*/ 4038600 h 4496940"/>
              <a:gd name="connsiteX46" fmla="*/ 3554752 w 4519987"/>
              <a:gd name="connsiteY46" fmla="*/ 4095750 h 4496940"/>
              <a:gd name="connsiteX47" fmla="*/ 3516652 w 4519987"/>
              <a:gd name="connsiteY47" fmla="*/ 4114800 h 4496940"/>
              <a:gd name="connsiteX48" fmla="*/ 3497602 w 4519987"/>
              <a:gd name="connsiteY48" fmla="*/ 4143375 h 4496940"/>
              <a:gd name="connsiteX49" fmla="*/ 3383302 w 4519987"/>
              <a:gd name="connsiteY49" fmla="*/ 4210050 h 4496940"/>
              <a:gd name="connsiteX50" fmla="*/ 3335677 w 4519987"/>
              <a:gd name="connsiteY50" fmla="*/ 4238625 h 4496940"/>
              <a:gd name="connsiteX51" fmla="*/ 3288052 w 4519987"/>
              <a:gd name="connsiteY51" fmla="*/ 4248150 h 4496940"/>
              <a:gd name="connsiteX52" fmla="*/ 3240427 w 4519987"/>
              <a:gd name="connsiteY52" fmla="*/ 4267200 h 4496940"/>
              <a:gd name="connsiteX53" fmla="*/ 3068977 w 4519987"/>
              <a:gd name="connsiteY53" fmla="*/ 4286250 h 4496940"/>
              <a:gd name="connsiteX54" fmla="*/ 2935627 w 4519987"/>
              <a:gd name="connsiteY54" fmla="*/ 4333875 h 4496940"/>
              <a:gd name="connsiteX55" fmla="*/ 2811802 w 4519987"/>
              <a:gd name="connsiteY55" fmla="*/ 4371975 h 4496940"/>
              <a:gd name="connsiteX56" fmla="*/ 2745127 w 4519987"/>
              <a:gd name="connsiteY56" fmla="*/ 4410075 h 4496940"/>
              <a:gd name="connsiteX57" fmla="*/ 2697502 w 4519987"/>
              <a:gd name="connsiteY57" fmla="*/ 4429125 h 4496940"/>
              <a:gd name="connsiteX58" fmla="*/ 2640352 w 4519987"/>
              <a:gd name="connsiteY58" fmla="*/ 4457700 h 4496940"/>
              <a:gd name="connsiteX59" fmla="*/ 2583202 w 4519987"/>
              <a:gd name="connsiteY59" fmla="*/ 4467225 h 4496940"/>
              <a:gd name="connsiteX60" fmla="*/ 2545102 w 4519987"/>
              <a:gd name="connsiteY60" fmla="*/ 4486275 h 4496940"/>
              <a:gd name="connsiteX61" fmla="*/ 2306977 w 4519987"/>
              <a:gd name="connsiteY61" fmla="*/ 4476750 h 4496940"/>
              <a:gd name="connsiteX62" fmla="*/ 2202202 w 4519987"/>
              <a:gd name="connsiteY62" fmla="*/ 4457700 h 4496940"/>
              <a:gd name="connsiteX63" fmla="*/ 2126002 w 4519987"/>
              <a:gd name="connsiteY63" fmla="*/ 4429125 h 4496940"/>
              <a:gd name="connsiteX64" fmla="*/ 1935502 w 4519987"/>
              <a:gd name="connsiteY64" fmla="*/ 4400550 h 4496940"/>
              <a:gd name="connsiteX65" fmla="*/ 1821202 w 4519987"/>
              <a:gd name="connsiteY65" fmla="*/ 4371975 h 4496940"/>
              <a:gd name="connsiteX66" fmla="*/ 1754527 w 4519987"/>
              <a:gd name="connsiteY66" fmla="*/ 4352925 h 4496940"/>
              <a:gd name="connsiteX67" fmla="*/ 1687852 w 4519987"/>
              <a:gd name="connsiteY67" fmla="*/ 4343400 h 4496940"/>
              <a:gd name="connsiteX68" fmla="*/ 1573552 w 4519987"/>
              <a:gd name="connsiteY68" fmla="*/ 4305300 h 4496940"/>
              <a:gd name="connsiteX69" fmla="*/ 1402102 w 4519987"/>
              <a:gd name="connsiteY69" fmla="*/ 4276725 h 4496940"/>
              <a:gd name="connsiteX70" fmla="*/ 1287802 w 4519987"/>
              <a:gd name="connsiteY70" fmla="*/ 4229100 h 4496940"/>
              <a:gd name="connsiteX71" fmla="*/ 1221127 w 4519987"/>
              <a:gd name="connsiteY71" fmla="*/ 4200525 h 4496940"/>
              <a:gd name="connsiteX72" fmla="*/ 1144927 w 4519987"/>
              <a:gd name="connsiteY72" fmla="*/ 4171950 h 4496940"/>
              <a:gd name="connsiteX73" fmla="*/ 1087777 w 4519987"/>
              <a:gd name="connsiteY73" fmla="*/ 4143375 h 4496940"/>
              <a:gd name="connsiteX74" fmla="*/ 1030627 w 4519987"/>
              <a:gd name="connsiteY74" fmla="*/ 4124325 h 4496940"/>
              <a:gd name="connsiteX75" fmla="*/ 925852 w 4519987"/>
              <a:gd name="connsiteY75" fmla="*/ 4067175 h 4496940"/>
              <a:gd name="connsiteX76" fmla="*/ 830602 w 4519987"/>
              <a:gd name="connsiteY76" fmla="*/ 3981450 h 4496940"/>
              <a:gd name="connsiteX77" fmla="*/ 763927 w 4519987"/>
              <a:gd name="connsiteY77" fmla="*/ 3914775 h 4496940"/>
              <a:gd name="connsiteX78" fmla="*/ 725827 w 4519987"/>
              <a:gd name="connsiteY78" fmla="*/ 3876675 h 4496940"/>
              <a:gd name="connsiteX79" fmla="*/ 697252 w 4519987"/>
              <a:gd name="connsiteY79" fmla="*/ 3838575 h 4496940"/>
              <a:gd name="connsiteX80" fmla="*/ 640102 w 4519987"/>
              <a:gd name="connsiteY80" fmla="*/ 3781425 h 4496940"/>
              <a:gd name="connsiteX81" fmla="*/ 611527 w 4519987"/>
              <a:gd name="connsiteY81" fmla="*/ 3733800 h 4496940"/>
              <a:gd name="connsiteX82" fmla="*/ 554377 w 4519987"/>
              <a:gd name="connsiteY82" fmla="*/ 3657600 h 4496940"/>
              <a:gd name="connsiteX83" fmla="*/ 525802 w 4519987"/>
              <a:gd name="connsiteY83" fmla="*/ 3609975 h 4496940"/>
              <a:gd name="connsiteX84" fmla="*/ 497227 w 4519987"/>
              <a:gd name="connsiteY84" fmla="*/ 3552825 h 4496940"/>
              <a:gd name="connsiteX85" fmla="*/ 440077 w 4519987"/>
              <a:gd name="connsiteY85" fmla="*/ 3495675 h 4496940"/>
              <a:gd name="connsiteX86" fmla="*/ 411502 w 4519987"/>
              <a:gd name="connsiteY86" fmla="*/ 3448050 h 4496940"/>
              <a:gd name="connsiteX87" fmla="*/ 278152 w 4519987"/>
              <a:gd name="connsiteY87" fmla="*/ 3257550 h 4496940"/>
              <a:gd name="connsiteX88" fmla="*/ 249577 w 4519987"/>
              <a:gd name="connsiteY88" fmla="*/ 3200400 h 4496940"/>
              <a:gd name="connsiteX89" fmla="*/ 240052 w 4519987"/>
              <a:gd name="connsiteY89" fmla="*/ 3162300 h 4496940"/>
              <a:gd name="connsiteX90" fmla="*/ 221002 w 4519987"/>
              <a:gd name="connsiteY90" fmla="*/ 3105150 h 4496940"/>
              <a:gd name="connsiteX91" fmla="*/ 173377 w 4519987"/>
              <a:gd name="connsiteY91" fmla="*/ 3019425 h 4496940"/>
              <a:gd name="connsiteX92" fmla="*/ 144802 w 4519987"/>
              <a:gd name="connsiteY92" fmla="*/ 2924175 h 4496940"/>
              <a:gd name="connsiteX93" fmla="*/ 68602 w 4519987"/>
              <a:gd name="connsiteY93" fmla="*/ 2724150 h 4496940"/>
              <a:gd name="connsiteX94" fmla="*/ 49552 w 4519987"/>
              <a:gd name="connsiteY94" fmla="*/ 2638425 h 4496940"/>
              <a:gd name="connsiteX95" fmla="*/ 40027 w 4519987"/>
              <a:gd name="connsiteY95" fmla="*/ 2562225 h 4496940"/>
              <a:gd name="connsiteX96" fmla="*/ 30502 w 4519987"/>
              <a:gd name="connsiteY96" fmla="*/ 2514600 h 4496940"/>
              <a:gd name="connsiteX97" fmla="*/ 11452 w 4519987"/>
              <a:gd name="connsiteY97" fmla="*/ 2400300 h 4496940"/>
              <a:gd name="connsiteX98" fmla="*/ 20977 w 4519987"/>
              <a:gd name="connsiteY98" fmla="*/ 1905000 h 4496940"/>
              <a:gd name="connsiteX99" fmla="*/ 30502 w 4519987"/>
              <a:gd name="connsiteY99" fmla="*/ 1838325 h 4496940"/>
              <a:gd name="connsiteX100" fmla="*/ 49552 w 4519987"/>
              <a:gd name="connsiteY100" fmla="*/ 1781175 h 4496940"/>
              <a:gd name="connsiteX101" fmla="*/ 59077 w 4519987"/>
              <a:gd name="connsiteY101" fmla="*/ 1743075 h 4496940"/>
              <a:gd name="connsiteX102" fmla="*/ 78127 w 4519987"/>
              <a:gd name="connsiteY102" fmla="*/ 1685925 h 4496940"/>
              <a:gd name="connsiteX103" fmla="*/ 87652 w 4519987"/>
              <a:gd name="connsiteY103" fmla="*/ 1638300 h 4496940"/>
              <a:gd name="connsiteX104" fmla="*/ 106702 w 4519987"/>
              <a:gd name="connsiteY104" fmla="*/ 1590675 h 4496940"/>
              <a:gd name="connsiteX105" fmla="*/ 135277 w 4519987"/>
              <a:gd name="connsiteY105" fmla="*/ 1504950 h 4496940"/>
              <a:gd name="connsiteX106" fmla="*/ 154327 w 4519987"/>
              <a:gd name="connsiteY106" fmla="*/ 1419225 h 4496940"/>
              <a:gd name="connsiteX107" fmla="*/ 230527 w 4519987"/>
              <a:gd name="connsiteY107" fmla="*/ 1276350 h 4496940"/>
              <a:gd name="connsiteX108" fmla="*/ 240052 w 4519987"/>
              <a:gd name="connsiteY108" fmla="*/ 1247775 h 4496940"/>
              <a:gd name="connsiteX109" fmla="*/ 268627 w 4519987"/>
              <a:gd name="connsiteY109" fmla="*/ 1200150 h 4496940"/>
              <a:gd name="connsiteX110" fmla="*/ 287677 w 4519987"/>
              <a:gd name="connsiteY110" fmla="*/ 1152525 h 4496940"/>
              <a:gd name="connsiteX111" fmla="*/ 316252 w 4519987"/>
              <a:gd name="connsiteY111" fmla="*/ 1114425 h 4496940"/>
              <a:gd name="connsiteX112" fmla="*/ 363877 w 4519987"/>
              <a:gd name="connsiteY112" fmla="*/ 1038225 h 4496940"/>
              <a:gd name="connsiteX113" fmla="*/ 382927 w 4519987"/>
              <a:gd name="connsiteY113" fmla="*/ 1009650 h 4496940"/>
              <a:gd name="connsiteX114" fmla="*/ 440077 w 4519987"/>
              <a:gd name="connsiteY114" fmla="*/ 904875 h 4496940"/>
              <a:gd name="connsiteX115" fmla="*/ 478177 w 4519987"/>
              <a:gd name="connsiteY115" fmla="*/ 857250 h 4496940"/>
              <a:gd name="connsiteX116" fmla="*/ 497227 w 4519987"/>
              <a:gd name="connsiteY116" fmla="*/ 828675 h 4496940"/>
              <a:gd name="connsiteX117" fmla="*/ 535327 w 4519987"/>
              <a:gd name="connsiteY117" fmla="*/ 800100 h 4496940"/>
              <a:gd name="connsiteX118" fmla="*/ 602002 w 4519987"/>
              <a:gd name="connsiteY118" fmla="*/ 733425 h 4496940"/>
              <a:gd name="connsiteX119" fmla="*/ 668677 w 4519987"/>
              <a:gd name="connsiteY119" fmla="*/ 676275 h 4496940"/>
              <a:gd name="connsiteX120" fmla="*/ 697252 w 4519987"/>
              <a:gd name="connsiteY120" fmla="*/ 657225 h 4496940"/>
              <a:gd name="connsiteX121" fmla="*/ 840127 w 4519987"/>
              <a:gd name="connsiteY121" fmla="*/ 533400 h 4496940"/>
              <a:gd name="connsiteX122" fmla="*/ 887752 w 4519987"/>
              <a:gd name="connsiteY122" fmla="*/ 504825 h 4496940"/>
              <a:gd name="connsiteX123" fmla="*/ 1167152 w 4519987"/>
              <a:gd name="connsiteY123" fmla="*/ 311150 h 4496940"/>
              <a:gd name="connsiteX124" fmla="*/ 1268752 w 4519987"/>
              <a:gd name="connsiteY124" fmla="*/ 285750 h 4496940"/>
              <a:gd name="connsiteX125" fmla="*/ 1411627 w 4519987"/>
              <a:gd name="connsiteY125" fmla="*/ 190500 h 4496940"/>
              <a:gd name="connsiteX126" fmla="*/ 1449727 w 4519987"/>
              <a:gd name="connsiteY126" fmla="*/ 161925 h 4496940"/>
              <a:gd name="connsiteX127" fmla="*/ 1525927 w 4519987"/>
              <a:gd name="connsiteY127" fmla="*/ 152400 h 4496940"/>
              <a:gd name="connsiteX128" fmla="*/ 1583077 w 4519987"/>
              <a:gd name="connsiteY128" fmla="*/ 142875 h 4496940"/>
              <a:gd name="connsiteX129" fmla="*/ 1716427 w 4519987"/>
              <a:gd name="connsiteY129" fmla="*/ 123825 h 4496940"/>
              <a:gd name="connsiteX130" fmla="*/ 1811677 w 4519987"/>
              <a:gd name="connsiteY130" fmla="*/ 114300 h 4496940"/>
              <a:gd name="connsiteX131" fmla="*/ 1859302 w 4519987"/>
              <a:gd name="connsiteY131" fmla="*/ 104775 h 4496940"/>
              <a:gd name="connsiteX132" fmla="*/ 1916452 w 4519987"/>
              <a:gd name="connsiteY132" fmla="*/ 95250 h 4496940"/>
              <a:gd name="connsiteX133" fmla="*/ 2030752 w 4519987"/>
              <a:gd name="connsiteY133" fmla="*/ 66675 h 4496940"/>
              <a:gd name="connsiteX134" fmla="*/ 2097427 w 4519987"/>
              <a:gd name="connsiteY134" fmla="*/ 47625 h 4496940"/>
              <a:gd name="connsiteX135" fmla="*/ 2164102 w 4519987"/>
              <a:gd name="connsiteY135" fmla="*/ 38100 h 4496940"/>
              <a:gd name="connsiteX136" fmla="*/ 2392702 w 4519987"/>
              <a:gd name="connsiteY13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783352 w 4519987"/>
              <a:gd name="connsiteY40" fmla="*/ 3810000 h 4496940"/>
              <a:gd name="connsiteX41" fmla="*/ 3678577 w 4519987"/>
              <a:gd name="connsiteY41" fmla="*/ 3848100 h 4496940"/>
              <a:gd name="connsiteX42" fmla="*/ 3659527 w 4519987"/>
              <a:gd name="connsiteY42" fmla="*/ 3971925 h 4496940"/>
              <a:gd name="connsiteX43" fmla="*/ 3630952 w 4519987"/>
              <a:gd name="connsiteY43" fmla="*/ 4010025 h 4496940"/>
              <a:gd name="connsiteX44" fmla="*/ 3621427 w 4519987"/>
              <a:gd name="connsiteY44" fmla="*/ 4038600 h 4496940"/>
              <a:gd name="connsiteX45" fmla="*/ 3554752 w 4519987"/>
              <a:gd name="connsiteY45" fmla="*/ 4095750 h 4496940"/>
              <a:gd name="connsiteX46" fmla="*/ 3516652 w 4519987"/>
              <a:gd name="connsiteY46" fmla="*/ 4114800 h 4496940"/>
              <a:gd name="connsiteX47" fmla="*/ 3497602 w 4519987"/>
              <a:gd name="connsiteY47" fmla="*/ 4143375 h 4496940"/>
              <a:gd name="connsiteX48" fmla="*/ 3383302 w 4519987"/>
              <a:gd name="connsiteY48" fmla="*/ 4210050 h 4496940"/>
              <a:gd name="connsiteX49" fmla="*/ 3335677 w 4519987"/>
              <a:gd name="connsiteY49" fmla="*/ 4238625 h 4496940"/>
              <a:gd name="connsiteX50" fmla="*/ 3288052 w 4519987"/>
              <a:gd name="connsiteY50" fmla="*/ 4248150 h 4496940"/>
              <a:gd name="connsiteX51" fmla="*/ 3240427 w 4519987"/>
              <a:gd name="connsiteY51" fmla="*/ 4267200 h 4496940"/>
              <a:gd name="connsiteX52" fmla="*/ 3068977 w 4519987"/>
              <a:gd name="connsiteY52" fmla="*/ 4286250 h 4496940"/>
              <a:gd name="connsiteX53" fmla="*/ 2935627 w 4519987"/>
              <a:gd name="connsiteY53" fmla="*/ 4333875 h 4496940"/>
              <a:gd name="connsiteX54" fmla="*/ 2811802 w 4519987"/>
              <a:gd name="connsiteY54" fmla="*/ 4371975 h 4496940"/>
              <a:gd name="connsiteX55" fmla="*/ 2745127 w 4519987"/>
              <a:gd name="connsiteY55" fmla="*/ 4410075 h 4496940"/>
              <a:gd name="connsiteX56" fmla="*/ 2697502 w 4519987"/>
              <a:gd name="connsiteY56" fmla="*/ 4429125 h 4496940"/>
              <a:gd name="connsiteX57" fmla="*/ 2640352 w 4519987"/>
              <a:gd name="connsiteY57" fmla="*/ 4457700 h 4496940"/>
              <a:gd name="connsiteX58" fmla="*/ 2583202 w 4519987"/>
              <a:gd name="connsiteY58" fmla="*/ 4467225 h 4496940"/>
              <a:gd name="connsiteX59" fmla="*/ 2545102 w 4519987"/>
              <a:gd name="connsiteY59" fmla="*/ 4486275 h 4496940"/>
              <a:gd name="connsiteX60" fmla="*/ 2306977 w 4519987"/>
              <a:gd name="connsiteY60" fmla="*/ 4476750 h 4496940"/>
              <a:gd name="connsiteX61" fmla="*/ 2202202 w 4519987"/>
              <a:gd name="connsiteY61" fmla="*/ 4457700 h 4496940"/>
              <a:gd name="connsiteX62" fmla="*/ 2126002 w 4519987"/>
              <a:gd name="connsiteY62" fmla="*/ 4429125 h 4496940"/>
              <a:gd name="connsiteX63" fmla="*/ 1935502 w 4519987"/>
              <a:gd name="connsiteY63" fmla="*/ 4400550 h 4496940"/>
              <a:gd name="connsiteX64" fmla="*/ 1821202 w 4519987"/>
              <a:gd name="connsiteY64" fmla="*/ 4371975 h 4496940"/>
              <a:gd name="connsiteX65" fmla="*/ 1754527 w 4519987"/>
              <a:gd name="connsiteY65" fmla="*/ 4352925 h 4496940"/>
              <a:gd name="connsiteX66" fmla="*/ 1687852 w 4519987"/>
              <a:gd name="connsiteY66" fmla="*/ 4343400 h 4496940"/>
              <a:gd name="connsiteX67" fmla="*/ 1573552 w 4519987"/>
              <a:gd name="connsiteY67" fmla="*/ 4305300 h 4496940"/>
              <a:gd name="connsiteX68" fmla="*/ 1402102 w 4519987"/>
              <a:gd name="connsiteY68" fmla="*/ 4276725 h 4496940"/>
              <a:gd name="connsiteX69" fmla="*/ 1287802 w 4519987"/>
              <a:gd name="connsiteY69" fmla="*/ 4229100 h 4496940"/>
              <a:gd name="connsiteX70" fmla="*/ 1221127 w 4519987"/>
              <a:gd name="connsiteY70" fmla="*/ 4200525 h 4496940"/>
              <a:gd name="connsiteX71" fmla="*/ 1144927 w 4519987"/>
              <a:gd name="connsiteY71" fmla="*/ 4171950 h 4496940"/>
              <a:gd name="connsiteX72" fmla="*/ 1087777 w 4519987"/>
              <a:gd name="connsiteY72" fmla="*/ 4143375 h 4496940"/>
              <a:gd name="connsiteX73" fmla="*/ 1030627 w 4519987"/>
              <a:gd name="connsiteY73" fmla="*/ 4124325 h 4496940"/>
              <a:gd name="connsiteX74" fmla="*/ 925852 w 4519987"/>
              <a:gd name="connsiteY74" fmla="*/ 4067175 h 4496940"/>
              <a:gd name="connsiteX75" fmla="*/ 830602 w 4519987"/>
              <a:gd name="connsiteY75" fmla="*/ 3981450 h 4496940"/>
              <a:gd name="connsiteX76" fmla="*/ 763927 w 4519987"/>
              <a:gd name="connsiteY76" fmla="*/ 3914775 h 4496940"/>
              <a:gd name="connsiteX77" fmla="*/ 725827 w 4519987"/>
              <a:gd name="connsiteY77" fmla="*/ 3876675 h 4496940"/>
              <a:gd name="connsiteX78" fmla="*/ 697252 w 4519987"/>
              <a:gd name="connsiteY78" fmla="*/ 3838575 h 4496940"/>
              <a:gd name="connsiteX79" fmla="*/ 640102 w 4519987"/>
              <a:gd name="connsiteY79" fmla="*/ 3781425 h 4496940"/>
              <a:gd name="connsiteX80" fmla="*/ 611527 w 4519987"/>
              <a:gd name="connsiteY80" fmla="*/ 3733800 h 4496940"/>
              <a:gd name="connsiteX81" fmla="*/ 554377 w 4519987"/>
              <a:gd name="connsiteY81" fmla="*/ 3657600 h 4496940"/>
              <a:gd name="connsiteX82" fmla="*/ 525802 w 4519987"/>
              <a:gd name="connsiteY82" fmla="*/ 3609975 h 4496940"/>
              <a:gd name="connsiteX83" fmla="*/ 497227 w 4519987"/>
              <a:gd name="connsiteY83" fmla="*/ 3552825 h 4496940"/>
              <a:gd name="connsiteX84" fmla="*/ 440077 w 4519987"/>
              <a:gd name="connsiteY84" fmla="*/ 3495675 h 4496940"/>
              <a:gd name="connsiteX85" fmla="*/ 411502 w 4519987"/>
              <a:gd name="connsiteY85" fmla="*/ 3448050 h 4496940"/>
              <a:gd name="connsiteX86" fmla="*/ 278152 w 4519987"/>
              <a:gd name="connsiteY86" fmla="*/ 3257550 h 4496940"/>
              <a:gd name="connsiteX87" fmla="*/ 249577 w 4519987"/>
              <a:gd name="connsiteY87" fmla="*/ 3200400 h 4496940"/>
              <a:gd name="connsiteX88" fmla="*/ 240052 w 4519987"/>
              <a:gd name="connsiteY88" fmla="*/ 3162300 h 4496940"/>
              <a:gd name="connsiteX89" fmla="*/ 221002 w 4519987"/>
              <a:gd name="connsiteY89" fmla="*/ 3105150 h 4496940"/>
              <a:gd name="connsiteX90" fmla="*/ 173377 w 4519987"/>
              <a:gd name="connsiteY90" fmla="*/ 3019425 h 4496940"/>
              <a:gd name="connsiteX91" fmla="*/ 144802 w 4519987"/>
              <a:gd name="connsiteY91" fmla="*/ 2924175 h 4496940"/>
              <a:gd name="connsiteX92" fmla="*/ 68602 w 4519987"/>
              <a:gd name="connsiteY92" fmla="*/ 2724150 h 4496940"/>
              <a:gd name="connsiteX93" fmla="*/ 49552 w 4519987"/>
              <a:gd name="connsiteY93" fmla="*/ 2638425 h 4496940"/>
              <a:gd name="connsiteX94" fmla="*/ 40027 w 4519987"/>
              <a:gd name="connsiteY94" fmla="*/ 2562225 h 4496940"/>
              <a:gd name="connsiteX95" fmla="*/ 30502 w 4519987"/>
              <a:gd name="connsiteY95" fmla="*/ 2514600 h 4496940"/>
              <a:gd name="connsiteX96" fmla="*/ 11452 w 4519987"/>
              <a:gd name="connsiteY96" fmla="*/ 2400300 h 4496940"/>
              <a:gd name="connsiteX97" fmla="*/ 20977 w 4519987"/>
              <a:gd name="connsiteY97" fmla="*/ 1905000 h 4496940"/>
              <a:gd name="connsiteX98" fmla="*/ 30502 w 4519987"/>
              <a:gd name="connsiteY98" fmla="*/ 1838325 h 4496940"/>
              <a:gd name="connsiteX99" fmla="*/ 49552 w 4519987"/>
              <a:gd name="connsiteY99" fmla="*/ 1781175 h 4496940"/>
              <a:gd name="connsiteX100" fmla="*/ 59077 w 4519987"/>
              <a:gd name="connsiteY100" fmla="*/ 1743075 h 4496940"/>
              <a:gd name="connsiteX101" fmla="*/ 78127 w 4519987"/>
              <a:gd name="connsiteY101" fmla="*/ 1685925 h 4496940"/>
              <a:gd name="connsiteX102" fmla="*/ 87652 w 4519987"/>
              <a:gd name="connsiteY102" fmla="*/ 1638300 h 4496940"/>
              <a:gd name="connsiteX103" fmla="*/ 106702 w 4519987"/>
              <a:gd name="connsiteY103" fmla="*/ 1590675 h 4496940"/>
              <a:gd name="connsiteX104" fmla="*/ 135277 w 4519987"/>
              <a:gd name="connsiteY104" fmla="*/ 1504950 h 4496940"/>
              <a:gd name="connsiteX105" fmla="*/ 154327 w 4519987"/>
              <a:gd name="connsiteY105" fmla="*/ 1419225 h 4496940"/>
              <a:gd name="connsiteX106" fmla="*/ 230527 w 4519987"/>
              <a:gd name="connsiteY106" fmla="*/ 1276350 h 4496940"/>
              <a:gd name="connsiteX107" fmla="*/ 240052 w 4519987"/>
              <a:gd name="connsiteY107" fmla="*/ 1247775 h 4496940"/>
              <a:gd name="connsiteX108" fmla="*/ 268627 w 4519987"/>
              <a:gd name="connsiteY108" fmla="*/ 1200150 h 4496940"/>
              <a:gd name="connsiteX109" fmla="*/ 287677 w 4519987"/>
              <a:gd name="connsiteY109" fmla="*/ 1152525 h 4496940"/>
              <a:gd name="connsiteX110" fmla="*/ 316252 w 4519987"/>
              <a:gd name="connsiteY110" fmla="*/ 1114425 h 4496940"/>
              <a:gd name="connsiteX111" fmla="*/ 363877 w 4519987"/>
              <a:gd name="connsiteY111" fmla="*/ 1038225 h 4496940"/>
              <a:gd name="connsiteX112" fmla="*/ 382927 w 4519987"/>
              <a:gd name="connsiteY112" fmla="*/ 1009650 h 4496940"/>
              <a:gd name="connsiteX113" fmla="*/ 440077 w 4519987"/>
              <a:gd name="connsiteY113" fmla="*/ 904875 h 4496940"/>
              <a:gd name="connsiteX114" fmla="*/ 478177 w 4519987"/>
              <a:gd name="connsiteY114" fmla="*/ 857250 h 4496940"/>
              <a:gd name="connsiteX115" fmla="*/ 497227 w 4519987"/>
              <a:gd name="connsiteY115" fmla="*/ 828675 h 4496940"/>
              <a:gd name="connsiteX116" fmla="*/ 535327 w 4519987"/>
              <a:gd name="connsiteY116" fmla="*/ 800100 h 4496940"/>
              <a:gd name="connsiteX117" fmla="*/ 602002 w 4519987"/>
              <a:gd name="connsiteY117" fmla="*/ 733425 h 4496940"/>
              <a:gd name="connsiteX118" fmla="*/ 668677 w 4519987"/>
              <a:gd name="connsiteY118" fmla="*/ 676275 h 4496940"/>
              <a:gd name="connsiteX119" fmla="*/ 697252 w 4519987"/>
              <a:gd name="connsiteY119" fmla="*/ 657225 h 4496940"/>
              <a:gd name="connsiteX120" fmla="*/ 840127 w 4519987"/>
              <a:gd name="connsiteY120" fmla="*/ 533400 h 4496940"/>
              <a:gd name="connsiteX121" fmla="*/ 887752 w 4519987"/>
              <a:gd name="connsiteY121" fmla="*/ 504825 h 4496940"/>
              <a:gd name="connsiteX122" fmla="*/ 1167152 w 4519987"/>
              <a:gd name="connsiteY122" fmla="*/ 311150 h 4496940"/>
              <a:gd name="connsiteX123" fmla="*/ 1268752 w 4519987"/>
              <a:gd name="connsiteY123" fmla="*/ 285750 h 4496940"/>
              <a:gd name="connsiteX124" fmla="*/ 1411627 w 4519987"/>
              <a:gd name="connsiteY124" fmla="*/ 190500 h 4496940"/>
              <a:gd name="connsiteX125" fmla="*/ 1449727 w 4519987"/>
              <a:gd name="connsiteY125" fmla="*/ 161925 h 4496940"/>
              <a:gd name="connsiteX126" fmla="*/ 1525927 w 4519987"/>
              <a:gd name="connsiteY126" fmla="*/ 152400 h 4496940"/>
              <a:gd name="connsiteX127" fmla="*/ 1583077 w 4519987"/>
              <a:gd name="connsiteY127" fmla="*/ 142875 h 4496940"/>
              <a:gd name="connsiteX128" fmla="*/ 1716427 w 4519987"/>
              <a:gd name="connsiteY128" fmla="*/ 123825 h 4496940"/>
              <a:gd name="connsiteX129" fmla="*/ 1811677 w 4519987"/>
              <a:gd name="connsiteY129" fmla="*/ 114300 h 4496940"/>
              <a:gd name="connsiteX130" fmla="*/ 1859302 w 4519987"/>
              <a:gd name="connsiteY130" fmla="*/ 104775 h 4496940"/>
              <a:gd name="connsiteX131" fmla="*/ 1916452 w 4519987"/>
              <a:gd name="connsiteY131" fmla="*/ 95250 h 4496940"/>
              <a:gd name="connsiteX132" fmla="*/ 2030752 w 4519987"/>
              <a:gd name="connsiteY132" fmla="*/ 66675 h 4496940"/>
              <a:gd name="connsiteX133" fmla="*/ 2097427 w 4519987"/>
              <a:gd name="connsiteY133" fmla="*/ 47625 h 4496940"/>
              <a:gd name="connsiteX134" fmla="*/ 2164102 w 4519987"/>
              <a:gd name="connsiteY134" fmla="*/ 38100 h 4496940"/>
              <a:gd name="connsiteX135" fmla="*/ 2392702 w 4519987"/>
              <a:gd name="connsiteY13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678577 w 4519987"/>
              <a:gd name="connsiteY40" fmla="*/ 3848100 h 4496940"/>
              <a:gd name="connsiteX41" fmla="*/ 3659527 w 4519987"/>
              <a:gd name="connsiteY41" fmla="*/ 3971925 h 4496940"/>
              <a:gd name="connsiteX42" fmla="*/ 3630952 w 4519987"/>
              <a:gd name="connsiteY42" fmla="*/ 4010025 h 4496940"/>
              <a:gd name="connsiteX43" fmla="*/ 3621427 w 4519987"/>
              <a:gd name="connsiteY43" fmla="*/ 4038600 h 4496940"/>
              <a:gd name="connsiteX44" fmla="*/ 3554752 w 4519987"/>
              <a:gd name="connsiteY44" fmla="*/ 4095750 h 4496940"/>
              <a:gd name="connsiteX45" fmla="*/ 3516652 w 4519987"/>
              <a:gd name="connsiteY45" fmla="*/ 4114800 h 4496940"/>
              <a:gd name="connsiteX46" fmla="*/ 3497602 w 4519987"/>
              <a:gd name="connsiteY46" fmla="*/ 4143375 h 4496940"/>
              <a:gd name="connsiteX47" fmla="*/ 3383302 w 4519987"/>
              <a:gd name="connsiteY47" fmla="*/ 4210050 h 4496940"/>
              <a:gd name="connsiteX48" fmla="*/ 3335677 w 4519987"/>
              <a:gd name="connsiteY48" fmla="*/ 4238625 h 4496940"/>
              <a:gd name="connsiteX49" fmla="*/ 3288052 w 4519987"/>
              <a:gd name="connsiteY49" fmla="*/ 4248150 h 4496940"/>
              <a:gd name="connsiteX50" fmla="*/ 3240427 w 4519987"/>
              <a:gd name="connsiteY50" fmla="*/ 4267200 h 4496940"/>
              <a:gd name="connsiteX51" fmla="*/ 3068977 w 4519987"/>
              <a:gd name="connsiteY51" fmla="*/ 4286250 h 4496940"/>
              <a:gd name="connsiteX52" fmla="*/ 2935627 w 4519987"/>
              <a:gd name="connsiteY52" fmla="*/ 4333875 h 4496940"/>
              <a:gd name="connsiteX53" fmla="*/ 2811802 w 4519987"/>
              <a:gd name="connsiteY53" fmla="*/ 4371975 h 4496940"/>
              <a:gd name="connsiteX54" fmla="*/ 2745127 w 4519987"/>
              <a:gd name="connsiteY54" fmla="*/ 4410075 h 4496940"/>
              <a:gd name="connsiteX55" fmla="*/ 2697502 w 4519987"/>
              <a:gd name="connsiteY55" fmla="*/ 4429125 h 4496940"/>
              <a:gd name="connsiteX56" fmla="*/ 2640352 w 4519987"/>
              <a:gd name="connsiteY56" fmla="*/ 4457700 h 4496940"/>
              <a:gd name="connsiteX57" fmla="*/ 2583202 w 4519987"/>
              <a:gd name="connsiteY57" fmla="*/ 4467225 h 4496940"/>
              <a:gd name="connsiteX58" fmla="*/ 2545102 w 4519987"/>
              <a:gd name="connsiteY58" fmla="*/ 4486275 h 4496940"/>
              <a:gd name="connsiteX59" fmla="*/ 2306977 w 4519987"/>
              <a:gd name="connsiteY59" fmla="*/ 4476750 h 4496940"/>
              <a:gd name="connsiteX60" fmla="*/ 2202202 w 4519987"/>
              <a:gd name="connsiteY60" fmla="*/ 4457700 h 4496940"/>
              <a:gd name="connsiteX61" fmla="*/ 2126002 w 4519987"/>
              <a:gd name="connsiteY61" fmla="*/ 4429125 h 4496940"/>
              <a:gd name="connsiteX62" fmla="*/ 1935502 w 4519987"/>
              <a:gd name="connsiteY62" fmla="*/ 4400550 h 4496940"/>
              <a:gd name="connsiteX63" fmla="*/ 1821202 w 4519987"/>
              <a:gd name="connsiteY63" fmla="*/ 4371975 h 4496940"/>
              <a:gd name="connsiteX64" fmla="*/ 1754527 w 4519987"/>
              <a:gd name="connsiteY64" fmla="*/ 4352925 h 4496940"/>
              <a:gd name="connsiteX65" fmla="*/ 1687852 w 4519987"/>
              <a:gd name="connsiteY65" fmla="*/ 4343400 h 4496940"/>
              <a:gd name="connsiteX66" fmla="*/ 1573552 w 4519987"/>
              <a:gd name="connsiteY66" fmla="*/ 4305300 h 4496940"/>
              <a:gd name="connsiteX67" fmla="*/ 1402102 w 4519987"/>
              <a:gd name="connsiteY67" fmla="*/ 4276725 h 4496940"/>
              <a:gd name="connsiteX68" fmla="*/ 1287802 w 4519987"/>
              <a:gd name="connsiteY68" fmla="*/ 4229100 h 4496940"/>
              <a:gd name="connsiteX69" fmla="*/ 1221127 w 4519987"/>
              <a:gd name="connsiteY69" fmla="*/ 4200525 h 4496940"/>
              <a:gd name="connsiteX70" fmla="*/ 1144927 w 4519987"/>
              <a:gd name="connsiteY70" fmla="*/ 4171950 h 4496940"/>
              <a:gd name="connsiteX71" fmla="*/ 1087777 w 4519987"/>
              <a:gd name="connsiteY71" fmla="*/ 4143375 h 4496940"/>
              <a:gd name="connsiteX72" fmla="*/ 1030627 w 4519987"/>
              <a:gd name="connsiteY72" fmla="*/ 4124325 h 4496940"/>
              <a:gd name="connsiteX73" fmla="*/ 925852 w 4519987"/>
              <a:gd name="connsiteY73" fmla="*/ 4067175 h 4496940"/>
              <a:gd name="connsiteX74" fmla="*/ 830602 w 4519987"/>
              <a:gd name="connsiteY74" fmla="*/ 3981450 h 4496940"/>
              <a:gd name="connsiteX75" fmla="*/ 763927 w 4519987"/>
              <a:gd name="connsiteY75" fmla="*/ 3914775 h 4496940"/>
              <a:gd name="connsiteX76" fmla="*/ 725827 w 4519987"/>
              <a:gd name="connsiteY76" fmla="*/ 3876675 h 4496940"/>
              <a:gd name="connsiteX77" fmla="*/ 697252 w 4519987"/>
              <a:gd name="connsiteY77" fmla="*/ 3838575 h 4496940"/>
              <a:gd name="connsiteX78" fmla="*/ 640102 w 4519987"/>
              <a:gd name="connsiteY78" fmla="*/ 3781425 h 4496940"/>
              <a:gd name="connsiteX79" fmla="*/ 611527 w 4519987"/>
              <a:gd name="connsiteY79" fmla="*/ 3733800 h 4496940"/>
              <a:gd name="connsiteX80" fmla="*/ 554377 w 4519987"/>
              <a:gd name="connsiteY80" fmla="*/ 3657600 h 4496940"/>
              <a:gd name="connsiteX81" fmla="*/ 525802 w 4519987"/>
              <a:gd name="connsiteY81" fmla="*/ 3609975 h 4496940"/>
              <a:gd name="connsiteX82" fmla="*/ 497227 w 4519987"/>
              <a:gd name="connsiteY82" fmla="*/ 3552825 h 4496940"/>
              <a:gd name="connsiteX83" fmla="*/ 440077 w 4519987"/>
              <a:gd name="connsiteY83" fmla="*/ 3495675 h 4496940"/>
              <a:gd name="connsiteX84" fmla="*/ 411502 w 4519987"/>
              <a:gd name="connsiteY84" fmla="*/ 3448050 h 4496940"/>
              <a:gd name="connsiteX85" fmla="*/ 278152 w 4519987"/>
              <a:gd name="connsiteY85" fmla="*/ 3257550 h 4496940"/>
              <a:gd name="connsiteX86" fmla="*/ 249577 w 4519987"/>
              <a:gd name="connsiteY86" fmla="*/ 3200400 h 4496940"/>
              <a:gd name="connsiteX87" fmla="*/ 240052 w 4519987"/>
              <a:gd name="connsiteY87" fmla="*/ 3162300 h 4496940"/>
              <a:gd name="connsiteX88" fmla="*/ 221002 w 4519987"/>
              <a:gd name="connsiteY88" fmla="*/ 3105150 h 4496940"/>
              <a:gd name="connsiteX89" fmla="*/ 173377 w 4519987"/>
              <a:gd name="connsiteY89" fmla="*/ 3019425 h 4496940"/>
              <a:gd name="connsiteX90" fmla="*/ 144802 w 4519987"/>
              <a:gd name="connsiteY90" fmla="*/ 2924175 h 4496940"/>
              <a:gd name="connsiteX91" fmla="*/ 68602 w 4519987"/>
              <a:gd name="connsiteY91" fmla="*/ 2724150 h 4496940"/>
              <a:gd name="connsiteX92" fmla="*/ 49552 w 4519987"/>
              <a:gd name="connsiteY92" fmla="*/ 2638425 h 4496940"/>
              <a:gd name="connsiteX93" fmla="*/ 40027 w 4519987"/>
              <a:gd name="connsiteY93" fmla="*/ 2562225 h 4496940"/>
              <a:gd name="connsiteX94" fmla="*/ 30502 w 4519987"/>
              <a:gd name="connsiteY94" fmla="*/ 2514600 h 4496940"/>
              <a:gd name="connsiteX95" fmla="*/ 11452 w 4519987"/>
              <a:gd name="connsiteY95" fmla="*/ 2400300 h 4496940"/>
              <a:gd name="connsiteX96" fmla="*/ 20977 w 4519987"/>
              <a:gd name="connsiteY96" fmla="*/ 1905000 h 4496940"/>
              <a:gd name="connsiteX97" fmla="*/ 30502 w 4519987"/>
              <a:gd name="connsiteY97" fmla="*/ 1838325 h 4496940"/>
              <a:gd name="connsiteX98" fmla="*/ 49552 w 4519987"/>
              <a:gd name="connsiteY98" fmla="*/ 1781175 h 4496940"/>
              <a:gd name="connsiteX99" fmla="*/ 59077 w 4519987"/>
              <a:gd name="connsiteY99" fmla="*/ 1743075 h 4496940"/>
              <a:gd name="connsiteX100" fmla="*/ 78127 w 4519987"/>
              <a:gd name="connsiteY100" fmla="*/ 1685925 h 4496940"/>
              <a:gd name="connsiteX101" fmla="*/ 87652 w 4519987"/>
              <a:gd name="connsiteY101" fmla="*/ 1638300 h 4496940"/>
              <a:gd name="connsiteX102" fmla="*/ 106702 w 4519987"/>
              <a:gd name="connsiteY102" fmla="*/ 1590675 h 4496940"/>
              <a:gd name="connsiteX103" fmla="*/ 135277 w 4519987"/>
              <a:gd name="connsiteY103" fmla="*/ 1504950 h 4496940"/>
              <a:gd name="connsiteX104" fmla="*/ 154327 w 4519987"/>
              <a:gd name="connsiteY104" fmla="*/ 1419225 h 4496940"/>
              <a:gd name="connsiteX105" fmla="*/ 230527 w 4519987"/>
              <a:gd name="connsiteY105" fmla="*/ 1276350 h 4496940"/>
              <a:gd name="connsiteX106" fmla="*/ 240052 w 4519987"/>
              <a:gd name="connsiteY106" fmla="*/ 1247775 h 4496940"/>
              <a:gd name="connsiteX107" fmla="*/ 268627 w 4519987"/>
              <a:gd name="connsiteY107" fmla="*/ 1200150 h 4496940"/>
              <a:gd name="connsiteX108" fmla="*/ 287677 w 4519987"/>
              <a:gd name="connsiteY108" fmla="*/ 1152525 h 4496940"/>
              <a:gd name="connsiteX109" fmla="*/ 316252 w 4519987"/>
              <a:gd name="connsiteY109" fmla="*/ 1114425 h 4496940"/>
              <a:gd name="connsiteX110" fmla="*/ 363877 w 4519987"/>
              <a:gd name="connsiteY110" fmla="*/ 1038225 h 4496940"/>
              <a:gd name="connsiteX111" fmla="*/ 382927 w 4519987"/>
              <a:gd name="connsiteY111" fmla="*/ 1009650 h 4496940"/>
              <a:gd name="connsiteX112" fmla="*/ 440077 w 4519987"/>
              <a:gd name="connsiteY112" fmla="*/ 904875 h 4496940"/>
              <a:gd name="connsiteX113" fmla="*/ 478177 w 4519987"/>
              <a:gd name="connsiteY113" fmla="*/ 857250 h 4496940"/>
              <a:gd name="connsiteX114" fmla="*/ 497227 w 4519987"/>
              <a:gd name="connsiteY114" fmla="*/ 828675 h 4496940"/>
              <a:gd name="connsiteX115" fmla="*/ 535327 w 4519987"/>
              <a:gd name="connsiteY115" fmla="*/ 800100 h 4496940"/>
              <a:gd name="connsiteX116" fmla="*/ 602002 w 4519987"/>
              <a:gd name="connsiteY116" fmla="*/ 733425 h 4496940"/>
              <a:gd name="connsiteX117" fmla="*/ 668677 w 4519987"/>
              <a:gd name="connsiteY117" fmla="*/ 676275 h 4496940"/>
              <a:gd name="connsiteX118" fmla="*/ 697252 w 4519987"/>
              <a:gd name="connsiteY118" fmla="*/ 657225 h 4496940"/>
              <a:gd name="connsiteX119" fmla="*/ 840127 w 4519987"/>
              <a:gd name="connsiteY119" fmla="*/ 533400 h 4496940"/>
              <a:gd name="connsiteX120" fmla="*/ 887752 w 4519987"/>
              <a:gd name="connsiteY120" fmla="*/ 504825 h 4496940"/>
              <a:gd name="connsiteX121" fmla="*/ 1167152 w 4519987"/>
              <a:gd name="connsiteY121" fmla="*/ 311150 h 4496940"/>
              <a:gd name="connsiteX122" fmla="*/ 1268752 w 4519987"/>
              <a:gd name="connsiteY122" fmla="*/ 285750 h 4496940"/>
              <a:gd name="connsiteX123" fmla="*/ 1411627 w 4519987"/>
              <a:gd name="connsiteY123" fmla="*/ 190500 h 4496940"/>
              <a:gd name="connsiteX124" fmla="*/ 1449727 w 4519987"/>
              <a:gd name="connsiteY124" fmla="*/ 161925 h 4496940"/>
              <a:gd name="connsiteX125" fmla="*/ 1525927 w 4519987"/>
              <a:gd name="connsiteY125" fmla="*/ 152400 h 4496940"/>
              <a:gd name="connsiteX126" fmla="*/ 1583077 w 4519987"/>
              <a:gd name="connsiteY126" fmla="*/ 142875 h 4496940"/>
              <a:gd name="connsiteX127" fmla="*/ 1716427 w 4519987"/>
              <a:gd name="connsiteY127" fmla="*/ 123825 h 4496940"/>
              <a:gd name="connsiteX128" fmla="*/ 1811677 w 4519987"/>
              <a:gd name="connsiteY128" fmla="*/ 114300 h 4496940"/>
              <a:gd name="connsiteX129" fmla="*/ 1859302 w 4519987"/>
              <a:gd name="connsiteY129" fmla="*/ 104775 h 4496940"/>
              <a:gd name="connsiteX130" fmla="*/ 1916452 w 4519987"/>
              <a:gd name="connsiteY130" fmla="*/ 95250 h 4496940"/>
              <a:gd name="connsiteX131" fmla="*/ 2030752 w 4519987"/>
              <a:gd name="connsiteY131" fmla="*/ 66675 h 4496940"/>
              <a:gd name="connsiteX132" fmla="*/ 2097427 w 4519987"/>
              <a:gd name="connsiteY132" fmla="*/ 47625 h 4496940"/>
              <a:gd name="connsiteX133" fmla="*/ 2164102 w 4519987"/>
              <a:gd name="connsiteY133" fmla="*/ 38100 h 4496940"/>
              <a:gd name="connsiteX134" fmla="*/ 2392702 w 4519987"/>
              <a:gd name="connsiteY13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792877 w 4519987"/>
              <a:gd name="connsiteY39" fmla="*/ 3781425 h 4496940"/>
              <a:gd name="connsiteX40" fmla="*/ 3659527 w 4519987"/>
              <a:gd name="connsiteY40" fmla="*/ 3971925 h 4496940"/>
              <a:gd name="connsiteX41" fmla="*/ 3630952 w 4519987"/>
              <a:gd name="connsiteY41" fmla="*/ 4010025 h 4496940"/>
              <a:gd name="connsiteX42" fmla="*/ 3621427 w 4519987"/>
              <a:gd name="connsiteY42" fmla="*/ 4038600 h 4496940"/>
              <a:gd name="connsiteX43" fmla="*/ 3554752 w 4519987"/>
              <a:gd name="connsiteY43" fmla="*/ 4095750 h 4496940"/>
              <a:gd name="connsiteX44" fmla="*/ 3516652 w 4519987"/>
              <a:gd name="connsiteY44" fmla="*/ 4114800 h 4496940"/>
              <a:gd name="connsiteX45" fmla="*/ 3497602 w 4519987"/>
              <a:gd name="connsiteY45" fmla="*/ 4143375 h 4496940"/>
              <a:gd name="connsiteX46" fmla="*/ 3383302 w 4519987"/>
              <a:gd name="connsiteY46" fmla="*/ 4210050 h 4496940"/>
              <a:gd name="connsiteX47" fmla="*/ 3335677 w 4519987"/>
              <a:gd name="connsiteY47" fmla="*/ 4238625 h 4496940"/>
              <a:gd name="connsiteX48" fmla="*/ 3288052 w 4519987"/>
              <a:gd name="connsiteY48" fmla="*/ 4248150 h 4496940"/>
              <a:gd name="connsiteX49" fmla="*/ 3240427 w 4519987"/>
              <a:gd name="connsiteY49" fmla="*/ 4267200 h 4496940"/>
              <a:gd name="connsiteX50" fmla="*/ 3068977 w 4519987"/>
              <a:gd name="connsiteY50" fmla="*/ 4286250 h 4496940"/>
              <a:gd name="connsiteX51" fmla="*/ 2935627 w 4519987"/>
              <a:gd name="connsiteY51" fmla="*/ 4333875 h 4496940"/>
              <a:gd name="connsiteX52" fmla="*/ 2811802 w 4519987"/>
              <a:gd name="connsiteY52" fmla="*/ 4371975 h 4496940"/>
              <a:gd name="connsiteX53" fmla="*/ 2745127 w 4519987"/>
              <a:gd name="connsiteY53" fmla="*/ 4410075 h 4496940"/>
              <a:gd name="connsiteX54" fmla="*/ 2697502 w 4519987"/>
              <a:gd name="connsiteY54" fmla="*/ 4429125 h 4496940"/>
              <a:gd name="connsiteX55" fmla="*/ 2640352 w 4519987"/>
              <a:gd name="connsiteY55" fmla="*/ 4457700 h 4496940"/>
              <a:gd name="connsiteX56" fmla="*/ 2583202 w 4519987"/>
              <a:gd name="connsiteY56" fmla="*/ 4467225 h 4496940"/>
              <a:gd name="connsiteX57" fmla="*/ 2545102 w 4519987"/>
              <a:gd name="connsiteY57" fmla="*/ 4486275 h 4496940"/>
              <a:gd name="connsiteX58" fmla="*/ 2306977 w 4519987"/>
              <a:gd name="connsiteY58" fmla="*/ 4476750 h 4496940"/>
              <a:gd name="connsiteX59" fmla="*/ 2202202 w 4519987"/>
              <a:gd name="connsiteY59" fmla="*/ 4457700 h 4496940"/>
              <a:gd name="connsiteX60" fmla="*/ 2126002 w 4519987"/>
              <a:gd name="connsiteY60" fmla="*/ 4429125 h 4496940"/>
              <a:gd name="connsiteX61" fmla="*/ 1935502 w 4519987"/>
              <a:gd name="connsiteY61" fmla="*/ 4400550 h 4496940"/>
              <a:gd name="connsiteX62" fmla="*/ 1821202 w 4519987"/>
              <a:gd name="connsiteY62" fmla="*/ 4371975 h 4496940"/>
              <a:gd name="connsiteX63" fmla="*/ 1754527 w 4519987"/>
              <a:gd name="connsiteY63" fmla="*/ 4352925 h 4496940"/>
              <a:gd name="connsiteX64" fmla="*/ 1687852 w 4519987"/>
              <a:gd name="connsiteY64" fmla="*/ 4343400 h 4496940"/>
              <a:gd name="connsiteX65" fmla="*/ 1573552 w 4519987"/>
              <a:gd name="connsiteY65" fmla="*/ 4305300 h 4496940"/>
              <a:gd name="connsiteX66" fmla="*/ 1402102 w 4519987"/>
              <a:gd name="connsiteY66" fmla="*/ 4276725 h 4496940"/>
              <a:gd name="connsiteX67" fmla="*/ 1287802 w 4519987"/>
              <a:gd name="connsiteY67" fmla="*/ 4229100 h 4496940"/>
              <a:gd name="connsiteX68" fmla="*/ 1221127 w 4519987"/>
              <a:gd name="connsiteY68" fmla="*/ 4200525 h 4496940"/>
              <a:gd name="connsiteX69" fmla="*/ 1144927 w 4519987"/>
              <a:gd name="connsiteY69" fmla="*/ 4171950 h 4496940"/>
              <a:gd name="connsiteX70" fmla="*/ 1087777 w 4519987"/>
              <a:gd name="connsiteY70" fmla="*/ 4143375 h 4496940"/>
              <a:gd name="connsiteX71" fmla="*/ 1030627 w 4519987"/>
              <a:gd name="connsiteY71" fmla="*/ 4124325 h 4496940"/>
              <a:gd name="connsiteX72" fmla="*/ 925852 w 4519987"/>
              <a:gd name="connsiteY72" fmla="*/ 4067175 h 4496940"/>
              <a:gd name="connsiteX73" fmla="*/ 830602 w 4519987"/>
              <a:gd name="connsiteY73" fmla="*/ 3981450 h 4496940"/>
              <a:gd name="connsiteX74" fmla="*/ 763927 w 4519987"/>
              <a:gd name="connsiteY74" fmla="*/ 3914775 h 4496940"/>
              <a:gd name="connsiteX75" fmla="*/ 725827 w 4519987"/>
              <a:gd name="connsiteY75" fmla="*/ 3876675 h 4496940"/>
              <a:gd name="connsiteX76" fmla="*/ 697252 w 4519987"/>
              <a:gd name="connsiteY76" fmla="*/ 3838575 h 4496940"/>
              <a:gd name="connsiteX77" fmla="*/ 640102 w 4519987"/>
              <a:gd name="connsiteY77" fmla="*/ 3781425 h 4496940"/>
              <a:gd name="connsiteX78" fmla="*/ 611527 w 4519987"/>
              <a:gd name="connsiteY78" fmla="*/ 3733800 h 4496940"/>
              <a:gd name="connsiteX79" fmla="*/ 554377 w 4519987"/>
              <a:gd name="connsiteY79" fmla="*/ 3657600 h 4496940"/>
              <a:gd name="connsiteX80" fmla="*/ 525802 w 4519987"/>
              <a:gd name="connsiteY80" fmla="*/ 3609975 h 4496940"/>
              <a:gd name="connsiteX81" fmla="*/ 497227 w 4519987"/>
              <a:gd name="connsiteY81" fmla="*/ 3552825 h 4496940"/>
              <a:gd name="connsiteX82" fmla="*/ 440077 w 4519987"/>
              <a:gd name="connsiteY82" fmla="*/ 3495675 h 4496940"/>
              <a:gd name="connsiteX83" fmla="*/ 411502 w 4519987"/>
              <a:gd name="connsiteY83" fmla="*/ 3448050 h 4496940"/>
              <a:gd name="connsiteX84" fmla="*/ 278152 w 4519987"/>
              <a:gd name="connsiteY84" fmla="*/ 3257550 h 4496940"/>
              <a:gd name="connsiteX85" fmla="*/ 249577 w 4519987"/>
              <a:gd name="connsiteY85" fmla="*/ 3200400 h 4496940"/>
              <a:gd name="connsiteX86" fmla="*/ 240052 w 4519987"/>
              <a:gd name="connsiteY86" fmla="*/ 3162300 h 4496940"/>
              <a:gd name="connsiteX87" fmla="*/ 221002 w 4519987"/>
              <a:gd name="connsiteY87" fmla="*/ 3105150 h 4496940"/>
              <a:gd name="connsiteX88" fmla="*/ 173377 w 4519987"/>
              <a:gd name="connsiteY88" fmla="*/ 3019425 h 4496940"/>
              <a:gd name="connsiteX89" fmla="*/ 144802 w 4519987"/>
              <a:gd name="connsiteY89" fmla="*/ 2924175 h 4496940"/>
              <a:gd name="connsiteX90" fmla="*/ 68602 w 4519987"/>
              <a:gd name="connsiteY90" fmla="*/ 2724150 h 4496940"/>
              <a:gd name="connsiteX91" fmla="*/ 49552 w 4519987"/>
              <a:gd name="connsiteY91" fmla="*/ 2638425 h 4496940"/>
              <a:gd name="connsiteX92" fmla="*/ 40027 w 4519987"/>
              <a:gd name="connsiteY92" fmla="*/ 2562225 h 4496940"/>
              <a:gd name="connsiteX93" fmla="*/ 30502 w 4519987"/>
              <a:gd name="connsiteY93" fmla="*/ 2514600 h 4496940"/>
              <a:gd name="connsiteX94" fmla="*/ 11452 w 4519987"/>
              <a:gd name="connsiteY94" fmla="*/ 2400300 h 4496940"/>
              <a:gd name="connsiteX95" fmla="*/ 20977 w 4519987"/>
              <a:gd name="connsiteY95" fmla="*/ 1905000 h 4496940"/>
              <a:gd name="connsiteX96" fmla="*/ 30502 w 4519987"/>
              <a:gd name="connsiteY96" fmla="*/ 1838325 h 4496940"/>
              <a:gd name="connsiteX97" fmla="*/ 49552 w 4519987"/>
              <a:gd name="connsiteY97" fmla="*/ 1781175 h 4496940"/>
              <a:gd name="connsiteX98" fmla="*/ 59077 w 4519987"/>
              <a:gd name="connsiteY98" fmla="*/ 1743075 h 4496940"/>
              <a:gd name="connsiteX99" fmla="*/ 78127 w 4519987"/>
              <a:gd name="connsiteY99" fmla="*/ 1685925 h 4496940"/>
              <a:gd name="connsiteX100" fmla="*/ 87652 w 4519987"/>
              <a:gd name="connsiteY100" fmla="*/ 1638300 h 4496940"/>
              <a:gd name="connsiteX101" fmla="*/ 106702 w 4519987"/>
              <a:gd name="connsiteY101" fmla="*/ 1590675 h 4496940"/>
              <a:gd name="connsiteX102" fmla="*/ 135277 w 4519987"/>
              <a:gd name="connsiteY102" fmla="*/ 1504950 h 4496940"/>
              <a:gd name="connsiteX103" fmla="*/ 154327 w 4519987"/>
              <a:gd name="connsiteY103" fmla="*/ 1419225 h 4496940"/>
              <a:gd name="connsiteX104" fmla="*/ 230527 w 4519987"/>
              <a:gd name="connsiteY104" fmla="*/ 1276350 h 4496940"/>
              <a:gd name="connsiteX105" fmla="*/ 240052 w 4519987"/>
              <a:gd name="connsiteY105" fmla="*/ 1247775 h 4496940"/>
              <a:gd name="connsiteX106" fmla="*/ 268627 w 4519987"/>
              <a:gd name="connsiteY106" fmla="*/ 1200150 h 4496940"/>
              <a:gd name="connsiteX107" fmla="*/ 287677 w 4519987"/>
              <a:gd name="connsiteY107" fmla="*/ 1152525 h 4496940"/>
              <a:gd name="connsiteX108" fmla="*/ 316252 w 4519987"/>
              <a:gd name="connsiteY108" fmla="*/ 1114425 h 4496940"/>
              <a:gd name="connsiteX109" fmla="*/ 363877 w 4519987"/>
              <a:gd name="connsiteY109" fmla="*/ 1038225 h 4496940"/>
              <a:gd name="connsiteX110" fmla="*/ 382927 w 4519987"/>
              <a:gd name="connsiteY110" fmla="*/ 1009650 h 4496940"/>
              <a:gd name="connsiteX111" fmla="*/ 440077 w 4519987"/>
              <a:gd name="connsiteY111" fmla="*/ 904875 h 4496940"/>
              <a:gd name="connsiteX112" fmla="*/ 478177 w 4519987"/>
              <a:gd name="connsiteY112" fmla="*/ 857250 h 4496940"/>
              <a:gd name="connsiteX113" fmla="*/ 497227 w 4519987"/>
              <a:gd name="connsiteY113" fmla="*/ 828675 h 4496940"/>
              <a:gd name="connsiteX114" fmla="*/ 535327 w 4519987"/>
              <a:gd name="connsiteY114" fmla="*/ 800100 h 4496940"/>
              <a:gd name="connsiteX115" fmla="*/ 602002 w 4519987"/>
              <a:gd name="connsiteY115" fmla="*/ 733425 h 4496940"/>
              <a:gd name="connsiteX116" fmla="*/ 668677 w 4519987"/>
              <a:gd name="connsiteY116" fmla="*/ 676275 h 4496940"/>
              <a:gd name="connsiteX117" fmla="*/ 697252 w 4519987"/>
              <a:gd name="connsiteY117" fmla="*/ 657225 h 4496940"/>
              <a:gd name="connsiteX118" fmla="*/ 840127 w 4519987"/>
              <a:gd name="connsiteY118" fmla="*/ 533400 h 4496940"/>
              <a:gd name="connsiteX119" fmla="*/ 887752 w 4519987"/>
              <a:gd name="connsiteY119" fmla="*/ 504825 h 4496940"/>
              <a:gd name="connsiteX120" fmla="*/ 1167152 w 4519987"/>
              <a:gd name="connsiteY120" fmla="*/ 311150 h 4496940"/>
              <a:gd name="connsiteX121" fmla="*/ 1268752 w 4519987"/>
              <a:gd name="connsiteY121" fmla="*/ 285750 h 4496940"/>
              <a:gd name="connsiteX122" fmla="*/ 1411627 w 4519987"/>
              <a:gd name="connsiteY122" fmla="*/ 190500 h 4496940"/>
              <a:gd name="connsiteX123" fmla="*/ 1449727 w 4519987"/>
              <a:gd name="connsiteY123" fmla="*/ 161925 h 4496940"/>
              <a:gd name="connsiteX124" fmla="*/ 1525927 w 4519987"/>
              <a:gd name="connsiteY124" fmla="*/ 152400 h 4496940"/>
              <a:gd name="connsiteX125" fmla="*/ 1583077 w 4519987"/>
              <a:gd name="connsiteY125" fmla="*/ 142875 h 4496940"/>
              <a:gd name="connsiteX126" fmla="*/ 1716427 w 4519987"/>
              <a:gd name="connsiteY126" fmla="*/ 123825 h 4496940"/>
              <a:gd name="connsiteX127" fmla="*/ 1811677 w 4519987"/>
              <a:gd name="connsiteY127" fmla="*/ 114300 h 4496940"/>
              <a:gd name="connsiteX128" fmla="*/ 1859302 w 4519987"/>
              <a:gd name="connsiteY128" fmla="*/ 104775 h 4496940"/>
              <a:gd name="connsiteX129" fmla="*/ 1916452 w 4519987"/>
              <a:gd name="connsiteY129" fmla="*/ 95250 h 4496940"/>
              <a:gd name="connsiteX130" fmla="*/ 2030752 w 4519987"/>
              <a:gd name="connsiteY130" fmla="*/ 66675 h 4496940"/>
              <a:gd name="connsiteX131" fmla="*/ 2097427 w 4519987"/>
              <a:gd name="connsiteY131" fmla="*/ 47625 h 4496940"/>
              <a:gd name="connsiteX132" fmla="*/ 2164102 w 4519987"/>
              <a:gd name="connsiteY132" fmla="*/ 38100 h 4496940"/>
              <a:gd name="connsiteX133" fmla="*/ 2392702 w 4519987"/>
              <a:gd name="connsiteY13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907177 w 4519987"/>
              <a:gd name="connsiteY38" fmla="*/ 3686175 h 4496940"/>
              <a:gd name="connsiteX39" fmla="*/ 3659527 w 4519987"/>
              <a:gd name="connsiteY39" fmla="*/ 3971925 h 4496940"/>
              <a:gd name="connsiteX40" fmla="*/ 3630952 w 4519987"/>
              <a:gd name="connsiteY40" fmla="*/ 4010025 h 4496940"/>
              <a:gd name="connsiteX41" fmla="*/ 3621427 w 4519987"/>
              <a:gd name="connsiteY41" fmla="*/ 4038600 h 4496940"/>
              <a:gd name="connsiteX42" fmla="*/ 3554752 w 4519987"/>
              <a:gd name="connsiteY42" fmla="*/ 4095750 h 4496940"/>
              <a:gd name="connsiteX43" fmla="*/ 3516652 w 4519987"/>
              <a:gd name="connsiteY43" fmla="*/ 4114800 h 4496940"/>
              <a:gd name="connsiteX44" fmla="*/ 3497602 w 4519987"/>
              <a:gd name="connsiteY44" fmla="*/ 4143375 h 4496940"/>
              <a:gd name="connsiteX45" fmla="*/ 3383302 w 4519987"/>
              <a:gd name="connsiteY45" fmla="*/ 4210050 h 4496940"/>
              <a:gd name="connsiteX46" fmla="*/ 3335677 w 4519987"/>
              <a:gd name="connsiteY46" fmla="*/ 4238625 h 4496940"/>
              <a:gd name="connsiteX47" fmla="*/ 3288052 w 4519987"/>
              <a:gd name="connsiteY47" fmla="*/ 4248150 h 4496940"/>
              <a:gd name="connsiteX48" fmla="*/ 3240427 w 4519987"/>
              <a:gd name="connsiteY48" fmla="*/ 4267200 h 4496940"/>
              <a:gd name="connsiteX49" fmla="*/ 3068977 w 4519987"/>
              <a:gd name="connsiteY49" fmla="*/ 4286250 h 4496940"/>
              <a:gd name="connsiteX50" fmla="*/ 2935627 w 4519987"/>
              <a:gd name="connsiteY50" fmla="*/ 4333875 h 4496940"/>
              <a:gd name="connsiteX51" fmla="*/ 2811802 w 4519987"/>
              <a:gd name="connsiteY51" fmla="*/ 4371975 h 4496940"/>
              <a:gd name="connsiteX52" fmla="*/ 2745127 w 4519987"/>
              <a:gd name="connsiteY52" fmla="*/ 4410075 h 4496940"/>
              <a:gd name="connsiteX53" fmla="*/ 2697502 w 4519987"/>
              <a:gd name="connsiteY53" fmla="*/ 4429125 h 4496940"/>
              <a:gd name="connsiteX54" fmla="*/ 2640352 w 4519987"/>
              <a:gd name="connsiteY54" fmla="*/ 4457700 h 4496940"/>
              <a:gd name="connsiteX55" fmla="*/ 2583202 w 4519987"/>
              <a:gd name="connsiteY55" fmla="*/ 4467225 h 4496940"/>
              <a:gd name="connsiteX56" fmla="*/ 2545102 w 4519987"/>
              <a:gd name="connsiteY56" fmla="*/ 4486275 h 4496940"/>
              <a:gd name="connsiteX57" fmla="*/ 2306977 w 4519987"/>
              <a:gd name="connsiteY57" fmla="*/ 4476750 h 4496940"/>
              <a:gd name="connsiteX58" fmla="*/ 2202202 w 4519987"/>
              <a:gd name="connsiteY58" fmla="*/ 4457700 h 4496940"/>
              <a:gd name="connsiteX59" fmla="*/ 2126002 w 4519987"/>
              <a:gd name="connsiteY59" fmla="*/ 4429125 h 4496940"/>
              <a:gd name="connsiteX60" fmla="*/ 1935502 w 4519987"/>
              <a:gd name="connsiteY60" fmla="*/ 4400550 h 4496940"/>
              <a:gd name="connsiteX61" fmla="*/ 1821202 w 4519987"/>
              <a:gd name="connsiteY61" fmla="*/ 4371975 h 4496940"/>
              <a:gd name="connsiteX62" fmla="*/ 1754527 w 4519987"/>
              <a:gd name="connsiteY62" fmla="*/ 4352925 h 4496940"/>
              <a:gd name="connsiteX63" fmla="*/ 1687852 w 4519987"/>
              <a:gd name="connsiteY63" fmla="*/ 4343400 h 4496940"/>
              <a:gd name="connsiteX64" fmla="*/ 1573552 w 4519987"/>
              <a:gd name="connsiteY64" fmla="*/ 4305300 h 4496940"/>
              <a:gd name="connsiteX65" fmla="*/ 1402102 w 4519987"/>
              <a:gd name="connsiteY65" fmla="*/ 4276725 h 4496940"/>
              <a:gd name="connsiteX66" fmla="*/ 1287802 w 4519987"/>
              <a:gd name="connsiteY66" fmla="*/ 4229100 h 4496940"/>
              <a:gd name="connsiteX67" fmla="*/ 1221127 w 4519987"/>
              <a:gd name="connsiteY67" fmla="*/ 4200525 h 4496940"/>
              <a:gd name="connsiteX68" fmla="*/ 1144927 w 4519987"/>
              <a:gd name="connsiteY68" fmla="*/ 4171950 h 4496940"/>
              <a:gd name="connsiteX69" fmla="*/ 1087777 w 4519987"/>
              <a:gd name="connsiteY69" fmla="*/ 4143375 h 4496940"/>
              <a:gd name="connsiteX70" fmla="*/ 1030627 w 4519987"/>
              <a:gd name="connsiteY70" fmla="*/ 4124325 h 4496940"/>
              <a:gd name="connsiteX71" fmla="*/ 925852 w 4519987"/>
              <a:gd name="connsiteY71" fmla="*/ 4067175 h 4496940"/>
              <a:gd name="connsiteX72" fmla="*/ 830602 w 4519987"/>
              <a:gd name="connsiteY72" fmla="*/ 3981450 h 4496940"/>
              <a:gd name="connsiteX73" fmla="*/ 763927 w 4519987"/>
              <a:gd name="connsiteY73" fmla="*/ 3914775 h 4496940"/>
              <a:gd name="connsiteX74" fmla="*/ 725827 w 4519987"/>
              <a:gd name="connsiteY74" fmla="*/ 3876675 h 4496940"/>
              <a:gd name="connsiteX75" fmla="*/ 697252 w 4519987"/>
              <a:gd name="connsiteY75" fmla="*/ 3838575 h 4496940"/>
              <a:gd name="connsiteX76" fmla="*/ 640102 w 4519987"/>
              <a:gd name="connsiteY76" fmla="*/ 3781425 h 4496940"/>
              <a:gd name="connsiteX77" fmla="*/ 611527 w 4519987"/>
              <a:gd name="connsiteY77" fmla="*/ 3733800 h 4496940"/>
              <a:gd name="connsiteX78" fmla="*/ 554377 w 4519987"/>
              <a:gd name="connsiteY78" fmla="*/ 3657600 h 4496940"/>
              <a:gd name="connsiteX79" fmla="*/ 525802 w 4519987"/>
              <a:gd name="connsiteY79" fmla="*/ 3609975 h 4496940"/>
              <a:gd name="connsiteX80" fmla="*/ 497227 w 4519987"/>
              <a:gd name="connsiteY80" fmla="*/ 3552825 h 4496940"/>
              <a:gd name="connsiteX81" fmla="*/ 440077 w 4519987"/>
              <a:gd name="connsiteY81" fmla="*/ 3495675 h 4496940"/>
              <a:gd name="connsiteX82" fmla="*/ 411502 w 4519987"/>
              <a:gd name="connsiteY82" fmla="*/ 3448050 h 4496940"/>
              <a:gd name="connsiteX83" fmla="*/ 278152 w 4519987"/>
              <a:gd name="connsiteY83" fmla="*/ 3257550 h 4496940"/>
              <a:gd name="connsiteX84" fmla="*/ 249577 w 4519987"/>
              <a:gd name="connsiteY84" fmla="*/ 3200400 h 4496940"/>
              <a:gd name="connsiteX85" fmla="*/ 240052 w 4519987"/>
              <a:gd name="connsiteY85" fmla="*/ 3162300 h 4496940"/>
              <a:gd name="connsiteX86" fmla="*/ 221002 w 4519987"/>
              <a:gd name="connsiteY86" fmla="*/ 3105150 h 4496940"/>
              <a:gd name="connsiteX87" fmla="*/ 173377 w 4519987"/>
              <a:gd name="connsiteY87" fmla="*/ 3019425 h 4496940"/>
              <a:gd name="connsiteX88" fmla="*/ 144802 w 4519987"/>
              <a:gd name="connsiteY88" fmla="*/ 2924175 h 4496940"/>
              <a:gd name="connsiteX89" fmla="*/ 68602 w 4519987"/>
              <a:gd name="connsiteY89" fmla="*/ 2724150 h 4496940"/>
              <a:gd name="connsiteX90" fmla="*/ 49552 w 4519987"/>
              <a:gd name="connsiteY90" fmla="*/ 2638425 h 4496940"/>
              <a:gd name="connsiteX91" fmla="*/ 40027 w 4519987"/>
              <a:gd name="connsiteY91" fmla="*/ 2562225 h 4496940"/>
              <a:gd name="connsiteX92" fmla="*/ 30502 w 4519987"/>
              <a:gd name="connsiteY92" fmla="*/ 2514600 h 4496940"/>
              <a:gd name="connsiteX93" fmla="*/ 11452 w 4519987"/>
              <a:gd name="connsiteY93" fmla="*/ 2400300 h 4496940"/>
              <a:gd name="connsiteX94" fmla="*/ 20977 w 4519987"/>
              <a:gd name="connsiteY94" fmla="*/ 1905000 h 4496940"/>
              <a:gd name="connsiteX95" fmla="*/ 30502 w 4519987"/>
              <a:gd name="connsiteY95" fmla="*/ 1838325 h 4496940"/>
              <a:gd name="connsiteX96" fmla="*/ 49552 w 4519987"/>
              <a:gd name="connsiteY96" fmla="*/ 1781175 h 4496940"/>
              <a:gd name="connsiteX97" fmla="*/ 59077 w 4519987"/>
              <a:gd name="connsiteY97" fmla="*/ 1743075 h 4496940"/>
              <a:gd name="connsiteX98" fmla="*/ 78127 w 4519987"/>
              <a:gd name="connsiteY98" fmla="*/ 1685925 h 4496940"/>
              <a:gd name="connsiteX99" fmla="*/ 87652 w 4519987"/>
              <a:gd name="connsiteY99" fmla="*/ 1638300 h 4496940"/>
              <a:gd name="connsiteX100" fmla="*/ 106702 w 4519987"/>
              <a:gd name="connsiteY100" fmla="*/ 1590675 h 4496940"/>
              <a:gd name="connsiteX101" fmla="*/ 135277 w 4519987"/>
              <a:gd name="connsiteY101" fmla="*/ 1504950 h 4496940"/>
              <a:gd name="connsiteX102" fmla="*/ 154327 w 4519987"/>
              <a:gd name="connsiteY102" fmla="*/ 1419225 h 4496940"/>
              <a:gd name="connsiteX103" fmla="*/ 230527 w 4519987"/>
              <a:gd name="connsiteY103" fmla="*/ 1276350 h 4496940"/>
              <a:gd name="connsiteX104" fmla="*/ 240052 w 4519987"/>
              <a:gd name="connsiteY104" fmla="*/ 1247775 h 4496940"/>
              <a:gd name="connsiteX105" fmla="*/ 268627 w 4519987"/>
              <a:gd name="connsiteY105" fmla="*/ 1200150 h 4496940"/>
              <a:gd name="connsiteX106" fmla="*/ 287677 w 4519987"/>
              <a:gd name="connsiteY106" fmla="*/ 1152525 h 4496940"/>
              <a:gd name="connsiteX107" fmla="*/ 316252 w 4519987"/>
              <a:gd name="connsiteY107" fmla="*/ 1114425 h 4496940"/>
              <a:gd name="connsiteX108" fmla="*/ 363877 w 4519987"/>
              <a:gd name="connsiteY108" fmla="*/ 1038225 h 4496940"/>
              <a:gd name="connsiteX109" fmla="*/ 382927 w 4519987"/>
              <a:gd name="connsiteY109" fmla="*/ 1009650 h 4496940"/>
              <a:gd name="connsiteX110" fmla="*/ 440077 w 4519987"/>
              <a:gd name="connsiteY110" fmla="*/ 904875 h 4496940"/>
              <a:gd name="connsiteX111" fmla="*/ 478177 w 4519987"/>
              <a:gd name="connsiteY111" fmla="*/ 857250 h 4496940"/>
              <a:gd name="connsiteX112" fmla="*/ 497227 w 4519987"/>
              <a:gd name="connsiteY112" fmla="*/ 828675 h 4496940"/>
              <a:gd name="connsiteX113" fmla="*/ 535327 w 4519987"/>
              <a:gd name="connsiteY113" fmla="*/ 800100 h 4496940"/>
              <a:gd name="connsiteX114" fmla="*/ 602002 w 4519987"/>
              <a:gd name="connsiteY114" fmla="*/ 733425 h 4496940"/>
              <a:gd name="connsiteX115" fmla="*/ 668677 w 4519987"/>
              <a:gd name="connsiteY115" fmla="*/ 676275 h 4496940"/>
              <a:gd name="connsiteX116" fmla="*/ 697252 w 4519987"/>
              <a:gd name="connsiteY116" fmla="*/ 657225 h 4496940"/>
              <a:gd name="connsiteX117" fmla="*/ 840127 w 4519987"/>
              <a:gd name="connsiteY117" fmla="*/ 533400 h 4496940"/>
              <a:gd name="connsiteX118" fmla="*/ 887752 w 4519987"/>
              <a:gd name="connsiteY118" fmla="*/ 504825 h 4496940"/>
              <a:gd name="connsiteX119" fmla="*/ 1167152 w 4519987"/>
              <a:gd name="connsiteY119" fmla="*/ 311150 h 4496940"/>
              <a:gd name="connsiteX120" fmla="*/ 1268752 w 4519987"/>
              <a:gd name="connsiteY120" fmla="*/ 285750 h 4496940"/>
              <a:gd name="connsiteX121" fmla="*/ 1411627 w 4519987"/>
              <a:gd name="connsiteY121" fmla="*/ 190500 h 4496940"/>
              <a:gd name="connsiteX122" fmla="*/ 1449727 w 4519987"/>
              <a:gd name="connsiteY122" fmla="*/ 161925 h 4496940"/>
              <a:gd name="connsiteX123" fmla="*/ 1525927 w 4519987"/>
              <a:gd name="connsiteY123" fmla="*/ 152400 h 4496940"/>
              <a:gd name="connsiteX124" fmla="*/ 1583077 w 4519987"/>
              <a:gd name="connsiteY124" fmla="*/ 142875 h 4496940"/>
              <a:gd name="connsiteX125" fmla="*/ 1716427 w 4519987"/>
              <a:gd name="connsiteY125" fmla="*/ 123825 h 4496940"/>
              <a:gd name="connsiteX126" fmla="*/ 1811677 w 4519987"/>
              <a:gd name="connsiteY126" fmla="*/ 114300 h 4496940"/>
              <a:gd name="connsiteX127" fmla="*/ 1859302 w 4519987"/>
              <a:gd name="connsiteY127" fmla="*/ 104775 h 4496940"/>
              <a:gd name="connsiteX128" fmla="*/ 1916452 w 4519987"/>
              <a:gd name="connsiteY128" fmla="*/ 95250 h 4496940"/>
              <a:gd name="connsiteX129" fmla="*/ 2030752 w 4519987"/>
              <a:gd name="connsiteY129" fmla="*/ 66675 h 4496940"/>
              <a:gd name="connsiteX130" fmla="*/ 2097427 w 4519987"/>
              <a:gd name="connsiteY130" fmla="*/ 47625 h 4496940"/>
              <a:gd name="connsiteX131" fmla="*/ 2164102 w 4519987"/>
              <a:gd name="connsiteY131" fmla="*/ 38100 h 4496940"/>
              <a:gd name="connsiteX132" fmla="*/ 2392702 w 4519987"/>
              <a:gd name="connsiteY13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259602 w 4519987"/>
              <a:gd name="connsiteY32" fmla="*/ 3276600 h 4496940"/>
              <a:gd name="connsiteX33" fmla="*/ 4183402 w 4519987"/>
              <a:gd name="connsiteY33" fmla="*/ 3400425 h 4496940"/>
              <a:gd name="connsiteX34" fmla="*/ 4088152 w 4519987"/>
              <a:gd name="connsiteY34" fmla="*/ 3495675 h 4496940"/>
              <a:gd name="connsiteX35" fmla="*/ 4059577 w 4519987"/>
              <a:gd name="connsiteY35" fmla="*/ 3533775 h 4496940"/>
              <a:gd name="connsiteX36" fmla="*/ 4002427 w 4519987"/>
              <a:gd name="connsiteY36" fmla="*/ 3600450 h 4496940"/>
              <a:gd name="connsiteX37" fmla="*/ 3954802 w 4519987"/>
              <a:gd name="connsiteY37" fmla="*/ 3648075 h 4496940"/>
              <a:gd name="connsiteX38" fmla="*/ 3659527 w 4519987"/>
              <a:gd name="connsiteY38" fmla="*/ 3971925 h 4496940"/>
              <a:gd name="connsiteX39" fmla="*/ 3630952 w 4519987"/>
              <a:gd name="connsiteY39" fmla="*/ 4010025 h 4496940"/>
              <a:gd name="connsiteX40" fmla="*/ 3621427 w 4519987"/>
              <a:gd name="connsiteY40" fmla="*/ 4038600 h 4496940"/>
              <a:gd name="connsiteX41" fmla="*/ 3554752 w 4519987"/>
              <a:gd name="connsiteY41" fmla="*/ 4095750 h 4496940"/>
              <a:gd name="connsiteX42" fmla="*/ 3516652 w 4519987"/>
              <a:gd name="connsiteY42" fmla="*/ 4114800 h 4496940"/>
              <a:gd name="connsiteX43" fmla="*/ 3497602 w 4519987"/>
              <a:gd name="connsiteY43" fmla="*/ 4143375 h 4496940"/>
              <a:gd name="connsiteX44" fmla="*/ 3383302 w 4519987"/>
              <a:gd name="connsiteY44" fmla="*/ 4210050 h 4496940"/>
              <a:gd name="connsiteX45" fmla="*/ 3335677 w 4519987"/>
              <a:gd name="connsiteY45" fmla="*/ 4238625 h 4496940"/>
              <a:gd name="connsiteX46" fmla="*/ 3288052 w 4519987"/>
              <a:gd name="connsiteY46" fmla="*/ 4248150 h 4496940"/>
              <a:gd name="connsiteX47" fmla="*/ 3240427 w 4519987"/>
              <a:gd name="connsiteY47" fmla="*/ 4267200 h 4496940"/>
              <a:gd name="connsiteX48" fmla="*/ 3068977 w 4519987"/>
              <a:gd name="connsiteY48" fmla="*/ 4286250 h 4496940"/>
              <a:gd name="connsiteX49" fmla="*/ 2935627 w 4519987"/>
              <a:gd name="connsiteY49" fmla="*/ 4333875 h 4496940"/>
              <a:gd name="connsiteX50" fmla="*/ 2811802 w 4519987"/>
              <a:gd name="connsiteY50" fmla="*/ 4371975 h 4496940"/>
              <a:gd name="connsiteX51" fmla="*/ 2745127 w 4519987"/>
              <a:gd name="connsiteY51" fmla="*/ 4410075 h 4496940"/>
              <a:gd name="connsiteX52" fmla="*/ 2697502 w 4519987"/>
              <a:gd name="connsiteY52" fmla="*/ 4429125 h 4496940"/>
              <a:gd name="connsiteX53" fmla="*/ 2640352 w 4519987"/>
              <a:gd name="connsiteY53" fmla="*/ 4457700 h 4496940"/>
              <a:gd name="connsiteX54" fmla="*/ 2583202 w 4519987"/>
              <a:gd name="connsiteY54" fmla="*/ 4467225 h 4496940"/>
              <a:gd name="connsiteX55" fmla="*/ 2545102 w 4519987"/>
              <a:gd name="connsiteY55" fmla="*/ 4486275 h 4496940"/>
              <a:gd name="connsiteX56" fmla="*/ 2306977 w 4519987"/>
              <a:gd name="connsiteY56" fmla="*/ 4476750 h 4496940"/>
              <a:gd name="connsiteX57" fmla="*/ 2202202 w 4519987"/>
              <a:gd name="connsiteY57" fmla="*/ 4457700 h 4496940"/>
              <a:gd name="connsiteX58" fmla="*/ 2126002 w 4519987"/>
              <a:gd name="connsiteY58" fmla="*/ 4429125 h 4496940"/>
              <a:gd name="connsiteX59" fmla="*/ 1935502 w 4519987"/>
              <a:gd name="connsiteY59" fmla="*/ 4400550 h 4496940"/>
              <a:gd name="connsiteX60" fmla="*/ 1821202 w 4519987"/>
              <a:gd name="connsiteY60" fmla="*/ 4371975 h 4496940"/>
              <a:gd name="connsiteX61" fmla="*/ 1754527 w 4519987"/>
              <a:gd name="connsiteY61" fmla="*/ 4352925 h 4496940"/>
              <a:gd name="connsiteX62" fmla="*/ 1687852 w 4519987"/>
              <a:gd name="connsiteY62" fmla="*/ 4343400 h 4496940"/>
              <a:gd name="connsiteX63" fmla="*/ 1573552 w 4519987"/>
              <a:gd name="connsiteY63" fmla="*/ 4305300 h 4496940"/>
              <a:gd name="connsiteX64" fmla="*/ 1402102 w 4519987"/>
              <a:gd name="connsiteY64" fmla="*/ 4276725 h 4496940"/>
              <a:gd name="connsiteX65" fmla="*/ 1287802 w 4519987"/>
              <a:gd name="connsiteY65" fmla="*/ 4229100 h 4496940"/>
              <a:gd name="connsiteX66" fmla="*/ 1221127 w 4519987"/>
              <a:gd name="connsiteY66" fmla="*/ 4200525 h 4496940"/>
              <a:gd name="connsiteX67" fmla="*/ 1144927 w 4519987"/>
              <a:gd name="connsiteY67" fmla="*/ 4171950 h 4496940"/>
              <a:gd name="connsiteX68" fmla="*/ 1087777 w 4519987"/>
              <a:gd name="connsiteY68" fmla="*/ 4143375 h 4496940"/>
              <a:gd name="connsiteX69" fmla="*/ 1030627 w 4519987"/>
              <a:gd name="connsiteY69" fmla="*/ 4124325 h 4496940"/>
              <a:gd name="connsiteX70" fmla="*/ 925852 w 4519987"/>
              <a:gd name="connsiteY70" fmla="*/ 4067175 h 4496940"/>
              <a:gd name="connsiteX71" fmla="*/ 830602 w 4519987"/>
              <a:gd name="connsiteY71" fmla="*/ 3981450 h 4496940"/>
              <a:gd name="connsiteX72" fmla="*/ 763927 w 4519987"/>
              <a:gd name="connsiteY72" fmla="*/ 3914775 h 4496940"/>
              <a:gd name="connsiteX73" fmla="*/ 725827 w 4519987"/>
              <a:gd name="connsiteY73" fmla="*/ 3876675 h 4496940"/>
              <a:gd name="connsiteX74" fmla="*/ 697252 w 4519987"/>
              <a:gd name="connsiteY74" fmla="*/ 3838575 h 4496940"/>
              <a:gd name="connsiteX75" fmla="*/ 640102 w 4519987"/>
              <a:gd name="connsiteY75" fmla="*/ 3781425 h 4496940"/>
              <a:gd name="connsiteX76" fmla="*/ 611527 w 4519987"/>
              <a:gd name="connsiteY76" fmla="*/ 3733800 h 4496940"/>
              <a:gd name="connsiteX77" fmla="*/ 554377 w 4519987"/>
              <a:gd name="connsiteY77" fmla="*/ 3657600 h 4496940"/>
              <a:gd name="connsiteX78" fmla="*/ 525802 w 4519987"/>
              <a:gd name="connsiteY78" fmla="*/ 3609975 h 4496940"/>
              <a:gd name="connsiteX79" fmla="*/ 497227 w 4519987"/>
              <a:gd name="connsiteY79" fmla="*/ 3552825 h 4496940"/>
              <a:gd name="connsiteX80" fmla="*/ 440077 w 4519987"/>
              <a:gd name="connsiteY80" fmla="*/ 3495675 h 4496940"/>
              <a:gd name="connsiteX81" fmla="*/ 411502 w 4519987"/>
              <a:gd name="connsiteY81" fmla="*/ 3448050 h 4496940"/>
              <a:gd name="connsiteX82" fmla="*/ 278152 w 4519987"/>
              <a:gd name="connsiteY82" fmla="*/ 3257550 h 4496940"/>
              <a:gd name="connsiteX83" fmla="*/ 249577 w 4519987"/>
              <a:gd name="connsiteY83" fmla="*/ 3200400 h 4496940"/>
              <a:gd name="connsiteX84" fmla="*/ 240052 w 4519987"/>
              <a:gd name="connsiteY84" fmla="*/ 3162300 h 4496940"/>
              <a:gd name="connsiteX85" fmla="*/ 221002 w 4519987"/>
              <a:gd name="connsiteY85" fmla="*/ 3105150 h 4496940"/>
              <a:gd name="connsiteX86" fmla="*/ 173377 w 4519987"/>
              <a:gd name="connsiteY86" fmla="*/ 3019425 h 4496940"/>
              <a:gd name="connsiteX87" fmla="*/ 144802 w 4519987"/>
              <a:gd name="connsiteY87" fmla="*/ 2924175 h 4496940"/>
              <a:gd name="connsiteX88" fmla="*/ 68602 w 4519987"/>
              <a:gd name="connsiteY88" fmla="*/ 2724150 h 4496940"/>
              <a:gd name="connsiteX89" fmla="*/ 49552 w 4519987"/>
              <a:gd name="connsiteY89" fmla="*/ 2638425 h 4496940"/>
              <a:gd name="connsiteX90" fmla="*/ 40027 w 4519987"/>
              <a:gd name="connsiteY90" fmla="*/ 2562225 h 4496940"/>
              <a:gd name="connsiteX91" fmla="*/ 30502 w 4519987"/>
              <a:gd name="connsiteY91" fmla="*/ 2514600 h 4496940"/>
              <a:gd name="connsiteX92" fmla="*/ 11452 w 4519987"/>
              <a:gd name="connsiteY92" fmla="*/ 2400300 h 4496940"/>
              <a:gd name="connsiteX93" fmla="*/ 20977 w 4519987"/>
              <a:gd name="connsiteY93" fmla="*/ 1905000 h 4496940"/>
              <a:gd name="connsiteX94" fmla="*/ 30502 w 4519987"/>
              <a:gd name="connsiteY94" fmla="*/ 1838325 h 4496940"/>
              <a:gd name="connsiteX95" fmla="*/ 49552 w 4519987"/>
              <a:gd name="connsiteY95" fmla="*/ 1781175 h 4496940"/>
              <a:gd name="connsiteX96" fmla="*/ 59077 w 4519987"/>
              <a:gd name="connsiteY96" fmla="*/ 1743075 h 4496940"/>
              <a:gd name="connsiteX97" fmla="*/ 78127 w 4519987"/>
              <a:gd name="connsiteY97" fmla="*/ 1685925 h 4496940"/>
              <a:gd name="connsiteX98" fmla="*/ 87652 w 4519987"/>
              <a:gd name="connsiteY98" fmla="*/ 1638300 h 4496940"/>
              <a:gd name="connsiteX99" fmla="*/ 106702 w 4519987"/>
              <a:gd name="connsiteY99" fmla="*/ 1590675 h 4496940"/>
              <a:gd name="connsiteX100" fmla="*/ 135277 w 4519987"/>
              <a:gd name="connsiteY100" fmla="*/ 1504950 h 4496940"/>
              <a:gd name="connsiteX101" fmla="*/ 154327 w 4519987"/>
              <a:gd name="connsiteY101" fmla="*/ 1419225 h 4496940"/>
              <a:gd name="connsiteX102" fmla="*/ 230527 w 4519987"/>
              <a:gd name="connsiteY102" fmla="*/ 1276350 h 4496940"/>
              <a:gd name="connsiteX103" fmla="*/ 240052 w 4519987"/>
              <a:gd name="connsiteY103" fmla="*/ 1247775 h 4496940"/>
              <a:gd name="connsiteX104" fmla="*/ 268627 w 4519987"/>
              <a:gd name="connsiteY104" fmla="*/ 1200150 h 4496940"/>
              <a:gd name="connsiteX105" fmla="*/ 287677 w 4519987"/>
              <a:gd name="connsiteY105" fmla="*/ 1152525 h 4496940"/>
              <a:gd name="connsiteX106" fmla="*/ 316252 w 4519987"/>
              <a:gd name="connsiteY106" fmla="*/ 1114425 h 4496940"/>
              <a:gd name="connsiteX107" fmla="*/ 363877 w 4519987"/>
              <a:gd name="connsiteY107" fmla="*/ 1038225 h 4496940"/>
              <a:gd name="connsiteX108" fmla="*/ 382927 w 4519987"/>
              <a:gd name="connsiteY108" fmla="*/ 1009650 h 4496940"/>
              <a:gd name="connsiteX109" fmla="*/ 440077 w 4519987"/>
              <a:gd name="connsiteY109" fmla="*/ 904875 h 4496940"/>
              <a:gd name="connsiteX110" fmla="*/ 478177 w 4519987"/>
              <a:gd name="connsiteY110" fmla="*/ 857250 h 4496940"/>
              <a:gd name="connsiteX111" fmla="*/ 497227 w 4519987"/>
              <a:gd name="connsiteY111" fmla="*/ 828675 h 4496940"/>
              <a:gd name="connsiteX112" fmla="*/ 535327 w 4519987"/>
              <a:gd name="connsiteY112" fmla="*/ 800100 h 4496940"/>
              <a:gd name="connsiteX113" fmla="*/ 602002 w 4519987"/>
              <a:gd name="connsiteY113" fmla="*/ 733425 h 4496940"/>
              <a:gd name="connsiteX114" fmla="*/ 668677 w 4519987"/>
              <a:gd name="connsiteY114" fmla="*/ 676275 h 4496940"/>
              <a:gd name="connsiteX115" fmla="*/ 697252 w 4519987"/>
              <a:gd name="connsiteY115" fmla="*/ 657225 h 4496940"/>
              <a:gd name="connsiteX116" fmla="*/ 840127 w 4519987"/>
              <a:gd name="connsiteY116" fmla="*/ 533400 h 4496940"/>
              <a:gd name="connsiteX117" fmla="*/ 887752 w 4519987"/>
              <a:gd name="connsiteY117" fmla="*/ 504825 h 4496940"/>
              <a:gd name="connsiteX118" fmla="*/ 1167152 w 4519987"/>
              <a:gd name="connsiteY118" fmla="*/ 311150 h 4496940"/>
              <a:gd name="connsiteX119" fmla="*/ 1268752 w 4519987"/>
              <a:gd name="connsiteY119" fmla="*/ 285750 h 4496940"/>
              <a:gd name="connsiteX120" fmla="*/ 1411627 w 4519987"/>
              <a:gd name="connsiteY120" fmla="*/ 190500 h 4496940"/>
              <a:gd name="connsiteX121" fmla="*/ 1449727 w 4519987"/>
              <a:gd name="connsiteY121" fmla="*/ 161925 h 4496940"/>
              <a:gd name="connsiteX122" fmla="*/ 1525927 w 4519987"/>
              <a:gd name="connsiteY122" fmla="*/ 152400 h 4496940"/>
              <a:gd name="connsiteX123" fmla="*/ 1583077 w 4519987"/>
              <a:gd name="connsiteY123" fmla="*/ 142875 h 4496940"/>
              <a:gd name="connsiteX124" fmla="*/ 1716427 w 4519987"/>
              <a:gd name="connsiteY124" fmla="*/ 123825 h 4496940"/>
              <a:gd name="connsiteX125" fmla="*/ 1811677 w 4519987"/>
              <a:gd name="connsiteY125" fmla="*/ 114300 h 4496940"/>
              <a:gd name="connsiteX126" fmla="*/ 1859302 w 4519987"/>
              <a:gd name="connsiteY126" fmla="*/ 104775 h 4496940"/>
              <a:gd name="connsiteX127" fmla="*/ 1916452 w 4519987"/>
              <a:gd name="connsiteY127" fmla="*/ 95250 h 4496940"/>
              <a:gd name="connsiteX128" fmla="*/ 2030752 w 4519987"/>
              <a:gd name="connsiteY128" fmla="*/ 66675 h 4496940"/>
              <a:gd name="connsiteX129" fmla="*/ 2097427 w 4519987"/>
              <a:gd name="connsiteY129" fmla="*/ 47625 h 4496940"/>
              <a:gd name="connsiteX130" fmla="*/ 2164102 w 4519987"/>
              <a:gd name="connsiteY130" fmla="*/ 38100 h 4496940"/>
              <a:gd name="connsiteX131" fmla="*/ 2392702 w 4519987"/>
              <a:gd name="connsiteY13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88152 w 4519987"/>
              <a:gd name="connsiteY33" fmla="*/ 3495675 h 4496940"/>
              <a:gd name="connsiteX34" fmla="*/ 4059577 w 4519987"/>
              <a:gd name="connsiteY34" fmla="*/ 3533775 h 4496940"/>
              <a:gd name="connsiteX35" fmla="*/ 4002427 w 4519987"/>
              <a:gd name="connsiteY35" fmla="*/ 3600450 h 4496940"/>
              <a:gd name="connsiteX36" fmla="*/ 3954802 w 4519987"/>
              <a:gd name="connsiteY36" fmla="*/ 3648075 h 4496940"/>
              <a:gd name="connsiteX37" fmla="*/ 3659527 w 4519987"/>
              <a:gd name="connsiteY37" fmla="*/ 3971925 h 4496940"/>
              <a:gd name="connsiteX38" fmla="*/ 3630952 w 4519987"/>
              <a:gd name="connsiteY38" fmla="*/ 4010025 h 4496940"/>
              <a:gd name="connsiteX39" fmla="*/ 3621427 w 4519987"/>
              <a:gd name="connsiteY39" fmla="*/ 4038600 h 4496940"/>
              <a:gd name="connsiteX40" fmla="*/ 3554752 w 4519987"/>
              <a:gd name="connsiteY40" fmla="*/ 4095750 h 4496940"/>
              <a:gd name="connsiteX41" fmla="*/ 3516652 w 4519987"/>
              <a:gd name="connsiteY41" fmla="*/ 4114800 h 4496940"/>
              <a:gd name="connsiteX42" fmla="*/ 3497602 w 4519987"/>
              <a:gd name="connsiteY42" fmla="*/ 4143375 h 4496940"/>
              <a:gd name="connsiteX43" fmla="*/ 3383302 w 4519987"/>
              <a:gd name="connsiteY43" fmla="*/ 4210050 h 4496940"/>
              <a:gd name="connsiteX44" fmla="*/ 3335677 w 4519987"/>
              <a:gd name="connsiteY44" fmla="*/ 4238625 h 4496940"/>
              <a:gd name="connsiteX45" fmla="*/ 3288052 w 4519987"/>
              <a:gd name="connsiteY45" fmla="*/ 4248150 h 4496940"/>
              <a:gd name="connsiteX46" fmla="*/ 3240427 w 4519987"/>
              <a:gd name="connsiteY46" fmla="*/ 4267200 h 4496940"/>
              <a:gd name="connsiteX47" fmla="*/ 3068977 w 4519987"/>
              <a:gd name="connsiteY47" fmla="*/ 4286250 h 4496940"/>
              <a:gd name="connsiteX48" fmla="*/ 2935627 w 4519987"/>
              <a:gd name="connsiteY48" fmla="*/ 4333875 h 4496940"/>
              <a:gd name="connsiteX49" fmla="*/ 2811802 w 4519987"/>
              <a:gd name="connsiteY49" fmla="*/ 4371975 h 4496940"/>
              <a:gd name="connsiteX50" fmla="*/ 2745127 w 4519987"/>
              <a:gd name="connsiteY50" fmla="*/ 4410075 h 4496940"/>
              <a:gd name="connsiteX51" fmla="*/ 2697502 w 4519987"/>
              <a:gd name="connsiteY51" fmla="*/ 4429125 h 4496940"/>
              <a:gd name="connsiteX52" fmla="*/ 2640352 w 4519987"/>
              <a:gd name="connsiteY52" fmla="*/ 4457700 h 4496940"/>
              <a:gd name="connsiteX53" fmla="*/ 2583202 w 4519987"/>
              <a:gd name="connsiteY53" fmla="*/ 4467225 h 4496940"/>
              <a:gd name="connsiteX54" fmla="*/ 2545102 w 4519987"/>
              <a:gd name="connsiteY54" fmla="*/ 4486275 h 4496940"/>
              <a:gd name="connsiteX55" fmla="*/ 2306977 w 4519987"/>
              <a:gd name="connsiteY55" fmla="*/ 4476750 h 4496940"/>
              <a:gd name="connsiteX56" fmla="*/ 2202202 w 4519987"/>
              <a:gd name="connsiteY56" fmla="*/ 4457700 h 4496940"/>
              <a:gd name="connsiteX57" fmla="*/ 2126002 w 4519987"/>
              <a:gd name="connsiteY57" fmla="*/ 4429125 h 4496940"/>
              <a:gd name="connsiteX58" fmla="*/ 1935502 w 4519987"/>
              <a:gd name="connsiteY58" fmla="*/ 4400550 h 4496940"/>
              <a:gd name="connsiteX59" fmla="*/ 1821202 w 4519987"/>
              <a:gd name="connsiteY59" fmla="*/ 4371975 h 4496940"/>
              <a:gd name="connsiteX60" fmla="*/ 1754527 w 4519987"/>
              <a:gd name="connsiteY60" fmla="*/ 4352925 h 4496940"/>
              <a:gd name="connsiteX61" fmla="*/ 1687852 w 4519987"/>
              <a:gd name="connsiteY61" fmla="*/ 4343400 h 4496940"/>
              <a:gd name="connsiteX62" fmla="*/ 1573552 w 4519987"/>
              <a:gd name="connsiteY62" fmla="*/ 4305300 h 4496940"/>
              <a:gd name="connsiteX63" fmla="*/ 1402102 w 4519987"/>
              <a:gd name="connsiteY63" fmla="*/ 4276725 h 4496940"/>
              <a:gd name="connsiteX64" fmla="*/ 1287802 w 4519987"/>
              <a:gd name="connsiteY64" fmla="*/ 4229100 h 4496940"/>
              <a:gd name="connsiteX65" fmla="*/ 1221127 w 4519987"/>
              <a:gd name="connsiteY65" fmla="*/ 4200525 h 4496940"/>
              <a:gd name="connsiteX66" fmla="*/ 1144927 w 4519987"/>
              <a:gd name="connsiteY66" fmla="*/ 4171950 h 4496940"/>
              <a:gd name="connsiteX67" fmla="*/ 1087777 w 4519987"/>
              <a:gd name="connsiteY67" fmla="*/ 4143375 h 4496940"/>
              <a:gd name="connsiteX68" fmla="*/ 1030627 w 4519987"/>
              <a:gd name="connsiteY68" fmla="*/ 4124325 h 4496940"/>
              <a:gd name="connsiteX69" fmla="*/ 925852 w 4519987"/>
              <a:gd name="connsiteY69" fmla="*/ 4067175 h 4496940"/>
              <a:gd name="connsiteX70" fmla="*/ 830602 w 4519987"/>
              <a:gd name="connsiteY70" fmla="*/ 3981450 h 4496940"/>
              <a:gd name="connsiteX71" fmla="*/ 763927 w 4519987"/>
              <a:gd name="connsiteY71" fmla="*/ 3914775 h 4496940"/>
              <a:gd name="connsiteX72" fmla="*/ 725827 w 4519987"/>
              <a:gd name="connsiteY72" fmla="*/ 3876675 h 4496940"/>
              <a:gd name="connsiteX73" fmla="*/ 697252 w 4519987"/>
              <a:gd name="connsiteY73" fmla="*/ 3838575 h 4496940"/>
              <a:gd name="connsiteX74" fmla="*/ 640102 w 4519987"/>
              <a:gd name="connsiteY74" fmla="*/ 3781425 h 4496940"/>
              <a:gd name="connsiteX75" fmla="*/ 611527 w 4519987"/>
              <a:gd name="connsiteY75" fmla="*/ 3733800 h 4496940"/>
              <a:gd name="connsiteX76" fmla="*/ 554377 w 4519987"/>
              <a:gd name="connsiteY76" fmla="*/ 3657600 h 4496940"/>
              <a:gd name="connsiteX77" fmla="*/ 525802 w 4519987"/>
              <a:gd name="connsiteY77" fmla="*/ 3609975 h 4496940"/>
              <a:gd name="connsiteX78" fmla="*/ 497227 w 4519987"/>
              <a:gd name="connsiteY78" fmla="*/ 3552825 h 4496940"/>
              <a:gd name="connsiteX79" fmla="*/ 440077 w 4519987"/>
              <a:gd name="connsiteY79" fmla="*/ 3495675 h 4496940"/>
              <a:gd name="connsiteX80" fmla="*/ 411502 w 4519987"/>
              <a:gd name="connsiteY80" fmla="*/ 3448050 h 4496940"/>
              <a:gd name="connsiteX81" fmla="*/ 278152 w 4519987"/>
              <a:gd name="connsiteY81" fmla="*/ 3257550 h 4496940"/>
              <a:gd name="connsiteX82" fmla="*/ 249577 w 4519987"/>
              <a:gd name="connsiteY82" fmla="*/ 3200400 h 4496940"/>
              <a:gd name="connsiteX83" fmla="*/ 240052 w 4519987"/>
              <a:gd name="connsiteY83" fmla="*/ 3162300 h 4496940"/>
              <a:gd name="connsiteX84" fmla="*/ 221002 w 4519987"/>
              <a:gd name="connsiteY84" fmla="*/ 3105150 h 4496940"/>
              <a:gd name="connsiteX85" fmla="*/ 173377 w 4519987"/>
              <a:gd name="connsiteY85" fmla="*/ 3019425 h 4496940"/>
              <a:gd name="connsiteX86" fmla="*/ 144802 w 4519987"/>
              <a:gd name="connsiteY86" fmla="*/ 2924175 h 4496940"/>
              <a:gd name="connsiteX87" fmla="*/ 68602 w 4519987"/>
              <a:gd name="connsiteY87" fmla="*/ 2724150 h 4496940"/>
              <a:gd name="connsiteX88" fmla="*/ 49552 w 4519987"/>
              <a:gd name="connsiteY88" fmla="*/ 2638425 h 4496940"/>
              <a:gd name="connsiteX89" fmla="*/ 40027 w 4519987"/>
              <a:gd name="connsiteY89" fmla="*/ 2562225 h 4496940"/>
              <a:gd name="connsiteX90" fmla="*/ 30502 w 4519987"/>
              <a:gd name="connsiteY90" fmla="*/ 2514600 h 4496940"/>
              <a:gd name="connsiteX91" fmla="*/ 11452 w 4519987"/>
              <a:gd name="connsiteY91" fmla="*/ 2400300 h 4496940"/>
              <a:gd name="connsiteX92" fmla="*/ 20977 w 4519987"/>
              <a:gd name="connsiteY92" fmla="*/ 1905000 h 4496940"/>
              <a:gd name="connsiteX93" fmla="*/ 30502 w 4519987"/>
              <a:gd name="connsiteY93" fmla="*/ 1838325 h 4496940"/>
              <a:gd name="connsiteX94" fmla="*/ 49552 w 4519987"/>
              <a:gd name="connsiteY94" fmla="*/ 1781175 h 4496940"/>
              <a:gd name="connsiteX95" fmla="*/ 59077 w 4519987"/>
              <a:gd name="connsiteY95" fmla="*/ 1743075 h 4496940"/>
              <a:gd name="connsiteX96" fmla="*/ 78127 w 4519987"/>
              <a:gd name="connsiteY96" fmla="*/ 1685925 h 4496940"/>
              <a:gd name="connsiteX97" fmla="*/ 87652 w 4519987"/>
              <a:gd name="connsiteY97" fmla="*/ 1638300 h 4496940"/>
              <a:gd name="connsiteX98" fmla="*/ 106702 w 4519987"/>
              <a:gd name="connsiteY98" fmla="*/ 1590675 h 4496940"/>
              <a:gd name="connsiteX99" fmla="*/ 135277 w 4519987"/>
              <a:gd name="connsiteY99" fmla="*/ 1504950 h 4496940"/>
              <a:gd name="connsiteX100" fmla="*/ 154327 w 4519987"/>
              <a:gd name="connsiteY100" fmla="*/ 1419225 h 4496940"/>
              <a:gd name="connsiteX101" fmla="*/ 230527 w 4519987"/>
              <a:gd name="connsiteY101" fmla="*/ 1276350 h 4496940"/>
              <a:gd name="connsiteX102" fmla="*/ 240052 w 4519987"/>
              <a:gd name="connsiteY102" fmla="*/ 1247775 h 4496940"/>
              <a:gd name="connsiteX103" fmla="*/ 268627 w 4519987"/>
              <a:gd name="connsiteY103" fmla="*/ 1200150 h 4496940"/>
              <a:gd name="connsiteX104" fmla="*/ 287677 w 4519987"/>
              <a:gd name="connsiteY104" fmla="*/ 1152525 h 4496940"/>
              <a:gd name="connsiteX105" fmla="*/ 316252 w 4519987"/>
              <a:gd name="connsiteY105" fmla="*/ 1114425 h 4496940"/>
              <a:gd name="connsiteX106" fmla="*/ 363877 w 4519987"/>
              <a:gd name="connsiteY106" fmla="*/ 1038225 h 4496940"/>
              <a:gd name="connsiteX107" fmla="*/ 382927 w 4519987"/>
              <a:gd name="connsiteY107" fmla="*/ 1009650 h 4496940"/>
              <a:gd name="connsiteX108" fmla="*/ 440077 w 4519987"/>
              <a:gd name="connsiteY108" fmla="*/ 904875 h 4496940"/>
              <a:gd name="connsiteX109" fmla="*/ 478177 w 4519987"/>
              <a:gd name="connsiteY109" fmla="*/ 857250 h 4496940"/>
              <a:gd name="connsiteX110" fmla="*/ 497227 w 4519987"/>
              <a:gd name="connsiteY110" fmla="*/ 828675 h 4496940"/>
              <a:gd name="connsiteX111" fmla="*/ 535327 w 4519987"/>
              <a:gd name="connsiteY111" fmla="*/ 800100 h 4496940"/>
              <a:gd name="connsiteX112" fmla="*/ 602002 w 4519987"/>
              <a:gd name="connsiteY112" fmla="*/ 733425 h 4496940"/>
              <a:gd name="connsiteX113" fmla="*/ 668677 w 4519987"/>
              <a:gd name="connsiteY113" fmla="*/ 676275 h 4496940"/>
              <a:gd name="connsiteX114" fmla="*/ 697252 w 4519987"/>
              <a:gd name="connsiteY114" fmla="*/ 657225 h 4496940"/>
              <a:gd name="connsiteX115" fmla="*/ 840127 w 4519987"/>
              <a:gd name="connsiteY115" fmla="*/ 533400 h 4496940"/>
              <a:gd name="connsiteX116" fmla="*/ 887752 w 4519987"/>
              <a:gd name="connsiteY116" fmla="*/ 504825 h 4496940"/>
              <a:gd name="connsiteX117" fmla="*/ 1167152 w 4519987"/>
              <a:gd name="connsiteY117" fmla="*/ 311150 h 4496940"/>
              <a:gd name="connsiteX118" fmla="*/ 1268752 w 4519987"/>
              <a:gd name="connsiteY118" fmla="*/ 285750 h 4496940"/>
              <a:gd name="connsiteX119" fmla="*/ 1411627 w 4519987"/>
              <a:gd name="connsiteY119" fmla="*/ 190500 h 4496940"/>
              <a:gd name="connsiteX120" fmla="*/ 1449727 w 4519987"/>
              <a:gd name="connsiteY120" fmla="*/ 161925 h 4496940"/>
              <a:gd name="connsiteX121" fmla="*/ 1525927 w 4519987"/>
              <a:gd name="connsiteY121" fmla="*/ 152400 h 4496940"/>
              <a:gd name="connsiteX122" fmla="*/ 1583077 w 4519987"/>
              <a:gd name="connsiteY122" fmla="*/ 142875 h 4496940"/>
              <a:gd name="connsiteX123" fmla="*/ 1716427 w 4519987"/>
              <a:gd name="connsiteY123" fmla="*/ 123825 h 4496940"/>
              <a:gd name="connsiteX124" fmla="*/ 1811677 w 4519987"/>
              <a:gd name="connsiteY124" fmla="*/ 114300 h 4496940"/>
              <a:gd name="connsiteX125" fmla="*/ 1859302 w 4519987"/>
              <a:gd name="connsiteY125" fmla="*/ 104775 h 4496940"/>
              <a:gd name="connsiteX126" fmla="*/ 1916452 w 4519987"/>
              <a:gd name="connsiteY126" fmla="*/ 95250 h 4496940"/>
              <a:gd name="connsiteX127" fmla="*/ 2030752 w 4519987"/>
              <a:gd name="connsiteY127" fmla="*/ 66675 h 4496940"/>
              <a:gd name="connsiteX128" fmla="*/ 2097427 w 4519987"/>
              <a:gd name="connsiteY128" fmla="*/ 47625 h 4496940"/>
              <a:gd name="connsiteX129" fmla="*/ 2164102 w 4519987"/>
              <a:gd name="connsiteY129" fmla="*/ 38100 h 4496940"/>
              <a:gd name="connsiteX130" fmla="*/ 2392702 w 4519987"/>
              <a:gd name="connsiteY130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4002427 w 4519987"/>
              <a:gd name="connsiteY34" fmla="*/ 3600450 h 4496940"/>
              <a:gd name="connsiteX35" fmla="*/ 3954802 w 4519987"/>
              <a:gd name="connsiteY35" fmla="*/ 3648075 h 4496940"/>
              <a:gd name="connsiteX36" fmla="*/ 3659527 w 4519987"/>
              <a:gd name="connsiteY36" fmla="*/ 3971925 h 4496940"/>
              <a:gd name="connsiteX37" fmla="*/ 3630952 w 4519987"/>
              <a:gd name="connsiteY37" fmla="*/ 4010025 h 4496940"/>
              <a:gd name="connsiteX38" fmla="*/ 3621427 w 4519987"/>
              <a:gd name="connsiteY38" fmla="*/ 4038600 h 4496940"/>
              <a:gd name="connsiteX39" fmla="*/ 3554752 w 4519987"/>
              <a:gd name="connsiteY39" fmla="*/ 4095750 h 4496940"/>
              <a:gd name="connsiteX40" fmla="*/ 3516652 w 4519987"/>
              <a:gd name="connsiteY40" fmla="*/ 4114800 h 4496940"/>
              <a:gd name="connsiteX41" fmla="*/ 3497602 w 4519987"/>
              <a:gd name="connsiteY41" fmla="*/ 4143375 h 4496940"/>
              <a:gd name="connsiteX42" fmla="*/ 3383302 w 4519987"/>
              <a:gd name="connsiteY42" fmla="*/ 4210050 h 4496940"/>
              <a:gd name="connsiteX43" fmla="*/ 3335677 w 4519987"/>
              <a:gd name="connsiteY43" fmla="*/ 4238625 h 4496940"/>
              <a:gd name="connsiteX44" fmla="*/ 3288052 w 4519987"/>
              <a:gd name="connsiteY44" fmla="*/ 4248150 h 4496940"/>
              <a:gd name="connsiteX45" fmla="*/ 3240427 w 4519987"/>
              <a:gd name="connsiteY45" fmla="*/ 4267200 h 4496940"/>
              <a:gd name="connsiteX46" fmla="*/ 3068977 w 4519987"/>
              <a:gd name="connsiteY46" fmla="*/ 4286250 h 4496940"/>
              <a:gd name="connsiteX47" fmla="*/ 2935627 w 4519987"/>
              <a:gd name="connsiteY47" fmla="*/ 4333875 h 4496940"/>
              <a:gd name="connsiteX48" fmla="*/ 2811802 w 4519987"/>
              <a:gd name="connsiteY48" fmla="*/ 4371975 h 4496940"/>
              <a:gd name="connsiteX49" fmla="*/ 2745127 w 4519987"/>
              <a:gd name="connsiteY49" fmla="*/ 4410075 h 4496940"/>
              <a:gd name="connsiteX50" fmla="*/ 2697502 w 4519987"/>
              <a:gd name="connsiteY50" fmla="*/ 4429125 h 4496940"/>
              <a:gd name="connsiteX51" fmla="*/ 2640352 w 4519987"/>
              <a:gd name="connsiteY51" fmla="*/ 4457700 h 4496940"/>
              <a:gd name="connsiteX52" fmla="*/ 2583202 w 4519987"/>
              <a:gd name="connsiteY52" fmla="*/ 4467225 h 4496940"/>
              <a:gd name="connsiteX53" fmla="*/ 2545102 w 4519987"/>
              <a:gd name="connsiteY53" fmla="*/ 4486275 h 4496940"/>
              <a:gd name="connsiteX54" fmla="*/ 2306977 w 4519987"/>
              <a:gd name="connsiteY54" fmla="*/ 4476750 h 4496940"/>
              <a:gd name="connsiteX55" fmla="*/ 2202202 w 4519987"/>
              <a:gd name="connsiteY55" fmla="*/ 4457700 h 4496940"/>
              <a:gd name="connsiteX56" fmla="*/ 2126002 w 4519987"/>
              <a:gd name="connsiteY56" fmla="*/ 4429125 h 4496940"/>
              <a:gd name="connsiteX57" fmla="*/ 1935502 w 4519987"/>
              <a:gd name="connsiteY57" fmla="*/ 4400550 h 4496940"/>
              <a:gd name="connsiteX58" fmla="*/ 1821202 w 4519987"/>
              <a:gd name="connsiteY58" fmla="*/ 4371975 h 4496940"/>
              <a:gd name="connsiteX59" fmla="*/ 1754527 w 4519987"/>
              <a:gd name="connsiteY59" fmla="*/ 4352925 h 4496940"/>
              <a:gd name="connsiteX60" fmla="*/ 1687852 w 4519987"/>
              <a:gd name="connsiteY60" fmla="*/ 4343400 h 4496940"/>
              <a:gd name="connsiteX61" fmla="*/ 1573552 w 4519987"/>
              <a:gd name="connsiteY61" fmla="*/ 4305300 h 4496940"/>
              <a:gd name="connsiteX62" fmla="*/ 1402102 w 4519987"/>
              <a:gd name="connsiteY62" fmla="*/ 4276725 h 4496940"/>
              <a:gd name="connsiteX63" fmla="*/ 1287802 w 4519987"/>
              <a:gd name="connsiteY63" fmla="*/ 4229100 h 4496940"/>
              <a:gd name="connsiteX64" fmla="*/ 1221127 w 4519987"/>
              <a:gd name="connsiteY64" fmla="*/ 4200525 h 4496940"/>
              <a:gd name="connsiteX65" fmla="*/ 1144927 w 4519987"/>
              <a:gd name="connsiteY65" fmla="*/ 4171950 h 4496940"/>
              <a:gd name="connsiteX66" fmla="*/ 1087777 w 4519987"/>
              <a:gd name="connsiteY66" fmla="*/ 4143375 h 4496940"/>
              <a:gd name="connsiteX67" fmla="*/ 1030627 w 4519987"/>
              <a:gd name="connsiteY67" fmla="*/ 4124325 h 4496940"/>
              <a:gd name="connsiteX68" fmla="*/ 925852 w 4519987"/>
              <a:gd name="connsiteY68" fmla="*/ 4067175 h 4496940"/>
              <a:gd name="connsiteX69" fmla="*/ 830602 w 4519987"/>
              <a:gd name="connsiteY69" fmla="*/ 3981450 h 4496940"/>
              <a:gd name="connsiteX70" fmla="*/ 763927 w 4519987"/>
              <a:gd name="connsiteY70" fmla="*/ 3914775 h 4496940"/>
              <a:gd name="connsiteX71" fmla="*/ 725827 w 4519987"/>
              <a:gd name="connsiteY71" fmla="*/ 3876675 h 4496940"/>
              <a:gd name="connsiteX72" fmla="*/ 697252 w 4519987"/>
              <a:gd name="connsiteY72" fmla="*/ 3838575 h 4496940"/>
              <a:gd name="connsiteX73" fmla="*/ 640102 w 4519987"/>
              <a:gd name="connsiteY73" fmla="*/ 3781425 h 4496940"/>
              <a:gd name="connsiteX74" fmla="*/ 611527 w 4519987"/>
              <a:gd name="connsiteY74" fmla="*/ 3733800 h 4496940"/>
              <a:gd name="connsiteX75" fmla="*/ 554377 w 4519987"/>
              <a:gd name="connsiteY75" fmla="*/ 3657600 h 4496940"/>
              <a:gd name="connsiteX76" fmla="*/ 525802 w 4519987"/>
              <a:gd name="connsiteY76" fmla="*/ 3609975 h 4496940"/>
              <a:gd name="connsiteX77" fmla="*/ 497227 w 4519987"/>
              <a:gd name="connsiteY77" fmla="*/ 3552825 h 4496940"/>
              <a:gd name="connsiteX78" fmla="*/ 440077 w 4519987"/>
              <a:gd name="connsiteY78" fmla="*/ 3495675 h 4496940"/>
              <a:gd name="connsiteX79" fmla="*/ 411502 w 4519987"/>
              <a:gd name="connsiteY79" fmla="*/ 3448050 h 4496940"/>
              <a:gd name="connsiteX80" fmla="*/ 278152 w 4519987"/>
              <a:gd name="connsiteY80" fmla="*/ 3257550 h 4496940"/>
              <a:gd name="connsiteX81" fmla="*/ 249577 w 4519987"/>
              <a:gd name="connsiteY81" fmla="*/ 3200400 h 4496940"/>
              <a:gd name="connsiteX82" fmla="*/ 240052 w 4519987"/>
              <a:gd name="connsiteY82" fmla="*/ 3162300 h 4496940"/>
              <a:gd name="connsiteX83" fmla="*/ 221002 w 4519987"/>
              <a:gd name="connsiteY83" fmla="*/ 3105150 h 4496940"/>
              <a:gd name="connsiteX84" fmla="*/ 173377 w 4519987"/>
              <a:gd name="connsiteY84" fmla="*/ 3019425 h 4496940"/>
              <a:gd name="connsiteX85" fmla="*/ 144802 w 4519987"/>
              <a:gd name="connsiteY85" fmla="*/ 2924175 h 4496940"/>
              <a:gd name="connsiteX86" fmla="*/ 68602 w 4519987"/>
              <a:gd name="connsiteY86" fmla="*/ 2724150 h 4496940"/>
              <a:gd name="connsiteX87" fmla="*/ 49552 w 4519987"/>
              <a:gd name="connsiteY87" fmla="*/ 2638425 h 4496940"/>
              <a:gd name="connsiteX88" fmla="*/ 40027 w 4519987"/>
              <a:gd name="connsiteY88" fmla="*/ 2562225 h 4496940"/>
              <a:gd name="connsiteX89" fmla="*/ 30502 w 4519987"/>
              <a:gd name="connsiteY89" fmla="*/ 2514600 h 4496940"/>
              <a:gd name="connsiteX90" fmla="*/ 11452 w 4519987"/>
              <a:gd name="connsiteY90" fmla="*/ 2400300 h 4496940"/>
              <a:gd name="connsiteX91" fmla="*/ 20977 w 4519987"/>
              <a:gd name="connsiteY91" fmla="*/ 1905000 h 4496940"/>
              <a:gd name="connsiteX92" fmla="*/ 30502 w 4519987"/>
              <a:gd name="connsiteY92" fmla="*/ 1838325 h 4496940"/>
              <a:gd name="connsiteX93" fmla="*/ 49552 w 4519987"/>
              <a:gd name="connsiteY93" fmla="*/ 1781175 h 4496940"/>
              <a:gd name="connsiteX94" fmla="*/ 59077 w 4519987"/>
              <a:gd name="connsiteY94" fmla="*/ 1743075 h 4496940"/>
              <a:gd name="connsiteX95" fmla="*/ 78127 w 4519987"/>
              <a:gd name="connsiteY95" fmla="*/ 1685925 h 4496940"/>
              <a:gd name="connsiteX96" fmla="*/ 87652 w 4519987"/>
              <a:gd name="connsiteY96" fmla="*/ 1638300 h 4496940"/>
              <a:gd name="connsiteX97" fmla="*/ 106702 w 4519987"/>
              <a:gd name="connsiteY97" fmla="*/ 1590675 h 4496940"/>
              <a:gd name="connsiteX98" fmla="*/ 135277 w 4519987"/>
              <a:gd name="connsiteY98" fmla="*/ 1504950 h 4496940"/>
              <a:gd name="connsiteX99" fmla="*/ 154327 w 4519987"/>
              <a:gd name="connsiteY99" fmla="*/ 1419225 h 4496940"/>
              <a:gd name="connsiteX100" fmla="*/ 230527 w 4519987"/>
              <a:gd name="connsiteY100" fmla="*/ 1276350 h 4496940"/>
              <a:gd name="connsiteX101" fmla="*/ 240052 w 4519987"/>
              <a:gd name="connsiteY101" fmla="*/ 1247775 h 4496940"/>
              <a:gd name="connsiteX102" fmla="*/ 268627 w 4519987"/>
              <a:gd name="connsiteY102" fmla="*/ 1200150 h 4496940"/>
              <a:gd name="connsiteX103" fmla="*/ 287677 w 4519987"/>
              <a:gd name="connsiteY103" fmla="*/ 1152525 h 4496940"/>
              <a:gd name="connsiteX104" fmla="*/ 316252 w 4519987"/>
              <a:gd name="connsiteY104" fmla="*/ 1114425 h 4496940"/>
              <a:gd name="connsiteX105" fmla="*/ 363877 w 4519987"/>
              <a:gd name="connsiteY105" fmla="*/ 1038225 h 4496940"/>
              <a:gd name="connsiteX106" fmla="*/ 382927 w 4519987"/>
              <a:gd name="connsiteY106" fmla="*/ 1009650 h 4496940"/>
              <a:gd name="connsiteX107" fmla="*/ 440077 w 4519987"/>
              <a:gd name="connsiteY107" fmla="*/ 904875 h 4496940"/>
              <a:gd name="connsiteX108" fmla="*/ 478177 w 4519987"/>
              <a:gd name="connsiteY108" fmla="*/ 857250 h 4496940"/>
              <a:gd name="connsiteX109" fmla="*/ 497227 w 4519987"/>
              <a:gd name="connsiteY109" fmla="*/ 828675 h 4496940"/>
              <a:gd name="connsiteX110" fmla="*/ 535327 w 4519987"/>
              <a:gd name="connsiteY110" fmla="*/ 800100 h 4496940"/>
              <a:gd name="connsiteX111" fmla="*/ 602002 w 4519987"/>
              <a:gd name="connsiteY111" fmla="*/ 733425 h 4496940"/>
              <a:gd name="connsiteX112" fmla="*/ 668677 w 4519987"/>
              <a:gd name="connsiteY112" fmla="*/ 676275 h 4496940"/>
              <a:gd name="connsiteX113" fmla="*/ 697252 w 4519987"/>
              <a:gd name="connsiteY113" fmla="*/ 657225 h 4496940"/>
              <a:gd name="connsiteX114" fmla="*/ 840127 w 4519987"/>
              <a:gd name="connsiteY114" fmla="*/ 533400 h 4496940"/>
              <a:gd name="connsiteX115" fmla="*/ 887752 w 4519987"/>
              <a:gd name="connsiteY115" fmla="*/ 504825 h 4496940"/>
              <a:gd name="connsiteX116" fmla="*/ 1167152 w 4519987"/>
              <a:gd name="connsiteY116" fmla="*/ 311150 h 4496940"/>
              <a:gd name="connsiteX117" fmla="*/ 1268752 w 4519987"/>
              <a:gd name="connsiteY117" fmla="*/ 285750 h 4496940"/>
              <a:gd name="connsiteX118" fmla="*/ 1411627 w 4519987"/>
              <a:gd name="connsiteY118" fmla="*/ 190500 h 4496940"/>
              <a:gd name="connsiteX119" fmla="*/ 1449727 w 4519987"/>
              <a:gd name="connsiteY119" fmla="*/ 161925 h 4496940"/>
              <a:gd name="connsiteX120" fmla="*/ 1525927 w 4519987"/>
              <a:gd name="connsiteY120" fmla="*/ 152400 h 4496940"/>
              <a:gd name="connsiteX121" fmla="*/ 1583077 w 4519987"/>
              <a:gd name="connsiteY121" fmla="*/ 142875 h 4496940"/>
              <a:gd name="connsiteX122" fmla="*/ 1716427 w 4519987"/>
              <a:gd name="connsiteY122" fmla="*/ 123825 h 4496940"/>
              <a:gd name="connsiteX123" fmla="*/ 1811677 w 4519987"/>
              <a:gd name="connsiteY123" fmla="*/ 114300 h 4496940"/>
              <a:gd name="connsiteX124" fmla="*/ 1859302 w 4519987"/>
              <a:gd name="connsiteY124" fmla="*/ 104775 h 4496940"/>
              <a:gd name="connsiteX125" fmla="*/ 1916452 w 4519987"/>
              <a:gd name="connsiteY125" fmla="*/ 95250 h 4496940"/>
              <a:gd name="connsiteX126" fmla="*/ 2030752 w 4519987"/>
              <a:gd name="connsiteY126" fmla="*/ 66675 h 4496940"/>
              <a:gd name="connsiteX127" fmla="*/ 2097427 w 4519987"/>
              <a:gd name="connsiteY127" fmla="*/ 47625 h 4496940"/>
              <a:gd name="connsiteX128" fmla="*/ 2164102 w 4519987"/>
              <a:gd name="connsiteY128" fmla="*/ 38100 h 4496940"/>
              <a:gd name="connsiteX129" fmla="*/ 2392702 w 4519987"/>
              <a:gd name="connsiteY129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516652 w 4519987"/>
              <a:gd name="connsiteY39" fmla="*/ 4114800 h 4496940"/>
              <a:gd name="connsiteX40" fmla="*/ 3497602 w 4519987"/>
              <a:gd name="connsiteY40" fmla="*/ 4143375 h 4496940"/>
              <a:gd name="connsiteX41" fmla="*/ 3383302 w 4519987"/>
              <a:gd name="connsiteY41" fmla="*/ 4210050 h 4496940"/>
              <a:gd name="connsiteX42" fmla="*/ 3335677 w 4519987"/>
              <a:gd name="connsiteY42" fmla="*/ 4238625 h 4496940"/>
              <a:gd name="connsiteX43" fmla="*/ 3288052 w 4519987"/>
              <a:gd name="connsiteY43" fmla="*/ 4248150 h 4496940"/>
              <a:gd name="connsiteX44" fmla="*/ 3240427 w 4519987"/>
              <a:gd name="connsiteY44" fmla="*/ 4267200 h 4496940"/>
              <a:gd name="connsiteX45" fmla="*/ 3068977 w 4519987"/>
              <a:gd name="connsiteY45" fmla="*/ 4286250 h 4496940"/>
              <a:gd name="connsiteX46" fmla="*/ 2935627 w 4519987"/>
              <a:gd name="connsiteY46" fmla="*/ 4333875 h 4496940"/>
              <a:gd name="connsiteX47" fmla="*/ 2811802 w 4519987"/>
              <a:gd name="connsiteY47" fmla="*/ 4371975 h 4496940"/>
              <a:gd name="connsiteX48" fmla="*/ 2745127 w 4519987"/>
              <a:gd name="connsiteY48" fmla="*/ 4410075 h 4496940"/>
              <a:gd name="connsiteX49" fmla="*/ 2697502 w 4519987"/>
              <a:gd name="connsiteY49" fmla="*/ 4429125 h 4496940"/>
              <a:gd name="connsiteX50" fmla="*/ 2640352 w 4519987"/>
              <a:gd name="connsiteY50" fmla="*/ 4457700 h 4496940"/>
              <a:gd name="connsiteX51" fmla="*/ 2583202 w 4519987"/>
              <a:gd name="connsiteY51" fmla="*/ 4467225 h 4496940"/>
              <a:gd name="connsiteX52" fmla="*/ 2545102 w 4519987"/>
              <a:gd name="connsiteY52" fmla="*/ 4486275 h 4496940"/>
              <a:gd name="connsiteX53" fmla="*/ 2306977 w 4519987"/>
              <a:gd name="connsiteY53" fmla="*/ 4476750 h 4496940"/>
              <a:gd name="connsiteX54" fmla="*/ 2202202 w 4519987"/>
              <a:gd name="connsiteY54" fmla="*/ 4457700 h 4496940"/>
              <a:gd name="connsiteX55" fmla="*/ 2126002 w 4519987"/>
              <a:gd name="connsiteY55" fmla="*/ 4429125 h 4496940"/>
              <a:gd name="connsiteX56" fmla="*/ 1935502 w 4519987"/>
              <a:gd name="connsiteY56" fmla="*/ 4400550 h 4496940"/>
              <a:gd name="connsiteX57" fmla="*/ 1821202 w 4519987"/>
              <a:gd name="connsiteY57" fmla="*/ 4371975 h 4496940"/>
              <a:gd name="connsiteX58" fmla="*/ 1754527 w 4519987"/>
              <a:gd name="connsiteY58" fmla="*/ 4352925 h 4496940"/>
              <a:gd name="connsiteX59" fmla="*/ 1687852 w 4519987"/>
              <a:gd name="connsiteY59" fmla="*/ 4343400 h 4496940"/>
              <a:gd name="connsiteX60" fmla="*/ 1573552 w 4519987"/>
              <a:gd name="connsiteY60" fmla="*/ 4305300 h 4496940"/>
              <a:gd name="connsiteX61" fmla="*/ 1402102 w 4519987"/>
              <a:gd name="connsiteY61" fmla="*/ 4276725 h 4496940"/>
              <a:gd name="connsiteX62" fmla="*/ 1287802 w 4519987"/>
              <a:gd name="connsiteY62" fmla="*/ 4229100 h 4496940"/>
              <a:gd name="connsiteX63" fmla="*/ 1221127 w 4519987"/>
              <a:gd name="connsiteY63" fmla="*/ 4200525 h 4496940"/>
              <a:gd name="connsiteX64" fmla="*/ 1144927 w 4519987"/>
              <a:gd name="connsiteY64" fmla="*/ 4171950 h 4496940"/>
              <a:gd name="connsiteX65" fmla="*/ 1087777 w 4519987"/>
              <a:gd name="connsiteY65" fmla="*/ 4143375 h 4496940"/>
              <a:gd name="connsiteX66" fmla="*/ 1030627 w 4519987"/>
              <a:gd name="connsiteY66" fmla="*/ 4124325 h 4496940"/>
              <a:gd name="connsiteX67" fmla="*/ 925852 w 4519987"/>
              <a:gd name="connsiteY67" fmla="*/ 4067175 h 4496940"/>
              <a:gd name="connsiteX68" fmla="*/ 830602 w 4519987"/>
              <a:gd name="connsiteY68" fmla="*/ 3981450 h 4496940"/>
              <a:gd name="connsiteX69" fmla="*/ 763927 w 4519987"/>
              <a:gd name="connsiteY69" fmla="*/ 3914775 h 4496940"/>
              <a:gd name="connsiteX70" fmla="*/ 725827 w 4519987"/>
              <a:gd name="connsiteY70" fmla="*/ 3876675 h 4496940"/>
              <a:gd name="connsiteX71" fmla="*/ 697252 w 4519987"/>
              <a:gd name="connsiteY71" fmla="*/ 3838575 h 4496940"/>
              <a:gd name="connsiteX72" fmla="*/ 640102 w 4519987"/>
              <a:gd name="connsiteY72" fmla="*/ 3781425 h 4496940"/>
              <a:gd name="connsiteX73" fmla="*/ 611527 w 4519987"/>
              <a:gd name="connsiteY73" fmla="*/ 3733800 h 4496940"/>
              <a:gd name="connsiteX74" fmla="*/ 554377 w 4519987"/>
              <a:gd name="connsiteY74" fmla="*/ 3657600 h 4496940"/>
              <a:gd name="connsiteX75" fmla="*/ 525802 w 4519987"/>
              <a:gd name="connsiteY75" fmla="*/ 3609975 h 4496940"/>
              <a:gd name="connsiteX76" fmla="*/ 497227 w 4519987"/>
              <a:gd name="connsiteY76" fmla="*/ 3552825 h 4496940"/>
              <a:gd name="connsiteX77" fmla="*/ 440077 w 4519987"/>
              <a:gd name="connsiteY77" fmla="*/ 3495675 h 4496940"/>
              <a:gd name="connsiteX78" fmla="*/ 411502 w 4519987"/>
              <a:gd name="connsiteY78" fmla="*/ 3448050 h 4496940"/>
              <a:gd name="connsiteX79" fmla="*/ 278152 w 4519987"/>
              <a:gd name="connsiteY79" fmla="*/ 3257550 h 4496940"/>
              <a:gd name="connsiteX80" fmla="*/ 249577 w 4519987"/>
              <a:gd name="connsiteY80" fmla="*/ 3200400 h 4496940"/>
              <a:gd name="connsiteX81" fmla="*/ 240052 w 4519987"/>
              <a:gd name="connsiteY81" fmla="*/ 3162300 h 4496940"/>
              <a:gd name="connsiteX82" fmla="*/ 221002 w 4519987"/>
              <a:gd name="connsiteY82" fmla="*/ 3105150 h 4496940"/>
              <a:gd name="connsiteX83" fmla="*/ 173377 w 4519987"/>
              <a:gd name="connsiteY83" fmla="*/ 3019425 h 4496940"/>
              <a:gd name="connsiteX84" fmla="*/ 144802 w 4519987"/>
              <a:gd name="connsiteY84" fmla="*/ 2924175 h 4496940"/>
              <a:gd name="connsiteX85" fmla="*/ 68602 w 4519987"/>
              <a:gd name="connsiteY85" fmla="*/ 2724150 h 4496940"/>
              <a:gd name="connsiteX86" fmla="*/ 49552 w 4519987"/>
              <a:gd name="connsiteY86" fmla="*/ 2638425 h 4496940"/>
              <a:gd name="connsiteX87" fmla="*/ 40027 w 4519987"/>
              <a:gd name="connsiteY87" fmla="*/ 2562225 h 4496940"/>
              <a:gd name="connsiteX88" fmla="*/ 30502 w 4519987"/>
              <a:gd name="connsiteY88" fmla="*/ 2514600 h 4496940"/>
              <a:gd name="connsiteX89" fmla="*/ 11452 w 4519987"/>
              <a:gd name="connsiteY89" fmla="*/ 2400300 h 4496940"/>
              <a:gd name="connsiteX90" fmla="*/ 20977 w 4519987"/>
              <a:gd name="connsiteY90" fmla="*/ 1905000 h 4496940"/>
              <a:gd name="connsiteX91" fmla="*/ 30502 w 4519987"/>
              <a:gd name="connsiteY91" fmla="*/ 1838325 h 4496940"/>
              <a:gd name="connsiteX92" fmla="*/ 49552 w 4519987"/>
              <a:gd name="connsiteY92" fmla="*/ 1781175 h 4496940"/>
              <a:gd name="connsiteX93" fmla="*/ 59077 w 4519987"/>
              <a:gd name="connsiteY93" fmla="*/ 1743075 h 4496940"/>
              <a:gd name="connsiteX94" fmla="*/ 78127 w 4519987"/>
              <a:gd name="connsiteY94" fmla="*/ 1685925 h 4496940"/>
              <a:gd name="connsiteX95" fmla="*/ 87652 w 4519987"/>
              <a:gd name="connsiteY95" fmla="*/ 1638300 h 4496940"/>
              <a:gd name="connsiteX96" fmla="*/ 106702 w 4519987"/>
              <a:gd name="connsiteY96" fmla="*/ 1590675 h 4496940"/>
              <a:gd name="connsiteX97" fmla="*/ 135277 w 4519987"/>
              <a:gd name="connsiteY97" fmla="*/ 1504950 h 4496940"/>
              <a:gd name="connsiteX98" fmla="*/ 154327 w 4519987"/>
              <a:gd name="connsiteY98" fmla="*/ 1419225 h 4496940"/>
              <a:gd name="connsiteX99" fmla="*/ 230527 w 4519987"/>
              <a:gd name="connsiteY99" fmla="*/ 1276350 h 4496940"/>
              <a:gd name="connsiteX100" fmla="*/ 240052 w 4519987"/>
              <a:gd name="connsiteY100" fmla="*/ 1247775 h 4496940"/>
              <a:gd name="connsiteX101" fmla="*/ 268627 w 4519987"/>
              <a:gd name="connsiteY101" fmla="*/ 1200150 h 4496940"/>
              <a:gd name="connsiteX102" fmla="*/ 287677 w 4519987"/>
              <a:gd name="connsiteY102" fmla="*/ 1152525 h 4496940"/>
              <a:gd name="connsiteX103" fmla="*/ 316252 w 4519987"/>
              <a:gd name="connsiteY103" fmla="*/ 1114425 h 4496940"/>
              <a:gd name="connsiteX104" fmla="*/ 363877 w 4519987"/>
              <a:gd name="connsiteY104" fmla="*/ 1038225 h 4496940"/>
              <a:gd name="connsiteX105" fmla="*/ 382927 w 4519987"/>
              <a:gd name="connsiteY105" fmla="*/ 1009650 h 4496940"/>
              <a:gd name="connsiteX106" fmla="*/ 440077 w 4519987"/>
              <a:gd name="connsiteY106" fmla="*/ 904875 h 4496940"/>
              <a:gd name="connsiteX107" fmla="*/ 478177 w 4519987"/>
              <a:gd name="connsiteY107" fmla="*/ 857250 h 4496940"/>
              <a:gd name="connsiteX108" fmla="*/ 497227 w 4519987"/>
              <a:gd name="connsiteY108" fmla="*/ 828675 h 4496940"/>
              <a:gd name="connsiteX109" fmla="*/ 535327 w 4519987"/>
              <a:gd name="connsiteY109" fmla="*/ 800100 h 4496940"/>
              <a:gd name="connsiteX110" fmla="*/ 602002 w 4519987"/>
              <a:gd name="connsiteY110" fmla="*/ 733425 h 4496940"/>
              <a:gd name="connsiteX111" fmla="*/ 668677 w 4519987"/>
              <a:gd name="connsiteY111" fmla="*/ 676275 h 4496940"/>
              <a:gd name="connsiteX112" fmla="*/ 697252 w 4519987"/>
              <a:gd name="connsiteY112" fmla="*/ 657225 h 4496940"/>
              <a:gd name="connsiteX113" fmla="*/ 840127 w 4519987"/>
              <a:gd name="connsiteY113" fmla="*/ 533400 h 4496940"/>
              <a:gd name="connsiteX114" fmla="*/ 887752 w 4519987"/>
              <a:gd name="connsiteY114" fmla="*/ 504825 h 4496940"/>
              <a:gd name="connsiteX115" fmla="*/ 1167152 w 4519987"/>
              <a:gd name="connsiteY115" fmla="*/ 311150 h 4496940"/>
              <a:gd name="connsiteX116" fmla="*/ 1268752 w 4519987"/>
              <a:gd name="connsiteY116" fmla="*/ 285750 h 4496940"/>
              <a:gd name="connsiteX117" fmla="*/ 1411627 w 4519987"/>
              <a:gd name="connsiteY117" fmla="*/ 190500 h 4496940"/>
              <a:gd name="connsiteX118" fmla="*/ 1449727 w 4519987"/>
              <a:gd name="connsiteY118" fmla="*/ 161925 h 4496940"/>
              <a:gd name="connsiteX119" fmla="*/ 1525927 w 4519987"/>
              <a:gd name="connsiteY119" fmla="*/ 152400 h 4496940"/>
              <a:gd name="connsiteX120" fmla="*/ 1583077 w 4519987"/>
              <a:gd name="connsiteY120" fmla="*/ 142875 h 4496940"/>
              <a:gd name="connsiteX121" fmla="*/ 1716427 w 4519987"/>
              <a:gd name="connsiteY121" fmla="*/ 123825 h 4496940"/>
              <a:gd name="connsiteX122" fmla="*/ 1811677 w 4519987"/>
              <a:gd name="connsiteY122" fmla="*/ 114300 h 4496940"/>
              <a:gd name="connsiteX123" fmla="*/ 1859302 w 4519987"/>
              <a:gd name="connsiteY123" fmla="*/ 104775 h 4496940"/>
              <a:gd name="connsiteX124" fmla="*/ 1916452 w 4519987"/>
              <a:gd name="connsiteY124" fmla="*/ 95250 h 4496940"/>
              <a:gd name="connsiteX125" fmla="*/ 2030752 w 4519987"/>
              <a:gd name="connsiteY125" fmla="*/ 66675 h 4496940"/>
              <a:gd name="connsiteX126" fmla="*/ 2097427 w 4519987"/>
              <a:gd name="connsiteY126" fmla="*/ 47625 h 4496940"/>
              <a:gd name="connsiteX127" fmla="*/ 2164102 w 4519987"/>
              <a:gd name="connsiteY127" fmla="*/ 38100 h 4496940"/>
              <a:gd name="connsiteX128" fmla="*/ 2392702 w 4519987"/>
              <a:gd name="connsiteY128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516652 w 4519987"/>
              <a:gd name="connsiteY39" fmla="*/ 4114800 h 4496940"/>
              <a:gd name="connsiteX40" fmla="*/ 3383302 w 4519987"/>
              <a:gd name="connsiteY40" fmla="*/ 4210050 h 4496940"/>
              <a:gd name="connsiteX41" fmla="*/ 3335677 w 4519987"/>
              <a:gd name="connsiteY41" fmla="*/ 4238625 h 4496940"/>
              <a:gd name="connsiteX42" fmla="*/ 3288052 w 4519987"/>
              <a:gd name="connsiteY42" fmla="*/ 4248150 h 4496940"/>
              <a:gd name="connsiteX43" fmla="*/ 3240427 w 4519987"/>
              <a:gd name="connsiteY43" fmla="*/ 4267200 h 4496940"/>
              <a:gd name="connsiteX44" fmla="*/ 3068977 w 4519987"/>
              <a:gd name="connsiteY44" fmla="*/ 4286250 h 4496940"/>
              <a:gd name="connsiteX45" fmla="*/ 2935627 w 4519987"/>
              <a:gd name="connsiteY45" fmla="*/ 4333875 h 4496940"/>
              <a:gd name="connsiteX46" fmla="*/ 2811802 w 4519987"/>
              <a:gd name="connsiteY46" fmla="*/ 4371975 h 4496940"/>
              <a:gd name="connsiteX47" fmla="*/ 2745127 w 4519987"/>
              <a:gd name="connsiteY47" fmla="*/ 4410075 h 4496940"/>
              <a:gd name="connsiteX48" fmla="*/ 2697502 w 4519987"/>
              <a:gd name="connsiteY48" fmla="*/ 4429125 h 4496940"/>
              <a:gd name="connsiteX49" fmla="*/ 2640352 w 4519987"/>
              <a:gd name="connsiteY49" fmla="*/ 4457700 h 4496940"/>
              <a:gd name="connsiteX50" fmla="*/ 2583202 w 4519987"/>
              <a:gd name="connsiteY50" fmla="*/ 4467225 h 4496940"/>
              <a:gd name="connsiteX51" fmla="*/ 2545102 w 4519987"/>
              <a:gd name="connsiteY51" fmla="*/ 4486275 h 4496940"/>
              <a:gd name="connsiteX52" fmla="*/ 2306977 w 4519987"/>
              <a:gd name="connsiteY52" fmla="*/ 4476750 h 4496940"/>
              <a:gd name="connsiteX53" fmla="*/ 2202202 w 4519987"/>
              <a:gd name="connsiteY53" fmla="*/ 4457700 h 4496940"/>
              <a:gd name="connsiteX54" fmla="*/ 2126002 w 4519987"/>
              <a:gd name="connsiteY54" fmla="*/ 4429125 h 4496940"/>
              <a:gd name="connsiteX55" fmla="*/ 1935502 w 4519987"/>
              <a:gd name="connsiteY55" fmla="*/ 4400550 h 4496940"/>
              <a:gd name="connsiteX56" fmla="*/ 1821202 w 4519987"/>
              <a:gd name="connsiteY56" fmla="*/ 4371975 h 4496940"/>
              <a:gd name="connsiteX57" fmla="*/ 1754527 w 4519987"/>
              <a:gd name="connsiteY57" fmla="*/ 4352925 h 4496940"/>
              <a:gd name="connsiteX58" fmla="*/ 1687852 w 4519987"/>
              <a:gd name="connsiteY58" fmla="*/ 4343400 h 4496940"/>
              <a:gd name="connsiteX59" fmla="*/ 1573552 w 4519987"/>
              <a:gd name="connsiteY59" fmla="*/ 4305300 h 4496940"/>
              <a:gd name="connsiteX60" fmla="*/ 1402102 w 4519987"/>
              <a:gd name="connsiteY60" fmla="*/ 4276725 h 4496940"/>
              <a:gd name="connsiteX61" fmla="*/ 1287802 w 4519987"/>
              <a:gd name="connsiteY61" fmla="*/ 4229100 h 4496940"/>
              <a:gd name="connsiteX62" fmla="*/ 1221127 w 4519987"/>
              <a:gd name="connsiteY62" fmla="*/ 4200525 h 4496940"/>
              <a:gd name="connsiteX63" fmla="*/ 1144927 w 4519987"/>
              <a:gd name="connsiteY63" fmla="*/ 4171950 h 4496940"/>
              <a:gd name="connsiteX64" fmla="*/ 1087777 w 4519987"/>
              <a:gd name="connsiteY64" fmla="*/ 4143375 h 4496940"/>
              <a:gd name="connsiteX65" fmla="*/ 1030627 w 4519987"/>
              <a:gd name="connsiteY65" fmla="*/ 4124325 h 4496940"/>
              <a:gd name="connsiteX66" fmla="*/ 925852 w 4519987"/>
              <a:gd name="connsiteY66" fmla="*/ 4067175 h 4496940"/>
              <a:gd name="connsiteX67" fmla="*/ 830602 w 4519987"/>
              <a:gd name="connsiteY67" fmla="*/ 3981450 h 4496940"/>
              <a:gd name="connsiteX68" fmla="*/ 763927 w 4519987"/>
              <a:gd name="connsiteY68" fmla="*/ 3914775 h 4496940"/>
              <a:gd name="connsiteX69" fmla="*/ 725827 w 4519987"/>
              <a:gd name="connsiteY69" fmla="*/ 3876675 h 4496940"/>
              <a:gd name="connsiteX70" fmla="*/ 697252 w 4519987"/>
              <a:gd name="connsiteY70" fmla="*/ 3838575 h 4496940"/>
              <a:gd name="connsiteX71" fmla="*/ 640102 w 4519987"/>
              <a:gd name="connsiteY71" fmla="*/ 3781425 h 4496940"/>
              <a:gd name="connsiteX72" fmla="*/ 611527 w 4519987"/>
              <a:gd name="connsiteY72" fmla="*/ 3733800 h 4496940"/>
              <a:gd name="connsiteX73" fmla="*/ 554377 w 4519987"/>
              <a:gd name="connsiteY73" fmla="*/ 3657600 h 4496940"/>
              <a:gd name="connsiteX74" fmla="*/ 525802 w 4519987"/>
              <a:gd name="connsiteY74" fmla="*/ 3609975 h 4496940"/>
              <a:gd name="connsiteX75" fmla="*/ 497227 w 4519987"/>
              <a:gd name="connsiteY75" fmla="*/ 3552825 h 4496940"/>
              <a:gd name="connsiteX76" fmla="*/ 440077 w 4519987"/>
              <a:gd name="connsiteY76" fmla="*/ 3495675 h 4496940"/>
              <a:gd name="connsiteX77" fmla="*/ 411502 w 4519987"/>
              <a:gd name="connsiteY77" fmla="*/ 3448050 h 4496940"/>
              <a:gd name="connsiteX78" fmla="*/ 278152 w 4519987"/>
              <a:gd name="connsiteY78" fmla="*/ 3257550 h 4496940"/>
              <a:gd name="connsiteX79" fmla="*/ 249577 w 4519987"/>
              <a:gd name="connsiteY79" fmla="*/ 3200400 h 4496940"/>
              <a:gd name="connsiteX80" fmla="*/ 240052 w 4519987"/>
              <a:gd name="connsiteY80" fmla="*/ 3162300 h 4496940"/>
              <a:gd name="connsiteX81" fmla="*/ 221002 w 4519987"/>
              <a:gd name="connsiteY81" fmla="*/ 3105150 h 4496940"/>
              <a:gd name="connsiteX82" fmla="*/ 173377 w 4519987"/>
              <a:gd name="connsiteY82" fmla="*/ 3019425 h 4496940"/>
              <a:gd name="connsiteX83" fmla="*/ 144802 w 4519987"/>
              <a:gd name="connsiteY83" fmla="*/ 2924175 h 4496940"/>
              <a:gd name="connsiteX84" fmla="*/ 68602 w 4519987"/>
              <a:gd name="connsiteY84" fmla="*/ 2724150 h 4496940"/>
              <a:gd name="connsiteX85" fmla="*/ 49552 w 4519987"/>
              <a:gd name="connsiteY85" fmla="*/ 2638425 h 4496940"/>
              <a:gd name="connsiteX86" fmla="*/ 40027 w 4519987"/>
              <a:gd name="connsiteY86" fmla="*/ 2562225 h 4496940"/>
              <a:gd name="connsiteX87" fmla="*/ 30502 w 4519987"/>
              <a:gd name="connsiteY87" fmla="*/ 2514600 h 4496940"/>
              <a:gd name="connsiteX88" fmla="*/ 11452 w 4519987"/>
              <a:gd name="connsiteY88" fmla="*/ 2400300 h 4496940"/>
              <a:gd name="connsiteX89" fmla="*/ 20977 w 4519987"/>
              <a:gd name="connsiteY89" fmla="*/ 1905000 h 4496940"/>
              <a:gd name="connsiteX90" fmla="*/ 30502 w 4519987"/>
              <a:gd name="connsiteY90" fmla="*/ 1838325 h 4496940"/>
              <a:gd name="connsiteX91" fmla="*/ 49552 w 4519987"/>
              <a:gd name="connsiteY91" fmla="*/ 1781175 h 4496940"/>
              <a:gd name="connsiteX92" fmla="*/ 59077 w 4519987"/>
              <a:gd name="connsiteY92" fmla="*/ 1743075 h 4496940"/>
              <a:gd name="connsiteX93" fmla="*/ 78127 w 4519987"/>
              <a:gd name="connsiteY93" fmla="*/ 1685925 h 4496940"/>
              <a:gd name="connsiteX94" fmla="*/ 87652 w 4519987"/>
              <a:gd name="connsiteY94" fmla="*/ 1638300 h 4496940"/>
              <a:gd name="connsiteX95" fmla="*/ 106702 w 4519987"/>
              <a:gd name="connsiteY95" fmla="*/ 1590675 h 4496940"/>
              <a:gd name="connsiteX96" fmla="*/ 135277 w 4519987"/>
              <a:gd name="connsiteY96" fmla="*/ 1504950 h 4496940"/>
              <a:gd name="connsiteX97" fmla="*/ 154327 w 4519987"/>
              <a:gd name="connsiteY97" fmla="*/ 1419225 h 4496940"/>
              <a:gd name="connsiteX98" fmla="*/ 230527 w 4519987"/>
              <a:gd name="connsiteY98" fmla="*/ 1276350 h 4496940"/>
              <a:gd name="connsiteX99" fmla="*/ 240052 w 4519987"/>
              <a:gd name="connsiteY99" fmla="*/ 1247775 h 4496940"/>
              <a:gd name="connsiteX100" fmla="*/ 268627 w 4519987"/>
              <a:gd name="connsiteY100" fmla="*/ 1200150 h 4496940"/>
              <a:gd name="connsiteX101" fmla="*/ 287677 w 4519987"/>
              <a:gd name="connsiteY101" fmla="*/ 1152525 h 4496940"/>
              <a:gd name="connsiteX102" fmla="*/ 316252 w 4519987"/>
              <a:gd name="connsiteY102" fmla="*/ 1114425 h 4496940"/>
              <a:gd name="connsiteX103" fmla="*/ 363877 w 4519987"/>
              <a:gd name="connsiteY103" fmla="*/ 1038225 h 4496940"/>
              <a:gd name="connsiteX104" fmla="*/ 382927 w 4519987"/>
              <a:gd name="connsiteY104" fmla="*/ 1009650 h 4496940"/>
              <a:gd name="connsiteX105" fmla="*/ 440077 w 4519987"/>
              <a:gd name="connsiteY105" fmla="*/ 904875 h 4496940"/>
              <a:gd name="connsiteX106" fmla="*/ 478177 w 4519987"/>
              <a:gd name="connsiteY106" fmla="*/ 857250 h 4496940"/>
              <a:gd name="connsiteX107" fmla="*/ 497227 w 4519987"/>
              <a:gd name="connsiteY107" fmla="*/ 828675 h 4496940"/>
              <a:gd name="connsiteX108" fmla="*/ 535327 w 4519987"/>
              <a:gd name="connsiteY108" fmla="*/ 800100 h 4496940"/>
              <a:gd name="connsiteX109" fmla="*/ 602002 w 4519987"/>
              <a:gd name="connsiteY109" fmla="*/ 733425 h 4496940"/>
              <a:gd name="connsiteX110" fmla="*/ 668677 w 4519987"/>
              <a:gd name="connsiteY110" fmla="*/ 676275 h 4496940"/>
              <a:gd name="connsiteX111" fmla="*/ 697252 w 4519987"/>
              <a:gd name="connsiteY111" fmla="*/ 657225 h 4496940"/>
              <a:gd name="connsiteX112" fmla="*/ 840127 w 4519987"/>
              <a:gd name="connsiteY112" fmla="*/ 533400 h 4496940"/>
              <a:gd name="connsiteX113" fmla="*/ 887752 w 4519987"/>
              <a:gd name="connsiteY113" fmla="*/ 504825 h 4496940"/>
              <a:gd name="connsiteX114" fmla="*/ 1167152 w 4519987"/>
              <a:gd name="connsiteY114" fmla="*/ 311150 h 4496940"/>
              <a:gd name="connsiteX115" fmla="*/ 1268752 w 4519987"/>
              <a:gd name="connsiteY115" fmla="*/ 285750 h 4496940"/>
              <a:gd name="connsiteX116" fmla="*/ 1411627 w 4519987"/>
              <a:gd name="connsiteY116" fmla="*/ 190500 h 4496940"/>
              <a:gd name="connsiteX117" fmla="*/ 1449727 w 4519987"/>
              <a:gd name="connsiteY117" fmla="*/ 161925 h 4496940"/>
              <a:gd name="connsiteX118" fmla="*/ 1525927 w 4519987"/>
              <a:gd name="connsiteY118" fmla="*/ 152400 h 4496940"/>
              <a:gd name="connsiteX119" fmla="*/ 1583077 w 4519987"/>
              <a:gd name="connsiteY119" fmla="*/ 142875 h 4496940"/>
              <a:gd name="connsiteX120" fmla="*/ 1716427 w 4519987"/>
              <a:gd name="connsiteY120" fmla="*/ 123825 h 4496940"/>
              <a:gd name="connsiteX121" fmla="*/ 1811677 w 4519987"/>
              <a:gd name="connsiteY121" fmla="*/ 114300 h 4496940"/>
              <a:gd name="connsiteX122" fmla="*/ 1859302 w 4519987"/>
              <a:gd name="connsiteY122" fmla="*/ 104775 h 4496940"/>
              <a:gd name="connsiteX123" fmla="*/ 1916452 w 4519987"/>
              <a:gd name="connsiteY123" fmla="*/ 95250 h 4496940"/>
              <a:gd name="connsiteX124" fmla="*/ 2030752 w 4519987"/>
              <a:gd name="connsiteY124" fmla="*/ 66675 h 4496940"/>
              <a:gd name="connsiteX125" fmla="*/ 2097427 w 4519987"/>
              <a:gd name="connsiteY125" fmla="*/ 47625 h 4496940"/>
              <a:gd name="connsiteX126" fmla="*/ 2164102 w 4519987"/>
              <a:gd name="connsiteY126" fmla="*/ 38100 h 4496940"/>
              <a:gd name="connsiteX127" fmla="*/ 2392702 w 4519987"/>
              <a:gd name="connsiteY127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621427 w 4519987"/>
              <a:gd name="connsiteY37" fmla="*/ 4038600 h 4496940"/>
              <a:gd name="connsiteX38" fmla="*/ 3554752 w 4519987"/>
              <a:gd name="connsiteY38" fmla="*/ 4095750 h 4496940"/>
              <a:gd name="connsiteX39" fmla="*/ 3383302 w 4519987"/>
              <a:gd name="connsiteY39" fmla="*/ 4210050 h 4496940"/>
              <a:gd name="connsiteX40" fmla="*/ 3335677 w 4519987"/>
              <a:gd name="connsiteY40" fmla="*/ 4238625 h 4496940"/>
              <a:gd name="connsiteX41" fmla="*/ 3288052 w 4519987"/>
              <a:gd name="connsiteY41" fmla="*/ 4248150 h 4496940"/>
              <a:gd name="connsiteX42" fmla="*/ 3240427 w 4519987"/>
              <a:gd name="connsiteY42" fmla="*/ 4267200 h 4496940"/>
              <a:gd name="connsiteX43" fmla="*/ 3068977 w 4519987"/>
              <a:gd name="connsiteY43" fmla="*/ 4286250 h 4496940"/>
              <a:gd name="connsiteX44" fmla="*/ 2935627 w 4519987"/>
              <a:gd name="connsiteY44" fmla="*/ 4333875 h 4496940"/>
              <a:gd name="connsiteX45" fmla="*/ 2811802 w 4519987"/>
              <a:gd name="connsiteY45" fmla="*/ 4371975 h 4496940"/>
              <a:gd name="connsiteX46" fmla="*/ 2745127 w 4519987"/>
              <a:gd name="connsiteY46" fmla="*/ 4410075 h 4496940"/>
              <a:gd name="connsiteX47" fmla="*/ 2697502 w 4519987"/>
              <a:gd name="connsiteY47" fmla="*/ 4429125 h 4496940"/>
              <a:gd name="connsiteX48" fmla="*/ 2640352 w 4519987"/>
              <a:gd name="connsiteY48" fmla="*/ 4457700 h 4496940"/>
              <a:gd name="connsiteX49" fmla="*/ 2583202 w 4519987"/>
              <a:gd name="connsiteY49" fmla="*/ 4467225 h 4496940"/>
              <a:gd name="connsiteX50" fmla="*/ 2545102 w 4519987"/>
              <a:gd name="connsiteY50" fmla="*/ 4486275 h 4496940"/>
              <a:gd name="connsiteX51" fmla="*/ 2306977 w 4519987"/>
              <a:gd name="connsiteY51" fmla="*/ 4476750 h 4496940"/>
              <a:gd name="connsiteX52" fmla="*/ 2202202 w 4519987"/>
              <a:gd name="connsiteY52" fmla="*/ 4457700 h 4496940"/>
              <a:gd name="connsiteX53" fmla="*/ 2126002 w 4519987"/>
              <a:gd name="connsiteY53" fmla="*/ 4429125 h 4496940"/>
              <a:gd name="connsiteX54" fmla="*/ 1935502 w 4519987"/>
              <a:gd name="connsiteY54" fmla="*/ 4400550 h 4496940"/>
              <a:gd name="connsiteX55" fmla="*/ 1821202 w 4519987"/>
              <a:gd name="connsiteY55" fmla="*/ 4371975 h 4496940"/>
              <a:gd name="connsiteX56" fmla="*/ 1754527 w 4519987"/>
              <a:gd name="connsiteY56" fmla="*/ 4352925 h 4496940"/>
              <a:gd name="connsiteX57" fmla="*/ 1687852 w 4519987"/>
              <a:gd name="connsiteY57" fmla="*/ 4343400 h 4496940"/>
              <a:gd name="connsiteX58" fmla="*/ 1573552 w 4519987"/>
              <a:gd name="connsiteY58" fmla="*/ 4305300 h 4496940"/>
              <a:gd name="connsiteX59" fmla="*/ 1402102 w 4519987"/>
              <a:gd name="connsiteY59" fmla="*/ 4276725 h 4496940"/>
              <a:gd name="connsiteX60" fmla="*/ 1287802 w 4519987"/>
              <a:gd name="connsiteY60" fmla="*/ 4229100 h 4496940"/>
              <a:gd name="connsiteX61" fmla="*/ 1221127 w 4519987"/>
              <a:gd name="connsiteY61" fmla="*/ 4200525 h 4496940"/>
              <a:gd name="connsiteX62" fmla="*/ 1144927 w 4519987"/>
              <a:gd name="connsiteY62" fmla="*/ 4171950 h 4496940"/>
              <a:gd name="connsiteX63" fmla="*/ 1087777 w 4519987"/>
              <a:gd name="connsiteY63" fmla="*/ 4143375 h 4496940"/>
              <a:gd name="connsiteX64" fmla="*/ 1030627 w 4519987"/>
              <a:gd name="connsiteY64" fmla="*/ 4124325 h 4496940"/>
              <a:gd name="connsiteX65" fmla="*/ 925852 w 4519987"/>
              <a:gd name="connsiteY65" fmla="*/ 4067175 h 4496940"/>
              <a:gd name="connsiteX66" fmla="*/ 830602 w 4519987"/>
              <a:gd name="connsiteY66" fmla="*/ 3981450 h 4496940"/>
              <a:gd name="connsiteX67" fmla="*/ 763927 w 4519987"/>
              <a:gd name="connsiteY67" fmla="*/ 3914775 h 4496940"/>
              <a:gd name="connsiteX68" fmla="*/ 725827 w 4519987"/>
              <a:gd name="connsiteY68" fmla="*/ 3876675 h 4496940"/>
              <a:gd name="connsiteX69" fmla="*/ 697252 w 4519987"/>
              <a:gd name="connsiteY69" fmla="*/ 3838575 h 4496940"/>
              <a:gd name="connsiteX70" fmla="*/ 640102 w 4519987"/>
              <a:gd name="connsiteY70" fmla="*/ 3781425 h 4496940"/>
              <a:gd name="connsiteX71" fmla="*/ 611527 w 4519987"/>
              <a:gd name="connsiteY71" fmla="*/ 3733800 h 4496940"/>
              <a:gd name="connsiteX72" fmla="*/ 554377 w 4519987"/>
              <a:gd name="connsiteY72" fmla="*/ 3657600 h 4496940"/>
              <a:gd name="connsiteX73" fmla="*/ 525802 w 4519987"/>
              <a:gd name="connsiteY73" fmla="*/ 3609975 h 4496940"/>
              <a:gd name="connsiteX74" fmla="*/ 497227 w 4519987"/>
              <a:gd name="connsiteY74" fmla="*/ 3552825 h 4496940"/>
              <a:gd name="connsiteX75" fmla="*/ 440077 w 4519987"/>
              <a:gd name="connsiteY75" fmla="*/ 3495675 h 4496940"/>
              <a:gd name="connsiteX76" fmla="*/ 411502 w 4519987"/>
              <a:gd name="connsiteY76" fmla="*/ 3448050 h 4496940"/>
              <a:gd name="connsiteX77" fmla="*/ 278152 w 4519987"/>
              <a:gd name="connsiteY77" fmla="*/ 3257550 h 4496940"/>
              <a:gd name="connsiteX78" fmla="*/ 249577 w 4519987"/>
              <a:gd name="connsiteY78" fmla="*/ 3200400 h 4496940"/>
              <a:gd name="connsiteX79" fmla="*/ 240052 w 4519987"/>
              <a:gd name="connsiteY79" fmla="*/ 3162300 h 4496940"/>
              <a:gd name="connsiteX80" fmla="*/ 221002 w 4519987"/>
              <a:gd name="connsiteY80" fmla="*/ 3105150 h 4496940"/>
              <a:gd name="connsiteX81" fmla="*/ 173377 w 4519987"/>
              <a:gd name="connsiteY81" fmla="*/ 3019425 h 4496940"/>
              <a:gd name="connsiteX82" fmla="*/ 144802 w 4519987"/>
              <a:gd name="connsiteY82" fmla="*/ 2924175 h 4496940"/>
              <a:gd name="connsiteX83" fmla="*/ 68602 w 4519987"/>
              <a:gd name="connsiteY83" fmla="*/ 2724150 h 4496940"/>
              <a:gd name="connsiteX84" fmla="*/ 49552 w 4519987"/>
              <a:gd name="connsiteY84" fmla="*/ 2638425 h 4496940"/>
              <a:gd name="connsiteX85" fmla="*/ 40027 w 4519987"/>
              <a:gd name="connsiteY85" fmla="*/ 2562225 h 4496940"/>
              <a:gd name="connsiteX86" fmla="*/ 30502 w 4519987"/>
              <a:gd name="connsiteY86" fmla="*/ 2514600 h 4496940"/>
              <a:gd name="connsiteX87" fmla="*/ 11452 w 4519987"/>
              <a:gd name="connsiteY87" fmla="*/ 2400300 h 4496940"/>
              <a:gd name="connsiteX88" fmla="*/ 20977 w 4519987"/>
              <a:gd name="connsiteY88" fmla="*/ 1905000 h 4496940"/>
              <a:gd name="connsiteX89" fmla="*/ 30502 w 4519987"/>
              <a:gd name="connsiteY89" fmla="*/ 1838325 h 4496940"/>
              <a:gd name="connsiteX90" fmla="*/ 49552 w 4519987"/>
              <a:gd name="connsiteY90" fmla="*/ 1781175 h 4496940"/>
              <a:gd name="connsiteX91" fmla="*/ 59077 w 4519987"/>
              <a:gd name="connsiteY91" fmla="*/ 1743075 h 4496940"/>
              <a:gd name="connsiteX92" fmla="*/ 78127 w 4519987"/>
              <a:gd name="connsiteY92" fmla="*/ 1685925 h 4496940"/>
              <a:gd name="connsiteX93" fmla="*/ 87652 w 4519987"/>
              <a:gd name="connsiteY93" fmla="*/ 1638300 h 4496940"/>
              <a:gd name="connsiteX94" fmla="*/ 106702 w 4519987"/>
              <a:gd name="connsiteY94" fmla="*/ 1590675 h 4496940"/>
              <a:gd name="connsiteX95" fmla="*/ 135277 w 4519987"/>
              <a:gd name="connsiteY95" fmla="*/ 1504950 h 4496940"/>
              <a:gd name="connsiteX96" fmla="*/ 154327 w 4519987"/>
              <a:gd name="connsiteY96" fmla="*/ 1419225 h 4496940"/>
              <a:gd name="connsiteX97" fmla="*/ 230527 w 4519987"/>
              <a:gd name="connsiteY97" fmla="*/ 1276350 h 4496940"/>
              <a:gd name="connsiteX98" fmla="*/ 240052 w 4519987"/>
              <a:gd name="connsiteY98" fmla="*/ 1247775 h 4496940"/>
              <a:gd name="connsiteX99" fmla="*/ 268627 w 4519987"/>
              <a:gd name="connsiteY99" fmla="*/ 1200150 h 4496940"/>
              <a:gd name="connsiteX100" fmla="*/ 287677 w 4519987"/>
              <a:gd name="connsiteY100" fmla="*/ 1152525 h 4496940"/>
              <a:gd name="connsiteX101" fmla="*/ 316252 w 4519987"/>
              <a:gd name="connsiteY101" fmla="*/ 1114425 h 4496940"/>
              <a:gd name="connsiteX102" fmla="*/ 363877 w 4519987"/>
              <a:gd name="connsiteY102" fmla="*/ 1038225 h 4496940"/>
              <a:gd name="connsiteX103" fmla="*/ 382927 w 4519987"/>
              <a:gd name="connsiteY103" fmla="*/ 1009650 h 4496940"/>
              <a:gd name="connsiteX104" fmla="*/ 440077 w 4519987"/>
              <a:gd name="connsiteY104" fmla="*/ 904875 h 4496940"/>
              <a:gd name="connsiteX105" fmla="*/ 478177 w 4519987"/>
              <a:gd name="connsiteY105" fmla="*/ 857250 h 4496940"/>
              <a:gd name="connsiteX106" fmla="*/ 497227 w 4519987"/>
              <a:gd name="connsiteY106" fmla="*/ 828675 h 4496940"/>
              <a:gd name="connsiteX107" fmla="*/ 535327 w 4519987"/>
              <a:gd name="connsiteY107" fmla="*/ 800100 h 4496940"/>
              <a:gd name="connsiteX108" fmla="*/ 602002 w 4519987"/>
              <a:gd name="connsiteY108" fmla="*/ 733425 h 4496940"/>
              <a:gd name="connsiteX109" fmla="*/ 668677 w 4519987"/>
              <a:gd name="connsiteY109" fmla="*/ 676275 h 4496940"/>
              <a:gd name="connsiteX110" fmla="*/ 697252 w 4519987"/>
              <a:gd name="connsiteY110" fmla="*/ 657225 h 4496940"/>
              <a:gd name="connsiteX111" fmla="*/ 840127 w 4519987"/>
              <a:gd name="connsiteY111" fmla="*/ 533400 h 4496940"/>
              <a:gd name="connsiteX112" fmla="*/ 887752 w 4519987"/>
              <a:gd name="connsiteY112" fmla="*/ 504825 h 4496940"/>
              <a:gd name="connsiteX113" fmla="*/ 1167152 w 4519987"/>
              <a:gd name="connsiteY113" fmla="*/ 311150 h 4496940"/>
              <a:gd name="connsiteX114" fmla="*/ 1268752 w 4519987"/>
              <a:gd name="connsiteY114" fmla="*/ 285750 h 4496940"/>
              <a:gd name="connsiteX115" fmla="*/ 1411627 w 4519987"/>
              <a:gd name="connsiteY115" fmla="*/ 190500 h 4496940"/>
              <a:gd name="connsiteX116" fmla="*/ 1449727 w 4519987"/>
              <a:gd name="connsiteY116" fmla="*/ 161925 h 4496940"/>
              <a:gd name="connsiteX117" fmla="*/ 1525927 w 4519987"/>
              <a:gd name="connsiteY117" fmla="*/ 152400 h 4496940"/>
              <a:gd name="connsiteX118" fmla="*/ 1583077 w 4519987"/>
              <a:gd name="connsiteY118" fmla="*/ 142875 h 4496940"/>
              <a:gd name="connsiteX119" fmla="*/ 1716427 w 4519987"/>
              <a:gd name="connsiteY119" fmla="*/ 123825 h 4496940"/>
              <a:gd name="connsiteX120" fmla="*/ 1811677 w 4519987"/>
              <a:gd name="connsiteY120" fmla="*/ 114300 h 4496940"/>
              <a:gd name="connsiteX121" fmla="*/ 1859302 w 4519987"/>
              <a:gd name="connsiteY121" fmla="*/ 104775 h 4496940"/>
              <a:gd name="connsiteX122" fmla="*/ 1916452 w 4519987"/>
              <a:gd name="connsiteY122" fmla="*/ 95250 h 4496940"/>
              <a:gd name="connsiteX123" fmla="*/ 2030752 w 4519987"/>
              <a:gd name="connsiteY123" fmla="*/ 66675 h 4496940"/>
              <a:gd name="connsiteX124" fmla="*/ 2097427 w 4519987"/>
              <a:gd name="connsiteY124" fmla="*/ 47625 h 4496940"/>
              <a:gd name="connsiteX125" fmla="*/ 2164102 w 4519987"/>
              <a:gd name="connsiteY125" fmla="*/ 38100 h 4496940"/>
              <a:gd name="connsiteX126" fmla="*/ 2392702 w 4519987"/>
              <a:gd name="connsiteY126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630952 w 4519987"/>
              <a:gd name="connsiteY36" fmla="*/ 4010025 h 4496940"/>
              <a:gd name="connsiteX37" fmla="*/ 3554752 w 4519987"/>
              <a:gd name="connsiteY37" fmla="*/ 4095750 h 4496940"/>
              <a:gd name="connsiteX38" fmla="*/ 3383302 w 4519987"/>
              <a:gd name="connsiteY38" fmla="*/ 4210050 h 4496940"/>
              <a:gd name="connsiteX39" fmla="*/ 3335677 w 4519987"/>
              <a:gd name="connsiteY39" fmla="*/ 4238625 h 4496940"/>
              <a:gd name="connsiteX40" fmla="*/ 3288052 w 4519987"/>
              <a:gd name="connsiteY40" fmla="*/ 4248150 h 4496940"/>
              <a:gd name="connsiteX41" fmla="*/ 3240427 w 4519987"/>
              <a:gd name="connsiteY41" fmla="*/ 4267200 h 4496940"/>
              <a:gd name="connsiteX42" fmla="*/ 3068977 w 4519987"/>
              <a:gd name="connsiteY42" fmla="*/ 4286250 h 4496940"/>
              <a:gd name="connsiteX43" fmla="*/ 2935627 w 4519987"/>
              <a:gd name="connsiteY43" fmla="*/ 4333875 h 4496940"/>
              <a:gd name="connsiteX44" fmla="*/ 2811802 w 4519987"/>
              <a:gd name="connsiteY44" fmla="*/ 4371975 h 4496940"/>
              <a:gd name="connsiteX45" fmla="*/ 2745127 w 4519987"/>
              <a:gd name="connsiteY45" fmla="*/ 4410075 h 4496940"/>
              <a:gd name="connsiteX46" fmla="*/ 2697502 w 4519987"/>
              <a:gd name="connsiteY46" fmla="*/ 4429125 h 4496940"/>
              <a:gd name="connsiteX47" fmla="*/ 2640352 w 4519987"/>
              <a:gd name="connsiteY47" fmla="*/ 4457700 h 4496940"/>
              <a:gd name="connsiteX48" fmla="*/ 2583202 w 4519987"/>
              <a:gd name="connsiteY48" fmla="*/ 4467225 h 4496940"/>
              <a:gd name="connsiteX49" fmla="*/ 2545102 w 4519987"/>
              <a:gd name="connsiteY49" fmla="*/ 4486275 h 4496940"/>
              <a:gd name="connsiteX50" fmla="*/ 2306977 w 4519987"/>
              <a:gd name="connsiteY50" fmla="*/ 4476750 h 4496940"/>
              <a:gd name="connsiteX51" fmla="*/ 2202202 w 4519987"/>
              <a:gd name="connsiteY51" fmla="*/ 4457700 h 4496940"/>
              <a:gd name="connsiteX52" fmla="*/ 2126002 w 4519987"/>
              <a:gd name="connsiteY52" fmla="*/ 4429125 h 4496940"/>
              <a:gd name="connsiteX53" fmla="*/ 1935502 w 4519987"/>
              <a:gd name="connsiteY53" fmla="*/ 4400550 h 4496940"/>
              <a:gd name="connsiteX54" fmla="*/ 1821202 w 4519987"/>
              <a:gd name="connsiteY54" fmla="*/ 4371975 h 4496940"/>
              <a:gd name="connsiteX55" fmla="*/ 1754527 w 4519987"/>
              <a:gd name="connsiteY55" fmla="*/ 4352925 h 4496940"/>
              <a:gd name="connsiteX56" fmla="*/ 1687852 w 4519987"/>
              <a:gd name="connsiteY56" fmla="*/ 4343400 h 4496940"/>
              <a:gd name="connsiteX57" fmla="*/ 1573552 w 4519987"/>
              <a:gd name="connsiteY57" fmla="*/ 4305300 h 4496940"/>
              <a:gd name="connsiteX58" fmla="*/ 1402102 w 4519987"/>
              <a:gd name="connsiteY58" fmla="*/ 4276725 h 4496940"/>
              <a:gd name="connsiteX59" fmla="*/ 1287802 w 4519987"/>
              <a:gd name="connsiteY59" fmla="*/ 4229100 h 4496940"/>
              <a:gd name="connsiteX60" fmla="*/ 1221127 w 4519987"/>
              <a:gd name="connsiteY60" fmla="*/ 4200525 h 4496940"/>
              <a:gd name="connsiteX61" fmla="*/ 1144927 w 4519987"/>
              <a:gd name="connsiteY61" fmla="*/ 4171950 h 4496940"/>
              <a:gd name="connsiteX62" fmla="*/ 1087777 w 4519987"/>
              <a:gd name="connsiteY62" fmla="*/ 4143375 h 4496940"/>
              <a:gd name="connsiteX63" fmla="*/ 1030627 w 4519987"/>
              <a:gd name="connsiteY63" fmla="*/ 4124325 h 4496940"/>
              <a:gd name="connsiteX64" fmla="*/ 925852 w 4519987"/>
              <a:gd name="connsiteY64" fmla="*/ 4067175 h 4496940"/>
              <a:gd name="connsiteX65" fmla="*/ 830602 w 4519987"/>
              <a:gd name="connsiteY65" fmla="*/ 3981450 h 4496940"/>
              <a:gd name="connsiteX66" fmla="*/ 763927 w 4519987"/>
              <a:gd name="connsiteY66" fmla="*/ 3914775 h 4496940"/>
              <a:gd name="connsiteX67" fmla="*/ 725827 w 4519987"/>
              <a:gd name="connsiteY67" fmla="*/ 3876675 h 4496940"/>
              <a:gd name="connsiteX68" fmla="*/ 697252 w 4519987"/>
              <a:gd name="connsiteY68" fmla="*/ 3838575 h 4496940"/>
              <a:gd name="connsiteX69" fmla="*/ 640102 w 4519987"/>
              <a:gd name="connsiteY69" fmla="*/ 3781425 h 4496940"/>
              <a:gd name="connsiteX70" fmla="*/ 611527 w 4519987"/>
              <a:gd name="connsiteY70" fmla="*/ 3733800 h 4496940"/>
              <a:gd name="connsiteX71" fmla="*/ 554377 w 4519987"/>
              <a:gd name="connsiteY71" fmla="*/ 3657600 h 4496940"/>
              <a:gd name="connsiteX72" fmla="*/ 525802 w 4519987"/>
              <a:gd name="connsiteY72" fmla="*/ 3609975 h 4496940"/>
              <a:gd name="connsiteX73" fmla="*/ 497227 w 4519987"/>
              <a:gd name="connsiteY73" fmla="*/ 3552825 h 4496940"/>
              <a:gd name="connsiteX74" fmla="*/ 440077 w 4519987"/>
              <a:gd name="connsiteY74" fmla="*/ 3495675 h 4496940"/>
              <a:gd name="connsiteX75" fmla="*/ 411502 w 4519987"/>
              <a:gd name="connsiteY75" fmla="*/ 3448050 h 4496940"/>
              <a:gd name="connsiteX76" fmla="*/ 278152 w 4519987"/>
              <a:gd name="connsiteY76" fmla="*/ 3257550 h 4496940"/>
              <a:gd name="connsiteX77" fmla="*/ 249577 w 4519987"/>
              <a:gd name="connsiteY77" fmla="*/ 3200400 h 4496940"/>
              <a:gd name="connsiteX78" fmla="*/ 240052 w 4519987"/>
              <a:gd name="connsiteY78" fmla="*/ 3162300 h 4496940"/>
              <a:gd name="connsiteX79" fmla="*/ 221002 w 4519987"/>
              <a:gd name="connsiteY79" fmla="*/ 3105150 h 4496940"/>
              <a:gd name="connsiteX80" fmla="*/ 173377 w 4519987"/>
              <a:gd name="connsiteY80" fmla="*/ 3019425 h 4496940"/>
              <a:gd name="connsiteX81" fmla="*/ 144802 w 4519987"/>
              <a:gd name="connsiteY81" fmla="*/ 2924175 h 4496940"/>
              <a:gd name="connsiteX82" fmla="*/ 68602 w 4519987"/>
              <a:gd name="connsiteY82" fmla="*/ 2724150 h 4496940"/>
              <a:gd name="connsiteX83" fmla="*/ 49552 w 4519987"/>
              <a:gd name="connsiteY83" fmla="*/ 2638425 h 4496940"/>
              <a:gd name="connsiteX84" fmla="*/ 40027 w 4519987"/>
              <a:gd name="connsiteY84" fmla="*/ 2562225 h 4496940"/>
              <a:gd name="connsiteX85" fmla="*/ 30502 w 4519987"/>
              <a:gd name="connsiteY85" fmla="*/ 2514600 h 4496940"/>
              <a:gd name="connsiteX86" fmla="*/ 11452 w 4519987"/>
              <a:gd name="connsiteY86" fmla="*/ 2400300 h 4496940"/>
              <a:gd name="connsiteX87" fmla="*/ 20977 w 4519987"/>
              <a:gd name="connsiteY87" fmla="*/ 1905000 h 4496940"/>
              <a:gd name="connsiteX88" fmla="*/ 30502 w 4519987"/>
              <a:gd name="connsiteY88" fmla="*/ 1838325 h 4496940"/>
              <a:gd name="connsiteX89" fmla="*/ 49552 w 4519987"/>
              <a:gd name="connsiteY89" fmla="*/ 1781175 h 4496940"/>
              <a:gd name="connsiteX90" fmla="*/ 59077 w 4519987"/>
              <a:gd name="connsiteY90" fmla="*/ 1743075 h 4496940"/>
              <a:gd name="connsiteX91" fmla="*/ 78127 w 4519987"/>
              <a:gd name="connsiteY91" fmla="*/ 1685925 h 4496940"/>
              <a:gd name="connsiteX92" fmla="*/ 87652 w 4519987"/>
              <a:gd name="connsiteY92" fmla="*/ 1638300 h 4496940"/>
              <a:gd name="connsiteX93" fmla="*/ 106702 w 4519987"/>
              <a:gd name="connsiteY93" fmla="*/ 1590675 h 4496940"/>
              <a:gd name="connsiteX94" fmla="*/ 135277 w 4519987"/>
              <a:gd name="connsiteY94" fmla="*/ 1504950 h 4496940"/>
              <a:gd name="connsiteX95" fmla="*/ 154327 w 4519987"/>
              <a:gd name="connsiteY95" fmla="*/ 1419225 h 4496940"/>
              <a:gd name="connsiteX96" fmla="*/ 230527 w 4519987"/>
              <a:gd name="connsiteY96" fmla="*/ 1276350 h 4496940"/>
              <a:gd name="connsiteX97" fmla="*/ 240052 w 4519987"/>
              <a:gd name="connsiteY97" fmla="*/ 1247775 h 4496940"/>
              <a:gd name="connsiteX98" fmla="*/ 268627 w 4519987"/>
              <a:gd name="connsiteY98" fmla="*/ 1200150 h 4496940"/>
              <a:gd name="connsiteX99" fmla="*/ 287677 w 4519987"/>
              <a:gd name="connsiteY99" fmla="*/ 1152525 h 4496940"/>
              <a:gd name="connsiteX100" fmla="*/ 316252 w 4519987"/>
              <a:gd name="connsiteY100" fmla="*/ 1114425 h 4496940"/>
              <a:gd name="connsiteX101" fmla="*/ 363877 w 4519987"/>
              <a:gd name="connsiteY101" fmla="*/ 1038225 h 4496940"/>
              <a:gd name="connsiteX102" fmla="*/ 382927 w 4519987"/>
              <a:gd name="connsiteY102" fmla="*/ 1009650 h 4496940"/>
              <a:gd name="connsiteX103" fmla="*/ 440077 w 4519987"/>
              <a:gd name="connsiteY103" fmla="*/ 904875 h 4496940"/>
              <a:gd name="connsiteX104" fmla="*/ 478177 w 4519987"/>
              <a:gd name="connsiteY104" fmla="*/ 857250 h 4496940"/>
              <a:gd name="connsiteX105" fmla="*/ 497227 w 4519987"/>
              <a:gd name="connsiteY105" fmla="*/ 828675 h 4496940"/>
              <a:gd name="connsiteX106" fmla="*/ 535327 w 4519987"/>
              <a:gd name="connsiteY106" fmla="*/ 800100 h 4496940"/>
              <a:gd name="connsiteX107" fmla="*/ 602002 w 4519987"/>
              <a:gd name="connsiteY107" fmla="*/ 733425 h 4496940"/>
              <a:gd name="connsiteX108" fmla="*/ 668677 w 4519987"/>
              <a:gd name="connsiteY108" fmla="*/ 676275 h 4496940"/>
              <a:gd name="connsiteX109" fmla="*/ 697252 w 4519987"/>
              <a:gd name="connsiteY109" fmla="*/ 657225 h 4496940"/>
              <a:gd name="connsiteX110" fmla="*/ 840127 w 4519987"/>
              <a:gd name="connsiteY110" fmla="*/ 533400 h 4496940"/>
              <a:gd name="connsiteX111" fmla="*/ 887752 w 4519987"/>
              <a:gd name="connsiteY111" fmla="*/ 504825 h 4496940"/>
              <a:gd name="connsiteX112" fmla="*/ 1167152 w 4519987"/>
              <a:gd name="connsiteY112" fmla="*/ 311150 h 4496940"/>
              <a:gd name="connsiteX113" fmla="*/ 1268752 w 4519987"/>
              <a:gd name="connsiteY113" fmla="*/ 285750 h 4496940"/>
              <a:gd name="connsiteX114" fmla="*/ 1411627 w 4519987"/>
              <a:gd name="connsiteY114" fmla="*/ 190500 h 4496940"/>
              <a:gd name="connsiteX115" fmla="*/ 1449727 w 4519987"/>
              <a:gd name="connsiteY115" fmla="*/ 161925 h 4496940"/>
              <a:gd name="connsiteX116" fmla="*/ 1525927 w 4519987"/>
              <a:gd name="connsiteY116" fmla="*/ 152400 h 4496940"/>
              <a:gd name="connsiteX117" fmla="*/ 1583077 w 4519987"/>
              <a:gd name="connsiteY117" fmla="*/ 142875 h 4496940"/>
              <a:gd name="connsiteX118" fmla="*/ 1716427 w 4519987"/>
              <a:gd name="connsiteY118" fmla="*/ 123825 h 4496940"/>
              <a:gd name="connsiteX119" fmla="*/ 1811677 w 4519987"/>
              <a:gd name="connsiteY119" fmla="*/ 114300 h 4496940"/>
              <a:gd name="connsiteX120" fmla="*/ 1859302 w 4519987"/>
              <a:gd name="connsiteY120" fmla="*/ 104775 h 4496940"/>
              <a:gd name="connsiteX121" fmla="*/ 1916452 w 4519987"/>
              <a:gd name="connsiteY121" fmla="*/ 95250 h 4496940"/>
              <a:gd name="connsiteX122" fmla="*/ 2030752 w 4519987"/>
              <a:gd name="connsiteY122" fmla="*/ 66675 h 4496940"/>
              <a:gd name="connsiteX123" fmla="*/ 2097427 w 4519987"/>
              <a:gd name="connsiteY123" fmla="*/ 47625 h 4496940"/>
              <a:gd name="connsiteX124" fmla="*/ 2164102 w 4519987"/>
              <a:gd name="connsiteY124" fmla="*/ 38100 h 4496940"/>
              <a:gd name="connsiteX125" fmla="*/ 2392702 w 4519987"/>
              <a:gd name="connsiteY125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54752 w 4519987"/>
              <a:gd name="connsiteY36" fmla="*/ 4095750 h 4496940"/>
              <a:gd name="connsiteX37" fmla="*/ 3383302 w 4519987"/>
              <a:gd name="connsiteY37" fmla="*/ 4210050 h 4496940"/>
              <a:gd name="connsiteX38" fmla="*/ 3335677 w 4519987"/>
              <a:gd name="connsiteY38" fmla="*/ 4238625 h 4496940"/>
              <a:gd name="connsiteX39" fmla="*/ 3288052 w 4519987"/>
              <a:gd name="connsiteY39" fmla="*/ 4248150 h 4496940"/>
              <a:gd name="connsiteX40" fmla="*/ 3240427 w 4519987"/>
              <a:gd name="connsiteY40" fmla="*/ 4267200 h 4496940"/>
              <a:gd name="connsiteX41" fmla="*/ 3068977 w 4519987"/>
              <a:gd name="connsiteY41" fmla="*/ 4286250 h 4496940"/>
              <a:gd name="connsiteX42" fmla="*/ 2935627 w 4519987"/>
              <a:gd name="connsiteY42" fmla="*/ 4333875 h 4496940"/>
              <a:gd name="connsiteX43" fmla="*/ 2811802 w 4519987"/>
              <a:gd name="connsiteY43" fmla="*/ 4371975 h 4496940"/>
              <a:gd name="connsiteX44" fmla="*/ 2745127 w 4519987"/>
              <a:gd name="connsiteY44" fmla="*/ 4410075 h 4496940"/>
              <a:gd name="connsiteX45" fmla="*/ 2697502 w 4519987"/>
              <a:gd name="connsiteY45" fmla="*/ 4429125 h 4496940"/>
              <a:gd name="connsiteX46" fmla="*/ 2640352 w 4519987"/>
              <a:gd name="connsiteY46" fmla="*/ 4457700 h 4496940"/>
              <a:gd name="connsiteX47" fmla="*/ 2583202 w 4519987"/>
              <a:gd name="connsiteY47" fmla="*/ 4467225 h 4496940"/>
              <a:gd name="connsiteX48" fmla="*/ 2545102 w 4519987"/>
              <a:gd name="connsiteY48" fmla="*/ 4486275 h 4496940"/>
              <a:gd name="connsiteX49" fmla="*/ 2306977 w 4519987"/>
              <a:gd name="connsiteY49" fmla="*/ 4476750 h 4496940"/>
              <a:gd name="connsiteX50" fmla="*/ 2202202 w 4519987"/>
              <a:gd name="connsiteY50" fmla="*/ 4457700 h 4496940"/>
              <a:gd name="connsiteX51" fmla="*/ 2126002 w 4519987"/>
              <a:gd name="connsiteY51" fmla="*/ 4429125 h 4496940"/>
              <a:gd name="connsiteX52" fmla="*/ 1935502 w 4519987"/>
              <a:gd name="connsiteY52" fmla="*/ 4400550 h 4496940"/>
              <a:gd name="connsiteX53" fmla="*/ 1821202 w 4519987"/>
              <a:gd name="connsiteY53" fmla="*/ 4371975 h 4496940"/>
              <a:gd name="connsiteX54" fmla="*/ 1754527 w 4519987"/>
              <a:gd name="connsiteY54" fmla="*/ 4352925 h 4496940"/>
              <a:gd name="connsiteX55" fmla="*/ 1687852 w 4519987"/>
              <a:gd name="connsiteY55" fmla="*/ 4343400 h 4496940"/>
              <a:gd name="connsiteX56" fmla="*/ 1573552 w 4519987"/>
              <a:gd name="connsiteY56" fmla="*/ 4305300 h 4496940"/>
              <a:gd name="connsiteX57" fmla="*/ 1402102 w 4519987"/>
              <a:gd name="connsiteY57" fmla="*/ 4276725 h 4496940"/>
              <a:gd name="connsiteX58" fmla="*/ 1287802 w 4519987"/>
              <a:gd name="connsiteY58" fmla="*/ 4229100 h 4496940"/>
              <a:gd name="connsiteX59" fmla="*/ 1221127 w 4519987"/>
              <a:gd name="connsiteY59" fmla="*/ 4200525 h 4496940"/>
              <a:gd name="connsiteX60" fmla="*/ 1144927 w 4519987"/>
              <a:gd name="connsiteY60" fmla="*/ 4171950 h 4496940"/>
              <a:gd name="connsiteX61" fmla="*/ 1087777 w 4519987"/>
              <a:gd name="connsiteY61" fmla="*/ 4143375 h 4496940"/>
              <a:gd name="connsiteX62" fmla="*/ 1030627 w 4519987"/>
              <a:gd name="connsiteY62" fmla="*/ 4124325 h 4496940"/>
              <a:gd name="connsiteX63" fmla="*/ 925852 w 4519987"/>
              <a:gd name="connsiteY63" fmla="*/ 4067175 h 4496940"/>
              <a:gd name="connsiteX64" fmla="*/ 830602 w 4519987"/>
              <a:gd name="connsiteY64" fmla="*/ 3981450 h 4496940"/>
              <a:gd name="connsiteX65" fmla="*/ 763927 w 4519987"/>
              <a:gd name="connsiteY65" fmla="*/ 3914775 h 4496940"/>
              <a:gd name="connsiteX66" fmla="*/ 725827 w 4519987"/>
              <a:gd name="connsiteY66" fmla="*/ 3876675 h 4496940"/>
              <a:gd name="connsiteX67" fmla="*/ 697252 w 4519987"/>
              <a:gd name="connsiteY67" fmla="*/ 3838575 h 4496940"/>
              <a:gd name="connsiteX68" fmla="*/ 640102 w 4519987"/>
              <a:gd name="connsiteY68" fmla="*/ 3781425 h 4496940"/>
              <a:gd name="connsiteX69" fmla="*/ 611527 w 4519987"/>
              <a:gd name="connsiteY69" fmla="*/ 3733800 h 4496940"/>
              <a:gd name="connsiteX70" fmla="*/ 554377 w 4519987"/>
              <a:gd name="connsiteY70" fmla="*/ 3657600 h 4496940"/>
              <a:gd name="connsiteX71" fmla="*/ 525802 w 4519987"/>
              <a:gd name="connsiteY71" fmla="*/ 3609975 h 4496940"/>
              <a:gd name="connsiteX72" fmla="*/ 497227 w 4519987"/>
              <a:gd name="connsiteY72" fmla="*/ 3552825 h 4496940"/>
              <a:gd name="connsiteX73" fmla="*/ 440077 w 4519987"/>
              <a:gd name="connsiteY73" fmla="*/ 3495675 h 4496940"/>
              <a:gd name="connsiteX74" fmla="*/ 411502 w 4519987"/>
              <a:gd name="connsiteY74" fmla="*/ 3448050 h 4496940"/>
              <a:gd name="connsiteX75" fmla="*/ 278152 w 4519987"/>
              <a:gd name="connsiteY75" fmla="*/ 3257550 h 4496940"/>
              <a:gd name="connsiteX76" fmla="*/ 249577 w 4519987"/>
              <a:gd name="connsiteY76" fmla="*/ 3200400 h 4496940"/>
              <a:gd name="connsiteX77" fmla="*/ 240052 w 4519987"/>
              <a:gd name="connsiteY77" fmla="*/ 3162300 h 4496940"/>
              <a:gd name="connsiteX78" fmla="*/ 221002 w 4519987"/>
              <a:gd name="connsiteY78" fmla="*/ 3105150 h 4496940"/>
              <a:gd name="connsiteX79" fmla="*/ 173377 w 4519987"/>
              <a:gd name="connsiteY79" fmla="*/ 3019425 h 4496940"/>
              <a:gd name="connsiteX80" fmla="*/ 144802 w 4519987"/>
              <a:gd name="connsiteY80" fmla="*/ 2924175 h 4496940"/>
              <a:gd name="connsiteX81" fmla="*/ 68602 w 4519987"/>
              <a:gd name="connsiteY81" fmla="*/ 2724150 h 4496940"/>
              <a:gd name="connsiteX82" fmla="*/ 49552 w 4519987"/>
              <a:gd name="connsiteY82" fmla="*/ 2638425 h 4496940"/>
              <a:gd name="connsiteX83" fmla="*/ 40027 w 4519987"/>
              <a:gd name="connsiteY83" fmla="*/ 2562225 h 4496940"/>
              <a:gd name="connsiteX84" fmla="*/ 30502 w 4519987"/>
              <a:gd name="connsiteY84" fmla="*/ 2514600 h 4496940"/>
              <a:gd name="connsiteX85" fmla="*/ 11452 w 4519987"/>
              <a:gd name="connsiteY85" fmla="*/ 2400300 h 4496940"/>
              <a:gd name="connsiteX86" fmla="*/ 20977 w 4519987"/>
              <a:gd name="connsiteY86" fmla="*/ 1905000 h 4496940"/>
              <a:gd name="connsiteX87" fmla="*/ 30502 w 4519987"/>
              <a:gd name="connsiteY87" fmla="*/ 1838325 h 4496940"/>
              <a:gd name="connsiteX88" fmla="*/ 49552 w 4519987"/>
              <a:gd name="connsiteY88" fmla="*/ 1781175 h 4496940"/>
              <a:gd name="connsiteX89" fmla="*/ 59077 w 4519987"/>
              <a:gd name="connsiteY89" fmla="*/ 1743075 h 4496940"/>
              <a:gd name="connsiteX90" fmla="*/ 78127 w 4519987"/>
              <a:gd name="connsiteY90" fmla="*/ 1685925 h 4496940"/>
              <a:gd name="connsiteX91" fmla="*/ 87652 w 4519987"/>
              <a:gd name="connsiteY91" fmla="*/ 1638300 h 4496940"/>
              <a:gd name="connsiteX92" fmla="*/ 106702 w 4519987"/>
              <a:gd name="connsiteY92" fmla="*/ 1590675 h 4496940"/>
              <a:gd name="connsiteX93" fmla="*/ 135277 w 4519987"/>
              <a:gd name="connsiteY93" fmla="*/ 1504950 h 4496940"/>
              <a:gd name="connsiteX94" fmla="*/ 154327 w 4519987"/>
              <a:gd name="connsiteY94" fmla="*/ 1419225 h 4496940"/>
              <a:gd name="connsiteX95" fmla="*/ 230527 w 4519987"/>
              <a:gd name="connsiteY95" fmla="*/ 1276350 h 4496940"/>
              <a:gd name="connsiteX96" fmla="*/ 240052 w 4519987"/>
              <a:gd name="connsiteY96" fmla="*/ 1247775 h 4496940"/>
              <a:gd name="connsiteX97" fmla="*/ 268627 w 4519987"/>
              <a:gd name="connsiteY97" fmla="*/ 1200150 h 4496940"/>
              <a:gd name="connsiteX98" fmla="*/ 287677 w 4519987"/>
              <a:gd name="connsiteY98" fmla="*/ 1152525 h 4496940"/>
              <a:gd name="connsiteX99" fmla="*/ 316252 w 4519987"/>
              <a:gd name="connsiteY99" fmla="*/ 1114425 h 4496940"/>
              <a:gd name="connsiteX100" fmla="*/ 363877 w 4519987"/>
              <a:gd name="connsiteY100" fmla="*/ 1038225 h 4496940"/>
              <a:gd name="connsiteX101" fmla="*/ 382927 w 4519987"/>
              <a:gd name="connsiteY101" fmla="*/ 1009650 h 4496940"/>
              <a:gd name="connsiteX102" fmla="*/ 440077 w 4519987"/>
              <a:gd name="connsiteY102" fmla="*/ 904875 h 4496940"/>
              <a:gd name="connsiteX103" fmla="*/ 478177 w 4519987"/>
              <a:gd name="connsiteY103" fmla="*/ 857250 h 4496940"/>
              <a:gd name="connsiteX104" fmla="*/ 497227 w 4519987"/>
              <a:gd name="connsiteY104" fmla="*/ 828675 h 4496940"/>
              <a:gd name="connsiteX105" fmla="*/ 535327 w 4519987"/>
              <a:gd name="connsiteY105" fmla="*/ 800100 h 4496940"/>
              <a:gd name="connsiteX106" fmla="*/ 602002 w 4519987"/>
              <a:gd name="connsiteY106" fmla="*/ 733425 h 4496940"/>
              <a:gd name="connsiteX107" fmla="*/ 668677 w 4519987"/>
              <a:gd name="connsiteY107" fmla="*/ 676275 h 4496940"/>
              <a:gd name="connsiteX108" fmla="*/ 697252 w 4519987"/>
              <a:gd name="connsiteY108" fmla="*/ 657225 h 4496940"/>
              <a:gd name="connsiteX109" fmla="*/ 840127 w 4519987"/>
              <a:gd name="connsiteY109" fmla="*/ 533400 h 4496940"/>
              <a:gd name="connsiteX110" fmla="*/ 887752 w 4519987"/>
              <a:gd name="connsiteY110" fmla="*/ 504825 h 4496940"/>
              <a:gd name="connsiteX111" fmla="*/ 1167152 w 4519987"/>
              <a:gd name="connsiteY111" fmla="*/ 311150 h 4496940"/>
              <a:gd name="connsiteX112" fmla="*/ 1268752 w 4519987"/>
              <a:gd name="connsiteY112" fmla="*/ 285750 h 4496940"/>
              <a:gd name="connsiteX113" fmla="*/ 1411627 w 4519987"/>
              <a:gd name="connsiteY113" fmla="*/ 190500 h 4496940"/>
              <a:gd name="connsiteX114" fmla="*/ 1449727 w 4519987"/>
              <a:gd name="connsiteY114" fmla="*/ 161925 h 4496940"/>
              <a:gd name="connsiteX115" fmla="*/ 1525927 w 4519987"/>
              <a:gd name="connsiteY115" fmla="*/ 152400 h 4496940"/>
              <a:gd name="connsiteX116" fmla="*/ 1583077 w 4519987"/>
              <a:gd name="connsiteY116" fmla="*/ 142875 h 4496940"/>
              <a:gd name="connsiteX117" fmla="*/ 1716427 w 4519987"/>
              <a:gd name="connsiteY117" fmla="*/ 123825 h 4496940"/>
              <a:gd name="connsiteX118" fmla="*/ 1811677 w 4519987"/>
              <a:gd name="connsiteY118" fmla="*/ 114300 h 4496940"/>
              <a:gd name="connsiteX119" fmla="*/ 1859302 w 4519987"/>
              <a:gd name="connsiteY119" fmla="*/ 104775 h 4496940"/>
              <a:gd name="connsiteX120" fmla="*/ 1916452 w 4519987"/>
              <a:gd name="connsiteY120" fmla="*/ 95250 h 4496940"/>
              <a:gd name="connsiteX121" fmla="*/ 2030752 w 4519987"/>
              <a:gd name="connsiteY121" fmla="*/ 66675 h 4496940"/>
              <a:gd name="connsiteX122" fmla="*/ 2097427 w 4519987"/>
              <a:gd name="connsiteY122" fmla="*/ 47625 h 4496940"/>
              <a:gd name="connsiteX123" fmla="*/ 2164102 w 4519987"/>
              <a:gd name="connsiteY123" fmla="*/ 38100 h 4496940"/>
              <a:gd name="connsiteX124" fmla="*/ 2392702 w 4519987"/>
              <a:gd name="connsiteY12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83302 w 4519987"/>
              <a:gd name="connsiteY37" fmla="*/ 4210050 h 4496940"/>
              <a:gd name="connsiteX38" fmla="*/ 3335677 w 4519987"/>
              <a:gd name="connsiteY38" fmla="*/ 4238625 h 4496940"/>
              <a:gd name="connsiteX39" fmla="*/ 3288052 w 4519987"/>
              <a:gd name="connsiteY39" fmla="*/ 4248150 h 4496940"/>
              <a:gd name="connsiteX40" fmla="*/ 3240427 w 4519987"/>
              <a:gd name="connsiteY40" fmla="*/ 4267200 h 4496940"/>
              <a:gd name="connsiteX41" fmla="*/ 3068977 w 4519987"/>
              <a:gd name="connsiteY41" fmla="*/ 4286250 h 4496940"/>
              <a:gd name="connsiteX42" fmla="*/ 2935627 w 4519987"/>
              <a:gd name="connsiteY42" fmla="*/ 4333875 h 4496940"/>
              <a:gd name="connsiteX43" fmla="*/ 2811802 w 4519987"/>
              <a:gd name="connsiteY43" fmla="*/ 4371975 h 4496940"/>
              <a:gd name="connsiteX44" fmla="*/ 2745127 w 4519987"/>
              <a:gd name="connsiteY44" fmla="*/ 4410075 h 4496940"/>
              <a:gd name="connsiteX45" fmla="*/ 2697502 w 4519987"/>
              <a:gd name="connsiteY45" fmla="*/ 4429125 h 4496940"/>
              <a:gd name="connsiteX46" fmla="*/ 2640352 w 4519987"/>
              <a:gd name="connsiteY46" fmla="*/ 4457700 h 4496940"/>
              <a:gd name="connsiteX47" fmla="*/ 2583202 w 4519987"/>
              <a:gd name="connsiteY47" fmla="*/ 4467225 h 4496940"/>
              <a:gd name="connsiteX48" fmla="*/ 2545102 w 4519987"/>
              <a:gd name="connsiteY48" fmla="*/ 4486275 h 4496940"/>
              <a:gd name="connsiteX49" fmla="*/ 2306977 w 4519987"/>
              <a:gd name="connsiteY49" fmla="*/ 4476750 h 4496940"/>
              <a:gd name="connsiteX50" fmla="*/ 2202202 w 4519987"/>
              <a:gd name="connsiteY50" fmla="*/ 4457700 h 4496940"/>
              <a:gd name="connsiteX51" fmla="*/ 2126002 w 4519987"/>
              <a:gd name="connsiteY51" fmla="*/ 4429125 h 4496940"/>
              <a:gd name="connsiteX52" fmla="*/ 1935502 w 4519987"/>
              <a:gd name="connsiteY52" fmla="*/ 4400550 h 4496940"/>
              <a:gd name="connsiteX53" fmla="*/ 1821202 w 4519987"/>
              <a:gd name="connsiteY53" fmla="*/ 4371975 h 4496940"/>
              <a:gd name="connsiteX54" fmla="*/ 1754527 w 4519987"/>
              <a:gd name="connsiteY54" fmla="*/ 4352925 h 4496940"/>
              <a:gd name="connsiteX55" fmla="*/ 1687852 w 4519987"/>
              <a:gd name="connsiteY55" fmla="*/ 4343400 h 4496940"/>
              <a:gd name="connsiteX56" fmla="*/ 1573552 w 4519987"/>
              <a:gd name="connsiteY56" fmla="*/ 4305300 h 4496940"/>
              <a:gd name="connsiteX57" fmla="*/ 1402102 w 4519987"/>
              <a:gd name="connsiteY57" fmla="*/ 4276725 h 4496940"/>
              <a:gd name="connsiteX58" fmla="*/ 1287802 w 4519987"/>
              <a:gd name="connsiteY58" fmla="*/ 4229100 h 4496940"/>
              <a:gd name="connsiteX59" fmla="*/ 1221127 w 4519987"/>
              <a:gd name="connsiteY59" fmla="*/ 4200525 h 4496940"/>
              <a:gd name="connsiteX60" fmla="*/ 1144927 w 4519987"/>
              <a:gd name="connsiteY60" fmla="*/ 4171950 h 4496940"/>
              <a:gd name="connsiteX61" fmla="*/ 1087777 w 4519987"/>
              <a:gd name="connsiteY61" fmla="*/ 4143375 h 4496940"/>
              <a:gd name="connsiteX62" fmla="*/ 1030627 w 4519987"/>
              <a:gd name="connsiteY62" fmla="*/ 4124325 h 4496940"/>
              <a:gd name="connsiteX63" fmla="*/ 925852 w 4519987"/>
              <a:gd name="connsiteY63" fmla="*/ 4067175 h 4496940"/>
              <a:gd name="connsiteX64" fmla="*/ 830602 w 4519987"/>
              <a:gd name="connsiteY64" fmla="*/ 3981450 h 4496940"/>
              <a:gd name="connsiteX65" fmla="*/ 763927 w 4519987"/>
              <a:gd name="connsiteY65" fmla="*/ 3914775 h 4496940"/>
              <a:gd name="connsiteX66" fmla="*/ 725827 w 4519987"/>
              <a:gd name="connsiteY66" fmla="*/ 3876675 h 4496940"/>
              <a:gd name="connsiteX67" fmla="*/ 697252 w 4519987"/>
              <a:gd name="connsiteY67" fmla="*/ 3838575 h 4496940"/>
              <a:gd name="connsiteX68" fmla="*/ 640102 w 4519987"/>
              <a:gd name="connsiteY68" fmla="*/ 3781425 h 4496940"/>
              <a:gd name="connsiteX69" fmla="*/ 611527 w 4519987"/>
              <a:gd name="connsiteY69" fmla="*/ 3733800 h 4496940"/>
              <a:gd name="connsiteX70" fmla="*/ 554377 w 4519987"/>
              <a:gd name="connsiteY70" fmla="*/ 3657600 h 4496940"/>
              <a:gd name="connsiteX71" fmla="*/ 525802 w 4519987"/>
              <a:gd name="connsiteY71" fmla="*/ 3609975 h 4496940"/>
              <a:gd name="connsiteX72" fmla="*/ 497227 w 4519987"/>
              <a:gd name="connsiteY72" fmla="*/ 3552825 h 4496940"/>
              <a:gd name="connsiteX73" fmla="*/ 440077 w 4519987"/>
              <a:gd name="connsiteY73" fmla="*/ 3495675 h 4496940"/>
              <a:gd name="connsiteX74" fmla="*/ 411502 w 4519987"/>
              <a:gd name="connsiteY74" fmla="*/ 3448050 h 4496940"/>
              <a:gd name="connsiteX75" fmla="*/ 278152 w 4519987"/>
              <a:gd name="connsiteY75" fmla="*/ 3257550 h 4496940"/>
              <a:gd name="connsiteX76" fmla="*/ 249577 w 4519987"/>
              <a:gd name="connsiteY76" fmla="*/ 3200400 h 4496940"/>
              <a:gd name="connsiteX77" fmla="*/ 240052 w 4519987"/>
              <a:gd name="connsiteY77" fmla="*/ 3162300 h 4496940"/>
              <a:gd name="connsiteX78" fmla="*/ 221002 w 4519987"/>
              <a:gd name="connsiteY78" fmla="*/ 3105150 h 4496940"/>
              <a:gd name="connsiteX79" fmla="*/ 173377 w 4519987"/>
              <a:gd name="connsiteY79" fmla="*/ 3019425 h 4496940"/>
              <a:gd name="connsiteX80" fmla="*/ 144802 w 4519987"/>
              <a:gd name="connsiteY80" fmla="*/ 2924175 h 4496940"/>
              <a:gd name="connsiteX81" fmla="*/ 68602 w 4519987"/>
              <a:gd name="connsiteY81" fmla="*/ 2724150 h 4496940"/>
              <a:gd name="connsiteX82" fmla="*/ 49552 w 4519987"/>
              <a:gd name="connsiteY82" fmla="*/ 2638425 h 4496940"/>
              <a:gd name="connsiteX83" fmla="*/ 40027 w 4519987"/>
              <a:gd name="connsiteY83" fmla="*/ 2562225 h 4496940"/>
              <a:gd name="connsiteX84" fmla="*/ 30502 w 4519987"/>
              <a:gd name="connsiteY84" fmla="*/ 2514600 h 4496940"/>
              <a:gd name="connsiteX85" fmla="*/ 11452 w 4519987"/>
              <a:gd name="connsiteY85" fmla="*/ 2400300 h 4496940"/>
              <a:gd name="connsiteX86" fmla="*/ 20977 w 4519987"/>
              <a:gd name="connsiteY86" fmla="*/ 1905000 h 4496940"/>
              <a:gd name="connsiteX87" fmla="*/ 30502 w 4519987"/>
              <a:gd name="connsiteY87" fmla="*/ 1838325 h 4496940"/>
              <a:gd name="connsiteX88" fmla="*/ 49552 w 4519987"/>
              <a:gd name="connsiteY88" fmla="*/ 1781175 h 4496940"/>
              <a:gd name="connsiteX89" fmla="*/ 59077 w 4519987"/>
              <a:gd name="connsiteY89" fmla="*/ 1743075 h 4496940"/>
              <a:gd name="connsiteX90" fmla="*/ 78127 w 4519987"/>
              <a:gd name="connsiteY90" fmla="*/ 1685925 h 4496940"/>
              <a:gd name="connsiteX91" fmla="*/ 87652 w 4519987"/>
              <a:gd name="connsiteY91" fmla="*/ 1638300 h 4496940"/>
              <a:gd name="connsiteX92" fmla="*/ 106702 w 4519987"/>
              <a:gd name="connsiteY92" fmla="*/ 1590675 h 4496940"/>
              <a:gd name="connsiteX93" fmla="*/ 135277 w 4519987"/>
              <a:gd name="connsiteY93" fmla="*/ 1504950 h 4496940"/>
              <a:gd name="connsiteX94" fmla="*/ 154327 w 4519987"/>
              <a:gd name="connsiteY94" fmla="*/ 1419225 h 4496940"/>
              <a:gd name="connsiteX95" fmla="*/ 230527 w 4519987"/>
              <a:gd name="connsiteY95" fmla="*/ 1276350 h 4496940"/>
              <a:gd name="connsiteX96" fmla="*/ 240052 w 4519987"/>
              <a:gd name="connsiteY96" fmla="*/ 1247775 h 4496940"/>
              <a:gd name="connsiteX97" fmla="*/ 268627 w 4519987"/>
              <a:gd name="connsiteY97" fmla="*/ 1200150 h 4496940"/>
              <a:gd name="connsiteX98" fmla="*/ 287677 w 4519987"/>
              <a:gd name="connsiteY98" fmla="*/ 1152525 h 4496940"/>
              <a:gd name="connsiteX99" fmla="*/ 316252 w 4519987"/>
              <a:gd name="connsiteY99" fmla="*/ 1114425 h 4496940"/>
              <a:gd name="connsiteX100" fmla="*/ 363877 w 4519987"/>
              <a:gd name="connsiteY100" fmla="*/ 1038225 h 4496940"/>
              <a:gd name="connsiteX101" fmla="*/ 382927 w 4519987"/>
              <a:gd name="connsiteY101" fmla="*/ 1009650 h 4496940"/>
              <a:gd name="connsiteX102" fmla="*/ 440077 w 4519987"/>
              <a:gd name="connsiteY102" fmla="*/ 904875 h 4496940"/>
              <a:gd name="connsiteX103" fmla="*/ 478177 w 4519987"/>
              <a:gd name="connsiteY103" fmla="*/ 857250 h 4496940"/>
              <a:gd name="connsiteX104" fmla="*/ 497227 w 4519987"/>
              <a:gd name="connsiteY104" fmla="*/ 828675 h 4496940"/>
              <a:gd name="connsiteX105" fmla="*/ 535327 w 4519987"/>
              <a:gd name="connsiteY105" fmla="*/ 800100 h 4496940"/>
              <a:gd name="connsiteX106" fmla="*/ 602002 w 4519987"/>
              <a:gd name="connsiteY106" fmla="*/ 733425 h 4496940"/>
              <a:gd name="connsiteX107" fmla="*/ 668677 w 4519987"/>
              <a:gd name="connsiteY107" fmla="*/ 676275 h 4496940"/>
              <a:gd name="connsiteX108" fmla="*/ 697252 w 4519987"/>
              <a:gd name="connsiteY108" fmla="*/ 657225 h 4496940"/>
              <a:gd name="connsiteX109" fmla="*/ 840127 w 4519987"/>
              <a:gd name="connsiteY109" fmla="*/ 533400 h 4496940"/>
              <a:gd name="connsiteX110" fmla="*/ 887752 w 4519987"/>
              <a:gd name="connsiteY110" fmla="*/ 504825 h 4496940"/>
              <a:gd name="connsiteX111" fmla="*/ 1167152 w 4519987"/>
              <a:gd name="connsiteY111" fmla="*/ 311150 h 4496940"/>
              <a:gd name="connsiteX112" fmla="*/ 1268752 w 4519987"/>
              <a:gd name="connsiteY112" fmla="*/ 285750 h 4496940"/>
              <a:gd name="connsiteX113" fmla="*/ 1411627 w 4519987"/>
              <a:gd name="connsiteY113" fmla="*/ 190500 h 4496940"/>
              <a:gd name="connsiteX114" fmla="*/ 1449727 w 4519987"/>
              <a:gd name="connsiteY114" fmla="*/ 161925 h 4496940"/>
              <a:gd name="connsiteX115" fmla="*/ 1525927 w 4519987"/>
              <a:gd name="connsiteY115" fmla="*/ 152400 h 4496940"/>
              <a:gd name="connsiteX116" fmla="*/ 1583077 w 4519987"/>
              <a:gd name="connsiteY116" fmla="*/ 142875 h 4496940"/>
              <a:gd name="connsiteX117" fmla="*/ 1716427 w 4519987"/>
              <a:gd name="connsiteY117" fmla="*/ 123825 h 4496940"/>
              <a:gd name="connsiteX118" fmla="*/ 1811677 w 4519987"/>
              <a:gd name="connsiteY118" fmla="*/ 114300 h 4496940"/>
              <a:gd name="connsiteX119" fmla="*/ 1859302 w 4519987"/>
              <a:gd name="connsiteY119" fmla="*/ 104775 h 4496940"/>
              <a:gd name="connsiteX120" fmla="*/ 1916452 w 4519987"/>
              <a:gd name="connsiteY120" fmla="*/ 95250 h 4496940"/>
              <a:gd name="connsiteX121" fmla="*/ 2030752 w 4519987"/>
              <a:gd name="connsiteY121" fmla="*/ 66675 h 4496940"/>
              <a:gd name="connsiteX122" fmla="*/ 2097427 w 4519987"/>
              <a:gd name="connsiteY122" fmla="*/ 47625 h 4496940"/>
              <a:gd name="connsiteX123" fmla="*/ 2164102 w 4519987"/>
              <a:gd name="connsiteY123" fmla="*/ 38100 h 4496940"/>
              <a:gd name="connsiteX124" fmla="*/ 2392702 w 4519987"/>
              <a:gd name="connsiteY124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35677 w 4519987"/>
              <a:gd name="connsiteY37" fmla="*/ 4238625 h 4496940"/>
              <a:gd name="connsiteX38" fmla="*/ 3288052 w 4519987"/>
              <a:gd name="connsiteY38" fmla="*/ 4248150 h 4496940"/>
              <a:gd name="connsiteX39" fmla="*/ 3240427 w 4519987"/>
              <a:gd name="connsiteY39" fmla="*/ 4267200 h 4496940"/>
              <a:gd name="connsiteX40" fmla="*/ 3068977 w 4519987"/>
              <a:gd name="connsiteY40" fmla="*/ 4286250 h 4496940"/>
              <a:gd name="connsiteX41" fmla="*/ 2935627 w 4519987"/>
              <a:gd name="connsiteY41" fmla="*/ 4333875 h 4496940"/>
              <a:gd name="connsiteX42" fmla="*/ 2811802 w 4519987"/>
              <a:gd name="connsiteY42" fmla="*/ 4371975 h 4496940"/>
              <a:gd name="connsiteX43" fmla="*/ 2745127 w 4519987"/>
              <a:gd name="connsiteY43" fmla="*/ 4410075 h 4496940"/>
              <a:gd name="connsiteX44" fmla="*/ 2697502 w 4519987"/>
              <a:gd name="connsiteY44" fmla="*/ 4429125 h 4496940"/>
              <a:gd name="connsiteX45" fmla="*/ 2640352 w 4519987"/>
              <a:gd name="connsiteY45" fmla="*/ 4457700 h 4496940"/>
              <a:gd name="connsiteX46" fmla="*/ 2583202 w 4519987"/>
              <a:gd name="connsiteY46" fmla="*/ 4467225 h 4496940"/>
              <a:gd name="connsiteX47" fmla="*/ 2545102 w 4519987"/>
              <a:gd name="connsiteY47" fmla="*/ 4486275 h 4496940"/>
              <a:gd name="connsiteX48" fmla="*/ 2306977 w 4519987"/>
              <a:gd name="connsiteY48" fmla="*/ 4476750 h 4496940"/>
              <a:gd name="connsiteX49" fmla="*/ 2202202 w 4519987"/>
              <a:gd name="connsiteY49" fmla="*/ 4457700 h 4496940"/>
              <a:gd name="connsiteX50" fmla="*/ 2126002 w 4519987"/>
              <a:gd name="connsiteY50" fmla="*/ 4429125 h 4496940"/>
              <a:gd name="connsiteX51" fmla="*/ 1935502 w 4519987"/>
              <a:gd name="connsiteY51" fmla="*/ 4400550 h 4496940"/>
              <a:gd name="connsiteX52" fmla="*/ 1821202 w 4519987"/>
              <a:gd name="connsiteY52" fmla="*/ 4371975 h 4496940"/>
              <a:gd name="connsiteX53" fmla="*/ 1754527 w 4519987"/>
              <a:gd name="connsiteY53" fmla="*/ 4352925 h 4496940"/>
              <a:gd name="connsiteX54" fmla="*/ 1687852 w 4519987"/>
              <a:gd name="connsiteY54" fmla="*/ 4343400 h 4496940"/>
              <a:gd name="connsiteX55" fmla="*/ 1573552 w 4519987"/>
              <a:gd name="connsiteY55" fmla="*/ 4305300 h 4496940"/>
              <a:gd name="connsiteX56" fmla="*/ 1402102 w 4519987"/>
              <a:gd name="connsiteY56" fmla="*/ 4276725 h 4496940"/>
              <a:gd name="connsiteX57" fmla="*/ 1287802 w 4519987"/>
              <a:gd name="connsiteY57" fmla="*/ 4229100 h 4496940"/>
              <a:gd name="connsiteX58" fmla="*/ 1221127 w 4519987"/>
              <a:gd name="connsiteY58" fmla="*/ 4200525 h 4496940"/>
              <a:gd name="connsiteX59" fmla="*/ 1144927 w 4519987"/>
              <a:gd name="connsiteY59" fmla="*/ 4171950 h 4496940"/>
              <a:gd name="connsiteX60" fmla="*/ 1087777 w 4519987"/>
              <a:gd name="connsiteY60" fmla="*/ 4143375 h 4496940"/>
              <a:gd name="connsiteX61" fmla="*/ 1030627 w 4519987"/>
              <a:gd name="connsiteY61" fmla="*/ 4124325 h 4496940"/>
              <a:gd name="connsiteX62" fmla="*/ 925852 w 4519987"/>
              <a:gd name="connsiteY62" fmla="*/ 4067175 h 4496940"/>
              <a:gd name="connsiteX63" fmla="*/ 830602 w 4519987"/>
              <a:gd name="connsiteY63" fmla="*/ 3981450 h 4496940"/>
              <a:gd name="connsiteX64" fmla="*/ 763927 w 4519987"/>
              <a:gd name="connsiteY64" fmla="*/ 3914775 h 4496940"/>
              <a:gd name="connsiteX65" fmla="*/ 725827 w 4519987"/>
              <a:gd name="connsiteY65" fmla="*/ 3876675 h 4496940"/>
              <a:gd name="connsiteX66" fmla="*/ 697252 w 4519987"/>
              <a:gd name="connsiteY66" fmla="*/ 3838575 h 4496940"/>
              <a:gd name="connsiteX67" fmla="*/ 640102 w 4519987"/>
              <a:gd name="connsiteY67" fmla="*/ 3781425 h 4496940"/>
              <a:gd name="connsiteX68" fmla="*/ 611527 w 4519987"/>
              <a:gd name="connsiteY68" fmla="*/ 3733800 h 4496940"/>
              <a:gd name="connsiteX69" fmla="*/ 554377 w 4519987"/>
              <a:gd name="connsiteY69" fmla="*/ 3657600 h 4496940"/>
              <a:gd name="connsiteX70" fmla="*/ 525802 w 4519987"/>
              <a:gd name="connsiteY70" fmla="*/ 3609975 h 4496940"/>
              <a:gd name="connsiteX71" fmla="*/ 497227 w 4519987"/>
              <a:gd name="connsiteY71" fmla="*/ 3552825 h 4496940"/>
              <a:gd name="connsiteX72" fmla="*/ 440077 w 4519987"/>
              <a:gd name="connsiteY72" fmla="*/ 3495675 h 4496940"/>
              <a:gd name="connsiteX73" fmla="*/ 411502 w 4519987"/>
              <a:gd name="connsiteY73" fmla="*/ 3448050 h 4496940"/>
              <a:gd name="connsiteX74" fmla="*/ 278152 w 4519987"/>
              <a:gd name="connsiteY74" fmla="*/ 3257550 h 4496940"/>
              <a:gd name="connsiteX75" fmla="*/ 249577 w 4519987"/>
              <a:gd name="connsiteY75" fmla="*/ 3200400 h 4496940"/>
              <a:gd name="connsiteX76" fmla="*/ 240052 w 4519987"/>
              <a:gd name="connsiteY76" fmla="*/ 3162300 h 4496940"/>
              <a:gd name="connsiteX77" fmla="*/ 221002 w 4519987"/>
              <a:gd name="connsiteY77" fmla="*/ 3105150 h 4496940"/>
              <a:gd name="connsiteX78" fmla="*/ 173377 w 4519987"/>
              <a:gd name="connsiteY78" fmla="*/ 3019425 h 4496940"/>
              <a:gd name="connsiteX79" fmla="*/ 144802 w 4519987"/>
              <a:gd name="connsiteY79" fmla="*/ 2924175 h 4496940"/>
              <a:gd name="connsiteX80" fmla="*/ 68602 w 4519987"/>
              <a:gd name="connsiteY80" fmla="*/ 2724150 h 4496940"/>
              <a:gd name="connsiteX81" fmla="*/ 49552 w 4519987"/>
              <a:gd name="connsiteY81" fmla="*/ 2638425 h 4496940"/>
              <a:gd name="connsiteX82" fmla="*/ 40027 w 4519987"/>
              <a:gd name="connsiteY82" fmla="*/ 2562225 h 4496940"/>
              <a:gd name="connsiteX83" fmla="*/ 30502 w 4519987"/>
              <a:gd name="connsiteY83" fmla="*/ 2514600 h 4496940"/>
              <a:gd name="connsiteX84" fmla="*/ 11452 w 4519987"/>
              <a:gd name="connsiteY84" fmla="*/ 2400300 h 4496940"/>
              <a:gd name="connsiteX85" fmla="*/ 20977 w 4519987"/>
              <a:gd name="connsiteY85" fmla="*/ 1905000 h 4496940"/>
              <a:gd name="connsiteX86" fmla="*/ 30502 w 4519987"/>
              <a:gd name="connsiteY86" fmla="*/ 1838325 h 4496940"/>
              <a:gd name="connsiteX87" fmla="*/ 49552 w 4519987"/>
              <a:gd name="connsiteY87" fmla="*/ 1781175 h 4496940"/>
              <a:gd name="connsiteX88" fmla="*/ 59077 w 4519987"/>
              <a:gd name="connsiteY88" fmla="*/ 1743075 h 4496940"/>
              <a:gd name="connsiteX89" fmla="*/ 78127 w 4519987"/>
              <a:gd name="connsiteY89" fmla="*/ 1685925 h 4496940"/>
              <a:gd name="connsiteX90" fmla="*/ 87652 w 4519987"/>
              <a:gd name="connsiteY90" fmla="*/ 1638300 h 4496940"/>
              <a:gd name="connsiteX91" fmla="*/ 106702 w 4519987"/>
              <a:gd name="connsiteY91" fmla="*/ 1590675 h 4496940"/>
              <a:gd name="connsiteX92" fmla="*/ 135277 w 4519987"/>
              <a:gd name="connsiteY92" fmla="*/ 1504950 h 4496940"/>
              <a:gd name="connsiteX93" fmla="*/ 154327 w 4519987"/>
              <a:gd name="connsiteY93" fmla="*/ 1419225 h 4496940"/>
              <a:gd name="connsiteX94" fmla="*/ 230527 w 4519987"/>
              <a:gd name="connsiteY94" fmla="*/ 1276350 h 4496940"/>
              <a:gd name="connsiteX95" fmla="*/ 240052 w 4519987"/>
              <a:gd name="connsiteY95" fmla="*/ 1247775 h 4496940"/>
              <a:gd name="connsiteX96" fmla="*/ 268627 w 4519987"/>
              <a:gd name="connsiteY96" fmla="*/ 1200150 h 4496940"/>
              <a:gd name="connsiteX97" fmla="*/ 287677 w 4519987"/>
              <a:gd name="connsiteY97" fmla="*/ 1152525 h 4496940"/>
              <a:gd name="connsiteX98" fmla="*/ 316252 w 4519987"/>
              <a:gd name="connsiteY98" fmla="*/ 1114425 h 4496940"/>
              <a:gd name="connsiteX99" fmla="*/ 363877 w 4519987"/>
              <a:gd name="connsiteY99" fmla="*/ 1038225 h 4496940"/>
              <a:gd name="connsiteX100" fmla="*/ 382927 w 4519987"/>
              <a:gd name="connsiteY100" fmla="*/ 1009650 h 4496940"/>
              <a:gd name="connsiteX101" fmla="*/ 440077 w 4519987"/>
              <a:gd name="connsiteY101" fmla="*/ 904875 h 4496940"/>
              <a:gd name="connsiteX102" fmla="*/ 478177 w 4519987"/>
              <a:gd name="connsiteY102" fmla="*/ 857250 h 4496940"/>
              <a:gd name="connsiteX103" fmla="*/ 497227 w 4519987"/>
              <a:gd name="connsiteY103" fmla="*/ 828675 h 4496940"/>
              <a:gd name="connsiteX104" fmla="*/ 535327 w 4519987"/>
              <a:gd name="connsiteY104" fmla="*/ 800100 h 4496940"/>
              <a:gd name="connsiteX105" fmla="*/ 602002 w 4519987"/>
              <a:gd name="connsiteY105" fmla="*/ 733425 h 4496940"/>
              <a:gd name="connsiteX106" fmla="*/ 668677 w 4519987"/>
              <a:gd name="connsiteY106" fmla="*/ 676275 h 4496940"/>
              <a:gd name="connsiteX107" fmla="*/ 697252 w 4519987"/>
              <a:gd name="connsiteY107" fmla="*/ 657225 h 4496940"/>
              <a:gd name="connsiteX108" fmla="*/ 840127 w 4519987"/>
              <a:gd name="connsiteY108" fmla="*/ 533400 h 4496940"/>
              <a:gd name="connsiteX109" fmla="*/ 887752 w 4519987"/>
              <a:gd name="connsiteY109" fmla="*/ 504825 h 4496940"/>
              <a:gd name="connsiteX110" fmla="*/ 1167152 w 4519987"/>
              <a:gd name="connsiteY110" fmla="*/ 311150 h 4496940"/>
              <a:gd name="connsiteX111" fmla="*/ 1268752 w 4519987"/>
              <a:gd name="connsiteY111" fmla="*/ 285750 h 4496940"/>
              <a:gd name="connsiteX112" fmla="*/ 1411627 w 4519987"/>
              <a:gd name="connsiteY112" fmla="*/ 190500 h 4496940"/>
              <a:gd name="connsiteX113" fmla="*/ 1449727 w 4519987"/>
              <a:gd name="connsiteY113" fmla="*/ 161925 h 4496940"/>
              <a:gd name="connsiteX114" fmla="*/ 1525927 w 4519987"/>
              <a:gd name="connsiteY114" fmla="*/ 152400 h 4496940"/>
              <a:gd name="connsiteX115" fmla="*/ 1583077 w 4519987"/>
              <a:gd name="connsiteY115" fmla="*/ 142875 h 4496940"/>
              <a:gd name="connsiteX116" fmla="*/ 1716427 w 4519987"/>
              <a:gd name="connsiteY116" fmla="*/ 123825 h 4496940"/>
              <a:gd name="connsiteX117" fmla="*/ 1811677 w 4519987"/>
              <a:gd name="connsiteY117" fmla="*/ 114300 h 4496940"/>
              <a:gd name="connsiteX118" fmla="*/ 1859302 w 4519987"/>
              <a:gd name="connsiteY118" fmla="*/ 104775 h 4496940"/>
              <a:gd name="connsiteX119" fmla="*/ 1916452 w 4519987"/>
              <a:gd name="connsiteY119" fmla="*/ 95250 h 4496940"/>
              <a:gd name="connsiteX120" fmla="*/ 2030752 w 4519987"/>
              <a:gd name="connsiteY120" fmla="*/ 66675 h 4496940"/>
              <a:gd name="connsiteX121" fmla="*/ 2097427 w 4519987"/>
              <a:gd name="connsiteY121" fmla="*/ 47625 h 4496940"/>
              <a:gd name="connsiteX122" fmla="*/ 2164102 w 4519987"/>
              <a:gd name="connsiteY122" fmla="*/ 38100 h 4496940"/>
              <a:gd name="connsiteX123" fmla="*/ 2392702 w 4519987"/>
              <a:gd name="connsiteY123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335677 w 4519987"/>
              <a:gd name="connsiteY37" fmla="*/ 4238625 h 4496940"/>
              <a:gd name="connsiteX38" fmla="*/ 3240427 w 4519987"/>
              <a:gd name="connsiteY38" fmla="*/ 4267200 h 4496940"/>
              <a:gd name="connsiteX39" fmla="*/ 3068977 w 4519987"/>
              <a:gd name="connsiteY39" fmla="*/ 4286250 h 4496940"/>
              <a:gd name="connsiteX40" fmla="*/ 2935627 w 4519987"/>
              <a:gd name="connsiteY40" fmla="*/ 4333875 h 4496940"/>
              <a:gd name="connsiteX41" fmla="*/ 2811802 w 4519987"/>
              <a:gd name="connsiteY41" fmla="*/ 4371975 h 4496940"/>
              <a:gd name="connsiteX42" fmla="*/ 2745127 w 4519987"/>
              <a:gd name="connsiteY42" fmla="*/ 4410075 h 4496940"/>
              <a:gd name="connsiteX43" fmla="*/ 2697502 w 4519987"/>
              <a:gd name="connsiteY43" fmla="*/ 4429125 h 4496940"/>
              <a:gd name="connsiteX44" fmla="*/ 2640352 w 4519987"/>
              <a:gd name="connsiteY44" fmla="*/ 4457700 h 4496940"/>
              <a:gd name="connsiteX45" fmla="*/ 2583202 w 4519987"/>
              <a:gd name="connsiteY45" fmla="*/ 4467225 h 4496940"/>
              <a:gd name="connsiteX46" fmla="*/ 2545102 w 4519987"/>
              <a:gd name="connsiteY46" fmla="*/ 4486275 h 4496940"/>
              <a:gd name="connsiteX47" fmla="*/ 2306977 w 4519987"/>
              <a:gd name="connsiteY47" fmla="*/ 4476750 h 4496940"/>
              <a:gd name="connsiteX48" fmla="*/ 2202202 w 4519987"/>
              <a:gd name="connsiteY48" fmla="*/ 4457700 h 4496940"/>
              <a:gd name="connsiteX49" fmla="*/ 2126002 w 4519987"/>
              <a:gd name="connsiteY49" fmla="*/ 4429125 h 4496940"/>
              <a:gd name="connsiteX50" fmla="*/ 1935502 w 4519987"/>
              <a:gd name="connsiteY50" fmla="*/ 4400550 h 4496940"/>
              <a:gd name="connsiteX51" fmla="*/ 1821202 w 4519987"/>
              <a:gd name="connsiteY51" fmla="*/ 4371975 h 4496940"/>
              <a:gd name="connsiteX52" fmla="*/ 1754527 w 4519987"/>
              <a:gd name="connsiteY52" fmla="*/ 4352925 h 4496940"/>
              <a:gd name="connsiteX53" fmla="*/ 1687852 w 4519987"/>
              <a:gd name="connsiteY53" fmla="*/ 4343400 h 4496940"/>
              <a:gd name="connsiteX54" fmla="*/ 1573552 w 4519987"/>
              <a:gd name="connsiteY54" fmla="*/ 4305300 h 4496940"/>
              <a:gd name="connsiteX55" fmla="*/ 1402102 w 4519987"/>
              <a:gd name="connsiteY55" fmla="*/ 4276725 h 4496940"/>
              <a:gd name="connsiteX56" fmla="*/ 1287802 w 4519987"/>
              <a:gd name="connsiteY56" fmla="*/ 4229100 h 4496940"/>
              <a:gd name="connsiteX57" fmla="*/ 1221127 w 4519987"/>
              <a:gd name="connsiteY57" fmla="*/ 4200525 h 4496940"/>
              <a:gd name="connsiteX58" fmla="*/ 1144927 w 4519987"/>
              <a:gd name="connsiteY58" fmla="*/ 4171950 h 4496940"/>
              <a:gd name="connsiteX59" fmla="*/ 1087777 w 4519987"/>
              <a:gd name="connsiteY59" fmla="*/ 4143375 h 4496940"/>
              <a:gd name="connsiteX60" fmla="*/ 1030627 w 4519987"/>
              <a:gd name="connsiteY60" fmla="*/ 4124325 h 4496940"/>
              <a:gd name="connsiteX61" fmla="*/ 925852 w 4519987"/>
              <a:gd name="connsiteY61" fmla="*/ 4067175 h 4496940"/>
              <a:gd name="connsiteX62" fmla="*/ 830602 w 4519987"/>
              <a:gd name="connsiteY62" fmla="*/ 3981450 h 4496940"/>
              <a:gd name="connsiteX63" fmla="*/ 763927 w 4519987"/>
              <a:gd name="connsiteY63" fmla="*/ 3914775 h 4496940"/>
              <a:gd name="connsiteX64" fmla="*/ 725827 w 4519987"/>
              <a:gd name="connsiteY64" fmla="*/ 3876675 h 4496940"/>
              <a:gd name="connsiteX65" fmla="*/ 697252 w 4519987"/>
              <a:gd name="connsiteY65" fmla="*/ 3838575 h 4496940"/>
              <a:gd name="connsiteX66" fmla="*/ 640102 w 4519987"/>
              <a:gd name="connsiteY66" fmla="*/ 3781425 h 4496940"/>
              <a:gd name="connsiteX67" fmla="*/ 611527 w 4519987"/>
              <a:gd name="connsiteY67" fmla="*/ 3733800 h 4496940"/>
              <a:gd name="connsiteX68" fmla="*/ 554377 w 4519987"/>
              <a:gd name="connsiteY68" fmla="*/ 3657600 h 4496940"/>
              <a:gd name="connsiteX69" fmla="*/ 525802 w 4519987"/>
              <a:gd name="connsiteY69" fmla="*/ 3609975 h 4496940"/>
              <a:gd name="connsiteX70" fmla="*/ 497227 w 4519987"/>
              <a:gd name="connsiteY70" fmla="*/ 3552825 h 4496940"/>
              <a:gd name="connsiteX71" fmla="*/ 440077 w 4519987"/>
              <a:gd name="connsiteY71" fmla="*/ 3495675 h 4496940"/>
              <a:gd name="connsiteX72" fmla="*/ 411502 w 4519987"/>
              <a:gd name="connsiteY72" fmla="*/ 3448050 h 4496940"/>
              <a:gd name="connsiteX73" fmla="*/ 278152 w 4519987"/>
              <a:gd name="connsiteY73" fmla="*/ 3257550 h 4496940"/>
              <a:gd name="connsiteX74" fmla="*/ 249577 w 4519987"/>
              <a:gd name="connsiteY74" fmla="*/ 3200400 h 4496940"/>
              <a:gd name="connsiteX75" fmla="*/ 240052 w 4519987"/>
              <a:gd name="connsiteY75" fmla="*/ 3162300 h 4496940"/>
              <a:gd name="connsiteX76" fmla="*/ 221002 w 4519987"/>
              <a:gd name="connsiteY76" fmla="*/ 3105150 h 4496940"/>
              <a:gd name="connsiteX77" fmla="*/ 173377 w 4519987"/>
              <a:gd name="connsiteY77" fmla="*/ 3019425 h 4496940"/>
              <a:gd name="connsiteX78" fmla="*/ 144802 w 4519987"/>
              <a:gd name="connsiteY78" fmla="*/ 2924175 h 4496940"/>
              <a:gd name="connsiteX79" fmla="*/ 68602 w 4519987"/>
              <a:gd name="connsiteY79" fmla="*/ 2724150 h 4496940"/>
              <a:gd name="connsiteX80" fmla="*/ 49552 w 4519987"/>
              <a:gd name="connsiteY80" fmla="*/ 2638425 h 4496940"/>
              <a:gd name="connsiteX81" fmla="*/ 40027 w 4519987"/>
              <a:gd name="connsiteY81" fmla="*/ 2562225 h 4496940"/>
              <a:gd name="connsiteX82" fmla="*/ 30502 w 4519987"/>
              <a:gd name="connsiteY82" fmla="*/ 2514600 h 4496940"/>
              <a:gd name="connsiteX83" fmla="*/ 11452 w 4519987"/>
              <a:gd name="connsiteY83" fmla="*/ 2400300 h 4496940"/>
              <a:gd name="connsiteX84" fmla="*/ 20977 w 4519987"/>
              <a:gd name="connsiteY84" fmla="*/ 1905000 h 4496940"/>
              <a:gd name="connsiteX85" fmla="*/ 30502 w 4519987"/>
              <a:gd name="connsiteY85" fmla="*/ 1838325 h 4496940"/>
              <a:gd name="connsiteX86" fmla="*/ 49552 w 4519987"/>
              <a:gd name="connsiteY86" fmla="*/ 1781175 h 4496940"/>
              <a:gd name="connsiteX87" fmla="*/ 59077 w 4519987"/>
              <a:gd name="connsiteY87" fmla="*/ 1743075 h 4496940"/>
              <a:gd name="connsiteX88" fmla="*/ 78127 w 4519987"/>
              <a:gd name="connsiteY88" fmla="*/ 1685925 h 4496940"/>
              <a:gd name="connsiteX89" fmla="*/ 87652 w 4519987"/>
              <a:gd name="connsiteY89" fmla="*/ 1638300 h 4496940"/>
              <a:gd name="connsiteX90" fmla="*/ 106702 w 4519987"/>
              <a:gd name="connsiteY90" fmla="*/ 1590675 h 4496940"/>
              <a:gd name="connsiteX91" fmla="*/ 135277 w 4519987"/>
              <a:gd name="connsiteY91" fmla="*/ 1504950 h 4496940"/>
              <a:gd name="connsiteX92" fmla="*/ 154327 w 4519987"/>
              <a:gd name="connsiteY92" fmla="*/ 1419225 h 4496940"/>
              <a:gd name="connsiteX93" fmla="*/ 230527 w 4519987"/>
              <a:gd name="connsiteY93" fmla="*/ 1276350 h 4496940"/>
              <a:gd name="connsiteX94" fmla="*/ 240052 w 4519987"/>
              <a:gd name="connsiteY94" fmla="*/ 1247775 h 4496940"/>
              <a:gd name="connsiteX95" fmla="*/ 268627 w 4519987"/>
              <a:gd name="connsiteY95" fmla="*/ 1200150 h 4496940"/>
              <a:gd name="connsiteX96" fmla="*/ 287677 w 4519987"/>
              <a:gd name="connsiteY96" fmla="*/ 1152525 h 4496940"/>
              <a:gd name="connsiteX97" fmla="*/ 316252 w 4519987"/>
              <a:gd name="connsiteY97" fmla="*/ 1114425 h 4496940"/>
              <a:gd name="connsiteX98" fmla="*/ 363877 w 4519987"/>
              <a:gd name="connsiteY98" fmla="*/ 1038225 h 4496940"/>
              <a:gd name="connsiteX99" fmla="*/ 382927 w 4519987"/>
              <a:gd name="connsiteY99" fmla="*/ 1009650 h 4496940"/>
              <a:gd name="connsiteX100" fmla="*/ 440077 w 4519987"/>
              <a:gd name="connsiteY100" fmla="*/ 904875 h 4496940"/>
              <a:gd name="connsiteX101" fmla="*/ 478177 w 4519987"/>
              <a:gd name="connsiteY101" fmla="*/ 857250 h 4496940"/>
              <a:gd name="connsiteX102" fmla="*/ 497227 w 4519987"/>
              <a:gd name="connsiteY102" fmla="*/ 828675 h 4496940"/>
              <a:gd name="connsiteX103" fmla="*/ 535327 w 4519987"/>
              <a:gd name="connsiteY103" fmla="*/ 800100 h 4496940"/>
              <a:gd name="connsiteX104" fmla="*/ 602002 w 4519987"/>
              <a:gd name="connsiteY104" fmla="*/ 733425 h 4496940"/>
              <a:gd name="connsiteX105" fmla="*/ 668677 w 4519987"/>
              <a:gd name="connsiteY105" fmla="*/ 676275 h 4496940"/>
              <a:gd name="connsiteX106" fmla="*/ 697252 w 4519987"/>
              <a:gd name="connsiteY106" fmla="*/ 657225 h 4496940"/>
              <a:gd name="connsiteX107" fmla="*/ 840127 w 4519987"/>
              <a:gd name="connsiteY107" fmla="*/ 533400 h 4496940"/>
              <a:gd name="connsiteX108" fmla="*/ 887752 w 4519987"/>
              <a:gd name="connsiteY108" fmla="*/ 504825 h 4496940"/>
              <a:gd name="connsiteX109" fmla="*/ 1167152 w 4519987"/>
              <a:gd name="connsiteY109" fmla="*/ 311150 h 4496940"/>
              <a:gd name="connsiteX110" fmla="*/ 1268752 w 4519987"/>
              <a:gd name="connsiteY110" fmla="*/ 285750 h 4496940"/>
              <a:gd name="connsiteX111" fmla="*/ 1411627 w 4519987"/>
              <a:gd name="connsiteY111" fmla="*/ 190500 h 4496940"/>
              <a:gd name="connsiteX112" fmla="*/ 1449727 w 4519987"/>
              <a:gd name="connsiteY112" fmla="*/ 161925 h 4496940"/>
              <a:gd name="connsiteX113" fmla="*/ 1525927 w 4519987"/>
              <a:gd name="connsiteY113" fmla="*/ 152400 h 4496940"/>
              <a:gd name="connsiteX114" fmla="*/ 1583077 w 4519987"/>
              <a:gd name="connsiteY114" fmla="*/ 142875 h 4496940"/>
              <a:gd name="connsiteX115" fmla="*/ 1716427 w 4519987"/>
              <a:gd name="connsiteY115" fmla="*/ 123825 h 4496940"/>
              <a:gd name="connsiteX116" fmla="*/ 1811677 w 4519987"/>
              <a:gd name="connsiteY116" fmla="*/ 114300 h 4496940"/>
              <a:gd name="connsiteX117" fmla="*/ 1859302 w 4519987"/>
              <a:gd name="connsiteY117" fmla="*/ 104775 h 4496940"/>
              <a:gd name="connsiteX118" fmla="*/ 1916452 w 4519987"/>
              <a:gd name="connsiteY118" fmla="*/ 95250 h 4496940"/>
              <a:gd name="connsiteX119" fmla="*/ 2030752 w 4519987"/>
              <a:gd name="connsiteY119" fmla="*/ 66675 h 4496940"/>
              <a:gd name="connsiteX120" fmla="*/ 2097427 w 4519987"/>
              <a:gd name="connsiteY120" fmla="*/ 47625 h 4496940"/>
              <a:gd name="connsiteX121" fmla="*/ 2164102 w 4519987"/>
              <a:gd name="connsiteY121" fmla="*/ 38100 h 4496940"/>
              <a:gd name="connsiteX122" fmla="*/ 2392702 w 4519987"/>
              <a:gd name="connsiteY122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40427 w 4519987"/>
              <a:gd name="connsiteY37" fmla="*/ 426720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97502 w 4519987"/>
              <a:gd name="connsiteY42" fmla="*/ 4429125 h 4496940"/>
              <a:gd name="connsiteX43" fmla="*/ 2640352 w 4519987"/>
              <a:gd name="connsiteY43" fmla="*/ 4457700 h 4496940"/>
              <a:gd name="connsiteX44" fmla="*/ 2583202 w 4519987"/>
              <a:gd name="connsiteY44" fmla="*/ 4467225 h 4496940"/>
              <a:gd name="connsiteX45" fmla="*/ 2545102 w 4519987"/>
              <a:gd name="connsiteY45" fmla="*/ 4486275 h 4496940"/>
              <a:gd name="connsiteX46" fmla="*/ 2306977 w 4519987"/>
              <a:gd name="connsiteY46" fmla="*/ 4476750 h 4496940"/>
              <a:gd name="connsiteX47" fmla="*/ 2202202 w 4519987"/>
              <a:gd name="connsiteY47" fmla="*/ 4457700 h 4496940"/>
              <a:gd name="connsiteX48" fmla="*/ 2126002 w 4519987"/>
              <a:gd name="connsiteY48" fmla="*/ 4429125 h 4496940"/>
              <a:gd name="connsiteX49" fmla="*/ 1935502 w 4519987"/>
              <a:gd name="connsiteY49" fmla="*/ 4400550 h 4496940"/>
              <a:gd name="connsiteX50" fmla="*/ 1821202 w 4519987"/>
              <a:gd name="connsiteY50" fmla="*/ 4371975 h 4496940"/>
              <a:gd name="connsiteX51" fmla="*/ 1754527 w 4519987"/>
              <a:gd name="connsiteY51" fmla="*/ 4352925 h 4496940"/>
              <a:gd name="connsiteX52" fmla="*/ 1687852 w 4519987"/>
              <a:gd name="connsiteY52" fmla="*/ 4343400 h 4496940"/>
              <a:gd name="connsiteX53" fmla="*/ 1573552 w 4519987"/>
              <a:gd name="connsiteY53" fmla="*/ 4305300 h 4496940"/>
              <a:gd name="connsiteX54" fmla="*/ 1402102 w 4519987"/>
              <a:gd name="connsiteY54" fmla="*/ 4276725 h 4496940"/>
              <a:gd name="connsiteX55" fmla="*/ 1287802 w 4519987"/>
              <a:gd name="connsiteY55" fmla="*/ 4229100 h 4496940"/>
              <a:gd name="connsiteX56" fmla="*/ 1221127 w 4519987"/>
              <a:gd name="connsiteY56" fmla="*/ 4200525 h 4496940"/>
              <a:gd name="connsiteX57" fmla="*/ 1144927 w 4519987"/>
              <a:gd name="connsiteY57" fmla="*/ 4171950 h 4496940"/>
              <a:gd name="connsiteX58" fmla="*/ 1087777 w 4519987"/>
              <a:gd name="connsiteY58" fmla="*/ 4143375 h 4496940"/>
              <a:gd name="connsiteX59" fmla="*/ 1030627 w 4519987"/>
              <a:gd name="connsiteY59" fmla="*/ 4124325 h 4496940"/>
              <a:gd name="connsiteX60" fmla="*/ 925852 w 4519987"/>
              <a:gd name="connsiteY60" fmla="*/ 4067175 h 4496940"/>
              <a:gd name="connsiteX61" fmla="*/ 830602 w 4519987"/>
              <a:gd name="connsiteY61" fmla="*/ 3981450 h 4496940"/>
              <a:gd name="connsiteX62" fmla="*/ 763927 w 4519987"/>
              <a:gd name="connsiteY62" fmla="*/ 3914775 h 4496940"/>
              <a:gd name="connsiteX63" fmla="*/ 725827 w 4519987"/>
              <a:gd name="connsiteY63" fmla="*/ 3876675 h 4496940"/>
              <a:gd name="connsiteX64" fmla="*/ 697252 w 4519987"/>
              <a:gd name="connsiteY64" fmla="*/ 3838575 h 4496940"/>
              <a:gd name="connsiteX65" fmla="*/ 640102 w 4519987"/>
              <a:gd name="connsiteY65" fmla="*/ 3781425 h 4496940"/>
              <a:gd name="connsiteX66" fmla="*/ 611527 w 4519987"/>
              <a:gd name="connsiteY66" fmla="*/ 3733800 h 4496940"/>
              <a:gd name="connsiteX67" fmla="*/ 554377 w 4519987"/>
              <a:gd name="connsiteY67" fmla="*/ 3657600 h 4496940"/>
              <a:gd name="connsiteX68" fmla="*/ 525802 w 4519987"/>
              <a:gd name="connsiteY68" fmla="*/ 3609975 h 4496940"/>
              <a:gd name="connsiteX69" fmla="*/ 497227 w 4519987"/>
              <a:gd name="connsiteY69" fmla="*/ 3552825 h 4496940"/>
              <a:gd name="connsiteX70" fmla="*/ 440077 w 4519987"/>
              <a:gd name="connsiteY70" fmla="*/ 3495675 h 4496940"/>
              <a:gd name="connsiteX71" fmla="*/ 411502 w 4519987"/>
              <a:gd name="connsiteY71" fmla="*/ 3448050 h 4496940"/>
              <a:gd name="connsiteX72" fmla="*/ 278152 w 4519987"/>
              <a:gd name="connsiteY72" fmla="*/ 3257550 h 4496940"/>
              <a:gd name="connsiteX73" fmla="*/ 249577 w 4519987"/>
              <a:gd name="connsiteY73" fmla="*/ 3200400 h 4496940"/>
              <a:gd name="connsiteX74" fmla="*/ 240052 w 4519987"/>
              <a:gd name="connsiteY74" fmla="*/ 3162300 h 4496940"/>
              <a:gd name="connsiteX75" fmla="*/ 221002 w 4519987"/>
              <a:gd name="connsiteY75" fmla="*/ 3105150 h 4496940"/>
              <a:gd name="connsiteX76" fmla="*/ 173377 w 4519987"/>
              <a:gd name="connsiteY76" fmla="*/ 3019425 h 4496940"/>
              <a:gd name="connsiteX77" fmla="*/ 144802 w 4519987"/>
              <a:gd name="connsiteY77" fmla="*/ 2924175 h 4496940"/>
              <a:gd name="connsiteX78" fmla="*/ 68602 w 4519987"/>
              <a:gd name="connsiteY78" fmla="*/ 2724150 h 4496940"/>
              <a:gd name="connsiteX79" fmla="*/ 49552 w 4519987"/>
              <a:gd name="connsiteY79" fmla="*/ 2638425 h 4496940"/>
              <a:gd name="connsiteX80" fmla="*/ 40027 w 4519987"/>
              <a:gd name="connsiteY80" fmla="*/ 2562225 h 4496940"/>
              <a:gd name="connsiteX81" fmla="*/ 30502 w 4519987"/>
              <a:gd name="connsiteY81" fmla="*/ 2514600 h 4496940"/>
              <a:gd name="connsiteX82" fmla="*/ 11452 w 4519987"/>
              <a:gd name="connsiteY82" fmla="*/ 2400300 h 4496940"/>
              <a:gd name="connsiteX83" fmla="*/ 20977 w 4519987"/>
              <a:gd name="connsiteY83" fmla="*/ 1905000 h 4496940"/>
              <a:gd name="connsiteX84" fmla="*/ 30502 w 4519987"/>
              <a:gd name="connsiteY84" fmla="*/ 1838325 h 4496940"/>
              <a:gd name="connsiteX85" fmla="*/ 49552 w 4519987"/>
              <a:gd name="connsiteY85" fmla="*/ 1781175 h 4496940"/>
              <a:gd name="connsiteX86" fmla="*/ 59077 w 4519987"/>
              <a:gd name="connsiteY86" fmla="*/ 1743075 h 4496940"/>
              <a:gd name="connsiteX87" fmla="*/ 78127 w 4519987"/>
              <a:gd name="connsiteY87" fmla="*/ 1685925 h 4496940"/>
              <a:gd name="connsiteX88" fmla="*/ 87652 w 4519987"/>
              <a:gd name="connsiteY88" fmla="*/ 1638300 h 4496940"/>
              <a:gd name="connsiteX89" fmla="*/ 106702 w 4519987"/>
              <a:gd name="connsiteY89" fmla="*/ 1590675 h 4496940"/>
              <a:gd name="connsiteX90" fmla="*/ 135277 w 4519987"/>
              <a:gd name="connsiteY90" fmla="*/ 1504950 h 4496940"/>
              <a:gd name="connsiteX91" fmla="*/ 154327 w 4519987"/>
              <a:gd name="connsiteY91" fmla="*/ 1419225 h 4496940"/>
              <a:gd name="connsiteX92" fmla="*/ 230527 w 4519987"/>
              <a:gd name="connsiteY92" fmla="*/ 1276350 h 4496940"/>
              <a:gd name="connsiteX93" fmla="*/ 240052 w 4519987"/>
              <a:gd name="connsiteY93" fmla="*/ 1247775 h 4496940"/>
              <a:gd name="connsiteX94" fmla="*/ 268627 w 4519987"/>
              <a:gd name="connsiteY94" fmla="*/ 1200150 h 4496940"/>
              <a:gd name="connsiteX95" fmla="*/ 287677 w 4519987"/>
              <a:gd name="connsiteY95" fmla="*/ 1152525 h 4496940"/>
              <a:gd name="connsiteX96" fmla="*/ 316252 w 4519987"/>
              <a:gd name="connsiteY96" fmla="*/ 1114425 h 4496940"/>
              <a:gd name="connsiteX97" fmla="*/ 363877 w 4519987"/>
              <a:gd name="connsiteY97" fmla="*/ 1038225 h 4496940"/>
              <a:gd name="connsiteX98" fmla="*/ 382927 w 4519987"/>
              <a:gd name="connsiteY98" fmla="*/ 1009650 h 4496940"/>
              <a:gd name="connsiteX99" fmla="*/ 440077 w 4519987"/>
              <a:gd name="connsiteY99" fmla="*/ 904875 h 4496940"/>
              <a:gd name="connsiteX100" fmla="*/ 478177 w 4519987"/>
              <a:gd name="connsiteY100" fmla="*/ 857250 h 4496940"/>
              <a:gd name="connsiteX101" fmla="*/ 497227 w 4519987"/>
              <a:gd name="connsiteY101" fmla="*/ 828675 h 4496940"/>
              <a:gd name="connsiteX102" fmla="*/ 535327 w 4519987"/>
              <a:gd name="connsiteY102" fmla="*/ 800100 h 4496940"/>
              <a:gd name="connsiteX103" fmla="*/ 602002 w 4519987"/>
              <a:gd name="connsiteY103" fmla="*/ 733425 h 4496940"/>
              <a:gd name="connsiteX104" fmla="*/ 668677 w 4519987"/>
              <a:gd name="connsiteY104" fmla="*/ 676275 h 4496940"/>
              <a:gd name="connsiteX105" fmla="*/ 697252 w 4519987"/>
              <a:gd name="connsiteY105" fmla="*/ 657225 h 4496940"/>
              <a:gd name="connsiteX106" fmla="*/ 840127 w 4519987"/>
              <a:gd name="connsiteY106" fmla="*/ 533400 h 4496940"/>
              <a:gd name="connsiteX107" fmla="*/ 887752 w 4519987"/>
              <a:gd name="connsiteY107" fmla="*/ 504825 h 4496940"/>
              <a:gd name="connsiteX108" fmla="*/ 1167152 w 4519987"/>
              <a:gd name="connsiteY108" fmla="*/ 311150 h 4496940"/>
              <a:gd name="connsiteX109" fmla="*/ 1268752 w 4519987"/>
              <a:gd name="connsiteY109" fmla="*/ 285750 h 4496940"/>
              <a:gd name="connsiteX110" fmla="*/ 1411627 w 4519987"/>
              <a:gd name="connsiteY110" fmla="*/ 190500 h 4496940"/>
              <a:gd name="connsiteX111" fmla="*/ 1449727 w 4519987"/>
              <a:gd name="connsiteY111" fmla="*/ 161925 h 4496940"/>
              <a:gd name="connsiteX112" fmla="*/ 1525927 w 4519987"/>
              <a:gd name="connsiteY112" fmla="*/ 152400 h 4496940"/>
              <a:gd name="connsiteX113" fmla="*/ 1583077 w 4519987"/>
              <a:gd name="connsiteY113" fmla="*/ 142875 h 4496940"/>
              <a:gd name="connsiteX114" fmla="*/ 1716427 w 4519987"/>
              <a:gd name="connsiteY114" fmla="*/ 123825 h 4496940"/>
              <a:gd name="connsiteX115" fmla="*/ 1811677 w 4519987"/>
              <a:gd name="connsiteY115" fmla="*/ 114300 h 4496940"/>
              <a:gd name="connsiteX116" fmla="*/ 1859302 w 4519987"/>
              <a:gd name="connsiteY116" fmla="*/ 104775 h 4496940"/>
              <a:gd name="connsiteX117" fmla="*/ 1916452 w 4519987"/>
              <a:gd name="connsiteY117" fmla="*/ 95250 h 4496940"/>
              <a:gd name="connsiteX118" fmla="*/ 2030752 w 4519987"/>
              <a:gd name="connsiteY118" fmla="*/ 66675 h 4496940"/>
              <a:gd name="connsiteX119" fmla="*/ 2097427 w 4519987"/>
              <a:gd name="connsiteY119" fmla="*/ 47625 h 4496940"/>
              <a:gd name="connsiteX120" fmla="*/ 2164102 w 4519987"/>
              <a:gd name="connsiteY120" fmla="*/ 38100 h 4496940"/>
              <a:gd name="connsiteX121" fmla="*/ 2392702 w 4519987"/>
              <a:gd name="connsiteY12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21377 w 4519987"/>
              <a:gd name="connsiteY37" fmla="*/ 422275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97502 w 4519987"/>
              <a:gd name="connsiteY42" fmla="*/ 4429125 h 4496940"/>
              <a:gd name="connsiteX43" fmla="*/ 2640352 w 4519987"/>
              <a:gd name="connsiteY43" fmla="*/ 4457700 h 4496940"/>
              <a:gd name="connsiteX44" fmla="*/ 2583202 w 4519987"/>
              <a:gd name="connsiteY44" fmla="*/ 4467225 h 4496940"/>
              <a:gd name="connsiteX45" fmla="*/ 2545102 w 4519987"/>
              <a:gd name="connsiteY45" fmla="*/ 4486275 h 4496940"/>
              <a:gd name="connsiteX46" fmla="*/ 2306977 w 4519987"/>
              <a:gd name="connsiteY46" fmla="*/ 4476750 h 4496940"/>
              <a:gd name="connsiteX47" fmla="*/ 2202202 w 4519987"/>
              <a:gd name="connsiteY47" fmla="*/ 4457700 h 4496940"/>
              <a:gd name="connsiteX48" fmla="*/ 2126002 w 4519987"/>
              <a:gd name="connsiteY48" fmla="*/ 4429125 h 4496940"/>
              <a:gd name="connsiteX49" fmla="*/ 1935502 w 4519987"/>
              <a:gd name="connsiteY49" fmla="*/ 4400550 h 4496940"/>
              <a:gd name="connsiteX50" fmla="*/ 1821202 w 4519987"/>
              <a:gd name="connsiteY50" fmla="*/ 4371975 h 4496940"/>
              <a:gd name="connsiteX51" fmla="*/ 1754527 w 4519987"/>
              <a:gd name="connsiteY51" fmla="*/ 4352925 h 4496940"/>
              <a:gd name="connsiteX52" fmla="*/ 1687852 w 4519987"/>
              <a:gd name="connsiteY52" fmla="*/ 4343400 h 4496940"/>
              <a:gd name="connsiteX53" fmla="*/ 1573552 w 4519987"/>
              <a:gd name="connsiteY53" fmla="*/ 4305300 h 4496940"/>
              <a:gd name="connsiteX54" fmla="*/ 1402102 w 4519987"/>
              <a:gd name="connsiteY54" fmla="*/ 4276725 h 4496940"/>
              <a:gd name="connsiteX55" fmla="*/ 1287802 w 4519987"/>
              <a:gd name="connsiteY55" fmla="*/ 4229100 h 4496940"/>
              <a:gd name="connsiteX56" fmla="*/ 1221127 w 4519987"/>
              <a:gd name="connsiteY56" fmla="*/ 4200525 h 4496940"/>
              <a:gd name="connsiteX57" fmla="*/ 1144927 w 4519987"/>
              <a:gd name="connsiteY57" fmla="*/ 4171950 h 4496940"/>
              <a:gd name="connsiteX58" fmla="*/ 1087777 w 4519987"/>
              <a:gd name="connsiteY58" fmla="*/ 4143375 h 4496940"/>
              <a:gd name="connsiteX59" fmla="*/ 1030627 w 4519987"/>
              <a:gd name="connsiteY59" fmla="*/ 4124325 h 4496940"/>
              <a:gd name="connsiteX60" fmla="*/ 925852 w 4519987"/>
              <a:gd name="connsiteY60" fmla="*/ 4067175 h 4496940"/>
              <a:gd name="connsiteX61" fmla="*/ 830602 w 4519987"/>
              <a:gd name="connsiteY61" fmla="*/ 3981450 h 4496940"/>
              <a:gd name="connsiteX62" fmla="*/ 763927 w 4519987"/>
              <a:gd name="connsiteY62" fmla="*/ 3914775 h 4496940"/>
              <a:gd name="connsiteX63" fmla="*/ 725827 w 4519987"/>
              <a:gd name="connsiteY63" fmla="*/ 3876675 h 4496940"/>
              <a:gd name="connsiteX64" fmla="*/ 697252 w 4519987"/>
              <a:gd name="connsiteY64" fmla="*/ 3838575 h 4496940"/>
              <a:gd name="connsiteX65" fmla="*/ 640102 w 4519987"/>
              <a:gd name="connsiteY65" fmla="*/ 3781425 h 4496940"/>
              <a:gd name="connsiteX66" fmla="*/ 611527 w 4519987"/>
              <a:gd name="connsiteY66" fmla="*/ 3733800 h 4496940"/>
              <a:gd name="connsiteX67" fmla="*/ 554377 w 4519987"/>
              <a:gd name="connsiteY67" fmla="*/ 3657600 h 4496940"/>
              <a:gd name="connsiteX68" fmla="*/ 525802 w 4519987"/>
              <a:gd name="connsiteY68" fmla="*/ 3609975 h 4496940"/>
              <a:gd name="connsiteX69" fmla="*/ 497227 w 4519987"/>
              <a:gd name="connsiteY69" fmla="*/ 3552825 h 4496940"/>
              <a:gd name="connsiteX70" fmla="*/ 440077 w 4519987"/>
              <a:gd name="connsiteY70" fmla="*/ 3495675 h 4496940"/>
              <a:gd name="connsiteX71" fmla="*/ 411502 w 4519987"/>
              <a:gd name="connsiteY71" fmla="*/ 3448050 h 4496940"/>
              <a:gd name="connsiteX72" fmla="*/ 278152 w 4519987"/>
              <a:gd name="connsiteY72" fmla="*/ 3257550 h 4496940"/>
              <a:gd name="connsiteX73" fmla="*/ 249577 w 4519987"/>
              <a:gd name="connsiteY73" fmla="*/ 3200400 h 4496940"/>
              <a:gd name="connsiteX74" fmla="*/ 240052 w 4519987"/>
              <a:gd name="connsiteY74" fmla="*/ 3162300 h 4496940"/>
              <a:gd name="connsiteX75" fmla="*/ 221002 w 4519987"/>
              <a:gd name="connsiteY75" fmla="*/ 3105150 h 4496940"/>
              <a:gd name="connsiteX76" fmla="*/ 173377 w 4519987"/>
              <a:gd name="connsiteY76" fmla="*/ 3019425 h 4496940"/>
              <a:gd name="connsiteX77" fmla="*/ 144802 w 4519987"/>
              <a:gd name="connsiteY77" fmla="*/ 2924175 h 4496940"/>
              <a:gd name="connsiteX78" fmla="*/ 68602 w 4519987"/>
              <a:gd name="connsiteY78" fmla="*/ 2724150 h 4496940"/>
              <a:gd name="connsiteX79" fmla="*/ 49552 w 4519987"/>
              <a:gd name="connsiteY79" fmla="*/ 2638425 h 4496940"/>
              <a:gd name="connsiteX80" fmla="*/ 40027 w 4519987"/>
              <a:gd name="connsiteY80" fmla="*/ 2562225 h 4496940"/>
              <a:gd name="connsiteX81" fmla="*/ 30502 w 4519987"/>
              <a:gd name="connsiteY81" fmla="*/ 2514600 h 4496940"/>
              <a:gd name="connsiteX82" fmla="*/ 11452 w 4519987"/>
              <a:gd name="connsiteY82" fmla="*/ 2400300 h 4496940"/>
              <a:gd name="connsiteX83" fmla="*/ 20977 w 4519987"/>
              <a:gd name="connsiteY83" fmla="*/ 1905000 h 4496940"/>
              <a:gd name="connsiteX84" fmla="*/ 30502 w 4519987"/>
              <a:gd name="connsiteY84" fmla="*/ 1838325 h 4496940"/>
              <a:gd name="connsiteX85" fmla="*/ 49552 w 4519987"/>
              <a:gd name="connsiteY85" fmla="*/ 1781175 h 4496940"/>
              <a:gd name="connsiteX86" fmla="*/ 59077 w 4519987"/>
              <a:gd name="connsiteY86" fmla="*/ 1743075 h 4496940"/>
              <a:gd name="connsiteX87" fmla="*/ 78127 w 4519987"/>
              <a:gd name="connsiteY87" fmla="*/ 1685925 h 4496940"/>
              <a:gd name="connsiteX88" fmla="*/ 87652 w 4519987"/>
              <a:gd name="connsiteY88" fmla="*/ 1638300 h 4496940"/>
              <a:gd name="connsiteX89" fmla="*/ 106702 w 4519987"/>
              <a:gd name="connsiteY89" fmla="*/ 1590675 h 4496940"/>
              <a:gd name="connsiteX90" fmla="*/ 135277 w 4519987"/>
              <a:gd name="connsiteY90" fmla="*/ 1504950 h 4496940"/>
              <a:gd name="connsiteX91" fmla="*/ 154327 w 4519987"/>
              <a:gd name="connsiteY91" fmla="*/ 1419225 h 4496940"/>
              <a:gd name="connsiteX92" fmla="*/ 230527 w 4519987"/>
              <a:gd name="connsiteY92" fmla="*/ 1276350 h 4496940"/>
              <a:gd name="connsiteX93" fmla="*/ 240052 w 4519987"/>
              <a:gd name="connsiteY93" fmla="*/ 1247775 h 4496940"/>
              <a:gd name="connsiteX94" fmla="*/ 268627 w 4519987"/>
              <a:gd name="connsiteY94" fmla="*/ 1200150 h 4496940"/>
              <a:gd name="connsiteX95" fmla="*/ 287677 w 4519987"/>
              <a:gd name="connsiteY95" fmla="*/ 1152525 h 4496940"/>
              <a:gd name="connsiteX96" fmla="*/ 316252 w 4519987"/>
              <a:gd name="connsiteY96" fmla="*/ 1114425 h 4496940"/>
              <a:gd name="connsiteX97" fmla="*/ 363877 w 4519987"/>
              <a:gd name="connsiteY97" fmla="*/ 1038225 h 4496940"/>
              <a:gd name="connsiteX98" fmla="*/ 382927 w 4519987"/>
              <a:gd name="connsiteY98" fmla="*/ 1009650 h 4496940"/>
              <a:gd name="connsiteX99" fmla="*/ 440077 w 4519987"/>
              <a:gd name="connsiteY99" fmla="*/ 904875 h 4496940"/>
              <a:gd name="connsiteX100" fmla="*/ 478177 w 4519987"/>
              <a:gd name="connsiteY100" fmla="*/ 857250 h 4496940"/>
              <a:gd name="connsiteX101" fmla="*/ 497227 w 4519987"/>
              <a:gd name="connsiteY101" fmla="*/ 828675 h 4496940"/>
              <a:gd name="connsiteX102" fmla="*/ 535327 w 4519987"/>
              <a:gd name="connsiteY102" fmla="*/ 800100 h 4496940"/>
              <a:gd name="connsiteX103" fmla="*/ 602002 w 4519987"/>
              <a:gd name="connsiteY103" fmla="*/ 733425 h 4496940"/>
              <a:gd name="connsiteX104" fmla="*/ 668677 w 4519987"/>
              <a:gd name="connsiteY104" fmla="*/ 676275 h 4496940"/>
              <a:gd name="connsiteX105" fmla="*/ 697252 w 4519987"/>
              <a:gd name="connsiteY105" fmla="*/ 657225 h 4496940"/>
              <a:gd name="connsiteX106" fmla="*/ 840127 w 4519987"/>
              <a:gd name="connsiteY106" fmla="*/ 533400 h 4496940"/>
              <a:gd name="connsiteX107" fmla="*/ 887752 w 4519987"/>
              <a:gd name="connsiteY107" fmla="*/ 504825 h 4496940"/>
              <a:gd name="connsiteX108" fmla="*/ 1167152 w 4519987"/>
              <a:gd name="connsiteY108" fmla="*/ 311150 h 4496940"/>
              <a:gd name="connsiteX109" fmla="*/ 1268752 w 4519987"/>
              <a:gd name="connsiteY109" fmla="*/ 285750 h 4496940"/>
              <a:gd name="connsiteX110" fmla="*/ 1411627 w 4519987"/>
              <a:gd name="connsiteY110" fmla="*/ 190500 h 4496940"/>
              <a:gd name="connsiteX111" fmla="*/ 1449727 w 4519987"/>
              <a:gd name="connsiteY111" fmla="*/ 161925 h 4496940"/>
              <a:gd name="connsiteX112" fmla="*/ 1525927 w 4519987"/>
              <a:gd name="connsiteY112" fmla="*/ 152400 h 4496940"/>
              <a:gd name="connsiteX113" fmla="*/ 1583077 w 4519987"/>
              <a:gd name="connsiteY113" fmla="*/ 142875 h 4496940"/>
              <a:gd name="connsiteX114" fmla="*/ 1716427 w 4519987"/>
              <a:gd name="connsiteY114" fmla="*/ 123825 h 4496940"/>
              <a:gd name="connsiteX115" fmla="*/ 1811677 w 4519987"/>
              <a:gd name="connsiteY115" fmla="*/ 114300 h 4496940"/>
              <a:gd name="connsiteX116" fmla="*/ 1859302 w 4519987"/>
              <a:gd name="connsiteY116" fmla="*/ 104775 h 4496940"/>
              <a:gd name="connsiteX117" fmla="*/ 1916452 w 4519987"/>
              <a:gd name="connsiteY117" fmla="*/ 95250 h 4496940"/>
              <a:gd name="connsiteX118" fmla="*/ 2030752 w 4519987"/>
              <a:gd name="connsiteY118" fmla="*/ 66675 h 4496940"/>
              <a:gd name="connsiteX119" fmla="*/ 2097427 w 4519987"/>
              <a:gd name="connsiteY119" fmla="*/ 47625 h 4496940"/>
              <a:gd name="connsiteX120" fmla="*/ 2164102 w 4519987"/>
              <a:gd name="connsiteY120" fmla="*/ 38100 h 4496940"/>
              <a:gd name="connsiteX121" fmla="*/ 2392702 w 4519987"/>
              <a:gd name="connsiteY121" fmla="*/ 28575 h 4496940"/>
              <a:gd name="connsiteX0" fmla="*/ 2297452 w 4519987"/>
              <a:gd name="connsiteY0" fmla="*/ 0 h 4496940"/>
              <a:gd name="connsiteX1" fmla="*/ 2421277 w 4519987"/>
              <a:gd name="connsiteY1" fmla="*/ 28575 h 4496940"/>
              <a:gd name="connsiteX2" fmla="*/ 2497477 w 4519987"/>
              <a:gd name="connsiteY2" fmla="*/ 47625 h 4496940"/>
              <a:gd name="connsiteX3" fmla="*/ 2754652 w 4519987"/>
              <a:gd name="connsiteY3" fmla="*/ 66675 h 4496940"/>
              <a:gd name="connsiteX4" fmla="*/ 2830852 w 4519987"/>
              <a:gd name="connsiteY4" fmla="*/ 76200 h 4496940"/>
              <a:gd name="connsiteX5" fmla="*/ 2916577 w 4519987"/>
              <a:gd name="connsiteY5" fmla="*/ 85725 h 4496940"/>
              <a:gd name="connsiteX6" fmla="*/ 2973727 w 4519987"/>
              <a:gd name="connsiteY6" fmla="*/ 114300 h 4496940"/>
              <a:gd name="connsiteX7" fmla="*/ 3011827 w 4519987"/>
              <a:gd name="connsiteY7" fmla="*/ 123825 h 4496940"/>
              <a:gd name="connsiteX8" fmla="*/ 3135652 w 4519987"/>
              <a:gd name="connsiteY8" fmla="*/ 171450 h 4496940"/>
              <a:gd name="connsiteX9" fmla="*/ 3173752 w 4519987"/>
              <a:gd name="connsiteY9" fmla="*/ 190500 h 4496940"/>
              <a:gd name="connsiteX10" fmla="*/ 3240427 w 4519987"/>
              <a:gd name="connsiteY10" fmla="*/ 228600 h 4496940"/>
              <a:gd name="connsiteX11" fmla="*/ 3269002 w 4519987"/>
              <a:gd name="connsiteY11" fmla="*/ 238125 h 4496940"/>
              <a:gd name="connsiteX12" fmla="*/ 3297577 w 4519987"/>
              <a:gd name="connsiteY12" fmla="*/ 257175 h 4496940"/>
              <a:gd name="connsiteX13" fmla="*/ 3326152 w 4519987"/>
              <a:gd name="connsiteY13" fmla="*/ 266700 h 4496940"/>
              <a:gd name="connsiteX14" fmla="*/ 3354727 w 4519987"/>
              <a:gd name="connsiteY14" fmla="*/ 285750 h 4496940"/>
              <a:gd name="connsiteX15" fmla="*/ 3421402 w 4519987"/>
              <a:gd name="connsiteY15" fmla="*/ 323850 h 4496940"/>
              <a:gd name="connsiteX16" fmla="*/ 3469027 w 4519987"/>
              <a:gd name="connsiteY16" fmla="*/ 361950 h 4496940"/>
              <a:gd name="connsiteX17" fmla="*/ 3516652 w 4519987"/>
              <a:gd name="connsiteY17" fmla="*/ 390525 h 4496940"/>
              <a:gd name="connsiteX18" fmla="*/ 3630952 w 4519987"/>
              <a:gd name="connsiteY18" fmla="*/ 485775 h 4496940"/>
              <a:gd name="connsiteX19" fmla="*/ 3745252 w 4519987"/>
              <a:gd name="connsiteY19" fmla="*/ 542925 h 4496940"/>
              <a:gd name="connsiteX20" fmla="*/ 3811927 w 4519987"/>
              <a:gd name="connsiteY20" fmla="*/ 581025 h 4496940"/>
              <a:gd name="connsiteX21" fmla="*/ 4027827 w 4519987"/>
              <a:gd name="connsiteY21" fmla="*/ 819150 h 4496940"/>
              <a:gd name="connsiteX22" fmla="*/ 4164352 w 4519987"/>
              <a:gd name="connsiteY22" fmla="*/ 990600 h 4496940"/>
              <a:gd name="connsiteX23" fmla="*/ 4250077 w 4519987"/>
              <a:gd name="connsiteY23" fmla="*/ 1143000 h 4496940"/>
              <a:gd name="connsiteX24" fmla="*/ 4307227 w 4519987"/>
              <a:gd name="connsiteY24" fmla="*/ 1266825 h 4496940"/>
              <a:gd name="connsiteX25" fmla="*/ 4345327 w 4519987"/>
              <a:gd name="connsiteY25" fmla="*/ 1362075 h 4496940"/>
              <a:gd name="connsiteX26" fmla="*/ 4392952 w 4519987"/>
              <a:gd name="connsiteY26" fmla="*/ 1552575 h 4496940"/>
              <a:gd name="connsiteX27" fmla="*/ 4431052 w 4519987"/>
              <a:gd name="connsiteY27" fmla="*/ 1685925 h 4496940"/>
              <a:gd name="connsiteX28" fmla="*/ 4519952 w 4519987"/>
              <a:gd name="connsiteY28" fmla="*/ 2181225 h 4496940"/>
              <a:gd name="connsiteX29" fmla="*/ 4446927 w 4519987"/>
              <a:gd name="connsiteY29" fmla="*/ 2768600 h 4496940"/>
              <a:gd name="connsiteX30" fmla="*/ 4383427 w 4519987"/>
              <a:gd name="connsiteY30" fmla="*/ 2990850 h 4496940"/>
              <a:gd name="connsiteX31" fmla="*/ 4278652 w 4519987"/>
              <a:gd name="connsiteY31" fmla="*/ 3248025 h 4496940"/>
              <a:gd name="connsiteX32" fmla="*/ 4183402 w 4519987"/>
              <a:gd name="connsiteY32" fmla="*/ 3400425 h 4496940"/>
              <a:gd name="connsiteX33" fmla="*/ 4059577 w 4519987"/>
              <a:gd name="connsiteY33" fmla="*/ 3533775 h 4496940"/>
              <a:gd name="connsiteX34" fmla="*/ 3954802 w 4519987"/>
              <a:gd name="connsiteY34" fmla="*/ 3648075 h 4496940"/>
              <a:gd name="connsiteX35" fmla="*/ 3659527 w 4519987"/>
              <a:gd name="connsiteY35" fmla="*/ 3971925 h 4496940"/>
              <a:gd name="connsiteX36" fmla="*/ 3516652 w 4519987"/>
              <a:gd name="connsiteY36" fmla="*/ 4083050 h 4496940"/>
              <a:gd name="connsiteX37" fmla="*/ 3221377 w 4519987"/>
              <a:gd name="connsiteY37" fmla="*/ 4222750 h 4496940"/>
              <a:gd name="connsiteX38" fmla="*/ 3068977 w 4519987"/>
              <a:gd name="connsiteY38" fmla="*/ 4286250 h 4496940"/>
              <a:gd name="connsiteX39" fmla="*/ 2935627 w 4519987"/>
              <a:gd name="connsiteY39" fmla="*/ 4333875 h 4496940"/>
              <a:gd name="connsiteX40" fmla="*/ 2811802 w 4519987"/>
              <a:gd name="connsiteY40" fmla="*/ 4371975 h 4496940"/>
              <a:gd name="connsiteX41" fmla="*/ 2745127 w 4519987"/>
              <a:gd name="connsiteY41" fmla="*/ 4410075 h 4496940"/>
              <a:gd name="connsiteX42" fmla="*/ 2640352 w 4519987"/>
              <a:gd name="connsiteY42" fmla="*/ 4457700 h 4496940"/>
              <a:gd name="connsiteX43" fmla="*/ 2583202 w 4519987"/>
              <a:gd name="connsiteY43" fmla="*/ 4467225 h 4496940"/>
              <a:gd name="connsiteX44" fmla="*/ 2545102 w 4519987"/>
              <a:gd name="connsiteY44" fmla="*/ 4486275 h 4496940"/>
              <a:gd name="connsiteX45" fmla="*/ 2306977 w 4519987"/>
              <a:gd name="connsiteY45" fmla="*/ 4476750 h 4496940"/>
              <a:gd name="connsiteX46" fmla="*/ 2202202 w 4519987"/>
              <a:gd name="connsiteY46" fmla="*/ 4457700 h 4496940"/>
              <a:gd name="connsiteX47" fmla="*/ 2126002 w 4519987"/>
              <a:gd name="connsiteY47" fmla="*/ 4429125 h 4496940"/>
              <a:gd name="connsiteX48" fmla="*/ 1935502 w 4519987"/>
              <a:gd name="connsiteY48" fmla="*/ 4400550 h 4496940"/>
              <a:gd name="connsiteX49" fmla="*/ 1821202 w 4519987"/>
              <a:gd name="connsiteY49" fmla="*/ 4371975 h 4496940"/>
              <a:gd name="connsiteX50" fmla="*/ 1754527 w 4519987"/>
              <a:gd name="connsiteY50" fmla="*/ 4352925 h 4496940"/>
              <a:gd name="connsiteX51" fmla="*/ 1687852 w 4519987"/>
              <a:gd name="connsiteY51" fmla="*/ 4343400 h 4496940"/>
              <a:gd name="connsiteX52" fmla="*/ 1573552 w 4519987"/>
              <a:gd name="connsiteY52" fmla="*/ 4305300 h 4496940"/>
              <a:gd name="connsiteX53" fmla="*/ 1402102 w 4519987"/>
              <a:gd name="connsiteY53" fmla="*/ 4276725 h 4496940"/>
              <a:gd name="connsiteX54" fmla="*/ 1287802 w 4519987"/>
              <a:gd name="connsiteY54" fmla="*/ 4229100 h 4496940"/>
              <a:gd name="connsiteX55" fmla="*/ 1221127 w 4519987"/>
              <a:gd name="connsiteY55" fmla="*/ 4200525 h 4496940"/>
              <a:gd name="connsiteX56" fmla="*/ 1144927 w 4519987"/>
              <a:gd name="connsiteY56" fmla="*/ 4171950 h 4496940"/>
              <a:gd name="connsiteX57" fmla="*/ 1087777 w 4519987"/>
              <a:gd name="connsiteY57" fmla="*/ 4143375 h 4496940"/>
              <a:gd name="connsiteX58" fmla="*/ 1030627 w 4519987"/>
              <a:gd name="connsiteY58" fmla="*/ 4124325 h 4496940"/>
              <a:gd name="connsiteX59" fmla="*/ 925852 w 4519987"/>
              <a:gd name="connsiteY59" fmla="*/ 4067175 h 4496940"/>
              <a:gd name="connsiteX60" fmla="*/ 830602 w 4519987"/>
              <a:gd name="connsiteY60" fmla="*/ 3981450 h 4496940"/>
              <a:gd name="connsiteX61" fmla="*/ 763927 w 4519987"/>
              <a:gd name="connsiteY61" fmla="*/ 3914775 h 4496940"/>
              <a:gd name="connsiteX62" fmla="*/ 725827 w 4519987"/>
              <a:gd name="connsiteY62" fmla="*/ 3876675 h 4496940"/>
              <a:gd name="connsiteX63" fmla="*/ 697252 w 4519987"/>
              <a:gd name="connsiteY63" fmla="*/ 3838575 h 4496940"/>
              <a:gd name="connsiteX64" fmla="*/ 640102 w 4519987"/>
              <a:gd name="connsiteY64" fmla="*/ 3781425 h 4496940"/>
              <a:gd name="connsiteX65" fmla="*/ 611527 w 4519987"/>
              <a:gd name="connsiteY65" fmla="*/ 3733800 h 4496940"/>
              <a:gd name="connsiteX66" fmla="*/ 554377 w 4519987"/>
              <a:gd name="connsiteY66" fmla="*/ 3657600 h 4496940"/>
              <a:gd name="connsiteX67" fmla="*/ 525802 w 4519987"/>
              <a:gd name="connsiteY67" fmla="*/ 3609975 h 4496940"/>
              <a:gd name="connsiteX68" fmla="*/ 497227 w 4519987"/>
              <a:gd name="connsiteY68" fmla="*/ 3552825 h 4496940"/>
              <a:gd name="connsiteX69" fmla="*/ 440077 w 4519987"/>
              <a:gd name="connsiteY69" fmla="*/ 3495675 h 4496940"/>
              <a:gd name="connsiteX70" fmla="*/ 411502 w 4519987"/>
              <a:gd name="connsiteY70" fmla="*/ 3448050 h 4496940"/>
              <a:gd name="connsiteX71" fmla="*/ 278152 w 4519987"/>
              <a:gd name="connsiteY71" fmla="*/ 3257550 h 4496940"/>
              <a:gd name="connsiteX72" fmla="*/ 249577 w 4519987"/>
              <a:gd name="connsiteY72" fmla="*/ 3200400 h 4496940"/>
              <a:gd name="connsiteX73" fmla="*/ 240052 w 4519987"/>
              <a:gd name="connsiteY73" fmla="*/ 3162300 h 4496940"/>
              <a:gd name="connsiteX74" fmla="*/ 221002 w 4519987"/>
              <a:gd name="connsiteY74" fmla="*/ 3105150 h 4496940"/>
              <a:gd name="connsiteX75" fmla="*/ 173377 w 4519987"/>
              <a:gd name="connsiteY75" fmla="*/ 3019425 h 4496940"/>
              <a:gd name="connsiteX76" fmla="*/ 144802 w 4519987"/>
              <a:gd name="connsiteY76" fmla="*/ 2924175 h 4496940"/>
              <a:gd name="connsiteX77" fmla="*/ 68602 w 4519987"/>
              <a:gd name="connsiteY77" fmla="*/ 2724150 h 4496940"/>
              <a:gd name="connsiteX78" fmla="*/ 49552 w 4519987"/>
              <a:gd name="connsiteY78" fmla="*/ 2638425 h 4496940"/>
              <a:gd name="connsiteX79" fmla="*/ 40027 w 4519987"/>
              <a:gd name="connsiteY79" fmla="*/ 2562225 h 4496940"/>
              <a:gd name="connsiteX80" fmla="*/ 30502 w 4519987"/>
              <a:gd name="connsiteY80" fmla="*/ 2514600 h 4496940"/>
              <a:gd name="connsiteX81" fmla="*/ 11452 w 4519987"/>
              <a:gd name="connsiteY81" fmla="*/ 2400300 h 4496940"/>
              <a:gd name="connsiteX82" fmla="*/ 20977 w 4519987"/>
              <a:gd name="connsiteY82" fmla="*/ 1905000 h 4496940"/>
              <a:gd name="connsiteX83" fmla="*/ 30502 w 4519987"/>
              <a:gd name="connsiteY83" fmla="*/ 1838325 h 4496940"/>
              <a:gd name="connsiteX84" fmla="*/ 49552 w 4519987"/>
              <a:gd name="connsiteY84" fmla="*/ 1781175 h 4496940"/>
              <a:gd name="connsiteX85" fmla="*/ 59077 w 4519987"/>
              <a:gd name="connsiteY85" fmla="*/ 1743075 h 4496940"/>
              <a:gd name="connsiteX86" fmla="*/ 78127 w 4519987"/>
              <a:gd name="connsiteY86" fmla="*/ 1685925 h 4496940"/>
              <a:gd name="connsiteX87" fmla="*/ 87652 w 4519987"/>
              <a:gd name="connsiteY87" fmla="*/ 1638300 h 4496940"/>
              <a:gd name="connsiteX88" fmla="*/ 106702 w 4519987"/>
              <a:gd name="connsiteY88" fmla="*/ 1590675 h 4496940"/>
              <a:gd name="connsiteX89" fmla="*/ 135277 w 4519987"/>
              <a:gd name="connsiteY89" fmla="*/ 1504950 h 4496940"/>
              <a:gd name="connsiteX90" fmla="*/ 154327 w 4519987"/>
              <a:gd name="connsiteY90" fmla="*/ 1419225 h 4496940"/>
              <a:gd name="connsiteX91" fmla="*/ 230527 w 4519987"/>
              <a:gd name="connsiteY91" fmla="*/ 1276350 h 4496940"/>
              <a:gd name="connsiteX92" fmla="*/ 240052 w 4519987"/>
              <a:gd name="connsiteY92" fmla="*/ 1247775 h 4496940"/>
              <a:gd name="connsiteX93" fmla="*/ 268627 w 4519987"/>
              <a:gd name="connsiteY93" fmla="*/ 1200150 h 4496940"/>
              <a:gd name="connsiteX94" fmla="*/ 287677 w 4519987"/>
              <a:gd name="connsiteY94" fmla="*/ 1152525 h 4496940"/>
              <a:gd name="connsiteX95" fmla="*/ 316252 w 4519987"/>
              <a:gd name="connsiteY95" fmla="*/ 1114425 h 4496940"/>
              <a:gd name="connsiteX96" fmla="*/ 363877 w 4519987"/>
              <a:gd name="connsiteY96" fmla="*/ 1038225 h 4496940"/>
              <a:gd name="connsiteX97" fmla="*/ 382927 w 4519987"/>
              <a:gd name="connsiteY97" fmla="*/ 1009650 h 4496940"/>
              <a:gd name="connsiteX98" fmla="*/ 440077 w 4519987"/>
              <a:gd name="connsiteY98" fmla="*/ 904875 h 4496940"/>
              <a:gd name="connsiteX99" fmla="*/ 478177 w 4519987"/>
              <a:gd name="connsiteY99" fmla="*/ 857250 h 4496940"/>
              <a:gd name="connsiteX100" fmla="*/ 497227 w 4519987"/>
              <a:gd name="connsiteY100" fmla="*/ 828675 h 4496940"/>
              <a:gd name="connsiteX101" fmla="*/ 535327 w 4519987"/>
              <a:gd name="connsiteY101" fmla="*/ 800100 h 4496940"/>
              <a:gd name="connsiteX102" fmla="*/ 602002 w 4519987"/>
              <a:gd name="connsiteY102" fmla="*/ 733425 h 4496940"/>
              <a:gd name="connsiteX103" fmla="*/ 668677 w 4519987"/>
              <a:gd name="connsiteY103" fmla="*/ 676275 h 4496940"/>
              <a:gd name="connsiteX104" fmla="*/ 697252 w 4519987"/>
              <a:gd name="connsiteY104" fmla="*/ 657225 h 4496940"/>
              <a:gd name="connsiteX105" fmla="*/ 840127 w 4519987"/>
              <a:gd name="connsiteY105" fmla="*/ 533400 h 4496940"/>
              <a:gd name="connsiteX106" fmla="*/ 887752 w 4519987"/>
              <a:gd name="connsiteY106" fmla="*/ 504825 h 4496940"/>
              <a:gd name="connsiteX107" fmla="*/ 1167152 w 4519987"/>
              <a:gd name="connsiteY107" fmla="*/ 311150 h 4496940"/>
              <a:gd name="connsiteX108" fmla="*/ 1268752 w 4519987"/>
              <a:gd name="connsiteY108" fmla="*/ 285750 h 4496940"/>
              <a:gd name="connsiteX109" fmla="*/ 1411627 w 4519987"/>
              <a:gd name="connsiteY109" fmla="*/ 190500 h 4496940"/>
              <a:gd name="connsiteX110" fmla="*/ 1449727 w 4519987"/>
              <a:gd name="connsiteY110" fmla="*/ 161925 h 4496940"/>
              <a:gd name="connsiteX111" fmla="*/ 1525927 w 4519987"/>
              <a:gd name="connsiteY111" fmla="*/ 152400 h 4496940"/>
              <a:gd name="connsiteX112" fmla="*/ 1583077 w 4519987"/>
              <a:gd name="connsiteY112" fmla="*/ 142875 h 4496940"/>
              <a:gd name="connsiteX113" fmla="*/ 1716427 w 4519987"/>
              <a:gd name="connsiteY113" fmla="*/ 123825 h 4496940"/>
              <a:gd name="connsiteX114" fmla="*/ 1811677 w 4519987"/>
              <a:gd name="connsiteY114" fmla="*/ 114300 h 4496940"/>
              <a:gd name="connsiteX115" fmla="*/ 1859302 w 4519987"/>
              <a:gd name="connsiteY115" fmla="*/ 104775 h 4496940"/>
              <a:gd name="connsiteX116" fmla="*/ 1916452 w 4519987"/>
              <a:gd name="connsiteY116" fmla="*/ 95250 h 4496940"/>
              <a:gd name="connsiteX117" fmla="*/ 2030752 w 4519987"/>
              <a:gd name="connsiteY117" fmla="*/ 66675 h 4496940"/>
              <a:gd name="connsiteX118" fmla="*/ 2097427 w 4519987"/>
              <a:gd name="connsiteY118" fmla="*/ 47625 h 4496940"/>
              <a:gd name="connsiteX119" fmla="*/ 2164102 w 4519987"/>
              <a:gd name="connsiteY119" fmla="*/ 38100 h 4496940"/>
              <a:gd name="connsiteX120" fmla="*/ 2392702 w 4519987"/>
              <a:gd name="connsiteY120" fmla="*/ 28575 h 4496940"/>
              <a:gd name="connsiteX0" fmla="*/ 2297452 w 4519987"/>
              <a:gd name="connsiteY0" fmla="*/ 0 h 4487372"/>
              <a:gd name="connsiteX1" fmla="*/ 2421277 w 4519987"/>
              <a:gd name="connsiteY1" fmla="*/ 28575 h 4487372"/>
              <a:gd name="connsiteX2" fmla="*/ 2497477 w 4519987"/>
              <a:gd name="connsiteY2" fmla="*/ 47625 h 4487372"/>
              <a:gd name="connsiteX3" fmla="*/ 2754652 w 4519987"/>
              <a:gd name="connsiteY3" fmla="*/ 66675 h 4487372"/>
              <a:gd name="connsiteX4" fmla="*/ 2830852 w 4519987"/>
              <a:gd name="connsiteY4" fmla="*/ 76200 h 4487372"/>
              <a:gd name="connsiteX5" fmla="*/ 2916577 w 4519987"/>
              <a:gd name="connsiteY5" fmla="*/ 85725 h 4487372"/>
              <a:gd name="connsiteX6" fmla="*/ 2973727 w 4519987"/>
              <a:gd name="connsiteY6" fmla="*/ 114300 h 4487372"/>
              <a:gd name="connsiteX7" fmla="*/ 3011827 w 4519987"/>
              <a:gd name="connsiteY7" fmla="*/ 123825 h 4487372"/>
              <a:gd name="connsiteX8" fmla="*/ 3135652 w 4519987"/>
              <a:gd name="connsiteY8" fmla="*/ 171450 h 4487372"/>
              <a:gd name="connsiteX9" fmla="*/ 3173752 w 4519987"/>
              <a:gd name="connsiteY9" fmla="*/ 190500 h 4487372"/>
              <a:gd name="connsiteX10" fmla="*/ 3240427 w 4519987"/>
              <a:gd name="connsiteY10" fmla="*/ 228600 h 4487372"/>
              <a:gd name="connsiteX11" fmla="*/ 3269002 w 4519987"/>
              <a:gd name="connsiteY11" fmla="*/ 238125 h 4487372"/>
              <a:gd name="connsiteX12" fmla="*/ 3297577 w 4519987"/>
              <a:gd name="connsiteY12" fmla="*/ 257175 h 4487372"/>
              <a:gd name="connsiteX13" fmla="*/ 3326152 w 4519987"/>
              <a:gd name="connsiteY13" fmla="*/ 266700 h 4487372"/>
              <a:gd name="connsiteX14" fmla="*/ 3354727 w 4519987"/>
              <a:gd name="connsiteY14" fmla="*/ 285750 h 4487372"/>
              <a:gd name="connsiteX15" fmla="*/ 3421402 w 4519987"/>
              <a:gd name="connsiteY15" fmla="*/ 323850 h 4487372"/>
              <a:gd name="connsiteX16" fmla="*/ 3469027 w 4519987"/>
              <a:gd name="connsiteY16" fmla="*/ 361950 h 4487372"/>
              <a:gd name="connsiteX17" fmla="*/ 3516652 w 4519987"/>
              <a:gd name="connsiteY17" fmla="*/ 390525 h 4487372"/>
              <a:gd name="connsiteX18" fmla="*/ 3630952 w 4519987"/>
              <a:gd name="connsiteY18" fmla="*/ 485775 h 4487372"/>
              <a:gd name="connsiteX19" fmla="*/ 3745252 w 4519987"/>
              <a:gd name="connsiteY19" fmla="*/ 542925 h 4487372"/>
              <a:gd name="connsiteX20" fmla="*/ 3811927 w 4519987"/>
              <a:gd name="connsiteY20" fmla="*/ 581025 h 4487372"/>
              <a:gd name="connsiteX21" fmla="*/ 4027827 w 4519987"/>
              <a:gd name="connsiteY21" fmla="*/ 819150 h 4487372"/>
              <a:gd name="connsiteX22" fmla="*/ 4164352 w 4519987"/>
              <a:gd name="connsiteY22" fmla="*/ 990600 h 4487372"/>
              <a:gd name="connsiteX23" fmla="*/ 4250077 w 4519987"/>
              <a:gd name="connsiteY23" fmla="*/ 1143000 h 4487372"/>
              <a:gd name="connsiteX24" fmla="*/ 4307227 w 4519987"/>
              <a:gd name="connsiteY24" fmla="*/ 1266825 h 4487372"/>
              <a:gd name="connsiteX25" fmla="*/ 4345327 w 4519987"/>
              <a:gd name="connsiteY25" fmla="*/ 1362075 h 4487372"/>
              <a:gd name="connsiteX26" fmla="*/ 4392952 w 4519987"/>
              <a:gd name="connsiteY26" fmla="*/ 1552575 h 4487372"/>
              <a:gd name="connsiteX27" fmla="*/ 4431052 w 4519987"/>
              <a:gd name="connsiteY27" fmla="*/ 1685925 h 4487372"/>
              <a:gd name="connsiteX28" fmla="*/ 4519952 w 4519987"/>
              <a:gd name="connsiteY28" fmla="*/ 2181225 h 4487372"/>
              <a:gd name="connsiteX29" fmla="*/ 4446927 w 4519987"/>
              <a:gd name="connsiteY29" fmla="*/ 2768600 h 4487372"/>
              <a:gd name="connsiteX30" fmla="*/ 4383427 w 4519987"/>
              <a:gd name="connsiteY30" fmla="*/ 2990850 h 4487372"/>
              <a:gd name="connsiteX31" fmla="*/ 4278652 w 4519987"/>
              <a:gd name="connsiteY31" fmla="*/ 3248025 h 4487372"/>
              <a:gd name="connsiteX32" fmla="*/ 4183402 w 4519987"/>
              <a:gd name="connsiteY32" fmla="*/ 3400425 h 4487372"/>
              <a:gd name="connsiteX33" fmla="*/ 4059577 w 4519987"/>
              <a:gd name="connsiteY33" fmla="*/ 3533775 h 4487372"/>
              <a:gd name="connsiteX34" fmla="*/ 3954802 w 4519987"/>
              <a:gd name="connsiteY34" fmla="*/ 3648075 h 4487372"/>
              <a:gd name="connsiteX35" fmla="*/ 3659527 w 4519987"/>
              <a:gd name="connsiteY35" fmla="*/ 3971925 h 4487372"/>
              <a:gd name="connsiteX36" fmla="*/ 3516652 w 4519987"/>
              <a:gd name="connsiteY36" fmla="*/ 4083050 h 4487372"/>
              <a:gd name="connsiteX37" fmla="*/ 3221377 w 4519987"/>
              <a:gd name="connsiteY37" fmla="*/ 4222750 h 4487372"/>
              <a:gd name="connsiteX38" fmla="*/ 3068977 w 4519987"/>
              <a:gd name="connsiteY38" fmla="*/ 4286250 h 4487372"/>
              <a:gd name="connsiteX39" fmla="*/ 2935627 w 4519987"/>
              <a:gd name="connsiteY39" fmla="*/ 4333875 h 4487372"/>
              <a:gd name="connsiteX40" fmla="*/ 2811802 w 4519987"/>
              <a:gd name="connsiteY40" fmla="*/ 4371975 h 4487372"/>
              <a:gd name="connsiteX41" fmla="*/ 2745127 w 4519987"/>
              <a:gd name="connsiteY41" fmla="*/ 4410075 h 4487372"/>
              <a:gd name="connsiteX42" fmla="*/ 2640352 w 4519987"/>
              <a:gd name="connsiteY42" fmla="*/ 4457700 h 4487372"/>
              <a:gd name="connsiteX43" fmla="*/ 2545102 w 4519987"/>
              <a:gd name="connsiteY43" fmla="*/ 4486275 h 4487372"/>
              <a:gd name="connsiteX44" fmla="*/ 2306977 w 4519987"/>
              <a:gd name="connsiteY44" fmla="*/ 4476750 h 4487372"/>
              <a:gd name="connsiteX45" fmla="*/ 2202202 w 4519987"/>
              <a:gd name="connsiteY45" fmla="*/ 4457700 h 4487372"/>
              <a:gd name="connsiteX46" fmla="*/ 2126002 w 4519987"/>
              <a:gd name="connsiteY46" fmla="*/ 4429125 h 4487372"/>
              <a:gd name="connsiteX47" fmla="*/ 1935502 w 4519987"/>
              <a:gd name="connsiteY47" fmla="*/ 4400550 h 4487372"/>
              <a:gd name="connsiteX48" fmla="*/ 1821202 w 4519987"/>
              <a:gd name="connsiteY48" fmla="*/ 4371975 h 4487372"/>
              <a:gd name="connsiteX49" fmla="*/ 1754527 w 4519987"/>
              <a:gd name="connsiteY49" fmla="*/ 4352925 h 4487372"/>
              <a:gd name="connsiteX50" fmla="*/ 1687852 w 4519987"/>
              <a:gd name="connsiteY50" fmla="*/ 4343400 h 4487372"/>
              <a:gd name="connsiteX51" fmla="*/ 1573552 w 4519987"/>
              <a:gd name="connsiteY51" fmla="*/ 4305300 h 4487372"/>
              <a:gd name="connsiteX52" fmla="*/ 1402102 w 4519987"/>
              <a:gd name="connsiteY52" fmla="*/ 4276725 h 4487372"/>
              <a:gd name="connsiteX53" fmla="*/ 1287802 w 4519987"/>
              <a:gd name="connsiteY53" fmla="*/ 4229100 h 4487372"/>
              <a:gd name="connsiteX54" fmla="*/ 1221127 w 4519987"/>
              <a:gd name="connsiteY54" fmla="*/ 4200525 h 4487372"/>
              <a:gd name="connsiteX55" fmla="*/ 1144927 w 4519987"/>
              <a:gd name="connsiteY55" fmla="*/ 4171950 h 4487372"/>
              <a:gd name="connsiteX56" fmla="*/ 1087777 w 4519987"/>
              <a:gd name="connsiteY56" fmla="*/ 4143375 h 4487372"/>
              <a:gd name="connsiteX57" fmla="*/ 1030627 w 4519987"/>
              <a:gd name="connsiteY57" fmla="*/ 4124325 h 4487372"/>
              <a:gd name="connsiteX58" fmla="*/ 925852 w 4519987"/>
              <a:gd name="connsiteY58" fmla="*/ 4067175 h 4487372"/>
              <a:gd name="connsiteX59" fmla="*/ 830602 w 4519987"/>
              <a:gd name="connsiteY59" fmla="*/ 3981450 h 4487372"/>
              <a:gd name="connsiteX60" fmla="*/ 763927 w 4519987"/>
              <a:gd name="connsiteY60" fmla="*/ 3914775 h 4487372"/>
              <a:gd name="connsiteX61" fmla="*/ 725827 w 4519987"/>
              <a:gd name="connsiteY61" fmla="*/ 3876675 h 4487372"/>
              <a:gd name="connsiteX62" fmla="*/ 697252 w 4519987"/>
              <a:gd name="connsiteY62" fmla="*/ 3838575 h 4487372"/>
              <a:gd name="connsiteX63" fmla="*/ 640102 w 4519987"/>
              <a:gd name="connsiteY63" fmla="*/ 3781425 h 4487372"/>
              <a:gd name="connsiteX64" fmla="*/ 611527 w 4519987"/>
              <a:gd name="connsiteY64" fmla="*/ 3733800 h 4487372"/>
              <a:gd name="connsiteX65" fmla="*/ 554377 w 4519987"/>
              <a:gd name="connsiteY65" fmla="*/ 3657600 h 4487372"/>
              <a:gd name="connsiteX66" fmla="*/ 525802 w 4519987"/>
              <a:gd name="connsiteY66" fmla="*/ 3609975 h 4487372"/>
              <a:gd name="connsiteX67" fmla="*/ 497227 w 4519987"/>
              <a:gd name="connsiteY67" fmla="*/ 3552825 h 4487372"/>
              <a:gd name="connsiteX68" fmla="*/ 440077 w 4519987"/>
              <a:gd name="connsiteY68" fmla="*/ 3495675 h 4487372"/>
              <a:gd name="connsiteX69" fmla="*/ 411502 w 4519987"/>
              <a:gd name="connsiteY69" fmla="*/ 3448050 h 4487372"/>
              <a:gd name="connsiteX70" fmla="*/ 278152 w 4519987"/>
              <a:gd name="connsiteY70" fmla="*/ 3257550 h 4487372"/>
              <a:gd name="connsiteX71" fmla="*/ 249577 w 4519987"/>
              <a:gd name="connsiteY71" fmla="*/ 3200400 h 4487372"/>
              <a:gd name="connsiteX72" fmla="*/ 240052 w 4519987"/>
              <a:gd name="connsiteY72" fmla="*/ 3162300 h 4487372"/>
              <a:gd name="connsiteX73" fmla="*/ 221002 w 4519987"/>
              <a:gd name="connsiteY73" fmla="*/ 3105150 h 4487372"/>
              <a:gd name="connsiteX74" fmla="*/ 173377 w 4519987"/>
              <a:gd name="connsiteY74" fmla="*/ 3019425 h 4487372"/>
              <a:gd name="connsiteX75" fmla="*/ 144802 w 4519987"/>
              <a:gd name="connsiteY75" fmla="*/ 2924175 h 4487372"/>
              <a:gd name="connsiteX76" fmla="*/ 68602 w 4519987"/>
              <a:gd name="connsiteY76" fmla="*/ 2724150 h 4487372"/>
              <a:gd name="connsiteX77" fmla="*/ 49552 w 4519987"/>
              <a:gd name="connsiteY77" fmla="*/ 2638425 h 4487372"/>
              <a:gd name="connsiteX78" fmla="*/ 40027 w 4519987"/>
              <a:gd name="connsiteY78" fmla="*/ 2562225 h 4487372"/>
              <a:gd name="connsiteX79" fmla="*/ 30502 w 4519987"/>
              <a:gd name="connsiteY79" fmla="*/ 2514600 h 4487372"/>
              <a:gd name="connsiteX80" fmla="*/ 11452 w 4519987"/>
              <a:gd name="connsiteY80" fmla="*/ 2400300 h 4487372"/>
              <a:gd name="connsiteX81" fmla="*/ 20977 w 4519987"/>
              <a:gd name="connsiteY81" fmla="*/ 1905000 h 4487372"/>
              <a:gd name="connsiteX82" fmla="*/ 30502 w 4519987"/>
              <a:gd name="connsiteY82" fmla="*/ 1838325 h 4487372"/>
              <a:gd name="connsiteX83" fmla="*/ 49552 w 4519987"/>
              <a:gd name="connsiteY83" fmla="*/ 1781175 h 4487372"/>
              <a:gd name="connsiteX84" fmla="*/ 59077 w 4519987"/>
              <a:gd name="connsiteY84" fmla="*/ 1743075 h 4487372"/>
              <a:gd name="connsiteX85" fmla="*/ 78127 w 4519987"/>
              <a:gd name="connsiteY85" fmla="*/ 1685925 h 4487372"/>
              <a:gd name="connsiteX86" fmla="*/ 87652 w 4519987"/>
              <a:gd name="connsiteY86" fmla="*/ 1638300 h 4487372"/>
              <a:gd name="connsiteX87" fmla="*/ 106702 w 4519987"/>
              <a:gd name="connsiteY87" fmla="*/ 1590675 h 4487372"/>
              <a:gd name="connsiteX88" fmla="*/ 135277 w 4519987"/>
              <a:gd name="connsiteY88" fmla="*/ 1504950 h 4487372"/>
              <a:gd name="connsiteX89" fmla="*/ 154327 w 4519987"/>
              <a:gd name="connsiteY89" fmla="*/ 1419225 h 4487372"/>
              <a:gd name="connsiteX90" fmla="*/ 230527 w 4519987"/>
              <a:gd name="connsiteY90" fmla="*/ 1276350 h 4487372"/>
              <a:gd name="connsiteX91" fmla="*/ 240052 w 4519987"/>
              <a:gd name="connsiteY91" fmla="*/ 1247775 h 4487372"/>
              <a:gd name="connsiteX92" fmla="*/ 268627 w 4519987"/>
              <a:gd name="connsiteY92" fmla="*/ 1200150 h 4487372"/>
              <a:gd name="connsiteX93" fmla="*/ 287677 w 4519987"/>
              <a:gd name="connsiteY93" fmla="*/ 1152525 h 4487372"/>
              <a:gd name="connsiteX94" fmla="*/ 316252 w 4519987"/>
              <a:gd name="connsiteY94" fmla="*/ 1114425 h 4487372"/>
              <a:gd name="connsiteX95" fmla="*/ 363877 w 4519987"/>
              <a:gd name="connsiteY95" fmla="*/ 1038225 h 4487372"/>
              <a:gd name="connsiteX96" fmla="*/ 382927 w 4519987"/>
              <a:gd name="connsiteY96" fmla="*/ 1009650 h 4487372"/>
              <a:gd name="connsiteX97" fmla="*/ 440077 w 4519987"/>
              <a:gd name="connsiteY97" fmla="*/ 904875 h 4487372"/>
              <a:gd name="connsiteX98" fmla="*/ 478177 w 4519987"/>
              <a:gd name="connsiteY98" fmla="*/ 857250 h 4487372"/>
              <a:gd name="connsiteX99" fmla="*/ 497227 w 4519987"/>
              <a:gd name="connsiteY99" fmla="*/ 828675 h 4487372"/>
              <a:gd name="connsiteX100" fmla="*/ 535327 w 4519987"/>
              <a:gd name="connsiteY100" fmla="*/ 800100 h 4487372"/>
              <a:gd name="connsiteX101" fmla="*/ 602002 w 4519987"/>
              <a:gd name="connsiteY101" fmla="*/ 733425 h 4487372"/>
              <a:gd name="connsiteX102" fmla="*/ 668677 w 4519987"/>
              <a:gd name="connsiteY102" fmla="*/ 676275 h 4487372"/>
              <a:gd name="connsiteX103" fmla="*/ 697252 w 4519987"/>
              <a:gd name="connsiteY103" fmla="*/ 657225 h 4487372"/>
              <a:gd name="connsiteX104" fmla="*/ 840127 w 4519987"/>
              <a:gd name="connsiteY104" fmla="*/ 533400 h 4487372"/>
              <a:gd name="connsiteX105" fmla="*/ 887752 w 4519987"/>
              <a:gd name="connsiteY105" fmla="*/ 504825 h 4487372"/>
              <a:gd name="connsiteX106" fmla="*/ 1167152 w 4519987"/>
              <a:gd name="connsiteY106" fmla="*/ 311150 h 4487372"/>
              <a:gd name="connsiteX107" fmla="*/ 1268752 w 4519987"/>
              <a:gd name="connsiteY107" fmla="*/ 285750 h 4487372"/>
              <a:gd name="connsiteX108" fmla="*/ 1411627 w 4519987"/>
              <a:gd name="connsiteY108" fmla="*/ 190500 h 4487372"/>
              <a:gd name="connsiteX109" fmla="*/ 1449727 w 4519987"/>
              <a:gd name="connsiteY109" fmla="*/ 161925 h 4487372"/>
              <a:gd name="connsiteX110" fmla="*/ 1525927 w 4519987"/>
              <a:gd name="connsiteY110" fmla="*/ 152400 h 4487372"/>
              <a:gd name="connsiteX111" fmla="*/ 1583077 w 4519987"/>
              <a:gd name="connsiteY111" fmla="*/ 142875 h 4487372"/>
              <a:gd name="connsiteX112" fmla="*/ 1716427 w 4519987"/>
              <a:gd name="connsiteY112" fmla="*/ 123825 h 4487372"/>
              <a:gd name="connsiteX113" fmla="*/ 1811677 w 4519987"/>
              <a:gd name="connsiteY113" fmla="*/ 114300 h 4487372"/>
              <a:gd name="connsiteX114" fmla="*/ 1859302 w 4519987"/>
              <a:gd name="connsiteY114" fmla="*/ 104775 h 4487372"/>
              <a:gd name="connsiteX115" fmla="*/ 1916452 w 4519987"/>
              <a:gd name="connsiteY115" fmla="*/ 95250 h 4487372"/>
              <a:gd name="connsiteX116" fmla="*/ 2030752 w 4519987"/>
              <a:gd name="connsiteY116" fmla="*/ 66675 h 4487372"/>
              <a:gd name="connsiteX117" fmla="*/ 2097427 w 4519987"/>
              <a:gd name="connsiteY117" fmla="*/ 47625 h 4487372"/>
              <a:gd name="connsiteX118" fmla="*/ 2164102 w 4519987"/>
              <a:gd name="connsiteY118" fmla="*/ 38100 h 4487372"/>
              <a:gd name="connsiteX119" fmla="*/ 2392702 w 4519987"/>
              <a:gd name="connsiteY119" fmla="*/ 28575 h 4487372"/>
              <a:gd name="connsiteX0" fmla="*/ 2297452 w 4519987"/>
              <a:gd name="connsiteY0" fmla="*/ 0 h 4476750"/>
              <a:gd name="connsiteX1" fmla="*/ 2421277 w 4519987"/>
              <a:gd name="connsiteY1" fmla="*/ 28575 h 4476750"/>
              <a:gd name="connsiteX2" fmla="*/ 2497477 w 4519987"/>
              <a:gd name="connsiteY2" fmla="*/ 47625 h 4476750"/>
              <a:gd name="connsiteX3" fmla="*/ 2754652 w 4519987"/>
              <a:gd name="connsiteY3" fmla="*/ 66675 h 4476750"/>
              <a:gd name="connsiteX4" fmla="*/ 2830852 w 4519987"/>
              <a:gd name="connsiteY4" fmla="*/ 76200 h 4476750"/>
              <a:gd name="connsiteX5" fmla="*/ 2916577 w 4519987"/>
              <a:gd name="connsiteY5" fmla="*/ 85725 h 4476750"/>
              <a:gd name="connsiteX6" fmla="*/ 2973727 w 4519987"/>
              <a:gd name="connsiteY6" fmla="*/ 114300 h 4476750"/>
              <a:gd name="connsiteX7" fmla="*/ 3011827 w 4519987"/>
              <a:gd name="connsiteY7" fmla="*/ 123825 h 4476750"/>
              <a:gd name="connsiteX8" fmla="*/ 3135652 w 4519987"/>
              <a:gd name="connsiteY8" fmla="*/ 171450 h 4476750"/>
              <a:gd name="connsiteX9" fmla="*/ 3173752 w 4519987"/>
              <a:gd name="connsiteY9" fmla="*/ 190500 h 4476750"/>
              <a:gd name="connsiteX10" fmla="*/ 3240427 w 4519987"/>
              <a:gd name="connsiteY10" fmla="*/ 228600 h 4476750"/>
              <a:gd name="connsiteX11" fmla="*/ 3269002 w 4519987"/>
              <a:gd name="connsiteY11" fmla="*/ 238125 h 4476750"/>
              <a:gd name="connsiteX12" fmla="*/ 3297577 w 4519987"/>
              <a:gd name="connsiteY12" fmla="*/ 257175 h 4476750"/>
              <a:gd name="connsiteX13" fmla="*/ 3326152 w 4519987"/>
              <a:gd name="connsiteY13" fmla="*/ 266700 h 4476750"/>
              <a:gd name="connsiteX14" fmla="*/ 3354727 w 4519987"/>
              <a:gd name="connsiteY14" fmla="*/ 285750 h 4476750"/>
              <a:gd name="connsiteX15" fmla="*/ 3421402 w 4519987"/>
              <a:gd name="connsiteY15" fmla="*/ 323850 h 4476750"/>
              <a:gd name="connsiteX16" fmla="*/ 3469027 w 4519987"/>
              <a:gd name="connsiteY16" fmla="*/ 361950 h 4476750"/>
              <a:gd name="connsiteX17" fmla="*/ 3516652 w 4519987"/>
              <a:gd name="connsiteY17" fmla="*/ 390525 h 4476750"/>
              <a:gd name="connsiteX18" fmla="*/ 3630952 w 4519987"/>
              <a:gd name="connsiteY18" fmla="*/ 485775 h 4476750"/>
              <a:gd name="connsiteX19" fmla="*/ 3745252 w 4519987"/>
              <a:gd name="connsiteY19" fmla="*/ 542925 h 4476750"/>
              <a:gd name="connsiteX20" fmla="*/ 3811927 w 4519987"/>
              <a:gd name="connsiteY20" fmla="*/ 581025 h 4476750"/>
              <a:gd name="connsiteX21" fmla="*/ 4027827 w 4519987"/>
              <a:gd name="connsiteY21" fmla="*/ 819150 h 4476750"/>
              <a:gd name="connsiteX22" fmla="*/ 4164352 w 4519987"/>
              <a:gd name="connsiteY22" fmla="*/ 990600 h 4476750"/>
              <a:gd name="connsiteX23" fmla="*/ 4250077 w 4519987"/>
              <a:gd name="connsiteY23" fmla="*/ 1143000 h 4476750"/>
              <a:gd name="connsiteX24" fmla="*/ 4307227 w 4519987"/>
              <a:gd name="connsiteY24" fmla="*/ 1266825 h 4476750"/>
              <a:gd name="connsiteX25" fmla="*/ 4345327 w 4519987"/>
              <a:gd name="connsiteY25" fmla="*/ 1362075 h 4476750"/>
              <a:gd name="connsiteX26" fmla="*/ 4392952 w 4519987"/>
              <a:gd name="connsiteY26" fmla="*/ 1552575 h 4476750"/>
              <a:gd name="connsiteX27" fmla="*/ 4431052 w 4519987"/>
              <a:gd name="connsiteY27" fmla="*/ 1685925 h 4476750"/>
              <a:gd name="connsiteX28" fmla="*/ 4519952 w 4519987"/>
              <a:gd name="connsiteY28" fmla="*/ 2181225 h 4476750"/>
              <a:gd name="connsiteX29" fmla="*/ 4446927 w 4519987"/>
              <a:gd name="connsiteY29" fmla="*/ 2768600 h 4476750"/>
              <a:gd name="connsiteX30" fmla="*/ 4383427 w 4519987"/>
              <a:gd name="connsiteY30" fmla="*/ 2990850 h 4476750"/>
              <a:gd name="connsiteX31" fmla="*/ 4278652 w 4519987"/>
              <a:gd name="connsiteY31" fmla="*/ 3248025 h 4476750"/>
              <a:gd name="connsiteX32" fmla="*/ 4183402 w 4519987"/>
              <a:gd name="connsiteY32" fmla="*/ 3400425 h 4476750"/>
              <a:gd name="connsiteX33" fmla="*/ 4059577 w 4519987"/>
              <a:gd name="connsiteY33" fmla="*/ 3533775 h 4476750"/>
              <a:gd name="connsiteX34" fmla="*/ 3954802 w 4519987"/>
              <a:gd name="connsiteY34" fmla="*/ 3648075 h 4476750"/>
              <a:gd name="connsiteX35" fmla="*/ 3659527 w 4519987"/>
              <a:gd name="connsiteY35" fmla="*/ 3971925 h 4476750"/>
              <a:gd name="connsiteX36" fmla="*/ 3516652 w 4519987"/>
              <a:gd name="connsiteY36" fmla="*/ 4083050 h 4476750"/>
              <a:gd name="connsiteX37" fmla="*/ 3221377 w 4519987"/>
              <a:gd name="connsiteY37" fmla="*/ 4222750 h 4476750"/>
              <a:gd name="connsiteX38" fmla="*/ 3068977 w 4519987"/>
              <a:gd name="connsiteY38" fmla="*/ 4286250 h 4476750"/>
              <a:gd name="connsiteX39" fmla="*/ 2935627 w 4519987"/>
              <a:gd name="connsiteY39" fmla="*/ 4333875 h 4476750"/>
              <a:gd name="connsiteX40" fmla="*/ 2811802 w 4519987"/>
              <a:gd name="connsiteY40" fmla="*/ 4371975 h 4476750"/>
              <a:gd name="connsiteX41" fmla="*/ 2745127 w 4519987"/>
              <a:gd name="connsiteY41" fmla="*/ 4410075 h 4476750"/>
              <a:gd name="connsiteX42" fmla="*/ 2640352 w 4519987"/>
              <a:gd name="connsiteY42" fmla="*/ 4457700 h 4476750"/>
              <a:gd name="connsiteX43" fmla="*/ 2306977 w 4519987"/>
              <a:gd name="connsiteY43" fmla="*/ 4476750 h 4476750"/>
              <a:gd name="connsiteX44" fmla="*/ 2202202 w 4519987"/>
              <a:gd name="connsiteY44" fmla="*/ 4457700 h 4476750"/>
              <a:gd name="connsiteX45" fmla="*/ 2126002 w 4519987"/>
              <a:gd name="connsiteY45" fmla="*/ 4429125 h 4476750"/>
              <a:gd name="connsiteX46" fmla="*/ 1935502 w 4519987"/>
              <a:gd name="connsiteY46" fmla="*/ 4400550 h 4476750"/>
              <a:gd name="connsiteX47" fmla="*/ 1821202 w 4519987"/>
              <a:gd name="connsiteY47" fmla="*/ 4371975 h 4476750"/>
              <a:gd name="connsiteX48" fmla="*/ 1754527 w 4519987"/>
              <a:gd name="connsiteY48" fmla="*/ 4352925 h 4476750"/>
              <a:gd name="connsiteX49" fmla="*/ 1687852 w 4519987"/>
              <a:gd name="connsiteY49" fmla="*/ 4343400 h 4476750"/>
              <a:gd name="connsiteX50" fmla="*/ 1573552 w 4519987"/>
              <a:gd name="connsiteY50" fmla="*/ 4305300 h 4476750"/>
              <a:gd name="connsiteX51" fmla="*/ 1402102 w 4519987"/>
              <a:gd name="connsiteY51" fmla="*/ 4276725 h 4476750"/>
              <a:gd name="connsiteX52" fmla="*/ 1287802 w 4519987"/>
              <a:gd name="connsiteY52" fmla="*/ 4229100 h 4476750"/>
              <a:gd name="connsiteX53" fmla="*/ 1221127 w 4519987"/>
              <a:gd name="connsiteY53" fmla="*/ 4200525 h 4476750"/>
              <a:gd name="connsiteX54" fmla="*/ 1144927 w 4519987"/>
              <a:gd name="connsiteY54" fmla="*/ 4171950 h 4476750"/>
              <a:gd name="connsiteX55" fmla="*/ 1087777 w 4519987"/>
              <a:gd name="connsiteY55" fmla="*/ 4143375 h 4476750"/>
              <a:gd name="connsiteX56" fmla="*/ 1030627 w 4519987"/>
              <a:gd name="connsiteY56" fmla="*/ 4124325 h 4476750"/>
              <a:gd name="connsiteX57" fmla="*/ 925852 w 4519987"/>
              <a:gd name="connsiteY57" fmla="*/ 4067175 h 4476750"/>
              <a:gd name="connsiteX58" fmla="*/ 830602 w 4519987"/>
              <a:gd name="connsiteY58" fmla="*/ 3981450 h 4476750"/>
              <a:gd name="connsiteX59" fmla="*/ 763927 w 4519987"/>
              <a:gd name="connsiteY59" fmla="*/ 3914775 h 4476750"/>
              <a:gd name="connsiteX60" fmla="*/ 725827 w 4519987"/>
              <a:gd name="connsiteY60" fmla="*/ 3876675 h 4476750"/>
              <a:gd name="connsiteX61" fmla="*/ 697252 w 4519987"/>
              <a:gd name="connsiteY61" fmla="*/ 3838575 h 4476750"/>
              <a:gd name="connsiteX62" fmla="*/ 640102 w 4519987"/>
              <a:gd name="connsiteY62" fmla="*/ 3781425 h 4476750"/>
              <a:gd name="connsiteX63" fmla="*/ 611527 w 4519987"/>
              <a:gd name="connsiteY63" fmla="*/ 3733800 h 4476750"/>
              <a:gd name="connsiteX64" fmla="*/ 554377 w 4519987"/>
              <a:gd name="connsiteY64" fmla="*/ 3657600 h 4476750"/>
              <a:gd name="connsiteX65" fmla="*/ 525802 w 4519987"/>
              <a:gd name="connsiteY65" fmla="*/ 3609975 h 4476750"/>
              <a:gd name="connsiteX66" fmla="*/ 497227 w 4519987"/>
              <a:gd name="connsiteY66" fmla="*/ 3552825 h 4476750"/>
              <a:gd name="connsiteX67" fmla="*/ 440077 w 4519987"/>
              <a:gd name="connsiteY67" fmla="*/ 3495675 h 4476750"/>
              <a:gd name="connsiteX68" fmla="*/ 411502 w 4519987"/>
              <a:gd name="connsiteY68" fmla="*/ 3448050 h 4476750"/>
              <a:gd name="connsiteX69" fmla="*/ 278152 w 4519987"/>
              <a:gd name="connsiteY69" fmla="*/ 3257550 h 4476750"/>
              <a:gd name="connsiteX70" fmla="*/ 249577 w 4519987"/>
              <a:gd name="connsiteY70" fmla="*/ 3200400 h 4476750"/>
              <a:gd name="connsiteX71" fmla="*/ 240052 w 4519987"/>
              <a:gd name="connsiteY71" fmla="*/ 3162300 h 4476750"/>
              <a:gd name="connsiteX72" fmla="*/ 221002 w 4519987"/>
              <a:gd name="connsiteY72" fmla="*/ 3105150 h 4476750"/>
              <a:gd name="connsiteX73" fmla="*/ 173377 w 4519987"/>
              <a:gd name="connsiteY73" fmla="*/ 3019425 h 4476750"/>
              <a:gd name="connsiteX74" fmla="*/ 144802 w 4519987"/>
              <a:gd name="connsiteY74" fmla="*/ 2924175 h 4476750"/>
              <a:gd name="connsiteX75" fmla="*/ 68602 w 4519987"/>
              <a:gd name="connsiteY75" fmla="*/ 2724150 h 4476750"/>
              <a:gd name="connsiteX76" fmla="*/ 49552 w 4519987"/>
              <a:gd name="connsiteY76" fmla="*/ 2638425 h 4476750"/>
              <a:gd name="connsiteX77" fmla="*/ 40027 w 4519987"/>
              <a:gd name="connsiteY77" fmla="*/ 2562225 h 4476750"/>
              <a:gd name="connsiteX78" fmla="*/ 30502 w 4519987"/>
              <a:gd name="connsiteY78" fmla="*/ 2514600 h 4476750"/>
              <a:gd name="connsiteX79" fmla="*/ 11452 w 4519987"/>
              <a:gd name="connsiteY79" fmla="*/ 2400300 h 4476750"/>
              <a:gd name="connsiteX80" fmla="*/ 20977 w 4519987"/>
              <a:gd name="connsiteY80" fmla="*/ 1905000 h 4476750"/>
              <a:gd name="connsiteX81" fmla="*/ 30502 w 4519987"/>
              <a:gd name="connsiteY81" fmla="*/ 1838325 h 4476750"/>
              <a:gd name="connsiteX82" fmla="*/ 49552 w 4519987"/>
              <a:gd name="connsiteY82" fmla="*/ 1781175 h 4476750"/>
              <a:gd name="connsiteX83" fmla="*/ 59077 w 4519987"/>
              <a:gd name="connsiteY83" fmla="*/ 1743075 h 4476750"/>
              <a:gd name="connsiteX84" fmla="*/ 78127 w 4519987"/>
              <a:gd name="connsiteY84" fmla="*/ 1685925 h 4476750"/>
              <a:gd name="connsiteX85" fmla="*/ 87652 w 4519987"/>
              <a:gd name="connsiteY85" fmla="*/ 1638300 h 4476750"/>
              <a:gd name="connsiteX86" fmla="*/ 106702 w 4519987"/>
              <a:gd name="connsiteY86" fmla="*/ 1590675 h 4476750"/>
              <a:gd name="connsiteX87" fmla="*/ 135277 w 4519987"/>
              <a:gd name="connsiteY87" fmla="*/ 1504950 h 4476750"/>
              <a:gd name="connsiteX88" fmla="*/ 154327 w 4519987"/>
              <a:gd name="connsiteY88" fmla="*/ 1419225 h 4476750"/>
              <a:gd name="connsiteX89" fmla="*/ 230527 w 4519987"/>
              <a:gd name="connsiteY89" fmla="*/ 1276350 h 4476750"/>
              <a:gd name="connsiteX90" fmla="*/ 240052 w 4519987"/>
              <a:gd name="connsiteY90" fmla="*/ 1247775 h 4476750"/>
              <a:gd name="connsiteX91" fmla="*/ 268627 w 4519987"/>
              <a:gd name="connsiteY91" fmla="*/ 1200150 h 4476750"/>
              <a:gd name="connsiteX92" fmla="*/ 287677 w 4519987"/>
              <a:gd name="connsiteY92" fmla="*/ 1152525 h 4476750"/>
              <a:gd name="connsiteX93" fmla="*/ 316252 w 4519987"/>
              <a:gd name="connsiteY93" fmla="*/ 1114425 h 4476750"/>
              <a:gd name="connsiteX94" fmla="*/ 363877 w 4519987"/>
              <a:gd name="connsiteY94" fmla="*/ 1038225 h 4476750"/>
              <a:gd name="connsiteX95" fmla="*/ 382927 w 4519987"/>
              <a:gd name="connsiteY95" fmla="*/ 1009650 h 4476750"/>
              <a:gd name="connsiteX96" fmla="*/ 440077 w 4519987"/>
              <a:gd name="connsiteY96" fmla="*/ 904875 h 4476750"/>
              <a:gd name="connsiteX97" fmla="*/ 478177 w 4519987"/>
              <a:gd name="connsiteY97" fmla="*/ 857250 h 4476750"/>
              <a:gd name="connsiteX98" fmla="*/ 497227 w 4519987"/>
              <a:gd name="connsiteY98" fmla="*/ 828675 h 4476750"/>
              <a:gd name="connsiteX99" fmla="*/ 535327 w 4519987"/>
              <a:gd name="connsiteY99" fmla="*/ 800100 h 4476750"/>
              <a:gd name="connsiteX100" fmla="*/ 602002 w 4519987"/>
              <a:gd name="connsiteY100" fmla="*/ 733425 h 4476750"/>
              <a:gd name="connsiteX101" fmla="*/ 668677 w 4519987"/>
              <a:gd name="connsiteY101" fmla="*/ 676275 h 4476750"/>
              <a:gd name="connsiteX102" fmla="*/ 697252 w 4519987"/>
              <a:gd name="connsiteY102" fmla="*/ 657225 h 4476750"/>
              <a:gd name="connsiteX103" fmla="*/ 840127 w 4519987"/>
              <a:gd name="connsiteY103" fmla="*/ 533400 h 4476750"/>
              <a:gd name="connsiteX104" fmla="*/ 887752 w 4519987"/>
              <a:gd name="connsiteY104" fmla="*/ 504825 h 4476750"/>
              <a:gd name="connsiteX105" fmla="*/ 1167152 w 4519987"/>
              <a:gd name="connsiteY105" fmla="*/ 311150 h 4476750"/>
              <a:gd name="connsiteX106" fmla="*/ 1268752 w 4519987"/>
              <a:gd name="connsiteY106" fmla="*/ 285750 h 4476750"/>
              <a:gd name="connsiteX107" fmla="*/ 1411627 w 4519987"/>
              <a:gd name="connsiteY107" fmla="*/ 190500 h 4476750"/>
              <a:gd name="connsiteX108" fmla="*/ 1449727 w 4519987"/>
              <a:gd name="connsiteY108" fmla="*/ 161925 h 4476750"/>
              <a:gd name="connsiteX109" fmla="*/ 1525927 w 4519987"/>
              <a:gd name="connsiteY109" fmla="*/ 152400 h 4476750"/>
              <a:gd name="connsiteX110" fmla="*/ 1583077 w 4519987"/>
              <a:gd name="connsiteY110" fmla="*/ 142875 h 4476750"/>
              <a:gd name="connsiteX111" fmla="*/ 1716427 w 4519987"/>
              <a:gd name="connsiteY111" fmla="*/ 123825 h 4476750"/>
              <a:gd name="connsiteX112" fmla="*/ 1811677 w 4519987"/>
              <a:gd name="connsiteY112" fmla="*/ 114300 h 4476750"/>
              <a:gd name="connsiteX113" fmla="*/ 1859302 w 4519987"/>
              <a:gd name="connsiteY113" fmla="*/ 104775 h 4476750"/>
              <a:gd name="connsiteX114" fmla="*/ 1916452 w 4519987"/>
              <a:gd name="connsiteY114" fmla="*/ 95250 h 4476750"/>
              <a:gd name="connsiteX115" fmla="*/ 2030752 w 4519987"/>
              <a:gd name="connsiteY115" fmla="*/ 66675 h 4476750"/>
              <a:gd name="connsiteX116" fmla="*/ 2097427 w 4519987"/>
              <a:gd name="connsiteY116" fmla="*/ 47625 h 4476750"/>
              <a:gd name="connsiteX117" fmla="*/ 2164102 w 4519987"/>
              <a:gd name="connsiteY117" fmla="*/ 38100 h 4476750"/>
              <a:gd name="connsiteX118" fmla="*/ 2392702 w 4519987"/>
              <a:gd name="connsiteY118" fmla="*/ 28575 h 4476750"/>
              <a:gd name="connsiteX0" fmla="*/ 2297452 w 4519987"/>
              <a:gd name="connsiteY0" fmla="*/ 0 h 4478541"/>
              <a:gd name="connsiteX1" fmla="*/ 2421277 w 4519987"/>
              <a:gd name="connsiteY1" fmla="*/ 28575 h 4478541"/>
              <a:gd name="connsiteX2" fmla="*/ 2497477 w 4519987"/>
              <a:gd name="connsiteY2" fmla="*/ 47625 h 4478541"/>
              <a:gd name="connsiteX3" fmla="*/ 2754652 w 4519987"/>
              <a:gd name="connsiteY3" fmla="*/ 66675 h 4478541"/>
              <a:gd name="connsiteX4" fmla="*/ 2830852 w 4519987"/>
              <a:gd name="connsiteY4" fmla="*/ 76200 h 4478541"/>
              <a:gd name="connsiteX5" fmla="*/ 2916577 w 4519987"/>
              <a:gd name="connsiteY5" fmla="*/ 85725 h 4478541"/>
              <a:gd name="connsiteX6" fmla="*/ 2973727 w 4519987"/>
              <a:gd name="connsiteY6" fmla="*/ 114300 h 4478541"/>
              <a:gd name="connsiteX7" fmla="*/ 3011827 w 4519987"/>
              <a:gd name="connsiteY7" fmla="*/ 123825 h 4478541"/>
              <a:gd name="connsiteX8" fmla="*/ 3135652 w 4519987"/>
              <a:gd name="connsiteY8" fmla="*/ 171450 h 4478541"/>
              <a:gd name="connsiteX9" fmla="*/ 3173752 w 4519987"/>
              <a:gd name="connsiteY9" fmla="*/ 190500 h 4478541"/>
              <a:gd name="connsiteX10" fmla="*/ 3240427 w 4519987"/>
              <a:gd name="connsiteY10" fmla="*/ 228600 h 4478541"/>
              <a:gd name="connsiteX11" fmla="*/ 3269002 w 4519987"/>
              <a:gd name="connsiteY11" fmla="*/ 238125 h 4478541"/>
              <a:gd name="connsiteX12" fmla="*/ 3297577 w 4519987"/>
              <a:gd name="connsiteY12" fmla="*/ 257175 h 4478541"/>
              <a:gd name="connsiteX13" fmla="*/ 3326152 w 4519987"/>
              <a:gd name="connsiteY13" fmla="*/ 266700 h 4478541"/>
              <a:gd name="connsiteX14" fmla="*/ 3354727 w 4519987"/>
              <a:gd name="connsiteY14" fmla="*/ 285750 h 4478541"/>
              <a:gd name="connsiteX15" fmla="*/ 3421402 w 4519987"/>
              <a:gd name="connsiteY15" fmla="*/ 323850 h 4478541"/>
              <a:gd name="connsiteX16" fmla="*/ 3469027 w 4519987"/>
              <a:gd name="connsiteY16" fmla="*/ 361950 h 4478541"/>
              <a:gd name="connsiteX17" fmla="*/ 3516652 w 4519987"/>
              <a:gd name="connsiteY17" fmla="*/ 390525 h 4478541"/>
              <a:gd name="connsiteX18" fmla="*/ 3630952 w 4519987"/>
              <a:gd name="connsiteY18" fmla="*/ 485775 h 4478541"/>
              <a:gd name="connsiteX19" fmla="*/ 3745252 w 4519987"/>
              <a:gd name="connsiteY19" fmla="*/ 542925 h 4478541"/>
              <a:gd name="connsiteX20" fmla="*/ 3811927 w 4519987"/>
              <a:gd name="connsiteY20" fmla="*/ 581025 h 4478541"/>
              <a:gd name="connsiteX21" fmla="*/ 4027827 w 4519987"/>
              <a:gd name="connsiteY21" fmla="*/ 819150 h 4478541"/>
              <a:gd name="connsiteX22" fmla="*/ 4164352 w 4519987"/>
              <a:gd name="connsiteY22" fmla="*/ 990600 h 4478541"/>
              <a:gd name="connsiteX23" fmla="*/ 4250077 w 4519987"/>
              <a:gd name="connsiteY23" fmla="*/ 1143000 h 4478541"/>
              <a:gd name="connsiteX24" fmla="*/ 4307227 w 4519987"/>
              <a:gd name="connsiteY24" fmla="*/ 1266825 h 4478541"/>
              <a:gd name="connsiteX25" fmla="*/ 4345327 w 4519987"/>
              <a:gd name="connsiteY25" fmla="*/ 1362075 h 4478541"/>
              <a:gd name="connsiteX26" fmla="*/ 4392952 w 4519987"/>
              <a:gd name="connsiteY26" fmla="*/ 1552575 h 4478541"/>
              <a:gd name="connsiteX27" fmla="*/ 4431052 w 4519987"/>
              <a:gd name="connsiteY27" fmla="*/ 1685925 h 4478541"/>
              <a:gd name="connsiteX28" fmla="*/ 4519952 w 4519987"/>
              <a:gd name="connsiteY28" fmla="*/ 2181225 h 4478541"/>
              <a:gd name="connsiteX29" fmla="*/ 4446927 w 4519987"/>
              <a:gd name="connsiteY29" fmla="*/ 2768600 h 4478541"/>
              <a:gd name="connsiteX30" fmla="*/ 4383427 w 4519987"/>
              <a:gd name="connsiteY30" fmla="*/ 2990850 h 4478541"/>
              <a:gd name="connsiteX31" fmla="*/ 4278652 w 4519987"/>
              <a:gd name="connsiteY31" fmla="*/ 3248025 h 4478541"/>
              <a:gd name="connsiteX32" fmla="*/ 4183402 w 4519987"/>
              <a:gd name="connsiteY32" fmla="*/ 3400425 h 4478541"/>
              <a:gd name="connsiteX33" fmla="*/ 4059577 w 4519987"/>
              <a:gd name="connsiteY33" fmla="*/ 3533775 h 4478541"/>
              <a:gd name="connsiteX34" fmla="*/ 3954802 w 4519987"/>
              <a:gd name="connsiteY34" fmla="*/ 3648075 h 4478541"/>
              <a:gd name="connsiteX35" fmla="*/ 3659527 w 4519987"/>
              <a:gd name="connsiteY35" fmla="*/ 3971925 h 4478541"/>
              <a:gd name="connsiteX36" fmla="*/ 3516652 w 4519987"/>
              <a:gd name="connsiteY36" fmla="*/ 4083050 h 4478541"/>
              <a:gd name="connsiteX37" fmla="*/ 3221377 w 4519987"/>
              <a:gd name="connsiteY37" fmla="*/ 4222750 h 4478541"/>
              <a:gd name="connsiteX38" fmla="*/ 3068977 w 4519987"/>
              <a:gd name="connsiteY38" fmla="*/ 4286250 h 4478541"/>
              <a:gd name="connsiteX39" fmla="*/ 2935627 w 4519987"/>
              <a:gd name="connsiteY39" fmla="*/ 4333875 h 4478541"/>
              <a:gd name="connsiteX40" fmla="*/ 2811802 w 4519987"/>
              <a:gd name="connsiteY40" fmla="*/ 4371975 h 4478541"/>
              <a:gd name="connsiteX41" fmla="*/ 2745127 w 4519987"/>
              <a:gd name="connsiteY41" fmla="*/ 4410075 h 4478541"/>
              <a:gd name="connsiteX42" fmla="*/ 2306977 w 4519987"/>
              <a:gd name="connsiteY42" fmla="*/ 4476750 h 4478541"/>
              <a:gd name="connsiteX43" fmla="*/ 2202202 w 4519987"/>
              <a:gd name="connsiteY43" fmla="*/ 4457700 h 4478541"/>
              <a:gd name="connsiteX44" fmla="*/ 2126002 w 4519987"/>
              <a:gd name="connsiteY44" fmla="*/ 4429125 h 4478541"/>
              <a:gd name="connsiteX45" fmla="*/ 1935502 w 4519987"/>
              <a:gd name="connsiteY45" fmla="*/ 4400550 h 4478541"/>
              <a:gd name="connsiteX46" fmla="*/ 1821202 w 4519987"/>
              <a:gd name="connsiteY46" fmla="*/ 4371975 h 4478541"/>
              <a:gd name="connsiteX47" fmla="*/ 1754527 w 4519987"/>
              <a:gd name="connsiteY47" fmla="*/ 4352925 h 4478541"/>
              <a:gd name="connsiteX48" fmla="*/ 1687852 w 4519987"/>
              <a:gd name="connsiteY48" fmla="*/ 4343400 h 4478541"/>
              <a:gd name="connsiteX49" fmla="*/ 1573552 w 4519987"/>
              <a:gd name="connsiteY49" fmla="*/ 4305300 h 4478541"/>
              <a:gd name="connsiteX50" fmla="*/ 1402102 w 4519987"/>
              <a:gd name="connsiteY50" fmla="*/ 4276725 h 4478541"/>
              <a:gd name="connsiteX51" fmla="*/ 1287802 w 4519987"/>
              <a:gd name="connsiteY51" fmla="*/ 4229100 h 4478541"/>
              <a:gd name="connsiteX52" fmla="*/ 1221127 w 4519987"/>
              <a:gd name="connsiteY52" fmla="*/ 4200525 h 4478541"/>
              <a:gd name="connsiteX53" fmla="*/ 1144927 w 4519987"/>
              <a:gd name="connsiteY53" fmla="*/ 4171950 h 4478541"/>
              <a:gd name="connsiteX54" fmla="*/ 1087777 w 4519987"/>
              <a:gd name="connsiteY54" fmla="*/ 4143375 h 4478541"/>
              <a:gd name="connsiteX55" fmla="*/ 1030627 w 4519987"/>
              <a:gd name="connsiteY55" fmla="*/ 4124325 h 4478541"/>
              <a:gd name="connsiteX56" fmla="*/ 925852 w 4519987"/>
              <a:gd name="connsiteY56" fmla="*/ 4067175 h 4478541"/>
              <a:gd name="connsiteX57" fmla="*/ 830602 w 4519987"/>
              <a:gd name="connsiteY57" fmla="*/ 3981450 h 4478541"/>
              <a:gd name="connsiteX58" fmla="*/ 763927 w 4519987"/>
              <a:gd name="connsiteY58" fmla="*/ 3914775 h 4478541"/>
              <a:gd name="connsiteX59" fmla="*/ 725827 w 4519987"/>
              <a:gd name="connsiteY59" fmla="*/ 3876675 h 4478541"/>
              <a:gd name="connsiteX60" fmla="*/ 697252 w 4519987"/>
              <a:gd name="connsiteY60" fmla="*/ 3838575 h 4478541"/>
              <a:gd name="connsiteX61" fmla="*/ 640102 w 4519987"/>
              <a:gd name="connsiteY61" fmla="*/ 3781425 h 4478541"/>
              <a:gd name="connsiteX62" fmla="*/ 611527 w 4519987"/>
              <a:gd name="connsiteY62" fmla="*/ 3733800 h 4478541"/>
              <a:gd name="connsiteX63" fmla="*/ 554377 w 4519987"/>
              <a:gd name="connsiteY63" fmla="*/ 3657600 h 4478541"/>
              <a:gd name="connsiteX64" fmla="*/ 525802 w 4519987"/>
              <a:gd name="connsiteY64" fmla="*/ 3609975 h 4478541"/>
              <a:gd name="connsiteX65" fmla="*/ 497227 w 4519987"/>
              <a:gd name="connsiteY65" fmla="*/ 3552825 h 4478541"/>
              <a:gd name="connsiteX66" fmla="*/ 440077 w 4519987"/>
              <a:gd name="connsiteY66" fmla="*/ 3495675 h 4478541"/>
              <a:gd name="connsiteX67" fmla="*/ 411502 w 4519987"/>
              <a:gd name="connsiteY67" fmla="*/ 3448050 h 4478541"/>
              <a:gd name="connsiteX68" fmla="*/ 278152 w 4519987"/>
              <a:gd name="connsiteY68" fmla="*/ 3257550 h 4478541"/>
              <a:gd name="connsiteX69" fmla="*/ 249577 w 4519987"/>
              <a:gd name="connsiteY69" fmla="*/ 3200400 h 4478541"/>
              <a:gd name="connsiteX70" fmla="*/ 240052 w 4519987"/>
              <a:gd name="connsiteY70" fmla="*/ 3162300 h 4478541"/>
              <a:gd name="connsiteX71" fmla="*/ 221002 w 4519987"/>
              <a:gd name="connsiteY71" fmla="*/ 3105150 h 4478541"/>
              <a:gd name="connsiteX72" fmla="*/ 173377 w 4519987"/>
              <a:gd name="connsiteY72" fmla="*/ 3019425 h 4478541"/>
              <a:gd name="connsiteX73" fmla="*/ 144802 w 4519987"/>
              <a:gd name="connsiteY73" fmla="*/ 2924175 h 4478541"/>
              <a:gd name="connsiteX74" fmla="*/ 68602 w 4519987"/>
              <a:gd name="connsiteY74" fmla="*/ 2724150 h 4478541"/>
              <a:gd name="connsiteX75" fmla="*/ 49552 w 4519987"/>
              <a:gd name="connsiteY75" fmla="*/ 2638425 h 4478541"/>
              <a:gd name="connsiteX76" fmla="*/ 40027 w 4519987"/>
              <a:gd name="connsiteY76" fmla="*/ 2562225 h 4478541"/>
              <a:gd name="connsiteX77" fmla="*/ 30502 w 4519987"/>
              <a:gd name="connsiteY77" fmla="*/ 2514600 h 4478541"/>
              <a:gd name="connsiteX78" fmla="*/ 11452 w 4519987"/>
              <a:gd name="connsiteY78" fmla="*/ 2400300 h 4478541"/>
              <a:gd name="connsiteX79" fmla="*/ 20977 w 4519987"/>
              <a:gd name="connsiteY79" fmla="*/ 1905000 h 4478541"/>
              <a:gd name="connsiteX80" fmla="*/ 30502 w 4519987"/>
              <a:gd name="connsiteY80" fmla="*/ 1838325 h 4478541"/>
              <a:gd name="connsiteX81" fmla="*/ 49552 w 4519987"/>
              <a:gd name="connsiteY81" fmla="*/ 1781175 h 4478541"/>
              <a:gd name="connsiteX82" fmla="*/ 59077 w 4519987"/>
              <a:gd name="connsiteY82" fmla="*/ 1743075 h 4478541"/>
              <a:gd name="connsiteX83" fmla="*/ 78127 w 4519987"/>
              <a:gd name="connsiteY83" fmla="*/ 1685925 h 4478541"/>
              <a:gd name="connsiteX84" fmla="*/ 87652 w 4519987"/>
              <a:gd name="connsiteY84" fmla="*/ 1638300 h 4478541"/>
              <a:gd name="connsiteX85" fmla="*/ 106702 w 4519987"/>
              <a:gd name="connsiteY85" fmla="*/ 1590675 h 4478541"/>
              <a:gd name="connsiteX86" fmla="*/ 135277 w 4519987"/>
              <a:gd name="connsiteY86" fmla="*/ 1504950 h 4478541"/>
              <a:gd name="connsiteX87" fmla="*/ 154327 w 4519987"/>
              <a:gd name="connsiteY87" fmla="*/ 1419225 h 4478541"/>
              <a:gd name="connsiteX88" fmla="*/ 230527 w 4519987"/>
              <a:gd name="connsiteY88" fmla="*/ 1276350 h 4478541"/>
              <a:gd name="connsiteX89" fmla="*/ 240052 w 4519987"/>
              <a:gd name="connsiteY89" fmla="*/ 1247775 h 4478541"/>
              <a:gd name="connsiteX90" fmla="*/ 268627 w 4519987"/>
              <a:gd name="connsiteY90" fmla="*/ 1200150 h 4478541"/>
              <a:gd name="connsiteX91" fmla="*/ 287677 w 4519987"/>
              <a:gd name="connsiteY91" fmla="*/ 1152525 h 4478541"/>
              <a:gd name="connsiteX92" fmla="*/ 316252 w 4519987"/>
              <a:gd name="connsiteY92" fmla="*/ 1114425 h 4478541"/>
              <a:gd name="connsiteX93" fmla="*/ 363877 w 4519987"/>
              <a:gd name="connsiteY93" fmla="*/ 1038225 h 4478541"/>
              <a:gd name="connsiteX94" fmla="*/ 382927 w 4519987"/>
              <a:gd name="connsiteY94" fmla="*/ 1009650 h 4478541"/>
              <a:gd name="connsiteX95" fmla="*/ 440077 w 4519987"/>
              <a:gd name="connsiteY95" fmla="*/ 904875 h 4478541"/>
              <a:gd name="connsiteX96" fmla="*/ 478177 w 4519987"/>
              <a:gd name="connsiteY96" fmla="*/ 857250 h 4478541"/>
              <a:gd name="connsiteX97" fmla="*/ 497227 w 4519987"/>
              <a:gd name="connsiteY97" fmla="*/ 828675 h 4478541"/>
              <a:gd name="connsiteX98" fmla="*/ 535327 w 4519987"/>
              <a:gd name="connsiteY98" fmla="*/ 800100 h 4478541"/>
              <a:gd name="connsiteX99" fmla="*/ 602002 w 4519987"/>
              <a:gd name="connsiteY99" fmla="*/ 733425 h 4478541"/>
              <a:gd name="connsiteX100" fmla="*/ 668677 w 4519987"/>
              <a:gd name="connsiteY100" fmla="*/ 676275 h 4478541"/>
              <a:gd name="connsiteX101" fmla="*/ 697252 w 4519987"/>
              <a:gd name="connsiteY101" fmla="*/ 657225 h 4478541"/>
              <a:gd name="connsiteX102" fmla="*/ 840127 w 4519987"/>
              <a:gd name="connsiteY102" fmla="*/ 533400 h 4478541"/>
              <a:gd name="connsiteX103" fmla="*/ 887752 w 4519987"/>
              <a:gd name="connsiteY103" fmla="*/ 504825 h 4478541"/>
              <a:gd name="connsiteX104" fmla="*/ 1167152 w 4519987"/>
              <a:gd name="connsiteY104" fmla="*/ 311150 h 4478541"/>
              <a:gd name="connsiteX105" fmla="*/ 1268752 w 4519987"/>
              <a:gd name="connsiteY105" fmla="*/ 285750 h 4478541"/>
              <a:gd name="connsiteX106" fmla="*/ 1411627 w 4519987"/>
              <a:gd name="connsiteY106" fmla="*/ 190500 h 4478541"/>
              <a:gd name="connsiteX107" fmla="*/ 1449727 w 4519987"/>
              <a:gd name="connsiteY107" fmla="*/ 161925 h 4478541"/>
              <a:gd name="connsiteX108" fmla="*/ 1525927 w 4519987"/>
              <a:gd name="connsiteY108" fmla="*/ 152400 h 4478541"/>
              <a:gd name="connsiteX109" fmla="*/ 1583077 w 4519987"/>
              <a:gd name="connsiteY109" fmla="*/ 142875 h 4478541"/>
              <a:gd name="connsiteX110" fmla="*/ 1716427 w 4519987"/>
              <a:gd name="connsiteY110" fmla="*/ 123825 h 4478541"/>
              <a:gd name="connsiteX111" fmla="*/ 1811677 w 4519987"/>
              <a:gd name="connsiteY111" fmla="*/ 114300 h 4478541"/>
              <a:gd name="connsiteX112" fmla="*/ 1859302 w 4519987"/>
              <a:gd name="connsiteY112" fmla="*/ 104775 h 4478541"/>
              <a:gd name="connsiteX113" fmla="*/ 1916452 w 4519987"/>
              <a:gd name="connsiteY113" fmla="*/ 95250 h 4478541"/>
              <a:gd name="connsiteX114" fmla="*/ 2030752 w 4519987"/>
              <a:gd name="connsiteY114" fmla="*/ 66675 h 4478541"/>
              <a:gd name="connsiteX115" fmla="*/ 2097427 w 4519987"/>
              <a:gd name="connsiteY115" fmla="*/ 47625 h 4478541"/>
              <a:gd name="connsiteX116" fmla="*/ 2164102 w 4519987"/>
              <a:gd name="connsiteY116" fmla="*/ 38100 h 4478541"/>
              <a:gd name="connsiteX117" fmla="*/ 2392702 w 4519987"/>
              <a:gd name="connsiteY117" fmla="*/ 28575 h 4478541"/>
              <a:gd name="connsiteX0" fmla="*/ 2297452 w 4519987"/>
              <a:gd name="connsiteY0" fmla="*/ 0 h 4476750"/>
              <a:gd name="connsiteX1" fmla="*/ 2421277 w 4519987"/>
              <a:gd name="connsiteY1" fmla="*/ 28575 h 4476750"/>
              <a:gd name="connsiteX2" fmla="*/ 2497477 w 4519987"/>
              <a:gd name="connsiteY2" fmla="*/ 47625 h 4476750"/>
              <a:gd name="connsiteX3" fmla="*/ 2754652 w 4519987"/>
              <a:gd name="connsiteY3" fmla="*/ 66675 h 4476750"/>
              <a:gd name="connsiteX4" fmla="*/ 2830852 w 4519987"/>
              <a:gd name="connsiteY4" fmla="*/ 76200 h 4476750"/>
              <a:gd name="connsiteX5" fmla="*/ 2916577 w 4519987"/>
              <a:gd name="connsiteY5" fmla="*/ 85725 h 4476750"/>
              <a:gd name="connsiteX6" fmla="*/ 2973727 w 4519987"/>
              <a:gd name="connsiteY6" fmla="*/ 114300 h 4476750"/>
              <a:gd name="connsiteX7" fmla="*/ 3011827 w 4519987"/>
              <a:gd name="connsiteY7" fmla="*/ 123825 h 4476750"/>
              <a:gd name="connsiteX8" fmla="*/ 3135652 w 4519987"/>
              <a:gd name="connsiteY8" fmla="*/ 171450 h 4476750"/>
              <a:gd name="connsiteX9" fmla="*/ 3173752 w 4519987"/>
              <a:gd name="connsiteY9" fmla="*/ 190500 h 4476750"/>
              <a:gd name="connsiteX10" fmla="*/ 3240427 w 4519987"/>
              <a:gd name="connsiteY10" fmla="*/ 228600 h 4476750"/>
              <a:gd name="connsiteX11" fmla="*/ 3269002 w 4519987"/>
              <a:gd name="connsiteY11" fmla="*/ 238125 h 4476750"/>
              <a:gd name="connsiteX12" fmla="*/ 3297577 w 4519987"/>
              <a:gd name="connsiteY12" fmla="*/ 257175 h 4476750"/>
              <a:gd name="connsiteX13" fmla="*/ 3326152 w 4519987"/>
              <a:gd name="connsiteY13" fmla="*/ 266700 h 4476750"/>
              <a:gd name="connsiteX14" fmla="*/ 3354727 w 4519987"/>
              <a:gd name="connsiteY14" fmla="*/ 285750 h 4476750"/>
              <a:gd name="connsiteX15" fmla="*/ 3421402 w 4519987"/>
              <a:gd name="connsiteY15" fmla="*/ 323850 h 4476750"/>
              <a:gd name="connsiteX16" fmla="*/ 3469027 w 4519987"/>
              <a:gd name="connsiteY16" fmla="*/ 361950 h 4476750"/>
              <a:gd name="connsiteX17" fmla="*/ 3516652 w 4519987"/>
              <a:gd name="connsiteY17" fmla="*/ 390525 h 4476750"/>
              <a:gd name="connsiteX18" fmla="*/ 3630952 w 4519987"/>
              <a:gd name="connsiteY18" fmla="*/ 485775 h 4476750"/>
              <a:gd name="connsiteX19" fmla="*/ 3745252 w 4519987"/>
              <a:gd name="connsiteY19" fmla="*/ 542925 h 4476750"/>
              <a:gd name="connsiteX20" fmla="*/ 3811927 w 4519987"/>
              <a:gd name="connsiteY20" fmla="*/ 581025 h 4476750"/>
              <a:gd name="connsiteX21" fmla="*/ 4027827 w 4519987"/>
              <a:gd name="connsiteY21" fmla="*/ 819150 h 4476750"/>
              <a:gd name="connsiteX22" fmla="*/ 4164352 w 4519987"/>
              <a:gd name="connsiteY22" fmla="*/ 990600 h 4476750"/>
              <a:gd name="connsiteX23" fmla="*/ 4250077 w 4519987"/>
              <a:gd name="connsiteY23" fmla="*/ 1143000 h 4476750"/>
              <a:gd name="connsiteX24" fmla="*/ 4307227 w 4519987"/>
              <a:gd name="connsiteY24" fmla="*/ 1266825 h 4476750"/>
              <a:gd name="connsiteX25" fmla="*/ 4345327 w 4519987"/>
              <a:gd name="connsiteY25" fmla="*/ 1362075 h 4476750"/>
              <a:gd name="connsiteX26" fmla="*/ 4392952 w 4519987"/>
              <a:gd name="connsiteY26" fmla="*/ 1552575 h 4476750"/>
              <a:gd name="connsiteX27" fmla="*/ 4431052 w 4519987"/>
              <a:gd name="connsiteY27" fmla="*/ 1685925 h 4476750"/>
              <a:gd name="connsiteX28" fmla="*/ 4519952 w 4519987"/>
              <a:gd name="connsiteY28" fmla="*/ 2181225 h 4476750"/>
              <a:gd name="connsiteX29" fmla="*/ 4446927 w 4519987"/>
              <a:gd name="connsiteY29" fmla="*/ 2768600 h 4476750"/>
              <a:gd name="connsiteX30" fmla="*/ 4383427 w 4519987"/>
              <a:gd name="connsiteY30" fmla="*/ 2990850 h 4476750"/>
              <a:gd name="connsiteX31" fmla="*/ 4278652 w 4519987"/>
              <a:gd name="connsiteY31" fmla="*/ 3248025 h 4476750"/>
              <a:gd name="connsiteX32" fmla="*/ 4183402 w 4519987"/>
              <a:gd name="connsiteY32" fmla="*/ 3400425 h 4476750"/>
              <a:gd name="connsiteX33" fmla="*/ 4059577 w 4519987"/>
              <a:gd name="connsiteY33" fmla="*/ 3533775 h 4476750"/>
              <a:gd name="connsiteX34" fmla="*/ 3954802 w 4519987"/>
              <a:gd name="connsiteY34" fmla="*/ 3648075 h 4476750"/>
              <a:gd name="connsiteX35" fmla="*/ 3659527 w 4519987"/>
              <a:gd name="connsiteY35" fmla="*/ 3971925 h 4476750"/>
              <a:gd name="connsiteX36" fmla="*/ 3516652 w 4519987"/>
              <a:gd name="connsiteY36" fmla="*/ 4083050 h 4476750"/>
              <a:gd name="connsiteX37" fmla="*/ 3221377 w 4519987"/>
              <a:gd name="connsiteY37" fmla="*/ 4222750 h 4476750"/>
              <a:gd name="connsiteX38" fmla="*/ 3068977 w 4519987"/>
              <a:gd name="connsiteY38" fmla="*/ 4286250 h 4476750"/>
              <a:gd name="connsiteX39" fmla="*/ 2935627 w 4519987"/>
              <a:gd name="connsiteY39" fmla="*/ 4333875 h 4476750"/>
              <a:gd name="connsiteX40" fmla="*/ 2811802 w 4519987"/>
              <a:gd name="connsiteY40" fmla="*/ 4371975 h 4476750"/>
              <a:gd name="connsiteX41" fmla="*/ 2580027 w 4519987"/>
              <a:gd name="connsiteY41" fmla="*/ 4391025 h 4476750"/>
              <a:gd name="connsiteX42" fmla="*/ 2306977 w 4519987"/>
              <a:gd name="connsiteY42" fmla="*/ 4476750 h 4476750"/>
              <a:gd name="connsiteX43" fmla="*/ 2202202 w 4519987"/>
              <a:gd name="connsiteY43" fmla="*/ 4457700 h 4476750"/>
              <a:gd name="connsiteX44" fmla="*/ 2126002 w 4519987"/>
              <a:gd name="connsiteY44" fmla="*/ 4429125 h 4476750"/>
              <a:gd name="connsiteX45" fmla="*/ 1935502 w 4519987"/>
              <a:gd name="connsiteY45" fmla="*/ 4400550 h 4476750"/>
              <a:gd name="connsiteX46" fmla="*/ 1821202 w 4519987"/>
              <a:gd name="connsiteY46" fmla="*/ 4371975 h 4476750"/>
              <a:gd name="connsiteX47" fmla="*/ 1754527 w 4519987"/>
              <a:gd name="connsiteY47" fmla="*/ 4352925 h 4476750"/>
              <a:gd name="connsiteX48" fmla="*/ 1687852 w 4519987"/>
              <a:gd name="connsiteY48" fmla="*/ 4343400 h 4476750"/>
              <a:gd name="connsiteX49" fmla="*/ 1573552 w 4519987"/>
              <a:gd name="connsiteY49" fmla="*/ 4305300 h 4476750"/>
              <a:gd name="connsiteX50" fmla="*/ 1402102 w 4519987"/>
              <a:gd name="connsiteY50" fmla="*/ 4276725 h 4476750"/>
              <a:gd name="connsiteX51" fmla="*/ 1287802 w 4519987"/>
              <a:gd name="connsiteY51" fmla="*/ 4229100 h 4476750"/>
              <a:gd name="connsiteX52" fmla="*/ 1221127 w 4519987"/>
              <a:gd name="connsiteY52" fmla="*/ 4200525 h 4476750"/>
              <a:gd name="connsiteX53" fmla="*/ 1144927 w 4519987"/>
              <a:gd name="connsiteY53" fmla="*/ 4171950 h 4476750"/>
              <a:gd name="connsiteX54" fmla="*/ 1087777 w 4519987"/>
              <a:gd name="connsiteY54" fmla="*/ 4143375 h 4476750"/>
              <a:gd name="connsiteX55" fmla="*/ 1030627 w 4519987"/>
              <a:gd name="connsiteY55" fmla="*/ 4124325 h 4476750"/>
              <a:gd name="connsiteX56" fmla="*/ 925852 w 4519987"/>
              <a:gd name="connsiteY56" fmla="*/ 4067175 h 4476750"/>
              <a:gd name="connsiteX57" fmla="*/ 830602 w 4519987"/>
              <a:gd name="connsiteY57" fmla="*/ 3981450 h 4476750"/>
              <a:gd name="connsiteX58" fmla="*/ 763927 w 4519987"/>
              <a:gd name="connsiteY58" fmla="*/ 3914775 h 4476750"/>
              <a:gd name="connsiteX59" fmla="*/ 725827 w 4519987"/>
              <a:gd name="connsiteY59" fmla="*/ 3876675 h 4476750"/>
              <a:gd name="connsiteX60" fmla="*/ 697252 w 4519987"/>
              <a:gd name="connsiteY60" fmla="*/ 3838575 h 4476750"/>
              <a:gd name="connsiteX61" fmla="*/ 640102 w 4519987"/>
              <a:gd name="connsiteY61" fmla="*/ 3781425 h 4476750"/>
              <a:gd name="connsiteX62" fmla="*/ 611527 w 4519987"/>
              <a:gd name="connsiteY62" fmla="*/ 3733800 h 4476750"/>
              <a:gd name="connsiteX63" fmla="*/ 554377 w 4519987"/>
              <a:gd name="connsiteY63" fmla="*/ 3657600 h 4476750"/>
              <a:gd name="connsiteX64" fmla="*/ 525802 w 4519987"/>
              <a:gd name="connsiteY64" fmla="*/ 3609975 h 4476750"/>
              <a:gd name="connsiteX65" fmla="*/ 497227 w 4519987"/>
              <a:gd name="connsiteY65" fmla="*/ 3552825 h 4476750"/>
              <a:gd name="connsiteX66" fmla="*/ 440077 w 4519987"/>
              <a:gd name="connsiteY66" fmla="*/ 3495675 h 4476750"/>
              <a:gd name="connsiteX67" fmla="*/ 411502 w 4519987"/>
              <a:gd name="connsiteY67" fmla="*/ 3448050 h 4476750"/>
              <a:gd name="connsiteX68" fmla="*/ 278152 w 4519987"/>
              <a:gd name="connsiteY68" fmla="*/ 3257550 h 4476750"/>
              <a:gd name="connsiteX69" fmla="*/ 249577 w 4519987"/>
              <a:gd name="connsiteY69" fmla="*/ 3200400 h 4476750"/>
              <a:gd name="connsiteX70" fmla="*/ 240052 w 4519987"/>
              <a:gd name="connsiteY70" fmla="*/ 3162300 h 4476750"/>
              <a:gd name="connsiteX71" fmla="*/ 221002 w 4519987"/>
              <a:gd name="connsiteY71" fmla="*/ 3105150 h 4476750"/>
              <a:gd name="connsiteX72" fmla="*/ 173377 w 4519987"/>
              <a:gd name="connsiteY72" fmla="*/ 3019425 h 4476750"/>
              <a:gd name="connsiteX73" fmla="*/ 144802 w 4519987"/>
              <a:gd name="connsiteY73" fmla="*/ 2924175 h 4476750"/>
              <a:gd name="connsiteX74" fmla="*/ 68602 w 4519987"/>
              <a:gd name="connsiteY74" fmla="*/ 2724150 h 4476750"/>
              <a:gd name="connsiteX75" fmla="*/ 49552 w 4519987"/>
              <a:gd name="connsiteY75" fmla="*/ 2638425 h 4476750"/>
              <a:gd name="connsiteX76" fmla="*/ 40027 w 4519987"/>
              <a:gd name="connsiteY76" fmla="*/ 2562225 h 4476750"/>
              <a:gd name="connsiteX77" fmla="*/ 30502 w 4519987"/>
              <a:gd name="connsiteY77" fmla="*/ 2514600 h 4476750"/>
              <a:gd name="connsiteX78" fmla="*/ 11452 w 4519987"/>
              <a:gd name="connsiteY78" fmla="*/ 2400300 h 4476750"/>
              <a:gd name="connsiteX79" fmla="*/ 20977 w 4519987"/>
              <a:gd name="connsiteY79" fmla="*/ 1905000 h 4476750"/>
              <a:gd name="connsiteX80" fmla="*/ 30502 w 4519987"/>
              <a:gd name="connsiteY80" fmla="*/ 1838325 h 4476750"/>
              <a:gd name="connsiteX81" fmla="*/ 49552 w 4519987"/>
              <a:gd name="connsiteY81" fmla="*/ 1781175 h 4476750"/>
              <a:gd name="connsiteX82" fmla="*/ 59077 w 4519987"/>
              <a:gd name="connsiteY82" fmla="*/ 1743075 h 4476750"/>
              <a:gd name="connsiteX83" fmla="*/ 78127 w 4519987"/>
              <a:gd name="connsiteY83" fmla="*/ 1685925 h 4476750"/>
              <a:gd name="connsiteX84" fmla="*/ 87652 w 4519987"/>
              <a:gd name="connsiteY84" fmla="*/ 1638300 h 4476750"/>
              <a:gd name="connsiteX85" fmla="*/ 106702 w 4519987"/>
              <a:gd name="connsiteY85" fmla="*/ 1590675 h 4476750"/>
              <a:gd name="connsiteX86" fmla="*/ 135277 w 4519987"/>
              <a:gd name="connsiteY86" fmla="*/ 1504950 h 4476750"/>
              <a:gd name="connsiteX87" fmla="*/ 154327 w 4519987"/>
              <a:gd name="connsiteY87" fmla="*/ 1419225 h 4476750"/>
              <a:gd name="connsiteX88" fmla="*/ 230527 w 4519987"/>
              <a:gd name="connsiteY88" fmla="*/ 1276350 h 4476750"/>
              <a:gd name="connsiteX89" fmla="*/ 240052 w 4519987"/>
              <a:gd name="connsiteY89" fmla="*/ 1247775 h 4476750"/>
              <a:gd name="connsiteX90" fmla="*/ 268627 w 4519987"/>
              <a:gd name="connsiteY90" fmla="*/ 1200150 h 4476750"/>
              <a:gd name="connsiteX91" fmla="*/ 287677 w 4519987"/>
              <a:gd name="connsiteY91" fmla="*/ 1152525 h 4476750"/>
              <a:gd name="connsiteX92" fmla="*/ 316252 w 4519987"/>
              <a:gd name="connsiteY92" fmla="*/ 1114425 h 4476750"/>
              <a:gd name="connsiteX93" fmla="*/ 363877 w 4519987"/>
              <a:gd name="connsiteY93" fmla="*/ 1038225 h 4476750"/>
              <a:gd name="connsiteX94" fmla="*/ 382927 w 4519987"/>
              <a:gd name="connsiteY94" fmla="*/ 1009650 h 4476750"/>
              <a:gd name="connsiteX95" fmla="*/ 440077 w 4519987"/>
              <a:gd name="connsiteY95" fmla="*/ 904875 h 4476750"/>
              <a:gd name="connsiteX96" fmla="*/ 478177 w 4519987"/>
              <a:gd name="connsiteY96" fmla="*/ 857250 h 4476750"/>
              <a:gd name="connsiteX97" fmla="*/ 497227 w 4519987"/>
              <a:gd name="connsiteY97" fmla="*/ 828675 h 4476750"/>
              <a:gd name="connsiteX98" fmla="*/ 535327 w 4519987"/>
              <a:gd name="connsiteY98" fmla="*/ 800100 h 4476750"/>
              <a:gd name="connsiteX99" fmla="*/ 602002 w 4519987"/>
              <a:gd name="connsiteY99" fmla="*/ 733425 h 4476750"/>
              <a:gd name="connsiteX100" fmla="*/ 668677 w 4519987"/>
              <a:gd name="connsiteY100" fmla="*/ 676275 h 4476750"/>
              <a:gd name="connsiteX101" fmla="*/ 697252 w 4519987"/>
              <a:gd name="connsiteY101" fmla="*/ 657225 h 4476750"/>
              <a:gd name="connsiteX102" fmla="*/ 840127 w 4519987"/>
              <a:gd name="connsiteY102" fmla="*/ 533400 h 4476750"/>
              <a:gd name="connsiteX103" fmla="*/ 887752 w 4519987"/>
              <a:gd name="connsiteY103" fmla="*/ 504825 h 4476750"/>
              <a:gd name="connsiteX104" fmla="*/ 1167152 w 4519987"/>
              <a:gd name="connsiteY104" fmla="*/ 311150 h 4476750"/>
              <a:gd name="connsiteX105" fmla="*/ 1268752 w 4519987"/>
              <a:gd name="connsiteY105" fmla="*/ 285750 h 4476750"/>
              <a:gd name="connsiteX106" fmla="*/ 1411627 w 4519987"/>
              <a:gd name="connsiteY106" fmla="*/ 190500 h 4476750"/>
              <a:gd name="connsiteX107" fmla="*/ 1449727 w 4519987"/>
              <a:gd name="connsiteY107" fmla="*/ 161925 h 4476750"/>
              <a:gd name="connsiteX108" fmla="*/ 1525927 w 4519987"/>
              <a:gd name="connsiteY108" fmla="*/ 152400 h 4476750"/>
              <a:gd name="connsiteX109" fmla="*/ 1583077 w 4519987"/>
              <a:gd name="connsiteY109" fmla="*/ 142875 h 4476750"/>
              <a:gd name="connsiteX110" fmla="*/ 1716427 w 4519987"/>
              <a:gd name="connsiteY110" fmla="*/ 123825 h 4476750"/>
              <a:gd name="connsiteX111" fmla="*/ 1811677 w 4519987"/>
              <a:gd name="connsiteY111" fmla="*/ 114300 h 4476750"/>
              <a:gd name="connsiteX112" fmla="*/ 1859302 w 4519987"/>
              <a:gd name="connsiteY112" fmla="*/ 104775 h 4476750"/>
              <a:gd name="connsiteX113" fmla="*/ 1916452 w 4519987"/>
              <a:gd name="connsiteY113" fmla="*/ 95250 h 4476750"/>
              <a:gd name="connsiteX114" fmla="*/ 2030752 w 4519987"/>
              <a:gd name="connsiteY114" fmla="*/ 66675 h 4476750"/>
              <a:gd name="connsiteX115" fmla="*/ 2097427 w 4519987"/>
              <a:gd name="connsiteY115" fmla="*/ 47625 h 4476750"/>
              <a:gd name="connsiteX116" fmla="*/ 2164102 w 4519987"/>
              <a:gd name="connsiteY116" fmla="*/ 38100 h 4476750"/>
              <a:gd name="connsiteX117" fmla="*/ 2392702 w 4519987"/>
              <a:gd name="connsiteY117" fmla="*/ 28575 h 4476750"/>
              <a:gd name="connsiteX0" fmla="*/ 2297452 w 4519987"/>
              <a:gd name="connsiteY0" fmla="*/ 0 h 4457700"/>
              <a:gd name="connsiteX1" fmla="*/ 2421277 w 4519987"/>
              <a:gd name="connsiteY1" fmla="*/ 28575 h 4457700"/>
              <a:gd name="connsiteX2" fmla="*/ 2497477 w 4519987"/>
              <a:gd name="connsiteY2" fmla="*/ 47625 h 4457700"/>
              <a:gd name="connsiteX3" fmla="*/ 2754652 w 4519987"/>
              <a:gd name="connsiteY3" fmla="*/ 66675 h 4457700"/>
              <a:gd name="connsiteX4" fmla="*/ 2830852 w 4519987"/>
              <a:gd name="connsiteY4" fmla="*/ 76200 h 4457700"/>
              <a:gd name="connsiteX5" fmla="*/ 2916577 w 4519987"/>
              <a:gd name="connsiteY5" fmla="*/ 85725 h 4457700"/>
              <a:gd name="connsiteX6" fmla="*/ 2973727 w 4519987"/>
              <a:gd name="connsiteY6" fmla="*/ 114300 h 4457700"/>
              <a:gd name="connsiteX7" fmla="*/ 3011827 w 4519987"/>
              <a:gd name="connsiteY7" fmla="*/ 123825 h 4457700"/>
              <a:gd name="connsiteX8" fmla="*/ 3135652 w 4519987"/>
              <a:gd name="connsiteY8" fmla="*/ 171450 h 4457700"/>
              <a:gd name="connsiteX9" fmla="*/ 3173752 w 4519987"/>
              <a:gd name="connsiteY9" fmla="*/ 190500 h 4457700"/>
              <a:gd name="connsiteX10" fmla="*/ 3240427 w 4519987"/>
              <a:gd name="connsiteY10" fmla="*/ 228600 h 4457700"/>
              <a:gd name="connsiteX11" fmla="*/ 3269002 w 4519987"/>
              <a:gd name="connsiteY11" fmla="*/ 238125 h 4457700"/>
              <a:gd name="connsiteX12" fmla="*/ 3297577 w 4519987"/>
              <a:gd name="connsiteY12" fmla="*/ 257175 h 4457700"/>
              <a:gd name="connsiteX13" fmla="*/ 3326152 w 4519987"/>
              <a:gd name="connsiteY13" fmla="*/ 266700 h 4457700"/>
              <a:gd name="connsiteX14" fmla="*/ 3354727 w 4519987"/>
              <a:gd name="connsiteY14" fmla="*/ 285750 h 4457700"/>
              <a:gd name="connsiteX15" fmla="*/ 3421402 w 4519987"/>
              <a:gd name="connsiteY15" fmla="*/ 323850 h 4457700"/>
              <a:gd name="connsiteX16" fmla="*/ 3469027 w 4519987"/>
              <a:gd name="connsiteY16" fmla="*/ 361950 h 4457700"/>
              <a:gd name="connsiteX17" fmla="*/ 3516652 w 4519987"/>
              <a:gd name="connsiteY17" fmla="*/ 390525 h 4457700"/>
              <a:gd name="connsiteX18" fmla="*/ 3630952 w 4519987"/>
              <a:gd name="connsiteY18" fmla="*/ 485775 h 4457700"/>
              <a:gd name="connsiteX19" fmla="*/ 3745252 w 4519987"/>
              <a:gd name="connsiteY19" fmla="*/ 542925 h 4457700"/>
              <a:gd name="connsiteX20" fmla="*/ 3811927 w 4519987"/>
              <a:gd name="connsiteY20" fmla="*/ 581025 h 4457700"/>
              <a:gd name="connsiteX21" fmla="*/ 4027827 w 4519987"/>
              <a:gd name="connsiteY21" fmla="*/ 819150 h 4457700"/>
              <a:gd name="connsiteX22" fmla="*/ 4164352 w 4519987"/>
              <a:gd name="connsiteY22" fmla="*/ 990600 h 4457700"/>
              <a:gd name="connsiteX23" fmla="*/ 4250077 w 4519987"/>
              <a:gd name="connsiteY23" fmla="*/ 1143000 h 4457700"/>
              <a:gd name="connsiteX24" fmla="*/ 4307227 w 4519987"/>
              <a:gd name="connsiteY24" fmla="*/ 1266825 h 4457700"/>
              <a:gd name="connsiteX25" fmla="*/ 4345327 w 4519987"/>
              <a:gd name="connsiteY25" fmla="*/ 1362075 h 4457700"/>
              <a:gd name="connsiteX26" fmla="*/ 4392952 w 4519987"/>
              <a:gd name="connsiteY26" fmla="*/ 1552575 h 4457700"/>
              <a:gd name="connsiteX27" fmla="*/ 4431052 w 4519987"/>
              <a:gd name="connsiteY27" fmla="*/ 1685925 h 4457700"/>
              <a:gd name="connsiteX28" fmla="*/ 4519952 w 4519987"/>
              <a:gd name="connsiteY28" fmla="*/ 2181225 h 4457700"/>
              <a:gd name="connsiteX29" fmla="*/ 4446927 w 4519987"/>
              <a:gd name="connsiteY29" fmla="*/ 2768600 h 4457700"/>
              <a:gd name="connsiteX30" fmla="*/ 4383427 w 4519987"/>
              <a:gd name="connsiteY30" fmla="*/ 2990850 h 4457700"/>
              <a:gd name="connsiteX31" fmla="*/ 4278652 w 4519987"/>
              <a:gd name="connsiteY31" fmla="*/ 3248025 h 4457700"/>
              <a:gd name="connsiteX32" fmla="*/ 4183402 w 4519987"/>
              <a:gd name="connsiteY32" fmla="*/ 3400425 h 4457700"/>
              <a:gd name="connsiteX33" fmla="*/ 4059577 w 4519987"/>
              <a:gd name="connsiteY33" fmla="*/ 3533775 h 4457700"/>
              <a:gd name="connsiteX34" fmla="*/ 3954802 w 4519987"/>
              <a:gd name="connsiteY34" fmla="*/ 3648075 h 4457700"/>
              <a:gd name="connsiteX35" fmla="*/ 3659527 w 4519987"/>
              <a:gd name="connsiteY35" fmla="*/ 3971925 h 4457700"/>
              <a:gd name="connsiteX36" fmla="*/ 3516652 w 4519987"/>
              <a:gd name="connsiteY36" fmla="*/ 4083050 h 4457700"/>
              <a:gd name="connsiteX37" fmla="*/ 3221377 w 4519987"/>
              <a:gd name="connsiteY37" fmla="*/ 4222750 h 4457700"/>
              <a:gd name="connsiteX38" fmla="*/ 3068977 w 4519987"/>
              <a:gd name="connsiteY38" fmla="*/ 4286250 h 4457700"/>
              <a:gd name="connsiteX39" fmla="*/ 2935627 w 4519987"/>
              <a:gd name="connsiteY39" fmla="*/ 4333875 h 4457700"/>
              <a:gd name="connsiteX40" fmla="*/ 2811802 w 4519987"/>
              <a:gd name="connsiteY40" fmla="*/ 4371975 h 4457700"/>
              <a:gd name="connsiteX41" fmla="*/ 2580027 w 4519987"/>
              <a:gd name="connsiteY41" fmla="*/ 4391025 h 4457700"/>
              <a:gd name="connsiteX42" fmla="*/ 2202202 w 4519987"/>
              <a:gd name="connsiteY42" fmla="*/ 4457700 h 4457700"/>
              <a:gd name="connsiteX43" fmla="*/ 2126002 w 4519987"/>
              <a:gd name="connsiteY43" fmla="*/ 4429125 h 4457700"/>
              <a:gd name="connsiteX44" fmla="*/ 1935502 w 4519987"/>
              <a:gd name="connsiteY44" fmla="*/ 4400550 h 4457700"/>
              <a:gd name="connsiteX45" fmla="*/ 1821202 w 4519987"/>
              <a:gd name="connsiteY45" fmla="*/ 4371975 h 4457700"/>
              <a:gd name="connsiteX46" fmla="*/ 1754527 w 4519987"/>
              <a:gd name="connsiteY46" fmla="*/ 4352925 h 4457700"/>
              <a:gd name="connsiteX47" fmla="*/ 1687852 w 4519987"/>
              <a:gd name="connsiteY47" fmla="*/ 4343400 h 4457700"/>
              <a:gd name="connsiteX48" fmla="*/ 1573552 w 4519987"/>
              <a:gd name="connsiteY48" fmla="*/ 4305300 h 4457700"/>
              <a:gd name="connsiteX49" fmla="*/ 1402102 w 4519987"/>
              <a:gd name="connsiteY49" fmla="*/ 4276725 h 4457700"/>
              <a:gd name="connsiteX50" fmla="*/ 1287802 w 4519987"/>
              <a:gd name="connsiteY50" fmla="*/ 4229100 h 4457700"/>
              <a:gd name="connsiteX51" fmla="*/ 1221127 w 4519987"/>
              <a:gd name="connsiteY51" fmla="*/ 4200525 h 4457700"/>
              <a:gd name="connsiteX52" fmla="*/ 1144927 w 4519987"/>
              <a:gd name="connsiteY52" fmla="*/ 4171950 h 4457700"/>
              <a:gd name="connsiteX53" fmla="*/ 1087777 w 4519987"/>
              <a:gd name="connsiteY53" fmla="*/ 4143375 h 4457700"/>
              <a:gd name="connsiteX54" fmla="*/ 1030627 w 4519987"/>
              <a:gd name="connsiteY54" fmla="*/ 4124325 h 4457700"/>
              <a:gd name="connsiteX55" fmla="*/ 925852 w 4519987"/>
              <a:gd name="connsiteY55" fmla="*/ 4067175 h 4457700"/>
              <a:gd name="connsiteX56" fmla="*/ 830602 w 4519987"/>
              <a:gd name="connsiteY56" fmla="*/ 3981450 h 4457700"/>
              <a:gd name="connsiteX57" fmla="*/ 763927 w 4519987"/>
              <a:gd name="connsiteY57" fmla="*/ 3914775 h 4457700"/>
              <a:gd name="connsiteX58" fmla="*/ 725827 w 4519987"/>
              <a:gd name="connsiteY58" fmla="*/ 3876675 h 4457700"/>
              <a:gd name="connsiteX59" fmla="*/ 697252 w 4519987"/>
              <a:gd name="connsiteY59" fmla="*/ 3838575 h 4457700"/>
              <a:gd name="connsiteX60" fmla="*/ 640102 w 4519987"/>
              <a:gd name="connsiteY60" fmla="*/ 3781425 h 4457700"/>
              <a:gd name="connsiteX61" fmla="*/ 611527 w 4519987"/>
              <a:gd name="connsiteY61" fmla="*/ 3733800 h 4457700"/>
              <a:gd name="connsiteX62" fmla="*/ 554377 w 4519987"/>
              <a:gd name="connsiteY62" fmla="*/ 3657600 h 4457700"/>
              <a:gd name="connsiteX63" fmla="*/ 525802 w 4519987"/>
              <a:gd name="connsiteY63" fmla="*/ 3609975 h 4457700"/>
              <a:gd name="connsiteX64" fmla="*/ 497227 w 4519987"/>
              <a:gd name="connsiteY64" fmla="*/ 3552825 h 4457700"/>
              <a:gd name="connsiteX65" fmla="*/ 440077 w 4519987"/>
              <a:gd name="connsiteY65" fmla="*/ 3495675 h 4457700"/>
              <a:gd name="connsiteX66" fmla="*/ 411502 w 4519987"/>
              <a:gd name="connsiteY66" fmla="*/ 3448050 h 4457700"/>
              <a:gd name="connsiteX67" fmla="*/ 278152 w 4519987"/>
              <a:gd name="connsiteY67" fmla="*/ 3257550 h 4457700"/>
              <a:gd name="connsiteX68" fmla="*/ 249577 w 4519987"/>
              <a:gd name="connsiteY68" fmla="*/ 3200400 h 4457700"/>
              <a:gd name="connsiteX69" fmla="*/ 240052 w 4519987"/>
              <a:gd name="connsiteY69" fmla="*/ 3162300 h 4457700"/>
              <a:gd name="connsiteX70" fmla="*/ 221002 w 4519987"/>
              <a:gd name="connsiteY70" fmla="*/ 3105150 h 4457700"/>
              <a:gd name="connsiteX71" fmla="*/ 173377 w 4519987"/>
              <a:gd name="connsiteY71" fmla="*/ 3019425 h 4457700"/>
              <a:gd name="connsiteX72" fmla="*/ 144802 w 4519987"/>
              <a:gd name="connsiteY72" fmla="*/ 2924175 h 4457700"/>
              <a:gd name="connsiteX73" fmla="*/ 68602 w 4519987"/>
              <a:gd name="connsiteY73" fmla="*/ 2724150 h 4457700"/>
              <a:gd name="connsiteX74" fmla="*/ 49552 w 4519987"/>
              <a:gd name="connsiteY74" fmla="*/ 2638425 h 4457700"/>
              <a:gd name="connsiteX75" fmla="*/ 40027 w 4519987"/>
              <a:gd name="connsiteY75" fmla="*/ 2562225 h 4457700"/>
              <a:gd name="connsiteX76" fmla="*/ 30502 w 4519987"/>
              <a:gd name="connsiteY76" fmla="*/ 2514600 h 4457700"/>
              <a:gd name="connsiteX77" fmla="*/ 11452 w 4519987"/>
              <a:gd name="connsiteY77" fmla="*/ 2400300 h 4457700"/>
              <a:gd name="connsiteX78" fmla="*/ 20977 w 4519987"/>
              <a:gd name="connsiteY78" fmla="*/ 1905000 h 4457700"/>
              <a:gd name="connsiteX79" fmla="*/ 30502 w 4519987"/>
              <a:gd name="connsiteY79" fmla="*/ 1838325 h 4457700"/>
              <a:gd name="connsiteX80" fmla="*/ 49552 w 4519987"/>
              <a:gd name="connsiteY80" fmla="*/ 1781175 h 4457700"/>
              <a:gd name="connsiteX81" fmla="*/ 59077 w 4519987"/>
              <a:gd name="connsiteY81" fmla="*/ 1743075 h 4457700"/>
              <a:gd name="connsiteX82" fmla="*/ 78127 w 4519987"/>
              <a:gd name="connsiteY82" fmla="*/ 1685925 h 4457700"/>
              <a:gd name="connsiteX83" fmla="*/ 87652 w 4519987"/>
              <a:gd name="connsiteY83" fmla="*/ 1638300 h 4457700"/>
              <a:gd name="connsiteX84" fmla="*/ 106702 w 4519987"/>
              <a:gd name="connsiteY84" fmla="*/ 1590675 h 4457700"/>
              <a:gd name="connsiteX85" fmla="*/ 135277 w 4519987"/>
              <a:gd name="connsiteY85" fmla="*/ 1504950 h 4457700"/>
              <a:gd name="connsiteX86" fmla="*/ 154327 w 4519987"/>
              <a:gd name="connsiteY86" fmla="*/ 1419225 h 4457700"/>
              <a:gd name="connsiteX87" fmla="*/ 230527 w 4519987"/>
              <a:gd name="connsiteY87" fmla="*/ 1276350 h 4457700"/>
              <a:gd name="connsiteX88" fmla="*/ 240052 w 4519987"/>
              <a:gd name="connsiteY88" fmla="*/ 1247775 h 4457700"/>
              <a:gd name="connsiteX89" fmla="*/ 268627 w 4519987"/>
              <a:gd name="connsiteY89" fmla="*/ 1200150 h 4457700"/>
              <a:gd name="connsiteX90" fmla="*/ 287677 w 4519987"/>
              <a:gd name="connsiteY90" fmla="*/ 1152525 h 4457700"/>
              <a:gd name="connsiteX91" fmla="*/ 316252 w 4519987"/>
              <a:gd name="connsiteY91" fmla="*/ 1114425 h 4457700"/>
              <a:gd name="connsiteX92" fmla="*/ 363877 w 4519987"/>
              <a:gd name="connsiteY92" fmla="*/ 1038225 h 4457700"/>
              <a:gd name="connsiteX93" fmla="*/ 382927 w 4519987"/>
              <a:gd name="connsiteY93" fmla="*/ 1009650 h 4457700"/>
              <a:gd name="connsiteX94" fmla="*/ 440077 w 4519987"/>
              <a:gd name="connsiteY94" fmla="*/ 904875 h 4457700"/>
              <a:gd name="connsiteX95" fmla="*/ 478177 w 4519987"/>
              <a:gd name="connsiteY95" fmla="*/ 857250 h 4457700"/>
              <a:gd name="connsiteX96" fmla="*/ 497227 w 4519987"/>
              <a:gd name="connsiteY96" fmla="*/ 828675 h 4457700"/>
              <a:gd name="connsiteX97" fmla="*/ 535327 w 4519987"/>
              <a:gd name="connsiteY97" fmla="*/ 800100 h 4457700"/>
              <a:gd name="connsiteX98" fmla="*/ 602002 w 4519987"/>
              <a:gd name="connsiteY98" fmla="*/ 733425 h 4457700"/>
              <a:gd name="connsiteX99" fmla="*/ 668677 w 4519987"/>
              <a:gd name="connsiteY99" fmla="*/ 676275 h 4457700"/>
              <a:gd name="connsiteX100" fmla="*/ 697252 w 4519987"/>
              <a:gd name="connsiteY100" fmla="*/ 657225 h 4457700"/>
              <a:gd name="connsiteX101" fmla="*/ 840127 w 4519987"/>
              <a:gd name="connsiteY101" fmla="*/ 533400 h 4457700"/>
              <a:gd name="connsiteX102" fmla="*/ 887752 w 4519987"/>
              <a:gd name="connsiteY102" fmla="*/ 504825 h 4457700"/>
              <a:gd name="connsiteX103" fmla="*/ 1167152 w 4519987"/>
              <a:gd name="connsiteY103" fmla="*/ 311150 h 4457700"/>
              <a:gd name="connsiteX104" fmla="*/ 1268752 w 4519987"/>
              <a:gd name="connsiteY104" fmla="*/ 285750 h 4457700"/>
              <a:gd name="connsiteX105" fmla="*/ 1411627 w 4519987"/>
              <a:gd name="connsiteY105" fmla="*/ 190500 h 4457700"/>
              <a:gd name="connsiteX106" fmla="*/ 1449727 w 4519987"/>
              <a:gd name="connsiteY106" fmla="*/ 161925 h 4457700"/>
              <a:gd name="connsiteX107" fmla="*/ 1525927 w 4519987"/>
              <a:gd name="connsiteY107" fmla="*/ 152400 h 4457700"/>
              <a:gd name="connsiteX108" fmla="*/ 1583077 w 4519987"/>
              <a:gd name="connsiteY108" fmla="*/ 142875 h 4457700"/>
              <a:gd name="connsiteX109" fmla="*/ 1716427 w 4519987"/>
              <a:gd name="connsiteY109" fmla="*/ 123825 h 4457700"/>
              <a:gd name="connsiteX110" fmla="*/ 1811677 w 4519987"/>
              <a:gd name="connsiteY110" fmla="*/ 114300 h 4457700"/>
              <a:gd name="connsiteX111" fmla="*/ 1859302 w 4519987"/>
              <a:gd name="connsiteY111" fmla="*/ 104775 h 4457700"/>
              <a:gd name="connsiteX112" fmla="*/ 1916452 w 4519987"/>
              <a:gd name="connsiteY112" fmla="*/ 95250 h 4457700"/>
              <a:gd name="connsiteX113" fmla="*/ 2030752 w 4519987"/>
              <a:gd name="connsiteY113" fmla="*/ 66675 h 4457700"/>
              <a:gd name="connsiteX114" fmla="*/ 2097427 w 4519987"/>
              <a:gd name="connsiteY114" fmla="*/ 47625 h 4457700"/>
              <a:gd name="connsiteX115" fmla="*/ 2164102 w 4519987"/>
              <a:gd name="connsiteY115" fmla="*/ 38100 h 4457700"/>
              <a:gd name="connsiteX116" fmla="*/ 2392702 w 4519987"/>
              <a:gd name="connsiteY116" fmla="*/ 28575 h 4457700"/>
              <a:gd name="connsiteX0" fmla="*/ 2297452 w 4519987"/>
              <a:gd name="connsiteY0" fmla="*/ 0 h 4429260"/>
              <a:gd name="connsiteX1" fmla="*/ 2421277 w 4519987"/>
              <a:gd name="connsiteY1" fmla="*/ 28575 h 4429260"/>
              <a:gd name="connsiteX2" fmla="*/ 2497477 w 4519987"/>
              <a:gd name="connsiteY2" fmla="*/ 47625 h 4429260"/>
              <a:gd name="connsiteX3" fmla="*/ 2754652 w 4519987"/>
              <a:gd name="connsiteY3" fmla="*/ 66675 h 4429260"/>
              <a:gd name="connsiteX4" fmla="*/ 2830852 w 4519987"/>
              <a:gd name="connsiteY4" fmla="*/ 76200 h 4429260"/>
              <a:gd name="connsiteX5" fmla="*/ 2916577 w 4519987"/>
              <a:gd name="connsiteY5" fmla="*/ 85725 h 4429260"/>
              <a:gd name="connsiteX6" fmla="*/ 2973727 w 4519987"/>
              <a:gd name="connsiteY6" fmla="*/ 114300 h 4429260"/>
              <a:gd name="connsiteX7" fmla="*/ 3011827 w 4519987"/>
              <a:gd name="connsiteY7" fmla="*/ 123825 h 4429260"/>
              <a:gd name="connsiteX8" fmla="*/ 3135652 w 4519987"/>
              <a:gd name="connsiteY8" fmla="*/ 171450 h 4429260"/>
              <a:gd name="connsiteX9" fmla="*/ 3173752 w 4519987"/>
              <a:gd name="connsiteY9" fmla="*/ 190500 h 4429260"/>
              <a:gd name="connsiteX10" fmla="*/ 3240427 w 4519987"/>
              <a:gd name="connsiteY10" fmla="*/ 228600 h 4429260"/>
              <a:gd name="connsiteX11" fmla="*/ 3269002 w 4519987"/>
              <a:gd name="connsiteY11" fmla="*/ 238125 h 4429260"/>
              <a:gd name="connsiteX12" fmla="*/ 3297577 w 4519987"/>
              <a:gd name="connsiteY12" fmla="*/ 257175 h 4429260"/>
              <a:gd name="connsiteX13" fmla="*/ 3326152 w 4519987"/>
              <a:gd name="connsiteY13" fmla="*/ 266700 h 4429260"/>
              <a:gd name="connsiteX14" fmla="*/ 3354727 w 4519987"/>
              <a:gd name="connsiteY14" fmla="*/ 285750 h 4429260"/>
              <a:gd name="connsiteX15" fmla="*/ 3421402 w 4519987"/>
              <a:gd name="connsiteY15" fmla="*/ 323850 h 4429260"/>
              <a:gd name="connsiteX16" fmla="*/ 3469027 w 4519987"/>
              <a:gd name="connsiteY16" fmla="*/ 361950 h 4429260"/>
              <a:gd name="connsiteX17" fmla="*/ 3516652 w 4519987"/>
              <a:gd name="connsiteY17" fmla="*/ 390525 h 4429260"/>
              <a:gd name="connsiteX18" fmla="*/ 3630952 w 4519987"/>
              <a:gd name="connsiteY18" fmla="*/ 485775 h 4429260"/>
              <a:gd name="connsiteX19" fmla="*/ 3745252 w 4519987"/>
              <a:gd name="connsiteY19" fmla="*/ 542925 h 4429260"/>
              <a:gd name="connsiteX20" fmla="*/ 3811927 w 4519987"/>
              <a:gd name="connsiteY20" fmla="*/ 581025 h 4429260"/>
              <a:gd name="connsiteX21" fmla="*/ 4027827 w 4519987"/>
              <a:gd name="connsiteY21" fmla="*/ 819150 h 4429260"/>
              <a:gd name="connsiteX22" fmla="*/ 4164352 w 4519987"/>
              <a:gd name="connsiteY22" fmla="*/ 990600 h 4429260"/>
              <a:gd name="connsiteX23" fmla="*/ 4250077 w 4519987"/>
              <a:gd name="connsiteY23" fmla="*/ 1143000 h 4429260"/>
              <a:gd name="connsiteX24" fmla="*/ 4307227 w 4519987"/>
              <a:gd name="connsiteY24" fmla="*/ 1266825 h 4429260"/>
              <a:gd name="connsiteX25" fmla="*/ 4345327 w 4519987"/>
              <a:gd name="connsiteY25" fmla="*/ 1362075 h 4429260"/>
              <a:gd name="connsiteX26" fmla="*/ 4392952 w 4519987"/>
              <a:gd name="connsiteY26" fmla="*/ 1552575 h 4429260"/>
              <a:gd name="connsiteX27" fmla="*/ 4431052 w 4519987"/>
              <a:gd name="connsiteY27" fmla="*/ 1685925 h 4429260"/>
              <a:gd name="connsiteX28" fmla="*/ 4519952 w 4519987"/>
              <a:gd name="connsiteY28" fmla="*/ 2181225 h 4429260"/>
              <a:gd name="connsiteX29" fmla="*/ 4446927 w 4519987"/>
              <a:gd name="connsiteY29" fmla="*/ 2768600 h 4429260"/>
              <a:gd name="connsiteX30" fmla="*/ 4383427 w 4519987"/>
              <a:gd name="connsiteY30" fmla="*/ 2990850 h 4429260"/>
              <a:gd name="connsiteX31" fmla="*/ 4278652 w 4519987"/>
              <a:gd name="connsiteY31" fmla="*/ 3248025 h 4429260"/>
              <a:gd name="connsiteX32" fmla="*/ 4183402 w 4519987"/>
              <a:gd name="connsiteY32" fmla="*/ 3400425 h 4429260"/>
              <a:gd name="connsiteX33" fmla="*/ 4059577 w 4519987"/>
              <a:gd name="connsiteY33" fmla="*/ 3533775 h 4429260"/>
              <a:gd name="connsiteX34" fmla="*/ 3954802 w 4519987"/>
              <a:gd name="connsiteY34" fmla="*/ 3648075 h 4429260"/>
              <a:gd name="connsiteX35" fmla="*/ 3659527 w 4519987"/>
              <a:gd name="connsiteY35" fmla="*/ 3971925 h 4429260"/>
              <a:gd name="connsiteX36" fmla="*/ 3516652 w 4519987"/>
              <a:gd name="connsiteY36" fmla="*/ 4083050 h 4429260"/>
              <a:gd name="connsiteX37" fmla="*/ 3221377 w 4519987"/>
              <a:gd name="connsiteY37" fmla="*/ 4222750 h 4429260"/>
              <a:gd name="connsiteX38" fmla="*/ 3068977 w 4519987"/>
              <a:gd name="connsiteY38" fmla="*/ 4286250 h 4429260"/>
              <a:gd name="connsiteX39" fmla="*/ 2935627 w 4519987"/>
              <a:gd name="connsiteY39" fmla="*/ 4333875 h 4429260"/>
              <a:gd name="connsiteX40" fmla="*/ 2811802 w 4519987"/>
              <a:gd name="connsiteY40" fmla="*/ 4371975 h 4429260"/>
              <a:gd name="connsiteX41" fmla="*/ 2580027 w 4519987"/>
              <a:gd name="connsiteY41" fmla="*/ 4391025 h 4429260"/>
              <a:gd name="connsiteX42" fmla="*/ 2126002 w 4519987"/>
              <a:gd name="connsiteY42" fmla="*/ 4429125 h 4429260"/>
              <a:gd name="connsiteX43" fmla="*/ 1935502 w 4519987"/>
              <a:gd name="connsiteY43" fmla="*/ 4400550 h 4429260"/>
              <a:gd name="connsiteX44" fmla="*/ 1821202 w 4519987"/>
              <a:gd name="connsiteY44" fmla="*/ 4371975 h 4429260"/>
              <a:gd name="connsiteX45" fmla="*/ 1754527 w 4519987"/>
              <a:gd name="connsiteY45" fmla="*/ 4352925 h 4429260"/>
              <a:gd name="connsiteX46" fmla="*/ 1687852 w 4519987"/>
              <a:gd name="connsiteY46" fmla="*/ 4343400 h 4429260"/>
              <a:gd name="connsiteX47" fmla="*/ 1573552 w 4519987"/>
              <a:gd name="connsiteY47" fmla="*/ 4305300 h 4429260"/>
              <a:gd name="connsiteX48" fmla="*/ 1402102 w 4519987"/>
              <a:gd name="connsiteY48" fmla="*/ 4276725 h 4429260"/>
              <a:gd name="connsiteX49" fmla="*/ 1287802 w 4519987"/>
              <a:gd name="connsiteY49" fmla="*/ 4229100 h 4429260"/>
              <a:gd name="connsiteX50" fmla="*/ 1221127 w 4519987"/>
              <a:gd name="connsiteY50" fmla="*/ 4200525 h 4429260"/>
              <a:gd name="connsiteX51" fmla="*/ 1144927 w 4519987"/>
              <a:gd name="connsiteY51" fmla="*/ 4171950 h 4429260"/>
              <a:gd name="connsiteX52" fmla="*/ 1087777 w 4519987"/>
              <a:gd name="connsiteY52" fmla="*/ 4143375 h 4429260"/>
              <a:gd name="connsiteX53" fmla="*/ 1030627 w 4519987"/>
              <a:gd name="connsiteY53" fmla="*/ 4124325 h 4429260"/>
              <a:gd name="connsiteX54" fmla="*/ 925852 w 4519987"/>
              <a:gd name="connsiteY54" fmla="*/ 4067175 h 4429260"/>
              <a:gd name="connsiteX55" fmla="*/ 830602 w 4519987"/>
              <a:gd name="connsiteY55" fmla="*/ 3981450 h 4429260"/>
              <a:gd name="connsiteX56" fmla="*/ 763927 w 4519987"/>
              <a:gd name="connsiteY56" fmla="*/ 3914775 h 4429260"/>
              <a:gd name="connsiteX57" fmla="*/ 725827 w 4519987"/>
              <a:gd name="connsiteY57" fmla="*/ 3876675 h 4429260"/>
              <a:gd name="connsiteX58" fmla="*/ 697252 w 4519987"/>
              <a:gd name="connsiteY58" fmla="*/ 3838575 h 4429260"/>
              <a:gd name="connsiteX59" fmla="*/ 640102 w 4519987"/>
              <a:gd name="connsiteY59" fmla="*/ 3781425 h 4429260"/>
              <a:gd name="connsiteX60" fmla="*/ 611527 w 4519987"/>
              <a:gd name="connsiteY60" fmla="*/ 3733800 h 4429260"/>
              <a:gd name="connsiteX61" fmla="*/ 554377 w 4519987"/>
              <a:gd name="connsiteY61" fmla="*/ 3657600 h 4429260"/>
              <a:gd name="connsiteX62" fmla="*/ 525802 w 4519987"/>
              <a:gd name="connsiteY62" fmla="*/ 3609975 h 4429260"/>
              <a:gd name="connsiteX63" fmla="*/ 497227 w 4519987"/>
              <a:gd name="connsiteY63" fmla="*/ 3552825 h 4429260"/>
              <a:gd name="connsiteX64" fmla="*/ 440077 w 4519987"/>
              <a:gd name="connsiteY64" fmla="*/ 3495675 h 4429260"/>
              <a:gd name="connsiteX65" fmla="*/ 411502 w 4519987"/>
              <a:gd name="connsiteY65" fmla="*/ 3448050 h 4429260"/>
              <a:gd name="connsiteX66" fmla="*/ 278152 w 4519987"/>
              <a:gd name="connsiteY66" fmla="*/ 3257550 h 4429260"/>
              <a:gd name="connsiteX67" fmla="*/ 249577 w 4519987"/>
              <a:gd name="connsiteY67" fmla="*/ 3200400 h 4429260"/>
              <a:gd name="connsiteX68" fmla="*/ 240052 w 4519987"/>
              <a:gd name="connsiteY68" fmla="*/ 3162300 h 4429260"/>
              <a:gd name="connsiteX69" fmla="*/ 221002 w 4519987"/>
              <a:gd name="connsiteY69" fmla="*/ 3105150 h 4429260"/>
              <a:gd name="connsiteX70" fmla="*/ 173377 w 4519987"/>
              <a:gd name="connsiteY70" fmla="*/ 3019425 h 4429260"/>
              <a:gd name="connsiteX71" fmla="*/ 144802 w 4519987"/>
              <a:gd name="connsiteY71" fmla="*/ 2924175 h 4429260"/>
              <a:gd name="connsiteX72" fmla="*/ 68602 w 4519987"/>
              <a:gd name="connsiteY72" fmla="*/ 2724150 h 4429260"/>
              <a:gd name="connsiteX73" fmla="*/ 49552 w 4519987"/>
              <a:gd name="connsiteY73" fmla="*/ 2638425 h 4429260"/>
              <a:gd name="connsiteX74" fmla="*/ 40027 w 4519987"/>
              <a:gd name="connsiteY74" fmla="*/ 2562225 h 4429260"/>
              <a:gd name="connsiteX75" fmla="*/ 30502 w 4519987"/>
              <a:gd name="connsiteY75" fmla="*/ 2514600 h 4429260"/>
              <a:gd name="connsiteX76" fmla="*/ 11452 w 4519987"/>
              <a:gd name="connsiteY76" fmla="*/ 2400300 h 4429260"/>
              <a:gd name="connsiteX77" fmla="*/ 20977 w 4519987"/>
              <a:gd name="connsiteY77" fmla="*/ 1905000 h 4429260"/>
              <a:gd name="connsiteX78" fmla="*/ 30502 w 4519987"/>
              <a:gd name="connsiteY78" fmla="*/ 1838325 h 4429260"/>
              <a:gd name="connsiteX79" fmla="*/ 49552 w 4519987"/>
              <a:gd name="connsiteY79" fmla="*/ 1781175 h 4429260"/>
              <a:gd name="connsiteX80" fmla="*/ 59077 w 4519987"/>
              <a:gd name="connsiteY80" fmla="*/ 1743075 h 4429260"/>
              <a:gd name="connsiteX81" fmla="*/ 78127 w 4519987"/>
              <a:gd name="connsiteY81" fmla="*/ 1685925 h 4429260"/>
              <a:gd name="connsiteX82" fmla="*/ 87652 w 4519987"/>
              <a:gd name="connsiteY82" fmla="*/ 1638300 h 4429260"/>
              <a:gd name="connsiteX83" fmla="*/ 106702 w 4519987"/>
              <a:gd name="connsiteY83" fmla="*/ 1590675 h 4429260"/>
              <a:gd name="connsiteX84" fmla="*/ 135277 w 4519987"/>
              <a:gd name="connsiteY84" fmla="*/ 1504950 h 4429260"/>
              <a:gd name="connsiteX85" fmla="*/ 154327 w 4519987"/>
              <a:gd name="connsiteY85" fmla="*/ 1419225 h 4429260"/>
              <a:gd name="connsiteX86" fmla="*/ 230527 w 4519987"/>
              <a:gd name="connsiteY86" fmla="*/ 1276350 h 4429260"/>
              <a:gd name="connsiteX87" fmla="*/ 240052 w 4519987"/>
              <a:gd name="connsiteY87" fmla="*/ 1247775 h 4429260"/>
              <a:gd name="connsiteX88" fmla="*/ 268627 w 4519987"/>
              <a:gd name="connsiteY88" fmla="*/ 1200150 h 4429260"/>
              <a:gd name="connsiteX89" fmla="*/ 287677 w 4519987"/>
              <a:gd name="connsiteY89" fmla="*/ 1152525 h 4429260"/>
              <a:gd name="connsiteX90" fmla="*/ 316252 w 4519987"/>
              <a:gd name="connsiteY90" fmla="*/ 1114425 h 4429260"/>
              <a:gd name="connsiteX91" fmla="*/ 363877 w 4519987"/>
              <a:gd name="connsiteY91" fmla="*/ 1038225 h 4429260"/>
              <a:gd name="connsiteX92" fmla="*/ 382927 w 4519987"/>
              <a:gd name="connsiteY92" fmla="*/ 1009650 h 4429260"/>
              <a:gd name="connsiteX93" fmla="*/ 440077 w 4519987"/>
              <a:gd name="connsiteY93" fmla="*/ 904875 h 4429260"/>
              <a:gd name="connsiteX94" fmla="*/ 478177 w 4519987"/>
              <a:gd name="connsiteY94" fmla="*/ 857250 h 4429260"/>
              <a:gd name="connsiteX95" fmla="*/ 497227 w 4519987"/>
              <a:gd name="connsiteY95" fmla="*/ 828675 h 4429260"/>
              <a:gd name="connsiteX96" fmla="*/ 535327 w 4519987"/>
              <a:gd name="connsiteY96" fmla="*/ 800100 h 4429260"/>
              <a:gd name="connsiteX97" fmla="*/ 602002 w 4519987"/>
              <a:gd name="connsiteY97" fmla="*/ 733425 h 4429260"/>
              <a:gd name="connsiteX98" fmla="*/ 668677 w 4519987"/>
              <a:gd name="connsiteY98" fmla="*/ 676275 h 4429260"/>
              <a:gd name="connsiteX99" fmla="*/ 697252 w 4519987"/>
              <a:gd name="connsiteY99" fmla="*/ 657225 h 4429260"/>
              <a:gd name="connsiteX100" fmla="*/ 840127 w 4519987"/>
              <a:gd name="connsiteY100" fmla="*/ 533400 h 4429260"/>
              <a:gd name="connsiteX101" fmla="*/ 887752 w 4519987"/>
              <a:gd name="connsiteY101" fmla="*/ 504825 h 4429260"/>
              <a:gd name="connsiteX102" fmla="*/ 1167152 w 4519987"/>
              <a:gd name="connsiteY102" fmla="*/ 311150 h 4429260"/>
              <a:gd name="connsiteX103" fmla="*/ 1268752 w 4519987"/>
              <a:gd name="connsiteY103" fmla="*/ 285750 h 4429260"/>
              <a:gd name="connsiteX104" fmla="*/ 1411627 w 4519987"/>
              <a:gd name="connsiteY104" fmla="*/ 190500 h 4429260"/>
              <a:gd name="connsiteX105" fmla="*/ 1449727 w 4519987"/>
              <a:gd name="connsiteY105" fmla="*/ 161925 h 4429260"/>
              <a:gd name="connsiteX106" fmla="*/ 1525927 w 4519987"/>
              <a:gd name="connsiteY106" fmla="*/ 152400 h 4429260"/>
              <a:gd name="connsiteX107" fmla="*/ 1583077 w 4519987"/>
              <a:gd name="connsiteY107" fmla="*/ 142875 h 4429260"/>
              <a:gd name="connsiteX108" fmla="*/ 1716427 w 4519987"/>
              <a:gd name="connsiteY108" fmla="*/ 123825 h 4429260"/>
              <a:gd name="connsiteX109" fmla="*/ 1811677 w 4519987"/>
              <a:gd name="connsiteY109" fmla="*/ 114300 h 4429260"/>
              <a:gd name="connsiteX110" fmla="*/ 1859302 w 4519987"/>
              <a:gd name="connsiteY110" fmla="*/ 104775 h 4429260"/>
              <a:gd name="connsiteX111" fmla="*/ 1916452 w 4519987"/>
              <a:gd name="connsiteY111" fmla="*/ 95250 h 4429260"/>
              <a:gd name="connsiteX112" fmla="*/ 2030752 w 4519987"/>
              <a:gd name="connsiteY112" fmla="*/ 66675 h 4429260"/>
              <a:gd name="connsiteX113" fmla="*/ 2097427 w 4519987"/>
              <a:gd name="connsiteY113" fmla="*/ 47625 h 4429260"/>
              <a:gd name="connsiteX114" fmla="*/ 2164102 w 4519987"/>
              <a:gd name="connsiteY114" fmla="*/ 38100 h 4429260"/>
              <a:gd name="connsiteX115" fmla="*/ 2392702 w 4519987"/>
              <a:gd name="connsiteY115" fmla="*/ 28575 h 4429260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687852 w 4519987"/>
              <a:gd name="connsiteY45" fmla="*/ 4343400 h 4429225"/>
              <a:gd name="connsiteX46" fmla="*/ 1573552 w 4519987"/>
              <a:gd name="connsiteY46" fmla="*/ 4305300 h 4429225"/>
              <a:gd name="connsiteX47" fmla="*/ 1402102 w 4519987"/>
              <a:gd name="connsiteY47" fmla="*/ 4276725 h 4429225"/>
              <a:gd name="connsiteX48" fmla="*/ 1287802 w 4519987"/>
              <a:gd name="connsiteY48" fmla="*/ 4229100 h 4429225"/>
              <a:gd name="connsiteX49" fmla="*/ 1221127 w 4519987"/>
              <a:gd name="connsiteY49" fmla="*/ 4200525 h 4429225"/>
              <a:gd name="connsiteX50" fmla="*/ 1144927 w 4519987"/>
              <a:gd name="connsiteY50" fmla="*/ 4171950 h 4429225"/>
              <a:gd name="connsiteX51" fmla="*/ 1087777 w 4519987"/>
              <a:gd name="connsiteY51" fmla="*/ 4143375 h 4429225"/>
              <a:gd name="connsiteX52" fmla="*/ 1030627 w 4519987"/>
              <a:gd name="connsiteY52" fmla="*/ 4124325 h 4429225"/>
              <a:gd name="connsiteX53" fmla="*/ 925852 w 4519987"/>
              <a:gd name="connsiteY53" fmla="*/ 4067175 h 4429225"/>
              <a:gd name="connsiteX54" fmla="*/ 830602 w 4519987"/>
              <a:gd name="connsiteY54" fmla="*/ 3981450 h 4429225"/>
              <a:gd name="connsiteX55" fmla="*/ 763927 w 4519987"/>
              <a:gd name="connsiteY55" fmla="*/ 3914775 h 4429225"/>
              <a:gd name="connsiteX56" fmla="*/ 725827 w 4519987"/>
              <a:gd name="connsiteY56" fmla="*/ 3876675 h 4429225"/>
              <a:gd name="connsiteX57" fmla="*/ 697252 w 4519987"/>
              <a:gd name="connsiteY57" fmla="*/ 3838575 h 4429225"/>
              <a:gd name="connsiteX58" fmla="*/ 640102 w 4519987"/>
              <a:gd name="connsiteY58" fmla="*/ 3781425 h 4429225"/>
              <a:gd name="connsiteX59" fmla="*/ 611527 w 4519987"/>
              <a:gd name="connsiteY59" fmla="*/ 3733800 h 4429225"/>
              <a:gd name="connsiteX60" fmla="*/ 554377 w 4519987"/>
              <a:gd name="connsiteY60" fmla="*/ 3657600 h 4429225"/>
              <a:gd name="connsiteX61" fmla="*/ 525802 w 4519987"/>
              <a:gd name="connsiteY61" fmla="*/ 3609975 h 4429225"/>
              <a:gd name="connsiteX62" fmla="*/ 497227 w 4519987"/>
              <a:gd name="connsiteY62" fmla="*/ 3552825 h 4429225"/>
              <a:gd name="connsiteX63" fmla="*/ 440077 w 4519987"/>
              <a:gd name="connsiteY63" fmla="*/ 3495675 h 4429225"/>
              <a:gd name="connsiteX64" fmla="*/ 411502 w 4519987"/>
              <a:gd name="connsiteY64" fmla="*/ 3448050 h 4429225"/>
              <a:gd name="connsiteX65" fmla="*/ 278152 w 4519987"/>
              <a:gd name="connsiteY65" fmla="*/ 3257550 h 4429225"/>
              <a:gd name="connsiteX66" fmla="*/ 249577 w 4519987"/>
              <a:gd name="connsiteY66" fmla="*/ 3200400 h 4429225"/>
              <a:gd name="connsiteX67" fmla="*/ 240052 w 4519987"/>
              <a:gd name="connsiteY67" fmla="*/ 3162300 h 4429225"/>
              <a:gd name="connsiteX68" fmla="*/ 221002 w 4519987"/>
              <a:gd name="connsiteY68" fmla="*/ 3105150 h 4429225"/>
              <a:gd name="connsiteX69" fmla="*/ 173377 w 4519987"/>
              <a:gd name="connsiteY69" fmla="*/ 3019425 h 4429225"/>
              <a:gd name="connsiteX70" fmla="*/ 144802 w 4519987"/>
              <a:gd name="connsiteY70" fmla="*/ 2924175 h 4429225"/>
              <a:gd name="connsiteX71" fmla="*/ 68602 w 4519987"/>
              <a:gd name="connsiteY71" fmla="*/ 2724150 h 4429225"/>
              <a:gd name="connsiteX72" fmla="*/ 49552 w 4519987"/>
              <a:gd name="connsiteY72" fmla="*/ 2638425 h 4429225"/>
              <a:gd name="connsiteX73" fmla="*/ 40027 w 4519987"/>
              <a:gd name="connsiteY73" fmla="*/ 2562225 h 4429225"/>
              <a:gd name="connsiteX74" fmla="*/ 30502 w 4519987"/>
              <a:gd name="connsiteY74" fmla="*/ 2514600 h 4429225"/>
              <a:gd name="connsiteX75" fmla="*/ 11452 w 4519987"/>
              <a:gd name="connsiteY75" fmla="*/ 2400300 h 4429225"/>
              <a:gd name="connsiteX76" fmla="*/ 20977 w 4519987"/>
              <a:gd name="connsiteY76" fmla="*/ 1905000 h 4429225"/>
              <a:gd name="connsiteX77" fmla="*/ 30502 w 4519987"/>
              <a:gd name="connsiteY77" fmla="*/ 1838325 h 4429225"/>
              <a:gd name="connsiteX78" fmla="*/ 49552 w 4519987"/>
              <a:gd name="connsiteY78" fmla="*/ 1781175 h 4429225"/>
              <a:gd name="connsiteX79" fmla="*/ 59077 w 4519987"/>
              <a:gd name="connsiteY79" fmla="*/ 1743075 h 4429225"/>
              <a:gd name="connsiteX80" fmla="*/ 78127 w 4519987"/>
              <a:gd name="connsiteY80" fmla="*/ 1685925 h 4429225"/>
              <a:gd name="connsiteX81" fmla="*/ 87652 w 4519987"/>
              <a:gd name="connsiteY81" fmla="*/ 1638300 h 4429225"/>
              <a:gd name="connsiteX82" fmla="*/ 106702 w 4519987"/>
              <a:gd name="connsiteY82" fmla="*/ 1590675 h 4429225"/>
              <a:gd name="connsiteX83" fmla="*/ 135277 w 4519987"/>
              <a:gd name="connsiteY83" fmla="*/ 1504950 h 4429225"/>
              <a:gd name="connsiteX84" fmla="*/ 154327 w 4519987"/>
              <a:gd name="connsiteY84" fmla="*/ 1419225 h 4429225"/>
              <a:gd name="connsiteX85" fmla="*/ 230527 w 4519987"/>
              <a:gd name="connsiteY85" fmla="*/ 1276350 h 4429225"/>
              <a:gd name="connsiteX86" fmla="*/ 240052 w 4519987"/>
              <a:gd name="connsiteY86" fmla="*/ 1247775 h 4429225"/>
              <a:gd name="connsiteX87" fmla="*/ 268627 w 4519987"/>
              <a:gd name="connsiteY87" fmla="*/ 1200150 h 4429225"/>
              <a:gd name="connsiteX88" fmla="*/ 287677 w 4519987"/>
              <a:gd name="connsiteY88" fmla="*/ 1152525 h 4429225"/>
              <a:gd name="connsiteX89" fmla="*/ 316252 w 4519987"/>
              <a:gd name="connsiteY89" fmla="*/ 1114425 h 4429225"/>
              <a:gd name="connsiteX90" fmla="*/ 363877 w 4519987"/>
              <a:gd name="connsiteY90" fmla="*/ 1038225 h 4429225"/>
              <a:gd name="connsiteX91" fmla="*/ 382927 w 4519987"/>
              <a:gd name="connsiteY91" fmla="*/ 1009650 h 4429225"/>
              <a:gd name="connsiteX92" fmla="*/ 440077 w 4519987"/>
              <a:gd name="connsiteY92" fmla="*/ 904875 h 4429225"/>
              <a:gd name="connsiteX93" fmla="*/ 478177 w 4519987"/>
              <a:gd name="connsiteY93" fmla="*/ 857250 h 4429225"/>
              <a:gd name="connsiteX94" fmla="*/ 497227 w 4519987"/>
              <a:gd name="connsiteY94" fmla="*/ 828675 h 4429225"/>
              <a:gd name="connsiteX95" fmla="*/ 535327 w 4519987"/>
              <a:gd name="connsiteY95" fmla="*/ 800100 h 4429225"/>
              <a:gd name="connsiteX96" fmla="*/ 602002 w 4519987"/>
              <a:gd name="connsiteY96" fmla="*/ 733425 h 4429225"/>
              <a:gd name="connsiteX97" fmla="*/ 668677 w 4519987"/>
              <a:gd name="connsiteY97" fmla="*/ 676275 h 4429225"/>
              <a:gd name="connsiteX98" fmla="*/ 697252 w 4519987"/>
              <a:gd name="connsiteY98" fmla="*/ 657225 h 4429225"/>
              <a:gd name="connsiteX99" fmla="*/ 840127 w 4519987"/>
              <a:gd name="connsiteY99" fmla="*/ 533400 h 4429225"/>
              <a:gd name="connsiteX100" fmla="*/ 887752 w 4519987"/>
              <a:gd name="connsiteY100" fmla="*/ 504825 h 4429225"/>
              <a:gd name="connsiteX101" fmla="*/ 1167152 w 4519987"/>
              <a:gd name="connsiteY101" fmla="*/ 311150 h 4429225"/>
              <a:gd name="connsiteX102" fmla="*/ 1268752 w 4519987"/>
              <a:gd name="connsiteY102" fmla="*/ 285750 h 4429225"/>
              <a:gd name="connsiteX103" fmla="*/ 1411627 w 4519987"/>
              <a:gd name="connsiteY103" fmla="*/ 190500 h 4429225"/>
              <a:gd name="connsiteX104" fmla="*/ 1449727 w 4519987"/>
              <a:gd name="connsiteY104" fmla="*/ 161925 h 4429225"/>
              <a:gd name="connsiteX105" fmla="*/ 1525927 w 4519987"/>
              <a:gd name="connsiteY105" fmla="*/ 152400 h 4429225"/>
              <a:gd name="connsiteX106" fmla="*/ 1583077 w 4519987"/>
              <a:gd name="connsiteY106" fmla="*/ 142875 h 4429225"/>
              <a:gd name="connsiteX107" fmla="*/ 1716427 w 4519987"/>
              <a:gd name="connsiteY107" fmla="*/ 123825 h 4429225"/>
              <a:gd name="connsiteX108" fmla="*/ 1811677 w 4519987"/>
              <a:gd name="connsiteY108" fmla="*/ 114300 h 4429225"/>
              <a:gd name="connsiteX109" fmla="*/ 1859302 w 4519987"/>
              <a:gd name="connsiteY109" fmla="*/ 104775 h 4429225"/>
              <a:gd name="connsiteX110" fmla="*/ 1916452 w 4519987"/>
              <a:gd name="connsiteY110" fmla="*/ 95250 h 4429225"/>
              <a:gd name="connsiteX111" fmla="*/ 2030752 w 4519987"/>
              <a:gd name="connsiteY111" fmla="*/ 66675 h 4429225"/>
              <a:gd name="connsiteX112" fmla="*/ 2097427 w 4519987"/>
              <a:gd name="connsiteY112" fmla="*/ 47625 h 4429225"/>
              <a:gd name="connsiteX113" fmla="*/ 2164102 w 4519987"/>
              <a:gd name="connsiteY113" fmla="*/ 38100 h 4429225"/>
              <a:gd name="connsiteX114" fmla="*/ 2392702 w 4519987"/>
              <a:gd name="connsiteY114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402102 w 4519987"/>
              <a:gd name="connsiteY46" fmla="*/ 4276725 h 4429225"/>
              <a:gd name="connsiteX47" fmla="*/ 1287802 w 4519987"/>
              <a:gd name="connsiteY47" fmla="*/ 4229100 h 4429225"/>
              <a:gd name="connsiteX48" fmla="*/ 1221127 w 4519987"/>
              <a:gd name="connsiteY48" fmla="*/ 4200525 h 4429225"/>
              <a:gd name="connsiteX49" fmla="*/ 1144927 w 4519987"/>
              <a:gd name="connsiteY49" fmla="*/ 4171950 h 4429225"/>
              <a:gd name="connsiteX50" fmla="*/ 1087777 w 4519987"/>
              <a:gd name="connsiteY50" fmla="*/ 4143375 h 4429225"/>
              <a:gd name="connsiteX51" fmla="*/ 1030627 w 4519987"/>
              <a:gd name="connsiteY51" fmla="*/ 4124325 h 4429225"/>
              <a:gd name="connsiteX52" fmla="*/ 925852 w 4519987"/>
              <a:gd name="connsiteY52" fmla="*/ 4067175 h 4429225"/>
              <a:gd name="connsiteX53" fmla="*/ 830602 w 4519987"/>
              <a:gd name="connsiteY53" fmla="*/ 3981450 h 4429225"/>
              <a:gd name="connsiteX54" fmla="*/ 763927 w 4519987"/>
              <a:gd name="connsiteY54" fmla="*/ 3914775 h 4429225"/>
              <a:gd name="connsiteX55" fmla="*/ 725827 w 4519987"/>
              <a:gd name="connsiteY55" fmla="*/ 3876675 h 4429225"/>
              <a:gd name="connsiteX56" fmla="*/ 697252 w 4519987"/>
              <a:gd name="connsiteY56" fmla="*/ 3838575 h 4429225"/>
              <a:gd name="connsiteX57" fmla="*/ 640102 w 4519987"/>
              <a:gd name="connsiteY57" fmla="*/ 3781425 h 4429225"/>
              <a:gd name="connsiteX58" fmla="*/ 611527 w 4519987"/>
              <a:gd name="connsiteY58" fmla="*/ 3733800 h 4429225"/>
              <a:gd name="connsiteX59" fmla="*/ 554377 w 4519987"/>
              <a:gd name="connsiteY59" fmla="*/ 3657600 h 4429225"/>
              <a:gd name="connsiteX60" fmla="*/ 525802 w 4519987"/>
              <a:gd name="connsiteY60" fmla="*/ 3609975 h 4429225"/>
              <a:gd name="connsiteX61" fmla="*/ 497227 w 4519987"/>
              <a:gd name="connsiteY61" fmla="*/ 3552825 h 4429225"/>
              <a:gd name="connsiteX62" fmla="*/ 440077 w 4519987"/>
              <a:gd name="connsiteY62" fmla="*/ 3495675 h 4429225"/>
              <a:gd name="connsiteX63" fmla="*/ 411502 w 4519987"/>
              <a:gd name="connsiteY63" fmla="*/ 3448050 h 4429225"/>
              <a:gd name="connsiteX64" fmla="*/ 278152 w 4519987"/>
              <a:gd name="connsiteY64" fmla="*/ 3257550 h 4429225"/>
              <a:gd name="connsiteX65" fmla="*/ 249577 w 4519987"/>
              <a:gd name="connsiteY65" fmla="*/ 3200400 h 4429225"/>
              <a:gd name="connsiteX66" fmla="*/ 240052 w 4519987"/>
              <a:gd name="connsiteY66" fmla="*/ 3162300 h 4429225"/>
              <a:gd name="connsiteX67" fmla="*/ 221002 w 4519987"/>
              <a:gd name="connsiteY67" fmla="*/ 3105150 h 4429225"/>
              <a:gd name="connsiteX68" fmla="*/ 173377 w 4519987"/>
              <a:gd name="connsiteY68" fmla="*/ 3019425 h 4429225"/>
              <a:gd name="connsiteX69" fmla="*/ 144802 w 4519987"/>
              <a:gd name="connsiteY69" fmla="*/ 2924175 h 4429225"/>
              <a:gd name="connsiteX70" fmla="*/ 68602 w 4519987"/>
              <a:gd name="connsiteY70" fmla="*/ 2724150 h 4429225"/>
              <a:gd name="connsiteX71" fmla="*/ 49552 w 4519987"/>
              <a:gd name="connsiteY71" fmla="*/ 2638425 h 4429225"/>
              <a:gd name="connsiteX72" fmla="*/ 40027 w 4519987"/>
              <a:gd name="connsiteY72" fmla="*/ 2562225 h 4429225"/>
              <a:gd name="connsiteX73" fmla="*/ 30502 w 4519987"/>
              <a:gd name="connsiteY73" fmla="*/ 2514600 h 4429225"/>
              <a:gd name="connsiteX74" fmla="*/ 11452 w 4519987"/>
              <a:gd name="connsiteY74" fmla="*/ 2400300 h 4429225"/>
              <a:gd name="connsiteX75" fmla="*/ 20977 w 4519987"/>
              <a:gd name="connsiteY75" fmla="*/ 1905000 h 4429225"/>
              <a:gd name="connsiteX76" fmla="*/ 30502 w 4519987"/>
              <a:gd name="connsiteY76" fmla="*/ 1838325 h 4429225"/>
              <a:gd name="connsiteX77" fmla="*/ 49552 w 4519987"/>
              <a:gd name="connsiteY77" fmla="*/ 1781175 h 4429225"/>
              <a:gd name="connsiteX78" fmla="*/ 59077 w 4519987"/>
              <a:gd name="connsiteY78" fmla="*/ 1743075 h 4429225"/>
              <a:gd name="connsiteX79" fmla="*/ 78127 w 4519987"/>
              <a:gd name="connsiteY79" fmla="*/ 1685925 h 4429225"/>
              <a:gd name="connsiteX80" fmla="*/ 87652 w 4519987"/>
              <a:gd name="connsiteY80" fmla="*/ 1638300 h 4429225"/>
              <a:gd name="connsiteX81" fmla="*/ 106702 w 4519987"/>
              <a:gd name="connsiteY81" fmla="*/ 1590675 h 4429225"/>
              <a:gd name="connsiteX82" fmla="*/ 135277 w 4519987"/>
              <a:gd name="connsiteY82" fmla="*/ 1504950 h 4429225"/>
              <a:gd name="connsiteX83" fmla="*/ 154327 w 4519987"/>
              <a:gd name="connsiteY83" fmla="*/ 1419225 h 4429225"/>
              <a:gd name="connsiteX84" fmla="*/ 230527 w 4519987"/>
              <a:gd name="connsiteY84" fmla="*/ 1276350 h 4429225"/>
              <a:gd name="connsiteX85" fmla="*/ 240052 w 4519987"/>
              <a:gd name="connsiteY85" fmla="*/ 1247775 h 4429225"/>
              <a:gd name="connsiteX86" fmla="*/ 268627 w 4519987"/>
              <a:gd name="connsiteY86" fmla="*/ 1200150 h 4429225"/>
              <a:gd name="connsiteX87" fmla="*/ 287677 w 4519987"/>
              <a:gd name="connsiteY87" fmla="*/ 1152525 h 4429225"/>
              <a:gd name="connsiteX88" fmla="*/ 316252 w 4519987"/>
              <a:gd name="connsiteY88" fmla="*/ 1114425 h 4429225"/>
              <a:gd name="connsiteX89" fmla="*/ 363877 w 4519987"/>
              <a:gd name="connsiteY89" fmla="*/ 1038225 h 4429225"/>
              <a:gd name="connsiteX90" fmla="*/ 382927 w 4519987"/>
              <a:gd name="connsiteY90" fmla="*/ 1009650 h 4429225"/>
              <a:gd name="connsiteX91" fmla="*/ 440077 w 4519987"/>
              <a:gd name="connsiteY91" fmla="*/ 904875 h 4429225"/>
              <a:gd name="connsiteX92" fmla="*/ 478177 w 4519987"/>
              <a:gd name="connsiteY92" fmla="*/ 857250 h 4429225"/>
              <a:gd name="connsiteX93" fmla="*/ 497227 w 4519987"/>
              <a:gd name="connsiteY93" fmla="*/ 828675 h 4429225"/>
              <a:gd name="connsiteX94" fmla="*/ 535327 w 4519987"/>
              <a:gd name="connsiteY94" fmla="*/ 800100 h 4429225"/>
              <a:gd name="connsiteX95" fmla="*/ 602002 w 4519987"/>
              <a:gd name="connsiteY95" fmla="*/ 733425 h 4429225"/>
              <a:gd name="connsiteX96" fmla="*/ 668677 w 4519987"/>
              <a:gd name="connsiteY96" fmla="*/ 676275 h 4429225"/>
              <a:gd name="connsiteX97" fmla="*/ 697252 w 4519987"/>
              <a:gd name="connsiteY97" fmla="*/ 657225 h 4429225"/>
              <a:gd name="connsiteX98" fmla="*/ 840127 w 4519987"/>
              <a:gd name="connsiteY98" fmla="*/ 533400 h 4429225"/>
              <a:gd name="connsiteX99" fmla="*/ 887752 w 4519987"/>
              <a:gd name="connsiteY99" fmla="*/ 504825 h 4429225"/>
              <a:gd name="connsiteX100" fmla="*/ 1167152 w 4519987"/>
              <a:gd name="connsiteY100" fmla="*/ 311150 h 4429225"/>
              <a:gd name="connsiteX101" fmla="*/ 1268752 w 4519987"/>
              <a:gd name="connsiteY101" fmla="*/ 285750 h 4429225"/>
              <a:gd name="connsiteX102" fmla="*/ 1411627 w 4519987"/>
              <a:gd name="connsiteY102" fmla="*/ 190500 h 4429225"/>
              <a:gd name="connsiteX103" fmla="*/ 1449727 w 4519987"/>
              <a:gd name="connsiteY103" fmla="*/ 161925 h 4429225"/>
              <a:gd name="connsiteX104" fmla="*/ 1525927 w 4519987"/>
              <a:gd name="connsiteY104" fmla="*/ 152400 h 4429225"/>
              <a:gd name="connsiteX105" fmla="*/ 1583077 w 4519987"/>
              <a:gd name="connsiteY105" fmla="*/ 142875 h 4429225"/>
              <a:gd name="connsiteX106" fmla="*/ 1716427 w 4519987"/>
              <a:gd name="connsiteY106" fmla="*/ 123825 h 4429225"/>
              <a:gd name="connsiteX107" fmla="*/ 1811677 w 4519987"/>
              <a:gd name="connsiteY107" fmla="*/ 114300 h 4429225"/>
              <a:gd name="connsiteX108" fmla="*/ 1859302 w 4519987"/>
              <a:gd name="connsiteY108" fmla="*/ 104775 h 4429225"/>
              <a:gd name="connsiteX109" fmla="*/ 1916452 w 4519987"/>
              <a:gd name="connsiteY109" fmla="*/ 95250 h 4429225"/>
              <a:gd name="connsiteX110" fmla="*/ 2030752 w 4519987"/>
              <a:gd name="connsiteY110" fmla="*/ 66675 h 4429225"/>
              <a:gd name="connsiteX111" fmla="*/ 2097427 w 4519987"/>
              <a:gd name="connsiteY111" fmla="*/ 47625 h 4429225"/>
              <a:gd name="connsiteX112" fmla="*/ 2164102 w 4519987"/>
              <a:gd name="connsiteY112" fmla="*/ 38100 h 4429225"/>
              <a:gd name="connsiteX113" fmla="*/ 2392702 w 4519987"/>
              <a:gd name="connsiteY113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221127 w 4519987"/>
              <a:gd name="connsiteY47" fmla="*/ 4200525 h 4429225"/>
              <a:gd name="connsiteX48" fmla="*/ 1144927 w 4519987"/>
              <a:gd name="connsiteY48" fmla="*/ 4171950 h 4429225"/>
              <a:gd name="connsiteX49" fmla="*/ 1087777 w 4519987"/>
              <a:gd name="connsiteY49" fmla="*/ 4143375 h 4429225"/>
              <a:gd name="connsiteX50" fmla="*/ 1030627 w 4519987"/>
              <a:gd name="connsiteY50" fmla="*/ 4124325 h 4429225"/>
              <a:gd name="connsiteX51" fmla="*/ 925852 w 4519987"/>
              <a:gd name="connsiteY51" fmla="*/ 4067175 h 4429225"/>
              <a:gd name="connsiteX52" fmla="*/ 830602 w 4519987"/>
              <a:gd name="connsiteY52" fmla="*/ 3981450 h 4429225"/>
              <a:gd name="connsiteX53" fmla="*/ 763927 w 4519987"/>
              <a:gd name="connsiteY53" fmla="*/ 3914775 h 4429225"/>
              <a:gd name="connsiteX54" fmla="*/ 725827 w 4519987"/>
              <a:gd name="connsiteY54" fmla="*/ 3876675 h 4429225"/>
              <a:gd name="connsiteX55" fmla="*/ 697252 w 4519987"/>
              <a:gd name="connsiteY55" fmla="*/ 3838575 h 4429225"/>
              <a:gd name="connsiteX56" fmla="*/ 640102 w 4519987"/>
              <a:gd name="connsiteY56" fmla="*/ 3781425 h 4429225"/>
              <a:gd name="connsiteX57" fmla="*/ 611527 w 4519987"/>
              <a:gd name="connsiteY57" fmla="*/ 3733800 h 4429225"/>
              <a:gd name="connsiteX58" fmla="*/ 554377 w 4519987"/>
              <a:gd name="connsiteY58" fmla="*/ 3657600 h 4429225"/>
              <a:gd name="connsiteX59" fmla="*/ 525802 w 4519987"/>
              <a:gd name="connsiteY59" fmla="*/ 3609975 h 4429225"/>
              <a:gd name="connsiteX60" fmla="*/ 497227 w 4519987"/>
              <a:gd name="connsiteY60" fmla="*/ 3552825 h 4429225"/>
              <a:gd name="connsiteX61" fmla="*/ 440077 w 4519987"/>
              <a:gd name="connsiteY61" fmla="*/ 3495675 h 4429225"/>
              <a:gd name="connsiteX62" fmla="*/ 411502 w 4519987"/>
              <a:gd name="connsiteY62" fmla="*/ 3448050 h 4429225"/>
              <a:gd name="connsiteX63" fmla="*/ 278152 w 4519987"/>
              <a:gd name="connsiteY63" fmla="*/ 3257550 h 4429225"/>
              <a:gd name="connsiteX64" fmla="*/ 249577 w 4519987"/>
              <a:gd name="connsiteY64" fmla="*/ 3200400 h 4429225"/>
              <a:gd name="connsiteX65" fmla="*/ 240052 w 4519987"/>
              <a:gd name="connsiteY65" fmla="*/ 3162300 h 4429225"/>
              <a:gd name="connsiteX66" fmla="*/ 221002 w 4519987"/>
              <a:gd name="connsiteY66" fmla="*/ 3105150 h 4429225"/>
              <a:gd name="connsiteX67" fmla="*/ 173377 w 4519987"/>
              <a:gd name="connsiteY67" fmla="*/ 3019425 h 4429225"/>
              <a:gd name="connsiteX68" fmla="*/ 144802 w 4519987"/>
              <a:gd name="connsiteY68" fmla="*/ 2924175 h 4429225"/>
              <a:gd name="connsiteX69" fmla="*/ 68602 w 4519987"/>
              <a:gd name="connsiteY69" fmla="*/ 2724150 h 4429225"/>
              <a:gd name="connsiteX70" fmla="*/ 49552 w 4519987"/>
              <a:gd name="connsiteY70" fmla="*/ 2638425 h 4429225"/>
              <a:gd name="connsiteX71" fmla="*/ 40027 w 4519987"/>
              <a:gd name="connsiteY71" fmla="*/ 2562225 h 4429225"/>
              <a:gd name="connsiteX72" fmla="*/ 30502 w 4519987"/>
              <a:gd name="connsiteY72" fmla="*/ 2514600 h 4429225"/>
              <a:gd name="connsiteX73" fmla="*/ 11452 w 4519987"/>
              <a:gd name="connsiteY73" fmla="*/ 2400300 h 4429225"/>
              <a:gd name="connsiteX74" fmla="*/ 20977 w 4519987"/>
              <a:gd name="connsiteY74" fmla="*/ 1905000 h 4429225"/>
              <a:gd name="connsiteX75" fmla="*/ 30502 w 4519987"/>
              <a:gd name="connsiteY75" fmla="*/ 1838325 h 4429225"/>
              <a:gd name="connsiteX76" fmla="*/ 49552 w 4519987"/>
              <a:gd name="connsiteY76" fmla="*/ 1781175 h 4429225"/>
              <a:gd name="connsiteX77" fmla="*/ 59077 w 4519987"/>
              <a:gd name="connsiteY77" fmla="*/ 1743075 h 4429225"/>
              <a:gd name="connsiteX78" fmla="*/ 78127 w 4519987"/>
              <a:gd name="connsiteY78" fmla="*/ 1685925 h 4429225"/>
              <a:gd name="connsiteX79" fmla="*/ 87652 w 4519987"/>
              <a:gd name="connsiteY79" fmla="*/ 1638300 h 4429225"/>
              <a:gd name="connsiteX80" fmla="*/ 106702 w 4519987"/>
              <a:gd name="connsiteY80" fmla="*/ 1590675 h 4429225"/>
              <a:gd name="connsiteX81" fmla="*/ 135277 w 4519987"/>
              <a:gd name="connsiteY81" fmla="*/ 1504950 h 4429225"/>
              <a:gd name="connsiteX82" fmla="*/ 154327 w 4519987"/>
              <a:gd name="connsiteY82" fmla="*/ 1419225 h 4429225"/>
              <a:gd name="connsiteX83" fmla="*/ 230527 w 4519987"/>
              <a:gd name="connsiteY83" fmla="*/ 1276350 h 4429225"/>
              <a:gd name="connsiteX84" fmla="*/ 240052 w 4519987"/>
              <a:gd name="connsiteY84" fmla="*/ 1247775 h 4429225"/>
              <a:gd name="connsiteX85" fmla="*/ 268627 w 4519987"/>
              <a:gd name="connsiteY85" fmla="*/ 1200150 h 4429225"/>
              <a:gd name="connsiteX86" fmla="*/ 287677 w 4519987"/>
              <a:gd name="connsiteY86" fmla="*/ 1152525 h 4429225"/>
              <a:gd name="connsiteX87" fmla="*/ 316252 w 4519987"/>
              <a:gd name="connsiteY87" fmla="*/ 1114425 h 4429225"/>
              <a:gd name="connsiteX88" fmla="*/ 363877 w 4519987"/>
              <a:gd name="connsiteY88" fmla="*/ 1038225 h 4429225"/>
              <a:gd name="connsiteX89" fmla="*/ 382927 w 4519987"/>
              <a:gd name="connsiteY89" fmla="*/ 1009650 h 4429225"/>
              <a:gd name="connsiteX90" fmla="*/ 440077 w 4519987"/>
              <a:gd name="connsiteY90" fmla="*/ 904875 h 4429225"/>
              <a:gd name="connsiteX91" fmla="*/ 478177 w 4519987"/>
              <a:gd name="connsiteY91" fmla="*/ 857250 h 4429225"/>
              <a:gd name="connsiteX92" fmla="*/ 497227 w 4519987"/>
              <a:gd name="connsiteY92" fmla="*/ 828675 h 4429225"/>
              <a:gd name="connsiteX93" fmla="*/ 535327 w 4519987"/>
              <a:gd name="connsiteY93" fmla="*/ 800100 h 4429225"/>
              <a:gd name="connsiteX94" fmla="*/ 602002 w 4519987"/>
              <a:gd name="connsiteY94" fmla="*/ 733425 h 4429225"/>
              <a:gd name="connsiteX95" fmla="*/ 668677 w 4519987"/>
              <a:gd name="connsiteY95" fmla="*/ 676275 h 4429225"/>
              <a:gd name="connsiteX96" fmla="*/ 697252 w 4519987"/>
              <a:gd name="connsiteY96" fmla="*/ 657225 h 4429225"/>
              <a:gd name="connsiteX97" fmla="*/ 840127 w 4519987"/>
              <a:gd name="connsiteY97" fmla="*/ 533400 h 4429225"/>
              <a:gd name="connsiteX98" fmla="*/ 887752 w 4519987"/>
              <a:gd name="connsiteY98" fmla="*/ 504825 h 4429225"/>
              <a:gd name="connsiteX99" fmla="*/ 1167152 w 4519987"/>
              <a:gd name="connsiteY99" fmla="*/ 311150 h 4429225"/>
              <a:gd name="connsiteX100" fmla="*/ 1268752 w 4519987"/>
              <a:gd name="connsiteY100" fmla="*/ 285750 h 4429225"/>
              <a:gd name="connsiteX101" fmla="*/ 1411627 w 4519987"/>
              <a:gd name="connsiteY101" fmla="*/ 190500 h 4429225"/>
              <a:gd name="connsiteX102" fmla="*/ 1449727 w 4519987"/>
              <a:gd name="connsiteY102" fmla="*/ 161925 h 4429225"/>
              <a:gd name="connsiteX103" fmla="*/ 1525927 w 4519987"/>
              <a:gd name="connsiteY103" fmla="*/ 152400 h 4429225"/>
              <a:gd name="connsiteX104" fmla="*/ 1583077 w 4519987"/>
              <a:gd name="connsiteY104" fmla="*/ 142875 h 4429225"/>
              <a:gd name="connsiteX105" fmla="*/ 1716427 w 4519987"/>
              <a:gd name="connsiteY105" fmla="*/ 123825 h 4429225"/>
              <a:gd name="connsiteX106" fmla="*/ 1811677 w 4519987"/>
              <a:gd name="connsiteY106" fmla="*/ 114300 h 4429225"/>
              <a:gd name="connsiteX107" fmla="*/ 1859302 w 4519987"/>
              <a:gd name="connsiteY107" fmla="*/ 104775 h 4429225"/>
              <a:gd name="connsiteX108" fmla="*/ 1916452 w 4519987"/>
              <a:gd name="connsiteY108" fmla="*/ 95250 h 4429225"/>
              <a:gd name="connsiteX109" fmla="*/ 2030752 w 4519987"/>
              <a:gd name="connsiteY109" fmla="*/ 66675 h 4429225"/>
              <a:gd name="connsiteX110" fmla="*/ 2097427 w 4519987"/>
              <a:gd name="connsiteY110" fmla="*/ 47625 h 4429225"/>
              <a:gd name="connsiteX111" fmla="*/ 2164102 w 4519987"/>
              <a:gd name="connsiteY111" fmla="*/ 38100 h 4429225"/>
              <a:gd name="connsiteX112" fmla="*/ 2392702 w 4519987"/>
              <a:gd name="connsiteY112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221127 w 4519987"/>
              <a:gd name="connsiteY47" fmla="*/ 4200525 h 4429225"/>
              <a:gd name="connsiteX48" fmla="*/ 1087777 w 4519987"/>
              <a:gd name="connsiteY48" fmla="*/ 4143375 h 4429225"/>
              <a:gd name="connsiteX49" fmla="*/ 1030627 w 4519987"/>
              <a:gd name="connsiteY49" fmla="*/ 4124325 h 4429225"/>
              <a:gd name="connsiteX50" fmla="*/ 925852 w 4519987"/>
              <a:gd name="connsiteY50" fmla="*/ 4067175 h 4429225"/>
              <a:gd name="connsiteX51" fmla="*/ 830602 w 4519987"/>
              <a:gd name="connsiteY51" fmla="*/ 3981450 h 4429225"/>
              <a:gd name="connsiteX52" fmla="*/ 763927 w 4519987"/>
              <a:gd name="connsiteY52" fmla="*/ 3914775 h 4429225"/>
              <a:gd name="connsiteX53" fmla="*/ 725827 w 4519987"/>
              <a:gd name="connsiteY53" fmla="*/ 3876675 h 4429225"/>
              <a:gd name="connsiteX54" fmla="*/ 697252 w 4519987"/>
              <a:gd name="connsiteY54" fmla="*/ 3838575 h 4429225"/>
              <a:gd name="connsiteX55" fmla="*/ 640102 w 4519987"/>
              <a:gd name="connsiteY55" fmla="*/ 3781425 h 4429225"/>
              <a:gd name="connsiteX56" fmla="*/ 611527 w 4519987"/>
              <a:gd name="connsiteY56" fmla="*/ 3733800 h 4429225"/>
              <a:gd name="connsiteX57" fmla="*/ 554377 w 4519987"/>
              <a:gd name="connsiteY57" fmla="*/ 3657600 h 4429225"/>
              <a:gd name="connsiteX58" fmla="*/ 525802 w 4519987"/>
              <a:gd name="connsiteY58" fmla="*/ 3609975 h 4429225"/>
              <a:gd name="connsiteX59" fmla="*/ 497227 w 4519987"/>
              <a:gd name="connsiteY59" fmla="*/ 3552825 h 4429225"/>
              <a:gd name="connsiteX60" fmla="*/ 440077 w 4519987"/>
              <a:gd name="connsiteY60" fmla="*/ 3495675 h 4429225"/>
              <a:gd name="connsiteX61" fmla="*/ 411502 w 4519987"/>
              <a:gd name="connsiteY61" fmla="*/ 3448050 h 4429225"/>
              <a:gd name="connsiteX62" fmla="*/ 278152 w 4519987"/>
              <a:gd name="connsiteY62" fmla="*/ 3257550 h 4429225"/>
              <a:gd name="connsiteX63" fmla="*/ 249577 w 4519987"/>
              <a:gd name="connsiteY63" fmla="*/ 3200400 h 4429225"/>
              <a:gd name="connsiteX64" fmla="*/ 240052 w 4519987"/>
              <a:gd name="connsiteY64" fmla="*/ 3162300 h 4429225"/>
              <a:gd name="connsiteX65" fmla="*/ 221002 w 4519987"/>
              <a:gd name="connsiteY65" fmla="*/ 3105150 h 4429225"/>
              <a:gd name="connsiteX66" fmla="*/ 173377 w 4519987"/>
              <a:gd name="connsiteY66" fmla="*/ 3019425 h 4429225"/>
              <a:gd name="connsiteX67" fmla="*/ 144802 w 4519987"/>
              <a:gd name="connsiteY67" fmla="*/ 2924175 h 4429225"/>
              <a:gd name="connsiteX68" fmla="*/ 68602 w 4519987"/>
              <a:gd name="connsiteY68" fmla="*/ 2724150 h 4429225"/>
              <a:gd name="connsiteX69" fmla="*/ 49552 w 4519987"/>
              <a:gd name="connsiteY69" fmla="*/ 2638425 h 4429225"/>
              <a:gd name="connsiteX70" fmla="*/ 40027 w 4519987"/>
              <a:gd name="connsiteY70" fmla="*/ 2562225 h 4429225"/>
              <a:gd name="connsiteX71" fmla="*/ 30502 w 4519987"/>
              <a:gd name="connsiteY71" fmla="*/ 2514600 h 4429225"/>
              <a:gd name="connsiteX72" fmla="*/ 11452 w 4519987"/>
              <a:gd name="connsiteY72" fmla="*/ 2400300 h 4429225"/>
              <a:gd name="connsiteX73" fmla="*/ 20977 w 4519987"/>
              <a:gd name="connsiteY73" fmla="*/ 1905000 h 4429225"/>
              <a:gd name="connsiteX74" fmla="*/ 30502 w 4519987"/>
              <a:gd name="connsiteY74" fmla="*/ 1838325 h 4429225"/>
              <a:gd name="connsiteX75" fmla="*/ 49552 w 4519987"/>
              <a:gd name="connsiteY75" fmla="*/ 1781175 h 4429225"/>
              <a:gd name="connsiteX76" fmla="*/ 59077 w 4519987"/>
              <a:gd name="connsiteY76" fmla="*/ 1743075 h 4429225"/>
              <a:gd name="connsiteX77" fmla="*/ 78127 w 4519987"/>
              <a:gd name="connsiteY77" fmla="*/ 1685925 h 4429225"/>
              <a:gd name="connsiteX78" fmla="*/ 87652 w 4519987"/>
              <a:gd name="connsiteY78" fmla="*/ 1638300 h 4429225"/>
              <a:gd name="connsiteX79" fmla="*/ 106702 w 4519987"/>
              <a:gd name="connsiteY79" fmla="*/ 1590675 h 4429225"/>
              <a:gd name="connsiteX80" fmla="*/ 135277 w 4519987"/>
              <a:gd name="connsiteY80" fmla="*/ 1504950 h 4429225"/>
              <a:gd name="connsiteX81" fmla="*/ 154327 w 4519987"/>
              <a:gd name="connsiteY81" fmla="*/ 1419225 h 4429225"/>
              <a:gd name="connsiteX82" fmla="*/ 230527 w 4519987"/>
              <a:gd name="connsiteY82" fmla="*/ 1276350 h 4429225"/>
              <a:gd name="connsiteX83" fmla="*/ 240052 w 4519987"/>
              <a:gd name="connsiteY83" fmla="*/ 1247775 h 4429225"/>
              <a:gd name="connsiteX84" fmla="*/ 268627 w 4519987"/>
              <a:gd name="connsiteY84" fmla="*/ 1200150 h 4429225"/>
              <a:gd name="connsiteX85" fmla="*/ 287677 w 4519987"/>
              <a:gd name="connsiteY85" fmla="*/ 1152525 h 4429225"/>
              <a:gd name="connsiteX86" fmla="*/ 316252 w 4519987"/>
              <a:gd name="connsiteY86" fmla="*/ 1114425 h 4429225"/>
              <a:gd name="connsiteX87" fmla="*/ 363877 w 4519987"/>
              <a:gd name="connsiteY87" fmla="*/ 1038225 h 4429225"/>
              <a:gd name="connsiteX88" fmla="*/ 382927 w 4519987"/>
              <a:gd name="connsiteY88" fmla="*/ 1009650 h 4429225"/>
              <a:gd name="connsiteX89" fmla="*/ 440077 w 4519987"/>
              <a:gd name="connsiteY89" fmla="*/ 904875 h 4429225"/>
              <a:gd name="connsiteX90" fmla="*/ 478177 w 4519987"/>
              <a:gd name="connsiteY90" fmla="*/ 857250 h 4429225"/>
              <a:gd name="connsiteX91" fmla="*/ 497227 w 4519987"/>
              <a:gd name="connsiteY91" fmla="*/ 828675 h 4429225"/>
              <a:gd name="connsiteX92" fmla="*/ 535327 w 4519987"/>
              <a:gd name="connsiteY92" fmla="*/ 800100 h 4429225"/>
              <a:gd name="connsiteX93" fmla="*/ 602002 w 4519987"/>
              <a:gd name="connsiteY93" fmla="*/ 733425 h 4429225"/>
              <a:gd name="connsiteX94" fmla="*/ 668677 w 4519987"/>
              <a:gd name="connsiteY94" fmla="*/ 676275 h 4429225"/>
              <a:gd name="connsiteX95" fmla="*/ 697252 w 4519987"/>
              <a:gd name="connsiteY95" fmla="*/ 657225 h 4429225"/>
              <a:gd name="connsiteX96" fmla="*/ 840127 w 4519987"/>
              <a:gd name="connsiteY96" fmla="*/ 533400 h 4429225"/>
              <a:gd name="connsiteX97" fmla="*/ 887752 w 4519987"/>
              <a:gd name="connsiteY97" fmla="*/ 504825 h 4429225"/>
              <a:gd name="connsiteX98" fmla="*/ 1167152 w 4519987"/>
              <a:gd name="connsiteY98" fmla="*/ 311150 h 4429225"/>
              <a:gd name="connsiteX99" fmla="*/ 1268752 w 4519987"/>
              <a:gd name="connsiteY99" fmla="*/ 285750 h 4429225"/>
              <a:gd name="connsiteX100" fmla="*/ 1411627 w 4519987"/>
              <a:gd name="connsiteY100" fmla="*/ 190500 h 4429225"/>
              <a:gd name="connsiteX101" fmla="*/ 1449727 w 4519987"/>
              <a:gd name="connsiteY101" fmla="*/ 161925 h 4429225"/>
              <a:gd name="connsiteX102" fmla="*/ 1525927 w 4519987"/>
              <a:gd name="connsiteY102" fmla="*/ 152400 h 4429225"/>
              <a:gd name="connsiteX103" fmla="*/ 1583077 w 4519987"/>
              <a:gd name="connsiteY103" fmla="*/ 142875 h 4429225"/>
              <a:gd name="connsiteX104" fmla="*/ 1716427 w 4519987"/>
              <a:gd name="connsiteY104" fmla="*/ 123825 h 4429225"/>
              <a:gd name="connsiteX105" fmla="*/ 1811677 w 4519987"/>
              <a:gd name="connsiteY105" fmla="*/ 114300 h 4429225"/>
              <a:gd name="connsiteX106" fmla="*/ 1859302 w 4519987"/>
              <a:gd name="connsiteY106" fmla="*/ 104775 h 4429225"/>
              <a:gd name="connsiteX107" fmla="*/ 1916452 w 4519987"/>
              <a:gd name="connsiteY107" fmla="*/ 95250 h 4429225"/>
              <a:gd name="connsiteX108" fmla="*/ 2030752 w 4519987"/>
              <a:gd name="connsiteY108" fmla="*/ 66675 h 4429225"/>
              <a:gd name="connsiteX109" fmla="*/ 2097427 w 4519987"/>
              <a:gd name="connsiteY109" fmla="*/ 47625 h 4429225"/>
              <a:gd name="connsiteX110" fmla="*/ 2164102 w 4519987"/>
              <a:gd name="connsiteY110" fmla="*/ 38100 h 4429225"/>
              <a:gd name="connsiteX111" fmla="*/ 2392702 w 4519987"/>
              <a:gd name="connsiteY111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1030627 w 4519987"/>
              <a:gd name="connsiteY48" fmla="*/ 4124325 h 4429225"/>
              <a:gd name="connsiteX49" fmla="*/ 925852 w 4519987"/>
              <a:gd name="connsiteY49" fmla="*/ 4067175 h 4429225"/>
              <a:gd name="connsiteX50" fmla="*/ 830602 w 4519987"/>
              <a:gd name="connsiteY50" fmla="*/ 3981450 h 4429225"/>
              <a:gd name="connsiteX51" fmla="*/ 763927 w 4519987"/>
              <a:gd name="connsiteY51" fmla="*/ 3914775 h 4429225"/>
              <a:gd name="connsiteX52" fmla="*/ 725827 w 4519987"/>
              <a:gd name="connsiteY52" fmla="*/ 3876675 h 4429225"/>
              <a:gd name="connsiteX53" fmla="*/ 697252 w 4519987"/>
              <a:gd name="connsiteY53" fmla="*/ 3838575 h 4429225"/>
              <a:gd name="connsiteX54" fmla="*/ 640102 w 4519987"/>
              <a:gd name="connsiteY54" fmla="*/ 3781425 h 4429225"/>
              <a:gd name="connsiteX55" fmla="*/ 611527 w 4519987"/>
              <a:gd name="connsiteY55" fmla="*/ 3733800 h 4429225"/>
              <a:gd name="connsiteX56" fmla="*/ 554377 w 4519987"/>
              <a:gd name="connsiteY56" fmla="*/ 3657600 h 4429225"/>
              <a:gd name="connsiteX57" fmla="*/ 525802 w 4519987"/>
              <a:gd name="connsiteY57" fmla="*/ 3609975 h 4429225"/>
              <a:gd name="connsiteX58" fmla="*/ 497227 w 4519987"/>
              <a:gd name="connsiteY58" fmla="*/ 3552825 h 4429225"/>
              <a:gd name="connsiteX59" fmla="*/ 440077 w 4519987"/>
              <a:gd name="connsiteY59" fmla="*/ 3495675 h 4429225"/>
              <a:gd name="connsiteX60" fmla="*/ 411502 w 4519987"/>
              <a:gd name="connsiteY60" fmla="*/ 3448050 h 4429225"/>
              <a:gd name="connsiteX61" fmla="*/ 278152 w 4519987"/>
              <a:gd name="connsiteY61" fmla="*/ 3257550 h 4429225"/>
              <a:gd name="connsiteX62" fmla="*/ 249577 w 4519987"/>
              <a:gd name="connsiteY62" fmla="*/ 3200400 h 4429225"/>
              <a:gd name="connsiteX63" fmla="*/ 240052 w 4519987"/>
              <a:gd name="connsiteY63" fmla="*/ 3162300 h 4429225"/>
              <a:gd name="connsiteX64" fmla="*/ 221002 w 4519987"/>
              <a:gd name="connsiteY64" fmla="*/ 3105150 h 4429225"/>
              <a:gd name="connsiteX65" fmla="*/ 173377 w 4519987"/>
              <a:gd name="connsiteY65" fmla="*/ 3019425 h 4429225"/>
              <a:gd name="connsiteX66" fmla="*/ 144802 w 4519987"/>
              <a:gd name="connsiteY66" fmla="*/ 2924175 h 4429225"/>
              <a:gd name="connsiteX67" fmla="*/ 68602 w 4519987"/>
              <a:gd name="connsiteY67" fmla="*/ 2724150 h 4429225"/>
              <a:gd name="connsiteX68" fmla="*/ 49552 w 4519987"/>
              <a:gd name="connsiteY68" fmla="*/ 2638425 h 4429225"/>
              <a:gd name="connsiteX69" fmla="*/ 40027 w 4519987"/>
              <a:gd name="connsiteY69" fmla="*/ 2562225 h 4429225"/>
              <a:gd name="connsiteX70" fmla="*/ 30502 w 4519987"/>
              <a:gd name="connsiteY70" fmla="*/ 2514600 h 4429225"/>
              <a:gd name="connsiteX71" fmla="*/ 11452 w 4519987"/>
              <a:gd name="connsiteY71" fmla="*/ 2400300 h 4429225"/>
              <a:gd name="connsiteX72" fmla="*/ 20977 w 4519987"/>
              <a:gd name="connsiteY72" fmla="*/ 1905000 h 4429225"/>
              <a:gd name="connsiteX73" fmla="*/ 30502 w 4519987"/>
              <a:gd name="connsiteY73" fmla="*/ 1838325 h 4429225"/>
              <a:gd name="connsiteX74" fmla="*/ 49552 w 4519987"/>
              <a:gd name="connsiteY74" fmla="*/ 1781175 h 4429225"/>
              <a:gd name="connsiteX75" fmla="*/ 59077 w 4519987"/>
              <a:gd name="connsiteY75" fmla="*/ 1743075 h 4429225"/>
              <a:gd name="connsiteX76" fmla="*/ 78127 w 4519987"/>
              <a:gd name="connsiteY76" fmla="*/ 1685925 h 4429225"/>
              <a:gd name="connsiteX77" fmla="*/ 87652 w 4519987"/>
              <a:gd name="connsiteY77" fmla="*/ 1638300 h 4429225"/>
              <a:gd name="connsiteX78" fmla="*/ 106702 w 4519987"/>
              <a:gd name="connsiteY78" fmla="*/ 1590675 h 4429225"/>
              <a:gd name="connsiteX79" fmla="*/ 135277 w 4519987"/>
              <a:gd name="connsiteY79" fmla="*/ 1504950 h 4429225"/>
              <a:gd name="connsiteX80" fmla="*/ 154327 w 4519987"/>
              <a:gd name="connsiteY80" fmla="*/ 1419225 h 4429225"/>
              <a:gd name="connsiteX81" fmla="*/ 230527 w 4519987"/>
              <a:gd name="connsiteY81" fmla="*/ 1276350 h 4429225"/>
              <a:gd name="connsiteX82" fmla="*/ 240052 w 4519987"/>
              <a:gd name="connsiteY82" fmla="*/ 1247775 h 4429225"/>
              <a:gd name="connsiteX83" fmla="*/ 268627 w 4519987"/>
              <a:gd name="connsiteY83" fmla="*/ 1200150 h 4429225"/>
              <a:gd name="connsiteX84" fmla="*/ 287677 w 4519987"/>
              <a:gd name="connsiteY84" fmla="*/ 1152525 h 4429225"/>
              <a:gd name="connsiteX85" fmla="*/ 316252 w 4519987"/>
              <a:gd name="connsiteY85" fmla="*/ 1114425 h 4429225"/>
              <a:gd name="connsiteX86" fmla="*/ 363877 w 4519987"/>
              <a:gd name="connsiteY86" fmla="*/ 1038225 h 4429225"/>
              <a:gd name="connsiteX87" fmla="*/ 382927 w 4519987"/>
              <a:gd name="connsiteY87" fmla="*/ 1009650 h 4429225"/>
              <a:gd name="connsiteX88" fmla="*/ 440077 w 4519987"/>
              <a:gd name="connsiteY88" fmla="*/ 904875 h 4429225"/>
              <a:gd name="connsiteX89" fmla="*/ 478177 w 4519987"/>
              <a:gd name="connsiteY89" fmla="*/ 857250 h 4429225"/>
              <a:gd name="connsiteX90" fmla="*/ 497227 w 4519987"/>
              <a:gd name="connsiteY90" fmla="*/ 828675 h 4429225"/>
              <a:gd name="connsiteX91" fmla="*/ 535327 w 4519987"/>
              <a:gd name="connsiteY91" fmla="*/ 800100 h 4429225"/>
              <a:gd name="connsiteX92" fmla="*/ 602002 w 4519987"/>
              <a:gd name="connsiteY92" fmla="*/ 733425 h 4429225"/>
              <a:gd name="connsiteX93" fmla="*/ 668677 w 4519987"/>
              <a:gd name="connsiteY93" fmla="*/ 676275 h 4429225"/>
              <a:gd name="connsiteX94" fmla="*/ 697252 w 4519987"/>
              <a:gd name="connsiteY94" fmla="*/ 657225 h 4429225"/>
              <a:gd name="connsiteX95" fmla="*/ 840127 w 4519987"/>
              <a:gd name="connsiteY95" fmla="*/ 533400 h 4429225"/>
              <a:gd name="connsiteX96" fmla="*/ 887752 w 4519987"/>
              <a:gd name="connsiteY96" fmla="*/ 504825 h 4429225"/>
              <a:gd name="connsiteX97" fmla="*/ 1167152 w 4519987"/>
              <a:gd name="connsiteY97" fmla="*/ 311150 h 4429225"/>
              <a:gd name="connsiteX98" fmla="*/ 1268752 w 4519987"/>
              <a:gd name="connsiteY98" fmla="*/ 285750 h 4429225"/>
              <a:gd name="connsiteX99" fmla="*/ 1411627 w 4519987"/>
              <a:gd name="connsiteY99" fmla="*/ 190500 h 4429225"/>
              <a:gd name="connsiteX100" fmla="*/ 1449727 w 4519987"/>
              <a:gd name="connsiteY100" fmla="*/ 161925 h 4429225"/>
              <a:gd name="connsiteX101" fmla="*/ 1525927 w 4519987"/>
              <a:gd name="connsiteY101" fmla="*/ 152400 h 4429225"/>
              <a:gd name="connsiteX102" fmla="*/ 1583077 w 4519987"/>
              <a:gd name="connsiteY102" fmla="*/ 142875 h 4429225"/>
              <a:gd name="connsiteX103" fmla="*/ 1716427 w 4519987"/>
              <a:gd name="connsiteY103" fmla="*/ 123825 h 4429225"/>
              <a:gd name="connsiteX104" fmla="*/ 1811677 w 4519987"/>
              <a:gd name="connsiteY104" fmla="*/ 114300 h 4429225"/>
              <a:gd name="connsiteX105" fmla="*/ 1859302 w 4519987"/>
              <a:gd name="connsiteY105" fmla="*/ 104775 h 4429225"/>
              <a:gd name="connsiteX106" fmla="*/ 1916452 w 4519987"/>
              <a:gd name="connsiteY106" fmla="*/ 95250 h 4429225"/>
              <a:gd name="connsiteX107" fmla="*/ 2030752 w 4519987"/>
              <a:gd name="connsiteY107" fmla="*/ 66675 h 4429225"/>
              <a:gd name="connsiteX108" fmla="*/ 2097427 w 4519987"/>
              <a:gd name="connsiteY108" fmla="*/ 47625 h 4429225"/>
              <a:gd name="connsiteX109" fmla="*/ 2164102 w 4519987"/>
              <a:gd name="connsiteY109" fmla="*/ 38100 h 4429225"/>
              <a:gd name="connsiteX110" fmla="*/ 2392702 w 4519987"/>
              <a:gd name="connsiteY110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925852 w 4519987"/>
              <a:gd name="connsiteY48" fmla="*/ 4067175 h 4429225"/>
              <a:gd name="connsiteX49" fmla="*/ 830602 w 4519987"/>
              <a:gd name="connsiteY49" fmla="*/ 3981450 h 4429225"/>
              <a:gd name="connsiteX50" fmla="*/ 763927 w 4519987"/>
              <a:gd name="connsiteY50" fmla="*/ 3914775 h 4429225"/>
              <a:gd name="connsiteX51" fmla="*/ 725827 w 4519987"/>
              <a:gd name="connsiteY51" fmla="*/ 3876675 h 4429225"/>
              <a:gd name="connsiteX52" fmla="*/ 697252 w 4519987"/>
              <a:gd name="connsiteY52" fmla="*/ 3838575 h 4429225"/>
              <a:gd name="connsiteX53" fmla="*/ 640102 w 4519987"/>
              <a:gd name="connsiteY53" fmla="*/ 3781425 h 4429225"/>
              <a:gd name="connsiteX54" fmla="*/ 611527 w 4519987"/>
              <a:gd name="connsiteY54" fmla="*/ 3733800 h 4429225"/>
              <a:gd name="connsiteX55" fmla="*/ 554377 w 4519987"/>
              <a:gd name="connsiteY55" fmla="*/ 3657600 h 4429225"/>
              <a:gd name="connsiteX56" fmla="*/ 525802 w 4519987"/>
              <a:gd name="connsiteY56" fmla="*/ 3609975 h 4429225"/>
              <a:gd name="connsiteX57" fmla="*/ 497227 w 4519987"/>
              <a:gd name="connsiteY57" fmla="*/ 3552825 h 4429225"/>
              <a:gd name="connsiteX58" fmla="*/ 440077 w 4519987"/>
              <a:gd name="connsiteY58" fmla="*/ 3495675 h 4429225"/>
              <a:gd name="connsiteX59" fmla="*/ 411502 w 4519987"/>
              <a:gd name="connsiteY59" fmla="*/ 3448050 h 4429225"/>
              <a:gd name="connsiteX60" fmla="*/ 278152 w 4519987"/>
              <a:gd name="connsiteY60" fmla="*/ 3257550 h 4429225"/>
              <a:gd name="connsiteX61" fmla="*/ 249577 w 4519987"/>
              <a:gd name="connsiteY61" fmla="*/ 3200400 h 4429225"/>
              <a:gd name="connsiteX62" fmla="*/ 240052 w 4519987"/>
              <a:gd name="connsiteY62" fmla="*/ 3162300 h 4429225"/>
              <a:gd name="connsiteX63" fmla="*/ 221002 w 4519987"/>
              <a:gd name="connsiteY63" fmla="*/ 3105150 h 4429225"/>
              <a:gd name="connsiteX64" fmla="*/ 173377 w 4519987"/>
              <a:gd name="connsiteY64" fmla="*/ 3019425 h 4429225"/>
              <a:gd name="connsiteX65" fmla="*/ 144802 w 4519987"/>
              <a:gd name="connsiteY65" fmla="*/ 2924175 h 4429225"/>
              <a:gd name="connsiteX66" fmla="*/ 68602 w 4519987"/>
              <a:gd name="connsiteY66" fmla="*/ 2724150 h 4429225"/>
              <a:gd name="connsiteX67" fmla="*/ 49552 w 4519987"/>
              <a:gd name="connsiteY67" fmla="*/ 2638425 h 4429225"/>
              <a:gd name="connsiteX68" fmla="*/ 40027 w 4519987"/>
              <a:gd name="connsiteY68" fmla="*/ 2562225 h 4429225"/>
              <a:gd name="connsiteX69" fmla="*/ 30502 w 4519987"/>
              <a:gd name="connsiteY69" fmla="*/ 2514600 h 4429225"/>
              <a:gd name="connsiteX70" fmla="*/ 11452 w 4519987"/>
              <a:gd name="connsiteY70" fmla="*/ 2400300 h 4429225"/>
              <a:gd name="connsiteX71" fmla="*/ 20977 w 4519987"/>
              <a:gd name="connsiteY71" fmla="*/ 1905000 h 4429225"/>
              <a:gd name="connsiteX72" fmla="*/ 30502 w 4519987"/>
              <a:gd name="connsiteY72" fmla="*/ 1838325 h 4429225"/>
              <a:gd name="connsiteX73" fmla="*/ 49552 w 4519987"/>
              <a:gd name="connsiteY73" fmla="*/ 1781175 h 4429225"/>
              <a:gd name="connsiteX74" fmla="*/ 59077 w 4519987"/>
              <a:gd name="connsiteY74" fmla="*/ 1743075 h 4429225"/>
              <a:gd name="connsiteX75" fmla="*/ 78127 w 4519987"/>
              <a:gd name="connsiteY75" fmla="*/ 1685925 h 4429225"/>
              <a:gd name="connsiteX76" fmla="*/ 87652 w 4519987"/>
              <a:gd name="connsiteY76" fmla="*/ 1638300 h 4429225"/>
              <a:gd name="connsiteX77" fmla="*/ 106702 w 4519987"/>
              <a:gd name="connsiteY77" fmla="*/ 1590675 h 4429225"/>
              <a:gd name="connsiteX78" fmla="*/ 135277 w 4519987"/>
              <a:gd name="connsiteY78" fmla="*/ 1504950 h 4429225"/>
              <a:gd name="connsiteX79" fmla="*/ 154327 w 4519987"/>
              <a:gd name="connsiteY79" fmla="*/ 1419225 h 4429225"/>
              <a:gd name="connsiteX80" fmla="*/ 230527 w 4519987"/>
              <a:gd name="connsiteY80" fmla="*/ 1276350 h 4429225"/>
              <a:gd name="connsiteX81" fmla="*/ 240052 w 4519987"/>
              <a:gd name="connsiteY81" fmla="*/ 1247775 h 4429225"/>
              <a:gd name="connsiteX82" fmla="*/ 268627 w 4519987"/>
              <a:gd name="connsiteY82" fmla="*/ 1200150 h 4429225"/>
              <a:gd name="connsiteX83" fmla="*/ 287677 w 4519987"/>
              <a:gd name="connsiteY83" fmla="*/ 1152525 h 4429225"/>
              <a:gd name="connsiteX84" fmla="*/ 316252 w 4519987"/>
              <a:gd name="connsiteY84" fmla="*/ 1114425 h 4429225"/>
              <a:gd name="connsiteX85" fmla="*/ 363877 w 4519987"/>
              <a:gd name="connsiteY85" fmla="*/ 1038225 h 4429225"/>
              <a:gd name="connsiteX86" fmla="*/ 382927 w 4519987"/>
              <a:gd name="connsiteY86" fmla="*/ 1009650 h 4429225"/>
              <a:gd name="connsiteX87" fmla="*/ 440077 w 4519987"/>
              <a:gd name="connsiteY87" fmla="*/ 904875 h 4429225"/>
              <a:gd name="connsiteX88" fmla="*/ 478177 w 4519987"/>
              <a:gd name="connsiteY88" fmla="*/ 857250 h 4429225"/>
              <a:gd name="connsiteX89" fmla="*/ 497227 w 4519987"/>
              <a:gd name="connsiteY89" fmla="*/ 828675 h 4429225"/>
              <a:gd name="connsiteX90" fmla="*/ 535327 w 4519987"/>
              <a:gd name="connsiteY90" fmla="*/ 800100 h 4429225"/>
              <a:gd name="connsiteX91" fmla="*/ 602002 w 4519987"/>
              <a:gd name="connsiteY91" fmla="*/ 733425 h 4429225"/>
              <a:gd name="connsiteX92" fmla="*/ 668677 w 4519987"/>
              <a:gd name="connsiteY92" fmla="*/ 676275 h 4429225"/>
              <a:gd name="connsiteX93" fmla="*/ 697252 w 4519987"/>
              <a:gd name="connsiteY93" fmla="*/ 657225 h 4429225"/>
              <a:gd name="connsiteX94" fmla="*/ 840127 w 4519987"/>
              <a:gd name="connsiteY94" fmla="*/ 533400 h 4429225"/>
              <a:gd name="connsiteX95" fmla="*/ 887752 w 4519987"/>
              <a:gd name="connsiteY95" fmla="*/ 504825 h 4429225"/>
              <a:gd name="connsiteX96" fmla="*/ 1167152 w 4519987"/>
              <a:gd name="connsiteY96" fmla="*/ 311150 h 4429225"/>
              <a:gd name="connsiteX97" fmla="*/ 1268752 w 4519987"/>
              <a:gd name="connsiteY97" fmla="*/ 285750 h 4429225"/>
              <a:gd name="connsiteX98" fmla="*/ 1411627 w 4519987"/>
              <a:gd name="connsiteY98" fmla="*/ 190500 h 4429225"/>
              <a:gd name="connsiteX99" fmla="*/ 1449727 w 4519987"/>
              <a:gd name="connsiteY99" fmla="*/ 161925 h 4429225"/>
              <a:gd name="connsiteX100" fmla="*/ 1525927 w 4519987"/>
              <a:gd name="connsiteY100" fmla="*/ 152400 h 4429225"/>
              <a:gd name="connsiteX101" fmla="*/ 1583077 w 4519987"/>
              <a:gd name="connsiteY101" fmla="*/ 142875 h 4429225"/>
              <a:gd name="connsiteX102" fmla="*/ 1716427 w 4519987"/>
              <a:gd name="connsiteY102" fmla="*/ 123825 h 4429225"/>
              <a:gd name="connsiteX103" fmla="*/ 1811677 w 4519987"/>
              <a:gd name="connsiteY103" fmla="*/ 114300 h 4429225"/>
              <a:gd name="connsiteX104" fmla="*/ 1859302 w 4519987"/>
              <a:gd name="connsiteY104" fmla="*/ 104775 h 4429225"/>
              <a:gd name="connsiteX105" fmla="*/ 1916452 w 4519987"/>
              <a:gd name="connsiteY105" fmla="*/ 95250 h 4429225"/>
              <a:gd name="connsiteX106" fmla="*/ 2030752 w 4519987"/>
              <a:gd name="connsiteY106" fmla="*/ 66675 h 4429225"/>
              <a:gd name="connsiteX107" fmla="*/ 2097427 w 4519987"/>
              <a:gd name="connsiteY107" fmla="*/ 47625 h 4429225"/>
              <a:gd name="connsiteX108" fmla="*/ 2164102 w 4519987"/>
              <a:gd name="connsiteY108" fmla="*/ 38100 h 4429225"/>
              <a:gd name="connsiteX109" fmla="*/ 2392702 w 4519987"/>
              <a:gd name="connsiteY109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725827 w 4519987"/>
              <a:gd name="connsiteY50" fmla="*/ 3876675 h 4429225"/>
              <a:gd name="connsiteX51" fmla="*/ 697252 w 4519987"/>
              <a:gd name="connsiteY51" fmla="*/ 3838575 h 4429225"/>
              <a:gd name="connsiteX52" fmla="*/ 640102 w 4519987"/>
              <a:gd name="connsiteY52" fmla="*/ 3781425 h 4429225"/>
              <a:gd name="connsiteX53" fmla="*/ 611527 w 4519987"/>
              <a:gd name="connsiteY53" fmla="*/ 3733800 h 4429225"/>
              <a:gd name="connsiteX54" fmla="*/ 554377 w 4519987"/>
              <a:gd name="connsiteY54" fmla="*/ 3657600 h 4429225"/>
              <a:gd name="connsiteX55" fmla="*/ 525802 w 4519987"/>
              <a:gd name="connsiteY55" fmla="*/ 3609975 h 4429225"/>
              <a:gd name="connsiteX56" fmla="*/ 497227 w 4519987"/>
              <a:gd name="connsiteY56" fmla="*/ 3552825 h 4429225"/>
              <a:gd name="connsiteX57" fmla="*/ 440077 w 4519987"/>
              <a:gd name="connsiteY57" fmla="*/ 3495675 h 4429225"/>
              <a:gd name="connsiteX58" fmla="*/ 411502 w 4519987"/>
              <a:gd name="connsiteY58" fmla="*/ 3448050 h 4429225"/>
              <a:gd name="connsiteX59" fmla="*/ 278152 w 4519987"/>
              <a:gd name="connsiteY59" fmla="*/ 3257550 h 4429225"/>
              <a:gd name="connsiteX60" fmla="*/ 249577 w 4519987"/>
              <a:gd name="connsiteY60" fmla="*/ 3200400 h 4429225"/>
              <a:gd name="connsiteX61" fmla="*/ 240052 w 4519987"/>
              <a:gd name="connsiteY61" fmla="*/ 3162300 h 4429225"/>
              <a:gd name="connsiteX62" fmla="*/ 221002 w 4519987"/>
              <a:gd name="connsiteY62" fmla="*/ 3105150 h 4429225"/>
              <a:gd name="connsiteX63" fmla="*/ 173377 w 4519987"/>
              <a:gd name="connsiteY63" fmla="*/ 3019425 h 4429225"/>
              <a:gd name="connsiteX64" fmla="*/ 144802 w 4519987"/>
              <a:gd name="connsiteY64" fmla="*/ 2924175 h 4429225"/>
              <a:gd name="connsiteX65" fmla="*/ 68602 w 4519987"/>
              <a:gd name="connsiteY65" fmla="*/ 2724150 h 4429225"/>
              <a:gd name="connsiteX66" fmla="*/ 49552 w 4519987"/>
              <a:gd name="connsiteY66" fmla="*/ 2638425 h 4429225"/>
              <a:gd name="connsiteX67" fmla="*/ 40027 w 4519987"/>
              <a:gd name="connsiteY67" fmla="*/ 2562225 h 4429225"/>
              <a:gd name="connsiteX68" fmla="*/ 30502 w 4519987"/>
              <a:gd name="connsiteY68" fmla="*/ 2514600 h 4429225"/>
              <a:gd name="connsiteX69" fmla="*/ 11452 w 4519987"/>
              <a:gd name="connsiteY69" fmla="*/ 2400300 h 4429225"/>
              <a:gd name="connsiteX70" fmla="*/ 20977 w 4519987"/>
              <a:gd name="connsiteY70" fmla="*/ 1905000 h 4429225"/>
              <a:gd name="connsiteX71" fmla="*/ 30502 w 4519987"/>
              <a:gd name="connsiteY71" fmla="*/ 1838325 h 4429225"/>
              <a:gd name="connsiteX72" fmla="*/ 49552 w 4519987"/>
              <a:gd name="connsiteY72" fmla="*/ 1781175 h 4429225"/>
              <a:gd name="connsiteX73" fmla="*/ 59077 w 4519987"/>
              <a:gd name="connsiteY73" fmla="*/ 1743075 h 4429225"/>
              <a:gd name="connsiteX74" fmla="*/ 78127 w 4519987"/>
              <a:gd name="connsiteY74" fmla="*/ 1685925 h 4429225"/>
              <a:gd name="connsiteX75" fmla="*/ 87652 w 4519987"/>
              <a:gd name="connsiteY75" fmla="*/ 1638300 h 4429225"/>
              <a:gd name="connsiteX76" fmla="*/ 106702 w 4519987"/>
              <a:gd name="connsiteY76" fmla="*/ 1590675 h 4429225"/>
              <a:gd name="connsiteX77" fmla="*/ 135277 w 4519987"/>
              <a:gd name="connsiteY77" fmla="*/ 1504950 h 4429225"/>
              <a:gd name="connsiteX78" fmla="*/ 154327 w 4519987"/>
              <a:gd name="connsiteY78" fmla="*/ 1419225 h 4429225"/>
              <a:gd name="connsiteX79" fmla="*/ 230527 w 4519987"/>
              <a:gd name="connsiteY79" fmla="*/ 1276350 h 4429225"/>
              <a:gd name="connsiteX80" fmla="*/ 240052 w 4519987"/>
              <a:gd name="connsiteY80" fmla="*/ 1247775 h 4429225"/>
              <a:gd name="connsiteX81" fmla="*/ 268627 w 4519987"/>
              <a:gd name="connsiteY81" fmla="*/ 1200150 h 4429225"/>
              <a:gd name="connsiteX82" fmla="*/ 287677 w 4519987"/>
              <a:gd name="connsiteY82" fmla="*/ 1152525 h 4429225"/>
              <a:gd name="connsiteX83" fmla="*/ 316252 w 4519987"/>
              <a:gd name="connsiteY83" fmla="*/ 1114425 h 4429225"/>
              <a:gd name="connsiteX84" fmla="*/ 363877 w 4519987"/>
              <a:gd name="connsiteY84" fmla="*/ 1038225 h 4429225"/>
              <a:gd name="connsiteX85" fmla="*/ 382927 w 4519987"/>
              <a:gd name="connsiteY85" fmla="*/ 1009650 h 4429225"/>
              <a:gd name="connsiteX86" fmla="*/ 440077 w 4519987"/>
              <a:gd name="connsiteY86" fmla="*/ 904875 h 4429225"/>
              <a:gd name="connsiteX87" fmla="*/ 478177 w 4519987"/>
              <a:gd name="connsiteY87" fmla="*/ 857250 h 4429225"/>
              <a:gd name="connsiteX88" fmla="*/ 497227 w 4519987"/>
              <a:gd name="connsiteY88" fmla="*/ 828675 h 4429225"/>
              <a:gd name="connsiteX89" fmla="*/ 535327 w 4519987"/>
              <a:gd name="connsiteY89" fmla="*/ 800100 h 4429225"/>
              <a:gd name="connsiteX90" fmla="*/ 602002 w 4519987"/>
              <a:gd name="connsiteY90" fmla="*/ 733425 h 4429225"/>
              <a:gd name="connsiteX91" fmla="*/ 668677 w 4519987"/>
              <a:gd name="connsiteY91" fmla="*/ 676275 h 4429225"/>
              <a:gd name="connsiteX92" fmla="*/ 697252 w 4519987"/>
              <a:gd name="connsiteY92" fmla="*/ 657225 h 4429225"/>
              <a:gd name="connsiteX93" fmla="*/ 840127 w 4519987"/>
              <a:gd name="connsiteY93" fmla="*/ 533400 h 4429225"/>
              <a:gd name="connsiteX94" fmla="*/ 887752 w 4519987"/>
              <a:gd name="connsiteY94" fmla="*/ 504825 h 4429225"/>
              <a:gd name="connsiteX95" fmla="*/ 1167152 w 4519987"/>
              <a:gd name="connsiteY95" fmla="*/ 311150 h 4429225"/>
              <a:gd name="connsiteX96" fmla="*/ 1268752 w 4519987"/>
              <a:gd name="connsiteY96" fmla="*/ 285750 h 4429225"/>
              <a:gd name="connsiteX97" fmla="*/ 1411627 w 4519987"/>
              <a:gd name="connsiteY97" fmla="*/ 190500 h 4429225"/>
              <a:gd name="connsiteX98" fmla="*/ 1449727 w 4519987"/>
              <a:gd name="connsiteY98" fmla="*/ 161925 h 4429225"/>
              <a:gd name="connsiteX99" fmla="*/ 1525927 w 4519987"/>
              <a:gd name="connsiteY99" fmla="*/ 152400 h 4429225"/>
              <a:gd name="connsiteX100" fmla="*/ 1583077 w 4519987"/>
              <a:gd name="connsiteY100" fmla="*/ 142875 h 4429225"/>
              <a:gd name="connsiteX101" fmla="*/ 1716427 w 4519987"/>
              <a:gd name="connsiteY101" fmla="*/ 123825 h 4429225"/>
              <a:gd name="connsiteX102" fmla="*/ 1811677 w 4519987"/>
              <a:gd name="connsiteY102" fmla="*/ 114300 h 4429225"/>
              <a:gd name="connsiteX103" fmla="*/ 1859302 w 4519987"/>
              <a:gd name="connsiteY103" fmla="*/ 104775 h 4429225"/>
              <a:gd name="connsiteX104" fmla="*/ 1916452 w 4519987"/>
              <a:gd name="connsiteY104" fmla="*/ 95250 h 4429225"/>
              <a:gd name="connsiteX105" fmla="*/ 2030752 w 4519987"/>
              <a:gd name="connsiteY105" fmla="*/ 66675 h 4429225"/>
              <a:gd name="connsiteX106" fmla="*/ 2097427 w 4519987"/>
              <a:gd name="connsiteY106" fmla="*/ 47625 h 4429225"/>
              <a:gd name="connsiteX107" fmla="*/ 2164102 w 4519987"/>
              <a:gd name="connsiteY107" fmla="*/ 38100 h 4429225"/>
              <a:gd name="connsiteX108" fmla="*/ 2392702 w 4519987"/>
              <a:gd name="connsiteY108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640102 w 4519987"/>
              <a:gd name="connsiteY51" fmla="*/ 3781425 h 4429225"/>
              <a:gd name="connsiteX52" fmla="*/ 611527 w 4519987"/>
              <a:gd name="connsiteY52" fmla="*/ 3733800 h 4429225"/>
              <a:gd name="connsiteX53" fmla="*/ 554377 w 4519987"/>
              <a:gd name="connsiteY53" fmla="*/ 3657600 h 4429225"/>
              <a:gd name="connsiteX54" fmla="*/ 525802 w 4519987"/>
              <a:gd name="connsiteY54" fmla="*/ 3609975 h 4429225"/>
              <a:gd name="connsiteX55" fmla="*/ 497227 w 4519987"/>
              <a:gd name="connsiteY55" fmla="*/ 3552825 h 4429225"/>
              <a:gd name="connsiteX56" fmla="*/ 440077 w 4519987"/>
              <a:gd name="connsiteY56" fmla="*/ 3495675 h 4429225"/>
              <a:gd name="connsiteX57" fmla="*/ 411502 w 4519987"/>
              <a:gd name="connsiteY57" fmla="*/ 3448050 h 4429225"/>
              <a:gd name="connsiteX58" fmla="*/ 278152 w 4519987"/>
              <a:gd name="connsiteY58" fmla="*/ 3257550 h 4429225"/>
              <a:gd name="connsiteX59" fmla="*/ 249577 w 4519987"/>
              <a:gd name="connsiteY59" fmla="*/ 3200400 h 4429225"/>
              <a:gd name="connsiteX60" fmla="*/ 240052 w 4519987"/>
              <a:gd name="connsiteY60" fmla="*/ 3162300 h 4429225"/>
              <a:gd name="connsiteX61" fmla="*/ 221002 w 4519987"/>
              <a:gd name="connsiteY61" fmla="*/ 3105150 h 4429225"/>
              <a:gd name="connsiteX62" fmla="*/ 173377 w 4519987"/>
              <a:gd name="connsiteY62" fmla="*/ 3019425 h 4429225"/>
              <a:gd name="connsiteX63" fmla="*/ 144802 w 4519987"/>
              <a:gd name="connsiteY63" fmla="*/ 2924175 h 4429225"/>
              <a:gd name="connsiteX64" fmla="*/ 68602 w 4519987"/>
              <a:gd name="connsiteY64" fmla="*/ 2724150 h 4429225"/>
              <a:gd name="connsiteX65" fmla="*/ 49552 w 4519987"/>
              <a:gd name="connsiteY65" fmla="*/ 2638425 h 4429225"/>
              <a:gd name="connsiteX66" fmla="*/ 40027 w 4519987"/>
              <a:gd name="connsiteY66" fmla="*/ 2562225 h 4429225"/>
              <a:gd name="connsiteX67" fmla="*/ 30502 w 4519987"/>
              <a:gd name="connsiteY67" fmla="*/ 2514600 h 4429225"/>
              <a:gd name="connsiteX68" fmla="*/ 11452 w 4519987"/>
              <a:gd name="connsiteY68" fmla="*/ 2400300 h 4429225"/>
              <a:gd name="connsiteX69" fmla="*/ 20977 w 4519987"/>
              <a:gd name="connsiteY69" fmla="*/ 1905000 h 4429225"/>
              <a:gd name="connsiteX70" fmla="*/ 30502 w 4519987"/>
              <a:gd name="connsiteY70" fmla="*/ 1838325 h 4429225"/>
              <a:gd name="connsiteX71" fmla="*/ 49552 w 4519987"/>
              <a:gd name="connsiteY71" fmla="*/ 1781175 h 4429225"/>
              <a:gd name="connsiteX72" fmla="*/ 59077 w 4519987"/>
              <a:gd name="connsiteY72" fmla="*/ 1743075 h 4429225"/>
              <a:gd name="connsiteX73" fmla="*/ 78127 w 4519987"/>
              <a:gd name="connsiteY73" fmla="*/ 1685925 h 4429225"/>
              <a:gd name="connsiteX74" fmla="*/ 87652 w 4519987"/>
              <a:gd name="connsiteY74" fmla="*/ 1638300 h 4429225"/>
              <a:gd name="connsiteX75" fmla="*/ 106702 w 4519987"/>
              <a:gd name="connsiteY75" fmla="*/ 1590675 h 4429225"/>
              <a:gd name="connsiteX76" fmla="*/ 135277 w 4519987"/>
              <a:gd name="connsiteY76" fmla="*/ 1504950 h 4429225"/>
              <a:gd name="connsiteX77" fmla="*/ 154327 w 4519987"/>
              <a:gd name="connsiteY77" fmla="*/ 1419225 h 4429225"/>
              <a:gd name="connsiteX78" fmla="*/ 230527 w 4519987"/>
              <a:gd name="connsiteY78" fmla="*/ 1276350 h 4429225"/>
              <a:gd name="connsiteX79" fmla="*/ 240052 w 4519987"/>
              <a:gd name="connsiteY79" fmla="*/ 1247775 h 4429225"/>
              <a:gd name="connsiteX80" fmla="*/ 268627 w 4519987"/>
              <a:gd name="connsiteY80" fmla="*/ 1200150 h 4429225"/>
              <a:gd name="connsiteX81" fmla="*/ 287677 w 4519987"/>
              <a:gd name="connsiteY81" fmla="*/ 1152525 h 4429225"/>
              <a:gd name="connsiteX82" fmla="*/ 316252 w 4519987"/>
              <a:gd name="connsiteY82" fmla="*/ 1114425 h 4429225"/>
              <a:gd name="connsiteX83" fmla="*/ 363877 w 4519987"/>
              <a:gd name="connsiteY83" fmla="*/ 1038225 h 4429225"/>
              <a:gd name="connsiteX84" fmla="*/ 382927 w 4519987"/>
              <a:gd name="connsiteY84" fmla="*/ 1009650 h 4429225"/>
              <a:gd name="connsiteX85" fmla="*/ 440077 w 4519987"/>
              <a:gd name="connsiteY85" fmla="*/ 904875 h 4429225"/>
              <a:gd name="connsiteX86" fmla="*/ 478177 w 4519987"/>
              <a:gd name="connsiteY86" fmla="*/ 857250 h 4429225"/>
              <a:gd name="connsiteX87" fmla="*/ 497227 w 4519987"/>
              <a:gd name="connsiteY87" fmla="*/ 828675 h 4429225"/>
              <a:gd name="connsiteX88" fmla="*/ 535327 w 4519987"/>
              <a:gd name="connsiteY88" fmla="*/ 800100 h 4429225"/>
              <a:gd name="connsiteX89" fmla="*/ 602002 w 4519987"/>
              <a:gd name="connsiteY89" fmla="*/ 733425 h 4429225"/>
              <a:gd name="connsiteX90" fmla="*/ 668677 w 4519987"/>
              <a:gd name="connsiteY90" fmla="*/ 676275 h 4429225"/>
              <a:gd name="connsiteX91" fmla="*/ 697252 w 4519987"/>
              <a:gd name="connsiteY91" fmla="*/ 657225 h 4429225"/>
              <a:gd name="connsiteX92" fmla="*/ 840127 w 4519987"/>
              <a:gd name="connsiteY92" fmla="*/ 533400 h 4429225"/>
              <a:gd name="connsiteX93" fmla="*/ 887752 w 4519987"/>
              <a:gd name="connsiteY93" fmla="*/ 504825 h 4429225"/>
              <a:gd name="connsiteX94" fmla="*/ 1167152 w 4519987"/>
              <a:gd name="connsiteY94" fmla="*/ 311150 h 4429225"/>
              <a:gd name="connsiteX95" fmla="*/ 1268752 w 4519987"/>
              <a:gd name="connsiteY95" fmla="*/ 285750 h 4429225"/>
              <a:gd name="connsiteX96" fmla="*/ 1411627 w 4519987"/>
              <a:gd name="connsiteY96" fmla="*/ 190500 h 4429225"/>
              <a:gd name="connsiteX97" fmla="*/ 1449727 w 4519987"/>
              <a:gd name="connsiteY97" fmla="*/ 161925 h 4429225"/>
              <a:gd name="connsiteX98" fmla="*/ 1525927 w 4519987"/>
              <a:gd name="connsiteY98" fmla="*/ 152400 h 4429225"/>
              <a:gd name="connsiteX99" fmla="*/ 1583077 w 4519987"/>
              <a:gd name="connsiteY99" fmla="*/ 142875 h 4429225"/>
              <a:gd name="connsiteX100" fmla="*/ 1716427 w 4519987"/>
              <a:gd name="connsiteY100" fmla="*/ 123825 h 4429225"/>
              <a:gd name="connsiteX101" fmla="*/ 1811677 w 4519987"/>
              <a:gd name="connsiteY101" fmla="*/ 114300 h 4429225"/>
              <a:gd name="connsiteX102" fmla="*/ 1859302 w 4519987"/>
              <a:gd name="connsiteY102" fmla="*/ 104775 h 4429225"/>
              <a:gd name="connsiteX103" fmla="*/ 1916452 w 4519987"/>
              <a:gd name="connsiteY103" fmla="*/ 95250 h 4429225"/>
              <a:gd name="connsiteX104" fmla="*/ 2030752 w 4519987"/>
              <a:gd name="connsiteY104" fmla="*/ 66675 h 4429225"/>
              <a:gd name="connsiteX105" fmla="*/ 2097427 w 4519987"/>
              <a:gd name="connsiteY105" fmla="*/ 47625 h 4429225"/>
              <a:gd name="connsiteX106" fmla="*/ 2164102 w 4519987"/>
              <a:gd name="connsiteY106" fmla="*/ 38100 h 4429225"/>
              <a:gd name="connsiteX107" fmla="*/ 2392702 w 4519987"/>
              <a:gd name="connsiteY107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611527 w 4519987"/>
              <a:gd name="connsiteY51" fmla="*/ 3733800 h 4429225"/>
              <a:gd name="connsiteX52" fmla="*/ 554377 w 4519987"/>
              <a:gd name="connsiteY52" fmla="*/ 3657600 h 4429225"/>
              <a:gd name="connsiteX53" fmla="*/ 525802 w 4519987"/>
              <a:gd name="connsiteY53" fmla="*/ 3609975 h 4429225"/>
              <a:gd name="connsiteX54" fmla="*/ 497227 w 4519987"/>
              <a:gd name="connsiteY54" fmla="*/ 3552825 h 4429225"/>
              <a:gd name="connsiteX55" fmla="*/ 440077 w 4519987"/>
              <a:gd name="connsiteY55" fmla="*/ 3495675 h 4429225"/>
              <a:gd name="connsiteX56" fmla="*/ 411502 w 4519987"/>
              <a:gd name="connsiteY56" fmla="*/ 3448050 h 4429225"/>
              <a:gd name="connsiteX57" fmla="*/ 278152 w 4519987"/>
              <a:gd name="connsiteY57" fmla="*/ 3257550 h 4429225"/>
              <a:gd name="connsiteX58" fmla="*/ 249577 w 4519987"/>
              <a:gd name="connsiteY58" fmla="*/ 3200400 h 4429225"/>
              <a:gd name="connsiteX59" fmla="*/ 240052 w 4519987"/>
              <a:gd name="connsiteY59" fmla="*/ 3162300 h 4429225"/>
              <a:gd name="connsiteX60" fmla="*/ 221002 w 4519987"/>
              <a:gd name="connsiteY60" fmla="*/ 3105150 h 4429225"/>
              <a:gd name="connsiteX61" fmla="*/ 173377 w 4519987"/>
              <a:gd name="connsiteY61" fmla="*/ 3019425 h 4429225"/>
              <a:gd name="connsiteX62" fmla="*/ 144802 w 4519987"/>
              <a:gd name="connsiteY62" fmla="*/ 2924175 h 4429225"/>
              <a:gd name="connsiteX63" fmla="*/ 68602 w 4519987"/>
              <a:gd name="connsiteY63" fmla="*/ 2724150 h 4429225"/>
              <a:gd name="connsiteX64" fmla="*/ 49552 w 4519987"/>
              <a:gd name="connsiteY64" fmla="*/ 2638425 h 4429225"/>
              <a:gd name="connsiteX65" fmla="*/ 40027 w 4519987"/>
              <a:gd name="connsiteY65" fmla="*/ 2562225 h 4429225"/>
              <a:gd name="connsiteX66" fmla="*/ 30502 w 4519987"/>
              <a:gd name="connsiteY66" fmla="*/ 2514600 h 4429225"/>
              <a:gd name="connsiteX67" fmla="*/ 11452 w 4519987"/>
              <a:gd name="connsiteY67" fmla="*/ 2400300 h 4429225"/>
              <a:gd name="connsiteX68" fmla="*/ 20977 w 4519987"/>
              <a:gd name="connsiteY68" fmla="*/ 1905000 h 4429225"/>
              <a:gd name="connsiteX69" fmla="*/ 30502 w 4519987"/>
              <a:gd name="connsiteY69" fmla="*/ 1838325 h 4429225"/>
              <a:gd name="connsiteX70" fmla="*/ 49552 w 4519987"/>
              <a:gd name="connsiteY70" fmla="*/ 1781175 h 4429225"/>
              <a:gd name="connsiteX71" fmla="*/ 59077 w 4519987"/>
              <a:gd name="connsiteY71" fmla="*/ 1743075 h 4429225"/>
              <a:gd name="connsiteX72" fmla="*/ 78127 w 4519987"/>
              <a:gd name="connsiteY72" fmla="*/ 1685925 h 4429225"/>
              <a:gd name="connsiteX73" fmla="*/ 87652 w 4519987"/>
              <a:gd name="connsiteY73" fmla="*/ 1638300 h 4429225"/>
              <a:gd name="connsiteX74" fmla="*/ 106702 w 4519987"/>
              <a:gd name="connsiteY74" fmla="*/ 1590675 h 4429225"/>
              <a:gd name="connsiteX75" fmla="*/ 135277 w 4519987"/>
              <a:gd name="connsiteY75" fmla="*/ 1504950 h 4429225"/>
              <a:gd name="connsiteX76" fmla="*/ 154327 w 4519987"/>
              <a:gd name="connsiteY76" fmla="*/ 1419225 h 4429225"/>
              <a:gd name="connsiteX77" fmla="*/ 230527 w 4519987"/>
              <a:gd name="connsiteY77" fmla="*/ 1276350 h 4429225"/>
              <a:gd name="connsiteX78" fmla="*/ 240052 w 4519987"/>
              <a:gd name="connsiteY78" fmla="*/ 1247775 h 4429225"/>
              <a:gd name="connsiteX79" fmla="*/ 268627 w 4519987"/>
              <a:gd name="connsiteY79" fmla="*/ 1200150 h 4429225"/>
              <a:gd name="connsiteX80" fmla="*/ 287677 w 4519987"/>
              <a:gd name="connsiteY80" fmla="*/ 1152525 h 4429225"/>
              <a:gd name="connsiteX81" fmla="*/ 316252 w 4519987"/>
              <a:gd name="connsiteY81" fmla="*/ 1114425 h 4429225"/>
              <a:gd name="connsiteX82" fmla="*/ 363877 w 4519987"/>
              <a:gd name="connsiteY82" fmla="*/ 1038225 h 4429225"/>
              <a:gd name="connsiteX83" fmla="*/ 382927 w 4519987"/>
              <a:gd name="connsiteY83" fmla="*/ 1009650 h 4429225"/>
              <a:gd name="connsiteX84" fmla="*/ 440077 w 4519987"/>
              <a:gd name="connsiteY84" fmla="*/ 904875 h 4429225"/>
              <a:gd name="connsiteX85" fmla="*/ 478177 w 4519987"/>
              <a:gd name="connsiteY85" fmla="*/ 857250 h 4429225"/>
              <a:gd name="connsiteX86" fmla="*/ 497227 w 4519987"/>
              <a:gd name="connsiteY86" fmla="*/ 828675 h 4429225"/>
              <a:gd name="connsiteX87" fmla="*/ 535327 w 4519987"/>
              <a:gd name="connsiteY87" fmla="*/ 800100 h 4429225"/>
              <a:gd name="connsiteX88" fmla="*/ 602002 w 4519987"/>
              <a:gd name="connsiteY88" fmla="*/ 733425 h 4429225"/>
              <a:gd name="connsiteX89" fmla="*/ 668677 w 4519987"/>
              <a:gd name="connsiteY89" fmla="*/ 676275 h 4429225"/>
              <a:gd name="connsiteX90" fmla="*/ 697252 w 4519987"/>
              <a:gd name="connsiteY90" fmla="*/ 657225 h 4429225"/>
              <a:gd name="connsiteX91" fmla="*/ 840127 w 4519987"/>
              <a:gd name="connsiteY91" fmla="*/ 533400 h 4429225"/>
              <a:gd name="connsiteX92" fmla="*/ 887752 w 4519987"/>
              <a:gd name="connsiteY92" fmla="*/ 504825 h 4429225"/>
              <a:gd name="connsiteX93" fmla="*/ 1167152 w 4519987"/>
              <a:gd name="connsiteY93" fmla="*/ 311150 h 4429225"/>
              <a:gd name="connsiteX94" fmla="*/ 1268752 w 4519987"/>
              <a:gd name="connsiteY94" fmla="*/ 285750 h 4429225"/>
              <a:gd name="connsiteX95" fmla="*/ 1411627 w 4519987"/>
              <a:gd name="connsiteY95" fmla="*/ 190500 h 4429225"/>
              <a:gd name="connsiteX96" fmla="*/ 1449727 w 4519987"/>
              <a:gd name="connsiteY96" fmla="*/ 161925 h 4429225"/>
              <a:gd name="connsiteX97" fmla="*/ 1525927 w 4519987"/>
              <a:gd name="connsiteY97" fmla="*/ 152400 h 4429225"/>
              <a:gd name="connsiteX98" fmla="*/ 1583077 w 4519987"/>
              <a:gd name="connsiteY98" fmla="*/ 142875 h 4429225"/>
              <a:gd name="connsiteX99" fmla="*/ 1716427 w 4519987"/>
              <a:gd name="connsiteY99" fmla="*/ 123825 h 4429225"/>
              <a:gd name="connsiteX100" fmla="*/ 1811677 w 4519987"/>
              <a:gd name="connsiteY100" fmla="*/ 114300 h 4429225"/>
              <a:gd name="connsiteX101" fmla="*/ 1859302 w 4519987"/>
              <a:gd name="connsiteY101" fmla="*/ 104775 h 4429225"/>
              <a:gd name="connsiteX102" fmla="*/ 1916452 w 4519987"/>
              <a:gd name="connsiteY102" fmla="*/ 95250 h 4429225"/>
              <a:gd name="connsiteX103" fmla="*/ 2030752 w 4519987"/>
              <a:gd name="connsiteY103" fmla="*/ 66675 h 4429225"/>
              <a:gd name="connsiteX104" fmla="*/ 2097427 w 4519987"/>
              <a:gd name="connsiteY104" fmla="*/ 47625 h 4429225"/>
              <a:gd name="connsiteX105" fmla="*/ 2164102 w 4519987"/>
              <a:gd name="connsiteY105" fmla="*/ 38100 h 4429225"/>
              <a:gd name="connsiteX106" fmla="*/ 2392702 w 4519987"/>
              <a:gd name="connsiteY106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525802 w 4519987"/>
              <a:gd name="connsiteY52" fmla="*/ 3609975 h 4429225"/>
              <a:gd name="connsiteX53" fmla="*/ 497227 w 4519987"/>
              <a:gd name="connsiteY53" fmla="*/ 3552825 h 4429225"/>
              <a:gd name="connsiteX54" fmla="*/ 440077 w 4519987"/>
              <a:gd name="connsiteY54" fmla="*/ 3495675 h 4429225"/>
              <a:gd name="connsiteX55" fmla="*/ 411502 w 4519987"/>
              <a:gd name="connsiteY55" fmla="*/ 3448050 h 4429225"/>
              <a:gd name="connsiteX56" fmla="*/ 278152 w 4519987"/>
              <a:gd name="connsiteY56" fmla="*/ 3257550 h 4429225"/>
              <a:gd name="connsiteX57" fmla="*/ 249577 w 4519987"/>
              <a:gd name="connsiteY57" fmla="*/ 3200400 h 4429225"/>
              <a:gd name="connsiteX58" fmla="*/ 240052 w 4519987"/>
              <a:gd name="connsiteY58" fmla="*/ 3162300 h 4429225"/>
              <a:gd name="connsiteX59" fmla="*/ 221002 w 4519987"/>
              <a:gd name="connsiteY59" fmla="*/ 3105150 h 4429225"/>
              <a:gd name="connsiteX60" fmla="*/ 173377 w 4519987"/>
              <a:gd name="connsiteY60" fmla="*/ 3019425 h 4429225"/>
              <a:gd name="connsiteX61" fmla="*/ 144802 w 4519987"/>
              <a:gd name="connsiteY61" fmla="*/ 2924175 h 4429225"/>
              <a:gd name="connsiteX62" fmla="*/ 68602 w 4519987"/>
              <a:gd name="connsiteY62" fmla="*/ 2724150 h 4429225"/>
              <a:gd name="connsiteX63" fmla="*/ 49552 w 4519987"/>
              <a:gd name="connsiteY63" fmla="*/ 2638425 h 4429225"/>
              <a:gd name="connsiteX64" fmla="*/ 40027 w 4519987"/>
              <a:gd name="connsiteY64" fmla="*/ 2562225 h 4429225"/>
              <a:gd name="connsiteX65" fmla="*/ 30502 w 4519987"/>
              <a:gd name="connsiteY65" fmla="*/ 2514600 h 4429225"/>
              <a:gd name="connsiteX66" fmla="*/ 11452 w 4519987"/>
              <a:gd name="connsiteY66" fmla="*/ 2400300 h 4429225"/>
              <a:gd name="connsiteX67" fmla="*/ 20977 w 4519987"/>
              <a:gd name="connsiteY67" fmla="*/ 1905000 h 4429225"/>
              <a:gd name="connsiteX68" fmla="*/ 30502 w 4519987"/>
              <a:gd name="connsiteY68" fmla="*/ 1838325 h 4429225"/>
              <a:gd name="connsiteX69" fmla="*/ 49552 w 4519987"/>
              <a:gd name="connsiteY69" fmla="*/ 1781175 h 4429225"/>
              <a:gd name="connsiteX70" fmla="*/ 59077 w 4519987"/>
              <a:gd name="connsiteY70" fmla="*/ 1743075 h 4429225"/>
              <a:gd name="connsiteX71" fmla="*/ 78127 w 4519987"/>
              <a:gd name="connsiteY71" fmla="*/ 1685925 h 4429225"/>
              <a:gd name="connsiteX72" fmla="*/ 87652 w 4519987"/>
              <a:gd name="connsiteY72" fmla="*/ 1638300 h 4429225"/>
              <a:gd name="connsiteX73" fmla="*/ 106702 w 4519987"/>
              <a:gd name="connsiteY73" fmla="*/ 1590675 h 4429225"/>
              <a:gd name="connsiteX74" fmla="*/ 135277 w 4519987"/>
              <a:gd name="connsiteY74" fmla="*/ 1504950 h 4429225"/>
              <a:gd name="connsiteX75" fmla="*/ 154327 w 4519987"/>
              <a:gd name="connsiteY75" fmla="*/ 1419225 h 4429225"/>
              <a:gd name="connsiteX76" fmla="*/ 230527 w 4519987"/>
              <a:gd name="connsiteY76" fmla="*/ 1276350 h 4429225"/>
              <a:gd name="connsiteX77" fmla="*/ 240052 w 4519987"/>
              <a:gd name="connsiteY77" fmla="*/ 1247775 h 4429225"/>
              <a:gd name="connsiteX78" fmla="*/ 268627 w 4519987"/>
              <a:gd name="connsiteY78" fmla="*/ 1200150 h 4429225"/>
              <a:gd name="connsiteX79" fmla="*/ 287677 w 4519987"/>
              <a:gd name="connsiteY79" fmla="*/ 1152525 h 4429225"/>
              <a:gd name="connsiteX80" fmla="*/ 316252 w 4519987"/>
              <a:gd name="connsiteY80" fmla="*/ 1114425 h 4429225"/>
              <a:gd name="connsiteX81" fmla="*/ 363877 w 4519987"/>
              <a:gd name="connsiteY81" fmla="*/ 1038225 h 4429225"/>
              <a:gd name="connsiteX82" fmla="*/ 382927 w 4519987"/>
              <a:gd name="connsiteY82" fmla="*/ 1009650 h 4429225"/>
              <a:gd name="connsiteX83" fmla="*/ 440077 w 4519987"/>
              <a:gd name="connsiteY83" fmla="*/ 904875 h 4429225"/>
              <a:gd name="connsiteX84" fmla="*/ 478177 w 4519987"/>
              <a:gd name="connsiteY84" fmla="*/ 857250 h 4429225"/>
              <a:gd name="connsiteX85" fmla="*/ 497227 w 4519987"/>
              <a:gd name="connsiteY85" fmla="*/ 828675 h 4429225"/>
              <a:gd name="connsiteX86" fmla="*/ 535327 w 4519987"/>
              <a:gd name="connsiteY86" fmla="*/ 800100 h 4429225"/>
              <a:gd name="connsiteX87" fmla="*/ 602002 w 4519987"/>
              <a:gd name="connsiteY87" fmla="*/ 733425 h 4429225"/>
              <a:gd name="connsiteX88" fmla="*/ 668677 w 4519987"/>
              <a:gd name="connsiteY88" fmla="*/ 676275 h 4429225"/>
              <a:gd name="connsiteX89" fmla="*/ 697252 w 4519987"/>
              <a:gd name="connsiteY89" fmla="*/ 657225 h 4429225"/>
              <a:gd name="connsiteX90" fmla="*/ 840127 w 4519987"/>
              <a:gd name="connsiteY90" fmla="*/ 533400 h 4429225"/>
              <a:gd name="connsiteX91" fmla="*/ 887752 w 4519987"/>
              <a:gd name="connsiteY91" fmla="*/ 504825 h 4429225"/>
              <a:gd name="connsiteX92" fmla="*/ 1167152 w 4519987"/>
              <a:gd name="connsiteY92" fmla="*/ 311150 h 4429225"/>
              <a:gd name="connsiteX93" fmla="*/ 1268752 w 4519987"/>
              <a:gd name="connsiteY93" fmla="*/ 285750 h 4429225"/>
              <a:gd name="connsiteX94" fmla="*/ 1411627 w 4519987"/>
              <a:gd name="connsiteY94" fmla="*/ 190500 h 4429225"/>
              <a:gd name="connsiteX95" fmla="*/ 1449727 w 4519987"/>
              <a:gd name="connsiteY95" fmla="*/ 161925 h 4429225"/>
              <a:gd name="connsiteX96" fmla="*/ 1525927 w 4519987"/>
              <a:gd name="connsiteY96" fmla="*/ 152400 h 4429225"/>
              <a:gd name="connsiteX97" fmla="*/ 1583077 w 4519987"/>
              <a:gd name="connsiteY97" fmla="*/ 142875 h 4429225"/>
              <a:gd name="connsiteX98" fmla="*/ 1716427 w 4519987"/>
              <a:gd name="connsiteY98" fmla="*/ 123825 h 4429225"/>
              <a:gd name="connsiteX99" fmla="*/ 1811677 w 4519987"/>
              <a:gd name="connsiteY99" fmla="*/ 114300 h 4429225"/>
              <a:gd name="connsiteX100" fmla="*/ 1859302 w 4519987"/>
              <a:gd name="connsiteY100" fmla="*/ 104775 h 4429225"/>
              <a:gd name="connsiteX101" fmla="*/ 1916452 w 4519987"/>
              <a:gd name="connsiteY101" fmla="*/ 95250 h 4429225"/>
              <a:gd name="connsiteX102" fmla="*/ 2030752 w 4519987"/>
              <a:gd name="connsiteY102" fmla="*/ 66675 h 4429225"/>
              <a:gd name="connsiteX103" fmla="*/ 2097427 w 4519987"/>
              <a:gd name="connsiteY103" fmla="*/ 47625 h 4429225"/>
              <a:gd name="connsiteX104" fmla="*/ 2164102 w 4519987"/>
              <a:gd name="connsiteY104" fmla="*/ 38100 h 4429225"/>
              <a:gd name="connsiteX105" fmla="*/ 2392702 w 4519987"/>
              <a:gd name="connsiteY105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97227 w 4519987"/>
              <a:gd name="connsiteY52" fmla="*/ 3552825 h 4429225"/>
              <a:gd name="connsiteX53" fmla="*/ 440077 w 4519987"/>
              <a:gd name="connsiteY53" fmla="*/ 3495675 h 4429225"/>
              <a:gd name="connsiteX54" fmla="*/ 411502 w 4519987"/>
              <a:gd name="connsiteY54" fmla="*/ 3448050 h 4429225"/>
              <a:gd name="connsiteX55" fmla="*/ 278152 w 4519987"/>
              <a:gd name="connsiteY55" fmla="*/ 3257550 h 4429225"/>
              <a:gd name="connsiteX56" fmla="*/ 249577 w 4519987"/>
              <a:gd name="connsiteY56" fmla="*/ 3200400 h 4429225"/>
              <a:gd name="connsiteX57" fmla="*/ 240052 w 4519987"/>
              <a:gd name="connsiteY57" fmla="*/ 3162300 h 4429225"/>
              <a:gd name="connsiteX58" fmla="*/ 221002 w 4519987"/>
              <a:gd name="connsiteY58" fmla="*/ 3105150 h 4429225"/>
              <a:gd name="connsiteX59" fmla="*/ 173377 w 4519987"/>
              <a:gd name="connsiteY59" fmla="*/ 3019425 h 4429225"/>
              <a:gd name="connsiteX60" fmla="*/ 144802 w 4519987"/>
              <a:gd name="connsiteY60" fmla="*/ 2924175 h 4429225"/>
              <a:gd name="connsiteX61" fmla="*/ 68602 w 4519987"/>
              <a:gd name="connsiteY61" fmla="*/ 2724150 h 4429225"/>
              <a:gd name="connsiteX62" fmla="*/ 49552 w 4519987"/>
              <a:gd name="connsiteY62" fmla="*/ 2638425 h 4429225"/>
              <a:gd name="connsiteX63" fmla="*/ 40027 w 4519987"/>
              <a:gd name="connsiteY63" fmla="*/ 2562225 h 4429225"/>
              <a:gd name="connsiteX64" fmla="*/ 30502 w 4519987"/>
              <a:gd name="connsiteY64" fmla="*/ 2514600 h 4429225"/>
              <a:gd name="connsiteX65" fmla="*/ 11452 w 4519987"/>
              <a:gd name="connsiteY65" fmla="*/ 2400300 h 4429225"/>
              <a:gd name="connsiteX66" fmla="*/ 20977 w 4519987"/>
              <a:gd name="connsiteY66" fmla="*/ 1905000 h 4429225"/>
              <a:gd name="connsiteX67" fmla="*/ 30502 w 4519987"/>
              <a:gd name="connsiteY67" fmla="*/ 1838325 h 4429225"/>
              <a:gd name="connsiteX68" fmla="*/ 49552 w 4519987"/>
              <a:gd name="connsiteY68" fmla="*/ 1781175 h 4429225"/>
              <a:gd name="connsiteX69" fmla="*/ 59077 w 4519987"/>
              <a:gd name="connsiteY69" fmla="*/ 1743075 h 4429225"/>
              <a:gd name="connsiteX70" fmla="*/ 78127 w 4519987"/>
              <a:gd name="connsiteY70" fmla="*/ 1685925 h 4429225"/>
              <a:gd name="connsiteX71" fmla="*/ 87652 w 4519987"/>
              <a:gd name="connsiteY71" fmla="*/ 1638300 h 4429225"/>
              <a:gd name="connsiteX72" fmla="*/ 106702 w 4519987"/>
              <a:gd name="connsiteY72" fmla="*/ 1590675 h 4429225"/>
              <a:gd name="connsiteX73" fmla="*/ 135277 w 4519987"/>
              <a:gd name="connsiteY73" fmla="*/ 1504950 h 4429225"/>
              <a:gd name="connsiteX74" fmla="*/ 154327 w 4519987"/>
              <a:gd name="connsiteY74" fmla="*/ 1419225 h 4429225"/>
              <a:gd name="connsiteX75" fmla="*/ 230527 w 4519987"/>
              <a:gd name="connsiteY75" fmla="*/ 1276350 h 4429225"/>
              <a:gd name="connsiteX76" fmla="*/ 240052 w 4519987"/>
              <a:gd name="connsiteY76" fmla="*/ 1247775 h 4429225"/>
              <a:gd name="connsiteX77" fmla="*/ 268627 w 4519987"/>
              <a:gd name="connsiteY77" fmla="*/ 1200150 h 4429225"/>
              <a:gd name="connsiteX78" fmla="*/ 287677 w 4519987"/>
              <a:gd name="connsiteY78" fmla="*/ 1152525 h 4429225"/>
              <a:gd name="connsiteX79" fmla="*/ 316252 w 4519987"/>
              <a:gd name="connsiteY79" fmla="*/ 1114425 h 4429225"/>
              <a:gd name="connsiteX80" fmla="*/ 363877 w 4519987"/>
              <a:gd name="connsiteY80" fmla="*/ 1038225 h 4429225"/>
              <a:gd name="connsiteX81" fmla="*/ 382927 w 4519987"/>
              <a:gd name="connsiteY81" fmla="*/ 1009650 h 4429225"/>
              <a:gd name="connsiteX82" fmla="*/ 440077 w 4519987"/>
              <a:gd name="connsiteY82" fmla="*/ 904875 h 4429225"/>
              <a:gd name="connsiteX83" fmla="*/ 478177 w 4519987"/>
              <a:gd name="connsiteY83" fmla="*/ 857250 h 4429225"/>
              <a:gd name="connsiteX84" fmla="*/ 497227 w 4519987"/>
              <a:gd name="connsiteY84" fmla="*/ 828675 h 4429225"/>
              <a:gd name="connsiteX85" fmla="*/ 535327 w 4519987"/>
              <a:gd name="connsiteY85" fmla="*/ 800100 h 4429225"/>
              <a:gd name="connsiteX86" fmla="*/ 602002 w 4519987"/>
              <a:gd name="connsiteY86" fmla="*/ 733425 h 4429225"/>
              <a:gd name="connsiteX87" fmla="*/ 668677 w 4519987"/>
              <a:gd name="connsiteY87" fmla="*/ 676275 h 4429225"/>
              <a:gd name="connsiteX88" fmla="*/ 697252 w 4519987"/>
              <a:gd name="connsiteY88" fmla="*/ 657225 h 4429225"/>
              <a:gd name="connsiteX89" fmla="*/ 840127 w 4519987"/>
              <a:gd name="connsiteY89" fmla="*/ 533400 h 4429225"/>
              <a:gd name="connsiteX90" fmla="*/ 887752 w 4519987"/>
              <a:gd name="connsiteY90" fmla="*/ 504825 h 4429225"/>
              <a:gd name="connsiteX91" fmla="*/ 1167152 w 4519987"/>
              <a:gd name="connsiteY91" fmla="*/ 311150 h 4429225"/>
              <a:gd name="connsiteX92" fmla="*/ 1268752 w 4519987"/>
              <a:gd name="connsiteY92" fmla="*/ 285750 h 4429225"/>
              <a:gd name="connsiteX93" fmla="*/ 1411627 w 4519987"/>
              <a:gd name="connsiteY93" fmla="*/ 190500 h 4429225"/>
              <a:gd name="connsiteX94" fmla="*/ 1449727 w 4519987"/>
              <a:gd name="connsiteY94" fmla="*/ 161925 h 4429225"/>
              <a:gd name="connsiteX95" fmla="*/ 1525927 w 4519987"/>
              <a:gd name="connsiteY95" fmla="*/ 152400 h 4429225"/>
              <a:gd name="connsiteX96" fmla="*/ 1583077 w 4519987"/>
              <a:gd name="connsiteY96" fmla="*/ 142875 h 4429225"/>
              <a:gd name="connsiteX97" fmla="*/ 1716427 w 4519987"/>
              <a:gd name="connsiteY97" fmla="*/ 123825 h 4429225"/>
              <a:gd name="connsiteX98" fmla="*/ 1811677 w 4519987"/>
              <a:gd name="connsiteY98" fmla="*/ 114300 h 4429225"/>
              <a:gd name="connsiteX99" fmla="*/ 1859302 w 4519987"/>
              <a:gd name="connsiteY99" fmla="*/ 104775 h 4429225"/>
              <a:gd name="connsiteX100" fmla="*/ 1916452 w 4519987"/>
              <a:gd name="connsiteY100" fmla="*/ 95250 h 4429225"/>
              <a:gd name="connsiteX101" fmla="*/ 2030752 w 4519987"/>
              <a:gd name="connsiteY101" fmla="*/ 66675 h 4429225"/>
              <a:gd name="connsiteX102" fmla="*/ 2097427 w 4519987"/>
              <a:gd name="connsiteY102" fmla="*/ 47625 h 4429225"/>
              <a:gd name="connsiteX103" fmla="*/ 2164102 w 4519987"/>
              <a:gd name="connsiteY103" fmla="*/ 38100 h 4429225"/>
              <a:gd name="connsiteX104" fmla="*/ 2392702 w 4519987"/>
              <a:gd name="connsiteY104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97227 w 4519987"/>
              <a:gd name="connsiteY52" fmla="*/ 3552825 h 4429225"/>
              <a:gd name="connsiteX53" fmla="*/ 440077 w 4519987"/>
              <a:gd name="connsiteY53" fmla="*/ 3495675 h 4429225"/>
              <a:gd name="connsiteX54" fmla="*/ 278152 w 4519987"/>
              <a:gd name="connsiteY54" fmla="*/ 3257550 h 4429225"/>
              <a:gd name="connsiteX55" fmla="*/ 249577 w 4519987"/>
              <a:gd name="connsiteY55" fmla="*/ 3200400 h 4429225"/>
              <a:gd name="connsiteX56" fmla="*/ 240052 w 4519987"/>
              <a:gd name="connsiteY56" fmla="*/ 3162300 h 4429225"/>
              <a:gd name="connsiteX57" fmla="*/ 221002 w 4519987"/>
              <a:gd name="connsiteY57" fmla="*/ 3105150 h 4429225"/>
              <a:gd name="connsiteX58" fmla="*/ 173377 w 4519987"/>
              <a:gd name="connsiteY58" fmla="*/ 3019425 h 4429225"/>
              <a:gd name="connsiteX59" fmla="*/ 144802 w 4519987"/>
              <a:gd name="connsiteY59" fmla="*/ 2924175 h 4429225"/>
              <a:gd name="connsiteX60" fmla="*/ 68602 w 4519987"/>
              <a:gd name="connsiteY60" fmla="*/ 2724150 h 4429225"/>
              <a:gd name="connsiteX61" fmla="*/ 49552 w 4519987"/>
              <a:gd name="connsiteY61" fmla="*/ 2638425 h 4429225"/>
              <a:gd name="connsiteX62" fmla="*/ 40027 w 4519987"/>
              <a:gd name="connsiteY62" fmla="*/ 2562225 h 4429225"/>
              <a:gd name="connsiteX63" fmla="*/ 30502 w 4519987"/>
              <a:gd name="connsiteY63" fmla="*/ 2514600 h 4429225"/>
              <a:gd name="connsiteX64" fmla="*/ 11452 w 4519987"/>
              <a:gd name="connsiteY64" fmla="*/ 2400300 h 4429225"/>
              <a:gd name="connsiteX65" fmla="*/ 20977 w 4519987"/>
              <a:gd name="connsiteY65" fmla="*/ 1905000 h 4429225"/>
              <a:gd name="connsiteX66" fmla="*/ 30502 w 4519987"/>
              <a:gd name="connsiteY66" fmla="*/ 1838325 h 4429225"/>
              <a:gd name="connsiteX67" fmla="*/ 49552 w 4519987"/>
              <a:gd name="connsiteY67" fmla="*/ 1781175 h 4429225"/>
              <a:gd name="connsiteX68" fmla="*/ 59077 w 4519987"/>
              <a:gd name="connsiteY68" fmla="*/ 1743075 h 4429225"/>
              <a:gd name="connsiteX69" fmla="*/ 78127 w 4519987"/>
              <a:gd name="connsiteY69" fmla="*/ 1685925 h 4429225"/>
              <a:gd name="connsiteX70" fmla="*/ 87652 w 4519987"/>
              <a:gd name="connsiteY70" fmla="*/ 1638300 h 4429225"/>
              <a:gd name="connsiteX71" fmla="*/ 106702 w 4519987"/>
              <a:gd name="connsiteY71" fmla="*/ 1590675 h 4429225"/>
              <a:gd name="connsiteX72" fmla="*/ 135277 w 4519987"/>
              <a:gd name="connsiteY72" fmla="*/ 1504950 h 4429225"/>
              <a:gd name="connsiteX73" fmla="*/ 154327 w 4519987"/>
              <a:gd name="connsiteY73" fmla="*/ 1419225 h 4429225"/>
              <a:gd name="connsiteX74" fmla="*/ 230527 w 4519987"/>
              <a:gd name="connsiteY74" fmla="*/ 1276350 h 4429225"/>
              <a:gd name="connsiteX75" fmla="*/ 240052 w 4519987"/>
              <a:gd name="connsiteY75" fmla="*/ 1247775 h 4429225"/>
              <a:gd name="connsiteX76" fmla="*/ 268627 w 4519987"/>
              <a:gd name="connsiteY76" fmla="*/ 1200150 h 4429225"/>
              <a:gd name="connsiteX77" fmla="*/ 287677 w 4519987"/>
              <a:gd name="connsiteY77" fmla="*/ 1152525 h 4429225"/>
              <a:gd name="connsiteX78" fmla="*/ 316252 w 4519987"/>
              <a:gd name="connsiteY78" fmla="*/ 1114425 h 4429225"/>
              <a:gd name="connsiteX79" fmla="*/ 363877 w 4519987"/>
              <a:gd name="connsiteY79" fmla="*/ 1038225 h 4429225"/>
              <a:gd name="connsiteX80" fmla="*/ 382927 w 4519987"/>
              <a:gd name="connsiteY80" fmla="*/ 1009650 h 4429225"/>
              <a:gd name="connsiteX81" fmla="*/ 440077 w 4519987"/>
              <a:gd name="connsiteY81" fmla="*/ 904875 h 4429225"/>
              <a:gd name="connsiteX82" fmla="*/ 478177 w 4519987"/>
              <a:gd name="connsiteY82" fmla="*/ 857250 h 4429225"/>
              <a:gd name="connsiteX83" fmla="*/ 497227 w 4519987"/>
              <a:gd name="connsiteY83" fmla="*/ 828675 h 4429225"/>
              <a:gd name="connsiteX84" fmla="*/ 535327 w 4519987"/>
              <a:gd name="connsiteY84" fmla="*/ 800100 h 4429225"/>
              <a:gd name="connsiteX85" fmla="*/ 602002 w 4519987"/>
              <a:gd name="connsiteY85" fmla="*/ 733425 h 4429225"/>
              <a:gd name="connsiteX86" fmla="*/ 668677 w 4519987"/>
              <a:gd name="connsiteY86" fmla="*/ 676275 h 4429225"/>
              <a:gd name="connsiteX87" fmla="*/ 697252 w 4519987"/>
              <a:gd name="connsiteY87" fmla="*/ 657225 h 4429225"/>
              <a:gd name="connsiteX88" fmla="*/ 840127 w 4519987"/>
              <a:gd name="connsiteY88" fmla="*/ 533400 h 4429225"/>
              <a:gd name="connsiteX89" fmla="*/ 887752 w 4519987"/>
              <a:gd name="connsiteY89" fmla="*/ 504825 h 4429225"/>
              <a:gd name="connsiteX90" fmla="*/ 1167152 w 4519987"/>
              <a:gd name="connsiteY90" fmla="*/ 311150 h 4429225"/>
              <a:gd name="connsiteX91" fmla="*/ 1268752 w 4519987"/>
              <a:gd name="connsiteY91" fmla="*/ 285750 h 4429225"/>
              <a:gd name="connsiteX92" fmla="*/ 1411627 w 4519987"/>
              <a:gd name="connsiteY92" fmla="*/ 190500 h 4429225"/>
              <a:gd name="connsiteX93" fmla="*/ 1449727 w 4519987"/>
              <a:gd name="connsiteY93" fmla="*/ 161925 h 4429225"/>
              <a:gd name="connsiteX94" fmla="*/ 1525927 w 4519987"/>
              <a:gd name="connsiteY94" fmla="*/ 152400 h 4429225"/>
              <a:gd name="connsiteX95" fmla="*/ 1583077 w 4519987"/>
              <a:gd name="connsiteY95" fmla="*/ 142875 h 4429225"/>
              <a:gd name="connsiteX96" fmla="*/ 1716427 w 4519987"/>
              <a:gd name="connsiteY96" fmla="*/ 123825 h 4429225"/>
              <a:gd name="connsiteX97" fmla="*/ 1811677 w 4519987"/>
              <a:gd name="connsiteY97" fmla="*/ 114300 h 4429225"/>
              <a:gd name="connsiteX98" fmla="*/ 1859302 w 4519987"/>
              <a:gd name="connsiteY98" fmla="*/ 104775 h 4429225"/>
              <a:gd name="connsiteX99" fmla="*/ 1916452 w 4519987"/>
              <a:gd name="connsiteY99" fmla="*/ 95250 h 4429225"/>
              <a:gd name="connsiteX100" fmla="*/ 2030752 w 4519987"/>
              <a:gd name="connsiteY100" fmla="*/ 66675 h 4429225"/>
              <a:gd name="connsiteX101" fmla="*/ 2097427 w 4519987"/>
              <a:gd name="connsiteY101" fmla="*/ 47625 h 4429225"/>
              <a:gd name="connsiteX102" fmla="*/ 2164102 w 4519987"/>
              <a:gd name="connsiteY102" fmla="*/ 38100 h 4429225"/>
              <a:gd name="connsiteX103" fmla="*/ 2392702 w 4519987"/>
              <a:gd name="connsiteY103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763927 w 4519987"/>
              <a:gd name="connsiteY49" fmla="*/ 3914775 h 4429225"/>
              <a:gd name="connsiteX50" fmla="*/ 697252 w 4519987"/>
              <a:gd name="connsiteY50" fmla="*/ 3838575 h 4429225"/>
              <a:gd name="connsiteX51" fmla="*/ 554377 w 4519987"/>
              <a:gd name="connsiteY51" fmla="*/ 3657600 h 4429225"/>
              <a:gd name="connsiteX52" fmla="*/ 440077 w 4519987"/>
              <a:gd name="connsiteY52" fmla="*/ 3495675 h 4429225"/>
              <a:gd name="connsiteX53" fmla="*/ 278152 w 4519987"/>
              <a:gd name="connsiteY53" fmla="*/ 3257550 h 4429225"/>
              <a:gd name="connsiteX54" fmla="*/ 249577 w 4519987"/>
              <a:gd name="connsiteY54" fmla="*/ 3200400 h 4429225"/>
              <a:gd name="connsiteX55" fmla="*/ 240052 w 4519987"/>
              <a:gd name="connsiteY55" fmla="*/ 3162300 h 4429225"/>
              <a:gd name="connsiteX56" fmla="*/ 221002 w 4519987"/>
              <a:gd name="connsiteY56" fmla="*/ 3105150 h 4429225"/>
              <a:gd name="connsiteX57" fmla="*/ 173377 w 4519987"/>
              <a:gd name="connsiteY57" fmla="*/ 3019425 h 4429225"/>
              <a:gd name="connsiteX58" fmla="*/ 144802 w 4519987"/>
              <a:gd name="connsiteY58" fmla="*/ 2924175 h 4429225"/>
              <a:gd name="connsiteX59" fmla="*/ 68602 w 4519987"/>
              <a:gd name="connsiteY59" fmla="*/ 2724150 h 4429225"/>
              <a:gd name="connsiteX60" fmla="*/ 49552 w 4519987"/>
              <a:gd name="connsiteY60" fmla="*/ 2638425 h 4429225"/>
              <a:gd name="connsiteX61" fmla="*/ 40027 w 4519987"/>
              <a:gd name="connsiteY61" fmla="*/ 2562225 h 4429225"/>
              <a:gd name="connsiteX62" fmla="*/ 30502 w 4519987"/>
              <a:gd name="connsiteY62" fmla="*/ 2514600 h 4429225"/>
              <a:gd name="connsiteX63" fmla="*/ 11452 w 4519987"/>
              <a:gd name="connsiteY63" fmla="*/ 2400300 h 4429225"/>
              <a:gd name="connsiteX64" fmla="*/ 20977 w 4519987"/>
              <a:gd name="connsiteY64" fmla="*/ 1905000 h 4429225"/>
              <a:gd name="connsiteX65" fmla="*/ 30502 w 4519987"/>
              <a:gd name="connsiteY65" fmla="*/ 1838325 h 4429225"/>
              <a:gd name="connsiteX66" fmla="*/ 49552 w 4519987"/>
              <a:gd name="connsiteY66" fmla="*/ 1781175 h 4429225"/>
              <a:gd name="connsiteX67" fmla="*/ 59077 w 4519987"/>
              <a:gd name="connsiteY67" fmla="*/ 1743075 h 4429225"/>
              <a:gd name="connsiteX68" fmla="*/ 78127 w 4519987"/>
              <a:gd name="connsiteY68" fmla="*/ 1685925 h 4429225"/>
              <a:gd name="connsiteX69" fmla="*/ 87652 w 4519987"/>
              <a:gd name="connsiteY69" fmla="*/ 1638300 h 4429225"/>
              <a:gd name="connsiteX70" fmla="*/ 106702 w 4519987"/>
              <a:gd name="connsiteY70" fmla="*/ 1590675 h 4429225"/>
              <a:gd name="connsiteX71" fmla="*/ 135277 w 4519987"/>
              <a:gd name="connsiteY71" fmla="*/ 1504950 h 4429225"/>
              <a:gd name="connsiteX72" fmla="*/ 154327 w 4519987"/>
              <a:gd name="connsiteY72" fmla="*/ 1419225 h 4429225"/>
              <a:gd name="connsiteX73" fmla="*/ 230527 w 4519987"/>
              <a:gd name="connsiteY73" fmla="*/ 1276350 h 4429225"/>
              <a:gd name="connsiteX74" fmla="*/ 240052 w 4519987"/>
              <a:gd name="connsiteY74" fmla="*/ 1247775 h 4429225"/>
              <a:gd name="connsiteX75" fmla="*/ 268627 w 4519987"/>
              <a:gd name="connsiteY75" fmla="*/ 1200150 h 4429225"/>
              <a:gd name="connsiteX76" fmla="*/ 287677 w 4519987"/>
              <a:gd name="connsiteY76" fmla="*/ 1152525 h 4429225"/>
              <a:gd name="connsiteX77" fmla="*/ 316252 w 4519987"/>
              <a:gd name="connsiteY77" fmla="*/ 1114425 h 4429225"/>
              <a:gd name="connsiteX78" fmla="*/ 363877 w 4519987"/>
              <a:gd name="connsiteY78" fmla="*/ 1038225 h 4429225"/>
              <a:gd name="connsiteX79" fmla="*/ 382927 w 4519987"/>
              <a:gd name="connsiteY79" fmla="*/ 1009650 h 4429225"/>
              <a:gd name="connsiteX80" fmla="*/ 440077 w 4519987"/>
              <a:gd name="connsiteY80" fmla="*/ 904875 h 4429225"/>
              <a:gd name="connsiteX81" fmla="*/ 478177 w 4519987"/>
              <a:gd name="connsiteY81" fmla="*/ 857250 h 4429225"/>
              <a:gd name="connsiteX82" fmla="*/ 497227 w 4519987"/>
              <a:gd name="connsiteY82" fmla="*/ 828675 h 4429225"/>
              <a:gd name="connsiteX83" fmla="*/ 535327 w 4519987"/>
              <a:gd name="connsiteY83" fmla="*/ 800100 h 4429225"/>
              <a:gd name="connsiteX84" fmla="*/ 602002 w 4519987"/>
              <a:gd name="connsiteY84" fmla="*/ 733425 h 4429225"/>
              <a:gd name="connsiteX85" fmla="*/ 668677 w 4519987"/>
              <a:gd name="connsiteY85" fmla="*/ 676275 h 4429225"/>
              <a:gd name="connsiteX86" fmla="*/ 697252 w 4519987"/>
              <a:gd name="connsiteY86" fmla="*/ 657225 h 4429225"/>
              <a:gd name="connsiteX87" fmla="*/ 840127 w 4519987"/>
              <a:gd name="connsiteY87" fmla="*/ 533400 h 4429225"/>
              <a:gd name="connsiteX88" fmla="*/ 887752 w 4519987"/>
              <a:gd name="connsiteY88" fmla="*/ 504825 h 4429225"/>
              <a:gd name="connsiteX89" fmla="*/ 1167152 w 4519987"/>
              <a:gd name="connsiteY89" fmla="*/ 311150 h 4429225"/>
              <a:gd name="connsiteX90" fmla="*/ 1268752 w 4519987"/>
              <a:gd name="connsiteY90" fmla="*/ 285750 h 4429225"/>
              <a:gd name="connsiteX91" fmla="*/ 1411627 w 4519987"/>
              <a:gd name="connsiteY91" fmla="*/ 190500 h 4429225"/>
              <a:gd name="connsiteX92" fmla="*/ 1449727 w 4519987"/>
              <a:gd name="connsiteY92" fmla="*/ 161925 h 4429225"/>
              <a:gd name="connsiteX93" fmla="*/ 1525927 w 4519987"/>
              <a:gd name="connsiteY93" fmla="*/ 152400 h 4429225"/>
              <a:gd name="connsiteX94" fmla="*/ 1583077 w 4519987"/>
              <a:gd name="connsiteY94" fmla="*/ 142875 h 4429225"/>
              <a:gd name="connsiteX95" fmla="*/ 1716427 w 4519987"/>
              <a:gd name="connsiteY95" fmla="*/ 123825 h 4429225"/>
              <a:gd name="connsiteX96" fmla="*/ 1811677 w 4519987"/>
              <a:gd name="connsiteY96" fmla="*/ 114300 h 4429225"/>
              <a:gd name="connsiteX97" fmla="*/ 1859302 w 4519987"/>
              <a:gd name="connsiteY97" fmla="*/ 104775 h 4429225"/>
              <a:gd name="connsiteX98" fmla="*/ 1916452 w 4519987"/>
              <a:gd name="connsiteY98" fmla="*/ 95250 h 4429225"/>
              <a:gd name="connsiteX99" fmla="*/ 2030752 w 4519987"/>
              <a:gd name="connsiteY99" fmla="*/ 66675 h 4429225"/>
              <a:gd name="connsiteX100" fmla="*/ 2097427 w 4519987"/>
              <a:gd name="connsiteY100" fmla="*/ 47625 h 4429225"/>
              <a:gd name="connsiteX101" fmla="*/ 2164102 w 4519987"/>
              <a:gd name="connsiteY101" fmla="*/ 38100 h 4429225"/>
              <a:gd name="connsiteX102" fmla="*/ 2392702 w 4519987"/>
              <a:gd name="connsiteY102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49577 w 4519987"/>
              <a:gd name="connsiteY53" fmla="*/ 3200400 h 4429225"/>
              <a:gd name="connsiteX54" fmla="*/ 240052 w 4519987"/>
              <a:gd name="connsiteY54" fmla="*/ 3162300 h 4429225"/>
              <a:gd name="connsiteX55" fmla="*/ 221002 w 4519987"/>
              <a:gd name="connsiteY55" fmla="*/ 3105150 h 4429225"/>
              <a:gd name="connsiteX56" fmla="*/ 173377 w 4519987"/>
              <a:gd name="connsiteY56" fmla="*/ 3019425 h 4429225"/>
              <a:gd name="connsiteX57" fmla="*/ 144802 w 4519987"/>
              <a:gd name="connsiteY57" fmla="*/ 2924175 h 4429225"/>
              <a:gd name="connsiteX58" fmla="*/ 68602 w 4519987"/>
              <a:gd name="connsiteY58" fmla="*/ 2724150 h 4429225"/>
              <a:gd name="connsiteX59" fmla="*/ 49552 w 4519987"/>
              <a:gd name="connsiteY59" fmla="*/ 2638425 h 4429225"/>
              <a:gd name="connsiteX60" fmla="*/ 40027 w 4519987"/>
              <a:gd name="connsiteY60" fmla="*/ 2562225 h 4429225"/>
              <a:gd name="connsiteX61" fmla="*/ 30502 w 4519987"/>
              <a:gd name="connsiteY61" fmla="*/ 2514600 h 4429225"/>
              <a:gd name="connsiteX62" fmla="*/ 11452 w 4519987"/>
              <a:gd name="connsiteY62" fmla="*/ 2400300 h 4429225"/>
              <a:gd name="connsiteX63" fmla="*/ 20977 w 4519987"/>
              <a:gd name="connsiteY63" fmla="*/ 1905000 h 4429225"/>
              <a:gd name="connsiteX64" fmla="*/ 30502 w 4519987"/>
              <a:gd name="connsiteY64" fmla="*/ 1838325 h 4429225"/>
              <a:gd name="connsiteX65" fmla="*/ 49552 w 4519987"/>
              <a:gd name="connsiteY65" fmla="*/ 1781175 h 4429225"/>
              <a:gd name="connsiteX66" fmla="*/ 59077 w 4519987"/>
              <a:gd name="connsiteY66" fmla="*/ 1743075 h 4429225"/>
              <a:gd name="connsiteX67" fmla="*/ 78127 w 4519987"/>
              <a:gd name="connsiteY67" fmla="*/ 1685925 h 4429225"/>
              <a:gd name="connsiteX68" fmla="*/ 87652 w 4519987"/>
              <a:gd name="connsiteY68" fmla="*/ 1638300 h 4429225"/>
              <a:gd name="connsiteX69" fmla="*/ 106702 w 4519987"/>
              <a:gd name="connsiteY69" fmla="*/ 1590675 h 4429225"/>
              <a:gd name="connsiteX70" fmla="*/ 135277 w 4519987"/>
              <a:gd name="connsiteY70" fmla="*/ 1504950 h 4429225"/>
              <a:gd name="connsiteX71" fmla="*/ 154327 w 4519987"/>
              <a:gd name="connsiteY71" fmla="*/ 1419225 h 4429225"/>
              <a:gd name="connsiteX72" fmla="*/ 230527 w 4519987"/>
              <a:gd name="connsiteY72" fmla="*/ 1276350 h 4429225"/>
              <a:gd name="connsiteX73" fmla="*/ 240052 w 4519987"/>
              <a:gd name="connsiteY73" fmla="*/ 1247775 h 4429225"/>
              <a:gd name="connsiteX74" fmla="*/ 268627 w 4519987"/>
              <a:gd name="connsiteY74" fmla="*/ 1200150 h 4429225"/>
              <a:gd name="connsiteX75" fmla="*/ 287677 w 4519987"/>
              <a:gd name="connsiteY75" fmla="*/ 1152525 h 4429225"/>
              <a:gd name="connsiteX76" fmla="*/ 316252 w 4519987"/>
              <a:gd name="connsiteY76" fmla="*/ 1114425 h 4429225"/>
              <a:gd name="connsiteX77" fmla="*/ 363877 w 4519987"/>
              <a:gd name="connsiteY77" fmla="*/ 1038225 h 4429225"/>
              <a:gd name="connsiteX78" fmla="*/ 382927 w 4519987"/>
              <a:gd name="connsiteY78" fmla="*/ 1009650 h 4429225"/>
              <a:gd name="connsiteX79" fmla="*/ 440077 w 4519987"/>
              <a:gd name="connsiteY79" fmla="*/ 904875 h 4429225"/>
              <a:gd name="connsiteX80" fmla="*/ 478177 w 4519987"/>
              <a:gd name="connsiteY80" fmla="*/ 857250 h 4429225"/>
              <a:gd name="connsiteX81" fmla="*/ 497227 w 4519987"/>
              <a:gd name="connsiteY81" fmla="*/ 828675 h 4429225"/>
              <a:gd name="connsiteX82" fmla="*/ 535327 w 4519987"/>
              <a:gd name="connsiteY82" fmla="*/ 800100 h 4429225"/>
              <a:gd name="connsiteX83" fmla="*/ 602002 w 4519987"/>
              <a:gd name="connsiteY83" fmla="*/ 733425 h 4429225"/>
              <a:gd name="connsiteX84" fmla="*/ 668677 w 4519987"/>
              <a:gd name="connsiteY84" fmla="*/ 676275 h 4429225"/>
              <a:gd name="connsiteX85" fmla="*/ 697252 w 4519987"/>
              <a:gd name="connsiteY85" fmla="*/ 657225 h 4429225"/>
              <a:gd name="connsiteX86" fmla="*/ 840127 w 4519987"/>
              <a:gd name="connsiteY86" fmla="*/ 533400 h 4429225"/>
              <a:gd name="connsiteX87" fmla="*/ 887752 w 4519987"/>
              <a:gd name="connsiteY87" fmla="*/ 504825 h 4429225"/>
              <a:gd name="connsiteX88" fmla="*/ 1167152 w 4519987"/>
              <a:gd name="connsiteY88" fmla="*/ 311150 h 4429225"/>
              <a:gd name="connsiteX89" fmla="*/ 1268752 w 4519987"/>
              <a:gd name="connsiteY89" fmla="*/ 285750 h 4429225"/>
              <a:gd name="connsiteX90" fmla="*/ 1411627 w 4519987"/>
              <a:gd name="connsiteY90" fmla="*/ 190500 h 4429225"/>
              <a:gd name="connsiteX91" fmla="*/ 1449727 w 4519987"/>
              <a:gd name="connsiteY91" fmla="*/ 161925 h 4429225"/>
              <a:gd name="connsiteX92" fmla="*/ 1525927 w 4519987"/>
              <a:gd name="connsiteY92" fmla="*/ 152400 h 4429225"/>
              <a:gd name="connsiteX93" fmla="*/ 1583077 w 4519987"/>
              <a:gd name="connsiteY93" fmla="*/ 142875 h 4429225"/>
              <a:gd name="connsiteX94" fmla="*/ 1716427 w 4519987"/>
              <a:gd name="connsiteY94" fmla="*/ 123825 h 4429225"/>
              <a:gd name="connsiteX95" fmla="*/ 1811677 w 4519987"/>
              <a:gd name="connsiteY95" fmla="*/ 114300 h 4429225"/>
              <a:gd name="connsiteX96" fmla="*/ 1859302 w 4519987"/>
              <a:gd name="connsiteY96" fmla="*/ 104775 h 4429225"/>
              <a:gd name="connsiteX97" fmla="*/ 1916452 w 4519987"/>
              <a:gd name="connsiteY97" fmla="*/ 95250 h 4429225"/>
              <a:gd name="connsiteX98" fmla="*/ 2030752 w 4519987"/>
              <a:gd name="connsiteY98" fmla="*/ 66675 h 4429225"/>
              <a:gd name="connsiteX99" fmla="*/ 2097427 w 4519987"/>
              <a:gd name="connsiteY99" fmla="*/ 47625 h 4429225"/>
              <a:gd name="connsiteX100" fmla="*/ 2164102 w 4519987"/>
              <a:gd name="connsiteY100" fmla="*/ 38100 h 4429225"/>
              <a:gd name="connsiteX101" fmla="*/ 2392702 w 4519987"/>
              <a:gd name="connsiteY101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49577 w 4519987"/>
              <a:gd name="connsiteY53" fmla="*/ 3200400 h 4429225"/>
              <a:gd name="connsiteX54" fmla="*/ 221002 w 4519987"/>
              <a:gd name="connsiteY54" fmla="*/ 3105150 h 4429225"/>
              <a:gd name="connsiteX55" fmla="*/ 173377 w 4519987"/>
              <a:gd name="connsiteY55" fmla="*/ 3019425 h 4429225"/>
              <a:gd name="connsiteX56" fmla="*/ 144802 w 4519987"/>
              <a:gd name="connsiteY56" fmla="*/ 2924175 h 4429225"/>
              <a:gd name="connsiteX57" fmla="*/ 68602 w 4519987"/>
              <a:gd name="connsiteY57" fmla="*/ 2724150 h 4429225"/>
              <a:gd name="connsiteX58" fmla="*/ 49552 w 4519987"/>
              <a:gd name="connsiteY58" fmla="*/ 2638425 h 4429225"/>
              <a:gd name="connsiteX59" fmla="*/ 40027 w 4519987"/>
              <a:gd name="connsiteY59" fmla="*/ 2562225 h 4429225"/>
              <a:gd name="connsiteX60" fmla="*/ 30502 w 4519987"/>
              <a:gd name="connsiteY60" fmla="*/ 2514600 h 4429225"/>
              <a:gd name="connsiteX61" fmla="*/ 11452 w 4519987"/>
              <a:gd name="connsiteY61" fmla="*/ 2400300 h 4429225"/>
              <a:gd name="connsiteX62" fmla="*/ 20977 w 4519987"/>
              <a:gd name="connsiteY62" fmla="*/ 1905000 h 4429225"/>
              <a:gd name="connsiteX63" fmla="*/ 30502 w 4519987"/>
              <a:gd name="connsiteY63" fmla="*/ 1838325 h 4429225"/>
              <a:gd name="connsiteX64" fmla="*/ 49552 w 4519987"/>
              <a:gd name="connsiteY64" fmla="*/ 1781175 h 4429225"/>
              <a:gd name="connsiteX65" fmla="*/ 59077 w 4519987"/>
              <a:gd name="connsiteY65" fmla="*/ 1743075 h 4429225"/>
              <a:gd name="connsiteX66" fmla="*/ 78127 w 4519987"/>
              <a:gd name="connsiteY66" fmla="*/ 1685925 h 4429225"/>
              <a:gd name="connsiteX67" fmla="*/ 87652 w 4519987"/>
              <a:gd name="connsiteY67" fmla="*/ 1638300 h 4429225"/>
              <a:gd name="connsiteX68" fmla="*/ 106702 w 4519987"/>
              <a:gd name="connsiteY68" fmla="*/ 1590675 h 4429225"/>
              <a:gd name="connsiteX69" fmla="*/ 135277 w 4519987"/>
              <a:gd name="connsiteY69" fmla="*/ 1504950 h 4429225"/>
              <a:gd name="connsiteX70" fmla="*/ 154327 w 4519987"/>
              <a:gd name="connsiteY70" fmla="*/ 1419225 h 4429225"/>
              <a:gd name="connsiteX71" fmla="*/ 230527 w 4519987"/>
              <a:gd name="connsiteY71" fmla="*/ 1276350 h 4429225"/>
              <a:gd name="connsiteX72" fmla="*/ 240052 w 4519987"/>
              <a:gd name="connsiteY72" fmla="*/ 1247775 h 4429225"/>
              <a:gd name="connsiteX73" fmla="*/ 268627 w 4519987"/>
              <a:gd name="connsiteY73" fmla="*/ 1200150 h 4429225"/>
              <a:gd name="connsiteX74" fmla="*/ 287677 w 4519987"/>
              <a:gd name="connsiteY74" fmla="*/ 1152525 h 4429225"/>
              <a:gd name="connsiteX75" fmla="*/ 316252 w 4519987"/>
              <a:gd name="connsiteY75" fmla="*/ 1114425 h 4429225"/>
              <a:gd name="connsiteX76" fmla="*/ 363877 w 4519987"/>
              <a:gd name="connsiteY76" fmla="*/ 1038225 h 4429225"/>
              <a:gd name="connsiteX77" fmla="*/ 382927 w 4519987"/>
              <a:gd name="connsiteY77" fmla="*/ 1009650 h 4429225"/>
              <a:gd name="connsiteX78" fmla="*/ 440077 w 4519987"/>
              <a:gd name="connsiteY78" fmla="*/ 904875 h 4429225"/>
              <a:gd name="connsiteX79" fmla="*/ 478177 w 4519987"/>
              <a:gd name="connsiteY79" fmla="*/ 857250 h 4429225"/>
              <a:gd name="connsiteX80" fmla="*/ 497227 w 4519987"/>
              <a:gd name="connsiteY80" fmla="*/ 828675 h 4429225"/>
              <a:gd name="connsiteX81" fmla="*/ 535327 w 4519987"/>
              <a:gd name="connsiteY81" fmla="*/ 800100 h 4429225"/>
              <a:gd name="connsiteX82" fmla="*/ 602002 w 4519987"/>
              <a:gd name="connsiteY82" fmla="*/ 733425 h 4429225"/>
              <a:gd name="connsiteX83" fmla="*/ 668677 w 4519987"/>
              <a:gd name="connsiteY83" fmla="*/ 676275 h 4429225"/>
              <a:gd name="connsiteX84" fmla="*/ 697252 w 4519987"/>
              <a:gd name="connsiteY84" fmla="*/ 657225 h 4429225"/>
              <a:gd name="connsiteX85" fmla="*/ 840127 w 4519987"/>
              <a:gd name="connsiteY85" fmla="*/ 533400 h 4429225"/>
              <a:gd name="connsiteX86" fmla="*/ 887752 w 4519987"/>
              <a:gd name="connsiteY86" fmla="*/ 504825 h 4429225"/>
              <a:gd name="connsiteX87" fmla="*/ 1167152 w 4519987"/>
              <a:gd name="connsiteY87" fmla="*/ 311150 h 4429225"/>
              <a:gd name="connsiteX88" fmla="*/ 1268752 w 4519987"/>
              <a:gd name="connsiteY88" fmla="*/ 285750 h 4429225"/>
              <a:gd name="connsiteX89" fmla="*/ 1411627 w 4519987"/>
              <a:gd name="connsiteY89" fmla="*/ 190500 h 4429225"/>
              <a:gd name="connsiteX90" fmla="*/ 1449727 w 4519987"/>
              <a:gd name="connsiteY90" fmla="*/ 161925 h 4429225"/>
              <a:gd name="connsiteX91" fmla="*/ 1525927 w 4519987"/>
              <a:gd name="connsiteY91" fmla="*/ 152400 h 4429225"/>
              <a:gd name="connsiteX92" fmla="*/ 1583077 w 4519987"/>
              <a:gd name="connsiteY92" fmla="*/ 142875 h 4429225"/>
              <a:gd name="connsiteX93" fmla="*/ 1716427 w 4519987"/>
              <a:gd name="connsiteY93" fmla="*/ 123825 h 4429225"/>
              <a:gd name="connsiteX94" fmla="*/ 1811677 w 4519987"/>
              <a:gd name="connsiteY94" fmla="*/ 114300 h 4429225"/>
              <a:gd name="connsiteX95" fmla="*/ 1859302 w 4519987"/>
              <a:gd name="connsiteY95" fmla="*/ 104775 h 4429225"/>
              <a:gd name="connsiteX96" fmla="*/ 1916452 w 4519987"/>
              <a:gd name="connsiteY96" fmla="*/ 95250 h 4429225"/>
              <a:gd name="connsiteX97" fmla="*/ 2030752 w 4519987"/>
              <a:gd name="connsiteY97" fmla="*/ 66675 h 4429225"/>
              <a:gd name="connsiteX98" fmla="*/ 2097427 w 4519987"/>
              <a:gd name="connsiteY98" fmla="*/ 47625 h 4429225"/>
              <a:gd name="connsiteX99" fmla="*/ 2164102 w 4519987"/>
              <a:gd name="connsiteY99" fmla="*/ 38100 h 4429225"/>
              <a:gd name="connsiteX100" fmla="*/ 2392702 w 4519987"/>
              <a:gd name="connsiteY100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73377 w 4519987"/>
              <a:gd name="connsiteY54" fmla="*/ 3019425 h 4429225"/>
              <a:gd name="connsiteX55" fmla="*/ 144802 w 4519987"/>
              <a:gd name="connsiteY55" fmla="*/ 2924175 h 4429225"/>
              <a:gd name="connsiteX56" fmla="*/ 68602 w 4519987"/>
              <a:gd name="connsiteY56" fmla="*/ 2724150 h 4429225"/>
              <a:gd name="connsiteX57" fmla="*/ 49552 w 4519987"/>
              <a:gd name="connsiteY57" fmla="*/ 2638425 h 4429225"/>
              <a:gd name="connsiteX58" fmla="*/ 40027 w 4519987"/>
              <a:gd name="connsiteY58" fmla="*/ 2562225 h 4429225"/>
              <a:gd name="connsiteX59" fmla="*/ 30502 w 4519987"/>
              <a:gd name="connsiteY59" fmla="*/ 2514600 h 4429225"/>
              <a:gd name="connsiteX60" fmla="*/ 11452 w 4519987"/>
              <a:gd name="connsiteY60" fmla="*/ 2400300 h 4429225"/>
              <a:gd name="connsiteX61" fmla="*/ 20977 w 4519987"/>
              <a:gd name="connsiteY61" fmla="*/ 1905000 h 4429225"/>
              <a:gd name="connsiteX62" fmla="*/ 30502 w 4519987"/>
              <a:gd name="connsiteY62" fmla="*/ 1838325 h 4429225"/>
              <a:gd name="connsiteX63" fmla="*/ 49552 w 4519987"/>
              <a:gd name="connsiteY63" fmla="*/ 1781175 h 4429225"/>
              <a:gd name="connsiteX64" fmla="*/ 59077 w 4519987"/>
              <a:gd name="connsiteY64" fmla="*/ 1743075 h 4429225"/>
              <a:gd name="connsiteX65" fmla="*/ 78127 w 4519987"/>
              <a:gd name="connsiteY65" fmla="*/ 1685925 h 4429225"/>
              <a:gd name="connsiteX66" fmla="*/ 87652 w 4519987"/>
              <a:gd name="connsiteY66" fmla="*/ 1638300 h 4429225"/>
              <a:gd name="connsiteX67" fmla="*/ 106702 w 4519987"/>
              <a:gd name="connsiteY67" fmla="*/ 1590675 h 4429225"/>
              <a:gd name="connsiteX68" fmla="*/ 135277 w 4519987"/>
              <a:gd name="connsiteY68" fmla="*/ 1504950 h 4429225"/>
              <a:gd name="connsiteX69" fmla="*/ 154327 w 4519987"/>
              <a:gd name="connsiteY69" fmla="*/ 1419225 h 4429225"/>
              <a:gd name="connsiteX70" fmla="*/ 230527 w 4519987"/>
              <a:gd name="connsiteY70" fmla="*/ 1276350 h 4429225"/>
              <a:gd name="connsiteX71" fmla="*/ 240052 w 4519987"/>
              <a:gd name="connsiteY71" fmla="*/ 1247775 h 4429225"/>
              <a:gd name="connsiteX72" fmla="*/ 268627 w 4519987"/>
              <a:gd name="connsiteY72" fmla="*/ 1200150 h 4429225"/>
              <a:gd name="connsiteX73" fmla="*/ 287677 w 4519987"/>
              <a:gd name="connsiteY73" fmla="*/ 1152525 h 4429225"/>
              <a:gd name="connsiteX74" fmla="*/ 316252 w 4519987"/>
              <a:gd name="connsiteY74" fmla="*/ 1114425 h 4429225"/>
              <a:gd name="connsiteX75" fmla="*/ 363877 w 4519987"/>
              <a:gd name="connsiteY75" fmla="*/ 1038225 h 4429225"/>
              <a:gd name="connsiteX76" fmla="*/ 382927 w 4519987"/>
              <a:gd name="connsiteY76" fmla="*/ 1009650 h 4429225"/>
              <a:gd name="connsiteX77" fmla="*/ 440077 w 4519987"/>
              <a:gd name="connsiteY77" fmla="*/ 904875 h 4429225"/>
              <a:gd name="connsiteX78" fmla="*/ 478177 w 4519987"/>
              <a:gd name="connsiteY78" fmla="*/ 857250 h 4429225"/>
              <a:gd name="connsiteX79" fmla="*/ 497227 w 4519987"/>
              <a:gd name="connsiteY79" fmla="*/ 828675 h 4429225"/>
              <a:gd name="connsiteX80" fmla="*/ 535327 w 4519987"/>
              <a:gd name="connsiteY80" fmla="*/ 800100 h 4429225"/>
              <a:gd name="connsiteX81" fmla="*/ 602002 w 4519987"/>
              <a:gd name="connsiteY81" fmla="*/ 733425 h 4429225"/>
              <a:gd name="connsiteX82" fmla="*/ 668677 w 4519987"/>
              <a:gd name="connsiteY82" fmla="*/ 676275 h 4429225"/>
              <a:gd name="connsiteX83" fmla="*/ 697252 w 4519987"/>
              <a:gd name="connsiteY83" fmla="*/ 657225 h 4429225"/>
              <a:gd name="connsiteX84" fmla="*/ 840127 w 4519987"/>
              <a:gd name="connsiteY84" fmla="*/ 533400 h 4429225"/>
              <a:gd name="connsiteX85" fmla="*/ 887752 w 4519987"/>
              <a:gd name="connsiteY85" fmla="*/ 504825 h 4429225"/>
              <a:gd name="connsiteX86" fmla="*/ 1167152 w 4519987"/>
              <a:gd name="connsiteY86" fmla="*/ 311150 h 4429225"/>
              <a:gd name="connsiteX87" fmla="*/ 1268752 w 4519987"/>
              <a:gd name="connsiteY87" fmla="*/ 285750 h 4429225"/>
              <a:gd name="connsiteX88" fmla="*/ 1411627 w 4519987"/>
              <a:gd name="connsiteY88" fmla="*/ 190500 h 4429225"/>
              <a:gd name="connsiteX89" fmla="*/ 1449727 w 4519987"/>
              <a:gd name="connsiteY89" fmla="*/ 161925 h 4429225"/>
              <a:gd name="connsiteX90" fmla="*/ 1525927 w 4519987"/>
              <a:gd name="connsiteY90" fmla="*/ 152400 h 4429225"/>
              <a:gd name="connsiteX91" fmla="*/ 1583077 w 4519987"/>
              <a:gd name="connsiteY91" fmla="*/ 142875 h 4429225"/>
              <a:gd name="connsiteX92" fmla="*/ 1716427 w 4519987"/>
              <a:gd name="connsiteY92" fmla="*/ 123825 h 4429225"/>
              <a:gd name="connsiteX93" fmla="*/ 1811677 w 4519987"/>
              <a:gd name="connsiteY93" fmla="*/ 114300 h 4429225"/>
              <a:gd name="connsiteX94" fmla="*/ 1859302 w 4519987"/>
              <a:gd name="connsiteY94" fmla="*/ 104775 h 4429225"/>
              <a:gd name="connsiteX95" fmla="*/ 1916452 w 4519987"/>
              <a:gd name="connsiteY95" fmla="*/ 95250 h 4429225"/>
              <a:gd name="connsiteX96" fmla="*/ 2030752 w 4519987"/>
              <a:gd name="connsiteY96" fmla="*/ 66675 h 4429225"/>
              <a:gd name="connsiteX97" fmla="*/ 2097427 w 4519987"/>
              <a:gd name="connsiteY97" fmla="*/ 47625 h 4429225"/>
              <a:gd name="connsiteX98" fmla="*/ 2164102 w 4519987"/>
              <a:gd name="connsiteY98" fmla="*/ 38100 h 4429225"/>
              <a:gd name="connsiteX99" fmla="*/ 2392702 w 4519987"/>
              <a:gd name="connsiteY99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9552 w 4519987"/>
              <a:gd name="connsiteY56" fmla="*/ 2638425 h 4429225"/>
              <a:gd name="connsiteX57" fmla="*/ 40027 w 4519987"/>
              <a:gd name="connsiteY57" fmla="*/ 2562225 h 4429225"/>
              <a:gd name="connsiteX58" fmla="*/ 30502 w 4519987"/>
              <a:gd name="connsiteY58" fmla="*/ 2514600 h 4429225"/>
              <a:gd name="connsiteX59" fmla="*/ 11452 w 4519987"/>
              <a:gd name="connsiteY59" fmla="*/ 2400300 h 4429225"/>
              <a:gd name="connsiteX60" fmla="*/ 20977 w 4519987"/>
              <a:gd name="connsiteY60" fmla="*/ 1905000 h 4429225"/>
              <a:gd name="connsiteX61" fmla="*/ 30502 w 4519987"/>
              <a:gd name="connsiteY61" fmla="*/ 1838325 h 4429225"/>
              <a:gd name="connsiteX62" fmla="*/ 49552 w 4519987"/>
              <a:gd name="connsiteY62" fmla="*/ 1781175 h 4429225"/>
              <a:gd name="connsiteX63" fmla="*/ 59077 w 4519987"/>
              <a:gd name="connsiteY63" fmla="*/ 1743075 h 4429225"/>
              <a:gd name="connsiteX64" fmla="*/ 78127 w 4519987"/>
              <a:gd name="connsiteY64" fmla="*/ 1685925 h 4429225"/>
              <a:gd name="connsiteX65" fmla="*/ 87652 w 4519987"/>
              <a:gd name="connsiteY65" fmla="*/ 1638300 h 4429225"/>
              <a:gd name="connsiteX66" fmla="*/ 106702 w 4519987"/>
              <a:gd name="connsiteY66" fmla="*/ 1590675 h 4429225"/>
              <a:gd name="connsiteX67" fmla="*/ 135277 w 4519987"/>
              <a:gd name="connsiteY67" fmla="*/ 1504950 h 4429225"/>
              <a:gd name="connsiteX68" fmla="*/ 154327 w 4519987"/>
              <a:gd name="connsiteY68" fmla="*/ 1419225 h 4429225"/>
              <a:gd name="connsiteX69" fmla="*/ 230527 w 4519987"/>
              <a:gd name="connsiteY69" fmla="*/ 1276350 h 4429225"/>
              <a:gd name="connsiteX70" fmla="*/ 240052 w 4519987"/>
              <a:gd name="connsiteY70" fmla="*/ 1247775 h 4429225"/>
              <a:gd name="connsiteX71" fmla="*/ 268627 w 4519987"/>
              <a:gd name="connsiteY71" fmla="*/ 1200150 h 4429225"/>
              <a:gd name="connsiteX72" fmla="*/ 287677 w 4519987"/>
              <a:gd name="connsiteY72" fmla="*/ 1152525 h 4429225"/>
              <a:gd name="connsiteX73" fmla="*/ 316252 w 4519987"/>
              <a:gd name="connsiteY73" fmla="*/ 1114425 h 4429225"/>
              <a:gd name="connsiteX74" fmla="*/ 363877 w 4519987"/>
              <a:gd name="connsiteY74" fmla="*/ 1038225 h 4429225"/>
              <a:gd name="connsiteX75" fmla="*/ 382927 w 4519987"/>
              <a:gd name="connsiteY75" fmla="*/ 1009650 h 4429225"/>
              <a:gd name="connsiteX76" fmla="*/ 440077 w 4519987"/>
              <a:gd name="connsiteY76" fmla="*/ 904875 h 4429225"/>
              <a:gd name="connsiteX77" fmla="*/ 478177 w 4519987"/>
              <a:gd name="connsiteY77" fmla="*/ 857250 h 4429225"/>
              <a:gd name="connsiteX78" fmla="*/ 497227 w 4519987"/>
              <a:gd name="connsiteY78" fmla="*/ 828675 h 4429225"/>
              <a:gd name="connsiteX79" fmla="*/ 535327 w 4519987"/>
              <a:gd name="connsiteY79" fmla="*/ 800100 h 4429225"/>
              <a:gd name="connsiteX80" fmla="*/ 602002 w 4519987"/>
              <a:gd name="connsiteY80" fmla="*/ 733425 h 4429225"/>
              <a:gd name="connsiteX81" fmla="*/ 668677 w 4519987"/>
              <a:gd name="connsiteY81" fmla="*/ 676275 h 4429225"/>
              <a:gd name="connsiteX82" fmla="*/ 697252 w 4519987"/>
              <a:gd name="connsiteY82" fmla="*/ 657225 h 4429225"/>
              <a:gd name="connsiteX83" fmla="*/ 840127 w 4519987"/>
              <a:gd name="connsiteY83" fmla="*/ 533400 h 4429225"/>
              <a:gd name="connsiteX84" fmla="*/ 887752 w 4519987"/>
              <a:gd name="connsiteY84" fmla="*/ 504825 h 4429225"/>
              <a:gd name="connsiteX85" fmla="*/ 1167152 w 4519987"/>
              <a:gd name="connsiteY85" fmla="*/ 311150 h 4429225"/>
              <a:gd name="connsiteX86" fmla="*/ 1268752 w 4519987"/>
              <a:gd name="connsiteY86" fmla="*/ 285750 h 4429225"/>
              <a:gd name="connsiteX87" fmla="*/ 1411627 w 4519987"/>
              <a:gd name="connsiteY87" fmla="*/ 190500 h 4429225"/>
              <a:gd name="connsiteX88" fmla="*/ 1449727 w 4519987"/>
              <a:gd name="connsiteY88" fmla="*/ 161925 h 4429225"/>
              <a:gd name="connsiteX89" fmla="*/ 1525927 w 4519987"/>
              <a:gd name="connsiteY89" fmla="*/ 152400 h 4429225"/>
              <a:gd name="connsiteX90" fmla="*/ 1583077 w 4519987"/>
              <a:gd name="connsiteY90" fmla="*/ 142875 h 4429225"/>
              <a:gd name="connsiteX91" fmla="*/ 1716427 w 4519987"/>
              <a:gd name="connsiteY91" fmla="*/ 123825 h 4429225"/>
              <a:gd name="connsiteX92" fmla="*/ 1811677 w 4519987"/>
              <a:gd name="connsiteY92" fmla="*/ 114300 h 4429225"/>
              <a:gd name="connsiteX93" fmla="*/ 1859302 w 4519987"/>
              <a:gd name="connsiteY93" fmla="*/ 104775 h 4429225"/>
              <a:gd name="connsiteX94" fmla="*/ 1916452 w 4519987"/>
              <a:gd name="connsiteY94" fmla="*/ 95250 h 4429225"/>
              <a:gd name="connsiteX95" fmla="*/ 2030752 w 4519987"/>
              <a:gd name="connsiteY95" fmla="*/ 66675 h 4429225"/>
              <a:gd name="connsiteX96" fmla="*/ 2097427 w 4519987"/>
              <a:gd name="connsiteY96" fmla="*/ 47625 h 4429225"/>
              <a:gd name="connsiteX97" fmla="*/ 2164102 w 4519987"/>
              <a:gd name="connsiteY97" fmla="*/ 38100 h 4429225"/>
              <a:gd name="connsiteX98" fmla="*/ 2392702 w 4519987"/>
              <a:gd name="connsiteY98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0027 w 4519987"/>
              <a:gd name="connsiteY56" fmla="*/ 2562225 h 4429225"/>
              <a:gd name="connsiteX57" fmla="*/ 30502 w 4519987"/>
              <a:gd name="connsiteY57" fmla="*/ 2514600 h 4429225"/>
              <a:gd name="connsiteX58" fmla="*/ 11452 w 4519987"/>
              <a:gd name="connsiteY58" fmla="*/ 2400300 h 4429225"/>
              <a:gd name="connsiteX59" fmla="*/ 20977 w 4519987"/>
              <a:gd name="connsiteY59" fmla="*/ 1905000 h 4429225"/>
              <a:gd name="connsiteX60" fmla="*/ 30502 w 4519987"/>
              <a:gd name="connsiteY60" fmla="*/ 1838325 h 4429225"/>
              <a:gd name="connsiteX61" fmla="*/ 49552 w 4519987"/>
              <a:gd name="connsiteY61" fmla="*/ 1781175 h 4429225"/>
              <a:gd name="connsiteX62" fmla="*/ 59077 w 4519987"/>
              <a:gd name="connsiteY62" fmla="*/ 1743075 h 4429225"/>
              <a:gd name="connsiteX63" fmla="*/ 78127 w 4519987"/>
              <a:gd name="connsiteY63" fmla="*/ 1685925 h 4429225"/>
              <a:gd name="connsiteX64" fmla="*/ 87652 w 4519987"/>
              <a:gd name="connsiteY64" fmla="*/ 1638300 h 4429225"/>
              <a:gd name="connsiteX65" fmla="*/ 106702 w 4519987"/>
              <a:gd name="connsiteY65" fmla="*/ 1590675 h 4429225"/>
              <a:gd name="connsiteX66" fmla="*/ 135277 w 4519987"/>
              <a:gd name="connsiteY66" fmla="*/ 1504950 h 4429225"/>
              <a:gd name="connsiteX67" fmla="*/ 154327 w 4519987"/>
              <a:gd name="connsiteY67" fmla="*/ 1419225 h 4429225"/>
              <a:gd name="connsiteX68" fmla="*/ 230527 w 4519987"/>
              <a:gd name="connsiteY68" fmla="*/ 1276350 h 4429225"/>
              <a:gd name="connsiteX69" fmla="*/ 240052 w 4519987"/>
              <a:gd name="connsiteY69" fmla="*/ 1247775 h 4429225"/>
              <a:gd name="connsiteX70" fmla="*/ 268627 w 4519987"/>
              <a:gd name="connsiteY70" fmla="*/ 1200150 h 4429225"/>
              <a:gd name="connsiteX71" fmla="*/ 287677 w 4519987"/>
              <a:gd name="connsiteY71" fmla="*/ 1152525 h 4429225"/>
              <a:gd name="connsiteX72" fmla="*/ 316252 w 4519987"/>
              <a:gd name="connsiteY72" fmla="*/ 1114425 h 4429225"/>
              <a:gd name="connsiteX73" fmla="*/ 363877 w 4519987"/>
              <a:gd name="connsiteY73" fmla="*/ 1038225 h 4429225"/>
              <a:gd name="connsiteX74" fmla="*/ 382927 w 4519987"/>
              <a:gd name="connsiteY74" fmla="*/ 1009650 h 4429225"/>
              <a:gd name="connsiteX75" fmla="*/ 440077 w 4519987"/>
              <a:gd name="connsiteY75" fmla="*/ 904875 h 4429225"/>
              <a:gd name="connsiteX76" fmla="*/ 478177 w 4519987"/>
              <a:gd name="connsiteY76" fmla="*/ 857250 h 4429225"/>
              <a:gd name="connsiteX77" fmla="*/ 497227 w 4519987"/>
              <a:gd name="connsiteY77" fmla="*/ 828675 h 4429225"/>
              <a:gd name="connsiteX78" fmla="*/ 535327 w 4519987"/>
              <a:gd name="connsiteY78" fmla="*/ 800100 h 4429225"/>
              <a:gd name="connsiteX79" fmla="*/ 602002 w 4519987"/>
              <a:gd name="connsiteY79" fmla="*/ 733425 h 4429225"/>
              <a:gd name="connsiteX80" fmla="*/ 668677 w 4519987"/>
              <a:gd name="connsiteY80" fmla="*/ 676275 h 4429225"/>
              <a:gd name="connsiteX81" fmla="*/ 697252 w 4519987"/>
              <a:gd name="connsiteY81" fmla="*/ 657225 h 4429225"/>
              <a:gd name="connsiteX82" fmla="*/ 840127 w 4519987"/>
              <a:gd name="connsiteY82" fmla="*/ 533400 h 4429225"/>
              <a:gd name="connsiteX83" fmla="*/ 887752 w 4519987"/>
              <a:gd name="connsiteY83" fmla="*/ 504825 h 4429225"/>
              <a:gd name="connsiteX84" fmla="*/ 1167152 w 4519987"/>
              <a:gd name="connsiteY84" fmla="*/ 311150 h 4429225"/>
              <a:gd name="connsiteX85" fmla="*/ 1268752 w 4519987"/>
              <a:gd name="connsiteY85" fmla="*/ 285750 h 4429225"/>
              <a:gd name="connsiteX86" fmla="*/ 1411627 w 4519987"/>
              <a:gd name="connsiteY86" fmla="*/ 190500 h 4429225"/>
              <a:gd name="connsiteX87" fmla="*/ 1449727 w 4519987"/>
              <a:gd name="connsiteY87" fmla="*/ 161925 h 4429225"/>
              <a:gd name="connsiteX88" fmla="*/ 1525927 w 4519987"/>
              <a:gd name="connsiteY88" fmla="*/ 152400 h 4429225"/>
              <a:gd name="connsiteX89" fmla="*/ 1583077 w 4519987"/>
              <a:gd name="connsiteY89" fmla="*/ 142875 h 4429225"/>
              <a:gd name="connsiteX90" fmla="*/ 1716427 w 4519987"/>
              <a:gd name="connsiteY90" fmla="*/ 123825 h 4429225"/>
              <a:gd name="connsiteX91" fmla="*/ 1811677 w 4519987"/>
              <a:gd name="connsiteY91" fmla="*/ 114300 h 4429225"/>
              <a:gd name="connsiteX92" fmla="*/ 1859302 w 4519987"/>
              <a:gd name="connsiteY92" fmla="*/ 104775 h 4429225"/>
              <a:gd name="connsiteX93" fmla="*/ 1916452 w 4519987"/>
              <a:gd name="connsiteY93" fmla="*/ 95250 h 4429225"/>
              <a:gd name="connsiteX94" fmla="*/ 2030752 w 4519987"/>
              <a:gd name="connsiteY94" fmla="*/ 66675 h 4429225"/>
              <a:gd name="connsiteX95" fmla="*/ 2097427 w 4519987"/>
              <a:gd name="connsiteY95" fmla="*/ 47625 h 4429225"/>
              <a:gd name="connsiteX96" fmla="*/ 2164102 w 4519987"/>
              <a:gd name="connsiteY96" fmla="*/ 38100 h 4429225"/>
              <a:gd name="connsiteX97" fmla="*/ 2392702 w 4519987"/>
              <a:gd name="connsiteY97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40027 w 4519987"/>
              <a:gd name="connsiteY56" fmla="*/ 2562225 h 4429225"/>
              <a:gd name="connsiteX57" fmla="*/ 11452 w 4519987"/>
              <a:gd name="connsiteY57" fmla="*/ 2400300 h 4429225"/>
              <a:gd name="connsiteX58" fmla="*/ 20977 w 4519987"/>
              <a:gd name="connsiteY58" fmla="*/ 1905000 h 4429225"/>
              <a:gd name="connsiteX59" fmla="*/ 30502 w 4519987"/>
              <a:gd name="connsiteY59" fmla="*/ 1838325 h 4429225"/>
              <a:gd name="connsiteX60" fmla="*/ 49552 w 4519987"/>
              <a:gd name="connsiteY60" fmla="*/ 1781175 h 4429225"/>
              <a:gd name="connsiteX61" fmla="*/ 59077 w 4519987"/>
              <a:gd name="connsiteY61" fmla="*/ 1743075 h 4429225"/>
              <a:gd name="connsiteX62" fmla="*/ 78127 w 4519987"/>
              <a:gd name="connsiteY62" fmla="*/ 1685925 h 4429225"/>
              <a:gd name="connsiteX63" fmla="*/ 87652 w 4519987"/>
              <a:gd name="connsiteY63" fmla="*/ 1638300 h 4429225"/>
              <a:gd name="connsiteX64" fmla="*/ 106702 w 4519987"/>
              <a:gd name="connsiteY64" fmla="*/ 1590675 h 4429225"/>
              <a:gd name="connsiteX65" fmla="*/ 135277 w 4519987"/>
              <a:gd name="connsiteY65" fmla="*/ 1504950 h 4429225"/>
              <a:gd name="connsiteX66" fmla="*/ 154327 w 4519987"/>
              <a:gd name="connsiteY66" fmla="*/ 1419225 h 4429225"/>
              <a:gd name="connsiteX67" fmla="*/ 230527 w 4519987"/>
              <a:gd name="connsiteY67" fmla="*/ 1276350 h 4429225"/>
              <a:gd name="connsiteX68" fmla="*/ 240052 w 4519987"/>
              <a:gd name="connsiteY68" fmla="*/ 1247775 h 4429225"/>
              <a:gd name="connsiteX69" fmla="*/ 268627 w 4519987"/>
              <a:gd name="connsiteY69" fmla="*/ 1200150 h 4429225"/>
              <a:gd name="connsiteX70" fmla="*/ 287677 w 4519987"/>
              <a:gd name="connsiteY70" fmla="*/ 1152525 h 4429225"/>
              <a:gd name="connsiteX71" fmla="*/ 316252 w 4519987"/>
              <a:gd name="connsiteY71" fmla="*/ 1114425 h 4429225"/>
              <a:gd name="connsiteX72" fmla="*/ 363877 w 4519987"/>
              <a:gd name="connsiteY72" fmla="*/ 1038225 h 4429225"/>
              <a:gd name="connsiteX73" fmla="*/ 382927 w 4519987"/>
              <a:gd name="connsiteY73" fmla="*/ 1009650 h 4429225"/>
              <a:gd name="connsiteX74" fmla="*/ 440077 w 4519987"/>
              <a:gd name="connsiteY74" fmla="*/ 904875 h 4429225"/>
              <a:gd name="connsiteX75" fmla="*/ 478177 w 4519987"/>
              <a:gd name="connsiteY75" fmla="*/ 857250 h 4429225"/>
              <a:gd name="connsiteX76" fmla="*/ 497227 w 4519987"/>
              <a:gd name="connsiteY76" fmla="*/ 828675 h 4429225"/>
              <a:gd name="connsiteX77" fmla="*/ 535327 w 4519987"/>
              <a:gd name="connsiteY77" fmla="*/ 800100 h 4429225"/>
              <a:gd name="connsiteX78" fmla="*/ 602002 w 4519987"/>
              <a:gd name="connsiteY78" fmla="*/ 733425 h 4429225"/>
              <a:gd name="connsiteX79" fmla="*/ 668677 w 4519987"/>
              <a:gd name="connsiteY79" fmla="*/ 676275 h 4429225"/>
              <a:gd name="connsiteX80" fmla="*/ 697252 w 4519987"/>
              <a:gd name="connsiteY80" fmla="*/ 657225 h 4429225"/>
              <a:gd name="connsiteX81" fmla="*/ 840127 w 4519987"/>
              <a:gd name="connsiteY81" fmla="*/ 533400 h 4429225"/>
              <a:gd name="connsiteX82" fmla="*/ 887752 w 4519987"/>
              <a:gd name="connsiteY82" fmla="*/ 504825 h 4429225"/>
              <a:gd name="connsiteX83" fmla="*/ 1167152 w 4519987"/>
              <a:gd name="connsiteY83" fmla="*/ 311150 h 4429225"/>
              <a:gd name="connsiteX84" fmla="*/ 1268752 w 4519987"/>
              <a:gd name="connsiteY84" fmla="*/ 285750 h 4429225"/>
              <a:gd name="connsiteX85" fmla="*/ 1411627 w 4519987"/>
              <a:gd name="connsiteY85" fmla="*/ 190500 h 4429225"/>
              <a:gd name="connsiteX86" fmla="*/ 1449727 w 4519987"/>
              <a:gd name="connsiteY86" fmla="*/ 161925 h 4429225"/>
              <a:gd name="connsiteX87" fmla="*/ 1525927 w 4519987"/>
              <a:gd name="connsiteY87" fmla="*/ 152400 h 4429225"/>
              <a:gd name="connsiteX88" fmla="*/ 1583077 w 4519987"/>
              <a:gd name="connsiteY88" fmla="*/ 142875 h 4429225"/>
              <a:gd name="connsiteX89" fmla="*/ 1716427 w 4519987"/>
              <a:gd name="connsiteY89" fmla="*/ 123825 h 4429225"/>
              <a:gd name="connsiteX90" fmla="*/ 1811677 w 4519987"/>
              <a:gd name="connsiteY90" fmla="*/ 114300 h 4429225"/>
              <a:gd name="connsiteX91" fmla="*/ 1859302 w 4519987"/>
              <a:gd name="connsiteY91" fmla="*/ 104775 h 4429225"/>
              <a:gd name="connsiteX92" fmla="*/ 1916452 w 4519987"/>
              <a:gd name="connsiteY92" fmla="*/ 95250 h 4429225"/>
              <a:gd name="connsiteX93" fmla="*/ 2030752 w 4519987"/>
              <a:gd name="connsiteY93" fmla="*/ 66675 h 4429225"/>
              <a:gd name="connsiteX94" fmla="*/ 2097427 w 4519987"/>
              <a:gd name="connsiteY94" fmla="*/ 47625 h 4429225"/>
              <a:gd name="connsiteX95" fmla="*/ 2164102 w 4519987"/>
              <a:gd name="connsiteY95" fmla="*/ 38100 h 4429225"/>
              <a:gd name="connsiteX96" fmla="*/ 2392702 w 4519987"/>
              <a:gd name="connsiteY96" fmla="*/ 28575 h 4429225"/>
              <a:gd name="connsiteX0" fmla="*/ 2297452 w 4519987"/>
              <a:gd name="connsiteY0" fmla="*/ 0 h 4429225"/>
              <a:gd name="connsiteX1" fmla="*/ 2421277 w 4519987"/>
              <a:gd name="connsiteY1" fmla="*/ 28575 h 4429225"/>
              <a:gd name="connsiteX2" fmla="*/ 2497477 w 4519987"/>
              <a:gd name="connsiteY2" fmla="*/ 47625 h 4429225"/>
              <a:gd name="connsiteX3" fmla="*/ 2754652 w 4519987"/>
              <a:gd name="connsiteY3" fmla="*/ 66675 h 4429225"/>
              <a:gd name="connsiteX4" fmla="*/ 2830852 w 4519987"/>
              <a:gd name="connsiteY4" fmla="*/ 76200 h 4429225"/>
              <a:gd name="connsiteX5" fmla="*/ 2916577 w 4519987"/>
              <a:gd name="connsiteY5" fmla="*/ 85725 h 4429225"/>
              <a:gd name="connsiteX6" fmla="*/ 2973727 w 4519987"/>
              <a:gd name="connsiteY6" fmla="*/ 114300 h 4429225"/>
              <a:gd name="connsiteX7" fmla="*/ 3011827 w 4519987"/>
              <a:gd name="connsiteY7" fmla="*/ 123825 h 4429225"/>
              <a:gd name="connsiteX8" fmla="*/ 3135652 w 4519987"/>
              <a:gd name="connsiteY8" fmla="*/ 171450 h 4429225"/>
              <a:gd name="connsiteX9" fmla="*/ 3173752 w 4519987"/>
              <a:gd name="connsiteY9" fmla="*/ 190500 h 4429225"/>
              <a:gd name="connsiteX10" fmla="*/ 3240427 w 4519987"/>
              <a:gd name="connsiteY10" fmla="*/ 228600 h 4429225"/>
              <a:gd name="connsiteX11" fmla="*/ 3269002 w 4519987"/>
              <a:gd name="connsiteY11" fmla="*/ 238125 h 4429225"/>
              <a:gd name="connsiteX12" fmla="*/ 3297577 w 4519987"/>
              <a:gd name="connsiteY12" fmla="*/ 257175 h 4429225"/>
              <a:gd name="connsiteX13" fmla="*/ 3326152 w 4519987"/>
              <a:gd name="connsiteY13" fmla="*/ 266700 h 4429225"/>
              <a:gd name="connsiteX14" fmla="*/ 3354727 w 4519987"/>
              <a:gd name="connsiteY14" fmla="*/ 285750 h 4429225"/>
              <a:gd name="connsiteX15" fmla="*/ 3421402 w 4519987"/>
              <a:gd name="connsiteY15" fmla="*/ 323850 h 4429225"/>
              <a:gd name="connsiteX16" fmla="*/ 3469027 w 4519987"/>
              <a:gd name="connsiteY16" fmla="*/ 361950 h 4429225"/>
              <a:gd name="connsiteX17" fmla="*/ 3516652 w 4519987"/>
              <a:gd name="connsiteY17" fmla="*/ 390525 h 4429225"/>
              <a:gd name="connsiteX18" fmla="*/ 3630952 w 4519987"/>
              <a:gd name="connsiteY18" fmla="*/ 485775 h 4429225"/>
              <a:gd name="connsiteX19" fmla="*/ 3745252 w 4519987"/>
              <a:gd name="connsiteY19" fmla="*/ 542925 h 4429225"/>
              <a:gd name="connsiteX20" fmla="*/ 3811927 w 4519987"/>
              <a:gd name="connsiteY20" fmla="*/ 581025 h 4429225"/>
              <a:gd name="connsiteX21" fmla="*/ 4027827 w 4519987"/>
              <a:gd name="connsiteY21" fmla="*/ 819150 h 4429225"/>
              <a:gd name="connsiteX22" fmla="*/ 4164352 w 4519987"/>
              <a:gd name="connsiteY22" fmla="*/ 990600 h 4429225"/>
              <a:gd name="connsiteX23" fmla="*/ 4250077 w 4519987"/>
              <a:gd name="connsiteY23" fmla="*/ 1143000 h 4429225"/>
              <a:gd name="connsiteX24" fmla="*/ 4307227 w 4519987"/>
              <a:gd name="connsiteY24" fmla="*/ 1266825 h 4429225"/>
              <a:gd name="connsiteX25" fmla="*/ 4345327 w 4519987"/>
              <a:gd name="connsiteY25" fmla="*/ 1362075 h 4429225"/>
              <a:gd name="connsiteX26" fmla="*/ 4392952 w 4519987"/>
              <a:gd name="connsiteY26" fmla="*/ 1552575 h 4429225"/>
              <a:gd name="connsiteX27" fmla="*/ 4431052 w 4519987"/>
              <a:gd name="connsiteY27" fmla="*/ 1685925 h 4429225"/>
              <a:gd name="connsiteX28" fmla="*/ 4519952 w 4519987"/>
              <a:gd name="connsiteY28" fmla="*/ 2181225 h 4429225"/>
              <a:gd name="connsiteX29" fmla="*/ 4446927 w 4519987"/>
              <a:gd name="connsiteY29" fmla="*/ 2768600 h 4429225"/>
              <a:gd name="connsiteX30" fmla="*/ 4383427 w 4519987"/>
              <a:gd name="connsiteY30" fmla="*/ 2990850 h 4429225"/>
              <a:gd name="connsiteX31" fmla="*/ 4278652 w 4519987"/>
              <a:gd name="connsiteY31" fmla="*/ 3248025 h 4429225"/>
              <a:gd name="connsiteX32" fmla="*/ 4183402 w 4519987"/>
              <a:gd name="connsiteY32" fmla="*/ 3400425 h 4429225"/>
              <a:gd name="connsiteX33" fmla="*/ 4059577 w 4519987"/>
              <a:gd name="connsiteY33" fmla="*/ 3533775 h 4429225"/>
              <a:gd name="connsiteX34" fmla="*/ 3954802 w 4519987"/>
              <a:gd name="connsiteY34" fmla="*/ 3648075 h 4429225"/>
              <a:gd name="connsiteX35" fmla="*/ 3659527 w 4519987"/>
              <a:gd name="connsiteY35" fmla="*/ 3971925 h 4429225"/>
              <a:gd name="connsiteX36" fmla="*/ 3516652 w 4519987"/>
              <a:gd name="connsiteY36" fmla="*/ 4083050 h 4429225"/>
              <a:gd name="connsiteX37" fmla="*/ 3221377 w 4519987"/>
              <a:gd name="connsiteY37" fmla="*/ 4222750 h 4429225"/>
              <a:gd name="connsiteX38" fmla="*/ 3068977 w 4519987"/>
              <a:gd name="connsiteY38" fmla="*/ 4286250 h 4429225"/>
              <a:gd name="connsiteX39" fmla="*/ 2935627 w 4519987"/>
              <a:gd name="connsiteY39" fmla="*/ 4333875 h 4429225"/>
              <a:gd name="connsiteX40" fmla="*/ 2811802 w 4519987"/>
              <a:gd name="connsiteY40" fmla="*/ 4371975 h 4429225"/>
              <a:gd name="connsiteX41" fmla="*/ 2580027 w 4519987"/>
              <a:gd name="connsiteY41" fmla="*/ 4391025 h 4429225"/>
              <a:gd name="connsiteX42" fmla="*/ 2126002 w 4519987"/>
              <a:gd name="connsiteY42" fmla="*/ 4429125 h 4429225"/>
              <a:gd name="connsiteX43" fmla="*/ 1935502 w 4519987"/>
              <a:gd name="connsiteY43" fmla="*/ 4400550 h 4429225"/>
              <a:gd name="connsiteX44" fmla="*/ 1754527 w 4519987"/>
              <a:gd name="connsiteY44" fmla="*/ 4352925 h 4429225"/>
              <a:gd name="connsiteX45" fmla="*/ 1573552 w 4519987"/>
              <a:gd name="connsiteY45" fmla="*/ 4305300 h 4429225"/>
              <a:gd name="connsiteX46" fmla="*/ 1287802 w 4519987"/>
              <a:gd name="connsiteY46" fmla="*/ 4229100 h 4429225"/>
              <a:gd name="connsiteX47" fmla="*/ 1087777 w 4519987"/>
              <a:gd name="connsiteY47" fmla="*/ 4143375 h 4429225"/>
              <a:gd name="connsiteX48" fmla="*/ 830602 w 4519987"/>
              <a:gd name="connsiteY48" fmla="*/ 3981450 h 4429225"/>
              <a:gd name="connsiteX49" fmla="*/ 697252 w 4519987"/>
              <a:gd name="connsiteY49" fmla="*/ 3838575 h 4429225"/>
              <a:gd name="connsiteX50" fmla="*/ 554377 w 4519987"/>
              <a:gd name="connsiteY50" fmla="*/ 3657600 h 4429225"/>
              <a:gd name="connsiteX51" fmla="*/ 440077 w 4519987"/>
              <a:gd name="connsiteY51" fmla="*/ 3495675 h 4429225"/>
              <a:gd name="connsiteX52" fmla="*/ 278152 w 4519987"/>
              <a:gd name="connsiteY52" fmla="*/ 3257550 h 4429225"/>
              <a:gd name="connsiteX53" fmla="*/ 221002 w 4519987"/>
              <a:gd name="connsiteY53" fmla="*/ 3105150 h 4429225"/>
              <a:gd name="connsiteX54" fmla="*/ 144802 w 4519987"/>
              <a:gd name="connsiteY54" fmla="*/ 2924175 h 4429225"/>
              <a:gd name="connsiteX55" fmla="*/ 68602 w 4519987"/>
              <a:gd name="connsiteY55" fmla="*/ 2724150 h 4429225"/>
              <a:gd name="connsiteX56" fmla="*/ 11452 w 4519987"/>
              <a:gd name="connsiteY56" fmla="*/ 2400300 h 4429225"/>
              <a:gd name="connsiteX57" fmla="*/ 20977 w 4519987"/>
              <a:gd name="connsiteY57" fmla="*/ 1905000 h 4429225"/>
              <a:gd name="connsiteX58" fmla="*/ 30502 w 4519987"/>
              <a:gd name="connsiteY58" fmla="*/ 1838325 h 4429225"/>
              <a:gd name="connsiteX59" fmla="*/ 49552 w 4519987"/>
              <a:gd name="connsiteY59" fmla="*/ 1781175 h 4429225"/>
              <a:gd name="connsiteX60" fmla="*/ 59077 w 4519987"/>
              <a:gd name="connsiteY60" fmla="*/ 1743075 h 4429225"/>
              <a:gd name="connsiteX61" fmla="*/ 78127 w 4519987"/>
              <a:gd name="connsiteY61" fmla="*/ 1685925 h 4429225"/>
              <a:gd name="connsiteX62" fmla="*/ 87652 w 4519987"/>
              <a:gd name="connsiteY62" fmla="*/ 1638300 h 4429225"/>
              <a:gd name="connsiteX63" fmla="*/ 106702 w 4519987"/>
              <a:gd name="connsiteY63" fmla="*/ 1590675 h 4429225"/>
              <a:gd name="connsiteX64" fmla="*/ 135277 w 4519987"/>
              <a:gd name="connsiteY64" fmla="*/ 1504950 h 4429225"/>
              <a:gd name="connsiteX65" fmla="*/ 154327 w 4519987"/>
              <a:gd name="connsiteY65" fmla="*/ 1419225 h 4429225"/>
              <a:gd name="connsiteX66" fmla="*/ 230527 w 4519987"/>
              <a:gd name="connsiteY66" fmla="*/ 1276350 h 4429225"/>
              <a:gd name="connsiteX67" fmla="*/ 240052 w 4519987"/>
              <a:gd name="connsiteY67" fmla="*/ 1247775 h 4429225"/>
              <a:gd name="connsiteX68" fmla="*/ 268627 w 4519987"/>
              <a:gd name="connsiteY68" fmla="*/ 1200150 h 4429225"/>
              <a:gd name="connsiteX69" fmla="*/ 287677 w 4519987"/>
              <a:gd name="connsiteY69" fmla="*/ 1152525 h 4429225"/>
              <a:gd name="connsiteX70" fmla="*/ 316252 w 4519987"/>
              <a:gd name="connsiteY70" fmla="*/ 1114425 h 4429225"/>
              <a:gd name="connsiteX71" fmla="*/ 363877 w 4519987"/>
              <a:gd name="connsiteY71" fmla="*/ 1038225 h 4429225"/>
              <a:gd name="connsiteX72" fmla="*/ 382927 w 4519987"/>
              <a:gd name="connsiteY72" fmla="*/ 1009650 h 4429225"/>
              <a:gd name="connsiteX73" fmla="*/ 440077 w 4519987"/>
              <a:gd name="connsiteY73" fmla="*/ 904875 h 4429225"/>
              <a:gd name="connsiteX74" fmla="*/ 478177 w 4519987"/>
              <a:gd name="connsiteY74" fmla="*/ 857250 h 4429225"/>
              <a:gd name="connsiteX75" fmla="*/ 497227 w 4519987"/>
              <a:gd name="connsiteY75" fmla="*/ 828675 h 4429225"/>
              <a:gd name="connsiteX76" fmla="*/ 535327 w 4519987"/>
              <a:gd name="connsiteY76" fmla="*/ 800100 h 4429225"/>
              <a:gd name="connsiteX77" fmla="*/ 602002 w 4519987"/>
              <a:gd name="connsiteY77" fmla="*/ 733425 h 4429225"/>
              <a:gd name="connsiteX78" fmla="*/ 668677 w 4519987"/>
              <a:gd name="connsiteY78" fmla="*/ 676275 h 4429225"/>
              <a:gd name="connsiteX79" fmla="*/ 697252 w 4519987"/>
              <a:gd name="connsiteY79" fmla="*/ 657225 h 4429225"/>
              <a:gd name="connsiteX80" fmla="*/ 840127 w 4519987"/>
              <a:gd name="connsiteY80" fmla="*/ 533400 h 4429225"/>
              <a:gd name="connsiteX81" fmla="*/ 887752 w 4519987"/>
              <a:gd name="connsiteY81" fmla="*/ 504825 h 4429225"/>
              <a:gd name="connsiteX82" fmla="*/ 1167152 w 4519987"/>
              <a:gd name="connsiteY82" fmla="*/ 311150 h 4429225"/>
              <a:gd name="connsiteX83" fmla="*/ 1268752 w 4519987"/>
              <a:gd name="connsiteY83" fmla="*/ 285750 h 4429225"/>
              <a:gd name="connsiteX84" fmla="*/ 1411627 w 4519987"/>
              <a:gd name="connsiteY84" fmla="*/ 190500 h 4429225"/>
              <a:gd name="connsiteX85" fmla="*/ 1449727 w 4519987"/>
              <a:gd name="connsiteY85" fmla="*/ 161925 h 4429225"/>
              <a:gd name="connsiteX86" fmla="*/ 1525927 w 4519987"/>
              <a:gd name="connsiteY86" fmla="*/ 152400 h 4429225"/>
              <a:gd name="connsiteX87" fmla="*/ 1583077 w 4519987"/>
              <a:gd name="connsiteY87" fmla="*/ 142875 h 4429225"/>
              <a:gd name="connsiteX88" fmla="*/ 1716427 w 4519987"/>
              <a:gd name="connsiteY88" fmla="*/ 123825 h 4429225"/>
              <a:gd name="connsiteX89" fmla="*/ 1811677 w 4519987"/>
              <a:gd name="connsiteY89" fmla="*/ 114300 h 4429225"/>
              <a:gd name="connsiteX90" fmla="*/ 1859302 w 4519987"/>
              <a:gd name="connsiteY90" fmla="*/ 104775 h 4429225"/>
              <a:gd name="connsiteX91" fmla="*/ 1916452 w 4519987"/>
              <a:gd name="connsiteY91" fmla="*/ 95250 h 4429225"/>
              <a:gd name="connsiteX92" fmla="*/ 2030752 w 4519987"/>
              <a:gd name="connsiteY92" fmla="*/ 66675 h 4429225"/>
              <a:gd name="connsiteX93" fmla="*/ 2097427 w 4519987"/>
              <a:gd name="connsiteY93" fmla="*/ 47625 h 4429225"/>
              <a:gd name="connsiteX94" fmla="*/ 2164102 w 4519987"/>
              <a:gd name="connsiteY94" fmla="*/ 38100 h 4429225"/>
              <a:gd name="connsiteX95" fmla="*/ 2392702 w 4519987"/>
              <a:gd name="connsiteY95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202394 w 4501379"/>
              <a:gd name="connsiteY53" fmla="*/ 3105150 h 4429225"/>
              <a:gd name="connsiteX54" fmla="*/ 126194 w 4501379"/>
              <a:gd name="connsiteY54" fmla="*/ 2924175 h 4429225"/>
              <a:gd name="connsiteX55" fmla="*/ 49994 w 4501379"/>
              <a:gd name="connsiteY55" fmla="*/ 2724150 h 4429225"/>
              <a:gd name="connsiteX56" fmla="*/ 56344 w 4501379"/>
              <a:gd name="connsiteY56" fmla="*/ 2368550 h 4429225"/>
              <a:gd name="connsiteX57" fmla="*/ 2369 w 4501379"/>
              <a:gd name="connsiteY57" fmla="*/ 1905000 h 4429225"/>
              <a:gd name="connsiteX58" fmla="*/ 11894 w 4501379"/>
              <a:gd name="connsiteY58" fmla="*/ 1838325 h 4429225"/>
              <a:gd name="connsiteX59" fmla="*/ 30944 w 4501379"/>
              <a:gd name="connsiteY59" fmla="*/ 1781175 h 4429225"/>
              <a:gd name="connsiteX60" fmla="*/ 40469 w 4501379"/>
              <a:gd name="connsiteY60" fmla="*/ 1743075 h 4429225"/>
              <a:gd name="connsiteX61" fmla="*/ 59519 w 4501379"/>
              <a:gd name="connsiteY61" fmla="*/ 1685925 h 4429225"/>
              <a:gd name="connsiteX62" fmla="*/ 69044 w 4501379"/>
              <a:gd name="connsiteY62" fmla="*/ 1638300 h 4429225"/>
              <a:gd name="connsiteX63" fmla="*/ 88094 w 4501379"/>
              <a:gd name="connsiteY63" fmla="*/ 1590675 h 4429225"/>
              <a:gd name="connsiteX64" fmla="*/ 116669 w 4501379"/>
              <a:gd name="connsiteY64" fmla="*/ 1504950 h 4429225"/>
              <a:gd name="connsiteX65" fmla="*/ 135719 w 4501379"/>
              <a:gd name="connsiteY65" fmla="*/ 1419225 h 4429225"/>
              <a:gd name="connsiteX66" fmla="*/ 211919 w 4501379"/>
              <a:gd name="connsiteY66" fmla="*/ 1276350 h 4429225"/>
              <a:gd name="connsiteX67" fmla="*/ 221444 w 4501379"/>
              <a:gd name="connsiteY67" fmla="*/ 1247775 h 4429225"/>
              <a:gd name="connsiteX68" fmla="*/ 250019 w 4501379"/>
              <a:gd name="connsiteY68" fmla="*/ 1200150 h 4429225"/>
              <a:gd name="connsiteX69" fmla="*/ 269069 w 4501379"/>
              <a:gd name="connsiteY69" fmla="*/ 1152525 h 4429225"/>
              <a:gd name="connsiteX70" fmla="*/ 297644 w 4501379"/>
              <a:gd name="connsiteY70" fmla="*/ 1114425 h 4429225"/>
              <a:gd name="connsiteX71" fmla="*/ 345269 w 4501379"/>
              <a:gd name="connsiteY71" fmla="*/ 1038225 h 4429225"/>
              <a:gd name="connsiteX72" fmla="*/ 364319 w 4501379"/>
              <a:gd name="connsiteY72" fmla="*/ 1009650 h 4429225"/>
              <a:gd name="connsiteX73" fmla="*/ 421469 w 4501379"/>
              <a:gd name="connsiteY73" fmla="*/ 904875 h 4429225"/>
              <a:gd name="connsiteX74" fmla="*/ 459569 w 4501379"/>
              <a:gd name="connsiteY74" fmla="*/ 857250 h 4429225"/>
              <a:gd name="connsiteX75" fmla="*/ 478619 w 4501379"/>
              <a:gd name="connsiteY75" fmla="*/ 828675 h 4429225"/>
              <a:gd name="connsiteX76" fmla="*/ 516719 w 4501379"/>
              <a:gd name="connsiteY76" fmla="*/ 800100 h 4429225"/>
              <a:gd name="connsiteX77" fmla="*/ 583394 w 4501379"/>
              <a:gd name="connsiteY77" fmla="*/ 733425 h 4429225"/>
              <a:gd name="connsiteX78" fmla="*/ 650069 w 4501379"/>
              <a:gd name="connsiteY78" fmla="*/ 676275 h 4429225"/>
              <a:gd name="connsiteX79" fmla="*/ 678644 w 4501379"/>
              <a:gd name="connsiteY79" fmla="*/ 657225 h 4429225"/>
              <a:gd name="connsiteX80" fmla="*/ 821519 w 4501379"/>
              <a:gd name="connsiteY80" fmla="*/ 533400 h 4429225"/>
              <a:gd name="connsiteX81" fmla="*/ 869144 w 4501379"/>
              <a:gd name="connsiteY81" fmla="*/ 504825 h 4429225"/>
              <a:gd name="connsiteX82" fmla="*/ 1148544 w 4501379"/>
              <a:gd name="connsiteY82" fmla="*/ 311150 h 4429225"/>
              <a:gd name="connsiteX83" fmla="*/ 1250144 w 4501379"/>
              <a:gd name="connsiteY83" fmla="*/ 285750 h 4429225"/>
              <a:gd name="connsiteX84" fmla="*/ 1393019 w 4501379"/>
              <a:gd name="connsiteY84" fmla="*/ 190500 h 4429225"/>
              <a:gd name="connsiteX85" fmla="*/ 1431119 w 4501379"/>
              <a:gd name="connsiteY85" fmla="*/ 161925 h 4429225"/>
              <a:gd name="connsiteX86" fmla="*/ 1507319 w 4501379"/>
              <a:gd name="connsiteY86" fmla="*/ 152400 h 4429225"/>
              <a:gd name="connsiteX87" fmla="*/ 1564469 w 4501379"/>
              <a:gd name="connsiteY87" fmla="*/ 142875 h 4429225"/>
              <a:gd name="connsiteX88" fmla="*/ 1697819 w 4501379"/>
              <a:gd name="connsiteY88" fmla="*/ 123825 h 4429225"/>
              <a:gd name="connsiteX89" fmla="*/ 1793069 w 4501379"/>
              <a:gd name="connsiteY89" fmla="*/ 114300 h 4429225"/>
              <a:gd name="connsiteX90" fmla="*/ 1840694 w 4501379"/>
              <a:gd name="connsiteY90" fmla="*/ 104775 h 4429225"/>
              <a:gd name="connsiteX91" fmla="*/ 1897844 w 4501379"/>
              <a:gd name="connsiteY91" fmla="*/ 95250 h 4429225"/>
              <a:gd name="connsiteX92" fmla="*/ 2012144 w 4501379"/>
              <a:gd name="connsiteY92" fmla="*/ 66675 h 4429225"/>
              <a:gd name="connsiteX93" fmla="*/ 2078819 w 4501379"/>
              <a:gd name="connsiteY93" fmla="*/ 47625 h 4429225"/>
              <a:gd name="connsiteX94" fmla="*/ 2145494 w 4501379"/>
              <a:gd name="connsiteY94" fmla="*/ 38100 h 4429225"/>
              <a:gd name="connsiteX95" fmla="*/ 2374094 w 4501379"/>
              <a:gd name="connsiteY95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202394 w 4501379"/>
              <a:gd name="connsiteY53" fmla="*/ 3105150 h 4429225"/>
              <a:gd name="connsiteX54" fmla="*/ 126194 w 4501379"/>
              <a:gd name="connsiteY54" fmla="*/ 2924175 h 4429225"/>
              <a:gd name="connsiteX55" fmla="*/ 56344 w 4501379"/>
              <a:gd name="connsiteY55" fmla="*/ 2368550 h 4429225"/>
              <a:gd name="connsiteX56" fmla="*/ 2369 w 4501379"/>
              <a:gd name="connsiteY56" fmla="*/ 1905000 h 4429225"/>
              <a:gd name="connsiteX57" fmla="*/ 11894 w 4501379"/>
              <a:gd name="connsiteY57" fmla="*/ 1838325 h 4429225"/>
              <a:gd name="connsiteX58" fmla="*/ 30944 w 4501379"/>
              <a:gd name="connsiteY58" fmla="*/ 1781175 h 4429225"/>
              <a:gd name="connsiteX59" fmla="*/ 40469 w 4501379"/>
              <a:gd name="connsiteY59" fmla="*/ 1743075 h 4429225"/>
              <a:gd name="connsiteX60" fmla="*/ 59519 w 4501379"/>
              <a:gd name="connsiteY60" fmla="*/ 1685925 h 4429225"/>
              <a:gd name="connsiteX61" fmla="*/ 69044 w 4501379"/>
              <a:gd name="connsiteY61" fmla="*/ 1638300 h 4429225"/>
              <a:gd name="connsiteX62" fmla="*/ 88094 w 4501379"/>
              <a:gd name="connsiteY62" fmla="*/ 1590675 h 4429225"/>
              <a:gd name="connsiteX63" fmla="*/ 116669 w 4501379"/>
              <a:gd name="connsiteY63" fmla="*/ 1504950 h 4429225"/>
              <a:gd name="connsiteX64" fmla="*/ 135719 w 4501379"/>
              <a:gd name="connsiteY64" fmla="*/ 1419225 h 4429225"/>
              <a:gd name="connsiteX65" fmla="*/ 211919 w 4501379"/>
              <a:gd name="connsiteY65" fmla="*/ 1276350 h 4429225"/>
              <a:gd name="connsiteX66" fmla="*/ 221444 w 4501379"/>
              <a:gd name="connsiteY66" fmla="*/ 1247775 h 4429225"/>
              <a:gd name="connsiteX67" fmla="*/ 250019 w 4501379"/>
              <a:gd name="connsiteY67" fmla="*/ 1200150 h 4429225"/>
              <a:gd name="connsiteX68" fmla="*/ 269069 w 4501379"/>
              <a:gd name="connsiteY68" fmla="*/ 1152525 h 4429225"/>
              <a:gd name="connsiteX69" fmla="*/ 297644 w 4501379"/>
              <a:gd name="connsiteY69" fmla="*/ 1114425 h 4429225"/>
              <a:gd name="connsiteX70" fmla="*/ 345269 w 4501379"/>
              <a:gd name="connsiteY70" fmla="*/ 1038225 h 4429225"/>
              <a:gd name="connsiteX71" fmla="*/ 364319 w 4501379"/>
              <a:gd name="connsiteY71" fmla="*/ 1009650 h 4429225"/>
              <a:gd name="connsiteX72" fmla="*/ 421469 w 4501379"/>
              <a:gd name="connsiteY72" fmla="*/ 904875 h 4429225"/>
              <a:gd name="connsiteX73" fmla="*/ 459569 w 4501379"/>
              <a:gd name="connsiteY73" fmla="*/ 857250 h 4429225"/>
              <a:gd name="connsiteX74" fmla="*/ 478619 w 4501379"/>
              <a:gd name="connsiteY74" fmla="*/ 828675 h 4429225"/>
              <a:gd name="connsiteX75" fmla="*/ 516719 w 4501379"/>
              <a:gd name="connsiteY75" fmla="*/ 800100 h 4429225"/>
              <a:gd name="connsiteX76" fmla="*/ 583394 w 4501379"/>
              <a:gd name="connsiteY76" fmla="*/ 733425 h 4429225"/>
              <a:gd name="connsiteX77" fmla="*/ 650069 w 4501379"/>
              <a:gd name="connsiteY77" fmla="*/ 676275 h 4429225"/>
              <a:gd name="connsiteX78" fmla="*/ 678644 w 4501379"/>
              <a:gd name="connsiteY78" fmla="*/ 657225 h 4429225"/>
              <a:gd name="connsiteX79" fmla="*/ 821519 w 4501379"/>
              <a:gd name="connsiteY79" fmla="*/ 533400 h 4429225"/>
              <a:gd name="connsiteX80" fmla="*/ 869144 w 4501379"/>
              <a:gd name="connsiteY80" fmla="*/ 504825 h 4429225"/>
              <a:gd name="connsiteX81" fmla="*/ 1148544 w 4501379"/>
              <a:gd name="connsiteY81" fmla="*/ 311150 h 4429225"/>
              <a:gd name="connsiteX82" fmla="*/ 1250144 w 4501379"/>
              <a:gd name="connsiteY82" fmla="*/ 285750 h 4429225"/>
              <a:gd name="connsiteX83" fmla="*/ 1393019 w 4501379"/>
              <a:gd name="connsiteY83" fmla="*/ 190500 h 4429225"/>
              <a:gd name="connsiteX84" fmla="*/ 1431119 w 4501379"/>
              <a:gd name="connsiteY84" fmla="*/ 161925 h 4429225"/>
              <a:gd name="connsiteX85" fmla="*/ 1507319 w 4501379"/>
              <a:gd name="connsiteY85" fmla="*/ 152400 h 4429225"/>
              <a:gd name="connsiteX86" fmla="*/ 1564469 w 4501379"/>
              <a:gd name="connsiteY86" fmla="*/ 142875 h 4429225"/>
              <a:gd name="connsiteX87" fmla="*/ 1697819 w 4501379"/>
              <a:gd name="connsiteY87" fmla="*/ 123825 h 4429225"/>
              <a:gd name="connsiteX88" fmla="*/ 1793069 w 4501379"/>
              <a:gd name="connsiteY88" fmla="*/ 114300 h 4429225"/>
              <a:gd name="connsiteX89" fmla="*/ 1840694 w 4501379"/>
              <a:gd name="connsiteY89" fmla="*/ 104775 h 4429225"/>
              <a:gd name="connsiteX90" fmla="*/ 1897844 w 4501379"/>
              <a:gd name="connsiteY90" fmla="*/ 95250 h 4429225"/>
              <a:gd name="connsiteX91" fmla="*/ 2012144 w 4501379"/>
              <a:gd name="connsiteY91" fmla="*/ 66675 h 4429225"/>
              <a:gd name="connsiteX92" fmla="*/ 2078819 w 4501379"/>
              <a:gd name="connsiteY92" fmla="*/ 47625 h 4429225"/>
              <a:gd name="connsiteX93" fmla="*/ 2145494 w 4501379"/>
              <a:gd name="connsiteY93" fmla="*/ 38100 h 4429225"/>
              <a:gd name="connsiteX94" fmla="*/ 2374094 w 4501379"/>
              <a:gd name="connsiteY94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126194 w 4501379"/>
              <a:gd name="connsiteY53" fmla="*/ 292417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259544 w 4501379"/>
              <a:gd name="connsiteY52" fmla="*/ 32575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2146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35769 w 4501379"/>
              <a:gd name="connsiteY50" fmla="*/ 3657600 h 4429225"/>
              <a:gd name="connsiteX51" fmla="*/ 44051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92919 w 4501379"/>
              <a:gd name="connsiteY50" fmla="*/ 3657600 h 4429225"/>
              <a:gd name="connsiteX51" fmla="*/ 440519 w 4501379"/>
              <a:gd name="connsiteY51" fmla="*/ 34956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678644 w 4501379"/>
              <a:gd name="connsiteY49" fmla="*/ 3838575 h 4429225"/>
              <a:gd name="connsiteX50" fmla="*/ 592919 w 4501379"/>
              <a:gd name="connsiteY50" fmla="*/ 3657600 h 4429225"/>
              <a:gd name="connsiteX51" fmla="*/ 446869 w 4501379"/>
              <a:gd name="connsiteY51" fmla="*/ 3470275 h 4429225"/>
              <a:gd name="connsiteX52" fmla="*/ 316694 w 4501379"/>
              <a:gd name="connsiteY52" fmla="*/ 3244850 h 4429225"/>
              <a:gd name="connsiteX53" fmla="*/ 164294 w 4501379"/>
              <a:gd name="connsiteY53" fmla="*/ 2892425 h 4429225"/>
              <a:gd name="connsiteX54" fmla="*/ 56344 w 4501379"/>
              <a:gd name="connsiteY54" fmla="*/ 2368550 h 4429225"/>
              <a:gd name="connsiteX55" fmla="*/ 2369 w 4501379"/>
              <a:gd name="connsiteY55" fmla="*/ 1905000 h 4429225"/>
              <a:gd name="connsiteX56" fmla="*/ 11894 w 4501379"/>
              <a:gd name="connsiteY56" fmla="*/ 1838325 h 4429225"/>
              <a:gd name="connsiteX57" fmla="*/ 30944 w 4501379"/>
              <a:gd name="connsiteY57" fmla="*/ 1781175 h 4429225"/>
              <a:gd name="connsiteX58" fmla="*/ 40469 w 4501379"/>
              <a:gd name="connsiteY58" fmla="*/ 1743075 h 4429225"/>
              <a:gd name="connsiteX59" fmla="*/ 59519 w 4501379"/>
              <a:gd name="connsiteY59" fmla="*/ 1685925 h 4429225"/>
              <a:gd name="connsiteX60" fmla="*/ 69044 w 4501379"/>
              <a:gd name="connsiteY60" fmla="*/ 1638300 h 4429225"/>
              <a:gd name="connsiteX61" fmla="*/ 88094 w 4501379"/>
              <a:gd name="connsiteY61" fmla="*/ 1590675 h 4429225"/>
              <a:gd name="connsiteX62" fmla="*/ 116669 w 4501379"/>
              <a:gd name="connsiteY62" fmla="*/ 1504950 h 4429225"/>
              <a:gd name="connsiteX63" fmla="*/ 135719 w 4501379"/>
              <a:gd name="connsiteY63" fmla="*/ 1419225 h 4429225"/>
              <a:gd name="connsiteX64" fmla="*/ 211919 w 4501379"/>
              <a:gd name="connsiteY64" fmla="*/ 1276350 h 4429225"/>
              <a:gd name="connsiteX65" fmla="*/ 221444 w 4501379"/>
              <a:gd name="connsiteY65" fmla="*/ 1247775 h 4429225"/>
              <a:gd name="connsiteX66" fmla="*/ 250019 w 4501379"/>
              <a:gd name="connsiteY66" fmla="*/ 1200150 h 4429225"/>
              <a:gd name="connsiteX67" fmla="*/ 269069 w 4501379"/>
              <a:gd name="connsiteY67" fmla="*/ 1152525 h 4429225"/>
              <a:gd name="connsiteX68" fmla="*/ 297644 w 4501379"/>
              <a:gd name="connsiteY68" fmla="*/ 1114425 h 4429225"/>
              <a:gd name="connsiteX69" fmla="*/ 345269 w 4501379"/>
              <a:gd name="connsiteY69" fmla="*/ 1038225 h 4429225"/>
              <a:gd name="connsiteX70" fmla="*/ 364319 w 4501379"/>
              <a:gd name="connsiteY70" fmla="*/ 1009650 h 4429225"/>
              <a:gd name="connsiteX71" fmla="*/ 421469 w 4501379"/>
              <a:gd name="connsiteY71" fmla="*/ 904875 h 4429225"/>
              <a:gd name="connsiteX72" fmla="*/ 459569 w 4501379"/>
              <a:gd name="connsiteY72" fmla="*/ 857250 h 4429225"/>
              <a:gd name="connsiteX73" fmla="*/ 478619 w 4501379"/>
              <a:gd name="connsiteY73" fmla="*/ 828675 h 4429225"/>
              <a:gd name="connsiteX74" fmla="*/ 516719 w 4501379"/>
              <a:gd name="connsiteY74" fmla="*/ 800100 h 4429225"/>
              <a:gd name="connsiteX75" fmla="*/ 583394 w 4501379"/>
              <a:gd name="connsiteY75" fmla="*/ 733425 h 4429225"/>
              <a:gd name="connsiteX76" fmla="*/ 650069 w 4501379"/>
              <a:gd name="connsiteY76" fmla="*/ 676275 h 4429225"/>
              <a:gd name="connsiteX77" fmla="*/ 678644 w 4501379"/>
              <a:gd name="connsiteY77" fmla="*/ 657225 h 4429225"/>
              <a:gd name="connsiteX78" fmla="*/ 821519 w 4501379"/>
              <a:gd name="connsiteY78" fmla="*/ 533400 h 4429225"/>
              <a:gd name="connsiteX79" fmla="*/ 869144 w 4501379"/>
              <a:gd name="connsiteY79" fmla="*/ 504825 h 4429225"/>
              <a:gd name="connsiteX80" fmla="*/ 1148544 w 4501379"/>
              <a:gd name="connsiteY80" fmla="*/ 311150 h 4429225"/>
              <a:gd name="connsiteX81" fmla="*/ 1250144 w 4501379"/>
              <a:gd name="connsiteY81" fmla="*/ 285750 h 4429225"/>
              <a:gd name="connsiteX82" fmla="*/ 1393019 w 4501379"/>
              <a:gd name="connsiteY82" fmla="*/ 190500 h 4429225"/>
              <a:gd name="connsiteX83" fmla="*/ 1431119 w 4501379"/>
              <a:gd name="connsiteY83" fmla="*/ 161925 h 4429225"/>
              <a:gd name="connsiteX84" fmla="*/ 1507319 w 4501379"/>
              <a:gd name="connsiteY84" fmla="*/ 152400 h 4429225"/>
              <a:gd name="connsiteX85" fmla="*/ 1564469 w 4501379"/>
              <a:gd name="connsiteY85" fmla="*/ 142875 h 4429225"/>
              <a:gd name="connsiteX86" fmla="*/ 1697819 w 4501379"/>
              <a:gd name="connsiteY86" fmla="*/ 123825 h 4429225"/>
              <a:gd name="connsiteX87" fmla="*/ 1793069 w 4501379"/>
              <a:gd name="connsiteY87" fmla="*/ 114300 h 4429225"/>
              <a:gd name="connsiteX88" fmla="*/ 1840694 w 4501379"/>
              <a:gd name="connsiteY88" fmla="*/ 104775 h 4429225"/>
              <a:gd name="connsiteX89" fmla="*/ 1897844 w 4501379"/>
              <a:gd name="connsiteY89" fmla="*/ 95250 h 4429225"/>
              <a:gd name="connsiteX90" fmla="*/ 2012144 w 4501379"/>
              <a:gd name="connsiteY90" fmla="*/ 66675 h 4429225"/>
              <a:gd name="connsiteX91" fmla="*/ 2078819 w 4501379"/>
              <a:gd name="connsiteY91" fmla="*/ 47625 h 4429225"/>
              <a:gd name="connsiteX92" fmla="*/ 2145494 w 4501379"/>
              <a:gd name="connsiteY92" fmla="*/ 38100 h 4429225"/>
              <a:gd name="connsiteX93" fmla="*/ 2374094 w 4501379"/>
              <a:gd name="connsiteY93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811994 w 4501379"/>
              <a:gd name="connsiteY48" fmla="*/ 39814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069169 w 4501379"/>
              <a:gd name="connsiteY47" fmla="*/ 414337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269194 w 4501379"/>
              <a:gd name="connsiteY46" fmla="*/ 4229100 h 4429225"/>
              <a:gd name="connsiteX47" fmla="*/ 1145369 w 4501379"/>
              <a:gd name="connsiteY47" fmla="*/ 411162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25"/>
              <a:gd name="connsiteX1" fmla="*/ 2402669 w 4501379"/>
              <a:gd name="connsiteY1" fmla="*/ 28575 h 4429225"/>
              <a:gd name="connsiteX2" fmla="*/ 2478869 w 4501379"/>
              <a:gd name="connsiteY2" fmla="*/ 47625 h 4429225"/>
              <a:gd name="connsiteX3" fmla="*/ 2736044 w 4501379"/>
              <a:gd name="connsiteY3" fmla="*/ 66675 h 4429225"/>
              <a:gd name="connsiteX4" fmla="*/ 2812244 w 4501379"/>
              <a:gd name="connsiteY4" fmla="*/ 76200 h 4429225"/>
              <a:gd name="connsiteX5" fmla="*/ 2897969 w 4501379"/>
              <a:gd name="connsiteY5" fmla="*/ 85725 h 4429225"/>
              <a:gd name="connsiteX6" fmla="*/ 2955119 w 4501379"/>
              <a:gd name="connsiteY6" fmla="*/ 114300 h 4429225"/>
              <a:gd name="connsiteX7" fmla="*/ 2993219 w 4501379"/>
              <a:gd name="connsiteY7" fmla="*/ 123825 h 4429225"/>
              <a:gd name="connsiteX8" fmla="*/ 3117044 w 4501379"/>
              <a:gd name="connsiteY8" fmla="*/ 171450 h 4429225"/>
              <a:gd name="connsiteX9" fmla="*/ 3155144 w 4501379"/>
              <a:gd name="connsiteY9" fmla="*/ 190500 h 4429225"/>
              <a:gd name="connsiteX10" fmla="*/ 3221819 w 4501379"/>
              <a:gd name="connsiteY10" fmla="*/ 228600 h 4429225"/>
              <a:gd name="connsiteX11" fmla="*/ 3250394 w 4501379"/>
              <a:gd name="connsiteY11" fmla="*/ 238125 h 4429225"/>
              <a:gd name="connsiteX12" fmla="*/ 3278969 w 4501379"/>
              <a:gd name="connsiteY12" fmla="*/ 257175 h 4429225"/>
              <a:gd name="connsiteX13" fmla="*/ 3307544 w 4501379"/>
              <a:gd name="connsiteY13" fmla="*/ 266700 h 4429225"/>
              <a:gd name="connsiteX14" fmla="*/ 3336119 w 4501379"/>
              <a:gd name="connsiteY14" fmla="*/ 285750 h 4429225"/>
              <a:gd name="connsiteX15" fmla="*/ 3402794 w 4501379"/>
              <a:gd name="connsiteY15" fmla="*/ 323850 h 4429225"/>
              <a:gd name="connsiteX16" fmla="*/ 3450419 w 4501379"/>
              <a:gd name="connsiteY16" fmla="*/ 361950 h 4429225"/>
              <a:gd name="connsiteX17" fmla="*/ 3498044 w 4501379"/>
              <a:gd name="connsiteY17" fmla="*/ 390525 h 4429225"/>
              <a:gd name="connsiteX18" fmla="*/ 3612344 w 4501379"/>
              <a:gd name="connsiteY18" fmla="*/ 485775 h 4429225"/>
              <a:gd name="connsiteX19" fmla="*/ 3726644 w 4501379"/>
              <a:gd name="connsiteY19" fmla="*/ 542925 h 4429225"/>
              <a:gd name="connsiteX20" fmla="*/ 3793319 w 4501379"/>
              <a:gd name="connsiteY20" fmla="*/ 581025 h 4429225"/>
              <a:gd name="connsiteX21" fmla="*/ 4009219 w 4501379"/>
              <a:gd name="connsiteY21" fmla="*/ 819150 h 4429225"/>
              <a:gd name="connsiteX22" fmla="*/ 4145744 w 4501379"/>
              <a:gd name="connsiteY22" fmla="*/ 990600 h 4429225"/>
              <a:gd name="connsiteX23" fmla="*/ 4231469 w 4501379"/>
              <a:gd name="connsiteY23" fmla="*/ 1143000 h 4429225"/>
              <a:gd name="connsiteX24" fmla="*/ 4288619 w 4501379"/>
              <a:gd name="connsiteY24" fmla="*/ 1266825 h 4429225"/>
              <a:gd name="connsiteX25" fmla="*/ 4326719 w 4501379"/>
              <a:gd name="connsiteY25" fmla="*/ 1362075 h 4429225"/>
              <a:gd name="connsiteX26" fmla="*/ 4374344 w 4501379"/>
              <a:gd name="connsiteY26" fmla="*/ 1552575 h 4429225"/>
              <a:gd name="connsiteX27" fmla="*/ 4412444 w 4501379"/>
              <a:gd name="connsiteY27" fmla="*/ 1685925 h 4429225"/>
              <a:gd name="connsiteX28" fmla="*/ 4501344 w 4501379"/>
              <a:gd name="connsiteY28" fmla="*/ 2181225 h 4429225"/>
              <a:gd name="connsiteX29" fmla="*/ 4428319 w 4501379"/>
              <a:gd name="connsiteY29" fmla="*/ 2768600 h 4429225"/>
              <a:gd name="connsiteX30" fmla="*/ 4364819 w 4501379"/>
              <a:gd name="connsiteY30" fmla="*/ 2990850 h 4429225"/>
              <a:gd name="connsiteX31" fmla="*/ 4260044 w 4501379"/>
              <a:gd name="connsiteY31" fmla="*/ 3248025 h 4429225"/>
              <a:gd name="connsiteX32" fmla="*/ 4164794 w 4501379"/>
              <a:gd name="connsiteY32" fmla="*/ 3400425 h 4429225"/>
              <a:gd name="connsiteX33" fmla="*/ 4040969 w 4501379"/>
              <a:gd name="connsiteY33" fmla="*/ 3533775 h 4429225"/>
              <a:gd name="connsiteX34" fmla="*/ 3936194 w 4501379"/>
              <a:gd name="connsiteY34" fmla="*/ 3648075 h 4429225"/>
              <a:gd name="connsiteX35" fmla="*/ 3640919 w 4501379"/>
              <a:gd name="connsiteY35" fmla="*/ 3971925 h 4429225"/>
              <a:gd name="connsiteX36" fmla="*/ 3498044 w 4501379"/>
              <a:gd name="connsiteY36" fmla="*/ 4083050 h 4429225"/>
              <a:gd name="connsiteX37" fmla="*/ 3202769 w 4501379"/>
              <a:gd name="connsiteY37" fmla="*/ 4222750 h 4429225"/>
              <a:gd name="connsiteX38" fmla="*/ 3050369 w 4501379"/>
              <a:gd name="connsiteY38" fmla="*/ 4286250 h 4429225"/>
              <a:gd name="connsiteX39" fmla="*/ 2917019 w 4501379"/>
              <a:gd name="connsiteY39" fmla="*/ 4333875 h 4429225"/>
              <a:gd name="connsiteX40" fmla="*/ 2793194 w 4501379"/>
              <a:gd name="connsiteY40" fmla="*/ 4371975 h 4429225"/>
              <a:gd name="connsiteX41" fmla="*/ 2561419 w 4501379"/>
              <a:gd name="connsiteY41" fmla="*/ 4391025 h 4429225"/>
              <a:gd name="connsiteX42" fmla="*/ 2107394 w 4501379"/>
              <a:gd name="connsiteY42" fmla="*/ 4429125 h 4429225"/>
              <a:gd name="connsiteX43" fmla="*/ 1916894 w 4501379"/>
              <a:gd name="connsiteY43" fmla="*/ 4400550 h 4429225"/>
              <a:gd name="connsiteX44" fmla="*/ 1735919 w 4501379"/>
              <a:gd name="connsiteY44" fmla="*/ 4352925 h 4429225"/>
              <a:gd name="connsiteX45" fmla="*/ 1554944 w 4501379"/>
              <a:gd name="connsiteY45" fmla="*/ 4305300 h 4429225"/>
              <a:gd name="connsiteX46" fmla="*/ 1313644 w 4501379"/>
              <a:gd name="connsiteY46" fmla="*/ 4216400 h 4429225"/>
              <a:gd name="connsiteX47" fmla="*/ 1145369 w 4501379"/>
              <a:gd name="connsiteY47" fmla="*/ 4111625 h 4429225"/>
              <a:gd name="connsiteX48" fmla="*/ 926294 w 4501379"/>
              <a:gd name="connsiteY48" fmla="*/ 3968750 h 4429225"/>
              <a:gd name="connsiteX49" fmla="*/ 592919 w 4501379"/>
              <a:gd name="connsiteY49" fmla="*/ 3657600 h 4429225"/>
              <a:gd name="connsiteX50" fmla="*/ 446869 w 4501379"/>
              <a:gd name="connsiteY50" fmla="*/ 3470275 h 4429225"/>
              <a:gd name="connsiteX51" fmla="*/ 316694 w 4501379"/>
              <a:gd name="connsiteY51" fmla="*/ 3244850 h 4429225"/>
              <a:gd name="connsiteX52" fmla="*/ 164294 w 4501379"/>
              <a:gd name="connsiteY52" fmla="*/ 2892425 h 4429225"/>
              <a:gd name="connsiteX53" fmla="*/ 56344 w 4501379"/>
              <a:gd name="connsiteY53" fmla="*/ 2368550 h 4429225"/>
              <a:gd name="connsiteX54" fmla="*/ 2369 w 4501379"/>
              <a:gd name="connsiteY54" fmla="*/ 1905000 h 4429225"/>
              <a:gd name="connsiteX55" fmla="*/ 11894 w 4501379"/>
              <a:gd name="connsiteY55" fmla="*/ 1838325 h 4429225"/>
              <a:gd name="connsiteX56" fmla="*/ 30944 w 4501379"/>
              <a:gd name="connsiteY56" fmla="*/ 1781175 h 4429225"/>
              <a:gd name="connsiteX57" fmla="*/ 40469 w 4501379"/>
              <a:gd name="connsiteY57" fmla="*/ 1743075 h 4429225"/>
              <a:gd name="connsiteX58" fmla="*/ 59519 w 4501379"/>
              <a:gd name="connsiteY58" fmla="*/ 1685925 h 4429225"/>
              <a:gd name="connsiteX59" fmla="*/ 69044 w 4501379"/>
              <a:gd name="connsiteY59" fmla="*/ 1638300 h 4429225"/>
              <a:gd name="connsiteX60" fmla="*/ 88094 w 4501379"/>
              <a:gd name="connsiteY60" fmla="*/ 1590675 h 4429225"/>
              <a:gd name="connsiteX61" fmla="*/ 116669 w 4501379"/>
              <a:gd name="connsiteY61" fmla="*/ 1504950 h 4429225"/>
              <a:gd name="connsiteX62" fmla="*/ 135719 w 4501379"/>
              <a:gd name="connsiteY62" fmla="*/ 1419225 h 4429225"/>
              <a:gd name="connsiteX63" fmla="*/ 211919 w 4501379"/>
              <a:gd name="connsiteY63" fmla="*/ 1276350 h 4429225"/>
              <a:gd name="connsiteX64" fmla="*/ 221444 w 4501379"/>
              <a:gd name="connsiteY64" fmla="*/ 1247775 h 4429225"/>
              <a:gd name="connsiteX65" fmla="*/ 250019 w 4501379"/>
              <a:gd name="connsiteY65" fmla="*/ 1200150 h 4429225"/>
              <a:gd name="connsiteX66" fmla="*/ 269069 w 4501379"/>
              <a:gd name="connsiteY66" fmla="*/ 1152525 h 4429225"/>
              <a:gd name="connsiteX67" fmla="*/ 297644 w 4501379"/>
              <a:gd name="connsiteY67" fmla="*/ 1114425 h 4429225"/>
              <a:gd name="connsiteX68" fmla="*/ 345269 w 4501379"/>
              <a:gd name="connsiteY68" fmla="*/ 1038225 h 4429225"/>
              <a:gd name="connsiteX69" fmla="*/ 364319 w 4501379"/>
              <a:gd name="connsiteY69" fmla="*/ 1009650 h 4429225"/>
              <a:gd name="connsiteX70" fmla="*/ 421469 w 4501379"/>
              <a:gd name="connsiteY70" fmla="*/ 904875 h 4429225"/>
              <a:gd name="connsiteX71" fmla="*/ 459569 w 4501379"/>
              <a:gd name="connsiteY71" fmla="*/ 857250 h 4429225"/>
              <a:gd name="connsiteX72" fmla="*/ 478619 w 4501379"/>
              <a:gd name="connsiteY72" fmla="*/ 828675 h 4429225"/>
              <a:gd name="connsiteX73" fmla="*/ 516719 w 4501379"/>
              <a:gd name="connsiteY73" fmla="*/ 800100 h 4429225"/>
              <a:gd name="connsiteX74" fmla="*/ 583394 w 4501379"/>
              <a:gd name="connsiteY74" fmla="*/ 733425 h 4429225"/>
              <a:gd name="connsiteX75" fmla="*/ 650069 w 4501379"/>
              <a:gd name="connsiteY75" fmla="*/ 676275 h 4429225"/>
              <a:gd name="connsiteX76" fmla="*/ 678644 w 4501379"/>
              <a:gd name="connsiteY76" fmla="*/ 657225 h 4429225"/>
              <a:gd name="connsiteX77" fmla="*/ 821519 w 4501379"/>
              <a:gd name="connsiteY77" fmla="*/ 533400 h 4429225"/>
              <a:gd name="connsiteX78" fmla="*/ 869144 w 4501379"/>
              <a:gd name="connsiteY78" fmla="*/ 504825 h 4429225"/>
              <a:gd name="connsiteX79" fmla="*/ 1148544 w 4501379"/>
              <a:gd name="connsiteY79" fmla="*/ 311150 h 4429225"/>
              <a:gd name="connsiteX80" fmla="*/ 1250144 w 4501379"/>
              <a:gd name="connsiteY80" fmla="*/ 285750 h 4429225"/>
              <a:gd name="connsiteX81" fmla="*/ 1393019 w 4501379"/>
              <a:gd name="connsiteY81" fmla="*/ 190500 h 4429225"/>
              <a:gd name="connsiteX82" fmla="*/ 1431119 w 4501379"/>
              <a:gd name="connsiteY82" fmla="*/ 161925 h 4429225"/>
              <a:gd name="connsiteX83" fmla="*/ 1507319 w 4501379"/>
              <a:gd name="connsiteY83" fmla="*/ 152400 h 4429225"/>
              <a:gd name="connsiteX84" fmla="*/ 1564469 w 4501379"/>
              <a:gd name="connsiteY84" fmla="*/ 142875 h 4429225"/>
              <a:gd name="connsiteX85" fmla="*/ 1697819 w 4501379"/>
              <a:gd name="connsiteY85" fmla="*/ 123825 h 4429225"/>
              <a:gd name="connsiteX86" fmla="*/ 1793069 w 4501379"/>
              <a:gd name="connsiteY86" fmla="*/ 114300 h 4429225"/>
              <a:gd name="connsiteX87" fmla="*/ 1840694 w 4501379"/>
              <a:gd name="connsiteY87" fmla="*/ 104775 h 4429225"/>
              <a:gd name="connsiteX88" fmla="*/ 1897844 w 4501379"/>
              <a:gd name="connsiteY88" fmla="*/ 95250 h 4429225"/>
              <a:gd name="connsiteX89" fmla="*/ 2012144 w 4501379"/>
              <a:gd name="connsiteY89" fmla="*/ 66675 h 4429225"/>
              <a:gd name="connsiteX90" fmla="*/ 2078819 w 4501379"/>
              <a:gd name="connsiteY90" fmla="*/ 47625 h 4429225"/>
              <a:gd name="connsiteX91" fmla="*/ 2145494 w 4501379"/>
              <a:gd name="connsiteY91" fmla="*/ 38100 h 4429225"/>
              <a:gd name="connsiteX92" fmla="*/ 2374094 w 4501379"/>
              <a:gd name="connsiteY92" fmla="*/ 28575 h 4429225"/>
              <a:gd name="connsiteX0" fmla="*/ 2278844 w 4501379"/>
              <a:gd name="connsiteY0" fmla="*/ 0 h 4429294"/>
              <a:gd name="connsiteX1" fmla="*/ 2402669 w 4501379"/>
              <a:gd name="connsiteY1" fmla="*/ 28575 h 4429294"/>
              <a:gd name="connsiteX2" fmla="*/ 2478869 w 4501379"/>
              <a:gd name="connsiteY2" fmla="*/ 47625 h 4429294"/>
              <a:gd name="connsiteX3" fmla="*/ 2736044 w 4501379"/>
              <a:gd name="connsiteY3" fmla="*/ 66675 h 4429294"/>
              <a:gd name="connsiteX4" fmla="*/ 2812244 w 4501379"/>
              <a:gd name="connsiteY4" fmla="*/ 76200 h 4429294"/>
              <a:gd name="connsiteX5" fmla="*/ 2897969 w 4501379"/>
              <a:gd name="connsiteY5" fmla="*/ 85725 h 4429294"/>
              <a:gd name="connsiteX6" fmla="*/ 2955119 w 4501379"/>
              <a:gd name="connsiteY6" fmla="*/ 114300 h 4429294"/>
              <a:gd name="connsiteX7" fmla="*/ 2993219 w 4501379"/>
              <a:gd name="connsiteY7" fmla="*/ 123825 h 4429294"/>
              <a:gd name="connsiteX8" fmla="*/ 3117044 w 4501379"/>
              <a:gd name="connsiteY8" fmla="*/ 171450 h 4429294"/>
              <a:gd name="connsiteX9" fmla="*/ 3155144 w 4501379"/>
              <a:gd name="connsiteY9" fmla="*/ 190500 h 4429294"/>
              <a:gd name="connsiteX10" fmla="*/ 3221819 w 4501379"/>
              <a:gd name="connsiteY10" fmla="*/ 228600 h 4429294"/>
              <a:gd name="connsiteX11" fmla="*/ 3250394 w 4501379"/>
              <a:gd name="connsiteY11" fmla="*/ 238125 h 4429294"/>
              <a:gd name="connsiteX12" fmla="*/ 3278969 w 4501379"/>
              <a:gd name="connsiteY12" fmla="*/ 257175 h 4429294"/>
              <a:gd name="connsiteX13" fmla="*/ 3307544 w 4501379"/>
              <a:gd name="connsiteY13" fmla="*/ 266700 h 4429294"/>
              <a:gd name="connsiteX14" fmla="*/ 3336119 w 4501379"/>
              <a:gd name="connsiteY14" fmla="*/ 285750 h 4429294"/>
              <a:gd name="connsiteX15" fmla="*/ 3402794 w 4501379"/>
              <a:gd name="connsiteY15" fmla="*/ 323850 h 4429294"/>
              <a:gd name="connsiteX16" fmla="*/ 3450419 w 4501379"/>
              <a:gd name="connsiteY16" fmla="*/ 361950 h 4429294"/>
              <a:gd name="connsiteX17" fmla="*/ 3498044 w 4501379"/>
              <a:gd name="connsiteY17" fmla="*/ 390525 h 4429294"/>
              <a:gd name="connsiteX18" fmla="*/ 3612344 w 4501379"/>
              <a:gd name="connsiteY18" fmla="*/ 485775 h 4429294"/>
              <a:gd name="connsiteX19" fmla="*/ 3726644 w 4501379"/>
              <a:gd name="connsiteY19" fmla="*/ 542925 h 4429294"/>
              <a:gd name="connsiteX20" fmla="*/ 3793319 w 4501379"/>
              <a:gd name="connsiteY20" fmla="*/ 581025 h 4429294"/>
              <a:gd name="connsiteX21" fmla="*/ 4009219 w 4501379"/>
              <a:gd name="connsiteY21" fmla="*/ 819150 h 4429294"/>
              <a:gd name="connsiteX22" fmla="*/ 4145744 w 4501379"/>
              <a:gd name="connsiteY22" fmla="*/ 990600 h 4429294"/>
              <a:gd name="connsiteX23" fmla="*/ 4231469 w 4501379"/>
              <a:gd name="connsiteY23" fmla="*/ 1143000 h 4429294"/>
              <a:gd name="connsiteX24" fmla="*/ 4288619 w 4501379"/>
              <a:gd name="connsiteY24" fmla="*/ 1266825 h 4429294"/>
              <a:gd name="connsiteX25" fmla="*/ 4326719 w 4501379"/>
              <a:gd name="connsiteY25" fmla="*/ 1362075 h 4429294"/>
              <a:gd name="connsiteX26" fmla="*/ 4374344 w 4501379"/>
              <a:gd name="connsiteY26" fmla="*/ 1552575 h 4429294"/>
              <a:gd name="connsiteX27" fmla="*/ 4412444 w 4501379"/>
              <a:gd name="connsiteY27" fmla="*/ 1685925 h 4429294"/>
              <a:gd name="connsiteX28" fmla="*/ 4501344 w 4501379"/>
              <a:gd name="connsiteY28" fmla="*/ 2181225 h 4429294"/>
              <a:gd name="connsiteX29" fmla="*/ 4428319 w 4501379"/>
              <a:gd name="connsiteY29" fmla="*/ 2768600 h 4429294"/>
              <a:gd name="connsiteX30" fmla="*/ 4364819 w 4501379"/>
              <a:gd name="connsiteY30" fmla="*/ 2990850 h 4429294"/>
              <a:gd name="connsiteX31" fmla="*/ 4260044 w 4501379"/>
              <a:gd name="connsiteY31" fmla="*/ 3248025 h 4429294"/>
              <a:gd name="connsiteX32" fmla="*/ 4164794 w 4501379"/>
              <a:gd name="connsiteY32" fmla="*/ 3400425 h 4429294"/>
              <a:gd name="connsiteX33" fmla="*/ 4040969 w 4501379"/>
              <a:gd name="connsiteY33" fmla="*/ 3533775 h 4429294"/>
              <a:gd name="connsiteX34" fmla="*/ 3936194 w 4501379"/>
              <a:gd name="connsiteY34" fmla="*/ 3648075 h 4429294"/>
              <a:gd name="connsiteX35" fmla="*/ 3640919 w 4501379"/>
              <a:gd name="connsiteY35" fmla="*/ 3971925 h 4429294"/>
              <a:gd name="connsiteX36" fmla="*/ 3498044 w 4501379"/>
              <a:gd name="connsiteY36" fmla="*/ 4083050 h 4429294"/>
              <a:gd name="connsiteX37" fmla="*/ 3202769 w 4501379"/>
              <a:gd name="connsiteY37" fmla="*/ 4222750 h 4429294"/>
              <a:gd name="connsiteX38" fmla="*/ 3050369 w 4501379"/>
              <a:gd name="connsiteY38" fmla="*/ 4286250 h 4429294"/>
              <a:gd name="connsiteX39" fmla="*/ 2917019 w 4501379"/>
              <a:gd name="connsiteY39" fmla="*/ 4333875 h 4429294"/>
              <a:gd name="connsiteX40" fmla="*/ 2793194 w 4501379"/>
              <a:gd name="connsiteY40" fmla="*/ 4371975 h 4429294"/>
              <a:gd name="connsiteX41" fmla="*/ 2561419 w 4501379"/>
              <a:gd name="connsiteY41" fmla="*/ 4391025 h 4429294"/>
              <a:gd name="connsiteX42" fmla="*/ 2107394 w 4501379"/>
              <a:gd name="connsiteY42" fmla="*/ 4429125 h 4429294"/>
              <a:gd name="connsiteX43" fmla="*/ 1916894 w 4501379"/>
              <a:gd name="connsiteY43" fmla="*/ 4400550 h 4429294"/>
              <a:gd name="connsiteX44" fmla="*/ 1554944 w 4501379"/>
              <a:gd name="connsiteY44" fmla="*/ 4305300 h 4429294"/>
              <a:gd name="connsiteX45" fmla="*/ 1313644 w 4501379"/>
              <a:gd name="connsiteY45" fmla="*/ 4216400 h 4429294"/>
              <a:gd name="connsiteX46" fmla="*/ 1145369 w 4501379"/>
              <a:gd name="connsiteY46" fmla="*/ 4111625 h 4429294"/>
              <a:gd name="connsiteX47" fmla="*/ 926294 w 4501379"/>
              <a:gd name="connsiteY47" fmla="*/ 3968750 h 4429294"/>
              <a:gd name="connsiteX48" fmla="*/ 592919 w 4501379"/>
              <a:gd name="connsiteY48" fmla="*/ 3657600 h 4429294"/>
              <a:gd name="connsiteX49" fmla="*/ 446869 w 4501379"/>
              <a:gd name="connsiteY49" fmla="*/ 3470275 h 4429294"/>
              <a:gd name="connsiteX50" fmla="*/ 316694 w 4501379"/>
              <a:gd name="connsiteY50" fmla="*/ 3244850 h 4429294"/>
              <a:gd name="connsiteX51" fmla="*/ 164294 w 4501379"/>
              <a:gd name="connsiteY51" fmla="*/ 2892425 h 4429294"/>
              <a:gd name="connsiteX52" fmla="*/ 56344 w 4501379"/>
              <a:gd name="connsiteY52" fmla="*/ 2368550 h 4429294"/>
              <a:gd name="connsiteX53" fmla="*/ 2369 w 4501379"/>
              <a:gd name="connsiteY53" fmla="*/ 1905000 h 4429294"/>
              <a:gd name="connsiteX54" fmla="*/ 11894 w 4501379"/>
              <a:gd name="connsiteY54" fmla="*/ 1838325 h 4429294"/>
              <a:gd name="connsiteX55" fmla="*/ 30944 w 4501379"/>
              <a:gd name="connsiteY55" fmla="*/ 1781175 h 4429294"/>
              <a:gd name="connsiteX56" fmla="*/ 40469 w 4501379"/>
              <a:gd name="connsiteY56" fmla="*/ 1743075 h 4429294"/>
              <a:gd name="connsiteX57" fmla="*/ 59519 w 4501379"/>
              <a:gd name="connsiteY57" fmla="*/ 1685925 h 4429294"/>
              <a:gd name="connsiteX58" fmla="*/ 69044 w 4501379"/>
              <a:gd name="connsiteY58" fmla="*/ 1638300 h 4429294"/>
              <a:gd name="connsiteX59" fmla="*/ 88094 w 4501379"/>
              <a:gd name="connsiteY59" fmla="*/ 1590675 h 4429294"/>
              <a:gd name="connsiteX60" fmla="*/ 116669 w 4501379"/>
              <a:gd name="connsiteY60" fmla="*/ 1504950 h 4429294"/>
              <a:gd name="connsiteX61" fmla="*/ 135719 w 4501379"/>
              <a:gd name="connsiteY61" fmla="*/ 1419225 h 4429294"/>
              <a:gd name="connsiteX62" fmla="*/ 211919 w 4501379"/>
              <a:gd name="connsiteY62" fmla="*/ 1276350 h 4429294"/>
              <a:gd name="connsiteX63" fmla="*/ 221444 w 4501379"/>
              <a:gd name="connsiteY63" fmla="*/ 1247775 h 4429294"/>
              <a:gd name="connsiteX64" fmla="*/ 250019 w 4501379"/>
              <a:gd name="connsiteY64" fmla="*/ 1200150 h 4429294"/>
              <a:gd name="connsiteX65" fmla="*/ 269069 w 4501379"/>
              <a:gd name="connsiteY65" fmla="*/ 1152525 h 4429294"/>
              <a:gd name="connsiteX66" fmla="*/ 297644 w 4501379"/>
              <a:gd name="connsiteY66" fmla="*/ 1114425 h 4429294"/>
              <a:gd name="connsiteX67" fmla="*/ 345269 w 4501379"/>
              <a:gd name="connsiteY67" fmla="*/ 1038225 h 4429294"/>
              <a:gd name="connsiteX68" fmla="*/ 364319 w 4501379"/>
              <a:gd name="connsiteY68" fmla="*/ 1009650 h 4429294"/>
              <a:gd name="connsiteX69" fmla="*/ 421469 w 4501379"/>
              <a:gd name="connsiteY69" fmla="*/ 904875 h 4429294"/>
              <a:gd name="connsiteX70" fmla="*/ 459569 w 4501379"/>
              <a:gd name="connsiteY70" fmla="*/ 857250 h 4429294"/>
              <a:gd name="connsiteX71" fmla="*/ 478619 w 4501379"/>
              <a:gd name="connsiteY71" fmla="*/ 828675 h 4429294"/>
              <a:gd name="connsiteX72" fmla="*/ 516719 w 4501379"/>
              <a:gd name="connsiteY72" fmla="*/ 800100 h 4429294"/>
              <a:gd name="connsiteX73" fmla="*/ 583394 w 4501379"/>
              <a:gd name="connsiteY73" fmla="*/ 733425 h 4429294"/>
              <a:gd name="connsiteX74" fmla="*/ 650069 w 4501379"/>
              <a:gd name="connsiteY74" fmla="*/ 676275 h 4429294"/>
              <a:gd name="connsiteX75" fmla="*/ 678644 w 4501379"/>
              <a:gd name="connsiteY75" fmla="*/ 657225 h 4429294"/>
              <a:gd name="connsiteX76" fmla="*/ 821519 w 4501379"/>
              <a:gd name="connsiteY76" fmla="*/ 533400 h 4429294"/>
              <a:gd name="connsiteX77" fmla="*/ 869144 w 4501379"/>
              <a:gd name="connsiteY77" fmla="*/ 504825 h 4429294"/>
              <a:gd name="connsiteX78" fmla="*/ 1148544 w 4501379"/>
              <a:gd name="connsiteY78" fmla="*/ 311150 h 4429294"/>
              <a:gd name="connsiteX79" fmla="*/ 1250144 w 4501379"/>
              <a:gd name="connsiteY79" fmla="*/ 285750 h 4429294"/>
              <a:gd name="connsiteX80" fmla="*/ 1393019 w 4501379"/>
              <a:gd name="connsiteY80" fmla="*/ 190500 h 4429294"/>
              <a:gd name="connsiteX81" fmla="*/ 1431119 w 4501379"/>
              <a:gd name="connsiteY81" fmla="*/ 161925 h 4429294"/>
              <a:gd name="connsiteX82" fmla="*/ 1507319 w 4501379"/>
              <a:gd name="connsiteY82" fmla="*/ 152400 h 4429294"/>
              <a:gd name="connsiteX83" fmla="*/ 1564469 w 4501379"/>
              <a:gd name="connsiteY83" fmla="*/ 142875 h 4429294"/>
              <a:gd name="connsiteX84" fmla="*/ 1697819 w 4501379"/>
              <a:gd name="connsiteY84" fmla="*/ 123825 h 4429294"/>
              <a:gd name="connsiteX85" fmla="*/ 1793069 w 4501379"/>
              <a:gd name="connsiteY85" fmla="*/ 114300 h 4429294"/>
              <a:gd name="connsiteX86" fmla="*/ 1840694 w 4501379"/>
              <a:gd name="connsiteY86" fmla="*/ 104775 h 4429294"/>
              <a:gd name="connsiteX87" fmla="*/ 1897844 w 4501379"/>
              <a:gd name="connsiteY87" fmla="*/ 95250 h 4429294"/>
              <a:gd name="connsiteX88" fmla="*/ 2012144 w 4501379"/>
              <a:gd name="connsiteY88" fmla="*/ 66675 h 4429294"/>
              <a:gd name="connsiteX89" fmla="*/ 2078819 w 4501379"/>
              <a:gd name="connsiteY89" fmla="*/ 47625 h 4429294"/>
              <a:gd name="connsiteX90" fmla="*/ 2145494 w 4501379"/>
              <a:gd name="connsiteY90" fmla="*/ 38100 h 4429294"/>
              <a:gd name="connsiteX91" fmla="*/ 2374094 w 4501379"/>
              <a:gd name="connsiteY91" fmla="*/ 28575 h 4429294"/>
              <a:gd name="connsiteX0" fmla="*/ 2278844 w 4501379"/>
              <a:gd name="connsiteY0" fmla="*/ 0 h 4429294"/>
              <a:gd name="connsiteX1" fmla="*/ 2402669 w 4501379"/>
              <a:gd name="connsiteY1" fmla="*/ 28575 h 4429294"/>
              <a:gd name="connsiteX2" fmla="*/ 2478869 w 4501379"/>
              <a:gd name="connsiteY2" fmla="*/ 47625 h 4429294"/>
              <a:gd name="connsiteX3" fmla="*/ 2736044 w 4501379"/>
              <a:gd name="connsiteY3" fmla="*/ 66675 h 4429294"/>
              <a:gd name="connsiteX4" fmla="*/ 2812244 w 4501379"/>
              <a:gd name="connsiteY4" fmla="*/ 76200 h 4429294"/>
              <a:gd name="connsiteX5" fmla="*/ 2897969 w 4501379"/>
              <a:gd name="connsiteY5" fmla="*/ 85725 h 4429294"/>
              <a:gd name="connsiteX6" fmla="*/ 2955119 w 4501379"/>
              <a:gd name="connsiteY6" fmla="*/ 114300 h 4429294"/>
              <a:gd name="connsiteX7" fmla="*/ 2993219 w 4501379"/>
              <a:gd name="connsiteY7" fmla="*/ 123825 h 4429294"/>
              <a:gd name="connsiteX8" fmla="*/ 3117044 w 4501379"/>
              <a:gd name="connsiteY8" fmla="*/ 171450 h 4429294"/>
              <a:gd name="connsiteX9" fmla="*/ 3155144 w 4501379"/>
              <a:gd name="connsiteY9" fmla="*/ 190500 h 4429294"/>
              <a:gd name="connsiteX10" fmla="*/ 3221819 w 4501379"/>
              <a:gd name="connsiteY10" fmla="*/ 228600 h 4429294"/>
              <a:gd name="connsiteX11" fmla="*/ 3250394 w 4501379"/>
              <a:gd name="connsiteY11" fmla="*/ 238125 h 4429294"/>
              <a:gd name="connsiteX12" fmla="*/ 3278969 w 4501379"/>
              <a:gd name="connsiteY12" fmla="*/ 257175 h 4429294"/>
              <a:gd name="connsiteX13" fmla="*/ 3307544 w 4501379"/>
              <a:gd name="connsiteY13" fmla="*/ 266700 h 4429294"/>
              <a:gd name="connsiteX14" fmla="*/ 3336119 w 4501379"/>
              <a:gd name="connsiteY14" fmla="*/ 285750 h 4429294"/>
              <a:gd name="connsiteX15" fmla="*/ 3402794 w 4501379"/>
              <a:gd name="connsiteY15" fmla="*/ 323850 h 4429294"/>
              <a:gd name="connsiteX16" fmla="*/ 3450419 w 4501379"/>
              <a:gd name="connsiteY16" fmla="*/ 361950 h 4429294"/>
              <a:gd name="connsiteX17" fmla="*/ 3498044 w 4501379"/>
              <a:gd name="connsiteY17" fmla="*/ 390525 h 4429294"/>
              <a:gd name="connsiteX18" fmla="*/ 3612344 w 4501379"/>
              <a:gd name="connsiteY18" fmla="*/ 485775 h 4429294"/>
              <a:gd name="connsiteX19" fmla="*/ 3726644 w 4501379"/>
              <a:gd name="connsiteY19" fmla="*/ 542925 h 4429294"/>
              <a:gd name="connsiteX20" fmla="*/ 3793319 w 4501379"/>
              <a:gd name="connsiteY20" fmla="*/ 581025 h 4429294"/>
              <a:gd name="connsiteX21" fmla="*/ 4009219 w 4501379"/>
              <a:gd name="connsiteY21" fmla="*/ 819150 h 4429294"/>
              <a:gd name="connsiteX22" fmla="*/ 4145744 w 4501379"/>
              <a:gd name="connsiteY22" fmla="*/ 990600 h 4429294"/>
              <a:gd name="connsiteX23" fmla="*/ 4231469 w 4501379"/>
              <a:gd name="connsiteY23" fmla="*/ 1143000 h 4429294"/>
              <a:gd name="connsiteX24" fmla="*/ 4288619 w 4501379"/>
              <a:gd name="connsiteY24" fmla="*/ 1266825 h 4429294"/>
              <a:gd name="connsiteX25" fmla="*/ 4326719 w 4501379"/>
              <a:gd name="connsiteY25" fmla="*/ 1362075 h 4429294"/>
              <a:gd name="connsiteX26" fmla="*/ 4374344 w 4501379"/>
              <a:gd name="connsiteY26" fmla="*/ 1552575 h 4429294"/>
              <a:gd name="connsiteX27" fmla="*/ 4412444 w 4501379"/>
              <a:gd name="connsiteY27" fmla="*/ 1685925 h 4429294"/>
              <a:gd name="connsiteX28" fmla="*/ 4501344 w 4501379"/>
              <a:gd name="connsiteY28" fmla="*/ 2181225 h 4429294"/>
              <a:gd name="connsiteX29" fmla="*/ 4428319 w 4501379"/>
              <a:gd name="connsiteY29" fmla="*/ 2768600 h 4429294"/>
              <a:gd name="connsiteX30" fmla="*/ 4364819 w 4501379"/>
              <a:gd name="connsiteY30" fmla="*/ 2990850 h 4429294"/>
              <a:gd name="connsiteX31" fmla="*/ 4260044 w 4501379"/>
              <a:gd name="connsiteY31" fmla="*/ 3248025 h 4429294"/>
              <a:gd name="connsiteX32" fmla="*/ 4164794 w 4501379"/>
              <a:gd name="connsiteY32" fmla="*/ 3400425 h 4429294"/>
              <a:gd name="connsiteX33" fmla="*/ 4040969 w 4501379"/>
              <a:gd name="connsiteY33" fmla="*/ 3533775 h 4429294"/>
              <a:gd name="connsiteX34" fmla="*/ 3936194 w 4501379"/>
              <a:gd name="connsiteY34" fmla="*/ 3648075 h 4429294"/>
              <a:gd name="connsiteX35" fmla="*/ 3640919 w 4501379"/>
              <a:gd name="connsiteY35" fmla="*/ 3971925 h 4429294"/>
              <a:gd name="connsiteX36" fmla="*/ 3498044 w 4501379"/>
              <a:gd name="connsiteY36" fmla="*/ 4083050 h 4429294"/>
              <a:gd name="connsiteX37" fmla="*/ 3202769 w 4501379"/>
              <a:gd name="connsiteY37" fmla="*/ 4222750 h 4429294"/>
              <a:gd name="connsiteX38" fmla="*/ 3050369 w 4501379"/>
              <a:gd name="connsiteY38" fmla="*/ 4286250 h 4429294"/>
              <a:gd name="connsiteX39" fmla="*/ 2917019 w 4501379"/>
              <a:gd name="connsiteY39" fmla="*/ 4333875 h 4429294"/>
              <a:gd name="connsiteX40" fmla="*/ 2793194 w 4501379"/>
              <a:gd name="connsiteY40" fmla="*/ 4371975 h 4429294"/>
              <a:gd name="connsiteX41" fmla="*/ 2561419 w 4501379"/>
              <a:gd name="connsiteY41" fmla="*/ 4391025 h 4429294"/>
              <a:gd name="connsiteX42" fmla="*/ 2107394 w 4501379"/>
              <a:gd name="connsiteY42" fmla="*/ 4429125 h 4429294"/>
              <a:gd name="connsiteX43" fmla="*/ 1916894 w 4501379"/>
              <a:gd name="connsiteY43" fmla="*/ 4400550 h 4429294"/>
              <a:gd name="connsiteX44" fmla="*/ 1554944 w 4501379"/>
              <a:gd name="connsiteY44" fmla="*/ 4305300 h 4429294"/>
              <a:gd name="connsiteX45" fmla="*/ 1313644 w 4501379"/>
              <a:gd name="connsiteY45" fmla="*/ 4216400 h 4429294"/>
              <a:gd name="connsiteX46" fmla="*/ 1145369 w 4501379"/>
              <a:gd name="connsiteY46" fmla="*/ 4111625 h 4429294"/>
              <a:gd name="connsiteX47" fmla="*/ 926294 w 4501379"/>
              <a:gd name="connsiteY47" fmla="*/ 3968750 h 4429294"/>
              <a:gd name="connsiteX48" fmla="*/ 592919 w 4501379"/>
              <a:gd name="connsiteY48" fmla="*/ 3657600 h 4429294"/>
              <a:gd name="connsiteX49" fmla="*/ 446869 w 4501379"/>
              <a:gd name="connsiteY49" fmla="*/ 3470275 h 4429294"/>
              <a:gd name="connsiteX50" fmla="*/ 316694 w 4501379"/>
              <a:gd name="connsiteY50" fmla="*/ 3244850 h 4429294"/>
              <a:gd name="connsiteX51" fmla="*/ 164294 w 4501379"/>
              <a:gd name="connsiteY51" fmla="*/ 2892425 h 4429294"/>
              <a:gd name="connsiteX52" fmla="*/ 56344 w 4501379"/>
              <a:gd name="connsiteY52" fmla="*/ 2368550 h 4429294"/>
              <a:gd name="connsiteX53" fmla="*/ 2369 w 4501379"/>
              <a:gd name="connsiteY53" fmla="*/ 1905000 h 4429294"/>
              <a:gd name="connsiteX54" fmla="*/ 11894 w 4501379"/>
              <a:gd name="connsiteY54" fmla="*/ 1838325 h 4429294"/>
              <a:gd name="connsiteX55" fmla="*/ 30944 w 4501379"/>
              <a:gd name="connsiteY55" fmla="*/ 1781175 h 4429294"/>
              <a:gd name="connsiteX56" fmla="*/ 40469 w 4501379"/>
              <a:gd name="connsiteY56" fmla="*/ 1743075 h 4429294"/>
              <a:gd name="connsiteX57" fmla="*/ 59519 w 4501379"/>
              <a:gd name="connsiteY57" fmla="*/ 1685925 h 4429294"/>
              <a:gd name="connsiteX58" fmla="*/ 69044 w 4501379"/>
              <a:gd name="connsiteY58" fmla="*/ 1638300 h 4429294"/>
              <a:gd name="connsiteX59" fmla="*/ 88094 w 4501379"/>
              <a:gd name="connsiteY59" fmla="*/ 1590675 h 4429294"/>
              <a:gd name="connsiteX60" fmla="*/ 116669 w 4501379"/>
              <a:gd name="connsiteY60" fmla="*/ 1504950 h 4429294"/>
              <a:gd name="connsiteX61" fmla="*/ 135719 w 4501379"/>
              <a:gd name="connsiteY61" fmla="*/ 1419225 h 4429294"/>
              <a:gd name="connsiteX62" fmla="*/ 211919 w 4501379"/>
              <a:gd name="connsiteY62" fmla="*/ 1276350 h 4429294"/>
              <a:gd name="connsiteX63" fmla="*/ 221444 w 4501379"/>
              <a:gd name="connsiteY63" fmla="*/ 1247775 h 4429294"/>
              <a:gd name="connsiteX64" fmla="*/ 250019 w 4501379"/>
              <a:gd name="connsiteY64" fmla="*/ 1200150 h 4429294"/>
              <a:gd name="connsiteX65" fmla="*/ 269069 w 4501379"/>
              <a:gd name="connsiteY65" fmla="*/ 1152525 h 4429294"/>
              <a:gd name="connsiteX66" fmla="*/ 297644 w 4501379"/>
              <a:gd name="connsiteY66" fmla="*/ 1114425 h 4429294"/>
              <a:gd name="connsiteX67" fmla="*/ 345269 w 4501379"/>
              <a:gd name="connsiteY67" fmla="*/ 1038225 h 4429294"/>
              <a:gd name="connsiteX68" fmla="*/ 364319 w 4501379"/>
              <a:gd name="connsiteY68" fmla="*/ 1009650 h 4429294"/>
              <a:gd name="connsiteX69" fmla="*/ 421469 w 4501379"/>
              <a:gd name="connsiteY69" fmla="*/ 904875 h 4429294"/>
              <a:gd name="connsiteX70" fmla="*/ 459569 w 4501379"/>
              <a:gd name="connsiteY70" fmla="*/ 857250 h 4429294"/>
              <a:gd name="connsiteX71" fmla="*/ 478619 w 4501379"/>
              <a:gd name="connsiteY71" fmla="*/ 828675 h 4429294"/>
              <a:gd name="connsiteX72" fmla="*/ 516719 w 4501379"/>
              <a:gd name="connsiteY72" fmla="*/ 800100 h 4429294"/>
              <a:gd name="connsiteX73" fmla="*/ 583394 w 4501379"/>
              <a:gd name="connsiteY73" fmla="*/ 733425 h 4429294"/>
              <a:gd name="connsiteX74" fmla="*/ 650069 w 4501379"/>
              <a:gd name="connsiteY74" fmla="*/ 676275 h 4429294"/>
              <a:gd name="connsiteX75" fmla="*/ 678644 w 4501379"/>
              <a:gd name="connsiteY75" fmla="*/ 657225 h 4429294"/>
              <a:gd name="connsiteX76" fmla="*/ 821519 w 4501379"/>
              <a:gd name="connsiteY76" fmla="*/ 533400 h 4429294"/>
              <a:gd name="connsiteX77" fmla="*/ 869144 w 4501379"/>
              <a:gd name="connsiteY77" fmla="*/ 504825 h 4429294"/>
              <a:gd name="connsiteX78" fmla="*/ 1148544 w 4501379"/>
              <a:gd name="connsiteY78" fmla="*/ 311150 h 4429294"/>
              <a:gd name="connsiteX79" fmla="*/ 1250144 w 4501379"/>
              <a:gd name="connsiteY79" fmla="*/ 285750 h 4429294"/>
              <a:gd name="connsiteX80" fmla="*/ 1393019 w 4501379"/>
              <a:gd name="connsiteY80" fmla="*/ 190500 h 4429294"/>
              <a:gd name="connsiteX81" fmla="*/ 1431119 w 4501379"/>
              <a:gd name="connsiteY81" fmla="*/ 161925 h 4429294"/>
              <a:gd name="connsiteX82" fmla="*/ 1507319 w 4501379"/>
              <a:gd name="connsiteY82" fmla="*/ 152400 h 4429294"/>
              <a:gd name="connsiteX83" fmla="*/ 1564469 w 4501379"/>
              <a:gd name="connsiteY83" fmla="*/ 142875 h 4429294"/>
              <a:gd name="connsiteX84" fmla="*/ 1697819 w 4501379"/>
              <a:gd name="connsiteY84" fmla="*/ 123825 h 4429294"/>
              <a:gd name="connsiteX85" fmla="*/ 1793069 w 4501379"/>
              <a:gd name="connsiteY85" fmla="*/ 114300 h 4429294"/>
              <a:gd name="connsiteX86" fmla="*/ 1840694 w 4501379"/>
              <a:gd name="connsiteY86" fmla="*/ 104775 h 4429294"/>
              <a:gd name="connsiteX87" fmla="*/ 1897844 w 4501379"/>
              <a:gd name="connsiteY87" fmla="*/ 95250 h 4429294"/>
              <a:gd name="connsiteX88" fmla="*/ 2012144 w 4501379"/>
              <a:gd name="connsiteY88" fmla="*/ 66675 h 4429294"/>
              <a:gd name="connsiteX89" fmla="*/ 2078819 w 4501379"/>
              <a:gd name="connsiteY89" fmla="*/ 47625 h 4429294"/>
              <a:gd name="connsiteX90" fmla="*/ 2145494 w 4501379"/>
              <a:gd name="connsiteY90" fmla="*/ 38100 h 4429294"/>
              <a:gd name="connsiteX0" fmla="*/ 2278844 w 4501379"/>
              <a:gd name="connsiteY0" fmla="*/ 0 h 4429294"/>
              <a:gd name="connsiteX1" fmla="*/ 2478869 w 4501379"/>
              <a:gd name="connsiteY1" fmla="*/ 47625 h 4429294"/>
              <a:gd name="connsiteX2" fmla="*/ 2736044 w 4501379"/>
              <a:gd name="connsiteY2" fmla="*/ 66675 h 4429294"/>
              <a:gd name="connsiteX3" fmla="*/ 2812244 w 4501379"/>
              <a:gd name="connsiteY3" fmla="*/ 76200 h 4429294"/>
              <a:gd name="connsiteX4" fmla="*/ 2897969 w 4501379"/>
              <a:gd name="connsiteY4" fmla="*/ 85725 h 4429294"/>
              <a:gd name="connsiteX5" fmla="*/ 2955119 w 4501379"/>
              <a:gd name="connsiteY5" fmla="*/ 114300 h 4429294"/>
              <a:gd name="connsiteX6" fmla="*/ 2993219 w 4501379"/>
              <a:gd name="connsiteY6" fmla="*/ 123825 h 4429294"/>
              <a:gd name="connsiteX7" fmla="*/ 3117044 w 4501379"/>
              <a:gd name="connsiteY7" fmla="*/ 171450 h 4429294"/>
              <a:gd name="connsiteX8" fmla="*/ 3155144 w 4501379"/>
              <a:gd name="connsiteY8" fmla="*/ 190500 h 4429294"/>
              <a:gd name="connsiteX9" fmla="*/ 3221819 w 4501379"/>
              <a:gd name="connsiteY9" fmla="*/ 228600 h 4429294"/>
              <a:gd name="connsiteX10" fmla="*/ 3250394 w 4501379"/>
              <a:gd name="connsiteY10" fmla="*/ 238125 h 4429294"/>
              <a:gd name="connsiteX11" fmla="*/ 3278969 w 4501379"/>
              <a:gd name="connsiteY11" fmla="*/ 257175 h 4429294"/>
              <a:gd name="connsiteX12" fmla="*/ 3307544 w 4501379"/>
              <a:gd name="connsiteY12" fmla="*/ 266700 h 4429294"/>
              <a:gd name="connsiteX13" fmla="*/ 3336119 w 4501379"/>
              <a:gd name="connsiteY13" fmla="*/ 285750 h 4429294"/>
              <a:gd name="connsiteX14" fmla="*/ 3402794 w 4501379"/>
              <a:gd name="connsiteY14" fmla="*/ 323850 h 4429294"/>
              <a:gd name="connsiteX15" fmla="*/ 3450419 w 4501379"/>
              <a:gd name="connsiteY15" fmla="*/ 361950 h 4429294"/>
              <a:gd name="connsiteX16" fmla="*/ 3498044 w 4501379"/>
              <a:gd name="connsiteY16" fmla="*/ 390525 h 4429294"/>
              <a:gd name="connsiteX17" fmla="*/ 3612344 w 4501379"/>
              <a:gd name="connsiteY17" fmla="*/ 485775 h 4429294"/>
              <a:gd name="connsiteX18" fmla="*/ 3726644 w 4501379"/>
              <a:gd name="connsiteY18" fmla="*/ 542925 h 4429294"/>
              <a:gd name="connsiteX19" fmla="*/ 3793319 w 4501379"/>
              <a:gd name="connsiteY19" fmla="*/ 581025 h 4429294"/>
              <a:gd name="connsiteX20" fmla="*/ 4009219 w 4501379"/>
              <a:gd name="connsiteY20" fmla="*/ 819150 h 4429294"/>
              <a:gd name="connsiteX21" fmla="*/ 4145744 w 4501379"/>
              <a:gd name="connsiteY21" fmla="*/ 990600 h 4429294"/>
              <a:gd name="connsiteX22" fmla="*/ 4231469 w 4501379"/>
              <a:gd name="connsiteY22" fmla="*/ 1143000 h 4429294"/>
              <a:gd name="connsiteX23" fmla="*/ 4288619 w 4501379"/>
              <a:gd name="connsiteY23" fmla="*/ 1266825 h 4429294"/>
              <a:gd name="connsiteX24" fmla="*/ 4326719 w 4501379"/>
              <a:gd name="connsiteY24" fmla="*/ 1362075 h 4429294"/>
              <a:gd name="connsiteX25" fmla="*/ 4374344 w 4501379"/>
              <a:gd name="connsiteY25" fmla="*/ 1552575 h 4429294"/>
              <a:gd name="connsiteX26" fmla="*/ 4412444 w 4501379"/>
              <a:gd name="connsiteY26" fmla="*/ 1685925 h 4429294"/>
              <a:gd name="connsiteX27" fmla="*/ 4501344 w 4501379"/>
              <a:gd name="connsiteY27" fmla="*/ 2181225 h 4429294"/>
              <a:gd name="connsiteX28" fmla="*/ 4428319 w 4501379"/>
              <a:gd name="connsiteY28" fmla="*/ 2768600 h 4429294"/>
              <a:gd name="connsiteX29" fmla="*/ 4364819 w 4501379"/>
              <a:gd name="connsiteY29" fmla="*/ 2990850 h 4429294"/>
              <a:gd name="connsiteX30" fmla="*/ 4260044 w 4501379"/>
              <a:gd name="connsiteY30" fmla="*/ 3248025 h 4429294"/>
              <a:gd name="connsiteX31" fmla="*/ 4164794 w 4501379"/>
              <a:gd name="connsiteY31" fmla="*/ 3400425 h 4429294"/>
              <a:gd name="connsiteX32" fmla="*/ 4040969 w 4501379"/>
              <a:gd name="connsiteY32" fmla="*/ 3533775 h 4429294"/>
              <a:gd name="connsiteX33" fmla="*/ 3936194 w 4501379"/>
              <a:gd name="connsiteY33" fmla="*/ 3648075 h 4429294"/>
              <a:gd name="connsiteX34" fmla="*/ 3640919 w 4501379"/>
              <a:gd name="connsiteY34" fmla="*/ 3971925 h 4429294"/>
              <a:gd name="connsiteX35" fmla="*/ 3498044 w 4501379"/>
              <a:gd name="connsiteY35" fmla="*/ 4083050 h 4429294"/>
              <a:gd name="connsiteX36" fmla="*/ 3202769 w 4501379"/>
              <a:gd name="connsiteY36" fmla="*/ 4222750 h 4429294"/>
              <a:gd name="connsiteX37" fmla="*/ 3050369 w 4501379"/>
              <a:gd name="connsiteY37" fmla="*/ 4286250 h 4429294"/>
              <a:gd name="connsiteX38" fmla="*/ 2917019 w 4501379"/>
              <a:gd name="connsiteY38" fmla="*/ 4333875 h 4429294"/>
              <a:gd name="connsiteX39" fmla="*/ 2793194 w 4501379"/>
              <a:gd name="connsiteY39" fmla="*/ 4371975 h 4429294"/>
              <a:gd name="connsiteX40" fmla="*/ 2561419 w 4501379"/>
              <a:gd name="connsiteY40" fmla="*/ 4391025 h 4429294"/>
              <a:gd name="connsiteX41" fmla="*/ 2107394 w 4501379"/>
              <a:gd name="connsiteY41" fmla="*/ 4429125 h 4429294"/>
              <a:gd name="connsiteX42" fmla="*/ 1916894 w 4501379"/>
              <a:gd name="connsiteY42" fmla="*/ 4400550 h 4429294"/>
              <a:gd name="connsiteX43" fmla="*/ 1554944 w 4501379"/>
              <a:gd name="connsiteY43" fmla="*/ 4305300 h 4429294"/>
              <a:gd name="connsiteX44" fmla="*/ 1313644 w 4501379"/>
              <a:gd name="connsiteY44" fmla="*/ 4216400 h 4429294"/>
              <a:gd name="connsiteX45" fmla="*/ 1145369 w 4501379"/>
              <a:gd name="connsiteY45" fmla="*/ 4111625 h 4429294"/>
              <a:gd name="connsiteX46" fmla="*/ 926294 w 4501379"/>
              <a:gd name="connsiteY46" fmla="*/ 3968750 h 4429294"/>
              <a:gd name="connsiteX47" fmla="*/ 592919 w 4501379"/>
              <a:gd name="connsiteY47" fmla="*/ 3657600 h 4429294"/>
              <a:gd name="connsiteX48" fmla="*/ 446869 w 4501379"/>
              <a:gd name="connsiteY48" fmla="*/ 3470275 h 4429294"/>
              <a:gd name="connsiteX49" fmla="*/ 316694 w 4501379"/>
              <a:gd name="connsiteY49" fmla="*/ 3244850 h 4429294"/>
              <a:gd name="connsiteX50" fmla="*/ 164294 w 4501379"/>
              <a:gd name="connsiteY50" fmla="*/ 2892425 h 4429294"/>
              <a:gd name="connsiteX51" fmla="*/ 56344 w 4501379"/>
              <a:gd name="connsiteY51" fmla="*/ 2368550 h 4429294"/>
              <a:gd name="connsiteX52" fmla="*/ 2369 w 4501379"/>
              <a:gd name="connsiteY52" fmla="*/ 1905000 h 4429294"/>
              <a:gd name="connsiteX53" fmla="*/ 11894 w 4501379"/>
              <a:gd name="connsiteY53" fmla="*/ 1838325 h 4429294"/>
              <a:gd name="connsiteX54" fmla="*/ 30944 w 4501379"/>
              <a:gd name="connsiteY54" fmla="*/ 1781175 h 4429294"/>
              <a:gd name="connsiteX55" fmla="*/ 40469 w 4501379"/>
              <a:gd name="connsiteY55" fmla="*/ 1743075 h 4429294"/>
              <a:gd name="connsiteX56" fmla="*/ 59519 w 4501379"/>
              <a:gd name="connsiteY56" fmla="*/ 1685925 h 4429294"/>
              <a:gd name="connsiteX57" fmla="*/ 69044 w 4501379"/>
              <a:gd name="connsiteY57" fmla="*/ 1638300 h 4429294"/>
              <a:gd name="connsiteX58" fmla="*/ 88094 w 4501379"/>
              <a:gd name="connsiteY58" fmla="*/ 1590675 h 4429294"/>
              <a:gd name="connsiteX59" fmla="*/ 116669 w 4501379"/>
              <a:gd name="connsiteY59" fmla="*/ 1504950 h 4429294"/>
              <a:gd name="connsiteX60" fmla="*/ 135719 w 4501379"/>
              <a:gd name="connsiteY60" fmla="*/ 1419225 h 4429294"/>
              <a:gd name="connsiteX61" fmla="*/ 211919 w 4501379"/>
              <a:gd name="connsiteY61" fmla="*/ 1276350 h 4429294"/>
              <a:gd name="connsiteX62" fmla="*/ 221444 w 4501379"/>
              <a:gd name="connsiteY62" fmla="*/ 1247775 h 4429294"/>
              <a:gd name="connsiteX63" fmla="*/ 250019 w 4501379"/>
              <a:gd name="connsiteY63" fmla="*/ 1200150 h 4429294"/>
              <a:gd name="connsiteX64" fmla="*/ 269069 w 4501379"/>
              <a:gd name="connsiteY64" fmla="*/ 1152525 h 4429294"/>
              <a:gd name="connsiteX65" fmla="*/ 297644 w 4501379"/>
              <a:gd name="connsiteY65" fmla="*/ 1114425 h 4429294"/>
              <a:gd name="connsiteX66" fmla="*/ 345269 w 4501379"/>
              <a:gd name="connsiteY66" fmla="*/ 1038225 h 4429294"/>
              <a:gd name="connsiteX67" fmla="*/ 364319 w 4501379"/>
              <a:gd name="connsiteY67" fmla="*/ 1009650 h 4429294"/>
              <a:gd name="connsiteX68" fmla="*/ 421469 w 4501379"/>
              <a:gd name="connsiteY68" fmla="*/ 904875 h 4429294"/>
              <a:gd name="connsiteX69" fmla="*/ 459569 w 4501379"/>
              <a:gd name="connsiteY69" fmla="*/ 857250 h 4429294"/>
              <a:gd name="connsiteX70" fmla="*/ 478619 w 4501379"/>
              <a:gd name="connsiteY70" fmla="*/ 828675 h 4429294"/>
              <a:gd name="connsiteX71" fmla="*/ 516719 w 4501379"/>
              <a:gd name="connsiteY71" fmla="*/ 800100 h 4429294"/>
              <a:gd name="connsiteX72" fmla="*/ 583394 w 4501379"/>
              <a:gd name="connsiteY72" fmla="*/ 733425 h 4429294"/>
              <a:gd name="connsiteX73" fmla="*/ 650069 w 4501379"/>
              <a:gd name="connsiteY73" fmla="*/ 676275 h 4429294"/>
              <a:gd name="connsiteX74" fmla="*/ 678644 w 4501379"/>
              <a:gd name="connsiteY74" fmla="*/ 657225 h 4429294"/>
              <a:gd name="connsiteX75" fmla="*/ 821519 w 4501379"/>
              <a:gd name="connsiteY75" fmla="*/ 533400 h 4429294"/>
              <a:gd name="connsiteX76" fmla="*/ 869144 w 4501379"/>
              <a:gd name="connsiteY76" fmla="*/ 504825 h 4429294"/>
              <a:gd name="connsiteX77" fmla="*/ 1148544 w 4501379"/>
              <a:gd name="connsiteY77" fmla="*/ 311150 h 4429294"/>
              <a:gd name="connsiteX78" fmla="*/ 1250144 w 4501379"/>
              <a:gd name="connsiteY78" fmla="*/ 285750 h 4429294"/>
              <a:gd name="connsiteX79" fmla="*/ 1393019 w 4501379"/>
              <a:gd name="connsiteY79" fmla="*/ 190500 h 4429294"/>
              <a:gd name="connsiteX80" fmla="*/ 1431119 w 4501379"/>
              <a:gd name="connsiteY80" fmla="*/ 161925 h 4429294"/>
              <a:gd name="connsiteX81" fmla="*/ 1507319 w 4501379"/>
              <a:gd name="connsiteY81" fmla="*/ 152400 h 4429294"/>
              <a:gd name="connsiteX82" fmla="*/ 1564469 w 4501379"/>
              <a:gd name="connsiteY82" fmla="*/ 142875 h 4429294"/>
              <a:gd name="connsiteX83" fmla="*/ 1697819 w 4501379"/>
              <a:gd name="connsiteY83" fmla="*/ 123825 h 4429294"/>
              <a:gd name="connsiteX84" fmla="*/ 1793069 w 4501379"/>
              <a:gd name="connsiteY84" fmla="*/ 114300 h 4429294"/>
              <a:gd name="connsiteX85" fmla="*/ 1840694 w 4501379"/>
              <a:gd name="connsiteY85" fmla="*/ 104775 h 4429294"/>
              <a:gd name="connsiteX86" fmla="*/ 1897844 w 4501379"/>
              <a:gd name="connsiteY86" fmla="*/ 95250 h 4429294"/>
              <a:gd name="connsiteX87" fmla="*/ 2012144 w 4501379"/>
              <a:gd name="connsiteY87" fmla="*/ 66675 h 4429294"/>
              <a:gd name="connsiteX88" fmla="*/ 2078819 w 4501379"/>
              <a:gd name="connsiteY88" fmla="*/ 47625 h 4429294"/>
              <a:gd name="connsiteX89" fmla="*/ 2145494 w 4501379"/>
              <a:gd name="connsiteY89" fmla="*/ 38100 h 4429294"/>
              <a:gd name="connsiteX0" fmla="*/ 2278844 w 4501379"/>
              <a:gd name="connsiteY0" fmla="*/ 0 h 4429294"/>
              <a:gd name="connsiteX1" fmla="*/ 2736044 w 4501379"/>
              <a:gd name="connsiteY1" fmla="*/ 66675 h 4429294"/>
              <a:gd name="connsiteX2" fmla="*/ 2812244 w 4501379"/>
              <a:gd name="connsiteY2" fmla="*/ 76200 h 4429294"/>
              <a:gd name="connsiteX3" fmla="*/ 2897969 w 4501379"/>
              <a:gd name="connsiteY3" fmla="*/ 85725 h 4429294"/>
              <a:gd name="connsiteX4" fmla="*/ 2955119 w 4501379"/>
              <a:gd name="connsiteY4" fmla="*/ 114300 h 4429294"/>
              <a:gd name="connsiteX5" fmla="*/ 2993219 w 4501379"/>
              <a:gd name="connsiteY5" fmla="*/ 123825 h 4429294"/>
              <a:gd name="connsiteX6" fmla="*/ 3117044 w 4501379"/>
              <a:gd name="connsiteY6" fmla="*/ 171450 h 4429294"/>
              <a:gd name="connsiteX7" fmla="*/ 3155144 w 4501379"/>
              <a:gd name="connsiteY7" fmla="*/ 190500 h 4429294"/>
              <a:gd name="connsiteX8" fmla="*/ 3221819 w 4501379"/>
              <a:gd name="connsiteY8" fmla="*/ 228600 h 4429294"/>
              <a:gd name="connsiteX9" fmla="*/ 3250394 w 4501379"/>
              <a:gd name="connsiteY9" fmla="*/ 238125 h 4429294"/>
              <a:gd name="connsiteX10" fmla="*/ 3278969 w 4501379"/>
              <a:gd name="connsiteY10" fmla="*/ 257175 h 4429294"/>
              <a:gd name="connsiteX11" fmla="*/ 3307544 w 4501379"/>
              <a:gd name="connsiteY11" fmla="*/ 266700 h 4429294"/>
              <a:gd name="connsiteX12" fmla="*/ 3336119 w 4501379"/>
              <a:gd name="connsiteY12" fmla="*/ 285750 h 4429294"/>
              <a:gd name="connsiteX13" fmla="*/ 3402794 w 4501379"/>
              <a:gd name="connsiteY13" fmla="*/ 323850 h 4429294"/>
              <a:gd name="connsiteX14" fmla="*/ 3450419 w 4501379"/>
              <a:gd name="connsiteY14" fmla="*/ 361950 h 4429294"/>
              <a:gd name="connsiteX15" fmla="*/ 3498044 w 4501379"/>
              <a:gd name="connsiteY15" fmla="*/ 390525 h 4429294"/>
              <a:gd name="connsiteX16" fmla="*/ 3612344 w 4501379"/>
              <a:gd name="connsiteY16" fmla="*/ 485775 h 4429294"/>
              <a:gd name="connsiteX17" fmla="*/ 3726644 w 4501379"/>
              <a:gd name="connsiteY17" fmla="*/ 542925 h 4429294"/>
              <a:gd name="connsiteX18" fmla="*/ 3793319 w 4501379"/>
              <a:gd name="connsiteY18" fmla="*/ 581025 h 4429294"/>
              <a:gd name="connsiteX19" fmla="*/ 4009219 w 4501379"/>
              <a:gd name="connsiteY19" fmla="*/ 819150 h 4429294"/>
              <a:gd name="connsiteX20" fmla="*/ 4145744 w 4501379"/>
              <a:gd name="connsiteY20" fmla="*/ 990600 h 4429294"/>
              <a:gd name="connsiteX21" fmla="*/ 4231469 w 4501379"/>
              <a:gd name="connsiteY21" fmla="*/ 1143000 h 4429294"/>
              <a:gd name="connsiteX22" fmla="*/ 4288619 w 4501379"/>
              <a:gd name="connsiteY22" fmla="*/ 1266825 h 4429294"/>
              <a:gd name="connsiteX23" fmla="*/ 4326719 w 4501379"/>
              <a:gd name="connsiteY23" fmla="*/ 1362075 h 4429294"/>
              <a:gd name="connsiteX24" fmla="*/ 4374344 w 4501379"/>
              <a:gd name="connsiteY24" fmla="*/ 1552575 h 4429294"/>
              <a:gd name="connsiteX25" fmla="*/ 4412444 w 4501379"/>
              <a:gd name="connsiteY25" fmla="*/ 1685925 h 4429294"/>
              <a:gd name="connsiteX26" fmla="*/ 4501344 w 4501379"/>
              <a:gd name="connsiteY26" fmla="*/ 2181225 h 4429294"/>
              <a:gd name="connsiteX27" fmla="*/ 4428319 w 4501379"/>
              <a:gd name="connsiteY27" fmla="*/ 2768600 h 4429294"/>
              <a:gd name="connsiteX28" fmla="*/ 4364819 w 4501379"/>
              <a:gd name="connsiteY28" fmla="*/ 2990850 h 4429294"/>
              <a:gd name="connsiteX29" fmla="*/ 4260044 w 4501379"/>
              <a:gd name="connsiteY29" fmla="*/ 3248025 h 4429294"/>
              <a:gd name="connsiteX30" fmla="*/ 4164794 w 4501379"/>
              <a:gd name="connsiteY30" fmla="*/ 3400425 h 4429294"/>
              <a:gd name="connsiteX31" fmla="*/ 4040969 w 4501379"/>
              <a:gd name="connsiteY31" fmla="*/ 3533775 h 4429294"/>
              <a:gd name="connsiteX32" fmla="*/ 3936194 w 4501379"/>
              <a:gd name="connsiteY32" fmla="*/ 3648075 h 4429294"/>
              <a:gd name="connsiteX33" fmla="*/ 3640919 w 4501379"/>
              <a:gd name="connsiteY33" fmla="*/ 3971925 h 4429294"/>
              <a:gd name="connsiteX34" fmla="*/ 3498044 w 4501379"/>
              <a:gd name="connsiteY34" fmla="*/ 4083050 h 4429294"/>
              <a:gd name="connsiteX35" fmla="*/ 3202769 w 4501379"/>
              <a:gd name="connsiteY35" fmla="*/ 4222750 h 4429294"/>
              <a:gd name="connsiteX36" fmla="*/ 3050369 w 4501379"/>
              <a:gd name="connsiteY36" fmla="*/ 4286250 h 4429294"/>
              <a:gd name="connsiteX37" fmla="*/ 2917019 w 4501379"/>
              <a:gd name="connsiteY37" fmla="*/ 4333875 h 4429294"/>
              <a:gd name="connsiteX38" fmla="*/ 2793194 w 4501379"/>
              <a:gd name="connsiteY38" fmla="*/ 4371975 h 4429294"/>
              <a:gd name="connsiteX39" fmla="*/ 2561419 w 4501379"/>
              <a:gd name="connsiteY39" fmla="*/ 4391025 h 4429294"/>
              <a:gd name="connsiteX40" fmla="*/ 2107394 w 4501379"/>
              <a:gd name="connsiteY40" fmla="*/ 4429125 h 4429294"/>
              <a:gd name="connsiteX41" fmla="*/ 1916894 w 4501379"/>
              <a:gd name="connsiteY41" fmla="*/ 4400550 h 4429294"/>
              <a:gd name="connsiteX42" fmla="*/ 1554944 w 4501379"/>
              <a:gd name="connsiteY42" fmla="*/ 4305300 h 4429294"/>
              <a:gd name="connsiteX43" fmla="*/ 1313644 w 4501379"/>
              <a:gd name="connsiteY43" fmla="*/ 4216400 h 4429294"/>
              <a:gd name="connsiteX44" fmla="*/ 1145369 w 4501379"/>
              <a:gd name="connsiteY44" fmla="*/ 4111625 h 4429294"/>
              <a:gd name="connsiteX45" fmla="*/ 926294 w 4501379"/>
              <a:gd name="connsiteY45" fmla="*/ 3968750 h 4429294"/>
              <a:gd name="connsiteX46" fmla="*/ 592919 w 4501379"/>
              <a:gd name="connsiteY46" fmla="*/ 3657600 h 4429294"/>
              <a:gd name="connsiteX47" fmla="*/ 446869 w 4501379"/>
              <a:gd name="connsiteY47" fmla="*/ 3470275 h 4429294"/>
              <a:gd name="connsiteX48" fmla="*/ 316694 w 4501379"/>
              <a:gd name="connsiteY48" fmla="*/ 3244850 h 4429294"/>
              <a:gd name="connsiteX49" fmla="*/ 164294 w 4501379"/>
              <a:gd name="connsiteY49" fmla="*/ 2892425 h 4429294"/>
              <a:gd name="connsiteX50" fmla="*/ 56344 w 4501379"/>
              <a:gd name="connsiteY50" fmla="*/ 2368550 h 4429294"/>
              <a:gd name="connsiteX51" fmla="*/ 2369 w 4501379"/>
              <a:gd name="connsiteY51" fmla="*/ 1905000 h 4429294"/>
              <a:gd name="connsiteX52" fmla="*/ 11894 w 4501379"/>
              <a:gd name="connsiteY52" fmla="*/ 1838325 h 4429294"/>
              <a:gd name="connsiteX53" fmla="*/ 30944 w 4501379"/>
              <a:gd name="connsiteY53" fmla="*/ 1781175 h 4429294"/>
              <a:gd name="connsiteX54" fmla="*/ 40469 w 4501379"/>
              <a:gd name="connsiteY54" fmla="*/ 1743075 h 4429294"/>
              <a:gd name="connsiteX55" fmla="*/ 59519 w 4501379"/>
              <a:gd name="connsiteY55" fmla="*/ 1685925 h 4429294"/>
              <a:gd name="connsiteX56" fmla="*/ 69044 w 4501379"/>
              <a:gd name="connsiteY56" fmla="*/ 1638300 h 4429294"/>
              <a:gd name="connsiteX57" fmla="*/ 88094 w 4501379"/>
              <a:gd name="connsiteY57" fmla="*/ 1590675 h 4429294"/>
              <a:gd name="connsiteX58" fmla="*/ 116669 w 4501379"/>
              <a:gd name="connsiteY58" fmla="*/ 1504950 h 4429294"/>
              <a:gd name="connsiteX59" fmla="*/ 135719 w 4501379"/>
              <a:gd name="connsiteY59" fmla="*/ 1419225 h 4429294"/>
              <a:gd name="connsiteX60" fmla="*/ 211919 w 4501379"/>
              <a:gd name="connsiteY60" fmla="*/ 1276350 h 4429294"/>
              <a:gd name="connsiteX61" fmla="*/ 221444 w 4501379"/>
              <a:gd name="connsiteY61" fmla="*/ 1247775 h 4429294"/>
              <a:gd name="connsiteX62" fmla="*/ 250019 w 4501379"/>
              <a:gd name="connsiteY62" fmla="*/ 1200150 h 4429294"/>
              <a:gd name="connsiteX63" fmla="*/ 269069 w 4501379"/>
              <a:gd name="connsiteY63" fmla="*/ 1152525 h 4429294"/>
              <a:gd name="connsiteX64" fmla="*/ 297644 w 4501379"/>
              <a:gd name="connsiteY64" fmla="*/ 1114425 h 4429294"/>
              <a:gd name="connsiteX65" fmla="*/ 345269 w 4501379"/>
              <a:gd name="connsiteY65" fmla="*/ 1038225 h 4429294"/>
              <a:gd name="connsiteX66" fmla="*/ 364319 w 4501379"/>
              <a:gd name="connsiteY66" fmla="*/ 1009650 h 4429294"/>
              <a:gd name="connsiteX67" fmla="*/ 421469 w 4501379"/>
              <a:gd name="connsiteY67" fmla="*/ 904875 h 4429294"/>
              <a:gd name="connsiteX68" fmla="*/ 459569 w 4501379"/>
              <a:gd name="connsiteY68" fmla="*/ 857250 h 4429294"/>
              <a:gd name="connsiteX69" fmla="*/ 478619 w 4501379"/>
              <a:gd name="connsiteY69" fmla="*/ 828675 h 4429294"/>
              <a:gd name="connsiteX70" fmla="*/ 516719 w 4501379"/>
              <a:gd name="connsiteY70" fmla="*/ 800100 h 4429294"/>
              <a:gd name="connsiteX71" fmla="*/ 583394 w 4501379"/>
              <a:gd name="connsiteY71" fmla="*/ 733425 h 4429294"/>
              <a:gd name="connsiteX72" fmla="*/ 650069 w 4501379"/>
              <a:gd name="connsiteY72" fmla="*/ 676275 h 4429294"/>
              <a:gd name="connsiteX73" fmla="*/ 678644 w 4501379"/>
              <a:gd name="connsiteY73" fmla="*/ 657225 h 4429294"/>
              <a:gd name="connsiteX74" fmla="*/ 821519 w 4501379"/>
              <a:gd name="connsiteY74" fmla="*/ 533400 h 4429294"/>
              <a:gd name="connsiteX75" fmla="*/ 869144 w 4501379"/>
              <a:gd name="connsiteY75" fmla="*/ 504825 h 4429294"/>
              <a:gd name="connsiteX76" fmla="*/ 1148544 w 4501379"/>
              <a:gd name="connsiteY76" fmla="*/ 311150 h 4429294"/>
              <a:gd name="connsiteX77" fmla="*/ 1250144 w 4501379"/>
              <a:gd name="connsiteY77" fmla="*/ 285750 h 4429294"/>
              <a:gd name="connsiteX78" fmla="*/ 1393019 w 4501379"/>
              <a:gd name="connsiteY78" fmla="*/ 190500 h 4429294"/>
              <a:gd name="connsiteX79" fmla="*/ 1431119 w 4501379"/>
              <a:gd name="connsiteY79" fmla="*/ 161925 h 4429294"/>
              <a:gd name="connsiteX80" fmla="*/ 1507319 w 4501379"/>
              <a:gd name="connsiteY80" fmla="*/ 152400 h 4429294"/>
              <a:gd name="connsiteX81" fmla="*/ 1564469 w 4501379"/>
              <a:gd name="connsiteY81" fmla="*/ 142875 h 4429294"/>
              <a:gd name="connsiteX82" fmla="*/ 1697819 w 4501379"/>
              <a:gd name="connsiteY82" fmla="*/ 123825 h 4429294"/>
              <a:gd name="connsiteX83" fmla="*/ 1793069 w 4501379"/>
              <a:gd name="connsiteY83" fmla="*/ 114300 h 4429294"/>
              <a:gd name="connsiteX84" fmla="*/ 1840694 w 4501379"/>
              <a:gd name="connsiteY84" fmla="*/ 104775 h 4429294"/>
              <a:gd name="connsiteX85" fmla="*/ 1897844 w 4501379"/>
              <a:gd name="connsiteY85" fmla="*/ 95250 h 4429294"/>
              <a:gd name="connsiteX86" fmla="*/ 2012144 w 4501379"/>
              <a:gd name="connsiteY86" fmla="*/ 66675 h 4429294"/>
              <a:gd name="connsiteX87" fmla="*/ 2078819 w 4501379"/>
              <a:gd name="connsiteY87" fmla="*/ 47625 h 4429294"/>
              <a:gd name="connsiteX88" fmla="*/ 2145494 w 4501379"/>
              <a:gd name="connsiteY8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12244 w 4501379"/>
              <a:gd name="connsiteY2" fmla="*/ 76200 h 4429294"/>
              <a:gd name="connsiteX3" fmla="*/ 2897969 w 4501379"/>
              <a:gd name="connsiteY3" fmla="*/ 85725 h 4429294"/>
              <a:gd name="connsiteX4" fmla="*/ 2955119 w 4501379"/>
              <a:gd name="connsiteY4" fmla="*/ 114300 h 4429294"/>
              <a:gd name="connsiteX5" fmla="*/ 2993219 w 4501379"/>
              <a:gd name="connsiteY5" fmla="*/ 123825 h 4429294"/>
              <a:gd name="connsiteX6" fmla="*/ 3117044 w 4501379"/>
              <a:gd name="connsiteY6" fmla="*/ 171450 h 4429294"/>
              <a:gd name="connsiteX7" fmla="*/ 3155144 w 4501379"/>
              <a:gd name="connsiteY7" fmla="*/ 190500 h 4429294"/>
              <a:gd name="connsiteX8" fmla="*/ 3221819 w 4501379"/>
              <a:gd name="connsiteY8" fmla="*/ 228600 h 4429294"/>
              <a:gd name="connsiteX9" fmla="*/ 3250394 w 4501379"/>
              <a:gd name="connsiteY9" fmla="*/ 238125 h 4429294"/>
              <a:gd name="connsiteX10" fmla="*/ 3278969 w 4501379"/>
              <a:gd name="connsiteY10" fmla="*/ 257175 h 4429294"/>
              <a:gd name="connsiteX11" fmla="*/ 3307544 w 4501379"/>
              <a:gd name="connsiteY11" fmla="*/ 266700 h 4429294"/>
              <a:gd name="connsiteX12" fmla="*/ 3336119 w 4501379"/>
              <a:gd name="connsiteY12" fmla="*/ 285750 h 4429294"/>
              <a:gd name="connsiteX13" fmla="*/ 3402794 w 4501379"/>
              <a:gd name="connsiteY13" fmla="*/ 323850 h 4429294"/>
              <a:gd name="connsiteX14" fmla="*/ 3450419 w 4501379"/>
              <a:gd name="connsiteY14" fmla="*/ 361950 h 4429294"/>
              <a:gd name="connsiteX15" fmla="*/ 3498044 w 4501379"/>
              <a:gd name="connsiteY15" fmla="*/ 390525 h 4429294"/>
              <a:gd name="connsiteX16" fmla="*/ 3612344 w 4501379"/>
              <a:gd name="connsiteY16" fmla="*/ 485775 h 4429294"/>
              <a:gd name="connsiteX17" fmla="*/ 3726644 w 4501379"/>
              <a:gd name="connsiteY17" fmla="*/ 542925 h 4429294"/>
              <a:gd name="connsiteX18" fmla="*/ 3793319 w 4501379"/>
              <a:gd name="connsiteY18" fmla="*/ 581025 h 4429294"/>
              <a:gd name="connsiteX19" fmla="*/ 4009219 w 4501379"/>
              <a:gd name="connsiteY19" fmla="*/ 819150 h 4429294"/>
              <a:gd name="connsiteX20" fmla="*/ 4145744 w 4501379"/>
              <a:gd name="connsiteY20" fmla="*/ 990600 h 4429294"/>
              <a:gd name="connsiteX21" fmla="*/ 4231469 w 4501379"/>
              <a:gd name="connsiteY21" fmla="*/ 1143000 h 4429294"/>
              <a:gd name="connsiteX22" fmla="*/ 4288619 w 4501379"/>
              <a:gd name="connsiteY22" fmla="*/ 1266825 h 4429294"/>
              <a:gd name="connsiteX23" fmla="*/ 4326719 w 4501379"/>
              <a:gd name="connsiteY23" fmla="*/ 1362075 h 4429294"/>
              <a:gd name="connsiteX24" fmla="*/ 4374344 w 4501379"/>
              <a:gd name="connsiteY24" fmla="*/ 1552575 h 4429294"/>
              <a:gd name="connsiteX25" fmla="*/ 4412444 w 4501379"/>
              <a:gd name="connsiteY25" fmla="*/ 1685925 h 4429294"/>
              <a:gd name="connsiteX26" fmla="*/ 4501344 w 4501379"/>
              <a:gd name="connsiteY26" fmla="*/ 2181225 h 4429294"/>
              <a:gd name="connsiteX27" fmla="*/ 4428319 w 4501379"/>
              <a:gd name="connsiteY27" fmla="*/ 2768600 h 4429294"/>
              <a:gd name="connsiteX28" fmla="*/ 4364819 w 4501379"/>
              <a:gd name="connsiteY28" fmla="*/ 2990850 h 4429294"/>
              <a:gd name="connsiteX29" fmla="*/ 4260044 w 4501379"/>
              <a:gd name="connsiteY29" fmla="*/ 3248025 h 4429294"/>
              <a:gd name="connsiteX30" fmla="*/ 4164794 w 4501379"/>
              <a:gd name="connsiteY30" fmla="*/ 3400425 h 4429294"/>
              <a:gd name="connsiteX31" fmla="*/ 4040969 w 4501379"/>
              <a:gd name="connsiteY31" fmla="*/ 3533775 h 4429294"/>
              <a:gd name="connsiteX32" fmla="*/ 3936194 w 4501379"/>
              <a:gd name="connsiteY32" fmla="*/ 3648075 h 4429294"/>
              <a:gd name="connsiteX33" fmla="*/ 3640919 w 4501379"/>
              <a:gd name="connsiteY33" fmla="*/ 3971925 h 4429294"/>
              <a:gd name="connsiteX34" fmla="*/ 3498044 w 4501379"/>
              <a:gd name="connsiteY34" fmla="*/ 4083050 h 4429294"/>
              <a:gd name="connsiteX35" fmla="*/ 3202769 w 4501379"/>
              <a:gd name="connsiteY35" fmla="*/ 4222750 h 4429294"/>
              <a:gd name="connsiteX36" fmla="*/ 3050369 w 4501379"/>
              <a:gd name="connsiteY36" fmla="*/ 4286250 h 4429294"/>
              <a:gd name="connsiteX37" fmla="*/ 2917019 w 4501379"/>
              <a:gd name="connsiteY37" fmla="*/ 4333875 h 4429294"/>
              <a:gd name="connsiteX38" fmla="*/ 2793194 w 4501379"/>
              <a:gd name="connsiteY38" fmla="*/ 4371975 h 4429294"/>
              <a:gd name="connsiteX39" fmla="*/ 2561419 w 4501379"/>
              <a:gd name="connsiteY39" fmla="*/ 4391025 h 4429294"/>
              <a:gd name="connsiteX40" fmla="*/ 2107394 w 4501379"/>
              <a:gd name="connsiteY40" fmla="*/ 4429125 h 4429294"/>
              <a:gd name="connsiteX41" fmla="*/ 1916894 w 4501379"/>
              <a:gd name="connsiteY41" fmla="*/ 4400550 h 4429294"/>
              <a:gd name="connsiteX42" fmla="*/ 1554944 w 4501379"/>
              <a:gd name="connsiteY42" fmla="*/ 4305300 h 4429294"/>
              <a:gd name="connsiteX43" fmla="*/ 1313644 w 4501379"/>
              <a:gd name="connsiteY43" fmla="*/ 4216400 h 4429294"/>
              <a:gd name="connsiteX44" fmla="*/ 1145369 w 4501379"/>
              <a:gd name="connsiteY44" fmla="*/ 4111625 h 4429294"/>
              <a:gd name="connsiteX45" fmla="*/ 926294 w 4501379"/>
              <a:gd name="connsiteY45" fmla="*/ 3968750 h 4429294"/>
              <a:gd name="connsiteX46" fmla="*/ 592919 w 4501379"/>
              <a:gd name="connsiteY46" fmla="*/ 3657600 h 4429294"/>
              <a:gd name="connsiteX47" fmla="*/ 446869 w 4501379"/>
              <a:gd name="connsiteY47" fmla="*/ 3470275 h 4429294"/>
              <a:gd name="connsiteX48" fmla="*/ 316694 w 4501379"/>
              <a:gd name="connsiteY48" fmla="*/ 3244850 h 4429294"/>
              <a:gd name="connsiteX49" fmla="*/ 164294 w 4501379"/>
              <a:gd name="connsiteY49" fmla="*/ 2892425 h 4429294"/>
              <a:gd name="connsiteX50" fmla="*/ 56344 w 4501379"/>
              <a:gd name="connsiteY50" fmla="*/ 2368550 h 4429294"/>
              <a:gd name="connsiteX51" fmla="*/ 2369 w 4501379"/>
              <a:gd name="connsiteY51" fmla="*/ 1905000 h 4429294"/>
              <a:gd name="connsiteX52" fmla="*/ 11894 w 4501379"/>
              <a:gd name="connsiteY52" fmla="*/ 1838325 h 4429294"/>
              <a:gd name="connsiteX53" fmla="*/ 30944 w 4501379"/>
              <a:gd name="connsiteY53" fmla="*/ 1781175 h 4429294"/>
              <a:gd name="connsiteX54" fmla="*/ 40469 w 4501379"/>
              <a:gd name="connsiteY54" fmla="*/ 1743075 h 4429294"/>
              <a:gd name="connsiteX55" fmla="*/ 59519 w 4501379"/>
              <a:gd name="connsiteY55" fmla="*/ 1685925 h 4429294"/>
              <a:gd name="connsiteX56" fmla="*/ 69044 w 4501379"/>
              <a:gd name="connsiteY56" fmla="*/ 1638300 h 4429294"/>
              <a:gd name="connsiteX57" fmla="*/ 88094 w 4501379"/>
              <a:gd name="connsiteY57" fmla="*/ 1590675 h 4429294"/>
              <a:gd name="connsiteX58" fmla="*/ 116669 w 4501379"/>
              <a:gd name="connsiteY58" fmla="*/ 1504950 h 4429294"/>
              <a:gd name="connsiteX59" fmla="*/ 135719 w 4501379"/>
              <a:gd name="connsiteY59" fmla="*/ 1419225 h 4429294"/>
              <a:gd name="connsiteX60" fmla="*/ 211919 w 4501379"/>
              <a:gd name="connsiteY60" fmla="*/ 1276350 h 4429294"/>
              <a:gd name="connsiteX61" fmla="*/ 221444 w 4501379"/>
              <a:gd name="connsiteY61" fmla="*/ 1247775 h 4429294"/>
              <a:gd name="connsiteX62" fmla="*/ 250019 w 4501379"/>
              <a:gd name="connsiteY62" fmla="*/ 1200150 h 4429294"/>
              <a:gd name="connsiteX63" fmla="*/ 269069 w 4501379"/>
              <a:gd name="connsiteY63" fmla="*/ 1152525 h 4429294"/>
              <a:gd name="connsiteX64" fmla="*/ 297644 w 4501379"/>
              <a:gd name="connsiteY64" fmla="*/ 1114425 h 4429294"/>
              <a:gd name="connsiteX65" fmla="*/ 345269 w 4501379"/>
              <a:gd name="connsiteY65" fmla="*/ 1038225 h 4429294"/>
              <a:gd name="connsiteX66" fmla="*/ 364319 w 4501379"/>
              <a:gd name="connsiteY66" fmla="*/ 1009650 h 4429294"/>
              <a:gd name="connsiteX67" fmla="*/ 421469 w 4501379"/>
              <a:gd name="connsiteY67" fmla="*/ 904875 h 4429294"/>
              <a:gd name="connsiteX68" fmla="*/ 459569 w 4501379"/>
              <a:gd name="connsiteY68" fmla="*/ 857250 h 4429294"/>
              <a:gd name="connsiteX69" fmla="*/ 478619 w 4501379"/>
              <a:gd name="connsiteY69" fmla="*/ 828675 h 4429294"/>
              <a:gd name="connsiteX70" fmla="*/ 516719 w 4501379"/>
              <a:gd name="connsiteY70" fmla="*/ 800100 h 4429294"/>
              <a:gd name="connsiteX71" fmla="*/ 583394 w 4501379"/>
              <a:gd name="connsiteY71" fmla="*/ 733425 h 4429294"/>
              <a:gd name="connsiteX72" fmla="*/ 650069 w 4501379"/>
              <a:gd name="connsiteY72" fmla="*/ 676275 h 4429294"/>
              <a:gd name="connsiteX73" fmla="*/ 678644 w 4501379"/>
              <a:gd name="connsiteY73" fmla="*/ 657225 h 4429294"/>
              <a:gd name="connsiteX74" fmla="*/ 821519 w 4501379"/>
              <a:gd name="connsiteY74" fmla="*/ 533400 h 4429294"/>
              <a:gd name="connsiteX75" fmla="*/ 869144 w 4501379"/>
              <a:gd name="connsiteY75" fmla="*/ 504825 h 4429294"/>
              <a:gd name="connsiteX76" fmla="*/ 1148544 w 4501379"/>
              <a:gd name="connsiteY76" fmla="*/ 311150 h 4429294"/>
              <a:gd name="connsiteX77" fmla="*/ 1250144 w 4501379"/>
              <a:gd name="connsiteY77" fmla="*/ 285750 h 4429294"/>
              <a:gd name="connsiteX78" fmla="*/ 1393019 w 4501379"/>
              <a:gd name="connsiteY78" fmla="*/ 190500 h 4429294"/>
              <a:gd name="connsiteX79" fmla="*/ 1431119 w 4501379"/>
              <a:gd name="connsiteY79" fmla="*/ 161925 h 4429294"/>
              <a:gd name="connsiteX80" fmla="*/ 1507319 w 4501379"/>
              <a:gd name="connsiteY80" fmla="*/ 152400 h 4429294"/>
              <a:gd name="connsiteX81" fmla="*/ 1564469 w 4501379"/>
              <a:gd name="connsiteY81" fmla="*/ 142875 h 4429294"/>
              <a:gd name="connsiteX82" fmla="*/ 1697819 w 4501379"/>
              <a:gd name="connsiteY82" fmla="*/ 123825 h 4429294"/>
              <a:gd name="connsiteX83" fmla="*/ 1793069 w 4501379"/>
              <a:gd name="connsiteY83" fmla="*/ 114300 h 4429294"/>
              <a:gd name="connsiteX84" fmla="*/ 1840694 w 4501379"/>
              <a:gd name="connsiteY84" fmla="*/ 104775 h 4429294"/>
              <a:gd name="connsiteX85" fmla="*/ 1897844 w 4501379"/>
              <a:gd name="connsiteY85" fmla="*/ 95250 h 4429294"/>
              <a:gd name="connsiteX86" fmla="*/ 2012144 w 4501379"/>
              <a:gd name="connsiteY86" fmla="*/ 66675 h 4429294"/>
              <a:gd name="connsiteX87" fmla="*/ 2078819 w 4501379"/>
              <a:gd name="connsiteY87" fmla="*/ 47625 h 4429294"/>
              <a:gd name="connsiteX88" fmla="*/ 2145494 w 4501379"/>
              <a:gd name="connsiteY8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2955119 w 4501379"/>
              <a:gd name="connsiteY3" fmla="*/ 114300 h 4429294"/>
              <a:gd name="connsiteX4" fmla="*/ 2993219 w 4501379"/>
              <a:gd name="connsiteY4" fmla="*/ 123825 h 4429294"/>
              <a:gd name="connsiteX5" fmla="*/ 3117044 w 4501379"/>
              <a:gd name="connsiteY5" fmla="*/ 171450 h 4429294"/>
              <a:gd name="connsiteX6" fmla="*/ 3155144 w 4501379"/>
              <a:gd name="connsiteY6" fmla="*/ 190500 h 4429294"/>
              <a:gd name="connsiteX7" fmla="*/ 3221819 w 4501379"/>
              <a:gd name="connsiteY7" fmla="*/ 228600 h 4429294"/>
              <a:gd name="connsiteX8" fmla="*/ 3250394 w 4501379"/>
              <a:gd name="connsiteY8" fmla="*/ 238125 h 4429294"/>
              <a:gd name="connsiteX9" fmla="*/ 3278969 w 4501379"/>
              <a:gd name="connsiteY9" fmla="*/ 257175 h 4429294"/>
              <a:gd name="connsiteX10" fmla="*/ 3307544 w 4501379"/>
              <a:gd name="connsiteY10" fmla="*/ 266700 h 4429294"/>
              <a:gd name="connsiteX11" fmla="*/ 3336119 w 4501379"/>
              <a:gd name="connsiteY11" fmla="*/ 285750 h 4429294"/>
              <a:gd name="connsiteX12" fmla="*/ 3402794 w 4501379"/>
              <a:gd name="connsiteY12" fmla="*/ 323850 h 4429294"/>
              <a:gd name="connsiteX13" fmla="*/ 3450419 w 4501379"/>
              <a:gd name="connsiteY13" fmla="*/ 361950 h 4429294"/>
              <a:gd name="connsiteX14" fmla="*/ 3498044 w 4501379"/>
              <a:gd name="connsiteY14" fmla="*/ 390525 h 4429294"/>
              <a:gd name="connsiteX15" fmla="*/ 3612344 w 4501379"/>
              <a:gd name="connsiteY15" fmla="*/ 485775 h 4429294"/>
              <a:gd name="connsiteX16" fmla="*/ 3726644 w 4501379"/>
              <a:gd name="connsiteY16" fmla="*/ 542925 h 4429294"/>
              <a:gd name="connsiteX17" fmla="*/ 3793319 w 4501379"/>
              <a:gd name="connsiteY17" fmla="*/ 581025 h 4429294"/>
              <a:gd name="connsiteX18" fmla="*/ 4009219 w 4501379"/>
              <a:gd name="connsiteY18" fmla="*/ 819150 h 4429294"/>
              <a:gd name="connsiteX19" fmla="*/ 4145744 w 4501379"/>
              <a:gd name="connsiteY19" fmla="*/ 990600 h 4429294"/>
              <a:gd name="connsiteX20" fmla="*/ 4231469 w 4501379"/>
              <a:gd name="connsiteY20" fmla="*/ 1143000 h 4429294"/>
              <a:gd name="connsiteX21" fmla="*/ 4288619 w 4501379"/>
              <a:gd name="connsiteY21" fmla="*/ 1266825 h 4429294"/>
              <a:gd name="connsiteX22" fmla="*/ 4326719 w 4501379"/>
              <a:gd name="connsiteY22" fmla="*/ 1362075 h 4429294"/>
              <a:gd name="connsiteX23" fmla="*/ 4374344 w 4501379"/>
              <a:gd name="connsiteY23" fmla="*/ 1552575 h 4429294"/>
              <a:gd name="connsiteX24" fmla="*/ 4412444 w 4501379"/>
              <a:gd name="connsiteY24" fmla="*/ 1685925 h 4429294"/>
              <a:gd name="connsiteX25" fmla="*/ 4501344 w 4501379"/>
              <a:gd name="connsiteY25" fmla="*/ 2181225 h 4429294"/>
              <a:gd name="connsiteX26" fmla="*/ 4428319 w 4501379"/>
              <a:gd name="connsiteY26" fmla="*/ 2768600 h 4429294"/>
              <a:gd name="connsiteX27" fmla="*/ 4364819 w 4501379"/>
              <a:gd name="connsiteY27" fmla="*/ 2990850 h 4429294"/>
              <a:gd name="connsiteX28" fmla="*/ 4260044 w 4501379"/>
              <a:gd name="connsiteY28" fmla="*/ 3248025 h 4429294"/>
              <a:gd name="connsiteX29" fmla="*/ 4164794 w 4501379"/>
              <a:gd name="connsiteY29" fmla="*/ 3400425 h 4429294"/>
              <a:gd name="connsiteX30" fmla="*/ 4040969 w 4501379"/>
              <a:gd name="connsiteY30" fmla="*/ 3533775 h 4429294"/>
              <a:gd name="connsiteX31" fmla="*/ 3936194 w 4501379"/>
              <a:gd name="connsiteY31" fmla="*/ 3648075 h 4429294"/>
              <a:gd name="connsiteX32" fmla="*/ 3640919 w 4501379"/>
              <a:gd name="connsiteY32" fmla="*/ 3971925 h 4429294"/>
              <a:gd name="connsiteX33" fmla="*/ 3498044 w 4501379"/>
              <a:gd name="connsiteY33" fmla="*/ 4083050 h 4429294"/>
              <a:gd name="connsiteX34" fmla="*/ 3202769 w 4501379"/>
              <a:gd name="connsiteY34" fmla="*/ 4222750 h 4429294"/>
              <a:gd name="connsiteX35" fmla="*/ 3050369 w 4501379"/>
              <a:gd name="connsiteY35" fmla="*/ 4286250 h 4429294"/>
              <a:gd name="connsiteX36" fmla="*/ 2917019 w 4501379"/>
              <a:gd name="connsiteY36" fmla="*/ 4333875 h 4429294"/>
              <a:gd name="connsiteX37" fmla="*/ 2793194 w 4501379"/>
              <a:gd name="connsiteY37" fmla="*/ 4371975 h 4429294"/>
              <a:gd name="connsiteX38" fmla="*/ 2561419 w 4501379"/>
              <a:gd name="connsiteY38" fmla="*/ 4391025 h 4429294"/>
              <a:gd name="connsiteX39" fmla="*/ 2107394 w 4501379"/>
              <a:gd name="connsiteY39" fmla="*/ 4429125 h 4429294"/>
              <a:gd name="connsiteX40" fmla="*/ 1916894 w 4501379"/>
              <a:gd name="connsiteY40" fmla="*/ 4400550 h 4429294"/>
              <a:gd name="connsiteX41" fmla="*/ 1554944 w 4501379"/>
              <a:gd name="connsiteY41" fmla="*/ 4305300 h 4429294"/>
              <a:gd name="connsiteX42" fmla="*/ 1313644 w 4501379"/>
              <a:gd name="connsiteY42" fmla="*/ 4216400 h 4429294"/>
              <a:gd name="connsiteX43" fmla="*/ 1145369 w 4501379"/>
              <a:gd name="connsiteY43" fmla="*/ 4111625 h 4429294"/>
              <a:gd name="connsiteX44" fmla="*/ 926294 w 4501379"/>
              <a:gd name="connsiteY44" fmla="*/ 3968750 h 4429294"/>
              <a:gd name="connsiteX45" fmla="*/ 592919 w 4501379"/>
              <a:gd name="connsiteY45" fmla="*/ 3657600 h 4429294"/>
              <a:gd name="connsiteX46" fmla="*/ 446869 w 4501379"/>
              <a:gd name="connsiteY46" fmla="*/ 3470275 h 4429294"/>
              <a:gd name="connsiteX47" fmla="*/ 316694 w 4501379"/>
              <a:gd name="connsiteY47" fmla="*/ 3244850 h 4429294"/>
              <a:gd name="connsiteX48" fmla="*/ 164294 w 4501379"/>
              <a:gd name="connsiteY48" fmla="*/ 2892425 h 4429294"/>
              <a:gd name="connsiteX49" fmla="*/ 56344 w 4501379"/>
              <a:gd name="connsiteY49" fmla="*/ 2368550 h 4429294"/>
              <a:gd name="connsiteX50" fmla="*/ 2369 w 4501379"/>
              <a:gd name="connsiteY50" fmla="*/ 1905000 h 4429294"/>
              <a:gd name="connsiteX51" fmla="*/ 11894 w 4501379"/>
              <a:gd name="connsiteY51" fmla="*/ 1838325 h 4429294"/>
              <a:gd name="connsiteX52" fmla="*/ 30944 w 4501379"/>
              <a:gd name="connsiteY52" fmla="*/ 1781175 h 4429294"/>
              <a:gd name="connsiteX53" fmla="*/ 40469 w 4501379"/>
              <a:gd name="connsiteY53" fmla="*/ 1743075 h 4429294"/>
              <a:gd name="connsiteX54" fmla="*/ 59519 w 4501379"/>
              <a:gd name="connsiteY54" fmla="*/ 1685925 h 4429294"/>
              <a:gd name="connsiteX55" fmla="*/ 69044 w 4501379"/>
              <a:gd name="connsiteY55" fmla="*/ 1638300 h 4429294"/>
              <a:gd name="connsiteX56" fmla="*/ 88094 w 4501379"/>
              <a:gd name="connsiteY56" fmla="*/ 1590675 h 4429294"/>
              <a:gd name="connsiteX57" fmla="*/ 116669 w 4501379"/>
              <a:gd name="connsiteY57" fmla="*/ 1504950 h 4429294"/>
              <a:gd name="connsiteX58" fmla="*/ 135719 w 4501379"/>
              <a:gd name="connsiteY58" fmla="*/ 1419225 h 4429294"/>
              <a:gd name="connsiteX59" fmla="*/ 211919 w 4501379"/>
              <a:gd name="connsiteY59" fmla="*/ 1276350 h 4429294"/>
              <a:gd name="connsiteX60" fmla="*/ 221444 w 4501379"/>
              <a:gd name="connsiteY60" fmla="*/ 1247775 h 4429294"/>
              <a:gd name="connsiteX61" fmla="*/ 250019 w 4501379"/>
              <a:gd name="connsiteY61" fmla="*/ 1200150 h 4429294"/>
              <a:gd name="connsiteX62" fmla="*/ 269069 w 4501379"/>
              <a:gd name="connsiteY62" fmla="*/ 1152525 h 4429294"/>
              <a:gd name="connsiteX63" fmla="*/ 297644 w 4501379"/>
              <a:gd name="connsiteY63" fmla="*/ 1114425 h 4429294"/>
              <a:gd name="connsiteX64" fmla="*/ 345269 w 4501379"/>
              <a:gd name="connsiteY64" fmla="*/ 1038225 h 4429294"/>
              <a:gd name="connsiteX65" fmla="*/ 364319 w 4501379"/>
              <a:gd name="connsiteY65" fmla="*/ 1009650 h 4429294"/>
              <a:gd name="connsiteX66" fmla="*/ 421469 w 4501379"/>
              <a:gd name="connsiteY66" fmla="*/ 904875 h 4429294"/>
              <a:gd name="connsiteX67" fmla="*/ 459569 w 4501379"/>
              <a:gd name="connsiteY67" fmla="*/ 857250 h 4429294"/>
              <a:gd name="connsiteX68" fmla="*/ 478619 w 4501379"/>
              <a:gd name="connsiteY68" fmla="*/ 828675 h 4429294"/>
              <a:gd name="connsiteX69" fmla="*/ 516719 w 4501379"/>
              <a:gd name="connsiteY69" fmla="*/ 800100 h 4429294"/>
              <a:gd name="connsiteX70" fmla="*/ 583394 w 4501379"/>
              <a:gd name="connsiteY70" fmla="*/ 733425 h 4429294"/>
              <a:gd name="connsiteX71" fmla="*/ 650069 w 4501379"/>
              <a:gd name="connsiteY71" fmla="*/ 676275 h 4429294"/>
              <a:gd name="connsiteX72" fmla="*/ 678644 w 4501379"/>
              <a:gd name="connsiteY72" fmla="*/ 657225 h 4429294"/>
              <a:gd name="connsiteX73" fmla="*/ 821519 w 4501379"/>
              <a:gd name="connsiteY73" fmla="*/ 533400 h 4429294"/>
              <a:gd name="connsiteX74" fmla="*/ 869144 w 4501379"/>
              <a:gd name="connsiteY74" fmla="*/ 504825 h 4429294"/>
              <a:gd name="connsiteX75" fmla="*/ 1148544 w 4501379"/>
              <a:gd name="connsiteY75" fmla="*/ 311150 h 4429294"/>
              <a:gd name="connsiteX76" fmla="*/ 1250144 w 4501379"/>
              <a:gd name="connsiteY76" fmla="*/ 285750 h 4429294"/>
              <a:gd name="connsiteX77" fmla="*/ 1393019 w 4501379"/>
              <a:gd name="connsiteY77" fmla="*/ 190500 h 4429294"/>
              <a:gd name="connsiteX78" fmla="*/ 1431119 w 4501379"/>
              <a:gd name="connsiteY78" fmla="*/ 161925 h 4429294"/>
              <a:gd name="connsiteX79" fmla="*/ 1507319 w 4501379"/>
              <a:gd name="connsiteY79" fmla="*/ 152400 h 4429294"/>
              <a:gd name="connsiteX80" fmla="*/ 1564469 w 4501379"/>
              <a:gd name="connsiteY80" fmla="*/ 142875 h 4429294"/>
              <a:gd name="connsiteX81" fmla="*/ 1697819 w 4501379"/>
              <a:gd name="connsiteY81" fmla="*/ 123825 h 4429294"/>
              <a:gd name="connsiteX82" fmla="*/ 1793069 w 4501379"/>
              <a:gd name="connsiteY82" fmla="*/ 114300 h 4429294"/>
              <a:gd name="connsiteX83" fmla="*/ 1840694 w 4501379"/>
              <a:gd name="connsiteY83" fmla="*/ 104775 h 4429294"/>
              <a:gd name="connsiteX84" fmla="*/ 1897844 w 4501379"/>
              <a:gd name="connsiteY84" fmla="*/ 95250 h 4429294"/>
              <a:gd name="connsiteX85" fmla="*/ 2012144 w 4501379"/>
              <a:gd name="connsiteY85" fmla="*/ 66675 h 4429294"/>
              <a:gd name="connsiteX86" fmla="*/ 2078819 w 4501379"/>
              <a:gd name="connsiteY86" fmla="*/ 47625 h 4429294"/>
              <a:gd name="connsiteX87" fmla="*/ 2145494 w 4501379"/>
              <a:gd name="connsiteY8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2955119 w 4501379"/>
              <a:gd name="connsiteY3" fmla="*/ 114300 h 4429294"/>
              <a:gd name="connsiteX4" fmla="*/ 3117044 w 4501379"/>
              <a:gd name="connsiteY4" fmla="*/ 171450 h 4429294"/>
              <a:gd name="connsiteX5" fmla="*/ 3155144 w 4501379"/>
              <a:gd name="connsiteY5" fmla="*/ 190500 h 4429294"/>
              <a:gd name="connsiteX6" fmla="*/ 3221819 w 4501379"/>
              <a:gd name="connsiteY6" fmla="*/ 228600 h 4429294"/>
              <a:gd name="connsiteX7" fmla="*/ 3250394 w 4501379"/>
              <a:gd name="connsiteY7" fmla="*/ 238125 h 4429294"/>
              <a:gd name="connsiteX8" fmla="*/ 3278969 w 4501379"/>
              <a:gd name="connsiteY8" fmla="*/ 257175 h 4429294"/>
              <a:gd name="connsiteX9" fmla="*/ 3307544 w 4501379"/>
              <a:gd name="connsiteY9" fmla="*/ 266700 h 4429294"/>
              <a:gd name="connsiteX10" fmla="*/ 3336119 w 4501379"/>
              <a:gd name="connsiteY10" fmla="*/ 285750 h 4429294"/>
              <a:gd name="connsiteX11" fmla="*/ 3402794 w 4501379"/>
              <a:gd name="connsiteY11" fmla="*/ 323850 h 4429294"/>
              <a:gd name="connsiteX12" fmla="*/ 3450419 w 4501379"/>
              <a:gd name="connsiteY12" fmla="*/ 361950 h 4429294"/>
              <a:gd name="connsiteX13" fmla="*/ 3498044 w 4501379"/>
              <a:gd name="connsiteY13" fmla="*/ 390525 h 4429294"/>
              <a:gd name="connsiteX14" fmla="*/ 3612344 w 4501379"/>
              <a:gd name="connsiteY14" fmla="*/ 485775 h 4429294"/>
              <a:gd name="connsiteX15" fmla="*/ 3726644 w 4501379"/>
              <a:gd name="connsiteY15" fmla="*/ 542925 h 4429294"/>
              <a:gd name="connsiteX16" fmla="*/ 3793319 w 4501379"/>
              <a:gd name="connsiteY16" fmla="*/ 581025 h 4429294"/>
              <a:gd name="connsiteX17" fmla="*/ 4009219 w 4501379"/>
              <a:gd name="connsiteY17" fmla="*/ 819150 h 4429294"/>
              <a:gd name="connsiteX18" fmla="*/ 4145744 w 4501379"/>
              <a:gd name="connsiteY18" fmla="*/ 990600 h 4429294"/>
              <a:gd name="connsiteX19" fmla="*/ 4231469 w 4501379"/>
              <a:gd name="connsiteY19" fmla="*/ 1143000 h 4429294"/>
              <a:gd name="connsiteX20" fmla="*/ 4288619 w 4501379"/>
              <a:gd name="connsiteY20" fmla="*/ 1266825 h 4429294"/>
              <a:gd name="connsiteX21" fmla="*/ 4326719 w 4501379"/>
              <a:gd name="connsiteY21" fmla="*/ 1362075 h 4429294"/>
              <a:gd name="connsiteX22" fmla="*/ 4374344 w 4501379"/>
              <a:gd name="connsiteY22" fmla="*/ 1552575 h 4429294"/>
              <a:gd name="connsiteX23" fmla="*/ 4412444 w 4501379"/>
              <a:gd name="connsiteY23" fmla="*/ 1685925 h 4429294"/>
              <a:gd name="connsiteX24" fmla="*/ 4501344 w 4501379"/>
              <a:gd name="connsiteY24" fmla="*/ 2181225 h 4429294"/>
              <a:gd name="connsiteX25" fmla="*/ 4428319 w 4501379"/>
              <a:gd name="connsiteY25" fmla="*/ 2768600 h 4429294"/>
              <a:gd name="connsiteX26" fmla="*/ 4364819 w 4501379"/>
              <a:gd name="connsiteY26" fmla="*/ 2990850 h 4429294"/>
              <a:gd name="connsiteX27" fmla="*/ 4260044 w 4501379"/>
              <a:gd name="connsiteY27" fmla="*/ 3248025 h 4429294"/>
              <a:gd name="connsiteX28" fmla="*/ 4164794 w 4501379"/>
              <a:gd name="connsiteY28" fmla="*/ 3400425 h 4429294"/>
              <a:gd name="connsiteX29" fmla="*/ 4040969 w 4501379"/>
              <a:gd name="connsiteY29" fmla="*/ 3533775 h 4429294"/>
              <a:gd name="connsiteX30" fmla="*/ 3936194 w 4501379"/>
              <a:gd name="connsiteY30" fmla="*/ 3648075 h 4429294"/>
              <a:gd name="connsiteX31" fmla="*/ 3640919 w 4501379"/>
              <a:gd name="connsiteY31" fmla="*/ 3971925 h 4429294"/>
              <a:gd name="connsiteX32" fmla="*/ 3498044 w 4501379"/>
              <a:gd name="connsiteY32" fmla="*/ 4083050 h 4429294"/>
              <a:gd name="connsiteX33" fmla="*/ 3202769 w 4501379"/>
              <a:gd name="connsiteY33" fmla="*/ 4222750 h 4429294"/>
              <a:gd name="connsiteX34" fmla="*/ 3050369 w 4501379"/>
              <a:gd name="connsiteY34" fmla="*/ 4286250 h 4429294"/>
              <a:gd name="connsiteX35" fmla="*/ 2917019 w 4501379"/>
              <a:gd name="connsiteY35" fmla="*/ 4333875 h 4429294"/>
              <a:gd name="connsiteX36" fmla="*/ 2793194 w 4501379"/>
              <a:gd name="connsiteY36" fmla="*/ 4371975 h 4429294"/>
              <a:gd name="connsiteX37" fmla="*/ 2561419 w 4501379"/>
              <a:gd name="connsiteY37" fmla="*/ 4391025 h 4429294"/>
              <a:gd name="connsiteX38" fmla="*/ 2107394 w 4501379"/>
              <a:gd name="connsiteY38" fmla="*/ 4429125 h 4429294"/>
              <a:gd name="connsiteX39" fmla="*/ 1916894 w 4501379"/>
              <a:gd name="connsiteY39" fmla="*/ 4400550 h 4429294"/>
              <a:gd name="connsiteX40" fmla="*/ 1554944 w 4501379"/>
              <a:gd name="connsiteY40" fmla="*/ 4305300 h 4429294"/>
              <a:gd name="connsiteX41" fmla="*/ 1313644 w 4501379"/>
              <a:gd name="connsiteY41" fmla="*/ 4216400 h 4429294"/>
              <a:gd name="connsiteX42" fmla="*/ 1145369 w 4501379"/>
              <a:gd name="connsiteY42" fmla="*/ 4111625 h 4429294"/>
              <a:gd name="connsiteX43" fmla="*/ 926294 w 4501379"/>
              <a:gd name="connsiteY43" fmla="*/ 3968750 h 4429294"/>
              <a:gd name="connsiteX44" fmla="*/ 592919 w 4501379"/>
              <a:gd name="connsiteY44" fmla="*/ 3657600 h 4429294"/>
              <a:gd name="connsiteX45" fmla="*/ 446869 w 4501379"/>
              <a:gd name="connsiteY45" fmla="*/ 3470275 h 4429294"/>
              <a:gd name="connsiteX46" fmla="*/ 316694 w 4501379"/>
              <a:gd name="connsiteY46" fmla="*/ 3244850 h 4429294"/>
              <a:gd name="connsiteX47" fmla="*/ 164294 w 4501379"/>
              <a:gd name="connsiteY47" fmla="*/ 2892425 h 4429294"/>
              <a:gd name="connsiteX48" fmla="*/ 56344 w 4501379"/>
              <a:gd name="connsiteY48" fmla="*/ 2368550 h 4429294"/>
              <a:gd name="connsiteX49" fmla="*/ 2369 w 4501379"/>
              <a:gd name="connsiteY49" fmla="*/ 1905000 h 4429294"/>
              <a:gd name="connsiteX50" fmla="*/ 11894 w 4501379"/>
              <a:gd name="connsiteY50" fmla="*/ 1838325 h 4429294"/>
              <a:gd name="connsiteX51" fmla="*/ 30944 w 4501379"/>
              <a:gd name="connsiteY51" fmla="*/ 1781175 h 4429294"/>
              <a:gd name="connsiteX52" fmla="*/ 40469 w 4501379"/>
              <a:gd name="connsiteY52" fmla="*/ 1743075 h 4429294"/>
              <a:gd name="connsiteX53" fmla="*/ 59519 w 4501379"/>
              <a:gd name="connsiteY53" fmla="*/ 1685925 h 4429294"/>
              <a:gd name="connsiteX54" fmla="*/ 69044 w 4501379"/>
              <a:gd name="connsiteY54" fmla="*/ 1638300 h 4429294"/>
              <a:gd name="connsiteX55" fmla="*/ 88094 w 4501379"/>
              <a:gd name="connsiteY55" fmla="*/ 1590675 h 4429294"/>
              <a:gd name="connsiteX56" fmla="*/ 116669 w 4501379"/>
              <a:gd name="connsiteY56" fmla="*/ 1504950 h 4429294"/>
              <a:gd name="connsiteX57" fmla="*/ 135719 w 4501379"/>
              <a:gd name="connsiteY57" fmla="*/ 1419225 h 4429294"/>
              <a:gd name="connsiteX58" fmla="*/ 211919 w 4501379"/>
              <a:gd name="connsiteY58" fmla="*/ 1276350 h 4429294"/>
              <a:gd name="connsiteX59" fmla="*/ 221444 w 4501379"/>
              <a:gd name="connsiteY59" fmla="*/ 1247775 h 4429294"/>
              <a:gd name="connsiteX60" fmla="*/ 250019 w 4501379"/>
              <a:gd name="connsiteY60" fmla="*/ 1200150 h 4429294"/>
              <a:gd name="connsiteX61" fmla="*/ 269069 w 4501379"/>
              <a:gd name="connsiteY61" fmla="*/ 1152525 h 4429294"/>
              <a:gd name="connsiteX62" fmla="*/ 297644 w 4501379"/>
              <a:gd name="connsiteY62" fmla="*/ 1114425 h 4429294"/>
              <a:gd name="connsiteX63" fmla="*/ 345269 w 4501379"/>
              <a:gd name="connsiteY63" fmla="*/ 1038225 h 4429294"/>
              <a:gd name="connsiteX64" fmla="*/ 364319 w 4501379"/>
              <a:gd name="connsiteY64" fmla="*/ 1009650 h 4429294"/>
              <a:gd name="connsiteX65" fmla="*/ 421469 w 4501379"/>
              <a:gd name="connsiteY65" fmla="*/ 904875 h 4429294"/>
              <a:gd name="connsiteX66" fmla="*/ 459569 w 4501379"/>
              <a:gd name="connsiteY66" fmla="*/ 857250 h 4429294"/>
              <a:gd name="connsiteX67" fmla="*/ 478619 w 4501379"/>
              <a:gd name="connsiteY67" fmla="*/ 828675 h 4429294"/>
              <a:gd name="connsiteX68" fmla="*/ 516719 w 4501379"/>
              <a:gd name="connsiteY68" fmla="*/ 800100 h 4429294"/>
              <a:gd name="connsiteX69" fmla="*/ 583394 w 4501379"/>
              <a:gd name="connsiteY69" fmla="*/ 733425 h 4429294"/>
              <a:gd name="connsiteX70" fmla="*/ 650069 w 4501379"/>
              <a:gd name="connsiteY70" fmla="*/ 676275 h 4429294"/>
              <a:gd name="connsiteX71" fmla="*/ 678644 w 4501379"/>
              <a:gd name="connsiteY71" fmla="*/ 657225 h 4429294"/>
              <a:gd name="connsiteX72" fmla="*/ 821519 w 4501379"/>
              <a:gd name="connsiteY72" fmla="*/ 533400 h 4429294"/>
              <a:gd name="connsiteX73" fmla="*/ 869144 w 4501379"/>
              <a:gd name="connsiteY73" fmla="*/ 504825 h 4429294"/>
              <a:gd name="connsiteX74" fmla="*/ 1148544 w 4501379"/>
              <a:gd name="connsiteY74" fmla="*/ 311150 h 4429294"/>
              <a:gd name="connsiteX75" fmla="*/ 1250144 w 4501379"/>
              <a:gd name="connsiteY75" fmla="*/ 285750 h 4429294"/>
              <a:gd name="connsiteX76" fmla="*/ 1393019 w 4501379"/>
              <a:gd name="connsiteY76" fmla="*/ 190500 h 4429294"/>
              <a:gd name="connsiteX77" fmla="*/ 1431119 w 4501379"/>
              <a:gd name="connsiteY77" fmla="*/ 161925 h 4429294"/>
              <a:gd name="connsiteX78" fmla="*/ 1507319 w 4501379"/>
              <a:gd name="connsiteY78" fmla="*/ 152400 h 4429294"/>
              <a:gd name="connsiteX79" fmla="*/ 1564469 w 4501379"/>
              <a:gd name="connsiteY79" fmla="*/ 142875 h 4429294"/>
              <a:gd name="connsiteX80" fmla="*/ 1697819 w 4501379"/>
              <a:gd name="connsiteY80" fmla="*/ 123825 h 4429294"/>
              <a:gd name="connsiteX81" fmla="*/ 1793069 w 4501379"/>
              <a:gd name="connsiteY81" fmla="*/ 114300 h 4429294"/>
              <a:gd name="connsiteX82" fmla="*/ 1840694 w 4501379"/>
              <a:gd name="connsiteY82" fmla="*/ 104775 h 4429294"/>
              <a:gd name="connsiteX83" fmla="*/ 1897844 w 4501379"/>
              <a:gd name="connsiteY83" fmla="*/ 95250 h 4429294"/>
              <a:gd name="connsiteX84" fmla="*/ 2012144 w 4501379"/>
              <a:gd name="connsiteY84" fmla="*/ 66675 h 4429294"/>
              <a:gd name="connsiteX85" fmla="*/ 2078819 w 4501379"/>
              <a:gd name="connsiteY85" fmla="*/ 47625 h 4429294"/>
              <a:gd name="connsiteX86" fmla="*/ 2145494 w 4501379"/>
              <a:gd name="connsiteY86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155144 w 4501379"/>
              <a:gd name="connsiteY4" fmla="*/ 190500 h 4429294"/>
              <a:gd name="connsiteX5" fmla="*/ 3221819 w 4501379"/>
              <a:gd name="connsiteY5" fmla="*/ 228600 h 4429294"/>
              <a:gd name="connsiteX6" fmla="*/ 3250394 w 4501379"/>
              <a:gd name="connsiteY6" fmla="*/ 238125 h 4429294"/>
              <a:gd name="connsiteX7" fmla="*/ 3278969 w 4501379"/>
              <a:gd name="connsiteY7" fmla="*/ 257175 h 4429294"/>
              <a:gd name="connsiteX8" fmla="*/ 3307544 w 4501379"/>
              <a:gd name="connsiteY8" fmla="*/ 266700 h 4429294"/>
              <a:gd name="connsiteX9" fmla="*/ 3336119 w 4501379"/>
              <a:gd name="connsiteY9" fmla="*/ 285750 h 4429294"/>
              <a:gd name="connsiteX10" fmla="*/ 3402794 w 4501379"/>
              <a:gd name="connsiteY10" fmla="*/ 323850 h 4429294"/>
              <a:gd name="connsiteX11" fmla="*/ 3450419 w 4501379"/>
              <a:gd name="connsiteY11" fmla="*/ 361950 h 4429294"/>
              <a:gd name="connsiteX12" fmla="*/ 3498044 w 4501379"/>
              <a:gd name="connsiteY12" fmla="*/ 390525 h 4429294"/>
              <a:gd name="connsiteX13" fmla="*/ 3612344 w 4501379"/>
              <a:gd name="connsiteY13" fmla="*/ 485775 h 4429294"/>
              <a:gd name="connsiteX14" fmla="*/ 3726644 w 4501379"/>
              <a:gd name="connsiteY14" fmla="*/ 542925 h 4429294"/>
              <a:gd name="connsiteX15" fmla="*/ 3793319 w 4501379"/>
              <a:gd name="connsiteY15" fmla="*/ 581025 h 4429294"/>
              <a:gd name="connsiteX16" fmla="*/ 4009219 w 4501379"/>
              <a:gd name="connsiteY16" fmla="*/ 819150 h 4429294"/>
              <a:gd name="connsiteX17" fmla="*/ 4145744 w 4501379"/>
              <a:gd name="connsiteY17" fmla="*/ 990600 h 4429294"/>
              <a:gd name="connsiteX18" fmla="*/ 4231469 w 4501379"/>
              <a:gd name="connsiteY18" fmla="*/ 1143000 h 4429294"/>
              <a:gd name="connsiteX19" fmla="*/ 4288619 w 4501379"/>
              <a:gd name="connsiteY19" fmla="*/ 1266825 h 4429294"/>
              <a:gd name="connsiteX20" fmla="*/ 4326719 w 4501379"/>
              <a:gd name="connsiteY20" fmla="*/ 1362075 h 4429294"/>
              <a:gd name="connsiteX21" fmla="*/ 4374344 w 4501379"/>
              <a:gd name="connsiteY21" fmla="*/ 1552575 h 4429294"/>
              <a:gd name="connsiteX22" fmla="*/ 4412444 w 4501379"/>
              <a:gd name="connsiteY22" fmla="*/ 1685925 h 4429294"/>
              <a:gd name="connsiteX23" fmla="*/ 4501344 w 4501379"/>
              <a:gd name="connsiteY23" fmla="*/ 2181225 h 4429294"/>
              <a:gd name="connsiteX24" fmla="*/ 4428319 w 4501379"/>
              <a:gd name="connsiteY24" fmla="*/ 2768600 h 4429294"/>
              <a:gd name="connsiteX25" fmla="*/ 4364819 w 4501379"/>
              <a:gd name="connsiteY25" fmla="*/ 2990850 h 4429294"/>
              <a:gd name="connsiteX26" fmla="*/ 4260044 w 4501379"/>
              <a:gd name="connsiteY26" fmla="*/ 3248025 h 4429294"/>
              <a:gd name="connsiteX27" fmla="*/ 4164794 w 4501379"/>
              <a:gd name="connsiteY27" fmla="*/ 3400425 h 4429294"/>
              <a:gd name="connsiteX28" fmla="*/ 4040969 w 4501379"/>
              <a:gd name="connsiteY28" fmla="*/ 3533775 h 4429294"/>
              <a:gd name="connsiteX29" fmla="*/ 3936194 w 4501379"/>
              <a:gd name="connsiteY29" fmla="*/ 3648075 h 4429294"/>
              <a:gd name="connsiteX30" fmla="*/ 3640919 w 4501379"/>
              <a:gd name="connsiteY30" fmla="*/ 3971925 h 4429294"/>
              <a:gd name="connsiteX31" fmla="*/ 3498044 w 4501379"/>
              <a:gd name="connsiteY31" fmla="*/ 4083050 h 4429294"/>
              <a:gd name="connsiteX32" fmla="*/ 3202769 w 4501379"/>
              <a:gd name="connsiteY32" fmla="*/ 4222750 h 4429294"/>
              <a:gd name="connsiteX33" fmla="*/ 3050369 w 4501379"/>
              <a:gd name="connsiteY33" fmla="*/ 4286250 h 4429294"/>
              <a:gd name="connsiteX34" fmla="*/ 2917019 w 4501379"/>
              <a:gd name="connsiteY34" fmla="*/ 4333875 h 4429294"/>
              <a:gd name="connsiteX35" fmla="*/ 2793194 w 4501379"/>
              <a:gd name="connsiteY35" fmla="*/ 4371975 h 4429294"/>
              <a:gd name="connsiteX36" fmla="*/ 2561419 w 4501379"/>
              <a:gd name="connsiteY36" fmla="*/ 4391025 h 4429294"/>
              <a:gd name="connsiteX37" fmla="*/ 2107394 w 4501379"/>
              <a:gd name="connsiteY37" fmla="*/ 4429125 h 4429294"/>
              <a:gd name="connsiteX38" fmla="*/ 1916894 w 4501379"/>
              <a:gd name="connsiteY38" fmla="*/ 4400550 h 4429294"/>
              <a:gd name="connsiteX39" fmla="*/ 1554944 w 4501379"/>
              <a:gd name="connsiteY39" fmla="*/ 4305300 h 4429294"/>
              <a:gd name="connsiteX40" fmla="*/ 1313644 w 4501379"/>
              <a:gd name="connsiteY40" fmla="*/ 4216400 h 4429294"/>
              <a:gd name="connsiteX41" fmla="*/ 1145369 w 4501379"/>
              <a:gd name="connsiteY41" fmla="*/ 4111625 h 4429294"/>
              <a:gd name="connsiteX42" fmla="*/ 926294 w 4501379"/>
              <a:gd name="connsiteY42" fmla="*/ 3968750 h 4429294"/>
              <a:gd name="connsiteX43" fmla="*/ 592919 w 4501379"/>
              <a:gd name="connsiteY43" fmla="*/ 3657600 h 4429294"/>
              <a:gd name="connsiteX44" fmla="*/ 446869 w 4501379"/>
              <a:gd name="connsiteY44" fmla="*/ 3470275 h 4429294"/>
              <a:gd name="connsiteX45" fmla="*/ 316694 w 4501379"/>
              <a:gd name="connsiteY45" fmla="*/ 3244850 h 4429294"/>
              <a:gd name="connsiteX46" fmla="*/ 164294 w 4501379"/>
              <a:gd name="connsiteY46" fmla="*/ 2892425 h 4429294"/>
              <a:gd name="connsiteX47" fmla="*/ 56344 w 4501379"/>
              <a:gd name="connsiteY47" fmla="*/ 2368550 h 4429294"/>
              <a:gd name="connsiteX48" fmla="*/ 2369 w 4501379"/>
              <a:gd name="connsiteY48" fmla="*/ 1905000 h 4429294"/>
              <a:gd name="connsiteX49" fmla="*/ 11894 w 4501379"/>
              <a:gd name="connsiteY49" fmla="*/ 1838325 h 4429294"/>
              <a:gd name="connsiteX50" fmla="*/ 30944 w 4501379"/>
              <a:gd name="connsiteY50" fmla="*/ 1781175 h 4429294"/>
              <a:gd name="connsiteX51" fmla="*/ 40469 w 4501379"/>
              <a:gd name="connsiteY51" fmla="*/ 1743075 h 4429294"/>
              <a:gd name="connsiteX52" fmla="*/ 59519 w 4501379"/>
              <a:gd name="connsiteY52" fmla="*/ 1685925 h 4429294"/>
              <a:gd name="connsiteX53" fmla="*/ 69044 w 4501379"/>
              <a:gd name="connsiteY53" fmla="*/ 1638300 h 4429294"/>
              <a:gd name="connsiteX54" fmla="*/ 88094 w 4501379"/>
              <a:gd name="connsiteY54" fmla="*/ 1590675 h 4429294"/>
              <a:gd name="connsiteX55" fmla="*/ 116669 w 4501379"/>
              <a:gd name="connsiteY55" fmla="*/ 1504950 h 4429294"/>
              <a:gd name="connsiteX56" fmla="*/ 135719 w 4501379"/>
              <a:gd name="connsiteY56" fmla="*/ 1419225 h 4429294"/>
              <a:gd name="connsiteX57" fmla="*/ 211919 w 4501379"/>
              <a:gd name="connsiteY57" fmla="*/ 1276350 h 4429294"/>
              <a:gd name="connsiteX58" fmla="*/ 221444 w 4501379"/>
              <a:gd name="connsiteY58" fmla="*/ 1247775 h 4429294"/>
              <a:gd name="connsiteX59" fmla="*/ 250019 w 4501379"/>
              <a:gd name="connsiteY59" fmla="*/ 1200150 h 4429294"/>
              <a:gd name="connsiteX60" fmla="*/ 269069 w 4501379"/>
              <a:gd name="connsiteY60" fmla="*/ 1152525 h 4429294"/>
              <a:gd name="connsiteX61" fmla="*/ 297644 w 4501379"/>
              <a:gd name="connsiteY61" fmla="*/ 1114425 h 4429294"/>
              <a:gd name="connsiteX62" fmla="*/ 345269 w 4501379"/>
              <a:gd name="connsiteY62" fmla="*/ 1038225 h 4429294"/>
              <a:gd name="connsiteX63" fmla="*/ 364319 w 4501379"/>
              <a:gd name="connsiteY63" fmla="*/ 1009650 h 4429294"/>
              <a:gd name="connsiteX64" fmla="*/ 421469 w 4501379"/>
              <a:gd name="connsiteY64" fmla="*/ 904875 h 4429294"/>
              <a:gd name="connsiteX65" fmla="*/ 459569 w 4501379"/>
              <a:gd name="connsiteY65" fmla="*/ 857250 h 4429294"/>
              <a:gd name="connsiteX66" fmla="*/ 478619 w 4501379"/>
              <a:gd name="connsiteY66" fmla="*/ 828675 h 4429294"/>
              <a:gd name="connsiteX67" fmla="*/ 516719 w 4501379"/>
              <a:gd name="connsiteY67" fmla="*/ 800100 h 4429294"/>
              <a:gd name="connsiteX68" fmla="*/ 583394 w 4501379"/>
              <a:gd name="connsiteY68" fmla="*/ 733425 h 4429294"/>
              <a:gd name="connsiteX69" fmla="*/ 650069 w 4501379"/>
              <a:gd name="connsiteY69" fmla="*/ 676275 h 4429294"/>
              <a:gd name="connsiteX70" fmla="*/ 678644 w 4501379"/>
              <a:gd name="connsiteY70" fmla="*/ 657225 h 4429294"/>
              <a:gd name="connsiteX71" fmla="*/ 821519 w 4501379"/>
              <a:gd name="connsiteY71" fmla="*/ 533400 h 4429294"/>
              <a:gd name="connsiteX72" fmla="*/ 869144 w 4501379"/>
              <a:gd name="connsiteY72" fmla="*/ 504825 h 4429294"/>
              <a:gd name="connsiteX73" fmla="*/ 1148544 w 4501379"/>
              <a:gd name="connsiteY73" fmla="*/ 311150 h 4429294"/>
              <a:gd name="connsiteX74" fmla="*/ 1250144 w 4501379"/>
              <a:gd name="connsiteY74" fmla="*/ 285750 h 4429294"/>
              <a:gd name="connsiteX75" fmla="*/ 1393019 w 4501379"/>
              <a:gd name="connsiteY75" fmla="*/ 190500 h 4429294"/>
              <a:gd name="connsiteX76" fmla="*/ 1431119 w 4501379"/>
              <a:gd name="connsiteY76" fmla="*/ 161925 h 4429294"/>
              <a:gd name="connsiteX77" fmla="*/ 1507319 w 4501379"/>
              <a:gd name="connsiteY77" fmla="*/ 152400 h 4429294"/>
              <a:gd name="connsiteX78" fmla="*/ 1564469 w 4501379"/>
              <a:gd name="connsiteY78" fmla="*/ 142875 h 4429294"/>
              <a:gd name="connsiteX79" fmla="*/ 1697819 w 4501379"/>
              <a:gd name="connsiteY79" fmla="*/ 123825 h 4429294"/>
              <a:gd name="connsiteX80" fmla="*/ 1793069 w 4501379"/>
              <a:gd name="connsiteY80" fmla="*/ 114300 h 4429294"/>
              <a:gd name="connsiteX81" fmla="*/ 1840694 w 4501379"/>
              <a:gd name="connsiteY81" fmla="*/ 104775 h 4429294"/>
              <a:gd name="connsiteX82" fmla="*/ 1897844 w 4501379"/>
              <a:gd name="connsiteY82" fmla="*/ 95250 h 4429294"/>
              <a:gd name="connsiteX83" fmla="*/ 2012144 w 4501379"/>
              <a:gd name="connsiteY83" fmla="*/ 66675 h 4429294"/>
              <a:gd name="connsiteX84" fmla="*/ 2078819 w 4501379"/>
              <a:gd name="connsiteY84" fmla="*/ 47625 h 4429294"/>
              <a:gd name="connsiteX85" fmla="*/ 2145494 w 4501379"/>
              <a:gd name="connsiteY85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278969 w 4501379"/>
              <a:gd name="connsiteY6" fmla="*/ 257175 h 4429294"/>
              <a:gd name="connsiteX7" fmla="*/ 3307544 w 4501379"/>
              <a:gd name="connsiteY7" fmla="*/ 266700 h 4429294"/>
              <a:gd name="connsiteX8" fmla="*/ 3336119 w 4501379"/>
              <a:gd name="connsiteY8" fmla="*/ 285750 h 4429294"/>
              <a:gd name="connsiteX9" fmla="*/ 3402794 w 4501379"/>
              <a:gd name="connsiteY9" fmla="*/ 323850 h 4429294"/>
              <a:gd name="connsiteX10" fmla="*/ 3450419 w 4501379"/>
              <a:gd name="connsiteY10" fmla="*/ 361950 h 4429294"/>
              <a:gd name="connsiteX11" fmla="*/ 3498044 w 4501379"/>
              <a:gd name="connsiteY11" fmla="*/ 390525 h 4429294"/>
              <a:gd name="connsiteX12" fmla="*/ 3612344 w 4501379"/>
              <a:gd name="connsiteY12" fmla="*/ 485775 h 4429294"/>
              <a:gd name="connsiteX13" fmla="*/ 3726644 w 4501379"/>
              <a:gd name="connsiteY13" fmla="*/ 542925 h 4429294"/>
              <a:gd name="connsiteX14" fmla="*/ 3793319 w 4501379"/>
              <a:gd name="connsiteY14" fmla="*/ 581025 h 4429294"/>
              <a:gd name="connsiteX15" fmla="*/ 4009219 w 4501379"/>
              <a:gd name="connsiteY15" fmla="*/ 819150 h 4429294"/>
              <a:gd name="connsiteX16" fmla="*/ 4145744 w 4501379"/>
              <a:gd name="connsiteY16" fmla="*/ 990600 h 4429294"/>
              <a:gd name="connsiteX17" fmla="*/ 4231469 w 4501379"/>
              <a:gd name="connsiteY17" fmla="*/ 1143000 h 4429294"/>
              <a:gd name="connsiteX18" fmla="*/ 4288619 w 4501379"/>
              <a:gd name="connsiteY18" fmla="*/ 1266825 h 4429294"/>
              <a:gd name="connsiteX19" fmla="*/ 4326719 w 4501379"/>
              <a:gd name="connsiteY19" fmla="*/ 1362075 h 4429294"/>
              <a:gd name="connsiteX20" fmla="*/ 4374344 w 4501379"/>
              <a:gd name="connsiteY20" fmla="*/ 1552575 h 4429294"/>
              <a:gd name="connsiteX21" fmla="*/ 4412444 w 4501379"/>
              <a:gd name="connsiteY21" fmla="*/ 1685925 h 4429294"/>
              <a:gd name="connsiteX22" fmla="*/ 4501344 w 4501379"/>
              <a:gd name="connsiteY22" fmla="*/ 2181225 h 4429294"/>
              <a:gd name="connsiteX23" fmla="*/ 4428319 w 4501379"/>
              <a:gd name="connsiteY23" fmla="*/ 2768600 h 4429294"/>
              <a:gd name="connsiteX24" fmla="*/ 4364819 w 4501379"/>
              <a:gd name="connsiteY24" fmla="*/ 2990850 h 4429294"/>
              <a:gd name="connsiteX25" fmla="*/ 4260044 w 4501379"/>
              <a:gd name="connsiteY25" fmla="*/ 3248025 h 4429294"/>
              <a:gd name="connsiteX26" fmla="*/ 4164794 w 4501379"/>
              <a:gd name="connsiteY26" fmla="*/ 3400425 h 4429294"/>
              <a:gd name="connsiteX27" fmla="*/ 4040969 w 4501379"/>
              <a:gd name="connsiteY27" fmla="*/ 3533775 h 4429294"/>
              <a:gd name="connsiteX28" fmla="*/ 3936194 w 4501379"/>
              <a:gd name="connsiteY28" fmla="*/ 3648075 h 4429294"/>
              <a:gd name="connsiteX29" fmla="*/ 3640919 w 4501379"/>
              <a:gd name="connsiteY29" fmla="*/ 3971925 h 4429294"/>
              <a:gd name="connsiteX30" fmla="*/ 3498044 w 4501379"/>
              <a:gd name="connsiteY30" fmla="*/ 4083050 h 4429294"/>
              <a:gd name="connsiteX31" fmla="*/ 3202769 w 4501379"/>
              <a:gd name="connsiteY31" fmla="*/ 4222750 h 4429294"/>
              <a:gd name="connsiteX32" fmla="*/ 3050369 w 4501379"/>
              <a:gd name="connsiteY32" fmla="*/ 4286250 h 4429294"/>
              <a:gd name="connsiteX33" fmla="*/ 2917019 w 4501379"/>
              <a:gd name="connsiteY33" fmla="*/ 4333875 h 4429294"/>
              <a:gd name="connsiteX34" fmla="*/ 2793194 w 4501379"/>
              <a:gd name="connsiteY34" fmla="*/ 4371975 h 4429294"/>
              <a:gd name="connsiteX35" fmla="*/ 2561419 w 4501379"/>
              <a:gd name="connsiteY35" fmla="*/ 4391025 h 4429294"/>
              <a:gd name="connsiteX36" fmla="*/ 2107394 w 4501379"/>
              <a:gd name="connsiteY36" fmla="*/ 4429125 h 4429294"/>
              <a:gd name="connsiteX37" fmla="*/ 1916894 w 4501379"/>
              <a:gd name="connsiteY37" fmla="*/ 4400550 h 4429294"/>
              <a:gd name="connsiteX38" fmla="*/ 1554944 w 4501379"/>
              <a:gd name="connsiteY38" fmla="*/ 4305300 h 4429294"/>
              <a:gd name="connsiteX39" fmla="*/ 1313644 w 4501379"/>
              <a:gd name="connsiteY39" fmla="*/ 4216400 h 4429294"/>
              <a:gd name="connsiteX40" fmla="*/ 1145369 w 4501379"/>
              <a:gd name="connsiteY40" fmla="*/ 4111625 h 4429294"/>
              <a:gd name="connsiteX41" fmla="*/ 926294 w 4501379"/>
              <a:gd name="connsiteY41" fmla="*/ 3968750 h 4429294"/>
              <a:gd name="connsiteX42" fmla="*/ 592919 w 4501379"/>
              <a:gd name="connsiteY42" fmla="*/ 3657600 h 4429294"/>
              <a:gd name="connsiteX43" fmla="*/ 446869 w 4501379"/>
              <a:gd name="connsiteY43" fmla="*/ 3470275 h 4429294"/>
              <a:gd name="connsiteX44" fmla="*/ 316694 w 4501379"/>
              <a:gd name="connsiteY44" fmla="*/ 3244850 h 4429294"/>
              <a:gd name="connsiteX45" fmla="*/ 164294 w 4501379"/>
              <a:gd name="connsiteY45" fmla="*/ 2892425 h 4429294"/>
              <a:gd name="connsiteX46" fmla="*/ 56344 w 4501379"/>
              <a:gd name="connsiteY46" fmla="*/ 2368550 h 4429294"/>
              <a:gd name="connsiteX47" fmla="*/ 2369 w 4501379"/>
              <a:gd name="connsiteY47" fmla="*/ 1905000 h 4429294"/>
              <a:gd name="connsiteX48" fmla="*/ 11894 w 4501379"/>
              <a:gd name="connsiteY48" fmla="*/ 1838325 h 4429294"/>
              <a:gd name="connsiteX49" fmla="*/ 30944 w 4501379"/>
              <a:gd name="connsiteY49" fmla="*/ 1781175 h 4429294"/>
              <a:gd name="connsiteX50" fmla="*/ 40469 w 4501379"/>
              <a:gd name="connsiteY50" fmla="*/ 1743075 h 4429294"/>
              <a:gd name="connsiteX51" fmla="*/ 59519 w 4501379"/>
              <a:gd name="connsiteY51" fmla="*/ 1685925 h 4429294"/>
              <a:gd name="connsiteX52" fmla="*/ 69044 w 4501379"/>
              <a:gd name="connsiteY52" fmla="*/ 1638300 h 4429294"/>
              <a:gd name="connsiteX53" fmla="*/ 88094 w 4501379"/>
              <a:gd name="connsiteY53" fmla="*/ 1590675 h 4429294"/>
              <a:gd name="connsiteX54" fmla="*/ 116669 w 4501379"/>
              <a:gd name="connsiteY54" fmla="*/ 1504950 h 4429294"/>
              <a:gd name="connsiteX55" fmla="*/ 135719 w 4501379"/>
              <a:gd name="connsiteY55" fmla="*/ 1419225 h 4429294"/>
              <a:gd name="connsiteX56" fmla="*/ 211919 w 4501379"/>
              <a:gd name="connsiteY56" fmla="*/ 1276350 h 4429294"/>
              <a:gd name="connsiteX57" fmla="*/ 221444 w 4501379"/>
              <a:gd name="connsiteY57" fmla="*/ 1247775 h 4429294"/>
              <a:gd name="connsiteX58" fmla="*/ 250019 w 4501379"/>
              <a:gd name="connsiteY58" fmla="*/ 1200150 h 4429294"/>
              <a:gd name="connsiteX59" fmla="*/ 269069 w 4501379"/>
              <a:gd name="connsiteY59" fmla="*/ 1152525 h 4429294"/>
              <a:gd name="connsiteX60" fmla="*/ 297644 w 4501379"/>
              <a:gd name="connsiteY60" fmla="*/ 1114425 h 4429294"/>
              <a:gd name="connsiteX61" fmla="*/ 345269 w 4501379"/>
              <a:gd name="connsiteY61" fmla="*/ 1038225 h 4429294"/>
              <a:gd name="connsiteX62" fmla="*/ 364319 w 4501379"/>
              <a:gd name="connsiteY62" fmla="*/ 1009650 h 4429294"/>
              <a:gd name="connsiteX63" fmla="*/ 421469 w 4501379"/>
              <a:gd name="connsiteY63" fmla="*/ 904875 h 4429294"/>
              <a:gd name="connsiteX64" fmla="*/ 459569 w 4501379"/>
              <a:gd name="connsiteY64" fmla="*/ 857250 h 4429294"/>
              <a:gd name="connsiteX65" fmla="*/ 478619 w 4501379"/>
              <a:gd name="connsiteY65" fmla="*/ 828675 h 4429294"/>
              <a:gd name="connsiteX66" fmla="*/ 516719 w 4501379"/>
              <a:gd name="connsiteY66" fmla="*/ 800100 h 4429294"/>
              <a:gd name="connsiteX67" fmla="*/ 583394 w 4501379"/>
              <a:gd name="connsiteY67" fmla="*/ 733425 h 4429294"/>
              <a:gd name="connsiteX68" fmla="*/ 650069 w 4501379"/>
              <a:gd name="connsiteY68" fmla="*/ 676275 h 4429294"/>
              <a:gd name="connsiteX69" fmla="*/ 678644 w 4501379"/>
              <a:gd name="connsiteY69" fmla="*/ 657225 h 4429294"/>
              <a:gd name="connsiteX70" fmla="*/ 821519 w 4501379"/>
              <a:gd name="connsiteY70" fmla="*/ 533400 h 4429294"/>
              <a:gd name="connsiteX71" fmla="*/ 869144 w 4501379"/>
              <a:gd name="connsiteY71" fmla="*/ 504825 h 4429294"/>
              <a:gd name="connsiteX72" fmla="*/ 1148544 w 4501379"/>
              <a:gd name="connsiteY72" fmla="*/ 311150 h 4429294"/>
              <a:gd name="connsiteX73" fmla="*/ 1250144 w 4501379"/>
              <a:gd name="connsiteY73" fmla="*/ 285750 h 4429294"/>
              <a:gd name="connsiteX74" fmla="*/ 1393019 w 4501379"/>
              <a:gd name="connsiteY74" fmla="*/ 190500 h 4429294"/>
              <a:gd name="connsiteX75" fmla="*/ 1431119 w 4501379"/>
              <a:gd name="connsiteY75" fmla="*/ 161925 h 4429294"/>
              <a:gd name="connsiteX76" fmla="*/ 1507319 w 4501379"/>
              <a:gd name="connsiteY76" fmla="*/ 152400 h 4429294"/>
              <a:gd name="connsiteX77" fmla="*/ 1564469 w 4501379"/>
              <a:gd name="connsiteY77" fmla="*/ 142875 h 4429294"/>
              <a:gd name="connsiteX78" fmla="*/ 1697819 w 4501379"/>
              <a:gd name="connsiteY78" fmla="*/ 123825 h 4429294"/>
              <a:gd name="connsiteX79" fmla="*/ 1793069 w 4501379"/>
              <a:gd name="connsiteY79" fmla="*/ 114300 h 4429294"/>
              <a:gd name="connsiteX80" fmla="*/ 1840694 w 4501379"/>
              <a:gd name="connsiteY80" fmla="*/ 104775 h 4429294"/>
              <a:gd name="connsiteX81" fmla="*/ 1897844 w 4501379"/>
              <a:gd name="connsiteY81" fmla="*/ 95250 h 4429294"/>
              <a:gd name="connsiteX82" fmla="*/ 2012144 w 4501379"/>
              <a:gd name="connsiteY82" fmla="*/ 66675 h 4429294"/>
              <a:gd name="connsiteX83" fmla="*/ 2078819 w 4501379"/>
              <a:gd name="connsiteY83" fmla="*/ 47625 h 4429294"/>
              <a:gd name="connsiteX84" fmla="*/ 2145494 w 4501379"/>
              <a:gd name="connsiteY84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307544 w 4501379"/>
              <a:gd name="connsiteY6" fmla="*/ 266700 h 4429294"/>
              <a:gd name="connsiteX7" fmla="*/ 3336119 w 4501379"/>
              <a:gd name="connsiteY7" fmla="*/ 285750 h 4429294"/>
              <a:gd name="connsiteX8" fmla="*/ 3402794 w 4501379"/>
              <a:gd name="connsiteY8" fmla="*/ 323850 h 4429294"/>
              <a:gd name="connsiteX9" fmla="*/ 3450419 w 4501379"/>
              <a:gd name="connsiteY9" fmla="*/ 361950 h 4429294"/>
              <a:gd name="connsiteX10" fmla="*/ 3498044 w 4501379"/>
              <a:gd name="connsiteY10" fmla="*/ 390525 h 4429294"/>
              <a:gd name="connsiteX11" fmla="*/ 3612344 w 4501379"/>
              <a:gd name="connsiteY11" fmla="*/ 485775 h 4429294"/>
              <a:gd name="connsiteX12" fmla="*/ 3726644 w 4501379"/>
              <a:gd name="connsiteY12" fmla="*/ 542925 h 4429294"/>
              <a:gd name="connsiteX13" fmla="*/ 3793319 w 4501379"/>
              <a:gd name="connsiteY13" fmla="*/ 581025 h 4429294"/>
              <a:gd name="connsiteX14" fmla="*/ 4009219 w 4501379"/>
              <a:gd name="connsiteY14" fmla="*/ 819150 h 4429294"/>
              <a:gd name="connsiteX15" fmla="*/ 4145744 w 4501379"/>
              <a:gd name="connsiteY15" fmla="*/ 990600 h 4429294"/>
              <a:gd name="connsiteX16" fmla="*/ 4231469 w 4501379"/>
              <a:gd name="connsiteY16" fmla="*/ 1143000 h 4429294"/>
              <a:gd name="connsiteX17" fmla="*/ 4288619 w 4501379"/>
              <a:gd name="connsiteY17" fmla="*/ 1266825 h 4429294"/>
              <a:gd name="connsiteX18" fmla="*/ 4326719 w 4501379"/>
              <a:gd name="connsiteY18" fmla="*/ 1362075 h 4429294"/>
              <a:gd name="connsiteX19" fmla="*/ 4374344 w 4501379"/>
              <a:gd name="connsiteY19" fmla="*/ 1552575 h 4429294"/>
              <a:gd name="connsiteX20" fmla="*/ 4412444 w 4501379"/>
              <a:gd name="connsiteY20" fmla="*/ 1685925 h 4429294"/>
              <a:gd name="connsiteX21" fmla="*/ 4501344 w 4501379"/>
              <a:gd name="connsiteY21" fmla="*/ 2181225 h 4429294"/>
              <a:gd name="connsiteX22" fmla="*/ 4428319 w 4501379"/>
              <a:gd name="connsiteY22" fmla="*/ 2768600 h 4429294"/>
              <a:gd name="connsiteX23" fmla="*/ 4364819 w 4501379"/>
              <a:gd name="connsiteY23" fmla="*/ 2990850 h 4429294"/>
              <a:gd name="connsiteX24" fmla="*/ 4260044 w 4501379"/>
              <a:gd name="connsiteY24" fmla="*/ 3248025 h 4429294"/>
              <a:gd name="connsiteX25" fmla="*/ 4164794 w 4501379"/>
              <a:gd name="connsiteY25" fmla="*/ 3400425 h 4429294"/>
              <a:gd name="connsiteX26" fmla="*/ 4040969 w 4501379"/>
              <a:gd name="connsiteY26" fmla="*/ 3533775 h 4429294"/>
              <a:gd name="connsiteX27" fmla="*/ 3936194 w 4501379"/>
              <a:gd name="connsiteY27" fmla="*/ 3648075 h 4429294"/>
              <a:gd name="connsiteX28" fmla="*/ 3640919 w 4501379"/>
              <a:gd name="connsiteY28" fmla="*/ 3971925 h 4429294"/>
              <a:gd name="connsiteX29" fmla="*/ 3498044 w 4501379"/>
              <a:gd name="connsiteY29" fmla="*/ 4083050 h 4429294"/>
              <a:gd name="connsiteX30" fmla="*/ 3202769 w 4501379"/>
              <a:gd name="connsiteY30" fmla="*/ 4222750 h 4429294"/>
              <a:gd name="connsiteX31" fmla="*/ 3050369 w 4501379"/>
              <a:gd name="connsiteY31" fmla="*/ 4286250 h 4429294"/>
              <a:gd name="connsiteX32" fmla="*/ 2917019 w 4501379"/>
              <a:gd name="connsiteY32" fmla="*/ 4333875 h 4429294"/>
              <a:gd name="connsiteX33" fmla="*/ 2793194 w 4501379"/>
              <a:gd name="connsiteY33" fmla="*/ 4371975 h 4429294"/>
              <a:gd name="connsiteX34" fmla="*/ 2561419 w 4501379"/>
              <a:gd name="connsiteY34" fmla="*/ 4391025 h 4429294"/>
              <a:gd name="connsiteX35" fmla="*/ 2107394 w 4501379"/>
              <a:gd name="connsiteY35" fmla="*/ 4429125 h 4429294"/>
              <a:gd name="connsiteX36" fmla="*/ 1916894 w 4501379"/>
              <a:gd name="connsiteY36" fmla="*/ 4400550 h 4429294"/>
              <a:gd name="connsiteX37" fmla="*/ 1554944 w 4501379"/>
              <a:gd name="connsiteY37" fmla="*/ 4305300 h 4429294"/>
              <a:gd name="connsiteX38" fmla="*/ 1313644 w 4501379"/>
              <a:gd name="connsiteY38" fmla="*/ 4216400 h 4429294"/>
              <a:gd name="connsiteX39" fmla="*/ 1145369 w 4501379"/>
              <a:gd name="connsiteY39" fmla="*/ 4111625 h 4429294"/>
              <a:gd name="connsiteX40" fmla="*/ 926294 w 4501379"/>
              <a:gd name="connsiteY40" fmla="*/ 3968750 h 4429294"/>
              <a:gd name="connsiteX41" fmla="*/ 592919 w 4501379"/>
              <a:gd name="connsiteY41" fmla="*/ 3657600 h 4429294"/>
              <a:gd name="connsiteX42" fmla="*/ 446869 w 4501379"/>
              <a:gd name="connsiteY42" fmla="*/ 3470275 h 4429294"/>
              <a:gd name="connsiteX43" fmla="*/ 316694 w 4501379"/>
              <a:gd name="connsiteY43" fmla="*/ 3244850 h 4429294"/>
              <a:gd name="connsiteX44" fmla="*/ 164294 w 4501379"/>
              <a:gd name="connsiteY44" fmla="*/ 2892425 h 4429294"/>
              <a:gd name="connsiteX45" fmla="*/ 56344 w 4501379"/>
              <a:gd name="connsiteY45" fmla="*/ 2368550 h 4429294"/>
              <a:gd name="connsiteX46" fmla="*/ 2369 w 4501379"/>
              <a:gd name="connsiteY46" fmla="*/ 1905000 h 4429294"/>
              <a:gd name="connsiteX47" fmla="*/ 11894 w 4501379"/>
              <a:gd name="connsiteY47" fmla="*/ 1838325 h 4429294"/>
              <a:gd name="connsiteX48" fmla="*/ 30944 w 4501379"/>
              <a:gd name="connsiteY48" fmla="*/ 1781175 h 4429294"/>
              <a:gd name="connsiteX49" fmla="*/ 40469 w 4501379"/>
              <a:gd name="connsiteY49" fmla="*/ 1743075 h 4429294"/>
              <a:gd name="connsiteX50" fmla="*/ 59519 w 4501379"/>
              <a:gd name="connsiteY50" fmla="*/ 1685925 h 4429294"/>
              <a:gd name="connsiteX51" fmla="*/ 69044 w 4501379"/>
              <a:gd name="connsiteY51" fmla="*/ 1638300 h 4429294"/>
              <a:gd name="connsiteX52" fmla="*/ 88094 w 4501379"/>
              <a:gd name="connsiteY52" fmla="*/ 1590675 h 4429294"/>
              <a:gd name="connsiteX53" fmla="*/ 116669 w 4501379"/>
              <a:gd name="connsiteY53" fmla="*/ 1504950 h 4429294"/>
              <a:gd name="connsiteX54" fmla="*/ 135719 w 4501379"/>
              <a:gd name="connsiteY54" fmla="*/ 1419225 h 4429294"/>
              <a:gd name="connsiteX55" fmla="*/ 211919 w 4501379"/>
              <a:gd name="connsiteY55" fmla="*/ 1276350 h 4429294"/>
              <a:gd name="connsiteX56" fmla="*/ 221444 w 4501379"/>
              <a:gd name="connsiteY56" fmla="*/ 1247775 h 4429294"/>
              <a:gd name="connsiteX57" fmla="*/ 250019 w 4501379"/>
              <a:gd name="connsiteY57" fmla="*/ 1200150 h 4429294"/>
              <a:gd name="connsiteX58" fmla="*/ 269069 w 4501379"/>
              <a:gd name="connsiteY58" fmla="*/ 1152525 h 4429294"/>
              <a:gd name="connsiteX59" fmla="*/ 297644 w 4501379"/>
              <a:gd name="connsiteY59" fmla="*/ 1114425 h 4429294"/>
              <a:gd name="connsiteX60" fmla="*/ 345269 w 4501379"/>
              <a:gd name="connsiteY60" fmla="*/ 1038225 h 4429294"/>
              <a:gd name="connsiteX61" fmla="*/ 364319 w 4501379"/>
              <a:gd name="connsiteY61" fmla="*/ 1009650 h 4429294"/>
              <a:gd name="connsiteX62" fmla="*/ 421469 w 4501379"/>
              <a:gd name="connsiteY62" fmla="*/ 904875 h 4429294"/>
              <a:gd name="connsiteX63" fmla="*/ 459569 w 4501379"/>
              <a:gd name="connsiteY63" fmla="*/ 857250 h 4429294"/>
              <a:gd name="connsiteX64" fmla="*/ 478619 w 4501379"/>
              <a:gd name="connsiteY64" fmla="*/ 828675 h 4429294"/>
              <a:gd name="connsiteX65" fmla="*/ 516719 w 4501379"/>
              <a:gd name="connsiteY65" fmla="*/ 800100 h 4429294"/>
              <a:gd name="connsiteX66" fmla="*/ 583394 w 4501379"/>
              <a:gd name="connsiteY66" fmla="*/ 733425 h 4429294"/>
              <a:gd name="connsiteX67" fmla="*/ 650069 w 4501379"/>
              <a:gd name="connsiteY67" fmla="*/ 676275 h 4429294"/>
              <a:gd name="connsiteX68" fmla="*/ 678644 w 4501379"/>
              <a:gd name="connsiteY68" fmla="*/ 657225 h 4429294"/>
              <a:gd name="connsiteX69" fmla="*/ 821519 w 4501379"/>
              <a:gd name="connsiteY69" fmla="*/ 533400 h 4429294"/>
              <a:gd name="connsiteX70" fmla="*/ 869144 w 4501379"/>
              <a:gd name="connsiteY70" fmla="*/ 504825 h 4429294"/>
              <a:gd name="connsiteX71" fmla="*/ 1148544 w 4501379"/>
              <a:gd name="connsiteY71" fmla="*/ 311150 h 4429294"/>
              <a:gd name="connsiteX72" fmla="*/ 1250144 w 4501379"/>
              <a:gd name="connsiteY72" fmla="*/ 285750 h 4429294"/>
              <a:gd name="connsiteX73" fmla="*/ 1393019 w 4501379"/>
              <a:gd name="connsiteY73" fmla="*/ 190500 h 4429294"/>
              <a:gd name="connsiteX74" fmla="*/ 1431119 w 4501379"/>
              <a:gd name="connsiteY74" fmla="*/ 161925 h 4429294"/>
              <a:gd name="connsiteX75" fmla="*/ 1507319 w 4501379"/>
              <a:gd name="connsiteY75" fmla="*/ 152400 h 4429294"/>
              <a:gd name="connsiteX76" fmla="*/ 1564469 w 4501379"/>
              <a:gd name="connsiteY76" fmla="*/ 142875 h 4429294"/>
              <a:gd name="connsiteX77" fmla="*/ 1697819 w 4501379"/>
              <a:gd name="connsiteY77" fmla="*/ 123825 h 4429294"/>
              <a:gd name="connsiteX78" fmla="*/ 1793069 w 4501379"/>
              <a:gd name="connsiteY78" fmla="*/ 114300 h 4429294"/>
              <a:gd name="connsiteX79" fmla="*/ 1840694 w 4501379"/>
              <a:gd name="connsiteY79" fmla="*/ 104775 h 4429294"/>
              <a:gd name="connsiteX80" fmla="*/ 1897844 w 4501379"/>
              <a:gd name="connsiteY80" fmla="*/ 95250 h 4429294"/>
              <a:gd name="connsiteX81" fmla="*/ 2012144 w 4501379"/>
              <a:gd name="connsiteY81" fmla="*/ 66675 h 4429294"/>
              <a:gd name="connsiteX82" fmla="*/ 2078819 w 4501379"/>
              <a:gd name="connsiteY82" fmla="*/ 47625 h 4429294"/>
              <a:gd name="connsiteX83" fmla="*/ 2145494 w 4501379"/>
              <a:gd name="connsiteY83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250394 w 4501379"/>
              <a:gd name="connsiteY5" fmla="*/ 238125 h 4429294"/>
              <a:gd name="connsiteX6" fmla="*/ 3307544 w 4501379"/>
              <a:gd name="connsiteY6" fmla="*/ 266700 h 4429294"/>
              <a:gd name="connsiteX7" fmla="*/ 3402794 w 4501379"/>
              <a:gd name="connsiteY7" fmla="*/ 323850 h 4429294"/>
              <a:gd name="connsiteX8" fmla="*/ 3450419 w 4501379"/>
              <a:gd name="connsiteY8" fmla="*/ 361950 h 4429294"/>
              <a:gd name="connsiteX9" fmla="*/ 3498044 w 4501379"/>
              <a:gd name="connsiteY9" fmla="*/ 390525 h 4429294"/>
              <a:gd name="connsiteX10" fmla="*/ 3612344 w 4501379"/>
              <a:gd name="connsiteY10" fmla="*/ 485775 h 4429294"/>
              <a:gd name="connsiteX11" fmla="*/ 3726644 w 4501379"/>
              <a:gd name="connsiteY11" fmla="*/ 542925 h 4429294"/>
              <a:gd name="connsiteX12" fmla="*/ 3793319 w 4501379"/>
              <a:gd name="connsiteY12" fmla="*/ 581025 h 4429294"/>
              <a:gd name="connsiteX13" fmla="*/ 4009219 w 4501379"/>
              <a:gd name="connsiteY13" fmla="*/ 819150 h 4429294"/>
              <a:gd name="connsiteX14" fmla="*/ 4145744 w 4501379"/>
              <a:gd name="connsiteY14" fmla="*/ 990600 h 4429294"/>
              <a:gd name="connsiteX15" fmla="*/ 4231469 w 4501379"/>
              <a:gd name="connsiteY15" fmla="*/ 1143000 h 4429294"/>
              <a:gd name="connsiteX16" fmla="*/ 4288619 w 4501379"/>
              <a:gd name="connsiteY16" fmla="*/ 1266825 h 4429294"/>
              <a:gd name="connsiteX17" fmla="*/ 4326719 w 4501379"/>
              <a:gd name="connsiteY17" fmla="*/ 1362075 h 4429294"/>
              <a:gd name="connsiteX18" fmla="*/ 4374344 w 4501379"/>
              <a:gd name="connsiteY18" fmla="*/ 1552575 h 4429294"/>
              <a:gd name="connsiteX19" fmla="*/ 4412444 w 4501379"/>
              <a:gd name="connsiteY19" fmla="*/ 1685925 h 4429294"/>
              <a:gd name="connsiteX20" fmla="*/ 4501344 w 4501379"/>
              <a:gd name="connsiteY20" fmla="*/ 2181225 h 4429294"/>
              <a:gd name="connsiteX21" fmla="*/ 4428319 w 4501379"/>
              <a:gd name="connsiteY21" fmla="*/ 2768600 h 4429294"/>
              <a:gd name="connsiteX22" fmla="*/ 4364819 w 4501379"/>
              <a:gd name="connsiteY22" fmla="*/ 2990850 h 4429294"/>
              <a:gd name="connsiteX23" fmla="*/ 4260044 w 4501379"/>
              <a:gd name="connsiteY23" fmla="*/ 3248025 h 4429294"/>
              <a:gd name="connsiteX24" fmla="*/ 4164794 w 4501379"/>
              <a:gd name="connsiteY24" fmla="*/ 3400425 h 4429294"/>
              <a:gd name="connsiteX25" fmla="*/ 4040969 w 4501379"/>
              <a:gd name="connsiteY25" fmla="*/ 3533775 h 4429294"/>
              <a:gd name="connsiteX26" fmla="*/ 3936194 w 4501379"/>
              <a:gd name="connsiteY26" fmla="*/ 3648075 h 4429294"/>
              <a:gd name="connsiteX27" fmla="*/ 3640919 w 4501379"/>
              <a:gd name="connsiteY27" fmla="*/ 3971925 h 4429294"/>
              <a:gd name="connsiteX28" fmla="*/ 3498044 w 4501379"/>
              <a:gd name="connsiteY28" fmla="*/ 4083050 h 4429294"/>
              <a:gd name="connsiteX29" fmla="*/ 3202769 w 4501379"/>
              <a:gd name="connsiteY29" fmla="*/ 4222750 h 4429294"/>
              <a:gd name="connsiteX30" fmla="*/ 3050369 w 4501379"/>
              <a:gd name="connsiteY30" fmla="*/ 4286250 h 4429294"/>
              <a:gd name="connsiteX31" fmla="*/ 2917019 w 4501379"/>
              <a:gd name="connsiteY31" fmla="*/ 4333875 h 4429294"/>
              <a:gd name="connsiteX32" fmla="*/ 2793194 w 4501379"/>
              <a:gd name="connsiteY32" fmla="*/ 4371975 h 4429294"/>
              <a:gd name="connsiteX33" fmla="*/ 2561419 w 4501379"/>
              <a:gd name="connsiteY33" fmla="*/ 4391025 h 4429294"/>
              <a:gd name="connsiteX34" fmla="*/ 2107394 w 4501379"/>
              <a:gd name="connsiteY34" fmla="*/ 4429125 h 4429294"/>
              <a:gd name="connsiteX35" fmla="*/ 1916894 w 4501379"/>
              <a:gd name="connsiteY35" fmla="*/ 4400550 h 4429294"/>
              <a:gd name="connsiteX36" fmla="*/ 1554944 w 4501379"/>
              <a:gd name="connsiteY36" fmla="*/ 4305300 h 4429294"/>
              <a:gd name="connsiteX37" fmla="*/ 1313644 w 4501379"/>
              <a:gd name="connsiteY37" fmla="*/ 4216400 h 4429294"/>
              <a:gd name="connsiteX38" fmla="*/ 1145369 w 4501379"/>
              <a:gd name="connsiteY38" fmla="*/ 4111625 h 4429294"/>
              <a:gd name="connsiteX39" fmla="*/ 926294 w 4501379"/>
              <a:gd name="connsiteY39" fmla="*/ 3968750 h 4429294"/>
              <a:gd name="connsiteX40" fmla="*/ 592919 w 4501379"/>
              <a:gd name="connsiteY40" fmla="*/ 3657600 h 4429294"/>
              <a:gd name="connsiteX41" fmla="*/ 446869 w 4501379"/>
              <a:gd name="connsiteY41" fmla="*/ 3470275 h 4429294"/>
              <a:gd name="connsiteX42" fmla="*/ 316694 w 4501379"/>
              <a:gd name="connsiteY42" fmla="*/ 3244850 h 4429294"/>
              <a:gd name="connsiteX43" fmla="*/ 164294 w 4501379"/>
              <a:gd name="connsiteY43" fmla="*/ 2892425 h 4429294"/>
              <a:gd name="connsiteX44" fmla="*/ 56344 w 4501379"/>
              <a:gd name="connsiteY44" fmla="*/ 2368550 h 4429294"/>
              <a:gd name="connsiteX45" fmla="*/ 2369 w 4501379"/>
              <a:gd name="connsiteY45" fmla="*/ 1905000 h 4429294"/>
              <a:gd name="connsiteX46" fmla="*/ 11894 w 4501379"/>
              <a:gd name="connsiteY46" fmla="*/ 1838325 h 4429294"/>
              <a:gd name="connsiteX47" fmla="*/ 30944 w 4501379"/>
              <a:gd name="connsiteY47" fmla="*/ 1781175 h 4429294"/>
              <a:gd name="connsiteX48" fmla="*/ 40469 w 4501379"/>
              <a:gd name="connsiteY48" fmla="*/ 1743075 h 4429294"/>
              <a:gd name="connsiteX49" fmla="*/ 59519 w 4501379"/>
              <a:gd name="connsiteY49" fmla="*/ 1685925 h 4429294"/>
              <a:gd name="connsiteX50" fmla="*/ 69044 w 4501379"/>
              <a:gd name="connsiteY50" fmla="*/ 1638300 h 4429294"/>
              <a:gd name="connsiteX51" fmla="*/ 88094 w 4501379"/>
              <a:gd name="connsiteY51" fmla="*/ 1590675 h 4429294"/>
              <a:gd name="connsiteX52" fmla="*/ 116669 w 4501379"/>
              <a:gd name="connsiteY52" fmla="*/ 1504950 h 4429294"/>
              <a:gd name="connsiteX53" fmla="*/ 135719 w 4501379"/>
              <a:gd name="connsiteY53" fmla="*/ 1419225 h 4429294"/>
              <a:gd name="connsiteX54" fmla="*/ 211919 w 4501379"/>
              <a:gd name="connsiteY54" fmla="*/ 1276350 h 4429294"/>
              <a:gd name="connsiteX55" fmla="*/ 221444 w 4501379"/>
              <a:gd name="connsiteY55" fmla="*/ 1247775 h 4429294"/>
              <a:gd name="connsiteX56" fmla="*/ 250019 w 4501379"/>
              <a:gd name="connsiteY56" fmla="*/ 1200150 h 4429294"/>
              <a:gd name="connsiteX57" fmla="*/ 269069 w 4501379"/>
              <a:gd name="connsiteY57" fmla="*/ 1152525 h 4429294"/>
              <a:gd name="connsiteX58" fmla="*/ 297644 w 4501379"/>
              <a:gd name="connsiteY58" fmla="*/ 1114425 h 4429294"/>
              <a:gd name="connsiteX59" fmla="*/ 345269 w 4501379"/>
              <a:gd name="connsiteY59" fmla="*/ 1038225 h 4429294"/>
              <a:gd name="connsiteX60" fmla="*/ 364319 w 4501379"/>
              <a:gd name="connsiteY60" fmla="*/ 1009650 h 4429294"/>
              <a:gd name="connsiteX61" fmla="*/ 421469 w 4501379"/>
              <a:gd name="connsiteY61" fmla="*/ 904875 h 4429294"/>
              <a:gd name="connsiteX62" fmla="*/ 459569 w 4501379"/>
              <a:gd name="connsiteY62" fmla="*/ 857250 h 4429294"/>
              <a:gd name="connsiteX63" fmla="*/ 478619 w 4501379"/>
              <a:gd name="connsiteY63" fmla="*/ 828675 h 4429294"/>
              <a:gd name="connsiteX64" fmla="*/ 516719 w 4501379"/>
              <a:gd name="connsiteY64" fmla="*/ 800100 h 4429294"/>
              <a:gd name="connsiteX65" fmla="*/ 583394 w 4501379"/>
              <a:gd name="connsiteY65" fmla="*/ 733425 h 4429294"/>
              <a:gd name="connsiteX66" fmla="*/ 650069 w 4501379"/>
              <a:gd name="connsiteY66" fmla="*/ 676275 h 4429294"/>
              <a:gd name="connsiteX67" fmla="*/ 678644 w 4501379"/>
              <a:gd name="connsiteY67" fmla="*/ 657225 h 4429294"/>
              <a:gd name="connsiteX68" fmla="*/ 821519 w 4501379"/>
              <a:gd name="connsiteY68" fmla="*/ 533400 h 4429294"/>
              <a:gd name="connsiteX69" fmla="*/ 869144 w 4501379"/>
              <a:gd name="connsiteY69" fmla="*/ 504825 h 4429294"/>
              <a:gd name="connsiteX70" fmla="*/ 1148544 w 4501379"/>
              <a:gd name="connsiteY70" fmla="*/ 311150 h 4429294"/>
              <a:gd name="connsiteX71" fmla="*/ 1250144 w 4501379"/>
              <a:gd name="connsiteY71" fmla="*/ 285750 h 4429294"/>
              <a:gd name="connsiteX72" fmla="*/ 1393019 w 4501379"/>
              <a:gd name="connsiteY72" fmla="*/ 190500 h 4429294"/>
              <a:gd name="connsiteX73" fmla="*/ 1431119 w 4501379"/>
              <a:gd name="connsiteY73" fmla="*/ 161925 h 4429294"/>
              <a:gd name="connsiteX74" fmla="*/ 1507319 w 4501379"/>
              <a:gd name="connsiteY74" fmla="*/ 152400 h 4429294"/>
              <a:gd name="connsiteX75" fmla="*/ 1564469 w 4501379"/>
              <a:gd name="connsiteY75" fmla="*/ 142875 h 4429294"/>
              <a:gd name="connsiteX76" fmla="*/ 1697819 w 4501379"/>
              <a:gd name="connsiteY76" fmla="*/ 123825 h 4429294"/>
              <a:gd name="connsiteX77" fmla="*/ 1793069 w 4501379"/>
              <a:gd name="connsiteY77" fmla="*/ 114300 h 4429294"/>
              <a:gd name="connsiteX78" fmla="*/ 1840694 w 4501379"/>
              <a:gd name="connsiteY78" fmla="*/ 104775 h 4429294"/>
              <a:gd name="connsiteX79" fmla="*/ 1897844 w 4501379"/>
              <a:gd name="connsiteY79" fmla="*/ 95250 h 4429294"/>
              <a:gd name="connsiteX80" fmla="*/ 2012144 w 4501379"/>
              <a:gd name="connsiteY80" fmla="*/ 66675 h 4429294"/>
              <a:gd name="connsiteX81" fmla="*/ 2078819 w 4501379"/>
              <a:gd name="connsiteY81" fmla="*/ 47625 h 4429294"/>
              <a:gd name="connsiteX82" fmla="*/ 2145494 w 4501379"/>
              <a:gd name="connsiteY82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307544 w 4501379"/>
              <a:gd name="connsiteY5" fmla="*/ 266700 h 4429294"/>
              <a:gd name="connsiteX6" fmla="*/ 3402794 w 4501379"/>
              <a:gd name="connsiteY6" fmla="*/ 323850 h 4429294"/>
              <a:gd name="connsiteX7" fmla="*/ 3450419 w 4501379"/>
              <a:gd name="connsiteY7" fmla="*/ 361950 h 4429294"/>
              <a:gd name="connsiteX8" fmla="*/ 3498044 w 4501379"/>
              <a:gd name="connsiteY8" fmla="*/ 390525 h 4429294"/>
              <a:gd name="connsiteX9" fmla="*/ 3612344 w 4501379"/>
              <a:gd name="connsiteY9" fmla="*/ 485775 h 4429294"/>
              <a:gd name="connsiteX10" fmla="*/ 3726644 w 4501379"/>
              <a:gd name="connsiteY10" fmla="*/ 542925 h 4429294"/>
              <a:gd name="connsiteX11" fmla="*/ 3793319 w 4501379"/>
              <a:gd name="connsiteY11" fmla="*/ 581025 h 4429294"/>
              <a:gd name="connsiteX12" fmla="*/ 4009219 w 4501379"/>
              <a:gd name="connsiteY12" fmla="*/ 819150 h 4429294"/>
              <a:gd name="connsiteX13" fmla="*/ 4145744 w 4501379"/>
              <a:gd name="connsiteY13" fmla="*/ 990600 h 4429294"/>
              <a:gd name="connsiteX14" fmla="*/ 4231469 w 4501379"/>
              <a:gd name="connsiteY14" fmla="*/ 1143000 h 4429294"/>
              <a:gd name="connsiteX15" fmla="*/ 4288619 w 4501379"/>
              <a:gd name="connsiteY15" fmla="*/ 1266825 h 4429294"/>
              <a:gd name="connsiteX16" fmla="*/ 4326719 w 4501379"/>
              <a:gd name="connsiteY16" fmla="*/ 1362075 h 4429294"/>
              <a:gd name="connsiteX17" fmla="*/ 4374344 w 4501379"/>
              <a:gd name="connsiteY17" fmla="*/ 1552575 h 4429294"/>
              <a:gd name="connsiteX18" fmla="*/ 4412444 w 4501379"/>
              <a:gd name="connsiteY18" fmla="*/ 1685925 h 4429294"/>
              <a:gd name="connsiteX19" fmla="*/ 4501344 w 4501379"/>
              <a:gd name="connsiteY19" fmla="*/ 2181225 h 4429294"/>
              <a:gd name="connsiteX20" fmla="*/ 4428319 w 4501379"/>
              <a:gd name="connsiteY20" fmla="*/ 2768600 h 4429294"/>
              <a:gd name="connsiteX21" fmla="*/ 4364819 w 4501379"/>
              <a:gd name="connsiteY21" fmla="*/ 2990850 h 4429294"/>
              <a:gd name="connsiteX22" fmla="*/ 4260044 w 4501379"/>
              <a:gd name="connsiteY22" fmla="*/ 3248025 h 4429294"/>
              <a:gd name="connsiteX23" fmla="*/ 4164794 w 4501379"/>
              <a:gd name="connsiteY23" fmla="*/ 3400425 h 4429294"/>
              <a:gd name="connsiteX24" fmla="*/ 4040969 w 4501379"/>
              <a:gd name="connsiteY24" fmla="*/ 3533775 h 4429294"/>
              <a:gd name="connsiteX25" fmla="*/ 3936194 w 4501379"/>
              <a:gd name="connsiteY25" fmla="*/ 3648075 h 4429294"/>
              <a:gd name="connsiteX26" fmla="*/ 3640919 w 4501379"/>
              <a:gd name="connsiteY26" fmla="*/ 3971925 h 4429294"/>
              <a:gd name="connsiteX27" fmla="*/ 3498044 w 4501379"/>
              <a:gd name="connsiteY27" fmla="*/ 4083050 h 4429294"/>
              <a:gd name="connsiteX28" fmla="*/ 3202769 w 4501379"/>
              <a:gd name="connsiteY28" fmla="*/ 4222750 h 4429294"/>
              <a:gd name="connsiteX29" fmla="*/ 3050369 w 4501379"/>
              <a:gd name="connsiteY29" fmla="*/ 4286250 h 4429294"/>
              <a:gd name="connsiteX30" fmla="*/ 2917019 w 4501379"/>
              <a:gd name="connsiteY30" fmla="*/ 4333875 h 4429294"/>
              <a:gd name="connsiteX31" fmla="*/ 2793194 w 4501379"/>
              <a:gd name="connsiteY31" fmla="*/ 4371975 h 4429294"/>
              <a:gd name="connsiteX32" fmla="*/ 2561419 w 4501379"/>
              <a:gd name="connsiteY32" fmla="*/ 4391025 h 4429294"/>
              <a:gd name="connsiteX33" fmla="*/ 2107394 w 4501379"/>
              <a:gd name="connsiteY33" fmla="*/ 4429125 h 4429294"/>
              <a:gd name="connsiteX34" fmla="*/ 1916894 w 4501379"/>
              <a:gd name="connsiteY34" fmla="*/ 4400550 h 4429294"/>
              <a:gd name="connsiteX35" fmla="*/ 1554944 w 4501379"/>
              <a:gd name="connsiteY35" fmla="*/ 4305300 h 4429294"/>
              <a:gd name="connsiteX36" fmla="*/ 1313644 w 4501379"/>
              <a:gd name="connsiteY36" fmla="*/ 4216400 h 4429294"/>
              <a:gd name="connsiteX37" fmla="*/ 1145369 w 4501379"/>
              <a:gd name="connsiteY37" fmla="*/ 4111625 h 4429294"/>
              <a:gd name="connsiteX38" fmla="*/ 926294 w 4501379"/>
              <a:gd name="connsiteY38" fmla="*/ 3968750 h 4429294"/>
              <a:gd name="connsiteX39" fmla="*/ 592919 w 4501379"/>
              <a:gd name="connsiteY39" fmla="*/ 3657600 h 4429294"/>
              <a:gd name="connsiteX40" fmla="*/ 446869 w 4501379"/>
              <a:gd name="connsiteY40" fmla="*/ 3470275 h 4429294"/>
              <a:gd name="connsiteX41" fmla="*/ 316694 w 4501379"/>
              <a:gd name="connsiteY41" fmla="*/ 3244850 h 4429294"/>
              <a:gd name="connsiteX42" fmla="*/ 164294 w 4501379"/>
              <a:gd name="connsiteY42" fmla="*/ 2892425 h 4429294"/>
              <a:gd name="connsiteX43" fmla="*/ 56344 w 4501379"/>
              <a:gd name="connsiteY43" fmla="*/ 2368550 h 4429294"/>
              <a:gd name="connsiteX44" fmla="*/ 2369 w 4501379"/>
              <a:gd name="connsiteY44" fmla="*/ 1905000 h 4429294"/>
              <a:gd name="connsiteX45" fmla="*/ 11894 w 4501379"/>
              <a:gd name="connsiteY45" fmla="*/ 1838325 h 4429294"/>
              <a:gd name="connsiteX46" fmla="*/ 30944 w 4501379"/>
              <a:gd name="connsiteY46" fmla="*/ 1781175 h 4429294"/>
              <a:gd name="connsiteX47" fmla="*/ 40469 w 4501379"/>
              <a:gd name="connsiteY47" fmla="*/ 1743075 h 4429294"/>
              <a:gd name="connsiteX48" fmla="*/ 59519 w 4501379"/>
              <a:gd name="connsiteY48" fmla="*/ 1685925 h 4429294"/>
              <a:gd name="connsiteX49" fmla="*/ 69044 w 4501379"/>
              <a:gd name="connsiteY49" fmla="*/ 1638300 h 4429294"/>
              <a:gd name="connsiteX50" fmla="*/ 88094 w 4501379"/>
              <a:gd name="connsiteY50" fmla="*/ 1590675 h 4429294"/>
              <a:gd name="connsiteX51" fmla="*/ 116669 w 4501379"/>
              <a:gd name="connsiteY51" fmla="*/ 1504950 h 4429294"/>
              <a:gd name="connsiteX52" fmla="*/ 135719 w 4501379"/>
              <a:gd name="connsiteY52" fmla="*/ 1419225 h 4429294"/>
              <a:gd name="connsiteX53" fmla="*/ 211919 w 4501379"/>
              <a:gd name="connsiteY53" fmla="*/ 1276350 h 4429294"/>
              <a:gd name="connsiteX54" fmla="*/ 221444 w 4501379"/>
              <a:gd name="connsiteY54" fmla="*/ 1247775 h 4429294"/>
              <a:gd name="connsiteX55" fmla="*/ 250019 w 4501379"/>
              <a:gd name="connsiteY55" fmla="*/ 1200150 h 4429294"/>
              <a:gd name="connsiteX56" fmla="*/ 269069 w 4501379"/>
              <a:gd name="connsiteY56" fmla="*/ 1152525 h 4429294"/>
              <a:gd name="connsiteX57" fmla="*/ 297644 w 4501379"/>
              <a:gd name="connsiteY57" fmla="*/ 1114425 h 4429294"/>
              <a:gd name="connsiteX58" fmla="*/ 345269 w 4501379"/>
              <a:gd name="connsiteY58" fmla="*/ 1038225 h 4429294"/>
              <a:gd name="connsiteX59" fmla="*/ 364319 w 4501379"/>
              <a:gd name="connsiteY59" fmla="*/ 1009650 h 4429294"/>
              <a:gd name="connsiteX60" fmla="*/ 421469 w 4501379"/>
              <a:gd name="connsiteY60" fmla="*/ 904875 h 4429294"/>
              <a:gd name="connsiteX61" fmla="*/ 459569 w 4501379"/>
              <a:gd name="connsiteY61" fmla="*/ 857250 h 4429294"/>
              <a:gd name="connsiteX62" fmla="*/ 478619 w 4501379"/>
              <a:gd name="connsiteY62" fmla="*/ 828675 h 4429294"/>
              <a:gd name="connsiteX63" fmla="*/ 516719 w 4501379"/>
              <a:gd name="connsiteY63" fmla="*/ 800100 h 4429294"/>
              <a:gd name="connsiteX64" fmla="*/ 583394 w 4501379"/>
              <a:gd name="connsiteY64" fmla="*/ 733425 h 4429294"/>
              <a:gd name="connsiteX65" fmla="*/ 650069 w 4501379"/>
              <a:gd name="connsiteY65" fmla="*/ 676275 h 4429294"/>
              <a:gd name="connsiteX66" fmla="*/ 678644 w 4501379"/>
              <a:gd name="connsiteY66" fmla="*/ 657225 h 4429294"/>
              <a:gd name="connsiteX67" fmla="*/ 821519 w 4501379"/>
              <a:gd name="connsiteY67" fmla="*/ 533400 h 4429294"/>
              <a:gd name="connsiteX68" fmla="*/ 869144 w 4501379"/>
              <a:gd name="connsiteY68" fmla="*/ 504825 h 4429294"/>
              <a:gd name="connsiteX69" fmla="*/ 1148544 w 4501379"/>
              <a:gd name="connsiteY69" fmla="*/ 311150 h 4429294"/>
              <a:gd name="connsiteX70" fmla="*/ 1250144 w 4501379"/>
              <a:gd name="connsiteY70" fmla="*/ 285750 h 4429294"/>
              <a:gd name="connsiteX71" fmla="*/ 1393019 w 4501379"/>
              <a:gd name="connsiteY71" fmla="*/ 190500 h 4429294"/>
              <a:gd name="connsiteX72" fmla="*/ 1431119 w 4501379"/>
              <a:gd name="connsiteY72" fmla="*/ 161925 h 4429294"/>
              <a:gd name="connsiteX73" fmla="*/ 1507319 w 4501379"/>
              <a:gd name="connsiteY73" fmla="*/ 152400 h 4429294"/>
              <a:gd name="connsiteX74" fmla="*/ 1564469 w 4501379"/>
              <a:gd name="connsiteY74" fmla="*/ 142875 h 4429294"/>
              <a:gd name="connsiteX75" fmla="*/ 1697819 w 4501379"/>
              <a:gd name="connsiteY75" fmla="*/ 123825 h 4429294"/>
              <a:gd name="connsiteX76" fmla="*/ 1793069 w 4501379"/>
              <a:gd name="connsiteY76" fmla="*/ 114300 h 4429294"/>
              <a:gd name="connsiteX77" fmla="*/ 1840694 w 4501379"/>
              <a:gd name="connsiteY77" fmla="*/ 104775 h 4429294"/>
              <a:gd name="connsiteX78" fmla="*/ 1897844 w 4501379"/>
              <a:gd name="connsiteY78" fmla="*/ 95250 h 4429294"/>
              <a:gd name="connsiteX79" fmla="*/ 2012144 w 4501379"/>
              <a:gd name="connsiteY79" fmla="*/ 66675 h 4429294"/>
              <a:gd name="connsiteX80" fmla="*/ 2078819 w 4501379"/>
              <a:gd name="connsiteY80" fmla="*/ 47625 h 4429294"/>
              <a:gd name="connsiteX81" fmla="*/ 2145494 w 4501379"/>
              <a:gd name="connsiteY81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450419 w 4501379"/>
              <a:gd name="connsiteY6" fmla="*/ 361950 h 4429294"/>
              <a:gd name="connsiteX7" fmla="*/ 3498044 w 4501379"/>
              <a:gd name="connsiteY7" fmla="*/ 390525 h 4429294"/>
              <a:gd name="connsiteX8" fmla="*/ 3612344 w 4501379"/>
              <a:gd name="connsiteY8" fmla="*/ 485775 h 4429294"/>
              <a:gd name="connsiteX9" fmla="*/ 3726644 w 4501379"/>
              <a:gd name="connsiteY9" fmla="*/ 542925 h 4429294"/>
              <a:gd name="connsiteX10" fmla="*/ 3793319 w 4501379"/>
              <a:gd name="connsiteY10" fmla="*/ 581025 h 4429294"/>
              <a:gd name="connsiteX11" fmla="*/ 4009219 w 4501379"/>
              <a:gd name="connsiteY11" fmla="*/ 819150 h 4429294"/>
              <a:gd name="connsiteX12" fmla="*/ 4145744 w 4501379"/>
              <a:gd name="connsiteY12" fmla="*/ 990600 h 4429294"/>
              <a:gd name="connsiteX13" fmla="*/ 4231469 w 4501379"/>
              <a:gd name="connsiteY13" fmla="*/ 1143000 h 4429294"/>
              <a:gd name="connsiteX14" fmla="*/ 4288619 w 4501379"/>
              <a:gd name="connsiteY14" fmla="*/ 1266825 h 4429294"/>
              <a:gd name="connsiteX15" fmla="*/ 4326719 w 4501379"/>
              <a:gd name="connsiteY15" fmla="*/ 1362075 h 4429294"/>
              <a:gd name="connsiteX16" fmla="*/ 4374344 w 4501379"/>
              <a:gd name="connsiteY16" fmla="*/ 1552575 h 4429294"/>
              <a:gd name="connsiteX17" fmla="*/ 4412444 w 4501379"/>
              <a:gd name="connsiteY17" fmla="*/ 1685925 h 4429294"/>
              <a:gd name="connsiteX18" fmla="*/ 4501344 w 4501379"/>
              <a:gd name="connsiteY18" fmla="*/ 2181225 h 4429294"/>
              <a:gd name="connsiteX19" fmla="*/ 4428319 w 4501379"/>
              <a:gd name="connsiteY19" fmla="*/ 2768600 h 4429294"/>
              <a:gd name="connsiteX20" fmla="*/ 4364819 w 4501379"/>
              <a:gd name="connsiteY20" fmla="*/ 2990850 h 4429294"/>
              <a:gd name="connsiteX21" fmla="*/ 4260044 w 4501379"/>
              <a:gd name="connsiteY21" fmla="*/ 3248025 h 4429294"/>
              <a:gd name="connsiteX22" fmla="*/ 4164794 w 4501379"/>
              <a:gd name="connsiteY22" fmla="*/ 3400425 h 4429294"/>
              <a:gd name="connsiteX23" fmla="*/ 4040969 w 4501379"/>
              <a:gd name="connsiteY23" fmla="*/ 3533775 h 4429294"/>
              <a:gd name="connsiteX24" fmla="*/ 3936194 w 4501379"/>
              <a:gd name="connsiteY24" fmla="*/ 3648075 h 4429294"/>
              <a:gd name="connsiteX25" fmla="*/ 3640919 w 4501379"/>
              <a:gd name="connsiteY25" fmla="*/ 3971925 h 4429294"/>
              <a:gd name="connsiteX26" fmla="*/ 3498044 w 4501379"/>
              <a:gd name="connsiteY26" fmla="*/ 4083050 h 4429294"/>
              <a:gd name="connsiteX27" fmla="*/ 3202769 w 4501379"/>
              <a:gd name="connsiteY27" fmla="*/ 4222750 h 4429294"/>
              <a:gd name="connsiteX28" fmla="*/ 3050369 w 4501379"/>
              <a:gd name="connsiteY28" fmla="*/ 4286250 h 4429294"/>
              <a:gd name="connsiteX29" fmla="*/ 2917019 w 4501379"/>
              <a:gd name="connsiteY29" fmla="*/ 4333875 h 4429294"/>
              <a:gd name="connsiteX30" fmla="*/ 2793194 w 4501379"/>
              <a:gd name="connsiteY30" fmla="*/ 4371975 h 4429294"/>
              <a:gd name="connsiteX31" fmla="*/ 2561419 w 4501379"/>
              <a:gd name="connsiteY31" fmla="*/ 4391025 h 4429294"/>
              <a:gd name="connsiteX32" fmla="*/ 2107394 w 4501379"/>
              <a:gd name="connsiteY32" fmla="*/ 4429125 h 4429294"/>
              <a:gd name="connsiteX33" fmla="*/ 1916894 w 4501379"/>
              <a:gd name="connsiteY33" fmla="*/ 4400550 h 4429294"/>
              <a:gd name="connsiteX34" fmla="*/ 1554944 w 4501379"/>
              <a:gd name="connsiteY34" fmla="*/ 4305300 h 4429294"/>
              <a:gd name="connsiteX35" fmla="*/ 1313644 w 4501379"/>
              <a:gd name="connsiteY35" fmla="*/ 4216400 h 4429294"/>
              <a:gd name="connsiteX36" fmla="*/ 1145369 w 4501379"/>
              <a:gd name="connsiteY36" fmla="*/ 4111625 h 4429294"/>
              <a:gd name="connsiteX37" fmla="*/ 926294 w 4501379"/>
              <a:gd name="connsiteY37" fmla="*/ 3968750 h 4429294"/>
              <a:gd name="connsiteX38" fmla="*/ 592919 w 4501379"/>
              <a:gd name="connsiteY38" fmla="*/ 3657600 h 4429294"/>
              <a:gd name="connsiteX39" fmla="*/ 446869 w 4501379"/>
              <a:gd name="connsiteY39" fmla="*/ 3470275 h 4429294"/>
              <a:gd name="connsiteX40" fmla="*/ 316694 w 4501379"/>
              <a:gd name="connsiteY40" fmla="*/ 3244850 h 4429294"/>
              <a:gd name="connsiteX41" fmla="*/ 164294 w 4501379"/>
              <a:gd name="connsiteY41" fmla="*/ 2892425 h 4429294"/>
              <a:gd name="connsiteX42" fmla="*/ 56344 w 4501379"/>
              <a:gd name="connsiteY42" fmla="*/ 2368550 h 4429294"/>
              <a:gd name="connsiteX43" fmla="*/ 2369 w 4501379"/>
              <a:gd name="connsiteY43" fmla="*/ 1905000 h 4429294"/>
              <a:gd name="connsiteX44" fmla="*/ 11894 w 4501379"/>
              <a:gd name="connsiteY44" fmla="*/ 1838325 h 4429294"/>
              <a:gd name="connsiteX45" fmla="*/ 30944 w 4501379"/>
              <a:gd name="connsiteY45" fmla="*/ 1781175 h 4429294"/>
              <a:gd name="connsiteX46" fmla="*/ 40469 w 4501379"/>
              <a:gd name="connsiteY46" fmla="*/ 1743075 h 4429294"/>
              <a:gd name="connsiteX47" fmla="*/ 59519 w 4501379"/>
              <a:gd name="connsiteY47" fmla="*/ 1685925 h 4429294"/>
              <a:gd name="connsiteX48" fmla="*/ 69044 w 4501379"/>
              <a:gd name="connsiteY48" fmla="*/ 1638300 h 4429294"/>
              <a:gd name="connsiteX49" fmla="*/ 88094 w 4501379"/>
              <a:gd name="connsiteY49" fmla="*/ 1590675 h 4429294"/>
              <a:gd name="connsiteX50" fmla="*/ 116669 w 4501379"/>
              <a:gd name="connsiteY50" fmla="*/ 1504950 h 4429294"/>
              <a:gd name="connsiteX51" fmla="*/ 135719 w 4501379"/>
              <a:gd name="connsiteY51" fmla="*/ 1419225 h 4429294"/>
              <a:gd name="connsiteX52" fmla="*/ 211919 w 4501379"/>
              <a:gd name="connsiteY52" fmla="*/ 1276350 h 4429294"/>
              <a:gd name="connsiteX53" fmla="*/ 221444 w 4501379"/>
              <a:gd name="connsiteY53" fmla="*/ 1247775 h 4429294"/>
              <a:gd name="connsiteX54" fmla="*/ 250019 w 4501379"/>
              <a:gd name="connsiteY54" fmla="*/ 1200150 h 4429294"/>
              <a:gd name="connsiteX55" fmla="*/ 269069 w 4501379"/>
              <a:gd name="connsiteY55" fmla="*/ 1152525 h 4429294"/>
              <a:gd name="connsiteX56" fmla="*/ 297644 w 4501379"/>
              <a:gd name="connsiteY56" fmla="*/ 1114425 h 4429294"/>
              <a:gd name="connsiteX57" fmla="*/ 345269 w 4501379"/>
              <a:gd name="connsiteY57" fmla="*/ 1038225 h 4429294"/>
              <a:gd name="connsiteX58" fmla="*/ 364319 w 4501379"/>
              <a:gd name="connsiteY58" fmla="*/ 1009650 h 4429294"/>
              <a:gd name="connsiteX59" fmla="*/ 421469 w 4501379"/>
              <a:gd name="connsiteY59" fmla="*/ 904875 h 4429294"/>
              <a:gd name="connsiteX60" fmla="*/ 459569 w 4501379"/>
              <a:gd name="connsiteY60" fmla="*/ 857250 h 4429294"/>
              <a:gd name="connsiteX61" fmla="*/ 478619 w 4501379"/>
              <a:gd name="connsiteY61" fmla="*/ 828675 h 4429294"/>
              <a:gd name="connsiteX62" fmla="*/ 516719 w 4501379"/>
              <a:gd name="connsiteY62" fmla="*/ 800100 h 4429294"/>
              <a:gd name="connsiteX63" fmla="*/ 583394 w 4501379"/>
              <a:gd name="connsiteY63" fmla="*/ 733425 h 4429294"/>
              <a:gd name="connsiteX64" fmla="*/ 650069 w 4501379"/>
              <a:gd name="connsiteY64" fmla="*/ 676275 h 4429294"/>
              <a:gd name="connsiteX65" fmla="*/ 678644 w 4501379"/>
              <a:gd name="connsiteY65" fmla="*/ 657225 h 4429294"/>
              <a:gd name="connsiteX66" fmla="*/ 821519 w 4501379"/>
              <a:gd name="connsiteY66" fmla="*/ 533400 h 4429294"/>
              <a:gd name="connsiteX67" fmla="*/ 869144 w 4501379"/>
              <a:gd name="connsiteY67" fmla="*/ 504825 h 4429294"/>
              <a:gd name="connsiteX68" fmla="*/ 1148544 w 4501379"/>
              <a:gd name="connsiteY68" fmla="*/ 311150 h 4429294"/>
              <a:gd name="connsiteX69" fmla="*/ 1250144 w 4501379"/>
              <a:gd name="connsiteY69" fmla="*/ 285750 h 4429294"/>
              <a:gd name="connsiteX70" fmla="*/ 1393019 w 4501379"/>
              <a:gd name="connsiteY70" fmla="*/ 190500 h 4429294"/>
              <a:gd name="connsiteX71" fmla="*/ 1431119 w 4501379"/>
              <a:gd name="connsiteY71" fmla="*/ 161925 h 4429294"/>
              <a:gd name="connsiteX72" fmla="*/ 1507319 w 4501379"/>
              <a:gd name="connsiteY72" fmla="*/ 152400 h 4429294"/>
              <a:gd name="connsiteX73" fmla="*/ 1564469 w 4501379"/>
              <a:gd name="connsiteY73" fmla="*/ 142875 h 4429294"/>
              <a:gd name="connsiteX74" fmla="*/ 1697819 w 4501379"/>
              <a:gd name="connsiteY74" fmla="*/ 123825 h 4429294"/>
              <a:gd name="connsiteX75" fmla="*/ 1793069 w 4501379"/>
              <a:gd name="connsiteY75" fmla="*/ 114300 h 4429294"/>
              <a:gd name="connsiteX76" fmla="*/ 1840694 w 4501379"/>
              <a:gd name="connsiteY76" fmla="*/ 104775 h 4429294"/>
              <a:gd name="connsiteX77" fmla="*/ 1897844 w 4501379"/>
              <a:gd name="connsiteY77" fmla="*/ 95250 h 4429294"/>
              <a:gd name="connsiteX78" fmla="*/ 2012144 w 4501379"/>
              <a:gd name="connsiteY78" fmla="*/ 66675 h 4429294"/>
              <a:gd name="connsiteX79" fmla="*/ 2078819 w 4501379"/>
              <a:gd name="connsiteY79" fmla="*/ 47625 h 4429294"/>
              <a:gd name="connsiteX80" fmla="*/ 2145494 w 4501379"/>
              <a:gd name="connsiteY80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450419 w 4501379"/>
              <a:gd name="connsiteY6" fmla="*/ 361950 h 4429294"/>
              <a:gd name="connsiteX7" fmla="*/ 3612344 w 4501379"/>
              <a:gd name="connsiteY7" fmla="*/ 485775 h 4429294"/>
              <a:gd name="connsiteX8" fmla="*/ 3726644 w 4501379"/>
              <a:gd name="connsiteY8" fmla="*/ 542925 h 4429294"/>
              <a:gd name="connsiteX9" fmla="*/ 3793319 w 4501379"/>
              <a:gd name="connsiteY9" fmla="*/ 581025 h 4429294"/>
              <a:gd name="connsiteX10" fmla="*/ 4009219 w 4501379"/>
              <a:gd name="connsiteY10" fmla="*/ 819150 h 4429294"/>
              <a:gd name="connsiteX11" fmla="*/ 4145744 w 4501379"/>
              <a:gd name="connsiteY11" fmla="*/ 990600 h 4429294"/>
              <a:gd name="connsiteX12" fmla="*/ 4231469 w 4501379"/>
              <a:gd name="connsiteY12" fmla="*/ 1143000 h 4429294"/>
              <a:gd name="connsiteX13" fmla="*/ 4288619 w 4501379"/>
              <a:gd name="connsiteY13" fmla="*/ 1266825 h 4429294"/>
              <a:gd name="connsiteX14" fmla="*/ 4326719 w 4501379"/>
              <a:gd name="connsiteY14" fmla="*/ 1362075 h 4429294"/>
              <a:gd name="connsiteX15" fmla="*/ 4374344 w 4501379"/>
              <a:gd name="connsiteY15" fmla="*/ 1552575 h 4429294"/>
              <a:gd name="connsiteX16" fmla="*/ 4412444 w 4501379"/>
              <a:gd name="connsiteY16" fmla="*/ 1685925 h 4429294"/>
              <a:gd name="connsiteX17" fmla="*/ 4501344 w 4501379"/>
              <a:gd name="connsiteY17" fmla="*/ 2181225 h 4429294"/>
              <a:gd name="connsiteX18" fmla="*/ 4428319 w 4501379"/>
              <a:gd name="connsiteY18" fmla="*/ 2768600 h 4429294"/>
              <a:gd name="connsiteX19" fmla="*/ 4364819 w 4501379"/>
              <a:gd name="connsiteY19" fmla="*/ 2990850 h 4429294"/>
              <a:gd name="connsiteX20" fmla="*/ 4260044 w 4501379"/>
              <a:gd name="connsiteY20" fmla="*/ 3248025 h 4429294"/>
              <a:gd name="connsiteX21" fmla="*/ 4164794 w 4501379"/>
              <a:gd name="connsiteY21" fmla="*/ 3400425 h 4429294"/>
              <a:gd name="connsiteX22" fmla="*/ 4040969 w 4501379"/>
              <a:gd name="connsiteY22" fmla="*/ 3533775 h 4429294"/>
              <a:gd name="connsiteX23" fmla="*/ 3936194 w 4501379"/>
              <a:gd name="connsiteY23" fmla="*/ 3648075 h 4429294"/>
              <a:gd name="connsiteX24" fmla="*/ 3640919 w 4501379"/>
              <a:gd name="connsiteY24" fmla="*/ 3971925 h 4429294"/>
              <a:gd name="connsiteX25" fmla="*/ 3498044 w 4501379"/>
              <a:gd name="connsiteY25" fmla="*/ 4083050 h 4429294"/>
              <a:gd name="connsiteX26" fmla="*/ 3202769 w 4501379"/>
              <a:gd name="connsiteY26" fmla="*/ 4222750 h 4429294"/>
              <a:gd name="connsiteX27" fmla="*/ 3050369 w 4501379"/>
              <a:gd name="connsiteY27" fmla="*/ 4286250 h 4429294"/>
              <a:gd name="connsiteX28" fmla="*/ 2917019 w 4501379"/>
              <a:gd name="connsiteY28" fmla="*/ 4333875 h 4429294"/>
              <a:gd name="connsiteX29" fmla="*/ 2793194 w 4501379"/>
              <a:gd name="connsiteY29" fmla="*/ 4371975 h 4429294"/>
              <a:gd name="connsiteX30" fmla="*/ 2561419 w 4501379"/>
              <a:gd name="connsiteY30" fmla="*/ 4391025 h 4429294"/>
              <a:gd name="connsiteX31" fmla="*/ 2107394 w 4501379"/>
              <a:gd name="connsiteY31" fmla="*/ 4429125 h 4429294"/>
              <a:gd name="connsiteX32" fmla="*/ 1916894 w 4501379"/>
              <a:gd name="connsiteY32" fmla="*/ 4400550 h 4429294"/>
              <a:gd name="connsiteX33" fmla="*/ 1554944 w 4501379"/>
              <a:gd name="connsiteY33" fmla="*/ 4305300 h 4429294"/>
              <a:gd name="connsiteX34" fmla="*/ 1313644 w 4501379"/>
              <a:gd name="connsiteY34" fmla="*/ 4216400 h 4429294"/>
              <a:gd name="connsiteX35" fmla="*/ 1145369 w 4501379"/>
              <a:gd name="connsiteY35" fmla="*/ 4111625 h 4429294"/>
              <a:gd name="connsiteX36" fmla="*/ 926294 w 4501379"/>
              <a:gd name="connsiteY36" fmla="*/ 3968750 h 4429294"/>
              <a:gd name="connsiteX37" fmla="*/ 592919 w 4501379"/>
              <a:gd name="connsiteY37" fmla="*/ 3657600 h 4429294"/>
              <a:gd name="connsiteX38" fmla="*/ 446869 w 4501379"/>
              <a:gd name="connsiteY38" fmla="*/ 3470275 h 4429294"/>
              <a:gd name="connsiteX39" fmla="*/ 316694 w 4501379"/>
              <a:gd name="connsiteY39" fmla="*/ 3244850 h 4429294"/>
              <a:gd name="connsiteX40" fmla="*/ 164294 w 4501379"/>
              <a:gd name="connsiteY40" fmla="*/ 2892425 h 4429294"/>
              <a:gd name="connsiteX41" fmla="*/ 56344 w 4501379"/>
              <a:gd name="connsiteY41" fmla="*/ 2368550 h 4429294"/>
              <a:gd name="connsiteX42" fmla="*/ 2369 w 4501379"/>
              <a:gd name="connsiteY42" fmla="*/ 1905000 h 4429294"/>
              <a:gd name="connsiteX43" fmla="*/ 11894 w 4501379"/>
              <a:gd name="connsiteY43" fmla="*/ 1838325 h 4429294"/>
              <a:gd name="connsiteX44" fmla="*/ 30944 w 4501379"/>
              <a:gd name="connsiteY44" fmla="*/ 1781175 h 4429294"/>
              <a:gd name="connsiteX45" fmla="*/ 40469 w 4501379"/>
              <a:gd name="connsiteY45" fmla="*/ 1743075 h 4429294"/>
              <a:gd name="connsiteX46" fmla="*/ 59519 w 4501379"/>
              <a:gd name="connsiteY46" fmla="*/ 1685925 h 4429294"/>
              <a:gd name="connsiteX47" fmla="*/ 69044 w 4501379"/>
              <a:gd name="connsiteY47" fmla="*/ 1638300 h 4429294"/>
              <a:gd name="connsiteX48" fmla="*/ 88094 w 4501379"/>
              <a:gd name="connsiteY48" fmla="*/ 1590675 h 4429294"/>
              <a:gd name="connsiteX49" fmla="*/ 116669 w 4501379"/>
              <a:gd name="connsiteY49" fmla="*/ 1504950 h 4429294"/>
              <a:gd name="connsiteX50" fmla="*/ 135719 w 4501379"/>
              <a:gd name="connsiteY50" fmla="*/ 1419225 h 4429294"/>
              <a:gd name="connsiteX51" fmla="*/ 211919 w 4501379"/>
              <a:gd name="connsiteY51" fmla="*/ 1276350 h 4429294"/>
              <a:gd name="connsiteX52" fmla="*/ 221444 w 4501379"/>
              <a:gd name="connsiteY52" fmla="*/ 1247775 h 4429294"/>
              <a:gd name="connsiteX53" fmla="*/ 250019 w 4501379"/>
              <a:gd name="connsiteY53" fmla="*/ 1200150 h 4429294"/>
              <a:gd name="connsiteX54" fmla="*/ 269069 w 4501379"/>
              <a:gd name="connsiteY54" fmla="*/ 1152525 h 4429294"/>
              <a:gd name="connsiteX55" fmla="*/ 297644 w 4501379"/>
              <a:gd name="connsiteY55" fmla="*/ 1114425 h 4429294"/>
              <a:gd name="connsiteX56" fmla="*/ 345269 w 4501379"/>
              <a:gd name="connsiteY56" fmla="*/ 1038225 h 4429294"/>
              <a:gd name="connsiteX57" fmla="*/ 364319 w 4501379"/>
              <a:gd name="connsiteY57" fmla="*/ 1009650 h 4429294"/>
              <a:gd name="connsiteX58" fmla="*/ 421469 w 4501379"/>
              <a:gd name="connsiteY58" fmla="*/ 904875 h 4429294"/>
              <a:gd name="connsiteX59" fmla="*/ 459569 w 4501379"/>
              <a:gd name="connsiteY59" fmla="*/ 857250 h 4429294"/>
              <a:gd name="connsiteX60" fmla="*/ 478619 w 4501379"/>
              <a:gd name="connsiteY60" fmla="*/ 828675 h 4429294"/>
              <a:gd name="connsiteX61" fmla="*/ 516719 w 4501379"/>
              <a:gd name="connsiteY61" fmla="*/ 800100 h 4429294"/>
              <a:gd name="connsiteX62" fmla="*/ 583394 w 4501379"/>
              <a:gd name="connsiteY62" fmla="*/ 733425 h 4429294"/>
              <a:gd name="connsiteX63" fmla="*/ 650069 w 4501379"/>
              <a:gd name="connsiteY63" fmla="*/ 676275 h 4429294"/>
              <a:gd name="connsiteX64" fmla="*/ 678644 w 4501379"/>
              <a:gd name="connsiteY64" fmla="*/ 657225 h 4429294"/>
              <a:gd name="connsiteX65" fmla="*/ 821519 w 4501379"/>
              <a:gd name="connsiteY65" fmla="*/ 533400 h 4429294"/>
              <a:gd name="connsiteX66" fmla="*/ 869144 w 4501379"/>
              <a:gd name="connsiteY66" fmla="*/ 504825 h 4429294"/>
              <a:gd name="connsiteX67" fmla="*/ 1148544 w 4501379"/>
              <a:gd name="connsiteY67" fmla="*/ 311150 h 4429294"/>
              <a:gd name="connsiteX68" fmla="*/ 1250144 w 4501379"/>
              <a:gd name="connsiteY68" fmla="*/ 285750 h 4429294"/>
              <a:gd name="connsiteX69" fmla="*/ 1393019 w 4501379"/>
              <a:gd name="connsiteY69" fmla="*/ 190500 h 4429294"/>
              <a:gd name="connsiteX70" fmla="*/ 1431119 w 4501379"/>
              <a:gd name="connsiteY70" fmla="*/ 161925 h 4429294"/>
              <a:gd name="connsiteX71" fmla="*/ 1507319 w 4501379"/>
              <a:gd name="connsiteY71" fmla="*/ 152400 h 4429294"/>
              <a:gd name="connsiteX72" fmla="*/ 1564469 w 4501379"/>
              <a:gd name="connsiteY72" fmla="*/ 142875 h 4429294"/>
              <a:gd name="connsiteX73" fmla="*/ 1697819 w 4501379"/>
              <a:gd name="connsiteY73" fmla="*/ 123825 h 4429294"/>
              <a:gd name="connsiteX74" fmla="*/ 1793069 w 4501379"/>
              <a:gd name="connsiteY74" fmla="*/ 114300 h 4429294"/>
              <a:gd name="connsiteX75" fmla="*/ 1840694 w 4501379"/>
              <a:gd name="connsiteY75" fmla="*/ 104775 h 4429294"/>
              <a:gd name="connsiteX76" fmla="*/ 1897844 w 4501379"/>
              <a:gd name="connsiteY76" fmla="*/ 95250 h 4429294"/>
              <a:gd name="connsiteX77" fmla="*/ 2012144 w 4501379"/>
              <a:gd name="connsiteY77" fmla="*/ 66675 h 4429294"/>
              <a:gd name="connsiteX78" fmla="*/ 2078819 w 4501379"/>
              <a:gd name="connsiteY78" fmla="*/ 47625 h 4429294"/>
              <a:gd name="connsiteX79" fmla="*/ 2145494 w 4501379"/>
              <a:gd name="connsiteY79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612344 w 4501379"/>
              <a:gd name="connsiteY6" fmla="*/ 485775 h 4429294"/>
              <a:gd name="connsiteX7" fmla="*/ 3726644 w 4501379"/>
              <a:gd name="connsiteY7" fmla="*/ 542925 h 4429294"/>
              <a:gd name="connsiteX8" fmla="*/ 3793319 w 4501379"/>
              <a:gd name="connsiteY8" fmla="*/ 581025 h 4429294"/>
              <a:gd name="connsiteX9" fmla="*/ 4009219 w 4501379"/>
              <a:gd name="connsiteY9" fmla="*/ 819150 h 4429294"/>
              <a:gd name="connsiteX10" fmla="*/ 4145744 w 4501379"/>
              <a:gd name="connsiteY10" fmla="*/ 990600 h 4429294"/>
              <a:gd name="connsiteX11" fmla="*/ 4231469 w 4501379"/>
              <a:gd name="connsiteY11" fmla="*/ 1143000 h 4429294"/>
              <a:gd name="connsiteX12" fmla="*/ 4288619 w 4501379"/>
              <a:gd name="connsiteY12" fmla="*/ 1266825 h 4429294"/>
              <a:gd name="connsiteX13" fmla="*/ 4326719 w 4501379"/>
              <a:gd name="connsiteY13" fmla="*/ 1362075 h 4429294"/>
              <a:gd name="connsiteX14" fmla="*/ 4374344 w 4501379"/>
              <a:gd name="connsiteY14" fmla="*/ 1552575 h 4429294"/>
              <a:gd name="connsiteX15" fmla="*/ 4412444 w 4501379"/>
              <a:gd name="connsiteY15" fmla="*/ 1685925 h 4429294"/>
              <a:gd name="connsiteX16" fmla="*/ 4501344 w 4501379"/>
              <a:gd name="connsiteY16" fmla="*/ 2181225 h 4429294"/>
              <a:gd name="connsiteX17" fmla="*/ 4428319 w 4501379"/>
              <a:gd name="connsiteY17" fmla="*/ 2768600 h 4429294"/>
              <a:gd name="connsiteX18" fmla="*/ 4364819 w 4501379"/>
              <a:gd name="connsiteY18" fmla="*/ 2990850 h 4429294"/>
              <a:gd name="connsiteX19" fmla="*/ 4260044 w 4501379"/>
              <a:gd name="connsiteY19" fmla="*/ 3248025 h 4429294"/>
              <a:gd name="connsiteX20" fmla="*/ 4164794 w 4501379"/>
              <a:gd name="connsiteY20" fmla="*/ 3400425 h 4429294"/>
              <a:gd name="connsiteX21" fmla="*/ 4040969 w 4501379"/>
              <a:gd name="connsiteY21" fmla="*/ 3533775 h 4429294"/>
              <a:gd name="connsiteX22" fmla="*/ 3936194 w 4501379"/>
              <a:gd name="connsiteY22" fmla="*/ 3648075 h 4429294"/>
              <a:gd name="connsiteX23" fmla="*/ 3640919 w 4501379"/>
              <a:gd name="connsiteY23" fmla="*/ 3971925 h 4429294"/>
              <a:gd name="connsiteX24" fmla="*/ 3498044 w 4501379"/>
              <a:gd name="connsiteY24" fmla="*/ 4083050 h 4429294"/>
              <a:gd name="connsiteX25" fmla="*/ 3202769 w 4501379"/>
              <a:gd name="connsiteY25" fmla="*/ 4222750 h 4429294"/>
              <a:gd name="connsiteX26" fmla="*/ 3050369 w 4501379"/>
              <a:gd name="connsiteY26" fmla="*/ 4286250 h 4429294"/>
              <a:gd name="connsiteX27" fmla="*/ 2917019 w 4501379"/>
              <a:gd name="connsiteY27" fmla="*/ 4333875 h 4429294"/>
              <a:gd name="connsiteX28" fmla="*/ 2793194 w 4501379"/>
              <a:gd name="connsiteY28" fmla="*/ 4371975 h 4429294"/>
              <a:gd name="connsiteX29" fmla="*/ 2561419 w 4501379"/>
              <a:gd name="connsiteY29" fmla="*/ 4391025 h 4429294"/>
              <a:gd name="connsiteX30" fmla="*/ 2107394 w 4501379"/>
              <a:gd name="connsiteY30" fmla="*/ 4429125 h 4429294"/>
              <a:gd name="connsiteX31" fmla="*/ 1916894 w 4501379"/>
              <a:gd name="connsiteY31" fmla="*/ 4400550 h 4429294"/>
              <a:gd name="connsiteX32" fmla="*/ 1554944 w 4501379"/>
              <a:gd name="connsiteY32" fmla="*/ 4305300 h 4429294"/>
              <a:gd name="connsiteX33" fmla="*/ 1313644 w 4501379"/>
              <a:gd name="connsiteY33" fmla="*/ 4216400 h 4429294"/>
              <a:gd name="connsiteX34" fmla="*/ 1145369 w 4501379"/>
              <a:gd name="connsiteY34" fmla="*/ 4111625 h 4429294"/>
              <a:gd name="connsiteX35" fmla="*/ 926294 w 4501379"/>
              <a:gd name="connsiteY35" fmla="*/ 3968750 h 4429294"/>
              <a:gd name="connsiteX36" fmla="*/ 592919 w 4501379"/>
              <a:gd name="connsiteY36" fmla="*/ 3657600 h 4429294"/>
              <a:gd name="connsiteX37" fmla="*/ 446869 w 4501379"/>
              <a:gd name="connsiteY37" fmla="*/ 3470275 h 4429294"/>
              <a:gd name="connsiteX38" fmla="*/ 316694 w 4501379"/>
              <a:gd name="connsiteY38" fmla="*/ 3244850 h 4429294"/>
              <a:gd name="connsiteX39" fmla="*/ 164294 w 4501379"/>
              <a:gd name="connsiteY39" fmla="*/ 2892425 h 4429294"/>
              <a:gd name="connsiteX40" fmla="*/ 56344 w 4501379"/>
              <a:gd name="connsiteY40" fmla="*/ 2368550 h 4429294"/>
              <a:gd name="connsiteX41" fmla="*/ 2369 w 4501379"/>
              <a:gd name="connsiteY41" fmla="*/ 1905000 h 4429294"/>
              <a:gd name="connsiteX42" fmla="*/ 11894 w 4501379"/>
              <a:gd name="connsiteY42" fmla="*/ 1838325 h 4429294"/>
              <a:gd name="connsiteX43" fmla="*/ 30944 w 4501379"/>
              <a:gd name="connsiteY43" fmla="*/ 1781175 h 4429294"/>
              <a:gd name="connsiteX44" fmla="*/ 40469 w 4501379"/>
              <a:gd name="connsiteY44" fmla="*/ 1743075 h 4429294"/>
              <a:gd name="connsiteX45" fmla="*/ 59519 w 4501379"/>
              <a:gd name="connsiteY45" fmla="*/ 1685925 h 4429294"/>
              <a:gd name="connsiteX46" fmla="*/ 69044 w 4501379"/>
              <a:gd name="connsiteY46" fmla="*/ 1638300 h 4429294"/>
              <a:gd name="connsiteX47" fmla="*/ 88094 w 4501379"/>
              <a:gd name="connsiteY47" fmla="*/ 1590675 h 4429294"/>
              <a:gd name="connsiteX48" fmla="*/ 116669 w 4501379"/>
              <a:gd name="connsiteY48" fmla="*/ 1504950 h 4429294"/>
              <a:gd name="connsiteX49" fmla="*/ 135719 w 4501379"/>
              <a:gd name="connsiteY49" fmla="*/ 1419225 h 4429294"/>
              <a:gd name="connsiteX50" fmla="*/ 211919 w 4501379"/>
              <a:gd name="connsiteY50" fmla="*/ 1276350 h 4429294"/>
              <a:gd name="connsiteX51" fmla="*/ 221444 w 4501379"/>
              <a:gd name="connsiteY51" fmla="*/ 1247775 h 4429294"/>
              <a:gd name="connsiteX52" fmla="*/ 250019 w 4501379"/>
              <a:gd name="connsiteY52" fmla="*/ 1200150 h 4429294"/>
              <a:gd name="connsiteX53" fmla="*/ 269069 w 4501379"/>
              <a:gd name="connsiteY53" fmla="*/ 1152525 h 4429294"/>
              <a:gd name="connsiteX54" fmla="*/ 297644 w 4501379"/>
              <a:gd name="connsiteY54" fmla="*/ 1114425 h 4429294"/>
              <a:gd name="connsiteX55" fmla="*/ 345269 w 4501379"/>
              <a:gd name="connsiteY55" fmla="*/ 1038225 h 4429294"/>
              <a:gd name="connsiteX56" fmla="*/ 364319 w 4501379"/>
              <a:gd name="connsiteY56" fmla="*/ 1009650 h 4429294"/>
              <a:gd name="connsiteX57" fmla="*/ 421469 w 4501379"/>
              <a:gd name="connsiteY57" fmla="*/ 904875 h 4429294"/>
              <a:gd name="connsiteX58" fmla="*/ 459569 w 4501379"/>
              <a:gd name="connsiteY58" fmla="*/ 857250 h 4429294"/>
              <a:gd name="connsiteX59" fmla="*/ 478619 w 4501379"/>
              <a:gd name="connsiteY59" fmla="*/ 828675 h 4429294"/>
              <a:gd name="connsiteX60" fmla="*/ 516719 w 4501379"/>
              <a:gd name="connsiteY60" fmla="*/ 800100 h 4429294"/>
              <a:gd name="connsiteX61" fmla="*/ 583394 w 4501379"/>
              <a:gd name="connsiteY61" fmla="*/ 733425 h 4429294"/>
              <a:gd name="connsiteX62" fmla="*/ 650069 w 4501379"/>
              <a:gd name="connsiteY62" fmla="*/ 676275 h 4429294"/>
              <a:gd name="connsiteX63" fmla="*/ 678644 w 4501379"/>
              <a:gd name="connsiteY63" fmla="*/ 657225 h 4429294"/>
              <a:gd name="connsiteX64" fmla="*/ 821519 w 4501379"/>
              <a:gd name="connsiteY64" fmla="*/ 533400 h 4429294"/>
              <a:gd name="connsiteX65" fmla="*/ 869144 w 4501379"/>
              <a:gd name="connsiteY65" fmla="*/ 504825 h 4429294"/>
              <a:gd name="connsiteX66" fmla="*/ 1148544 w 4501379"/>
              <a:gd name="connsiteY66" fmla="*/ 311150 h 4429294"/>
              <a:gd name="connsiteX67" fmla="*/ 1250144 w 4501379"/>
              <a:gd name="connsiteY67" fmla="*/ 285750 h 4429294"/>
              <a:gd name="connsiteX68" fmla="*/ 1393019 w 4501379"/>
              <a:gd name="connsiteY68" fmla="*/ 190500 h 4429294"/>
              <a:gd name="connsiteX69" fmla="*/ 1431119 w 4501379"/>
              <a:gd name="connsiteY69" fmla="*/ 161925 h 4429294"/>
              <a:gd name="connsiteX70" fmla="*/ 1507319 w 4501379"/>
              <a:gd name="connsiteY70" fmla="*/ 152400 h 4429294"/>
              <a:gd name="connsiteX71" fmla="*/ 1564469 w 4501379"/>
              <a:gd name="connsiteY71" fmla="*/ 142875 h 4429294"/>
              <a:gd name="connsiteX72" fmla="*/ 1697819 w 4501379"/>
              <a:gd name="connsiteY72" fmla="*/ 123825 h 4429294"/>
              <a:gd name="connsiteX73" fmla="*/ 1793069 w 4501379"/>
              <a:gd name="connsiteY73" fmla="*/ 114300 h 4429294"/>
              <a:gd name="connsiteX74" fmla="*/ 1840694 w 4501379"/>
              <a:gd name="connsiteY74" fmla="*/ 104775 h 4429294"/>
              <a:gd name="connsiteX75" fmla="*/ 1897844 w 4501379"/>
              <a:gd name="connsiteY75" fmla="*/ 95250 h 4429294"/>
              <a:gd name="connsiteX76" fmla="*/ 2012144 w 4501379"/>
              <a:gd name="connsiteY76" fmla="*/ 66675 h 4429294"/>
              <a:gd name="connsiteX77" fmla="*/ 2078819 w 4501379"/>
              <a:gd name="connsiteY77" fmla="*/ 47625 h 4429294"/>
              <a:gd name="connsiteX78" fmla="*/ 2145494 w 4501379"/>
              <a:gd name="connsiteY7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612344 w 4501379"/>
              <a:gd name="connsiteY6" fmla="*/ 485775 h 4429294"/>
              <a:gd name="connsiteX7" fmla="*/ 3793319 w 4501379"/>
              <a:gd name="connsiteY7" fmla="*/ 581025 h 4429294"/>
              <a:gd name="connsiteX8" fmla="*/ 4009219 w 4501379"/>
              <a:gd name="connsiteY8" fmla="*/ 819150 h 4429294"/>
              <a:gd name="connsiteX9" fmla="*/ 4145744 w 4501379"/>
              <a:gd name="connsiteY9" fmla="*/ 990600 h 4429294"/>
              <a:gd name="connsiteX10" fmla="*/ 4231469 w 4501379"/>
              <a:gd name="connsiteY10" fmla="*/ 1143000 h 4429294"/>
              <a:gd name="connsiteX11" fmla="*/ 4288619 w 4501379"/>
              <a:gd name="connsiteY11" fmla="*/ 1266825 h 4429294"/>
              <a:gd name="connsiteX12" fmla="*/ 4326719 w 4501379"/>
              <a:gd name="connsiteY12" fmla="*/ 1362075 h 4429294"/>
              <a:gd name="connsiteX13" fmla="*/ 4374344 w 4501379"/>
              <a:gd name="connsiteY13" fmla="*/ 1552575 h 4429294"/>
              <a:gd name="connsiteX14" fmla="*/ 4412444 w 4501379"/>
              <a:gd name="connsiteY14" fmla="*/ 1685925 h 4429294"/>
              <a:gd name="connsiteX15" fmla="*/ 4501344 w 4501379"/>
              <a:gd name="connsiteY15" fmla="*/ 2181225 h 4429294"/>
              <a:gd name="connsiteX16" fmla="*/ 4428319 w 4501379"/>
              <a:gd name="connsiteY16" fmla="*/ 2768600 h 4429294"/>
              <a:gd name="connsiteX17" fmla="*/ 4364819 w 4501379"/>
              <a:gd name="connsiteY17" fmla="*/ 2990850 h 4429294"/>
              <a:gd name="connsiteX18" fmla="*/ 4260044 w 4501379"/>
              <a:gd name="connsiteY18" fmla="*/ 3248025 h 4429294"/>
              <a:gd name="connsiteX19" fmla="*/ 4164794 w 4501379"/>
              <a:gd name="connsiteY19" fmla="*/ 3400425 h 4429294"/>
              <a:gd name="connsiteX20" fmla="*/ 4040969 w 4501379"/>
              <a:gd name="connsiteY20" fmla="*/ 3533775 h 4429294"/>
              <a:gd name="connsiteX21" fmla="*/ 3936194 w 4501379"/>
              <a:gd name="connsiteY21" fmla="*/ 3648075 h 4429294"/>
              <a:gd name="connsiteX22" fmla="*/ 3640919 w 4501379"/>
              <a:gd name="connsiteY22" fmla="*/ 3971925 h 4429294"/>
              <a:gd name="connsiteX23" fmla="*/ 3498044 w 4501379"/>
              <a:gd name="connsiteY23" fmla="*/ 4083050 h 4429294"/>
              <a:gd name="connsiteX24" fmla="*/ 3202769 w 4501379"/>
              <a:gd name="connsiteY24" fmla="*/ 4222750 h 4429294"/>
              <a:gd name="connsiteX25" fmla="*/ 3050369 w 4501379"/>
              <a:gd name="connsiteY25" fmla="*/ 4286250 h 4429294"/>
              <a:gd name="connsiteX26" fmla="*/ 2917019 w 4501379"/>
              <a:gd name="connsiteY26" fmla="*/ 4333875 h 4429294"/>
              <a:gd name="connsiteX27" fmla="*/ 2793194 w 4501379"/>
              <a:gd name="connsiteY27" fmla="*/ 4371975 h 4429294"/>
              <a:gd name="connsiteX28" fmla="*/ 2561419 w 4501379"/>
              <a:gd name="connsiteY28" fmla="*/ 4391025 h 4429294"/>
              <a:gd name="connsiteX29" fmla="*/ 2107394 w 4501379"/>
              <a:gd name="connsiteY29" fmla="*/ 4429125 h 4429294"/>
              <a:gd name="connsiteX30" fmla="*/ 1916894 w 4501379"/>
              <a:gd name="connsiteY30" fmla="*/ 4400550 h 4429294"/>
              <a:gd name="connsiteX31" fmla="*/ 1554944 w 4501379"/>
              <a:gd name="connsiteY31" fmla="*/ 4305300 h 4429294"/>
              <a:gd name="connsiteX32" fmla="*/ 1313644 w 4501379"/>
              <a:gd name="connsiteY32" fmla="*/ 4216400 h 4429294"/>
              <a:gd name="connsiteX33" fmla="*/ 1145369 w 4501379"/>
              <a:gd name="connsiteY33" fmla="*/ 4111625 h 4429294"/>
              <a:gd name="connsiteX34" fmla="*/ 926294 w 4501379"/>
              <a:gd name="connsiteY34" fmla="*/ 3968750 h 4429294"/>
              <a:gd name="connsiteX35" fmla="*/ 592919 w 4501379"/>
              <a:gd name="connsiteY35" fmla="*/ 3657600 h 4429294"/>
              <a:gd name="connsiteX36" fmla="*/ 446869 w 4501379"/>
              <a:gd name="connsiteY36" fmla="*/ 3470275 h 4429294"/>
              <a:gd name="connsiteX37" fmla="*/ 316694 w 4501379"/>
              <a:gd name="connsiteY37" fmla="*/ 3244850 h 4429294"/>
              <a:gd name="connsiteX38" fmla="*/ 164294 w 4501379"/>
              <a:gd name="connsiteY38" fmla="*/ 2892425 h 4429294"/>
              <a:gd name="connsiteX39" fmla="*/ 56344 w 4501379"/>
              <a:gd name="connsiteY39" fmla="*/ 2368550 h 4429294"/>
              <a:gd name="connsiteX40" fmla="*/ 2369 w 4501379"/>
              <a:gd name="connsiteY40" fmla="*/ 1905000 h 4429294"/>
              <a:gd name="connsiteX41" fmla="*/ 11894 w 4501379"/>
              <a:gd name="connsiteY41" fmla="*/ 1838325 h 4429294"/>
              <a:gd name="connsiteX42" fmla="*/ 30944 w 4501379"/>
              <a:gd name="connsiteY42" fmla="*/ 1781175 h 4429294"/>
              <a:gd name="connsiteX43" fmla="*/ 40469 w 4501379"/>
              <a:gd name="connsiteY43" fmla="*/ 1743075 h 4429294"/>
              <a:gd name="connsiteX44" fmla="*/ 59519 w 4501379"/>
              <a:gd name="connsiteY44" fmla="*/ 1685925 h 4429294"/>
              <a:gd name="connsiteX45" fmla="*/ 69044 w 4501379"/>
              <a:gd name="connsiteY45" fmla="*/ 1638300 h 4429294"/>
              <a:gd name="connsiteX46" fmla="*/ 88094 w 4501379"/>
              <a:gd name="connsiteY46" fmla="*/ 1590675 h 4429294"/>
              <a:gd name="connsiteX47" fmla="*/ 116669 w 4501379"/>
              <a:gd name="connsiteY47" fmla="*/ 1504950 h 4429294"/>
              <a:gd name="connsiteX48" fmla="*/ 135719 w 4501379"/>
              <a:gd name="connsiteY48" fmla="*/ 1419225 h 4429294"/>
              <a:gd name="connsiteX49" fmla="*/ 211919 w 4501379"/>
              <a:gd name="connsiteY49" fmla="*/ 1276350 h 4429294"/>
              <a:gd name="connsiteX50" fmla="*/ 221444 w 4501379"/>
              <a:gd name="connsiteY50" fmla="*/ 1247775 h 4429294"/>
              <a:gd name="connsiteX51" fmla="*/ 250019 w 4501379"/>
              <a:gd name="connsiteY51" fmla="*/ 1200150 h 4429294"/>
              <a:gd name="connsiteX52" fmla="*/ 269069 w 4501379"/>
              <a:gd name="connsiteY52" fmla="*/ 1152525 h 4429294"/>
              <a:gd name="connsiteX53" fmla="*/ 297644 w 4501379"/>
              <a:gd name="connsiteY53" fmla="*/ 1114425 h 4429294"/>
              <a:gd name="connsiteX54" fmla="*/ 345269 w 4501379"/>
              <a:gd name="connsiteY54" fmla="*/ 1038225 h 4429294"/>
              <a:gd name="connsiteX55" fmla="*/ 364319 w 4501379"/>
              <a:gd name="connsiteY55" fmla="*/ 1009650 h 4429294"/>
              <a:gd name="connsiteX56" fmla="*/ 421469 w 4501379"/>
              <a:gd name="connsiteY56" fmla="*/ 904875 h 4429294"/>
              <a:gd name="connsiteX57" fmla="*/ 459569 w 4501379"/>
              <a:gd name="connsiteY57" fmla="*/ 857250 h 4429294"/>
              <a:gd name="connsiteX58" fmla="*/ 478619 w 4501379"/>
              <a:gd name="connsiteY58" fmla="*/ 828675 h 4429294"/>
              <a:gd name="connsiteX59" fmla="*/ 516719 w 4501379"/>
              <a:gd name="connsiteY59" fmla="*/ 800100 h 4429294"/>
              <a:gd name="connsiteX60" fmla="*/ 583394 w 4501379"/>
              <a:gd name="connsiteY60" fmla="*/ 733425 h 4429294"/>
              <a:gd name="connsiteX61" fmla="*/ 650069 w 4501379"/>
              <a:gd name="connsiteY61" fmla="*/ 676275 h 4429294"/>
              <a:gd name="connsiteX62" fmla="*/ 678644 w 4501379"/>
              <a:gd name="connsiteY62" fmla="*/ 657225 h 4429294"/>
              <a:gd name="connsiteX63" fmla="*/ 821519 w 4501379"/>
              <a:gd name="connsiteY63" fmla="*/ 533400 h 4429294"/>
              <a:gd name="connsiteX64" fmla="*/ 869144 w 4501379"/>
              <a:gd name="connsiteY64" fmla="*/ 504825 h 4429294"/>
              <a:gd name="connsiteX65" fmla="*/ 1148544 w 4501379"/>
              <a:gd name="connsiteY65" fmla="*/ 311150 h 4429294"/>
              <a:gd name="connsiteX66" fmla="*/ 1250144 w 4501379"/>
              <a:gd name="connsiteY66" fmla="*/ 285750 h 4429294"/>
              <a:gd name="connsiteX67" fmla="*/ 1393019 w 4501379"/>
              <a:gd name="connsiteY67" fmla="*/ 190500 h 4429294"/>
              <a:gd name="connsiteX68" fmla="*/ 1431119 w 4501379"/>
              <a:gd name="connsiteY68" fmla="*/ 161925 h 4429294"/>
              <a:gd name="connsiteX69" fmla="*/ 1507319 w 4501379"/>
              <a:gd name="connsiteY69" fmla="*/ 152400 h 4429294"/>
              <a:gd name="connsiteX70" fmla="*/ 1564469 w 4501379"/>
              <a:gd name="connsiteY70" fmla="*/ 142875 h 4429294"/>
              <a:gd name="connsiteX71" fmla="*/ 1697819 w 4501379"/>
              <a:gd name="connsiteY71" fmla="*/ 123825 h 4429294"/>
              <a:gd name="connsiteX72" fmla="*/ 1793069 w 4501379"/>
              <a:gd name="connsiteY72" fmla="*/ 114300 h 4429294"/>
              <a:gd name="connsiteX73" fmla="*/ 1840694 w 4501379"/>
              <a:gd name="connsiteY73" fmla="*/ 104775 h 4429294"/>
              <a:gd name="connsiteX74" fmla="*/ 1897844 w 4501379"/>
              <a:gd name="connsiteY74" fmla="*/ 95250 h 4429294"/>
              <a:gd name="connsiteX75" fmla="*/ 2012144 w 4501379"/>
              <a:gd name="connsiteY75" fmla="*/ 66675 h 4429294"/>
              <a:gd name="connsiteX76" fmla="*/ 2078819 w 4501379"/>
              <a:gd name="connsiteY76" fmla="*/ 47625 h 4429294"/>
              <a:gd name="connsiteX77" fmla="*/ 2145494 w 4501379"/>
              <a:gd name="connsiteY7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393019 w 4501379"/>
              <a:gd name="connsiteY66" fmla="*/ 190500 h 4429294"/>
              <a:gd name="connsiteX67" fmla="*/ 1431119 w 4501379"/>
              <a:gd name="connsiteY67" fmla="*/ 161925 h 4429294"/>
              <a:gd name="connsiteX68" fmla="*/ 1507319 w 4501379"/>
              <a:gd name="connsiteY68" fmla="*/ 152400 h 4429294"/>
              <a:gd name="connsiteX69" fmla="*/ 1564469 w 4501379"/>
              <a:gd name="connsiteY69" fmla="*/ 142875 h 4429294"/>
              <a:gd name="connsiteX70" fmla="*/ 1697819 w 4501379"/>
              <a:gd name="connsiteY70" fmla="*/ 123825 h 4429294"/>
              <a:gd name="connsiteX71" fmla="*/ 1793069 w 4501379"/>
              <a:gd name="connsiteY71" fmla="*/ 114300 h 4429294"/>
              <a:gd name="connsiteX72" fmla="*/ 1840694 w 4501379"/>
              <a:gd name="connsiteY72" fmla="*/ 104775 h 4429294"/>
              <a:gd name="connsiteX73" fmla="*/ 1897844 w 4501379"/>
              <a:gd name="connsiteY73" fmla="*/ 95250 h 4429294"/>
              <a:gd name="connsiteX74" fmla="*/ 2012144 w 4501379"/>
              <a:gd name="connsiteY74" fmla="*/ 66675 h 4429294"/>
              <a:gd name="connsiteX75" fmla="*/ 2078819 w 4501379"/>
              <a:gd name="connsiteY75" fmla="*/ 47625 h 4429294"/>
              <a:gd name="connsiteX76" fmla="*/ 2145494 w 4501379"/>
              <a:gd name="connsiteY76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431119 w 4501379"/>
              <a:gd name="connsiteY66" fmla="*/ 161925 h 4429294"/>
              <a:gd name="connsiteX67" fmla="*/ 1507319 w 4501379"/>
              <a:gd name="connsiteY67" fmla="*/ 152400 h 4429294"/>
              <a:gd name="connsiteX68" fmla="*/ 1564469 w 4501379"/>
              <a:gd name="connsiteY68" fmla="*/ 142875 h 4429294"/>
              <a:gd name="connsiteX69" fmla="*/ 1697819 w 4501379"/>
              <a:gd name="connsiteY69" fmla="*/ 123825 h 4429294"/>
              <a:gd name="connsiteX70" fmla="*/ 1793069 w 4501379"/>
              <a:gd name="connsiteY70" fmla="*/ 114300 h 4429294"/>
              <a:gd name="connsiteX71" fmla="*/ 1840694 w 4501379"/>
              <a:gd name="connsiteY71" fmla="*/ 104775 h 4429294"/>
              <a:gd name="connsiteX72" fmla="*/ 1897844 w 4501379"/>
              <a:gd name="connsiteY72" fmla="*/ 95250 h 4429294"/>
              <a:gd name="connsiteX73" fmla="*/ 2012144 w 4501379"/>
              <a:gd name="connsiteY73" fmla="*/ 66675 h 4429294"/>
              <a:gd name="connsiteX74" fmla="*/ 2078819 w 4501379"/>
              <a:gd name="connsiteY74" fmla="*/ 47625 h 4429294"/>
              <a:gd name="connsiteX75" fmla="*/ 2145494 w 4501379"/>
              <a:gd name="connsiteY75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250144 w 4501379"/>
              <a:gd name="connsiteY65" fmla="*/ 285750 h 4429294"/>
              <a:gd name="connsiteX66" fmla="*/ 1507319 w 4501379"/>
              <a:gd name="connsiteY66" fmla="*/ 152400 h 4429294"/>
              <a:gd name="connsiteX67" fmla="*/ 1564469 w 4501379"/>
              <a:gd name="connsiteY67" fmla="*/ 142875 h 4429294"/>
              <a:gd name="connsiteX68" fmla="*/ 1697819 w 4501379"/>
              <a:gd name="connsiteY68" fmla="*/ 123825 h 4429294"/>
              <a:gd name="connsiteX69" fmla="*/ 1793069 w 4501379"/>
              <a:gd name="connsiteY69" fmla="*/ 114300 h 4429294"/>
              <a:gd name="connsiteX70" fmla="*/ 1840694 w 4501379"/>
              <a:gd name="connsiteY70" fmla="*/ 104775 h 4429294"/>
              <a:gd name="connsiteX71" fmla="*/ 1897844 w 4501379"/>
              <a:gd name="connsiteY71" fmla="*/ 95250 h 4429294"/>
              <a:gd name="connsiteX72" fmla="*/ 2012144 w 4501379"/>
              <a:gd name="connsiteY72" fmla="*/ 66675 h 4429294"/>
              <a:gd name="connsiteX73" fmla="*/ 2078819 w 4501379"/>
              <a:gd name="connsiteY73" fmla="*/ 47625 h 4429294"/>
              <a:gd name="connsiteX74" fmla="*/ 2145494 w 4501379"/>
              <a:gd name="connsiteY74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697819 w 4501379"/>
              <a:gd name="connsiteY67" fmla="*/ 123825 h 4429294"/>
              <a:gd name="connsiteX68" fmla="*/ 1793069 w 4501379"/>
              <a:gd name="connsiteY68" fmla="*/ 114300 h 4429294"/>
              <a:gd name="connsiteX69" fmla="*/ 1840694 w 4501379"/>
              <a:gd name="connsiteY69" fmla="*/ 104775 h 4429294"/>
              <a:gd name="connsiteX70" fmla="*/ 1897844 w 4501379"/>
              <a:gd name="connsiteY70" fmla="*/ 95250 h 4429294"/>
              <a:gd name="connsiteX71" fmla="*/ 2012144 w 4501379"/>
              <a:gd name="connsiteY71" fmla="*/ 66675 h 4429294"/>
              <a:gd name="connsiteX72" fmla="*/ 2078819 w 4501379"/>
              <a:gd name="connsiteY72" fmla="*/ 47625 h 4429294"/>
              <a:gd name="connsiteX73" fmla="*/ 2145494 w 4501379"/>
              <a:gd name="connsiteY73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793069 w 4501379"/>
              <a:gd name="connsiteY67" fmla="*/ 114300 h 4429294"/>
              <a:gd name="connsiteX68" fmla="*/ 1840694 w 4501379"/>
              <a:gd name="connsiteY68" fmla="*/ 104775 h 4429294"/>
              <a:gd name="connsiteX69" fmla="*/ 1897844 w 4501379"/>
              <a:gd name="connsiteY69" fmla="*/ 95250 h 4429294"/>
              <a:gd name="connsiteX70" fmla="*/ 2012144 w 4501379"/>
              <a:gd name="connsiteY70" fmla="*/ 66675 h 4429294"/>
              <a:gd name="connsiteX71" fmla="*/ 2078819 w 4501379"/>
              <a:gd name="connsiteY71" fmla="*/ 47625 h 4429294"/>
              <a:gd name="connsiteX72" fmla="*/ 2145494 w 4501379"/>
              <a:gd name="connsiteY72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840694 w 4501379"/>
              <a:gd name="connsiteY67" fmla="*/ 104775 h 4429294"/>
              <a:gd name="connsiteX68" fmla="*/ 1897844 w 4501379"/>
              <a:gd name="connsiteY68" fmla="*/ 95250 h 4429294"/>
              <a:gd name="connsiteX69" fmla="*/ 2012144 w 4501379"/>
              <a:gd name="connsiteY69" fmla="*/ 66675 h 4429294"/>
              <a:gd name="connsiteX70" fmla="*/ 2078819 w 4501379"/>
              <a:gd name="connsiteY70" fmla="*/ 47625 h 4429294"/>
              <a:gd name="connsiteX71" fmla="*/ 2145494 w 4501379"/>
              <a:gd name="connsiteY71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1897844 w 4501379"/>
              <a:gd name="connsiteY67" fmla="*/ 95250 h 4429294"/>
              <a:gd name="connsiteX68" fmla="*/ 2012144 w 4501379"/>
              <a:gd name="connsiteY68" fmla="*/ 66675 h 4429294"/>
              <a:gd name="connsiteX69" fmla="*/ 2078819 w 4501379"/>
              <a:gd name="connsiteY69" fmla="*/ 47625 h 4429294"/>
              <a:gd name="connsiteX70" fmla="*/ 2145494 w 4501379"/>
              <a:gd name="connsiteY70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012144 w 4501379"/>
              <a:gd name="connsiteY67" fmla="*/ 66675 h 4429294"/>
              <a:gd name="connsiteX68" fmla="*/ 2078819 w 4501379"/>
              <a:gd name="connsiteY68" fmla="*/ 47625 h 4429294"/>
              <a:gd name="connsiteX69" fmla="*/ 2145494 w 4501379"/>
              <a:gd name="connsiteY69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078819 w 4501379"/>
              <a:gd name="connsiteY67" fmla="*/ 47625 h 4429294"/>
              <a:gd name="connsiteX68" fmla="*/ 2145494 w 4501379"/>
              <a:gd name="connsiteY68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145494 w 4501379"/>
              <a:gd name="connsiteY67" fmla="*/ 381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564469 w 4501379"/>
              <a:gd name="connsiteY66" fmla="*/ 14287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583394 w 4501379"/>
              <a:gd name="connsiteY59" fmla="*/ 733425 h 4429294"/>
              <a:gd name="connsiteX60" fmla="*/ 650069 w 4501379"/>
              <a:gd name="connsiteY60" fmla="*/ 676275 h 4429294"/>
              <a:gd name="connsiteX61" fmla="*/ 678644 w 4501379"/>
              <a:gd name="connsiteY61" fmla="*/ 657225 h 4429294"/>
              <a:gd name="connsiteX62" fmla="*/ 821519 w 4501379"/>
              <a:gd name="connsiteY62" fmla="*/ 533400 h 4429294"/>
              <a:gd name="connsiteX63" fmla="*/ 869144 w 4501379"/>
              <a:gd name="connsiteY63" fmla="*/ 504825 h 4429294"/>
              <a:gd name="connsiteX64" fmla="*/ 1148544 w 4501379"/>
              <a:gd name="connsiteY64" fmla="*/ 311150 h 4429294"/>
              <a:gd name="connsiteX65" fmla="*/ 1507319 w 4501379"/>
              <a:gd name="connsiteY65" fmla="*/ 152400 h 4429294"/>
              <a:gd name="connsiteX66" fmla="*/ 1621619 w 4501379"/>
              <a:gd name="connsiteY66" fmla="*/ 111125 h 4429294"/>
              <a:gd name="connsiteX67" fmla="*/ 2253444 w 4501379"/>
              <a:gd name="connsiteY6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678644 w 4501379"/>
              <a:gd name="connsiteY60" fmla="*/ 657225 h 4429294"/>
              <a:gd name="connsiteX61" fmla="*/ 821519 w 4501379"/>
              <a:gd name="connsiteY61" fmla="*/ 533400 h 4429294"/>
              <a:gd name="connsiteX62" fmla="*/ 869144 w 4501379"/>
              <a:gd name="connsiteY62" fmla="*/ 504825 h 4429294"/>
              <a:gd name="connsiteX63" fmla="*/ 1148544 w 4501379"/>
              <a:gd name="connsiteY63" fmla="*/ 311150 h 4429294"/>
              <a:gd name="connsiteX64" fmla="*/ 1507319 w 4501379"/>
              <a:gd name="connsiteY64" fmla="*/ 152400 h 4429294"/>
              <a:gd name="connsiteX65" fmla="*/ 1621619 w 4501379"/>
              <a:gd name="connsiteY65" fmla="*/ 111125 h 4429294"/>
              <a:gd name="connsiteX66" fmla="*/ 2253444 w 4501379"/>
              <a:gd name="connsiteY66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821519 w 4501379"/>
              <a:gd name="connsiteY60" fmla="*/ 533400 h 4429294"/>
              <a:gd name="connsiteX61" fmla="*/ 869144 w 4501379"/>
              <a:gd name="connsiteY61" fmla="*/ 504825 h 4429294"/>
              <a:gd name="connsiteX62" fmla="*/ 1148544 w 4501379"/>
              <a:gd name="connsiteY62" fmla="*/ 311150 h 4429294"/>
              <a:gd name="connsiteX63" fmla="*/ 1507319 w 4501379"/>
              <a:gd name="connsiteY63" fmla="*/ 152400 h 4429294"/>
              <a:gd name="connsiteX64" fmla="*/ 1621619 w 4501379"/>
              <a:gd name="connsiteY64" fmla="*/ 111125 h 4429294"/>
              <a:gd name="connsiteX65" fmla="*/ 2253444 w 4501379"/>
              <a:gd name="connsiteY65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45269 w 4501379"/>
              <a:gd name="connsiteY53" fmla="*/ 1038225 h 4429294"/>
              <a:gd name="connsiteX54" fmla="*/ 364319 w 4501379"/>
              <a:gd name="connsiteY54" fmla="*/ 1009650 h 4429294"/>
              <a:gd name="connsiteX55" fmla="*/ 421469 w 4501379"/>
              <a:gd name="connsiteY55" fmla="*/ 904875 h 4429294"/>
              <a:gd name="connsiteX56" fmla="*/ 459569 w 4501379"/>
              <a:gd name="connsiteY56" fmla="*/ 857250 h 4429294"/>
              <a:gd name="connsiteX57" fmla="*/ 478619 w 4501379"/>
              <a:gd name="connsiteY57" fmla="*/ 828675 h 4429294"/>
              <a:gd name="connsiteX58" fmla="*/ 516719 w 4501379"/>
              <a:gd name="connsiteY58" fmla="*/ 800100 h 4429294"/>
              <a:gd name="connsiteX59" fmla="*/ 650069 w 4501379"/>
              <a:gd name="connsiteY59" fmla="*/ 676275 h 4429294"/>
              <a:gd name="connsiteX60" fmla="*/ 869144 w 4501379"/>
              <a:gd name="connsiteY60" fmla="*/ 504825 h 4429294"/>
              <a:gd name="connsiteX61" fmla="*/ 1148544 w 4501379"/>
              <a:gd name="connsiteY61" fmla="*/ 311150 h 4429294"/>
              <a:gd name="connsiteX62" fmla="*/ 1507319 w 4501379"/>
              <a:gd name="connsiteY62" fmla="*/ 152400 h 4429294"/>
              <a:gd name="connsiteX63" fmla="*/ 1621619 w 4501379"/>
              <a:gd name="connsiteY63" fmla="*/ 111125 h 4429294"/>
              <a:gd name="connsiteX64" fmla="*/ 2253444 w 4501379"/>
              <a:gd name="connsiteY64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364319 w 4501379"/>
              <a:gd name="connsiteY53" fmla="*/ 1009650 h 4429294"/>
              <a:gd name="connsiteX54" fmla="*/ 421469 w 4501379"/>
              <a:gd name="connsiteY54" fmla="*/ 904875 h 4429294"/>
              <a:gd name="connsiteX55" fmla="*/ 459569 w 4501379"/>
              <a:gd name="connsiteY55" fmla="*/ 857250 h 4429294"/>
              <a:gd name="connsiteX56" fmla="*/ 478619 w 4501379"/>
              <a:gd name="connsiteY56" fmla="*/ 828675 h 4429294"/>
              <a:gd name="connsiteX57" fmla="*/ 516719 w 4501379"/>
              <a:gd name="connsiteY57" fmla="*/ 800100 h 4429294"/>
              <a:gd name="connsiteX58" fmla="*/ 650069 w 4501379"/>
              <a:gd name="connsiteY58" fmla="*/ 676275 h 4429294"/>
              <a:gd name="connsiteX59" fmla="*/ 869144 w 4501379"/>
              <a:gd name="connsiteY59" fmla="*/ 504825 h 4429294"/>
              <a:gd name="connsiteX60" fmla="*/ 1148544 w 4501379"/>
              <a:gd name="connsiteY60" fmla="*/ 311150 h 4429294"/>
              <a:gd name="connsiteX61" fmla="*/ 1507319 w 4501379"/>
              <a:gd name="connsiteY61" fmla="*/ 152400 h 4429294"/>
              <a:gd name="connsiteX62" fmla="*/ 1621619 w 4501379"/>
              <a:gd name="connsiteY62" fmla="*/ 111125 h 4429294"/>
              <a:gd name="connsiteX63" fmla="*/ 2253444 w 4501379"/>
              <a:gd name="connsiteY63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21469 w 4501379"/>
              <a:gd name="connsiteY53" fmla="*/ 904875 h 4429294"/>
              <a:gd name="connsiteX54" fmla="*/ 459569 w 4501379"/>
              <a:gd name="connsiteY54" fmla="*/ 857250 h 4429294"/>
              <a:gd name="connsiteX55" fmla="*/ 478619 w 4501379"/>
              <a:gd name="connsiteY55" fmla="*/ 828675 h 4429294"/>
              <a:gd name="connsiteX56" fmla="*/ 516719 w 4501379"/>
              <a:gd name="connsiteY56" fmla="*/ 800100 h 4429294"/>
              <a:gd name="connsiteX57" fmla="*/ 650069 w 4501379"/>
              <a:gd name="connsiteY57" fmla="*/ 676275 h 4429294"/>
              <a:gd name="connsiteX58" fmla="*/ 869144 w 4501379"/>
              <a:gd name="connsiteY58" fmla="*/ 504825 h 4429294"/>
              <a:gd name="connsiteX59" fmla="*/ 1148544 w 4501379"/>
              <a:gd name="connsiteY59" fmla="*/ 311150 h 4429294"/>
              <a:gd name="connsiteX60" fmla="*/ 1507319 w 4501379"/>
              <a:gd name="connsiteY60" fmla="*/ 152400 h 4429294"/>
              <a:gd name="connsiteX61" fmla="*/ 1621619 w 4501379"/>
              <a:gd name="connsiteY61" fmla="*/ 111125 h 4429294"/>
              <a:gd name="connsiteX62" fmla="*/ 2253444 w 4501379"/>
              <a:gd name="connsiteY62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59569 w 4501379"/>
              <a:gd name="connsiteY53" fmla="*/ 857250 h 4429294"/>
              <a:gd name="connsiteX54" fmla="*/ 478619 w 4501379"/>
              <a:gd name="connsiteY54" fmla="*/ 828675 h 4429294"/>
              <a:gd name="connsiteX55" fmla="*/ 516719 w 4501379"/>
              <a:gd name="connsiteY55" fmla="*/ 800100 h 4429294"/>
              <a:gd name="connsiteX56" fmla="*/ 650069 w 4501379"/>
              <a:gd name="connsiteY56" fmla="*/ 676275 h 4429294"/>
              <a:gd name="connsiteX57" fmla="*/ 869144 w 4501379"/>
              <a:gd name="connsiteY57" fmla="*/ 504825 h 4429294"/>
              <a:gd name="connsiteX58" fmla="*/ 1148544 w 4501379"/>
              <a:gd name="connsiteY58" fmla="*/ 311150 h 4429294"/>
              <a:gd name="connsiteX59" fmla="*/ 1507319 w 4501379"/>
              <a:gd name="connsiteY59" fmla="*/ 152400 h 4429294"/>
              <a:gd name="connsiteX60" fmla="*/ 1621619 w 4501379"/>
              <a:gd name="connsiteY60" fmla="*/ 111125 h 4429294"/>
              <a:gd name="connsiteX61" fmla="*/ 2253444 w 4501379"/>
              <a:gd name="connsiteY61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50019 w 4501379"/>
              <a:gd name="connsiteY50" fmla="*/ 1200150 h 4429294"/>
              <a:gd name="connsiteX51" fmla="*/ 269069 w 4501379"/>
              <a:gd name="connsiteY51" fmla="*/ 1152525 h 4429294"/>
              <a:gd name="connsiteX52" fmla="*/ 297644 w 4501379"/>
              <a:gd name="connsiteY52" fmla="*/ 1114425 h 4429294"/>
              <a:gd name="connsiteX53" fmla="*/ 459569 w 4501379"/>
              <a:gd name="connsiteY53" fmla="*/ 857250 h 4429294"/>
              <a:gd name="connsiteX54" fmla="*/ 516719 w 4501379"/>
              <a:gd name="connsiteY54" fmla="*/ 800100 h 4429294"/>
              <a:gd name="connsiteX55" fmla="*/ 650069 w 4501379"/>
              <a:gd name="connsiteY55" fmla="*/ 676275 h 4429294"/>
              <a:gd name="connsiteX56" fmla="*/ 869144 w 4501379"/>
              <a:gd name="connsiteY56" fmla="*/ 504825 h 4429294"/>
              <a:gd name="connsiteX57" fmla="*/ 1148544 w 4501379"/>
              <a:gd name="connsiteY57" fmla="*/ 311150 h 4429294"/>
              <a:gd name="connsiteX58" fmla="*/ 1507319 w 4501379"/>
              <a:gd name="connsiteY58" fmla="*/ 152400 h 4429294"/>
              <a:gd name="connsiteX59" fmla="*/ 1621619 w 4501379"/>
              <a:gd name="connsiteY59" fmla="*/ 111125 h 4429294"/>
              <a:gd name="connsiteX60" fmla="*/ 2253444 w 4501379"/>
              <a:gd name="connsiteY60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69069 w 4501379"/>
              <a:gd name="connsiteY50" fmla="*/ 1152525 h 4429294"/>
              <a:gd name="connsiteX51" fmla="*/ 297644 w 4501379"/>
              <a:gd name="connsiteY51" fmla="*/ 1114425 h 4429294"/>
              <a:gd name="connsiteX52" fmla="*/ 459569 w 4501379"/>
              <a:gd name="connsiteY52" fmla="*/ 857250 h 4429294"/>
              <a:gd name="connsiteX53" fmla="*/ 516719 w 4501379"/>
              <a:gd name="connsiteY53" fmla="*/ 800100 h 4429294"/>
              <a:gd name="connsiteX54" fmla="*/ 650069 w 4501379"/>
              <a:gd name="connsiteY54" fmla="*/ 676275 h 4429294"/>
              <a:gd name="connsiteX55" fmla="*/ 869144 w 4501379"/>
              <a:gd name="connsiteY55" fmla="*/ 504825 h 4429294"/>
              <a:gd name="connsiteX56" fmla="*/ 1148544 w 4501379"/>
              <a:gd name="connsiteY56" fmla="*/ 311150 h 4429294"/>
              <a:gd name="connsiteX57" fmla="*/ 1507319 w 4501379"/>
              <a:gd name="connsiteY57" fmla="*/ 152400 h 4429294"/>
              <a:gd name="connsiteX58" fmla="*/ 1621619 w 4501379"/>
              <a:gd name="connsiteY58" fmla="*/ 111125 h 4429294"/>
              <a:gd name="connsiteX59" fmla="*/ 2253444 w 4501379"/>
              <a:gd name="connsiteY59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21444 w 4501379"/>
              <a:gd name="connsiteY49" fmla="*/ 1247775 h 4429294"/>
              <a:gd name="connsiteX50" fmla="*/ 297644 w 4501379"/>
              <a:gd name="connsiteY50" fmla="*/ 1114425 h 4429294"/>
              <a:gd name="connsiteX51" fmla="*/ 459569 w 4501379"/>
              <a:gd name="connsiteY51" fmla="*/ 857250 h 4429294"/>
              <a:gd name="connsiteX52" fmla="*/ 516719 w 4501379"/>
              <a:gd name="connsiteY52" fmla="*/ 800100 h 4429294"/>
              <a:gd name="connsiteX53" fmla="*/ 650069 w 4501379"/>
              <a:gd name="connsiteY53" fmla="*/ 676275 h 4429294"/>
              <a:gd name="connsiteX54" fmla="*/ 869144 w 4501379"/>
              <a:gd name="connsiteY54" fmla="*/ 504825 h 4429294"/>
              <a:gd name="connsiteX55" fmla="*/ 1148544 w 4501379"/>
              <a:gd name="connsiteY55" fmla="*/ 311150 h 4429294"/>
              <a:gd name="connsiteX56" fmla="*/ 1507319 w 4501379"/>
              <a:gd name="connsiteY56" fmla="*/ 152400 h 4429294"/>
              <a:gd name="connsiteX57" fmla="*/ 1621619 w 4501379"/>
              <a:gd name="connsiteY57" fmla="*/ 111125 h 4429294"/>
              <a:gd name="connsiteX58" fmla="*/ 2253444 w 4501379"/>
              <a:gd name="connsiteY58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16669 w 4501379"/>
              <a:gd name="connsiteY46" fmla="*/ 1504950 h 4429294"/>
              <a:gd name="connsiteX47" fmla="*/ 135719 w 4501379"/>
              <a:gd name="connsiteY47" fmla="*/ 1419225 h 4429294"/>
              <a:gd name="connsiteX48" fmla="*/ 211919 w 4501379"/>
              <a:gd name="connsiteY48" fmla="*/ 1276350 h 4429294"/>
              <a:gd name="connsiteX49" fmla="*/ 297644 w 4501379"/>
              <a:gd name="connsiteY49" fmla="*/ 1114425 h 4429294"/>
              <a:gd name="connsiteX50" fmla="*/ 459569 w 4501379"/>
              <a:gd name="connsiteY50" fmla="*/ 857250 h 4429294"/>
              <a:gd name="connsiteX51" fmla="*/ 516719 w 4501379"/>
              <a:gd name="connsiteY51" fmla="*/ 800100 h 4429294"/>
              <a:gd name="connsiteX52" fmla="*/ 650069 w 4501379"/>
              <a:gd name="connsiteY52" fmla="*/ 676275 h 4429294"/>
              <a:gd name="connsiteX53" fmla="*/ 869144 w 4501379"/>
              <a:gd name="connsiteY53" fmla="*/ 504825 h 4429294"/>
              <a:gd name="connsiteX54" fmla="*/ 1148544 w 4501379"/>
              <a:gd name="connsiteY54" fmla="*/ 311150 h 4429294"/>
              <a:gd name="connsiteX55" fmla="*/ 1507319 w 4501379"/>
              <a:gd name="connsiteY55" fmla="*/ 152400 h 4429294"/>
              <a:gd name="connsiteX56" fmla="*/ 1621619 w 4501379"/>
              <a:gd name="connsiteY56" fmla="*/ 111125 h 4429294"/>
              <a:gd name="connsiteX57" fmla="*/ 2253444 w 4501379"/>
              <a:gd name="connsiteY57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69044 w 4501379"/>
              <a:gd name="connsiteY44" fmla="*/ 1638300 h 4429294"/>
              <a:gd name="connsiteX45" fmla="*/ 88094 w 4501379"/>
              <a:gd name="connsiteY45" fmla="*/ 1590675 h 4429294"/>
              <a:gd name="connsiteX46" fmla="*/ 135719 w 4501379"/>
              <a:gd name="connsiteY46" fmla="*/ 1419225 h 4429294"/>
              <a:gd name="connsiteX47" fmla="*/ 211919 w 4501379"/>
              <a:gd name="connsiteY47" fmla="*/ 1276350 h 4429294"/>
              <a:gd name="connsiteX48" fmla="*/ 297644 w 4501379"/>
              <a:gd name="connsiteY48" fmla="*/ 1114425 h 4429294"/>
              <a:gd name="connsiteX49" fmla="*/ 459569 w 4501379"/>
              <a:gd name="connsiteY49" fmla="*/ 857250 h 4429294"/>
              <a:gd name="connsiteX50" fmla="*/ 516719 w 4501379"/>
              <a:gd name="connsiteY50" fmla="*/ 800100 h 4429294"/>
              <a:gd name="connsiteX51" fmla="*/ 650069 w 4501379"/>
              <a:gd name="connsiteY51" fmla="*/ 676275 h 4429294"/>
              <a:gd name="connsiteX52" fmla="*/ 869144 w 4501379"/>
              <a:gd name="connsiteY52" fmla="*/ 504825 h 4429294"/>
              <a:gd name="connsiteX53" fmla="*/ 1148544 w 4501379"/>
              <a:gd name="connsiteY53" fmla="*/ 311150 h 4429294"/>
              <a:gd name="connsiteX54" fmla="*/ 1507319 w 4501379"/>
              <a:gd name="connsiteY54" fmla="*/ 152400 h 4429294"/>
              <a:gd name="connsiteX55" fmla="*/ 1621619 w 4501379"/>
              <a:gd name="connsiteY55" fmla="*/ 111125 h 4429294"/>
              <a:gd name="connsiteX56" fmla="*/ 2253444 w 4501379"/>
              <a:gd name="connsiteY56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59519 w 4501379"/>
              <a:gd name="connsiteY43" fmla="*/ 1685925 h 4429294"/>
              <a:gd name="connsiteX44" fmla="*/ 88094 w 4501379"/>
              <a:gd name="connsiteY44" fmla="*/ 1590675 h 4429294"/>
              <a:gd name="connsiteX45" fmla="*/ 135719 w 4501379"/>
              <a:gd name="connsiteY45" fmla="*/ 1419225 h 4429294"/>
              <a:gd name="connsiteX46" fmla="*/ 211919 w 4501379"/>
              <a:gd name="connsiteY46" fmla="*/ 1276350 h 4429294"/>
              <a:gd name="connsiteX47" fmla="*/ 297644 w 4501379"/>
              <a:gd name="connsiteY47" fmla="*/ 1114425 h 4429294"/>
              <a:gd name="connsiteX48" fmla="*/ 459569 w 4501379"/>
              <a:gd name="connsiteY48" fmla="*/ 857250 h 4429294"/>
              <a:gd name="connsiteX49" fmla="*/ 516719 w 4501379"/>
              <a:gd name="connsiteY49" fmla="*/ 800100 h 4429294"/>
              <a:gd name="connsiteX50" fmla="*/ 650069 w 4501379"/>
              <a:gd name="connsiteY50" fmla="*/ 676275 h 4429294"/>
              <a:gd name="connsiteX51" fmla="*/ 869144 w 4501379"/>
              <a:gd name="connsiteY51" fmla="*/ 504825 h 4429294"/>
              <a:gd name="connsiteX52" fmla="*/ 1148544 w 4501379"/>
              <a:gd name="connsiteY52" fmla="*/ 311150 h 4429294"/>
              <a:gd name="connsiteX53" fmla="*/ 1507319 w 4501379"/>
              <a:gd name="connsiteY53" fmla="*/ 152400 h 4429294"/>
              <a:gd name="connsiteX54" fmla="*/ 1621619 w 4501379"/>
              <a:gd name="connsiteY54" fmla="*/ 111125 h 4429294"/>
              <a:gd name="connsiteX55" fmla="*/ 2253444 w 4501379"/>
              <a:gd name="connsiteY55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40469 w 4501379"/>
              <a:gd name="connsiteY42" fmla="*/ 1743075 h 4429294"/>
              <a:gd name="connsiteX43" fmla="*/ 88094 w 4501379"/>
              <a:gd name="connsiteY43" fmla="*/ 1590675 h 4429294"/>
              <a:gd name="connsiteX44" fmla="*/ 135719 w 4501379"/>
              <a:gd name="connsiteY44" fmla="*/ 1419225 h 4429294"/>
              <a:gd name="connsiteX45" fmla="*/ 211919 w 4501379"/>
              <a:gd name="connsiteY45" fmla="*/ 1276350 h 4429294"/>
              <a:gd name="connsiteX46" fmla="*/ 297644 w 4501379"/>
              <a:gd name="connsiteY46" fmla="*/ 1114425 h 4429294"/>
              <a:gd name="connsiteX47" fmla="*/ 459569 w 4501379"/>
              <a:gd name="connsiteY47" fmla="*/ 857250 h 4429294"/>
              <a:gd name="connsiteX48" fmla="*/ 516719 w 4501379"/>
              <a:gd name="connsiteY48" fmla="*/ 800100 h 4429294"/>
              <a:gd name="connsiteX49" fmla="*/ 650069 w 4501379"/>
              <a:gd name="connsiteY49" fmla="*/ 676275 h 4429294"/>
              <a:gd name="connsiteX50" fmla="*/ 869144 w 4501379"/>
              <a:gd name="connsiteY50" fmla="*/ 504825 h 4429294"/>
              <a:gd name="connsiteX51" fmla="*/ 1148544 w 4501379"/>
              <a:gd name="connsiteY51" fmla="*/ 311150 h 4429294"/>
              <a:gd name="connsiteX52" fmla="*/ 1507319 w 4501379"/>
              <a:gd name="connsiteY52" fmla="*/ 152400 h 4429294"/>
              <a:gd name="connsiteX53" fmla="*/ 1621619 w 4501379"/>
              <a:gd name="connsiteY53" fmla="*/ 111125 h 4429294"/>
              <a:gd name="connsiteX54" fmla="*/ 2253444 w 4501379"/>
              <a:gd name="connsiteY54" fmla="*/ 12700 h 4429294"/>
              <a:gd name="connsiteX0" fmla="*/ 2278844 w 4501379"/>
              <a:gd name="connsiteY0" fmla="*/ 0 h 4429294"/>
              <a:gd name="connsiteX1" fmla="*/ 2602694 w 4501379"/>
              <a:gd name="connsiteY1" fmla="*/ 15875 h 4429294"/>
              <a:gd name="connsiteX2" fmla="*/ 2897969 w 4501379"/>
              <a:gd name="connsiteY2" fmla="*/ 85725 h 4429294"/>
              <a:gd name="connsiteX3" fmla="*/ 3117044 w 4501379"/>
              <a:gd name="connsiteY3" fmla="*/ 171450 h 4429294"/>
              <a:gd name="connsiteX4" fmla="*/ 3221819 w 4501379"/>
              <a:gd name="connsiteY4" fmla="*/ 228600 h 4429294"/>
              <a:gd name="connsiteX5" fmla="*/ 3402794 w 4501379"/>
              <a:gd name="connsiteY5" fmla="*/ 323850 h 4429294"/>
              <a:gd name="connsiteX6" fmla="*/ 3793319 w 4501379"/>
              <a:gd name="connsiteY6" fmla="*/ 581025 h 4429294"/>
              <a:gd name="connsiteX7" fmla="*/ 4009219 w 4501379"/>
              <a:gd name="connsiteY7" fmla="*/ 819150 h 4429294"/>
              <a:gd name="connsiteX8" fmla="*/ 4145744 w 4501379"/>
              <a:gd name="connsiteY8" fmla="*/ 990600 h 4429294"/>
              <a:gd name="connsiteX9" fmla="*/ 4231469 w 4501379"/>
              <a:gd name="connsiteY9" fmla="*/ 1143000 h 4429294"/>
              <a:gd name="connsiteX10" fmla="*/ 4288619 w 4501379"/>
              <a:gd name="connsiteY10" fmla="*/ 1266825 h 4429294"/>
              <a:gd name="connsiteX11" fmla="*/ 4326719 w 4501379"/>
              <a:gd name="connsiteY11" fmla="*/ 1362075 h 4429294"/>
              <a:gd name="connsiteX12" fmla="*/ 4374344 w 4501379"/>
              <a:gd name="connsiteY12" fmla="*/ 1552575 h 4429294"/>
              <a:gd name="connsiteX13" fmla="*/ 4412444 w 4501379"/>
              <a:gd name="connsiteY13" fmla="*/ 1685925 h 4429294"/>
              <a:gd name="connsiteX14" fmla="*/ 4501344 w 4501379"/>
              <a:gd name="connsiteY14" fmla="*/ 2181225 h 4429294"/>
              <a:gd name="connsiteX15" fmla="*/ 4428319 w 4501379"/>
              <a:gd name="connsiteY15" fmla="*/ 2768600 h 4429294"/>
              <a:gd name="connsiteX16" fmla="*/ 4364819 w 4501379"/>
              <a:gd name="connsiteY16" fmla="*/ 2990850 h 4429294"/>
              <a:gd name="connsiteX17" fmla="*/ 4260044 w 4501379"/>
              <a:gd name="connsiteY17" fmla="*/ 3248025 h 4429294"/>
              <a:gd name="connsiteX18" fmla="*/ 4164794 w 4501379"/>
              <a:gd name="connsiteY18" fmla="*/ 3400425 h 4429294"/>
              <a:gd name="connsiteX19" fmla="*/ 4040969 w 4501379"/>
              <a:gd name="connsiteY19" fmla="*/ 3533775 h 4429294"/>
              <a:gd name="connsiteX20" fmla="*/ 3936194 w 4501379"/>
              <a:gd name="connsiteY20" fmla="*/ 3648075 h 4429294"/>
              <a:gd name="connsiteX21" fmla="*/ 3640919 w 4501379"/>
              <a:gd name="connsiteY21" fmla="*/ 3971925 h 4429294"/>
              <a:gd name="connsiteX22" fmla="*/ 3498044 w 4501379"/>
              <a:gd name="connsiteY22" fmla="*/ 4083050 h 4429294"/>
              <a:gd name="connsiteX23" fmla="*/ 3202769 w 4501379"/>
              <a:gd name="connsiteY23" fmla="*/ 4222750 h 4429294"/>
              <a:gd name="connsiteX24" fmla="*/ 3050369 w 4501379"/>
              <a:gd name="connsiteY24" fmla="*/ 4286250 h 4429294"/>
              <a:gd name="connsiteX25" fmla="*/ 2917019 w 4501379"/>
              <a:gd name="connsiteY25" fmla="*/ 4333875 h 4429294"/>
              <a:gd name="connsiteX26" fmla="*/ 2793194 w 4501379"/>
              <a:gd name="connsiteY26" fmla="*/ 4371975 h 4429294"/>
              <a:gd name="connsiteX27" fmla="*/ 2561419 w 4501379"/>
              <a:gd name="connsiteY27" fmla="*/ 4391025 h 4429294"/>
              <a:gd name="connsiteX28" fmla="*/ 2107394 w 4501379"/>
              <a:gd name="connsiteY28" fmla="*/ 4429125 h 4429294"/>
              <a:gd name="connsiteX29" fmla="*/ 1916894 w 4501379"/>
              <a:gd name="connsiteY29" fmla="*/ 4400550 h 4429294"/>
              <a:gd name="connsiteX30" fmla="*/ 1554944 w 4501379"/>
              <a:gd name="connsiteY30" fmla="*/ 4305300 h 4429294"/>
              <a:gd name="connsiteX31" fmla="*/ 1313644 w 4501379"/>
              <a:gd name="connsiteY31" fmla="*/ 4216400 h 4429294"/>
              <a:gd name="connsiteX32" fmla="*/ 1145369 w 4501379"/>
              <a:gd name="connsiteY32" fmla="*/ 4111625 h 4429294"/>
              <a:gd name="connsiteX33" fmla="*/ 926294 w 4501379"/>
              <a:gd name="connsiteY33" fmla="*/ 3968750 h 4429294"/>
              <a:gd name="connsiteX34" fmla="*/ 592919 w 4501379"/>
              <a:gd name="connsiteY34" fmla="*/ 3657600 h 4429294"/>
              <a:gd name="connsiteX35" fmla="*/ 446869 w 4501379"/>
              <a:gd name="connsiteY35" fmla="*/ 3470275 h 4429294"/>
              <a:gd name="connsiteX36" fmla="*/ 316694 w 4501379"/>
              <a:gd name="connsiteY36" fmla="*/ 3244850 h 4429294"/>
              <a:gd name="connsiteX37" fmla="*/ 164294 w 4501379"/>
              <a:gd name="connsiteY37" fmla="*/ 2892425 h 4429294"/>
              <a:gd name="connsiteX38" fmla="*/ 56344 w 4501379"/>
              <a:gd name="connsiteY38" fmla="*/ 2368550 h 4429294"/>
              <a:gd name="connsiteX39" fmla="*/ 2369 w 4501379"/>
              <a:gd name="connsiteY39" fmla="*/ 1905000 h 4429294"/>
              <a:gd name="connsiteX40" fmla="*/ 11894 w 4501379"/>
              <a:gd name="connsiteY40" fmla="*/ 1838325 h 4429294"/>
              <a:gd name="connsiteX41" fmla="*/ 30944 w 4501379"/>
              <a:gd name="connsiteY41" fmla="*/ 1781175 h 4429294"/>
              <a:gd name="connsiteX42" fmla="*/ 88094 w 4501379"/>
              <a:gd name="connsiteY42" fmla="*/ 1590675 h 4429294"/>
              <a:gd name="connsiteX43" fmla="*/ 135719 w 4501379"/>
              <a:gd name="connsiteY43" fmla="*/ 1419225 h 4429294"/>
              <a:gd name="connsiteX44" fmla="*/ 211919 w 4501379"/>
              <a:gd name="connsiteY44" fmla="*/ 1276350 h 4429294"/>
              <a:gd name="connsiteX45" fmla="*/ 297644 w 4501379"/>
              <a:gd name="connsiteY45" fmla="*/ 1114425 h 4429294"/>
              <a:gd name="connsiteX46" fmla="*/ 459569 w 4501379"/>
              <a:gd name="connsiteY46" fmla="*/ 857250 h 4429294"/>
              <a:gd name="connsiteX47" fmla="*/ 516719 w 4501379"/>
              <a:gd name="connsiteY47" fmla="*/ 800100 h 4429294"/>
              <a:gd name="connsiteX48" fmla="*/ 650069 w 4501379"/>
              <a:gd name="connsiteY48" fmla="*/ 676275 h 4429294"/>
              <a:gd name="connsiteX49" fmla="*/ 869144 w 4501379"/>
              <a:gd name="connsiteY49" fmla="*/ 504825 h 4429294"/>
              <a:gd name="connsiteX50" fmla="*/ 1148544 w 4501379"/>
              <a:gd name="connsiteY50" fmla="*/ 311150 h 4429294"/>
              <a:gd name="connsiteX51" fmla="*/ 1507319 w 4501379"/>
              <a:gd name="connsiteY51" fmla="*/ 152400 h 4429294"/>
              <a:gd name="connsiteX52" fmla="*/ 1621619 w 4501379"/>
              <a:gd name="connsiteY52" fmla="*/ 111125 h 4429294"/>
              <a:gd name="connsiteX53" fmla="*/ 2253444 w 4501379"/>
              <a:gd name="connsiteY53" fmla="*/ 12700 h 4429294"/>
              <a:gd name="connsiteX0" fmla="*/ 2277090 w 4499625"/>
              <a:gd name="connsiteY0" fmla="*/ 0 h 4429294"/>
              <a:gd name="connsiteX1" fmla="*/ 2600940 w 4499625"/>
              <a:gd name="connsiteY1" fmla="*/ 15875 h 4429294"/>
              <a:gd name="connsiteX2" fmla="*/ 2896215 w 4499625"/>
              <a:gd name="connsiteY2" fmla="*/ 85725 h 4429294"/>
              <a:gd name="connsiteX3" fmla="*/ 3115290 w 4499625"/>
              <a:gd name="connsiteY3" fmla="*/ 171450 h 4429294"/>
              <a:gd name="connsiteX4" fmla="*/ 3220065 w 4499625"/>
              <a:gd name="connsiteY4" fmla="*/ 228600 h 4429294"/>
              <a:gd name="connsiteX5" fmla="*/ 3401040 w 4499625"/>
              <a:gd name="connsiteY5" fmla="*/ 323850 h 4429294"/>
              <a:gd name="connsiteX6" fmla="*/ 3791565 w 4499625"/>
              <a:gd name="connsiteY6" fmla="*/ 581025 h 4429294"/>
              <a:gd name="connsiteX7" fmla="*/ 4007465 w 4499625"/>
              <a:gd name="connsiteY7" fmla="*/ 819150 h 4429294"/>
              <a:gd name="connsiteX8" fmla="*/ 4143990 w 4499625"/>
              <a:gd name="connsiteY8" fmla="*/ 990600 h 4429294"/>
              <a:gd name="connsiteX9" fmla="*/ 4229715 w 4499625"/>
              <a:gd name="connsiteY9" fmla="*/ 1143000 h 4429294"/>
              <a:gd name="connsiteX10" fmla="*/ 4286865 w 4499625"/>
              <a:gd name="connsiteY10" fmla="*/ 1266825 h 4429294"/>
              <a:gd name="connsiteX11" fmla="*/ 4324965 w 4499625"/>
              <a:gd name="connsiteY11" fmla="*/ 1362075 h 4429294"/>
              <a:gd name="connsiteX12" fmla="*/ 4372590 w 4499625"/>
              <a:gd name="connsiteY12" fmla="*/ 1552575 h 4429294"/>
              <a:gd name="connsiteX13" fmla="*/ 4410690 w 4499625"/>
              <a:gd name="connsiteY13" fmla="*/ 1685925 h 4429294"/>
              <a:gd name="connsiteX14" fmla="*/ 4499590 w 4499625"/>
              <a:gd name="connsiteY14" fmla="*/ 2181225 h 4429294"/>
              <a:gd name="connsiteX15" fmla="*/ 4426565 w 4499625"/>
              <a:gd name="connsiteY15" fmla="*/ 2768600 h 4429294"/>
              <a:gd name="connsiteX16" fmla="*/ 4363065 w 4499625"/>
              <a:gd name="connsiteY16" fmla="*/ 2990850 h 4429294"/>
              <a:gd name="connsiteX17" fmla="*/ 4258290 w 4499625"/>
              <a:gd name="connsiteY17" fmla="*/ 3248025 h 4429294"/>
              <a:gd name="connsiteX18" fmla="*/ 4163040 w 4499625"/>
              <a:gd name="connsiteY18" fmla="*/ 3400425 h 4429294"/>
              <a:gd name="connsiteX19" fmla="*/ 4039215 w 4499625"/>
              <a:gd name="connsiteY19" fmla="*/ 3533775 h 4429294"/>
              <a:gd name="connsiteX20" fmla="*/ 3934440 w 4499625"/>
              <a:gd name="connsiteY20" fmla="*/ 3648075 h 4429294"/>
              <a:gd name="connsiteX21" fmla="*/ 3639165 w 4499625"/>
              <a:gd name="connsiteY21" fmla="*/ 3971925 h 4429294"/>
              <a:gd name="connsiteX22" fmla="*/ 3496290 w 4499625"/>
              <a:gd name="connsiteY22" fmla="*/ 4083050 h 4429294"/>
              <a:gd name="connsiteX23" fmla="*/ 3201015 w 4499625"/>
              <a:gd name="connsiteY23" fmla="*/ 4222750 h 4429294"/>
              <a:gd name="connsiteX24" fmla="*/ 3048615 w 4499625"/>
              <a:gd name="connsiteY24" fmla="*/ 4286250 h 4429294"/>
              <a:gd name="connsiteX25" fmla="*/ 2915265 w 4499625"/>
              <a:gd name="connsiteY25" fmla="*/ 4333875 h 4429294"/>
              <a:gd name="connsiteX26" fmla="*/ 2791440 w 4499625"/>
              <a:gd name="connsiteY26" fmla="*/ 4371975 h 4429294"/>
              <a:gd name="connsiteX27" fmla="*/ 2559665 w 4499625"/>
              <a:gd name="connsiteY27" fmla="*/ 4391025 h 4429294"/>
              <a:gd name="connsiteX28" fmla="*/ 2105640 w 4499625"/>
              <a:gd name="connsiteY28" fmla="*/ 4429125 h 4429294"/>
              <a:gd name="connsiteX29" fmla="*/ 1915140 w 4499625"/>
              <a:gd name="connsiteY29" fmla="*/ 4400550 h 4429294"/>
              <a:gd name="connsiteX30" fmla="*/ 1553190 w 4499625"/>
              <a:gd name="connsiteY30" fmla="*/ 4305300 h 4429294"/>
              <a:gd name="connsiteX31" fmla="*/ 1311890 w 4499625"/>
              <a:gd name="connsiteY31" fmla="*/ 4216400 h 4429294"/>
              <a:gd name="connsiteX32" fmla="*/ 1143615 w 4499625"/>
              <a:gd name="connsiteY32" fmla="*/ 4111625 h 4429294"/>
              <a:gd name="connsiteX33" fmla="*/ 924540 w 4499625"/>
              <a:gd name="connsiteY33" fmla="*/ 3968750 h 4429294"/>
              <a:gd name="connsiteX34" fmla="*/ 591165 w 4499625"/>
              <a:gd name="connsiteY34" fmla="*/ 3657600 h 4429294"/>
              <a:gd name="connsiteX35" fmla="*/ 445115 w 4499625"/>
              <a:gd name="connsiteY35" fmla="*/ 3470275 h 4429294"/>
              <a:gd name="connsiteX36" fmla="*/ 314940 w 4499625"/>
              <a:gd name="connsiteY36" fmla="*/ 3244850 h 4429294"/>
              <a:gd name="connsiteX37" fmla="*/ 162540 w 4499625"/>
              <a:gd name="connsiteY37" fmla="*/ 2892425 h 4429294"/>
              <a:gd name="connsiteX38" fmla="*/ 54590 w 4499625"/>
              <a:gd name="connsiteY38" fmla="*/ 2368550 h 4429294"/>
              <a:gd name="connsiteX39" fmla="*/ 615 w 4499625"/>
              <a:gd name="connsiteY39" fmla="*/ 1905000 h 4429294"/>
              <a:gd name="connsiteX40" fmla="*/ 29190 w 4499625"/>
              <a:gd name="connsiteY40" fmla="*/ 1781175 h 4429294"/>
              <a:gd name="connsiteX41" fmla="*/ 86340 w 4499625"/>
              <a:gd name="connsiteY41" fmla="*/ 1590675 h 4429294"/>
              <a:gd name="connsiteX42" fmla="*/ 133965 w 4499625"/>
              <a:gd name="connsiteY42" fmla="*/ 1419225 h 4429294"/>
              <a:gd name="connsiteX43" fmla="*/ 210165 w 4499625"/>
              <a:gd name="connsiteY43" fmla="*/ 1276350 h 4429294"/>
              <a:gd name="connsiteX44" fmla="*/ 295890 w 4499625"/>
              <a:gd name="connsiteY44" fmla="*/ 1114425 h 4429294"/>
              <a:gd name="connsiteX45" fmla="*/ 457815 w 4499625"/>
              <a:gd name="connsiteY45" fmla="*/ 857250 h 4429294"/>
              <a:gd name="connsiteX46" fmla="*/ 514965 w 4499625"/>
              <a:gd name="connsiteY46" fmla="*/ 800100 h 4429294"/>
              <a:gd name="connsiteX47" fmla="*/ 648315 w 4499625"/>
              <a:gd name="connsiteY47" fmla="*/ 676275 h 4429294"/>
              <a:gd name="connsiteX48" fmla="*/ 867390 w 4499625"/>
              <a:gd name="connsiteY48" fmla="*/ 504825 h 4429294"/>
              <a:gd name="connsiteX49" fmla="*/ 1146790 w 4499625"/>
              <a:gd name="connsiteY49" fmla="*/ 311150 h 4429294"/>
              <a:gd name="connsiteX50" fmla="*/ 1505565 w 4499625"/>
              <a:gd name="connsiteY50" fmla="*/ 152400 h 4429294"/>
              <a:gd name="connsiteX51" fmla="*/ 1619865 w 4499625"/>
              <a:gd name="connsiteY51" fmla="*/ 111125 h 4429294"/>
              <a:gd name="connsiteX52" fmla="*/ 2251690 w 4499625"/>
              <a:gd name="connsiteY52" fmla="*/ 12700 h 4429294"/>
              <a:gd name="connsiteX0" fmla="*/ 2249427 w 4471962"/>
              <a:gd name="connsiteY0" fmla="*/ 0 h 4429294"/>
              <a:gd name="connsiteX1" fmla="*/ 2573277 w 4471962"/>
              <a:gd name="connsiteY1" fmla="*/ 15875 h 4429294"/>
              <a:gd name="connsiteX2" fmla="*/ 2868552 w 4471962"/>
              <a:gd name="connsiteY2" fmla="*/ 85725 h 4429294"/>
              <a:gd name="connsiteX3" fmla="*/ 3087627 w 4471962"/>
              <a:gd name="connsiteY3" fmla="*/ 171450 h 4429294"/>
              <a:gd name="connsiteX4" fmla="*/ 3192402 w 4471962"/>
              <a:gd name="connsiteY4" fmla="*/ 228600 h 4429294"/>
              <a:gd name="connsiteX5" fmla="*/ 3373377 w 4471962"/>
              <a:gd name="connsiteY5" fmla="*/ 323850 h 4429294"/>
              <a:gd name="connsiteX6" fmla="*/ 3763902 w 4471962"/>
              <a:gd name="connsiteY6" fmla="*/ 581025 h 4429294"/>
              <a:gd name="connsiteX7" fmla="*/ 3979802 w 4471962"/>
              <a:gd name="connsiteY7" fmla="*/ 819150 h 4429294"/>
              <a:gd name="connsiteX8" fmla="*/ 4116327 w 4471962"/>
              <a:gd name="connsiteY8" fmla="*/ 990600 h 4429294"/>
              <a:gd name="connsiteX9" fmla="*/ 4202052 w 4471962"/>
              <a:gd name="connsiteY9" fmla="*/ 1143000 h 4429294"/>
              <a:gd name="connsiteX10" fmla="*/ 4259202 w 4471962"/>
              <a:gd name="connsiteY10" fmla="*/ 1266825 h 4429294"/>
              <a:gd name="connsiteX11" fmla="*/ 4297302 w 4471962"/>
              <a:gd name="connsiteY11" fmla="*/ 1362075 h 4429294"/>
              <a:gd name="connsiteX12" fmla="*/ 4344927 w 4471962"/>
              <a:gd name="connsiteY12" fmla="*/ 1552575 h 4429294"/>
              <a:gd name="connsiteX13" fmla="*/ 4383027 w 4471962"/>
              <a:gd name="connsiteY13" fmla="*/ 1685925 h 4429294"/>
              <a:gd name="connsiteX14" fmla="*/ 4471927 w 4471962"/>
              <a:gd name="connsiteY14" fmla="*/ 2181225 h 4429294"/>
              <a:gd name="connsiteX15" fmla="*/ 4398902 w 4471962"/>
              <a:gd name="connsiteY15" fmla="*/ 2768600 h 4429294"/>
              <a:gd name="connsiteX16" fmla="*/ 4335402 w 4471962"/>
              <a:gd name="connsiteY16" fmla="*/ 2990850 h 4429294"/>
              <a:gd name="connsiteX17" fmla="*/ 4230627 w 4471962"/>
              <a:gd name="connsiteY17" fmla="*/ 3248025 h 4429294"/>
              <a:gd name="connsiteX18" fmla="*/ 4135377 w 4471962"/>
              <a:gd name="connsiteY18" fmla="*/ 3400425 h 4429294"/>
              <a:gd name="connsiteX19" fmla="*/ 4011552 w 4471962"/>
              <a:gd name="connsiteY19" fmla="*/ 3533775 h 4429294"/>
              <a:gd name="connsiteX20" fmla="*/ 3906777 w 4471962"/>
              <a:gd name="connsiteY20" fmla="*/ 3648075 h 4429294"/>
              <a:gd name="connsiteX21" fmla="*/ 3611502 w 4471962"/>
              <a:gd name="connsiteY21" fmla="*/ 3971925 h 4429294"/>
              <a:gd name="connsiteX22" fmla="*/ 3468627 w 4471962"/>
              <a:gd name="connsiteY22" fmla="*/ 4083050 h 4429294"/>
              <a:gd name="connsiteX23" fmla="*/ 3173352 w 4471962"/>
              <a:gd name="connsiteY23" fmla="*/ 4222750 h 4429294"/>
              <a:gd name="connsiteX24" fmla="*/ 3020952 w 4471962"/>
              <a:gd name="connsiteY24" fmla="*/ 4286250 h 4429294"/>
              <a:gd name="connsiteX25" fmla="*/ 2887602 w 4471962"/>
              <a:gd name="connsiteY25" fmla="*/ 4333875 h 4429294"/>
              <a:gd name="connsiteX26" fmla="*/ 2763777 w 4471962"/>
              <a:gd name="connsiteY26" fmla="*/ 4371975 h 4429294"/>
              <a:gd name="connsiteX27" fmla="*/ 2532002 w 4471962"/>
              <a:gd name="connsiteY27" fmla="*/ 4391025 h 4429294"/>
              <a:gd name="connsiteX28" fmla="*/ 2077977 w 4471962"/>
              <a:gd name="connsiteY28" fmla="*/ 4429125 h 4429294"/>
              <a:gd name="connsiteX29" fmla="*/ 1887477 w 4471962"/>
              <a:gd name="connsiteY29" fmla="*/ 4400550 h 4429294"/>
              <a:gd name="connsiteX30" fmla="*/ 1525527 w 4471962"/>
              <a:gd name="connsiteY30" fmla="*/ 4305300 h 4429294"/>
              <a:gd name="connsiteX31" fmla="*/ 1284227 w 4471962"/>
              <a:gd name="connsiteY31" fmla="*/ 4216400 h 4429294"/>
              <a:gd name="connsiteX32" fmla="*/ 1115952 w 4471962"/>
              <a:gd name="connsiteY32" fmla="*/ 4111625 h 4429294"/>
              <a:gd name="connsiteX33" fmla="*/ 896877 w 4471962"/>
              <a:gd name="connsiteY33" fmla="*/ 3968750 h 4429294"/>
              <a:gd name="connsiteX34" fmla="*/ 563502 w 4471962"/>
              <a:gd name="connsiteY34" fmla="*/ 3657600 h 4429294"/>
              <a:gd name="connsiteX35" fmla="*/ 417452 w 4471962"/>
              <a:gd name="connsiteY35" fmla="*/ 3470275 h 4429294"/>
              <a:gd name="connsiteX36" fmla="*/ 287277 w 4471962"/>
              <a:gd name="connsiteY36" fmla="*/ 3244850 h 4429294"/>
              <a:gd name="connsiteX37" fmla="*/ 134877 w 4471962"/>
              <a:gd name="connsiteY37" fmla="*/ 2892425 h 4429294"/>
              <a:gd name="connsiteX38" fmla="*/ 26927 w 4471962"/>
              <a:gd name="connsiteY38" fmla="*/ 2368550 h 4429294"/>
              <a:gd name="connsiteX39" fmla="*/ 1527 w 4471962"/>
              <a:gd name="connsiteY39" fmla="*/ 1781175 h 4429294"/>
              <a:gd name="connsiteX40" fmla="*/ 58677 w 4471962"/>
              <a:gd name="connsiteY40" fmla="*/ 1590675 h 4429294"/>
              <a:gd name="connsiteX41" fmla="*/ 106302 w 4471962"/>
              <a:gd name="connsiteY41" fmla="*/ 1419225 h 4429294"/>
              <a:gd name="connsiteX42" fmla="*/ 182502 w 4471962"/>
              <a:gd name="connsiteY42" fmla="*/ 1276350 h 4429294"/>
              <a:gd name="connsiteX43" fmla="*/ 268227 w 4471962"/>
              <a:gd name="connsiteY43" fmla="*/ 1114425 h 4429294"/>
              <a:gd name="connsiteX44" fmla="*/ 430152 w 4471962"/>
              <a:gd name="connsiteY44" fmla="*/ 857250 h 4429294"/>
              <a:gd name="connsiteX45" fmla="*/ 487302 w 4471962"/>
              <a:gd name="connsiteY45" fmla="*/ 800100 h 4429294"/>
              <a:gd name="connsiteX46" fmla="*/ 620652 w 4471962"/>
              <a:gd name="connsiteY46" fmla="*/ 676275 h 4429294"/>
              <a:gd name="connsiteX47" fmla="*/ 839727 w 4471962"/>
              <a:gd name="connsiteY47" fmla="*/ 504825 h 4429294"/>
              <a:gd name="connsiteX48" fmla="*/ 1119127 w 4471962"/>
              <a:gd name="connsiteY48" fmla="*/ 311150 h 4429294"/>
              <a:gd name="connsiteX49" fmla="*/ 1477902 w 4471962"/>
              <a:gd name="connsiteY49" fmla="*/ 152400 h 4429294"/>
              <a:gd name="connsiteX50" fmla="*/ 1592202 w 4471962"/>
              <a:gd name="connsiteY50" fmla="*/ 111125 h 4429294"/>
              <a:gd name="connsiteX51" fmla="*/ 2224027 w 4471962"/>
              <a:gd name="connsiteY51" fmla="*/ 12700 h 4429294"/>
              <a:gd name="connsiteX0" fmla="*/ 2231942 w 4454477"/>
              <a:gd name="connsiteY0" fmla="*/ 0 h 4429294"/>
              <a:gd name="connsiteX1" fmla="*/ 2555792 w 4454477"/>
              <a:gd name="connsiteY1" fmla="*/ 15875 h 4429294"/>
              <a:gd name="connsiteX2" fmla="*/ 2851067 w 4454477"/>
              <a:gd name="connsiteY2" fmla="*/ 85725 h 4429294"/>
              <a:gd name="connsiteX3" fmla="*/ 3070142 w 4454477"/>
              <a:gd name="connsiteY3" fmla="*/ 171450 h 4429294"/>
              <a:gd name="connsiteX4" fmla="*/ 3174917 w 4454477"/>
              <a:gd name="connsiteY4" fmla="*/ 228600 h 4429294"/>
              <a:gd name="connsiteX5" fmla="*/ 3355892 w 4454477"/>
              <a:gd name="connsiteY5" fmla="*/ 323850 h 4429294"/>
              <a:gd name="connsiteX6" fmla="*/ 3746417 w 4454477"/>
              <a:gd name="connsiteY6" fmla="*/ 581025 h 4429294"/>
              <a:gd name="connsiteX7" fmla="*/ 3962317 w 4454477"/>
              <a:gd name="connsiteY7" fmla="*/ 819150 h 4429294"/>
              <a:gd name="connsiteX8" fmla="*/ 4098842 w 4454477"/>
              <a:gd name="connsiteY8" fmla="*/ 990600 h 4429294"/>
              <a:gd name="connsiteX9" fmla="*/ 4184567 w 4454477"/>
              <a:gd name="connsiteY9" fmla="*/ 1143000 h 4429294"/>
              <a:gd name="connsiteX10" fmla="*/ 4241717 w 4454477"/>
              <a:gd name="connsiteY10" fmla="*/ 1266825 h 4429294"/>
              <a:gd name="connsiteX11" fmla="*/ 4279817 w 4454477"/>
              <a:gd name="connsiteY11" fmla="*/ 1362075 h 4429294"/>
              <a:gd name="connsiteX12" fmla="*/ 4327442 w 4454477"/>
              <a:gd name="connsiteY12" fmla="*/ 1552575 h 4429294"/>
              <a:gd name="connsiteX13" fmla="*/ 4365542 w 4454477"/>
              <a:gd name="connsiteY13" fmla="*/ 1685925 h 4429294"/>
              <a:gd name="connsiteX14" fmla="*/ 4454442 w 4454477"/>
              <a:gd name="connsiteY14" fmla="*/ 2181225 h 4429294"/>
              <a:gd name="connsiteX15" fmla="*/ 4381417 w 4454477"/>
              <a:gd name="connsiteY15" fmla="*/ 2768600 h 4429294"/>
              <a:gd name="connsiteX16" fmla="*/ 4317917 w 4454477"/>
              <a:gd name="connsiteY16" fmla="*/ 2990850 h 4429294"/>
              <a:gd name="connsiteX17" fmla="*/ 4213142 w 4454477"/>
              <a:gd name="connsiteY17" fmla="*/ 3248025 h 4429294"/>
              <a:gd name="connsiteX18" fmla="*/ 4117892 w 4454477"/>
              <a:gd name="connsiteY18" fmla="*/ 3400425 h 4429294"/>
              <a:gd name="connsiteX19" fmla="*/ 3994067 w 4454477"/>
              <a:gd name="connsiteY19" fmla="*/ 3533775 h 4429294"/>
              <a:gd name="connsiteX20" fmla="*/ 3889292 w 4454477"/>
              <a:gd name="connsiteY20" fmla="*/ 3648075 h 4429294"/>
              <a:gd name="connsiteX21" fmla="*/ 3594017 w 4454477"/>
              <a:gd name="connsiteY21" fmla="*/ 3971925 h 4429294"/>
              <a:gd name="connsiteX22" fmla="*/ 3451142 w 4454477"/>
              <a:gd name="connsiteY22" fmla="*/ 4083050 h 4429294"/>
              <a:gd name="connsiteX23" fmla="*/ 3155867 w 4454477"/>
              <a:gd name="connsiteY23" fmla="*/ 4222750 h 4429294"/>
              <a:gd name="connsiteX24" fmla="*/ 3003467 w 4454477"/>
              <a:gd name="connsiteY24" fmla="*/ 4286250 h 4429294"/>
              <a:gd name="connsiteX25" fmla="*/ 2870117 w 4454477"/>
              <a:gd name="connsiteY25" fmla="*/ 4333875 h 4429294"/>
              <a:gd name="connsiteX26" fmla="*/ 2746292 w 4454477"/>
              <a:gd name="connsiteY26" fmla="*/ 4371975 h 4429294"/>
              <a:gd name="connsiteX27" fmla="*/ 2514517 w 4454477"/>
              <a:gd name="connsiteY27" fmla="*/ 4391025 h 4429294"/>
              <a:gd name="connsiteX28" fmla="*/ 2060492 w 4454477"/>
              <a:gd name="connsiteY28" fmla="*/ 4429125 h 4429294"/>
              <a:gd name="connsiteX29" fmla="*/ 1869992 w 4454477"/>
              <a:gd name="connsiteY29" fmla="*/ 4400550 h 4429294"/>
              <a:gd name="connsiteX30" fmla="*/ 1508042 w 4454477"/>
              <a:gd name="connsiteY30" fmla="*/ 4305300 h 4429294"/>
              <a:gd name="connsiteX31" fmla="*/ 1266742 w 4454477"/>
              <a:gd name="connsiteY31" fmla="*/ 4216400 h 4429294"/>
              <a:gd name="connsiteX32" fmla="*/ 1098467 w 4454477"/>
              <a:gd name="connsiteY32" fmla="*/ 4111625 h 4429294"/>
              <a:gd name="connsiteX33" fmla="*/ 879392 w 4454477"/>
              <a:gd name="connsiteY33" fmla="*/ 3968750 h 4429294"/>
              <a:gd name="connsiteX34" fmla="*/ 546017 w 4454477"/>
              <a:gd name="connsiteY34" fmla="*/ 3657600 h 4429294"/>
              <a:gd name="connsiteX35" fmla="*/ 399967 w 4454477"/>
              <a:gd name="connsiteY35" fmla="*/ 3470275 h 4429294"/>
              <a:gd name="connsiteX36" fmla="*/ 269792 w 4454477"/>
              <a:gd name="connsiteY36" fmla="*/ 3244850 h 4429294"/>
              <a:gd name="connsiteX37" fmla="*/ 117392 w 4454477"/>
              <a:gd name="connsiteY37" fmla="*/ 2892425 h 4429294"/>
              <a:gd name="connsiteX38" fmla="*/ 9442 w 4454477"/>
              <a:gd name="connsiteY38" fmla="*/ 2368550 h 4429294"/>
              <a:gd name="connsiteX39" fmla="*/ 15792 w 4454477"/>
              <a:gd name="connsiteY39" fmla="*/ 1870075 h 4429294"/>
              <a:gd name="connsiteX40" fmla="*/ 41192 w 4454477"/>
              <a:gd name="connsiteY40" fmla="*/ 1590675 h 4429294"/>
              <a:gd name="connsiteX41" fmla="*/ 88817 w 4454477"/>
              <a:gd name="connsiteY41" fmla="*/ 1419225 h 4429294"/>
              <a:gd name="connsiteX42" fmla="*/ 165017 w 4454477"/>
              <a:gd name="connsiteY42" fmla="*/ 1276350 h 4429294"/>
              <a:gd name="connsiteX43" fmla="*/ 250742 w 4454477"/>
              <a:gd name="connsiteY43" fmla="*/ 1114425 h 4429294"/>
              <a:gd name="connsiteX44" fmla="*/ 412667 w 4454477"/>
              <a:gd name="connsiteY44" fmla="*/ 857250 h 4429294"/>
              <a:gd name="connsiteX45" fmla="*/ 469817 w 4454477"/>
              <a:gd name="connsiteY45" fmla="*/ 800100 h 4429294"/>
              <a:gd name="connsiteX46" fmla="*/ 603167 w 4454477"/>
              <a:gd name="connsiteY46" fmla="*/ 676275 h 4429294"/>
              <a:gd name="connsiteX47" fmla="*/ 822242 w 4454477"/>
              <a:gd name="connsiteY47" fmla="*/ 504825 h 4429294"/>
              <a:gd name="connsiteX48" fmla="*/ 1101642 w 4454477"/>
              <a:gd name="connsiteY48" fmla="*/ 311150 h 4429294"/>
              <a:gd name="connsiteX49" fmla="*/ 1460417 w 4454477"/>
              <a:gd name="connsiteY49" fmla="*/ 152400 h 4429294"/>
              <a:gd name="connsiteX50" fmla="*/ 1574717 w 4454477"/>
              <a:gd name="connsiteY50" fmla="*/ 111125 h 4429294"/>
              <a:gd name="connsiteX51" fmla="*/ 2206542 w 4454477"/>
              <a:gd name="connsiteY51" fmla="*/ 12700 h 4429294"/>
              <a:gd name="connsiteX0" fmla="*/ 2233750 w 4456285"/>
              <a:gd name="connsiteY0" fmla="*/ 0 h 4429294"/>
              <a:gd name="connsiteX1" fmla="*/ 2557600 w 4456285"/>
              <a:gd name="connsiteY1" fmla="*/ 15875 h 4429294"/>
              <a:gd name="connsiteX2" fmla="*/ 2852875 w 4456285"/>
              <a:gd name="connsiteY2" fmla="*/ 85725 h 4429294"/>
              <a:gd name="connsiteX3" fmla="*/ 3071950 w 4456285"/>
              <a:gd name="connsiteY3" fmla="*/ 171450 h 4429294"/>
              <a:gd name="connsiteX4" fmla="*/ 3176725 w 4456285"/>
              <a:gd name="connsiteY4" fmla="*/ 228600 h 4429294"/>
              <a:gd name="connsiteX5" fmla="*/ 3357700 w 4456285"/>
              <a:gd name="connsiteY5" fmla="*/ 323850 h 4429294"/>
              <a:gd name="connsiteX6" fmla="*/ 3748225 w 4456285"/>
              <a:gd name="connsiteY6" fmla="*/ 581025 h 4429294"/>
              <a:gd name="connsiteX7" fmla="*/ 3964125 w 4456285"/>
              <a:gd name="connsiteY7" fmla="*/ 819150 h 4429294"/>
              <a:gd name="connsiteX8" fmla="*/ 4100650 w 4456285"/>
              <a:gd name="connsiteY8" fmla="*/ 990600 h 4429294"/>
              <a:gd name="connsiteX9" fmla="*/ 4186375 w 4456285"/>
              <a:gd name="connsiteY9" fmla="*/ 1143000 h 4429294"/>
              <a:gd name="connsiteX10" fmla="*/ 4243525 w 4456285"/>
              <a:gd name="connsiteY10" fmla="*/ 1266825 h 4429294"/>
              <a:gd name="connsiteX11" fmla="*/ 4281625 w 4456285"/>
              <a:gd name="connsiteY11" fmla="*/ 1362075 h 4429294"/>
              <a:gd name="connsiteX12" fmla="*/ 4329250 w 4456285"/>
              <a:gd name="connsiteY12" fmla="*/ 1552575 h 4429294"/>
              <a:gd name="connsiteX13" fmla="*/ 4367350 w 4456285"/>
              <a:gd name="connsiteY13" fmla="*/ 1685925 h 4429294"/>
              <a:gd name="connsiteX14" fmla="*/ 4456250 w 4456285"/>
              <a:gd name="connsiteY14" fmla="*/ 2181225 h 4429294"/>
              <a:gd name="connsiteX15" fmla="*/ 4383225 w 4456285"/>
              <a:gd name="connsiteY15" fmla="*/ 2768600 h 4429294"/>
              <a:gd name="connsiteX16" fmla="*/ 4319725 w 4456285"/>
              <a:gd name="connsiteY16" fmla="*/ 2990850 h 4429294"/>
              <a:gd name="connsiteX17" fmla="*/ 4214950 w 4456285"/>
              <a:gd name="connsiteY17" fmla="*/ 3248025 h 4429294"/>
              <a:gd name="connsiteX18" fmla="*/ 4119700 w 4456285"/>
              <a:gd name="connsiteY18" fmla="*/ 3400425 h 4429294"/>
              <a:gd name="connsiteX19" fmla="*/ 3995875 w 4456285"/>
              <a:gd name="connsiteY19" fmla="*/ 3533775 h 4429294"/>
              <a:gd name="connsiteX20" fmla="*/ 3891100 w 4456285"/>
              <a:gd name="connsiteY20" fmla="*/ 3648075 h 4429294"/>
              <a:gd name="connsiteX21" fmla="*/ 3595825 w 4456285"/>
              <a:gd name="connsiteY21" fmla="*/ 3971925 h 4429294"/>
              <a:gd name="connsiteX22" fmla="*/ 3452950 w 4456285"/>
              <a:gd name="connsiteY22" fmla="*/ 4083050 h 4429294"/>
              <a:gd name="connsiteX23" fmla="*/ 3157675 w 4456285"/>
              <a:gd name="connsiteY23" fmla="*/ 4222750 h 4429294"/>
              <a:gd name="connsiteX24" fmla="*/ 3005275 w 4456285"/>
              <a:gd name="connsiteY24" fmla="*/ 4286250 h 4429294"/>
              <a:gd name="connsiteX25" fmla="*/ 2871925 w 4456285"/>
              <a:gd name="connsiteY25" fmla="*/ 4333875 h 4429294"/>
              <a:gd name="connsiteX26" fmla="*/ 2748100 w 4456285"/>
              <a:gd name="connsiteY26" fmla="*/ 4371975 h 4429294"/>
              <a:gd name="connsiteX27" fmla="*/ 2516325 w 4456285"/>
              <a:gd name="connsiteY27" fmla="*/ 4391025 h 4429294"/>
              <a:gd name="connsiteX28" fmla="*/ 2062300 w 4456285"/>
              <a:gd name="connsiteY28" fmla="*/ 4429125 h 4429294"/>
              <a:gd name="connsiteX29" fmla="*/ 1871800 w 4456285"/>
              <a:gd name="connsiteY29" fmla="*/ 4400550 h 4429294"/>
              <a:gd name="connsiteX30" fmla="*/ 1509850 w 4456285"/>
              <a:gd name="connsiteY30" fmla="*/ 4305300 h 4429294"/>
              <a:gd name="connsiteX31" fmla="*/ 1268550 w 4456285"/>
              <a:gd name="connsiteY31" fmla="*/ 4216400 h 4429294"/>
              <a:gd name="connsiteX32" fmla="*/ 1100275 w 4456285"/>
              <a:gd name="connsiteY32" fmla="*/ 4111625 h 4429294"/>
              <a:gd name="connsiteX33" fmla="*/ 881200 w 4456285"/>
              <a:gd name="connsiteY33" fmla="*/ 3968750 h 4429294"/>
              <a:gd name="connsiteX34" fmla="*/ 547825 w 4456285"/>
              <a:gd name="connsiteY34" fmla="*/ 3657600 h 4429294"/>
              <a:gd name="connsiteX35" fmla="*/ 401775 w 4456285"/>
              <a:gd name="connsiteY35" fmla="*/ 3470275 h 4429294"/>
              <a:gd name="connsiteX36" fmla="*/ 271600 w 4456285"/>
              <a:gd name="connsiteY36" fmla="*/ 3244850 h 4429294"/>
              <a:gd name="connsiteX37" fmla="*/ 119200 w 4456285"/>
              <a:gd name="connsiteY37" fmla="*/ 2892425 h 4429294"/>
              <a:gd name="connsiteX38" fmla="*/ 11250 w 4456285"/>
              <a:gd name="connsiteY38" fmla="*/ 2368550 h 4429294"/>
              <a:gd name="connsiteX39" fmla="*/ 17600 w 4456285"/>
              <a:gd name="connsiteY39" fmla="*/ 1870075 h 4429294"/>
              <a:gd name="connsiteX40" fmla="*/ 90625 w 4456285"/>
              <a:gd name="connsiteY40" fmla="*/ 1419225 h 4429294"/>
              <a:gd name="connsiteX41" fmla="*/ 166825 w 4456285"/>
              <a:gd name="connsiteY41" fmla="*/ 1276350 h 4429294"/>
              <a:gd name="connsiteX42" fmla="*/ 252550 w 4456285"/>
              <a:gd name="connsiteY42" fmla="*/ 1114425 h 4429294"/>
              <a:gd name="connsiteX43" fmla="*/ 414475 w 4456285"/>
              <a:gd name="connsiteY43" fmla="*/ 857250 h 4429294"/>
              <a:gd name="connsiteX44" fmla="*/ 471625 w 4456285"/>
              <a:gd name="connsiteY44" fmla="*/ 800100 h 4429294"/>
              <a:gd name="connsiteX45" fmla="*/ 604975 w 4456285"/>
              <a:gd name="connsiteY45" fmla="*/ 676275 h 4429294"/>
              <a:gd name="connsiteX46" fmla="*/ 824050 w 4456285"/>
              <a:gd name="connsiteY46" fmla="*/ 504825 h 4429294"/>
              <a:gd name="connsiteX47" fmla="*/ 1103450 w 4456285"/>
              <a:gd name="connsiteY47" fmla="*/ 311150 h 4429294"/>
              <a:gd name="connsiteX48" fmla="*/ 1462225 w 4456285"/>
              <a:gd name="connsiteY48" fmla="*/ 152400 h 4429294"/>
              <a:gd name="connsiteX49" fmla="*/ 1576525 w 4456285"/>
              <a:gd name="connsiteY49" fmla="*/ 111125 h 4429294"/>
              <a:gd name="connsiteX50" fmla="*/ 2208350 w 4456285"/>
              <a:gd name="connsiteY50" fmla="*/ 12700 h 4429294"/>
              <a:gd name="connsiteX0" fmla="*/ 2237540 w 4460075"/>
              <a:gd name="connsiteY0" fmla="*/ 0 h 4429294"/>
              <a:gd name="connsiteX1" fmla="*/ 2561390 w 4460075"/>
              <a:gd name="connsiteY1" fmla="*/ 15875 h 4429294"/>
              <a:gd name="connsiteX2" fmla="*/ 2856665 w 4460075"/>
              <a:gd name="connsiteY2" fmla="*/ 85725 h 4429294"/>
              <a:gd name="connsiteX3" fmla="*/ 3075740 w 4460075"/>
              <a:gd name="connsiteY3" fmla="*/ 171450 h 4429294"/>
              <a:gd name="connsiteX4" fmla="*/ 3180515 w 4460075"/>
              <a:gd name="connsiteY4" fmla="*/ 228600 h 4429294"/>
              <a:gd name="connsiteX5" fmla="*/ 3361490 w 4460075"/>
              <a:gd name="connsiteY5" fmla="*/ 323850 h 4429294"/>
              <a:gd name="connsiteX6" fmla="*/ 3752015 w 4460075"/>
              <a:gd name="connsiteY6" fmla="*/ 581025 h 4429294"/>
              <a:gd name="connsiteX7" fmla="*/ 3967915 w 4460075"/>
              <a:gd name="connsiteY7" fmla="*/ 819150 h 4429294"/>
              <a:gd name="connsiteX8" fmla="*/ 4104440 w 4460075"/>
              <a:gd name="connsiteY8" fmla="*/ 990600 h 4429294"/>
              <a:gd name="connsiteX9" fmla="*/ 4190165 w 4460075"/>
              <a:gd name="connsiteY9" fmla="*/ 1143000 h 4429294"/>
              <a:gd name="connsiteX10" fmla="*/ 4247315 w 4460075"/>
              <a:gd name="connsiteY10" fmla="*/ 1266825 h 4429294"/>
              <a:gd name="connsiteX11" fmla="*/ 4285415 w 4460075"/>
              <a:gd name="connsiteY11" fmla="*/ 1362075 h 4429294"/>
              <a:gd name="connsiteX12" fmla="*/ 4333040 w 4460075"/>
              <a:gd name="connsiteY12" fmla="*/ 1552575 h 4429294"/>
              <a:gd name="connsiteX13" fmla="*/ 4371140 w 4460075"/>
              <a:gd name="connsiteY13" fmla="*/ 1685925 h 4429294"/>
              <a:gd name="connsiteX14" fmla="*/ 4460040 w 4460075"/>
              <a:gd name="connsiteY14" fmla="*/ 2181225 h 4429294"/>
              <a:gd name="connsiteX15" fmla="*/ 4387015 w 4460075"/>
              <a:gd name="connsiteY15" fmla="*/ 2768600 h 4429294"/>
              <a:gd name="connsiteX16" fmla="*/ 4323515 w 4460075"/>
              <a:gd name="connsiteY16" fmla="*/ 2990850 h 4429294"/>
              <a:gd name="connsiteX17" fmla="*/ 4218740 w 4460075"/>
              <a:gd name="connsiteY17" fmla="*/ 3248025 h 4429294"/>
              <a:gd name="connsiteX18" fmla="*/ 4123490 w 4460075"/>
              <a:gd name="connsiteY18" fmla="*/ 3400425 h 4429294"/>
              <a:gd name="connsiteX19" fmla="*/ 3999665 w 4460075"/>
              <a:gd name="connsiteY19" fmla="*/ 3533775 h 4429294"/>
              <a:gd name="connsiteX20" fmla="*/ 3894890 w 4460075"/>
              <a:gd name="connsiteY20" fmla="*/ 3648075 h 4429294"/>
              <a:gd name="connsiteX21" fmla="*/ 3599615 w 4460075"/>
              <a:gd name="connsiteY21" fmla="*/ 3971925 h 4429294"/>
              <a:gd name="connsiteX22" fmla="*/ 3456740 w 4460075"/>
              <a:gd name="connsiteY22" fmla="*/ 4083050 h 4429294"/>
              <a:gd name="connsiteX23" fmla="*/ 3161465 w 4460075"/>
              <a:gd name="connsiteY23" fmla="*/ 4222750 h 4429294"/>
              <a:gd name="connsiteX24" fmla="*/ 3009065 w 4460075"/>
              <a:gd name="connsiteY24" fmla="*/ 4286250 h 4429294"/>
              <a:gd name="connsiteX25" fmla="*/ 2875715 w 4460075"/>
              <a:gd name="connsiteY25" fmla="*/ 4333875 h 4429294"/>
              <a:gd name="connsiteX26" fmla="*/ 2751890 w 4460075"/>
              <a:gd name="connsiteY26" fmla="*/ 4371975 h 4429294"/>
              <a:gd name="connsiteX27" fmla="*/ 2520115 w 4460075"/>
              <a:gd name="connsiteY27" fmla="*/ 4391025 h 4429294"/>
              <a:gd name="connsiteX28" fmla="*/ 2066090 w 4460075"/>
              <a:gd name="connsiteY28" fmla="*/ 4429125 h 4429294"/>
              <a:gd name="connsiteX29" fmla="*/ 1875590 w 4460075"/>
              <a:gd name="connsiteY29" fmla="*/ 4400550 h 4429294"/>
              <a:gd name="connsiteX30" fmla="*/ 1513640 w 4460075"/>
              <a:gd name="connsiteY30" fmla="*/ 4305300 h 4429294"/>
              <a:gd name="connsiteX31" fmla="*/ 1272340 w 4460075"/>
              <a:gd name="connsiteY31" fmla="*/ 4216400 h 4429294"/>
              <a:gd name="connsiteX32" fmla="*/ 1104065 w 4460075"/>
              <a:gd name="connsiteY32" fmla="*/ 4111625 h 4429294"/>
              <a:gd name="connsiteX33" fmla="*/ 884990 w 4460075"/>
              <a:gd name="connsiteY33" fmla="*/ 3968750 h 4429294"/>
              <a:gd name="connsiteX34" fmla="*/ 551615 w 4460075"/>
              <a:gd name="connsiteY34" fmla="*/ 3657600 h 4429294"/>
              <a:gd name="connsiteX35" fmla="*/ 405565 w 4460075"/>
              <a:gd name="connsiteY35" fmla="*/ 3470275 h 4429294"/>
              <a:gd name="connsiteX36" fmla="*/ 275390 w 4460075"/>
              <a:gd name="connsiteY36" fmla="*/ 3244850 h 4429294"/>
              <a:gd name="connsiteX37" fmla="*/ 122990 w 4460075"/>
              <a:gd name="connsiteY37" fmla="*/ 2892425 h 4429294"/>
              <a:gd name="connsiteX38" fmla="*/ 15040 w 4460075"/>
              <a:gd name="connsiteY38" fmla="*/ 2368550 h 4429294"/>
              <a:gd name="connsiteX39" fmla="*/ 21390 w 4460075"/>
              <a:gd name="connsiteY39" fmla="*/ 1870075 h 4429294"/>
              <a:gd name="connsiteX40" fmla="*/ 170615 w 4460075"/>
              <a:gd name="connsiteY40" fmla="*/ 1276350 h 4429294"/>
              <a:gd name="connsiteX41" fmla="*/ 256340 w 4460075"/>
              <a:gd name="connsiteY41" fmla="*/ 1114425 h 4429294"/>
              <a:gd name="connsiteX42" fmla="*/ 418265 w 4460075"/>
              <a:gd name="connsiteY42" fmla="*/ 857250 h 4429294"/>
              <a:gd name="connsiteX43" fmla="*/ 475415 w 4460075"/>
              <a:gd name="connsiteY43" fmla="*/ 800100 h 4429294"/>
              <a:gd name="connsiteX44" fmla="*/ 608765 w 4460075"/>
              <a:gd name="connsiteY44" fmla="*/ 676275 h 4429294"/>
              <a:gd name="connsiteX45" fmla="*/ 827840 w 4460075"/>
              <a:gd name="connsiteY45" fmla="*/ 504825 h 4429294"/>
              <a:gd name="connsiteX46" fmla="*/ 1107240 w 4460075"/>
              <a:gd name="connsiteY46" fmla="*/ 311150 h 4429294"/>
              <a:gd name="connsiteX47" fmla="*/ 1466015 w 4460075"/>
              <a:gd name="connsiteY47" fmla="*/ 152400 h 4429294"/>
              <a:gd name="connsiteX48" fmla="*/ 1580315 w 4460075"/>
              <a:gd name="connsiteY48" fmla="*/ 111125 h 4429294"/>
              <a:gd name="connsiteX49" fmla="*/ 2212140 w 4460075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57065 w 4460800"/>
              <a:gd name="connsiteY41" fmla="*/ 1114425 h 4429294"/>
              <a:gd name="connsiteX42" fmla="*/ 418990 w 4460800"/>
              <a:gd name="connsiteY42" fmla="*/ 857250 h 4429294"/>
              <a:gd name="connsiteX43" fmla="*/ 476140 w 4460800"/>
              <a:gd name="connsiteY43" fmla="*/ 800100 h 4429294"/>
              <a:gd name="connsiteX44" fmla="*/ 609490 w 4460800"/>
              <a:gd name="connsiteY44" fmla="*/ 676275 h 4429294"/>
              <a:gd name="connsiteX45" fmla="*/ 828565 w 4460800"/>
              <a:gd name="connsiteY45" fmla="*/ 504825 h 4429294"/>
              <a:gd name="connsiteX46" fmla="*/ 1107965 w 4460800"/>
              <a:gd name="connsiteY46" fmla="*/ 311150 h 4429294"/>
              <a:gd name="connsiteX47" fmla="*/ 1466740 w 4460800"/>
              <a:gd name="connsiteY47" fmla="*/ 152400 h 4429294"/>
              <a:gd name="connsiteX48" fmla="*/ 1581040 w 4460800"/>
              <a:gd name="connsiteY48" fmla="*/ 111125 h 4429294"/>
              <a:gd name="connsiteX49" fmla="*/ 2212865 w 4460800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418990 w 4460800"/>
              <a:gd name="connsiteY42" fmla="*/ 857250 h 4429294"/>
              <a:gd name="connsiteX43" fmla="*/ 476140 w 4460800"/>
              <a:gd name="connsiteY43" fmla="*/ 800100 h 4429294"/>
              <a:gd name="connsiteX44" fmla="*/ 609490 w 4460800"/>
              <a:gd name="connsiteY44" fmla="*/ 676275 h 4429294"/>
              <a:gd name="connsiteX45" fmla="*/ 828565 w 4460800"/>
              <a:gd name="connsiteY45" fmla="*/ 504825 h 4429294"/>
              <a:gd name="connsiteX46" fmla="*/ 1107965 w 4460800"/>
              <a:gd name="connsiteY46" fmla="*/ 311150 h 4429294"/>
              <a:gd name="connsiteX47" fmla="*/ 1466740 w 4460800"/>
              <a:gd name="connsiteY47" fmla="*/ 152400 h 4429294"/>
              <a:gd name="connsiteX48" fmla="*/ 1581040 w 4460800"/>
              <a:gd name="connsiteY48" fmla="*/ 111125 h 4429294"/>
              <a:gd name="connsiteX49" fmla="*/ 2212865 w 4460800"/>
              <a:gd name="connsiteY49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476140 w 4460800"/>
              <a:gd name="connsiteY42" fmla="*/ 800100 h 4429294"/>
              <a:gd name="connsiteX43" fmla="*/ 609490 w 4460800"/>
              <a:gd name="connsiteY43" fmla="*/ 676275 h 4429294"/>
              <a:gd name="connsiteX44" fmla="*/ 828565 w 4460800"/>
              <a:gd name="connsiteY44" fmla="*/ 504825 h 4429294"/>
              <a:gd name="connsiteX45" fmla="*/ 1107965 w 4460800"/>
              <a:gd name="connsiteY45" fmla="*/ 311150 h 4429294"/>
              <a:gd name="connsiteX46" fmla="*/ 1466740 w 4460800"/>
              <a:gd name="connsiteY46" fmla="*/ 152400 h 4429294"/>
              <a:gd name="connsiteX47" fmla="*/ 1581040 w 4460800"/>
              <a:gd name="connsiteY47" fmla="*/ 111125 h 4429294"/>
              <a:gd name="connsiteX48" fmla="*/ 2212865 w 4460800"/>
              <a:gd name="connsiteY48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609490 w 4460800"/>
              <a:gd name="connsiteY42" fmla="*/ 676275 h 4429294"/>
              <a:gd name="connsiteX43" fmla="*/ 828565 w 4460800"/>
              <a:gd name="connsiteY43" fmla="*/ 504825 h 4429294"/>
              <a:gd name="connsiteX44" fmla="*/ 1107965 w 4460800"/>
              <a:gd name="connsiteY44" fmla="*/ 311150 h 4429294"/>
              <a:gd name="connsiteX45" fmla="*/ 1466740 w 4460800"/>
              <a:gd name="connsiteY45" fmla="*/ 152400 h 4429294"/>
              <a:gd name="connsiteX46" fmla="*/ 1581040 w 4460800"/>
              <a:gd name="connsiteY46" fmla="*/ 111125 h 4429294"/>
              <a:gd name="connsiteX47" fmla="*/ 2212865 w 4460800"/>
              <a:gd name="connsiteY47" fmla="*/ 12700 h 4429294"/>
              <a:gd name="connsiteX0" fmla="*/ 2238265 w 4460800"/>
              <a:gd name="connsiteY0" fmla="*/ 0 h 4429294"/>
              <a:gd name="connsiteX1" fmla="*/ 2562115 w 4460800"/>
              <a:gd name="connsiteY1" fmla="*/ 15875 h 4429294"/>
              <a:gd name="connsiteX2" fmla="*/ 2857390 w 4460800"/>
              <a:gd name="connsiteY2" fmla="*/ 85725 h 4429294"/>
              <a:gd name="connsiteX3" fmla="*/ 3076465 w 4460800"/>
              <a:gd name="connsiteY3" fmla="*/ 171450 h 4429294"/>
              <a:gd name="connsiteX4" fmla="*/ 3181240 w 4460800"/>
              <a:gd name="connsiteY4" fmla="*/ 228600 h 4429294"/>
              <a:gd name="connsiteX5" fmla="*/ 3362215 w 4460800"/>
              <a:gd name="connsiteY5" fmla="*/ 323850 h 4429294"/>
              <a:gd name="connsiteX6" fmla="*/ 3752740 w 4460800"/>
              <a:gd name="connsiteY6" fmla="*/ 581025 h 4429294"/>
              <a:gd name="connsiteX7" fmla="*/ 3968640 w 4460800"/>
              <a:gd name="connsiteY7" fmla="*/ 819150 h 4429294"/>
              <a:gd name="connsiteX8" fmla="*/ 4105165 w 4460800"/>
              <a:gd name="connsiteY8" fmla="*/ 990600 h 4429294"/>
              <a:gd name="connsiteX9" fmla="*/ 4190890 w 4460800"/>
              <a:gd name="connsiteY9" fmla="*/ 1143000 h 4429294"/>
              <a:gd name="connsiteX10" fmla="*/ 4248040 w 4460800"/>
              <a:gd name="connsiteY10" fmla="*/ 1266825 h 4429294"/>
              <a:gd name="connsiteX11" fmla="*/ 4286140 w 4460800"/>
              <a:gd name="connsiteY11" fmla="*/ 1362075 h 4429294"/>
              <a:gd name="connsiteX12" fmla="*/ 4333765 w 4460800"/>
              <a:gd name="connsiteY12" fmla="*/ 1552575 h 4429294"/>
              <a:gd name="connsiteX13" fmla="*/ 4371865 w 4460800"/>
              <a:gd name="connsiteY13" fmla="*/ 1685925 h 4429294"/>
              <a:gd name="connsiteX14" fmla="*/ 4460765 w 4460800"/>
              <a:gd name="connsiteY14" fmla="*/ 2181225 h 4429294"/>
              <a:gd name="connsiteX15" fmla="*/ 4387740 w 4460800"/>
              <a:gd name="connsiteY15" fmla="*/ 2768600 h 4429294"/>
              <a:gd name="connsiteX16" fmla="*/ 4324240 w 4460800"/>
              <a:gd name="connsiteY16" fmla="*/ 2990850 h 4429294"/>
              <a:gd name="connsiteX17" fmla="*/ 4219465 w 4460800"/>
              <a:gd name="connsiteY17" fmla="*/ 3248025 h 4429294"/>
              <a:gd name="connsiteX18" fmla="*/ 4124215 w 4460800"/>
              <a:gd name="connsiteY18" fmla="*/ 3400425 h 4429294"/>
              <a:gd name="connsiteX19" fmla="*/ 4000390 w 4460800"/>
              <a:gd name="connsiteY19" fmla="*/ 3533775 h 4429294"/>
              <a:gd name="connsiteX20" fmla="*/ 3895615 w 4460800"/>
              <a:gd name="connsiteY20" fmla="*/ 3648075 h 4429294"/>
              <a:gd name="connsiteX21" fmla="*/ 3600340 w 4460800"/>
              <a:gd name="connsiteY21" fmla="*/ 3971925 h 4429294"/>
              <a:gd name="connsiteX22" fmla="*/ 3457465 w 4460800"/>
              <a:gd name="connsiteY22" fmla="*/ 4083050 h 4429294"/>
              <a:gd name="connsiteX23" fmla="*/ 3162190 w 4460800"/>
              <a:gd name="connsiteY23" fmla="*/ 4222750 h 4429294"/>
              <a:gd name="connsiteX24" fmla="*/ 3009790 w 4460800"/>
              <a:gd name="connsiteY24" fmla="*/ 4286250 h 4429294"/>
              <a:gd name="connsiteX25" fmla="*/ 2876440 w 4460800"/>
              <a:gd name="connsiteY25" fmla="*/ 4333875 h 4429294"/>
              <a:gd name="connsiteX26" fmla="*/ 2752615 w 4460800"/>
              <a:gd name="connsiteY26" fmla="*/ 4371975 h 4429294"/>
              <a:gd name="connsiteX27" fmla="*/ 2520840 w 4460800"/>
              <a:gd name="connsiteY27" fmla="*/ 4391025 h 4429294"/>
              <a:gd name="connsiteX28" fmla="*/ 2066815 w 4460800"/>
              <a:gd name="connsiteY28" fmla="*/ 4429125 h 4429294"/>
              <a:gd name="connsiteX29" fmla="*/ 1876315 w 4460800"/>
              <a:gd name="connsiteY29" fmla="*/ 4400550 h 4429294"/>
              <a:gd name="connsiteX30" fmla="*/ 1514365 w 4460800"/>
              <a:gd name="connsiteY30" fmla="*/ 4305300 h 4429294"/>
              <a:gd name="connsiteX31" fmla="*/ 1273065 w 4460800"/>
              <a:gd name="connsiteY31" fmla="*/ 4216400 h 4429294"/>
              <a:gd name="connsiteX32" fmla="*/ 1104790 w 4460800"/>
              <a:gd name="connsiteY32" fmla="*/ 4111625 h 4429294"/>
              <a:gd name="connsiteX33" fmla="*/ 885715 w 4460800"/>
              <a:gd name="connsiteY33" fmla="*/ 3968750 h 4429294"/>
              <a:gd name="connsiteX34" fmla="*/ 552340 w 4460800"/>
              <a:gd name="connsiteY34" fmla="*/ 3657600 h 4429294"/>
              <a:gd name="connsiteX35" fmla="*/ 406290 w 4460800"/>
              <a:gd name="connsiteY35" fmla="*/ 3470275 h 4429294"/>
              <a:gd name="connsiteX36" fmla="*/ 276115 w 4460800"/>
              <a:gd name="connsiteY36" fmla="*/ 3244850 h 4429294"/>
              <a:gd name="connsiteX37" fmla="*/ 123715 w 4460800"/>
              <a:gd name="connsiteY37" fmla="*/ 2892425 h 4429294"/>
              <a:gd name="connsiteX38" fmla="*/ 15765 w 4460800"/>
              <a:gd name="connsiteY38" fmla="*/ 2368550 h 4429294"/>
              <a:gd name="connsiteX39" fmla="*/ 22115 w 4460800"/>
              <a:gd name="connsiteY39" fmla="*/ 1870075 h 4429294"/>
              <a:gd name="connsiteX40" fmla="*/ 184040 w 4460800"/>
              <a:gd name="connsiteY40" fmla="*/ 1320800 h 4429294"/>
              <a:gd name="connsiteX41" fmla="*/ 288815 w 4460800"/>
              <a:gd name="connsiteY41" fmla="*/ 1114425 h 4429294"/>
              <a:gd name="connsiteX42" fmla="*/ 609490 w 4460800"/>
              <a:gd name="connsiteY42" fmla="*/ 676275 h 4429294"/>
              <a:gd name="connsiteX43" fmla="*/ 828565 w 4460800"/>
              <a:gd name="connsiteY43" fmla="*/ 504825 h 4429294"/>
              <a:gd name="connsiteX44" fmla="*/ 1107965 w 4460800"/>
              <a:gd name="connsiteY44" fmla="*/ 311150 h 4429294"/>
              <a:gd name="connsiteX45" fmla="*/ 1466740 w 4460800"/>
              <a:gd name="connsiteY45" fmla="*/ 152400 h 4429294"/>
              <a:gd name="connsiteX46" fmla="*/ 1581040 w 4460800"/>
              <a:gd name="connsiteY46" fmla="*/ 111125 h 4429294"/>
              <a:gd name="connsiteX47" fmla="*/ 2212865 w 4460800"/>
              <a:gd name="connsiteY47" fmla="*/ 12700 h 4429294"/>
              <a:gd name="connsiteX48" fmla="*/ 2238265 w 4460800"/>
              <a:gd name="connsiteY48" fmla="*/ 0 h 4429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4460800" h="4429294">
                <a:moveTo>
                  <a:pt x="2238265" y="0"/>
                </a:moveTo>
                <a:cubicBezTo>
                  <a:pt x="2346215" y="5292"/>
                  <a:pt x="2458928" y="1588"/>
                  <a:pt x="2562115" y="15875"/>
                </a:cubicBezTo>
                <a:cubicBezTo>
                  <a:pt x="2665302" y="30162"/>
                  <a:pt x="2798653" y="69321"/>
                  <a:pt x="2857390" y="85725"/>
                </a:cubicBezTo>
                <a:cubicBezTo>
                  <a:pt x="2943115" y="111654"/>
                  <a:pt x="3033603" y="153988"/>
                  <a:pt x="3076465" y="171450"/>
                </a:cubicBezTo>
                <a:cubicBezTo>
                  <a:pt x="3130440" y="195262"/>
                  <a:pt x="3133615" y="203200"/>
                  <a:pt x="3181240" y="228600"/>
                </a:cubicBezTo>
                <a:cubicBezTo>
                  <a:pt x="3228865" y="254000"/>
                  <a:pt x="3266965" y="265113"/>
                  <a:pt x="3362215" y="323850"/>
                </a:cubicBezTo>
                <a:cubicBezTo>
                  <a:pt x="3457465" y="382588"/>
                  <a:pt x="3651669" y="498475"/>
                  <a:pt x="3752740" y="581025"/>
                </a:cubicBezTo>
                <a:cubicBezTo>
                  <a:pt x="3853811" y="663575"/>
                  <a:pt x="3909903" y="750888"/>
                  <a:pt x="3968640" y="819150"/>
                </a:cubicBezTo>
                <a:cubicBezTo>
                  <a:pt x="4027378" y="887413"/>
                  <a:pt x="4068123" y="936625"/>
                  <a:pt x="4105165" y="990600"/>
                </a:cubicBezTo>
                <a:cubicBezTo>
                  <a:pt x="4142207" y="1044575"/>
                  <a:pt x="4175015" y="1109663"/>
                  <a:pt x="4190890" y="1143000"/>
                </a:cubicBezTo>
                <a:cubicBezTo>
                  <a:pt x="4214703" y="1189038"/>
                  <a:pt x="4232165" y="1230313"/>
                  <a:pt x="4248040" y="1266825"/>
                </a:cubicBezTo>
                <a:cubicBezTo>
                  <a:pt x="4263915" y="1303338"/>
                  <a:pt x="4271853" y="1314450"/>
                  <a:pt x="4286140" y="1362075"/>
                </a:cubicBezTo>
                <a:cubicBezTo>
                  <a:pt x="4300427" y="1409700"/>
                  <a:pt x="4319478" y="1498600"/>
                  <a:pt x="4333765" y="1552575"/>
                </a:cubicBezTo>
                <a:cubicBezTo>
                  <a:pt x="4348053" y="1606550"/>
                  <a:pt x="4350698" y="1581150"/>
                  <a:pt x="4371865" y="1685925"/>
                </a:cubicBezTo>
                <a:cubicBezTo>
                  <a:pt x="4393032" y="1790700"/>
                  <a:pt x="4459178" y="1982788"/>
                  <a:pt x="4460765" y="2181225"/>
                </a:cubicBezTo>
                <a:cubicBezTo>
                  <a:pt x="4462352" y="2379662"/>
                  <a:pt x="4410494" y="2633663"/>
                  <a:pt x="4387740" y="2768600"/>
                </a:cubicBezTo>
                <a:cubicBezTo>
                  <a:pt x="4364986" y="2903537"/>
                  <a:pt x="4352286" y="2910946"/>
                  <a:pt x="4324240" y="2990850"/>
                </a:cubicBezTo>
                <a:cubicBezTo>
                  <a:pt x="4296194" y="3070754"/>
                  <a:pt x="4252802" y="3179763"/>
                  <a:pt x="4219465" y="3248025"/>
                </a:cubicBezTo>
                <a:cubicBezTo>
                  <a:pt x="4186128" y="3316287"/>
                  <a:pt x="4160728" y="3352800"/>
                  <a:pt x="4124215" y="3400425"/>
                </a:cubicBezTo>
                <a:cubicBezTo>
                  <a:pt x="4087703" y="3448050"/>
                  <a:pt x="4038490" y="3492500"/>
                  <a:pt x="4000390" y="3533775"/>
                </a:cubicBezTo>
                <a:lnTo>
                  <a:pt x="3895615" y="3648075"/>
                </a:lnTo>
                <a:cubicBezTo>
                  <a:pt x="3797190" y="3756025"/>
                  <a:pt x="3673365" y="3899429"/>
                  <a:pt x="3600340" y="3971925"/>
                </a:cubicBezTo>
                <a:cubicBezTo>
                  <a:pt x="3527315" y="4044421"/>
                  <a:pt x="3530490" y="4041246"/>
                  <a:pt x="3457465" y="4083050"/>
                </a:cubicBezTo>
                <a:cubicBezTo>
                  <a:pt x="3384440" y="4124854"/>
                  <a:pt x="3236802" y="4188883"/>
                  <a:pt x="3162190" y="4222750"/>
                </a:cubicBezTo>
                <a:cubicBezTo>
                  <a:pt x="3087578" y="4256617"/>
                  <a:pt x="3038173" y="4283885"/>
                  <a:pt x="3009790" y="4286250"/>
                </a:cubicBezTo>
                <a:cubicBezTo>
                  <a:pt x="2947977" y="4310975"/>
                  <a:pt x="2954113" y="4309602"/>
                  <a:pt x="2876440" y="4333875"/>
                </a:cubicBezTo>
                <a:cubicBezTo>
                  <a:pt x="2853306" y="4341104"/>
                  <a:pt x="2811882" y="4362450"/>
                  <a:pt x="2752615" y="4371975"/>
                </a:cubicBezTo>
                <a:cubicBezTo>
                  <a:pt x="2693348" y="4381500"/>
                  <a:pt x="2635140" y="4381500"/>
                  <a:pt x="2520840" y="4391025"/>
                </a:cubicBezTo>
                <a:cubicBezTo>
                  <a:pt x="2406540" y="4400550"/>
                  <a:pt x="2174236" y="4427538"/>
                  <a:pt x="2066815" y="4429125"/>
                </a:cubicBezTo>
                <a:cubicBezTo>
                  <a:pt x="1959394" y="4430712"/>
                  <a:pt x="1968390" y="4421187"/>
                  <a:pt x="1876315" y="4400550"/>
                </a:cubicBezTo>
                <a:cubicBezTo>
                  <a:pt x="1784240" y="4379913"/>
                  <a:pt x="1614907" y="4335992"/>
                  <a:pt x="1514365" y="4305300"/>
                </a:cubicBezTo>
                <a:cubicBezTo>
                  <a:pt x="1413823" y="4274608"/>
                  <a:pt x="1353498" y="4246033"/>
                  <a:pt x="1273065" y="4216400"/>
                </a:cubicBezTo>
                <a:cubicBezTo>
                  <a:pt x="1206390" y="4187825"/>
                  <a:pt x="1169348" y="4152900"/>
                  <a:pt x="1104790" y="4111625"/>
                </a:cubicBezTo>
                <a:cubicBezTo>
                  <a:pt x="1040232" y="4070350"/>
                  <a:pt x="977790" y="4044421"/>
                  <a:pt x="885715" y="3968750"/>
                </a:cubicBezTo>
                <a:cubicBezTo>
                  <a:pt x="793640" y="3893079"/>
                  <a:pt x="632244" y="3740679"/>
                  <a:pt x="552340" y="3657600"/>
                </a:cubicBezTo>
                <a:cubicBezTo>
                  <a:pt x="472436" y="3574521"/>
                  <a:pt x="452327" y="3539067"/>
                  <a:pt x="406290" y="3470275"/>
                </a:cubicBezTo>
                <a:cubicBezTo>
                  <a:pt x="360253" y="3401483"/>
                  <a:pt x="323211" y="3341158"/>
                  <a:pt x="276115" y="3244850"/>
                </a:cubicBezTo>
                <a:cubicBezTo>
                  <a:pt x="229019" y="3148542"/>
                  <a:pt x="167107" y="3038475"/>
                  <a:pt x="123715" y="2892425"/>
                </a:cubicBezTo>
                <a:cubicBezTo>
                  <a:pt x="80323" y="2746375"/>
                  <a:pt x="37990" y="2553758"/>
                  <a:pt x="15765" y="2368550"/>
                </a:cubicBezTo>
                <a:cubicBezTo>
                  <a:pt x="-6460" y="2183342"/>
                  <a:pt x="-5931" y="2044700"/>
                  <a:pt x="22115" y="1870075"/>
                </a:cubicBezTo>
                <a:cubicBezTo>
                  <a:pt x="50161" y="1695450"/>
                  <a:pt x="139590" y="1446742"/>
                  <a:pt x="184040" y="1320800"/>
                </a:cubicBezTo>
                <a:cubicBezTo>
                  <a:pt x="228490" y="1194858"/>
                  <a:pt x="217907" y="1221846"/>
                  <a:pt x="288815" y="1114425"/>
                </a:cubicBezTo>
                <a:cubicBezTo>
                  <a:pt x="359723" y="1007004"/>
                  <a:pt x="519532" y="777875"/>
                  <a:pt x="609490" y="676275"/>
                </a:cubicBezTo>
                <a:cubicBezTo>
                  <a:pt x="699448" y="574675"/>
                  <a:pt x="745486" y="565679"/>
                  <a:pt x="828565" y="504825"/>
                </a:cubicBezTo>
                <a:cubicBezTo>
                  <a:pt x="911644" y="443971"/>
                  <a:pt x="997898" y="379942"/>
                  <a:pt x="1107965" y="311150"/>
                </a:cubicBezTo>
                <a:cubicBezTo>
                  <a:pt x="1214328" y="252413"/>
                  <a:pt x="1387894" y="185737"/>
                  <a:pt x="1466740" y="152400"/>
                </a:cubicBezTo>
                <a:cubicBezTo>
                  <a:pt x="1545586" y="119063"/>
                  <a:pt x="1456686" y="134408"/>
                  <a:pt x="1581040" y="111125"/>
                </a:cubicBezTo>
                <a:cubicBezTo>
                  <a:pt x="1810698" y="67733"/>
                  <a:pt x="1945107" y="-7408"/>
                  <a:pt x="2212865" y="12700"/>
                </a:cubicBezTo>
                <a:lnTo>
                  <a:pt x="2238265" y="0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40" tIns="45720" rIns="91440" bIns="45720" rtlCol="0" anchor="ctr"/>
          <a:lstStyle/>
          <a:p>
            <a:pPr algn="ctr" fontAlgn="t"/>
            <a:endParaRPr lang="da-DK" sz="1200" b="1">
              <a:solidFill>
                <a:srgbClr val="004C45"/>
              </a:solidFill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2F01B030-7A6A-769E-6F5F-FF3E9F1E6071}"/>
              </a:ext>
            </a:extLst>
          </p:cNvPr>
          <p:cNvPicPr>
            <a:picLocks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34489" y="3258360"/>
            <a:ext cx="1006504" cy="1400944"/>
          </a:xfrm>
          <a:prstGeom prst="rect">
            <a:avLst/>
          </a:prstGeom>
        </p:spPr>
      </p:pic>
      <p:sp>
        <p:nvSpPr>
          <p:cNvPr id="7" name="Oval 6">
            <a:extLst>
              <a:ext uri="{FF2B5EF4-FFF2-40B4-BE49-F238E27FC236}">
                <a16:creationId xmlns:a16="http://schemas.microsoft.com/office/drawing/2014/main" id="{6A1F6CBF-D4CD-477A-A7A4-1E1E79EC0D2B}"/>
              </a:ext>
            </a:extLst>
          </p:cNvPr>
          <p:cNvSpPr/>
          <p:nvPr/>
        </p:nvSpPr>
        <p:spPr>
          <a:xfrm>
            <a:off x="2038393" y="3868918"/>
            <a:ext cx="130132" cy="13013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40" tIns="45720" rIns="91440" bIns="45720" rtlCol="0" anchor="ctr"/>
          <a:lstStyle/>
          <a:p>
            <a:pPr algn="ctr" fontAlgn="t"/>
            <a:endParaRPr lang="da-DK" sz="1200" b="1">
              <a:solidFill>
                <a:srgbClr val="004C45"/>
              </a:solidFill>
            </a:endParaRPr>
          </a:p>
        </p:txBody>
      </p:sp>
      <p:cxnSp>
        <p:nvCxnSpPr>
          <p:cNvPr id="124" name="Straight Connector 118">
            <a:extLst>
              <a:ext uri="{FF2B5EF4-FFF2-40B4-BE49-F238E27FC236}">
                <a16:creationId xmlns:a16="http://schemas.microsoft.com/office/drawing/2014/main" id="{4726B086-E08E-49B0-95A5-E33A279D6678}"/>
              </a:ext>
            </a:extLst>
          </p:cNvPr>
          <p:cNvCxnSpPr>
            <a:cxnSpLocks/>
            <a:stCxn id="7" idx="6"/>
          </p:cNvCxnSpPr>
          <p:nvPr/>
        </p:nvCxnSpPr>
        <p:spPr>
          <a:xfrm flipV="1">
            <a:off x="2168525" y="2979652"/>
            <a:ext cx="681716" cy="954332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/>
            </a:solidFill>
            <a:prstDash val="dash"/>
            <a:headEnd type="none"/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5" name="Straight Connector 118">
            <a:extLst>
              <a:ext uri="{FF2B5EF4-FFF2-40B4-BE49-F238E27FC236}">
                <a16:creationId xmlns:a16="http://schemas.microsoft.com/office/drawing/2014/main" id="{1D327B9E-D64B-4650-AEB7-705EAAD9D343}"/>
              </a:ext>
            </a:extLst>
          </p:cNvPr>
          <p:cNvCxnSpPr>
            <a:cxnSpLocks/>
            <a:stCxn id="7" idx="6"/>
          </p:cNvCxnSpPr>
          <p:nvPr/>
        </p:nvCxnSpPr>
        <p:spPr>
          <a:xfrm>
            <a:off x="2168525" y="3933984"/>
            <a:ext cx="681716" cy="954332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/>
            </a:solidFill>
            <a:prstDash val="dash"/>
            <a:headEnd type="none"/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6" name="Straight Connector 118">
            <a:extLst>
              <a:ext uri="{FF2B5EF4-FFF2-40B4-BE49-F238E27FC236}">
                <a16:creationId xmlns:a16="http://schemas.microsoft.com/office/drawing/2014/main" id="{63DA285C-9F0C-403E-9CD6-617F909ECD76}"/>
              </a:ext>
            </a:extLst>
          </p:cNvPr>
          <p:cNvCxnSpPr>
            <a:cxnSpLocks/>
            <a:stCxn id="7" idx="6"/>
          </p:cNvCxnSpPr>
          <p:nvPr/>
        </p:nvCxnSpPr>
        <p:spPr>
          <a:xfrm>
            <a:off x="2168525" y="3933984"/>
            <a:ext cx="681716" cy="1908664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/>
            </a:solidFill>
            <a:prstDash val="dash"/>
            <a:headEnd type="none"/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Connector 118">
            <a:extLst>
              <a:ext uri="{FF2B5EF4-FFF2-40B4-BE49-F238E27FC236}">
                <a16:creationId xmlns:a16="http://schemas.microsoft.com/office/drawing/2014/main" id="{E5A23C5C-5648-4A88-B513-443585EFC7D0}"/>
              </a:ext>
            </a:extLst>
          </p:cNvPr>
          <p:cNvCxnSpPr>
            <a:cxnSpLocks/>
            <a:stCxn id="7" idx="6"/>
          </p:cNvCxnSpPr>
          <p:nvPr/>
        </p:nvCxnSpPr>
        <p:spPr>
          <a:xfrm>
            <a:off x="2168525" y="3933984"/>
            <a:ext cx="681716" cy="0"/>
          </a:xfrm>
          <a:prstGeom prst="straightConnector1">
            <a:avLst/>
          </a:prstGeom>
          <a:ln w="12700">
            <a:solidFill>
              <a:schemeClr val="accent1"/>
            </a:solidFill>
            <a:prstDash val="dash"/>
            <a:headEnd type="none"/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40DBD301-4B8D-41DA-87EA-548F07CFEEED}"/>
              </a:ext>
            </a:extLst>
          </p:cNvPr>
          <p:cNvCxnSpPr>
            <a:cxnSpLocks/>
            <a:stCxn id="7" idx="6"/>
          </p:cNvCxnSpPr>
          <p:nvPr/>
        </p:nvCxnSpPr>
        <p:spPr>
          <a:xfrm flipV="1">
            <a:off x="2168525" y="2025320"/>
            <a:ext cx="681716" cy="1908664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/>
            </a:solidFill>
            <a:prstDash val="dash"/>
            <a:headEnd type="none"/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28586580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20F7DD-454C-3A74-59C1-1A0E7CFD25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B3EE5EB-AACC-46DF-4248-84F20E86ED6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9495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3EE5EB-AACC-46DF-4248-84F20E86ED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A1110065-218A-B2F9-7A23-647957C0C6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Sådan er AlmenKompas organiseret 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09596351-1A96-79C0-705A-04BD354B575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A814B08-8399-43E7-AAE4-68AF4906CF08}" type="slidenum">
              <a:rPr lang="da-DK" smtClean="0"/>
              <a:pPr/>
              <a:t>12</a:t>
            </a:fld>
            <a:endParaRPr lang="da-DK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4575A5-147A-40BF-EAC4-5773DFBD96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05B00A-1DF2-3415-9C40-22241423A23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Se, hvem der rådgiver, skaber fremdrift og styrer retningen i projektet</a:t>
            </a:r>
          </a:p>
        </p:txBody>
      </p:sp>
      <p:sp>
        <p:nvSpPr>
          <p:cNvPr id="21" name="Rectangle: Top Corners Rounded 20">
            <a:extLst>
              <a:ext uri="{FF2B5EF4-FFF2-40B4-BE49-F238E27FC236}">
                <a16:creationId xmlns:a16="http://schemas.microsoft.com/office/drawing/2014/main" id="{316D9A18-CA11-8D70-C6DF-41555AA395B7}"/>
              </a:ext>
            </a:extLst>
          </p:cNvPr>
          <p:cNvSpPr/>
          <p:nvPr/>
        </p:nvSpPr>
        <p:spPr>
          <a:xfrm rot="10800000">
            <a:off x="359999" y="1743074"/>
            <a:ext cx="5616974" cy="2935606"/>
          </a:xfrm>
          <a:prstGeom prst="round2SameRect">
            <a:avLst>
              <a:gd name="adj1" fmla="val 8065"/>
              <a:gd name="adj2" fmla="val 0"/>
            </a:avLst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a-DK" sz="140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756AD1B-2591-1754-A3C0-AA9CAEAFE2C0}"/>
              </a:ext>
            </a:extLst>
          </p:cNvPr>
          <p:cNvSpPr>
            <a:spLocks/>
          </p:cNvSpPr>
          <p:nvPr/>
        </p:nvSpPr>
        <p:spPr>
          <a:xfrm>
            <a:off x="359995" y="2219959"/>
            <a:ext cx="5507405" cy="22788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45720" rIns="36000" bIns="45720" rtlCol="0" anchor="t"/>
          <a:lstStyle/>
          <a:p>
            <a:pPr marL="230400" indent="-2304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rik Lønne Gottfredsen – direktør, Alfabo</a:t>
            </a:r>
          </a:p>
          <a:p>
            <a:pPr marL="230400" indent="-2304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Helle Juul – adm.- og udviklingschef, Landsbyggefonden</a:t>
            </a:r>
          </a:p>
          <a:p>
            <a:pPr marL="230400" indent="-2304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iv Jørgensen – udviklingskonsulent, BL</a:t>
            </a:r>
          </a:p>
          <a:p>
            <a:pPr marL="230400" indent="-2304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rie Bender Foltmann – direktør, Forenet Kredit</a:t>
            </a:r>
          </a:p>
          <a:p>
            <a:pPr marL="230400" indent="-2304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le Jacobsen – adm. direktør, DAB</a:t>
            </a:r>
          </a:p>
          <a:p>
            <a:pPr marL="230400" indent="-2304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le Nielsen – adm. direktør, Boligselskabet Sct. Jørgen</a:t>
            </a:r>
          </a:p>
          <a:p>
            <a:pPr marL="230400" indent="-2304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homas Holluf Nielsen – adm. direktør, Domea.dk</a:t>
            </a:r>
          </a:p>
          <a:p>
            <a:pPr marL="230400" indent="-2304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Tonny Thierry Andersen – koncerndirektør, Nykredi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D626433-6FC8-4B9A-D293-520738CB6808}"/>
              </a:ext>
            </a:extLst>
          </p:cNvPr>
          <p:cNvSpPr>
            <a:spLocks/>
          </p:cNvSpPr>
          <p:nvPr/>
        </p:nvSpPr>
        <p:spPr>
          <a:xfrm>
            <a:off x="360002" y="1743074"/>
            <a:ext cx="5616974" cy="476885"/>
          </a:xfrm>
          <a:prstGeom prst="rect">
            <a:avLst/>
          </a:prstGeom>
          <a:solidFill>
            <a:srgbClr val="B5CEB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/>
          <a:lstStyle/>
          <a:p>
            <a:r>
              <a:rPr lang="da-DK"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tyregruppe</a:t>
            </a:r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75D9F175-525B-838E-36E5-906E4D14CC75}"/>
              </a:ext>
            </a:extLst>
          </p:cNvPr>
          <p:cNvSpPr/>
          <p:nvPr/>
        </p:nvSpPr>
        <p:spPr>
          <a:xfrm rot="10800000">
            <a:off x="6222598" y="1743074"/>
            <a:ext cx="5616974" cy="4379913"/>
          </a:xfrm>
          <a:prstGeom prst="round2SameRect">
            <a:avLst>
              <a:gd name="adj1" fmla="val 5533"/>
              <a:gd name="adj2" fmla="val 0"/>
            </a:avLst>
          </a:prstGeom>
          <a:noFill/>
          <a:ln w="12700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a-DK" sz="1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FA5C62D-53E9-AB9E-6332-57E0DD824BC1}"/>
              </a:ext>
            </a:extLst>
          </p:cNvPr>
          <p:cNvSpPr>
            <a:spLocks/>
          </p:cNvSpPr>
          <p:nvPr/>
        </p:nvSpPr>
        <p:spPr>
          <a:xfrm>
            <a:off x="6222601" y="1743074"/>
            <a:ext cx="5616974" cy="476885"/>
          </a:xfrm>
          <a:prstGeom prst="rect">
            <a:avLst/>
          </a:prstGeom>
          <a:solidFill>
            <a:srgbClr val="FBCCD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/>
          <a:lstStyle/>
          <a:p>
            <a:r>
              <a:rPr lang="da-DK"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dvisory board</a:t>
            </a:r>
          </a:p>
        </p:txBody>
      </p:sp>
      <p:sp>
        <p:nvSpPr>
          <p:cNvPr id="28" name="Rectangle: Top Corners Rounded 27">
            <a:extLst>
              <a:ext uri="{FF2B5EF4-FFF2-40B4-BE49-F238E27FC236}">
                <a16:creationId xmlns:a16="http://schemas.microsoft.com/office/drawing/2014/main" id="{AF398FAA-1DC3-07C9-0205-E9C5FEA57812}"/>
              </a:ext>
            </a:extLst>
          </p:cNvPr>
          <p:cNvSpPr/>
          <p:nvPr/>
        </p:nvSpPr>
        <p:spPr>
          <a:xfrm rot="10800000">
            <a:off x="359999" y="4867274"/>
            <a:ext cx="5616974" cy="1255714"/>
          </a:xfrm>
          <a:prstGeom prst="round2SameRect">
            <a:avLst>
              <a:gd name="adj1" fmla="val 20201"/>
              <a:gd name="adj2" fmla="val 0"/>
            </a:avLst>
          </a:prstGeom>
          <a:noFill/>
          <a:ln w="12700">
            <a:solidFill>
              <a:srgbClr val="339C9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a-DK" sz="140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844BDE93-5472-7256-022E-FA0BED2F9737}"/>
              </a:ext>
            </a:extLst>
          </p:cNvPr>
          <p:cNvSpPr>
            <a:spLocks/>
          </p:cNvSpPr>
          <p:nvPr/>
        </p:nvSpPr>
        <p:spPr>
          <a:xfrm>
            <a:off x="359995" y="5374640"/>
            <a:ext cx="5507405" cy="5124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45720" rIns="36000" bIns="45720" rtlCol="0" anchor="t"/>
          <a:lstStyle/>
          <a:p>
            <a:pPr>
              <a:spcBef>
                <a:spcPts val="600"/>
              </a:spcBef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 medarbejderne på </a:t>
            </a: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hlinkClick r:id="rId7"/>
              </a:rPr>
              <a:t>almenkompas.dk/teamet</a:t>
            </a: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7361E10-6855-7433-3EF4-A438FBDD2D8A}"/>
              </a:ext>
            </a:extLst>
          </p:cNvPr>
          <p:cNvSpPr>
            <a:spLocks/>
          </p:cNvSpPr>
          <p:nvPr/>
        </p:nvSpPr>
        <p:spPr>
          <a:xfrm>
            <a:off x="360002" y="4867274"/>
            <a:ext cx="5616974" cy="476885"/>
          </a:xfrm>
          <a:prstGeom prst="rect">
            <a:avLst/>
          </a:prstGeom>
          <a:solidFill>
            <a:srgbClr val="97A2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/>
          <a:lstStyle/>
          <a:p>
            <a:r>
              <a:rPr lang="da-DK"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kretariate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FDBE4273-8075-004F-1F52-679D205EB083}"/>
              </a:ext>
            </a:extLst>
          </p:cNvPr>
          <p:cNvSpPr>
            <a:spLocks/>
          </p:cNvSpPr>
          <p:nvPr/>
        </p:nvSpPr>
        <p:spPr>
          <a:xfrm>
            <a:off x="6222595" y="2219959"/>
            <a:ext cx="5507405" cy="22788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45720" rIns="36000" bIns="45720" rtlCol="0" anchor="t"/>
          <a:lstStyle/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lan Werge – direktør, Al2Bolig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rne Juul – direktør, Slagelse Boligselskab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jarne Larsson – adm. direktør, FSB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inn Muus – direktør, Boligkontoret Fredericia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Jacob Michaelsen – direktør, FAB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rtin Hersom Bien – adm. direktør, Boligforeningen Ringgården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te Bach Kjær – direktør, Plus Bolig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tte Hagesen – direktør, Bovia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lle Adamsen – adm. direktør, Lejerbo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eter Basland – adm. direktør, AAB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ia Lyngdrup Nedergaard – direktør, ØsterBO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ia Nielsen – viceadm. direktør, </a:t>
            </a:r>
            <a:b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oligkontoret Danmark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ofie Wedel Heilskov – innovationschef, KAB </a:t>
            </a:r>
          </a:p>
          <a:p>
            <a:pPr marL="230400" indent="-2304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da-DK" sz="1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lrik Hoffmeyer – adm. direktør, Bo-Vest 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0AFC2C7B-1FED-96E4-7962-074927AB897E}"/>
              </a:ext>
            </a:extLst>
          </p:cNvPr>
          <p:cNvGrpSpPr/>
          <p:nvPr/>
        </p:nvGrpSpPr>
        <p:grpSpPr>
          <a:xfrm>
            <a:off x="10673080" y="3943322"/>
            <a:ext cx="1090292" cy="2179665"/>
            <a:chOff x="8083911" y="2970459"/>
            <a:chExt cx="326204" cy="652133"/>
          </a:xfrm>
        </p:grpSpPr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F21FC782-A442-251B-670D-1670803AF924}"/>
                </a:ext>
              </a:extLst>
            </p:cNvPr>
            <p:cNvSpPr/>
            <p:nvPr/>
          </p:nvSpPr>
          <p:spPr>
            <a:xfrm>
              <a:off x="8178986" y="3066338"/>
              <a:ext cx="103893" cy="93231"/>
            </a:xfrm>
            <a:custGeom>
              <a:avLst/>
              <a:gdLst>
                <a:gd name="connsiteX0" fmla="*/ 0 w 103893"/>
                <a:gd name="connsiteY0" fmla="*/ 271 h 93231"/>
                <a:gd name="connsiteX1" fmla="*/ 7992 w 103893"/>
                <a:gd name="connsiteY1" fmla="*/ 9712 h 93231"/>
                <a:gd name="connsiteX2" fmla="*/ 17888 w 103893"/>
                <a:gd name="connsiteY2" fmla="*/ 18366 h 93231"/>
                <a:gd name="connsiteX3" fmla="*/ 28116 w 103893"/>
                <a:gd name="connsiteY3" fmla="*/ 26648 h 93231"/>
                <a:gd name="connsiteX4" fmla="*/ 40083 w 103893"/>
                <a:gd name="connsiteY4" fmla="*/ 32114 h 93231"/>
                <a:gd name="connsiteX5" fmla="*/ 52009 w 103893"/>
                <a:gd name="connsiteY5" fmla="*/ 37538 h 93231"/>
                <a:gd name="connsiteX6" fmla="*/ 64928 w 103893"/>
                <a:gd name="connsiteY6" fmla="*/ 39774 h 93231"/>
                <a:gd name="connsiteX7" fmla="*/ 77806 w 103893"/>
                <a:gd name="connsiteY7" fmla="*/ 41721 h 93231"/>
                <a:gd name="connsiteX8" fmla="*/ 91016 w 103893"/>
                <a:gd name="connsiteY8" fmla="*/ 42756 h 93231"/>
                <a:gd name="connsiteX9" fmla="*/ 103894 w 103893"/>
                <a:gd name="connsiteY9" fmla="*/ 40064 h 93231"/>
                <a:gd name="connsiteX10" fmla="*/ 97765 w 103893"/>
                <a:gd name="connsiteY10" fmla="*/ 52073 h 93231"/>
                <a:gd name="connsiteX11" fmla="*/ 90395 w 103893"/>
                <a:gd name="connsiteY11" fmla="*/ 63708 h 93231"/>
                <a:gd name="connsiteX12" fmla="*/ 81740 w 103893"/>
                <a:gd name="connsiteY12" fmla="*/ 74475 h 93231"/>
                <a:gd name="connsiteX13" fmla="*/ 72009 w 103893"/>
                <a:gd name="connsiteY13" fmla="*/ 84330 h 93231"/>
                <a:gd name="connsiteX14" fmla="*/ 59711 w 103893"/>
                <a:gd name="connsiteY14" fmla="*/ 90582 h 93231"/>
                <a:gd name="connsiteX15" fmla="*/ 46543 w 103893"/>
                <a:gd name="connsiteY15" fmla="*/ 93067 h 93231"/>
                <a:gd name="connsiteX16" fmla="*/ 34121 w 103893"/>
                <a:gd name="connsiteY16" fmla="*/ 87684 h 93231"/>
                <a:gd name="connsiteX17" fmla="*/ 25342 w 103893"/>
                <a:gd name="connsiteY17" fmla="*/ 77166 h 93231"/>
                <a:gd name="connsiteX18" fmla="*/ 18054 w 103893"/>
                <a:gd name="connsiteY18" fmla="*/ 65489 h 93231"/>
                <a:gd name="connsiteX19" fmla="*/ 12588 w 103893"/>
                <a:gd name="connsiteY19" fmla="*/ 52818 h 93231"/>
                <a:gd name="connsiteX20" fmla="*/ 8365 w 103893"/>
                <a:gd name="connsiteY20" fmla="*/ 39692 h 93231"/>
                <a:gd name="connsiteX21" fmla="*/ 4721 w 103893"/>
                <a:gd name="connsiteY21" fmla="*/ 26399 h 93231"/>
                <a:gd name="connsiteX22" fmla="*/ 1656 w 103893"/>
                <a:gd name="connsiteY22" fmla="*/ 12983 h 93231"/>
                <a:gd name="connsiteX23" fmla="*/ 41 w 103893"/>
                <a:gd name="connsiteY23" fmla="*/ 146 h 93231"/>
                <a:gd name="connsiteX24" fmla="*/ 0 w 103893"/>
                <a:gd name="connsiteY24" fmla="*/ 271 h 932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3893" h="93231">
                  <a:moveTo>
                    <a:pt x="0" y="271"/>
                  </a:moveTo>
                  <a:cubicBezTo>
                    <a:pt x="6377" y="-1261"/>
                    <a:pt x="2402" y="3956"/>
                    <a:pt x="7992" y="9712"/>
                  </a:cubicBezTo>
                  <a:cubicBezTo>
                    <a:pt x="10601" y="12445"/>
                    <a:pt x="14079" y="15219"/>
                    <a:pt x="17888" y="18366"/>
                  </a:cubicBezTo>
                  <a:cubicBezTo>
                    <a:pt x="21035" y="20975"/>
                    <a:pt x="24224" y="24122"/>
                    <a:pt x="28116" y="26648"/>
                  </a:cubicBezTo>
                  <a:cubicBezTo>
                    <a:pt x="31636" y="28925"/>
                    <a:pt x="35984" y="30126"/>
                    <a:pt x="40083" y="32114"/>
                  </a:cubicBezTo>
                  <a:cubicBezTo>
                    <a:pt x="43893" y="33936"/>
                    <a:pt x="47703" y="36130"/>
                    <a:pt x="52009" y="37538"/>
                  </a:cubicBezTo>
                  <a:cubicBezTo>
                    <a:pt x="56026" y="38863"/>
                    <a:pt x="60456" y="38988"/>
                    <a:pt x="64928" y="39774"/>
                  </a:cubicBezTo>
                  <a:cubicBezTo>
                    <a:pt x="69069" y="40520"/>
                    <a:pt x="73293" y="41513"/>
                    <a:pt x="77806" y="41721"/>
                  </a:cubicBezTo>
                  <a:cubicBezTo>
                    <a:pt x="82030" y="41886"/>
                    <a:pt x="86461" y="43170"/>
                    <a:pt x="91016" y="42756"/>
                  </a:cubicBezTo>
                  <a:cubicBezTo>
                    <a:pt x="95198" y="42383"/>
                    <a:pt x="99422" y="41058"/>
                    <a:pt x="103894" y="40064"/>
                  </a:cubicBezTo>
                  <a:cubicBezTo>
                    <a:pt x="103314" y="41224"/>
                    <a:pt x="101492" y="45944"/>
                    <a:pt x="97765" y="52073"/>
                  </a:cubicBezTo>
                  <a:cubicBezTo>
                    <a:pt x="95653" y="55551"/>
                    <a:pt x="93293" y="59692"/>
                    <a:pt x="90395" y="63708"/>
                  </a:cubicBezTo>
                  <a:cubicBezTo>
                    <a:pt x="87827" y="67311"/>
                    <a:pt x="84804" y="70955"/>
                    <a:pt x="81740" y="74475"/>
                  </a:cubicBezTo>
                  <a:cubicBezTo>
                    <a:pt x="78676" y="77994"/>
                    <a:pt x="75405" y="81473"/>
                    <a:pt x="72009" y="84330"/>
                  </a:cubicBezTo>
                  <a:cubicBezTo>
                    <a:pt x="68324" y="87435"/>
                    <a:pt x="63686" y="88885"/>
                    <a:pt x="59711" y="90582"/>
                  </a:cubicBezTo>
                  <a:cubicBezTo>
                    <a:pt x="55322" y="92487"/>
                    <a:pt x="51057" y="93688"/>
                    <a:pt x="46543" y="93067"/>
                  </a:cubicBezTo>
                  <a:cubicBezTo>
                    <a:pt x="42444" y="92529"/>
                    <a:pt x="38179" y="90997"/>
                    <a:pt x="34121" y="87684"/>
                  </a:cubicBezTo>
                  <a:cubicBezTo>
                    <a:pt x="31056" y="85199"/>
                    <a:pt x="28323" y="81555"/>
                    <a:pt x="25342" y="77166"/>
                  </a:cubicBezTo>
                  <a:cubicBezTo>
                    <a:pt x="23065" y="73812"/>
                    <a:pt x="20249" y="70127"/>
                    <a:pt x="18054" y="65489"/>
                  </a:cubicBezTo>
                  <a:cubicBezTo>
                    <a:pt x="16274" y="61721"/>
                    <a:pt x="14286" y="57539"/>
                    <a:pt x="12588" y="52818"/>
                  </a:cubicBezTo>
                  <a:cubicBezTo>
                    <a:pt x="11139" y="48801"/>
                    <a:pt x="9772" y="44412"/>
                    <a:pt x="8365" y="39692"/>
                  </a:cubicBezTo>
                  <a:cubicBezTo>
                    <a:pt x="7164" y="35551"/>
                    <a:pt x="5880" y="31120"/>
                    <a:pt x="4721" y="26399"/>
                  </a:cubicBezTo>
                  <a:cubicBezTo>
                    <a:pt x="3685" y="22176"/>
                    <a:pt x="2609" y="17704"/>
                    <a:pt x="1656" y="12983"/>
                  </a:cubicBezTo>
                  <a:cubicBezTo>
                    <a:pt x="787" y="8677"/>
                    <a:pt x="911" y="4826"/>
                    <a:pt x="41" y="146"/>
                  </a:cubicBezTo>
                  <a:lnTo>
                    <a:pt x="0" y="271"/>
                  </a:lnTo>
                  <a:close/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2E808879-8D3F-B83C-A24C-F4F78252EF18}"/>
                </a:ext>
              </a:extLst>
            </p:cNvPr>
            <p:cNvSpPr/>
            <p:nvPr/>
          </p:nvSpPr>
          <p:spPr>
            <a:xfrm>
              <a:off x="8180587" y="3155224"/>
              <a:ext cx="94879" cy="215560"/>
            </a:xfrm>
            <a:custGeom>
              <a:avLst/>
              <a:gdLst>
                <a:gd name="connsiteX0" fmla="*/ 7591 w 94879"/>
                <a:gd name="connsiteY0" fmla="*/ 0 h 215560"/>
                <a:gd name="connsiteX1" fmla="*/ 7177 w 94879"/>
                <a:gd name="connsiteY1" fmla="*/ 11387 h 215560"/>
                <a:gd name="connsiteX2" fmla="*/ 6307 w 94879"/>
                <a:gd name="connsiteY2" fmla="*/ 22609 h 215560"/>
                <a:gd name="connsiteX3" fmla="*/ 3491 w 94879"/>
                <a:gd name="connsiteY3" fmla="*/ 30518 h 215560"/>
                <a:gd name="connsiteX4" fmla="*/ 179 w 94879"/>
                <a:gd name="connsiteY4" fmla="*/ 45259 h 215560"/>
                <a:gd name="connsiteX5" fmla="*/ 1421 w 94879"/>
                <a:gd name="connsiteY5" fmla="*/ 60125 h 215560"/>
                <a:gd name="connsiteX6" fmla="*/ 5769 w 94879"/>
                <a:gd name="connsiteY6" fmla="*/ 74742 h 215560"/>
                <a:gd name="connsiteX7" fmla="*/ 6431 w 94879"/>
                <a:gd name="connsiteY7" fmla="*/ 74287 h 215560"/>
                <a:gd name="connsiteX8" fmla="*/ 5479 w 94879"/>
                <a:gd name="connsiteY8" fmla="*/ 87165 h 215560"/>
                <a:gd name="connsiteX9" fmla="*/ 6348 w 94879"/>
                <a:gd name="connsiteY9" fmla="*/ 100084 h 215560"/>
                <a:gd name="connsiteX10" fmla="*/ 6845 w 94879"/>
                <a:gd name="connsiteY10" fmla="*/ 113004 h 215560"/>
                <a:gd name="connsiteX11" fmla="*/ 6721 w 94879"/>
                <a:gd name="connsiteY11" fmla="*/ 125923 h 215560"/>
                <a:gd name="connsiteX12" fmla="*/ 5065 w 94879"/>
                <a:gd name="connsiteY12" fmla="*/ 138801 h 215560"/>
                <a:gd name="connsiteX13" fmla="*/ 5934 w 94879"/>
                <a:gd name="connsiteY13" fmla="*/ 151720 h 215560"/>
                <a:gd name="connsiteX14" fmla="*/ 5769 w 94879"/>
                <a:gd name="connsiteY14" fmla="*/ 164639 h 215560"/>
                <a:gd name="connsiteX15" fmla="*/ 5065 w 94879"/>
                <a:gd name="connsiteY15" fmla="*/ 177558 h 215560"/>
                <a:gd name="connsiteX16" fmla="*/ 5231 w 94879"/>
                <a:gd name="connsiteY16" fmla="*/ 190519 h 215560"/>
                <a:gd name="connsiteX17" fmla="*/ 4402 w 94879"/>
                <a:gd name="connsiteY17" fmla="*/ 203646 h 215560"/>
                <a:gd name="connsiteX18" fmla="*/ 17322 w 94879"/>
                <a:gd name="connsiteY18" fmla="*/ 204267 h 215560"/>
                <a:gd name="connsiteX19" fmla="*/ 29869 w 94879"/>
                <a:gd name="connsiteY19" fmla="*/ 206213 h 215560"/>
                <a:gd name="connsiteX20" fmla="*/ 42291 w 94879"/>
                <a:gd name="connsiteY20" fmla="*/ 209112 h 215560"/>
                <a:gd name="connsiteX21" fmla="*/ 54755 w 94879"/>
                <a:gd name="connsiteY21" fmla="*/ 211513 h 215560"/>
                <a:gd name="connsiteX22" fmla="*/ 67467 w 94879"/>
                <a:gd name="connsiteY22" fmla="*/ 212383 h 215560"/>
                <a:gd name="connsiteX23" fmla="*/ 79973 w 94879"/>
                <a:gd name="connsiteY23" fmla="*/ 213874 h 215560"/>
                <a:gd name="connsiteX24" fmla="*/ 81215 w 94879"/>
                <a:gd name="connsiteY24" fmla="*/ 200002 h 215560"/>
                <a:gd name="connsiteX25" fmla="*/ 83906 w 94879"/>
                <a:gd name="connsiteY25" fmla="*/ 186171 h 215560"/>
                <a:gd name="connsiteX26" fmla="*/ 84900 w 94879"/>
                <a:gd name="connsiteY26" fmla="*/ 172134 h 215560"/>
                <a:gd name="connsiteX27" fmla="*/ 85770 w 94879"/>
                <a:gd name="connsiteY27" fmla="*/ 158097 h 215560"/>
                <a:gd name="connsiteX28" fmla="*/ 87426 w 94879"/>
                <a:gd name="connsiteY28" fmla="*/ 144143 h 215560"/>
                <a:gd name="connsiteX29" fmla="*/ 88586 w 94879"/>
                <a:gd name="connsiteY29" fmla="*/ 130147 h 215560"/>
                <a:gd name="connsiteX30" fmla="*/ 90904 w 94879"/>
                <a:gd name="connsiteY30" fmla="*/ 116275 h 215560"/>
                <a:gd name="connsiteX31" fmla="*/ 92768 w 94879"/>
                <a:gd name="connsiteY31" fmla="*/ 102320 h 215560"/>
                <a:gd name="connsiteX32" fmla="*/ 93762 w 94879"/>
                <a:gd name="connsiteY32" fmla="*/ 88241 h 215560"/>
                <a:gd name="connsiteX33" fmla="*/ 94880 w 94879"/>
                <a:gd name="connsiteY33" fmla="*/ 74204 h 215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94879" h="215560">
                  <a:moveTo>
                    <a:pt x="7591" y="0"/>
                  </a:moveTo>
                  <a:cubicBezTo>
                    <a:pt x="7508" y="5714"/>
                    <a:pt x="7259" y="5673"/>
                    <a:pt x="7177" y="11387"/>
                  </a:cubicBezTo>
                  <a:cubicBezTo>
                    <a:pt x="7094" y="17102"/>
                    <a:pt x="7425" y="17019"/>
                    <a:pt x="6307" y="22609"/>
                  </a:cubicBezTo>
                  <a:cubicBezTo>
                    <a:pt x="5479" y="26791"/>
                    <a:pt x="5313" y="26626"/>
                    <a:pt x="3491" y="30518"/>
                  </a:cubicBezTo>
                  <a:cubicBezTo>
                    <a:pt x="1297" y="35197"/>
                    <a:pt x="676" y="40249"/>
                    <a:pt x="179" y="45259"/>
                  </a:cubicBezTo>
                  <a:cubicBezTo>
                    <a:pt x="-318" y="50270"/>
                    <a:pt x="261" y="55156"/>
                    <a:pt x="1421" y="60125"/>
                  </a:cubicBezTo>
                  <a:cubicBezTo>
                    <a:pt x="2580" y="65094"/>
                    <a:pt x="2953" y="70394"/>
                    <a:pt x="5769" y="74742"/>
                  </a:cubicBezTo>
                  <a:lnTo>
                    <a:pt x="6431" y="74287"/>
                  </a:lnTo>
                  <a:cubicBezTo>
                    <a:pt x="6348" y="80746"/>
                    <a:pt x="5562" y="80746"/>
                    <a:pt x="5479" y="87165"/>
                  </a:cubicBezTo>
                  <a:cubicBezTo>
                    <a:pt x="5396" y="93583"/>
                    <a:pt x="6431" y="93624"/>
                    <a:pt x="6348" y="100084"/>
                  </a:cubicBezTo>
                  <a:cubicBezTo>
                    <a:pt x="6266" y="106544"/>
                    <a:pt x="6928" y="106544"/>
                    <a:pt x="6845" y="113004"/>
                  </a:cubicBezTo>
                  <a:cubicBezTo>
                    <a:pt x="6763" y="119463"/>
                    <a:pt x="6845" y="119463"/>
                    <a:pt x="6721" y="125923"/>
                  </a:cubicBezTo>
                  <a:cubicBezTo>
                    <a:pt x="6597" y="132383"/>
                    <a:pt x="5148" y="132341"/>
                    <a:pt x="5065" y="138801"/>
                  </a:cubicBezTo>
                  <a:cubicBezTo>
                    <a:pt x="4982" y="145261"/>
                    <a:pt x="6017" y="145261"/>
                    <a:pt x="5934" y="151720"/>
                  </a:cubicBezTo>
                  <a:cubicBezTo>
                    <a:pt x="5852" y="158179"/>
                    <a:pt x="5852" y="158179"/>
                    <a:pt x="5769" y="164639"/>
                  </a:cubicBezTo>
                  <a:cubicBezTo>
                    <a:pt x="5686" y="171099"/>
                    <a:pt x="5148" y="171099"/>
                    <a:pt x="5065" y="177558"/>
                  </a:cubicBezTo>
                  <a:cubicBezTo>
                    <a:pt x="4982" y="184018"/>
                    <a:pt x="5313" y="184018"/>
                    <a:pt x="5231" y="190519"/>
                  </a:cubicBezTo>
                  <a:cubicBezTo>
                    <a:pt x="5148" y="197020"/>
                    <a:pt x="261" y="198718"/>
                    <a:pt x="4402" y="203646"/>
                  </a:cubicBezTo>
                  <a:cubicBezTo>
                    <a:pt x="8543" y="208573"/>
                    <a:pt x="11028" y="203397"/>
                    <a:pt x="17322" y="204267"/>
                  </a:cubicBezTo>
                  <a:cubicBezTo>
                    <a:pt x="23616" y="205136"/>
                    <a:pt x="23574" y="205302"/>
                    <a:pt x="29869" y="206213"/>
                  </a:cubicBezTo>
                  <a:cubicBezTo>
                    <a:pt x="36163" y="207124"/>
                    <a:pt x="35997" y="208201"/>
                    <a:pt x="42291" y="209112"/>
                  </a:cubicBezTo>
                  <a:cubicBezTo>
                    <a:pt x="48585" y="210023"/>
                    <a:pt x="48502" y="210602"/>
                    <a:pt x="54755" y="211513"/>
                  </a:cubicBezTo>
                  <a:cubicBezTo>
                    <a:pt x="61008" y="212424"/>
                    <a:pt x="61173" y="211513"/>
                    <a:pt x="67467" y="212383"/>
                  </a:cubicBezTo>
                  <a:cubicBezTo>
                    <a:pt x="73761" y="213253"/>
                    <a:pt x="75128" y="218056"/>
                    <a:pt x="79973" y="213874"/>
                  </a:cubicBezTo>
                  <a:cubicBezTo>
                    <a:pt x="85273" y="209277"/>
                    <a:pt x="80387" y="206958"/>
                    <a:pt x="81215" y="200002"/>
                  </a:cubicBezTo>
                  <a:cubicBezTo>
                    <a:pt x="82043" y="193045"/>
                    <a:pt x="83120" y="193128"/>
                    <a:pt x="83906" y="186171"/>
                  </a:cubicBezTo>
                  <a:cubicBezTo>
                    <a:pt x="84693" y="179215"/>
                    <a:pt x="84113" y="179132"/>
                    <a:pt x="84900" y="172134"/>
                  </a:cubicBezTo>
                  <a:cubicBezTo>
                    <a:pt x="85687" y="165136"/>
                    <a:pt x="84983" y="165053"/>
                    <a:pt x="85770" y="158097"/>
                  </a:cubicBezTo>
                  <a:cubicBezTo>
                    <a:pt x="86557" y="151141"/>
                    <a:pt x="86639" y="151141"/>
                    <a:pt x="87426" y="144143"/>
                  </a:cubicBezTo>
                  <a:cubicBezTo>
                    <a:pt x="88213" y="137145"/>
                    <a:pt x="87799" y="137103"/>
                    <a:pt x="88586" y="130147"/>
                  </a:cubicBezTo>
                  <a:cubicBezTo>
                    <a:pt x="89372" y="123190"/>
                    <a:pt x="90118" y="123231"/>
                    <a:pt x="90904" y="116275"/>
                  </a:cubicBezTo>
                  <a:cubicBezTo>
                    <a:pt x="91691" y="109318"/>
                    <a:pt x="91981" y="109318"/>
                    <a:pt x="92768" y="102320"/>
                  </a:cubicBezTo>
                  <a:cubicBezTo>
                    <a:pt x="93555" y="95322"/>
                    <a:pt x="92975" y="95239"/>
                    <a:pt x="93762" y="88241"/>
                  </a:cubicBezTo>
                  <a:cubicBezTo>
                    <a:pt x="94548" y="81243"/>
                    <a:pt x="94093" y="81202"/>
                    <a:pt x="94880" y="74204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50166813-9593-7B84-3749-643685728751}"/>
                </a:ext>
              </a:extLst>
            </p:cNvPr>
            <p:cNvSpPr/>
            <p:nvPr/>
          </p:nvSpPr>
          <p:spPr>
            <a:xfrm>
              <a:off x="8182600" y="3358621"/>
              <a:ext cx="116741" cy="263971"/>
            </a:xfrm>
            <a:custGeom>
              <a:avLst/>
              <a:gdLst>
                <a:gd name="connsiteX0" fmla="*/ 2845 w 116741"/>
                <a:gd name="connsiteY0" fmla="*/ 0 h 263971"/>
                <a:gd name="connsiteX1" fmla="*/ 5744 w 116741"/>
                <a:gd name="connsiteY1" fmla="*/ 13085 h 263971"/>
                <a:gd name="connsiteX2" fmla="*/ 8808 w 116741"/>
                <a:gd name="connsiteY2" fmla="*/ 26129 h 263971"/>
                <a:gd name="connsiteX3" fmla="*/ 11375 w 116741"/>
                <a:gd name="connsiteY3" fmla="*/ 39297 h 263971"/>
                <a:gd name="connsiteX4" fmla="*/ 15309 w 116741"/>
                <a:gd name="connsiteY4" fmla="*/ 52175 h 263971"/>
                <a:gd name="connsiteX5" fmla="*/ 17256 w 116741"/>
                <a:gd name="connsiteY5" fmla="*/ 65508 h 263971"/>
                <a:gd name="connsiteX6" fmla="*/ 21189 w 116741"/>
                <a:gd name="connsiteY6" fmla="*/ 78386 h 263971"/>
                <a:gd name="connsiteX7" fmla="*/ 23674 w 116741"/>
                <a:gd name="connsiteY7" fmla="*/ 91595 h 263971"/>
                <a:gd name="connsiteX8" fmla="*/ 26821 w 116741"/>
                <a:gd name="connsiteY8" fmla="*/ 104639 h 263971"/>
                <a:gd name="connsiteX9" fmla="*/ 28519 w 116741"/>
                <a:gd name="connsiteY9" fmla="*/ 118014 h 263971"/>
                <a:gd name="connsiteX10" fmla="*/ 32825 w 116741"/>
                <a:gd name="connsiteY10" fmla="*/ 130768 h 263971"/>
                <a:gd name="connsiteX11" fmla="*/ 36055 w 116741"/>
                <a:gd name="connsiteY11" fmla="*/ 143811 h 263971"/>
                <a:gd name="connsiteX12" fmla="*/ 38664 w 116741"/>
                <a:gd name="connsiteY12" fmla="*/ 156979 h 263971"/>
                <a:gd name="connsiteX13" fmla="*/ 40154 w 116741"/>
                <a:gd name="connsiteY13" fmla="*/ 170396 h 263971"/>
                <a:gd name="connsiteX14" fmla="*/ 43301 w 116741"/>
                <a:gd name="connsiteY14" fmla="*/ 183481 h 263971"/>
                <a:gd name="connsiteX15" fmla="*/ 46987 w 116741"/>
                <a:gd name="connsiteY15" fmla="*/ 196442 h 263971"/>
                <a:gd name="connsiteX16" fmla="*/ 39202 w 116741"/>
                <a:gd name="connsiteY16" fmla="*/ 207249 h 263971"/>
                <a:gd name="connsiteX17" fmla="*/ 32287 w 116741"/>
                <a:gd name="connsiteY17" fmla="*/ 218678 h 263971"/>
                <a:gd name="connsiteX18" fmla="*/ 23674 w 116741"/>
                <a:gd name="connsiteY18" fmla="*/ 228947 h 263971"/>
                <a:gd name="connsiteX19" fmla="*/ 15930 w 116741"/>
                <a:gd name="connsiteY19" fmla="*/ 239838 h 263971"/>
                <a:gd name="connsiteX20" fmla="*/ 9264 w 116741"/>
                <a:gd name="connsiteY20" fmla="*/ 251515 h 263971"/>
                <a:gd name="connsiteX21" fmla="*/ 526 w 116741"/>
                <a:gd name="connsiteY21" fmla="*/ 262032 h 263971"/>
                <a:gd name="connsiteX22" fmla="*/ 11955 w 116741"/>
                <a:gd name="connsiteY22" fmla="*/ 259051 h 263971"/>
                <a:gd name="connsiteX23" fmla="*/ 23260 w 116741"/>
                <a:gd name="connsiteY23" fmla="*/ 256608 h 263971"/>
                <a:gd name="connsiteX24" fmla="*/ 34771 w 116741"/>
                <a:gd name="connsiteY24" fmla="*/ 255034 h 263971"/>
                <a:gd name="connsiteX25" fmla="*/ 41190 w 116741"/>
                <a:gd name="connsiteY25" fmla="*/ 245800 h 263971"/>
                <a:gd name="connsiteX26" fmla="*/ 46945 w 116741"/>
                <a:gd name="connsiteY26" fmla="*/ 236152 h 263971"/>
                <a:gd name="connsiteX27" fmla="*/ 49803 w 116741"/>
                <a:gd name="connsiteY27" fmla="*/ 250107 h 263971"/>
                <a:gd name="connsiteX28" fmla="*/ 50962 w 116741"/>
                <a:gd name="connsiteY28" fmla="*/ 236649 h 263971"/>
                <a:gd name="connsiteX29" fmla="*/ 52204 w 116741"/>
                <a:gd name="connsiteY29" fmla="*/ 223688 h 263971"/>
                <a:gd name="connsiteX30" fmla="*/ 52163 w 116741"/>
                <a:gd name="connsiteY30" fmla="*/ 210645 h 263971"/>
                <a:gd name="connsiteX31" fmla="*/ 52743 w 116741"/>
                <a:gd name="connsiteY31" fmla="*/ 198056 h 263971"/>
                <a:gd name="connsiteX32" fmla="*/ 53985 w 116741"/>
                <a:gd name="connsiteY32" fmla="*/ 211224 h 263971"/>
                <a:gd name="connsiteX33" fmla="*/ 57422 w 116741"/>
                <a:gd name="connsiteY33" fmla="*/ 224475 h 263971"/>
                <a:gd name="connsiteX34" fmla="*/ 58954 w 116741"/>
                <a:gd name="connsiteY34" fmla="*/ 238057 h 263971"/>
                <a:gd name="connsiteX35" fmla="*/ 62101 w 116741"/>
                <a:gd name="connsiteY35" fmla="*/ 252343 h 263971"/>
                <a:gd name="connsiteX36" fmla="*/ 67443 w 116741"/>
                <a:gd name="connsiteY36" fmla="*/ 233502 h 263971"/>
                <a:gd name="connsiteX37" fmla="*/ 75476 w 116741"/>
                <a:gd name="connsiteY37" fmla="*/ 248575 h 263971"/>
                <a:gd name="connsiteX38" fmla="*/ 88851 w 116741"/>
                <a:gd name="connsiteY38" fmla="*/ 251308 h 263971"/>
                <a:gd name="connsiteX39" fmla="*/ 102143 w 116741"/>
                <a:gd name="connsiteY39" fmla="*/ 255945 h 263971"/>
                <a:gd name="connsiteX40" fmla="*/ 115890 w 116741"/>
                <a:gd name="connsiteY40" fmla="*/ 258471 h 263971"/>
                <a:gd name="connsiteX41" fmla="*/ 106946 w 116741"/>
                <a:gd name="connsiteY41" fmla="*/ 247374 h 263971"/>
                <a:gd name="connsiteX42" fmla="*/ 97339 w 116741"/>
                <a:gd name="connsiteY42" fmla="*/ 236773 h 263971"/>
                <a:gd name="connsiteX43" fmla="*/ 87981 w 116741"/>
                <a:gd name="connsiteY43" fmla="*/ 225966 h 263971"/>
                <a:gd name="connsiteX44" fmla="*/ 78499 w 116741"/>
                <a:gd name="connsiteY44" fmla="*/ 215241 h 263971"/>
                <a:gd name="connsiteX45" fmla="*/ 70217 w 116741"/>
                <a:gd name="connsiteY45" fmla="*/ 203481 h 263971"/>
                <a:gd name="connsiteX46" fmla="*/ 59865 w 116741"/>
                <a:gd name="connsiteY46" fmla="*/ 193212 h 263971"/>
                <a:gd name="connsiteX47" fmla="*/ 60859 w 116741"/>
                <a:gd name="connsiteY47" fmla="*/ 179961 h 263971"/>
                <a:gd name="connsiteX48" fmla="*/ 63177 w 116741"/>
                <a:gd name="connsiteY48" fmla="*/ 167042 h 263971"/>
                <a:gd name="connsiteX49" fmla="*/ 64502 w 116741"/>
                <a:gd name="connsiteY49" fmla="*/ 154039 h 263971"/>
                <a:gd name="connsiteX50" fmla="*/ 66159 w 116741"/>
                <a:gd name="connsiteY50" fmla="*/ 141037 h 263971"/>
                <a:gd name="connsiteX51" fmla="*/ 66200 w 116741"/>
                <a:gd name="connsiteY51" fmla="*/ 127911 h 263971"/>
                <a:gd name="connsiteX52" fmla="*/ 67111 w 116741"/>
                <a:gd name="connsiteY52" fmla="*/ 114867 h 263971"/>
                <a:gd name="connsiteX53" fmla="*/ 69968 w 116741"/>
                <a:gd name="connsiteY53" fmla="*/ 101989 h 263971"/>
                <a:gd name="connsiteX54" fmla="*/ 70962 w 116741"/>
                <a:gd name="connsiteY54" fmla="*/ 88945 h 263971"/>
                <a:gd name="connsiteX55" fmla="*/ 72412 w 116741"/>
                <a:gd name="connsiteY55" fmla="*/ 75943 h 263971"/>
                <a:gd name="connsiteX56" fmla="*/ 72163 w 116741"/>
                <a:gd name="connsiteY56" fmla="*/ 62775 h 263971"/>
                <a:gd name="connsiteX57" fmla="*/ 74399 w 116741"/>
                <a:gd name="connsiteY57" fmla="*/ 49856 h 263971"/>
                <a:gd name="connsiteX58" fmla="*/ 76345 w 116741"/>
                <a:gd name="connsiteY58" fmla="*/ 36895 h 263971"/>
                <a:gd name="connsiteX59" fmla="*/ 76180 w 116741"/>
                <a:gd name="connsiteY59" fmla="*/ 23686 h 263971"/>
                <a:gd name="connsiteX60" fmla="*/ 77753 w 116741"/>
                <a:gd name="connsiteY60" fmla="*/ 10642 h 263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116741" h="263971">
                  <a:moveTo>
                    <a:pt x="2845" y="0"/>
                  </a:moveTo>
                  <a:cubicBezTo>
                    <a:pt x="4336" y="6543"/>
                    <a:pt x="4253" y="6543"/>
                    <a:pt x="5744" y="13085"/>
                  </a:cubicBezTo>
                  <a:cubicBezTo>
                    <a:pt x="7235" y="19628"/>
                    <a:pt x="7317" y="19586"/>
                    <a:pt x="8808" y="26129"/>
                  </a:cubicBezTo>
                  <a:cubicBezTo>
                    <a:pt x="10299" y="32671"/>
                    <a:pt x="9885" y="32754"/>
                    <a:pt x="11375" y="39297"/>
                  </a:cubicBezTo>
                  <a:cubicBezTo>
                    <a:pt x="12866" y="45839"/>
                    <a:pt x="13819" y="45632"/>
                    <a:pt x="15309" y="52175"/>
                  </a:cubicBezTo>
                  <a:cubicBezTo>
                    <a:pt x="16800" y="58717"/>
                    <a:pt x="15765" y="58966"/>
                    <a:pt x="17256" y="65508"/>
                  </a:cubicBezTo>
                  <a:cubicBezTo>
                    <a:pt x="18746" y="72051"/>
                    <a:pt x="19699" y="71844"/>
                    <a:pt x="21189" y="78386"/>
                  </a:cubicBezTo>
                  <a:cubicBezTo>
                    <a:pt x="22680" y="84929"/>
                    <a:pt x="22183" y="85053"/>
                    <a:pt x="23674" y="91595"/>
                  </a:cubicBezTo>
                  <a:cubicBezTo>
                    <a:pt x="25164" y="98138"/>
                    <a:pt x="25330" y="98097"/>
                    <a:pt x="26821" y="104639"/>
                  </a:cubicBezTo>
                  <a:cubicBezTo>
                    <a:pt x="28312" y="111182"/>
                    <a:pt x="27069" y="111471"/>
                    <a:pt x="28519" y="118014"/>
                  </a:cubicBezTo>
                  <a:cubicBezTo>
                    <a:pt x="29968" y="124557"/>
                    <a:pt x="31376" y="124267"/>
                    <a:pt x="32825" y="130768"/>
                  </a:cubicBezTo>
                  <a:cubicBezTo>
                    <a:pt x="34274" y="137269"/>
                    <a:pt x="34564" y="137269"/>
                    <a:pt x="36055" y="143811"/>
                  </a:cubicBezTo>
                  <a:cubicBezTo>
                    <a:pt x="37546" y="150354"/>
                    <a:pt x="37173" y="150437"/>
                    <a:pt x="38664" y="156979"/>
                  </a:cubicBezTo>
                  <a:cubicBezTo>
                    <a:pt x="40154" y="163522"/>
                    <a:pt x="38664" y="163853"/>
                    <a:pt x="40154" y="170396"/>
                  </a:cubicBezTo>
                  <a:cubicBezTo>
                    <a:pt x="41645" y="176938"/>
                    <a:pt x="41811" y="176897"/>
                    <a:pt x="43301" y="183481"/>
                  </a:cubicBezTo>
                  <a:cubicBezTo>
                    <a:pt x="44792" y="190065"/>
                    <a:pt x="48312" y="189858"/>
                    <a:pt x="46987" y="196442"/>
                  </a:cubicBezTo>
                  <a:cubicBezTo>
                    <a:pt x="45662" y="203025"/>
                    <a:pt x="43053" y="201825"/>
                    <a:pt x="39202" y="207249"/>
                  </a:cubicBezTo>
                  <a:cubicBezTo>
                    <a:pt x="35351" y="212674"/>
                    <a:pt x="36138" y="213253"/>
                    <a:pt x="32287" y="218678"/>
                  </a:cubicBezTo>
                  <a:cubicBezTo>
                    <a:pt x="28436" y="224102"/>
                    <a:pt x="27525" y="223481"/>
                    <a:pt x="23674" y="228947"/>
                  </a:cubicBezTo>
                  <a:cubicBezTo>
                    <a:pt x="19823" y="234413"/>
                    <a:pt x="19781" y="234372"/>
                    <a:pt x="15930" y="239838"/>
                  </a:cubicBezTo>
                  <a:cubicBezTo>
                    <a:pt x="12079" y="245303"/>
                    <a:pt x="13115" y="246049"/>
                    <a:pt x="9264" y="251515"/>
                  </a:cubicBezTo>
                  <a:cubicBezTo>
                    <a:pt x="5413" y="256981"/>
                    <a:pt x="-2041" y="255863"/>
                    <a:pt x="526" y="262032"/>
                  </a:cubicBezTo>
                  <a:cubicBezTo>
                    <a:pt x="2763" y="267333"/>
                    <a:pt x="6324" y="260210"/>
                    <a:pt x="11955" y="259051"/>
                  </a:cubicBezTo>
                  <a:cubicBezTo>
                    <a:pt x="17587" y="257892"/>
                    <a:pt x="17587" y="257809"/>
                    <a:pt x="23260" y="256608"/>
                  </a:cubicBezTo>
                  <a:cubicBezTo>
                    <a:pt x="28933" y="255407"/>
                    <a:pt x="30009" y="258264"/>
                    <a:pt x="34771" y="255034"/>
                  </a:cubicBezTo>
                  <a:cubicBezTo>
                    <a:pt x="39533" y="251805"/>
                    <a:pt x="38125" y="250480"/>
                    <a:pt x="41190" y="245800"/>
                  </a:cubicBezTo>
                  <a:cubicBezTo>
                    <a:pt x="44254" y="241121"/>
                    <a:pt x="41852" y="233875"/>
                    <a:pt x="46945" y="236152"/>
                  </a:cubicBezTo>
                  <a:cubicBezTo>
                    <a:pt x="53198" y="238968"/>
                    <a:pt x="42970" y="249237"/>
                    <a:pt x="49803" y="250107"/>
                  </a:cubicBezTo>
                  <a:cubicBezTo>
                    <a:pt x="56262" y="250894"/>
                    <a:pt x="50631" y="243150"/>
                    <a:pt x="50962" y="236649"/>
                  </a:cubicBezTo>
                  <a:cubicBezTo>
                    <a:pt x="51293" y="230148"/>
                    <a:pt x="51832" y="230189"/>
                    <a:pt x="52204" y="223688"/>
                  </a:cubicBezTo>
                  <a:cubicBezTo>
                    <a:pt x="52577" y="217187"/>
                    <a:pt x="51790" y="217146"/>
                    <a:pt x="52163" y="210645"/>
                  </a:cubicBezTo>
                  <a:cubicBezTo>
                    <a:pt x="52535" y="204144"/>
                    <a:pt x="46283" y="197145"/>
                    <a:pt x="52743" y="198056"/>
                  </a:cubicBezTo>
                  <a:cubicBezTo>
                    <a:pt x="59202" y="198967"/>
                    <a:pt x="52908" y="204516"/>
                    <a:pt x="53985" y="211224"/>
                  </a:cubicBezTo>
                  <a:cubicBezTo>
                    <a:pt x="55061" y="217933"/>
                    <a:pt x="56304" y="217725"/>
                    <a:pt x="57422" y="224475"/>
                  </a:cubicBezTo>
                  <a:cubicBezTo>
                    <a:pt x="58540" y="231225"/>
                    <a:pt x="57836" y="231307"/>
                    <a:pt x="58954" y="238057"/>
                  </a:cubicBezTo>
                  <a:cubicBezTo>
                    <a:pt x="60072" y="244807"/>
                    <a:pt x="56221" y="255738"/>
                    <a:pt x="62101" y="252343"/>
                  </a:cubicBezTo>
                  <a:cubicBezTo>
                    <a:pt x="70341" y="247581"/>
                    <a:pt x="58084" y="235158"/>
                    <a:pt x="67443" y="233502"/>
                  </a:cubicBezTo>
                  <a:cubicBezTo>
                    <a:pt x="76055" y="232011"/>
                    <a:pt x="68933" y="242736"/>
                    <a:pt x="75476" y="248575"/>
                  </a:cubicBezTo>
                  <a:cubicBezTo>
                    <a:pt x="80693" y="253213"/>
                    <a:pt x="82018" y="249734"/>
                    <a:pt x="88851" y="251308"/>
                  </a:cubicBezTo>
                  <a:cubicBezTo>
                    <a:pt x="95683" y="252881"/>
                    <a:pt x="95310" y="254372"/>
                    <a:pt x="102143" y="255945"/>
                  </a:cubicBezTo>
                  <a:cubicBezTo>
                    <a:pt x="108975" y="257519"/>
                    <a:pt x="112453" y="264558"/>
                    <a:pt x="115890" y="258471"/>
                  </a:cubicBezTo>
                  <a:cubicBezTo>
                    <a:pt x="119327" y="252384"/>
                    <a:pt x="111542" y="252798"/>
                    <a:pt x="106946" y="247374"/>
                  </a:cubicBezTo>
                  <a:cubicBezTo>
                    <a:pt x="102350" y="241949"/>
                    <a:pt x="101936" y="242239"/>
                    <a:pt x="97339" y="236773"/>
                  </a:cubicBezTo>
                  <a:cubicBezTo>
                    <a:pt x="92743" y="231307"/>
                    <a:pt x="92619" y="231390"/>
                    <a:pt x="87981" y="225966"/>
                  </a:cubicBezTo>
                  <a:cubicBezTo>
                    <a:pt x="83343" y="220541"/>
                    <a:pt x="83136" y="220707"/>
                    <a:pt x="78499" y="215241"/>
                  </a:cubicBezTo>
                  <a:cubicBezTo>
                    <a:pt x="73861" y="209775"/>
                    <a:pt x="74855" y="208947"/>
                    <a:pt x="70217" y="203481"/>
                  </a:cubicBezTo>
                  <a:cubicBezTo>
                    <a:pt x="65579" y="198015"/>
                    <a:pt x="62142" y="200003"/>
                    <a:pt x="59865" y="193212"/>
                  </a:cubicBezTo>
                  <a:cubicBezTo>
                    <a:pt x="57794" y="187000"/>
                    <a:pt x="60237" y="186462"/>
                    <a:pt x="60859" y="179961"/>
                  </a:cubicBezTo>
                  <a:cubicBezTo>
                    <a:pt x="61480" y="173460"/>
                    <a:pt x="62556" y="173543"/>
                    <a:pt x="63177" y="167042"/>
                  </a:cubicBezTo>
                  <a:cubicBezTo>
                    <a:pt x="63799" y="160540"/>
                    <a:pt x="63881" y="160540"/>
                    <a:pt x="64502" y="154039"/>
                  </a:cubicBezTo>
                  <a:cubicBezTo>
                    <a:pt x="65124" y="147538"/>
                    <a:pt x="65538" y="147580"/>
                    <a:pt x="66159" y="141037"/>
                  </a:cubicBezTo>
                  <a:cubicBezTo>
                    <a:pt x="66780" y="134495"/>
                    <a:pt x="65579" y="134412"/>
                    <a:pt x="66200" y="127911"/>
                  </a:cubicBezTo>
                  <a:cubicBezTo>
                    <a:pt x="66821" y="121410"/>
                    <a:pt x="66490" y="121368"/>
                    <a:pt x="67111" y="114867"/>
                  </a:cubicBezTo>
                  <a:cubicBezTo>
                    <a:pt x="67732" y="108366"/>
                    <a:pt x="69306" y="108490"/>
                    <a:pt x="69968" y="101989"/>
                  </a:cubicBezTo>
                  <a:cubicBezTo>
                    <a:pt x="70631" y="95488"/>
                    <a:pt x="70341" y="95446"/>
                    <a:pt x="70962" y="88945"/>
                  </a:cubicBezTo>
                  <a:cubicBezTo>
                    <a:pt x="71583" y="82444"/>
                    <a:pt x="71790" y="82444"/>
                    <a:pt x="72412" y="75943"/>
                  </a:cubicBezTo>
                  <a:cubicBezTo>
                    <a:pt x="73033" y="69442"/>
                    <a:pt x="71542" y="69276"/>
                    <a:pt x="72163" y="62775"/>
                  </a:cubicBezTo>
                  <a:cubicBezTo>
                    <a:pt x="72784" y="56274"/>
                    <a:pt x="73778" y="56357"/>
                    <a:pt x="74399" y="49856"/>
                  </a:cubicBezTo>
                  <a:cubicBezTo>
                    <a:pt x="75020" y="43355"/>
                    <a:pt x="75724" y="43396"/>
                    <a:pt x="76345" y="36895"/>
                  </a:cubicBezTo>
                  <a:cubicBezTo>
                    <a:pt x="76966" y="30394"/>
                    <a:pt x="75559" y="30228"/>
                    <a:pt x="76180" y="23686"/>
                  </a:cubicBezTo>
                  <a:cubicBezTo>
                    <a:pt x="76801" y="17143"/>
                    <a:pt x="77132" y="17185"/>
                    <a:pt x="77753" y="10642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DB7E985E-0E64-4386-C13D-0BD1EE0201B9}"/>
                </a:ext>
              </a:extLst>
            </p:cNvPr>
            <p:cNvSpPr/>
            <p:nvPr/>
          </p:nvSpPr>
          <p:spPr>
            <a:xfrm>
              <a:off x="8223099" y="3380858"/>
              <a:ext cx="2595" cy="98013"/>
            </a:xfrm>
            <a:custGeom>
              <a:avLst/>
              <a:gdLst>
                <a:gd name="connsiteX0" fmla="*/ 318 w 2595"/>
                <a:gd name="connsiteY0" fmla="*/ 0 h 98013"/>
                <a:gd name="connsiteX1" fmla="*/ 28 w 2595"/>
                <a:gd name="connsiteY1" fmla="*/ 13996 h 98013"/>
                <a:gd name="connsiteX2" fmla="*/ 318 w 2595"/>
                <a:gd name="connsiteY2" fmla="*/ 27992 h 98013"/>
                <a:gd name="connsiteX3" fmla="*/ 235 w 2595"/>
                <a:gd name="connsiteY3" fmla="*/ 41988 h 98013"/>
                <a:gd name="connsiteX4" fmla="*/ 939 w 2595"/>
                <a:gd name="connsiteY4" fmla="*/ 55984 h 98013"/>
                <a:gd name="connsiteX5" fmla="*/ 318 w 2595"/>
                <a:gd name="connsiteY5" fmla="*/ 70022 h 98013"/>
                <a:gd name="connsiteX6" fmla="*/ 1602 w 2595"/>
                <a:gd name="connsiteY6" fmla="*/ 84018 h 98013"/>
                <a:gd name="connsiteX7" fmla="*/ 2596 w 2595"/>
                <a:gd name="connsiteY7" fmla="*/ 98014 h 980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595" h="98013">
                  <a:moveTo>
                    <a:pt x="318" y="0"/>
                  </a:moveTo>
                  <a:cubicBezTo>
                    <a:pt x="484" y="6998"/>
                    <a:pt x="-137" y="6998"/>
                    <a:pt x="28" y="13996"/>
                  </a:cubicBezTo>
                  <a:cubicBezTo>
                    <a:pt x="194" y="20994"/>
                    <a:pt x="153" y="20994"/>
                    <a:pt x="318" y="27992"/>
                  </a:cubicBezTo>
                  <a:cubicBezTo>
                    <a:pt x="484" y="34990"/>
                    <a:pt x="70" y="34990"/>
                    <a:pt x="235" y="41988"/>
                  </a:cubicBezTo>
                  <a:cubicBezTo>
                    <a:pt x="401" y="48986"/>
                    <a:pt x="774" y="48986"/>
                    <a:pt x="939" y="55984"/>
                  </a:cubicBezTo>
                  <a:cubicBezTo>
                    <a:pt x="1105" y="62982"/>
                    <a:pt x="153" y="63024"/>
                    <a:pt x="318" y="70022"/>
                  </a:cubicBezTo>
                  <a:cubicBezTo>
                    <a:pt x="484" y="77020"/>
                    <a:pt x="1436" y="77020"/>
                    <a:pt x="1602" y="84018"/>
                  </a:cubicBezTo>
                  <a:cubicBezTo>
                    <a:pt x="1768" y="91016"/>
                    <a:pt x="2430" y="91016"/>
                    <a:pt x="2596" y="98014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F16E88A-C7BC-4200-E795-5B43F592DB87}"/>
                </a:ext>
              </a:extLst>
            </p:cNvPr>
            <p:cNvSpPr/>
            <p:nvPr/>
          </p:nvSpPr>
          <p:spPr>
            <a:xfrm>
              <a:off x="8195466" y="3023089"/>
              <a:ext cx="4058" cy="18302"/>
            </a:xfrm>
            <a:custGeom>
              <a:avLst/>
              <a:gdLst>
                <a:gd name="connsiteX0" fmla="*/ 4058 w 4058"/>
                <a:gd name="connsiteY0" fmla="*/ 0 h 18302"/>
                <a:gd name="connsiteX1" fmla="*/ 0 w 4058"/>
                <a:gd name="connsiteY1" fmla="*/ 18303 h 18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058" h="18302">
                  <a:moveTo>
                    <a:pt x="4058" y="0"/>
                  </a:moveTo>
                  <a:cubicBezTo>
                    <a:pt x="1739" y="9068"/>
                    <a:pt x="2360" y="9234"/>
                    <a:pt x="0" y="18303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622EB10-8E65-8207-5D99-48EEEFEE3CBA}"/>
                </a:ext>
              </a:extLst>
            </p:cNvPr>
            <p:cNvSpPr/>
            <p:nvPr/>
          </p:nvSpPr>
          <p:spPr>
            <a:xfrm>
              <a:off x="8220145" y="3029715"/>
              <a:ext cx="5838" cy="17971"/>
            </a:xfrm>
            <a:custGeom>
              <a:avLst/>
              <a:gdLst>
                <a:gd name="connsiteX0" fmla="*/ 5839 w 5838"/>
                <a:gd name="connsiteY0" fmla="*/ 0 h 17971"/>
                <a:gd name="connsiteX1" fmla="*/ 0 w 5838"/>
                <a:gd name="connsiteY1" fmla="*/ 17971 h 179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838" h="17971">
                  <a:moveTo>
                    <a:pt x="5839" y="0"/>
                  </a:moveTo>
                  <a:cubicBezTo>
                    <a:pt x="3188" y="9068"/>
                    <a:pt x="2609" y="8903"/>
                    <a:pt x="0" y="17971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6B9AEE4D-0A27-0354-9768-BD19D939F07A}"/>
                </a:ext>
              </a:extLst>
            </p:cNvPr>
            <p:cNvSpPr/>
            <p:nvPr/>
          </p:nvSpPr>
          <p:spPr>
            <a:xfrm>
              <a:off x="8210497" y="2978575"/>
              <a:ext cx="104473" cy="93955"/>
            </a:xfrm>
            <a:custGeom>
              <a:avLst/>
              <a:gdLst>
                <a:gd name="connsiteX0" fmla="*/ 0 w 104473"/>
                <a:gd name="connsiteY0" fmla="*/ 0 h 93955"/>
                <a:gd name="connsiteX1" fmla="*/ 8406 w 104473"/>
                <a:gd name="connsiteY1" fmla="*/ 9855 h 93955"/>
                <a:gd name="connsiteX2" fmla="*/ 16066 w 104473"/>
                <a:gd name="connsiteY2" fmla="*/ 20332 h 93955"/>
                <a:gd name="connsiteX3" fmla="*/ 24762 w 104473"/>
                <a:gd name="connsiteY3" fmla="*/ 29938 h 93955"/>
                <a:gd name="connsiteX4" fmla="*/ 33003 w 104473"/>
                <a:gd name="connsiteY4" fmla="*/ 39959 h 93955"/>
                <a:gd name="connsiteX5" fmla="*/ 42071 w 104473"/>
                <a:gd name="connsiteY5" fmla="*/ 49276 h 93955"/>
                <a:gd name="connsiteX6" fmla="*/ 52009 w 104473"/>
                <a:gd name="connsiteY6" fmla="*/ 57682 h 93955"/>
                <a:gd name="connsiteX7" fmla="*/ 61326 w 104473"/>
                <a:gd name="connsiteY7" fmla="*/ 66668 h 93955"/>
                <a:gd name="connsiteX8" fmla="*/ 71140 w 104473"/>
                <a:gd name="connsiteY8" fmla="*/ 75073 h 93955"/>
                <a:gd name="connsiteX9" fmla="*/ 80746 w 104473"/>
                <a:gd name="connsiteY9" fmla="*/ 83852 h 93955"/>
                <a:gd name="connsiteX10" fmla="*/ 92009 w 104473"/>
                <a:gd name="connsiteY10" fmla="*/ 90395 h 93955"/>
                <a:gd name="connsiteX11" fmla="*/ 104473 w 104473"/>
                <a:gd name="connsiteY11" fmla="*/ 93956 h 93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4473" h="93955">
                  <a:moveTo>
                    <a:pt x="0" y="0"/>
                  </a:moveTo>
                  <a:cubicBezTo>
                    <a:pt x="3975" y="5135"/>
                    <a:pt x="3313" y="3644"/>
                    <a:pt x="8406" y="9855"/>
                  </a:cubicBezTo>
                  <a:cubicBezTo>
                    <a:pt x="10766" y="12712"/>
                    <a:pt x="12919" y="16646"/>
                    <a:pt x="16066" y="20332"/>
                  </a:cubicBezTo>
                  <a:cubicBezTo>
                    <a:pt x="18675" y="23396"/>
                    <a:pt x="21739" y="26501"/>
                    <a:pt x="24762" y="29938"/>
                  </a:cubicBezTo>
                  <a:cubicBezTo>
                    <a:pt x="27495" y="33044"/>
                    <a:pt x="29980" y="36688"/>
                    <a:pt x="33003" y="39959"/>
                  </a:cubicBezTo>
                  <a:cubicBezTo>
                    <a:pt x="36025" y="43230"/>
                    <a:pt x="39007" y="46088"/>
                    <a:pt x="42071" y="49276"/>
                  </a:cubicBezTo>
                  <a:cubicBezTo>
                    <a:pt x="45135" y="52464"/>
                    <a:pt x="48903" y="54659"/>
                    <a:pt x="52009" y="57682"/>
                  </a:cubicBezTo>
                  <a:cubicBezTo>
                    <a:pt x="55115" y="60705"/>
                    <a:pt x="58179" y="63810"/>
                    <a:pt x="61326" y="66668"/>
                  </a:cubicBezTo>
                  <a:cubicBezTo>
                    <a:pt x="64473" y="69525"/>
                    <a:pt x="67910" y="72423"/>
                    <a:pt x="71140" y="75073"/>
                  </a:cubicBezTo>
                  <a:cubicBezTo>
                    <a:pt x="74659" y="77931"/>
                    <a:pt x="77392" y="81533"/>
                    <a:pt x="80746" y="83852"/>
                  </a:cubicBezTo>
                  <a:cubicBezTo>
                    <a:pt x="84597" y="86502"/>
                    <a:pt x="88448" y="88655"/>
                    <a:pt x="92009" y="90395"/>
                  </a:cubicBezTo>
                  <a:cubicBezTo>
                    <a:pt x="96482" y="92589"/>
                    <a:pt x="100788" y="93749"/>
                    <a:pt x="104473" y="93956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C3DDB3DD-B645-1DAB-CD3D-1625C904D666}"/>
                </a:ext>
              </a:extLst>
            </p:cNvPr>
            <p:cNvSpPr/>
            <p:nvPr/>
          </p:nvSpPr>
          <p:spPr>
            <a:xfrm>
              <a:off x="8312942" y="3047355"/>
              <a:ext cx="97173" cy="185730"/>
            </a:xfrm>
            <a:custGeom>
              <a:avLst/>
              <a:gdLst>
                <a:gd name="connsiteX0" fmla="*/ 455 w 97173"/>
                <a:gd name="connsiteY0" fmla="*/ 0 h 185730"/>
                <a:gd name="connsiteX1" fmla="*/ 6667 w 97173"/>
                <a:gd name="connsiteY1" fmla="*/ 11222 h 185730"/>
                <a:gd name="connsiteX2" fmla="*/ 11594 w 97173"/>
                <a:gd name="connsiteY2" fmla="*/ 23064 h 185730"/>
                <a:gd name="connsiteX3" fmla="*/ 15280 w 97173"/>
                <a:gd name="connsiteY3" fmla="*/ 35363 h 185730"/>
                <a:gd name="connsiteX4" fmla="*/ 18717 w 97173"/>
                <a:gd name="connsiteY4" fmla="*/ 47744 h 185730"/>
                <a:gd name="connsiteX5" fmla="*/ 19959 w 97173"/>
                <a:gd name="connsiteY5" fmla="*/ 60539 h 185730"/>
                <a:gd name="connsiteX6" fmla="*/ 19876 w 97173"/>
                <a:gd name="connsiteY6" fmla="*/ 73417 h 185730"/>
                <a:gd name="connsiteX7" fmla="*/ 20042 w 97173"/>
                <a:gd name="connsiteY7" fmla="*/ 87041 h 185730"/>
                <a:gd name="connsiteX8" fmla="*/ 25756 w 97173"/>
                <a:gd name="connsiteY8" fmla="*/ 99463 h 185730"/>
                <a:gd name="connsiteX9" fmla="*/ 33913 w 97173"/>
                <a:gd name="connsiteY9" fmla="*/ 110312 h 185730"/>
                <a:gd name="connsiteX10" fmla="*/ 42609 w 97173"/>
                <a:gd name="connsiteY10" fmla="*/ 120540 h 185730"/>
                <a:gd name="connsiteX11" fmla="*/ 52423 w 97173"/>
                <a:gd name="connsiteY11" fmla="*/ 129815 h 185730"/>
                <a:gd name="connsiteX12" fmla="*/ 64473 w 97173"/>
                <a:gd name="connsiteY12" fmla="*/ 135820 h 185730"/>
                <a:gd name="connsiteX13" fmla="*/ 77599 w 97173"/>
                <a:gd name="connsiteY13" fmla="*/ 136979 h 185730"/>
                <a:gd name="connsiteX14" fmla="*/ 88697 w 97173"/>
                <a:gd name="connsiteY14" fmla="*/ 129650 h 185730"/>
                <a:gd name="connsiteX15" fmla="*/ 93542 w 97173"/>
                <a:gd name="connsiteY15" fmla="*/ 117020 h 185730"/>
                <a:gd name="connsiteX16" fmla="*/ 96399 w 97173"/>
                <a:gd name="connsiteY16" fmla="*/ 103935 h 185730"/>
                <a:gd name="connsiteX17" fmla="*/ 97144 w 97173"/>
                <a:gd name="connsiteY17" fmla="*/ 117269 h 185730"/>
                <a:gd name="connsiteX18" fmla="*/ 95861 w 97173"/>
                <a:gd name="connsiteY18" fmla="*/ 130726 h 185730"/>
                <a:gd name="connsiteX19" fmla="*/ 91720 w 97173"/>
                <a:gd name="connsiteY19" fmla="*/ 143604 h 185730"/>
                <a:gd name="connsiteX20" fmla="*/ 88614 w 97173"/>
                <a:gd name="connsiteY20" fmla="*/ 156731 h 185730"/>
                <a:gd name="connsiteX21" fmla="*/ 81243 w 97173"/>
                <a:gd name="connsiteY21" fmla="*/ 167953 h 185730"/>
                <a:gd name="connsiteX22" fmla="*/ 72796 w 97173"/>
                <a:gd name="connsiteY22" fmla="*/ 178222 h 185730"/>
                <a:gd name="connsiteX23" fmla="*/ 61036 w 97173"/>
                <a:gd name="connsiteY23" fmla="*/ 184889 h 185730"/>
                <a:gd name="connsiteX24" fmla="*/ 47495 w 97173"/>
                <a:gd name="connsiteY24" fmla="*/ 185344 h 185730"/>
                <a:gd name="connsiteX25" fmla="*/ 34659 w 97173"/>
                <a:gd name="connsiteY25" fmla="*/ 181410 h 185730"/>
                <a:gd name="connsiteX26" fmla="*/ 22319 w 97173"/>
                <a:gd name="connsiteY26" fmla="*/ 176069 h 185730"/>
                <a:gd name="connsiteX27" fmla="*/ 11139 w 97173"/>
                <a:gd name="connsiteY27" fmla="*/ 168574 h 185730"/>
                <a:gd name="connsiteX28" fmla="*/ 0 w 97173"/>
                <a:gd name="connsiteY28" fmla="*/ 160872 h 185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97173" h="185730">
                  <a:moveTo>
                    <a:pt x="455" y="0"/>
                  </a:moveTo>
                  <a:cubicBezTo>
                    <a:pt x="3810" y="5507"/>
                    <a:pt x="3354" y="4141"/>
                    <a:pt x="6667" y="11222"/>
                  </a:cubicBezTo>
                  <a:cubicBezTo>
                    <a:pt x="8240" y="14617"/>
                    <a:pt x="9897" y="18634"/>
                    <a:pt x="11594" y="23064"/>
                  </a:cubicBezTo>
                  <a:cubicBezTo>
                    <a:pt x="13044" y="26833"/>
                    <a:pt x="14037" y="31015"/>
                    <a:pt x="15280" y="35363"/>
                  </a:cubicBezTo>
                  <a:cubicBezTo>
                    <a:pt x="16398" y="39379"/>
                    <a:pt x="17971" y="43437"/>
                    <a:pt x="18717" y="47744"/>
                  </a:cubicBezTo>
                  <a:cubicBezTo>
                    <a:pt x="19462" y="52050"/>
                    <a:pt x="19793" y="56233"/>
                    <a:pt x="19959" y="60539"/>
                  </a:cubicBezTo>
                  <a:cubicBezTo>
                    <a:pt x="20124" y="64846"/>
                    <a:pt x="20456" y="69152"/>
                    <a:pt x="19876" y="73417"/>
                  </a:cubicBezTo>
                  <a:cubicBezTo>
                    <a:pt x="19296" y="77682"/>
                    <a:pt x="18717" y="82279"/>
                    <a:pt x="20042" y="87041"/>
                  </a:cubicBezTo>
                  <a:cubicBezTo>
                    <a:pt x="21201" y="91140"/>
                    <a:pt x="23520" y="95281"/>
                    <a:pt x="25756" y="99463"/>
                  </a:cubicBezTo>
                  <a:cubicBezTo>
                    <a:pt x="27826" y="103355"/>
                    <a:pt x="31181" y="106627"/>
                    <a:pt x="33913" y="110312"/>
                  </a:cubicBezTo>
                  <a:cubicBezTo>
                    <a:pt x="36646" y="113997"/>
                    <a:pt x="39462" y="117393"/>
                    <a:pt x="42609" y="120540"/>
                  </a:cubicBezTo>
                  <a:cubicBezTo>
                    <a:pt x="45756" y="123687"/>
                    <a:pt x="48903" y="127289"/>
                    <a:pt x="52423" y="129815"/>
                  </a:cubicBezTo>
                  <a:cubicBezTo>
                    <a:pt x="56357" y="132590"/>
                    <a:pt x="60539" y="134453"/>
                    <a:pt x="64473" y="135820"/>
                  </a:cubicBezTo>
                  <a:cubicBezTo>
                    <a:pt x="69111" y="137435"/>
                    <a:pt x="73459" y="138014"/>
                    <a:pt x="77599" y="136979"/>
                  </a:cubicBezTo>
                  <a:cubicBezTo>
                    <a:pt x="81740" y="135944"/>
                    <a:pt x="85674" y="133915"/>
                    <a:pt x="88697" y="129650"/>
                  </a:cubicBezTo>
                  <a:cubicBezTo>
                    <a:pt x="90891" y="126544"/>
                    <a:pt x="92134" y="122196"/>
                    <a:pt x="93542" y="117020"/>
                  </a:cubicBezTo>
                  <a:cubicBezTo>
                    <a:pt x="94577" y="113211"/>
                    <a:pt x="95902" y="109028"/>
                    <a:pt x="96399" y="103935"/>
                  </a:cubicBezTo>
                  <a:cubicBezTo>
                    <a:pt x="96730" y="108159"/>
                    <a:pt x="97310" y="112590"/>
                    <a:pt x="97144" y="117269"/>
                  </a:cubicBezTo>
                  <a:cubicBezTo>
                    <a:pt x="96978" y="121658"/>
                    <a:pt x="96482" y="126213"/>
                    <a:pt x="95861" y="130726"/>
                  </a:cubicBezTo>
                  <a:cubicBezTo>
                    <a:pt x="95239" y="135240"/>
                    <a:pt x="92879" y="139298"/>
                    <a:pt x="91720" y="143604"/>
                  </a:cubicBezTo>
                  <a:cubicBezTo>
                    <a:pt x="90560" y="147911"/>
                    <a:pt x="90312" y="152673"/>
                    <a:pt x="88614" y="156731"/>
                  </a:cubicBezTo>
                  <a:cubicBezTo>
                    <a:pt x="86792" y="160996"/>
                    <a:pt x="83728" y="164391"/>
                    <a:pt x="81243" y="167953"/>
                  </a:cubicBezTo>
                  <a:cubicBezTo>
                    <a:pt x="78593" y="171762"/>
                    <a:pt x="76233" y="175530"/>
                    <a:pt x="72796" y="178222"/>
                  </a:cubicBezTo>
                  <a:cubicBezTo>
                    <a:pt x="69359" y="180913"/>
                    <a:pt x="65508" y="183729"/>
                    <a:pt x="61036" y="184889"/>
                  </a:cubicBezTo>
                  <a:cubicBezTo>
                    <a:pt x="56978" y="185965"/>
                    <a:pt x="52340" y="185882"/>
                    <a:pt x="47495" y="185344"/>
                  </a:cubicBezTo>
                  <a:cubicBezTo>
                    <a:pt x="43437" y="184889"/>
                    <a:pt x="39297" y="183149"/>
                    <a:pt x="34659" y="181410"/>
                  </a:cubicBezTo>
                  <a:cubicBezTo>
                    <a:pt x="30808" y="179961"/>
                    <a:pt x="26584" y="178512"/>
                    <a:pt x="22319" y="176069"/>
                  </a:cubicBezTo>
                  <a:cubicBezTo>
                    <a:pt x="18717" y="173998"/>
                    <a:pt x="15073" y="171431"/>
                    <a:pt x="11139" y="168574"/>
                  </a:cubicBezTo>
                  <a:cubicBezTo>
                    <a:pt x="7743" y="166089"/>
                    <a:pt x="3644" y="163977"/>
                    <a:pt x="0" y="160872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1C4C45B4-8034-9264-E17F-EAC335D7778E}"/>
                </a:ext>
              </a:extLst>
            </p:cNvPr>
            <p:cNvSpPr/>
            <p:nvPr/>
          </p:nvSpPr>
          <p:spPr>
            <a:xfrm>
              <a:off x="8215176" y="3194520"/>
              <a:ext cx="17805" cy="46211"/>
            </a:xfrm>
            <a:custGeom>
              <a:avLst/>
              <a:gdLst>
                <a:gd name="connsiteX0" fmla="*/ 17806 w 17805"/>
                <a:gd name="connsiteY0" fmla="*/ 0 h 46211"/>
                <a:gd name="connsiteX1" fmla="*/ 10808 w 17805"/>
                <a:gd name="connsiteY1" fmla="*/ 11139 h 46211"/>
                <a:gd name="connsiteX2" fmla="*/ 4638 w 17805"/>
                <a:gd name="connsiteY2" fmla="*/ 22485 h 46211"/>
                <a:gd name="connsiteX3" fmla="*/ 0 w 17805"/>
                <a:gd name="connsiteY3" fmla="*/ 34659 h 46211"/>
                <a:gd name="connsiteX4" fmla="*/ 5797 w 17805"/>
                <a:gd name="connsiteY4" fmla="*/ 46212 h 46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805" h="46211">
                  <a:moveTo>
                    <a:pt x="17806" y="0"/>
                  </a:moveTo>
                  <a:cubicBezTo>
                    <a:pt x="13416" y="4886"/>
                    <a:pt x="14948" y="5052"/>
                    <a:pt x="10808" y="11139"/>
                  </a:cubicBezTo>
                  <a:cubicBezTo>
                    <a:pt x="8530" y="14534"/>
                    <a:pt x="6460" y="18427"/>
                    <a:pt x="4638" y="22485"/>
                  </a:cubicBezTo>
                  <a:cubicBezTo>
                    <a:pt x="2816" y="26543"/>
                    <a:pt x="0" y="30642"/>
                    <a:pt x="0" y="34659"/>
                  </a:cubicBezTo>
                  <a:cubicBezTo>
                    <a:pt x="0" y="39048"/>
                    <a:pt x="1781" y="43313"/>
                    <a:pt x="5797" y="46212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1D51632E-DC35-F95E-0D7F-E2B7AE12F77F}"/>
                </a:ext>
              </a:extLst>
            </p:cNvPr>
            <p:cNvSpPr/>
            <p:nvPr/>
          </p:nvSpPr>
          <p:spPr>
            <a:xfrm>
              <a:off x="8083911" y="3080481"/>
              <a:ext cx="103397" cy="139199"/>
            </a:xfrm>
            <a:custGeom>
              <a:avLst/>
              <a:gdLst>
                <a:gd name="connsiteX0" fmla="*/ 103398 w 103397"/>
                <a:gd name="connsiteY0" fmla="*/ 94328 h 139199"/>
                <a:gd name="connsiteX1" fmla="*/ 89692 w 103397"/>
                <a:gd name="connsiteY1" fmla="*/ 96482 h 139199"/>
                <a:gd name="connsiteX2" fmla="*/ 76193 w 103397"/>
                <a:gd name="connsiteY2" fmla="*/ 99753 h 139199"/>
                <a:gd name="connsiteX3" fmla="*/ 62652 w 103397"/>
                <a:gd name="connsiteY3" fmla="*/ 102900 h 139199"/>
                <a:gd name="connsiteX4" fmla="*/ 49401 w 103397"/>
                <a:gd name="connsiteY4" fmla="*/ 107579 h 139199"/>
                <a:gd name="connsiteX5" fmla="*/ 43066 w 103397"/>
                <a:gd name="connsiteY5" fmla="*/ 97393 h 139199"/>
                <a:gd name="connsiteX6" fmla="*/ 36316 w 103397"/>
                <a:gd name="connsiteY6" fmla="*/ 85964 h 139199"/>
                <a:gd name="connsiteX7" fmla="*/ 32879 w 103397"/>
                <a:gd name="connsiteY7" fmla="*/ 73086 h 139199"/>
                <a:gd name="connsiteX8" fmla="*/ 27703 w 103397"/>
                <a:gd name="connsiteY8" fmla="*/ 60953 h 139199"/>
                <a:gd name="connsiteX9" fmla="*/ 21492 w 103397"/>
                <a:gd name="connsiteY9" fmla="*/ 49193 h 139199"/>
                <a:gd name="connsiteX10" fmla="*/ 17186 w 103397"/>
                <a:gd name="connsiteY10" fmla="*/ 36688 h 139199"/>
                <a:gd name="connsiteX11" fmla="*/ 12714 w 103397"/>
                <a:gd name="connsiteY11" fmla="*/ 24224 h 139199"/>
                <a:gd name="connsiteX12" fmla="*/ 7869 w 103397"/>
                <a:gd name="connsiteY12" fmla="*/ 11926 h 139199"/>
                <a:gd name="connsiteX13" fmla="*/ 2154 w 103397"/>
                <a:gd name="connsiteY13" fmla="*/ 0 h 139199"/>
                <a:gd name="connsiteX14" fmla="*/ 1 w 103397"/>
                <a:gd name="connsiteY14" fmla="*/ 13706 h 139199"/>
                <a:gd name="connsiteX15" fmla="*/ 374 w 103397"/>
                <a:gd name="connsiteY15" fmla="*/ 27619 h 139199"/>
                <a:gd name="connsiteX16" fmla="*/ 2693 w 103397"/>
                <a:gd name="connsiteY16" fmla="*/ 41367 h 139199"/>
                <a:gd name="connsiteX17" fmla="*/ 4887 w 103397"/>
                <a:gd name="connsiteY17" fmla="*/ 55073 h 139199"/>
                <a:gd name="connsiteX18" fmla="*/ 5757 w 103397"/>
                <a:gd name="connsiteY18" fmla="*/ 69069 h 139199"/>
                <a:gd name="connsiteX19" fmla="*/ 9070 w 103397"/>
                <a:gd name="connsiteY19" fmla="*/ 82610 h 139199"/>
                <a:gd name="connsiteX20" fmla="*/ 13335 w 103397"/>
                <a:gd name="connsiteY20" fmla="*/ 95902 h 139199"/>
                <a:gd name="connsiteX21" fmla="*/ 15778 w 103397"/>
                <a:gd name="connsiteY21" fmla="*/ 109691 h 139199"/>
                <a:gd name="connsiteX22" fmla="*/ 20747 w 103397"/>
                <a:gd name="connsiteY22" fmla="*/ 122776 h 139199"/>
                <a:gd name="connsiteX23" fmla="*/ 28407 w 103397"/>
                <a:gd name="connsiteY23" fmla="*/ 134577 h 139199"/>
                <a:gd name="connsiteX24" fmla="*/ 41451 w 103397"/>
                <a:gd name="connsiteY24" fmla="*/ 138470 h 139199"/>
                <a:gd name="connsiteX25" fmla="*/ 54992 w 103397"/>
                <a:gd name="connsiteY25" fmla="*/ 139174 h 139199"/>
                <a:gd name="connsiteX26" fmla="*/ 68615 w 103397"/>
                <a:gd name="connsiteY26" fmla="*/ 138180 h 139199"/>
                <a:gd name="connsiteX27" fmla="*/ 82445 w 103397"/>
                <a:gd name="connsiteY27" fmla="*/ 137476 h 139199"/>
                <a:gd name="connsiteX28" fmla="*/ 95903 w 103397"/>
                <a:gd name="connsiteY28" fmla="*/ 134495 h 139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03397" h="139199">
                  <a:moveTo>
                    <a:pt x="103398" y="94328"/>
                  </a:moveTo>
                  <a:cubicBezTo>
                    <a:pt x="96607" y="95695"/>
                    <a:pt x="97477" y="94784"/>
                    <a:pt x="89692" y="96482"/>
                  </a:cubicBezTo>
                  <a:cubicBezTo>
                    <a:pt x="85551" y="97393"/>
                    <a:pt x="80913" y="98635"/>
                    <a:pt x="76193" y="99753"/>
                  </a:cubicBezTo>
                  <a:cubicBezTo>
                    <a:pt x="71472" y="100871"/>
                    <a:pt x="66751" y="101740"/>
                    <a:pt x="62652" y="102900"/>
                  </a:cubicBezTo>
                  <a:cubicBezTo>
                    <a:pt x="56234" y="104722"/>
                    <a:pt x="50851" y="106254"/>
                    <a:pt x="49401" y="107579"/>
                  </a:cubicBezTo>
                  <a:cubicBezTo>
                    <a:pt x="48325" y="108573"/>
                    <a:pt x="46544" y="104639"/>
                    <a:pt x="43066" y="97393"/>
                  </a:cubicBezTo>
                  <a:cubicBezTo>
                    <a:pt x="41410" y="93997"/>
                    <a:pt x="38262" y="90477"/>
                    <a:pt x="36316" y="85964"/>
                  </a:cubicBezTo>
                  <a:cubicBezTo>
                    <a:pt x="34701" y="82196"/>
                    <a:pt x="34660" y="77351"/>
                    <a:pt x="32879" y="73086"/>
                  </a:cubicBezTo>
                  <a:cubicBezTo>
                    <a:pt x="31264" y="69111"/>
                    <a:pt x="29360" y="65094"/>
                    <a:pt x="27703" y="60953"/>
                  </a:cubicBezTo>
                  <a:cubicBezTo>
                    <a:pt x="26047" y="56812"/>
                    <a:pt x="23107" y="53293"/>
                    <a:pt x="21492" y="49193"/>
                  </a:cubicBezTo>
                  <a:cubicBezTo>
                    <a:pt x="19877" y="45094"/>
                    <a:pt x="18759" y="40663"/>
                    <a:pt x="17186" y="36688"/>
                  </a:cubicBezTo>
                  <a:cubicBezTo>
                    <a:pt x="15488" y="32381"/>
                    <a:pt x="14246" y="28075"/>
                    <a:pt x="12714" y="24224"/>
                  </a:cubicBezTo>
                  <a:cubicBezTo>
                    <a:pt x="10892" y="19669"/>
                    <a:pt x="9318" y="15487"/>
                    <a:pt x="7869" y="11926"/>
                  </a:cubicBezTo>
                  <a:cubicBezTo>
                    <a:pt x="5012" y="4886"/>
                    <a:pt x="2734" y="290"/>
                    <a:pt x="2154" y="0"/>
                  </a:cubicBezTo>
                  <a:cubicBezTo>
                    <a:pt x="705" y="1988"/>
                    <a:pt x="1" y="6957"/>
                    <a:pt x="1" y="13706"/>
                  </a:cubicBezTo>
                  <a:cubicBezTo>
                    <a:pt x="1" y="17723"/>
                    <a:pt x="-40" y="22443"/>
                    <a:pt x="374" y="27619"/>
                  </a:cubicBezTo>
                  <a:cubicBezTo>
                    <a:pt x="746" y="31926"/>
                    <a:pt x="2072" y="36481"/>
                    <a:pt x="2693" y="41367"/>
                  </a:cubicBezTo>
                  <a:cubicBezTo>
                    <a:pt x="3272" y="45798"/>
                    <a:pt x="4142" y="50394"/>
                    <a:pt x="4887" y="55073"/>
                  </a:cubicBezTo>
                  <a:cubicBezTo>
                    <a:pt x="5633" y="59752"/>
                    <a:pt x="4887" y="64473"/>
                    <a:pt x="5757" y="69069"/>
                  </a:cubicBezTo>
                  <a:cubicBezTo>
                    <a:pt x="6626" y="73666"/>
                    <a:pt x="8076" y="78138"/>
                    <a:pt x="9070" y="82610"/>
                  </a:cubicBezTo>
                  <a:cubicBezTo>
                    <a:pt x="10063" y="87082"/>
                    <a:pt x="12217" y="91554"/>
                    <a:pt x="13335" y="95902"/>
                  </a:cubicBezTo>
                  <a:cubicBezTo>
                    <a:pt x="14577" y="100622"/>
                    <a:pt x="14453" y="105550"/>
                    <a:pt x="15778" y="109691"/>
                  </a:cubicBezTo>
                  <a:cubicBezTo>
                    <a:pt x="17351" y="114577"/>
                    <a:pt x="19132" y="119008"/>
                    <a:pt x="20747" y="122776"/>
                  </a:cubicBezTo>
                  <a:cubicBezTo>
                    <a:pt x="23148" y="128366"/>
                    <a:pt x="26006" y="132548"/>
                    <a:pt x="28407" y="134577"/>
                  </a:cubicBezTo>
                  <a:cubicBezTo>
                    <a:pt x="31513" y="137228"/>
                    <a:pt x="36358" y="137600"/>
                    <a:pt x="41451" y="138470"/>
                  </a:cubicBezTo>
                  <a:cubicBezTo>
                    <a:pt x="45675" y="139174"/>
                    <a:pt x="50188" y="139257"/>
                    <a:pt x="54992" y="139174"/>
                  </a:cubicBezTo>
                  <a:cubicBezTo>
                    <a:pt x="59795" y="139091"/>
                    <a:pt x="64143" y="138760"/>
                    <a:pt x="68615" y="138180"/>
                  </a:cubicBezTo>
                  <a:cubicBezTo>
                    <a:pt x="73501" y="137559"/>
                    <a:pt x="78429" y="138263"/>
                    <a:pt x="82445" y="137476"/>
                  </a:cubicBezTo>
                  <a:cubicBezTo>
                    <a:pt x="90354" y="135944"/>
                    <a:pt x="89278" y="136317"/>
                    <a:pt x="95903" y="134495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1F6DEC7-228D-EA8F-8805-96019E20B55E}"/>
                </a:ext>
              </a:extLst>
            </p:cNvPr>
            <p:cNvSpPr/>
            <p:nvPr/>
          </p:nvSpPr>
          <p:spPr>
            <a:xfrm>
              <a:off x="8271575" y="3178246"/>
              <a:ext cx="95820" cy="212144"/>
            </a:xfrm>
            <a:custGeom>
              <a:avLst/>
              <a:gdLst>
                <a:gd name="connsiteX0" fmla="*/ 10435 w 95820"/>
                <a:gd name="connsiteY0" fmla="*/ 0 h 212144"/>
                <a:gd name="connsiteX1" fmla="*/ 19545 w 95820"/>
                <a:gd name="connsiteY1" fmla="*/ 9317 h 212144"/>
                <a:gd name="connsiteX2" fmla="*/ 26791 w 95820"/>
                <a:gd name="connsiteY2" fmla="*/ 20083 h 212144"/>
                <a:gd name="connsiteX3" fmla="*/ 34990 w 95820"/>
                <a:gd name="connsiteY3" fmla="*/ 30104 h 212144"/>
                <a:gd name="connsiteX4" fmla="*/ 43230 w 95820"/>
                <a:gd name="connsiteY4" fmla="*/ 40083 h 212144"/>
                <a:gd name="connsiteX5" fmla="*/ 49980 w 95820"/>
                <a:gd name="connsiteY5" fmla="*/ 51264 h 212144"/>
                <a:gd name="connsiteX6" fmla="*/ 59214 w 95820"/>
                <a:gd name="connsiteY6" fmla="*/ 60539 h 212144"/>
                <a:gd name="connsiteX7" fmla="*/ 66253 w 95820"/>
                <a:gd name="connsiteY7" fmla="*/ 71512 h 212144"/>
                <a:gd name="connsiteX8" fmla="*/ 73997 w 95820"/>
                <a:gd name="connsiteY8" fmla="*/ 81947 h 212144"/>
                <a:gd name="connsiteX9" fmla="*/ 82403 w 95820"/>
                <a:gd name="connsiteY9" fmla="*/ 91885 h 212144"/>
                <a:gd name="connsiteX10" fmla="*/ 89111 w 95820"/>
                <a:gd name="connsiteY10" fmla="*/ 103024 h 212144"/>
                <a:gd name="connsiteX11" fmla="*/ 95819 w 95820"/>
                <a:gd name="connsiteY11" fmla="*/ 113790 h 212144"/>
                <a:gd name="connsiteX12" fmla="*/ 90560 w 95820"/>
                <a:gd name="connsiteY12" fmla="*/ 127041 h 212144"/>
                <a:gd name="connsiteX13" fmla="*/ 82900 w 95820"/>
                <a:gd name="connsiteY13" fmla="*/ 139174 h 212144"/>
                <a:gd name="connsiteX14" fmla="*/ 76150 w 95820"/>
                <a:gd name="connsiteY14" fmla="*/ 151762 h 212144"/>
                <a:gd name="connsiteX15" fmla="*/ 69483 w 95820"/>
                <a:gd name="connsiteY15" fmla="*/ 164474 h 212144"/>
                <a:gd name="connsiteX16" fmla="*/ 61492 w 95820"/>
                <a:gd name="connsiteY16" fmla="*/ 176358 h 212144"/>
                <a:gd name="connsiteX17" fmla="*/ 53914 w 95820"/>
                <a:gd name="connsiteY17" fmla="*/ 188533 h 212144"/>
                <a:gd name="connsiteX18" fmla="*/ 46377 w 95820"/>
                <a:gd name="connsiteY18" fmla="*/ 200707 h 212144"/>
                <a:gd name="connsiteX19" fmla="*/ 37268 w 95820"/>
                <a:gd name="connsiteY19" fmla="*/ 212011 h 212144"/>
                <a:gd name="connsiteX20" fmla="*/ 37185 w 95820"/>
                <a:gd name="connsiteY20" fmla="*/ 199174 h 212144"/>
                <a:gd name="connsiteX21" fmla="*/ 40083 w 95820"/>
                <a:gd name="connsiteY21" fmla="*/ 186048 h 212144"/>
                <a:gd name="connsiteX22" fmla="*/ 42319 w 95820"/>
                <a:gd name="connsiteY22" fmla="*/ 172715 h 212144"/>
                <a:gd name="connsiteX23" fmla="*/ 46626 w 95820"/>
                <a:gd name="connsiteY23" fmla="*/ 159878 h 212144"/>
                <a:gd name="connsiteX24" fmla="*/ 49359 w 95820"/>
                <a:gd name="connsiteY24" fmla="*/ 146627 h 212144"/>
                <a:gd name="connsiteX25" fmla="*/ 53127 w 95820"/>
                <a:gd name="connsiteY25" fmla="*/ 133625 h 212144"/>
                <a:gd name="connsiteX26" fmla="*/ 57806 w 95820"/>
                <a:gd name="connsiteY26" fmla="*/ 120913 h 212144"/>
                <a:gd name="connsiteX27" fmla="*/ 60912 w 95820"/>
                <a:gd name="connsiteY27" fmla="*/ 108242 h 212144"/>
                <a:gd name="connsiteX28" fmla="*/ 52216 w 95820"/>
                <a:gd name="connsiteY28" fmla="*/ 99132 h 212144"/>
                <a:gd name="connsiteX29" fmla="*/ 44183 w 95820"/>
                <a:gd name="connsiteY29" fmla="*/ 89111 h 212144"/>
                <a:gd name="connsiteX30" fmla="*/ 35032 w 95820"/>
                <a:gd name="connsiteY30" fmla="*/ 80125 h 212144"/>
                <a:gd name="connsiteX31" fmla="*/ 26336 w 95820"/>
                <a:gd name="connsiteY31" fmla="*/ 70684 h 212144"/>
                <a:gd name="connsiteX32" fmla="*/ 17474 w 95820"/>
                <a:gd name="connsiteY32" fmla="*/ 61409 h 212144"/>
                <a:gd name="connsiteX33" fmla="*/ 7661 w 95820"/>
                <a:gd name="connsiteY33" fmla="*/ 53003 h 212144"/>
                <a:gd name="connsiteX34" fmla="*/ 0 w 95820"/>
                <a:gd name="connsiteY34" fmla="*/ 42568 h 212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95820" h="212144">
                  <a:moveTo>
                    <a:pt x="10435" y="0"/>
                  </a:moveTo>
                  <a:cubicBezTo>
                    <a:pt x="14493" y="5052"/>
                    <a:pt x="14534" y="3023"/>
                    <a:pt x="19545" y="9317"/>
                  </a:cubicBezTo>
                  <a:cubicBezTo>
                    <a:pt x="21864" y="12215"/>
                    <a:pt x="23810" y="16274"/>
                    <a:pt x="26791" y="20083"/>
                  </a:cubicBezTo>
                  <a:cubicBezTo>
                    <a:pt x="29276" y="23230"/>
                    <a:pt x="32174" y="26501"/>
                    <a:pt x="34990" y="30104"/>
                  </a:cubicBezTo>
                  <a:cubicBezTo>
                    <a:pt x="37557" y="33375"/>
                    <a:pt x="40497" y="36564"/>
                    <a:pt x="43230" y="40083"/>
                  </a:cubicBezTo>
                  <a:cubicBezTo>
                    <a:pt x="45963" y="43603"/>
                    <a:pt x="47288" y="47827"/>
                    <a:pt x="49980" y="51264"/>
                  </a:cubicBezTo>
                  <a:cubicBezTo>
                    <a:pt x="52672" y="54701"/>
                    <a:pt x="56605" y="57102"/>
                    <a:pt x="59214" y="60539"/>
                  </a:cubicBezTo>
                  <a:cubicBezTo>
                    <a:pt x="61823" y="63976"/>
                    <a:pt x="63686" y="68117"/>
                    <a:pt x="66253" y="71512"/>
                  </a:cubicBezTo>
                  <a:cubicBezTo>
                    <a:pt x="68945" y="75073"/>
                    <a:pt x="71512" y="78593"/>
                    <a:pt x="73997" y="81947"/>
                  </a:cubicBezTo>
                  <a:cubicBezTo>
                    <a:pt x="76730" y="85633"/>
                    <a:pt x="80042" y="88614"/>
                    <a:pt x="82403" y="91885"/>
                  </a:cubicBezTo>
                  <a:cubicBezTo>
                    <a:pt x="85260" y="95819"/>
                    <a:pt x="87040" y="99960"/>
                    <a:pt x="89111" y="103024"/>
                  </a:cubicBezTo>
                  <a:cubicBezTo>
                    <a:pt x="93210" y="108987"/>
                    <a:pt x="95902" y="112714"/>
                    <a:pt x="95819" y="113790"/>
                  </a:cubicBezTo>
                  <a:cubicBezTo>
                    <a:pt x="95695" y="115115"/>
                    <a:pt x="94121" y="120209"/>
                    <a:pt x="90560" y="127041"/>
                  </a:cubicBezTo>
                  <a:cubicBezTo>
                    <a:pt x="88614" y="130726"/>
                    <a:pt x="85467" y="134536"/>
                    <a:pt x="82900" y="139174"/>
                  </a:cubicBezTo>
                  <a:cubicBezTo>
                    <a:pt x="80705" y="143107"/>
                    <a:pt x="78635" y="147455"/>
                    <a:pt x="76150" y="151762"/>
                  </a:cubicBezTo>
                  <a:cubicBezTo>
                    <a:pt x="73831" y="155820"/>
                    <a:pt x="71968" y="160333"/>
                    <a:pt x="69483" y="164474"/>
                  </a:cubicBezTo>
                  <a:cubicBezTo>
                    <a:pt x="66999" y="168615"/>
                    <a:pt x="63935" y="172383"/>
                    <a:pt x="61492" y="176358"/>
                  </a:cubicBezTo>
                  <a:cubicBezTo>
                    <a:pt x="58883" y="180624"/>
                    <a:pt x="56357" y="184723"/>
                    <a:pt x="53914" y="188533"/>
                  </a:cubicBezTo>
                  <a:cubicBezTo>
                    <a:pt x="51057" y="193005"/>
                    <a:pt x="48779" y="197311"/>
                    <a:pt x="46377" y="200707"/>
                  </a:cubicBezTo>
                  <a:cubicBezTo>
                    <a:pt x="42195" y="206669"/>
                    <a:pt x="39007" y="211100"/>
                    <a:pt x="37268" y="212011"/>
                  </a:cubicBezTo>
                  <a:cubicBezTo>
                    <a:pt x="35239" y="213088"/>
                    <a:pt x="35611" y="207539"/>
                    <a:pt x="37185" y="199174"/>
                  </a:cubicBezTo>
                  <a:cubicBezTo>
                    <a:pt x="37889" y="195365"/>
                    <a:pt x="38924" y="190934"/>
                    <a:pt x="40083" y="186048"/>
                  </a:cubicBezTo>
                  <a:cubicBezTo>
                    <a:pt x="41077" y="181949"/>
                    <a:pt x="41119" y="177269"/>
                    <a:pt x="42319" y="172715"/>
                  </a:cubicBezTo>
                  <a:cubicBezTo>
                    <a:pt x="43437" y="168449"/>
                    <a:pt x="45425" y="164267"/>
                    <a:pt x="46626" y="159878"/>
                  </a:cubicBezTo>
                  <a:cubicBezTo>
                    <a:pt x="47827" y="155489"/>
                    <a:pt x="48158" y="150851"/>
                    <a:pt x="49359" y="146627"/>
                  </a:cubicBezTo>
                  <a:cubicBezTo>
                    <a:pt x="50642" y="142114"/>
                    <a:pt x="51926" y="137724"/>
                    <a:pt x="53127" y="133625"/>
                  </a:cubicBezTo>
                  <a:cubicBezTo>
                    <a:pt x="54535" y="128822"/>
                    <a:pt x="56688" y="124681"/>
                    <a:pt x="57806" y="120913"/>
                  </a:cubicBezTo>
                  <a:cubicBezTo>
                    <a:pt x="60166" y="113045"/>
                    <a:pt x="63976" y="114246"/>
                    <a:pt x="60912" y="108242"/>
                  </a:cubicBezTo>
                  <a:cubicBezTo>
                    <a:pt x="58013" y="102527"/>
                    <a:pt x="56605" y="103769"/>
                    <a:pt x="52216" y="99132"/>
                  </a:cubicBezTo>
                  <a:cubicBezTo>
                    <a:pt x="47827" y="94494"/>
                    <a:pt x="48613" y="93749"/>
                    <a:pt x="44183" y="89111"/>
                  </a:cubicBezTo>
                  <a:cubicBezTo>
                    <a:pt x="39752" y="84473"/>
                    <a:pt x="39462" y="84763"/>
                    <a:pt x="35032" y="80125"/>
                  </a:cubicBezTo>
                  <a:cubicBezTo>
                    <a:pt x="30601" y="75488"/>
                    <a:pt x="30766" y="75322"/>
                    <a:pt x="26336" y="70684"/>
                  </a:cubicBezTo>
                  <a:cubicBezTo>
                    <a:pt x="21905" y="66046"/>
                    <a:pt x="21905" y="66046"/>
                    <a:pt x="17474" y="61409"/>
                  </a:cubicBezTo>
                  <a:cubicBezTo>
                    <a:pt x="13044" y="56771"/>
                    <a:pt x="12133" y="57641"/>
                    <a:pt x="7661" y="53003"/>
                  </a:cubicBezTo>
                  <a:cubicBezTo>
                    <a:pt x="3188" y="48365"/>
                    <a:pt x="4431" y="47206"/>
                    <a:pt x="0" y="42568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4411189-4588-6A23-3D2B-14484548A9FD}"/>
                </a:ext>
              </a:extLst>
            </p:cNvPr>
            <p:cNvSpPr/>
            <p:nvPr/>
          </p:nvSpPr>
          <p:spPr>
            <a:xfrm>
              <a:off x="8163126" y="2970459"/>
              <a:ext cx="152093" cy="203123"/>
            </a:xfrm>
            <a:custGeom>
              <a:avLst/>
              <a:gdLst>
                <a:gd name="connsiteX0" fmla="*/ 152093 w 152093"/>
                <a:gd name="connsiteY0" fmla="*/ 101989 h 203123"/>
                <a:gd name="connsiteX1" fmla="*/ 150561 w 152093"/>
                <a:gd name="connsiteY1" fmla="*/ 115861 h 203123"/>
                <a:gd name="connsiteX2" fmla="*/ 148946 w 152093"/>
                <a:gd name="connsiteY2" fmla="*/ 129691 h 203123"/>
                <a:gd name="connsiteX3" fmla="*/ 144515 w 152093"/>
                <a:gd name="connsiteY3" fmla="*/ 142900 h 203123"/>
                <a:gd name="connsiteX4" fmla="*/ 140871 w 152093"/>
                <a:gd name="connsiteY4" fmla="*/ 156482 h 203123"/>
                <a:gd name="connsiteX5" fmla="*/ 133045 w 152093"/>
                <a:gd name="connsiteY5" fmla="*/ 168118 h 203123"/>
                <a:gd name="connsiteX6" fmla="*/ 124474 w 152093"/>
                <a:gd name="connsiteY6" fmla="*/ 179009 h 203123"/>
                <a:gd name="connsiteX7" fmla="*/ 114950 w 152093"/>
                <a:gd name="connsiteY7" fmla="*/ 189154 h 203123"/>
                <a:gd name="connsiteX8" fmla="*/ 103438 w 152093"/>
                <a:gd name="connsiteY8" fmla="*/ 197145 h 203123"/>
                <a:gd name="connsiteX9" fmla="*/ 90105 w 152093"/>
                <a:gd name="connsiteY9" fmla="*/ 201493 h 203123"/>
                <a:gd name="connsiteX10" fmla="*/ 76274 w 152093"/>
                <a:gd name="connsiteY10" fmla="*/ 203108 h 203123"/>
                <a:gd name="connsiteX11" fmla="*/ 62278 w 152093"/>
                <a:gd name="connsiteY11" fmla="*/ 202197 h 203123"/>
                <a:gd name="connsiteX12" fmla="*/ 49152 w 152093"/>
                <a:gd name="connsiteY12" fmla="*/ 197063 h 203123"/>
                <a:gd name="connsiteX13" fmla="*/ 37557 w 152093"/>
                <a:gd name="connsiteY13" fmla="*/ 189195 h 203123"/>
                <a:gd name="connsiteX14" fmla="*/ 28199 w 152093"/>
                <a:gd name="connsiteY14" fmla="*/ 178884 h 203123"/>
                <a:gd name="connsiteX15" fmla="*/ 18592 w 152093"/>
                <a:gd name="connsiteY15" fmla="*/ 168656 h 203123"/>
                <a:gd name="connsiteX16" fmla="*/ 13002 w 152093"/>
                <a:gd name="connsiteY16" fmla="*/ 155820 h 203123"/>
                <a:gd name="connsiteX17" fmla="*/ 6915 w 152093"/>
                <a:gd name="connsiteY17" fmla="*/ 143273 h 203123"/>
                <a:gd name="connsiteX18" fmla="*/ 4431 w 152093"/>
                <a:gd name="connsiteY18" fmla="*/ 129526 h 203123"/>
                <a:gd name="connsiteX19" fmla="*/ 1449 w 152093"/>
                <a:gd name="connsiteY19" fmla="*/ 115902 h 203123"/>
                <a:gd name="connsiteX20" fmla="*/ 0 w 152093"/>
                <a:gd name="connsiteY20" fmla="*/ 101948 h 203123"/>
                <a:gd name="connsiteX21" fmla="*/ 1408 w 152093"/>
                <a:gd name="connsiteY21" fmla="*/ 87993 h 203123"/>
                <a:gd name="connsiteX22" fmla="*/ 3768 w 152093"/>
                <a:gd name="connsiteY22" fmla="*/ 74245 h 203123"/>
                <a:gd name="connsiteX23" fmla="*/ 6377 w 152093"/>
                <a:gd name="connsiteY23" fmla="*/ 60456 h 203123"/>
                <a:gd name="connsiteX24" fmla="*/ 12174 w 152093"/>
                <a:gd name="connsiteY24" fmla="*/ 47661 h 203123"/>
                <a:gd name="connsiteX25" fmla="*/ 18427 w 152093"/>
                <a:gd name="connsiteY25" fmla="*/ 35114 h 203123"/>
                <a:gd name="connsiteX26" fmla="*/ 27371 w 152093"/>
                <a:gd name="connsiteY26" fmla="*/ 24265 h 203123"/>
                <a:gd name="connsiteX27" fmla="*/ 37143 w 152093"/>
                <a:gd name="connsiteY27" fmla="*/ 14162 h 203123"/>
                <a:gd name="connsiteX28" fmla="*/ 49028 w 152093"/>
                <a:gd name="connsiteY28" fmla="*/ 6584 h 203123"/>
                <a:gd name="connsiteX29" fmla="*/ 62527 w 152093"/>
                <a:gd name="connsiteY29" fmla="*/ 2774 h 203123"/>
                <a:gd name="connsiteX30" fmla="*/ 76233 w 152093"/>
                <a:gd name="connsiteY30" fmla="*/ 0 h 203123"/>
                <a:gd name="connsiteX31" fmla="*/ 89981 w 152093"/>
                <a:gd name="connsiteY31" fmla="*/ 2650 h 203123"/>
                <a:gd name="connsiteX32" fmla="*/ 102941 w 152093"/>
                <a:gd name="connsiteY32" fmla="*/ 7536 h 203123"/>
                <a:gd name="connsiteX33" fmla="*/ 115240 w 152093"/>
                <a:gd name="connsiteY33" fmla="*/ 14244 h 203123"/>
                <a:gd name="connsiteX34" fmla="*/ 125095 w 152093"/>
                <a:gd name="connsiteY34" fmla="*/ 24224 h 203123"/>
                <a:gd name="connsiteX35" fmla="*/ 134039 w 152093"/>
                <a:gd name="connsiteY35" fmla="*/ 35073 h 203123"/>
                <a:gd name="connsiteX36" fmla="*/ 139712 w 152093"/>
                <a:gd name="connsiteY36" fmla="*/ 47910 h 203123"/>
                <a:gd name="connsiteX37" fmla="*/ 145509 w 152093"/>
                <a:gd name="connsiteY37" fmla="*/ 60622 h 203123"/>
                <a:gd name="connsiteX38" fmla="*/ 148284 w 152093"/>
                <a:gd name="connsiteY38" fmla="*/ 74328 h 203123"/>
                <a:gd name="connsiteX39" fmla="*/ 150520 w 152093"/>
                <a:gd name="connsiteY39" fmla="*/ 88034 h 203123"/>
                <a:gd name="connsiteX40" fmla="*/ 152010 w 152093"/>
                <a:gd name="connsiteY40" fmla="*/ 101906 h 203123"/>
                <a:gd name="connsiteX41" fmla="*/ 152093 w 152093"/>
                <a:gd name="connsiteY41" fmla="*/ 101989 h 203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52093" h="203123">
                  <a:moveTo>
                    <a:pt x="152093" y="101989"/>
                  </a:moveTo>
                  <a:cubicBezTo>
                    <a:pt x="152093" y="106709"/>
                    <a:pt x="151016" y="111306"/>
                    <a:pt x="150561" y="115861"/>
                  </a:cubicBezTo>
                  <a:cubicBezTo>
                    <a:pt x="150105" y="120416"/>
                    <a:pt x="149898" y="125219"/>
                    <a:pt x="148946" y="129691"/>
                  </a:cubicBezTo>
                  <a:cubicBezTo>
                    <a:pt x="147994" y="134163"/>
                    <a:pt x="145965" y="138553"/>
                    <a:pt x="144515" y="142900"/>
                  </a:cubicBezTo>
                  <a:cubicBezTo>
                    <a:pt x="143066" y="147248"/>
                    <a:pt x="142818" y="152342"/>
                    <a:pt x="140871" y="156482"/>
                  </a:cubicBezTo>
                  <a:cubicBezTo>
                    <a:pt x="138925" y="160623"/>
                    <a:pt x="135530" y="164309"/>
                    <a:pt x="133045" y="168118"/>
                  </a:cubicBezTo>
                  <a:cubicBezTo>
                    <a:pt x="130561" y="171928"/>
                    <a:pt x="127497" y="175613"/>
                    <a:pt x="124474" y="179009"/>
                  </a:cubicBezTo>
                  <a:cubicBezTo>
                    <a:pt x="121451" y="182404"/>
                    <a:pt x="118511" y="186338"/>
                    <a:pt x="114950" y="189154"/>
                  </a:cubicBezTo>
                  <a:cubicBezTo>
                    <a:pt x="111389" y="191969"/>
                    <a:pt x="107538" y="195075"/>
                    <a:pt x="103438" y="197145"/>
                  </a:cubicBezTo>
                  <a:cubicBezTo>
                    <a:pt x="99339" y="199216"/>
                    <a:pt x="94618" y="200375"/>
                    <a:pt x="90105" y="201493"/>
                  </a:cubicBezTo>
                  <a:cubicBezTo>
                    <a:pt x="85591" y="202611"/>
                    <a:pt x="80995" y="203108"/>
                    <a:pt x="76274" y="203108"/>
                  </a:cubicBezTo>
                  <a:cubicBezTo>
                    <a:pt x="71554" y="203108"/>
                    <a:pt x="66750" y="203315"/>
                    <a:pt x="62278" y="202197"/>
                  </a:cubicBezTo>
                  <a:cubicBezTo>
                    <a:pt x="57806" y="201079"/>
                    <a:pt x="53334" y="199216"/>
                    <a:pt x="49152" y="197063"/>
                  </a:cubicBezTo>
                  <a:cubicBezTo>
                    <a:pt x="44970" y="194909"/>
                    <a:pt x="41284" y="192135"/>
                    <a:pt x="37557" y="189195"/>
                  </a:cubicBezTo>
                  <a:cubicBezTo>
                    <a:pt x="33831" y="186255"/>
                    <a:pt x="31346" y="182445"/>
                    <a:pt x="28199" y="178884"/>
                  </a:cubicBezTo>
                  <a:cubicBezTo>
                    <a:pt x="25052" y="175323"/>
                    <a:pt x="21201" y="172673"/>
                    <a:pt x="18592" y="168656"/>
                  </a:cubicBezTo>
                  <a:cubicBezTo>
                    <a:pt x="15984" y="164640"/>
                    <a:pt x="15031" y="160085"/>
                    <a:pt x="13002" y="155820"/>
                  </a:cubicBezTo>
                  <a:cubicBezTo>
                    <a:pt x="10973" y="151555"/>
                    <a:pt x="8406" y="147745"/>
                    <a:pt x="6915" y="143273"/>
                  </a:cubicBezTo>
                  <a:cubicBezTo>
                    <a:pt x="5424" y="138801"/>
                    <a:pt x="5424" y="134163"/>
                    <a:pt x="4431" y="129526"/>
                  </a:cubicBezTo>
                  <a:cubicBezTo>
                    <a:pt x="3437" y="124888"/>
                    <a:pt x="1905" y="120623"/>
                    <a:pt x="1449" y="115902"/>
                  </a:cubicBezTo>
                  <a:cubicBezTo>
                    <a:pt x="994" y="111182"/>
                    <a:pt x="0" y="106709"/>
                    <a:pt x="0" y="101948"/>
                  </a:cubicBezTo>
                  <a:cubicBezTo>
                    <a:pt x="0" y="97186"/>
                    <a:pt x="952" y="92548"/>
                    <a:pt x="1408" y="87993"/>
                  </a:cubicBezTo>
                  <a:cubicBezTo>
                    <a:pt x="1863" y="83438"/>
                    <a:pt x="2816" y="78717"/>
                    <a:pt x="3768" y="74245"/>
                  </a:cubicBezTo>
                  <a:cubicBezTo>
                    <a:pt x="4721" y="69773"/>
                    <a:pt x="4969" y="64804"/>
                    <a:pt x="6377" y="60456"/>
                  </a:cubicBezTo>
                  <a:cubicBezTo>
                    <a:pt x="7785" y="56108"/>
                    <a:pt x="10228" y="51802"/>
                    <a:pt x="12174" y="47661"/>
                  </a:cubicBezTo>
                  <a:cubicBezTo>
                    <a:pt x="14120" y="43520"/>
                    <a:pt x="15942" y="38924"/>
                    <a:pt x="18427" y="35114"/>
                  </a:cubicBezTo>
                  <a:cubicBezTo>
                    <a:pt x="20911" y="31305"/>
                    <a:pt x="24348" y="27702"/>
                    <a:pt x="27371" y="24265"/>
                  </a:cubicBezTo>
                  <a:cubicBezTo>
                    <a:pt x="30394" y="20828"/>
                    <a:pt x="33582" y="17019"/>
                    <a:pt x="37143" y="14162"/>
                  </a:cubicBezTo>
                  <a:cubicBezTo>
                    <a:pt x="40704" y="11304"/>
                    <a:pt x="44928" y="8654"/>
                    <a:pt x="49028" y="6584"/>
                  </a:cubicBezTo>
                  <a:cubicBezTo>
                    <a:pt x="53127" y="4514"/>
                    <a:pt x="58013" y="3892"/>
                    <a:pt x="62527" y="2774"/>
                  </a:cubicBezTo>
                  <a:cubicBezTo>
                    <a:pt x="67040" y="1656"/>
                    <a:pt x="71512" y="0"/>
                    <a:pt x="76233" y="0"/>
                  </a:cubicBezTo>
                  <a:cubicBezTo>
                    <a:pt x="80953" y="0"/>
                    <a:pt x="85508" y="1574"/>
                    <a:pt x="89981" y="2650"/>
                  </a:cubicBezTo>
                  <a:cubicBezTo>
                    <a:pt x="94453" y="3727"/>
                    <a:pt x="98759" y="5383"/>
                    <a:pt x="102941" y="7536"/>
                  </a:cubicBezTo>
                  <a:cubicBezTo>
                    <a:pt x="107124" y="9690"/>
                    <a:pt x="111554" y="11304"/>
                    <a:pt x="115240" y="14244"/>
                  </a:cubicBezTo>
                  <a:cubicBezTo>
                    <a:pt x="118925" y="17184"/>
                    <a:pt x="121948" y="20663"/>
                    <a:pt x="125095" y="24224"/>
                  </a:cubicBezTo>
                  <a:cubicBezTo>
                    <a:pt x="128242" y="27785"/>
                    <a:pt x="131430" y="31056"/>
                    <a:pt x="134039" y="35073"/>
                  </a:cubicBezTo>
                  <a:cubicBezTo>
                    <a:pt x="136648" y="39090"/>
                    <a:pt x="137683" y="43603"/>
                    <a:pt x="139712" y="47910"/>
                  </a:cubicBezTo>
                  <a:cubicBezTo>
                    <a:pt x="141741" y="52216"/>
                    <a:pt x="144018" y="56108"/>
                    <a:pt x="145509" y="60622"/>
                  </a:cubicBezTo>
                  <a:cubicBezTo>
                    <a:pt x="147000" y="65135"/>
                    <a:pt x="147290" y="69690"/>
                    <a:pt x="148284" y="74328"/>
                  </a:cubicBezTo>
                  <a:cubicBezTo>
                    <a:pt x="149277" y="78966"/>
                    <a:pt x="150023" y="83314"/>
                    <a:pt x="150520" y="88034"/>
                  </a:cubicBezTo>
                  <a:cubicBezTo>
                    <a:pt x="151016" y="92755"/>
                    <a:pt x="152010" y="97186"/>
                    <a:pt x="152010" y="101906"/>
                  </a:cubicBezTo>
                  <a:lnTo>
                    <a:pt x="152093" y="101989"/>
                  </a:lnTo>
                  <a:close/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CCE3A82-AA22-36B3-604E-B1D407D887C8}"/>
                </a:ext>
              </a:extLst>
            </p:cNvPr>
            <p:cNvSpPr/>
            <p:nvPr/>
          </p:nvSpPr>
          <p:spPr>
            <a:xfrm>
              <a:off x="8223831" y="3617134"/>
              <a:ext cx="130146" cy="1739"/>
            </a:xfrm>
            <a:custGeom>
              <a:avLst/>
              <a:gdLst>
                <a:gd name="connsiteX0" fmla="*/ 130147 w 130146"/>
                <a:gd name="connsiteY0" fmla="*/ 787 h 1739"/>
                <a:gd name="connsiteX1" fmla="*/ 117144 w 130146"/>
                <a:gd name="connsiteY1" fmla="*/ 1242 h 1739"/>
                <a:gd name="connsiteX2" fmla="*/ 104142 w 130146"/>
                <a:gd name="connsiteY2" fmla="*/ 1077 h 1739"/>
                <a:gd name="connsiteX3" fmla="*/ 91140 w 130146"/>
                <a:gd name="connsiteY3" fmla="*/ 1739 h 1739"/>
                <a:gd name="connsiteX4" fmla="*/ 78138 w 130146"/>
                <a:gd name="connsiteY4" fmla="*/ 1201 h 1739"/>
                <a:gd name="connsiteX5" fmla="*/ 65135 w 130146"/>
                <a:gd name="connsiteY5" fmla="*/ 1573 h 1739"/>
                <a:gd name="connsiteX6" fmla="*/ 52133 w 130146"/>
                <a:gd name="connsiteY6" fmla="*/ 1449 h 1739"/>
                <a:gd name="connsiteX7" fmla="*/ 39131 w 130146"/>
                <a:gd name="connsiteY7" fmla="*/ 1035 h 1739"/>
                <a:gd name="connsiteX8" fmla="*/ 26087 w 130146"/>
                <a:gd name="connsiteY8" fmla="*/ 1573 h 1739"/>
                <a:gd name="connsiteX9" fmla="*/ 13044 w 130146"/>
                <a:gd name="connsiteY9" fmla="*/ 0 h 1739"/>
                <a:gd name="connsiteX10" fmla="*/ 0 w 130146"/>
                <a:gd name="connsiteY10" fmla="*/ 1201 h 1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0146" h="1739">
                  <a:moveTo>
                    <a:pt x="130147" y="787"/>
                  </a:moveTo>
                  <a:cubicBezTo>
                    <a:pt x="128987" y="787"/>
                    <a:pt x="124515" y="1242"/>
                    <a:pt x="117144" y="1242"/>
                  </a:cubicBezTo>
                  <a:cubicBezTo>
                    <a:pt x="113500" y="1242"/>
                    <a:pt x="109153" y="1077"/>
                    <a:pt x="104142" y="1077"/>
                  </a:cubicBezTo>
                  <a:cubicBezTo>
                    <a:pt x="100208" y="1077"/>
                    <a:pt x="95860" y="1739"/>
                    <a:pt x="91140" y="1739"/>
                  </a:cubicBezTo>
                  <a:cubicBezTo>
                    <a:pt x="87082" y="1739"/>
                    <a:pt x="82734" y="1201"/>
                    <a:pt x="78138" y="1201"/>
                  </a:cubicBezTo>
                  <a:cubicBezTo>
                    <a:pt x="73997" y="1201"/>
                    <a:pt x="69649" y="1573"/>
                    <a:pt x="65135" y="1573"/>
                  </a:cubicBezTo>
                  <a:cubicBezTo>
                    <a:pt x="60953" y="1573"/>
                    <a:pt x="56605" y="1449"/>
                    <a:pt x="52133" y="1449"/>
                  </a:cubicBezTo>
                  <a:cubicBezTo>
                    <a:pt x="47910" y="1449"/>
                    <a:pt x="43603" y="1035"/>
                    <a:pt x="39131" y="1035"/>
                  </a:cubicBezTo>
                  <a:cubicBezTo>
                    <a:pt x="34907" y="1035"/>
                    <a:pt x="30559" y="1573"/>
                    <a:pt x="26087" y="1573"/>
                  </a:cubicBezTo>
                  <a:cubicBezTo>
                    <a:pt x="21615" y="1573"/>
                    <a:pt x="17474" y="0"/>
                    <a:pt x="13044" y="0"/>
                  </a:cubicBezTo>
                  <a:cubicBezTo>
                    <a:pt x="8613" y="0"/>
                    <a:pt x="4431" y="1201"/>
                    <a:pt x="0" y="1201"/>
                  </a:cubicBezTo>
                </a:path>
              </a:pathLst>
            </a:custGeom>
            <a:noFill/>
            <a:ln w="4113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9939909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089D27-8D42-047B-31B3-B35A7B1B53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D687F32-6BEA-1F77-7096-ABAAD93126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9341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687F32-6BEA-1F77-7096-ABAAD93126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93218F41-FB9D-7F11-ECA2-3095ADA8E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Vil du vide mere om AlmenKompas? 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6E4BCC4-D6EB-3F5F-0441-9393AA576DE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3</a:t>
            </a:fld>
            <a:endParaRPr lang="da-DK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2DB3995D-0EF1-490C-AD0E-D1A8CB9D2F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E557F7C8-4D63-45AB-822A-12C45DB0353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445510"/>
          </a:xfrm>
        </p:spPr>
        <p:txBody>
          <a:bodyPr/>
          <a:lstStyle/>
          <a:p>
            <a:r>
              <a:rPr lang="en-US" dirty="0" err="1"/>
              <a:t>Kontakt</a:t>
            </a:r>
            <a:r>
              <a:rPr lang="en-US" dirty="0"/>
              <a:t> </a:t>
            </a:r>
            <a:r>
              <a:rPr lang="en-US" dirty="0" err="1"/>
              <a:t>os</a:t>
            </a:r>
            <a:r>
              <a:rPr lang="en-US" dirty="0"/>
              <a:t>,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følg</a:t>
            </a:r>
            <a:r>
              <a:rPr lang="en-US" dirty="0"/>
              <a:t> med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ojektets</a:t>
            </a:r>
            <a:r>
              <a:rPr lang="en-US" dirty="0"/>
              <a:t> </a:t>
            </a:r>
            <a:r>
              <a:rPr lang="en-US" dirty="0" err="1"/>
              <a:t>kanaler</a:t>
            </a:r>
            <a:endParaRPr lang="en-US" dirty="0"/>
          </a:p>
        </p:txBody>
      </p:sp>
      <p:pic>
        <p:nvPicPr>
          <p:cNvPr id="56" name="Grafik 2">
            <a:extLst>
              <a:ext uri="{FF2B5EF4-FFF2-40B4-BE49-F238E27FC236}">
                <a16:creationId xmlns:a16="http://schemas.microsoft.com/office/drawing/2014/main" id="{034B9035-EB2E-470B-9D77-86713257B26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60000" y="4002016"/>
            <a:ext cx="1408045" cy="2274959"/>
          </a:xfrm>
          <a:prstGeom prst="rect">
            <a:avLst/>
          </a:prstGeom>
        </p:spPr>
      </p:pic>
      <p:sp>
        <p:nvSpPr>
          <p:cNvPr id="58" name="Graphic 7">
            <a:extLst>
              <a:ext uri="{FF2B5EF4-FFF2-40B4-BE49-F238E27FC236}">
                <a16:creationId xmlns:a16="http://schemas.microsoft.com/office/drawing/2014/main" id="{952CDA73-1956-4F14-A89E-026A64C45FC7}"/>
              </a:ext>
            </a:extLst>
          </p:cNvPr>
          <p:cNvSpPr/>
          <p:nvPr/>
        </p:nvSpPr>
        <p:spPr>
          <a:xfrm>
            <a:off x="2930627" y="1590993"/>
            <a:ext cx="833258" cy="83325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339C91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endParaRPr lang="en-GB">
              <a:solidFill>
                <a:schemeClr val="accent2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59" name="Graphic 7">
            <a:extLst>
              <a:ext uri="{FF2B5EF4-FFF2-40B4-BE49-F238E27FC236}">
                <a16:creationId xmlns:a16="http://schemas.microsoft.com/office/drawing/2014/main" id="{7F756B24-A0B7-43F3-A8FD-915F96A558CA}"/>
              </a:ext>
            </a:extLst>
          </p:cNvPr>
          <p:cNvSpPr/>
          <p:nvPr/>
        </p:nvSpPr>
        <p:spPr>
          <a:xfrm>
            <a:off x="2930627" y="2554174"/>
            <a:ext cx="833258" cy="83325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339C91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endParaRPr lang="en-GB">
              <a:solidFill>
                <a:schemeClr val="accent2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60" name="Graphic 7">
            <a:extLst>
              <a:ext uri="{FF2B5EF4-FFF2-40B4-BE49-F238E27FC236}">
                <a16:creationId xmlns:a16="http://schemas.microsoft.com/office/drawing/2014/main" id="{CD17B9DE-A959-429E-B6FC-DB4942D63BED}"/>
              </a:ext>
            </a:extLst>
          </p:cNvPr>
          <p:cNvSpPr/>
          <p:nvPr/>
        </p:nvSpPr>
        <p:spPr>
          <a:xfrm>
            <a:off x="2930627" y="3517355"/>
            <a:ext cx="833258" cy="83325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339C91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endParaRPr lang="en-GB">
              <a:solidFill>
                <a:schemeClr val="accent2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61" name="Graphic 7">
            <a:extLst>
              <a:ext uri="{FF2B5EF4-FFF2-40B4-BE49-F238E27FC236}">
                <a16:creationId xmlns:a16="http://schemas.microsoft.com/office/drawing/2014/main" id="{37A06693-1890-40EB-9F74-AA952681CF75}"/>
              </a:ext>
            </a:extLst>
          </p:cNvPr>
          <p:cNvSpPr/>
          <p:nvPr/>
        </p:nvSpPr>
        <p:spPr>
          <a:xfrm>
            <a:off x="2930627" y="4480536"/>
            <a:ext cx="833258" cy="83325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339C91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endParaRPr lang="en-GB">
              <a:solidFill>
                <a:schemeClr val="accent2">
                  <a:lumMod val="20000"/>
                  <a:lumOff val="80000"/>
                </a:schemeClr>
              </a:solidFill>
              <a:latin typeface="+mj-lt"/>
            </a:endParaRPr>
          </a:p>
        </p:txBody>
      </p:sp>
      <p:sp>
        <p:nvSpPr>
          <p:cNvPr id="62" name="Graphic 7">
            <a:extLst>
              <a:ext uri="{FF2B5EF4-FFF2-40B4-BE49-F238E27FC236}">
                <a16:creationId xmlns:a16="http://schemas.microsoft.com/office/drawing/2014/main" id="{98B4C562-3AC2-48FF-BCF0-BDAD4D194B1F}"/>
              </a:ext>
            </a:extLst>
          </p:cNvPr>
          <p:cNvSpPr/>
          <p:nvPr/>
        </p:nvSpPr>
        <p:spPr>
          <a:xfrm>
            <a:off x="2930627" y="5443717"/>
            <a:ext cx="833258" cy="833258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339C91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endParaRPr lang="en-GB">
              <a:solidFill>
                <a:schemeClr val="accent2">
                  <a:lumMod val="20000"/>
                  <a:lumOff val="80000"/>
                </a:schemeClr>
              </a:solidFill>
              <a:latin typeface="+mj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55433C1-0E57-A2CE-944B-C3ADA1DA8961}"/>
              </a:ext>
            </a:extLst>
          </p:cNvPr>
          <p:cNvGrpSpPr/>
          <p:nvPr/>
        </p:nvGrpSpPr>
        <p:grpSpPr>
          <a:xfrm>
            <a:off x="1750220" y="1996440"/>
            <a:ext cx="1066770" cy="3840480"/>
            <a:chOff x="1744997" y="1996440"/>
            <a:chExt cx="1135363" cy="3840480"/>
          </a:xfrm>
        </p:grpSpPr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58974B32-3093-4AEB-9C0C-251E3C97B9D9}"/>
                </a:ext>
              </a:extLst>
            </p:cNvPr>
            <p:cNvSpPr>
              <a:spLocks/>
            </p:cNvSpPr>
            <p:nvPr/>
          </p:nvSpPr>
          <p:spPr>
            <a:xfrm>
              <a:off x="1744997" y="1996440"/>
              <a:ext cx="1135363" cy="1846898"/>
            </a:xfrm>
            <a:custGeom>
              <a:avLst/>
              <a:gdLst>
                <a:gd name="connsiteX0" fmla="*/ 0 w 1120140"/>
                <a:gd name="connsiteY0" fmla="*/ 1882140 h 1882140"/>
                <a:gd name="connsiteX1" fmla="*/ 0 w 1120140"/>
                <a:gd name="connsiteY1" fmla="*/ 1882140 h 1882140"/>
                <a:gd name="connsiteX2" fmla="*/ 106680 w 1120140"/>
                <a:gd name="connsiteY2" fmla="*/ 1859280 h 1882140"/>
                <a:gd name="connsiteX3" fmla="*/ 236220 w 1120140"/>
                <a:gd name="connsiteY3" fmla="*/ 1798320 h 1882140"/>
                <a:gd name="connsiteX4" fmla="*/ 358140 w 1120140"/>
                <a:gd name="connsiteY4" fmla="*/ 1676400 h 1882140"/>
                <a:gd name="connsiteX5" fmla="*/ 411480 w 1120140"/>
                <a:gd name="connsiteY5" fmla="*/ 1600200 h 1882140"/>
                <a:gd name="connsiteX6" fmla="*/ 487680 w 1120140"/>
                <a:gd name="connsiteY6" fmla="*/ 1440180 h 1882140"/>
                <a:gd name="connsiteX7" fmla="*/ 541020 w 1120140"/>
                <a:gd name="connsiteY7" fmla="*/ 1249680 h 1882140"/>
                <a:gd name="connsiteX8" fmla="*/ 556260 w 1120140"/>
                <a:gd name="connsiteY8" fmla="*/ 1158240 h 1882140"/>
                <a:gd name="connsiteX9" fmla="*/ 594360 w 1120140"/>
                <a:gd name="connsiteY9" fmla="*/ 990600 h 1882140"/>
                <a:gd name="connsiteX10" fmla="*/ 601980 w 1120140"/>
                <a:gd name="connsiteY10" fmla="*/ 906780 h 1882140"/>
                <a:gd name="connsiteX11" fmla="*/ 617220 w 1120140"/>
                <a:gd name="connsiteY11" fmla="*/ 822960 h 1882140"/>
                <a:gd name="connsiteX12" fmla="*/ 624840 w 1120140"/>
                <a:gd name="connsiteY12" fmla="*/ 754380 h 1882140"/>
                <a:gd name="connsiteX13" fmla="*/ 670560 w 1120140"/>
                <a:gd name="connsiteY13" fmla="*/ 647700 h 1882140"/>
                <a:gd name="connsiteX14" fmla="*/ 701040 w 1120140"/>
                <a:gd name="connsiteY14" fmla="*/ 563880 h 1882140"/>
                <a:gd name="connsiteX15" fmla="*/ 723900 w 1120140"/>
                <a:gd name="connsiteY15" fmla="*/ 518160 h 1882140"/>
                <a:gd name="connsiteX16" fmla="*/ 777240 w 1120140"/>
                <a:gd name="connsiteY16" fmla="*/ 388620 h 1882140"/>
                <a:gd name="connsiteX17" fmla="*/ 815340 w 1120140"/>
                <a:gd name="connsiteY17" fmla="*/ 281940 h 1882140"/>
                <a:gd name="connsiteX18" fmla="*/ 868680 w 1120140"/>
                <a:gd name="connsiteY18" fmla="*/ 182880 h 1882140"/>
                <a:gd name="connsiteX19" fmla="*/ 922020 w 1120140"/>
                <a:gd name="connsiteY19" fmla="*/ 76200 h 1882140"/>
                <a:gd name="connsiteX20" fmla="*/ 1021080 w 1120140"/>
                <a:gd name="connsiteY20" fmla="*/ 38100 h 1882140"/>
                <a:gd name="connsiteX21" fmla="*/ 1051560 w 1120140"/>
                <a:gd name="connsiteY21" fmla="*/ 22860 h 1882140"/>
                <a:gd name="connsiteX22" fmla="*/ 1112520 w 1120140"/>
                <a:gd name="connsiteY22" fmla="*/ 7620 h 1882140"/>
                <a:gd name="connsiteX23" fmla="*/ 1120140 w 1120140"/>
                <a:gd name="connsiteY23" fmla="*/ 0 h 1882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120140" h="1882140">
                  <a:moveTo>
                    <a:pt x="0" y="1882140"/>
                  </a:moveTo>
                  <a:lnTo>
                    <a:pt x="0" y="1882140"/>
                  </a:lnTo>
                  <a:cubicBezTo>
                    <a:pt x="35560" y="1874520"/>
                    <a:pt x="71594" y="1868849"/>
                    <a:pt x="106680" y="1859280"/>
                  </a:cubicBezTo>
                  <a:cubicBezTo>
                    <a:pt x="149450" y="1847615"/>
                    <a:pt x="200094" y="1822404"/>
                    <a:pt x="236220" y="1798320"/>
                  </a:cubicBezTo>
                  <a:cubicBezTo>
                    <a:pt x="305588" y="1752074"/>
                    <a:pt x="309092" y="1742966"/>
                    <a:pt x="358140" y="1676400"/>
                  </a:cubicBezTo>
                  <a:cubicBezTo>
                    <a:pt x="376532" y="1651440"/>
                    <a:pt x="396572" y="1627385"/>
                    <a:pt x="411480" y="1600200"/>
                  </a:cubicBezTo>
                  <a:cubicBezTo>
                    <a:pt x="439887" y="1548399"/>
                    <a:pt x="470306" y="1496646"/>
                    <a:pt x="487680" y="1440180"/>
                  </a:cubicBezTo>
                  <a:cubicBezTo>
                    <a:pt x="509670" y="1368712"/>
                    <a:pt x="525904" y="1322235"/>
                    <a:pt x="541020" y="1249680"/>
                  </a:cubicBezTo>
                  <a:cubicBezTo>
                    <a:pt x="547322" y="1219429"/>
                    <a:pt x="549696" y="1188435"/>
                    <a:pt x="556260" y="1158240"/>
                  </a:cubicBezTo>
                  <a:cubicBezTo>
                    <a:pt x="582981" y="1035322"/>
                    <a:pt x="577480" y="1114387"/>
                    <a:pt x="594360" y="990600"/>
                  </a:cubicBezTo>
                  <a:cubicBezTo>
                    <a:pt x="598151" y="962802"/>
                    <a:pt x="598189" y="934578"/>
                    <a:pt x="601980" y="906780"/>
                  </a:cubicBezTo>
                  <a:cubicBezTo>
                    <a:pt x="605817" y="878642"/>
                    <a:pt x="613007" y="851044"/>
                    <a:pt x="617220" y="822960"/>
                  </a:cubicBezTo>
                  <a:cubicBezTo>
                    <a:pt x="620632" y="800214"/>
                    <a:pt x="619572" y="776769"/>
                    <a:pt x="624840" y="754380"/>
                  </a:cubicBezTo>
                  <a:cubicBezTo>
                    <a:pt x="637966" y="698596"/>
                    <a:pt x="650335" y="696241"/>
                    <a:pt x="670560" y="647700"/>
                  </a:cubicBezTo>
                  <a:cubicBezTo>
                    <a:pt x="711464" y="549531"/>
                    <a:pt x="661665" y="650505"/>
                    <a:pt x="701040" y="563880"/>
                  </a:cubicBezTo>
                  <a:cubicBezTo>
                    <a:pt x="708091" y="548368"/>
                    <a:pt x="717106" y="533786"/>
                    <a:pt x="723900" y="518160"/>
                  </a:cubicBezTo>
                  <a:cubicBezTo>
                    <a:pt x="742519" y="475335"/>
                    <a:pt x="761534" y="432597"/>
                    <a:pt x="777240" y="388620"/>
                  </a:cubicBezTo>
                  <a:cubicBezTo>
                    <a:pt x="789940" y="353060"/>
                    <a:pt x="800004" y="316445"/>
                    <a:pt x="815340" y="281940"/>
                  </a:cubicBezTo>
                  <a:cubicBezTo>
                    <a:pt x="830571" y="247670"/>
                    <a:pt x="851908" y="216423"/>
                    <a:pt x="868680" y="182880"/>
                  </a:cubicBezTo>
                  <a:cubicBezTo>
                    <a:pt x="869566" y="181108"/>
                    <a:pt x="907371" y="88185"/>
                    <a:pt x="922020" y="76200"/>
                  </a:cubicBezTo>
                  <a:cubicBezTo>
                    <a:pt x="957225" y="47396"/>
                    <a:pt x="981989" y="45918"/>
                    <a:pt x="1021080" y="38100"/>
                  </a:cubicBezTo>
                  <a:cubicBezTo>
                    <a:pt x="1031240" y="33020"/>
                    <a:pt x="1040784" y="26452"/>
                    <a:pt x="1051560" y="22860"/>
                  </a:cubicBezTo>
                  <a:cubicBezTo>
                    <a:pt x="1077645" y="14165"/>
                    <a:pt x="1089709" y="19025"/>
                    <a:pt x="1112520" y="7620"/>
                  </a:cubicBezTo>
                  <a:cubicBezTo>
                    <a:pt x="1115733" y="6014"/>
                    <a:pt x="1117600" y="2540"/>
                    <a:pt x="1120140" y="0"/>
                  </a:cubicBezTo>
                </a:path>
              </a:pathLst>
            </a:custGeom>
            <a:ln w="12700">
              <a:solidFill>
                <a:schemeClr val="accent1"/>
              </a:solidFill>
              <a:prstDash val="dash"/>
              <a:headEnd type="none"/>
              <a:tailEnd type="oval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AC4B7F24-BD68-4DF7-9870-EF84A273AFF2}"/>
                </a:ext>
              </a:extLst>
            </p:cNvPr>
            <p:cNvSpPr>
              <a:spLocks/>
            </p:cNvSpPr>
            <p:nvPr/>
          </p:nvSpPr>
          <p:spPr>
            <a:xfrm>
              <a:off x="1760220" y="2940126"/>
              <a:ext cx="1120140" cy="946074"/>
            </a:xfrm>
            <a:custGeom>
              <a:avLst/>
              <a:gdLst>
                <a:gd name="connsiteX0" fmla="*/ 0 w 1097280"/>
                <a:gd name="connsiteY0" fmla="*/ 946074 h 946074"/>
                <a:gd name="connsiteX1" fmla="*/ 0 w 1097280"/>
                <a:gd name="connsiteY1" fmla="*/ 946074 h 946074"/>
                <a:gd name="connsiteX2" fmla="*/ 533400 w 1097280"/>
                <a:gd name="connsiteY2" fmla="*/ 816534 h 946074"/>
                <a:gd name="connsiteX3" fmla="*/ 594360 w 1097280"/>
                <a:gd name="connsiteY3" fmla="*/ 747954 h 946074"/>
                <a:gd name="connsiteX4" fmla="*/ 685800 w 1097280"/>
                <a:gd name="connsiteY4" fmla="*/ 618414 h 946074"/>
                <a:gd name="connsiteX5" fmla="*/ 716280 w 1097280"/>
                <a:gd name="connsiteY5" fmla="*/ 549834 h 946074"/>
                <a:gd name="connsiteX6" fmla="*/ 777240 w 1097280"/>
                <a:gd name="connsiteY6" fmla="*/ 351714 h 946074"/>
                <a:gd name="connsiteX7" fmla="*/ 792480 w 1097280"/>
                <a:gd name="connsiteY7" fmla="*/ 267894 h 946074"/>
                <a:gd name="connsiteX8" fmla="*/ 807720 w 1097280"/>
                <a:gd name="connsiteY8" fmla="*/ 229794 h 946074"/>
                <a:gd name="connsiteX9" fmla="*/ 822960 w 1097280"/>
                <a:gd name="connsiteY9" fmla="*/ 153594 h 946074"/>
                <a:gd name="connsiteX10" fmla="*/ 853440 w 1097280"/>
                <a:gd name="connsiteY10" fmla="*/ 85014 h 946074"/>
                <a:gd name="connsiteX11" fmla="*/ 868680 w 1097280"/>
                <a:gd name="connsiteY11" fmla="*/ 62154 h 946074"/>
                <a:gd name="connsiteX12" fmla="*/ 883920 w 1097280"/>
                <a:gd name="connsiteY12" fmla="*/ 31674 h 946074"/>
                <a:gd name="connsiteX13" fmla="*/ 906780 w 1097280"/>
                <a:gd name="connsiteY13" fmla="*/ 24054 h 946074"/>
                <a:gd name="connsiteX14" fmla="*/ 937260 w 1097280"/>
                <a:gd name="connsiteY14" fmla="*/ 1194 h 946074"/>
                <a:gd name="connsiteX15" fmla="*/ 1036320 w 1097280"/>
                <a:gd name="connsiteY15" fmla="*/ 8814 h 946074"/>
                <a:gd name="connsiteX16" fmla="*/ 1097280 w 1097280"/>
                <a:gd name="connsiteY16" fmla="*/ 24054 h 9460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97280" h="946074">
                  <a:moveTo>
                    <a:pt x="0" y="946074"/>
                  </a:moveTo>
                  <a:lnTo>
                    <a:pt x="0" y="946074"/>
                  </a:lnTo>
                  <a:cubicBezTo>
                    <a:pt x="177800" y="902894"/>
                    <a:pt x="359821" y="874394"/>
                    <a:pt x="533400" y="816534"/>
                  </a:cubicBezTo>
                  <a:cubicBezTo>
                    <a:pt x="562416" y="806862"/>
                    <a:pt x="574780" y="771451"/>
                    <a:pt x="594360" y="747954"/>
                  </a:cubicBezTo>
                  <a:cubicBezTo>
                    <a:pt x="626855" y="708960"/>
                    <a:pt x="661771" y="663802"/>
                    <a:pt x="685800" y="618414"/>
                  </a:cubicBezTo>
                  <a:cubicBezTo>
                    <a:pt x="697505" y="596305"/>
                    <a:pt x="708625" y="573650"/>
                    <a:pt x="716280" y="549834"/>
                  </a:cubicBezTo>
                  <a:cubicBezTo>
                    <a:pt x="797409" y="297433"/>
                    <a:pt x="719951" y="485388"/>
                    <a:pt x="777240" y="351714"/>
                  </a:cubicBezTo>
                  <a:cubicBezTo>
                    <a:pt x="779049" y="340861"/>
                    <a:pt x="788486" y="281207"/>
                    <a:pt x="792480" y="267894"/>
                  </a:cubicBezTo>
                  <a:cubicBezTo>
                    <a:pt x="796410" y="254793"/>
                    <a:pt x="804196" y="243010"/>
                    <a:pt x="807720" y="229794"/>
                  </a:cubicBezTo>
                  <a:cubicBezTo>
                    <a:pt x="814394" y="204766"/>
                    <a:pt x="813340" y="177644"/>
                    <a:pt x="822960" y="153594"/>
                  </a:cubicBezTo>
                  <a:cubicBezTo>
                    <a:pt x="833846" y="126378"/>
                    <a:pt x="839202" y="109931"/>
                    <a:pt x="853440" y="85014"/>
                  </a:cubicBezTo>
                  <a:cubicBezTo>
                    <a:pt x="857984" y="77063"/>
                    <a:pt x="864136" y="70105"/>
                    <a:pt x="868680" y="62154"/>
                  </a:cubicBezTo>
                  <a:cubicBezTo>
                    <a:pt x="874316" y="52291"/>
                    <a:pt x="875888" y="39706"/>
                    <a:pt x="883920" y="31674"/>
                  </a:cubicBezTo>
                  <a:cubicBezTo>
                    <a:pt x="889600" y="25994"/>
                    <a:pt x="899160" y="26594"/>
                    <a:pt x="906780" y="24054"/>
                  </a:cubicBezTo>
                  <a:cubicBezTo>
                    <a:pt x="916940" y="16434"/>
                    <a:pt x="924647" y="2678"/>
                    <a:pt x="937260" y="1194"/>
                  </a:cubicBezTo>
                  <a:cubicBezTo>
                    <a:pt x="970151" y="-2675"/>
                    <a:pt x="1003608" y="3649"/>
                    <a:pt x="1036320" y="8814"/>
                  </a:cubicBezTo>
                  <a:cubicBezTo>
                    <a:pt x="1143014" y="25660"/>
                    <a:pt x="1048218" y="24054"/>
                    <a:pt x="1097280" y="24054"/>
                  </a:cubicBezTo>
                </a:path>
              </a:pathLst>
            </a:custGeom>
            <a:ln w="12700">
              <a:solidFill>
                <a:schemeClr val="accent1"/>
              </a:solidFill>
              <a:prstDash val="dash"/>
              <a:headEnd type="none"/>
              <a:tailEnd type="oval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797CAB91-A1D6-43D2-9D59-EE8C0E3EF102}"/>
                </a:ext>
              </a:extLst>
            </p:cNvPr>
            <p:cNvSpPr>
              <a:spLocks/>
            </p:cNvSpPr>
            <p:nvPr/>
          </p:nvSpPr>
          <p:spPr>
            <a:xfrm>
              <a:off x="1775460" y="3870960"/>
              <a:ext cx="1104900" cy="76225"/>
            </a:xfrm>
            <a:custGeom>
              <a:avLst/>
              <a:gdLst>
                <a:gd name="connsiteX0" fmla="*/ 0 w 1082040"/>
                <a:gd name="connsiteY0" fmla="*/ 30480 h 76225"/>
                <a:gd name="connsiteX1" fmla="*/ 0 w 1082040"/>
                <a:gd name="connsiteY1" fmla="*/ 30480 h 76225"/>
                <a:gd name="connsiteX2" fmla="*/ 777240 w 1082040"/>
                <a:gd name="connsiteY2" fmla="*/ 68580 h 76225"/>
                <a:gd name="connsiteX3" fmla="*/ 838200 w 1082040"/>
                <a:gd name="connsiteY3" fmla="*/ 45720 h 76225"/>
                <a:gd name="connsiteX4" fmla="*/ 891540 w 1082040"/>
                <a:gd name="connsiteY4" fmla="*/ 30480 h 76225"/>
                <a:gd name="connsiteX5" fmla="*/ 922020 w 1082040"/>
                <a:gd name="connsiteY5" fmla="*/ 22860 h 76225"/>
                <a:gd name="connsiteX6" fmla="*/ 975360 w 1082040"/>
                <a:gd name="connsiteY6" fmla="*/ 0 h 76225"/>
                <a:gd name="connsiteX7" fmla="*/ 1059180 w 1082040"/>
                <a:gd name="connsiteY7" fmla="*/ 7620 h 76225"/>
                <a:gd name="connsiteX8" fmla="*/ 1082040 w 1082040"/>
                <a:gd name="connsiteY8" fmla="*/ 30480 h 7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082040" h="76225">
                  <a:moveTo>
                    <a:pt x="0" y="30480"/>
                  </a:moveTo>
                  <a:lnTo>
                    <a:pt x="0" y="30480"/>
                  </a:lnTo>
                  <a:cubicBezTo>
                    <a:pt x="38501" y="33297"/>
                    <a:pt x="571425" y="97982"/>
                    <a:pt x="777240" y="68580"/>
                  </a:cubicBezTo>
                  <a:cubicBezTo>
                    <a:pt x="798724" y="65511"/>
                    <a:pt x="817612" y="52583"/>
                    <a:pt x="838200" y="45720"/>
                  </a:cubicBezTo>
                  <a:cubicBezTo>
                    <a:pt x="855743" y="39872"/>
                    <a:pt x="873700" y="35345"/>
                    <a:pt x="891540" y="30480"/>
                  </a:cubicBezTo>
                  <a:cubicBezTo>
                    <a:pt x="901644" y="27724"/>
                    <a:pt x="912214" y="26537"/>
                    <a:pt x="922020" y="22860"/>
                  </a:cubicBezTo>
                  <a:cubicBezTo>
                    <a:pt x="1072677" y="-33636"/>
                    <a:pt x="861826" y="37845"/>
                    <a:pt x="975360" y="0"/>
                  </a:cubicBezTo>
                  <a:cubicBezTo>
                    <a:pt x="1003300" y="2540"/>
                    <a:pt x="1032204" y="-87"/>
                    <a:pt x="1059180" y="7620"/>
                  </a:cubicBezTo>
                  <a:cubicBezTo>
                    <a:pt x="1069542" y="10580"/>
                    <a:pt x="1082040" y="30480"/>
                    <a:pt x="1082040" y="30480"/>
                  </a:cubicBezTo>
                </a:path>
              </a:pathLst>
            </a:custGeom>
            <a:ln w="12700">
              <a:solidFill>
                <a:schemeClr val="accent1"/>
              </a:solidFill>
              <a:prstDash val="dash"/>
              <a:headEnd type="none"/>
              <a:tailEnd type="oval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1A9DE417-520A-4547-A0DE-AC5243E7FB8C}"/>
                </a:ext>
              </a:extLst>
            </p:cNvPr>
            <p:cNvSpPr>
              <a:spLocks/>
            </p:cNvSpPr>
            <p:nvPr/>
          </p:nvSpPr>
          <p:spPr>
            <a:xfrm>
              <a:off x="1767840" y="3883820"/>
              <a:ext cx="1112520" cy="1024322"/>
            </a:xfrm>
            <a:custGeom>
              <a:avLst/>
              <a:gdLst>
                <a:gd name="connsiteX0" fmla="*/ 0 w 1097280"/>
                <a:gd name="connsiteY0" fmla="*/ 0 h 999081"/>
                <a:gd name="connsiteX1" fmla="*/ 0 w 1097280"/>
                <a:gd name="connsiteY1" fmla="*/ 0 h 999081"/>
                <a:gd name="connsiteX2" fmla="*/ 259080 w 1097280"/>
                <a:gd name="connsiteY2" fmla="*/ 251460 h 999081"/>
                <a:gd name="connsiteX3" fmla="*/ 327660 w 1097280"/>
                <a:gd name="connsiteY3" fmla="*/ 304800 h 999081"/>
                <a:gd name="connsiteX4" fmla="*/ 388620 w 1097280"/>
                <a:gd name="connsiteY4" fmla="*/ 365760 h 999081"/>
                <a:gd name="connsiteX5" fmla="*/ 487680 w 1097280"/>
                <a:gd name="connsiteY5" fmla="*/ 449580 h 999081"/>
                <a:gd name="connsiteX6" fmla="*/ 541020 w 1097280"/>
                <a:gd name="connsiteY6" fmla="*/ 541020 h 999081"/>
                <a:gd name="connsiteX7" fmla="*/ 579120 w 1097280"/>
                <a:gd name="connsiteY7" fmla="*/ 601980 h 999081"/>
                <a:gd name="connsiteX8" fmla="*/ 624840 w 1097280"/>
                <a:gd name="connsiteY8" fmla="*/ 685800 h 999081"/>
                <a:gd name="connsiteX9" fmla="*/ 647700 w 1097280"/>
                <a:gd name="connsiteY9" fmla="*/ 716280 h 999081"/>
                <a:gd name="connsiteX10" fmla="*/ 685800 w 1097280"/>
                <a:gd name="connsiteY10" fmla="*/ 784860 h 999081"/>
                <a:gd name="connsiteX11" fmla="*/ 739140 w 1097280"/>
                <a:gd name="connsiteY11" fmla="*/ 853440 h 999081"/>
                <a:gd name="connsiteX12" fmla="*/ 777240 w 1097280"/>
                <a:gd name="connsiteY12" fmla="*/ 899160 h 999081"/>
                <a:gd name="connsiteX13" fmla="*/ 815340 w 1097280"/>
                <a:gd name="connsiteY13" fmla="*/ 914400 h 999081"/>
                <a:gd name="connsiteX14" fmla="*/ 838200 w 1097280"/>
                <a:gd name="connsiteY14" fmla="*/ 937260 h 999081"/>
                <a:gd name="connsiteX15" fmla="*/ 861060 w 1097280"/>
                <a:gd name="connsiteY15" fmla="*/ 944880 h 999081"/>
                <a:gd name="connsiteX16" fmla="*/ 891540 w 1097280"/>
                <a:gd name="connsiteY16" fmla="*/ 960120 h 999081"/>
                <a:gd name="connsiteX17" fmla="*/ 937260 w 1097280"/>
                <a:gd name="connsiteY17" fmla="*/ 975360 h 999081"/>
                <a:gd name="connsiteX18" fmla="*/ 998220 w 1097280"/>
                <a:gd name="connsiteY18" fmla="*/ 998220 h 999081"/>
                <a:gd name="connsiteX19" fmla="*/ 1097280 w 1097280"/>
                <a:gd name="connsiteY19" fmla="*/ 998220 h 9990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097280" h="999081">
                  <a:moveTo>
                    <a:pt x="0" y="0"/>
                  </a:moveTo>
                  <a:lnTo>
                    <a:pt x="0" y="0"/>
                  </a:lnTo>
                  <a:cubicBezTo>
                    <a:pt x="86360" y="83820"/>
                    <a:pt x="170962" y="169490"/>
                    <a:pt x="259080" y="251460"/>
                  </a:cubicBezTo>
                  <a:cubicBezTo>
                    <a:pt x="280284" y="271185"/>
                    <a:pt x="305944" y="285639"/>
                    <a:pt x="327660" y="304800"/>
                  </a:cubicBezTo>
                  <a:cubicBezTo>
                    <a:pt x="349208" y="323813"/>
                    <a:pt x="367311" y="346480"/>
                    <a:pt x="388620" y="365760"/>
                  </a:cubicBezTo>
                  <a:cubicBezTo>
                    <a:pt x="420695" y="394780"/>
                    <a:pt x="487680" y="449580"/>
                    <a:pt x="487680" y="449580"/>
                  </a:cubicBezTo>
                  <a:cubicBezTo>
                    <a:pt x="505460" y="480060"/>
                    <a:pt x="522865" y="510762"/>
                    <a:pt x="541020" y="541020"/>
                  </a:cubicBezTo>
                  <a:cubicBezTo>
                    <a:pt x="553349" y="561568"/>
                    <a:pt x="568404" y="580547"/>
                    <a:pt x="579120" y="601980"/>
                  </a:cubicBezTo>
                  <a:cubicBezTo>
                    <a:pt x="596475" y="636691"/>
                    <a:pt x="603756" y="654174"/>
                    <a:pt x="624840" y="685800"/>
                  </a:cubicBezTo>
                  <a:cubicBezTo>
                    <a:pt x="631885" y="696367"/>
                    <a:pt x="641166" y="705390"/>
                    <a:pt x="647700" y="716280"/>
                  </a:cubicBezTo>
                  <a:cubicBezTo>
                    <a:pt x="678642" y="767850"/>
                    <a:pt x="658966" y="749081"/>
                    <a:pt x="685800" y="784860"/>
                  </a:cubicBezTo>
                  <a:cubicBezTo>
                    <a:pt x="703176" y="808028"/>
                    <a:pt x="723076" y="829343"/>
                    <a:pt x="739140" y="853440"/>
                  </a:cubicBezTo>
                  <a:cubicBezTo>
                    <a:pt x="749673" y="869240"/>
                    <a:pt x="760477" y="888683"/>
                    <a:pt x="777240" y="899160"/>
                  </a:cubicBezTo>
                  <a:cubicBezTo>
                    <a:pt x="788839" y="906409"/>
                    <a:pt x="802640" y="909320"/>
                    <a:pt x="815340" y="914400"/>
                  </a:cubicBezTo>
                  <a:cubicBezTo>
                    <a:pt x="822960" y="922020"/>
                    <a:pt x="829234" y="931282"/>
                    <a:pt x="838200" y="937260"/>
                  </a:cubicBezTo>
                  <a:cubicBezTo>
                    <a:pt x="844883" y="941715"/>
                    <a:pt x="853677" y="941716"/>
                    <a:pt x="861060" y="944880"/>
                  </a:cubicBezTo>
                  <a:cubicBezTo>
                    <a:pt x="871501" y="949355"/>
                    <a:pt x="880993" y="955901"/>
                    <a:pt x="891540" y="960120"/>
                  </a:cubicBezTo>
                  <a:cubicBezTo>
                    <a:pt x="906455" y="966086"/>
                    <a:pt x="922345" y="969394"/>
                    <a:pt x="937260" y="975360"/>
                  </a:cubicBezTo>
                  <a:cubicBezTo>
                    <a:pt x="963563" y="985881"/>
                    <a:pt x="969206" y="996513"/>
                    <a:pt x="998220" y="998220"/>
                  </a:cubicBezTo>
                  <a:cubicBezTo>
                    <a:pt x="1031183" y="1000159"/>
                    <a:pt x="1064260" y="998220"/>
                    <a:pt x="1097280" y="998220"/>
                  </a:cubicBezTo>
                </a:path>
              </a:pathLst>
            </a:custGeom>
            <a:ln w="12700">
              <a:solidFill>
                <a:schemeClr val="accent1"/>
              </a:solidFill>
              <a:prstDash val="dash"/>
              <a:headEnd type="none"/>
              <a:tailEnd type="oval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E910F30F-B656-4C7C-9CCC-947AC2CF16BA}"/>
                </a:ext>
              </a:extLst>
            </p:cNvPr>
            <p:cNvSpPr>
              <a:spLocks/>
            </p:cNvSpPr>
            <p:nvPr/>
          </p:nvSpPr>
          <p:spPr>
            <a:xfrm>
              <a:off x="1752600" y="3886200"/>
              <a:ext cx="1127760" cy="1950720"/>
            </a:xfrm>
            <a:custGeom>
              <a:avLst/>
              <a:gdLst>
                <a:gd name="connsiteX0" fmla="*/ 0 w 1112520"/>
                <a:gd name="connsiteY0" fmla="*/ 0 h 1950720"/>
                <a:gd name="connsiteX1" fmla="*/ 0 w 1112520"/>
                <a:gd name="connsiteY1" fmla="*/ 0 h 1950720"/>
                <a:gd name="connsiteX2" fmla="*/ 68580 w 1112520"/>
                <a:gd name="connsiteY2" fmla="*/ 106680 h 1950720"/>
                <a:gd name="connsiteX3" fmla="*/ 144780 w 1112520"/>
                <a:gd name="connsiteY3" fmla="*/ 198120 h 1950720"/>
                <a:gd name="connsiteX4" fmla="*/ 320040 w 1112520"/>
                <a:gd name="connsiteY4" fmla="*/ 487680 h 1950720"/>
                <a:gd name="connsiteX5" fmla="*/ 411480 w 1112520"/>
                <a:gd name="connsiteY5" fmla="*/ 701040 h 1950720"/>
                <a:gd name="connsiteX6" fmla="*/ 419100 w 1112520"/>
                <a:gd name="connsiteY6" fmla="*/ 762000 h 1950720"/>
                <a:gd name="connsiteX7" fmla="*/ 434340 w 1112520"/>
                <a:gd name="connsiteY7" fmla="*/ 822960 h 1950720"/>
                <a:gd name="connsiteX8" fmla="*/ 449580 w 1112520"/>
                <a:gd name="connsiteY8" fmla="*/ 1440180 h 1950720"/>
                <a:gd name="connsiteX9" fmla="*/ 487680 w 1112520"/>
                <a:gd name="connsiteY9" fmla="*/ 1501140 h 1950720"/>
                <a:gd name="connsiteX10" fmla="*/ 525780 w 1112520"/>
                <a:gd name="connsiteY10" fmla="*/ 1577340 h 1950720"/>
                <a:gd name="connsiteX11" fmla="*/ 571500 w 1112520"/>
                <a:gd name="connsiteY11" fmla="*/ 1630680 h 1950720"/>
                <a:gd name="connsiteX12" fmla="*/ 662940 w 1112520"/>
                <a:gd name="connsiteY12" fmla="*/ 1744980 h 1950720"/>
                <a:gd name="connsiteX13" fmla="*/ 723900 w 1112520"/>
                <a:gd name="connsiteY13" fmla="*/ 1790700 h 1950720"/>
                <a:gd name="connsiteX14" fmla="*/ 769620 w 1112520"/>
                <a:gd name="connsiteY14" fmla="*/ 1828800 h 1950720"/>
                <a:gd name="connsiteX15" fmla="*/ 815340 w 1112520"/>
                <a:gd name="connsiteY15" fmla="*/ 1844040 h 1950720"/>
                <a:gd name="connsiteX16" fmla="*/ 914400 w 1112520"/>
                <a:gd name="connsiteY16" fmla="*/ 1889760 h 1950720"/>
                <a:gd name="connsiteX17" fmla="*/ 944880 w 1112520"/>
                <a:gd name="connsiteY17" fmla="*/ 1905000 h 1950720"/>
                <a:gd name="connsiteX18" fmla="*/ 975360 w 1112520"/>
                <a:gd name="connsiteY18" fmla="*/ 1920240 h 1950720"/>
                <a:gd name="connsiteX19" fmla="*/ 1013460 w 1112520"/>
                <a:gd name="connsiteY19" fmla="*/ 1927860 h 1950720"/>
                <a:gd name="connsiteX20" fmla="*/ 1074420 w 1112520"/>
                <a:gd name="connsiteY20" fmla="*/ 1943100 h 1950720"/>
                <a:gd name="connsiteX21" fmla="*/ 1112520 w 1112520"/>
                <a:gd name="connsiteY21" fmla="*/ 1950720 h 1950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112520" h="1950720">
                  <a:moveTo>
                    <a:pt x="0" y="0"/>
                  </a:moveTo>
                  <a:lnTo>
                    <a:pt x="0" y="0"/>
                  </a:lnTo>
                  <a:cubicBezTo>
                    <a:pt x="22860" y="35560"/>
                    <a:pt x="43638" y="72548"/>
                    <a:pt x="68580" y="106680"/>
                  </a:cubicBezTo>
                  <a:cubicBezTo>
                    <a:pt x="91990" y="138714"/>
                    <a:pt x="121968" y="165657"/>
                    <a:pt x="144780" y="198120"/>
                  </a:cubicBezTo>
                  <a:cubicBezTo>
                    <a:pt x="198410" y="274439"/>
                    <a:pt x="274984" y="394751"/>
                    <a:pt x="320040" y="487680"/>
                  </a:cubicBezTo>
                  <a:cubicBezTo>
                    <a:pt x="377041" y="605244"/>
                    <a:pt x="377040" y="609201"/>
                    <a:pt x="411480" y="701040"/>
                  </a:cubicBezTo>
                  <a:cubicBezTo>
                    <a:pt x="414020" y="721360"/>
                    <a:pt x="415326" y="741873"/>
                    <a:pt x="419100" y="762000"/>
                  </a:cubicBezTo>
                  <a:cubicBezTo>
                    <a:pt x="422960" y="782587"/>
                    <a:pt x="433400" y="802036"/>
                    <a:pt x="434340" y="822960"/>
                  </a:cubicBezTo>
                  <a:cubicBezTo>
                    <a:pt x="443580" y="1028555"/>
                    <a:pt x="433443" y="1235011"/>
                    <a:pt x="449580" y="1440180"/>
                  </a:cubicBezTo>
                  <a:cubicBezTo>
                    <a:pt x="451459" y="1464069"/>
                    <a:pt x="476043" y="1480193"/>
                    <a:pt x="487680" y="1501140"/>
                  </a:cubicBezTo>
                  <a:cubicBezTo>
                    <a:pt x="501471" y="1525964"/>
                    <a:pt x="510353" y="1553498"/>
                    <a:pt x="525780" y="1577340"/>
                  </a:cubicBezTo>
                  <a:cubicBezTo>
                    <a:pt x="538502" y="1597001"/>
                    <a:pt x="556871" y="1612394"/>
                    <a:pt x="571500" y="1630680"/>
                  </a:cubicBezTo>
                  <a:cubicBezTo>
                    <a:pt x="596752" y="1662245"/>
                    <a:pt x="632514" y="1716728"/>
                    <a:pt x="662940" y="1744980"/>
                  </a:cubicBezTo>
                  <a:cubicBezTo>
                    <a:pt x="681553" y="1762263"/>
                    <a:pt x="703928" y="1775007"/>
                    <a:pt x="723900" y="1790700"/>
                  </a:cubicBezTo>
                  <a:cubicBezTo>
                    <a:pt x="739499" y="1802956"/>
                    <a:pt x="752484" y="1818804"/>
                    <a:pt x="769620" y="1828800"/>
                  </a:cubicBezTo>
                  <a:cubicBezTo>
                    <a:pt x="783496" y="1836894"/>
                    <a:pt x="800243" y="1838550"/>
                    <a:pt x="815340" y="1844040"/>
                  </a:cubicBezTo>
                  <a:cubicBezTo>
                    <a:pt x="858749" y="1859825"/>
                    <a:pt x="867423" y="1866272"/>
                    <a:pt x="914400" y="1889760"/>
                  </a:cubicBezTo>
                  <a:lnTo>
                    <a:pt x="944880" y="1905000"/>
                  </a:lnTo>
                  <a:cubicBezTo>
                    <a:pt x="955040" y="1910080"/>
                    <a:pt x="964221" y="1918012"/>
                    <a:pt x="975360" y="1920240"/>
                  </a:cubicBezTo>
                  <a:cubicBezTo>
                    <a:pt x="988060" y="1922780"/>
                    <a:pt x="1000840" y="1924948"/>
                    <a:pt x="1013460" y="1927860"/>
                  </a:cubicBezTo>
                  <a:cubicBezTo>
                    <a:pt x="1033869" y="1932570"/>
                    <a:pt x="1053881" y="1938992"/>
                    <a:pt x="1074420" y="1943100"/>
                  </a:cubicBezTo>
                  <a:lnTo>
                    <a:pt x="1112520" y="1950720"/>
                  </a:lnTo>
                </a:path>
              </a:pathLst>
            </a:custGeom>
            <a:ln w="12700">
              <a:solidFill>
                <a:schemeClr val="accent1"/>
              </a:solidFill>
              <a:prstDash val="dash"/>
              <a:headEnd type="none"/>
              <a:tailEnd type="oval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sp>
        <p:nvSpPr>
          <p:cNvPr id="57" name="Oval 56">
            <a:extLst>
              <a:ext uri="{FF2B5EF4-FFF2-40B4-BE49-F238E27FC236}">
                <a16:creationId xmlns:a16="http://schemas.microsoft.com/office/drawing/2014/main" id="{0263F9A1-D572-4010-A583-E5FAE91AB2D3}"/>
              </a:ext>
            </a:extLst>
          </p:cNvPr>
          <p:cNvSpPr/>
          <p:nvPr/>
        </p:nvSpPr>
        <p:spPr>
          <a:xfrm>
            <a:off x="1702979" y="3822762"/>
            <a:ext cx="130132" cy="130132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40" tIns="45720" rIns="91440" bIns="45720" rtlCol="0" anchor="ctr"/>
          <a:lstStyle/>
          <a:p>
            <a:pPr algn="ctr" fontAlgn="t"/>
            <a:endParaRPr lang="da-DK" sz="1200" b="1">
              <a:solidFill>
                <a:srgbClr val="004C45"/>
              </a:solidFill>
            </a:endParaRPr>
          </a:p>
        </p:txBody>
      </p:sp>
      <p:pic>
        <p:nvPicPr>
          <p:cNvPr id="71" name="Grafik 4" descr="Videokamera kontur">
            <a:extLst>
              <a:ext uri="{FF2B5EF4-FFF2-40B4-BE49-F238E27FC236}">
                <a16:creationId xmlns:a16="http://schemas.microsoft.com/office/drawing/2014/main" id="{D27ACCC3-1D74-4183-8710-051575EA454A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088176" y="4638086"/>
            <a:ext cx="518160" cy="518158"/>
          </a:xfrm>
          <a:prstGeom prst="rect">
            <a:avLst/>
          </a:prstGeom>
        </p:spPr>
      </p:pic>
      <p:pic>
        <p:nvPicPr>
          <p:cNvPr id="72" name="Grafik 19" descr="Markør kontur">
            <a:extLst>
              <a:ext uri="{FF2B5EF4-FFF2-40B4-BE49-F238E27FC236}">
                <a16:creationId xmlns:a16="http://schemas.microsoft.com/office/drawing/2014/main" id="{F7A2FBF0-E0AF-436C-9CC2-498DE34ED10E}"/>
              </a:ext>
            </a:extLst>
          </p:cNvPr>
          <p:cNvPicPr>
            <a:picLocks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3088176" y="2711724"/>
            <a:ext cx="518160" cy="518158"/>
          </a:xfrm>
          <a:prstGeom prst="rect">
            <a:avLst/>
          </a:prstGeom>
        </p:spPr>
      </p:pic>
      <p:pic>
        <p:nvPicPr>
          <p:cNvPr id="73" name="Grafik 20" descr="Mail kontur">
            <a:extLst>
              <a:ext uri="{FF2B5EF4-FFF2-40B4-BE49-F238E27FC236}">
                <a16:creationId xmlns:a16="http://schemas.microsoft.com/office/drawing/2014/main" id="{AB21B671-8568-47E7-B002-1A82D3A680BE}"/>
              </a:ext>
            </a:extLst>
          </p:cNvPr>
          <p:cNvPicPr>
            <a:picLocks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088176" y="1748543"/>
            <a:ext cx="518160" cy="518158"/>
          </a:xfrm>
          <a:prstGeom prst="rect">
            <a:avLst/>
          </a:prstGeom>
        </p:spPr>
      </p:pic>
      <p:pic>
        <p:nvPicPr>
          <p:cNvPr id="74" name="Grafik 21" descr="Cyklus med personer kontur">
            <a:extLst>
              <a:ext uri="{FF2B5EF4-FFF2-40B4-BE49-F238E27FC236}">
                <a16:creationId xmlns:a16="http://schemas.microsoft.com/office/drawing/2014/main" id="{90687A0D-9127-4A4D-B82D-B81F1A18E9DC}"/>
              </a:ext>
            </a:extLst>
          </p:cNvPr>
          <p:cNvPicPr>
            <a:picLocks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058125" y="3644854"/>
            <a:ext cx="578262" cy="578260"/>
          </a:xfrm>
          <a:prstGeom prst="rect">
            <a:avLst/>
          </a:prstGeom>
        </p:spPr>
      </p:pic>
      <p:pic>
        <p:nvPicPr>
          <p:cNvPr id="75" name="Grafik 22" descr="Videokamera kontur">
            <a:extLst>
              <a:ext uri="{FF2B5EF4-FFF2-40B4-BE49-F238E27FC236}">
                <a16:creationId xmlns:a16="http://schemas.microsoft.com/office/drawing/2014/main" id="{5FDED80D-A1AE-4852-844E-8EBC196C0072}"/>
              </a:ext>
            </a:extLst>
          </p:cNvPr>
          <p:cNvPicPr>
            <a:picLocks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088176" y="5601267"/>
            <a:ext cx="518160" cy="518158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87CC7F01-E184-4790-9D42-59A46AE3BB04}"/>
              </a:ext>
            </a:extLst>
          </p:cNvPr>
          <p:cNvSpPr txBox="1"/>
          <p:nvPr/>
        </p:nvSpPr>
        <p:spPr>
          <a:xfrm>
            <a:off x="3868615" y="1638290"/>
            <a:ext cx="5216770" cy="7386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 marL="0" indent="0">
              <a:buFont typeface="Arial" panose="020B0604020202020204" pitchFamily="34" charset="0"/>
              <a:buNone/>
            </a:pP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menkompas@domea.dk</a:t>
            </a:r>
            <a:endParaRPr lang="da-DK" sz="1400">
              <a:solidFill>
                <a:schemeClr val="accent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5663D505-9D09-466E-81E5-F92A204820C9}"/>
              </a:ext>
            </a:extLst>
          </p:cNvPr>
          <p:cNvSpPr txBox="1"/>
          <p:nvPr/>
        </p:nvSpPr>
        <p:spPr>
          <a:xfrm>
            <a:off x="3868615" y="2601471"/>
            <a:ext cx="5216770" cy="7386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lmenkompas.dk</a:t>
            </a:r>
            <a:endParaRPr lang="da-DK" sz="1400">
              <a:solidFill>
                <a:schemeClr val="accent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CF6C27B2-1A27-41F1-A52B-9D3D06CEA6FA}"/>
              </a:ext>
            </a:extLst>
          </p:cNvPr>
          <p:cNvSpPr txBox="1"/>
          <p:nvPr/>
        </p:nvSpPr>
        <p:spPr>
          <a:xfrm>
            <a:off x="3868615" y="3564652"/>
            <a:ext cx="5216770" cy="7386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buFont typeface="Arial" panose="020B0604020202020204" pitchFamily="34" charset="0"/>
              <a:buNone/>
            </a:pP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1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inkedin.com/company/almenkompas</a:t>
            </a:r>
            <a:endParaRPr lang="da-DK" sz="1400">
              <a:solidFill>
                <a:schemeClr val="accent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C623E5F-4ECF-4C84-BFAB-ABA52FE93318}"/>
              </a:ext>
            </a:extLst>
          </p:cNvPr>
          <p:cNvSpPr txBox="1"/>
          <p:nvPr/>
        </p:nvSpPr>
        <p:spPr>
          <a:xfrm>
            <a:off x="3868615" y="4527833"/>
            <a:ext cx="5216770" cy="7386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buNone/>
            </a:pPr>
            <a:r>
              <a:rPr lang="da-DK" sz="1400">
                <a:latin typeface="Verdana" panose="020B0604030504040204" pitchFamily="34" charset="0"/>
                <a:ea typeface="Verdana" panose="020B0604030504040204" pitchFamily="34" charset="0"/>
              </a:rPr>
              <a:t>Se en række aktører fra branchen fortælle, hvorfor de støtter AlmenKompas:</a:t>
            </a:r>
          </a:p>
          <a:p>
            <a:pPr>
              <a:buNone/>
            </a:pP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2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lik her for at se filmen på Vimeo</a:t>
            </a:r>
            <a:endParaRPr lang="da-DK" sz="1400">
              <a:solidFill>
                <a:schemeClr val="accent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BEA407D-98D3-4D60-B3E3-FF9F118F0528}"/>
              </a:ext>
            </a:extLst>
          </p:cNvPr>
          <p:cNvSpPr txBox="1"/>
          <p:nvPr/>
        </p:nvSpPr>
        <p:spPr>
          <a:xfrm>
            <a:off x="3868615" y="5491014"/>
            <a:ext cx="5216770" cy="738664"/>
          </a:xfrm>
          <a:prstGeom prst="rect">
            <a:avLst/>
          </a:prstGeom>
          <a:noFill/>
        </p:spPr>
        <p:txBody>
          <a:bodyPr wrap="square" lIns="0" tIns="0" rIns="0" bIns="0" anchor="ctr">
            <a:noAutofit/>
          </a:bodyPr>
          <a:lstStyle/>
          <a:p>
            <a:pPr>
              <a:buNone/>
            </a:pPr>
            <a:r>
              <a:rPr lang="da-DK" sz="1400">
                <a:latin typeface="Verdana" panose="020B0604030504040204" pitchFamily="34" charset="0"/>
                <a:ea typeface="Verdana" panose="020B0604030504040204" pitchFamily="34" charset="0"/>
              </a:rPr>
              <a:t>Se video om baggrunden for at udvikle en fælles bæredygtighedsstandard:</a:t>
            </a:r>
            <a:br>
              <a:rPr lang="da-DK" sz="140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da-DK" sz="1400">
                <a:solidFill>
                  <a:schemeClr val="accent1">
                    <a:lumMod val="90000"/>
                    <a:lumOff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lik her for at se Explainer-videoen</a:t>
            </a:r>
            <a:endParaRPr lang="en-US" sz="1400">
              <a:solidFill>
                <a:schemeClr val="accent1">
                  <a:lumMod val="90000"/>
                  <a:lumOff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A3FC566A-3A3F-4604-BF44-288D029A99E1}"/>
              </a:ext>
            </a:extLst>
          </p:cNvPr>
          <p:cNvSpPr>
            <a:spLocks/>
          </p:cNvSpPr>
          <p:nvPr/>
        </p:nvSpPr>
        <p:spPr>
          <a:xfrm>
            <a:off x="9190892" y="1590992"/>
            <a:ext cx="2641108" cy="4685982"/>
          </a:xfrm>
          <a:prstGeom prst="roundRect">
            <a:avLst>
              <a:gd name="adj" fmla="val 955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da-DK" sz="1400" b="1">
                <a:solidFill>
                  <a:schemeClr val="accent1"/>
                </a:solidFill>
                <a:latin typeface="Verdana"/>
                <a:ea typeface="Verdana"/>
              </a:rPr>
              <a:t>Partnere</a:t>
            </a:r>
            <a:endParaRPr lang="da-DK" sz="1400" b="1">
              <a:solidFill>
                <a:schemeClr val="accent1"/>
              </a:solidFill>
            </a:endParaRPr>
          </a:p>
        </p:txBody>
      </p:sp>
      <p:pic>
        <p:nvPicPr>
          <p:cNvPr id="90" name="Grafik 8">
            <a:extLst>
              <a:ext uri="{FF2B5EF4-FFF2-40B4-BE49-F238E27FC236}">
                <a16:creationId xmlns:a16="http://schemas.microsoft.com/office/drawing/2014/main" id="{832172AB-AC87-4C4B-B426-E61A7D2F757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9695223" y="2127700"/>
            <a:ext cx="1632446" cy="918251"/>
          </a:xfrm>
          <a:prstGeom prst="rect">
            <a:avLst/>
          </a:prstGeom>
        </p:spPr>
      </p:pic>
      <p:pic>
        <p:nvPicPr>
          <p:cNvPr id="91" name="Billede 11" descr="Et billede, der indeholder Font/skrifttype, Grafik, skærmbillede, grafisk design&#10;&#10;Automatisk genereret beskrivelse">
            <a:extLst>
              <a:ext uri="{FF2B5EF4-FFF2-40B4-BE49-F238E27FC236}">
                <a16:creationId xmlns:a16="http://schemas.microsoft.com/office/drawing/2014/main" id="{9BE204F0-B76A-4BF5-A233-AB64ACC44F51}"/>
              </a:ext>
            </a:extLst>
          </p:cNvPr>
          <p:cNvPicPr>
            <a:picLocks noChangeAspect="1"/>
          </p:cNvPicPr>
          <p:nvPr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1549" y="3419196"/>
            <a:ext cx="1159795" cy="685815"/>
          </a:xfrm>
          <a:prstGeom prst="rect">
            <a:avLst/>
          </a:prstGeom>
        </p:spPr>
      </p:pic>
      <p:pic>
        <p:nvPicPr>
          <p:cNvPr id="92" name="Billede 17">
            <a:extLst>
              <a:ext uri="{FF2B5EF4-FFF2-40B4-BE49-F238E27FC236}">
                <a16:creationId xmlns:a16="http://schemas.microsoft.com/office/drawing/2014/main" id="{580D51BB-9738-4244-9903-6280469B77F9}"/>
              </a:ext>
            </a:extLst>
          </p:cNvPr>
          <p:cNvPicPr>
            <a:picLocks noChangeAspect="1"/>
          </p:cNvPicPr>
          <p:nvPr/>
        </p:nvPicPr>
        <p:blipFill>
          <a:blip r:embed="rId2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1549" y="4478256"/>
            <a:ext cx="1159795" cy="800647"/>
          </a:xfrm>
          <a:prstGeom prst="rect">
            <a:avLst/>
          </a:prstGeom>
        </p:spPr>
      </p:pic>
      <p:pic>
        <p:nvPicPr>
          <p:cNvPr id="93" name="Billede 24" descr="Et billede, der indeholder Font/skrifttype, Grafik, grafisk design, logo&#10;&#10;Automatisk genereret beskrivelse">
            <a:extLst>
              <a:ext uri="{FF2B5EF4-FFF2-40B4-BE49-F238E27FC236}">
                <a16:creationId xmlns:a16="http://schemas.microsoft.com/office/drawing/2014/main" id="{AFF0C985-E2B4-40F3-BE04-899B074C34CD}"/>
              </a:ext>
            </a:extLst>
          </p:cNvPr>
          <p:cNvPicPr>
            <a:picLocks noChangeAspect="1"/>
          </p:cNvPicPr>
          <p:nvPr/>
        </p:nvPicPr>
        <p:blipFill>
          <a:blip r:embed="rId2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5611" y="5652148"/>
            <a:ext cx="1711671" cy="433974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858B3417-010F-3310-7D1D-A00601AC97C8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 flipH="1" flipV="1">
            <a:off x="153733" y="1600463"/>
            <a:ext cx="2050424" cy="1386577"/>
          </a:xfrm>
          <a:prstGeom prst="rect">
            <a:avLst/>
          </a:prstGeom>
        </p:spPr>
      </p:pic>
      <p:sp>
        <p:nvSpPr>
          <p:cNvPr id="4" name="Freeform: Shape 3">
            <a:extLst>
              <a:ext uri="{FF2B5EF4-FFF2-40B4-BE49-F238E27FC236}">
                <a16:creationId xmlns:a16="http://schemas.microsoft.com/office/drawing/2014/main" id="{17DEC962-275C-4C16-B2D1-9DE49A0565BB}"/>
              </a:ext>
            </a:extLst>
          </p:cNvPr>
          <p:cNvSpPr/>
          <p:nvPr/>
        </p:nvSpPr>
        <p:spPr>
          <a:xfrm>
            <a:off x="3781425" y="2468099"/>
            <a:ext cx="5314950" cy="42227"/>
          </a:xfrm>
          <a:custGeom>
            <a:avLst/>
            <a:gdLst>
              <a:gd name="connsiteX0" fmla="*/ 0 w 5314950"/>
              <a:gd name="connsiteY0" fmla="*/ 19050 h 42227"/>
              <a:gd name="connsiteX1" fmla="*/ 0 w 5314950"/>
              <a:gd name="connsiteY1" fmla="*/ 19050 h 42227"/>
              <a:gd name="connsiteX2" fmla="*/ 1762125 w 5314950"/>
              <a:gd name="connsiteY2" fmla="*/ 19050 h 42227"/>
              <a:gd name="connsiteX3" fmla="*/ 4772025 w 5314950"/>
              <a:gd name="connsiteY3" fmla="*/ 28575 h 42227"/>
              <a:gd name="connsiteX4" fmla="*/ 5019675 w 5314950"/>
              <a:gd name="connsiteY4" fmla="*/ 19050 h 42227"/>
              <a:gd name="connsiteX5" fmla="*/ 5133975 w 5314950"/>
              <a:gd name="connsiteY5" fmla="*/ 9525 h 42227"/>
              <a:gd name="connsiteX6" fmla="*/ 5314950 w 5314950"/>
              <a:gd name="connsiteY6" fmla="*/ 0 h 42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4950" h="42227">
                <a:moveTo>
                  <a:pt x="0" y="19050"/>
                </a:moveTo>
                <a:lnTo>
                  <a:pt x="0" y="19050"/>
                </a:lnTo>
                <a:cubicBezTo>
                  <a:pt x="677949" y="71200"/>
                  <a:pt x="-44525" y="19050"/>
                  <a:pt x="1762125" y="19050"/>
                </a:cubicBezTo>
                <a:lnTo>
                  <a:pt x="4772025" y="28575"/>
                </a:lnTo>
                <a:lnTo>
                  <a:pt x="5019675" y="19050"/>
                </a:lnTo>
                <a:cubicBezTo>
                  <a:pt x="5057854" y="17041"/>
                  <a:pt x="5095822" y="11986"/>
                  <a:pt x="5133975" y="9525"/>
                </a:cubicBezTo>
                <a:cubicBezTo>
                  <a:pt x="5194258" y="5636"/>
                  <a:pt x="5314950" y="0"/>
                  <a:pt x="5314950" y="0"/>
                </a:cubicBezTo>
              </a:path>
            </a:pathLst>
          </a:cu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F06E0613-FAD0-477F-9DD7-485EA781E8EF}"/>
              </a:ext>
            </a:extLst>
          </p:cNvPr>
          <p:cNvSpPr/>
          <p:nvPr/>
        </p:nvSpPr>
        <p:spPr>
          <a:xfrm>
            <a:off x="3781425" y="3431280"/>
            <a:ext cx="5314950" cy="42227"/>
          </a:xfrm>
          <a:custGeom>
            <a:avLst/>
            <a:gdLst>
              <a:gd name="connsiteX0" fmla="*/ 0 w 5314950"/>
              <a:gd name="connsiteY0" fmla="*/ 19050 h 42227"/>
              <a:gd name="connsiteX1" fmla="*/ 0 w 5314950"/>
              <a:gd name="connsiteY1" fmla="*/ 19050 h 42227"/>
              <a:gd name="connsiteX2" fmla="*/ 1762125 w 5314950"/>
              <a:gd name="connsiteY2" fmla="*/ 19050 h 42227"/>
              <a:gd name="connsiteX3" fmla="*/ 4772025 w 5314950"/>
              <a:gd name="connsiteY3" fmla="*/ 28575 h 42227"/>
              <a:gd name="connsiteX4" fmla="*/ 5019675 w 5314950"/>
              <a:gd name="connsiteY4" fmla="*/ 19050 h 42227"/>
              <a:gd name="connsiteX5" fmla="*/ 5133975 w 5314950"/>
              <a:gd name="connsiteY5" fmla="*/ 9525 h 42227"/>
              <a:gd name="connsiteX6" fmla="*/ 5314950 w 5314950"/>
              <a:gd name="connsiteY6" fmla="*/ 0 h 42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4950" h="42227">
                <a:moveTo>
                  <a:pt x="0" y="19050"/>
                </a:moveTo>
                <a:lnTo>
                  <a:pt x="0" y="19050"/>
                </a:lnTo>
                <a:cubicBezTo>
                  <a:pt x="677949" y="71200"/>
                  <a:pt x="-44525" y="19050"/>
                  <a:pt x="1762125" y="19050"/>
                </a:cubicBezTo>
                <a:lnTo>
                  <a:pt x="4772025" y="28575"/>
                </a:lnTo>
                <a:lnTo>
                  <a:pt x="5019675" y="19050"/>
                </a:lnTo>
                <a:cubicBezTo>
                  <a:pt x="5057854" y="17041"/>
                  <a:pt x="5095822" y="11986"/>
                  <a:pt x="5133975" y="9525"/>
                </a:cubicBezTo>
                <a:cubicBezTo>
                  <a:pt x="5194258" y="5636"/>
                  <a:pt x="5314950" y="0"/>
                  <a:pt x="5314950" y="0"/>
                </a:cubicBezTo>
              </a:path>
            </a:pathLst>
          </a:cu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939CFFE5-5B5F-4F0F-998F-F5E92EA3B30C}"/>
              </a:ext>
            </a:extLst>
          </p:cNvPr>
          <p:cNvSpPr/>
          <p:nvPr/>
        </p:nvSpPr>
        <p:spPr>
          <a:xfrm>
            <a:off x="3781425" y="4394461"/>
            <a:ext cx="5314950" cy="42227"/>
          </a:xfrm>
          <a:custGeom>
            <a:avLst/>
            <a:gdLst>
              <a:gd name="connsiteX0" fmla="*/ 0 w 5314950"/>
              <a:gd name="connsiteY0" fmla="*/ 19050 h 42227"/>
              <a:gd name="connsiteX1" fmla="*/ 0 w 5314950"/>
              <a:gd name="connsiteY1" fmla="*/ 19050 h 42227"/>
              <a:gd name="connsiteX2" fmla="*/ 1762125 w 5314950"/>
              <a:gd name="connsiteY2" fmla="*/ 19050 h 42227"/>
              <a:gd name="connsiteX3" fmla="*/ 4772025 w 5314950"/>
              <a:gd name="connsiteY3" fmla="*/ 28575 h 42227"/>
              <a:gd name="connsiteX4" fmla="*/ 5019675 w 5314950"/>
              <a:gd name="connsiteY4" fmla="*/ 19050 h 42227"/>
              <a:gd name="connsiteX5" fmla="*/ 5133975 w 5314950"/>
              <a:gd name="connsiteY5" fmla="*/ 9525 h 42227"/>
              <a:gd name="connsiteX6" fmla="*/ 5314950 w 5314950"/>
              <a:gd name="connsiteY6" fmla="*/ 0 h 42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4950" h="42227">
                <a:moveTo>
                  <a:pt x="0" y="19050"/>
                </a:moveTo>
                <a:lnTo>
                  <a:pt x="0" y="19050"/>
                </a:lnTo>
                <a:cubicBezTo>
                  <a:pt x="677949" y="71200"/>
                  <a:pt x="-44525" y="19050"/>
                  <a:pt x="1762125" y="19050"/>
                </a:cubicBezTo>
                <a:lnTo>
                  <a:pt x="4772025" y="28575"/>
                </a:lnTo>
                <a:lnTo>
                  <a:pt x="5019675" y="19050"/>
                </a:lnTo>
                <a:cubicBezTo>
                  <a:pt x="5057854" y="17041"/>
                  <a:pt x="5095822" y="11986"/>
                  <a:pt x="5133975" y="9525"/>
                </a:cubicBezTo>
                <a:cubicBezTo>
                  <a:pt x="5194258" y="5636"/>
                  <a:pt x="5314950" y="0"/>
                  <a:pt x="5314950" y="0"/>
                </a:cubicBezTo>
              </a:path>
            </a:pathLst>
          </a:cu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C51C8592-351E-42E3-BF67-50B149F621E3}"/>
              </a:ext>
            </a:extLst>
          </p:cNvPr>
          <p:cNvSpPr/>
          <p:nvPr/>
        </p:nvSpPr>
        <p:spPr>
          <a:xfrm>
            <a:off x="3781425" y="5357642"/>
            <a:ext cx="5314950" cy="42227"/>
          </a:xfrm>
          <a:custGeom>
            <a:avLst/>
            <a:gdLst>
              <a:gd name="connsiteX0" fmla="*/ 0 w 5314950"/>
              <a:gd name="connsiteY0" fmla="*/ 19050 h 42227"/>
              <a:gd name="connsiteX1" fmla="*/ 0 w 5314950"/>
              <a:gd name="connsiteY1" fmla="*/ 19050 h 42227"/>
              <a:gd name="connsiteX2" fmla="*/ 1762125 w 5314950"/>
              <a:gd name="connsiteY2" fmla="*/ 19050 h 42227"/>
              <a:gd name="connsiteX3" fmla="*/ 4772025 w 5314950"/>
              <a:gd name="connsiteY3" fmla="*/ 28575 h 42227"/>
              <a:gd name="connsiteX4" fmla="*/ 5019675 w 5314950"/>
              <a:gd name="connsiteY4" fmla="*/ 19050 h 42227"/>
              <a:gd name="connsiteX5" fmla="*/ 5133975 w 5314950"/>
              <a:gd name="connsiteY5" fmla="*/ 9525 h 42227"/>
              <a:gd name="connsiteX6" fmla="*/ 5314950 w 5314950"/>
              <a:gd name="connsiteY6" fmla="*/ 0 h 42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14950" h="42227">
                <a:moveTo>
                  <a:pt x="0" y="19050"/>
                </a:moveTo>
                <a:lnTo>
                  <a:pt x="0" y="19050"/>
                </a:lnTo>
                <a:cubicBezTo>
                  <a:pt x="677949" y="71200"/>
                  <a:pt x="-44525" y="19050"/>
                  <a:pt x="1762125" y="19050"/>
                </a:cubicBezTo>
                <a:lnTo>
                  <a:pt x="4772025" y="28575"/>
                </a:lnTo>
                <a:lnTo>
                  <a:pt x="5019675" y="19050"/>
                </a:lnTo>
                <a:cubicBezTo>
                  <a:pt x="5057854" y="17041"/>
                  <a:pt x="5095822" y="11986"/>
                  <a:pt x="5133975" y="9525"/>
                </a:cubicBezTo>
                <a:cubicBezTo>
                  <a:pt x="5194258" y="5636"/>
                  <a:pt x="5314950" y="0"/>
                  <a:pt x="5314950" y="0"/>
                </a:cubicBezTo>
              </a:path>
            </a:pathLst>
          </a:cu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22918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C77463-25D4-3D40-3705-92758E0386C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B8C3478-4073-3070-2463-5CC158D065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B8C3478-4073-3070-2463-5CC158D065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5601A6-F987-94BD-E8B0-EEB8A9BF49D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1474" y="1813714"/>
            <a:ext cx="5491810" cy="2272511"/>
          </a:xfrm>
        </p:spPr>
        <p:txBody>
          <a:bodyPr/>
          <a:lstStyle/>
          <a:p>
            <a:r>
              <a:rPr lang="da-DK" dirty="0"/>
              <a:t>Tak for i dag</a:t>
            </a:r>
          </a:p>
        </p:txBody>
      </p:sp>
    </p:spTree>
    <p:extLst>
      <p:ext uri="{BB962C8B-B14F-4D97-AF65-F5344CB8AC3E}">
        <p14:creationId xmlns:p14="http://schemas.microsoft.com/office/powerpoint/2010/main" val="21197043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5DD5ACCE-3D98-C505-179D-9B76A4B7B2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8627941-79D2-578B-DDA2-5615361410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627941-79D2-578B-DDA2-5615361410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63476E3E-28B3-F1FD-CE33-1F2AFCD35A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 dirty="0"/>
              <a:t>Titel, DM Sans </a:t>
            </a:r>
            <a:r>
              <a:rPr lang="da-DK" dirty="0" err="1"/>
              <a:t>ExtraBold</a:t>
            </a:r>
            <a:r>
              <a:rPr lang="da-DK" dirty="0"/>
              <a:t>, 36 </a:t>
            </a:r>
            <a:r>
              <a:rPr lang="da-DK" dirty="0" err="1"/>
              <a:t>pkt</a:t>
            </a:r>
            <a:endParaRPr lang="da-DK" dirty="0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3F398A42-ED66-0EDB-1D0B-BF12A47406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000" y="1590993"/>
            <a:ext cx="11472000" cy="4685982"/>
          </a:xfrm>
        </p:spPr>
        <p:txBody>
          <a:bodyPr/>
          <a:lstStyle/>
          <a:p>
            <a:pPr lvl="0"/>
            <a:r>
              <a:rPr lang="da-DK" dirty="0"/>
              <a:t>Klik for at redigere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03F1B1F-2073-8BDB-32DF-DA0498B9FF0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5</a:t>
            </a:fld>
            <a:endParaRPr lang="da-DK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6A0D93D-EA89-753A-AB21-B4942475121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999129" y="6406294"/>
            <a:ext cx="9269506" cy="325752"/>
          </a:xfrm>
        </p:spPr>
        <p:txBody>
          <a:bodyPr/>
          <a:lstStyle/>
          <a:p>
            <a:r>
              <a:rPr lang="da-DK" dirty="0"/>
              <a:t>Sidefod, </a:t>
            </a:r>
            <a:r>
              <a:rPr lang="da-DK" dirty="0" err="1"/>
              <a:t>Verdana</a:t>
            </a:r>
            <a:r>
              <a:rPr lang="da-DK" dirty="0"/>
              <a:t>, 10 </a:t>
            </a:r>
            <a:r>
              <a:rPr lang="da-DK" dirty="0" err="1"/>
              <a:t>pts</a:t>
            </a:r>
            <a:endParaRPr lang="da-DK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131F726-D8C8-FE1A-1DA6-D2902746B8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445510"/>
          </a:xfrm>
        </p:spPr>
        <p:txBody>
          <a:bodyPr/>
          <a:lstStyle/>
          <a:p>
            <a:r>
              <a:rPr lang="da-DK" dirty="0"/>
              <a:t>Underoverskrift, DM Sans, 26 </a:t>
            </a:r>
            <a:r>
              <a:rPr lang="da-DK" dirty="0" err="1"/>
              <a:t>pkt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012461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24A8C6C8-6946-C158-F45A-543368B561C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49A30CD-DDE2-9716-F6FD-C9398A6148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49A30CD-DDE2-9716-F6FD-C9398A6148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>
            <a:extLst>
              <a:ext uri="{FF2B5EF4-FFF2-40B4-BE49-F238E27FC236}">
                <a16:creationId xmlns:a16="http://schemas.microsoft.com/office/drawing/2014/main" id="{116D07EB-BA41-BF4E-EC42-855D27881C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 dirty="0"/>
              <a:t>Titel, DM Sans </a:t>
            </a:r>
            <a:r>
              <a:rPr lang="da-DK" dirty="0" err="1"/>
              <a:t>ExtraBold</a:t>
            </a:r>
            <a:r>
              <a:rPr lang="da-DK" dirty="0"/>
              <a:t>, 36 </a:t>
            </a:r>
            <a:r>
              <a:rPr lang="da-DK" dirty="0" err="1"/>
              <a:t>pkt</a:t>
            </a:r>
            <a:endParaRPr lang="da-DK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A7E94BC-4DB5-EB8D-FA25-14BA6B0C33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000" y="1591200"/>
            <a:ext cx="11472000" cy="4379450"/>
          </a:xfrm>
        </p:spPr>
        <p:txBody>
          <a:bodyPr vert="horz" lIns="0" tIns="45720" rIns="91440" bIns="45720" rtlCol="0" anchor="t">
            <a:normAutofit/>
          </a:bodyPr>
          <a:lstStyle/>
          <a:p>
            <a:r>
              <a:rPr lang="da-DK" dirty="0">
                <a:latin typeface="Verdana"/>
                <a:ea typeface="Verdana"/>
              </a:rPr>
              <a:t>Klik for at redigere</a:t>
            </a:r>
          </a:p>
          <a:p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0AE1EBF-FEEB-A213-25B7-22A0ABB2F5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16</a:t>
            </a:fld>
            <a:endParaRPr lang="da-DK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95B9140-1438-3222-143E-3AE4C25C3D1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999129" y="6406294"/>
            <a:ext cx="9269506" cy="325752"/>
          </a:xfrm>
        </p:spPr>
        <p:txBody>
          <a:bodyPr/>
          <a:lstStyle/>
          <a:p>
            <a:r>
              <a:rPr lang="da-DK" dirty="0"/>
              <a:t>Sidefod, </a:t>
            </a:r>
            <a:r>
              <a:rPr lang="da-DK" dirty="0" err="1"/>
              <a:t>Verdana</a:t>
            </a:r>
            <a:r>
              <a:rPr lang="da-DK" dirty="0"/>
              <a:t>, 10 </a:t>
            </a:r>
            <a:r>
              <a:rPr lang="da-DK" dirty="0" err="1"/>
              <a:t>pts</a:t>
            </a:r>
            <a:endParaRPr lang="da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9AD4AF-531B-6CEB-D613-8198F4E3B6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445510"/>
          </a:xfrm>
        </p:spPr>
        <p:txBody>
          <a:bodyPr/>
          <a:lstStyle/>
          <a:p>
            <a:r>
              <a:rPr lang="da-DK" dirty="0"/>
              <a:t>Underoverskrift, DM Sans, 26 </a:t>
            </a:r>
            <a:r>
              <a:rPr lang="da-DK" dirty="0" err="1"/>
              <a:t>pkt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022586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18BADE2-B61B-D72C-8862-2F5CC8A5E7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8BADE2-B61B-D72C-8862-2F5CC8A5E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DF3FF7-ADC3-1C69-4A86-8F4D9FA27B0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1474" y="1813714"/>
            <a:ext cx="5491810" cy="2272511"/>
          </a:xfrm>
        </p:spPr>
        <p:txBody>
          <a:bodyPr/>
          <a:lstStyle/>
          <a:p>
            <a:r>
              <a:rPr lang="da-DK" dirty="0"/>
              <a:t>Ekstra ‘skilleblad’ DM Sans </a:t>
            </a:r>
            <a:r>
              <a:rPr lang="da-DK" dirty="0" err="1"/>
              <a:t>ExtraBold</a:t>
            </a:r>
            <a:r>
              <a:rPr lang="da-DK" dirty="0"/>
              <a:t>, 44 </a:t>
            </a:r>
            <a:r>
              <a:rPr lang="da-DK" dirty="0" err="1"/>
              <a:t>pkt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401939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083B6E8-FBA7-0B3A-1CB8-4F901A2E24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083B6E8-FBA7-0B3A-1CB8-4F901A2E24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 descr="A cartoon of people outside a house&#10;&#10;Description automatically generated">
            <a:extLst>
              <a:ext uri="{FF2B5EF4-FFF2-40B4-BE49-F238E27FC236}">
                <a16:creationId xmlns:a16="http://schemas.microsoft.com/office/drawing/2014/main" id="{3842B810-2845-B36A-129B-2F1AB93F6345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" y="236050"/>
            <a:ext cx="11353800" cy="639485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952797-8261-DEB3-2350-EB7B00D66D8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A814B08-8399-43E7-AAE4-68AF4906CF08}" type="slidenum">
              <a:rPr lang="da-DK" smtClean="0"/>
              <a:pPr/>
              <a:t>18</a:t>
            </a:fld>
            <a:endParaRPr lang="da-DK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E41273A-9EEC-925A-F68D-2CBAF57DC06A}"/>
              </a:ext>
            </a:extLst>
          </p:cNvPr>
          <p:cNvSpPr/>
          <p:nvPr/>
        </p:nvSpPr>
        <p:spPr>
          <a:xfrm>
            <a:off x="1" y="76200"/>
            <a:ext cx="12191999" cy="6790751"/>
          </a:xfrm>
          <a:prstGeom prst="rect">
            <a:avLst/>
          </a:prstGeom>
          <a:solidFill>
            <a:srgbClr val="F2F6F6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49AD20-5822-7A9F-7187-FB88619F0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Nyt</a:t>
            </a:r>
            <a:r>
              <a:rPr lang="en-US" dirty="0"/>
              <a:t> slide med </a:t>
            </a:r>
            <a:r>
              <a:rPr lang="en-US" dirty="0" err="1"/>
              <a:t>stor</a:t>
            </a:r>
            <a:r>
              <a:rPr lang="en-US" dirty="0"/>
              <a:t>, </a:t>
            </a:r>
            <a:r>
              <a:rPr lang="en-US" dirty="0" err="1"/>
              <a:t>nedtonet</a:t>
            </a:r>
            <a:r>
              <a:rPr lang="en-US" dirty="0"/>
              <a:t> illustration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94F7F89-D2CD-6941-9D0B-AFC865C58D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7FC49CA-D82B-AA38-BF8D-32EF4691BA9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924D3BE6-CCBC-1799-737A-4E327D39D9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948" y="6455194"/>
            <a:ext cx="1421174" cy="227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 Placeholder 15">
            <a:extLst>
              <a:ext uri="{FF2B5EF4-FFF2-40B4-BE49-F238E27FC236}">
                <a16:creationId xmlns:a16="http://schemas.microsoft.com/office/drawing/2014/main" id="{5FD2C01A-747F-72BE-B92F-5EAEEECCEEE8}"/>
              </a:ext>
            </a:extLst>
          </p:cNvPr>
          <p:cNvSpPr txBox="1">
            <a:spLocks/>
          </p:cNvSpPr>
          <p:nvPr/>
        </p:nvSpPr>
        <p:spPr>
          <a:xfrm>
            <a:off x="11425238" y="6406294"/>
            <a:ext cx="406761" cy="325752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DK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A814B08-8399-43E7-AAE4-68AF4906CF08}" type="slidenum">
              <a:rPr lang="da-DK" smtClean="0"/>
              <a:pPr/>
              <a:t>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548287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18850BC9-E5B4-0CA9-D1F3-C7D0EC959C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CA39EF0-E328-7D0D-D556-36509F8D52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A39EF0-E328-7D0D-D556-36509F8D52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4C6C9F63-516E-D1C3-6196-E049CD78D7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Illustrationer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brug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nye slid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4B30736-3448-8EDE-C521-23A586D58FB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" name="Picture 1" descr="A group of people outside a building&#10;&#10;Description automatically generated">
            <a:extLst>
              <a:ext uri="{FF2B5EF4-FFF2-40B4-BE49-F238E27FC236}">
                <a16:creationId xmlns:a16="http://schemas.microsoft.com/office/drawing/2014/main" id="{05BFC33B-5AA7-DBDA-3629-F383E01C62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000" y="0"/>
            <a:ext cx="6477000" cy="685800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D25E8735-9EF1-0875-445C-0D8A5B4CEB8F}"/>
              </a:ext>
            </a:extLst>
          </p:cNvPr>
          <p:cNvGrpSpPr/>
          <p:nvPr/>
        </p:nvGrpSpPr>
        <p:grpSpPr>
          <a:xfrm>
            <a:off x="596926" y="2569834"/>
            <a:ext cx="3886174" cy="3488182"/>
            <a:chOff x="596926" y="2201746"/>
            <a:chExt cx="4296260" cy="3856270"/>
          </a:xfrm>
        </p:grpSpPr>
        <p:sp>
          <p:nvSpPr>
            <p:cNvPr id="3" name="Graphic 5">
              <a:extLst>
                <a:ext uri="{FF2B5EF4-FFF2-40B4-BE49-F238E27FC236}">
                  <a16:creationId xmlns:a16="http://schemas.microsoft.com/office/drawing/2014/main" id="{72142AF5-7A07-84CD-926E-42DBE78FFE03}"/>
                </a:ext>
              </a:extLst>
            </p:cNvPr>
            <p:cNvSpPr/>
            <p:nvPr/>
          </p:nvSpPr>
          <p:spPr>
            <a:xfrm>
              <a:off x="2825040" y="3973285"/>
              <a:ext cx="2068146" cy="2053427"/>
            </a:xfrm>
            <a:custGeom>
              <a:avLst/>
              <a:gdLst>
                <a:gd name="connsiteX0" fmla="*/ 1540115 w 2068146"/>
                <a:gd name="connsiteY0" fmla="*/ 109518 h 2053427"/>
                <a:gd name="connsiteX1" fmla="*/ 882859 w 2068146"/>
                <a:gd name="connsiteY1" fmla="*/ 6187 h 2053427"/>
                <a:gd name="connsiteX2" fmla="*/ 356860 w 2068146"/>
                <a:gd name="connsiteY2" fmla="*/ 272246 h 2053427"/>
                <a:gd name="connsiteX3" fmla="*/ 54805 w 2068146"/>
                <a:gd name="connsiteY3" fmla="*/ 861064 h 2053427"/>
                <a:gd name="connsiteX4" fmla="*/ 147251 w 2068146"/>
                <a:gd name="connsiteY4" fmla="*/ 1440064 h 2053427"/>
                <a:gd name="connsiteX5" fmla="*/ 617883 w 2068146"/>
                <a:gd name="connsiteY5" fmla="*/ 1907386 h 2053427"/>
                <a:gd name="connsiteX6" fmla="*/ 1200983 w 2068146"/>
                <a:gd name="connsiteY6" fmla="*/ 1999181 h 2053427"/>
                <a:gd name="connsiteX7" fmla="*/ 1793969 w 2068146"/>
                <a:gd name="connsiteY7" fmla="*/ 1699250 h 2053427"/>
                <a:gd name="connsiteX8" fmla="*/ 2061914 w 2068146"/>
                <a:gd name="connsiteY8" fmla="*/ 1176950 h 2053427"/>
                <a:gd name="connsiteX9" fmla="*/ 1957854 w 2068146"/>
                <a:gd name="connsiteY9" fmla="*/ 524316 h 2053427"/>
                <a:gd name="connsiteX10" fmla="*/ 1540366 w 2068146"/>
                <a:gd name="connsiteY10" fmla="*/ 109763 h 2053427"/>
                <a:gd name="connsiteX11" fmla="*/ 1540115 w 2068146"/>
                <a:gd name="connsiteY11" fmla="*/ 109518 h 20534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068146" h="2053427">
                  <a:moveTo>
                    <a:pt x="1540115" y="109518"/>
                  </a:moveTo>
                  <a:lnTo>
                    <a:pt x="882859" y="6187"/>
                  </a:lnTo>
                  <a:cubicBezTo>
                    <a:pt x="668061" y="-27684"/>
                    <a:pt x="455732" y="79820"/>
                    <a:pt x="356860" y="272246"/>
                  </a:cubicBezTo>
                  <a:lnTo>
                    <a:pt x="54805" y="861064"/>
                  </a:lnTo>
                  <a:cubicBezTo>
                    <a:pt x="-44068" y="1053492"/>
                    <a:pt x="-6743" y="1287396"/>
                    <a:pt x="147251" y="1440064"/>
                  </a:cubicBezTo>
                  <a:lnTo>
                    <a:pt x="617883" y="1907386"/>
                  </a:lnTo>
                  <a:cubicBezTo>
                    <a:pt x="771631" y="2060049"/>
                    <a:pt x="1007193" y="2097111"/>
                    <a:pt x="1200983" y="1999181"/>
                  </a:cubicBezTo>
                  <a:lnTo>
                    <a:pt x="1793969" y="1699250"/>
                  </a:lnTo>
                  <a:cubicBezTo>
                    <a:pt x="1987764" y="1601069"/>
                    <a:pt x="2096029" y="1390235"/>
                    <a:pt x="2061914" y="1176950"/>
                  </a:cubicBezTo>
                  <a:lnTo>
                    <a:pt x="1957854" y="524316"/>
                  </a:lnTo>
                  <a:cubicBezTo>
                    <a:pt x="1923739" y="311026"/>
                    <a:pt x="1755409" y="143634"/>
                    <a:pt x="1540366" y="109763"/>
                  </a:cubicBezTo>
                  <a:lnTo>
                    <a:pt x="1540115" y="109518"/>
                  </a:lnTo>
                  <a:close/>
                </a:path>
              </a:pathLst>
            </a:custGeom>
            <a:solidFill>
              <a:srgbClr val="51597F">
                <a:alpha val="89804"/>
              </a:srgbClr>
            </a:solidFill>
            <a:ln w="5206" cap="flat">
              <a:noFill/>
              <a:prstDash val="solid"/>
              <a:miter/>
            </a:ln>
          </p:spPr>
          <p:txBody>
            <a:bodyPr rtlCol="0" anchor="t"/>
            <a:lstStyle/>
            <a:p>
              <a:pPr algn="ctr"/>
              <a:r>
                <a:rPr kumimoji="0" lang="en-GB" sz="3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>
                      <a:lumMod val="10000"/>
                      <a:lumOff val="90000"/>
                    </a:schemeClr>
                  </a:solidFill>
                  <a:effectLst/>
                  <a:uLnTx/>
                  <a:uFillTx/>
                  <a:latin typeface="DM Sans 14pt ExtraBold"/>
                  <a:ea typeface="+mn-ea"/>
                  <a:cs typeface="+mn-cs"/>
                </a:rPr>
                <a:t>G</a:t>
              </a:r>
              <a:endParaRPr lang="en-GB" dirty="0">
                <a:solidFill>
                  <a:schemeClr val="tx2">
                    <a:lumMod val="10000"/>
                    <a:lumOff val="90000"/>
                  </a:schemeClr>
                </a:solidFill>
              </a:endParaRPr>
            </a:p>
          </p:txBody>
        </p:sp>
        <p:sp>
          <p:nvSpPr>
            <p:cNvPr id="4" name="Graphic 7">
              <a:extLst>
                <a:ext uri="{FF2B5EF4-FFF2-40B4-BE49-F238E27FC236}">
                  <a16:creationId xmlns:a16="http://schemas.microsoft.com/office/drawing/2014/main" id="{3A1928EB-47B9-5310-B337-C50102E58194}"/>
                </a:ext>
              </a:extLst>
            </p:cNvPr>
            <p:cNvSpPr/>
            <p:nvPr/>
          </p:nvSpPr>
          <p:spPr>
            <a:xfrm>
              <a:off x="1708935" y="2201746"/>
              <a:ext cx="2149254" cy="2149255"/>
            </a:xfrm>
            <a:custGeom>
              <a:avLst/>
              <a:gdLst>
                <a:gd name="connsiteX0" fmla="*/ 1999914 w 2149254"/>
                <a:gd name="connsiteY0" fmla="*/ 714081 h 2149255"/>
                <a:gd name="connsiteX1" fmla="*/ 1435173 w 2149254"/>
                <a:gd name="connsiteY1" fmla="*/ 149343 h 2149255"/>
                <a:gd name="connsiteX2" fmla="*/ 714080 w 2149254"/>
                <a:gd name="connsiteY2" fmla="*/ 149343 h 2149255"/>
                <a:gd name="connsiteX3" fmla="*/ 149344 w 2149254"/>
                <a:gd name="connsiteY3" fmla="*/ 714081 h 2149255"/>
                <a:gd name="connsiteX4" fmla="*/ 149344 w 2149254"/>
                <a:gd name="connsiteY4" fmla="*/ 1435174 h 2149255"/>
                <a:gd name="connsiteX5" fmla="*/ 714080 w 2149254"/>
                <a:gd name="connsiteY5" fmla="*/ 1999915 h 2149255"/>
                <a:gd name="connsiteX6" fmla="*/ 1435173 w 2149254"/>
                <a:gd name="connsiteY6" fmla="*/ 1999915 h 2149255"/>
                <a:gd name="connsiteX7" fmla="*/ 1999914 w 2149254"/>
                <a:gd name="connsiteY7" fmla="*/ 1435174 h 2149255"/>
                <a:gd name="connsiteX8" fmla="*/ 1999914 w 2149254"/>
                <a:gd name="connsiteY8" fmla="*/ 714081 h 21492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49254" h="2149255">
                  <a:moveTo>
                    <a:pt x="1999914" y="714081"/>
                  </a:moveTo>
                  <a:lnTo>
                    <a:pt x="1435173" y="149343"/>
                  </a:lnTo>
                  <a:cubicBezTo>
                    <a:pt x="1236052" y="-49781"/>
                    <a:pt x="913207" y="-49781"/>
                    <a:pt x="714080" y="149343"/>
                  </a:cubicBezTo>
                  <a:lnTo>
                    <a:pt x="149344" y="714081"/>
                  </a:lnTo>
                  <a:cubicBezTo>
                    <a:pt x="-49781" y="913208"/>
                    <a:pt x="-49781" y="1236053"/>
                    <a:pt x="149344" y="1435174"/>
                  </a:cubicBezTo>
                  <a:lnTo>
                    <a:pt x="714080" y="1999915"/>
                  </a:lnTo>
                  <a:cubicBezTo>
                    <a:pt x="913207" y="2199036"/>
                    <a:pt x="1236052" y="2199036"/>
                    <a:pt x="1435173" y="1999915"/>
                  </a:cubicBezTo>
                  <a:lnTo>
                    <a:pt x="1999914" y="1435174"/>
                  </a:lnTo>
                  <a:cubicBezTo>
                    <a:pt x="2199035" y="1236053"/>
                    <a:pt x="2199035" y="913208"/>
                    <a:pt x="1999914" y="714081"/>
                  </a:cubicBezTo>
                  <a:close/>
                </a:path>
              </a:pathLst>
            </a:custGeom>
            <a:solidFill>
              <a:srgbClr val="339C91">
                <a:alpha val="90000"/>
              </a:srgbClr>
            </a:solidFill>
            <a:ln w="5212" cap="flat">
              <a:noFill/>
              <a:prstDash val="solid"/>
              <a:miter/>
            </a:ln>
          </p:spPr>
          <p:txBody>
            <a:bodyPr rtlCol="0" anchor="t"/>
            <a:lstStyle/>
            <a:p>
              <a:pPr algn="ctr"/>
              <a:r>
                <a:rPr lang="en-GB" sz="3600" dirty="0">
                  <a:solidFill>
                    <a:schemeClr val="accent2">
                      <a:lumMod val="20000"/>
                      <a:lumOff val="80000"/>
                    </a:schemeClr>
                  </a:solidFill>
                  <a:latin typeface="+mj-lt"/>
                </a:rPr>
                <a:t>E</a:t>
              </a:r>
              <a:endParaRPr lang="en-GB" dirty="0">
                <a:solidFill>
                  <a:schemeClr val="accent2">
                    <a:lumMod val="20000"/>
                    <a:lumOff val="80000"/>
                  </a:schemeClr>
                </a:solidFill>
                <a:latin typeface="+mj-lt"/>
              </a:endParaRPr>
            </a:p>
          </p:txBody>
        </p:sp>
        <p:sp>
          <p:nvSpPr>
            <p:cNvPr id="5" name="Graphic 9">
              <a:extLst>
                <a:ext uri="{FF2B5EF4-FFF2-40B4-BE49-F238E27FC236}">
                  <a16:creationId xmlns:a16="http://schemas.microsoft.com/office/drawing/2014/main" id="{ADFD0609-D0F3-19E5-CB46-102BBE8D3BE5}"/>
                </a:ext>
              </a:extLst>
            </p:cNvPr>
            <p:cNvSpPr/>
            <p:nvPr/>
          </p:nvSpPr>
          <p:spPr>
            <a:xfrm>
              <a:off x="596926" y="3975149"/>
              <a:ext cx="2090225" cy="2082867"/>
            </a:xfrm>
            <a:custGeom>
              <a:avLst/>
              <a:gdLst>
                <a:gd name="connsiteX0" fmla="*/ 1045115 w 2090225"/>
                <a:gd name="connsiteY0" fmla="*/ 2082868 h 2082867"/>
                <a:gd name="connsiteX1" fmla="*/ 2090226 w 2090225"/>
                <a:gd name="connsiteY1" fmla="*/ 1041435 h 2082867"/>
                <a:gd name="connsiteX2" fmla="*/ 1045115 w 2090225"/>
                <a:gd name="connsiteY2" fmla="*/ 0 h 2082867"/>
                <a:gd name="connsiteX3" fmla="*/ 0 w 2090225"/>
                <a:gd name="connsiteY3" fmla="*/ 1041435 h 2082867"/>
                <a:gd name="connsiteX4" fmla="*/ 1045115 w 2090225"/>
                <a:gd name="connsiteY4" fmla="*/ 2082868 h 20828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90225" h="2082867">
                  <a:moveTo>
                    <a:pt x="1045115" y="2082868"/>
                  </a:moveTo>
                  <a:cubicBezTo>
                    <a:pt x="1622314" y="2082868"/>
                    <a:pt x="2090226" y="1616600"/>
                    <a:pt x="2090226" y="1041435"/>
                  </a:cubicBezTo>
                  <a:cubicBezTo>
                    <a:pt x="2090226" y="466266"/>
                    <a:pt x="1622314" y="0"/>
                    <a:pt x="1045115" y="0"/>
                  </a:cubicBezTo>
                  <a:cubicBezTo>
                    <a:pt x="467913" y="0"/>
                    <a:pt x="0" y="466266"/>
                    <a:pt x="0" y="1041435"/>
                  </a:cubicBezTo>
                  <a:cubicBezTo>
                    <a:pt x="0" y="1616600"/>
                    <a:pt x="467913" y="2082868"/>
                    <a:pt x="1045115" y="2082868"/>
                  </a:cubicBezTo>
                  <a:close/>
                </a:path>
              </a:pathLst>
            </a:custGeom>
            <a:solidFill>
              <a:srgbClr val="F79FA7">
                <a:alpha val="90000"/>
              </a:srgbClr>
            </a:solidFill>
            <a:ln w="5213" cap="flat">
              <a:noFill/>
              <a:prstDash val="solid"/>
              <a:miter/>
            </a:ln>
          </p:spPr>
          <p:txBody>
            <a:bodyPr rtlCol="0" anchor="t"/>
            <a:lstStyle/>
            <a:p>
              <a:pPr algn="ctr"/>
              <a:r>
                <a:rPr kumimoji="0" lang="en-GB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ACCD0"/>
                  </a:solidFill>
                  <a:effectLst/>
                  <a:uLnTx/>
                  <a:uFillTx/>
                  <a:latin typeface="DM Sans 14pt ExtraBold"/>
                  <a:ea typeface="+mn-ea"/>
                  <a:cs typeface="+mn-cs"/>
                </a:rPr>
                <a:t>S</a:t>
              </a:r>
              <a:endParaRPr lang="en-GB" dirty="0">
                <a:solidFill>
                  <a:srgbClr val="FACCD0"/>
                </a:solidFill>
              </a:endParaRPr>
            </a:p>
          </p:txBody>
        </p:sp>
        <p:sp>
          <p:nvSpPr>
            <p:cNvPr id="6" name="Graphic 3">
              <a:extLst>
                <a:ext uri="{FF2B5EF4-FFF2-40B4-BE49-F238E27FC236}">
                  <a16:creationId xmlns:a16="http://schemas.microsoft.com/office/drawing/2014/main" id="{6C929987-776D-6D1E-C23E-E8BD3805C0D8}"/>
                </a:ext>
              </a:extLst>
            </p:cNvPr>
            <p:cNvSpPr/>
            <p:nvPr/>
          </p:nvSpPr>
          <p:spPr>
            <a:xfrm>
              <a:off x="1652144" y="3285035"/>
              <a:ext cx="2201080" cy="1722428"/>
            </a:xfrm>
            <a:custGeom>
              <a:avLst/>
              <a:gdLst>
                <a:gd name="connsiteX0" fmla="*/ 955524 w 2201080"/>
                <a:gd name="connsiteY0" fmla="*/ 77131 h 1722428"/>
                <a:gd name="connsiteX1" fmla="*/ 1245557 w 2201080"/>
                <a:gd name="connsiteY1" fmla="*/ 77131 h 1722428"/>
                <a:gd name="connsiteX2" fmla="*/ 2170909 w 2201080"/>
                <a:gd name="connsiteY2" fmla="*/ 1449776 h 1722428"/>
                <a:gd name="connsiteX3" fmla="*/ 2025893 w 2201080"/>
                <a:gd name="connsiteY3" fmla="*/ 1722429 h 1722428"/>
                <a:gd name="connsiteX4" fmla="*/ 175189 w 2201080"/>
                <a:gd name="connsiteY4" fmla="*/ 1722429 h 1722428"/>
                <a:gd name="connsiteX5" fmla="*/ 30172 w 2201080"/>
                <a:gd name="connsiteY5" fmla="*/ 1449776 h 1722428"/>
                <a:gd name="connsiteX6" fmla="*/ 955524 w 2201080"/>
                <a:gd name="connsiteY6" fmla="*/ 77131 h 1722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201080" h="1722428">
                  <a:moveTo>
                    <a:pt x="955524" y="77131"/>
                  </a:moveTo>
                  <a:cubicBezTo>
                    <a:pt x="1024853" y="-25710"/>
                    <a:pt x="1176228" y="-25710"/>
                    <a:pt x="1245557" y="77131"/>
                  </a:cubicBezTo>
                  <a:lnTo>
                    <a:pt x="2170909" y="1449776"/>
                  </a:lnTo>
                  <a:cubicBezTo>
                    <a:pt x="2249219" y="1565938"/>
                    <a:pt x="2165987" y="1722429"/>
                    <a:pt x="2025893" y="1722429"/>
                  </a:cubicBezTo>
                  <a:lnTo>
                    <a:pt x="175189" y="1722429"/>
                  </a:lnTo>
                  <a:cubicBezTo>
                    <a:pt x="35095" y="1722429"/>
                    <a:pt x="-48139" y="1565938"/>
                    <a:pt x="30172" y="1449776"/>
                  </a:cubicBezTo>
                  <a:lnTo>
                    <a:pt x="955524" y="77131"/>
                  </a:lnTo>
                  <a:close/>
                </a:path>
              </a:pathLst>
            </a:custGeom>
            <a:noFill/>
            <a:ln w="12909" cap="flat">
              <a:solidFill>
                <a:srgbClr val="005950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17" name="Picture 6" descr="Et billede, der indeholder tekst, skærmbillede, Font/skrifttype, nummer/tal&#10;&#10;Beskrivelsen er genereret automatisk">
            <a:extLst>
              <a:ext uri="{FF2B5EF4-FFF2-40B4-BE49-F238E27FC236}">
                <a16:creationId xmlns:a16="http://schemas.microsoft.com/office/drawing/2014/main" id="{50F124D7-86B1-031D-B93A-93C0BB5142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5155" y="946359"/>
            <a:ext cx="3047791" cy="2155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Billede 13">
            <a:extLst>
              <a:ext uri="{FF2B5EF4-FFF2-40B4-BE49-F238E27FC236}">
                <a16:creationId xmlns:a16="http://schemas.microsoft.com/office/drawing/2014/main" id="{FF3528B8-1B52-7C65-8140-A579F5BC597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38971" y="907232"/>
            <a:ext cx="1870738" cy="1896995"/>
          </a:xfrm>
          <a:prstGeom prst="rect">
            <a:avLst/>
          </a:prstGeom>
        </p:spPr>
      </p:pic>
      <p:pic>
        <p:nvPicPr>
          <p:cNvPr id="19" name="Picture 2" descr="Et billede, der indeholder cirkel, Farverigt, Grafik, Cd&#10;&#10;Automatisk genereret beskrivelse">
            <a:extLst>
              <a:ext uri="{FF2B5EF4-FFF2-40B4-BE49-F238E27FC236}">
                <a16:creationId xmlns:a16="http://schemas.microsoft.com/office/drawing/2014/main" id="{3A1C4295-28F0-4AFB-B069-5C27471FEA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54670" y="991653"/>
            <a:ext cx="2541466" cy="2578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78401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4CA0B3-3CD3-1ED8-925D-A3EFD02543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D25C143-231C-6379-31F1-4492C5477B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2583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25C143-231C-6379-31F1-4492C5477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1" name="Graphic 9">
            <a:extLst>
              <a:ext uri="{FF2B5EF4-FFF2-40B4-BE49-F238E27FC236}">
                <a16:creationId xmlns:a16="http://schemas.microsoft.com/office/drawing/2014/main" id="{DC2C6785-9004-48AC-8051-5E0A06AC166D}"/>
              </a:ext>
            </a:extLst>
          </p:cNvPr>
          <p:cNvGrpSpPr/>
          <p:nvPr/>
        </p:nvGrpSpPr>
        <p:grpSpPr>
          <a:xfrm>
            <a:off x="5735618" y="-465596"/>
            <a:ext cx="7604164" cy="7708303"/>
            <a:chOff x="3340713" y="653193"/>
            <a:chExt cx="7604164" cy="7708303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E09E687-E4F8-4E44-AC8E-696A89FBD07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40713" y="653193"/>
              <a:ext cx="7604164" cy="7708303"/>
            </a:xfrm>
            <a:custGeom>
              <a:avLst/>
              <a:gdLst>
                <a:gd name="connsiteX0" fmla="*/ -283 w 7604164"/>
                <a:gd name="connsiteY0" fmla="*/ -286 h 7708303"/>
                <a:gd name="connsiteX1" fmla="*/ 7603882 w 7604164"/>
                <a:gd name="connsiteY1" fmla="*/ -286 h 7708303"/>
                <a:gd name="connsiteX2" fmla="*/ 7603882 w 7604164"/>
                <a:gd name="connsiteY2" fmla="*/ 7708017 h 7708303"/>
                <a:gd name="connsiteX3" fmla="*/ -283 w 7604164"/>
                <a:gd name="connsiteY3" fmla="*/ 7708017 h 7708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604164" h="7708303">
                  <a:moveTo>
                    <a:pt x="-283" y="-286"/>
                  </a:moveTo>
                  <a:lnTo>
                    <a:pt x="7603882" y="-286"/>
                  </a:lnTo>
                  <a:lnTo>
                    <a:pt x="7603882" y="7708017"/>
                  </a:lnTo>
                  <a:lnTo>
                    <a:pt x="-283" y="7708017"/>
                  </a:lnTo>
                  <a:close/>
                </a:path>
              </a:pathLst>
            </a:cu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FF638D20-AC1F-4AF8-A9B1-86C88D65EE3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365273" y="1813834"/>
              <a:ext cx="5915244" cy="5995294"/>
            </a:xfrm>
            <a:custGeom>
              <a:avLst/>
              <a:gdLst>
                <a:gd name="connsiteX0" fmla="*/ 119 w 5915244"/>
                <a:gd name="connsiteY0" fmla="*/ 135 h 5995294"/>
                <a:gd name="connsiteX1" fmla="*/ 5915363 w 5915244"/>
                <a:gd name="connsiteY1" fmla="*/ 135 h 5995294"/>
                <a:gd name="connsiteX2" fmla="*/ 5915363 w 5915244"/>
                <a:gd name="connsiteY2" fmla="*/ 5995430 h 5995294"/>
                <a:gd name="connsiteX3" fmla="*/ 119 w 5915244"/>
                <a:gd name="connsiteY3" fmla="*/ 5995430 h 5995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915244" h="5995294">
                  <a:moveTo>
                    <a:pt x="119" y="135"/>
                  </a:moveTo>
                  <a:lnTo>
                    <a:pt x="5915363" y="135"/>
                  </a:lnTo>
                  <a:lnTo>
                    <a:pt x="5915363" y="5995430"/>
                  </a:lnTo>
                  <a:lnTo>
                    <a:pt x="119" y="5995430"/>
                  </a:lnTo>
                  <a:close/>
                </a:path>
              </a:pathLst>
            </a:custGeom>
          </p:spPr>
        </p:pic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1B3988F-9E29-4A9E-8E08-75991812F0A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4533365" y="2118002"/>
              <a:ext cx="5386950" cy="5467001"/>
            </a:xfrm>
            <a:custGeom>
              <a:avLst/>
              <a:gdLst>
                <a:gd name="connsiteX0" fmla="*/ 107 w 5386950"/>
                <a:gd name="connsiteY0" fmla="*/ 140 h 5467001"/>
                <a:gd name="connsiteX1" fmla="*/ 5387057 w 5386950"/>
                <a:gd name="connsiteY1" fmla="*/ 140 h 5467001"/>
                <a:gd name="connsiteX2" fmla="*/ 5387057 w 5386950"/>
                <a:gd name="connsiteY2" fmla="*/ 5467142 h 5467001"/>
                <a:gd name="connsiteX3" fmla="*/ 107 w 5386950"/>
                <a:gd name="connsiteY3" fmla="*/ 5467142 h 5467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86950" h="5467001">
                  <a:moveTo>
                    <a:pt x="107" y="140"/>
                  </a:moveTo>
                  <a:lnTo>
                    <a:pt x="5387057" y="140"/>
                  </a:lnTo>
                  <a:lnTo>
                    <a:pt x="5387057" y="5467142"/>
                  </a:lnTo>
                  <a:lnTo>
                    <a:pt x="107" y="5467142"/>
                  </a:lnTo>
                  <a:close/>
                </a:path>
              </a:pathLst>
            </a:cu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59FE155D-1970-4ED1-B6C4-1B3358784E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901566" y="2622281"/>
              <a:ext cx="4490464" cy="4562516"/>
            </a:xfrm>
            <a:custGeom>
              <a:avLst/>
              <a:gdLst>
                <a:gd name="connsiteX0" fmla="*/ 97 w 4490464"/>
                <a:gd name="connsiteY0" fmla="*/ 147 h 4562516"/>
                <a:gd name="connsiteX1" fmla="*/ 4490561 w 4490464"/>
                <a:gd name="connsiteY1" fmla="*/ 147 h 4562516"/>
                <a:gd name="connsiteX2" fmla="*/ 4490561 w 4490464"/>
                <a:gd name="connsiteY2" fmla="*/ 4562664 h 4562516"/>
                <a:gd name="connsiteX3" fmla="*/ 97 w 4490464"/>
                <a:gd name="connsiteY3" fmla="*/ 4562664 h 4562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90464" h="4562516">
                  <a:moveTo>
                    <a:pt x="97" y="147"/>
                  </a:moveTo>
                  <a:lnTo>
                    <a:pt x="4490561" y="147"/>
                  </a:lnTo>
                  <a:lnTo>
                    <a:pt x="4490561" y="4562664"/>
                  </a:lnTo>
                  <a:lnTo>
                    <a:pt x="97" y="4562664"/>
                  </a:lnTo>
                  <a:close/>
                </a:path>
              </a:pathLst>
            </a:custGeom>
          </p:spPr>
        </p:pic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1BFCB390-2783-4947-86A8-8FFEB2F1EE6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261763" y="2982480"/>
              <a:ext cx="3906140" cy="3962207"/>
            </a:xfrm>
            <a:custGeom>
              <a:avLst/>
              <a:gdLst>
                <a:gd name="connsiteX0" fmla="*/ 105 w 3906140"/>
                <a:gd name="connsiteY0" fmla="*/ 155 h 3962207"/>
                <a:gd name="connsiteX1" fmla="*/ 3906246 w 3906140"/>
                <a:gd name="connsiteY1" fmla="*/ 155 h 3962207"/>
                <a:gd name="connsiteX2" fmla="*/ 3906246 w 3906140"/>
                <a:gd name="connsiteY2" fmla="*/ 3962363 h 3962207"/>
                <a:gd name="connsiteX3" fmla="*/ 105 w 3906140"/>
                <a:gd name="connsiteY3" fmla="*/ 3962363 h 3962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06140" h="3962207">
                  <a:moveTo>
                    <a:pt x="105" y="155"/>
                  </a:moveTo>
                  <a:lnTo>
                    <a:pt x="3906246" y="155"/>
                  </a:lnTo>
                  <a:lnTo>
                    <a:pt x="3906246" y="3962363"/>
                  </a:lnTo>
                  <a:lnTo>
                    <a:pt x="105" y="3962363"/>
                  </a:lnTo>
                  <a:close/>
                </a:path>
              </a:pathLst>
            </a:custGeom>
          </p:spPr>
        </p:pic>
      </p:grp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242593BF-CAEE-4963-8393-3A0FA81D5E5E}"/>
              </a:ext>
            </a:extLst>
          </p:cNvPr>
          <p:cNvSpPr>
            <a:spLocks/>
          </p:cNvSpPr>
          <p:nvPr/>
        </p:nvSpPr>
        <p:spPr>
          <a:xfrm>
            <a:off x="1613347" y="1803210"/>
            <a:ext cx="6879332" cy="3636719"/>
          </a:xfrm>
          <a:custGeom>
            <a:avLst/>
            <a:gdLst>
              <a:gd name="connsiteX0" fmla="*/ 467682 w 6879332"/>
              <a:gd name="connsiteY0" fmla="*/ 0 h 3636719"/>
              <a:gd name="connsiteX1" fmla="*/ 6879332 w 6879332"/>
              <a:gd name="connsiteY1" fmla="*/ 0 h 3636719"/>
              <a:gd name="connsiteX2" fmla="*/ 6681462 w 6879332"/>
              <a:gd name="connsiteY2" fmla="*/ 95319 h 3636719"/>
              <a:gd name="connsiteX3" fmla="*/ 5316848 w 6879332"/>
              <a:gd name="connsiteY3" fmla="*/ 2388113 h 3636719"/>
              <a:gd name="connsiteX4" fmla="*/ 5631561 w 6879332"/>
              <a:gd name="connsiteY4" fmla="*/ 3631006 h 3636719"/>
              <a:gd name="connsiteX5" fmla="*/ 5635032 w 6879332"/>
              <a:gd name="connsiteY5" fmla="*/ 3636719 h 3636719"/>
              <a:gd name="connsiteX6" fmla="*/ 467682 w 6879332"/>
              <a:gd name="connsiteY6" fmla="*/ 3636719 h 3636719"/>
              <a:gd name="connsiteX7" fmla="*/ 0 w 6879332"/>
              <a:gd name="connsiteY7" fmla="*/ 3169037 h 3636719"/>
              <a:gd name="connsiteX8" fmla="*/ 0 w 6879332"/>
              <a:gd name="connsiteY8" fmla="*/ 467682 h 3636719"/>
              <a:gd name="connsiteX9" fmla="*/ 467682 w 6879332"/>
              <a:gd name="connsiteY9" fmla="*/ 0 h 3636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879332" h="3636719">
                <a:moveTo>
                  <a:pt x="467682" y="0"/>
                </a:moveTo>
                <a:lnTo>
                  <a:pt x="6879332" y="0"/>
                </a:lnTo>
                <a:lnTo>
                  <a:pt x="6681462" y="95319"/>
                </a:lnTo>
                <a:cubicBezTo>
                  <a:pt x="5868637" y="536872"/>
                  <a:pt x="5316848" y="1398054"/>
                  <a:pt x="5316848" y="2388113"/>
                </a:cubicBezTo>
                <a:cubicBezTo>
                  <a:pt x="5316848" y="2838140"/>
                  <a:pt x="5430855" y="3261539"/>
                  <a:pt x="5631561" y="3631006"/>
                </a:cubicBezTo>
                <a:lnTo>
                  <a:pt x="5635032" y="3636719"/>
                </a:lnTo>
                <a:lnTo>
                  <a:pt x="467682" y="3636719"/>
                </a:lnTo>
                <a:cubicBezTo>
                  <a:pt x="209388" y="3636719"/>
                  <a:pt x="0" y="3427331"/>
                  <a:pt x="0" y="3169037"/>
                </a:cubicBezTo>
                <a:lnTo>
                  <a:pt x="0" y="467682"/>
                </a:lnTo>
                <a:cubicBezTo>
                  <a:pt x="0" y="209388"/>
                  <a:pt x="209388" y="0"/>
                  <a:pt x="467682" y="0"/>
                </a:cubicBezTo>
                <a:close/>
              </a:path>
            </a:pathLst>
          </a:cu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225720" rIns="1774800" bIns="45720" rtlCol="0" anchor="ctr">
            <a:noAutofit/>
          </a:bodyPr>
          <a:lstStyle/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da-DK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 den almene branche leverer vi hver dag et stort bidrag til en bæredygtig udvikling af samfundet.</a:t>
            </a:r>
            <a:br>
              <a:rPr lang="da-DK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da-DK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t ligger i vores DNA.</a:t>
            </a: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da-DK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rmed har vi et godt udgangspunkt, når omverdenen i stigende grad stiller krav om at kunne måle på miljø, sociale forhold og ledelse – altså ESG.</a:t>
            </a: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da-DK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pgaven er dog ikke enkel. For det kan være uoverskueligt for hver enkelt organisation at arbejde mere struktureret og dokumenterbart med bæredygtighed.</a:t>
            </a:r>
          </a:p>
          <a:p>
            <a:pPr algn="ctr">
              <a:spcBef>
                <a:spcPts val="400"/>
              </a:spcBef>
              <a:spcAft>
                <a:spcPts val="400"/>
              </a:spcAft>
            </a:pPr>
            <a:r>
              <a:rPr lang="da-DK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ed at samle branchens over 500 boligorganisationer om en fælles standard kan vi samtidig inspirere hinanden og dele viden om de bæredygtige tiltag,</a:t>
            </a:r>
            <a:br>
              <a:rPr lang="da-DK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da-DK" sz="14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r har størst effekt. Dermed skaber vi værdi både lokalt og nationalt.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A729D2F6-AF41-B0BC-A776-216388CB12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 dirty="0">
                <a:latin typeface="DM Sans 18pt ExtraBold" pitchFamily="2" charset="0"/>
              </a:rPr>
              <a:t>Hvorfor</a:t>
            </a:r>
            <a:r>
              <a:rPr lang="da-DK" dirty="0"/>
              <a:t> AlmenKompas?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3F93660B-9179-535B-76AE-C02358A5E05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2</a:t>
            </a:fld>
            <a:endParaRPr lang="da-DK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9D98D66-BD6C-4740-AD3C-F4ED8DD2EA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B5A3A4C-7D5A-1A18-5148-436A06EFB53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445510"/>
          </a:xfrm>
        </p:spPr>
        <p:txBody>
          <a:bodyPr/>
          <a:lstStyle/>
          <a:p>
            <a:r>
              <a:rPr lang="da-DK" dirty="0">
                <a:latin typeface="DM Sans 18pt" pitchFamily="2" charset="0"/>
              </a:rPr>
              <a:t>Branchens bæredygtighedsstandard</a:t>
            </a:r>
          </a:p>
        </p:txBody>
      </p:sp>
      <p:pic>
        <p:nvPicPr>
          <p:cNvPr id="43" name="Graphic 42">
            <a:extLst>
              <a:ext uri="{FF2B5EF4-FFF2-40B4-BE49-F238E27FC236}">
                <a16:creationId xmlns:a16="http://schemas.microsoft.com/office/drawing/2014/main" id="{36288827-66A2-4FDF-96F5-39A0D1662C9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rcRect r="47987" b="49377"/>
          <a:stretch/>
        </p:blipFill>
        <p:spPr>
          <a:xfrm flipH="1">
            <a:off x="360000" y="3035299"/>
            <a:ext cx="3285744" cy="3241675"/>
          </a:xfrm>
          <a:prstGeom prst="rect">
            <a:avLst/>
          </a:prstGeom>
        </p:spPr>
      </p:pic>
      <p:pic>
        <p:nvPicPr>
          <p:cNvPr id="44" name="Picture 2" descr="Et billede, der indeholder cirkel, Farverigt, Grafik, Cd&#10;&#10;Automatisk genereret beskrivelse">
            <a:extLst>
              <a:ext uri="{FF2B5EF4-FFF2-40B4-BE49-F238E27FC236}">
                <a16:creationId xmlns:a16="http://schemas.microsoft.com/office/drawing/2014/main" id="{BB684797-470E-4E07-8ADF-26E4206C18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02602" y="2370417"/>
            <a:ext cx="2870198" cy="291257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6B9624F5-6A22-4EB8-88A7-1FBB852CE293}"/>
              </a:ext>
            </a:extLst>
          </p:cNvPr>
          <p:cNvSpPr/>
          <p:nvPr/>
        </p:nvSpPr>
        <p:spPr>
          <a:xfrm>
            <a:off x="3576339" y="1769824"/>
            <a:ext cx="1373154" cy="66772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12700">
            <a:noFill/>
            <a:prstDash val="dash"/>
            <a:headEnd type="oval"/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52956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D22756CC-2A1B-ABC8-1AB3-8070665B489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5AAF4B3-ADEC-F594-E85D-B4E53A7F75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AAF4B3-ADEC-F594-E85D-B4E53A7F75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0F207845-296B-0925-6829-D793DEF107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Illustrationer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brug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nye slid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C83071F-A67F-3F5C-CB68-B26CB8FFCE3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78260" y="1483059"/>
            <a:ext cx="7124050" cy="4825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06793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6C9CFC37-7127-25F4-32D0-B1BABB48F1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799F37EC-DDEB-7CA0-BA91-2CAAD1CBB2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9F37EC-DDEB-7CA0-BA91-2CAAD1CBB2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E2FDA60A-03A2-0E6C-8641-FE741E64A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Illustrationer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brug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nye slid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6D3B151-5126-78F2-0B8E-BB251A626E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11044" y="4911339"/>
            <a:ext cx="3354950" cy="1357769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68D98B85-A5DB-F39E-AF42-29538426E75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 flipV="1">
            <a:off x="172983" y="1533088"/>
            <a:ext cx="2449873" cy="1656700"/>
          </a:xfrm>
          <a:prstGeom prst="rect">
            <a:avLst/>
          </a:prstGeom>
        </p:spPr>
      </p:pic>
      <p:grpSp>
        <p:nvGrpSpPr>
          <p:cNvPr id="11" name="Graphic 8">
            <a:extLst>
              <a:ext uri="{FF2B5EF4-FFF2-40B4-BE49-F238E27FC236}">
                <a16:creationId xmlns:a16="http://schemas.microsoft.com/office/drawing/2014/main" id="{A84CFB78-B92F-B781-4D9B-62A8845B7BF1}"/>
              </a:ext>
            </a:extLst>
          </p:cNvPr>
          <p:cNvGrpSpPr/>
          <p:nvPr/>
        </p:nvGrpSpPr>
        <p:grpSpPr>
          <a:xfrm>
            <a:off x="7548984" y="3219746"/>
            <a:ext cx="1852329" cy="1175370"/>
            <a:chOff x="9982961" y="5233301"/>
            <a:chExt cx="2262505" cy="1435642"/>
          </a:xfrm>
          <a:noFill/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0944397-BB66-0C1D-A0A4-B858D6B1A6BF}"/>
                </a:ext>
              </a:extLst>
            </p:cNvPr>
            <p:cNvSpPr/>
            <p:nvPr/>
          </p:nvSpPr>
          <p:spPr>
            <a:xfrm>
              <a:off x="10864514" y="5748477"/>
              <a:ext cx="16985" cy="893368"/>
            </a:xfrm>
            <a:custGeom>
              <a:avLst/>
              <a:gdLst>
                <a:gd name="connsiteX0" fmla="*/ 4971 w 16985"/>
                <a:gd name="connsiteY0" fmla="*/ 893369 h 893368"/>
                <a:gd name="connsiteX1" fmla="*/ 1987 w 16985"/>
                <a:gd name="connsiteY1" fmla="*/ 846316 h 893368"/>
                <a:gd name="connsiteX2" fmla="*/ 18 w 16985"/>
                <a:gd name="connsiteY2" fmla="*/ 799199 h 893368"/>
                <a:gd name="connsiteX3" fmla="*/ 1161 w 16985"/>
                <a:gd name="connsiteY3" fmla="*/ 752272 h 893368"/>
                <a:gd name="connsiteX4" fmla="*/ 3701 w 16985"/>
                <a:gd name="connsiteY4" fmla="*/ 705345 h 893368"/>
                <a:gd name="connsiteX5" fmla="*/ 7257 w 16985"/>
                <a:gd name="connsiteY5" fmla="*/ 658419 h 893368"/>
                <a:gd name="connsiteX6" fmla="*/ 8273 w 16985"/>
                <a:gd name="connsiteY6" fmla="*/ 611493 h 893368"/>
                <a:gd name="connsiteX7" fmla="*/ 5987 w 16985"/>
                <a:gd name="connsiteY7" fmla="*/ 564388 h 893368"/>
                <a:gd name="connsiteX8" fmla="*/ 4971 w 16985"/>
                <a:gd name="connsiteY8" fmla="*/ 517449 h 893368"/>
                <a:gd name="connsiteX9" fmla="*/ 5162 w 16985"/>
                <a:gd name="connsiteY9" fmla="*/ 470370 h 893368"/>
                <a:gd name="connsiteX10" fmla="*/ 11385 w 16985"/>
                <a:gd name="connsiteY10" fmla="*/ 423431 h 893368"/>
                <a:gd name="connsiteX11" fmla="*/ 12083 w 16985"/>
                <a:gd name="connsiteY11" fmla="*/ 376498 h 893368"/>
                <a:gd name="connsiteX12" fmla="*/ 12972 w 16985"/>
                <a:gd name="connsiteY12" fmla="*/ 329419 h 893368"/>
                <a:gd name="connsiteX13" fmla="*/ 9988 w 16985"/>
                <a:gd name="connsiteY13" fmla="*/ 282334 h 893368"/>
                <a:gd name="connsiteX14" fmla="*/ 8146 w 16985"/>
                <a:gd name="connsiteY14" fmla="*/ 235401 h 893368"/>
                <a:gd name="connsiteX15" fmla="*/ 9289 w 16985"/>
                <a:gd name="connsiteY15" fmla="*/ 188322 h 893368"/>
                <a:gd name="connsiteX16" fmla="*/ 13543 w 16985"/>
                <a:gd name="connsiteY16" fmla="*/ 141383 h 893368"/>
                <a:gd name="connsiteX17" fmla="*/ 13226 w 16985"/>
                <a:gd name="connsiteY17" fmla="*/ 94304 h 893368"/>
                <a:gd name="connsiteX18" fmla="*/ 16973 w 16985"/>
                <a:gd name="connsiteY18" fmla="*/ 47225 h 893368"/>
                <a:gd name="connsiteX19" fmla="*/ 13798 w 16985"/>
                <a:gd name="connsiteY19" fmla="*/ 0 h 893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6985" h="893368">
                  <a:moveTo>
                    <a:pt x="4971" y="893369"/>
                  </a:moveTo>
                  <a:cubicBezTo>
                    <a:pt x="5289" y="869938"/>
                    <a:pt x="1732" y="869938"/>
                    <a:pt x="1987" y="846316"/>
                  </a:cubicBezTo>
                  <a:cubicBezTo>
                    <a:pt x="2304" y="822693"/>
                    <a:pt x="-236" y="822820"/>
                    <a:pt x="18" y="799199"/>
                  </a:cubicBezTo>
                  <a:cubicBezTo>
                    <a:pt x="336" y="775577"/>
                    <a:pt x="717" y="775767"/>
                    <a:pt x="1161" y="752272"/>
                  </a:cubicBezTo>
                  <a:cubicBezTo>
                    <a:pt x="1605" y="728840"/>
                    <a:pt x="3447" y="728840"/>
                    <a:pt x="3701" y="705345"/>
                  </a:cubicBezTo>
                  <a:cubicBezTo>
                    <a:pt x="4018" y="681851"/>
                    <a:pt x="7003" y="681851"/>
                    <a:pt x="7257" y="658419"/>
                  </a:cubicBezTo>
                  <a:cubicBezTo>
                    <a:pt x="7575" y="634924"/>
                    <a:pt x="7829" y="634924"/>
                    <a:pt x="8273" y="611493"/>
                  </a:cubicBezTo>
                  <a:cubicBezTo>
                    <a:pt x="8717" y="587997"/>
                    <a:pt x="5733" y="587997"/>
                    <a:pt x="5987" y="564388"/>
                  </a:cubicBezTo>
                  <a:cubicBezTo>
                    <a:pt x="6304" y="540779"/>
                    <a:pt x="4590" y="540919"/>
                    <a:pt x="4971" y="517449"/>
                  </a:cubicBezTo>
                  <a:cubicBezTo>
                    <a:pt x="5416" y="493986"/>
                    <a:pt x="4971" y="493986"/>
                    <a:pt x="5162" y="470370"/>
                  </a:cubicBezTo>
                  <a:cubicBezTo>
                    <a:pt x="5289" y="446761"/>
                    <a:pt x="11004" y="446901"/>
                    <a:pt x="11385" y="423431"/>
                  </a:cubicBezTo>
                  <a:cubicBezTo>
                    <a:pt x="11829" y="399967"/>
                    <a:pt x="11829" y="399967"/>
                    <a:pt x="12083" y="376498"/>
                  </a:cubicBezTo>
                  <a:cubicBezTo>
                    <a:pt x="12401" y="353028"/>
                    <a:pt x="12654" y="353028"/>
                    <a:pt x="12972" y="329419"/>
                  </a:cubicBezTo>
                  <a:cubicBezTo>
                    <a:pt x="13226" y="305803"/>
                    <a:pt x="9670" y="305803"/>
                    <a:pt x="9988" y="282334"/>
                  </a:cubicBezTo>
                  <a:cubicBezTo>
                    <a:pt x="10242" y="258871"/>
                    <a:pt x="7829" y="258871"/>
                    <a:pt x="8146" y="235401"/>
                  </a:cubicBezTo>
                  <a:cubicBezTo>
                    <a:pt x="8400" y="211931"/>
                    <a:pt x="8972" y="211931"/>
                    <a:pt x="9289" y="188322"/>
                  </a:cubicBezTo>
                  <a:cubicBezTo>
                    <a:pt x="9543" y="164707"/>
                    <a:pt x="13226" y="164852"/>
                    <a:pt x="13543" y="141383"/>
                  </a:cubicBezTo>
                  <a:cubicBezTo>
                    <a:pt x="13798" y="117913"/>
                    <a:pt x="12972" y="117913"/>
                    <a:pt x="13226" y="94304"/>
                  </a:cubicBezTo>
                  <a:cubicBezTo>
                    <a:pt x="13543" y="70688"/>
                    <a:pt x="16655" y="70834"/>
                    <a:pt x="16973" y="47225"/>
                  </a:cubicBezTo>
                  <a:cubicBezTo>
                    <a:pt x="17227" y="23609"/>
                    <a:pt x="13543" y="23609"/>
                    <a:pt x="13798" y="0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A98FA5A-B893-C9DC-009A-C0F0F54CA6BA}"/>
                </a:ext>
              </a:extLst>
            </p:cNvPr>
            <p:cNvSpPr/>
            <p:nvPr/>
          </p:nvSpPr>
          <p:spPr>
            <a:xfrm>
              <a:off x="10870247" y="6136068"/>
              <a:ext cx="160401" cy="155321"/>
            </a:xfrm>
            <a:custGeom>
              <a:avLst/>
              <a:gdLst>
                <a:gd name="connsiteX0" fmla="*/ 160401 w 160401"/>
                <a:gd name="connsiteY0" fmla="*/ 0 h 155321"/>
                <a:gd name="connsiteX1" fmla="*/ 128016 w 160401"/>
                <a:gd name="connsiteY1" fmla="*/ 30575 h 155321"/>
                <a:gd name="connsiteX2" fmla="*/ 94297 w 160401"/>
                <a:gd name="connsiteY2" fmla="*/ 60020 h 155321"/>
                <a:gd name="connsiteX3" fmla="*/ 64834 w 160401"/>
                <a:gd name="connsiteY3" fmla="*/ 93732 h 155321"/>
                <a:gd name="connsiteX4" fmla="*/ 34227 w 160401"/>
                <a:gd name="connsiteY4" fmla="*/ 126302 h 155321"/>
                <a:gd name="connsiteX5" fmla="*/ 0 w 160401"/>
                <a:gd name="connsiteY5" fmla="*/ 155321 h 155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0401" h="155321">
                  <a:moveTo>
                    <a:pt x="160401" y="0"/>
                  </a:moveTo>
                  <a:cubicBezTo>
                    <a:pt x="144653" y="15786"/>
                    <a:pt x="143764" y="14789"/>
                    <a:pt x="128016" y="30575"/>
                  </a:cubicBezTo>
                  <a:cubicBezTo>
                    <a:pt x="112205" y="46368"/>
                    <a:pt x="110046" y="44234"/>
                    <a:pt x="94297" y="60020"/>
                  </a:cubicBezTo>
                  <a:cubicBezTo>
                    <a:pt x="78486" y="75806"/>
                    <a:pt x="80645" y="77940"/>
                    <a:pt x="64834" y="93732"/>
                  </a:cubicBezTo>
                  <a:cubicBezTo>
                    <a:pt x="49022" y="109519"/>
                    <a:pt x="50038" y="110515"/>
                    <a:pt x="34227" y="126302"/>
                  </a:cubicBezTo>
                  <a:cubicBezTo>
                    <a:pt x="18479" y="142087"/>
                    <a:pt x="15748" y="139389"/>
                    <a:pt x="0" y="155321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441DC38-427F-8C55-2BE3-0FC4403B3753}"/>
                </a:ext>
              </a:extLst>
            </p:cNvPr>
            <p:cNvSpPr/>
            <p:nvPr/>
          </p:nvSpPr>
          <p:spPr>
            <a:xfrm>
              <a:off x="10744072" y="5891561"/>
              <a:ext cx="134810" cy="135261"/>
            </a:xfrm>
            <a:custGeom>
              <a:avLst/>
              <a:gdLst>
                <a:gd name="connsiteX0" fmla="*/ 0 w 134810"/>
                <a:gd name="connsiteY0" fmla="*/ 0 h 135261"/>
                <a:gd name="connsiteX1" fmla="*/ 33274 w 134810"/>
                <a:gd name="connsiteY1" fmla="*/ 34131 h 135261"/>
                <a:gd name="connsiteX2" fmla="*/ 66548 w 134810"/>
                <a:gd name="connsiteY2" fmla="*/ 68415 h 135261"/>
                <a:gd name="connsiteX3" fmla="*/ 97854 w 134810"/>
                <a:gd name="connsiteY3" fmla="*/ 104686 h 135261"/>
                <a:gd name="connsiteX4" fmla="*/ 134810 w 134810"/>
                <a:gd name="connsiteY4" fmla="*/ 135262 h 1352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810" h="135261">
                  <a:moveTo>
                    <a:pt x="0" y="0"/>
                  </a:moveTo>
                  <a:cubicBezTo>
                    <a:pt x="16891" y="16923"/>
                    <a:pt x="16320" y="17348"/>
                    <a:pt x="33274" y="34131"/>
                  </a:cubicBezTo>
                  <a:cubicBezTo>
                    <a:pt x="50229" y="50921"/>
                    <a:pt x="49657" y="51486"/>
                    <a:pt x="66548" y="68415"/>
                  </a:cubicBezTo>
                  <a:cubicBezTo>
                    <a:pt x="83503" y="85338"/>
                    <a:pt x="81090" y="87757"/>
                    <a:pt x="97854" y="104686"/>
                  </a:cubicBezTo>
                  <a:cubicBezTo>
                    <a:pt x="114618" y="121609"/>
                    <a:pt x="117920" y="118478"/>
                    <a:pt x="134810" y="135262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451824F-58C9-4542-D93C-51C455AD568D}"/>
                </a:ext>
              </a:extLst>
            </p:cNvPr>
            <p:cNvSpPr/>
            <p:nvPr/>
          </p:nvSpPr>
          <p:spPr>
            <a:xfrm>
              <a:off x="10576667" y="5490425"/>
              <a:ext cx="565681" cy="981303"/>
            </a:xfrm>
            <a:custGeom>
              <a:avLst/>
              <a:gdLst>
                <a:gd name="connsiteX0" fmla="*/ 296564 w 565681"/>
                <a:gd name="connsiteY0" fmla="*/ 981304 h 981303"/>
                <a:gd name="connsiteX1" fmla="*/ 327997 w 565681"/>
                <a:gd name="connsiteY1" fmla="*/ 950760 h 981303"/>
                <a:gd name="connsiteX2" fmla="*/ 363366 w 565681"/>
                <a:gd name="connsiteY2" fmla="*/ 924725 h 981303"/>
                <a:gd name="connsiteX3" fmla="*/ 393720 w 565681"/>
                <a:gd name="connsiteY3" fmla="*/ 892721 h 981303"/>
                <a:gd name="connsiteX4" fmla="*/ 430359 w 565681"/>
                <a:gd name="connsiteY4" fmla="*/ 868083 h 981303"/>
                <a:gd name="connsiteX5" fmla="*/ 462236 w 565681"/>
                <a:gd name="connsiteY5" fmla="*/ 837800 h 981303"/>
                <a:gd name="connsiteX6" fmla="*/ 493414 w 565681"/>
                <a:gd name="connsiteY6" fmla="*/ 806647 h 981303"/>
                <a:gd name="connsiteX7" fmla="*/ 523006 w 565681"/>
                <a:gd name="connsiteY7" fmla="*/ 776497 h 981303"/>
                <a:gd name="connsiteX8" fmla="*/ 544469 w 565681"/>
                <a:gd name="connsiteY8" fmla="*/ 739940 h 981303"/>
                <a:gd name="connsiteX9" fmla="*/ 560280 w 565681"/>
                <a:gd name="connsiteY9" fmla="*/ 700259 h 981303"/>
                <a:gd name="connsiteX10" fmla="*/ 565677 w 565681"/>
                <a:gd name="connsiteY10" fmla="*/ 657447 h 981303"/>
                <a:gd name="connsiteX11" fmla="*/ 558121 w 565681"/>
                <a:gd name="connsiteY11" fmla="*/ 615201 h 981303"/>
                <a:gd name="connsiteX12" fmla="*/ 548025 w 565681"/>
                <a:gd name="connsiteY12" fmla="*/ 573240 h 981303"/>
                <a:gd name="connsiteX13" fmla="*/ 526117 w 565681"/>
                <a:gd name="connsiteY13" fmla="*/ 531565 h 981303"/>
                <a:gd name="connsiteX14" fmla="*/ 510750 w 565681"/>
                <a:gd name="connsiteY14" fmla="*/ 487331 h 981303"/>
                <a:gd name="connsiteX15" fmla="*/ 489541 w 565681"/>
                <a:gd name="connsiteY15" fmla="*/ 445370 h 981303"/>
                <a:gd name="connsiteX16" fmla="*/ 477603 w 565681"/>
                <a:gd name="connsiteY16" fmla="*/ 399574 h 981303"/>
                <a:gd name="connsiteX17" fmla="*/ 459251 w 565681"/>
                <a:gd name="connsiteY17" fmla="*/ 356476 h 981303"/>
                <a:gd name="connsiteX18" fmla="*/ 437915 w 565681"/>
                <a:gd name="connsiteY18" fmla="*/ 314516 h 981303"/>
                <a:gd name="connsiteX19" fmla="*/ 425152 w 565681"/>
                <a:gd name="connsiteY19" fmla="*/ 269145 h 981303"/>
                <a:gd name="connsiteX20" fmla="*/ 406927 w 565681"/>
                <a:gd name="connsiteY20" fmla="*/ 225901 h 981303"/>
                <a:gd name="connsiteX21" fmla="*/ 387751 w 565681"/>
                <a:gd name="connsiteY21" fmla="*/ 183090 h 981303"/>
                <a:gd name="connsiteX22" fmla="*/ 372764 w 565681"/>
                <a:gd name="connsiteY22" fmla="*/ 138570 h 981303"/>
                <a:gd name="connsiteX23" fmla="*/ 355175 w 565681"/>
                <a:gd name="connsiteY23" fmla="*/ 95047 h 981303"/>
                <a:gd name="connsiteX24" fmla="*/ 334411 w 565681"/>
                <a:gd name="connsiteY24" fmla="*/ 52807 h 981303"/>
                <a:gd name="connsiteX25" fmla="*/ 314599 w 565681"/>
                <a:gd name="connsiteY25" fmla="*/ 10135 h 981303"/>
                <a:gd name="connsiteX26" fmla="*/ 289008 w 565681"/>
                <a:gd name="connsiteY26" fmla="*/ 10135 h 981303"/>
                <a:gd name="connsiteX27" fmla="*/ 265513 w 565681"/>
                <a:gd name="connsiteY27" fmla="*/ 50387 h 981303"/>
                <a:gd name="connsiteX28" fmla="*/ 245638 w 565681"/>
                <a:gd name="connsiteY28" fmla="*/ 92342 h 981303"/>
                <a:gd name="connsiteX29" fmla="*/ 224428 w 565681"/>
                <a:gd name="connsiteY29" fmla="*/ 133737 h 981303"/>
                <a:gd name="connsiteX30" fmla="*/ 206395 w 565681"/>
                <a:gd name="connsiteY30" fmla="*/ 176549 h 981303"/>
                <a:gd name="connsiteX31" fmla="*/ 183915 w 565681"/>
                <a:gd name="connsiteY31" fmla="*/ 217227 h 981303"/>
                <a:gd name="connsiteX32" fmla="*/ 161564 w 565681"/>
                <a:gd name="connsiteY32" fmla="*/ 258051 h 981303"/>
                <a:gd name="connsiteX33" fmla="*/ 140672 w 565681"/>
                <a:gd name="connsiteY33" fmla="*/ 299580 h 981303"/>
                <a:gd name="connsiteX34" fmla="*/ 124035 w 565681"/>
                <a:gd name="connsiteY34" fmla="*/ 343103 h 981303"/>
                <a:gd name="connsiteX35" fmla="*/ 103398 w 565681"/>
                <a:gd name="connsiteY35" fmla="*/ 384778 h 981303"/>
                <a:gd name="connsiteX36" fmla="*/ 77616 w 565681"/>
                <a:gd name="connsiteY36" fmla="*/ 423894 h 981303"/>
                <a:gd name="connsiteX37" fmla="*/ 60599 w 565681"/>
                <a:gd name="connsiteY37" fmla="*/ 467417 h 981303"/>
                <a:gd name="connsiteX38" fmla="*/ 37548 w 565681"/>
                <a:gd name="connsiteY38" fmla="*/ 507956 h 981303"/>
                <a:gd name="connsiteX39" fmla="*/ 17926 w 565681"/>
                <a:gd name="connsiteY39" fmla="*/ 550202 h 981303"/>
                <a:gd name="connsiteX40" fmla="*/ 9672 w 565681"/>
                <a:gd name="connsiteY40" fmla="*/ 596710 h 981303"/>
                <a:gd name="connsiteX41" fmla="*/ 147 w 565681"/>
                <a:gd name="connsiteY41" fmla="*/ 643077 h 981303"/>
                <a:gd name="connsiteX42" fmla="*/ 2242 w 565681"/>
                <a:gd name="connsiteY42" fmla="*/ 690588 h 981303"/>
                <a:gd name="connsiteX43" fmla="*/ 17609 w 565681"/>
                <a:gd name="connsiteY43" fmla="*/ 735533 h 981303"/>
                <a:gd name="connsiteX44" fmla="*/ 33421 w 565681"/>
                <a:gd name="connsiteY44" fmla="*/ 780053 h 981303"/>
                <a:gd name="connsiteX45" fmla="*/ 58884 w 565681"/>
                <a:gd name="connsiteY45" fmla="*/ 819881 h 981303"/>
                <a:gd name="connsiteX46" fmla="*/ 92857 w 565681"/>
                <a:gd name="connsiteY46" fmla="*/ 852589 h 981303"/>
                <a:gd name="connsiteX47" fmla="*/ 117876 w 565681"/>
                <a:gd name="connsiteY47" fmla="*/ 883323 h 981303"/>
                <a:gd name="connsiteX48" fmla="*/ 146514 w 565681"/>
                <a:gd name="connsiteY48" fmla="*/ 910184 h 981303"/>
                <a:gd name="connsiteX49" fmla="*/ 179216 w 565681"/>
                <a:gd name="connsiteY49" fmla="*/ 932663 h 981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565681" h="981303">
                  <a:moveTo>
                    <a:pt x="296564" y="981304"/>
                  </a:moveTo>
                  <a:cubicBezTo>
                    <a:pt x="313201" y="967080"/>
                    <a:pt x="311360" y="964984"/>
                    <a:pt x="327997" y="950760"/>
                  </a:cubicBezTo>
                  <a:cubicBezTo>
                    <a:pt x="344634" y="936536"/>
                    <a:pt x="346729" y="939076"/>
                    <a:pt x="363366" y="924725"/>
                  </a:cubicBezTo>
                  <a:cubicBezTo>
                    <a:pt x="380067" y="910311"/>
                    <a:pt x="377210" y="907072"/>
                    <a:pt x="393720" y="892721"/>
                  </a:cubicBezTo>
                  <a:cubicBezTo>
                    <a:pt x="410166" y="878307"/>
                    <a:pt x="413722" y="882307"/>
                    <a:pt x="430359" y="868083"/>
                  </a:cubicBezTo>
                  <a:cubicBezTo>
                    <a:pt x="447060" y="853872"/>
                    <a:pt x="445599" y="852164"/>
                    <a:pt x="462236" y="837800"/>
                  </a:cubicBezTo>
                  <a:cubicBezTo>
                    <a:pt x="478873" y="823436"/>
                    <a:pt x="476777" y="821017"/>
                    <a:pt x="493414" y="806647"/>
                  </a:cubicBezTo>
                  <a:cubicBezTo>
                    <a:pt x="504464" y="797122"/>
                    <a:pt x="514624" y="787730"/>
                    <a:pt x="523006" y="776497"/>
                  </a:cubicBezTo>
                  <a:cubicBezTo>
                    <a:pt x="531388" y="765257"/>
                    <a:pt x="538626" y="752888"/>
                    <a:pt x="544469" y="739940"/>
                  </a:cubicBezTo>
                  <a:cubicBezTo>
                    <a:pt x="550311" y="726999"/>
                    <a:pt x="557232" y="714197"/>
                    <a:pt x="560280" y="700259"/>
                  </a:cubicBezTo>
                  <a:cubicBezTo>
                    <a:pt x="563264" y="686321"/>
                    <a:pt x="565804" y="671811"/>
                    <a:pt x="565677" y="657447"/>
                  </a:cubicBezTo>
                  <a:cubicBezTo>
                    <a:pt x="565487" y="643077"/>
                    <a:pt x="561233" y="629139"/>
                    <a:pt x="558121" y="615201"/>
                  </a:cubicBezTo>
                  <a:cubicBezTo>
                    <a:pt x="555010" y="601262"/>
                    <a:pt x="554248" y="586327"/>
                    <a:pt x="548025" y="573240"/>
                  </a:cubicBezTo>
                  <a:cubicBezTo>
                    <a:pt x="538944" y="551625"/>
                    <a:pt x="534816" y="553326"/>
                    <a:pt x="526117" y="531565"/>
                  </a:cubicBezTo>
                  <a:cubicBezTo>
                    <a:pt x="517417" y="509804"/>
                    <a:pt x="519450" y="508953"/>
                    <a:pt x="510750" y="487331"/>
                  </a:cubicBezTo>
                  <a:cubicBezTo>
                    <a:pt x="502051" y="465709"/>
                    <a:pt x="498367" y="467131"/>
                    <a:pt x="489541" y="445370"/>
                  </a:cubicBezTo>
                  <a:cubicBezTo>
                    <a:pt x="480714" y="423609"/>
                    <a:pt x="486429" y="421335"/>
                    <a:pt x="477603" y="399574"/>
                  </a:cubicBezTo>
                  <a:cubicBezTo>
                    <a:pt x="468776" y="377813"/>
                    <a:pt x="468078" y="378098"/>
                    <a:pt x="459251" y="356476"/>
                  </a:cubicBezTo>
                  <a:cubicBezTo>
                    <a:pt x="450425" y="334855"/>
                    <a:pt x="446615" y="336277"/>
                    <a:pt x="437915" y="314516"/>
                  </a:cubicBezTo>
                  <a:cubicBezTo>
                    <a:pt x="429279" y="292754"/>
                    <a:pt x="433788" y="290906"/>
                    <a:pt x="425152" y="269145"/>
                  </a:cubicBezTo>
                  <a:cubicBezTo>
                    <a:pt x="416452" y="247383"/>
                    <a:pt x="415754" y="247663"/>
                    <a:pt x="406927" y="225901"/>
                  </a:cubicBezTo>
                  <a:cubicBezTo>
                    <a:pt x="398102" y="204140"/>
                    <a:pt x="396514" y="204851"/>
                    <a:pt x="387751" y="183090"/>
                  </a:cubicBezTo>
                  <a:cubicBezTo>
                    <a:pt x="378924" y="161328"/>
                    <a:pt x="381591" y="160331"/>
                    <a:pt x="372764" y="138570"/>
                  </a:cubicBezTo>
                  <a:cubicBezTo>
                    <a:pt x="363938" y="116808"/>
                    <a:pt x="363938" y="116808"/>
                    <a:pt x="355175" y="95047"/>
                  </a:cubicBezTo>
                  <a:cubicBezTo>
                    <a:pt x="346349" y="73285"/>
                    <a:pt x="343174" y="74568"/>
                    <a:pt x="334411" y="52807"/>
                  </a:cubicBezTo>
                  <a:cubicBezTo>
                    <a:pt x="325584" y="31039"/>
                    <a:pt x="323425" y="31896"/>
                    <a:pt x="314599" y="10135"/>
                  </a:cubicBezTo>
                  <a:cubicBezTo>
                    <a:pt x="309202" y="-3378"/>
                    <a:pt x="294533" y="-3378"/>
                    <a:pt x="289008" y="10135"/>
                  </a:cubicBezTo>
                  <a:cubicBezTo>
                    <a:pt x="279039" y="31039"/>
                    <a:pt x="275927" y="29616"/>
                    <a:pt x="265513" y="50387"/>
                  </a:cubicBezTo>
                  <a:cubicBezTo>
                    <a:pt x="255163" y="71152"/>
                    <a:pt x="255861" y="71577"/>
                    <a:pt x="245638" y="92342"/>
                  </a:cubicBezTo>
                  <a:cubicBezTo>
                    <a:pt x="235414" y="113113"/>
                    <a:pt x="234842" y="112967"/>
                    <a:pt x="224428" y="133737"/>
                  </a:cubicBezTo>
                  <a:cubicBezTo>
                    <a:pt x="214078" y="154502"/>
                    <a:pt x="216618" y="155785"/>
                    <a:pt x="206395" y="176549"/>
                  </a:cubicBezTo>
                  <a:cubicBezTo>
                    <a:pt x="196108" y="197313"/>
                    <a:pt x="194139" y="196463"/>
                    <a:pt x="183915" y="217227"/>
                  </a:cubicBezTo>
                  <a:cubicBezTo>
                    <a:pt x="173628" y="237992"/>
                    <a:pt x="171787" y="237141"/>
                    <a:pt x="161564" y="258051"/>
                  </a:cubicBezTo>
                  <a:cubicBezTo>
                    <a:pt x="151340" y="278956"/>
                    <a:pt x="151023" y="278816"/>
                    <a:pt x="140672" y="299580"/>
                  </a:cubicBezTo>
                  <a:cubicBezTo>
                    <a:pt x="130258" y="320345"/>
                    <a:pt x="134259" y="322339"/>
                    <a:pt x="124035" y="343103"/>
                  </a:cubicBezTo>
                  <a:cubicBezTo>
                    <a:pt x="113748" y="363874"/>
                    <a:pt x="113621" y="363874"/>
                    <a:pt x="103398" y="384778"/>
                  </a:cubicBezTo>
                  <a:cubicBezTo>
                    <a:pt x="93174" y="405689"/>
                    <a:pt x="88031" y="403130"/>
                    <a:pt x="77616" y="423894"/>
                  </a:cubicBezTo>
                  <a:cubicBezTo>
                    <a:pt x="67266" y="444659"/>
                    <a:pt x="70949" y="446513"/>
                    <a:pt x="60599" y="467417"/>
                  </a:cubicBezTo>
                  <a:cubicBezTo>
                    <a:pt x="50185" y="488328"/>
                    <a:pt x="47772" y="487045"/>
                    <a:pt x="37548" y="507956"/>
                  </a:cubicBezTo>
                  <a:cubicBezTo>
                    <a:pt x="27325" y="528866"/>
                    <a:pt x="27578" y="529006"/>
                    <a:pt x="17926" y="550202"/>
                  </a:cubicBezTo>
                  <a:cubicBezTo>
                    <a:pt x="12529" y="565138"/>
                    <a:pt x="12339" y="581349"/>
                    <a:pt x="9672" y="596710"/>
                  </a:cubicBezTo>
                  <a:cubicBezTo>
                    <a:pt x="6941" y="612070"/>
                    <a:pt x="401" y="627431"/>
                    <a:pt x="147" y="643077"/>
                  </a:cubicBezTo>
                  <a:cubicBezTo>
                    <a:pt x="-171" y="658724"/>
                    <a:pt x="-171" y="675081"/>
                    <a:pt x="2242" y="690588"/>
                  </a:cubicBezTo>
                  <a:cubicBezTo>
                    <a:pt x="4655" y="706088"/>
                    <a:pt x="12783" y="720458"/>
                    <a:pt x="17609" y="735533"/>
                  </a:cubicBezTo>
                  <a:cubicBezTo>
                    <a:pt x="22435" y="750608"/>
                    <a:pt x="25991" y="765969"/>
                    <a:pt x="33421" y="780053"/>
                  </a:cubicBezTo>
                  <a:cubicBezTo>
                    <a:pt x="40787" y="794131"/>
                    <a:pt x="49359" y="807218"/>
                    <a:pt x="58884" y="819881"/>
                  </a:cubicBezTo>
                  <a:cubicBezTo>
                    <a:pt x="68409" y="832536"/>
                    <a:pt x="81173" y="841642"/>
                    <a:pt x="92857" y="852589"/>
                  </a:cubicBezTo>
                  <a:cubicBezTo>
                    <a:pt x="107208" y="866115"/>
                    <a:pt x="103525" y="869925"/>
                    <a:pt x="117876" y="883323"/>
                  </a:cubicBezTo>
                  <a:cubicBezTo>
                    <a:pt x="132290" y="896658"/>
                    <a:pt x="132290" y="896849"/>
                    <a:pt x="146514" y="910184"/>
                  </a:cubicBezTo>
                  <a:cubicBezTo>
                    <a:pt x="160738" y="923582"/>
                    <a:pt x="164992" y="919328"/>
                    <a:pt x="179216" y="932663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79D5D2E-396B-96E0-9373-F3F0953B06C9}"/>
                </a:ext>
              </a:extLst>
            </p:cNvPr>
            <p:cNvSpPr/>
            <p:nvPr/>
          </p:nvSpPr>
          <p:spPr>
            <a:xfrm>
              <a:off x="10076688" y="5955284"/>
              <a:ext cx="313943" cy="219043"/>
            </a:xfrm>
            <a:custGeom>
              <a:avLst/>
              <a:gdLst>
                <a:gd name="connsiteX0" fmla="*/ 11811 w 313943"/>
                <a:gd name="connsiteY0" fmla="*/ 219043 h 219043"/>
                <a:gd name="connsiteX1" fmla="*/ 0 w 313943"/>
                <a:gd name="connsiteY1" fmla="*/ 158452 h 219043"/>
                <a:gd name="connsiteX2" fmla="*/ 7810 w 313943"/>
                <a:gd name="connsiteY2" fmla="*/ 110515 h 219043"/>
                <a:gd name="connsiteX3" fmla="*/ 29718 w 313943"/>
                <a:gd name="connsiteY3" fmla="*/ 67278 h 219043"/>
                <a:gd name="connsiteX4" fmla="*/ 62293 w 313943"/>
                <a:gd name="connsiteY4" fmla="*/ 30581 h 219043"/>
                <a:gd name="connsiteX5" fmla="*/ 107506 w 313943"/>
                <a:gd name="connsiteY5" fmla="*/ 11519 h 219043"/>
                <a:gd name="connsiteX6" fmla="*/ 155321 w 313943"/>
                <a:gd name="connsiteY6" fmla="*/ 0 h 219043"/>
                <a:gd name="connsiteX7" fmla="*/ 205232 w 313943"/>
                <a:gd name="connsiteY7" fmla="*/ 4832 h 219043"/>
                <a:gd name="connsiteX8" fmla="*/ 246190 w 313943"/>
                <a:gd name="connsiteY8" fmla="*/ 33280 h 219043"/>
                <a:gd name="connsiteX9" fmla="*/ 284480 w 313943"/>
                <a:gd name="connsiteY9" fmla="*/ 64573 h 219043"/>
                <a:gd name="connsiteX10" fmla="*/ 302705 w 313943"/>
                <a:gd name="connsiteY10" fmla="*/ 110515 h 219043"/>
                <a:gd name="connsiteX11" fmla="*/ 313944 w 313943"/>
                <a:gd name="connsiteY11" fmla="*/ 158452 h 2190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3943" h="219043">
                  <a:moveTo>
                    <a:pt x="11811" y="219043"/>
                  </a:moveTo>
                  <a:cubicBezTo>
                    <a:pt x="3873" y="200127"/>
                    <a:pt x="0" y="180213"/>
                    <a:pt x="0" y="158452"/>
                  </a:cubicBezTo>
                  <a:cubicBezTo>
                    <a:pt x="0" y="141382"/>
                    <a:pt x="2857" y="125876"/>
                    <a:pt x="7810" y="110515"/>
                  </a:cubicBezTo>
                  <a:cubicBezTo>
                    <a:pt x="12827" y="95155"/>
                    <a:pt x="20066" y="80505"/>
                    <a:pt x="29718" y="67278"/>
                  </a:cubicBezTo>
                  <a:cubicBezTo>
                    <a:pt x="39433" y="54051"/>
                    <a:pt x="48958" y="40392"/>
                    <a:pt x="62293" y="30581"/>
                  </a:cubicBezTo>
                  <a:cubicBezTo>
                    <a:pt x="75692" y="20764"/>
                    <a:pt x="91631" y="16783"/>
                    <a:pt x="107506" y="11519"/>
                  </a:cubicBezTo>
                  <a:cubicBezTo>
                    <a:pt x="123444" y="6255"/>
                    <a:pt x="138240" y="0"/>
                    <a:pt x="155321" y="0"/>
                  </a:cubicBezTo>
                  <a:cubicBezTo>
                    <a:pt x="172403" y="0"/>
                    <a:pt x="189865" y="0"/>
                    <a:pt x="205232" y="4832"/>
                  </a:cubicBezTo>
                  <a:cubicBezTo>
                    <a:pt x="220599" y="9671"/>
                    <a:pt x="232981" y="23609"/>
                    <a:pt x="246190" y="33280"/>
                  </a:cubicBezTo>
                  <a:cubicBezTo>
                    <a:pt x="259461" y="42951"/>
                    <a:pt x="274638" y="51206"/>
                    <a:pt x="284480" y="64573"/>
                  </a:cubicBezTo>
                  <a:cubicBezTo>
                    <a:pt x="294259" y="77946"/>
                    <a:pt x="297561" y="94583"/>
                    <a:pt x="302705" y="110515"/>
                  </a:cubicBezTo>
                  <a:cubicBezTo>
                    <a:pt x="307784" y="126447"/>
                    <a:pt x="313944" y="141382"/>
                    <a:pt x="313944" y="158452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22D2E95-0616-C69D-57AF-6E2822F465A6}"/>
                </a:ext>
              </a:extLst>
            </p:cNvPr>
            <p:cNvSpPr/>
            <p:nvPr/>
          </p:nvSpPr>
          <p:spPr>
            <a:xfrm>
              <a:off x="9982961" y="6197943"/>
              <a:ext cx="192151" cy="191871"/>
            </a:xfrm>
            <a:custGeom>
              <a:avLst/>
              <a:gdLst>
                <a:gd name="connsiteX0" fmla="*/ 97854 w 192151"/>
                <a:gd name="connsiteY0" fmla="*/ 191872 h 191871"/>
                <a:gd name="connsiteX1" fmla="*/ 50229 w 192151"/>
                <a:gd name="connsiteY1" fmla="*/ 176378 h 191871"/>
                <a:gd name="connsiteX2" fmla="*/ 13653 w 192151"/>
                <a:gd name="connsiteY2" fmla="*/ 142519 h 191871"/>
                <a:gd name="connsiteX3" fmla="*/ 0 w 192151"/>
                <a:gd name="connsiteY3" fmla="*/ 93878 h 191871"/>
                <a:gd name="connsiteX4" fmla="*/ 16383 w 192151"/>
                <a:gd name="connsiteY4" fmla="*/ 46799 h 191871"/>
                <a:gd name="connsiteX5" fmla="*/ 51943 w 192151"/>
                <a:gd name="connsiteY5" fmla="*/ 14224 h 191871"/>
                <a:gd name="connsiteX6" fmla="*/ 97854 w 192151"/>
                <a:gd name="connsiteY6" fmla="*/ 0 h 191871"/>
                <a:gd name="connsiteX7" fmla="*/ 146050 w 192151"/>
                <a:gd name="connsiteY7" fmla="*/ 10242 h 191871"/>
                <a:gd name="connsiteX8" fmla="*/ 179197 w 192151"/>
                <a:gd name="connsiteY8" fmla="*/ 46799 h 191871"/>
                <a:gd name="connsiteX9" fmla="*/ 192151 w 192151"/>
                <a:gd name="connsiteY9" fmla="*/ 93732 h 191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2151" h="191871">
                  <a:moveTo>
                    <a:pt x="97854" y="191872"/>
                  </a:moveTo>
                  <a:cubicBezTo>
                    <a:pt x="80518" y="191872"/>
                    <a:pt x="64262" y="184315"/>
                    <a:pt x="50229" y="176378"/>
                  </a:cubicBezTo>
                  <a:cubicBezTo>
                    <a:pt x="36132" y="168377"/>
                    <a:pt x="22034" y="157010"/>
                    <a:pt x="13653" y="142519"/>
                  </a:cubicBezTo>
                  <a:cubicBezTo>
                    <a:pt x="5270" y="128016"/>
                    <a:pt x="0" y="111227"/>
                    <a:pt x="0" y="93878"/>
                  </a:cubicBezTo>
                  <a:cubicBezTo>
                    <a:pt x="0" y="76524"/>
                    <a:pt x="8255" y="60877"/>
                    <a:pt x="16383" y="46799"/>
                  </a:cubicBezTo>
                  <a:cubicBezTo>
                    <a:pt x="24447" y="32715"/>
                    <a:pt x="37402" y="22619"/>
                    <a:pt x="51943" y="14224"/>
                  </a:cubicBezTo>
                  <a:cubicBezTo>
                    <a:pt x="66421" y="5836"/>
                    <a:pt x="80518" y="0"/>
                    <a:pt x="97854" y="0"/>
                  </a:cubicBezTo>
                  <a:cubicBezTo>
                    <a:pt x="115189" y="0"/>
                    <a:pt x="132144" y="2134"/>
                    <a:pt x="146050" y="10242"/>
                  </a:cubicBezTo>
                  <a:cubicBezTo>
                    <a:pt x="160020" y="18351"/>
                    <a:pt x="170815" y="32290"/>
                    <a:pt x="179197" y="46799"/>
                  </a:cubicBezTo>
                  <a:cubicBezTo>
                    <a:pt x="187579" y="61303"/>
                    <a:pt x="192151" y="76524"/>
                    <a:pt x="192151" y="93732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03ED704-D42D-E9F2-FEA6-D5EBC0814151}"/>
                </a:ext>
              </a:extLst>
            </p:cNvPr>
            <p:cNvSpPr/>
            <p:nvPr/>
          </p:nvSpPr>
          <p:spPr>
            <a:xfrm>
              <a:off x="10158539" y="5576652"/>
              <a:ext cx="454978" cy="358006"/>
            </a:xfrm>
            <a:custGeom>
              <a:avLst/>
              <a:gdLst>
                <a:gd name="connsiteX0" fmla="*/ 17717 w 454978"/>
                <a:gd name="connsiteY0" fmla="*/ 358006 h 358006"/>
                <a:gd name="connsiteX1" fmla="*/ 2350 w 454978"/>
                <a:gd name="connsiteY1" fmla="*/ 306514 h 358006"/>
                <a:gd name="connsiteX2" fmla="*/ 508 w 454978"/>
                <a:gd name="connsiteY2" fmla="*/ 253321 h 358006"/>
                <a:gd name="connsiteX3" fmla="*/ 4382 w 454978"/>
                <a:gd name="connsiteY3" fmla="*/ 204394 h 358006"/>
                <a:gd name="connsiteX4" fmla="*/ 20129 w 454978"/>
                <a:gd name="connsiteY4" fmla="*/ 158020 h 358006"/>
                <a:gd name="connsiteX5" fmla="*/ 43180 w 454978"/>
                <a:gd name="connsiteY5" fmla="*/ 115068 h 358006"/>
                <a:gd name="connsiteX6" fmla="*/ 70929 w 454978"/>
                <a:gd name="connsiteY6" fmla="*/ 74104 h 358006"/>
                <a:gd name="connsiteX7" fmla="*/ 110173 w 454978"/>
                <a:gd name="connsiteY7" fmla="*/ 43809 h 358006"/>
                <a:gd name="connsiteX8" fmla="*/ 153290 w 454978"/>
                <a:gd name="connsiteY8" fmla="*/ 19488 h 358006"/>
                <a:gd name="connsiteX9" fmla="*/ 201613 w 454978"/>
                <a:gd name="connsiteY9" fmla="*/ 9385 h 358006"/>
                <a:gd name="connsiteX10" fmla="*/ 250127 w 454978"/>
                <a:gd name="connsiteY10" fmla="*/ 0 h 358006"/>
                <a:gd name="connsiteX11" fmla="*/ 296355 w 454978"/>
                <a:gd name="connsiteY11" fmla="*/ 9531 h 358006"/>
                <a:gd name="connsiteX12" fmla="*/ 341440 w 454978"/>
                <a:gd name="connsiteY12" fmla="*/ 21190 h 358006"/>
                <a:gd name="connsiteX13" fmla="*/ 384810 w 454978"/>
                <a:gd name="connsiteY13" fmla="*/ 39395 h 358006"/>
                <a:gd name="connsiteX14" fmla="*/ 423228 w 454978"/>
                <a:gd name="connsiteY14" fmla="*/ 67278 h 358006"/>
                <a:gd name="connsiteX15" fmla="*/ 454978 w 454978"/>
                <a:gd name="connsiteY15" fmla="*/ 102552 h 3580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54978" h="358006">
                  <a:moveTo>
                    <a:pt x="17717" y="358006"/>
                  </a:moveTo>
                  <a:cubicBezTo>
                    <a:pt x="10478" y="341935"/>
                    <a:pt x="6223" y="324155"/>
                    <a:pt x="2350" y="306514"/>
                  </a:cubicBezTo>
                  <a:cubicBezTo>
                    <a:pt x="-1460" y="288880"/>
                    <a:pt x="508" y="271386"/>
                    <a:pt x="508" y="253321"/>
                  </a:cubicBezTo>
                  <a:cubicBezTo>
                    <a:pt x="508" y="236538"/>
                    <a:pt x="1207" y="220320"/>
                    <a:pt x="4382" y="204394"/>
                  </a:cubicBezTo>
                  <a:cubicBezTo>
                    <a:pt x="7493" y="188462"/>
                    <a:pt x="13907" y="173101"/>
                    <a:pt x="20129" y="158020"/>
                  </a:cubicBezTo>
                  <a:cubicBezTo>
                    <a:pt x="26417" y="142945"/>
                    <a:pt x="34100" y="128581"/>
                    <a:pt x="43180" y="115068"/>
                  </a:cubicBezTo>
                  <a:cubicBezTo>
                    <a:pt x="52261" y="101555"/>
                    <a:pt x="59246" y="85769"/>
                    <a:pt x="70929" y="74104"/>
                  </a:cubicBezTo>
                  <a:cubicBezTo>
                    <a:pt x="82550" y="62440"/>
                    <a:pt x="96393" y="53054"/>
                    <a:pt x="110173" y="43809"/>
                  </a:cubicBezTo>
                  <a:cubicBezTo>
                    <a:pt x="123953" y="34563"/>
                    <a:pt x="137922" y="25889"/>
                    <a:pt x="153290" y="19488"/>
                  </a:cubicBezTo>
                  <a:cubicBezTo>
                    <a:pt x="168656" y="13087"/>
                    <a:pt x="185293" y="12655"/>
                    <a:pt x="201613" y="9385"/>
                  </a:cubicBezTo>
                  <a:cubicBezTo>
                    <a:pt x="217996" y="6115"/>
                    <a:pt x="233363" y="0"/>
                    <a:pt x="250127" y="0"/>
                  </a:cubicBezTo>
                  <a:cubicBezTo>
                    <a:pt x="266891" y="0"/>
                    <a:pt x="281115" y="6540"/>
                    <a:pt x="296355" y="9531"/>
                  </a:cubicBezTo>
                  <a:cubicBezTo>
                    <a:pt x="311595" y="12516"/>
                    <a:pt x="326962" y="15500"/>
                    <a:pt x="341440" y="21190"/>
                  </a:cubicBezTo>
                  <a:cubicBezTo>
                    <a:pt x="355981" y="26879"/>
                    <a:pt x="371603" y="31147"/>
                    <a:pt x="384810" y="39395"/>
                  </a:cubicBezTo>
                  <a:cubicBezTo>
                    <a:pt x="398082" y="47650"/>
                    <a:pt x="411734" y="56610"/>
                    <a:pt x="423228" y="67278"/>
                  </a:cubicBezTo>
                  <a:cubicBezTo>
                    <a:pt x="434785" y="77946"/>
                    <a:pt x="445707" y="89891"/>
                    <a:pt x="454978" y="102552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F498005-D37E-D6B2-B9E0-584CCE900076}"/>
                </a:ext>
              </a:extLst>
            </p:cNvPr>
            <p:cNvSpPr/>
            <p:nvPr/>
          </p:nvSpPr>
          <p:spPr>
            <a:xfrm>
              <a:off x="10552493" y="5314879"/>
              <a:ext cx="288861" cy="288804"/>
            </a:xfrm>
            <a:custGeom>
              <a:avLst/>
              <a:gdLst>
                <a:gd name="connsiteX0" fmla="*/ 0 w 288861"/>
                <a:gd name="connsiteY0" fmla="*/ 288805 h 288804"/>
                <a:gd name="connsiteX1" fmla="*/ 3111 w 288861"/>
                <a:gd name="connsiteY1" fmla="*/ 243574 h 288804"/>
                <a:gd name="connsiteX2" fmla="*/ 14605 w 288861"/>
                <a:gd name="connsiteY2" fmla="*/ 199626 h 288804"/>
                <a:gd name="connsiteX3" fmla="*/ 34099 w 288861"/>
                <a:gd name="connsiteY3" fmla="*/ 158948 h 288804"/>
                <a:gd name="connsiteX4" fmla="*/ 53721 w 288861"/>
                <a:gd name="connsiteY4" fmla="*/ 117844 h 288804"/>
                <a:gd name="connsiteX5" fmla="*/ 87185 w 288861"/>
                <a:gd name="connsiteY5" fmla="*/ 86977 h 288804"/>
                <a:gd name="connsiteX6" fmla="*/ 121729 w 288861"/>
                <a:gd name="connsiteY6" fmla="*/ 58669 h 288804"/>
                <a:gd name="connsiteX7" fmla="*/ 159702 w 288861"/>
                <a:gd name="connsiteY7" fmla="*/ 35345 h 288804"/>
                <a:gd name="connsiteX8" fmla="*/ 200406 w 288861"/>
                <a:gd name="connsiteY8" fmla="*/ 16428 h 288804"/>
                <a:gd name="connsiteX9" fmla="*/ 243332 w 288861"/>
                <a:gd name="connsiteY9" fmla="*/ 1354 h 288804"/>
                <a:gd name="connsiteX10" fmla="*/ 288861 w 288861"/>
                <a:gd name="connsiteY10" fmla="*/ 496 h 288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88861" h="288804">
                  <a:moveTo>
                    <a:pt x="0" y="288805"/>
                  </a:moveTo>
                  <a:cubicBezTo>
                    <a:pt x="0" y="273445"/>
                    <a:pt x="825" y="258230"/>
                    <a:pt x="3111" y="243574"/>
                  </a:cubicBezTo>
                  <a:cubicBezTo>
                    <a:pt x="5397" y="228925"/>
                    <a:pt x="9906" y="213850"/>
                    <a:pt x="14605" y="199626"/>
                  </a:cubicBezTo>
                  <a:cubicBezTo>
                    <a:pt x="19303" y="185402"/>
                    <a:pt x="27305" y="172314"/>
                    <a:pt x="34099" y="158948"/>
                  </a:cubicBezTo>
                  <a:cubicBezTo>
                    <a:pt x="40957" y="145575"/>
                    <a:pt x="44894" y="130074"/>
                    <a:pt x="53721" y="117844"/>
                  </a:cubicBezTo>
                  <a:cubicBezTo>
                    <a:pt x="62547" y="105608"/>
                    <a:pt x="76517" y="97645"/>
                    <a:pt x="87185" y="86977"/>
                  </a:cubicBezTo>
                  <a:cubicBezTo>
                    <a:pt x="97853" y="76309"/>
                    <a:pt x="109474" y="67489"/>
                    <a:pt x="121729" y="58669"/>
                  </a:cubicBezTo>
                  <a:cubicBezTo>
                    <a:pt x="133985" y="49855"/>
                    <a:pt x="146367" y="42171"/>
                    <a:pt x="159702" y="35345"/>
                  </a:cubicBezTo>
                  <a:cubicBezTo>
                    <a:pt x="173100" y="28519"/>
                    <a:pt x="185864" y="21121"/>
                    <a:pt x="200406" y="16428"/>
                  </a:cubicBezTo>
                  <a:cubicBezTo>
                    <a:pt x="214884" y="11735"/>
                    <a:pt x="228282" y="3766"/>
                    <a:pt x="243332" y="1354"/>
                  </a:cubicBezTo>
                  <a:cubicBezTo>
                    <a:pt x="258445" y="-1066"/>
                    <a:pt x="273621" y="496"/>
                    <a:pt x="288861" y="496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BC5882F-EFD9-5DA7-80AE-25B4CFDA8987}"/>
                </a:ext>
              </a:extLst>
            </p:cNvPr>
            <p:cNvSpPr/>
            <p:nvPr/>
          </p:nvSpPr>
          <p:spPr>
            <a:xfrm>
              <a:off x="10860396" y="5236691"/>
              <a:ext cx="178507" cy="108129"/>
            </a:xfrm>
            <a:custGeom>
              <a:avLst/>
              <a:gdLst>
                <a:gd name="connsiteX0" fmla="*/ 9 w 178507"/>
                <a:gd name="connsiteY0" fmla="*/ 108129 h 108129"/>
                <a:gd name="connsiteX1" fmla="*/ 5025 w 178507"/>
                <a:gd name="connsiteY1" fmla="*/ 65317 h 108129"/>
                <a:gd name="connsiteX2" fmla="*/ 32457 w 178507"/>
                <a:gd name="connsiteY2" fmla="*/ 32177 h 108129"/>
                <a:gd name="connsiteX3" fmla="*/ 66429 w 178507"/>
                <a:gd name="connsiteY3" fmla="*/ 6713 h 108129"/>
                <a:gd name="connsiteX4" fmla="*/ 108403 w 178507"/>
                <a:gd name="connsiteY4" fmla="*/ 1170 h 108129"/>
                <a:gd name="connsiteX5" fmla="*/ 145677 w 178507"/>
                <a:gd name="connsiteY5" fmla="*/ 2021 h 108129"/>
                <a:gd name="connsiteX6" fmla="*/ 178507 w 178507"/>
                <a:gd name="connsiteY6" fmla="*/ 20658 h 108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8507" h="108129">
                  <a:moveTo>
                    <a:pt x="9" y="108129"/>
                  </a:moveTo>
                  <a:cubicBezTo>
                    <a:pt x="9" y="93340"/>
                    <a:pt x="-436" y="78119"/>
                    <a:pt x="5025" y="65317"/>
                  </a:cubicBezTo>
                  <a:cubicBezTo>
                    <a:pt x="10422" y="52516"/>
                    <a:pt x="22487" y="42273"/>
                    <a:pt x="32457" y="32177"/>
                  </a:cubicBezTo>
                  <a:cubicBezTo>
                    <a:pt x="42426" y="22080"/>
                    <a:pt x="53095" y="12263"/>
                    <a:pt x="66429" y="6713"/>
                  </a:cubicBezTo>
                  <a:cubicBezTo>
                    <a:pt x="79828" y="1170"/>
                    <a:pt x="93608" y="1170"/>
                    <a:pt x="108403" y="1170"/>
                  </a:cubicBezTo>
                  <a:cubicBezTo>
                    <a:pt x="121039" y="1170"/>
                    <a:pt x="134311" y="-1961"/>
                    <a:pt x="145677" y="2021"/>
                  </a:cubicBezTo>
                  <a:cubicBezTo>
                    <a:pt x="157044" y="6002"/>
                    <a:pt x="168982" y="12974"/>
                    <a:pt x="178507" y="20658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2" name="Freeform: Shape 41">
              <a:extLst>
                <a:ext uri="{FF2B5EF4-FFF2-40B4-BE49-F238E27FC236}">
                  <a16:creationId xmlns:a16="http://schemas.microsoft.com/office/drawing/2014/main" id="{475DE5CF-FE56-429D-ADC6-B7C831612D9E}"/>
                </a:ext>
              </a:extLst>
            </p:cNvPr>
            <p:cNvSpPr/>
            <p:nvPr/>
          </p:nvSpPr>
          <p:spPr>
            <a:xfrm>
              <a:off x="11022012" y="5233301"/>
              <a:ext cx="258571" cy="130428"/>
            </a:xfrm>
            <a:custGeom>
              <a:avLst/>
              <a:gdLst>
                <a:gd name="connsiteX0" fmla="*/ 258572 w 258571"/>
                <a:gd name="connsiteY0" fmla="*/ 130283 h 130428"/>
                <a:gd name="connsiteX1" fmla="*/ 248031 w 258571"/>
                <a:gd name="connsiteY1" fmla="*/ 82067 h 130428"/>
                <a:gd name="connsiteX2" fmla="*/ 221170 w 258571"/>
                <a:gd name="connsiteY2" fmla="*/ 40678 h 130428"/>
                <a:gd name="connsiteX3" fmla="*/ 180594 w 258571"/>
                <a:gd name="connsiteY3" fmla="*/ 11659 h 130428"/>
                <a:gd name="connsiteX4" fmla="*/ 131381 w 258571"/>
                <a:gd name="connsiteY4" fmla="*/ 0 h 130428"/>
                <a:gd name="connsiteX5" fmla="*/ 83756 w 258571"/>
                <a:gd name="connsiteY5" fmla="*/ 15360 h 130428"/>
                <a:gd name="connsiteX6" fmla="*/ 39370 w 258571"/>
                <a:gd name="connsiteY6" fmla="*/ 38398 h 130428"/>
                <a:gd name="connsiteX7" fmla="*/ 15748 w 258571"/>
                <a:gd name="connsiteY7" fmla="*/ 82493 h 130428"/>
                <a:gd name="connsiteX8" fmla="*/ 0 w 258571"/>
                <a:gd name="connsiteY8" fmla="*/ 130429 h 130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571" h="130428">
                  <a:moveTo>
                    <a:pt x="258572" y="130283"/>
                  </a:moveTo>
                  <a:cubicBezTo>
                    <a:pt x="258572" y="112935"/>
                    <a:pt x="254318" y="97142"/>
                    <a:pt x="248031" y="82067"/>
                  </a:cubicBezTo>
                  <a:cubicBezTo>
                    <a:pt x="241744" y="66992"/>
                    <a:pt x="232981" y="52482"/>
                    <a:pt x="221170" y="40678"/>
                  </a:cubicBezTo>
                  <a:cubicBezTo>
                    <a:pt x="209359" y="28873"/>
                    <a:pt x="196279" y="18205"/>
                    <a:pt x="180594" y="11659"/>
                  </a:cubicBezTo>
                  <a:cubicBezTo>
                    <a:pt x="164973" y="5118"/>
                    <a:pt x="148781" y="0"/>
                    <a:pt x="131381" y="0"/>
                  </a:cubicBezTo>
                  <a:cubicBezTo>
                    <a:pt x="114046" y="0"/>
                    <a:pt x="98806" y="9099"/>
                    <a:pt x="83756" y="15360"/>
                  </a:cubicBezTo>
                  <a:cubicBezTo>
                    <a:pt x="68644" y="21615"/>
                    <a:pt x="51181" y="26594"/>
                    <a:pt x="39370" y="38398"/>
                  </a:cubicBezTo>
                  <a:cubicBezTo>
                    <a:pt x="27559" y="50209"/>
                    <a:pt x="22161" y="66846"/>
                    <a:pt x="15748" y="82493"/>
                  </a:cubicBezTo>
                  <a:cubicBezTo>
                    <a:pt x="9334" y="98139"/>
                    <a:pt x="0" y="113074"/>
                    <a:pt x="0" y="130429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2E3B20F6-21E6-9F50-8998-C451C90EF052}"/>
                </a:ext>
              </a:extLst>
            </p:cNvPr>
            <p:cNvSpPr/>
            <p:nvPr/>
          </p:nvSpPr>
          <p:spPr>
            <a:xfrm>
              <a:off x="11289982" y="5261373"/>
              <a:ext cx="208216" cy="54141"/>
            </a:xfrm>
            <a:custGeom>
              <a:avLst/>
              <a:gdLst>
                <a:gd name="connsiteX0" fmla="*/ 208217 w 208216"/>
                <a:gd name="connsiteY0" fmla="*/ 54142 h 54141"/>
                <a:gd name="connsiteX1" fmla="*/ 175387 w 208216"/>
                <a:gd name="connsiteY1" fmla="*/ 23846 h 54141"/>
                <a:gd name="connsiteX2" fmla="*/ 133795 w 208216"/>
                <a:gd name="connsiteY2" fmla="*/ 8200 h 54141"/>
                <a:gd name="connsiteX3" fmla="*/ 90742 w 208216"/>
                <a:gd name="connsiteY3" fmla="*/ 948 h 54141"/>
                <a:gd name="connsiteX4" fmla="*/ 41783 w 208216"/>
                <a:gd name="connsiteY4" fmla="*/ 2936 h 54141"/>
                <a:gd name="connsiteX5" fmla="*/ 0 w 208216"/>
                <a:gd name="connsiteY5" fmla="*/ 28678 h 541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08216" h="54141">
                  <a:moveTo>
                    <a:pt x="208217" y="54142"/>
                  </a:moveTo>
                  <a:cubicBezTo>
                    <a:pt x="198819" y="42477"/>
                    <a:pt x="187706" y="32234"/>
                    <a:pt x="175387" y="23846"/>
                  </a:cubicBezTo>
                  <a:cubicBezTo>
                    <a:pt x="163005" y="15451"/>
                    <a:pt x="148337" y="12752"/>
                    <a:pt x="133795" y="8200"/>
                  </a:cubicBezTo>
                  <a:cubicBezTo>
                    <a:pt x="119317" y="3647"/>
                    <a:pt x="106109" y="948"/>
                    <a:pt x="90742" y="948"/>
                  </a:cubicBezTo>
                  <a:cubicBezTo>
                    <a:pt x="73914" y="948"/>
                    <a:pt x="56897" y="-2183"/>
                    <a:pt x="41783" y="2936"/>
                  </a:cubicBezTo>
                  <a:cubicBezTo>
                    <a:pt x="26734" y="8060"/>
                    <a:pt x="12764" y="19007"/>
                    <a:pt x="0" y="28678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4" name="Freeform: Shape 43">
              <a:extLst>
                <a:ext uri="{FF2B5EF4-FFF2-40B4-BE49-F238E27FC236}">
                  <a16:creationId xmlns:a16="http://schemas.microsoft.com/office/drawing/2014/main" id="{06872A18-377F-2C13-0EDD-9092D302E81E}"/>
                </a:ext>
              </a:extLst>
            </p:cNvPr>
            <p:cNvSpPr/>
            <p:nvPr/>
          </p:nvSpPr>
          <p:spPr>
            <a:xfrm>
              <a:off x="11298491" y="5275402"/>
              <a:ext cx="728446" cy="540632"/>
            </a:xfrm>
            <a:custGeom>
              <a:avLst/>
              <a:gdLst>
                <a:gd name="connsiteX0" fmla="*/ 0 w 728446"/>
                <a:gd name="connsiteY0" fmla="*/ 367817 h 540632"/>
                <a:gd name="connsiteX1" fmla="*/ 6096 w 728446"/>
                <a:gd name="connsiteY1" fmla="*/ 320453 h 540632"/>
                <a:gd name="connsiteX2" fmla="*/ 11366 w 728446"/>
                <a:gd name="connsiteY2" fmla="*/ 272948 h 540632"/>
                <a:gd name="connsiteX3" fmla="*/ 27051 w 728446"/>
                <a:gd name="connsiteY3" fmla="*/ 227718 h 540632"/>
                <a:gd name="connsiteX4" fmla="*/ 51371 w 728446"/>
                <a:gd name="connsiteY4" fmla="*/ 186614 h 540632"/>
                <a:gd name="connsiteX5" fmla="*/ 75946 w 728446"/>
                <a:gd name="connsiteY5" fmla="*/ 145936 h 540632"/>
                <a:gd name="connsiteX6" fmla="*/ 107378 w 728446"/>
                <a:gd name="connsiteY6" fmla="*/ 110090 h 540632"/>
                <a:gd name="connsiteX7" fmla="*/ 143510 w 728446"/>
                <a:gd name="connsiteY7" fmla="*/ 78943 h 540632"/>
                <a:gd name="connsiteX8" fmla="*/ 181102 w 728446"/>
                <a:gd name="connsiteY8" fmla="*/ 48927 h 540632"/>
                <a:gd name="connsiteX9" fmla="*/ 225044 w 728446"/>
                <a:gd name="connsiteY9" fmla="*/ 29585 h 540632"/>
                <a:gd name="connsiteX10" fmla="*/ 271526 w 728446"/>
                <a:gd name="connsiteY10" fmla="*/ 18631 h 540632"/>
                <a:gd name="connsiteX11" fmla="*/ 317309 w 728446"/>
                <a:gd name="connsiteY11" fmla="*/ 4553 h 540632"/>
                <a:gd name="connsiteX12" fmla="*/ 365125 w 728446"/>
                <a:gd name="connsiteY12" fmla="*/ 0 h 540632"/>
                <a:gd name="connsiteX13" fmla="*/ 413067 w 728446"/>
                <a:gd name="connsiteY13" fmla="*/ 3842 h 540632"/>
                <a:gd name="connsiteX14" fmla="*/ 460248 w 728446"/>
                <a:gd name="connsiteY14" fmla="*/ 12802 h 540632"/>
                <a:gd name="connsiteX15" fmla="*/ 504063 w 728446"/>
                <a:gd name="connsiteY15" fmla="*/ 32569 h 540632"/>
                <a:gd name="connsiteX16" fmla="*/ 547052 w 728446"/>
                <a:gd name="connsiteY16" fmla="*/ 53055 h 540632"/>
                <a:gd name="connsiteX17" fmla="*/ 586994 w 728446"/>
                <a:gd name="connsiteY17" fmla="*/ 79083 h 540632"/>
                <a:gd name="connsiteX18" fmla="*/ 621030 w 728446"/>
                <a:gd name="connsiteY18" fmla="*/ 112363 h 540632"/>
                <a:gd name="connsiteX19" fmla="*/ 656589 w 728446"/>
                <a:gd name="connsiteY19" fmla="*/ 144653 h 540632"/>
                <a:gd name="connsiteX20" fmla="*/ 680465 w 728446"/>
                <a:gd name="connsiteY20" fmla="*/ 186189 h 540632"/>
                <a:gd name="connsiteX21" fmla="*/ 699833 w 728446"/>
                <a:gd name="connsiteY21" fmla="*/ 229565 h 540632"/>
                <a:gd name="connsiteX22" fmla="*/ 718693 w 728446"/>
                <a:gd name="connsiteY22" fmla="*/ 273374 h 540632"/>
                <a:gd name="connsiteX23" fmla="*/ 724852 w 728446"/>
                <a:gd name="connsiteY23" fmla="*/ 320739 h 540632"/>
                <a:gd name="connsiteX24" fmla="*/ 728408 w 728446"/>
                <a:gd name="connsiteY24" fmla="*/ 368104 h 540632"/>
                <a:gd name="connsiteX25" fmla="*/ 727139 w 728446"/>
                <a:gd name="connsiteY25" fmla="*/ 413048 h 540632"/>
                <a:gd name="connsiteX26" fmla="*/ 721296 w 728446"/>
                <a:gd name="connsiteY26" fmla="*/ 458000 h 540632"/>
                <a:gd name="connsiteX27" fmla="*/ 705929 w 728446"/>
                <a:gd name="connsiteY27" fmla="*/ 500666 h 540632"/>
                <a:gd name="connsiteX28" fmla="*/ 684847 w 728446"/>
                <a:gd name="connsiteY28" fmla="*/ 540633 h 540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728446" h="540632">
                  <a:moveTo>
                    <a:pt x="0" y="367817"/>
                  </a:moveTo>
                  <a:cubicBezTo>
                    <a:pt x="0" y="351606"/>
                    <a:pt x="4001" y="336099"/>
                    <a:pt x="6096" y="320453"/>
                  </a:cubicBezTo>
                  <a:cubicBezTo>
                    <a:pt x="8255" y="304813"/>
                    <a:pt x="7429" y="288170"/>
                    <a:pt x="11366" y="272948"/>
                  </a:cubicBezTo>
                  <a:cubicBezTo>
                    <a:pt x="15367" y="257728"/>
                    <a:pt x="21082" y="242227"/>
                    <a:pt x="27051" y="227718"/>
                  </a:cubicBezTo>
                  <a:cubicBezTo>
                    <a:pt x="33020" y="213208"/>
                    <a:pt x="43561" y="200406"/>
                    <a:pt x="51371" y="186614"/>
                  </a:cubicBezTo>
                  <a:cubicBezTo>
                    <a:pt x="59182" y="172815"/>
                    <a:pt x="66294" y="158452"/>
                    <a:pt x="75946" y="145936"/>
                  </a:cubicBezTo>
                  <a:cubicBezTo>
                    <a:pt x="85661" y="133414"/>
                    <a:pt x="96139" y="121330"/>
                    <a:pt x="107378" y="110090"/>
                  </a:cubicBezTo>
                  <a:cubicBezTo>
                    <a:pt x="118618" y="98851"/>
                    <a:pt x="130873" y="88754"/>
                    <a:pt x="143510" y="78943"/>
                  </a:cubicBezTo>
                  <a:cubicBezTo>
                    <a:pt x="156210" y="69126"/>
                    <a:pt x="167132" y="56896"/>
                    <a:pt x="181102" y="48927"/>
                  </a:cubicBezTo>
                  <a:cubicBezTo>
                    <a:pt x="195008" y="40964"/>
                    <a:pt x="210248" y="35700"/>
                    <a:pt x="225044" y="29585"/>
                  </a:cubicBezTo>
                  <a:cubicBezTo>
                    <a:pt x="239840" y="23470"/>
                    <a:pt x="256032" y="22759"/>
                    <a:pt x="271526" y="18631"/>
                  </a:cubicBezTo>
                  <a:cubicBezTo>
                    <a:pt x="287020" y="14510"/>
                    <a:pt x="301244" y="6541"/>
                    <a:pt x="317309" y="4553"/>
                  </a:cubicBezTo>
                  <a:cubicBezTo>
                    <a:pt x="333375" y="2559"/>
                    <a:pt x="349059" y="0"/>
                    <a:pt x="365125" y="0"/>
                  </a:cubicBezTo>
                  <a:cubicBezTo>
                    <a:pt x="381190" y="0"/>
                    <a:pt x="397383" y="1708"/>
                    <a:pt x="413067" y="3842"/>
                  </a:cubicBezTo>
                  <a:cubicBezTo>
                    <a:pt x="428689" y="5976"/>
                    <a:pt x="445071" y="8674"/>
                    <a:pt x="460248" y="12802"/>
                  </a:cubicBezTo>
                  <a:cubicBezTo>
                    <a:pt x="475488" y="16923"/>
                    <a:pt x="489458" y="26454"/>
                    <a:pt x="504063" y="32569"/>
                  </a:cubicBezTo>
                  <a:cubicBezTo>
                    <a:pt x="518731" y="38691"/>
                    <a:pt x="533273" y="45091"/>
                    <a:pt x="547052" y="53055"/>
                  </a:cubicBezTo>
                  <a:cubicBezTo>
                    <a:pt x="560832" y="61017"/>
                    <a:pt x="574357" y="69266"/>
                    <a:pt x="586994" y="79083"/>
                  </a:cubicBezTo>
                  <a:cubicBezTo>
                    <a:pt x="599694" y="88894"/>
                    <a:pt x="609790" y="101130"/>
                    <a:pt x="621030" y="112363"/>
                  </a:cubicBezTo>
                  <a:cubicBezTo>
                    <a:pt x="632269" y="123603"/>
                    <a:pt x="646747" y="131991"/>
                    <a:pt x="656589" y="144653"/>
                  </a:cubicBezTo>
                  <a:cubicBezTo>
                    <a:pt x="666369" y="157315"/>
                    <a:pt x="672464" y="172390"/>
                    <a:pt x="680465" y="186189"/>
                  </a:cubicBezTo>
                  <a:cubicBezTo>
                    <a:pt x="688403" y="199981"/>
                    <a:pt x="693674" y="214776"/>
                    <a:pt x="699833" y="229565"/>
                  </a:cubicBezTo>
                  <a:cubicBezTo>
                    <a:pt x="705929" y="244361"/>
                    <a:pt x="714565" y="257874"/>
                    <a:pt x="718693" y="273374"/>
                  </a:cubicBezTo>
                  <a:cubicBezTo>
                    <a:pt x="722820" y="288881"/>
                    <a:pt x="722693" y="304813"/>
                    <a:pt x="724852" y="320739"/>
                  </a:cubicBezTo>
                  <a:cubicBezTo>
                    <a:pt x="726948" y="336671"/>
                    <a:pt x="728408" y="351892"/>
                    <a:pt x="728408" y="368104"/>
                  </a:cubicBezTo>
                  <a:cubicBezTo>
                    <a:pt x="728408" y="383324"/>
                    <a:pt x="728790" y="398399"/>
                    <a:pt x="727139" y="413048"/>
                  </a:cubicBezTo>
                  <a:cubicBezTo>
                    <a:pt x="725424" y="427698"/>
                    <a:pt x="724852" y="443490"/>
                    <a:pt x="721296" y="458000"/>
                  </a:cubicBezTo>
                  <a:cubicBezTo>
                    <a:pt x="717740" y="472504"/>
                    <a:pt x="711454" y="486728"/>
                    <a:pt x="705929" y="500666"/>
                  </a:cubicBezTo>
                  <a:cubicBezTo>
                    <a:pt x="700341" y="514604"/>
                    <a:pt x="692150" y="527406"/>
                    <a:pt x="684847" y="540633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A7C540CF-B74C-B7B6-A58F-53118D9E3848}"/>
                </a:ext>
              </a:extLst>
            </p:cNvPr>
            <p:cNvSpPr/>
            <p:nvPr/>
          </p:nvSpPr>
          <p:spPr>
            <a:xfrm>
              <a:off x="11926887" y="5836659"/>
              <a:ext cx="205124" cy="408787"/>
            </a:xfrm>
            <a:custGeom>
              <a:avLst/>
              <a:gdLst>
                <a:gd name="connsiteX0" fmla="*/ 0 w 205124"/>
                <a:gd name="connsiteY0" fmla="*/ 408787 h 408787"/>
                <a:gd name="connsiteX1" fmla="*/ 44958 w 205124"/>
                <a:gd name="connsiteY1" fmla="*/ 401244 h 408787"/>
                <a:gd name="connsiteX2" fmla="*/ 89027 w 205124"/>
                <a:gd name="connsiteY2" fmla="*/ 389300 h 408787"/>
                <a:gd name="connsiteX3" fmla="*/ 127127 w 205124"/>
                <a:gd name="connsiteY3" fmla="*/ 363982 h 408787"/>
                <a:gd name="connsiteX4" fmla="*/ 159321 w 205124"/>
                <a:gd name="connsiteY4" fmla="*/ 331553 h 408787"/>
                <a:gd name="connsiteX5" fmla="*/ 186182 w 205124"/>
                <a:gd name="connsiteY5" fmla="*/ 294145 h 408787"/>
                <a:gd name="connsiteX6" fmla="*/ 202120 w 205124"/>
                <a:gd name="connsiteY6" fmla="*/ 250622 h 408787"/>
                <a:gd name="connsiteX7" fmla="*/ 205105 w 205124"/>
                <a:gd name="connsiteY7" fmla="*/ 204534 h 408787"/>
                <a:gd name="connsiteX8" fmla="*/ 200279 w 205124"/>
                <a:gd name="connsiteY8" fmla="*/ 158877 h 408787"/>
                <a:gd name="connsiteX9" fmla="*/ 185039 w 205124"/>
                <a:gd name="connsiteY9" fmla="*/ 115494 h 408787"/>
                <a:gd name="connsiteX10" fmla="*/ 158306 w 205124"/>
                <a:gd name="connsiteY10" fmla="*/ 78518 h 408787"/>
                <a:gd name="connsiteX11" fmla="*/ 129286 w 205124"/>
                <a:gd name="connsiteY11" fmla="*/ 42812 h 408787"/>
                <a:gd name="connsiteX12" fmla="*/ 88900 w 205124"/>
                <a:gd name="connsiteY12" fmla="*/ 20485 h 408787"/>
                <a:gd name="connsiteX13" fmla="*/ 45085 w 205124"/>
                <a:gd name="connsiteY13" fmla="*/ 8395 h 408787"/>
                <a:gd name="connsiteX14" fmla="*/ 254 w 205124"/>
                <a:gd name="connsiteY14" fmla="*/ 0 h 408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05124" h="408787">
                  <a:moveTo>
                    <a:pt x="0" y="408787"/>
                  </a:moveTo>
                  <a:cubicBezTo>
                    <a:pt x="15494" y="408787"/>
                    <a:pt x="30290" y="404660"/>
                    <a:pt x="44958" y="401244"/>
                  </a:cubicBezTo>
                  <a:cubicBezTo>
                    <a:pt x="59627" y="397834"/>
                    <a:pt x="75374" y="395840"/>
                    <a:pt x="89027" y="389300"/>
                  </a:cubicBezTo>
                  <a:cubicBezTo>
                    <a:pt x="102680" y="382759"/>
                    <a:pt x="115380" y="373367"/>
                    <a:pt x="127127" y="363982"/>
                  </a:cubicBezTo>
                  <a:cubicBezTo>
                    <a:pt x="138938" y="354590"/>
                    <a:pt x="149796" y="343497"/>
                    <a:pt x="159321" y="331553"/>
                  </a:cubicBezTo>
                  <a:cubicBezTo>
                    <a:pt x="168846" y="319602"/>
                    <a:pt x="179515" y="307943"/>
                    <a:pt x="186182" y="294145"/>
                  </a:cubicBezTo>
                  <a:cubicBezTo>
                    <a:pt x="192849" y="280346"/>
                    <a:pt x="198692" y="265697"/>
                    <a:pt x="202120" y="250622"/>
                  </a:cubicBezTo>
                  <a:cubicBezTo>
                    <a:pt x="205549" y="235541"/>
                    <a:pt x="205105" y="220180"/>
                    <a:pt x="205105" y="204534"/>
                  </a:cubicBezTo>
                  <a:cubicBezTo>
                    <a:pt x="205105" y="188887"/>
                    <a:pt x="203518" y="173387"/>
                    <a:pt x="200279" y="158877"/>
                  </a:cubicBezTo>
                  <a:cubicBezTo>
                    <a:pt x="196977" y="144367"/>
                    <a:pt x="191580" y="129153"/>
                    <a:pt x="185039" y="115494"/>
                  </a:cubicBezTo>
                  <a:cubicBezTo>
                    <a:pt x="178498" y="101841"/>
                    <a:pt x="167704" y="90322"/>
                    <a:pt x="158306" y="78518"/>
                  </a:cubicBezTo>
                  <a:cubicBezTo>
                    <a:pt x="148907" y="66707"/>
                    <a:pt x="141224" y="52343"/>
                    <a:pt x="129286" y="42812"/>
                  </a:cubicBezTo>
                  <a:cubicBezTo>
                    <a:pt x="117348" y="33287"/>
                    <a:pt x="102680" y="27165"/>
                    <a:pt x="88900" y="20485"/>
                  </a:cubicBezTo>
                  <a:cubicBezTo>
                    <a:pt x="75120" y="13798"/>
                    <a:pt x="60007" y="11805"/>
                    <a:pt x="45085" y="8395"/>
                  </a:cubicBezTo>
                  <a:cubicBezTo>
                    <a:pt x="30163" y="4978"/>
                    <a:pt x="15939" y="0"/>
                    <a:pt x="254" y="0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6" name="Freeform: Shape 45">
              <a:extLst>
                <a:ext uri="{FF2B5EF4-FFF2-40B4-BE49-F238E27FC236}">
                  <a16:creationId xmlns:a16="http://schemas.microsoft.com/office/drawing/2014/main" id="{76AD9D95-6C38-AC2B-4582-531F8E90B812}"/>
                </a:ext>
              </a:extLst>
            </p:cNvPr>
            <p:cNvSpPr/>
            <p:nvPr/>
          </p:nvSpPr>
          <p:spPr>
            <a:xfrm>
              <a:off x="12125007" y="5970644"/>
              <a:ext cx="120460" cy="120332"/>
            </a:xfrm>
            <a:custGeom>
              <a:avLst/>
              <a:gdLst>
                <a:gd name="connsiteX0" fmla="*/ 120460 w 120460"/>
                <a:gd name="connsiteY0" fmla="*/ 120333 h 120332"/>
                <a:gd name="connsiteX1" fmla="*/ 111506 w 120460"/>
                <a:gd name="connsiteY1" fmla="*/ 74105 h 120332"/>
                <a:gd name="connsiteX2" fmla="*/ 81407 w 120460"/>
                <a:gd name="connsiteY2" fmla="*/ 38976 h 120332"/>
                <a:gd name="connsiteX3" fmla="*/ 45657 w 120460"/>
                <a:gd name="connsiteY3" fmla="*/ 10103 h 120332"/>
                <a:gd name="connsiteX4" fmla="*/ 0 w 120460"/>
                <a:gd name="connsiteY4" fmla="*/ 0 h 1203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0460" h="120332">
                  <a:moveTo>
                    <a:pt x="120460" y="120333"/>
                  </a:moveTo>
                  <a:cubicBezTo>
                    <a:pt x="120460" y="104401"/>
                    <a:pt x="117222" y="88043"/>
                    <a:pt x="111506" y="74105"/>
                  </a:cubicBezTo>
                  <a:cubicBezTo>
                    <a:pt x="105855" y="60166"/>
                    <a:pt x="92202" y="49784"/>
                    <a:pt x="81407" y="38976"/>
                  </a:cubicBezTo>
                  <a:cubicBezTo>
                    <a:pt x="70549" y="28162"/>
                    <a:pt x="60072" y="16072"/>
                    <a:pt x="45657" y="10103"/>
                  </a:cubicBezTo>
                  <a:cubicBezTo>
                    <a:pt x="31306" y="4128"/>
                    <a:pt x="15939" y="0"/>
                    <a:pt x="0" y="0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5B6A6B9-6AB5-B446-4DAE-03101FEF281E}"/>
                </a:ext>
              </a:extLst>
            </p:cNvPr>
            <p:cNvSpPr/>
            <p:nvPr/>
          </p:nvSpPr>
          <p:spPr>
            <a:xfrm>
              <a:off x="10478389" y="6530706"/>
              <a:ext cx="1564258" cy="138237"/>
            </a:xfrm>
            <a:custGeom>
              <a:avLst/>
              <a:gdLst>
                <a:gd name="connsiteX0" fmla="*/ 0 w 1564258"/>
                <a:gd name="connsiteY0" fmla="*/ 113108 h 138237"/>
                <a:gd name="connsiteX1" fmla="*/ 45783 w 1564258"/>
                <a:gd name="connsiteY1" fmla="*/ 113108 h 138237"/>
                <a:gd name="connsiteX2" fmla="*/ 91567 w 1564258"/>
                <a:gd name="connsiteY2" fmla="*/ 108155 h 138237"/>
                <a:gd name="connsiteX3" fmla="*/ 137351 w 1564258"/>
                <a:gd name="connsiteY3" fmla="*/ 112029 h 138237"/>
                <a:gd name="connsiteX4" fmla="*/ 183197 w 1564258"/>
                <a:gd name="connsiteY4" fmla="*/ 109299 h 138237"/>
                <a:gd name="connsiteX5" fmla="*/ 228981 w 1564258"/>
                <a:gd name="connsiteY5" fmla="*/ 113108 h 138237"/>
                <a:gd name="connsiteX6" fmla="*/ 274765 w 1564258"/>
                <a:gd name="connsiteY6" fmla="*/ 112156 h 138237"/>
                <a:gd name="connsiteX7" fmla="*/ 320548 w 1564258"/>
                <a:gd name="connsiteY7" fmla="*/ 110314 h 138237"/>
                <a:gd name="connsiteX8" fmla="*/ 366522 w 1564258"/>
                <a:gd name="connsiteY8" fmla="*/ 112600 h 138237"/>
                <a:gd name="connsiteX9" fmla="*/ 412432 w 1564258"/>
                <a:gd name="connsiteY9" fmla="*/ 109743 h 138237"/>
                <a:gd name="connsiteX10" fmla="*/ 458280 w 1564258"/>
                <a:gd name="connsiteY10" fmla="*/ 112156 h 138237"/>
                <a:gd name="connsiteX11" fmla="*/ 504190 w 1564258"/>
                <a:gd name="connsiteY11" fmla="*/ 107457 h 138237"/>
                <a:gd name="connsiteX12" fmla="*/ 550164 w 1564258"/>
                <a:gd name="connsiteY12" fmla="*/ 110124 h 138237"/>
                <a:gd name="connsiteX13" fmla="*/ 596075 w 1564258"/>
                <a:gd name="connsiteY13" fmla="*/ 112981 h 138237"/>
                <a:gd name="connsiteX14" fmla="*/ 642048 w 1564258"/>
                <a:gd name="connsiteY14" fmla="*/ 112981 h 138237"/>
                <a:gd name="connsiteX15" fmla="*/ 688530 w 1564258"/>
                <a:gd name="connsiteY15" fmla="*/ 112283 h 138237"/>
                <a:gd name="connsiteX16" fmla="*/ 731330 w 1564258"/>
                <a:gd name="connsiteY16" fmla="*/ 82819 h 138237"/>
                <a:gd name="connsiteX17" fmla="*/ 775144 w 1564258"/>
                <a:gd name="connsiteY17" fmla="*/ 55831 h 138237"/>
                <a:gd name="connsiteX18" fmla="*/ 817563 w 1564258"/>
                <a:gd name="connsiteY18" fmla="*/ 26367 h 138237"/>
                <a:gd name="connsiteX19" fmla="*/ 860933 w 1564258"/>
                <a:gd name="connsiteY19" fmla="*/ 2936 h 138237"/>
                <a:gd name="connsiteX20" fmla="*/ 840042 w 1564258"/>
                <a:gd name="connsiteY20" fmla="*/ 37734 h 138237"/>
                <a:gd name="connsiteX21" fmla="*/ 817118 w 1564258"/>
                <a:gd name="connsiteY21" fmla="*/ 74881 h 138237"/>
                <a:gd name="connsiteX22" fmla="*/ 789813 w 1564258"/>
                <a:gd name="connsiteY22" fmla="*/ 112410 h 138237"/>
                <a:gd name="connsiteX23" fmla="*/ 833056 w 1564258"/>
                <a:gd name="connsiteY23" fmla="*/ 100027 h 138237"/>
                <a:gd name="connsiteX24" fmla="*/ 873569 w 1564258"/>
                <a:gd name="connsiteY24" fmla="*/ 87836 h 138237"/>
                <a:gd name="connsiteX25" fmla="*/ 916368 w 1564258"/>
                <a:gd name="connsiteY25" fmla="*/ 79580 h 138237"/>
                <a:gd name="connsiteX26" fmla="*/ 888492 w 1564258"/>
                <a:gd name="connsiteY26" fmla="*/ 104473 h 138237"/>
                <a:gd name="connsiteX27" fmla="*/ 859790 w 1564258"/>
                <a:gd name="connsiteY27" fmla="*/ 130888 h 138237"/>
                <a:gd name="connsiteX28" fmla="*/ 909003 w 1564258"/>
                <a:gd name="connsiteY28" fmla="*/ 128222 h 138237"/>
                <a:gd name="connsiteX29" fmla="*/ 955675 w 1564258"/>
                <a:gd name="connsiteY29" fmla="*/ 129238 h 138237"/>
                <a:gd name="connsiteX30" fmla="*/ 1002475 w 1564258"/>
                <a:gd name="connsiteY30" fmla="*/ 127078 h 138237"/>
                <a:gd name="connsiteX31" fmla="*/ 1049274 w 1564258"/>
                <a:gd name="connsiteY31" fmla="*/ 126634 h 138237"/>
                <a:gd name="connsiteX32" fmla="*/ 1096073 w 1564258"/>
                <a:gd name="connsiteY32" fmla="*/ 131079 h 138237"/>
                <a:gd name="connsiteX33" fmla="*/ 1142809 w 1564258"/>
                <a:gd name="connsiteY33" fmla="*/ 131460 h 138237"/>
                <a:gd name="connsiteX34" fmla="*/ 1189609 w 1564258"/>
                <a:gd name="connsiteY34" fmla="*/ 125808 h 138237"/>
                <a:gd name="connsiteX35" fmla="*/ 1236408 w 1564258"/>
                <a:gd name="connsiteY35" fmla="*/ 129618 h 138237"/>
                <a:gd name="connsiteX36" fmla="*/ 1283208 w 1564258"/>
                <a:gd name="connsiteY36" fmla="*/ 129618 h 138237"/>
                <a:gd name="connsiteX37" fmla="*/ 1330007 w 1564258"/>
                <a:gd name="connsiteY37" fmla="*/ 127332 h 138237"/>
                <a:gd name="connsiteX38" fmla="*/ 1376807 w 1564258"/>
                <a:gd name="connsiteY38" fmla="*/ 129238 h 138237"/>
                <a:gd name="connsiteX39" fmla="*/ 1423606 w 1564258"/>
                <a:gd name="connsiteY39" fmla="*/ 128475 h 138237"/>
                <a:gd name="connsiteX40" fmla="*/ 1470406 w 1564258"/>
                <a:gd name="connsiteY40" fmla="*/ 130762 h 138237"/>
                <a:gd name="connsiteX41" fmla="*/ 1517332 w 1564258"/>
                <a:gd name="connsiteY41" fmla="*/ 129809 h 138237"/>
                <a:gd name="connsiteX42" fmla="*/ 1564259 w 1564258"/>
                <a:gd name="connsiteY42" fmla="*/ 127523 h 138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564258" h="138237">
                  <a:moveTo>
                    <a:pt x="0" y="113108"/>
                  </a:moveTo>
                  <a:cubicBezTo>
                    <a:pt x="22860" y="113108"/>
                    <a:pt x="22860" y="113108"/>
                    <a:pt x="45783" y="113108"/>
                  </a:cubicBezTo>
                  <a:cubicBezTo>
                    <a:pt x="68707" y="113108"/>
                    <a:pt x="68707" y="108155"/>
                    <a:pt x="91567" y="108155"/>
                  </a:cubicBezTo>
                  <a:cubicBezTo>
                    <a:pt x="114491" y="108155"/>
                    <a:pt x="114491" y="112029"/>
                    <a:pt x="137351" y="112029"/>
                  </a:cubicBezTo>
                  <a:cubicBezTo>
                    <a:pt x="160274" y="112029"/>
                    <a:pt x="160274" y="109299"/>
                    <a:pt x="183197" y="109299"/>
                  </a:cubicBezTo>
                  <a:cubicBezTo>
                    <a:pt x="206057" y="109299"/>
                    <a:pt x="206057" y="113108"/>
                    <a:pt x="228981" y="113108"/>
                  </a:cubicBezTo>
                  <a:cubicBezTo>
                    <a:pt x="251905" y="113108"/>
                    <a:pt x="251905" y="112156"/>
                    <a:pt x="274765" y="112156"/>
                  </a:cubicBezTo>
                  <a:cubicBezTo>
                    <a:pt x="297688" y="112156"/>
                    <a:pt x="297688" y="110314"/>
                    <a:pt x="320548" y="110314"/>
                  </a:cubicBezTo>
                  <a:cubicBezTo>
                    <a:pt x="343471" y="110314"/>
                    <a:pt x="343471" y="112600"/>
                    <a:pt x="366522" y="112600"/>
                  </a:cubicBezTo>
                  <a:cubicBezTo>
                    <a:pt x="389572" y="112600"/>
                    <a:pt x="389445" y="109743"/>
                    <a:pt x="412432" y="109743"/>
                  </a:cubicBezTo>
                  <a:cubicBezTo>
                    <a:pt x="435483" y="109743"/>
                    <a:pt x="435356" y="112156"/>
                    <a:pt x="458280" y="112156"/>
                  </a:cubicBezTo>
                  <a:cubicBezTo>
                    <a:pt x="481140" y="112156"/>
                    <a:pt x="481140" y="107457"/>
                    <a:pt x="504190" y="107457"/>
                  </a:cubicBezTo>
                  <a:cubicBezTo>
                    <a:pt x="527241" y="107457"/>
                    <a:pt x="527114" y="110124"/>
                    <a:pt x="550164" y="110124"/>
                  </a:cubicBezTo>
                  <a:cubicBezTo>
                    <a:pt x="573215" y="110124"/>
                    <a:pt x="573024" y="112981"/>
                    <a:pt x="596075" y="112981"/>
                  </a:cubicBezTo>
                  <a:cubicBezTo>
                    <a:pt x="619125" y="112981"/>
                    <a:pt x="619125" y="112981"/>
                    <a:pt x="642048" y="112981"/>
                  </a:cubicBezTo>
                  <a:cubicBezTo>
                    <a:pt x="664908" y="112981"/>
                    <a:pt x="666496" y="118950"/>
                    <a:pt x="688530" y="112283"/>
                  </a:cubicBezTo>
                  <a:cubicBezTo>
                    <a:pt x="713168" y="104726"/>
                    <a:pt x="709613" y="96662"/>
                    <a:pt x="731330" y="82819"/>
                  </a:cubicBezTo>
                  <a:cubicBezTo>
                    <a:pt x="753110" y="69039"/>
                    <a:pt x="753428" y="69611"/>
                    <a:pt x="775144" y="55831"/>
                  </a:cubicBezTo>
                  <a:cubicBezTo>
                    <a:pt x="796925" y="41988"/>
                    <a:pt x="795782" y="40147"/>
                    <a:pt x="817563" y="26367"/>
                  </a:cubicBezTo>
                  <a:cubicBezTo>
                    <a:pt x="839280" y="12587"/>
                    <a:pt x="837438" y="-7605"/>
                    <a:pt x="860933" y="2936"/>
                  </a:cubicBezTo>
                  <a:cubicBezTo>
                    <a:pt x="880681" y="11889"/>
                    <a:pt x="851535" y="19382"/>
                    <a:pt x="840042" y="37734"/>
                  </a:cubicBezTo>
                  <a:cubicBezTo>
                    <a:pt x="828484" y="56086"/>
                    <a:pt x="828802" y="56403"/>
                    <a:pt x="817118" y="74881"/>
                  </a:cubicBezTo>
                  <a:cubicBezTo>
                    <a:pt x="805434" y="93360"/>
                    <a:pt x="777875" y="94249"/>
                    <a:pt x="789813" y="112410"/>
                  </a:cubicBezTo>
                  <a:cubicBezTo>
                    <a:pt x="801751" y="130635"/>
                    <a:pt x="812546" y="105171"/>
                    <a:pt x="833056" y="100027"/>
                  </a:cubicBezTo>
                  <a:cubicBezTo>
                    <a:pt x="853504" y="94948"/>
                    <a:pt x="852932" y="92788"/>
                    <a:pt x="873569" y="87836"/>
                  </a:cubicBezTo>
                  <a:cubicBezTo>
                    <a:pt x="894207" y="82819"/>
                    <a:pt x="901319" y="64785"/>
                    <a:pt x="916368" y="79580"/>
                  </a:cubicBezTo>
                  <a:cubicBezTo>
                    <a:pt x="929195" y="92090"/>
                    <a:pt x="901764" y="92535"/>
                    <a:pt x="888492" y="104473"/>
                  </a:cubicBezTo>
                  <a:cubicBezTo>
                    <a:pt x="875284" y="116411"/>
                    <a:pt x="848296" y="117109"/>
                    <a:pt x="859790" y="130888"/>
                  </a:cubicBezTo>
                  <a:cubicBezTo>
                    <a:pt x="874840" y="148859"/>
                    <a:pt x="885507" y="128222"/>
                    <a:pt x="909003" y="128222"/>
                  </a:cubicBezTo>
                  <a:cubicBezTo>
                    <a:pt x="932497" y="128222"/>
                    <a:pt x="932307" y="129238"/>
                    <a:pt x="955675" y="129238"/>
                  </a:cubicBezTo>
                  <a:cubicBezTo>
                    <a:pt x="978980" y="129238"/>
                    <a:pt x="978980" y="127078"/>
                    <a:pt x="1002475" y="127078"/>
                  </a:cubicBezTo>
                  <a:cubicBezTo>
                    <a:pt x="1025906" y="127078"/>
                    <a:pt x="1025779" y="126634"/>
                    <a:pt x="1049274" y="126634"/>
                  </a:cubicBezTo>
                  <a:cubicBezTo>
                    <a:pt x="1072705" y="126634"/>
                    <a:pt x="1072579" y="131079"/>
                    <a:pt x="1096073" y="131079"/>
                  </a:cubicBezTo>
                  <a:cubicBezTo>
                    <a:pt x="1119505" y="131079"/>
                    <a:pt x="1119378" y="131460"/>
                    <a:pt x="1142809" y="131460"/>
                  </a:cubicBezTo>
                  <a:cubicBezTo>
                    <a:pt x="1166305" y="131460"/>
                    <a:pt x="1166178" y="125808"/>
                    <a:pt x="1189609" y="125808"/>
                  </a:cubicBezTo>
                  <a:cubicBezTo>
                    <a:pt x="1213104" y="125808"/>
                    <a:pt x="1213104" y="129618"/>
                    <a:pt x="1236408" y="129618"/>
                  </a:cubicBezTo>
                  <a:cubicBezTo>
                    <a:pt x="1259777" y="129618"/>
                    <a:pt x="1259904" y="129618"/>
                    <a:pt x="1283208" y="129618"/>
                  </a:cubicBezTo>
                  <a:cubicBezTo>
                    <a:pt x="1306576" y="129618"/>
                    <a:pt x="1306576" y="127332"/>
                    <a:pt x="1330007" y="127332"/>
                  </a:cubicBezTo>
                  <a:cubicBezTo>
                    <a:pt x="1353503" y="127332"/>
                    <a:pt x="1353503" y="129238"/>
                    <a:pt x="1376807" y="129238"/>
                  </a:cubicBezTo>
                  <a:cubicBezTo>
                    <a:pt x="1400112" y="129238"/>
                    <a:pt x="1400302" y="128475"/>
                    <a:pt x="1423606" y="128475"/>
                  </a:cubicBezTo>
                  <a:cubicBezTo>
                    <a:pt x="1446911" y="128475"/>
                    <a:pt x="1447102" y="130762"/>
                    <a:pt x="1470406" y="130762"/>
                  </a:cubicBezTo>
                  <a:cubicBezTo>
                    <a:pt x="1493710" y="130762"/>
                    <a:pt x="1493901" y="129809"/>
                    <a:pt x="1517332" y="129809"/>
                  </a:cubicBezTo>
                  <a:cubicBezTo>
                    <a:pt x="1540828" y="129809"/>
                    <a:pt x="1540828" y="127523"/>
                    <a:pt x="1564259" y="127523"/>
                  </a:cubicBezTo>
                </a:path>
              </a:pathLst>
            </a:custGeom>
            <a:noFill/>
            <a:ln w="14223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28" name="Graphic 8">
            <a:extLst>
              <a:ext uri="{FF2B5EF4-FFF2-40B4-BE49-F238E27FC236}">
                <a16:creationId xmlns:a16="http://schemas.microsoft.com/office/drawing/2014/main" id="{060CB88B-4D48-700E-95FB-2600EE129DBE}"/>
              </a:ext>
            </a:extLst>
          </p:cNvPr>
          <p:cNvGrpSpPr/>
          <p:nvPr/>
        </p:nvGrpSpPr>
        <p:grpSpPr>
          <a:xfrm>
            <a:off x="5348116" y="1559531"/>
            <a:ext cx="6433047" cy="930157"/>
            <a:chOff x="6592050" y="412483"/>
            <a:chExt cx="9346640" cy="1351434"/>
          </a:xfrm>
          <a:noFill/>
        </p:grpSpPr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CA6E1C1F-D89F-A218-B0F6-8734842C276F}"/>
                </a:ext>
              </a:extLst>
            </p:cNvPr>
            <p:cNvSpPr/>
            <p:nvPr/>
          </p:nvSpPr>
          <p:spPr>
            <a:xfrm>
              <a:off x="7104126" y="750308"/>
              <a:ext cx="2612537" cy="871950"/>
            </a:xfrm>
            <a:custGeom>
              <a:avLst/>
              <a:gdLst>
                <a:gd name="connsiteX0" fmla="*/ 0 w 2612537"/>
                <a:gd name="connsiteY0" fmla="*/ 836963 h 871950"/>
                <a:gd name="connsiteX1" fmla="*/ 32385 w 2612537"/>
                <a:gd name="connsiteY1" fmla="*/ 812077 h 871950"/>
                <a:gd name="connsiteX2" fmla="*/ 59499 w 2612537"/>
                <a:gd name="connsiteY2" fmla="*/ 781890 h 871950"/>
                <a:gd name="connsiteX3" fmla="*/ 89218 w 2612537"/>
                <a:gd name="connsiteY3" fmla="*/ 754293 h 871950"/>
                <a:gd name="connsiteX4" fmla="*/ 117284 w 2612537"/>
                <a:gd name="connsiteY4" fmla="*/ 725095 h 871950"/>
                <a:gd name="connsiteX5" fmla="*/ 146368 w 2612537"/>
                <a:gd name="connsiteY5" fmla="*/ 696882 h 871950"/>
                <a:gd name="connsiteX6" fmla="*/ 172212 w 2612537"/>
                <a:gd name="connsiteY6" fmla="*/ 665469 h 871950"/>
                <a:gd name="connsiteX7" fmla="*/ 201041 w 2612537"/>
                <a:gd name="connsiteY7" fmla="*/ 637008 h 871950"/>
                <a:gd name="connsiteX8" fmla="*/ 228918 w 2612537"/>
                <a:gd name="connsiteY8" fmla="*/ 607690 h 871950"/>
                <a:gd name="connsiteX9" fmla="*/ 257873 w 2612537"/>
                <a:gd name="connsiteY9" fmla="*/ 579477 h 871950"/>
                <a:gd name="connsiteX10" fmla="*/ 287782 w 2612537"/>
                <a:gd name="connsiteY10" fmla="*/ 552121 h 871950"/>
                <a:gd name="connsiteX11" fmla="*/ 315658 w 2612537"/>
                <a:gd name="connsiteY11" fmla="*/ 522676 h 871950"/>
                <a:gd name="connsiteX12" fmla="*/ 346075 w 2612537"/>
                <a:gd name="connsiteY12" fmla="*/ 495822 h 871950"/>
                <a:gd name="connsiteX13" fmla="*/ 372428 w 2612537"/>
                <a:gd name="connsiteY13" fmla="*/ 464898 h 871950"/>
                <a:gd name="connsiteX14" fmla="*/ 400621 w 2612537"/>
                <a:gd name="connsiteY14" fmla="*/ 435821 h 871950"/>
                <a:gd name="connsiteX15" fmla="*/ 431673 w 2612537"/>
                <a:gd name="connsiteY15" fmla="*/ 409583 h 871950"/>
                <a:gd name="connsiteX16" fmla="*/ 460883 w 2612537"/>
                <a:gd name="connsiteY16" fmla="*/ 381617 h 871950"/>
                <a:gd name="connsiteX17" fmla="*/ 487108 w 2612537"/>
                <a:gd name="connsiteY17" fmla="*/ 350566 h 871950"/>
                <a:gd name="connsiteX18" fmla="*/ 518922 w 2612537"/>
                <a:gd name="connsiteY18" fmla="*/ 325064 h 871950"/>
                <a:gd name="connsiteX19" fmla="*/ 545147 w 2612537"/>
                <a:gd name="connsiteY19" fmla="*/ 293898 h 871950"/>
                <a:gd name="connsiteX20" fmla="*/ 572770 w 2612537"/>
                <a:gd name="connsiteY20" fmla="*/ 264206 h 871950"/>
                <a:gd name="connsiteX21" fmla="*/ 603186 w 2612537"/>
                <a:gd name="connsiteY21" fmla="*/ 237225 h 871950"/>
                <a:gd name="connsiteX22" fmla="*/ 631380 w 2612537"/>
                <a:gd name="connsiteY22" fmla="*/ 208148 h 871950"/>
                <a:gd name="connsiteX23" fmla="*/ 659575 w 2612537"/>
                <a:gd name="connsiteY23" fmla="*/ 179198 h 871950"/>
                <a:gd name="connsiteX24" fmla="*/ 690435 w 2612537"/>
                <a:gd name="connsiteY24" fmla="*/ 152586 h 871950"/>
                <a:gd name="connsiteX25" fmla="*/ 717486 w 2612537"/>
                <a:gd name="connsiteY25" fmla="*/ 122277 h 871950"/>
                <a:gd name="connsiteX26" fmla="*/ 746316 w 2612537"/>
                <a:gd name="connsiteY26" fmla="*/ 93696 h 871950"/>
                <a:gd name="connsiteX27" fmla="*/ 776668 w 2612537"/>
                <a:gd name="connsiteY27" fmla="*/ 66594 h 871950"/>
                <a:gd name="connsiteX28" fmla="*/ 805942 w 2612537"/>
                <a:gd name="connsiteY28" fmla="*/ 38381 h 871950"/>
                <a:gd name="connsiteX29" fmla="*/ 833818 w 2612537"/>
                <a:gd name="connsiteY29" fmla="*/ 9920 h 871950"/>
                <a:gd name="connsiteX30" fmla="*/ 873379 w 2612537"/>
                <a:gd name="connsiteY30" fmla="*/ 8072 h 871950"/>
                <a:gd name="connsiteX31" fmla="*/ 913765 w 2612537"/>
                <a:gd name="connsiteY31" fmla="*/ 6713 h 871950"/>
                <a:gd name="connsiteX32" fmla="*/ 954151 w 2612537"/>
                <a:gd name="connsiteY32" fmla="*/ 10657 h 871950"/>
                <a:gd name="connsiteX33" fmla="*/ 994601 w 2612537"/>
                <a:gd name="connsiteY33" fmla="*/ 7329 h 871950"/>
                <a:gd name="connsiteX34" fmla="*/ 1034986 w 2612537"/>
                <a:gd name="connsiteY34" fmla="*/ 10657 h 871950"/>
                <a:gd name="connsiteX35" fmla="*/ 1075436 w 2612537"/>
                <a:gd name="connsiteY35" fmla="*/ 5361 h 871950"/>
                <a:gd name="connsiteX36" fmla="*/ 1115822 w 2612537"/>
                <a:gd name="connsiteY36" fmla="*/ 10168 h 871950"/>
                <a:gd name="connsiteX37" fmla="*/ 1156208 w 2612537"/>
                <a:gd name="connsiteY37" fmla="*/ 7456 h 871950"/>
                <a:gd name="connsiteX38" fmla="*/ 1196657 w 2612537"/>
                <a:gd name="connsiteY38" fmla="*/ 5856 h 871950"/>
                <a:gd name="connsiteX39" fmla="*/ 1237043 w 2612537"/>
                <a:gd name="connsiteY39" fmla="*/ 6840 h 871950"/>
                <a:gd name="connsiteX40" fmla="*/ 1277430 w 2612537"/>
                <a:gd name="connsiteY40" fmla="*/ 8072 h 871950"/>
                <a:gd name="connsiteX41" fmla="*/ 1317879 w 2612537"/>
                <a:gd name="connsiteY41" fmla="*/ 10784 h 871950"/>
                <a:gd name="connsiteX42" fmla="*/ 1358265 w 2612537"/>
                <a:gd name="connsiteY42" fmla="*/ 8193 h 871950"/>
                <a:gd name="connsiteX43" fmla="*/ 1398715 w 2612537"/>
                <a:gd name="connsiteY43" fmla="*/ 7577 h 871950"/>
                <a:gd name="connsiteX44" fmla="*/ 1439101 w 2612537"/>
                <a:gd name="connsiteY44" fmla="*/ 8441 h 871950"/>
                <a:gd name="connsiteX45" fmla="*/ 1479487 w 2612537"/>
                <a:gd name="connsiteY45" fmla="*/ 7704 h 871950"/>
                <a:gd name="connsiteX46" fmla="*/ 1519936 w 2612537"/>
                <a:gd name="connsiteY46" fmla="*/ 7704 h 871950"/>
                <a:gd name="connsiteX47" fmla="*/ 1560322 w 2612537"/>
                <a:gd name="connsiteY47" fmla="*/ 7704 h 871950"/>
                <a:gd name="connsiteX48" fmla="*/ 1600708 w 2612537"/>
                <a:gd name="connsiteY48" fmla="*/ 6224 h 871950"/>
                <a:gd name="connsiteX49" fmla="*/ 1641157 w 2612537"/>
                <a:gd name="connsiteY49" fmla="*/ 5977 h 871950"/>
                <a:gd name="connsiteX50" fmla="*/ 1681543 w 2612537"/>
                <a:gd name="connsiteY50" fmla="*/ 10657 h 871950"/>
                <a:gd name="connsiteX51" fmla="*/ 1721930 w 2612537"/>
                <a:gd name="connsiteY51" fmla="*/ 5361 h 871950"/>
                <a:gd name="connsiteX52" fmla="*/ 1762379 w 2612537"/>
                <a:gd name="connsiteY52" fmla="*/ 6472 h 871950"/>
                <a:gd name="connsiteX53" fmla="*/ 1802765 w 2612537"/>
                <a:gd name="connsiteY53" fmla="*/ 7704 h 871950"/>
                <a:gd name="connsiteX54" fmla="*/ 1843215 w 2612537"/>
                <a:gd name="connsiteY54" fmla="*/ 9552 h 871950"/>
                <a:gd name="connsiteX55" fmla="*/ 1883601 w 2612537"/>
                <a:gd name="connsiteY55" fmla="*/ 10536 h 871950"/>
                <a:gd name="connsiteX56" fmla="*/ 1923987 w 2612537"/>
                <a:gd name="connsiteY56" fmla="*/ 8072 h 871950"/>
                <a:gd name="connsiteX57" fmla="*/ 1964436 w 2612537"/>
                <a:gd name="connsiteY57" fmla="*/ 7577 h 871950"/>
                <a:gd name="connsiteX58" fmla="*/ 2004822 w 2612537"/>
                <a:gd name="connsiteY58" fmla="*/ 6840 h 871950"/>
                <a:gd name="connsiteX59" fmla="*/ 2045208 w 2612537"/>
                <a:gd name="connsiteY59" fmla="*/ 6472 h 871950"/>
                <a:gd name="connsiteX60" fmla="*/ 2085657 w 2612537"/>
                <a:gd name="connsiteY60" fmla="*/ 8441 h 871950"/>
                <a:gd name="connsiteX61" fmla="*/ 2126043 w 2612537"/>
                <a:gd name="connsiteY61" fmla="*/ 10409 h 871950"/>
                <a:gd name="connsiteX62" fmla="*/ 2166493 w 2612537"/>
                <a:gd name="connsiteY62" fmla="*/ 6961 h 871950"/>
                <a:gd name="connsiteX63" fmla="*/ 2206879 w 2612537"/>
                <a:gd name="connsiteY63" fmla="*/ 6713 h 871950"/>
                <a:gd name="connsiteX64" fmla="*/ 2247265 w 2612537"/>
                <a:gd name="connsiteY64" fmla="*/ 6593 h 871950"/>
                <a:gd name="connsiteX65" fmla="*/ 2287715 w 2612537"/>
                <a:gd name="connsiteY65" fmla="*/ 5856 h 871950"/>
                <a:gd name="connsiteX66" fmla="*/ 2328101 w 2612537"/>
                <a:gd name="connsiteY66" fmla="*/ 6961 h 871950"/>
                <a:gd name="connsiteX67" fmla="*/ 2368487 w 2612537"/>
                <a:gd name="connsiteY67" fmla="*/ 6097 h 871950"/>
                <a:gd name="connsiteX68" fmla="*/ 2408936 w 2612537"/>
                <a:gd name="connsiteY68" fmla="*/ 6097 h 871950"/>
                <a:gd name="connsiteX69" fmla="*/ 2449322 w 2612537"/>
                <a:gd name="connsiteY69" fmla="*/ 5729 h 871950"/>
                <a:gd name="connsiteX70" fmla="*/ 2489771 w 2612537"/>
                <a:gd name="connsiteY70" fmla="*/ 4865 h 871950"/>
                <a:gd name="connsiteX71" fmla="*/ 2530284 w 2612537"/>
                <a:gd name="connsiteY71" fmla="*/ 5729 h 871950"/>
                <a:gd name="connsiteX72" fmla="*/ 2570797 w 2612537"/>
                <a:gd name="connsiteY72" fmla="*/ 10041 h 871950"/>
                <a:gd name="connsiteX73" fmla="*/ 2610993 w 2612537"/>
                <a:gd name="connsiteY73" fmla="*/ 7704 h 871950"/>
                <a:gd name="connsiteX74" fmla="*/ 2581275 w 2612537"/>
                <a:gd name="connsiteY74" fmla="*/ 34806 h 871950"/>
                <a:gd name="connsiteX75" fmla="*/ 2552700 w 2612537"/>
                <a:gd name="connsiteY75" fmla="*/ 63387 h 871950"/>
                <a:gd name="connsiteX76" fmla="*/ 2526093 w 2612537"/>
                <a:gd name="connsiteY76" fmla="*/ 93943 h 871950"/>
                <a:gd name="connsiteX77" fmla="*/ 2495042 w 2612537"/>
                <a:gd name="connsiteY77" fmla="*/ 120182 h 871950"/>
                <a:gd name="connsiteX78" fmla="*/ 2468055 w 2612537"/>
                <a:gd name="connsiteY78" fmla="*/ 150490 h 871950"/>
                <a:gd name="connsiteX79" fmla="*/ 2437511 w 2612537"/>
                <a:gd name="connsiteY79" fmla="*/ 177103 h 871950"/>
                <a:gd name="connsiteX80" fmla="*/ 2411286 w 2612537"/>
                <a:gd name="connsiteY80" fmla="*/ 208148 h 871950"/>
                <a:gd name="connsiteX81" fmla="*/ 2380234 w 2612537"/>
                <a:gd name="connsiteY81" fmla="*/ 234393 h 871950"/>
                <a:gd name="connsiteX82" fmla="*/ 2354580 w 2612537"/>
                <a:gd name="connsiteY82" fmla="*/ 265927 h 871950"/>
                <a:gd name="connsiteX83" fmla="*/ 2326259 w 2612537"/>
                <a:gd name="connsiteY83" fmla="*/ 294635 h 871950"/>
                <a:gd name="connsiteX84" fmla="*/ 2294954 w 2612537"/>
                <a:gd name="connsiteY84" fmla="*/ 320505 h 871950"/>
                <a:gd name="connsiteX85" fmla="*/ 2266887 w 2612537"/>
                <a:gd name="connsiteY85" fmla="*/ 349709 h 871950"/>
                <a:gd name="connsiteX86" fmla="*/ 2238184 w 2612537"/>
                <a:gd name="connsiteY86" fmla="*/ 378163 h 871950"/>
                <a:gd name="connsiteX87" fmla="*/ 2211324 w 2612537"/>
                <a:gd name="connsiteY87" fmla="*/ 408471 h 871950"/>
                <a:gd name="connsiteX88" fmla="*/ 2180907 w 2612537"/>
                <a:gd name="connsiteY88" fmla="*/ 435205 h 871950"/>
                <a:gd name="connsiteX89" fmla="*/ 2152904 w 2612537"/>
                <a:gd name="connsiteY89" fmla="*/ 464529 h 871950"/>
                <a:gd name="connsiteX90" fmla="*/ 2123948 w 2612537"/>
                <a:gd name="connsiteY90" fmla="*/ 492742 h 871950"/>
                <a:gd name="connsiteX91" fmla="*/ 2095373 w 2612537"/>
                <a:gd name="connsiteY91" fmla="*/ 521444 h 871950"/>
                <a:gd name="connsiteX92" fmla="*/ 2065718 w 2612537"/>
                <a:gd name="connsiteY92" fmla="*/ 549041 h 871950"/>
                <a:gd name="connsiteX93" fmla="*/ 2038604 w 2612537"/>
                <a:gd name="connsiteY93" fmla="*/ 579229 h 871950"/>
                <a:gd name="connsiteX94" fmla="*/ 2011108 w 2612537"/>
                <a:gd name="connsiteY94" fmla="*/ 609043 h 871950"/>
                <a:gd name="connsiteX95" fmla="*/ 1983168 w 2612537"/>
                <a:gd name="connsiteY95" fmla="*/ 638367 h 871950"/>
                <a:gd name="connsiteX96" fmla="*/ 1952244 w 2612537"/>
                <a:gd name="connsiteY96" fmla="*/ 664732 h 871950"/>
                <a:gd name="connsiteX97" fmla="*/ 1923034 w 2612537"/>
                <a:gd name="connsiteY97" fmla="*/ 692697 h 871950"/>
                <a:gd name="connsiteX98" fmla="*/ 1894459 w 2612537"/>
                <a:gd name="connsiteY98" fmla="*/ 721399 h 871950"/>
                <a:gd name="connsiteX99" fmla="*/ 1866709 w 2612537"/>
                <a:gd name="connsiteY99" fmla="*/ 750971 h 871950"/>
                <a:gd name="connsiteX100" fmla="*/ 1837372 w 2612537"/>
                <a:gd name="connsiteY100" fmla="*/ 779057 h 871950"/>
                <a:gd name="connsiteX101" fmla="*/ 1808226 w 2612537"/>
                <a:gd name="connsiteY101" fmla="*/ 807150 h 871950"/>
                <a:gd name="connsiteX102" fmla="*/ 1782572 w 2612537"/>
                <a:gd name="connsiteY102" fmla="*/ 839059 h 871950"/>
                <a:gd name="connsiteX103" fmla="*/ 1753362 w 2612537"/>
                <a:gd name="connsiteY103" fmla="*/ 868624 h 871950"/>
                <a:gd name="connsiteX104" fmla="*/ 1711833 w 2612537"/>
                <a:gd name="connsiteY104" fmla="*/ 868135 h 871950"/>
                <a:gd name="connsiteX105" fmla="*/ 1671193 w 2612537"/>
                <a:gd name="connsiteY105" fmla="*/ 869240 h 871950"/>
                <a:gd name="connsiteX106" fmla="*/ 1630553 w 2612537"/>
                <a:gd name="connsiteY106" fmla="*/ 868256 h 871950"/>
                <a:gd name="connsiteX107" fmla="*/ 1589913 w 2612537"/>
                <a:gd name="connsiteY107" fmla="*/ 869488 h 871950"/>
                <a:gd name="connsiteX108" fmla="*/ 1549209 w 2612537"/>
                <a:gd name="connsiteY108" fmla="*/ 864313 h 871950"/>
                <a:gd name="connsiteX109" fmla="*/ 1508569 w 2612537"/>
                <a:gd name="connsiteY109" fmla="*/ 864808 h 871950"/>
                <a:gd name="connsiteX110" fmla="*/ 1467930 w 2612537"/>
                <a:gd name="connsiteY110" fmla="*/ 863824 h 871950"/>
                <a:gd name="connsiteX111" fmla="*/ 1427290 w 2612537"/>
                <a:gd name="connsiteY111" fmla="*/ 866287 h 871950"/>
                <a:gd name="connsiteX112" fmla="*/ 1386586 w 2612537"/>
                <a:gd name="connsiteY112" fmla="*/ 865176 h 871950"/>
                <a:gd name="connsiteX113" fmla="*/ 1345946 w 2612537"/>
                <a:gd name="connsiteY113" fmla="*/ 863576 h 871950"/>
                <a:gd name="connsiteX114" fmla="*/ 1305306 w 2612537"/>
                <a:gd name="connsiteY114" fmla="*/ 865671 h 871950"/>
                <a:gd name="connsiteX115" fmla="*/ 1264666 w 2612537"/>
                <a:gd name="connsiteY115" fmla="*/ 866287 h 871950"/>
                <a:gd name="connsiteX116" fmla="*/ 1223963 w 2612537"/>
                <a:gd name="connsiteY116" fmla="*/ 866287 h 871950"/>
                <a:gd name="connsiteX117" fmla="*/ 1183322 w 2612537"/>
                <a:gd name="connsiteY117" fmla="*/ 864192 h 871950"/>
                <a:gd name="connsiteX118" fmla="*/ 1142682 w 2612537"/>
                <a:gd name="connsiteY118" fmla="*/ 867640 h 871950"/>
                <a:gd name="connsiteX119" fmla="*/ 1102043 w 2612537"/>
                <a:gd name="connsiteY119" fmla="*/ 869240 h 871950"/>
                <a:gd name="connsiteX120" fmla="*/ 1061339 w 2612537"/>
                <a:gd name="connsiteY120" fmla="*/ 868993 h 871950"/>
                <a:gd name="connsiteX121" fmla="*/ 1020699 w 2612537"/>
                <a:gd name="connsiteY121" fmla="*/ 865792 h 871950"/>
                <a:gd name="connsiteX122" fmla="*/ 980059 w 2612537"/>
                <a:gd name="connsiteY122" fmla="*/ 863824 h 871950"/>
                <a:gd name="connsiteX123" fmla="*/ 939419 w 2612537"/>
                <a:gd name="connsiteY123" fmla="*/ 865424 h 871950"/>
                <a:gd name="connsiteX124" fmla="*/ 898716 w 2612537"/>
                <a:gd name="connsiteY124" fmla="*/ 869120 h 871950"/>
                <a:gd name="connsiteX125" fmla="*/ 858076 w 2612537"/>
                <a:gd name="connsiteY125" fmla="*/ 866529 h 871950"/>
                <a:gd name="connsiteX126" fmla="*/ 817435 w 2612537"/>
                <a:gd name="connsiteY126" fmla="*/ 867761 h 871950"/>
                <a:gd name="connsiteX127" fmla="*/ 776795 w 2612537"/>
                <a:gd name="connsiteY127" fmla="*/ 869367 h 871950"/>
                <a:gd name="connsiteX128" fmla="*/ 736092 w 2612537"/>
                <a:gd name="connsiteY128" fmla="*/ 865913 h 871950"/>
                <a:gd name="connsiteX129" fmla="*/ 695452 w 2612537"/>
                <a:gd name="connsiteY129" fmla="*/ 869735 h 871950"/>
                <a:gd name="connsiteX130" fmla="*/ 654812 w 2612537"/>
                <a:gd name="connsiteY130" fmla="*/ 869240 h 871950"/>
                <a:gd name="connsiteX131" fmla="*/ 614172 w 2612537"/>
                <a:gd name="connsiteY131" fmla="*/ 866160 h 871950"/>
                <a:gd name="connsiteX132" fmla="*/ 573468 w 2612537"/>
                <a:gd name="connsiteY132" fmla="*/ 863697 h 871950"/>
                <a:gd name="connsiteX133" fmla="*/ 532829 w 2612537"/>
                <a:gd name="connsiteY133" fmla="*/ 868872 h 871950"/>
                <a:gd name="connsiteX134" fmla="*/ 492189 w 2612537"/>
                <a:gd name="connsiteY134" fmla="*/ 867888 h 871950"/>
                <a:gd name="connsiteX135" fmla="*/ 451548 w 2612537"/>
                <a:gd name="connsiteY135" fmla="*/ 864440 h 871950"/>
                <a:gd name="connsiteX136" fmla="*/ 410718 w 2612537"/>
                <a:gd name="connsiteY136" fmla="*/ 865297 h 871950"/>
                <a:gd name="connsiteX137" fmla="*/ 370078 w 2612537"/>
                <a:gd name="connsiteY137" fmla="*/ 864929 h 871950"/>
                <a:gd name="connsiteX138" fmla="*/ 329311 w 2612537"/>
                <a:gd name="connsiteY138" fmla="*/ 866040 h 871950"/>
                <a:gd name="connsiteX139" fmla="*/ 288544 w 2612537"/>
                <a:gd name="connsiteY139" fmla="*/ 865297 h 871950"/>
                <a:gd name="connsiteX140" fmla="*/ 247714 w 2612537"/>
                <a:gd name="connsiteY140" fmla="*/ 865792 h 871950"/>
                <a:gd name="connsiteX141" fmla="*/ 207073 w 2612537"/>
                <a:gd name="connsiteY141" fmla="*/ 868751 h 871950"/>
                <a:gd name="connsiteX142" fmla="*/ 166306 w 2612537"/>
                <a:gd name="connsiteY142" fmla="*/ 864440 h 871950"/>
                <a:gd name="connsiteX143" fmla="*/ 125540 w 2612537"/>
                <a:gd name="connsiteY143" fmla="*/ 868624 h 871950"/>
                <a:gd name="connsiteX144" fmla="*/ 84772 w 2612537"/>
                <a:gd name="connsiteY144" fmla="*/ 865544 h 871950"/>
                <a:gd name="connsiteX145" fmla="*/ 43942 w 2612537"/>
                <a:gd name="connsiteY145" fmla="*/ 869608 h 871950"/>
                <a:gd name="connsiteX146" fmla="*/ 3175 w 2612537"/>
                <a:gd name="connsiteY146" fmla="*/ 865424 h 871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</a:cxnLst>
              <a:rect l="l" t="t" r="r" b="b"/>
              <a:pathLst>
                <a:path w="2612537" h="871950">
                  <a:moveTo>
                    <a:pt x="0" y="836963"/>
                  </a:moveTo>
                  <a:cubicBezTo>
                    <a:pt x="14288" y="822669"/>
                    <a:pt x="18097" y="826365"/>
                    <a:pt x="32385" y="812077"/>
                  </a:cubicBezTo>
                  <a:cubicBezTo>
                    <a:pt x="46672" y="797784"/>
                    <a:pt x="45212" y="796304"/>
                    <a:pt x="59499" y="781890"/>
                  </a:cubicBezTo>
                  <a:cubicBezTo>
                    <a:pt x="73787" y="767475"/>
                    <a:pt x="74867" y="768707"/>
                    <a:pt x="89218" y="754293"/>
                  </a:cubicBezTo>
                  <a:cubicBezTo>
                    <a:pt x="103505" y="739878"/>
                    <a:pt x="102997" y="739389"/>
                    <a:pt x="117284" y="725095"/>
                  </a:cubicBezTo>
                  <a:cubicBezTo>
                    <a:pt x="131572" y="710808"/>
                    <a:pt x="132080" y="711297"/>
                    <a:pt x="146368" y="696882"/>
                  </a:cubicBezTo>
                  <a:cubicBezTo>
                    <a:pt x="160655" y="682468"/>
                    <a:pt x="157924" y="679883"/>
                    <a:pt x="172212" y="665469"/>
                  </a:cubicBezTo>
                  <a:cubicBezTo>
                    <a:pt x="186499" y="651054"/>
                    <a:pt x="186754" y="651302"/>
                    <a:pt x="201041" y="637008"/>
                  </a:cubicBezTo>
                  <a:cubicBezTo>
                    <a:pt x="215329" y="622721"/>
                    <a:pt x="214630" y="621978"/>
                    <a:pt x="228918" y="607690"/>
                  </a:cubicBezTo>
                  <a:cubicBezTo>
                    <a:pt x="243205" y="593396"/>
                    <a:pt x="243586" y="593764"/>
                    <a:pt x="257873" y="579477"/>
                  </a:cubicBezTo>
                  <a:cubicBezTo>
                    <a:pt x="272161" y="565183"/>
                    <a:pt x="273494" y="566415"/>
                    <a:pt x="287782" y="552121"/>
                  </a:cubicBezTo>
                  <a:cubicBezTo>
                    <a:pt x="302069" y="537834"/>
                    <a:pt x="301244" y="536970"/>
                    <a:pt x="315658" y="522676"/>
                  </a:cubicBezTo>
                  <a:cubicBezTo>
                    <a:pt x="330073" y="508389"/>
                    <a:pt x="331660" y="510110"/>
                    <a:pt x="346075" y="495822"/>
                  </a:cubicBezTo>
                  <a:cubicBezTo>
                    <a:pt x="360490" y="481528"/>
                    <a:pt x="358140" y="479191"/>
                    <a:pt x="372428" y="464898"/>
                  </a:cubicBezTo>
                  <a:cubicBezTo>
                    <a:pt x="386715" y="450604"/>
                    <a:pt x="386207" y="450115"/>
                    <a:pt x="400621" y="435821"/>
                  </a:cubicBezTo>
                  <a:cubicBezTo>
                    <a:pt x="415036" y="421533"/>
                    <a:pt x="417385" y="423870"/>
                    <a:pt x="431673" y="409583"/>
                  </a:cubicBezTo>
                  <a:cubicBezTo>
                    <a:pt x="445960" y="395289"/>
                    <a:pt x="446595" y="395905"/>
                    <a:pt x="460883" y="381617"/>
                  </a:cubicBezTo>
                  <a:cubicBezTo>
                    <a:pt x="475170" y="367324"/>
                    <a:pt x="472821" y="364860"/>
                    <a:pt x="487108" y="350566"/>
                  </a:cubicBezTo>
                  <a:cubicBezTo>
                    <a:pt x="501396" y="336278"/>
                    <a:pt x="504507" y="339358"/>
                    <a:pt x="518922" y="325064"/>
                  </a:cubicBezTo>
                  <a:cubicBezTo>
                    <a:pt x="533336" y="310777"/>
                    <a:pt x="530860" y="308313"/>
                    <a:pt x="545147" y="293898"/>
                  </a:cubicBezTo>
                  <a:cubicBezTo>
                    <a:pt x="559435" y="279484"/>
                    <a:pt x="558482" y="278493"/>
                    <a:pt x="572770" y="264206"/>
                  </a:cubicBezTo>
                  <a:cubicBezTo>
                    <a:pt x="587057" y="249912"/>
                    <a:pt x="588772" y="251639"/>
                    <a:pt x="603186" y="237225"/>
                  </a:cubicBezTo>
                  <a:cubicBezTo>
                    <a:pt x="617601" y="222810"/>
                    <a:pt x="617093" y="222442"/>
                    <a:pt x="631380" y="208148"/>
                  </a:cubicBezTo>
                  <a:cubicBezTo>
                    <a:pt x="645668" y="193854"/>
                    <a:pt x="645287" y="193486"/>
                    <a:pt x="659575" y="179198"/>
                  </a:cubicBezTo>
                  <a:cubicBezTo>
                    <a:pt x="673926" y="164905"/>
                    <a:pt x="676021" y="167000"/>
                    <a:pt x="690435" y="152586"/>
                  </a:cubicBezTo>
                  <a:cubicBezTo>
                    <a:pt x="704850" y="138171"/>
                    <a:pt x="703072" y="136691"/>
                    <a:pt x="717486" y="122277"/>
                  </a:cubicBezTo>
                  <a:cubicBezTo>
                    <a:pt x="731901" y="107862"/>
                    <a:pt x="731901" y="107989"/>
                    <a:pt x="746316" y="93696"/>
                  </a:cubicBezTo>
                  <a:cubicBezTo>
                    <a:pt x="760730" y="79402"/>
                    <a:pt x="762381" y="81008"/>
                    <a:pt x="776668" y="66594"/>
                  </a:cubicBezTo>
                  <a:cubicBezTo>
                    <a:pt x="790956" y="52179"/>
                    <a:pt x="791528" y="52795"/>
                    <a:pt x="805942" y="38381"/>
                  </a:cubicBezTo>
                  <a:cubicBezTo>
                    <a:pt x="820356" y="23966"/>
                    <a:pt x="814959" y="17680"/>
                    <a:pt x="833818" y="9920"/>
                  </a:cubicBezTo>
                  <a:cubicBezTo>
                    <a:pt x="852678" y="2160"/>
                    <a:pt x="853122" y="8072"/>
                    <a:pt x="873379" y="8072"/>
                  </a:cubicBezTo>
                  <a:cubicBezTo>
                    <a:pt x="893572" y="8072"/>
                    <a:pt x="893572" y="6713"/>
                    <a:pt x="913765" y="6713"/>
                  </a:cubicBezTo>
                  <a:cubicBezTo>
                    <a:pt x="933958" y="6713"/>
                    <a:pt x="933958" y="10657"/>
                    <a:pt x="954151" y="10657"/>
                  </a:cubicBezTo>
                  <a:cubicBezTo>
                    <a:pt x="974407" y="10657"/>
                    <a:pt x="974407" y="7329"/>
                    <a:pt x="994601" y="7329"/>
                  </a:cubicBezTo>
                  <a:cubicBezTo>
                    <a:pt x="1014793" y="7329"/>
                    <a:pt x="1014793" y="10657"/>
                    <a:pt x="1034986" y="10657"/>
                  </a:cubicBezTo>
                  <a:cubicBezTo>
                    <a:pt x="1055180" y="10657"/>
                    <a:pt x="1055180" y="5361"/>
                    <a:pt x="1075436" y="5361"/>
                  </a:cubicBezTo>
                  <a:cubicBezTo>
                    <a:pt x="1095629" y="5361"/>
                    <a:pt x="1095629" y="10168"/>
                    <a:pt x="1115822" y="10168"/>
                  </a:cubicBezTo>
                  <a:cubicBezTo>
                    <a:pt x="1136015" y="10168"/>
                    <a:pt x="1136015" y="7456"/>
                    <a:pt x="1156208" y="7456"/>
                  </a:cubicBezTo>
                  <a:cubicBezTo>
                    <a:pt x="1176401" y="7456"/>
                    <a:pt x="1176401" y="5856"/>
                    <a:pt x="1196657" y="5856"/>
                  </a:cubicBezTo>
                  <a:cubicBezTo>
                    <a:pt x="1216851" y="5856"/>
                    <a:pt x="1216851" y="6840"/>
                    <a:pt x="1237043" y="6840"/>
                  </a:cubicBezTo>
                  <a:cubicBezTo>
                    <a:pt x="1257237" y="6840"/>
                    <a:pt x="1257237" y="8072"/>
                    <a:pt x="1277430" y="8072"/>
                  </a:cubicBezTo>
                  <a:cubicBezTo>
                    <a:pt x="1297686" y="8072"/>
                    <a:pt x="1297686" y="10784"/>
                    <a:pt x="1317879" y="10784"/>
                  </a:cubicBezTo>
                  <a:cubicBezTo>
                    <a:pt x="1338072" y="10784"/>
                    <a:pt x="1338072" y="8193"/>
                    <a:pt x="1358265" y="8193"/>
                  </a:cubicBezTo>
                  <a:cubicBezTo>
                    <a:pt x="1378458" y="8193"/>
                    <a:pt x="1378458" y="7577"/>
                    <a:pt x="1398715" y="7577"/>
                  </a:cubicBezTo>
                  <a:cubicBezTo>
                    <a:pt x="1418907" y="7577"/>
                    <a:pt x="1418907" y="8441"/>
                    <a:pt x="1439101" y="8441"/>
                  </a:cubicBezTo>
                  <a:cubicBezTo>
                    <a:pt x="1459293" y="8441"/>
                    <a:pt x="1459293" y="7704"/>
                    <a:pt x="1479487" y="7704"/>
                  </a:cubicBezTo>
                  <a:cubicBezTo>
                    <a:pt x="1499680" y="7704"/>
                    <a:pt x="1499680" y="7704"/>
                    <a:pt x="1519936" y="7704"/>
                  </a:cubicBezTo>
                  <a:cubicBezTo>
                    <a:pt x="1540129" y="7704"/>
                    <a:pt x="1540129" y="7704"/>
                    <a:pt x="1560322" y="7704"/>
                  </a:cubicBezTo>
                  <a:cubicBezTo>
                    <a:pt x="1580515" y="7704"/>
                    <a:pt x="1580515" y="6224"/>
                    <a:pt x="1600708" y="6224"/>
                  </a:cubicBezTo>
                  <a:cubicBezTo>
                    <a:pt x="1620965" y="6224"/>
                    <a:pt x="1620965" y="5977"/>
                    <a:pt x="1641157" y="5977"/>
                  </a:cubicBezTo>
                  <a:cubicBezTo>
                    <a:pt x="1661351" y="5977"/>
                    <a:pt x="1661351" y="10657"/>
                    <a:pt x="1681543" y="10657"/>
                  </a:cubicBezTo>
                  <a:cubicBezTo>
                    <a:pt x="1701737" y="10657"/>
                    <a:pt x="1701737" y="5361"/>
                    <a:pt x="1721930" y="5361"/>
                  </a:cubicBezTo>
                  <a:cubicBezTo>
                    <a:pt x="1742186" y="5361"/>
                    <a:pt x="1742186" y="6472"/>
                    <a:pt x="1762379" y="6472"/>
                  </a:cubicBezTo>
                  <a:cubicBezTo>
                    <a:pt x="1782572" y="6472"/>
                    <a:pt x="1782572" y="7704"/>
                    <a:pt x="1802765" y="7704"/>
                  </a:cubicBezTo>
                  <a:cubicBezTo>
                    <a:pt x="1822958" y="7704"/>
                    <a:pt x="1822958" y="9552"/>
                    <a:pt x="1843215" y="9552"/>
                  </a:cubicBezTo>
                  <a:cubicBezTo>
                    <a:pt x="1863407" y="9552"/>
                    <a:pt x="1863407" y="10536"/>
                    <a:pt x="1883601" y="10536"/>
                  </a:cubicBezTo>
                  <a:cubicBezTo>
                    <a:pt x="1903793" y="10536"/>
                    <a:pt x="1903793" y="8072"/>
                    <a:pt x="1923987" y="8072"/>
                  </a:cubicBezTo>
                  <a:cubicBezTo>
                    <a:pt x="1944243" y="8072"/>
                    <a:pt x="1944243" y="7577"/>
                    <a:pt x="1964436" y="7577"/>
                  </a:cubicBezTo>
                  <a:cubicBezTo>
                    <a:pt x="1984629" y="7577"/>
                    <a:pt x="1984629" y="6840"/>
                    <a:pt x="2004822" y="6840"/>
                  </a:cubicBezTo>
                  <a:cubicBezTo>
                    <a:pt x="2025015" y="6840"/>
                    <a:pt x="2025015" y="6472"/>
                    <a:pt x="2045208" y="6472"/>
                  </a:cubicBezTo>
                  <a:cubicBezTo>
                    <a:pt x="2065465" y="6472"/>
                    <a:pt x="2065465" y="8441"/>
                    <a:pt x="2085657" y="8441"/>
                  </a:cubicBezTo>
                  <a:cubicBezTo>
                    <a:pt x="2105851" y="8441"/>
                    <a:pt x="2105851" y="10409"/>
                    <a:pt x="2126043" y="10409"/>
                  </a:cubicBezTo>
                  <a:cubicBezTo>
                    <a:pt x="2146237" y="10409"/>
                    <a:pt x="2146237" y="6961"/>
                    <a:pt x="2166493" y="6961"/>
                  </a:cubicBezTo>
                  <a:cubicBezTo>
                    <a:pt x="2186686" y="6961"/>
                    <a:pt x="2186686" y="6713"/>
                    <a:pt x="2206879" y="6713"/>
                  </a:cubicBezTo>
                  <a:cubicBezTo>
                    <a:pt x="2227072" y="6713"/>
                    <a:pt x="2227072" y="6593"/>
                    <a:pt x="2247265" y="6593"/>
                  </a:cubicBezTo>
                  <a:cubicBezTo>
                    <a:pt x="2267521" y="6593"/>
                    <a:pt x="2267521" y="5856"/>
                    <a:pt x="2287715" y="5856"/>
                  </a:cubicBezTo>
                  <a:cubicBezTo>
                    <a:pt x="2307907" y="5856"/>
                    <a:pt x="2307907" y="6961"/>
                    <a:pt x="2328101" y="6961"/>
                  </a:cubicBezTo>
                  <a:cubicBezTo>
                    <a:pt x="2348293" y="6961"/>
                    <a:pt x="2348293" y="6097"/>
                    <a:pt x="2368487" y="6097"/>
                  </a:cubicBezTo>
                  <a:cubicBezTo>
                    <a:pt x="2388743" y="6097"/>
                    <a:pt x="2388743" y="6097"/>
                    <a:pt x="2408936" y="6097"/>
                  </a:cubicBezTo>
                  <a:cubicBezTo>
                    <a:pt x="2429129" y="6097"/>
                    <a:pt x="2429129" y="5729"/>
                    <a:pt x="2449322" y="5729"/>
                  </a:cubicBezTo>
                  <a:cubicBezTo>
                    <a:pt x="2469515" y="5729"/>
                    <a:pt x="2469515" y="4865"/>
                    <a:pt x="2489771" y="4865"/>
                  </a:cubicBezTo>
                  <a:cubicBezTo>
                    <a:pt x="2509965" y="4865"/>
                    <a:pt x="2509965" y="5729"/>
                    <a:pt x="2530284" y="5729"/>
                  </a:cubicBezTo>
                  <a:cubicBezTo>
                    <a:pt x="2550605" y="5729"/>
                    <a:pt x="2550605" y="10041"/>
                    <a:pt x="2570797" y="10041"/>
                  </a:cubicBezTo>
                  <a:cubicBezTo>
                    <a:pt x="2590991" y="10041"/>
                    <a:pt x="2603182" y="-10902"/>
                    <a:pt x="2610993" y="7704"/>
                  </a:cubicBezTo>
                  <a:cubicBezTo>
                    <a:pt x="2618740" y="26303"/>
                    <a:pt x="2595563" y="20512"/>
                    <a:pt x="2581275" y="34806"/>
                  </a:cubicBezTo>
                  <a:cubicBezTo>
                    <a:pt x="2566988" y="49100"/>
                    <a:pt x="2566988" y="49100"/>
                    <a:pt x="2552700" y="63387"/>
                  </a:cubicBezTo>
                  <a:cubicBezTo>
                    <a:pt x="2538413" y="77681"/>
                    <a:pt x="2540381" y="79649"/>
                    <a:pt x="2526093" y="93943"/>
                  </a:cubicBezTo>
                  <a:cubicBezTo>
                    <a:pt x="2511806" y="108231"/>
                    <a:pt x="2509330" y="105767"/>
                    <a:pt x="2495042" y="120182"/>
                  </a:cubicBezTo>
                  <a:cubicBezTo>
                    <a:pt x="2480755" y="134596"/>
                    <a:pt x="2482342" y="136203"/>
                    <a:pt x="2468055" y="150490"/>
                  </a:cubicBezTo>
                  <a:cubicBezTo>
                    <a:pt x="2453767" y="164784"/>
                    <a:pt x="2451799" y="162809"/>
                    <a:pt x="2437511" y="177103"/>
                  </a:cubicBezTo>
                  <a:cubicBezTo>
                    <a:pt x="2423224" y="191390"/>
                    <a:pt x="2425573" y="193734"/>
                    <a:pt x="2411286" y="208148"/>
                  </a:cubicBezTo>
                  <a:cubicBezTo>
                    <a:pt x="2396998" y="222562"/>
                    <a:pt x="2394649" y="220099"/>
                    <a:pt x="2380234" y="234393"/>
                  </a:cubicBezTo>
                  <a:cubicBezTo>
                    <a:pt x="2365819" y="248680"/>
                    <a:pt x="2368868" y="251639"/>
                    <a:pt x="2354580" y="265927"/>
                  </a:cubicBezTo>
                  <a:cubicBezTo>
                    <a:pt x="2340293" y="280220"/>
                    <a:pt x="2340546" y="280468"/>
                    <a:pt x="2326259" y="294635"/>
                  </a:cubicBezTo>
                  <a:cubicBezTo>
                    <a:pt x="2311971" y="308802"/>
                    <a:pt x="2309241" y="306217"/>
                    <a:pt x="2294954" y="320505"/>
                  </a:cubicBezTo>
                  <a:cubicBezTo>
                    <a:pt x="2280666" y="334799"/>
                    <a:pt x="2281174" y="335415"/>
                    <a:pt x="2266887" y="349709"/>
                  </a:cubicBezTo>
                  <a:cubicBezTo>
                    <a:pt x="2252599" y="363996"/>
                    <a:pt x="2252472" y="363875"/>
                    <a:pt x="2238184" y="378163"/>
                  </a:cubicBezTo>
                  <a:cubicBezTo>
                    <a:pt x="2223897" y="392457"/>
                    <a:pt x="2225612" y="394184"/>
                    <a:pt x="2211324" y="408471"/>
                  </a:cubicBezTo>
                  <a:cubicBezTo>
                    <a:pt x="2197037" y="422765"/>
                    <a:pt x="2195195" y="420918"/>
                    <a:pt x="2180907" y="435205"/>
                  </a:cubicBezTo>
                  <a:cubicBezTo>
                    <a:pt x="2166620" y="449499"/>
                    <a:pt x="2167192" y="450115"/>
                    <a:pt x="2152904" y="464529"/>
                  </a:cubicBezTo>
                  <a:cubicBezTo>
                    <a:pt x="2138617" y="478944"/>
                    <a:pt x="2138236" y="478449"/>
                    <a:pt x="2123948" y="492742"/>
                  </a:cubicBezTo>
                  <a:cubicBezTo>
                    <a:pt x="2109661" y="507030"/>
                    <a:pt x="2109661" y="507157"/>
                    <a:pt x="2095373" y="521444"/>
                  </a:cubicBezTo>
                  <a:cubicBezTo>
                    <a:pt x="2081085" y="535738"/>
                    <a:pt x="2080133" y="534754"/>
                    <a:pt x="2065718" y="549041"/>
                  </a:cubicBezTo>
                  <a:cubicBezTo>
                    <a:pt x="2051304" y="563335"/>
                    <a:pt x="2052892" y="564935"/>
                    <a:pt x="2038604" y="579229"/>
                  </a:cubicBezTo>
                  <a:cubicBezTo>
                    <a:pt x="2024317" y="593517"/>
                    <a:pt x="2025396" y="594628"/>
                    <a:pt x="2011108" y="609043"/>
                  </a:cubicBezTo>
                  <a:cubicBezTo>
                    <a:pt x="1996821" y="623457"/>
                    <a:pt x="1997456" y="624073"/>
                    <a:pt x="1983168" y="638367"/>
                  </a:cubicBezTo>
                  <a:cubicBezTo>
                    <a:pt x="1968881" y="652654"/>
                    <a:pt x="1966531" y="650438"/>
                    <a:pt x="1952244" y="664732"/>
                  </a:cubicBezTo>
                  <a:cubicBezTo>
                    <a:pt x="1937956" y="679020"/>
                    <a:pt x="1937321" y="678404"/>
                    <a:pt x="1923034" y="692697"/>
                  </a:cubicBezTo>
                  <a:cubicBezTo>
                    <a:pt x="1908746" y="706985"/>
                    <a:pt x="1908746" y="707112"/>
                    <a:pt x="1894459" y="721399"/>
                  </a:cubicBezTo>
                  <a:cubicBezTo>
                    <a:pt x="1880171" y="735693"/>
                    <a:pt x="1880997" y="736678"/>
                    <a:pt x="1866709" y="750971"/>
                  </a:cubicBezTo>
                  <a:cubicBezTo>
                    <a:pt x="1852422" y="765259"/>
                    <a:pt x="1851787" y="764643"/>
                    <a:pt x="1837372" y="779057"/>
                  </a:cubicBezTo>
                  <a:cubicBezTo>
                    <a:pt x="1822958" y="793472"/>
                    <a:pt x="1822514" y="792856"/>
                    <a:pt x="1808226" y="807150"/>
                  </a:cubicBezTo>
                  <a:cubicBezTo>
                    <a:pt x="1793939" y="821437"/>
                    <a:pt x="1796987" y="824644"/>
                    <a:pt x="1782572" y="839059"/>
                  </a:cubicBezTo>
                  <a:cubicBezTo>
                    <a:pt x="1768157" y="853473"/>
                    <a:pt x="1772221" y="860865"/>
                    <a:pt x="1753362" y="868624"/>
                  </a:cubicBezTo>
                  <a:cubicBezTo>
                    <a:pt x="1734503" y="876384"/>
                    <a:pt x="1732217" y="868135"/>
                    <a:pt x="1711833" y="868135"/>
                  </a:cubicBezTo>
                  <a:cubicBezTo>
                    <a:pt x="1691513" y="868135"/>
                    <a:pt x="1691513" y="869240"/>
                    <a:pt x="1671193" y="869240"/>
                  </a:cubicBezTo>
                  <a:cubicBezTo>
                    <a:pt x="1650873" y="869240"/>
                    <a:pt x="1650873" y="868256"/>
                    <a:pt x="1630553" y="868256"/>
                  </a:cubicBezTo>
                  <a:cubicBezTo>
                    <a:pt x="1610233" y="868256"/>
                    <a:pt x="1610233" y="869488"/>
                    <a:pt x="1589913" y="869488"/>
                  </a:cubicBezTo>
                  <a:cubicBezTo>
                    <a:pt x="1569593" y="869488"/>
                    <a:pt x="1569593" y="864313"/>
                    <a:pt x="1549209" y="864313"/>
                  </a:cubicBezTo>
                  <a:cubicBezTo>
                    <a:pt x="1528890" y="864313"/>
                    <a:pt x="1528890" y="864808"/>
                    <a:pt x="1508569" y="864808"/>
                  </a:cubicBezTo>
                  <a:cubicBezTo>
                    <a:pt x="1488250" y="864808"/>
                    <a:pt x="1488250" y="863824"/>
                    <a:pt x="1467930" y="863824"/>
                  </a:cubicBezTo>
                  <a:cubicBezTo>
                    <a:pt x="1447609" y="863824"/>
                    <a:pt x="1447609" y="866287"/>
                    <a:pt x="1427290" y="866287"/>
                  </a:cubicBezTo>
                  <a:cubicBezTo>
                    <a:pt x="1406906" y="866287"/>
                    <a:pt x="1406906" y="865176"/>
                    <a:pt x="1386586" y="865176"/>
                  </a:cubicBezTo>
                  <a:cubicBezTo>
                    <a:pt x="1366266" y="865176"/>
                    <a:pt x="1366266" y="863576"/>
                    <a:pt x="1345946" y="863576"/>
                  </a:cubicBezTo>
                  <a:cubicBezTo>
                    <a:pt x="1325626" y="863576"/>
                    <a:pt x="1325626" y="865671"/>
                    <a:pt x="1305306" y="865671"/>
                  </a:cubicBezTo>
                  <a:cubicBezTo>
                    <a:pt x="1284986" y="865671"/>
                    <a:pt x="1284986" y="866287"/>
                    <a:pt x="1264666" y="866287"/>
                  </a:cubicBezTo>
                  <a:cubicBezTo>
                    <a:pt x="1244282" y="866287"/>
                    <a:pt x="1244282" y="866287"/>
                    <a:pt x="1223963" y="866287"/>
                  </a:cubicBezTo>
                  <a:cubicBezTo>
                    <a:pt x="1203643" y="866287"/>
                    <a:pt x="1203643" y="864192"/>
                    <a:pt x="1183322" y="864192"/>
                  </a:cubicBezTo>
                  <a:cubicBezTo>
                    <a:pt x="1163003" y="864192"/>
                    <a:pt x="1163003" y="867640"/>
                    <a:pt x="1142682" y="867640"/>
                  </a:cubicBezTo>
                  <a:cubicBezTo>
                    <a:pt x="1122363" y="867640"/>
                    <a:pt x="1122363" y="869240"/>
                    <a:pt x="1102043" y="869240"/>
                  </a:cubicBezTo>
                  <a:cubicBezTo>
                    <a:pt x="1081659" y="869240"/>
                    <a:pt x="1081659" y="868993"/>
                    <a:pt x="1061339" y="868993"/>
                  </a:cubicBezTo>
                  <a:cubicBezTo>
                    <a:pt x="1041019" y="868993"/>
                    <a:pt x="1041019" y="865792"/>
                    <a:pt x="1020699" y="865792"/>
                  </a:cubicBezTo>
                  <a:cubicBezTo>
                    <a:pt x="1000379" y="865792"/>
                    <a:pt x="1000379" y="863824"/>
                    <a:pt x="980059" y="863824"/>
                  </a:cubicBezTo>
                  <a:cubicBezTo>
                    <a:pt x="959739" y="863824"/>
                    <a:pt x="959739" y="865424"/>
                    <a:pt x="939419" y="865424"/>
                  </a:cubicBezTo>
                  <a:cubicBezTo>
                    <a:pt x="919035" y="865424"/>
                    <a:pt x="919035" y="869120"/>
                    <a:pt x="898716" y="869120"/>
                  </a:cubicBezTo>
                  <a:cubicBezTo>
                    <a:pt x="878395" y="869120"/>
                    <a:pt x="878395" y="866529"/>
                    <a:pt x="858076" y="866529"/>
                  </a:cubicBezTo>
                  <a:cubicBezTo>
                    <a:pt x="837755" y="866529"/>
                    <a:pt x="837755" y="867761"/>
                    <a:pt x="817435" y="867761"/>
                  </a:cubicBezTo>
                  <a:cubicBezTo>
                    <a:pt x="797116" y="867761"/>
                    <a:pt x="797116" y="869367"/>
                    <a:pt x="776795" y="869367"/>
                  </a:cubicBezTo>
                  <a:cubicBezTo>
                    <a:pt x="756412" y="869367"/>
                    <a:pt x="756412" y="865913"/>
                    <a:pt x="736092" y="865913"/>
                  </a:cubicBezTo>
                  <a:cubicBezTo>
                    <a:pt x="715772" y="865913"/>
                    <a:pt x="715772" y="869735"/>
                    <a:pt x="695452" y="869735"/>
                  </a:cubicBezTo>
                  <a:cubicBezTo>
                    <a:pt x="675132" y="869735"/>
                    <a:pt x="675132" y="869240"/>
                    <a:pt x="654812" y="869240"/>
                  </a:cubicBezTo>
                  <a:cubicBezTo>
                    <a:pt x="634492" y="869240"/>
                    <a:pt x="634492" y="866160"/>
                    <a:pt x="614172" y="866160"/>
                  </a:cubicBezTo>
                  <a:cubicBezTo>
                    <a:pt x="593789" y="866160"/>
                    <a:pt x="593789" y="863697"/>
                    <a:pt x="573468" y="863697"/>
                  </a:cubicBezTo>
                  <a:cubicBezTo>
                    <a:pt x="553148" y="863697"/>
                    <a:pt x="553148" y="868872"/>
                    <a:pt x="532829" y="868872"/>
                  </a:cubicBezTo>
                  <a:cubicBezTo>
                    <a:pt x="512508" y="868872"/>
                    <a:pt x="512508" y="867888"/>
                    <a:pt x="492189" y="867888"/>
                  </a:cubicBezTo>
                  <a:cubicBezTo>
                    <a:pt x="471868" y="867888"/>
                    <a:pt x="471868" y="864440"/>
                    <a:pt x="451548" y="864440"/>
                  </a:cubicBezTo>
                  <a:cubicBezTo>
                    <a:pt x="431165" y="864440"/>
                    <a:pt x="431165" y="865297"/>
                    <a:pt x="410718" y="865297"/>
                  </a:cubicBezTo>
                  <a:cubicBezTo>
                    <a:pt x="390271" y="865297"/>
                    <a:pt x="390398" y="864929"/>
                    <a:pt x="370078" y="864929"/>
                  </a:cubicBezTo>
                  <a:cubicBezTo>
                    <a:pt x="349758" y="864929"/>
                    <a:pt x="349758" y="866040"/>
                    <a:pt x="329311" y="866040"/>
                  </a:cubicBezTo>
                  <a:cubicBezTo>
                    <a:pt x="308864" y="866040"/>
                    <a:pt x="308991" y="865297"/>
                    <a:pt x="288544" y="865297"/>
                  </a:cubicBezTo>
                  <a:cubicBezTo>
                    <a:pt x="268097" y="865297"/>
                    <a:pt x="268224" y="865792"/>
                    <a:pt x="247714" y="865792"/>
                  </a:cubicBezTo>
                  <a:cubicBezTo>
                    <a:pt x="227267" y="865792"/>
                    <a:pt x="227393" y="868751"/>
                    <a:pt x="207073" y="868751"/>
                  </a:cubicBezTo>
                  <a:cubicBezTo>
                    <a:pt x="186754" y="868751"/>
                    <a:pt x="186754" y="864440"/>
                    <a:pt x="166306" y="864440"/>
                  </a:cubicBezTo>
                  <a:cubicBezTo>
                    <a:pt x="145859" y="864440"/>
                    <a:pt x="145986" y="868624"/>
                    <a:pt x="125540" y="868624"/>
                  </a:cubicBezTo>
                  <a:cubicBezTo>
                    <a:pt x="105093" y="868624"/>
                    <a:pt x="105219" y="865544"/>
                    <a:pt x="84772" y="865544"/>
                  </a:cubicBezTo>
                  <a:cubicBezTo>
                    <a:pt x="64326" y="865544"/>
                    <a:pt x="64326" y="869608"/>
                    <a:pt x="43942" y="869608"/>
                  </a:cubicBezTo>
                  <a:cubicBezTo>
                    <a:pt x="23622" y="869608"/>
                    <a:pt x="23495" y="865424"/>
                    <a:pt x="3175" y="865424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7F15C34E-E73E-D21B-BF57-745046A05134}"/>
                </a:ext>
              </a:extLst>
            </p:cNvPr>
            <p:cNvSpPr/>
            <p:nvPr/>
          </p:nvSpPr>
          <p:spPr>
            <a:xfrm>
              <a:off x="7353617" y="1338154"/>
              <a:ext cx="1778253" cy="5791"/>
            </a:xfrm>
            <a:custGeom>
              <a:avLst/>
              <a:gdLst>
                <a:gd name="connsiteX0" fmla="*/ 0 w 1778253"/>
                <a:gd name="connsiteY0" fmla="*/ 1606 h 5791"/>
                <a:gd name="connsiteX1" fmla="*/ 40259 w 1778253"/>
                <a:gd name="connsiteY1" fmla="*/ 5055 h 5791"/>
                <a:gd name="connsiteX2" fmla="*/ 80645 w 1778253"/>
                <a:gd name="connsiteY2" fmla="*/ 5671 h 5791"/>
                <a:gd name="connsiteX3" fmla="*/ 121094 w 1778253"/>
                <a:gd name="connsiteY3" fmla="*/ 4439 h 5791"/>
                <a:gd name="connsiteX4" fmla="*/ 161480 w 1778253"/>
                <a:gd name="connsiteY4" fmla="*/ 1975 h 5791"/>
                <a:gd name="connsiteX5" fmla="*/ 201930 w 1778253"/>
                <a:gd name="connsiteY5" fmla="*/ 1975 h 5791"/>
                <a:gd name="connsiteX6" fmla="*/ 242315 w 1778253"/>
                <a:gd name="connsiteY6" fmla="*/ 3080 h 5791"/>
                <a:gd name="connsiteX7" fmla="*/ 282701 w 1778253"/>
                <a:gd name="connsiteY7" fmla="*/ 1975 h 5791"/>
                <a:gd name="connsiteX8" fmla="*/ 323151 w 1778253"/>
                <a:gd name="connsiteY8" fmla="*/ 2838 h 5791"/>
                <a:gd name="connsiteX9" fmla="*/ 363538 w 1778253"/>
                <a:gd name="connsiteY9" fmla="*/ 991 h 5791"/>
                <a:gd name="connsiteX10" fmla="*/ 403923 w 1778253"/>
                <a:gd name="connsiteY10" fmla="*/ 5544 h 5791"/>
                <a:gd name="connsiteX11" fmla="*/ 444373 w 1778253"/>
                <a:gd name="connsiteY11" fmla="*/ 3943 h 5791"/>
                <a:gd name="connsiteX12" fmla="*/ 484759 w 1778253"/>
                <a:gd name="connsiteY12" fmla="*/ 4191 h 5791"/>
                <a:gd name="connsiteX13" fmla="*/ 525208 w 1778253"/>
                <a:gd name="connsiteY13" fmla="*/ 2591 h 5791"/>
                <a:gd name="connsiteX14" fmla="*/ 565594 w 1778253"/>
                <a:gd name="connsiteY14" fmla="*/ 3823 h 5791"/>
                <a:gd name="connsiteX15" fmla="*/ 605980 w 1778253"/>
                <a:gd name="connsiteY15" fmla="*/ 1727 h 5791"/>
                <a:gd name="connsiteX16" fmla="*/ 646430 w 1778253"/>
                <a:gd name="connsiteY16" fmla="*/ 864 h 5791"/>
                <a:gd name="connsiteX17" fmla="*/ 686815 w 1778253"/>
                <a:gd name="connsiteY17" fmla="*/ 2838 h 5791"/>
                <a:gd name="connsiteX18" fmla="*/ 727201 w 1778253"/>
                <a:gd name="connsiteY18" fmla="*/ 1606 h 5791"/>
                <a:gd name="connsiteX19" fmla="*/ 767651 w 1778253"/>
                <a:gd name="connsiteY19" fmla="*/ 743 h 5791"/>
                <a:gd name="connsiteX20" fmla="*/ 808038 w 1778253"/>
                <a:gd name="connsiteY20" fmla="*/ 616 h 5791"/>
                <a:gd name="connsiteX21" fmla="*/ 848487 w 1778253"/>
                <a:gd name="connsiteY21" fmla="*/ 3207 h 5791"/>
                <a:gd name="connsiteX22" fmla="*/ 888873 w 1778253"/>
                <a:gd name="connsiteY22" fmla="*/ 1359 h 5791"/>
                <a:gd name="connsiteX23" fmla="*/ 929259 w 1778253"/>
                <a:gd name="connsiteY23" fmla="*/ 2222 h 5791"/>
                <a:gd name="connsiteX24" fmla="*/ 969708 w 1778253"/>
                <a:gd name="connsiteY24" fmla="*/ 2959 h 5791"/>
                <a:gd name="connsiteX25" fmla="*/ 1010094 w 1778253"/>
                <a:gd name="connsiteY25" fmla="*/ 1111 h 5791"/>
                <a:gd name="connsiteX26" fmla="*/ 1050480 w 1778253"/>
                <a:gd name="connsiteY26" fmla="*/ 1111 h 5791"/>
                <a:gd name="connsiteX27" fmla="*/ 1090930 w 1778253"/>
                <a:gd name="connsiteY27" fmla="*/ 3943 h 5791"/>
                <a:gd name="connsiteX28" fmla="*/ 1131316 w 1778253"/>
                <a:gd name="connsiteY28" fmla="*/ 743 h 5791"/>
                <a:gd name="connsiteX29" fmla="*/ 1171765 w 1778253"/>
                <a:gd name="connsiteY29" fmla="*/ 2343 h 5791"/>
                <a:gd name="connsiteX30" fmla="*/ 1212151 w 1778253"/>
                <a:gd name="connsiteY30" fmla="*/ 2591 h 5791"/>
                <a:gd name="connsiteX31" fmla="*/ 1252538 w 1778253"/>
                <a:gd name="connsiteY31" fmla="*/ 5791 h 5791"/>
                <a:gd name="connsiteX32" fmla="*/ 1292987 w 1778253"/>
                <a:gd name="connsiteY32" fmla="*/ 5791 h 5791"/>
                <a:gd name="connsiteX33" fmla="*/ 1333373 w 1778253"/>
                <a:gd name="connsiteY33" fmla="*/ 375 h 5791"/>
                <a:gd name="connsiteX34" fmla="*/ 1373759 w 1778253"/>
                <a:gd name="connsiteY34" fmla="*/ 4070 h 5791"/>
                <a:gd name="connsiteX35" fmla="*/ 1414208 w 1778253"/>
                <a:gd name="connsiteY35" fmla="*/ 4686 h 5791"/>
                <a:gd name="connsiteX36" fmla="*/ 1454594 w 1778253"/>
                <a:gd name="connsiteY36" fmla="*/ 1480 h 5791"/>
                <a:gd name="connsiteX37" fmla="*/ 1495044 w 1778253"/>
                <a:gd name="connsiteY37" fmla="*/ 5055 h 5791"/>
                <a:gd name="connsiteX38" fmla="*/ 1535430 w 1778253"/>
                <a:gd name="connsiteY38" fmla="*/ 5055 h 5791"/>
                <a:gd name="connsiteX39" fmla="*/ 1575816 w 1778253"/>
                <a:gd name="connsiteY39" fmla="*/ 1848 h 5791"/>
                <a:gd name="connsiteX40" fmla="*/ 1616265 w 1778253"/>
                <a:gd name="connsiteY40" fmla="*/ 2464 h 5791"/>
                <a:gd name="connsiteX41" fmla="*/ 1656651 w 1778253"/>
                <a:gd name="connsiteY41" fmla="*/ 495 h 5791"/>
                <a:gd name="connsiteX42" fmla="*/ 1697164 w 1778253"/>
                <a:gd name="connsiteY42" fmla="*/ 1480 h 5791"/>
                <a:gd name="connsiteX43" fmla="*/ 1737741 w 1778253"/>
                <a:gd name="connsiteY43" fmla="*/ 0 h 5791"/>
                <a:gd name="connsiteX44" fmla="*/ 1778254 w 1778253"/>
                <a:gd name="connsiteY44" fmla="*/ 864 h 5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778253" h="5791">
                  <a:moveTo>
                    <a:pt x="0" y="1606"/>
                  </a:moveTo>
                  <a:cubicBezTo>
                    <a:pt x="20193" y="1606"/>
                    <a:pt x="20193" y="5055"/>
                    <a:pt x="40259" y="5055"/>
                  </a:cubicBezTo>
                  <a:cubicBezTo>
                    <a:pt x="60325" y="5055"/>
                    <a:pt x="60451" y="5671"/>
                    <a:pt x="80645" y="5671"/>
                  </a:cubicBezTo>
                  <a:cubicBezTo>
                    <a:pt x="100901" y="5671"/>
                    <a:pt x="100901" y="4439"/>
                    <a:pt x="121094" y="4439"/>
                  </a:cubicBezTo>
                  <a:cubicBezTo>
                    <a:pt x="141288" y="4439"/>
                    <a:pt x="141288" y="1975"/>
                    <a:pt x="161480" y="1975"/>
                  </a:cubicBezTo>
                  <a:cubicBezTo>
                    <a:pt x="181673" y="1975"/>
                    <a:pt x="181673" y="1975"/>
                    <a:pt x="201930" y="1975"/>
                  </a:cubicBezTo>
                  <a:cubicBezTo>
                    <a:pt x="222123" y="1975"/>
                    <a:pt x="222123" y="3080"/>
                    <a:pt x="242315" y="3080"/>
                  </a:cubicBezTo>
                  <a:cubicBezTo>
                    <a:pt x="262509" y="3080"/>
                    <a:pt x="262509" y="1975"/>
                    <a:pt x="282701" y="1975"/>
                  </a:cubicBezTo>
                  <a:cubicBezTo>
                    <a:pt x="302895" y="1975"/>
                    <a:pt x="302958" y="2838"/>
                    <a:pt x="323151" y="2838"/>
                  </a:cubicBezTo>
                  <a:cubicBezTo>
                    <a:pt x="343344" y="2838"/>
                    <a:pt x="343344" y="991"/>
                    <a:pt x="363538" y="991"/>
                  </a:cubicBezTo>
                  <a:cubicBezTo>
                    <a:pt x="383730" y="991"/>
                    <a:pt x="383730" y="5544"/>
                    <a:pt x="403923" y="5544"/>
                  </a:cubicBezTo>
                  <a:cubicBezTo>
                    <a:pt x="424180" y="5544"/>
                    <a:pt x="424180" y="3943"/>
                    <a:pt x="444373" y="3943"/>
                  </a:cubicBezTo>
                  <a:cubicBezTo>
                    <a:pt x="464565" y="3943"/>
                    <a:pt x="464565" y="4191"/>
                    <a:pt x="484759" y="4191"/>
                  </a:cubicBezTo>
                  <a:cubicBezTo>
                    <a:pt x="504951" y="4191"/>
                    <a:pt x="504951" y="2591"/>
                    <a:pt x="525208" y="2591"/>
                  </a:cubicBezTo>
                  <a:cubicBezTo>
                    <a:pt x="545401" y="2591"/>
                    <a:pt x="545401" y="3823"/>
                    <a:pt x="565594" y="3823"/>
                  </a:cubicBezTo>
                  <a:cubicBezTo>
                    <a:pt x="585788" y="3823"/>
                    <a:pt x="585788" y="1727"/>
                    <a:pt x="605980" y="1727"/>
                  </a:cubicBezTo>
                  <a:cubicBezTo>
                    <a:pt x="626173" y="1727"/>
                    <a:pt x="626173" y="864"/>
                    <a:pt x="646430" y="864"/>
                  </a:cubicBezTo>
                  <a:cubicBezTo>
                    <a:pt x="666623" y="864"/>
                    <a:pt x="666623" y="2838"/>
                    <a:pt x="686815" y="2838"/>
                  </a:cubicBezTo>
                  <a:cubicBezTo>
                    <a:pt x="707009" y="2838"/>
                    <a:pt x="707009" y="1606"/>
                    <a:pt x="727201" y="1606"/>
                  </a:cubicBezTo>
                  <a:cubicBezTo>
                    <a:pt x="747458" y="1606"/>
                    <a:pt x="747458" y="743"/>
                    <a:pt x="767651" y="743"/>
                  </a:cubicBezTo>
                  <a:cubicBezTo>
                    <a:pt x="787844" y="743"/>
                    <a:pt x="787844" y="616"/>
                    <a:pt x="808038" y="616"/>
                  </a:cubicBezTo>
                  <a:cubicBezTo>
                    <a:pt x="828230" y="616"/>
                    <a:pt x="828230" y="3207"/>
                    <a:pt x="848487" y="3207"/>
                  </a:cubicBezTo>
                  <a:cubicBezTo>
                    <a:pt x="868680" y="3207"/>
                    <a:pt x="868680" y="1359"/>
                    <a:pt x="888873" y="1359"/>
                  </a:cubicBezTo>
                  <a:cubicBezTo>
                    <a:pt x="909065" y="1359"/>
                    <a:pt x="909065" y="2222"/>
                    <a:pt x="929259" y="2222"/>
                  </a:cubicBezTo>
                  <a:cubicBezTo>
                    <a:pt x="949451" y="2222"/>
                    <a:pt x="949451" y="2959"/>
                    <a:pt x="969708" y="2959"/>
                  </a:cubicBezTo>
                  <a:cubicBezTo>
                    <a:pt x="989901" y="2959"/>
                    <a:pt x="989901" y="1111"/>
                    <a:pt x="1010094" y="1111"/>
                  </a:cubicBezTo>
                  <a:cubicBezTo>
                    <a:pt x="1030288" y="1111"/>
                    <a:pt x="1030288" y="1111"/>
                    <a:pt x="1050480" y="1111"/>
                  </a:cubicBezTo>
                  <a:cubicBezTo>
                    <a:pt x="1070737" y="1111"/>
                    <a:pt x="1070737" y="3943"/>
                    <a:pt x="1090930" y="3943"/>
                  </a:cubicBezTo>
                  <a:cubicBezTo>
                    <a:pt x="1111123" y="3943"/>
                    <a:pt x="1111123" y="743"/>
                    <a:pt x="1131316" y="743"/>
                  </a:cubicBezTo>
                  <a:cubicBezTo>
                    <a:pt x="1151509" y="743"/>
                    <a:pt x="1151509" y="2343"/>
                    <a:pt x="1171765" y="2343"/>
                  </a:cubicBezTo>
                  <a:cubicBezTo>
                    <a:pt x="1191958" y="2343"/>
                    <a:pt x="1191958" y="2591"/>
                    <a:pt x="1212151" y="2591"/>
                  </a:cubicBezTo>
                  <a:cubicBezTo>
                    <a:pt x="1232344" y="2591"/>
                    <a:pt x="1232344" y="5791"/>
                    <a:pt x="1252538" y="5791"/>
                  </a:cubicBezTo>
                  <a:cubicBezTo>
                    <a:pt x="1272730" y="5791"/>
                    <a:pt x="1272730" y="5791"/>
                    <a:pt x="1292987" y="5791"/>
                  </a:cubicBezTo>
                  <a:cubicBezTo>
                    <a:pt x="1313180" y="5791"/>
                    <a:pt x="1313180" y="375"/>
                    <a:pt x="1333373" y="375"/>
                  </a:cubicBezTo>
                  <a:cubicBezTo>
                    <a:pt x="1353566" y="375"/>
                    <a:pt x="1353566" y="4070"/>
                    <a:pt x="1373759" y="4070"/>
                  </a:cubicBezTo>
                  <a:cubicBezTo>
                    <a:pt x="1394015" y="4070"/>
                    <a:pt x="1394015" y="4686"/>
                    <a:pt x="1414208" y="4686"/>
                  </a:cubicBezTo>
                  <a:cubicBezTo>
                    <a:pt x="1434401" y="4686"/>
                    <a:pt x="1434401" y="1480"/>
                    <a:pt x="1454594" y="1480"/>
                  </a:cubicBezTo>
                  <a:cubicBezTo>
                    <a:pt x="1474788" y="1480"/>
                    <a:pt x="1474788" y="5055"/>
                    <a:pt x="1495044" y="5055"/>
                  </a:cubicBezTo>
                  <a:cubicBezTo>
                    <a:pt x="1515237" y="5055"/>
                    <a:pt x="1515237" y="5055"/>
                    <a:pt x="1535430" y="5055"/>
                  </a:cubicBezTo>
                  <a:cubicBezTo>
                    <a:pt x="1555623" y="5055"/>
                    <a:pt x="1555623" y="1848"/>
                    <a:pt x="1575816" y="1848"/>
                  </a:cubicBezTo>
                  <a:cubicBezTo>
                    <a:pt x="1596009" y="1848"/>
                    <a:pt x="1596009" y="2464"/>
                    <a:pt x="1616265" y="2464"/>
                  </a:cubicBezTo>
                  <a:cubicBezTo>
                    <a:pt x="1636458" y="2464"/>
                    <a:pt x="1636458" y="495"/>
                    <a:pt x="1656651" y="495"/>
                  </a:cubicBezTo>
                  <a:cubicBezTo>
                    <a:pt x="1676844" y="495"/>
                    <a:pt x="1676844" y="1480"/>
                    <a:pt x="1697164" y="1480"/>
                  </a:cubicBezTo>
                  <a:cubicBezTo>
                    <a:pt x="1717484" y="1480"/>
                    <a:pt x="1717484" y="0"/>
                    <a:pt x="1737741" y="0"/>
                  </a:cubicBezTo>
                  <a:cubicBezTo>
                    <a:pt x="1757934" y="0"/>
                    <a:pt x="1758061" y="864"/>
                    <a:pt x="1778254" y="864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F3B15A7F-2478-5819-35A7-B13A2EFFF946}"/>
                </a:ext>
              </a:extLst>
            </p:cNvPr>
            <p:cNvSpPr/>
            <p:nvPr/>
          </p:nvSpPr>
          <p:spPr>
            <a:xfrm>
              <a:off x="7687564" y="1004169"/>
              <a:ext cx="1767967" cy="5911"/>
            </a:xfrm>
            <a:custGeom>
              <a:avLst/>
              <a:gdLst>
                <a:gd name="connsiteX0" fmla="*/ 0 w 1767967"/>
                <a:gd name="connsiteY0" fmla="*/ 1600 h 5911"/>
                <a:gd name="connsiteX1" fmla="*/ 40195 w 1767967"/>
                <a:gd name="connsiteY1" fmla="*/ 3816 h 5911"/>
                <a:gd name="connsiteX2" fmla="*/ 80328 w 1767967"/>
                <a:gd name="connsiteY2" fmla="*/ 3200 h 5911"/>
                <a:gd name="connsiteX3" fmla="*/ 120523 w 1767967"/>
                <a:gd name="connsiteY3" fmla="*/ 2096 h 5911"/>
                <a:gd name="connsiteX4" fmla="*/ 160655 w 1767967"/>
                <a:gd name="connsiteY4" fmla="*/ 4801 h 5911"/>
                <a:gd name="connsiteX5" fmla="*/ 200851 w 1767967"/>
                <a:gd name="connsiteY5" fmla="*/ 616 h 5911"/>
                <a:gd name="connsiteX6" fmla="*/ 240982 w 1767967"/>
                <a:gd name="connsiteY6" fmla="*/ 737 h 5911"/>
                <a:gd name="connsiteX7" fmla="*/ 281178 w 1767967"/>
                <a:gd name="connsiteY7" fmla="*/ 2832 h 5911"/>
                <a:gd name="connsiteX8" fmla="*/ 321310 w 1767967"/>
                <a:gd name="connsiteY8" fmla="*/ 5664 h 5911"/>
                <a:gd name="connsiteX9" fmla="*/ 361505 w 1767967"/>
                <a:gd name="connsiteY9" fmla="*/ 4432 h 5911"/>
                <a:gd name="connsiteX10" fmla="*/ 401638 w 1767967"/>
                <a:gd name="connsiteY10" fmla="*/ 1969 h 5911"/>
                <a:gd name="connsiteX11" fmla="*/ 441833 w 1767967"/>
                <a:gd name="connsiteY11" fmla="*/ 4801 h 5911"/>
                <a:gd name="connsiteX12" fmla="*/ 481965 w 1767967"/>
                <a:gd name="connsiteY12" fmla="*/ 121 h 5911"/>
                <a:gd name="connsiteX13" fmla="*/ 522160 w 1767967"/>
                <a:gd name="connsiteY13" fmla="*/ 1105 h 5911"/>
                <a:gd name="connsiteX14" fmla="*/ 562292 w 1767967"/>
                <a:gd name="connsiteY14" fmla="*/ 1721 h 5911"/>
                <a:gd name="connsiteX15" fmla="*/ 602488 w 1767967"/>
                <a:gd name="connsiteY15" fmla="*/ 3816 h 5911"/>
                <a:gd name="connsiteX16" fmla="*/ 642620 w 1767967"/>
                <a:gd name="connsiteY16" fmla="*/ 984 h 5911"/>
                <a:gd name="connsiteX17" fmla="*/ 682816 w 1767967"/>
                <a:gd name="connsiteY17" fmla="*/ 1969 h 5911"/>
                <a:gd name="connsiteX18" fmla="*/ 722947 w 1767967"/>
                <a:gd name="connsiteY18" fmla="*/ 5544 h 5911"/>
                <a:gd name="connsiteX19" fmla="*/ 763143 w 1767967"/>
                <a:gd name="connsiteY19" fmla="*/ 1969 h 5911"/>
                <a:gd name="connsiteX20" fmla="*/ 803275 w 1767967"/>
                <a:gd name="connsiteY20" fmla="*/ 3448 h 5911"/>
                <a:gd name="connsiteX21" fmla="*/ 843470 w 1767967"/>
                <a:gd name="connsiteY21" fmla="*/ 984 h 5911"/>
                <a:gd name="connsiteX22" fmla="*/ 883603 w 1767967"/>
                <a:gd name="connsiteY22" fmla="*/ 4064 h 5911"/>
                <a:gd name="connsiteX23" fmla="*/ 923798 w 1767967"/>
                <a:gd name="connsiteY23" fmla="*/ 1105 h 5911"/>
                <a:gd name="connsiteX24" fmla="*/ 963930 w 1767967"/>
                <a:gd name="connsiteY24" fmla="*/ 2337 h 5911"/>
                <a:gd name="connsiteX25" fmla="*/ 1004126 w 1767967"/>
                <a:gd name="connsiteY25" fmla="*/ 5664 h 5911"/>
                <a:gd name="connsiteX26" fmla="*/ 1044257 w 1767967"/>
                <a:gd name="connsiteY26" fmla="*/ 4064 h 5911"/>
                <a:gd name="connsiteX27" fmla="*/ 1084453 w 1767967"/>
                <a:gd name="connsiteY27" fmla="*/ 2464 h 5911"/>
                <a:gd name="connsiteX28" fmla="*/ 1124585 w 1767967"/>
                <a:gd name="connsiteY28" fmla="*/ 4559 h 5911"/>
                <a:gd name="connsiteX29" fmla="*/ 1164780 w 1767967"/>
                <a:gd name="connsiteY29" fmla="*/ 3448 h 5911"/>
                <a:gd name="connsiteX30" fmla="*/ 1204913 w 1767967"/>
                <a:gd name="connsiteY30" fmla="*/ 1969 h 5911"/>
                <a:gd name="connsiteX31" fmla="*/ 1245108 w 1767967"/>
                <a:gd name="connsiteY31" fmla="*/ 1848 h 5911"/>
                <a:gd name="connsiteX32" fmla="*/ 1285240 w 1767967"/>
                <a:gd name="connsiteY32" fmla="*/ 1353 h 5911"/>
                <a:gd name="connsiteX33" fmla="*/ 1325435 w 1767967"/>
                <a:gd name="connsiteY33" fmla="*/ 2953 h 5911"/>
                <a:gd name="connsiteX34" fmla="*/ 1365567 w 1767967"/>
                <a:gd name="connsiteY34" fmla="*/ 5544 h 5911"/>
                <a:gd name="connsiteX35" fmla="*/ 1405763 w 1767967"/>
                <a:gd name="connsiteY35" fmla="*/ 2464 h 5911"/>
                <a:gd name="connsiteX36" fmla="*/ 1445895 w 1767967"/>
                <a:gd name="connsiteY36" fmla="*/ 5664 h 5911"/>
                <a:gd name="connsiteX37" fmla="*/ 1486217 w 1767967"/>
                <a:gd name="connsiteY37" fmla="*/ 2096 h 5911"/>
                <a:gd name="connsiteX38" fmla="*/ 1526477 w 1767967"/>
                <a:gd name="connsiteY38" fmla="*/ 2216 h 5911"/>
                <a:gd name="connsiteX39" fmla="*/ 1566672 w 1767967"/>
                <a:gd name="connsiteY39" fmla="*/ 4185 h 5911"/>
                <a:gd name="connsiteX40" fmla="*/ 1606804 w 1767967"/>
                <a:gd name="connsiteY40" fmla="*/ 1105 h 5911"/>
                <a:gd name="connsiteX41" fmla="*/ 1647063 w 1767967"/>
                <a:gd name="connsiteY41" fmla="*/ 3327 h 5911"/>
                <a:gd name="connsiteX42" fmla="*/ 1687385 w 1767967"/>
                <a:gd name="connsiteY42" fmla="*/ 0 h 5911"/>
                <a:gd name="connsiteX43" fmla="*/ 1727644 w 1767967"/>
                <a:gd name="connsiteY43" fmla="*/ 5912 h 5911"/>
                <a:gd name="connsiteX44" fmla="*/ 1767967 w 1767967"/>
                <a:gd name="connsiteY44" fmla="*/ 737 h 5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1767967" h="5911">
                  <a:moveTo>
                    <a:pt x="0" y="1600"/>
                  </a:moveTo>
                  <a:cubicBezTo>
                    <a:pt x="20130" y="1600"/>
                    <a:pt x="20130" y="3816"/>
                    <a:pt x="40195" y="3816"/>
                  </a:cubicBezTo>
                  <a:cubicBezTo>
                    <a:pt x="60261" y="3816"/>
                    <a:pt x="60261" y="3200"/>
                    <a:pt x="80328" y="3200"/>
                  </a:cubicBezTo>
                  <a:cubicBezTo>
                    <a:pt x="100457" y="3200"/>
                    <a:pt x="100457" y="2096"/>
                    <a:pt x="120523" y="2096"/>
                  </a:cubicBezTo>
                  <a:cubicBezTo>
                    <a:pt x="140589" y="2096"/>
                    <a:pt x="140589" y="4801"/>
                    <a:pt x="160655" y="4801"/>
                  </a:cubicBezTo>
                  <a:cubicBezTo>
                    <a:pt x="180784" y="4801"/>
                    <a:pt x="180784" y="616"/>
                    <a:pt x="200851" y="616"/>
                  </a:cubicBezTo>
                  <a:cubicBezTo>
                    <a:pt x="220917" y="616"/>
                    <a:pt x="220917" y="737"/>
                    <a:pt x="240982" y="737"/>
                  </a:cubicBezTo>
                  <a:cubicBezTo>
                    <a:pt x="261112" y="737"/>
                    <a:pt x="261112" y="2832"/>
                    <a:pt x="281178" y="2832"/>
                  </a:cubicBezTo>
                  <a:cubicBezTo>
                    <a:pt x="301244" y="2832"/>
                    <a:pt x="301244" y="5664"/>
                    <a:pt x="321310" y="5664"/>
                  </a:cubicBezTo>
                  <a:cubicBezTo>
                    <a:pt x="341440" y="5664"/>
                    <a:pt x="341440" y="4432"/>
                    <a:pt x="361505" y="4432"/>
                  </a:cubicBezTo>
                  <a:cubicBezTo>
                    <a:pt x="381571" y="4432"/>
                    <a:pt x="381571" y="1969"/>
                    <a:pt x="401638" y="1969"/>
                  </a:cubicBezTo>
                  <a:cubicBezTo>
                    <a:pt x="421767" y="1969"/>
                    <a:pt x="421767" y="4801"/>
                    <a:pt x="441833" y="4801"/>
                  </a:cubicBezTo>
                  <a:cubicBezTo>
                    <a:pt x="461899" y="4801"/>
                    <a:pt x="461899" y="121"/>
                    <a:pt x="481965" y="121"/>
                  </a:cubicBezTo>
                  <a:cubicBezTo>
                    <a:pt x="502094" y="121"/>
                    <a:pt x="502094" y="1105"/>
                    <a:pt x="522160" y="1105"/>
                  </a:cubicBezTo>
                  <a:cubicBezTo>
                    <a:pt x="542227" y="1105"/>
                    <a:pt x="542227" y="1721"/>
                    <a:pt x="562292" y="1721"/>
                  </a:cubicBezTo>
                  <a:cubicBezTo>
                    <a:pt x="582422" y="1721"/>
                    <a:pt x="582422" y="3816"/>
                    <a:pt x="602488" y="3816"/>
                  </a:cubicBezTo>
                  <a:cubicBezTo>
                    <a:pt x="622554" y="3816"/>
                    <a:pt x="622554" y="984"/>
                    <a:pt x="642620" y="984"/>
                  </a:cubicBezTo>
                  <a:cubicBezTo>
                    <a:pt x="662750" y="984"/>
                    <a:pt x="662750" y="1969"/>
                    <a:pt x="682816" y="1969"/>
                  </a:cubicBezTo>
                  <a:cubicBezTo>
                    <a:pt x="702881" y="1969"/>
                    <a:pt x="702881" y="5544"/>
                    <a:pt x="722947" y="5544"/>
                  </a:cubicBezTo>
                  <a:cubicBezTo>
                    <a:pt x="743077" y="5544"/>
                    <a:pt x="743077" y="1969"/>
                    <a:pt x="763143" y="1969"/>
                  </a:cubicBezTo>
                  <a:cubicBezTo>
                    <a:pt x="783209" y="1969"/>
                    <a:pt x="783209" y="3448"/>
                    <a:pt x="803275" y="3448"/>
                  </a:cubicBezTo>
                  <a:cubicBezTo>
                    <a:pt x="823405" y="3448"/>
                    <a:pt x="823405" y="984"/>
                    <a:pt x="843470" y="984"/>
                  </a:cubicBezTo>
                  <a:cubicBezTo>
                    <a:pt x="863536" y="984"/>
                    <a:pt x="863536" y="4064"/>
                    <a:pt x="883603" y="4064"/>
                  </a:cubicBezTo>
                  <a:cubicBezTo>
                    <a:pt x="903732" y="4064"/>
                    <a:pt x="903668" y="1105"/>
                    <a:pt x="923798" y="1105"/>
                  </a:cubicBezTo>
                  <a:cubicBezTo>
                    <a:pt x="943864" y="1105"/>
                    <a:pt x="943864" y="2337"/>
                    <a:pt x="963930" y="2337"/>
                  </a:cubicBezTo>
                  <a:cubicBezTo>
                    <a:pt x="983996" y="2337"/>
                    <a:pt x="983996" y="5664"/>
                    <a:pt x="1004126" y="5664"/>
                  </a:cubicBezTo>
                  <a:cubicBezTo>
                    <a:pt x="1024192" y="5664"/>
                    <a:pt x="1024192" y="4064"/>
                    <a:pt x="1044257" y="4064"/>
                  </a:cubicBezTo>
                  <a:cubicBezTo>
                    <a:pt x="1064323" y="4064"/>
                    <a:pt x="1064323" y="2464"/>
                    <a:pt x="1084453" y="2464"/>
                  </a:cubicBezTo>
                  <a:cubicBezTo>
                    <a:pt x="1104519" y="2464"/>
                    <a:pt x="1104519" y="4559"/>
                    <a:pt x="1124585" y="4559"/>
                  </a:cubicBezTo>
                  <a:cubicBezTo>
                    <a:pt x="1144651" y="4559"/>
                    <a:pt x="1144651" y="3448"/>
                    <a:pt x="1164780" y="3448"/>
                  </a:cubicBezTo>
                  <a:cubicBezTo>
                    <a:pt x="1184846" y="3448"/>
                    <a:pt x="1184846" y="1969"/>
                    <a:pt x="1204913" y="1969"/>
                  </a:cubicBezTo>
                  <a:cubicBezTo>
                    <a:pt x="1224979" y="1969"/>
                    <a:pt x="1224979" y="1848"/>
                    <a:pt x="1245108" y="1848"/>
                  </a:cubicBezTo>
                  <a:cubicBezTo>
                    <a:pt x="1265174" y="1848"/>
                    <a:pt x="1265174" y="1353"/>
                    <a:pt x="1285240" y="1353"/>
                  </a:cubicBezTo>
                  <a:cubicBezTo>
                    <a:pt x="1305306" y="1353"/>
                    <a:pt x="1305306" y="2953"/>
                    <a:pt x="1325435" y="2953"/>
                  </a:cubicBezTo>
                  <a:cubicBezTo>
                    <a:pt x="1345502" y="2953"/>
                    <a:pt x="1345502" y="5544"/>
                    <a:pt x="1365567" y="5544"/>
                  </a:cubicBezTo>
                  <a:cubicBezTo>
                    <a:pt x="1385633" y="5544"/>
                    <a:pt x="1385633" y="2464"/>
                    <a:pt x="1405763" y="2464"/>
                  </a:cubicBezTo>
                  <a:cubicBezTo>
                    <a:pt x="1425829" y="2464"/>
                    <a:pt x="1425829" y="5664"/>
                    <a:pt x="1445895" y="5664"/>
                  </a:cubicBezTo>
                  <a:cubicBezTo>
                    <a:pt x="1465961" y="5664"/>
                    <a:pt x="1465961" y="2096"/>
                    <a:pt x="1486217" y="2096"/>
                  </a:cubicBezTo>
                  <a:cubicBezTo>
                    <a:pt x="1506410" y="2096"/>
                    <a:pt x="1506283" y="2216"/>
                    <a:pt x="1526477" y="2216"/>
                  </a:cubicBezTo>
                  <a:cubicBezTo>
                    <a:pt x="1546669" y="2216"/>
                    <a:pt x="1546542" y="4185"/>
                    <a:pt x="1566672" y="4185"/>
                  </a:cubicBezTo>
                  <a:cubicBezTo>
                    <a:pt x="1586738" y="4185"/>
                    <a:pt x="1586738" y="1105"/>
                    <a:pt x="1606804" y="1105"/>
                  </a:cubicBezTo>
                  <a:cubicBezTo>
                    <a:pt x="1626870" y="1105"/>
                    <a:pt x="1626870" y="3327"/>
                    <a:pt x="1647063" y="3327"/>
                  </a:cubicBezTo>
                  <a:cubicBezTo>
                    <a:pt x="1667319" y="3327"/>
                    <a:pt x="1667192" y="0"/>
                    <a:pt x="1687385" y="0"/>
                  </a:cubicBezTo>
                  <a:cubicBezTo>
                    <a:pt x="1707579" y="0"/>
                    <a:pt x="1707579" y="5912"/>
                    <a:pt x="1727644" y="5912"/>
                  </a:cubicBezTo>
                  <a:cubicBezTo>
                    <a:pt x="1747774" y="5912"/>
                    <a:pt x="1747838" y="737"/>
                    <a:pt x="1767967" y="737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E4FED2FB-F59E-1128-EEE8-F902A5258A09}"/>
                </a:ext>
              </a:extLst>
            </p:cNvPr>
            <p:cNvSpPr/>
            <p:nvPr/>
          </p:nvSpPr>
          <p:spPr>
            <a:xfrm>
              <a:off x="7475664" y="757631"/>
              <a:ext cx="856360" cy="861421"/>
            </a:xfrm>
            <a:custGeom>
              <a:avLst/>
              <a:gdLst>
                <a:gd name="connsiteX0" fmla="*/ 0 w 856360"/>
                <a:gd name="connsiteY0" fmla="*/ 861422 h 861421"/>
                <a:gd name="connsiteX1" fmla="*/ 26860 w 856360"/>
                <a:gd name="connsiteY1" fmla="*/ 830986 h 861421"/>
                <a:gd name="connsiteX2" fmla="*/ 55943 w 856360"/>
                <a:gd name="connsiteY2" fmla="*/ 802780 h 861421"/>
                <a:gd name="connsiteX3" fmla="*/ 82423 w 856360"/>
                <a:gd name="connsiteY3" fmla="*/ 772103 h 861421"/>
                <a:gd name="connsiteX4" fmla="*/ 113982 w 856360"/>
                <a:gd name="connsiteY4" fmla="*/ 746474 h 861421"/>
                <a:gd name="connsiteX5" fmla="*/ 142304 w 856360"/>
                <a:gd name="connsiteY5" fmla="*/ 717645 h 861421"/>
                <a:gd name="connsiteX6" fmla="*/ 171514 w 856360"/>
                <a:gd name="connsiteY6" fmla="*/ 689680 h 861421"/>
                <a:gd name="connsiteX7" fmla="*/ 197485 w 856360"/>
                <a:gd name="connsiteY7" fmla="*/ 658387 h 861421"/>
                <a:gd name="connsiteX8" fmla="*/ 228791 w 856360"/>
                <a:gd name="connsiteY8" fmla="*/ 632511 h 861421"/>
                <a:gd name="connsiteX9" fmla="*/ 254317 w 856360"/>
                <a:gd name="connsiteY9" fmla="*/ 600850 h 861421"/>
                <a:gd name="connsiteX10" fmla="*/ 282892 w 856360"/>
                <a:gd name="connsiteY10" fmla="*/ 572268 h 861421"/>
                <a:gd name="connsiteX11" fmla="*/ 311467 w 856360"/>
                <a:gd name="connsiteY11" fmla="*/ 543687 h 861421"/>
                <a:gd name="connsiteX12" fmla="*/ 342900 w 856360"/>
                <a:gd name="connsiteY12" fmla="*/ 517817 h 861421"/>
                <a:gd name="connsiteX13" fmla="*/ 368364 w 856360"/>
                <a:gd name="connsiteY13" fmla="*/ 486150 h 861421"/>
                <a:gd name="connsiteX14" fmla="*/ 400558 w 856360"/>
                <a:gd name="connsiteY14" fmla="*/ 461143 h 861421"/>
                <a:gd name="connsiteX15" fmla="*/ 426783 w 856360"/>
                <a:gd name="connsiteY15" fmla="*/ 430098 h 861421"/>
                <a:gd name="connsiteX16" fmla="*/ 456247 w 856360"/>
                <a:gd name="connsiteY16" fmla="*/ 402253 h 861421"/>
                <a:gd name="connsiteX17" fmla="*/ 483362 w 856360"/>
                <a:gd name="connsiteY17" fmla="*/ 372193 h 861421"/>
                <a:gd name="connsiteX18" fmla="*/ 512635 w 856360"/>
                <a:gd name="connsiteY18" fmla="*/ 344227 h 861421"/>
                <a:gd name="connsiteX19" fmla="*/ 543687 w 856360"/>
                <a:gd name="connsiteY19" fmla="*/ 317983 h 861421"/>
                <a:gd name="connsiteX20" fmla="*/ 570929 w 856360"/>
                <a:gd name="connsiteY20" fmla="*/ 287922 h 861421"/>
                <a:gd name="connsiteX21" fmla="*/ 599630 w 856360"/>
                <a:gd name="connsiteY21" fmla="*/ 259340 h 861421"/>
                <a:gd name="connsiteX22" fmla="*/ 626237 w 856360"/>
                <a:gd name="connsiteY22" fmla="*/ 228664 h 861421"/>
                <a:gd name="connsiteX23" fmla="*/ 656654 w 856360"/>
                <a:gd name="connsiteY23" fmla="*/ 201803 h 861421"/>
                <a:gd name="connsiteX24" fmla="*/ 684784 w 856360"/>
                <a:gd name="connsiteY24" fmla="*/ 172733 h 861421"/>
                <a:gd name="connsiteX25" fmla="*/ 714248 w 856360"/>
                <a:gd name="connsiteY25" fmla="*/ 144888 h 861421"/>
                <a:gd name="connsiteX26" fmla="*/ 742188 w 856360"/>
                <a:gd name="connsiteY26" fmla="*/ 115564 h 861421"/>
                <a:gd name="connsiteX27" fmla="*/ 771525 w 856360"/>
                <a:gd name="connsiteY27" fmla="*/ 87478 h 861421"/>
                <a:gd name="connsiteX28" fmla="*/ 800481 w 856360"/>
                <a:gd name="connsiteY28" fmla="*/ 59017 h 861421"/>
                <a:gd name="connsiteX29" fmla="*/ 827088 w 856360"/>
                <a:gd name="connsiteY29" fmla="*/ 28213 h 861421"/>
                <a:gd name="connsiteX30" fmla="*/ 856361 w 856360"/>
                <a:gd name="connsiteY30" fmla="*/ 0 h 861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856360" h="861421">
                  <a:moveTo>
                    <a:pt x="0" y="861422"/>
                  </a:moveTo>
                  <a:cubicBezTo>
                    <a:pt x="14288" y="847128"/>
                    <a:pt x="12446" y="845280"/>
                    <a:pt x="26860" y="830986"/>
                  </a:cubicBezTo>
                  <a:cubicBezTo>
                    <a:pt x="41275" y="816699"/>
                    <a:pt x="41529" y="817067"/>
                    <a:pt x="55943" y="802780"/>
                  </a:cubicBezTo>
                  <a:cubicBezTo>
                    <a:pt x="70358" y="788486"/>
                    <a:pt x="68135" y="786390"/>
                    <a:pt x="82423" y="772103"/>
                  </a:cubicBezTo>
                  <a:cubicBezTo>
                    <a:pt x="96710" y="757809"/>
                    <a:pt x="99695" y="760768"/>
                    <a:pt x="113982" y="746474"/>
                  </a:cubicBezTo>
                  <a:cubicBezTo>
                    <a:pt x="128270" y="732180"/>
                    <a:pt x="128016" y="731939"/>
                    <a:pt x="142304" y="717645"/>
                  </a:cubicBezTo>
                  <a:cubicBezTo>
                    <a:pt x="156591" y="703351"/>
                    <a:pt x="157226" y="703967"/>
                    <a:pt x="171514" y="689680"/>
                  </a:cubicBezTo>
                  <a:cubicBezTo>
                    <a:pt x="185801" y="675386"/>
                    <a:pt x="183070" y="672675"/>
                    <a:pt x="197485" y="658387"/>
                  </a:cubicBezTo>
                  <a:cubicBezTo>
                    <a:pt x="211899" y="644093"/>
                    <a:pt x="214503" y="646805"/>
                    <a:pt x="228791" y="632511"/>
                  </a:cubicBezTo>
                  <a:cubicBezTo>
                    <a:pt x="243078" y="618223"/>
                    <a:pt x="240030" y="615144"/>
                    <a:pt x="254317" y="600850"/>
                  </a:cubicBezTo>
                  <a:cubicBezTo>
                    <a:pt x="268605" y="586562"/>
                    <a:pt x="268605" y="586562"/>
                    <a:pt x="282892" y="572268"/>
                  </a:cubicBezTo>
                  <a:cubicBezTo>
                    <a:pt x="297180" y="557975"/>
                    <a:pt x="297180" y="557975"/>
                    <a:pt x="311467" y="543687"/>
                  </a:cubicBezTo>
                  <a:cubicBezTo>
                    <a:pt x="325755" y="529393"/>
                    <a:pt x="328613" y="532105"/>
                    <a:pt x="342900" y="517817"/>
                  </a:cubicBezTo>
                  <a:cubicBezTo>
                    <a:pt x="357188" y="503523"/>
                    <a:pt x="354076" y="500444"/>
                    <a:pt x="368364" y="486150"/>
                  </a:cubicBezTo>
                  <a:cubicBezTo>
                    <a:pt x="382715" y="471862"/>
                    <a:pt x="386270" y="475431"/>
                    <a:pt x="400558" y="461143"/>
                  </a:cubicBezTo>
                  <a:cubicBezTo>
                    <a:pt x="414845" y="446850"/>
                    <a:pt x="412496" y="444386"/>
                    <a:pt x="426783" y="430098"/>
                  </a:cubicBezTo>
                  <a:cubicBezTo>
                    <a:pt x="441071" y="415804"/>
                    <a:pt x="441833" y="416541"/>
                    <a:pt x="456247" y="402253"/>
                  </a:cubicBezTo>
                  <a:cubicBezTo>
                    <a:pt x="470662" y="387960"/>
                    <a:pt x="469074" y="386480"/>
                    <a:pt x="483362" y="372193"/>
                  </a:cubicBezTo>
                  <a:cubicBezTo>
                    <a:pt x="497649" y="357899"/>
                    <a:pt x="498348" y="358515"/>
                    <a:pt x="512635" y="344227"/>
                  </a:cubicBezTo>
                  <a:cubicBezTo>
                    <a:pt x="526923" y="329933"/>
                    <a:pt x="529400" y="332397"/>
                    <a:pt x="543687" y="317983"/>
                  </a:cubicBezTo>
                  <a:cubicBezTo>
                    <a:pt x="557975" y="303568"/>
                    <a:pt x="556641" y="302336"/>
                    <a:pt x="570929" y="287922"/>
                  </a:cubicBezTo>
                  <a:cubicBezTo>
                    <a:pt x="585216" y="273507"/>
                    <a:pt x="585343" y="273634"/>
                    <a:pt x="599630" y="259340"/>
                  </a:cubicBezTo>
                  <a:cubicBezTo>
                    <a:pt x="613918" y="245046"/>
                    <a:pt x="611950" y="242957"/>
                    <a:pt x="626237" y="228664"/>
                  </a:cubicBezTo>
                  <a:cubicBezTo>
                    <a:pt x="640525" y="214370"/>
                    <a:pt x="642366" y="216097"/>
                    <a:pt x="656654" y="201803"/>
                  </a:cubicBezTo>
                  <a:cubicBezTo>
                    <a:pt x="671004" y="187516"/>
                    <a:pt x="670496" y="187020"/>
                    <a:pt x="684784" y="172733"/>
                  </a:cubicBezTo>
                  <a:cubicBezTo>
                    <a:pt x="699071" y="158439"/>
                    <a:pt x="699897" y="159175"/>
                    <a:pt x="714248" y="144888"/>
                  </a:cubicBezTo>
                  <a:cubicBezTo>
                    <a:pt x="728535" y="130594"/>
                    <a:pt x="727901" y="129857"/>
                    <a:pt x="742188" y="115564"/>
                  </a:cubicBezTo>
                  <a:cubicBezTo>
                    <a:pt x="756476" y="101276"/>
                    <a:pt x="757110" y="101765"/>
                    <a:pt x="771525" y="87478"/>
                  </a:cubicBezTo>
                  <a:cubicBezTo>
                    <a:pt x="785940" y="73184"/>
                    <a:pt x="786193" y="73431"/>
                    <a:pt x="800481" y="59017"/>
                  </a:cubicBezTo>
                  <a:cubicBezTo>
                    <a:pt x="814768" y="44602"/>
                    <a:pt x="812800" y="42507"/>
                    <a:pt x="827088" y="28213"/>
                  </a:cubicBezTo>
                  <a:cubicBezTo>
                    <a:pt x="841375" y="13926"/>
                    <a:pt x="841946" y="14415"/>
                    <a:pt x="856361" y="0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4CCF98E0-31E9-9A8B-7C86-8E973108B716}"/>
                </a:ext>
              </a:extLst>
            </p:cNvPr>
            <p:cNvSpPr/>
            <p:nvPr/>
          </p:nvSpPr>
          <p:spPr>
            <a:xfrm>
              <a:off x="7933118" y="756659"/>
              <a:ext cx="857948" cy="859942"/>
            </a:xfrm>
            <a:custGeom>
              <a:avLst/>
              <a:gdLst>
                <a:gd name="connsiteX0" fmla="*/ 0 w 857948"/>
                <a:gd name="connsiteY0" fmla="*/ 859942 h 859942"/>
                <a:gd name="connsiteX1" fmla="*/ 28321 w 857948"/>
                <a:gd name="connsiteY1" fmla="*/ 830986 h 859942"/>
                <a:gd name="connsiteX2" fmla="*/ 57150 w 857948"/>
                <a:gd name="connsiteY2" fmla="*/ 802526 h 859942"/>
                <a:gd name="connsiteX3" fmla="*/ 87502 w 857948"/>
                <a:gd name="connsiteY3" fmla="*/ 775545 h 859942"/>
                <a:gd name="connsiteX4" fmla="*/ 114617 w 857948"/>
                <a:gd name="connsiteY4" fmla="*/ 745484 h 859942"/>
                <a:gd name="connsiteX5" fmla="*/ 142938 w 857948"/>
                <a:gd name="connsiteY5" fmla="*/ 716534 h 859942"/>
                <a:gd name="connsiteX6" fmla="*/ 171386 w 857948"/>
                <a:gd name="connsiteY6" fmla="*/ 687826 h 859942"/>
                <a:gd name="connsiteX7" fmla="*/ 198755 w 857948"/>
                <a:gd name="connsiteY7" fmla="*/ 657892 h 859942"/>
                <a:gd name="connsiteX8" fmla="*/ 230250 w 857948"/>
                <a:gd name="connsiteY8" fmla="*/ 632143 h 859942"/>
                <a:gd name="connsiteX9" fmla="*/ 259461 w 857948"/>
                <a:gd name="connsiteY9" fmla="*/ 604177 h 859942"/>
                <a:gd name="connsiteX10" fmla="*/ 284987 w 857948"/>
                <a:gd name="connsiteY10" fmla="*/ 572516 h 859942"/>
                <a:gd name="connsiteX11" fmla="*/ 314325 w 857948"/>
                <a:gd name="connsiteY11" fmla="*/ 544792 h 859942"/>
                <a:gd name="connsiteX12" fmla="*/ 344614 w 857948"/>
                <a:gd name="connsiteY12" fmla="*/ 517811 h 859942"/>
                <a:gd name="connsiteX13" fmla="*/ 374078 w 857948"/>
                <a:gd name="connsiteY13" fmla="*/ 490093 h 859942"/>
                <a:gd name="connsiteX14" fmla="*/ 399669 w 857948"/>
                <a:gd name="connsiteY14" fmla="*/ 458553 h 859942"/>
                <a:gd name="connsiteX15" fmla="*/ 431482 w 857948"/>
                <a:gd name="connsiteY15" fmla="*/ 433172 h 859942"/>
                <a:gd name="connsiteX16" fmla="*/ 456946 w 857948"/>
                <a:gd name="connsiteY16" fmla="*/ 401390 h 859942"/>
                <a:gd name="connsiteX17" fmla="*/ 485076 w 857948"/>
                <a:gd name="connsiteY17" fmla="*/ 372313 h 859942"/>
                <a:gd name="connsiteX18" fmla="*/ 514731 w 857948"/>
                <a:gd name="connsiteY18" fmla="*/ 344716 h 859942"/>
                <a:gd name="connsiteX19" fmla="*/ 542353 w 857948"/>
                <a:gd name="connsiteY19" fmla="*/ 315151 h 859942"/>
                <a:gd name="connsiteX20" fmla="*/ 574484 w 857948"/>
                <a:gd name="connsiteY20" fmla="*/ 290017 h 859942"/>
                <a:gd name="connsiteX21" fmla="*/ 602805 w 857948"/>
                <a:gd name="connsiteY21" fmla="*/ 261061 h 859942"/>
                <a:gd name="connsiteX22" fmla="*/ 628205 w 857948"/>
                <a:gd name="connsiteY22" fmla="*/ 229152 h 859942"/>
                <a:gd name="connsiteX23" fmla="*/ 658622 w 857948"/>
                <a:gd name="connsiteY23" fmla="*/ 202298 h 859942"/>
                <a:gd name="connsiteX24" fmla="*/ 686879 w 857948"/>
                <a:gd name="connsiteY24" fmla="*/ 173222 h 859942"/>
                <a:gd name="connsiteX25" fmla="*/ 715454 w 857948"/>
                <a:gd name="connsiteY25" fmla="*/ 144513 h 859942"/>
                <a:gd name="connsiteX26" fmla="*/ 744538 w 857948"/>
                <a:gd name="connsiteY26" fmla="*/ 116180 h 859942"/>
                <a:gd name="connsiteX27" fmla="*/ 771715 w 857948"/>
                <a:gd name="connsiteY27" fmla="*/ 86119 h 859942"/>
                <a:gd name="connsiteX28" fmla="*/ 802512 w 857948"/>
                <a:gd name="connsiteY28" fmla="*/ 59506 h 859942"/>
                <a:gd name="connsiteX29" fmla="*/ 830643 w 857948"/>
                <a:gd name="connsiteY29" fmla="*/ 30061 h 859942"/>
                <a:gd name="connsiteX30" fmla="*/ 857948 w 857948"/>
                <a:gd name="connsiteY30" fmla="*/ 0 h 85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857948" h="859942">
                  <a:moveTo>
                    <a:pt x="0" y="859942"/>
                  </a:moveTo>
                  <a:cubicBezTo>
                    <a:pt x="14288" y="845649"/>
                    <a:pt x="14033" y="845401"/>
                    <a:pt x="28321" y="830986"/>
                  </a:cubicBezTo>
                  <a:cubicBezTo>
                    <a:pt x="42608" y="816572"/>
                    <a:pt x="42863" y="816940"/>
                    <a:pt x="57150" y="802526"/>
                  </a:cubicBezTo>
                  <a:cubicBezTo>
                    <a:pt x="71438" y="788111"/>
                    <a:pt x="73215" y="789838"/>
                    <a:pt x="87502" y="775545"/>
                  </a:cubicBezTo>
                  <a:cubicBezTo>
                    <a:pt x="101790" y="761257"/>
                    <a:pt x="100266" y="759778"/>
                    <a:pt x="114617" y="745484"/>
                  </a:cubicBezTo>
                  <a:cubicBezTo>
                    <a:pt x="128905" y="731196"/>
                    <a:pt x="128524" y="730828"/>
                    <a:pt x="142938" y="716534"/>
                  </a:cubicBezTo>
                  <a:cubicBezTo>
                    <a:pt x="157352" y="702240"/>
                    <a:pt x="157099" y="702120"/>
                    <a:pt x="171386" y="687826"/>
                  </a:cubicBezTo>
                  <a:cubicBezTo>
                    <a:pt x="185674" y="673538"/>
                    <a:pt x="184467" y="672306"/>
                    <a:pt x="198755" y="657892"/>
                  </a:cubicBezTo>
                  <a:cubicBezTo>
                    <a:pt x="213042" y="643477"/>
                    <a:pt x="215963" y="646557"/>
                    <a:pt x="230250" y="632143"/>
                  </a:cubicBezTo>
                  <a:cubicBezTo>
                    <a:pt x="244538" y="617728"/>
                    <a:pt x="245173" y="618465"/>
                    <a:pt x="259461" y="604177"/>
                  </a:cubicBezTo>
                  <a:cubicBezTo>
                    <a:pt x="273748" y="589883"/>
                    <a:pt x="270700" y="586804"/>
                    <a:pt x="284987" y="572516"/>
                  </a:cubicBezTo>
                  <a:cubicBezTo>
                    <a:pt x="299275" y="558222"/>
                    <a:pt x="299974" y="559086"/>
                    <a:pt x="314325" y="544792"/>
                  </a:cubicBezTo>
                  <a:cubicBezTo>
                    <a:pt x="328613" y="530504"/>
                    <a:pt x="330326" y="532225"/>
                    <a:pt x="344614" y="517811"/>
                  </a:cubicBezTo>
                  <a:cubicBezTo>
                    <a:pt x="358901" y="503396"/>
                    <a:pt x="359727" y="504381"/>
                    <a:pt x="374078" y="490093"/>
                  </a:cubicBezTo>
                  <a:cubicBezTo>
                    <a:pt x="388365" y="475799"/>
                    <a:pt x="385381" y="472846"/>
                    <a:pt x="399669" y="458553"/>
                  </a:cubicBezTo>
                  <a:cubicBezTo>
                    <a:pt x="413956" y="444259"/>
                    <a:pt x="417195" y="447466"/>
                    <a:pt x="431482" y="433172"/>
                  </a:cubicBezTo>
                  <a:cubicBezTo>
                    <a:pt x="445770" y="418884"/>
                    <a:pt x="442658" y="415677"/>
                    <a:pt x="456946" y="401390"/>
                  </a:cubicBezTo>
                  <a:cubicBezTo>
                    <a:pt x="471233" y="387096"/>
                    <a:pt x="470788" y="386601"/>
                    <a:pt x="485076" y="372313"/>
                  </a:cubicBezTo>
                  <a:cubicBezTo>
                    <a:pt x="499363" y="358019"/>
                    <a:pt x="500316" y="359010"/>
                    <a:pt x="514731" y="344716"/>
                  </a:cubicBezTo>
                  <a:cubicBezTo>
                    <a:pt x="529145" y="330422"/>
                    <a:pt x="528065" y="329438"/>
                    <a:pt x="542353" y="315151"/>
                  </a:cubicBezTo>
                  <a:cubicBezTo>
                    <a:pt x="556640" y="300857"/>
                    <a:pt x="560197" y="304305"/>
                    <a:pt x="574484" y="290017"/>
                  </a:cubicBezTo>
                  <a:cubicBezTo>
                    <a:pt x="588772" y="275723"/>
                    <a:pt x="588518" y="275355"/>
                    <a:pt x="602805" y="261061"/>
                  </a:cubicBezTo>
                  <a:cubicBezTo>
                    <a:pt x="617093" y="246774"/>
                    <a:pt x="613790" y="243446"/>
                    <a:pt x="628205" y="229152"/>
                  </a:cubicBezTo>
                  <a:cubicBezTo>
                    <a:pt x="642620" y="214865"/>
                    <a:pt x="644334" y="216586"/>
                    <a:pt x="658622" y="202298"/>
                  </a:cubicBezTo>
                  <a:cubicBezTo>
                    <a:pt x="672909" y="188005"/>
                    <a:pt x="672592" y="187636"/>
                    <a:pt x="686879" y="173222"/>
                  </a:cubicBezTo>
                  <a:cubicBezTo>
                    <a:pt x="701167" y="158807"/>
                    <a:pt x="701039" y="158807"/>
                    <a:pt x="715454" y="144513"/>
                  </a:cubicBezTo>
                  <a:cubicBezTo>
                    <a:pt x="729869" y="130226"/>
                    <a:pt x="730123" y="130594"/>
                    <a:pt x="744538" y="116180"/>
                  </a:cubicBezTo>
                  <a:cubicBezTo>
                    <a:pt x="758951" y="101765"/>
                    <a:pt x="757427" y="100413"/>
                    <a:pt x="771715" y="86119"/>
                  </a:cubicBezTo>
                  <a:cubicBezTo>
                    <a:pt x="786002" y="71825"/>
                    <a:pt x="788098" y="73800"/>
                    <a:pt x="802512" y="59506"/>
                  </a:cubicBezTo>
                  <a:cubicBezTo>
                    <a:pt x="816927" y="45218"/>
                    <a:pt x="816229" y="44475"/>
                    <a:pt x="830643" y="30061"/>
                  </a:cubicBezTo>
                  <a:cubicBezTo>
                    <a:pt x="845058" y="15646"/>
                    <a:pt x="843534" y="14294"/>
                    <a:pt x="857948" y="0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24000674-6D60-8104-B3FB-C33B33D778C0}"/>
                </a:ext>
              </a:extLst>
            </p:cNvPr>
            <p:cNvSpPr/>
            <p:nvPr/>
          </p:nvSpPr>
          <p:spPr>
            <a:xfrm>
              <a:off x="8354694" y="762196"/>
              <a:ext cx="855536" cy="855129"/>
            </a:xfrm>
            <a:custGeom>
              <a:avLst/>
              <a:gdLst>
                <a:gd name="connsiteX0" fmla="*/ 0 w 855536"/>
                <a:gd name="connsiteY0" fmla="*/ 855129 h 855129"/>
                <a:gd name="connsiteX1" fmla="*/ 28004 w 855536"/>
                <a:gd name="connsiteY1" fmla="*/ 826179 h 855129"/>
                <a:gd name="connsiteX2" fmla="*/ 58548 w 855536"/>
                <a:gd name="connsiteY2" fmla="*/ 799814 h 855129"/>
                <a:gd name="connsiteX3" fmla="*/ 85661 w 855536"/>
                <a:gd name="connsiteY3" fmla="*/ 769880 h 855129"/>
                <a:gd name="connsiteX4" fmla="*/ 114110 w 855536"/>
                <a:gd name="connsiteY4" fmla="*/ 741420 h 855129"/>
                <a:gd name="connsiteX5" fmla="*/ 140462 w 855536"/>
                <a:gd name="connsiteY5" fmla="*/ 710863 h 855129"/>
                <a:gd name="connsiteX6" fmla="*/ 169291 w 855536"/>
                <a:gd name="connsiteY6" fmla="*/ 682777 h 855129"/>
                <a:gd name="connsiteX7" fmla="*/ 200216 w 855536"/>
                <a:gd name="connsiteY7" fmla="*/ 656654 h 855129"/>
                <a:gd name="connsiteX8" fmla="*/ 226695 w 855536"/>
                <a:gd name="connsiteY8" fmla="*/ 626104 h 855129"/>
                <a:gd name="connsiteX9" fmla="*/ 257747 w 855536"/>
                <a:gd name="connsiteY9" fmla="*/ 600234 h 855129"/>
                <a:gd name="connsiteX10" fmla="*/ 284353 w 855536"/>
                <a:gd name="connsiteY10" fmla="*/ 569925 h 855129"/>
                <a:gd name="connsiteX11" fmla="*/ 313817 w 855536"/>
                <a:gd name="connsiteY11" fmla="*/ 542449 h 855129"/>
                <a:gd name="connsiteX12" fmla="*/ 339344 w 855536"/>
                <a:gd name="connsiteY12" fmla="*/ 510908 h 855129"/>
                <a:gd name="connsiteX13" fmla="*/ 370269 w 855536"/>
                <a:gd name="connsiteY13" fmla="*/ 484791 h 855129"/>
                <a:gd name="connsiteX14" fmla="*/ 399162 w 855536"/>
                <a:gd name="connsiteY14" fmla="*/ 456825 h 855129"/>
                <a:gd name="connsiteX15" fmla="*/ 427990 w 855536"/>
                <a:gd name="connsiteY15" fmla="*/ 428733 h 855129"/>
                <a:gd name="connsiteX16" fmla="*/ 453390 w 855536"/>
                <a:gd name="connsiteY16" fmla="*/ 397072 h 855129"/>
                <a:gd name="connsiteX17" fmla="*/ 483362 w 855536"/>
                <a:gd name="connsiteY17" fmla="*/ 369970 h 855129"/>
                <a:gd name="connsiteX18" fmla="*/ 513398 w 855536"/>
                <a:gd name="connsiteY18" fmla="*/ 342989 h 855129"/>
                <a:gd name="connsiteX19" fmla="*/ 542227 w 855536"/>
                <a:gd name="connsiteY19" fmla="*/ 314776 h 855129"/>
                <a:gd name="connsiteX20" fmla="*/ 570421 w 855536"/>
                <a:gd name="connsiteY20" fmla="*/ 285947 h 855129"/>
                <a:gd name="connsiteX21" fmla="*/ 599631 w 855536"/>
                <a:gd name="connsiteY21" fmla="*/ 258229 h 855129"/>
                <a:gd name="connsiteX22" fmla="*/ 626237 w 855536"/>
                <a:gd name="connsiteY22" fmla="*/ 227794 h 855129"/>
                <a:gd name="connsiteX23" fmla="*/ 656527 w 855536"/>
                <a:gd name="connsiteY23" fmla="*/ 201060 h 855129"/>
                <a:gd name="connsiteX24" fmla="*/ 684023 w 855536"/>
                <a:gd name="connsiteY24" fmla="*/ 171615 h 855129"/>
                <a:gd name="connsiteX25" fmla="*/ 711899 w 855536"/>
                <a:gd name="connsiteY25" fmla="*/ 142418 h 855129"/>
                <a:gd name="connsiteX26" fmla="*/ 739839 w 855536"/>
                <a:gd name="connsiteY26" fmla="*/ 113220 h 855129"/>
                <a:gd name="connsiteX27" fmla="*/ 769176 w 855536"/>
                <a:gd name="connsiteY27" fmla="*/ 85376 h 855129"/>
                <a:gd name="connsiteX28" fmla="*/ 797116 w 855536"/>
                <a:gd name="connsiteY28" fmla="*/ 56179 h 855129"/>
                <a:gd name="connsiteX29" fmla="*/ 825564 w 855536"/>
                <a:gd name="connsiteY29" fmla="*/ 27349 h 855129"/>
                <a:gd name="connsiteX30" fmla="*/ 855536 w 855536"/>
                <a:gd name="connsiteY30" fmla="*/ 0 h 8551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855536" h="855129">
                  <a:moveTo>
                    <a:pt x="0" y="855129"/>
                  </a:moveTo>
                  <a:cubicBezTo>
                    <a:pt x="14288" y="840842"/>
                    <a:pt x="13843" y="840346"/>
                    <a:pt x="28004" y="826179"/>
                  </a:cubicBezTo>
                  <a:cubicBezTo>
                    <a:pt x="42164" y="812013"/>
                    <a:pt x="44386" y="813981"/>
                    <a:pt x="58548" y="799814"/>
                  </a:cubicBezTo>
                  <a:cubicBezTo>
                    <a:pt x="72708" y="785647"/>
                    <a:pt x="71374" y="784168"/>
                    <a:pt x="85661" y="769880"/>
                  </a:cubicBezTo>
                  <a:cubicBezTo>
                    <a:pt x="99949" y="755587"/>
                    <a:pt x="99949" y="755587"/>
                    <a:pt x="114110" y="741420"/>
                  </a:cubicBezTo>
                  <a:cubicBezTo>
                    <a:pt x="128270" y="727253"/>
                    <a:pt x="126302" y="725030"/>
                    <a:pt x="140462" y="710863"/>
                  </a:cubicBezTo>
                  <a:cubicBezTo>
                    <a:pt x="154623" y="696697"/>
                    <a:pt x="155131" y="697065"/>
                    <a:pt x="169291" y="682777"/>
                  </a:cubicBezTo>
                  <a:cubicBezTo>
                    <a:pt x="183452" y="668484"/>
                    <a:pt x="185928" y="670947"/>
                    <a:pt x="200216" y="656654"/>
                  </a:cubicBezTo>
                  <a:cubicBezTo>
                    <a:pt x="214503" y="642366"/>
                    <a:pt x="212408" y="640391"/>
                    <a:pt x="226695" y="626104"/>
                  </a:cubicBezTo>
                  <a:cubicBezTo>
                    <a:pt x="240983" y="611810"/>
                    <a:pt x="243587" y="614521"/>
                    <a:pt x="257747" y="600234"/>
                  </a:cubicBezTo>
                  <a:cubicBezTo>
                    <a:pt x="271907" y="585940"/>
                    <a:pt x="270066" y="584213"/>
                    <a:pt x="284353" y="569925"/>
                  </a:cubicBezTo>
                  <a:cubicBezTo>
                    <a:pt x="298641" y="555631"/>
                    <a:pt x="299530" y="556616"/>
                    <a:pt x="313817" y="542449"/>
                  </a:cubicBezTo>
                  <a:cubicBezTo>
                    <a:pt x="328105" y="528282"/>
                    <a:pt x="325057" y="525202"/>
                    <a:pt x="339344" y="510908"/>
                  </a:cubicBezTo>
                  <a:cubicBezTo>
                    <a:pt x="353632" y="496621"/>
                    <a:pt x="355918" y="499085"/>
                    <a:pt x="370269" y="484791"/>
                  </a:cubicBezTo>
                  <a:cubicBezTo>
                    <a:pt x="384556" y="470503"/>
                    <a:pt x="385001" y="471119"/>
                    <a:pt x="399162" y="456825"/>
                  </a:cubicBezTo>
                  <a:cubicBezTo>
                    <a:pt x="413386" y="442531"/>
                    <a:pt x="413703" y="442906"/>
                    <a:pt x="427990" y="428733"/>
                  </a:cubicBezTo>
                  <a:cubicBezTo>
                    <a:pt x="442341" y="414566"/>
                    <a:pt x="439103" y="411239"/>
                    <a:pt x="453390" y="397072"/>
                  </a:cubicBezTo>
                  <a:cubicBezTo>
                    <a:pt x="467678" y="382905"/>
                    <a:pt x="469074" y="384258"/>
                    <a:pt x="483362" y="369970"/>
                  </a:cubicBezTo>
                  <a:cubicBezTo>
                    <a:pt x="497649" y="355676"/>
                    <a:pt x="499111" y="357276"/>
                    <a:pt x="513398" y="342989"/>
                  </a:cubicBezTo>
                  <a:cubicBezTo>
                    <a:pt x="527686" y="328695"/>
                    <a:pt x="527939" y="329070"/>
                    <a:pt x="542227" y="314776"/>
                  </a:cubicBezTo>
                  <a:cubicBezTo>
                    <a:pt x="556514" y="300482"/>
                    <a:pt x="556134" y="300241"/>
                    <a:pt x="570421" y="285947"/>
                  </a:cubicBezTo>
                  <a:cubicBezTo>
                    <a:pt x="584709" y="271653"/>
                    <a:pt x="585470" y="272396"/>
                    <a:pt x="599631" y="258229"/>
                  </a:cubicBezTo>
                  <a:cubicBezTo>
                    <a:pt x="613791" y="244056"/>
                    <a:pt x="611950" y="242087"/>
                    <a:pt x="626237" y="227794"/>
                  </a:cubicBezTo>
                  <a:cubicBezTo>
                    <a:pt x="640525" y="213506"/>
                    <a:pt x="642239" y="215227"/>
                    <a:pt x="656527" y="201060"/>
                  </a:cubicBezTo>
                  <a:cubicBezTo>
                    <a:pt x="670878" y="186893"/>
                    <a:pt x="669735" y="185782"/>
                    <a:pt x="684023" y="171615"/>
                  </a:cubicBezTo>
                  <a:cubicBezTo>
                    <a:pt x="698310" y="157448"/>
                    <a:pt x="697612" y="156712"/>
                    <a:pt x="711899" y="142418"/>
                  </a:cubicBezTo>
                  <a:cubicBezTo>
                    <a:pt x="726187" y="128124"/>
                    <a:pt x="725551" y="127508"/>
                    <a:pt x="739839" y="113220"/>
                  </a:cubicBezTo>
                  <a:cubicBezTo>
                    <a:pt x="754126" y="98927"/>
                    <a:pt x="754888" y="99670"/>
                    <a:pt x="769176" y="85376"/>
                  </a:cubicBezTo>
                  <a:cubicBezTo>
                    <a:pt x="783463" y="71088"/>
                    <a:pt x="782828" y="70466"/>
                    <a:pt x="797116" y="56179"/>
                  </a:cubicBezTo>
                  <a:cubicBezTo>
                    <a:pt x="811403" y="41885"/>
                    <a:pt x="811276" y="41643"/>
                    <a:pt x="825564" y="27349"/>
                  </a:cubicBezTo>
                  <a:cubicBezTo>
                    <a:pt x="839851" y="13056"/>
                    <a:pt x="841249" y="14288"/>
                    <a:pt x="855536" y="0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88D37C6B-AB6C-FE80-FD60-433283FC7485}"/>
                </a:ext>
              </a:extLst>
            </p:cNvPr>
            <p:cNvSpPr/>
            <p:nvPr/>
          </p:nvSpPr>
          <p:spPr>
            <a:xfrm>
              <a:off x="9271317" y="1088618"/>
              <a:ext cx="1151220" cy="533109"/>
            </a:xfrm>
            <a:custGeom>
              <a:avLst/>
              <a:gdLst>
                <a:gd name="connsiteX0" fmla="*/ 0 w 1151220"/>
                <a:gd name="connsiteY0" fmla="*/ 510356 h 533109"/>
                <a:gd name="connsiteX1" fmla="*/ 29463 w 1151220"/>
                <a:gd name="connsiteY1" fmla="*/ 483871 h 533109"/>
                <a:gd name="connsiteX2" fmla="*/ 55308 w 1151220"/>
                <a:gd name="connsiteY2" fmla="*/ 453810 h 533109"/>
                <a:gd name="connsiteX3" fmla="*/ 85280 w 1151220"/>
                <a:gd name="connsiteY3" fmla="*/ 427813 h 533109"/>
                <a:gd name="connsiteX4" fmla="*/ 114364 w 1151220"/>
                <a:gd name="connsiteY4" fmla="*/ 400832 h 533109"/>
                <a:gd name="connsiteX5" fmla="*/ 138874 w 1151220"/>
                <a:gd name="connsiteY5" fmla="*/ 369418 h 533109"/>
                <a:gd name="connsiteX6" fmla="*/ 170624 w 1151220"/>
                <a:gd name="connsiteY6" fmla="*/ 345142 h 533109"/>
                <a:gd name="connsiteX7" fmla="*/ 197231 w 1151220"/>
                <a:gd name="connsiteY7" fmla="*/ 315824 h 533109"/>
                <a:gd name="connsiteX8" fmla="*/ 223265 w 1151220"/>
                <a:gd name="connsiteY8" fmla="*/ 285763 h 533109"/>
                <a:gd name="connsiteX9" fmla="*/ 252476 w 1151220"/>
                <a:gd name="connsiteY9" fmla="*/ 259030 h 533109"/>
                <a:gd name="connsiteX10" fmla="*/ 282765 w 1151220"/>
                <a:gd name="connsiteY10" fmla="*/ 233280 h 533109"/>
                <a:gd name="connsiteX11" fmla="*/ 310959 w 1151220"/>
                <a:gd name="connsiteY11" fmla="*/ 205436 h 533109"/>
                <a:gd name="connsiteX12" fmla="*/ 337565 w 1151220"/>
                <a:gd name="connsiteY12" fmla="*/ 176111 h 533109"/>
                <a:gd name="connsiteX13" fmla="*/ 366140 w 1151220"/>
                <a:gd name="connsiteY13" fmla="*/ 148641 h 533109"/>
                <a:gd name="connsiteX14" fmla="*/ 393382 w 1151220"/>
                <a:gd name="connsiteY14" fmla="*/ 119812 h 533109"/>
                <a:gd name="connsiteX15" fmla="*/ 422211 w 1151220"/>
                <a:gd name="connsiteY15" fmla="*/ 92584 h 533109"/>
                <a:gd name="connsiteX16" fmla="*/ 449961 w 1151220"/>
                <a:gd name="connsiteY16" fmla="*/ 64123 h 533109"/>
                <a:gd name="connsiteX17" fmla="*/ 479298 w 1151220"/>
                <a:gd name="connsiteY17" fmla="*/ 37269 h 533109"/>
                <a:gd name="connsiteX18" fmla="*/ 504380 w 1151220"/>
                <a:gd name="connsiteY18" fmla="*/ 4744 h 533109"/>
                <a:gd name="connsiteX19" fmla="*/ 545782 w 1151220"/>
                <a:gd name="connsiteY19" fmla="*/ 7208 h 533109"/>
                <a:gd name="connsiteX20" fmla="*/ 586232 w 1151220"/>
                <a:gd name="connsiteY20" fmla="*/ 6096 h 533109"/>
                <a:gd name="connsiteX21" fmla="*/ 626490 w 1151220"/>
                <a:gd name="connsiteY21" fmla="*/ 4992 h 533109"/>
                <a:gd name="connsiteX22" fmla="*/ 666876 w 1151220"/>
                <a:gd name="connsiteY22" fmla="*/ 6839 h 533109"/>
                <a:gd name="connsiteX23" fmla="*/ 707326 w 1151220"/>
                <a:gd name="connsiteY23" fmla="*/ 5976 h 533109"/>
                <a:gd name="connsiteX24" fmla="*/ 747713 w 1151220"/>
                <a:gd name="connsiteY24" fmla="*/ 5728 h 533109"/>
                <a:gd name="connsiteX25" fmla="*/ 788098 w 1151220"/>
                <a:gd name="connsiteY25" fmla="*/ 8687 h 533109"/>
                <a:gd name="connsiteX26" fmla="*/ 828548 w 1151220"/>
                <a:gd name="connsiteY26" fmla="*/ 8192 h 533109"/>
                <a:gd name="connsiteX27" fmla="*/ 868934 w 1151220"/>
                <a:gd name="connsiteY27" fmla="*/ 8440 h 533109"/>
                <a:gd name="connsiteX28" fmla="*/ 909383 w 1151220"/>
                <a:gd name="connsiteY28" fmla="*/ 5728 h 533109"/>
                <a:gd name="connsiteX29" fmla="*/ 949769 w 1151220"/>
                <a:gd name="connsiteY29" fmla="*/ 8192 h 533109"/>
                <a:gd name="connsiteX30" fmla="*/ 990155 w 1151220"/>
                <a:gd name="connsiteY30" fmla="*/ 9792 h 533109"/>
                <a:gd name="connsiteX31" fmla="*/ 1030605 w 1151220"/>
                <a:gd name="connsiteY31" fmla="*/ 5728 h 533109"/>
                <a:gd name="connsiteX32" fmla="*/ 1070991 w 1151220"/>
                <a:gd name="connsiteY32" fmla="*/ 6096 h 533109"/>
                <a:gd name="connsiteX33" fmla="*/ 1111504 w 1151220"/>
                <a:gd name="connsiteY33" fmla="*/ 8560 h 533109"/>
                <a:gd name="connsiteX34" fmla="*/ 1149476 w 1151220"/>
                <a:gd name="connsiteY34" fmla="*/ 8313 h 533109"/>
                <a:gd name="connsiteX35" fmla="*/ 1124966 w 1151220"/>
                <a:gd name="connsiteY35" fmla="*/ 38132 h 533109"/>
                <a:gd name="connsiteX36" fmla="*/ 1095248 w 1151220"/>
                <a:gd name="connsiteY36" fmla="*/ 66218 h 533109"/>
                <a:gd name="connsiteX37" fmla="*/ 1064323 w 1151220"/>
                <a:gd name="connsiteY37" fmla="*/ 93079 h 533109"/>
                <a:gd name="connsiteX38" fmla="*/ 1037717 w 1151220"/>
                <a:gd name="connsiteY38" fmla="*/ 124492 h 533109"/>
                <a:gd name="connsiteX39" fmla="*/ 1005586 w 1151220"/>
                <a:gd name="connsiteY39" fmla="*/ 150121 h 533109"/>
                <a:gd name="connsiteX40" fmla="*/ 979805 w 1151220"/>
                <a:gd name="connsiteY40" fmla="*/ 182271 h 533109"/>
                <a:gd name="connsiteX41" fmla="*/ 947547 w 1151220"/>
                <a:gd name="connsiteY41" fmla="*/ 207899 h 533109"/>
                <a:gd name="connsiteX42" fmla="*/ 921194 w 1151220"/>
                <a:gd name="connsiteY42" fmla="*/ 239440 h 533109"/>
                <a:gd name="connsiteX43" fmla="*/ 893318 w 1151220"/>
                <a:gd name="connsiteY43" fmla="*/ 269622 h 533109"/>
                <a:gd name="connsiteX44" fmla="*/ 863917 w 1151220"/>
                <a:gd name="connsiteY44" fmla="*/ 298203 h 533109"/>
                <a:gd name="connsiteX45" fmla="*/ 834200 w 1151220"/>
                <a:gd name="connsiteY45" fmla="*/ 326416 h 533109"/>
                <a:gd name="connsiteX46" fmla="*/ 805243 w 1151220"/>
                <a:gd name="connsiteY46" fmla="*/ 355372 h 533109"/>
                <a:gd name="connsiteX47" fmla="*/ 776668 w 1151220"/>
                <a:gd name="connsiteY47" fmla="*/ 384690 h 533109"/>
                <a:gd name="connsiteX48" fmla="*/ 745744 w 1151220"/>
                <a:gd name="connsiteY48" fmla="*/ 411671 h 533109"/>
                <a:gd name="connsiteX49" fmla="*/ 717931 w 1151220"/>
                <a:gd name="connsiteY49" fmla="*/ 441859 h 533109"/>
                <a:gd name="connsiteX50" fmla="*/ 690689 w 1151220"/>
                <a:gd name="connsiteY50" fmla="*/ 472656 h 533109"/>
                <a:gd name="connsiteX51" fmla="*/ 661098 w 1151220"/>
                <a:gd name="connsiteY51" fmla="*/ 501238 h 533109"/>
                <a:gd name="connsiteX52" fmla="*/ 630555 w 1151220"/>
                <a:gd name="connsiteY52" fmla="*/ 529083 h 533109"/>
                <a:gd name="connsiteX53" fmla="*/ 591121 w 1151220"/>
                <a:gd name="connsiteY53" fmla="*/ 530683 h 533109"/>
                <a:gd name="connsiteX54" fmla="*/ 551814 w 1151220"/>
                <a:gd name="connsiteY54" fmla="*/ 528098 h 533109"/>
                <a:gd name="connsiteX55" fmla="*/ 512508 w 1151220"/>
                <a:gd name="connsiteY55" fmla="*/ 527971 h 533109"/>
                <a:gd name="connsiteX56" fmla="*/ 473201 w 1151220"/>
                <a:gd name="connsiteY56" fmla="*/ 528219 h 533109"/>
                <a:gd name="connsiteX57" fmla="*/ 433959 w 1151220"/>
                <a:gd name="connsiteY57" fmla="*/ 528714 h 533109"/>
                <a:gd name="connsiteX58" fmla="*/ 394652 w 1151220"/>
                <a:gd name="connsiteY58" fmla="*/ 528714 h 533109"/>
                <a:gd name="connsiteX59" fmla="*/ 355346 w 1151220"/>
                <a:gd name="connsiteY59" fmla="*/ 530194 h 533109"/>
                <a:gd name="connsiteX60" fmla="*/ 316039 w 1151220"/>
                <a:gd name="connsiteY60" fmla="*/ 528835 h 533109"/>
                <a:gd name="connsiteX61" fmla="*/ 276733 w 1151220"/>
                <a:gd name="connsiteY61" fmla="*/ 531051 h 533109"/>
                <a:gd name="connsiteX62" fmla="*/ 237426 w 1151220"/>
                <a:gd name="connsiteY62" fmla="*/ 530810 h 533109"/>
                <a:gd name="connsiteX63" fmla="*/ 198120 w 1151220"/>
                <a:gd name="connsiteY63" fmla="*/ 531299 h 533109"/>
                <a:gd name="connsiteX64" fmla="*/ 158814 w 1151220"/>
                <a:gd name="connsiteY64" fmla="*/ 527235 h 533109"/>
                <a:gd name="connsiteX65" fmla="*/ 119507 w 1151220"/>
                <a:gd name="connsiteY65" fmla="*/ 530194 h 533109"/>
                <a:gd name="connsiteX66" fmla="*/ 80201 w 1151220"/>
                <a:gd name="connsiteY66" fmla="*/ 526250 h 533109"/>
                <a:gd name="connsiteX67" fmla="*/ 40767 w 1151220"/>
                <a:gd name="connsiteY67" fmla="*/ 527851 h 533109"/>
                <a:gd name="connsiteX68" fmla="*/ 1397 w 1151220"/>
                <a:gd name="connsiteY68" fmla="*/ 526987 h 533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1151220" h="533109">
                  <a:moveTo>
                    <a:pt x="0" y="510356"/>
                  </a:moveTo>
                  <a:cubicBezTo>
                    <a:pt x="14033" y="496310"/>
                    <a:pt x="15557" y="497790"/>
                    <a:pt x="29463" y="483871"/>
                  </a:cubicBezTo>
                  <a:cubicBezTo>
                    <a:pt x="43370" y="469945"/>
                    <a:pt x="41401" y="467850"/>
                    <a:pt x="55308" y="453810"/>
                  </a:cubicBezTo>
                  <a:cubicBezTo>
                    <a:pt x="69278" y="439763"/>
                    <a:pt x="71374" y="441859"/>
                    <a:pt x="85280" y="427813"/>
                  </a:cubicBezTo>
                  <a:cubicBezTo>
                    <a:pt x="99187" y="413766"/>
                    <a:pt x="100330" y="414878"/>
                    <a:pt x="114364" y="400832"/>
                  </a:cubicBezTo>
                  <a:cubicBezTo>
                    <a:pt x="128397" y="386785"/>
                    <a:pt x="124968" y="383458"/>
                    <a:pt x="138874" y="369418"/>
                  </a:cubicBezTo>
                  <a:cubicBezTo>
                    <a:pt x="152781" y="355372"/>
                    <a:pt x="156590" y="359188"/>
                    <a:pt x="170624" y="345142"/>
                  </a:cubicBezTo>
                  <a:cubicBezTo>
                    <a:pt x="184721" y="331102"/>
                    <a:pt x="183324" y="329743"/>
                    <a:pt x="197231" y="315824"/>
                  </a:cubicBezTo>
                  <a:cubicBezTo>
                    <a:pt x="211201" y="301899"/>
                    <a:pt x="209232" y="299682"/>
                    <a:pt x="223265" y="285763"/>
                  </a:cubicBezTo>
                  <a:cubicBezTo>
                    <a:pt x="237299" y="271838"/>
                    <a:pt x="238506" y="272949"/>
                    <a:pt x="252476" y="259030"/>
                  </a:cubicBezTo>
                  <a:cubicBezTo>
                    <a:pt x="266382" y="245104"/>
                    <a:pt x="268732" y="247200"/>
                    <a:pt x="282765" y="233280"/>
                  </a:cubicBezTo>
                  <a:cubicBezTo>
                    <a:pt x="296799" y="219355"/>
                    <a:pt x="296926" y="219482"/>
                    <a:pt x="310959" y="205436"/>
                  </a:cubicBezTo>
                  <a:cubicBezTo>
                    <a:pt x="324993" y="191390"/>
                    <a:pt x="323659" y="190158"/>
                    <a:pt x="337565" y="176111"/>
                  </a:cubicBezTo>
                  <a:cubicBezTo>
                    <a:pt x="351536" y="162072"/>
                    <a:pt x="352234" y="162688"/>
                    <a:pt x="366140" y="148641"/>
                  </a:cubicBezTo>
                  <a:cubicBezTo>
                    <a:pt x="380111" y="134595"/>
                    <a:pt x="379349" y="133859"/>
                    <a:pt x="393382" y="119812"/>
                  </a:cubicBezTo>
                  <a:cubicBezTo>
                    <a:pt x="407415" y="105766"/>
                    <a:pt x="408177" y="106503"/>
                    <a:pt x="422211" y="92584"/>
                  </a:cubicBezTo>
                  <a:cubicBezTo>
                    <a:pt x="436245" y="78664"/>
                    <a:pt x="435927" y="78169"/>
                    <a:pt x="449961" y="64123"/>
                  </a:cubicBezTo>
                  <a:cubicBezTo>
                    <a:pt x="463994" y="50083"/>
                    <a:pt x="465201" y="51315"/>
                    <a:pt x="479298" y="37269"/>
                  </a:cubicBezTo>
                  <a:cubicBezTo>
                    <a:pt x="493331" y="23222"/>
                    <a:pt x="486028" y="12256"/>
                    <a:pt x="504380" y="4744"/>
                  </a:cubicBezTo>
                  <a:cubicBezTo>
                    <a:pt x="522732" y="-2774"/>
                    <a:pt x="525589" y="7208"/>
                    <a:pt x="545782" y="7208"/>
                  </a:cubicBezTo>
                  <a:cubicBezTo>
                    <a:pt x="565976" y="7208"/>
                    <a:pt x="565976" y="6096"/>
                    <a:pt x="586232" y="6096"/>
                  </a:cubicBezTo>
                  <a:cubicBezTo>
                    <a:pt x="606425" y="6096"/>
                    <a:pt x="606425" y="4992"/>
                    <a:pt x="626490" y="4992"/>
                  </a:cubicBezTo>
                  <a:cubicBezTo>
                    <a:pt x="646557" y="4992"/>
                    <a:pt x="646684" y="6839"/>
                    <a:pt x="666876" y="6839"/>
                  </a:cubicBezTo>
                  <a:cubicBezTo>
                    <a:pt x="687133" y="6839"/>
                    <a:pt x="687133" y="5976"/>
                    <a:pt x="707326" y="5976"/>
                  </a:cubicBezTo>
                  <a:cubicBezTo>
                    <a:pt x="727519" y="5976"/>
                    <a:pt x="727519" y="5728"/>
                    <a:pt x="747713" y="5728"/>
                  </a:cubicBezTo>
                  <a:cubicBezTo>
                    <a:pt x="767905" y="5728"/>
                    <a:pt x="767905" y="8687"/>
                    <a:pt x="788098" y="8687"/>
                  </a:cubicBezTo>
                  <a:cubicBezTo>
                    <a:pt x="808355" y="8687"/>
                    <a:pt x="808355" y="8192"/>
                    <a:pt x="828548" y="8192"/>
                  </a:cubicBezTo>
                  <a:cubicBezTo>
                    <a:pt x="848740" y="8192"/>
                    <a:pt x="848740" y="8440"/>
                    <a:pt x="868934" y="8440"/>
                  </a:cubicBezTo>
                  <a:cubicBezTo>
                    <a:pt x="889126" y="8440"/>
                    <a:pt x="889126" y="5728"/>
                    <a:pt x="909383" y="5728"/>
                  </a:cubicBezTo>
                  <a:cubicBezTo>
                    <a:pt x="929576" y="5728"/>
                    <a:pt x="929576" y="8192"/>
                    <a:pt x="949769" y="8192"/>
                  </a:cubicBezTo>
                  <a:cubicBezTo>
                    <a:pt x="969963" y="8192"/>
                    <a:pt x="969963" y="9792"/>
                    <a:pt x="990155" y="9792"/>
                  </a:cubicBezTo>
                  <a:cubicBezTo>
                    <a:pt x="1010412" y="9792"/>
                    <a:pt x="1010412" y="5728"/>
                    <a:pt x="1030605" y="5728"/>
                  </a:cubicBezTo>
                  <a:cubicBezTo>
                    <a:pt x="1050798" y="5728"/>
                    <a:pt x="1050798" y="6096"/>
                    <a:pt x="1070991" y="6096"/>
                  </a:cubicBezTo>
                  <a:cubicBezTo>
                    <a:pt x="1091184" y="6096"/>
                    <a:pt x="1091184" y="8560"/>
                    <a:pt x="1111504" y="8560"/>
                  </a:cubicBezTo>
                  <a:cubicBezTo>
                    <a:pt x="1131888" y="8560"/>
                    <a:pt x="1142111" y="-10534"/>
                    <a:pt x="1149476" y="8313"/>
                  </a:cubicBezTo>
                  <a:cubicBezTo>
                    <a:pt x="1156843" y="27166"/>
                    <a:pt x="1139380" y="23718"/>
                    <a:pt x="1124966" y="38132"/>
                  </a:cubicBezTo>
                  <a:cubicBezTo>
                    <a:pt x="1110551" y="52547"/>
                    <a:pt x="1109663" y="51804"/>
                    <a:pt x="1095248" y="66218"/>
                  </a:cubicBezTo>
                  <a:cubicBezTo>
                    <a:pt x="1080833" y="80633"/>
                    <a:pt x="1078738" y="78664"/>
                    <a:pt x="1064323" y="93079"/>
                  </a:cubicBezTo>
                  <a:cubicBezTo>
                    <a:pt x="1049909" y="107493"/>
                    <a:pt x="1052258" y="109957"/>
                    <a:pt x="1037717" y="124492"/>
                  </a:cubicBezTo>
                  <a:cubicBezTo>
                    <a:pt x="1023176" y="139027"/>
                    <a:pt x="1020001" y="135706"/>
                    <a:pt x="1005586" y="150121"/>
                  </a:cubicBezTo>
                  <a:cubicBezTo>
                    <a:pt x="991171" y="164535"/>
                    <a:pt x="994346" y="167856"/>
                    <a:pt x="979805" y="182271"/>
                  </a:cubicBezTo>
                  <a:cubicBezTo>
                    <a:pt x="965264" y="196685"/>
                    <a:pt x="962089" y="193485"/>
                    <a:pt x="947547" y="207899"/>
                  </a:cubicBezTo>
                  <a:cubicBezTo>
                    <a:pt x="933005" y="222314"/>
                    <a:pt x="935609" y="225025"/>
                    <a:pt x="921194" y="239440"/>
                  </a:cubicBezTo>
                  <a:cubicBezTo>
                    <a:pt x="906780" y="253854"/>
                    <a:pt x="907859" y="255086"/>
                    <a:pt x="893318" y="269622"/>
                  </a:cubicBezTo>
                  <a:cubicBezTo>
                    <a:pt x="878776" y="284163"/>
                    <a:pt x="878459" y="283668"/>
                    <a:pt x="863917" y="298203"/>
                  </a:cubicBezTo>
                  <a:cubicBezTo>
                    <a:pt x="849376" y="312744"/>
                    <a:pt x="848740" y="312001"/>
                    <a:pt x="834200" y="326416"/>
                  </a:cubicBezTo>
                  <a:cubicBezTo>
                    <a:pt x="819658" y="340830"/>
                    <a:pt x="819658" y="340830"/>
                    <a:pt x="805243" y="355372"/>
                  </a:cubicBezTo>
                  <a:cubicBezTo>
                    <a:pt x="790829" y="369907"/>
                    <a:pt x="791210" y="370275"/>
                    <a:pt x="776668" y="384690"/>
                  </a:cubicBezTo>
                  <a:cubicBezTo>
                    <a:pt x="762126" y="399104"/>
                    <a:pt x="760158" y="397257"/>
                    <a:pt x="745744" y="411671"/>
                  </a:cubicBezTo>
                  <a:cubicBezTo>
                    <a:pt x="731329" y="426086"/>
                    <a:pt x="732472" y="427317"/>
                    <a:pt x="717931" y="441859"/>
                  </a:cubicBezTo>
                  <a:cubicBezTo>
                    <a:pt x="703389" y="456394"/>
                    <a:pt x="705231" y="458121"/>
                    <a:pt x="690689" y="472656"/>
                  </a:cubicBezTo>
                  <a:cubicBezTo>
                    <a:pt x="676148" y="487198"/>
                    <a:pt x="675639" y="486703"/>
                    <a:pt x="661098" y="501238"/>
                  </a:cubicBezTo>
                  <a:cubicBezTo>
                    <a:pt x="646557" y="515779"/>
                    <a:pt x="649541" y="521075"/>
                    <a:pt x="630555" y="529083"/>
                  </a:cubicBezTo>
                  <a:cubicBezTo>
                    <a:pt x="611568" y="537090"/>
                    <a:pt x="610743" y="530683"/>
                    <a:pt x="591121" y="530683"/>
                  </a:cubicBezTo>
                  <a:cubicBezTo>
                    <a:pt x="571564" y="530683"/>
                    <a:pt x="571436" y="528098"/>
                    <a:pt x="551814" y="528098"/>
                  </a:cubicBezTo>
                  <a:cubicBezTo>
                    <a:pt x="532257" y="528098"/>
                    <a:pt x="532257" y="527971"/>
                    <a:pt x="512508" y="527971"/>
                  </a:cubicBezTo>
                  <a:cubicBezTo>
                    <a:pt x="492823" y="527971"/>
                    <a:pt x="492823" y="528219"/>
                    <a:pt x="473201" y="528219"/>
                  </a:cubicBezTo>
                  <a:cubicBezTo>
                    <a:pt x="453644" y="528219"/>
                    <a:pt x="453644" y="528714"/>
                    <a:pt x="433959" y="528714"/>
                  </a:cubicBezTo>
                  <a:cubicBezTo>
                    <a:pt x="414210" y="528714"/>
                    <a:pt x="414210" y="528714"/>
                    <a:pt x="394652" y="528714"/>
                  </a:cubicBezTo>
                  <a:cubicBezTo>
                    <a:pt x="375031" y="528714"/>
                    <a:pt x="375031" y="530194"/>
                    <a:pt x="355346" y="530194"/>
                  </a:cubicBezTo>
                  <a:cubicBezTo>
                    <a:pt x="335597" y="530194"/>
                    <a:pt x="335597" y="528835"/>
                    <a:pt x="316039" y="528835"/>
                  </a:cubicBezTo>
                  <a:cubicBezTo>
                    <a:pt x="296418" y="528835"/>
                    <a:pt x="296290" y="531051"/>
                    <a:pt x="276733" y="531051"/>
                  </a:cubicBezTo>
                  <a:cubicBezTo>
                    <a:pt x="257111" y="531051"/>
                    <a:pt x="256984" y="530810"/>
                    <a:pt x="237426" y="530810"/>
                  </a:cubicBezTo>
                  <a:cubicBezTo>
                    <a:pt x="217805" y="530810"/>
                    <a:pt x="217805" y="531299"/>
                    <a:pt x="198120" y="531299"/>
                  </a:cubicBezTo>
                  <a:cubicBezTo>
                    <a:pt x="178435" y="531299"/>
                    <a:pt x="178435" y="527235"/>
                    <a:pt x="158814" y="527235"/>
                  </a:cubicBezTo>
                  <a:cubicBezTo>
                    <a:pt x="139255" y="527235"/>
                    <a:pt x="139128" y="530194"/>
                    <a:pt x="119507" y="530194"/>
                  </a:cubicBezTo>
                  <a:cubicBezTo>
                    <a:pt x="99949" y="530194"/>
                    <a:pt x="99822" y="526250"/>
                    <a:pt x="80201" y="526250"/>
                  </a:cubicBezTo>
                  <a:cubicBezTo>
                    <a:pt x="60642" y="526250"/>
                    <a:pt x="60515" y="527851"/>
                    <a:pt x="40767" y="527851"/>
                  </a:cubicBezTo>
                  <a:cubicBezTo>
                    <a:pt x="21082" y="527851"/>
                    <a:pt x="21082" y="526987"/>
                    <a:pt x="1397" y="526987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DF02F57-CCE6-BEC4-9B7A-532D4213162B}"/>
                </a:ext>
              </a:extLst>
            </p:cNvPr>
            <p:cNvSpPr/>
            <p:nvPr/>
          </p:nvSpPr>
          <p:spPr>
            <a:xfrm>
              <a:off x="9422892" y="1446574"/>
              <a:ext cx="640968" cy="5791"/>
            </a:xfrm>
            <a:custGeom>
              <a:avLst/>
              <a:gdLst>
                <a:gd name="connsiteX0" fmla="*/ 0 w 640968"/>
                <a:gd name="connsiteY0" fmla="*/ 4680 h 5791"/>
                <a:gd name="connsiteX1" fmla="*/ 40005 w 640968"/>
                <a:gd name="connsiteY1" fmla="*/ 5791 h 5791"/>
                <a:gd name="connsiteX2" fmla="*/ 80073 w 640968"/>
                <a:gd name="connsiteY2" fmla="*/ 1473 h 5791"/>
                <a:gd name="connsiteX3" fmla="*/ 120078 w 640968"/>
                <a:gd name="connsiteY3" fmla="*/ 737 h 5791"/>
                <a:gd name="connsiteX4" fmla="*/ 160147 w 640968"/>
                <a:gd name="connsiteY4" fmla="*/ 368 h 5791"/>
                <a:gd name="connsiteX5" fmla="*/ 200151 w 640968"/>
                <a:gd name="connsiteY5" fmla="*/ 368 h 5791"/>
                <a:gd name="connsiteX6" fmla="*/ 240220 w 640968"/>
                <a:gd name="connsiteY6" fmla="*/ 2953 h 5791"/>
                <a:gd name="connsiteX7" fmla="*/ 280226 w 640968"/>
                <a:gd name="connsiteY7" fmla="*/ 4801 h 5791"/>
                <a:gd name="connsiteX8" fmla="*/ 320294 w 640968"/>
                <a:gd name="connsiteY8" fmla="*/ 1721 h 5791"/>
                <a:gd name="connsiteX9" fmla="*/ 360363 w 640968"/>
                <a:gd name="connsiteY9" fmla="*/ 1968 h 5791"/>
                <a:gd name="connsiteX10" fmla="*/ 400367 w 640968"/>
                <a:gd name="connsiteY10" fmla="*/ 3937 h 5791"/>
                <a:gd name="connsiteX11" fmla="*/ 440436 w 640968"/>
                <a:gd name="connsiteY11" fmla="*/ 1353 h 5791"/>
                <a:gd name="connsiteX12" fmla="*/ 480440 w 640968"/>
                <a:gd name="connsiteY12" fmla="*/ 5175 h 5791"/>
                <a:gd name="connsiteX13" fmla="*/ 520509 w 640968"/>
                <a:gd name="connsiteY13" fmla="*/ 1232 h 5791"/>
                <a:gd name="connsiteX14" fmla="*/ 560641 w 640968"/>
                <a:gd name="connsiteY14" fmla="*/ 0 h 5791"/>
                <a:gd name="connsiteX15" fmla="*/ 600837 w 640968"/>
                <a:gd name="connsiteY15" fmla="*/ 1848 h 5791"/>
                <a:gd name="connsiteX16" fmla="*/ 640969 w 640968"/>
                <a:gd name="connsiteY16" fmla="*/ 5175 h 57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40968" h="5791">
                  <a:moveTo>
                    <a:pt x="0" y="4680"/>
                  </a:moveTo>
                  <a:cubicBezTo>
                    <a:pt x="19939" y="4680"/>
                    <a:pt x="19939" y="5791"/>
                    <a:pt x="40005" y="5791"/>
                  </a:cubicBezTo>
                  <a:cubicBezTo>
                    <a:pt x="60071" y="5791"/>
                    <a:pt x="60071" y="1473"/>
                    <a:pt x="80073" y="1473"/>
                  </a:cubicBezTo>
                  <a:cubicBezTo>
                    <a:pt x="100013" y="1473"/>
                    <a:pt x="100013" y="737"/>
                    <a:pt x="120078" y="737"/>
                  </a:cubicBezTo>
                  <a:cubicBezTo>
                    <a:pt x="140208" y="737"/>
                    <a:pt x="140208" y="368"/>
                    <a:pt x="160147" y="368"/>
                  </a:cubicBezTo>
                  <a:cubicBezTo>
                    <a:pt x="180086" y="368"/>
                    <a:pt x="180086" y="368"/>
                    <a:pt x="200151" y="368"/>
                  </a:cubicBezTo>
                  <a:cubicBezTo>
                    <a:pt x="220281" y="368"/>
                    <a:pt x="220281" y="2953"/>
                    <a:pt x="240220" y="2953"/>
                  </a:cubicBezTo>
                  <a:cubicBezTo>
                    <a:pt x="260159" y="2953"/>
                    <a:pt x="260286" y="4801"/>
                    <a:pt x="280226" y="4801"/>
                  </a:cubicBezTo>
                  <a:cubicBezTo>
                    <a:pt x="300227" y="4801"/>
                    <a:pt x="300355" y="1721"/>
                    <a:pt x="320294" y="1721"/>
                  </a:cubicBezTo>
                  <a:cubicBezTo>
                    <a:pt x="340233" y="1721"/>
                    <a:pt x="340360" y="1968"/>
                    <a:pt x="360363" y="1968"/>
                  </a:cubicBezTo>
                  <a:cubicBezTo>
                    <a:pt x="380302" y="1968"/>
                    <a:pt x="380428" y="3937"/>
                    <a:pt x="400367" y="3937"/>
                  </a:cubicBezTo>
                  <a:cubicBezTo>
                    <a:pt x="420306" y="3937"/>
                    <a:pt x="420433" y="1353"/>
                    <a:pt x="440436" y="1353"/>
                  </a:cubicBezTo>
                  <a:cubicBezTo>
                    <a:pt x="460375" y="1353"/>
                    <a:pt x="460501" y="5175"/>
                    <a:pt x="480440" y="5175"/>
                  </a:cubicBezTo>
                  <a:cubicBezTo>
                    <a:pt x="500443" y="5175"/>
                    <a:pt x="500507" y="1232"/>
                    <a:pt x="520509" y="1232"/>
                  </a:cubicBezTo>
                  <a:cubicBezTo>
                    <a:pt x="540448" y="1232"/>
                    <a:pt x="540576" y="0"/>
                    <a:pt x="560641" y="0"/>
                  </a:cubicBezTo>
                  <a:cubicBezTo>
                    <a:pt x="580771" y="0"/>
                    <a:pt x="580771" y="1848"/>
                    <a:pt x="600837" y="1848"/>
                  </a:cubicBezTo>
                  <a:cubicBezTo>
                    <a:pt x="620902" y="1848"/>
                    <a:pt x="620902" y="5175"/>
                    <a:pt x="640969" y="5175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E59EBE5-F243-0780-CB8A-7DFB04CC99A7}"/>
                </a:ext>
              </a:extLst>
            </p:cNvPr>
            <p:cNvSpPr/>
            <p:nvPr/>
          </p:nvSpPr>
          <p:spPr>
            <a:xfrm>
              <a:off x="9625647" y="1244161"/>
              <a:ext cx="635000" cy="5295"/>
            </a:xfrm>
            <a:custGeom>
              <a:avLst/>
              <a:gdLst>
                <a:gd name="connsiteX0" fmla="*/ 0 w 635000"/>
                <a:gd name="connsiteY0" fmla="*/ 857 h 5295"/>
                <a:gd name="connsiteX1" fmla="*/ 39688 w 635000"/>
                <a:gd name="connsiteY1" fmla="*/ 1721 h 5295"/>
                <a:gd name="connsiteX2" fmla="*/ 79375 w 635000"/>
                <a:gd name="connsiteY2" fmla="*/ 1105 h 5295"/>
                <a:gd name="connsiteX3" fmla="*/ 118999 w 635000"/>
                <a:gd name="connsiteY3" fmla="*/ 1721 h 5295"/>
                <a:gd name="connsiteX4" fmla="*/ 158686 w 635000"/>
                <a:gd name="connsiteY4" fmla="*/ 3816 h 5295"/>
                <a:gd name="connsiteX5" fmla="*/ 198374 w 635000"/>
                <a:gd name="connsiteY5" fmla="*/ 0 h 5295"/>
                <a:gd name="connsiteX6" fmla="*/ 238061 w 635000"/>
                <a:gd name="connsiteY6" fmla="*/ 4064 h 5295"/>
                <a:gd name="connsiteX7" fmla="*/ 277685 w 635000"/>
                <a:gd name="connsiteY7" fmla="*/ 4432 h 5295"/>
                <a:gd name="connsiteX8" fmla="*/ 317373 w 635000"/>
                <a:gd name="connsiteY8" fmla="*/ 2464 h 5295"/>
                <a:gd name="connsiteX9" fmla="*/ 357060 w 635000"/>
                <a:gd name="connsiteY9" fmla="*/ 2464 h 5295"/>
                <a:gd name="connsiteX10" fmla="*/ 396684 w 635000"/>
                <a:gd name="connsiteY10" fmla="*/ 616 h 5295"/>
                <a:gd name="connsiteX11" fmla="*/ 436372 w 635000"/>
                <a:gd name="connsiteY11" fmla="*/ 2089 h 5295"/>
                <a:gd name="connsiteX12" fmla="*/ 476059 w 635000"/>
                <a:gd name="connsiteY12" fmla="*/ 5296 h 5295"/>
                <a:gd name="connsiteX13" fmla="*/ 515747 w 635000"/>
                <a:gd name="connsiteY13" fmla="*/ 3696 h 5295"/>
                <a:gd name="connsiteX14" fmla="*/ 555372 w 635000"/>
                <a:gd name="connsiteY14" fmla="*/ 1721 h 5295"/>
                <a:gd name="connsiteX15" fmla="*/ 595185 w 635000"/>
                <a:gd name="connsiteY15" fmla="*/ 857 h 5295"/>
                <a:gd name="connsiteX16" fmla="*/ 635000 w 635000"/>
                <a:gd name="connsiteY16" fmla="*/ 3080 h 52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5000" h="5295">
                  <a:moveTo>
                    <a:pt x="0" y="857"/>
                  </a:moveTo>
                  <a:cubicBezTo>
                    <a:pt x="19812" y="857"/>
                    <a:pt x="19812" y="1721"/>
                    <a:pt x="39688" y="1721"/>
                  </a:cubicBezTo>
                  <a:cubicBezTo>
                    <a:pt x="59499" y="1721"/>
                    <a:pt x="59499" y="1105"/>
                    <a:pt x="79375" y="1105"/>
                  </a:cubicBezTo>
                  <a:cubicBezTo>
                    <a:pt x="99187" y="1105"/>
                    <a:pt x="99187" y="1721"/>
                    <a:pt x="118999" y="1721"/>
                  </a:cubicBezTo>
                  <a:cubicBezTo>
                    <a:pt x="138874" y="1721"/>
                    <a:pt x="138874" y="3816"/>
                    <a:pt x="158686" y="3816"/>
                  </a:cubicBezTo>
                  <a:cubicBezTo>
                    <a:pt x="178498" y="3816"/>
                    <a:pt x="178498" y="0"/>
                    <a:pt x="198374" y="0"/>
                  </a:cubicBezTo>
                  <a:cubicBezTo>
                    <a:pt x="218186" y="0"/>
                    <a:pt x="218186" y="4064"/>
                    <a:pt x="238061" y="4064"/>
                  </a:cubicBezTo>
                  <a:cubicBezTo>
                    <a:pt x="257873" y="4064"/>
                    <a:pt x="257873" y="4432"/>
                    <a:pt x="277685" y="4432"/>
                  </a:cubicBezTo>
                  <a:cubicBezTo>
                    <a:pt x="297561" y="4432"/>
                    <a:pt x="297561" y="2464"/>
                    <a:pt x="317373" y="2464"/>
                  </a:cubicBezTo>
                  <a:cubicBezTo>
                    <a:pt x="337185" y="2464"/>
                    <a:pt x="337185" y="2464"/>
                    <a:pt x="357060" y="2464"/>
                  </a:cubicBezTo>
                  <a:cubicBezTo>
                    <a:pt x="376872" y="2464"/>
                    <a:pt x="376872" y="616"/>
                    <a:pt x="396684" y="616"/>
                  </a:cubicBezTo>
                  <a:cubicBezTo>
                    <a:pt x="416560" y="616"/>
                    <a:pt x="416560" y="2089"/>
                    <a:pt x="436372" y="2089"/>
                  </a:cubicBezTo>
                  <a:cubicBezTo>
                    <a:pt x="456247" y="2089"/>
                    <a:pt x="456247" y="5296"/>
                    <a:pt x="476059" y="5296"/>
                  </a:cubicBezTo>
                  <a:cubicBezTo>
                    <a:pt x="495871" y="5296"/>
                    <a:pt x="495871" y="3696"/>
                    <a:pt x="515747" y="3696"/>
                  </a:cubicBezTo>
                  <a:cubicBezTo>
                    <a:pt x="535559" y="3696"/>
                    <a:pt x="535559" y="1721"/>
                    <a:pt x="555372" y="1721"/>
                  </a:cubicBezTo>
                  <a:cubicBezTo>
                    <a:pt x="575246" y="1721"/>
                    <a:pt x="575246" y="857"/>
                    <a:pt x="595185" y="857"/>
                  </a:cubicBezTo>
                  <a:cubicBezTo>
                    <a:pt x="615125" y="857"/>
                    <a:pt x="614997" y="3080"/>
                    <a:pt x="635000" y="3080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51076EA0-B5C3-5BA0-F940-4EFE0366F801}"/>
                </a:ext>
              </a:extLst>
            </p:cNvPr>
            <p:cNvSpPr/>
            <p:nvPr/>
          </p:nvSpPr>
          <p:spPr>
            <a:xfrm>
              <a:off x="9573323" y="1097667"/>
              <a:ext cx="522605" cy="520769"/>
            </a:xfrm>
            <a:custGeom>
              <a:avLst/>
              <a:gdLst>
                <a:gd name="connsiteX0" fmla="*/ 0 w 522605"/>
                <a:gd name="connsiteY0" fmla="*/ 520770 h 520769"/>
                <a:gd name="connsiteX1" fmla="*/ 28893 w 522605"/>
                <a:gd name="connsiteY1" fmla="*/ 491814 h 520769"/>
                <a:gd name="connsiteX2" fmla="*/ 56896 w 522605"/>
                <a:gd name="connsiteY2" fmla="*/ 462001 h 520769"/>
                <a:gd name="connsiteX3" fmla="*/ 87058 w 522605"/>
                <a:gd name="connsiteY3" fmla="*/ 434283 h 520769"/>
                <a:gd name="connsiteX4" fmla="*/ 115760 w 522605"/>
                <a:gd name="connsiteY4" fmla="*/ 405079 h 520769"/>
                <a:gd name="connsiteX5" fmla="*/ 142748 w 522605"/>
                <a:gd name="connsiteY5" fmla="*/ 374161 h 520769"/>
                <a:gd name="connsiteX6" fmla="*/ 173545 w 522605"/>
                <a:gd name="connsiteY6" fmla="*/ 347053 h 520769"/>
                <a:gd name="connsiteX7" fmla="*/ 199199 w 522605"/>
                <a:gd name="connsiteY7" fmla="*/ 314776 h 520769"/>
                <a:gd name="connsiteX8" fmla="*/ 230822 w 522605"/>
                <a:gd name="connsiteY8" fmla="*/ 288411 h 520769"/>
                <a:gd name="connsiteX9" fmla="*/ 261048 w 522605"/>
                <a:gd name="connsiteY9" fmla="*/ 260566 h 520769"/>
                <a:gd name="connsiteX10" fmla="*/ 290385 w 522605"/>
                <a:gd name="connsiteY10" fmla="*/ 231985 h 520769"/>
                <a:gd name="connsiteX11" fmla="*/ 316357 w 522605"/>
                <a:gd name="connsiteY11" fmla="*/ 199955 h 520769"/>
                <a:gd name="connsiteX12" fmla="*/ 344170 w 522605"/>
                <a:gd name="connsiteY12" fmla="*/ 169894 h 520769"/>
                <a:gd name="connsiteX13" fmla="*/ 374968 w 522605"/>
                <a:gd name="connsiteY13" fmla="*/ 142786 h 520769"/>
                <a:gd name="connsiteX14" fmla="*/ 402463 w 522605"/>
                <a:gd name="connsiteY14" fmla="*/ 112236 h 520769"/>
                <a:gd name="connsiteX15" fmla="*/ 431927 w 522605"/>
                <a:gd name="connsiteY15" fmla="*/ 83655 h 520769"/>
                <a:gd name="connsiteX16" fmla="*/ 464566 w 522605"/>
                <a:gd name="connsiteY16" fmla="*/ 58274 h 520769"/>
                <a:gd name="connsiteX17" fmla="*/ 491554 w 522605"/>
                <a:gd name="connsiteY17" fmla="*/ 27102 h 520769"/>
                <a:gd name="connsiteX18" fmla="*/ 522605 w 522605"/>
                <a:gd name="connsiteY18" fmla="*/ 0 h 520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22605" h="520769">
                  <a:moveTo>
                    <a:pt x="0" y="520770"/>
                  </a:moveTo>
                  <a:cubicBezTo>
                    <a:pt x="9589" y="511156"/>
                    <a:pt x="19241" y="501504"/>
                    <a:pt x="28893" y="491814"/>
                  </a:cubicBezTo>
                  <a:cubicBezTo>
                    <a:pt x="43307" y="477399"/>
                    <a:pt x="42482" y="476415"/>
                    <a:pt x="56896" y="462001"/>
                  </a:cubicBezTo>
                  <a:cubicBezTo>
                    <a:pt x="71310" y="447586"/>
                    <a:pt x="72644" y="448818"/>
                    <a:pt x="87058" y="434283"/>
                  </a:cubicBezTo>
                  <a:cubicBezTo>
                    <a:pt x="101473" y="419741"/>
                    <a:pt x="101219" y="419494"/>
                    <a:pt x="115760" y="405079"/>
                  </a:cubicBezTo>
                  <a:cubicBezTo>
                    <a:pt x="130302" y="390665"/>
                    <a:pt x="128207" y="388576"/>
                    <a:pt x="142748" y="374161"/>
                  </a:cubicBezTo>
                  <a:cubicBezTo>
                    <a:pt x="157290" y="359747"/>
                    <a:pt x="159004" y="361467"/>
                    <a:pt x="173545" y="347053"/>
                  </a:cubicBezTo>
                  <a:cubicBezTo>
                    <a:pt x="188087" y="332638"/>
                    <a:pt x="184658" y="329190"/>
                    <a:pt x="199199" y="314776"/>
                  </a:cubicBezTo>
                  <a:cubicBezTo>
                    <a:pt x="213741" y="300361"/>
                    <a:pt x="216281" y="302946"/>
                    <a:pt x="230822" y="288411"/>
                  </a:cubicBezTo>
                  <a:cubicBezTo>
                    <a:pt x="245364" y="273876"/>
                    <a:pt x="246507" y="275107"/>
                    <a:pt x="261048" y="260566"/>
                  </a:cubicBezTo>
                  <a:cubicBezTo>
                    <a:pt x="275590" y="246031"/>
                    <a:pt x="275844" y="246399"/>
                    <a:pt x="290385" y="231985"/>
                  </a:cubicBezTo>
                  <a:cubicBezTo>
                    <a:pt x="304864" y="217570"/>
                    <a:pt x="301816" y="214490"/>
                    <a:pt x="316357" y="199955"/>
                  </a:cubicBezTo>
                  <a:cubicBezTo>
                    <a:pt x="330898" y="185414"/>
                    <a:pt x="329629" y="184309"/>
                    <a:pt x="344170" y="169894"/>
                  </a:cubicBezTo>
                  <a:cubicBezTo>
                    <a:pt x="358711" y="155480"/>
                    <a:pt x="360426" y="157201"/>
                    <a:pt x="374968" y="142786"/>
                  </a:cubicBezTo>
                  <a:cubicBezTo>
                    <a:pt x="389509" y="128372"/>
                    <a:pt x="387921" y="126651"/>
                    <a:pt x="402463" y="112236"/>
                  </a:cubicBezTo>
                  <a:cubicBezTo>
                    <a:pt x="417005" y="97822"/>
                    <a:pt x="417385" y="98190"/>
                    <a:pt x="431927" y="83655"/>
                  </a:cubicBezTo>
                  <a:cubicBezTo>
                    <a:pt x="446469" y="69113"/>
                    <a:pt x="450024" y="72688"/>
                    <a:pt x="464566" y="58274"/>
                  </a:cubicBezTo>
                  <a:cubicBezTo>
                    <a:pt x="479108" y="43860"/>
                    <a:pt x="477012" y="41643"/>
                    <a:pt x="491554" y="27102"/>
                  </a:cubicBezTo>
                  <a:cubicBezTo>
                    <a:pt x="506095" y="12567"/>
                    <a:pt x="508064" y="14535"/>
                    <a:pt x="522605" y="0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28AF10E6-FD76-A90A-BCC8-288E6220A42D}"/>
                </a:ext>
              </a:extLst>
            </p:cNvPr>
            <p:cNvSpPr/>
            <p:nvPr/>
          </p:nvSpPr>
          <p:spPr>
            <a:xfrm>
              <a:off x="11237086" y="575676"/>
              <a:ext cx="3547364" cy="6160"/>
            </a:xfrm>
            <a:custGeom>
              <a:avLst/>
              <a:gdLst>
                <a:gd name="connsiteX0" fmla="*/ 0 w 3547364"/>
                <a:gd name="connsiteY0" fmla="*/ 3696 h 6160"/>
                <a:gd name="connsiteX1" fmla="*/ 40322 w 3547364"/>
                <a:gd name="connsiteY1" fmla="*/ 1601 h 6160"/>
                <a:gd name="connsiteX2" fmla="*/ 80582 w 3547364"/>
                <a:gd name="connsiteY2" fmla="*/ 5175 h 6160"/>
                <a:gd name="connsiteX3" fmla="*/ 120904 w 3547364"/>
                <a:gd name="connsiteY3" fmla="*/ 5175 h 6160"/>
                <a:gd name="connsiteX4" fmla="*/ 161163 w 3547364"/>
                <a:gd name="connsiteY4" fmla="*/ 4435 h 6160"/>
                <a:gd name="connsiteX5" fmla="*/ 201485 w 3547364"/>
                <a:gd name="connsiteY5" fmla="*/ 4435 h 6160"/>
                <a:gd name="connsiteX6" fmla="*/ 241744 w 3547364"/>
                <a:gd name="connsiteY6" fmla="*/ 5051 h 6160"/>
                <a:gd name="connsiteX7" fmla="*/ 282004 w 3547364"/>
                <a:gd name="connsiteY7" fmla="*/ 3820 h 6160"/>
                <a:gd name="connsiteX8" fmla="*/ 322326 w 3547364"/>
                <a:gd name="connsiteY8" fmla="*/ 1355 h 6160"/>
                <a:gd name="connsiteX9" fmla="*/ 362585 w 3547364"/>
                <a:gd name="connsiteY9" fmla="*/ 5051 h 6160"/>
                <a:gd name="connsiteX10" fmla="*/ 402907 w 3547364"/>
                <a:gd name="connsiteY10" fmla="*/ 3204 h 6160"/>
                <a:gd name="connsiteX11" fmla="*/ 443167 w 3547364"/>
                <a:gd name="connsiteY11" fmla="*/ 1109 h 6160"/>
                <a:gd name="connsiteX12" fmla="*/ 483489 w 3547364"/>
                <a:gd name="connsiteY12" fmla="*/ 3820 h 6160"/>
                <a:gd name="connsiteX13" fmla="*/ 523748 w 3547364"/>
                <a:gd name="connsiteY13" fmla="*/ 2711 h 6160"/>
                <a:gd name="connsiteX14" fmla="*/ 564007 w 3547364"/>
                <a:gd name="connsiteY14" fmla="*/ 1601 h 6160"/>
                <a:gd name="connsiteX15" fmla="*/ 604330 w 3547364"/>
                <a:gd name="connsiteY15" fmla="*/ 0 h 6160"/>
                <a:gd name="connsiteX16" fmla="*/ 644589 w 3547364"/>
                <a:gd name="connsiteY16" fmla="*/ 0 h 6160"/>
                <a:gd name="connsiteX17" fmla="*/ 684911 w 3547364"/>
                <a:gd name="connsiteY17" fmla="*/ 4435 h 6160"/>
                <a:gd name="connsiteX18" fmla="*/ 725170 w 3547364"/>
                <a:gd name="connsiteY18" fmla="*/ 1109 h 6160"/>
                <a:gd name="connsiteX19" fmla="*/ 765493 w 3547364"/>
                <a:gd name="connsiteY19" fmla="*/ 4805 h 6160"/>
                <a:gd name="connsiteX20" fmla="*/ 805752 w 3547364"/>
                <a:gd name="connsiteY20" fmla="*/ 2464 h 6160"/>
                <a:gd name="connsiteX21" fmla="*/ 846074 w 3547364"/>
                <a:gd name="connsiteY21" fmla="*/ 2957 h 6160"/>
                <a:gd name="connsiteX22" fmla="*/ 886333 w 3547364"/>
                <a:gd name="connsiteY22" fmla="*/ 1478 h 6160"/>
                <a:gd name="connsiteX23" fmla="*/ 926592 w 3547364"/>
                <a:gd name="connsiteY23" fmla="*/ 739 h 6160"/>
                <a:gd name="connsiteX24" fmla="*/ 966915 w 3547364"/>
                <a:gd name="connsiteY24" fmla="*/ 2094 h 6160"/>
                <a:gd name="connsiteX25" fmla="*/ 1007173 w 3547364"/>
                <a:gd name="connsiteY25" fmla="*/ 4805 h 6160"/>
                <a:gd name="connsiteX26" fmla="*/ 1047496 w 3547364"/>
                <a:gd name="connsiteY26" fmla="*/ 4805 h 6160"/>
                <a:gd name="connsiteX27" fmla="*/ 1087755 w 3547364"/>
                <a:gd name="connsiteY27" fmla="*/ 5175 h 6160"/>
                <a:gd name="connsiteX28" fmla="*/ 1128078 w 3547364"/>
                <a:gd name="connsiteY28" fmla="*/ 2464 h 6160"/>
                <a:gd name="connsiteX29" fmla="*/ 1168337 w 3547364"/>
                <a:gd name="connsiteY29" fmla="*/ 4066 h 6160"/>
                <a:gd name="connsiteX30" fmla="*/ 1208595 w 3547364"/>
                <a:gd name="connsiteY30" fmla="*/ 370 h 6160"/>
                <a:gd name="connsiteX31" fmla="*/ 1248918 w 3547364"/>
                <a:gd name="connsiteY31" fmla="*/ 3327 h 6160"/>
                <a:gd name="connsiteX32" fmla="*/ 1289177 w 3547364"/>
                <a:gd name="connsiteY32" fmla="*/ 2957 h 6160"/>
                <a:gd name="connsiteX33" fmla="*/ 1329500 w 3547364"/>
                <a:gd name="connsiteY33" fmla="*/ 5667 h 6160"/>
                <a:gd name="connsiteX34" fmla="*/ 1369758 w 3547364"/>
                <a:gd name="connsiteY34" fmla="*/ 1601 h 6160"/>
                <a:gd name="connsiteX35" fmla="*/ 1410081 w 3547364"/>
                <a:gd name="connsiteY35" fmla="*/ 246 h 6160"/>
                <a:gd name="connsiteX36" fmla="*/ 1450340 w 3547364"/>
                <a:gd name="connsiteY36" fmla="*/ 2711 h 6160"/>
                <a:gd name="connsiteX37" fmla="*/ 1490599 w 3547364"/>
                <a:gd name="connsiteY37" fmla="*/ 3696 h 6160"/>
                <a:gd name="connsiteX38" fmla="*/ 1530921 w 3547364"/>
                <a:gd name="connsiteY38" fmla="*/ 2834 h 6160"/>
                <a:gd name="connsiteX39" fmla="*/ 1571181 w 3547364"/>
                <a:gd name="connsiteY39" fmla="*/ 493 h 6160"/>
                <a:gd name="connsiteX40" fmla="*/ 1611503 w 3547364"/>
                <a:gd name="connsiteY40" fmla="*/ 4682 h 6160"/>
                <a:gd name="connsiteX41" fmla="*/ 1651762 w 3547364"/>
                <a:gd name="connsiteY41" fmla="*/ 1232 h 6160"/>
                <a:gd name="connsiteX42" fmla="*/ 1692084 w 3547364"/>
                <a:gd name="connsiteY42" fmla="*/ 1232 h 6160"/>
                <a:gd name="connsiteX43" fmla="*/ 1732344 w 3547364"/>
                <a:gd name="connsiteY43" fmla="*/ 2587 h 6160"/>
                <a:gd name="connsiteX44" fmla="*/ 1772603 w 3547364"/>
                <a:gd name="connsiteY44" fmla="*/ 2094 h 6160"/>
                <a:gd name="connsiteX45" fmla="*/ 1812926 w 3547364"/>
                <a:gd name="connsiteY45" fmla="*/ 2711 h 6160"/>
                <a:gd name="connsiteX46" fmla="*/ 1853184 w 3547364"/>
                <a:gd name="connsiteY46" fmla="*/ 3080 h 6160"/>
                <a:gd name="connsiteX47" fmla="*/ 1893507 w 3547364"/>
                <a:gd name="connsiteY47" fmla="*/ 5914 h 6160"/>
                <a:gd name="connsiteX48" fmla="*/ 1933765 w 3547364"/>
                <a:gd name="connsiteY48" fmla="*/ 2464 h 6160"/>
                <a:gd name="connsiteX49" fmla="*/ 1974088 w 3547364"/>
                <a:gd name="connsiteY49" fmla="*/ 1232 h 6160"/>
                <a:gd name="connsiteX50" fmla="*/ 2014348 w 3547364"/>
                <a:gd name="connsiteY50" fmla="*/ 4928 h 6160"/>
                <a:gd name="connsiteX51" fmla="*/ 2054669 w 3547364"/>
                <a:gd name="connsiteY51" fmla="*/ 4805 h 6160"/>
                <a:gd name="connsiteX52" fmla="*/ 2094929 w 3547364"/>
                <a:gd name="connsiteY52" fmla="*/ 1355 h 6160"/>
                <a:gd name="connsiteX53" fmla="*/ 2135188 w 3547364"/>
                <a:gd name="connsiteY53" fmla="*/ 5421 h 6160"/>
                <a:gd name="connsiteX54" fmla="*/ 2175510 w 3547364"/>
                <a:gd name="connsiteY54" fmla="*/ 1109 h 6160"/>
                <a:gd name="connsiteX55" fmla="*/ 2215770 w 3547364"/>
                <a:gd name="connsiteY55" fmla="*/ 1601 h 6160"/>
                <a:gd name="connsiteX56" fmla="*/ 2256091 w 3547364"/>
                <a:gd name="connsiteY56" fmla="*/ 1601 h 6160"/>
                <a:gd name="connsiteX57" fmla="*/ 2296351 w 3547364"/>
                <a:gd name="connsiteY57" fmla="*/ 3820 h 6160"/>
                <a:gd name="connsiteX58" fmla="*/ 2336674 w 3547364"/>
                <a:gd name="connsiteY58" fmla="*/ 1971 h 6160"/>
                <a:gd name="connsiteX59" fmla="*/ 2377059 w 3547364"/>
                <a:gd name="connsiteY59" fmla="*/ 1725 h 6160"/>
                <a:gd name="connsiteX60" fmla="*/ 2417318 w 3547364"/>
                <a:gd name="connsiteY60" fmla="*/ 4066 h 6160"/>
                <a:gd name="connsiteX61" fmla="*/ 2457640 w 3547364"/>
                <a:gd name="connsiteY61" fmla="*/ 3450 h 6160"/>
                <a:gd name="connsiteX62" fmla="*/ 2497900 w 3547364"/>
                <a:gd name="connsiteY62" fmla="*/ 6160 h 6160"/>
                <a:gd name="connsiteX63" fmla="*/ 2538223 w 3547364"/>
                <a:gd name="connsiteY63" fmla="*/ 5298 h 6160"/>
                <a:gd name="connsiteX64" fmla="*/ 2578481 w 3547364"/>
                <a:gd name="connsiteY64" fmla="*/ 3450 h 6160"/>
                <a:gd name="connsiteX65" fmla="*/ 2618804 w 3547364"/>
                <a:gd name="connsiteY65" fmla="*/ 3696 h 6160"/>
                <a:gd name="connsiteX66" fmla="*/ 2659189 w 3547364"/>
                <a:gd name="connsiteY66" fmla="*/ 4682 h 6160"/>
                <a:gd name="connsiteX67" fmla="*/ 2699449 w 3547364"/>
                <a:gd name="connsiteY67" fmla="*/ 4312 h 6160"/>
                <a:gd name="connsiteX68" fmla="*/ 2739899 w 3547364"/>
                <a:gd name="connsiteY68" fmla="*/ 6160 h 6160"/>
                <a:gd name="connsiteX69" fmla="*/ 2780157 w 3547364"/>
                <a:gd name="connsiteY69" fmla="*/ 5914 h 6160"/>
                <a:gd name="connsiteX70" fmla="*/ 2820543 w 3547364"/>
                <a:gd name="connsiteY70" fmla="*/ 2957 h 6160"/>
                <a:gd name="connsiteX71" fmla="*/ 2860992 w 3547364"/>
                <a:gd name="connsiteY71" fmla="*/ 4559 h 6160"/>
                <a:gd name="connsiteX72" fmla="*/ 2901252 w 3547364"/>
                <a:gd name="connsiteY72" fmla="*/ 2464 h 6160"/>
                <a:gd name="connsiteX73" fmla="*/ 2941575 w 3547364"/>
                <a:gd name="connsiteY73" fmla="*/ 6037 h 6160"/>
                <a:gd name="connsiteX74" fmla="*/ 2981960 w 3547364"/>
                <a:gd name="connsiteY74" fmla="*/ 6037 h 6160"/>
                <a:gd name="connsiteX75" fmla="*/ 3022283 w 3547364"/>
                <a:gd name="connsiteY75" fmla="*/ 3820 h 6160"/>
                <a:gd name="connsiteX76" fmla="*/ 3062668 w 3547364"/>
                <a:gd name="connsiteY76" fmla="*/ 5914 h 6160"/>
                <a:gd name="connsiteX77" fmla="*/ 3102928 w 3547364"/>
                <a:gd name="connsiteY77" fmla="*/ 2094 h 6160"/>
                <a:gd name="connsiteX78" fmla="*/ 3143376 w 3547364"/>
                <a:gd name="connsiteY78" fmla="*/ 1848 h 6160"/>
                <a:gd name="connsiteX79" fmla="*/ 3183763 w 3547364"/>
                <a:gd name="connsiteY79" fmla="*/ 2711 h 6160"/>
                <a:gd name="connsiteX80" fmla="*/ 3224150 w 3547364"/>
                <a:gd name="connsiteY80" fmla="*/ 246 h 6160"/>
                <a:gd name="connsiteX81" fmla="*/ 3264599 w 3547364"/>
                <a:gd name="connsiteY81" fmla="*/ 1478 h 6160"/>
                <a:gd name="connsiteX82" fmla="*/ 3304985 w 3547364"/>
                <a:gd name="connsiteY82" fmla="*/ 862 h 6160"/>
                <a:gd name="connsiteX83" fmla="*/ 3345307 w 3547364"/>
                <a:gd name="connsiteY83" fmla="*/ 2834 h 6160"/>
                <a:gd name="connsiteX84" fmla="*/ 3385693 w 3547364"/>
                <a:gd name="connsiteY84" fmla="*/ 4928 h 6160"/>
                <a:gd name="connsiteX85" fmla="*/ 3426079 w 3547364"/>
                <a:gd name="connsiteY85" fmla="*/ 3450 h 6160"/>
                <a:gd name="connsiteX86" fmla="*/ 3466529 w 3547364"/>
                <a:gd name="connsiteY86" fmla="*/ 4312 h 6160"/>
                <a:gd name="connsiteX87" fmla="*/ 3506914 w 3547364"/>
                <a:gd name="connsiteY87" fmla="*/ 1971 h 6160"/>
                <a:gd name="connsiteX88" fmla="*/ 3547364 w 3547364"/>
                <a:gd name="connsiteY88" fmla="*/ 2464 h 61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3547364" h="6160">
                  <a:moveTo>
                    <a:pt x="0" y="3696"/>
                  </a:moveTo>
                  <a:cubicBezTo>
                    <a:pt x="20257" y="3696"/>
                    <a:pt x="20257" y="1601"/>
                    <a:pt x="40322" y="1601"/>
                  </a:cubicBezTo>
                  <a:cubicBezTo>
                    <a:pt x="60389" y="1601"/>
                    <a:pt x="60516" y="5175"/>
                    <a:pt x="80582" y="5175"/>
                  </a:cubicBezTo>
                  <a:cubicBezTo>
                    <a:pt x="100711" y="5175"/>
                    <a:pt x="100774" y="5175"/>
                    <a:pt x="120904" y="5175"/>
                  </a:cubicBezTo>
                  <a:cubicBezTo>
                    <a:pt x="140970" y="5175"/>
                    <a:pt x="141097" y="4435"/>
                    <a:pt x="161163" y="4435"/>
                  </a:cubicBezTo>
                  <a:cubicBezTo>
                    <a:pt x="181229" y="4435"/>
                    <a:pt x="181356" y="4435"/>
                    <a:pt x="201485" y="4435"/>
                  </a:cubicBezTo>
                  <a:cubicBezTo>
                    <a:pt x="221552" y="4435"/>
                    <a:pt x="221679" y="5051"/>
                    <a:pt x="241744" y="5051"/>
                  </a:cubicBezTo>
                  <a:cubicBezTo>
                    <a:pt x="261810" y="5051"/>
                    <a:pt x="261938" y="3820"/>
                    <a:pt x="282004" y="3820"/>
                  </a:cubicBezTo>
                  <a:cubicBezTo>
                    <a:pt x="302133" y="3820"/>
                    <a:pt x="302260" y="1355"/>
                    <a:pt x="322326" y="1355"/>
                  </a:cubicBezTo>
                  <a:cubicBezTo>
                    <a:pt x="342392" y="1355"/>
                    <a:pt x="342519" y="5051"/>
                    <a:pt x="362585" y="5051"/>
                  </a:cubicBezTo>
                  <a:cubicBezTo>
                    <a:pt x="382715" y="5051"/>
                    <a:pt x="382778" y="3204"/>
                    <a:pt x="402907" y="3204"/>
                  </a:cubicBezTo>
                  <a:cubicBezTo>
                    <a:pt x="422973" y="3204"/>
                    <a:pt x="423101" y="1109"/>
                    <a:pt x="443167" y="1109"/>
                  </a:cubicBezTo>
                  <a:cubicBezTo>
                    <a:pt x="463232" y="1109"/>
                    <a:pt x="463359" y="3820"/>
                    <a:pt x="483489" y="3820"/>
                  </a:cubicBezTo>
                  <a:cubicBezTo>
                    <a:pt x="503555" y="3820"/>
                    <a:pt x="503682" y="2711"/>
                    <a:pt x="523748" y="2711"/>
                  </a:cubicBezTo>
                  <a:cubicBezTo>
                    <a:pt x="543814" y="2711"/>
                    <a:pt x="543941" y="1601"/>
                    <a:pt x="564007" y="1601"/>
                  </a:cubicBezTo>
                  <a:cubicBezTo>
                    <a:pt x="584136" y="1601"/>
                    <a:pt x="584264" y="0"/>
                    <a:pt x="604330" y="0"/>
                  </a:cubicBezTo>
                  <a:cubicBezTo>
                    <a:pt x="624395" y="0"/>
                    <a:pt x="624522" y="0"/>
                    <a:pt x="644589" y="0"/>
                  </a:cubicBezTo>
                  <a:cubicBezTo>
                    <a:pt x="664718" y="0"/>
                    <a:pt x="664845" y="4435"/>
                    <a:pt x="684911" y="4435"/>
                  </a:cubicBezTo>
                  <a:cubicBezTo>
                    <a:pt x="704977" y="4435"/>
                    <a:pt x="705104" y="1109"/>
                    <a:pt x="725170" y="1109"/>
                  </a:cubicBezTo>
                  <a:cubicBezTo>
                    <a:pt x="745236" y="1109"/>
                    <a:pt x="745363" y="4805"/>
                    <a:pt x="765493" y="4805"/>
                  </a:cubicBezTo>
                  <a:cubicBezTo>
                    <a:pt x="785558" y="4805"/>
                    <a:pt x="785685" y="2464"/>
                    <a:pt x="805752" y="2464"/>
                  </a:cubicBezTo>
                  <a:cubicBezTo>
                    <a:pt x="825818" y="2464"/>
                    <a:pt x="825944" y="2957"/>
                    <a:pt x="846074" y="2957"/>
                  </a:cubicBezTo>
                  <a:cubicBezTo>
                    <a:pt x="866140" y="2957"/>
                    <a:pt x="866267" y="1478"/>
                    <a:pt x="886333" y="1478"/>
                  </a:cubicBezTo>
                  <a:cubicBezTo>
                    <a:pt x="906399" y="1478"/>
                    <a:pt x="906526" y="739"/>
                    <a:pt x="926592" y="739"/>
                  </a:cubicBezTo>
                  <a:cubicBezTo>
                    <a:pt x="946721" y="739"/>
                    <a:pt x="946848" y="2094"/>
                    <a:pt x="966915" y="2094"/>
                  </a:cubicBezTo>
                  <a:cubicBezTo>
                    <a:pt x="986981" y="2094"/>
                    <a:pt x="987107" y="4805"/>
                    <a:pt x="1007173" y="4805"/>
                  </a:cubicBezTo>
                  <a:cubicBezTo>
                    <a:pt x="1027240" y="4805"/>
                    <a:pt x="1027367" y="4805"/>
                    <a:pt x="1047496" y="4805"/>
                  </a:cubicBezTo>
                  <a:cubicBezTo>
                    <a:pt x="1067562" y="4805"/>
                    <a:pt x="1067689" y="5175"/>
                    <a:pt x="1087755" y="5175"/>
                  </a:cubicBezTo>
                  <a:cubicBezTo>
                    <a:pt x="1107821" y="5175"/>
                    <a:pt x="1107948" y="2464"/>
                    <a:pt x="1128078" y="2464"/>
                  </a:cubicBezTo>
                  <a:cubicBezTo>
                    <a:pt x="1148144" y="2464"/>
                    <a:pt x="1148270" y="4066"/>
                    <a:pt x="1168337" y="4066"/>
                  </a:cubicBezTo>
                  <a:cubicBezTo>
                    <a:pt x="1188403" y="4066"/>
                    <a:pt x="1188530" y="370"/>
                    <a:pt x="1208595" y="370"/>
                  </a:cubicBezTo>
                  <a:cubicBezTo>
                    <a:pt x="1228725" y="370"/>
                    <a:pt x="1228852" y="3327"/>
                    <a:pt x="1248918" y="3327"/>
                  </a:cubicBezTo>
                  <a:cubicBezTo>
                    <a:pt x="1268984" y="3327"/>
                    <a:pt x="1269111" y="2957"/>
                    <a:pt x="1289177" y="2957"/>
                  </a:cubicBezTo>
                  <a:cubicBezTo>
                    <a:pt x="1309307" y="2957"/>
                    <a:pt x="1309370" y="5667"/>
                    <a:pt x="1329500" y="5667"/>
                  </a:cubicBezTo>
                  <a:cubicBezTo>
                    <a:pt x="1349566" y="5667"/>
                    <a:pt x="1349566" y="1601"/>
                    <a:pt x="1369758" y="1601"/>
                  </a:cubicBezTo>
                  <a:cubicBezTo>
                    <a:pt x="1389952" y="1601"/>
                    <a:pt x="1389825" y="246"/>
                    <a:pt x="1410081" y="246"/>
                  </a:cubicBezTo>
                  <a:cubicBezTo>
                    <a:pt x="1430274" y="246"/>
                    <a:pt x="1430147" y="2711"/>
                    <a:pt x="1450340" y="2711"/>
                  </a:cubicBezTo>
                  <a:cubicBezTo>
                    <a:pt x="1470533" y="2711"/>
                    <a:pt x="1470406" y="3696"/>
                    <a:pt x="1490599" y="3696"/>
                  </a:cubicBezTo>
                  <a:cubicBezTo>
                    <a:pt x="1510856" y="3696"/>
                    <a:pt x="1510729" y="2834"/>
                    <a:pt x="1530921" y="2834"/>
                  </a:cubicBezTo>
                  <a:cubicBezTo>
                    <a:pt x="1551115" y="2834"/>
                    <a:pt x="1550988" y="493"/>
                    <a:pt x="1571181" y="493"/>
                  </a:cubicBezTo>
                  <a:cubicBezTo>
                    <a:pt x="1591373" y="493"/>
                    <a:pt x="1591373" y="4682"/>
                    <a:pt x="1611503" y="4682"/>
                  </a:cubicBezTo>
                  <a:cubicBezTo>
                    <a:pt x="1631569" y="4682"/>
                    <a:pt x="1631696" y="1232"/>
                    <a:pt x="1651762" y="1232"/>
                  </a:cubicBezTo>
                  <a:cubicBezTo>
                    <a:pt x="1671828" y="1232"/>
                    <a:pt x="1671955" y="1232"/>
                    <a:pt x="1692084" y="1232"/>
                  </a:cubicBezTo>
                  <a:cubicBezTo>
                    <a:pt x="1712151" y="1232"/>
                    <a:pt x="1712278" y="2587"/>
                    <a:pt x="1732344" y="2587"/>
                  </a:cubicBezTo>
                  <a:cubicBezTo>
                    <a:pt x="1752409" y="2587"/>
                    <a:pt x="1752409" y="2094"/>
                    <a:pt x="1772603" y="2094"/>
                  </a:cubicBezTo>
                  <a:cubicBezTo>
                    <a:pt x="1792859" y="2094"/>
                    <a:pt x="1792732" y="2711"/>
                    <a:pt x="1812926" y="2711"/>
                  </a:cubicBezTo>
                  <a:cubicBezTo>
                    <a:pt x="1833118" y="2711"/>
                    <a:pt x="1832991" y="3080"/>
                    <a:pt x="1853184" y="3080"/>
                  </a:cubicBezTo>
                  <a:cubicBezTo>
                    <a:pt x="1873440" y="3080"/>
                    <a:pt x="1873440" y="5914"/>
                    <a:pt x="1893507" y="5914"/>
                  </a:cubicBezTo>
                  <a:cubicBezTo>
                    <a:pt x="1913572" y="5914"/>
                    <a:pt x="1913700" y="2464"/>
                    <a:pt x="1933765" y="2464"/>
                  </a:cubicBezTo>
                  <a:cubicBezTo>
                    <a:pt x="1953832" y="2464"/>
                    <a:pt x="1953959" y="1232"/>
                    <a:pt x="1974088" y="1232"/>
                  </a:cubicBezTo>
                  <a:cubicBezTo>
                    <a:pt x="1994154" y="1232"/>
                    <a:pt x="1994281" y="4928"/>
                    <a:pt x="2014348" y="4928"/>
                  </a:cubicBezTo>
                  <a:cubicBezTo>
                    <a:pt x="2034413" y="4928"/>
                    <a:pt x="2034540" y="4805"/>
                    <a:pt x="2054669" y="4805"/>
                  </a:cubicBezTo>
                  <a:cubicBezTo>
                    <a:pt x="2074736" y="4805"/>
                    <a:pt x="2074863" y="1355"/>
                    <a:pt x="2094929" y="1355"/>
                  </a:cubicBezTo>
                  <a:cubicBezTo>
                    <a:pt x="2114994" y="1355"/>
                    <a:pt x="2115121" y="5421"/>
                    <a:pt x="2135188" y="5421"/>
                  </a:cubicBezTo>
                  <a:cubicBezTo>
                    <a:pt x="2155317" y="5421"/>
                    <a:pt x="2155445" y="1109"/>
                    <a:pt x="2175510" y="1109"/>
                  </a:cubicBezTo>
                  <a:cubicBezTo>
                    <a:pt x="2195575" y="1109"/>
                    <a:pt x="2195703" y="1601"/>
                    <a:pt x="2215770" y="1601"/>
                  </a:cubicBezTo>
                  <a:cubicBezTo>
                    <a:pt x="2235835" y="1601"/>
                    <a:pt x="2235962" y="1601"/>
                    <a:pt x="2256091" y="1601"/>
                  </a:cubicBezTo>
                  <a:cubicBezTo>
                    <a:pt x="2276158" y="1601"/>
                    <a:pt x="2276285" y="3820"/>
                    <a:pt x="2296351" y="3820"/>
                  </a:cubicBezTo>
                  <a:cubicBezTo>
                    <a:pt x="2316416" y="3820"/>
                    <a:pt x="2316543" y="1971"/>
                    <a:pt x="2336674" y="1971"/>
                  </a:cubicBezTo>
                  <a:cubicBezTo>
                    <a:pt x="2356739" y="1971"/>
                    <a:pt x="2356866" y="1725"/>
                    <a:pt x="2377059" y="1725"/>
                  </a:cubicBezTo>
                  <a:cubicBezTo>
                    <a:pt x="2397251" y="1725"/>
                    <a:pt x="2397251" y="4066"/>
                    <a:pt x="2417318" y="4066"/>
                  </a:cubicBezTo>
                  <a:cubicBezTo>
                    <a:pt x="2437447" y="4066"/>
                    <a:pt x="2437575" y="3450"/>
                    <a:pt x="2457640" y="3450"/>
                  </a:cubicBezTo>
                  <a:cubicBezTo>
                    <a:pt x="2477707" y="3450"/>
                    <a:pt x="2477834" y="6160"/>
                    <a:pt x="2497900" y="6160"/>
                  </a:cubicBezTo>
                  <a:cubicBezTo>
                    <a:pt x="2517965" y="6160"/>
                    <a:pt x="2518092" y="5298"/>
                    <a:pt x="2538223" y="5298"/>
                  </a:cubicBezTo>
                  <a:cubicBezTo>
                    <a:pt x="2558288" y="5298"/>
                    <a:pt x="2558415" y="3450"/>
                    <a:pt x="2578481" y="3450"/>
                  </a:cubicBezTo>
                  <a:cubicBezTo>
                    <a:pt x="2598548" y="3450"/>
                    <a:pt x="2598675" y="3696"/>
                    <a:pt x="2618804" y="3696"/>
                  </a:cubicBezTo>
                  <a:cubicBezTo>
                    <a:pt x="2638869" y="3696"/>
                    <a:pt x="2638996" y="4682"/>
                    <a:pt x="2659189" y="4682"/>
                  </a:cubicBezTo>
                  <a:cubicBezTo>
                    <a:pt x="2679383" y="4682"/>
                    <a:pt x="2679383" y="4312"/>
                    <a:pt x="2699449" y="4312"/>
                  </a:cubicBezTo>
                  <a:cubicBezTo>
                    <a:pt x="2719578" y="4312"/>
                    <a:pt x="2719705" y="6160"/>
                    <a:pt x="2739899" y="6160"/>
                  </a:cubicBezTo>
                  <a:cubicBezTo>
                    <a:pt x="2760091" y="6160"/>
                    <a:pt x="2760091" y="5914"/>
                    <a:pt x="2780157" y="5914"/>
                  </a:cubicBezTo>
                  <a:cubicBezTo>
                    <a:pt x="2800224" y="5914"/>
                    <a:pt x="2800351" y="2957"/>
                    <a:pt x="2820543" y="2957"/>
                  </a:cubicBezTo>
                  <a:cubicBezTo>
                    <a:pt x="2840800" y="2957"/>
                    <a:pt x="2840800" y="4559"/>
                    <a:pt x="2860992" y="4559"/>
                  </a:cubicBezTo>
                  <a:cubicBezTo>
                    <a:pt x="2881186" y="4559"/>
                    <a:pt x="2881059" y="2464"/>
                    <a:pt x="2901252" y="2464"/>
                  </a:cubicBezTo>
                  <a:cubicBezTo>
                    <a:pt x="2921444" y="2464"/>
                    <a:pt x="2921444" y="6037"/>
                    <a:pt x="2941575" y="6037"/>
                  </a:cubicBezTo>
                  <a:cubicBezTo>
                    <a:pt x="2961640" y="6037"/>
                    <a:pt x="2961767" y="6037"/>
                    <a:pt x="2981960" y="6037"/>
                  </a:cubicBezTo>
                  <a:cubicBezTo>
                    <a:pt x="3002153" y="6037"/>
                    <a:pt x="3002153" y="3820"/>
                    <a:pt x="3022283" y="3820"/>
                  </a:cubicBezTo>
                  <a:cubicBezTo>
                    <a:pt x="3042349" y="3820"/>
                    <a:pt x="3042476" y="5914"/>
                    <a:pt x="3062668" y="5914"/>
                  </a:cubicBezTo>
                  <a:cubicBezTo>
                    <a:pt x="3082862" y="5914"/>
                    <a:pt x="3082862" y="2094"/>
                    <a:pt x="3102928" y="2094"/>
                  </a:cubicBezTo>
                  <a:cubicBezTo>
                    <a:pt x="3123057" y="2094"/>
                    <a:pt x="3123184" y="1848"/>
                    <a:pt x="3143376" y="1848"/>
                  </a:cubicBezTo>
                  <a:cubicBezTo>
                    <a:pt x="3163571" y="1848"/>
                    <a:pt x="3163571" y="2711"/>
                    <a:pt x="3183763" y="2711"/>
                  </a:cubicBezTo>
                  <a:cubicBezTo>
                    <a:pt x="3203956" y="2711"/>
                    <a:pt x="3203956" y="246"/>
                    <a:pt x="3224150" y="246"/>
                  </a:cubicBezTo>
                  <a:cubicBezTo>
                    <a:pt x="3244406" y="246"/>
                    <a:pt x="3244406" y="1478"/>
                    <a:pt x="3264599" y="1478"/>
                  </a:cubicBezTo>
                  <a:cubicBezTo>
                    <a:pt x="3284791" y="1478"/>
                    <a:pt x="3284791" y="862"/>
                    <a:pt x="3304985" y="862"/>
                  </a:cubicBezTo>
                  <a:cubicBezTo>
                    <a:pt x="3325178" y="862"/>
                    <a:pt x="3325178" y="2834"/>
                    <a:pt x="3345307" y="2834"/>
                  </a:cubicBezTo>
                  <a:cubicBezTo>
                    <a:pt x="3365374" y="2834"/>
                    <a:pt x="3365501" y="4928"/>
                    <a:pt x="3385693" y="4928"/>
                  </a:cubicBezTo>
                  <a:cubicBezTo>
                    <a:pt x="3405886" y="4928"/>
                    <a:pt x="3405886" y="3450"/>
                    <a:pt x="3426079" y="3450"/>
                  </a:cubicBezTo>
                  <a:cubicBezTo>
                    <a:pt x="3446336" y="3450"/>
                    <a:pt x="3446336" y="4312"/>
                    <a:pt x="3466529" y="4312"/>
                  </a:cubicBezTo>
                  <a:cubicBezTo>
                    <a:pt x="3486721" y="4312"/>
                    <a:pt x="3486721" y="1971"/>
                    <a:pt x="3506914" y="1971"/>
                  </a:cubicBezTo>
                  <a:cubicBezTo>
                    <a:pt x="3527108" y="1971"/>
                    <a:pt x="3527108" y="2464"/>
                    <a:pt x="3547364" y="2464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6EA4F715-8352-0C2C-F1B1-E2838B8186EA}"/>
                </a:ext>
              </a:extLst>
            </p:cNvPr>
            <p:cNvSpPr/>
            <p:nvPr/>
          </p:nvSpPr>
          <p:spPr>
            <a:xfrm>
              <a:off x="6592050" y="574786"/>
              <a:ext cx="9346640" cy="1189131"/>
            </a:xfrm>
            <a:custGeom>
              <a:avLst/>
              <a:gdLst>
                <a:gd name="connsiteX0" fmla="*/ 9346640 w 9346640"/>
                <a:gd name="connsiteY0" fmla="*/ 1155893 h 1189131"/>
                <a:gd name="connsiteX1" fmla="*/ 9316795 w 9346640"/>
                <a:gd name="connsiteY1" fmla="*/ 1128169 h 1189131"/>
                <a:gd name="connsiteX2" fmla="*/ 9288727 w 9346640"/>
                <a:gd name="connsiteY2" fmla="*/ 1098724 h 1189131"/>
                <a:gd name="connsiteX3" fmla="*/ 9260025 w 9346640"/>
                <a:gd name="connsiteY3" fmla="*/ 1069895 h 1189131"/>
                <a:gd name="connsiteX4" fmla="*/ 9232213 w 9346640"/>
                <a:gd name="connsiteY4" fmla="*/ 1040209 h 1189131"/>
                <a:gd name="connsiteX5" fmla="*/ 9202623 w 9346640"/>
                <a:gd name="connsiteY5" fmla="*/ 1012117 h 1189131"/>
                <a:gd name="connsiteX6" fmla="*/ 9174427 w 9346640"/>
                <a:gd name="connsiteY6" fmla="*/ 982792 h 1189131"/>
                <a:gd name="connsiteX7" fmla="*/ 9142487 w 9346640"/>
                <a:gd name="connsiteY7" fmla="*/ 957170 h 1189131"/>
                <a:gd name="connsiteX8" fmla="*/ 9115626 w 9346640"/>
                <a:gd name="connsiteY8" fmla="*/ 926366 h 1189131"/>
                <a:gd name="connsiteX9" fmla="*/ 9084576 w 9346640"/>
                <a:gd name="connsiteY9" fmla="*/ 899880 h 1189131"/>
                <a:gd name="connsiteX10" fmla="*/ 9057969 w 9346640"/>
                <a:gd name="connsiteY10" fmla="*/ 868956 h 1189131"/>
                <a:gd name="connsiteX11" fmla="*/ 9030410 w 9346640"/>
                <a:gd name="connsiteY11" fmla="*/ 838895 h 1189131"/>
                <a:gd name="connsiteX12" fmla="*/ 8999105 w 9346640"/>
                <a:gd name="connsiteY12" fmla="*/ 812530 h 1189131"/>
                <a:gd name="connsiteX13" fmla="*/ 8972499 w 9346640"/>
                <a:gd name="connsiteY13" fmla="*/ 781485 h 1189131"/>
                <a:gd name="connsiteX14" fmla="*/ 8940812 w 9346640"/>
                <a:gd name="connsiteY14" fmla="*/ 755488 h 1189131"/>
                <a:gd name="connsiteX15" fmla="*/ 8915665 w 9346640"/>
                <a:gd name="connsiteY15" fmla="*/ 722963 h 1189131"/>
                <a:gd name="connsiteX16" fmla="*/ 8883788 w 9346640"/>
                <a:gd name="connsiteY16" fmla="*/ 697341 h 1189131"/>
                <a:gd name="connsiteX17" fmla="*/ 8857499 w 9346640"/>
                <a:gd name="connsiteY17" fmla="*/ 666048 h 1189131"/>
                <a:gd name="connsiteX18" fmla="*/ 8827083 w 9346640"/>
                <a:gd name="connsiteY18" fmla="*/ 638940 h 1189131"/>
                <a:gd name="connsiteX19" fmla="*/ 8799016 w 9346640"/>
                <a:gd name="connsiteY19" fmla="*/ 609495 h 1189131"/>
                <a:gd name="connsiteX20" fmla="*/ 8768218 w 9346640"/>
                <a:gd name="connsiteY20" fmla="*/ 582761 h 1189131"/>
                <a:gd name="connsiteX21" fmla="*/ 8740469 w 9346640"/>
                <a:gd name="connsiteY21" fmla="*/ 552948 h 1189131"/>
                <a:gd name="connsiteX22" fmla="*/ 8710307 w 9346640"/>
                <a:gd name="connsiteY22" fmla="*/ 525478 h 1189131"/>
                <a:gd name="connsiteX23" fmla="*/ 8684462 w 9346640"/>
                <a:gd name="connsiteY23" fmla="*/ 493811 h 1189131"/>
                <a:gd name="connsiteX24" fmla="*/ 8652903 w 9346640"/>
                <a:gd name="connsiteY24" fmla="*/ 467820 h 1189131"/>
                <a:gd name="connsiteX25" fmla="*/ 8627630 w 9346640"/>
                <a:gd name="connsiteY25" fmla="*/ 435537 h 1189131"/>
                <a:gd name="connsiteX26" fmla="*/ 8598673 w 9346640"/>
                <a:gd name="connsiteY26" fmla="*/ 406835 h 1189131"/>
                <a:gd name="connsiteX27" fmla="*/ 8569463 w 9346640"/>
                <a:gd name="connsiteY27" fmla="*/ 378374 h 1189131"/>
                <a:gd name="connsiteX28" fmla="*/ 8539048 w 9346640"/>
                <a:gd name="connsiteY28" fmla="*/ 351145 h 1189131"/>
                <a:gd name="connsiteX29" fmla="*/ 8512440 w 9346640"/>
                <a:gd name="connsiteY29" fmla="*/ 320221 h 1189131"/>
                <a:gd name="connsiteX30" fmla="*/ 8481643 w 9346640"/>
                <a:gd name="connsiteY30" fmla="*/ 293366 h 1189131"/>
                <a:gd name="connsiteX31" fmla="*/ 8452051 w 9346640"/>
                <a:gd name="connsiteY31" fmla="*/ 265274 h 1189131"/>
                <a:gd name="connsiteX32" fmla="*/ 8422270 w 9346640"/>
                <a:gd name="connsiteY32" fmla="*/ 237436 h 1189131"/>
                <a:gd name="connsiteX33" fmla="*/ 8396743 w 9346640"/>
                <a:gd name="connsiteY33" fmla="*/ 205279 h 1189131"/>
                <a:gd name="connsiteX34" fmla="*/ 8364739 w 9346640"/>
                <a:gd name="connsiteY34" fmla="*/ 179778 h 1189131"/>
                <a:gd name="connsiteX35" fmla="*/ 8336736 w 9346640"/>
                <a:gd name="connsiteY35" fmla="*/ 150085 h 1189131"/>
                <a:gd name="connsiteX36" fmla="*/ 8306955 w 9346640"/>
                <a:gd name="connsiteY36" fmla="*/ 122240 h 1189131"/>
                <a:gd name="connsiteX37" fmla="*/ 8278951 w 9346640"/>
                <a:gd name="connsiteY37" fmla="*/ 92427 h 1189131"/>
                <a:gd name="connsiteX38" fmla="*/ 8249932 w 9346640"/>
                <a:gd name="connsiteY38" fmla="*/ 63719 h 1189131"/>
                <a:gd name="connsiteX39" fmla="*/ 8223897 w 9346640"/>
                <a:gd name="connsiteY39" fmla="*/ 31934 h 1189131"/>
                <a:gd name="connsiteX40" fmla="*/ 8193480 w 9346640"/>
                <a:gd name="connsiteY40" fmla="*/ 5200 h 1189131"/>
                <a:gd name="connsiteX41" fmla="*/ 8165985 w 9346640"/>
                <a:gd name="connsiteY41" fmla="*/ 34398 h 1189131"/>
                <a:gd name="connsiteX42" fmla="*/ 8135569 w 9346640"/>
                <a:gd name="connsiteY42" fmla="*/ 61382 h 1189131"/>
                <a:gd name="connsiteX43" fmla="*/ 8105660 w 9346640"/>
                <a:gd name="connsiteY43" fmla="*/ 88852 h 1189131"/>
                <a:gd name="connsiteX44" fmla="*/ 8080133 w 9346640"/>
                <a:gd name="connsiteY44" fmla="*/ 120640 h 1189131"/>
                <a:gd name="connsiteX45" fmla="*/ 8051177 w 9346640"/>
                <a:gd name="connsiteY45" fmla="*/ 148974 h 1189131"/>
                <a:gd name="connsiteX46" fmla="*/ 8019300 w 9346640"/>
                <a:gd name="connsiteY46" fmla="*/ 174475 h 1189131"/>
                <a:gd name="connsiteX47" fmla="*/ 7990661 w 9346640"/>
                <a:gd name="connsiteY47" fmla="*/ 203431 h 1189131"/>
                <a:gd name="connsiteX48" fmla="*/ 7963928 w 9346640"/>
                <a:gd name="connsiteY48" fmla="*/ 234108 h 1189131"/>
                <a:gd name="connsiteX49" fmla="*/ 7937004 w 9346640"/>
                <a:gd name="connsiteY49" fmla="*/ 264410 h 1189131"/>
                <a:gd name="connsiteX50" fmla="*/ 7904809 w 9346640"/>
                <a:gd name="connsiteY50" fmla="*/ 289544 h 1189131"/>
                <a:gd name="connsiteX51" fmla="*/ 7878330 w 9346640"/>
                <a:gd name="connsiteY51" fmla="*/ 320468 h 1189131"/>
                <a:gd name="connsiteX52" fmla="*/ 7850262 w 9346640"/>
                <a:gd name="connsiteY52" fmla="*/ 349913 h 1189131"/>
                <a:gd name="connsiteX53" fmla="*/ 7820926 w 9346640"/>
                <a:gd name="connsiteY53" fmla="*/ 378006 h 1189131"/>
                <a:gd name="connsiteX54" fmla="*/ 7791335 w 9346640"/>
                <a:gd name="connsiteY54" fmla="*/ 405850 h 1189131"/>
                <a:gd name="connsiteX55" fmla="*/ 7763267 w 9346640"/>
                <a:gd name="connsiteY55" fmla="*/ 435168 h 1189131"/>
                <a:gd name="connsiteX56" fmla="*/ 7735646 w 9346640"/>
                <a:gd name="connsiteY56" fmla="*/ 464982 h 1189131"/>
                <a:gd name="connsiteX57" fmla="*/ 7707198 w 9346640"/>
                <a:gd name="connsiteY57" fmla="*/ 493937 h 1189131"/>
                <a:gd name="connsiteX58" fmla="*/ 7676654 w 9346640"/>
                <a:gd name="connsiteY58" fmla="*/ 520792 h 1189131"/>
                <a:gd name="connsiteX59" fmla="*/ 7646364 w 9346640"/>
                <a:gd name="connsiteY59" fmla="*/ 548021 h 1189131"/>
                <a:gd name="connsiteX60" fmla="*/ 7617408 w 9346640"/>
                <a:gd name="connsiteY60" fmla="*/ 576354 h 1189131"/>
                <a:gd name="connsiteX61" fmla="*/ 7592898 w 9346640"/>
                <a:gd name="connsiteY61" fmla="*/ 609127 h 1189131"/>
                <a:gd name="connsiteX62" fmla="*/ 7563306 w 9346640"/>
                <a:gd name="connsiteY62" fmla="*/ 636971 h 1189131"/>
                <a:gd name="connsiteX63" fmla="*/ 7533715 w 9346640"/>
                <a:gd name="connsiteY63" fmla="*/ 664816 h 1189131"/>
                <a:gd name="connsiteX64" fmla="*/ 7505649 w 9346640"/>
                <a:gd name="connsiteY64" fmla="*/ 694134 h 1189131"/>
                <a:gd name="connsiteX65" fmla="*/ 7475866 w 9346640"/>
                <a:gd name="connsiteY65" fmla="*/ 721731 h 1189131"/>
                <a:gd name="connsiteX66" fmla="*/ 7447228 w 9346640"/>
                <a:gd name="connsiteY66" fmla="*/ 750560 h 1189131"/>
                <a:gd name="connsiteX67" fmla="*/ 7417701 w 9346640"/>
                <a:gd name="connsiteY67" fmla="*/ 778405 h 1189131"/>
                <a:gd name="connsiteX68" fmla="*/ 7391474 w 9346640"/>
                <a:gd name="connsiteY68" fmla="*/ 809577 h 1189131"/>
                <a:gd name="connsiteX69" fmla="*/ 7359154 w 9346640"/>
                <a:gd name="connsiteY69" fmla="*/ 834710 h 1189131"/>
                <a:gd name="connsiteX70" fmla="*/ 7331213 w 9346640"/>
                <a:gd name="connsiteY70" fmla="*/ 864155 h 1189131"/>
                <a:gd name="connsiteX71" fmla="*/ 7305687 w 9346640"/>
                <a:gd name="connsiteY71" fmla="*/ 896064 h 1189131"/>
                <a:gd name="connsiteX72" fmla="*/ 7273937 w 9346640"/>
                <a:gd name="connsiteY72" fmla="*/ 921686 h 1189131"/>
                <a:gd name="connsiteX73" fmla="*/ 7246950 w 9346640"/>
                <a:gd name="connsiteY73" fmla="*/ 952242 h 1189131"/>
                <a:gd name="connsiteX74" fmla="*/ 7218375 w 9346640"/>
                <a:gd name="connsiteY74" fmla="*/ 981192 h 1189131"/>
                <a:gd name="connsiteX75" fmla="*/ 7188910 w 9346640"/>
                <a:gd name="connsiteY75" fmla="*/ 1009158 h 1189131"/>
                <a:gd name="connsiteX76" fmla="*/ 7161034 w 9346640"/>
                <a:gd name="connsiteY76" fmla="*/ 1038729 h 1189131"/>
                <a:gd name="connsiteX77" fmla="*/ 7132712 w 9346640"/>
                <a:gd name="connsiteY77" fmla="*/ 1067927 h 1189131"/>
                <a:gd name="connsiteX78" fmla="*/ 7101280 w 9346640"/>
                <a:gd name="connsiteY78" fmla="*/ 1094044 h 1189131"/>
                <a:gd name="connsiteX79" fmla="*/ 7071499 w 9346640"/>
                <a:gd name="connsiteY79" fmla="*/ 1121762 h 1189131"/>
                <a:gd name="connsiteX80" fmla="*/ 7046987 w 9346640"/>
                <a:gd name="connsiteY80" fmla="*/ 1154782 h 1189131"/>
                <a:gd name="connsiteX81" fmla="*/ 7017015 w 9346640"/>
                <a:gd name="connsiteY81" fmla="*/ 1183979 h 1189131"/>
                <a:gd name="connsiteX82" fmla="*/ 6975740 w 9346640"/>
                <a:gd name="connsiteY82" fmla="*/ 1184227 h 1189131"/>
                <a:gd name="connsiteX83" fmla="*/ 6935482 w 9346640"/>
                <a:gd name="connsiteY83" fmla="*/ 1178931 h 1189131"/>
                <a:gd name="connsiteX84" fmla="*/ 6895223 w 9346640"/>
                <a:gd name="connsiteY84" fmla="*/ 1181884 h 1189131"/>
                <a:gd name="connsiteX85" fmla="*/ 6854899 w 9346640"/>
                <a:gd name="connsiteY85" fmla="*/ 1181884 h 1189131"/>
                <a:gd name="connsiteX86" fmla="*/ 6814641 w 9346640"/>
                <a:gd name="connsiteY86" fmla="*/ 1182131 h 1189131"/>
                <a:gd name="connsiteX87" fmla="*/ 6774318 w 9346640"/>
                <a:gd name="connsiteY87" fmla="*/ 1182627 h 1189131"/>
                <a:gd name="connsiteX88" fmla="*/ 6734060 w 9346640"/>
                <a:gd name="connsiteY88" fmla="*/ 1178931 h 1189131"/>
                <a:gd name="connsiteX89" fmla="*/ 6693737 w 9346640"/>
                <a:gd name="connsiteY89" fmla="*/ 1180531 h 1189131"/>
                <a:gd name="connsiteX90" fmla="*/ 6653478 w 9346640"/>
                <a:gd name="connsiteY90" fmla="*/ 1182500 h 1189131"/>
                <a:gd name="connsiteX91" fmla="*/ 6613220 w 9346640"/>
                <a:gd name="connsiteY91" fmla="*/ 1180163 h 1189131"/>
                <a:gd name="connsiteX92" fmla="*/ 6572897 w 9346640"/>
                <a:gd name="connsiteY92" fmla="*/ 1181147 h 1189131"/>
                <a:gd name="connsiteX93" fmla="*/ 6532637 w 9346640"/>
                <a:gd name="connsiteY93" fmla="*/ 1179795 h 1189131"/>
                <a:gd name="connsiteX94" fmla="*/ 6492315 w 9346640"/>
                <a:gd name="connsiteY94" fmla="*/ 1182748 h 1189131"/>
                <a:gd name="connsiteX95" fmla="*/ 6452056 w 9346640"/>
                <a:gd name="connsiteY95" fmla="*/ 1182259 h 1189131"/>
                <a:gd name="connsiteX96" fmla="*/ 6411733 w 9346640"/>
                <a:gd name="connsiteY96" fmla="*/ 1181268 h 1189131"/>
                <a:gd name="connsiteX97" fmla="*/ 6371475 w 9346640"/>
                <a:gd name="connsiteY97" fmla="*/ 1180036 h 1189131"/>
                <a:gd name="connsiteX98" fmla="*/ 6331152 w 9346640"/>
                <a:gd name="connsiteY98" fmla="*/ 1179547 h 1189131"/>
                <a:gd name="connsiteX99" fmla="*/ 6290894 w 9346640"/>
                <a:gd name="connsiteY99" fmla="*/ 1180284 h 1189131"/>
                <a:gd name="connsiteX100" fmla="*/ 6250634 w 9346640"/>
                <a:gd name="connsiteY100" fmla="*/ 1180411 h 1189131"/>
                <a:gd name="connsiteX101" fmla="*/ 6210312 w 9346640"/>
                <a:gd name="connsiteY101" fmla="*/ 1181643 h 1189131"/>
                <a:gd name="connsiteX102" fmla="*/ 6170053 w 9346640"/>
                <a:gd name="connsiteY102" fmla="*/ 1183363 h 1189131"/>
                <a:gd name="connsiteX103" fmla="*/ 6129731 w 9346640"/>
                <a:gd name="connsiteY103" fmla="*/ 1181395 h 1189131"/>
                <a:gd name="connsiteX104" fmla="*/ 6089471 w 9346640"/>
                <a:gd name="connsiteY104" fmla="*/ 1184227 h 1189131"/>
                <a:gd name="connsiteX105" fmla="*/ 6049149 w 9346640"/>
                <a:gd name="connsiteY105" fmla="*/ 1181763 h 1189131"/>
                <a:gd name="connsiteX106" fmla="*/ 6008890 w 9346640"/>
                <a:gd name="connsiteY106" fmla="*/ 1178563 h 1189131"/>
                <a:gd name="connsiteX107" fmla="*/ 5968631 w 9346640"/>
                <a:gd name="connsiteY107" fmla="*/ 1180163 h 1189131"/>
                <a:gd name="connsiteX108" fmla="*/ 5928308 w 9346640"/>
                <a:gd name="connsiteY108" fmla="*/ 1182500 h 1189131"/>
                <a:gd name="connsiteX109" fmla="*/ 5888049 w 9346640"/>
                <a:gd name="connsiteY109" fmla="*/ 1180652 h 1189131"/>
                <a:gd name="connsiteX110" fmla="*/ 5847727 w 9346640"/>
                <a:gd name="connsiteY110" fmla="*/ 1181395 h 1189131"/>
                <a:gd name="connsiteX111" fmla="*/ 5807468 w 9346640"/>
                <a:gd name="connsiteY111" fmla="*/ 1179179 h 1189131"/>
                <a:gd name="connsiteX112" fmla="*/ 5767145 w 9346640"/>
                <a:gd name="connsiteY112" fmla="*/ 1182011 h 1189131"/>
                <a:gd name="connsiteX113" fmla="*/ 5726886 w 9346640"/>
                <a:gd name="connsiteY113" fmla="*/ 1181027 h 1189131"/>
                <a:gd name="connsiteX114" fmla="*/ 5686627 w 9346640"/>
                <a:gd name="connsiteY114" fmla="*/ 1181027 h 1189131"/>
                <a:gd name="connsiteX115" fmla="*/ 5646305 w 9346640"/>
                <a:gd name="connsiteY115" fmla="*/ 1181027 h 1189131"/>
                <a:gd name="connsiteX116" fmla="*/ 5606045 w 9346640"/>
                <a:gd name="connsiteY116" fmla="*/ 1181395 h 1189131"/>
                <a:gd name="connsiteX117" fmla="*/ 5565723 w 9346640"/>
                <a:gd name="connsiteY117" fmla="*/ 1179547 h 1189131"/>
                <a:gd name="connsiteX118" fmla="*/ 5525464 w 9346640"/>
                <a:gd name="connsiteY118" fmla="*/ 1179795 h 1189131"/>
                <a:gd name="connsiteX119" fmla="*/ 5485142 w 9346640"/>
                <a:gd name="connsiteY119" fmla="*/ 1180284 h 1189131"/>
                <a:gd name="connsiteX120" fmla="*/ 5444882 w 9346640"/>
                <a:gd name="connsiteY120" fmla="*/ 1179795 h 1189131"/>
                <a:gd name="connsiteX121" fmla="*/ 5404624 w 9346640"/>
                <a:gd name="connsiteY121" fmla="*/ 1179052 h 1189131"/>
                <a:gd name="connsiteX122" fmla="*/ 5364301 w 9346640"/>
                <a:gd name="connsiteY122" fmla="*/ 1178188 h 1189131"/>
                <a:gd name="connsiteX123" fmla="*/ 5324043 w 9346640"/>
                <a:gd name="connsiteY123" fmla="*/ 1180652 h 1189131"/>
                <a:gd name="connsiteX124" fmla="*/ 5283719 w 9346640"/>
                <a:gd name="connsiteY124" fmla="*/ 1179915 h 1189131"/>
                <a:gd name="connsiteX125" fmla="*/ 5243461 w 9346640"/>
                <a:gd name="connsiteY125" fmla="*/ 1182379 h 1189131"/>
                <a:gd name="connsiteX126" fmla="*/ 5203138 w 9346640"/>
                <a:gd name="connsiteY126" fmla="*/ 1179052 h 1189131"/>
                <a:gd name="connsiteX127" fmla="*/ 5162879 w 9346640"/>
                <a:gd name="connsiteY127" fmla="*/ 1179052 h 1189131"/>
                <a:gd name="connsiteX128" fmla="*/ 5122620 w 9346640"/>
                <a:gd name="connsiteY128" fmla="*/ 1178315 h 1189131"/>
                <a:gd name="connsiteX129" fmla="*/ 5082298 w 9346640"/>
                <a:gd name="connsiteY129" fmla="*/ 1183363 h 1189131"/>
                <a:gd name="connsiteX130" fmla="*/ 5042039 w 9346640"/>
                <a:gd name="connsiteY130" fmla="*/ 1180411 h 1189131"/>
                <a:gd name="connsiteX131" fmla="*/ 5001716 w 9346640"/>
                <a:gd name="connsiteY131" fmla="*/ 1181516 h 1189131"/>
                <a:gd name="connsiteX132" fmla="*/ 4961457 w 9346640"/>
                <a:gd name="connsiteY132" fmla="*/ 1179299 h 1189131"/>
                <a:gd name="connsiteX133" fmla="*/ 4921135 w 9346640"/>
                <a:gd name="connsiteY133" fmla="*/ 1179547 h 1189131"/>
                <a:gd name="connsiteX134" fmla="*/ 4880876 w 9346640"/>
                <a:gd name="connsiteY134" fmla="*/ 1181884 h 1189131"/>
                <a:gd name="connsiteX135" fmla="*/ 4840553 w 9346640"/>
                <a:gd name="connsiteY135" fmla="*/ 1183859 h 1189131"/>
                <a:gd name="connsiteX136" fmla="*/ 4800294 w 9346640"/>
                <a:gd name="connsiteY136" fmla="*/ 1179299 h 1189131"/>
                <a:gd name="connsiteX137" fmla="*/ 4760035 w 9346640"/>
                <a:gd name="connsiteY137" fmla="*/ 1182500 h 1189131"/>
                <a:gd name="connsiteX138" fmla="*/ 4719713 w 9346640"/>
                <a:gd name="connsiteY138" fmla="*/ 1179547 h 1189131"/>
                <a:gd name="connsiteX139" fmla="*/ 4679454 w 9346640"/>
                <a:gd name="connsiteY139" fmla="*/ 1182995 h 1189131"/>
                <a:gd name="connsiteX140" fmla="*/ 4639131 w 9346640"/>
                <a:gd name="connsiteY140" fmla="*/ 1180411 h 1189131"/>
                <a:gd name="connsiteX141" fmla="*/ 4598872 w 9346640"/>
                <a:gd name="connsiteY141" fmla="*/ 1178931 h 1189131"/>
                <a:gd name="connsiteX142" fmla="*/ 4558550 w 9346640"/>
                <a:gd name="connsiteY142" fmla="*/ 1181027 h 1189131"/>
                <a:gd name="connsiteX143" fmla="*/ 4518291 w 9346640"/>
                <a:gd name="connsiteY143" fmla="*/ 1183611 h 1189131"/>
                <a:gd name="connsiteX144" fmla="*/ 4478031 w 9346640"/>
                <a:gd name="connsiteY144" fmla="*/ 1183116 h 1189131"/>
                <a:gd name="connsiteX145" fmla="*/ 4437709 w 9346640"/>
                <a:gd name="connsiteY145" fmla="*/ 1178068 h 1189131"/>
                <a:gd name="connsiteX146" fmla="*/ 4397450 w 9346640"/>
                <a:gd name="connsiteY146" fmla="*/ 1179299 h 1189131"/>
                <a:gd name="connsiteX147" fmla="*/ 4357128 w 9346640"/>
                <a:gd name="connsiteY147" fmla="*/ 1183859 h 1189131"/>
                <a:gd name="connsiteX148" fmla="*/ 4316868 w 9346640"/>
                <a:gd name="connsiteY148" fmla="*/ 1180284 h 1189131"/>
                <a:gd name="connsiteX149" fmla="*/ 4276546 w 9346640"/>
                <a:gd name="connsiteY149" fmla="*/ 1179299 h 1189131"/>
                <a:gd name="connsiteX150" fmla="*/ 4236287 w 9346640"/>
                <a:gd name="connsiteY150" fmla="*/ 1183611 h 1189131"/>
                <a:gd name="connsiteX151" fmla="*/ 4196028 w 9346640"/>
                <a:gd name="connsiteY151" fmla="*/ 1180411 h 1189131"/>
                <a:gd name="connsiteX152" fmla="*/ 4155706 w 9346640"/>
                <a:gd name="connsiteY152" fmla="*/ 1183732 h 1189131"/>
                <a:gd name="connsiteX153" fmla="*/ 4115446 w 9346640"/>
                <a:gd name="connsiteY153" fmla="*/ 1179795 h 1189131"/>
                <a:gd name="connsiteX154" fmla="*/ 4075124 w 9346640"/>
                <a:gd name="connsiteY154" fmla="*/ 1178188 h 1189131"/>
                <a:gd name="connsiteX155" fmla="*/ 4034865 w 9346640"/>
                <a:gd name="connsiteY155" fmla="*/ 1182627 h 1189131"/>
                <a:gd name="connsiteX156" fmla="*/ 3994543 w 9346640"/>
                <a:gd name="connsiteY156" fmla="*/ 1181516 h 1189131"/>
                <a:gd name="connsiteX157" fmla="*/ 3954283 w 9346640"/>
                <a:gd name="connsiteY157" fmla="*/ 1178563 h 1189131"/>
                <a:gd name="connsiteX158" fmla="*/ 3914025 w 9346640"/>
                <a:gd name="connsiteY158" fmla="*/ 1182379 h 1189131"/>
                <a:gd name="connsiteX159" fmla="*/ 3873702 w 9346640"/>
                <a:gd name="connsiteY159" fmla="*/ 1182379 h 1189131"/>
                <a:gd name="connsiteX160" fmla="*/ 3833443 w 9346640"/>
                <a:gd name="connsiteY160" fmla="*/ 1180779 h 1189131"/>
                <a:gd name="connsiteX161" fmla="*/ 3793120 w 9346640"/>
                <a:gd name="connsiteY161" fmla="*/ 1178188 h 1189131"/>
                <a:gd name="connsiteX162" fmla="*/ 3752862 w 9346640"/>
                <a:gd name="connsiteY162" fmla="*/ 1183116 h 1189131"/>
                <a:gd name="connsiteX163" fmla="*/ 3712539 w 9346640"/>
                <a:gd name="connsiteY163" fmla="*/ 1182131 h 1189131"/>
                <a:gd name="connsiteX164" fmla="*/ 3672280 w 9346640"/>
                <a:gd name="connsiteY164" fmla="*/ 1178068 h 1189131"/>
                <a:gd name="connsiteX165" fmla="*/ 3631957 w 9346640"/>
                <a:gd name="connsiteY165" fmla="*/ 1179795 h 1189131"/>
                <a:gd name="connsiteX166" fmla="*/ 3591699 w 9346640"/>
                <a:gd name="connsiteY166" fmla="*/ 1181643 h 1189131"/>
                <a:gd name="connsiteX167" fmla="*/ 3551440 w 9346640"/>
                <a:gd name="connsiteY167" fmla="*/ 1182500 h 1189131"/>
                <a:gd name="connsiteX168" fmla="*/ 3511117 w 9346640"/>
                <a:gd name="connsiteY168" fmla="*/ 1181643 h 1189131"/>
                <a:gd name="connsiteX169" fmla="*/ 3470858 w 9346640"/>
                <a:gd name="connsiteY169" fmla="*/ 1183243 h 1189131"/>
                <a:gd name="connsiteX170" fmla="*/ 3430535 w 9346640"/>
                <a:gd name="connsiteY170" fmla="*/ 1180652 h 1189131"/>
                <a:gd name="connsiteX171" fmla="*/ 3390277 w 9346640"/>
                <a:gd name="connsiteY171" fmla="*/ 1178683 h 1189131"/>
                <a:gd name="connsiteX172" fmla="*/ 3349954 w 9346640"/>
                <a:gd name="connsiteY172" fmla="*/ 1178188 h 1189131"/>
                <a:gd name="connsiteX173" fmla="*/ 3309695 w 9346640"/>
                <a:gd name="connsiteY173" fmla="*/ 1182500 h 1189131"/>
                <a:gd name="connsiteX174" fmla="*/ 3269436 w 9346640"/>
                <a:gd name="connsiteY174" fmla="*/ 1181643 h 1189131"/>
                <a:gd name="connsiteX175" fmla="*/ 3229114 w 9346640"/>
                <a:gd name="connsiteY175" fmla="*/ 1182995 h 1189131"/>
                <a:gd name="connsiteX176" fmla="*/ 3188855 w 9346640"/>
                <a:gd name="connsiteY176" fmla="*/ 1178315 h 1189131"/>
                <a:gd name="connsiteX177" fmla="*/ 3148532 w 9346640"/>
                <a:gd name="connsiteY177" fmla="*/ 1180779 h 1189131"/>
                <a:gd name="connsiteX178" fmla="*/ 3108273 w 9346640"/>
                <a:gd name="connsiteY178" fmla="*/ 1177820 h 1189131"/>
                <a:gd name="connsiteX179" fmla="*/ 3067951 w 9346640"/>
                <a:gd name="connsiteY179" fmla="*/ 1180163 h 1189131"/>
                <a:gd name="connsiteX180" fmla="*/ 3027692 w 9346640"/>
                <a:gd name="connsiteY180" fmla="*/ 1179668 h 1189131"/>
                <a:gd name="connsiteX181" fmla="*/ 2987432 w 9346640"/>
                <a:gd name="connsiteY181" fmla="*/ 1177699 h 1189131"/>
                <a:gd name="connsiteX182" fmla="*/ 2947110 w 9346640"/>
                <a:gd name="connsiteY182" fmla="*/ 1182627 h 1189131"/>
                <a:gd name="connsiteX183" fmla="*/ 2906851 w 9346640"/>
                <a:gd name="connsiteY183" fmla="*/ 1182379 h 1189131"/>
                <a:gd name="connsiteX184" fmla="*/ 2866529 w 9346640"/>
                <a:gd name="connsiteY184" fmla="*/ 1181643 h 1189131"/>
                <a:gd name="connsiteX185" fmla="*/ 2826269 w 9346640"/>
                <a:gd name="connsiteY185" fmla="*/ 1178683 h 1189131"/>
                <a:gd name="connsiteX186" fmla="*/ 2785947 w 9346640"/>
                <a:gd name="connsiteY186" fmla="*/ 1180652 h 1189131"/>
                <a:gd name="connsiteX187" fmla="*/ 2745688 w 9346640"/>
                <a:gd name="connsiteY187" fmla="*/ 1178683 h 1189131"/>
                <a:gd name="connsiteX188" fmla="*/ 2705429 w 9346640"/>
                <a:gd name="connsiteY188" fmla="*/ 1182259 h 1189131"/>
                <a:gd name="connsiteX189" fmla="*/ 2665106 w 9346640"/>
                <a:gd name="connsiteY189" fmla="*/ 1177572 h 1189131"/>
                <a:gd name="connsiteX190" fmla="*/ 2624847 w 9346640"/>
                <a:gd name="connsiteY190" fmla="*/ 1181884 h 1189131"/>
                <a:gd name="connsiteX191" fmla="*/ 2584525 w 9346640"/>
                <a:gd name="connsiteY191" fmla="*/ 1183243 h 1189131"/>
                <a:gd name="connsiteX192" fmla="*/ 2544266 w 9346640"/>
                <a:gd name="connsiteY192" fmla="*/ 1181516 h 1189131"/>
                <a:gd name="connsiteX193" fmla="*/ 2503943 w 9346640"/>
                <a:gd name="connsiteY193" fmla="*/ 1182995 h 1189131"/>
                <a:gd name="connsiteX194" fmla="*/ 2463684 w 9346640"/>
                <a:gd name="connsiteY194" fmla="*/ 1180531 h 1189131"/>
                <a:gd name="connsiteX195" fmla="*/ 2423362 w 9346640"/>
                <a:gd name="connsiteY195" fmla="*/ 1182500 h 1189131"/>
                <a:gd name="connsiteX196" fmla="*/ 2383103 w 9346640"/>
                <a:gd name="connsiteY196" fmla="*/ 1182131 h 1189131"/>
                <a:gd name="connsiteX197" fmla="*/ 2342844 w 9346640"/>
                <a:gd name="connsiteY197" fmla="*/ 1181516 h 1189131"/>
                <a:gd name="connsiteX198" fmla="*/ 2302521 w 9346640"/>
                <a:gd name="connsiteY198" fmla="*/ 1179795 h 1189131"/>
                <a:gd name="connsiteX199" fmla="*/ 2262263 w 9346640"/>
                <a:gd name="connsiteY199" fmla="*/ 1180163 h 1189131"/>
                <a:gd name="connsiteX200" fmla="*/ 2221940 w 9346640"/>
                <a:gd name="connsiteY200" fmla="*/ 1182131 h 1189131"/>
                <a:gd name="connsiteX201" fmla="*/ 2181681 w 9346640"/>
                <a:gd name="connsiteY201" fmla="*/ 1178188 h 1189131"/>
                <a:gd name="connsiteX202" fmla="*/ 2141358 w 9346640"/>
                <a:gd name="connsiteY202" fmla="*/ 1178188 h 1189131"/>
                <a:gd name="connsiteX203" fmla="*/ 2101100 w 9346640"/>
                <a:gd name="connsiteY203" fmla="*/ 1177452 h 1189131"/>
                <a:gd name="connsiteX204" fmla="*/ 2060841 w 9346640"/>
                <a:gd name="connsiteY204" fmla="*/ 1180284 h 1189131"/>
                <a:gd name="connsiteX205" fmla="*/ 2020518 w 9346640"/>
                <a:gd name="connsiteY205" fmla="*/ 1182500 h 1189131"/>
                <a:gd name="connsiteX206" fmla="*/ 1980259 w 9346640"/>
                <a:gd name="connsiteY206" fmla="*/ 1178683 h 1189131"/>
                <a:gd name="connsiteX207" fmla="*/ 1939936 w 9346640"/>
                <a:gd name="connsiteY207" fmla="*/ 1181763 h 1189131"/>
                <a:gd name="connsiteX208" fmla="*/ 1899551 w 9346640"/>
                <a:gd name="connsiteY208" fmla="*/ 1182995 h 1189131"/>
                <a:gd name="connsiteX209" fmla="*/ 1859228 w 9346640"/>
                <a:gd name="connsiteY209" fmla="*/ 1179179 h 1189131"/>
                <a:gd name="connsiteX210" fmla="*/ 1818969 w 9346640"/>
                <a:gd name="connsiteY210" fmla="*/ 1177699 h 1189131"/>
                <a:gd name="connsiteX211" fmla="*/ 1778710 w 9346640"/>
                <a:gd name="connsiteY211" fmla="*/ 1179668 h 1189131"/>
                <a:gd name="connsiteX212" fmla="*/ 1738388 w 9346640"/>
                <a:gd name="connsiteY212" fmla="*/ 1178563 h 1189131"/>
                <a:gd name="connsiteX213" fmla="*/ 1698129 w 9346640"/>
                <a:gd name="connsiteY213" fmla="*/ 1177820 h 1189131"/>
                <a:gd name="connsiteX214" fmla="*/ 1657806 w 9346640"/>
                <a:gd name="connsiteY214" fmla="*/ 1177572 h 1189131"/>
                <a:gd name="connsiteX215" fmla="*/ 1617547 w 9346640"/>
                <a:gd name="connsiteY215" fmla="*/ 1181395 h 1189131"/>
                <a:gd name="connsiteX216" fmla="*/ 1577225 w 9346640"/>
                <a:gd name="connsiteY216" fmla="*/ 1177947 h 1189131"/>
                <a:gd name="connsiteX217" fmla="*/ 1536966 w 9346640"/>
                <a:gd name="connsiteY217" fmla="*/ 1181147 h 1189131"/>
                <a:gd name="connsiteX218" fmla="*/ 1496706 w 9346640"/>
                <a:gd name="connsiteY218" fmla="*/ 1180411 h 1189131"/>
                <a:gd name="connsiteX219" fmla="*/ 1456384 w 9346640"/>
                <a:gd name="connsiteY219" fmla="*/ 1179179 h 1189131"/>
                <a:gd name="connsiteX220" fmla="*/ 1416125 w 9346640"/>
                <a:gd name="connsiteY220" fmla="*/ 1182995 h 1189131"/>
                <a:gd name="connsiteX221" fmla="*/ 1375676 w 9346640"/>
                <a:gd name="connsiteY221" fmla="*/ 1177331 h 1189131"/>
                <a:gd name="connsiteX222" fmla="*/ 1335417 w 9346640"/>
                <a:gd name="connsiteY222" fmla="*/ 1179299 h 1189131"/>
                <a:gd name="connsiteX223" fmla="*/ 1295094 w 9346640"/>
                <a:gd name="connsiteY223" fmla="*/ 1181147 h 1189131"/>
                <a:gd name="connsiteX224" fmla="*/ 1254835 w 9346640"/>
                <a:gd name="connsiteY224" fmla="*/ 1181395 h 1189131"/>
                <a:gd name="connsiteX225" fmla="*/ 1214576 w 9346640"/>
                <a:gd name="connsiteY225" fmla="*/ 1183491 h 1189131"/>
                <a:gd name="connsiteX226" fmla="*/ 1174127 w 9346640"/>
                <a:gd name="connsiteY226" fmla="*/ 1181516 h 1189131"/>
                <a:gd name="connsiteX227" fmla="*/ 1133868 w 9346640"/>
                <a:gd name="connsiteY227" fmla="*/ 1182627 h 1189131"/>
                <a:gd name="connsiteX228" fmla="*/ 1093545 w 9346640"/>
                <a:gd name="connsiteY228" fmla="*/ 1177452 h 1189131"/>
                <a:gd name="connsiteX229" fmla="*/ 1053159 w 9346640"/>
                <a:gd name="connsiteY229" fmla="*/ 1178683 h 1189131"/>
                <a:gd name="connsiteX230" fmla="*/ 1012773 w 9346640"/>
                <a:gd name="connsiteY230" fmla="*/ 1180284 h 1189131"/>
                <a:gd name="connsiteX231" fmla="*/ 972451 w 9346640"/>
                <a:gd name="connsiteY231" fmla="*/ 1182259 h 1189131"/>
                <a:gd name="connsiteX232" fmla="*/ 932065 w 9346640"/>
                <a:gd name="connsiteY232" fmla="*/ 1179547 h 1189131"/>
                <a:gd name="connsiteX233" fmla="*/ 891615 w 9346640"/>
                <a:gd name="connsiteY233" fmla="*/ 1177572 h 1189131"/>
                <a:gd name="connsiteX234" fmla="*/ 851229 w 9346640"/>
                <a:gd name="connsiteY234" fmla="*/ 1183491 h 1189131"/>
                <a:gd name="connsiteX235" fmla="*/ 810843 w 9346640"/>
                <a:gd name="connsiteY235" fmla="*/ 1182748 h 1189131"/>
                <a:gd name="connsiteX236" fmla="*/ 770393 w 9346640"/>
                <a:gd name="connsiteY236" fmla="*/ 1183243 h 1189131"/>
                <a:gd name="connsiteX237" fmla="*/ 730007 w 9346640"/>
                <a:gd name="connsiteY237" fmla="*/ 1182379 h 1189131"/>
                <a:gd name="connsiteX238" fmla="*/ 689621 w 9346640"/>
                <a:gd name="connsiteY238" fmla="*/ 1179052 h 1189131"/>
                <a:gd name="connsiteX239" fmla="*/ 649299 w 9346640"/>
                <a:gd name="connsiteY239" fmla="*/ 1179795 h 1189131"/>
                <a:gd name="connsiteX240" fmla="*/ 609040 w 9346640"/>
                <a:gd name="connsiteY240" fmla="*/ 1182259 h 1189131"/>
                <a:gd name="connsiteX241" fmla="*/ 568591 w 9346640"/>
                <a:gd name="connsiteY241" fmla="*/ 1178068 h 1189131"/>
                <a:gd name="connsiteX242" fmla="*/ 528331 w 9346640"/>
                <a:gd name="connsiteY242" fmla="*/ 1181516 h 1189131"/>
                <a:gd name="connsiteX243" fmla="*/ 487945 w 9346640"/>
                <a:gd name="connsiteY243" fmla="*/ 1177572 h 1189131"/>
                <a:gd name="connsiteX244" fmla="*/ 447496 w 9346640"/>
                <a:gd name="connsiteY244" fmla="*/ 1179052 h 1189131"/>
                <a:gd name="connsiteX245" fmla="*/ 407110 w 9346640"/>
                <a:gd name="connsiteY245" fmla="*/ 1181884 h 1189131"/>
                <a:gd name="connsiteX246" fmla="*/ 366660 w 9346640"/>
                <a:gd name="connsiteY246" fmla="*/ 1180284 h 1189131"/>
                <a:gd name="connsiteX247" fmla="*/ 326274 w 9346640"/>
                <a:gd name="connsiteY247" fmla="*/ 1179547 h 1189131"/>
                <a:gd name="connsiteX248" fmla="*/ 285889 w 9346640"/>
                <a:gd name="connsiteY248" fmla="*/ 1182995 h 1189131"/>
                <a:gd name="connsiteX249" fmla="*/ 245439 w 9346640"/>
                <a:gd name="connsiteY249" fmla="*/ 1182748 h 1189131"/>
                <a:gd name="connsiteX250" fmla="*/ 205053 w 9346640"/>
                <a:gd name="connsiteY250" fmla="*/ 1179795 h 1189131"/>
                <a:gd name="connsiteX251" fmla="*/ 164667 w 9346640"/>
                <a:gd name="connsiteY251" fmla="*/ 1179547 h 1189131"/>
                <a:gd name="connsiteX252" fmla="*/ 124218 w 9346640"/>
                <a:gd name="connsiteY252" fmla="*/ 1181147 h 1189131"/>
                <a:gd name="connsiteX253" fmla="*/ 83831 w 9346640"/>
                <a:gd name="connsiteY253" fmla="*/ 1180531 h 1189131"/>
                <a:gd name="connsiteX254" fmla="*/ 43255 w 9346640"/>
                <a:gd name="connsiteY254" fmla="*/ 1180163 h 1189131"/>
                <a:gd name="connsiteX255" fmla="*/ 1535 w 9346640"/>
                <a:gd name="connsiteY255" fmla="*/ 1181027 h 1189131"/>
                <a:gd name="connsiteX256" fmla="*/ 31444 w 9346640"/>
                <a:gd name="connsiteY256" fmla="*/ 1151823 h 1189131"/>
                <a:gd name="connsiteX257" fmla="*/ 61162 w 9346640"/>
                <a:gd name="connsiteY257" fmla="*/ 1124105 h 1189131"/>
                <a:gd name="connsiteX258" fmla="*/ 87133 w 9346640"/>
                <a:gd name="connsiteY258" fmla="*/ 1092813 h 1189131"/>
                <a:gd name="connsiteX259" fmla="*/ 118312 w 9346640"/>
                <a:gd name="connsiteY259" fmla="*/ 1066695 h 1189131"/>
                <a:gd name="connsiteX260" fmla="*/ 144665 w 9346640"/>
                <a:gd name="connsiteY260" fmla="*/ 1035770 h 1189131"/>
                <a:gd name="connsiteX261" fmla="*/ 173874 w 9346640"/>
                <a:gd name="connsiteY261" fmla="*/ 1007557 h 1189131"/>
                <a:gd name="connsiteX262" fmla="*/ 205434 w 9346640"/>
                <a:gd name="connsiteY262" fmla="*/ 981687 h 1189131"/>
                <a:gd name="connsiteX263" fmla="*/ 231659 w 9346640"/>
                <a:gd name="connsiteY263" fmla="*/ 950515 h 1189131"/>
                <a:gd name="connsiteX264" fmla="*/ 258774 w 9346640"/>
                <a:gd name="connsiteY264" fmla="*/ 920207 h 1189131"/>
                <a:gd name="connsiteX265" fmla="*/ 289826 w 9346640"/>
                <a:gd name="connsiteY265" fmla="*/ 893841 h 1189131"/>
                <a:gd name="connsiteX266" fmla="*/ 316178 w 9346640"/>
                <a:gd name="connsiteY266" fmla="*/ 862796 h 1189131"/>
                <a:gd name="connsiteX267" fmla="*/ 345959 w 9346640"/>
                <a:gd name="connsiteY267" fmla="*/ 835199 h 1189131"/>
                <a:gd name="connsiteX268" fmla="*/ 376693 w 9346640"/>
                <a:gd name="connsiteY268" fmla="*/ 808466 h 1189131"/>
                <a:gd name="connsiteX269" fmla="*/ 406348 w 9346640"/>
                <a:gd name="connsiteY269" fmla="*/ 780748 h 1189131"/>
                <a:gd name="connsiteX270" fmla="*/ 432828 w 9346640"/>
                <a:gd name="connsiteY270" fmla="*/ 749824 h 1189131"/>
                <a:gd name="connsiteX271" fmla="*/ 460196 w 9346640"/>
                <a:gd name="connsiteY271" fmla="*/ 719763 h 1189131"/>
                <a:gd name="connsiteX272" fmla="*/ 491502 w 9346640"/>
                <a:gd name="connsiteY272" fmla="*/ 693645 h 1189131"/>
                <a:gd name="connsiteX273" fmla="*/ 520902 w 9346640"/>
                <a:gd name="connsiteY273" fmla="*/ 665680 h 1189131"/>
                <a:gd name="connsiteX274" fmla="*/ 547572 w 9346640"/>
                <a:gd name="connsiteY274" fmla="*/ 634876 h 1189131"/>
                <a:gd name="connsiteX275" fmla="*/ 577861 w 9346640"/>
                <a:gd name="connsiteY275" fmla="*/ 607895 h 1189131"/>
                <a:gd name="connsiteX276" fmla="*/ 605802 w 9346640"/>
                <a:gd name="connsiteY276" fmla="*/ 578577 h 1189131"/>
                <a:gd name="connsiteX277" fmla="*/ 635393 w 9346640"/>
                <a:gd name="connsiteY277" fmla="*/ 550732 h 1189131"/>
                <a:gd name="connsiteX278" fmla="*/ 661872 w 9346640"/>
                <a:gd name="connsiteY278" fmla="*/ 519807 h 1189131"/>
                <a:gd name="connsiteX279" fmla="*/ 692289 w 9346640"/>
                <a:gd name="connsiteY279" fmla="*/ 492826 h 1189131"/>
                <a:gd name="connsiteX280" fmla="*/ 719022 w 9346640"/>
                <a:gd name="connsiteY280" fmla="*/ 462149 h 1189131"/>
                <a:gd name="connsiteX281" fmla="*/ 748740 w 9346640"/>
                <a:gd name="connsiteY281" fmla="*/ 434552 h 1189131"/>
                <a:gd name="connsiteX282" fmla="*/ 776299 w 9346640"/>
                <a:gd name="connsiteY282" fmla="*/ 404739 h 1189131"/>
                <a:gd name="connsiteX283" fmla="*/ 807731 w 9346640"/>
                <a:gd name="connsiteY283" fmla="*/ 378742 h 1189131"/>
                <a:gd name="connsiteX284" fmla="*/ 833258 w 9346640"/>
                <a:gd name="connsiteY284" fmla="*/ 346713 h 1189131"/>
                <a:gd name="connsiteX285" fmla="*/ 862342 w 9346640"/>
                <a:gd name="connsiteY285" fmla="*/ 318373 h 1189131"/>
                <a:gd name="connsiteX286" fmla="*/ 891170 w 9346640"/>
                <a:gd name="connsiteY286" fmla="*/ 289791 h 1189131"/>
                <a:gd name="connsiteX287" fmla="*/ 921714 w 9346640"/>
                <a:gd name="connsiteY287" fmla="*/ 262937 h 1189131"/>
                <a:gd name="connsiteX288" fmla="*/ 951051 w 9346640"/>
                <a:gd name="connsiteY288" fmla="*/ 234845 h 1189131"/>
                <a:gd name="connsiteX289" fmla="*/ 980452 w 9346640"/>
                <a:gd name="connsiteY289" fmla="*/ 206759 h 1189131"/>
                <a:gd name="connsiteX290" fmla="*/ 1005343 w 9346640"/>
                <a:gd name="connsiteY290" fmla="*/ 174228 h 1189131"/>
                <a:gd name="connsiteX291" fmla="*/ 1036903 w 9346640"/>
                <a:gd name="connsiteY291" fmla="*/ 148237 h 1189131"/>
                <a:gd name="connsiteX292" fmla="*/ 1063636 w 9346640"/>
                <a:gd name="connsiteY292" fmla="*/ 117433 h 1189131"/>
                <a:gd name="connsiteX293" fmla="*/ 1092084 w 9346640"/>
                <a:gd name="connsiteY293" fmla="*/ 88363 h 1189131"/>
                <a:gd name="connsiteX294" fmla="*/ 1123644 w 9346640"/>
                <a:gd name="connsiteY294" fmla="*/ 62366 h 1189131"/>
                <a:gd name="connsiteX295" fmla="*/ 1148981 w 9346640"/>
                <a:gd name="connsiteY295" fmla="*/ 30087 h 1189131"/>
                <a:gd name="connsiteX296" fmla="*/ 1180159 w 9346640"/>
                <a:gd name="connsiteY296" fmla="*/ 4091 h 1189131"/>
                <a:gd name="connsiteX297" fmla="*/ 1219973 w 9346640"/>
                <a:gd name="connsiteY297" fmla="*/ 1997 h 1189131"/>
                <a:gd name="connsiteX298" fmla="*/ 1260106 w 9346640"/>
                <a:gd name="connsiteY298" fmla="*/ 4091 h 1189131"/>
                <a:gd name="connsiteX299" fmla="*/ 1300301 w 9346640"/>
                <a:gd name="connsiteY299" fmla="*/ 4830 h 1189131"/>
                <a:gd name="connsiteX300" fmla="*/ 1340433 w 9346640"/>
                <a:gd name="connsiteY300" fmla="*/ 1258 h 1189131"/>
                <a:gd name="connsiteX301" fmla="*/ 1380629 w 9346640"/>
                <a:gd name="connsiteY301" fmla="*/ 1011 h 1189131"/>
                <a:gd name="connsiteX302" fmla="*/ 1420760 w 9346640"/>
                <a:gd name="connsiteY302" fmla="*/ 2120 h 1189131"/>
                <a:gd name="connsiteX303" fmla="*/ 1460956 w 9346640"/>
                <a:gd name="connsiteY303" fmla="*/ 4091 h 1189131"/>
                <a:gd name="connsiteX304" fmla="*/ 1501088 w 9346640"/>
                <a:gd name="connsiteY304" fmla="*/ 642 h 1189131"/>
                <a:gd name="connsiteX305" fmla="*/ 1541283 w 9346640"/>
                <a:gd name="connsiteY305" fmla="*/ 1381 h 1189131"/>
                <a:gd name="connsiteX306" fmla="*/ 1581416 w 9346640"/>
                <a:gd name="connsiteY306" fmla="*/ 1873 h 1189131"/>
                <a:gd name="connsiteX307" fmla="*/ 1621611 w 9346640"/>
                <a:gd name="connsiteY307" fmla="*/ 3968 h 1189131"/>
                <a:gd name="connsiteX308" fmla="*/ 1661743 w 9346640"/>
                <a:gd name="connsiteY308" fmla="*/ 1134 h 1189131"/>
                <a:gd name="connsiteX309" fmla="*/ 1701939 w 9346640"/>
                <a:gd name="connsiteY309" fmla="*/ 3105 h 1189131"/>
                <a:gd name="connsiteX310" fmla="*/ 1742070 w 9346640"/>
                <a:gd name="connsiteY310" fmla="*/ 5939 h 1189131"/>
                <a:gd name="connsiteX311" fmla="*/ 1782266 w 9346640"/>
                <a:gd name="connsiteY311" fmla="*/ 6309 h 1189131"/>
                <a:gd name="connsiteX312" fmla="*/ 1822398 w 9346640"/>
                <a:gd name="connsiteY312" fmla="*/ 4707 h 1189131"/>
                <a:gd name="connsiteX313" fmla="*/ 1862467 w 9346640"/>
                <a:gd name="connsiteY313" fmla="*/ 3229 h 1189131"/>
                <a:gd name="connsiteX314" fmla="*/ 1902471 w 9346640"/>
                <a:gd name="connsiteY314" fmla="*/ 3229 h 1189131"/>
                <a:gd name="connsiteX315" fmla="*/ 1942540 w 9346640"/>
                <a:gd name="connsiteY315" fmla="*/ 5200 h 1189131"/>
                <a:gd name="connsiteX316" fmla="*/ 1982608 w 9346640"/>
                <a:gd name="connsiteY316" fmla="*/ 4091 h 1189131"/>
                <a:gd name="connsiteX317" fmla="*/ 2022614 w 9346640"/>
                <a:gd name="connsiteY317" fmla="*/ 5692 h 1189131"/>
                <a:gd name="connsiteX318" fmla="*/ 2062682 w 9346640"/>
                <a:gd name="connsiteY318" fmla="*/ 1873 h 1189131"/>
                <a:gd name="connsiteX319" fmla="*/ 2102814 w 9346640"/>
                <a:gd name="connsiteY319" fmla="*/ 1873 h 1189131"/>
                <a:gd name="connsiteX320" fmla="*/ 2143009 w 9346640"/>
                <a:gd name="connsiteY320" fmla="*/ 888 h 1189131"/>
                <a:gd name="connsiteX321" fmla="*/ 2183142 w 9346640"/>
                <a:gd name="connsiteY321" fmla="*/ 5816 h 1189131"/>
                <a:gd name="connsiteX322" fmla="*/ 2223337 w 9346640"/>
                <a:gd name="connsiteY322" fmla="*/ 765 h 1189131"/>
                <a:gd name="connsiteX323" fmla="*/ 2263342 w 9346640"/>
                <a:gd name="connsiteY323" fmla="*/ 2489 h 1189131"/>
                <a:gd name="connsiteX324" fmla="*/ 2303410 w 9346640"/>
                <a:gd name="connsiteY324" fmla="*/ 518 h 1189131"/>
                <a:gd name="connsiteX325" fmla="*/ 2343416 w 9346640"/>
                <a:gd name="connsiteY325" fmla="*/ 5569 h 1189131"/>
                <a:gd name="connsiteX326" fmla="*/ 2383611 w 9346640"/>
                <a:gd name="connsiteY326" fmla="*/ 2613 h 1189131"/>
                <a:gd name="connsiteX327" fmla="*/ 2423743 w 9346640"/>
                <a:gd name="connsiteY327" fmla="*/ 6432 h 1189131"/>
                <a:gd name="connsiteX328" fmla="*/ 2463939 w 9346640"/>
                <a:gd name="connsiteY328" fmla="*/ 5076 h 1189131"/>
                <a:gd name="connsiteX329" fmla="*/ 2504070 w 9346640"/>
                <a:gd name="connsiteY329" fmla="*/ 2859 h 1189131"/>
                <a:gd name="connsiteX330" fmla="*/ 2544266 w 9346640"/>
                <a:gd name="connsiteY330" fmla="*/ 1750 h 1189131"/>
                <a:gd name="connsiteX331" fmla="*/ 2584398 w 9346640"/>
                <a:gd name="connsiteY331" fmla="*/ 1011 h 1189131"/>
                <a:gd name="connsiteX332" fmla="*/ 2624593 w 9346640"/>
                <a:gd name="connsiteY332" fmla="*/ 3229 h 1189131"/>
                <a:gd name="connsiteX333" fmla="*/ 2664726 w 9346640"/>
                <a:gd name="connsiteY333" fmla="*/ 3598 h 1189131"/>
                <a:gd name="connsiteX334" fmla="*/ 2704921 w 9346640"/>
                <a:gd name="connsiteY334" fmla="*/ 6063 h 1189131"/>
                <a:gd name="connsiteX335" fmla="*/ 2745053 w 9346640"/>
                <a:gd name="connsiteY335" fmla="*/ 4707 h 1189131"/>
                <a:gd name="connsiteX336" fmla="*/ 2785249 w 9346640"/>
                <a:gd name="connsiteY336" fmla="*/ 3845 h 1189131"/>
                <a:gd name="connsiteX337" fmla="*/ 2825381 w 9346640"/>
                <a:gd name="connsiteY337" fmla="*/ 5076 h 1189131"/>
                <a:gd name="connsiteX338" fmla="*/ 2865576 w 9346640"/>
                <a:gd name="connsiteY338" fmla="*/ 3968 h 1189131"/>
                <a:gd name="connsiteX339" fmla="*/ 2905708 w 9346640"/>
                <a:gd name="connsiteY339" fmla="*/ 1750 h 1189131"/>
                <a:gd name="connsiteX340" fmla="*/ 2945904 w 9346640"/>
                <a:gd name="connsiteY340" fmla="*/ 2243 h 1189131"/>
                <a:gd name="connsiteX341" fmla="*/ 2986035 w 9346640"/>
                <a:gd name="connsiteY341" fmla="*/ 765 h 1189131"/>
                <a:gd name="connsiteX342" fmla="*/ 3026231 w 9346640"/>
                <a:gd name="connsiteY342" fmla="*/ 765 h 1189131"/>
                <a:gd name="connsiteX343" fmla="*/ 3066363 w 9346640"/>
                <a:gd name="connsiteY343" fmla="*/ 3968 h 1189131"/>
                <a:gd name="connsiteX344" fmla="*/ 3106558 w 9346640"/>
                <a:gd name="connsiteY344" fmla="*/ 4214 h 1189131"/>
                <a:gd name="connsiteX345" fmla="*/ 3146691 w 9346640"/>
                <a:gd name="connsiteY345" fmla="*/ 3598 h 1189131"/>
                <a:gd name="connsiteX346" fmla="*/ 3186886 w 9346640"/>
                <a:gd name="connsiteY346" fmla="*/ 765 h 1189131"/>
                <a:gd name="connsiteX347" fmla="*/ 3227018 w 9346640"/>
                <a:gd name="connsiteY347" fmla="*/ 1504 h 1189131"/>
                <a:gd name="connsiteX348" fmla="*/ 3267214 w 9346640"/>
                <a:gd name="connsiteY348" fmla="*/ 4584 h 1189131"/>
                <a:gd name="connsiteX349" fmla="*/ 3307345 w 9346640"/>
                <a:gd name="connsiteY349" fmla="*/ 2243 h 1189131"/>
                <a:gd name="connsiteX350" fmla="*/ 3347541 w 9346640"/>
                <a:gd name="connsiteY350" fmla="*/ 1997 h 1189131"/>
                <a:gd name="connsiteX351" fmla="*/ 3387546 w 9346640"/>
                <a:gd name="connsiteY351" fmla="*/ 3721 h 1189131"/>
                <a:gd name="connsiteX352" fmla="*/ 3427742 w 9346640"/>
                <a:gd name="connsiteY352" fmla="*/ 1627 h 1189131"/>
                <a:gd name="connsiteX353" fmla="*/ 3467874 w 9346640"/>
                <a:gd name="connsiteY353" fmla="*/ 2366 h 1189131"/>
                <a:gd name="connsiteX354" fmla="*/ 3508069 w 9346640"/>
                <a:gd name="connsiteY354" fmla="*/ 4337 h 1189131"/>
                <a:gd name="connsiteX355" fmla="*/ 3548201 w 9346640"/>
                <a:gd name="connsiteY355" fmla="*/ 888 h 1189131"/>
                <a:gd name="connsiteX356" fmla="*/ 3588396 w 9346640"/>
                <a:gd name="connsiteY356" fmla="*/ 5323 h 1189131"/>
                <a:gd name="connsiteX357" fmla="*/ 3628529 w 9346640"/>
                <a:gd name="connsiteY357" fmla="*/ 4953 h 1189131"/>
                <a:gd name="connsiteX358" fmla="*/ 3668724 w 9346640"/>
                <a:gd name="connsiteY358" fmla="*/ 6309 h 1189131"/>
                <a:gd name="connsiteX359" fmla="*/ 3708856 w 9346640"/>
                <a:gd name="connsiteY359" fmla="*/ 5569 h 1189131"/>
                <a:gd name="connsiteX360" fmla="*/ 3749052 w 9346640"/>
                <a:gd name="connsiteY360" fmla="*/ 3968 h 1189131"/>
                <a:gd name="connsiteX361" fmla="*/ 3789183 w 9346640"/>
                <a:gd name="connsiteY361" fmla="*/ 4953 h 1189131"/>
                <a:gd name="connsiteX362" fmla="*/ 3829379 w 9346640"/>
                <a:gd name="connsiteY362" fmla="*/ 6432 h 1189131"/>
                <a:gd name="connsiteX363" fmla="*/ 3869511 w 9346640"/>
                <a:gd name="connsiteY363" fmla="*/ 2613 h 1189131"/>
                <a:gd name="connsiteX364" fmla="*/ 3909706 w 9346640"/>
                <a:gd name="connsiteY364" fmla="*/ 1504 h 1189131"/>
                <a:gd name="connsiteX365" fmla="*/ 3949839 w 9346640"/>
                <a:gd name="connsiteY365" fmla="*/ 518 h 1189131"/>
                <a:gd name="connsiteX366" fmla="*/ 3990161 w 9346640"/>
                <a:gd name="connsiteY366" fmla="*/ 1258 h 1189131"/>
                <a:gd name="connsiteX367" fmla="*/ 4030420 w 9346640"/>
                <a:gd name="connsiteY367" fmla="*/ 5939 h 1189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</a:cxnLst>
              <a:rect l="l" t="t" r="r" b="b"/>
              <a:pathLst>
                <a:path w="9346640" h="1189131">
                  <a:moveTo>
                    <a:pt x="9346640" y="1155893"/>
                  </a:moveTo>
                  <a:cubicBezTo>
                    <a:pt x="9332226" y="1141479"/>
                    <a:pt x="9331210" y="1142584"/>
                    <a:pt x="9316795" y="1128169"/>
                  </a:cubicBezTo>
                  <a:cubicBezTo>
                    <a:pt x="9302381" y="1113755"/>
                    <a:pt x="9303142" y="1113018"/>
                    <a:pt x="9288727" y="1098724"/>
                  </a:cubicBezTo>
                  <a:cubicBezTo>
                    <a:pt x="9274313" y="1084437"/>
                    <a:pt x="9274440" y="1084310"/>
                    <a:pt x="9260025" y="1069895"/>
                  </a:cubicBezTo>
                  <a:cubicBezTo>
                    <a:pt x="9245612" y="1055481"/>
                    <a:pt x="9246628" y="1054624"/>
                    <a:pt x="9232213" y="1040209"/>
                  </a:cubicBezTo>
                  <a:cubicBezTo>
                    <a:pt x="9217798" y="1025794"/>
                    <a:pt x="9217037" y="1026531"/>
                    <a:pt x="9202623" y="1012117"/>
                  </a:cubicBezTo>
                  <a:cubicBezTo>
                    <a:pt x="9188208" y="997702"/>
                    <a:pt x="9188842" y="997207"/>
                    <a:pt x="9174427" y="982792"/>
                  </a:cubicBezTo>
                  <a:cubicBezTo>
                    <a:pt x="9160013" y="968378"/>
                    <a:pt x="9156901" y="971585"/>
                    <a:pt x="9142487" y="957170"/>
                  </a:cubicBezTo>
                  <a:cubicBezTo>
                    <a:pt x="9128074" y="942756"/>
                    <a:pt x="9130041" y="940781"/>
                    <a:pt x="9115626" y="926366"/>
                  </a:cubicBezTo>
                  <a:cubicBezTo>
                    <a:pt x="9101212" y="911952"/>
                    <a:pt x="9098990" y="914174"/>
                    <a:pt x="9084576" y="899880"/>
                  </a:cubicBezTo>
                  <a:cubicBezTo>
                    <a:pt x="9070161" y="885586"/>
                    <a:pt x="9072384" y="883370"/>
                    <a:pt x="9057969" y="868956"/>
                  </a:cubicBezTo>
                  <a:cubicBezTo>
                    <a:pt x="9043555" y="854541"/>
                    <a:pt x="9044824" y="853309"/>
                    <a:pt x="9030410" y="838895"/>
                  </a:cubicBezTo>
                  <a:cubicBezTo>
                    <a:pt x="9015995" y="824480"/>
                    <a:pt x="9013519" y="826944"/>
                    <a:pt x="8999105" y="812530"/>
                  </a:cubicBezTo>
                  <a:cubicBezTo>
                    <a:pt x="8984690" y="798115"/>
                    <a:pt x="8986912" y="795899"/>
                    <a:pt x="8972499" y="781485"/>
                  </a:cubicBezTo>
                  <a:cubicBezTo>
                    <a:pt x="8958084" y="767070"/>
                    <a:pt x="8955225" y="769902"/>
                    <a:pt x="8940812" y="755488"/>
                  </a:cubicBezTo>
                  <a:cubicBezTo>
                    <a:pt x="8926398" y="741073"/>
                    <a:pt x="8930080" y="737377"/>
                    <a:pt x="8915665" y="722963"/>
                  </a:cubicBezTo>
                  <a:cubicBezTo>
                    <a:pt x="8901250" y="708549"/>
                    <a:pt x="8898202" y="711755"/>
                    <a:pt x="8883788" y="697341"/>
                  </a:cubicBezTo>
                  <a:cubicBezTo>
                    <a:pt x="8869375" y="682926"/>
                    <a:pt x="8871914" y="680462"/>
                    <a:pt x="8857499" y="666048"/>
                  </a:cubicBezTo>
                  <a:cubicBezTo>
                    <a:pt x="8843085" y="651633"/>
                    <a:pt x="8841370" y="653354"/>
                    <a:pt x="8827083" y="638940"/>
                  </a:cubicBezTo>
                  <a:cubicBezTo>
                    <a:pt x="8812795" y="624525"/>
                    <a:pt x="8813431" y="623909"/>
                    <a:pt x="8799016" y="609495"/>
                  </a:cubicBezTo>
                  <a:cubicBezTo>
                    <a:pt x="8784602" y="595080"/>
                    <a:pt x="8782506" y="597176"/>
                    <a:pt x="8768218" y="582761"/>
                  </a:cubicBezTo>
                  <a:cubicBezTo>
                    <a:pt x="8753931" y="568347"/>
                    <a:pt x="8754884" y="567363"/>
                    <a:pt x="8740469" y="552948"/>
                  </a:cubicBezTo>
                  <a:cubicBezTo>
                    <a:pt x="8726055" y="538534"/>
                    <a:pt x="8724722" y="539892"/>
                    <a:pt x="8710307" y="525478"/>
                  </a:cubicBezTo>
                  <a:cubicBezTo>
                    <a:pt x="8695892" y="511063"/>
                    <a:pt x="8698877" y="508225"/>
                    <a:pt x="8684462" y="493811"/>
                  </a:cubicBezTo>
                  <a:cubicBezTo>
                    <a:pt x="8670047" y="479396"/>
                    <a:pt x="8667317" y="482235"/>
                    <a:pt x="8652903" y="467820"/>
                  </a:cubicBezTo>
                  <a:cubicBezTo>
                    <a:pt x="8638488" y="453405"/>
                    <a:pt x="8642044" y="449951"/>
                    <a:pt x="8627630" y="435537"/>
                  </a:cubicBezTo>
                  <a:cubicBezTo>
                    <a:pt x="8613215" y="421122"/>
                    <a:pt x="8613088" y="421249"/>
                    <a:pt x="8598673" y="406835"/>
                  </a:cubicBezTo>
                  <a:cubicBezTo>
                    <a:pt x="8584259" y="392420"/>
                    <a:pt x="8583877" y="392788"/>
                    <a:pt x="8569463" y="378374"/>
                  </a:cubicBezTo>
                  <a:cubicBezTo>
                    <a:pt x="8555050" y="363959"/>
                    <a:pt x="8553462" y="365560"/>
                    <a:pt x="8539048" y="351145"/>
                  </a:cubicBezTo>
                  <a:cubicBezTo>
                    <a:pt x="8524633" y="336731"/>
                    <a:pt x="8526727" y="334635"/>
                    <a:pt x="8512440" y="320221"/>
                  </a:cubicBezTo>
                  <a:cubicBezTo>
                    <a:pt x="8498152" y="305806"/>
                    <a:pt x="8496058" y="307781"/>
                    <a:pt x="8481643" y="293366"/>
                  </a:cubicBezTo>
                  <a:cubicBezTo>
                    <a:pt x="8467229" y="278952"/>
                    <a:pt x="8466466" y="279689"/>
                    <a:pt x="8452051" y="265274"/>
                  </a:cubicBezTo>
                  <a:cubicBezTo>
                    <a:pt x="8437637" y="250859"/>
                    <a:pt x="8436685" y="251850"/>
                    <a:pt x="8422270" y="237436"/>
                  </a:cubicBezTo>
                  <a:cubicBezTo>
                    <a:pt x="8407856" y="223021"/>
                    <a:pt x="8411158" y="219694"/>
                    <a:pt x="8396743" y="205279"/>
                  </a:cubicBezTo>
                  <a:cubicBezTo>
                    <a:pt x="8382329" y="190865"/>
                    <a:pt x="8379154" y="194065"/>
                    <a:pt x="8364739" y="179778"/>
                  </a:cubicBezTo>
                  <a:cubicBezTo>
                    <a:pt x="8350324" y="165484"/>
                    <a:pt x="8351151" y="164500"/>
                    <a:pt x="8336736" y="150085"/>
                  </a:cubicBezTo>
                  <a:cubicBezTo>
                    <a:pt x="8322322" y="135671"/>
                    <a:pt x="8321370" y="136655"/>
                    <a:pt x="8306955" y="122240"/>
                  </a:cubicBezTo>
                  <a:cubicBezTo>
                    <a:pt x="8292540" y="107826"/>
                    <a:pt x="8293365" y="106842"/>
                    <a:pt x="8278951" y="92427"/>
                  </a:cubicBezTo>
                  <a:cubicBezTo>
                    <a:pt x="8264537" y="78013"/>
                    <a:pt x="8264347" y="78260"/>
                    <a:pt x="8249932" y="63719"/>
                  </a:cubicBezTo>
                  <a:cubicBezTo>
                    <a:pt x="8235518" y="49182"/>
                    <a:pt x="8238311" y="46349"/>
                    <a:pt x="8223897" y="31934"/>
                  </a:cubicBezTo>
                  <a:cubicBezTo>
                    <a:pt x="8209482" y="17520"/>
                    <a:pt x="8213927" y="5323"/>
                    <a:pt x="8193480" y="5200"/>
                  </a:cubicBezTo>
                  <a:cubicBezTo>
                    <a:pt x="8173033" y="5076"/>
                    <a:pt x="8180400" y="20107"/>
                    <a:pt x="8165985" y="34398"/>
                  </a:cubicBezTo>
                  <a:cubicBezTo>
                    <a:pt x="8151571" y="48690"/>
                    <a:pt x="8149983" y="47088"/>
                    <a:pt x="8135569" y="61382"/>
                  </a:cubicBezTo>
                  <a:cubicBezTo>
                    <a:pt x="8121154" y="75669"/>
                    <a:pt x="8120075" y="74437"/>
                    <a:pt x="8105660" y="88852"/>
                  </a:cubicBezTo>
                  <a:cubicBezTo>
                    <a:pt x="8091246" y="103266"/>
                    <a:pt x="8094421" y="106346"/>
                    <a:pt x="8080133" y="120640"/>
                  </a:cubicBezTo>
                  <a:cubicBezTo>
                    <a:pt x="8065846" y="134928"/>
                    <a:pt x="8065464" y="134686"/>
                    <a:pt x="8051177" y="148974"/>
                  </a:cubicBezTo>
                  <a:cubicBezTo>
                    <a:pt x="8036889" y="163268"/>
                    <a:pt x="8033714" y="160061"/>
                    <a:pt x="8019300" y="174475"/>
                  </a:cubicBezTo>
                  <a:cubicBezTo>
                    <a:pt x="8004885" y="188890"/>
                    <a:pt x="8005076" y="189017"/>
                    <a:pt x="7990661" y="203431"/>
                  </a:cubicBezTo>
                  <a:cubicBezTo>
                    <a:pt x="7976247" y="217846"/>
                    <a:pt x="7978279" y="219694"/>
                    <a:pt x="7963928" y="234108"/>
                  </a:cubicBezTo>
                  <a:cubicBezTo>
                    <a:pt x="7949640" y="248523"/>
                    <a:pt x="7951291" y="250123"/>
                    <a:pt x="7937004" y="264410"/>
                  </a:cubicBezTo>
                  <a:cubicBezTo>
                    <a:pt x="7922716" y="278704"/>
                    <a:pt x="7919097" y="275256"/>
                    <a:pt x="7904809" y="289544"/>
                  </a:cubicBezTo>
                  <a:cubicBezTo>
                    <a:pt x="7890522" y="303838"/>
                    <a:pt x="7892745" y="306181"/>
                    <a:pt x="7878330" y="320468"/>
                  </a:cubicBezTo>
                  <a:cubicBezTo>
                    <a:pt x="7863915" y="334762"/>
                    <a:pt x="7864677" y="335499"/>
                    <a:pt x="7850262" y="349913"/>
                  </a:cubicBezTo>
                  <a:cubicBezTo>
                    <a:pt x="7835849" y="364328"/>
                    <a:pt x="7835340" y="363712"/>
                    <a:pt x="7820926" y="378006"/>
                  </a:cubicBezTo>
                  <a:cubicBezTo>
                    <a:pt x="7806511" y="392293"/>
                    <a:pt x="7805750" y="391556"/>
                    <a:pt x="7791335" y="405850"/>
                  </a:cubicBezTo>
                  <a:cubicBezTo>
                    <a:pt x="7776921" y="420138"/>
                    <a:pt x="7777682" y="420881"/>
                    <a:pt x="7763267" y="435168"/>
                  </a:cubicBezTo>
                  <a:cubicBezTo>
                    <a:pt x="7748853" y="449462"/>
                    <a:pt x="7749933" y="450694"/>
                    <a:pt x="7735646" y="464982"/>
                  </a:cubicBezTo>
                  <a:cubicBezTo>
                    <a:pt x="7721358" y="479275"/>
                    <a:pt x="7721485" y="479523"/>
                    <a:pt x="7707198" y="493937"/>
                  </a:cubicBezTo>
                  <a:cubicBezTo>
                    <a:pt x="7692910" y="508352"/>
                    <a:pt x="7691069" y="506504"/>
                    <a:pt x="7676654" y="520792"/>
                  </a:cubicBezTo>
                  <a:cubicBezTo>
                    <a:pt x="7662239" y="535086"/>
                    <a:pt x="7660779" y="533606"/>
                    <a:pt x="7646364" y="548021"/>
                  </a:cubicBezTo>
                  <a:cubicBezTo>
                    <a:pt x="7631950" y="562435"/>
                    <a:pt x="7631695" y="562067"/>
                    <a:pt x="7617408" y="576354"/>
                  </a:cubicBezTo>
                  <a:cubicBezTo>
                    <a:pt x="7603120" y="590648"/>
                    <a:pt x="7607185" y="594839"/>
                    <a:pt x="7592898" y="609127"/>
                  </a:cubicBezTo>
                  <a:cubicBezTo>
                    <a:pt x="7578610" y="623420"/>
                    <a:pt x="7577720" y="622557"/>
                    <a:pt x="7563306" y="636971"/>
                  </a:cubicBezTo>
                  <a:cubicBezTo>
                    <a:pt x="7548891" y="651386"/>
                    <a:pt x="7548130" y="650522"/>
                    <a:pt x="7533715" y="664816"/>
                  </a:cubicBezTo>
                  <a:cubicBezTo>
                    <a:pt x="7519301" y="679104"/>
                    <a:pt x="7520062" y="679847"/>
                    <a:pt x="7505649" y="694134"/>
                  </a:cubicBezTo>
                  <a:cubicBezTo>
                    <a:pt x="7491234" y="708428"/>
                    <a:pt x="7490281" y="707317"/>
                    <a:pt x="7475866" y="721731"/>
                  </a:cubicBezTo>
                  <a:cubicBezTo>
                    <a:pt x="7461452" y="736146"/>
                    <a:pt x="7461642" y="736146"/>
                    <a:pt x="7447228" y="750560"/>
                  </a:cubicBezTo>
                  <a:cubicBezTo>
                    <a:pt x="7432813" y="764975"/>
                    <a:pt x="7432115" y="764111"/>
                    <a:pt x="7417701" y="778405"/>
                  </a:cubicBezTo>
                  <a:cubicBezTo>
                    <a:pt x="7403286" y="792699"/>
                    <a:pt x="7405889" y="795283"/>
                    <a:pt x="7391474" y="809577"/>
                  </a:cubicBezTo>
                  <a:cubicBezTo>
                    <a:pt x="7377061" y="823864"/>
                    <a:pt x="7373441" y="820416"/>
                    <a:pt x="7359154" y="834710"/>
                  </a:cubicBezTo>
                  <a:cubicBezTo>
                    <a:pt x="7344866" y="848998"/>
                    <a:pt x="7345501" y="849741"/>
                    <a:pt x="7331213" y="864155"/>
                  </a:cubicBezTo>
                  <a:cubicBezTo>
                    <a:pt x="7316926" y="878570"/>
                    <a:pt x="7319975" y="881770"/>
                    <a:pt x="7305687" y="896064"/>
                  </a:cubicBezTo>
                  <a:cubicBezTo>
                    <a:pt x="7291400" y="910352"/>
                    <a:pt x="7288225" y="907272"/>
                    <a:pt x="7273937" y="921686"/>
                  </a:cubicBezTo>
                  <a:cubicBezTo>
                    <a:pt x="7259650" y="936101"/>
                    <a:pt x="7261363" y="937828"/>
                    <a:pt x="7246950" y="952242"/>
                  </a:cubicBezTo>
                  <a:cubicBezTo>
                    <a:pt x="7232535" y="966657"/>
                    <a:pt x="7232788" y="966778"/>
                    <a:pt x="7218375" y="981192"/>
                  </a:cubicBezTo>
                  <a:cubicBezTo>
                    <a:pt x="7203960" y="995607"/>
                    <a:pt x="7203325" y="994870"/>
                    <a:pt x="7188910" y="1009158"/>
                  </a:cubicBezTo>
                  <a:cubicBezTo>
                    <a:pt x="7174495" y="1023451"/>
                    <a:pt x="7175385" y="1024436"/>
                    <a:pt x="7161034" y="1038729"/>
                  </a:cubicBezTo>
                  <a:cubicBezTo>
                    <a:pt x="7146747" y="1053017"/>
                    <a:pt x="7147127" y="1053512"/>
                    <a:pt x="7132712" y="1067927"/>
                  </a:cubicBezTo>
                  <a:cubicBezTo>
                    <a:pt x="7118299" y="1082341"/>
                    <a:pt x="7115694" y="1079630"/>
                    <a:pt x="7101280" y="1094044"/>
                  </a:cubicBezTo>
                  <a:cubicBezTo>
                    <a:pt x="7086865" y="1108459"/>
                    <a:pt x="7085786" y="1107348"/>
                    <a:pt x="7071499" y="1121762"/>
                  </a:cubicBezTo>
                  <a:cubicBezTo>
                    <a:pt x="7057211" y="1136177"/>
                    <a:pt x="7061402" y="1140368"/>
                    <a:pt x="7046987" y="1154782"/>
                  </a:cubicBezTo>
                  <a:cubicBezTo>
                    <a:pt x="7032574" y="1169197"/>
                    <a:pt x="7035874" y="1176099"/>
                    <a:pt x="7017015" y="1183979"/>
                  </a:cubicBezTo>
                  <a:cubicBezTo>
                    <a:pt x="6998219" y="1191866"/>
                    <a:pt x="6995871" y="1184227"/>
                    <a:pt x="6975740" y="1184227"/>
                  </a:cubicBezTo>
                  <a:cubicBezTo>
                    <a:pt x="6955675" y="1184227"/>
                    <a:pt x="6955675" y="1178931"/>
                    <a:pt x="6935482" y="1178931"/>
                  </a:cubicBezTo>
                  <a:cubicBezTo>
                    <a:pt x="6915288" y="1178931"/>
                    <a:pt x="6915415" y="1181884"/>
                    <a:pt x="6895223" y="1181884"/>
                  </a:cubicBezTo>
                  <a:cubicBezTo>
                    <a:pt x="6874966" y="1181884"/>
                    <a:pt x="6875094" y="1181884"/>
                    <a:pt x="6854899" y="1181884"/>
                  </a:cubicBezTo>
                  <a:cubicBezTo>
                    <a:pt x="6834707" y="1181884"/>
                    <a:pt x="6834834" y="1182131"/>
                    <a:pt x="6814641" y="1182131"/>
                  </a:cubicBezTo>
                  <a:cubicBezTo>
                    <a:pt x="6794449" y="1182131"/>
                    <a:pt x="6794512" y="1182627"/>
                    <a:pt x="6774318" y="1182627"/>
                  </a:cubicBezTo>
                  <a:cubicBezTo>
                    <a:pt x="6754126" y="1182627"/>
                    <a:pt x="6754253" y="1178931"/>
                    <a:pt x="6734060" y="1178931"/>
                  </a:cubicBezTo>
                  <a:cubicBezTo>
                    <a:pt x="6713866" y="1178931"/>
                    <a:pt x="6713993" y="1180531"/>
                    <a:pt x="6693737" y="1180531"/>
                  </a:cubicBezTo>
                  <a:cubicBezTo>
                    <a:pt x="6673545" y="1180531"/>
                    <a:pt x="6673672" y="1182500"/>
                    <a:pt x="6653478" y="1182500"/>
                  </a:cubicBezTo>
                  <a:cubicBezTo>
                    <a:pt x="6633285" y="1182500"/>
                    <a:pt x="6633412" y="1180163"/>
                    <a:pt x="6613220" y="1180163"/>
                  </a:cubicBezTo>
                  <a:cubicBezTo>
                    <a:pt x="6592962" y="1180163"/>
                    <a:pt x="6593089" y="1181147"/>
                    <a:pt x="6572897" y="1181147"/>
                  </a:cubicBezTo>
                  <a:cubicBezTo>
                    <a:pt x="6552704" y="1181147"/>
                    <a:pt x="6552831" y="1179795"/>
                    <a:pt x="6532637" y="1179795"/>
                  </a:cubicBezTo>
                  <a:cubicBezTo>
                    <a:pt x="6512381" y="1179795"/>
                    <a:pt x="6512508" y="1182748"/>
                    <a:pt x="6492315" y="1182748"/>
                  </a:cubicBezTo>
                  <a:cubicBezTo>
                    <a:pt x="6472123" y="1182748"/>
                    <a:pt x="6472250" y="1182259"/>
                    <a:pt x="6452056" y="1182259"/>
                  </a:cubicBezTo>
                  <a:cubicBezTo>
                    <a:pt x="6431863" y="1182259"/>
                    <a:pt x="6431990" y="1181268"/>
                    <a:pt x="6411733" y="1181268"/>
                  </a:cubicBezTo>
                  <a:cubicBezTo>
                    <a:pt x="6391541" y="1181268"/>
                    <a:pt x="6391541" y="1180036"/>
                    <a:pt x="6371475" y="1180036"/>
                  </a:cubicBezTo>
                  <a:cubicBezTo>
                    <a:pt x="6351408" y="1180036"/>
                    <a:pt x="6351281" y="1179547"/>
                    <a:pt x="6331152" y="1179547"/>
                  </a:cubicBezTo>
                  <a:cubicBezTo>
                    <a:pt x="6311086" y="1179547"/>
                    <a:pt x="6310959" y="1180284"/>
                    <a:pt x="6290894" y="1180284"/>
                  </a:cubicBezTo>
                  <a:cubicBezTo>
                    <a:pt x="6270827" y="1180284"/>
                    <a:pt x="6270700" y="1180411"/>
                    <a:pt x="6250634" y="1180411"/>
                  </a:cubicBezTo>
                  <a:cubicBezTo>
                    <a:pt x="6230505" y="1180411"/>
                    <a:pt x="6230378" y="1181643"/>
                    <a:pt x="6210312" y="1181643"/>
                  </a:cubicBezTo>
                  <a:cubicBezTo>
                    <a:pt x="6190245" y="1181643"/>
                    <a:pt x="6190118" y="1183363"/>
                    <a:pt x="6170053" y="1183363"/>
                  </a:cubicBezTo>
                  <a:cubicBezTo>
                    <a:pt x="6149987" y="1183363"/>
                    <a:pt x="6149860" y="1181395"/>
                    <a:pt x="6129731" y="1181395"/>
                  </a:cubicBezTo>
                  <a:cubicBezTo>
                    <a:pt x="6109664" y="1181395"/>
                    <a:pt x="6109664" y="1184227"/>
                    <a:pt x="6089471" y="1184227"/>
                  </a:cubicBezTo>
                  <a:cubicBezTo>
                    <a:pt x="6069278" y="1184227"/>
                    <a:pt x="6069406" y="1181763"/>
                    <a:pt x="6049149" y="1181763"/>
                  </a:cubicBezTo>
                  <a:cubicBezTo>
                    <a:pt x="6028956" y="1181763"/>
                    <a:pt x="6029082" y="1178563"/>
                    <a:pt x="6008890" y="1178563"/>
                  </a:cubicBezTo>
                  <a:cubicBezTo>
                    <a:pt x="5988697" y="1178563"/>
                    <a:pt x="5988824" y="1180163"/>
                    <a:pt x="5968631" y="1180163"/>
                  </a:cubicBezTo>
                  <a:cubicBezTo>
                    <a:pt x="5948374" y="1180163"/>
                    <a:pt x="5948501" y="1182500"/>
                    <a:pt x="5928308" y="1182500"/>
                  </a:cubicBezTo>
                  <a:cubicBezTo>
                    <a:pt x="5908115" y="1182500"/>
                    <a:pt x="5908243" y="1180652"/>
                    <a:pt x="5888049" y="1180652"/>
                  </a:cubicBezTo>
                  <a:cubicBezTo>
                    <a:pt x="5867856" y="1180652"/>
                    <a:pt x="5867919" y="1181395"/>
                    <a:pt x="5847727" y="1181395"/>
                  </a:cubicBezTo>
                  <a:cubicBezTo>
                    <a:pt x="5827533" y="1181395"/>
                    <a:pt x="5827661" y="1179179"/>
                    <a:pt x="5807468" y="1179179"/>
                  </a:cubicBezTo>
                  <a:cubicBezTo>
                    <a:pt x="5787275" y="1179179"/>
                    <a:pt x="5787402" y="1182011"/>
                    <a:pt x="5767145" y="1182011"/>
                  </a:cubicBezTo>
                  <a:cubicBezTo>
                    <a:pt x="5746952" y="1182011"/>
                    <a:pt x="5747079" y="1181027"/>
                    <a:pt x="5726886" y="1181027"/>
                  </a:cubicBezTo>
                  <a:cubicBezTo>
                    <a:pt x="5706694" y="1181027"/>
                    <a:pt x="5706820" y="1181027"/>
                    <a:pt x="5686627" y="1181027"/>
                  </a:cubicBezTo>
                  <a:cubicBezTo>
                    <a:pt x="5666370" y="1181027"/>
                    <a:pt x="5666498" y="1181027"/>
                    <a:pt x="5646305" y="1181027"/>
                  </a:cubicBezTo>
                  <a:cubicBezTo>
                    <a:pt x="5626112" y="1181027"/>
                    <a:pt x="5626239" y="1181395"/>
                    <a:pt x="5606045" y="1181395"/>
                  </a:cubicBezTo>
                  <a:cubicBezTo>
                    <a:pt x="5585853" y="1181395"/>
                    <a:pt x="5585916" y="1179547"/>
                    <a:pt x="5565723" y="1179547"/>
                  </a:cubicBezTo>
                  <a:cubicBezTo>
                    <a:pt x="5545531" y="1179547"/>
                    <a:pt x="5545657" y="1179795"/>
                    <a:pt x="5525464" y="1179795"/>
                  </a:cubicBezTo>
                  <a:cubicBezTo>
                    <a:pt x="5505271" y="1179795"/>
                    <a:pt x="5505271" y="1180284"/>
                    <a:pt x="5485142" y="1180284"/>
                  </a:cubicBezTo>
                  <a:cubicBezTo>
                    <a:pt x="5465076" y="1180284"/>
                    <a:pt x="5464949" y="1179795"/>
                    <a:pt x="5444882" y="1179795"/>
                  </a:cubicBezTo>
                  <a:cubicBezTo>
                    <a:pt x="5424817" y="1179795"/>
                    <a:pt x="5424690" y="1179052"/>
                    <a:pt x="5404624" y="1179052"/>
                  </a:cubicBezTo>
                  <a:cubicBezTo>
                    <a:pt x="5384494" y="1179052"/>
                    <a:pt x="5384368" y="1178188"/>
                    <a:pt x="5364301" y="1178188"/>
                  </a:cubicBezTo>
                  <a:cubicBezTo>
                    <a:pt x="5344235" y="1178188"/>
                    <a:pt x="5344108" y="1180652"/>
                    <a:pt x="5324043" y="1180652"/>
                  </a:cubicBezTo>
                  <a:cubicBezTo>
                    <a:pt x="5303913" y="1180652"/>
                    <a:pt x="5303786" y="1179915"/>
                    <a:pt x="5283719" y="1179915"/>
                  </a:cubicBezTo>
                  <a:cubicBezTo>
                    <a:pt x="5263654" y="1179915"/>
                    <a:pt x="5263527" y="1182379"/>
                    <a:pt x="5243461" y="1182379"/>
                  </a:cubicBezTo>
                  <a:cubicBezTo>
                    <a:pt x="5223394" y="1182379"/>
                    <a:pt x="5223268" y="1179052"/>
                    <a:pt x="5203138" y="1179052"/>
                  </a:cubicBezTo>
                  <a:cubicBezTo>
                    <a:pt x="5183072" y="1179052"/>
                    <a:pt x="5183072" y="1179052"/>
                    <a:pt x="5162879" y="1179052"/>
                  </a:cubicBezTo>
                  <a:cubicBezTo>
                    <a:pt x="5142686" y="1179052"/>
                    <a:pt x="5142813" y="1178315"/>
                    <a:pt x="5122620" y="1178315"/>
                  </a:cubicBezTo>
                  <a:cubicBezTo>
                    <a:pt x="5102364" y="1178315"/>
                    <a:pt x="5102491" y="1183363"/>
                    <a:pt x="5082298" y="1183363"/>
                  </a:cubicBezTo>
                  <a:cubicBezTo>
                    <a:pt x="5062105" y="1183363"/>
                    <a:pt x="5062231" y="1180411"/>
                    <a:pt x="5042039" y="1180411"/>
                  </a:cubicBezTo>
                  <a:cubicBezTo>
                    <a:pt x="5021782" y="1180411"/>
                    <a:pt x="5021909" y="1181516"/>
                    <a:pt x="5001716" y="1181516"/>
                  </a:cubicBezTo>
                  <a:cubicBezTo>
                    <a:pt x="4981523" y="1181516"/>
                    <a:pt x="4981650" y="1179299"/>
                    <a:pt x="4961457" y="1179299"/>
                  </a:cubicBezTo>
                  <a:cubicBezTo>
                    <a:pt x="4941264" y="1179299"/>
                    <a:pt x="4941391" y="1179547"/>
                    <a:pt x="4921135" y="1179547"/>
                  </a:cubicBezTo>
                  <a:cubicBezTo>
                    <a:pt x="4900942" y="1179547"/>
                    <a:pt x="4901068" y="1181884"/>
                    <a:pt x="4880876" y="1181884"/>
                  </a:cubicBezTo>
                  <a:cubicBezTo>
                    <a:pt x="4860682" y="1181884"/>
                    <a:pt x="4860810" y="1183859"/>
                    <a:pt x="4840553" y="1183859"/>
                  </a:cubicBezTo>
                  <a:cubicBezTo>
                    <a:pt x="4820360" y="1183859"/>
                    <a:pt x="4820360" y="1179299"/>
                    <a:pt x="4800294" y="1179299"/>
                  </a:cubicBezTo>
                  <a:cubicBezTo>
                    <a:pt x="4780228" y="1179299"/>
                    <a:pt x="4780101" y="1182500"/>
                    <a:pt x="4760035" y="1182500"/>
                  </a:cubicBezTo>
                  <a:cubicBezTo>
                    <a:pt x="4739906" y="1182500"/>
                    <a:pt x="4739779" y="1179547"/>
                    <a:pt x="4719713" y="1179547"/>
                  </a:cubicBezTo>
                  <a:cubicBezTo>
                    <a:pt x="4699647" y="1179547"/>
                    <a:pt x="4699519" y="1182995"/>
                    <a:pt x="4679454" y="1182995"/>
                  </a:cubicBezTo>
                  <a:cubicBezTo>
                    <a:pt x="4659324" y="1182995"/>
                    <a:pt x="4659261" y="1180411"/>
                    <a:pt x="4639131" y="1180411"/>
                  </a:cubicBezTo>
                  <a:cubicBezTo>
                    <a:pt x="4619065" y="1180411"/>
                    <a:pt x="4618938" y="1178931"/>
                    <a:pt x="4598872" y="1178931"/>
                  </a:cubicBezTo>
                  <a:cubicBezTo>
                    <a:pt x="4578806" y="1178931"/>
                    <a:pt x="4578679" y="1181027"/>
                    <a:pt x="4558550" y="1181027"/>
                  </a:cubicBezTo>
                  <a:cubicBezTo>
                    <a:pt x="4538483" y="1181027"/>
                    <a:pt x="4538356" y="1183611"/>
                    <a:pt x="4518291" y="1183611"/>
                  </a:cubicBezTo>
                  <a:cubicBezTo>
                    <a:pt x="4498225" y="1183611"/>
                    <a:pt x="4498098" y="1183116"/>
                    <a:pt x="4478031" y="1183116"/>
                  </a:cubicBezTo>
                  <a:cubicBezTo>
                    <a:pt x="4457902" y="1183116"/>
                    <a:pt x="4457775" y="1178068"/>
                    <a:pt x="4437709" y="1178068"/>
                  </a:cubicBezTo>
                  <a:cubicBezTo>
                    <a:pt x="4417644" y="1178068"/>
                    <a:pt x="4417516" y="1179299"/>
                    <a:pt x="4397450" y="1179299"/>
                  </a:cubicBezTo>
                  <a:cubicBezTo>
                    <a:pt x="4377320" y="1179299"/>
                    <a:pt x="4377320" y="1183859"/>
                    <a:pt x="4357128" y="1183859"/>
                  </a:cubicBezTo>
                  <a:cubicBezTo>
                    <a:pt x="4336935" y="1183859"/>
                    <a:pt x="4337062" y="1180284"/>
                    <a:pt x="4316868" y="1180284"/>
                  </a:cubicBezTo>
                  <a:cubicBezTo>
                    <a:pt x="4296676" y="1180284"/>
                    <a:pt x="4296676" y="1179299"/>
                    <a:pt x="4276546" y="1179299"/>
                  </a:cubicBezTo>
                  <a:cubicBezTo>
                    <a:pt x="4256481" y="1179299"/>
                    <a:pt x="4256353" y="1183611"/>
                    <a:pt x="4236287" y="1183611"/>
                  </a:cubicBezTo>
                  <a:cubicBezTo>
                    <a:pt x="4216221" y="1183611"/>
                    <a:pt x="4216094" y="1180411"/>
                    <a:pt x="4196028" y="1180411"/>
                  </a:cubicBezTo>
                  <a:cubicBezTo>
                    <a:pt x="4175899" y="1180411"/>
                    <a:pt x="4175771" y="1183732"/>
                    <a:pt x="4155706" y="1183732"/>
                  </a:cubicBezTo>
                  <a:cubicBezTo>
                    <a:pt x="4135640" y="1183732"/>
                    <a:pt x="4135513" y="1179795"/>
                    <a:pt x="4115446" y="1179795"/>
                  </a:cubicBezTo>
                  <a:cubicBezTo>
                    <a:pt x="4095317" y="1179795"/>
                    <a:pt x="4095190" y="1178188"/>
                    <a:pt x="4075124" y="1178188"/>
                  </a:cubicBezTo>
                  <a:cubicBezTo>
                    <a:pt x="4055058" y="1178188"/>
                    <a:pt x="4054931" y="1182627"/>
                    <a:pt x="4034865" y="1182627"/>
                  </a:cubicBezTo>
                  <a:cubicBezTo>
                    <a:pt x="4014799" y="1182627"/>
                    <a:pt x="4014672" y="1181516"/>
                    <a:pt x="3994543" y="1181516"/>
                  </a:cubicBezTo>
                  <a:cubicBezTo>
                    <a:pt x="3974477" y="1181516"/>
                    <a:pt x="3974350" y="1178563"/>
                    <a:pt x="3954283" y="1178563"/>
                  </a:cubicBezTo>
                  <a:cubicBezTo>
                    <a:pt x="3934218" y="1178563"/>
                    <a:pt x="3934091" y="1182379"/>
                    <a:pt x="3914025" y="1182379"/>
                  </a:cubicBezTo>
                  <a:cubicBezTo>
                    <a:pt x="3893895" y="1182379"/>
                    <a:pt x="3893768" y="1182379"/>
                    <a:pt x="3873702" y="1182379"/>
                  </a:cubicBezTo>
                  <a:cubicBezTo>
                    <a:pt x="3853636" y="1182379"/>
                    <a:pt x="3853509" y="1180779"/>
                    <a:pt x="3833443" y="1180779"/>
                  </a:cubicBezTo>
                  <a:cubicBezTo>
                    <a:pt x="3813314" y="1180779"/>
                    <a:pt x="3813187" y="1178188"/>
                    <a:pt x="3793120" y="1178188"/>
                  </a:cubicBezTo>
                  <a:cubicBezTo>
                    <a:pt x="3773055" y="1178188"/>
                    <a:pt x="3772928" y="1183116"/>
                    <a:pt x="3752862" y="1183116"/>
                  </a:cubicBezTo>
                  <a:cubicBezTo>
                    <a:pt x="3732795" y="1183116"/>
                    <a:pt x="3732668" y="1182131"/>
                    <a:pt x="3712539" y="1182131"/>
                  </a:cubicBezTo>
                  <a:cubicBezTo>
                    <a:pt x="3692473" y="1182131"/>
                    <a:pt x="3692346" y="1178068"/>
                    <a:pt x="3672280" y="1178068"/>
                  </a:cubicBezTo>
                  <a:cubicBezTo>
                    <a:pt x="3652214" y="1178068"/>
                    <a:pt x="3652087" y="1179795"/>
                    <a:pt x="3631957" y="1179795"/>
                  </a:cubicBezTo>
                  <a:cubicBezTo>
                    <a:pt x="3611892" y="1179795"/>
                    <a:pt x="3611765" y="1181643"/>
                    <a:pt x="3591699" y="1181643"/>
                  </a:cubicBezTo>
                  <a:cubicBezTo>
                    <a:pt x="3571632" y="1181643"/>
                    <a:pt x="3571506" y="1182500"/>
                    <a:pt x="3551440" y="1182500"/>
                  </a:cubicBezTo>
                  <a:cubicBezTo>
                    <a:pt x="3531310" y="1182500"/>
                    <a:pt x="3531183" y="1181643"/>
                    <a:pt x="3511117" y="1181643"/>
                  </a:cubicBezTo>
                  <a:cubicBezTo>
                    <a:pt x="3491051" y="1181643"/>
                    <a:pt x="3490924" y="1183243"/>
                    <a:pt x="3470858" y="1183243"/>
                  </a:cubicBezTo>
                  <a:cubicBezTo>
                    <a:pt x="3450729" y="1183243"/>
                    <a:pt x="3450665" y="1180652"/>
                    <a:pt x="3430535" y="1180652"/>
                  </a:cubicBezTo>
                  <a:cubicBezTo>
                    <a:pt x="3410469" y="1180652"/>
                    <a:pt x="3410343" y="1178683"/>
                    <a:pt x="3390277" y="1178683"/>
                  </a:cubicBezTo>
                  <a:cubicBezTo>
                    <a:pt x="3370210" y="1178683"/>
                    <a:pt x="3370083" y="1178188"/>
                    <a:pt x="3349954" y="1178188"/>
                  </a:cubicBezTo>
                  <a:cubicBezTo>
                    <a:pt x="3329888" y="1178188"/>
                    <a:pt x="3329761" y="1182500"/>
                    <a:pt x="3309695" y="1182500"/>
                  </a:cubicBezTo>
                  <a:cubicBezTo>
                    <a:pt x="3289629" y="1182500"/>
                    <a:pt x="3289502" y="1181643"/>
                    <a:pt x="3269436" y="1181643"/>
                  </a:cubicBezTo>
                  <a:cubicBezTo>
                    <a:pt x="3249306" y="1181643"/>
                    <a:pt x="3249180" y="1182995"/>
                    <a:pt x="3229114" y="1182995"/>
                  </a:cubicBezTo>
                  <a:cubicBezTo>
                    <a:pt x="3209047" y="1182995"/>
                    <a:pt x="3208920" y="1178315"/>
                    <a:pt x="3188855" y="1178315"/>
                  </a:cubicBezTo>
                  <a:cubicBezTo>
                    <a:pt x="3168725" y="1178315"/>
                    <a:pt x="3168662" y="1180779"/>
                    <a:pt x="3148532" y="1180779"/>
                  </a:cubicBezTo>
                  <a:cubicBezTo>
                    <a:pt x="3128466" y="1180779"/>
                    <a:pt x="3128339" y="1177820"/>
                    <a:pt x="3108273" y="1177820"/>
                  </a:cubicBezTo>
                  <a:cubicBezTo>
                    <a:pt x="3088207" y="1177820"/>
                    <a:pt x="3088080" y="1180163"/>
                    <a:pt x="3067951" y="1180163"/>
                  </a:cubicBezTo>
                  <a:cubicBezTo>
                    <a:pt x="3047884" y="1180163"/>
                    <a:pt x="3047757" y="1179668"/>
                    <a:pt x="3027692" y="1179668"/>
                  </a:cubicBezTo>
                  <a:cubicBezTo>
                    <a:pt x="3007626" y="1179668"/>
                    <a:pt x="3007499" y="1177699"/>
                    <a:pt x="2987432" y="1177699"/>
                  </a:cubicBezTo>
                  <a:cubicBezTo>
                    <a:pt x="2967303" y="1177699"/>
                    <a:pt x="2967176" y="1182627"/>
                    <a:pt x="2947110" y="1182627"/>
                  </a:cubicBezTo>
                  <a:cubicBezTo>
                    <a:pt x="2927044" y="1182627"/>
                    <a:pt x="2926917" y="1182379"/>
                    <a:pt x="2906851" y="1182379"/>
                  </a:cubicBezTo>
                  <a:cubicBezTo>
                    <a:pt x="2886721" y="1182379"/>
                    <a:pt x="2886594" y="1181643"/>
                    <a:pt x="2866529" y="1181643"/>
                  </a:cubicBezTo>
                  <a:cubicBezTo>
                    <a:pt x="2846463" y="1181643"/>
                    <a:pt x="2846335" y="1178683"/>
                    <a:pt x="2826269" y="1178683"/>
                  </a:cubicBezTo>
                  <a:cubicBezTo>
                    <a:pt x="2806204" y="1178683"/>
                    <a:pt x="2806077" y="1180652"/>
                    <a:pt x="2785947" y="1180652"/>
                  </a:cubicBezTo>
                  <a:cubicBezTo>
                    <a:pt x="2765881" y="1180652"/>
                    <a:pt x="2765754" y="1178683"/>
                    <a:pt x="2745688" y="1178683"/>
                  </a:cubicBezTo>
                  <a:cubicBezTo>
                    <a:pt x="2725622" y="1178683"/>
                    <a:pt x="2725495" y="1182259"/>
                    <a:pt x="2705429" y="1182259"/>
                  </a:cubicBezTo>
                  <a:cubicBezTo>
                    <a:pt x="2685300" y="1182259"/>
                    <a:pt x="2685172" y="1177572"/>
                    <a:pt x="2665106" y="1177572"/>
                  </a:cubicBezTo>
                  <a:cubicBezTo>
                    <a:pt x="2645041" y="1177572"/>
                    <a:pt x="2644914" y="1181884"/>
                    <a:pt x="2624847" y="1181884"/>
                  </a:cubicBezTo>
                  <a:cubicBezTo>
                    <a:pt x="2604718" y="1181884"/>
                    <a:pt x="2604591" y="1183243"/>
                    <a:pt x="2584525" y="1183243"/>
                  </a:cubicBezTo>
                  <a:cubicBezTo>
                    <a:pt x="2564459" y="1183243"/>
                    <a:pt x="2564332" y="1181516"/>
                    <a:pt x="2544266" y="1181516"/>
                  </a:cubicBezTo>
                  <a:cubicBezTo>
                    <a:pt x="2524200" y="1181516"/>
                    <a:pt x="2524073" y="1182995"/>
                    <a:pt x="2503943" y="1182995"/>
                  </a:cubicBezTo>
                  <a:cubicBezTo>
                    <a:pt x="2483878" y="1182995"/>
                    <a:pt x="2483751" y="1180531"/>
                    <a:pt x="2463684" y="1180531"/>
                  </a:cubicBezTo>
                  <a:cubicBezTo>
                    <a:pt x="2443618" y="1180531"/>
                    <a:pt x="2443492" y="1182500"/>
                    <a:pt x="2423362" y="1182500"/>
                  </a:cubicBezTo>
                  <a:cubicBezTo>
                    <a:pt x="2403296" y="1182500"/>
                    <a:pt x="2403169" y="1182131"/>
                    <a:pt x="2383103" y="1182131"/>
                  </a:cubicBezTo>
                  <a:cubicBezTo>
                    <a:pt x="2363037" y="1182131"/>
                    <a:pt x="2362910" y="1181516"/>
                    <a:pt x="2342844" y="1181516"/>
                  </a:cubicBezTo>
                  <a:cubicBezTo>
                    <a:pt x="2322715" y="1181516"/>
                    <a:pt x="2322588" y="1179795"/>
                    <a:pt x="2302521" y="1179795"/>
                  </a:cubicBezTo>
                  <a:cubicBezTo>
                    <a:pt x="2282456" y="1179795"/>
                    <a:pt x="2282329" y="1180163"/>
                    <a:pt x="2262263" y="1180163"/>
                  </a:cubicBezTo>
                  <a:cubicBezTo>
                    <a:pt x="2242133" y="1180163"/>
                    <a:pt x="2242069" y="1182131"/>
                    <a:pt x="2221940" y="1182131"/>
                  </a:cubicBezTo>
                  <a:cubicBezTo>
                    <a:pt x="2201874" y="1182131"/>
                    <a:pt x="2201874" y="1178188"/>
                    <a:pt x="2181681" y="1178188"/>
                  </a:cubicBezTo>
                  <a:cubicBezTo>
                    <a:pt x="2161488" y="1178188"/>
                    <a:pt x="2161615" y="1178188"/>
                    <a:pt x="2141358" y="1178188"/>
                  </a:cubicBezTo>
                  <a:cubicBezTo>
                    <a:pt x="2121166" y="1178188"/>
                    <a:pt x="2121293" y="1177452"/>
                    <a:pt x="2101100" y="1177452"/>
                  </a:cubicBezTo>
                  <a:cubicBezTo>
                    <a:pt x="2080906" y="1177452"/>
                    <a:pt x="2081033" y="1180284"/>
                    <a:pt x="2060841" y="1180284"/>
                  </a:cubicBezTo>
                  <a:cubicBezTo>
                    <a:pt x="2040584" y="1180284"/>
                    <a:pt x="2040711" y="1182500"/>
                    <a:pt x="2020518" y="1182500"/>
                  </a:cubicBezTo>
                  <a:cubicBezTo>
                    <a:pt x="2000325" y="1182500"/>
                    <a:pt x="2000325" y="1178683"/>
                    <a:pt x="1980259" y="1178683"/>
                  </a:cubicBezTo>
                  <a:cubicBezTo>
                    <a:pt x="1960130" y="1178683"/>
                    <a:pt x="1960066" y="1181763"/>
                    <a:pt x="1939936" y="1181763"/>
                  </a:cubicBezTo>
                  <a:cubicBezTo>
                    <a:pt x="1919870" y="1181763"/>
                    <a:pt x="1919743" y="1182995"/>
                    <a:pt x="1899551" y="1182995"/>
                  </a:cubicBezTo>
                  <a:cubicBezTo>
                    <a:pt x="1879357" y="1182995"/>
                    <a:pt x="1879357" y="1179179"/>
                    <a:pt x="1859228" y="1179179"/>
                  </a:cubicBezTo>
                  <a:cubicBezTo>
                    <a:pt x="1839162" y="1179179"/>
                    <a:pt x="1839035" y="1177699"/>
                    <a:pt x="1818969" y="1177699"/>
                  </a:cubicBezTo>
                  <a:cubicBezTo>
                    <a:pt x="1798903" y="1177699"/>
                    <a:pt x="1798776" y="1179668"/>
                    <a:pt x="1778710" y="1179668"/>
                  </a:cubicBezTo>
                  <a:cubicBezTo>
                    <a:pt x="1758581" y="1179668"/>
                    <a:pt x="1758454" y="1178563"/>
                    <a:pt x="1738388" y="1178563"/>
                  </a:cubicBezTo>
                  <a:cubicBezTo>
                    <a:pt x="1718321" y="1178563"/>
                    <a:pt x="1718194" y="1177820"/>
                    <a:pt x="1698129" y="1177820"/>
                  </a:cubicBezTo>
                  <a:cubicBezTo>
                    <a:pt x="1677999" y="1177820"/>
                    <a:pt x="1677935" y="1177572"/>
                    <a:pt x="1657806" y="1177572"/>
                  </a:cubicBezTo>
                  <a:cubicBezTo>
                    <a:pt x="1637740" y="1177572"/>
                    <a:pt x="1637613" y="1181395"/>
                    <a:pt x="1617547" y="1181395"/>
                  </a:cubicBezTo>
                  <a:cubicBezTo>
                    <a:pt x="1597481" y="1181395"/>
                    <a:pt x="1597354" y="1177947"/>
                    <a:pt x="1577225" y="1177947"/>
                  </a:cubicBezTo>
                  <a:cubicBezTo>
                    <a:pt x="1557158" y="1177947"/>
                    <a:pt x="1557031" y="1181147"/>
                    <a:pt x="1536966" y="1181147"/>
                  </a:cubicBezTo>
                  <a:cubicBezTo>
                    <a:pt x="1516900" y="1181147"/>
                    <a:pt x="1516772" y="1180411"/>
                    <a:pt x="1496706" y="1180411"/>
                  </a:cubicBezTo>
                  <a:cubicBezTo>
                    <a:pt x="1476577" y="1180411"/>
                    <a:pt x="1476450" y="1179179"/>
                    <a:pt x="1456384" y="1179179"/>
                  </a:cubicBezTo>
                  <a:cubicBezTo>
                    <a:pt x="1436318" y="1179179"/>
                    <a:pt x="1436191" y="1182995"/>
                    <a:pt x="1416125" y="1182995"/>
                  </a:cubicBezTo>
                  <a:cubicBezTo>
                    <a:pt x="1395995" y="1182995"/>
                    <a:pt x="1395932" y="1177331"/>
                    <a:pt x="1375676" y="1177331"/>
                  </a:cubicBezTo>
                  <a:cubicBezTo>
                    <a:pt x="1355482" y="1177331"/>
                    <a:pt x="1355482" y="1179299"/>
                    <a:pt x="1335417" y="1179299"/>
                  </a:cubicBezTo>
                  <a:cubicBezTo>
                    <a:pt x="1315351" y="1179299"/>
                    <a:pt x="1315223" y="1181147"/>
                    <a:pt x="1295094" y="1181147"/>
                  </a:cubicBezTo>
                  <a:cubicBezTo>
                    <a:pt x="1275028" y="1181147"/>
                    <a:pt x="1274901" y="1181395"/>
                    <a:pt x="1254835" y="1181395"/>
                  </a:cubicBezTo>
                  <a:cubicBezTo>
                    <a:pt x="1234769" y="1181395"/>
                    <a:pt x="1234642" y="1183491"/>
                    <a:pt x="1214576" y="1183491"/>
                  </a:cubicBezTo>
                  <a:cubicBezTo>
                    <a:pt x="1194446" y="1183491"/>
                    <a:pt x="1194319" y="1181516"/>
                    <a:pt x="1174127" y="1181516"/>
                  </a:cubicBezTo>
                  <a:cubicBezTo>
                    <a:pt x="1153933" y="1181516"/>
                    <a:pt x="1153933" y="1182627"/>
                    <a:pt x="1133868" y="1182627"/>
                  </a:cubicBezTo>
                  <a:cubicBezTo>
                    <a:pt x="1113802" y="1182627"/>
                    <a:pt x="1113675" y="1177452"/>
                    <a:pt x="1093545" y="1177452"/>
                  </a:cubicBezTo>
                  <a:cubicBezTo>
                    <a:pt x="1073479" y="1177452"/>
                    <a:pt x="1073352" y="1178683"/>
                    <a:pt x="1053159" y="1178683"/>
                  </a:cubicBezTo>
                  <a:cubicBezTo>
                    <a:pt x="1032966" y="1178683"/>
                    <a:pt x="1032966" y="1180284"/>
                    <a:pt x="1012773" y="1180284"/>
                  </a:cubicBezTo>
                  <a:cubicBezTo>
                    <a:pt x="992517" y="1180284"/>
                    <a:pt x="992517" y="1182259"/>
                    <a:pt x="972451" y="1182259"/>
                  </a:cubicBezTo>
                  <a:cubicBezTo>
                    <a:pt x="952384" y="1182259"/>
                    <a:pt x="952257" y="1179547"/>
                    <a:pt x="932065" y="1179547"/>
                  </a:cubicBezTo>
                  <a:cubicBezTo>
                    <a:pt x="911871" y="1179547"/>
                    <a:pt x="911871" y="1177572"/>
                    <a:pt x="891615" y="1177572"/>
                  </a:cubicBezTo>
                  <a:cubicBezTo>
                    <a:pt x="871422" y="1177572"/>
                    <a:pt x="871422" y="1183491"/>
                    <a:pt x="851229" y="1183491"/>
                  </a:cubicBezTo>
                  <a:cubicBezTo>
                    <a:pt x="831036" y="1183491"/>
                    <a:pt x="831036" y="1182748"/>
                    <a:pt x="810843" y="1182748"/>
                  </a:cubicBezTo>
                  <a:cubicBezTo>
                    <a:pt x="790586" y="1182748"/>
                    <a:pt x="790586" y="1183243"/>
                    <a:pt x="770393" y="1183243"/>
                  </a:cubicBezTo>
                  <a:cubicBezTo>
                    <a:pt x="750201" y="1183243"/>
                    <a:pt x="750201" y="1182379"/>
                    <a:pt x="730007" y="1182379"/>
                  </a:cubicBezTo>
                  <a:cubicBezTo>
                    <a:pt x="709815" y="1182379"/>
                    <a:pt x="709815" y="1179052"/>
                    <a:pt x="689621" y="1179052"/>
                  </a:cubicBezTo>
                  <a:cubicBezTo>
                    <a:pt x="669365" y="1179052"/>
                    <a:pt x="669365" y="1179795"/>
                    <a:pt x="649299" y="1179795"/>
                  </a:cubicBezTo>
                  <a:cubicBezTo>
                    <a:pt x="629233" y="1179795"/>
                    <a:pt x="629106" y="1182259"/>
                    <a:pt x="609040" y="1182259"/>
                  </a:cubicBezTo>
                  <a:cubicBezTo>
                    <a:pt x="588910" y="1182259"/>
                    <a:pt x="588847" y="1178068"/>
                    <a:pt x="568591" y="1178068"/>
                  </a:cubicBezTo>
                  <a:cubicBezTo>
                    <a:pt x="548397" y="1178068"/>
                    <a:pt x="548397" y="1181516"/>
                    <a:pt x="528331" y="1181516"/>
                  </a:cubicBezTo>
                  <a:cubicBezTo>
                    <a:pt x="508266" y="1181516"/>
                    <a:pt x="508139" y="1177572"/>
                    <a:pt x="487945" y="1177572"/>
                  </a:cubicBezTo>
                  <a:cubicBezTo>
                    <a:pt x="467689" y="1177572"/>
                    <a:pt x="467689" y="1179052"/>
                    <a:pt x="447496" y="1179052"/>
                  </a:cubicBezTo>
                  <a:cubicBezTo>
                    <a:pt x="427303" y="1179052"/>
                    <a:pt x="427303" y="1181884"/>
                    <a:pt x="407110" y="1181884"/>
                  </a:cubicBezTo>
                  <a:cubicBezTo>
                    <a:pt x="386917" y="1181884"/>
                    <a:pt x="386917" y="1180284"/>
                    <a:pt x="366660" y="1180284"/>
                  </a:cubicBezTo>
                  <a:cubicBezTo>
                    <a:pt x="346468" y="1180284"/>
                    <a:pt x="346468" y="1179547"/>
                    <a:pt x="326274" y="1179547"/>
                  </a:cubicBezTo>
                  <a:cubicBezTo>
                    <a:pt x="306081" y="1179547"/>
                    <a:pt x="306081" y="1182995"/>
                    <a:pt x="285889" y="1182995"/>
                  </a:cubicBezTo>
                  <a:cubicBezTo>
                    <a:pt x="265632" y="1182995"/>
                    <a:pt x="265632" y="1182748"/>
                    <a:pt x="245439" y="1182748"/>
                  </a:cubicBezTo>
                  <a:cubicBezTo>
                    <a:pt x="225246" y="1182748"/>
                    <a:pt x="225246" y="1179795"/>
                    <a:pt x="205053" y="1179795"/>
                  </a:cubicBezTo>
                  <a:cubicBezTo>
                    <a:pt x="184860" y="1179795"/>
                    <a:pt x="184860" y="1179547"/>
                    <a:pt x="164667" y="1179547"/>
                  </a:cubicBezTo>
                  <a:cubicBezTo>
                    <a:pt x="144410" y="1179547"/>
                    <a:pt x="144410" y="1181147"/>
                    <a:pt x="124218" y="1181147"/>
                  </a:cubicBezTo>
                  <a:cubicBezTo>
                    <a:pt x="104024" y="1181147"/>
                    <a:pt x="104024" y="1180531"/>
                    <a:pt x="83831" y="1180531"/>
                  </a:cubicBezTo>
                  <a:cubicBezTo>
                    <a:pt x="63639" y="1180531"/>
                    <a:pt x="63639" y="1180163"/>
                    <a:pt x="43255" y="1180163"/>
                  </a:cubicBezTo>
                  <a:cubicBezTo>
                    <a:pt x="22935" y="1180163"/>
                    <a:pt x="9282" y="1199753"/>
                    <a:pt x="1535" y="1181027"/>
                  </a:cubicBezTo>
                  <a:cubicBezTo>
                    <a:pt x="-6211" y="1162301"/>
                    <a:pt x="17156" y="1166237"/>
                    <a:pt x="31444" y="1151823"/>
                  </a:cubicBezTo>
                  <a:cubicBezTo>
                    <a:pt x="45731" y="1137408"/>
                    <a:pt x="46874" y="1138520"/>
                    <a:pt x="61162" y="1124105"/>
                  </a:cubicBezTo>
                  <a:cubicBezTo>
                    <a:pt x="75449" y="1109691"/>
                    <a:pt x="72846" y="1107106"/>
                    <a:pt x="87133" y="1092813"/>
                  </a:cubicBezTo>
                  <a:cubicBezTo>
                    <a:pt x="101421" y="1078519"/>
                    <a:pt x="104024" y="1080982"/>
                    <a:pt x="118312" y="1066695"/>
                  </a:cubicBezTo>
                  <a:cubicBezTo>
                    <a:pt x="132599" y="1052401"/>
                    <a:pt x="130377" y="1050064"/>
                    <a:pt x="144665" y="1035770"/>
                  </a:cubicBezTo>
                  <a:cubicBezTo>
                    <a:pt x="158952" y="1021477"/>
                    <a:pt x="159460" y="1021851"/>
                    <a:pt x="173874" y="1007557"/>
                  </a:cubicBezTo>
                  <a:cubicBezTo>
                    <a:pt x="188289" y="993270"/>
                    <a:pt x="191019" y="995975"/>
                    <a:pt x="205434" y="981687"/>
                  </a:cubicBezTo>
                  <a:cubicBezTo>
                    <a:pt x="219848" y="967394"/>
                    <a:pt x="217372" y="964930"/>
                    <a:pt x="231659" y="950515"/>
                  </a:cubicBezTo>
                  <a:cubicBezTo>
                    <a:pt x="245947" y="936101"/>
                    <a:pt x="244486" y="934621"/>
                    <a:pt x="258774" y="920207"/>
                  </a:cubicBezTo>
                  <a:cubicBezTo>
                    <a:pt x="273061" y="905792"/>
                    <a:pt x="275411" y="908135"/>
                    <a:pt x="289826" y="893841"/>
                  </a:cubicBezTo>
                  <a:cubicBezTo>
                    <a:pt x="304240" y="879554"/>
                    <a:pt x="301891" y="877211"/>
                    <a:pt x="316178" y="862796"/>
                  </a:cubicBezTo>
                  <a:cubicBezTo>
                    <a:pt x="330466" y="848382"/>
                    <a:pt x="331672" y="849493"/>
                    <a:pt x="345959" y="835199"/>
                  </a:cubicBezTo>
                  <a:cubicBezTo>
                    <a:pt x="360310" y="820912"/>
                    <a:pt x="362279" y="822760"/>
                    <a:pt x="376693" y="808466"/>
                  </a:cubicBezTo>
                  <a:cubicBezTo>
                    <a:pt x="391108" y="794172"/>
                    <a:pt x="391933" y="795036"/>
                    <a:pt x="406348" y="780748"/>
                  </a:cubicBezTo>
                  <a:cubicBezTo>
                    <a:pt x="420762" y="766454"/>
                    <a:pt x="418540" y="764238"/>
                    <a:pt x="432828" y="749824"/>
                  </a:cubicBezTo>
                  <a:cubicBezTo>
                    <a:pt x="447115" y="735409"/>
                    <a:pt x="445781" y="734050"/>
                    <a:pt x="460196" y="719763"/>
                  </a:cubicBezTo>
                  <a:cubicBezTo>
                    <a:pt x="474610" y="705469"/>
                    <a:pt x="477214" y="708060"/>
                    <a:pt x="491502" y="693645"/>
                  </a:cubicBezTo>
                  <a:cubicBezTo>
                    <a:pt x="505789" y="679231"/>
                    <a:pt x="506615" y="680094"/>
                    <a:pt x="520902" y="665680"/>
                  </a:cubicBezTo>
                  <a:cubicBezTo>
                    <a:pt x="535253" y="651265"/>
                    <a:pt x="533157" y="649170"/>
                    <a:pt x="547572" y="634876"/>
                  </a:cubicBezTo>
                  <a:cubicBezTo>
                    <a:pt x="561986" y="620588"/>
                    <a:pt x="563574" y="622189"/>
                    <a:pt x="577861" y="607895"/>
                  </a:cubicBezTo>
                  <a:cubicBezTo>
                    <a:pt x="592149" y="593607"/>
                    <a:pt x="591514" y="592864"/>
                    <a:pt x="605802" y="578577"/>
                  </a:cubicBezTo>
                  <a:cubicBezTo>
                    <a:pt x="620089" y="564283"/>
                    <a:pt x="620978" y="565146"/>
                    <a:pt x="635393" y="550732"/>
                  </a:cubicBezTo>
                  <a:cubicBezTo>
                    <a:pt x="649807" y="536317"/>
                    <a:pt x="647584" y="534222"/>
                    <a:pt x="661872" y="519807"/>
                  </a:cubicBezTo>
                  <a:cubicBezTo>
                    <a:pt x="676159" y="505393"/>
                    <a:pt x="678001" y="507241"/>
                    <a:pt x="692289" y="492826"/>
                  </a:cubicBezTo>
                  <a:cubicBezTo>
                    <a:pt x="706576" y="478412"/>
                    <a:pt x="704607" y="476443"/>
                    <a:pt x="719022" y="462149"/>
                  </a:cubicBezTo>
                  <a:cubicBezTo>
                    <a:pt x="733436" y="447856"/>
                    <a:pt x="734453" y="448846"/>
                    <a:pt x="748740" y="434552"/>
                  </a:cubicBezTo>
                  <a:cubicBezTo>
                    <a:pt x="763028" y="420265"/>
                    <a:pt x="761884" y="419033"/>
                    <a:pt x="776299" y="404739"/>
                  </a:cubicBezTo>
                  <a:cubicBezTo>
                    <a:pt x="790714" y="390445"/>
                    <a:pt x="793317" y="393036"/>
                    <a:pt x="807731" y="378742"/>
                  </a:cubicBezTo>
                  <a:cubicBezTo>
                    <a:pt x="822146" y="364455"/>
                    <a:pt x="818844" y="361127"/>
                    <a:pt x="833258" y="346713"/>
                  </a:cubicBezTo>
                  <a:cubicBezTo>
                    <a:pt x="847673" y="332298"/>
                    <a:pt x="848054" y="332787"/>
                    <a:pt x="862342" y="318373"/>
                  </a:cubicBezTo>
                  <a:cubicBezTo>
                    <a:pt x="876629" y="303958"/>
                    <a:pt x="876883" y="304085"/>
                    <a:pt x="891170" y="289791"/>
                  </a:cubicBezTo>
                  <a:cubicBezTo>
                    <a:pt x="905458" y="275504"/>
                    <a:pt x="907299" y="277225"/>
                    <a:pt x="921714" y="262937"/>
                  </a:cubicBezTo>
                  <a:cubicBezTo>
                    <a:pt x="936129" y="248643"/>
                    <a:pt x="936636" y="249139"/>
                    <a:pt x="951051" y="234845"/>
                  </a:cubicBezTo>
                  <a:cubicBezTo>
                    <a:pt x="965466" y="220551"/>
                    <a:pt x="966037" y="221167"/>
                    <a:pt x="980452" y="206759"/>
                  </a:cubicBezTo>
                  <a:cubicBezTo>
                    <a:pt x="994866" y="192344"/>
                    <a:pt x="991056" y="188642"/>
                    <a:pt x="1005343" y="174228"/>
                  </a:cubicBezTo>
                  <a:cubicBezTo>
                    <a:pt x="1019631" y="159813"/>
                    <a:pt x="1022489" y="162652"/>
                    <a:pt x="1036903" y="148237"/>
                  </a:cubicBezTo>
                  <a:cubicBezTo>
                    <a:pt x="1051318" y="133823"/>
                    <a:pt x="1049222" y="131848"/>
                    <a:pt x="1063636" y="117433"/>
                  </a:cubicBezTo>
                  <a:cubicBezTo>
                    <a:pt x="1078051" y="103019"/>
                    <a:pt x="1077670" y="102778"/>
                    <a:pt x="1092084" y="88363"/>
                  </a:cubicBezTo>
                  <a:cubicBezTo>
                    <a:pt x="1106499" y="73949"/>
                    <a:pt x="1109230" y="76781"/>
                    <a:pt x="1123644" y="62366"/>
                  </a:cubicBezTo>
                  <a:cubicBezTo>
                    <a:pt x="1138058" y="47950"/>
                    <a:pt x="1134566" y="44501"/>
                    <a:pt x="1148981" y="30087"/>
                  </a:cubicBezTo>
                  <a:cubicBezTo>
                    <a:pt x="1163395" y="15672"/>
                    <a:pt x="1161427" y="11853"/>
                    <a:pt x="1180159" y="4091"/>
                  </a:cubicBezTo>
                  <a:cubicBezTo>
                    <a:pt x="1198892" y="-3671"/>
                    <a:pt x="1199907" y="1997"/>
                    <a:pt x="1219973" y="1997"/>
                  </a:cubicBezTo>
                  <a:cubicBezTo>
                    <a:pt x="1240040" y="1997"/>
                    <a:pt x="1240040" y="4091"/>
                    <a:pt x="1260106" y="4091"/>
                  </a:cubicBezTo>
                  <a:cubicBezTo>
                    <a:pt x="1280235" y="4091"/>
                    <a:pt x="1280235" y="4830"/>
                    <a:pt x="1300301" y="4830"/>
                  </a:cubicBezTo>
                  <a:cubicBezTo>
                    <a:pt x="1320367" y="4830"/>
                    <a:pt x="1320367" y="1258"/>
                    <a:pt x="1340433" y="1258"/>
                  </a:cubicBezTo>
                  <a:cubicBezTo>
                    <a:pt x="1360563" y="1258"/>
                    <a:pt x="1360563" y="1011"/>
                    <a:pt x="1380629" y="1011"/>
                  </a:cubicBezTo>
                  <a:cubicBezTo>
                    <a:pt x="1400694" y="1011"/>
                    <a:pt x="1400694" y="2120"/>
                    <a:pt x="1420760" y="2120"/>
                  </a:cubicBezTo>
                  <a:cubicBezTo>
                    <a:pt x="1440890" y="2120"/>
                    <a:pt x="1440890" y="4091"/>
                    <a:pt x="1460956" y="4091"/>
                  </a:cubicBezTo>
                  <a:cubicBezTo>
                    <a:pt x="1481022" y="4091"/>
                    <a:pt x="1481022" y="642"/>
                    <a:pt x="1501088" y="642"/>
                  </a:cubicBezTo>
                  <a:cubicBezTo>
                    <a:pt x="1521218" y="642"/>
                    <a:pt x="1521218" y="1381"/>
                    <a:pt x="1541283" y="1381"/>
                  </a:cubicBezTo>
                  <a:cubicBezTo>
                    <a:pt x="1561350" y="1381"/>
                    <a:pt x="1561350" y="1873"/>
                    <a:pt x="1581416" y="1873"/>
                  </a:cubicBezTo>
                  <a:cubicBezTo>
                    <a:pt x="1601545" y="1873"/>
                    <a:pt x="1601545" y="3968"/>
                    <a:pt x="1621611" y="3968"/>
                  </a:cubicBezTo>
                  <a:cubicBezTo>
                    <a:pt x="1641677" y="3968"/>
                    <a:pt x="1641677" y="1134"/>
                    <a:pt x="1661743" y="1134"/>
                  </a:cubicBezTo>
                  <a:cubicBezTo>
                    <a:pt x="1681872" y="1134"/>
                    <a:pt x="1681872" y="3105"/>
                    <a:pt x="1701939" y="3105"/>
                  </a:cubicBezTo>
                  <a:cubicBezTo>
                    <a:pt x="1722005" y="3105"/>
                    <a:pt x="1722005" y="5939"/>
                    <a:pt x="1742070" y="5939"/>
                  </a:cubicBezTo>
                  <a:cubicBezTo>
                    <a:pt x="1762200" y="5939"/>
                    <a:pt x="1762200" y="6309"/>
                    <a:pt x="1782266" y="6309"/>
                  </a:cubicBezTo>
                  <a:cubicBezTo>
                    <a:pt x="1802332" y="6309"/>
                    <a:pt x="1802332" y="4707"/>
                    <a:pt x="1822398" y="4707"/>
                  </a:cubicBezTo>
                  <a:cubicBezTo>
                    <a:pt x="1842528" y="4707"/>
                    <a:pt x="1842528" y="3229"/>
                    <a:pt x="1862467" y="3229"/>
                  </a:cubicBezTo>
                  <a:cubicBezTo>
                    <a:pt x="1882406" y="3229"/>
                    <a:pt x="1882532" y="3229"/>
                    <a:pt x="1902471" y="3229"/>
                  </a:cubicBezTo>
                  <a:cubicBezTo>
                    <a:pt x="1922474" y="3229"/>
                    <a:pt x="1922601" y="5200"/>
                    <a:pt x="1942540" y="5200"/>
                  </a:cubicBezTo>
                  <a:cubicBezTo>
                    <a:pt x="1962479" y="5200"/>
                    <a:pt x="1962606" y="4091"/>
                    <a:pt x="1982608" y="4091"/>
                  </a:cubicBezTo>
                  <a:cubicBezTo>
                    <a:pt x="2002547" y="4091"/>
                    <a:pt x="2002675" y="5692"/>
                    <a:pt x="2022614" y="5692"/>
                  </a:cubicBezTo>
                  <a:cubicBezTo>
                    <a:pt x="2042553" y="5692"/>
                    <a:pt x="2042680" y="1873"/>
                    <a:pt x="2062682" y="1873"/>
                  </a:cubicBezTo>
                  <a:cubicBezTo>
                    <a:pt x="2082621" y="1873"/>
                    <a:pt x="2082748" y="1873"/>
                    <a:pt x="2102814" y="1873"/>
                  </a:cubicBezTo>
                  <a:cubicBezTo>
                    <a:pt x="2122880" y="1873"/>
                    <a:pt x="2122880" y="888"/>
                    <a:pt x="2143009" y="888"/>
                  </a:cubicBezTo>
                  <a:cubicBezTo>
                    <a:pt x="2163076" y="888"/>
                    <a:pt x="2163076" y="5816"/>
                    <a:pt x="2183142" y="5816"/>
                  </a:cubicBezTo>
                  <a:cubicBezTo>
                    <a:pt x="2203207" y="5816"/>
                    <a:pt x="2203207" y="765"/>
                    <a:pt x="2223337" y="765"/>
                  </a:cubicBezTo>
                  <a:cubicBezTo>
                    <a:pt x="2243403" y="765"/>
                    <a:pt x="2243403" y="2489"/>
                    <a:pt x="2263342" y="2489"/>
                  </a:cubicBezTo>
                  <a:cubicBezTo>
                    <a:pt x="2283344" y="2489"/>
                    <a:pt x="2283408" y="518"/>
                    <a:pt x="2303410" y="518"/>
                  </a:cubicBezTo>
                  <a:cubicBezTo>
                    <a:pt x="2323350" y="518"/>
                    <a:pt x="2323477" y="5569"/>
                    <a:pt x="2343416" y="5569"/>
                  </a:cubicBezTo>
                  <a:cubicBezTo>
                    <a:pt x="2363418" y="5569"/>
                    <a:pt x="2363545" y="2613"/>
                    <a:pt x="2383611" y="2613"/>
                  </a:cubicBezTo>
                  <a:cubicBezTo>
                    <a:pt x="2403677" y="2613"/>
                    <a:pt x="2403677" y="6432"/>
                    <a:pt x="2423743" y="6432"/>
                  </a:cubicBezTo>
                  <a:cubicBezTo>
                    <a:pt x="2443872" y="6432"/>
                    <a:pt x="2443872" y="5076"/>
                    <a:pt x="2463939" y="5076"/>
                  </a:cubicBezTo>
                  <a:cubicBezTo>
                    <a:pt x="2484005" y="5076"/>
                    <a:pt x="2484005" y="2859"/>
                    <a:pt x="2504070" y="2859"/>
                  </a:cubicBezTo>
                  <a:cubicBezTo>
                    <a:pt x="2524200" y="2859"/>
                    <a:pt x="2524200" y="1750"/>
                    <a:pt x="2544266" y="1750"/>
                  </a:cubicBezTo>
                  <a:cubicBezTo>
                    <a:pt x="2564332" y="1750"/>
                    <a:pt x="2564332" y="1011"/>
                    <a:pt x="2584398" y="1011"/>
                  </a:cubicBezTo>
                  <a:cubicBezTo>
                    <a:pt x="2604528" y="1011"/>
                    <a:pt x="2604528" y="3229"/>
                    <a:pt x="2624593" y="3229"/>
                  </a:cubicBezTo>
                  <a:cubicBezTo>
                    <a:pt x="2644659" y="3229"/>
                    <a:pt x="2644659" y="3598"/>
                    <a:pt x="2664726" y="3598"/>
                  </a:cubicBezTo>
                  <a:cubicBezTo>
                    <a:pt x="2684855" y="3598"/>
                    <a:pt x="2684855" y="6063"/>
                    <a:pt x="2704921" y="6063"/>
                  </a:cubicBezTo>
                  <a:cubicBezTo>
                    <a:pt x="2724987" y="6063"/>
                    <a:pt x="2724987" y="4707"/>
                    <a:pt x="2745053" y="4707"/>
                  </a:cubicBezTo>
                  <a:cubicBezTo>
                    <a:pt x="2765119" y="4707"/>
                    <a:pt x="2765119" y="3845"/>
                    <a:pt x="2785249" y="3845"/>
                  </a:cubicBezTo>
                  <a:cubicBezTo>
                    <a:pt x="2805315" y="3845"/>
                    <a:pt x="2805315" y="5076"/>
                    <a:pt x="2825381" y="5076"/>
                  </a:cubicBezTo>
                  <a:cubicBezTo>
                    <a:pt x="2845446" y="5076"/>
                    <a:pt x="2845446" y="3968"/>
                    <a:pt x="2865576" y="3968"/>
                  </a:cubicBezTo>
                  <a:cubicBezTo>
                    <a:pt x="2885642" y="3968"/>
                    <a:pt x="2885642" y="1750"/>
                    <a:pt x="2905708" y="1750"/>
                  </a:cubicBezTo>
                  <a:cubicBezTo>
                    <a:pt x="2925774" y="1750"/>
                    <a:pt x="2925774" y="2243"/>
                    <a:pt x="2945904" y="2243"/>
                  </a:cubicBezTo>
                  <a:cubicBezTo>
                    <a:pt x="2965969" y="2243"/>
                    <a:pt x="2965969" y="765"/>
                    <a:pt x="2986035" y="765"/>
                  </a:cubicBezTo>
                  <a:cubicBezTo>
                    <a:pt x="3006102" y="765"/>
                    <a:pt x="3006102" y="765"/>
                    <a:pt x="3026231" y="765"/>
                  </a:cubicBezTo>
                  <a:cubicBezTo>
                    <a:pt x="3046297" y="765"/>
                    <a:pt x="3046297" y="3968"/>
                    <a:pt x="3066363" y="3968"/>
                  </a:cubicBezTo>
                  <a:cubicBezTo>
                    <a:pt x="3086429" y="3968"/>
                    <a:pt x="3086429" y="4214"/>
                    <a:pt x="3106558" y="4214"/>
                  </a:cubicBezTo>
                  <a:cubicBezTo>
                    <a:pt x="3126625" y="4214"/>
                    <a:pt x="3126625" y="3598"/>
                    <a:pt x="3146691" y="3598"/>
                  </a:cubicBezTo>
                  <a:cubicBezTo>
                    <a:pt x="3166756" y="3598"/>
                    <a:pt x="3166756" y="765"/>
                    <a:pt x="3186886" y="765"/>
                  </a:cubicBezTo>
                  <a:cubicBezTo>
                    <a:pt x="3206952" y="765"/>
                    <a:pt x="3206952" y="1504"/>
                    <a:pt x="3227018" y="1504"/>
                  </a:cubicBezTo>
                  <a:cubicBezTo>
                    <a:pt x="3247084" y="1504"/>
                    <a:pt x="3247084" y="4584"/>
                    <a:pt x="3267214" y="4584"/>
                  </a:cubicBezTo>
                  <a:cubicBezTo>
                    <a:pt x="3287280" y="4584"/>
                    <a:pt x="3287280" y="2243"/>
                    <a:pt x="3307345" y="2243"/>
                  </a:cubicBezTo>
                  <a:cubicBezTo>
                    <a:pt x="3327412" y="2243"/>
                    <a:pt x="3327412" y="1997"/>
                    <a:pt x="3347541" y="1997"/>
                  </a:cubicBezTo>
                  <a:cubicBezTo>
                    <a:pt x="3367607" y="1997"/>
                    <a:pt x="3367607" y="3721"/>
                    <a:pt x="3387546" y="3721"/>
                  </a:cubicBezTo>
                  <a:cubicBezTo>
                    <a:pt x="3407549" y="3721"/>
                    <a:pt x="3407612" y="1627"/>
                    <a:pt x="3427742" y="1627"/>
                  </a:cubicBezTo>
                  <a:cubicBezTo>
                    <a:pt x="3447807" y="1627"/>
                    <a:pt x="3447807" y="2366"/>
                    <a:pt x="3467874" y="2366"/>
                  </a:cubicBezTo>
                  <a:cubicBezTo>
                    <a:pt x="3487940" y="2366"/>
                    <a:pt x="3487940" y="4337"/>
                    <a:pt x="3508069" y="4337"/>
                  </a:cubicBezTo>
                  <a:cubicBezTo>
                    <a:pt x="3528135" y="4337"/>
                    <a:pt x="3528135" y="888"/>
                    <a:pt x="3548201" y="888"/>
                  </a:cubicBezTo>
                  <a:cubicBezTo>
                    <a:pt x="3568267" y="888"/>
                    <a:pt x="3568267" y="5323"/>
                    <a:pt x="3588396" y="5323"/>
                  </a:cubicBezTo>
                  <a:cubicBezTo>
                    <a:pt x="3608463" y="5323"/>
                    <a:pt x="3608463" y="4953"/>
                    <a:pt x="3628529" y="4953"/>
                  </a:cubicBezTo>
                  <a:cubicBezTo>
                    <a:pt x="3648594" y="4953"/>
                    <a:pt x="3648594" y="6309"/>
                    <a:pt x="3668724" y="6309"/>
                  </a:cubicBezTo>
                  <a:cubicBezTo>
                    <a:pt x="3688790" y="6309"/>
                    <a:pt x="3688790" y="5569"/>
                    <a:pt x="3708856" y="5569"/>
                  </a:cubicBezTo>
                  <a:cubicBezTo>
                    <a:pt x="3728922" y="5569"/>
                    <a:pt x="3728922" y="3968"/>
                    <a:pt x="3749052" y="3968"/>
                  </a:cubicBezTo>
                  <a:cubicBezTo>
                    <a:pt x="3769118" y="3968"/>
                    <a:pt x="3769118" y="4953"/>
                    <a:pt x="3789183" y="4953"/>
                  </a:cubicBezTo>
                  <a:cubicBezTo>
                    <a:pt x="3809250" y="4953"/>
                    <a:pt x="3809250" y="6432"/>
                    <a:pt x="3829379" y="6432"/>
                  </a:cubicBezTo>
                  <a:cubicBezTo>
                    <a:pt x="3849445" y="6432"/>
                    <a:pt x="3849445" y="2613"/>
                    <a:pt x="3869511" y="2613"/>
                  </a:cubicBezTo>
                  <a:cubicBezTo>
                    <a:pt x="3889577" y="2613"/>
                    <a:pt x="3889577" y="1504"/>
                    <a:pt x="3909706" y="1504"/>
                  </a:cubicBezTo>
                  <a:cubicBezTo>
                    <a:pt x="3929772" y="1504"/>
                    <a:pt x="3929772" y="518"/>
                    <a:pt x="3949839" y="518"/>
                  </a:cubicBezTo>
                  <a:cubicBezTo>
                    <a:pt x="3969905" y="518"/>
                    <a:pt x="3969905" y="1258"/>
                    <a:pt x="3990161" y="1258"/>
                  </a:cubicBezTo>
                  <a:cubicBezTo>
                    <a:pt x="4010354" y="1258"/>
                    <a:pt x="4010227" y="5939"/>
                    <a:pt x="4030420" y="5939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1BD7D473-AEFA-A44F-8F98-097CBF52B140}"/>
                </a:ext>
              </a:extLst>
            </p:cNvPr>
            <p:cNvSpPr/>
            <p:nvPr/>
          </p:nvSpPr>
          <p:spPr>
            <a:xfrm>
              <a:off x="10613863" y="412483"/>
              <a:ext cx="575460" cy="607786"/>
            </a:xfrm>
            <a:custGeom>
              <a:avLst/>
              <a:gdLst>
                <a:gd name="connsiteX0" fmla="*/ 324837 w 575460"/>
                <a:gd name="connsiteY0" fmla="*/ 6723 h 607786"/>
                <a:gd name="connsiteX1" fmla="*/ 285213 w 575460"/>
                <a:gd name="connsiteY1" fmla="*/ 9310 h 607786"/>
                <a:gd name="connsiteX2" fmla="*/ 245526 w 575460"/>
                <a:gd name="connsiteY2" fmla="*/ 5491 h 607786"/>
                <a:gd name="connsiteX3" fmla="*/ 205838 w 575460"/>
                <a:gd name="connsiteY3" fmla="*/ 9433 h 607786"/>
                <a:gd name="connsiteX4" fmla="*/ 166151 w 575460"/>
                <a:gd name="connsiteY4" fmla="*/ 10665 h 607786"/>
                <a:gd name="connsiteX5" fmla="*/ 126527 w 575460"/>
                <a:gd name="connsiteY5" fmla="*/ 8818 h 607786"/>
                <a:gd name="connsiteX6" fmla="*/ 86839 w 575460"/>
                <a:gd name="connsiteY6" fmla="*/ 5491 h 607786"/>
                <a:gd name="connsiteX7" fmla="*/ 47025 w 575460"/>
                <a:gd name="connsiteY7" fmla="*/ 9187 h 607786"/>
                <a:gd name="connsiteX8" fmla="*/ 6893 w 575460"/>
                <a:gd name="connsiteY8" fmla="*/ 7216 h 607786"/>
                <a:gd name="connsiteX9" fmla="*/ 9687 w 575460"/>
                <a:gd name="connsiteY9" fmla="*/ 47010 h 607786"/>
                <a:gd name="connsiteX10" fmla="*/ 6893 w 575460"/>
                <a:gd name="connsiteY10" fmla="*/ 86434 h 607786"/>
                <a:gd name="connsiteX11" fmla="*/ 5432 w 575460"/>
                <a:gd name="connsiteY11" fmla="*/ 125981 h 607786"/>
                <a:gd name="connsiteX12" fmla="*/ 10194 w 575460"/>
                <a:gd name="connsiteY12" fmla="*/ 165405 h 607786"/>
                <a:gd name="connsiteX13" fmla="*/ 4924 w 575460"/>
                <a:gd name="connsiteY13" fmla="*/ 204953 h 607786"/>
                <a:gd name="connsiteX14" fmla="*/ 6893 w 575460"/>
                <a:gd name="connsiteY14" fmla="*/ 244500 h 607786"/>
                <a:gd name="connsiteX15" fmla="*/ 9814 w 575460"/>
                <a:gd name="connsiteY15" fmla="*/ 284048 h 607786"/>
                <a:gd name="connsiteX16" fmla="*/ 8099 w 575460"/>
                <a:gd name="connsiteY16" fmla="*/ 323596 h 607786"/>
                <a:gd name="connsiteX17" fmla="*/ 4924 w 575460"/>
                <a:gd name="connsiteY17" fmla="*/ 363144 h 607786"/>
                <a:gd name="connsiteX18" fmla="*/ 4670 w 575460"/>
                <a:gd name="connsiteY18" fmla="*/ 402565 h 607786"/>
                <a:gd name="connsiteX19" fmla="*/ 6512 w 575460"/>
                <a:gd name="connsiteY19" fmla="*/ 442112 h 607786"/>
                <a:gd name="connsiteX20" fmla="*/ 5622 w 575460"/>
                <a:gd name="connsiteY20" fmla="*/ 481660 h 607786"/>
                <a:gd name="connsiteX21" fmla="*/ 6766 w 575460"/>
                <a:gd name="connsiteY21" fmla="*/ 521208 h 607786"/>
                <a:gd name="connsiteX22" fmla="*/ 5622 w 575460"/>
                <a:gd name="connsiteY22" fmla="*/ 560756 h 607786"/>
                <a:gd name="connsiteX23" fmla="*/ 6384 w 575460"/>
                <a:gd name="connsiteY23" fmla="*/ 601040 h 607786"/>
                <a:gd name="connsiteX24" fmla="*/ 46770 w 575460"/>
                <a:gd name="connsiteY24" fmla="*/ 603015 h 607786"/>
                <a:gd name="connsiteX25" fmla="*/ 86458 w 575460"/>
                <a:gd name="connsiteY25" fmla="*/ 597592 h 607786"/>
                <a:gd name="connsiteX26" fmla="*/ 126145 w 575460"/>
                <a:gd name="connsiteY26" fmla="*/ 600304 h 607786"/>
                <a:gd name="connsiteX27" fmla="*/ 165833 w 575460"/>
                <a:gd name="connsiteY27" fmla="*/ 599192 h 607786"/>
                <a:gd name="connsiteX28" fmla="*/ 205457 w 575460"/>
                <a:gd name="connsiteY28" fmla="*/ 598087 h 607786"/>
                <a:gd name="connsiteX29" fmla="*/ 245144 w 575460"/>
                <a:gd name="connsiteY29" fmla="*/ 599935 h 607786"/>
                <a:gd name="connsiteX30" fmla="*/ 284959 w 575460"/>
                <a:gd name="connsiteY30" fmla="*/ 599072 h 607786"/>
                <a:gd name="connsiteX31" fmla="*/ 323630 w 575460"/>
                <a:gd name="connsiteY31" fmla="*/ 599319 h 607786"/>
                <a:gd name="connsiteX32" fmla="*/ 326107 w 575460"/>
                <a:gd name="connsiteY32" fmla="*/ 560876 h 607786"/>
                <a:gd name="connsiteX33" fmla="*/ 325599 w 575460"/>
                <a:gd name="connsiteY33" fmla="*/ 521456 h 607786"/>
                <a:gd name="connsiteX34" fmla="*/ 325853 w 575460"/>
                <a:gd name="connsiteY34" fmla="*/ 481908 h 607786"/>
                <a:gd name="connsiteX35" fmla="*/ 323122 w 575460"/>
                <a:gd name="connsiteY35" fmla="*/ 442481 h 607786"/>
                <a:gd name="connsiteX36" fmla="*/ 325599 w 575460"/>
                <a:gd name="connsiteY36" fmla="*/ 402933 h 607786"/>
                <a:gd name="connsiteX37" fmla="*/ 327187 w 575460"/>
                <a:gd name="connsiteY37" fmla="*/ 363385 h 607786"/>
                <a:gd name="connsiteX38" fmla="*/ 323122 w 575460"/>
                <a:gd name="connsiteY38" fmla="*/ 323844 h 607786"/>
                <a:gd name="connsiteX39" fmla="*/ 323504 w 575460"/>
                <a:gd name="connsiteY39" fmla="*/ 284296 h 607786"/>
                <a:gd name="connsiteX40" fmla="*/ 325980 w 575460"/>
                <a:gd name="connsiteY40" fmla="*/ 244748 h 607786"/>
                <a:gd name="connsiteX41" fmla="*/ 327441 w 575460"/>
                <a:gd name="connsiteY41" fmla="*/ 205322 h 607786"/>
                <a:gd name="connsiteX42" fmla="*/ 322043 w 575460"/>
                <a:gd name="connsiteY42" fmla="*/ 165775 h 607786"/>
                <a:gd name="connsiteX43" fmla="*/ 323122 w 575460"/>
                <a:gd name="connsiteY43" fmla="*/ 126227 h 607786"/>
                <a:gd name="connsiteX44" fmla="*/ 325980 w 575460"/>
                <a:gd name="connsiteY44" fmla="*/ 86680 h 607786"/>
                <a:gd name="connsiteX45" fmla="*/ 322551 w 575460"/>
                <a:gd name="connsiteY45" fmla="*/ 47133 h 607786"/>
                <a:gd name="connsiteX46" fmla="*/ 326361 w 575460"/>
                <a:gd name="connsiteY46" fmla="*/ 9310 h 607786"/>
                <a:gd name="connsiteX47" fmla="*/ 365159 w 575460"/>
                <a:gd name="connsiteY47" fmla="*/ 5491 h 607786"/>
                <a:gd name="connsiteX48" fmla="*/ 405672 w 575460"/>
                <a:gd name="connsiteY48" fmla="*/ 10173 h 607786"/>
                <a:gd name="connsiteX49" fmla="*/ 446186 w 575460"/>
                <a:gd name="connsiteY49" fmla="*/ 6477 h 607786"/>
                <a:gd name="connsiteX50" fmla="*/ 486889 w 575460"/>
                <a:gd name="connsiteY50" fmla="*/ 4752 h 607786"/>
                <a:gd name="connsiteX51" fmla="*/ 527529 w 575460"/>
                <a:gd name="connsiteY51" fmla="*/ 5368 h 607786"/>
                <a:gd name="connsiteX52" fmla="*/ 568931 w 575460"/>
                <a:gd name="connsiteY52" fmla="*/ 6723 h 607786"/>
                <a:gd name="connsiteX53" fmla="*/ 569185 w 575460"/>
                <a:gd name="connsiteY53" fmla="*/ 47256 h 607786"/>
                <a:gd name="connsiteX54" fmla="*/ 569756 w 575460"/>
                <a:gd name="connsiteY54" fmla="*/ 86926 h 607786"/>
                <a:gd name="connsiteX55" fmla="*/ 566963 w 575460"/>
                <a:gd name="connsiteY55" fmla="*/ 126721 h 607786"/>
                <a:gd name="connsiteX56" fmla="*/ 568550 w 575460"/>
                <a:gd name="connsiteY56" fmla="*/ 166514 h 607786"/>
                <a:gd name="connsiteX57" fmla="*/ 571154 w 575460"/>
                <a:gd name="connsiteY57" fmla="*/ 206308 h 607786"/>
                <a:gd name="connsiteX58" fmla="*/ 570392 w 575460"/>
                <a:gd name="connsiteY58" fmla="*/ 246100 h 607786"/>
                <a:gd name="connsiteX59" fmla="*/ 568550 w 575460"/>
                <a:gd name="connsiteY59" fmla="*/ 285896 h 607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</a:cxnLst>
              <a:rect l="l" t="t" r="r" b="b"/>
              <a:pathLst>
                <a:path w="575460" h="607786">
                  <a:moveTo>
                    <a:pt x="324837" y="6723"/>
                  </a:moveTo>
                  <a:cubicBezTo>
                    <a:pt x="305025" y="6723"/>
                    <a:pt x="305025" y="9310"/>
                    <a:pt x="285213" y="9310"/>
                  </a:cubicBezTo>
                  <a:cubicBezTo>
                    <a:pt x="265338" y="9310"/>
                    <a:pt x="265338" y="5491"/>
                    <a:pt x="245526" y="5491"/>
                  </a:cubicBezTo>
                  <a:cubicBezTo>
                    <a:pt x="225714" y="5491"/>
                    <a:pt x="225714" y="9433"/>
                    <a:pt x="205838" y="9433"/>
                  </a:cubicBezTo>
                  <a:cubicBezTo>
                    <a:pt x="186026" y="9433"/>
                    <a:pt x="186026" y="10665"/>
                    <a:pt x="166151" y="10665"/>
                  </a:cubicBezTo>
                  <a:cubicBezTo>
                    <a:pt x="146339" y="10665"/>
                    <a:pt x="146339" y="8818"/>
                    <a:pt x="126527" y="8818"/>
                  </a:cubicBezTo>
                  <a:cubicBezTo>
                    <a:pt x="106651" y="8818"/>
                    <a:pt x="106651" y="5491"/>
                    <a:pt x="86839" y="5491"/>
                  </a:cubicBezTo>
                  <a:cubicBezTo>
                    <a:pt x="67027" y="5491"/>
                    <a:pt x="67027" y="9187"/>
                    <a:pt x="47025" y="9187"/>
                  </a:cubicBezTo>
                  <a:cubicBezTo>
                    <a:pt x="27085" y="9187"/>
                    <a:pt x="21053" y="-6706"/>
                    <a:pt x="6893" y="7216"/>
                  </a:cubicBezTo>
                  <a:cubicBezTo>
                    <a:pt x="-7268" y="21138"/>
                    <a:pt x="9687" y="27297"/>
                    <a:pt x="9687" y="47010"/>
                  </a:cubicBezTo>
                  <a:cubicBezTo>
                    <a:pt x="9687" y="66722"/>
                    <a:pt x="6893" y="66722"/>
                    <a:pt x="6893" y="86434"/>
                  </a:cubicBezTo>
                  <a:cubicBezTo>
                    <a:pt x="6893" y="106146"/>
                    <a:pt x="5432" y="106146"/>
                    <a:pt x="5432" y="125981"/>
                  </a:cubicBezTo>
                  <a:cubicBezTo>
                    <a:pt x="5432" y="145816"/>
                    <a:pt x="10194" y="145693"/>
                    <a:pt x="10194" y="165405"/>
                  </a:cubicBezTo>
                  <a:cubicBezTo>
                    <a:pt x="10194" y="185117"/>
                    <a:pt x="4924" y="185117"/>
                    <a:pt x="4924" y="204953"/>
                  </a:cubicBezTo>
                  <a:cubicBezTo>
                    <a:pt x="4924" y="224790"/>
                    <a:pt x="6893" y="224663"/>
                    <a:pt x="6893" y="244500"/>
                  </a:cubicBezTo>
                  <a:cubicBezTo>
                    <a:pt x="6893" y="264338"/>
                    <a:pt x="9814" y="264211"/>
                    <a:pt x="9814" y="284048"/>
                  </a:cubicBezTo>
                  <a:cubicBezTo>
                    <a:pt x="9814" y="303879"/>
                    <a:pt x="8099" y="303759"/>
                    <a:pt x="8099" y="323596"/>
                  </a:cubicBezTo>
                  <a:cubicBezTo>
                    <a:pt x="8099" y="343427"/>
                    <a:pt x="4924" y="343306"/>
                    <a:pt x="4924" y="363144"/>
                  </a:cubicBezTo>
                  <a:cubicBezTo>
                    <a:pt x="4924" y="382975"/>
                    <a:pt x="4670" y="382854"/>
                    <a:pt x="4670" y="402565"/>
                  </a:cubicBezTo>
                  <a:cubicBezTo>
                    <a:pt x="4670" y="422275"/>
                    <a:pt x="6512" y="422275"/>
                    <a:pt x="6512" y="442112"/>
                  </a:cubicBezTo>
                  <a:cubicBezTo>
                    <a:pt x="6512" y="461950"/>
                    <a:pt x="5622" y="461823"/>
                    <a:pt x="5622" y="481660"/>
                  </a:cubicBezTo>
                  <a:cubicBezTo>
                    <a:pt x="5622" y="501498"/>
                    <a:pt x="6766" y="501371"/>
                    <a:pt x="6766" y="521208"/>
                  </a:cubicBezTo>
                  <a:cubicBezTo>
                    <a:pt x="6766" y="541045"/>
                    <a:pt x="5622" y="541045"/>
                    <a:pt x="5622" y="560756"/>
                  </a:cubicBezTo>
                  <a:cubicBezTo>
                    <a:pt x="5622" y="580466"/>
                    <a:pt x="-7522" y="587121"/>
                    <a:pt x="6384" y="601040"/>
                  </a:cubicBezTo>
                  <a:cubicBezTo>
                    <a:pt x="20291" y="614966"/>
                    <a:pt x="26958" y="603015"/>
                    <a:pt x="46770" y="603015"/>
                  </a:cubicBezTo>
                  <a:cubicBezTo>
                    <a:pt x="66646" y="603015"/>
                    <a:pt x="66646" y="597592"/>
                    <a:pt x="86458" y="597592"/>
                  </a:cubicBezTo>
                  <a:cubicBezTo>
                    <a:pt x="106333" y="597592"/>
                    <a:pt x="106333" y="600304"/>
                    <a:pt x="126145" y="600304"/>
                  </a:cubicBezTo>
                  <a:cubicBezTo>
                    <a:pt x="145957" y="600304"/>
                    <a:pt x="145957" y="599192"/>
                    <a:pt x="165833" y="599192"/>
                  </a:cubicBezTo>
                  <a:cubicBezTo>
                    <a:pt x="185645" y="599192"/>
                    <a:pt x="185645" y="598087"/>
                    <a:pt x="205457" y="598087"/>
                  </a:cubicBezTo>
                  <a:cubicBezTo>
                    <a:pt x="225332" y="598087"/>
                    <a:pt x="225332" y="599935"/>
                    <a:pt x="245144" y="599935"/>
                  </a:cubicBezTo>
                  <a:cubicBezTo>
                    <a:pt x="264956" y="599935"/>
                    <a:pt x="264956" y="599072"/>
                    <a:pt x="284959" y="599072"/>
                  </a:cubicBezTo>
                  <a:cubicBezTo>
                    <a:pt x="304898" y="599072"/>
                    <a:pt x="309470" y="613359"/>
                    <a:pt x="323630" y="599319"/>
                  </a:cubicBezTo>
                  <a:cubicBezTo>
                    <a:pt x="337791" y="585273"/>
                    <a:pt x="326107" y="580714"/>
                    <a:pt x="326107" y="560876"/>
                  </a:cubicBezTo>
                  <a:cubicBezTo>
                    <a:pt x="326107" y="541045"/>
                    <a:pt x="325599" y="541166"/>
                    <a:pt x="325599" y="521456"/>
                  </a:cubicBezTo>
                  <a:cubicBezTo>
                    <a:pt x="325599" y="501745"/>
                    <a:pt x="325853" y="501745"/>
                    <a:pt x="325853" y="481908"/>
                  </a:cubicBezTo>
                  <a:cubicBezTo>
                    <a:pt x="325853" y="462070"/>
                    <a:pt x="323122" y="462197"/>
                    <a:pt x="323122" y="442481"/>
                  </a:cubicBezTo>
                  <a:cubicBezTo>
                    <a:pt x="323122" y="422770"/>
                    <a:pt x="325599" y="422770"/>
                    <a:pt x="325599" y="402933"/>
                  </a:cubicBezTo>
                  <a:cubicBezTo>
                    <a:pt x="325599" y="383102"/>
                    <a:pt x="327187" y="383222"/>
                    <a:pt x="327187" y="363385"/>
                  </a:cubicBezTo>
                  <a:cubicBezTo>
                    <a:pt x="327187" y="343554"/>
                    <a:pt x="323122" y="343675"/>
                    <a:pt x="323122" y="323844"/>
                  </a:cubicBezTo>
                  <a:cubicBezTo>
                    <a:pt x="323122" y="304006"/>
                    <a:pt x="323504" y="304127"/>
                    <a:pt x="323504" y="284296"/>
                  </a:cubicBezTo>
                  <a:cubicBezTo>
                    <a:pt x="323504" y="264458"/>
                    <a:pt x="325980" y="264579"/>
                    <a:pt x="325980" y="244748"/>
                  </a:cubicBezTo>
                  <a:cubicBezTo>
                    <a:pt x="325980" y="224911"/>
                    <a:pt x="327441" y="225031"/>
                    <a:pt x="327441" y="205322"/>
                  </a:cubicBezTo>
                  <a:cubicBezTo>
                    <a:pt x="327441" y="185610"/>
                    <a:pt x="322043" y="185610"/>
                    <a:pt x="322043" y="165775"/>
                  </a:cubicBezTo>
                  <a:cubicBezTo>
                    <a:pt x="322043" y="145939"/>
                    <a:pt x="323122" y="146063"/>
                    <a:pt x="323122" y="126227"/>
                  </a:cubicBezTo>
                  <a:cubicBezTo>
                    <a:pt x="323122" y="106392"/>
                    <a:pt x="325980" y="106515"/>
                    <a:pt x="325980" y="86680"/>
                  </a:cubicBezTo>
                  <a:cubicBezTo>
                    <a:pt x="325980" y="66845"/>
                    <a:pt x="322551" y="66845"/>
                    <a:pt x="322551" y="47133"/>
                  </a:cubicBezTo>
                  <a:cubicBezTo>
                    <a:pt x="322551" y="27420"/>
                    <a:pt x="312201" y="23232"/>
                    <a:pt x="326361" y="9310"/>
                  </a:cubicBezTo>
                  <a:cubicBezTo>
                    <a:pt x="340521" y="-4611"/>
                    <a:pt x="344840" y="5491"/>
                    <a:pt x="365159" y="5491"/>
                  </a:cubicBezTo>
                  <a:cubicBezTo>
                    <a:pt x="385480" y="5491"/>
                    <a:pt x="385480" y="10173"/>
                    <a:pt x="405672" y="10173"/>
                  </a:cubicBezTo>
                  <a:cubicBezTo>
                    <a:pt x="425866" y="10173"/>
                    <a:pt x="425993" y="6477"/>
                    <a:pt x="446186" y="6477"/>
                  </a:cubicBezTo>
                  <a:cubicBezTo>
                    <a:pt x="466442" y="6477"/>
                    <a:pt x="466569" y="4752"/>
                    <a:pt x="486889" y="4752"/>
                  </a:cubicBezTo>
                  <a:cubicBezTo>
                    <a:pt x="507209" y="4752"/>
                    <a:pt x="507209" y="5368"/>
                    <a:pt x="527529" y="5368"/>
                  </a:cubicBezTo>
                  <a:cubicBezTo>
                    <a:pt x="547849" y="5368"/>
                    <a:pt x="554390" y="-7568"/>
                    <a:pt x="568931" y="6723"/>
                  </a:cubicBezTo>
                  <a:cubicBezTo>
                    <a:pt x="583472" y="21015"/>
                    <a:pt x="569185" y="27420"/>
                    <a:pt x="569185" y="47256"/>
                  </a:cubicBezTo>
                  <a:cubicBezTo>
                    <a:pt x="569185" y="67091"/>
                    <a:pt x="569756" y="67091"/>
                    <a:pt x="569756" y="86926"/>
                  </a:cubicBezTo>
                  <a:cubicBezTo>
                    <a:pt x="569756" y="106762"/>
                    <a:pt x="566963" y="106762"/>
                    <a:pt x="566963" y="126721"/>
                  </a:cubicBezTo>
                  <a:cubicBezTo>
                    <a:pt x="566963" y="146679"/>
                    <a:pt x="568550" y="146555"/>
                    <a:pt x="568550" y="166514"/>
                  </a:cubicBezTo>
                  <a:cubicBezTo>
                    <a:pt x="568550" y="186472"/>
                    <a:pt x="571154" y="186349"/>
                    <a:pt x="571154" y="206308"/>
                  </a:cubicBezTo>
                  <a:cubicBezTo>
                    <a:pt x="571154" y="226263"/>
                    <a:pt x="570392" y="226263"/>
                    <a:pt x="570392" y="246100"/>
                  </a:cubicBezTo>
                  <a:cubicBezTo>
                    <a:pt x="570392" y="265938"/>
                    <a:pt x="568550" y="266059"/>
                    <a:pt x="568550" y="285896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89C29659-8FA2-209E-C44C-4B181B79EF01}"/>
                </a:ext>
              </a:extLst>
            </p:cNvPr>
            <p:cNvSpPr/>
            <p:nvPr/>
          </p:nvSpPr>
          <p:spPr>
            <a:xfrm>
              <a:off x="11658345" y="580224"/>
              <a:ext cx="1177544" cy="1176934"/>
            </a:xfrm>
            <a:custGeom>
              <a:avLst/>
              <a:gdLst>
                <a:gd name="connsiteX0" fmla="*/ 0 w 1177544"/>
                <a:gd name="connsiteY0" fmla="*/ 1176934 h 1176934"/>
                <a:gd name="connsiteX1" fmla="*/ 26226 w 1177544"/>
                <a:gd name="connsiteY1" fmla="*/ 1145762 h 1176934"/>
                <a:gd name="connsiteX2" fmla="*/ 57912 w 1177544"/>
                <a:gd name="connsiteY2" fmla="*/ 1120013 h 1176934"/>
                <a:gd name="connsiteX3" fmla="*/ 83503 w 1177544"/>
                <a:gd name="connsiteY3" fmla="*/ 1088231 h 1176934"/>
                <a:gd name="connsiteX4" fmla="*/ 112585 w 1177544"/>
                <a:gd name="connsiteY4" fmla="*/ 1059891 h 1176934"/>
                <a:gd name="connsiteX5" fmla="*/ 141288 w 1177544"/>
                <a:gd name="connsiteY5" fmla="*/ 1031189 h 1176934"/>
                <a:gd name="connsiteX6" fmla="*/ 171641 w 1177544"/>
                <a:gd name="connsiteY6" fmla="*/ 1004081 h 1176934"/>
                <a:gd name="connsiteX7" fmla="*/ 199073 w 1177544"/>
                <a:gd name="connsiteY7" fmla="*/ 974147 h 1176934"/>
                <a:gd name="connsiteX8" fmla="*/ 227521 w 1177544"/>
                <a:gd name="connsiteY8" fmla="*/ 945191 h 1176934"/>
                <a:gd name="connsiteX9" fmla="*/ 257873 w 1177544"/>
                <a:gd name="connsiteY9" fmla="*/ 918210 h 1176934"/>
                <a:gd name="connsiteX10" fmla="*/ 286068 w 1177544"/>
                <a:gd name="connsiteY10" fmla="*/ 889013 h 1176934"/>
                <a:gd name="connsiteX11" fmla="*/ 316611 w 1177544"/>
                <a:gd name="connsiteY11" fmla="*/ 862159 h 1176934"/>
                <a:gd name="connsiteX12" fmla="*/ 344678 w 1177544"/>
                <a:gd name="connsiteY12" fmla="*/ 832834 h 1176934"/>
                <a:gd name="connsiteX13" fmla="*/ 372047 w 1177544"/>
                <a:gd name="connsiteY13" fmla="*/ 802894 h 1176934"/>
                <a:gd name="connsiteX14" fmla="*/ 400876 w 1177544"/>
                <a:gd name="connsiteY14" fmla="*/ 774313 h 1176934"/>
                <a:gd name="connsiteX15" fmla="*/ 430340 w 1177544"/>
                <a:gd name="connsiteY15" fmla="*/ 746347 h 1176934"/>
                <a:gd name="connsiteX16" fmla="*/ 458788 w 1177544"/>
                <a:gd name="connsiteY16" fmla="*/ 717398 h 1176934"/>
                <a:gd name="connsiteX17" fmla="*/ 488760 w 1177544"/>
                <a:gd name="connsiteY17" fmla="*/ 689921 h 1176934"/>
                <a:gd name="connsiteX18" fmla="*/ 517208 w 1177544"/>
                <a:gd name="connsiteY18" fmla="*/ 660972 h 1176934"/>
                <a:gd name="connsiteX19" fmla="*/ 543814 w 1177544"/>
                <a:gd name="connsiteY19" fmla="*/ 630168 h 1176934"/>
                <a:gd name="connsiteX20" fmla="*/ 573596 w 1177544"/>
                <a:gd name="connsiteY20" fmla="*/ 602571 h 1176934"/>
                <a:gd name="connsiteX21" fmla="*/ 600837 w 1177544"/>
                <a:gd name="connsiteY21" fmla="*/ 572510 h 1176934"/>
                <a:gd name="connsiteX22" fmla="*/ 632016 w 1177544"/>
                <a:gd name="connsiteY22" fmla="*/ 546392 h 1176934"/>
                <a:gd name="connsiteX23" fmla="*/ 660718 w 1177544"/>
                <a:gd name="connsiteY23" fmla="*/ 517690 h 1176934"/>
                <a:gd name="connsiteX24" fmla="*/ 687960 w 1177544"/>
                <a:gd name="connsiteY24" fmla="*/ 487502 h 1176934"/>
                <a:gd name="connsiteX25" fmla="*/ 718122 w 1177544"/>
                <a:gd name="connsiteY25" fmla="*/ 460280 h 1176934"/>
                <a:gd name="connsiteX26" fmla="*/ 744093 w 1177544"/>
                <a:gd name="connsiteY26" fmla="*/ 428860 h 1176934"/>
                <a:gd name="connsiteX27" fmla="*/ 772732 w 1177544"/>
                <a:gd name="connsiteY27" fmla="*/ 400031 h 1176934"/>
                <a:gd name="connsiteX28" fmla="*/ 802005 w 1177544"/>
                <a:gd name="connsiteY28" fmla="*/ 371945 h 1176934"/>
                <a:gd name="connsiteX29" fmla="*/ 828993 w 1177544"/>
                <a:gd name="connsiteY29" fmla="*/ 341509 h 1176934"/>
                <a:gd name="connsiteX30" fmla="*/ 858584 w 1177544"/>
                <a:gd name="connsiteY30" fmla="*/ 313671 h 1176934"/>
                <a:gd name="connsiteX31" fmla="*/ 886905 w 1177544"/>
                <a:gd name="connsiteY31" fmla="*/ 284467 h 1176934"/>
                <a:gd name="connsiteX32" fmla="*/ 917004 w 1177544"/>
                <a:gd name="connsiteY32" fmla="*/ 257118 h 1176934"/>
                <a:gd name="connsiteX33" fmla="*/ 947293 w 1177544"/>
                <a:gd name="connsiteY33" fmla="*/ 229889 h 1176934"/>
                <a:gd name="connsiteX34" fmla="*/ 974852 w 1177544"/>
                <a:gd name="connsiteY34" fmla="*/ 200076 h 1176934"/>
                <a:gd name="connsiteX35" fmla="*/ 1004189 w 1177544"/>
                <a:gd name="connsiteY35" fmla="*/ 171990 h 1176934"/>
                <a:gd name="connsiteX36" fmla="*/ 1031304 w 1177544"/>
                <a:gd name="connsiteY36" fmla="*/ 141554 h 1176934"/>
                <a:gd name="connsiteX37" fmla="*/ 1060387 w 1177544"/>
                <a:gd name="connsiteY37" fmla="*/ 113100 h 1176934"/>
                <a:gd name="connsiteX38" fmla="*/ 1090930 w 1177544"/>
                <a:gd name="connsiteY38" fmla="*/ 86119 h 1176934"/>
                <a:gd name="connsiteX39" fmla="*/ 1119632 w 1177544"/>
                <a:gd name="connsiteY39" fmla="*/ 57290 h 1176934"/>
                <a:gd name="connsiteX40" fmla="*/ 1147509 w 1177544"/>
                <a:gd name="connsiteY40" fmla="*/ 27597 h 1176934"/>
                <a:gd name="connsiteX41" fmla="*/ 1177544 w 1177544"/>
                <a:gd name="connsiteY41" fmla="*/ 0 h 11769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177544" h="1176934">
                  <a:moveTo>
                    <a:pt x="0" y="1176934"/>
                  </a:moveTo>
                  <a:cubicBezTo>
                    <a:pt x="14288" y="1162641"/>
                    <a:pt x="11938" y="1160177"/>
                    <a:pt x="26226" y="1145762"/>
                  </a:cubicBezTo>
                  <a:cubicBezTo>
                    <a:pt x="40513" y="1131348"/>
                    <a:pt x="43498" y="1134307"/>
                    <a:pt x="57912" y="1120013"/>
                  </a:cubicBezTo>
                  <a:cubicBezTo>
                    <a:pt x="72327" y="1105726"/>
                    <a:pt x="69215" y="1102646"/>
                    <a:pt x="83503" y="1088231"/>
                  </a:cubicBezTo>
                  <a:cubicBezTo>
                    <a:pt x="97790" y="1073817"/>
                    <a:pt x="98172" y="1074185"/>
                    <a:pt x="112585" y="1059891"/>
                  </a:cubicBezTo>
                  <a:cubicBezTo>
                    <a:pt x="127000" y="1045604"/>
                    <a:pt x="127000" y="1045604"/>
                    <a:pt x="141288" y="1031189"/>
                  </a:cubicBezTo>
                  <a:cubicBezTo>
                    <a:pt x="155575" y="1016775"/>
                    <a:pt x="157226" y="1018496"/>
                    <a:pt x="171641" y="1004081"/>
                  </a:cubicBezTo>
                  <a:cubicBezTo>
                    <a:pt x="186055" y="989667"/>
                    <a:pt x="184659" y="988435"/>
                    <a:pt x="199073" y="974147"/>
                  </a:cubicBezTo>
                  <a:cubicBezTo>
                    <a:pt x="213487" y="959853"/>
                    <a:pt x="213234" y="959606"/>
                    <a:pt x="227521" y="945191"/>
                  </a:cubicBezTo>
                  <a:cubicBezTo>
                    <a:pt x="241809" y="930777"/>
                    <a:pt x="243586" y="932504"/>
                    <a:pt x="257873" y="918210"/>
                  </a:cubicBezTo>
                  <a:cubicBezTo>
                    <a:pt x="272161" y="903923"/>
                    <a:pt x="271780" y="903427"/>
                    <a:pt x="286068" y="889013"/>
                  </a:cubicBezTo>
                  <a:cubicBezTo>
                    <a:pt x="300355" y="874598"/>
                    <a:pt x="302323" y="876573"/>
                    <a:pt x="316611" y="862159"/>
                  </a:cubicBezTo>
                  <a:cubicBezTo>
                    <a:pt x="330898" y="847744"/>
                    <a:pt x="330391" y="847249"/>
                    <a:pt x="344678" y="832834"/>
                  </a:cubicBezTo>
                  <a:cubicBezTo>
                    <a:pt x="359029" y="818420"/>
                    <a:pt x="357760" y="817188"/>
                    <a:pt x="372047" y="802894"/>
                  </a:cubicBezTo>
                  <a:cubicBezTo>
                    <a:pt x="386335" y="788606"/>
                    <a:pt x="386588" y="788727"/>
                    <a:pt x="400876" y="774313"/>
                  </a:cubicBezTo>
                  <a:cubicBezTo>
                    <a:pt x="415163" y="759898"/>
                    <a:pt x="415925" y="760641"/>
                    <a:pt x="430340" y="746347"/>
                  </a:cubicBezTo>
                  <a:cubicBezTo>
                    <a:pt x="444754" y="732060"/>
                    <a:pt x="444373" y="731685"/>
                    <a:pt x="458788" y="717398"/>
                  </a:cubicBezTo>
                  <a:cubicBezTo>
                    <a:pt x="473202" y="703104"/>
                    <a:pt x="474409" y="704336"/>
                    <a:pt x="488760" y="689921"/>
                  </a:cubicBezTo>
                  <a:cubicBezTo>
                    <a:pt x="503048" y="675507"/>
                    <a:pt x="502920" y="675386"/>
                    <a:pt x="517208" y="660972"/>
                  </a:cubicBezTo>
                  <a:cubicBezTo>
                    <a:pt x="531495" y="646557"/>
                    <a:pt x="529527" y="644582"/>
                    <a:pt x="543814" y="630168"/>
                  </a:cubicBezTo>
                  <a:cubicBezTo>
                    <a:pt x="558102" y="615753"/>
                    <a:pt x="559181" y="616985"/>
                    <a:pt x="573596" y="602571"/>
                  </a:cubicBezTo>
                  <a:cubicBezTo>
                    <a:pt x="588011" y="588156"/>
                    <a:pt x="586550" y="586804"/>
                    <a:pt x="600837" y="572510"/>
                  </a:cubicBezTo>
                  <a:cubicBezTo>
                    <a:pt x="615125" y="558222"/>
                    <a:pt x="617728" y="560686"/>
                    <a:pt x="632016" y="546392"/>
                  </a:cubicBezTo>
                  <a:cubicBezTo>
                    <a:pt x="646303" y="532105"/>
                    <a:pt x="646430" y="532105"/>
                    <a:pt x="660718" y="517690"/>
                  </a:cubicBezTo>
                  <a:cubicBezTo>
                    <a:pt x="675005" y="503276"/>
                    <a:pt x="673545" y="501796"/>
                    <a:pt x="687960" y="487502"/>
                  </a:cubicBezTo>
                  <a:cubicBezTo>
                    <a:pt x="702373" y="473215"/>
                    <a:pt x="703835" y="474694"/>
                    <a:pt x="718122" y="460280"/>
                  </a:cubicBezTo>
                  <a:cubicBezTo>
                    <a:pt x="732410" y="445865"/>
                    <a:pt x="729679" y="443154"/>
                    <a:pt x="744093" y="428860"/>
                  </a:cubicBezTo>
                  <a:cubicBezTo>
                    <a:pt x="758508" y="414572"/>
                    <a:pt x="758444" y="414325"/>
                    <a:pt x="772732" y="400031"/>
                  </a:cubicBezTo>
                  <a:cubicBezTo>
                    <a:pt x="787019" y="385743"/>
                    <a:pt x="787591" y="386232"/>
                    <a:pt x="802005" y="371945"/>
                  </a:cubicBezTo>
                  <a:cubicBezTo>
                    <a:pt x="816420" y="357651"/>
                    <a:pt x="814705" y="355924"/>
                    <a:pt x="828993" y="341509"/>
                  </a:cubicBezTo>
                  <a:cubicBezTo>
                    <a:pt x="843280" y="327095"/>
                    <a:pt x="844169" y="327958"/>
                    <a:pt x="858584" y="313671"/>
                  </a:cubicBezTo>
                  <a:cubicBezTo>
                    <a:pt x="872998" y="299377"/>
                    <a:pt x="872490" y="298882"/>
                    <a:pt x="886905" y="284467"/>
                  </a:cubicBezTo>
                  <a:cubicBezTo>
                    <a:pt x="901319" y="270053"/>
                    <a:pt x="902653" y="271532"/>
                    <a:pt x="917004" y="257118"/>
                  </a:cubicBezTo>
                  <a:cubicBezTo>
                    <a:pt x="931291" y="242703"/>
                    <a:pt x="932879" y="244304"/>
                    <a:pt x="947293" y="229889"/>
                  </a:cubicBezTo>
                  <a:cubicBezTo>
                    <a:pt x="961708" y="215475"/>
                    <a:pt x="960565" y="214490"/>
                    <a:pt x="974852" y="200076"/>
                  </a:cubicBezTo>
                  <a:cubicBezTo>
                    <a:pt x="989140" y="185661"/>
                    <a:pt x="989902" y="186404"/>
                    <a:pt x="1004189" y="171990"/>
                  </a:cubicBezTo>
                  <a:cubicBezTo>
                    <a:pt x="1018477" y="157575"/>
                    <a:pt x="1016889" y="155969"/>
                    <a:pt x="1031304" y="141554"/>
                  </a:cubicBezTo>
                  <a:cubicBezTo>
                    <a:pt x="1045718" y="127146"/>
                    <a:pt x="1046099" y="127514"/>
                    <a:pt x="1060387" y="113100"/>
                  </a:cubicBezTo>
                  <a:cubicBezTo>
                    <a:pt x="1074674" y="98685"/>
                    <a:pt x="1076643" y="100533"/>
                    <a:pt x="1090930" y="86119"/>
                  </a:cubicBezTo>
                  <a:cubicBezTo>
                    <a:pt x="1105218" y="71704"/>
                    <a:pt x="1105218" y="71704"/>
                    <a:pt x="1119632" y="57290"/>
                  </a:cubicBezTo>
                  <a:cubicBezTo>
                    <a:pt x="1134047" y="42874"/>
                    <a:pt x="1133222" y="42012"/>
                    <a:pt x="1147509" y="27597"/>
                  </a:cubicBezTo>
                  <a:cubicBezTo>
                    <a:pt x="1161797" y="13183"/>
                    <a:pt x="1163130" y="14414"/>
                    <a:pt x="1177544" y="0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764B72EF-53BB-BF88-72F5-E9E2E50FE441}"/>
                </a:ext>
              </a:extLst>
            </p:cNvPr>
            <p:cNvSpPr/>
            <p:nvPr/>
          </p:nvSpPr>
          <p:spPr>
            <a:xfrm>
              <a:off x="10704004" y="580224"/>
              <a:ext cx="1177099" cy="1177302"/>
            </a:xfrm>
            <a:custGeom>
              <a:avLst/>
              <a:gdLst>
                <a:gd name="connsiteX0" fmla="*/ 0 w 1177099"/>
                <a:gd name="connsiteY0" fmla="*/ 1177303 h 1177302"/>
                <a:gd name="connsiteX1" fmla="*/ 27495 w 1177099"/>
                <a:gd name="connsiteY1" fmla="*/ 1147363 h 1177302"/>
                <a:gd name="connsiteX2" fmla="*/ 54737 w 1177099"/>
                <a:gd name="connsiteY2" fmla="*/ 1117181 h 1177302"/>
                <a:gd name="connsiteX3" fmla="*/ 85280 w 1177099"/>
                <a:gd name="connsiteY3" fmla="*/ 1090447 h 1177302"/>
                <a:gd name="connsiteX4" fmla="*/ 113093 w 1177099"/>
                <a:gd name="connsiteY4" fmla="*/ 1061002 h 1177302"/>
                <a:gd name="connsiteX5" fmla="*/ 140970 w 1177099"/>
                <a:gd name="connsiteY5" fmla="*/ 1031558 h 1177302"/>
                <a:gd name="connsiteX6" fmla="*/ 168528 w 1177099"/>
                <a:gd name="connsiteY6" fmla="*/ 1001744 h 1177302"/>
                <a:gd name="connsiteX7" fmla="*/ 197231 w 1177099"/>
                <a:gd name="connsiteY7" fmla="*/ 973036 h 1177302"/>
                <a:gd name="connsiteX8" fmla="*/ 229044 w 1177099"/>
                <a:gd name="connsiteY8" fmla="*/ 947414 h 1177302"/>
                <a:gd name="connsiteX9" fmla="*/ 255397 w 1177099"/>
                <a:gd name="connsiteY9" fmla="*/ 916362 h 1177302"/>
                <a:gd name="connsiteX10" fmla="*/ 286702 w 1177099"/>
                <a:gd name="connsiteY10" fmla="*/ 890372 h 1177302"/>
                <a:gd name="connsiteX11" fmla="*/ 313817 w 1177099"/>
                <a:gd name="connsiteY11" fmla="*/ 860063 h 1177302"/>
                <a:gd name="connsiteX12" fmla="*/ 342900 w 1177099"/>
                <a:gd name="connsiteY12" fmla="*/ 831723 h 1177302"/>
                <a:gd name="connsiteX13" fmla="*/ 370459 w 1177099"/>
                <a:gd name="connsiteY13" fmla="*/ 801910 h 1177302"/>
                <a:gd name="connsiteX14" fmla="*/ 398589 w 1177099"/>
                <a:gd name="connsiteY14" fmla="*/ 772713 h 1177302"/>
                <a:gd name="connsiteX15" fmla="*/ 428117 w 1177099"/>
                <a:gd name="connsiteY15" fmla="*/ 744868 h 1177302"/>
                <a:gd name="connsiteX16" fmla="*/ 458788 w 1177099"/>
                <a:gd name="connsiteY16" fmla="*/ 718134 h 1177302"/>
                <a:gd name="connsiteX17" fmla="*/ 487616 w 1177099"/>
                <a:gd name="connsiteY17" fmla="*/ 689553 h 1177302"/>
                <a:gd name="connsiteX18" fmla="*/ 516572 w 1177099"/>
                <a:gd name="connsiteY18" fmla="*/ 661092 h 1177302"/>
                <a:gd name="connsiteX19" fmla="*/ 543306 w 1177099"/>
                <a:gd name="connsiteY19" fmla="*/ 630415 h 1177302"/>
                <a:gd name="connsiteX20" fmla="*/ 573151 w 1177099"/>
                <a:gd name="connsiteY20" fmla="*/ 602945 h 1177302"/>
                <a:gd name="connsiteX21" fmla="*/ 599122 w 1177099"/>
                <a:gd name="connsiteY21" fmla="*/ 571652 h 1177302"/>
                <a:gd name="connsiteX22" fmla="*/ 629920 w 1177099"/>
                <a:gd name="connsiteY22" fmla="*/ 545040 h 1177302"/>
                <a:gd name="connsiteX23" fmla="*/ 658431 w 1177099"/>
                <a:gd name="connsiteY23" fmla="*/ 516084 h 1177302"/>
                <a:gd name="connsiteX24" fmla="*/ 688975 w 1177099"/>
                <a:gd name="connsiteY24" fmla="*/ 489229 h 1177302"/>
                <a:gd name="connsiteX25" fmla="*/ 714692 w 1177099"/>
                <a:gd name="connsiteY25" fmla="*/ 457689 h 1177302"/>
                <a:gd name="connsiteX26" fmla="*/ 742442 w 1177099"/>
                <a:gd name="connsiteY26" fmla="*/ 427996 h 1177302"/>
                <a:gd name="connsiteX27" fmla="*/ 772858 w 1177099"/>
                <a:gd name="connsiteY27" fmla="*/ 401015 h 1177302"/>
                <a:gd name="connsiteX28" fmla="*/ 802322 w 1177099"/>
                <a:gd name="connsiteY28" fmla="*/ 373050 h 1177302"/>
                <a:gd name="connsiteX29" fmla="*/ 830516 w 1177099"/>
                <a:gd name="connsiteY29" fmla="*/ 343732 h 1177302"/>
                <a:gd name="connsiteX30" fmla="*/ 857631 w 1177099"/>
                <a:gd name="connsiteY30" fmla="*/ 313296 h 1177302"/>
                <a:gd name="connsiteX31" fmla="*/ 889254 w 1177099"/>
                <a:gd name="connsiteY31" fmla="*/ 287547 h 1177302"/>
                <a:gd name="connsiteX32" fmla="*/ 915543 w 1177099"/>
                <a:gd name="connsiteY32" fmla="*/ 256381 h 1177302"/>
                <a:gd name="connsiteX33" fmla="*/ 944245 w 1177099"/>
                <a:gd name="connsiteY33" fmla="*/ 227552 h 1177302"/>
                <a:gd name="connsiteX34" fmla="*/ 973900 w 1177099"/>
                <a:gd name="connsiteY34" fmla="*/ 199707 h 1177302"/>
                <a:gd name="connsiteX35" fmla="*/ 1002284 w 1177099"/>
                <a:gd name="connsiteY35" fmla="*/ 170631 h 1177302"/>
                <a:gd name="connsiteX36" fmla="*/ 1031430 w 1177099"/>
                <a:gd name="connsiteY36" fmla="*/ 142297 h 1177302"/>
                <a:gd name="connsiteX37" fmla="*/ 1060514 w 1177099"/>
                <a:gd name="connsiteY37" fmla="*/ 113836 h 1177302"/>
                <a:gd name="connsiteX38" fmla="*/ 1091311 w 1177099"/>
                <a:gd name="connsiteY38" fmla="*/ 87103 h 1177302"/>
                <a:gd name="connsiteX39" fmla="*/ 1117664 w 1177099"/>
                <a:gd name="connsiteY39" fmla="*/ 55931 h 1177302"/>
                <a:gd name="connsiteX40" fmla="*/ 1145667 w 1177099"/>
                <a:gd name="connsiteY40" fmla="*/ 26242 h 1177302"/>
                <a:gd name="connsiteX41" fmla="*/ 1177100 w 1177099"/>
                <a:gd name="connsiteY41" fmla="*/ 0 h 11773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1177099" h="1177302">
                  <a:moveTo>
                    <a:pt x="0" y="1177303"/>
                  </a:moveTo>
                  <a:cubicBezTo>
                    <a:pt x="14288" y="1163009"/>
                    <a:pt x="13081" y="1161656"/>
                    <a:pt x="27495" y="1147363"/>
                  </a:cubicBezTo>
                  <a:cubicBezTo>
                    <a:pt x="41910" y="1133075"/>
                    <a:pt x="40449" y="1131595"/>
                    <a:pt x="54737" y="1117181"/>
                  </a:cubicBezTo>
                  <a:cubicBezTo>
                    <a:pt x="69024" y="1102766"/>
                    <a:pt x="70993" y="1104735"/>
                    <a:pt x="85280" y="1090447"/>
                  </a:cubicBezTo>
                  <a:cubicBezTo>
                    <a:pt x="99568" y="1076154"/>
                    <a:pt x="98806" y="1075290"/>
                    <a:pt x="113093" y="1061002"/>
                  </a:cubicBezTo>
                  <a:cubicBezTo>
                    <a:pt x="127381" y="1046709"/>
                    <a:pt x="126682" y="1045845"/>
                    <a:pt x="140970" y="1031558"/>
                  </a:cubicBezTo>
                  <a:cubicBezTo>
                    <a:pt x="155257" y="1017264"/>
                    <a:pt x="154114" y="1016032"/>
                    <a:pt x="168528" y="1001744"/>
                  </a:cubicBezTo>
                  <a:cubicBezTo>
                    <a:pt x="182943" y="987450"/>
                    <a:pt x="182943" y="987450"/>
                    <a:pt x="197231" y="973036"/>
                  </a:cubicBezTo>
                  <a:cubicBezTo>
                    <a:pt x="211582" y="958621"/>
                    <a:pt x="214757" y="961828"/>
                    <a:pt x="229044" y="947414"/>
                  </a:cubicBezTo>
                  <a:cubicBezTo>
                    <a:pt x="243332" y="932999"/>
                    <a:pt x="240982" y="930656"/>
                    <a:pt x="255397" y="916362"/>
                  </a:cubicBezTo>
                  <a:cubicBezTo>
                    <a:pt x="269811" y="902075"/>
                    <a:pt x="272414" y="904659"/>
                    <a:pt x="286702" y="890372"/>
                  </a:cubicBezTo>
                  <a:cubicBezTo>
                    <a:pt x="300989" y="876078"/>
                    <a:pt x="299402" y="874351"/>
                    <a:pt x="313817" y="860063"/>
                  </a:cubicBezTo>
                  <a:cubicBezTo>
                    <a:pt x="328231" y="845769"/>
                    <a:pt x="328485" y="846017"/>
                    <a:pt x="342900" y="831723"/>
                  </a:cubicBezTo>
                  <a:cubicBezTo>
                    <a:pt x="357314" y="817436"/>
                    <a:pt x="356171" y="816324"/>
                    <a:pt x="370459" y="801910"/>
                  </a:cubicBezTo>
                  <a:cubicBezTo>
                    <a:pt x="384746" y="787495"/>
                    <a:pt x="384301" y="787006"/>
                    <a:pt x="398589" y="772713"/>
                  </a:cubicBezTo>
                  <a:cubicBezTo>
                    <a:pt x="412876" y="758419"/>
                    <a:pt x="413829" y="759282"/>
                    <a:pt x="428117" y="744868"/>
                  </a:cubicBezTo>
                  <a:cubicBezTo>
                    <a:pt x="442404" y="730453"/>
                    <a:pt x="444373" y="732428"/>
                    <a:pt x="458788" y="718134"/>
                  </a:cubicBezTo>
                  <a:cubicBezTo>
                    <a:pt x="473201" y="703847"/>
                    <a:pt x="473201" y="703847"/>
                    <a:pt x="487616" y="689553"/>
                  </a:cubicBezTo>
                  <a:cubicBezTo>
                    <a:pt x="502031" y="675259"/>
                    <a:pt x="502158" y="675386"/>
                    <a:pt x="516572" y="661092"/>
                  </a:cubicBezTo>
                  <a:cubicBezTo>
                    <a:pt x="530987" y="646805"/>
                    <a:pt x="529018" y="644830"/>
                    <a:pt x="543306" y="630415"/>
                  </a:cubicBezTo>
                  <a:cubicBezTo>
                    <a:pt x="557593" y="616001"/>
                    <a:pt x="558864" y="617233"/>
                    <a:pt x="573151" y="602945"/>
                  </a:cubicBezTo>
                  <a:cubicBezTo>
                    <a:pt x="587439" y="588651"/>
                    <a:pt x="584835" y="585940"/>
                    <a:pt x="599122" y="571652"/>
                  </a:cubicBezTo>
                  <a:cubicBezTo>
                    <a:pt x="613410" y="557359"/>
                    <a:pt x="615505" y="559454"/>
                    <a:pt x="629920" y="545040"/>
                  </a:cubicBezTo>
                  <a:cubicBezTo>
                    <a:pt x="644334" y="530625"/>
                    <a:pt x="644017" y="530377"/>
                    <a:pt x="658431" y="516084"/>
                  </a:cubicBezTo>
                  <a:cubicBezTo>
                    <a:pt x="672846" y="501796"/>
                    <a:pt x="674688" y="503644"/>
                    <a:pt x="688975" y="489229"/>
                  </a:cubicBezTo>
                  <a:cubicBezTo>
                    <a:pt x="703263" y="474815"/>
                    <a:pt x="700405" y="471983"/>
                    <a:pt x="714692" y="457689"/>
                  </a:cubicBezTo>
                  <a:cubicBezTo>
                    <a:pt x="728980" y="443395"/>
                    <a:pt x="728154" y="442411"/>
                    <a:pt x="742442" y="427996"/>
                  </a:cubicBezTo>
                  <a:cubicBezTo>
                    <a:pt x="756729" y="413582"/>
                    <a:pt x="758571" y="415430"/>
                    <a:pt x="772858" y="401015"/>
                  </a:cubicBezTo>
                  <a:cubicBezTo>
                    <a:pt x="787146" y="386601"/>
                    <a:pt x="787908" y="387344"/>
                    <a:pt x="802322" y="373050"/>
                  </a:cubicBezTo>
                  <a:cubicBezTo>
                    <a:pt x="816737" y="358762"/>
                    <a:pt x="816101" y="358146"/>
                    <a:pt x="830516" y="343732"/>
                  </a:cubicBezTo>
                  <a:cubicBezTo>
                    <a:pt x="844931" y="329317"/>
                    <a:pt x="843216" y="327711"/>
                    <a:pt x="857631" y="313296"/>
                  </a:cubicBezTo>
                  <a:cubicBezTo>
                    <a:pt x="872045" y="298882"/>
                    <a:pt x="874839" y="301841"/>
                    <a:pt x="889254" y="287547"/>
                  </a:cubicBezTo>
                  <a:cubicBezTo>
                    <a:pt x="903668" y="273260"/>
                    <a:pt x="901255" y="270796"/>
                    <a:pt x="915543" y="256381"/>
                  </a:cubicBezTo>
                  <a:cubicBezTo>
                    <a:pt x="929830" y="241967"/>
                    <a:pt x="929830" y="241967"/>
                    <a:pt x="944245" y="227552"/>
                  </a:cubicBezTo>
                  <a:cubicBezTo>
                    <a:pt x="958659" y="213138"/>
                    <a:pt x="959485" y="214122"/>
                    <a:pt x="973900" y="199707"/>
                  </a:cubicBezTo>
                  <a:cubicBezTo>
                    <a:pt x="988314" y="185293"/>
                    <a:pt x="987933" y="185045"/>
                    <a:pt x="1002284" y="170631"/>
                  </a:cubicBezTo>
                  <a:cubicBezTo>
                    <a:pt x="1016571" y="156216"/>
                    <a:pt x="1017015" y="156712"/>
                    <a:pt x="1031430" y="142297"/>
                  </a:cubicBezTo>
                  <a:cubicBezTo>
                    <a:pt x="1045845" y="127883"/>
                    <a:pt x="1046099" y="128251"/>
                    <a:pt x="1060514" y="113836"/>
                  </a:cubicBezTo>
                  <a:cubicBezTo>
                    <a:pt x="1074927" y="99422"/>
                    <a:pt x="1076896" y="101397"/>
                    <a:pt x="1091311" y="87103"/>
                  </a:cubicBezTo>
                  <a:cubicBezTo>
                    <a:pt x="1105726" y="72809"/>
                    <a:pt x="1103249" y="70225"/>
                    <a:pt x="1117664" y="55931"/>
                  </a:cubicBezTo>
                  <a:cubicBezTo>
                    <a:pt x="1132077" y="41642"/>
                    <a:pt x="1131252" y="40657"/>
                    <a:pt x="1145667" y="26242"/>
                  </a:cubicBezTo>
                  <a:cubicBezTo>
                    <a:pt x="1160081" y="11828"/>
                    <a:pt x="1162685" y="14414"/>
                    <a:pt x="1177100" y="0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6F48644-14C5-3884-6BFB-C3F59C843FC2}"/>
                </a:ext>
              </a:extLst>
            </p:cNvPr>
            <p:cNvSpPr/>
            <p:nvPr/>
          </p:nvSpPr>
          <p:spPr>
            <a:xfrm>
              <a:off x="10939843" y="789051"/>
              <a:ext cx="221868" cy="224840"/>
            </a:xfrm>
            <a:custGeom>
              <a:avLst/>
              <a:gdLst>
                <a:gd name="connsiteX0" fmla="*/ 221869 w 221868"/>
                <a:gd name="connsiteY0" fmla="*/ 0 h 224840"/>
                <a:gd name="connsiteX1" fmla="*/ 195389 w 221868"/>
                <a:gd name="connsiteY1" fmla="*/ 29318 h 224840"/>
                <a:gd name="connsiteX2" fmla="*/ 164973 w 221868"/>
                <a:gd name="connsiteY2" fmla="*/ 54699 h 224840"/>
                <a:gd name="connsiteX3" fmla="*/ 136969 w 221868"/>
                <a:gd name="connsiteY3" fmla="*/ 82544 h 224840"/>
                <a:gd name="connsiteX4" fmla="*/ 109664 w 221868"/>
                <a:gd name="connsiteY4" fmla="*/ 111004 h 224840"/>
                <a:gd name="connsiteX5" fmla="*/ 81661 w 221868"/>
                <a:gd name="connsiteY5" fmla="*/ 138843 h 224840"/>
                <a:gd name="connsiteX6" fmla="*/ 53339 w 221868"/>
                <a:gd name="connsiteY6" fmla="*/ 166319 h 224840"/>
                <a:gd name="connsiteX7" fmla="*/ 26225 w 221868"/>
                <a:gd name="connsiteY7" fmla="*/ 195148 h 224840"/>
                <a:gd name="connsiteX8" fmla="*/ 0 w 221868"/>
                <a:gd name="connsiteY8" fmla="*/ 224841 h 224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1868" h="224840">
                  <a:moveTo>
                    <a:pt x="221869" y="0"/>
                  </a:moveTo>
                  <a:cubicBezTo>
                    <a:pt x="207963" y="13919"/>
                    <a:pt x="209296" y="15399"/>
                    <a:pt x="195389" y="29318"/>
                  </a:cubicBezTo>
                  <a:cubicBezTo>
                    <a:pt x="181483" y="43244"/>
                    <a:pt x="178879" y="40780"/>
                    <a:pt x="164973" y="54699"/>
                  </a:cubicBezTo>
                  <a:cubicBezTo>
                    <a:pt x="151002" y="68618"/>
                    <a:pt x="150939" y="68618"/>
                    <a:pt x="136969" y="82544"/>
                  </a:cubicBezTo>
                  <a:cubicBezTo>
                    <a:pt x="123062" y="96463"/>
                    <a:pt x="123571" y="97079"/>
                    <a:pt x="109664" y="111004"/>
                  </a:cubicBezTo>
                  <a:cubicBezTo>
                    <a:pt x="95694" y="124924"/>
                    <a:pt x="95567" y="124924"/>
                    <a:pt x="81661" y="138843"/>
                  </a:cubicBezTo>
                  <a:cubicBezTo>
                    <a:pt x="67754" y="152768"/>
                    <a:pt x="67246" y="152400"/>
                    <a:pt x="53339" y="166319"/>
                  </a:cubicBezTo>
                  <a:cubicBezTo>
                    <a:pt x="39433" y="180238"/>
                    <a:pt x="40132" y="181102"/>
                    <a:pt x="26225" y="195148"/>
                  </a:cubicBezTo>
                  <a:cubicBezTo>
                    <a:pt x="12319" y="209194"/>
                    <a:pt x="14033" y="210915"/>
                    <a:pt x="0" y="224841"/>
                  </a:cubicBezTo>
                </a:path>
              </a:pathLst>
            </a:custGeom>
            <a:noFill/>
            <a:ln w="12320" cap="rnd">
              <a:solidFill>
                <a:srgbClr val="B5CEBD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45" name="Graphic 44">
            <a:extLst>
              <a:ext uri="{FF2B5EF4-FFF2-40B4-BE49-F238E27FC236}">
                <a16:creationId xmlns:a16="http://schemas.microsoft.com/office/drawing/2014/main" id="{7BB81FFF-1A67-36F3-54F0-A6F10FB6FEA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43502" y="4927214"/>
            <a:ext cx="1604188" cy="118119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8C9069FC-638C-8501-12F4-EA92709ED8F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497379" y="2889199"/>
            <a:ext cx="2335600" cy="2881419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5979094B-0469-5781-AE1A-2B18B928621C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3188191" y="1858761"/>
            <a:ext cx="1413139" cy="947445"/>
          </a:xfrm>
          <a:prstGeom prst="rect">
            <a:avLst/>
          </a:prstGeom>
        </p:spPr>
      </p:pic>
      <p:grpSp>
        <p:nvGrpSpPr>
          <p:cNvPr id="48" name="Graphic 7">
            <a:extLst>
              <a:ext uri="{FF2B5EF4-FFF2-40B4-BE49-F238E27FC236}">
                <a16:creationId xmlns:a16="http://schemas.microsoft.com/office/drawing/2014/main" id="{860576DC-561D-BC39-8F9D-3B9C27A9ECAF}"/>
              </a:ext>
            </a:extLst>
          </p:cNvPr>
          <p:cNvGrpSpPr/>
          <p:nvPr/>
        </p:nvGrpSpPr>
        <p:grpSpPr>
          <a:xfrm>
            <a:off x="5049587" y="2725308"/>
            <a:ext cx="1475545" cy="3325114"/>
            <a:chOff x="5791524" y="1498676"/>
            <a:chExt cx="1802287" cy="4061421"/>
          </a:xfrm>
          <a:noFill/>
        </p:grpSpPr>
        <p:sp>
          <p:nvSpPr>
            <p:cNvPr id="49" name="Freeform: Shape 60">
              <a:extLst>
                <a:ext uri="{FF2B5EF4-FFF2-40B4-BE49-F238E27FC236}">
                  <a16:creationId xmlns:a16="http://schemas.microsoft.com/office/drawing/2014/main" id="{529C53F9-95FC-677A-D582-0C3FB7BF167B}"/>
                </a:ext>
              </a:extLst>
            </p:cNvPr>
            <p:cNvSpPr/>
            <p:nvPr/>
          </p:nvSpPr>
          <p:spPr>
            <a:xfrm>
              <a:off x="6195677" y="2863136"/>
              <a:ext cx="340213" cy="220266"/>
            </a:xfrm>
            <a:custGeom>
              <a:avLst/>
              <a:gdLst>
                <a:gd name="connsiteX0" fmla="*/ 335869 w 340213"/>
                <a:gd name="connsiteY0" fmla="*/ 6530 h 220266"/>
                <a:gd name="connsiteX1" fmla="*/ 292244 w 340213"/>
                <a:gd name="connsiteY1" fmla="*/ 9863 h 220266"/>
                <a:gd name="connsiteX2" fmla="*/ 250017 w 340213"/>
                <a:gd name="connsiteY2" fmla="*/ 9368 h 220266"/>
                <a:gd name="connsiteX3" fmla="*/ 207789 w 340213"/>
                <a:gd name="connsiteY3" fmla="*/ 6282 h 220266"/>
                <a:gd name="connsiteX4" fmla="*/ 165435 w 340213"/>
                <a:gd name="connsiteY4" fmla="*/ 7266 h 220266"/>
                <a:gd name="connsiteX5" fmla="*/ 122420 w 340213"/>
                <a:gd name="connsiteY5" fmla="*/ 6530 h 220266"/>
                <a:gd name="connsiteX6" fmla="*/ 103027 w 340213"/>
                <a:gd name="connsiteY6" fmla="*/ 41607 h 220266"/>
                <a:gd name="connsiteX7" fmla="*/ 84377 w 340213"/>
                <a:gd name="connsiteY7" fmla="*/ 76316 h 220266"/>
                <a:gd name="connsiteX8" fmla="*/ 63130 w 340213"/>
                <a:gd name="connsiteY8" fmla="*/ 109425 h 220266"/>
                <a:gd name="connsiteX9" fmla="*/ 45960 w 340213"/>
                <a:gd name="connsiteY9" fmla="*/ 144998 h 220266"/>
                <a:gd name="connsiteX10" fmla="*/ 23849 w 340213"/>
                <a:gd name="connsiteY10" fmla="*/ 177732 h 220266"/>
                <a:gd name="connsiteX11" fmla="*/ 2602 w 340213"/>
                <a:gd name="connsiteY11" fmla="*/ 213673 h 220266"/>
                <a:gd name="connsiteX12" fmla="*/ 44849 w 340213"/>
                <a:gd name="connsiteY12" fmla="*/ 209603 h 220266"/>
                <a:gd name="connsiteX13" fmla="*/ 84872 w 340213"/>
                <a:gd name="connsiteY13" fmla="*/ 211330 h 220266"/>
                <a:gd name="connsiteX14" fmla="*/ 124890 w 340213"/>
                <a:gd name="connsiteY14" fmla="*/ 213552 h 220266"/>
                <a:gd name="connsiteX15" fmla="*/ 164927 w 340213"/>
                <a:gd name="connsiteY15" fmla="*/ 214911 h 220266"/>
                <a:gd name="connsiteX16" fmla="*/ 205059 w 340213"/>
                <a:gd name="connsiteY16" fmla="*/ 213432 h 220266"/>
                <a:gd name="connsiteX17" fmla="*/ 244810 w 340213"/>
                <a:gd name="connsiteY17" fmla="*/ 211825 h 220266"/>
                <a:gd name="connsiteX18" fmla="*/ 260876 w 340213"/>
                <a:gd name="connsiteY18" fmla="*/ 178716 h 220266"/>
                <a:gd name="connsiteX19" fmla="*/ 276306 w 340213"/>
                <a:gd name="connsiteY19" fmla="*/ 144871 h 220266"/>
                <a:gd name="connsiteX20" fmla="*/ 291292 w 340213"/>
                <a:gd name="connsiteY20" fmla="*/ 110784 h 220266"/>
                <a:gd name="connsiteX21" fmla="*/ 305833 w 340213"/>
                <a:gd name="connsiteY21" fmla="*/ 76564 h 220266"/>
                <a:gd name="connsiteX22" fmla="*/ 320946 w 340213"/>
                <a:gd name="connsiteY22" fmla="*/ 42966 h 220266"/>
                <a:gd name="connsiteX23" fmla="*/ 335742 w 340213"/>
                <a:gd name="connsiteY23" fmla="*/ 6650 h 220266"/>
                <a:gd name="connsiteX24" fmla="*/ 335869 w 340213"/>
                <a:gd name="connsiteY24" fmla="*/ 6530 h 220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340213" h="220266">
                  <a:moveTo>
                    <a:pt x="335869" y="6530"/>
                  </a:moveTo>
                  <a:cubicBezTo>
                    <a:pt x="322661" y="-9904"/>
                    <a:pt x="313390" y="9863"/>
                    <a:pt x="292244" y="9863"/>
                  </a:cubicBezTo>
                  <a:cubicBezTo>
                    <a:pt x="271163" y="9863"/>
                    <a:pt x="271163" y="9368"/>
                    <a:pt x="250017" y="9368"/>
                  </a:cubicBezTo>
                  <a:cubicBezTo>
                    <a:pt x="228871" y="9368"/>
                    <a:pt x="228871" y="6282"/>
                    <a:pt x="207789" y="6282"/>
                  </a:cubicBezTo>
                  <a:cubicBezTo>
                    <a:pt x="186644" y="6282"/>
                    <a:pt x="186644" y="7266"/>
                    <a:pt x="165435" y="7266"/>
                  </a:cubicBezTo>
                  <a:cubicBezTo>
                    <a:pt x="144163" y="7266"/>
                    <a:pt x="140949" y="-3726"/>
                    <a:pt x="122420" y="6530"/>
                  </a:cubicBezTo>
                  <a:cubicBezTo>
                    <a:pt x="105129" y="16036"/>
                    <a:pt x="112908" y="24564"/>
                    <a:pt x="103027" y="41607"/>
                  </a:cubicBezTo>
                  <a:cubicBezTo>
                    <a:pt x="93147" y="58657"/>
                    <a:pt x="94137" y="59273"/>
                    <a:pt x="84377" y="76316"/>
                  </a:cubicBezTo>
                  <a:cubicBezTo>
                    <a:pt x="74617" y="93366"/>
                    <a:pt x="72890" y="92502"/>
                    <a:pt x="63130" y="109425"/>
                  </a:cubicBezTo>
                  <a:cubicBezTo>
                    <a:pt x="53370" y="126348"/>
                    <a:pt x="55840" y="127948"/>
                    <a:pt x="45960" y="144998"/>
                  </a:cubicBezTo>
                  <a:cubicBezTo>
                    <a:pt x="36079" y="162041"/>
                    <a:pt x="33729" y="160682"/>
                    <a:pt x="23849" y="177732"/>
                  </a:cubicBezTo>
                  <a:cubicBezTo>
                    <a:pt x="13968" y="194775"/>
                    <a:pt x="-7399" y="196750"/>
                    <a:pt x="2602" y="213673"/>
                  </a:cubicBezTo>
                  <a:cubicBezTo>
                    <a:pt x="12609" y="230596"/>
                    <a:pt x="24840" y="209603"/>
                    <a:pt x="44849" y="209603"/>
                  </a:cubicBezTo>
                  <a:cubicBezTo>
                    <a:pt x="64857" y="209603"/>
                    <a:pt x="64857" y="211330"/>
                    <a:pt x="84872" y="211330"/>
                  </a:cubicBezTo>
                  <a:cubicBezTo>
                    <a:pt x="104881" y="211330"/>
                    <a:pt x="104881" y="213552"/>
                    <a:pt x="124890" y="213552"/>
                  </a:cubicBezTo>
                  <a:cubicBezTo>
                    <a:pt x="144906" y="213552"/>
                    <a:pt x="144906" y="214911"/>
                    <a:pt x="164927" y="214911"/>
                  </a:cubicBezTo>
                  <a:cubicBezTo>
                    <a:pt x="184930" y="214911"/>
                    <a:pt x="184930" y="213432"/>
                    <a:pt x="205059" y="213432"/>
                  </a:cubicBezTo>
                  <a:cubicBezTo>
                    <a:pt x="225188" y="213432"/>
                    <a:pt x="227792" y="222449"/>
                    <a:pt x="244810" y="211825"/>
                  </a:cubicBezTo>
                  <a:cubicBezTo>
                    <a:pt x="260621" y="202065"/>
                    <a:pt x="253509" y="195766"/>
                    <a:pt x="260876" y="178716"/>
                  </a:cubicBezTo>
                  <a:cubicBezTo>
                    <a:pt x="268305" y="161673"/>
                    <a:pt x="268940" y="161920"/>
                    <a:pt x="276306" y="144871"/>
                  </a:cubicBezTo>
                  <a:cubicBezTo>
                    <a:pt x="283736" y="127827"/>
                    <a:pt x="283863" y="127827"/>
                    <a:pt x="291292" y="110784"/>
                  </a:cubicBezTo>
                  <a:cubicBezTo>
                    <a:pt x="298721" y="93734"/>
                    <a:pt x="298468" y="93614"/>
                    <a:pt x="305833" y="76564"/>
                  </a:cubicBezTo>
                  <a:cubicBezTo>
                    <a:pt x="313263" y="59520"/>
                    <a:pt x="309453" y="57666"/>
                    <a:pt x="320946" y="42966"/>
                  </a:cubicBezTo>
                  <a:cubicBezTo>
                    <a:pt x="334154" y="26043"/>
                    <a:pt x="347363" y="21103"/>
                    <a:pt x="335742" y="6650"/>
                  </a:cubicBezTo>
                  <a:lnTo>
                    <a:pt x="335869" y="6530"/>
                  </a:lnTo>
                  <a:close/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0" name="Freeform: Shape 61">
              <a:extLst>
                <a:ext uri="{FF2B5EF4-FFF2-40B4-BE49-F238E27FC236}">
                  <a16:creationId xmlns:a16="http://schemas.microsoft.com/office/drawing/2014/main" id="{16DCECB5-4E9E-D39B-FEF8-9BA2898314A4}"/>
                </a:ext>
              </a:extLst>
            </p:cNvPr>
            <p:cNvSpPr/>
            <p:nvPr/>
          </p:nvSpPr>
          <p:spPr>
            <a:xfrm>
              <a:off x="6621843" y="3021723"/>
              <a:ext cx="4317" cy="161937"/>
            </a:xfrm>
            <a:custGeom>
              <a:avLst/>
              <a:gdLst>
                <a:gd name="connsiteX0" fmla="*/ 508 w 4317"/>
                <a:gd name="connsiteY0" fmla="*/ 161938 h 161937"/>
                <a:gd name="connsiteX1" fmla="*/ 4318 w 4317"/>
                <a:gd name="connsiteY1" fmla="*/ 121545 h 161937"/>
                <a:gd name="connsiteX2" fmla="*/ 0 w 4317"/>
                <a:gd name="connsiteY2" fmla="*/ 81026 h 161937"/>
                <a:gd name="connsiteX3" fmla="*/ 1143 w 4317"/>
                <a:gd name="connsiteY3" fmla="*/ 40513 h 161937"/>
                <a:gd name="connsiteX4" fmla="*/ 3873 w 4317"/>
                <a:gd name="connsiteY4" fmla="*/ 0 h 1619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17" h="161937">
                  <a:moveTo>
                    <a:pt x="508" y="161938"/>
                  </a:moveTo>
                  <a:cubicBezTo>
                    <a:pt x="508" y="141681"/>
                    <a:pt x="4318" y="141681"/>
                    <a:pt x="4318" y="121545"/>
                  </a:cubicBezTo>
                  <a:cubicBezTo>
                    <a:pt x="4318" y="101410"/>
                    <a:pt x="0" y="101289"/>
                    <a:pt x="0" y="81026"/>
                  </a:cubicBezTo>
                  <a:cubicBezTo>
                    <a:pt x="0" y="60770"/>
                    <a:pt x="1143" y="60770"/>
                    <a:pt x="1143" y="40513"/>
                  </a:cubicBezTo>
                  <a:cubicBezTo>
                    <a:pt x="1143" y="20257"/>
                    <a:pt x="3873" y="20257"/>
                    <a:pt x="3873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1" name="Freeform: Shape 62">
              <a:extLst>
                <a:ext uri="{FF2B5EF4-FFF2-40B4-BE49-F238E27FC236}">
                  <a16:creationId xmlns:a16="http://schemas.microsoft.com/office/drawing/2014/main" id="{9DEB2210-B835-2B2C-DAF5-A95DCC59DAA4}"/>
                </a:ext>
              </a:extLst>
            </p:cNvPr>
            <p:cNvSpPr/>
            <p:nvPr/>
          </p:nvSpPr>
          <p:spPr>
            <a:xfrm>
              <a:off x="6461759" y="3244684"/>
              <a:ext cx="168470" cy="170860"/>
            </a:xfrm>
            <a:custGeom>
              <a:avLst/>
              <a:gdLst>
                <a:gd name="connsiteX0" fmla="*/ 0 w 168470"/>
                <a:gd name="connsiteY0" fmla="*/ 168237 h 170860"/>
                <a:gd name="connsiteX1" fmla="*/ 40513 w 168470"/>
                <a:gd name="connsiteY1" fmla="*/ 166631 h 170860"/>
                <a:gd name="connsiteX2" fmla="*/ 81026 w 168470"/>
                <a:gd name="connsiteY2" fmla="*/ 166631 h 170860"/>
                <a:gd name="connsiteX3" fmla="*/ 121666 w 168470"/>
                <a:gd name="connsiteY3" fmla="*/ 164160 h 170860"/>
                <a:gd name="connsiteX4" fmla="*/ 160972 w 168470"/>
                <a:gd name="connsiteY4" fmla="*/ 164528 h 170860"/>
                <a:gd name="connsiteX5" fmla="*/ 165036 w 168470"/>
                <a:gd name="connsiteY5" fmla="*/ 124384 h 170860"/>
                <a:gd name="connsiteX6" fmla="*/ 161099 w 168470"/>
                <a:gd name="connsiteY6" fmla="*/ 83007 h 170860"/>
                <a:gd name="connsiteX7" fmla="*/ 164274 w 168470"/>
                <a:gd name="connsiteY7" fmla="*/ 41504 h 170860"/>
                <a:gd name="connsiteX8" fmla="*/ 161290 w 168470"/>
                <a:gd name="connsiteY8" fmla="*/ 0 h 170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470" h="170860">
                  <a:moveTo>
                    <a:pt x="0" y="168237"/>
                  </a:moveTo>
                  <a:cubicBezTo>
                    <a:pt x="20257" y="167989"/>
                    <a:pt x="20257" y="166878"/>
                    <a:pt x="40513" y="166631"/>
                  </a:cubicBezTo>
                  <a:cubicBezTo>
                    <a:pt x="60770" y="166383"/>
                    <a:pt x="60770" y="166878"/>
                    <a:pt x="81026" y="166631"/>
                  </a:cubicBezTo>
                  <a:cubicBezTo>
                    <a:pt x="101283" y="166383"/>
                    <a:pt x="101283" y="164408"/>
                    <a:pt x="121666" y="164160"/>
                  </a:cubicBezTo>
                  <a:cubicBezTo>
                    <a:pt x="142049" y="163912"/>
                    <a:pt x="146876" y="179108"/>
                    <a:pt x="160972" y="164528"/>
                  </a:cubicBezTo>
                  <a:cubicBezTo>
                    <a:pt x="175006" y="149955"/>
                    <a:pt x="165036" y="145136"/>
                    <a:pt x="165036" y="124384"/>
                  </a:cubicBezTo>
                  <a:cubicBezTo>
                    <a:pt x="165036" y="103632"/>
                    <a:pt x="161099" y="103632"/>
                    <a:pt x="161099" y="83007"/>
                  </a:cubicBezTo>
                  <a:cubicBezTo>
                    <a:pt x="161099" y="62376"/>
                    <a:pt x="164274" y="62256"/>
                    <a:pt x="164274" y="41504"/>
                  </a:cubicBezTo>
                  <a:cubicBezTo>
                    <a:pt x="164274" y="20752"/>
                    <a:pt x="161290" y="20752"/>
                    <a:pt x="161290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2" name="Freeform: Shape 63">
              <a:extLst>
                <a:ext uri="{FF2B5EF4-FFF2-40B4-BE49-F238E27FC236}">
                  <a16:creationId xmlns:a16="http://schemas.microsoft.com/office/drawing/2014/main" id="{12104DB9-4981-D458-3089-474649CCB705}"/>
                </a:ext>
              </a:extLst>
            </p:cNvPr>
            <p:cNvSpPr/>
            <p:nvPr/>
          </p:nvSpPr>
          <p:spPr>
            <a:xfrm>
              <a:off x="6236592" y="3076936"/>
              <a:ext cx="182304" cy="343470"/>
            </a:xfrm>
            <a:custGeom>
              <a:avLst/>
              <a:gdLst>
                <a:gd name="connsiteX0" fmla="*/ 7280 w 182304"/>
                <a:gd name="connsiteY0" fmla="*/ 0 h 343470"/>
                <a:gd name="connsiteX1" fmla="*/ 11236 w 182304"/>
                <a:gd name="connsiteY1" fmla="*/ 41872 h 343470"/>
                <a:gd name="connsiteX2" fmla="*/ 7032 w 182304"/>
                <a:gd name="connsiteY2" fmla="*/ 83750 h 343470"/>
                <a:gd name="connsiteX3" fmla="*/ 11357 w 182304"/>
                <a:gd name="connsiteY3" fmla="*/ 125622 h 343470"/>
                <a:gd name="connsiteX4" fmla="*/ 11236 w 182304"/>
                <a:gd name="connsiteY4" fmla="*/ 167500 h 343470"/>
                <a:gd name="connsiteX5" fmla="*/ 8391 w 182304"/>
                <a:gd name="connsiteY5" fmla="*/ 209372 h 343470"/>
                <a:gd name="connsiteX6" fmla="*/ 10124 w 182304"/>
                <a:gd name="connsiteY6" fmla="*/ 251244 h 343470"/>
                <a:gd name="connsiteX7" fmla="*/ 5800 w 182304"/>
                <a:gd name="connsiteY7" fmla="*/ 293243 h 343470"/>
                <a:gd name="connsiteX8" fmla="*/ 7032 w 182304"/>
                <a:gd name="connsiteY8" fmla="*/ 336728 h 343470"/>
                <a:gd name="connsiteX9" fmla="*/ 51876 w 182304"/>
                <a:gd name="connsiteY9" fmla="*/ 337712 h 343470"/>
                <a:gd name="connsiteX10" fmla="*/ 95354 w 182304"/>
                <a:gd name="connsiteY10" fmla="*/ 332403 h 343470"/>
                <a:gd name="connsiteX11" fmla="*/ 138807 w 182304"/>
                <a:gd name="connsiteY11" fmla="*/ 332772 h 343470"/>
                <a:gd name="connsiteX12" fmla="*/ 182305 w 182304"/>
                <a:gd name="connsiteY12" fmla="*/ 332772 h 3434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82304" h="343470">
                  <a:moveTo>
                    <a:pt x="7280" y="0"/>
                  </a:moveTo>
                  <a:cubicBezTo>
                    <a:pt x="7280" y="20999"/>
                    <a:pt x="11236" y="20999"/>
                    <a:pt x="11236" y="41872"/>
                  </a:cubicBezTo>
                  <a:cubicBezTo>
                    <a:pt x="11236" y="62751"/>
                    <a:pt x="7032" y="62871"/>
                    <a:pt x="7032" y="83750"/>
                  </a:cubicBezTo>
                  <a:cubicBezTo>
                    <a:pt x="7032" y="104622"/>
                    <a:pt x="11357" y="104622"/>
                    <a:pt x="11357" y="125622"/>
                  </a:cubicBezTo>
                  <a:cubicBezTo>
                    <a:pt x="11357" y="146621"/>
                    <a:pt x="11236" y="146621"/>
                    <a:pt x="11236" y="167500"/>
                  </a:cubicBezTo>
                  <a:cubicBezTo>
                    <a:pt x="11236" y="188373"/>
                    <a:pt x="8391" y="188494"/>
                    <a:pt x="8391" y="209372"/>
                  </a:cubicBezTo>
                  <a:cubicBezTo>
                    <a:pt x="8391" y="230244"/>
                    <a:pt x="10124" y="230372"/>
                    <a:pt x="10124" y="251244"/>
                  </a:cubicBezTo>
                  <a:cubicBezTo>
                    <a:pt x="10124" y="272123"/>
                    <a:pt x="5800" y="272243"/>
                    <a:pt x="5800" y="293243"/>
                  </a:cubicBezTo>
                  <a:cubicBezTo>
                    <a:pt x="5800" y="314242"/>
                    <a:pt x="-8036" y="322148"/>
                    <a:pt x="7032" y="336728"/>
                  </a:cubicBezTo>
                  <a:cubicBezTo>
                    <a:pt x="22107" y="351301"/>
                    <a:pt x="30133" y="337712"/>
                    <a:pt x="51876" y="337712"/>
                  </a:cubicBezTo>
                  <a:cubicBezTo>
                    <a:pt x="73612" y="337712"/>
                    <a:pt x="73612" y="332403"/>
                    <a:pt x="95354" y="332403"/>
                  </a:cubicBezTo>
                  <a:cubicBezTo>
                    <a:pt x="117090" y="332403"/>
                    <a:pt x="117090" y="332772"/>
                    <a:pt x="138807" y="332772"/>
                  </a:cubicBezTo>
                  <a:cubicBezTo>
                    <a:pt x="160588" y="332772"/>
                    <a:pt x="160588" y="332772"/>
                    <a:pt x="182305" y="332772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3FD57754-B265-B813-CB1B-26F7B12B2BE4}"/>
                </a:ext>
              </a:extLst>
            </p:cNvPr>
            <p:cNvSpPr/>
            <p:nvPr/>
          </p:nvSpPr>
          <p:spPr>
            <a:xfrm>
              <a:off x="6530593" y="2870530"/>
              <a:ext cx="120396" cy="180835"/>
            </a:xfrm>
            <a:custGeom>
              <a:avLst/>
              <a:gdLst>
                <a:gd name="connsiteX0" fmla="*/ 0 w 120396"/>
                <a:gd name="connsiteY0" fmla="*/ 0 h 180835"/>
                <a:gd name="connsiteX1" fmla="*/ 25147 w 120396"/>
                <a:gd name="connsiteY1" fmla="*/ 35325 h 180835"/>
                <a:gd name="connsiteX2" fmla="*/ 47499 w 120396"/>
                <a:gd name="connsiteY2" fmla="*/ 72631 h 180835"/>
                <a:gd name="connsiteX3" fmla="*/ 70866 w 120396"/>
                <a:gd name="connsiteY3" fmla="*/ 109315 h 180835"/>
                <a:gd name="connsiteX4" fmla="*/ 95441 w 120396"/>
                <a:gd name="connsiteY4" fmla="*/ 145263 h 180835"/>
                <a:gd name="connsiteX5" fmla="*/ 120397 w 120396"/>
                <a:gd name="connsiteY5" fmla="*/ 180835 h 180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0396" h="180835">
                  <a:moveTo>
                    <a:pt x="0" y="0"/>
                  </a:moveTo>
                  <a:cubicBezTo>
                    <a:pt x="12065" y="18034"/>
                    <a:pt x="13208" y="17291"/>
                    <a:pt x="25147" y="35325"/>
                  </a:cubicBezTo>
                  <a:cubicBezTo>
                    <a:pt x="37148" y="53359"/>
                    <a:pt x="35433" y="54597"/>
                    <a:pt x="47499" y="72631"/>
                  </a:cubicBezTo>
                  <a:cubicBezTo>
                    <a:pt x="59627" y="90665"/>
                    <a:pt x="58738" y="91281"/>
                    <a:pt x="70866" y="109315"/>
                  </a:cubicBezTo>
                  <a:cubicBezTo>
                    <a:pt x="82995" y="127349"/>
                    <a:pt x="83376" y="127102"/>
                    <a:pt x="95441" y="145263"/>
                  </a:cubicBezTo>
                  <a:cubicBezTo>
                    <a:pt x="107569" y="163417"/>
                    <a:pt x="108331" y="162801"/>
                    <a:pt x="120397" y="180835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F54FCB7-793E-C14C-787A-F058AE38DB2E}"/>
                </a:ext>
              </a:extLst>
            </p:cNvPr>
            <p:cNvSpPr/>
            <p:nvPr/>
          </p:nvSpPr>
          <p:spPr>
            <a:xfrm>
              <a:off x="6459156" y="3037408"/>
              <a:ext cx="5207" cy="374897"/>
            </a:xfrm>
            <a:custGeom>
              <a:avLst/>
              <a:gdLst>
                <a:gd name="connsiteX0" fmla="*/ 4699 w 5207"/>
                <a:gd name="connsiteY0" fmla="*/ 374897 h 374897"/>
                <a:gd name="connsiteX1" fmla="*/ 4001 w 5207"/>
                <a:gd name="connsiteY1" fmla="*/ 333267 h 374897"/>
                <a:gd name="connsiteX2" fmla="*/ 2984 w 5207"/>
                <a:gd name="connsiteY2" fmla="*/ 291636 h 374897"/>
                <a:gd name="connsiteX3" fmla="*/ 1905 w 5207"/>
                <a:gd name="connsiteY3" fmla="*/ 250012 h 374897"/>
                <a:gd name="connsiteX4" fmla="*/ 1270 w 5207"/>
                <a:gd name="connsiteY4" fmla="*/ 208382 h 374897"/>
                <a:gd name="connsiteX5" fmla="*/ 1397 w 5207"/>
                <a:gd name="connsiteY5" fmla="*/ 166757 h 374897"/>
                <a:gd name="connsiteX6" fmla="*/ 2858 w 5207"/>
                <a:gd name="connsiteY6" fmla="*/ 125127 h 374897"/>
                <a:gd name="connsiteX7" fmla="*/ 5207 w 5207"/>
                <a:gd name="connsiteY7" fmla="*/ 83502 h 374897"/>
                <a:gd name="connsiteX8" fmla="*/ 3239 w 5207"/>
                <a:gd name="connsiteY8" fmla="*/ 41751 h 374897"/>
                <a:gd name="connsiteX9" fmla="*/ 0 w 5207"/>
                <a:gd name="connsiteY9" fmla="*/ 0 h 374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07" h="374897">
                  <a:moveTo>
                    <a:pt x="4699" y="374897"/>
                  </a:moveTo>
                  <a:cubicBezTo>
                    <a:pt x="4699" y="354019"/>
                    <a:pt x="4001" y="354019"/>
                    <a:pt x="4001" y="333267"/>
                  </a:cubicBezTo>
                  <a:cubicBezTo>
                    <a:pt x="4001" y="312515"/>
                    <a:pt x="2984" y="312395"/>
                    <a:pt x="2984" y="291636"/>
                  </a:cubicBezTo>
                  <a:cubicBezTo>
                    <a:pt x="2984" y="270885"/>
                    <a:pt x="1905" y="270764"/>
                    <a:pt x="1905" y="250012"/>
                  </a:cubicBezTo>
                  <a:cubicBezTo>
                    <a:pt x="1905" y="229260"/>
                    <a:pt x="1270" y="229260"/>
                    <a:pt x="1270" y="208382"/>
                  </a:cubicBezTo>
                  <a:cubicBezTo>
                    <a:pt x="1270" y="187509"/>
                    <a:pt x="1397" y="187509"/>
                    <a:pt x="1397" y="166757"/>
                  </a:cubicBezTo>
                  <a:cubicBezTo>
                    <a:pt x="1397" y="146006"/>
                    <a:pt x="2858" y="145879"/>
                    <a:pt x="2858" y="125127"/>
                  </a:cubicBezTo>
                  <a:cubicBezTo>
                    <a:pt x="2858" y="104375"/>
                    <a:pt x="5207" y="104254"/>
                    <a:pt x="5207" y="83502"/>
                  </a:cubicBezTo>
                  <a:cubicBezTo>
                    <a:pt x="5207" y="62751"/>
                    <a:pt x="3239" y="62624"/>
                    <a:pt x="3239" y="41751"/>
                  </a:cubicBezTo>
                  <a:cubicBezTo>
                    <a:pt x="3239" y="20879"/>
                    <a:pt x="0" y="20879"/>
                    <a:pt x="0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580127B7-C73A-9E89-18F9-5F9C9C7E88D6}"/>
                </a:ext>
              </a:extLst>
            </p:cNvPr>
            <p:cNvSpPr/>
            <p:nvPr/>
          </p:nvSpPr>
          <p:spPr>
            <a:xfrm>
              <a:off x="6535054" y="3206140"/>
              <a:ext cx="186150" cy="41256"/>
            </a:xfrm>
            <a:custGeom>
              <a:avLst/>
              <a:gdLst>
                <a:gd name="connsiteX0" fmla="*/ 177721 w 186150"/>
                <a:gd name="connsiteY0" fmla="*/ 40272 h 41256"/>
                <a:gd name="connsiteX1" fmla="*/ 135366 w 186150"/>
                <a:gd name="connsiteY1" fmla="*/ 41256 h 41256"/>
                <a:gd name="connsiteX2" fmla="*/ 92885 w 186150"/>
                <a:gd name="connsiteY2" fmla="*/ 39033 h 41256"/>
                <a:gd name="connsiteX3" fmla="*/ 50339 w 186150"/>
                <a:gd name="connsiteY3" fmla="*/ 39529 h 41256"/>
                <a:gd name="connsiteX4" fmla="*/ 7858 w 186150"/>
                <a:gd name="connsiteY4" fmla="*/ 40392 h 41256"/>
                <a:gd name="connsiteX5" fmla="*/ 7858 w 186150"/>
                <a:gd name="connsiteY5" fmla="*/ 2718 h 41256"/>
                <a:gd name="connsiteX6" fmla="*/ 50213 w 186150"/>
                <a:gd name="connsiteY6" fmla="*/ 1975 h 41256"/>
                <a:gd name="connsiteX7" fmla="*/ 92758 w 186150"/>
                <a:gd name="connsiteY7" fmla="*/ 864 h 41256"/>
                <a:gd name="connsiteX8" fmla="*/ 135239 w 186150"/>
                <a:gd name="connsiteY8" fmla="*/ 1238 h 41256"/>
                <a:gd name="connsiteX9" fmla="*/ 177721 w 186150"/>
                <a:gd name="connsiteY9" fmla="*/ 0 h 41256"/>
                <a:gd name="connsiteX10" fmla="*/ 177721 w 186150"/>
                <a:gd name="connsiteY10" fmla="*/ 40392 h 41256"/>
                <a:gd name="connsiteX11" fmla="*/ 177721 w 186150"/>
                <a:gd name="connsiteY11" fmla="*/ 40272 h 41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6150" h="41256">
                  <a:moveTo>
                    <a:pt x="177721" y="40272"/>
                  </a:moveTo>
                  <a:cubicBezTo>
                    <a:pt x="156448" y="40272"/>
                    <a:pt x="156448" y="41256"/>
                    <a:pt x="135366" y="41256"/>
                  </a:cubicBezTo>
                  <a:cubicBezTo>
                    <a:pt x="114221" y="41256"/>
                    <a:pt x="114094" y="39033"/>
                    <a:pt x="92885" y="39033"/>
                  </a:cubicBezTo>
                  <a:cubicBezTo>
                    <a:pt x="71612" y="39033"/>
                    <a:pt x="71612" y="39529"/>
                    <a:pt x="50339" y="39529"/>
                  </a:cubicBezTo>
                  <a:cubicBezTo>
                    <a:pt x="29131" y="39529"/>
                    <a:pt x="29131" y="40392"/>
                    <a:pt x="7858" y="40392"/>
                  </a:cubicBezTo>
                  <a:cubicBezTo>
                    <a:pt x="-2619" y="40392"/>
                    <a:pt x="-2619" y="2718"/>
                    <a:pt x="7858" y="2718"/>
                  </a:cubicBezTo>
                  <a:cubicBezTo>
                    <a:pt x="29131" y="2718"/>
                    <a:pt x="29131" y="1975"/>
                    <a:pt x="50213" y="1975"/>
                  </a:cubicBezTo>
                  <a:cubicBezTo>
                    <a:pt x="71358" y="1975"/>
                    <a:pt x="71485" y="864"/>
                    <a:pt x="92758" y="864"/>
                  </a:cubicBezTo>
                  <a:cubicBezTo>
                    <a:pt x="113966" y="864"/>
                    <a:pt x="113966" y="1238"/>
                    <a:pt x="135239" y="1238"/>
                  </a:cubicBezTo>
                  <a:cubicBezTo>
                    <a:pt x="156448" y="1238"/>
                    <a:pt x="156448" y="0"/>
                    <a:pt x="177721" y="0"/>
                  </a:cubicBezTo>
                  <a:cubicBezTo>
                    <a:pt x="188960" y="0"/>
                    <a:pt x="188960" y="40392"/>
                    <a:pt x="177721" y="40392"/>
                  </a:cubicBezTo>
                  <a:lnTo>
                    <a:pt x="177721" y="40272"/>
                  </a:lnTo>
                  <a:close/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CD712076-4967-E201-DCEB-C4410A8A458E}"/>
                </a:ext>
              </a:extLst>
            </p:cNvPr>
            <p:cNvSpPr/>
            <p:nvPr/>
          </p:nvSpPr>
          <p:spPr>
            <a:xfrm>
              <a:off x="6525709" y="3054331"/>
              <a:ext cx="39483" cy="122656"/>
            </a:xfrm>
            <a:custGeom>
              <a:avLst/>
              <a:gdLst>
                <a:gd name="connsiteX0" fmla="*/ 38921 w 39483"/>
                <a:gd name="connsiteY0" fmla="*/ 62751 h 122656"/>
                <a:gd name="connsiteX1" fmla="*/ 38476 w 39483"/>
                <a:gd name="connsiteY1" fmla="*/ 97460 h 122656"/>
                <a:gd name="connsiteX2" fmla="*/ 20569 w 39483"/>
                <a:gd name="connsiteY2" fmla="*/ 122656 h 122656"/>
                <a:gd name="connsiteX3" fmla="*/ 3742 w 39483"/>
                <a:gd name="connsiteY3" fmla="*/ 97212 h 122656"/>
                <a:gd name="connsiteX4" fmla="*/ 59 w 39483"/>
                <a:gd name="connsiteY4" fmla="*/ 62751 h 122656"/>
                <a:gd name="connsiteX5" fmla="*/ 1519 w 39483"/>
                <a:gd name="connsiteY5" fmla="*/ 27794 h 122656"/>
                <a:gd name="connsiteX6" fmla="*/ 20569 w 39483"/>
                <a:gd name="connsiteY6" fmla="*/ 0 h 122656"/>
                <a:gd name="connsiteX7" fmla="*/ 37079 w 39483"/>
                <a:gd name="connsiteY7" fmla="*/ 28283 h 122656"/>
                <a:gd name="connsiteX8" fmla="*/ 39047 w 39483"/>
                <a:gd name="connsiteY8" fmla="*/ 62751 h 122656"/>
                <a:gd name="connsiteX9" fmla="*/ 38921 w 39483"/>
                <a:gd name="connsiteY9" fmla="*/ 62751 h 122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9483" h="122656">
                  <a:moveTo>
                    <a:pt x="38921" y="62751"/>
                  </a:moveTo>
                  <a:cubicBezTo>
                    <a:pt x="38921" y="75470"/>
                    <a:pt x="40445" y="87579"/>
                    <a:pt x="38476" y="97460"/>
                  </a:cubicBezTo>
                  <a:cubicBezTo>
                    <a:pt x="34984" y="114630"/>
                    <a:pt x="27236" y="122656"/>
                    <a:pt x="20569" y="122656"/>
                  </a:cubicBezTo>
                  <a:cubicBezTo>
                    <a:pt x="13902" y="122656"/>
                    <a:pt x="7171" y="114383"/>
                    <a:pt x="3742" y="97212"/>
                  </a:cubicBezTo>
                  <a:cubicBezTo>
                    <a:pt x="1773" y="87331"/>
                    <a:pt x="59" y="75470"/>
                    <a:pt x="59" y="62751"/>
                  </a:cubicBezTo>
                  <a:cubicBezTo>
                    <a:pt x="59" y="50025"/>
                    <a:pt x="-450" y="37674"/>
                    <a:pt x="1519" y="27794"/>
                  </a:cubicBezTo>
                  <a:cubicBezTo>
                    <a:pt x="4948" y="10624"/>
                    <a:pt x="13902" y="0"/>
                    <a:pt x="20569" y="0"/>
                  </a:cubicBezTo>
                  <a:cubicBezTo>
                    <a:pt x="27236" y="0"/>
                    <a:pt x="33650" y="11119"/>
                    <a:pt x="37079" y="28283"/>
                  </a:cubicBezTo>
                  <a:cubicBezTo>
                    <a:pt x="39047" y="38170"/>
                    <a:pt x="39047" y="50025"/>
                    <a:pt x="39047" y="62751"/>
                  </a:cubicBezTo>
                  <a:lnTo>
                    <a:pt x="38921" y="62751"/>
                  </a:lnTo>
                  <a:close/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099320BC-63A2-45D0-58B3-63633A11730D}"/>
                </a:ext>
              </a:extLst>
            </p:cNvPr>
            <p:cNvSpPr/>
            <p:nvPr/>
          </p:nvSpPr>
          <p:spPr>
            <a:xfrm>
              <a:off x="6087490" y="2505017"/>
              <a:ext cx="3581" cy="198507"/>
            </a:xfrm>
            <a:custGeom>
              <a:avLst/>
              <a:gdLst>
                <a:gd name="connsiteX0" fmla="*/ 3086 w 3581"/>
                <a:gd name="connsiteY0" fmla="*/ 198507 h 198507"/>
                <a:gd name="connsiteX1" fmla="*/ 0 w 3581"/>
                <a:gd name="connsiteY1" fmla="*/ 158852 h 198507"/>
                <a:gd name="connsiteX2" fmla="*/ 3582 w 3581"/>
                <a:gd name="connsiteY2" fmla="*/ 119202 h 198507"/>
                <a:gd name="connsiteX3" fmla="*/ 0 w 3581"/>
                <a:gd name="connsiteY3" fmla="*/ 79553 h 198507"/>
                <a:gd name="connsiteX4" fmla="*/ 1238 w 3581"/>
                <a:gd name="connsiteY4" fmla="*/ 39776 h 198507"/>
                <a:gd name="connsiteX5" fmla="*/ 1112 w 3581"/>
                <a:gd name="connsiteY5" fmla="*/ 0 h 198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81" h="198507">
                  <a:moveTo>
                    <a:pt x="3086" y="198507"/>
                  </a:moveTo>
                  <a:cubicBezTo>
                    <a:pt x="3086" y="178619"/>
                    <a:pt x="0" y="178619"/>
                    <a:pt x="0" y="158852"/>
                  </a:cubicBezTo>
                  <a:cubicBezTo>
                    <a:pt x="0" y="139090"/>
                    <a:pt x="3582" y="138970"/>
                    <a:pt x="3582" y="119202"/>
                  </a:cubicBezTo>
                  <a:cubicBezTo>
                    <a:pt x="3582" y="99441"/>
                    <a:pt x="0" y="99314"/>
                    <a:pt x="0" y="79553"/>
                  </a:cubicBezTo>
                  <a:cubicBezTo>
                    <a:pt x="0" y="59785"/>
                    <a:pt x="1238" y="59665"/>
                    <a:pt x="1238" y="39776"/>
                  </a:cubicBezTo>
                  <a:cubicBezTo>
                    <a:pt x="1238" y="19888"/>
                    <a:pt x="1112" y="19888"/>
                    <a:pt x="1112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EE621D97-AD0B-5D0C-5C3F-265148A3CBE1}"/>
                </a:ext>
              </a:extLst>
            </p:cNvPr>
            <p:cNvSpPr/>
            <p:nvPr/>
          </p:nvSpPr>
          <p:spPr>
            <a:xfrm>
              <a:off x="6085643" y="2928829"/>
              <a:ext cx="5930" cy="1184592"/>
            </a:xfrm>
            <a:custGeom>
              <a:avLst/>
              <a:gdLst>
                <a:gd name="connsiteX0" fmla="*/ 1359 w 5930"/>
                <a:gd name="connsiteY0" fmla="*/ 1184593 h 1184592"/>
                <a:gd name="connsiteX1" fmla="*/ 1606 w 5930"/>
                <a:gd name="connsiteY1" fmla="*/ 1143832 h 1184592"/>
                <a:gd name="connsiteX2" fmla="*/ 1854 w 5930"/>
                <a:gd name="connsiteY2" fmla="*/ 1103071 h 1184592"/>
                <a:gd name="connsiteX3" fmla="*/ 3213 w 5930"/>
                <a:gd name="connsiteY3" fmla="*/ 1062304 h 1184592"/>
                <a:gd name="connsiteX4" fmla="*/ 4572 w 5930"/>
                <a:gd name="connsiteY4" fmla="*/ 1021417 h 1184592"/>
                <a:gd name="connsiteX5" fmla="*/ 5931 w 5930"/>
                <a:gd name="connsiteY5" fmla="*/ 980656 h 1184592"/>
                <a:gd name="connsiteX6" fmla="*/ 495 w 5930"/>
                <a:gd name="connsiteY6" fmla="*/ 939895 h 1184592"/>
                <a:gd name="connsiteX7" fmla="*/ 1727 w 5930"/>
                <a:gd name="connsiteY7" fmla="*/ 899008 h 1184592"/>
                <a:gd name="connsiteX8" fmla="*/ 3708 w 5930"/>
                <a:gd name="connsiteY8" fmla="*/ 858247 h 1184592"/>
                <a:gd name="connsiteX9" fmla="*/ 1606 w 5930"/>
                <a:gd name="connsiteY9" fmla="*/ 817359 h 1184592"/>
                <a:gd name="connsiteX10" fmla="*/ 0 w 5930"/>
                <a:gd name="connsiteY10" fmla="*/ 776472 h 1184592"/>
                <a:gd name="connsiteX11" fmla="*/ 1238 w 5930"/>
                <a:gd name="connsiteY11" fmla="*/ 735584 h 1184592"/>
                <a:gd name="connsiteX12" fmla="*/ 743 w 5930"/>
                <a:gd name="connsiteY12" fmla="*/ 694696 h 1184592"/>
                <a:gd name="connsiteX13" fmla="*/ 1975 w 5930"/>
                <a:gd name="connsiteY13" fmla="*/ 653936 h 1184592"/>
                <a:gd name="connsiteX14" fmla="*/ 1238 w 5930"/>
                <a:gd name="connsiteY14" fmla="*/ 613175 h 1184592"/>
                <a:gd name="connsiteX15" fmla="*/ 3461 w 5930"/>
                <a:gd name="connsiteY15" fmla="*/ 572287 h 1184592"/>
                <a:gd name="connsiteX16" fmla="*/ 3956 w 5930"/>
                <a:gd name="connsiteY16" fmla="*/ 531527 h 1184592"/>
                <a:gd name="connsiteX17" fmla="*/ 4572 w 5930"/>
                <a:gd name="connsiteY17" fmla="*/ 490639 h 1184592"/>
                <a:gd name="connsiteX18" fmla="*/ 2845 w 5930"/>
                <a:gd name="connsiteY18" fmla="*/ 449879 h 1184592"/>
                <a:gd name="connsiteX19" fmla="*/ 4819 w 5930"/>
                <a:gd name="connsiteY19" fmla="*/ 408991 h 1184592"/>
                <a:gd name="connsiteX20" fmla="*/ 1975 w 5930"/>
                <a:gd name="connsiteY20" fmla="*/ 368103 h 1184592"/>
                <a:gd name="connsiteX21" fmla="*/ 3956 w 5930"/>
                <a:gd name="connsiteY21" fmla="*/ 327216 h 1184592"/>
                <a:gd name="connsiteX22" fmla="*/ 3581 w 5930"/>
                <a:gd name="connsiteY22" fmla="*/ 286328 h 1184592"/>
                <a:gd name="connsiteX23" fmla="*/ 4819 w 5930"/>
                <a:gd name="connsiteY23" fmla="*/ 245446 h 1184592"/>
                <a:gd name="connsiteX24" fmla="*/ 1111 w 5930"/>
                <a:gd name="connsiteY24" fmla="*/ 204680 h 1184592"/>
                <a:gd name="connsiteX25" fmla="*/ 4076 w 5930"/>
                <a:gd name="connsiteY25" fmla="*/ 163792 h 1184592"/>
                <a:gd name="connsiteX26" fmla="*/ 5188 w 5930"/>
                <a:gd name="connsiteY26" fmla="*/ 122911 h 1184592"/>
                <a:gd name="connsiteX27" fmla="*/ 616 w 5930"/>
                <a:gd name="connsiteY27" fmla="*/ 82023 h 1184592"/>
                <a:gd name="connsiteX28" fmla="*/ 2965 w 5930"/>
                <a:gd name="connsiteY28" fmla="*/ 41015 h 1184592"/>
                <a:gd name="connsiteX29" fmla="*/ 3086 w 5930"/>
                <a:gd name="connsiteY29" fmla="*/ 0 h 1184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930" h="1184592">
                  <a:moveTo>
                    <a:pt x="1359" y="1184593"/>
                  </a:moveTo>
                  <a:cubicBezTo>
                    <a:pt x="1359" y="1164215"/>
                    <a:pt x="1606" y="1164215"/>
                    <a:pt x="1606" y="1143832"/>
                  </a:cubicBezTo>
                  <a:cubicBezTo>
                    <a:pt x="1606" y="1123448"/>
                    <a:pt x="1854" y="1123448"/>
                    <a:pt x="1854" y="1103071"/>
                  </a:cubicBezTo>
                  <a:cubicBezTo>
                    <a:pt x="1854" y="1082688"/>
                    <a:pt x="3213" y="1082688"/>
                    <a:pt x="3213" y="1062304"/>
                  </a:cubicBezTo>
                  <a:cubicBezTo>
                    <a:pt x="3213" y="1041927"/>
                    <a:pt x="4572" y="1041927"/>
                    <a:pt x="4572" y="1021417"/>
                  </a:cubicBezTo>
                  <a:cubicBezTo>
                    <a:pt x="4572" y="1000912"/>
                    <a:pt x="5931" y="1001040"/>
                    <a:pt x="5931" y="980656"/>
                  </a:cubicBezTo>
                  <a:cubicBezTo>
                    <a:pt x="5931" y="960272"/>
                    <a:pt x="495" y="960272"/>
                    <a:pt x="495" y="939895"/>
                  </a:cubicBezTo>
                  <a:cubicBezTo>
                    <a:pt x="495" y="919512"/>
                    <a:pt x="1727" y="919512"/>
                    <a:pt x="1727" y="899008"/>
                  </a:cubicBezTo>
                  <a:cubicBezTo>
                    <a:pt x="1727" y="878504"/>
                    <a:pt x="3708" y="878624"/>
                    <a:pt x="3708" y="858247"/>
                  </a:cubicBezTo>
                  <a:cubicBezTo>
                    <a:pt x="3708" y="837863"/>
                    <a:pt x="1606" y="837863"/>
                    <a:pt x="1606" y="817359"/>
                  </a:cubicBezTo>
                  <a:cubicBezTo>
                    <a:pt x="1606" y="796855"/>
                    <a:pt x="0" y="796976"/>
                    <a:pt x="0" y="776472"/>
                  </a:cubicBezTo>
                  <a:cubicBezTo>
                    <a:pt x="0" y="755968"/>
                    <a:pt x="1238" y="756088"/>
                    <a:pt x="1238" y="735584"/>
                  </a:cubicBezTo>
                  <a:cubicBezTo>
                    <a:pt x="1238" y="715080"/>
                    <a:pt x="743" y="715207"/>
                    <a:pt x="743" y="694696"/>
                  </a:cubicBezTo>
                  <a:cubicBezTo>
                    <a:pt x="743" y="674192"/>
                    <a:pt x="1975" y="674319"/>
                    <a:pt x="1975" y="653936"/>
                  </a:cubicBezTo>
                  <a:cubicBezTo>
                    <a:pt x="1975" y="633552"/>
                    <a:pt x="1238" y="633552"/>
                    <a:pt x="1238" y="613175"/>
                  </a:cubicBezTo>
                  <a:cubicBezTo>
                    <a:pt x="1238" y="592792"/>
                    <a:pt x="3461" y="592792"/>
                    <a:pt x="3461" y="572287"/>
                  </a:cubicBezTo>
                  <a:cubicBezTo>
                    <a:pt x="3461" y="551783"/>
                    <a:pt x="3956" y="551904"/>
                    <a:pt x="3956" y="531527"/>
                  </a:cubicBezTo>
                  <a:cubicBezTo>
                    <a:pt x="3956" y="511143"/>
                    <a:pt x="4572" y="511143"/>
                    <a:pt x="4572" y="490639"/>
                  </a:cubicBezTo>
                  <a:cubicBezTo>
                    <a:pt x="4572" y="470135"/>
                    <a:pt x="2845" y="470256"/>
                    <a:pt x="2845" y="449879"/>
                  </a:cubicBezTo>
                  <a:cubicBezTo>
                    <a:pt x="2845" y="429495"/>
                    <a:pt x="4819" y="429495"/>
                    <a:pt x="4819" y="408991"/>
                  </a:cubicBezTo>
                  <a:cubicBezTo>
                    <a:pt x="4819" y="388487"/>
                    <a:pt x="1975" y="388607"/>
                    <a:pt x="1975" y="368103"/>
                  </a:cubicBezTo>
                  <a:cubicBezTo>
                    <a:pt x="1975" y="347599"/>
                    <a:pt x="3956" y="347720"/>
                    <a:pt x="3956" y="327216"/>
                  </a:cubicBezTo>
                  <a:cubicBezTo>
                    <a:pt x="3956" y="306711"/>
                    <a:pt x="3581" y="306832"/>
                    <a:pt x="3581" y="286328"/>
                  </a:cubicBezTo>
                  <a:cubicBezTo>
                    <a:pt x="3581" y="265824"/>
                    <a:pt x="4819" y="265951"/>
                    <a:pt x="4819" y="245446"/>
                  </a:cubicBezTo>
                  <a:cubicBezTo>
                    <a:pt x="4819" y="224936"/>
                    <a:pt x="1111" y="225063"/>
                    <a:pt x="1111" y="204680"/>
                  </a:cubicBezTo>
                  <a:cubicBezTo>
                    <a:pt x="1111" y="184302"/>
                    <a:pt x="4076" y="184302"/>
                    <a:pt x="4076" y="163792"/>
                  </a:cubicBezTo>
                  <a:cubicBezTo>
                    <a:pt x="4076" y="143288"/>
                    <a:pt x="5188" y="143415"/>
                    <a:pt x="5188" y="122911"/>
                  </a:cubicBezTo>
                  <a:cubicBezTo>
                    <a:pt x="5188" y="102406"/>
                    <a:pt x="616" y="102527"/>
                    <a:pt x="616" y="82023"/>
                  </a:cubicBezTo>
                  <a:cubicBezTo>
                    <a:pt x="616" y="61519"/>
                    <a:pt x="2965" y="61519"/>
                    <a:pt x="2965" y="41015"/>
                  </a:cubicBezTo>
                  <a:cubicBezTo>
                    <a:pt x="2965" y="20511"/>
                    <a:pt x="3086" y="20511"/>
                    <a:pt x="3086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01D3CCD0-0538-E530-E09B-A65694DA1644}"/>
                </a:ext>
              </a:extLst>
            </p:cNvPr>
            <p:cNvSpPr/>
            <p:nvPr/>
          </p:nvSpPr>
          <p:spPr>
            <a:xfrm>
              <a:off x="6306750" y="3445655"/>
              <a:ext cx="5314" cy="698030"/>
            </a:xfrm>
            <a:custGeom>
              <a:avLst/>
              <a:gdLst>
                <a:gd name="connsiteX0" fmla="*/ 1854 w 5314"/>
                <a:gd name="connsiteY0" fmla="*/ 698030 h 698030"/>
                <a:gd name="connsiteX1" fmla="*/ 1238 w 5314"/>
                <a:gd name="connsiteY1" fmla="*/ 657022 h 698030"/>
                <a:gd name="connsiteX2" fmla="*/ 1733 w 5314"/>
                <a:gd name="connsiteY2" fmla="*/ 616014 h 698030"/>
                <a:gd name="connsiteX3" fmla="*/ 2102 w 5314"/>
                <a:gd name="connsiteY3" fmla="*/ 574999 h 698030"/>
                <a:gd name="connsiteX4" fmla="*/ 5315 w 5314"/>
                <a:gd name="connsiteY4" fmla="*/ 533991 h 698030"/>
                <a:gd name="connsiteX5" fmla="*/ 870 w 5314"/>
                <a:gd name="connsiteY5" fmla="*/ 492982 h 698030"/>
                <a:gd name="connsiteX6" fmla="*/ 4572 w 5314"/>
                <a:gd name="connsiteY6" fmla="*/ 451974 h 698030"/>
                <a:gd name="connsiteX7" fmla="*/ 4204 w 5314"/>
                <a:gd name="connsiteY7" fmla="*/ 410959 h 698030"/>
                <a:gd name="connsiteX8" fmla="*/ 2229 w 5314"/>
                <a:gd name="connsiteY8" fmla="*/ 369951 h 698030"/>
                <a:gd name="connsiteX9" fmla="*/ 743 w 5314"/>
                <a:gd name="connsiteY9" fmla="*/ 328943 h 698030"/>
                <a:gd name="connsiteX10" fmla="*/ 4076 w 5314"/>
                <a:gd name="connsiteY10" fmla="*/ 287808 h 698030"/>
                <a:gd name="connsiteX11" fmla="*/ 990 w 5314"/>
                <a:gd name="connsiteY11" fmla="*/ 246678 h 698030"/>
                <a:gd name="connsiteX12" fmla="*/ 743 w 5314"/>
                <a:gd name="connsiteY12" fmla="*/ 205664 h 698030"/>
                <a:gd name="connsiteX13" fmla="*/ 2229 w 5314"/>
                <a:gd name="connsiteY13" fmla="*/ 164535 h 698030"/>
                <a:gd name="connsiteX14" fmla="*/ 1981 w 5314"/>
                <a:gd name="connsiteY14" fmla="*/ 123400 h 698030"/>
                <a:gd name="connsiteX15" fmla="*/ 3956 w 5314"/>
                <a:gd name="connsiteY15" fmla="*/ 82264 h 698030"/>
                <a:gd name="connsiteX16" fmla="*/ 4819 w 5314"/>
                <a:gd name="connsiteY16" fmla="*/ 41135 h 698030"/>
                <a:gd name="connsiteX17" fmla="*/ 0 w 5314"/>
                <a:gd name="connsiteY17" fmla="*/ 0 h 6980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314" h="698030">
                  <a:moveTo>
                    <a:pt x="1854" y="698030"/>
                  </a:moveTo>
                  <a:cubicBezTo>
                    <a:pt x="1854" y="677526"/>
                    <a:pt x="1238" y="677526"/>
                    <a:pt x="1238" y="657022"/>
                  </a:cubicBezTo>
                  <a:cubicBezTo>
                    <a:pt x="1238" y="636518"/>
                    <a:pt x="1733" y="636518"/>
                    <a:pt x="1733" y="616014"/>
                  </a:cubicBezTo>
                  <a:cubicBezTo>
                    <a:pt x="1733" y="595503"/>
                    <a:pt x="2102" y="595509"/>
                    <a:pt x="2102" y="574999"/>
                  </a:cubicBezTo>
                  <a:cubicBezTo>
                    <a:pt x="2102" y="554495"/>
                    <a:pt x="5315" y="554495"/>
                    <a:pt x="5315" y="533991"/>
                  </a:cubicBezTo>
                  <a:cubicBezTo>
                    <a:pt x="5315" y="513487"/>
                    <a:pt x="870" y="513487"/>
                    <a:pt x="870" y="492982"/>
                  </a:cubicBezTo>
                  <a:cubicBezTo>
                    <a:pt x="870" y="472478"/>
                    <a:pt x="4572" y="472478"/>
                    <a:pt x="4572" y="451974"/>
                  </a:cubicBezTo>
                  <a:cubicBezTo>
                    <a:pt x="4572" y="431470"/>
                    <a:pt x="4204" y="431470"/>
                    <a:pt x="4204" y="410959"/>
                  </a:cubicBezTo>
                  <a:cubicBezTo>
                    <a:pt x="4204" y="390455"/>
                    <a:pt x="2229" y="390455"/>
                    <a:pt x="2229" y="369951"/>
                  </a:cubicBezTo>
                  <a:cubicBezTo>
                    <a:pt x="2229" y="349447"/>
                    <a:pt x="743" y="349447"/>
                    <a:pt x="743" y="328943"/>
                  </a:cubicBezTo>
                  <a:cubicBezTo>
                    <a:pt x="743" y="308439"/>
                    <a:pt x="4076" y="308439"/>
                    <a:pt x="4076" y="287808"/>
                  </a:cubicBezTo>
                  <a:cubicBezTo>
                    <a:pt x="4076" y="267183"/>
                    <a:pt x="990" y="267303"/>
                    <a:pt x="990" y="246678"/>
                  </a:cubicBezTo>
                  <a:cubicBezTo>
                    <a:pt x="990" y="226047"/>
                    <a:pt x="743" y="226168"/>
                    <a:pt x="743" y="205664"/>
                  </a:cubicBezTo>
                  <a:cubicBezTo>
                    <a:pt x="743" y="185160"/>
                    <a:pt x="2229" y="185160"/>
                    <a:pt x="2229" y="164535"/>
                  </a:cubicBezTo>
                  <a:cubicBezTo>
                    <a:pt x="2229" y="143904"/>
                    <a:pt x="1981" y="144025"/>
                    <a:pt x="1981" y="123400"/>
                  </a:cubicBezTo>
                  <a:cubicBezTo>
                    <a:pt x="1981" y="102769"/>
                    <a:pt x="3956" y="102896"/>
                    <a:pt x="3956" y="82264"/>
                  </a:cubicBezTo>
                  <a:cubicBezTo>
                    <a:pt x="3956" y="61640"/>
                    <a:pt x="4819" y="61640"/>
                    <a:pt x="4819" y="41135"/>
                  </a:cubicBezTo>
                  <a:cubicBezTo>
                    <a:pt x="4819" y="20625"/>
                    <a:pt x="0" y="20504"/>
                    <a:pt x="0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0477A78B-54B9-1DA4-F882-BEA33F35CA48}"/>
                </a:ext>
              </a:extLst>
            </p:cNvPr>
            <p:cNvSpPr/>
            <p:nvPr/>
          </p:nvSpPr>
          <p:spPr>
            <a:xfrm>
              <a:off x="6295116" y="2087632"/>
              <a:ext cx="5931" cy="476059"/>
            </a:xfrm>
            <a:custGeom>
              <a:avLst/>
              <a:gdLst>
                <a:gd name="connsiteX0" fmla="*/ 3588 w 5931"/>
                <a:gd name="connsiteY0" fmla="*/ 476060 h 476059"/>
                <a:gd name="connsiteX1" fmla="*/ 1606 w 5931"/>
                <a:gd name="connsiteY1" fmla="*/ 436410 h 476059"/>
                <a:gd name="connsiteX2" fmla="*/ 0 w 5931"/>
                <a:gd name="connsiteY2" fmla="*/ 396761 h 476059"/>
                <a:gd name="connsiteX3" fmla="*/ 4947 w 5931"/>
                <a:gd name="connsiteY3" fmla="*/ 357111 h 476059"/>
                <a:gd name="connsiteX4" fmla="*/ 5931 w 5931"/>
                <a:gd name="connsiteY4" fmla="*/ 317456 h 476059"/>
                <a:gd name="connsiteX5" fmla="*/ 5188 w 5931"/>
                <a:gd name="connsiteY5" fmla="*/ 277806 h 476059"/>
                <a:gd name="connsiteX6" fmla="*/ 5188 w 5931"/>
                <a:gd name="connsiteY6" fmla="*/ 238157 h 476059"/>
                <a:gd name="connsiteX7" fmla="*/ 1238 w 5931"/>
                <a:gd name="connsiteY7" fmla="*/ 198501 h 476059"/>
                <a:gd name="connsiteX8" fmla="*/ 3340 w 5931"/>
                <a:gd name="connsiteY8" fmla="*/ 158852 h 476059"/>
                <a:gd name="connsiteX9" fmla="*/ 3956 w 5931"/>
                <a:gd name="connsiteY9" fmla="*/ 119202 h 476059"/>
                <a:gd name="connsiteX10" fmla="*/ 3092 w 5931"/>
                <a:gd name="connsiteY10" fmla="*/ 79553 h 476059"/>
                <a:gd name="connsiteX11" fmla="*/ 3461 w 5931"/>
                <a:gd name="connsiteY11" fmla="*/ 39776 h 476059"/>
                <a:gd name="connsiteX12" fmla="*/ 1238 w 5931"/>
                <a:gd name="connsiteY12" fmla="*/ 0 h 476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31" h="476059">
                  <a:moveTo>
                    <a:pt x="3588" y="476060"/>
                  </a:moveTo>
                  <a:cubicBezTo>
                    <a:pt x="3588" y="456298"/>
                    <a:pt x="1606" y="456298"/>
                    <a:pt x="1606" y="436410"/>
                  </a:cubicBezTo>
                  <a:cubicBezTo>
                    <a:pt x="1606" y="416522"/>
                    <a:pt x="0" y="416522"/>
                    <a:pt x="0" y="396761"/>
                  </a:cubicBezTo>
                  <a:cubicBezTo>
                    <a:pt x="0" y="376993"/>
                    <a:pt x="4947" y="376873"/>
                    <a:pt x="4947" y="357111"/>
                  </a:cubicBezTo>
                  <a:cubicBezTo>
                    <a:pt x="4947" y="337344"/>
                    <a:pt x="5931" y="337223"/>
                    <a:pt x="5931" y="317456"/>
                  </a:cubicBezTo>
                  <a:cubicBezTo>
                    <a:pt x="5931" y="297694"/>
                    <a:pt x="5188" y="297568"/>
                    <a:pt x="5188" y="277806"/>
                  </a:cubicBezTo>
                  <a:cubicBezTo>
                    <a:pt x="5188" y="258045"/>
                    <a:pt x="5188" y="257918"/>
                    <a:pt x="5188" y="238157"/>
                  </a:cubicBezTo>
                  <a:cubicBezTo>
                    <a:pt x="5188" y="218389"/>
                    <a:pt x="1238" y="218389"/>
                    <a:pt x="1238" y="198501"/>
                  </a:cubicBezTo>
                  <a:cubicBezTo>
                    <a:pt x="1238" y="178619"/>
                    <a:pt x="3340" y="178619"/>
                    <a:pt x="3340" y="158852"/>
                  </a:cubicBezTo>
                  <a:cubicBezTo>
                    <a:pt x="3340" y="139091"/>
                    <a:pt x="3956" y="138963"/>
                    <a:pt x="3956" y="119202"/>
                  </a:cubicBezTo>
                  <a:cubicBezTo>
                    <a:pt x="3956" y="99441"/>
                    <a:pt x="3092" y="99314"/>
                    <a:pt x="3092" y="79553"/>
                  </a:cubicBezTo>
                  <a:cubicBezTo>
                    <a:pt x="3092" y="59785"/>
                    <a:pt x="3461" y="59665"/>
                    <a:pt x="3461" y="39776"/>
                  </a:cubicBezTo>
                  <a:cubicBezTo>
                    <a:pt x="3461" y="19888"/>
                    <a:pt x="1238" y="19888"/>
                    <a:pt x="1238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77480D28-3594-0C10-9C98-B928DC834C98}"/>
                </a:ext>
              </a:extLst>
            </p:cNvPr>
            <p:cNvSpPr/>
            <p:nvPr/>
          </p:nvSpPr>
          <p:spPr>
            <a:xfrm>
              <a:off x="6295878" y="2756395"/>
              <a:ext cx="3454" cy="150202"/>
            </a:xfrm>
            <a:custGeom>
              <a:avLst/>
              <a:gdLst>
                <a:gd name="connsiteX0" fmla="*/ 1848 w 3454"/>
                <a:gd name="connsiteY0" fmla="*/ 150203 h 150202"/>
                <a:gd name="connsiteX1" fmla="*/ 2718 w 3454"/>
                <a:gd name="connsiteY1" fmla="*/ 112649 h 150202"/>
                <a:gd name="connsiteX2" fmla="*/ 1727 w 3454"/>
                <a:gd name="connsiteY2" fmla="*/ 75101 h 150202"/>
                <a:gd name="connsiteX3" fmla="*/ 0 w 3454"/>
                <a:gd name="connsiteY3" fmla="*/ 37548 h 150202"/>
                <a:gd name="connsiteX4" fmla="*/ 3454 w 3454"/>
                <a:gd name="connsiteY4" fmla="*/ 0 h 1502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54" h="150202">
                  <a:moveTo>
                    <a:pt x="1848" y="150203"/>
                  </a:moveTo>
                  <a:cubicBezTo>
                    <a:pt x="1848" y="131426"/>
                    <a:pt x="2718" y="131426"/>
                    <a:pt x="2718" y="112649"/>
                  </a:cubicBezTo>
                  <a:cubicBezTo>
                    <a:pt x="2718" y="93878"/>
                    <a:pt x="1727" y="93878"/>
                    <a:pt x="1727" y="75101"/>
                  </a:cubicBezTo>
                  <a:cubicBezTo>
                    <a:pt x="1727" y="56324"/>
                    <a:pt x="0" y="56324"/>
                    <a:pt x="0" y="37548"/>
                  </a:cubicBezTo>
                  <a:cubicBezTo>
                    <a:pt x="0" y="18771"/>
                    <a:pt x="3454" y="18771"/>
                    <a:pt x="3454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C98274FC-8887-67ED-83AD-589E727D0811}"/>
                </a:ext>
              </a:extLst>
            </p:cNvPr>
            <p:cNvSpPr/>
            <p:nvPr/>
          </p:nvSpPr>
          <p:spPr>
            <a:xfrm>
              <a:off x="5791524" y="1498676"/>
              <a:ext cx="866154" cy="1648542"/>
            </a:xfrm>
            <a:custGeom>
              <a:avLst/>
              <a:gdLst>
                <a:gd name="connsiteX0" fmla="*/ 269278 w 866154"/>
                <a:gd name="connsiteY0" fmla="*/ 1648543 h 1648542"/>
                <a:gd name="connsiteX1" fmla="*/ 238398 w 866154"/>
                <a:gd name="connsiteY1" fmla="*/ 1623466 h 1648542"/>
                <a:gd name="connsiteX2" fmla="*/ 212337 w 866154"/>
                <a:gd name="connsiteY2" fmla="*/ 1593450 h 1648542"/>
                <a:gd name="connsiteX3" fmla="*/ 189604 w 866154"/>
                <a:gd name="connsiteY3" fmla="*/ 1560964 h 1648542"/>
                <a:gd name="connsiteX4" fmla="*/ 166135 w 866154"/>
                <a:gd name="connsiteY4" fmla="*/ 1529220 h 1648542"/>
                <a:gd name="connsiteX5" fmla="*/ 141306 w 866154"/>
                <a:gd name="connsiteY5" fmla="*/ 1498219 h 1648542"/>
                <a:gd name="connsiteX6" fmla="*/ 119818 w 866154"/>
                <a:gd name="connsiteY6" fmla="*/ 1464742 h 1648542"/>
                <a:gd name="connsiteX7" fmla="*/ 102648 w 866154"/>
                <a:gd name="connsiteY7" fmla="*/ 1428922 h 1648542"/>
                <a:gd name="connsiteX8" fmla="*/ 86589 w 866154"/>
                <a:gd name="connsiteY8" fmla="*/ 1392606 h 1648542"/>
                <a:gd name="connsiteX9" fmla="*/ 69418 w 866154"/>
                <a:gd name="connsiteY9" fmla="*/ 1356779 h 1648542"/>
                <a:gd name="connsiteX10" fmla="*/ 60153 w 866154"/>
                <a:gd name="connsiteY10" fmla="*/ 1317993 h 1648542"/>
                <a:gd name="connsiteX11" fmla="*/ 44469 w 866154"/>
                <a:gd name="connsiteY11" fmla="*/ 1281430 h 1648542"/>
                <a:gd name="connsiteX12" fmla="*/ 34957 w 866154"/>
                <a:gd name="connsiteY12" fmla="*/ 1242892 h 1648542"/>
                <a:gd name="connsiteX13" fmla="*/ 27051 w 866154"/>
                <a:gd name="connsiteY13" fmla="*/ 1203985 h 1648542"/>
                <a:gd name="connsiteX14" fmla="*/ 16180 w 866154"/>
                <a:gd name="connsiteY14" fmla="*/ 1165689 h 1648542"/>
                <a:gd name="connsiteX15" fmla="*/ 11487 w 866154"/>
                <a:gd name="connsiteY15" fmla="*/ 1126287 h 1648542"/>
                <a:gd name="connsiteX16" fmla="*/ 8642 w 866154"/>
                <a:gd name="connsiteY16" fmla="*/ 1086637 h 1648542"/>
                <a:gd name="connsiteX17" fmla="*/ 5683 w 866154"/>
                <a:gd name="connsiteY17" fmla="*/ 1047109 h 1648542"/>
                <a:gd name="connsiteX18" fmla="*/ 5804 w 866154"/>
                <a:gd name="connsiteY18" fmla="*/ 1007459 h 1648542"/>
                <a:gd name="connsiteX19" fmla="*/ 0 w 866154"/>
                <a:gd name="connsiteY19" fmla="*/ 967804 h 1648542"/>
                <a:gd name="connsiteX20" fmla="*/ 4813 w 866154"/>
                <a:gd name="connsiteY20" fmla="*/ 927907 h 1648542"/>
                <a:gd name="connsiteX21" fmla="*/ 3949 w 866154"/>
                <a:gd name="connsiteY21" fmla="*/ 887889 h 1648542"/>
                <a:gd name="connsiteX22" fmla="*/ 10249 w 866154"/>
                <a:gd name="connsiteY22" fmla="*/ 848360 h 1648542"/>
                <a:gd name="connsiteX23" fmla="*/ 15811 w 866154"/>
                <a:gd name="connsiteY23" fmla="*/ 808831 h 1648542"/>
                <a:gd name="connsiteX24" fmla="*/ 20751 w 866154"/>
                <a:gd name="connsiteY24" fmla="*/ 769182 h 1648542"/>
                <a:gd name="connsiteX25" fmla="*/ 27546 w 866154"/>
                <a:gd name="connsiteY25" fmla="*/ 729774 h 1648542"/>
                <a:gd name="connsiteX26" fmla="*/ 34093 w 866154"/>
                <a:gd name="connsiteY26" fmla="*/ 690252 h 1648542"/>
                <a:gd name="connsiteX27" fmla="*/ 46564 w 866154"/>
                <a:gd name="connsiteY27" fmla="*/ 652202 h 1648542"/>
                <a:gd name="connsiteX28" fmla="*/ 58179 w 866154"/>
                <a:gd name="connsiteY28" fmla="*/ 614032 h 1648542"/>
                <a:gd name="connsiteX29" fmla="*/ 69545 w 866154"/>
                <a:gd name="connsiteY29" fmla="*/ 575742 h 1648542"/>
                <a:gd name="connsiteX30" fmla="*/ 80042 w 866154"/>
                <a:gd name="connsiteY30" fmla="*/ 537077 h 1648542"/>
                <a:gd name="connsiteX31" fmla="*/ 96964 w 866154"/>
                <a:gd name="connsiteY31" fmla="*/ 500761 h 1648542"/>
                <a:gd name="connsiteX32" fmla="*/ 107588 w 866154"/>
                <a:gd name="connsiteY32" fmla="*/ 462102 h 1648542"/>
                <a:gd name="connsiteX33" fmla="*/ 124511 w 866154"/>
                <a:gd name="connsiteY33" fmla="*/ 425787 h 1648542"/>
                <a:gd name="connsiteX34" fmla="*/ 139954 w 866154"/>
                <a:gd name="connsiteY34" fmla="*/ 388976 h 1648542"/>
                <a:gd name="connsiteX35" fmla="*/ 157740 w 866154"/>
                <a:gd name="connsiteY35" fmla="*/ 353155 h 1648542"/>
                <a:gd name="connsiteX36" fmla="*/ 172682 w 866154"/>
                <a:gd name="connsiteY36" fmla="*/ 315970 h 1648542"/>
                <a:gd name="connsiteX37" fmla="*/ 194424 w 866154"/>
                <a:gd name="connsiteY37" fmla="*/ 282251 h 1648542"/>
                <a:gd name="connsiteX38" fmla="*/ 212458 w 866154"/>
                <a:gd name="connsiteY38" fmla="*/ 246551 h 1648542"/>
                <a:gd name="connsiteX39" fmla="*/ 232467 w 866154"/>
                <a:gd name="connsiteY39" fmla="*/ 211963 h 1648542"/>
                <a:gd name="connsiteX40" fmla="*/ 251987 w 866154"/>
                <a:gd name="connsiteY40" fmla="*/ 177133 h 1648542"/>
                <a:gd name="connsiteX41" fmla="*/ 275577 w 866154"/>
                <a:gd name="connsiteY41" fmla="*/ 144894 h 1648542"/>
                <a:gd name="connsiteX42" fmla="*/ 298310 w 866154"/>
                <a:gd name="connsiteY42" fmla="*/ 112160 h 1648542"/>
                <a:gd name="connsiteX43" fmla="*/ 318687 w 866154"/>
                <a:gd name="connsiteY43" fmla="*/ 77324 h 1648542"/>
                <a:gd name="connsiteX44" fmla="*/ 344627 w 866154"/>
                <a:gd name="connsiteY44" fmla="*/ 46692 h 1648542"/>
                <a:gd name="connsiteX45" fmla="*/ 374275 w 866154"/>
                <a:gd name="connsiteY45" fmla="*/ 19641 h 1648542"/>
                <a:gd name="connsiteX46" fmla="*/ 409359 w 866154"/>
                <a:gd name="connsiteY46" fmla="*/ 0 h 1648542"/>
                <a:gd name="connsiteX47" fmla="*/ 446043 w 866154"/>
                <a:gd name="connsiteY47" fmla="*/ 19018 h 1648542"/>
                <a:gd name="connsiteX48" fmla="*/ 476555 w 866154"/>
                <a:gd name="connsiteY48" fmla="*/ 46692 h 1648542"/>
                <a:gd name="connsiteX49" fmla="*/ 506692 w 866154"/>
                <a:gd name="connsiteY49" fmla="*/ 74606 h 1648542"/>
                <a:gd name="connsiteX50" fmla="*/ 532879 w 866154"/>
                <a:gd name="connsiteY50" fmla="*/ 106477 h 1648542"/>
                <a:gd name="connsiteX51" fmla="*/ 560191 w 866154"/>
                <a:gd name="connsiteY51" fmla="*/ 137230 h 1648542"/>
                <a:gd name="connsiteX52" fmla="*/ 589083 w 866154"/>
                <a:gd name="connsiteY52" fmla="*/ 166878 h 1648542"/>
                <a:gd name="connsiteX53" fmla="*/ 611562 w 866154"/>
                <a:gd name="connsiteY53" fmla="*/ 201587 h 1648542"/>
                <a:gd name="connsiteX54" fmla="*/ 637279 w 866154"/>
                <a:gd name="connsiteY54" fmla="*/ 233826 h 1648542"/>
                <a:gd name="connsiteX55" fmla="*/ 659123 w 866154"/>
                <a:gd name="connsiteY55" fmla="*/ 268783 h 1648542"/>
                <a:gd name="connsiteX56" fmla="*/ 680460 w 866154"/>
                <a:gd name="connsiteY56" fmla="*/ 303987 h 1648542"/>
                <a:gd name="connsiteX57" fmla="*/ 705224 w 866154"/>
                <a:gd name="connsiteY57" fmla="*/ 337217 h 1648542"/>
                <a:gd name="connsiteX58" fmla="*/ 722623 w 866154"/>
                <a:gd name="connsiteY58" fmla="*/ 374771 h 1648542"/>
                <a:gd name="connsiteX59" fmla="*/ 744975 w 866154"/>
                <a:gd name="connsiteY59" fmla="*/ 409600 h 1648542"/>
                <a:gd name="connsiteX60" fmla="*/ 762629 w 866154"/>
                <a:gd name="connsiteY60" fmla="*/ 446907 h 1648542"/>
                <a:gd name="connsiteX61" fmla="*/ 780662 w 866154"/>
                <a:gd name="connsiteY61" fmla="*/ 484086 h 1648542"/>
                <a:gd name="connsiteX62" fmla="*/ 794506 w 866154"/>
                <a:gd name="connsiteY62" fmla="*/ 522999 h 1648542"/>
                <a:gd name="connsiteX63" fmla="*/ 807586 w 866154"/>
                <a:gd name="connsiteY63" fmla="*/ 562032 h 1648542"/>
                <a:gd name="connsiteX64" fmla="*/ 820096 w 866154"/>
                <a:gd name="connsiteY64" fmla="*/ 601313 h 1648542"/>
                <a:gd name="connsiteX65" fmla="*/ 831590 w 866154"/>
                <a:gd name="connsiteY65" fmla="*/ 640842 h 1648542"/>
                <a:gd name="connsiteX66" fmla="*/ 844035 w 866154"/>
                <a:gd name="connsiteY66" fmla="*/ 680117 h 1648542"/>
                <a:gd name="connsiteX67" fmla="*/ 854767 w 866154"/>
                <a:gd name="connsiteY67" fmla="*/ 720020 h 1648542"/>
                <a:gd name="connsiteX68" fmla="*/ 861943 w 866154"/>
                <a:gd name="connsiteY68" fmla="*/ 760781 h 1648542"/>
                <a:gd name="connsiteX69" fmla="*/ 865435 w 866154"/>
                <a:gd name="connsiteY69" fmla="*/ 802037 h 1648542"/>
                <a:gd name="connsiteX70" fmla="*/ 861561 w 866154"/>
                <a:gd name="connsiteY70" fmla="*/ 843420 h 1648542"/>
                <a:gd name="connsiteX71" fmla="*/ 866133 w 866154"/>
                <a:gd name="connsiteY71" fmla="*/ 884676 h 1648542"/>
                <a:gd name="connsiteX72" fmla="*/ 859593 w 866154"/>
                <a:gd name="connsiteY72" fmla="*/ 925684 h 1648542"/>
                <a:gd name="connsiteX73" fmla="*/ 858641 w 866154"/>
                <a:gd name="connsiteY73" fmla="*/ 966819 h 1648542"/>
                <a:gd name="connsiteX74" fmla="*/ 854894 w 866154"/>
                <a:gd name="connsiteY74" fmla="*/ 1007828 h 1648542"/>
                <a:gd name="connsiteX75" fmla="*/ 848354 w 866154"/>
                <a:gd name="connsiteY75" fmla="*/ 1048468 h 1648542"/>
                <a:gd name="connsiteX76" fmla="*/ 839082 w 866154"/>
                <a:gd name="connsiteY76" fmla="*/ 1088492 h 1648542"/>
                <a:gd name="connsiteX77" fmla="*/ 828732 w 866154"/>
                <a:gd name="connsiteY77" fmla="*/ 1128262 h 1648542"/>
                <a:gd name="connsiteX78" fmla="*/ 820668 w 866154"/>
                <a:gd name="connsiteY78" fmla="*/ 1168902 h 1648542"/>
                <a:gd name="connsiteX79" fmla="*/ 803522 w 866154"/>
                <a:gd name="connsiteY79" fmla="*/ 1206576 h 1648542"/>
                <a:gd name="connsiteX80" fmla="*/ 785870 w 866154"/>
                <a:gd name="connsiteY80" fmla="*/ 1243756 h 1648542"/>
                <a:gd name="connsiteX81" fmla="*/ 764470 w 866154"/>
                <a:gd name="connsiteY81" fmla="*/ 1278712 h 1648542"/>
                <a:gd name="connsiteX82" fmla="*/ 742753 w 866154"/>
                <a:gd name="connsiteY82" fmla="*/ 1313917 h 1648542"/>
                <a:gd name="connsiteX83" fmla="*/ 712718 w 866154"/>
                <a:gd name="connsiteY83" fmla="*/ 1342701 h 1648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</a:cxnLst>
              <a:rect l="l" t="t" r="r" b="b"/>
              <a:pathLst>
                <a:path w="866154" h="1648542">
                  <a:moveTo>
                    <a:pt x="269278" y="1648543"/>
                  </a:moveTo>
                  <a:cubicBezTo>
                    <a:pt x="253466" y="1636560"/>
                    <a:pt x="256432" y="1641380"/>
                    <a:pt x="238398" y="1623466"/>
                  </a:cubicBezTo>
                  <a:cubicBezTo>
                    <a:pt x="230492" y="1615688"/>
                    <a:pt x="222339" y="1604817"/>
                    <a:pt x="212337" y="1593450"/>
                  </a:cubicBezTo>
                  <a:cubicBezTo>
                    <a:pt x="204432" y="1584433"/>
                    <a:pt x="198380" y="1572209"/>
                    <a:pt x="189604" y="1560964"/>
                  </a:cubicBezTo>
                  <a:cubicBezTo>
                    <a:pt x="181946" y="1551210"/>
                    <a:pt x="174168" y="1540707"/>
                    <a:pt x="166135" y="1529220"/>
                  </a:cubicBezTo>
                  <a:cubicBezTo>
                    <a:pt x="158972" y="1518971"/>
                    <a:pt x="148596" y="1509954"/>
                    <a:pt x="141306" y="1498219"/>
                  </a:cubicBezTo>
                  <a:cubicBezTo>
                    <a:pt x="134518" y="1487469"/>
                    <a:pt x="126485" y="1476724"/>
                    <a:pt x="119818" y="1464742"/>
                  </a:cubicBezTo>
                  <a:cubicBezTo>
                    <a:pt x="113519" y="1453623"/>
                    <a:pt x="108699" y="1441152"/>
                    <a:pt x="102648" y="1428922"/>
                  </a:cubicBezTo>
                  <a:cubicBezTo>
                    <a:pt x="96964" y="1417434"/>
                    <a:pt x="92145" y="1405077"/>
                    <a:pt x="86589" y="1392606"/>
                  </a:cubicBezTo>
                  <a:cubicBezTo>
                    <a:pt x="81400" y="1380871"/>
                    <a:pt x="74358" y="1369384"/>
                    <a:pt x="69418" y="1356779"/>
                  </a:cubicBezTo>
                  <a:cubicBezTo>
                    <a:pt x="64478" y="1344181"/>
                    <a:pt x="64598" y="1330719"/>
                    <a:pt x="60153" y="1317993"/>
                  </a:cubicBezTo>
                  <a:cubicBezTo>
                    <a:pt x="55708" y="1305274"/>
                    <a:pt x="48419" y="1294403"/>
                    <a:pt x="44469" y="1281430"/>
                  </a:cubicBezTo>
                  <a:cubicBezTo>
                    <a:pt x="40513" y="1268463"/>
                    <a:pt x="38290" y="1255986"/>
                    <a:pt x="34957" y="1242892"/>
                  </a:cubicBezTo>
                  <a:cubicBezTo>
                    <a:pt x="31623" y="1229798"/>
                    <a:pt x="29769" y="1217200"/>
                    <a:pt x="27051" y="1203985"/>
                  </a:cubicBezTo>
                  <a:cubicBezTo>
                    <a:pt x="24333" y="1190765"/>
                    <a:pt x="18402" y="1178909"/>
                    <a:pt x="16180" y="1165689"/>
                  </a:cubicBezTo>
                  <a:cubicBezTo>
                    <a:pt x="13957" y="1152474"/>
                    <a:pt x="13214" y="1139628"/>
                    <a:pt x="11487" y="1126287"/>
                  </a:cubicBezTo>
                  <a:cubicBezTo>
                    <a:pt x="9760" y="1112946"/>
                    <a:pt x="10001" y="1100100"/>
                    <a:pt x="8642" y="1086637"/>
                  </a:cubicBezTo>
                  <a:cubicBezTo>
                    <a:pt x="7283" y="1073169"/>
                    <a:pt x="6546" y="1060571"/>
                    <a:pt x="5683" y="1047109"/>
                  </a:cubicBezTo>
                  <a:cubicBezTo>
                    <a:pt x="4813" y="1033647"/>
                    <a:pt x="6172" y="1020801"/>
                    <a:pt x="5804" y="1007459"/>
                  </a:cubicBezTo>
                  <a:cubicBezTo>
                    <a:pt x="5435" y="994118"/>
                    <a:pt x="0" y="981272"/>
                    <a:pt x="0" y="967804"/>
                  </a:cubicBezTo>
                  <a:cubicBezTo>
                    <a:pt x="0" y="954342"/>
                    <a:pt x="4324" y="941248"/>
                    <a:pt x="4813" y="927907"/>
                  </a:cubicBezTo>
                  <a:cubicBezTo>
                    <a:pt x="5309" y="914565"/>
                    <a:pt x="2965" y="901103"/>
                    <a:pt x="3949" y="887889"/>
                  </a:cubicBezTo>
                  <a:cubicBezTo>
                    <a:pt x="4940" y="874668"/>
                    <a:pt x="8769" y="861574"/>
                    <a:pt x="10249" y="848360"/>
                  </a:cubicBezTo>
                  <a:cubicBezTo>
                    <a:pt x="11735" y="835139"/>
                    <a:pt x="13957" y="822046"/>
                    <a:pt x="15811" y="808831"/>
                  </a:cubicBezTo>
                  <a:cubicBezTo>
                    <a:pt x="17659" y="795617"/>
                    <a:pt x="18402" y="782276"/>
                    <a:pt x="20751" y="769182"/>
                  </a:cubicBezTo>
                  <a:cubicBezTo>
                    <a:pt x="23095" y="756088"/>
                    <a:pt x="24949" y="742867"/>
                    <a:pt x="27546" y="729774"/>
                  </a:cubicBezTo>
                  <a:cubicBezTo>
                    <a:pt x="30137" y="716680"/>
                    <a:pt x="31128" y="703218"/>
                    <a:pt x="34093" y="690252"/>
                  </a:cubicBezTo>
                  <a:cubicBezTo>
                    <a:pt x="37059" y="677278"/>
                    <a:pt x="43110" y="665048"/>
                    <a:pt x="46564" y="652202"/>
                  </a:cubicBezTo>
                  <a:cubicBezTo>
                    <a:pt x="50025" y="639356"/>
                    <a:pt x="54470" y="626758"/>
                    <a:pt x="58179" y="614032"/>
                  </a:cubicBezTo>
                  <a:cubicBezTo>
                    <a:pt x="61887" y="601313"/>
                    <a:pt x="65589" y="588467"/>
                    <a:pt x="69545" y="575742"/>
                  </a:cubicBezTo>
                  <a:cubicBezTo>
                    <a:pt x="73495" y="563016"/>
                    <a:pt x="75717" y="549681"/>
                    <a:pt x="80042" y="537077"/>
                  </a:cubicBezTo>
                  <a:cubicBezTo>
                    <a:pt x="84366" y="524478"/>
                    <a:pt x="92392" y="513118"/>
                    <a:pt x="96964" y="500761"/>
                  </a:cubicBezTo>
                  <a:cubicBezTo>
                    <a:pt x="101536" y="488410"/>
                    <a:pt x="102768" y="474326"/>
                    <a:pt x="107588" y="462102"/>
                  </a:cubicBezTo>
                  <a:cubicBezTo>
                    <a:pt x="112407" y="449872"/>
                    <a:pt x="119323" y="438010"/>
                    <a:pt x="124511" y="425787"/>
                  </a:cubicBezTo>
                  <a:cubicBezTo>
                    <a:pt x="129699" y="413557"/>
                    <a:pt x="134639" y="400958"/>
                    <a:pt x="139954" y="388976"/>
                  </a:cubicBezTo>
                  <a:cubicBezTo>
                    <a:pt x="145262" y="376993"/>
                    <a:pt x="152057" y="365011"/>
                    <a:pt x="157740" y="353155"/>
                  </a:cubicBezTo>
                  <a:cubicBezTo>
                    <a:pt x="163417" y="341294"/>
                    <a:pt x="166757" y="327704"/>
                    <a:pt x="172682" y="315970"/>
                  </a:cubicBezTo>
                  <a:cubicBezTo>
                    <a:pt x="178613" y="304235"/>
                    <a:pt x="188245" y="293859"/>
                    <a:pt x="194424" y="282251"/>
                  </a:cubicBezTo>
                  <a:cubicBezTo>
                    <a:pt x="200603" y="270637"/>
                    <a:pt x="206038" y="258039"/>
                    <a:pt x="212458" y="246551"/>
                  </a:cubicBezTo>
                  <a:cubicBezTo>
                    <a:pt x="218884" y="235064"/>
                    <a:pt x="225799" y="223202"/>
                    <a:pt x="232467" y="211963"/>
                  </a:cubicBezTo>
                  <a:cubicBezTo>
                    <a:pt x="239509" y="200228"/>
                    <a:pt x="245072" y="187998"/>
                    <a:pt x="251987" y="177133"/>
                  </a:cubicBezTo>
                  <a:cubicBezTo>
                    <a:pt x="259277" y="165519"/>
                    <a:pt x="268414" y="155512"/>
                    <a:pt x="275577" y="144894"/>
                  </a:cubicBezTo>
                  <a:cubicBezTo>
                    <a:pt x="283362" y="133401"/>
                    <a:pt x="290900" y="122409"/>
                    <a:pt x="298310" y="112160"/>
                  </a:cubicBezTo>
                  <a:cubicBezTo>
                    <a:pt x="306584" y="100673"/>
                    <a:pt x="310909" y="87205"/>
                    <a:pt x="318687" y="77324"/>
                  </a:cubicBezTo>
                  <a:cubicBezTo>
                    <a:pt x="327704" y="65958"/>
                    <a:pt x="336480" y="55709"/>
                    <a:pt x="344627" y="46692"/>
                  </a:cubicBezTo>
                  <a:cubicBezTo>
                    <a:pt x="354882" y="35325"/>
                    <a:pt x="365627" y="26924"/>
                    <a:pt x="374275" y="19641"/>
                  </a:cubicBezTo>
                  <a:cubicBezTo>
                    <a:pt x="388728" y="7163"/>
                    <a:pt x="401205" y="0"/>
                    <a:pt x="409359" y="0"/>
                  </a:cubicBezTo>
                  <a:cubicBezTo>
                    <a:pt x="417506" y="0"/>
                    <a:pt x="430352" y="7531"/>
                    <a:pt x="446043" y="19018"/>
                  </a:cubicBezTo>
                  <a:cubicBezTo>
                    <a:pt x="455555" y="25940"/>
                    <a:pt x="464941" y="36068"/>
                    <a:pt x="476555" y="46692"/>
                  </a:cubicBezTo>
                  <a:cubicBezTo>
                    <a:pt x="485819" y="55213"/>
                    <a:pt x="496443" y="63983"/>
                    <a:pt x="506692" y="74606"/>
                  </a:cubicBezTo>
                  <a:cubicBezTo>
                    <a:pt x="515709" y="83871"/>
                    <a:pt x="523246" y="95606"/>
                    <a:pt x="532879" y="106477"/>
                  </a:cubicBezTo>
                  <a:cubicBezTo>
                    <a:pt x="541648" y="116357"/>
                    <a:pt x="551040" y="126238"/>
                    <a:pt x="560191" y="137230"/>
                  </a:cubicBezTo>
                  <a:cubicBezTo>
                    <a:pt x="568699" y="147485"/>
                    <a:pt x="580447" y="155639"/>
                    <a:pt x="589083" y="166878"/>
                  </a:cubicBezTo>
                  <a:cubicBezTo>
                    <a:pt x="597338" y="177502"/>
                    <a:pt x="603307" y="190227"/>
                    <a:pt x="611562" y="201587"/>
                  </a:cubicBezTo>
                  <a:cubicBezTo>
                    <a:pt x="619817" y="212954"/>
                    <a:pt x="629342" y="222339"/>
                    <a:pt x="637279" y="233826"/>
                  </a:cubicBezTo>
                  <a:cubicBezTo>
                    <a:pt x="645154" y="245313"/>
                    <a:pt x="651440" y="257175"/>
                    <a:pt x="659123" y="268783"/>
                  </a:cubicBezTo>
                  <a:cubicBezTo>
                    <a:pt x="666807" y="280397"/>
                    <a:pt x="673221" y="292253"/>
                    <a:pt x="680460" y="303987"/>
                  </a:cubicBezTo>
                  <a:cubicBezTo>
                    <a:pt x="687762" y="315722"/>
                    <a:pt x="698303" y="325234"/>
                    <a:pt x="705224" y="337217"/>
                  </a:cubicBezTo>
                  <a:cubicBezTo>
                    <a:pt x="712082" y="349199"/>
                    <a:pt x="715956" y="362541"/>
                    <a:pt x="722623" y="374771"/>
                  </a:cubicBezTo>
                  <a:cubicBezTo>
                    <a:pt x="729291" y="387001"/>
                    <a:pt x="738689" y="397250"/>
                    <a:pt x="744975" y="409600"/>
                  </a:cubicBezTo>
                  <a:cubicBezTo>
                    <a:pt x="751262" y="421958"/>
                    <a:pt x="756723" y="434429"/>
                    <a:pt x="762629" y="446907"/>
                  </a:cubicBezTo>
                  <a:cubicBezTo>
                    <a:pt x="768534" y="459384"/>
                    <a:pt x="775011" y="471488"/>
                    <a:pt x="780662" y="484086"/>
                  </a:cubicBezTo>
                  <a:cubicBezTo>
                    <a:pt x="786378" y="496684"/>
                    <a:pt x="789425" y="510273"/>
                    <a:pt x="794506" y="522999"/>
                  </a:cubicBezTo>
                  <a:cubicBezTo>
                    <a:pt x="799585" y="535718"/>
                    <a:pt x="802887" y="549186"/>
                    <a:pt x="807586" y="562032"/>
                  </a:cubicBezTo>
                  <a:cubicBezTo>
                    <a:pt x="812285" y="574878"/>
                    <a:pt x="815842" y="588220"/>
                    <a:pt x="820096" y="601313"/>
                  </a:cubicBezTo>
                  <a:cubicBezTo>
                    <a:pt x="824287" y="614407"/>
                    <a:pt x="827843" y="627621"/>
                    <a:pt x="831590" y="640842"/>
                  </a:cubicBezTo>
                  <a:cubicBezTo>
                    <a:pt x="835272" y="654056"/>
                    <a:pt x="840924" y="666782"/>
                    <a:pt x="844035" y="680117"/>
                  </a:cubicBezTo>
                  <a:cubicBezTo>
                    <a:pt x="847147" y="693458"/>
                    <a:pt x="852291" y="706552"/>
                    <a:pt x="854767" y="720020"/>
                  </a:cubicBezTo>
                  <a:cubicBezTo>
                    <a:pt x="857244" y="733482"/>
                    <a:pt x="860228" y="747192"/>
                    <a:pt x="861943" y="760781"/>
                  </a:cubicBezTo>
                  <a:cubicBezTo>
                    <a:pt x="863657" y="774370"/>
                    <a:pt x="864419" y="788327"/>
                    <a:pt x="865435" y="802037"/>
                  </a:cubicBezTo>
                  <a:cubicBezTo>
                    <a:pt x="866387" y="815747"/>
                    <a:pt x="861561" y="829704"/>
                    <a:pt x="861561" y="843420"/>
                  </a:cubicBezTo>
                  <a:cubicBezTo>
                    <a:pt x="861561" y="857129"/>
                    <a:pt x="866515" y="871334"/>
                    <a:pt x="866133" y="884676"/>
                  </a:cubicBezTo>
                  <a:cubicBezTo>
                    <a:pt x="865753" y="898754"/>
                    <a:pt x="860355" y="912343"/>
                    <a:pt x="859593" y="925684"/>
                  </a:cubicBezTo>
                  <a:cubicBezTo>
                    <a:pt x="858704" y="939768"/>
                    <a:pt x="859847" y="953599"/>
                    <a:pt x="858641" y="966819"/>
                  </a:cubicBezTo>
                  <a:cubicBezTo>
                    <a:pt x="857244" y="980897"/>
                    <a:pt x="856608" y="994734"/>
                    <a:pt x="854894" y="1007828"/>
                  </a:cubicBezTo>
                  <a:cubicBezTo>
                    <a:pt x="853053" y="1021912"/>
                    <a:pt x="850576" y="1035495"/>
                    <a:pt x="848354" y="1048468"/>
                  </a:cubicBezTo>
                  <a:cubicBezTo>
                    <a:pt x="845877" y="1062546"/>
                    <a:pt x="841940" y="1075639"/>
                    <a:pt x="839082" y="1088492"/>
                  </a:cubicBezTo>
                  <a:cubicBezTo>
                    <a:pt x="836034" y="1102570"/>
                    <a:pt x="832161" y="1115663"/>
                    <a:pt x="828732" y="1128262"/>
                  </a:cubicBezTo>
                  <a:cubicBezTo>
                    <a:pt x="824858" y="1142219"/>
                    <a:pt x="824858" y="1156551"/>
                    <a:pt x="820668" y="1168902"/>
                  </a:cubicBezTo>
                  <a:cubicBezTo>
                    <a:pt x="815969" y="1182738"/>
                    <a:pt x="808603" y="1194721"/>
                    <a:pt x="803522" y="1206576"/>
                  </a:cubicBezTo>
                  <a:cubicBezTo>
                    <a:pt x="797744" y="1220165"/>
                    <a:pt x="791775" y="1232516"/>
                    <a:pt x="785870" y="1243756"/>
                  </a:cubicBezTo>
                  <a:cubicBezTo>
                    <a:pt x="778821" y="1257224"/>
                    <a:pt x="771137" y="1268463"/>
                    <a:pt x="764470" y="1278712"/>
                  </a:cubicBezTo>
                  <a:cubicBezTo>
                    <a:pt x="755707" y="1292181"/>
                    <a:pt x="750182" y="1305274"/>
                    <a:pt x="742753" y="1313917"/>
                  </a:cubicBezTo>
                  <a:cubicBezTo>
                    <a:pt x="725481" y="1334300"/>
                    <a:pt x="729926" y="1331214"/>
                    <a:pt x="712718" y="1342701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8B6775B1-66A2-30AE-FE22-D437DA08B719}"/>
                </a:ext>
              </a:extLst>
            </p:cNvPr>
            <p:cNvSpPr/>
            <p:nvPr/>
          </p:nvSpPr>
          <p:spPr>
            <a:xfrm>
              <a:off x="6300304" y="2239879"/>
              <a:ext cx="179108" cy="487604"/>
            </a:xfrm>
            <a:custGeom>
              <a:avLst/>
              <a:gdLst>
                <a:gd name="connsiteX0" fmla="*/ 248 w 179108"/>
                <a:gd name="connsiteY0" fmla="*/ 308001 h 487604"/>
                <a:gd name="connsiteX1" fmla="*/ 16307 w 179108"/>
                <a:gd name="connsiteY1" fmla="*/ 271686 h 487604"/>
                <a:gd name="connsiteX2" fmla="*/ 36188 w 179108"/>
                <a:gd name="connsiteY2" fmla="*/ 237345 h 487604"/>
                <a:gd name="connsiteX3" fmla="*/ 52235 w 179108"/>
                <a:gd name="connsiteY3" fmla="*/ 200908 h 487604"/>
                <a:gd name="connsiteX4" fmla="*/ 68681 w 179108"/>
                <a:gd name="connsiteY4" fmla="*/ 164593 h 487604"/>
                <a:gd name="connsiteX5" fmla="*/ 88430 w 179108"/>
                <a:gd name="connsiteY5" fmla="*/ 130004 h 487604"/>
                <a:gd name="connsiteX6" fmla="*/ 111671 w 179108"/>
                <a:gd name="connsiteY6" fmla="*/ 97518 h 487604"/>
                <a:gd name="connsiteX7" fmla="*/ 130340 w 179108"/>
                <a:gd name="connsiteY7" fmla="*/ 62440 h 487604"/>
                <a:gd name="connsiteX8" fmla="*/ 148692 w 179108"/>
                <a:gd name="connsiteY8" fmla="*/ 26988 h 487604"/>
                <a:gd name="connsiteX9" fmla="*/ 177902 w 179108"/>
                <a:gd name="connsiteY9" fmla="*/ 306 h 487604"/>
                <a:gd name="connsiteX10" fmla="*/ 170472 w 179108"/>
                <a:gd name="connsiteY10" fmla="*/ 39218 h 487604"/>
                <a:gd name="connsiteX11" fmla="*/ 161709 w 179108"/>
                <a:gd name="connsiteY11" fmla="*/ 78373 h 487604"/>
                <a:gd name="connsiteX12" fmla="*/ 146024 w 179108"/>
                <a:gd name="connsiteY12" fmla="*/ 115183 h 487604"/>
                <a:gd name="connsiteX13" fmla="*/ 134023 w 179108"/>
                <a:gd name="connsiteY13" fmla="*/ 153353 h 487604"/>
                <a:gd name="connsiteX14" fmla="*/ 115354 w 179108"/>
                <a:gd name="connsiteY14" fmla="*/ 188926 h 487604"/>
                <a:gd name="connsiteX15" fmla="*/ 101257 w 179108"/>
                <a:gd name="connsiteY15" fmla="*/ 226353 h 487604"/>
                <a:gd name="connsiteX16" fmla="*/ 91415 w 179108"/>
                <a:gd name="connsiteY16" fmla="*/ 265513 h 487604"/>
                <a:gd name="connsiteX17" fmla="*/ 72492 w 179108"/>
                <a:gd name="connsiteY17" fmla="*/ 301086 h 487604"/>
                <a:gd name="connsiteX18" fmla="*/ 57696 w 179108"/>
                <a:gd name="connsiteY18" fmla="*/ 338265 h 487604"/>
                <a:gd name="connsiteX19" fmla="*/ 45828 w 179108"/>
                <a:gd name="connsiteY19" fmla="*/ 376683 h 487604"/>
                <a:gd name="connsiteX20" fmla="*/ 29769 w 179108"/>
                <a:gd name="connsiteY20" fmla="*/ 413367 h 487604"/>
                <a:gd name="connsiteX21" fmla="*/ 13341 w 179108"/>
                <a:gd name="connsiteY21" fmla="*/ 449809 h 487604"/>
                <a:gd name="connsiteX22" fmla="*/ 0 w 179108"/>
                <a:gd name="connsiteY22" fmla="*/ 487605 h 4876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79108" h="487604">
                  <a:moveTo>
                    <a:pt x="248" y="308001"/>
                  </a:moveTo>
                  <a:cubicBezTo>
                    <a:pt x="9137" y="290215"/>
                    <a:pt x="5188" y="293301"/>
                    <a:pt x="16307" y="271686"/>
                  </a:cubicBezTo>
                  <a:cubicBezTo>
                    <a:pt x="21495" y="261437"/>
                    <a:pt x="29401" y="250438"/>
                    <a:pt x="36188" y="237345"/>
                  </a:cubicBezTo>
                  <a:cubicBezTo>
                    <a:pt x="41872" y="226353"/>
                    <a:pt x="45701" y="213259"/>
                    <a:pt x="52235" y="200908"/>
                  </a:cubicBezTo>
                  <a:cubicBezTo>
                    <a:pt x="58331" y="189542"/>
                    <a:pt x="62268" y="176448"/>
                    <a:pt x="68681" y="164593"/>
                  </a:cubicBezTo>
                  <a:cubicBezTo>
                    <a:pt x="75095" y="152731"/>
                    <a:pt x="82017" y="141619"/>
                    <a:pt x="88430" y="130004"/>
                  </a:cubicBezTo>
                  <a:cubicBezTo>
                    <a:pt x="94843" y="118396"/>
                    <a:pt x="105385" y="108637"/>
                    <a:pt x="111671" y="97518"/>
                  </a:cubicBezTo>
                  <a:cubicBezTo>
                    <a:pt x="118592" y="85415"/>
                    <a:pt x="123863" y="73064"/>
                    <a:pt x="130340" y="62440"/>
                  </a:cubicBezTo>
                  <a:cubicBezTo>
                    <a:pt x="137960" y="49715"/>
                    <a:pt x="142278" y="36374"/>
                    <a:pt x="148692" y="26988"/>
                  </a:cubicBezTo>
                  <a:cubicBezTo>
                    <a:pt x="161582" y="8084"/>
                    <a:pt x="173647" y="-1917"/>
                    <a:pt x="177902" y="306"/>
                  </a:cubicBezTo>
                  <a:cubicBezTo>
                    <a:pt x="181330" y="2160"/>
                    <a:pt x="177012" y="16612"/>
                    <a:pt x="170472" y="39218"/>
                  </a:cubicBezTo>
                  <a:cubicBezTo>
                    <a:pt x="167234" y="50083"/>
                    <a:pt x="166662" y="64040"/>
                    <a:pt x="161709" y="78373"/>
                  </a:cubicBezTo>
                  <a:cubicBezTo>
                    <a:pt x="157709" y="89987"/>
                    <a:pt x="150850" y="101842"/>
                    <a:pt x="146024" y="115183"/>
                  </a:cubicBezTo>
                  <a:cubicBezTo>
                    <a:pt x="141706" y="127166"/>
                    <a:pt x="138976" y="140380"/>
                    <a:pt x="134023" y="153353"/>
                  </a:cubicBezTo>
                  <a:cubicBezTo>
                    <a:pt x="129451" y="165456"/>
                    <a:pt x="120180" y="176328"/>
                    <a:pt x="115354" y="188926"/>
                  </a:cubicBezTo>
                  <a:cubicBezTo>
                    <a:pt x="110528" y="201524"/>
                    <a:pt x="106210" y="213875"/>
                    <a:pt x="101257" y="226353"/>
                  </a:cubicBezTo>
                  <a:cubicBezTo>
                    <a:pt x="96367" y="238831"/>
                    <a:pt x="96367" y="253156"/>
                    <a:pt x="91415" y="265513"/>
                  </a:cubicBezTo>
                  <a:cubicBezTo>
                    <a:pt x="86461" y="277864"/>
                    <a:pt x="77317" y="288856"/>
                    <a:pt x="72492" y="301086"/>
                  </a:cubicBezTo>
                  <a:cubicBezTo>
                    <a:pt x="67666" y="313316"/>
                    <a:pt x="62649" y="326162"/>
                    <a:pt x="57696" y="338265"/>
                  </a:cubicBezTo>
                  <a:cubicBezTo>
                    <a:pt x="52489" y="351111"/>
                    <a:pt x="50648" y="364948"/>
                    <a:pt x="45828" y="376683"/>
                  </a:cubicBezTo>
                  <a:cubicBezTo>
                    <a:pt x="40392" y="389897"/>
                    <a:pt x="34461" y="402007"/>
                    <a:pt x="29769" y="413367"/>
                  </a:cubicBezTo>
                  <a:cubicBezTo>
                    <a:pt x="23965" y="427324"/>
                    <a:pt x="17666" y="439307"/>
                    <a:pt x="13341" y="449809"/>
                  </a:cubicBezTo>
                  <a:cubicBezTo>
                    <a:pt x="3702" y="472784"/>
                    <a:pt x="7779" y="469202"/>
                    <a:pt x="0" y="487605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2A970A53-5AA9-A801-6336-B3938E991B10}"/>
                </a:ext>
              </a:extLst>
            </p:cNvPr>
            <p:cNvSpPr/>
            <p:nvPr/>
          </p:nvSpPr>
          <p:spPr>
            <a:xfrm>
              <a:off x="5951040" y="2482267"/>
              <a:ext cx="180056" cy="485843"/>
            </a:xfrm>
            <a:custGeom>
              <a:avLst/>
              <a:gdLst>
                <a:gd name="connsiteX0" fmla="*/ 178945 w 180056"/>
                <a:gd name="connsiteY0" fmla="*/ 306735 h 485843"/>
                <a:gd name="connsiteX1" fmla="*/ 161279 w 180056"/>
                <a:gd name="connsiteY1" fmla="*/ 271156 h 485843"/>
                <a:gd name="connsiteX2" fmla="*/ 145468 w 180056"/>
                <a:gd name="connsiteY2" fmla="*/ 234593 h 485843"/>
                <a:gd name="connsiteX3" fmla="*/ 125084 w 180056"/>
                <a:gd name="connsiteY3" fmla="*/ 200379 h 485843"/>
                <a:gd name="connsiteX4" fmla="*/ 109031 w 180056"/>
                <a:gd name="connsiteY4" fmla="*/ 163943 h 485843"/>
                <a:gd name="connsiteX5" fmla="*/ 89264 w 180056"/>
                <a:gd name="connsiteY5" fmla="*/ 129475 h 485843"/>
                <a:gd name="connsiteX6" fmla="*/ 68017 w 180056"/>
                <a:gd name="connsiteY6" fmla="*/ 95756 h 485843"/>
                <a:gd name="connsiteX7" fmla="*/ 47265 w 180056"/>
                <a:gd name="connsiteY7" fmla="*/ 61911 h 485843"/>
                <a:gd name="connsiteX8" fmla="*/ 25897 w 180056"/>
                <a:gd name="connsiteY8" fmla="*/ 28561 h 485843"/>
                <a:gd name="connsiteX9" fmla="*/ 1564 w 180056"/>
                <a:gd name="connsiteY9" fmla="*/ 271 h 485843"/>
                <a:gd name="connsiteX10" fmla="*/ 7120 w 180056"/>
                <a:gd name="connsiteY10" fmla="*/ 38194 h 485843"/>
                <a:gd name="connsiteX11" fmla="*/ 17871 w 180056"/>
                <a:gd name="connsiteY11" fmla="*/ 76732 h 485843"/>
                <a:gd name="connsiteX12" fmla="*/ 29479 w 180056"/>
                <a:gd name="connsiteY12" fmla="*/ 115022 h 485843"/>
                <a:gd name="connsiteX13" fmla="*/ 48135 w 180056"/>
                <a:gd name="connsiteY13" fmla="*/ 150722 h 485843"/>
                <a:gd name="connsiteX14" fmla="*/ 62092 w 180056"/>
                <a:gd name="connsiteY14" fmla="*/ 188149 h 485843"/>
                <a:gd name="connsiteX15" fmla="*/ 77656 w 180056"/>
                <a:gd name="connsiteY15" fmla="*/ 224960 h 485843"/>
                <a:gd name="connsiteX16" fmla="*/ 89391 w 180056"/>
                <a:gd name="connsiteY16" fmla="*/ 263377 h 485843"/>
                <a:gd name="connsiteX17" fmla="*/ 106066 w 180056"/>
                <a:gd name="connsiteY17" fmla="*/ 299814 h 485843"/>
                <a:gd name="connsiteX18" fmla="*/ 122493 w 180056"/>
                <a:gd name="connsiteY18" fmla="*/ 336377 h 485843"/>
                <a:gd name="connsiteX19" fmla="*/ 132990 w 180056"/>
                <a:gd name="connsiteY19" fmla="*/ 375410 h 485843"/>
                <a:gd name="connsiteX20" fmla="*/ 147938 w 180056"/>
                <a:gd name="connsiteY20" fmla="*/ 412596 h 485843"/>
                <a:gd name="connsiteX21" fmla="*/ 163381 w 180056"/>
                <a:gd name="connsiteY21" fmla="*/ 449528 h 485843"/>
                <a:gd name="connsiteX22" fmla="*/ 180056 w 180056"/>
                <a:gd name="connsiteY22" fmla="*/ 485843 h 4858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80056" h="485843">
                  <a:moveTo>
                    <a:pt x="178945" y="306735"/>
                  </a:moveTo>
                  <a:cubicBezTo>
                    <a:pt x="170048" y="288949"/>
                    <a:pt x="172398" y="292898"/>
                    <a:pt x="161279" y="271156"/>
                  </a:cubicBezTo>
                  <a:cubicBezTo>
                    <a:pt x="156091" y="260907"/>
                    <a:pt x="152262" y="247686"/>
                    <a:pt x="145468" y="234593"/>
                  </a:cubicBezTo>
                  <a:cubicBezTo>
                    <a:pt x="139784" y="223601"/>
                    <a:pt x="131631" y="212730"/>
                    <a:pt x="125084" y="200379"/>
                  </a:cubicBezTo>
                  <a:cubicBezTo>
                    <a:pt x="119033" y="189013"/>
                    <a:pt x="115451" y="175798"/>
                    <a:pt x="109031" y="163943"/>
                  </a:cubicBezTo>
                  <a:cubicBezTo>
                    <a:pt x="102605" y="152081"/>
                    <a:pt x="95563" y="140962"/>
                    <a:pt x="89264" y="129475"/>
                  </a:cubicBezTo>
                  <a:cubicBezTo>
                    <a:pt x="82965" y="117988"/>
                    <a:pt x="74443" y="106996"/>
                    <a:pt x="68017" y="95756"/>
                  </a:cubicBezTo>
                  <a:cubicBezTo>
                    <a:pt x="61102" y="83647"/>
                    <a:pt x="53691" y="72534"/>
                    <a:pt x="47265" y="61911"/>
                  </a:cubicBezTo>
                  <a:cubicBezTo>
                    <a:pt x="39607" y="49185"/>
                    <a:pt x="32324" y="37946"/>
                    <a:pt x="25897" y="28561"/>
                  </a:cubicBezTo>
                  <a:cubicBezTo>
                    <a:pt x="13051" y="9657"/>
                    <a:pt x="5761" y="-1951"/>
                    <a:pt x="1564" y="271"/>
                  </a:cubicBezTo>
                  <a:cubicBezTo>
                    <a:pt x="-1897" y="2126"/>
                    <a:pt x="574" y="15715"/>
                    <a:pt x="7120" y="38194"/>
                  </a:cubicBezTo>
                  <a:cubicBezTo>
                    <a:pt x="10333" y="49065"/>
                    <a:pt x="12931" y="62406"/>
                    <a:pt x="17871" y="76732"/>
                  </a:cubicBezTo>
                  <a:cubicBezTo>
                    <a:pt x="21820" y="88346"/>
                    <a:pt x="24665" y="101681"/>
                    <a:pt x="29479" y="115022"/>
                  </a:cubicBezTo>
                  <a:cubicBezTo>
                    <a:pt x="33803" y="127005"/>
                    <a:pt x="43188" y="137755"/>
                    <a:pt x="48135" y="150722"/>
                  </a:cubicBezTo>
                  <a:cubicBezTo>
                    <a:pt x="52701" y="162831"/>
                    <a:pt x="57152" y="175430"/>
                    <a:pt x="62092" y="188149"/>
                  </a:cubicBezTo>
                  <a:cubicBezTo>
                    <a:pt x="67033" y="200874"/>
                    <a:pt x="72716" y="212482"/>
                    <a:pt x="77656" y="224960"/>
                  </a:cubicBezTo>
                  <a:cubicBezTo>
                    <a:pt x="82596" y="237437"/>
                    <a:pt x="84451" y="251027"/>
                    <a:pt x="89391" y="263377"/>
                  </a:cubicBezTo>
                  <a:cubicBezTo>
                    <a:pt x="94331" y="275728"/>
                    <a:pt x="101126" y="287590"/>
                    <a:pt x="106066" y="299814"/>
                  </a:cubicBezTo>
                  <a:cubicBezTo>
                    <a:pt x="111006" y="312044"/>
                    <a:pt x="117553" y="324274"/>
                    <a:pt x="122493" y="336377"/>
                  </a:cubicBezTo>
                  <a:cubicBezTo>
                    <a:pt x="127681" y="349223"/>
                    <a:pt x="128177" y="363555"/>
                    <a:pt x="132990" y="375410"/>
                  </a:cubicBezTo>
                  <a:cubicBezTo>
                    <a:pt x="138426" y="388631"/>
                    <a:pt x="143245" y="401102"/>
                    <a:pt x="147938" y="412596"/>
                  </a:cubicBezTo>
                  <a:cubicBezTo>
                    <a:pt x="153742" y="426553"/>
                    <a:pt x="158930" y="438904"/>
                    <a:pt x="163381" y="449528"/>
                  </a:cubicBezTo>
                  <a:cubicBezTo>
                    <a:pt x="173014" y="472502"/>
                    <a:pt x="172271" y="467434"/>
                    <a:pt x="180056" y="485843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25AB20D3-92DB-4DA3-0075-08A93DA3B119}"/>
                </a:ext>
              </a:extLst>
            </p:cNvPr>
            <p:cNvSpPr/>
            <p:nvPr/>
          </p:nvSpPr>
          <p:spPr>
            <a:xfrm>
              <a:off x="7035998" y="3530269"/>
              <a:ext cx="379976" cy="469333"/>
            </a:xfrm>
            <a:custGeom>
              <a:avLst/>
              <a:gdLst>
                <a:gd name="connsiteX0" fmla="*/ 104768 w 379976"/>
                <a:gd name="connsiteY0" fmla="*/ 0 h 469333"/>
                <a:gd name="connsiteX1" fmla="*/ 81908 w 379976"/>
                <a:gd name="connsiteY1" fmla="*/ 27540 h 469333"/>
                <a:gd name="connsiteX2" fmla="*/ 59809 w 379976"/>
                <a:gd name="connsiteY2" fmla="*/ 55829 h 469333"/>
                <a:gd name="connsiteX3" fmla="*/ 43363 w 379976"/>
                <a:gd name="connsiteY3" fmla="*/ 87821 h 469333"/>
                <a:gd name="connsiteX4" fmla="*/ 27297 w 379976"/>
                <a:gd name="connsiteY4" fmla="*/ 119939 h 469333"/>
                <a:gd name="connsiteX5" fmla="*/ 14216 w 379976"/>
                <a:gd name="connsiteY5" fmla="*/ 156254 h 469333"/>
                <a:gd name="connsiteX6" fmla="*/ 7295 w 379976"/>
                <a:gd name="connsiteY6" fmla="*/ 194050 h 469333"/>
                <a:gd name="connsiteX7" fmla="*/ 627 w 379976"/>
                <a:gd name="connsiteY7" fmla="*/ 231851 h 469333"/>
                <a:gd name="connsiteX8" fmla="*/ 373 w 379976"/>
                <a:gd name="connsiteY8" fmla="*/ 270269 h 469333"/>
                <a:gd name="connsiteX9" fmla="*/ 4437 w 379976"/>
                <a:gd name="connsiteY9" fmla="*/ 308311 h 469333"/>
                <a:gd name="connsiteX10" fmla="*/ 11613 w 379976"/>
                <a:gd name="connsiteY10" fmla="*/ 345986 h 469333"/>
                <a:gd name="connsiteX11" fmla="*/ 28313 w 379976"/>
                <a:gd name="connsiteY11" fmla="*/ 380448 h 469333"/>
                <a:gd name="connsiteX12" fmla="*/ 47173 w 379976"/>
                <a:gd name="connsiteY12" fmla="*/ 413677 h 469333"/>
                <a:gd name="connsiteX13" fmla="*/ 74351 w 379976"/>
                <a:gd name="connsiteY13" fmla="*/ 440855 h 469333"/>
                <a:gd name="connsiteX14" fmla="*/ 107752 w 379976"/>
                <a:gd name="connsiteY14" fmla="*/ 460121 h 469333"/>
                <a:gd name="connsiteX15" fmla="*/ 148963 w 379976"/>
                <a:gd name="connsiteY15" fmla="*/ 468770 h 469333"/>
                <a:gd name="connsiteX16" fmla="*/ 190873 w 379976"/>
                <a:gd name="connsiteY16" fmla="*/ 466547 h 469333"/>
                <a:gd name="connsiteX17" fmla="*/ 232720 w 379976"/>
                <a:gd name="connsiteY17" fmla="*/ 458889 h 469333"/>
                <a:gd name="connsiteX18" fmla="*/ 268788 w 379976"/>
                <a:gd name="connsiteY18" fmla="*/ 436283 h 469333"/>
                <a:gd name="connsiteX19" fmla="*/ 302887 w 379976"/>
                <a:gd name="connsiteY19" fmla="*/ 411575 h 469333"/>
                <a:gd name="connsiteX20" fmla="*/ 333304 w 379976"/>
                <a:gd name="connsiteY20" fmla="*/ 382302 h 469333"/>
                <a:gd name="connsiteX21" fmla="*/ 358704 w 379976"/>
                <a:gd name="connsiteY21" fmla="*/ 348583 h 469333"/>
                <a:gd name="connsiteX22" fmla="*/ 379976 w 379976"/>
                <a:gd name="connsiteY22" fmla="*/ 312268 h 469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79976" h="469333">
                  <a:moveTo>
                    <a:pt x="104768" y="0"/>
                  </a:moveTo>
                  <a:cubicBezTo>
                    <a:pt x="96639" y="8395"/>
                    <a:pt x="89337" y="17907"/>
                    <a:pt x="81908" y="27540"/>
                  </a:cubicBezTo>
                  <a:cubicBezTo>
                    <a:pt x="74478" y="37179"/>
                    <a:pt x="66350" y="45574"/>
                    <a:pt x="59809" y="55829"/>
                  </a:cubicBezTo>
                  <a:cubicBezTo>
                    <a:pt x="53269" y="66084"/>
                    <a:pt x="48951" y="76949"/>
                    <a:pt x="43363" y="87821"/>
                  </a:cubicBezTo>
                  <a:cubicBezTo>
                    <a:pt x="37838" y="98692"/>
                    <a:pt x="31870" y="108699"/>
                    <a:pt x="27297" y="119939"/>
                  </a:cubicBezTo>
                  <a:cubicBezTo>
                    <a:pt x="22345" y="132042"/>
                    <a:pt x="17899" y="144151"/>
                    <a:pt x="14216" y="156254"/>
                  </a:cubicBezTo>
                  <a:cubicBezTo>
                    <a:pt x="10533" y="168358"/>
                    <a:pt x="9645" y="181699"/>
                    <a:pt x="7295" y="194050"/>
                  </a:cubicBezTo>
                  <a:cubicBezTo>
                    <a:pt x="4946" y="206407"/>
                    <a:pt x="1644" y="219373"/>
                    <a:pt x="627" y="231851"/>
                  </a:cubicBezTo>
                  <a:cubicBezTo>
                    <a:pt x="-325" y="244329"/>
                    <a:pt x="-7" y="257664"/>
                    <a:pt x="373" y="270269"/>
                  </a:cubicBezTo>
                  <a:cubicBezTo>
                    <a:pt x="754" y="282867"/>
                    <a:pt x="2469" y="295961"/>
                    <a:pt x="4437" y="308311"/>
                  </a:cubicBezTo>
                  <a:cubicBezTo>
                    <a:pt x="6533" y="321285"/>
                    <a:pt x="7930" y="334131"/>
                    <a:pt x="11613" y="345986"/>
                  </a:cubicBezTo>
                  <a:cubicBezTo>
                    <a:pt x="15550" y="358585"/>
                    <a:pt x="22598" y="369335"/>
                    <a:pt x="28313" y="380448"/>
                  </a:cubicBezTo>
                  <a:cubicBezTo>
                    <a:pt x="34345" y="392062"/>
                    <a:pt x="39299" y="403917"/>
                    <a:pt x="47173" y="413677"/>
                  </a:cubicBezTo>
                  <a:cubicBezTo>
                    <a:pt x="55110" y="423437"/>
                    <a:pt x="64255" y="433197"/>
                    <a:pt x="74351" y="440855"/>
                  </a:cubicBezTo>
                  <a:cubicBezTo>
                    <a:pt x="84511" y="448513"/>
                    <a:pt x="95623" y="455181"/>
                    <a:pt x="107752" y="460121"/>
                  </a:cubicBezTo>
                  <a:cubicBezTo>
                    <a:pt x="120960" y="465436"/>
                    <a:pt x="135057" y="467411"/>
                    <a:pt x="148963" y="468770"/>
                  </a:cubicBezTo>
                  <a:cubicBezTo>
                    <a:pt x="162933" y="470129"/>
                    <a:pt x="176649" y="468890"/>
                    <a:pt x="190873" y="466547"/>
                  </a:cubicBezTo>
                  <a:cubicBezTo>
                    <a:pt x="205097" y="464198"/>
                    <a:pt x="219258" y="464325"/>
                    <a:pt x="232720" y="458889"/>
                  </a:cubicBezTo>
                  <a:cubicBezTo>
                    <a:pt x="245483" y="453822"/>
                    <a:pt x="256469" y="443941"/>
                    <a:pt x="268788" y="436283"/>
                  </a:cubicBezTo>
                  <a:cubicBezTo>
                    <a:pt x="280408" y="428993"/>
                    <a:pt x="292029" y="420967"/>
                    <a:pt x="302887" y="411575"/>
                  </a:cubicBezTo>
                  <a:cubicBezTo>
                    <a:pt x="313745" y="402190"/>
                    <a:pt x="323652" y="393046"/>
                    <a:pt x="333304" y="382302"/>
                  </a:cubicBezTo>
                  <a:cubicBezTo>
                    <a:pt x="342893" y="371558"/>
                    <a:pt x="350449" y="360439"/>
                    <a:pt x="358704" y="348583"/>
                  </a:cubicBezTo>
                  <a:cubicBezTo>
                    <a:pt x="367022" y="336721"/>
                    <a:pt x="373055" y="324866"/>
                    <a:pt x="379976" y="312268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E6623962-D0D5-67B7-0352-811E0A2A2FBE}"/>
                </a:ext>
              </a:extLst>
            </p:cNvPr>
            <p:cNvSpPr/>
            <p:nvPr/>
          </p:nvSpPr>
          <p:spPr>
            <a:xfrm>
              <a:off x="7229729" y="3657866"/>
              <a:ext cx="24701" cy="46444"/>
            </a:xfrm>
            <a:custGeom>
              <a:avLst/>
              <a:gdLst>
                <a:gd name="connsiteX0" fmla="*/ 24702 w 24701"/>
                <a:gd name="connsiteY0" fmla="*/ 0 h 46444"/>
                <a:gd name="connsiteX1" fmla="*/ 0 w 24701"/>
                <a:gd name="connsiteY1" fmla="*/ 46444 h 46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4701" h="46444">
                  <a:moveTo>
                    <a:pt x="24702" y="0"/>
                  </a:moveTo>
                  <a:cubicBezTo>
                    <a:pt x="13335" y="23717"/>
                    <a:pt x="11302" y="22727"/>
                    <a:pt x="0" y="46444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60319912-BD14-DF15-8670-451327CA7498}"/>
                </a:ext>
              </a:extLst>
            </p:cNvPr>
            <p:cNvSpPr/>
            <p:nvPr/>
          </p:nvSpPr>
          <p:spPr>
            <a:xfrm>
              <a:off x="7143242" y="3607218"/>
              <a:ext cx="21399" cy="47930"/>
            </a:xfrm>
            <a:custGeom>
              <a:avLst/>
              <a:gdLst>
                <a:gd name="connsiteX0" fmla="*/ 21399 w 21399"/>
                <a:gd name="connsiteY0" fmla="*/ 0 h 47930"/>
                <a:gd name="connsiteX1" fmla="*/ 0 w 21399"/>
                <a:gd name="connsiteY1" fmla="*/ 47930 h 47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1399" h="47930">
                  <a:moveTo>
                    <a:pt x="21399" y="0"/>
                  </a:moveTo>
                  <a:cubicBezTo>
                    <a:pt x="10033" y="23718"/>
                    <a:pt x="11366" y="24340"/>
                    <a:pt x="0" y="4793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7F8CD584-BCA4-BAC9-1035-249EFAEBFD78}"/>
                </a:ext>
              </a:extLst>
            </p:cNvPr>
            <p:cNvSpPr/>
            <p:nvPr/>
          </p:nvSpPr>
          <p:spPr>
            <a:xfrm>
              <a:off x="7075296" y="3658241"/>
              <a:ext cx="165290" cy="127600"/>
            </a:xfrm>
            <a:custGeom>
              <a:avLst/>
              <a:gdLst>
                <a:gd name="connsiteX0" fmla="*/ 0 w 165290"/>
                <a:gd name="connsiteY0" fmla="*/ 0 h 127600"/>
                <a:gd name="connsiteX1" fmla="*/ 9906 w 165290"/>
                <a:gd name="connsiteY1" fmla="*/ 37300 h 127600"/>
                <a:gd name="connsiteX2" fmla="*/ 29147 w 165290"/>
                <a:gd name="connsiteY2" fmla="*/ 70777 h 127600"/>
                <a:gd name="connsiteX3" fmla="*/ 55118 w 165290"/>
                <a:gd name="connsiteY3" fmla="*/ 98692 h 127600"/>
                <a:gd name="connsiteX4" fmla="*/ 88329 w 165290"/>
                <a:gd name="connsiteY4" fmla="*/ 117468 h 127600"/>
                <a:gd name="connsiteX5" fmla="*/ 126238 w 165290"/>
                <a:gd name="connsiteY5" fmla="*/ 127597 h 127600"/>
                <a:gd name="connsiteX6" fmla="*/ 165291 w 165290"/>
                <a:gd name="connsiteY6" fmla="*/ 121418 h 127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5290" h="127600">
                  <a:moveTo>
                    <a:pt x="0" y="0"/>
                  </a:moveTo>
                  <a:cubicBezTo>
                    <a:pt x="2604" y="19393"/>
                    <a:pt x="1715" y="16301"/>
                    <a:pt x="9906" y="37300"/>
                  </a:cubicBezTo>
                  <a:cubicBezTo>
                    <a:pt x="14097" y="48171"/>
                    <a:pt x="21146" y="59163"/>
                    <a:pt x="29147" y="70777"/>
                  </a:cubicBezTo>
                  <a:cubicBezTo>
                    <a:pt x="36195" y="81026"/>
                    <a:pt x="44323" y="90291"/>
                    <a:pt x="55118" y="98692"/>
                  </a:cubicBezTo>
                  <a:cubicBezTo>
                    <a:pt x="64834" y="106229"/>
                    <a:pt x="74994" y="113144"/>
                    <a:pt x="88329" y="117468"/>
                  </a:cubicBezTo>
                  <a:cubicBezTo>
                    <a:pt x="99695" y="121177"/>
                    <a:pt x="111887" y="127476"/>
                    <a:pt x="126238" y="127597"/>
                  </a:cubicBezTo>
                  <a:cubicBezTo>
                    <a:pt x="138113" y="127717"/>
                    <a:pt x="151194" y="124384"/>
                    <a:pt x="165291" y="121418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7141C727-77E0-970B-BD1D-F86C2252F14C}"/>
                </a:ext>
              </a:extLst>
            </p:cNvPr>
            <p:cNvSpPr/>
            <p:nvPr/>
          </p:nvSpPr>
          <p:spPr>
            <a:xfrm>
              <a:off x="7254811" y="3998664"/>
              <a:ext cx="286465" cy="636206"/>
            </a:xfrm>
            <a:custGeom>
              <a:avLst/>
              <a:gdLst>
                <a:gd name="connsiteX0" fmla="*/ 69406 w 286465"/>
                <a:gd name="connsiteY0" fmla="*/ 0 h 636206"/>
                <a:gd name="connsiteX1" fmla="*/ 96203 w 286465"/>
                <a:gd name="connsiteY1" fmla="*/ 30759 h 636206"/>
                <a:gd name="connsiteX2" fmla="*/ 127953 w 286465"/>
                <a:gd name="connsiteY2" fmla="*/ 56699 h 636206"/>
                <a:gd name="connsiteX3" fmla="*/ 155639 w 286465"/>
                <a:gd name="connsiteY3" fmla="*/ 86716 h 636206"/>
                <a:gd name="connsiteX4" fmla="*/ 181546 w 286465"/>
                <a:gd name="connsiteY4" fmla="*/ 118212 h 636206"/>
                <a:gd name="connsiteX5" fmla="*/ 209106 w 286465"/>
                <a:gd name="connsiteY5" fmla="*/ 148228 h 636206"/>
                <a:gd name="connsiteX6" fmla="*/ 237744 w 286465"/>
                <a:gd name="connsiteY6" fmla="*/ 177260 h 636206"/>
                <a:gd name="connsiteX7" fmla="*/ 263207 w 286465"/>
                <a:gd name="connsiteY7" fmla="*/ 209004 h 636206"/>
                <a:gd name="connsiteX8" fmla="*/ 286448 w 286465"/>
                <a:gd name="connsiteY8" fmla="*/ 242850 h 636206"/>
                <a:gd name="connsiteX9" fmla="*/ 272352 w 286465"/>
                <a:gd name="connsiteY9" fmla="*/ 279908 h 636206"/>
                <a:gd name="connsiteX10" fmla="*/ 259397 w 286465"/>
                <a:gd name="connsiteY10" fmla="*/ 317087 h 636206"/>
                <a:gd name="connsiteX11" fmla="*/ 242316 w 286465"/>
                <a:gd name="connsiteY11" fmla="*/ 352539 h 636206"/>
                <a:gd name="connsiteX12" fmla="*/ 223710 w 286465"/>
                <a:gd name="connsiteY12" fmla="*/ 387248 h 636206"/>
                <a:gd name="connsiteX13" fmla="*/ 210947 w 286465"/>
                <a:gd name="connsiteY13" fmla="*/ 424675 h 636206"/>
                <a:gd name="connsiteX14" fmla="*/ 192786 w 286465"/>
                <a:gd name="connsiteY14" fmla="*/ 459632 h 636206"/>
                <a:gd name="connsiteX15" fmla="*/ 173927 w 286465"/>
                <a:gd name="connsiteY15" fmla="*/ 494221 h 636206"/>
                <a:gd name="connsiteX16" fmla="*/ 156464 w 286465"/>
                <a:gd name="connsiteY16" fmla="*/ 529546 h 636206"/>
                <a:gd name="connsiteX17" fmla="*/ 140335 w 286465"/>
                <a:gd name="connsiteY17" fmla="*/ 565493 h 636206"/>
                <a:gd name="connsiteX18" fmla="*/ 119063 w 286465"/>
                <a:gd name="connsiteY18" fmla="*/ 598843 h 636206"/>
                <a:gd name="connsiteX19" fmla="*/ 102870 w 286465"/>
                <a:gd name="connsiteY19" fmla="*/ 635902 h 636206"/>
                <a:gd name="connsiteX20" fmla="*/ 96710 w 286465"/>
                <a:gd name="connsiteY20" fmla="*/ 596621 h 636206"/>
                <a:gd name="connsiteX21" fmla="*/ 100647 w 286465"/>
                <a:gd name="connsiteY21" fmla="*/ 557587 h 636206"/>
                <a:gd name="connsiteX22" fmla="*/ 99187 w 286465"/>
                <a:gd name="connsiteY22" fmla="*/ 518185 h 636206"/>
                <a:gd name="connsiteX23" fmla="*/ 104711 w 286465"/>
                <a:gd name="connsiteY23" fmla="*/ 479273 h 636206"/>
                <a:gd name="connsiteX24" fmla="*/ 108966 w 286465"/>
                <a:gd name="connsiteY24" fmla="*/ 440239 h 636206"/>
                <a:gd name="connsiteX25" fmla="*/ 117729 w 286465"/>
                <a:gd name="connsiteY25" fmla="*/ 401828 h 636206"/>
                <a:gd name="connsiteX26" fmla="*/ 117983 w 286465"/>
                <a:gd name="connsiteY26" fmla="*/ 362172 h 636206"/>
                <a:gd name="connsiteX27" fmla="*/ 131064 w 286465"/>
                <a:gd name="connsiteY27" fmla="*/ 324993 h 636206"/>
                <a:gd name="connsiteX28" fmla="*/ 120523 w 286465"/>
                <a:gd name="connsiteY28" fmla="*/ 287687 h 636206"/>
                <a:gd name="connsiteX29" fmla="*/ 99441 w 286465"/>
                <a:gd name="connsiteY29" fmla="*/ 255575 h 636206"/>
                <a:gd name="connsiteX30" fmla="*/ 72644 w 286465"/>
                <a:gd name="connsiteY30" fmla="*/ 228028 h 636206"/>
                <a:gd name="connsiteX31" fmla="*/ 45466 w 286465"/>
                <a:gd name="connsiteY31" fmla="*/ 200978 h 636206"/>
                <a:gd name="connsiteX32" fmla="*/ 23685 w 286465"/>
                <a:gd name="connsiteY32" fmla="*/ 168980 h 636206"/>
                <a:gd name="connsiteX33" fmla="*/ 0 w 286465"/>
                <a:gd name="connsiteY33" fmla="*/ 140329 h 636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286465" h="636206">
                  <a:moveTo>
                    <a:pt x="69406" y="0"/>
                  </a:moveTo>
                  <a:cubicBezTo>
                    <a:pt x="77788" y="8281"/>
                    <a:pt x="85598" y="20015"/>
                    <a:pt x="96203" y="30759"/>
                  </a:cubicBezTo>
                  <a:cubicBezTo>
                    <a:pt x="105220" y="39776"/>
                    <a:pt x="117983" y="46571"/>
                    <a:pt x="127953" y="56699"/>
                  </a:cubicBezTo>
                  <a:cubicBezTo>
                    <a:pt x="137223" y="66091"/>
                    <a:pt x="145986" y="76708"/>
                    <a:pt x="155639" y="86716"/>
                  </a:cubicBezTo>
                  <a:cubicBezTo>
                    <a:pt x="165291" y="96723"/>
                    <a:pt x="172276" y="108458"/>
                    <a:pt x="181546" y="118212"/>
                  </a:cubicBezTo>
                  <a:cubicBezTo>
                    <a:pt x="190818" y="127972"/>
                    <a:pt x="200216" y="138475"/>
                    <a:pt x="209106" y="148228"/>
                  </a:cubicBezTo>
                  <a:cubicBezTo>
                    <a:pt x="218757" y="158731"/>
                    <a:pt x="229362" y="167627"/>
                    <a:pt x="237744" y="177260"/>
                  </a:cubicBezTo>
                  <a:cubicBezTo>
                    <a:pt x="247777" y="188620"/>
                    <a:pt x="255905" y="199739"/>
                    <a:pt x="263207" y="209004"/>
                  </a:cubicBezTo>
                  <a:cubicBezTo>
                    <a:pt x="276289" y="225679"/>
                    <a:pt x="286957" y="237414"/>
                    <a:pt x="286448" y="242850"/>
                  </a:cubicBezTo>
                  <a:cubicBezTo>
                    <a:pt x="286068" y="247790"/>
                    <a:pt x="279908" y="261010"/>
                    <a:pt x="272352" y="279908"/>
                  </a:cubicBezTo>
                  <a:cubicBezTo>
                    <a:pt x="268160" y="290404"/>
                    <a:pt x="265303" y="303625"/>
                    <a:pt x="259397" y="317087"/>
                  </a:cubicBezTo>
                  <a:cubicBezTo>
                    <a:pt x="254571" y="328327"/>
                    <a:pt x="248031" y="339941"/>
                    <a:pt x="242316" y="352539"/>
                  </a:cubicBezTo>
                  <a:cubicBezTo>
                    <a:pt x="237172" y="364027"/>
                    <a:pt x="229362" y="374898"/>
                    <a:pt x="223710" y="387248"/>
                  </a:cubicBezTo>
                  <a:cubicBezTo>
                    <a:pt x="217995" y="399599"/>
                    <a:pt x="216662" y="412693"/>
                    <a:pt x="210947" y="424675"/>
                  </a:cubicBezTo>
                  <a:cubicBezTo>
                    <a:pt x="205295" y="436658"/>
                    <a:pt x="198374" y="447777"/>
                    <a:pt x="192786" y="459632"/>
                  </a:cubicBezTo>
                  <a:cubicBezTo>
                    <a:pt x="187261" y="471494"/>
                    <a:pt x="179451" y="482606"/>
                    <a:pt x="173927" y="494221"/>
                  </a:cubicBezTo>
                  <a:cubicBezTo>
                    <a:pt x="167957" y="506450"/>
                    <a:pt x="162052" y="518185"/>
                    <a:pt x="156464" y="529546"/>
                  </a:cubicBezTo>
                  <a:cubicBezTo>
                    <a:pt x="150305" y="542023"/>
                    <a:pt x="145732" y="554501"/>
                    <a:pt x="140335" y="565493"/>
                  </a:cubicBezTo>
                  <a:cubicBezTo>
                    <a:pt x="133668" y="578714"/>
                    <a:pt x="124523" y="588842"/>
                    <a:pt x="119063" y="598843"/>
                  </a:cubicBezTo>
                  <a:cubicBezTo>
                    <a:pt x="108839" y="617868"/>
                    <a:pt x="105728" y="633927"/>
                    <a:pt x="102870" y="635902"/>
                  </a:cubicBezTo>
                  <a:cubicBezTo>
                    <a:pt x="98806" y="638747"/>
                    <a:pt x="95948" y="621328"/>
                    <a:pt x="96710" y="596621"/>
                  </a:cubicBezTo>
                  <a:cubicBezTo>
                    <a:pt x="97092" y="585381"/>
                    <a:pt x="99695" y="572167"/>
                    <a:pt x="100647" y="557587"/>
                  </a:cubicBezTo>
                  <a:cubicBezTo>
                    <a:pt x="101536" y="545357"/>
                    <a:pt x="97917" y="531775"/>
                    <a:pt x="99187" y="518185"/>
                  </a:cubicBezTo>
                  <a:cubicBezTo>
                    <a:pt x="100267" y="505460"/>
                    <a:pt x="103378" y="492366"/>
                    <a:pt x="104711" y="479273"/>
                  </a:cubicBezTo>
                  <a:cubicBezTo>
                    <a:pt x="106108" y="466179"/>
                    <a:pt x="107442" y="452965"/>
                    <a:pt x="108966" y="440239"/>
                  </a:cubicBezTo>
                  <a:cubicBezTo>
                    <a:pt x="110554" y="426777"/>
                    <a:pt x="115951" y="414179"/>
                    <a:pt x="117729" y="401828"/>
                  </a:cubicBezTo>
                  <a:cubicBezTo>
                    <a:pt x="119697" y="387617"/>
                    <a:pt x="116078" y="373539"/>
                    <a:pt x="117983" y="362172"/>
                  </a:cubicBezTo>
                  <a:cubicBezTo>
                    <a:pt x="120904" y="344386"/>
                    <a:pt x="128715" y="332035"/>
                    <a:pt x="131064" y="324993"/>
                  </a:cubicBezTo>
                  <a:cubicBezTo>
                    <a:pt x="133985" y="315976"/>
                    <a:pt x="128842" y="302139"/>
                    <a:pt x="120523" y="287687"/>
                  </a:cubicBezTo>
                  <a:cubicBezTo>
                    <a:pt x="114998" y="277933"/>
                    <a:pt x="108077" y="266567"/>
                    <a:pt x="99441" y="255575"/>
                  </a:cubicBezTo>
                  <a:cubicBezTo>
                    <a:pt x="91884" y="245935"/>
                    <a:pt x="81280" y="237789"/>
                    <a:pt x="72644" y="228028"/>
                  </a:cubicBezTo>
                  <a:cubicBezTo>
                    <a:pt x="63945" y="218268"/>
                    <a:pt x="53848" y="210115"/>
                    <a:pt x="45466" y="200978"/>
                  </a:cubicBezTo>
                  <a:cubicBezTo>
                    <a:pt x="36068" y="190722"/>
                    <a:pt x="31242" y="177381"/>
                    <a:pt x="23685" y="168980"/>
                  </a:cubicBezTo>
                  <a:cubicBezTo>
                    <a:pt x="10858" y="154775"/>
                    <a:pt x="1080" y="145390"/>
                    <a:pt x="0" y="140329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C200E02D-86BE-B6A6-5228-38A5C7096EAA}"/>
                </a:ext>
              </a:extLst>
            </p:cNvPr>
            <p:cNvSpPr/>
            <p:nvPr/>
          </p:nvSpPr>
          <p:spPr>
            <a:xfrm>
              <a:off x="7261542" y="4192352"/>
              <a:ext cx="29588" cy="399351"/>
            </a:xfrm>
            <a:custGeom>
              <a:avLst/>
              <a:gdLst>
                <a:gd name="connsiteX0" fmla="*/ 0 w 29588"/>
                <a:gd name="connsiteY0" fmla="*/ 399352 h 399351"/>
                <a:gd name="connsiteX1" fmla="*/ 3492 w 29588"/>
                <a:gd name="connsiteY1" fmla="*/ 359454 h 399351"/>
                <a:gd name="connsiteX2" fmla="*/ 10033 w 29588"/>
                <a:gd name="connsiteY2" fmla="*/ 319805 h 399351"/>
                <a:gd name="connsiteX3" fmla="*/ 8572 w 29588"/>
                <a:gd name="connsiteY3" fmla="*/ 279533 h 399351"/>
                <a:gd name="connsiteX4" fmla="*/ 12382 w 29588"/>
                <a:gd name="connsiteY4" fmla="*/ 239636 h 399351"/>
                <a:gd name="connsiteX5" fmla="*/ 18034 w 29588"/>
                <a:gd name="connsiteY5" fmla="*/ 199987 h 399351"/>
                <a:gd name="connsiteX6" fmla="*/ 19050 w 29588"/>
                <a:gd name="connsiteY6" fmla="*/ 159963 h 399351"/>
                <a:gd name="connsiteX7" fmla="*/ 22860 w 29588"/>
                <a:gd name="connsiteY7" fmla="*/ 120066 h 399351"/>
                <a:gd name="connsiteX8" fmla="*/ 26860 w 29588"/>
                <a:gd name="connsiteY8" fmla="*/ 80169 h 399351"/>
                <a:gd name="connsiteX9" fmla="*/ 29210 w 29588"/>
                <a:gd name="connsiteY9" fmla="*/ 40144 h 399351"/>
                <a:gd name="connsiteX10" fmla="*/ 29210 w 29588"/>
                <a:gd name="connsiteY10" fmla="*/ 0 h 3993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9588" h="399351">
                  <a:moveTo>
                    <a:pt x="0" y="399352"/>
                  </a:moveTo>
                  <a:cubicBezTo>
                    <a:pt x="1397" y="379469"/>
                    <a:pt x="2159" y="379469"/>
                    <a:pt x="3492" y="359454"/>
                  </a:cubicBezTo>
                  <a:cubicBezTo>
                    <a:pt x="4826" y="339446"/>
                    <a:pt x="8699" y="339814"/>
                    <a:pt x="10033" y="319805"/>
                  </a:cubicBezTo>
                  <a:cubicBezTo>
                    <a:pt x="11366" y="299796"/>
                    <a:pt x="7176" y="299548"/>
                    <a:pt x="8572" y="279533"/>
                  </a:cubicBezTo>
                  <a:cubicBezTo>
                    <a:pt x="9906" y="259524"/>
                    <a:pt x="11049" y="259652"/>
                    <a:pt x="12382" y="239636"/>
                  </a:cubicBezTo>
                  <a:cubicBezTo>
                    <a:pt x="13715" y="219627"/>
                    <a:pt x="16701" y="219875"/>
                    <a:pt x="18034" y="199987"/>
                  </a:cubicBezTo>
                  <a:cubicBezTo>
                    <a:pt x="19431" y="180099"/>
                    <a:pt x="17716" y="179851"/>
                    <a:pt x="19050" y="159963"/>
                  </a:cubicBezTo>
                  <a:cubicBezTo>
                    <a:pt x="20383" y="140081"/>
                    <a:pt x="21526" y="140081"/>
                    <a:pt x="22860" y="120066"/>
                  </a:cubicBezTo>
                  <a:cubicBezTo>
                    <a:pt x="24257" y="100057"/>
                    <a:pt x="25464" y="100178"/>
                    <a:pt x="26860" y="80169"/>
                  </a:cubicBezTo>
                  <a:cubicBezTo>
                    <a:pt x="28194" y="60160"/>
                    <a:pt x="27813" y="60160"/>
                    <a:pt x="29210" y="40144"/>
                  </a:cubicBezTo>
                  <a:cubicBezTo>
                    <a:pt x="30543" y="20136"/>
                    <a:pt x="27813" y="20015"/>
                    <a:pt x="29210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3DEC8D0D-D791-913C-8EBE-4AF57757B9E2}"/>
                </a:ext>
              </a:extLst>
            </p:cNvPr>
            <p:cNvSpPr/>
            <p:nvPr/>
          </p:nvSpPr>
          <p:spPr>
            <a:xfrm>
              <a:off x="6649529" y="3403904"/>
              <a:ext cx="379221" cy="378720"/>
            </a:xfrm>
            <a:custGeom>
              <a:avLst/>
              <a:gdLst>
                <a:gd name="connsiteX0" fmla="*/ 379222 w 379221"/>
                <a:gd name="connsiteY0" fmla="*/ 378721 h 378720"/>
                <a:gd name="connsiteX1" fmla="*/ 350329 w 379221"/>
                <a:gd name="connsiteY1" fmla="*/ 349320 h 378720"/>
                <a:gd name="connsiteX2" fmla="*/ 318326 w 379221"/>
                <a:gd name="connsiteY2" fmla="*/ 323133 h 378720"/>
                <a:gd name="connsiteX3" fmla="*/ 289687 w 379221"/>
                <a:gd name="connsiteY3" fmla="*/ 293491 h 378720"/>
                <a:gd name="connsiteX4" fmla="*/ 260414 w 379221"/>
                <a:gd name="connsiteY4" fmla="*/ 264586 h 378720"/>
                <a:gd name="connsiteX5" fmla="*/ 232727 w 379221"/>
                <a:gd name="connsiteY5" fmla="*/ 233953 h 378720"/>
                <a:gd name="connsiteX6" fmla="*/ 204914 w 379221"/>
                <a:gd name="connsiteY6" fmla="*/ 203441 h 378720"/>
                <a:gd name="connsiteX7" fmla="*/ 172593 w 379221"/>
                <a:gd name="connsiteY7" fmla="*/ 177622 h 378720"/>
                <a:gd name="connsiteX8" fmla="*/ 146240 w 379221"/>
                <a:gd name="connsiteY8" fmla="*/ 145758 h 378720"/>
                <a:gd name="connsiteX9" fmla="*/ 118110 w 379221"/>
                <a:gd name="connsiteY9" fmla="*/ 115615 h 378720"/>
                <a:gd name="connsiteX10" fmla="*/ 88964 w 379221"/>
                <a:gd name="connsiteY10" fmla="*/ 86341 h 378720"/>
                <a:gd name="connsiteX11" fmla="*/ 57086 w 379221"/>
                <a:gd name="connsiteY11" fmla="*/ 59786 h 378720"/>
                <a:gd name="connsiteX12" fmla="*/ 28639 w 379221"/>
                <a:gd name="connsiteY12" fmla="*/ 29769 h 378720"/>
                <a:gd name="connsiteX13" fmla="*/ 0 w 379221"/>
                <a:gd name="connsiteY13" fmla="*/ 0 h 3787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221" h="378720">
                  <a:moveTo>
                    <a:pt x="379222" y="378721"/>
                  </a:moveTo>
                  <a:cubicBezTo>
                    <a:pt x="364617" y="364147"/>
                    <a:pt x="364871" y="363900"/>
                    <a:pt x="350329" y="349320"/>
                  </a:cubicBezTo>
                  <a:cubicBezTo>
                    <a:pt x="335724" y="334747"/>
                    <a:pt x="332867" y="337585"/>
                    <a:pt x="318326" y="323133"/>
                  </a:cubicBezTo>
                  <a:cubicBezTo>
                    <a:pt x="303720" y="308686"/>
                    <a:pt x="304228" y="308064"/>
                    <a:pt x="289687" y="293491"/>
                  </a:cubicBezTo>
                  <a:cubicBezTo>
                    <a:pt x="275082" y="278911"/>
                    <a:pt x="274955" y="279159"/>
                    <a:pt x="260414" y="264586"/>
                  </a:cubicBezTo>
                  <a:cubicBezTo>
                    <a:pt x="245808" y="250012"/>
                    <a:pt x="247269" y="248526"/>
                    <a:pt x="232727" y="233953"/>
                  </a:cubicBezTo>
                  <a:cubicBezTo>
                    <a:pt x="218122" y="219373"/>
                    <a:pt x="219519" y="218015"/>
                    <a:pt x="204914" y="203441"/>
                  </a:cubicBezTo>
                  <a:cubicBezTo>
                    <a:pt x="190373" y="188868"/>
                    <a:pt x="187134" y="192202"/>
                    <a:pt x="172593" y="177622"/>
                  </a:cubicBezTo>
                  <a:cubicBezTo>
                    <a:pt x="157988" y="163049"/>
                    <a:pt x="160845" y="160211"/>
                    <a:pt x="146240" y="145758"/>
                  </a:cubicBezTo>
                  <a:cubicBezTo>
                    <a:pt x="131699" y="131306"/>
                    <a:pt x="132652" y="130194"/>
                    <a:pt x="118110" y="115615"/>
                  </a:cubicBezTo>
                  <a:cubicBezTo>
                    <a:pt x="103505" y="101042"/>
                    <a:pt x="103505" y="100914"/>
                    <a:pt x="88964" y="86341"/>
                  </a:cubicBezTo>
                  <a:cubicBezTo>
                    <a:pt x="74358" y="71768"/>
                    <a:pt x="71755" y="74359"/>
                    <a:pt x="57086" y="59786"/>
                  </a:cubicBezTo>
                  <a:cubicBezTo>
                    <a:pt x="42354" y="45206"/>
                    <a:pt x="43243" y="44342"/>
                    <a:pt x="28639" y="29769"/>
                  </a:cubicBezTo>
                  <a:cubicBezTo>
                    <a:pt x="14097" y="15189"/>
                    <a:pt x="14605" y="14574"/>
                    <a:pt x="0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0F868E4-F45D-7F90-1125-A7927E5D4932}"/>
                </a:ext>
              </a:extLst>
            </p:cNvPr>
            <p:cNvSpPr/>
            <p:nvPr/>
          </p:nvSpPr>
          <p:spPr>
            <a:xfrm>
              <a:off x="6498716" y="3412794"/>
              <a:ext cx="806888" cy="2147303"/>
            </a:xfrm>
            <a:custGeom>
              <a:avLst/>
              <a:gdLst>
                <a:gd name="connsiteX0" fmla="*/ 755078 w 806888"/>
                <a:gd name="connsiteY0" fmla="*/ 1338135 h 2147303"/>
                <a:gd name="connsiteX1" fmla="*/ 744093 w 806888"/>
                <a:gd name="connsiteY1" fmla="*/ 1376058 h 2147303"/>
                <a:gd name="connsiteX2" fmla="*/ 740854 w 806888"/>
                <a:gd name="connsiteY2" fmla="*/ 1415212 h 2147303"/>
                <a:gd name="connsiteX3" fmla="*/ 732853 w 806888"/>
                <a:gd name="connsiteY3" fmla="*/ 1453630 h 2147303"/>
                <a:gd name="connsiteX4" fmla="*/ 727139 w 806888"/>
                <a:gd name="connsiteY4" fmla="*/ 1492415 h 2147303"/>
                <a:gd name="connsiteX5" fmla="*/ 719264 w 806888"/>
                <a:gd name="connsiteY5" fmla="*/ 1530833 h 2147303"/>
                <a:gd name="connsiteX6" fmla="*/ 713930 w 806888"/>
                <a:gd name="connsiteY6" fmla="*/ 1569739 h 2147303"/>
                <a:gd name="connsiteX7" fmla="*/ 706311 w 806888"/>
                <a:gd name="connsiteY7" fmla="*/ 1608157 h 2147303"/>
                <a:gd name="connsiteX8" fmla="*/ 702818 w 806888"/>
                <a:gd name="connsiteY8" fmla="*/ 1647311 h 2147303"/>
                <a:gd name="connsiteX9" fmla="*/ 692467 w 806888"/>
                <a:gd name="connsiteY9" fmla="*/ 1685360 h 2147303"/>
                <a:gd name="connsiteX10" fmla="*/ 684911 w 806888"/>
                <a:gd name="connsiteY10" fmla="*/ 1723898 h 2147303"/>
                <a:gd name="connsiteX11" fmla="*/ 680466 w 806888"/>
                <a:gd name="connsiteY11" fmla="*/ 1762932 h 2147303"/>
                <a:gd name="connsiteX12" fmla="*/ 674878 w 806888"/>
                <a:gd name="connsiteY12" fmla="*/ 1801838 h 2147303"/>
                <a:gd name="connsiteX13" fmla="*/ 664274 w 806888"/>
                <a:gd name="connsiteY13" fmla="*/ 1840630 h 2147303"/>
                <a:gd name="connsiteX14" fmla="*/ 686245 w 806888"/>
                <a:gd name="connsiteY14" fmla="*/ 1872494 h 2147303"/>
                <a:gd name="connsiteX15" fmla="*/ 704914 w 806888"/>
                <a:gd name="connsiteY15" fmla="*/ 1905229 h 2147303"/>
                <a:gd name="connsiteX16" fmla="*/ 722249 w 806888"/>
                <a:gd name="connsiteY16" fmla="*/ 1938827 h 2147303"/>
                <a:gd name="connsiteX17" fmla="*/ 740029 w 806888"/>
                <a:gd name="connsiteY17" fmla="*/ 1972183 h 2147303"/>
                <a:gd name="connsiteX18" fmla="*/ 757047 w 806888"/>
                <a:gd name="connsiteY18" fmla="*/ 2005902 h 2147303"/>
                <a:gd name="connsiteX19" fmla="*/ 778065 w 806888"/>
                <a:gd name="connsiteY19" fmla="*/ 2037525 h 2147303"/>
                <a:gd name="connsiteX20" fmla="*/ 798322 w 806888"/>
                <a:gd name="connsiteY20" fmla="*/ 2069884 h 2147303"/>
                <a:gd name="connsiteX21" fmla="*/ 802513 w 806888"/>
                <a:gd name="connsiteY21" fmla="*/ 2103978 h 2147303"/>
                <a:gd name="connsiteX22" fmla="*/ 804736 w 806888"/>
                <a:gd name="connsiteY22" fmla="*/ 2137334 h 2147303"/>
                <a:gd name="connsiteX23" fmla="*/ 762127 w 806888"/>
                <a:gd name="connsiteY23" fmla="*/ 2139061 h 2147303"/>
                <a:gd name="connsiteX24" fmla="*/ 717677 w 806888"/>
                <a:gd name="connsiteY24" fmla="*/ 2139061 h 2147303"/>
                <a:gd name="connsiteX25" fmla="*/ 684149 w 806888"/>
                <a:gd name="connsiteY25" fmla="*/ 2113490 h 2147303"/>
                <a:gd name="connsiteX26" fmla="*/ 665416 w 806888"/>
                <a:gd name="connsiteY26" fmla="*/ 2075942 h 2147303"/>
                <a:gd name="connsiteX27" fmla="*/ 648843 w 806888"/>
                <a:gd name="connsiteY27" fmla="*/ 2037645 h 2147303"/>
                <a:gd name="connsiteX28" fmla="*/ 630809 w 806888"/>
                <a:gd name="connsiteY28" fmla="*/ 1999723 h 2147303"/>
                <a:gd name="connsiteX29" fmla="*/ 621538 w 806888"/>
                <a:gd name="connsiteY29" fmla="*/ 1958594 h 2147303"/>
                <a:gd name="connsiteX30" fmla="*/ 608838 w 806888"/>
                <a:gd name="connsiteY30" fmla="*/ 1918818 h 2147303"/>
                <a:gd name="connsiteX31" fmla="*/ 594106 w 806888"/>
                <a:gd name="connsiteY31" fmla="*/ 1879416 h 2147303"/>
                <a:gd name="connsiteX32" fmla="*/ 591376 w 806888"/>
                <a:gd name="connsiteY32" fmla="*/ 1915109 h 2147303"/>
                <a:gd name="connsiteX33" fmla="*/ 591058 w 806888"/>
                <a:gd name="connsiteY33" fmla="*/ 1950809 h 2147303"/>
                <a:gd name="connsiteX34" fmla="*/ 593408 w 806888"/>
                <a:gd name="connsiteY34" fmla="*/ 1987867 h 2147303"/>
                <a:gd name="connsiteX35" fmla="*/ 557530 w 806888"/>
                <a:gd name="connsiteY35" fmla="*/ 1983791 h 2147303"/>
                <a:gd name="connsiteX36" fmla="*/ 522351 w 806888"/>
                <a:gd name="connsiteY36" fmla="*/ 1942656 h 2147303"/>
                <a:gd name="connsiteX37" fmla="*/ 498030 w 806888"/>
                <a:gd name="connsiteY37" fmla="*/ 1968595 h 2147303"/>
                <a:gd name="connsiteX38" fmla="*/ 455549 w 806888"/>
                <a:gd name="connsiteY38" fmla="*/ 1968595 h 2147303"/>
                <a:gd name="connsiteX39" fmla="*/ 411798 w 806888"/>
                <a:gd name="connsiteY39" fmla="*/ 1970329 h 2147303"/>
                <a:gd name="connsiteX40" fmla="*/ 368300 w 806888"/>
                <a:gd name="connsiteY40" fmla="*/ 1965636 h 2147303"/>
                <a:gd name="connsiteX41" fmla="*/ 325120 w 806888"/>
                <a:gd name="connsiteY41" fmla="*/ 1959705 h 2147303"/>
                <a:gd name="connsiteX42" fmla="*/ 284099 w 806888"/>
                <a:gd name="connsiteY42" fmla="*/ 1948955 h 2147303"/>
                <a:gd name="connsiteX43" fmla="*/ 319151 w 806888"/>
                <a:gd name="connsiteY43" fmla="*/ 1925860 h 2147303"/>
                <a:gd name="connsiteX44" fmla="*/ 357696 w 806888"/>
                <a:gd name="connsiteY44" fmla="*/ 1910048 h 2147303"/>
                <a:gd name="connsiteX45" fmla="*/ 397701 w 806888"/>
                <a:gd name="connsiteY45" fmla="*/ 1898066 h 2147303"/>
                <a:gd name="connsiteX46" fmla="*/ 435420 w 806888"/>
                <a:gd name="connsiteY46" fmla="*/ 1879905 h 2147303"/>
                <a:gd name="connsiteX47" fmla="*/ 475425 w 806888"/>
                <a:gd name="connsiteY47" fmla="*/ 1867554 h 2147303"/>
                <a:gd name="connsiteX48" fmla="*/ 510350 w 806888"/>
                <a:gd name="connsiteY48" fmla="*/ 1847793 h 2147303"/>
                <a:gd name="connsiteX49" fmla="*/ 510223 w 806888"/>
                <a:gd name="connsiteY49" fmla="*/ 1808512 h 2147303"/>
                <a:gd name="connsiteX50" fmla="*/ 513207 w 806888"/>
                <a:gd name="connsiteY50" fmla="*/ 1767624 h 2147303"/>
                <a:gd name="connsiteX51" fmla="*/ 511239 w 806888"/>
                <a:gd name="connsiteY51" fmla="*/ 1726864 h 2147303"/>
                <a:gd name="connsiteX52" fmla="*/ 506794 w 806888"/>
                <a:gd name="connsiteY52" fmla="*/ 1686223 h 2147303"/>
                <a:gd name="connsiteX53" fmla="*/ 506413 w 806888"/>
                <a:gd name="connsiteY53" fmla="*/ 1645336 h 2147303"/>
                <a:gd name="connsiteX54" fmla="*/ 501967 w 806888"/>
                <a:gd name="connsiteY54" fmla="*/ 1604696 h 2147303"/>
                <a:gd name="connsiteX55" fmla="*/ 501714 w 806888"/>
                <a:gd name="connsiteY55" fmla="*/ 1563808 h 2147303"/>
                <a:gd name="connsiteX56" fmla="*/ 498412 w 806888"/>
                <a:gd name="connsiteY56" fmla="*/ 1523175 h 2147303"/>
                <a:gd name="connsiteX57" fmla="*/ 496888 w 806888"/>
                <a:gd name="connsiteY57" fmla="*/ 1482408 h 2147303"/>
                <a:gd name="connsiteX58" fmla="*/ 490093 w 806888"/>
                <a:gd name="connsiteY58" fmla="*/ 1442015 h 2147303"/>
                <a:gd name="connsiteX59" fmla="*/ 490347 w 806888"/>
                <a:gd name="connsiteY59" fmla="*/ 1401007 h 2147303"/>
                <a:gd name="connsiteX60" fmla="*/ 485394 w 806888"/>
                <a:gd name="connsiteY60" fmla="*/ 1360494 h 2147303"/>
                <a:gd name="connsiteX61" fmla="*/ 476885 w 806888"/>
                <a:gd name="connsiteY61" fmla="*/ 1320470 h 2147303"/>
                <a:gd name="connsiteX62" fmla="*/ 476885 w 806888"/>
                <a:gd name="connsiteY62" fmla="*/ 1279335 h 2147303"/>
                <a:gd name="connsiteX63" fmla="*/ 471107 w 806888"/>
                <a:gd name="connsiteY63" fmla="*/ 1238942 h 2147303"/>
                <a:gd name="connsiteX64" fmla="*/ 462598 w 806888"/>
                <a:gd name="connsiteY64" fmla="*/ 1198925 h 2147303"/>
                <a:gd name="connsiteX65" fmla="*/ 459232 w 806888"/>
                <a:gd name="connsiteY65" fmla="*/ 1158158 h 2147303"/>
                <a:gd name="connsiteX66" fmla="*/ 450215 w 806888"/>
                <a:gd name="connsiteY66" fmla="*/ 1118260 h 2147303"/>
                <a:gd name="connsiteX67" fmla="*/ 443039 w 806888"/>
                <a:gd name="connsiteY67" fmla="*/ 1078116 h 2147303"/>
                <a:gd name="connsiteX68" fmla="*/ 438849 w 806888"/>
                <a:gd name="connsiteY68" fmla="*/ 1037476 h 2147303"/>
                <a:gd name="connsiteX69" fmla="*/ 431165 w 806888"/>
                <a:gd name="connsiteY69" fmla="*/ 997331 h 2147303"/>
                <a:gd name="connsiteX70" fmla="*/ 419481 w 806888"/>
                <a:gd name="connsiteY70" fmla="*/ 958050 h 2147303"/>
                <a:gd name="connsiteX71" fmla="*/ 416497 w 806888"/>
                <a:gd name="connsiteY71" fmla="*/ 917042 h 2147303"/>
                <a:gd name="connsiteX72" fmla="*/ 405892 w 806888"/>
                <a:gd name="connsiteY72" fmla="*/ 877640 h 2147303"/>
                <a:gd name="connsiteX73" fmla="*/ 393890 w 806888"/>
                <a:gd name="connsiteY73" fmla="*/ 838479 h 2147303"/>
                <a:gd name="connsiteX74" fmla="*/ 387731 w 806888"/>
                <a:gd name="connsiteY74" fmla="*/ 797966 h 2147303"/>
                <a:gd name="connsiteX75" fmla="*/ 378333 w 806888"/>
                <a:gd name="connsiteY75" fmla="*/ 758311 h 2147303"/>
                <a:gd name="connsiteX76" fmla="*/ 363855 w 806888"/>
                <a:gd name="connsiteY76" fmla="*/ 719900 h 2147303"/>
                <a:gd name="connsiteX77" fmla="*/ 353504 w 806888"/>
                <a:gd name="connsiteY77" fmla="*/ 680491 h 2147303"/>
                <a:gd name="connsiteX78" fmla="*/ 343599 w 806888"/>
                <a:gd name="connsiteY78" fmla="*/ 640963 h 2147303"/>
                <a:gd name="connsiteX79" fmla="*/ 334963 w 806888"/>
                <a:gd name="connsiteY79" fmla="*/ 601066 h 2147303"/>
                <a:gd name="connsiteX80" fmla="*/ 322263 w 806888"/>
                <a:gd name="connsiteY80" fmla="*/ 562280 h 2147303"/>
                <a:gd name="connsiteX81" fmla="*/ 307150 w 806888"/>
                <a:gd name="connsiteY81" fmla="*/ 524237 h 2147303"/>
                <a:gd name="connsiteX82" fmla="*/ 294958 w 806888"/>
                <a:gd name="connsiteY82" fmla="*/ 485324 h 2147303"/>
                <a:gd name="connsiteX83" fmla="*/ 284544 w 806888"/>
                <a:gd name="connsiteY83" fmla="*/ 445795 h 2147303"/>
                <a:gd name="connsiteX84" fmla="*/ 268669 w 806888"/>
                <a:gd name="connsiteY84" fmla="*/ 408248 h 2147303"/>
                <a:gd name="connsiteX85" fmla="*/ 257747 w 806888"/>
                <a:gd name="connsiteY85" fmla="*/ 368719 h 2147303"/>
                <a:gd name="connsiteX86" fmla="*/ 242570 w 806888"/>
                <a:gd name="connsiteY86" fmla="*/ 330924 h 2147303"/>
                <a:gd name="connsiteX87" fmla="*/ 226504 w 806888"/>
                <a:gd name="connsiteY87" fmla="*/ 293370 h 2147303"/>
                <a:gd name="connsiteX88" fmla="*/ 207137 w 806888"/>
                <a:gd name="connsiteY88" fmla="*/ 257302 h 2147303"/>
                <a:gd name="connsiteX89" fmla="*/ 192024 w 806888"/>
                <a:gd name="connsiteY89" fmla="*/ 219501 h 2147303"/>
                <a:gd name="connsiteX90" fmla="*/ 177355 w 806888"/>
                <a:gd name="connsiteY90" fmla="*/ 181458 h 2147303"/>
                <a:gd name="connsiteX91" fmla="*/ 159957 w 806888"/>
                <a:gd name="connsiteY91" fmla="*/ 144647 h 2147303"/>
                <a:gd name="connsiteX92" fmla="*/ 141161 w 806888"/>
                <a:gd name="connsiteY92" fmla="*/ 108579 h 2147303"/>
                <a:gd name="connsiteX93" fmla="*/ 124142 w 806888"/>
                <a:gd name="connsiteY93" fmla="*/ 71520 h 2147303"/>
                <a:gd name="connsiteX94" fmla="*/ 101664 w 806888"/>
                <a:gd name="connsiteY94" fmla="*/ 39033 h 2147303"/>
                <a:gd name="connsiteX95" fmla="*/ 64579 w 806888"/>
                <a:gd name="connsiteY95" fmla="*/ 30391 h 2147303"/>
                <a:gd name="connsiteX96" fmla="*/ 25781 w 806888"/>
                <a:gd name="connsiteY96" fmla="*/ 26188 h 2147303"/>
                <a:gd name="connsiteX97" fmla="*/ 0 w 806888"/>
                <a:gd name="connsiteY97" fmla="*/ 0 h 2147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806888" h="2147303">
                  <a:moveTo>
                    <a:pt x="755078" y="1338135"/>
                  </a:moveTo>
                  <a:cubicBezTo>
                    <a:pt x="751713" y="1357401"/>
                    <a:pt x="747395" y="1356665"/>
                    <a:pt x="744093" y="1376058"/>
                  </a:cubicBezTo>
                  <a:cubicBezTo>
                    <a:pt x="740727" y="1395451"/>
                    <a:pt x="744093" y="1395940"/>
                    <a:pt x="740854" y="1415212"/>
                  </a:cubicBezTo>
                  <a:cubicBezTo>
                    <a:pt x="737679" y="1434484"/>
                    <a:pt x="736155" y="1434237"/>
                    <a:pt x="732853" y="1453630"/>
                  </a:cubicBezTo>
                  <a:cubicBezTo>
                    <a:pt x="729488" y="1473022"/>
                    <a:pt x="730504" y="1473143"/>
                    <a:pt x="727139" y="1492415"/>
                  </a:cubicBezTo>
                  <a:cubicBezTo>
                    <a:pt x="723837" y="1511681"/>
                    <a:pt x="722566" y="1511561"/>
                    <a:pt x="719264" y="1530833"/>
                  </a:cubicBezTo>
                  <a:cubicBezTo>
                    <a:pt x="715899" y="1550098"/>
                    <a:pt x="717296" y="1550346"/>
                    <a:pt x="713930" y="1569739"/>
                  </a:cubicBezTo>
                  <a:cubicBezTo>
                    <a:pt x="710628" y="1589132"/>
                    <a:pt x="709613" y="1588884"/>
                    <a:pt x="706311" y="1608157"/>
                  </a:cubicBezTo>
                  <a:cubicBezTo>
                    <a:pt x="702945" y="1627429"/>
                    <a:pt x="706184" y="1628045"/>
                    <a:pt x="702818" y="1647311"/>
                  </a:cubicBezTo>
                  <a:cubicBezTo>
                    <a:pt x="699516" y="1666583"/>
                    <a:pt x="695770" y="1665967"/>
                    <a:pt x="692467" y="1685360"/>
                  </a:cubicBezTo>
                  <a:cubicBezTo>
                    <a:pt x="689102" y="1704753"/>
                    <a:pt x="688277" y="1704505"/>
                    <a:pt x="684911" y="1723898"/>
                  </a:cubicBezTo>
                  <a:cubicBezTo>
                    <a:pt x="681609" y="1743291"/>
                    <a:pt x="683832" y="1743539"/>
                    <a:pt x="680466" y="1762932"/>
                  </a:cubicBezTo>
                  <a:cubicBezTo>
                    <a:pt x="677101" y="1782325"/>
                    <a:pt x="678244" y="1782445"/>
                    <a:pt x="674878" y="1801838"/>
                  </a:cubicBezTo>
                  <a:cubicBezTo>
                    <a:pt x="671576" y="1821237"/>
                    <a:pt x="661099" y="1821358"/>
                    <a:pt x="664274" y="1840630"/>
                  </a:cubicBezTo>
                  <a:cubicBezTo>
                    <a:pt x="667512" y="1859896"/>
                    <a:pt x="676910" y="1856067"/>
                    <a:pt x="686245" y="1872494"/>
                  </a:cubicBezTo>
                  <a:cubicBezTo>
                    <a:pt x="695642" y="1888928"/>
                    <a:pt x="695642" y="1888801"/>
                    <a:pt x="704914" y="1905229"/>
                  </a:cubicBezTo>
                  <a:cubicBezTo>
                    <a:pt x="714185" y="1921656"/>
                    <a:pt x="712851" y="1922399"/>
                    <a:pt x="722249" y="1938827"/>
                  </a:cubicBezTo>
                  <a:cubicBezTo>
                    <a:pt x="731584" y="1955260"/>
                    <a:pt x="730631" y="1955749"/>
                    <a:pt x="740029" y="1972183"/>
                  </a:cubicBezTo>
                  <a:cubicBezTo>
                    <a:pt x="749364" y="1988610"/>
                    <a:pt x="747776" y="1989474"/>
                    <a:pt x="757047" y="2005902"/>
                  </a:cubicBezTo>
                  <a:cubicBezTo>
                    <a:pt x="766318" y="2022329"/>
                    <a:pt x="768667" y="2021097"/>
                    <a:pt x="778065" y="2037525"/>
                  </a:cubicBezTo>
                  <a:cubicBezTo>
                    <a:pt x="787464" y="2053952"/>
                    <a:pt x="792163" y="2051977"/>
                    <a:pt x="798322" y="2069884"/>
                  </a:cubicBezTo>
                  <a:cubicBezTo>
                    <a:pt x="803847" y="2085943"/>
                    <a:pt x="800164" y="2087054"/>
                    <a:pt x="802513" y="2103978"/>
                  </a:cubicBezTo>
                  <a:cubicBezTo>
                    <a:pt x="804863" y="2120900"/>
                    <a:pt x="809689" y="2121027"/>
                    <a:pt x="804736" y="2137334"/>
                  </a:cubicBezTo>
                  <a:cubicBezTo>
                    <a:pt x="798449" y="2158575"/>
                    <a:pt x="790512" y="2139309"/>
                    <a:pt x="762127" y="2139061"/>
                  </a:cubicBezTo>
                  <a:cubicBezTo>
                    <a:pt x="749617" y="2138934"/>
                    <a:pt x="734695" y="2141163"/>
                    <a:pt x="717677" y="2139061"/>
                  </a:cubicBezTo>
                  <a:cubicBezTo>
                    <a:pt x="707390" y="2137823"/>
                    <a:pt x="694817" y="2128317"/>
                    <a:pt x="684149" y="2113490"/>
                  </a:cubicBezTo>
                  <a:cubicBezTo>
                    <a:pt x="677037" y="2103488"/>
                    <a:pt x="672211" y="2089652"/>
                    <a:pt x="665416" y="2075942"/>
                  </a:cubicBezTo>
                  <a:cubicBezTo>
                    <a:pt x="659448" y="2064080"/>
                    <a:pt x="654431" y="2050987"/>
                    <a:pt x="648843" y="2037645"/>
                  </a:cubicBezTo>
                  <a:cubicBezTo>
                    <a:pt x="643255" y="2024304"/>
                    <a:pt x="635635" y="2012817"/>
                    <a:pt x="630809" y="1999723"/>
                  </a:cubicBezTo>
                  <a:cubicBezTo>
                    <a:pt x="625983" y="1986629"/>
                    <a:pt x="625729" y="1971313"/>
                    <a:pt x="621538" y="1958594"/>
                  </a:cubicBezTo>
                  <a:cubicBezTo>
                    <a:pt x="616712" y="1944014"/>
                    <a:pt x="612394" y="1930552"/>
                    <a:pt x="608838" y="1918818"/>
                  </a:cubicBezTo>
                  <a:cubicBezTo>
                    <a:pt x="601536" y="1894732"/>
                    <a:pt x="599313" y="1859280"/>
                    <a:pt x="594106" y="1879416"/>
                  </a:cubicBezTo>
                  <a:cubicBezTo>
                    <a:pt x="589661" y="1896707"/>
                    <a:pt x="591757" y="1897323"/>
                    <a:pt x="591376" y="1915109"/>
                  </a:cubicBezTo>
                  <a:cubicBezTo>
                    <a:pt x="591058" y="1932902"/>
                    <a:pt x="591376" y="1932902"/>
                    <a:pt x="591058" y="1950809"/>
                  </a:cubicBezTo>
                  <a:cubicBezTo>
                    <a:pt x="590677" y="1968722"/>
                    <a:pt x="606489" y="1975638"/>
                    <a:pt x="593408" y="1987867"/>
                  </a:cubicBezTo>
                  <a:cubicBezTo>
                    <a:pt x="580263" y="2000098"/>
                    <a:pt x="572262" y="1993176"/>
                    <a:pt x="557530" y="1983791"/>
                  </a:cubicBezTo>
                  <a:cubicBezTo>
                    <a:pt x="534607" y="1969217"/>
                    <a:pt x="548767" y="1949082"/>
                    <a:pt x="522351" y="1942656"/>
                  </a:cubicBezTo>
                  <a:cubicBezTo>
                    <a:pt x="504698" y="1938458"/>
                    <a:pt x="513207" y="1958467"/>
                    <a:pt x="498030" y="1968595"/>
                  </a:cubicBezTo>
                  <a:cubicBezTo>
                    <a:pt x="479997" y="1980705"/>
                    <a:pt x="481076" y="1969217"/>
                    <a:pt x="455549" y="1968595"/>
                  </a:cubicBezTo>
                  <a:cubicBezTo>
                    <a:pt x="442532" y="1968227"/>
                    <a:pt x="427355" y="1970945"/>
                    <a:pt x="411798" y="1970329"/>
                  </a:cubicBezTo>
                  <a:cubicBezTo>
                    <a:pt x="397320" y="1969707"/>
                    <a:pt x="382651" y="1966620"/>
                    <a:pt x="368300" y="1965636"/>
                  </a:cubicBezTo>
                  <a:cubicBezTo>
                    <a:pt x="352615" y="1964646"/>
                    <a:pt x="337947" y="1961312"/>
                    <a:pt x="325120" y="1959705"/>
                  </a:cubicBezTo>
                  <a:cubicBezTo>
                    <a:pt x="300164" y="1956740"/>
                    <a:pt x="282130" y="1954270"/>
                    <a:pt x="284099" y="1948955"/>
                  </a:cubicBezTo>
                  <a:cubicBezTo>
                    <a:pt x="286067" y="1943646"/>
                    <a:pt x="299529" y="1934750"/>
                    <a:pt x="319151" y="1925860"/>
                  </a:cubicBezTo>
                  <a:cubicBezTo>
                    <a:pt x="330137" y="1920920"/>
                    <a:pt x="343472" y="1915732"/>
                    <a:pt x="357696" y="1910048"/>
                  </a:cubicBezTo>
                  <a:cubicBezTo>
                    <a:pt x="369951" y="1905229"/>
                    <a:pt x="384239" y="1903254"/>
                    <a:pt x="397701" y="1898066"/>
                  </a:cubicBezTo>
                  <a:cubicBezTo>
                    <a:pt x="410464" y="1893126"/>
                    <a:pt x="422402" y="1884972"/>
                    <a:pt x="435420" y="1879905"/>
                  </a:cubicBezTo>
                  <a:cubicBezTo>
                    <a:pt x="448374" y="1874844"/>
                    <a:pt x="462788" y="1872742"/>
                    <a:pt x="475425" y="1867554"/>
                  </a:cubicBezTo>
                  <a:cubicBezTo>
                    <a:pt x="489014" y="1861998"/>
                    <a:pt x="498665" y="1853102"/>
                    <a:pt x="510350" y="1847793"/>
                  </a:cubicBezTo>
                  <a:cubicBezTo>
                    <a:pt x="510223" y="1834083"/>
                    <a:pt x="510350" y="1822101"/>
                    <a:pt x="510223" y="1808512"/>
                  </a:cubicBezTo>
                  <a:cubicBezTo>
                    <a:pt x="510159" y="1794923"/>
                    <a:pt x="513588" y="1781086"/>
                    <a:pt x="513207" y="1767624"/>
                  </a:cubicBezTo>
                  <a:cubicBezTo>
                    <a:pt x="512826" y="1754162"/>
                    <a:pt x="511747" y="1740326"/>
                    <a:pt x="511239" y="1726864"/>
                  </a:cubicBezTo>
                  <a:cubicBezTo>
                    <a:pt x="510730" y="1713395"/>
                    <a:pt x="507302" y="1699685"/>
                    <a:pt x="506794" y="1686223"/>
                  </a:cubicBezTo>
                  <a:cubicBezTo>
                    <a:pt x="506286" y="1672762"/>
                    <a:pt x="507048" y="1658925"/>
                    <a:pt x="506413" y="1645336"/>
                  </a:cubicBezTo>
                  <a:cubicBezTo>
                    <a:pt x="505777" y="1631747"/>
                    <a:pt x="502857" y="1618164"/>
                    <a:pt x="501967" y="1604696"/>
                  </a:cubicBezTo>
                  <a:cubicBezTo>
                    <a:pt x="501078" y="1591234"/>
                    <a:pt x="502602" y="1577277"/>
                    <a:pt x="501714" y="1563808"/>
                  </a:cubicBezTo>
                  <a:cubicBezTo>
                    <a:pt x="500888" y="1550346"/>
                    <a:pt x="499364" y="1536637"/>
                    <a:pt x="498412" y="1523175"/>
                  </a:cubicBezTo>
                  <a:cubicBezTo>
                    <a:pt x="497396" y="1509706"/>
                    <a:pt x="498030" y="1495876"/>
                    <a:pt x="496888" y="1482408"/>
                  </a:cubicBezTo>
                  <a:cubicBezTo>
                    <a:pt x="495808" y="1468946"/>
                    <a:pt x="491363" y="1455484"/>
                    <a:pt x="490093" y="1442015"/>
                  </a:cubicBezTo>
                  <a:cubicBezTo>
                    <a:pt x="488887" y="1428553"/>
                    <a:pt x="491744" y="1414469"/>
                    <a:pt x="490347" y="1401007"/>
                  </a:cubicBezTo>
                  <a:cubicBezTo>
                    <a:pt x="489014" y="1387545"/>
                    <a:pt x="486918" y="1373956"/>
                    <a:pt x="485394" y="1360494"/>
                  </a:cubicBezTo>
                  <a:cubicBezTo>
                    <a:pt x="483934" y="1347026"/>
                    <a:pt x="478536" y="1333811"/>
                    <a:pt x="476885" y="1320470"/>
                  </a:cubicBezTo>
                  <a:cubicBezTo>
                    <a:pt x="475298" y="1307128"/>
                    <a:pt x="478600" y="1292803"/>
                    <a:pt x="476885" y="1279335"/>
                  </a:cubicBezTo>
                  <a:cubicBezTo>
                    <a:pt x="475171" y="1265872"/>
                    <a:pt x="472948" y="1252284"/>
                    <a:pt x="471107" y="1238942"/>
                  </a:cubicBezTo>
                  <a:cubicBezTo>
                    <a:pt x="469265" y="1225601"/>
                    <a:pt x="464566" y="1212259"/>
                    <a:pt x="462598" y="1198925"/>
                  </a:cubicBezTo>
                  <a:cubicBezTo>
                    <a:pt x="460565" y="1185583"/>
                    <a:pt x="461327" y="1171499"/>
                    <a:pt x="459232" y="1158158"/>
                  </a:cubicBezTo>
                  <a:cubicBezTo>
                    <a:pt x="457137" y="1144816"/>
                    <a:pt x="452311" y="1131602"/>
                    <a:pt x="450215" y="1118260"/>
                  </a:cubicBezTo>
                  <a:cubicBezTo>
                    <a:pt x="448120" y="1104919"/>
                    <a:pt x="445262" y="1091330"/>
                    <a:pt x="443039" y="1078116"/>
                  </a:cubicBezTo>
                  <a:cubicBezTo>
                    <a:pt x="440817" y="1064901"/>
                    <a:pt x="441198" y="1050696"/>
                    <a:pt x="438849" y="1037476"/>
                  </a:cubicBezTo>
                  <a:cubicBezTo>
                    <a:pt x="436499" y="1024262"/>
                    <a:pt x="433641" y="1010672"/>
                    <a:pt x="431165" y="997331"/>
                  </a:cubicBezTo>
                  <a:cubicBezTo>
                    <a:pt x="428752" y="983990"/>
                    <a:pt x="422148" y="971271"/>
                    <a:pt x="419481" y="958050"/>
                  </a:cubicBezTo>
                  <a:cubicBezTo>
                    <a:pt x="416751" y="944836"/>
                    <a:pt x="419354" y="930136"/>
                    <a:pt x="416497" y="917042"/>
                  </a:cubicBezTo>
                  <a:cubicBezTo>
                    <a:pt x="413639" y="903948"/>
                    <a:pt x="408813" y="890734"/>
                    <a:pt x="405892" y="877640"/>
                  </a:cubicBezTo>
                  <a:cubicBezTo>
                    <a:pt x="402908" y="864546"/>
                    <a:pt x="397002" y="851573"/>
                    <a:pt x="393890" y="838479"/>
                  </a:cubicBezTo>
                  <a:cubicBezTo>
                    <a:pt x="390779" y="825386"/>
                    <a:pt x="390779" y="811060"/>
                    <a:pt x="387731" y="797966"/>
                  </a:cubicBezTo>
                  <a:cubicBezTo>
                    <a:pt x="384620" y="784873"/>
                    <a:pt x="381635" y="771284"/>
                    <a:pt x="378333" y="758311"/>
                  </a:cubicBezTo>
                  <a:cubicBezTo>
                    <a:pt x="374967" y="745344"/>
                    <a:pt x="367348" y="732866"/>
                    <a:pt x="363855" y="719900"/>
                  </a:cubicBezTo>
                  <a:cubicBezTo>
                    <a:pt x="360426" y="706927"/>
                    <a:pt x="357061" y="693465"/>
                    <a:pt x="353504" y="680491"/>
                  </a:cubicBezTo>
                  <a:cubicBezTo>
                    <a:pt x="349949" y="667525"/>
                    <a:pt x="347345" y="653815"/>
                    <a:pt x="343599" y="640963"/>
                  </a:cubicBezTo>
                  <a:cubicBezTo>
                    <a:pt x="339915" y="628117"/>
                    <a:pt x="338773" y="613912"/>
                    <a:pt x="334963" y="601066"/>
                  </a:cubicBezTo>
                  <a:cubicBezTo>
                    <a:pt x="331152" y="588220"/>
                    <a:pt x="326327" y="575005"/>
                    <a:pt x="322263" y="562280"/>
                  </a:cubicBezTo>
                  <a:cubicBezTo>
                    <a:pt x="318199" y="549561"/>
                    <a:pt x="311404" y="536956"/>
                    <a:pt x="307150" y="524237"/>
                  </a:cubicBezTo>
                  <a:cubicBezTo>
                    <a:pt x="302959" y="511511"/>
                    <a:pt x="299149" y="498049"/>
                    <a:pt x="294958" y="485324"/>
                  </a:cubicBezTo>
                  <a:cubicBezTo>
                    <a:pt x="290766" y="472605"/>
                    <a:pt x="288925" y="458400"/>
                    <a:pt x="284544" y="445795"/>
                  </a:cubicBezTo>
                  <a:cubicBezTo>
                    <a:pt x="280226" y="433197"/>
                    <a:pt x="273240" y="420725"/>
                    <a:pt x="268669" y="408248"/>
                  </a:cubicBezTo>
                  <a:cubicBezTo>
                    <a:pt x="264097" y="395770"/>
                    <a:pt x="262319" y="381197"/>
                    <a:pt x="257747" y="368719"/>
                  </a:cubicBezTo>
                  <a:cubicBezTo>
                    <a:pt x="252857" y="355626"/>
                    <a:pt x="247396" y="343148"/>
                    <a:pt x="242570" y="330924"/>
                  </a:cubicBezTo>
                  <a:cubicBezTo>
                    <a:pt x="237490" y="317830"/>
                    <a:pt x="231458" y="305600"/>
                    <a:pt x="226504" y="293370"/>
                  </a:cubicBezTo>
                  <a:cubicBezTo>
                    <a:pt x="221234" y="280276"/>
                    <a:pt x="212217" y="269405"/>
                    <a:pt x="207137" y="257302"/>
                  </a:cubicBezTo>
                  <a:cubicBezTo>
                    <a:pt x="201549" y="244329"/>
                    <a:pt x="197231" y="231362"/>
                    <a:pt x="192024" y="219501"/>
                  </a:cubicBezTo>
                  <a:cubicBezTo>
                    <a:pt x="186246" y="206407"/>
                    <a:pt x="182816" y="193072"/>
                    <a:pt x="177355" y="181458"/>
                  </a:cubicBezTo>
                  <a:cubicBezTo>
                    <a:pt x="171323" y="168243"/>
                    <a:pt x="165481" y="156013"/>
                    <a:pt x="159957" y="144647"/>
                  </a:cubicBezTo>
                  <a:cubicBezTo>
                    <a:pt x="153543" y="131305"/>
                    <a:pt x="146749" y="119450"/>
                    <a:pt x="141161" y="108579"/>
                  </a:cubicBezTo>
                  <a:cubicBezTo>
                    <a:pt x="133985" y="94494"/>
                    <a:pt x="129413" y="81528"/>
                    <a:pt x="124142" y="71520"/>
                  </a:cubicBezTo>
                  <a:cubicBezTo>
                    <a:pt x="111379" y="48051"/>
                    <a:pt x="119761" y="48177"/>
                    <a:pt x="101664" y="39033"/>
                  </a:cubicBezTo>
                  <a:cubicBezTo>
                    <a:pt x="83502" y="29896"/>
                    <a:pt x="85471" y="33598"/>
                    <a:pt x="64579" y="30391"/>
                  </a:cubicBezTo>
                  <a:cubicBezTo>
                    <a:pt x="52070" y="28410"/>
                    <a:pt x="37402" y="30391"/>
                    <a:pt x="25781" y="26188"/>
                  </a:cubicBezTo>
                  <a:cubicBezTo>
                    <a:pt x="10986" y="20752"/>
                    <a:pt x="1968" y="10751"/>
                    <a:pt x="0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C9566CDD-0C8A-E63D-A49A-3A7C6FA88326}"/>
                </a:ext>
              </a:extLst>
            </p:cNvPr>
            <p:cNvSpPr/>
            <p:nvPr/>
          </p:nvSpPr>
          <p:spPr>
            <a:xfrm>
              <a:off x="7075184" y="4482526"/>
              <a:ext cx="97256" cy="261210"/>
            </a:xfrm>
            <a:custGeom>
              <a:avLst/>
              <a:gdLst>
                <a:gd name="connsiteX0" fmla="*/ 89075 w 97256"/>
                <a:gd name="connsiteY0" fmla="*/ 253704 h 261210"/>
                <a:gd name="connsiteX1" fmla="*/ 47800 w 97256"/>
                <a:gd name="connsiteY1" fmla="*/ 256669 h 261210"/>
                <a:gd name="connsiteX2" fmla="*/ 5573 w 97256"/>
                <a:gd name="connsiteY2" fmla="*/ 254815 h 261210"/>
                <a:gd name="connsiteX3" fmla="*/ 6780 w 97256"/>
                <a:gd name="connsiteY3" fmla="*/ 220106 h 261210"/>
                <a:gd name="connsiteX4" fmla="*/ 7287 w 97256"/>
                <a:gd name="connsiteY4" fmla="*/ 185765 h 261210"/>
                <a:gd name="connsiteX5" fmla="*/ 8748 w 97256"/>
                <a:gd name="connsiteY5" fmla="*/ 151793 h 261210"/>
                <a:gd name="connsiteX6" fmla="*/ 16178 w 97256"/>
                <a:gd name="connsiteY6" fmla="*/ 116588 h 261210"/>
                <a:gd name="connsiteX7" fmla="*/ 23353 w 97256"/>
                <a:gd name="connsiteY7" fmla="*/ 80895 h 261210"/>
                <a:gd name="connsiteX8" fmla="*/ 30656 w 97256"/>
                <a:gd name="connsiteY8" fmla="*/ 45195 h 261210"/>
                <a:gd name="connsiteX9" fmla="*/ 40879 w 97256"/>
                <a:gd name="connsiteY9" fmla="*/ 8257 h 261210"/>
                <a:gd name="connsiteX10" fmla="*/ 87679 w 97256"/>
                <a:gd name="connsiteY10" fmla="*/ 12956 h 261210"/>
                <a:gd name="connsiteX11" fmla="*/ 92378 w 97256"/>
                <a:gd name="connsiteY11" fmla="*/ 51246 h 261210"/>
                <a:gd name="connsiteX12" fmla="*/ 87107 w 97256"/>
                <a:gd name="connsiteY12" fmla="*/ 91760 h 261210"/>
                <a:gd name="connsiteX13" fmla="*/ 89457 w 97256"/>
                <a:gd name="connsiteY13" fmla="*/ 132400 h 261210"/>
                <a:gd name="connsiteX14" fmla="*/ 86980 w 97256"/>
                <a:gd name="connsiteY14" fmla="*/ 173039 h 261210"/>
                <a:gd name="connsiteX15" fmla="*/ 90790 w 97256"/>
                <a:gd name="connsiteY15" fmla="*/ 213432 h 261210"/>
                <a:gd name="connsiteX16" fmla="*/ 89075 w 97256"/>
                <a:gd name="connsiteY16" fmla="*/ 253704 h 2612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7256" h="261210">
                  <a:moveTo>
                    <a:pt x="89075" y="253704"/>
                  </a:moveTo>
                  <a:cubicBezTo>
                    <a:pt x="74026" y="268277"/>
                    <a:pt x="68819" y="256669"/>
                    <a:pt x="47800" y="256669"/>
                  </a:cubicBezTo>
                  <a:cubicBezTo>
                    <a:pt x="26782" y="256669"/>
                    <a:pt x="21893" y="268029"/>
                    <a:pt x="5573" y="254815"/>
                  </a:cubicBezTo>
                  <a:cubicBezTo>
                    <a:pt x="-7635" y="243944"/>
                    <a:pt x="6780" y="237270"/>
                    <a:pt x="6780" y="220106"/>
                  </a:cubicBezTo>
                  <a:cubicBezTo>
                    <a:pt x="6780" y="202935"/>
                    <a:pt x="7287" y="202935"/>
                    <a:pt x="7287" y="185765"/>
                  </a:cubicBezTo>
                  <a:cubicBezTo>
                    <a:pt x="7287" y="168595"/>
                    <a:pt x="6525" y="168842"/>
                    <a:pt x="8748" y="151793"/>
                  </a:cubicBezTo>
                  <a:cubicBezTo>
                    <a:pt x="11097" y="133759"/>
                    <a:pt x="11606" y="134133"/>
                    <a:pt x="16178" y="116588"/>
                  </a:cubicBezTo>
                  <a:cubicBezTo>
                    <a:pt x="20749" y="99049"/>
                    <a:pt x="18781" y="98554"/>
                    <a:pt x="23353" y="80895"/>
                  </a:cubicBezTo>
                  <a:cubicBezTo>
                    <a:pt x="27925" y="63229"/>
                    <a:pt x="26084" y="62861"/>
                    <a:pt x="30656" y="45195"/>
                  </a:cubicBezTo>
                  <a:cubicBezTo>
                    <a:pt x="35228" y="27529"/>
                    <a:pt x="25448" y="17897"/>
                    <a:pt x="40879" y="8257"/>
                  </a:cubicBezTo>
                  <a:cubicBezTo>
                    <a:pt x="60882" y="-4214"/>
                    <a:pt x="69771" y="-2487"/>
                    <a:pt x="87679" y="12956"/>
                  </a:cubicBezTo>
                  <a:cubicBezTo>
                    <a:pt x="103046" y="26170"/>
                    <a:pt x="92378" y="30990"/>
                    <a:pt x="92378" y="51246"/>
                  </a:cubicBezTo>
                  <a:cubicBezTo>
                    <a:pt x="92378" y="71503"/>
                    <a:pt x="87107" y="71503"/>
                    <a:pt x="87107" y="91760"/>
                  </a:cubicBezTo>
                  <a:cubicBezTo>
                    <a:pt x="87107" y="112023"/>
                    <a:pt x="89457" y="112023"/>
                    <a:pt x="89457" y="132400"/>
                  </a:cubicBezTo>
                  <a:cubicBezTo>
                    <a:pt x="89457" y="152783"/>
                    <a:pt x="86980" y="152656"/>
                    <a:pt x="86980" y="173039"/>
                  </a:cubicBezTo>
                  <a:cubicBezTo>
                    <a:pt x="86980" y="193423"/>
                    <a:pt x="86599" y="193544"/>
                    <a:pt x="90790" y="213432"/>
                  </a:cubicBezTo>
                  <a:cubicBezTo>
                    <a:pt x="95235" y="234431"/>
                    <a:pt x="103617" y="239499"/>
                    <a:pt x="89075" y="253704"/>
                  </a:cubicBezTo>
                  <a:close/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6595028-1482-98A6-71BC-EE7D1B044FCE}"/>
                </a:ext>
              </a:extLst>
            </p:cNvPr>
            <p:cNvSpPr/>
            <p:nvPr/>
          </p:nvSpPr>
          <p:spPr>
            <a:xfrm>
              <a:off x="7166356" y="4590329"/>
              <a:ext cx="427455" cy="83526"/>
            </a:xfrm>
            <a:custGeom>
              <a:avLst/>
              <a:gdLst>
                <a:gd name="connsiteX0" fmla="*/ 265811 w 427455"/>
                <a:gd name="connsiteY0" fmla="*/ 8169 h 83526"/>
                <a:gd name="connsiteX1" fmla="*/ 304609 w 427455"/>
                <a:gd name="connsiteY1" fmla="*/ 6315 h 83526"/>
                <a:gd name="connsiteX2" fmla="*/ 343408 w 427455"/>
                <a:gd name="connsiteY2" fmla="*/ 6067 h 83526"/>
                <a:gd name="connsiteX3" fmla="*/ 382143 w 427455"/>
                <a:gd name="connsiteY3" fmla="*/ 5819 h 83526"/>
                <a:gd name="connsiteX4" fmla="*/ 420688 w 427455"/>
                <a:gd name="connsiteY4" fmla="*/ 5819 h 83526"/>
                <a:gd name="connsiteX5" fmla="*/ 421322 w 427455"/>
                <a:gd name="connsiteY5" fmla="*/ 41024 h 83526"/>
                <a:gd name="connsiteX6" fmla="*/ 421449 w 427455"/>
                <a:gd name="connsiteY6" fmla="*/ 77219 h 83526"/>
                <a:gd name="connsiteX7" fmla="*/ 378840 w 427455"/>
                <a:gd name="connsiteY7" fmla="*/ 78209 h 83526"/>
                <a:gd name="connsiteX8" fmla="*/ 336867 w 427455"/>
                <a:gd name="connsiteY8" fmla="*/ 74380 h 83526"/>
                <a:gd name="connsiteX9" fmla="*/ 294703 w 427455"/>
                <a:gd name="connsiteY9" fmla="*/ 79441 h 83526"/>
                <a:gd name="connsiteX10" fmla="*/ 252602 w 427455"/>
                <a:gd name="connsiteY10" fmla="*/ 74006 h 83526"/>
                <a:gd name="connsiteX11" fmla="*/ 210629 w 427455"/>
                <a:gd name="connsiteY11" fmla="*/ 79073 h 83526"/>
                <a:gd name="connsiteX12" fmla="*/ 168465 w 427455"/>
                <a:gd name="connsiteY12" fmla="*/ 79568 h 83526"/>
                <a:gd name="connsiteX13" fmla="*/ 126364 w 427455"/>
                <a:gd name="connsiteY13" fmla="*/ 77714 h 83526"/>
                <a:gd name="connsiteX14" fmla="*/ 84264 w 427455"/>
                <a:gd name="connsiteY14" fmla="*/ 73758 h 83526"/>
                <a:gd name="connsiteX15" fmla="*/ 42100 w 427455"/>
                <a:gd name="connsiteY15" fmla="*/ 75860 h 83526"/>
                <a:gd name="connsiteX16" fmla="*/ 0 w 427455"/>
                <a:gd name="connsiteY16" fmla="*/ 75492 h 835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27455" h="83526">
                  <a:moveTo>
                    <a:pt x="265811" y="8169"/>
                  </a:moveTo>
                  <a:cubicBezTo>
                    <a:pt x="285178" y="8169"/>
                    <a:pt x="285178" y="6315"/>
                    <a:pt x="304609" y="6315"/>
                  </a:cubicBezTo>
                  <a:cubicBezTo>
                    <a:pt x="323976" y="6315"/>
                    <a:pt x="323976" y="6067"/>
                    <a:pt x="343408" y="6067"/>
                  </a:cubicBezTo>
                  <a:cubicBezTo>
                    <a:pt x="362775" y="6067"/>
                    <a:pt x="362775" y="5819"/>
                    <a:pt x="382143" y="5819"/>
                  </a:cubicBezTo>
                  <a:cubicBezTo>
                    <a:pt x="401574" y="5819"/>
                    <a:pt x="406400" y="-7274"/>
                    <a:pt x="420688" y="5819"/>
                  </a:cubicBezTo>
                  <a:cubicBezTo>
                    <a:pt x="433832" y="17802"/>
                    <a:pt x="421322" y="23238"/>
                    <a:pt x="421322" y="41024"/>
                  </a:cubicBezTo>
                  <a:cubicBezTo>
                    <a:pt x="421322" y="58816"/>
                    <a:pt x="435038" y="65732"/>
                    <a:pt x="421449" y="77219"/>
                  </a:cubicBezTo>
                  <a:cubicBezTo>
                    <a:pt x="405384" y="90808"/>
                    <a:pt x="399859" y="78209"/>
                    <a:pt x="378840" y="78209"/>
                  </a:cubicBezTo>
                  <a:cubicBezTo>
                    <a:pt x="357822" y="78209"/>
                    <a:pt x="357822" y="74380"/>
                    <a:pt x="336867" y="74380"/>
                  </a:cubicBezTo>
                  <a:cubicBezTo>
                    <a:pt x="315849" y="74380"/>
                    <a:pt x="315849" y="79441"/>
                    <a:pt x="294703" y="79441"/>
                  </a:cubicBezTo>
                  <a:cubicBezTo>
                    <a:pt x="273621" y="79441"/>
                    <a:pt x="273748" y="74006"/>
                    <a:pt x="252602" y="74006"/>
                  </a:cubicBezTo>
                  <a:cubicBezTo>
                    <a:pt x="231457" y="74006"/>
                    <a:pt x="231584" y="79073"/>
                    <a:pt x="210629" y="79073"/>
                  </a:cubicBezTo>
                  <a:cubicBezTo>
                    <a:pt x="189611" y="79073"/>
                    <a:pt x="189611" y="79568"/>
                    <a:pt x="168465" y="79568"/>
                  </a:cubicBezTo>
                  <a:cubicBezTo>
                    <a:pt x="147383" y="79568"/>
                    <a:pt x="147447" y="77714"/>
                    <a:pt x="126364" y="77714"/>
                  </a:cubicBezTo>
                  <a:cubicBezTo>
                    <a:pt x="105219" y="77714"/>
                    <a:pt x="105346" y="73758"/>
                    <a:pt x="84264" y="73758"/>
                  </a:cubicBezTo>
                  <a:cubicBezTo>
                    <a:pt x="63119" y="73758"/>
                    <a:pt x="63119" y="75860"/>
                    <a:pt x="42100" y="75860"/>
                  </a:cubicBezTo>
                  <a:cubicBezTo>
                    <a:pt x="21082" y="75860"/>
                    <a:pt x="21018" y="75492"/>
                    <a:pt x="0" y="75492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144BA0DA-41D0-D181-0B19-806802672CF9}"/>
                </a:ext>
              </a:extLst>
            </p:cNvPr>
            <p:cNvSpPr/>
            <p:nvPr/>
          </p:nvSpPr>
          <p:spPr>
            <a:xfrm>
              <a:off x="7166482" y="4593063"/>
              <a:ext cx="184277" cy="4076"/>
            </a:xfrm>
            <a:custGeom>
              <a:avLst/>
              <a:gdLst>
                <a:gd name="connsiteX0" fmla="*/ 0 w 184277"/>
                <a:gd name="connsiteY0" fmla="*/ 3461 h 4076"/>
                <a:gd name="connsiteX1" fmla="*/ 36767 w 184277"/>
                <a:gd name="connsiteY1" fmla="*/ 1854 h 4076"/>
                <a:gd name="connsiteX2" fmla="*/ 73597 w 184277"/>
                <a:gd name="connsiteY2" fmla="*/ 1734 h 4076"/>
                <a:gd name="connsiteX3" fmla="*/ 110427 w 184277"/>
                <a:gd name="connsiteY3" fmla="*/ 2845 h 4076"/>
                <a:gd name="connsiteX4" fmla="*/ 147384 w 184277"/>
                <a:gd name="connsiteY4" fmla="*/ 0 h 4076"/>
                <a:gd name="connsiteX5" fmla="*/ 184277 w 184277"/>
                <a:gd name="connsiteY5" fmla="*/ 4076 h 4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4277" h="4076">
                  <a:moveTo>
                    <a:pt x="0" y="3461"/>
                  </a:moveTo>
                  <a:cubicBezTo>
                    <a:pt x="18415" y="3461"/>
                    <a:pt x="18415" y="1854"/>
                    <a:pt x="36767" y="1854"/>
                  </a:cubicBezTo>
                  <a:cubicBezTo>
                    <a:pt x="55182" y="1854"/>
                    <a:pt x="55182" y="1734"/>
                    <a:pt x="73597" y="1734"/>
                  </a:cubicBezTo>
                  <a:cubicBezTo>
                    <a:pt x="92011" y="1734"/>
                    <a:pt x="92011" y="2845"/>
                    <a:pt x="110427" y="2845"/>
                  </a:cubicBezTo>
                  <a:cubicBezTo>
                    <a:pt x="128842" y="2845"/>
                    <a:pt x="128842" y="0"/>
                    <a:pt x="147384" y="0"/>
                  </a:cubicBezTo>
                  <a:cubicBezTo>
                    <a:pt x="165862" y="0"/>
                    <a:pt x="165736" y="4076"/>
                    <a:pt x="184277" y="4076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FDF2B969-FB58-B305-3901-FF0D370C092A}"/>
                </a:ext>
              </a:extLst>
            </p:cNvPr>
            <p:cNvSpPr/>
            <p:nvPr/>
          </p:nvSpPr>
          <p:spPr>
            <a:xfrm>
              <a:off x="7026899" y="3294331"/>
              <a:ext cx="487382" cy="485207"/>
            </a:xfrm>
            <a:custGeom>
              <a:avLst/>
              <a:gdLst>
                <a:gd name="connsiteX0" fmla="*/ 225182 w 487382"/>
                <a:gd name="connsiteY0" fmla="*/ 301527 h 485207"/>
                <a:gd name="connsiteX1" fmla="*/ 189939 w 487382"/>
                <a:gd name="connsiteY1" fmla="*/ 278553 h 485207"/>
                <a:gd name="connsiteX2" fmla="*/ 153681 w 487382"/>
                <a:gd name="connsiteY2" fmla="*/ 257426 h 485207"/>
                <a:gd name="connsiteX3" fmla="*/ 117676 w 487382"/>
                <a:gd name="connsiteY3" fmla="*/ 236306 h 485207"/>
                <a:gd name="connsiteX4" fmla="*/ 91260 w 487382"/>
                <a:gd name="connsiteY4" fmla="*/ 205547 h 485207"/>
                <a:gd name="connsiteX5" fmla="*/ 69796 w 487382"/>
                <a:gd name="connsiteY5" fmla="*/ 170838 h 485207"/>
                <a:gd name="connsiteX6" fmla="*/ 47064 w 487382"/>
                <a:gd name="connsiteY6" fmla="*/ 136993 h 485207"/>
                <a:gd name="connsiteX7" fmla="*/ 23442 w 487382"/>
                <a:gd name="connsiteY7" fmla="*/ 103395 h 485207"/>
                <a:gd name="connsiteX8" fmla="*/ 6805 w 487382"/>
                <a:gd name="connsiteY8" fmla="*/ 65841 h 485207"/>
                <a:gd name="connsiteX9" fmla="*/ 137 w 487382"/>
                <a:gd name="connsiteY9" fmla="*/ 25328 h 485207"/>
                <a:gd name="connsiteX10" fmla="*/ 28141 w 487382"/>
                <a:gd name="connsiteY10" fmla="*/ 4 h 485207"/>
                <a:gd name="connsiteX11" fmla="*/ 66812 w 487382"/>
                <a:gd name="connsiteY11" fmla="*/ 13714 h 485207"/>
                <a:gd name="connsiteX12" fmla="*/ 100531 w 487382"/>
                <a:gd name="connsiteY12" fmla="*/ 30268 h 485207"/>
                <a:gd name="connsiteX13" fmla="*/ 129423 w 487382"/>
                <a:gd name="connsiteY13" fmla="*/ 54849 h 485207"/>
                <a:gd name="connsiteX14" fmla="*/ 153870 w 487382"/>
                <a:gd name="connsiteY14" fmla="*/ 84618 h 485207"/>
                <a:gd name="connsiteX15" fmla="*/ 171841 w 487382"/>
                <a:gd name="connsiteY15" fmla="*/ 118831 h 485207"/>
                <a:gd name="connsiteX16" fmla="*/ 183271 w 487382"/>
                <a:gd name="connsiteY16" fmla="*/ 155642 h 485207"/>
                <a:gd name="connsiteX17" fmla="*/ 197749 w 487382"/>
                <a:gd name="connsiteY17" fmla="*/ 191469 h 485207"/>
                <a:gd name="connsiteX18" fmla="*/ 205750 w 487382"/>
                <a:gd name="connsiteY18" fmla="*/ 229144 h 485207"/>
                <a:gd name="connsiteX19" fmla="*/ 215910 w 487382"/>
                <a:gd name="connsiteY19" fmla="*/ 266196 h 485207"/>
                <a:gd name="connsiteX20" fmla="*/ 221816 w 487382"/>
                <a:gd name="connsiteY20" fmla="*/ 304741 h 485207"/>
                <a:gd name="connsiteX21" fmla="*/ 251724 w 487382"/>
                <a:gd name="connsiteY21" fmla="*/ 328331 h 485207"/>
                <a:gd name="connsiteX22" fmla="*/ 280363 w 487382"/>
                <a:gd name="connsiteY22" fmla="*/ 352664 h 485207"/>
                <a:gd name="connsiteX23" fmla="*/ 307794 w 487382"/>
                <a:gd name="connsiteY23" fmla="*/ 378356 h 485207"/>
                <a:gd name="connsiteX24" fmla="*/ 336369 w 487382"/>
                <a:gd name="connsiteY24" fmla="*/ 403064 h 485207"/>
                <a:gd name="connsiteX25" fmla="*/ 362531 w 487382"/>
                <a:gd name="connsiteY25" fmla="*/ 430236 h 485207"/>
                <a:gd name="connsiteX26" fmla="*/ 392059 w 487382"/>
                <a:gd name="connsiteY26" fmla="*/ 453832 h 485207"/>
                <a:gd name="connsiteX27" fmla="*/ 417015 w 487382"/>
                <a:gd name="connsiteY27" fmla="*/ 485207 h 485207"/>
                <a:gd name="connsiteX28" fmla="*/ 442478 w 487382"/>
                <a:gd name="connsiteY28" fmla="*/ 453832 h 485207"/>
                <a:gd name="connsiteX29" fmla="*/ 466671 w 487382"/>
                <a:gd name="connsiteY29" fmla="*/ 424063 h 485207"/>
                <a:gd name="connsiteX30" fmla="*/ 481340 w 487382"/>
                <a:gd name="connsiteY30" fmla="*/ 388364 h 485207"/>
                <a:gd name="connsiteX31" fmla="*/ 486166 w 487382"/>
                <a:gd name="connsiteY31" fmla="*/ 350321 h 485207"/>
                <a:gd name="connsiteX32" fmla="*/ 486166 w 487382"/>
                <a:gd name="connsiteY32" fmla="*/ 312024 h 485207"/>
                <a:gd name="connsiteX33" fmla="*/ 473212 w 487382"/>
                <a:gd name="connsiteY33" fmla="*/ 276083 h 485207"/>
                <a:gd name="connsiteX34" fmla="*/ 454670 w 487382"/>
                <a:gd name="connsiteY34" fmla="*/ 242974 h 485207"/>
                <a:gd name="connsiteX35" fmla="*/ 431302 w 487382"/>
                <a:gd name="connsiteY35" fmla="*/ 212957 h 485207"/>
                <a:gd name="connsiteX36" fmla="*/ 401457 w 487382"/>
                <a:gd name="connsiteY36" fmla="*/ 189488 h 485207"/>
                <a:gd name="connsiteX37" fmla="*/ 370088 w 487382"/>
                <a:gd name="connsiteY37" fmla="*/ 166145 h 485207"/>
                <a:gd name="connsiteX38" fmla="*/ 333512 w 487382"/>
                <a:gd name="connsiteY38" fmla="*/ 150950 h 485207"/>
                <a:gd name="connsiteX39" fmla="*/ 294079 w 487382"/>
                <a:gd name="connsiteY39" fmla="*/ 147368 h 485207"/>
                <a:gd name="connsiteX40" fmla="*/ 254581 w 487382"/>
                <a:gd name="connsiteY40" fmla="*/ 149343 h 485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487382" h="485207">
                  <a:moveTo>
                    <a:pt x="225182" y="301527"/>
                  </a:moveTo>
                  <a:cubicBezTo>
                    <a:pt x="208481" y="288929"/>
                    <a:pt x="209369" y="292015"/>
                    <a:pt x="189939" y="278553"/>
                  </a:cubicBezTo>
                  <a:cubicBezTo>
                    <a:pt x="179207" y="271136"/>
                    <a:pt x="165745" y="264716"/>
                    <a:pt x="153681" y="257426"/>
                  </a:cubicBezTo>
                  <a:cubicBezTo>
                    <a:pt x="140281" y="249400"/>
                    <a:pt x="128344" y="240504"/>
                    <a:pt x="117676" y="236306"/>
                  </a:cubicBezTo>
                  <a:cubicBezTo>
                    <a:pt x="109420" y="225931"/>
                    <a:pt x="99578" y="216666"/>
                    <a:pt x="91260" y="205547"/>
                  </a:cubicBezTo>
                  <a:cubicBezTo>
                    <a:pt x="83005" y="194428"/>
                    <a:pt x="77417" y="181957"/>
                    <a:pt x="69796" y="170838"/>
                  </a:cubicBezTo>
                  <a:cubicBezTo>
                    <a:pt x="62113" y="159719"/>
                    <a:pt x="54112" y="148359"/>
                    <a:pt x="47064" y="136993"/>
                  </a:cubicBezTo>
                  <a:cubicBezTo>
                    <a:pt x="39634" y="124890"/>
                    <a:pt x="29538" y="114761"/>
                    <a:pt x="23442" y="103395"/>
                  </a:cubicBezTo>
                  <a:cubicBezTo>
                    <a:pt x="16520" y="90301"/>
                    <a:pt x="11123" y="77207"/>
                    <a:pt x="6805" y="65841"/>
                  </a:cubicBezTo>
                  <a:cubicBezTo>
                    <a:pt x="963" y="50277"/>
                    <a:pt x="-498" y="35824"/>
                    <a:pt x="137" y="25328"/>
                  </a:cubicBezTo>
                  <a:cubicBezTo>
                    <a:pt x="1090" y="10628"/>
                    <a:pt x="9853" y="-244"/>
                    <a:pt x="28141" y="4"/>
                  </a:cubicBezTo>
                  <a:cubicBezTo>
                    <a:pt x="38174" y="4"/>
                    <a:pt x="50239" y="7789"/>
                    <a:pt x="66812" y="13714"/>
                  </a:cubicBezTo>
                  <a:cubicBezTo>
                    <a:pt x="79321" y="18165"/>
                    <a:pt x="90307" y="22978"/>
                    <a:pt x="100531" y="30268"/>
                  </a:cubicBezTo>
                  <a:cubicBezTo>
                    <a:pt x="110818" y="37558"/>
                    <a:pt x="121041" y="45089"/>
                    <a:pt x="129423" y="54849"/>
                  </a:cubicBezTo>
                  <a:cubicBezTo>
                    <a:pt x="137869" y="64609"/>
                    <a:pt x="147076" y="73378"/>
                    <a:pt x="153870" y="84618"/>
                  </a:cubicBezTo>
                  <a:cubicBezTo>
                    <a:pt x="160220" y="95368"/>
                    <a:pt x="166634" y="106728"/>
                    <a:pt x="171841" y="118831"/>
                  </a:cubicBezTo>
                  <a:cubicBezTo>
                    <a:pt x="176857" y="130198"/>
                    <a:pt x="179081" y="143292"/>
                    <a:pt x="183271" y="155642"/>
                  </a:cubicBezTo>
                  <a:cubicBezTo>
                    <a:pt x="187526" y="168000"/>
                    <a:pt x="194194" y="178865"/>
                    <a:pt x="197749" y="191469"/>
                  </a:cubicBezTo>
                  <a:cubicBezTo>
                    <a:pt x="201306" y="204068"/>
                    <a:pt x="202575" y="216539"/>
                    <a:pt x="205750" y="229144"/>
                  </a:cubicBezTo>
                  <a:cubicBezTo>
                    <a:pt x="208989" y="241742"/>
                    <a:pt x="212799" y="253725"/>
                    <a:pt x="215910" y="266196"/>
                  </a:cubicBezTo>
                  <a:cubicBezTo>
                    <a:pt x="219021" y="278674"/>
                    <a:pt x="218768" y="292383"/>
                    <a:pt x="221816" y="304741"/>
                  </a:cubicBezTo>
                  <a:cubicBezTo>
                    <a:pt x="230261" y="312024"/>
                    <a:pt x="241501" y="319314"/>
                    <a:pt x="251724" y="328331"/>
                  </a:cubicBezTo>
                  <a:cubicBezTo>
                    <a:pt x="260614" y="336110"/>
                    <a:pt x="270647" y="343894"/>
                    <a:pt x="280363" y="352664"/>
                  </a:cubicBezTo>
                  <a:cubicBezTo>
                    <a:pt x="289506" y="360817"/>
                    <a:pt x="298396" y="369714"/>
                    <a:pt x="307794" y="378356"/>
                  </a:cubicBezTo>
                  <a:cubicBezTo>
                    <a:pt x="317193" y="387005"/>
                    <a:pt x="327099" y="394542"/>
                    <a:pt x="336369" y="403064"/>
                  </a:cubicBezTo>
                  <a:cubicBezTo>
                    <a:pt x="345577" y="411586"/>
                    <a:pt x="353642" y="421714"/>
                    <a:pt x="362531" y="430236"/>
                  </a:cubicBezTo>
                  <a:cubicBezTo>
                    <a:pt x="372056" y="439132"/>
                    <a:pt x="383423" y="445431"/>
                    <a:pt x="392059" y="453832"/>
                  </a:cubicBezTo>
                  <a:cubicBezTo>
                    <a:pt x="401711" y="463217"/>
                    <a:pt x="408823" y="477054"/>
                    <a:pt x="417015" y="485207"/>
                  </a:cubicBezTo>
                  <a:cubicBezTo>
                    <a:pt x="426857" y="476311"/>
                    <a:pt x="434668" y="463344"/>
                    <a:pt x="442478" y="453832"/>
                  </a:cubicBezTo>
                  <a:cubicBezTo>
                    <a:pt x="450860" y="443577"/>
                    <a:pt x="460703" y="434807"/>
                    <a:pt x="466671" y="424063"/>
                  </a:cubicBezTo>
                  <a:cubicBezTo>
                    <a:pt x="473085" y="412576"/>
                    <a:pt x="477657" y="400219"/>
                    <a:pt x="481340" y="388364"/>
                  </a:cubicBezTo>
                  <a:cubicBezTo>
                    <a:pt x="485087" y="376502"/>
                    <a:pt x="485341" y="362919"/>
                    <a:pt x="486166" y="350321"/>
                  </a:cubicBezTo>
                  <a:cubicBezTo>
                    <a:pt x="487056" y="337716"/>
                    <a:pt x="488389" y="324622"/>
                    <a:pt x="486166" y="312024"/>
                  </a:cubicBezTo>
                  <a:cubicBezTo>
                    <a:pt x="483944" y="299425"/>
                    <a:pt x="478292" y="288059"/>
                    <a:pt x="473212" y="276083"/>
                  </a:cubicBezTo>
                  <a:cubicBezTo>
                    <a:pt x="468132" y="264100"/>
                    <a:pt x="462100" y="253845"/>
                    <a:pt x="454670" y="242974"/>
                  </a:cubicBezTo>
                  <a:cubicBezTo>
                    <a:pt x="447749" y="232725"/>
                    <a:pt x="440573" y="222349"/>
                    <a:pt x="431302" y="212957"/>
                  </a:cubicBezTo>
                  <a:cubicBezTo>
                    <a:pt x="422666" y="204188"/>
                    <a:pt x="411935" y="197394"/>
                    <a:pt x="401457" y="189488"/>
                  </a:cubicBezTo>
                  <a:cubicBezTo>
                    <a:pt x="390218" y="181093"/>
                    <a:pt x="381074" y="171454"/>
                    <a:pt x="370088" y="166145"/>
                  </a:cubicBezTo>
                  <a:cubicBezTo>
                    <a:pt x="357579" y="159967"/>
                    <a:pt x="345514" y="153915"/>
                    <a:pt x="333512" y="150950"/>
                  </a:cubicBezTo>
                  <a:cubicBezTo>
                    <a:pt x="320050" y="147616"/>
                    <a:pt x="306334" y="147616"/>
                    <a:pt x="294079" y="147368"/>
                  </a:cubicBezTo>
                  <a:cubicBezTo>
                    <a:pt x="280045" y="147121"/>
                    <a:pt x="266329" y="147121"/>
                    <a:pt x="254581" y="149343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grpSp>
        <p:nvGrpSpPr>
          <p:cNvPr id="77" name="Graphic 7">
            <a:extLst>
              <a:ext uri="{FF2B5EF4-FFF2-40B4-BE49-F238E27FC236}">
                <a16:creationId xmlns:a16="http://schemas.microsoft.com/office/drawing/2014/main" id="{C31A921A-F6E0-A665-78A5-1F0FA1F7EBBA}"/>
              </a:ext>
            </a:extLst>
          </p:cNvPr>
          <p:cNvGrpSpPr/>
          <p:nvPr/>
        </p:nvGrpSpPr>
        <p:grpSpPr>
          <a:xfrm>
            <a:off x="1347583" y="3284739"/>
            <a:ext cx="990925" cy="1775904"/>
            <a:chOff x="5308339" y="4006843"/>
            <a:chExt cx="1210353" cy="2169156"/>
          </a:xfrm>
          <a:noFill/>
        </p:grpSpPr>
        <p:sp>
          <p:nvSpPr>
            <p:cNvPr id="78" name="Freeform: Shape 38">
              <a:extLst>
                <a:ext uri="{FF2B5EF4-FFF2-40B4-BE49-F238E27FC236}">
                  <a16:creationId xmlns:a16="http://schemas.microsoft.com/office/drawing/2014/main" id="{A80D583B-5E4F-16A0-04FC-035AED03FB50}"/>
                </a:ext>
              </a:extLst>
            </p:cNvPr>
            <p:cNvSpPr/>
            <p:nvPr/>
          </p:nvSpPr>
          <p:spPr>
            <a:xfrm>
              <a:off x="5575412" y="4215887"/>
              <a:ext cx="430692" cy="548142"/>
            </a:xfrm>
            <a:custGeom>
              <a:avLst/>
              <a:gdLst>
                <a:gd name="connsiteX0" fmla="*/ 287162 w 430692"/>
                <a:gd name="connsiteY0" fmla="*/ 45865 h 548142"/>
                <a:gd name="connsiteX1" fmla="*/ 316931 w 430692"/>
                <a:gd name="connsiteY1" fmla="*/ 70198 h 548142"/>
                <a:gd name="connsiteX2" fmla="*/ 343118 w 430692"/>
                <a:gd name="connsiteY2" fmla="*/ 98487 h 548142"/>
                <a:gd name="connsiteX3" fmla="*/ 368194 w 430692"/>
                <a:gd name="connsiteY3" fmla="*/ 128135 h 548142"/>
                <a:gd name="connsiteX4" fmla="*/ 386971 w 430692"/>
                <a:gd name="connsiteY4" fmla="*/ 162102 h 548142"/>
                <a:gd name="connsiteX5" fmla="*/ 399690 w 430692"/>
                <a:gd name="connsiteY5" fmla="*/ 198785 h 548142"/>
                <a:gd name="connsiteX6" fmla="*/ 415502 w 430692"/>
                <a:gd name="connsiteY6" fmla="*/ 233869 h 548142"/>
                <a:gd name="connsiteX7" fmla="*/ 425878 w 430692"/>
                <a:gd name="connsiteY7" fmla="*/ 271048 h 548142"/>
                <a:gd name="connsiteX8" fmla="*/ 430322 w 430692"/>
                <a:gd name="connsiteY8" fmla="*/ 309339 h 548142"/>
                <a:gd name="connsiteX9" fmla="*/ 429338 w 430692"/>
                <a:gd name="connsiteY9" fmla="*/ 347756 h 548142"/>
                <a:gd name="connsiteX10" fmla="*/ 428475 w 430692"/>
                <a:gd name="connsiteY10" fmla="*/ 386294 h 548142"/>
                <a:gd name="connsiteX11" fmla="*/ 419705 w 430692"/>
                <a:gd name="connsiteY11" fmla="*/ 423848 h 548142"/>
                <a:gd name="connsiteX12" fmla="*/ 404015 w 430692"/>
                <a:gd name="connsiteY12" fmla="*/ 459053 h 548142"/>
                <a:gd name="connsiteX13" fmla="*/ 384254 w 430692"/>
                <a:gd name="connsiteY13" fmla="*/ 492155 h 548142"/>
                <a:gd name="connsiteX14" fmla="*/ 356707 w 430692"/>
                <a:gd name="connsiteY14" fmla="*/ 519454 h 548142"/>
                <a:gd name="connsiteX15" fmla="*/ 322366 w 430692"/>
                <a:gd name="connsiteY15" fmla="*/ 537240 h 548142"/>
                <a:gd name="connsiteX16" fmla="*/ 285187 w 430692"/>
                <a:gd name="connsiteY16" fmla="*/ 547248 h 548142"/>
                <a:gd name="connsiteX17" fmla="*/ 246770 w 430692"/>
                <a:gd name="connsiteY17" fmla="*/ 546752 h 548142"/>
                <a:gd name="connsiteX18" fmla="*/ 208727 w 430692"/>
                <a:gd name="connsiteY18" fmla="*/ 539958 h 548142"/>
                <a:gd name="connsiteX19" fmla="*/ 174754 w 430692"/>
                <a:gd name="connsiteY19" fmla="*/ 521676 h 548142"/>
                <a:gd name="connsiteX20" fmla="*/ 143131 w 430692"/>
                <a:gd name="connsiteY20" fmla="*/ 500309 h 548142"/>
                <a:gd name="connsiteX21" fmla="*/ 112499 w 430692"/>
                <a:gd name="connsiteY21" fmla="*/ 477087 h 548142"/>
                <a:gd name="connsiteX22" fmla="*/ 87550 w 430692"/>
                <a:gd name="connsiteY22" fmla="*/ 447813 h 548142"/>
                <a:gd name="connsiteX23" fmla="*/ 62969 w 430692"/>
                <a:gd name="connsiteY23" fmla="*/ 418165 h 548142"/>
                <a:gd name="connsiteX24" fmla="*/ 44439 w 430692"/>
                <a:gd name="connsiteY24" fmla="*/ 384320 h 548142"/>
                <a:gd name="connsiteX25" fmla="*/ 30107 w 430692"/>
                <a:gd name="connsiteY25" fmla="*/ 348620 h 548142"/>
                <a:gd name="connsiteX26" fmla="*/ 15407 w 430692"/>
                <a:gd name="connsiteY26" fmla="*/ 313047 h 548142"/>
                <a:gd name="connsiteX27" fmla="*/ 8613 w 430692"/>
                <a:gd name="connsiteY27" fmla="*/ 275252 h 548142"/>
                <a:gd name="connsiteX28" fmla="*/ 586 w 430692"/>
                <a:gd name="connsiteY28" fmla="*/ 237578 h 548142"/>
                <a:gd name="connsiteX29" fmla="*/ 586 w 430692"/>
                <a:gd name="connsiteY29" fmla="*/ 199033 h 548142"/>
                <a:gd name="connsiteX30" fmla="*/ 2561 w 430692"/>
                <a:gd name="connsiteY30" fmla="*/ 160495 h 548142"/>
                <a:gd name="connsiteX31" fmla="*/ 11210 w 430692"/>
                <a:gd name="connsiteY31" fmla="*/ 122820 h 548142"/>
                <a:gd name="connsiteX32" fmla="*/ 28133 w 430692"/>
                <a:gd name="connsiteY32" fmla="*/ 88232 h 548142"/>
                <a:gd name="connsiteX33" fmla="*/ 48516 w 430692"/>
                <a:gd name="connsiteY33" fmla="*/ 55993 h 548142"/>
                <a:gd name="connsiteX34" fmla="*/ 74703 w 430692"/>
                <a:gd name="connsiteY34" fmla="*/ 27710 h 548142"/>
                <a:gd name="connsiteX35" fmla="*/ 107679 w 430692"/>
                <a:gd name="connsiteY35" fmla="*/ 7079 h 548142"/>
                <a:gd name="connsiteX36" fmla="*/ 146097 w 430692"/>
                <a:gd name="connsiteY36" fmla="*/ 1523 h 548142"/>
                <a:gd name="connsiteX37" fmla="*/ 184267 w 430692"/>
                <a:gd name="connsiteY37" fmla="*/ 900 h 548142"/>
                <a:gd name="connsiteX38" fmla="*/ 204155 w 430692"/>
                <a:gd name="connsiteY38" fmla="*/ 900 h 5481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430692" h="548142">
                  <a:moveTo>
                    <a:pt x="287162" y="45865"/>
                  </a:moveTo>
                  <a:cubicBezTo>
                    <a:pt x="297290" y="53402"/>
                    <a:pt x="307545" y="61060"/>
                    <a:pt x="316931" y="70198"/>
                  </a:cubicBezTo>
                  <a:cubicBezTo>
                    <a:pt x="326316" y="79342"/>
                    <a:pt x="334717" y="88359"/>
                    <a:pt x="343118" y="98487"/>
                  </a:cubicBezTo>
                  <a:cubicBezTo>
                    <a:pt x="351519" y="108615"/>
                    <a:pt x="360905" y="117137"/>
                    <a:pt x="368194" y="128135"/>
                  </a:cubicBezTo>
                  <a:cubicBezTo>
                    <a:pt x="375478" y="139127"/>
                    <a:pt x="380913" y="150487"/>
                    <a:pt x="386971" y="162102"/>
                  </a:cubicBezTo>
                  <a:cubicBezTo>
                    <a:pt x="393023" y="173716"/>
                    <a:pt x="394750" y="186562"/>
                    <a:pt x="399690" y="198785"/>
                  </a:cubicBezTo>
                  <a:cubicBezTo>
                    <a:pt x="404631" y="211016"/>
                    <a:pt x="411920" y="221766"/>
                    <a:pt x="415502" y="233869"/>
                  </a:cubicBezTo>
                  <a:cubicBezTo>
                    <a:pt x="419083" y="245972"/>
                    <a:pt x="423534" y="258570"/>
                    <a:pt x="425878" y="271048"/>
                  </a:cubicBezTo>
                  <a:cubicBezTo>
                    <a:pt x="428227" y="283526"/>
                    <a:pt x="429211" y="296867"/>
                    <a:pt x="430322" y="309339"/>
                  </a:cubicBezTo>
                  <a:cubicBezTo>
                    <a:pt x="431440" y="321817"/>
                    <a:pt x="429707" y="335279"/>
                    <a:pt x="429338" y="347756"/>
                  </a:cubicBezTo>
                  <a:cubicBezTo>
                    <a:pt x="428964" y="360234"/>
                    <a:pt x="430450" y="373944"/>
                    <a:pt x="428475" y="386294"/>
                  </a:cubicBezTo>
                  <a:cubicBezTo>
                    <a:pt x="426373" y="399268"/>
                    <a:pt x="423407" y="411993"/>
                    <a:pt x="419705" y="423848"/>
                  </a:cubicBezTo>
                  <a:cubicBezTo>
                    <a:pt x="415749" y="436447"/>
                    <a:pt x="409698" y="447934"/>
                    <a:pt x="404015" y="459053"/>
                  </a:cubicBezTo>
                  <a:cubicBezTo>
                    <a:pt x="397963" y="470661"/>
                    <a:pt x="392159" y="482396"/>
                    <a:pt x="384254" y="492155"/>
                  </a:cubicBezTo>
                  <a:cubicBezTo>
                    <a:pt x="376347" y="501915"/>
                    <a:pt x="366835" y="511796"/>
                    <a:pt x="356707" y="519454"/>
                  </a:cubicBezTo>
                  <a:cubicBezTo>
                    <a:pt x="346579" y="527112"/>
                    <a:pt x="334469" y="532427"/>
                    <a:pt x="322366" y="537240"/>
                  </a:cubicBezTo>
                  <a:cubicBezTo>
                    <a:pt x="310263" y="542060"/>
                    <a:pt x="297906" y="545768"/>
                    <a:pt x="285187" y="547248"/>
                  </a:cubicBezTo>
                  <a:cubicBezTo>
                    <a:pt x="272462" y="548728"/>
                    <a:pt x="259615" y="548238"/>
                    <a:pt x="246770" y="546752"/>
                  </a:cubicBezTo>
                  <a:cubicBezTo>
                    <a:pt x="233924" y="545273"/>
                    <a:pt x="221198" y="544162"/>
                    <a:pt x="208727" y="539958"/>
                  </a:cubicBezTo>
                  <a:cubicBezTo>
                    <a:pt x="196249" y="535761"/>
                    <a:pt x="186241" y="527976"/>
                    <a:pt x="174754" y="521676"/>
                  </a:cubicBezTo>
                  <a:cubicBezTo>
                    <a:pt x="163267" y="515377"/>
                    <a:pt x="153634" y="508094"/>
                    <a:pt x="143131" y="500309"/>
                  </a:cubicBezTo>
                  <a:cubicBezTo>
                    <a:pt x="132635" y="492530"/>
                    <a:pt x="122011" y="486224"/>
                    <a:pt x="112499" y="477087"/>
                  </a:cubicBezTo>
                  <a:cubicBezTo>
                    <a:pt x="102987" y="467949"/>
                    <a:pt x="95823" y="457942"/>
                    <a:pt x="87550" y="447813"/>
                  </a:cubicBezTo>
                  <a:cubicBezTo>
                    <a:pt x="79269" y="437685"/>
                    <a:pt x="70005" y="429157"/>
                    <a:pt x="62969" y="418165"/>
                  </a:cubicBezTo>
                  <a:cubicBezTo>
                    <a:pt x="55927" y="407173"/>
                    <a:pt x="50491" y="395934"/>
                    <a:pt x="44439" y="384320"/>
                  </a:cubicBezTo>
                  <a:cubicBezTo>
                    <a:pt x="38388" y="372712"/>
                    <a:pt x="34927" y="360729"/>
                    <a:pt x="30107" y="348620"/>
                  </a:cubicBezTo>
                  <a:cubicBezTo>
                    <a:pt x="25294" y="336517"/>
                    <a:pt x="18989" y="325150"/>
                    <a:pt x="15407" y="313047"/>
                  </a:cubicBezTo>
                  <a:cubicBezTo>
                    <a:pt x="11826" y="300944"/>
                    <a:pt x="11089" y="287603"/>
                    <a:pt x="8613" y="275252"/>
                  </a:cubicBezTo>
                  <a:cubicBezTo>
                    <a:pt x="6143" y="262895"/>
                    <a:pt x="1697" y="250176"/>
                    <a:pt x="586" y="237578"/>
                  </a:cubicBezTo>
                  <a:cubicBezTo>
                    <a:pt x="-525" y="224973"/>
                    <a:pt x="218" y="211631"/>
                    <a:pt x="586" y="199033"/>
                  </a:cubicBezTo>
                  <a:cubicBezTo>
                    <a:pt x="955" y="186435"/>
                    <a:pt x="586" y="172973"/>
                    <a:pt x="2561" y="160495"/>
                  </a:cubicBezTo>
                  <a:cubicBezTo>
                    <a:pt x="4663" y="147528"/>
                    <a:pt x="7501" y="134803"/>
                    <a:pt x="11210" y="122820"/>
                  </a:cubicBezTo>
                  <a:cubicBezTo>
                    <a:pt x="15160" y="110222"/>
                    <a:pt x="22449" y="99351"/>
                    <a:pt x="28133" y="88232"/>
                  </a:cubicBezTo>
                  <a:cubicBezTo>
                    <a:pt x="34184" y="76624"/>
                    <a:pt x="40611" y="65753"/>
                    <a:pt x="48516" y="55993"/>
                  </a:cubicBezTo>
                  <a:cubicBezTo>
                    <a:pt x="56422" y="46239"/>
                    <a:pt x="64569" y="35368"/>
                    <a:pt x="74703" y="27710"/>
                  </a:cubicBezTo>
                  <a:cubicBezTo>
                    <a:pt x="84832" y="20052"/>
                    <a:pt x="95697" y="11899"/>
                    <a:pt x="107679" y="7079"/>
                  </a:cubicBezTo>
                  <a:cubicBezTo>
                    <a:pt x="119662" y="2259"/>
                    <a:pt x="133377" y="3002"/>
                    <a:pt x="146097" y="1523"/>
                  </a:cubicBezTo>
                  <a:cubicBezTo>
                    <a:pt x="158822" y="37"/>
                    <a:pt x="171293" y="-700"/>
                    <a:pt x="184267" y="900"/>
                  </a:cubicBezTo>
                  <a:cubicBezTo>
                    <a:pt x="190566" y="1643"/>
                    <a:pt x="197728" y="-579"/>
                    <a:pt x="204155" y="90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79" name="Freeform: Shape 39">
              <a:extLst>
                <a:ext uri="{FF2B5EF4-FFF2-40B4-BE49-F238E27FC236}">
                  <a16:creationId xmlns:a16="http://schemas.microsoft.com/office/drawing/2014/main" id="{291A20AC-54D0-3616-4918-860DE8795028}"/>
                </a:ext>
              </a:extLst>
            </p:cNvPr>
            <p:cNvSpPr/>
            <p:nvPr/>
          </p:nvSpPr>
          <p:spPr>
            <a:xfrm>
              <a:off x="5733478" y="4430363"/>
              <a:ext cx="224568" cy="142152"/>
            </a:xfrm>
            <a:custGeom>
              <a:avLst/>
              <a:gdLst>
                <a:gd name="connsiteX0" fmla="*/ 0 w 224568"/>
                <a:gd name="connsiteY0" fmla="*/ 90786 h 142152"/>
                <a:gd name="connsiteX1" fmla="*/ 35947 w 224568"/>
                <a:gd name="connsiteY1" fmla="*/ 110801 h 142152"/>
                <a:gd name="connsiteX2" fmla="*/ 73495 w 224568"/>
                <a:gd name="connsiteY2" fmla="*/ 127476 h 142152"/>
                <a:gd name="connsiteX3" fmla="*/ 112903 w 224568"/>
                <a:gd name="connsiteY3" fmla="*/ 138468 h 142152"/>
                <a:gd name="connsiteX4" fmla="*/ 154655 w 224568"/>
                <a:gd name="connsiteY4" fmla="*/ 140691 h 142152"/>
                <a:gd name="connsiteX5" fmla="*/ 188995 w 224568"/>
                <a:gd name="connsiteY5" fmla="*/ 116726 h 142152"/>
                <a:gd name="connsiteX6" fmla="*/ 211474 w 224568"/>
                <a:gd name="connsiteY6" fmla="*/ 81896 h 142152"/>
                <a:gd name="connsiteX7" fmla="*/ 217894 w 224568"/>
                <a:gd name="connsiteY7" fmla="*/ 40887 h 142152"/>
                <a:gd name="connsiteX8" fmla="*/ 224568 w 224568"/>
                <a:gd name="connsiteY8" fmla="*/ 0 h 142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4568" h="142152">
                  <a:moveTo>
                    <a:pt x="0" y="90786"/>
                  </a:moveTo>
                  <a:cubicBezTo>
                    <a:pt x="16675" y="103016"/>
                    <a:pt x="14700" y="99562"/>
                    <a:pt x="35947" y="110801"/>
                  </a:cubicBezTo>
                  <a:cubicBezTo>
                    <a:pt x="46939" y="116605"/>
                    <a:pt x="59538" y="122536"/>
                    <a:pt x="73495" y="127476"/>
                  </a:cubicBezTo>
                  <a:cubicBezTo>
                    <a:pt x="86341" y="132048"/>
                    <a:pt x="99194" y="136861"/>
                    <a:pt x="112903" y="138468"/>
                  </a:cubicBezTo>
                  <a:cubicBezTo>
                    <a:pt x="126613" y="140075"/>
                    <a:pt x="141561" y="144399"/>
                    <a:pt x="154655" y="140691"/>
                  </a:cubicBezTo>
                  <a:cubicBezTo>
                    <a:pt x="167748" y="136989"/>
                    <a:pt x="178740" y="127597"/>
                    <a:pt x="188995" y="116726"/>
                  </a:cubicBezTo>
                  <a:cubicBezTo>
                    <a:pt x="197390" y="107956"/>
                    <a:pt x="205670" y="96717"/>
                    <a:pt x="211474" y="81896"/>
                  </a:cubicBezTo>
                  <a:cubicBezTo>
                    <a:pt x="215919" y="70529"/>
                    <a:pt x="215303" y="56324"/>
                    <a:pt x="217894" y="40887"/>
                  </a:cubicBezTo>
                  <a:cubicBezTo>
                    <a:pt x="219875" y="28530"/>
                    <a:pt x="224073" y="15316"/>
                    <a:pt x="224568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0" name="Freeform: Shape 40">
              <a:extLst>
                <a:ext uri="{FF2B5EF4-FFF2-40B4-BE49-F238E27FC236}">
                  <a16:creationId xmlns:a16="http://schemas.microsoft.com/office/drawing/2014/main" id="{BF012D60-2AA8-8512-629E-439ED23F13F8}"/>
                </a:ext>
              </a:extLst>
            </p:cNvPr>
            <p:cNvSpPr/>
            <p:nvPr/>
          </p:nvSpPr>
          <p:spPr>
            <a:xfrm>
              <a:off x="5802795" y="4386014"/>
              <a:ext cx="23964" cy="46691"/>
            </a:xfrm>
            <a:custGeom>
              <a:avLst/>
              <a:gdLst>
                <a:gd name="connsiteX0" fmla="*/ 0 w 23964"/>
                <a:gd name="connsiteY0" fmla="*/ 0 h 46691"/>
                <a:gd name="connsiteX1" fmla="*/ 23965 w 23964"/>
                <a:gd name="connsiteY1" fmla="*/ 46692 h 466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3964" h="46691">
                  <a:moveTo>
                    <a:pt x="0" y="0"/>
                  </a:moveTo>
                  <a:cubicBezTo>
                    <a:pt x="11367" y="23717"/>
                    <a:pt x="12598" y="23101"/>
                    <a:pt x="23965" y="46692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1" name="Freeform: Shape 41">
              <a:extLst>
                <a:ext uri="{FF2B5EF4-FFF2-40B4-BE49-F238E27FC236}">
                  <a16:creationId xmlns:a16="http://schemas.microsoft.com/office/drawing/2014/main" id="{AF3A20B8-C5C6-5770-DE7C-91280751B6B7}"/>
                </a:ext>
              </a:extLst>
            </p:cNvPr>
            <p:cNvSpPr/>
            <p:nvPr/>
          </p:nvSpPr>
          <p:spPr>
            <a:xfrm>
              <a:off x="5846267" y="4363040"/>
              <a:ext cx="22110" cy="47681"/>
            </a:xfrm>
            <a:custGeom>
              <a:avLst/>
              <a:gdLst>
                <a:gd name="connsiteX0" fmla="*/ 0 w 22110"/>
                <a:gd name="connsiteY0" fmla="*/ 0 h 47681"/>
                <a:gd name="connsiteX1" fmla="*/ 22111 w 22110"/>
                <a:gd name="connsiteY1" fmla="*/ 47682 h 47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2110" h="47681">
                  <a:moveTo>
                    <a:pt x="0" y="0"/>
                  </a:moveTo>
                  <a:cubicBezTo>
                    <a:pt x="11366" y="23717"/>
                    <a:pt x="10744" y="23965"/>
                    <a:pt x="22111" y="47682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2" name="Freeform: Shape 42">
              <a:extLst>
                <a:ext uri="{FF2B5EF4-FFF2-40B4-BE49-F238E27FC236}">
                  <a16:creationId xmlns:a16="http://schemas.microsoft.com/office/drawing/2014/main" id="{7D9F3B63-6ED0-76D5-DA9D-3A5F0E621F16}"/>
                </a:ext>
              </a:extLst>
            </p:cNvPr>
            <p:cNvSpPr/>
            <p:nvPr/>
          </p:nvSpPr>
          <p:spPr>
            <a:xfrm>
              <a:off x="5582284" y="4006843"/>
              <a:ext cx="379829" cy="492194"/>
            </a:xfrm>
            <a:custGeom>
              <a:avLst/>
              <a:gdLst>
                <a:gd name="connsiteX0" fmla="*/ 176638 w 379829"/>
                <a:gd name="connsiteY0" fmla="*/ 281959 h 492194"/>
                <a:gd name="connsiteX1" fmla="*/ 193561 w 379829"/>
                <a:gd name="connsiteY1" fmla="*/ 247745 h 492194"/>
                <a:gd name="connsiteX2" fmla="*/ 202330 w 379829"/>
                <a:gd name="connsiteY2" fmla="*/ 210934 h 492194"/>
                <a:gd name="connsiteX3" fmla="*/ 207271 w 379829"/>
                <a:gd name="connsiteY3" fmla="*/ 173260 h 492194"/>
                <a:gd name="connsiteX4" fmla="*/ 216783 w 379829"/>
                <a:gd name="connsiteY4" fmla="*/ 136569 h 492194"/>
                <a:gd name="connsiteX5" fmla="*/ 216783 w 379829"/>
                <a:gd name="connsiteY5" fmla="*/ 98653 h 492194"/>
                <a:gd name="connsiteX6" fmla="*/ 215297 w 379829"/>
                <a:gd name="connsiteY6" fmla="*/ 61220 h 492194"/>
                <a:gd name="connsiteX7" fmla="*/ 226295 w 379829"/>
                <a:gd name="connsiteY7" fmla="*/ 25400 h 492194"/>
                <a:gd name="connsiteX8" fmla="*/ 261868 w 379829"/>
                <a:gd name="connsiteY8" fmla="*/ 11322 h 492194"/>
                <a:gd name="connsiteX9" fmla="*/ 299790 w 379829"/>
                <a:gd name="connsiteY9" fmla="*/ 7734 h 492194"/>
                <a:gd name="connsiteX10" fmla="*/ 337960 w 379829"/>
                <a:gd name="connsiteY10" fmla="*/ 2178 h 492194"/>
                <a:gd name="connsiteX11" fmla="*/ 374276 w 379829"/>
                <a:gd name="connsiteY11" fmla="*/ 8109 h 492194"/>
                <a:gd name="connsiteX12" fmla="*/ 371062 w 379829"/>
                <a:gd name="connsiteY12" fmla="*/ 45536 h 492194"/>
                <a:gd name="connsiteX13" fmla="*/ 367729 w 379829"/>
                <a:gd name="connsiteY13" fmla="*/ 84938 h 492194"/>
                <a:gd name="connsiteX14" fmla="*/ 357353 w 379829"/>
                <a:gd name="connsiteY14" fmla="*/ 123107 h 492194"/>
                <a:gd name="connsiteX15" fmla="*/ 342652 w 379829"/>
                <a:gd name="connsiteY15" fmla="*/ 159671 h 492194"/>
                <a:gd name="connsiteX16" fmla="*/ 323260 w 379829"/>
                <a:gd name="connsiteY16" fmla="*/ 194132 h 492194"/>
                <a:gd name="connsiteX17" fmla="*/ 296082 w 379829"/>
                <a:gd name="connsiteY17" fmla="*/ 223653 h 492194"/>
                <a:gd name="connsiteX18" fmla="*/ 258902 w 379829"/>
                <a:gd name="connsiteY18" fmla="*/ 238106 h 492194"/>
                <a:gd name="connsiteX19" fmla="*/ 223577 w 379829"/>
                <a:gd name="connsiteY19" fmla="*/ 258369 h 492194"/>
                <a:gd name="connsiteX20" fmla="*/ 187751 w 379829"/>
                <a:gd name="connsiteY20" fmla="*/ 277882 h 492194"/>
                <a:gd name="connsiteX21" fmla="*/ 159341 w 379829"/>
                <a:gd name="connsiteY21" fmla="*/ 307283 h 492194"/>
                <a:gd name="connsiteX22" fmla="*/ 130194 w 379829"/>
                <a:gd name="connsiteY22" fmla="*/ 335566 h 492194"/>
                <a:gd name="connsiteX23" fmla="*/ 100667 w 379829"/>
                <a:gd name="connsiteY23" fmla="*/ 363855 h 492194"/>
                <a:gd name="connsiteX24" fmla="*/ 73127 w 379829"/>
                <a:gd name="connsiteY24" fmla="*/ 394119 h 492194"/>
                <a:gd name="connsiteX25" fmla="*/ 47803 w 379829"/>
                <a:gd name="connsiteY25" fmla="*/ 426237 h 492194"/>
                <a:gd name="connsiteX26" fmla="*/ 24086 w 379829"/>
                <a:gd name="connsiteY26" fmla="*/ 459340 h 492194"/>
                <a:gd name="connsiteX27" fmla="*/ 0 w 379829"/>
                <a:gd name="connsiteY27" fmla="*/ 492195 h 492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79829" h="492194">
                  <a:moveTo>
                    <a:pt x="176638" y="281959"/>
                  </a:moveTo>
                  <a:cubicBezTo>
                    <a:pt x="182937" y="264173"/>
                    <a:pt x="187014" y="269481"/>
                    <a:pt x="193561" y="247745"/>
                  </a:cubicBezTo>
                  <a:cubicBezTo>
                    <a:pt x="196647" y="237122"/>
                    <a:pt x="198870" y="224276"/>
                    <a:pt x="202330" y="210934"/>
                  </a:cubicBezTo>
                  <a:cubicBezTo>
                    <a:pt x="205296" y="199320"/>
                    <a:pt x="204673" y="185979"/>
                    <a:pt x="207271" y="173260"/>
                  </a:cubicBezTo>
                  <a:cubicBezTo>
                    <a:pt x="209861" y="160535"/>
                    <a:pt x="215176" y="148927"/>
                    <a:pt x="216783" y="136569"/>
                  </a:cubicBezTo>
                  <a:cubicBezTo>
                    <a:pt x="218389" y="124219"/>
                    <a:pt x="216408" y="110757"/>
                    <a:pt x="216783" y="98653"/>
                  </a:cubicBezTo>
                  <a:cubicBezTo>
                    <a:pt x="217151" y="84938"/>
                    <a:pt x="217646" y="72466"/>
                    <a:pt x="215297" y="61220"/>
                  </a:cubicBezTo>
                  <a:cubicBezTo>
                    <a:pt x="212211" y="46152"/>
                    <a:pt x="216903" y="33674"/>
                    <a:pt x="226295" y="25400"/>
                  </a:cubicBezTo>
                  <a:cubicBezTo>
                    <a:pt x="234690" y="17989"/>
                    <a:pt x="248031" y="14776"/>
                    <a:pt x="261868" y="11322"/>
                  </a:cubicBezTo>
                  <a:cubicBezTo>
                    <a:pt x="273723" y="8357"/>
                    <a:pt x="286817" y="8604"/>
                    <a:pt x="299790" y="7734"/>
                  </a:cubicBezTo>
                  <a:cubicBezTo>
                    <a:pt x="312757" y="6871"/>
                    <a:pt x="326346" y="1930"/>
                    <a:pt x="337960" y="2178"/>
                  </a:cubicBezTo>
                  <a:cubicBezTo>
                    <a:pt x="359944" y="2673"/>
                    <a:pt x="361182" y="-5975"/>
                    <a:pt x="374276" y="8109"/>
                  </a:cubicBezTo>
                  <a:cubicBezTo>
                    <a:pt x="387369" y="22187"/>
                    <a:pt x="373533" y="21939"/>
                    <a:pt x="371062" y="45536"/>
                  </a:cubicBezTo>
                  <a:cubicBezTo>
                    <a:pt x="369831" y="57023"/>
                    <a:pt x="370567" y="70612"/>
                    <a:pt x="367729" y="84938"/>
                  </a:cubicBezTo>
                  <a:cubicBezTo>
                    <a:pt x="365258" y="97295"/>
                    <a:pt x="361550" y="110014"/>
                    <a:pt x="357353" y="123107"/>
                  </a:cubicBezTo>
                  <a:cubicBezTo>
                    <a:pt x="353149" y="136201"/>
                    <a:pt x="348456" y="147688"/>
                    <a:pt x="342652" y="159671"/>
                  </a:cubicBezTo>
                  <a:cubicBezTo>
                    <a:pt x="336848" y="171653"/>
                    <a:pt x="331413" y="183756"/>
                    <a:pt x="323260" y="194132"/>
                  </a:cubicBezTo>
                  <a:cubicBezTo>
                    <a:pt x="315106" y="204508"/>
                    <a:pt x="306953" y="215754"/>
                    <a:pt x="296082" y="223653"/>
                  </a:cubicBezTo>
                  <a:cubicBezTo>
                    <a:pt x="285217" y="231559"/>
                    <a:pt x="271996" y="233909"/>
                    <a:pt x="258902" y="238106"/>
                  </a:cubicBezTo>
                  <a:cubicBezTo>
                    <a:pt x="246799" y="241935"/>
                    <a:pt x="236049" y="251079"/>
                    <a:pt x="223577" y="258369"/>
                  </a:cubicBezTo>
                  <a:cubicBezTo>
                    <a:pt x="212338" y="264916"/>
                    <a:pt x="198996" y="269361"/>
                    <a:pt x="187751" y="277882"/>
                  </a:cubicBezTo>
                  <a:cubicBezTo>
                    <a:pt x="177254" y="286036"/>
                    <a:pt x="169469" y="297891"/>
                    <a:pt x="159341" y="307283"/>
                  </a:cubicBezTo>
                  <a:cubicBezTo>
                    <a:pt x="149213" y="316668"/>
                    <a:pt x="139700" y="325685"/>
                    <a:pt x="130194" y="335566"/>
                  </a:cubicBezTo>
                  <a:cubicBezTo>
                    <a:pt x="120682" y="345453"/>
                    <a:pt x="109563" y="353727"/>
                    <a:pt x="100667" y="363855"/>
                  </a:cubicBezTo>
                  <a:cubicBezTo>
                    <a:pt x="91777" y="373983"/>
                    <a:pt x="81401" y="383864"/>
                    <a:pt x="73127" y="394119"/>
                  </a:cubicBezTo>
                  <a:cubicBezTo>
                    <a:pt x="64103" y="405238"/>
                    <a:pt x="55461" y="416109"/>
                    <a:pt x="47803" y="426237"/>
                  </a:cubicBezTo>
                  <a:cubicBezTo>
                    <a:pt x="38538" y="438340"/>
                    <a:pt x="30880" y="449828"/>
                    <a:pt x="24086" y="459340"/>
                  </a:cubicBezTo>
                  <a:cubicBezTo>
                    <a:pt x="9506" y="479724"/>
                    <a:pt x="10992" y="475151"/>
                    <a:pt x="0" y="492195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3" name="Freeform: Shape 43">
              <a:extLst>
                <a:ext uri="{FF2B5EF4-FFF2-40B4-BE49-F238E27FC236}">
                  <a16:creationId xmlns:a16="http://schemas.microsoft.com/office/drawing/2014/main" id="{EF320919-0B39-74F8-6A69-FAA0EEA092C3}"/>
                </a:ext>
              </a:extLst>
            </p:cNvPr>
            <p:cNvSpPr/>
            <p:nvPr/>
          </p:nvSpPr>
          <p:spPr>
            <a:xfrm>
              <a:off x="5561036" y="4695691"/>
              <a:ext cx="198140" cy="624296"/>
            </a:xfrm>
            <a:custGeom>
              <a:avLst/>
              <a:gdLst>
                <a:gd name="connsiteX0" fmla="*/ 132056 w 198140"/>
                <a:gd name="connsiteY0" fmla="*/ 0 h 624296"/>
                <a:gd name="connsiteX1" fmla="*/ 118842 w 198140"/>
                <a:gd name="connsiteY1" fmla="*/ 37795 h 624296"/>
                <a:gd name="connsiteX2" fmla="*/ 104631 w 198140"/>
                <a:gd name="connsiteY2" fmla="*/ 75349 h 624296"/>
                <a:gd name="connsiteX3" fmla="*/ 97595 w 198140"/>
                <a:gd name="connsiteY3" fmla="*/ 114998 h 624296"/>
                <a:gd name="connsiteX4" fmla="*/ 83263 w 198140"/>
                <a:gd name="connsiteY4" fmla="*/ 152552 h 624296"/>
                <a:gd name="connsiteX5" fmla="*/ 74494 w 198140"/>
                <a:gd name="connsiteY5" fmla="*/ 191707 h 624296"/>
                <a:gd name="connsiteX6" fmla="*/ 67083 w 198140"/>
                <a:gd name="connsiteY6" fmla="*/ 231108 h 624296"/>
                <a:gd name="connsiteX7" fmla="*/ 53246 w 198140"/>
                <a:gd name="connsiteY7" fmla="*/ 268910 h 624296"/>
                <a:gd name="connsiteX8" fmla="*/ 45093 w 198140"/>
                <a:gd name="connsiteY8" fmla="*/ 308064 h 624296"/>
                <a:gd name="connsiteX9" fmla="*/ 34965 w 198140"/>
                <a:gd name="connsiteY9" fmla="*/ 346850 h 624296"/>
                <a:gd name="connsiteX10" fmla="*/ 26564 w 198140"/>
                <a:gd name="connsiteY10" fmla="*/ 386131 h 624296"/>
                <a:gd name="connsiteX11" fmla="*/ 19649 w 198140"/>
                <a:gd name="connsiteY11" fmla="*/ 425660 h 624296"/>
                <a:gd name="connsiteX12" fmla="*/ 15820 w 198140"/>
                <a:gd name="connsiteY12" fmla="*/ 465684 h 624296"/>
                <a:gd name="connsiteX13" fmla="*/ 6682 w 198140"/>
                <a:gd name="connsiteY13" fmla="*/ 504838 h 624296"/>
                <a:gd name="connsiteX14" fmla="*/ 5196 w 198140"/>
                <a:gd name="connsiteY14" fmla="*/ 544862 h 624296"/>
                <a:gd name="connsiteX15" fmla="*/ 8 w 198140"/>
                <a:gd name="connsiteY15" fmla="*/ 584638 h 624296"/>
                <a:gd name="connsiteX16" fmla="*/ 10879 w 198140"/>
                <a:gd name="connsiteY16" fmla="*/ 623919 h 624296"/>
                <a:gd name="connsiteX17" fmla="*/ 42007 w 198140"/>
                <a:gd name="connsiteY17" fmla="*/ 597853 h 624296"/>
                <a:gd name="connsiteX18" fmla="*/ 58809 w 198140"/>
                <a:gd name="connsiteY18" fmla="*/ 560426 h 624296"/>
                <a:gd name="connsiteX19" fmla="*/ 77332 w 198140"/>
                <a:gd name="connsiteY19" fmla="*/ 524230 h 624296"/>
                <a:gd name="connsiteX20" fmla="*/ 94255 w 198140"/>
                <a:gd name="connsiteY20" fmla="*/ 487178 h 624296"/>
                <a:gd name="connsiteX21" fmla="*/ 107844 w 198140"/>
                <a:gd name="connsiteY21" fmla="*/ 448761 h 624296"/>
                <a:gd name="connsiteX22" fmla="*/ 127364 w 198140"/>
                <a:gd name="connsiteY22" fmla="*/ 412693 h 624296"/>
                <a:gd name="connsiteX23" fmla="*/ 143175 w 198140"/>
                <a:gd name="connsiteY23" fmla="*/ 375139 h 624296"/>
                <a:gd name="connsiteX24" fmla="*/ 158739 w 198140"/>
                <a:gd name="connsiteY24" fmla="*/ 337344 h 624296"/>
                <a:gd name="connsiteX25" fmla="*/ 168004 w 198140"/>
                <a:gd name="connsiteY25" fmla="*/ 297199 h 624296"/>
                <a:gd name="connsiteX26" fmla="*/ 183936 w 198140"/>
                <a:gd name="connsiteY26" fmla="*/ 259766 h 624296"/>
                <a:gd name="connsiteX27" fmla="*/ 198141 w 198140"/>
                <a:gd name="connsiteY27" fmla="*/ 221723 h 62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98140" h="624296">
                  <a:moveTo>
                    <a:pt x="132056" y="0"/>
                  </a:moveTo>
                  <a:cubicBezTo>
                    <a:pt x="126005" y="19018"/>
                    <a:pt x="126126" y="13589"/>
                    <a:pt x="118842" y="37795"/>
                  </a:cubicBezTo>
                  <a:cubicBezTo>
                    <a:pt x="115629" y="48666"/>
                    <a:pt x="108834" y="60770"/>
                    <a:pt x="104631" y="75349"/>
                  </a:cubicBezTo>
                  <a:cubicBezTo>
                    <a:pt x="101176" y="87204"/>
                    <a:pt x="101545" y="101162"/>
                    <a:pt x="97595" y="114998"/>
                  </a:cubicBezTo>
                  <a:cubicBezTo>
                    <a:pt x="94134" y="127229"/>
                    <a:pt x="86971" y="139084"/>
                    <a:pt x="83263" y="152552"/>
                  </a:cubicBezTo>
                  <a:cubicBezTo>
                    <a:pt x="79809" y="165024"/>
                    <a:pt x="77955" y="178365"/>
                    <a:pt x="74494" y="191707"/>
                  </a:cubicBezTo>
                  <a:cubicBezTo>
                    <a:pt x="71160" y="204305"/>
                    <a:pt x="70417" y="217894"/>
                    <a:pt x="67083" y="231108"/>
                  </a:cubicBezTo>
                  <a:cubicBezTo>
                    <a:pt x="63750" y="244329"/>
                    <a:pt x="56460" y="255816"/>
                    <a:pt x="53246" y="268910"/>
                  </a:cubicBezTo>
                  <a:cubicBezTo>
                    <a:pt x="50033" y="282003"/>
                    <a:pt x="48059" y="295097"/>
                    <a:pt x="45093" y="308064"/>
                  </a:cubicBezTo>
                  <a:cubicBezTo>
                    <a:pt x="42128" y="321037"/>
                    <a:pt x="37810" y="333883"/>
                    <a:pt x="34965" y="346850"/>
                  </a:cubicBezTo>
                  <a:cubicBezTo>
                    <a:pt x="32126" y="359823"/>
                    <a:pt x="29161" y="373037"/>
                    <a:pt x="26564" y="386131"/>
                  </a:cubicBezTo>
                  <a:cubicBezTo>
                    <a:pt x="23973" y="399224"/>
                    <a:pt x="21998" y="412693"/>
                    <a:pt x="19649" y="425660"/>
                  </a:cubicBezTo>
                  <a:cubicBezTo>
                    <a:pt x="17306" y="438633"/>
                    <a:pt x="17921" y="452710"/>
                    <a:pt x="15820" y="465684"/>
                  </a:cubicBezTo>
                  <a:cubicBezTo>
                    <a:pt x="13718" y="479273"/>
                    <a:pt x="8289" y="491992"/>
                    <a:pt x="6682" y="504838"/>
                  </a:cubicBezTo>
                  <a:cubicBezTo>
                    <a:pt x="4949" y="518674"/>
                    <a:pt x="6187" y="532263"/>
                    <a:pt x="5196" y="544862"/>
                  </a:cubicBezTo>
                  <a:cubicBezTo>
                    <a:pt x="4085" y="558946"/>
                    <a:pt x="135" y="572281"/>
                    <a:pt x="8" y="584638"/>
                  </a:cubicBezTo>
                  <a:cubicBezTo>
                    <a:pt x="-240" y="608971"/>
                    <a:pt x="5196" y="621690"/>
                    <a:pt x="10879" y="623919"/>
                  </a:cubicBezTo>
                  <a:cubicBezTo>
                    <a:pt x="17426" y="626389"/>
                    <a:pt x="30025" y="616629"/>
                    <a:pt x="42007" y="597853"/>
                  </a:cubicBezTo>
                  <a:cubicBezTo>
                    <a:pt x="48185" y="588092"/>
                    <a:pt x="51640" y="574135"/>
                    <a:pt x="58809" y="560426"/>
                  </a:cubicBezTo>
                  <a:cubicBezTo>
                    <a:pt x="64613" y="549186"/>
                    <a:pt x="71160" y="537204"/>
                    <a:pt x="77332" y="524230"/>
                  </a:cubicBezTo>
                  <a:cubicBezTo>
                    <a:pt x="82895" y="512375"/>
                    <a:pt x="88578" y="500025"/>
                    <a:pt x="94255" y="487178"/>
                  </a:cubicBezTo>
                  <a:cubicBezTo>
                    <a:pt x="99570" y="474948"/>
                    <a:pt x="102408" y="461359"/>
                    <a:pt x="107844" y="448761"/>
                  </a:cubicBezTo>
                  <a:cubicBezTo>
                    <a:pt x="113280" y="436163"/>
                    <a:pt x="122296" y="425291"/>
                    <a:pt x="127364" y="412693"/>
                  </a:cubicBezTo>
                  <a:cubicBezTo>
                    <a:pt x="132424" y="400095"/>
                    <a:pt x="138235" y="387490"/>
                    <a:pt x="143175" y="375139"/>
                  </a:cubicBezTo>
                  <a:cubicBezTo>
                    <a:pt x="148363" y="362172"/>
                    <a:pt x="154040" y="349567"/>
                    <a:pt x="158739" y="337344"/>
                  </a:cubicBezTo>
                  <a:cubicBezTo>
                    <a:pt x="163927" y="323875"/>
                    <a:pt x="163432" y="309054"/>
                    <a:pt x="168004" y="297199"/>
                  </a:cubicBezTo>
                  <a:cubicBezTo>
                    <a:pt x="173439" y="282867"/>
                    <a:pt x="179859" y="270637"/>
                    <a:pt x="183936" y="259766"/>
                  </a:cubicBezTo>
                  <a:cubicBezTo>
                    <a:pt x="192705" y="236176"/>
                    <a:pt x="191226" y="240748"/>
                    <a:pt x="198141" y="221723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4" name="Freeform: Shape 44">
              <a:extLst>
                <a:ext uri="{FF2B5EF4-FFF2-40B4-BE49-F238E27FC236}">
                  <a16:creationId xmlns:a16="http://schemas.microsoft.com/office/drawing/2014/main" id="{2F6ECAB3-47FE-DF92-CC28-4EF51AF0CA7C}"/>
                </a:ext>
              </a:extLst>
            </p:cNvPr>
            <p:cNvSpPr/>
            <p:nvPr/>
          </p:nvSpPr>
          <p:spPr>
            <a:xfrm>
              <a:off x="5663825" y="4670615"/>
              <a:ext cx="348435" cy="686446"/>
            </a:xfrm>
            <a:custGeom>
              <a:avLst/>
              <a:gdLst>
                <a:gd name="connsiteX0" fmla="*/ 318199 w 348435"/>
                <a:gd name="connsiteY0" fmla="*/ 0 h 686446"/>
                <a:gd name="connsiteX1" fmla="*/ 317214 w 348435"/>
                <a:gd name="connsiteY1" fmla="*/ 40017 h 686446"/>
                <a:gd name="connsiteX2" fmla="*/ 321044 w 348435"/>
                <a:gd name="connsiteY2" fmla="*/ 79794 h 686446"/>
                <a:gd name="connsiteX3" fmla="*/ 323386 w 348435"/>
                <a:gd name="connsiteY3" fmla="*/ 119691 h 686446"/>
                <a:gd name="connsiteX4" fmla="*/ 324003 w 348435"/>
                <a:gd name="connsiteY4" fmla="*/ 159588 h 686446"/>
                <a:gd name="connsiteX5" fmla="*/ 322523 w 348435"/>
                <a:gd name="connsiteY5" fmla="*/ 199612 h 686446"/>
                <a:gd name="connsiteX6" fmla="*/ 327343 w 348435"/>
                <a:gd name="connsiteY6" fmla="*/ 239388 h 686446"/>
                <a:gd name="connsiteX7" fmla="*/ 325114 w 348435"/>
                <a:gd name="connsiteY7" fmla="*/ 279533 h 686446"/>
                <a:gd name="connsiteX8" fmla="*/ 327959 w 348435"/>
                <a:gd name="connsiteY8" fmla="*/ 319430 h 686446"/>
                <a:gd name="connsiteX9" fmla="*/ 328949 w 348435"/>
                <a:gd name="connsiteY9" fmla="*/ 359454 h 686446"/>
                <a:gd name="connsiteX10" fmla="*/ 331908 w 348435"/>
                <a:gd name="connsiteY10" fmla="*/ 399351 h 686446"/>
                <a:gd name="connsiteX11" fmla="*/ 331661 w 348435"/>
                <a:gd name="connsiteY11" fmla="*/ 439369 h 686446"/>
                <a:gd name="connsiteX12" fmla="*/ 332156 w 348435"/>
                <a:gd name="connsiteY12" fmla="*/ 479393 h 686446"/>
                <a:gd name="connsiteX13" fmla="*/ 336607 w 348435"/>
                <a:gd name="connsiteY13" fmla="*/ 519290 h 686446"/>
                <a:gd name="connsiteX14" fmla="*/ 338087 w 348435"/>
                <a:gd name="connsiteY14" fmla="*/ 559314 h 686446"/>
                <a:gd name="connsiteX15" fmla="*/ 339446 w 348435"/>
                <a:gd name="connsiteY15" fmla="*/ 599338 h 686446"/>
                <a:gd name="connsiteX16" fmla="*/ 340925 w 348435"/>
                <a:gd name="connsiteY16" fmla="*/ 639356 h 686446"/>
                <a:gd name="connsiteX17" fmla="*/ 342164 w 348435"/>
                <a:gd name="connsiteY17" fmla="*/ 679380 h 686446"/>
                <a:gd name="connsiteX18" fmla="*/ 299422 w 348435"/>
                <a:gd name="connsiteY18" fmla="*/ 681107 h 686446"/>
                <a:gd name="connsiteX19" fmla="*/ 256686 w 348435"/>
                <a:gd name="connsiteY19" fmla="*/ 677773 h 686446"/>
                <a:gd name="connsiteX20" fmla="*/ 213944 w 348435"/>
                <a:gd name="connsiteY20" fmla="*/ 676662 h 686446"/>
                <a:gd name="connsiteX21" fmla="*/ 171209 w 348435"/>
                <a:gd name="connsiteY21" fmla="*/ 679132 h 686446"/>
                <a:gd name="connsiteX22" fmla="*/ 128467 w 348435"/>
                <a:gd name="connsiteY22" fmla="*/ 677646 h 686446"/>
                <a:gd name="connsiteX23" fmla="*/ 85725 w 348435"/>
                <a:gd name="connsiteY23" fmla="*/ 677526 h 686446"/>
                <a:gd name="connsiteX24" fmla="*/ 42863 w 348435"/>
                <a:gd name="connsiteY24" fmla="*/ 682098 h 686446"/>
                <a:gd name="connsiteX25" fmla="*/ 0 w 348435"/>
                <a:gd name="connsiteY25" fmla="*/ 678885 h 6864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348435" h="686446">
                  <a:moveTo>
                    <a:pt x="318199" y="0"/>
                  </a:moveTo>
                  <a:cubicBezTo>
                    <a:pt x="318942" y="19888"/>
                    <a:pt x="316471" y="20009"/>
                    <a:pt x="317214" y="40017"/>
                  </a:cubicBezTo>
                  <a:cubicBezTo>
                    <a:pt x="317951" y="60033"/>
                    <a:pt x="320301" y="59906"/>
                    <a:pt x="321044" y="79794"/>
                  </a:cubicBezTo>
                  <a:cubicBezTo>
                    <a:pt x="321780" y="99682"/>
                    <a:pt x="322644" y="99682"/>
                    <a:pt x="323386" y="119691"/>
                  </a:cubicBezTo>
                  <a:cubicBezTo>
                    <a:pt x="324129" y="139706"/>
                    <a:pt x="323266" y="139706"/>
                    <a:pt x="324003" y="159588"/>
                  </a:cubicBezTo>
                  <a:cubicBezTo>
                    <a:pt x="324745" y="179476"/>
                    <a:pt x="321907" y="179724"/>
                    <a:pt x="322523" y="199612"/>
                  </a:cubicBezTo>
                  <a:cubicBezTo>
                    <a:pt x="323139" y="219500"/>
                    <a:pt x="326720" y="219500"/>
                    <a:pt x="327343" y="239388"/>
                  </a:cubicBezTo>
                  <a:cubicBezTo>
                    <a:pt x="327959" y="259277"/>
                    <a:pt x="324377" y="259524"/>
                    <a:pt x="325114" y="279533"/>
                  </a:cubicBezTo>
                  <a:cubicBezTo>
                    <a:pt x="325857" y="299542"/>
                    <a:pt x="327216" y="299421"/>
                    <a:pt x="327959" y="319430"/>
                  </a:cubicBezTo>
                  <a:cubicBezTo>
                    <a:pt x="328702" y="339439"/>
                    <a:pt x="328206" y="339439"/>
                    <a:pt x="328949" y="359454"/>
                  </a:cubicBezTo>
                  <a:cubicBezTo>
                    <a:pt x="329686" y="379463"/>
                    <a:pt x="331172" y="379342"/>
                    <a:pt x="331908" y="399351"/>
                  </a:cubicBezTo>
                  <a:cubicBezTo>
                    <a:pt x="332651" y="419360"/>
                    <a:pt x="330924" y="419360"/>
                    <a:pt x="331661" y="439369"/>
                  </a:cubicBezTo>
                  <a:cubicBezTo>
                    <a:pt x="332404" y="459384"/>
                    <a:pt x="331540" y="459384"/>
                    <a:pt x="332156" y="479393"/>
                  </a:cubicBezTo>
                  <a:cubicBezTo>
                    <a:pt x="332778" y="499402"/>
                    <a:pt x="335864" y="499281"/>
                    <a:pt x="336607" y="519290"/>
                  </a:cubicBezTo>
                  <a:cubicBezTo>
                    <a:pt x="337344" y="539305"/>
                    <a:pt x="337344" y="539305"/>
                    <a:pt x="338087" y="559314"/>
                  </a:cubicBezTo>
                  <a:cubicBezTo>
                    <a:pt x="338830" y="579323"/>
                    <a:pt x="338703" y="579323"/>
                    <a:pt x="339446" y="599338"/>
                  </a:cubicBezTo>
                  <a:cubicBezTo>
                    <a:pt x="340189" y="619347"/>
                    <a:pt x="340189" y="619347"/>
                    <a:pt x="340925" y="639356"/>
                  </a:cubicBezTo>
                  <a:cubicBezTo>
                    <a:pt x="341668" y="659365"/>
                    <a:pt x="356616" y="665423"/>
                    <a:pt x="342164" y="679380"/>
                  </a:cubicBezTo>
                  <a:cubicBezTo>
                    <a:pt x="326848" y="694201"/>
                    <a:pt x="320796" y="681107"/>
                    <a:pt x="299422" y="681107"/>
                  </a:cubicBezTo>
                  <a:cubicBezTo>
                    <a:pt x="278054" y="681107"/>
                    <a:pt x="278054" y="677773"/>
                    <a:pt x="256686" y="677773"/>
                  </a:cubicBezTo>
                  <a:cubicBezTo>
                    <a:pt x="235312" y="677773"/>
                    <a:pt x="235312" y="676662"/>
                    <a:pt x="213944" y="676662"/>
                  </a:cubicBezTo>
                  <a:cubicBezTo>
                    <a:pt x="192577" y="676662"/>
                    <a:pt x="192577" y="679132"/>
                    <a:pt x="171209" y="679132"/>
                  </a:cubicBezTo>
                  <a:cubicBezTo>
                    <a:pt x="149835" y="679132"/>
                    <a:pt x="149835" y="677646"/>
                    <a:pt x="128467" y="677646"/>
                  </a:cubicBezTo>
                  <a:cubicBezTo>
                    <a:pt x="107099" y="677646"/>
                    <a:pt x="107099" y="677526"/>
                    <a:pt x="85725" y="677526"/>
                  </a:cubicBezTo>
                  <a:cubicBezTo>
                    <a:pt x="64357" y="677526"/>
                    <a:pt x="64357" y="682098"/>
                    <a:pt x="42863" y="682098"/>
                  </a:cubicBezTo>
                  <a:cubicBezTo>
                    <a:pt x="21374" y="682098"/>
                    <a:pt x="21495" y="678885"/>
                    <a:pt x="0" y="678885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5" name="Freeform: Shape 45">
              <a:extLst>
                <a:ext uri="{FF2B5EF4-FFF2-40B4-BE49-F238E27FC236}">
                  <a16:creationId xmlns:a16="http://schemas.microsoft.com/office/drawing/2014/main" id="{8BB01B37-03CE-4A61-5158-9256956114C1}"/>
                </a:ext>
              </a:extLst>
            </p:cNvPr>
            <p:cNvSpPr/>
            <p:nvPr/>
          </p:nvSpPr>
          <p:spPr>
            <a:xfrm>
              <a:off x="6006725" y="4488166"/>
              <a:ext cx="416788" cy="392812"/>
            </a:xfrm>
            <a:custGeom>
              <a:avLst/>
              <a:gdLst>
                <a:gd name="connsiteX0" fmla="*/ 0 w 416788"/>
                <a:gd name="connsiteY0" fmla="*/ 234945 h 392812"/>
                <a:gd name="connsiteX1" fmla="*/ 33109 w 416788"/>
                <a:gd name="connsiteY1" fmla="*/ 213082 h 392812"/>
                <a:gd name="connsiteX2" fmla="*/ 66580 w 416788"/>
                <a:gd name="connsiteY2" fmla="*/ 192082 h 392812"/>
                <a:gd name="connsiteX3" fmla="*/ 100305 w 416788"/>
                <a:gd name="connsiteY3" fmla="*/ 171330 h 392812"/>
                <a:gd name="connsiteX4" fmla="*/ 133160 w 416788"/>
                <a:gd name="connsiteY4" fmla="*/ 149099 h 392812"/>
                <a:gd name="connsiteX5" fmla="*/ 167996 w 416788"/>
                <a:gd name="connsiteY5" fmla="*/ 130195 h 392812"/>
                <a:gd name="connsiteX6" fmla="*/ 202209 w 416788"/>
                <a:gd name="connsiteY6" fmla="*/ 110186 h 392812"/>
                <a:gd name="connsiteX7" fmla="*/ 235319 w 416788"/>
                <a:gd name="connsiteY7" fmla="*/ 88202 h 392812"/>
                <a:gd name="connsiteX8" fmla="*/ 268916 w 416788"/>
                <a:gd name="connsiteY8" fmla="*/ 67076 h 392812"/>
                <a:gd name="connsiteX9" fmla="*/ 305848 w 416788"/>
                <a:gd name="connsiteY9" fmla="*/ 51887 h 392812"/>
                <a:gd name="connsiteX10" fmla="*/ 339446 w 416788"/>
                <a:gd name="connsiteY10" fmla="*/ 30640 h 392812"/>
                <a:gd name="connsiteX11" fmla="*/ 374009 w 416788"/>
                <a:gd name="connsiteY11" fmla="*/ 10872 h 392812"/>
                <a:gd name="connsiteX12" fmla="*/ 412553 w 416788"/>
                <a:gd name="connsiteY12" fmla="*/ 1 h 392812"/>
                <a:gd name="connsiteX13" fmla="*/ 399091 w 416788"/>
                <a:gd name="connsiteY13" fmla="*/ 34094 h 392812"/>
                <a:gd name="connsiteX14" fmla="*/ 368484 w 416788"/>
                <a:gd name="connsiteY14" fmla="*/ 61145 h 392812"/>
                <a:gd name="connsiteX15" fmla="*/ 343402 w 416788"/>
                <a:gd name="connsiteY15" fmla="*/ 93263 h 392812"/>
                <a:gd name="connsiteX16" fmla="*/ 311531 w 416788"/>
                <a:gd name="connsiteY16" fmla="*/ 118708 h 392812"/>
                <a:gd name="connsiteX17" fmla="*/ 284601 w 416788"/>
                <a:gd name="connsiteY17" fmla="*/ 149347 h 392812"/>
                <a:gd name="connsiteX18" fmla="*/ 254832 w 416788"/>
                <a:gd name="connsiteY18" fmla="*/ 177014 h 392812"/>
                <a:gd name="connsiteX19" fmla="*/ 224447 w 416788"/>
                <a:gd name="connsiteY19" fmla="*/ 204065 h 392812"/>
                <a:gd name="connsiteX20" fmla="*/ 192824 w 416788"/>
                <a:gd name="connsiteY20" fmla="*/ 229757 h 392812"/>
                <a:gd name="connsiteX21" fmla="*/ 162928 w 416788"/>
                <a:gd name="connsiteY21" fmla="*/ 257303 h 392812"/>
                <a:gd name="connsiteX22" fmla="*/ 135382 w 416788"/>
                <a:gd name="connsiteY22" fmla="*/ 287446 h 392812"/>
                <a:gd name="connsiteX23" fmla="*/ 103886 w 416788"/>
                <a:gd name="connsiteY23" fmla="*/ 313259 h 392812"/>
                <a:gd name="connsiteX24" fmla="*/ 74486 w 416788"/>
                <a:gd name="connsiteY24" fmla="*/ 341421 h 392812"/>
                <a:gd name="connsiteX25" fmla="*/ 43237 w 416788"/>
                <a:gd name="connsiteY25" fmla="*/ 367361 h 392812"/>
                <a:gd name="connsiteX26" fmla="*/ 11614 w 416788"/>
                <a:gd name="connsiteY26" fmla="*/ 392812 h 392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416788" h="392812">
                  <a:moveTo>
                    <a:pt x="0" y="234945"/>
                  </a:moveTo>
                  <a:cubicBezTo>
                    <a:pt x="16675" y="224321"/>
                    <a:pt x="12230" y="226302"/>
                    <a:pt x="33109" y="213082"/>
                  </a:cubicBezTo>
                  <a:cubicBezTo>
                    <a:pt x="42621" y="207030"/>
                    <a:pt x="53982" y="199988"/>
                    <a:pt x="66580" y="192082"/>
                  </a:cubicBezTo>
                  <a:cubicBezTo>
                    <a:pt x="76956" y="185535"/>
                    <a:pt x="88322" y="178741"/>
                    <a:pt x="100305" y="171330"/>
                  </a:cubicBezTo>
                  <a:cubicBezTo>
                    <a:pt x="111049" y="164663"/>
                    <a:pt x="121425" y="156262"/>
                    <a:pt x="133160" y="149099"/>
                  </a:cubicBezTo>
                  <a:cubicBezTo>
                    <a:pt x="144158" y="142304"/>
                    <a:pt x="156509" y="137116"/>
                    <a:pt x="167996" y="130195"/>
                  </a:cubicBezTo>
                  <a:cubicBezTo>
                    <a:pt x="179483" y="123280"/>
                    <a:pt x="190849" y="116980"/>
                    <a:pt x="202209" y="110186"/>
                  </a:cubicBezTo>
                  <a:cubicBezTo>
                    <a:pt x="213576" y="103392"/>
                    <a:pt x="223952" y="94870"/>
                    <a:pt x="235319" y="88202"/>
                  </a:cubicBezTo>
                  <a:cubicBezTo>
                    <a:pt x="246679" y="81529"/>
                    <a:pt x="257670" y="73375"/>
                    <a:pt x="268916" y="67076"/>
                  </a:cubicBezTo>
                  <a:cubicBezTo>
                    <a:pt x="280772" y="60282"/>
                    <a:pt x="294729" y="58059"/>
                    <a:pt x="305848" y="51887"/>
                  </a:cubicBezTo>
                  <a:cubicBezTo>
                    <a:pt x="318078" y="45092"/>
                    <a:pt x="328454" y="36323"/>
                    <a:pt x="339446" y="30640"/>
                  </a:cubicBezTo>
                  <a:cubicBezTo>
                    <a:pt x="352546" y="23845"/>
                    <a:pt x="363531" y="15692"/>
                    <a:pt x="374009" y="10872"/>
                  </a:cubicBezTo>
                  <a:cubicBezTo>
                    <a:pt x="391344" y="3093"/>
                    <a:pt x="405505" y="128"/>
                    <a:pt x="412553" y="1"/>
                  </a:cubicBezTo>
                  <a:cubicBezTo>
                    <a:pt x="421443" y="-120"/>
                    <a:pt x="416046" y="14085"/>
                    <a:pt x="399091" y="34094"/>
                  </a:cubicBezTo>
                  <a:cubicBezTo>
                    <a:pt x="391789" y="42743"/>
                    <a:pt x="379216" y="49905"/>
                    <a:pt x="368484" y="61145"/>
                  </a:cubicBezTo>
                  <a:cubicBezTo>
                    <a:pt x="359975" y="70169"/>
                    <a:pt x="353625" y="83014"/>
                    <a:pt x="343402" y="93263"/>
                  </a:cubicBezTo>
                  <a:cubicBezTo>
                    <a:pt x="334258" y="102407"/>
                    <a:pt x="321659" y="108827"/>
                    <a:pt x="311531" y="118708"/>
                  </a:cubicBezTo>
                  <a:cubicBezTo>
                    <a:pt x="302139" y="127852"/>
                    <a:pt x="294729" y="139707"/>
                    <a:pt x="284601" y="149347"/>
                  </a:cubicBezTo>
                  <a:cubicBezTo>
                    <a:pt x="274472" y="158979"/>
                    <a:pt x="264960" y="167628"/>
                    <a:pt x="254832" y="177014"/>
                  </a:cubicBezTo>
                  <a:cubicBezTo>
                    <a:pt x="244704" y="186399"/>
                    <a:pt x="234448" y="194800"/>
                    <a:pt x="224447" y="204065"/>
                  </a:cubicBezTo>
                  <a:cubicBezTo>
                    <a:pt x="214440" y="213329"/>
                    <a:pt x="202705" y="220619"/>
                    <a:pt x="192824" y="229757"/>
                  </a:cubicBezTo>
                  <a:cubicBezTo>
                    <a:pt x="182943" y="238901"/>
                    <a:pt x="172815" y="248413"/>
                    <a:pt x="162928" y="257303"/>
                  </a:cubicBezTo>
                  <a:cubicBezTo>
                    <a:pt x="153048" y="266199"/>
                    <a:pt x="145142" y="278550"/>
                    <a:pt x="135382" y="287446"/>
                  </a:cubicBezTo>
                  <a:cubicBezTo>
                    <a:pt x="124885" y="296952"/>
                    <a:pt x="113519" y="304610"/>
                    <a:pt x="103886" y="313259"/>
                  </a:cubicBezTo>
                  <a:cubicBezTo>
                    <a:pt x="93142" y="322892"/>
                    <a:pt x="83877" y="333027"/>
                    <a:pt x="74486" y="341421"/>
                  </a:cubicBezTo>
                  <a:cubicBezTo>
                    <a:pt x="62998" y="351677"/>
                    <a:pt x="52007" y="359703"/>
                    <a:pt x="43237" y="367361"/>
                  </a:cubicBezTo>
                  <a:cubicBezTo>
                    <a:pt x="24213" y="384163"/>
                    <a:pt x="26931" y="379471"/>
                    <a:pt x="11614" y="392812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6" name="Freeform: Shape 46">
              <a:extLst>
                <a:ext uri="{FF2B5EF4-FFF2-40B4-BE49-F238E27FC236}">
                  <a16:creationId xmlns:a16="http://schemas.microsoft.com/office/drawing/2014/main" id="{BC68EC74-FABA-AB4E-A62B-48A3CD67C6E3}"/>
                </a:ext>
              </a:extLst>
            </p:cNvPr>
            <p:cNvSpPr/>
            <p:nvPr/>
          </p:nvSpPr>
          <p:spPr>
            <a:xfrm>
              <a:off x="5765785" y="5425090"/>
              <a:ext cx="144676" cy="249636"/>
            </a:xfrm>
            <a:custGeom>
              <a:avLst/>
              <a:gdLst>
                <a:gd name="connsiteX0" fmla="*/ 8581 w 144676"/>
                <a:gd name="connsiteY0" fmla="*/ 243224 h 249636"/>
                <a:gd name="connsiteX1" fmla="*/ 53177 w 144676"/>
                <a:gd name="connsiteY1" fmla="*/ 241128 h 249636"/>
                <a:gd name="connsiteX2" fmla="*/ 96160 w 144676"/>
                <a:gd name="connsiteY2" fmla="*/ 242608 h 249636"/>
                <a:gd name="connsiteX3" fmla="*/ 138286 w 144676"/>
                <a:gd name="connsiteY3" fmla="*/ 240754 h 249636"/>
                <a:gd name="connsiteX4" fmla="*/ 137048 w 144676"/>
                <a:gd name="connsiteY4" fmla="*/ 197275 h 249636"/>
                <a:gd name="connsiteX5" fmla="*/ 136800 w 144676"/>
                <a:gd name="connsiteY5" fmla="*/ 152806 h 249636"/>
                <a:gd name="connsiteX6" fmla="*/ 137663 w 144676"/>
                <a:gd name="connsiteY6" fmla="*/ 108337 h 249636"/>
                <a:gd name="connsiteX7" fmla="*/ 139022 w 144676"/>
                <a:gd name="connsiteY7" fmla="*/ 63868 h 249636"/>
                <a:gd name="connsiteX8" fmla="*/ 107895 w 144676"/>
                <a:gd name="connsiteY8" fmla="*/ 29775 h 249636"/>
                <a:gd name="connsiteX9" fmla="*/ 73801 w 144676"/>
                <a:gd name="connsiteY9" fmla="*/ 6 h 249636"/>
                <a:gd name="connsiteX10" fmla="*/ 43664 w 144676"/>
                <a:gd name="connsiteY10" fmla="*/ 31134 h 249636"/>
                <a:gd name="connsiteX11" fmla="*/ 12905 w 144676"/>
                <a:gd name="connsiteY11" fmla="*/ 62014 h 249636"/>
                <a:gd name="connsiteX12" fmla="*/ 10809 w 144676"/>
                <a:gd name="connsiteY12" fmla="*/ 106362 h 249636"/>
                <a:gd name="connsiteX13" fmla="*/ 10562 w 144676"/>
                <a:gd name="connsiteY13" fmla="*/ 151447 h 249636"/>
                <a:gd name="connsiteX14" fmla="*/ 7965 w 144676"/>
                <a:gd name="connsiteY14" fmla="*/ 196037 h 249636"/>
                <a:gd name="connsiteX15" fmla="*/ 8581 w 144676"/>
                <a:gd name="connsiteY15" fmla="*/ 243351 h 249636"/>
                <a:gd name="connsiteX16" fmla="*/ 8581 w 144676"/>
                <a:gd name="connsiteY16" fmla="*/ 243224 h 249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44676" h="249636">
                  <a:moveTo>
                    <a:pt x="8581" y="243224"/>
                  </a:moveTo>
                  <a:cubicBezTo>
                    <a:pt x="23408" y="258788"/>
                    <a:pt x="31682" y="241128"/>
                    <a:pt x="53177" y="241128"/>
                  </a:cubicBezTo>
                  <a:cubicBezTo>
                    <a:pt x="74665" y="241128"/>
                    <a:pt x="74665" y="242608"/>
                    <a:pt x="96160" y="242608"/>
                  </a:cubicBezTo>
                  <a:cubicBezTo>
                    <a:pt x="117655" y="242608"/>
                    <a:pt x="123211" y="256197"/>
                    <a:pt x="138286" y="240754"/>
                  </a:cubicBezTo>
                  <a:cubicBezTo>
                    <a:pt x="153354" y="225317"/>
                    <a:pt x="137048" y="219507"/>
                    <a:pt x="137048" y="197275"/>
                  </a:cubicBezTo>
                  <a:cubicBezTo>
                    <a:pt x="137048" y="175037"/>
                    <a:pt x="136800" y="175037"/>
                    <a:pt x="136800" y="152806"/>
                  </a:cubicBezTo>
                  <a:cubicBezTo>
                    <a:pt x="136800" y="130575"/>
                    <a:pt x="137663" y="130575"/>
                    <a:pt x="137663" y="108337"/>
                  </a:cubicBezTo>
                  <a:cubicBezTo>
                    <a:pt x="137663" y="86106"/>
                    <a:pt x="147791" y="84372"/>
                    <a:pt x="139022" y="63868"/>
                  </a:cubicBezTo>
                  <a:cubicBezTo>
                    <a:pt x="130253" y="43364"/>
                    <a:pt x="124201" y="46082"/>
                    <a:pt x="107895" y="29775"/>
                  </a:cubicBezTo>
                  <a:cubicBezTo>
                    <a:pt x="91588" y="13474"/>
                    <a:pt x="96903" y="381"/>
                    <a:pt x="73801" y="6"/>
                  </a:cubicBezTo>
                  <a:cubicBezTo>
                    <a:pt x="50706" y="-362"/>
                    <a:pt x="59349" y="15450"/>
                    <a:pt x="43664" y="31134"/>
                  </a:cubicBezTo>
                  <a:cubicBezTo>
                    <a:pt x="27974" y="46825"/>
                    <a:pt x="21427" y="41510"/>
                    <a:pt x="12905" y="62014"/>
                  </a:cubicBezTo>
                  <a:cubicBezTo>
                    <a:pt x="4383" y="82525"/>
                    <a:pt x="10930" y="83756"/>
                    <a:pt x="10809" y="106362"/>
                  </a:cubicBezTo>
                  <a:cubicBezTo>
                    <a:pt x="10682" y="128969"/>
                    <a:pt x="10682" y="128969"/>
                    <a:pt x="10562" y="151447"/>
                  </a:cubicBezTo>
                  <a:cubicBezTo>
                    <a:pt x="10435" y="173926"/>
                    <a:pt x="13152" y="174053"/>
                    <a:pt x="7965" y="196037"/>
                  </a:cubicBezTo>
                  <a:cubicBezTo>
                    <a:pt x="2281" y="220250"/>
                    <a:pt x="-6983" y="226923"/>
                    <a:pt x="8581" y="243351"/>
                  </a:cubicBezTo>
                  <a:lnTo>
                    <a:pt x="8581" y="243224"/>
                  </a:lnTo>
                  <a:close/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7" name="Freeform: Shape 47">
              <a:extLst>
                <a:ext uri="{FF2B5EF4-FFF2-40B4-BE49-F238E27FC236}">
                  <a16:creationId xmlns:a16="http://schemas.microsoft.com/office/drawing/2014/main" id="{3A34F206-23B9-D1E1-1496-0F261A9A71CD}"/>
                </a:ext>
              </a:extLst>
            </p:cNvPr>
            <p:cNvSpPr/>
            <p:nvPr/>
          </p:nvSpPr>
          <p:spPr>
            <a:xfrm>
              <a:off x="5308339" y="5418718"/>
              <a:ext cx="532244" cy="253964"/>
            </a:xfrm>
            <a:custGeom>
              <a:avLst/>
              <a:gdLst>
                <a:gd name="connsiteX0" fmla="*/ 532245 w 532244"/>
                <a:gd name="connsiteY0" fmla="*/ 5635 h 253964"/>
                <a:gd name="connsiteX1" fmla="*/ 490125 w 532244"/>
                <a:gd name="connsiteY1" fmla="*/ 3908 h 253964"/>
                <a:gd name="connsiteX2" fmla="*/ 448127 w 532244"/>
                <a:gd name="connsiteY2" fmla="*/ 6499 h 253964"/>
                <a:gd name="connsiteX3" fmla="*/ 406001 w 532244"/>
                <a:gd name="connsiteY3" fmla="*/ 1806 h 253964"/>
                <a:gd name="connsiteX4" fmla="*/ 363881 w 532244"/>
                <a:gd name="connsiteY4" fmla="*/ 4772 h 253964"/>
                <a:gd name="connsiteX5" fmla="*/ 321762 w 532244"/>
                <a:gd name="connsiteY5" fmla="*/ 3413 h 253964"/>
                <a:gd name="connsiteX6" fmla="*/ 279763 w 532244"/>
                <a:gd name="connsiteY6" fmla="*/ 7858 h 253964"/>
                <a:gd name="connsiteX7" fmla="*/ 237643 w 532244"/>
                <a:gd name="connsiteY7" fmla="*/ 6378 h 253964"/>
                <a:gd name="connsiteX8" fmla="*/ 195517 w 532244"/>
                <a:gd name="connsiteY8" fmla="*/ 7737 h 253964"/>
                <a:gd name="connsiteX9" fmla="*/ 153398 w 532244"/>
                <a:gd name="connsiteY9" fmla="*/ 7242 h 253964"/>
                <a:gd name="connsiteX10" fmla="*/ 111278 w 532244"/>
                <a:gd name="connsiteY10" fmla="*/ 7242 h 253964"/>
                <a:gd name="connsiteX11" fmla="*/ 68289 w 532244"/>
                <a:gd name="connsiteY11" fmla="*/ 2797 h 253964"/>
                <a:gd name="connsiteX12" fmla="*/ 37040 w 532244"/>
                <a:gd name="connsiteY12" fmla="*/ 35531 h 253964"/>
                <a:gd name="connsiteX13" fmla="*/ 8383 w 532244"/>
                <a:gd name="connsiteY13" fmla="*/ 68513 h 253964"/>
                <a:gd name="connsiteX14" fmla="*/ 6281 w 532244"/>
                <a:gd name="connsiteY14" fmla="*/ 112734 h 253964"/>
                <a:gd name="connsiteX15" fmla="*/ 8255 w 532244"/>
                <a:gd name="connsiteY15" fmla="*/ 157820 h 253964"/>
                <a:gd name="connsiteX16" fmla="*/ 6528 w 532244"/>
                <a:gd name="connsiteY16" fmla="*/ 203025 h 253964"/>
                <a:gd name="connsiteX17" fmla="*/ 7024 w 532244"/>
                <a:gd name="connsiteY17" fmla="*/ 246631 h 253964"/>
                <a:gd name="connsiteX18" fmla="*/ 48400 w 532244"/>
                <a:gd name="connsiteY18" fmla="*/ 246758 h 253964"/>
                <a:gd name="connsiteX19" fmla="*/ 91390 w 532244"/>
                <a:gd name="connsiteY19" fmla="*/ 247621 h 253964"/>
                <a:gd name="connsiteX20" fmla="*/ 134373 w 532244"/>
                <a:gd name="connsiteY20" fmla="*/ 250339 h 253964"/>
                <a:gd name="connsiteX21" fmla="*/ 172911 w 532244"/>
                <a:gd name="connsiteY21" fmla="*/ 247621 h 253964"/>
                <a:gd name="connsiteX22" fmla="*/ 211455 w 532244"/>
                <a:gd name="connsiteY22" fmla="*/ 248237 h 253964"/>
                <a:gd name="connsiteX23" fmla="*/ 249994 w 532244"/>
                <a:gd name="connsiteY23" fmla="*/ 247247 h 253964"/>
                <a:gd name="connsiteX24" fmla="*/ 288532 w 532244"/>
                <a:gd name="connsiteY24" fmla="*/ 249348 h 253964"/>
                <a:gd name="connsiteX25" fmla="*/ 327070 w 532244"/>
                <a:gd name="connsiteY25" fmla="*/ 248237 h 253964"/>
                <a:gd name="connsiteX26" fmla="*/ 365608 w 532244"/>
                <a:gd name="connsiteY26" fmla="*/ 249348 h 253964"/>
                <a:gd name="connsiteX27" fmla="*/ 404153 w 532244"/>
                <a:gd name="connsiteY27" fmla="*/ 245399 h 253964"/>
                <a:gd name="connsiteX28" fmla="*/ 442811 w 532244"/>
                <a:gd name="connsiteY28" fmla="*/ 248237 h 253964"/>
                <a:gd name="connsiteX29" fmla="*/ 481477 w 532244"/>
                <a:gd name="connsiteY29" fmla="*/ 249101 h 253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532244" h="253964">
                  <a:moveTo>
                    <a:pt x="532245" y="5635"/>
                  </a:moveTo>
                  <a:cubicBezTo>
                    <a:pt x="511245" y="5635"/>
                    <a:pt x="511245" y="3908"/>
                    <a:pt x="490125" y="3908"/>
                  </a:cubicBezTo>
                  <a:cubicBezTo>
                    <a:pt x="468999" y="3908"/>
                    <a:pt x="469126" y="6499"/>
                    <a:pt x="448127" y="6499"/>
                  </a:cubicBezTo>
                  <a:cubicBezTo>
                    <a:pt x="427127" y="6499"/>
                    <a:pt x="427127" y="1806"/>
                    <a:pt x="406001" y="1806"/>
                  </a:cubicBezTo>
                  <a:cubicBezTo>
                    <a:pt x="384881" y="1806"/>
                    <a:pt x="385001" y="4772"/>
                    <a:pt x="363881" y="4772"/>
                  </a:cubicBezTo>
                  <a:cubicBezTo>
                    <a:pt x="342761" y="4772"/>
                    <a:pt x="342882" y="3413"/>
                    <a:pt x="321762" y="3413"/>
                  </a:cubicBezTo>
                  <a:cubicBezTo>
                    <a:pt x="300635" y="3413"/>
                    <a:pt x="300762" y="7858"/>
                    <a:pt x="279763" y="7858"/>
                  </a:cubicBezTo>
                  <a:cubicBezTo>
                    <a:pt x="258763" y="7858"/>
                    <a:pt x="258763" y="6378"/>
                    <a:pt x="237643" y="6378"/>
                  </a:cubicBezTo>
                  <a:cubicBezTo>
                    <a:pt x="216517" y="6378"/>
                    <a:pt x="216644" y="7737"/>
                    <a:pt x="195517" y="7737"/>
                  </a:cubicBezTo>
                  <a:cubicBezTo>
                    <a:pt x="174397" y="7737"/>
                    <a:pt x="174518" y="7242"/>
                    <a:pt x="153398" y="7242"/>
                  </a:cubicBezTo>
                  <a:cubicBezTo>
                    <a:pt x="132277" y="7242"/>
                    <a:pt x="132277" y="7242"/>
                    <a:pt x="111278" y="7242"/>
                  </a:cubicBezTo>
                  <a:cubicBezTo>
                    <a:pt x="90279" y="7242"/>
                    <a:pt x="87682" y="-5477"/>
                    <a:pt x="68289" y="2797"/>
                  </a:cubicBezTo>
                  <a:cubicBezTo>
                    <a:pt x="47905" y="11566"/>
                    <a:pt x="52725" y="19840"/>
                    <a:pt x="37040" y="35531"/>
                  </a:cubicBezTo>
                  <a:cubicBezTo>
                    <a:pt x="21349" y="51216"/>
                    <a:pt x="16904" y="48003"/>
                    <a:pt x="8383" y="68513"/>
                  </a:cubicBezTo>
                  <a:cubicBezTo>
                    <a:pt x="-146" y="89017"/>
                    <a:pt x="6401" y="90249"/>
                    <a:pt x="6281" y="112734"/>
                  </a:cubicBezTo>
                  <a:cubicBezTo>
                    <a:pt x="6160" y="135214"/>
                    <a:pt x="8383" y="135334"/>
                    <a:pt x="8255" y="157820"/>
                  </a:cubicBezTo>
                  <a:cubicBezTo>
                    <a:pt x="8135" y="180298"/>
                    <a:pt x="6649" y="180426"/>
                    <a:pt x="6528" y="203025"/>
                  </a:cubicBezTo>
                  <a:cubicBezTo>
                    <a:pt x="6401" y="225631"/>
                    <a:pt x="-8420" y="230203"/>
                    <a:pt x="7024" y="246631"/>
                  </a:cubicBezTo>
                  <a:cubicBezTo>
                    <a:pt x="22460" y="263058"/>
                    <a:pt x="26912" y="246758"/>
                    <a:pt x="48400" y="246758"/>
                  </a:cubicBezTo>
                  <a:cubicBezTo>
                    <a:pt x="69895" y="246758"/>
                    <a:pt x="69895" y="247621"/>
                    <a:pt x="91390" y="247621"/>
                  </a:cubicBezTo>
                  <a:cubicBezTo>
                    <a:pt x="112885" y="247621"/>
                    <a:pt x="112885" y="250339"/>
                    <a:pt x="134373" y="250339"/>
                  </a:cubicBezTo>
                  <a:cubicBezTo>
                    <a:pt x="153645" y="250339"/>
                    <a:pt x="153645" y="247621"/>
                    <a:pt x="172911" y="247621"/>
                  </a:cubicBezTo>
                  <a:cubicBezTo>
                    <a:pt x="192183" y="247621"/>
                    <a:pt x="192183" y="248237"/>
                    <a:pt x="211455" y="248237"/>
                  </a:cubicBezTo>
                  <a:cubicBezTo>
                    <a:pt x="230722" y="248237"/>
                    <a:pt x="230722" y="247247"/>
                    <a:pt x="249994" y="247247"/>
                  </a:cubicBezTo>
                  <a:cubicBezTo>
                    <a:pt x="269260" y="247247"/>
                    <a:pt x="269260" y="249348"/>
                    <a:pt x="288532" y="249348"/>
                  </a:cubicBezTo>
                  <a:cubicBezTo>
                    <a:pt x="307804" y="249348"/>
                    <a:pt x="307804" y="248237"/>
                    <a:pt x="327070" y="248237"/>
                  </a:cubicBezTo>
                  <a:cubicBezTo>
                    <a:pt x="346342" y="248237"/>
                    <a:pt x="346342" y="249348"/>
                    <a:pt x="365608" y="249348"/>
                  </a:cubicBezTo>
                  <a:cubicBezTo>
                    <a:pt x="384881" y="249348"/>
                    <a:pt x="384881" y="245399"/>
                    <a:pt x="404153" y="245399"/>
                  </a:cubicBezTo>
                  <a:cubicBezTo>
                    <a:pt x="423418" y="245399"/>
                    <a:pt x="423418" y="248237"/>
                    <a:pt x="442811" y="248237"/>
                  </a:cubicBezTo>
                  <a:cubicBezTo>
                    <a:pt x="462205" y="248237"/>
                    <a:pt x="462084" y="249101"/>
                    <a:pt x="481477" y="249101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8" name="Freeform: Shape 48">
              <a:extLst>
                <a:ext uri="{FF2B5EF4-FFF2-40B4-BE49-F238E27FC236}">
                  <a16:creationId xmlns:a16="http://schemas.microsoft.com/office/drawing/2014/main" id="{2B465FF0-DD48-BDA1-5653-0C8C78BBAAB3}"/>
                </a:ext>
              </a:extLst>
            </p:cNvPr>
            <p:cNvSpPr/>
            <p:nvPr/>
          </p:nvSpPr>
          <p:spPr>
            <a:xfrm>
              <a:off x="5317344" y="5483523"/>
              <a:ext cx="459504" cy="5803"/>
            </a:xfrm>
            <a:custGeom>
              <a:avLst/>
              <a:gdLst>
                <a:gd name="connsiteX0" fmla="*/ 459505 w 459504"/>
                <a:gd name="connsiteY0" fmla="*/ 3334 h 5803"/>
                <a:gd name="connsiteX1" fmla="*/ 417754 w 459504"/>
                <a:gd name="connsiteY1" fmla="*/ 1486 h 5803"/>
                <a:gd name="connsiteX2" fmla="*/ 376003 w 459504"/>
                <a:gd name="connsiteY2" fmla="*/ 2965 h 5803"/>
                <a:gd name="connsiteX3" fmla="*/ 334258 w 459504"/>
                <a:gd name="connsiteY3" fmla="*/ 1111 h 5803"/>
                <a:gd name="connsiteX4" fmla="*/ 292506 w 459504"/>
                <a:gd name="connsiteY4" fmla="*/ 5804 h 5803"/>
                <a:gd name="connsiteX5" fmla="*/ 250755 w 459504"/>
                <a:gd name="connsiteY5" fmla="*/ 5067 h 5803"/>
                <a:gd name="connsiteX6" fmla="*/ 209004 w 459504"/>
                <a:gd name="connsiteY6" fmla="*/ 4820 h 5803"/>
                <a:gd name="connsiteX7" fmla="*/ 167253 w 459504"/>
                <a:gd name="connsiteY7" fmla="*/ 5436 h 5803"/>
                <a:gd name="connsiteX8" fmla="*/ 125501 w 459504"/>
                <a:gd name="connsiteY8" fmla="*/ 0 h 5803"/>
                <a:gd name="connsiteX9" fmla="*/ 83750 w 459504"/>
                <a:gd name="connsiteY9" fmla="*/ 3708 h 5803"/>
                <a:gd name="connsiteX10" fmla="*/ 41872 w 459504"/>
                <a:gd name="connsiteY10" fmla="*/ 5436 h 5803"/>
                <a:gd name="connsiteX11" fmla="*/ 0 w 459504"/>
                <a:gd name="connsiteY11" fmla="*/ 991 h 5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59504" h="5803">
                  <a:moveTo>
                    <a:pt x="459505" y="3334"/>
                  </a:moveTo>
                  <a:cubicBezTo>
                    <a:pt x="438633" y="3334"/>
                    <a:pt x="438633" y="1486"/>
                    <a:pt x="417754" y="1486"/>
                  </a:cubicBezTo>
                  <a:cubicBezTo>
                    <a:pt x="396881" y="1486"/>
                    <a:pt x="396881" y="2965"/>
                    <a:pt x="376003" y="2965"/>
                  </a:cubicBezTo>
                  <a:cubicBezTo>
                    <a:pt x="355130" y="2965"/>
                    <a:pt x="355130" y="1111"/>
                    <a:pt x="334258" y="1111"/>
                  </a:cubicBezTo>
                  <a:cubicBezTo>
                    <a:pt x="313379" y="1111"/>
                    <a:pt x="313379" y="5804"/>
                    <a:pt x="292506" y="5804"/>
                  </a:cubicBezTo>
                  <a:cubicBezTo>
                    <a:pt x="271628" y="5804"/>
                    <a:pt x="271628" y="5067"/>
                    <a:pt x="250755" y="5067"/>
                  </a:cubicBezTo>
                  <a:cubicBezTo>
                    <a:pt x="229876" y="5067"/>
                    <a:pt x="229876" y="4820"/>
                    <a:pt x="209004" y="4820"/>
                  </a:cubicBezTo>
                  <a:cubicBezTo>
                    <a:pt x="188125" y="4820"/>
                    <a:pt x="188125" y="5436"/>
                    <a:pt x="167253" y="5436"/>
                  </a:cubicBezTo>
                  <a:cubicBezTo>
                    <a:pt x="146374" y="5436"/>
                    <a:pt x="146374" y="0"/>
                    <a:pt x="125501" y="0"/>
                  </a:cubicBezTo>
                  <a:cubicBezTo>
                    <a:pt x="104623" y="0"/>
                    <a:pt x="104623" y="3708"/>
                    <a:pt x="83750" y="3708"/>
                  </a:cubicBezTo>
                  <a:cubicBezTo>
                    <a:pt x="62871" y="3708"/>
                    <a:pt x="62871" y="5436"/>
                    <a:pt x="41872" y="5436"/>
                  </a:cubicBezTo>
                  <a:cubicBezTo>
                    <a:pt x="20872" y="5436"/>
                    <a:pt x="20999" y="991"/>
                    <a:pt x="0" y="991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89" name="Freeform: Shape 49">
              <a:extLst>
                <a:ext uri="{FF2B5EF4-FFF2-40B4-BE49-F238E27FC236}">
                  <a16:creationId xmlns:a16="http://schemas.microsoft.com/office/drawing/2014/main" id="{D6A7BB40-C910-23A7-5F84-56173A470519}"/>
                </a:ext>
              </a:extLst>
            </p:cNvPr>
            <p:cNvSpPr/>
            <p:nvPr/>
          </p:nvSpPr>
          <p:spPr>
            <a:xfrm>
              <a:off x="6334434" y="4635905"/>
              <a:ext cx="113735" cy="104623"/>
            </a:xfrm>
            <a:custGeom>
              <a:avLst/>
              <a:gdLst>
                <a:gd name="connsiteX0" fmla="*/ 81161 w 113735"/>
                <a:gd name="connsiteY0" fmla="*/ 104623 h 104623"/>
                <a:gd name="connsiteX1" fmla="*/ 113038 w 113735"/>
                <a:gd name="connsiteY1" fmla="*/ 67444 h 104623"/>
                <a:gd name="connsiteX2" fmla="*/ 100275 w 113735"/>
                <a:gd name="connsiteY2" fmla="*/ 26804 h 104623"/>
                <a:gd name="connsiteX3" fmla="*/ 68080 w 113735"/>
                <a:gd name="connsiteY3" fmla="*/ 1480 h 104623"/>
                <a:gd name="connsiteX4" fmla="*/ 26043 w 113735"/>
                <a:gd name="connsiteY4" fmla="*/ 7779 h 104623"/>
                <a:gd name="connsiteX5" fmla="*/ 980 w 113735"/>
                <a:gd name="connsiteY5" fmla="*/ 42984 h 104623"/>
                <a:gd name="connsiteX6" fmla="*/ 14569 w 113735"/>
                <a:gd name="connsiteY6" fmla="*/ 88691 h 104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3735" h="104623">
                  <a:moveTo>
                    <a:pt x="81161" y="104623"/>
                  </a:moveTo>
                  <a:cubicBezTo>
                    <a:pt x="95449" y="97460"/>
                    <a:pt x="109292" y="84367"/>
                    <a:pt x="113038" y="67444"/>
                  </a:cubicBezTo>
                  <a:cubicBezTo>
                    <a:pt x="116213" y="52617"/>
                    <a:pt x="107958" y="38659"/>
                    <a:pt x="100275" y="26804"/>
                  </a:cubicBezTo>
                  <a:cubicBezTo>
                    <a:pt x="92655" y="14942"/>
                    <a:pt x="82875" y="4693"/>
                    <a:pt x="68080" y="1480"/>
                  </a:cubicBezTo>
                  <a:cubicBezTo>
                    <a:pt x="53221" y="-1733"/>
                    <a:pt x="37918" y="249"/>
                    <a:pt x="26043" y="7779"/>
                  </a:cubicBezTo>
                  <a:cubicBezTo>
                    <a:pt x="14200" y="15317"/>
                    <a:pt x="4193" y="28036"/>
                    <a:pt x="980" y="42984"/>
                  </a:cubicBezTo>
                  <a:cubicBezTo>
                    <a:pt x="-2723" y="59907"/>
                    <a:pt x="4561" y="76087"/>
                    <a:pt x="14569" y="88691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0" name="Freeform: Shape 50">
              <a:extLst>
                <a:ext uri="{FF2B5EF4-FFF2-40B4-BE49-F238E27FC236}">
                  <a16:creationId xmlns:a16="http://schemas.microsoft.com/office/drawing/2014/main" id="{A04A5306-1BAE-C3BD-3605-84BE60510F9F}"/>
                </a:ext>
              </a:extLst>
            </p:cNvPr>
            <p:cNvSpPr/>
            <p:nvPr/>
          </p:nvSpPr>
          <p:spPr>
            <a:xfrm>
              <a:off x="6410089" y="4303255"/>
              <a:ext cx="108603" cy="102750"/>
            </a:xfrm>
            <a:custGeom>
              <a:avLst/>
              <a:gdLst>
                <a:gd name="connsiteX0" fmla="*/ 31414 w 108603"/>
                <a:gd name="connsiteY0" fmla="*/ 0 h 102750"/>
                <a:gd name="connsiteX1" fmla="*/ 1315 w 108603"/>
                <a:gd name="connsiteY1" fmla="*/ 35325 h 102750"/>
                <a:gd name="connsiteX2" fmla="*/ 8618 w 108603"/>
                <a:gd name="connsiteY2" fmla="*/ 76829 h 102750"/>
                <a:gd name="connsiteX3" fmla="*/ 43035 w 108603"/>
                <a:gd name="connsiteY3" fmla="*/ 101657 h 102750"/>
                <a:gd name="connsiteX4" fmla="*/ 84183 w 108603"/>
                <a:gd name="connsiteY4" fmla="*/ 92767 h 102750"/>
                <a:gd name="connsiteX5" fmla="*/ 106789 w 108603"/>
                <a:gd name="connsiteY5" fmla="*/ 58427 h 102750"/>
                <a:gd name="connsiteX6" fmla="*/ 98915 w 108603"/>
                <a:gd name="connsiteY6" fmla="*/ 11855 h 102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603" h="102750">
                  <a:moveTo>
                    <a:pt x="31414" y="0"/>
                  </a:moveTo>
                  <a:cubicBezTo>
                    <a:pt x="17127" y="7163"/>
                    <a:pt x="4998" y="18402"/>
                    <a:pt x="1315" y="35325"/>
                  </a:cubicBezTo>
                  <a:cubicBezTo>
                    <a:pt x="-1923" y="50152"/>
                    <a:pt x="934" y="64973"/>
                    <a:pt x="8618" y="76829"/>
                  </a:cubicBezTo>
                  <a:cubicBezTo>
                    <a:pt x="16238" y="88691"/>
                    <a:pt x="28239" y="98323"/>
                    <a:pt x="43035" y="101657"/>
                  </a:cubicBezTo>
                  <a:cubicBezTo>
                    <a:pt x="57894" y="104997"/>
                    <a:pt x="72308" y="100299"/>
                    <a:pt x="84183" y="92767"/>
                  </a:cubicBezTo>
                  <a:cubicBezTo>
                    <a:pt x="96057" y="85230"/>
                    <a:pt x="103550" y="73247"/>
                    <a:pt x="106789" y="58427"/>
                  </a:cubicBezTo>
                  <a:cubicBezTo>
                    <a:pt x="110472" y="41504"/>
                    <a:pt x="108884" y="24333"/>
                    <a:pt x="98915" y="11855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1" name="Freeform: Shape 51">
              <a:extLst>
                <a:ext uri="{FF2B5EF4-FFF2-40B4-BE49-F238E27FC236}">
                  <a16:creationId xmlns:a16="http://schemas.microsoft.com/office/drawing/2014/main" id="{A7783BE3-744C-11EE-F09E-D82EDBD230CE}"/>
                </a:ext>
              </a:extLst>
            </p:cNvPr>
            <p:cNvSpPr/>
            <p:nvPr/>
          </p:nvSpPr>
          <p:spPr>
            <a:xfrm>
              <a:off x="6422135" y="4411707"/>
              <a:ext cx="50419" cy="227901"/>
            </a:xfrm>
            <a:custGeom>
              <a:avLst/>
              <a:gdLst>
                <a:gd name="connsiteX0" fmla="*/ 50419 w 50419"/>
                <a:gd name="connsiteY0" fmla="*/ 0 h 227901"/>
                <a:gd name="connsiteX1" fmla="*/ 41275 w 50419"/>
                <a:gd name="connsiteY1" fmla="*/ 37802 h 227901"/>
                <a:gd name="connsiteX2" fmla="*/ 32258 w 50419"/>
                <a:gd name="connsiteY2" fmla="*/ 75597 h 227901"/>
                <a:gd name="connsiteX3" fmla="*/ 26797 w 50419"/>
                <a:gd name="connsiteY3" fmla="*/ 114262 h 227901"/>
                <a:gd name="connsiteX4" fmla="*/ 17526 w 50419"/>
                <a:gd name="connsiteY4" fmla="*/ 152057 h 227901"/>
                <a:gd name="connsiteX5" fmla="*/ 8128 w 50419"/>
                <a:gd name="connsiteY5" fmla="*/ 189859 h 227901"/>
                <a:gd name="connsiteX6" fmla="*/ 0 w 50419"/>
                <a:gd name="connsiteY6" fmla="*/ 227901 h 2279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419" h="227901">
                  <a:moveTo>
                    <a:pt x="50419" y="0"/>
                  </a:moveTo>
                  <a:cubicBezTo>
                    <a:pt x="46292" y="19024"/>
                    <a:pt x="45339" y="18777"/>
                    <a:pt x="41275" y="37802"/>
                  </a:cubicBezTo>
                  <a:cubicBezTo>
                    <a:pt x="37148" y="56820"/>
                    <a:pt x="36322" y="56578"/>
                    <a:pt x="32258" y="75597"/>
                  </a:cubicBezTo>
                  <a:cubicBezTo>
                    <a:pt x="28130" y="94621"/>
                    <a:pt x="30988" y="95237"/>
                    <a:pt x="26797" y="114262"/>
                  </a:cubicBezTo>
                  <a:cubicBezTo>
                    <a:pt x="22606" y="133286"/>
                    <a:pt x="21590" y="133039"/>
                    <a:pt x="17526" y="152057"/>
                  </a:cubicBezTo>
                  <a:cubicBezTo>
                    <a:pt x="13462" y="171081"/>
                    <a:pt x="12255" y="170834"/>
                    <a:pt x="8128" y="189859"/>
                  </a:cubicBezTo>
                  <a:cubicBezTo>
                    <a:pt x="4064" y="208883"/>
                    <a:pt x="4191" y="208883"/>
                    <a:pt x="0" y="227901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2" name="Freeform: Shape 52">
              <a:extLst>
                <a:ext uri="{FF2B5EF4-FFF2-40B4-BE49-F238E27FC236}">
                  <a16:creationId xmlns:a16="http://schemas.microsoft.com/office/drawing/2014/main" id="{AEAE0241-1017-7B8D-41C8-8AE10E786019}"/>
                </a:ext>
              </a:extLst>
            </p:cNvPr>
            <p:cNvSpPr/>
            <p:nvPr/>
          </p:nvSpPr>
          <p:spPr>
            <a:xfrm>
              <a:off x="6411658" y="4402569"/>
              <a:ext cx="18478" cy="94494"/>
            </a:xfrm>
            <a:custGeom>
              <a:avLst/>
              <a:gdLst>
                <a:gd name="connsiteX0" fmla="*/ 0 w 18478"/>
                <a:gd name="connsiteY0" fmla="*/ 94494 h 94494"/>
                <a:gd name="connsiteX1" fmla="*/ 7747 w 18478"/>
                <a:gd name="connsiteY1" fmla="*/ 46939 h 94494"/>
                <a:gd name="connsiteX2" fmla="*/ 18478 w 18478"/>
                <a:gd name="connsiteY2" fmla="*/ 0 h 94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78" h="94494">
                  <a:moveTo>
                    <a:pt x="0" y="94494"/>
                  </a:moveTo>
                  <a:cubicBezTo>
                    <a:pt x="5143" y="70904"/>
                    <a:pt x="2667" y="70409"/>
                    <a:pt x="7747" y="46939"/>
                  </a:cubicBezTo>
                  <a:cubicBezTo>
                    <a:pt x="12827" y="23469"/>
                    <a:pt x="13335" y="23469"/>
                    <a:pt x="18478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3" name="Freeform: Shape 53">
              <a:extLst>
                <a:ext uri="{FF2B5EF4-FFF2-40B4-BE49-F238E27FC236}">
                  <a16:creationId xmlns:a16="http://schemas.microsoft.com/office/drawing/2014/main" id="{5EF2E397-35CB-7299-9035-83DEE127533A}"/>
                </a:ext>
              </a:extLst>
            </p:cNvPr>
            <p:cNvSpPr/>
            <p:nvPr/>
          </p:nvSpPr>
          <p:spPr>
            <a:xfrm>
              <a:off x="6381877" y="4597488"/>
              <a:ext cx="9397" cy="33477"/>
            </a:xfrm>
            <a:custGeom>
              <a:avLst/>
              <a:gdLst>
                <a:gd name="connsiteX0" fmla="*/ 0 w 9397"/>
                <a:gd name="connsiteY0" fmla="*/ 33477 h 33477"/>
                <a:gd name="connsiteX1" fmla="*/ 9398 w 9397"/>
                <a:gd name="connsiteY1" fmla="*/ 0 h 334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9397" h="33477">
                  <a:moveTo>
                    <a:pt x="0" y="33477"/>
                  </a:moveTo>
                  <a:cubicBezTo>
                    <a:pt x="3683" y="16554"/>
                    <a:pt x="5651" y="16923"/>
                    <a:pt x="9398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4" name="Freeform: Shape 54">
              <a:extLst>
                <a:ext uri="{FF2B5EF4-FFF2-40B4-BE49-F238E27FC236}">
                  <a16:creationId xmlns:a16="http://schemas.microsoft.com/office/drawing/2014/main" id="{E3D63368-A600-5895-FC75-2AED3AD89C70}"/>
                </a:ext>
              </a:extLst>
            </p:cNvPr>
            <p:cNvSpPr/>
            <p:nvPr/>
          </p:nvSpPr>
          <p:spPr>
            <a:xfrm>
              <a:off x="5719279" y="5349868"/>
              <a:ext cx="285464" cy="689539"/>
            </a:xfrm>
            <a:custGeom>
              <a:avLst/>
              <a:gdLst>
                <a:gd name="connsiteX0" fmla="*/ 285464 w 285464"/>
                <a:gd name="connsiteY0" fmla="*/ 0 h 689539"/>
                <a:gd name="connsiteX1" fmla="*/ 281756 w 285464"/>
                <a:gd name="connsiteY1" fmla="*/ 40024 h 689539"/>
                <a:gd name="connsiteX2" fmla="*/ 283362 w 285464"/>
                <a:gd name="connsiteY2" fmla="*/ 80537 h 689539"/>
                <a:gd name="connsiteX3" fmla="*/ 276695 w 285464"/>
                <a:gd name="connsiteY3" fmla="*/ 120434 h 689539"/>
                <a:gd name="connsiteX4" fmla="*/ 272123 w 285464"/>
                <a:gd name="connsiteY4" fmla="*/ 160458 h 689539"/>
                <a:gd name="connsiteX5" fmla="*/ 274098 w 285464"/>
                <a:gd name="connsiteY5" fmla="*/ 200977 h 689539"/>
                <a:gd name="connsiteX6" fmla="*/ 265328 w 285464"/>
                <a:gd name="connsiteY6" fmla="*/ 240627 h 689539"/>
                <a:gd name="connsiteX7" fmla="*/ 266687 w 285464"/>
                <a:gd name="connsiteY7" fmla="*/ 281140 h 689539"/>
                <a:gd name="connsiteX8" fmla="*/ 261499 w 285464"/>
                <a:gd name="connsiteY8" fmla="*/ 321164 h 689539"/>
                <a:gd name="connsiteX9" fmla="*/ 257918 w 285464"/>
                <a:gd name="connsiteY9" fmla="*/ 361309 h 689539"/>
                <a:gd name="connsiteX10" fmla="*/ 255448 w 285464"/>
                <a:gd name="connsiteY10" fmla="*/ 401574 h 689539"/>
                <a:gd name="connsiteX11" fmla="*/ 251866 w 285464"/>
                <a:gd name="connsiteY11" fmla="*/ 441725 h 689539"/>
                <a:gd name="connsiteX12" fmla="*/ 249765 w 285464"/>
                <a:gd name="connsiteY12" fmla="*/ 481869 h 689539"/>
                <a:gd name="connsiteX13" fmla="*/ 243218 w 285464"/>
                <a:gd name="connsiteY13" fmla="*/ 521767 h 689539"/>
                <a:gd name="connsiteX14" fmla="*/ 240621 w 285464"/>
                <a:gd name="connsiteY14" fmla="*/ 561911 h 689539"/>
                <a:gd name="connsiteX15" fmla="*/ 238773 w 285464"/>
                <a:gd name="connsiteY15" fmla="*/ 602177 h 689539"/>
                <a:gd name="connsiteX16" fmla="*/ 236544 w 285464"/>
                <a:gd name="connsiteY16" fmla="*/ 642448 h 689539"/>
                <a:gd name="connsiteX17" fmla="*/ 231730 w 285464"/>
                <a:gd name="connsiteY17" fmla="*/ 680866 h 689539"/>
                <a:gd name="connsiteX18" fmla="*/ 186398 w 285464"/>
                <a:gd name="connsiteY18" fmla="*/ 682098 h 689539"/>
                <a:gd name="connsiteX19" fmla="*/ 139459 w 285464"/>
                <a:gd name="connsiteY19" fmla="*/ 684695 h 689539"/>
                <a:gd name="connsiteX20" fmla="*/ 92024 w 285464"/>
                <a:gd name="connsiteY20" fmla="*/ 683584 h 689539"/>
                <a:gd name="connsiteX21" fmla="*/ 78315 w 285464"/>
                <a:gd name="connsiteY21" fmla="*/ 644303 h 689539"/>
                <a:gd name="connsiteX22" fmla="*/ 68059 w 285464"/>
                <a:gd name="connsiteY22" fmla="*/ 604647 h 689539"/>
                <a:gd name="connsiteX23" fmla="*/ 55092 w 285464"/>
                <a:gd name="connsiteY23" fmla="*/ 565861 h 689539"/>
                <a:gd name="connsiteX24" fmla="*/ 40887 w 285464"/>
                <a:gd name="connsiteY24" fmla="*/ 527450 h 689539"/>
                <a:gd name="connsiteX25" fmla="*/ 27299 w 285464"/>
                <a:gd name="connsiteY25" fmla="*/ 488785 h 689539"/>
                <a:gd name="connsiteX26" fmla="*/ 16548 w 285464"/>
                <a:gd name="connsiteY26" fmla="*/ 449135 h 689539"/>
                <a:gd name="connsiteX27" fmla="*/ 0 w 285464"/>
                <a:gd name="connsiteY27" fmla="*/ 411334 h 689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285464" h="689539">
                  <a:moveTo>
                    <a:pt x="285464" y="0"/>
                  </a:moveTo>
                  <a:cubicBezTo>
                    <a:pt x="283857" y="20015"/>
                    <a:pt x="283362" y="20015"/>
                    <a:pt x="281756" y="40024"/>
                  </a:cubicBezTo>
                  <a:cubicBezTo>
                    <a:pt x="280149" y="60033"/>
                    <a:pt x="284969" y="60408"/>
                    <a:pt x="283362" y="80537"/>
                  </a:cubicBezTo>
                  <a:cubicBezTo>
                    <a:pt x="281756" y="100673"/>
                    <a:pt x="278295" y="100304"/>
                    <a:pt x="276695" y="120434"/>
                  </a:cubicBezTo>
                  <a:cubicBezTo>
                    <a:pt x="275088" y="140570"/>
                    <a:pt x="273602" y="140322"/>
                    <a:pt x="272123" y="160458"/>
                  </a:cubicBezTo>
                  <a:cubicBezTo>
                    <a:pt x="270637" y="180594"/>
                    <a:pt x="275704" y="180962"/>
                    <a:pt x="274098" y="200977"/>
                  </a:cubicBezTo>
                  <a:cubicBezTo>
                    <a:pt x="272491" y="220986"/>
                    <a:pt x="266808" y="220618"/>
                    <a:pt x="265328" y="240627"/>
                  </a:cubicBezTo>
                  <a:cubicBezTo>
                    <a:pt x="263842" y="260636"/>
                    <a:pt x="268294" y="261004"/>
                    <a:pt x="266687" y="281140"/>
                  </a:cubicBezTo>
                  <a:cubicBezTo>
                    <a:pt x="265081" y="301275"/>
                    <a:pt x="263106" y="301028"/>
                    <a:pt x="261499" y="321164"/>
                  </a:cubicBezTo>
                  <a:cubicBezTo>
                    <a:pt x="259893" y="341300"/>
                    <a:pt x="259524" y="341173"/>
                    <a:pt x="257918" y="361309"/>
                  </a:cubicBezTo>
                  <a:cubicBezTo>
                    <a:pt x="256311" y="381444"/>
                    <a:pt x="257054" y="381444"/>
                    <a:pt x="255448" y="401574"/>
                  </a:cubicBezTo>
                  <a:cubicBezTo>
                    <a:pt x="253841" y="421710"/>
                    <a:pt x="253467" y="421589"/>
                    <a:pt x="251866" y="441725"/>
                  </a:cubicBezTo>
                  <a:cubicBezTo>
                    <a:pt x="250260" y="461854"/>
                    <a:pt x="251371" y="461854"/>
                    <a:pt x="249765" y="481869"/>
                  </a:cubicBezTo>
                  <a:cubicBezTo>
                    <a:pt x="248158" y="501878"/>
                    <a:pt x="244824" y="501631"/>
                    <a:pt x="243218" y="521767"/>
                  </a:cubicBezTo>
                  <a:cubicBezTo>
                    <a:pt x="241611" y="541903"/>
                    <a:pt x="242107" y="541903"/>
                    <a:pt x="240621" y="561911"/>
                  </a:cubicBezTo>
                  <a:cubicBezTo>
                    <a:pt x="239141" y="581920"/>
                    <a:pt x="240373" y="582047"/>
                    <a:pt x="238773" y="602177"/>
                  </a:cubicBezTo>
                  <a:cubicBezTo>
                    <a:pt x="237166" y="622312"/>
                    <a:pt x="238150" y="622440"/>
                    <a:pt x="236544" y="642448"/>
                  </a:cubicBezTo>
                  <a:cubicBezTo>
                    <a:pt x="234943" y="662457"/>
                    <a:pt x="247415" y="668141"/>
                    <a:pt x="231730" y="680866"/>
                  </a:cubicBezTo>
                  <a:cubicBezTo>
                    <a:pt x="213449" y="695566"/>
                    <a:pt x="209740" y="682098"/>
                    <a:pt x="186398" y="682098"/>
                  </a:cubicBezTo>
                  <a:cubicBezTo>
                    <a:pt x="163049" y="682098"/>
                    <a:pt x="162928" y="684695"/>
                    <a:pt x="139459" y="684695"/>
                  </a:cubicBezTo>
                  <a:cubicBezTo>
                    <a:pt x="115989" y="684695"/>
                    <a:pt x="111665" y="696303"/>
                    <a:pt x="92024" y="683584"/>
                  </a:cubicBezTo>
                  <a:cubicBezTo>
                    <a:pt x="74854" y="672465"/>
                    <a:pt x="84861" y="663816"/>
                    <a:pt x="78315" y="644303"/>
                  </a:cubicBezTo>
                  <a:cubicBezTo>
                    <a:pt x="71768" y="624783"/>
                    <a:pt x="74485" y="624046"/>
                    <a:pt x="68059" y="604647"/>
                  </a:cubicBezTo>
                  <a:cubicBezTo>
                    <a:pt x="61639" y="585254"/>
                    <a:pt x="61513" y="585254"/>
                    <a:pt x="55092" y="565861"/>
                  </a:cubicBezTo>
                  <a:cubicBezTo>
                    <a:pt x="48666" y="546468"/>
                    <a:pt x="47308" y="546843"/>
                    <a:pt x="40887" y="527450"/>
                  </a:cubicBezTo>
                  <a:cubicBezTo>
                    <a:pt x="34461" y="508057"/>
                    <a:pt x="33718" y="508298"/>
                    <a:pt x="27299" y="488785"/>
                  </a:cubicBezTo>
                  <a:cubicBezTo>
                    <a:pt x="20872" y="469265"/>
                    <a:pt x="23095" y="468528"/>
                    <a:pt x="16548" y="449135"/>
                  </a:cubicBezTo>
                  <a:cubicBezTo>
                    <a:pt x="10001" y="429742"/>
                    <a:pt x="6547" y="430854"/>
                    <a:pt x="0" y="411334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5" name="Freeform: Shape 55">
              <a:extLst>
                <a:ext uri="{FF2B5EF4-FFF2-40B4-BE49-F238E27FC236}">
                  <a16:creationId xmlns:a16="http://schemas.microsoft.com/office/drawing/2014/main" id="{AD674243-309A-F9E2-5F5C-F94BA31EC5D0}"/>
                </a:ext>
              </a:extLst>
            </p:cNvPr>
            <p:cNvSpPr/>
            <p:nvPr/>
          </p:nvSpPr>
          <p:spPr>
            <a:xfrm>
              <a:off x="5855893" y="5715253"/>
              <a:ext cx="16300" cy="313747"/>
            </a:xfrm>
            <a:custGeom>
              <a:avLst/>
              <a:gdLst>
                <a:gd name="connsiteX0" fmla="*/ 16301 w 16300"/>
                <a:gd name="connsiteY0" fmla="*/ 313747 h 313747"/>
                <a:gd name="connsiteX1" fmla="*/ 15805 w 16300"/>
                <a:gd name="connsiteY1" fmla="*/ 274472 h 313747"/>
                <a:gd name="connsiteX2" fmla="*/ 15437 w 16300"/>
                <a:gd name="connsiteY2" fmla="*/ 235191 h 313747"/>
                <a:gd name="connsiteX3" fmla="*/ 13831 w 16300"/>
                <a:gd name="connsiteY3" fmla="*/ 196031 h 313747"/>
                <a:gd name="connsiteX4" fmla="*/ 8522 w 16300"/>
                <a:gd name="connsiteY4" fmla="*/ 156997 h 313747"/>
                <a:gd name="connsiteX5" fmla="*/ 10249 w 16300"/>
                <a:gd name="connsiteY5" fmla="*/ 117596 h 313747"/>
                <a:gd name="connsiteX6" fmla="*/ 4445 w 16300"/>
                <a:gd name="connsiteY6" fmla="*/ 78562 h 313747"/>
                <a:gd name="connsiteX7" fmla="*/ 5430 w 16300"/>
                <a:gd name="connsiteY7" fmla="*/ 39154 h 313747"/>
                <a:gd name="connsiteX8" fmla="*/ 0 w 16300"/>
                <a:gd name="connsiteY8" fmla="*/ 0 h 3137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300" h="313747">
                  <a:moveTo>
                    <a:pt x="16301" y="313747"/>
                  </a:moveTo>
                  <a:cubicBezTo>
                    <a:pt x="15437" y="294113"/>
                    <a:pt x="16796" y="294113"/>
                    <a:pt x="15805" y="274472"/>
                  </a:cubicBezTo>
                  <a:cubicBezTo>
                    <a:pt x="14821" y="254832"/>
                    <a:pt x="16301" y="254832"/>
                    <a:pt x="15437" y="235191"/>
                  </a:cubicBezTo>
                  <a:cubicBezTo>
                    <a:pt x="14573" y="215551"/>
                    <a:pt x="14694" y="215551"/>
                    <a:pt x="13831" y="196031"/>
                  </a:cubicBezTo>
                  <a:cubicBezTo>
                    <a:pt x="12967" y="176518"/>
                    <a:pt x="9385" y="176638"/>
                    <a:pt x="8522" y="156997"/>
                  </a:cubicBezTo>
                  <a:cubicBezTo>
                    <a:pt x="7658" y="137357"/>
                    <a:pt x="11113" y="137236"/>
                    <a:pt x="10249" y="117596"/>
                  </a:cubicBezTo>
                  <a:cubicBezTo>
                    <a:pt x="9385" y="97955"/>
                    <a:pt x="5430" y="98203"/>
                    <a:pt x="4445" y="78562"/>
                  </a:cubicBezTo>
                  <a:cubicBezTo>
                    <a:pt x="3454" y="58922"/>
                    <a:pt x="6420" y="58795"/>
                    <a:pt x="5430" y="39154"/>
                  </a:cubicBezTo>
                  <a:cubicBezTo>
                    <a:pt x="4445" y="19520"/>
                    <a:pt x="864" y="19641"/>
                    <a:pt x="0" y="0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6" name="Freeform: Shape 56">
              <a:extLst>
                <a:ext uri="{FF2B5EF4-FFF2-40B4-BE49-F238E27FC236}">
                  <a16:creationId xmlns:a16="http://schemas.microsoft.com/office/drawing/2014/main" id="{2DFBAAE1-4930-9F16-2D2D-DBD0F088ABDB}"/>
                </a:ext>
              </a:extLst>
            </p:cNvPr>
            <p:cNvSpPr/>
            <p:nvPr/>
          </p:nvSpPr>
          <p:spPr>
            <a:xfrm>
              <a:off x="5611327" y="6025205"/>
              <a:ext cx="272722" cy="150794"/>
            </a:xfrm>
            <a:custGeom>
              <a:avLst/>
              <a:gdLst>
                <a:gd name="connsiteX0" fmla="*/ 4562 w 272722"/>
                <a:gd name="connsiteY0" fmla="*/ 136340 h 150794"/>
                <a:gd name="connsiteX1" fmla="*/ 35810 w 272722"/>
                <a:gd name="connsiteY1" fmla="*/ 112743 h 150794"/>
                <a:gd name="connsiteX2" fmla="*/ 67433 w 272722"/>
                <a:gd name="connsiteY2" fmla="*/ 89648 h 150794"/>
                <a:gd name="connsiteX3" fmla="*/ 101399 w 272722"/>
                <a:gd name="connsiteY3" fmla="*/ 70255 h 150794"/>
                <a:gd name="connsiteX4" fmla="*/ 133149 w 272722"/>
                <a:gd name="connsiteY4" fmla="*/ 47401 h 150794"/>
                <a:gd name="connsiteX5" fmla="*/ 167731 w 272722"/>
                <a:gd name="connsiteY5" fmla="*/ 28872 h 150794"/>
                <a:gd name="connsiteX6" fmla="*/ 199850 w 272722"/>
                <a:gd name="connsiteY6" fmla="*/ 5777 h 150794"/>
                <a:gd name="connsiteX7" fmla="*/ 233695 w 272722"/>
                <a:gd name="connsiteY7" fmla="*/ 4907 h 150794"/>
                <a:gd name="connsiteX8" fmla="*/ 267172 w 272722"/>
                <a:gd name="connsiteY8" fmla="*/ 6514 h 150794"/>
                <a:gd name="connsiteX9" fmla="*/ 265813 w 272722"/>
                <a:gd name="connsiteY9" fmla="*/ 50240 h 150794"/>
                <a:gd name="connsiteX10" fmla="*/ 260003 w 272722"/>
                <a:gd name="connsiteY10" fmla="*/ 93109 h 150794"/>
                <a:gd name="connsiteX11" fmla="*/ 221097 w 272722"/>
                <a:gd name="connsiteY11" fmla="*/ 109161 h 150794"/>
                <a:gd name="connsiteX12" fmla="*/ 178602 w 272722"/>
                <a:gd name="connsiteY12" fmla="*/ 119169 h 150794"/>
                <a:gd name="connsiteX13" fmla="*/ 136356 w 272722"/>
                <a:gd name="connsiteY13" fmla="*/ 129545 h 150794"/>
                <a:gd name="connsiteX14" fmla="*/ 94363 w 272722"/>
                <a:gd name="connsiteY14" fmla="*/ 141896 h 150794"/>
                <a:gd name="connsiteX15" fmla="*/ 50631 w 272722"/>
                <a:gd name="connsiteY15" fmla="*/ 144118 h 150794"/>
                <a:gd name="connsiteX16" fmla="*/ 7400 w 272722"/>
                <a:gd name="connsiteY16" fmla="*/ 150792 h 150794"/>
                <a:gd name="connsiteX17" fmla="*/ 4435 w 272722"/>
                <a:gd name="connsiteY17" fmla="*/ 136092 h 150794"/>
                <a:gd name="connsiteX18" fmla="*/ 4562 w 272722"/>
                <a:gd name="connsiteY18" fmla="*/ 136340 h 1507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72722" h="150794">
                  <a:moveTo>
                    <a:pt x="4562" y="136340"/>
                  </a:moveTo>
                  <a:cubicBezTo>
                    <a:pt x="20989" y="125837"/>
                    <a:pt x="19383" y="123366"/>
                    <a:pt x="35810" y="112743"/>
                  </a:cubicBezTo>
                  <a:cubicBezTo>
                    <a:pt x="52238" y="102126"/>
                    <a:pt x="51006" y="100145"/>
                    <a:pt x="67433" y="89648"/>
                  </a:cubicBezTo>
                  <a:cubicBezTo>
                    <a:pt x="83860" y="79145"/>
                    <a:pt x="84972" y="80752"/>
                    <a:pt x="101399" y="70255"/>
                  </a:cubicBezTo>
                  <a:cubicBezTo>
                    <a:pt x="117833" y="59752"/>
                    <a:pt x="116715" y="58025"/>
                    <a:pt x="133149" y="47401"/>
                  </a:cubicBezTo>
                  <a:cubicBezTo>
                    <a:pt x="149577" y="36778"/>
                    <a:pt x="151304" y="39496"/>
                    <a:pt x="167731" y="28872"/>
                  </a:cubicBezTo>
                  <a:cubicBezTo>
                    <a:pt x="184165" y="18248"/>
                    <a:pt x="181199" y="11829"/>
                    <a:pt x="199850" y="5777"/>
                  </a:cubicBezTo>
                  <a:cubicBezTo>
                    <a:pt x="215782" y="589"/>
                    <a:pt x="217020" y="5034"/>
                    <a:pt x="233695" y="4907"/>
                  </a:cubicBezTo>
                  <a:cubicBezTo>
                    <a:pt x="250370" y="4786"/>
                    <a:pt x="257533" y="-7069"/>
                    <a:pt x="267172" y="6514"/>
                  </a:cubicBezTo>
                  <a:cubicBezTo>
                    <a:pt x="279771" y="24300"/>
                    <a:pt x="267172" y="28377"/>
                    <a:pt x="265813" y="50240"/>
                  </a:cubicBezTo>
                  <a:cubicBezTo>
                    <a:pt x="264455" y="72109"/>
                    <a:pt x="267661" y="72598"/>
                    <a:pt x="260003" y="93109"/>
                  </a:cubicBezTo>
                  <a:cubicBezTo>
                    <a:pt x="252345" y="113613"/>
                    <a:pt x="246294" y="101135"/>
                    <a:pt x="221097" y="109161"/>
                  </a:cubicBezTo>
                  <a:cubicBezTo>
                    <a:pt x="208987" y="112991"/>
                    <a:pt x="194166" y="114845"/>
                    <a:pt x="178602" y="119169"/>
                  </a:cubicBezTo>
                  <a:cubicBezTo>
                    <a:pt x="165388" y="122878"/>
                    <a:pt x="151056" y="126084"/>
                    <a:pt x="136356" y="129545"/>
                  </a:cubicBezTo>
                  <a:cubicBezTo>
                    <a:pt x="122526" y="132879"/>
                    <a:pt x="108810" y="139305"/>
                    <a:pt x="94363" y="141896"/>
                  </a:cubicBezTo>
                  <a:cubicBezTo>
                    <a:pt x="79911" y="144493"/>
                    <a:pt x="64836" y="142518"/>
                    <a:pt x="50631" y="144118"/>
                  </a:cubicBezTo>
                  <a:cubicBezTo>
                    <a:pt x="35562" y="145852"/>
                    <a:pt x="21237" y="150913"/>
                    <a:pt x="7400" y="150792"/>
                  </a:cubicBezTo>
                  <a:cubicBezTo>
                    <a:pt x="-1001" y="150792"/>
                    <a:pt x="-2608" y="140664"/>
                    <a:pt x="4435" y="136092"/>
                  </a:cubicBezTo>
                  <a:lnTo>
                    <a:pt x="4562" y="136340"/>
                  </a:lnTo>
                  <a:close/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7" name="Freeform: Shape 57">
              <a:extLst>
                <a:ext uri="{FF2B5EF4-FFF2-40B4-BE49-F238E27FC236}">
                  <a16:creationId xmlns:a16="http://schemas.microsoft.com/office/drawing/2014/main" id="{9FE506AC-0B2C-A95E-559C-5BE591214AD7}"/>
                </a:ext>
              </a:extLst>
            </p:cNvPr>
            <p:cNvSpPr/>
            <p:nvPr/>
          </p:nvSpPr>
          <p:spPr>
            <a:xfrm>
              <a:off x="5880023" y="6027608"/>
              <a:ext cx="258196" cy="122228"/>
            </a:xfrm>
            <a:custGeom>
              <a:avLst/>
              <a:gdLst>
                <a:gd name="connsiteX0" fmla="*/ 252698 w 258196"/>
                <a:gd name="connsiteY0" fmla="*/ 105279 h 122228"/>
                <a:gd name="connsiteX1" fmla="*/ 215894 w 258196"/>
                <a:gd name="connsiteY1" fmla="*/ 84159 h 122228"/>
                <a:gd name="connsiteX2" fmla="*/ 179083 w 258196"/>
                <a:gd name="connsiteY2" fmla="*/ 62912 h 122228"/>
                <a:gd name="connsiteX3" fmla="*/ 140049 w 258196"/>
                <a:gd name="connsiteY3" fmla="*/ 45868 h 122228"/>
                <a:gd name="connsiteX4" fmla="*/ 103854 w 258196"/>
                <a:gd name="connsiteY4" fmla="*/ 23262 h 122228"/>
                <a:gd name="connsiteX5" fmla="*/ 65195 w 258196"/>
                <a:gd name="connsiteY5" fmla="*/ 5844 h 122228"/>
                <a:gd name="connsiteX6" fmla="*/ 34684 w 258196"/>
                <a:gd name="connsiteY6" fmla="*/ 6340 h 122228"/>
                <a:gd name="connsiteX7" fmla="*/ 3429 w 258196"/>
                <a:gd name="connsiteY7" fmla="*/ 5717 h 122228"/>
                <a:gd name="connsiteX8" fmla="*/ 13068 w 258196"/>
                <a:gd name="connsiteY8" fmla="*/ 48212 h 122228"/>
                <a:gd name="connsiteX9" fmla="*/ 18008 w 258196"/>
                <a:gd name="connsiteY9" fmla="*/ 90579 h 122228"/>
                <a:gd name="connsiteX10" fmla="*/ 54197 w 258196"/>
                <a:gd name="connsiteY10" fmla="*/ 101577 h 122228"/>
                <a:gd name="connsiteX11" fmla="*/ 92983 w 258196"/>
                <a:gd name="connsiteY11" fmla="*/ 107254 h 122228"/>
                <a:gd name="connsiteX12" fmla="*/ 131648 w 258196"/>
                <a:gd name="connsiteY12" fmla="*/ 113928 h 122228"/>
                <a:gd name="connsiteX13" fmla="*/ 170929 w 258196"/>
                <a:gd name="connsiteY13" fmla="*/ 116271 h 122228"/>
                <a:gd name="connsiteX14" fmla="*/ 209836 w 258196"/>
                <a:gd name="connsiteY14" fmla="*/ 122081 h 122228"/>
                <a:gd name="connsiteX15" fmla="*/ 249244 w 258196"/>
                <a:gd name="connsiteY15" fmla="*/ 119732 h 122228"/>
                <a:gd name="connsiteX16" fmla="*/ 252825 w 258196"/>
                <a:gd name="connsiteY16" fmla="*/ 105279 h 122228"/>
                <a:gd name="connsiteX17" fmla="*/ 252698 w 258196"/>
                <a:gd name="connsiteY17" fmla="*/ 105279 h 122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58196" h="122228">
                  <a:moveTo>
                    <a:pt x="252698" y="105279"/>
                  </a:moveTo>
                  <a:cubicBezTo>
                    <a:pt x="233928" y="95398"/>
                    <a:pt x="234664" y="93919"/>
                    <a:pt x="215894" y="84159"/>
                  </a:cubicBezTo>
                  <a:cubicBezTo>
                    <a:pt x="197117" y="74399"/>
                    <a:pt x="197859" y="72792"/>
                    <a:pt x="179083" y="62912"/>
                  </a:cubicBezTo>
                  <a:cubicBezTo>
                    <a:pt x="160305" y="53031"/>
                    <a:pt x="158947" y="55622"/>
                    <a:pt x="140049" y="45868"/>
                  </a:cubicBezTo>
                  <a:cubicBezTo>
                    <a:pt x="121152" y="36108"/>
                    <a:pt x="122752" y="33016"/>
                    <a:pt x="103854" y="23262"/>
                  </a:cubicBezTo>
                  <a:cubicBezTo>
                    <a:pt x="84957" y="13502"/>
                    <a:pt x="85700" y="11527"/>
                    <a:pt x="65195" y="5844"/>
                  </a:cubicBezTo>
                  <a:cubicBezTo>
                    <a:pt x="50368" y="1767"/>
                    <a:pt x="50120" y="6092"/>
                    <a:pt x="34684" y="6340"/>
                  </a:cubicBezTo>
                  <a:cubicBezTo>
                    <a:pt x="19240" y="6587"/>
                    <a:pt x="11087" y="-7618"/>
                    <a:pt x="3429" y="5717"/>
                  </a:cubicBezTo>
                  <a:cubicBezTo>
                    <a:pt x="-7195" y="24494"/>
                    <a:pt x="9976" y="26843"/>
                    <a:pt x="13068" y="48212"/>
                  </a:cubicBezTo>
                  <a:cubicBezTo>
                    <a:pt x="16154" y="69579"/>
                    <a:pt x="8991" y="70938"/>
                    <a:pt x="18008" y="90579"/>
                  </a:cubicBezTo>
                  <a:cubicBezTo>
                    <a:pt x="26162" y="108371"/>
                    <a:pt x="30607" y="97126"/>
                    <a:pt x="54197" y="101577"/>
                  </a:cubicBezTo>
                  <a:cubicBezTo>
                    <a:pt x="65316" y="103673"/>
                    <a:pt x="78657" y="104910"/>
                    <a:pt x="92983" y="107254"/>
                  </a:cubicBezTo>
                  <a:cubicBezTo>
                    <a:pt x="105093" y="109235"/>
                    <a:pt x="118059" y="112074"/>
                    <a:pt x="131648" y="113928"/>
                  </a:cubicBezTo>
                  <a:cubicBezTo>
                    <a:pt x="144246" y="115655"/>
                    <a:pt x="157588" y="114912"/>
                    <a:pt x="170929" y="116271"/>
                  </a:cubicBezTo>
                  <a:cubicBezTo>
                    <a:pt x="184271" y="117630"/>
                    <a:pt x="196869" y="121217"/>
                    <a:pt x="209836" y="122081"/>
                  </a:cubicBezTo>
                  <a:cubicBezTo>
                    <a:pt x="222809" y="122945"/>
                    <a:pt x="236398" y="119732"/>
                    <a:pt x="249244" y="119732"/>
                  </a:cubicBezTo>
                  <a:cubicBezTo>
                    <a:pt x="259245" y="119732"/>
                    <a:pt x="261474" y="110219"/>
                    <a:pt x="252825" y="105279"/>
                  </a:cubicBezTo>
                  <a:lnTo>
                    <a:pt x="252698" y="105279"/>
                  </a:lnTo>
                  <a:close/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  <p:sp>
          <p:nvSpPr>
            <p:cNvPr id="98" name="Freeform: Shape 58">
              <a:extLst>
                <a:ext uri="{FF2B5EF4-FFF2-40B4-BE49-F238E27FC236}">
                  <a16:creationId xmlns:a16="http://schemas.microsoft.com/office/drawing/2014/main" id="{3EDF80C5-A426-8D79-5B56-9460B69D452D}"/>
                </a:ext>
              </a:extLst>
            </p:cNvPr>
            <p:cNvSpPr/>
            <p:nvPr/>
          </p:nvSpPr>
          <p:spPr>
            <a:xfrm>
              <a:off x="5551798" y="5305278"/>
              <a:ext cx="65220" cy="144773"/>
            </a:xfrm>
            <a:custGeom>
              <a:avLst/>
              <a:gdLst>
                <a:gd name="connsiteX0" fmla="*/ 0 w 65220"/>
                <a:gd name="connsiteY0" fmla="*/ 144774 h 144773"/>
                <a:gd name="connsiteX1" fmla="*/ 1606 w 65220"/>
                <a:gd name="connsiteY1" fmla="*/ 104381 h 144773"/>
                <a:gd name="connsiteX2" fmla="*/ 2102 w 65220"/>
                <a:gd name="connsiteY2" fmla="*/ 63989 h 144773"/>
                <a:gd name="connsiteX3" fmla="*/ 5188 w 65220"/>
                <a:gd name="connsiteY3" fmla="*/ 24708 h 144773"/>
                <a:gd name="connsiteX4" fmla="*/ 31871 w 65220"/>
                <a:gd name="connsiteY4" fmla="*/ 622 h 144773"/>
                <a:gd name="connsiteX5" fmla="*/ 31871 w 65220"/>
                <a:gd name="connsiteY5" fmla="*/ 0 h 144773"/>
                <a:gd name="connsiteX6" fmla="*/ 58426 w 65220"/>
                <a:gd name="connsiteY6" fmla="*/ 24708 h 144773"/>
                <a:gd name="connsiteX7" fmla="*/ 63487 w 65220"/>
                <a:gd name="connsiteY7" fmla="*/ 63989 h 144773"/>
                <a:gd name="connsiteX8" fmla="*/ 65221 w 65220"/>
                <a:gd name="connsiteY8" fmla="*/ 115741 h 144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5220" h="144773">
                  <a:moveTo>
                    <a:pt x="0" y="144774"/>
                  </a:moveTo>
                  <a:cubicBezTo>
                    <a:pt x="0" y="124638"/>
                    <a:pt x="1606" y="124638"/>
                    <a:pt x="1606" y="104381"/>
                  </a:cubicBezTo>
                  <a:cubicBezTo>
                    <a:pt x="1606" y="84119"/>
                    <a:pt x="2102" y="84246"/>
                    <a:pt x="2102" y="63989"/>
                  </a:cubicBezTo>
                  <a:cubicBezTo>
                    <a:pt x="2102" y="49409"/>
                    <a:pt x="1232" y="35579"/>
                    <a:pt x="5188" y="24708"/>
                  </a:cubicBezTo>
                  <a:cubicBezTo>
                    <a:pt x="11119" y="8401"/>
                    <a:pt x="21120" y="622"/>
                    <a:pt x="31871" y="622"/>
                  </a:cubicBezTo>
                  <a:lnTo>
                    <a:pt x="31871" y="0"/>
                  </a:lnTo>
                  <a:cubicBezTo>
                    <a:pt x="42494" y="0"/>
                    <a:pt x="52622" y="8401"/>
                    <a:pt x="58426" y="24708"/>
                  </a:cubicBezTo>
                  <a:cubicBezTo>
                    <a:pt x="62376" y="35700"/>
                    <a:pt x="63487" y="49409"/>
                    <a:pt x="63487" y="63989"/>
                  </a:cubicBezTo>
                  <a:cubicBezTo>
                    <a:pt x="63487" y="89802"/>
                    <a:pt x="65221" y="89802"/>
                    <a:pt x="65221" y="115741"/>
                  </a:cubicBezTo>
                </a:path>
              </a:pathLst>
            </a:custGeom>
            <a:noFill/>
            <a:ln w="12352" cap="rnd">
              <a:solidFill>
                <a:srgbClr val="5F7045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en-GB"/>
            </a:p>
          </p:txBody>
        </p:sp>
      </p:grpSp>
      <p:pic>
        <p:nvPicPr>
          <p:cNvPr id="99" name="Graphic 87">
            <a:extLst>
              <a:ext uri="{FF2B5EF4-FFF2-40B4-BE49-F238E27FC236}">
                <a16:creationId xmlns:a16="http://schemas.microsoft.com/office/drawing/2014/main" id="{429B0A19-23AE-DA32-AEE2-1F51AA9A273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293168" y="3750000"/>
            <a:ext cx="1565333" cy="1026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93484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01B523FD-103F-3E30-89E1-7C211EDD23C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2C7C1C7-1448-792E-E77E-F3E23E9F96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2C7C1C7-1448-792E-E77E-F3E23E9F96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>
            <a:extLst>
              <a:ext uri="{FF2B5EF4-FFF2-40B4-BE49-F238E27FC236}">
                <a16:creationId xmlns:a16="http://schemas.microsoft.com/office/drawing/2014/main" id="{432FBDBC-E6B8-1A3E-A39D-D16C267C1B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Illustrationer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brug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nye slides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A63A3AB0-BB83-ED47-E171-CCC31E20FA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354553" y="4250017"/>
            <a:ext cx="910480" cy="59678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D85D73AF-0EB8-C68B-99E5-A782E3557E8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158920" y="5809725"/>
            <a:ext cx="915629" cy="561367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CF371CEF-EBDB-F5C4-E621-953CAE0D4AB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006241" y="4375158"/>
            <a:ext cx="1471383" cy="194394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E9CCA13A-DF10-ED22-3D22-B176E34B8478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558541" y="1655874"/>
            <a:ext cx="477925" cy="665221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EDC19AAE-5A39-E976-E85C-B6556B36981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307881" y="3046268"/>
            <a:ext cx="406881" cy="58126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7CBFE201-C22F-1AC9-AB38-1577502F3EC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268387" y="1655874"/>
            <a:ext cx="477925" cy="775502"/>
          </a:xfrm>
          <a:prstGeom prst="rect">
            <a:avLst/>
          </a:prstGeom>
        </p:spPr>
      </p:pic>
      <p:pic>
        <p:nvPicPr>
          <p:cNvPr id="100" name="Graphic 99">
            <a:extLst>
              <a:ext uri="{FF2B5EF4-FFF2-40B4-BE49-F238E27FC236}">
                <a16:creationId xmlns:a16="http://schemas.microsoft.com/office/drawing/2014/main" id="{70EE2F74-5AC0-EF65-2A44-F126C43F4C5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978233" y="1655874"/>
            <a:ext cx="432717" cy="891266"/>
          </a:xfrm>
          <a:prstGeom prst="rect">
            <a:avLst/>
          </a:prstGeom>
        </p:spPr>
      </p:pic>
      <p:pic>
        <p:nvPicPr>
          <p:cNvPr id="101" name="Graphic 100">
            <a:extLst>
              <a:ext uri="{FF2B5EF4-FFF2-40B4-BE49-F238E27FC236}">
                <a16:creationId xmlns:a16="http://schemas.microsoft.com/office/drawing/2014/main" id="{80B446CC-0B65-6EB7-5BAC-7DBFDDB08140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339443" y="2915303"/>
            <a:ext cx="1759857" cy="712225"/>
          </a:xfrm>
          <a:prstGeom prst="rect">
            <a:avLst/>
          </a:prstGeom>
        </p:spPr>
      </p:pic>
      <p:pic>
        <p:nvPicPr>
          <p:cNvPr id="102" name="Graphic 101">
            <a:extLst>
              <a:ext uri="{FF2B5EF4-FFF2-40B4-BE49-F238E27FC236}">
                <a16:creationId xmlns:a16="http://schemas.microsoft.com/office/drawing/2014/main" id="{FE276856-4891-520B-35AA-4CE9318CE12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7331221" y="1655873"/>
            <a:ext cx="995399" cy="732929"/>
          </a:xfrm>
          <a:prstGeom prst="rect">
            <a:avLst/>
          </a:prstGeom>
        </p:spPr>
      </p:pic>
      <p:pic>
        <p:nvPicPr>
          <p:cNvPr id="103" name="Graphic 102">
            <a:extLst>
              <a:ext uri="{FF2B5EF4-FFF2-40B4-BE49-F238E27FC236}">
                <a16:creationId xmlns:a16="http://schemas.microsoft.com/office/drawing/2014/main" id="{4E087F03-9F98-F216-3DCE-46F101430A6F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339443" y="1655874"/>
            <a:ext cx="1759857" cy="712225"/>
          </a:xfrm>
          <a:prstGeom prst="rect">
            <a:avLst/>
          </a:prstGeom>
        </p:spPr>
      </p:pic>
      <p:pic>
        <p:nvPicPr>
          <p:cNvPr id="104" name="Graphic 103">
            <a:extLst>
              <a:ext uri="{FF2B5EF4-FFF2-40B4-BE49-F238E27FC236}">
                <a16:creationId xmlns:a16="http://schemas.microsoft.com/office/drawing/2014/main" id="{58DF41C0-5736-5DEF-E6F2-290F60C4DE7F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7321128" y="2894599"/>
            <a:ext cx="1093182" cy="732929"/>
          </a:xfrm>
          <a:prstGeom prst="rect">
            <a:avLst/>
          </a:prstGeom>
        </p:spPr>
      </p:pic>
      <p:pic>
        <p:nvPicPr>
          <p:cNvPr id="105" name="Graphic 104">
            <a:extLst>
              <a:ext uri="{FF2B5EF4-FFF2-40B4-BE49-F238E27FC236}">
                <a16:creationId xmlns:a16="http://schemas.microsoft.com/office/drawing/2014/main" id="{DFB9F03A-9339-9317-7122-DD1A8D0DF556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10642872" y="1655874"/>
            <a:ext cx="514363" cy="1146891"/>
          </a:xfrm>
          <a:prstGeom prst="rect">
            <a:avLst/>
          </a:prstGeom>
        </p:spPr>
      </p:pic>
      <p:pic>
        <p:nvPicPr>
          <p:cNvPr id="106" name="Graphic 105">
            <a:extLst>
              <a:ext uri="{FF2B5EF4-FFF2-40B4-BE49-F238E27FC236}">
                <a16:creationId xmlns:a16="http://schemas.microsoft.com/office/drawing/2014/main" id="{556A3D08-1827-FA2C-4478-AA32A4659722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8636138" y="2826680"/>
            <a:ext cx="449915" cy="800848"/>
          </a:xfrm>
          <a:prstGeom prst="rect">
            <a:avLst/>
          </a:prstGeom>
        </p:spPr>
      </p:pic>
      <p:pic>
        <p:nvPicPr>
          <p:cNvPr id="107" name="Graphic 106">
            <a:extLst>
              <a:ext uri="{FF2B5EF4-FFF2-40B4-BE49-F238E27FC236}">
                <a16:creationId xmlns:a16="http://schemas.microsoft.com/office/drawing/2014/main" id="{AF875DAB-3618-9F19-E3FE-055D81E4BA0F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936590" y="2826681"/>
            <a:ext cx="1220645" cy="800847"/>
          </a:xfrm>
          <a:prstGeom prst="rect">
            <a:avLst/>
          </a:prstGeom>
        </p:spPr>
      </p:pic>
      <p:pic>
        <p:nvPicPr>
          <p:cNvPr id="108" name="Graphic 107">
            <a:extLst>
              <a:ext uri="{FF2B5EF4-FFF2-40B4-BE49-F238E27FC236}">
                <a16:creationId xmlns:a16="http://schemas.microsoft.com/office/drawing/2014/main" id="{213FC091-AEFB-4858-9888-D7D7EADD0071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5095792" y="5052844"/>
            <a:ext cx="1168020" cy="1318248"/>
          </a:xfrm>
          <a:prstGeom prst="rect">
            <a:avLst/>
          </a:prstGeom>
        </p:spPr>
      </p:pic>
      <p:pic>
        <p:nvPicPr>
          <p:cNvPr id="109" name="Graphic 108">
            <a:extLst>
              <a:ext uri="{FF2B5EF4-FFF2-40B4-BE49-F238E27FC236}">
                <a16:creationId xmlns:a16="http://schemas.microsoft.com/office/drawing/2014/main" id="{573D5214-9894-7063-A65E-D6F7C8B158FF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7554661" y="4267987"/>
            <a:ext cx="1008345" cy="1016854"/>
          </a:xfrm>
          <a:prstGeom prst="rect">
            <a:avLst/>
          </a:prstGeom>
        </p:spPr>
      </p:pic>
      <p:pic>
        <p:nvPicPr>
          <p:cNvPr id="110" name="Graphic 109">
            <a:extLst>
              <a:ext uri="{FF2B5EF4-FFF2-40B4-BE49-F238E27FC236}">
                <a16:creationId xmlns:a16="http://schemas.microsoft.com/office/drawing/2014/main" id="{B63ABD7F-04D2-A7A9-904D-525E0985ACFC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8635903" y="4310684"/>
            <a:ext cx="1300687" cy="363427"/>
          </a:xfrm>
          <a:prstGeom prst="rect">
            <a:avLst/>
          </a:prstGeom>
        </p:spPr>
      </p:pic>
      <p:pic>
        <p:nvPicPr>
          <p:cNvPr id="111" name="Graphic 110">
            <a:extLst>
              <a:ext uri="{FF2B5EF4-FFF2-40B4-BE49-F238E27FC236}">
                <a16:creationId xmlns:a16="http://schemas.microsoft.com/office/drawing/2014/main" id="{E124F629-4059-46E4-D5AB-DA619813BF5B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6337929" y="4280621"/>
            <a:ext cx="1143836" cy="566180"/>
          </a:xfrm>
          <a:prstGeom prst="rect">
            <a:avLst/>
          </a:prstGeom>
        </p:spPr>
      </p:pic>
      <p:pic>
        <p:nvPicPr>
          <p:cNvPr id="112" name="Graphic 111">
            <a:extLst>
              <a:ext uri="{FF2B5EF4-FFF2-40B4-BE49-F238E27FC236}">
                <a16:creationId xmlns:a16="http://schemas.microsoft.com/office/drawing/2014/main" id="{1ED5CE83-3B02-A15F-F121-F554A081A0A5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6439946" y="5879030"/>
            <a:ext cx="727645" cy="492062"/>
          </a:xfrm>
          <a:prstGeom prst="rect">
            <a:avLst/>
          </a:prstGeom>
        </p:spPr>
      </p:pic>
      <p:pic>
        <p:nvPicPr>
          <p:cNvPr id="113" name="Graphic 112">
            <a:extLst>
              <a:ext uri="{FF2B5EF4-FFF2-40B4-BE49-F238E27FC236}">
                <a16:creationId xmlns:a16="http://schemas.microsoft.com/office/drawing/2014/main" id="{49C1B33D-CE23-6F8A-4F78-DA7E8BA12D44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7745507" y="5809725"/>
            <a:ext cx="237279" cy="561367"/>
          </a:xfrm>
          <a:prstGeom prst="rect">
            <a:avLst/>
          </a:prstGeom>
        </p:spPr>
      </p:pic>
      <p:pic>
        <p:nvPicPr>
          <p:cNvPr id="114" name="Graphic 113">
            <a:extLst>
              <a:ext uri="{FF2B5EF4-FFF2-40B4-BE49-F238E27FC236}">
                <a16:creationId xmlns:a16="http://schemas.microsoft.com/office/drawing/2014/main" id="{FB728CAD-301D-7CE5-2577-35D2DA5FA2FE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7343725" y="5809724"/>
            <a:ext cx="225648" cy="561368"/>
          </a:xfrm>
          <a:prstGeom prst="rect">
            <a:avLst/>
          </a:prstGeom>
        </p:spPr>
      </p:pic>
      <p:pic>
        <p:nvPicPr>
          <p:cNvPr id="115" name="Graphic 114">
            <a:extLst>
              <a:ext uri="{FF2B5EF4-FFF2-40B4-BE49-F238E27FC236}">
                <a16:creationId xmlns:a16="http://schemas.microsoft.com/office/drawing/2014/main" id="{E9B15452-C5AE-F5CA-BF5B-B4A1C6D71086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10171966" y="5360618"/>
            <a:ext cx="941578" cy="1010474"/>
          </a:xfrm>
          <a:prstGeom prst="rect">
            <a:avLst/>
          </a:prstGeom>
        </p:spPr>
      </p:pic>
      <p:pic>
        <p:nvPicPr>
          <p:cNvPr id="116" name="Graphic 115">
            <a:extLst>
              <a:ext uri="{FF2B5EF4-FFF2-40B4-BE49-F238E27FC236}">
                <a16:creationId xmlns:a16="http://schemas.microsoft.com/office/drawing/2014/main" id="{5D415CC2-92A7-BC06-7F1F-0CB7455860C5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9250683" y="5245440"/>
            <a:ext cx="745150" cy="1125652"/>
          </a:xfrm>
          <a:prstGeom prst="rect">
            <a:avLst/>
          </a:prstGeom>
        </p:spPr>
      </p:pic>
      <p:pic>
        <p:nvPicPr>
          <p:cNvPr id="117" name="Graphic 116">
            <a:extLst>
              <a:ext uri="{FF2B5EF4-FFF2-40B4-BE49-F238E27FC236}">
                <a16:creationId xmlns:a16="http://schemas.microsoft.com/office/drawing/2014/main" id="{B65CB363-B8DB-A6A0-24C9-E82E127CC4B1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866190" y="5433665"/>
            <a:ext cx="3397608" cy="308051"/>
          </a:xfrm>
          <a:prstGeom prst="rect">
            <a:avLst/>
          </a:prstGeom>
        </p:spPr>
      </p:pic>
      <p:pic>
        <p:nvPicPr>
          <p:cNvPr id="118" name="Graphic 117">
            <a:extLst>
              <a:ext uri="{FF2B5EF4-FFF2-40B4-BE49-F238E27FC236}">
                <a16:creationId xmlns:a16="http://schemas.microsoft.com/office/drawing/2014/main" id="{ADCE47D3-51AC-5B5E-2650-4503144FBF12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896130" y="5898475"/>
            <a:ext cx="3337729" cy="230657"/>
          </a:xfrm>
          <a:prstGeom prst="rect">
            <a:avLst/>
          </a:prstGeom>
        </p:spPr>
      </p:pic>
      <p:pic>
        <p:nvPicPr>
          <p:cNvPr id="119" name="Graphic 118">
            <a:extLst>
              <a:ext uri="{FF2B5EF4-FFF2-40B4-BE49-F238E27FC236}">
                <a16:creationId xmlns:a16="http://schemas.microsoft.com/office/drawing/2014/main" id="{80C937FB-BD48-DB02-E866-3EE047CC8435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3527568" y="3634663"/>
            <a:ext cx="1292037" cy="1593980"/>
          </a:xfrm>
          <a:prstGeom prst="rect">
            <a:avLst/>
          </a:prstGeom>
        </p:spPr>
      </p:pic>
      <p:pic>
        <p:nvPicPr>
          <p:cNvPr id="120" name="Graphic 119">
            <a:extLst>
              <a:ext uri="{FF2B5EF4-FFF2-40B4-BE49-F238E27FC236}">
                <a16:creationId xmlns:a16="http://schemas.microsoft.com/office/drawing/2014/main" id="{EE02D3D4-5A5B-C92C-B723-CA3C77712A9E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634176" y="4230846"/>
            <a:ext cx="2973599" cy="849599"/>
          </a:xfrm>
          <a:prstGeom prst="rect">
            <a:avLst/>
          </a:prstGeom>
        </p:spPr>
      </p:pic>
      <p:pic>
        <p:nvPicPr>
          <p:cNvPr id="121" name="Graphic 120">
            <a:extLst>
              <a:ext uri="{FF2B5EF4-FFF2-40B4-BE49-F238E27FC236}">
                <a16:creationId xmlns:a16="http://schemas.microsoft.com/office/drawing/2014/main" id="{F19CDD74-E883-0074-F8E4-9C6494558B8D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627240" y="3633908"/>
            <a:ext cx="2987471" cy="436328"/>
          </a:xfrm>
          <a:prstGeom prst="rect">
            <a:avLst/>
          </a:prstGeom>
        </p:spPr>
      </p:pic>
      <p:grpSp>
        <p:nvGrpSpPr>
          <p:cNvPr id="122" name="Group 121">
            <a:extLst>
              <a:ext uri="{FF2B5EF4-FFF2-40B4-BE49-F238E27FC236}">
                <a16:creationId xmlns:a16="http://schemas.microsoft.com/office/drawing/2014/main" id="{7CD0B2A5-E705-3E93-B253-1CD2E24839F9}"/>
              </a:ext>
            </a:extLst>
          </p:cNvPr>
          <p:cNvGrpSpPr/>
          <p:nvPr/>
        </p:nvGrpSpPr>
        <p:grpSpPr>
          <a:xfrm>
            <a:off x="665728" y="1612617"/>
            <a:ext cx="3798533" cy="1822743"/>
            <a:chOff x="1156991" y="1549117"/>
            <a:chExt cx="3798533" cy="1822743"/>
          </a:xfrm>
        </p:grpSpPr>
        <p:pic>
          <p:nvPicPr>
            <p:cNvPr id="123" name="Graphic 122">
              <a:extLst>
                <a:ext uri="{FF2B5EF4-FFF2-40B4-BE49-F238E27FC236}">
                  <a16:creationId xmlns:a16="http://schemas.microsoft.com/office/drawing/2014/main" id="{231C0BAC-6FAC-C591-757C-2B7D48173CCA}"/>
                </a:ext>
              </a:extLst>
            </p:cNvPr>
            <p:cNvPicPr>
              <a:picLocks noChangeAspect="1"/>
            </p:cNvPicPr>
            <p:nvPr/>
          </p:nvPicPr>
          <p:blipFill>
            <a:blip r:embed="rId61">
              <a:extLst>
                <a:ext uri="{96DAC541-7B7A-43D3-8B79-37D633B846F1}">
                  <asvg:svgBlip xmlns:asvg="http://schemas.microsoft.com/office/drawing/2016/SVG/main" r:embed="rId62"/>
                </a:ext>
              </a:extLst>
            </a:blip>
            <a:stretch>
              <a:fillRect/>
            </a:stretch>
          </p:blipFill>
          <p:spPr>
            <a:xfrm>
              <a:off x="3048800" y="1549117"/>
              <a:ext cx="515917" cy="571691"/>
            </a:xfrm>
            <a:prstGeom prst="rect">
              <a:avLst/>
            </a:prstGeom>
          </p:spPr>
        </p:pic>
        <p:pic>
          <p:nvPicPr>
            <p:cNvPr id="124" name="Graphic 123">
              <a:extLst>
                <a:ext uri="{FF2B5EF4-FFF2-40B4-BE49-F238E27FC236}">
                  <a16:creationId xmlns:a16="http://schemas.microsoft.com/office/drawing/2014/main" id="{55DD5446-5E81-DAF9-FF2C-9DF296EDF8AD}"/>
                </a:ext>
              </a:extLst>
            </p:cNvPr>
            <p:cNvPicPr>
              <a:picLocks noChangeAspect="1"/>
            </p:cNvPicPr>
            <p:nvPr/>
          </p:nvPicPr>
          <p:blipFill>
            <a:blip r:embed="rId63">
              <a:extLst>
                <a:ext uri="{96DAC541-7B7A-43D3-8B79-37D633B846F1}">
                  <asvg:svgBlip xmlns:asvg="http://schemas.microsoft.com/office/drawing/2016/SVG/main" r:embed="rId64"/>
                </a:ext>
              </a:extLst>
            </a:blip>
            <a:stretch>
              <a:fillRect/>
            </a:stretch>
          </p:blipFill>
          <p:spPr>
            <a:xfrm>
              <a:off x="4253662" y="1551757"/>
              <a:ext cx="515917" cy="766905"/>
            </a:xfrm>
            <a:prstGeom prst="rect">
              <a:avLst/>
            </a:prstGeom>
          </p:spPr>
        </p:pic>
        <p:pic>
          <p:nvPicPr>
            <p:cNvPr id="125" name="Graphic 124">
              <a:extLst>
                <a:ext uri="{FF2B5EF4-FFF2-40B4-BE49-F238E27FC236}">
                  <a16:creationId xmlns:a16="http://schemas.microsoft.com/office/drawing/2014/main" id="{8AE0C43C-EA56-310D-F807-C0822D86FC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5">
              <a:extLst>
                <a:ext uri="{96DAC541-7B7A-43D3-8B79-37D633B846F1}">
                  <asvg:svgBlip xmlns:asvg="http://schemas.microsoft.com/office/drawing/2016/SVG/main" r:embed="rId66"/>
                </a:ext>
              </a:extLst>
            </a:blip>
            <a:stretch>
              <a:fillRect/>
            </a:stretch>
          </p:blipFill>
          <p:spPr>
            <a:xfrm>
              <a:off x="3800220" y="2409745"/>
              <a:ext cx="481059" cy="962115"/>
            </a:xfrm>
            <a:prstGeom prst="rect">
              <a:avLst/>
            </a:prstGeom>
          </p:spPr>
        </p:pic>
        <p:pic>
          <p:nvPicPr>
            <p:cNvPr id="126" name="Graphic 125">
              <a:extLst>
                <a:ext uri="{FF2B5EF4-FFF2-40B4-BE49-F238E27FC236}">
                  <a16:creationId xmlns:a16="http://schemas.microsoft.com/office/drawing/2014/main" id="{AC839D4F-308A-ABF4-E288-8050EFF73A12}"/>
                </a:ext>
              </a:extLst>
            </p:cNvPr>
            <p:cNvPicPr>
              <a:picLocks noChangeAspect="1"/>
            </p:cNvPicPr>
            <p:nvPr/>
          </p:nvPicPr>
          <p:blipFill>
            <a:blip r:embed="rId67">
              <a:extLst>
                <a:ext uri="{96DAC541-7B7A-43D3-8B79-37D633B846F1}">
                  <asvg:svgBlip xmlns:asvg="http://schemas.microsoft.com/office/drawing/2016/SVG/main" r:embed="rId68"/>
                </a:ext>
              </a:extLst>
            </a:blip>
            <a:stretch>
              <a:fillRect/>
            </a:stretch>
          </p:blipFill>
          <p:spPr>
            <a:xfrm>
              <a:off x="4467495" y="2409745"/>
              <a:ext cx="488029" cy="962115"/>
            </a:xfrm>
            <a:prstGeom prst="rect">
              <a:avLst/>
            </a:prstGeom>
          </p:spPr>
        </p:pic>
        <p:pic>
          <p:nvPicPr>
            <p:cNvPr id="127" name="Graphic 126">
              <a:extLst>
                <a:ext uri="{FF2B5EF4-FFF2-40B4-BE49-F238E27FC236}">
                  <a16:creationId xmlns:a16="http://schemas.microsoft.com/office/drawing/2014/main" id="{DAA008D1-20C2-BA78-352F-4DA543932B3D}"/>
                </a:ext>
              </a:extLst>
            </p:cNvPr>
            <p:cNvPicPr>
              <a:picLocks noChangeAspect="1"/>
            </p:cNvPicPr>
            <p:nvPr/>
          </p:nvPicPr>
          <p:blipFill>
            <a:blip r:embed="rId69">
              <a:extLst>
                <a:ext uri="{96DAC541-7B7A-43D3-8B79-37D633B846F1}">
                  <asvg:svgBlip xmlns:asvg="http://schemas.microsoft.com/office/drawing/2016/SVG/main" r:embed="rId70"/>
                </a:ext>
              </a:extLst>
            </a:blip>
            <a:stretch>
              <a:fillRect/>
            </a:stretch>
          </p:blipFill>
          <p:spPr>
            <a:xfrm>
              <a:off x="2040391" y="2409745"/>
              <a:ext cx="690212" cy="794791"/>
            </a:xfrm>
            <a:prstGeom prst="rect">
              <a:avLst/>
            </a:prstGeom>
          </p:spPr>
        </p:pic>
        <p:pic>
          <p:nvPicPr>
            <p:cNvPr id="128" name="Graphic 127">
              <a:extLst>
                <a:ext uri="{FF2B5EF4-FFF2-40B4-BE49-F238E27FC236}">
                  <a16:creationId xmlns:a16="http://schemas.microsoft.com/office/drawing/2014/main" id="{CE1CAD49-754C-9265-AD40-127F655B7FC1}"/>
                </a:ext>
              </a:extLst>
            </p:cNvPr>
            <p:cNvPicPr>
              <a:picLocks noChangeAspect="1"/>
            </p:cNvPicPr>
            <p:nvPr/>
          </p:nvPicPr>
          <p:blipFill>
            <a:blip r:embed="rId71">
              <a:extLst>
                <a:ext uri="{96DAC541-7B7A-43D3-8B79-37D633B846F1}">
                  <asvg:svgBlip xmlns:asvg="http://schemas.microsoft.com/office/drawing/2016/SVG/main" r:embed="rId72"/>
                </a:ext>
              </a:extLst>
            </a:blip>
            <a:stretch>
              <a:fillRect/>
            </a:stretch>
          </p:blipFill>
          <p:spPr>
            <a:xfrm>
              <a:off x="2916818" y="2409745"/>
              <a:ext cx="697187" cy="787819"/>
            </a:xfrm>
            <a:prstGeom prst="rect">
              <a:avLst/>
            </a:prstGeom>
          </p:spPr>
        </p:pic>
        <p:pic>
          <p:nvPicPr>
            <p:cNvPr id="129" name="Graphic 128">
              <a:extLst>
                <a:ext uri="{FF2B5EF4-FFF2-40B4-BE49-F238E27FC236}">
                  <a16:creationId xmlns:a16="http://schemas.microsoft.com/office/drawing/2014/main" id="{C5C33EFD-504F-E6BE-56AD-4C5ACE6ADD54}"/>
                </a:ext>
              </a:extLst>
            </p:cNvPr>
            <p:cNvPicPr>
              <a:picLocks noChangeAspect="1"/>
            </p:cNvPicPr>
            <p:nvPr/>
          </p:nvPicPr>
          <p:blipFill>
            <a:blip r:embed="rId73">
              <a:extLst>
                <a:ext uri="{96DAC541-7B7A-43D3-8B79-37D633B846F1}">
                  <asvg:svgBlip xmlns:asvg="http://schemas.microsoft.com/office/drawing/2016/SVG/main" r:embed="rId74"/>
                </a:ext>
              </a:extLst>
            </a:blip>
            <a:stretch>
              <a:fillRect/>
            </a:stretch>
          </p:blipFill>
          <p:spPr>
            <a:xfrm>
              <a:off x="1156991" y="2409745"/>
              <a:ext cx="697185" cy="794791"/>
            </a:xfrm>
            <a:prstGeom prst="rect">
              <a:avLst/>
            </a:prstGeom>
          </p:spPr>
        </p:pic>
        <p:pic>
          <p:nvPicPr>
            <p:cNvPr id="130" name="Graphic 129">
              <a:extLst>
                <a:ext uri="{FF2B5EF4-FFF2-40B4-BE49-F238E27FC236}">
                  <a16:creationId xmlns:a16="http://schemas.microsoft.com/office/drawing/2014/main" id="{41C51BDD-709C-7A65-A25F-4A658D5D627C}"/>
                </a:ext>
              </a:extLst>
            </p:cNvPr>
            <p:cNvPicPr>
              <a:picLocks noChangeAspect="1"/>
            </p:cNvPicPr>
            <p:nvPr/>
          </p:nvPicPr>
          <p:blipFill>
            <a:blip r:embed="rId75">
              <a:extLst>
                <a:ext uri="{96DAC541-7B7A-43D3-8B79-37D633B846F1}">
                  <asvg:svgBlip xmlns:asvg="http://schemas.microsoft.com/office/drawing/2016/SVG/main" r:embed="rId76"/>
                </a:ext>
              </a:extLst>
            </a:blip>
            <a:stretch>
              <a:fillRect/>
            </a:stretch>
          </p:blipFill>
          <p:spPr>
            <a:xfrm>
              <a:off x="1227560" y="1549117"/>
              <a:ext cx="522889" cy="571691"/>
            </a:xfrm>
            <a:prstGeom prst="rect">
              <a:avLst/>
            </a:prstGeom>
          </p:spPr>
        </p:pic>
        <p:pic>
          <p:nvPicPr>
            <p:cNvPr id="131" name="Graphic 130">
              <a:extLst>
                <a:ext uri="{FF2B5EF4-FFF2-40B4-BE49-F238E27FC236}">
                  <a16:creationId xmlns:a16="http://schemas.microsoft.com/office/drawing/2014/main" id="{544362CB-0AD6-F9BB-6101-D54C0BE0B226}"/>
                </a:ext>
              </a:extLst>
            </p:cNvPr>
            <p:cNvPicPr>
              <a:picLocks noChangeAspect="1"/>
            </p:cNvPicPr>
            <p:nvPr/>
          </p:nvPicPr>
          <p:blipFill>
            <a:blip r:embed="rId77">
              <a:extLst>
                <a:ext uri="{96DAC541-7B7A-43D3-8B79-37D633B846F1}">
                  <asvg:svgBlip xmlns:asvg="http://schemas.microsoft.com/office/drawing/2016/SVG/main" r:embed="rId78"/>
                </a:ext>
              </a:extLst>
            </a:blip>
            <a:stretch>
              <a:fillRect/>
            </a:stretch>
          </p:blipFill>
          <p:spPr>
            <a:xfrm>
              <a:off x="1836964" y="1552602"/>
              <a:ext cx="522889" cy="564721"/>
            </a:xfrm>
            <a:prstGeom prst="rect">
              <a:avLst/>
            </a:prstGeom>
          </p:spPr>
        </p:pic>
        <p:pic>
          <p:nvPicPr>
            <p:cNvPr id="132" name="Graphic 131">
              <a:extLst>
                <a:ext uri="{FF2B5EF4-FFF2-40B4-BE49-F238E27FC236}">
                  <a16:creationId xmlns:a16="http://schemas.microsoft.com/office/drawing/2014/main" id="{3519E245-56D8-BE1A-07D5-C4B99880E1F3}"/>
                </a:ext>
              </a:extLst>
            </p:cNvPr>
            <p:cNvPicPr>
              <a:picLocks noChangeAspect="1"/>
            </p:cNvPicPr>
            <p:nvPr/>
          </p:nvPicPr>
          <p:blipFill>
            <a:blip r:embed="rId79">
              <a:extLst>
                <a:ext uri="{96DAC541-7B7A-43D3-8B79-37D633B846F1}">
                  <asvg:svgBlip xmlns:asvg="http://schemas.microsoft.com/office/drawing/2016/SVG/main" r:embed="rId80"/>
                </a:ext>
              </a:extLst>
            </a:blip>
            <a:stretch>
              <a:fillRect/>
            </a:stretch>
          </p:blipFill>
          <p:spPr>
            <a:xfrm>
              <a:off x="3651232" y="1549117"/>
              <a:ext cx="515917" cy="571691"/>
            </a:xfrm>
            <a:prstGeom prst="rect">
              <a:avLst/>
            </a:prstGeom>
          </p:spPr>
        </p:pic>
        <p:pic>
          <p:nvPicPr>
            <p:cNvPr id="133" name="Graphic 132">
              <a:extLst>
                <a:ext uri="{FF2B5EF4-FFF2-40B4-BE49-F238E27FC236}">
                  <a16:creationId xmlns:a16="http://schemas.microsoft.com/office/drawing/2014/main" id="{3FABA27E-9722-47EB-63CE-12BE45BAA057}"/>
                </a:ext>
              </a:extLst>
            </p:cNvPr>
            <p:cNvPicPr>
              <a:picLocks noChangeAspect="1"/>
            </p:cNvPicPr>
            <p:nvPr/>
          </p:nvPicPr>
          <p:blipFill>
            <a:blip r:embed="rId81">
              <a:extLst>
                <a:ext uri="{96DAC541-7B7A-43D3-8B79-37D633B846F1}">
                  <asvg:svgBlip xmlns:asvg="http://schemas.microsoft.com/office/drawing/2016/SVG/main" r:embed="rId82"/>
                </a:ext>
              </a:extLst>
            </a:blip>
            <a:stretch>
              <a:fillRect/>
            </a:stretch>
          </p:blipFill>
          <p:spPr>
            <a:xfrm>
              <a:off x="2446368" y="1552602"/>
              <a:ext cx="515917" cy="564721"/>
            </a:xfrm>
            <a:prstGeom prst="rect">
              <a:avLst/>
            </a:prstGeom>
          </p:spPr>
        </p:pic>
      </p:grp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9871A83A-2883-C430-9D89-789F5D4A44AD}"/>
              </a:ext>
            </a:extLst>
          </p:cNvPr>
          <p:cNvCxnSpPr>
            <a:cxnSpLocks/>
          </p:cNvCxnSpPr>
          <p:nvPr/>
        </p:nvCxnSpPr>
        <p:spPr>
          <a:xfrm>
            <a:off x="4970459" y="1612617"/>
            <a:ext cx="0" cy="4886154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D11C2ED6-43A6-5ED8-4C1E-CCDAE1309FE4}"/>
              </a:ext>
            </a:extLst>
          </p:cNvPr>
          <p:cNvCxnSpPr>
            <a:cxnSpLocks/>
          </p:cNvCxnSpPr>
          <p:nvPr/>
        </p:nvCxnSpPr>
        <p:spPr>
          <a:xfrm>
            <a:off x="4970459" y="4109290"/>
            <a:ext cx="6507166" cy="0"/>
          </a:xfrm>
          <a:prstGeom prst="line">
            <a:avLst/>
          </a:prstGeom>
          <a:ln w="63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74195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89E3E9A-BECE-79E1-F63E-91647E083A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9E3E9A-BECE-79E1-F63E-91647E083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D3B510E-5426-978B-45A5-728EC3BB79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Ikoner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målepunkter</a:t>
            </a:r>
            <a:r>
              <a:rPr lang="en-US" dirty="0"/>
              <a:t> – med </a:t>
            </a:r>
            <a:r>
              <a:rPr lang="en-US" dirty="0" err="1"/>
              <a:t>tekst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C2BDFF-7CF6-6410-05FC-65E20B2EC17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A814B08-8399-43E7-AAE4-68AF4906CF08}" type="slidenum">
              <a:rPr lang="da-DK" smtClean="0"/>
              <a:pPr/>
              <a:t>23</a:t>
            </a:fld>
            <a:endParaRPr lang="da-DK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8E6C61C-89CC-9DCD-6E80-25A60438ED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2975" y="1532890"/>
            <a:ext cx="720000" cy="72000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95703D25-C6E7-2E73-CC39-0F9CCE0ECD4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42975" y="2431931"/>
            <a:ext cx="720000" cy="720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F0FCBAEF-704A-B6B8-840B-0CEDFD7CB1E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42975" y="4230013"/>
            <a:ext cx="720000" cy="7200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A61536AC-A754-368B-5C2F-DEBDD694931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42975" y="3330972"/>
            <a:ext cx="720000" cy="72000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D3785C0A-2B33-3383-09D4-C9E377BFA6A8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42975" y="5129053"/>
            <a:ext cx="720000" cy="720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0D79FBBB-0EDF-CF1D-006E-0AC89C18C701}"/>
              </a:ext>
            </a:extLst>
          </p:cNvPr>
          <p:cNvSpPr/>
          <p:nvPr/>
        </p:nvSpPr>
        <p:spPr>
          <a:xfrm>
            <a:off x="1768475" y="1532890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1"/>
                </a:solidFill>
              </a:rPr>
              <a:t>Klimaaftryk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D599B41-027A-A22E-D585-FA9BF88AA344}"/>
              </a:ext>
            </a:extLst>
          </p:cNvPr>
          <p:cNvSpPr/>
          <p:nvPr/>
        </p:nvSpPr>
        <p:spPr>
          <a:xfrm>
            <a:off x="1768475" y="2431931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1"/>
                </a:solidFill>
              </a:rPr>
              <a:t>Energiforbrug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777DC0D-2706-3914-BFC9-5104C9322D81}"/>
              </a:ext>
            </a:extLst>
          </p:cNvPr>
          <p:cNvSpPr/>
          <p:nvPr/>
        </p:nvSpPr>
        <p:spPr>
          <a:xfrm>
            <a:off x="1768475" y="4238648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1"/>
                </a:solidFill>
              </a:rPr>
              <a:t>Energimærker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D13BC0A-15EB-3BF6-897D-3780DB9C3E26}"/>
              </a:ext>
            </a:extLst>
          </p:cNvPr>
          <p:cNvSpPr/>
          <p:nvPr/>
        </p:nvSpPr>
        <p:spPr>
          <a:xfrm>
            <a:off x="1768475" y="3434395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1"/>
                </a:solidFill>
              </a:rPr>
              <a:t>Sårbarhed for klimaændringer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B18C7AE-2DAA-0B27-BF3A-DEE890A47829}"/>
              </a:ext>
            </a:extLst>
          </p:cNvPr>
          <p:cNvSpPr/>
          <p:nvPr/>
        </p:nvSpPr>
        <p:spPr>
          <a:xfrm>
            <a:off x="1768475" y="5129053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1"/>
                </a:solidFill>
              </a:rPr>
              <a:t>Biodiversitet på grunden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37EE0071-C1B8-A1F5-7A8A-58FC56B0E32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222750" y="4230013"/>
            <a:ext cx="720000" cy="72000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480376A2-C079-BB86-3639-0A116767401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222750" y="2431931"/>
            <a:ext cx="720000" cy="720000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81DCB38C-E545-F5BA-CA1B-72CF223502C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4222750" y="1532890"/>
            <a:ext cx="720000" cy="72000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E53A0429-32C1-F31C-1335-0D8F3D16514C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4222750" y="3330972"/>
            <a:ext cx="720000" cy="72000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8F986D68-B2BC-DCAA-7A12-BB1C2CBFF944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4222750" y="5129053"/>
            <a:ext cx="720000" cy="72000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0F8B3829-3D42-FFD2-0A65-D85B8DB52C1D}"/>
              </a:ext>
            </a:extLst>
          </p:cNvPr>
          <p:cNvSpPr/>
          <p:nvPr/>
        </p:nvSpPr>
        <p:spPr>
          <a:xfrm>
            <a:off x="5048250" y="4244713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5"/>
                </a:solidFill>
              </a:rPr>
              <a:t>Sociale klausul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420D794-60AD-EB37-F779-E59E1DB89D79}"/>
              </a:ext>
            </a:extLst>
          </p:cNvPr>
          <p:cNvSpPr/>
          <p:nvPr/>
        </p:nvSpPr>
        <p:spPr>
          <a:xfrm>
            <a:off x="5048250" y="2431931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5"/>
                </a:solidFill>
              </a:rPr>
              <a:t>Almenboligers betalbarhed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1EBC4FB-C334-B137-C829-1CB26DEEDAF6}"/>
              </a:ext>
            </a:extLst>
          </p:cNvPr>
          <p:cNvSpPr/>
          <p:nvPr/>
        </p:nvSpPr>
        <p:spPr>
          <a:xfrm>
            <a:off x="5048250" y="1526825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5"/>
                </a:solidFill>
              </a:rPr>
              <a:t>Andel af almene boliger i området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6CE3292-9C1E-5B14-7191-EDB7C98F6641}"/>
              </a:ext>
            </a:extLst>
          </p:cNvPr>
          <p:cNvSpPr/>
          <p:nvPr/>
        </p:nvSpPr>
        <p:spPr>
          <a:xfrm>
            <a:off x="5048250" y="3333542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5"/>
                </a:solidFill>
              </a:rPr>
              <a:t>Ind- og udflytninger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C198FF91-D2EC-88FB-EF7F-80C6CCC31A5D}"/>
              </a:ext>
            </a:extLst>
          </p:cNvPr>
          <p:cNvSpPr/>
          <p:nvPr/>
        </p:nvSpPr>
        <p:spPr>
          <a:xfrm>
            <a:off x="5048250" y="5129053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5"/>
                </a:solidFill>
              </a:rPr>
              <a:t>Livskvalitet og sundhed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7194BCDF-8C56-2378-9A03-DECFE08811A7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7658100" y="1532890"/>
            <a:ext cx="720000" cy="720000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61F96446-1EDE-C34F-B9C6-39F8CBF0A62A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658100" y="2435939"/>
            <a:ext cx="720000" cy="7200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0ADFEAA3-C311-622C-A31E-2C5D8633D9C2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7658100" y="4242037"/>
            <a:ext cx="720000" cy="72000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8E575628-4948-9F18-ED1D-E6A059129694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7658100" y="3338988"/>
            <a:ext cx="720000" cy="720000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AD73A4C9-6E96-7613-24EE-C647F9E735EB}"/>
              </a:ext>
            </a:extLst>
          </p:cNvPr>
          <p:cNvSpPr/>
          <p:nvPr/>
        </p:nvSpPr>
        <p:spPr>
          <a:xfrm>
            <a:off x="8483600" y="1532890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3"/>
                </a:solidFill>
              </a:rPr>
              <a:t>God økonomistyring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AF5DA4A-941E-5EE2-7E45-64A330FCAEDA}"/>
              </a:ext>
            </a:extLst>
          </p:cNvPr>
          <p:cNvSpPr/>
          <p:nvPr/>
        </p:nvSpPr>
        <p:spPr>
          <a:xfrm>
            <a:off x="8483600" y="2427923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3"/>
                </a:solidFill>
              </a:rPr>
              <a:t>Politikker og praksi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8A8155D-72FB-491F-330E-01C1499053BA}"/>
              </a:ext>
            </a:extLst>
          </p:cNvPr>
          <p:cNvSpPr/>
          <p:nvPr/>
        </p:nvSpPr>
        <p:spPr>
          <a:xfrm>
            <a:off x="8483600" y="4253044"/>
            <a:ext cx="2304000" cy="72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3"/>
                </a:solidFill>
              </a:rPr>
              <a:t>Deltagelse i beboerdemokratiet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07AC014-B77C-E9C8-526D-DA87FCDECAC5}"/>
              </a:ext>
            </a:extLst>
          </p:cNvPr>
          <p:cNvSpPr/>
          <p:nvPr/>
        </p:nvSpPr>
        <p:spPr>
          <a:xfrm>
            <a:off x="8483600" y="3433577"/>
            <a:ext cx="2640176" cy="7872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>
                <a:solidFill>
                  <a:schemeClr val="accent3"/>
                </a:solidFill>
              </a:rPr>
              <a:t>Indberetninger via whistleblowerordning</a:t>
            </a:r>
          </a:p>
        </p:txBody>
      </p:sp>
    </p:spTree>
    <p:extLst>
      <p:ext uri="{BB962C8B-B14F-4D97-AF65-F5344CB8AC3E}">
        <p14:creationId xmlns:p14="http://schemas.microsoft.com/office/powerpoint/2010/main" val="27277166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4C2E787A-4D3E-A1EB-CAB3-67C2773E077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1D51E63-FE83-9E6D-D41D-FC56628DF5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D51E63-FE83-9E6D-D41D-FC56628DF5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7CFF29-C2F2-4907-601B-6A805368B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en-US" dirty="0" err="1"/>
              <a:t>Ikoner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målepunkter</a:t>
            </a:r>
            <a:r>
              <a:rPr lang="en-US" dirty="0"/>
              <a:t> – med </a:t>
            </a:r>
            <a:r>
              <a:rPr lang="en-US" dirty="0" err="1"/>
              <a:t>eller</a:t>
            </a:r>
            <a:r>
              <a:rPr lang="en-US" dirty="0"/>
              <a:t> </a:t>
            </a:r>
            <a:r>
              <a:rPr lang="en-US" dirty="0" err="1"/>
              <a:t>uden</a:t>
            </a:r>
            <a:r>
              <a:rPr lang="en-US" dirty="0"/>
              <a:t> </a:t>
            </a:r>
            <a:r>
              <a:rPr lang="en-US" dirty="0" err="1"/>
              <a:t>baggrund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70AACA-3E2F-C960-8445-FA4425157C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24</a:t>
            </a:fld>
            <a:endParaRPr lang="da-DK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1D9CD223-06FE-68DD-C04E-79F2136B21E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id="{987B936E-D8F7-13E0-1AAA-4AA130BDB7F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09611" y="1551041"/>
            <a:ext cx="933081" cy="730237"/>
          </a:xfrm>
          <a:prstGeom prst="rect">
            <a:avLst/>
          </a:prstGeom>
        </p:spPr>
      </p:pic>
      <p:pic>
        <p:nvPicPr>
          <p:cNvPr id="38" name="Graphic 37">
            <a:extLst>
              <a:ext uri="{FF2B5EF4-FFF2-40B4-BE49-F238E27FC236}">
                <a16:creationId xmlns:a16="http://schemas.microsoft.com/office/drawing/2014/main" id="{9B4E23A0-4BFF-6019-8737-ECD530A66FC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9611" y="2811376"/>
            <a:ext cx="933081" cy="730237"/>
          </a:xfrm>
          <a:prstGeom prst="rect">
            <a:avLst/>
          </a:prstGeom>
        </p:spPr>
      </p:pic>
      <p:pic>
        <p:nvPicPr>
          <p:cNvPr id="39" name="Graphic 38">
            <a:extLst>
              <a:ext uri="{FF2B5EF4-FFF2-40B4-BE49-F238E27FC236}">
                <a16:creationId xmlns:a16="http://schemas.microsoft.com/office/drawing/2014/main" id="{44CE0C17-2DE6-C568-D778-DCD5BBF7C04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176230" y="3995983"/>
            <a:ext cx="843830" cy="876285"/>
          </a:xfrm>
          <a:prstGeom prst="rect">
            <a:avLst/>
          </a:prstGeom>
        </p:spPr>
      </p:pic>
      <p:pic>
        <p:nvPicPr>
          <p:cNvPr id="40" name="Graphic 39">
            <a:extLst>
              <a:ext uri="{FF2B5EF4-FFF2-40B4-BE49-F238E27FC236}">
                <a16:creationId xmlns:a16="http://schemas.microsoft.com/office/drawing/2014/main" id="{14009CBF-D6E2-DBD3-FD9B-E125FDD51D3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176231" y="5323934"/>
            <a:ext cx="843830" cy="876285"/>
          </a:xfrm>
          <a:prstGeom prst="rect">
            <a:avLst/>
          </a:prstGeom>
        </p:spPr>
      </p:pic>
      <p:pic>
        <p:nvPicPr>
          <p:cNvPr id="41" name="Graphic 40">
            <a:extLst>
              <a:ext uri="{FF2B5EF4-FFF2-40B4-BE49-F238E27FC236}">
                <a16:creationId xmlns:a16="http://schemas.microsoft.com/office/drawing/2014/main" id="{326F54CB-92C8-38A9-CD45-6FE4EF99C0D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4073775" y="3995983"/>
            <a:ext cx="884398" cy="908740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813C7CEC-9F47-5064-865D-EA90554E297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073775" y="5323934"/>
            <a:ext cx="884398" cy="908740"/>
          </a:xfrm>
          <a:prstGeom prst="rect">
            <a:avLst/>
          </a:prstGeom>
        </p:spPr>
      </p:pic>
      <p:pic>
        <p:nvPicPr>
          <p:cNvPr id="43" name="Graphic 42">
            <a:extLst>
              <a:ext uri="{FF2B5EF4-FFF2-40B4-BE49-F238E27FC236}">
                <a16:creationId xmlns:a16="http://schemas.microsoft.com/office/drawing/2014/main" id="{844B1A34-07A0-1586-452B-BEB9A59E738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028115" y="3995983"/>
            <a:ext cx="908740" cy="892512"/>
          </a:xfrm>
          <a:prstGeom prst="rect">
            <a:avLst/>
          </a:prstGeom>
        </p:spPr>
      </p:pic>
      <p:pic>
        <p:nvPicPr>
          <p:cNvPr id="44" name="Graphic 43">
            <a:extLst>
              <a:ext uri="{FF2B5EF4-FFF2-40B4-BE49-F238E27FC236}">
                <a16:creationId xmlns:a16="http://schemas.microsoft.com/office/drawing/2014/main" id="{0B3A85CF-DF9C-1048-FA00-BD4020AB2F9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028115" y="5323934"/>
            <a:ext cx="908740" cy="892512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:a16="http://schemas.microsoft.com/office/drawing/2014/main" id="{5B1EC6E3-61ED-02F0-B0C5-2811BCE50212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890161" y="3995983"/>
            <a:ext cx="908740" cy="900626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2B11E00F-ACDA-C20C-9217-936DE2817652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1890161" y="5323934"/>
            <a:ext cx="908740" cy="900626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16C078B5-3436-4744-C8C0-BBDFD2C7245D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778578" y="3995983"/>
            <a:ext cx="795147" cy="933081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D0406DD4-CA6B-DA3F-CF4E-8941629AE0DF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58293" y="5323934"/>
            <a:ext cx="835716" cy="933081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D52B4FEE-4E18-77EF-5610-9DD9228B9B8B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886260" y="1551041"/>
            <a:ext cx="908740" cy="876285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9A47D004-3D8B-F859-B17F-6290C0C560BB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886260" y="2811376"/>
            <a:ext cx="908740" cy="876285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713A92C3-A3F1-E382-0FE8-C2FE2B514594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6359824" y="1551041"/>
            <a:ext cx="924967" cy="770806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EF6DB830-2053-0105-1DF9-B8859D09D377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6375033" y="2811376"/>
            <a:ext cx="924967" cy="770806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068462CA-B2D8-D843-DBBC-1EC50907124C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8718896" y="1551041"/>
            <a:ext cx="916853" cy="843830"/>
          </a:xfrm>
          <a:prstGeom prst="rect">
            <a:avLst/>
          </a:prstGeom>
        </p:spPr>
      </p:pic>
      <p:pic>
        <p:nvPicPr>
          <p:cNvPr id="54" name="Graphic 53">
            <a:extLst>
              <a:ext uri="{FF2B5EF4-FFF2-40B4-BE49-F238E27FC236}">
                <a16:creationId xmlns:a16="http://schemas.microsoft.com/office/drawing/2014/main" id="{1C3CAE41-3AB2-3F3C-D84C-BC85F7E3545B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8723962" y="2811376"/>
            <a:ext cx="916853" cy="84383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61CD73A5-7E2F-908D-190B-DD9DCB3E14FF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7535303" y="1551041"/>
            <a:ext cx="933081" cy="770806"/>
          </a:xfrm>
          <a:prstGeom prst="rect">
            <a:avLst/>
          </a:prstGeom>
        </p:spPr>
      </p:pic>
      <p:pic>
        <p:nvPicPr>
          <p:cNvPr id="56" name="Graphic 55">
            <a:extLst>
              <a:ext uri="{FF2B5EF4-FFF2-40B4-BE49-F238E27FC236}">
                <a16:creationId xmlns:a16="http://schemas.microsoft.com/office/drawing/2014/main" id="{CA43A97D-260E-5511-12DA-19272345535F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7545441" y="2811376"/>
            <a:ext cx="933081" cy="835716"/>
          </a:xfrm>
          <a:prstGeom prst="rect">
            <a:avLst/>
          </a:prstGeom>
        </p:spPr>
      </p:pic>
      <p:pic>
        <p:nvPicPr>
          <p:cNvPr id="57" name="Graphic 56">
            <a:extLst>
              <a:ext uri="{FF2B5EF4-FFF2-40B4-BE49-F238E27FC236}">
                <a16:creationId xmlns:a16="http://schemas.microsoft.com/office/drawing/2014/main" id="{608051DA-1CE6-97F9-0951-6895A785D6FD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5176230" y="1551041"/>
            <a:ext cx="933081" cy="689668"/>
          </a:xfrm>
          <a:prstGeom prst="rect">
            <a:avLst/>
          </a:prstGeom>
        </p:spPr>
      </p:pic>
      <p:pic>
        <p:nvPicPr>
          <p:cNvPr id="58" name="Graphic 57">
            <a:extLst>
              <a:ext uri="{FF2B5EF4-FFF2-40B4-BE49-F238E27FC236}">
                <a16:creationId xmlns:a16="http://schemas.microsoft.com/office/drawing/2014/main" id="{800B98AF-4C7B-A7D3-B2E5-ECE00B7AEB16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5176230" y="2811376"/>
            <a:ext cx="933081" cy="697782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94CB4FBF-A7ED-753D-BB0B-D2D03927C373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4073775" y="1551041"/>
            <a:ext cx="851943" cy="900626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89918D1C-BB6A-A7AF-D867-7D8D907AC4A5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4073775" y="2811376"/>
            <a:ext cx="851943" cy="900626"/>
          </a:xfrm>
          <a:prstGeom prst="rect">
            <a:avLst/>
          </a:prstGeom>
        </p:spPr>
      </p:pic>
      <p:pic>
        <p:nvPicPr>
          <p:cNvPr id="61" name="Graphic 60">
            <a:extLst>
              <a:ext uri="{FF2B5EF4-FFF2-40B4-BE49-F238E27FC236}">
                <a16:creationId xmlns:a16="http://schemas.microsoft.com/office/drawing/2014/main" id="{6C3F698C-8758-8E27-C689-70E087DD0FAE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3028115" y="1551041"/>
            <a:ext cx="795147" cy="933081"/>
          </a:xfrm>
          <a:prstGeom prst="rect">
            <a:avLst/>
          </a:prstGeom>
        </p:spPr>
      </p:pic>
      <p:pic>
        <p:nvPicPr>
          <p:cNvPr id="62" name="Graphic 61">
            <a:extLst>
              <a:ext uri="{FF2B5EF4-FFF2-40B4-BE49-F238E27FC236}">
                <a16:creationId xmlns:a16="http://schemas.microsoft.com/office/drawing/2014/main" id="{E61CE466-9640-8B02-A0B0-FCD4A52B8A7E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3028115" y="2811376"/>
            <a:ext cx="835716" cy="933081"/>
          </a:xfrm>
          <a:prstGeom prst="rect">
            <a:avLst/>
          </a:prstGeom>
        </p:spPr>
      </p:pic>
      <p:pic>
        <p:nvPicPr>
          <p:cNvPr id="63" name="Graphic 62">
            <a:extLst>
              <a:ext uri="{FF2B5EF4-FFF2-40B4-BE49-F238E27FC236}">
                <a16:creationId xmlns:a16="http://schemas.microsoft.com/office/drawing/2014/main" id="{B9844C75-C19F-24AB-9115-039C954E47B9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1893204" y="1551041"/>
            <a:ext cx="884398" cy="730237"/>
          </a:xfrm>
          <a:prstGeom prst="rect">
            <a:avLst/>
          </a:prstGeom>
        </p:spPr>
      </p:pic>
      <p:pic>
        <p:nvPicPr>
          <p:cNvPr id="64" name="Graphic 63">
            <a:extLst>
              <a:ext uri="{FF2B5EF4-FFF2-40B4-BE49-F238E27FC236}">
                <a16:creationId xmlns:a16="http://schemas.microsoft.com/office/drawing/2014/main" id="{EEE9995A-E918-F7D1-0576-BDB35962C994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1888132" y="2811376"/>
            <a:ext cx="884398" cy="730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149743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47CF368-981C-DE52-85C6-110506460B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84">
            <a:extLst>
              <a:ext uri="{FF2B5EF4-FFF2-40B4-BE49-F238E27FC236}">
                <a16:creationId xmlns:a16="http://schemas.microsoft.com/office/drawing/2014/main" id="{806940DC-C87D-8B85-DA53-5340839AF918}"/>
              </a:ext>
            </a:extLst>
          </p:cNvPr>
          <p:cNvSpPr/>
          <p:nvPr/>
        </p:nvSpPr>
        <p:spPr>
          <a:xfrm>
            <a:off x="905264" y="2165034"/>
            <a:ext cx="4045942" cy="3626851"/>
          </a:xfrm>
          <a:prstGeom prst="ellipse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0" rtlCol="0" anchor="ctr"/>
          <a:lstStyle/>
          <a:p>
            <a:r>
              <a:rPr lang="da-DK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menKompas vil etablere en branchestandard med tilh</a:t>
            </a:r>
            <a:r>
              <a:rPr lang="da-DK" sz="16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ørende data og enkle værktøjer, som sætter de almene boligorganisationer i stand til at arbejde målbart og databaseret med bæredygtighed, herunder ESG-rapportering</a:t>
            </a:r>
            <a:endParaRPr lang="da-DK" sz="160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C12E706-B75C-0FEF-0722-91EBCAA994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8904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C12E706-B75C-0FEF-0722-91EBCAA994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DC324F66-7917-2808-4F3A-7B45B6D009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 dirty="0"/>
              <a:t>Missionen for AlmenKompas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0168B5E-7DDB-C369-E8D8-4904FCEF775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3</a:t>
            </a:fld>
            <a:endParaRPr lang="da-DK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F87B6DB-C5DB-F34D-9590-E486C884F77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9999" y="956253"/>
            <a:ext cx="11471275" cy="445510"/>
          </a:xfrm>
        </p:spPr>
        <p:txBody>
          <a:bodyPr tIns="108000"/>
          <a:lstStyle/>
          <a:p>
            <a:pPr>
              <a:lnSpc>
                <a:spcPct val="80000"/>
              </a:lnSpc>
            </a:pPr>
            <a:r>
              <a:rPr lang="da-DK" dirty="0"/>
              <a:t>Mere bæredygtighed i det almene gennem fælles definitioner og metoder</a:t>
            </a:r>
          </a:p>
        </p:txBody>
      </p:sp>
      <p:pic>
        <p:nvPicPr>
          <p:cNvPr id="5" name="Graphic 1">
            <a:extLst>
              <a:ext uri="{FF2B5EF4-FFF2-40B4-BE49-F238E27FC236}">
                <a16:creationId xmlns:a16="http://schemas.microsoft.com/office/drawing/2014/main" id="{CF868AFA-A91D-F459-2FE2-D4C46D6BE20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063869" y="1307961"/>
            <a:ext cx="7124050" cy="4825302"/>
          </a:xfrm>
          <a:prstGeom prst="rect">
            <a:avLst/>
          </a:prstGeom>
        </p:spPr>
      </p:pic>
      <p:sp>
        <p:nvSpPr>
          <p:cNvPr id="7" name="Freeform: Shape 47">
            <a:extLst>
              <a:ext uri="{FF2B5EF4-FFF2-40B4-BE49-F238E27FC236}">
                <a16:creationId xmlns:a16="http://schemas.microsoft.com/office/drawing/2014/main" id="{D7FB2D78-C8D2-A8AC-3073-1C2A0999415C}"/>
              </a:ext>
            </a:extLst>
          </p:cNvPr>
          <p:cNvSpPr/>
          <p:nvPr/>
        </p:nvSpPr>
        <p:spPr>
          <a:xfrm>
            <a:off x="5429459" y="5967910"/>
            <a:ext cx="6410116" cy="311679"/>
          </a:xfrm>
          <a:custGeom>
            <a:avLst/>
            <a:gdLst>
              <a:gd name="connsiteX0" fmla="*/ 0 w 1082244"/>
              <a:gd name="connsiteY0" fmla="*/ 43265 h 52622"/>
              <a:gd name="connsiteX1" fmla="*/ 17848 w 1082244"/>
              <a:gd name="connsiteY1" fmla="*/ 43265 h 52622"/>
              <a:gd name="connsiteX2" fmla="*/ 35696 w 1082244"/>
              <a:gd name="connsiteY2" fmla="*/ 43265 h 52622"/>
              <a:gd name="connsiteX3" fmla="*/ 53544 w 1082244"/>
              <a:gd name="connsiteY3" fmla="*/ 43806 h 52622"/>
              <a:gd name="connsiteX4" fmla="*/ 71393 w 1082244"/>
              <a:gd name="connsiteY4" fmla="*/ 43806 h 52622"/>
              <a:gd name="connsiteX5" fmla="*/ 89241 w 1082244"/>
              <a:gd name="connsiteY5" fmla="*/ 43806 h 52622"/>
              <a:gd name="connsiteX6" fmla="*/ 107089 w 1082244"/>
              <a:gd name="connsiteY6" fmla="*/ 42183 h 52622"/>
              <a:gd name="connsiteX7" fmla="*/ 124937 w 1082244"/>
              <a:gd name="connsiteY7" fmla="*/ 44346 h 52622"/>
              <a:gd name="connsiteX8" fmla="*/ 142785 w 1082244"/>
              <a:gd name="connsiteY8" fmla="*/ 44888 h 52622"/>
              <a:gd name="connsiteX9" fmla="*/ 160633 w 1082244"/>
              <a:gd name="connsiteY9" fmla="*/ 43265 h 52622"/>
              <a:gd name="connsiteX10" fmla="*/ 178481 w 1082244"/>
              <a:gd name="connsiteY10" fmla="*/ 44346 h 52622"/>
              <a:gd name="connsiteX11" fmla="*/ 196329 w 1082244"/>
              <a:gd name="connsiteY11" fmla="*/ 42724 h 52622"/>
              <a:gd name="connsiteX12" fmla="*/ 214177 w 1082244"/>
              <a:gd name="connsiteY12" fmla="*/ 43806 h 52622"/>
              <a:gd name="connsiteX13" fmla="*/ 232026 w 1082244"/>
              <a:gd name="connsiteY13" fmla="*/ 44346 h 52622"/>
              <a:gd name="connsiteX14" fmla="*/ 249874 w 1082244"/>
              <a:gd name="connsiteY14" fmla="*/ 44888 h 52622"/>
              <a:gd name="connsiteX15" fmla="*/ 267722 w 1082244"/>
              <a:gd name="connsiteY15" fmla="*/ 44346 h 52622"/>
              <a:gd name="connsiteX16" fmla="*/ 285570 w 1082244"/>
              <a:gd name="connsiteY16" fmla="*/ 42724 h 52622"/>
              <a:gd name="connsiteX17" fmla="*/ 303418 w 1082244"/>
              <a:gd name="connsiteY17" fmla="*/ 42724 h 52622"/>
              <a:gd name="connsiteX18" fmla="*/ 321266 w 1082244"/>
              <a:gd name="connsiteY18" fmla="*/ 44888 h 52622"/>
              <a:gd name="connsiteX19" fmla="*/ 339114 w 1082244"/>
              <a:gd name="connsiteY19" fmla="*/ 44346 h 52622"/>
              <a:gd name="connsiteX20" fmla="*/ 356962 w 1082244"/>
              <a:gd name="connsiteY20" fmla="*/ 44346 h 52622"/>
              <a:gd name="connsiteX21" fmla="*/ 374810 w 1082244"/>
              <a:gd name="connsiteY21" fmla="*/ 42724 h 52622"/>
              <a:gd name="connsiteX22" fmla="*/ 392658 w 1082244"/>
              <a:gd name="connsiteY22" fmla="*/ 42183 h 52622"/>
              <a:gd name="connsiteX23" fmla="*/ 410507 w 1082244"/>
              <a:gd name="connsiteY23" fmla="*/ 43806 h 52622"/>
              <a:gd name="connsiteX24" fmla="*/ 428355 w 1082244"/>
              <a:gd name="connsiteY24" fmla="*/ 44346 h 52622"/>
              <a:gd name="connsiteX25" fmla="*/ 446203 w 1082244"/>
              <a:gd name="connsiteY25" fmla="*/ 42183 h 52622"/>
              <a:gd name="connsiteX26" fmla="*/ 464051 w 1082244"/>
              <a:gd name="connsiteY26" fmla="*/ 44346 h 52622"/>
              <a:gd name="connsiteX27" fmla="*/ 481899 w 1082244"/>
              <a:gd name="connsiteY27" fmla="*/ 42724 h 52622"/>
              <a:gd name="connsiteX28" fmla="*/ 499747 w 1082244"/>
              <a:gd name="connsiteY28" fmla="*/ 42724 h 52622"/>
              <a:gd name="connsiteX29" fmla="*/ 517595 w 1082244"/>
              <a:gd name="connsiteY29" fmla="*/ 43806 h 52622"/>
              <a:gd name="connsiteX30" fmla="*/ 535443 w 1082244"/>
              <a:gd name="connsiteY30" fmla="*/ 43806 h 52622"/>
              <a:gd name="connsiteX31" fmla="*/ 553292 w 1082244"/>
              <a:gd name="connsiteY31" fmla="*/ 44346 h 52622"/>
              <a:gd name="connsiteX32" fmla="*/ 571139 w 1082244"/>
              <a:gd name="connsiteY32" fmla="*/ 42724 h 52622"/>
              <a:gd name="connsiteX33" fmla="*/ 588988 w 1082244"/>
              <a:gd name="connsiteY33" fmla="*/ 42724 h 52622"/>
              <a:gd name="connsiteX34" fmla="*/ 606835 w 1082244"/>
              <a:gd name="connsiteY34" fmla="*/ 43806 h 52622"/>
              <a:gd name="connsiteX35" fmla="*/ 624684 w 1082244"/>
              <a:gd name="connsiteY35" fmla="*/ 44346 h 52622"/>
              <a:gd name="connsiteX36" fmla="*/ 642532 w 1082244"/>
              <a:gd name="connsiteY36" fmla="*/ 42183 h 52622"/>
              <a:gd name="connsiteX37" fmla="*/ 660380 w 1082244"/>
              <a:gd name="connsiteY37" fmla="*/ 43806 h 52622"/>
              <a:gd name="connsiteX38" fmla="*/ 678228 w 1082244"/>
              <a:gd name="connsiteY38" fmla="*/ 43265 h 52622"/>
              <a:gd name="connsiteX39" fmla="*/ 696076 w 1082244"/>
              <a:gd name="connsiteY39" fmla="*/ 43265 h 52622"/>
              <a:gd name="connsiteX40" fmla="*/ 713924 w 1082244"/>
              <a:gd name="connsiteY40" fmla="*/ 43806 h 52622"/>
              <a:gd name="connsiteX41" fmla="*/ 731773 w 1082244"/>
              <a:gd name="connsiteY41" fmla="*/ 43806 h 52622"/>
              <a:gd name="connsiteX42" fmla="*/ 749620 w 1082244"/>
              <a:gd name="connsiteY42" fmla="*/ 44346 h 52622"/>
              <a:gd name="connsiteX43" fmla="*/ 765846 w 1082244"/>
              <a:gd name="connsiteY43" fmla="*/ 32988 h 52622"/>
              <a:gd name="connsiteX44" fmla="*/ 782612 w 1082244"/>
              <a:gd name="connsiteY44" fmla="*/ 22712 h 52622"/>
              <a:gd name="connsiteX45" fmla="*/ 798838 w 1082244"/>
              <a:gd name="connsiteY45" fmla="*/ 11895 h 52622"/>
              <a:gd name="connsiteX46" fmla="*/ 815605 w 1082244"/>
              <a:gd name="connsiteY46" fmla="*/ 1078 h 52622"/>
              <a:gd name="connsiteX47" fmla="*/ 806410 w 1082244"/>
              <a:gd name="connsiteY47" fmla="*/ 15141 h 52622"/>
              <a:gd name="connsiteX48" fmla="*/ 797756 w 1082244"/>
              <a:gd name="connsiteY48" fmla="*/ 29203 h 52622"/>
              <a:gd name="connsiteX49" fmla="*/ 789103 w 1082244"/>
              <a:gd name="connsiteY49" fmla="*/ 42724 h 52622"/>
              <a:gd name="connsiteX50" fmla="*/ 803706 w 1082244"/>
              <a:gd name="connsiteY50" fmla="*/ 38397 h 52622"/>
              <a:gd name="connsiteX51" fmla="*/ 819390 w 1082244"/>
              <a:gd name="connsiteY51" fmla="*/ 35693 h 52622"/>
              <a:gd name="connsiteX52" fmla="*/ 834535 w 1082244"/>
              <a:gd name="connsiteY52" fmla="*/ 31907 h 52622"/>
              <a:gd name="connsiteX53" fmla="*/ 825340 w 1082244"/>
              <a:gd name="connsiteY53" fmla="*/ 41101 h 52622"/>
              <a:gd name="connsiteX54" fmla="*/ 815063 w 1082244"/>
              <a:gd name="connsiteY54" fmla="*/ 49755 h 52622"/>
              <a:gd name="connsiteX55" fmla="*/ 832371 w 1082244"/>
              <a:gd name="connsiteY55" fmla="*/ 48673 h 52622"/>
              <a:gd name="connsiteX56" fmla="*/ 850219 w 1082244"/>
              <a:gd name="connsiteY56" fmla="*/ 49214 h 52622"/>
              <a:gd name="connsiteX57" fmla="*/ 868067 w 1082244"/>
              <a:gd name="connsiteY57" fmla="*/ 49755 h 52622"/>
              <a:gd name="connsiteX58" fmla="*/ 885915 w 1082244"/>
              <a:gd name="connsiteY58" fmla="*/ 49214 h 52622"/>
              <a:gd name="connsiteX59" fmla="*/ 903763 w 1082244"/>
              <a:gd name="connsiteY59" fmla="*/ 50296 h 52622"/>
              <a:gd name="connsiteX60" fmla="*/ 921612 w 1082244"/>
              <a:gd name="connsiteY60" fmla="*/ 49755 h 52622"/>
              <a:gd name="connsiteX61" fmla="*/ 939459 w 1082244"/>
              <a:gd name="connsiteY61" fmla="*/ 51378 h 52622"/>
              <a:gd name="connsiteX62" fmla="*/ 957308 w 1082244"/>
              <a:gd name="connsiteY62" fmla="*/ 50837 h 52622"/>
              <a:gd name="connsiteX63" fmla="*/ 975156 w 1082244"/>
              <a:gd name="connsiteY63" fmla="*/ 51378 h 52622"/>
              <a:gd name="connsiteX64" fmla="*/ 993004 w 1082244"/>
              <a:gd name="connsiteY64" fmla="*/ 51378 h 52622"/>
              <a:gd name="connsiteX65" fmla="*/ 1010852 w 1082244"/>
              <a:gd name="connsiteY65" fmla="*/ 49214 h 52622"/>
              <a:gd name="connsiteX66" fmla="*/ 1028700 w 1082244"/>
              <a:gd name="connsiteY66" fmla="*/ 51378 h 52622"/>
              <a:gd name="connsiteX67" fmla="*/ 1046548 w 1082244"/>
              <a:gd name="connsiteY67" fmla="*/ 50837 h 52622"/>
              <a:gd name="connsiteX68" fmla="*/ 1064397 w 1082244"/>
              <a:gd name="connsiteY68" fmla="*/ 50837 h 52622"/>
              <a:gd name="connsiteX69" fmla="*/ 1082244 w 1082244"/>
              <a:gd name="connsiteY69" fmla="*/ 51918 h 526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1082244" h="52622">
                <a:moveTo>
                  <a:pt x="0" y="43265"/>
                </a:moveTo>
                <a:cubicBezTo>
                  <a:pt x="8653" y="43265"/>
                  <a:pt x="8653" y="43265"/>
                  <a:pt x="17848" y="43265"/>
                </a:cubicBezTo>
                <a:cubicBezTo>
                  <a:pt x="26502" y="43265"/>
                  <a:pt x="26502" y="43265"/>
                  <a:pt x="35696" y="43265"/>
                </a:cubicBezTo>
                <a:cubicBezTo>
                  <a:pt x="44350" y="43265"/>
                  <a:pt x="44350" y="43806"/>
                  <a:pt x="53544" y="43806"/>
                </a:cubicBezTo>
                <a:cubicBezTo>
                  <a:pt x="62198" y="43806"/>
                  <a:pt x="62198" y="43806"/>
                  <a:pt x="71393" y="43806"/>
                </a:cubicBezTo>
                <a:cubicBezTo>
                  <a:pt x="80046" y="43806"/>
                  <a:pt x="80046" y="43806"/>
                  <a:pt x="89241" y="43806"/>
                </a:cubicBezTo>
                <a:cubicBezTo>
                  <a:pt x="97894" y="43806"/>
                  <a:pt x="97894" y="42183"/>
                  <a:pt x="107089" y="42183"/>
                </a:cubicBezTo>
                <a:cubicBezTo>
                  <a:pt x="115742" y="42183"/>
                  <a:pt x="115742" y="44346"/>
                  <a:pt x="124937" y="44346"/>
                </a:cubicBezTo>
                <a:cubicBezTo>
                  <a:pt x="133590" y="44346"/>
                  <a:pt x="133590" y="44888"/>
                  <a:pt x="142785" y="44888"/>
                </a:cubicBezTo>
                <a:cubicBezTo>
                  <a:pt x="151438" y="44888"/>
                  <a:pt x="151438" y="43265"/>
                  <a:pt x="160633" y="43265"/>
                </a:cubicBezTo>
                <a:cubicBezTo>
                  <a:pt x="169287" y="43265"/>
                  <a:pt x="169287" y="44346"/>
                  <a:pt x="178481" y="44346"/>
                </a:cubicBezTo>
                <a:cubicBezTo>
                  <a:pt x="187135" y="44346"/>
                  <a:pt x="187135" y="42724"/>
                  <a:pt x="196329" y="42724"/>
                </a:cubicBezTo>
                <a:cubicBezTo>
                  <a:pt x="204983" y="42724"/>
                  <a:pt x="204983" y="43806"/>
                  <a:pt x="214177" y="43806"/>
                </a:cubicBezTo>
                <a:cubicBezTo>
                  <a:pt x="222831" y="43806"/>
                  <a:pt x="222831" y="44346"/>
                  <a:pt x="232026" y="44346"/>
                </a:cubicBezTo>
                <a:cubicBezTo>
                  <a:pt x="240679" y="44346"/>
                  <a:pt x="240679" y="44888"/>
                  <a:pt x="249874" y="44888"/>
                </a:cubicBezTo>
                <a:cubicBezTo>
                  <a:pt x="258527" y="44888"/>
                  <a:pt x="258527" y="44346"/>
                  <a:pt x="267722" y="44346"/>
                </a:cubicBezTo>
                <a:cubicBezTo>
                  <a:pt x="276375" y="44346"/>
                  <a:pt x="276375" y="42724"/>
                  <a:pt x="285570" y="42724"/>
                </a:cubicBezTo>
                <a:cubicBezTo>
                  <a:pt x="294224" y="42724"/>
                  <a:pt x="294224" y="42724"/>
                  <a:pt x="303418" y="42724"/>
                </a:cubicBezTo>
                <a:cubicBezTo>
                  <a:pt x="312072" y="42724"/>
                  <a:pt x="312072" y="44888"/>
                  <a:pt x="321266" y="44888"/>
                </a:cubicBezTo>
                <a:cubicBezTo>
                  <a:pt x="329920" y="44888"/>
                  <a:pt x="329920" y="44346"/>
                  <a:pt x="339114" y="44346"/>
                </a:cubicBezTo>
                <a:cubicBezTo>
                  <a:pt x="347768" y="44346"/>
                  <a:pt x="347768" y="44346"/>
                  <a:pt x="356962" y="44346"/>
                </a:cubicBezTo>
                <a:cubicBezTo>
                  <a:pt x="365616" y="44346"/>
                  <a:pt x="365616" y="42724"/>
                  <a:pt x="374810" y="42724"/>
                </a:cubicBezTo>
                <a:cubicBezTo>
                  <a:pt x="383464" y="42724"/>
                  <a:pt x="383464" y="42183"/>
                  <a:pt x="392658" y="42183"/>
                </a:cubicBezTo>
                <a:cubicBezTo>
                  <a:pt x="401312" y="42183"/>
                  <a:pt x="401312" y="43806"/>
                  <a:pt x="410507" y="43806"/>
                </a:cubicBezTo>
                <a:cubicBezTo>
                  <a:pt x="419160" y="43806"/>
                  <a:pt x="419160" y="44346"/>
                  <a:pt x="428355" y="44346"/>
                </a:cubicBezTo>
                <a:cubicBezTo>
                  <a:pt x="437008" y="44346"/>
                  <a:pt x="437008" y="42183"/>
                  <a:pt x="446203" y="42183"/>
                </a:cubicBezTo>
                <a:cubicBezTo>
                  <a:pt x="454856" y="42183"/>
                  <a:pt x="454856" y="44346"/>
                  <a:pt x="464051" y="44346"/>
                </a:cubicBezTo>
                <a:cubicBezTo>
                  <a:pt x="472705" y="44346"/>
                  <a:pt x="472705" y="42724"/>
                  <a:pt x="481899" y="42724"/>
                </a:cubicBezTo>
                <a:cubicBezTo>
                  <a:pt x="490552" y="42724"/>
                  <a:pt x="490552" y="42724"/>
                  <a:pt x="499747" y="42724"/>
                </a:cubicBezTo>
                <a:cubicBezTo>
                  <a:pt x="508401" y="42724"/>
                  <a:pt x="508401" y="43806"/>
                  <a:pt x="517595" y="43806"/>
                </a:cubicBezTo>
                <a:cubicBezTo>
                  <a:pt x="526249" y="43806"/>
                  <a:pt x="526249" y="43806"/>
                  <a:pt x="535443" y="43806"/>
                </a:cubicBezTo>
                <a:cubicBezTo>
                  <a:pt x="544097" y="43806"/>
                  <a:pt x="544097" y="44346"/>
                  <a:pt x="553292" y="44346"/>
                </a:cubicBezTo>
                <a:cubicBezTo>
                  <a:pt x="561945" y="44346"/>
                  <a:pt x="561945" y="42724"/>
                  <a:pt x="571139" y="42724"/>
                </a:cubicBezTo>
                <a:cubicBezTo>
                  <a:pt x="579793" y="42724"/>
                  <a:pt x="579793" y="42724"/>
                  <a:pt x="588988" y="42724"/>
                </a:cubicBezTo>
                <a:cubicBezTo>
                  <a:pt x="597641" y="42724"/>
                  <a:pt x="597641" y="43806"/>
                  <a:pt x="606835" y="43806"/>
                </a:cubicBezTo>
                <a:cubicBezTo>
                  <a:pt x="615490" y="43806"/>
                  <a:pt x="615490" y="44346"/>
                  <a:pt x="624684" y="44346"/>
                </a:cubicBezTo>
                <a:cubicBezTo>
                  <a:pt x="633878" y="44346"/>
                  <a:pt x="633337" y="42183"/>
                  <a:pt x="642532" y="42183"/>
                </a:cubicBezTo>
                <a:cubicBezTo>
                  <a:pt x="651186" y="42183"/>
                  <a:pt x="651186" y="43806"/>
                  <a:pt x="660380" y="43806"/>
                </a:cubicBezTo>
                <a:cubicBezTo>
                  <a:pt x="669033" y="43806"/>
                  <a:pt x="669033" y="43265"/>
                  <a:pt x="678228" y="43265"/>
                </a:cubicBezTo>
                <a:cubicBezTo>
                  <a:pt x="686882" y="43265"/>
                  <a:pt x="686882" y="43265"/>
                  <a:pt x="696076" y="43265"/>
                </a:cubicBezTo>
                <a:cubicBezTo>
                  <a:pt x="704730" y="43265"/>
                  <a:pt x="704730" y="43806"/>
                  <a:pt x="713924" y="43806"/>
                </a:cubicBezTo>
                <a:cubicBezTo>
                  <a:pt x="722578" y="43806"/>
                  <a:pt x="722578" y="43806"/>
                  <a:pt x="731773" y="43806"/>
                </a:cubicBezTo>
                <a:cubicBezTo>
                  <a:pt x="740426" y="43806"/>
                  <a:pt x="741508" y="46510"/>
                  <a:pt x="749620" y="44346"/>
                </a:cubicBezTo>
                <a:cubicBezTo>
                  <a:pt x="758815" y="41642"/>
                  <a:pt x="757733" y="38397"/>
                  <a:pt x="765846" y="32988"/>
                </a:cubicBezTo>
                <a:cubicBezTo>
                  <a:pt x="773959" y="27580"/>
                  <a:pt x="774499" y="28121"/>
                  <a:pt x="782612" y="22712"/>
                </a:cubicBezTo>
                <a:cubicBezTo>
                  <a:pt x="790725" y="17304"/>
                  <a:pt x="790725" y="16763"/>
                  <a:pt x="798838" y="11895"/>
                </a:cubicBezTo>
                <a:cubicBezTo>
                  <a:pt x="806951" y="6487"/>
                  <a:pt x="806410" y="-3248"/>
                  <a:pt x="815605" y="1078"/>
                </a:cubicBezTo>
                <a:cubicBezTo>
                  <a:pt x="823176" y="4324"/>
                  <a:pt x="810737" y="8109"/>
                  <a:pt x="806410" y="15141"/>
                </a:cubicBezTo>
                <a:cubicBezTo>
                  <a:pt x="802083" y="22171"/>
                  <a:pt x="802083" y="22171"/>
                  <a:pt x="797756" y="29203"/>
                </a:cubicBezTo>
                <a:cubicBezTo>
                  <a:pt x="793429" y="36233"/>
                  <a:pt x="784776" y="35693"/>
                  <a:pt x="789103" y="42724"/>
                </a:cubicBezTo>
                <a:cubicBezTo>
                  <a:pt x="793429" y="49214"/>
                  <a:pt x="796134" y="40020"/>
                  <a:pt x="803706" y="38397"/>
                </a:cubicBezTo>
                <a:cubicBezTo>
                  <a:pt x="811278" y="36233"/>
                  <a:pt x="811818" y="37856"/>
                  <a:pt x="819390" y="35693"/>
                </a:cubicBezTo>
                <a:cubicBezTo>
                  <a:pt x="826962" y="33529"/>
                  <a:pt x="829126" y="26499"/>
                  <a:pt x="834535" y="31907"/>
                </a:cubicBezTo>
                <a:cubicBezTo>
                  <a:pt x="839402" y="36775"/>
                  <a:pt x="830207" y="36775"/>
                  <a:pt x="825340" y="41101"/>
                </a:cubicBezTo>
                <a:cubicBezTo>
                  <a:pt x="820472" y="45428"/>
                  <a:pt x="810737" y="44346"/>
                  <a:pt x="815063" y="49755"/>
                </a:cubicBezTo>
                <a:cubicBezTo>
                  <a:pt x="821013" y="56786"/>
                  <a:pt x="823718" y="48673"/>
                  <a:pt x="832371" y="48673"/>
                </a:cubicBezTo>
                <a:cubicBezTo>
                  <a:pt x="841025" y="48673"/>
                  <a:pt x="841025" y="49214"/>
                  <a:pt x="850219" y="49214"/>
                </a:cubicBezTo>
                <a:cubicBezTo>
                  <a:pt x="858873" y="49214"/>
                  <a:pt x="858873" y="49755"/>
                  <a:pt x="868067" y="49755"/>
                </a:cubicBezTo>
                <a:cubicBezTo>
                  <a:pt x="876721" y="49755"/>
                  <a:pt x="876721" y="49214"/>
                  <a:pt x="885915" y="49214"/>
                </a:cubicBezTo>
                <a:cubicBezTo>
                  <a:pt x="894569" y="49214"/>
                  <a:pt x="894569" y="50296"/>
                  <a:pt x="903763" y="50296"/>
                </a:cubicBezTo>
                <a:cubicBezTo>
                  <a:pt x="912417" y="50296"/>
                  <a:pt x="912417" y="49755"/>
                  <a:pt x="921612" y="49755"/>
                </a:cubicBezTo>
                <a:cubicBezTo>
                  <a:pt x="930265" y="49755"/>
                  <a:pt x="930265" y="51378"/>
                  <a:pt x="939459" y="51378"/>
                </a:cubicBezTo>
                <a:cubicBezTo>
                  <a:pt x="948113" y="51378"/>
                  <a:pt x="948113" y="50837"/>
                  <a:pt x="957308" y="50837"/>
                </a:cubicBezTo>
                <a:cubicBezTo>
                  <a:pt x="965961" y="50837"/>
                  <a:pt x="965961" y="51378"/>
                  <a:pt x="975156" y="51378"/>
                </a:cubicBezTo>
                <a:cubicBezTo>
                  <a:pt x="983809" y="51378"/>
                  <a:pt x="983809" y="51378"/>
                  <a:pt x="993004" y="51378"/>
                </a:cubicBezTo>
                <a:cubicBezTo>
                  <a:pt x="1001657" y="51378"/>
                  <a:pt x="1001657" y="49214"/>
                  <a:pt x="1010852" y="49214"/>
                </a:cubicBezTo>
                <a:cubicBezTo>
                  <a:pt x="1019506" y="49214"/>
                  <a:pt x="1019506" y="51378"/>
                  <a:pt x="1028700" y="51378"/>
                </a:cubicBezTo>
                <a:cubicBezTo>
                  <a:pt x="1037354" y="51378"/>
                  <a:pt x="1037354" y="50837"/>
                  <a:pt x="1046548" y="50837"/>
                </a:cubicBezTo>
                <a:cubicBezTo>
                  <a:pt x="1055202" y="50837"/>
                  <a:pt x="1055202" y="50837"/>
                  <a:pt x="1064397" y="50837"/>
                </a:cubicBezTo>
                <a:cubicBezTo>
                  <a:pt x="1073591" y="50837"/>
                  <a:pt x="1073050" y="51918"/>
                  <a:pt x="1082244" y="51918"/>
                </a:cubicBez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</a:ln>
        </p:spPr>
        <p:txBody>
          <a:bodyPr rtlCol="0" anchor="ctr"/>
          <a:lstStyle/>
          <a:p>
            <a:endParaRPr lang="da-DK"/>
          </a:p>
        </p:txBody>
      </p:sp>
      <p:sp>
        <p:nvSpPr>
          <p:cNvPr id="9" name="Freeform: Shape 583">
            <a:extLst>
              <a:ext uri="{FF2B5EF4-FFF2-40B4-BE49-F238E27FC236}">
                <a16:creationId xmlns:a16="http://schemas.microsoft.com/office/drawing/2014/main" id="{C026AA31-9448-6225-8C65-07BC94DB9517}"/>
              </a:ext>
            </a:extLst>
          </p:cNvPr>
          <p:cNvSpPr/>
          <p:nvPr/>
        </p:nvSpPr>
        <p:spPr>
          <a:xfrm>
            <a:off x="383858" y="4692966"/>
            <a:ext cx="5127307" cy="1585021"/>
          </a:xfrm>
          <a:custGeom>
            <a:avLst/>
            <a:gdLst>
              <a:gd name="connsiteX0" fmla="*/ 0 w 4808220"/>
              <a:gd name="connsiteY0" fmla="*/ 0 h 982980"/>
              <a:gd name="connsiteX1" fmla="*/ 22860 w 4808220"/>
              <a:gd name="connsiteY1" fmla="*/ 45720 h 982980"/>
              <a:gd name="connsiteX2" fmla="*/ 68580 w 4808220"/>
              <a:gd name="connsiteY2" fmla="*/ 68580 h 982980"/>
              <a:gd name="connsiteX3" fmla="*/ 129540 w 4808220"/>
              <a:gd name="connsiteY3" fmla="*/ 144780 h 982980"/>
              <a:gd name="connsiteX4" fmla="*/ 144780 w 4808220"/>
              <a:gd name="connsiteY4" fmla="*/ 167640 h 982980"/>
              <a:gd name="connsiteX5" fmla="*/ 152400 w 4808220"/>
              <a:gd name="connsiteY5" fmla="*/ 190500 h 982980"/>
              <a:gd name="connsiteX6" fmla="*/ 175260 w 4808220"/>
              <a:gd name="connsiteY6" fmla="*/ 205740 h 982980"/>
              <a:gd name="connsiteX7" fmla="*/ 190500 w 4808220"/>
              <a:gd name="connsiteY7" fmla="*/ 228600 h 982980"/>
              <a:gd name="connsiteX8" fmla="*/ 243840 w 4808220"/>
              <a:gd name="connsiteY8" fmla="*/ 297180 h 982980"/>
              <a:gd name="connsiteX9" fmla="*/ 274320 w 4808220"/>
              <a:gd name="connsiteY9" fmla="*/ 335280 h 982980"/>
              <a:gd name="connsiteX10" fmla="*/ 289560 w 4808220"/>
              <a:gd name="connsiteY10" fmla="*/ 365760 h 982980"/>
              <a:gd name="connsiteX11" fmla="*/ 342900 w 4808220"/>
              <a:gd name="connsiteY11" fmla="*/ 419100 h 982980"/>
              <a:gd name="connsiteX12" fmla="*/ 365760 w 4808220"/>
              <a:gd name="connsiteY12" fmla="*/ 441960 h 982980"/>
              <a:gd name="connsiteX13" fmla="*/ 449580 w 4808220"/>
              <a:gd name="connsiteY13" fmla="*/ 495300 h 982980"/>
              <a:gd name="connsiteX14" fmla="*/ 480060 w 4808220"/>
              <a:gd name="connsiteY14" fmla="*/ 510540 h 982980"/>
              <a:gd name="connsiteX15" fmla="*/ 510540 w 4808220"/>
              <a:gd name="connsiteY15" fmla="*/ 541020 h 982980"/>
              <a:gd name="connsiteX16" fmla="*/ 533400 w 4808220"/>
              <a:gd name="connsiteY16" fmla="*/ 556260 h 982980"/>
              <a:gd name="connsiteX17" fmla="*/ 556260 w 4808220"/>
              <a:gd name="connsiteY17" fmla="*/ 594360 h 982980"/>
              <a:gd name="connsiteX18" fmla="*/ 586740 w 4808220"/>
              <a:gd name="connsiteY18" fmla="*/ 617220 h 982980"/>
              <a:gd name="connsiteX19" fmla="*/ 640080 w 4808220"/>
              <a:gd name="connsiteY19" fmla="*/ 647700 h 982980"/>
              <a:gd name="connsiteX20" fmla="*/ 670560 w 4808220"/>
              <a:gd name="connsiteY20" fmla="*/ 662940 h 982980"/>
              <a:gd name="connsiteX21" fmla="*/ 754380 w 4808220"/>
              <a:gd name="connsiteY21" fmla="*/ 716280 h 982980"/>
              <a:gd name="connsiteX22" fmla="*/ 784860 w 4808220"/>
              <a:gd name="connsiteY22" fmla="*/ 739140 h 982980"/>
              <a:gd name="connsiteX23" fmla="*/ 960120 w 4808220"/>
              <a:gd name="connsiteY23" fmla="*/ 807720 h 982980"/>
              <a:gd name="connsiteX24" fmla="*/ 1059180 w 4808220"/>
              <a:gd name="connsiteY24" fmla="*/ 838200 h 982980"/>
              <a:gd name="connsiteX25" fmla="*/ 1097280 w 4808220"/>
              <a:gd name="connsiteY25" fmla="*/ 861060 h 982980"/>
              <a:gd name="connsiteX26" fmla="*/ 1143000 w 4808220"/>
              <a:gd name="connsiteY26" fmla="*/ 883920 h 982980"/>
              <a:gd name="connsiteX27" fmla="*/ 1203960 w 4808220"/>
              <a:gd name="connsiteY27" fmla="*/ 922020 h 982980"/>
              <a:gd name="connsiteX28" fmla="*/ 1257300 w 4808220"/>
              <a:gd name="connsiteY28" fmla="*/ 937260 h 982980"/>
              <a:gd name="connsiteX29" fmla="*/ 1386840 w 4808220"/>
              <a:gd name="connsiteY29" fmla="*/ 952500 h 982980"/>
              <a:gd name="connsiteX30" fmla="*/ 1455420 w 4808220"/>
              <a:gd name="connsiteY30" fmla="*/ 967740 h 982980"/>
              <a:gd name="connsiteX31" fmla="*/ 1889760 w 4808220"/>
              <a:gd name="connsiteY31" fmla="*/ 967740 h 982980"/>
              <a:gd name="connsiteX32" fmla="*/ 2453640 w 4808220"/>
              <a:gd name="connsiteY32" fmla="*/ 975360 h 982980"/>
              <a:gd name="connsiteX33" fmla="*/ 2560320 w 4808220"/>
              <a:gd name="connsiteY33" fmla="*/ 982980 h 982980"/>
              <a:gd name="connsiteX34" fmla="*/ 3779520 w 4808220"/>
              <a:gd name="connsiteY34" fmla="*/ 975360 h 982980"/>
              <a:gd name="connsiteX35" fmla="*/ 3916680 w 4808220"/>
              <a:gd name="connsiteY35" fmla="*/ 960120 h 982980"/>
              <a:gd name="connsiteX36" fmla="*/ 4061460 w 4808220"/>
              <a:gd name="connsiteY36" fmla="*/ 937260 h 982980"/>
              <a:gd name="connsiteX37" fmla="*/ 4808220 w 4808220"/>
              <a:gd name="connsiteY37" fmla="*/ 937260 h 982980"/>
              <a:gd name="connsiteX0" fmla="*/ 0 w 4808220"/>
              <a:gd name="connsiteY0" fmla="*/ 0 h 982980"/>
              <a:gd name="connsiteX1" fmla="*/ 22860 w 4808220"/>
              <a:gd name="connsiteY1" fmla="*/ 45720 h 982980"/>
              <a:gd name="connsiteX2" fmla="*/ 68580 w 4808220"/>
              <a:gd name="connsiteY2" fmla="*/ 68580 h 982980"/>
              <a:gd name="connsiteX3" fmla="*/ 129540 w 4808220"/>
              <a:gd name="connsiteY3" fmla="*/ 144780 h 982980"/>
              <a:gd name="connsiteX4" fmla="*/ 144780 w 4808220"/>
              <a:gd name="connsiteY4" fmla="*/ 167640 h 982980"/>
              <a:gd name="connsiteX5" fmla="*/ 152400 w 4808220"/>
              <a:gd name="connsiteY5" fmla="*/ 190500 h 982980"/>
              <a:gd name="connsiteX6" fmla="*/ 175260 w 4808220"/>
              <a:gd name="connsiteY6" fmla="*/ 205740 h 982980"/>
              <a:gd name="connsiteX7" fmla="*/ 190500 w 4808220"/>
              <a:gd name="connsiteY7" fmla="*/ 228600 h 982980"/>
              <a:gd name="connsiteX8" fmla="*/ 243840 w 4808220"/>
              <a:gd name="connsiteY8" fmla="*/ 297180 h 982980"/>
              <a:gd name="connsiteX9" fmla="*/ 274320 w 4808220"/>
              <a:gd name="connsiteY9" fmla="*/ 335280 h 982980"/>
              <a:gd name="connsiteX10" fmla="*/ 289560 w 4808220"/>
              <a:gd name="connsiteY10" fmla="*/ 365760 h 982980"/>
              <a:gd name="connsiteX11" fmla="*/ 342900 w 4808220"/>
              <a:gd name="connsiteY11" fmla="*/ 419100 h 982980"/>
              <a:gd name="connsiteX12" fmla="*/ 365760 w 4808220"/>
              <a:gd name="connsiteY12" fmla="*/ 441960 h 982980"/>
              <a:gd name="connsiteX13" fmla="*/ 449580 w 4808220"/>
              <a:gd name="connsiteY13" fmla="*/ 495300 h 982980"/>
              <a:gd name="connsiteX14" fmla="*/ 480060 w 4808220"/>
              <a:gd name="connsiteY14" fmla="*/ 510540 h 982980"/>
              <a:gd name="connsiteX15" fmla="*/ 510540 w 4808220"/>
              <a:gd name="connsiteY15" fmla="*/ 541020 h 982980"/>
              <a:gd name="connsiteX16" fmla="*/ 533400 w 4808220"/>
              <a:gd name="connsiteY16" fmla="*/ 556260 h 982980"/>
              <a:gd name="connsiteX17" fmla="*/ 556260 w 4808220"/>
              <a:gd name="connsiteY17" fmla="*/ 594360 h 982980"/>
              <a:gd name="connsiteX18" fmla="*/ 586740 w 4808220"/>
              <a:gd name="connsiteY18" fmla="*/ 617220 h 982980"/>
              <a:gd name="connsiteX19" fmla="*/ 640080 w 4808220"/>
              <a:gd name="connsiteY19" fmla="*/ 647700 h 982980"/>
              <a:gd name="connsiteX20" fmla="*/ 670560 w 4808220"/>
              <a:gd name="connsiteY20" fmla="*/ 662940 h 982980"/>
              <a:gd name="connsiteX21" fmla="*/ 754380 w 4808220"/>
              <a:gd name="connsiteY21" fmla="*/ 716280 h 982980"/>
              <a:gd name="connsiteX22" fmla="*/ 784860 w 4808220"/>
              <a:gd name="connsiteY22" fmla="*/ 739140 h 982980"/>
              <a:gd name="connsiteX23" fmla="*/ 960120 w 4808220"/>
              <a:gd name="connsiteY23" fmla="*/ 807720 h 982980"/>
              <a:gd name="connsiteX24" fmla="*/ 1059180 w 4808220"/>
              <a:gd name="connsiteY24" fmla="*/ 838200 h 982980"/>
              <a:gd name="connsiteX25" fmla="*/ 1097280 w 4808220"/>
              <a:gd name="connsiteY25" fmla="*/ 861060 h 982980"/>
              <a:gd name="connsiteX26" fmla="*/ 1143000 w 4808220"/>
              <a:gd name="connsiteY26" fmla="*/ 883920 h 982980"/>
              <a:gd name="connsiteX27" fmla="*/ 1203960 w 4808220"/>
              <a:gd name="connsiteY27" fmla="*/ 922020 h 982980"/>
              <a:gd name="connsiteX28" fmla="*/ 1257300 w 4808220"/>
              <a:gd name="connsiteY28" fmla="*/ 937260 h 982980"/>
              <a:gd name="connsiteX29" fmla="*/ 1386840 w 4808220"/>
              <a:gd name="connsiteY29" fmla="*/ 952500 h 982980"/>
              <a:gd name="connsiteX30" fmla="*/ 1455420 w 4808220"/>
              <a:gd name="connsiteY30" fmla="*/ 967740 h 982980"/>
              <a:gd name="connsiteX31" fmla="*/ 2453640 w 4808220"/>
              <a:gd name="connsiteY31" fmla="*/ 975360 h 982980"/>
              <a:gd name="connsiteX32" fmla="*/ 2560320 w 4808220"/>
              <a:gd name="connsiteY32" fmla="*/ 982980 h 982980"/>
              <a:gd name="connsiteX33" fmla="*/ 3779520 w 4808220"/>
              <a:gd name="connsiteY33" fmla="*/ 975360 h 982980"/>
              <a:gd name="connsiteX34" fmla="*/ 3916680 w 4808220"/>
              <a:gd name="connsiteY34" fmla="*/ 960120 h 982980"/>
              <a:gd name="connsiteX35" fmla="*/ 4061460 w 4808220"/>
              <a:gd name="connsiteY35" fmla="*/ 937260 h 982980"/>
              <a:gd name="connsiteX36" fmla="*/ 4808220 w 4808220"/>
              <a:gd name="connsiteY36" fmla="*/ 937260 h 982980"/>
              <a:gd name="connsiteX0" fmla="*/ 0 w 4808220"/>
              <a:gd name="connsiteY0" fmla="*/ 0 h 982980"/>
              <a:gd name="connsiteX1" fmla="*/ 22860 w 4808220"/>
              <a:gd name="connsiteY1" fmla="*/ 45720 h 982980"/>
              <a:gd name="connsiteX2" fmla="*/ 68580 w 4808220"/>
              <a:gd name="connsiteY2" fmla="*/ 68580 h 982980"/>
              <a:gd name="connsiteX3" fmla="*/ 129540 w 4808220"/>
              <a:gd name="connsiteY3" fmla="*/ 144780 h 982980"/>
              <a:gd name="connsiteX4" fmla="*/ 144780 w 4808220"/>
              <a:gd name="connsiteY4" fmla="*/ 167640 h 982980"/>
              <a:gd name="connsiteX5" fmla="*/ 152400 w 4808220"/>
              <a:gd name="connsiteY5" fmla="*/ 190500 h 982980"/>
              <a:gd name="connsiteX6" fmla="*/ 175260 w 4808220"/>
              <a:gd name="connsiteY6" fmla="*/ 205740 h 982980"/>
              <a:gd name="connsiteX7" fmla="*/ 190500 w 4808220"/>
              <a:gd name="connsiteY7" fmla="*/ 228600 h 982980"/>
              <a:gd name="connsiteX8" fmla="*/ 243840 w 4808220"/>
              <a:gd name="connsiteY8" fmla="*/ 297180 h 982980"/>
              <a:gd name="connsiteX9" fmla="*/ 274320 w 4808220"/>
              <a:gd name="connsiteY9" fmla="*/ 335280 h 982980"/>
              <a:gd name="connsiteX10" fmla="*/ 289560 w 4808220"/>
              <a:gd name="connsiteY10" fmla="*/ 365760 h 982980"/>
              <a:gd name="connsiteX11" fmla="*/ 342900 w 4808220"/>
              <a:gd name="connsiteY11" fmla="*/ 419100 h 982980"/>
              <a:gd name="connsiteX12" fmla="*/ 365760 w 4808220"/>
              <a:gd name="connsiteY12" fmla="*/ 441960 h 982980"/>
              <a:gd name="connsiteX13" fmla="*/ 449580 w 4808220"/>
              <a:gd name="connsiteY13" fmla="*/ 495300 h 982980"/>
              <a:gd name="connsiteX14" fmla="*/ 480060 w 4808220"/>
              <a:gd name="connsiteY14" fmla="*/ 510540 h 982980"/>
              <a:gd name="connsiteX15" fmla="*/ 510540 w 4808220"/>
              <a:gd name="connsiteY15" fmla="*/ 541020 h 982980"/>
              <a:gd name="connsiteX16" fmla="*/ 533400 w 4808220"/>
              <a:gd name="connsiteY16" fmla="*/ 556260 h 982980"/>
              <a:gd name="connsiteX17" fmla="*/ 556260 w 4808220"/>
              <a:gd name="connsiteY17" fmla="*/ 594360 h 982980"/>
              <a:gd name="connsiteX18" fmla="*/ 586740 w 4808220"/>
              <a:gd name="connsiteY18" fmla="*/ 617220 h 982980"/>
              <a:gd name="connsiteX19" fmla="*/ 640080 w 4808220"/>
              <a:gd name="connsiteY19" fmla="*/ 647700 h 982980"/>
              <a:gd name="connsiteX20" fmla="*/ 670560 w 4808220"/>
              <a:gd name="connsiteY20" fmla="*/ 662940 h 982980"/>
              <a:gd name="connsiteX21" fmla="*/ 754380 w 4808220"/>
              <a:gd name="connsiteY21" fmla="*/ 716280 h 982980"/>
              <a:gd name="connsiteX22" fmla="*/ 784860 w 4808220"/>
              <a:gd name="connsiteY22" fmla="*/ 739140 h 982980"/>
              <a:gd name="connsiteX23" fmla="*/ 960120 w 4808220"/>
              <a:gd name="connsiteY23" fmla="*/ 807720 h 982980"/>
              <a:gd name="connsiteX24" fmla="*/ 1059180 w 4808220"/>
              <a:gd name="connsiteY24" fmla="*/ 838200 h 982980"/>
              <a:gd name="connsiteX25" fmla="*/ 1097280 w 4808220"/>
              <a:gd name="connsiteY25" fmla="*/ 861060 h 982980"/>
              <a:gd name="connsiteX26" fmla="*/ 1143000 w 4808220"/>
              <a:gd name="connsiteY26" fmla="*/ 883920 h 982980"/>
              <a:gd name="connsiteX27" fmla="*/ 1203960 w 4808220"/>
              <a:gd name="connsiteY27" fmla="*/ 922020 h 982980"/>
              <a:gd name="connsiteX28" fmla="*/ 1257300 w 4808220"/>
              <a:gd name="connsiteY28" fmla="*/ 937260 h 982980"/>
              <a:gd name="connsiteX29" fmla="*/ 1386840 w 4808220"/>
              <a:gd name="connsiteY29" fmla="*/ 952500 h 982980"/>
              <a:gd name="connsiteX30" fmla="*/ 1455420 w 4808220"/>
              <a:gd name="connsiteY30" fmla="*/ 982027 h 982980"/>
              <a:gd name="connsiteX31" fmla="*/ 2453640 w 4808220"/>
              <a:gd name="connsiteY31" fmla="*/ 975360 h 982980"/>
              <a:gd name="connsiteX32" fmla="*/ 2560320 w 4808220"/>
              <a:gd name="connsiteY32" fmla="*/ 982980 h 982980"/>
              <a:gd name="connsiteX33" fmla="*/ 3779520 w 4808220"/>
              <a:gd name="connsiteY33" fmla="*/ 975360 h 982980"/>
              <a:gd name="connsiteX34" fmla="*/ 3916680 w 4808220"/>
              <a:gd name="connsiteY34" fmla="*/ 960120 h 982980"/>
              <a:gd name="connsiteX35" fmla="*/ 4061460 w 4808220"/>
              <a:gd name="connsiteY35" fmla="*/ 937260 h 982980"/>
              <a:gd name="connsiteX36" fmla="*/ 4808220 w 4808220"/>
              <a:gd name="connsiteY36" fmla="*/ 937260 h 982980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059180 w 4808220"/>
              <a:gd name="connsiteY24" fmla="*/ 838200 h 989708"/>
              <a:gd name="connsiteX25" fmla="*/ 1097280 w 4808220"/>
              <a:gd name="connsiteY25" fmla="*/ 861060 h 989708"/>
              <a:gd name="connsiteX26" fmla="*/ 1143000 w 4808220"/>
              <a:gd name="connsiteY26" fmla="*/ 883920 h 989708"/>
              <a:gd name="connsiteX27" fmla="*/ 1203960 w 4808220"/>
              <a:gd name="connsiteY27" fmla="*/ 922020 h 989708"/>
              <a:gd name="connsiteX28" fmla="*/ 1257300 w 4808220"/>
              <a:gd name="connsiteY28" fmla="*/ 937260 h 989708"/>
              <a:gd name="connsiteX29" fmla="*/ 1386840 w 4808220"/>
              <a:gd name="connsiteY29" fmla="*/ 952500 h 989708"/>
              <a:gd name="connsiteX30" fmla="*/ 1455420 w 4808220"/>
              <a:gd name="connsiteY30" fmla="*/ 982027 h 989708"/>
              <a:gd name="connsiteX31" fmla="*/ 2434590 w 4808220"/>
              <a:gd name="connsiteY31" fmla="*/ 989647 h 989708"/>
              <a:gd name="connsiteX32" fmla="*/ 2560320 w 4808220"/>
              <a:gd name="connsiteY32" fmla="*/ 982980 h 989708"/>
              <a:gd name="connsiteX33" fmla="*/ 3779520 w 4808220"/>
              <a:gd name="connsiteY33" fmla="*/ 975360 h 989708"/>
              <a:gd name="connsiteX34" fmla="*/ 3916680 w 4808220"/>
              <a:gd name="connsiteY34" fmla="*/ 960120 h 989708"/>
              <a:gd name="connsiteX35" fmla="*/ 4061460 w 4808220"/>
              <a:gd name="connsiteY35" fmla="*/ 937260 h 989708"/>
              <a:gd name="connsiteX36" fmla="*/ 4808220 w 4808220"/>
              <a:gd name="connsiteY36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059180 w 4808220"/>
              <a:gd name="connsiteY24" fmla="*/ 838200 h 989708"/>
              <a:gd name="connsiteX25" fmla="*/ 1097280 w 4808220"/>
              <a:gd name="connsiteY25" fmla="*/ 861060 h 989708"/>
              <a:gd name="connsiteX26" fmla="*/ 1143000 w 4808220"/>
              <a:gd name="connsiteY26" fmla="*/ 883920 h 989708"/>
              <a:gd name="connsiteX27" fmla="*/ 1257300 w 4808220"/>
              <a:gd name="connsiteY27" fmla="*/ 937260 h 989708"/>
              <a:gd name="connsiteX28" fmla="*/ 1386840 w 4808220"/>
              <a:gd name="connsiteY28" fmla="*/ 952500 h 989708"/>
              <a:gd name="connsiteX29" fmla="*/ 1455420 w 4808220"/>
              <a:gd name="connsiteY29" fmla="*/ 982027 h 989708"/>
              <a:gd name="connsiteX30" fmla="*/ 2434590 w 4808220"/>
              <a:gd name="connsiteY30" fmla="*/ 989647 h 989708"/>
              <a:gd name="connsiteX31" fmla="*/ 2560320 w 4808220"/>
              <a:gd name="connsiteY31" fmla="*/ 982980 h 989708"/>
              <a:gd name="connsiteX32" fmla="*/ 3779520 w 4808220"/>
              <a:gd name="connsiteY32" fmla="*/ 975360 h 989708"/>
              <a:gd name="connsiteX33" fmla="*/ 3916680 w 4808220"/>
              <a:gd name="connsiteY33" fmla="*/ 960120 h 989708"/>
              <a:gd name="connsiteX34" fmla="*/ 4061460 w 4808220"/>
              <a:gd name="connsiteY34" fmla="*/ 937260 h 989708"/>
              <a:gd name="connsiteX35" fmla="*/ 4808220 w 4808220"/>
              <a:gd name="connsiteY35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059180 w 4808220"/>
              <a:gd name="connsiteY24" fmla="*/ 838200 h 989708"/>
              <a:gd name="connsiteX25" fmla="*/ 1097280 w 4808220"/>
              <a:gd name="connsiteY25" fmla="*/ 861060 h 989708"/>
              <a:gd name="connsiteX26" fmla="*/ 1257300 w 4808220"/>
              <a:gd name="connsiteY26" fmla="*/ 937260 h 989708"/>
              <a:gd name="connsiteX27" fmla="*/ 1386840 w 4808220"/>
              <a:gd name="connsiteY27" fmla="*/ 952500 h 989708"/>
              <a:gd name="connsiteX28" fmla="*/ 1455420 w 4808220"/>
              <a:gd name="connsiteY28" fmla="*/ 982027 h 989708"/>
              <a:gd name="connsiteX29" fmla="*/ 2434590 w 4808220"/>
              <a:gd name="connsiteY29" fmla="*/ 989647 h 989708"/>
              <a:gd name="connsiteX30" fmla="*/ 2560320 w 4808220"/>
              <a:gd name="connsiteY30" fmla="*/ 982980 h 989708"/>
              <a:gd name="connsiteX31" fmla="*/ 3779520 w 4808220"/>
              <a:gd name="connsiteY31" fmla="*/ 975360 h 989708"/>
              <a:gd name="connsiteX32" fmla="*/ 3916680 w 4808220"/>
              <a:gd name="connsiteY32" fmla="*/ 960120 h 989708"/>
              <a:gd name="connsiteX33" fmla="*/ 4061460 w 4808220"/>
              <a:gd name="connsiteY33" fmla="*/ 937260 h 989708"/>
              <a:gd name="connsiteX34" fmla="*/ 4808220 w 4808220"/>
              <a:gd name="connsiteY34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059180 w 4808220"/>
              <a:gd name="connsiteY24" fmla="*/ 838200 h 989708"/>
              <a:gd name="connsiteX25" fmla="*/ 1257300 w 4808220"/>
              <a:gd name="connsiteY25" fmla="*/ 937260 h 989708"/>
              <a:gd name="connsiteX26" fmla="*/ 1386840 w 4808220"/>
              <a:gd name="connsiteY26" fmla="*/ 952500 h 989708"/>
              <a:gd name="connsiteX27" fmla="*/ 1455420 w 4808220"/>
              <a:gd name="connsiteY27" fmla="*/ 982027 h 989708"/>
              <a:gd name="connsiteX28" fmla="*/ 2434590 w 4808220"/>
              <a:gd name="connsiteY28" fmla="*/ 989647 h 989708"/>
              <a:gd name="connsiteX29" fmla="*/ 2560320 w 4808220"/>
              <a:gd name="connsiteY29" fmla="*/ 982980 h 989708"/>
              <a:gd name="connsiteX30" fmla="*/ 3779520 w 4808220"/>
              <a:gd name="connsiteY30" fmla="*/ 975360 h 989708"/>
              <a:gd name="connsiteX31" fmla="*/ 3916680 w 4808220"/>
              <a:gd name="connsiteY31" fmla="*/ 960120 h 989708"/>
              <a:gd name="connsiteX32" fmla="*/ 4061460 w 4808220"/>
              <a:gd name="connsiteY32" fmla="*/ 937260 h 989708"/>
              <a:gd name="connsiteX33" fmla="*/ 4808220 w 4808220"/>
              <a:gd name="connsiteY33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480060 w 4808220"/>
              <a:gd name="connsiteY14" fmla="*/ 510540 h 989708"/>
              <a:gd name="connsiteX15" fmla="*/ 510540 w 4808220"/>
              <a:gd name="connsiteY15" fmla="*/ 541020 h 989708"/>
              <a:gd name="connsiteX16" fmla="*/ 533400 w 4808220"/>
              <a:gd name="connsiteY16" fmla="*/ 556260 h 989708"/>
              <a:gd name="connsiteX17" fmla="*/ 556260 w 4808220"/>
              <a:gd name="connsiteY17" fmla="*/ 594360 h 989708"/>
              <a:gd name="connsiteX18" fmla="*/ 586740 w 4808220"/>
              <a:gd name="connsiteY18" fmla="*/ 617220 h 989708"/>
              <a:gd name="connsiteX19" fmla="*/ 640080 w 4808220"/>
              <a:gd name="connsiteY19" fmla="*/ 647700 h 989708"/>
              <a:gd name="connsiteX20" fmla="*/ 670560 w 4808220"/>
              <a:gd name="connsiteY20" fmla="*/ 662940 h 989708"/>
              <a:gd name="connsiteX21" fmla="*/ 754380 w 4808220"/>
              <a:gd name="connsiteY21" fmla="*/ 716280 h 989708"/>
              <a:gd name="connsiteX22" fmla="*/ 784860 w 4808220"/>
              <a:gd name="connsiteY22" fmla="*/ 739140 h 989708"/>
              <a:gd name="connsiteX23" fmla="*/ 960120 w 4808220"/>
              <a:gd name="connsiteY23" fmla="*/ 807720 h 989708"/>
              <a:gd name="connsiteX24" fmla="*/ 1257300 w 4808220"/>
              <a:gd name="connsiteY24" fmla="*/ 937260 h 989708"/>
              <a:gd name="connsiteX25" fmla="*/ 1386840 w 4808220"/>
              <a:gd name="connsiteY25" fmla="*/ 952500 h 989708"/>
              <a:gd name="connsiteX26" fmla="*/ 1455420 w 4808220"/>
              <a:gd name="connsiteY26" fmla="*/ 982027 h 989708"/>
              <a:gd name="connsiteX27" fmla="*/ 2434590 w 4808220"/>
              <a:gd name="connsiteY27" fmla="*/ 989647 h 989708"/>
              <a:gd name="connsiteX28" fmla="*/ 2560320 w 4808220"/>
              <a:gd name="connsiteY28" fmla="*/ 982980 h 989708"/>
              <a:gd name="connsiteX29" fmla="*/ 3779520 w 4808220"/>
              <a:gd name="connsiteY29" fmla="*/ 975360 h 989708"/>
              <a:gd name="connsiteX30" fmla="*/ 3916680 w 4808220"/>
              <a:gd name="connsiteY30" fmla="*/ 960120 h 989708"/>
              <a:gd name="connsiteX31" fmla="*/ 4061460 w 4808220"/>
              <a:gd name="connsiteY31" fmla="*/ 937260 h 989708"/>
              <a:gd name="connsiteX32" fmla="*/ 4808220 w 4808220"/>
              <a:gd name="connsiteY32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510540 w 4808220"/>
              <a:gd name="connsiteY14" fmla="*/ 541020 h 989708"/>
              <a:gd name="connsiteX15" fmla="*/ 533400 w 4808220"/>
              <a:gd name="connsiteY15" fmla="*/ 556260 h 989708"/>
              <a:gd name="connsiteX16" fmla="*/ 556260 w 4808220"/>
              <a:gd name="connsiteY16" fmla="*/ 594360 h 989708"/>
              <a:gd name="connsiteX17" fmla="*/ 586740 w 4808220"/>
              <a:gd name="connsiteY17" fmla="*/ 617220 h 989708"/>
              <a:gd name="connsiteX18" fmla="*/ 640080 w 4808220"/>
              <a:gd name="connsiteY18" fmla="*/ 647700 h 989708"/>
              <a:gd name="connsiteX19" fmla="*/ 670560 w 4808220"/>
              <a:gd name="connsiteY19" fmla="*/ 662940 h 989708"/>
              <a:gd name="connsiteX20" fmla="*/ 754380 w 4808220"/>
              <a:gd name="connsiteY20" fmla="*/ 716280 h 989708"/>
              <a:gd name="connsiteX21" fmla="*/ 784860 w 4808220"/>
              <a:gd name="connsiteY21" fmla="*/ 739140 h 989708"/>
              <a:gd name="connsiteX22" fmla="*/ 960120 w 4808220"/>
              <a:gd name="connsiteY22" fmla="*/ 807720 h 989708"/>
              <a:gd name="connsiteX23" fmla="*/ 1257300 w 4808220"/>
              <a:gd name="connsiteY23" fmla="*/ 937260 h 989708"/>
              <a:gd name="connsiteX24" fmla="*/ 1386840 w 4808220"/>
              <a:gd name="connsiteY24" fmla="*/ 952500 h 989708"/>
              <a:gd name="connsiteX25" fmla="*/ 1455420 w 4808220"/>
              <a:gd name="connsiteY25" fmla="*/ 982027 h 989708"/>
              <a:gd name="connsiteX26" fmla="*/ 2434590 w 4808220"/>
              <a:gd name="connsiteY26" fmla="*/ 989647 h 989708"/>
              <a:gd name="connsiteX27" fmla="*/ 2560320 w 4808220"/>
              <a:gd name="connsiteY27" fmla="*/ 982980 h 989708"/>
              <a:gd name="connsiteX28" fmla="*/ 3779520 w 4808220"/>
              <a:gd name="connsiteY28" fmla="*/ 975360 h 989708"/>
              <a:gd name="connsiteX29" fmla="*/ 3916680 w 4808220"/>
              <a:gd name="connsiteY29" fmla="*/ 960120 h 989708"/>
              <a:gd name="connsiteX30" fmla="*/ 4061460 w 4808220"/>
              <a:gd name="connsiteY30" fmla="*/ 937260 h 989708"/>
              <a:gd name="connsiteX31" fmla="*/ 4808220 w 4808220"/>
              <a:gd name="connsiteY31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68580 w 4808220"/>
              <a:gd name="connsiteY2" fmla="*/ 68580 h 989708"/>
              <a:gd name="connsiteX3" fmla="*/ 129540 w 4808220"/>
              <a:gd name="connsiteY3" fmla="*/ 144780 h 989708"/>
              <a:gd name="connsiteX4" fmla="*/ 144780 w 4808220"/>
              <a:gd name="connsiteY4" fmla="*/ 167640 h 989708"/>
              <a:gd name="connsiteX5" fmla="*/ 152400 w 4808220"/>
              <a:gd name="connsiteY5" fmla="*/ 190500 h 989708"/>
              <a:gd name="connsiteX6" fmla="*/ 175260 w 4808220"/>
              <a:gd name="connsiteY6" fmla="*/ 205740 h 989708"/>
              <a:gd name="connsiteX7" fmla="*/ 190500 w 4808220"/>
              <a:gd name="connsiteY7" fmla="*/ 228600 h 989708"/>
              <a:gd name="connsiteX8" fmla="*/ 243840 w 4808220"/>
              <a:gd name="connsiteY8" fmla="*/ 297180 h 989708"/>
              <a:gd name="connsiteX9" fmla="*/ 274320 w 4808220"/>
              <a:gd name="connsiteY9" fmla="*/ 335280 h 989708"/>
              <a:gd name="connsiteX10" fmla="*/ 289560 w 4808220"/>
              <a:gd name="connsiteY10" fmla="*/ 365760 h 989708"/>
              <a:gd name="connsiteX11" fmla="*/ 342900 w 4808220"/>
              <a:gd name="connsiteY11" fmla="*/ 419100 h 989708"/>
              <a:gd name="connsiteX12" fmla="*/ 365760 w 4808220"/>
              <a:gd name="connsiteY12" fmla="*/ 441960 h 989708"/>
              <a:gd name="connsiteX13" fmla="*/ 449580 w 4808220"/>
              <a:gd name="connsiteY13" fmla="*/ 495300 h 989708"/>
              <a:gd name="connsiteX14" fmla="*/ 510540 w 4808220"/>
              <a:gd name="connsiteY14" fmla="*/ 541020 h 989708"/>
              <a:gd name="connsiteX15" fmla="*/ 556260 w 4808220"/>
              <a:gd name="connsiteY15" fmla="*/ 594360 h 989708"/>
              <a:gd name="connsiteX16" fmla="*/ 586740 w 4808220"/>
              <a:gd name="connsiteY16" fmla="*/ 617220 h 989708"/>
              <a:gd name="connsiteX17" fmla="*/ 640080 w 4808220"/>
              <a:gd name="connsiteY17" fmla="*/ 647700 h 989708"/>
              <a:gd name="connsiteX18" fmla="*/ 670560 w 4808220"/>
              <a:gd name="connsiteY18" fmla="*/ 662940 h 989708"/>
              <a:gd name="connsiteX19" fmla="*/ 754380 w 4808220"/>
              <a:gd name="connsiteY19" fmla="*/ 716280 h 989708"/>
              <a:gd name="connsiteX20" fmla="*/ 784860 w 4808220"/>
              <a:gd name="connsiteY20" fmla="*/ 739140 h 989708"/>
              <a:gd name="connsiteX21" fmla="*/ 960120 w 4808220"/>
              <a:gd name="connsiteY21" fmla="*/ 807720 h 989708"/>
              <a:gd name="connsiteX22" fmla="*/ 1257300 w 4808220"/>
              <a:gd name="connsiteY22" fmla="*/ 937260 h 989708"/>
              <a:gd name="connsiteX23" fmla="*/ 1386840 w 4808220"/>
              <a:gd name="connsiteY23" fmla="*/ 952500 h 989708"/>
              <a:gd name="connsiteX24" fmla="*/ 1455420 w 4808220"/>
              <a:gd name="connsiteY24" fmla="*/ 982027 h 989708"/>
              <a:gd name="connsiteX25" fmla="*/ 2434590 w 4808220"/>
              <a:gd name="connsiteY25" fmla="*/ 989647 h 989708"/>
              <a:gd name="connsiteX26" fmla="*/ 2560320 w 4808220"/>
              <a:gd name="connsiteY26" fmla="*/ 982980 h 989708"/>
              <a:gd name="connsiteX27" fmla="*/ 3779520 w 4808220"/>
              <a:gd name="connsiteY27" fmla="*/ 975360 h 989708"/>
              <a:gd name="connsiteX28" fmla="*/ 3916680 w 4808220"/>
              <a:gd name="connsiteY28" fmla="*/ 960120 h 989708"/>
              <a:gd name="connsiteX29" fmla="*/ 4061460 w 4808220"/>
              <a:gd name="connsiteY29" fmla="*/ 937260 h 989708"/>
              <a:gd name="connsiteX30" fmla="*/ 4808220 w 4808220"/>
              <a:gd name="connsiteY30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144780 w 4808220"/>
              <a:gd name="connsiteY3" fmla="*/ 167640 h 989708"/>
              <a:gd name="connsiteX4" fmla="*/ 152400 w 4808220"/>
              <a:gd name="connsiteY4" fmla="*/ 190500 h 989708"/>
              <a:gd name="connsiteX5" fmla="*/ 175260 w 4808220"/>
              <a:gd name="connsiteY5" fmla="*/ 205740 h 989708"/>
              <a:gd name="connsiteX6" fmla="*/ 190500 w 4808220"/>
              <a:gd name="connsiteY6" fmla="*/ 228600 h 989708"/>
              <a:gd name="connsiteX7" fmla="*/ 243840 w 4808220"/>
              <a:gd name="connsiteY7" fmla="*/ 297180 h 989708"/>
              <a:gd name="connsiteX8" fmla="*/ 274320 w 4808220"/>
              <a:gd name="connsiteY8" fmla="*/ 335280 h 989708"/>
              <a:gd name="connsiteX9" fmla="*/ 289560 w 4808220"/>
              <a:gd name="connsiteY9" fmla="*/ 365760 h 989708"/>
              <a:gd name="connsiteX10" fmla="*/ 342900 w 4808220"/>
              <a:gd name="connsiteY10" fmla="*/ 419100 h 989708"/>
              <a:gd name="connsiteX11" fmla="*/ 365760 w 4808220"/>
              <a:gd name="connsiteY11" fmla="*/ 441960 h 989708"/>
              <a:gd name="connsiteX12" fmla="*/ 449580 w 4808220"/>
              <a:gd name="connsiteY12" fmla="*/ 495300 h 989708"/>
              <a:gd name="connsiteX13" fmla="*/ 510540 w 4808220"/>
              <a:gd name="connsiteY13" fmla="*/ 541020 h 989708"/>
              <a:gd name="connsiteX14" fmla="*/ 556260 w 4808220"/>
              <a:gd name="connsiteY14" fmla="*/ 594360 h 989708"/>
              <a:gd name="connsiteX15" fmla="*/ 586740 w 4808220"/>
              <a:gd name="connsiteY15" fmla="*/ 617220 h 989708"/>
              <a:gd name="connsiteX16" fmla="*/ 640080 w 4808220"/>
              <a:gd name="connsiteY16" fmla="*/ 647700 h 989708"/>
              <a:gd name="connsiteX17" fmla="*/ 670560 w 4808220"/>
              <a:gd name="connsiteY17" fmla="*/ 662940 h 989708"/>
              <a:gd name="connsiteX18" fmla="*/ 754380 w 4808220"/>
              <a:gd name="connsiteY18" fmla="*/ 716280 h 989708"/>
              <a:gd name="connsiteX19" fmla="*/ 784860 w 4808220"/>
              <a:gd name="connsiteY19" fmla="*/ 739140 h 989708"/>
              <a:gd name="connsiteX20" fmla="*/ 960120 w 4808220"/>
              <a:gd name="connsiteY20" fmla="*/ 807720 h 989708"/>
              <a:gd name="connsiteX21" fmla="*/ 1257300 w 4808220"/>
              <a:gd name="connsiteY21" fmla="*/ 937260 h 989708"/>
              <a:gd name="connsiteX22" fmla="*/ 1386840 w 4808220"/>
              <a:gd name="connsiteY22" fmla="*/ 952500 h 989708"/>
              <a:gd name="connsiteX23" fmla="*/ 1455420 w 4808220"/>
              <a:gd name="connsiteY23" fmla="*/ 982027 h 989708"/>
              <a:gd name="connsiteX24" fmla="*/ 2434590 w 4808220"/>
              <a:gd name="connsiteY24" fmla="*/ 989647 h 989708"/>
              <a:gd name="connsiteX25" fmla="*/ 2560320 w 4808220"/>
              <a:gd name="connsiteY25" fmla="*/ 982980 h 989708"/>
              <a:gd name="connsiteX26" fmla="*/ 3779520 w 4808220"/>
              <a:gd name="connsiteY26" fmla="*/ 975360 h 989708"/>
              <a:gd name="connsiteX27" fmla="*/ 3916680 w 4808220"/>
              <a:gd name="connsiteY27" fmla="*/ 960120 h 989708"/>
              <a:gd name="connsiteX28" fmla="*/ 4061460 w 4808220"/>
              <a:gd name="connsiteY28" fmla="*/ 937260 h 989708"/>
              <a:gd name="connsiteX29" fmla="*/ 4808220 w 4808220"/>
              <a:gd name="connsiteY29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144780 w 4808220"/>
              <a:gd name="connsiteY3" fmla="*/ 167640 h 989708"/>
              <a:gd name="connsiteX4" fmla="*/ 152400 w 4808220"/>
              <a:gd name="connsiteY4" fmla="*/ 190500 h 989708"/>
              <a:gd name="connsiteX5" fmla="*/ 175260 w 4808220"/>
              <a:gd name="connsiteY5" fmla="*/ 205740 h 989708"/>
              <a:gd name="connsiteX6" fmla="*/ 243840 w 4808220"/>
              <a:gd name="connsiteY6" fmla="*/ 297180 h 989708"/>
              <a:gd name="connsiteX7" fmla="*/ 274320 w 4808220"/>
              <a:gd name="connsiteY7" fmla="*/ 335280 h 989708"/>
              <a:gd name="connsiteX8" fmla="*/ 289560 w 4808220"/>
              <a:gd name="connsiteY8" fmla="*/ 365760 h 989708"/>
              <a:gd name="connsiteX9" fmla="*/ 342900 w 4808220"/>
              <a:gd name="connsiteY9" fmla="*/ 419100 h 989708"/>
              <a:gd name="connsiteX10" fmla="*/ 365760 w 4808220"/>
              <a:gd name="connsiteY10" fmla="*/ 441960 h 989708"/>
              <a:gd name="connsiteX11" fmla="*/ 449580 w 4808220"/>
              <a:gd name="connsiteY11" fmla="*/ 495300 h 989708"/>
              <a:gd name="connsiteX12" fmla="*/ 510540 w 4808220"/>
              <a:gd name="connsiteY12" fmla="*/ 541020 h 989708"/>
              <a:gd name="connsiteX13" fmla="*/ 556260 w 4808220"/>
              <a:gd name="connsiteY13" fmla="*/ 594360 h 989708"/>
              <a:gd name="connsiteX14" fmla="*/ 586740 w 4808220"/>
              <a:gd name="connsiteY14" fmla="*/ 617220 h 989708"/>
              <a:gd name="connsiteX15" fmla="*/ 640080 w 4808220"/>
              <a:gd name="connsiteY15" fmla="*/ 647700 h 989708"/>
              <a:gd name="connsiteX16" fmla="*/ 670560 w 4808220"/>
              <a:gd name="connsiteY16" fmla="*/ 662940 h 989708"/>
              <a:gd name="connsiteX17" fmla="*/ 754380 w 4808220"/>
              <a:gd name="connsiteY17" fmla="*/ 716280 h 989708"/>
              <a:gd name="connsiteX18" fmla="*/ 784860 w 4808220"/>
              <a:gd name="connsiteY18" fmla="*/ 739140 h 989708"/>
              <a:gd name="connsiteX19" fmla="*/ 960120 w 4808220"/>
              <a:gd name="connsiteY19" fmla="*/ 807720 h 989708"/>
              <a:gd name="connsiteX20" fmla="*/ 1257300 w 4808220"/>
              <a:gd name="connsiteY20" fmla="*/ 937260 h 989708"/>
              <a:gd name="connsiteX21" fmla="*/ 1386840 w 4808220"/>
              <a:gd name="connsiteY21" fmla="*/ 952500 h 989708"/>
              <a:gd name="connsiteX22" fmla="*/ 1455420 w 4808220"/>
              <a:gd name="connsiteY22" fmla="*/ 982027 h 989708"/>
              <a:gd name="connsiteX23" fmla="*/ 2434590 w 4808220"/>
              <a:gd name="connsiteY23" fmla="*/ 989647 h 989708"/>
              <a:gd name="connsiteX24" fmla="*/ 2560320 w 4808220"/>
              <a:gd name="connsiteY24" fmla="*/ 982980 h 989708"/>
              <a:gd name="connsiteX25" fmla="*/ 3779520 w 4808220"/>
              <a:gd name="connsiteY25" fmla="*/ 975360 h 989708"/>
              <a:gd name="connsiteX26" fmla="*/ 3916680 w 4808220"/>
              <a:gd name="connsiteY26" fmla="*/ 960120 h 989708"/>
              <a:gd name="connsiteX27" fmla="*/ 4061460 w 4808220"/>
              <a:gd name="connsiteY27" fmla="*/ 937260 h 989708"/>
              <a:gd name="connsiteX28" fmla="*/ 4808220 w 4808220"/>
              <a:gd name="connsiteY28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144780 w 4808220"/>
              <a:gd name="connsiteY3" fmla="*/ 167640 h 989708"/>
              <a:gd name="connsiteX4" fmla="*/ 152400 w 4808220"/>
              <a:gd name="connsiteY4" fmla="*/ 190500 h 989708"/>
              <a:gd name="connsiteX5" fmla="*/ 243840 w 4808220"/>
              <a:gd name="connsiteY5" fmla="*/ 297180 h 989708"/>
              <a:gd name="connsiteX6" fmla="*/ 274320 w 4808220"/>
              <a:gd name="connsiteY6" fmla="*/ 335280 h 989708"/>
              <a:gd name="connsiteX7" fmla="*/ 289560 w 4808220"/>
              <a:gd name="connsiteY7" fmla="*/ 365760 h 989708"/>
              <a:gd name="connsiteX8" fmla="*/ 342900 w 4808220"/>
              <a:gd name="connsiteY8" fmla="*/ 419100 h 989708"/>
              <a:gd name="connsiteX9" fmla="*/ 365760 w 4808220"/>
              <a:gd name="connsiteY9" fmla="*/ 441960 h 989708"/>
              <a:gd name="connsiteX10" fmla="*/ 449580 w 4808220"/>
              <a:gd name="connsiteY10" fmla="*/ 495300 h 989708"/>
              <a:gd name="connsiteX11" fmla="*/ 510540 w 4808220"/>
              <a:gd name="connsiteY11" fmla="*/ 541020 h 989708"/>
              <a:gd name="connsiteX12" fmla="*/ 556260 w 4808220"/>
              <a:gd name="connsiteY12" fmla="*/ 594360 h 989708"/>
              <a:gd name="connsiteX13" fmla="*/ 586740 w 4808220"/>
              <a:gd name="connsiteY13" fmla="*/ 617220 h 989708"/>
              <a:gd name="connsiteX14" fmla="*/ 640080 w 4808220"/>
              <a:gd name="connsiteY14" fmla="*/ 647700 h 989708"/>
              <a:gd name="connsiteX15" fmla="*/ 670560 w 4808220"/>
              <a:gd name="connsiteY15" fmla="*/ 662940 h 989708"/>
              <a:gd name="connsiteX16" fmla="*/ 754380 w 4808220"/>
              <a:gd name="connsiteY16" fmla="*/ 716280 h 989708"/>
              <a:gd name="connsiteX17" fmla="*/ 784860 w 4808220"/>
              <a:gd name="connsiteY17" fmla="*/ 739140 h 989708"/>
              <a:gd name="connsiteX18" fmla="*/ 960120 w 4808220"/>
              <a:gd name="connsiteY18" fmla="*/ 807720 h 989708"/>
              <a:gd name="connsiteX19" fmla="*/ 1257300 w 4808220"/>
              <a:gd name="connsiteY19" fmla="*/ 937260 h 989708"/>
              <a:gd name="connsiteX20" fmla="*/ 1386840 w 4808220"/>
              <a:gd name="connsiteY20" fmla="*/ 952500 h 989708"/>
              <a:gd name="connsiteX21" fmla="*/ 1455420 w 4808220"/>
              <a:gd name="connsiteY21" fmla="*/ 982027 h 989708"/>
              <a:gd name="connsiteX22" fmla="*/ 2434590 w 4808220"/>
              <a:gd name="connsiteY22" fmla="*/ 989647 h 989708"/>
              <a:gd name="connsiteX23" fmla="*/ 2560320 w 4808220"/>
              <a:gd name="connsiteY23" fmla="*/ 982980 h 989708"/>
              <a:gd name="connsiteX24" fmla="*/ 3779520 w 4808220"/>
              <a:gd name="connsiteY24" fmla="*/ 975360 h 989708"/>
              <a:gd name="connsiteX25" fmla="*/ 3916680 w 4808220"/>
              <a:gd name="connsiteY25" fmla="*/ 960120 h 989708"/>
              <a:gd name="connsiteX26" fmla="*/ 4061460 w 4808220"/>
              <a:gd name="connsiteY26" fmla="*/ 937260 h 989708"/>
              <a:gd name="connsiteX27" fmla="*/ 4808220 w 4808220"/>
              <a:gd name="connsiteY2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144780 w 4808220"/>
              <a:gd name="connsiteY3" fmla="*/ 167640 h 989708"/>
              <a:gd name="connsiteX4" fmla="*/ 243840 w 4808220"/>
              <a:gd name="connsiteY4" fmla="*/ 297180 h 989708"/>
              <a:gd name="connsiteX5" fmla="*/ 274320 w 4808220"/>
              <a:gd name="connsiteY5" fmla="*/ 335280 h 989708"/>
              <a:gd name="connsiteX6" fmla="*/ 289560 w 4808220"/>
              <a:gd name="connsiteY6" fmla="*/ 365760 h 989708"/>
              <a:gd name="connsiteX7" fmla="*/ 342900 w 4808220"/>
              <a:gd name="connsiteY7" fmla="*/ 419100 h 989708"/>
              <a:gd name="connsiteX8" fmla="*/ 365760 w 4808220"/>
              <a:gd name="connsiteY8" fmla="*/ 441960 h 989708"/>
              <a:gd name="connsiteX9" fmla="*/ 449580 w 4808220"/>
              <a:gd name="connsiteY9" fmla="*/ 495300 h 989708"/>
              <a:gd name="connsiteX10" fmla="*/ 510540 w 4808220"/>
              <a:gd name="connsiteY10" fmla="*/ 541020 h 989708"/>
              <a:gd name="connsiteX11" fmla="*/ 556260 w 4808220"/>
              <a:gd name="connsiteY11" fmla="*/ 594360 h 989708"/>
              <a:gd name="connsiteX12" fmla="*/ 586740 w 4808220"/>
              <a:gd name="connsiteY12" fmla="*/ 617220 h 989708"/>
              <a:gd name="connsiteX13" fmla="*/ 640080 w 4808220"/>
              <a:gd name="connsiteY13" fmla="*/ 647700 h 989708"/>
              <a:gd name="connsiteX14" fmla="*/ 670560 w 4808220"/>
              <a:gd name="connsiteY14" fmla="*/ 662940 h 989708"/>
              <a:gd name="connsiteX15" fmla="*/ 754380 w 4808220"/>
              <a:gd name="connsiteY15" fmla="*/ 716280 h 989708"/>
              <a:gd name="connsiteX16" fmla="*/ 784860 w 4808220"/>
              <a:gd name="connsiteY16" fmla="*/ 739140 h 989708"/>
              <a:gd name="connsiteX17" fmla="*/ 960120 w 4808220"/>
              <a:gd name="connsiteY17" fmla="*/ 807720 h 989708"/>
              <a:gd name="connsiteX18" fmla="*/ 1257300 w 4808220"/>
              <a:gd name="connsiteY18" fmla="*/ 937260 h 989708"/>
              <a:gd name="connsiteX19" fmla="*/ 1386840 w 4808220"/>
              <a:gd name="connsiteY19" fmla="*/ 952500 h 989708"/>
              <a:gd name="connsiteX20" fmla="*/ 1455420 w 4808220"/>
              <a:gd name="connsiteY20" fmla="*/ 982027 h 989708"/>
              <a:gd name="connsiteX21" fmla="*/ 2434590 w 4808220"/>
              <a:gd name="connsiteY21" fmla="*/ 989647 h 989708"/>
              <a:gd name="connsiteX22" fmla="*/ 2560320 w 4808220"/>
              <a:gd name="connsiteY22" fmla="*/ 982980 h 989708"/>
              <a:gd name="connsiteX23" fmla="*/ 3779520 w 4808220"/>
              <a:gd name="connsiteY23" fmla="*/ 975360 h 989708"/>
              <a:gd name="connsiteX24" fmla="*/ 3916680 w 4808220"/>
              <a:gd name="connsiteY24" fmla="*/ 960120 h 989708"/>
              <a:gd name="connsiteX25" fmla="*/ 4061460 w 4808220"/>
              <a:gd name="connsiteY25" fmla="*/ 937260 h 989708"/>
              <a:gd name="connsiteX26" fmla="*/ 4808220 w 4808220"/>
              <a:gd name="connsiteY26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289560 w 4808220"/>
              <a:gd name="connsiteY5" fmla="*/ 365760 h 989708"/>
              <a:gd name="connsiteX6" fmla="*/ 342900 w 4808220"/>
              <a:gd name="connsiteY6" fmla="*/ 419100 h 989708"/>
              <a:gd name="connsiteX7" fmla="*/ 365760 w 4808220"/>
              <a:gd name="connsiteY7" fmla="*/ 441960 h 989708"/>
              <a:gd name="connsiteX8" fmla="*/ 449580 w 4808220"/>
              <a:gd name="connsiteY8" fmla="*/ 495300 h 989708"/>
              <a:gd name="connsiteX9" fmla="*/ 510540 w 4808220"/>
              <a:gd name="connsiteY9" fmla="*/ 541020 h 989708"/>
              <a:gd name="connsiteX10" fmla="*/ 556260 w 4808220"/>
              <a:gd name="connsiteY10" fmla="*/ 594360 h 989708"/>
              <a:gd name="connsiteX11" fmla="*/ 586740 w 4808220"/>
              <a:gd name="connsiteY11" fmla="*/ 617220 h 989708"/>
              <a:gd name="connsiteX12" fmla="*/ 640080 w 4808220"/>
              <a:gd name="connsiteY12" fmla="*/ 647700 h 989708"/>
              <a:gd name="connsiteX13" fmla="*/ 670560 w 4808220"/>
              <a:gd name="connsiteY13" fmla="*/ 662940 h 989708"/>
              <a:gd name="connsiteX14" fmla="*/ 754380 w 4808220"/>
              <a:gd name="connsiteY14" fmla="*/ 716280 h 989708"/>
              <a:gd name="connsiteX15" fmla="*/ 784860 w 4808220"/>
              <a:gd name="connsiteY15" fmla="*/ 739140 h 989708"/>
              <a:gd name="connsiteX16" fmla="*/ 960120 w 4808220"/>
              <a:gd name="connsiteY16" fmla="*/ 807720 h 989708"/>
              <a:gd name="connsiteX17" fmla="*/ 1257300 w 4808220"/>
              <a:gd name="connsiteY17" fmla="*/ 937260 h 989708"/>
              <a:gd name="connsiteX18" fmla="*/ 1386840 w 4808220"/>
              <a:gd name="connsiteY18" fmla="*/ 952500 h 989708"/>
              <a:gd name="connsiteX19" fmla="*/ 1455420 w 4808220"/>
              <a:gd name="connsiteY19" fmla="*/ 982027 h 989708"/>
              <a:gd name="connsiteX20" fmla="*/ 2434590 w 4808220"/>
              <a:gd name="connsiteY20" fmla="*/ 989647 h 989708"/>
              <a:gd name="connsiteX21" fmla="*/ 2560320 w 4808220"/>
              <a:gd name="connsiteY21" fmla="*/ 982980 h 989708"/>
              <a:gd name="connsiteX22" fmla="*/ 3779520 w 4808220"/>
              <a:gd name="connsiteY22" fmla="*/ 975360 h 989708"/>
              <a:gd name="connsiteX23" fmla="*/ 3916680 w 4808220"/>
              <a:gd name="connsiteY23" fmla="*/ 960120 h 989708"/>
              <a:gd name="connsiteX24" fmla="*/ 4061460 w 4808220"/>
              <a:gd name="connsiteY24" fmla="*/ 937260 h 989708"/>
              <a:gd name="connsiteX25" fmla="*/ 4808220 w 4808220"/>
              <a:gd name="connsiteY25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365760 w 4808220"/>
              <a:gd name="connsiteY6" fmla="*/ 441960 h 989708"/>
              <a:gd name="connsiteX7" fmla="*/ 449580 w 4808220"/>
              <a:gd name="connsiteY7" fmla="*/ 495300 h 989708"/>
              <a:gd name="connsiteX8" fmla="*/ 510540 w 4808220"/>
              <a:gd name="connsiteY8" fmla="*/ 541020 h 989708"/>
              <a:gd name="connsiteX9" fmla="*/ 556260 w 4808220"/>
              <a:gd name="connsiteY9" fmla="*/ 594360 h 989708"/>
              <a:gd name="connsiteX10" fmla="*/ 586740 w 4808220"/>
              <a:gd name="connsiteY10" fmla="*/ 617220 h 989708"/>
              <a:gd name="connsiteX11" fmla="*/ 640080 w 4808220"/>
              <a:gd name="connsiteY11" fmla="*/ 647700 h 989708"/>
              <a:gd name="connsiteX12" fmla="*/ 670560 w 4808220"/>
              <a:gd name="connsiteY12" fmla="*/ 662940 h 989708"/>
              <a:gd name="connsiteX13" fmla="*/ 754380 w 4808220"/>
              <a:gd name="connsiteY13" fmla="*/ 716280 h 989708"/>
              <a:gd name="connsiteX14" fmla="*/ 784860 w 4808220"/>
              <a:gd name="connsiteY14" fmla="*/ 739140 h 989708"/>
              <a:gd name="connsiteX15" fmla="*/ 960120 w 4808220"/>
              <a:gd name="connsiteY15" fmla="*/ 807720 h 989708"/>
              <a:gd name="connsiteX16" fmla="*/ 1257300 w 4808220"/>
              <a:gd name="connsiteY16" fmla="*/ 937260 h 989708"/>
              <a:gd name="connsiteX17" fmla="*/ 1386840 w 4808220"/>
              <a:gd name="connsiteY17" fmla="*/ 952500 h 989708"/>
              <a:gd name="connsiteX18" fmla="*/ 1455420 w 4808220"/>
              <a:gd name="connsiteY18" fmla="*/ 982027 h 989708"/>
              <a:gd name="connsiteX19" fmla="*/ 2434590 w 4808220"/>
              <a:gd name="connsiteY19" fmla="*/ 989647 h 989708"/>
              <a:gd name="connsiteX20" fmla="*/ 2560320 w 4808220"/>
              <a:gd name="connsiteY20" fmla="*/ 982980 h 989708"/>
              <a:gd name="connsiteX21" fmla="*/ 3779520 w 4808220"/>
              <a:gd name="connsiteY21" fmla="*/ 975360 h 989708"/>
              <a:gd name="connsiteX22" fmla="*/ 3916680 w 4808220"/>
              <a:gd name="connsiteY22" fmla="*/ 960120 h 989708"/>
              <a:gd name="connsiteX23" fmla="*/ 4061460 w 4808220"/>
              <a:gd name="connsiteY23" fmla="*/ 937260 h 989708"/>
              <a:gd name="connsiteX24" fmla="*/ 4808220 w 4808220"/>
              <a:gd name="connsiteY24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586740 w 4808220"/>
              <a:gd name="connsiteY9" fmla="*/ 617220 h 989708"/>
              <a:gd name="connsiteX10" fmla="*/ 640080 w 4808220"/>
              <a:gd name="connsiteY10" fmla="*/ 647700 h 989708"/>
              <a:gd name="connsiteX11" fmla="*/ 670560 w 4808220"/>
              <a:gd name="connsiteY11" fmla="*/ 662940 h 989708"/>
              <a:gd name="connsiteX12" fmla="*/ 754380 w 4808220"/>
              <a:gd name="connsiteY12" fmla="*/ 716280 h 989708"/>
              <a:gd name="connsiteX13" fmla="*/ 784860 w 4808220"/>
              <a:gd name="connsiteY13" fmla="*/ 739140 h 989708"/>
              <a:gd name="connsiteX14" fmla="*/ 960120 w 4808220"/>
              <a:gd name="connsiteY14" fmla="*/ 807720 h 989708"/>
              <a:gd name="connsiteX15" fmla="*/ 1257300 w 4808220"/>
              <a:gd name="connsiteY15" fmla="*/ 937260 h 989708"/>
              <a:gd name="connsiteX16" fmla="*/ 1386840 w 4808220"/>
              <a:gd name="connsiteY16" fmla="*/ 952500 h 989708"/>
              <a:gd name="connsiteX17" fmla="*/ 1455420 w 4808220"/>
              <a:gd name="connsiteY17" fmla="*/ 982027 h 989708"/>
              <a:gd name="connsiteX18" fmla="*/ 2434590 w 4808220"/>
              <a:gd name="connsiteY18" fmla="*/ 989647 h 989708"/>
              <a:gd name="connsiteX19" fmla="*/ 2560320 w 4808220"/>
              <a:gd name="connsiteY19" fmla="*/ 982980 h 989708"/>
              <a:gd name="connsiteX20" fmla="*/ 3779520 w 4808220"/>
              <a:gd name="connsiteY20" fmla="*/ 975360 h 989708"/>
              <a:gd name="connsiteX21" fmla="*/ 3916680 w 4808220"/>
              <a:gd name="connsiteY21" fmla="*/ 960120 h 989708"/>
              <a:gd name="connsiteX22" fmla="*/ 4061460 w 4808220"/>
              <a:gd name="connsiteY22" fmla="*/ 937260 h 989708"/>
              <a:gd name="connsiteX23" fmla="*/ 4808220 w 4808220"/>
              <a:gd name="connsiteY23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670560 w 4808220"/>
              <a:gd name="connsiteY10" fmla="*/ 662940 h 989708"/>
              <a:gd name="connsiteX11" fmla="*/ 754380 w 4808220"/>
              <a:gd name="connsiteY11" fmla="*/ 716280 h 989708"/>
              <a:gd name="connsiteX12" fmla="*/ 784860 w 4808220"/>
              <a:gd name="connsiteY12" fmla="*/ 739140 h 989708"/>
              <a:gd name="connsiteX13" fmla="*/ 960120 w 4808220"/>
              <a:gd name="connsiteY13" fmla="*/ 807720 h 989708"/>
              <a:gd name="connsiteX14" fmla="*/ 1257300 w 4808220"/>
              <a:gd name="connsiteY14" fmla="*/ 937260 h 989708"/>
              <a:gd name="connsiteX15" fmla="*/ 1386840 w 4808220"/>
              <a:gd name="connsiteY15" fmla="*/ 952500 h 989708"/>
              <a:gd name="connsiteX16" fmla="*/ 1455420 w 4808220"/>
              <a:gd name="connsiteY16" fmla="*/ 982027 h 989708"/>
              <a:gd name="connsiteX17" fmla="*/ 2434590 w 4808220"/>
              <a:gd name="connsiteY17" fmla="*/ 989647 h 989708"/>
              <a:gd name="connsiteX18" fmla="*/ 2560320 w 4808220"/>
              <a:gd name="connsiteY18" fmla="*/ 982980 h 989708"/>
              <a:gd name="connsiteX19" fmla="*/ 3779520 w 4808220"/>
              <a:gd name="connsiteY19" fmla="*/ 975360 h 989708"/>
              <a:gd name="connsiteX20" fmla="*/ 3916680 w 4808220"/>
              <a:gd name="connsiteY20" fmla="*/ 960120 h 989708"/>
              <a:gd name="connsiteX21" fmla="*/ 4061460 w 4808220"/>
              <a:gd name="connsiteY21" fmla="*/ 937260 h 989708"/>
              <a:gd name="connsiteX22" fmla="*/ 4808220 w 4808220"/>
              <a:gd name="connsiteY22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784860 w 4808220"/>
              <a:gd name="connsiteY11" fmla="*/ 739140 h 989708"/>
              <a:gd name="connsiteX12" fmla="*/ 960120 w 4808220"/>
              <a:gd name="connsiteY12" fmla="*/ 807720 h 989708"/>
              <a:gd name="connsiteX13" fmla="*/ 1257300 w 4808220"/>
              <a:gd name="connsiteY13" fmla="*/ 937260 h 989708"/>
              <a:gd name="connsiteX14" fmla="*/ 1386840 w 4808220"/>
              <a:gd name="connsiteY14" fmla="*/ 952500 h 989708"/>
              <a:gd name="connsiteX15" fmla="*/ 1455420 w 4808220"/>
              <a:gd name="connsiteY15" fmla="*/ 982027 h 989708"/>
              <a:gd name="connsiteX16" fmla="*/ 2434590 w 4808220"/>
              <a:gd name="connsiteY16" fmla="*/ 989647 h 989708"/>
              <a:gd name="connsiteX17" fmla="*/ 2560320 w 4808220"/>
              <a:gd name="connsiteY17" fmla="*/ 982980 h 989708"/>
              <a:gd name="connsiteX18" fmla="*/ 3779520 w 4808220"/>
              <a:gd name="connsiteY18" fmla="*/ 975360 h 989708"/>
              <a:gd name="connsiteX19" fmla="*/ 3916680 w 4808220"/>
              <a:gd name="connsiteY19" fmla="*/ 960120 h 989708"/>
              <a:gd name="connsiteX20" fmla="*/ 4061460 w 4808220"/>
              <a:gd name="connsiteY20" fmla="*/ 937260 h 989708"/>
              <a:gd name="connsiteX21" fmla="*/ 4808220 w 4808220"/>
              <a:gd name="connsiteY21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57300 w 4808220"/>
              <a:gd name="connsiteY12" fmla="*/ 937260 h 989708"/>
              <a:gd name="connsiteX13" fmla="*/ 1386840 w 4808220"/>
              <a:gd name="connsiteY13" fmla="*/ 952500 h 989708"/>
              <a:gd name="connsiteX14" fmla="*/ 1455420 w 4808220"/>
              <a:gd name="connsiteY14" fmla="*/ 982027 h 989708"/>
              <a:gd name="connsiteX15" fmla="*/ 2434590 w 4808220"/>
              <a:gd name="connsiteY15" fmla="*/ 989647 h 989708"/>
              <a:gd name="connsiteX16" fmla="*/ 2560320 w 4808220"/>
              <a:gd name="connsiteY16" fmla="*/ 982980 h 989708"/>
              <a:gd name="connsiteX17" fmla="*/ 3779520 w 4808220"/>
              <a:gd name="connsiteY17" fmla="*/ 975360 h 989708"/>
              <a:gd name="connsiteX18" fmla="*/ 3916680 w 4808220"/>
              <a:gd name="connsiteY18" fmla="*/ 960120 h 989708"/>
              <a:gd name="connsiteX19" fmla="*/ 4061460 w 4808220"/>
              <a:gd name="connsiteY19" fmla="*/ 937260 h 989708"/>
              <a:gd name="connsiteX20" fmla="*/ 4808220 w 4808220"/>
              <a:gd name="connsiteY20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57300 w 4808220"/>
              <a:gd name="connsiteY12" fmla="*/ 937260 h 989708"/>
              <a:gd name="connsiteX13" fmla="*/ 1455420 w 4808220"/>
              <a:gd name="connsiteY13" fmla="*/ 982027 h 989708"/>
              <a:gd name="connsiteX14" fmla="*/ 2434590 w 4808220"/>
              <a:gd name="connsiteY14" fmla="*/ 989647 h 989708"/>
              <a:gd name="connsiteX15" fmla="*/ 2560320 w 4808220"/>
              <a:gd name="connsiteY15" fmla="*/ 982980 h 989708"/>
              <a:gd name="connsiteX16" fmla="*/ 3779520 w 4808220"/>
              <a:gd name="connsiteY16" fmla="*/ 975360 h 989708"/>
              <a:gd name="connsiteX17" fmla="*/ 3916680 w 4808220"/>
              <a:gd name="connsiteY17" fmla="*/ 960120 h 989708"/>
              <a:gd name="connsiteX18" fmla="*/ 4061460 w 4808220"/>
              <a:gd name="connsiteY18" fmla="*/ 937260 h 989708"/>
              <a:gd name="connsiteX19" fmla="*/ 4808220 w 4808220"/>
              <a:gd name="connsiteY19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00150 w 4808220"/>
              <a:gd name="connsiteY12" fmla="*/ 918210 h 989708"/>
              <a:gd name="connsiteX13" fmla="*/ 1455420 w 4808220"/>
              <a:gd name="connsiteY13" fmla="*/ 982027 h 989708"/>
              <a:gd name="connsiteX14" fmla="*/ 2434590 w 4808220"/>
              <a:gd name="connsiteY14" fmla="*/ 989647 h 989708"/>
              <a:gd name="connsiteX15" fmla="*/ 2560320 w 4808220"/>
              <a:gd name="connsiteY15" fmla="*/ 982980 h 989708"/>
              <a:gd name="connsiteX16" fmla="*/ 3779520 w 4808220"/>
              <a:gd name="connsiteY16" fmla="*/ 975360 h 989708"/>
              <a:gd name="connsiteX17" fmla="*/ 3916680 w 4808220"/>
              <a:gd name="connsiteY17" fmla="*/ 960120 h 989708"/>
              <a:gd name="connsiteX18" fmla="*/ 4061460 w 4808220"/>
              <a:gd name="connsiteY18" fmla="*/ 937260 h 989708"/>
              <a:gd name="connsiteX19" fmla="*/ 4808220 w 4808220"/>
              <a:gd name="connsiteY19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00150 w 4808220"/>
              <a:gd name="connsiteY12" fmla="*/ 918210 h 989708"/>
              <a:gd name="connsiteX13" fmla="*/ 1455420 w 4808220"/>
              <a:gd name="connsiteY13" fmla="*/ 982027 h 989708"/>
              <a:gd name="connsiteX14" fmla="*/ 2434590 w 4808220"/>
              <a:gd name="connsiteY14" fmla="*/ 989647 h 989708"/>
              <a:gd name="connsiteX15" fmla="*/ 2560320 w 4808220"/>
              <a:gd name="connsiteY15" fmla="*/ 982980 h 989708"/>
              <a:gd name="connsiteX16" fmla="*/ 3779520 w 4808220"/>
              <a:gd name="connsiteY16" fmla="*/ 975360 h 989708"/>
              <a:gd name="connsiteX17" fmla="*/ 3916680 w 4808220"/>
              <a:gd name="connsiteY17" fmla="*/ 960120 h 989708"/>
              <a:gd name="connsiteX18" fmla="*/ 4061460 w 4808220"/>
              <a:gd name="connsiteY18" fmla="*/ 937260 h 989708"/>
              <a:gd name="connsiteX19" fmla="*/ 4808220 w 4808220"/>
              <a:gd name="connsiteY19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129540 w 4808220"/>
              <a:gd name="connsiteY2" fmla="*/ 144780 h 989708"/>
              <a:gd name="connsiteX3" fmla="*/ 243840 w 4808220"/>
              <a:gd name="connsiteY3" fmla="*/ 297180 h 989708"/>
              <a:gd name="connsiteX4" fmla="*/ 274320 w 4808220"/>
              <a:gd name="connsiteY4" fmla="*/ 335280 h 989708"/>
              <a:gd name="connsiteX5" fmla="*/ 342900 w 4808220"/>
              <a:gd name="connsiteY5" fmla="*/ 419100 h 989708"/>
              <a:gd name="connsiteX6" fmla="*/ 449580 w 4808220"/>
              <a:gd name="connsiteY6" fmla="*/ 495300 h 989708"/>
              <a:gd name="connsiteX7" fmla="*/ 510540 w 4808220"/>
              <a:gd name="connsiteY7" fmla="*/ 541020 h 989708"/>
              <a:gd name="connsiteX8" fmla="*/ 556260 w 4808220"/>
              <a:gd name="connsiteY8" fmla="*/ 594360 h 989708"/>
              <a:gd name="connsiteX9" fmla="*/ 640080 w 4808220"/>
              <a:gd name="connsiteY9" fmla="*/ 647700 h 989708"/>
              <a:gd name="connsiteX10" fmla="*/ 754380 w 4808220"/>
              <a:gd name="connsiteY10" fmla="*/ 716280 h 989708"/>
              <a:gd name="connsiteX11" fmla="*/ 960120 w 4808220"/>
              <a:gd name="connsiteY11" fmla="*/ 807720 h 989708"/>
              <a:gd name="connsiteX12" fmla="*/ 1200150 w 4808220"/>
              <a:gd name="connsiteY12" fmla="*/ 918210 h 989708"/>
              <a:gd name="connsiteX13" fmla="*/ 1464945 w 4808220"/>
              <a:gd name="connsiteY13" fmla="*/ 977265 h 989708"/>
              <a:gd name="connsiteX14" fmla="*/ 2434590 w 4808220"/>
              <a:gd name="connsiteY14" fmla="*/ 989647 h 989708"/>
              <a:gd name="connsiteX15" fmla="*/ 2560320 w 4808220"/>
              <a:gd name="connsiteY15" fmla="*/ 982980 h 989708"/>
              <a:gd name="connsiteX16" fmla="*/ 3779520 w 4808220"/>
              <a:gd name="connsiteY16" fmla="*/ 975360 h 989708"/>
              <a:gd name="connsiteX17" fmla="*/ 3916680 w 4808220"/>
              <a:gd name="connsiteY17" fmla="*/ 960120 h 989708"/>
              <a:gd name="connsiteX18" fmla="*/ 4061460 w 4808220"/>
              <a:gd name="connsiteY18" fmla="*/ 937260 h 989708"/>
              <a:gd name="connsiteX19" fmla="*/ 4808220 w 4808220"/>
              <a:gd name="connsiteY19" fmla="*/ 937260 h 989708"/>
              <a:gd name="connsiteX0" fmla="*/ 970 w 4809190"/>
              <a:gd name="connsiteY0" fmla="*/ 0 h 989708"/>
              <a:gd name="connsiteX1" fmla="*/ 23830 w 4809190"/>
              <a:gd name="connsiteY1" fmla="*/ 45720 h 989708"/>
              <a:gd name="connsiteX2" fmla="*/ 244810 w 4809190"/>
              <a:gd name="connsiteY2" fmla="*/ 297180 h 989708"/>
              <a:gd name="connsiteX3" fmla="*/ 275290 w 4809190"/>
              <a:gd name="connsiteY3" fmla="*/ 335280 h 989708"/>
              <a:gd name="connsiteX4" fmla="*/ 343870 w 4809190"/>
              <a:gd name="connsiteY4" fmla="*/ 419100 h 989708"/>
              <a:gd name="connsiteX5" fmla="*/ 450550 w 4809190"/>
              <a:gd name="connsiteY5" fmla="*/ 495300 h 989708"/>
              <a:gd name="connsiteX6" fmla="*/ 511510 w 4809190"/>
              <a:gd name="connsiteY6" fmla="*/ 541020 h 989708"/>
              <a:gd name="connsiteX7" fmla="*/ 557230 w 4809190"/>
              <a:gd name="connsiteY7" fmla="*/ 594360 h 989708"/>
              <a:gd name="connsiteX8" fmla="*/ 641050 w 4809190"/>
              <a:gd name="connsiteY8" fmla="*/ 647700 h 989708"/>
              <a:gd name="connsiteX9" fmla="*/ 755350 w 4809190"/>
              <a:gd name="connsiteY9" fmla="*/ 716280 h 989708"/>
              <a:gd name="connsiteX10" fmla="*/ 961090 w 4809190"/>
              <a:gd name="connsiteY10" fmla="*/ 807720 h 989708"/>
              <a:gd name="connsiteX11" fmla="*/ 1201120 w 4809190"/>
              <a:gd name="connsiteY11" fmla="*/ 918210 h 989708"/>
              <a:gd name="connsiteX12" fmla="*/ 1465915 w 4809190"/>
              <a:gd name="connsiteY12" fmla="*/ 977265 h 989708"/>
              <a:gd name="connsiteX13" fmla="*/ 2435560 w 4809190"/>
              <a:gd name="connsiteY13" fmla="*/ 989647 h 989708"/>
              <a:gd name="connsiteX14" fmla="*/ 2561290 w 4809190"/>
              <a:gd name="connsiteY14" fmla="*/ 982980 h 989708"/>
              <a:gd name="connsiteX15" fmla="*/ 3780490 w 4809190"/>
              <a:gd name="connsiteY15" fmla="*/ 975360 h 989708"/>
              <a:gd name="connsiteX16" fmla="*/ 3917650 w 4809190"/>
              <a:gd name="connsiteY16" fmla="*/ 960120 h 989708"/>
              <a:gd name="connsiteX17" fmla="*/ 4062430 w 4809190"/>
              <a:gd name="connsiteY17" fmla="*/ 937260 h 989708"/>
              <a:gd name="connsiteX18" fmla="*/ 4809190 w 4809190"/>
              <a:gd name="connsiteY18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42900 w 4808220"/>
              <a:gd name="connsiteY4" fmla="*/ 419100 h 989708"/>
              <a:gd name="connsiteX5" fmla="*/ 449580 w 4808220"/>
              <a:gd name="connsiteY5" fmla="*/ 495300 h 989708"/>
              <a:gd name="connsiteX6" fmla="*/ 510540 w 4808220"/>
              <a:gd name="connsiteY6" fmla="*/ 541020 h 989708"/>
              <a:gd name="connsiteX7" fmla="*/ 556260 w 4808220"/>
              <a:gd name="connsiteY7" fmla="*/ 594360 h 989708"/>
              <a:gd name="connsiteX8" fmla="*/ 640080 w 4808220"/>
              <a:gd name="connsiteY8" fmla="*/ 647700 h 989708"/>
              <a:gd name="connsiteX9" fmla="*/ 754380 w 4808220"/>
              <a:gd name="connsiteY9" fmla="*/ 716280 h 989708"/>
              <a:gd name="connsiteX10" fmla="*/ 960120 w 4808220"/>
              <a:gd name="connsiteY10" fmla="*/ 807720 h 989708"/>
              <a:gd name="connsiteX11" fmla="*/ 1200150 w 4808220"/>
              <a:gd name="connsiteY11" fmla="*/ 918210 h 989708"/>
              <a:gd name="connsiteX12" fmla="*/ 1464945 w 4808220"/>
              <a:gd name="connsiteY12" fmla="*/ 977265 h 989708"/>
              <a:gd name="connsiteX13" fmla="*/ 2434590 w 4808220"/>
              <a:gd name="connsiteY13" fmla="*/ 989647 h 989708"/>
              <a:gd name="connsiteX14" fmla="*/ 2560320 w 4808220"/>
              <a:gd name="connsiteY14" fmla="*/ 982980 h 989708"/>
              <a:gd name="connsiteX15" fmla="*/ 3779520 w 4808220"/>
              <a:gd name="connsiteY15" fmla="*/ 975360 h 989708"/>
              <a:gd name="connsiteX16" fmla="*/ 3916680 w 4808220"/>
              <a:gd name="connsiteY16" fmla="*/ 960120 h 989708"/>
              <a:gd name="connsiteX17" fmla="*/ 4061460 w 4808220"/>
              <a:gd name="connsiteY17" fmla="*/ 937260 h 989708"/>
              <a:gd name="connsiteX18" fmla="*/ 4808220 w 4808220"/>
              <a:gd name="connsiteY18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10540 w 4808220"/>
              <a:gd name="connsiteY6" fmla="*/ 541020 h 989708"/>
              <a:gd name="connsiteX7" fmla="*/ 556260 w 4808220"/>
              <a:gd name="connsiteY7" fmla="*/ 594360 h 989708"/>
              <a:gd name="connsiteX8" fmla="*/ 640080 w 4808220"/>
              <a:gd name="connsiteY8" fmla="*/ 647700 h 989708"/>
              <a:gd name="connsiteX9" fmla="*/ 754380 w 4808220"/>
              <a:gd name="connsiteY9" fmla="*/ 716280 h 989708"/>
              <a:gd name="connsiteX10" fmla="*/ 960120 w 4808220"/>
              <a:gd name="connsiteY10" fmla="*/ 807720 h 989708"/>
              <a:gd name="connsiteX11" fmla="*/ 1200150 w 4808220"/>
              <a:gd name="connsiteY11" fmla="*/ 918210 h 989708"/>
              <a:gd name="connsiteX12" fmla="*/ 1464945 w 4808220"/>
              <a:gd name="connsiteY12" fmla="*/ 977265 h 989708"/>
              <a:gd name="connsiteX13" fmla="*/ 2434590 w 4808220"/>
              <a:gd name="connsiteY13" fmla="*/ 989647 h 989708"/>
              <a:gd name="connsiteX14" fmla="*/ 2560320 w 4808220"/>
              <a:gd name="connsiteY14" fmla="*/ 982980 h 989708"/>
              <a:gd name="connsiteX15" fmla="*/ 3779520 w 4808220"/>
              <a:gd name="connsiteY15" fmla="*/ 975360 h 989708"/>
              <a:gd name="connsiteX16" fmla="*/ 3916680 w 4808220"/>
              <a:gd name="connsiteY16" fmla="*/ 960120 h 989708"/>
              <a:gd name="connsiteX17" fmla="*/ 4061460 w 4808220"/>
              <a:gd name="connsiteY17" fmla="*/ 937260 h 989708"/>
              <a:gd name="connsiteX18" fmla="*/ 4808220 w 4808220"/>
              <a:gd name="connsiteY18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56260 w 4808220"/>
              <a:gd name="connsiteY6" fmla="*/ 594360 h 989708"/>
              <a:gd name="connsiteX7" fmla="*/ 640080 w 4808220"/>
              <a:gd name="connsiteY7" fmla="*/ 647700 h 989708"/>
              <a:gd name="connsiteX8" fmla="*/ 754380 w 4808220"/>
              <a:gd name="connsiteY8" fmla="*/ 71628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779520 w 4808220"/>
              <a:gd name="connsiteY14" fmla="*/ 975360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46735 w 4808220"/>
              <a:gd name="connsiteY6" fmla="*/ 575310 h 989708"/>
              <a:gd name="connsiteX7" fmla="*/ 640080 w 4808220"/>
              <a:gd name="connsiteY7" fmla="*/ 647700 h 989708"/>
              <a:gd name="connsiteX8" fmla="*/ 754380 w 4808220"/>
              <a:gd name="connsiteY8" fmla="*/ 71628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779520 w 4808220"/>
              <a:gd name="connsiteY14" fmla="*/ 975360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46735 w 4808220"/>
              <a:gd name="connsiteY6" fmla="*/ 575310 h 989708"/>
              <a:gd name="connsiteX7" fmla="*/ 640080 w 4808220"/>
              <a:gd name="connsiteY7" fmla="*/ 647700 h 989708"/>
              <a:gd name="connsiteX8" fmla="*/ 797242 w 4808220"/>
              <a:gd name="connsiteY8" fmla="*/ 73533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779520 w 4808220"/>
              <a:gd name="connsiteY14" fmla="*/ 975360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46735 w 4808220"/>
              <a:gd name="connsiteY6" fmla="*/ 575310 h 989708"/>
              <a:gd name="connsiteX7" fmla="*/ 640080 w 4808220"/>
              <a:gd name="connsiteY7" fmla="*/ 647700 h 989708"/>
              <a:gd name="connsiteX8" fmla="*/ 797242 w 4808220"/>
              <a:gd name="connsiteY8" fmla="*/ 73533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779520 w 4808220"/>
              <a:gd name="connsiteY14" fmla="*/ 975360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4808220"/>
              <a:gd name="connsiteY0" fmla="*/ 0 h 989708"/>
              <a:gd name="connsiteX1" fmla="*/ 22860 w 4808220"/>
              <a:gd name="connsiteY1" fmla="*/ 45720 h 989708"/>
              <a:gd name="connsiteX2" fmla="*/ 243840 w 4808220"/>
              <a:gd name="connsiteY2" fmla="*/ 297180 h 989708"/>
              <a:gd name="connsiteX3" fmla="*/ 274320 w 4808220"/>
              <a:gd name="connsiteY3" fmla="*/ 335280 h 989708"/>
              <a:gd name="connsiteX4" fmla="*/ 361950 w 4808220"/>
              <a:gd name="connsiteY4" fmla="*/ 423862 h 989708"/>
              <a:gd name="connsiteX5" fmla="*/ 449580 w 4808220"/>
              <a:gd name="connsiteY5" fmla="*/ 495300 h 989708"/>
              <a:gd name="connsiteX6" fmla="*/ 546735 w 4808220"/>
              <a:gd name="connsiteY6" fmla="*/ 575310 h 989708"/>
              <a:gd name="connsiteX7" fmla="*/ 640080 w 4808220"/>
              <a:gd name="connsiteY7" fmla="*/ 647700 h 989708"/>
              <a:gd name="connsiteX8" fmla="*/ 797242 w 4808220"/>
              <a:gd name="connsiteY8" fmla="*/ 735330 h 989708"/>
              <a:gd name="connsiteX9" fmla="*/ 960120 w 4808220"/>
              <a:gd name="connsiteY9" fmla="*/ 807720 h 989708"/>
              <a:gd name="connsiteX10" fmla="*/ 1200150 w 4808220"/>
              <a:gd name="connsiteY10" fmla="*/ 918210 h 989708"/>
              <a:gd name="connsiteX11" fmla="*/ 1464945 w 4808220"/>
              <a:gd name="connsiteY11" fmla="*/ 977265 h 989708"/>
              <a:gd name="connsiteX12" fmla="*/ 2434590 w 4808220"/>
              <a:gd name="connsiteY12" fmla="*/ 989647 h 989708"/>
              <a:gd name="connsiteX13" fmla="*/ 2560320 w 4808220"/>
              <a:gd name="connsiteY13" fmla="*/ 982980 h 989708"/>
              <a:gd name="connsiteX14" fmla="*/ 3589020 w 4808220"/>
              <a:gd name="connsiteY14" fmla="*/ 965835 h 989708"/>
              <a:gd name="connsiteX15" fmla="*/ 3916680 w 4808220"/>
              <a:gd name="connsiteY15" fmla="*/ 960120 h 989708"/>
              <a:gd name="connsiteX16" fmla="*/ 4061460 w 4808220"/>
              <a:gd name="connsiteY16" fmla="*/ 937260 h 989708"/>
              <a:gd name="connsiteX17" fmla="*/ 4808220 w 4808220"/>
              <a:gd name="connsiteY17" fmla="*/ 937260 h 989708"/>
              <a:gd name="connsiteX0" fmla="*/ 0 w 5127307"/>
              <a:gd name="connsiteY0" fmla="*/ 0 h 1585021"/>
              <a:gd name="connsiteX1" fmla="*/ 341947 w 5127307"/>
              <a:gd name="connsiteY1" fmla="*/ 641033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341947 w 5127307"/>
              <a:gd name="connsiteY1" fmla="*/ 641033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341947 w 5127307"/>
              <a:gd name="connsiteY1" fmla="*/ 641033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13360 w 5127307"/>
              <a:gd name="connsiteY1" fmla="*/ 426721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13360 w 5127307"/>
              <a:gd name="connsiteY1" fmla="*/ 426721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08597 w 5127307"/>
              <a:gd name="connsiteY1" fmla="*/ 450534 h 1585021"/>
              <a:gd name="connsiteX2" fmla="*/ 562927 w 5127307"/>
              <a:gd name="connsiteY2" fmla="*/ 892493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08597 w 5127307"/>
              <a:gd name="connsiteY1" fmla="*/ 450534 h 1585021"/>
              <a:gd name="connsiteX2" fmla="*/ 424815 w 5127307"/>
              <a:gd name="connsiteY2" fmla="*/ 749618 h 1585021"/>
              <a:gd name="connsiteX3" fmla="*/ 593407 w 5127307"/>
              <a:gd name="connsiteY3" fmla="*/ 930593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08597 w 5127307"/>
              <a:gd name="connsiteY1" fmla="*/ 450534 h 1585021"/>
              <a:gd name="connsiteX2" fmla="*/ 424815 w 5127307"/>
              <a:gd name="connsiteY2" fmla="*/ 749618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208597 w 5127307"/>
              <a:gd name="connsiteY1" fmla="*/ 450534 h 1585021"/>
              <a:gd name="connsiteX2" fmla="*/ 367665 w 5127307"/>
              <a:gd name="connsiteY2" fmla="*/ 659130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67665 w 5127307"/>
              <a:gd name="connsiteY2" fmla="*/ 659130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67665 w 5127307"/>
              <a:gd name="connsiteY2" fmla="*/ 659130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53377 w 5127307"/>
              <a:gd name="connsiteY2" fmla="*/ 640080 h 1585021"/>
              <a:gd name="connsiteX3" fmla="*/ 541019 w 5127307"/>
              <a:gd name="connsiteY3" fmla="*/ 882968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53377 w 5127307"/>
              <a:gd name="connsiteY2" fmla="*/ 640080 h 1585021"/>
              <a:gd name="connsiteX3" fmla="*/ 493394 w 5127307"/>
              <a:gd name="connsiteY3" fmla="*/ 830581 h 1585021"/>
              <a:gd name="connsiteX4" fmla="*/ 681037 w 5127307"/>
              <a:gd name="connsiteY4" fmla="*/ 1019175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  <a:gd name="connsiteX0" fmla="*/ 0 w 5127307"/>
              <a:gd name="connsiteY0" fmla="*/ 0 h 1585021"/>
              <a:gd name="connsiteX1" fmla="*/ 165735 w 5127307"/>
              <a:gd name="connsiteY1" fmla="*/ 374334 h 1585021"/>
              <a:gd name="connsiteX2" fmla="*/ 353377 w 5127307"/>
              <a:gd name="connsiteY2" fmla="*/ 640080 h 1585021"/>
              <a:gd name="connsiteX3" fmla="*/ 493394 w 5127307"/>
              <a:gd name="connsiteY3" fmla="*/ 830581 h 1585021"/>
              <a:gd name="connsiteX4" fmla="*/ 628649 w 5127307"/>
              <a:gd name="connsiteY4" fmla="*/ 985838 h 1585021"/>
              <a:gd name="connsiteX5" fmla="*/ 768667 w 5127307"/>
              <a:gd name="connsiteY5" fmla="*/ 1090613 h 1585021"/>
              <a:gd name="connsiteX6" fmla="*/ 865822 w 5127307"/>
              <a:gd name="connsiteY6" fmla="*/ 1170623 h 1585021"/>
              <a:gd name="connsiteX7" fmla="*/ 959167 w 5127307"/>
              <a:gd name="connsiteY7" fmla="*/ 1243013 h 1585021"/>
              <a:gd name="connsiteX8" fmla="*/ 1116329 w 5127307"/>
              <a:gd name="connsiteY8" fmla="*/ 1330643 h 1585021"/>
              <a:gd name="connsiteX9" fmla="*/ 1279207 w 5127307"/>
              <a:gd name="connsiteY9" fmla="*/ 1403033 h 1585021"/>
              <a:gd name="connsiteX10" fmla="*/ 1519237 w 5127307"/>
              <a:gd name="connsiteY10" fmla="*/ 1513523 h 1585021"/>
              <a:gd name="connsiteX11" fmla="*/ 1784032 w 5127307"/>
              <a:gd name="connsiteY11" fmla="*/ 1572578 h 1585021"/>
              <a:gd name="connsiteX12" fmla="*/ 2753677 w 5127307"/>
              <a:gd name="connsiteY12" fmla="*/ 1584960 h 1585021"/>
              <a:gd name="connsiteX13" fmla="*/ 2879407 w 5127307"/>
              <a:gd name="connsiteY13" fmla="*/ 1578293 h 1585021"/>
              <a:gd name="connsiteX14" fmla="*/ 3908107 w 5127307"/>
              <a:gd name="connsiteY14" fmla="*/ 1561148 h 1585021"/>
              <a:gd name="connsiteX15" fmla="*/ 4235767 w 5127307"/>
              <a:gd name="connsiteY15" fmla="*/ 1555433 h 1585021"/>
              <a:gd name="connsiteX16" fmla="*/ 4380547 w 5127307"/>
              <a:gd name="connsiteY16" fmla="*/ 1532573 h 1585021"/>
              <a:gd name="connsiteX17" fmla="*/ 5127307 w 5127307"/>
              <a:gd name="connsiteY17" fmla="*/ 1532573 h 1585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5127307" h="1585021">
                <a:moveTo>
                  <a:pt x="0" y="0"/>
                </a:moveTo>
                <a:cubicBezTo>
                  <a:pt x="31432" y="105727"/>
                  <a:pt x="106839" y="267654"/>
                  <a:pt x="165735" y="374334"/>
                </a:cubicBezTo>
                <a:cubicBezTo>
                  <a:pt x="224631" y="481014"/>
                  <a:pt x="298767" y="564039"/>
                  <a:pt x="353377" y="640080"/>
                </a:cubicBezTo>
                <a:cubicBezTo>
                  <a:pt x="407987" y="716121"/>
                  <a:pt x="447515" y="772955"/>
                  <a:pt x="493394" y="830581"/>
                </a:cubicBezTo>
                <a:cubicBezTo>
                  <a:pt x="539273" y="888207"/>
                  <a:pt x="582770" y="942499"/>
                  <a:pt x="628649" y="985838"/>
                </a:cubicBezTo>
                <a:cubicBezTo>
                  <a:pt x="674528" y="1029177"/>
                  <a:pt x="729138" y="1059816"/>
                  <a:pt x="768667" y="1090613"/>
                </a:cubicBezTo>
                <a:cubicBezTo>
                  <a:pt x="808196" y="1121410"/>
                  <a:pt x="834072" y="1145223"/>
                  <a:pt x="865822" y="1170623"/>
                </a:cubicBezTo>
                <a:cubicBezTo>
                  <a:pt x="897572" y="1196023"/>
                  <a:pt x="917416" y="1216343"/>
                  <a:pt x="959167" y="1243013"/>
                </a:cubicBezTo>
                <a:cubicBezTo>
                  <a:pt x="1000918" y="1269683"/>
                  <a:pt x="1062989" y="1303973"/>
                  <a:pt x="1116329" y="1330643"/>
                </a:cubicBezTo>
                <a:cubicBezTo>
                  <a:pt x="1169669" y="1357313"/>
                  <a:pt x="1195387" y="1366203"/>
                  <a:pt x="1279207" y="1403033"/>
                </a:cubicBezTo>
                <a:cubicBezTo>
                  <a:pt x="1363027" y="1439863"/>
                  <a:pt x="1433928" y="1489031"/>
                  <a:pt x="1519237" y="1513523"/>
                </a:cubicBezTo>
                <a:cubicBezTo>
                  <a:pt x="1617662" y="1541781"/>
                  <a:pt x="1578292" y="1560672"/>
                  <a:pt x="1784032" y="1572578"/>
                </a:cubicBezTo>
                <a:cubicBezTo>
                  <a:pt x="1989772" y="1584484"/>
                  <a:pt x="2569527" y="1582420"/>
                  <a:pt x="2753677" y="1584960"/>
                </a:cubicBezTo>
                <a:cubicBezTo>
                  <a:pt x="2789318" y="1585770"/>
                  <a:pt x="2843756" y="1578293"/>
                  <a:pt x="2879407" y="1578293"/>
                </a:cubicBezTo>
                <a:lnTo>
                  <a:pt x="3908107" y="1561148"/>
                </a:lnTo>
                <a:cubicBezTo>
                  <a:pt x="3953827" y="1556068"/>
                  <a:pt x="4157027" y="1560196"/>
                  <a:pt x="4235767" y="1555433"/>
                </a:cubicBezTo>
                <a:cubicBezTo>
                  <a:pt x="4314507" y="1550671"/>
                  <a:pt x="4331689" y="1532573"/>
                  <a:pt x="4380547" y="1532573"/>
                </a:cubicBezTo>
                <a:lnTo>
                  <a:pt x="5127307" y="1532573"/>
                </a:lnTo>
              </a:path>
            </a:pathLst>
          </a:custGeom>
          <a:noFill/>
          <a:ln w="5406" cap="rnd">
            <a:solidFill>
              <a:srgbClr val="005950"/>
            </a:solidFill>
            <a:prstDash val="solid"/>
            <a:round/>
            <a:headEnd type="oval"/>
          </a:ln>
        </p:spPr>
        <p:txBody>
          <a:bodyPr rtlCol="0" anchor="ctr"/>
          <a:lstStyle/>
          <a:p>
            <a:endParaRPr lang="da-DK">
              <a:solidFill>
                <a:schemeClr val="tx1"/>
              </a:solidFill>
            </a:endParaRPr>
          </a:p>
        </p:txBody>
      </p:sp>
      <p:grpSp>
        <p:nvGrpSpPr>
          <p:cNvPr id="12" name="Group 642">
            <a:extLst>
              <a:ext uri="{FF2B5EF4-FFF2-40B4-BE49-F238E27FC236}">
                <a16:creationId xmlns:a16="http://schemas.microsoft.com/office/drawing/2014/main" id="{36626B09-6AF5-9826-39AB-5D7DE979F042}"/>
              </a:ext>
            </a:extLst>
          </p:cNvPr>
          <p:cNvGrpSpPr/>
          <p:nvPr/>
        </p:nvGrpSpPr>
        <p:grpSpPr>
          <a:xfrm>
            <a:off x="411146" y="1907723"/>
            <a:ext cx="1231831" cy="1231831"/>
            <a:chOff x="3771899" y="1730444"/>
            <a:chExt cx="1231831" cy="1231831"/>
          </a:xfrm>
        </p:grpSpPr>
        <p:grpSp>
          <p:nvGrpSpPr>
            <p:cNvPr id="13" name="Group 588">
              <a:extLst>
                <a:ext uri="{FF2B5EF4-FFF2-40B4-BE49-F238E27FC236}">
                  <a16:creationId xmlns:a16="http://schemas.microsoft.com/office/drawing/2014/main" id="{060AA774-AA74-2020-47B0-ABD8F499E558}"/>
                </a:ext>
              </a:extLst>
            </p:cNvPr>
            <p:cNvGrpSpPr/>
            <p:nvPr/>
          </p:nvGrpSpPr>
          <p:grpSpPr>
            <a:xfrm>
              <a:off x="3771899" y="1730444"/>
              <a:ext cx="1231831" cy="1231831"/>
              <a:chOff x="352424" y="1597094"/>
              <a:chExt cx="1448637" cy="1448637"/>
            </a:xfrm>
          </p:grpSpPr>
          <p:sp>
            <p:nvSpPr>
              <p:cNvPr id="16" name="Oval 586">
                <a:extLst>
                  <a:ext uri="{FF2B5EF4-FFF2-40B4-BE49-F238E27FC236}">
                    <a16:creationId xmlns:a16="http://schemas.microsoft.com/office/drawing/2014/main" id="{08DF5DE2-F969-E96A-2DC5-01673591A780}"/>
                  </a:ext>
                </a:extLst>
              </p:cNvPr>
              <p:cNvSpPr/>
              <p:nvPr/>
            </p:nvSpPr>
            <p:spPr>
              <a:xfrm>
                <a:off x="352424" y="1597094"/>
                <a:ext cx="1448637" cy="1448637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400"/>
              </a:p>
            </p:txBody>
          </p:sp>
          <p:sp>
            <p:nvSpPr>
              <p:cNvPr id="17" name="Oval 587">
                <a:extLst>
                  <a:ext uri="{FF2B5EF4-FFF2-40B4-BE49-F238E27FC236}">
                    <a16:creationId xmlns:a16="http://schemas.microsoft.com/office/drawing/2014/main" id="{AE08DD03-C80A-6864-5FE0-8D7A465BAFE5}"/>
                  </a:ext>
                </a:extLst>
              </p:cNvPr>
              <p:cNvSpPr/>
              <p:nvPr/>
            </p:nvSpPr>
            <p:spPr>
              <a:xfrm>
                <a:off x="477086" y="1721757"/>
                <a:ext cx="1199314" cy="1199312"/>
              </a:xfrm>
              <a:prstGeom prst="ellipse">
                <a:avLst/>
              </a:prstGeom>
              <a:solidFill>
                <a:schemeClr val="accent1">
                  <a:lumMod val="90000"/>
                  <a:lumOff val="1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400"/>
              </a:p>
            </p:txBody>
          </p:sp>
        </p:grpSp>
        <p:sp>
          <p:nvSpPr>
            <p:cNvPr id="14" name="Freeform: Shape 591">
              <a:extLst>
                <a:ext uri="{FF2B5EF4-FFF2-40B4-BE49-F238E27FC236}">
                  <a16:creationId xmlns:a16="http://schemas.microsoft.com/office/drawing/2014/main" id="{44989313-30DB-F86A-52A0-667744ED8501}"/>
                </a:ext>
              </a:extLst>
            </p:cNvPr>
            <p:cNvSpPr/>
            <p:nvPr/>
          </p:nvSpPr>
          <p:spPr>
            <a:xfrm>
              <a:off x="4098465" y="2127284"/>
              <a:ext cx="578698" cy="438150"/>
            </a:xfrm>
            <a:custGeom>
              <a:avLst/>
              <a:gdLst/>
              <a:ahLst/>
              <a:cxnLst/>
              <a:rect l="l" t="t" r="r" b="b"/>
              <a:pathLst>
                <a:path w="75629" h="57261">
                  <a:moveTo>
                    <a:pt x="70210" y="0"/>
                  </a:moveTo>
                  <a:cubicBezTo>
                    <a:pt x="71401" y="0"/>
                    <a:pt x="72405" y="55"/>
                    <a:pt x="73224" y="167"/>
                  </a:cubicBezTo>
                  <a:cubicBezTo>
                    <a:pt x="74042" y="279"/>
                    <a:pt x="74638" y="465"/>
                    <a:pt x="75010" y="725"/>
                  </a:cubicBezTo>
                  <a:cubicBezTo>
                    <a:pt x="75382" y="985"/>
                    <a:pt x="75587" y="1339"/>
                    <a:pt x="75624" y="1785"/>
                  </a:cubicBezTo>
                  <a:cubicBezTo>
                    <a:pt x="75661" y="2232"/>
                    <a:pt x="75494" y="2753"/>
                    <a:pt x="75121" y="3348"/>
                  </a:cubicBezTo>
                  <a:lnTo>
                    <a:pt x="60499" y="34044"/>
                  </a:lnTo>
                  <a:lnTo>
                    <a:pt x="60499" y="48108"/>
                  </a:lnTo>
                  <a:cubicBezTo>
                    <a:pt x="60499" y="50043"/>
                    <a:pt x="60294" y="51606"/>
                    <a:pt x="59885" y="52796"/>
                  </a:cubicBezTo>
                  <a:cubicBezTo>
                    <a:pt x="59476" y="53987"/>
                    <a:pt x="58843" y="54917"/>
                    <a:pt x="57988" y="55587"/>
                  </a:cubicBezTo>
                  <a:cubicBezTo>
                    <a:pt x="57132" y="56257"/>
                    <a:pt x="56053" y="56703"/>
                    <a:pt x="54751" y="56926"/>
                  </a:cubicBezTo>
                  <a:cubicBezTo>
                    <a:pt x="53448" y="57150"/>
                    <a:pt x="51904" y="57261"/>
                    <a:pt x="50118" y="57261"/>
                  </a:cubicBezTo>
                  <a:cubicBezTo>
                    <a:pt x="48332" y="57261"/>
                    <a:pt x="46807" y="57150"/>
                    <a:pt x="45542" y="56926"/>
                  </a:cubicBezTo>
                  <a:cubicBezTo>
                    <a:pt x="44277" y="56703"/>
                    <a:pt x="43235" y="56257"/>
                    <a:pt x="42416" y="55587"/>
                  </a:cubicBezTo>
                  <a:cubicBezTo>
                    <a:pt x="41598" y="54917"/>
                    <a:pt x="40984" y="53987"/>
                    <a:pt x="40575" y="52796"/>
                  </a:cubicBezTo>
                  <a:cubicBezTo>
                    <a:pt x="40165" y="51606"/>
                    <a:pt x="39961" y="50043"/>
                    <a:pt x="39961" y="48108"/>
                  </a:cubicBezTo>
                  <a:cubicBezTo>
                    <a:pt x="39961" y="45876"/>
                    <a:pt x="40072" y="43811"/>
                    <a:pt x="40296" y="41913"/>
                  </a:cubicBezTo>
                  <a:cubicBezTo>
                    <a:pt x="40519" y="40016"/>
                    <a:pt x="40872" y="38211"/>
                    <a:pt x="41356" y="36500"/>
                  </a:cubicBezTo>
                  <a:cubicBezTo>
                    <a:pt x="41840" y="34788"/>
                    <a:pt x="42509" y="33095"/>
                    <a:pt x="43365" y="31421"/>
                  </a:cubicBezTo>
                  <a:cubicBezTo>
                    <a:pt x="44221" y="29747"/>
                    <a:pt x="45244" y="27979"/>
                    <a:pt x="46435" y="26119"/>
                  </a:cubicBezTo>
                  <a:lnTo>
                    <a:pt x="61504" y="3237"/>
                  </a:lnTo>
                  <a:cubicBezTo>
                    <a:pt x="61876" y="2641"/>
                    <a:pt x="62285" y="2158"/>
                    <a:pt x="62732" y="1785"/>
                  </a:cubicBezTo>
                  <a:cubicBezTo>
                    <a:pt x="63178" y="1413"/>
                    <a:pt x="63736" y="1097"/>
                    <a:pt x="64406" y="837"/>
                  </a:cubicBezTo>
                  <a:cubicBezTo>
                    <a:pt x="65076" y="576"/>
                    <a:pt x="65876" y="372"/>
                    <a:pt x="66806" y="223"/>
                  </a:cubicBezTo>
                  <a:cubicBezTo>
                    <a:pt x="67736" y="74"/>
                    <a:pt x="68871" y="0"/>
                    <a:pt x="70210" y="0"/>
                  </a:cubicBezTo>
                  <a:close/>
                  <a:moveTo>
                    <a:pt x="30250" y="0"/>
                  </a:moveTo>
                  <a:cubicBezTo>
                    <a:pt x="31440" y="0"/>
                    <a:pt x="32426" y="55"/>
                    <a:pt x="33208" y="167"/>
                  </a:cubicBezTo>
                  <a:cubicBezTo>
                    <a:pt x="33989" y="279"/>
                    <a:pt x="34584" y="465"/>
                    <a:pt x="34994" y="725"/>
                  </a:cubicBezTo>
                  <a:cubicBezTo>
                    <a:pt x="35403" y="985"/>
                    <a:pt x="35608" y="1339"/>
                    <a:pt x="35608" y="1785"/>
                  </a:cubicBezTo>
                  <a:cubicBezTo>
                    <a:pt x="35608" y="2232"/>
                    <a:pt x="35459" y="2753"/>
                    <a:pt x="35161" y="3348"/>
                  </a:cubicBezTo>
                  <a:lnTo>
                    <a:pt x="20539" y="34044"/>
                  </a:lnTo>
                  <a:lnTo>
                    <a:pt x="20539" y="48108"/>
                  </a:lnTo>
                  <a:cubicBezTo>
                    <a:pt x="20539" y="50043"/>
                    <a:pt x="20334" y="51606"/>
                    <a:pt x="19925" y="52796"/>
                  </a:cubicBezTo>
                  <a:cubicBezTo>
                    <a:pt x="19516" y="53987"/>
                    <a:pt x="18883" y="54917"/>
                    <a:pt x="18027" y="55587"/>
                  </a:cubicBezTo>
                  <a:cubicBezTo>
                    <a:pt x="17172" y="56257"/>
                    <a:pt x="16093" y="56703"/>
                    <a:pt x="14790" y="56926"/>
                  </a:cubicBezTo>
                  <a:cubicBezTo>
                    <a:pt x="13488" y="57150"/>
                    <a:pt x="11944" y="57261"/>
                    <a:pt x="10158" y="57261"/>
                  </a:cubicBezTo>
                  <a:cubicBezTo>
                    <a:pt x="8372" y="57261"/>
                    <a:pt x="6847" y="57150"/>
                    <a:pt x="5582" y="56926"/>
                  </a:cubicBezTo>
                  <a:cubicBezTo>
                    <a:pt x="4316" y="56703"/>
                    <a:pt x="3275" y="56257"/>
                    <a:pt x="2456" y="55587"/>
                  </a:cubicBezTo>
                  <a:cubicBezTo>
                    <a:pt x="1638" y="54917"/>
                    <a:pt x="1024" y="53987"/>
                    <a:pt x="614" y="52796"/>
                  </a:cubicBezTo>
                  <a:cubicBezTo>
                    <a:pt x="205" y="51606"/>
                    <a:pt x="0" y="50043"/>
                    <a:pt x="0" y="48108"/>
                  </a:cubicBezTo>
                  <a:cubicBezTo>
                    <a:pt x="0" y="45876"/>
                    <a:pt x="112" y="43811"/>
                    <a:pt x="335" y="41913"/>
                  </a:cubicBezTo>
                  <a:cubicBezTo>
                    <a:pt x="559" y="40016"/>
                    <a:pt x="912" y="38211"/>
                    <a:pt x="1396" y="36500"/>
                  </a:cubicBezTo>
                  <a:cubicBezTo>
                    <a:pt x="1879" y="34788"/>
                    <a:pt x="2549" y="33095"/>
                    <a:pt x="3405" y="31421"/>
                  </a:cubicBezTo>
                  <a:cubicBezTo>
                    <a:pt x="4261" y="29747"/>
                    <a:pt x="5284" y="27979"/>
                    <a:pt x="6474" y="26119"/>
                  </a:cubicBezTo>
                  <a:lnTo>
                    <a:pt x="21543" y="3237"/>
                  </a:lnTo>
                  <a:cubicBezTo>
                    <a:pt x="21915" y="2641"/>
                    <a:pt x="22325" y="2158"/>
                    <a:pt x="22771" y="1785"/>
                  </a:cubicBezTo>
                  <a:cubicBezTo>
                    <a:pt x="23218" y="1413"/>
                    <a:pt x="23776" y="1097"/>
                    <a:pt x="24445" y="837"/>
                  </a:cubicBezTo>
                  <a:cubicBezTo>
                    <a:pt x="25115" y="576"/>
                    <a:pt x="25915" y="372"/>
                    <a:pt x="26845" y="223"/>
                  </a:cubicBezTo>
                  <a:cubicBezTo>
                    <a:pt x="27776" y="74"/>
                    <a:pt x="28910" y="0"/>
                    <a:pt x="30250" y="0"/>
                  </a:cubicBezTo>
                  <a:close/>
                </a:path>
              </a:pathLst>
            </a:cu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a-DK" sz="140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595326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CADE1A-9045-96FD-F29C-11AA6DB1DE0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9CD9697-2840-7FE6-C644-B89C19B033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5055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CD9697-2840-7FE6-C644-B89C19B03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496981AC-7C70-840C-E6F7-7E4344A95F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Hvad er ESG?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1F393681-5B61-7A57-65EF-6D092CA845F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4</a:t>
            </a:fld>
            <a:endParaRPr lang="da-DK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36FC105-A771-4B6A-4F0A-CA812EA95EE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24155389-BBF9-7854-0F91-29FE48ED60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/>
              <a:t>Og hvilke overordnede temaer er særligt vigtige for os i det almene? </a:t>
            </a:r>
          </a:p>
        </p:txBody>
      </p:sp>
      <p:sp>
        <p:nvSpPr>
          <p:cNvPr id="4" name="Graphic 3">
            <a:extLst>
              <a:ext uri="{FF2B5EF4-FFF2-40B4-BE49-F238E27FC236}">
                <a16:creationId xmlns:a16="http://schemas.microsoft.com/office/drawing/2014/main" id="{EA654418-9D46-3173-D288-95440E5AD4AB}"/>
              </a:ext>
            </a:extLst>
          </p:cNvPr>
          <p:cNvSpPr/>
          <p:nvPr/>
        </p:nvSpPr>
        <p:spPr>
          <a:xfrm>
            <a:off x="7343102" y="2581379"/>
            <a:ext cx="2731806" cy="2137740"/>
          </a:xfrm>
          <a:custGeom>
            <a:avLst/>
            <a:gdLst>
              <a:gd name="connsiteX0" fmla="*/ 955524 w 2201080"/>
              <a:gd name="connsiteY0" fmla="*/ 77131 h 1722428"/>
              <a:gd name="connsiteX1" fmla="*/ 1245557 w 2201080"/>
              <a:gd name="connsiteY1" fmla="*/ 77131 h 1722428"/>
              <a:gd name="connsiteX2" fmla="*/ 2170909 w 2201080"/>
              <a:gd name="connsiteY2" fmla="*/ 1449776 h 1722428"/>
              <a:gd name="connsiteX3" fmla="*/ 2025893 w 2201080"/>
              <a:gd name="connsiteY3" fmla="*/ 1722429 h 1722428"/>
              <a:gd name="connsiteX4" fmla="*/ 175189 w 2201080"/>
              <a:gd name="connsiteY4" fmla="*/ 1722429 h 1722428"/>
              <a:gd name="connsiteX5" fmla="*/ 30172 w 2201080"/>
              <a:gd name="connsiteY5" fmla="*/ 1449776 h 1722428"/>
              <a:gd name="connsiteX6" fmla="*/ 955524 w 2201080"/>
              <a:gd name="connsiteY6" fmla="*/ 77131 h 1722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201080" h="1722428">
                <a:moveTo>
                  <a:pt x="955524" y="77131"/>
                </a:moveTo>
                <a:cubicBezTo>
                  <a:pt x="1024853" y="-25710"/>
                  <a:pt x="1176228" y="-25710"/>
                  <a:pt x="1245557" y="77131"/>
                </a:cubicBezTo>
                <a:lnTo>
                  <a:pt x="2170909" y="1449776"/>
                </a:lnTo>
                <a:cubicBezTo>
                  <a:pt x="2249219" y="1565938"/>
                  <a:pt x="2165987" y="1722429"/>
                  <a:pt x="2025893" y="1722429"/>
                </a:cubicBezTo>
                <a:lnTo>
                  <a:pt x="175189" y="1722429"/>
                </a:lnTo>
                <a:cubicBezTo>
                  <a:pt x="35095" y="1722429"/>
                  <a:pt x="-48139" y="1565938"/>
                  <a:pt x="30172" y="1449776"/>
                </a:cubicBezTo>
                <a:lnTo>
                  <a:pt x="955524" y="77131"/>
                </a:lnTo>
                <a:close/>
              </a:path>
            </a:pathLst>
          </a:custGeom>
          <a:noFill/>
          <a:ln w="139700" cap="flat">
            <a:solidFill>
              <a:schemeClr val="accent1"/>
            </a:solidFill>
            <a:prstDash val="solid"/>
            <a:miter/>
          </a:ln>
        </p:spPr>
        <p:txBody>
          <a:bodyPr rtlCol="0" anchor="ctr"/>
          <a:lstStyle/>
          <a:p>
            <a:endParaRPr lang="da-DK"/>
          </a:p>
        </p:txBody>
      </p:sp>
      <p:sp>
        <p:nvSpPr>
          <p:cNvPr id="5" name="Graphic 9">
            <a:extLst>
              <a:ext uri="{FF2B5EF4-FFF2-40B4-BE49-F238E27FC236}">
                <a16:creationId xmlns:a16="http://schemas.microsoft.com/office/drawing/2014/main" id="{32531946-C7BD-B3DE-9D71-33AA98C30A49}"/>
              </a:ext>
            </a:extLst>
          </p:cNvPr>
          <p:cNvSpPr/>
          <p:nvPr/>
        </p:nvSpPr>
        <p:spPr>
          <a:xfrm>
            <a:off x="5990064" y="3748116"/>
            <a:ext cx="2534606" cy="2525684"/>
          </a:xfrm>
          <a:custGeom>
            <a:avLst/>
            <a:gdLst>
              <a:gd name="connsiteX0" fmla="*/ 1045115 w 2090225"/>
              <a:gd name="connsiteY0" fmla="*/ 2082868 h 2082867"/>
              <a:gd name="connsiteX1" fmla="*/ 2090226 w 2090225"/>
              <a:gd name="connsiteY1" fmla="*/ 1041435 h 2082867"/>
              <a:gd name="connsiteX2" fmla="*/ 1045115 w 2090225"/>
              <a:gd name="connsiteY2" fmla="*/ 0 h 2082867"/>
              <a:gd name="connsiteX3" fmla="*/ 0 w 2090225"/>
              <a:gd name="connsiteY3" fmla="*/ 1041435 h 2082867"/>
              <a:gd name="connsiteX4" fmla="*/ 1045115 w 2090225"/>
              <a:gd name="connsiteY4" fmla="*/ 2082868 h 2082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225" h="2082867">
                <a:moveTo>
                  <a:pt x="1045115" y="2082868"/>
                </a:moveTo>
                <a:cubicBezTo>
                  <a:pt x="1622314" y="2082868"/>
                  <a:pt x="2090226" y="1616600"/>
                  <a:pt x="2090226" y="1041435"/>
                </a:cubicBezTo>
                <a:cubicBezTo>
                  <a:pt x="2090226" y="466266"/>
                  <a:pt x="1622314" y="0"/>
                  <a:pt x="1045115" y="0"/>
                </a:cubicBezTo>
                <a:cubicBezTo>
                  <a:pt x="467913" y="0"/>
                  <a:pt x="0" y="466266"/>
                  <a:pt x="0" y="1041435"/>
                </a:cubicBezTo>
                <a:cubicBezTo>
                  <a:pt x="0" y="1616600"/>
                  <a:pt x="467913" y="2082868"/>
                  <a:pt x="1045115" y="2082868"/>
                </a:cubicBezTo>
                <a:close/>
              </a:path>
            </a:pathLst>
          </a:custGeom>
          <a:solidFill>
            <a:schemeClr val="bg1">
              <a:alpha val="58000"/>
            </a:schemeClr>
          </a:solidFill>
          <a:ln w="28575" cap="flat">
            <a:solidFill>
              <a:schemeClr val="accent6"/>
            </a:solidFill>
            <a:prstDash val="solid"/>
            <a:miter/>
          </a:ln>
        </p:spPr>
        <p:txBody>
          <a:bodyPr rtlCol="0" anchor="t"/>
          <a:lstStyle/>
          <a:p>
            <a:pPr algn="ctr"/>
            <a:endParaRPr lang="da-DK" sz="32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" name="Graphic 7">
            <a:extLst>
              <a:ext uri="{FF2B5EF4-FFF2-40B4-BE49-F238E27FC236}">
                <a16:creationId xmlns:a16="http://schemas.microsoft.com/office/drawing/2014/main" id="{642EB8DB-4164-F263-51DA-58BC6EC27294}"/>
              </a:ext>
            </a:extLst>
          </p:cNvPr>
          <p:cNvSpPr/>
          <p:nvPr/>
        </p:nvSpPr>
        <p:spPr>
          <a:xfrm>
            <a:off x="7420500" y="1619249"/>
            <a:ext cx="2586558" cy="2586559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chemeClr val="bg1">
              <a:alpha val="58000"/>
            </a:schemeClr>
          </a:solidFill>
          <a:ln w="28575" cap="flat">
            <a:solidFill>
              <a:srgbClr val="88BCAD"/>
            </a:solidFill>
            <a:prstDash val="solid"/>
            <a:miter/>
          </a:ln>
        </p:spPr>
        <p:txBody>
          <a:bodyPr rtlCol="0" anchor="t"/>
          <a:lstStyle/>
          <a:p>
            <a:pPr algn="ctr"/>
            <a:endParaRPr lang="da-DK" sz="32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Graphic 5">
            <a:extLst>
              <a:ext uri="{FF2B5EF4-FFF2-40B4-BE49-F238E27FC236}">
                <a16:creationId xmlns:a16="http://schemas.microsoft.com/office/drawing/2014/main" id="{3D4B8162-C63A-81CA-245D-06E9100DB203}"/>
              </a:ext>
            </a:extLst>
          </p:cNvPr>
          <p:cNvSpPr/>
          <p:nvPr/>
        </p:nvSpPr>
        <p:spPr>
          <a:xfrm>
            <a:off x="8902889" y="3783815"/>
            <a:ext cx="2507833" cy="2489985"/>
          </a:xfrm>
          <a:custGeom>
            <a:avLst/>
            <a:gdLst>
              <a:gd name="connsiteX0" fmla="*/ 1540115 w 2068146"/>
              <a:gd name="connsiteY0" fmla="*/ 109518 h 2053427"/>
              <a:gd name="connsiteX1" fmla="*/ 882859 w 2068146"/>
              <a:gd name="connsiteY1" fmla="*/ 6187 h 2053427"/>
              <a:gd name="connsiteX2" fmla="*/ 356860 w 2068146"/>
              <a:gd name="connsiteY2" fmla="*/ 272246 h 2053427"/>
              <a:gd name="connsiteX3" fmla="*/ 54805 w 2068146"/>
              <a:gd name="connsiteY3" fmla="*/ 861064 h 2053427"/>
              <a:gd name="connsiteX4" fmla="*/ 147251 w 2068146"/>
              <a:gd name="connsiteY4" fmla="*/ 1440064 h 2053427"/>
              <a:gd name="connsiteX5" fmla="*/ 617883 w 2068146"/>
              <a:gd name="connsiteY5" fmla="*/ 1907386 h 2053427"/>
              <a:gd name="connsiteX6" fmla="*/ 1200983 w 2068146"/>
              <a:gd name="connsiteY6" fmla="*/ 1999181 h 2053427"/>
              <a:gd name="connsiteX7" fmla="*/ 1793969 w 2068146"/>
              <a:gd name="connsiteY7" fmla="*/ 1699250 h 2053427"/>
              <a:gd name="connsiteX8" fmla="*/ 2061914 w 2068146"/>
              <a:gd name="connsiteY8" fmla="*/ 1176950 h 2053427"/>
              <a:gd name="connsiteX9" fmla="*/ 1957854 w 2068146"/>
              <a:gd name="connsiteY9" fmla="*/ 524316 h 2053427"/>
              <a:gd name="connsiteX10" fmla="*/ 1540366 w 2068146"/>
              <a:gd name="connsiteY10" fmla="*/ 109763 h 2053427"/>
              <a:gd name="connsiteX11" fmla="*/ 1540115 w 2068146"/>
              <a:gd name="connsiteY11" fmla="*/ 109518 h 2053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68146" h="2053427">
                <a:moveTo>
                  <a:pt x="1540115" y="109518"/>
                </a:moveTo>
                <a:lnTo>
                  <a:pt x="882859" y="6187"/>
                </a:lnTo>
                <a:cubicBezTo>
                  <a:pt x="668061" y="-27684"/>
                  <a:pt x="455732" y="79820"/>
                  <a:pt x="356860" y="272246"/>
                </a:cubicBezTo>
                <a:lnTo>
                  <a:pt x="54805" y="861064"/>
                </a:lnTo>
                <a:cubicBezTo>
                  <a:pt x="-44068" y="1053492"/>
                  <a:pt x="-6743" y="1287396"/>
                  <a:pt x="147251" y="1440064"/>
                </a:cubicBezTo>
                <a:lnTo>
                  <a:pt x="617883" y="1907386"/>
                </a:lnTo>
                <a:cubicBezTo>
                  <a:pt x="771631" y="2060049"/>
                  <a:pt x="1007193" y="2097111"/>
                  <a:pt x="1200983" y="1999181"/>
                </a:cubicBezTo>
                <a:lnTo>
                  <a:pt x="1793969" y="1699250"/>
                </a:lnTo>
                <a:cubicBezTo>
                  <a:pt x="1987764" y="1601069"/>
                  <a:pt x="2096029" y="1390235"/>
                  <a:pt x="2061914" y="1176950"/>
                </a:cubicBezTo>
                <a:lnTo>
                  <a:pt x="1957854" y="524316"/>
                </a:lnTo>
                <a:cubicBezTo>
                  <a:pt x="1923739" y="311026"/>
                  <a:pt x="1755409" y="143634"/>
                  <a:pt x="1540366" y="109763"/>
                </a:cubicBezTo>
                <a:lnTo>
                  <a:pt x="1540115" y="109518"/>
                </a:lnTo>
                <a:close/>
              </a:path>
            </a:pathLst>
          </a:custGeom>
          <a:solidFill>
            <a:schemeClr val="bg1">
              <a:alpha val="58000"/>
            </a:schemeClr>
          </a:solidFill>
          <a:ln w="28575" cap="flat">
            <a:solidFill>
              <a:schemeClr val="accent4"/>
            </a:solidFill>
            <a:prstDash val="solid"/>
            <a:miter/>
          </a:ln>
        </p:spPr>
        <p:txBody>
          <a:bodyPr rtlCol="0" anchor="t"/>
          <a:lstStyle/>
          <a:p>
            <a:pPr algn="ctr"/>
            <a:endParaRPr lang="da-DK" sz="3200" b="1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Graphic 7">
            <a:extLst>
              <a:ext uri="{FF2B5EF4-FFF2-40B4-BE49-F238E27FC236}">
                <a16:creationId xmlns:a16="http://schemas.microsoft.com/office/drawing/2014/main" id="{3DDA5020-DC7E-D5E9-3D69-0DF217730B83}"/>
              </a:ext>
            </a:extLst>
          </p:cNvPr>
          <p:cNvSpPr/>
          <p:nvPr/>
        </p:nvSpPr>
        <p:spPr>
          <a:xfrm>
            <a:off x="7506226" y="1704975"/>
            <a:ext cx="2415106" cy="2415106"/>
          </a:xfrm>
          <a:custGeom>
            <a:avLst/>
            <a:gdLst>
              <a:gd name="connsiteX0" fmla="*/ 1999914 w 2149254"/>
              <a:gd name="connsiteY0" fmla="*/ 714081 h 2149255"/>
              <a:gd name="connsiteX1" fmla="*/ 1435173 w 2149254"/>
              <a:gd name="connsiteY1" fmla="*/ 149343 h 2149255"/>
              <a:gd name="connsiteX2" fmla="*/ 714080 w 2149254"/>
              <a:gd name="connsiteY2" fmla="*/ 149343 h 2149255"/>
              <a:gd name="connsiteX3" fmla="*/ 149344 w 2149254"/>
              <a:gd name="connsiteY3" fmla="*/ 714081 h 2149255"/>
              <a:gd name="connsiteX4" fmla="*/ 149344 w 2149254"/>
              <a:gd name="connsiteY4" fmla="*/ 1435174 h 2149255"/>
              <a:gd name="connsiteX5" fmla="*/ 714080 w 2149254"/>
              <a:gd name="connsiteY5" fmla="*/ 1999915 h 2149255"/>
              <a:gd name="connsiteX6" fmla="*/ 1435173 w 2149254"/>
              <a:gd name="connsiteY6" fmla="*/ 1999915 h 2149255"/>
              <a:gd name="connsiteX7" fmla="*/ 1999914 w 2149254"/>
              <a:gd name="connsiteY7" fmla="*/ 1435174 h 2149255"/>
              <a:gd name="connsiteX8" fmla="*/ 1999914 w 2149254"/>
              <a:gd name="connsiteY8" fmla="*/ 714081 h 21492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49254" h="2149255">
                <a:moveTo>
                  <a:pt x="1999914" y="714081"/>
                </a:moveTo>
                <a:lnTo>
                  <a:pt x="1435173" y="149343"/>
                </a:lnTo>
                <a:cubicBezTo>
                  <a:pt x="1236052" y="-49781"/>
                  <a:pt x="913207" y="-49781"/>
                  <a:pt x="714080" y="149343"/>
                </a:cubicBezTo>
                <a:lnTo>
                  <a:pt x="149344" y="714081"/>
                </a:lnTo>
                <a:cubicBezTo>
                  <a:pt x="-49781" y="913208"/>
                  <a:pt x="-49781" y="1236053"/>
                  <a:pt x="149344" y="1435174"/>
                </a:cubicBezTo>
                <a:lnTo>
                  <a:pt x="714080" y="1999915"/>
                </a:lnTo>
                <a:cubicBezTo>
                  <a:pt x="913207" y="2199036"/>
                  <a:pt x="1236052" y="2199036"/>
                  <a:pt x="1435173" y="1999915"/>
                </a:cubicBezTo>
                <a:lnTo>
                  <a:pt x="1999914" y="1435174"/>
                </a:lnTo>
                <a:cubicBezTo>
                  <a:pt x="2199035" y="1236053"/>
                  <a:pt x="2199035" y="913208"/>
                  <a:pt x="1999914" y="714081"/>
                </a:cubicBezTo>
                <a:close/>
              </a:path>
            </a:pathLst>
          </a:custGeom>
          <a:solidFill>
            <a:srgbClr val="88BCAD"/>
          </a:solidFill>
          <a:ln w="5212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r>
              <a:rPr lang="da-DK" sz="3200" b="1" dirty="0">
                <a:latin typeface="Verdana" panose="020B0604030504040204" pitchFamily="34" charset="0"/>
                <a:ea typeface="Verdana" panose="020B0604030504040204" pitchFamily="34" charset="0"/>
              </a:rPr>
              <a:t>E</a:t>
            </a:r>
          </a:p>
        </p:txBody>
      </p:sp>
      <p:sp>
        <p:nvSpPr>
          <p:cNvPr id="12" name="Graphic 5">
            <a:extLst>
              <a:ext uri="{FF2B5EF4-FFF2-40B4-BE49-F238E27FC236}">
                <a16:creationId xmlns:a16="http://schemas.microsoft.com/office/drawing/2014/main" id="{BAA7F06A-605B-8478-7997-37D85C40B7F9}"/>
              </a:ext>
            </a:extLst>
          </p:cNvPr>
          <p:cNvSpPr/>
          <p:nvPr/>
        </p:nvSpPr>
        <p:spPr>
          <a:xfrm>
            <a:off x="8998652" y="3868921"/>
            <a:ext cx="2336402" cy="2319774"/>
          </a:xfrm>
          <a:custGeom>
            <a:avLst/>
            <a:gdLst>
              <a:gd name="connsiteX0" fmla="*/ 1540115 w 2068146"/>
              <a:gd name="connsiteY0" fmla="*/ 109518 h 2053427"/>
              <a:gd name="connsiteX1" fmla="*/ 882859 w 2068146"/>
              <a:gd name="connsiteY1" fmla="*/ 6187 h 2053427"/>
              <a:gd name="connsiteX2" fmla="*/ 356860 w 2068146"/>
              <a:gd name="connsiteY2" fmla="*/ 272246 h 2053427"/>
              <a:gd name="connsiteX3" fmla="*/ 54805 w 2068146"/>
              <a:gd name="connsiteY3" fmla="*/ 861064 h 2053427"/>
              <a:gd name="connsiteX4" fmla="*/ 147251 w 2068146"/>
              <a:gd name="connsiteY4" fmla="*/ 1440064 h 2053427"/>
              <a:gd name="connsiteX5" fmla="*/ 617883 w 2068146"/>
              <a:gd name="connsiteY5" fmla="*/ 1907386 h 2053427"/>
              <a:gd name="connsiteX6" fmla="*/ 1200983 w 2068146"/>
              <a:gd name="connsiteY6" fmla="*/ 1999181 h 2053427"/>
              <a:gd name="connsiteX7" fmla="*/ 1793969 w 2068146"/>
              <a:gd name="connsiteY7" fmla="*/ 1699250 h 2053427"/>
              <a:gd name="connsiteX8" fmla="*/ 2061914 w 2068146"/>
              <a:gd name="connsiteY8" fmla="*/ 1176950 h 2053427"/>
              <a:gd name="connsiteX9" fmla="*/ 1957854 w 2068146"/>
              <a:gd name="connsiteY9" fmla="*/ 524316 h 2053427"/>
              <a:gd name="connsiteX10" fmla="*/ 1540366 w 2068146"/>
              <a:gd name="connsiteY10" fmla="*/ 109763 h 2053427"/>
              <a:gd name="connsiteX11" fmla="*/ 1540115 w 2068146"/>
              <a:gd name="connsiteY11" fmla="*/ 109518 h 2053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068146" h="2053427">
                <a:moveTo>
                  <a:pt x="1540115" y="109518"/>
                </a:moveTo>
                <a:lnTo>
                  <a:pt x="882859" y="6187"/>
                </a:lnTo>
                <a:cubicBezTo>
                  <a:pt x="668061" y="-27684"/>
                  <a:pt x="455732" y="79820"/>
                  <a:pt x="356860" y="272246"/>
                </a:cubicBezTo>
                <a:lnTo>
                  <a:pt x="54805" y="861064"/>
                </a:lnTo>
                <a:cubicBezTo>
                  <a:pt x="-44068" y="1053492"/>
                  <a:pt x="-6743" y="1287396"/>
                  <a:pt x="147251" y="1440064"/>
                </a:cubicBezTo>
                <a:lnTo>
                  <a:pt x="617883" y="1907386"/>
                </a:lnTo>
                <a:cubicBezTo>
                  <a:pt x="771631" y="2060049"/>
                  <a:pt x="1007193" y="2097111"/>
                  <a:pt x="1200983" y="1999181"/>
                </a:cubicBezTo>
                <a:lnTo>
                  <a:pt x="1793969" y="1699250"/>
                </a:lnTo>
                <a:cubicBezTo>
                  <a:pt x="1987764" y="1601069"/>
                  <a:pt x="2096029" y="1390235"/>
                  <a:pt x="2061914" y="1176950"/>
                </a:cubicBezTo>
                <a:lnTo>
                  <a:pt x="1957854" y="524316"/>
                </a:lnTo>
                <a:cubicBezTo>
                  <a:pt x="1923739" y="311026"/>
                  <a:pt x="1755409" y="143634"/>
                  <a:pt x="1540366" y="109763"/>
                </a:cubicBezTo>
                <a:lnTo>
                  <a:pt x="1540115" y="109518"/>
                </a:lnTo>
                <a:close/>
              </a:path>
            </a:pathLst>
          </a:custGeom>
          <a:solidFill>
            <a:srgbClr val="97A2BB"/>
          </a:solidFill>
          <a:ln w="5206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r>
              <a:rPr kumimoji="0" lang="da-DK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G</a:t>
            </a:r>
            <a:endParaRPr lang="da-DK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3" name="Graphic 9">
            <a:extLst>
              <a:ext uri="{FF2B5EF4-FFF2-40B4-BE49-F238E27FC236}">
                <a16:creationId xmlns:a16="http://schemas.microsoft.com/office/drawing/2014/main" id="{5E84E717-8044-CC72-DD97-2AED09215C12}"/>
              </a:ext>
            </a:extLst>
          </p:cNvPr>
          <p:cNvSpPr/>
          <p:nvPr/>
        </p:nvSpPr>
        <p:spPr>
          <a:xfrm>
            <a:off x="6085328" y="3872852"/>
            <a:ext cx="2344078" cy="2335826"/>
          </a:xfrm>
          <a:custGeom>
            <a:avLst/>
            <a:gdLst>
              <a:gd name="connsiteX0" fmla="*/ 1045115 w 2090225"/>
              <a:gd name="connsiteY0" fmla="*/ 2082868 h 2082867"/>
              <a:gd name="connsiteX1" fmla="*/ 2090226 w 2090225"/>
              <a:gd name="connsiteY1" fmla="*/ 1041435 h 2082867"/>
              <a:gd name="connsiteX2" fmla="*/ 1045115 w 2090225"/>
              <a:gd name="connsiteY2" fmla="*/ 0 h 2082867"/>
              <a:gd name="connsiteX3" fmla="*/ 0 w 2090225"/>
              <a:gd name="connsiteY3" fmla="*/ 1041435 h 2082867"/>
              <a:gd name="connsiteX4" fmla="*/ 1045115 w 2090225"/>
              <a:gd name="connsiteY4" fmla="*/ 2082868 h 20828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90225" h="2082867">
                <a:moveTo>
                  <a:pt x="1045115" y="2082868"/>
                </a:moveTo>
                <a:cubicBezTo>
                  <a:pt x="1622314" y="2082868"/>
                  <a:pt x="2090226" y="1616600"/>
                  <a:pt x="2090226" y="1041435"/>
                </a:cubicBezTo>
                <a:cubicBezTo>
                  <a:pt x="2090226" y="466266"/>
                  <a:pt x="1622314" y="0"/>
                  <a:pt x="1045115" y="0"/>
                </a:cubicBezTo>
                <a:cubicBezTo>
                  <a:pt x="467913" y="0"/>
                  <a:pt x="0" y="466266"/>
                  <a:pt x="0" y="1041435"/>
                </a:cubicBezTo>
                <a:cubicBezTo>
                  <a:pt x="0" y="1616600"/>
                  <a:pt x="467913" y="2082868"/>
                  <a:pt x="1045115" y="2082868"/>
                </a:cubicBezTo>
                <a:close/>
              </a:path>
            </a:pathLst>
          </a:custGeom>
          <a:solidFill>
            <a:srgbClr val="FACCD0"/>
          </a:solidFill>
          <a:ln w="5213" cap="flat">
            <a:noFill/>
            <a:prstDash val="solid"/>
            <a:miter/>
          </a:ln>
        </p:spPr>
        <p:txBody>
          <a:bodyPr rtlCol="0" anchor="t"/>
          <a:lstStyle/>
          <a:p>
            <a:pPr algn="ctr"/>
            <a:r>
              <a:rPr kumimoji="0" lang="da-DK" sz="3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S</a:t>
            </a:r>
            <a:endParaRPr lang="da-DK" sz="3200" b="1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C97C88F6-1017-762D-CA92-46957FB05DF7}"/>
              </a:ext>
            </a:extLst>
          </p:cNvPr>
          <p:cNvSpPr txBox="1"/>
          <p:nvPr/>
        </p:nvSpPr>
        <p:spPr>
          <a:xfrm>
            <a:off x="8235135" y="2618351"/>
            <a:ext cx="3356150" cy="1200329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1200"/>
              </a:spcAft>
            </a:pPr>
            <a:r>
              <a:rPr lang="da-DK" sz="1200" dirty="0">
                <a:latin typeface="Verdana"/>
                <a:ea typeface="Verdana"/>
              </a:rPr>
              <a:t>Klimaaftryk</a:t>
            </a:r>
            <a:endParaRPr lang="da-DK" dirty="0"/>
          </a:p>
          <a:p>
            <a:pPr>
              <a:spcAft>
                <a:spcPts val="1200"/>
              </a:spcAft>
            </a:pPr>
            <a:r>
              <a:rPr lang="da-DK" sz="1200" dirty="0">
                <a:latin typeface="Verdana"/>
                <a:ea typeface="Verdana"/>
              </a:rPr>
              <a:t>Klimatilpasning</a:t>
            </a:r>
          </a:p>
          <a:p>
            <a:pPr>
              <a:spcAft>
                <a:spcPts val="1200"/>
              </a:spcAft>
            </a:pPr>
            <a:r>
              <a:rPr lang="da-DK" sz="1200" dirty="0">
                <a:latin typeface="Verdana"/>
                <a:ea typeface="Verdana"/>
              </a:rPr>
              <a:t>Biodiversitet</a:t>
            </a:r>
          </a:p>
          <a:p>
            <a:pPr>
              <a:spcAft>
                <a:spcPts val="1200"/>
              </a:spcAft>
            </a:pPr>
            <a:r>
              <a:rPr lang="da-DK" sz="1200" dirty="0">
                <a:latin typeface="Verdana"/>
                <a:ea typeface="Verdana"/>
              </a:rPr>
              <a:t>Cirkularite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824A9C54-C466-445C-AEA6-31DB214D4E1B}"/>
              </a:ext>
            </a:extLst>
          </p:cNvPr>
          <p:cNvSpPr txBox="1"/>
          <p:nvPr/>
        </p:nvSpPr>
        <p:spPr>
          <a:xfrm>
            <a:off x="9578233" y="4893837"/>
            <a:ext cx="1862294" cy="101566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1800"/>
              </a:spcAft>
            </a:pPr>
            <a:r>
              <a:rPr lang="da-DK" sz="1200" dirty="0">
                <a:latin typeface="Verdana"/>
                <a:ea typeface="Verdana"/>
              </a:rPr>
              <a:t>Aktiv deltagelse</a:t>
            </a:r>
            <a:endParaRPr lang="da-DK" dirty="0"/>
          </a:p>
          <a:p>
            <a:pPr>
              <a:spcAft>
                <a:spcPts val="1800"/>
              </a:spcAft>
            </a:pPr>
            <a:r>
              <a:rPr lang="da-DK" sz="1200" dirty="0">
                <a:latin typeface="Verdana"/>
                <a:ea typeface="Verdana"/>
              </a:rPr>
              <a:t>Ansvarlighed</a:t>
            </a:r>
            <a:endParaRPr lang="da-DK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Aft>
                <a:spcPts val="1800"/>
              </a:spcAft>
            </a:pPr>
            <a:r>
              <a:rPr lang="da-DK" sz="1200" dirty="0">
                <a:latin typeface="Verdana"/>
                <a:ea typeface="Verdana"/>
              </a:rPr>
              <a:t>Styring</a:t>
            </a:r>
            <a:endParaRPr lang="da-DK" sz="1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85A5744-1508-EDD0-FFF8-F84D5C9AC72B}"/>
              </a:ext>
            </a:extLst>
          </p:cNvPr>
          <p:cNvSpPr txBox="1"/>
          <p:nvPr/>
        </p:nvSpPr>
        <p:spPr>
          <a:xfrm>
            <a:off x="6672974" y="4927110"/>
            <a:ext cx="1756432" cy="101566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>
              <a:spcAft>
                <a:spcPts val="1800"/>
              </a:spcAft>
            </a:pPr>
            <a:r>
              <a:rPr lang="da-DK" sz="1200" dirty="0">
                <a:latin typeface="Verdana"/>
                <a:ea typeface="Verdana"/>
              </a:rPr>
              <a:t>Medarbejdere</a:t>
            </a:r>
            <a:endParaRPr lang="da-DK" dirty="0">
              <a:latin typeface="Verdana"/>
              <a:ea typeface="Verdana"/>
            </a:endParaRPr>
          </a:p>
          <a:p>
            <a:pPr>
              <a:spcAft>
                <a:spcPts val="1800"/>
              </a:spcAft>
            </a:pPr>
            <a:r>
              <a:rPr lang="da-DK" sz="1200" dirty="0">
                <a:latin typeface="Verdana"/>
                <a:ea typeface="Verdana"/>
              </a:rPr>
              <a:t>Lokalområde</a:t>
            </a:r>
            <a:endParaRPr lang="da-DK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Aft>
                <a:spcPts val="1800"/>
              </a:spcAft>
            </a:pPr>
            <a:r>
              <a:rPr lang="da-DK" sz="1200" dirty="0">
                <a:latin typeface="Verdana"/>
                <a:ea typeface="Verdana"/>
              </a:rPr>
              <a:t>Beboere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BE362B62-603D-4E10-892E-CE4A5AB84D2C}"/>
              </a:ext>
            </a:extLst>
          </p:cNvPr>
          <p:cNvSpPr/>
          <p:nvPr/>
        </p:nvSpPr>
        <p:spPr>
          <a:xfrm>
            <a:off x="9787606" y="2480898"/>
            <a:ext cx="251208" cy="251208"/>
          </a:xfrm>
          <a:prstGeom prst="ellipse">
            <a:avLst/>
          </a:prstGeom>
          <a:solidFill>
            <a:schemeClr val="accent1">
              <a:lumMod val="90000"/>
              <a:lumOff val="10000"/>
            </a:schemeClr>
          </a:solidFill>
          <a:ln w="34925">
            <a:solidFill>
              <a:srgbClr val="88BCAD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/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628A86F6-4C12-1433-6785-27C23B75D68C}"/>
              </a:ext>
            </a:extLst>
          </p:cNvPr>
          <p:cNvSpPr/>
          <p:nvPr/>
        </p:nvSpPr>
        <p:spPr>
          <a:xfrm>
            <a:off x="11264714" y="4891663"/>
            <a:ext cx="251208" cy="251208"/>
          </a:xfrm>
          <a:prstGeom prst="ellipse">
            <a:avLst/>
          </a:prstGeom>
          <a:solidFill>
            <a:schemeClr val="accent4"/>
          </a:solidFill>
          <a:ln w="34925">
            <a:solidFill>
              <a:srgbClr val="97A2BB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/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4CE09D56-A1D1-24C0-98C9-39587CDFE321}"/>
              </a:ext>
            </a:extLst>
          </p:cNvPr>
          <p:cNvSpPr/>
          <p:nvPr/>
        </p:nvSpPr>
        <p:spPr>
          <a:xfrm>
            <a:off x="5865399" y="4891663"/>
            <a:ext cx="251208" cy="251208"/>
          </a:xfrm>
          <a:prstGeom prst="ellipse">
            <a:avLst/>
          </a:prstGeom>
          <a:solidFill>
            <a:schemeClr val="accent6"/>
          </a:solidFill>
          <a:ln w="34925">
            <a:solidFill>
              <a:srgbClr val="FACCD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/>
          </a:p>
        </p:txBody>
      </p:sp>
      <p:sp>
        <p:nvSpPr>
          <p:cNvPr id="16" name="Rectangle: Rounded Corners 3">
            <a:extLst>
              <a:ext uri="{FF2B5EF4-FFF2-40B4-BE49-F238E27FC236}">
                <a16:creationId xmlns:a16="http://schemas.microsoft.com/office/drawing/2014/main" id="{E9DDE379-14BA-AC67-78BB-C67D2B6D14A5}"/>
              </a:ext>
            </a:extLst>
          </p:cNvPr>
          <p:cNvSpPr/>
          <p:nvPr/>
        </p:nvSpPr>
        <p:spPr>
          <a:xfrm>
            <a:off x="179704" y="1402493"/>
            <a:ext cx="5647021" cy="5047594"/>
          </a:xfrm>
          <a:prstGeom prst="roundRect">
            <a:avLst/>
          </a:prstGeom>
          <a:solidFill>
            <a:schemeClr val="bg1">
              <a:lumMod val="95000"/>
              <a:alpha val="7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da-DK" sz="1400" b="1" i="0" dirty="0">
                <a:solidFill>
                  <a:srgbClr val="1A1A1A"/>
                </a:solidFill>
                <a:effectLst/>
                <a:latin typeface="Verdana"/>
                <a:ea typeface="Verdana"/>
              </a:rPr>
              <a:t>Hvad er ESG? </a:t>
            </a:r>
            <a:endParaRPr lang="da-DK" sz="1400" b="1" dirty="0">
              <a:solidFill>
                <a:srgbClr val="1A1A1A"/>
              </a:solidFill>
              <a:latin typeface="Verdana"/>
              <a:ea typeface="Verdana"/>
            </a:endParaRPr>
          </a:p>
          <a:p>
            <a:r>
              <a:rPr lang="da-DK" sz="1400" b="1" i="0" dirty="0">
                <a:solidFill>
                  <a:srgbClr val="1A1A1A"/>
                </a:solidFill>
                <a:effectLst/>
                <a:latin typeface="Verdana"/>
                <a:ea typeface="Verdana"/>
              </a:rPr>
              <a:t>(E</a:t>
            </a:r>
            <a:r>
              <a:rPr lang="da-DK" sz="1400" i="0" dirty="0">
                <a:solidFill>
                  <a:srgbClr val="1A1A1A"/>
                </a:solidFill>
                <a:effectLst/>
                <a:latin typeface="Verdana"/>
                <a:ea typeface="Verdana"/>
              </a:rPr>
              <a:t>nvironment, </a:t>
            </a:r>
            <a:r>
              <a:rPr lang="da-DK" sz="1400" b="1" i="0" dirty="0">
                <a:solidFill>
                  <a:srgbClr val="1A1A1A"/>
                </a:solidFill>
                <a:effectLst/>
                <a:latin typeface="Verdana"/>
                <a:ea typeface="Verdana"/>
              </a:rPr>
              <a:t>S</a:t>
            </a:r>
            <a:r>
              <a:rPr lang="da-DK" sz="1400" i="0" dirty="0">
                <a:solidFill>
                  <a:srgbClr val="1A1A1A"/>
                </a:solidFill>
                <a:effectLst/>
                <a:latin typeface="Verdana"/>
                <a:ea typeface="Verdana"/>
              </a:rPr>
              <a:t>ocial og </a:t>
            </a:r>
            <a:r>
              <a:rPr lang="da-DK" sz="1400" b="1" i="0" dirty="0" err="1">
                <a:solidFill>
                  <a:srgbClr val="1A1A1A"/>
                </a:solidFill>
                <a:effectLst/>
                <a:latin typeface="Verdana"/>
                <a:ea typeface="Verdana"/>
              </a:rPr>
              <a:t>G</a:t>
            </a:r>
            <a:r>
              <a:rPr lang="da-DK" sz="1400" i="0" dirty="0" err="1">
                <a:solidFill>
                  <a:srgbClr val="1A1A1A"/>
                </a:solidFill>
                <a:effectLst/>
                <a:latin typeface="Verdana"/>
                <a:ea typeface="Verdana"/>
              </a:rPr>
              <a:t>overnance</a:t>
            </a:r>
            <a:r>
              <a:rPr lang="da-DK" sz="1400" i="0" dirty="0">
                <a:solidFill>
                  <a:srgbClr val="1A1A1A"/>
                </a:solidFill>
                <a:effectLst/>
                <a:latin typeface="Verdana"/>
                <a:ea typeface="Verdana"/>
              </a:rPr>
              <a:t>)</a:t>
            </a:r>
            <a:endParaRPr lang="da-DK" sz="1400" b="1" i="0" dirty="0">
              <a:solidFill>
                <a:srgbClr val="1A1A1A"/>
              </a:solidFill>
              <a:effectLst/>
              <a:latin typeface="Verdana"/>
              <a:ea typeface="Verdana"/>
            </a:endParaRPr>
          </a:p>
          <a:p>
            <a:r>
              <a:rPr lang="da-DK" sz="1400" dirty="0">
                <a:solidFill>
                  <a:sysClr val="windowText" lastClr="000000"/>
                </a:solidFill>
                <a:latin typeface="Verdana"/>
                <a:ea typeface="Verdana"/>
              </a:rPr>
              <a:t>Der er ingen universelt accepteret definition af ESG, men det bliver generelt forstået som standardiserede målinger og metoder til at opgøre organisationers påvirkning på disse 3 ikke-finansielle faktorer</a:t>
            </a:r>
          </a:p>
          <a:p>
            <a:endParaRPr lang="da-DK" sz="1400" dirty="0">
              <a:solidFill>
                <a:srgbClr val="3C4043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a-DK" sz="1400" b="1" dirty="0">
                <a:solidFill>
                  <a:srgbClr val="3C4043"/>
                </a:solidFill>
                <a:latin typeface="Verdana"/>
                <a:ea typeface="Verdana"/>
              </a:rPr>
              <a:t>Hvad er det nye?</a:t>
            </a:r>
          </a:p>
          <a:p>
            <a:r>
              <a:rPr lang="da-DK" sz="1400" dirty="0">
                <a:solidFill>
                  <a:sysClr val="windowText" lastClr="000000"/>
                </a:solidFill>
                <a:latin typeface="Verdana"/>
                <a:ea typeface="Verdana"/>
              </a:rPr>
              <a:t>Arbejdet med bæredygtighed er en del af den almene branches DNA. Alle boligorganisationer arbejder med både E, S og G i forvejen.</a:t>
            </a:r>
          </a:p>
          <a:p>
            <a:endParaRPr lang="da-DK" sz="1400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a-DK" sz="1400" dirty="0">
                <a:solidFill>
                  <a:sysClr val="windowText" lastClr="000000"/>
                </a:solidFill>
                <a:latin typeface="Verdana"/>
                <a:ea typeface="Verdana"/>
              </a:rPr>
              <a:t>Det nye bliver at arbejde mere struktureret og målbart med de mest væsentlige emner og blive i stand til at dokumentere effekten af vores indsatser. Ligesom de store virksomheder er i gang med som følge af lovgivningen (som vi endnu ikke er underlagt).</a:t>
            </a:r>
          </a:p>
          <a:p>
            <a:endParaRPr lang="da-DK" sz="1400" b="1" dirty="0">
              <a:solidFill>
                <a:sysClr val="windowText" lastClr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a-DK" sz="1400" b="1" dirty="0">
                <a:solidFill>
                  <a:sysClr val="windowText" lastClr="000000"/>
                </a:solidFill>
                <a:latin typeface="Verdana"/>
                <a:ea typeface="Verdana"/>
              </a:rPr>
              <a:t>Nogle af temaerne i det almene inden for E, S og G er vist her til højre</a:t>
            </a:r>
          </a:p>
        </p:txBody>
      </p:sp>
      <p:sp>
        <p:nvSpPr>
          <p:cNvPr id="2" name="TextBox 22">
            <a:extLst>
              <a:ext uri="{FF2B5EF4-FFF2-40B4-BE49-F238E27FC236}">
                <a16:creationId xmlns:a16="http://schemas.microsoft.com/office/drawing/2014/main" id="{A4C3902F-7EA7-9253-727B-EE9A57272EB2}"/>
              </a:ext>
            </a:extLst>
          </p:cNvPr>
          <p:cNvSpPr txBox="1"/>
          <p:nvPr/>
        </p:nvSpPr>
        <p:spPr>
          <a:xfrm>
            <a:off x="6096000" y="4423294"/>
            <a:ext cx="2333406" cy="18466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algn="ctr">
              <a:spcAft>
                <a:spcPts val="1800"/>
              </a:spcAft>
            </a:pPr>
            <a:r>
              <a:rPr lang="da-DK" sz="1200" b="1" i="1" dirty="0">
                <a:latin typeface="Verdana"/>
                <a:ea typeface="Verdana"/>
              </a:rPr>
              <a:t>Sociale forhold</a:t>
            </a:r>
            <a:endParaRPr lang="da-DK" b="1" i="1" dirty="0">
              <a:latin typeface="Verdana"/>
              <a:ea typeface="Verdana"/>
            </a:endParaRPr>
          </a:p>
        </p:txBody>
      </p:sp>
      <p:sp>
        <p:nvSpPr>
          <p:cNvPr id="3" name="TextBox 22">
            <a:extLst>
              <a:ext uri="{FF2B5EF4-FFF2-40B4-BE49-F238E27FC236}">
                <a16:creationId xmlns:a16="http://schemas.microsoft.com/office/drawing/2014/main" id="{875E5C84-9BB1-0CB4-0BB1-AD2591A149BA}"/>
              </a:ext>
            </a:extLst>
          </p:cNvPr>
          <p:cNvSpPr txBox="1"/>
          <p:nvPr/>
        </p:nvSpPr>
        <p:spPr>
          <a:xfrm>
            <a:off x="9016551" y="4411062"/>
            <a:ext cx="2305459" cy="18466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algn="ctr">
              <a:spcAft>
                <a:spcPts val="1800"/>
              </a:spcAft>
            </a:pPr>
            <a:r>
              <a:rPr lang="da-DK" sz="1200" b="1" i="1" dirty="0">
                <a:latin typeface="Verdana"/>
                <a:ea typeface="Verdana"/>
              </a:rPr>
              <a:t>Ledelse</a:t>
            </a:r>
            <a:endParaRPr lang="da-DK" b="1" i="1" dirty="0">
              <a:latin typeface="Verdana"/>
              <a:ea typeface="Verdana"/>
            </a:endParaRPr>
          </a:p>
        </p:txBody>
      </p:sp>
      <p:sp>
        <p:nvSpPr>
          <p:cNvPr id="9" name="TextBox 22">
            <a:extLst>
              <a:ext uri="{FF2B5EF4-FFF2-40B4-BE49-F238E27FC236}">
                <a16:creationId xmlns:a16="http://schemas.microsoft.com/office/drawing/2014/main" id="{A9980EB6-599D-096D-9451-D9D570FED850}"/>
              </a:ext>
            </a:extLst>
          </p:cNvPr>
          <p:cNvSpPr txBox="1"/>
          <p:nvPr/>
        </p:nvSpPr>
        <p:spPr>
          <a:xfrm>
            <a:off x="7506226" y="2237138"/>
            <a:ext cx="2415106" cy="18466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algn="ctr">
              <a:spcAft>
                <a:spcPts val="1800"/>
              </a:spcAft>
            </a:pPr>
            <a:r>
              <a:rPr lang="da-DK" sz="1200" b="1" i="1" dirty="0">
                <a:latin typeface="Verdana"/>
                <a:ea typeface="Verdana"/>
              </a:rPr>
              <a:t>Miljø og klima</a:t>
            </a:r>
            <a:endParaRPr lang="da-DK" b="1" i="1" dirty="0">
              <a:latin typeface="Verdana"/>
              <a:ea typeface="Verdan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589070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EF8122-1B9B-6F29-200C-60B8DFF268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E22CA9E-E489-302E-6ACC-51381F0530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361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22CA9E-E489-302E-6ACC-51381F0530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844E5B91-BDF9-BC76-7229-0A87C6D5F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 sz="3400"/>
              <a:t>Omverdenen og dens påvirkning af den almene sekto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9C5102-5C7C-1ED1-4816-C5609DBB69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5</a:t>
            </a:fld>
            <a:endParaRPr lang="da-DK"/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1EB56B2B-BFF7-095D-E485-4AE3C4F60AC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DA53F35-06EB-CA75-133D-9B19E96CF8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472000" cy="445510"/>
          </a:xfrm>
        </p:spPr>
        <p:txBody>
          <a:bodyPr/>
          <a:lstStyle/>
          <a:p>
            <a:r>
              <a:rPr lang="da-DK" dirty="0"/>
              <a:t>Hvorfor er det vigtigt for alle at arbejde med ESG?</a:t>
            </a: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E07AC5D8-0E8F-A879-EC5A-892568ECC2FA}"/>
              </a:ext>
            </a:extLst>
          </p:cNvPr>
          <p:cNvGrpSpPr/>
          <p:nvPr/>
        </p:nvGrpSpPr>
        <p:grpSpPr>
          <a:xfrm>
            <a:off x="4700840" y="1834141"/>
            <a:ext cx="3101338" cy="4273873"/>
            <a:chOff x="1812950" y="1639609"/>
            <a:chExt cx="3101338" cy="4273873"/>
          </a:xfrm>
        </p:grpSpPr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id="{A3A17179-D616-94FD-063D-65BADA3B15F5}"/>
                </a:ext>
              </a:extLst>
            </p:cNvPr>
            <p:cNvGrpSpPr/>
            <p:nvPr/>
          </p:nvGrpSpPr>
          <p:grpSpPr>
            <a:xfrm>
              <a:off x="1812950" y="1639609"/>
              <a:ext cx="3101338" cy="4273873"/>
              <a:chOff x="3663419" y="1790700"/>
              <a:chExt cx="3453700" cy="4759454"/>
            </a:xfrm>
          </p:grpSpPr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40733F17-0E22-7DE5-6944-338012C24A66}"/>
                  </a:ext>
                </a:extLst>
              </p:cNvPr>
              <p:cNvSpPr/>
              <p:nvPr/>
            </p:nvSpPr>
            <p:spPr>
              <a:xfrm>
                <a:off x="3778842" y="2056060"/>
                <a:ext cx="1739754" cy="2666451"/>
              </a:xfrm>
              <a:custGeom>
                <a:avLst/>
                <a:gdLst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866882 w 1705082"/>
                  <a:gd name="connsiteY194" fmla="*/ 129378 h 2663028"/>
                  <a:gd name="connsiteX195" fmla="*/ 900219 w 1705082"/>
                  <a:gd name="connsiteY195" fmla="*/ 119853 h 2663028"/>
                  <a:gd name="connsiteX196" fmla="*/ 976419 w 1705082"/>
                  <a:gd name="connsiteY196" fmla="*/ 100803 h 2663028"/>
                  <a:gd name="connsiteX197" fmla="*/ 1019282 w 1705082"/>
                  <a:gd name="connsiteY197" fmla="*/ 81753 h 2663028"/>
                  <a:gd name="connsiteX198" fmla="*/ 1057382 w 1705082"/>
                  <a:gd name="connsiteY198" fmla="*/ 67465 h 2663028"/>
                  <a:gd name="connsiteX199" fmla="*/ 1100244 w 1705082"/>
                  <a:gd name="connsiteY199" fmla="*/ 38890 h 2663028"/>
                  <a:gd name="connsiteX200" fmla="*/ 1133582 w 1705082"/>
                  <a:gd name="connsiteY200" fmla="*/ 29365 h 2663028"/>
                  <a:gd name="connsiteX201" fmla="*/ 1152632 w 1705082"/>
                  <a:gd name="connsiteY201" fmla="*/ 24603 h 2663028"/>
                  <a:gd name="connsiteX202" fmla="*/ 1195494 w 1705082"/>
                  <a:gd name="connsiteY202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866882 w 1705082"/>
                  <a:gd name="connsiteY194" fmla="*/ 129378 h 2663028"/>
                  <a:gd name="connsiteX195" fmla="*/ 976419 w 1705082"/>
                  <a:gd name="connsiteY195" fmla="*/ 100803 h 2663028"/>
                  <a:gd name="connsiteX196" fmla="*/ 1019282 w 1705082"/>
                  <a:gd name="connsiteY196" fmla="*/ 81753 h 2663028"/>
                  <a:gd name="connsiteX197" fmla="*/ 1057382 w 1705082"/>
                  <a:gd name="connsiteY197" fmla="*/ 67465 h 2663028"/>
                  <a:gd name="connsiteX198" fmla="*/ 1100244 w 1705082"/>
                  <a:gd name="connsiteY198" fmla="*/ 38890 h 2663028"/>
                  <a:gd name="connsiteX199" fmla="*/ 1133582 w 1705082"/>
                  <a:gd name="connsiteY199" fmla="*/ 29365 h 2663028"/>
                  <a:gd name="connsiteX200" fmla="*/ 1152632 w 1705082"/>
                  <a:gd name="connsiteY200" fmla="*/ 24603 h 2663028"/>
                  <a:gd name="connsiteX201" fmla="*/ 1195494 w 1705082"/>
                  <a:gd name="connsiteY201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976419 w 1705082"/>
                  <a:gd name="connsiteY194" fmla="*/ 100803 h 2663028"/>
                  <a:gd name="connsiteX195" fmla="*/ 1019282 w 1705082"/>
                  <a:gd name="connsiteY195" fmla="*/ 81753 h 2663028"/>
                  <a:gd name="connsiteX196" fmla="*/ 1057382 w 1705082"/>
                  <a:gd name="connsiteY196" fmla="*/ 67465 h 2663028"/>
                  <a:gd name="connsiteX197" fmla="*/ 1100244 w 1705082"/>
                  <a:gd name="connsiteY197" fmla="*/ 38890 h 2663028"/>
                  <a:gd name="connsiteX198" fmla="*/ 1133582 w 1705082"/>
                  <a:gd name="connsiteY198" fmla="*/ 29365 h 2663028"/>
                  <a:gd name="connsiteX199" fmla="*/ 1152632 w 1705082"/>
                  <a:gd name="connsiteY199" fmla="*/ 24603 h 2663028"/>
                  <a:gd name="connsiteX200" fmla="*/ 1195494 w 1705082"/>
                  <a:gd name="connsiteY200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976419 w 1705082"/>
                  <a:gd name="connsiteY194" fmla="*/ 100803 h 2663028"/>
                  <a:gd name="connsiteX195" fmla="*/ 1057382 w 1705082"/>
                  <a:gd name="connsiteY195" fmla="*/ 67465 h 2663028"/>
                  <a:gd name="connsiteX196" fmla="*/ 1100244 w 1705082"/>
                  <a:gd name="connsiteY196" fmla="*/ 38890 h 2663028"/>
                  <a:gd name="connsiteX197" fmla="*/ 1133582 w 1705082"/>
                  <a:gd name="connsiteY197" fmla="*/ 29365 h 2663028"/>
                  <a:gd name="connsiteX198" fmla="*/ 1152632 w 1705082"/>
                  <a:gd name="connsiteY198" fmla="*/ 24603 h 2663028"/>
                  <a:gd name="connsiteX199" fmla="*/ 1195494 w 1705082"/>
                  <a:gd name="connsiteY199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828782 w 1705082"/>
                  <a:gd name="connsiteY193" fmla="*/ 148428 h 2663028"/>
                  <a:gd name="connsiteX194" fmla="*/ 1057382 w 1705082"/>
                  <a:gd name="connsiteY194" fmla="*/ 67465 h 2663028"/>
                  <a:gd name="connsiteX195" fmla="*/ 1100244 w 1705082"/>
                  <a:gd name="connsiteY195" fmla="*/ 38890 h 2663028"/>
                  <a:gd name="connsiteX196" fmla="*/ 1133582 w 1705082"/>
                  <a:gd name="connsiteY196" fmla="*/ 29365 h 2663028"/>
                  <a:gd name="connsiteX197" fmla="*/ 1152632 w 1705082"/>
                  <a:gd name="connsiteY197" fmla="*/ 24603 h 2663028"/>
                  <a:gd name="connsiteX198" fmla="*/ 1195494 w 1705082"/>
                  <a:gd name="connsiteY198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1057382 w 1705082"/>
                  <a:gd name="connsiteY193" fmla="*/ 67465 h 2663028"/>
                  <a:gd name="connsiteX194" fmla="*/ 1100244 w 1705082"/>
                  <a:gd name="connsiteY194" fmla="*/ 38890 h 2663028"/>
                  <a:gd name="connsiteX195" fmla="*/ 1133582 w 1705082"/>
                  <a:gd name="connsiteY195" fmla="*/ 29365 h 2663028"/>
                  <a:gd name="connsiteX196" fmla="*/ 1152632 w 1705082"/>
                  <a:gd name="connsiteY196" fmla="*/ 24603 h 2663028"/>
                  <a:gd name="connsiteX197" fmla="*/ 1195494 w 1705082"/>
                  <a:gd name="connsiteY197" fmla="*/ 790 h 2663028"/>
                  <a:gd name="connsiteX0" fmla="*/ 1195494 w 1705082"/>
                  <a:gd name="connsiteY0" fmla="*/ 790 h 2663028"/>
                  <a:gd name="connsiteX1" fmla="*/ 1190732 w 1705082"/>
                  <a:gd name="connsiteY1" fmla="*/ 57940 h 2663028"/>
                  <a:gd name="connsiteX2" fmla="*/ 1166919 w 1705082"/>
                  <a:gd name="connsiteY2" fmla="*/ 100803 h 2663028"/>
                  <a:gd name="connsiteX3" fmla="*/ 1157394 w 1705082"/>
                  <a:gd name="connsiteY3" fmla="*/ 119853 h 2663028"/>
                  <a:gd name="connsiteX4" fmla="*/ 1157394 w 1705082"/>
                  <a:gd name="connsiteY4" fmla="*/ 196053 h 2663028"/>
                  <a:gd name="connsiteX5" fmla="*/ 1176444 w 1705082"/>
                  <a:gd name="connsiteY5" fmla="*/ 215103 h 2663028"/>
                  <a:gd name="connsiteX6" fmla="*/ 1195494 w 1705082"/>
                  <a:gd name="connsiteY6" fmla="*/ 248440 h 2663028"/>
                  <a:gd name="connsiteX7" fmla="*/ 1214544 w 1705082"/>
                  <a:gd name="connsiteY7" fmla="*/ 257965 h 2663028"/>
                  <a:gd name="connsiteX8" fmla="*/ 1224069 w 1705082"/>
                  <a:gd name="connsiteY8" fmla="*/ 272253 h 2663028"/>
                  <a:gd name="connsiteX9" fmla="*/ 1238357 w 1705082"/>
                  <a:gd name="connsiteY9" fmla="*/ 286540 h 2663028"/>
                  <a:gd name="connsiteX10" fmla="*/ 1247882 w 1705082"/>
                  <a:gd name="connsiteY10" fmla="*/ 305590 h 2663028"/>
                  <a:gd name="connsiteX11" fmla="*/ 1243119 w 1705082"/>
                  <a:gd name="connsiteY11" fmla="*/ 334165 h 2663028"/>
                  <a:gd name="connsiteX12" fmla="*/ 1238357 w 1705082"/>
                  <a:gd name="connsiteY12" fmla="*/ 353215 h 2663028"/>
                  <a:gd name="connsiteX13" fmla="*/ 1243119 w 1705082"/>
                  <a:gd name="connsiteY13" fmla="*/ 415128 h 2663028"/>
                  <a:gd name="connsiteX14" fmla="*/ 1262169 w 1705082"/>
                  <a:gd name="connsiteY14" fmla="*/ 453228 h 2663028"/>
                  <a:gd name="connsiteX15" fmla="*/ 1271694 w 1705082"/>
                  <a:gd name="connsiteY15" fmla="*/ 467515 h 2663028"/>
                  <a:gd name="connsiteX16" fmla="*/ 1285982 w 1705082"/>
                  <a:gd name="connsiteY16" fmla="*/ 477040 h 2663028"/>
                  <a:gd name="connsiteX17" fmla="*/ 1343132 w 1705082"/>
                  <a:gd name="connsiteY17" fmla="*/ 500853 h 2663028"/>
                  <a:gd name="connsiteX18" fmla="*/ 1371707 w 1705082"/>
                  <a:gd name="connsiteY18" fmla="*/ 510378 h 2663028"/>
                  <a:gd name="connsiteX19" fmla="*/ 1400282 w 1705082"/>
                  <a:gd name="connsiteY19" fmla="*/ 529428 h 2663028"/>
                  <a:gd name="connsiteX20" fmla="*/ 1462194 w 1705082"/>
                  <a:gd name="connsiteY20" fmla="*/ 558003 h 2663028"/>
                  <a:gd name="connsiteX21" fmla="*/ 1514582 w 1705082"/>
                  <a:gd name="connsiteY21" fmla="*/ 577053 h 2663028"/>
                  <a:gd name="connsiteX22" fmla="*/ 1533632 w 1705082"/>
                  <a:gd name="connsiteY22" fmla="*/ 586578 h 2663028"/>
                  <a:gd name="connsiteX23" fmla="*/ 1552682 w 1705082"/>
                  <a:gd name="connsiteY23" fmla="*/ 591340 h 2663028"/>
                  <a:gd name="connsiteX24" fmla="*/ 1600307 w 1705082"/>
                  <a:gd name="connsiteY24" fmla="*/ 629440 h 2663028"/>
                  <a:gd name="connsiteX25" fmla="*/ 1628882 w 1705082"/>
                  <a:gd name="connsiteY25" fmla="*/ 662778 h 2663028"/>
                  <a:gd name="connsiteX26" fmla="*/ 1643169 w 1705082"/>
                  <a:gd name="connsiteY26" fmla="*/ 677065 h 2663028"/>
                  <a:gd name="connsiteX27" fmla="*/ 1662219 w 1705082"/>
                  <a:gd name="connsiteY27" fmla="*/ 686590 h 2663028"/>
                  <a:gd name="connsiteX28" fmla="*/ 1676507 w 1705082"/>
                  <a:gd name="connsiteY28" fmla="*/ 696115 h 2663028"/>
                  <a:gd name="connsiteX29" fmla="*/ 1690794 w 1705082"/>
                  <a:gd name="connsiteY29" fmla="*/ 734215 h 2663028"/>
                  <a:gd name="connsiteX30" fmla="*/ 1700319 w 1705082"/>
                  <a:gd name="connsiteY30" fmla="*/ 758028 h 2663028"/>
                  <a:gd name="connsiteX31" fmla="*/ 1705082 w 1705082"/>
                  <a:gd name="connsiteY31" fmla="*/ 772315 h 2663028"/>
                  <a:gd name="connsiteX32" fmla="*/ 1695557 w 1705082"/>
                  <a:gd name="connsiteY32" fmla="*/ 843753 h 2663028"/>
                  <a:gd name="connsiteX33" fmla="*/ 1657457 w 1705082"/>
                  <a:gd name="connsiteY33" fmla="*/ 877090 h 2663028"/>
                  <a:gd name="connsiteX34" fmla="*/ 1643169 w 1705082"/>
                  <a:gd name="connsiteY34" fmla="*/ 891378 h 2663028"/>
                  <a:gd name="connsiteX35" fmla="*/ 1590782 w 1705082"/>
                  <a:gd name="connsiteY35" fmla="*/ 896140 h 2663028"/>
                  <a:gd name="connsiteX36" fmla="*/ 1547919 w 1705082"/>
                  <a:gd name="connsiteY36" fmla="*/ 915190 h 2663028"/>
                  <a:gd name="connsiteX37" fmla="*/ 1524107 w 1705082"/>
                  <a:gd name="connsiteY37" fmla="*/ 929478 h 2663028"/>
                  <a:gd name="connsiteX38" fmla="*/ 1490769 w 1705082"/>
                  <a:gd name="connsiteY38" fmla="*/ 977103 h 2663028"/>
                  <a:gd name="connsiteX39" fmla="*/ 1471719 w 1705082"/>
                  <a:gd name="connsiteY39" fmla="*/ 996153 h 2663028"/>
                  <a:gd name="connsiteX40" fmla="*/ 1338369 w 1705082"/>
                  <a:gd name="connsiteY40" fmla="*/ 1019965 h 2663028"/>
                  <a:gd name="connsiteX41" fmla="*/ 1290744 w 1705082"/>
                  <a:gd name="connsiteY41" fmla="*/ 1043778 h 2663028"/>
                  <a:gd name="connsiteX42" fmla="*/ 1224069 w 1705082"/>
                  <a:gd name="connsiteY42" fmla="*/ 1072353 h 2663028"/>
                  <a:gd name="connsiteX43" fmla="*/ 1119294 w 1705082"/>
                  <a:gd name="connsiteY43" fmla="*/ 1086640 h 2663028"/>
                  <a:gd name="connsiteX44" fmla="*/ 1095482 w 1705082"/>
                  <a:gd name="connsiteY44" fmla="*/ 1091403 h 2663028"/>
                  <a:gd name="connsiteX45" fmla="*/ 1071669 w 1705082"/>
                  <a:gd name="connsiteY45" fmla="*/ 1100928 h 2663028"/>
                  <a:gd name="connsiteX46" fmla="*/ 957369 w 1705082"/>
                  <a:gd name="connsiteY46" fmla="*/ 1096165 h 2663028"/>
                  <a:gd name="connsiteX47" fmla="*/ 852594 w 1705082"/>
                  <a:gd name="connsiteY47" fmla="*/ 1048540 h 2663028"/>
                  <a:gd name="connsiteX48" fmla="*/ 804969 w 1705082"/>
                  <a:gd name="connsiteY48" fmla="*/ 1024728 h 2663028"/>
                  <a:gd name="connsiteX49" fmla="*/ 781157 w 1705082"/>
                  <a:gd name="connsiteY49" fmla="*/ 1010440 h 2663028"/>
                  <a:gd name="connsiteX50" fmla="*/ 762107 w 1705082"/>
                  <a:gd name="connsiteY50" fmla="*/ 996153 h 2663028"/>
                  <a:gd name="connsiteX51" fmla="*/ 671619 w 1705082"/>
                  <a:gd name="connsiteY51" fmla="*/ 948528 h 2663028"/>
                  <a:gd name="connsiteX52" fmla="*/ 638282 w 1705082"/>
                  <a:gd name="connsiteY52" fmla="*/ 929478 h 2663028"/>
                  <a:gd name="connsiteX53" fmla="*/ 519219 w 1705082"/>
                  <a:gd name="connsiteY53" fmla="*/ 900903 h 2663028"/>
                  <a:gd name="connsiteX54" fmla="*/ 476357 w 1705082"/>
                  <a:gd name="connsiteY54" fmla="*/ 881853 h 2663028"/>
                  <a:gd name="connsiteX55" fmla="*/ 414444 w 1705082"/>
                  <a:gd name="connsiteY55" fmla="*/ 872328 h 2663028"/>
                  <a:gd name="connsiteX56" fmla="*/ 314432 w 1705082"/>
                  <a:gd name="connsiteY56" fmla="*/ 886615 h 2663028"/>
                  <a:gd name="connsiteX57" fmla="*/ 300144 w 1705082"/>
                  <a:gd name="connsiteY57" fmla="*/ 900903 h 2663028"/>
                  <a:gd name="connsiteX58" fmla="*/ 276332 w 1705082"/>
                  <a:gd name="connsiteY58" fmla="*/ 939003 h 2663028"/>
                  <a:gd name="connsiteX59" fmla="*/ 262044 w 1705082"/>
                  <a:gd name="connsiteY59" fmla="*/ 977103 h 2663028"/>
                  <a:gd name="connsiteX60" fmla="*/ 257282 w 1705082"/>
                  <a:gd name="connsiteY60" fmla="*/ 1029490 h 2663028"/>
                  <a:gd name="connsiteX61" fmla="*/ 257282 w 1705082"/>
                  <a:gd name="connsiteY61" fmla="*/ 1110453 h 2663028"/>
                  <a:gd name="connsiteX62" fmla="*/ 290619 w 1705082"/>
                  <a:gd name="connsiteY62" fmla="*/ 1143790 h 2663028"/>
                  <a:gd name="connsiteX63" fmla="*/ 319194 w 1705082"/>
                  <a:gd name="connsiteY63" fmla="*/ 1153315 h 2663028"/>
                  <a:gd name="connsiteX64" fmla="*/ 319194 w 1705082"/>
                  <a:gd name="connsiteY64" fmla="*/ 1234278 h 2663028"/>
                  <a:gd name="connsiteX65" fmla="*/ 304907 w 1705082"/>
                  <a:gd name="connsiteY65" fmla="*/ 1248565 h 2663028"/>
                  <a:gd name="connsiteX66" fmla="*/ 252519 w 1705082"/>
                  <a:gd name="connsiteY66" fmla="*/ 1286665 h 2663028"/>
                  <a:gd name="connsiteX67" fmla="*/ 233469 w 1705082"/>
                  <a:gd name="connsiteY67" fmla="*/ 1315240 h 2663028"/>
                  <a:gd name="connsiteX68" fmla="*/ 242994 w 1705082"/>
                  <a:gd name="connsiteY68" fmla="*/ 1415253 h 2663028"/>
                  <a:gd name="connsiteX69" fmla="*/ 271569 w 1705082"/>
                  <a:gd name="connsiteY69" fmla="*/ 1462878 h 2663028"/>
                  <a:gd name="connsiteX70" fmla="*/ 285857 w 1705082"/>
                  <a:gd name="connsiteY70" fmla="*/ 1481928 h 2663028"/>
                  <a:gd name="connsiteX71" fmla="*/ 376344 w 1705082"/>
                  <a:gd name="connsiteY71" fmla="*/ 1515265 h 2663028"/>
                  <a:gd name="connsiteX72" fmla="*/ 400157 w 1705082"/>
                  <a:gd name="connsiteY72" fmla="*/ 1481928 h 2663028"/>
                  <a:gd name="connsiteX73" fmla="*/ 404919 w 1705082"/>
                  <a:gd name="connsiteY73" fmla="*/ 1458115 h 2663028"/>
                  <a:gd name="connsiteX74" fmla="*/ 409682 w 1705082"/>
                  <a:gd name="connsiteY74" fmla="*/ 1439065 h 2663028"/>
                  <a:gd name="connsiteX75" fmla="*/ 438257 w 1705082"/>
                  <a:gd name="connsiteY75" fmla="*/ 1429540 h 2663028"/>
                  <a:gd name="connsiteX76" fmla="*/ 538269 w 1705082"/>
                  <a:gd name="connsiteY76" fmla="*/ 1448590 h 2663028"/>
                  <a:gd name="connsiteX77" fmla="*/ 547794 w 1705082"/>
                  <a:gd name="connsiteY77" fmla="*/ 1472403 h 2663028"/>
                  <a:gd name="connsiteX78" fmla="*/ 557319 w 1705082"/>
                  <a:gd name="connsiteY78" fmla="*/ 1505740 h 2663028"/>
                  <a:gd name="connsiteX79" fmla="*/ 543032 w 1705082"/>
                  <a:gd name="connsiteY79" fmla="*/ 1524790 h 2663028"/>
                  <a:gd name="connsiteX80" fmla="*/ 543032 w 1705082"/>
                  <a:gd name="connsiteY80" fmla="*/ 1591465 h 2663028"/>
                  <a:gd name="connsiteX81" fmla="*/ 552557 w 1705082"/>
                  <a:gd name="connsiteY81" fmla="*/ 1610515 h 2663028"/>
                  <a:gd name="connsiteX82" fmla="*/ 619232 w 1705082"/>
                  <a:gd name="connsiteY82" fmla="*/ 1629565 h 2663028"/>
                  <a:gd name="connsiteX83" fmla="*/ 638282 w 1705082"/>
                  <a:gd name="connsiteY83" fmla="*/ 1581940 h 2663028"/>
                  <a:gd name="connsiteX84" fmla="*/ 695432 w 1705082"/>
                  <a:gd name="connsiteY84" fmla="*/ 1610515 h 2663028"/>
                  <a:gd name="connsiteX85" fmla="*/ 724007 w 1705082"/>
                  <a:gd name="connsiteY85" fmla="*/ 1620040 h 2663028"/>
                  <a:gd name="connsiteX86" fmla="*/ 776394 w 1705082"/>
                  <a:gd name="connsiteY86" fmla="*/ 1653378 h 2663028"/>
                  <a:gd name="connsiteX87" fmla="*/ 852594 w 1705082"/>
                  <a:gd name="connsiteY87" fmla="*/ 1677190 h 2663028"/>
                  <a:gd name="connsiteX88" fmla="*/ 871644 w 1705082"/>
                  <a:gd name="connsiteY88" fmla="*/ 1691478 h 2663028"/>
                  <a:gd name="connsiteX89" fmla="*/ 881169 w 1705082"/>
                  <a:gd name="connsiteY89" fmla="*/ 1729578 h 2663028"/>
                  <a:gd name="connsiteX90" fmla="*/ 890694 w 1705082"/>
                  <a:gd name="connsiteY90" fmla="*/ 1772440 h 2663028"/>
                  <a:gd name="connsiteX91" fmla="*/ 933557 w 1705082"/>
                  <a:gd name="connsiteY91" fmla="*/ 1881978 h 2663028"/>
                  <a:gd name="connsiteX92" fmla="*/ 943082 w 1705082"/>
                  <a:gd name="connsiteY92" fmla="*/ 1896265 h 2663028"/>
                  <a:gd name="connsiteX93" fmla="*/ 952607 w 1705082"/>
                  <a:gd name="connsiteY93" fmla="*/ 1929603 h 2663028"/>
                  <a:gd name="connsiteX94" fmla="*/ 966894 w 1705082"/>
                  <a:gd name="connsiteY94" fmla="*/ 1967703 h 2663028"/>
                  <a:gd name="connsiteX95" fmla="*/ 957369 w 1705082"/>
                  <a:gd name="connsiteY95" fmla="*/ 2072478 h 2663028"/>
                  <a:gd name="connsiteX96" fmla="*/ 947844 w 1705082"/>
                  <a:gd name="connsiteY96" fmla="*/ 2091528 h 2663028"/>
                  <a:gd name="connsiteX97" fmla="*/ 919269 w 1705082"/>
                  <a:gd name="connsiteY97" fmla="*/ 2134390 h 2663028"/>
                  <a:gd name="connsiteX98" fmla="*/ 900219 w 1705082"/>
                  <a:gd name="connsiteY98" fmla="*/ 2182015 h 2663028"/>
                  <a:gd name="connsiteX99" fmla="*/ 895457 w 1705082"/>
                  <a:gd name="connsiteY99" fmla="*/ 2201065 h 2663028"/>
                  <a:gd name="connsiteX100" fmla="*/ 885932 w 1705082"/>
                  <a:gd name="connsiteY100" fmla="*/ 2229640 h 2663028"/>
                  <a:gd name="connsiteX101" fmla="*/ 890694 w 1705082"/>
                  <a:gd name="connsiteY101" fmla="*/ 2277265 h 2663028"/>
                  <a:gd name="connsiteX102" fmla="*/ 885932 w 1705082"/>
                  <a:gd name="connsiteY102" fmla="*/ 2386803 h 2663028"/>
                  <a:gd name="connsiteX103" fmla="*/ 681144 w 1705082"/>
                  <a:gd name="connsiteY103" fmla="*/ 2439190 h 2663028"/>
                  <a:gd name="connsiteX104" fmla="*/ 647807 w 1705082"/>
                  <a:gd name="connsiteY104" fmla="*/ 2463003 h 2663028"/>
                  <a:gd name="connsiteX105" fmla="*/ 600182 w 1705082"/>
                  <a:gd name="connsiteY105" fmla="*/ 2501103 h 2663028"/>
                  <a:gd name="connsiteX106" fmla="*/ 566844 w 1705082"/>
                  <a:gd name="connsiteY106" fmla="*/ 2524915 h 2663028"/>
                  <a:gd name="connsiteX107" fmla="*/ 533507 w 1705082"/>
                  <a:gd name="connsiteY107" fmla="*/ 2543965 h 2663028"/>
                  <a:gd name="connsiteX108" fmla="*/ 490644 w 1705082"/>
                  <a:gd name="connsiteY108" fmla="*/ 2577303 h 2663028"/>
                  <a:gd name="connsiteX109" fmla="*/ 476357 w 1705082"/>
                  <a:gd name="connsiteY109" fmla="*/ 2591590 h 2663028"/>
                  <a:gd name="connsiteX110" fmla="*/ 452544 w 1705082"/>
                  <a:gd name="connsiteY110" fmla="*/ 2610640 h 2663028"/>
                  <a:gd name="connsiteX111" fmla="*/ 443019 w 1705082"/>
                  <a:gd name="connsiteY111" fmla="*/ 2624928 h 2663028"/>
                  <a:gd name="connsiteX112" fmla="*/ 409682 w 1705082"/>
                  <a:gd name="connsiteY112" fmla="*/ 2643978 h 2663028"/>
                  <a:gd name="connsiteX113" fmla="*/ 366819 w 1705082"/>
                  <a:gd name="connsiteY113" fmla="*/ 2663028 h 2663028"/>
                  <a:gd name="connsiteX114" fmla="*/ 352532 w 1705082"/>
                  <a:gd name="connsiteY114" fmla="*/ 2653503 h 2663028"/>
                  <a:gd name="connsiteX115" fmla="*/ 338244 w 1705082"/>
                  <a:gd name="connsiteY115" fmla="*/ 2624928 h 2663028"/>
                  <a:gd name="connsiteX116" fmla="*/ 328719 w 1705082"/>
                  <a:gd name="connsiteY116" fmla="*/ 2610640 h 2663028"/>
                  <a:gd name="connsiteX117" fmla="*/ 290619 w 1705082"/>
                  <a:gd name="connsiteY117" fmla="*/ 2601115 h 2663028"/>
                  <a:gd name="connsiteX118" fmla="*/ 271569 w 1705082"/>
                  <a:gd name="connsiteY118" fmla="*/ 2582065 h 2663028"/>
                  <a:gd name="connsiteX119" fmla="*/ 266807 w 1705082"/>
                  <a:gd name="connsiteY119" fmla="*/ 2563015 h 2663028"/>
                  <a:gd name="connsiteX120" fmla="*/ 228707 w 1705082"/>
                  <a:gd name="connsiteY120" fmla="*/ 2529678 h 2663028"/>
                  <a:gd name="connsiteX121" fmla="*/ 223944 w 1705082"/>
                  <a:gd name="connsiteY121" fmla="*/ 2515390 h 2663028"/>
                  <a:gd name="connsiteX122" fmla="*/ 219182 w 1705082"/>
                  <a:gd name="connsiteY122" fmla="*/ 2496340 h 2663028"/>
                  <a:gd name="connsiteX123" fmla="*/ 204894 w 1705082"/>
                  <a:gd name="connsiteY123" fmla="*/ 2482053 h 2663028"/>
                  <a:gd name="connsiteX124" fmla="*/ 147744 w 1705082"/>
                  <a:gd name="connsiteY124" fmla="*/ 2429665 h 2663028"/>
                  <a:gd name="connsiteX125" fmla="*/ 142982 w 1705082"/>
                  <a:gd name="connsiteY125" fmla="*/ 2405853 h 2663028"/>
                  <a:gd name="connsiteX126" fmla="*/ 128694 w 1705082"/>
                  <a:gd name="connsiteY126" fmla="*/ 2348703 h 2663028"/>
                  <a:gd name="connsiteX127" fmla="*/ 114407 w 1705082"/>
                  <a:gd name="connsiteY127" fmla="*/ 2305840 h 2663028"/>
                  <a:gd name="connsiteX128" fmla="*/ 100119 w 1705082"/>
                  <a:gd name="connsiteY128" fmla="*/ 2248690 h 2663028"/>
                  <a:gd name="connsiteX129" fmla="*/ 95357 w 1705082"/>
                  <a:gd name="connsiteY129" fmla="*/ 2224878 h 2663028"/>
                  <a:gd name="connsiteX130" fmla="*/ 85832 w 1705082"/>
                  <a:gd name="connsiteY130" fmla="*/ 2201065 h 2663028"/>
                  <a:gd name="connsiteX131" fmla="*/ 81069 w 1705082"/>
                  <a:gd name="connsiteY131" fmla="*/ 2177253 h 2663028"/>
                  <a:gd name="connsiteX132" fmla="*/ 71544 w 1705082"/>
                  <a:gd name="connsiteY132" fmla="*/ 2101053 h 2663028"/>
                  <a:gd name="connsiteX133" fmla="*/ 90594 w 1705082"/>
                  <a:gd name="connsiteY133" fmla="*/ 1934365 h 2663028"/>
                  <a:gd name="connsiteX134" fmla="*/ 100119 w 1705082"/>
                  <a:gd name="connsiteY134" fmla="*/ 1920078 h 2663028"/>
                  <a:gd name="connsiteX135" fmla="*/ 119169 w 1705082"/>
                  <a:gd name="connsiteY135" fmla="*/ 1891503 h 2663028"/>
                  <a:gd name="connsiteX136" fmla="*/ 128694 w 1705082"/>
                  <a:gd name="connsiteY136" fmla="*/ 1858165 h 2663028"/>
                  <a:gd name="connsiteX137" fmla="*/ 123932 w 1705082"/>
                  <a:gd name="connsiteY137" fmla="*/ 1815303 h 2663028"/>
                  <a:gd name="connsiteX138" fmla="*/ 104882 w 1705082"/>
                  <a:gd name="connsiteY138" fmla="*/ 1810540 h 2663028"/>
                  <a:gd name="connsiteX139" fmla="*/ 95357 w 1705082"/>
                  <a:gd name="connsiteY139" fmla="*/ 1796253 h 2663028"/>
                  <a:gd name="connsiteX140" fmla="*/ 138219 w 1705082"/>
                  <a:gd name="connsiteY140" fmla="*/ 1710528 h 2663028"/>
                  <a:gd name="connsiteX141" fmla="*/ 152507 w 1705082"/>
                  <a:gd name="connsiteY141" fmla="*/ 1705765 h 2663028"/>
                  <a:gd name="connsiteX142" fmla="*/ 166794 w 1705082"/>
                  <a:gd name="connsiteY142" fmla="*/ 1686715 h 2663028"/>
                  <a:gd name="connsiteX143" fmla="*/ 181082 w 1705082"/>
                  <a:gd name="connsiteY143" fmla="*/ 1677190 h 2663028"/>
                  <a:gd name="connsiteX144" fmla="*/ 195369 w 1705082"/>
                  <a:gd name="connsiteY144" fmla="*/ 1643853 h 2663028"/>
                  <a:gd name="connsiteX145" fmla="*/ 185844 w 1705082"/>
                  <a:gd name="connsiteY145" fmla="*/ 1596228 h 2663028"/>
                  <a:gd name="connsiteX146" fmla="*/ 157269 w 1705082"/>
                  <a:gd name="connsiteY146" fmla="*/ 1586703 h 2663028"/>
                  <a:gd name="connsiteX147" fmla="*/ 147744 w 1705082"/>
                  <a:gd name="connsiteY147" fmla="*/ 1539078 h 2663028"/>
                  <a:gd name="connsiteX148" fmla="*/ 142982 w 1705082"/>
                  <a:gd name="connsiteY148" fmla="*/ 1400965 h 2663028"/>
                  <a:gd name="connsiteX149" fmla="*/ 133457 w 1705082"/>
                  <a:gd name="connsiteY149" fmla="*/ 1367628 h 2663028"/>
                  <a:gd name="connsiteX150" fmla="*/ 114407 w 1705082"/>
                  <a:gd name="connsiteY150" fmla="*/ 1300953 h 2663028"/>
                  <a:gd name="connsiteX151" fmla="*/ 109644 w 1705082"/>
                  <a:gd name="connsiteY151" fmla="*/ 1248565 h 2663028"/>
                  <a:gd name="connsiteX152" fmla="*/ 100119 w 1705082"/>
                  <a:gd name="connsiteY152" fmla="*/ 1234278 h 2663028"/>
                  <a:gd name="connsiteX153" fmla="*/ 85832 w 1705082"/>
                  <a:gd name="connsiteY153" fmla="*/ 1186653 h 2663028"/>
                  <a:gd name="connsiteX154" fmla="*/ 71544 w 1705082"/>
                  <a:gd name="connsiteY154" fmla="*/ 1167603 h 2663028"/>
                  <a:gd name="connsiteX155" fmla="*/ 52494 w 1705082"/>
                  <a:gd name="connsiteY155" fmla="*/ 1129503 h 2663028"/>
                  <a:gd name="connsiteX156" fmla="*/ 42969 w 1705082"/>
                  <a:gd name="connsiteY156" fmla="*/ 1100928 h 2663028"/>
                  <a:gd name="connsiteX157" fmla="*/ 38207 w 1705082"/>
                  <a:gd name="connsiteY157" fmla="*/ 1086640 h 2663028"/>
                  <a:gd name="connsiteX158" fmla="*/ 14394 w 1705082"/>
                  <a:gd name="connsiteY158" fmla="*/ 1015203 h 2663028"/>
                  <a:gd name="connsiteX159" fmla="*/ 4869 w 1705082"/>
                  <a:gd name="connsiteY159" fmla="*/ 981865 h 2663028"/>
                  <a:gd name="connsiteX160" fmla="*/ 107 w 1705082"/>
                  <a:gd name="connsiteY160" fmla="*/ 967578 h 2663028"/>
                  <a:gd name="connsiteX161" fmla="*/ 14394 w 1705082"/>
                  <a:gd name="connsiteY161" fmla="*/ 924715 h 2663028"/>
                  <a:gd name="connsiteX162" fmla="*/ 38207 w 1705082"/>
                  <a:gd name="connsiteY162" fmla="*/ 872328 h 2663028"/>
                  <a:gd name="connsiteX163" fmla="*/ 52494 w 1705082"/>
                  <a:gd name="connsiteY163" fmla="*/ 858040 h 2663028"/>
                  <a:gd name="connsiteX164" fmla="*/ 62019 w 1705082"/>
                  <a:gd name="connsiteY164" fmla="*/ 843753 h 2663028"/>
                  <a:gd name="connsiteX165" fmla="*/ 66782 w 1705082"/>
                  <a:gd name="connsiteY165" fmla="*/ 824703 h 2663028"/>
                  <a:gd name="connsiteX166" fmla="*/ 100119 w 1705082"/>
                  <a:gd name="connsiteY166" fmla="*/ 781840 h 2663028"/>
                  <a:gd name="connsiteX167" fmla="*/ 123932 w 1705082"/>
                  <a:gd name="connsiteY167" fmla="*/ 743740 h 2663028"/>
                  <a:gd name="connsiteX168" fmla="*/ 138219 w 1705082"/>
                  <a:gd name="connsiteY168" fmla="*/ 710403 h 2663028"/>
                  <a:gd name="connsiteX169" fmla="*/ 147744 w 1705082"/>
                  <a:gd name="connsiteY169" fmla="*/ 696115 h 2663028"/>
                  <a:gd name="connsiteX170" fmla="*/ 152507 w 1705082"/>
                  <a:gd name="connsiteY170" fmla="*/ 677065 h 2663028"/>
                  <a:gd name="connsiteX171" fmla="*/ 162032 w 1705082"/>
                  <a:gd name="connsiteY171" fmla="*/ 662778 h 2663028"/>
                  <a:gd name="connsiteX172" fmla="*/ 195369 w 1705082"/>
                  <a:gd name="connsiteY172" fmla="*/ 619915 h 2663028"/>
                  <a:gd name="connsiteX173" fmla="*/ 214419 w 1705082"/>
                  <a:gd name="connsiteY173" fmla="*/ 591340 h 2663028"/>
                  <a:gd name="connsiteX174" fmla="*/ 266807 w 1705082"/>
                  <a:gd name="connsiteY174" fmla="*/ 534190 h 2663028"/>
                  <a:gd name="connsiteX175" fmla="*/ 281094 w 1705082"/>
                  <a:gd name="connsiteY175" fmla="*/ 519903 h 2663028"/>
                  <a:gd name="connsiteX176" fmla="*/ 304907 w 1705082"/>
                  <a:gd name="connsiteY176" fmla="*/ 505615 h 2663028"/>
                  <a:gd name="connsiteX177" fmla="*/ 319194 w 1705082"/>
                  <a:gd name="connsiteY177" fmla="*/ 496090 h 2663028"/>
                  <a:gd name="connsiteX178" fmla="*/ 362057 w 1705082"/>
                  <a:gd name="connsiteY178" fmla="*/ 472278 h 2663028"/>
                  <a:gd name="connsiteX179" fmla="*/ 371582 w 1705082"/>
                  <a:gd name="connsiteY179" fmla="*/ 448465 h 2663028"/>
                  <a:gd name="connsiteX180" fmla="*/ 381107 w 1705082"/>
                  <a:gd name="connsiteY180" fmla="*/ 429415 h 2663028"/>
                  <a:gd name="connsiteX181" fmla="*/ 385869 w 1705082"/>
                  <a:gd name="connsiteY181" fmla="*/ 415128 h 2663028"/>
                  <a:gd name="connsiteX182" fmla="*/ 404919 w 1705082"/>
                  <a:gd name="connsiteY182" fmla="*/ 396078 h 2663028"/>
                  <a:gd name="connsiteX183" fmla="*/ 457307 w 1705082"/>
                  <a:gd name="connsiteY183" fmla="*/ 357978 h 2663028"/>
                  <a:gd name="connsiteX184" fmla="*/ 504932 w 1705082"/>
                  <a:gd name="connsiteY184" fmla="*/ 334165 h 2663028"/>
                  <a:gd name="connsiteX185" fmla="*/ 523982 w 1705082"/>
                  <a:gd name="connsiteY185" fmla="*/ 315115 h 2663028"/>
                  <a:gd name="connsiteX186" fmla="*/ 585894 w 1705082"/>
                  <a:gd name="connsiteY186" fmla="*/ 267490 h 2663028"/>
                  <a:gd name="connsiteX187" fmla="*/ 600182 w 1705082"/>
                  <a:gd name="connsiteY187" fmla="*/ 253203 h 2663028"/>
                  <a:gd name="connsiteX188" fmla="*/ 633519 w 1705082"/>
                  <a:gd name="connsiteY188" fmla="*/ 219865 h 2663028"/>
                  <a:gd name="connsiteX189" fmla="*/ 647807 w 1705082"/>
                  <a:gd name="connsiteY189" fmla="*/ 215103 h 2663028"/>
                  <a:gd name="connsiteX190" fmla="*/ 671619 w 1705082"/>
                  <a:gd name="connsiteY190" fmla="*/ 200815 h 2663028"/>
                  <a:gd name="connsiteX191" fmla="*/ 695432 w 1705082"/>
                  <a:gd name="connsiteY191" fmla="*/ 191290 h 2663028"/>
                  <a:gd name="connsiteX192" fmla="*/ 733532 w 1705082"/>
                  <a:gd name="connsiteY192" fmla="*/ 172240 h 2663028"/>
                  <a:gd name="connsiteX193" fmla="*/ 1057382 w 1705082"/>
                  <a:gd name="connsiteY193" fmla="*/ 67465 h 2663028"/>
                  <a:gd name="connsiteX194" fmla="*/ 1133582 w 1705082"/>
                  <a:gd name="connsiteY194" fmla="*/ 29365 h 2663028"/>
                  <a:gd name="connsiteX195" fmla="*/ 1152632 w 1705082"/>
                  <a:gd name="connsiteY195" fmla="*/ 24603 h 2663028"/>
                  <a:gd name="connsiteX196" fmla="*/ 1195494 w 1705082"/>
                  <a:gd name="connsiteY196" fmla="*/ 790 h 2663028"/>
                  <a:gd name="connsiteX0" fmla="*/ 1195494 w 1705082"/>
                  <a:gd name="connsiteY0" fmla="*/ 1028 h 2663266"/>
                  <a:gd name="connsiteX1" fmla="*/ 1190732 w 1705082"/>
                  <a:gd name="connsiteY1" fmla="*/ 58178 h 2663266"/>
                  <a:gd name="connsiteX2" fmla="*/ 1166919 w 1705082"/>
                  <a:gd name="connsiteY2" fmla="*/ 101041 h 2663266"/>
                  <a:gd name="connsiteX3" fmla="*/ 1157394 w 1705082"/>
                  <a:gd name="connsiteY3" fmla="*/ 120091 h 2663266"/>
                  <a:gd name="connsiteX4" fmla="*/ 1157394 w 1705082"/>
                  <a:gd name="connsiteY4" fmla="*/ 196291 h 2663266"/>
                  <a:gd name="connsiteX5" fmla="*/ 1176444 w 1705082"/>
                  <a:gd name="connsiteY5" fmla="*/ 215341 h 2663266"/>
                  <a:gd name="connsiteX6" fmla="*/ 1195494 w 1705082"/>
                  <a:gd name="connsiteY6" fmla="*/ 248678 h 2663266"/>
                  <a:gd name="connsiteX7" fmla="*/ 1214544 w 1705082"/>
                  <a:gd name="connsiteY7" fmla="*/ 258203 h 2663266"/>
                  <a:gd name="connsiteX8" fmla="*/ 1224069 w 1705082"/>
                  <a:gd name="connsiteY8" fmla="*/ 272491 h 2663266"/>
                  <a:gd name="connsiteX9" fmla="*/ 1238357 w 1705082"/>
                  <a:gd name="connsiteY9" fmla="*/ 286778 h 2663266"/>
                  <a:gd name="connsiteX10" fmla="*/ 1247882 w 1705082"/>
                  <a:gd name="connsiteY10" fmla="*/ 305828 h 2663266"/>
                  <a:gd name="connsiteX11" fmla="*/ 1243119 w 1705082"/>
                  <a:gd name="connsiteY11" fmla="*/ 334403 h 2663266"/>
                  <a:gd name="connsiteX12" fmla="*/ 1238357 w 1705082"/>
                  <a:gd name="connsiteY12" fmla="*/ 353453 h 2663266"/>
                  <a:gd name="connsiteX13" fmla="*/ 1243119 w 1705082"/>
                  <a:gd name="connsiteY13" fmla="*/ 415366 h 2663266"/>
                  <a:gd name="connsiteX14" fmla="*/ 1262169 w 1705082"/>
                  <a:gd name="connsiteY14" fmla="*/ 453466 h 2663266"/>
                  <a:gd name="connsiteX15" fmla="*/ 1271694 w 1705082"/>
                  <a:gd name="connsiteY15" fmla="*/ 467753 h 2663266"/>
                  <a:gd name="connsiteX16" fmla="*/ 1285982 w 1705082"/>
                  <a:gd name="connsiteY16" fmla="*/ 477278 h 2663266"/>
                  <a:gd name="connsiteX17" fmla="*/ 1343132 w 1705082"/>
                  <a:gd name="connsiteY17" fmla="*/ 501091 h 2663266"/>
                  <a:gd name="connsiteX18" fmla="*/ 1371707 w 1705082"/>
                  <a:gd name="connsiteY18" fmla="*/ 510616 h 2663266"/>
                  <a:gd name="connsiteX19" fmla="*/ 1400282 w 1705082"/>
                  <a:gd name="connsiteY19" fmla="*/ 529666 h 2663266"/>
                  <a:gd name="connsiteX20" fmla="*/ 1462194 w 1705082"/>
                  <a:gd name="connsiteY20" fmla="*/ 558241 h 2663266"/>
                  <a:gd name="connsiteX21" fmla="*/ 1514582 w 1705082"/>
                  <a:gd name="connsiteY21" fmla="*/ 577291 h 2663266"/>
                  <a:gd name="connsiteX22" fmla="*/ 1533632 w 1705082"/>
                  <a:gd name="connsiteY22" fmla="*/ 586816 h 2663266"/>
                  <a:gd name="connsiteX23" fmla="*/ 1552682 w 1705082"/>
                  <a:gd name="connsiteY23" fmla="*/ 591578 h 2663266"/>
                  <a:gd name="connsiteX24" fmla="*/ 1600307 w 1705082"/>
                  <a:gd name="connsiteY24" fmla="*/ 629678 h 2663266"/>
                  <a:gd name="connsiteX25" fmla="*/ 1628882 w 1705082"/>
                  <a:gd name="connsiteY25" fmla="*/ 663016 h 2663266"/>
                  <a:gd name="connsiteX26" fmla="*/ 1643169 w 1705082"/>
                  <a:gd name="connsiteY26" fmla="*/ 677303 h 2663266"/>
                  <a:gd name="connsiteX27" fmla="*/ 1662219 w 1705082"/>
                  <a:gd name="connsiteY27" fmla="*/ 686828 h 2663266"/>
                  <a:gd name="connsiteX28" fmla="*/ 1676507 w 1705082"/>
                  <a:gd name="connsiteY28" fmla="*/ 696353 h 2663266"/>
                  <a:gd name="connsiteX29" fmla="*/ 1690794 w 1705082"/>
                  <a:gd name="connsiteY29" fmla="*/ 734453 h 2663266"/>
                  <a:gd name="connsiteX30" fmla="*/ 1700319 w 1705082"/>
                  <a:gd name="connsiteY30" fmla="*/ 758266 h 2663266"/>
                  <a:gd name="connsiteX31" fmla="*/ 1705082 w 1705082"/>
                  <a:gd name="connsiteY31" fmla="*/ 772553 h 2663266"/>
                  <a:gd name="connsiteX32" fmla="*/ 1695557 w 1705082"/>
                  <a:gd name="connsiteY32" fmla="*/ 843991 h 2663266"/>
                  <a:gd name="connsiteX33" fmla="*/ 1657457 w 1705082"/>
                  <a:gd name="connsiteY33" fmla="*/ 877328 h 2663266"/>
                  <a:gd name="connsiteX34" fmla="*/ 1643169 w 1705082"/>
                  <a:gd name="connsiteY34" fmla="*/ 891616 h 2663266"/>
                  <a:gd name="connsiteX35" fmla="*/ 1590782 w 1705082"/>
                  <a:gd name="connsiteY35" fmla="*/ 896378 h 2663266"/>
                  <a:gd name="connsiteX36" fmla="*/ 1547919 w 1705082"/>
                  <a:gd name="connsiteY36" fmla="*/ 915428 h 2663266"/>
                  <a:gd name="connsiteX37" fmla="*/ 1524107 w 1705082"/>
                  <a:gd name="connsiteY37" fmla="*/ 929716 h 2663266"/>
                  <a:gd name="connsiteX38" fmla="*/ 1490769 w 1705082"/>
                  <a:gd name="connsiteY38" fmla="*/ 977341 h 2663266"/>
                  <a:gd name="connsiteX39" fmla="*/ 1471719 w 1705082"/>
                  <a:gd name="connsiteY39" fmla="*/ 996391 h 2663266"/>
                  <a:gd name="connsiteX40" fmla="*/ 1338369 w 1705082"/>
                  <a:gd name="connsiteY40" fmla="*/ 1020203 h 2663266"/>
                  <a:gd name="connsiteX41" fmla="*/ 1290744 w 1705082"/>
                  <a:gd name="connsiteY41" fmla="*/ 1044016 h 2663266"/>
                  <a:gd name="connsiteX42" fmla="*/ 1224069 w 1705082"/>
                  <a:gd name="connsiteY42" fmla="*/ 1072591 h 2663266"/>
                  <a:gd name="connsiteX43" fmla="*/ 1119294 w 1705082"/>
                  <a:gd name="connsiteY43" fmla="*/ 1086878 h 2663266"/>
                  <a:gd name="connsiteX44" fmla="*/ 1095482 w 1705082"/>
                  <a:gd name="connsiteY44" fmla="*/ 1091641 h 2663266"/>
                  <a:gd name="connsiteX45" fmla="*/ 1071669 w 1705082"/>
                  <a:gd name="connsiteY45" fmla="*/ 1101166 h 2663266"/>
                  <a:gd name="connsiteX46" fmla="*/ 957369 w 1705082"/>
                  <a:gd name="connsiteY46" fmla="*/ 1096403 h 2663266"/>
                  <a:gd name="connsiteX47" fmla="*/ 852594 w 1705082"/>
                  <a:gd name="connsiteY47" fmla="*/ 1048778 h 2663266"/>
                  <a:gd name="connsiteX48" fmla="*/ 804969 w 1705082"/>
                  <a:gd name="connsiteY48" fmla="*/ 1024966 h 2663266"/>
                  <a:gd name="connsiteX49" fmla="*/ 781157 w 1705082"/>
                  <a:gd name="connsiteY49" fmla="*/ 1010678 h 2663266"/>
                  <a:gd name="connsiteX50" fmla="*/ 762107 w 1705082"/>
                  <a:gd name="connsiteY50" fmla="*/ 996391 h 2663266"/>
                  <a:gd name="connsiteX51" fmla="*/ 671619 w 1705082"/>
                  <a:gd name="connsiteY51" fmla="*/ 948766 h 2663266"/>
                  <a:gd name="connsiteX52" fmla="*/ 638282 w 1705082"/>
                  <a:gd name="connsiteY52" fmla="*/ 929716 h 2663266"/>
                  <a:gd name="connsiteX53" fmla="*/ 519219 w 1705082"/>
                  <a:gd name="connsiteY53" fmla="*/ 901141 h 2663266"/>
                  <a:gd name="connsiteX54" fmla="*/ 476357 w 1705082"/>
                  <a:gd name="connsiteY54" fmla="*/ 882091 h 2663266"/>
                  <a:gd name="connsiteX55" fmla="*/ 414444 w 1705082"/>
                  <a:gd name="connsiteY55" fmla="*/ 872566 h 2663266"/>
                  <a:gd name="connsiteX56" fmla="*/ 314432 w 1705082"/>
                  <a:gd name="connsiteY56" fmla="*/ 886853 h 2663266"/>
                  <a:gd name="connsiteX57" fmla="*/ 300144 w 1705082"/>
                  <a:gd name="connsiteY57" fmla="*/ 901141 h 2663266"/>
                  <a:gd name="connsiteX58" fmla="*/ 276332 w 1705082"/>
                  <a:gd name="connsiteY58" fmla="*/ 939241 h 2663266"/>
                  <a:gd name="connsiteX59" fmla="*/ 262044 w 1705082"/>
                  <a:gd name="connsiteY59" fmla="*/ 977341 h 2663266"/>
                  <a:gd name="connsiteX60" fmla="*/ 257282 w 1705082"/>
                  <a:gd name="connsiteY60" fmla="*/ 1029728 h 2663266"/>
                  <a:gd name="connsiteX61" fmla="*/ 257282 w 1705082"/>
                  <a:gd name="connsiteY61" fmla="*/ 1110691 h 2663266"/>
                  <a:gd name="connsiteX62" fmla="*/ 290619 w 1705082"/>
                  <a:gd name="connsiteY62" fmla="*/ 1144028 h 2663266"/>
                  <a:gd name="connsiteX63" fmla="*/ 319194 w 1705082"/>
                  <a:gd name="connsiteY63" fmla="*/ 1153553 h 2663266"/>
                  <a:gd name="connsiteX64" fmla="*/ 319194 w 1705082"/>
                  <a:gd name="connsiteY64" fmla="*/ 1234516 h 2663266"/>
                  <a:gd name="connsiteX65" fmla="*/ 304907 w 1705082"/>
                  <a:gd name="connsiteY65" fmla="*/ 1248803 h 2663266"/>
                  <a:gd name="connsiteX66" fmla="*/ 252519 w 1705082"/>
                  <a:gd name="connsiteY66" fmla="*/ 1286903 h 2663266"/>
                  <a:gd name="connsiteX67" fmla="*/ 233469 w 1705082"/>
                  <a:gd name="connsiteY67" fmla="*/ 1315478 h 2663266"/>
                  <a:gd name="connsiteX68" fmla="*/ 242994 w 1705082"/>
                  <a:gd name="connsiteY68" fmla="*/ 1415491 h 2663266"/>
                  <a:gd name="connsiteX69" fmla="*/ 271569 w 1705082"/>
                  <a:gd name="connsiteY69" fmla="*/ 1463116 h 2663266"/>
                  <a:gd name="connsiteX70" fmla="*/ 285857 w 1705082"/>
                  <a:gd name="connsiteY70" fmla="*/ 1482166 h 2663266"/>
                  <a:gd name="connsiteX71" fmla="*/ 376344 w 1705082"/>
                  <a:gd name="connsiteY71" fmla="*/ 1515503 h 2663266"/>
                  <a:gd name="connsiteX72" fmla="*/ 400157 w 1705082"/>
                  <a:gd name="connsiteY72" fmla="*/ 1482166 h 2663266"/>
                  <a:gd name="connsiteX73" fmla="*/ 404919 w 1705082"/>
                  <a:gd name="connsiteY73" fmla="*/ 1458353 h 2663266"/>
                  <a:gd name="connsiteX74" fmla="*/ 409682 w 1705082"/>
                  <a:gd name="connsiteY74" fmla="*/ 1439303 h 2663266"/>
                  <a:gd name="connsiteX75" fmla="*/ 438257 w 1705082"/>
                  <a:gd name="connsiteY75" fmla="*/ 1429778 h 2663266"/>
                  <a:gd name="connsiteX76" fmla="*/ 538269 w 1705082"/>
                  <a:gd name="connsiteY76" fmla="*/ 1448828 h 2663266"/>
                  <a:gd name="connsiteX77" fmla="*/ 547794 w 1705082"/>
                  <a:gd name="connsiteY77" fmla="*/ 1472641 h 2663266"/>
                  <a:gd name="connsiteX78" fmla="*/ 557319 w 1705082"/>
                  <a:gd name="connsiteY78" fmla="*/ 1505978 h 2663266"/>
                  <a:gd name="connsiteX79" fmla="*/ 543032 w 1705082"/>
                  <a:gd name="connsiteY79" fmla="*/ 1525028 h 2663266"/>
                  <a:gd name="connsiteX80" fmla="*/ 543032 w 1705082"/>
                  <a:gd name="connsiteY80" fmla="*/ 1591703 h 2663266"/>
                  <a:gd name="connsiteX81" fmla="*/ 552557 w 1705082"/>
                  <a:gd name="connsiteY81" fmla="*/ 1610753 h 2663266"/>
                  <a:gd name="connsiteX82" fmla="*/ 619232 w 1705082"/>
                  <a:gd name="connsiteY82" fmla="*/ 1629803 h 2663266"/>
                  <a:gd name="connsiteX83" fmla="*/ 638282 w 1705082"/>
                  <a:gd name="connsiteY83" fmla="*/ 1582178 h 2663266"/>
                  <a:gd name="connsiteX84" fmla="*/ 695432 w 1705082"/>
                  <a:gd name="connsiteY84" fmla="*/ 1610753 h 2663266"/>
                  <a:gd name="connsiteX85" fmla="*/ 724007 w 1705082"/>
                  <a:gd name="connsiteY85" fmla="*/ 1620278 h 2663266"/>
                  <a:gd name="connsiteX86" fmla="*/ 776394 w 1705082"/>
                  <a:gd name="connsiteY86" fmla="*/ 1653616 h 2663266"/>
                  <a:gd name="connsiteX87" fmla="*/ 852594 w 1705082"/>
                  <a:gd name="connsiteY87" fmla="*/ 1677428 h 2663266"/>
                  <a:gd name="connsiteX88" fmla="*/ 871644 w 1705082"/>
                  <a:gd name="connsiteY88" fmla="*/ 1691716 h 2663266"/>
                  <a:gd name="connsiteX89" fmla="*/ 881169 w 1705082"/>
                  <a:gd name="connsiteY89" fmla="*/ 1729816 h 2663266"/>
                  <a:gd name="connsiteX90" fmla="*/ 890694 w 1705082"/>
                  <a:gd name="connsiteY90" fmla="*/ 1772678 h 2663266"/>
                  <a:gd name="connsiteX91" fmla="*/ 933557 w 1705082"/>
                  <a:gd name="connsiteY91" fmla="*/ 1882216 h 2663266"/>
                  <a:gd name="connsiteX92" fmla="*/ 943082 w 1705082"/>
                  <a:gd name="connsiteY92" fmla="*/ 1896503 h 2663266"/>
                  <a:gd name="connsiteX93" fmla="*/ 952607 w 1705082"/>
                  <a:gd name="connsiteY93" fmla="*/ 1929841 h 2663266"/>
                  <a:gd name="connsiteX94" fmla="*/ 966894 w 1705082"/>
                  <a:gd name="connsiteY94" fmla="*/ 1967941 h 2663266"/>
                  <a:gd name="connsiteX95" fmla="*/ 957369 w 1705082"/>
                  <a:gd name="connsiteY95" fmla="*/ 2072716 h 2663266"/>
                  <a:gd name="connsiteX96" fmla="*/ 947844 w 1705082"/>
                  <a:gd name="connsiteY96" fmla="*/ 2091766 h 2663266"/>
                  <a:gd name="connsiteX97" fmla="*/ 919269 w 1705082"/>
                  <a:gd name="connsiteY97" fmla="*/ 2134628 h 2663266"/>
                  <a:gd name="connsiteX98" fmla="*/ 900219 w 1705082"/>
                  <a:gd name="connsiteY98" fmla="*/ 2182253 h 2663266"/>
                  <a:gd name="connsiteX99" fmla="*/ 895457 w 1705082"/>
                  <a:gd name="connsiteY99" fmla="*/ 2201303 h 2663266"/>
                  <a:gd name="connsiteX100" fmla="*/ 885932 w 1705082"/>
                  <a:gd name="connsiteY100" fmla="*/ 2229878 h 2663266"/>
                  <a:gd name="connsiteX101" fmla="*/ 890694 w 1705082"/>
                  <a:gd name="connsiteY101" fmla="*/ 2277503 h 2663266"/>
                  <a:gd name="connsiteX102" fmla="*/ 885932 w 1705082"/>
                  <a:gd name="connsiteY102" fmla="*/ 2387041 h 2663266"/>
                  <a:gd name="connsiteX103" fmla="*/ 681144 w 1705082"/>
                  <a:gd name="connsiteY103" fmla="*/ 2439428 h 2663266"/>
                  <a:gd name="connsiteX104" fmla="*/ 647807 w 1705082"/>
                  <a:gd name="connsiteY104" fmla="*/ 2463241 h 2663266"/>
                  <a:gd name="connsiteX105" fmla="*/ 600182 w 1705082"/>
                  <a:gd name="connsiteY105" fmla="*/ 2501341 h 2663266"/>
                  <a:gd name="connsiteX106" fmla="*/ 566844 w 1705082"/>
                  <a:gd name="connsiteY106" fmla="*/ 2525153 h 2663266"/>
                  <a:gd name="connsiteX107" fmla="*/ 533507 w 1705082"/>
                  <a:gd name="connsiteY107" fmla="*/ 2544203 h 2663266"/>
                  <a:gd name="connsiteX108" fmla="*/ 490644 w 1705082"/>
                  <a:gd name="connsiteY108" fmla="*/ 2577541 h 2663266"/>
                  <a:gd name="connsiteX109" fmla="*/ 476357 w 1705082"/>
                  <a:gd name="connsiteY109" fmla="*/ 2591828 h 2663266"/>
                  <a:gd name="connsiteX110" fmla="*/ 452544 w 1705082"/>
                  <a:gd name="connsiteY110" fmla="*/ 2610878 h 2663266"/>
                  <a:gd name="connsiteX111" fmla="*/ 443019 w 1705082"/>
                  <a:gd name="connsiteY111" fmla="*/ 2625166 h 2663266"/>
                  <a:gd name="connsiteX112" fmla="*/ 409682 w 1705082"/>
                  <a:gd name="connsiteY112" fmla="*/ 2644216 h 2663266"/>
                  <a:gd name="connsiteX113" fmla="*/ 366819 w 1705082"/>
                  <a:gd name="connsiteY113" fmla="*/ 2663266 h 2663266"/>
                  <a:gd name="connsiteX114" fmla="*/ 352532 w 1705082"/>
                  <a:gd name="connsiteY114" fmla="*/ 2653741 h 2663266"/>
                  <a:gd name="connsiteX115" fmla="*/ 338244 w 1705082"/>
                  <a:gd name="connsiteY115" fmla="*/ 2625166 h 2663266"/>
                  <a:gd name="connsiteX116" fmla="*/ 328719 w 1705082"/>
                  <a:gd name="connsiteY116" fmla="*/ 2610878 h 2663266"/>
                  <a:gd name="connsiteX117" fmla="*/ 290619 w 1705082"/>
                  <a:gd name="connsiteY117" fmla="*/ 2601353 h 2663266"/>
                  <a:gd name="connsiteX118" fmla="*/ 271569 w 1705082"/>
                  <a:gd name="connsiteY118" fmla="*/ 2582303 h 2663266"/>
                  <a:gd name="connsiteX119" fmla="*/ 266807 w 1705082"/>
                  <a:gd name="connsiteY119" fmla="*/ 2563253 h 2663266"/>
                  <a:gd name="connsiteX120" fmla="*/ 228707 w 1705082"/>
                  <a:gd name="connsiteY120" fmla="*/ 2529916 h 2663266"/>
                  <a:gd name="connsiteX121" fmla="*/ 223944 w 1705082"/>
                  <a:gd name="connsiteY121" fmla="*/ 2515628 h 2663266"/>
                  <a:gd name="connsiteX122" fmla="*/ 219182 w 1705082"/>
                  <a:gd name="connsiteY122" fmla="*/ 2496578 h 2663266"/>
                  <a:gd name="connsiteX123" fmla="*/ 204894 w 1705082"/>
                  <a:gd name="connsiteY123" fmla="*/ 2482291 h 2663266"/>
                  <a:gd name="connsiteX124" fmla="*/ 147744 w 1705082"/>
                  <a:gd name="connsiteY124" fmla="*/ 2429903 h 2663266"/>
                  <a:gd name="connsiteX125" fmla="*/ 142982 w 1705082"/>
                  <a:gd name="connsiteY125" fmla="*/ 2406091 h 2663266"/>
                  <a:gd name="connsiteX126" fmla="*/ 128694 w 1705082"/>
                  <a:gd name="connsiteY126" fmla="*/ 2348941 h 2663266"/>
                  <a:gd name="connsiteX127" fmla="*/ 114407 w 1705082"/>
                  <a:gd name="connsiteY127" fmla="*/ 2306078 h 2663266"/>
                  <a:gd name="connsiteX128" fmla="*/ 100119 w 1705082"/>
                  <a:gd name="connsiteY128" fmla="*/ 2248928 h 2663266"/>
                  <a:gd name="connsiteX129" fmla="*/ 95357 w 1705082"/>
                  <a:gd name="connsiteY129" fmla="*/ 2225116 h 2663266"/>
                  <a:gd name="connsiteX130" fmla="*/ 85832 w 1705082"/>
                  <a:gd name="connsiteY130" fmla="*/ 2201303 h 2663266"/>
                  <a:gd name="connsiteX131" fmla="*/ 81069 w 1705082"/>
                  <a:gd name="connsiteY131" fmla="*/ 2177491 h 2663266"/>
                  <a:gd name="connsiteX132" fmla="*/ 71544 w 1705082"/>
                  <a:gd name="connsiteY132" fmla="*/ 2101291 h 2663266"/>
                  <a:gd name="connsiteX133" fmla="*/ 90594 w 1705082"/>
                  <a:gd name="connsiteY133" fmla="*/ 1934603 h 2663266"/>
                  <a:gd name="connsiteX134" fmla="*/ 100119 w 1705082"/>
                  <a:gd name="connsiteY134" fmla="*/ 1920316 h 2663266"/>
                  <a:gd name="connsiteX135" fmla="*/ 119169 w 1705082"/>
                  <a:gd name="connsiteY135" fmla="*/ 1891741 h 2663266"/>
                  <a:gd name="connsiteX136" fmla="*/ 128694 w 1705082"/>
                  <a:gd name="connsiteY136" fmla="*/ 1858403 h 2663266"/>
                  <a:gd name="connsiteX137" fmla="*/ 123932 w 1705082"/>
                  <a:gd name="connsiteY137" fmla="*/ 1815541 h 2663266"/>
                  <a:gd name="connsiteX138" fmla="*/ 104882 w 1705082"/>
                  <a:gd name="connsiteY138" fmla="*/ 1810778 h 2663266"/>
                  <a:gd name="connsiteX139" fmla="*/ 95357 w 1705082"/>
                  <a:gd name="connsiteY139" fmla="*/ 1796491 h 2663266"/>
                  <a:gd name="connsiteX140" fmla="*/ 138219 w 1705082"/>
                  <a:gd name="connsiteY140" fmla="*/ 1710766 h 2663266"/>
                  <a:gd name="connsiteX141" fmla="*/ 152507 w 1705082"/>
                  <a:gd name="connsiteY141" fmla="*/ 1706003 h 2663266"/>
                  <a:gd name="connsiteX142" fmla="*/ 166794 w 1705082"/>
                  <a:gd name="connsiteY142" fmla="*/ 1686953 h 2663266"/>
                  <a:gd name="connsiteX143" fmla="*/ 181082 w 1705082"/>
                  <a:gd name="connsiteY143" fmla="*/ 1677428 h 2663266"/>
                  <a:gd name="connsiteX144" fmla="*/ 195369 w 1705082"/>
                  <a:gd name="connsiteY144" fmla="*/ 1644091 h 2663266"/>
                  <a:gd name="connsiteX145" fmla="*/ 185844 w 1705082"/>
                  <a:gd name="connsiteY145" fmla="*/ 1596466 h 2663266"/>
                  <a:gd name="connsiteX146" fmla="*/ 157269 w 1705082"/>
                  <a:gd name="connsiteY146" fmla="*/ 1586941 h 2663266"/>
                  <a:gd name="connsiteX147" fmla="*/ 147744 w 1705082"/>
                  <a:gd name="connsiteY147" fmla="*/ 1539316 h 2663266"/>
                  <a:gd name="connsiteX148" fmla="*/ 142982 w 1705082"/>
                  <a:gd name="connsiteY148" fmla="*/ 1401203 h 2663266"/>
                  <a:gd name="connsiteX149" fmla="*/ 133457 w 1705082"/>
                  <a:gd name="connsiteY149" fmla="*/ 1367866 h 2663266"/>
                  <a:gd name="connsiteX150" fmla="*/ 114407 w 1705082"/>
                  <a:gd name="connsiteY150" fmla="*/ 1301191 h 2663266"/>
                  <a:gd name="connsiteX151" fmla="*/ 109644 w 1705082"/>
                  <a:gd name="connsiteY151" fmla="*/ 1248803 h 2663266"/>
                  <a:gd name="connsiteX152" fmla="*/ 100119 w 1705082"/>
                  <a:gd name="connsiteY152" fmla="*/ 1234516 h 2663266"/>
                  <a:gd name="connsiteX153" fmla="*/ 85832 w 1705082"/>
                  <a:gd name="connsiteY153" fmla="*/ 1186891 h 2663266"/>
                  <a:gd name="connsiteX154" fmla="*/ 71544 w 1705082"/>
                  <a:gd name="connsiteY154" fmla="*/ 1167841 h 2663266"/>
                  <a:gd name="connsiteX155" fmla="*/ 52494 w 1705082"/>
                  <a:gd name="connsiteY155" fmla="*/ 1129741 h 2663266"/>
                  <a:gd name="connsiteX156" fmla="*/ 42969 w 1705082"/>
                  <a:gd name="connsiteY156" fmla="*/ 1101166 h 2663266"/>
                  <a:gd name="connsiteX157" fmla="*/ 38207 w 1705082"/>
                  <a:gd name="connsiteY157" fmla="*/ 1086878 h 2663266"/>
                  <a:gd name="connsiteX158" fmla="*/ 14394 w 1705082"/>
                  <a:gd name="connsiteY158" fmla="*/ 1015441 h 2663266"/>
                  <a:gd name="connsiteX159" fmla="*/ 4869 w 1705082"/>
                  <a:gd name="connsiteY159" fmla="*/ 982103 h 2663266"/>
                  <a:gd name="connsiteX160" fmla="*/ 107 w 1705082"/>
                  <a:gd name="connsiteY160" fmla="*/ 967816 h 2663266"/>
                  <a:gd name="connsiteX161" fmla="*/ 14394 w 1705082"/>
                  <a:gd name="connsiteY161" fmla="*/ 924953 h 2663266"/>
                  <a:gd name="connsiteX162" fmla="*/ 38207 w 1705082"/>
                  <a:gd name="connsiteY162" fmla="*/ 872566 h 2663266"/>
                  <a:gd name="connsiteX163" fmla="*/ 52494 w 1705082"/>
                  <a:gd name="connsiteY163" fmla="*/ 858278 h 2663266"/>
                  <a:gd name="connsiteX164" fmla="*/ 62019 w 1705082"/>
                  <a:gd name="connsiteY164" fmla="*/ 843991 h 2663266"/>
                  <a:gd name="connsiteX165" fmla="*/ 66782 w 1705082"/>
                  <a:gd name="connsiteY165" fmla="*/ 824941 h 2663266"/>
                  <a:gd name="connsiteX166" fmla="*/ 100119 w 1705082"/>
                  <a:gd name="connsiteY166" fmla="*/ 782078 h 2663266"/>
                  <a:gd name="connsiteX167" fmla="*/ 123932 w 1705082"/>
                  <a:gd name="connsiteY167" fmla="*/ 743978 h 2663266"/>
                  <a:gd name="connsiteX168" fmla="*/ 138219 w 1705082"/>
                  <a:gd name="connsiteY168" fmla="*/ 710641 h 2663266"/>
                  <a:gd name="connsiteX169" fmla="*/ 147744 w 1705082"/>
                  <a:gd name="connsiteY169" fmla="*/ 696353 h 2663266"/>
                  <a:gd name="connsiteX170" fmla="*/ 152507 w 1705082"/>
                  <a:gd name="connsiteY170" fmla="*/ 677303 h 2663266"/>
                  <a:gd name="connsiteX171" fmla="*/ 162032 w 1705082"/>
                  <a:gd name="connsiteY171" fmla="*/ 663016 h 2663266"/>
                  <a:gd name="connsiteX172" fmla="*/ 195369 w 1705082"/>
                  <a:gd name="connsiteY172" fmla="*/ 620153 h 2663266"/>
                  <a:gd name="connsiteX173" fmla="*/ 214419 w 1705082"/>
                  <a:gd name="connsiteY173" fmla="*/ 591578 h 2663266"/>
                  <a:gd name="connsiteX174" fmla="*/ 266807 w 1705082"/>
                  <a:gd name="connsiteY174" fmla="*/ 534428 h 2663266"/>
                  <a:gd name="connsiteX175" fmla="*/ 281094 w 1705082"/>
                  <a:gd name="connsiteY175" fmla="*/ 520141 h 2663266"/>
                  <a:gd name="connsiteX176" fmla="*/ 304907 w 1705082"/>
                  <a:gd name="connsiteY176" fmla="*/ 505853 h 2663266"/>
                  <a:gd name="connsiteX177" fmla="*/ 319194 w 1705082"/>
                  <a:gd name="connsiteY177" fmla="*/ 496328 h 2663266"/>
                  <a:gd name="connsiteX178" fmla="*/ 362057 w 1705082"/>
                  <a:gd name="connsiteY178" fmla="*/ 472516 h 2663266"/>
                  <a:gd name="connsiteX179" fmla="*/ 371582 w 1705082"/>
                  <a:gd name="connsiteY179" fmla="*/ 448703 h 2663266"/>
                  <a:gd name="connsiteX180" fmla="*/ 381107 w 1705082"/>
                  <a:gd name="connsiteY180" fmla="*/ 429653 h 2663266"/>
                  <a:gd name="connsiteX181" fmla="*/ 385869 w 1705082"/>
                  <a:gd name="connsiteY181" fmla="*/ 415366 h 2663266"/>
                  <a:gd name="connsiteX182" fmla="*/ 404919 w 1705082"/>
                  <a:gd name="connsiteY182" fmla="*/ 396316 h 2663266"/>
                  <a:gd name="connsiteX183" fmla="*/ 457307 w 1705082"/>
                  <a:gd name="connsiteY183" fmla="*/ 358216 h 2663266"/>
                  <a:gd name="connsiteX184" fmla="*/ 504932 w 1705082"/>
                  <a:gd name="connsiteY184" fmla="*/ 334403 h 2663266"/>
                  <a:gd name="connsiteX185" fmla="*/ 523982 w 1705082"/>
                  <a:gd name="connsiteY185" fmla="*/ 315353 h 2663266"/>
                  <a:gd name="connsiteX186" fmla="*/ 585894 w 1705082"/>
                  <a:gd name="connsiteY186" fmla="*/ 267728 h 2663266"/>
                  <a:gd name="connsiteX187" fmla="*/ 600182 w 1705082"/>
                  <a:gd name="connsiteY187" fmla="*/ 253441 h 2663266"/>
                  <a:gd name="connsiteX188" fmla="*/ 633519 w 1705082"/>
                  <a:gd name="connsiteY188" fmla="*/ 220103 h 2663266"/>
                  <a:gd name="connsiteX189" fmla="*/ 647807 w 1705082"/>
                  <a:gd name="connsiteY189" fmla="*/ 215341 h 2663266"/>
                  <a:gd name="connsiteX190" fmla="*/ 671619 w 1705082"/>
                  <a:gd name="connsiteY190" fmla="*/ 201053 h 2663266"/>
                  <a:gd name="connsiteX191" fmla="*/ 695432 w 1705082"/>
                  <a:gd name="connsiteY191" fmla="*/ 191528 h 2663266"/>
                  <a:gd name="connsiteX192" fmla="*/ 733532 w 1705082"/>
                  <a:gd name="connsiteY192" fmla="*/ 172478 h 2663266"/>
                  <a:gd name="connsiteX193" fmla="*/ 1057382 w 1705082"/>
                  <a:gd name="connsiteY193" fmla="*/ 67703 h 2663266"/>
                  <a:gd name="connsiteX194" fmla="*/ 1152632 w 1705082"/>
                  <a:gd name="connsiteY194" fmla="*/ 24841 h 2663266"/>
                  <a:gd name="connsiteX195" fmla="*/ 1195494 w 1705082"/>
                  <a:gd name="connsiteY195" fmla="*/ 1028 h 2663266"/>
                  <a:gd name="connsiteX0" fmla="*/ 1195494 w 1705082"/>
                  <a:gd name="connsiteY0" fmla="*/ 1028 h 2663266"/>
                  <a:gd name="connsiteX1" fmla="*/ 1190732 w 1705082"/>
                  <a:gd name="connsiteY1" fmla="*/ 58178 h 2663266"/>
                  <a:gd name="connsiteX2" fmla="*/ 1166919 w 1705082"/>
                  <a:gd name="connsiteY2" fmla="*/ 101041 h 2663266"/>
                  <a:gd name="connsiteX3" fmla="*/ 1157394 w 1705082"/>
                  <a:gd name="connsiteY3" fmla="*/ 120091 h 2663266"/>
                  <a:gd name="connsiteX4" fmla="*/ 1157394 w 1705082"/>
                  <a:gd name="connsiteY4" fmla="*/ 196291 h 2663266"/>
                  <a:gd name="connsiteX5" fmla="*/ 1176444 w 1705082"/>
                  <a:gd name="connsiteY5" fmla="*/ 215341 h 2663266"/>
                  <a:gd name="connsiteX6" fmla="*/ 1195494 w 1705082"/>
                  <a:gd name="connsiteY6" fmla="*/ 248678 h 2663266"/>
                  <a:gd name="connsiteX7" fmla="*/ 1214544 w 1705082"/>
                  <a:gd name="connsiteY7" fmla="*/ 258203 h 2663266"/>
                  <a:gd name="connsiteX8" fmla="*/ 1224069 w 1705082"/>
                  <a:gd name="connsiteY8" fmla="*/ 272491 h 2663266"/>
                  <a:gd name="connsiteX9" fmla="*/ 1238357 w 1705082"/>
                  <a:gd name="connsiteY9" fmla="*/ 286778 h 2663266"/>
                  <a:gd name="connsiteX10" fmla="*/ 1247882 w 1705082"/>
                  <a:gd name="connsiteY10" fmla="*/ 305828 h 2663266"/>
                  <a:gd name="connsiteX11" fmla="*/ 1243119 w 1705082"/>
                  <a:gd name="connsiteY11" fmla="*/ 334403 h 2663266"/>
                  <a:gd name="connsiteX12" fmla="*/ 1238357 w 1705082"/>
                  <a:gd name="connsiteY12" fmla="*/ 353453 h 2663266"/>
                  <a:gd name="connsiteX13" fmla="*/ 1243119 w 1705082"/>
                  <a:gd name="connsiteY13" fmla="*/ 415366 h 2663266"/>
                  <a:gd name="connsiteX14" fmla="*/ 1262169 w 1705082"/>
                  <a:gd name="connsiteY14" fmla="*/ 453466 h 2663266"/>
                  <a:gd name="connsiteX15" fmla="*/ 1271694 w 1705082"/>
                  <a:gd name="connsiteY15" fmla="*/ 467753 h 2663266"/>
                  <a:gd name="connsiteX16" fmla="*/ 1285982 w 1705082"/>
                  <a:gd name="connsiteY16" fmla="*/ 477278 h 2663266"/>
                  <a:gd name="connsiteX17" fmla="*/ 1343132 w 1705082"/>
                  <a:gd name="connsiteY17" fmla="*/ 501091 h 2663266"/>
                  <a:gd name="connsiteX18" fmla="*/ 1371707 w 1705082"/>
                  <a:gd name="connsiteY18" fmla="*/ 510616 h 2663266"/>
                  <a:gd name="connsiteX19" fmla="*/ 1400282 w 1705082"/>
                  <a:gd name="connsiteY19" fmla="*/ 529666 h 2663266"/>
                  <a:gd name="connsiteX20" fmla="*/ 1462194 w 1705082"/>
                  <a:gd name="connsiteY20" fmla="*/ 558241 h 2663266"/>
                  <a:gd name="connsiteX21" fmla="*/ 1514582 w 1705082"/>
                  <a:gd name="connsiteY21" fmla="*/ 577291 h 2663266"/>
                  <a:gd name="connsiteX22" fmla="*/ 1533632 w 1705082"/>
                  <a:gd name="connsiteY22" fmla="*/ 586816 h 2663266"/>
                  <a:gd name="connsiteX23" fmla="*/ 1552682 w 1705082"/>
                  <a:gd name="connsiteY23" fmla="*/ 591578 h 2663266"/>
                  <a:gd name="connsiteX24" fmla="*/ 1600307 w 1705082"/>
                  <a:gd name="connsiteY24" fmla="*/ 629678 h 2663266"/>
                  <a:gd name="connsiteX25" fmla="*/ 1628882 w 1705082"/>
                  <a:gd name="connsiteY25" fmla="*/ 663016 h 2663266"/>
                  <a:gd name="connsiteX26" fmla="*/ 1643169 w 1705082"/>
                  <a:gd name="connsiteY26" fmla="*/ 677303 h 2663266"/>
                  <a:gd name="connsiteX27" fmla="*/ 1662219 w 1705082"/>
                  <a:gd name="connsiteY27" fmla="*/ 686828 h 2663266"/>
                  <a:gd name="connsiteX28" fmla="*/ 1676507 w 1705082"/>
                  <a:gd name="connsiteY28" fmla="*/ 696353 h 2663266"/>
                  <a:gd name="connsiteX29" fmla="*/ 1690794 w 1705082"/>
                  <a:gd name="connsiteY29" fmla="*/ 734453 h 2663266"/>
                  <a:gd name="connsiteX30" fmla="*/ 1700319 w 1705082"/>
                  <a:gd name="connsiteY30" fmla="*/ 758266 h 2663266"/>
                  <a:gd name="connsiteX31" fmla="*/ 1705082 w 1705082"/>
                  <a:gd name="connsiteY31" fmla="*/ 772553 h 2663266"/>
                  <a:gd name="connsiteX32" fmla="*/ 1695557 w 1705082"/>
                  <a:gd name="connsiteY32" fmla="*/ 843991 h 2663266"/>
                  <a:gd name="connsiteX33" fmla="*/ 1657457 w 1705082"/>
                  <a:gd name="connsiteY33" fmla="*/ 877328 h 2663266"/>
                  <a:gd name="connsiteX34" fmla="*/ 1643169 w 1705082"/>
                  <a:gd name="connsiteY34" fmla="*/ 891616 h 2663266"/>
                  <a:gd name="connsiteX35" fmla="*/ 1590782 w 1705082"/>
                  <a:gd name="connsiteY35" fmla="*/ 896378 h 2663266"/>
                  <a:gd name="connsiteX36" fmla="*/ 1547919 w 1705082"/>
                  <a:gd name="connsiteY36" fmla="*/ 915428 h 2663266"/>
                  <a:gd name="connsiteX37" fmla="*/ 1524107 w 1705082"/>
                  <a:gd name="connsiteY37" fmla="*/ 929716 h 2663266"/>
                  <a:gd name="connsiteX38" fmla="*/ 1490769 w 1705082"/>
                  <a:gd name="connsiteY38" fmla="*/ 977341 h 2663266"/>
                  <a:gd name="connsiteX39" fmla="*/ 1471719 w 1705082"/>
                  <a:gd name="connsiteY39" fmla="*/ 996391 h 2663266"/>
                  <a:gd name="connsiteX40" fmla="*/ 1338369 w 1705082"/>
                  <a:gd name="connsiteY40" fmla="*/ 1020203 h 2663266"/>
                  <a:gd name="connsiteX41" fmla="*/ 1290744 w 1705082"/>
                  <a:gd name="connsiteY41" fmla="*/ 1044016 h 2663266"/>
                  <a:gd name="connsiteX42" fmla="*/ 1224069 w 1705082"/>
                  <a:gd name="connsiteY42" fmla="*/ 1072591 h 2663266"/>
                  <a:gd name="connsiteX43" fmla="*/ 1119294 w 1705082"/>
                  <a:gd name="connsiteY43" fmla="*/ 1086878 h 2663266"/>
                  <a:gd name="connsiteX44" fmla="*/ 1095482 w 1705082"/>
                  <a:gd name="connsiteY44" fmla="*/ 1091641 h 2663266"/>
                  <a:gd name="connsiteX45" fmla="*/ 1071669 w 1705082"/>
                  <a:gd name="connsiteY45" fmla="*/ 1101166 h 2663266"/>
                  <a:gd name="connsiteX46" fmla="*/ 957369 w 1705082"/>
                  <a:gd name="connsiteY46" fmla="*/ 1096403 h 2663266"/>
                  <a:gd name="connsiteX47" fmla="*/ 852594 w 1705082"/>
                  <a:gd name="connsiteY47" fmla="*/ 1048778 h 2663266"/>
                  <a:gd name="connsiteX48" fmla="*/ 804969 w 1705082"/>
                  <a:gd name="connsiteY48" fmla="*/ 1024966 h 2663266"/>
                  <a:gd name="connsiteX49" fmla="*/ 781157 w 1705082"/>
                  <a:gd name="connsiteY49" fmla="*/ 1010678 h 2663266"/>
                  <a:gd name="connsiteX50" fmla="*/ 762107 w 1705082"/>
                  <a:gd name="connsiteY50" fmla="*/ 996391 h 2663266"/>
                  <a:gd name="connsiteX51" fmla="*/ 671619 w 1705082"/>
                  <a:gd name="connsiteY51" fmla="*/ 948766 h 2663266"/>
                  <a:gd name="connsiteX52" fmla="*/ 638282 w 1705082"/>
                  <a:gd name="connsiteY52" fmla="*/ 929716 h 2663266"/>
                  <a:gd name="connsiteX53" fmla="*/ 519219 w 1705082"/>
                  <a:gd name="connsiteY53" fmla="*/ 901141 h 2663266"/>
                  <a:gd name="connsiteX54" fmla="*/ 476357 w 1705082"/>
                  <a:gd name="connsiteY54" fmla="*/ 882091 h 2663266"/>
                  <a:gd name="connsiteX55" fmla="*/ 414444 w 1705082"/>
                  <a:gd name="connsiteY55" fmla="*/ 872566 h 2663266"/>
                  <a:gd name="connsiteX56" fmla="*/ 314432 w 1705082"/>
                  <a:gd name="connsiteY56" fmla="*/ 886853 h 2663266"/>
                  <a:gd name="connsiteX57" fmla="*/ 300144 w 1705082"/>
                  <a:gd name="connsiteY57" fmla="*/ 901141 h 2663266"/>
                  <a:gd name="connsiteX58" fmla="*/ 276332 w 1705082"/>
                  <a:gd name="connsiteY58" fmla="*/ 939241 h 2663266"/>
                  <a:gd name="connsiteX59" fmla="*/ 262044 w 1705082"/>
                  <a:gd name="connsiteY59" fmla="*/ 977341 h 2663266"/>
                  <a:gd name="connsiteX60" fmla="*/ 257282 w 1705082"/>
                  <a:gd name="connsiteY60" fmla="*/ 1029728 h 2663266"/>
                  <a:gd name="connsiteX61" fmla="*/ 257282 w 1705082"/>
                  <a:gd name="connsiteY61" fmla="*/ 1110691 h 2663266"/>
                  <a:gd name="connsiteX62" fmla="*/ 290619 w 1705082"/>
                  <a:gd name="connsiteY62" fmla="*/ 1144028 h 2663266"/>
                  <a:gd name="connsiteX63" fmla="*/ 319194 w 1705082"/>
                  <a:gd name="connsiteY63" fmla="*/ 1153553 h 2663266"/>
                  <a:gd name="connsiteX64" fmla="*/ 319194 w 1705082"/>
                  <a:gd name="connsiteY64" fmla="*/ 1234516 h 2663266"/>
                  <a:gd name="connsiteX65" fmla="*/ 304907 w 1705082"/>
                  <a:gd name="connsiteY65" fmla="*/ 1248803 h 2663266"/>
                  <a:gd name="connsiteX66" fmla="*/ 252519 w 1705082"/>
                  <a:gd name="connsiteY66" fmla="*/ 1286903 h 2663266"/>
                  <a:gd name="connsiteX67" fmla="*/ 233469 w 1705082"/>
                  <a:gd name="connsiteY67" fmla="*/ 1315478 h 2663266"/>
                  <a:gd name="connsiteX68" fmla="*/ 242994 w 1705082"/>
                  <a:gd name="connsiteY68" fmla="*/ 1415491 h 2663266"/>
                  <a:gd name="connsiteX69" fmla="*/ 271569 w 1705082"/>
                  <a:gd name="connsiteY69" fmla="*/ 1463116 h 2663266"/>
                  <a:gd name="connsiteX70" fmla="*/ 285857 w 1705082"/>
                  <a:gd name="connsiteY70" fmla="*/ 1482166 h 2663266"/>
                  <a:gd name="connsiteX71" fmla="*/ 376344 w 1705082"/>
                  <a:gd name="connsiteY71" fmla="*/ 1515503 h 2663266"/>
                  <a:gd name="connsiteX72" fmla="*/ 400157 w 1705082"/>
                  <a:gd name="connsiteY72" fmla="*/ 1482166 h 2663266"/>
                  <a:gd name="connsiteX73" fmla="*/ 404919 w 1705082"/>
                  <a:gd name="connsiteY73" fmla="*/ 1458353 h 2663266"/>
                  <a:gd name="connsiteX74" fmla="*/ 409682 w 1705082"/>
                  <a:gd name="connsiteY74" fmla="*/ 1439303 h 2663266"/>
                  <a:gd name="connsiteX75" fmla="*/ 438257 w 1705082"/>
                  <a:gd name="connsiteY75" fmla="*/ 1429778 h 2663266"/>
                  <a:gd name="connsiteX76" fmla="*/ 538269 w 1705082"/>
                  <a:gd name="connsiteY76" fmla="*/ 1448828 h 2663266"/>
                  <a:gd name="connsiteX77" fmla="*/ 547794 w 1705082"/>
                  <a:gd name="connsiteY77" fmla="*/ 1472641 h 2663266"/>
                  <a:gd name="connsiteX78" fmla="*/ 557319 w 1705082"/>
                  <a:gd name="connsiteY78" fmla="*/ 1505978 h 2663266"/>
                  <a:gd name="connsiteX79" fmla="*/ 543032 w 1705082"/>
                  <a:gd name="connsiteY79" fmla="*/ 1525028 h 2663266"/>
                  <a:gd name="connsiteX80" fmla="*/ 543032 w 1705082"/>
                  <a:gd name="connsiteY80" fmla="*/ 1591703 h 2663266"/>
                  <a:gd name="connsiteX81" fmla="*/ 552557 w 1705082"/>
                  <a:gd name="connsiteY81" fmla="*/ 1610753 h 2663266"/>
                  <a:gd name="connsiteX82" fmla="*/ 619232 w 1705082"/>
                  <a:gd name="connsiteY82" fmla="*/ 1629803 h 2663266"/>
                  <a:gd name="connsiteX83" fmla="*/ 638282 w 1705082"/>
                  <a:gd name="connsiteY83" fmla="*/ 1582178 h 2663266"/>
                  <a:gd name="connsiteX84" fmla="*/ 695432 w 1705082"/>
                  <a:gd name="connsiteY84" fmla="*/ 1610753 h 2663266"/>
                  <a:gd name="connsiteX85" fmla="*/ 724007 w 1705082"/>
                  <a:gd name="connsiteY85" fmla="*/ 1620278 h 2663266"/>
                  <a:gd name="connsiteX86" fmla="*/ 776394 w 1705082"/>
                  <a:gd name="connsiteY86" fmla="*/ 1653616 h 2663266"/>
                  <a:gd name="connsiteX87" fmla="*/ 852594 w 1705082"/>
                  <a:gd name="connsiteY87" fmla="*/ 1677428 h 2663266"/>
                  <a:gd name="connsiteX88" fmla="*/ 871644 w 1705082"/>
                  <a:gd name="connsiteY88" fmla="*/ 1691716 h 2663266"/>
                  <a:gd name="connsiteX89" fmla="*/ 881169 w 1705082"/>
                  <a:gd name="connsiteY89" fmla="*/ 1729816 h 2663266"/>
                  <a:gd name="connsiteX90" fmla="*/ 890694 w 1705082"/>
                  <a:gd name="connsiteY90" fmla="*/ 1772678 h 2663266"/>
                  <a:gd name="connsiteX91" fmla="*/ 933557 w 1705082"/>
                  <a:gd name="connsiteY91" fmla="*/ 1882216 h 2663266"/>
                  <a:gd name="connsiteX92" fmla="*/ 943082 w 1705082"/>
                  <a:gd name="connsiteY92" fmla="*/ 1896503 h 2663266"/>
                  <a:gd name="connsiteX93" fmla="*/ 952607 w 1705082"/>
                  <a:gd name="connsiteY93" fmla="*/ 1929841 h 2663266"/>
                  <a:gd name="connsiteX94" fmla="*/ 966894 w 1705082"/>
                  <a:gd name="connsiteY94" fmla="*/ 1967941 h 2663266"/>
                  <a:gd name="connsiteX95" fmla="*/ 957369 w 1705082"/>
                  <a:gd name="connsiteY95" fmla="*/ 2072716 h 2663266"/>
                  <a:gd name="connsiteX96" fmla="*/ 947844 w 1705082"/>
                  <a:gd name="connsiteY96" fmla="*/ 2091766 h 2663266"/>
                  <a:gd name="connsiteX97" fmla="*/ 919269 w 1705082"/>
                  <a:gd name="connsiteY97" fmla="*/ 2134628 h 2663266"/>
                  <a:gd name="connsiteX98" fmla="*/ 900219 w 1705082"/>
                  <a:gd name="connsiteY98" fmla="*/ 2182253 h 2663266"/>
                  <a:gd name="connsiteX99" fmla="*/ 895457 w 1705082"/>
                  <a:gd name="connsiteY99" fmla="*/ 2201303 h 2663266"/>
                  <a:gd name="connsiteX100" fmla="*/ 885932 w 1705082"/>
                  <a:gd name="connsiteY100" fmla="*/ 2229878 h 2663266"/>
                  <a:gd name="connsiteX101" fmla="*/ 890694 w 1705082"/>
                  <a:gd name="connsiteY101" fmla="*/ 2277503 h 2663266"/>
                  <a:gd name="connsiteX102" fmla="*/ 885932 w 1705082"/>
                  <a:gd name="connsiteY102" fmla="*/ 2387041 h 2663266"/>
                  <a:gd name="connsiteX103" fmla="*/ 681144 w 1705082"/>
                  <a:gd name="connsiteY103" fmla="*/ 2439428 h 2663266"/>
                  <a:gd name="connsiteX104" fmla="*/ 647807 w 1705082"/>
                  <a:gd name="connsiteY104" fmla="*/ 2463241 h 2663266"/>
                  <a:gd name="connsiteX105" fmla="*/ 600182 w 1705082"/>
                  <a:gd name="connsiteY105" fmla="*/ 2501341 h 2663266"/>
                  <a:gd name="connsiteX106" fmla="*/ 566844 w 1705082"/>
                  <a:gd name="connsiteY106" fmla="*/ 2525153 h 2663266"/>
                  <a:gd name="connsiteX107" fmla="*/ 533507 w 1705082"/>
                  <a:gd name="connsiteY107" fmla="*/ 2544203 h 2663266"/>
                  <a:gd name="connsiteX108" fmla="*/ 490644 w 1705082"/>
                  <a:gd name="connsiteY108" fmla="*/ 2577541 h 2663266"/>
                  <a:gd name="connsiteX109" fmla="*/ 476357 w 1705082"/>
                  <a:gd name="connsiteY109" fmla="*/ 2591828 h 2663266"/>
                  <a:gd name="connsiteX110" fmla="*/ 452544 w 1705082"/>
                  <a:gd name="connsiteY110" fmla="*/ 2610878 h 2663266"/>
                  <a:gd name="connsiteX111" fmla="*/ 443019 w 1705082"/>
                  <a:gd name="connsiteY111" fmla="*/ 2625166 h 2663266"/>
                  <a:gd name="connsiteX112" fmla="*/ 409682 w 1705082"/>
                  <a:gd name="connsiteY112" fmla="*/ 2644216 h 2663266"/>
                  <a:gd name="connsiteX113" fmla="*/ 366819 w 1705082"/>
                  <a:gd name="connsiteY113" fmla="*/ 2663266 h 2663266"/>
                  <a:gd name="connsiteX114" fmla="*/ 352532 w 1705082"/>
                  <a:gd name="connsiteY114" fmla="*/ 2653741 h 2663266"/>
                  <a:gd name="connsiteX115" fmla="*/ 338244 w 1705082"/>
                  <a:gd name="connsiteY115" fmla="*/ 2625166 h 2663266"/>
                  <a:gd name="connsiteX116" fmla="*/ 328719 w 1705082"/>
                  <a:gd name="connsiteY116" fmla="*/ 2610878 h 2663266"/>
                  <a:gd name="connsiteX117" fmla="*/ 290619 w 1705082"/>
                  <a:gd name="connsiteY117" fmla="*/ 2601353 h 2663266"/>
                  <a:gd name="connsiteX118" fmla="*/ 271569 w 1705082"/>
                  <a:gd name="connsiteY118" fmla="*/ 2582303 h 2663266"/>
                  <a:gd name="connsiteX119" fmla="*/ 266807 w 1705082"/>
                  <a:gd name="connsiteY119" fmla="*/ 2563253 h 2663266"/>
                  <a:gd name="connsiteX120" fmla="*/ 228707 w 1705082"/>
                  <a:gd name="connsiteY120" fmla="*/ 2529916 h 2663266"/>
                  <a:gd name="connsiteX121" fmla="*/ 223944 w 1705082"/>
                  <a:gd name="connsiteY121" fmla="*/ 2515628 h 2663266"/>
                  <a:gd name="connsiteX122" fmla="*/ 219182 w 1705082"/>
                  <a:gd name="connsiteY122" fmla="*/ 2496578 h 2663266"/>
                  <a:gd name="connsiteX123" fmla="*/ 204894 w 1705082"/>
                  <a:gd name="connsiteY123" fmla="*/ 2482291 h 2663266"/>
                  <a:gd name="connsiteX124" fmla="*/ 147744 w 1705082"/>
                  <a:gd name="connsiteY124" fmla="*/ 2429903 h 2663266"/>
                  <a:gd name="connsiteX125" fmla="*/ 142982 w 1705082"/>
                  <a:gd name="connsiteY125" fmla="*/ 2406091 h 2663266"/>
                  <a:gd name="connsiteX126" fmla="*/ 128694 w 1705082"/>
                  <a:gd name="connsiteY126" fmla="*/ 2348941 h 2663266"/>
                  <a:gd name="connsiteX127" fmla="*/ 114407 w 1705082"/>
                  <a:gd name="connsiteY127" fmla="*/ 2306078 h 2663266"/>
                  <a:gd name="connsiteX128" fmla="*/ 100119 w 1705082"/>
                  <a:gd name="connsiteY128" fmla="*/ 2248928 h 2663266"/>
                  <a:gd name="connsiteX129" fmla="*/ 95357 w 1705082"/>
                  <a:gd name="connsiteY129" fmla="*/ 2225116 h 2663266"/>
                  <a:gd name="connsiteX130" fmla="*/ 85832 w 1705082"/>
                  <a:gd name="connsiteY130" fmla="*/ 2201303 h 2663266"/>
                  <a:gd name="connsiteX131" fmla="*/ 81069 w 1705082"/>
                  <a:gd name="connsiteY131" fmla="*/ 2177491 h 2663266"/>
                  <a:gd name="connsiteX132" fmla="*/ 71544 w 1705082"/>
                  <a:gd name="connsiteY132" fmla="*/ 2101291 h 2663266"/>
                  <a:gd name="connsiteX133" fmla="*/ 90594 w 1705082"/>
                  <a:gd name="connsiteY133" fmla="*/ 1934603 h 2663266"/>
                  <a:gd name="connsiteX134" fmla="*/ 100119 w 1705082"/>
                  <a:gd name="connsiteY134" fmla="*/ 1920316 h 2663266"/>
                  <a:gd name="connsiteX135" fmla="*/ 119169 w 1705082"/>
                  <a:gd name="connsiteY135" fmla="*/ 1891741 h 2663266"/>
                  <a:gd name="connsiteX136" fmla="*/ 128694 w 1705082"/>
                  <a:gd name="connsiteY136" fmla="*/ 1858403 h 2663266"/>
                  <a:gd name="connsiteX137" fmla="*/ 123932 w 1705082"/>
                  <a:gd name="connsiteY137" fmla="*/ 1815541 h 2663266"/>
                  <a:gd name="connsiteX138" fmla="*/ 104882 w 1705082"/>
                  <a:gd name="connsiteY138" fmla="*/ 1810778 h 2663266"/>
                  <a:gd name="connsiteX139" fmla="*/ 95357 w 1705082"/>
                  <a:gd name="connsiteY139" fmla="*/ 1796491 h 2663266"/>
                  <a:gd name="connsiteX140" fmla="*/ 138219 w 1705082"/>
                  <a:gd name="connsiteY140" fmla="*/ 1710766 h 2663266"/>
                  <a:gd name="connsiteX141" fmla="*/ 152507 w 1705082"/>
                  <a:gd name="connsiteY141" fmla="*/ 1706003 h 2663266"/>
                  <a:gd name="connsiteX142" fmla="*/ 166794 w 1705082"/>
                  <a:gd name="connsiteY142" fmla="*/ 1686953 h 2663266"/>
                  <a:gd name="connsiteX143" fmla="*/ 181082 w 1705082"/>
                  <a:gd name="connsiteY143" fmla="*/ 1677428 h 2663266"/>
                  <a:gd name="connsiteX144" fmla="*/ 195369 w 1705082"/>
                  <a:gd name="connsiteY144" fmla="*/ 1644091 h 2663266"/>
                  <a:gd name="connsiteX145" fmla="*/ 185844 w 1705082"/>
                  <a:gd name="connsiteY145" fmla="*/ 1596466 h 2663266"/>
                  <a:gd name="connsiteX146" fmla="*/ 157269 w 1705082"/>
                  <a:gd name="connsiteY146" fmla="*/ 1586941 h 2663266"/>
                  <a:gd name="connsiteX147" fmla="*/ 147744 w 1705082"/>
                  <a:gd name="connsiteY147" fmla="*/ 1539316 h 2663266"/>
                  <a:gd name="connsiteX148" fmla="*/ 142982 w 1705082"/>
                  <a:gd name="connsiteY148" fmla="*/ 1401203 h 2663266"/>
                  <a:gd name="connsiteX149" fmla="*/ 133457 w 1705082"/>
                  <a:gd name="connsiteY149" fmla="*/ 1367866 h 2663266"/>
                  <a:gd name="connsiteX150" fmla="*/ 114407 w 1705082"/>
                  <a:gd name="connsiteY150" fmla="*/ 1301191 h 2663266"/>
                  <a:gd name="connsiteX151" fmla="*/ 109644 w 1705082"/>
                  <a:gd name="connsiteY151" fmla="*/ 1248803 h 2663266"/>
                  <a:gd name="connsiteX152" fmla="*/ 100119 w 1705082"/>
                  <a:gd name="connsiteY152" fmla="*/ 1234516 h 2663266"/>
                  <a:gd name="connsiteX153" fmla="*/ 85832 w 1705082"/>
                  <a:gd name="connsiteY153" fmla="*/ 1186891 h 2663266"/>
                  <a:gd name="connsiteX154" fmla="*/ 71544 w 1705082"/>
                  <a:gd name="connsiteY154" fmla="*/ 1167841 h 2663266"/>
                  <a:gd name="connsiteX155" fmla="*/ 52494 w 1705082"/>
                  <a:gd name="connsiteY155" fmla="*/ 1129741 h 2663266"/>
                  <a:gd name="connsiteX156" fmla="*/ 42969 w 1705082"/>
                  <a:gd name="connsiteY156" fmla="*/ 1101166 h 2663266"/>
                  <a:gd name="connsiteX157" fmla="*/ 38207 w 1705082"/>
                  <a:gd name="connsiteY157" fmla="*/ 1086878 h 2663266"/>
                  <a:gd name="connsiteX158" fmla="*/ 14394 w 1705082"/>
                  <a:gd name="connsiteY158" fmla="*/ 1015441 h 2663266"/>
                  <a:gd name="connsiteX159" fmla="*/ 4869 w 1705082"/>
                  <a:gd name="connsiteY159" fmla="*/ 982103 h 2663266"/>
                  <a:gd name="connsiteX160" fmla="*/ 107 w 1705082"/>
                  <a:gd name="connsiteY160" fmla="*/ 967816 h 2663266"/>
                  <a:gd name="connsiteX161" fmla="*/ 14394 w 1705082"/>
                  <a:gd name="connsiteY161" fmla="*/ 924953 h 2663266"/>
                  <a:gd name="connsiteX162" fmla="*/ 38207 w 1705082"/>
                  <a:gd name="connsiteY162" fmla="*/ 872566 h 2663266"/>
                  <a:gd name="connsiteX163" fmla="*/ 52494 w 1705082"/>
                  <a:gd name="connsiteY163" fmla="*/ 858278 h 2663266"/>
                  <a:gd name="connsiteX164" fmla="*/ 62019 w 1705082"/>
                  <a:gd name="connsiteY164" fmla="*/ 843991 h 2663266"/>
                  <a:gd name="connsiteX165" fmla="*/ 66782 w 1705082"/>
                  <a:gd name="connsiteY165" fmla="*/ 824941 h 2663266"/>
                  <a:gd name="connsiteX166" fmla="*/ 100119 w 1705082"/>
                  <a:gd name="connsiteY166" fmla="*/ 782078 h 2663266"/>
                  <a:gd name="connsiteX167" fmla="*/ 123932 w 1705082"/>
                  <a:gd name="connsiteY167" fmla="*/ 743978 h 2663266"/>
                  <a:gd name="connsiteX168" fmla="*/ 138219 w 1705082"/>
                  <a:gd name="connsiteY168" fmla="*/ 710641 h 2663266"/>
                  <a:gd name="connsiteX169" fmla="*/ 147744 w 1705082"/>
                  <a:gd name="connsiteY169" fmla="*/ 696353 h 2663266"/>
                  <a:gd name="connsiteX170" fmla="*/ 152507 w 1705082"/>
                  <a:gd name="connsiteY170" fmla="*/ 677303 h 2663266"/>
                  <a:gd name="connsiteX171" fmla="*/ 162032 w 1705082"/>
                  <a:gd name="connsiteY171" fmla="*/ 663016 h 2663266"/>
                  <a:gd name="connsiteX172" fmla="*/ 195369 w 1705082"/>
                  <a:gd name="connsiteY172" fmla="*/ 620153 h 2663266"/>
                  <a:gd name="connsiteX173" fmla="*/ 214419 w 1705082"/>
                  <a:gd name="connsiteY173" fmla="*/ 591578 h 2663266"/>
                  <a:gd name="connsiteX174" fmla="*/ 266807 w 1705082"/>
                  <a:gd name="connsiteY174" fmla="*/ 534428 h 2663266"/>
                  <a:gd name="connsiteX175" fmla="*/ 281094 w 1705082"/>
                  <a:gd name="connsiteY175" fmla="*/ 520141 h 2663266"/>
                  <a:gd name="connsiteX176" fmla="*/ 304907 w 1705082"/>
                  <a:gd name="connsiteY176" fmla="*/ 505853 h 2663266"/>
                  <a:gd name="connsiteX177" fmla="*/ 319194 w 1705082"/>
                  <a:gd name="connsiteY177" fmla="*/ 496328 h 2663266"/>
                  <a:gd name="connsiteX178" fmla="*/ 362057 w 1705082"/>
                  <a:gd name="connsiteY178" fmla="*/ 472516 h 2663266"/>
                  <a:gd name="connsiteX179" fmla="*/ 371582 w 1705082"/>
                  <a:gd name="connsiteY179" fmla="*/ 448703 h 2663266"/>
                  <a:gd name="connsiteX180" fmla="*/ 381107 w 1705082"/>
                  <a:gd name="connsiteY180" fmla="*/ 429653 h 2663266"/>
                  <a:gd name="connsiteX181" fmla="*/ 385869 w 1705082"/>
                  <a:gd name="connsiteY181" fmla="*/ 415366 h 2663266"/>
                  <a:gd name="connsiteX182" fmla="*/ 404919 w 1705082"/>
                  <a:gd name="connsiteY182" fmla="*/ 396316 h 2663266"/>
                  <a:gd name="connsiteX183" fmla="*/ 457307 w 1705082"/>
                  <a:gd name="connsiteY183" fmla="*/ 358216 h 2663266"/>
                  <a:gd name="connsiteX184" fmla="*/ 504932 w 1705082"/>
                  <a:gd name="connsiteY184" fmla="*/ 334403 h 2663266"/>
                  <a:gd name="connsiteX185" fmla="*/ 523982 w 1705082"/>
                  <a:gd name="connsiteY185" fmla="*/ 315353 h 2663266"/>
                  <a:gd name="connsiteX186" fmla="*/ 585894 w 1705082"/>
                  <a:gd name="connsiteY186" fmla="*/ 267728 h 2663266"/>
                  <a:gd name="connsiteX187" fmla="*/ 600182 w 1705082"/>
                  <a:gd name="connsiteY187" fmla="*/ 253441 h 2663266"/>
                  <a:gd name="connsiteX188" fmla="*/ 633519 w 1705082"/>
                  <a:gd name="connsiteY188" fmla="*/ 220103 h 2663266"/>
                  <a:gd name="connsiteX189" fmla="*/ 647807 w 1705082"/>
                  <a:gd name="connsiteY189" fmla="*/ 215341 h 2663266"/>
                  <a:gd name="connsiteX190" fmla="*/ 671619 w 1705082"/>
                  <a:gd name="connsiteY190" fmla="*/ 201053 h 2663266"/>
                  <a:gd name="connsiteX191" fmla="*/ 695432 w 1705082"/>
                  <a:gd name="connsiteY191" fmla="*/ 191528 h 2663266"/>
                  <a:gd name="connsiteX192" fmla="*/ 733532 w 1705082"/>
                  <a:gd name="connsiteY192" fmla="*/ 172478 h 2663266"/>
                  <a:gd name="connsiteX193" fmla="*/ 981182 w 1705082"/>
                  <a:gd name="connsiteY193" fmla="*/ 53415 h 2663266"/>
                  <a:gd name="connsiteX194" fmla="*/ 1152632 w 1705082"/>
                  <a:gd name="connsiteY194" fmla="*/ 24841 h 2663266"/>
                  <a:gd name="connsiteX195" fmla="*/ 1195494 w 1705082"/>
                  <a:gd name="connsiteY195" fmla="*/ 1028 h 2663266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23982 w 1705082"/>
                  <a:gd name="connsiteY185" fmla="*/ 325189 h 2673102"/>
                  <a:gd name="connsiteX186" fmla="*/ 585894 w 1705082"/>
                  <a:gd name="connsiteY186" fmla="*/ 277564 h 2673102"/>
                  <a:gd name="connsiteX187" fmla="*/ 600182 w 1705082"/>
                  <a:gd name="connsiteY187" fmla="*/ 263277 h 2673102"/>
                  <a:gd name="connsiteX188" fmla="*/ 633519 w 1705082"/>
                  <a:gd name="connsiteY188" fmla="*/ 229939 h 2673102"/>
                  <a:gd name="connsiteX189" fmla="*/ 647807 w 1705082"/>
                  <a:gd name="connsiteY189" fmla="*/ 225177 h 2673102"/>
                  <a:gd name="connsiteX190" fmla="*/ 671619 w 1705082"/>
                  <a:gd name="connsiteY190" fmla="*/ 210889 h 2673102"/>
                  <a:gd name="connsiteX191" fmla="*/ 695432 w 1705082"/>
                  <a:gd name="connsiteY191" fmla="*/ 201364 h 2673102"/>
                  <a:gd name="connsiteX192" fmla="*/ 733532 w 1705082"/>
                  <a:gd name="connsiteY192" fmla="*/ 182314 h 2673102"/>
                  <a:gd name="connsiteX193" fmla="*/ 981182 w 1705082"/>
                  <a:gd name="connsiteY193" fmla="*/ 63251 h 2673102"/>
                  <a:gd name="connsiteX194" fmla="*/ 1152632 w 1705082"/>
                  <a:gd name="connsiteY194" fmla="*/ 6102 h 2673102"/>
                  <a:gd name="connsiteX195" fmla="*/ 1195494 w 1705082"/>
                  <a:gd name="connsiteY195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23982 w 1705082"/>
                  <a:gd name="connsiteY185" fmla="*/ 325189 h 2673102"/>
                  <a:gd name="connsiteX186" fmla="*/ 585894 w 1705082"/>
                  <a:gd name="connsiteY186" fmla="*/ 277564 h 2673102"/>
                  <a:gd name="connsiteX187" fmla="*/ 600182 w 1705082"/>
                  <a:gd name="connsiteY187" fmla="*/ 263277 h 2673102"/>
                  <a:gd name="connsiteX188" fmla="*/ 633519 w 1705082"/>
                  <a:gd name="connsiteY188" fmla="*/ 229939 h 2673102"/>
                  <a:gd name="connsiteX189" fmla="*/ 647807 w 1705082"/>
                  <a:gd name="connsiteY189" fmla="*/ 225177 h 2673102"/>
                  <a:gd name="connsiteX190" fmla="*/ 671619 w 1705082"/>
                  <a:gd name="connsiteY190" fmla="*/ 210889 h 2673102"/>
                  <a:gd name="connsiteX191" fmla="*/ 733532 w 1705082"/>
                  <a:gd name="connsiteY191" fmla="*/ 182314 h 2673102"/>
                  <a:gd name="connsiteX192" fmla="*/ 981182 w 1705082"/>
                  <a:gd name="connsiteY192" fmla="*/ 63251 h 2673102"/>
                  <a:gd name="connsiteX193" fmla="*/ 1152632 w 1705082"/>
                  <a:gd name="connsiteY193" fmla="*/ 6102 h 2673102"/>
                  <a:gd name="connsiteX194" fmla="*/ 1195494 w 1705082"/>
                  <a:gd name="connsiteY194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23982 w 1705082"/>
                  <a:gd name="connsiteY185" fmla="*/ 325189 h 2673102"/>
                  <a:gd name="connsiteX186" fmla="*/ 585894 w 1705082"/>
                  <a:gd name="connsiteY186" fmla="*/ 277564 h 2673102"/>
                  <a:gd name="connsiteX187" fmla="*/ 600182 w 1705082"/>
                  <a:gd name="connsiteY187" fmla="*/ 263277 h 2673102"/>
                  <a:gd name="connsiteX188" fmla="*/ 633519 w 1705082"/>
                  <a:gd name="connsiteY188" fmla="*/ 229939 h 2673102"/>
                  <a:gd name="connsiteX189" fmla="*/ 647807 w 1705082"/>
                  <a:gd name="connsiteY189" fmla="*/ 225177 h 2673102"/>
                  <a:gd name="connsiteX190" fmla="*/ 733532 w 1705082"/>
                  <a:gd name="connsiteY190" fmla="*/ 182314 h 2673102"/>
                  <a:gd name="connsiteX191" fmla="*/ 981182 w 1705082"/>
                  <a:gd name="connsiteY191" fmla="*/ 63251 h 2673102"/>
                  <a:gd name="connsiteX192" fmla="*/ 1152632 w 1705082"/>
                  <a:gd name="connsiteY192" fmla="*/ 6102 h 2673102"/>
                  <a:gd name="connsiteX193" fmla="*/ 1195494 w 1705082"/>
                  <a:gd name="connsiteY193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23982 w 1705082"/>
                  <a:gd name="connsiteY185" fmla="*/ 325189 h 2673102"/>
                  <a:gd name="connsiteX186" fmla="*/ 585894 w 1705082"/>
                  <a:gd name="connsiteY186" fmla="*/ 277564 h 2673102"/>
                  <a:gd name="connsiteX187" fmla="*/ 600182 w 1705082"/>
                  <a:gd name="connsiteY187" fmla="*/ 263277 h 2673102"/>
                  <a:gd name="connsiteX188" fmla="*/ 633519 w 1705082"/>
                  <a:gd name="connsiteY188" fmla="*/ 229939 h 2673102"/>
                  <a:gd name="connsiteX189" fmla="*/ 733532 w 1705082"/>
                  <a:gd name="connsiteY189" fmla="*/ 182314 h 2673102"/>
                  <a:gd name="connsiteX190" fmla="*/ 981182 w 1705082"/>
                  <a:gd name="connsiteY190" fmla="*/ 63251 h 2673102"/>
                  <a:gd name="connsiteX191" fmla="*/ 1152632 w 1705082"/>
                  <a:gd name="connsiteY191" fmla="*/ 6102 h 2673102"/>
                  <a:gd name="connsiteX192" fmla="*/ 1195494 w 1705082"/>
                  <a:gd name="connsiteY192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457307 w 1705082"/>
                  <a:gd name="connsiteY183" fmla="*/ 368052 h 2673102"/>
                  <a:gd name="connsiteX184" fmla="*/ 504932 w 1705082"/>
                  <a:gd name="connsiteY184" fmla="*/ 344239 h 2673102"/>
                  <a:gd name="connsiteX185" fmla="*/ 585894 w 1705082"/>
                  <a:gd name="connsiteY185" fmla="*/ 277564 h 2673102"/>
                  <a:gd name="connsiteX186" fmla="*/ 600182 w 1705082"/>
                  <a:gd name="connsiteY186" fmla="*/ 263277 h 2673102"/>
                  <a:gd name="connsiteX187" fmla="*/ 633519 w 1705082"/>
                  <a:gd name="connsiteY187" fmla="*/ 229939 h 2673102"/>
                  <a:gd name="connsiteX188" fmla="*/ 733532 w 1705082"/>
                  <a:gd name="connsiteY188" fmla="*/ 182314 h 2673102"/>
                  <a:gd name="connsiteX189" fmla="*/ 981182 w 1705082"/>
                  <a:gd name="connsiteY189" fmla="*/ 63251 h 2673102"/>
                  <a:gd name="connsiteX190" fmla="*/ 1152632 w 1705082"/>
                  <a:gd name="connsiteY190" fmla="*/ 6102 h 2673102"/>
                  <a:gd name="connsiteX191" fmla="*/ 1195494 w 1705082"/>
                  <a:gd name="connsiteY191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71582 w 1705082"/>
                  <a:gd name="connsiteY179" fmla="*/ 458539 h 2673102"/>
                  <a:gd name="connsiteX180" fmla="*/ 381107 w 1705082"/>
                  <a:gd name="connsiteY180" fmla="*/ 439489 h 2673102"/>
                  <a:gd name="connsiteX181" fmla="*/ 385869 w 1705082"/>
                  <a:gd name="connsiteY181" fmla="*/ 425202 h 2673102"/>
                  <a:gd name="connsiteX182" fmla="*/ 404919 w 1705082"/>
                  <a:gd name="connsiteY182" fmla="*/ 406152 h 2673102"/>
                  <a:gd name="connsiteX183" fmla="*/ 504932 w 1705082"/>
                  <a:gd name="connsiteY183" fmla="*/ 344239 h 2673102"/>
                  <a:gd name="connsiteX184" fmla="*/ 585894 w 1705082"/>
                  <a:gd name="connsiteY184" fmla="*/ 277564 h 2673102"/>
                  <a:gd name="connsiteX185" fmla="*/ 600182 w 1705082"/>
                  <a:gd name="connsiteY185" fmla="*/ 263277 h 2673102"/>
                  <a:gd name="connsiteX186" fmla="*/ 633519 w 1705082"/>
                  <a:gd name="connsiteY186" fmla="*/ 229939 h 2673102"/>
                  <a:gd name="connsiteX187" fmla="*/ 733532 w 1705082"/>
                  <a:gd name="connsiteY187" fmla="*/ 182314 h 2673102"/>
                  <a:gd name="connsiteX188" fmla="*/ 981182 w 1705082"/>
                  <a:gd name="connsiteY188" fmla="*/ 63251 h 2673102"/>
                  <a:gd name="connsiteX189" fmla="*/ 1152632 w 1705082"/>
                  <a:gd name="connsiteY189" fmla="*/ 6102 h 2673102"/>
                  <a:gd name="connsiteX190" fmla="*/ 1195494 w 1705082"/>
                  <a:gd name="connsiteY190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19194 w 1705082"/>
                  <a:gd name="connsiteY177" fmla="*/ 506164 h 2673102"/>
                  <a:gd name="connsiteX178" fmla="*/ 362057 w 1705082"/>
                  <a:gd name="connsiteY178" fmla="*/ 482352 h 2673102"/>
                  <a:gd name="connsiteX179" fmla="*/ 381107 w 1705082"/>
                  <a:gd name="connsiteY179" fmla="*/ 439489 h 2673102"/>
                  <a:gd name="connsiteX180" fmla="*/ 385869 w 1705082"/>
                  <a:gd name="connsiteY180" fmla="*/ 425202 h 2673102"/>
                  <a:gd name="connsiteX181" fmla="*/ 404919 w 1705082"/>
                  <a:gd name="connsiteY181" fmla="*/ 406152 h 2673102"/>
                  <a:gd name="connsiteX182" fmla="*/ 504932 w 1705082"/>
                  <a:gd name="connsiteY182" fmla="*/ 344239 h 2673102"/>
                  <a:gd name="connsiteX183" fmla="*/ 585894 w 1705082"/>
                  <a:gd name="connsiteY183" fmla="*/ 277564 h 2673102"/>
                  <a:gd name="connsiteX184" fmla="*/ 600182 w 1705082"/>
                  <a:gd name="connsiteY184" fmla="*/ 263277 h 2673102"/>
                  <a:gd name="connsiteX185" fmla="*/ 633519 w 1705082"/>
                  <a:gd name="connsiteY185" fmla="*/ 229939 h 2673102"/>
                  <a:gd name="connsiteX186" fmla="*/ 733532 w 1705082"/>
                  <a:gd name="connsiteY186" fmla="*/ 182314 h 2673102"/>
                  <a:gd name="connsiteX187" fmla="*/ 981182 w 1705082"/>
                  <a:gd name="connsiteY187" fmla="*/ 63251 h 2673102"/>
                  <a:gd name="connsiteX188" fmla="*/ 1152632 w 1705082"/>
                  <a:gd name="connsiteY188" fmla="*/ 6102 h 2673102"/>
                  <a:gd name="connsiteX189" fmla="*/ 1195494 w 1705082"/>
                  <a:gd name="connsiteY189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62057 w 1705082"/>
                  <a:gd name="connsiteY177" fmla="*/ 482352 h 2673102"/>
                  <a:gd name="connsiteX178" fmla="*/ 381107 w 1705082"/>
                  <a:gd name="connsiteY178" fmla="*/ 439489 h 2673102"/>
                  <a:gd name="connsiteX179" fmla="*/ 385869 w 1705082"/>
                  <a:gd name="connsiteY179" fmla="*/ 425202 h 2673102"/>
                  <a:gd name="connsiteX180" fmla="*/ 404919 w 1705082"/>
                  <a:gd name="connsiteY180" fmla="*/ 406152 h 2673102"/>
                  <a:gd name="connsiteX181" fmla="*/ 504932 w 1705082"/>
                  <a:gd name="connsiteY181" fmla="*/ 344239 h 2673102"/>
                  <a:gd name="connsiteX182" fmla="*/ 585894 w 1705082"/>
                  <a:gd name="connsiteY182" fmla="*/ 277564 h 2673102"/>
                  <a:gd name="connsiteX183" fmla="*/ 600182 w 1705082"/>
                  <a:gd name="connsiteY183" fmla="*/ 263277 h 2673102"/>
                  <a:gd name="connsiteX184" fmla="*/ 633519 w 1705082"/>
                  <a:gd name="connsiteY184" fmla="*/ 229939 h 2673102"/>
                  <a:gd name="connsiteX185" fmla="*/ 733532 w 1705082"/>
                  <a:gd name="connsiteY185" fmla="*/ 182314 h 2673102"/>
                  <a:gd name="connsiteX186" fmla="*/ 981182 w 1705082"/>
                  <a:gd name="connsiteY186" fmla="*/ 63251 h 2673102"/>
                  <a:gd name="connsiteX187" fmla="*/ 1152632 w 1705082"/>
                  <a:gd name="connsiteY187" fmla="*/ 6102 h 2673102"/>
                  <a:gd name="connsiteX188" fmla="*/ 1195494 w 1705082"/>
                  <a:gd name="connsiteY188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04907 w 1705082"/>
                  <a:gd name="connsiteY176" fmla="*/ 515689 h 2673102"/>
                  <a:gd name="connsiteX177" fmla="*/ 381107 w 1705082"/>
                  <a:gd name="connsiteY177" fmla="*/ 439489 h 2673102"/>
                  <a:gd name="connsiteX178" fmla="*/ 385869 w 1705082"/>
                  <a:gd name="connsiteY178" fmla="*/ 425202 h 2673102"/>
                  <a:gd name="connsiteX179" fmla="*/ 404919 w 1705082"/>
                  <a:gd name="connsiteY179" fmla="*/ 406152 h 2673102"/>
                  <a:gd name="connsiteX180" fmla="*/ 504932 w 1705082"/>
                  <a:gd name="connsiteY180" fmla="*/ 344239 h 2673102"/>
                  <a:gd name="connsiteX181" fmla="*/ 585894 w 1705082"/>
                  <a:gd name="connsiteY181" fmla="*/ 277564 h 2673102"/>
                  <a:gd name="connsiteX182" fmla="*/ 600182 w 1705082"/>
                  <a:gd name="connsiteY182" fmla="*/ 263277 h 2673102"/>
                  <a:gd name="connsiteX183" fmla="*/ 633519 w 1705082"/>
                  <a:gd name="connsiteY183" fmla="*/ 229939 h 2673102"/>
                  <a:gd name="connsiteX184" fmla="*/ 733532 w 1705082"/>
                  <a:gd name="connsiteY184" fmla="*/ 182314 h 2673102"/>
                  <a:gd name="connsiteX185" fmla="*/ 981182 w 1705082"/>
                  <a:gd name="connsiteY185" fmla="*/ 63251 h 2673102"/>
                  <a:gd name="connsiteX186" fmla="*/ 1152632 w 1705082"/>
                  <a:gd name="connsiteY186" fmla="*/ 6102 h 2673102"/>
                  <a:gd name="connsiteX187" fmla="*/ 1195494 w 1705082"/>
                  <a:gd name="connsiteY187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81107 w 1705082"/>
                  <a:gd name="connsiteY176" fmla="*/ 439489 h 2673102"/>
                  <a:gd name="connsiteX177" fmla="*/ 385869 w 1705082"/>
                  <a:gd name="connsiteY177" fmla="*/ 425202 h 2673102"/>
                  <a:gd name="connsiteX178" fmla="*/ 404919 w 1705082"/>
                  <a:gd name="connsiteY178" fmla="*/ 406152 h 2673102"/>
                  <a:gd name="connsiteX179" fmla="*/ 504932 w 1705082"/>
                  <a:gd name="connsiteY179" fmla="*/ 344239 h 2673102"/>
                  <a:gd name="connsiteX180" fmla="*/ 585894 w 1705082"/>
                  <a:gd name="connsiteY180" fmla="*/ 277564 h 2673102"/>
                  <a:gd name="connsiteX181" fmla="*/ 600182 w 1705082"/>
                  <a:gd name="connsiteY181" fmla="*/ 263277 h 2673102"/>
                  <a:gd name="connsiteX182" fmla="*/ 633519 w 1705082"/>
                  <a:gd name="connsiteY182" fmla="*/ 229939 h 2673102"/>
                  <a:gd name="connsiteX183" fmla="*/ 733532 w 1705082"/>
                  <a:gd name="connsiteY183" fmla="*/ 182314 h 2673102"/>
                  <a:gd name="connsiteX184" fmla="*/ 981182 w 1705082"/>
                  <a:gd name="connsiteY184" fmla="*/ 63251 h 2673102"/>
                  <a:gd name="connsiteX185" fmla="*/ 1152632 w 1705082"/>
                  <a:gd name="connsiteY185" fmla="*/ 6102 h 2673102"/>
                  <a:gd name="connsiteX186" fmla="*/ 1195494 w 1705082"/>
                  <a:gd name="connsiteY18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47744 w 1705082"/>
                  <a:gd name="connsiteY169" fmla="*/ 706189 h 2673102"/>
                  <a:gd name="connsiteX170" fmla="*/ 152507 w 1705082"/>
                  <a:gd name="connsiteY170" fmla="*/ 687139 h 2673102"/>
                  <a:gd name="connsiteX171" fmla="*/ 162032 w 1705082"/>
                  <a:gd name="connsiteY171" fmla="*/ 672852 h 2673102"/>
                  <a:gd name="connsiteX172" fmla="*/ 195369 w 1705082"/>
                  <a:gd name="connsiteY172" fmla="*/ 629989 h 2673102"/>
                  <a:gd name="connsiteX173" fmla="*/ 214419 w 1705082"/>
                  <a:gd name="connsiteY173" fmla="*/ 601414 h 2673102"/>
                  <a:gd name="connsiteX174" fmla="*/ 266807 w 1705082"/>
                  <a:gd name="connsiteY174" fmla="*/ 544264 h 2673102"/>
                  <a:gd name="connsiteX175" fmla="*/ 281094 w 1705082"/>
                  <a:gd name="connsiteY175" fmla="*/ 529977 h 2673102"/>
                  <a:gd name="connsiteX176" fmla="*/ 381107 w 1705082"/>
                  <a:gd name="connsiteY176" fmla="*/ 439489 h 2673102"/>
                  <a:gd name="connsiteX177" fmla="*/ 404919 w 1705082"/>
                  <a:gd name="connsiteY177" fmla="*/ 406152 h 2673102"/>
                  <a:gd name="connsiteX178" fmla="*/ 504932 w 1705082"/>
                  <a:gd name="connsiteY178" fmla="*/ 344239 h 2673102"/>
                  <a:gd name="connsiteX179" fmla="*/ 585894 w 1705082"/>
                  <a:gd name="connsiteY179" fmla="*/ 277564 h 2673102"/>
                  <a:gd name="connsiteX180" fmla="*/ 600182 w 1705082"/>
                  <a:gd name="connsiteY180" fmla="*/ 263277 h 2673102"/>
                  <a:gd name="connsiteX181" fmla="*/ 633519 w 1705082"/>
                  <a:gd name="connsiteY181" fmla="*/ 229939 h 2673102"/>
                  <a:gd name="connsiteX182" fmla="*/ 733532 w 1705082"/>
                  <a:gd name="connsiteY182" fmla="*/ 182314 h 2673102"/>
                  <a:gd name="connsiteX183" fmla="*/ 981182 w 1705082"/>
                  <a:gd name="connsiteY183" fmla="*/ 63251 h 2673102"/>
                  <a:gd name="connsiteX184" fmla="*/ 1152632 w 1705082"/>
                  <a:gd name="connsiteY184" fmla="*/ 6102 h 2673102"/>
                  <a:gd name="connsiteX185" fmla="*/ 1195494 w 1705082"/>
                  <a:gd name="connsiteY185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23932 w 1705082"/>
                  <a:gd name="connsiteY167" fmla="*/ 753814 h 2673102"/>
                  <a:gd name="connsiteX168" fmla="*/ 138219 w 1705082"/>
                  <a:gd name="connsiteY168" fmla="*/ 720477 h 2673102"/>
                  <a:gd name="connsiteX169" fmla="*/ 152507 w 1705082"/>
                  <a:gd name="connsiteY169" fmla="*/ 687139 h 2673102"/>
                  <a:gd name="connsiteX170" fmla="*/ 162032 w 1705082"/>
                  <a:gd name="connsiteY170" fmla="*/ 672852 h 2673102"/>
                  <a:gd name="connsiteX171" fmla="*/ 195369 w 1705082"/>
                  <a:gd name="connsiteY171" fmla="*/ 629989 h 2673102"/>
                  <a:gd name="connsiteX172" fmla="*/ 214419 w 1705082"/>
                  <a:gd name="connsiteY172" fmla="*/ 601414 h 2673102"/>
                  <a:gd name="connsiteX173" fmla="*/ 266807 w 1705082"/>
                  <a:gd name="connsiteY173" fmla="*/ 544264 h 2673102"/>
                  <a:gd name="connsiteX174" fmla="*/ 281094 w 1705082"/>
                  <a:gd name="connsiteY174" fmla="*/ 529977 h 2673102"/>
                  <a:gd name="connsiteX175" fmla="*/ 381107 w 1705082"/>
                  <a:gd name="connsiteY175" fmla="*/ 439489 h 2673102"/>
                  <a:gd name="connsiteX176" fmla="*/ 404919 w 1705082"/>
                  <a:gd name="connsiteY176" fmla="*/ 406152 h 2673102"/>
                  <a:gd name="connsiteX177" fmla="*/ 504932 w 1705082"/>
                  <a:gd name="connsiteY177" fmla="*/ 344239 h 2673102"/>
                  <a:gd name="connsiteX178" fmla="*/ 585894 w 1705082"/>
                  <a:gd name="connsiteY178" fmla="*/ 277564 h 2673102"/>
                  <a:gd name="connsiteX179" fmla="*/ 600182 w 1705082"/>
                  <a:gd name="connsiteY179" fmla="*/ 263277 h 2673102"/>
                  <a:gd name="connsiteX180" fmla="*/ 633519 w 1705082"/>
                  <a:gd name="connsiteY180" fmla="*/ 229939 h 2673102"/>
                  <a:gd name="connsiteX181" fmla="*/ 733532 w 1705082"/>
                  <a:gd name="connsiteY181" fmla="*/ 182314 h 2673102"/>
                  <a:gd name="connsiteX182" fmla="*/ 981182 w 1705082"/>
                  <a:gd name="connsiteY182" fmla="*/ 63251 h 2673102"/>
                  <a:gd name="connsiteX183" fmla="*/ 1152632 w 1705082"/>
                  <a:gd name="connsiteY183" fmla="*/ 6102 h 2673102"/>
                  <a:gd name="connsiteX184" fmla="*/ 1195494 w 1705082"/>
                  <a:gd name="connsiteY184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91914 h 2673102"/>
                  <a:gd name="connsiteX167" fmla="*/ 138219 w 1705082"/>
                  <a:gd name="connsiteY167" fmla="*/ 720477 h 2673102"/>
                  <a:gd name="connsiteX168" fmla="*/ 152507 w 1705082"/>
                  <a:gd name="connsiteY168" fmla="*/ 687139 h 2673102"/>
                  <a:gd name="connsiteX169" fmla="*/ 162032 w 1705082"/>
                  <a:gd name="connsiteY169" fmla="*/ 672852 h 2673102"/>
                  <a:gd name="connsiteX170" fmla="*/ 195369 w 1705082"/>
                  <a:gd name="connsiteY170" fmla="*/ 629989 h 2673102"/>
                  <a:gd name="connsiteX171" fmla="*/ 214419 w 1705082"/>
                  <a:gd name="connsiteY171" fmla="*/ 601414 h 2673102"/>
                  <a:gd name="connsiteX172" fmla="*/ 266807 w 1705082"/>
                  <a:gd name="connsiteY172" fmla="*/ 544264 h 2673102"/>
                  <a:gd name="connsiteX173" fmla="*/ 281094 w 1705082"/>
                  <a:gd name="connsiteY173" fmla="*/ 529977 h 2673102"/>
                  <a:gd name="connsiteX174" fmla="*/ 381107 w 1705082"/>
                  <a:gd name="connsiteY174" fmla="*/ 439489 h 2673102"/>
                  <a:gd name="connsiteX175" fmla="*/ 404919 w 1705082"/>
                  <a:gd name="connsiteY175" fmla="*/ 406152 h 2673102"/>
                  <a:gd name="connsiteX176" fmla="*/ 504932 w 1705082"/>
                  <a:gd name="connsiteY176" fmla="*/ 344239 h 2673102"/>
                  <a:gd name="connsiteX177" fmla="*/ 585894 w 1705082"/>
                  <a:gd name="connsiteY177" fmla="*/ 277564 h 2673102"/>
                  <a:gd name="connsiteX178" fmla="*/ 600182 w 1705082"/>
                  <a:gd name="connsiteY178" fmla="*/ 263277 h 2673102"/>
                  <a:gd name="connsiteX179" fmla="*/ 633519 w 1705082"/>
                  <a:gd name="connsiteY179" fmla="*/ 229939 h 2673102"/>
                  <a:gd name="connsiteX180" fmla="*/ 733532 w 1705082"/>
                  <a:gd name="connsiteY180" fmla="*/ 182314 h 2673102"/>
                  <a:gd name="connsiteX181" fmla="*/ 981182 w 1705082"/>
                  <a:gd name="connsiteY181" fmla="*/ 63251 h 2673102"/>
                  <a:gd name="connsiteX182" fmla="*/ 1152632 w 1705082"/>
                  <a:gd name="connsiteY182" fmla="*/ 6102 h 2673102"/>
                  <a:gd name="connsiteX183" fmla="*/ 1195494 w 1705082"/>
                  <a:gd name="connsiteY183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38219 w 1705082"/>
                  <a:gd name="connsiteY166" fmla="*/ 720477 h 2673102"/>
                  <a:gd name="connsiteX167" fmla="*/ 152507 w 1705082"/>
                  <a:gd name="connsiteY167" fmla="*/ 687139 h 2673102"/>
                  <a:gd name="connsiteX168" fmla="*/ 162032 w 1705082"/>
                  <a:gd name="connsiteY168" fmla="*/ 672852 h 2673102"/>
                  <a:gd name="connsiteX169" fmla="*/ 195369 w 1705082"/>
                  <a:gd name="connsiteY169" fmla="*/ 629989 h 2673102"/>
                  <a:gd name="connsiteX170" fmla="*/ 214419 w 1705082"/>
                  <a:gd name="connsiteY170" fmla="*/ 601414 h 2673102"/>
                  <a:gd name="connsiteX171" fmla="*/ 266807 w 1705082"/>
                  <a:gd name="connsiteY171" fmla="*/ 544264 h 2673102"/>
                  <a:gd name="connsiteX172" fmla="*/ 281094 w 1705082"/>
                  <a:gd name="connsiteY172" fmla="*/ 529977 h 2673102"/>
                  <a:gd name="connsiteX173" fmla="*/ 381107 w 1705082"/>
                  <a:gd name="connsiteY173" fmla="*/ 439489 h 2673102"/>
                  <a:gd name="connsiteX174" fmla="*/ 404919 w 1705082"/>
                  <a:gd name="connsiteY174" fmla="*/ 406152 h 2673102"/>
                  <a:gd name="connsiteX175" fmla="*/ 504932 w 1705082"/>
                  <a:gd name="connsiteY175" fmla="*/ 344239 h 2673102"/>
                  <a:gd name="connsiteX176" fmla="*/ 585894 w 1705082"/>
                  <a:gd name="connsiteY176" fmla="*/ 277564 h 2673102"/>
                  <a:gd name="connsiteX177" fmla="*/ 600182 w 1705082"/>
                  <a:gd name="connsiteY177" fmla="*/ 263277 h 2673102"/>
                  <a:gd name="connsiteX178" fmla="*/ 633519 w 1705082"/>
                  <a:gd name="connsiteY178" fmla="*/ 229939 h 2673102"/>
                  <a:gd name="connsiteX179" fmla="*/ 733532 w 1705082"/>
                  <a:gd name="connsiteY179" fmla="*/ 182314 h 2673102"/>
                  <a:gd name="connsiteX180" fmla="*/ 981182 w 1705082"/>
                  <a:gd name="connsiteY180" fmla="*/ 63251 h 2673102"/>
                  <a:gd name="connsiteX181" fmla="*/ 1152632 w 1705082"/>
                  <a:gd name="connsiteY181" fmla="*/ 6102 h 2673102"/>
                  <a:gd name="connsiteX182" fmla="*/ 1195494 w 1705082"/>
                  <a:gd name="connsiteY182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66782 w 1705082"/>
                  <a:gd name="connsiteY165" fmla="*/ 834777 h 2673102"/>
                  <a:gd name="connsiteX166" fmla="*/ 100119 w 1705082"/>
                  <a:gd name="connsiteY166" fmla="*/ 782389 h 2673102"/>
                  <a:gd name="connsiteX167" fmla="*/ 138219 w 1705082"/>
                  <a:gd name="connsiteY167" fmla="*/ 720477 h 2673102"/>
                  <a:gd name="connsiteX168" fmla="*/ 152507 w 1705082"/>
                  <a:gd name="connsiteY168" fmla="*/ 687139 h 2673102"/>
                  <a:gd name="connsiteX169" fmla="*/ 162032 w 1705082"/>
                  <a:gd name="connsiteY169" fmla="*/ 672852 h 2673102"/>
                  <a:gd name="connsiteX170" fmla="*/ 195369 w 1705082"/>
                  <a:gd name="connsiteY170" fmla="*/ 629989 h 2673102"/>
                  <a:gd name="connsiteX171" fmla="*/ 214419 w 1705082"/>
                  <a:gd name="connsiteY171" fmla="*/ 601414 h 2673102"/>
                  <a:gd name="connsiteX172" fmla="*/ 266807 w 1705082"/>
                  <a:gd name="connsiteY172" fmla="*/ 544264 h 2673102"/>
                  <a:gd name="connsiteX173" fmla="*/ 281094 w 1705082"/>
                  <a:gd name="connsiteY173" fmla="*/ 529977 h 2673102"/>
                  <a:gd name="connsiteX174" fmla="*/ 381107 w 1705082"/>
                  <a:gd name="connsiteY174" fmla="*/ 439489 h 2673102"/>
                  <a:gd name="connsiteX175" fmla="*/ 404919 w 1705082"/>
                  <a:gd name="connsiteY175" fmla="*/ 406152 h 2673102"/>
                  <a:gd name="connsiteX176" fmla="*/ 504932 w 1705082"/>
                  <a:gd name="connsiteY176" fmla="*/ 344239 h 2673102"/>
                  <a:gd name="connsiteX177" fmla="*/ 585894 w 1705082"/>
                  <a:gd name="connsiteY177" fmla="*/ 277564 h 2673102"/>
                  <a:gd name="connsiteX178" fmla="*/ 600182 w 1705082"/>
                  <a:gd name="connsiteY178" fmla="*/ 263277 h 2673102"/>
                  <a:gd name="connsiteX179" fmla="*/ 633519 w 1705082"/>
                  <a:gd name="connsiteY179" fmla="*/ 229939 h 2673102"/>
                  <a:gd name="connsiteX180" fmla="*/ 733532 w 1705082"/>
                  <a:gd name="connsiteY180" fmla="*/ 182314 h 2673102"/>
                  <a:gd name="connsiteX181" fmla="*/ 981182 w 1705082"/>
                  <a:gd name="connsiteY181" fmla="*/ 63251 h 2673102"/>
                  <a:gd name="connsiteX182" fmla="*/ 1152632 w 1705082"/>
                  <a:gd name="connsiteY182" fmla="*/ 6102 h 2673102"/>
                  <a:gd name="connsiteX183" fmla="*/ 1195494 w 1705082"/>
                  <a:gd name="connsiteY183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100119 w 1705082"/>
                  <a:gd name="connsiteY165" fmla="*/ 782389 h 2673102"/>
                  <a:gd name="connsiteX166" fmla="*/ 138219 w 1705082"/>
                  <a:gd name="connsiteY166" fmla="*/ 720477 h 2673102"/>
                  <a:gd name="connsiteX167" fmla="*/ 152507 w 1705082"/>
                  <a:gd name="connsiteY167" fmla="*/ 687139 h 2673102"/>
                  <a:gd name="connsiteX168" fmla="*/ 162032 w 1705082"/>
                  <a:gd name="connsiteY168" fmla="*/ 672852 h 2673102"/>
                  <a:gd name="connsiteX169" fmla="*/ 195369 w 1705082"/>
                  <a:gd name="connsiteY169" fmla="*/ 629989 h 2673102"/>
                  <a:gd name="connsiteX170" fmla="*/ 214419 w 1705082"/>
                  <a:gd name="connsiteY170" fmla="*/ 601414 h 2673102"/>
                  <a:gd name="connsiteX171" fmla="*/ 266807 w 1705082"/>
                  <a:gd name="connsiteY171" fmla="*/ 544264 h 2673102"/>
                  <a:gd name="connsiteX172" fmla="*/ 281094 w 1705082"/>
                  <a:gd name="connsiteY172" fmla="*/ 529977 h 2673102"/>
                  <a:gd name="connsiteX173" fmla="*/ 381107 w 1705082"/>
                  <a:gd name="connsiteY173" fmla="*/ 439489 h 2673102"/>
                  <a:gd name="connsiteX174" fmla="*/ 404919 w 1705082"/>
                  <a:gd name="connsiteY174" fmla="*/ 406152 h 2673102"/>
                  <a:gd name="connsiteX175" fmla="*/ 504932 w 1705082"/>
                  <a:gd name="connsiteY175" fmla="*/ 344239 h 2673102"/>
                  <a:gd name="connsiteX176" fmla="*/ 585894 w 1705082"/>
                  <a:gd name="connsiteY176" fmla="*/ 277564 h 2673102"/>
                  <a:gd name="connsiteX177" fmla="*/ 600182 w 1705082"/>
                  <a:gd name="connsiteY177" fmla="*/ 263277 h 2673102"/>
                  <a:gd name="connsiteX178" fmla="*/ 633519 w 1705082"/>
                  <a:gd name="connsiteY178" fmla="*/ 229939 h 2673102"/>
                  <a:gd name="connsiteX179" fmla="*/ 733532 w 1705082"/>
                  <a:gd name="connsiteY179" fmla="*/ 182314 h 2673102"/>
                  <a:gd name="connsiteX180" fmla="*/ 981182 w 1705082"/>
                  <a:gd name="connsiteY180" fmla="*/ 63251 h 2673102"/>
                  <a:gd name="connsiteX181" fmla="*/ 1152632 w 1705082"/>
                  <a:gd name="connsiteY181" fmla="*/ 6102 h 2673102"/>
                  <a:gd name="connsiteX182" fmla="*/ 1195494 w 1705082"/>
                  <a:gd name="connsiteY182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62019 w 1705082"/>
                  <a:gd name="connsiteY164" fmla="*/ 853827 h 2673102"/>
                  <a:gd name="connsiteX165" fmla="*/ 138219 w 1705082"/>
                  <a:gd name="connsiteY165" fmla="*/ 720477 h 2673102"/>
                  <a:gd name="connsiteX166" fmla="*/ 152507 w 1705082"/>
                  <a:gd name="connsiteY166" fmla="*/ 687139 h 2673102"/>
                  <a:gd name="connsiteX167" fmla="*/ 162032 w 1705082"/>
                  <a:gd name="connsiteY167" fmla="*/ 672852 h 2673102"/>
                  <a:gd name="connsiteX168" fmla="*/ 195369 w 1705082"/>
                  <a:gd name="connsiteY168" fmla="*/ 629989 h 2673102"/>
                  <a:gd name="connsiteX169" fmla="*/ 214419 w 1705082"/>
                  <a:gd name="connsiteY169" fmla="*/ 601414 h 2673102"/>
                  <a:gd name="connsiteX170" fmla="*/ 266807 w 1705082"/>
                  <a:gd name="connsiteY170" fmla="*/ 544264 h 2673102"/>
                  <a:gd name="connsiteX171" fmla="*/ 281094 w 1705082"/>
                  <a:gd name="connsiteY171" fmla="*/ 529977 h 2673102"/>
                  <a:gd name="connsiteX172" fmla="*/ 381107 w 1705082"/>
                  <a:gd name="connsiteY172" fmla="*/ 439489 h 2673102"/>
                  <a:gd name="connsiteX173" fmla="*/ 404919 w 1705082"/>
                  <a:gd name="connsiteY173" fmla="*/ 406152 h 2673102"/>
                  <a:gd name="connsiteX174" fmla="*/ 504932 w 1705082"/>
                  <a:gd name="connsiteY174" fmla="*/ 344239 h 2673102"/>
                  <a:gd name="connsiteX175" fmla="*/ 585894 w 1705082"/>
                  <a:gd name="connsiteY175" fmla="*/ 277564 h 2673102"/>
                  <a:gd name="connsiteX176" fmla="*/ 600182 w 1705082"/>
                  <a:gd name="connsiteY176" fmla="*/ 263277 h 2673102"/>
                  <a:gd name="connsiteX177" fmla="*/ 633519 w 1705082"/>
                  <a:gd name="connsiteY177" fmla="*/ 229939 h 2673102"/>
                  <a:gd name="connsiteX178" fmla="*/ 733532 w 1705082"/>
                  <a:gd name="connsiteY178" fmla="*/ 182314 h 2673102"/>
                  <a:gd name="connsiteX179" fmla="*/ 981182 w 1705082"/>
                  <a:gd name="connsiteY179" fmla="*/ 63251 h 2673102"/>
                  <a:gd name="connsiteX180" fmla="*/ 1152632 w 1705082"/>
                  <a:gd name="connsiteY180" fmla="*/ 6102 h 2673102"/>
                  <a:gd name="connsiteX181" fmla="*/ 1195494 w 1705082"/>
                  <a:gd name="connsiteY181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52494 w 1705082"/>
                  <a:gd name="connsiteY163" fmla="*/ 868114 h 2673102"/>
                  <a:gd name="connsiteX164" fmla="*/ 138219 w 1705082"/>
                  <a:gd name="connsiteY164" fmla="*/ 720477 h 2673102"/>
                  <a:gd name="connsiteX165" fmla="*/ 152507 w 1705082"/>
                  <a:gd name="connsiteY165" fmla="*/ 687139 h 2673102"/>
                  <a:gd name="connsiteX166" fmla="*/ 162032 w 1705082"/>
                  <a:gd name="connsiteY166" fmla="*/ 672852 h 2673102"/>
                  <a:gd name="connsiteX167" fmla="*/ 195369 w 1705082"/>
                  <a:gd name="connsiteY167" fmla="*/ 629989 h 2673102"/>
                  <a:gd name="connsiteX168" fmla="*/ 214419 w 1705082"/>
                  <a:gd name="connsiteY168" fmla="*/ 601414 h 2673102"/>
                  <a:gd name="connsiteX169" fmla="*/ 266807 w 1705082"/>
                  <a:gd name="connsiteY169" fmla="*/ 544264 h 2673102"/>
                  <a:gd name="connsiteX170" fmla="*/ 281094 w 1705082"/>
                  <a:gd name="connsiteY170" fmla="*/ 529977 h 2673102"/>
                  <a:gd name="connsiteX171" fmla="*/ 381107 w 1705082"/>
                  <a:gd name="connsiteY171" fmla="*/ 439489 h 2673102"/>
                  <a:gd name="connsiteX172" fmla="*/ 404919 w 1705082"/>
                  <a:gd name="connsiteY172" fmla="*/ 406152 h 2673102"/>
                  <a:gd name="connsiteX173" fmla="*/ 504932 w 1705082"/>
                  <a:gd name="connsiteY173" fmla="*/ 344239 h 2673102"/>
                  <a:gd name="connsiteX174" fmla="*/ 585894 w 1705082"/>
                  <a:gd name="connsiteY174" fmla="*/ 277564 h 2673102"/>
                  <a:gd name="connsiteX175" fmla="*/ 600182 w 1705082"/>
                  <a:gd name="connsiteY175" fmla="*/ 263277 h 2673102"/>
                  <a:gd name="connsiteX176" fmla="*/ 633519 w 1705082"/>
                  <a:gd name="connsiteY176" fmla="*/ 229939 h 2673102"/>
                  <a:gd name="connsiteX177" fmla="*/ 733532 w 1705082"/>
                  <a:gd name="connsiteY177" fmla="*/ 182314 h 2673102"/>
                  <a:gd name="connsiteX178" fmla="*/ 981182 w 1705082"/>
                  <a:gd name="connsiteY178" fmla="*/ 63251 h 2673102"/>
                  <a:gd name="connsiteX179" fmla="*/ 1152632 w 1705082"/>
                  <a:gd name="connsiteY179" fmla="*/ 6102 h 2673102"/>
                  <a:gd name="connsiteX180" fmla="*/ 1195494 w 1705082"/>
                  <a:gd name="connsiteY180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38207 w 1705082"/>
                  <a:gd name="connsiteY162" fmla="*/ 882402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381107 w 1705082"/>
                  <a:gd name="connsiteY170" fmla="*/ 439489 h 2673102"/>
                  <a:gd name="connsiteX171" fmla="*/ 404919 w 1705082"/>
                  <a:gd name="connsiteY171" fmla="*/ 406152 h 2673102"/>
                  <a:gd name="connsiteX172" fmla="*/ 504932 w 1705082"/>
                  <a:gd name="connsiteY172" fmla="*/ 344239 h 2673102"/>
                  <a:gd name="connsiteX173" fmla="*/ 585894 w 1705082"/>
                  <a:gd name="connsiteY173" fmla="*/ 277564 h 2673102"/>
                  <a:gd name="connsiteX174" fmla="*/ 600182 w 1705082"/>
                  <a:gd name="connsiteY174" fmla="*/ 263277 h 2673102"/>
                  <a:gd name="connsiteX175" fmla="*/ 633519 w 1705082"/>
                  <a:gd name="connsiteY175" fmla="*/ 229939 h 2673102"/>
                  <a:gd name="connsiteX176" fmla="*/ 733532 w 1705082"/>
                  <a:gd name="connsiteY176" fmla="*/ 182314 h 2673102"/>
                  <a:gd name="connsiteX177" fmla="*/ 981182 w 1705082"/>
                  <a:gd name="connsiteY177" fmla="*/ 63251 h 2673102"/>
                  <a:gd name="connsiteX178" fmla="*/ 1152632 w 1705082"/>
                  <a:gd name="connsiteY178" fmla="*/ 6102 h 2673102"/>
                  <a:gd name="connsiteX179" fmla="*/ 1195494 w 1705082"/>
                  <a:gd name="connsiteY179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381107 w 1705082"/>
                  <a:gd name="connsiteY170" fmla="*/ 439489 h 2673102"/>
                  <a:gd name="connsiteX171" fmla="*/ 404919 w 1705082"/>
                  <a:gd name="connsiteY171" fmla="*/ 406152 h 2673102"/>
                  <a:gd name="connsiteX172" fmla="*/ 504932 w 1705082"/>
                  <a:gd name="connsiteY172" fmla="*/ 344239 h 2673102"/>
                  <a:gd name="connsiteX173" fmla="*/ 585894 w 1705082"/>
                  <a:gd name="connsiteY173" fmla="*/ 277564 h 2673102"/>
                  <a:gd name="connsiteX174" fmla="*/ 600182 w 1705082"/>
                  <a:gd name="connsiteY174" fmla="*/ 263277 h 2673102"/>
                  <a:gd name="connsiteX175" fmla="*/ 633519 w 1705082"/>
                  <a:gd name="connsiteY175" fmla="*/ 229939 h 2673102"/>
                  <a:gd name="connsiteX176" fmla="*/ 733532 w 1705082"/>
                  <a:gd name="connsiteY176" fmla="*/ 182314 h 2673102"/>
                  <a:gd name="connsiteX177" fmla="*/ 981182 w 1705082"/>
                  <a:gd name="connsiteY177" fmla="*/ 63251 h 2673102"/>
                  <a:gd name="connsiteX178" fmla="*/ 1152632 w 1705082"/>
                  <a:gd name="connsiteY178" fmla="*/ 6102 h 2673102"/>
                  <a:gd name="connsiteX179" fmla="*/ 1195494 w 1705082"/>
                  <a:gd name="connsiteY179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381107 w 1705082"/>
                  <a:gd name="connsiteY170" fmla="*/ 439489 h 2673102"/>
                  <a:gd name="connsiteX171" fmla="*/ 404919 w 1705082"/>
                  <a:gd name="connsiteY171" fmla="*/ 406152 h 2673102"/>
                  <a:gd name="connsiteX172" fmla="*/ 504932 w 1705082"/>
                  <a:gd name="connsiteY172" fmla="*/ 344239 h 2673102"/>
                  <a:gd name="connsiteX173" fmla="*/ 585894 w 1705082"/>
                  <a:gd name="connsiteY173" fmla="*/ 277564 h 2673102"/>
                  <a:gd name="connsiteX174" fmla="*/ 600182 w 1705082"/>
                  <a:gd name="connsiteY174" fmla="*/ 263277 h 2673102"/>
                  <a:gd name="connsiteX175" fmla="*/ 633519 w 1705082"/>
                  <a:gd name="connsiteY175" fmla="*/ 229939 h 2673102"/>
                  <a:gd name="connsiteX176" fmla="*/ 733532 w 1705082"/>
                  <a:gd name="connsiteY176" fmla="*/ 182314 h 2673102"/>
                  <a:gd name="connsiteX177" fmla="*/ 981182 w 1705082"/>
                  <a:gd name="connsiteY177" fmla="*/ 63251 h 2673102"/>
                  <a:gd name="connsiteX178" fmla="*/ 1152632 w 1705082"/>
                  <a:gd name="connsiteY178" fmla="*/ 6102 h 2673102"/>
                  <a:gd name="connsiteX179" fmla="*/ 1195494 w 1705082"/>
                  <a:gd name="connsiteY179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04932 w 1705082"/>
                  <a:gd name="connsiteY171" fmla="*/ 344239 h 2673102"/>
                  <a:gd name="connsiteX172" fmla="*/ 585894 w 1705082"/>
                  <a:gd name="connsiteY172" fmla="*/ 277564 h 2673102"/>
                  <a:gd name="connsiteX173" fmla="*/ 600182 w 1705082"/>
                  <a:gd name="connsiteY173" fmla="*/ 263277 h 2673102"/>
                  <a:gd name="connsiteX174" fmla="*/ 633519 w 1705082"/>
                  <a:gd name="connsiteY174" fmla="*/ 229939 h 2673102"/>
                  <a:gd name="connsiteX175" fmla="*/ 733532 w 1705082"/>
                  <a:gd name="connsiteY175" fmla="*/ 182314 h 2673102"/>
                  <a:gd name="connsiteX176" fmla="*/ 981182 w 1705082"/>
                  <a:gd name="connsiteY176" fmla="*/ 63251 h 2673102"/>
                  <a:gd name="connsiteX177" fmla="*/ 1152632 w 1705082"/>
                  <a:gd name="connsiteY177" fmla="*/ 6102 h 2673102"/>
                  <a:gd name="connsiteX178" fmla="*/ 1195494 w 1705082"/>
                  <a:gd name="connsiteY178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85894 w 1705082"/>
                  <a:gd name="connsiteY171" fmla="*/ 277564 h 2673102"/>
                  <a:gd name="connsiteX172" fmla="*/ 600182 w 1705082"/>
                  <a:gd name="connsiteY172" fmla="*/ 263277 h 2673102"/>
                  <a:gd name="connsiteX173" fmla="*/ 633519 w 1705082"/>
                  <a:gd name="connsiteY173" fmla="*/ 229939 h 2673102"/>
                  <a:gd name="connsiteX174" fmla="*/ 733532 w 1705082"/>
                  <a:gd name="connsiteY174" fmla="*/ 182314 h 2673102"/>
                  <a:gd name="connsiteX175" fmla="*/ 981182 w 1705082"/>
                  <a:gd name="connsiteY175" fmla="*/ 63251 h 2673102"/>
                  <a:gd name="connsiteX176" fmla="*/ 1152632 w 1705082"/>
                  <a:gd name="connsiteY176" fmla="*/ 6102 h 2673102"/>
                  <a:gd name="connsiteX177" fmla="*/ 1195494 w 1705082"/>
                  <a:gd name="connsiteY177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85894 w 1705082"/>
                  <a:gd name="connsiteY171" fmla="*/ 277564 h 2673102"/>
                  <a:gd name="connsiteX172" fmla="*/ 633519 w 1705082"/>
                  <a:gd name="connsiteY172" fmla="*/ 229939 h 2673102"/>
                  <a:gd name="connsiteX173" fmla="*/ 733532 w 1705082"/>
                  <a:gd name="connsiteY173" fmla="*/ 18231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33532 w 1705082"/>
                  <a:gd name="connsiteY173" fmla="*/ 18231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81182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71657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71657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47820 w 1705082"/>
                  <a:gd name="connsiteY173" fmla="*/ 163264 h 2673102"/>
                  <a:gd name="connsiteX174" fmla="*/ 971657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66807 w 1705082"/>
                  <a:gd name="connsiteY168" fmla="*/ 544264 h 2673102"/>
                  <a:gd name="connsiteX169" fmla="*/ 281094 w 1705082"/>
                  <a:gd name="connsiteY169" fmla="*/ 529977 h 2673102"/>
                  <a:gd name="connsiteX170" fmla="*/ 404919 w 1705082"/>
                  <a:gd name="connsiteY170" fmla="*/ 406152 h 2673102"/>
                  <a:gd name="connsiteX171" fmla="*/ 528744 w 1705082"/>
                  <a:gd name="connsiteY171" fmla="*/ 291851 h 2673102"/>
                  <a:gd name="connsiteX172" fmla="*/ 633519 w 1705082"/>
                  <a:gd name="connsiteY172" fmla="*/ 229939 h 2673102"/>
                  <a:gd name="connsiteX173" fmla="*/ 726389 w 1705082"/>
                  <a:gd name="connsiteY173" fmla="*/ 168026 h 2673102"/>
                  <a:gd name="connsiteX174" fmla="*/ 971657 w 1705082"/>
                  <a:gd name="connsiteY174" fmla="*/ 63251 h 2673102"/>
                  <a:gd name="connsiteX175" fmla="*/ 1152632 w 1705082"/>
                  <a:gd name="connsiteY175" fmla="*/ 6102 h 2673102"/>
                  <a:gd name="connsiteX176" fmla="*/ 1195494 w 1705082"/>
                  <a:gd name="connsiteY176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81094 w 1705082"/>
                  <a:gd name="connsiteY168" fmla="*/ 529977 h 2673102"/>
                  <a:gd name="connsiteX169" fmla="*/ 404919 w 1705082"/>
                  <a:gd name="connsiteY169" fmla="*/ 406152 h 2673102"/>
                  <a:gd name="connsiteX170" fmla="*/ 528744 w 1705082"/>
                  <a:gd name="connsiteY170" fmla="*/ 291851 h 2673102"/>
                  <a:gd name="connsiteX171" fmla="*/ 633519 w 1705082"/>
                  <a:gd name="connsiteY171" fmla="*/ 229939 h 2673102"/>
                  <a:gd name="connsiteX172" fmla="*/ 726389 w 1705082"/>
                  <a:gd name="connsiteY172" fmla="*/ 168026 h 2673102"/>
                  <a:gd name="connsiteX173" fmla="*/ 971657 w 1705082"/>
                  <a:gd name="connsiteY173" fmla="*/ 63251 h 2673102"/>
                  <a:gd name="connsiteX174" fmla="*/ 1152632 w 1705082"/>
                  <a:gd name="connsiteY174" fmla="*/ 6102 h 2673102"/>
                  <a:gd name="connsiteX175" fmla="*/ 1195494 w 1705082"/>
                  <a:gd name="connsiteY175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52507 w 1705082"/>
                  <a:gd name="connsiteY164" fmla="*/ 687139 h 2673102"/>
                  <a:gd name="connsiteX165" fmla="*/ 162032 w 1705082"/>
                  <a:gd name="connsiteY165" fmla="*/ 672852 h 2673102"/>
                  <a:gd name="connsiteX166" fmla="*/ 195369 w 1705082"/>
                  <a:gd name="connsiteY166" fmla="*/ 629989 h 2673102"/>
                  <a:gd name="connsiteX167" fmla="*/ 214419 w 1705082"/>
                  <a:gd name="connsiteY167" fmla="*/ 601414 h 2673102"/>
                  <a:gd name="connsiteX168" fmla="*/ 281094 w 1705082"/>
                  <a:gd name="connsiteY168" fmla="*/ 515689 h 2673102"/>
                  <a:gd name="connsiteX169" fmla="*/ 404919 w 1705082"/>
                  <a:gd name="connsiteY169" fmla="*/ 406152 h 2673102"/>
                  <a:gd name="connsiteX170" fmla="*/ 528744 w 1705082"/>
                  <a:gd name="connsiteY170" fmla="*/ 291851 h 2673102"/>
                  <a:gd name="connsiteX171" fmla="*/ 633519 w 1705082"/>
                  <a:gd name="connsiteY171" fmla="*/ 229939 h 2673102"/>
                  <a:gd name="connsiteX172" fmla="*/ 726389 w 1705082"/>
                  <a:gd name="connsiteY172" fmla="*/ 168026 h 2673102"/>
                  <a:gd name="connsiteX173" fmla="*/ 971657 w 1705082"/>
                  <a:gd name="connsiteY173" fmla="*/ 63251 h 2673102"/>
                  <a:gd name="connsiteX174" fmla="*/ 1152632 w 1705082"/>
                  <a:gd name="connsiteY174" fmla="*/ 6102 h 2673102"/>
                  <a:gd name="connsiteX175" fmla="*/ 1195494 w 1705082"/>
                  <a:gd name="connsiteY175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38219 w 1705082"/>
                  <a:gd name="connsiteY163" fmla="*/ 720477 h 2673102"/>
                  <a:gd name="connsiteX164" fmla="*/ 162032 w 1705082"/>
                  <a:gd name="connsiteY164" fmla="*/ 672852 h 2673102"/>
                  <a:gd name="connsiteX165" fmla="*/ 195369 w 1705082"/>
                  <a:gd name="connsiteY165" fmla="*/ 629989 h 2673102"/>
                  <a:gd name="connsiteX166" fmla="*/ 214419 w 1705082"/>
                  <a:gd name="connsiteY166" fmla="*/ 601414 h 2673102"/>
                  <a:gd name="connsiteX167" fmla="*/ 281094 w 1705082"/>
                  <a:gd name="connsiteY167" fmla="*/ 515689 h 2673102"/>
                  <a:gd name="connsiteX168" fmla="*/ 404919 w 1705082"/>
                  <a:gd name="connsiteY168" fmla="*/ 406152 h 2673102"/>
                  <a:gd name="connsiteX169" fmla="*/ 528744 w 1705082"/>
                  <a:gd name="connsiteY169" fmla="*/ 291851 h 2673102"/>
                  <a:gd name="connsiteX170" fmla="*/ 633519 w 1705082"/>
                  <a:gd name="connsiteY170" fmla="*/ 229939 h 2673102"/>
                  <a:gd name="connsiteX171" fmla="*/ 726389 w 1705082"/>
                  <a:gd name="connsiteY171" fmla="*/ 168026 h 2673102"/>
                  <a:gd name="connsiteX172" fmla="*/ 971657 w 1705082"/>
                  <a:gd name="connsiteY172" fmla="*/ 63251 h 2673102"/>
                  <a:gd name="connsiteX173" fmla="*/ 1152632 w 1705082"/>
                  <a:gd name="connsiteY173" fmla="*/ 6102 h 2673102"/>
                  <a:gd name="connsiteX174" fmla="*/ 1195494 w 1705082"/>
                  <a:gd name="connsiteY174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62032 w 1705082"/>
                  <a:gd name="connsiteY163" fmla="*/ 672852 h 2673102"/>
                  <a:gd name="connsiteX164" fmla="*/ 195369 w 1705082"/>
                  <a:gd name="connsiteY164" fmla="*/ 629989 h 2673102"/>
                  <a:gd name="connsiteX165" fmla="*/ 214419 w 1705082"/>
                  <a:gd name="connsiteY165" fmla="*/ 601414 h 2673102"/>
                  <a:gd name="connsiteX166" fmla="*/ 281094 w 1705082"/>
                  <a:gd name="connsiteY166" fmla="*/ 515689 h 2673102"/>
                  <a:gd name="connsiteX167" fmla="*/ 404919 w 1705082"/>
                  <a:gd name="connsiteY167" fmla="*/ 406152 h 2673102"/>
                  <a:gd name="connsiteX168" fmla="*/ 528744 w 1705082"/>
                  <a:gd name="connsiteY168" fmla="*/ 291851 h 2673102"/>
                  <a:gd name="connsiteX169" fmla="*/ 633519 w 1705082"/>
                  <a:gd name="connsiteY169" fmla="*/ 229939 h 2673102"/>
                  <a:gd name="connsiteX170" fmla="*/ 726389 w 1705082"/>
                  <a:gd name="connsiteY170" fmla="*/ 168026 h 2673102"/>
                  <a:gd name="connsiteX171" fmla="*/ 971657 w 1705082"/>
                  <a:gd name="connsiteY171" fmla="*/ 63251 h 2673102"/>
                  <a:gd name="connsiteX172" fmla="*/ 1152632 w 1705082"/>
                  <a:gd name="connsiteY172" fmla="*/ 6102 h 2673102"/>
                  <a:gd name="connsiteX173" fmla="*/ 1195494 w 1705082"/>
                  <a:gd name="connsiteY173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195369 w 1705082"/>
                  <a:gd name="connsiteY163" fmla="*/ 629989 h 2673102"/>
                  <a:gd name="connsiteX164" fmla="*/ 214419 w 1705082"/>
                  <a:gd name="connsiteY164" fmla="*/ 601414 h 2673102"/>
                  <a:gd name="connsiteX165" fmla="*/ 281094 w 1705082"/>
                  <a:gd name="connsiteY165" fmla="*/ 515689 h 2673102"/>
                  <a:gd name="connsiteX166" fmla="*/ 404919 w 1705082"/>
                  <a:gd name="connsiteY166" fmla="*/ 406152 h 2673102"/>
                  <a:gd name="connsiteX167" fmla="*/ 528744 w 1705082"/>
                  <a:gd name="connsiteY167" fmla="*/ 291851 h 2673102"/>
                  <a:gd name="connsiteX168" fmla="*/ 633519 w 1705082"/>
                  <a:gd name="connsiteY168" fmla="*/ 229939 h 2673102"/>
                  <a:gd name="connsiteX169" fmla="*/ 726389 w 1705082"/>
                  <a:gd name="connsiteY169" fmla="*/ 168026 h 2673102"/>
                  <a:gd name="connsiteX170" fmla="*/ 971657 w 1705082"/>
                  <a:gd name="connsiteY170" fmla="*/ 63251 h 2673102"/>
                  <a:gd name="connsiteX171" fmla="*/ 1152632 w 1705082"/>
                  <a:gd name="connsiteY171" fmla="*/ 6102 h 2673102"/>
                  <a:gd name="connsiteX172" fmla="*/ 1195494 w 1705082"/>
                  <a:gd name="connsiteY172" fmla="*/ 10864 h 2673102"/>
                  <a:gd name="connsiteX0" fmla="*/ 1195494 w 1705082"/>
                  <a:gd name="connsiteY0" fmla="*/ 10864 h 2673102"/>
                  <a:gd name="connsiteX1" fmla="*/ 1190732 w 1705082"/>
                  <a:gd name="connsiteY1" fmla="*/ 68014 h 2673102"/>
                  <a:gd name="connsiteX2" fmla="*/ 1166919 w 1705082"/>
                  <a:gd name="connsiteY2" fmla="*/ 110877 h 2673102"/>
                  <a:gd name="connsiteX3" fmla="*/ 1157394 w 1705082"/>
                  <a:gd name="connsiteY3" fmla="*/ 129927 h 2673102"/>
                  <a:gd name="connsiteX4" fmla="*/ 1157394 w 1705082"/>
                  <a:gd name="connsiteY4" fmla="*/ 206127 h 2673102"/>
                  <a:gd name="connsiteX5" fmla="*/ 1176444 w 1705082"/>
                  <a:gd name="connsiteY5" fmla="*/ 225177 h 2673102"/>
                  <a:gd name="connsiteX6" fmla="*/ 1195494 w 1705082"/>
                  <a:gd name="connsiteY6" fmla="*/ 258514 h 2673102"/>
                  <a:gd name="connsiteX7" fmla="*/ 1214544 w 1705082"/>
                  <a:gd name="connsiteY7" fmla="*/ 268039 h 2673102"/>
                  <a:gd name="connsiteX8" fmla="*/ 1224069 w 1705082"/>
                  <a:gd name="connsiteY8" fmla="*/ 282327 h 2673102"/>
                  <a:gd name="connsiteX9" fmla="*/ 1238357 w 1705082"/>
                  <a:gd name="connsiteY9" fmla="*/ 296614 h 2673102"/>
                  <a:gd name="connsiteX10" fmla="*/ 1247882 w 1705082"/>
                  <a:gd name="connsiteY10" fmla="*/ 315664 h 2673102"/>
                  <a:gd name="connsiteX11" fmla="*/ 1243119 w 1705082"/>
                  <a:gd name="connsiteY11" fmla="*/ 344239 h 2673102"/>
                  <a:gd name="connsiteX12" fmla="*/ 1238357 w 1705082"/>
                  <a:gd name="connsiteY12" fmla="*/ 363289 h 2673102"/>
                  <a:gd name="connsiteX13" fmla="*/ 1243119 w 1705082"/>
                  <a:gd name="connsiteY13" fmla="*/ 425202 h 2673102"/>
                  <a:gd name="connsiteX14" fmla="*/ 1262169 w 1705082"/>
                  <a:gd name="connsiteY14" fmla="*/ 463302 h 2673102"/>
                  <a:gd name="connsiteX15" fmla="*/ 1271694 w 1705082"/>
                  <a:gd name="connsiteY15" fmla="*/ 477589 h 2673102"/>
                  <a:gd name="connsiteX16" fmla="*/ 1285982 w 1705082"/>
                  <a:gd name="connsiteY16" fmla="*/ 487114 h 2673102"/>
                  <a:gd name="connsiteX17" fmla="*/ 1343132 w 1705082"/>
                  <a:gd name="connsiteY17" fmla="*/ 510927 h 2673102"/>
                  <a:gd name="connsiteX18" fmla="*/ 1371707 w 1705082"/>
                  <a:gd name="connsiteY18" fmla="*/ 520452 h 2673102"/>
                  <a:gd name="connsiteX19" fmla="*/ 1400282 w 1705082"/>
                  <a:gd name="connsiteY19" fmla="*/ 539502 h 2673102"/>
                  <a:gd name="connsiteX20" fmla="*/ 1462194 w 1705082"/>
                  <a:gd name="connsiteY20" fmla="*/ 568077 h 2673102"/>
                  <a:gd name="connsiteX21" fmla="*/ 1514582 w 1705082"/>
                  <a:gd name="connsiteY21" fmla="*/ 587127 h 2673102"/>
                  <a:gd name="connsiteX22" fmla="*/ 1533632 w 1705082"/>
                  <a:gd name="connsiteY22" fmla="*/ 596652 h 2673102"/>
                  <a:gd name="connsiteX23" fmla="*/ 1552682 w 1705082"/>
                  <a:gd name="connsiteY23" fmla="*/ 601414 h 2673102"/>
                  <a:gd name="connsiteX24" fmla="*/ 1600307 w 1705082"/>
                  <a:gd name="connsiteY24" fmla="*/ 639514 h 2673102"/>
                  <a:gd name="connsiteX25" fmla="*/ 1628882 w 1705082"/>
                  <a:gd name="connsiteY25" fmla="*/ 672852 h 2673102"/>
                  <a:gd name="connsiteX26" fmla="*/ 1643169 w 1705082"/>
                  <a:gd name="connsiteY26" fmla="*/ 687139 h 2673102"/>
                  <a:gd name="connsiteX27" fmla="*/ 1662219 w 1705082"/>
                  <a:gd name="connsiteY27" fmla="*/ 696664 h 2673102"/>
                  <a:gd name="connsiteX28" fmla="*/ 1676507 w 1705082"/>
                  <a:gd name="connsiteY28" fmla="*/ 706189 h 2673102"/>
                  <a:gd name="connsiteX29" fmla="*/ 1690794 w 1705082"/>
                  <a:gd name="connsiteY29" fmla="*/ 744289 h 2673102"/>
                  <a:gd name="connsiteX30" fmla="*/ 1700319 w 1705082"/>
                  <a:gd name="connsiteY30" fmla="*/ 768102 h 2673102"/>
                  <a:gd name="connsiteX31" fmla="*/ 1705082 w 1705082"/>
                  <a:gd name="connsiteY31" fmla="*/ 782389 h 2673102"/>
                  <a:gd name="connsiteX32" fmla="*/ 1695557 w 1705082"/>
                  <a:gd name="connsiteY32" fmla="*/ 853827 h 2673102"/>
                  <a:gd name="connsiteX33" fmla="*/ 1657457 w 1705082"/>
                  <a:gd name="connsiteY33" fmla="*/ 887164 h 2673102"/>
                  <a:gd name="connsiteX34" fmla="*/ 1643169 w 1705082"/>
                  <a:gd name="connsiteY34" fmla="*/ 901452 h 2673102"/>
                  <a:gd name="connsiteX35" fmla="*/ 1590782 w 1705082"/>
                  <a:gd name="connsiteY35" fmla="*/ 906214 h 2673102"/>
                  <a:gd name="connsiteX36" fmla="*/ 1547919 w 1705082"/>
                  <a:gd name="connsiteY36" fmla="*/ 925264 h 2673102"/>
                  <a:gd name="connsiteX37" fmla="*/ 1524107 w 1705082"/>
                  <a:gd name="connsiteY37" fmla="*/ 939552 h 2673102"/>
                  <a:gd name="connsiteX38" fmla="*/ 1490769 w 1705082"/>
                  <a:gd name="connsiteY38" fmla="*/ 987177 h 2673102"/>
                  <a:gd name="connsiteX39" fmla="*/ 1471719 w 1705082"/>
                  <a:gd name="connsiteY39" fmla="*/ 1006227 h 2673102"/>
                  <a:gd name="connsiteX40" fmla="*/ 1338369 w 1705082"/>
                  <a:gd name="connsiteY40" fmla="*/ 1030039 h 2673102"/>
                  <a:gd name="connsiteX41" fmla="*/ 1290744 w 1705082"/>
                  <a:gd name="connsiteY41" fmla="*/ 1053852 h 2673102"/>
                  <a:gd name="connsiteX42" fmla="*/ 1224069 w 1705082"/>
                  <a:gd name="connsiteY42" fmla="*/ 1082427 h 2673102"/>
                  <a:gd name="connsiteX43" fmla="*/ 1119294 w 1705082"/>
                  <a:gd name="connsiteY43" fmla="*/ 1096714 h 2673102"/>
                  <a:gd name="connsiteX44" fmla="*/ 1095482 w 1705082"/>
                  <a:gd name="connsiteY44" fmla="*/ 1101477 h 2673102"/>
                  <a:gd name="connsiteX45" fmla="*/ 1071669 w 1705082"/>
                  <a:gd name="connsiteY45" fmla="*/ 1111002 h 2673102"/>
                  <a:gd name="connsiteX46" fmla="*/ 957369 w 1705082"/>
                  <a:gd name="connsiteY46" fmla="*/ 1106239 h 2673102"/>
                  <a:gd name="connsiteX47" fmla="*/ 852594 w 1705082"/>
                  <a:gd name="connsiteY47" fmla="*/ 1058614 h 2673102"/>
                  <a:gd name="connsiteX48" fmla="*/ 804969 w 1705082"/>
                  <a:gd name="connsiteY48" fmla="*/ 1034802 h 2673102"/>
                  <a:gd name="connsiteX49" fmla="*/ 781157 w 1705082"/>
                  <a:gd name="connsiteY49" fmla="*/ 1020514 h 2673102"/>
                  <a:gd name="connsiteX50" fmla="*/ 762107 w 1705082"/>
                  <a:gd name="connsiteY50" fmla="*/ 1006227 h 2673102"/>
                  <a:gd name="connsiteX51" fmla="*/ 671619 w 1705082"/>
                  <a:gd name="connsiteY51" fmla="*/ 958602 h 2673102"/>
                  <a:gd name="connsiteX52" fmla="*/ 638282 w 1705082"/>
                  <a:gd name="connsiteY52" fmla="*/ 939552 h 2673102"/>
                  <a:gd name="connsiteX53" fmla="*/ 519219 w 1705082"/>
                  <a:gd name="connsiteY53" fmla="*/ 910977 h 2673102"/>
                  <a:gd name="connsiteX54" fmla="*/ 476357 w 1705082"/>
                  <a:gd name="connsiteY54" fmla="*/ 891927 h 2673102"/>
                  <a:gd name="connsiteX55" fmla="*/ 414444 w 1705082"/>
                  <a:gd name="connsiteY55" fmla="*/ 882402 h 2673102"/>
                  <a:gd name="connsiteX56" fmla="*/ 314432 w 1705082"/>
                  <a:gd name="connsiteY56" fmla="*/ 896689 h 2673102"/>
                  <a:gd name="connsiteX57" fmla="*/ 300144 w 1705082"/>
                  <a:gd name="connsiteY57" fmla="*/ 910977 h 2673102"/>
                  <a:gd name="connsiteX58" fmla="*/ 276332 w 1705082"/>
                  <a:gd name="connsiteY58" fmla="*/ 949077 h 2673102"/>
                  <a:gd name="connsiteX59" fmla="*/ 262044 w 1705082"/>
                  <a:gd name="connsiteY59" fmla="*/ 987177 h 2673102"/>
                  <a:gd name="connsiteX60" fmla="*/ 257282 w 1705082"/>
                  <a:gd name="connsiteY60" fmla="*/ 1039564 h 2673102"/>
                  <a:gd name="connsiteX61" fmla="*/ 257282 w 1705082"/>
                  <a:gd name="connsiteY61" fmla="*/ 1120527 h 2673102"/>
                  <a:gd name="connsiteX62" fmla="*/ 290619 w 1705082"/>
                  <a:gd name="connsiteY62" fmla="*/ 1153864 h 2673102"/>
                  <a:gd name="connsiteX63" fmla="*/ 319194 w 1705082"/>
                  <a:gd name="connsiteY63" fmla="*/ 1163389 h 2673102"/>
                  <a:gd name="connsiteX64" fmla="*/ 319194 w 1705082"/>
                  <a:gd name="connsiteY64" fmla="*/ 1244352 h 2673102"/>
                  <a:gd name="connsiteX65" fmla="*/ 304907 w 1705082"/>
                  <a:gd name="connsiteY65" fmla="*/ 1258639 h 2673102"/>
                  <a:gd name="connsiteX66" fmla="*/ 252519 w 1705082"/>
                  <a:gd name="connsiteY66" fmla="*/ 1296739 h 2673102"/>
                  <a:gd name="connsiteX67" fmla="*/ 233469 w 1705082"/>
                  <a:gd name="connsiteY67" fmla="*/ 1325314 h 2673102"/>
                  <a:gd name="connsiteX68" fmla="*/ 242994 w 1705082"/>
                  <a:gd name="connsiteY68" fmla="*/ 1425327 h 2673102"/>
                  <a:gd name="connsiteX69" fmla="*/ 271569 w 1705082"/>
                  <a:gd name="connsiteY69" fmla="*/ 1472952 h 2673102"/>
                  <a:gd name="connsiteX70" fmla="*/ 285857 w 1705082"/>
                  <a:gd name="connsiteY70" fmla="*/ 1492002 h 2673102"/>
                  <a:gd name="connsiteX71" fmla="*/ 376344 w 1705082"/>
                  <a:gd name="connsiteY71" fmla="*/ 1525339 h 2673102"/>
                  <a:gd name="connsiteX72" fmla="*/ 400157 w 1705082"/>
                  <a:gd name="connsiteY72" fmla="*/ 1492002 h 2673102"/>
                  <a:gd name="connsiteX73" fmla="*/ 404919 w 1705082"/>
                  <a:gd name="connsiteY73" fmla="*/ 1468189 h 2673102"/>
                  <a:gd name="connsiteX74" fmla="*/ 409682 w 1705082"/>
                  <a:gd name="connsiteY74" fmla="*/ 1449139 h 2673102"/>
                  <a:gd name="connsiteX75" fmla="*/ 438257 w 1705082"/>
                  <a:gd name="connsiteY75" fmla="*/ 1439614 h 2673102"/>
                  <a:gd name="connsiteX76" fmla="*/ 538269 w 1705082"/>
                  <a:gd name="connsiteY76" fmla="*/ 1458664 h 2673102"/>
                  <a:gd name="connsiteX77" fmla="*/ 547794 w 1705082"/>
                  <a:gd name="connsiteY77" fmla="*/ 1482477 h 2673102"/>
                  <a:gd name="connsiteX78" fmla="*/ 557319 w 1705082"/>
                  <a:gd name="connsiteY78" fmla="*/ 1515814 h 2673102"/>
                  <a:gd name="connsiteX79" fmla="*/ 543032 w 1705082"/>
                  <a:gd name="connsiteY79" fmla="*/ 1534864 h 2673102"/>
                  <a:gd name="connsiteX80" fmla="*/ 543032 w 1705082"/>
                  <a:gd name="connsiteY80" fmla="*/ 1601539 h 2673102"/>
                  <a:gd name="connsiteX81" fmla="*/ 552557 w 1705082"/>
                  <a:gd name="connsiteY81" fmla="*/ 1620589 h 2673102"/>
                  <a:gd name="connsiteX82" fmla="*/ 619232 w 1705082"/>
                  <a:gd name="connsiteY82" fmla="*/ 1639639 h 2673102"/>
                  <a:gd name="connsiteX83" fmla="*/ 638282 w 1705082"/>
                  <a:gd name="connsiteY83" fmla="*/ 1592014 h 2673102"/>
                  <a:gd name="connsiteX84" fmla="*/ 695432 w 1705082"/>
                  <a:gd name="connsiteY84" fmla="*/ 1620589 h 2673102"/>
                  <a:gd name="connsiteX85" fmla="*/ 724007 w 1705082"/>
                  <a:gd name="connsiteY85" fmla="*/ 1630114 h 2673102"/>
                  <a:gd name="connsiteX86" fmla="*/ 776394 w 1705082"/>
                  <a:gd name="connsiteY86" fmla="*/ 1663452 h 2673102"/>
                  <a:gd name="connsiteX87" fmla="*/ 852594 w 1705082"/>
                  <a:gd name="connsiteY87" fmla="*/ 1687264 h 2673102"/>
                  <a:gd name="connsiteX88" fmla="*/ 871644 w 1705082"/>
                  <a:gd name="connsiteY88" fmla="*/ 1701552 h 2673102"/>
                  <a:gd name="connsiteX89" fmla="*/ 881169 w 1705082"/>
                  <a:gd name="connsiteY89" fmla="*/ 1739652 h 2673102"/>
                  <a:gd name="connsiteX90" fmla="*/ 890694 w 1705082"/>
                  <a:gd name="connsiteY90" fmla="*/ 1782514 h 2673102"/>
                  <a:gd name="connsiteX91" fmla="*/ 933557 w 1705082"/>
                  <a:gd name="connsiteY91" fmla="*/ 1892052 h 2673102"/>
                  <a:gd name="connsiteX92" fmla="*/ 943082 w 1705082"/>
                  <a:gd name="connsiteY92" fmla="*/ 1906339 h 2673102"/>
                  <a:gd name="connsiteX93" fmla="*/ 952607 w 1705082"/>
                  <a:gd name="connsiteY93" fmla="*/ 1939677 h 2673102"/>
                  <a:gd name="connsiteX94" fmla="*/ 966894 w 1705082"/>
                  <a:gd name="connsiteY94" fmla="*/ 1977777 h 2673102"/>
                  <a:gd name="connsiteX95" fmla="*/ 957369 w 1705082"/>
                  <a:gd name="connsiteY95" fmla="*/ 2082552 h 2673102"/>
                  <a:gd name="connsiteX96" fmla="*/ 947844 w 1705082"/>
                  <a:gd name="connsiteY96" fmla="*/ 2101602 h 2673102"/>
                  <a:gd name="connsiteX97" fmla="*/ 919269 w 1705082"/>
                  <a:gd name="connsiteY97" fmla="*/ 2144464 h 2673102"/>
                  <a:gd name="connsiteX98" fmla="*/ 900219 w 1705082"/>
                  <a:gd name="connsiteY98" fmla="*/ 2192089 h 2673102"/>
                  <a:gd name="connsiteX99" fmla="*/ 895457 w 1705082"/>
                  <a:gd name="connsiteY99" fmla="*/ 2211139 h 2673102"/>
                  <a:gd name="connsiteX100" fmla="*/ 885932 w 1705082"/>
                  <a:gd name="connsiteY100" fmla="*/ 2239714 h 2673102"/>
                  <a:gd name="connsiteX101" fmla="*/ 890694 w 1705082"/>
                  <a:gd name="connsiteY101" fmla="*/ 2287339 h 2673102"/>
                  <a:gd name="connsiteX102" fmla="*/ 885932 w 1705082"/>
                  <a:gd name="connsiteY102" fmla="*/ 2396877 h 2673102"/>
                  <a:gd name="connsiteX103" fmla="*/ 681144 w 1705082"/>
                  <a:gd name="connsiteY103" fmla="*/ 2449264 h 2673102"/>
                  <a:gd name="connsiteX104" fmla="*/ 647807 w 1705082"/>
                  <a:gd name="connsiteY104" fmla="*/ 2473077 h 2673102"/>
                  <a:gd name="connsiteX105" fmla="*/ 600182 w 1705082"/>
                  <a:gd name="connsiteY105" fmla="*/ 2511177 h 2673102"/>
                  <a:gd name="connsiteX106" fmla="*/ 566844 w 1705082"/>
                  <a:gd name="connsiteY106" fmla="*/ 2534989 h 2673102"/>
                  <a:gd name="connsiteX107" fmla="*/ 533507 w 1705082"/>
                  <a:gd name="connsiteY107" fmla="*/ 2554039 h 2673102"/>
                  <a:gd name="connsiteX108" fmla="*/ 490644 w 1705082"/>
                  <a:gd name="connsiteY108" fmla="*/ 2587377 h 2673102"/>
                  <a:gd name="connsiteX109" fmla="*/ 476357 w 1705082"/>
                  <a:gd name="connsiteY109" fmla="*/ 2601664 h 2673102"/>
                  <a:gd name="connsiteX110" fmla="*/ 452544 w 1705082"/>
                  <a:gd name="connsiteY110" fmla="*/ 2620714 h 2673102"/>
                  <a:gd name="connsiteX111" fmla="*/ 443019 w 1705082"/>
                  <a:gd name="connsiteY111" fmla="*/ 2635002 h 2673102"/>
                  <a:gd name="connsiteX112" fmla="*/ 409682 w 1705082"/>
                  <a:gd name="connsiteY112" fmla="*/ 2654052 h 2673102"/>
                  <a:gd name="connsiteX113" fmla="*/ 366819 w 1705082"/>
                  <a:gd name="connsiteY113" fmla="*/ 2673102 h 2673102"/>
                  <a:gd name="connsiteX114" fmla="*/ 352532 w 1705082"/>
                  <a:gd name="connsiteY114" fmla="*/ 2663577 h 2673102"/>
                  <a:gd name="connsiteX115" fmla="*/ 338244 w 1705082"/>
                  <a:gd name="connsiteY115" fmla="*/ 2635002 h 2673102"/>
                  <a:gd name="connsiteX116" fmla="*/ 328719 w 1705082"/>
                  <a:gd name="connsiteY116" fmla="*/ 2620714 h 2673102"/>
                  <a:gd name="connsiteX117" fmla="*/ 290619 w 1705082"/>
                  <a:gd name="connsiteY117" fmla="*/ 2611189 h 2673102"/>
                  <a:gd name="connsiteX118" fmla="*/ 271569 w 1705082"/>
                  <a:gd name="connsiteY118" fmla="*/ 2592139 h 2673102"/>
                  <a:gd name="connsiteX119" fmla="*/ 266807 w 1705082"/>
                  <a:gd name="connsiteY119" fmla="*/ 2573089 h 2673102"/>
                  <a:gd name="connsiteX120" fmla="*/ 228707 w 1705082"/>
                  <a:gd name="connsiteY120" fmla="*/ 2539752 h 2673102"/>
                  <a:gd name="connsiteX121" fmla="*/ 223944 w 1705082"/>
                  <a:gd name="connsiteY121" fmla="*/ 2525464 h 2673102"/>
                  <a:gd name="connsiteX122" fmla="*/ 219182 w 1705082"/>
                  <a:gd name="connsiteY122" fmla="*/ 2506414 h 2673102"/>
                  <a:gd name="connsiteX123" fmla="*/ 204894 w 1705082"/>
                  <a:gd name="connsiteY123" fmla="*/ 2492127 h 2673102"/>
                  <a:gd name="connsiteX124" fmla="*/ 147744 w 1705082"/>
                  <a:gd name="connsiteY124" fmla="*/ 2439739 h 2673102"/>
                  <a:gd name="connsiteX125" fmla="*/ 142982 w 1705082"/>
                  <a:gd name="connsiteY125" fmla="*/ 2415927 h 2673102"/>
                  <a:gd name="connsiteX126" fmla="*/ 128694 w 1705082"/>
                  <a:gd name="connsiteY126" fmla="*/ 2358777 h 2673102"/>
                  <a:gd name="connsiteX127" fmla="*/ 114407 w 1705082"/>
                  <a:gd name="connsiteY127" fmla="*/ 2315914 h 2673102"/>
                  <a:gd name="connsiteX128" fmla="*/ 100119 w 1705082"/>
                  <a:gd name="connsiteY128" fmla="*/ 2258764 h 2673102"/>
                  <a:gd name="connsiteX129" fmla="*/ 95357 w 1705082"/>
                  <a:gd name="connsiteY129" fmla="*/ 2234952 h 2673102"/>
                  <a:gd name="connsiteX130" fmla="*/ 85832 w 1705082"/>
                  <a:gd name="connsiteY130" fmla="*/ 2211139 h 2673102"/>
                  <a:gd name="connsiteX131" fmla="*/ 81069 w 1705082"/>
                  <a:gd name="connsiteY131" fmla="*/ 2187327 h 2673102"/>
                  <a:gd name="connsiteX132" fmla="*/ 71544 w 1705082"/>
                  <a:gd name="connsiteY132" fmla="*/ 2111127 h 2673102"/>
                  <a:gd name="connsiteX133" fmla="*/ 90594 w 1705082"/>
                  <a:gd name="connsiteY133" fmla="*/ 1944439 h 2673102"/>
                  <a:gd name="connsiteX134" fmla="*/ 100119 w 1705082"/>
                  <a:gd name="connsiteY134" fmla="*/ 1930152 h 2673102"/>
                  <a:gd name="connsiteX135" fmla="*/ 119169 w 1705082"/>
                  <a:gd name="connsiteY135" fmla="*/ 1901577 h 2673102"/>
                  <a:gd name="connsiteX136" fmla="*/ 128694 w 1705082"/>
                  <a:gd name="connsiteY136" fmla="*/ 1868239 h 2673102"/>
                  <a:gd name="connsiteX137" fmla="*/ 123932 w 1705082"/>
                  <a:gd name="connsiteY137" fmla="*/ 1825377 h 2673102"/>
                  <a:gd name="connsiteX138" fmla="*/ 104882 w 1705082"/>
                  <a:gd name="connsiteY138" fmla="*/ 1820614 h 2673102"/>
                  <a:gd name="connsiteX139" fmla="*/ 95357 w 1705082"/>
                  <a:gd name="connsiteY139" fmla="*/ 1806327 h 2673102"/>
                  <a:gd name="connsiteX140" fmla="*/ 138219 w 1705082"/>
                  <a:gd name="connsiteY140" fmla="*/ 1720602 h 2673102"/>
                  <a:gd name="connsiteX141" fmla="*/ 152507 w 1705082"/>
                  <a:gd name="connsiteY141" fmla="*/ 1715839 h 2673102"/>
                  <a:gd name="connsiteX142" fmla="*/ 166794 w 1705082"/>
                  <a:gd name="connsiteY142" fmla="*/ 1696789 h 2673102"/>
                  <a:gd name="connsiteX143" fmla="*/ 181082 w 1705082"/>
                  <a:gd name="connsiteY143" fmla="*/ 1687264 h 2673102"/>
                  <a:gd name="connsiteX144" fmla="*/ 195369 w 1705082"/>
                  <a:gd name="connsiteY144" fmla="*/ 1653927 h 2673102"/>
                  <a:gd name="connsiteX145" fmla="*/ 185844 w 1705082"/>
                  <a:gd name="connsiteY145" fmla="*/ 1606302 h 2673102"/>
                  <a:gd name="connsiteX146" fmla="*/ 157269 w 1705082"/>
                  <a:gd name="connsiteY146" fmla="*/ 1596777 h 2673102"/>
                  <a:gd name="connsiteX147" fmla="*/ 147744 w 1705082"/>
                  <a:gd name="connsiteY147" fmla="*/ 1549152 h 2673102"/>
                  <a:gd name="connsiteX148" fmla="*/ 142982 w 1705082"/>
                  <a:gd name="connsiteY148" fmla="*/ 1411039 h 2673102"/>
                  <a:gd name="connsiteX149" fmla="*/ 133457 w 1705082"/>
                  <a:gd name="connsiteY149" fmla="*/ 1377702 h 2673102"/>
                  <a:gd name="connsiteX150" fmla="*/ 114407 w 1705082"/>
                  <a:gd name="connsiteY150" fmla="*/ 1311027 h 2673102"/>
                  <a:gd name="connsiteX151" fmla="*/ 109644 w 1705082"/>
                  <a:gd name="connsiteY151" fmla="*/ 1258639 h 2673102"/>
                  <a:gd name="connsiteX152" fmla="*/ 100119 w 1705082"/>
                  <a:gd name="connsiteY152" fmla="*/ 1244352 h 2673102"/>
                  <a:gd name="connsiteX153" fmla="*/ 85832 w 1705082"/>
                  <a:gd name="connsiteY153" fmla="*/ 1196727 h 2673102"/>
                  <a:gd name="connsiteX154" fmla="*/ 71544 w 1705082"/>
                  <a:gd name="connsiteY154" fmla="*/ 1177677 h 2673102"/>
                  <a:gd name="connsiteX155" fmla="*/ 52494 w 1705082"/>
                  <a:gd name="connsiteY155" fmla="*/ 1139577 h 2673102"/>
                  <a:gd name="connsiteX156" fmla="*/ 42969 w 1705082"/>
                  <a:gd name="connsiteY156" fmla="*/ 1111002 h 2673102"/>
                  <a:gd name="connsiteX157" fmla="*/ 38207 w 1705082"/>
                  <a:gd name="connsiteY157" fmla="*/ 1096714 h 2673102"/>
                  <a:gd name="connsiteX158" fmla="*/ 14394 w 1705082"/>
                  <a:gd name="connsiteY158" fmla="*/ 1025277 h 2673102"/>
                  <a:gd name="connsiteX159" fmla="*/ 4869 w 1705082"/>
                  <a:gd name="connsiteY159" fmla="*/ 991939 h 2673102"/>
                  <a:gd name="connsiteX160" fmla="*/ 107 w 1705082"/>
                  <a:gd name="connsiteY160" fmla="*/ 977652 h 2673102"/>
                  <a:gd name="connsiteX161" fmla="*/ 14394 w 1705082"/>
                  <a:gd name="connsiteY161" fmla="*/ 934789 h 2673102"/>
                  <a:gd name="connsiteX162" fmla="*/ 62020 w 1705082"/>
                  <a:gd name="connsiteY162" fmla="*/ 810964 h 2673102"/>
                  <a:gd name="connsiteX163" fmla="*/ 214419 w 1705082"/>
                  <a:gd name="connsiteY163" fmla="*/ 601414 h 2673102"/>
                  <a:gd name="connsiteX164" fmla="*/ 281094 w 1705082"/>
                  <a:gd name="connsiteY164" fmla="*/ 515689 h 2673102"/>
                  <a:gd name="connsiteX165" fmla="*/ 404919 w 1705082"/>
                  <a:gd name="connsiteY165" fmla="*/ 406152 h 2673102"/>
                  <a:gd name="connsiteX166" fmla="*/ 528744 w 1705082"/>
                  <a:gd name="connsiteY166" fmla="*/ 291851 h 2673102"/>
                  <a:gd name="connsiteX167" fmla="*/ 633519 w 1705082"/>
                  <a:gd name="connsiteY167" fmla="*/ 229939 h 2673102"/>
                  <a:gd name="connsiteX168" fmla="*/ 726389 w 1705082"/>
                  <a:gd name="connsiteY168" fmla="*/ 168026 h 2673102"/>
                  <a:gd name="connsiteX169" fmla="*/ 971657 w 1705082"/>
                  <a:gd name="connsiteY169" fmla="*/ 63251 h 2673102"/>
                  <a:gd name="connsiteX170" fmla="*/ 1152632 w 1705082"/>
                  <a:gd name="connsiteY170" fmla="*/ 6102 h 2673102"/>
                  <a:gd name="connsiteX171" fmla="*/ 1195494 w 1705082"/>
                  <a:gd name="connsiteY171" fmla="*/ 10864 h 2673102"/>
                  <a:gd name="connsiteX0" fmla="*/ 1195674 w 1705262"/>
                  <a:gd name="connsiteY0" fmla="*/ 10864 h 2673102"/>
                  <a:gd name="connsiteX1" fmla="*/ 1190912 w 1705262"/>
                  <a:gd name="connsiteY1" fmla="*/ 68014 h 2673102"/>
                  <a:gd name="connsiteX2" fmla="*/ 1167099 w 1705262"/>
                  <a:gd name="connsiteY2" fmla="*/ 110877 h 2673102"/>
                  <a:gd name="connsiteX3" fmla="*/ 1157574 w 1705262"/>
                  <a:gd name="connsiteY3" fmla="*/ 129927 h 2673102"/>
                  <a:gd name="connsiteX4" fmla="*/ 1157574 w 1705262"/>
                  <a:gd name="connsiteY4" fmla="*/ 206127 h 2673102"/>
                  <a:gd name="connsiteX5" fmla="*/ 1176624 w 1705262"/>
                  <a:gd name="connsiteY5" fmla="*/ 225177 h 2673102"/>
                  <a:gd name="connsiteX6" fmla="*/ 1195674 w 1705262"/>
                  <a:gd name="connsiteY6" fmla="*/ 258514 h 2673102"/>
                  <a:gd name="connsiteX7" fmla="*/ 1214724 w 1705262"/>
                  <a:gd name="connsiteY7" fmla="*/ 268039 h 2673102"/>
                  <a:gd name="connsiteX8" fmla="*/ 1224249 w 1705262"/>
                  <a:gd name="connsiteY8" fmla="*/ 282327 h 2673102"/>
                  <a:gd name="connsiteX9" fmla="*/ 1238537 w 1705262"/>
                  <a:gd name="connsiteY9" fmla="*/ 296614 h 2673102"/>
                  <a:gd name="connsiteX10" fmla="*/ 1248062 w 1705262"/>
                  <a:gd name="connsiteY10" fmla="*/ 315664 h 2673102"/>
                  <a:gd name="connsiteX11" fmla="*/ 1243299 w 1705262"/>
                  <a:gd name="connsiteY11" fmla="*/ 344239 h 2673102"/>
                  <a:gd name="connsiteX12" fmla="*/ 1238537 w 1705262"/>
                  <a:gd name="connsiteY12" fmla="*/ 363289 h 2673102"/>
                  <a:gd name="connsiteX13" fmla="*/ 1243299 w 1705262"/>
                  <a:gd name="connsiteY13" fmla="*/ 425202 h 2673102"/>
                  <a:gd name="connsiteX14" fmla="*/ 1262349 w 1705262"/>
                  <a:gd name="connsiteY14" fmla="*/ 463302 h 2673102"/>
                  <a:gd name="connsiteX15" fmla="*/ 1271874 w 1705262"/>
                  <a:gd name="connsiteY15" fmla="*/ 477589 h 2673102"/>
                  <a:gd name="connsiteX16" fmla="*/ 1286162 w 1705262"/>
                  <a:gd name="connsiteY16" fmla="*/ 487114 h 2673102"/>
                  <a:gd name="connsiteX17" fmla="*/ 1343312 w 1705262"/>
                  <a:gd name="connsiteY17" fmla="*/ 510927 h 2673102"/>
                  <a:gd name="connsiteX18" fmla="*/ 1371887 w 1705262"/>
                  <a:gd name="connsiteY18" fmla="*/ 520452 h 2673102"/>
                  <a:gd name="connsiteX19" fmla="*/ 1400462 w 1705262"/>
                  <a:gd name="connsiteY19" fmla="*/ 539502 h 2673102"/>
                  <a:gd name="connsiteX20" fmla="*/ 1462374 w 1705262"/>
                  <a:gd name="connsiteY20" fmla="*/ 568077 h 2673102"/>
                  <a:gd name="connsiteX21" fmla="*/ 1514762 w 1705262"/>
                  <a:gd name="connsiteY21" fmla="*/ 587127 h 2673102"/>
                  <a:gd name="connsiteX22" fmla="*/ 1533812 w 1705262"/>
                  <a:gd name="connsiteY22" fmla="*/ 596652 h 2673102"/>
                  <a:gd name="connsiteX23" fmla="*/ 1552862 w 1705262"/>
                  <a:gd name="connsiteY23" fmla="*/ 601414 h 2673102"/>
                  <a:gd name="connsiteX24" fmla="*/ 1600487 w 1705262"/>
                  <a:gd name="connsiteY24" fmla="*/ 639514 h 2673102"/>
                  <a:gd name="connsiteX25" fmla="*/ 1629062 w 1705262"/>
                  <a:gd name="connsiteY25" fmla="*/ 672852 h 2673102"/>
                  <a:gd name="connsiteX26" fmla="*/ 1643349 w 1705262"/>
                  <a:gd name="connsiteY26" fmla="*/ 687139 h 2673102"/>
                  <a:gd name="connsiteX27" fmla="*/ 1662399 w 1705262"/>
                  <a:gd name="connsiteY27" fmla="*/ 696664 h 2673102"/>
                  <a:gd name="connsiteX28" fmla="*/ 1676687 w 1705262"/>
                  <a:gd name="connsiteY28" fmla="*/ 706189 h 2673102"/>
                  <a:gd name="connsiteX29" fmla="*/ 1690974 w 1705262"/>
                  <a:gd name="connsiteY29" fmla="*/ 744289 h 2673102"/>
                  <a:gd name="connsiteX30" fmla="*/ 1700499 w 1705262"/>
                  <a:gd name="connsiteY30" fmla="*/ 768102 h 2673102"/>
                  <a:gd name="connsiteX31" fmla="*/ 1705262 w 1705262"/>
                  <a:gd name="connsiteY31" fmla="*/ 782389 h 2673102"/>
                  <a:gd name="connsiteX32" fmla="*/ 1695737 w 1705262"/>
                  <a:gd name="connsiteY32" fmla="*/ 853827 h 2673102"/>
                  <a:gd name="connsiteX33" fmla="*/ 1657637 w 1705262"/>
                  <a:gd name="connsiteY33" fmla="*/ 887164 h 2673102"/>
                  <a:gd name="connsiteX34" fmla="*/ 1643349 w 1705262"/>
                  <a:gd name="connsiteY34" fmla="*/ 901452 h 2673102"/>
                  <a:gd name="connsiteX35" fmla="*/ 1590962 w 1705262"/>
                  <a:gd name="connsiteY35" fmla="*/ 906214 h 2673102"/>
                  <a:gd name="connsiteX36" fmla="*/ 1548099 w 1705262"/>
                  <a:gd name="connsiteY36" fmla="*/ 925264 h 2673102"/>
                  <a:gd name="connsiteX37" fmla="*/ 1524287 w 1705262"/>
                  <a:gd name="connsiteY37" fmla="*/ 939552 h 2673102"/>
                  <a:gd name="connsiteX38" fmla="*/ 1490949 w 1705262"/>
                  <a:gd name="connsiteY38" fmla="*/ 987177 h 2673102"/>
                  <a:gd name="connsiteX39" fmla="*/ 1471899 w 1705262"/>
                  <a:gd name="connsiteY39" fmla="*/ 1006227 h 2673102"/>
                  <a:gd name="connsiteX40" fmla="*/ 1338549 w 1705262"/>
                  <a:gd name="connsiteY40" fmla="*/ 1030039 h 2673102"/>
                  <a:gd name="connsiteX41" fmla="*/ 1290924 w 1705262"/>
                  <a:gd name="connsiteY41" fmla="*/ 1053852 h 2673102"/>
                  <a:gd name="connsiteX42" fmla="*/ 1224249 w 1705262"/>
                  <a:gd name="connsiteY42" fmla="*/ 1082427 h 2673102"/>
                  <a:gd name="connsiteX43" fmla="*/ 1119474 w 1705262"/>
                  <a:gd name="connsiteY43" fmla="*/ 1096714 h 2673102"/>
                  <a:gd name="connsiteX44" fmla="*/ 1095662 w 1705262"/>
                  <a:gd name="connsiteY44" fmla="*/ 1101477 h 2673102"/>
                  <a:gd name="connsiteX45" fmla="*/ 1071849 w 1705262"/>
                  <a:gd name="connsiteY45" fmla="*/ 1111002 h 2673102"/>
                  <a:gd name="connsiteX46" fmla="*/ 957549 w 1705262"/>
                  <a:gd name="connsiteY46" fmla="*/ 1106239 h 2673102"/>
                  <a:gd name="connsiteX47" fmla="*/ 852774 w 1705262"/>
                  <a:gd name="connsiteY47" fmla="*/ 1058614 h 2673102"/>
                  <a:gd name="connsiteX48" fmla="*/ 805149 w 1705262"/>
                  <a:gd name="connsiteY48" fmla="*/ 1034802 h 2673102"/>
                  <a:gd name="connsiteX49" fmla="*/ 781337 w 1705262"/>
                  <a:gd name="connsiteY49" fmla="*/ 1020514 h 2673102"/>
                  <a:gd name="connsiteX50" fmla="*/ 762287 w 1705262"/>
                  <a:gd name="connsiteY50" fmla="*/ 1006227 h 2673102"/>
                  <a:gd name="connsiteX51" fmla="*/ 671799 w 1705262"/>
                  <a:gd name="connsiteY51" fmla="*/ 958602 h 2673102"/>
                  <a:gd name="connsiteX52" fmla="*/ 638462 w 1705262"/>
                  <a:gd name="connsiteY52" fmla="*/ 939552 h 2673102"/>
                  <a:gd name="connsiteX53" fmla="*/ 519399 w 1705262"/>
                  <a:gd name="connsiteY53" fmla="*/ 910977 h 2673102"/>
                  <a:gd name="connsiteX54" fmla="*/ 476537 w 1705262"/>
                  <a:gd name="connsiteY54" fmla="*/ 891927 h 2673102"/>
                  <a:gd name="connsiteX55" fmla="*/ 414624 w 1705262"/>
                  <a:gd name="connsiteY55" fmla="*/ 882402 h 2673102"/>
                  <a:gd name="connsiteX56" fmla="*/ 314612 w 1705262"/>
                  <a:gd name="connsiteY56" fmla="*/ 896689 h 2673102"/>
                  <a:gd name="connsiteX57" fmla="*/ 300324 w 1705262"/>
                  <a:gd name="connsiteY57" fmla="*/ 910977 h 2673102"/>
                  <a:gd name="connsiteX58" fmla="*/ 276512 w 1705262"/>
                  <a:gd name="connsiteY58" fmla="*/ 949077 h 2673102"/>
                  <a:gd name="connsiteX59" fmla="*/ 262224 w 1705262"/>
                  <a:gd name="connsiteY59" fmla="*/ 987177 h 2673102"/>
                  <a:gd name="connsiteX60" fmla="*/ 257462 w 1705262"/>
                  <a:gd name="connsiteY60" fmla="*/ 1039564 h 2673102"/>
                  <a:gd name="connsiteX61" fmla="*/ 257462 w 1705262"/>
                  <a:gd name="connsiteY61" fmla="*/ 1120527 h 2673102"/>
                  <a:gd name="connsiteX62" fmla="*/ 290799 w 1705262"/>
                  <a:gd name="connsiteY62" fmla="*/ 1153864 h 2673102"/>
                  <a:gd name="connsiteX63" fmla="*/ 319374 w 1705262"/>
                  <a:gd name="connsiteY63" fmla="*/ 1163389 h 2673102"/>
                  <a:gd name="connsiteX64" fmla="*/ 319374 w 1705262"/>
                  <a:gd name="connsiteY64" fmla="*/ 1244352 h 2673102"/>
                  <a:gd name="connsiteX65" fmla="*/ 305087 w 1705262"/>
                  <a:gd name="connsiteY65" fmla="*/ 1258639 h 2673102"/>
                  <a:gd name="connsiteX66" fmla="*/ 252699 w 1705262"/>
                  <a:gd name="connsiteY66" fmla="*/ 1296739 h 2673102"/>
                  <a:gd name="connsiteX67" fmla="*/ 233649 w 1705262"/>
                  <a:gd name="connsiteY67" fmla="*/ 1325314 h 2673102"/>
                  <a:gd name="connsiteX68" fmla="*/ 243174 w 1705262"/>
                  <a:gd name="connsiteY68" fmla="*/ 1425327 h 2673102"/>
                  <a:gd name="connsiteX69" fmla="*/ 271749 w 1705262"/>
                  <a:gd name="connsiteY69" fmla="*/ 1472952 h 2673102"/>
                  <a:gd name="connsiteX70" fmla="*/ 286037 w 1705262"/>
                  <a:gd name="connsiteY70" fmla="*/ 1492002 h 2673102"/>
                  <a:gd name="connsiteX71" fmla="*/ 376524 w 1705262"/>
                  <a:gd name="connsiteY71" fmla="*/ 1525339 h 2673102"/>
                  <a:gd name="connsiteX72" fmla="*/ 400337 w 1705262"/>
                  <a:gd name="connsiteY72" fmla="*/ 1492002 h 2673102"/>
                  <a:gd name="connsiteX73" fmla="*/ 405099 w 1705262"/>
                  <a:gd name="connsiteY73" fmla="*/ 1468189 h 2673102"/>
                  <a:gd name="connsiteX74" fmla="*/ 409862 w 1705262"/>
                  <a:gd name="connsiteY74" fmla="*/ 1449139 h 2673102"/>
                  <a:gd name="connsiteX75" fmla="*/ 438437 w 1705262"/>
                  <a:gd name="connsiteY75" fmla="*/ 1439614 h 2673102"/>
                  <a:gd name="connsiteX76" fmla="*/ 538449 w 1705262"/>
                  <a:gd name="connsiteY76" fmla="*/ 1458664 h 2673102"/>
                  <a:gd name="connsiteX77" fmla="*/ 547974 w 1705262"/>
                  <a:gd name="connsiteY77" fmla="*/ 1482477 h 2673102"/>
                  <a:gd name="connsiteX78" fmla="*/ 557499 w 1705262"/>
                  <a:gd name="connsiteY78" fmla="*/ 1515814 h 2673102"/>
                  <a:gd name="connsiteX79" fmla="*/ 543212 w 1705262"/>
                  <a:gd name="connsiteY79" fmla="*/ 1534864 h 2673102"/>
                  <a:gd name="connsiteX80" fmla="*/ 543212 w 1705262"/>
                  <a:gd name="connsiteY80" fmla="*/ 1601539 h 2673102"/>
                  <a:gd name="connsiteX81" fmla="*/ 552737 w 1705262"/>
                  <a:gd name="connsiteY81" fmla="*/ 1620589 h 2673102"/>
                  <a:gd name="connsiteX82" fmla="*/ 619412 w 1705262"/>
                  <a:gd name="connsiteY82" fmla="*/ 1639639 h 2673102"/>
                  <a:gd name="connsiteX83" fmla="*/ 638462 w 1705262"/>
                  <a:gd name="connsiteY83" fmla="*/ 1592014 h 2673102"/>
                  <a:gd name="connsiteX84" fmla="*/ 695612 w 1705262"/>
                  <a:gd name="connsiteY84" fmla="*/ 1620589 h 2673102"/>
                  <a:gd name="connsiteX85" fmla="*/ 724187 w 1705262"/>
                  <a:gd name="connsiteY85" fmla="*/ 1630114 h 2673102"/>
                  <a:gd name="connsiteX86" fmla="*/ 776574 w 1705262"/>
                  <a:gd name="connsiteY86" fmla="*/ 1663452 h 2673102"/>
                  <a:gd name="connsiteX87" fmla="*/ 852774 w 1705262"/>
                  <a:gd name="connsiteY87" fmla="*/ 1687264 h 2673102"/>
                  <a:gd name="connsiteX88" fmla="*/ 871824 w 1705262"/>
                  <a:gd name="connsiteY88" fmla="*/ 1701552 h 2673102"/>
                  <a:gd name="connsiteX89" fmla="*/ 881349 w 1705262"/>
                  <a:gd name="connsiteY89" fmla="*/ 1739652 h 2673102"/>
                  <a:gd name="connsiteX90" fmla="*/ 890874 w 1705262"/>
                  <a:gd name="connsiteY90" fmla="*/ 1782514 h 2673102"/>
                  <a:gd name="connsiteX91" fmla="*/ 933737 w 1705262"/>
                  <a:gd name="connsiteY91" fmla="*/ 1892052 h 2673102"/>
                  <a:gd name="connsiteX92" fmla="*/ 943262 w 1705262"/>
                  <a:gd name="connsiteY92" fmla="*/ 1906339 h 2673102"/>
                  <a:gd name="connsiteX93" fmla="*/ 952787 w 1705262"/>
                  <a:gd name="connsiteY93" fmla="*/ 1939677 h 2673102"/>
                  <a:gd name="connsiteX94" fmla="*/ 967074 w 1705262"/>
                  <a:gd name="connsiteY94" fmla="*/ 1977777 h 2673102"/>
                  <a:gd name="connsiteX95" fmla="*/ 957549 w 1705262"/>
                  <a:gd name="connsiteY95" fmla="*/ 2082552 h 2673102"/>
                  <a:gd name="connsiteX96" fmla="*/ 948024 w 1705262"/>
                  <a:gd name="connsiteY96" fmla="*/ 2101602 h 2673102"/>
                  <a:gd name="connsiteX97" fmla="*/ 919449 w 1705262"/>
                  <a:gd name="connsiteY97" fmla="*/ 2144464 h 2673102"/>
                  <a:gd name="connsiteX98" fmla="*/ 900399 w 1705262"/>
                  <a:gd name="connsiteY98" fmla="*/ 2192089 h 2673102"/>
                  <a:gd name="connsiteX99" fmla="*/ 895637 w 1705262"/>
                  <a:gd name="connsiteY99" fmla="*/ 2211139 h 2673102"/>
                  <a:gd name="connsiteX100" fmla="*/ 886112 w 1705262"/>
                  <a:gd name="connsiteY100" fmla="*/ 2239714 h 2673102"/>
                  <a:gd name="connsiteX101" fmla="*/ 890874 w 1705262"/>
                  <a:gd name="connsiteY101" fmla="*/ 2287339 h 2673102"/>
                  <a:gd name="connsiteX102" fmla="*/ 886112 w 1705262"/>
                  <a:gd name="connsiteY102" fmla="*/ 2396877 h 2673102"/>
                  <a:gd name="connsiteX103" fmla="*/ 681324 w 1705262"/>
                  <a:gd name="connsiteY103" fmla="*/ 2449264 h 2673102"/>
                  <a:gd name="connsiteX104" fmla="*/ 647987 w 1705262"/>
                  <a:gd name="connsiteY104" fmla="*/ 2473077 h 2673102"/>
                  <a:gd name="connsiteX105" fmla="*/ 600362 w 1705262"/>
                  <a:gd name="connsiteY105" fmla="*/ 2511177 h 2673102"/>
                  <a:gd name="connsiteX106" fmla="*/ 567024 w 1705262"/>
                  <a:gd name="connsiteY106" fmla="*/ 2534989 h 2673102"/>
                  <a:gd name="connsiteX107" fmla="*/ 533687 w 1705262"/>
                  <a:gd name="connsiteY107" fmla="*/ 2554039 h 2673102"/>
                  <a:gd name="connsiteX108" fmla="*/ 490824 w 1705262"/>
                  <a:gd name="connsiteY108" fmla="*/ 2587377 h 2673102"/>
                  <a:gd name="connsiteX109" fmla="*/ 476537 w 1705262"/>
                  <a:gd name="connsiteY109" fmla="*/ 2601664 h 2673102"/>
                  <a:gd name="connsiteX110" fmla="*/ 452724 w 1705262"/>
                  <a:gd name="connsiteY110" fmla="*/ 2620714 h 2673102"/>
                  <a:gd name="connsiteX111" fmla="*/ 443199 w 1705262"/>
                  <a:gd name="connsiteY111" fmla="*/ 2635002 h 2673102"/>
                  <a:gd name="connsiteX112" fmla="*/ 409862 w 1705262"/>
                  <a:gd name="connsiteY112" fmla="*/ 2654052 h 2673102"/>
                  <a:gd name="connsiteX113" fmla="*/ 366999 w 1705262"/>
                  <a:gd name="connsiteY113" fmla="*/ 2673102 h 2673102"/>
                  <a:gd name="connsiteX114" fmla="*/ 352712 w 1705262"/>
                  <a:gd name="connsiteY114" fmla="*/ 2663577 h 2673102"/>
                  <a:gd name="connsiteX115" fmla="*/ 338424 w 1705262"/>
                  <a:gd name="connsiteY115" fmla="*/ 2635002 h 2673102"/>
                  <a:gd name="connsiteX116" fmla="*/ 328899 w 1705262"/>
                  <a:gd name="connsiteY116" fmla="*/ 2620714 h 2673102"/>
                  <a:gd name="connsiteX117" fmla="*/ 290799 w 1705262"/>
                  <a:gd name="connsiteY117" fmla="*/ 2611189 h 2673102"/>
                  <a:gd name="connsiteX118" fmla="*/ 271749 w 1705262"/>
                  <a:gd name="connsiteY118" fmla="*/ 2592139 h 2673102"/>
                  <a:gd name="connsiteX119" fmla="*/ 266987 w 1705262"/>
                  <a:gd name="connsiteY119" fmla="*/ 2573089 h 2673102"/>
                  <a:gd name="connsiteX120" fmla="*/ 228887 w 1705262"/>
                  <a:gd name="connsiteY120" fmla="*/ 2539752 h 2673102"/>
                  <a:gd name="connsiteX121" fmla="*/ 224124 w 1705262"/>
                  <a:gd name="connsiteY121" fmla="*/ 2525464 h 2673102"/>
                  <a:gd name="connsiteX122" fmla="*/ 219362 w 1705262"/>
                  <a:gd name="connsiteY122" fmla="*/ 2506414 h 2673102"/>
                  <a:gd name="connsiteX123" fmla="*/ 205074 w 1705262"/>
                  <a:gd name="connsiteY123" fmla="*/ 2492127 h 2673102"/>
                  <a:gd name="connsiteX124" fmla="*/ 147924 w 1705262"/>
                  <a:gd name="connsiteY124" fmla="*/ 2439739 h 2673102"/>
                  <a:gd name="connsiteX125" fmla="*/ 143162 w 1705262"/>
                  <a:gd name="connsiteY125" fmla="*/ 2415927 h 2673102"/>
                  <a:gd name="connsiteX126" fmla="*/ 128874 w 1705262"/>
                  <a:gd name="connsiteY126" fmla="*/ 2358777 h 2673102"/>
                  <a:gd name="connsiteX127" fmla="*/ 114587 w 1705262"/>
                  <a:gd name="connsiteY127" fmla="*/ 2315914 h 2673102"/>
                  <a:gd name="connsiteX128" fmla="*/ 100299 w 1705262"/>
                  <a:gd name="connsiteY128" fmla="*/ 2258764 h 2673102"/>
                  <a:gd name="connsiteX129" fmla="*/ 95537 w 1705262"/>
                  <a:gd name="connsiteY129" fmla="*/ 2234952 h 2673102"/>
                  <a:gd name="connsiteX130" fmla="*/ 86012 w 1705262"/>
                  <a:gd name="connsiteY130" fmla="*/ 2211139 h 2673102"/>
                  <a:gd name="connsiteX131" fmla="*/ 81249 w 1705262"/>
                  <a:gd name="connsiteY131" fmla="*/ 2187327 h 2673102"/>
                  <a:gd name="connsiteX132" fmla="*/ 71724 w 1705262"/>
                  <a:gd name="connsiteY132" fmla="*/ 2111127 h 2673102"/>
                  <a:gd name="connsiteX133" fmla="*/ 90774 w 1705262"/>
                  <a:gd name="connsiteY133" fmla="*/ 1944439 h 2673102"/>
                  <a:gd name="connsiteX134" fmla="*/ 100299 w 1705262"/>
                  <a:gd name="connsiteY134" fmla="*/ 1930152 h 2673102"/>
                  <a:gd name="connsiteX135" fmla="*/ 119349 w 1705262"/>
                  <a:gd name="connsiteY135" fmla="*/ 1901577 h 2673102"/>
                  <a:gd name="connsiteX136" fmla="*/ 128874 w 1705262"/>
                  <a:gd name="connsiteY136" fmla="*/ 1868239 h 2673102"/>
                  <a:gd name="connsiteX137" fmla="*/ 124112 w 1705262"/>
                  <a:gd name="connsiteY137" fmla="*/ 1825377 h 2673102"/>
                  <a:gd name="connsiteX138" fmla="*/ 105062 w 1705262"/>
                  <a:gd name="connsiteY138" fmla="*/ 1820614 h 2673102"/>
                  <a:gd name="connsiteX139" fmla="*/ 95537 w 1705262"/>
                  <a:gd name="connsiteY139" fmla="*/ 1806327 h 2673102"/>
                  <a:gd name="connsiteX140" fmla="*/ 138399 w 1705262"/>
                  <a:gd name="connsiteY140" fmla="*/ 1720602 h 2673102"/>
                  <a:gd name="connsiteX141" fmla="*/ 152687 w 1705262"/>
                  <a:gd name="connsiteY141" fmla="*/ 1715839 h 2673102"/>
                  <a:gd name="connsiteX142" fmla="*/ 166974 w 1705262"/>
                  <a:gd name="connsiteY142" fmla="*/ 1696789 h 2673102"/>
                  <a:gd name="connsiteX143" fmla="*/ 181262 w 1705262"/>
                  <a:gd name="connsiteY143" fmla="*/ 1687264 h 2673102"/>
                  <a:gd name="connsiteX144" fmla="*/ 195549 w 1705262"/>
                  <a:gd name="connsiteY144" fmla="*/ 1653927 h 2673102"/>
                  <a:gd name="connsiteX145" fmla="*/ 186024 w 1705262"/>
                  <a:gd name="connsiteY145" fmla="*/ 1606302 h 2673102"/>
                  <a:gd name="connsiteX146" fmla="*/ 157449 w 1705262"/>
                  <a:gd name="connsiteY146" fmla="*/ 1596777 h 2673102"/>
                  <a:gd name="connsiteX147" fmla="*/ 147924 w 1705262"/>
                  <a:gd name="connsiteY147" fmla="*/ 1549152 h 2673102"/>
                  <a:gd name="connsiteX148" fmla="*/ 143162 w 1705262"/>
                  <a:gd name="connsiteY148" fmla="*/ 1411039 h 2673102"/>
                  <a:gd name="connsiteX149" fmla="*/ 133637 w 1705262"/>
                  <a:gd name="connsiteY149" fmla="*/ 1377702 h 2673102"/>
                  <a:gd name="connsiteX150" fmla="*/ 114587 w 1705262"/>
                  <a:gd name="connsiteY150" fmla="*/ 1311027 h 2673102"/>
                  <a:gd name="connsiteX151" fmla="*/ 109824 w 1705262"/>
                  <a:gd name="connsiteY151" fmla="*/ 1258639 h 2673102"/>
                  <a:gd name="connsiteX152" fmla="*/ 100299 w 1705262"/>
                  <a:gd name="connsiteY152" fmla="*/ 1244352 h 2673102"/>
                  <a:gd name="connsiteX153" fmla="*/ 86012 w 1705262"/>
                  <a:gd name="connsiteY153" fmla="*/ 1196727 h 2673102"/>
                  <a:gd name="connsiteX154" fmla="*/ 71724 w 1705262"/>
                  <a:gd name="connsiteY154" fmla="*/ 1177677 h 2673102"/>
                  <a:gd name="connsiteX155" fmla="*/ 52674 w 1705262"/>
                  <a:gd name="connsiteY155" fmla="*/ 1139577 h 2673102"/>
                  <a:gd name="connsiteX156" fmla="*/ 43149 w 1705262"/>
                  <a:gd name="connsiteY156" fmla="*/ 1111002 h 2673102"/>
                  <a:gd name="connsiteX157" fmla="*/ 38387 w 1705262"/>
                  <a:gd name="connsiteY157" fmla="*/ 1096714 h 2673102"/>
                  <a:gd name="connsiteX158" fmla="*/ 14574 w 1705262"/>
                  <a:gd name="connsiteY158" fmla="*/ 1025277 h 2673102"/>
                  <a:gd name="connsiteX159" fmla="*/ 5049 w 1705262"/>
                  <a:gd name="connsiteY159" fmla="*/ 991939 h 2673102"/>
                  <a:gd name="connsiteX160" fmla="*/ 287 w 1705262"/>
                  <a:gd name="connsiteY160" fmla="*/ 977652 h 2673102"/>
                  <a:gd name="connsiteX161" fmla="*/ 7431 w 1705262"/>
                  <a:gd name="connsiteY161" fmla="*/ 930027 h 2673102"/>
                  <a:gd name="connsiteX162" fmla="*/ 62200 w 1705262"/>
                  <a:gd name="connsiteY162" fmla="*/ 810964 h 2673102"/>
                  <a:gd name="connsiteX163" fmla="*/ 214599 w 1705262"/>
                  <a:gd name="connsiteY163" fmla="*/ 601414 h 2673102"/>
                  <a:gd name="connsiteX164" fmla="*/ 281274 w 1705262"/>
                  <a:gd name="connsiteY164" fmla="*/ 515689 h 2673102"/>
                  <a:gd name="connsiteX165" fmla="*/ 405099 w 1705262"/>
                  <a:gd name="connsiteY165" fmla="*/ 406152 h 2673102"/>
                  <a:gd name="connsiteX166" fmla="*/ 528924 w 1705262"/>
                  <a:gd name="connsiteY166" fmla="*/ 291851 h 2673102"/>
                  <a:gd name="connsiteX167" fmla="*/ 633699 w 1705262"/>
                  <a:gd name="connsiteY167" fmla="*/ 229939 h 2673102"/>
                  <a:gd name="connsiteX168" fmla="*/ 726569 w 1705262"/>
                  <a:gd name="connsiteY168" fmla="*/ 168026 h 2673102"/>
                  <a:gd name="connsiteX169" fmla="*/ 971837 w 1705262"/>
                  <a:gd name="connsiteY169" fmla="*/ 63251 h 2673102"/>
                  <a:gd name="connsiteX170" fmla="*/ 1152812 w 1705262"/>
                  <a:gd name="connsiteY170" fmla="*/ 6102 h 2673102"/>
                  <a:gd name="connsiteX171" fmla="*/ 1195674 w 1705262"/>
                  <a:gd name="connsiteY171" fmla="*/ 10864 h 2673102"/>
                  <a:gd name="connsiteX0" fmla="*/ 1193555 w 1703143"/>
                  <a:gd name="connsiteY0" fmla="*/ 10864 h 2673102"/>
                  <a:gd name="connsiteX1" fmla="*/ 1188793 w 1703143"/>
                  <a:gd name="connsiteY1" fmla="*/ 68014 h 2673102"/>
                  <a:gd name="connsiteX2" fmla="*/ 1164980 w 1703143"/>
                  <a:gd name="connsiteY2" fmla="*/ 110877 h 2673102"/>
                  <a:gd name="connsiteX3" fmla="*/ 1155455 w 1703143"/>
                  <a:gd name="connsiteY3" fmla="*/ 129927 h 2673102"/>
                  <a:gd name="connsiteX4" fmla="*/ 1155455 w 1703143"/>
                  <a:gd name="connsiteY4" fmla="*/ 206127 h 2673102"/>
                  <a:gd name="connsiteX5" fmla="*/ 1174505 w 1703143"/>
                  <a:gd name="connsiteY5" fmla="*/ 225177 h 2673102"/>
                  <a:gd name="connsiteX6" fmla="*/ 1193555 w 1703143"/>
                  <a:gd name="connsiteY6" fmla="*/ 258514 h 2673102"/>
                  <a:gd name="connsiteX7" fmla="*/ 1212605 w 1703143"/>
                  <a:gd name="connsiteY7" fmla="*/ 268039 h 2673102"/>
                  <a:gd name="connsiteX8" fmla="*/ 1222130 w 1703143"/>
                  <a:gd name="connsiteY8" fmla="*/ 282327 h 2673102"/>
                  <a:gd name="connsiteX9" fmla="*/ 1236418 w 1703143"/>
                  <a:gd name="connsiteY9" fmla="*/ 296614 h 2673102"/>
                  <a:gd name="connsiteX10" fmla="*/ 1245943 w 1703143"/>
                  <a:gd name="connsiteY10" fmla="*/ 315664 h 2673102"/>
                  <a:gd name="connsiteX11" fmla="*/ 1241180 w 1703143"/>
                  <a:gd name="connsiteY11" fmla="*/ 344239 h 2673102"/>
                  <a:gd name="connsiteX12" fmla="*/ 1236418 w 1703143"/>
                  <a:gd name="connsiteY12" fmla="*/ 363289 h 2673102"/>
                  <a:gd name="connsiteX13" fmla="*/ 1241180 w 1703143"/>
                  <a:gd name="connsiteY13" fmla="*/ 425202 h 2673102"/>
                  <a:gd name="connsiteX14" fmla="*/ 1260230 w 1703143"/>
                  <a:gd name="connsiteY14" fmla="*/ 463302 h 2673102"/>
                  <a:gd name="connsiteX15" fmla="*/ 1269755 w 1703143"/>
                  <a:gd name="connsiteY15" fmla="*/ 477589 h 2673102"/>
                  <a:gd name="connsiteX16" fmla="*/ 1284043 w 1703143"/>
                  <a:gd name="connsiteY16" fmla="*/ 487114 h 2673102"/>
                  <a:gd name="connsiteX17" fmla="*/ 1341193 w 1703143"/>
                  <a:gd name="connsiteY17" fmla="*/ 510927 h 2673102"/>
                  <a:gd name="connsiteX18" fmla="*/ 1369768 w 1703143"/>
                  <a:gd name="connsiteY18" fmla="*/ 520452 h 2673102"/>
                  <a:gd name="connsiteX19" fmla="*/ 1398343 w 1703143"/>
                  <a:gd name="connsiteY19" fmla="*/ 539502 h 2673102"/>
                  <a:gd name="connsiteX20" fmla="*/ 1460255 w 1703143"/>
                  <a:gd name="connsiteY20" fmla="*/ 568077 h 2673102"/>
                  <a:gd name="connsiteX21" fmla="*/ 1512643 w 1703143"/>
                  <a:gd name="connsiteY21" fmla="*/ 587127 h 2673102"/>
                  <a:gd name="connsiteX22" fmla="*/ 1531693 w 1703143"/>
                  <a:gd name="connsiteY22" fmla="*/ 596652 h 2673102"/>
                  <a:gd name="connsiteX23" fmla="*/ 1550743 w 1703143"/>
                  <a:gd name="connsiteY23" fmla="*/ 601414 h 2673102"/>
                  <a:gd name="connsiteX24" fmla="*/ 1598368 w 1703143"/>
                  <a:gd name="connsiteY24" fmla="*/ 639514 h 2673102"/>
                  <a:gd name="connsiteX25" fmla="*/ 1626943 w 1703143"/>
                  <a:gd name="connsiteY25" fmla="*/ 672852 h 2673102"/>
                  <a:gd name="connsiteX26" fmla="*/ 1641230 w 1703143"/>
                  <a:gd name="connsiteY26" fmla="*/ 687139 h 2673102"/>
                  <a:gd name="connsiteX27" fmla="*/ 1660280 w 1703143"/>
                  <a:gd name="connsiteY27" fmla="*/ 696664 h 2673102"/>
                  <a:gd name="connsiteX28" fmla="*/ 1674568 w 1703143"/>
                  <a:gd name="connsiteY28" fmla="*/ 706189 h 2673102"/>
                  <a:gd name="connsiteX29" fmla="*/ 1688855 w 1703143"/>
                  <a:gd name="connsiteY29" fmla="*/ 744289 h 2673102"/>
                  <a:gd name="connsiteX30" fmla="*/ 1698380 w 1703143"/>
                  <a:gd name="connsiteY30" fmla="*/ 768102 h 2673102"/>
                  <a:gd name="connsiteX31" fmla="*/ 1703143 w 1703143"/>
                  <a:gd name="connsiteY31" fmla="*/ 782389 h 2673102"/>
                  <a:gd name="connsiteX32" fmla="*/ 1693618 w 1703143"/>
                  <a:gd name="connsiteY32" fmla="*/ 853827 h 2673102"/>
                  <a:gd name="connsiteX33" fmla="*/ 1655518 w 1703143"/>
                  <a:gd name="connsiteY33" fmla="*/ 887164 h 2673102"/>
                  <a:gd name="connsiteX34" fmla="*/ 1641230 w 1703143"/>
                  <a:gd name="connsiteY34" fmla="*/ 901452 h 2673102"/>
                  <a:gd name="connsiteX35" fmla="*/ 1588843 w 1703143"/>
                  <a:gd name="connsiteY35" fmla="*/ 906214 h 2673102"/>
                  <a:gd name="connsiteX36" fmla="*/ 1545980 w 1703143"/>
                  <a:gd name="connsiteY36" fmla="*/ 925264 h 2673102"/>
                  <a:gd name="connsiteX37" fmla="*/ 1522168 w 1703143"/>
                  <a:gd name="connsiteY37" fmla="*/ 939552 h 2673102"/>
                  <a:gd name="connsiteX38" fmla="*/ 1488830 w 1703143"/>
                  <a:gd name="connsiteY38" fmla="*/ 987177 h 2673102"/>
                  <a:gd name="connsiteX39" fmla="*/ 1469780 w 1703143"/>
                  <a:gd name="connsiteY39" fmla="*/ 1006227 h 2673102"/>
                  <a:gd name="connsiteX40" fmla="*/ 1336430 w 1703143"/>
                  <a:gd name="connsiteY40" fmla="*/ 1030039 h 2673102"/>
                  <a:gd name="connsiteX41" fmla="*/ 1288805 w 1703143"/>
                  <a:gd name="connsiteY41" fmla="*/ 1053852 h 2673102"/>
                  <a:gd name="connsiteX42" fmla="*/ 1222130 w 1703143"/>
                  <a:gd name="connsiteY42" fmla="*/ 1082427 h 2673102"/>
                  <a:gd name="connsiteX43" fmla="*/ 1117355 w 1703143"/>
                  <a:gd name="connsiteY43" fmla="*/ 1096714 h 2673102"/>
                  <a:gd name="connsiteX44" fmla="*/ 1093543 w 1703143"/>
                  <a:gd name="connsiteY44" fmla="*/ 1101477 h 2673102"/>
                  <a:gd name="connsiteX45" fmla="*/ 1069730 w 1703143"/>
                  <a:gd name="connsiteY45" fmla="*/ 1111002 h 2673102"/>
                  <a:gd name="connsiteX46" fmla="*/ 955430 w 1703143"/>
                  <a:gd name="connsiteY46" fmla="*/ 1106239 h 2673102"/>
                  <a:gd name="connsiteX47" fmla="*/ 850655 w 1703143"/>
                  <a:gd name="connsiteY47" fmla="*/ 1058614 h 2673102"/>
                  <a:gd name="connsiteX48" fmla="*/ 803030 w 1703143"/>
                  <a:gd name="connsiteY48" fmla="*/ 1034802 h 2673102"/>
                  <a:gd name="connsiteX49" fmla="*/ 779218 w 1703143"/>
                  <a:gd name="connsiteY49" fmla="*/ 1020514 h 2673102"/>
                  <a:gd name="connsiteX50" fmla="*/ 760168 w 1703143"/>
                  <a:gd name="connsiteY50" fmla="*/ 1006227 h 2673102"/>
                  <a:gd name="connsiteX51" fmla="*/ 669680 w 1703143"/>
                  <a:gd name="connsiteY51" fmla="*/ 958602 h 2673102"/>
                  <a:gd name="connsiteX52" fmla="*/ 636343 w 1703143"/>
                  <a:gd name="connsiteY52" fmla="*/ 939552 h 2673102"/>
                  <a:gd name="connsiteX53" fmla="*/ 517280 w 1703143"/>
                  <a:gd name="connsiteY53" fmla="*/ 910977 h 2673102"/>
                  <a:gd name="connsiteX54" fmla="*/ 474418 w 1703143"/>
                  <a:gd name="connsiteY54" fmla="*/ 891927 h 2673102"/>
                  <a:gd name="connsiteX55" fmla="*/ 412505 w 1703143"/>
                  <a:gd name="connsiteY55" fmla="*/ 882402 h 2673102"/>
                  <a:gd name="connsiteX56" fmla="*/ 312493 w 1703143"/>
                  <a:gd name="connsiteY56" fmla="*/ 896689 h 2673102"/>
                  <a:gd name="connsiteX57" fmla="*/ 298205 w 1703143"/>
                  <a:gd name="connsiteY57" fmla="*/ 910977 h 2673102"/>
                  <a:gd name="connsiteX58" fmla="*/ 274393 w 1703143"/>
                  <a:gd name="connsiteY58" fmla="*/ 949077 h 2673102"/>
                  <a:gd name="connsiteX59" fmla="*/ 260105 w 1703143"/>
                  <a:gd name="connsiteY59" fmla="*/ 987177 h 2673102"/>
                  <a:gd name="connsiteX60" fmla="*/ 255343 w 1703143"/>
                  <a:gd name="connsiteY60" fmla="*/ 1039564 h 2673102"/>
                  <a:gd name="connsiteX61" fmla="*/ 255343 w 1703143"/>
                  <a:gd name="connsiteY61" fmla="*/ 1120527 h 2673102"/>
                  <a:gd name="connsiteX62" fmla="*/ 288680 w 1703143"/>
                  <a:gd name="connsiteY62" fmla="*/ 1153864 h 2673102"/>
                  <a:gd name="connsiteX63" fmla="*/ 317255 w 1703143"/>
                  <a:gd name="connsiteY63" fmla="*/ 1163389 h 2673102"/>
                  <a:gd name="connsiteX64" fmla="*/ 317255 w 1703143"/>
                  <a:gd name="connsiteY64" fmla="*/ 1244352 h 2673102"/>
                  <a:gd name="connsiteX65" fmla="*/ 302968 w 1703143"/>
                  <a:gd name="connsiteY65" fmla="*/ 1258639 h 2673102"/>
                  <a:gd name="connsiteX66" fmla="*/ 250580 w 1703143"/>
                  <a:gd name="connsiteY66" fmla="*/ 1296739 h 2673102"/>
                  <a:gd name="connsiteX67" fmla="*/ 231530 w 1703143"/>
                  <a:gd name="connsiteY67" fmla="*/ 1325314 h 2673102"/>
                  <a:gd name="connsiteX68" fmla="*/ 241055 w 1703143"/>
                  <a:gd name="connsiteY68" fmla="*/ 1425327 h 2673102"/>
                  <a:gd name="connsiteX69" fmla="*/ 269630 w 1703143"/>
                  <a:gd name="connsiteY69" fmla="*/ 1472952 h 2673102"/>
                  <a:gd name="connsiteX70" fmla="*/ 283918 w 1703143"/>
                  <a:gd name="connsiteY70" fmla="*/ 1492002 h 2673102"/>
                  <a:gd name="connsiteX71" fmla="*/ 374405 w 1703143"/>
                  <a:gd name="connsiteY71" fmla="*/ 1525339 h 2673102"/>
                  <a:gd name="connsiteX72" fmla="*/ 398218 w 1703143"/>
                  <a:gd name="connsiteY72" fmla="*/ 1492002 h 2673102"/>
                  <a:gd name="connsiteX73" fmla="*/ 402980 w 1703143"/>
                  <a:gd name="connsiteY73" fmla="*/ 1468189 h 2673102"/>
                  <a:gd name="connsiteX74" fmla="*/ 407743 w 1703143"/>
                  <a:gd name="connsiteY74" fmla="*/ 1449139 h 2673102"/>
                  <a:gd name="connsiteX75" fmla="*/ 436318 w 1703143"/>
                  <a:gd name="connsiteY75" fmla="*/ 1439614 h 2673102"/>
                  <a:gd name="connsiteX76" fmla="*/ 536330 w 1703143"/>
                  <a:gd name="connsiteY76" fmla="*/ 1458664 h 2673102"/>
                  <a:gd name="connsiteX77" fmla="*/ 545855 w 1703143"/>
                  <a:gd name="connsiteY77" fmla="*/ 1482477 h 2673102"/>
                  <a:gd name="connsiteX78" fmla="*/ 555380 w 1703143"/>
                  <a:gd name="connsiteY78" fmla="*/ 1515814 h 2673102"/>
                  <a:gd name="connsiteX79" fmla="*/ 541093 w 1703143"/>
                  <a:gd name="connsiteY79" fmla="*/ 1534864 h 2673102"/>
                  <a:gd name="connsiteX80" fmla="*/ 541093 w 1703143"/>
                  <a:gd name="connsiteY80" fmla="*/ 1601539 h 2673102"/>
                  <a:gd name="connsiteX81" fmla="*/ 550618 w 1703143"/>
                  <a:gd name="connsiteY81" fmla="*/ 1620589 h 2673102"/>
                  <a:gd name="connsiteX82" fmla="*/ 617293 w 1703143"/>
                  <a:gd name="connsiteY82" fmla="*/ 1639639 h 2673102"/>
                  <a:gd name="connsiteX83" fmla="*/ 636343 w 1703143"/>
                  <a:gd name="connsiteY83" fmla="*/ 1592014 h 2673102"/>
                  <a:gd name="connsiteX84" fmla="*/ 693493 w 1703143"/>
                  <a:gd name="connsiteY84" fmla="*/ 1620589 h 2673102"/>
                  <a:gd name="connsiteX85" fmla="*/ 722068 w 1703143"/>
                  <a:gd name="connsiteY85" fmla="*/ 1630114 h 2673102"/>
                  <a:gd name="connsiteX86" fmla="*/ 774455 w 1703143"/>
                  <a:gd name="connsiteY86" fmla="*/ 1663452 h 2673102"/>
                  <a:gd name="connsiteX87" fmla="*/ 850655 w 1703143"/>
                  <a:gd name="connsiteY87" fmla="*/ 1687264 h 2673102"/>
                  <a:gd name="connsiteX88" fmla="*/ 869705 w 1703143"/>
                  <a:gd name="connsiteY88" fmla="*/ 1701552 h 2673102"/>
                  <a:gd name="connsiteX89" fmla="*/ 879230 w 1703143"/>
                  <a:gd name="connsiteY89" fmla="*/ 1739652 h 2673102"/>
                  <a:gd name="connsiteX90" fmla="*/ 888755 w 1703143"/>
                  <a:gd name="connsiteY90" fmla="*/ 1782514 h 2673102"/>
                  <a:gd name="connsiteX91" fmla="*/ 931618 w 1703143"/>
                  <a:gd name="connsiteY91" fmla="*/ 1892052 h 2673102"/>
                  <a:gd name="connsiteX92" fmla="*/ 941143 w 1703143"/>
                  <a:gd name="connsiteY92" fmla="*/ 1906339 h 2673102"/>
                  <a:gd name="connsiteX93" fmla="*/ 950668 w 1703143"/>
                  <a:gd name="connsiteY93" fmla="*/ 1939677 h 2673102"/>
                  <a:gd name="connsiteX94" fmla="*/ 964955 w 1703143"/>
                  <a:gd name="connsiteY94" fmla="*/ 1977777 h 2673102"/>
                  <a:gd name="connsiteX95" fmla="*/ 955430 w 1703143"/>
                  <a:gd name="connsiteY95" fmla="*/ 2082552 h 2673102"/>
                  <a:gd name="connsiteX96" fmla="*/ 945905 w 1703143"/>
                  <a:gd name="connsiteY96" fmla="*/ 2101602 h 2673102"/>
                  <a:gd name="connsiteX97" fmla="*/ 917330 w 1703143"/>
                  <a:gd name="connsiteY97" fmla="*/ 2144464 h 2673102"/>
                  <a:gd name="connsiteX98" fmla="*/ 898280 w 1703143"/>
                  <a:gd name="connsiteY98" fmla="*/ 2192089 h 2673102"/>
                  <a:gd name="connsiteX99" fmla="*/ 893518 w 1703143"/>
                  <a:gd name="connsiteY99" fmla="*/ 2211139 h 2673102"/>
                  <a:gd name="connsiteX100" fmla="*/ 883993 w 1703143"/>
                  <a:gd name="connsiteY100" fmla="*/ 2239714 h 2673102"/>
                  <a:gd name="connsiteX101" fmla="*/ 888755 w 1703143"/>
                  <a:gd name="connsiteY101" fmla="*/ 2287339 h 2673102"/>
                  <a:gd name="connsiteX102" fmla="*/ 883993 w 1703143"/>
                  <a:gd name="connsiteY102" fmla="*/ 2396877 h 2673102"/>
                  <a:gd name="connsiteX103" fmla="*/ 679205 w 1703143"/>
                  <a:gd name="connsiteY103" fmla="*/ 2449264 h 2673102"/>
                  <a:gd name="connsiteX104" fmla="*/ 645868 w 1703143"/>
                  <a:gd name="connsiteY104" fmla="*/ 2473077 h 2673102"/>
                  <a:gd name="connsiteX105" fmla="*/ 598243 w 1703143"/>
                  <a:gd name="connsiteY105" fmla="*/ 2511177 h 2673102"/>
                  <a:gd name="connsiteX106" fmla="*/ 564905 w 1703143"/>
                  <a:gd name="connsiteY106" fmla="*/ 2534989 h 2673102"/>
                  <a:gd name="connsiteX107" fmla="*/ 531568 w 1703143"/>
                  <a:gd name="connsiteY107" fmla="*/ 2554039 h 2673102"/>
                  <a:gd name="connsiteX108" fmla="*/ 488705 w 1703143"/>
                  <a:gd name="connsiteY108" fmla="*/ 2587377 h 2673102"/>
                  <a:gd name="connsiteX109" fmla="*/ 474418 w 1703143"/>
                  <a:gd name="connsiteY109" fmla="*/ 2601664 h 2673102"/>
                  <a:gd name="connsiteX110" fmla="*/ 450605 w 1703143"/>
                  <a:gd name="connsiteY110" fmla="*/ 2620714 h 2673102"/>
                  <a:gd name="connsiteX111" fmla="*/ 441080 w 1703143"/>
                  <a:gd name="connsiteY111" fmla="*/ 2635002 h 2673102"/>
                  <a:gd name="connsiteX112" fmla="*/ 407743 w 1703143"/>
                  <a:gd name="connsiteY112" fmla="*/ 2654052 h 2673102"/>
                  <a:gd name="connsiteX113" fmla="*/ 364880 w 1703143"/>
                  <a:gd name="connsiteY113" fmla="*/ 2673102 h 2673102"/>
                  <a:gd name="connsiteX114" fmla="*/ 350593 w 1703143"/>
                  <a:gd name="connsiteY114" fmla="*/ 2663577 h 2673102"/>
                  <a:gd name="connsiteX115" fmla="*/ 336305 w 1703143"/>
                  <a:gd name="connsiteY115" fmla="*/ 2635002 h 2673102"/>
                  <a:gd name="connsiteX116" fmla="*/ 326780 w 1703143"/>
                  <a:gd name="connsiteY116" fmla="*/ 2620714 h 2673102"/>
                  <a:gd name="connsiteX117" fmla="*/ 288680 w 1703143"/>
                  <a:gd name="connsiteY117" fmla="*/ 2611189 h 2673102"/>
                  <a:gd name="connsiteX118" fmla="*/ 269630 w 1703143"/>
                  <a:gd name="connsiteY118" fmla="*/ 2592139 h 2673102"/>
                  <a:gd name="connsiteX119" fmla="*/ 264868 w 1703143"/>
                  <a:gd name="connsiteY119" fmla="*/ 2573089 h 2673102"/>
                  <a:gd name="connsiteX120" fmla="*/ 226768 w 1703143"/>
                  <a:gd name="connsiteY120" fmla="*/ 2539752 h 2673102"/>
                  <a:gd name="connsiteX121" fmla="*/ 222005 w 1703143"/>
                  <a:gd name="connsiteY121" fmla="*/ 2525464 h 2673102"/>
                  <a:gd name="connsiteX122" fmla="*/ 217243 w 1703143"/>
                  <a:gd name="connsiteY122" fmla="*/ 2506414 h 2673102"/>
                  <a:gd name="connsiteX123" fmla="*/ 202955 w 1703143"/>
                  <a:gd name="connsiteY123" fmla="*/ 2492127 h 2673102"/>
                  <a:gd name="connsiteX124" fmla="*/ 145805 w 1703143"/>
                  <a:gd name="connsiteY124" fmla="*/ 2439739 h 2673102"/>
                  <a:gd name="connsiteX125" fmla="*/ 141043 w 1703143"/>
                  <a:gd name="connsiteY125" fmla="*/ 2415927 h 2673102"/>
                  <a:gd name="connsiteX126" fmla="*/ 126755 w 1703143"/>
                  <a:gd name="connsiteY126" fmla="*/ 2358777 h 2673102"/>
                  <a:gd name="connsiteX127" fmla="*/ 112468 w 1703143"/>
                  <a:gd name="connsiteY127" fmla="*/ 2315914 h 2673102"/>
                  <a:gd name="connsiteX128" fmla="*/ 98180 w 1703143"/>
                  <a:gd name="connsiteY128" fmla="*/ 2258764 h 2673102"/>
                  <a:gd name="connsiteX129" fmla="*/ 93418 w 1703143"/>
                  <a:gd name="connsiteY129" fmla="*/ 2234952 h 2673102"/>
                  <a:gd name="connsiteX130" fmla="*/ 83893 w 1703143"/>
                  <a:gd name="connsiteY130" fmla="*/ 2211139 h 2673102"/>
                  <a:gd name="connsiteX131" fmla="*/ 79130 w 1703143"/>
                  <a:gd name="connsiteY131" fmla="*/ 2187327 h 2673102"/>
                  <a:gd name="connsiteX132" fmla="*/ 69605 w 1703143"/>
                  <a:gd name="connsiteY132" fmla="*/ 2111127 h 2673102"/>
                  <a:gd name="connsiteX133" fmla="*/ 88655 w 1703143"/>
                  <a:gd name="connsiteY133" fmla="*/ 1944439 h 2673102"/>
                  <a:gd name="connsiteX134" fmla="*/ 98180 w 1703143"/>
                  <a:gd name="connsiteY134" fmla="*/ 1930152 h 2673102"/>
                  <a:gd name="connsiteX135" fmla="*/ 117230 w 1703143"/>
                  <a:gd name="connsiteY135" fmla="*/ 1901577 h 2673102"/>
                  <a:gd name="connsiteX136" fmla="*/ 126755 w 1703143"/>
                  <a:gd name="connsiteY136" fmla="*/ 1868239 h 2673102"/>
                  <a:gd name="connsiteX137" fmla="*/ 121993 w 1703143"/>
                  <a:gd name="connsiteY137" fmla="*/ 1825377 h 2673102"/>
                  <a:gd name="connsiteX138" fmla="*/ 102943 w 1703143"/>
                  <a:gd name="connsiteY138" fmla="*/ 1820614 h 2673102"/>
                  <a:gd name="connsiteX139" fmla="*/ 93418 w 1703143"/>
                  <a:gd name="connsiteY139" fmla="*/ 1806327 h 2673102"/>
                  <a:gd name="connsiteX140" fmla="*/ 136280 w 1703143"/>
                  <a:gd name="connsiteY140" fmla="*/ 1720602 h 2673102"/>
                  <a:gd name="connsiteX141" fmla="*/ 150568 w 1703143"/>
                  <a:gd name="connsiteY141" fmla="*/ 1715839 h 2673102"/>
                  <a:gd name="connsiteX142" fmla="*/ 164855 w 1703143"/>
                  <a:gd name="connsiteY142" fmla="*/ 1696789 h 2673102"/>
                  <a:gd name="connsiteX143" fmla="*/ 179143 w 1703143"/>
                  <a:gd name="connsiteY143" fmla="*/ 1687264 h 2673102"/>
                  <a:gd name="connsiteX144" fmla="*/ 193430 w 1703143"/>
                  <a:gd name="connsiteY144" fmla="*/ 1653927 h 2673102"/>
                  <a:gd name="connsiteX145" fmla="*/ 183905 w 1703143"/>
                  <a:gd name="connsiteY145" fmla="*/ 1606302 h 2673102"/>
                  <a:gd name="connsiteX146" fmla="*/ 155330 w 1703143"/>
                  <a:gd name="connsiteY146" fmla="*/ 1596777 h 2673102"/>
                  <a:gd name="connsiteX147" fmla="*/ 145805 w 1703143"/>
                  <a:gd name="connsiteY147" fmla="*/ 1549152 h 2673102"/>
                  <a:gd name="connsiteX148" fmla="*/ 141043 w 1703143"/>
                  <a:gd name="connsiteY148" fmla="*/ 1411039 h 2673102"/>
                  <a:gd name="connsiteX149" fmla="*/ 131518 w 1703143"/>
                  <a:gd name="connsiteY149" fmla="*/ 1377702 h 2673102"/>
                  <a:gd name="connsiteX150" fmla="*/ 112468 w 1703143"/>
                  <a:gd name="connsiteY150" fmla="*/ 1311027 h 2673102"/>
                  <a:gd name="connsiteX151" fmla="*/ 107705 w 1703143"/>
                  <a:gd name="connsiteY151" fmla="*/ 1258639 h 2673102"/>
                  <a:gd name="connsiteX152" fmla="*/ 98180 w 1703143"/>
                  <a:gd name="connsiteY152" fmla="*/ 1244352 h 2673102"/>
                  <a:gd name="connsiteX153" fmla="*/ 83893 w 1703143"/>
                  <a:gd name="connsiteY153" fmla="*/ 1196727 h 2673102"/>
                  <a:gd name="connsiteX154" fmla="*/ 69605 w 1703143"/>
                  <a:gd name="connsiteY154" fmla="*/ 1177677 h 2673102"/>
                  <a:gd name="connsiteX155" fmla="*/ 50555 w 1703143"/>
                  <a:gd name="connsiteY155" fmla="*/ 1139577 h 2673102"/>
                  <a:gd name="connsiteX156" fmla="*/ 41030 w 1703143"/>
                  <a:gd name="connsiteY156" fmla="*/ 1111002 h 2673102"/>
                  <a:gd name="connsiteX157" fmla="*/ 36268 w 1703143"/>
                  <a:gd name="connsiteY157" fmla="*/ 1096714 h 2673102"/>
                  <a:gd name="connsiteX158" fmla="*/ 12455 w 1703143"/>
                  <a:gd name="connsiteY158" fmla="*/ 1025277 h 2673102"/>
                  <a:gd name="connsiteX159" fmla="*/ 2930 w 1703143"/>
                  <a:gd name="connsiteY159" fmla="*/ 991939 h 2673102"/>
                  <a:gd name="connsiteX160" fmla="*/ 5312 w 1703143"/>
                  <a:gd name="connsiteY160" fmla="*/ 930027 h 2673102"/>
                  <a:gd name="connsiteX161" fmla="*/ 60081 w 1703143"/>
                  <a:gd name="connsiteY161" fmla="*/ 810964 h 2673102"/>
                  <a:gd name="connsiteX162" fmla="*/ 212480 w 1703143"/>
                  <a:gd name="connsiteY162" fmla="*/ 601414 h 2673102"/>
                  <a:gd name="connsiteX163" fmla="*/ 279155 w 1703143"/>
                  <a:gd name="connsiteY163" fmla="*/ 515689 h 2673102"/>
                  <a:gd name="connsiteX164" fmla="*/ 402980 w 1703143"/>
                  <a:gd name="connsiteY164" fmla="*/ 406152 h 2673102"/>
                  <a:gd name="connsiteX165" fmla="*/ 526805 w 1703143"/>
                  <a:gd name="connsiteY165" fmla="*/ 291851 h 2673102"/>
                  <a:gd name="connsiteX166" fmla="*/ 631580 w 1703143"/>
                  <a:gd name="connsiteY166" fmla="*/ 229939 h 2673102"/>
                  <a:gd name="connsiteX167" fmla="*/ 724450 w 1703143"/>
                  <a:gd name="connsiteY167" fmla="*/ 168026 h 2673102"/>
                  <a:gd name="connsiteX168" fmla="*/ 969718 w 1703143"/>
                  <a:gd name="connsiteY168" fmla="*/ 63251 h 2673102"/>
                  <a:gd name="connsiteX169" fmla="*/ 1150693 w 1703143"/>
                  <a:gd name="connsiteY169" fmla="*/ 6102 h 2673102"/>
                  <a:gd name="connsiteX170" fmla="*/ 1193555 w 1703143"/>
                  <a:gd name="connsiteY170" fmla="*/ 10864 h 2673102"/>
                  <a:gd name="connsiteX0" fmla="*/ 1202733 w 1712321"/>
                  <a:gd name="connsiteY0" fmla="*/ 10864 h 2673102"/>
                  <a:gd name="connsiteX1" fmla="*/ 1197971 w 1712321"/>
                  <a:gd name="connsiteY1" fmla="*/ 68014 h 2673102"/>
                  <a:gd name="connsiteX2" fmla="*/ 1174158 w 1712321"/>
                  <a:gd name="connsiteY2" fmla="*/ 110877 h 2673102"/>
                  <a:gd name="connsiteX3" fmla="*/ 1164633 w 1712321"/>
                  <a:gd name="connsiteY3" fmla="*/ 129927 h 2673102"/>
                  <a:gd name="connsiteX4" fmla="*/ 1164633 w 1712321"/>
                  <a:gd name="connsiteY4" fmla="*/ 206127 h 2673102"/>
                  <a:gd name="connsiteX5" fmla="*/ 1183683 w 1712321"/>
                  <a:gd name="connsiteY5" fmla="*/ 225177 h 2673102"/>
                  <a:gd name="connsiteX6" fmla="*/ 1202733 w 1712321"/>
                  <a:gd name="connsiteY6" fmla="*/ 258514 h 2673102"/>
                  <a:gd name="connsiteX7" fmla="*/ 1221783 w 1712321"/>
                  <a:gd name="connsiteY7" fmla="*/ 268039 h 2673102"/>
                  <a:gd name="connsiteX8" fmla="*/ 1231308 w 1712321"/>
                  <a:gd name="connsiteY8" fmla="*/ 282327 h 2673102"/>
                  <a:gd name="connsiteX9" fmla="*/ 1245596 w 1712321"/>
                  <a:gd name="connsiteY9" fmla="*/ 296614 h 2673102"/>
                  <a:gd name="connsiteX10" fmla="*/ 1255121 w 1712321"/>
                  <a:gd name="connsiteY10" fmla="*/ 315664 h 2673102"/>
                  <a:gd name="connsiteX11" fmla="*/ 1250358 w 1712321"/>
                  <a:gd name="connsiteY11" fmla="*/ 344239 h 2673102"/>
                  <a:gd name="connsiteX12" fmla="*/ 1245596 w 1712321"/>
                  <a:gd name="connsiteY12" fmla="*/ 363289 h 2673102"/>
                  <a:gd name="connsiteX13" fmla="*/ 1250358 w 1712321"/>
                  <a:gd name="connsiteY13" fmla="*/ 425202 h 2673102"/>
                  <a:gd name="connsiteX14" fmla="*/ 1269408 w 1712321"/>
                  <a:gd name="connsiteY14" fmla="*/ 463302 h 2673102"/>
                  <a:gd name="connsiteX15" fmla="*/ 1278933 w 1712321"/>
                  <a:gd name="connsiteY15" fmla="*/ 477589 h 2673102"/>
                  <a:gd name="connsiteX16" fmla="*/ 1293221 w 1712321"/>
                  <a:gd name="connsiteY16" fmla="*/ 487114 h 2673102"/>
                  <a:gd name="connsiteX17" fmla="*/ 1350371 w 1712321"/>
                  <a:gd name="connsiteY17" fmla="*/ 510927 h 2673102"/>
                  <a:gd name="connsiteX18" fmla="*/ 1378946 w 1712321"/>
                  <a:gd name="connsiteY18" fmla="*/ 520452 h 2673102"/>
                  <a:gd name="connsiteX19" fmla="*/ 1407521 w 1712321"/>
                  <a:gd name="connsiteY19" fmla="*/ 539502 h 2673102"/>
                  <a:gd name="connsiteX20" fmla="*/ 1469433 w 1712321"/>
                  <a:gd name="connsiteY20" fmla="*/ 568077 h 2673102"/>
                  <a:gd name="connsiteX21" fmla="*/ 1521821 w 1712321"/>
                  <a:gd name="connsiteY21" fmla="*/ 587127 h 2673102"/>
                  <a:gd name="connsiteX22" fmla="*/ 1540871 w 1712321"/>
                  <a:gd name="connsiteY22" fmla="*/ 596652 h 2673102"/>
                  <a:gd name="connsiteX23" fmla="*/ 1559921 w 1712321"/>
                  <a:gd name="connsiteY23" fmla="*/ 601414 h 2673102"/>
                  <a:gd name="connsiteX24" fmla="*/ 1607546 w 1712321"/>
                  <a:gd name="connsiteY24" fmla="*/ 639514 h 2673102"/>
                  <a:gd name="connsiteX25" fmla="*/ 1636121 w 1712321"/>
                  <a:gd name="connsiteY25" fmla="*/ 672852 h 2673102"/>
                  <a:gd name="connsiteX26" fmla="*/ 1650408 w 1712321"/>
                  <a:gd name="connsiteY26" fmla="*/ 687139 h 2673102"/>
                  <a:gd name="connsiteX27" fmla="*/ 1669458 w 1712321"/>
                  <a:gd name="connsiteY27" fmla="*/ 696664 h 2673102"/>
                  <a:gd name="connsiteX28" fmla="*/ 1683746 w 1712321"/>
                  <a:gd name="connsiteY28" fmla="*/ 706189 h 2673102"/>
                  <a:gd name="connsiteX29" fmla="*/ 1698033 w 1712321"/>
                  <a:gd name="connsiteY29" fmla="*/ 744289 h 2673102"/>
                  <a:gd name="connsiteX30" fmla="*/ 1707558 w 1712321"/>
                  <a:gd name="connsiteY30" fmla="*/ 768102 h 2673102"/>
                  <a:gd name="connsiteX31" fmla="*/ 1712321 w 1712321"/>
                  <a:gd name="connsiteY31" fmla="*/ 782389 h 2673102"/>
                  <a:gd name="connsiteX32" fmla="*/ 1702796 w 1712321"/>
                  <a:gd name="connsiteY32" fmla="*/ 853827 h 2673102"/>
                  <a:gd name="connsiteX33" fmla="*/ 1664696 w 1712321"/>
                  <a:gd name="connsiteY33" fmla="*/ 887164 h 2673102"/>
                  <a:gd name="connsiteX34" fmla="*/ 1650408 w 1712321"/>
                  <a:gd name="connsiteY34" fmla="*/ 901452 h 2673102"/>
                  <a:gd name="connsiteX35" fmla="*/ 1598021 w 1712321"/>
                  <a:gd name="connsiteY35" fmla="*/ 906214 h 2673102"/>
                  <a:gd name="connsiteX36" fmla="*/ 1555158 w 1712321"/>
                  <a:gd name="connsiteY36" fmla="*/ 925264 h 2673102"/>
                  <a:gd name="connsiteX37" fmla="*/ 1531346 w 1712321"/>
                  <a:gd name="connsiteY37" fmla="*/ 939552 h 2673102"/>
                  <a:gd name="connsiteX38" fmla="*/ 1498008 w 1712321"/>
                  <a:gd name="connsiteY38" fmla="*/ 987177 h 2673102"/>
                  <a:gd name="connsiteX39" fmla="*/ 1478958 w 1712321"/>
                  <a:gd name="connsiteY39" fmla="*/ 1006227 h 2673102"/>
                  <a:gd name="connsiteX40" fmla="*/ 1345608 w 1712321"/>
                  <a:gd name="connsiteY40" fmla="*/ 1030039 h 2673102"/>
                  <a:gd name="connsiteX41" fmla="*/ 1297983 w 1712321"/>
                  <a:gd name="connsiteY41" fmla="*/ 1053852 h 2673102"/>
                  <a:gd name="connsiteX42" fmla="*/ 1231308 w 1712321"/>
                  <a:gd name="connsiteY42" fmla="*/ 1082427 h 2673102"/>
                  <a:gd name="connsiteX43" fmla="*/ 1126533 w 1712321"/>
                  <a:gd name="connsiteY43" fmla="*/ 1096714 h 2673102"/>
                  <a:gd name="connsiteX44" fmla="*/ 1102721 w 1712321"/>
                  <a:gd name="connsiteY44" fmla="*/ 1101477 h 2673102"/>
                  <a:gd name="connsiteX45" fmla="*/ 1078908 w 1712321"/>
                  <a:gd name="connsiteY45" fmla="*/ 1111002 h 2673102"/>
                  <a:gd name="connsiteX46" fmla="*/ 964608 w 1712321"/>
                  <a:gd name="connsiteY46" fmla="*/ 1106239 h 2673102"/>
                  <a:gd name="connsiteX47" fmla="*/ 859833 w 1712321"/>
                  <a:gd name="connsiteY47" fmla="*/ 1058614 h 2673102"/>
                  <a:gd name="connsiteX48" fmla="*/ 812208 w 1712321"/>
                  <a:gd name="connsiteY48" fmla="*/ 1034802 h 2673102"/>
                  <a:gd name="connsiteX49" fmla="*/ 788396 w 1712321"/>
                  <a:gd name="connsiteY49" fmla="*/ 1020514 h 2673102"/>
                  <a:gd name="connsiteX50" fmla="*/ 769346 w 1712321"/>
                  <a:gd name="connsiteY50" fmla="*/ 1006227 h 2673102"/>
                  <a:gd name="connsiteX51" fmla="*/ 678858 w 1712321"/>
                  <a:gd name="connsiteY51" fmla="*/ 958602 h 2673102"/>
                  <a:gd name="connsiteX52" fmla="*/ 645521 w 1712321"/>
                  <a:gd name="connsiteY52" fmla="*/ 939552 h 2673102"/>
                  <a:gd name="connsiteX53" fmla="*/ 526458 w 1712321"/>
                  <a:gd name="connsiteY53" fmla="*/ 910977 h 2673102"/>
                  <a:gd name="connsiteX54" fmla="*/ 483596 w 1712321"/>
                  <a:gd name="connsiteY54" fmla="*/ 891927 h 2673102"/>
                  <a:gd name="connsiteX55" fmla="*/ 421683 w 1712321"/>
                  <a:gd name="connsiteY55" fmla="*/ 882402 h 2673102"/>
                  <a:gd name="connsiteX56" fmla="*/ 321671 w 1712321"/>
                  <a:gd name="connsiteY56" fmla="*/ 896689 h 2673102"/>
                  <a:gd name="connsiteX57" fmla="*/ 307383 w 1712321"/>
                  <a:gd name="connsiteY57" fmla="*/ 910977 h 2673102"/>
                  <a:gd name="connsiteX58" fmla="*/ 283571 w 1712321"/>
                  <a:gd name="connsiteY58" fmla="*/ 949077 h 2673102"/>
                  <a:gd name="connsiteX59" fmla="*/ 269283 w 1712321"/>
                  <a:gd name="connsiteY59" fmla="*/ 987177 h 2673102"/>
                  <a:gd name="connsiteX60" fmla="*/ 264521 w 1712321"/>
                  <a:gd name="connsiteY60" fmla="*/ 1039564 h 2673102"/>
                  <a:gd name="connsiteX61" fmla="*/ 264521 w 1712321"/>
                  <a:gd name="connsiteY61" fmla="*/ 1120527 h 2673102"/>
                  <a:gd name="connsiteX62" fmla="*/ 297858 w 1712321"/>
                  <a:gd name="connsiteY62" fmla="*/ 1153864 h 2673102"/>
                  <a:gd name="connsiteX63" fmla="*/ 326433 w 1712321"/>
                  <a:gd name="connsiteY63" fmla="*/ 1163389 h 2673102"/>
                  <a:gd name="connsiteX64" fmla="*/ 326433 w 1712321"/>
                  <a:gd name="connsiteY64" fmla="*/ 1244352 h 2673102"/>
                  <a:gd name="connsiteX65" fmla="*/ 312146 w 1712321"/>
                  <a:gd name="connsiteY65" fmla="*/ 1258639 h 2673102"/>
                  <a:gd name="connsiteX66" fmla="*/ 259758 w 1712321"/>
                  <a:gd name="connsiteY66" fmla="*/ 1296739 h 2673102"/>
                  <a:gd name="connsiteX67" fmla="*/ 240708 w 1712321"/>
                  <a:gd name="connsiteY67" fmla="*/ 1325314 h 2673102"/>
                  <a:gd name="connsiteX68" fmla="*/ 250233 w 1712321"/>
                  <a:gd name="connsiteY68" fmla="*/ 1425327 h 2673102"/>
                  <a:gd name="connsiteX69" fmla="*/ 278808 w 1712321"/>
                  <a:gd name="connsiteY69" fmla="*/ 1472952 h 2673102"/>
                  <a:gd name="connsiteX70" fmla="*/ 293096 w 1712321"/>
                  <a:gd name="connsiteY70" fmla="*/ 1492002 h 2673102"/>
                  <a:gd name="connsiteX71" fmla="*/ 383583 w 1712321"/>
                  <a:gd name="connsiteY71" fmla="*/ 1525339 h 2673102"/>
                  <a:gd name="connsiteX72" fmla="*/ 407396 w 1712321"/>
                  <a:gd name="connsiteY72" fmla="*/ 1492002 h 2673102"/>
                  <a:gd name="connsiteX73" fmla="*/ 412158 w 1712321"/>
                  <a:gd name="connsiteY73" fmla="*/ 1468189 h 2673102"/>
                  <a:gd name="connsiteX74" fmla="*/ 416921 w 1712321"/>
                  <a:gd name="connsiteY74" fmla="*/ 1449139 h 2673102"/>
                  <a:gd name="connsiteX75" fmla="*/ 445496 w 1712321"/>
                  <a:gd name="connsiteY75" fmla="*/ 1439614 h 2673102"/>
                  <a:gd name="connsiteX76" fmla="*/ 545508 w 1712321"/>
                  <a:gd name="connsiteY76" fmla="*/ 1458664 h 2673102"/>
                  <a:gd name="connsiteX77" fmla="*/ 555033 w 1712321"/>
                  <a:gd name="connsiteY77" fmla="*/ 1482477 h 2673102"/>
                  <a:gd name="connsiteX78" fmla="*/ 564558 w 1712321"/>
                  <a:gd name="connsiteY78" fmla="*/ 1515814 h 2673102"/>
                  <a:gd name="connsiteX79" fmla="*/ 550271 w 1712321"/>
                  <a:gd name="connsiteY79" fmla="*/ 1534864 h 2673102"/>
                  <a:gd name="connsiteX80" fmla="*/ 550271 w 1712321"/>
                  <a:gd name="connsiteY80" fmla="*/ 1601539 h 2673102"/>
                  <a:gd name="connsiteX81" fmla="*/ 559796 w 1712321"/>
                  <a:gd name="connsiteY81" fmla="*/ 1620589 h 2673102"/>
                  <a:gd name="connsiteX82" fmla="*/ 626471 w 1712321"/>
                  <a:gd name="connsiteY82" fmla="*/ 1639639 h 2673102"/>
                  <a:gd name="connsiteX83" fmla="*/ 645521 w 1712321"/>
                  <a:gd name="connsiteY83" fmla="*/ 1592014 h 2673102"/>
                  <a:gd name="connsiteX84" fmla="*/ 702671 w 1712321"/>
                  <a:gd name="connsiteY84" fmla="*/ 1620589 h 2673102"/>
                  <a:gd name="connsiteX85" fmla="*/ 731246 w 1712321"/>
                  <a:gd name="connsiteY85" fmla="*/ 1630114 h 2673102"/>
                  <a:gd name="connsiteX86" fmla="*/ 783633 w 1712321"/>
                  <a:gd name="connsiteY86" fmla="*/ 1663452 h 2673102"/>
                  <a:gd name="connsiteX87" fmla="*/ 859833 w 1712321"/>
                  <a:gd name="connsiteY87" fmla="*/ 1687264 h 2673102"/>
                  <a:gd name="connsiteX88" fmla="*/ 878883 w 1712321"/>
                  <a:gd name="connsiteY88" fmla="*/ 1701552 h 2673102"/>
                  <a:gd name="connsiteX89" fmla="*/ 888408 w 1712321"/>
                  <a:gd name="connsiteY89" fmla="*/ 1739652 h 2673102"/>
                  <a:gd name="connsiteX90" fmla="*/ 897933 w 1712321"/>
                  <a:gd name="connsiteY90" fmla="*/ 1782514 h 2673102"/>
                  <a:gd name="connsiteX91" fmla="*/ 940796 w 1712321"/>
                  <a:gd name="connsiteY91" fmla="*/ 1892052 h 2673102"/>
                  <a:gd name="connsiteX92" fmla="*/ 950321 w 1712321"/>
                  <a:gd name="connsiteY92" fmla="*/ 1906339 h 2673102"/>
                  <a:gd name="connsiteX93" fmla="*/ 959846 w 1712321"/>
                  <a:gd name="connsiteY93" fmla="*/ 1939677 h 2673102"/>
                  <a:gd name="connsiteX94" fmla="*/ 974133 w 1712321"/>
                  <a:gd name="connsiteY94" fmla="*/ 1977777 h 2673102"/>
                  <a:gd name="connsiteX95" fmla="*/ 964608 w 1712321"/>
                  <a:gd name="connsiteY95" fmla="*/ 2082552 h 2673102"/>
                  <a:gd name="connsiteX96" fmla="*/ 955083 w 1712321"/>
                  <a:gd name="connsiteY96" fmla="*/ 2101602 h 2673102"/>
                  <a:gd name="connsiteX97" fmla="*/ 926508 w 1712321"/>
                  <a:gd name="connsiteY97" fmla="*/ 2144464 h 2673102"/>
                  <a:gd name="connsiteX98" fmla="*/ 907458 w 1712321"/>
                  <a:gd name="connsiteY98" fmla="*/ 2192089 h 2673102"/>
                  <a:gd name="connsiteX99" fmla="*/ 902696 w 1712321"/>
                  <a:gd name="connsiteY99" fmla="*/ 2211139 h 2673102"/>
                  <a:gd name="connsiteX100" fmla="*/ 893171 w 1712321"/>
                  <a:gd name="connsiteY100" fmla="*/ 2239714 h 2673102"/>
                  <a:gd name="connsiteX101" fmla="*/ 897933 w 1712321"/>
                  <a:gd name="connsiteY101" fmla="*/ 2287339 h 2673102"/>
                  <a:gd name="connsiteX102" fmla="*/ 893171 w 1712321"/>
                  <a:gd name="connsiteY102" fmla="*/ 2396877 h 2673102"/>
                  <a:gd name="connsiteX103" fmla="*/ 688383 w 1712321"/>
                  <a:gd name="connsiteY103" fmla="*/ 2449264 h 2673102"/>
                  <a:gd name="connsiteX104" fmla="*/ 655046 w 1712321"/>
                  <a:gd name="connsiteY104" fmla="*/ 2473077 h 2673102"/>
                  <a:gd name="connsiteX105" fmla="*/ 607421 w 1712321"/>
                  <a:gd name="connsiteY105" fmla="*/ 2511177 h 2673102"/>
                  <a:gd name="connsiteX106" fmla="*/ 574083 w 1712321"/>
                  <a:gd name="connsiteY106" fmla="*/ 2534989 h 2673102"/>
                  <a:gd name="connsiteX107" fmla="*/ 540746 w 1712321"/>
                  <a:gd name="connsiteY107" fmla="*/ 2554039 h 2673102"/>
                  <a:gd name="connsiteX108" fmla="*/ 497883 w 1712321"/>
                  <a:gd name="connsiteY108" fmla="*/ 2587377 h 2673102"/>
                  <a:gd name="connsiteX109" fmla="*/ 483596 w 1712321"/>
                  <a:gd name="connsiteY109" fmla="*/ 2601664 h 2673102"/>
                  <a:gd name="connsiteX110" fmla="*/ 459783 w 1712321"/>
                  <a:gd name="connsiteY110" fmla="*/ 2620714 h 2673102"/>
                  <a:gd name="connsiteX111" fmla="*/ 450258 w 1712321"/>
                  <a:gd name="connsiteY111" fmla="*/ 2635002 h 2673102"/>
                  <a:gd name="connsiteX112" fmla="*/ 416921 w 1712321"/>
                  <a:gd name="connsiteY112" fmla="*/ 2654052 h 2673102"/>
                  <a:gd name="connsiteX113" fmla="*/ 374058 w 1712321"/>
                  <a:gd name="connsiteY113" fmla="*/ 2673102 h 2673102"/>
                  <a:gd name="connsiteX114" fmla="*/ 359771 w 1712321"/>
                  <a:gd name="connsiteY114" fmla="*/ 2663577 h 2673102"/>
                  <a:gd name="connsiteX115" fmla="*/ 345483 w 1712321"/>
                  <a:gd name="connsiteY115" fmla="*/ 2635002 h 2673102"/>
                  <a:gd name="connsiteX116" fmla="*/ 335958 w 1712321"/>
                  <a:gd name="connsiteY116" fmla="*/ 2620714 h 2673102"/>
                  <a:gd name="connsiteX117" fmla="*/ 297858 w 1712321"/>
                  <a:gd name="connsiteY117" fmla="*/ 2611189 h 2673102"/>
                  <a:gd name="connsiteX118" fmla="*/ 278808 w 1712321"/>
                  <a:gd name="connsiteY118" fmla="*/ 2592139 h 2673102"/>
                  <a:gd name="connsiteX119" fmla="*/ 274046 w 1712321"/>
                  <a:gd name="connsiteY119" fmla="*/ 2573089 h 2673102"/>
                  <a:gd name="connsiteX120" fmla="*/ 235946 w 1712321"/>
                  <a:gd name="connsiteY120" fmla="*/ 2539752 h 2673102"/>
                  <a:gd name="connsiteX121" fmla="*/ 231183 w 1712321"/>
                  <a:gd name="connsiteY121" fmla="*/ 2525464 h 2673102"/>
                  <a:gd name="connsiteX122" fmla="*/ 226421 w 1712321"/>
                  <a:gd name="connsiteY122" fmla="*/ 2506414 h 2673102"/>
                  <a:gd name="connsiteX123" fmla="*/ 212133 w 1712321"/>
                  <a:gd name="connsiteY123" fmla="*/ 2492127 h 2673102"/>
                  <a:gd name="connsiteX124" fmla="*/ 154983 w 1712321"/>
                  <a:gd name="connsiteY124" fmla="*/ 2439739 h 2673102"/>
                  <a:gd name="connsiteX125" fmla="*/ 150221 w 1712321"/>
                  <a:gd name="connsiteY125" fmla="*/ 2415927 h 2673102"/>
                  <a:gd name="connsiteX126" fmla="*/ 135933 w 1712321"/>
                  <a:gd name="connsiteY126" fmla="*/ 2358777 h 2673102"/>
                  <a:gd name="connsiteX127" fmla="*/ 121646 w 1712321"/>
                  <a:gd name="connsiteY127" fmla="*/ 2315914 h 2673102"/>
                  <a:gd name="connsiteX128" fmla="*/ 107358 w 1712321"/>
                  <a:gd name="connsiteY128" fmla="*/ 2258764 h 2673102"/>
                  <a:gd name="connsiteX129" fmla="*/ 102596 w 1712321"/>
                  <a:gd name="connsiteY129" fmla="*/ 2234952 h 2673102"/>
                  <a:gd name="connsiteX130" fmla="*/ 93071 w 1712321"/>
                  <a:gd name="connsiteY130" fmla="*/ 2211139 h 2673102"/>
                  <a:gd name="connsiteX131" fmla="*/ 88308 w 1712321"/>
                  <a:gd name="connsiteY131" fmla="*/ 2187327 h 2673102"/>
                  <a:gd name="connsiteX132" fmla="*/ 78783 w 1712321"/>
                  <a:gd name="connsiteY132" fmla="*/ 2111127 h 2673102"/>
                  <a:gd name="connsiteX133" fmla="*/ 97833 w 1712321"/>
                  <a:gd name="connsiteY133" fmla="*/ 1944439 h 2673102"/>
                  <a:gd name="connsiteX134" fmla="*/ 107358 w 1712321"/>
                  <a:gd name="connsiteY134" fmla="*/ 1930152 h 2673102"/>
                  <a:gd name="connsiteX135" fmla="*/ 126408 w 1712321"/>
                  <a:gd name="connsiteY135" fmla="*/ 1901577 h 2673102"/>
                  <a:gd name="connsiteX136" fmla="*/ 135933 w 1712321"/>
                  <a:gd name="connsiteY136" fmla="*/ 1868239 h 2673102"/>
                  <a:gd name="connsiteX137" fmla="*/ 131171 w 1712321"/>
                  <a:gd name="connsiteY137" fmla="*/ 1825377 h 2673102"/>
                  <a:gd name="connsiteX138" fmla="*/ 112121 w 1712321"/>
                  <a:gd name="connsiteY138" fmla="*/ 1820614 h 2673102"/>
                  <a:gd name="connsiteX139" fmla="*/ 102596 w 1712321"/>
                  <a:gd name="connsiteY139" fmla="*/ 1806327 h 2673102"/>
                  <a:gd name="connsiteX140" fmla="*/ 145458 w 1712321"/>
                  <a:gd name="connsiteY140" fmla="*/ 1720602 h 2673102"/>
                  <a:gd name="connsiteX141" fmla="*/ 159746 w 1712321"/>
                  <a:gd name="connsiteY141" fmla="*/ 1715839 h 2673102"/>
                  <a:gd name="connsiteX142" fmla="*/ 174033 w 1712321"/>
                  <a:gd name="connsiteY142" fmla="*/ 1696789 h 2673102"/>
                  <a:gd name="connsiteX143" fmla="*/ 188321 w 1712321"/>
                  <a:gd name="connsiteY143" fmla="*/ 1687264 h 2673102"/>
                  <a:gd name="connsiteX144" fmla="*/ 202608 w 1712321"/>
                  <a:gd name="connsiteY144" fmla="*/ 1653927 h 2673102"/>
                  <a:gd name="connsiteX145" fmla="*/ 193083 w 1712321"/>
                  <a:gd name="connsiteY145" fmla="*/ 1606302 h 2673102"/>
                  <a:gd name="connsiteX146" fmla="*/ 164508 w 1712321"/>
                  <a:gd name="connsiteY146" fmla="*/ 1596777 h 2673102"/>
                  <a:gd name="connsiteX147" fmla="*/ 154983 w 1712321"/>
                  <a:gd name="connsiteY147" fmla="*/ 1549152 h 2673102"/>
                  <a:gd name="connsiteX148" fmla="*/ 150221 w 1712321"/>
                  <a:gd name="connsiteY148" fmla="*/ 1411039 h 2673102"/>
                  <a:gd name="connsiteX149" fmla="*/ 140696 w 1712321"/>
                  <a:gd name="connsiteY149" fmla="*/ 1377702 h 2673102"/>
                  <a:gd name="connsiteX150" fmla="*/ 121646 w 1712321"/>
                  <a:gd name="connsiteY150" fmla="*/ 1311027 h 2673102"/>
                  <a:gd name="connsiteX151" fmla="*/ 116883 w 1712321"/>
                  <a:gd name="connsiteY151" fmla="*/ 1258639 h 2673102"/>
                  <a:gd name="connsiteX152" fmla="*/ 107358 w 1712321"/>
                  <a:gd name="connsiteY152" fmla="*/ 1244352 h 2673102"/>
                  <a:gd name="connsiteX153" fmla="*/ 93071 w 1712321"/>
                  <a:gd name="connsiteY153" fmla="*/ 1196727 h 2673102"/>
                  <a:gd name="connsiteX154" fmla="*/ 78783 w 1712321"/>
                  <a:gd name="connsiteY154" fmla="*/ 1177677 h 2673102"/>
                  <a:gd name="connsiteX155" fmla="*/ 59733 w 1712321"/>
                  <a:gd name="connsiteY155" fmla="*/ 1139577 h 2673102"/>
                  <a:gd name="connsiteX156" fmla="*/ 50208 w 1712321"/>
                  <a:gd name="connsiteY156" fmla="*/ 1111002 h 2673102"/>
                  <a:gd name="connsiteX157" fmla="*/ 45446 w 1712321"/>
                  <a:gd name="connsiteY157" fmla="*/ 1096714 h 2673102"/>
                  <a:gd name="connsiteX158" fmla="*/ 21633 w 1712321"/>
                  <a:gd name="connsiteY158" fmla="*/ 1025277 h 2673102"/>
                  <a:gd name="connsiteX159" fmla="*/ 202 w 1712321"/>
                  <a:gd name="connsiteY159" fmla="*/ 980033 h 2673102"/>
                  <a:gd name="connsiteX160" fmla="*/ 14490 w 1712321"/>
                  <a:gd name="connsiteY160" fmla="*/ 930027 h 2673102"/>
                  <a:gd name="connsiteX161" fmla="*/ 69259 w 1712321"/>
                  <a:gd name="connsiteY161" fmla="*/ 810964 h 2673102"/>
                  <a:gd name="connsiteX162" fmla="*/ 221658 w 1712321"/>
                  <a:gd name="connsiteY162" fmla="*/ 601414 h 2673102"/>
                  <a:gd name="connsiteX163" fmla="*/ 288333 w 1712321"/>
                  <a:gd name="connsiteY163" fmla="*/ 515689 h 2673102"/>
                  <a:gd name="connsiteX164" fmla="*/ 412158 w 1712321"/>
                  <a:gd name="connsiteY164" fmla="*/ 406152 h 2673102"/>
                  <a:gd name="connsiteX165" fmla="*/ 535983 w 1712321"/>
                  <a:gd name="connsiteY165" fmla="*/ 291851 h 2673102"/>
                  <a:gd name="connsiteX166" fmla="*/ 640758 w 1712321"/>
                  <a:gd name="connsiteY166" fmla="*/ 229939 h 2673102"/>
                  <a:gd name="connsiteX167" fmla="*/ 733628 w 1712321"/>
                  <a:gd name="connsiteY167" fmla="*/ 168026 h 2673102"/>
                  <a:gd name="connsiteX168" fmla="*/ 978896 w 1712321"/>
                  <a:gd name="connsiteY168" fmla="*/ 63251 h 2673102"/>
                  <a:gd name="connsiteX169" fmla="*/ 1159871 w 1712321"/>
                  <a:gd name="connsiteY169" fmla="*/ 6102 h 2673102"/>
                  <a:gd name="connsiteX170" fmla="*/ 1202733 w 1712321"/>
                  <a:gd name="connsiteY170" fmla="*/ 10864 h 2673102"/>
                  <a:gd name="connsiteX0" fmla="*/ 1202733 w 1712321"/>
                  <a:gd name="connsiteY0" fmla="*/ 10864 h 2673102"/>
                  <a:gd name="connsiteX1" fmla="*/ 1197971 w 1712321"/>
                  <a:gd name="connsiteY1" fmla="*/ 68014 h 2673102"/>
                  <a:gd name="connsiteX2" fmla="*/ 1174158 w 1712321"/>
                  <a:gd name="connsiteY2" fmla="*/ 110877 h 2673102"/>
                  <a:gd name="connsiteX3" fmla="*/ 1164633 w 1712321"/>
                  <a:gd name="connsiteY3" fmla="*/ 129927 h 2673102"/>
                  <a:gd name="connsiteX4" fmla="*/ 1164633 w 1712321"/>
                  <a:gd name="connsiteY4" fmla="*/ 206127 h 2673102"/>
                  <a:gd name="connsiteX5" fmla="*/ 1183683 w 1712321"/>
                  <a:gd name="connsiteY5" fmla="*/ 225177 h 2673102"/>
                  <a:gd name="connsiteX6" fmla="*/ 1202733 w 1712321"/>
                  <a:gd name="connsiteY6" fmla="*/ 258514 h 2673102"/>
                  <a:gd name="connsiteX7" fmla="*/ 1221783 w 1712321"/>
                  <a:gd name="connsiteY7" fmla="*/ 268039 h 2673102"/>
                  <a:gd name="connsiteX8" fmla="*/ 1231308 w 1712321"/>
                  <a:gd name="connsiteY8" fmla="*/ 282327 h 2673102"/>
                  <a:gd name="connsiteX9" fmla="*/ 1245596 w 1712321"/>
                  <a:gd name="connsiteY9" fmla="*/ 296614 h 2673102"/>
                  <a:gd name="connsiteX10" fmla="*/ 1255121 w 1712321"/>
                  <a:gd name="connsiteY10" fmla="*/ 315664 h 2673102"/>
                  <a:gd name="connsiteX11" fmla="*/ 1250358 w 1712321"/>
                  <a:gd name="connsiteY11" fmla="*/ 344239 h 2673102"/>
                  <a:gd name="connsiteX12" fmla="*/ 1245596 w 1712321"/>
                  <a:gd name="connsiteY12" fmla="*/ 363289 h 2673102"/>
                  <a:gd name="connsiteX13" fmla="*/ 1250358 w 1712321"/>
                  <a:gd name="connsiteY13" fmla="*/ 425202 h 2673102"/>
                  <a:gd name="connsiteX14" fmla="*/ 1269408 w 1712321"/>
                  <a:gd name="connsiteY14" fmla="*/ 463302 h 2673102"/>
                  <a:gd name="connsiteX15" fmla="*/ 1278933 w 1712321"/>
                  <a:gd name="connsiteY15" fmla="*/ 477589 h 2673102"/>
                  <a:gd name="connsiteX16" fmla="*/ 1293221 w 1712321"/>
                  <a:gd name="connsiteY16" fmla="*/ 487114 h 2673102"/>
                  <a:gd name="connsiteX17" fmla="*/ 1350371 w 1712321"/>
                  <a:gd name="connsiteY17" fmla="*/ 510927 h 2673102"/>
                  <a:gd name="connsiteX18" fmla="*/ 1378946 w 1712321"/>
                  <a:gd name="connsiteY18" fmla="*/ 520452 h 2673102"/>
                  <a:gd name="connsiteX19" fmla="*/ 1407521 w 1712321"/>
                  <a:gd name="connsiteY19" fmla="*/ 539502 h 2673102"/>
                  <a:gd name="connsiteX20" fmla="*/ 1469433 w 1712321"/>
                  <a:gd name="connsiteY20" fmla="*/ 568077 h 2673102"/>
                  <a:gd name="connsiteX21" fmla="*/ 1521821 w 1712321"/>
                  <a:gd name="connsiteY21" fmla="*/ 587127 h 2673102"/>
                  <a:gd name="connsiteX22" fmla="*/ 1540871 w 1712321"/>
                  <a:gd name="connsiteY22" fmla="*/ 596652 h 2673102"/>
                  <a:gd name="connsiteX23" fmla="*/ 1559921 w 1712321"/>
                  <a:gd name="connsiteY23" fmla="*/ 601414 h 2673102"/>
                  <a:gd name="connsiteX24" fmla="*/ 1607546 w 1712321"/>
                  <a:gd name="connsiteY24" fmla="*/ 639514 h 2673102"/>
                  <a:gd name="connsiteX25" fmla="*/ 1636121 w 1712321"/>
                  <a:gd name="connsiteY25" fmla="*/ 672852 h 2673102"/>
                  <a:gd name="connsiteX26" fmla="*/ 1650408 w 1712321"/>
                  <a:gd name="connsiteY26" fmla="*/ 687139 h 2673102"/>
                  <a:gd name="connsiteX27" fmla="*/ 1669458 w 1712321"/>
                  <a:gd name="connsiteY27" fmla="*/ 696664 h 2673102"/>
                  <a:gd name="connsiteX28" fmla="*/ 1683746 w 1712321"/>
                  <a:gd name="connsiteY28" fmla="*/ 706189 h 2673102"/>
                  <a:gd name="connsiteX29" fmla="*/ 1698033 w 1712321"/>
                  <a:gd name="connsiteY29" fmla="*/ 744289 h 2673102"/>
                  <a:gd name="connsiteX30" fmla="*/ 1707558 w 1712321"/>
                  <a:gd name="connsiteY30" fmla="*/ 768102 h 2673102"/>
                  <a:gd name="connsiteX31" fmla="*/ 1712321 w 1712321"/>
                  <a:gd name="connsiteY31" fmla="*/ 782389 h 2673102"/>
                  <a:gd name="connsiteX32" fmla="*/ 1702796 w 1712321"/>
                  <a:gd name="connsiteY32" fmla="*/ 853827 h 2673102"/>
                  <a:gd name="connsiteX33" fmla="*/ 1664696 w 1712321"/>
                  <a:gd name="connsiteY33" fmla="*/ 887164 h 2673102"/>
                  <a:gd name="connsiteX34" fmla="*/ 1650408 w 1712321"/>
                  <a:gd name="connsiteY34" fmla="*/ 901452 h 2673102"/>
                  <a:gd name="connsiteX35" fmla="*/ 1598021 w 1712321"/>
                  <a:gd name="connsiteY35" fmla="*/ 906214 h 2673102"/>
                  <a:gd name="connsiteX36" fmla="*/ 1555158 w 1712321"/>
                  <a:gd name="connsiteY36" fmla="*/ 925264 h 2673102"/>
                  <a:gd name="connsiteX37" fmla="*/ 1531346 w 1712321"/>
                  <a:gd name="connsiteY37" fmla="*/ 939552 h 2673102"/>
                  <a:gd name="connsiteX38" fmla="*/ 1498008 w 1712321"/>
                  <a:gd name="connsiteY38" fmla="*/ 987177 h 2673102"/>
                  <a:gd name="connsiteX39" fmla="*/ 1345608 w 1712321"/>
                  <a:gd name="connsiteY39" fmla="*/ 1030039 h 2673102"/>
                  <a:gd name="connsiteX40" fmla="*/ 1297983 w 1712321"/>
                  <a:gd name="connsiteY40" fmla="*/ 1053852 h 2673102"/>
                  <a:gd name="connsiteX41" fmla="*/ 1231308 w 1712321"/>
                  <a:gd name="connsiteY41" fmla="*/ 1082427 h 2673102"/>
                  <a:gd name="connsiteX42" fmla="*/ 1126533 w 1712321"/>
                  <a:gd name="connsiteY42" fmla="*/ 1096714 h 2673102"/>
                  <a:gd name="connsiteX43" fmla="*/ 1102721 w 1712321"/>
                  <a:gd name="connsiteY43" fmla="*/ 1101477 h 2673102"/>
                  <a:gd name="connsiteX44" fmla="*/ 1078908 w 1712321"/>
                  <a:gd name="connsiteY44" fmla="*/ 1111002 h 2673102"/>
                  <a:gd name="connsiteX45" fmla="*/ 964608 w 1712321"/>
                  <a:gd name="connsiteY45" fmla="*/ 1106239 h 2673102"/>
                  <a:gd name="connsiteX46" fmla="*/ 859833 w 1712321"/>
                  <a:gd name="connsiteY46" fmla="*/ 1058614 h 2673102"/>
                  <a:gd name="connsiteX47" fmla="*/ 812208 w 1712321"/>
                  <a:gd name="connsiteY47" fmla="*/ 1034802 h 2673102"/>
                  <a:gd name="connsiteX48" fmla="*/ 788396 w 1712321"/>
                  <a:gd name="connsiteY48" fmla="*/ 1020514 h 2673102"/>
                  <a:gd name="connsiteX49" fmla="*/ 769346 w 1712321"/>
                  <a:gd name="connsiteY49" fmla="*/ 1006227 h 2673102"/>
                  <a:gd name="connsiteX50" fmla="*/ 678858 w 1712321"/>
                  <a:gd name="connsiteY50" fmla="*/ 958602 h 2673102"/>
                  <a:gd name="connsiteX51" fmla="*/ 645521 w 1712321"/>
                  <a:gd name="connsiteY51" fmla="*/ 939552 h 2673102"/>
                  <a:gd name="connsiteX52" fmla="*/ 526458 w 1712321"/>
                  <a:gd name="connsiteY52" fmla="*/ 910977 h 2673102"/>
                  <a:gd name="connsiteX53" fmla="*/ 483596 w 1712321"/>
                  <a:gd name="connsiteY53" fmla="*/ 891927 h 2673102"/>
                  <a:gd name="connsiteX54" fmla="*/ 421683 w 1712321"/>
                  <a:gd name="connsiteY54" fmla="*/ 882402 h 2673102"/>
                  <a:gd name="connsiteX55" fmla="*/ 321671 w 1712321"/>
                  <a:gd name="connsiteY55" fmla="*/ 896689 h 2673102"/>
                  <a:gd name="connsiteX56" fmla="*/ 307383 w 1712321"/>
                  <a:gd name="connsiteY56" fmla="*/ 910977 h 2673102"/>
                  <a:gd name="connsiteX57" fmla="*/ 283571 w 1712321"/>
                  <a:gd name="connsiteY57" fmla="*/ 949077 h 2673102"/>
                  <a:gd name="connsiteX58" fmla="*/ 269283 w 1712321"/>
                  <a:gd name="connsiteY58" fmla="*/ 987177 h 2673102"/>
                  <a:gd name="connsiteX59" fmla="*/ 264521 w 1712321"/>
                  <a:gd name="connsiteY59" fmla="*/ 1039564 h 2673102"/>
                  <a:gd name="connsiteX60" fmla="*/ 264521 w 1712321"/>
                  <a:gd name="connsiteY60" fmla="*/ 1120527 h 2673102"/>
                  <a:gd name="connsiteX61" fmla="*/ 297858 w 1712321"/>
                  <a:gd name="connsiteY61" fmla="*/ 1153864 h 2673102"/>
                  <a:gd name="connsiteX62" fmla="*/ 326433 w 1712321"/>
                  <a:gd name="connsiteY62" fmla="*/ 1163389 h 2673102"/>
                  <a:gd name="connsiteX63" fmla="*/ 326433 w 1712321"/>
                  <a:gd name="connsiteY63" fmla="*/ 1244352 h 2673102"/>
                  <a:gd name="connsiteX64" fmla="*/ 312146 w 1712321"/>
                  <a:gd name="connsiteY64" fmla="*/ 1258639 h 2673102"/>
                  <a:gd name="connsiteX65" fmla="*/ 259758 w 1712321"/>
                  <a:gd name="connsiteY65" fmla="*/ 1296739 h 2673102"/>
                  <a:gd name="connsiteX66" fmla="*/ 240708 w 1712321"/>
                  <a:gd name="connsiteY66" fmla="*/ 1325314 h 2673102"/>
                  <a:gd name="connsiteX67" fmla="*/ 250233 w 1712321"/>
                  <a:gd name="connsiteY67" fmla="*/ 1425327 h 2673102"/>
                  <a:gd name="connsiteX68" fmla="*/ 278808 w 1712321"/>
                  <a:gd name="connsiteY68" fmla="*/ 1472952 h 2673102"/>
                  <a:gd name="connsiteX69" fmla="*/ 293096 w 1712321"/>
                  <a:gd name="connsiteY69" fmla="*/ 1492002 h 2673102"/>
                  <a:gd name="connsiteX70" fmla="*/ 383583 w 1712321"/>
                  <a:gd name="connsiteY70" fmla="*/ 1525339 h 2673102"/>
                  <a:gd name="connsiteX71" fmla="*/ 407396 w 1712321"/>
                  <a:gd name="connsiteY71" fmla="*/ 1492002 h 2673102"/>
                  <a:gd name="connsiteX72" fmla="*/ 412158 w 1712321"/>
                  <a:gd name="connsiteY72" fmla="*/ 1468189 h 2673102"/>
                  <a:gd name="connsiteX73" fmla="*/ 416921 w 1712321"/>
                  <a:gd name="connsiteY73" fmla="*/ 1449139 h 2673102"/>
                  <a:gd name="connsiteX74" fmla="*/ 445496 w 1712321"/>
                  <a:gd name="connsiteY74" fmla="*/ 1439614 h 2673102"/>
                  <a:gd name="connsiteX75" fmla="*/ 545508 w 1712321"/>
                  <a:gd name="connsiteY75" fmla="*/ 1458664 h 2673102"/>
                  <a:gd name="connsiteX76" fmla="*/ 555033 w 1712321"/>
                  <a:gd name="connsiteY76" fmla="*/ 1482477 h 2673102"/>
                  <a:gd name="connsiteX77" fmla="*/ 564558 w 1712321"/>
                  <a:gd name="connsiteY77" fmla="*/ 1515814 h 2673102"/>
                  <a:gd name="connsiteX78" fmla="*/ 550271 w 1712321"/>
                  <a:gd name="connsiteY78" fmla="*/ 1534864 h 2673102"/>
                  <a:gd name="connsiteX79" fmla="*/ 550271 w 1712321"/>
                  <a:gd name="connsiteY79" fmla="*/ 1601539 h 2673102"/>
                  <a:gd name="connsiteX80" fmla="*/ 559796 w 1712321"/>
                  <a:gd name="connsiteY80" fmla="*/ 1620589 h 2673102"/>
                  <a:gd name="connsiteX81" fmla="*/ 626471 w 1712321"/>
                  <a:gd name="connsiteY81" fmla="*/ 1639639 h 2673102"/>
                  <a:gd name="connsiteX82" fmla="*/ 645521 w 1712321"/>
                  <a:gd name="connsiteY82" fmla="*/ 1592014 h 2673102"/>
                  <a:gd name="connsiteX83" fmla="*/ 702671 w 1712321"/>
                  <a:gd name="connsiteY83" fmla="*/ 1620589 h 2673102"/>
                  <a:gd name="connsiteX84" fmla="*/ 731246 w 1712321"/>
                  <a:gd name="connsiteY84" fmla="*/ 1630114 h 2673102"/>
                  <a:gd name="connsiteX85" fmla="*/ 783633 w 1712321"/>
                  <a:gd name="connsiteY85" fmla="*/ 1663452 h 2673102"/>
                  <a:gd name="connsiteX86" fmla="*/ 859833 w 1712321"/>
                  <a:gd name="connsiteY86" fmla="*/ 1687264 h 2673102"/>
                  <a:gd name="connsiteX87" fmla="*/ 878883 w 1712321"/>
                  <a:gd name="connsiteY87" fmla="*/ 1701552 h 2673102"/>
                  <a:gd name="connsiteX88" fmla="*/ 888408 w 1712321"/>
                  <a:gd name="connsiteY88" fmla="*/ 1739652 h 2673102"/>
                  <a:gd name="connsiteX89" fmla="*/ 897933 w 1712321"/>
                  <a:gd name="connsiteY89" fmla="*/ 1782514 h 2673102"/>
                  <a:gd name="connsiteX90" fmla="*/ 940796 w 1712321"/>
                  <a:gd name="connsiteY90" fmla="*/ 1892052 h 2673102"/>
                  <a:gd name="connsiteX91" fmla="*/ 950321 w 1712321"/>
                  <a:gd name="connsiteY91" fmla="*/ 1906339 h 2673102"/>
                  <a:gd name="connsiteX92" fmla="*/ 959846 w 1712321"/>
                  <a:gd name="connsiteY92" fmla="*/ 1939677 h 2673102"/>
                  <a:gd name="connsiteX93" fmla="*/ 974133 w 1712321"/>
                  <a:gd name="connsiteY93" fmla="*/ 1977777 h 2673102"/>
                  <a:gd name="connsiteX94" fmla="*/ 964608 w 1712321"/>
                  <a:gd name="connsiteY94" fmla="*/ 2082552 h 2673102"/>
                  <a:gd name="connsiteX95" fmla="*/ 955083 w 1712321"/>
                  <a:gd name="connsiteY95" fmla="*/ 2101602 h 2673102"/>
                  <a:gd name="connsiteX96" fmla="*/ 926508 w 1712321"/>
                  <a:gd name="connsiteY96" fmla="*/ 2144464 h 2673102"/>
                  <a:gd name="connsiteX97" fmla="*/ 907458 w 1712321"/>
                  <a:gd name="connsiteY97" fmla="*/ 2192089 h 2673102"/>
                  <a:gd name="connsiteX98" fmla="*/ 902696 w 1712321"/>
                  <a:gd name="connsiteY98" fmla="*/ 2211139 h 2673102"/>
                  <a:gd name="connsiteX99" fmla="*/ 893171 w 1712321"/>
                  <a:gd name="connsiteY99" fmla="*/ 2239714 h 2673102"/>
                  <a:gd name="connsiteX100" fmla="*/ 897933 w 1712321"/>
                  <a:gd name="connsiteY100" fmla="*/ 2287339 h 2673102"/>
                  <a:gd name="connsiteX101" fmla="*/ 893171 w 1712321"/>
                  <a:gd name="connsiteY101" fmla="*/ 2396877 h 2673102"/>
                  <a:gd name="connsiteX102" fmla="*/ 688383 w 1712321"/>
                  <a:gd name="connsiteY102" fmla="*/ 2449264 h 2673102"/>
                  <a:gd name="connsiteX103" fmla="*/ 655046 w 1712321"/>
                  <a:gd name="connsiteY103" fmla="*/ 2473077 h 2673102"/>
                  <a:gd name="connsiteX104" fmla="*/ 607421 w 1712321"/>
                  <a:gd name="connsiteY104" fmla="*/ 2511177 h 2673102"/>
                  <a:gd name="connsiteX105" fmla="*/ 574083 w 1712321"/>
                  <a:gd name="connsiteY105" fmla="*/ 2534989 h 2673102"/>
                  <a:gd name="connsiteX106" fmla="*/ 540746 w 1712321"/>
                  <a:gd name="connsiteY106" fmla="*/ 2554039 h 2673102"/>
                  <a:gd name="connsiteX107" fmla="*/ 497883 w 1712321"/>
                  <a:gd name="connsiteY107" fmla="*/ 2587377 h 2673102"/>
                  <a:gd name="connsiteX108" fmla="*/ 483596 w 1712321"/>
                  <a:gd name="connsiteY108" fmla="*/ 2601664 h 2673102"/>
                  <a:gd name="connsiteX109" fmla="*/ 459783 w 1712321"/>
                  <a:gd name="connsiteY109" fmla="*/ 2620714 h 2673102"/>
                  <a:gd name="connsiteX110" fmla="*/ 450258 w 1712321"/>
                  <a:gd name="connsiteY110" fmla="*/ 2635002 h 2673102"/>
                  <a:gd name="connsiteX111" fmla="*/ 416921 w 1712321"/>
                  <a:gd name="connsiteY111" fmla="*/ 2654052 h 2673102"/>
                  <a:gd name="connsiteX112" fmla="*/ 374058 w 1712321"/>
                  <a:gd name="connsiteY112" fmla="*/ 2673102 h 2673102"/>
                  <a:gd name="connsiteX113" fmla="*/ 359771 w 1712321"/>
                  <a:gd name="connsiteY113" fmla="*/ 2663577 h 2673102"/>
                  <a:gd name="connsiteX114" fmla="*/ 345483 w 1712321"/>
                  <a:gd name="connsiteY114" fmla="*/ 2635002 h 2673102"/>
                  <a:gd name="connsiteX115" fmla="*/ 335958 w 1712321"/>
                  <a:gd name="connsiteY115" fmla="*/ 2620714 h 2673102"/>
                  <a:gd name="connsiteX116" fmla="*/ 297858 w 1712321"/>
                  <a:gd name="connsiteY116" fmla="*/ 2611189 h 2673102"/>
                  <a:gd name="connsiteX117" fmla="*/ 278808 w 1712321"/>
                  <a:gd name="connsiteY117" fmla="*/ 2592139 h 2673102"/>
                  <a:gd name="connsiteX118" fmla="*/ 274046 w 1712321"/>
                  <a:gd name="connsiteY118" fmla="*/ 2573089 h 2673102"/>
                  <a:gd name="connsiteX119" fmla="*/ 235946 w 1712321"/>
                  <a:gd name="connsiteY119" fmla="*/ 2539752 h 2673102"/>
                  <a:gd name="connsiteX120" fmla="*/ 231183 w 1712321"/>
                  <a:gd name="connsiteY120" fmla="*/ 2525464 h 2673102"/>
                  <a:gd name="connsiteX121" fmla="*/ 226421 w 1712321"/>
                  <a:gd name="connsiteY121" fmla="*/ 2506414 h 2673102"/>
                  <a:gd name="connsiteX122" fmla="*/ 212133 w 1712321"/>
                  <a:gd name="connsiteY122" fmla="*/ 2492127 h 2673102"/>
                  <a:gd name="connsiteX123" fmla="*/ 154983 w 1712321"/>
                  <a:gd name="connsiteY123" fmla="*/ 2439739 h 2673102"/>
                  <a:gd name="connsiteX124" fmla="*/ 150221 w 1712321"/>
                  <a:gd name="connsiteY124" fmla="*/ 2415927 h 2673102"/>
                  <a:gd name="connsiteX125" fmla="*/ 135933 w 1712321"/>
                  <a:gd name="connsiteY125" fmla="*/ 2358777 h 2673102"/>
                  <a:gd name="connsiteX126" fmla="*/ 121646 w 1712321"/>
                  <a:gd name="connsiteY126" fmla="*/ 2315914 h 2673102"/>
                  <a:gd name="connsiteX127" fmla="*/ 107358 w 1712321"/>
                  <a:gd name="connsiteY127" fmla="*/ 2258764 h 2673102"/>
                  <a:gd name="connsiteX128" fmla="*/ 102596 w 1712321"/>
                  <a:gd name="connsiteY128" fmla="*/ 2234952 h 2673102"/>
                  <a:gd name="connsiteX129" fmla="*/ 93071 w 1712321"/>
                  <a:gd name="connsiteY129" fmla="*/ 2211139 h 2673102"/>
                  <a:gd name="connsiteX130" fmla="*/ 88308 w 1712321"/>
                  <a:gd name="connsiteY130" fmla="*/ 2187327 h 2673102"/>
                  <a:gd name="connsiteX131" fmla="*/ 78783 w 1712321"/>
                  <a:gd name="connsiteY131" fmla="*/ 2111127 h 2673102"/>
                  <a:gd name="connsiteX132" fmla="*/ 97833 w 1712321"/>
                  <a:gd name="connsiteY132" fmla="*/ 1944439 h 2673102"/>
                  <a:gd name="connsiteX133" fmla="*/ 107358 w 1712321"/>
                  <a:gd name="connsiteY133" fmla="*/ 1930152 h 2673102"/>
                  <a:gd name="connsiteX134" fmla="*/ 126408 w 1712321"/>
                  <a:gd name="connsiteY134" fmla="*/ 1901577 h 2673102"/>
                  <a:gd name="connsiteX135" fmla="*/ 135933 w 1712321"/>
                  <a:gd name="connsiteY135" fmla="*/ 1868239 h 2673102"/>
                  <a:gd name="connsiteX136" fmla="*/ 131171 w 1712321"/>
                  <a:gd name="connsiteY136" fmla="*/ 1825377 h 2673102"/>
                  <a:gd name="connsiteX137" fmla="*/ 112121 w 1712321"/>
                  <a:gd name="connsiteY137" fmla="*/ 1820614 h 2673102"/>
                  <a:gd name="connsiteX138" fmla="*/ 102596 w 1712321"/>
                  <a:gd name="connsiteY138" fmla="*/ 1806327 h 2673102"/>
                  <a:gd name="connsiteX139" fmla="*/ 145458 w 1712321"/>
                  <a:gd name="connsiteY139" fmla="*/ 1720602 h 2673102"/>
                  <a:gd name="connsiteX140" fmla="*/ 159746 w 1712321"/>
                  <a:gd name="connsiteY140" fmla="*/ 1715839 h 2673102"/>
                  <a:gd name="connsiteX141" fmla="*/ 174033 w 1712321"/>
                  <a:gd name="connsiteY141" fmla="*/ 1696789 h 2673102"/>
                  <a:gd name="connsiteX142" fmla="*/ 188321 w 1712321"/>
                  <a:gd name="connsiteY142" fmla="*/ 1687264 h 2673102"/>
                  <a:gd name="connsiteX143" fmla="*/ 202608 w 1712321"/>
                  <a:gd name="connsiteY143" fmla="*/ 1653927 h 2673102"/>
                  <a:gd name="connsiteX144" fmla="*/ 193083 w 1712321"/>
                  <a:gd name="connsiteY144" fmla="*/ 1606302 h 2673102"/>
                  <a:gd name="connsiteX145" fmla="*/ 164508 w 1712321"/>
                  <a:gd name="connsiteY145" fmla="*/ 1596777 h 2673102"/>
                  <a:gd name="connsiteX146" fmla="*/ 154983 w 1712321"/>
                  <a:gd name="connsiteY146" fmla="*/ 1549152 h 2673102"/>
                  <a:gd name="connsiteX147" fmla="*/ 150221 w 1712321"/>
                  <a:gd name="connsiteY147" fmla="*/ 1411039 h 2673102"/>
                  <a:gd name="connsiteX148" fmla="*/ 140696 w 1712321"/>
                  <a:gd name="connsiteY148" fmla="*/ 1377702 h 2673102"/>
                  <a:gd name="connsiteX149" fmla="*/ 121646 w 1712321"/>
                  <a:gd name="connsiteY149" fmla="*/ 1311027 h 2673102"/>
                  <a:gd name="connsiteX150" fmla="*/ 116883 w 1712321"/>
                  <a:gd name="connsiteY150" fmla="*/ 1258639 h 2673102"/>
                  <a:gd name="connsiteX151" fmla="*/ 107358 w 1712321"/>
                  <a:gd name="connsiteY151" fmla="*/ 1244352 h 2673102"/>
                  <a:gd name="connsiteX152" fmla="*/ 93071 w 1712321"/>
                  <a:gd name="connsiteY152" fmla="*/ 1196727 h 2673102"/>
                  <a:gd name="connsiteX153" fmla="*/ 78783 w 1712321"/>
                  <a:gd name="connsiteY153" fmla="*/ 1177677 h 2673102"/>
                  <a:gd name="connsiteX154" fmla="*/ 59733 w 1712321"/>
                  <a:gd name="connsiteY154" fmla="*/ 1139577 h 2673102"/>
                  <a:gd name="connsiteX155" fmla="*/ 50208 w 1712321"/>
                  <a:gd name="connsiteY155" fmla="*/ 1111002 h 2673102"/>
                  <a:gd name="connsiteX156" fmla="*/ 45446 w 1712321"/>
                  <a:gd name="connsiteY156" fmla="*/ 1096714 h 2673102"/>
                  <a:gd name="connsiteX157" fmla="*/ 21633 w 1712321"/>
                  <a:gd name="connsiteY157" fmla="*/ 1025277 h 2673102"/>
                  <a:gd name="connsiteX158" fmla="*/ 202 w 1712321"/>
                  <a:gd name="connsiteY158" fmla="*/ 980033 h 2673102"/>
                  <a:gd name="connsiteX159" fmla="*/ 14490 w 1712321"/>
                  <a:gd name="connsiteY159" fmla="*/ 930027 h 2673102"/>
                  <a:gd name="connsiteX160" fmla="*/ 69259 w 1712321"/>
                  <a:gd name="connsiteY160" fmla="*/ 810964 h 2673102"/>
                  <a:gd name="connsiteX161" fmla="*/ 221658 w 1712321"/>
                  <a:gd name="connsiteY161" fmla="*/ 601414 h 2673102"/>
                  <a:gd name="connsiteX162" fmla="*/ 288333 w 1712321"/>
                  <a:gd name="connsiteY162" fmla="*/ 515689 h 2673102"/>
                  <a:gd name="connsiteX163" fmla="*/ 412158 w 1712321"/>
                  <a:gd name="connsiteY163" fmla="*/ 406152 h 2673102"/>
                  <a:gd name="connsiteX164" fmla="*/ 535983 w 1712321"/>
                  <a:gd name="connsiteY164" fmla="*/ 291851 h 2673102"/>
                  <a:gd name="connsiteX165" fmla="*/ 640758 w 1712321"/>
                  <a:gd name="connsiteY165" fmla="*/ 229939 h 2673102"/>
                  <a:gd name="connsiteX166" fmla="*/ 733628 w 1712321"/>
                  <a:gd name="connsiteY166" fmla="*/ 168026 h 2673102"/>
                  <a:gd name="connsiteX167" fmla="*/ 978896 w 1712321"/>
                  <a:gd name="connsiteY167" fmla="*/ 63251 h 2673102"/>
                  <a:gd name="connsiteX168" fmla="*/ 1159871 w 1712321"/>
                  <a:gd name="connsiteY168" fmla="*/ 6102 h 2673102"/>
                  <a:gd name="connsiteX169" fmla="*/ 1202733 w 1712321"/>
                  <a:gd name="connsiteY169" fmla="*/ 10864 h 2673102"/>
                  <a:gd name="connsiteX0" fmla="*/ 1202733 w 1712321"/>
                  <a:gd name="connsiteY0" fmla="*/ 10864 h 2673102"/>
                  <a:gd name="connsiteX1" fmla="*/ 1197971 w 1712321"/>
                  <a:gd name="connsiteY1" fmla="*/ 68014 h 2673102"/>
                  <a:gd name="connsiteX2" fmla="*/ 1174158 w 1712321"/>
                  <a:gd name="connsiteY2" fmla="*/ 110877 h 2673102"/>
                  <a:gd name="connsiteX3" fmla="*/ 1164633 w 1712321"/>
                  <a:gd name="connsiteY3" fmla="*/ 129927 h 2673102"/>
                  <a:gd name="connsiteX4" fmla="*/ 1164633 w 1712321"/>
                  <a:gd name="connsiteY4" fmla="*/ 206127 h 2673102"/>
                  <a:gd name="connsiteX5" fmla="*/ 1183683 w 1712321"/>
                  <a:gd name="connsiteY5" fmla="*/ 225177 h 2673102"/>
                  <a:gd name="connsiteX6" fmla="*/ 1202733 w 1712321"/>
                  <a:gd name="connsiteY6" fmla="*/ 258514 h 2673102"/>
                  <a:gd name="connsiteX7" fmla="*/ 1221783 w 1712321"/>
                  <a:gd name="connsiteY7" fmla="*/ 268039 h 2673102"/>
                  <a:gd name="connsiteX8" fmla="*/ 1231308 w 1712321"/>
                  <a:gd name="connsiteY8" fmla="*/ 282327 h 2673102"/>
                  <a:gd name="connsiteX9" fmla="*/ 1245596 w 1712321"/>
                  <a:gd name="connsiteY9" fmla="*/ 296614 h 2673102"/>
                  <a:gd name="connsiteX10" fmla="*/ 1255121 w 1712321"/>
                  <a:gd name="connsiteY10" fmla="*/ 315664 h 2673102"/>
                  <a:gd name="connsiteX11" fmla="*/ 1250358 w 1712321"/>
                  <a:gd name="connsiteY11" fmla="*/ 344239 h 2673102"/>
                  <a:gd name="connsiteX12" fmla="*/ 1245596 w 1712321"/>
                  <a:gd name="connsiteY12" fmla="*/ 363289 h 2673102"/>
                  <a:gd name="connsiteX13" fmla="*/ 1250358 w 1712321"/>
                  <a:gd name="connsiteY13" fmla="*/ 425202 h 2673102"/>
                  <a:gd name="connsiteX14" fmla="*/ 1269408 w 1712321"/>
                  <a:gd name="connsiteY14" fmla="*/ 463302 h 2673102"/>
                  <a:gd name="connsiteX15" fmla="*/ 1278933 w 1712321"/>
                  <a:gd name="connsiteY15" fmla="*/ 477589 h 2673102"/>
                  <a:gd name="connsiteX16" fmla="*/ 1293221 w 1712321"/>
                  <a:gd name="connsiteY16" fmla="*/ 487114 h 2673102"/>
                  <a:gd name="connsiteX17" fmla="*/ 1350371 w 1712321"/>
                  <a:gd name="connsiteY17" fmla="*/ 510927 h 2673102"/>
                  <a:gd name="connsiteX18" fmla="*/ 1378946 w 1712321"/>
                  <a:gd name="connsiteY18" fmla="*/ 520452 h 2673102"/>
                  <a:gd name="connsiteX19" fmla="*/ 1407521 w 1712321"/>
                  <a:gd name="connsiteY19" fmla="*/ 539502 h 2673102"/>
                  <a:gd name="connsiteX20" fmla="*/ 1469433 w 1712321"/>
                  <a:gd name="connsiteY20" fmla="*/ 568077 h 2673102"/>
                  <a:gd name="connsiteX21" fmla="*/ 1521821 w 1712321"/>
                  <a:gd name="connsiteY21" fmla="*/ 587127 h 2673102"/>
                  <a:gd name="connsiteX22" fmla="*/ 1540871 w 1712321"/>
                  <a:gd name="connsiteY22" fmla="*/ 596652 h 2673102"/>
                  <a:gd name="connsiteX23" fmla="*/ 1559921 w 1712321"/>
                  <a:gd name="connsiteY23" fmla="*/ 601414 h 2673102"/>
                  <a:gd name="connsiteX24" fmla="*/ 1607546 w 1712321"/>
                  <a:gd name="connsiteY24" fmla="*/ 639514 h 2673102"/>
                  <a:gd name="connsiteX25" fmla="*/ 1636121 w 1712321"/>
                  <a:gd name="connsiteY25" fmla="*/ 672852 h 2673102"/>
                  <a:gd name="connsiteX26" fmla="*/ 1650408 w 1712321"/>
                  <a:gd name="connsiteY26" fmla="*/ 687139 h 2673102"/>
                  <a:gd name="connsiteX27" fmla="*/ 1669458 w 1712321"/>
                  <a:gd name="connsiteY27" fmla="*/ 696664 h 2673102"/>
                  <a:gd name="connsiteX28" fmla="*/ 1683746 w 1712321"/>
                  <a:gd name="connsiteY28" fmla="*/ 706189 h 2673102"/>
                  <a:gd name="connsiteX29" fmla="*/ 1698033 w 1712321"/>
                  <a:gd name="connsiteY29" fmla="*/ 744289 h 2673102"/>
                  <a:gd name="connsiteX30" fmla="*/ 1707558 w 1712321"/>
                  <a:gd name="connsiteY30" fmla="*/ 768102 h 2673102"/>
                  <a:gd name="connsiteX31" fmla="*/ 1712321 w 1712321"/>
                  <a:gd name="connsiteY31" fmla="*/ 782389 h 2673102"/>
                  <a:gd name="connsiteX32" fmla="*/ 1702796 w 1712321"/>
                  <a:gd name="connsiteY32" fmla="*/ 853827 h 2673102"/>
                  <a:gd name="connsiteX33" fmla="*/ 1664696 w 1712321"/>
                  <a:gd name="connsiteY33" fmla="*/ 887164 h 2673102"/>
                  <a:gd name="connsiteX34" fmla="*/ 1650408 w 1712321"/>
                  <a:gd name="connsiteY34" fmla="*/ 901452 h 2673102"/>
                  <a:gd name="connsiteX35" fmla="*/ 1598021 w 1712321"/>
                  <a:gd name="connsiteY35" fmla="*/ 906214 h 2673102"/>
                  <a:gd name="connsiteX36" fmla="*/ 1555158 w 1712321"/>
                  <a:gd name="connsiteY36" fmla="*/ 925264 h 2673102"/>
                  <a:gd name="connsiteX37" fmla="*/ 1531346 w 1712321"/>
                  <a:gd name="connsiteY37" fmla="*/ 939552 h 2673102"/>
                  <a:gd name="connsiteX38" fmla="*/ 1498008 w 1712321"/>
                  <a:gd name="connsiteY38" fmla="*/ 987177 h 2673102"/>
                  <a:gd name="connsiteX39" fmla="*/ 1345608 w 1712321"/>
                  <a:gd name="connsiteY39" fmla="*/ 1030039 h 2673102"/>
                  <a:gd name="connsiteX40" fmla="*/ 1297983 w 1712321"/>
                  <a:gd name="connsiteY40" fmla="*/ 1053852 h 2673102"/>
                  <a:gd name="connsiteX41" fmla="*/ 1231308 w 1712321"/>
                  <a:gd name="connsiteY41" fmla="*/ 1082427 h 2673102"/>
                  <a:gd name="connsiteX42" fmla="*/ 1126533 w 1712321"/>
                  <a:gd name="connsiteY42" fmla="*/ 1096714 h 2673102"/>
                  <a:gd name="connsiteX43" fmla="*/ 1102721 w 1712321"/>
                  <a:gd name="connsiteY43" fmla="*/ 1101477 h 2673102"/>
                  <a:gd name="connsiteX44" fmla="*/ 1078908 w 1712321"/>
                  <a:gd name="connsiteY44" fmla="*/ 1111002 h 2673102"/>
                  <a:gd name="connsiteX45" fmla="*/ 964608 w 1712321"/>
                  <a:gd name="connsiteY45" fmla="*/ 1106239 h 2673102"/>
                  <a:gd name="connsiteX46" fmla="*/ 859833 w 1712321"/>
                  <a:gd name="connsiteY46" fmla="*/ 1058614 h 2673102"/>
                  <a:gd name="connsiteX47" fmla="*/ 812208 w 1712321"/>
                  <a:gd name="connsiteY47" fmla="*/ 1034802 h 2673102"/>
                  <a:gd name="connsiteX48" fmla="*/ 788396 w 1712321"/>
                  <a:gd name="connsiteY48" fmla="*/ 1020514 h 2673102"/>
                  <a:gd name="connsiteX49" fmla="*/ 769346 w 1712321"/>
                  <a:gd name="connsiteY49" fmla="*/ 1006227 h 2673102"/>
                  <a:gd name="connsiteX50" fmla="*/ 678858 w 1712321"/>
                  <a:gd name="connsiteY50" fmla="*/ 958602 h 2673102"/>
                  <a:gd name="connsiteX51" fmla="*/ 645521 w 1712321"/>
                  <a:gd name="connsiteY51" fmla="*/ 939552 h 2673102"/>
                  <a:gd name="connsiteX52" fmla="*/ 526458 w 1712321"/>
                  <a:gd name="connsiteY52" fmla="*/ 910977 h 2673102"/>
                  <a:gd name="connsiteX53" fmla="*/ 483596 w 1712321"/>
                  <a:gd name="connsiteY53" fmla="*/ 891927 h 2673102"/>
                  <a:gd name="connsiteX54" fmla="*/ 421683 w 1712321"/>
                  <a:gd name="connsiteY54" fmla="*/ 882402 h 2673102"/>
                  <a:gd name="connsiteX55" fmla="*/ 321671 w 1712321"/>
                  <a:gd name="connsiteY55" fmla="*/ 896689 h 2673102"/>
                  <a:gd name="connsiteX56" fmla="*/ 307383 w 1712321"/>
                  <a:gd name="connsiteY56" fmla="*/ 910977 h 2673102"/>
                  <a:gd name="connsiteX57" fmla="*/ 283571 w 1712321"/>
                  <a:gd name="connsiteY57" fmla="*/ 949077 h 2673102"/>
                  <a:gd name="connsiteX58" fmla="*/ 269283 w 1712321"/>
                  <a:gd name="connsiteY58" fmla="*/ 987177 h 2673102"/>
                  <a:gd name="connsiteX59" fmla="*/ 264521 w 1712321"/>
                  <a:gd name="connsiteY59" fmla="*/ 1039564 h 2673102"/>
                  <a:gd name="connsiteX60" fmla="*/ 264521 w 1712321"/>
                  <a:gd name="connsiteY60" fmla="*/ 1120527 h 2673102"/>
                  <a:gd name="connsiteX61" fmla="*/ 297858 w 1712321"/>
                  <a:gd name="connsiteY61" fmla="*/ 1153864 h 2673102"/>
                  <a:gd name="connsiteX62" fmla="*/ 326433 w 1712321"/>
                  <a:gd name="connsiteY62" fmla="*/ 1163389 h 2673102"/>
                  <a:gd name="connsiteX63" fmla="*/ 326433 w 1712321"/>
                  <a:gd name="connsiteY63" fmla="*/ 1244352 h 2673102"/>
                  <a:gd name="connsiteX64" fmla="*/ 312146 w 1712321"/>
                  <a:gd name="connsiteY64" fmla="*/ 1258639 h 2673102"/>
                  <a:gd name="connsiteX65" fmla="*/ 259758 w 1712321"/>
                  <a:gd name="connsiteY65" fmla="*/ 1296739 h 2673102"/>
                  <a:gd name="connsiteX66" fmla="*/ 240708 w 1712321"/>
                  <a:gd name="connsiteY66" fmla="*/ 1325314 h 2673102"/>
                  <a:gd name="connsiteX67" fmla="*/ 250233 w 1712321"/>
                  <a:gd name="connsiteY67" fmla="*/ 1425327 h 2673102"/>
                  <a:gd name="connsiteX68" fmla="*/ 278808 w 1712321"/>
                  <a:gd name="connsiteY68" fmla="*/ 1472952 h 2673102"/>
                  <a:gd name="connsiteX69" fmla="*/ 293096 w 1712321"/>
                  <a:gd name="connsiteY69" fmla="*/ 1492002 h 2673102"/>
                  <a:gd name="connsiteX70" fmla="*/ 383583 w 1712321"/>
                  <a:gd name="connsiteY70" fmla="*/ 1525339 h 2673102"/>
                  <a:gd name="connsiteX71" fmla="*/ 407396 w 1712321"/>
                  <a:gd name="connsiteY71" fmla="*/ 1492002 h 2673102"/>
                  <a:gd name="connsiteX72" fmla="*/ 412158 w 1712321"/>
                  <a:gd name="connsiteY72" fmla="*/ 1468189 h 2673102"/>
                  <a:gd name="connsiteX73" fmla="*/ 416921 w 1712321"/>
                  <a:gd name="connsiteY73" fmla="*/ 1449139 h 2673102"/>
                  <a:gd name="connsiteX74" fmla="*/ 445496 w 1712321"/>
                  <a:gd name="connsiteY74" fmla="*/ 1439614 h 2673102"/>
                  <a:gd name="connsiteX75" fmla="*/ 545508 w 1712321"/>
                  <a:gd name="connsiteY75" fmla="*/ 1458664 h 2673102"/>
                  <a:gd name="connsiteX76" fmla="*/ 555033 w 1712321"/>
                  <a:gd name="connsiteY76" fmla="*/ 1482477 h 2673102"/>
                  <a:gd name="connsiteX77" fmla="*/ 564558 w 1712321"/>
                  <a:gd name="connsiteY77" fmla="*/ 1515814 h 2673102"/>
                  <a:gd name="connsiteX78" fmla="*/ 550271 w 1712321"/>
                  <a:gd name="connsiteY78" fmla="*/ 1534864 h 2673102"/>
                  <a:gd name="connsiteX79" fmla="*/ 550271 w 1712321"/>
                  <a:gd name="connsiteY79" fmla="*/ 1601539 h 2673102"/>
                  <a:gd name="connsiteX80" fmla="*/ 559796 w 1712321"/>
                  <a:gd name="connsiteY80" fmla="*/ 1620589 h 2673102"/>
                  <a:gd name="connsiteX81" fmla="*/ 626471 w 1712321"/>
                  <a:gd name="connsiteY81" fmla="*/ 1639639 h 2673102"/>
                  <a:gd name="connsiteX82" fmla="*/ 645521 w 1712321"/>
                  <a:gd name="connsiteY82" fmla="*/ 1592014 h 2673102"/>
                  <a:gd name="connsiteX83" fmla="*/ 702671 w 1712321"/>
                  <a:gd name="connsiteY83" fmla="*/ 1620589 h 2673102"/>
                  <a:gd name="connsiteX84" fmla="*/ 731246 w 1712321"/>
                  <a:gd name="connsiteY84" fmla="*/ 1630114 h 2673102"/>
                  <a:gd name="connsiteX85" fmla="*/ 783633 w 1712321"/>
                  <a:gd name="connsiteY85" fmla="*/ 1663452 h 2673102"/>
                  <a:gd name="connsiteX86" fmla="*/ 859833 w 1712321"/>
                  <a:gd name="connsiteY86" fmla="*/ 1687264 h 2673102"/>
                  <a:gd name="connsiteX87" fmla="*/ 878883 w 1712321"/>
                  <a:gd name="connsiteY87" fmla="*/ 1701552 h 2673102"/>
                  <a:gd name="connsiteX88" fmla="*/ 888408 w 1712321"/>
                  <a:gd name="connsiteY88" fmla="*/ 1739652 h 2673102"/>
                  <a:gd name="connsiteX89" fmla="*/ 897933 w 1712321"/>
                  <a:gd name="connsiteY89" fmla="*/ 1782514 h 2673102"/>
                  <a:gd name="connsiteX90" fmla="*/ 940796 w 1712321"/>
                  <a:gd name="connsiteY90" fmla="*/ 1892052 h 2673102"/>
                  <a:gd name="connsiteX91" fmla="*/ 950321 w 1712321"/>
                  <a:gd name="connsiteY91" fmla="*/ 1906339 h 2673102"/>
                  <a:gd name="connsiteX92" fmla="*/ 959846 w 1712321"/>
                  <a:gd name="connsiteY92" fmla="*/ 1939677 h 2673102"/>
                  <a:gd name="connsiteX93" fmla="*/ 974133 w 1712321"/>
                  <a:gd name="connsiteY93" fmla="*/ 1977777 h 2673102"/>
                  <a:gd name="connsiteX94" fmla="*/ 964608 w 1712321"/>
                  <a:gd name="connsiteY94" fmla="*/ 2082552 h 2673102"/>
                  <a:gd name="connsiteX95" fmla="*/ 955083 w 1712321"/>
                  <a:gd name="connsiteY95" fmla="*/ 2101602 h 2673102"/>
                  <a:gd name="connsiteX96" fmla="*/ 926508 w 1712321"/>
                  <a:gd name="connsiteY96" fmla="*/ 2144464 h 2673102"/>
                  <a:gd name="connsiteX97" fmla="*/ 907458 w 1712321"/>
                  <a:gd name="connsiteY97" fmla="*/ 2192089 h 2673102"/>
                  <a:gd name="connsiteX98" fmla="*/ 902696 w 1712321"/>
                  <a:gd name="connsiteY98" fmla="*/ 2211139 h 2673102"/>
                  <a:gd name="connsiteX99" fmla="*/ 893171 w 1712321"/>
                  <a:gd name="connsiteY99" fmla="*/ 2239714 h 2673102"/>
                  <a:gd name="connsiteX100" fmla="*/ 897933 w 1712321"/>
                  <a:gd name="connsiteY100" fmla="*/ 2287339 h 2673102"/>
                  <a:gd name="connsiteX101" fmla="*/ 893171 w 1712321"/>
                  <a:gd name="connsiteY101" fmla="*/ 2396877 h 2673102"/>
                  <a:gd name="connsiteX102" fmla="*/ 688383 w 1712321"/>
                  <a:gd name="connsiteY102" fmla="*/ 2449264 h 2673102"/>
                  <a:gd name="connsiteX103" fmla="*/ 655046 w 1712321"/>
                  <a:gd name="connsiteY103" fmla="*/ 2473077 h 2673102"/>
                  <a:gd name="connsiteX104" fmla="*/ 607421 w 1712321"/>
                  <a:gd name="connsiteY104" fmla="*/ 2511177 h 2673102"/>
                  <a:gd name="connsiteX105" fmla="*/ 574083 w 1712321"/>
                  <a:gd name="connsiteY105" fmla="*/ 2534989 h 2673102"/>
                  <a:gd name="connsiteX106" fmla="*/ 540746 w 1712321"/>
                  <a:gd name="connsiteY106" fmla="*/ 2554039 h 2673102"/>
                  <a:gd name="connsiteX107" fmla="*/ 497883 w 1712321"/>
                  <a:gd name="connsiteY107" fmla="*/ 2587377 h 2673102"/>
                  <a:gd name="connsiteX108" fmla="*/ 483596 w 1712321"/>
                  <a:gd name="connsiteY108" fmla="*/ 2601664 h 2673102"/>
                  <a:gd name="connsiteX109" fmla="*/ 459783 w 1712321"/>
                  <a:gd name="connsiteY109" fmla="*/ 2620714 h 2673102"/>
                  <a:gd name="connsiteX110" fmla="*/ 450258 w 1712321"/>
                  <a:gd name="connsiteY110" fmla="*/ 2635002 h 2673102"/>
                  <a:gd name="connsiteX111" fmla="*/ 416921 w 1712321"/>
                  <a:gd name="connsiteY111" fmla="*/ 2654052 h 2673102"/>
                  <a:gd name="connsiteX112" fmla="*/ 374058 w 1712321"/>
                  <a:gd name="connsiteY112" fmla="*/ 2673102 h 2673102"/>
                  <a:gd name="connsiteX113" fmla="*/ 359771 w 1712321"/>
                  <a:gd name="connsiteY113" fmla="*/ 2663577 h 2673102"/>
                  <a:gd name="connsiteX114" fmla="*/ 345483 w 1712321"/>
                  <a:gd name="connsiteY114" fmla="*/ 2635002 h 2673102"/>
                  <a:gd name="connsiteX115" fmla="*/ 335958 w 1712321"/>
                  <a:gd name="connsiteY115" fmla="*/ 2620714 h 2673102"/>
                  <a:gd name="connsiteX116" fmla="*/ 297858 w 1712321"/>
                  <a:gd name="connsiteY116" fmla="*/ 2611189 h 2673102"/>
                  <a:gd name="connsiteX117" fmla="*/ 278808 w 1712321"/>
                  <a:gd name="connsiteY117" fmla="*/ 2592139 h 2673102"/>
                  <a:gd name="connsiteX118" fmla="*/ 274046 w 1712321"/>
                  <a:gd name="connsiteY118" fmla="*/ 2573089 h 2673102"/>
                  <a:gd name="connsiteX119" fmla="*/ 235946 w 1712321"/>
                  <a:gd name="connsiteY119" fmla="*/ 2539752 h 2673102"/>
                  <a:gd name="connsiteX120" fmla="*/ 231183 w 1712321"/>
                  <a:gd name="connsiteY120" fmla="*/ 2525464 h 2673102"/>
                  <a:gd name="connsiteX121" fmla="*/ 226421 w 1712321"/>
                  <a:gd name="connsiteY121" fmla="*/ 2506414 h 2673102"/>
                  <a:gd name="connsiteX122" fmla="*/ 212133 w 1712321"/>
                  <a:gd name="connsiteY122" fmla="*/ 2492127 h 2673102"/>
                  <a:gd name="connsiteX123" fmla="*/ 154983 w 1712321"/>
                  <a:gd name="connsiteY123" fmla="*/ 2439739 h 2673102"/>
                  <a:gd name="connsiteX124" fmla="*/ 150221 w 1712321"/>
                  <a:gd name="connsiteY124" fmla="*/ 2415927 h 2673102"/>
                  <a:gd name="connsiteX125" fmla="*/ 135933 w 1712321"/>
                  <a:gd name="connsiteY125" fmla="*/ 2358777 h 2673102"/>
                  <a:gd name="connsiteX126" fmla="*/ 121646 w 1712321"/>
                  <a:gd name="connsiteY126" fmla="*/ 2315914 h 2673102"/>
                  <a:gd name="connsiteX127" fmla="*/ 107358 w 1712321"/>
                  <a:gd name="connsiteY127" fmla="*/ 2258764 h 2673102"/>
                  <a:gd name="connsiteX128" fmla="*/ 102596 w 1712321"/>
                  <a:gd name="connsiteY128" fmla="*/ 2234952 h 2673102"/>
                  <a:gd name="connsiteX129" fmla="*/ 93071 w 1712321"/>
                  <a:gd name="connsiteY129" fmla="*/ 2211139 h 2673102"/>
                  <a:gd name="connsiteX130" fmla="*/ 88308 w 1712321"/>
                  <a:gd name="connsiteY130" fmla="*/ 2187327 h 2673102"/>
                  <a:gd name="connsiteX131" fmla="*/ 78783 w 1712321"/>
                  <a:gd name="connsiteY131" fmla="*/ 2111127 h 2673102"/>
                  <a:gd name="connsiteX132" fmla="*/ 97833 w 1712321"/>
                  <a:gd name="connsiteY132" fmla="*/ 1944439 h 2673102"/>
                  <a:gd name="connsiteX133" fmla="*/ 107358 w 1712321"/>
                  <a:gd name="connsiteY133" fmla="*/ 1930152 h 2673102"/>
                  <a:gd name="connsiteX134" fmla="*/ 126408 w 1712321"/>
                  <a:gd name="connsiteY134" fmla="*/ 1901577 h 2673102"/>
                  <a:gd name="connsiteX135" fmla="*/ 135933 w 1712321"/>
                  <a:gd name="connsiteY135" fmla="*/ 1868239 h 2673102"/>
                  <a:gd name="connsiteX136" fmla="*/ 131171 w 1712321"/>
                  <a:gd name="connsiteY136" fmla="*/ 1825377 h 2673102"/>
                  <a:gd name="connsiteX137" fmla="*/ 112121 w 1712321"/>
                  <a:gd name="connsiteY137" fmla="*/ 1820614 h 2673102"/>
                  <a:gd name="connsiteX138" fmla="*/ 102596 w 1712321"/>
                  <a:gd name="connsiteY138" fmla="*/ 1806327 h 2673102"/>
                  <a:gd name="connsiteX139" fmla="*/ 145458 w 1712321"/>
                  <a:gd name="connsiteY139" fmla="*/ 1720602 h 2673102"/>
                  <a:gd name="connsiteX140" fmla="*/ 159746 w 1712321"/>
                  <a:gd name="connsiteY140" fmla="*/ 1715839 h 2673102"/>
                  <a:gd name="connsiteX141" fmla="*/ 174033 w 1712321"/>
                  <a:gd name="connsiteY141" fmla="*/ 1696789 h 2673102"/>
                  <a:gd name="connsiteX142" fmla="*/ 188321 w 1712321"/>
                  <a:gd name="connsiteY142" fmla="*/ 1687264 h 2673102"/>
                  <a:gd name="connsiteX143" fmla="*/ 202608 w 1712321"/>
                  <a:gd name="connsiteY143" fmla="*/ 1653927 h 2673102"/>
                  <a:gd name="connsiteX144" fmla="*/ 193083 w 1712321"/>
                  <a:gd name="connsiteY144" fmla="*/ 1606302 h 2673102"/>
                  <a:gd name="connsiteX145" fmla="*/ 164508 w 1712321"/>
                  <a:gd name="connsiteY145" fmla="*/ 1596777 h 2673102"/>
                  <a:gd name="connsiteX146" fmla="*/ 154983 w 1712321"/>
                  <a:gd name="connsiteY146" fmla="*/ 1549152 h 2673102"/>
                  <a:gd name="connsiteX147" fmla="*/ 150221 w 1712321"/>
                  <a:gd name="connsiteY147" fmla="*/ 1411039 h 2673102"/>
                  <a:gd name="connsiteX148" fmla="*/ 140696 w 1712321"/>
                  <a:gd name="connsiteY148" fmla="*/ 1377702 h 2673102"/>
                  <a:gd name="connsiteX149" fmla="*/ 121646 w 1712321"/>
                  <a:gd name="connsiteY149" fmla="*/ 1311027 h 2673102"/>
                  <a:gd name="connsiteX150" fmla="*/ 116883 w 1712321"/>
                  <a:gd name="connsiteY150" fmla="*/ 1258639 h 2673102"/>
                  <a:gd name="connsiteX151" fmla="*/ 107358 w 1712321"/>
                  <a:gd name="connsiteY151" fmla="*/ 1244352 h 2673102"/>
                  <a:gd name="connsiteX152" fmla="*/ 93071 w 1712321"/>
                  <a:gd name="connsiteY152" fmla="*/ 1196727 h 2673102"/>
                  <a:gd name="connsiteX153" fmla="*/ 78783 w 1712321"/>
                  <a:gd name="connsiteY153" fmla="*/ 1177677 h 2673102"/>
                  <a:gd name="connsiteX154" fmla="*/ 59733 w 1712321"/>
                  <a:gd name="connsiteY154" fmla="*/ 1139577 h 2673102"/>
                  <a:gd name="connsiteX155" fmla="*/ 50208 w 1712321"/>
                  <a:gd name="connsiteY155" fmla="*/ 1111002 h 2673102"/>
                  <a:gd name="connsiteX156" fmla="*/ 45446 w 1712321"/>
                  <a:gd name="connsiteY156" fmla="*/ 1096714 h 2673102"/>
                  <a:gd name="connsiteX157" fmla="*/ 21633 w 1712321"/>
                  <a:gd name="connsiteY157" fmla="*/ 1025277 h 2673102"/>
                  <a:gd name="connsiteX158" fmla="*/ 202 w 1712321"/>
                  <a:gd name="connsiteY158" fmla="*/ 980033 h 2673102"/>
                  <a:gd name="connsiteX159" fmla="*/ 14490 w 1712321"/>
                  <a:gd name="connsiteY159" fmla="*/ 930027 h 2673102"/>
                  <a:gd name="connsiteX160" fmla="*/ 69259 w 1712321"/>
                  <a:gd name="connsiteY160" fmla="*/ 810964 h 2673102"/>
                  <a:gd name="connsiteX161" fmla="*/ 221658 w 1712321"/>
                  <a:gd name="connsiteY161" fmla="*/ 601414 h 2673102"/>
                  <a:gd name="connsiteX162" fmla="*/ 288333 w 1712321"/>
                  <a:gd name="connsiteY162" fmla="*/ 515689 h 2673102"/>
                  <a:gd name="connsiteX163" fmla="*/ 412158 w 1712321"/>
                  <a:gd name="connsiteY163" fmla="*/ 406152 h 2673102"/>
                  <a:gd name="connsiteX164" fmla="*/ 535983 w 1712321"/>
                  <a:gd name="connsiteY164" fmla="*/ 291851 h 2673102"/>
                  <a:gd name="connsiteX165" fmla="*/ 640758 w 1712321"/>
                  <a:gd name="connsiteY165" fmla="*/ 229939 h 2673102"/>
                  <a:gd name="connsiteX166" fmla="*/ 733628 w 1712321"/>
                  <a:gd name="connsiteY166" fmla="*/ 168026 h 2673102"/>
                  <a:gd name="connsiteX167" fmla="*/ 978896 w 1712321"/>
                  <a:gd name="connsiteY167" fmla="*/ 63251 h 2673102"/>
                  <a:gd name="connsiteX168" fmla="*/ 1159871 w 1712321"/>
                  <a:gd name="connsiteY168" fmla="*/ 6102 h 2673102"/>
                  <a:gd name="connsiteX169" fmla="*/ 1202733 w 1712321"/>
                  <a:gd name="connsiteY169" fmla="*/ 10864 h 2673102"/>
                  <a:gd name="connsiteX0" fmla="*/ 1202733 w 1708284"/>
                  <a:gd name="connsiteY0" fmla="*/ 10864 h 2673102"/>
                  <a:gd name="connsiteX1" fmla="*/ 1197971 w 1708284"/>
                  <a:gd name="connsiteY1" fmla="*/ 68014 h 2673102"/>
                  <a:gd name="connsiteX2" fmla="*/ 1174158 w 1708284"/>
                  <a:gd name="connsiteY2" fmla="*/ 110877 h 2673102"/>
                  <a:gd name="connsiteX3" fmla="*/ 1164633 w 1708284"/>
                  <a:gd name="connsiteY3" fmla="*/ 129927 h 2673102"/>
                  <a:gd name="connsiteX4" fmla="*/ 1164633 w 1708284"/>
                  <a:gd name="connsiteY4" fmla="*/ 206127 h 2673102"/>
                  <a:gd name="connsiteX5" fmla="*/ 1183683 w 1708284"/>
                  <a:gd name="connsiteY5" fmla="*/ 225177 h 2673102"/>
                  <a:gd name="connsiteX6" fmla="*/ 1202733 w 1708284"/>
                  <a:gd name="connsiteY6" fmla="*/ 258514 h 2673102"/>
                  <a:gd name="connsiteX7" fmla="*/ 1221783 w 1708284"/>
                  <a:gd name="connsiteY7" fmla="*/ 268039 h 2673102"/>
                  <a:gd name="connsiteX8" fmla="*/ 1231308 w 1708284"/>
                  <a:gd name="connsiteY8" fmla="*/ 282327 h 2673102"/>
                  <a:gd name="connsiteX9" fmla="*/ 1245596 w 1708284"/>
                  <a:gd name="connsiteY9" fmla="*/ 296614 h 2673102"/>
                  <a:gd name="connsiteX10" fmla="*/ 1255121 w 1708284"/>
                  <a:gd name="connsiteY10" fmla="*/ 315664 h 2673102"/>
                  <a:gd name="connsiteX11" fmla="*/ 1250358 w 1708284"/>
                  <a:gd name="connsiteY11" fmla="*/ 344239 h 2673102"/>
                  <a:gd name="connsiteX12" fmla="*/ 1245596 w 1708284"/>
                  <a:gd name="connsiteY12" fmla="*/ 363289 h 2673102"/>
                  <a:gd name="connsiteX13" fmla="*/ 1250358 w 1708284"/>
                  <a:gd name="connsiteY13" fmla="*/ 425202 h 2673102"/>
                  <a:gd name="connsiteX14" fmla="*/ 1269408 w 1708284"/>
                  <a:gd name="connsiteY14" fmla="*/ 463302 h 2673102"/>
                  <a:gd name="connsiteX15" fmla="*/ 1278933 w 1708284"/>
                  <a:gd name="connsiteY15" fmla="*/ 477589 h 2673102"/>
                  <a:gd name="connsiteX16" fmla="*/ 1293221 w 1708284"/>
                  <a:gd name="connsiteY16" fmla="*/ 487114 h 2673102"/>
                  <a:gd name="connsiteX17" fmla="*/ 1350371 w 1708284"/>
                  <a:gd name="connsiteY17" fmla="*/ 510927 h 2673102"/>
                  <a:gd name="connsiteX18" fmla="*/ 1378946 w 1708284"/>
                  <a:gd name="connsiteY18" fmla="*/ 520452 h 2673102"/>
                  <a:gd name="connsiteX19" fmla="*/ 1407521 w 1708284"/>
                  <a:gd name="connsiteY19" fmla="*/ 539502 h 2673102"/>
                  <a:gd name="connsiteX20" fmla="*/ 1469433 w 1708284"/>
                  <a:gd name="connsiteY20" fmla="*/ 568077 h 2673102"/>
                  <a:gd name="connsiteX21" fmla="*/ 1521821 w 1708284"/>
                  <a:gd name="connsiteY21" fmla="*/ 587127 h 2673102"/>
                  <a:gd name="connsiteX22" fmla="*/ 1540871 w 1708284"/>
                  <a:gd name="connsiteY22" fmla="*/ 596652 h 2673102"/>
                  <a:gd name="connsiteX23" fmla="*/ 1559921 w 1708284"/>
                  <a:gd name="connsiteY23" fmla="*/ 601414 h 2673102"/>
                  <a:gd name="connsiteX24" fmla="*/ 1607546 w 1708284"/>
                  <a:gd name="connsiteY24" fmla="*/ 639514 h 2673102"/>
                  <a:gd name="connsiteX25" fmla="*/ 1636121 w 1708284"/>
                  <a:gd name="connsiteY25" fmla="*/ 672852 h 2673102"/>
                  <a:gd name="connsiteX26" fmla="*/ 1650408 w 1708284"/>
                  <a:gd name="connsiteY26" fmla="*/ 687139 h 2673102"/>
                  <a:gd name="connsiteX27" fmla="*/ 1669458 w 1708284"/>
                  <a:gd name="connsiteY27" fmla="*/ 696664 h 2673102"/>
                  <a:gd name="connsiteX28" fmla="*/ 1683746 w 1708284"/>
                  <a:gd name="connsiteY28" fmla="*/ 706189 h 2673102"/>
                  <a:gd name="connsiteX29" fmla="*/ 1698033 w 1708284"/>
                  <a:gd name="connsiteY29" fmla="*/ 744289 h 2673102"/>
                  <a:gd name="connsiteX30" fmla="*/ 1707558 w 1708284"/>
                  <a:gd name="connsiteY30" fmla="*/ 768102 h 2673102"/>
                  <a:gd name="connsiteX31" fmla="*/ 1702796 w 1708284"/>
                  <a:gd name="connsiteY31" fmla="*/ 853827 h 2673102"/>
                  <a:gd name="connsiteX32" fmla="*/ 1664696 w 1708284"/>
                  <a:gd name="connsiteY32" fmla="*/ 887164 h 2673102"/>
                  <a:gd name="connsiteX33" fmla="*/ 1650408 w 1708284"/>
                  <a:gd name="connsiteY33" fmla="*/ 901452 h 2673102"/>
                  <a:gd name="connsiteX34" fmla="*/ 1598021 w 1708284"/>
                  <a:gd name="connsiteY34" fmla="*/ 906214 h 2673102"/>
                  <a:gd name="connsiteX35" fmla="*/ 1555158 w 1708284"/>
                  <a:gd name="connsiteY35" fmla="*/ 925264 h 2673102"/>
                  <a:gd name="connsiteX36" fmla="*/ 1531346 w 1708284"/>
                  <a:gd name="connsiteY36" fmla="*/ 939552 h 2673102"/>
                  <a:gd name="connsiteX37" fmla="*/ 1498008 w 1708284"/>
                  <a:gd name="connsiteY37" fmla="*/ 987177 h 2673102"/>
                  <a:gd name="connsiteX38" fmla="*/ 1345608 w 1708284"/>
                  <a:gd name="connsiteY38" fmla="*/ 1030039 h 2673102"/>
                  <a:gd name="connsiteX39" fmla="*/ 1297983 w 1708284"/>
                  <a:gd name="connsiteY39" fmla="*/ 1053852 h 2673102"/>
                  <a:gd name="connsiteX40" fmla="*/ 1231308 w 1708284"/>
                  <a:gd name="connsiteY40" fmla="*/ 1082427 h 2673102"/>
                  <a:gd name="connsiteX41" fmla="*/ 1126533 w 1708284"/>
                  <a:gd name="connsiteY41" fmla="*/ 1096714 h 2673102"/>
                  <a:gd name="connsiteX42" fmla="*/ 1102721 w 1708284"/>
                  <a:gd name="connsiteY42" fmla="*/ 1101477 h 2673102"/>
                  <a:gd name="connsiteX43" fmla="*/ 1078908 w 1708284"/>
                  <a:gd name="connsiteY43" fmla="*/ 1111002 h 2673102"/>
                  <a:gd name="connsiteX44" fmla="*/ 964608 w 1708284"/>
                  <a:gd name="connsiteY44" fmla="*/ 1106239 h 2673102"/>
                  <a:gd name="connsiteX45" fmla="*/ 859833 w 1708284"/>
                  <a:gd name="connsiteY45" fmla="*/ 1058614 h 2673102"/>
                  <a:gd name="connsiteX46" fmla="*/ 812208 w 1708284"/>
                  <a:gd name="connsiteY46" fmla="*/ 1034802 h 2673102"/>
                  <a:gd name="connsiteX47" fmla="*/ 788396 w 1708284"/>
                  <a:gd name="connsiteY47" fmla="*/ 1020514 h 2673102"/>
                  <a:gd name="connsiteX48" fmla="*/ 769346 w 1708284"/>
                  <a:gd name="connsiteY48" fmla="*/ 1006227 h 2673102"/>
                  <a:gd name="connsiteX49" fmla="*/ 678858 w 1708284"/>
                  <a:gd name="connsiteY49" fmla="*/ 958602 h 2673102"/>
                  <a:gd name="connsiteX50" fmla="*/ 645521 w 1708284"/>
                  <a:gd name="connsiteY50" fmla="*/ 939552 h 2673102"/>
                  <a:gd name="connsiteX51" fmla="*/ 526458 w 1708284"/>
                  <a:gd name="connsiteY51" fmla="*/ 910977 h 2673102"/>
                  <a:gd name="connsiteX52" fmla="*/ 483596 w 1708284"/>
                  <a:gd name="connsiteY52" fmla="*/ 891927 h 2673102"/>
                  <a:gd name="connsiteX53" fmla="*/ 421683 w 1708284"/>
                  <a:gd name="connsiteY53" fmla="*/ 882402 h 2673102"/>
                  <a:gd name="connsiteX54" fmla="*/ 321671 w 1708284"/>
                  <a:gd name="connsiteY54" fmla="*/ 896689 h 2673102"/>
                  <a:gd name="connsiteX55" fmla="*/ 307383 w 1708284"/>
                  <a:gd name="connsiteY55" fmla="*/ 910977 h 2673102"/>
                  <a:gd name="connsiteX56" fmla="*/ 283571 w 1708284"/>
                  <a:gd name="connsiteY56" fmla="*/ 949077 h 2673102"/>
                  <a:gd name="connsiteX57" fmla="*/ 269283 w 1708284"/>
                  <a:gd name="connsiteY57" fmla="*/ 987177 h 2673102"/>
                  <a:gd name="connsiteX58" fmla="*/ 264521 w 1708284"/>
                  <a:gd name="connsiteY58" fmla="*/ 1039564 h 2673102"/>
                  <a:gd name="connsiteX59" fmla="*/ 264521 w 1708284"/>
                  <a:gd name="connsiteY59" fmla="*/ 1120527 h 2673102"/>
                  <a:gd name="connsiteX60" fmla="*/ 297858 w 1708284"/>
                  <a:gd name="connsiteY60" fmla="*/ 1153864 h 2673102"/>
                  <a:gd name="connsiteX61" fmla="*/ 326433 w 1708284"/>
                  <a:gd name="connsiteY61" fmla="*/ 1163389 h 2673102"/>
                  <a:gd name="connsiteX62" fmla="*/ 326433 w 1708284"/>
                  <a:gd name="connsiteY62" fmla="*/ 1244352 h 2673102"/>
                  <a:gd name="connsiteX63" fmla="*/ 312146 w 1708284"/>
                  <a:gd name="connsiteY63" fmla="*/ 1258639 h 2673102"/>
                  <a:gd name="connsiteX64" fmla="*/ 259758 w 1708284"/>
                  <a:gd name="connsiteY64" fmla="*/ 1296739 h 2673102"/>
                  <a:gd name="connsiteX65" fmla="*/ 240708 w 1708284"/>
                  <a:gd name="connsiteY65" fmla="*/ 1325314 h 2673102"/>
                  <a:gd name="connsiteX66" fmla="*/ 250233 w 1708284"/>
                  <a:gd name="connsiteY66" fmla="*/ 1425327 h 2673102"/>
                  <a:gd name="connsiteX67" fmla="*/ 278808 w 1708284"/>
                  <a:gd name="connsiteY67" fmla="*/ 1472952 h 2673102"/>
                  <a:gd name="connsiteX68" fmla="*/ 293096 w 1708284"/>
                  <a:gd name="connsiteY68" fmla="*/ 1492002 h 2673102"/>
                  <a:gd name="connsiteX69" fmla="*/ 383583 w 1708284"/>
                  <a:gd name="connsiteY69" fmla="*/ 1525339 h 2673102"/>
                  <a:gd name="connsiteX70" fmla="*/ 407396 w 1708284"/>
                  <a:gd name="connsiteY70" fmla="*/ 1492002 h 2673102"/>
                  <a:gd name="connsiteX71" fmla="*/ 412158 w 1708284"/>
                  <a:gd name="connsiteY71" fmla="*/ 1468189 h 2673102"/>
                  <a:gd name="connsiteX72" fmla="*/ 416921 w 1708284"/>
                  <a:gd name="connsiteY72" fmla="*/ 1449139 h 2673102"/>
                  <a:gd name="connsiteX73" fmla="*/ 445496 w 1708284"/>
                  <a:gd name="connsiteY73" fmla="*/ 1439614 h 2673102"/>
                  <a:gd name="connsiteX74" fmla="*/ 545508 w 1708284"/>
                  <a:gd name="connsiteY74" fmla="*/ 1458664 h 2673102"/>
                  <a:gd name="connsiteX75" fmla="*/ 555033 w 1708284"/>
                  <a:gd name="connsiteY75" fmla="*/ 1482477 h 2673102"/>
                  <a:gd name="connsiteX76" fmla="*/ 564558 w 1708284"/>
                  <a:gd name="connsiteY76" fmla="*/ 1515814 h 2673102"/>
                  <a:gd name="connsiteX77" fmla="*/ 550271 w 1708284"/>
                  <a:gd name="connsiteY77" fmla="*/ 1534864 h 2673102"/>
                  <a:gd name="connsiteX78" fmla="*/ 550271 w 1708284"/>
                  <a:gd name="connsiteY78" fmla="*/ 1601539 h 2673102"/>
                  <a:gd name="connsiteX79" fmla="*/ 559796 w 1708284"/>
                  <a:gd name="connsiteY79" fmla="*/ 1620589 h 2673102"/>
                  <a:gd name="connsiteX80" fmla="*/ 626471 w 1708284"/>
                  <a:gd name="connsiteY80" fmla="*/ 1639639 h 2673102"/>
                  <a:gd name="connsiteX81" fmla="*/ 645521 w 1708284"/>
                  <a:gd name="connsiteY81" fmla="*/ 1592014 h 2673102"/>
                  <a:gd name="connsiteX82" fmla="*/ 702671 w 1708284"/>
                  <a:gd name="connsiteY82" fmla="*/ 1620589 h 2673102"/>
                  <a:gd name="connsiteX83" fmla="*/ 731246 w 1708284"/>
                  <a:gd name="connsiteY83" fmla="*/ 1630114 h 2673102"/>
                  <a:gd name="connsiteX84" fmla="*/ 783633 w 1708284"/>
                  <a:gd name="connsiteY84" fmla="*/ 1663452 h 2673102"/>
                  <a:gd name="connsiteX85" fmla="*/ 859833 w 1708284"/>
                  <a:gd name="connsiteY85" fmla="*/ 1687264 h 2673102"/>
                  <a:gd name="connsiteX86" fmla="*/ 878883 w 1708284"/>
                  <a:gd name="connsiteY86" fmla="*/ 1701552 h 2673102"/>
                  <a:gd name="connsiteX87" fmla="*/ 888408 w 1708284"/>
                  <a:gd name="connsiteY87" fmla="*/ 1739652 h 2673102"/>
                  <a:gd name="connsiteX88" fmla="*/ 897933 w 1708284"/>
                  <a:gd name="connsiteY88" fmla="*/ 1782514 h 2673102"/>
                  <a:gd name="connsiteX89" fmla="*/ 940796 w 1708284"/>
                  <a:gd name="connsiteY89" fmla="*/ 1892052 h 2673102"/>
                  <a:gd name="connsiteX90" fmla="*/ 950321 w 1708284"/>
                  <a:gd name="connsiteY90" fmla="*/ 1906339 h 2673102"/>
                  <a:gd name="connsiteX91" fmla="*/ 959846 w 1708284"/>
                  <a:gd name="connsiteY91" fmla="*/ 1939677 h 2673102"/>
                  <a:gd name="connsiteX92" fmla="*/ 974133 w 1708284"/>
                  <a:gd name="connsiteY92" fmla="*/ 1977777 h 2673102"/>
                  <a:gd name="connsiteX93" fmla="*/ 964608 w 1708284"/>
                  <a:gd name="connsiteY93" fmla="*/ 2082552 h 2673102"/>
                  <a:gd name="connsiteX94" fmla="*/ 955083 w 1708284"/>
                  <a:gd name="connsiteY94" fmla="*/ 2101602 h 2673102"/>
                  <a:gd name="connsiteX95" fmla="*/ 926508 w 1708284"/>
                  <a:gd name="connsiteY95" fmla="*/ 2144464 h 2673102"/>
                  <a:gd name="connsiteX96" fmla="*/ 907458 w 1708284"/>
                  <a:gd name="connsiteY96" fmla="*/ 2192089 h 2673102"/>
                  <a:gd name="connsiteX97" fmla="*/ 902696 w 1708284"/>
                  <a:gd name="connsiteY97" fmla="*/ 2211139 h 2673102"/>
                  <a:gd name="connsiteX98" fmla="*/ 893171 w 1708284"/>
                  <a:gd name="connsiteY98" fmla="*/ 2239714 h 2673102"/>
                  <a:gd name="connsiteX99" fmla="*/ 897933 w 1708284"/>
                  <a:gd name="connsiteY99" fmla="*/ 2287339 h 2673102"/>
                  <a:gd name="connsiteX100" fmla="*/ 893171 w 1708284"/>
                  <a:gd name="connsiteY100" fmla="*/ 2396877 h 2673102"/>
                  <a:gd name="connsiteX101" fmla="*/ 688383 w 1708284"/>
                  <a:gd name="connsiteY101" fmla="*/ 2449264 h 2673102"/>
                  <a:gd name="connsiteX102" fmla="*/ 655046 w 1708284"/>
                  <a:gd name="connsiteY102" fmla="*/ 2473077 h 2673102"/>
                  <a:gd name="connsiteX103" fmla="*/ 607421 w 1708284"/>
                  <a:gd name="connsiteY103" fmla="*/ 2511177 h 2673102"/>
                  <a:gd name="connsiteX104" fmla="*/ 574083 w 1708284"/>
                  <a:gd name="connsiteY104" fmla="*/ 2534989 h 2673102"/>
                  <a:gd name="connsiteX105" fmla="*/ 540746 w 1708284"/>
                  <a:gd name="connsiteY105" fmla="*/ 2554039 h 2673102"/>
                  <a:gd name="connsiteX106" fmla="*/ 497883 w 1708284"/>
                  <a:gd name="connsiteY106" fmla="*/ 2587377 h 2673102"/>
                  <a:gd name="connsiteX107" fmla="*/ 483596 w 1708284"/>
                  <a:gd name="connsiteY107" fmla="*/ 2601664 h 2673102"/>
                  <a:gd name="connsiteX108" fmla="*/ 459783 w 1708284"/>
                  <a:gd name="connsiteY108" fmla="*/ 2620714 h 2673102"/>
                  <a:gd name="connsiteX109" fmla="*/ 450258 w 1708284"/>
                  <a:gd name="connsiteY109" fmla="*/ 2635002 h 2673102"/>
                  <a:gd name="connsiteX110" fmla="*/ 416921 w 1708284"/>
                  <a:gd name="connsiteY110" fmla="*/ 2654052 h 2673102"/>
                  <a:gd name="connsiteX111" fmla="*/ 374058 w 1708284"/>
                  <a:gd name="connsiteY111" fmla="*/ 2673102 h 2673102"/>
                  <a:gd name="connsiteX112" fmla="*/ 359771 w 1708284"/>
                  <a:gd name="connsiteY112" fmla="*/ 2663577 h 2673102"/>
                  <a:gd name="connsiteX113" fmla="*/ 345483 w 1708284"/>
                  <a:gd name="connsiteY113" fmla="*/ 2635002 h 2673102"/>
                  <a:gd name="connsiteX114" fmla="*/ 335958 w 1708284"/>
                  <a:gd name="connsiteY114" fmla="*/ 2620714 h 2673102"/>
                  <a:gd name="connsiteX115" fmla="*/ 297858 w 1708284"/>
                  <a:gd name="connsiteY115" fmla="*/ 2611189 h 2673102"/>
                  <a:gd name="connsiteX116" fmla="*/ 278808 w 1708284"/>
                  <a:gd name="connsiteY116" fmla="*/ 2592139 h 2673102"/>
                  <a:gd name="connsiteX117" fmla="*/ 274046 w 1708284"/>
                  <a:gd name="connsiteY117" fmla="*/ 2573089 h 2673102"/>
                  <a:gd name="connsiteX118" fmla="*/ 235946 w 1708284"/>
                  <a:gd name="connsiteY118" fmla="*/ 2539752 h 2673102"/>
                  <a:gd name="connsiteX119" fmla="*/ 231183 w 1708284"/>
                  <a:gd name="connsiteY119" fmla="*/ 2525464 h 2673102"/>
                  <a:gd name="connsiteX120" fmla="*/ 226421 w 1708284"/>
                  <a:gd name="connsiteY120" fmla="*/ 2506414 h 2673102"/>
                  <a:gd name="connsiteX121" fmla="*/ 212133 w 1708284"/>
                  <a:gd name="connsiteY121" fmla="*/ 2492127 h 2673102"/>
                  <a:gd name="connsiteX122" fmla="*/ 154983 w 1708284"/>
                  <a:gd name="connsiteY122" fmla="*/ 2439739 h 2673102"/>
                  <a:gd name="connsiteX123" fmla="*/ 150221 w 1708284"/>
                  <a:gd name="connsiteY123" fmla="*/ 2415927 h 2673102"/>
                  <a:gd name="connsiteX124" fmla="*/ 135933 w 1708284"/>
                  <a:gd name="connsiteY124" fmla="*/ 2358777 h 2673102"/>
                  <a:gd name="connsiteX125" fmla="*/ 121646 w 1708284"/>
                  <a:gd name="connsiteY125" fmla="*/ 2315914 h 2673102"/>
                  <a:gd name="connsiteX126" fmla="*/ 107358 w 1708284"/>
                  <a:gd name="connsiteY126" fmla="*/ 2258764 h 2673102"/>
                  <a:gd name="connsiteX127" fmla="*/ 102596 w 1708284"/>
                  <a:gd name="connsiteY127" fmla="*/ 2234952 h 2673102"/>
                  <a:gd name="connsiteX128" fmla="*/ 93071 w 1708284"/>
                  <a:gd name="connsiteY128" fmla="*/ 2211139 h 2673102"/>
                  <a:gd name="connsiteX129" fmla="*/ 88308 w 1708284"/>
                  <a:gd name="connsiteY129" fmla="*/ 2187327 h 2673102"/>
                  <a:gd name="connsiteX130" fmla="*/ 78783 w 1708284"/>
                  <a:gd name="connsiteY130" fmla="*/ 2111127 h 2673102"/>
                  <a:gd name="connsiteX131" fmla="*/ 97833 w 1708284"/>
                  <a:gd name="connsiteY131" fmla="*/ 1944439 h 2673102"/>
                  <a:gd name="connsiteX132" fmla="*/ 107358 w 1708284"/>
                  <a:gd name="connsiteY132" fmla="*/ 1930152 h 2673102"/>
                  <a:gd name="connsiteX133" fmla="*/ 126408 w 1708284"/>
                  <a:gd name="connsiteY133" fmla="*/ 1901577 h 2673102"/>
                  <a:gd name="connsiteX134" fmla="*/ 135933 w 1708284"/>
                  <a:gd name="connsiteY134" fmla="*/ 1868239 h 2673102"/>
                  <a:gd name="connsiteX135" fmla="*/ 131171 w 1708284"/>
                  <a:gd name="connsiteY135" fmla="*/ 1825377 h 2673102"/>
                  <a:gd name="connsiteX136" fmla="*/ 112121 w 1708284"/>
                  <a:gd name="connsiteY136" fmla="*/ 1820614 h 2673102"/>
                  <a:gd name="connsiteX137" fmla="*/ 102596 w 1708284"/>
                  <a:gd name="connsiteY137" fmla="*/ 1806327 h 2673102"/>
                  <a:gd name="connsiteX138" fmla="*/ 145458 w 1708284"/>
                  <a:gd name="connsiteY138" fmla="*/ 1720602 h 2673102"/>
                  <a:gd name="connsiteX139" fmla="*/ 159746 w 1708284"/>
                  <a:gd name="connsiteY139" fmla="*/ 1715839 h 2673102"/>
                  <a:gd name="connsiteX140" fmla="*/ 174033 w 1708284"/>
                  <a:gd name="connsiteY140" fmla="*/ 1696789 h 2673102"/>
                  <a:gd name="connsiteX141" fmla="*/ 188321 w 1708284"/>
                  <a:gd name="connsiteY141" fmla="*/ 1687264 h 2673102"/>
                  <a:gd name="connsiteX142" fmla="*/ 202608 w 1708284"/>
                  <a:gd name="connsiteY142" fmla="*/ 1653927 h 2673102"/>
                  <a:gd name="connsiteX143" fmla="*/ 193083 w 1708284"/>
                  <a:gd name="connsiteY143" fmla="*/ 1606302 h 2673102"/>
                  <a:gd name="connsiteX144" fmla="*/ 164508 w 1708284"/>
                  <a:gd name="connsiteY144" fmla="*/ 1596777 h 2673102"/>
                  <a:gd name="connsiteX145" fmla="*/ 154983 w 1708284"/>
                  <a:gd name="connsiteY145" fmla="*/ 1549152 h 2673102"/>
                  <a:gd name="connsiteX146" fmla="*/ 150221 w 1708284"/>
                  <a:gd name="connsiteY146" fmla="*/ 1411039 h 2673102"/>
                  <a:gd name="connsiteX147" fmla="*/ 140696 w 1708284"/>
                  <a:gd name="connsiteY147" fmla="*/ 1377702 h 2673102"/>
                  <a:gd name="connsiteX148" fmla="*/ 121646 w 1708284"/>
                  <a:gd name="connsiteY148" fmla="*/ 1311027 h 2673102"/>
                  <a:gd name="connsiteX149" fmla="*/ 116883 w 1708284"/>
                  <a:gd name="connsiteY149" fmla="*/ 1258639 h 2673102"/>
                  <a:gd name="connsiteX150" fmla="*/ 107358 w 1708284"/>
                  <a:gd name="connsiteY150" fmla="*/ 1244352 h 2673102"/>
                  <a:gd name="connsiteX151" fmla="*/ 93071 w 1708284"/>
                  <a:gd name="connsiteY151" fmla="*/ 1196727 h 2673102"/>
                  <a:gd name="connsiteX152" fmla="*/ 78783 w 1708284"/>
                  <a:gd name="connsiteY152" fmla="*/ 1177677 h 2673102"/>
                  <a:gd name="connsiteX153" fmla="*/ 59733 w 1708284"/>
                  <a:gd name="connsiteY153" fmla="*/ 1139577 h 2673102"/>
                  <a:gd name="connsiteX154" fmla="*/ 50208 w 1708284"/>
                  <a:gd name="connsiteY154" fmla="*/ 1111002 h 2673102"/>
                  <a:gd name="connsiteX155" fmla="*/ 45446 w 1708284"/>
                  <a:gd name="connsiteY155" fmla="*/ 1096714 h 2673102"/>
                  <a:gd name="connsiteX156" fmla="*/ 21633 w 1708284"/>
                  <a:gd name="connsiteY156" fmla="*/ 1025277 h 2673102"/>
                  <a:gd name="connsiteX157" fmla="*/ 202 w 1708284"/>
                  <a:gd name="connsiteY157" fmla="*/ 980033 h 2673102"/>
                  <a:gd name="connsiteX158" fmla="*/ 14490 w 1708284"/>
                  <a:gd name="connsiteY158" fmla="*/ 930027 h 2673102"/>
                  <a:gd name="connsiteX159" fmla="*/ 69259 w 1708284"/>
                  <a:gd name="connsiteY159" fmla="*/ 810964 h 2673102"/>
                  <a:gd name="connsiteX160" fmla="*/ 221658 w 1708284"/>
                  <a:gd name="connsiteY160" fmla="*/ 601414 h 2673102"/>
                  <a:gd name="connsiteX161" fmla="*/ 288333 w 1708284"/>
                  <a:gd name="connsiteY161" fmla="*/ 515689 h 2673102"/>
                  <a:gd name="connsiteX162" fmla="*/ 412158 w 1708284"/>
                  <a:gd name="connsiteY162" fmla="*/ 406152 h 2673102"/>
                  <a:gd name="connsiteX163" fmla="*/ 535983 w 1708284"/>
                  <a:gd name="connsiteY163" fmla="*/ 291851 h 2673102"/>
                  <a:gd name="connsiteX164" fmla="*/ 640758 w 1708284"/>
                  <a:gd name="connsiteY164" fmla="*/ 229939 h 2673102"/>
                  <a:gd name="connsiteX165" fmla="*/ 733628 w 1708284"/>
                  <a:gd name="connsiteY165" fmla="*/ 168026 h 2673102"/>
                  <a:gd name="connsiteX166" fmla="*/ 978896 w 1708284"/>
                  <a:gd name="connsiteY166" fmla="*/ 63251 h 2673102"/>
                  <a:gd name="connsiteX167" fmla="*/ 1159871 w 1708284"/>
                  <a:gd name="connsiteY167" fmla="*/ 6102 h 2673102"/>
                  <a:gd name="connsiteX168" fmla="*/ 1202733 w 1708284"/>
                  <a:gd name="connsiteY168" fmla="*/ 10864 h 2673102"/>
                  <a:gd name="connsiteX0" fmla="*/ 1202733 w 1704847"/>
                  <a:gd name="connsiteY0" fmla="*/ 10864 h 2673102"/>
                  <a:gd name="connsiteX1" fmla="*/ 1197971 w 1704847"/>
                  <a:gd name="connsiteY1" fmla="*/ 68014 h 2673102"/>
                  <a:gd name="connsiteX2" fmla="*/ 1174158 w 1704847"/>
                  <a:gd name="connsiteY2" fmla="*/ 110877 h 2673102"/>
                  <a:gd name="connsiteX3" fmla="*/ 1164633 w 1704847"/>
                  <a:gd name="connsiteY3" fmla="*/ 129927 h 2673102"/>
                  <a:gd name="connsiteX4" fmla="*/ 1164633 w 1704847"/>
                  <a:gd name="connsiteY4" fmla="*/ 206127 h 2673102"/>
                  <a:gd name="connsiteX5" fmla="*/ 1183683 w 1704847"/>
                  <a:gd name="connsiteY5" fmla="*/ 225177 h 2673102"/>
                  <a:gd name="connsiteX6" fmla="*/ 1202733 w 1704847"/>
                  <a:gd name="connsiteY6" fmla="*/ 258514 h 2673102"/>
                  <a:gd name="connsiteX7" fmla="*/ 1221783 w 1704847"/>
                  <a:gd name="connsiteY7" fmla="*/ 268039 h 2673102"/>
                  <a:gd name="connsiteX8" fmla="*/ 1231308 w 1704847"/>
                  <a:gd name="connsiteY8" fmla="*/ 282327 h 2673102"/>
                  <a:gd name="connsiteX9" fmla="*/ 1245596 w 1704847"/>
                  <a:gd name="connsiteY9" fmla="*/ 296614 h 2673102"/>
                  <a:gd name="connsiteX10" fmla="*/ 1255121 w 1704847"/>
                  <a:gd name="connsiteY10" fmla="*/ 315664 h 2673102"/>
                  <a:gd name="connsiteX11" fmla="*/ 1250358 w 1704847"/>
                  <a:gd name="connsiteY11" fmla="*/ 344239 h 2673102"/>
                  <a:gd name="connsiteX12" fmla="*/ 1245596 w 1704847"/>
                  <a:gd name="connsiteY12" fmla="*/ 363289 h 2673102"/>
                  <a:gd name="connsiteX13" fmla="*/ 1250358 w 1704847"/>
                  <a:gd name="connsiteY13" fmla="*/ 425202 h 2673102"/>
                  <a:gd name="connsiteX14" fmla="*/ 1269408 w 1704847"/>
                  <a:gd name="connsiteY14" fmla="*/ 463302 h 2673102"/>
                  <a:gd name="connsiteX15" fmla="*/ 1278933 w 1704847"/>
                  <a:gd name="connsiteY15" fmla="*/ 477589 h 2673102"/>
                  <a:gd name="connsiteX16" fmla="*/ 1293221 w 1704847"/>
                  <a:gd name="connsiteY16" fmla="*/ 487114 h 2673102"/>
                  <a:gd name="connsiteX17" fmla="*/ 1350371 w 1704847"/>
                  <a:gd name="connsiteY17" fmla="*/ 510927 h 2673102"/>
                  <a:gd name="connsiteX18" fmla="*/ 1378946 w 1704847"/>
                  <a:gd name="connsiteY18" fmla="*/ 520452 h 2673102"/>
                  <a:gd name="connsiteX19" fmla="*/ 1407521 w 1704847"/>
                  <a:gd name="connsiteY19" fmla="*/ 539502 h 2673102"/>
                  <a:gd name="connsiteX20" fmla="*/ 1469433 w 1704847"/>
                  <a:gd name="connsiteY20" fmla="*/ 568077 h 2673102"/>
                  <a:gd name="connsiteX21" fmla="*/ 1521821 w 1704847"/>
                  <a:gd name="connsiteY21" fmla="*/ 587127 h 2673102"/>
                  <a:gd name="connsiteX22" fmla="*/ 1540871 w 1704847"/>
                  <a:gd name="connsiteY22" fmla="*/ 596652 h 2673102"/>
                  <a:gd name="connsiteX23" fmla="*/ 1559921 w 1704847"/>
                  <a:gd name="connsiteY23" fmla="*/ 601414 h 2673102"/>
                  <a:gd name="connsiteX24" fmla="*/ 1607546 w 1704847"/>
                  <a:gd name="connsiteY24" fmla="*/ 639514 h 2673102"/>
                  <a:gd name="connsiteX25" fmla="*/ 1636121 w 1704847"/>
                  <a:gd name="connsiteY25" fmla="*/ 672852 h 2673102"/>
                  <a:gd name="connsiteX26" fmla="*/ 1650408 w 1704847"/>
                  <a:gd name="connsiteY26" fmla="*/ 687139 h 2673102"/>
                  <a:gd name="connsiteX27" fmla="*/ 1669458 w 1704847"/>
                  <a:gd name="connsiteY27" fmla="*/ 696664 h 2673102"/>
                  <a:gd name="connsiteX28" fmla="*/ 1683746 w 1704847"/>
                  <a:gd name="connsiteY28" fmla="*/ 706189 h 2673102"/>
                  <a:gd name="connsiteX29" fmla="*/ 1698033 w 1704847"/>
                  <a:gd name="connsiteY29" fmla="*/ 744289 h 2673102"/>
                  <a:gd name="connsiteX30" fmla="*/ 1702796 w 1704847"/>
                  <a:gd name="connsiteY30" fmla="*/ 853827 h 2673102"/>
                  <a:gd name="connsiteX31" fmla="*/ 1664696 w 1704847"/>
                  <a:gd name="connsiteY31" fmla="*/ 887164 h 2673102"/>
                  <a:gd name="connsiteX32" fmla="*/ 1650408 w 1704847"/>
                  <a:gd name="connsiteY32" fmla="*/ 901452 h 2673102"/>
                  <a:gd name="connsiteX33" fmla="*/ 1598021 w 1704847"/>
                  <a:gd name="connsiteY33" fmla="*/ 906214 h 2673102"/>
                  <a:gd name="connsiteX34" fmla="*/ 1555158 w 1704847"/>
                  <a:gd name="connsiteY34" fmla="*/ 925264 h 2673102"/>
                  <a:gd name="connsiteX35" fmla="*/ 1531346 w 1704847"/>
                  <a:gd name="connsiteY35" fmla="*/ 939552 h 2673102"/>
                  <a:gd name="connsiteX36" fmla="*/ 1498008 w 1704847"/>
                  <a:gd name="connsiteY36" fmla="*/ 987177 h 2673102"/>
                  <a:gd name="connsiteX37" fmla="*/ 1345608 w 1704847"/>
                  <a:gd name="connsiteY37" fmla="*/ 1030039 h 2673102"/>
                  <a:gd name="connsiteX38" fmla="*/ 1297983 w 1704847"/>
                  <a:gd name="connsiteY38" fmla="*/ 1053852 h 2673102"/>
                  <a:gd name="connsiteX39" fmla="*/ 1231308 w 1704847"/>
                  <a:gd name="connsiteY39" fmla="*/ 1082427 h 2673102"/>
                  <a:gd name="connsiteX40" fmla="*/ 1126533 w 1704847"/>
                  <a:gd name="connsiteY40" fmla="*/ 1096714 h 2673102"/>
                  <a:gd name="connsiteX41" fmla="*/ 1102721 w 1704847"/>
                  <a:gd name="connsiteY41" fmla="*/ 1101477 h 2673102"/>
                  <a:gd name="connsiteX42" fmla="*/ 1078908 w 1704847"/>
                  <a:gd name="connsiteY42" fmla="*/ 1111002 h 2673102"/>
                  <a:gd name="connsiteX43" fmla="*/ 964608 w 1704847"/>
                  <a:gd name="connsiteY43" fmla="*/ 1106239 h 2673102"/>
                  <a:gd name="connsiteX44" fmla="*/ 859833 w 1704847"/>
                  <a:gd name="connsiteY44" fmla="*/ 1058614 h 2673102"/>
                  <a:gd name="connsiteX45" fmla="*/ 812208 w 1704847"/>
                  <a:gd name="connsiteY45" fmla="*/ 1034802 h 2673102"/>
                  <a:gd name="connsiteX46" fmla="*/ 788396 w 1704847"/>
                  <a:gd name="connsiteY46" fmla="*/ 1020514 h 2673102"/>
                  <a:gd name="connsiteX47" fmla="*/ 769346 w 1704847"/>
                  <a:gd name="connsiteY47" fmla="*/ 1006227 h 2673102"/>
                  <a:gd name="connsiteX48" fmla="*/ 678858 w 1704847"/>
                  <a:gd name="connsiteY48" fmla="*/ 958602 h 2673102"/>
                  <a:gd name="connsiteX49" fmla="*/ 645521 w 1704847"/>
                  <a:gd name="connsiteY49" fmla="*/ 939552 h 2673102"/>
                  <a:gd name="connsiteX50" fmla="*/ 526458 w 1704847"/>
                  <a:gd name="connsiteY50" fmla="*/ 910977 h 2673102"/>
                  <a:gd name="connsiteX51" fmla="*/ 483596 w 1704847"/>
                  <a:gd name="connsiteY51" fmla="*/ 891927 h 2673102"/>
                  <a:gd name="connsiteX52" fmla="*/ 421683 w 1704847"/>
                  <a:gd name="connsiteY52" fmla="*/ 882402 h 2673102"/>
                  <a:gd name="connsiteX53" fmla="*/ 321671 w 1704847"/>
                  <a:gd name="connsiteY53" fmla="*/ 896689 h 2673102"/>
                  <a:gd name="connsiteX54" fmla="*/ 307383 w 1704847"/>
                  <a:gd name="connsiteY54" fmla="*/ 910977 h 2673102"/>
                  <a:gd name="connsiteX55" fmla="*/ 283571 w 1704847"/>
                  <a:gd name="connsiteY55" fmla="*/ 949077 h 2673102"/>
                  <a:gd name="connsiteX56" fmla="*/ 269283 w 1704847"/>
                  <a:gd name="connsiteY56" fmla="*/ 987177 h 2673102"/>
                  <a:gd name="connsiteX57" fmla="*/ 264521 w 1704847"/>
                  <a:gd name="connsiteY57" fmla="*/ 1039564 h 2673102"/>
                  <a:gd name="connsiteX58" fmla="*/ 264521 w 1704847"/>
                  <a:gd name="connsiteY58" fmla="*/ 1120527 h 2673102"/>
                  <a:gd name="connsiteX59" fmla="*/ 297858 w 1704847"/>
                  <a:gd name="connsiteY59" fmla="*/ 1153864 h 2673102"/>
                  <a:gd name="connsiteX60" fmla="*/ 326433 w 1704847"/>
                  <a:gd name="connsiteY60" fmla="*/ 1163389 h 2673102"/>
                  <a:gd name="connsiteX61" fmla="*/ 326433 w 1704847"/>
                  <a:gd name="connsiteY61" fmla="*/ 1244352 h 2673102"/>
                  <a:gd name="connsiteX62" fmla="*/ 312146 w 1704847"/>
                  <a:gd name="connsiteY62" fmla="*/ 1258639 h 2673102"/>
                  <a:gd name="connsiteX63" fmla="*/ 259758 w 1704847"/>
                  <a:gd name="connsiteY63" fmla="*/ 1296739 h 2673102"/>
                  <a:gd name="connsiteX64" fmla="*/ 240708 w 1704847"/>
                  <a:gd name="connsiteY64" fmla="*/ 1325314 h 2673102"/>
                  <a:gd name="connsiteX65" fmla="*/ 250233 w 1704847"/>
                  <a:gd name="connsiteY65" fmla="*/ 1425327 h 2673102"/>
                  <a:gd name="connsiteX66" fmla="*/ 278808 w 1704847"/>
                  <a:gd name="connsiteY66" fmla="*/ 1472952 h 2673102"/>
                  <a:gd name="connsiteX67" fmla="*/ 293096 w 1704847"/>
                  <a:gd name="connsiteY67" fmla="*/ 1492002 h 2673102"/>
                  <a:gd name="connsiteX68" fmla="*/ 383583 w 1704847"/>
                  <a:gd name="connsiteY68" fmla="*/ 1525339 h 2673102"/>
                  <a:gd name="connsiteX69" fmla="*/ 407396 w 1704847"/>
                  <a:gd name="connsiteY69" fmla="*/ 1492002 h 2673102"/>
                  <a:gd name="connsiteX70" fmla="*/ 412158 w 1704847"/>
                  <a:gd name="connsiteY70" fmla="*/ 1468189 h 2673102"/>
                  <a:gd name="connsiteX71" fmla="*/ 416921 w 1704847"/>
                  <a:gd name="connsiteY71" fmla="*/ 1449139 h 2673102"/>
                  <a:gd name="connsiteX72" fmla="*/ 445496 w 1704847"/>
                  <a:gd name="connsiteY72" fmla="*/ 1439614 h 2673102"/>
                  <a:gd name="connsiteX73" fmla="*/ 545508 w 1704847"/>
                  <a:gd name="connsiteY73" fmla="*/ 1458664 h 2673102"/>
                  <a:gd name="connsiteX74" fmla="*/ 555033 w 1704847"/>
                  <a:gd name="connsiteY74" fmla="*/ 1482477 h 2673102"/>
                  <a:gd name="connsiteX75" fmla="*/ 564558 w 1704847"/>
                  <a:gd name="connsiteY75" fmla="*/ 1515814 h 2673102"/>
                  <a:gd name="connsiteX76" fmla="*/ 550271 w 1704847"/>
                  <a:gd name="connsiteY76" fmla="*/ 1534864 h 2673102"/>
                  <a:gd name="connsiteX77" fmla="*/ 550271 w 1704847"/>
                  <a:gd name="connsiteY77" fmla="*/ 1601539 h 2673102"/>
                  <a:gd name="connsiteX78" fmla="*/ 559796 w 1704847"/>
                  <a:gd name="connsiteY78" fmla="*/ 1620589 h 2673102"/>
                  <a:gd name="connsiteX79" fmla="*/ 626471 w 1704847"/>
                  <a:gd name="connsiteY79" fmla="*/ 1639639 h 2673102"/>
                  <a:gd name="connsiteX80" fmla="*/ 645521 w 1704847"/>
                  <a:gd name="connsiteY80" fmla="*/ 1592014 h 2673102"/>
                  <a:gd name="connsiteX81" fmla="*/ 702671 w 1704847"/>
                  <a:gd name="connsiteY81" fmla="*/ 1620589 h 2673102"/>
                  <a:gd name="connsiteX82" fmla="*/ 731246 w 1704847"/>
                  <a:gd name="connsiteY82" fmla="*/ 1630114 h 2673102"/>
                  <a:gd name="connsiteX83" fmla="*/ 783633 w 1704847"/>
                  <a:gd name="connsiteY83" fmla="*/ 1663452 h 2673102"/>
                  <a:gd name="connsiteX84" fmla="*/ 859833 w 1704847"/>
                  <a:gd name="connsiteY84" fmla="*/ 1687264 h 2673102"/>
                  <a:gd name="connsiteX85" fmla="*/ 878883 w 1704847"/>
                  <a:gd name="connsiteY85" fmla="*/ 1701552 h 2673102"/>
                  <a:gd name="connsiteX86" fmla="*/ 888408 w 1704847"/>
                  <a:gd name="connsiteY86" fmla="*/ 1739652 h 2673102"/>
                  <a:gd name="connsiteX87" fmla="*/ 897933 w 1704847"/>
                  <a:gd name="connsiteY87" fmla="*/ 1782514 h 2673102"/>
                  <a:gd name="connsiteX88" fmla="*/ 940796 w 1704847"/>
                  <a:gd name="connsiteY88" fmla="*/ 1892052 h 2673102"/>
                  <a:gd name="connsiteX89" fmla="*/ 950321 w 1704847"/>
                  <a:gd name="connsiteY89" fmla="*/ 1906339 h 2673102"/>
                  <a:gd name="connsiteX90" fmla="*/ 959846 w 1704847"/>
                  <a:gd name="connsiteY90" fmla="*/ 1939677 h 2673102"/>
                  <a:gd name="connsiteX91" fmla="*/ 974133 w 1704847"/>
                  <a:gd name="connsiteY91" fmla="*/ 1977777 h 2673102"/>
                  <a:gd name="connsiteX92" fmla="*/ 964608 w 1704847"/>
                  <a:gd name="connsiteY92" fmla="*/ 2082552 h 2673102"/>
                  <a:gd name="connsiteX93" fmla="*/ 955083 w 1704847"/>
                  <a:gd name="connsiteY93" fmla="*/ 2101602 h 2673102"/>
                  <a:gd name="connsiteX94" fmla="*/ 926508 w 1704847"/>
                  <a:gd name="connsiteY94" fmla="*/ 2144464 h 2673102"/>
                  <a:gd name="connsiteX95" fmla="*/ 907458 w 1704847"/>
                  <a:gd name="connsiteY95" fmla="*/ 2192089 h 2673102"/>
                  <a:gd name="connsiteX96" fmla="*/ 902696 w 1704847"/>
                  <a:gd name="connsiteY96" fmla="*/ 2211139 h 2673102"/>
                  <a:gd name="connsiteX97" fmla="*/ 893171 w 1704847"/>
                  <a:gd name="connsiteY97" fmla="*/ 2239714 h 2673102"/>
                  <a:gd name="connsiteX98" fmla="*/ 897933 w 1704847"/>
                  <a:gd name="connsiteY98" fmla="*/ 2287339 h 2673102"/>
                  <a:gd name="connsiteX99" fmla="*/ 893171 w 1704847"/>
                  <a:gd name="connsiteY99" fmla="*/ 2396877 h 2673102"/>
                  <a:gd name="connsiteX100" fmla="*/ 688383 w 1704847"/>
                  <a:gd name="connsiteY100" fmla="*/ 2449264 h 2673102"/>
                  <a:gd name="connsiteX101" fmla="*/ 655046 w 1704847"/>
                  <a:gd name="connsiteY101" fmla="*/ 2473077 h 2673102"/>
                  <a:gd name="connsiteX102" fmla="*/ 607421 w 1704847"/>
                  <a:gd name="connsiteY102" fmla="*/ 2511177 h 2673102"/>
                  <a:gd name="connsiteX103" fmla="*/ 574083 w 1704847"/>
                  <a:gd name="connsiteY103" fmla="*/ 2534989 h 2673102"/>
                  <a:gd name="connsiteX104" fmla="*/ 540746 w 1704847"/>
                  <a:gd name="connsiteY104" fmla="*/ 2554039 h 2673102"/>
                  <a:gd name="connsiteX105" fmla="*/ 497883 w 1704847"/>
                  <a:gd name="connsiteY105" fmla="*/ 2587377 h 2673102"/>
                  <a:gd name="connsiteX106" fmla="*/ 483596 w 1704847"/>
                  <a:gd name="connsiteY106" fmla="*/ 2601664 h 2673102"/>
                  <a:gd name="connsiteX107" fmla="*/ 459783 w 1704847"/>
                  <a:gd name="connsiteY107" fmla="*/ 2620714 h 2673102"/>
                  <a:gd name="connsiteX108" fmla="*/ 450258 w 1704847"/>
                  <a:gd name="connsiteY108" fmla="*/ 2635002 h 2673102"/>
                  <a:gd name="connsiteX109" fmla="*/ 416921 w 1704847"/>
                  <a:gd name="connsiteY109" fmla="*/ 2654052 h 2673102"/>
                  <a:gd name="connsiteX110" fmla="*/ 374058 w 1704847"/>
                  <a:gd name="connsiteY110" fmla="*/ 2673102 h 2673102"/>
                  <a:gd name="connsiteX111" fmla="*/ 359771 w 1704847"/>
                  <a:gd name="connsiteY111" fmla="*/ 2663577 h 2673102"/>
                  <a:gd name="connsiteX112" fmla="*/ 345483 w 1704847"/>
                  <a:gd name="connsiteY112" fmla="*/ 2635002 h 2673102"/>
                  <a:gd name="connsiteX113" fmla="*/ 335958 w 1704847"/>
                  <a:gd name="connsiteY113" fmla="*/ 2620714 h 2673102"/>
                  <a:gd name="connsiteX114" fmla="*/ 297858 w 1704847"/>
                  <a:gd name="connsiteY114" fmla="*/ 2611189 h 2673102"/>
                  <a:gd name="connsiteX115" fmla="*/ 278808 w 1704847"/>
                  <a:gd name="connsiteY115" fmla="*/ 2592139 h 2673102"/>
                  <a:gd name="connsiteX116" fmla="*/ 274046 w 1704847"/>
                  <a:gd name="connsiteY116" fmla="*/ 2573089 h 2673102"/>
                  <a:gd name="connsiteX117" fmla="*/ 235946 w 1704847"/>
                  <a:gd name="connsiteY117" fmla="*/ 2539752 h 2673102"/>
                  <a:gd name="connsiteX118" fmla="*/ 231183 w 1704847"/>
                  <a:gd name="connsiteY118" fmla="*/ 2525464 h 2673102"/>
                  <a:gd name="connsiteX119" fmla="*/ 226421 w 1704847"/>
                  <a:gd name="connsiteY119" fmla="*/ 2506414 h 2673102"/>
                  <a:gd name="connsiteX120" fmla="*/ 212133 w 1704847"/>
                  <a:gd name="connsiteY120" fmla="*/ 2492127 h 2673102"/>
                  <a:gd name="connsiteX121" fmla="*/ 154983 w 1704847"/>
                  <a:gd name="connsiteY121" fmla="*/ 2439739 h 2673102"/>
                  <a:gd name="connsiteX122" fmla="*/ 150221 w 1704847"/>
                  <a:gd name="connsiteY122" fmla="*/ 2415927 h 2673102"/>
                  <a:gd name="connsiteX123" fmla="*/ 135933 w 1704847"/>
                  <a:gd name="connsiteY123" fmla="*/ 2358777 h 2673102"/>
                  <a:gd name="connsiteX124" fmla="*/ 121646 w 1704847"/>
                  <a:gd name="connsiteY124" fmla="*/ 2315914 h 2673102"/>
                  <a:gd name="connsiteX125" fmla="*/ 107358 w 1704847"/>
                  <a:gd name="connsiteY125" fmla="*/ 2258764 h 2673102"/>
                  <a:gd name="connsiteX126" fmla="*/ 102596 w 1704847"/>
                  <a:gd name="connsiteY126" fmla="*/ 2234952 h 2673102"/>
                  <a:gd name="connsiteX127" fmla="*/ 93071 w 1704847"/>
                  <a:gd name="connsiteY127" fmla="*/ 2211139 h 2673102"/>
                  <a:gd name="connsiteX128" fmla="*/ 88308 w 1704847"/>
                  <a:gd name="connsiteY128" fmla="*/ 2187327 h 2673102"/>
                  <a:gd name="connsiteX129" fmla="*/ 78783 w 1704847"/>
                  <a:gd name="connsiteY129" fmla="*/ 2111127 h 2673102"/>
                  <a:gd name="connsiteX130" fmla="*/ 97833 w 1704847"/>
                  <a:gd name="connsiteY130" fmla="*/ 1944439 h 2673102"/>
                  <a:gd name="connsiteX131" fmla="*/ 107358 w 1704847"/>
                  <a:gd name="connsiteY131" fmla="*/ 1930152 h 2673102"/>
                  <a:gd name="connsiteX132" fmla="*/ 126408 w 1704847"/>
                  <a:gd name="connsiteY132" fmla="*/ 1901577 h 2673102"/>
                  <a:gd name="connsiteX133" fmla="*/ 135933 w 1704847"/>
                  <a:gd name="connsiteY133" fmla="*/ 1868239 h 2673102"/>
                  <a:gd name="connsiteX134" fmla="*/ 131171 w 1704847"/>
                  <a:gd name="connsiteY134" fmla="*/ 1825377 h 2673102"/>
                  <a:gd name="connsiteX135" fmla="*/ 112121 w 1704847"/>
                  <a:gd name="connsiteY135" fmla="*/ 1820614 h 2673102"/>
                  <a:gd name="connsiteX136" fmla="*/ 102596 w 1704847"/>
                  <a:gd name="connsiteY136" fmla="*/ 1806327 h 2673102"/>
                  <a:gd name="connsiteX137" fmla="*/ 145458 w 1704847"/>
                  <a:gd name="connsiteY137" fmla="*/ 1720602 h 2673102"/>
                  <a:gd name="connsiteX138" fmla="*/ 159746 w 1704847"/>
                  <a:gd name="connsiteY138" fmla="*/ 1715839 h 2673102"/>
                  <a:gd name="connsiteX139" fmla="*/ 174033 w 1704847"/>
                  <a:gd name="connsiteY139" fmla="*/ 1696789 h 2673102"/>
                  <a:gd name="connsiteX140" fmla="*/ 188321 w 1704847"/>
                  <a:gd name="connsiteY140" fmla="*/ 1687264 h 2673102"/>
                  <a:gd name="connsiteX141" fmla="*/ 202608 w 1704847"/>
                  <a:gd name="connsiteY141" fmla="*/ 1653927 h 2673102"/>
                  <a:gd name="connsiteX142" fmla="*/ 193083 w 1704847"/>
                  <a:gd name="connsiteY142" fmla="*/ 1606302 h 2673102"/>
                  <a:gd name="connsiteX143" fmla="*/ 164508 w 1704847"/>
                  <a:gd name="connsiteY143" fmla="*/ 1596777 h 2673102"/>
                  <a:gd name="connsiteX144" fmla="*/ 154983 w 1704847"/>
                  <a:gd name="connsiteY144" fmla="*/ 1549152 h 2673102"/>
                  <a:gd name="connsiteX145" fmla="*/ 150221 w 1704847"/>
                  <a:gd name="connsiteY145" fmla="*/ 1411039 h 2673102"/>
                  <a:gd name="connsiteX146" fmla="*/ 140696 w 1704847"/>
                  <a:gd name="connsiteY146" fmla="*/ 1377702 h 2673102"/>
                  <a:gd name="connsiteX147" fmla="*/ 121646 w 1704847"/>
                  <a:gd name="connsiteY147" fmla="*/ 1311027 h 2673102"/>
                  <a:gd name="connsiteX148" fmla="*/ 116883 w 1704847"/>
                  <a:gd name="connsiteY148" fmla="*/ 1258639 h 2673102"/>
                  <a:gd name="connsiteX149" fmla="*/ 107358 w 1704847"/>
                  <a:gd name="connsiteY149" fmla="*/ 1244352 h 2673102"/>
                  <a:gd name="connsiteX150" fmla="*/ 93071 w 1704847"/>
                  <a:gd name="connsiteY150" fmla="*/ 1196727 h 2673102"/>
                  <a:gd name="connsiteX151" fmla="*/ 78783 w 1704847"/>
                  <a:gd name="connsiteY151" fmla="*/ 1177677 h 2673102"/>
                  <a:gd name="connsiteX152" fmla="*/ 59733 w 1704847"/>
                  <a:gd name="connsiteY152" fmla="*/ 1139577 h 2673102"/>
                  <a:gd name="connsiteX153" fmla="*/ 50208 w 1704847"/>
                  <a:gd name="connsiteY153" fmla="*/ 1111002 h 2673102"/>
                  <a:gd name="connsiteX154" fmla="*/ 45446 w 1704847"/>
                  <a:gd name="connsiteY154" fmla="*/ 1096714 h 2673102"/>
                  <a:gd name="connsiteX155" fmla="*/ 21633 w 1704847"/>
                  <a:gd name="connsiteY155" fmla="*/ 1025277 h 2673102"/>
                  <a:gd name="connsiteX156" fmla="*/ 202 w 1704847"/>
                  <a:gd name="connsiteY156" fmla="*/ 980033 h 2673102"/>
                  <a:gd name="connsiteX157" fmla="*/ 14490 w 1704847"/>
                  <a:gd name="connsiteY157" fmla="*/ 930027 h 2673102"/>
                  <a:gd name="connsiteX158" fmla="*/ 69259 w 1704847"/>
                  <a:gd name="connsiteY158" fmla="*/ 810964 h 2673102"/>
                  <a:gd name="connsiteX159" fmla="*/ 221658 w 1704847"/>
                  <a:gd name="connsiteY159" fmla="*/ 601414 h 2673102"/>
                  <a:gd name="connsiteX160" fmla="*/ 288333 w 1704847"/>
                  <a:gd name="connsiteY160" fmla="*/ 515689 h 2673102"/>
                  <a:gd name="connsiteX161" fmla="*/ 412158 w 1704847"/>
                  <a:gd name="connsiteY161" fmla="*/ 406152 h 2673102"/>
                  <a:gd name="connsiteX162" fmla="*/ 535983 w 1704847"/>
                  <a:gd name="connsiteY162" fmla="*/ 291851 h 2673102"/>
                  <a:gd name="connsiteX163" fmla="*/ 640758 w 1704847"/>
                  <a:gd name="connsiteY163" fmla="*/ 229939 h 2673102"/>
                  <a:gd name="connsiteX164" fmla="*/ 733628 w 1704847"/>
                  <a:gd name="connsiteY164" fmla="*/ 168026 h 2673102"/>
                  <a:gd name="connsiteX165" fmla="*/ 978896 w 1704847"/>
                  <a:gd name="connsiteY165" fmla="*/ 63251 h 2673102"/>
                  <a:gd name="connsiteX166" fmla="*/ 1159871 w 1704847"/>
                  <a:gd name="connsiteY166" fmla="*/ 6102 h 2673102"/>
                  <a:gd name="connsiteX167" fmla="*/ 1202733 w 1704847"/>
                  <a:gd name="connsiteY167" fmla="*/ 10864 h 2673102"/>
                  <a:gd name="connsiteX0" fmla="*/ 1202733 w 1730673"/>
                  <a:gd name="connsiteY0" fmla="*/ 10864 h 2673102"/>
                  <a:gd name="connsiteX1" fmla="*/ 1197971 w 1730673"/>
                  <a:gd name="connsiteY1" fmla="*/ 68014 h 2673102"/>
                  <a:gd name="connsiteX2" fmla="*/ 1174158 w 1730673"/>
                  <a:gd name="connsiteY2" fmla="*/ 110877 h 2673102"/>
                  <a:gd name="connsiteX3" fmla="*/ 1164633 w 1730673"/>
                  <a:gd name="connsiteY3" fmla="*/ 129927 h 2673102"/>
                  <a:gd name="connsiteX4" fmla="*/ 1164633 w 1730673"/>
                  <a:gd name="connsiteY4" fmla="*/ 206127 h 2673102"/>
                  <a:gd name="connsiteX5" fmla="*/ 1183683 w 1730673"/>
                  <a:gd name="connsiteY5" fmla="*/ 225177 h 2673102"/>
                  <a:gd name="connsiteX6" fmla="*/ 1202733 w 1730673"/>
                  <a:gd name="connsiteY6" fmla="*/ 258514 h 2673102"/>
                  <a:gd name="connsiteX7" fmla="*/ 1221783 w 1730673"/>
                  <a:gd name="connsiteY7" fmla="*/ 268039 h 2673102"/>
                  <a:gd name="connsiteX8" fmla="*/ 1231308 w 1730673"/>
                  <a:gd name="connsiteY8" fmla="*/ 282327 h 2673102"/>
                  <a:gd name="connsiteX9" fmla="*/ 1245596 w 1730673"/>
                  <a:gd name="connsiteY9" fmla="*/ 296614 h 2673102"/>
                  <a:gd name="connsiteX10" fmla="*/ 1255121 w 1730673"/>
                  <a:gd name="connsiteY10" fmla="*/ 315664 h 2673102"/>
                  <a:gd name="connsiteX11" fmla="*/ 1250358 w 1730673"/>
                  <a:gd name="connsiteY11" fmla="*/ 344239 h 2673102"/>
                  <a:gd name="connsiteX12" fmla="*/ 1245596 w 1730673"/>
                  <a:gd name="connsiteY12" fmla="*/ 363289 h 2673102"/>
                  <a:gd name="connsiteX13" fmla="*/ 1250358 w 1730673"/>
                  <a:gd name="connsiteY13" fmla="*/ 425202 h 2673102"/>
                  <a:gd name="connsiteX14" fmla="*/ 1269408 w 1730673"/>
                  <a:gd name="connsiteY14" fmla="*/ 463302 h 2673102"/>
                  <a:gd name="connsiteX15" fmla="*/ 1278933 w 1730673"/>
                  <a:gd name="connsiteY15" fmla="*/ 477589 h 2673102"/>
                  <a:gd name="connsiteX16" fmla="*/ 1293221 w 1730673"/>
                  <a:gd name="connsiteY16" fmla="*/ 487114 h 2673102"/>
                  <a:gd name="connsiteX17" fmla="*/ 1350371 w 1730673"/>
                  <a:gd name="connsiteY17" fmla="*/ 510927 h 2673102"/>
                  <a:gd name="connsiteX18" fmla="*/ 1378946 w 1730673"/>
                  <a:gd name="connsiteY18" fmla="*/ 520452 h 2673102"/>
                  <a:gd name="connsiteX19" fmla="*/ 1407521 w 1730673"/>
                  <a:gd name="connsiteY19" fmla="*/ 539502 h 2673102"/>
                  <a:gd name="connsiteX20" fmla="*/ 1469433 w 1730673"/>
                  <a:gd name="connsiteY20" fmla="*/ 568077 h 2673102"/>
                  <a:gd name="connsiteX21" fmla="*/ 1521821 w 1730673"/>
                  <a:gd name="connsiteY21" fmla="*/ 587127 h 2673102"/>
                  <a:gd name="connsiteX22" fmla="*/ 1540871 w 1730673"/>
                  <a:gd name="connsiteY22" fmla="*/ 596652 h 2673102"/>
                  <a:gd name="connsiteX23" fmla="*/ 1559921 w 1730673"/>
                  <a:gd name="connsiteY23" fmla="*/ 601414 h 2673102"/>
                  <a:gd name="connsiteX24" fmla="*/ 1607546 w 1730673"/>
                  <a:gd name="connsiteY24" fmla="*/ 639514 h 2673102"/>
                  <a:gd name="connsiteX25" fmla="*/ 1636121 w 1730673"/>
                  <a:gd name="connsiteY25" fmla="*/ 672852 h 2673102"/>
                  <a:gd name="connsiteX26" fmla="*/ 1650408 w 1730673"/>
                  <a:gd name="connsiteY26" fmla="*/ 687139 h 2673102"/>
                  <a:gd name="connsiteX27" fmla="*/ 1669458 w 1730673"/>
                  <a:gd name="connsiteY27" fmla="*/ 696664 h 2673102"/>
                  <a:gd name="connsiteX28" fmla="*/ 1683746 w 1730673"/>
                  <a:gd name="connsiteY28" fmla="*/ 706189 h 2673102"/>
                  <a:gd name="connsiteX29" fmla="*/ 1698033 w 1730673"/>
                  <a:gd name="connsiteY29" fmla="*/ 744289 h 2673102"/>
                  <a:gd name="connsiteX30" fmla="*/ 1702796 w 1730673"/>
                  <a:gd name="connsiteY30" fmla="*/ 853827 h 2673102"/>
                  <a:gd name="connsiteX31" fmla="*/ 1664696 w 1730673"/>
                  <a:gd name="connsiteY31" fmla="*/ 887164 h 2673102"/>
                  <a:gd name="connsiteX32" fmla="*/ 1650408 w 1730673"/>
                  <a:gd name="connsiteY32" fmla="*/ 901452 h 2673102"/>
                  <a:gd name="connsiteX33" fmla="*/ 1598021 w 1730673"/>
                  <a:gd name="connsiteY33" fmla="*/ 906214 h 2673102"/>
                  <a:gd name="connsiteX34" fmla="*/ 1555158 w 1730673"/>
                  <a:gd name="connsiteY34" fmla="*/ 925264 h 2673102"/>
                  <a:gd name="connsiteX35" fmla="*/ 1531346 w 1730673"/>
                  <a:gd name="connsiteY35" fmla="*/ 939552 h 2673102"/>
                  <a:gd name="connsiteX36" fmla="*/ 1498008 w 1730673"/>
                  <a:gd name="connsiteY36" fmla="*/ 987177 h 2673102"/>
                  <a:gd name="connsiteX37" fmla="*/ 1345608 w 1730673"/>
                  <a:gd name="connsiteY37" fmla="*/ 1030039 h 2673102"/>
                  <a:gd name="connsiteX38" fmla="*/ 1297983 w 1730673"/>
                  <a:gd name="connsiteY38" fmla="*/ 1053852 h 2673102"/>
                  <a:gd name="connsiteX39" fmla="*/ 1231308 w 1730673"/>
                  <a:gd name="connsiteY39" fmla="*/ 1082427 h 2673102"/>
                  <a:gd name="connsiteX40" fmla="*/ 1126533 w 1730673"/>
                  <a:gd name="connsiteY40" fmla="*/ 1096714 h 2673102"/>
                  <a:gd name="connsiteX41" fmla="*/ 1102721 w 1730673"/>
                  <a:gd name="connsiteY41" fmla="*/ 1101477 h 2673102"/>
                  <a:gd name="connsiteX42" fmla="*/ 1078908 w 1730673"/>
                  <a:gd name="connsiteY42" fmla="*/ 1111002 h 2673102"/>
                  <a:gd name="connsiteX43" fmla="*/ 964608 w 1730673"/>
                  <a:gd name="connsiteY43" fmla="*/ 1106239 h 2673102"/>
                  <a:gd name="connsiteX44" fmla="*/ 859833 w 1730673"/>
                  <a:gd name="connsiteY44" fmla="*/ 1058614 h 2673102"/>
                  <a:gd name="connsiteX45" fmla="*/ 812208 w 1730673"/>
                  <a:gd name="connsiteY45" fmla="*/ 1034802 h 2673102"/>
                  <a:gd name="connsiteX46" fmla="*/ 788396 w 1730673"/>
                  <a:gd name="connsiteY46" fmla="*/ 1020514 h 2673102"/>
                  <a:gd name="connsiteX47" fmla="*/ 769346 w 1730673"/>
                  <a:gd name="connsiteY47" fmla="*/ 1006227 h 2673102"/>
                  <a:gd name="connsiteX48" fmla="*/ 678858 w 1730673"/>
                  <a:gd name="connsiteY48" fmla="*/ 958602 h 2673102"/>
                  <a:gd name="connsiteX49" fmla="*/ 645521 w 1730673"/>
                  <a:gd name="connsiteY49" fmla="*/ 939552 h 2673102"/>
                  <a:gd name="connsiteX50" fmla="*/ 526458 w 1730673"/>
                  <a:gd name="connsiteY50" fmla="*/ 910977 h 2673102"/>
                  <a:gd name="connsiteX51" fmla="*/ 483596 w 1730673"/>
                  <a:gd name="connsiteY51" fmla="*/ 891927 h 2673102"/>
                  <a:gd name="connsiteX52" fmla="*/ 421683 w 1730673"/>
                  <a:gd name="connsiteY52" fmla="*/ 882402 h 2673102"/>
                  <a:gd name="connsiteX53" fmla="*/ 321671 w 1730673"/>
                  <a:gd name="connsiteY53" fmla="*/ 896689 h 2673102"/>
                  <a:gd name="connsiteX54" fmla="*/ 307383 w 1730673"/>
                  <a:gd name="connsiteY54" fmla="*/ 910977 h 2673102"/>
                  <a:gd name="connsiteX55" fmla="*/ 283571 w 1730673"/>
                  <a:gd name="connsiteY55" fmla="*/ 949077 h 2673102"/>
                  <a:gd name="connsiteX56" fmla="*/ 269283 w 1730673"/>
                  <a:gd name="connsiteY56" fmla="*/ 987177 h 2673102"/>
                  <a:gd name="connsiteX57" fmla="*/ 264521 w 1730673"/>
                  <a:gd name="connsiteY57" fmla="*/ 1039564 h 2673102"/>
                  <a:gd name="connsiteX58" fmla="*/ 264521 w 1730673"/>
                  <a:gd name="connsiteY58" fmla="*/ 1120527 h 2673102"/>
                  <a:gd name="connsiteX59" fmla="*/ 297858 w 1730673"/>
                  <a:gd name="connsiteY59" fmla="*/ 1153864 h 2673102"/>
                  <a:gd name="connsiteX60" fmla="*/ 326433 w 1730673"/>
                  <a:gd name="connsiteY60" fmla="*/ 1163389 h 2673102"/>
                  <a:gd name="connsiteX61" fmla="*/ 326433 w 1730673"/>
                  <a:gd name="connsiteY61" fmla="*/ 1244352 h 2673102"/>
                  <a:gd name="connsiteX62" fmla="*/ 312146 w 1730673"/>
                  <a:gd name="connsiteY62" fmla="*/ 1258639 h 2673102"/>
                  <a:gd name="connsiteX63" fmla="*/ 259758 w 1730673"/>
                  <a:gd name="connsiteY63" fmla="*/ 1296739 h 2673102"/>
                  <a:gd name="connsiteX64" fmla="*/ 240708 w 1730673"/>
                  <a:gd name="connsiteY64" fmla="*/ 1325314 h 2673102"/>
                  <a:gd name="connsiteX65" fmla="*/ 250233 w 1730673"/>
                  <a:gd name="connsiteY65" fmla="*/ 1425327 h 2673102"/>
                  <a:gd name="connsiteX66" fmla="*/ 278808 w 1730673"/>
                  <a:gd name="connsiteY66" fmla="*/ 1472952 h 2673102"/>
                  <a:gd name="connsiteX67" fmla="*/ 293096 w 1730673"/>
                  <a:gd name="connsiteY67" fmla="*/ 1492002 h 2673102"/>
                  <a:gd name="connsiteX68" fmla="*/ 383583 w 1730673"/>
                  <a:gd name="connsiteY68" fmla="*/ 1525339 h 2673102"/>
                  <a:gd name="connsiteX69" fmla="*/ 407396 w 1730673"/>
                  <a:gd name="connsiteY69" fmla="*/ 1492002 h 2673102"/>
                  <a:gd name="connsiteX70" fmla="*/ 412158 w 1730673"/>
                  <a:gd name="connsiteY70" fmla="*/ 1468189 h 2673102"/>
                  <a:gd name="connsiteX71" fmla="*/ 416921 w 1730673"/>
                  <a:gd name="connsiteY71" fmla="*/ 1449139 h 2673102"/>
                  <a:gd name="connsiteX72" fmla="*/ 445496 w 1730673"/>
                  <a:gd name="connsiteY72" fmla="*/ 1439614 h 2673102"/>
                  <a:gd name="connsiteX73" fmla="*/ 545508 w 1730673"/>
                  <a:gd name="connsiteY73" fmla="*/ 1458664 h 2673102"/>
                  <a:gd name="connsiteX74" fmla="*/ 555033 w 1730673"/>
                  <a:gd name="connsiteY74" fmla="*/ 1482477 h 2673102"/>
                  <a:gd name="connsiteX75" fmla="*/ 564558 w 1730673"/>
                  <a:gd name="connsiteY75" fmla="*/ 1515814 h 2673102"/>
                  <a:gd name="connsiteX76" fmla="*/ 550271 w 1730673"/>
                  <a:gd name="connsiteY76" fmla="*/ 1534864 h 2673102"/>
                  <a:gd name="connsiteX77" fmla="*/ 550271 w 1730673"/>
                  <a:gd name="connsiteY77" fmla="*/ 1601539 h 2673102"/>
                  <a:gd name="connsiteX78" fmla="*/ 559796 w 1730673"/>
                  <a:gd name="connsiteY78" fmla="*/ 1620589 h 2673102"/>
                  <a:gd name="connsiteX79" fmla="*/ 626471 w 1730673"/>
                  <a:gd name="connsiteY79" fmla="*/ 1639639 h 2673102"/>
                  <a:gd name="connsiteX80" fmla="*/ 645521 w 1730673"/>
                  <a:gd name="connsiteY80" fmla="*/ 1592014 h 2673102"/>
                  <a:gd name="connsiteX81" fmla="*/ 702671 w 1730673"/>
                  <a:gd name="connsiteY81" fmla="*/ 1620589 h 2673102"/>
                  <a:gd name="connsiteX82" fmla="*/ 731246 w 1730673"/>
                  <a:gd name="connsiteY82" fmla="*/ 1630114 h 2673102"/>
                  <a:gd name="connsiteX83" fmla="*/ 783633 w 1730673"/>
                  <a:gd name="connsiteY83" fmla="*/ 1663452 h 2673102"/>
                  <a:gd name="connsiteX84" fmla="*/ 859833 w 1730673"/>
                  <a:gd name="connsiteY84" fmla="*/ 1687264 h 2673102"/>
                  <a:gd name="connsiteX85" fmla="*/ 878883 w 1730673"/>
                  <a:gd name="connsiteY85" fmla="*/ 1701552 h 2673102"/>
                  <a:gd name="connsiteX86" fmla="*/ 888408 w 1730673"/>
                  <a:gd name="connsiteY86" fmla="*/ 1739652 h 2673102"/>
                  <a:gd name="connsiteX87" fmla="*/ 897933 w 1730673"/>
                  <a:gd name="connsiteY87" fmla="*/ 1782514 h 2673102"/>
                  <a:gd name="connsiteX88" fmla="*/ 940796 w 1730673"/>
                  <a:gd name="connsiteY88" fmla="*/ 1892052 h 2673102"/>
                  <a:gd name="connsiteX89" fmla="*/ 950321 w 1730673"/>
                  <a:gd name="connsiteY89" fmla="*/ 1906339 h 2673102"/>
                  <a:gd name="connsiteX90" fmla="*/ 959846 w 1730673"/>
                  <a:gd name="connsiteY90" fmla="*/ 1939677 h 2673102"/>
                  <a:gd name="connsiteX91" fmla="*/ 974133 w 1730673"/>
                  <a:gd name="connsiteY91" fmla="*/ 1977777 h 2673102"/>
                  <a:gd name="connsiteX92" fmla="*/ 964608 w 1730673"/>
                  <a:gd name="connsiteY92" fmla="*/ 2082552 h 2673102"/>
                  <a:gd name="connsiteX93" fmla="*/ 955083 w 1730673"/>
                  <a:gd name="connsiteY93" fmla="*/ 2101602 h 2673102"/>
                  <a:gd name="connsiteX94" fmla="*/ 926508 w 1730673"/>
                  <a:gd name="connsiteY94" fmla="*/ 2144464 h 2673102"/>
                  <a:gd name="connsiteX95" fmla="*/ 907458 w 1730673"/>
                  <a:gd name="connsiteY95" fmla="*/ 2192089 h 2673102"/>
                  <a:gd name="connsiteX96" fmla="*/ 902696 w 1730673"/>
                  <a:gd name="connsiteY96" fmla="*/ 2211139 h 2673102"/>
                  <a:gd name="connsiteX97" fmla="*/ 893171 w 1730673"/>
                  <a:gd name="connsiteY97" fmla="*/ 2239714 h 2673102"/>
                  <a:gd name="connsiteX98" fmla="*/ 897933 w 1730673"/>
                  <a:gd name="connsiteY98" fmla="*/ 2287339 h 2673102"/>
                  <a:gd name="connsiteX99" fmla="*/ 893171 w 1730673"/>
                  <a:gd name="connsiteY99" fmla="*/ 2396877 h 2673102"/>
                  <a:gd name="connsiteX100" fmla="*/ 688383 w 1730673"/>
                  <a:gd name="connsiteY100" fmla="*/ 2449264 h 2673102"/>
                  <a:gd name="connsiteX101" fmla="*/ 655046 w 1730673"/>
                  <a:gd name="connsiteY101" fmla="*/ 2473077 h 2673102"/>
                  <a:gd name="connsiteX102" fmla="*/ 607421 w 1730673"/>
                  <a:gd name="connsiteY102" fmla="*/ 2511177 h 2673102"/>
                  <a:gd name="connsiteX103" fmla="*/ 574083 w 1730673"/>
                  <a:gd name="connsiteY103" fmla="*/ 2534989 h 2673102"/>
                  <a:gd name="connsiteX104" fmla="*/ 540746 w 1730673"/>
                  <a:gd name="connsiteY104" fmla="*/ 2554039 h 2673102"/>
                  <a:gd name="connsiteX105" fmla="*/ 497883 w 1730673"/>
                  <a:gd name="connsiteY105" fmla="*/ 2587377 h 2673102"/>
                  <a:gd name="connsiteX106" fmla="*/ 483596 w 1730673"/>
                  <a:gd name="connsiteY106" fmla="*/ 2601664 h 2673102"/>
                  <a:gd name="connsiteX107" fmla="*/ 459783 w 1730673"/>
                  <a:gd name="connsiteY107" fmla="*/ 2620714 h 2673102"/>
                  <a:gd name="connsiteX108" fmla="*/ 450258 w 1730673"/>
                  <a:gd name="connsiteY108" fmla="*/ 2635002 h 2673102"/>
                  <a:gd name="connsiteX109" fmla="*/ 416921 w 1730673"/>
                  <a:gd name="connsiteY109" fmla="*/ 2654052 h 2673102"/>
                  <a:gd name="connsiteX110" fmla="*/ 374058 w 1730673"/>
                  <a:gd name="connsiteY110" fmla="*/ 2673102 h 2673102"/>
                  <a:gd name="connsiteX111" fmla="*/ 359771 w 1730673"/>
                  <a:gd name="connsiteY111" fmla="*/ 2663577 h 2673102"/>
                  <a:gd name="connsiteX112" fmla="*/ 345483 w 1730673"/>
                  <a:gd name="connsiteY112" fmla="*/ 2635002 h 2673102"/>
                  <a:gd name="connsiteX113" fmla="*/ 335958 w 1730673"/>
                  <a:gd name="connsiteY113" fmla="*/ 2620714 h 2673102"/>
                  <a:gd name="connsiteX114" fmla="*/ 297858 w 1730673"/>
                  <a:gd name="connsiteY114" fmla="*/ 2611189 h 2673102"/>
                  <a:gd name="connsiteX115" fmla="*/ 278808 w 1730673"/>
                  <a:gd name="connsiteY115" fmla="*/ 2592139 h 2673102"/>
                  <a:gd name="connsiteX116" fmla="*/ 274046 w 1730673"/>
                  <a:gd name="connsiteY116" fmla="*/ 2573089 h 2673102"/>
                  <a:gd name="connsiteX117" fmla="*/ 235946 w 1730673"/>
                  <a:gd name="connsiteY117" fmla="*/ 2539752 h 2673102"/>
                  <a:gd name="connsiteX118" fmla="*/ 231183 w 1730673"/>
                  <a:gd name="connsiteY118" fmla="*/ 2525464 h 2673102"/>
                  <a:gd name="connsiteX119" fmla="*/ 226421 w 1730673"/>
                  <a:gd name="connsiteY119" fmla="*/ 2506414 h 2673102"/>
                  <a:gd name="connsiteX120" fmla="*/ 212133 w 1730673"/>
                  <a:gd name="connsiteY120" fmla="*/ 2492127 h 2673102"/>
                  <a:gd name="connsiteX121" fmla="*/ 154983 w 1730673"/>
                  <a:gd name="connsiteY121" fmla="*/ 2439739 h 2673102"/>
                  <a:gd name="connsiteX122" fmla="*/ 150221 w 1730673"/>
                  <a:gd name="connsiteY122" fmla="*/ 2415927 h 2673102"/>
                  <a:gd name="connsiteX123" fmla="*/ 135933 w 1730673"/>
                  <a:gd name="connsiteY123" fmla="*/ 2358777 h 2673102"/>
                  <a:gd name="connsiteX124" fmla="*/ 121646 w 1730673"/>
                  <a:gd name="connsiteY124" fmla="*/ 2315914 h 2673102"/>
                  <a:gd name="connsiteX125" fmla="*/ 107358 w 1730673"/>
                  <a:gd name="connsiteY125" fmla="*/ 2258764 h 2673102"/>
                  <a:gd name="connsiteX126" fmla="*/ 102596 w 1730673"/>
                  <a:gd name="connsiteY126" fmla="*/ 2234952 h 2673102"/>
                  <a:gd name="connsiteX127" fmla="*/ 93071 w 1730673"/>
                  <a:gd name="connsiteY127" fmla="*/ 2211139 h 2673102"/>
                  <a:gd name="connsiteX128" fmla="*/ 88308 w 1730673"/>
                  <a:gd name="connsiteY128" fmla="*/ 2187327 h 2673102"/>
                  <a:gd name="connsiteX129" fmla="*/ 78783 w 1730673"/>
                  <a:gd name="connsiteY129" fmla="*/ 2111127 h 2673102"/>
                  <a:gd name="connsiteX130" fmla="*/ 97833 w 1730673"/>
                  <a:gd name="connsiteY130" fmla="*/ 1944439 h 2673102"/>
                  <a:gd name="connsiteX131" fmla="*/ 107358 w 1730673"/>
                  <a:gd name="connsiteY131" fmla="*/ 1930152 h 2673102"/>
                  <a:gd name="connsiteX132" fmla="*/ 126408 w 1730673"/>
                  <a:gd name="connsiteY132" fmla="*/ 1901577 h 2673102"/>
                  <a:gd name="connsiteX133" fmla="*/ 135933 w 1730673"/>
                  <a:gd name="connsiteY133" fmla="*/ 1868239 h 2673102"/>
                  <a:gd name="connsiteX134" fmla="*/ 131171 w 1730673"/>
                  <a:gd name="connsiteY134" fmla="*/ 1825377 h 2673102"/>
                  <a:gd name="connsiteX135" fmla="*/ 112121 w 1730673"/>
                  <a:gd name="connsiteY135" fmla="*/ 1820614 h 2673102"/>
                  <a:gd name="connsiteX136" fmla="*/ 102596 w 1730673"/>
                  <a:gd name="connsiteY136" fmla="*/ 1806327 h 2673102"/>
                  <a:gd name="connsiteX137" fmla="*/ 145458 w 1730673"/>
                  <a:gd name="connsiteY137" fmla="*/ 1720602 h 2673102"/>
                  <a:gd name="connsiteX138" fmla="*/ 159746 w 1730673"/>
                  <a:gd name="connsiteY138" fmla="*/ 1715839 h 2673102"/>
                  <a:gd name="connsiteX139" fmla="*/ 174033 w 1730673"/>
                  <a:gd name="connsiteY139" fmla="*/ 1696789 h 2673102"/>
                  <a:gd name="connsiteX140" fmla="*/ 188321 w 1730673"/>
                  <a:gd name="connsiteY140" fmla="*/ 1687264 h 2673102"/>
                  <a:gd name="connsiteX141" fmla="*/ 202608 w 1730673"/>
                  <a:gd name="connsiteY141" fmla="*/ 1653927 h 2673102"/>
                  <a:gd name="connsiteX142" fmla="*/ 193083 w 1730673"/>
                  <a:gd name="connsiteY142" fmla="*/ 1606302 h 2673102"/>
                  <a:gd name="connsiteX143" fmla="*/ 164508 w 1730673"/>
                  <a:gd name="connsiteY143" fmla="*/ 1596777 h 2673102"/>
                  <a:gd name="connsiteX144" fmla="*/ 154983 w 1730673"/>
                  <a:gd name="connsiteY144" fmla="*/ 1549152 h 2673102"/>
                  <a:gd name="connsiteX145" fmla="*/ 150221 w 1730673"/>
                  <a:gd name="connsiteY145" fmla="*/ 1411039 h 2673102"/>
                  <a:gd name="connsiteX146" fmla="*/ 140696 w 1730673"/>
                  <a:gd name="connsiteY146" fmla="*/ 1377702 h 2673102"/>
                  <a:gd name="connsiteX147" fmla="*/ 121646 w 1730673"/>
                  <a:gd name="connsiteY147" fmla="*/ 1311027 h 2673102"/>
                  <a:gd name="connsiteX148" fmla="*/ 116883 w 1730673"/>
                  <a:gd name="connsiteY148" fmla="*/ 1258639 h 2673102"/>
                  <a:gd name="connsiteX149" fmla="*/ 107358 w 1730673"/>
                  <a:gd name="connsiteY149" fmla="*/ 1244352 h 2673102"/>
                  <a:gd name="connsiteX150" fmla="*/ 93071 w 1730673"/>
                  <a:gd name="connsiteY150" fmla="*/ 1196727 h 2673102"/>
                  <a:gd name="connsiteX151" fmla="*/ 78783 w 1730673"/>
                  <a:gd name="connsiteY151" fmla="*/ 1177677 h 2673102"/>
                  <a:gd name="connsiteX152" fmla="*/ 59733 w 1730673"/>
                  <a:gd name="connsiteY152" fmla="*/ 1139577 h 2673102"/>
                  <a:gd name="connsiteX153" fmla="*/ 50208 w 1730673"/>
                  <a:gd name="connsiteY153" fmla="*/ 1111002 h 2673102"/>
                  <a:gd name="connsiteX154" fmla="*/ 45446 w 1730673"/>
                  <a:gd name="connsiteY154" fmla="*/ 1096714 h 2673102"/>
                  <a:gd name="connsiteX155" fmla="*/ 21633 w 1730673"/>
                  <a:gd name="connsiteY155" fmla="*/ 1025277 h 2673102"/>
                  <a:gd name="connsiteX156" fmla="*/ 202 w 1730673"/>
                  <a:gd name="connsiteY156" fmla="*/ 980033 h 2673102"/>
                  <a:gd name="connsiteX157" fmla="*/ 14490 w 1730673"/>
                  <a:gd name="connsiteY157" fmla="*/ 930027 h 2673102"/>
                  <a:gd name="connsiteX158" fmla="*/ 69259 w 1730673"/>
                  <a:gd name="connsiteY158" fmla="*/ 810964 h 2673102"/>
                  <a:gd name="connsiteX159" fmla="*/ 221658 w 1730673"/>
                  <a:gd name="connsiteY159" fmla="*/ 601414 h 2673102"/>
                  <a:gd name="connsiteX160" fmla="*/ 288333 w 1730673"/>
                  <a:gd name="connsiteY160" fmla="*/ 515689 h 2673102"/>
                  <a:gd name="connsiteX161" fmla="*/ 412158 w 1730673"/>
                  <a:gd name="connsiteY161" fmla="*/ 406152 h 2673102"/>
                  <a:gd name="connsiteX162" fmla="*/ 535983 w 1730673"/>
                  <a:gd name="connsiteY162" fmla="*/ 291851 h 2673102"/>
                  <a:gd name="connsiteX163" fmla="*/ 640758 w 1730673"/>
                  <a:gd name="connsiteY163" fmla="*/ 229939 h 2673102"/>
                  <a:gd name="connsiteX164" fmla="*/ 733628 w 1730673"/>
                  <a:gd name="connsiteY164" fmla="*/ 168026 h 2673102"/>
                  <a:gd name="connsiteX165" fmla="*/ 978896 w 1730673"/>
                  <a:gd name="connsiteY165" fmla="*/ 63251 h 2673102"/>
                  <a:gd name="connsiteX166" fmla="*/ 1159871 w 1730673"/>
                  <a:gd name="connsiteY166" fmla="*/ 6102 h 2673102"/>
                  <a:gd name="connsiteX167" fmla="*/ 1202733 w 1730673"/>
                  <a:gd name="connsiteY16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74158 w 1739754"/>
                  <a:gd name="connsiteY2" fmla="*/ 110877 h 2673102"/>
                  <a:gd name="connsiteX3" fmla="*/ 1164633 w 1739754"/>
                  <a:gd name="connsiteY3" fmla="*/ 129927 h 2673102"/>
                  <a:gd name="connsiteX4" fmla="*/ 1164633 w 1739754"/>
                  <a:gd name="connsiteY4" fmla="*/ 206127 h 2673102"/>
                  <a:gd name="connsiteX5" fmla="*/ 1183683 w 1739754"/>
                  <a:gd name="connsiteY5" fmla="*/ 225177 h 2673102"/>
                  <a:gd name="connsiteX6" fmla="*/ 1202733 w 1739754"/>
                  <a:gd name="connsiteY6" fmla="*/ 258514 h 2673102"/>
                  <a:gd name="connsiteX7" fmla="*/ 1221783 w 1739754"/>
                  <a:gd name="connsiteY7" fmla="*/ 268039 h 2673102"/>
                  <a:gd name="connsiteX8" fmla="*/ 1231308 w 1739754"/>
                  <a:gd name="connsiteY8" fmla="*/ 282327 h 2673102"/>
                  <a:gd name="connsiteX9" fmla="*/ 1245596 w 1739754"/>
                  <a:gd name="connsiteY9" fmla="*/ 296614 h 2673102"/>
                  <a:gd name="connsiteX10" fmla="*/ 1255121 w 1739754"/>
                  <a:gd name="connsiteY10" fmla="*/ 315664 h 2673102"/>
                  <a:gd name="connsiteX11" fmla="*/ 1250358 w 1739754"/>
                  <a:gd name="connsiteY11" fmla="*/ 344239 h 2673102"/>
                  <a:gd name="connsiteX12" fmla="*/ 1245596 w 1739754"/>
                  <a:gd name="connsiteY12" fmla="*/ 363289 h 2673102"/>
                  <a:gd name="connsiteX13" fmla="*/ 1250358 w 1739754"/>
                  <a:gd name="connsiteY13" fmla="*/ 425202 h 2673102"/>
                  <a:gd name="connsiteX14" fmla="*/ 1269408 w 1739754"/>
                  <a:gd name="connsiteY14" fmla="*/ 463302 h 2673102"/>
                  <a:gd name="connsiteX15" fmla="*/ 1278933 w 1739754"/>
                  <a:gd name="connsiteY15" fmla="*/ 477589 h 2673102"/>
                  <a:gd name="connsiteX16" fmla="*/ 1293221 w 1739754"/>
                  <a:gd name="connsiteY16" fmla="*/ 487114 h 2673102"/>
                  <a:gd name="connsiteX17" fmla="*/ 1350371 w 1739754"/>
                  <a:gd name="connsiteY17" fmla="*/ 510927 h 2673102"/>
                  <a:gd name="connsiteX18" fmla="*/ 1378946 w 1739754"/>
                  <a:gd name="connsiteY18" fmla="*/ 520452 h 2673102"/>
                  <a:gd name="connsiteX19" fmla="*/ 1407521 w 1739754"/>
                  <a:gd name="connsiteY19" fmla="*/ 539502 h 2673102"/>
                  <a:gd name="connsiteX20" fmla="*/ 1469433 w 1739754"/>
                  <a:gd name="connsiteY20" fmla="*/ 568077 h 2673102"/>
                  <a:gd name="connsiteX21" fmla="*/ 1521821 w 1739754"/>
                  <a:gd name="connsiteY21" fmla="*/ 587127 h 2673102"/>
                  <a:gd name="connsiteX22" fmla="*/ 1540871 w 1739754"/>
                  <a:gd name="connsiteY22" fmla="*/ 596652 h 2673102"/>
                  <a:gd name="connsiteX23" fmla="*/ 1559921 w 1739754"/>
                  <a:gd name="connsiteY23" fmla="*/ 601414 h 2673102"/>
                  <a:gd name="connsiteX24" fmla="*/ 1607546 w 1739754"/>
                  <a:gd name="connsiteY24" fmla="*/ 639514 h 2673102"/>
                  <a:gd name="connsiteX25" fmla="*/ 1636121 w 1739754"/>
                  <a:gd name="connsiteY25" fmla="*/ 672852 h 2673102"/>
                  <a:gd name="connsiteX26" fmla="*/ 1650408 w 1739754"/>
                  <a:gd name="connsiteY26" fmla="*/ 687139 h 2673102"/>
                  <a:gd name="connsiteX27" fmla="*/ 1669458 w 1739754"/>
                  <a:gd name="connsiteY27" fmla="*/ 696664 h 2673102"/>
                  <a:gd name="connsiteX28" fmla="*/ 1683746 w 1739754"/>
                  <a:gd name="connsiteY28" fmla="*/ 706189 h 2673102"/>
                  <a:gd name="connsiteX29" fmla="*/ 1709940 w 1739754"/>
                  <a:gd name="connsiteY29" fmla="*/ 749052 h 2673102"/>
                  <a:gd name="connsiteX30" fmla="*/ 1702796 w 1739754"/>
                  <a:gd name="connsiteY30" fmla="*/ 853827 h 2673102"/>
                  <a:gd name="connsiteX31" fmla="*/ 1664696 w 1739754"/>
                  <a:gd name="connsiteY31" fmla="*/ 887164 h 2673102"/>
                  <a:gd name="connsiteX32" fmla="*/ 1650408 w 1739754"/>
                  <a:gd name="connsiteY32" fmla="*/ 901452 h 2673102"/>
                  <a:gd name="connsiteX33" fmla="*/ 1598021 w 1739754"/>
                  <a:gd name="connsiteY33" fmla="*/ 906214 h 2673102"/>
                  <a:gd name="connsiteX34" fmla="*/ 1555158 w 1739754"/>
                  <a:gd name="connsiteY34" fmla="*/ 925264 h 2673102"/>
                  <a:gd name="connsiteX35" fmla="*/ 1531346 w 1739754"/>
                  <a:gd name="connsiteY35" fmla="*/ 939552 h 2673102"/>
                  <a:gd name="connsiteX36" fmla="*/ 1498008 w 1739754"/>
                  <a:gd name="connsiteY36" fmla="*/ 987177 h 2673102"/>
                  <a:gd name="connsiteX37" fmla="*/ 1345608 w 1739754"/>
                  <a:gd name="connsiteY37" fmla="*/ 1030039 h 2673102"/>
                  <a:gd name="connsiteX38" fmla="*/ 1297983 w 1739754"/>
                  <a:gd name="connsiteY38" fmla="*/ 1053852 h 2673102"/>
                  <a:gd name="connsiteX39" fmla="*/ 1231308 w 1739754"/>
                  <a:gd name="connsiteY39" fmla="*/ 1082427 h 2673102"/>
                  <a:gd name="connsiteX40" fmla="*/ 1126533 w 1739754"/>
                  <a:gd name="connsiteY40" fmla="*/ 1096714 h 2673102"/>
                  <a:gd name="connsiteX41" fmla="*/ 1102721 w 1739754"/>
                  <a:gd name="connsiteY41" fmla="*/ 1101477 h 2673102"/>
                  <a:gd name="connsiteX42" fmla="*/ 1078908 w 1739754"/>
                  <a:gd name="connsiteY42" fmla="*/ 1111002 h 2673102"/>
                  <a:gd name="connsiteX43" fmla="*/ 964608 w 1739754"/>
                  <a:gd name="connsiteY43" fmla="*/ 1106239 h 2673102"/>
                  <a:gd name="connsiteX44" fmla="*/ 859833 w 1739754"/>
                  <a:gd name="connsiteY44" fmla="*/ 1058614 h 2673102"/>
                  <a:gd name="connsiteX45" fmla="*/ 812208 w 1739754"/>
                  <a:gd name="connsiteY45" fmla="*/ 1034802 h 2673102"/>
                  <a:gd name="connsiteX46" fmla="*/ 788396 w 1739754"/>
                  <a:gd name="connsiteY46" fmla="*/ 1020514 h 2673102"/>
                  <a:gd name="connsiteX47" fmla="*/ 769346 w 1739754"/>
                  <a:gd name="connsiteY47" fmla="*/ 1006227 h 2673102"/>
                  <a:gd name="connsiteX48" fmla="*/ 678858 w 1739754"/>
                  <a:gd name="connsiteY48" fmla="*/ 958602 h 2673102"/>
                  <a:gd name="connsiteX49" fmla="*/ 645521 w 1739754"/>
                  <a:gd name="connsiteY49" fmla="*/ 939552 h 2673102"/>
                  <a:gd name="connsiteX50" fmla="*/ 526458 w 1739754"/>
                  <a:gd name="connsiteY50" fmla="*/ 910977 h 2673102"/>
                  <a:gd name="connsiteX51" fmla="*/ 483596 w 1739754"/>
                  <a:gd name="connsiteY51" fmla="*/ 891927 h 2673102"/>
                  <a:gd name="connsiteX52" fmla="*/ 421683 w 1739754"/>
                  <a:gd name="connsiteY52" fmla="*/ 882402 h 2673102"/>
                  <a:gd name="connsiteX53" fmla="*/ 321671 w 1739754"/>
                  <a:gd name="connsiteY53" fmla="*/ 896689 h 2673102"/>
                  <a:gd name="connsiteX54" fmla="*/ 307383 w 1739754"/>
                  <a:gd name="connsiteY54" fmla="*/ 910977 h 2673102"/>
                  <a:gd name="connsiteX55" fmla="*/ 283571 w 1739754"/>
                  <a:gd name="connsiteY55" fmla="*/ 949077 h 2673102"/>
                  <a:gd name="connsiteX56" fmla="*/ 269283 w 1739754"/>
                  <a:gd name="connsiteY56" fmla="*/ 987177 h 2673102"/>
                  <a:gd name="connsiteX57" fmla="*/ 264521 w 1739754"/>
                  <a:gd name="connsiteY57" fmla="*/ 1039564 h 2673102"/>
                  <a:gd name="connsiteX58" fmla="*/ 264521 w 1739754"/>
                  <a:gd name="connsiteY58" fmla="*/ 1120527 h 2673102"/>
                  <a:gd name="connsiteX59" fmla="*/ 297858 w 1739754"/>
                  <a:gd name="connsiteY59" fmla="*/ 1153864 h 2673102"/>
                  <a:gd name="connsiteX60" fmla="*/ 326433 w 1739754"/>
                  <a:gd name="connsiteY60" fmla="*/ 1163389 h 2673102"/>
                  <a:gd name="connsiteX61" fmla="*/ 326433 w 1739754"/>
                  <a:gd name="connsiteY61" fmla="*/ 1244352 h 2673102"/>
                  <a:gd name="connsiteX62" fmla="*/ 312146 w 1739754"/>
                  <a:gd name="connsiteY62" fmla="*/ 1258639 h 2673102"/>
                  <a:gd name="connsiteX63" fmla="*/ 259758 w 1739754"/>
                  <a:gd name="connsiteY63" fmla="*/ 1296739 h 2673102"/>
                  <a:gd name="connsiteX64" fmla="*/ 240708 w 1739754"/>
                  <a:gd name="connsiteY64" fmla="*/ 1325314 h 2673102"/>
                  <a:gd name="connsiteX65" fmla="*/ 250233 w 1739754"/>
                  <a:gd name="connsiteY65" fmla="*/ 1425327 h 2673102"/>
                  <a:gd name="connsiteX66" fmla="*/ 278808 w 1739754"/>
                  <a:gd name="connsiteY66" fmla="*/ 1472952 h 2673102"/>
                  <a:gd name="connsiteX67" fmla="*/ 293096 w 1739754"/>
                  <a:gd name="connsiteY67" fmla="*/ 1492002 h 2673102"/>
                  <a:gd name="connsiteX68" fmla="*/ 383583 w 1739754"/>
                  <a:gd name="connsiteY68" fmla="*/ 1525339 h 2673102"/>
                  <a:gd name="connsiteX69" fmla="*/ 407396 w 1739754"/>
                  <a:gd name="connsiteY69" fmla="*/ 1492002 h 2673102"/>
                  <a:gd name="connsiteX70" fmla="*/ 412158 w 1739754"/>
                  <a:gd name="connsiteY70" fmla="*/ 1468189 h 2673102"/>
                  <a:gd name="connsiteX71" fmla="*/ 416921 w 1739754"/>
                  <a:gd name="connsiteY71" fmla="*/ 1449139 h 2673102"/>
                  <a:gd name="connsiteX72" fmla="*/ 445496 w 1739754"/>
                  <a:gd name="connsiteY72" fmla="*/ 1439614 h 2673102"/>
                  <a:gd name="connsiteX73" fmla="*/ 545508 w 1739754"/>
                  <a:gd name="connsiteY73" fmla="*/ 1458664 h 2673102"/>
                  <a:gd name="connsiteX74" fmla="*/ 555033 w 1739754"/>
                  <a:gd name="connsiteY74" fmla="*/ 1482477 h 2673102"/>
                  <a:gd name="connsiteX75" fmla="*/ 564558 w 1739754"/>
                  <a:gd name="connsiteY75" fmla="*/ 1515814 h 2673102"/>
                  <a:gd name="connsiteX76" fmla="*/ 550271 w 1739754"/>
                  <a:gd name="connsiteY76" fmla="*/ 1534864 h 2673102"/>
                  <a:gd name="connsiteX77" fmla="*/ 550271 w 1739754"/>
                  <a:gd name="connsiteY77" fmla="*/ 1601539 h 2673102"/>
                  <a:gd name="connsiteX78" fmla="*/ 559796 w 1739754"/>
                  <a:gd name="connsiteY78" fmla="*/ 1620589 h 2673102"/>
                  <a:gd name="connsiteX79" fmla="*/ 626471 w 1739754"/>
                  <a:gd name="connsiteY79" fmla="*/ 1639639 h 2673102"/>
                  <a:gd name="connsiteX80" fmla="*/ 645521 w 1739754"/>
                  <a:gd name="connsiteY80" fmla="*/ 1592014 h 2673102"/>
                  <a:gd name="connsiteX81" fmla="*/ 702671 w 1739754"/>
                  <a:gd name="connsiteY81" fmla="*/ 1620589 h 2673102"/>
                  <a:gd name="connsiteX82" fmla="*/ 731246 w 1739754"/>
                  <a:gd name="connsiteY82" fmla="*/ 1630114 h 2673102"/>
                  <a:gd name="connsiteX83" fmla="*/ 783633 w 1739754"/>
                  <a:gd name="connsiteY83" fmla="*/ 1663452 h 2673102"/>
                  <a:gd name="connsiteX84" fmla="*/ 859833 w 1739754"/>
                  <a:gd name="connsiteY84" fmla="*/ 1687264 h 2673102"/>
                  <a:gd name="connsiteX85" fmla="*/ 878883 w 1739754"/>
                  <a:gd name="connsiteY85" fmla="*/ 1701552 h 2673102"/>
                  <a:gd name="connsiteX86" fmla="*/ 888408 w 1739754"/>
                  <a:gd name="connsiteY86" fmla="*/ 1739652 h 2673102"/>
                  <a:gd name="connsiteX87" fmla="*/ 897933 w 1739754"/>
                  <a:gd name="connsiteY87" fmla="*/ 1782514 h 2673102"/>
                  <a:gd name="connsiteX88" fmla="*/ 940796 w 1739754"/>
                  <a:gd name="connsiteY88" fmla="*/ 1892052 h 2673102"/>
                  <a:gd name="connsiteX89" fmla="*/ 950321 w 1739754"/>
                  <a:gd name="connsiteY89" fmla="*/ 1906339 h 2673102"/>
                  <a:gd name="connsiteX90" fmla="*/ 959846 w 1739754"/>
                  <a:gd name="connsiteY90" fmla="*/ 1939677 h 2673102"/>
                  <a:gd name="connsiteX91" fmla="*/ 974133 w 1739754"/>
                  <a:gd name="connsiteY91" fmla="*/ 1977777 h 2673102"/>
                  <a:gd name="connsiteX92" fmla="*/ 964608 w 1739754"/>
                  <a:gd name="connsiteY92" fmla="*/ 2082552 h 2673102"/>
                  <a:gd name="connsiteX93" fmla="*/ 955083 w 1739754"/>
                  <a:gd name="connsiteY93" fmla="*/ 2101602 h 2673102"/>
                  <a:gd name="connsiteX94" fmla="*/ 926508 w 1739754"/>
                  <a:gd name="connsiteY94" fmla="*/ 2144464 h 2673102"/>
                  <a:gd name="connsiteX95" fmla="*/ 907458 w 1739754"/>
                  <a:gd name="connsiteY95" fmla="*/ 2192089 h 2673102"/>
                  <a:gd name="connsiteX96" fmla="*/ 902696 w 1739754"/>
                  <a:gd name="connsiteY96" fmla="*/ 2211139 h 2673102"/>
                  <a:gd name="connsiteX97" fmla="*/ 893171 w 1739754"/>
                  <a:gd name="connsiteY97" fmla="*/ 2239714 h 2673102"/>
                  <a:gd name="connsiteX98" fmla="*/ 897933 w 1739754"/>
                  <a:gd name="connsiteY98" fmla="*/ 2287339 h 2673102"/>
                  <a:gd name="connsiteX99" fmla="*/ 893171 w 1739754"/>
                  <a:gd name="connsiteY99" fmla="*/ 2396877 h 2673102"/>
                  <a:gd name="connsiteX100" fmla="*/ 688383 w 1739754"/>
                  <a:gd name="connsiteY100" fmla="*/ 2449264 h 2673102"/>
                  <a:gd name="connsiteX101" fmla="*/ 655046 w 1739754"/>
                  <a:gd name="connsiteY101" fmla="*/ 2473077 h 2673102"/>
                  <a:gd name="connsiteX102" fmla="*/ 607421 w 1739754"/>
                  <a:gd name="connsiteY102" fmla="*/ 2511177 h 2673102"/>
                  <a:gd name="connsiteX103" fmla="*/ 574083 w 1739754"/>
                  <a:gd name="connsiteY103" fmla="*/ 2534989 h 2673102"/>
                  <a:gd name="connsiteX104" fmla="*/ 540746 w 1739754"/>
                  <a:gd name="connsiteY104" fmla="*/ 2554039 h 2673102"/>
                  <a:gd name="connsiteX105" fmla="*/ 497883 w 1739754"/>
                  <a:gd name="connsiteY105" fmla="*/ 2587377 h 2673102"/>
                  <a:gd name="connsiteX106" fmla="*/ 483596 w 1739754"/>
                  <a:gd name="connsiteY106" fmla="*/ 2601664 h 2673102"/>
                  <a:gd name="connsiteX107" fmla="*/ 459783 w 1739754"/>
                  <a:gd name="connsiteY107" fmla="*/ 2620714 h 2673102"/>
                  <a:gd name="connsiteX108" fmla="*/ 450258 w 1739754"/>
                  <a:gd name="connsiteY108" fmla="*/ 2635002 h 2673102"/>
                  <a:gd name="connsiteX109" fmla="*/ 416921 w 1739754"/>
                  <a:gd name="connsiteY109" fmla="*/ 2654052 h 2673102"/>
                  <a:gd name="connsiteX110" fmla="*/ 374058 w 1739754"/>
                  <a:gd name="connsiteY110" fmla="*/ 2673102 h 2673102"/>
                  <a:gd name="connsiteX111" fmla="*/ 359771 w 1739754"/>
                  <a:gd name="connsiteY111" fmla="*/ 2663577 h 2673102"/>
                  <a:gd name="connsiteX112" fmla="*/ 345483 w 1739754"/>
                  <a:gd name="connsiteY112" fmla="*/ 2635002 h 2673102"/>
                  <a:gd name="connsiteX113" fmla="*/ 335958 w 1739754"/>
                  <a:gd name="connsiteY113" fmla="*/ 2620714 h 2673102"/>
                  <a:gd name="connsiteX114" fmla="*/ 297858 w 1739754"/>
                  <a:gd name="connsiteY114" fmla="*/ 2611189 h 2673102"/>
                  <a:gd name="connsiteX115" fmla="*/ 278808 w 1739754"/>
                  <a:gd name="connsiteY115" fmla="*/ 2592139 h 2673102"/>
                  <a:gd name="connsiteX116" fmla="*/ 274046 w 1739754"/>
                  <a:gd name="connsiteY116" fmla="*/ 2573089 h 2673102"/>
                  <a:gd name="connsiteX117" fmla="*/ 235946 w 1739754"/>
                  <a:gd name="connsiteY117" fmla="*/ 2539752 h 2673102"/>
                  <a:gd name="connsiteX118" fmla="*/ 231183 w 1739754"/>
                  <a:gd name="connsiteY118" fmla="*/ 2525464 h 2673102"/>
                  <a:gd name="connsiteX119" fmla="*/ 226421 w 1739754"/>
                  <a:gd name="connsiteY119" fmla="*/ 2506414 h 2673102"/>
                  <a:gd name="connsiteX120" fmla="*/ 212133 w 1739754"/>
                  <a:gd name="connsiteY120" fmla="*/ 2492127 h 2673102"/>
                  <a:gd name="connsiteX121" fmla="*/ 154983 w 1739754"/>
                  <a:gd name="connsiteY121" fmla="*/ 2439739 h 2673102"/>
                  <a:gd name="connsiteX122" fmla="*/ 150221 w 1739754"/>
                  <a:gd name="connsiteY122" fmla="*/ 2415927 h 2673102"/>
                  <a:gd name="connsiteX123" fmla="*/ 135933 w 1739754"/>
                  <a:gd name="connsiteY123" fmla="*/ 2358777 h 2673102"/>
                  <a:gd name="connsiteX124" fmla="*/ 121646 w 1739754"/>
                  <a:gd name="connsiteY124" fmla="*/ 2315914 h 2673102"/>
                  <a:gd name="connsiteX125" fmla="*/ 107358 w 1739754"/>
                  <a:gd name="connsiteY125" fmla="*/ 2258764 h 2673102"/>
                  <a:gd name="connsiteX126" fmla="*/ 102596 w 1739754"/>
                  <a:gd name="connsiteY126" fmla="*/ 2234952 h 2673102"/>
                  <a:gd name="connsiteX127" fmla="*/ 93071 w 1739754"/>
                  <a:gd name="connsiteY127" fmla="*/ 2211139 h 2673102"/>
                  <a:gd name="connsiteX128" fmla="*/ 88308 w 1739754"/>
                  <a:gd name="connsiteY128" fmla="*/ 2187327 h 2673102"/>
                  <a:gd name="connsiteX129" fmla="*/ 78783 w 1739754"/>
                  <a:gd name="connsiteY129" fmla="*/ 2111127 h 2673102"/>
                  <a:gd name="connsiteX130" fmla="*/ 97833 w 1739754"/>
                  <a:gd name="connsiteY130" fmla="*/ 1944439 h 2673102"/>
                  <a:gd name="connsiteX131" fmla="*/ 107358 w 1739754"/>
                  <a:gd name="connsiteY131" fmla="*/ 1930152 h 2673102"/>
                  <a:gd name="connsiteX132" fmla="*/ 126408 w 1739754"/>
                  <a:gd name="connsiteY132" fmla="*/ 1901577 h 2673102"/>
                  <a:gd name="connsiteX133" fmla="*/ 135933 w 1739754"/>
                  <a:gd name="connsiteY133" fmla="*/ 1868239 h 2673102"/>
                  <a:gd name="connsiteX134" fmla="*/ 131171 w 1739754"/>
                  <a:gd name="connsiteY134" fmla="*/ 1825377 h 2673102"/>
                  <a:gd name="connsiteX135" fmla="*/ 112121 w 1739754"/>
                  <a:gd name="connsiteY135" fmla="*/ 1820614 h 2673102"/>
                  <a:gd name="connsiteX136" fmla="*/ 102596 w 1739754"/>
                  <a:gd name="connsiteY136" fmla="*/ 1806327 h 2673102"/>
                  <a:gd name="connsiteX137" fmla="*/ 145458 w 1739754"/>
                  <a:gd name="connsiteY137" fmla="*/ 1720602 h 2673102"/>
                  <a:gd name="connsiteX138" fmla="*/ 159746 w 1739754"/>
                  <a:gd name="connsiteY138" fmla="*/ 1715839 h 2673102"/>
                  <a:gd name="connsiteX139" fmla="*/ 174033 w 1739754"/>
                  <a:gd name="connsiteY139" fmla="*/ 1696789 h 2673102"/>
                  <a:gd name="connsiteX140" fmla="*/ 188321 w 1739754"/>
                  <a:gd name="connsiteY140" fmla="*/ 1687264 h 2673102"/>
                  <a:gd name="connsiteX141" fmla="*/ 202608 w 1739754"/>
                  <a:gd name="connsiteY141" fmla="*/ 1653927 h 2673102"/>
                  <a:gd name="connsiteX142" fmla="*/ 193083 w 1739754"/>
                  <a:gd name="connsiteY142" fmla="*/ 1606302 h 2673102"/>
                  <a:gd name="connsiteX143" fmla="*/ 164508 w 1739754"/>
                  <a:gd name="connsiteY143" fmla="*/ 1596777 h 2673102"/>
                  <a:gd name="connsiteX144" fmla="*/ 154983 w 1739754"/>
                  <a:gd name="connsiteY144" fmla="*/ 1549152 h 2673102"/>
                  <a:gd name="connsiteX145" fmla="*/ 150221 w 1739754"/>
                  <a:gd name="connsiteY145" fmla="*/ 1411039 h 2673102"/>
                  <a:gd name="connsiteX146" fmla="*/ 140696 w 1739754"/>
                  <a:gd name="connsiteY146" fmla="*/ 1377702 h 2673102"/>
                  <a:gd name="connsiteX147" fmla="*/ 121646 w 1739754"/>
                  <a:gd name="connsiteY147" fmla="*/ 1311027 h 2673102"/>
                  <a:gd name="connsiteX148" fmla="*/ 116883 w 1739754"/>
                  <a:gd name="connsiteY148" fmla="*/ 1258639 h 2673102"/>
                  <a:gd name="connsiteX149" fmla="*/ 107358 w 1739754"/>
                  <a:gd name="connsiteY149" fmla="*/ 1244352 h 2673102"/>
                  <a:gd name="connsiteX150" fmla="*/ 93071 w 1739754"/>
                  <a:gd name="connsiteY150" fmla="*/ 1196727 h 2673102"/>
                  <a:gd name="connsiteX151" fmla="*/ 78783 w 1739754"/>
                  <a:gd name="connsiteY151" fmla="*/ 1177677 h 2673102"/>
                  <a:gd name="connsiteX152" fmla="*/ 59733 w 1739754"/>
                  <a:gd name="connsiteY152" fmla="*/ 1139577 h 2673102"/>
                  <a:gd name="connsiteX153" fmla="*/ 50208 w 1739754"/>
                  <a:gd name="connsiteY153" fmla="*/ 1111002 h 2673102"/>
                  <a:gd name="connsiteX154" fmla="*/ 45446 w 1739754"/>
                  <a:gd name="connsiteY154" fmla="*/ 1096714 h 2673102"/>
                  <a:gd name="connsiteX155" fmla="*/ 21633 w 1739754"/>
                  <a:gd name="connsiteY155" fmla="*/ 1025277 h 2673102"/>
                  <a:gd name="connsiteX156" fmla="*/ 202 w 1739754"/>
                  <a:gd name="connsiteY156" fmla="*/ 980033 h 2673102"/>
                  <a:gd name="connsiteX157" fmla="*/ 14490 w 1739754"/>
                  <a:gd name="connsiteY157" fmla="*/ 930027 h 2673102"/>
                  <a:gd name="connsiteX158" fmla="*/ 69259 w 1739754"/>
                  <a:gd name="connsiteY158" fmla="*/ 810964 h 2673102"/>
                  <a:gd name="connsiteX159" fmla="*/ 221658 w 1739754"/>
                  <a:gd name="connsiteY159" fmla="*/ 601414 h 2673102"/>
                  <a:gd name="connsiteX160" fmla="*/ 288333 w 1739754"/>
                  <a:gd name="connsiteY160" fmla="*/ 515689 h 2673102"/>
                  <a:gd name="connsiteX161" fmla="*/ 412158 w 1739754"/>
                  <a:gd name="connsiteY161" fmla="*/ 406152 h 2673102"/>
                  <a:gd name="connsiteX162" fmla="*/ 535983 w 1739754"/>
                  <a:gd name="connsiteY162" fmla="*/ 291851 h 2673102"/>
                  <a:gd name="connsiteX163" fmla="*/ 640758 w 1739754"/>
                  <a:gd name="connsiteY163" fmla="*/ 229939 h 2673102"/>
                  <a:gd name="connsiteX164" fmla="*/ 733628 w 1739754"/>
                  <a:gd name="connsiteY164" fmla="*/ 168026 h 2673102"/>
                  <a:gd name="connsiteX165" fmla="*/ 978896 w 1739754"/>
                  <a:gd name="connsiteY165" fmla="*/ 63251 h 2673102"/>
                  <a:gd name="connsiteX166" fmla="*/ 1159871 w 1739754"/>
                  <a:gd name="connsiteY166" fmla="*/ 6102 h 2673102"/>
                  <a:gd name="connsiteX167" fmla="*/ 1202733 w 1739754"/>
                  <a:gd name="connsiteY16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74158 w 1739754"/>
                  <a:gd name="connsiteY2" fmla="*/ 110877 h 2673102"/>
                  <a:gd name="connsiteX3" fmla="*/ 1164633 w 1739754"/>
                  <a:gd name="connsiteY3" fmla="*/ 129927 h 2673102"/>
                  <a:gd name="connsiteX4" fmla="*/ 1164633 w 1739754"/>
                  <a:gd name="connsiteY4" fmla="*/ 206127 h 2673102"/>
                  <a:gd name="connsiteX5" fmla="*/ 1183683 w 1739754"/>
                  <a:gd name="connsiteY5" fmla="*/ 225177 h 2673102"/>
                  <a:gd name="connsiteX6" fmla="*/ 1202733 w 1739754"/>
                  <a:gd name="connsiteY6" fmla="*/ 258514 h 2673102"/>
                  <a:gd name="connsiteX7" fmla="*/ 1221783 w 1739754"/>
                  <a:gd name="connsiteY7" fmla="*/ 268039 h 2673102"/>
                  <a:gd name="connsiteX8" fmla="*/ 1245596 w 1739754"/>
                  <a:gd name="connsiteY8" fmla="*/ 296614 h 2673102"/>
                  <a:gd name="connsiteX9" fmla="*/ 1255121 w 1739754"/>
                  <a:gd name="connsiteY9" fmla="*/ 315664 h 2673102"/>
                  <a:gd name="connsiteX10" fmla="*/ 1250358 w 1739754"/>
                  <a:gd name="connsiteY10" fmla="*/ 344239 h 2673102"/>
                  <a:gd name="connsiteX11" fmla="*/ 1245596 w 1739754"/>
                  <a:gd name="connsiteY11" fmla="*/ 363289 h 2673102"/>
                  <a:gd name="connsiteX12" fmla="*/ 1250358 w 1739754"/>
                  <a:gd name="connsiteY12" fmla="*/ 425202 h 2673102"/>
                  <a:gd name="connsiteX13" fmla="*/ 1269408 w 1739754"/>
                  <a:gd name="connsiteY13" fmla="*/ 463302 h 2673102"/>
                  <a:gd name="connsiteX14" fmla="*/ 1278933 w 1739754"/>
                  <a:gd name="connsiteY14" fmla="*/ 477589 h 2673102"/>
                  <a:gd name="connsiteX15" fmla="*/ 1293221 w 1739754"/>
                  <a:gd name="connsiteY15" fmla="*/ 487114 h 2673102"/>
                  <a:gd name="connsiteX16" fmla="*/ 1350371 w 1739754"/>
                  <a:gd name="connsiteY16" fmla="*/ 510927 h 2673102"/>
                  <a:gd name="connsiteX17" fmla="*/ 1378946 w 1739754"/>
                  <a:gd name="connsiteY17" fmla="*/ 520452 h 2673102"/>
                  <a:gd name="connsiteX18" fmla="*/ 1407521 w 1739754"/>
                  <a:gd name="connsiteY18" fmla="*/ 539502 h 2673102"/>
                  <a:gd name="connsiteX19" fmla="*/ 1469433 w 1739754"/>
                  <a:gd name="connsiteY19" fmla="*/ 568077 h 2673102"/>
                  <a:gd name="connsiteX20" fmla="*/ 1521821 w 1739754"/>
                  <a:gd name="connsiteY20" fmla="*/ 587127 h 2673102"/>
                  <a:gd name="connsiteX21" fmla="*/ 1540871 w 1739754"/>
                  <a:gd name="connsiteY21" fmla="*/ 596652 h 2673102"/>
                  <a:gd name="connsiteX22" fmla="*/ 1559921 w 1739754"/>
                  <a:gd name="connsiteY22" fmla="*/ 601414 h 2673102"/>
                  <a:gd name="connsiteX23" fmla="*/ 1607546 w 1739754"/>
                  <a:gd name="connsiteY23" fmla="*/ 639514 h 2673102"/>
                  <a:gd name="connsiteX24" fmla="*/ 1636121 w 1739754"/>
                  <a:gd name="connsiteY24" fmla="*/ 672852 h 2673102"/>
                  <a:gd name="connsiteX25" fmla="*/ 1650408 w 1739754"/>
                  <a:gd name="connsiteY25" fmla="*/ 687139 h 2673102"/>
                  <a:gd name="connsiteX26" fmla="*/ 1669458 w 1739754"/>
                  <a:gd name="connsiteY26" fmla="*/ 696664 h 2673102"/>
                  <a:gd name="connsiteX27" fmla="*/ 1683746 w 1739754"/>
                  <a:gd name="connsiteY27" fmla="*/ 706189 h 2673102"/>
                  <a:gd name="connsiteX28" fmla="*/ 1709940 w 1739754"/>
                  <a:gd name="connsiteY28" fmla="*/ 749052 h 2673102"/>
                  <a:gd name="connsiteX29" fmla="*/ 1702796 w 1739754"/>
                  <a:gd name="connsiteY29" fmla="*/ 853827 h 2673102"/>
                  <a:gd name="connsiteX30" fmla="*/ 1664696 w 1739754"/>
                  <a:gd name="connsiteY30" fmla="*/ 887164 h 2673102"/>
                  <a:gd name="connsiteX31" fmla="*/ 1650408 w 1739754"/>
                  <a:gd name="connsiteY31" fmla="*/ 901452 h 2673102"/>
                  <a:gd name="connsiteX32" fmla="*/ 1598021 w 1739754"/>
                  <a:gd name="connsiteY32" fmla="*/ 906214 h 2673102"/>
                  <a:gd name="connsiteX33" fmla="*/ 1555158 w 1739754"/>
                  <a:gd name="connsiteY33" fmla="*/ 925264 h 2673102"/>
                  <a:gd name="connsiteX34" fmla="*/ 1531346 w 1739754"/>
                  <a:gd name="connsiteY34" fmla="*/ 939552 h 2673102"/>
                  <a:gd name="connsiteX35" fmla="*/ 1498008 w 1739754"/>
                  <a:gd name="connsiteY35" fmla="*/ 987177 h 2673102"/>
                  <a:gd name="connsiteX36" fmla="*/ 1345608 w 1739754"/>
                  <a:gd name="connsiteY36" fmla="*/ 1030039 h 2673102"/>
                  <a:gd name="connsiteX37" fmla="*/ 1297983 w 1739754"/>
                  <a:gd name="connsiteY37" fmla="*/ 1053852 h 2673102"/>
                  <a:gd name="connsiteX38" fmla="*/ 1231308 w 1739754"/>
                  <a:gd name="connsiteY38" fmla="*/ 1082427 h 2673102"/>
                  <a:gd name="connsiteX39" fmla="*/ 1126533 w 1739754"/>
                  <a:gd name="connsiteY39" fmla="*/ 1096714 h 2673102"/>
                  <a:gd name="connsiteX40" fmla="*/ 1102721 w 1739754"/>
                  <a:gd name="connsiteY40" fmla="*/ 1101477 h 2673102"/>
                  <a:gd name="connsiteX41" fmla="*/ 1078908 w 1739754"/>
                  <a:gd name="connsiteY41" fmla="*/ 1111002 h 2673102"/>
                  <a:gd name="connsiteX42" fmla="*/ 964608 w 1739754"/>
                  <a:gd name="connsiteY42" fmla="*/ 1106239 h 2673102"/>
                  <a:gd name="connsiteX43" fmla="*/ 859833 w 1739754"/>
                  <a:gd name="connsiteY43" fmla="*/ 1058614 h 2673102"/>
                  <a:gd name="connsiteX44" fmla="*/ 812208 w 1739754"/>
                  <a:gd name="connsiteY44" fmla="*/ 1034802 h 2673102"/>
                  <a:gd name="connsiteX45" fmla="*/ 788396 w 1739754"/>
                  <a:gd name="connsiteY45" fmla="*/ 1020514 h 2673102"/>
                  <a:gd name="connsiteX46" fmla="*/ 769346 w 1739754"/>
                  <a:gd name="connsiteY46" fmla="*/ 1006227 h 2673102"/>
                  <a:gd name="connsiteX47" fmla="*/ 678858 w 1739754"/>
                  <a:gd name="connsiteY47" fmla="*/ 958602 h 2673102"/>
                  <a:gd name="connsiteX48" fmla="*/ 645521 w 1739754"/>
                  <a:gd name="connsiteY48" fmla="*/ 939552 h 2673102"/>
                  <a:gd name="connsiteX49" fmla="*/ 526458 w 1739754"/>
                  <a:gd name="connsiteY49" fmla="*/ 910977 h 2673102"/>
                  <a:gd name="connsiteX50" fmla="*/ 483596 w 1739754"/>
                  <a:gd name="connsiteY50" fmla="*/ 891927 h 2673102"/>
                  <a:gd name="connsiteX51" fmla="*/ 421683 w 1739754"/>
                  <a:gd name="connsiteY51" fmla="*/ 882402 h 2673102"/>
                  <a:gd name="connsiteX52" fmla="*/ 321671 w 1739754"/>
                  <a:gd name="connsiteY52" fmla="*/ 896689 h 2673102"/>
                  <a:gd name="connsiteX53" fmla="*/ 307383 w 1739754"/>
                  <a:gd name="connsiteY53" fmla="*/ 910977 h 2673102"/>
                  <a:gd name="connsiteX54" fmla="*/ 283571 w 1739754"/>
                  <a:gd name="connsiteY54" fmla="*/ 949077 h 2673102"/>
                  <a:gd name="connsiteX55" fmla="*/ 269283 w 1739754"/>
                  <a:gd name="connsiteY55" fmla="*/ 987177 h 2673102"/>
                  <a:gd name="connsiteX56" fmla="*/ 264521 w 1739754"/>
                  <a:gd name="connsiteY56" fmla="*/ 1039564 h 2673102"/>
                  <a:gd name="connsiteX57" fmla="*/ 264521 w 1739754"/>
                  <a:gd name="connsiteY57" fmla="*/ 1120527 h 2673102"/>
                  <a:gd name="connsiteX58" fmla="*/ 297858 w 1739754"/>
                  <a:gd name="connsiteY58" fmla="*/ 1153864 h 2673102"/>
                  <a:gd name="connsiteX59" fmla="*/ 326433 w 1739754"/>
                  <a:gd name="connsiteY59" fmla="*/ 1163389 h 2673102"/>
                  <a:gd name="connsiteX60" fmla="*/ 326433 w 1739754"/>
                  <a:gd name="connsiteY60" fmla="*/ 1244352 h 2673102"/>
                  <a:gd name="connsiteX61" fmla="*/ 312146 w 1739754"/>
                  <a:gd name="connsiteY61" fmla="*/ 1258639 h 2673102"/>
                  <a:gd name="connsiteX62" fmla="*/ 259758 w 1739754"/>
                  <a:gd name="connsiteY62" fmla="*/ 1296739 h 2673102"/>
                  <a:gd name="connsiteX63" fmla="*/ 240708 w 1739754"/>
                  <a:gd name="connsiteY63" fmla="*/ 1325314 h 2673102"/>
                  <a:gd name="connsiteX64" fmla="*/ 250233 w 1739754"/>
                  <a:gd name="connsiteY64" fmla="*/ 1425327 h 2673102"/>
                  <a:gd name="connsiteX65" fmla="*/ 278808 w 1739754"/>
                  <a:gd name="connsiteY65" fmla="*/ 1472952 h 2673102"/>
                  <a:gd name="connsiteX66" fmla="*/ 293096 w 1739754"/>
                  <a:gd name="connsiteY66" fmla="*/ 1492002 h 2673102"/>
                  <a:gd name="connsiteX67" fmla="*/ 383583 w 1739754"/>
                  <a:gd name="connsiteY67" fmla="*/ 1525339 h 2673102"/>
                  <a:gd name="connsiteX68" fmla="*/ 407396 w 1739754"/>
                  <a:gd name="connsiteY68" fmla="*/ 1492002 h 2673102"/>
                  <a:gd name="connsiteX69" fmla="*/ 412158 w 1739754"/>
                  <a:gd name="connsiteY69" fmla="*/ 1468189 h 2673102"/>
                  <a:gd name="connsiteX70" fmla="*/ 416921 w 1739754"/>
                  <a:gd name="connsiteY70" fmla="*/ 1449139 h 2673102"/>
                  <a:gd name="connsiteX71" fmla="*/ 445496 w 1739754"/>
                  <a:gd name="connsiteY71" fmla="*/ 1439614 h 2673102"/>
                  <a:gd name="connsiteX72" fmla="*/ 545508 w 1739754"/>
                  <a:gd name="connsiteY72" fmla="*/ 1458664 h 2673102"/>
                  <a:gd name="connsiteX73" fmla="*/ 555033 w 1739754"/>
                  <a:gd name="connsiteY73" fmla="*/ 1482477 h 2673102"/>
                  <a:gd name="connsiteX74" fmla="*/ 564558 w 1739754"/>
                  <a:gd name="connsiteY74" fmla="*/ 1515814 h 2673102"/>
                  <a:gd name="connsiteX75" fmla="*/ 550271 w 1739754"/>
                  <a:gd name="connsiteY75" fmla="*/ 1534864 h 2673102"/>
                  <a:gd name="connsiteX76" fmla="*/ 550271 w 1739754"/>
                  <a:gd name="connsiteY76" fmla="*/ 1601539 h 2673102"/>
                  <a:gd name="connsiteX77" fmla="*/ 559796 w 1739754"/>
                  <a:gd name="connsiteY77" fmla="*/ 1620589 h 2673102"/>
                  <a:gd name="connsiteX78" fmla="*/ 626471 w 1739754"/>
                  <a:gd name="connsiteY78" fmla="*/ 1639639 h 2673102"/>
                  <a:gd name="connsiteX79" fmla="*/ 645521 w 1739754"/>
                  <a:gd name="connsiteY79" fmla="*/ 1592014 h 2673102"/>
                  <a:gd name="connsiteX80" fmla="*/ 702671 w 1739754"/>
                  <a:gd name="connsiteY80" fmla="*/ 1620589 h 2673102"/>
                  <a:gd name="connsiteX81" fmla="*/ 731246 w 1739754"/>
                  <a:gd name="connsiteY81" fmla="*/ 1630114 h 2673102"/>
                  <a:gd name="connsiteX82" fmla="*/ 783633 w 1739754"/>
                  <a:gd name="connsiteY82" fmla="*/ 1663452 h 2673102"/>
                  <a:gd name="connsiteX83" fmla="*/ 859833 w 1739754"/>
                  <a:gd name="connsiteY83" fmla="*/ 1687264 h 2673102"/>
                  <a:gd name="connsiteX84" fmla="*/ 878883 w 1739754"/>
                  <a:gd name="connsiteY84" fmla="*/ 1701552 h 2673102"/>
                  <a:gd name="connsiteX85" fmla="*/ 888408 w 1739754"/>
                  <a:gd name="connsiteY85" fmla="*/ 1739652 h 2673102"/>
                  <a:gd name="connsiteX86" fmla="*/ 897933 w 1739754"/>
                  <a:gd name="connsiteY86" fmla="*/ 1782514 h 2673102"/>
                  <a:gd name="connsiteX87" fmla="*/ 940796 w 1739754"/>
                  <a:gd name="connsiteY87" fmla="*/ 1892052 h 2673102"/>
                  <a:gd name="connsiteX88" fmla="*/ 950321 w 1739754"/>
                  <a:gd name="connsiteY88" fmla="*/ 1906339 h 2673102"/>
                  <a:gd name="connsiteX89" fmla="*/ 959846 w 1739754"/>
                  <a:gd name="connsiteY89" fmla="*/ 1939677 h 2673102"/>
                  <a:gd name="connsiteX90" fmla="*/ 974133 w 1739754"/>
                  <a:gd name="connsiteY90" fmla="*/ 1977777 h 2673102"/>
                  <a:gd name="connsiteX91" fmla="*/ 964608 w 1739754"/>
                  <a:gd name="connsiteY91" fmla="*/ 2082552 h 2673102"/>
                  <a:gd name="connsiteX92" fmla="*/ 955083 w 1739754"/>
                  <a:gd name="connsiteY92" fmla="*/ 2101602 h 2673102"/>
                  <a:gd name="connsiteX93" fmla="*/ 926508 w 1739754"/>
                  <a:gd name="connsiteY93" fmla="*/ 2144464 h 2673102"/>
                  <a:gd name="connsiteX94" fmla="*/ 907458 w 1739754"/>
                  <a:gd name="connsiteY94" fmla="*/ 2192089 h 2673102"/>
                  <a:gd name="connsiteX95" fmla="*/ 902696 w 1739754"/>
                  <a:gd name="connsiteY95" fmla="*/ 2211139 h 2673102"/>
                  <a:gd name="connsiteX96" fmla="*/ 893171 w 1739754"/>
                  <a:gd name="connsiteY96" fmla="*/ 2239714 h 2673102"/>
                  <a:gd name="connsiteX97" fmla="*/ 897933 w 1739754"/>
                  <a:gd name="connsiteY97" fmla="*/ 2287339 h 2673102"/>
                  <a:gd name="connsiteX98" fmla="*/ 893171 w 1739754"/>
                  <a:gd name="connsiteY98" fmla="*/ 2396877 h 2673102"/>
                  <a:gd name="connsiteX99" fmla="*/ 688383 w 1739754"/>
                  <a:gd name="connsiteY99" fmla="*/ 2449264 h 2673102"/>
                  <a:gd name="connsiteX100" fmla="*/ 655046 w 1739754"/>
                  <a:gd name="connsiteY100" fmla="*/ 2473077 h 2673102"/>
                  <a:gd name="connsiteX101" fmla="*/ 607421 w 1739754"/>
                  <a:gd name="connsiteY101" fmla="*/ 2511177 h 2673102"/>
                  <a:gd name="connsiteX102" fmla="*/ 574083 w 1739754"/>
                  <a:gd name="connsiteY102" fmla="*/ 2534989 h 2673102"/>
                  <a:gd name="connsiteX103" fmla="*/ 540746 w 1739754"/>
                  <a:gd name="connsiteY103" fmla="*/ 2554039 h 2673102"/>
                  <a:gd name="connsiteX104" fmla="*/ 497883 w 1739754"/>
                  <a:gd name="connsiteY104" fmla="*/ 2587377 h 2673102"/>
                  <a:gd name="connsiteX105" fmla="*/ 483596 w 1739754"/>
                  <a:gd name="connsiteY105" fmla="*/ 2601664 h 2673102"/>
                  <a:gd name="connsiteX106" fmla="*/ 459783 w 1739754"/>
                  <a:gd name="connsiteY106" fmla="*/ 2620714 h 2673102"/>
                  <a:gd name="connsiteX107" fmla="*/ 450258 w 1739754"/>
                  <a:gd name="connsiteY107" fmla="*/ 2635002 h 2673102"/>
                  <a:gd name="connsiteX108" fmla="*/ 416921 w 1739754"/>
                  <a:gd name="connsiteY108" fmla="*/ 2654052 h 2673102"/>
                  <a:gd name="connsiteX109" fmla="*/ 374058 w 1739754"/>
                  <a:gd name="connsiteY109" fmla="*/ 2673102 h 2673102"/>
                  <a:gd name="connsiteX110" fmla="*/ 359771 w 1739754"/>
                  <a:gd name="connsiteY110" fmla="*/ 2663577 h 2673102"/>
                  <a:gd name="connsiteX111" fmla="*/ 345483 w 1739754"/>
                  <a:gd name="connsiteY111" fmla="*/ 2635002 h 2673102"/>
                  <a:gd name="connsiteX112" fmla="*/ 335958 w 1739754"/>
                  <a:gd name="connsiteY112" fmla="*/ 2620714 h 2673102"/>
                  <a:gd name="connsiteX113" fmla="*/ 297858 w 1739754"/>
                  <a:gd name="connsiteY113" fmla="*/ 2611189 h 2673102"/>
                  <a:gd name="connsiteX114" fmla="*/ 278808 w 1739754"/>
                  <a:gd name="connsiteY114" fmla="*/ 2592139 h 2673102"/>
                  <a:gd name="connsiteX115" fmla="*/ 274046 w 1739754"/>
                  <a:gd name="connsiteY115" fmla="*/ 2573089 h 2673102"/>
                  <a:gd name="connsiteX116" fmla="*/ 235946 w 1739754"/>
                  <a:gd name="connsiteY116" fmla="*/ 2539752 h 2673102"/>
                  <a:gd name="connsiteX117" fmla="*/ 231183 w 1739754"/>
                  <a:gd name="connsiteY117" fmla="*/ 2525464 h 2673102"/>
                  <a:gd name="connsiteX118" fmla="*/ 226421 w 1739754"/>
                  <a:gd name="connsiteY118" fmla="*/ 2506414 h 2673102"/>
                  <a:gd name="connsiteX119" fmla="*/ 212133 w 1739754"/>
                  <a:gd name="connsiteY119" fmla="*/ 2492127 h 2673102"/>
                  <a:gd name="connsiteX120" fmla="*/ 154983 w 1739754"/>
                  <a:gd name="connsiteY120" fmla="*/ 2439739 h 2673102"/>
                  <a:gd name="connsiteX121" fmla="*/ 150221 w 1739754"/>
                  <a:gd name="connsiteY121" fmla="*/ 2415927 h 2673102"/>
                  <a:gd name="connsiteX122" fmla="*/ 135933 w 1739754"/>
                  <a:gd name="connsiteY122" fmla="*/ 2358777 h 2673102"/>
                  <a:gd name="connsiteX123" fmla="*/ 121646 w 1739754"/>
                  <a:gd name="connsiteY123" fmla="*/ 2315914 h 2673102"/>
                  <a:gd name="connsiteX124" fmla="*/ 107358 w 1739754"/>
                  <a:gd name="connsiteY124" fmla="*/ 2258764 h 2673102"/>
                  <a:gd name="connsiteX125" fmla="*/ 102596 w 1739754"/>
                  <a:gd name="connsiteY125" fmla="*/ 2234952 h 2673102"/>
                  <a:gd name="connsiteX126" fmla="*/ 93071 w 1739754"/>
                  <a:gd name="connsiteY126" fmla="*/ 2211139 h 2673102"/>
                  <a:gd name="connsiteX127" fmla="*/ 88308 w 1739754"/>
                  <a:gd name="connsiteY127" fmla="*/ 2187327 h 2673102"/>
                  <a:gd name="connsiteX128" fmla="*/ 78783 w 1739754"/>
                  <a:gd name="connsiteY128" fmla="*/ 2111127 h 2673102"/>
                  <a:gd name="connsiteX129" fmla="*/ 97833 w 1739754"/>
                  <a:gd name="connsiteY129" fmla="*/ 1944439 h 2673102"/>
                  <a:gd name="connsiteX130" fmla="*/ 107358 w 1739754"/>
                  <a:gd name="connsiteY130" fmla="*/ 1930152 h 2673102"/>
                  <a:gd name="connsiteX131" fmla="*/ 126408 w 1739754"/>
                  <a:gd name="connsiteY131" fmla="*/ 1901577 h 2673102"/>
                  <a:gd name="connsiteX132" fmla="*/ 135933 w 1739754"/>
                  <a:gd name="connsiteY132" fmla="*/ 1868239 h 2673102"/>
                  <a:gd name="connsiteX133" fmla="*/ 131171 w 1739754"/>
                  <a:gd name="connsiteY133" fmla="*/ 1825377 h 2673102"/>
                  <a:gd name="connsiteX134" fmla="*/ 112121 w 1739754"/>
                  <a:gd name="connsiteY134" fmla="*/ 1820614 h 2673102"/>
                  <a:gd name="connsiteX135" fmla="*/ 102596 w 1739754"/>
                  <a:gd name="connsiteY135" fmla="*/ 1806327 h 2673102"/>
                  <a:gd name="connsiteX136" fmla="*/ 145458 w 1739754"/>
                  <a:gd name="connsiteY136" fmla="*/ 1720602 h 2673102"/>
                  <a:gd name="connsiteX137" fmla="*/ 159746 w 1739754"/>
                  <a:gd name="connsiteY137" fmla="*/ 1715839 h 2673102"/>
                  <a:gd name="connsiteX138" fmla="*/ 174033 w 1739754"/>
                  <a:gd name="connsiteY138" fmla="*/ 1696789 h 2673102"/>
                  <a:gd name="connsiteX139" fmla="*/ 188321 w 1739754"/>
                  <a:gd name="connsiteY139" fmla="*/ 1687264 h 2673102"/>
                  <a:gd name="connsiteX140" fmla="*/ 202608 w 1739754"/>
                  <a:gd name="connsiteY140" fmla="*/ 1653927 h 2673102"/>
                  <a:gd name="connsiteX141" fmla="*/ 193083 w 1739754"/>
                  <a:gd name="connsiteY141" fmla="*/ 1606302 h 2673102"/>
                  <a:gd name="connsiteX142" fmla="*/ 164508 w 1739754"/>
                  <a:gd name="connsiteY142" fmla="*/ 1596777 h 2673102"/>
                  <a:gd name="connsiteX143" fmla="*/ 154983 w 1739754"/>
                  <a:gd name="connsiteY143" fmla="*/ 1549152 h 2673102"/>
                  <a:gd name="connsiteX144" fmla="*/ 150221 w 1739754"/>
                  <a:gd name="connsiteY144" fmla="*/ 1411039 h 2673102"/>
                  <a:gd name="connsiteX145" fmla="*/ 140696 w 1739754"/>
                  <a:gd name="connsiteY145" fmla="*/ 1377702 h 2673102"/>
                  <a:gd name="connsiteX146" fmla="*/ 121646 w 1739754"/>
                  <a:gd name="connsiteY146" fmla="*/ 1311027 h 2673102"/>
                  <a:gd name="connsiteX147" fmla="*/ 116883 w 1739754"/>
                  <a:gd name="connsiteY147" fmla="*/ 1258639 h 2673102"/>
                  <a:gd name="connsiteX148" fmla="*/ 107358 w 1739754"/>
                  <a:gd name="connsiteY148" fmla="*/ 1244352 h 2673102"/>
                  <a:gd name="connsiteX149" fmla="*/ 93071 w 1739754"/>
                  <a:gd name="connsiteY149" fmla="*/ 1196727 h 2673102"/>
                  <a:gd name="connsiteX150" fmla="*/ 78783 w 1739754"/>
                  <a:gd name="connsiteY150" fmla="*/ 1177677 h 2673102"/>
                  <a:gd name="connsiteX151" fmla="*/ 59733 w 1739754"/>
                  <a:gd name="connsiteY151" fmla="*/ 1139577 h 2673102"/>
                  <a:gd name="connsiteX152" fmla="*/ 50208 w 1739754"/>
                  <a:gd name="connsiteY152" fmla="*/ 1111002 h 2673102"/>
                  <a:gd name="connsiteX153" fmla="*/ 45446 w 1739754"/>
                  <a:gd name="connsiteY153" fmla="*/ 1096714 h 2673102"/>
                  <a:gd name="connsiteX154" fmla="*/ 21633 w 1739754"/>
                  <a:gd name="connsiteY154" fmla="*/ 1025277 h 2673102"/>
                  <a:gd name="connsiteX155" fmla="*/ 202 w 1739754"/>
                  <a:gd name="connsiteY155" fmla="*/ 980033 h 2673102"/>
                  <a:gd name="connsiteX156" fmla="*/ 14490 w 1739754"/>
                  <a:gd name="connsiteY156" fmla="*/ 930027 h 2673102"/>
                  <a:gd name="connsiteX157" fmla="*/ 69259 w 1739754"/>
                  <a:gd name="connsiteY157" fmla="*/ 810964 h 2673102"/>
                  <a:gd name="connsiteX158" fmla="*/ 221658 w 1739754"/>
                  <a:gd name="connsiteY158" fmla="*/ 601414 h 2673102"/>
                  <a:gd name="connsiteX159" fmla="*/ 288333 w 1739754"/>
                  <a:gd name="connsiteY159" fmla="*/ 515689 h 2673102"/>
                  <a:gd name="connsiteX160" fmla="*/ 412158 w 1739754"/>
                  <a:gd name="connsiteY160" fmla="*/ 406152 h 2673102"/>
                  <a:gd name="connsiteX161" fmla="*/ 535983 w 1739754"/>
                  <a:gd name="connsiteY161" fmla="*/ 291851 h 2673102"/>
                  <a:gd name="connsiteX162" fmla="*/ 640758 w 1739754"/>
                  <a:gd name="connsiteY162" fmla="*/ 229939 h 2673102"/>
                  <a:gd name="connsiteX163" fmla="*/ 733628 w 1739754"/>
                  <a:gd name="connsiteY163" fmla="*/ 168026 h 2673102"/>
                  <a:gd name="connsiteX164" fmla="*/ 978896 w 1739754"/>
                  <a:gd name="connsiteY164" fmla="*/ 63251 h 2673102"/>
                  <a:gd name="connsiteX165" fmla="*/ 1159871 w 1739754"/>
                  <a:gd name="connsiteY165" fmla="*/ 6102 h 2673102"/>
                  <a:gd name="connsiteX166" fmla="*/ 1202733 w 1739754"/>
                  <a:gd name="connsiteY16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74158 w 1739754"/>
                  <a:gd name="connsiteY2" fmla="*/ 110877 h 2673102"/>
                  <a:gd name="connsiteX3" fmla="*/ 1164633 w 1739754"/>
                  <a:gd name="connsiteY3" fmla="*/ 129927 h 2673102"/>
                  <a:gd name="connsiteX4" fmla="*/ 1164633 w 1739754"/>
                  <a:gd name="connsiteY4" fmla="*/ 206127 h 2673102"/>
                  <a:gd name="connsiteX5" fmla="*/ 1183683 w 1739754"/>
                  <a:gd name="connsiteY5" fmla="*/ 225177 h 2673102"/>
                  <a:gd name="connsiteX6" fmla="*/ 1202733 w 1739754"/>
                  <a:gd name="connsiteY6" fmla="*/ 258514 h 2673102"/>
                  <a:gd name="connsiteX7" fmla="*/ 1245596 w 1739754"/>
                  <a:gd name="connsiteY7" fmla="*/ 296614 h 2673102"/>
                  <a:gd name="connsiteX8" fmla="*/ 1255121 w 1739754"/>
                  <a:gd name="connsiteY8" fmla="*/ 315664 h 2673102"/>
                  <a:gd name="connsiteX9" fmla="*/ 1250358 w 1739754"/>
                  <a:gd name="connsiteY9" fmla="*/ 344239 h 2673102"/>
                  <a:gd name="connsiteX10" fmla="*/ 1245596 w 1739754"/>
                  <a:gd name="connsiteY10" fmla="*/ 363289 h 2673102"/>
                  <a:gd name="connsiteX11" fmla="*/ 1250358 w 1739754"/>
                  <a:gd name="connsiteY11" fmla="*/ 425202 h 2673102"/>
                  <a:gd name="connsiteX12" fmla="*/ 1269408 w 1739754"/>
                  <a:gd name="connsiteY12" fmla="*/ 463302 h 2673102"/>
                  <a:gd name="connsiteX13" fmla="*/ 1278933 w 1739754"/>
                  <a:gd name="connsiteY13" fmla="*/ 477589 h 2673102"/>
                  <a:gd name="connsiteX14" fmla="*/ 1293221 w 1739754"/>
                  <a:gd name="connsiteY14" fmla="*/ 487114 h 2673102"/>
                  <a:gd name="connsiteX15" fmla="*/ 1350371 w 1739754"/>
                  <a:gd name="connsiteY15" fmla="*/ 510927 h 2673102"/>
                  <a:gd name="connsiteX16" fmla="*/ 1378946 w 1739754"/>
                  <a:gd name="connsiteY16" fmla="*/ 520452 h 2673102"/>
                  <a:gd name="connsiteX17" fmla="*/ 1407521 w 1739754"/>
                  <a:gd name="connsiteY17" fmla="*/ 539502 h 2673102"/>
                  <a:gd name="connsiteX18" fmla="*/ 1469433 w 1739754"/>
                  <a:gd name="connsiteY18" fmla="*/ 568077 h 2673102"/>
                  <a:gd name="connsiteX19" fmla="*/ 1521821 w 1739754"/>
                  <a:gd name="connsiteY19" fmla="*/ 587127 h 2673102"/>
                  <a:gd name="connsiteX20" fmla="*/ 1540871 w 1739754"/>
                  <a:gd name="connsiteY20" fmla="*/ 596652 h 2673102"/>
                  <a:gd name="connsiteX21" fmla="*/ 1559921 w 1739754"/>
                  <a:gd name="connsiteY21" fmla="*/ 601414 h 2673102"/>
                  <a:gd name="connsiteX22" fmla="*/ 1607546 w 1739754"/>
                  <a:gd name="connsiteY22" fmla="*/ 639514 h 2673102"/>
                  <a:gd name="connsiteX23" fmla="*/ 1636121 w 1739754"/>
                  <a:gd name="connsiteY23" fmla="*/ 672852 h 2673102"/>
                  <a:gd name="connsiteX24" fmla="*/ 1650408 w 1739754"/>
                  <a:gd name="connsiteY24" fmla="*/ 687139 h 2673102"/>
                  <a:gd name="connsiteX25" fmla="*/ 1669458 w 1739754"/>
                  <a:gd name="connsiteY25" fmla="*/ 696664 h 2673102"/>
                  <a:gd name="connsiteX26" fmla="*/ 1683746 w 1739754"/>
                  <a:gd name="connsiteY26" fmla="*/ 706189 h 2673102"/>
                  <a:gd name="connsiteX27" fmla="*/ 1709940 w 1739754"/>
                  <a:gd name="connsiteY27" fmla="*/ 749052 h 2673102"/>
                  <a:gd name="connsiteX28" fmla="*/ 1702796 w 1739754"/>
                  <a:gd name="connsiteY28" fmla="*/ 853827 h 2673102"/>
                  <a:gd name="connsiteX29" fmla="*/ 1664696 w 1739754"/>
                  <a:gd name="connsiteY29" fmla="*/ 887164 h 2673102"/>
                  <a:gd name="connsiteX30" fmla="*/ 1650408 w 1739754"/>
                  <a:gd name="connsiteY30" fmla="*/ 901452 h 2673102"/>
                  <a:gd name="connsiteX31" fmla="*/ 1598021 w 1739754"/>
                  <a:gd name="connsiteY31" fmla="*/ 906214 h 2673102"/>
                  <a:gd name="connsiteX32" fmla="*/ 1555158 w 1739754"/>
                  <a:gd name="connsiteY32" fmla="*/ 925264 h 2673102"/>
                  <a:gd name="connsiteX33" fmla="*/ 1531346 w 1739754"/>
                  <a:gd name="connsiteY33" fmla="*/ 939552 h 2673102"/>
                  <a:gd name="connsiteX34" fmla="*/ 1498008 w 1739754"/>
                  <a:gd name="connsiteY34" fmla="*/ 987177 h 2673102"/>
                  <a:gd name="connsiteX35" fmla="*/ 1345608 w 1739754"/>
                  <a:gd name="connsiteY35" fmla="*/ 1030039 h 2673102"/>
                  <a:gd name="connsiteX36" fmla="*/ 1297983 w 1739754"/>
                  <a:gd name="connsiteY36" fmla="*/ 1053852 h 2673102"/>
                  <a:gd name="connsiteX37" fmla="*/ 1231308 w 1739754"/>
                  <a:gd name="connsiteY37" fmla="*/ 1082427 h 2673102"/>
                  <a:gd name="connsiteX38" fmla="*/ 1126533 w 1739754"/>
                  <a:gd name="connsiteY38" fmla="*/ 1096714 h 2673102"/>
                  <a:gd name="connsiteX39" fmla="*/ 1102721 w 1739754"/>
                  <a:gd name="connsiteY39" fmla="*/ 1101477 h 2673102"/>
                  <a:gd name="connsiteX40" fmla="*/ 1078908 w 1739754"/>
                  <a:gd name="connsiteY40" fmla="*/ 1111002 h 2673102"/>
                  <a:gd name="connsiteX41" fmla="*/ 964608 w 1739754"/>
                  <a:gd name="connsiteY41" fmla="*/ 1106239 h 2673102"/>
                  <a:gd name="connsiteX42" fmla="*/ 859833 w 1739754"/>
                  <a:gd name="connsiteY42" fmla="*/ 1058614 h 2673102"/>
                  <a:gd name="connsiteX43" fmla="*/ 812208 w 1739754"/>
                  <a:gd name="connsiteY43" fmla="*/ 1034802 h 2673102"/>
                  <a:gd name="connsiteX44" fmla="*/ 788396 w 1739754"/>
                  <a:gd name="connsiteY44" fmla="*/ 1020514 h 2673102"/>
                  <a:gd name="connsiteX45" fmla="*/ 769346 w 1739754"/>
                  <a:gd name="connsiteY45" fmla="*/ 1006227 h 2673102"/>
                  <a:gd name="connsiteX46" fmla="*/ 678858 w 1739754"/>
                  <a:gd name="connsiteY46" fmla="*/ 958602 h 2673102"/>
                  <a:gd name="connsiteX47" fmla="*/ 645521 w 1739754"/>
                  <a:gd name="connsiteY47" fmla="*/ 939552 h 2673102"/>
                  <a:gd name="connsiteX48" fmla="*/ 526458 w 1739754"/>
                  <a:gd name="connsiteY48" fmla="*/ 910977 h 2673102"/>
                  <a:gd name="connsiteX49" fmla="*/ 483596 w 1739754"/>
                  <a:gd name="connsiteY49" fmla="*/ 891927 h 2673102"/>
                  <a:gd name="connsiteX50" fmla="*/ 421683 w 1739754"/>
                  <a:gd name="connsiteY50" fmla="*/ 882402 h 2673102"/>
                  <a:gd name="connsiteX51" fmla="*/ 321671 w 1739754"/>
                  <a:gd name="connsiteY51" fmla="*/ 896689 h 2673102"/>
                  <a:gd name="connsiteX52" fmla="*/ 307383 w 1739754"/>
                  <a:gd name="connsiteY52" fmla="*/ 910977 h 2673102"/>
                  <a:gd name="connsiteX53" fmla="*/ 283571 w 1739754"/>
                  <a:gd name="connsiteY53" fmla="*/ 949077 h 2673102"/>
                  <a:gd name="connsiteX54" fmla="*/ 269283 w 1739754"/>
                  <a:gd name="connsiteY54" fmla="*/ 987177 h 2673102"/>
                  <a:gd name="connsiteX55" fmla="*/ 264521 w 1739754"/>
                  <a:gd name="connsiteY55" fmla="*/ 1039564 h 2673102"/>
                  <a:gd name="connsiteX56" fmla="*/ 264521 w 1739754"/>
                  <a:gd name="connsiteY56" fmla="*/ 1120527 h 2673102"/>
                  <a:gd name="connsiteX57" fmla="*/ 297858 w 1739754"/>
                  <a:gd name="connsiteY57" fmla="*/ 1153864 h 2673102"/>
                  <a:gd name="connsiteX58" fmla="*/ 326433 w 1739754"/>
                  <a:gd name="connsiteY58" fmla="*/ 1163389 h 2673102"/>
                  <a:gd name="connsiteX59" fmla="*/ 326433 w 1739754"/>
                  <a:gd name="connsiteY59" fmla="*/ 1244352 h 2673102"/>
                  <a:gd name="connsiteX60" fmla="*/ 312146 w 1739754"/>
                  <a:gd name="connsiteY60" fmla="*/ 1258639 h 2673102"/>
                  <a:gd name="connsiteX61" fmla="*/ 259758 w 1739754"/>
                  <a:gd name="connsiteY61" fmla="*/ 1296739 h 2673102"/>
                  <a:gd name="connsiteX62" fmla="*/ 240708 w 1739754"/>
                  <a:gd name="connsiteY62" fmla="*/ 1325314 h 2673102"/>
                  <a:gd name="connsiteX63" fmla="*/ 250233 w 1739754"/>
                  <a:gd name="connsiteY63" fmla="*/ 1425327 h 2673102"/>
                  <a:gd name="connsiteX64" fmla="*/ 278808 w 1739754"/>
                  <a:gd name="connsiteY64" fmla="*/ 1472952 h 2673102"/>
                  <a:gd name="connsiteX65" fmla="*/ 293096 w 1739754"/>
                  <a:gd name="connsiteY65" fmla="*/ 1492002 h 2673102"/>
                  <a:gd name="connsiteX66" fmla="*/ 383583 w 1739754"/>
                  <a:gd name="connsiteY66" fmla="*/ 1525339 h 2673102"/>
                  <a:gd name="connsiteX67" fmla="*/ 407396 w 1739754"/>
                  <a:gd name="connsiteY67" fmla="*/ 1492002 h 2673102"/>
                  <a:gd name="connsiteX68" fmla="*/ 412158 w 1739754"/>
                  <a:gd name="connsiteY68" fmla="*/ 1468189 h 2673102"/>
                  <a:gd name="connsiteX69" fmla="*/ 416921 w 1739754"/>
                  <a:gd name="connsiteY69" fmla="*/ 1449139 h 2673102"/>
                  <a:gd name="connsiteX70" fmla="*/ 445496 w 1739754"/>
                  <a:gd name="connsiteY70" fmla="*/ 1439614 h 2673102"/>
                  <a:gd name="connsiteX71" fmla="*/ 545508 w 1739754"/>
                  <a:gd name="connsiteY71" fmla="*/ 1458664 h 2673102"/>
                  <a:gd name="connsiteX72" fmla="*/ 555033 w 1739754"/>
                  <a:gd name="connsiteY72" fmla="*/ 1482477 h 2673102"/>
                  <a:gd name="connsiteX73" fmla="*/ 564558 w 1739754"/>
                  <a:gd name="connsiteY73" fmla="*/ 1515814 h 2673102"/>
                  <a:gd name="connsiteX74" fmla="*/ 550271 w 1739754"/>
                  <a:gd name="connsiteY74" fmla="*/ 1534864 h 2673102"/>
                  <a:gd name="connsiteX75" fmla="*/ 550271 w 1739754"/>
                  <a:gd name="connsiteY75" fmla="*/ 1601539 h 2673102"/>
                  <a:gd name="connsiteX76" fmla="*/ 559796 w 1739754"/>
                  <a:gd name="connsiteY76" fmla="*/ 1620589 h 2673102"/>
                  <a:gd name="connsiteX77" fmla="*/ 626471 w 1739754"/>
                  <a:gd name="connsiteY77" fmla="*/ 1639639 h 2673102"/>
                  <a:gd name="connsiteX78" fmla="*/ 645521 w 1739754"/>
                  <a:gd name="connsiteY78" fmla="*/ 1592014 h 2673102"/>
                  <a:gd name="connsiteX79" fmla="*/ 702671 w 1739754"/>
                  <a:gd name="connsiteY79" fmla="*/ 1620589 h 2673102"/>
                  <a:gd name="connsiteX80" fmla="*/ 731246 w 1739754"/>
                  <a:gd name="connsiteY80" fmla="*/ 1630114 h 2673102"/>
                  <a:gd name="connsiteX81" fmla="*/ 783633 w 1739754"/>
                  <a:gd name="connsiteY81" fmla="*/ 1663452 h 2673102"/>
                  <a:gd name="connsiteX82" fmla="*/ 859833 w 1739754"/>
                  <a:gd name="connsiteY82" fmla="*/ 1687264 h 2673102"/>
                  <a:gd name="connsiteX83" fmla="*/ 878883 w 1739754"/>
                  <a:gd name="connsiteY83" fmla="*/ 1701552 h 2673102"/>
                  <a:gd name="connsiteX84" fmla="*/ 888408 w 1739754"/>
                  <a:gd name="connsiteY84" fmla="*/ 1739652 h 2673102"/>
                  <a:gd name="connsiteX85" fmla="*/ 897933 w 1739754"/>
                  <a:gd name="connsiteY85" fmla="*/ 1782514 h 2673102"/>
                  <a:gd name="connsiteX86" fmla="*/ 940796 w 1739754"/>
                  <a:gd name="connsiteY86" fmla="*/ 1892052 h 2673102"/>
                  <a:gd name="connsiteX87" fmla="*/ 950321 w 1739754"/>
                  <a:gd name="connsiteY87" fmla="*/ 1906339 h 2673102"/>
                  <a:gd name="connsiteX88" fmla="*/ 959846 w 1739754"/>
                  <a:gd name="connsiteY88" fmla="*/ 1939677 h 2673102"/>
                  <a:gd name="connsiteX89" fmla="*/ 974133 w 1739754"/>
                  <a:gd name="connsiteY89" fmla="*/ 1977777 h 2673102"/>
                  <a:gd name="connsiteX90" fmla="*/ 964608 w 1739754"/>
                  <a:gd name="connsiteY90" fmla="*/ 2082552 h 2673102"/>
                  <a:gd name="connsiteX91" fmla="*/ 955083 w 1739754"/>
                  <a:gd name="connsiteY91" fmla="*/ 2101602 h 2673102"/>
                  <a:gd name="connsiteX92" fmla="*/ 926508 w 1739754"/>
                  <a:gd name="connsiteY92" fmla="*/ 2144464 h 2673102"/>
                  <a:gd name="connsiteX93" fmla="*/ 907458 w 1739754"/>
                  <a:gd name="connsiteY93" fmla="*/ 2192089 h 2673102"/>
                  <a:gd name="connsiteX94" fmla="*/ 902696 w 1739754"/>
                  <a:gd name="connsiteY94" fmla="*/ 2211139 h 2673102"/>
                  <a:gd name="connsiteX95" fmla="*/ 893171 w 1739754"/>
                  <a:gd name="connsiteY95" fmla="*/ 2239714 h 2673102"/>
                  <a:gd name="connsiteX96" fmla="*/ 897933 w 1739754"/>
                  <a:gd name="connsiteY96" fmla="*/ 2287339 h 2673102"/>
                  <a:gd name="connsiteX97" fmla="*/ 893171 w 1739754"/>
                  <a:gd name="connsiteY97" fmla="*/ 2396877 h 2673102"/>
                  <a:gd name="connsiteX98" fmla="*/ 688383 w 1739754"/>
                  <a:gd name="connsiteY98" fmla="*/ 2449264 h 2673102"/>
                  <a:gd name="connsiteX99" fmla="*/ 655046 w 1739754"/>
                  <a:gd name="connsiteY99" fmla="*/ 2473077 h 2673102"/>
                  <a:gd name="connsiteX100" fmla="*/ 607421 w 1739754"/>
                  <a:gd name="connsiteY100" fmla="*/ 2511177 h 2673102"/>
                  <a:gd name="connsiteX101" fmla="*/ 574083 w 1739754"/>
                  <a:gd name="connsiteY101" fmla="*/ 2534989 h 2673102"/>
                  <a:gd name="connsiteX102" fmla="*/ 540746 w 1739754"/>
                  <a:gd name="connsiteY102" fmla="*/ 2554039 h 2673102"/>
                  <a:gd name="connsiteX103" fmla="*/ 497883 w 1739754"/>
                  <a:gd name="connsiteY103" fmla="*/ 2587377 h 2673102"/>
                  <a:gd name="connsiteX104" fmla="*/ 483596 w 1739754"/>
                  <a:gd name="connsiteY104" fmla="*/ 2601664 h 2673102"/>
                  <a:gd name="connsiteX105" fmla="*/ 459783 w 1739754"/>
                  <a:gd name="connsiteY105" fmla="*/ 2620714 h 2673102"/>
                  <a:gd name="connsiteX106" fmla="*/ 450258 w 1739754"/>
                  <a:gd name="connsiteY106" fmla="*/ 2635002 h 2673102"/>
                  <a:gd name="connsiteX107" fmla="*/ 416921 w 1739754"/>
                  <a:gd name="connsiteY107" fmla="*/ 2654052 h 2673102"/>
                  <a:gd name="connsiteX108" fmla="*/ 374058 w 1739754"/>
                  <a:gd name="connsiteY108" fmla="*/ 2673102 h 2673102"/>
                  <a:gd name="connsiteX109" fmla="*/ 359771 w 1739754"/>
                  <a:gd name="connsiteY109" fmla="*/ 2663577 h 2673102"/>
                  <a:gd name="connsiteX110" fmla="*/ 345483 w 1739754"/>
                  <a:gd name="connsiteY110" fmla="*/ 2635002 h 2673102"/>
                  <a:gd name="connsiteX111" fmla="*/ 335958 w 1739754"/>
                  <a:gd name="connsiteY111" fmla="*/ 2620714 h 2673102"/>
                  <a:gd name="connsiteX112" fmla="*/ 297858 w 1739754"/>
                  <a:gd name="connsiteY112" fmla="*/ 2611189 h 2673102"/>
                  <a:gd name="connsiteX113" fmla="*/ 278808 w 1739754"/>
                  <a:gd name="connsiteY113" fmla="*/ 2592139 h 2673102"/>
                  <a:gd name="connsiteX114" fmla="*/ 274046 w 1739754"/>
                  <a:gd name="connsiteY114" fmla="*/ 2573089 h 2673102"/>
                  <a:gd name="connsiteX115" fmla="*/ 235946 w 1739754"/>
                  <a:gd name="connsiteY115" fmla="*/ 2539752 h 2673102"/>
                  <a:gd name="connsiteX116" fmla="*/ 231183 w 1739754"/>
                  <a:gd name="connsiteY116" fmla="*/ 2525464 h 2673102"/>
                  <a:gd name="connsiteX117" fmla="*/ 226421 w 1739754"/>
                  <a:gd name="connsiteY117" fmla="*/ 2506414 h 2673102"/>
                  <a:gd name="connsiteX118" fmla="*/ 212133 w 1739754"/>
                  <a:gd name="connsiteY118" fmla="*/ 2492127 h 2673102"/>
                  <a:gd name="connsiteX119" fmla="*/ 154983 w 1739754"/>
                  <a:gd name="connsiteY119" fmla="*/ 2439739 h 2673102"/>
                  <a:gd name="connsiteX120" fmla="*/ 150221 w 1739754"/>
                  <a:gd name="connsiteY120" fmla="*/ 2415927 h 2673102"/>
                  <a:gd name="connsiteX121" fmla="*/ 135933 w 1739754"/>
                  <a:gd name="connsiteY121" fmla="*/ 2358777 h 2673102"/>
                  <a:gd name="connsiteX122" fmla="*/ 121646 w 1739754"/>
                  <a:gd name="connsiteY122" fmla="*/ 2315914 h 2673102"/>
                  <a:gd name="connsiteX123" fmla="*/ 107358 w 1739754"/>
                  <a:gd name="connsiteY123" fmla="*/ 2258764 h 2673102"/>
                  <a:gd name="connsiteX124" fmla="*/ 102596 w 1739754"/>
                  <a:gd name="connsiteY124" fmla="*/ 2234952 h 2673102"/>
                  <a:gd name="connsiteX125" fmla="*/ 93071 w 1739754"/>
                  <a:gd name="connsiteY125" fmla="*/ 2211139 h 2673102"/>
                  <a:gd name="connsiteX126" fmla="*/ 88308 w 1739754"/>
                  <a:gd name="connsiteY126" fmla="*/ 2187327 h 2673102"/>
                  <a:gd name="connsiteX127" fmla="*/ 78783 w 1739754"/>
                  <a:gd name="connsiteY127" fmla="*/ 2111127 h 2673102"/>
                  <a:gd name="connsiteX128" fmla="*/ 97833 w 1739754"/>
                  <a:gd name="connsiteY128" fmla="*/ 1944439 h 2673102"/>
                  <a:gd name="connsiteX129" fmla="*/ 107358 w 1739754"/>
                  <a:gd name="connsiteY129" fmla="*/ 1930152 h 2673102"/>
                  <a:gd name="connsiteX130" fmla="*/ 126408 w 1739754"/>
                  <a:gd name="connsiteY130" fmla="*/ 1901577 h 2673102"/>
                  <a:gd name="connsiteX131" fmla="*/ 135933 w 1739754"/>
                  <a:gd name="connsiteY131" fmla="*/ 1868239 h 2673102"/>
                  <a:gd name="connsiteX132" fmla="*/ 131171 w 1739754"/>
                  <a:gd name="connsiteY132" fmla="*/ 1825377 h 2673102"/>
                  <a:gd name="connsiteX133" fmla="*/ 112121 w 1739754"/>
                  <a:gd name="connsiteY133" fmla="*/ 1820614 h 2673102"/>
                  <a:gd name="connsiteX134" fmla="*/ 102596 w 1739754"/>
                  <a:gd name="connsiteY134" fmla="*/ 1806327 h 2673102"/>
                  <a:gd name="connsiteX135" fmla="*/ 145458 w 1739754"/>
                  <a:gd name="connsiteY135" fmla="*/ 1720602 h 2673102"/>
                  <a:gd name="connsiteX136" fmla="*/ 159746 w 1739754"/>
                  <a:gd name="connsiteY136" fmla="*/ 1715839 h 2673102"/>
                  <a:gd name="connsiteX137" fmla="*/ 174033 w 1739754"/>
                  <a:gd name="connsiteY137" fmla="*/ 1696789 h 2673102"/>
                  <a:gd name="connsiteX138" fmla="*/ 188321 w 1739754"/>
                  <a:gd name="connsiteY138" fmla="*/ 1687264 h 2673102"/>
                  <a:gd name="connsiteX139" fmla="*/ 202608 w 1739754"/>
                  <a:gd name="connsiteY139" fmla="*/ 1653927 h 2673102"/>
                  <a:gd name="connsiteX140" fmla="*/ 193083 w 1739754"/>
                  <a:gd name="connsiteY140" fmla="*/ 1606302 h 2673102"/>
                  <a:gd name="connsiteX141" fmla="*/ 164508 w 1739754"/>
                  <a:gd name="connsiteY141" fmla="*/ 1596777 h 2673102"/>
                  <a:gd name="connsiteX142" fmla="*/ 154983 w 1739754"/>
                  <a:gd name="connsiteY142" fmla="*/ 1549152 h 2673102"/>
                  <a:gd name="connsiteX143" fmla="*/ 150221 w 1739754"/>
                  <a:gd name="connsiteY143" fmla="*/ 1411039 h 2673102"/>
                  <a:gd name="connsiteX144" fmla="*/ 140696 w 1739754"/>
                  <a:gd name="connsiteY144" fmla="*/ 1377702 h 2673102"/>
                  <a:gd name="connsiteX145" fmla="*/ 121646 w 1739754"/>
                  <a:gd name="connsiteY145" fmla="*/ 1311027 h 2673102"/>
                  <a:gd name="connsiteX146" fmla="*/ 116883 w 1739754"/>
                  <a:gd name="connsiteY146" fmla="*/ 1258639 h 2673102"/>
                  <a:gd name="connsiteX147" fmla="*/ 107358 w 1739754"/>
                  <a:gd name="connsiteY147" fmla="*/ 1244352 h 2673102"/>
                  <a:gd name="connsiteX148" fmla="*/ 93071 w 1739754"/>
                  <a:gd name="connsiteY148" fmla="*/ 1196727 h 2673102"/>
                  <a:gd name="connsiteX149" fmla="*/ 78783 w 1739754"/>
                  <a:gd name="connsiteY149" fmla="*/ 1177677 h 2673102"/>
                  <a:gd name="connsiteX150" fmla="*/ 59733 w 1739754"/>
                  <a:gd name="connsiteY150" fmla="*/ 1139577 h 2673102"/>
                  <a:gd name="connsiteX151" fmla="*/ 50208 w 1739754"/>
                  <a:gd name="connsiteY151" fmla="*/ 1111002 h 2673102"/>
                  <a:gd name="connsiteX152" fmla="*/ 45446 w 1739754"/>
                  <a:gd name="connsiteY152" fmla="*/ 1096714 h 2673102"/>
                  <a:gd name="connsiteX153" fmla="*/ 21633 w 1739754"/>
                  <a:gd name="connsiteY153" fmla="*/ 1025277 h 2673102"/>
                  <a:gd name="connsiteX154" fmla="*/ 202 w 1739754"/>
                  <a:gd name="connsiteY154" fmla="*/ 980033 h 2673102"/>
                  <a:gd name="connsiteX155" fmla="*/ 14490 w 1739754"/>
                  <a:gd name="connsiteY155" fmla="*/ 930027 h 2673102"/>
                  <a:gd name="connsiteX156" fmla="*/ 69259 w 1739754"/>
                  <a:gd name="connsiteY156" fmla="*/ 810964 h 2673102"/>
                  <a:gd name="connsiteX157" fmla="*/ 221658 w 1739754"/>
                  <a:gd name="connsiteY157" fmla="*/ 601414 h 2673102"/>
                  <a:gd name="connsiteX158" fmla="*/ 288333 w 1739754"/>
                  <a:gd name="connsiteY158" fmla="*/ 515689 h 2673102"/>
                  <a:gd name="connsiteX159" fmla="*/ 412158 w 1739754"/>
                  <a:gd name="connsiteY159" fmla="*/ 406152 h 2673102"/>
                  <a:gd name="connsiteX160" fmla="*/ 535983 w 1739754"/>
                  <a:gd name="connsiteY160" fmla="*/ 291851 h 2673102"/>
                  <a:gd name="connsiteX161" fmla="*/ 640758 w 1739754"/>
                  <a:gd name="connsiteY161" fmla="*/ 229939 h 2673102"/>
                  <a:gd name="connsiteX162" fmla="*/ 733628 w 1739754"/>
                  <a:gd name="connsiteY162" fmla="*/ 168026 h 2673102"/>
                  <a:gd name="connsiteX163" fmla="*/ 978896 w 1739754"/>
                  <a:gd name="connsiteY163" fmla="*/ 63251 h 2673102"/>
                  <a:gd name="connsiteX164" fmla="*/ 1159871 w 1739754"/>
                  <a:gd name="connsiteY164" fmla="*/ 6102 h 2673102"/>
                  <a:gd name="connsiteX165" fmla="*/ 1202733 w 1739754"/>
                  <a:gd name="connsiteY16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74158 w 1739754"/>
                  <a:gd name="connsiteY2" fmla="*/ 110877 h 2673102"/>
                  <a:gd name="connsiteX3" fmla="*/ 1164633 w 1739754"/>
                  <a:gd name="connsiteY3" fmla="*/ 129927 h 2673102"/>
                  <a:gd name="connsiteX4" fmla="*/ 1164633 w 1739754"/>
                  <a:gd name="connsiteY4" fmla="*/ 206127 h 2673102"/>
                  <a:gd name="connsiteX5" fmla="*/ 1202733 w 1739754"/>
                  <a:gd name="connsiteY5" fmla="*/ 258514 h 2673102"/>
                  <a:gd name="connsiteX6" fmla="*/ 1245596 w 1739754"/>
                  <a:gd name="connsiteY6" fmla="*/ 296614 h 2673102"/>
                  <a:gd name="connsiteX7" fmla="*/ 1255121 w 1739754"/>
                  <a:gd name="connsiteY7" fmla="*/ 315664 h 2673102"/>
                  <a:gd name="connsiteX8" fmla="*/ 1250358 w 1739754"/>
                  <a:gd name="connsiteY8" fmla="*/ 344239 h 2673102"/>
                  <a:gd name="connsiteX9" fmla="*/ 1245596 w 1739754"/>
                  <a:gd name="connsiteY9" fmla="*/ 363289 h 2673102"/>
                  <a:gd name="connsiteX10" fmla="*/ 1250358 w 1739754"/>
                  <a:gd name="connsiteY10" fmla="*/ 425202 h 2673102"/>
                  <a:gd name="connsiteX11" fmla="*/ 1269408 w 1739754"/>
                  <a:gd name="connsiteY11" fmla="*/ 463302 h 2673102"/>
                  <a:gd name="connsiteX12" fmla="*/ 1278933 w 1739754"/>
                  <a:gd name="connsiteY12" fmla="*/ 477589 h 2673102"/>
                  <a:gd name="connsiteX13" fmla="*/ 1293221 w 1739754"/>
                  <a:gd name="connsiteY13" fmla="*/ 487114 h 2673102"/>
                  <a:gd name="connsiteX14" fmla="*/ 1350371 w 1739754"/>
                  <a:gd name="connsiteY14" fmla="*/ 510927 h 2673102"/>
                  <a:gd name="connsiteX15" fmla="*/ 1378946 w 1739754"/>
                  <a:gd name="connsiteY15" fmla="*/ 520452 h 2673102"/>
                  <a:gd name="connsiteX16" fmla="*/ 1407521 w 1739754"/>
                  <a:gd name="connsiteY16" fmla="*/ 539502 h 2673102"/>
                  <a:gd name="connsiteX17" fmla="*/ 1469433 w 1739754"/>
                  <a:gd name="connsiteY17" fmla="*/ 568077 h 2673102"/>
                  <a:gd name="connsiteX18" fmla="*/ 1521821 w 1739754"/>
                  <a:gd name="connsiteY18" fmla="*/ 587127 h 2673102"/>
                  <a:gd name="connsiteX19" fmla="*/ 1540871 w 1739754"/>
                  <a:gd name="connsiteY19" fmla="*/ 596652 h 2673102"/>
                  <a:gd name="connsiteX20" fmla="*/ 1559921 w 1739754"/>
                  <a:gd name="connsiteY20" fmla="*/ 601414 h 2673102"/>
                  <a:gd name="connsiteX21" fmla="*/ 1607546 w 1739754"/>
                  <a:gd name="connsiteY21" fmla="*/ 639514 h 2673102"/>
                  <a:gd name="connsiteX22" fmla="*/ 1636121 w 1739754"/>
                  <a:gd name="connsiteY22" fmla="*/ 672852 h 2673102"/>
                  <a:gd name="connsiteX23" fmla="*/ 1650408 w 1739754"/>
                  <a:gd name="connsiteY23" fmla="*/ 687139 h 2673102"/>
                  <a:gd name="connsiteX24" fmla="*/ 1669458 w 1739754"/>
                  <a:gd name="connsiteY24" fmla="*/ 696664 h 2673102"/>
                  <a:gd name="connsiteX25" fmla="*/ 1683746 w 1739754"/>
                  <a:gd name="connsiteY25" fmla="*/ 706189 h 2673102"/>
                  <a:gd name="connsiteX26" fmla="*/ 1709940 w 1739754"/>
                  <a:gd name="connsiteY26" fmla="*/ 749052 h 2673102"/>
                  <a:gd name="connsiteX27" fmla="*/ 1702796 w 1739754"/>
                  <a:gd name="connsiteY27" fmla="*/ 853827 h 2673102"/>
                  <a:gd name="connsiteX28" fmla="*/ 1664696 w 1739754"/>
                  <a:gd name="connsiteY28" fmla="*/ 887164 h 2673102"/>
                  <a:gd name="connsiteX29" fmla="*/ 1650408 w 1739754"/>
                  <a:gd name="connsiteY29" fmla="*/ 901452 h 2673102"/>
                  <a:gd name="connsiteX30" fmla="*/ 1598021 w 1739754"/>
                  <a:gd name="connsiteY30" fmla="*/ 906214 h 2673102"/>
                  <a:gd name="connsiteX31" fmla="*/ 1555158 w 1739754"/>
                  <a:gd name="connsiteY31" fmla="*/ 925264 h 2673102"/>
                  <a:gd name="connsiteX32" fmla="*/ 1531346 w 1739754"/>
                  <a:gd name="connsiteY32" fmla="*/ 939552 h 2673102"/>
                  <a:gd name="connsiteX33" fmla="*/ 1498008 w 1739754"/>
                  <a:gd name="connsiteY33" fmla="*/ 987177 h 2673102"/>
                  <a:gd name="connsiteX34" fmla="*/ 1345608 w 1739754"/>
                  <a:gd name="connsiteY34" fmla="*/ 1030039 h 2673102"/>
                  <a:gd name="connsiteX35" fmla="*/ 1297983 w 1739754"/>
                  <a:gd name="connsiteY35" fmla="*/ 1053852 h 2673102"/>
                  <a:gd name="connsiteX36" fmla="*/ 1231308 w 1739754"/>
                  <a:gd name="connsiteY36" fmla="*/ 1082427 h 2673102"/>
                  <a:gd name="connsiteX37" fmla="*/ 1126533 w 1739754"/>
                  <a:gd name="connsiteY37" fmla="*/ 1096714 h 2673102"/>
                  <a:gd name="connsiteX38" fmla="*/ 1102721 w 1739754"/>
                  <a:gd name="connsiteY38" fmla="*/ 1101477 h 2673102"/>
                  <a:gd name="connsiteX39" fmla="*/ 1078908 w 1739754"/>
                  <a:gd name="connsiteY39" fmla="*/ 1111002 h 2673102"/>
                  <a:gd name="connsiteX40" fmla="*/ 964608 w 1739754"/>
                  <a:gd name="connsiteY40" fmla="*/ 1106239 h 2673102"/>
                  <a:gd name="connsiteX41" fmla="*/ 859833 w 1739754"/>
                  <a:gd name="connsiteY41" fmla="*/ 1058614 h 2673102"/>
                  <a:gd name="connsiteX42" fmla="*/ 812208 w 1739754"/>
                  <a:gd name="connsiteY42" fmla="*/ 1034802 h 2673102"/>
                  <a:gd name="connsiteX43" fmla="*/ 788396 w 1739754"/>
                  <a:gd name="connsiteY43" fmla="*/ 1020514 h 2673102"/>
                  <a:gd name="connsiteX44" fmla="*/ 769346 w 1739754"/>
                  <a:gd name="connsiteY44" fmla="*/ 1006227 h 2673102"/>
                  <a:gd name="connsiteX45" fmla="*/ 678858 w 1739754"/>
                  <a:gd name="connsiteY45" fmla="*/ 958602 h 2673102"/>
                  <a:gd name="connsiteX46" fmla="*/ 645521 w 1739754"/>
                  <a:gd name="connsiteY46" fmla="*/ 939552 h 2673102"/>
                  <a:gd name="connsiteX47" fmla="*/ 526458 w 1739754"/>
                  <a:gd name="connsiteY47" fmla="*/ 910977 h 2673102"/>
                  <a:gd name="connsiteX48" fmla="*/ 483596 w 1739754"/>
                  <a:gd name="connsiteY48" fmla="*/ 891927 h 2673102"/>
                  <a:gd name="connsiteX49" fmla="*/ 421683 w 1739754"/>
                  <a:gd name="connsiteY49" fmla="*/ 882402 h 2673102"/>
                  <a:gd name="connsiteX50" fmla="*/ 321671 w 1739754"/>
                  <a:gd name="connsiteY50" fmla="*/ 896689 h 2673102"/>
                  <a:gd name="connsiteX51" fmla="*/ 307383 w 1739754"/>
                  <a:gd name="connsiteY51" fmla="*/ 910977 h 2673102"/>
                  <a:gd name="connsiteX52" fmla="*/ 283571 w 1739754"/>
                  <a:gd name="connsiteY52" fmla="*/ 949077 h 2673102"/>
                  <a:gd name="connsiteX53" fmla="*/ 269283 w 1739754"/>
                  <a:gd name="connsiteY53" fmla="*/ 987177 h 2673102"/>
                  <a:gd name="connsiteX54" fmla="*/ 264521 w 1739754"/>
                  <a:gd name="connsiteY54" fmla="*/ 1039564 h 2673102"/>
                  <a:gd name="connsiteX55" fmla="*/ 264521 w 1739754"/>
                  <a:gd name="connsiteY55" fmla="*/ 1120527 h 2673102"/>
                  <a:gd name="connsiteX56" fmla="*/ 297858 w 1739754"/>
                  <a:gd name="connsiteY56" fmla="*/ 1153864 h 2673102"/>
                  <a:gd name="connsiteX57" fmla="*/ 326433 w 1739754"/>
                  <a:gd name="connsiteY57" fmla="*/ 1163389 h 2673102"/>
                  <a:gd name="connsiteX58" fmla="*/ 326433 w 1739754"/>
                  <a:gd name="connsiteY58" fmla="*/ 1244352 h 2673102"/>
                  <a:gd name="connsiteX59" fmla="*/ 312146 w 1739754"/>
                  <a:gd name="connsiteY59" fmla="*/ 1258639 h 2673102"/>
                  <a:gd name="connsiteX60" fmla="*/ 259758 w 1739754"/>
                  <a:gd name="connsiteY60" fmla="*/ 1296739 h 2673102"/>
                  <a:gd name="connsiteX61" fmla="*/ 240708 w 1739754"/>
                  <a:gd name="connsiteY61" fmla="*/ 1325314 h 2673102"/>
                  <a:gd name="connsiteX62" fmla="*/ 250233 w 1739754"/>
                  <a:gd name="connsiteY62" fmla="*/ 1425327 h 2673102"/>
                  <a:gd name="connsiteX63" fmla="*/ 278808 w 1739754"/>
                  <a:gd name="connsiteY63" fmla="*/ 1472952 h 2673102"/>
                  <a:gd name="connsiteX64" fmla="*/ 293096 w 1739754"/>
                  <a:gd name="connsiteY64" fmla="*/ 1492002 h 2673102"/>
                  <a:gd name="connsiteX65" fmla="*/ 383583 w 1739754"/>
                  <a:gd name="connsiteY65" fmla="*/ 1525339 h 2673102"/>
                  <a:gd name="connsiteX66" fmla="*/ 407396 w 1739754"/>
                  <a:gd name="connsiteY66" fmla="*/ 1492002 h 2673102"/>
                  <a:gd name="connsiteX67" fmla="*/ 412158 w 1739754"/>
                  <a:gd name="connsiteY67" fmla="*/ 1468189 h 2673102"/>
                  <a:gd name="connsiteX68" fmla="*/ 416921 w 1739754"/>
                  <a:gd name="connsiteY68" fmla="*/ 1449139 h 2673102"/>
                  <a:gd name="connsiteX69" fmla="*/ 445496 w 1739754"/>
                  <a:gd name="connsiteY69" fmla="*/ 1439614 h 2673102"/>
                  <a:gd name="connsiteX70" fmla="*/ 545508 w 1739754"/>
                  <a:gd name="connsiteY70" fmla="*/ 1458664 h 2673102"/>
                  <a:gd name="connsiteX71" fmla="*/ 555033 w 1739754"/>
                  <a:gd name="connsiteY71" fmla="*/ 1482477 h 2673102"/>
                  <a:gd name="connsiteX72" fmla="*/ 564558 w 1739754"/>
                  <a:gd name="connsiteY72" fmla="*/ 1515814 h 2673102"/>
                  <a:gd name="connsiteX73" fmla="*/ 550271 w 1739754"/>
                  <a:gd name="connsiteY73" fmla="*/ 1534864 h 2673102"/>
                  <a:gd name="connsiteX74" fmla="*/ 550271 w 1739754"/>
                  <a:gd name="connsiteY74" fmla="*/ 1601539 h 2673102"/>
                  <a:gd name="connsiteX75" fmla="*/ 559796 w 1739754"/>
                  <a:gd name="connsiteY75" fmla="*/ 1620589 h 2673102"/>
                  <a:gd name="connsiteX76" fmla="*/ 626471 w 1739754"/>
                  <a:gd name="connsiteY76" fmla="*/ 1639639 h 2673102"/>
                  <a:gd name="connsiteX77" fmla="*/ 645521 w 1739754"/>
                  <a:gd name="connsiteY77" fmla="*/ 1592014 h 2673102"/>
                  <a:gd name="connsiteX78" fmla="*/ 702671 w 1739754"/>
                  <a:gd name="connsiteY78" fmla="*/ 1620589 h 2673102"/>
                  <a:gd name="connsiteX79" fmla="*/ 731246 w 1739754"/>
                  <a:gd name="connsiteY79" fmla="*/ 1630114 h 2673102"/>
                  <a:gd name="connsiteX80" fmla="*/ 783633 w 1739754"/>
                  <a:gd name="connsiteY80" fmla="*/ 1663452 h 2673102"/>
                  <a:gd name="connsiteX81" fmla="*/ 859833 w 1739754"/>
                  <a:gd name="connsiteY81" fmla="*/ 1687264 h 2673102"/>
                  <a:gd name="connsiteX82" fmla="*/ 878883 w 1739754"/>
                  <a:gd name="connsiteY82" fmla="*/ 1701552 h 2673102"/>
                  <a:gd name="connsiteX83" fmla="*/ 888408 w 1739754"/>
                  <a:gd name="connsiteY83" fmla="*/ 1739652 h 2673102"/>
                  <a:gd name="connsiteX84" fmla="*/ 897933 w 1739754"/>
                  <a:gd name="connsiteY84" fmla="*/ 1782514 h 2673102"/>
                  <a:gd name="connsiteX85" fmla="*/ 940796 w 1739754"/>
                  <a:gd name="connsiteY85" fmla="*/ 1892052 h 2673102"/>
                  <a:gd name="connsiteX86" fmla="*/ 950321 w 1739754"/>
                  <a:gd name="connsiteY86" fmla="*/ 1906339 h 2673102"/>
                  <a:gd name="connsiteX87" fmla="*/ 959846 w 1739754"/>
                  <a:gd name="connsiteY87" fmla="*/ 1939677 h 2673102"/>
                  <a:gd name="connsiteX88" fmla="*/ 974133 w 1739754"/>
                  <a:gd name="connsiteY88" fmla="*/ 1977777 h 2673102"/>
                  <a:gd name="connsiteX89" fmla="*/ 964608 w 1739754"/>
                  <a:gd name="connsiteY89" fmla="*/ 2082552 h 2673102"/>
                  <a:gd name="connsiteX90" fmla="*/ 955083 w 1739754"/>
                  <a:gd name="connsiteY90" fmla="*/ 2101602 h 2673102"/>
                  <a:gd name="connsiteX91" fmla="*/ 926508 w 1739754"/>
                  <a:gd name="connsiteY91" fmla="*/ 2144464 h 2673102"/>
                  <a:gd name="connsiteX92" fmla="*/ 907458 w 1739754"/>
                  <a:gd name="connsiteY92" fmla="*/ 2192089 h 2673102"/>
                  <a:gd name="connsiteX93" fmla="*/ 902696 w 1739754"/>
                  <a:gd name="connsiteY93" fmla="*/ 2211139 h 2673102"/>
                  <a:gd name="connsiteX94" fmla="*/ 893171 w 1739754"/>
                  <a:gd name="connsiteY94" fmla="*/ 2239714 h 2673102"/>
                  <a:gd name="connsiteX95" fmla="*/ 897933 w 1739754"/>
                  <a:gd name="connsiteY95" fmla="*/ 2287339 h 2673102"/>
                  <a:gd name="connsiteX96" fmla="*/ 893171 w 1739754"/>
                  <a:gd name="connsiteY96" fmla="*/ 2396877 h 2673102"/>
                  <a:gd name="connsiteX97" fmla="*/ 688383 w 1739754"/>
                  <a:gd name="connsiteY97" fmla="*/ 2449264 h 2673102"/>
                  <a:gd name="connsiteX98" fmla="*/ 655046 w 1739754"/>
                  <a:gd name="connsiteY98" fmla="*/ 2473077 h 2673102"/>
                  <a:gd name="connsiteX99" fmla="*/ 607421 w 1739754"/>
                  <a:gd name="connsiteY99" fmla="*/ 2511177 h 2673102"/>
                  <a:gd name="connsiteX100" fmla="*/ 574083 w 1739754"/>
                  <a:gd name="connsiteY100" fmla="*/ 2534989 h 2673102"/>
                  <a:gd name="connsiteX101" fmla="*/ 540746 w 1739754"/>
                  <a:gd name="connsiteY101" fmla="*/ 2554039 h 2673102"/>
                  <a:gd name="connsiteX102" fmla="*/ 497883 w 1739754"/>
                  <a:gd name="connsiteY102" fmla="*/ 2587377 h 2673102"/>
                  <a:gd name="connsiteX103" fmla="*/ 483596 w 1739754"/>
                  <a:gd name="connsiteY103" fmla="*/ 2601664 h 2673102"/>
                  <a:gd name="connsiteX104" fmla="*/ 459783 w 1739754"/>
                  <a:gd name="connsiteY104" fmla="*/ 2620714 h 2673102"/>
                  <a:gd name="connsiteX105" fmla="*/ 450258 w 1739754"/>
                  <a:gd name="connsiteY105" fmla="*/ 2635002 h 2673102"/>
                  <a:gd name="connsiteX106" fmla="*/ 416921 w 1739754"/>
                  <a:gd name="connsiteY106" fmla="*/ 2654052 h 2673102"/>
                  <a:gd name="connsiteX107" fmla="*/ 374058 w 1739754"/>
                  <a:gd name="connsiteY107" fmla="*/ 2673102 h 2673102"/>
                  <a:gd name="connsiteX108" fmla="*/ 359771 w 1739754"/>
                  <a:gd name="connsiteY108" fmla="*/ 2663577 h 2673102"/>
                  <a:gd name="connsiteX109" fmla="*/ 345483 w 1739754"/>
                  <a:gd name="connsiteY109" fmla="*/ 2635002 h 2673102"/>
                  <a:gd name="connsiteX110" fmla="*/ 335958 w 1739754"/>
                  <a:gd name="connsiteY110" fmla="*/ 2620714 h 2673102"/>
                  <a:gd name="connsiteX111" fmla="*/ 297858 w 1739754"/>
                  <a:gd name="connsiteY111" fmla="*/ 2611189 h 2673102"/>
                  <a:gd name="connsiteX112" fmla="*/ 278808 w 1739754"/>
                  <a:gd name="connsiteY112" fmla="*/ 2592139 h 2673102"/>
                  <a:gd name="connsiteX113" fmla="*/ 274046 w 1739754"/>
                  <a:gd name="connsiteY113" fmla="*/ 2573089 h 2673102"/>
                  <a:gd name="connsiteX114" fmla="*/ 235946 w 1739754"/>
                  <a:gd name="connsiteY114" fmla="*/ 2539752 h 2673102"/>
                  <a:gd name="connsiteX115" fmla="*/ 231183 w 1739754"/>
                  <a:gd name="connsiteY115" fmla="*/ 2525464 h 2673102"/>
                  <a:gd name="connsiteX116" fmla="*/ 226421 w 1739754"/>
                  <a:gd name="connsiteY116" fmla="*/ 2506414 h 2673102"/>
                  <a:gd name="connsiteX117" fmla="*/ 212133 w 1739754"/>
                  <a:gd name="connsiteY117" fmla="*/ 2492127 h 2673102"/>
                  <a:gd name="connsiteX118" fmla="*/ 154983 w 1739754"/>
                  <a:gd name="connsiteY118" fmla="*/ 2439739 h 2673102"/>
                  <a:gd name="connsiteX119" fmla="*/ 150221 w 1739754"/>
                  <a:gd name="connsiteY119" fmla="*/ 2415927 h 2673102"/>
                  <a:gd name="connsiteX120" fmla="*/ 135933 w 1739754"/>
                  <a:gd name="connsiteY120" fmla="*/ 2358777 h 2673102"/>
                  <a:gd name="connsiteX121" fmla="*/ 121646 w 1739754"/>
                  <a:gd name="connsiteY121" fmla="*/ 2315914 h 2673102"/>
                  <a:gd name="connsiteX122" fmla="*/ 107358 w 1739754"/>
                  <a:gd name="connsiteY122" fmla="*/ 2258764 h 2673102"/>
                  <a:gd name="connsiteX123" fmla="*/ 102596 w 1739754"/>
                  <a:gd name="connsiteY123" fmla="*/ 2234952 h 2673102"/>
                  <a:gd name="connsiteX124" fmla="*/ 93071 w 1739754"/>
                  <a:gd name="connsiteY124" fmla="*/ 2211139 h 2673102"/>
                  <a:gd name="connsiteX125" fmla="*/ 88308 w 1739754"/>
                  <a:gd name="connsiteY125" fmla="*/ 2187327 h 2673102"/>
                  <a:gd name="connsiteX126" fmla="*/ 78783 w 1739754"/>
                  <a:gd name="connsiteY126" fmla="*/ 2111127 h 2673102"/>
                  <a:gd name="connsiteX127" fmla="*/ 97833 w 1739754"/>
                  <a:gd name="connsiteY127" fmla="*/ 1944439 h 2673102"/>
                  <a:gd name="connsiteX128" fmla="*/ 107358 w 1739754"/>
                  <a:gd name="connsiteY128" fmla="*/ 1930152 h 2673102"/>
                  <a:gd name="connsiteX129" fmla="*/ 126408 w 1739754"/>
                  <a:gd name="connsiteY129" fmla="*/ 1901577 h 2673102"/>
                  <a:gd name="connsiteX130" fmla="*/ 135933 w 1739754"/>
                  <a:gd name="connsiteY130" fmla="*/ 1868239 h 2673102"/>
                  <a:gd name="connsiteX131" fmla="*/ 131171 w 1739754"/>
                  <a:gd name="connsiteY131" fmla="*/ 1825377 h 2673102"/>
                  <a:gd name="connsiteX132" fmla="*/ 112121 w 1739754"/>
                  <a:gd name="connsiteY132" fmla="*/ 1820614 h 2673102"/>
                  <a:gd name="connsiteX133" fmla="*/ 102596 w 1739754"/>
                  <a:gd name="connsiteY133" fmla="*/ 1806327 h 2673102"/>
                  <a:gd name="connsiteX134" fmla="*/ 145458 w 1739754"/>
                  <a:gd name="connsiteY134" fmla="*/ 1720602 h 2673102"/>
                  <a:gd name="connsiteX135" fmla="*/ 159746 w 1739754"/>
                  <a:gd name="connsiteY135" fmla="*/ 1715839 h 2673102"/>
                  <a:gd name="connsiteX136" fmla="*/ 174033 w 1739754"/>
                  <a:gd name="connsiteY136" fmla="*/ 1696789 h 2673102"/>
                  <a:gd name="connsiteX137" fmla="*/ 188321 w 1739754"/>
                  <a:gd name="connsiteY137" fmla="*/ 1687264 h 2673102"/>
                  <a:gd name="connsiteX138" fmla="*/ 202608 w 1739754"/>
                  <a:gd name="connsiteY138" fmla="*/ 1653927 h 2673102"/>
                  <a:gd name="connsiteX139" fmla="*/ 193083 w 1739754"/>
                  <a:gd name="connsiteY139" fmla="*/ 1606302 h 2673102"/>
                  <a:gd name="connsiteX140" fmla="*/ 164508 w 1739754"/>
                  <a:gd name="connsiteY140" fmla="*/ 1596777 h 2673102"/>
                  <a:gd name="connsiteX141" fmla="*/ 154983 w 1739754"/>
                  <a:gd name="connsiteY141" fmla="*/ 1549152 h 2673102"/>
                  <a:gd name="connsiteX142" fmla="*/ 150221 w 1739754"/>
                  <a:gd name="connsiteY142" fmla="*/ 1411039 h 2673102"/>
                  <a:gd name="connsiteX143" fmla="*/ 140696 w 1739754"/>
                  <a:gd name="connsiteY143" fmla="*/ 1377702 h 2673102"/>
                  <a:gd name="connsiteX144" fmla="*/ 121646 w 1739754"/>
                  <a:gd name="connsiteY144" fmla="*/ 1311027 h 2673102"/>
                  <a:gd name="connsiteX145" fmla="*/ 116883 w 1739754"/>
                  <a:gd name="connsiteY145" fmla="*/ 1258639 h 2673102"/>
                  <a:gd name="connsiteX146" fmla="*/ 107358 w 1739754"/>
                  <a:gd name="connsiteY146" fmla="*/ 1244352 h 2673102"/>
                  <a:gd name="connsiteX147" fmla="*/ 93071 w 1739754"/>
                  <a:gd name="connsiteY147" fmla="*/ 1196727 h 2673102"/>
                  <a:gd name="connsiteX148" fmla="*/ 78783 w 1739754"/>
                  <a:gd name="connsiteY148" fmla="*/ 1177677 h 2673102"/>
                  <a:gd name="connsiteX149" fmla="*/ 59733 w 1739754"/>
                  <a:gd name="connsiteY149" fmla="*/ 1139577 h 2673102"/>
                  <a:gd name="connsiteX150" fmla="*/ 50208 w 1739754"/>
                  <a:gd name="connsiteY150" fmla="*/ 1111002 h 2673102"/>
                  <a:gd name="connsiteX151" fmla="*/ 45446 w 1739754"/>
                  <a:gd name="connsiteY151" fmla="*/ 1096714 h 2673102"/>
                  <a:gd name="connsiteX152" fmla="*/ 21633 w 1739754"/>
                  <a:gd name="connsiteY152" fmla="*/ 1025277 h 2673102"/>
                  <a:gd name="connsiteX153" fmla="*/ 202 w 1739754"/>
                  <a:gd name="connsiteY153" fmla="*/ 980033 h 2673102"/>
                  <a:gd name="connsiteX154" fmla="*/ 14490 w 1739754"/>
                  <a:gd name="connsiteY154" fmla="*/ 930027 h 2673102"/>
                  <a:gd name="connsiteX155" fmla="*/ 69259 w 1739754"/>
                  <a:gd name="connsiteY155" fmla="*/ 810964 h 2673102"/>
                  <a:gd name="connsiteX156" fmla="*/ 221658 w 1739754"/>
                  <a:gd name="connsiteY156" fmla="*/ 601414 h 2673102"/>
                  <a:gd name="connsiteX157" fmla="*/ 288333 w 1739754"/>
                  <a:gd name="connsiteY157" fmla="*/ 515689 h 2673102"/>
                  <a:gd name="connsiteX158" fmla="*/ 412158 w 1739754"/>
                  <a:gd name="connsiteY158" fmla="*/ 406152 h 2673102"/>
                  <a:gd name="connsiteX159" fmla="*/ 535983 w 1739754"/>
                  <a:gd name="connsiteY159" fmla="*/ 291851 h 2673102"/>
                  <a:gd name="connsiteX160" fmla="*/ 640758 w 1739754"/>
                  <a:gd name="connsiteY160" fmla="*/ 229939 h 2673102"/>
                  <a:gd name="connsiteX161" fmla="*/ 733628 w 1739754"/>
                  <a:gd name="connsiteY161" fmla="*/ 168026 h 2673102"/>
                  <a:gd name="connsiteX162" fmla="*/ 978896 w 1739754"/>
                  <a:gd name="connsiteY162" fmla="*/ 63251 h 2673102"/>
                  <a:gd name="connsiteX163" fmla="*/ 1159871 w 1739754"/>
                  <a:gd name="connsiteY163" fmla="*/ 6102 h 2673102"/>
                  <a:gd name="connsiteX164" fmla="*/ 1202733 w 1739754"/>
                  <a:gd name="connsiteY16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45596 w 1739754"/>
                  <a:gd name="connsiteY8" fmla="*/ 363289 h 2673102"/>
                  <a:gd name="connsiteX9" fmla="*/ 1250358 w 1739754"/>
                  <a:gd name="connsiteY9" fmla="*/ 425202 h 2673102"/>
                  <a:gd name="connsiteX10" fmla="*/ 1269408 w 1739754"/>
                  <a:gd name="connsiteY10" fmla="*/ 463302 h 2673102"/>
                  <a:gd name="connsiteX11" fmla="*/ 1278933 w 1739754"/>
                  <a:gd name="connsiteY11" fmla="*/ 477589 h 2673102"/>
                  <a:gd name="connsiteX12" fmla="*/ 1293221 w 1739754"/>
                  <a:gd name="connsiteY12" fmla="*/ 487114 h 2673102"/>
                  <a:gd name="connsiteX13" fmla="*/ 1350371 w 1739754"/>
                  <a:gd name="connsiteY13" fmla="*/ 510927 h 2673102"/>
                  <a:gd name="connsiteX14" fmla="*/ 1378946 w 1739754"/>
                  <a:gd name="connsiteY14" fmla="*/ 520452 h 2673102"/>
                  <a:gd name="connsiteX15" fmla="*/ 1407521 w 1739754"/>
                  <a:gd name="connsiteY15" fmla="*/ 539502 h 2673102"/>
                  <a:gd name="connsiteX16" fmla="*/ 1469433 w 1739754"/>
                  <a:gd name="connsiteY16" fmla="*/ 568077 h 2673102"/>
                  <a:gd name="connsiteX17" fmla="*/ 1521821 w 1739754"/>
                  <a:gd name="connsiteY17" fmla="*/ 587127 h 2673102"/>
                  <a:gd name="connsiteX18" fmla="*/ 1540871 w 1739754"/>
                  <a:gd name="connsiteY18" fmla="*/ 596652 h 2673102"/>
                  <a:gd name="connsiteX19" fmla="*/ 1559921 w 1739754"/>
                  <a:gd name="connsiteY19" fmla="*/ 601414 h 2673102"/>
                  <a:gd name="connsiteX20" fmla="*/ 1607546 w 1739754"/>
                  <a:gd name="connsiteY20" fmla="*/ 639514 h 2673102"/>
                  <a:gd name="connsiteX21" fmla="*/ 1636121 w 1739754"/>
                  <a:gd name="connsiteY21" fmla="*/ 672852 h 2673102"/>
                  <a:gd name="connsiteX22" fmla="*/ 1650408 w 1739754"/>
                  <a:gd name="connsiteY22" fmla="*/ 687139 h 2673102"/>
                  <a:gd name="connsiteX23" fmla="*/ 1669458 w 1739754"/>
                  <a:gd name="connsiteY23" fmla="*/ 696664 h 2673102"/>
                  <a:gd name="connsiteX24" fmla="*/ 1683746 w 1739754"/>
                  <a:gd name="connsiteY24" fmla="*/ 706189 h 2673102"/>
                  <a:gd name="connsiteX25" fmla="*/ 1709940 w 1739754"/>
                  <a:gd name="connsiteY25" fmla="*/ 749052 h 2673102"/>
                  <a:gd name="connsiteX26" fmla="*/ 1702796 w 1739754"/>
                  <a:gd name="connsiteY26" fmla="*/ 853827 h 2673102"/>
                  <a:gd name="connsiteX27" fmla="*/ 1664696 w 1739754"/>
                  <a:gd name="connsiteY27" fmla="*/ 887164 h 2673102"/>
                  <a:gd name="connsiteX28" fmla="*/ 1650408 w 1739754"/>
                  <a:gd name="connsiteY28" fmla="*/ 901452 h 2673102"/>
                  <a:gd name="connsiteX29" fmla="*/ 1598021 w 1739754"/>
                  <a:gd name="connsiteY29" fmla="*/ 906214 h 2673102"/>
                  <a:gd name="connsiteX30" fmla="*/ 1555158 w 1739754"/>
                  <a:gd name="connsiteY30" fmla="*/ 925264 h 2673102"/>
                  <a:gd name="connsiteX31" fmla="*/ 1531346 w 1739754"/>
                  <a:gd name="connsiteY31" fmla="*/ 939552 h 2673102"/>
                  <a:gd name="connsiteX32" fmla="*/ 1498008 w 1739754"/>
                  <a:gd name="connsiteY32" fmla="*/ 987177 h 2673102"/>
                  <a:gd name="connsiteX33" fmla="*/ 1345608 w 1739754"/>
                  <a:gd name="connsiteY33" fmla="*/ 1030039 h 2673102"/>
                  <a:gd name="connsiteX34" fmla="*/ 1297983 w 1739754"/>
                  <a:gd name="connsiteY34" fmla="*/ 1053852 h 2673102"/>
                  <a:gd name="connsiteX35" fmla="*/ 1231308 w 1739754"/>
                  <a:gd name="connsiteY35" fmla="*/ 1082427 h 2673102"/>
                  <a:gd name="connsiteX36" fmla="*/ 1126533 w 1739754"/>
                  <a:gd name="connsiteY36" fmla="*/ 1096714 h 2673102"/>
                  <a:gd name="connsiteX37" fmla="*/ 1102721 w 1739754"/>
                  <a:gd name="connsiteY37" fmla="*/ 1101477 h 2673102"/>
                  <a:gd name="connsiteX38" fmla="*/ 1078908 w 1739754"/>
                  <a:gd name="connsiteY38" fmla="*/ 1111002 h 2673102"/>
                  <a:gd name="connsiteX39" fmla="*/ 964608 w 1739754"/>
                  <a:gd name="connsiteY39" fmla="*/ 1106239 h 2673102"/>
                  <a:gd name="connsiteX40" fmla="*/ 859833 w 1739754"/>
                  <a:gd name="connsiteY40" fmla="*/ 1058614 h 2673102"/>
                  <a:gd name="connsiteX41" fmla="*/ 812208 w 1739754"/>
                  <a:gd name="connsiteY41" fmla="*/ 1034802 h 2673102"/>
                  <a:gd name="connsiteX42" fmla="*/ 788396 w 1739754"/>
                  <a:gd name="connsiteY42" fmla="*/ 1020514 h 2673102"/>
                  <a:gd name="connsiteX43" fmla="*/ 769346 w 1739754"/>
                  <a:gd name="connsiteY43" fmla="*/ 1006227 h 2673102"/>
                  <a:gd name="connsiteX44" fmla="*/ 678858 w 1739754"/>
                  <a:gd name="connsiteY44" fmla="*/ 958602 h 2673102"/>
                  <a:gd name="connsiteX45" fmla="*/ 645521 w 1739754"/>
                  <a:gd name="connsiteY45" fmla="*/ 939552 h 2673102"/>
                  <a:gd name="connsiteX46" fmla="*/ 526458 w 1739754"/>
                  <a:gd name="connsiteY46" fmla="*/ 910977 h 2673102"/>
                  <a:gd name="connsiteX47" fmla="*/ 483596 w 1739754"/>
                  <a:gd name="connsiteY47" fmla="*/ 891927 h 2673102"/>
                  <a:gd name="connsiteX48" fmla="*/ 421683 w 1739754"/>
                  <a:gd name="connsiteY48" fmla="*/ 882402 h 2673102"/>
                  <a:gd name="connsiteX49" fmla="*/ 321671 w 1739754"/>
                  <a:gd name="connsiteY49" fmla="*/ 896689 h 2673102"/>
                  <a:gd name="connsiteX50" fmla="*/ 307383 w 1739754"/>
                  <a:gd name="connsiteY50" fmla="*/ 910977 h 2673102"/>
                  <a:gd name="connsiteX51" fmla="*/ 283571 w 1739754"/>
                  <a:gd name="connsiteY51" fmla="*/ 949077 h 2673102"/>
                  <a:gd name="connsiteX52" fmla="*/ 269283 w 1739754"/>
                  <a:gd name="connsiteY52" fmla="*/ 987177 h 2673102"/>
                  <a:gd name="connsiteX53" fmla="*/ 264521 w 1739754"/>
                  <a:gd name="connsiteY53" fmla="*/ 1039564 h 2673102"/>
                  <a:gd name="connsiteX54" fmla="*/ 264521 w 1739754"/>
                  <a:gd name="connsiteY54" fmla="*/ 1120527 h 2673102"/>
                  <a:gd name="connsiteX55" fmla="*/ 297858 w 1739754"/>
                  <a:gd name="connsiteY55" fmla="*/ 1153864 h 2673102"/>
                  <a:gd name="connsiteX56" fmla="*/ 326433 w 1739754"/>
                  <a:gd name="connsiteY56" fmla="*/ 1163389 h 2673102"/>
                  <a:gd name="connsiteX57" fmla="*/ 326433 w 1739754"/>
                  <a:gd name="connsiteY57" fmla="*/ 1244352 h 2673102"/>
                  <a:gd name="connsiteX58" fmla="*/ 312146 w 1739754"/>
                  <a:gd name="connsiteY58" fmla="*/ 1258639 h 2673102"/>
                  <a:gd name="connsiteX59" fmla="*/ 259758 w 1739754"/>
                  <a:gd name="connsiteY59" fmla="*/ 1296739 h 2673102"/>
                  <a:gd name="connsiteX60" fmla="*/ 240708 w 1739754"/>
                  <a:gd name="connsiteY60" fmla="*/ 1325314 h 2673102"/>
                  <a:gd name="connsiteX61" fmla="*/ 250233 w 1739754"/>
                  <a:gd name="connsiteY61" fmla="*/ 1425327 h 2673102"/>
                  <a:gd name="connsiteX62" fmla="*/ 278808 w 1739754"/>
                  <a:gd name="connsiteY62" fmla="*/ 1472952 h 2673102"/>
                  <a:gd name="connsiteX63" fmla="*/ 293096 w 1739754"/>
                  <a:gd name="connsiteY63" fmla="*/ 1492002 h 2673102"/>
                  <a:gd name="connsiteX64" fmla="*/ 383583 w 1739754"/>
                  <a:gd name="connsiteY64" fmla="*/ 1525339 h 2673102"/>
                  <a:gd name="connsiteX65" fmla="*/ 407396 w 1739754"/>
                  <a:gd name="connsiteY65" fmla="*/ 1492002 h 2673102"/>
                  <a:gd name="connsiteX66" fmla="*/ 412158 w 1739754"/>
                  <a:gd name="connsiteY66" fmla="*/ 1468189 h 2673102"/>
                  <a:gd name="connsiteX67" fmla="*/ 416921 w 1739754"/>
                  <a:gd name="connsiteY67" fmla="*/ 1449139 h 2673102"/>
                  <a:gd name="connsiteX68" fmla="*/ 445496 w 1739754"/>
                  <a:gd name="connsiteY68" fmla="*/ 1439614 h 2673102"/>
                  <a:gd name="connsiteX69" fmla="*/ 545508 w 1739754"/>
                  <a:gd name="connsiteY69" fmla="*/ 1458664 h 2673102"/>
                  <a:gd name="connsiteX70" fmla="*/ 555033 w 1739754"/>
                  <a:gd name="connsiteY70" fmla="*/ 1482477 h 2673102"/>
                  <a:gd name="connsiteX71" fmla="*/ 564558 w 1739754"/>
                  <a:gd name="connsiteY71" fmla="*/ 1515814 h 2673102"/>
                  <a:gd name="connsiteX72" fmla="*/ 550271 w 1739754"/>
                  <a:gd name="connsiteY72" fmla="*/ 1534864 h 2673102"/>
                  <a:gd name="connsiteX73" fmla="*/ 550271 w 1739754"/>
                  <a:gd name="connsiteY73" fmla="*/ 1601539 h 2673102"/>
                  <a:gd name="connsiteX74" fmla="*/ 559796 w 1739754"/>
                  <a:gd name="connsiteY74" fmla="*/ 1620589 h 2673102"/>
                  <a:gd name="connsiteX75" fmla="*/ 626471 w 1739754"/>
                  <a:gd name="connsiteY75" fmla="*/ 1639639 h 2673102"/>
                  <a:gd name="connsiteX76" fmla="*/ 645521 w 1739754"/>
                  <a:gd name="connsiteY76" fmla="*/ 1592014 h 2673102"/>
                  <a:gd name="connsiteX77" fmla="*/ 702671 w 1739754"/>
                  <a:gd name="connsiteY77" fmla="*/ 1620589 h 2673102"/>
                  <a:gd name="connsiteX78" fmla="*/ 731246 w 1739754"/>
                  <a:gd name="connsiteY78" fmla="*/ 1630114 h 2673102"/>
                  <a:gd name="connsiteX79" fmla="*/ 783633 w 1739754"/>
                  <a:gd name="connsiteY79" fmla="*/ 1663452 h 2673102"/>
                  <a:gd name="connsiteX80" fmla="*/ 859833 w 1739754"/>
                  <a:gd name="connsiteY80" fmla="*/ 1687264 h 2673102"/>
                  <a:gd name="connsiteX81" fmla="*/ 878883 w 1739754"/>
                  <a:gd name="connsiteY81" fmla="*/ 1701552 h 2673102"/>
                  <a:gd name="connsiteX82" fmla="*/ 888408 w 1739754"/>
                  <a:gd name="connsiteY82" fmla="*/ 1739652 h 2673102"/>
                  <a:gd name="connsiteX83" fmla="*/ 897933 w 1739754"/>
                  <a:gd name="connsiteY83" fmla="*/ 1782514 h 2673102"/>
                  <a:gd name="connsiteX84" fmla="*/ 940796 w 1739754"/>
                  <a:gd name="connsiteY84" fmla="*/ 1892052 h 2673102"/>
                  <a:gd name="connsiteX85" fmla="*/ 950321 w 1739754"/>
                  <a:gd name="connsiteY85" fmla="*/ 1906339 h 2673102"/>
                  <a:gd name="connsiteX86" fmla="*/ 959846 w 1739754"/>
                  <a:gd name="connsiteY86" fmla="*/ 1939677 h 2673102"/>
                  <a:gd name="connsiteX87" fmla="*/ 974133 w 1739754"/>
                  <a:gd name="connsiteY87" fmla="*/ 1977777 h 2673102"/>
                  <a:gd name="connsiteX88" fmla="*/ 964608 w 1739754"/>
                  <a:gd name="connsiteY88" fmla="*/ 2082552 h 2673102"/>
                  <a:gd name="connsiteX89" fmla="*/ 955083 w 1739754"/>
                  <a:gd name="connsiteY89" fmla="*/ 2101602 h 2673102"/>
                  <a:gd name="connsiteX90" fmla="*/ 926508 w 1739754"/>
                  <a:gd name="connsiteY90" fmla="*/ 2144464 h 2673102"/>
                  <a:gd name="connsiteX91" fmla="*/ 907458 w 1739754"/>
                  <a:gd name="connsiteY91" fmla="*/ 2192089 h 2673102"/>
                  <a:gd name="connsiteX92" fmla="*/ 902696 w 1739754"/>
                  <a:gd name="connsiteY92" fmla="*/ 2211139 h 2673102"/>
                  <a:gd name="connsiteX93" fmla="*/ 893171 w 1739754"/>
                  <a:gd name="connsiteY93" fmla="*/ 2239714 h 2673102"/>
                  <a:gd name="connsiteX94" fmla="*/ 897933 w 1739754"/>
                  <a:gd name="connsiteY94" fmla="*/ 2287339 h 2673102"/>
                  <a:gd name="connsiteX95" fmla="*/ 893171 w 1739754"/>
                  <a:gd name="connsiteY95" fmla="*/ 2396877 h 2673102"/>
                  <a:gd name="connsiteX96" fmla="*/ 688383 w 1739754"/>
                  <a:gd name="connsiteY96" fmla="*/ 2449264 h 2673102"/>
                  <a:gd name="connsiteX97" fmla="*/ 655046 w 1739754"/>
                  <a:gd name="connsiteY97" fmla="*/ 2473077 h 2673102"/>
                  <a:gd name="connsiteX98" fmla="*/ 607421 w 1739754"/>
                  <a:gd name="connsiteY98" fmla="*/ 2511177 h 2673102"/>
                  <a:gd name="connsiteX99" fmla="*/ 574083 w 1739754"/>
                  <a:gd name="connsiteY99" fmla="*/ 2534989 h 2673102"/>
                  <a:gd name="connsiteX100" fmla="*/ 540746 w 1739754"/>
                  <a:gd name="connsiteY100" fmla="*/ 2554039 h 2673102"/>
                  <a:gd name="connsiteX101" fmla="*/ 497883 w 1739754"/>
                  <a:gd name="connsiteY101" fmla="*/ 2587377 h 2673102"/>
                  <a:gd name="connsiteX102" fmla="*/ 483596 w 1739754"/>
                  <a:gd name="connsiteY102" fmla="*/ 2601664 h 2673102"/>
                  <a:gd name="connsiteX103" fmla="*/ 459783 w 1739754"/>
                  <a:gd name="connsiteY103" fmla="*/ 2620714 h 2673102"/>
                  <a:gd name="connsiteX104" fmla="*/ 450258 w 1739754"/>
                  <a:gd name="connsiteY104" fmla="*/ 2635002 h 2673102"/>
                  <a:gd name="connsiteX105" fmla="*/ 416921 w 1739754"/>
                  <a:gd name="connsiteY105" fmla="*/ 2654052 h 2673102"/>
                  <a:gd name="connsiteX106" fmla="*/ 374058 w 1739754"/>
                  <a:gd name="connsiteY106" fmla="*/ 2673102 h 2673102"/>
                  <a:gd name="connsiteX107" fmla="*/ 359771 w 1739754"/>
                  <a:gd name="connsiteY107" fmla="*/ 2663577 h 2673102"/>
                  <a:gd name="connsiteX108" fmla="*/ 345483 w 1739754"/>
                  <a:gd name="connsiteY108" fmla="*/ 2635002 h 2673102"/>
                  <a:gd name="connsiteX109" fmla="*/ 335958 w 1739754"/>
                  <a:gd name="connsiteY109" fmla="*/ 2620714 h 2673102"/>
                  <a:gd name="connsiteX110" fmla="*/ 297858 w 1739754"/>
                  <a:gd name="connsiteY110" fmla="*/ 2611189 h 2673102"/>
                  <a:gd name="connsiteX111" fmla="*/ 278808 w 1739754"/>
                  <a:gd name="connsiteY111" fmla="*/ 2592139 h 2673102"/>
                  <a:gd name="connsiteX112" fmla="*/ 274046 w 1739754"/>
                  <a:gd name="connsiteY112" fmla="*/ 2573089 h 2673102"/>
                  <a:gd name="connsiteX113" fmla="*/ 235946 w 1739754"/>
                  <a:gd name="connsiteY113" fmla="*/ 2539752 h 2673102"/>
                  <a:gd name="connsiteX114" fmla="*/ 231183 w 1739754"/>
                  <a:gd name="connsiteY114" fmla="*/ 2525464 h 2673102"/>
                  <a:gd name="connsiteX115" fmla="*/ 226421 w 1739754"/>
                  <a:gd name="connsiteY115" fmla="*/ 2506414 h 2673102"/>
                  <a:gd name="connsiteX116" fmla="*/ 212133 w 1739754"/>
                  <a:gd name="connsiteY116" fmla="*/ 2492127 h 2673102"/>
                  <a:gd name="connsiteX117" fmla="*/ 154983 w 1739754"/>
                  <a:gd name="connsiteY117" fmla="*/ 2439739 h 2673102"/>
                  <a:gd name="connsiteX118" fmla="*/ 150221 w 1739754"/>
                  <a:gd name="connsiteY118" fmla="*/ 2415927 h 2673102"/>
                  <a:gd name="connsiteX119" fmla="*/ 135933 w 1739754"/>
                  <a:gd name="connsiteY119" fmla="*/ 2358777 h 2673102"/>
                  <a:gd name="connsiteX120" fmla="*/ 121646 w 1739754"/>
                  <a:gd name="connsiteY120" fmla="*/ 2315914 h 2673102"/>
                  <a:gd name="connsiteX121" fmla="*/ 107358 w 1739754"/>
                  <a:gd name="connsiteY121" fmla="*/ 2258764 h 2673102"/>
                  <a:gd name="connsiteX122" fmla="*/ 102596 w 1739754"/>
                  <a:gd name="connsiteY122" fmla="*/ 2234952 h 2673102"/>
                  <a:gd name="connsiteX123" fmla="*/ 93071 w 1739754"/>
                  <a:gd name="connsiteY123" fmla="*/ 2211139 h 2673102"/>
                  <a:gd name="connsiteX124" fmla="*/ 88308 w 1739754"/>
                  <a:gd name="connsiteY124" fmla="*/ 2187327 h 2673102"/>
                  <a:gd name="connsiteX125" fmla="*/ 78783 w 1739754"/>
                  <a:gd name="connsiteY125" fmla="*/ 2111127 h 2673102"/>
                  <a:gd name="connsiteX126" fmla="*/ 97833 w 1739754"/>
                  <a:gd name="connsiteY126" fmla="*/ 1944439 h 2673102"/>
                  <a:gd name="connsiteX127" fmla="*/ 107358 w 1739754"/>
                  <a:gd name="connsiteY127" fmla="*/ 1930152 h 2673102"/>
                  <a:gd name="connsiteX128" fmla="*/ 126408 w 1739754"/>
                  <a:gd name="connsiteY128" fmla="*/ 1901577 h 2673102"/>
                  <a:gd name="connsiteX129" fmla="*/ 135933 w 1739754"/>
                  <a:gd name="connsiteY129" fmla="*/ 1868239 h 2673102"/>
                  <a:gd name="connsiteX130" fmla="*/ 131171 w 1739754"/>
                  <a:gd name="connsiteY130" fmla="*/ 1825377 h 2673102"/>
                  <a:gd name="connsiteX131" fmla="*/ 112121 w 1739754"/>
                  <a:gd name="connsiteY131" fmla="*/ 1820614 h 2673102"/>
                  <a:gd name="connsiteX132" fmla="*/ 102596 w 1739754"/>
                  <a:gd name="connsiteY132" fmla="*/ 1806327 h 2673102"/>
                  <a:gd name="connsiteX133" fmla="*/ 145458 w 1739754"/>
                  <a:gd name="connsiteY133" fmla="*/ 1720602 h 2673102"/>
                  <a:gd name="connsiteX134" fmla="*/ 159746 w 1739754"/>
                  <a:gd name="connsiteY134" fmla="*/ 1715839 h 2673102"/>
                  <a:gd name="connsiteX135" fmla="*/ 174033 w 1739754"/>
                  <a:gd name="connsiteY135" fmla="*/ 1696789 h 2673102"/>
                  <a:gd name="connsiteX136" fmla="*/ 188321 w 1739754"/>
                  <a:gd name="connsiteY136" fmla="*/ 1687264 h 2673102"/>
                  <a:gd name="connsiteX137" fmla="*/ 202608 w 1739754"/>
                  <a:gd name="connsiteY137" fmla="*/ 1653927 h 2673102"/>
                  <a:gd name="connsiteX138" fmla="*/ 193083 w 1739754"/>
                  <a:gd name="connsiteY138" fmla="*/ 1606302 h 2673102"/>
                  <a:gd name="connsiteX139" fmla="*/ 164508 w 1739754"/>
                  <a:gd name="connsiteY139" fmla="*/ 1596777 h 2673102"/>
                  <a:gd name="connsiteX140" fmla="*/ 154983 w 1739754"/>
                  <a:gd name="connsiteY140" fmla="*/ 1549152 h 2673102"/>
                  <a:gd name="connsiteX141" fmla="*/ 150221 w 1739754"/>
                  <a:gd name="connsiteY141" fmla="*/ 1411039 h 2673102"/>
                  <a:gd name="connsiteX142" fmla="*/ 140696 w 1739754"/>
                  <a:gd name="connsiteY142" fmla="*/ 1377702 h 2673102"/>
                  <a:gd name="connsiteX143" fmla="*/ 121646 w 1739754"/>
                  <a:gd name="connsiteY143" fmla="*/ 1311027 h 2673102"/>
                  <a:gd name="connsiteX144" fmla="*/ 116883 w 1739754"/>
                  <a:gd name="connsiteY144" fmla="*/ 1258639 h 2673102"/>
                  <a:gd name="connsiteX145" fmla="*/ 107358 w 1739754"/>
                  <a:gd name="connsiteY145" fmla="*/ 1244352 h 2673102"/>
                  <a:gd name="connsiteX146" fmla="*/ 93071 w 1739754"/>
                  <a:gd name="connsiteY146" fmla="*/ 1196727 h 2673102"/>
                  <a:gd name="connsiteX147" fmla="*/ 78783 w 1739754"/>
                  <a:gd name="connsiteY147" fmla="*/ 1177677 h 2673102"/>
                  <a:gd name="connsiteX148" fmla="*/ 59733 w 1739754"/>
                  <a:gd name="connsiteY148" fmla="*/ 1139577 h 2673102"/>
                  <a:gd name="connsiteX149" fmla="*/ 50208 w 1739754"/>
                  <a:gd name="connsiteY149" fmla="*/ 1111002 h 2673102"/>
                  <a:gd name="connsiteX150" fmla="*/ 45446 w 1739754"/>
                  <a:gd name="connsiteY150" fmla="*/ 1096714 h 2673102"/>
                  <a:gd name="connsiteX151" fmla="*/ 21633 w 1739754"/>
                  <a:gd name="connsiteY151" fmla="*/ 1025277 h 2673102"/>
                  <a:gd name="connsiteX152" fmla="*/ 202 w 1739754"/>
                  <a:gd name="connsiteY152" fmla="*/ 980033 h 2673102"/>
                  <a:gd name="connsiteX153" fmla="*/ 14490 w 1739754"/>
                  <a:gd name="connsiteY153" fmla="*/ 930027 h 2673102"/>
                  <a:gd name="connsiteX154" fmla="*/ 69259 w 1739754"/>
                  <a:gd name="connsiteY154" fmla="*/ 810964 h 2673102"/>
                  <a:gd name="connsiteX155" fmla="*/ 221658 w 1739754"/>
                  <a:gd name="connsiteY155" fmla="*/ 601414 h 2673102"/>
                  <a:gd name="connsiteX156" fmla="*/ 288333 w 1739754"/>
                  <a:gd name="connsiteY156" fmla="*/ 515689 h 2673102"/>
                  <a:gd name="connsiteX157" fmla="*/ 412158 w 1739754"/>
                  <a:gd name="connsiteY157" fmla="*/ 406152 h 2673102"/>
                  <a:gd name="connsiteX158" fmla="*/ 535983 w 1739754"/>
                  <a:gd name="connsiteY158" fmla="*/ 291851 h 2673102"/>
                  <a:gd name="connsiteX159" fmla="*/ 640758 w 1739754"/>
                  <a:gd name="connsiteY159" fmla="*/ 229939 h 2673102"/>
                  <a:gd name="connsiteX160" fmla="*/ 733628 w 1739754"/>
                  <a:gd name="connsiteY160" fmla="*/ 168026 h 2673102"/>
                  <a:gd name="connsiteX161" fmla="*/ 978896 w 1739754"/>
                  <a:gd name="connsiteY161" fmla="*/ 63251 h 2673102"/>
                  <a:gd name="connsiteX162" fmla="*/ 1159871 w 1739754"/>
                  <a:gd name="connsiteY162" fmla="*/ 6102 h 2673102"/>
                  <a:gd name="connsiteX163" fmla="*/ 1202733 w 1739754"/>
                  <a:gd name="connsiteY16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278933 w 1739754"/>
                  <a:gd name="connsiteY10" fmla="*/ 477589 h 2673102"/>
                  <a:gd name="connsiteX11" fmla="*/ 1293221 w 1739754"/>
                  <a:gd name="connsiteY11" fmla="*/ 487114 h 2673102"/>
                  <a:gd name="connsiteX12" fmla="*/ 1350371 w 1739754"/>
                  <a:gd name="connsiteY12" fmla="*/ 510927 h 2673102"/>
                  <a:gd name="connsiteX13" fmla="*/ 1378946 w 1739754"/>
                  <a:gd name="connsiteY13" fmla="*/ 520452 h 2673102"/>
                  <a:gd name="connsiteX14" fmla="*/ 1407521 w 1739754"/>
                  <a:gd name="connsiteY14" fmla="*/ 539502 h 2673102"/>
                  <a:gd name="connsiteX15" fmla="*/ 1469433 w 1739754"/>
                  <a:gd name="connsiteY15" fmla="*/ 568077 h 2673102"/>
                  <a:gd name="connsiteX16" fmla="*/ 1521821 w 1739754"/>
                  <a:gd name="connsiteY16" fmla="*/ 587127 h 2673102"/>
                  <a:gd name="connsiteX17" fmla="*/ 1540871 w 1739754"/>
                  <a:gd name="connsiteY17" fmla="*/ 596652 h 2673102"/>
                  <a:gd name="connsiteX18" fmla="*/ 1559921 w 1739754"/>
                  <a:gd name="connsiteY18" fmla="*/ 601414 h 2673102"/>
                  <a:gd name="connsiteX19" fmla="*/ 1607546 w 1739754"/>
                  <a:gd name="connsiteY19" fmla="*/ 639514 h 2673102"/>
                  <a:gd name="connsiteX20" fmla="*/ 1636121 w 1739754"/>
                  <a:gd name="connsiteY20" fmla="*/ 672852 h 2673102"/>
                  <a:gd name="connsiteX21" fmla="*/ 1650408 w 1739754"/>
                  <a:gd name="connsiteY21" fmla="*/ 687139 h 2673102"/>
                  <a:gd name="connsiteX22" fmla="*/ 1669458 w 1739754"/>
                  <a:gd name="connsiteY22" fmla="*/ 696664 h 2673102"/>
                  <a:gd name="connsiteX23" fmla="*/ 1683746 w 1739754"/>
                  <a:gd name="connsiteY23" fmla="*/ 706189 h 2673102"/>
                  <a:gd name="connsiteX24" fmla="*/ 1709940 w 1739754"/>
                  <a:gd name="connsiteY24" fmla="*/ 749052 h 2673102"/>
                  <a:gd name="connsiteX25" fmla="*/ 1702796 w 1739754"/>
                  <a:gd name="connsiteY25" fmla="*/ 853827 h 2673102"/>
                  <a:gd name="connsiteX26" fmla="*/ 1664696 w 1739754"/>
                  <a:gd name="connsiteY26" fmla="*/ 887164 h 2673102"/>
                  <a:gd name="connsiteX27" fmla="*/ 1650408 w 1739754"/>
                  <a:gd name="connsiteY27" fmla="*/ 901452 h 2673102"/>
                  <a:gd name="connsiteX28" fmla="*/ 1598021 w 1739754"/>
                  <a:gd name="connsiteY28" fmla="*/ 906214 h 2673102"/>
                  <a:gd name="connsiteX29" fmla="*/ 1555158 w 1739754"/>
                  <a:gd name="connsiteY29" fmla="*/ 925264 h 2673102"/>
                  <a:gd name="connsiteX30" fmla="*/ 1531346 w 1739754"/>
                  <a:gd name="connsiteY30" fmla="*/ 939552 h 2673102"/>
                  <a:gd name="connsiteX31" fmla="*/ 1498008 w 1739754"/>
                  <a:gd name="connsiteY31" fmla="*/ 987177 h 2673102"/>
                  <a:gd name="connsiteX32" fmla="*/ 1345608 w 1739754"/>
                  <a:gd name="connsiteY32" fmla="*/ 1030039 h 2673102"/>
                  <a:gd name="connsiteX33" fmla="*/ 1297983 w 1739754"/>
                  <a:gd name="connsiteY33" fmla="*/ 1053852 h 2673102"/>
                  <a:gd name="connsiteX34" fmla="*/ 1231308 w 1739754"/>
                  <a:gd name="connsiteY34" fmla="*/ 1082427 h 2673102"/>
                  <a:gd name="connsiteX35" fmla="*/ 1126533 w 1739754"/>
                  <a:gd name="connsiteY35" fmla="*/ 1096714 h 2673102"/>
                  <a:gd name="connsiteX36" fmla="*/ 1102721 w 1739754"/>
                  <a:gd name="connsiteY36" fmla="*/ 1101477 h 2673102"/>
                  <a:gd name="connsiteX37" fmla="*/ 1078908 w 1739754"/>
                  <a:gd name="connsiteY37" fmla="*/ 1111002 h 2673102"/>
                  <a:gd name="connsiteX38" fmla="*/ 964608 w 1739754"/>
                  <a:gd name="connsiteY38" fmla="*/ 1106239 h 2673102"/>
                  <a:gd name="connsiteX39" fmla="*/ 859833 w 1739754"/>
                  <a:gd name="connsiteY39" fmla="*/ 1058614 h 2673102"/>
                  <a:gd name="connsiteX40" fmla="*/ 812208 w 1739754"/>
                  <a:gd name="connsiteY40" fmla="*/ 1034802 h 2673102"/>
                  <a:gd name="connsiteX41" fmla="*/ 788396 w 1739754"/>
                  <a:gd name="connsiteY41" fmla="*/ 1020514 h 2673102"/>
                  <a:gd name="connsiteX42" fmla="*/ 769346 w 1739754"/>
                  <a:gd name="connsiteY42" fmla="*/ 1006227 h 2673102"/>
                  <a:gd name="connsiteX43" fmla="*/ 678858 w 1739754"/>
                  <a:gd name="connsiteY43" fmla="*/ 958602 h 2673102"/>
                  <a:gd name="connsiteX44" fmla="*/ 645521 w 1739754"/>
                  <a:gd name="connsiteY44" fmla="*/ 939552 h 2673102"/>
                  <a:gd name="connsiteX45" fmla="*/ 526458 w 1739754"/>
                  <a:gd name="connsiteY45" fmla="*/ 910977 h 2673102"/>
                  <a:gd name="connsiteX46" fmla="*/ 483596 w 1739754"/>
                  <a:gd name="connsiteY46" fmla="*/ 891927 h 2673102"/>
                  <a:gd name="connsiteX47" fmla="*/ 421683 w 1739754"/>
                  <a:gd name="connsiteY47" fmla="*/ 882402 h 2673102"/>
                  <a:gd name="connsiteX48" fmla="*/ 321671 w 1739754"/>
                  <a:gd name="connsiteY48" fmla="*/ 896689 h 2673102"/>
                  <a:gd name="connsiteX49" fmla="*/ 307383 w 1739754"/>
                  <a:gd name="connsiteY49" fmla="*/ 910977 h 2673102"/>
                  <a:gd name="connsiteX50" fmla="*/ 283571 w 1739754"/>
                  <a:gd name="connsiteY50" fmla="*/ 949077 h 2673102"/>
                  <a:gd name="connsiteX51" fmla="*/ 269283 w 1739754"/>
                  <a:gd name="connsiteY51" fmla="*/ 987177 h 2673102"/>
                  <a:gd name="connsiteX52" fmla="*/ 264521 w 1739754"/>
                  <a:gd name="connsiteY52" fmla="*/ 1039564 h 2673102"/>
                  <a:gd name="connsiteX53" fmla="*/ 264521 w 1739754"/>
                  <a:gd name="connsiteY53" fmla="*/ 1120527 h 2673102"/>
                  <a:gd name="connsiteX54" fmla="*/ 297858 w 1739754"/>
                  <a:gd name="connsiteY54" fmla="*/ 1153864 h 2673102"/>
                  <a:gd name="connsiteX55" fmla="*/ 326433 w 1739754"/>
                  <a:gd name="connsiteY55" fmla="*/ 1163389 h 2673102"/>
                  <a:gd name="connsiteX56" fmla="*/ 326433 w 1739754"/>
                  <a:gd name="connsiteY56" fmla="*/ 1244352 h 2673102"/>
                  <a:gd name="connsiteX57" fmla="*/ 312146 w 1739754"/>
                  <a:gd name="connsiteY57" fmla="*/ 1258639 h 2673102"/>
                  <a:gd name="connsiteX58" fmla="*/ 259758 w 1739754"/>
                  <a:gd name="connsiteY58" fmla="*/ 1296739 h 2673102"/>
                  <a:gd name="connsiteX59" fmla="*/ 240708 w 1739754"/>
                  <a:gd name="connsiteY59" fmla="*/ 1325314 h 2673102"/>
                  <a:gd name="connsiteX60" fmla="*/ 250233 w 1739754"/>
                  <a:gd name="connsiteY60" fmla="*/ 1425327 h 2673102"/>
                  <a:gd name="connsiteX61" fmla="*/ 278808 w 1739754"/>
                  <a:gd name="connsiteY61" fmla="*/ 1472952 h 2673102"/>
                  <a:gd name="connsiteX62" fmla="*/ 293096 w 1739754"/>
                  <a:gd name="connsiteY62" fmla="*/ 1492002 h 2673102"/>
                  <a:gd name="connsiteX63" fmla="*/ 383583 w 1739754"/>
                  <a:gd name="connsiteY63" fmla="*/ 1525339 h 2673102"/>
                  <a:gd name="connsiteX64" fmla="*/ 407396 w 1739754"/>
                  <a:gd name="connsiteY64" fmla="*/ 1492002 h 2673102"/>
                  <a:gd name="connsiteX65" fmla="*/ 412158 w 1739754"/>
                  <a:gd name="connsiteY65" fmla="*/ 1468189 h 2673102"/>
                  <a:gd name="connsiteX66" fmla="*/ 416921 w 1739754"/>
                  <a:gd name="connsiteY66" fmla="*/ 1449139 h 2673102"/>
                  <a:gd name="connsiteX67" fmla="*/ 445496 w 1739754"/>
                  <a:gd name="connsiteY67" fmla="*/ 1439614 h 2673102"/>
                  <a:gd name="connsiteX68" fmla="*/ 545508 w 1739754"/>
                  <a:gd name="connsiteY68" fmla="*/ 1458664 h 2673102"/>
                  <a:gd name="connsiteX69" fmla="*/ 555033 w 1739754"/>
                  <a:gd name="connsiteY69" fmla="*/ 1482477 h 2673102"/>
                  <a:gd name="connsiteX70" fmla="*/ 564558 w 1739754"/>
                  <a:gd name="connsiteY70" fmla="*/ 1515814 h 2673102"/>
                  <a:gd name="connsiteX71" fmla="*/ 550271 w 1739754"/>
                  <a:gd name="connsiteY71" fmla="*/ 1534864 h 2673102"/>
                  <a:gd name="connsiteX72" fmla="*/ 550271 w 1739754"/>
                  <a:gd name="connsiteY72" fmla="*/ 1601539 h 2673102"/>
                  <a:gd name="connsiteX73" fmla="*/ 559796 w 1739754"/>
                  <a:gd name="connsiteY73" fmla="*/ 1620589 h 2673102"/>
                  <a:gd name="connsiteX74" fmla="*/ 626471 w 1739754"/>
                  <a:gd name="connsiteY74" fmla="*/ 1639639 h 2673102"/>
                  <a:gd name="connsiteX75" fmla="*/ 645521 w 1739754"/>
                  <a:gd name="connsiteY75" fmla="*/ 1592014 h 2673102"/>
                  <a:gd name="connsiteX76" fmla="*/ 702671 w 1739754"/>
                  <a:gd name="connsiteY76" fmla="*/ 1620589 h 2673102"/>
                  <a:gd name="connsiteX77" fmla="*/ 731246 w 1739754"/>
                  <a:gd name="connsiteY77" fmla="*/ 1630114 h 2673102"/>
                  <a:gd name="connsiteX78" fmla="*/ 783633 w 1739754"/>
                  <a:gd name="connsiteY78" fmla="*/ 1663452 h 2673102"/>
                  <a:gd name="connsiteX79" fmla="*/ 859833 w 1739754"/>
                  <a:gd name="connsiteY79" fmla="*/ 1687264 h 2673102"/>
                  <a:gd name="connsiteX80" fmla="*/ 878883 w 1739754"/>
                  <a:gd name="connsiteY80" fmla="*/ 1701552 h 2673102"/>
                  <a:gd name="connsiteX81" fmla="*/ 888408 w 1739754"/>
                  <a:gd name="connsiteY81" fmla="*/ 1739652 h 2673102"/>
                  <a:gd name="connsiteX82" fmla="*/ 897933 w 1739754"/>
                  <a:gd name="connsiteY82" fmla="*/ 1782514 h 2673102"/>
                  <a:gd name="connsiteX83" fmla="*/ 940796 w 1739754"/>
                  <a:gd name="connsiteY83" fmla="*/ 1892052 h 2673102"/>
                  <a:gd name="connsiteX84" fmla="*/ 950321 w 1739754"/>
                  <a:gd name="connsiteY84" fmla="*/ 1906339 h 2673102"/>
                  <a:gd name="connsiteX85" fmla="*/ 959846 w 1739754"/>
                  <a:gd name="connsiteY85" fmla="*/ 1939677 h 2673102"/>
                  <a:gd name="connsiteX86" fmla="*/ 974133 w 1739754"/>
                  <a:gd name="connsiteY86" fmla="*/ 1977777 h 2673102"/>
                  <a:gd name="connsiteX87" fmla="*/ 964608 w 1739754"/>
                  <a:gd name="connsiteY87" fmla="*/ 2082552 h 2673102"/>
                  <a:gd name="connsiteX88" fmla="*/ 955083 w 1739754"/>
                  <a:gd name="connsiteY88" fmla="*/ 2101602 h 2673102"/>
                  <a:gd name="connsiteX89" fmla="*/ 926508 w 1739754"/>
                  <a:gd name="connsiteY89" fmla="*/ 2144464 h 2673102"/>
                  <a:gd name="connsiteX90" fmla="*/ 907458 w 1739754"/>
                  <a:gd name="connsiteY90" fmla="*/ 2192089 h 2673102"/>
                  <a:gd name="connsiteX91" fmla="*/ 902696 w 1739754"/>
                  <a:gd name="connsiteY91" fmla="*/ 2211139 h 2673102"/>
                  <a:gd name="connsiteX92" fmla="*/ 893171 w 1739754"/>
                  <a:gd name="connsiteY92" fmla="*/ 2239714 h 2673102"/>
                  <a:gd name="connsiteX93" fmla="*/ 897933 w 1739754"/>
                  <a:gd name="connsiteY93" fmla="*/ 2287339 h 2673102"/>
                  <a:gd name="connsiteX94" fmla="*/ 893171 w 1739754"/>
                  <a:gd name="connsiteY94" fmla="*/ 2396877 h 2673102"/>
                  <a:gd name="connsiteX95" fmla="*/ 688383 w 1739754"/>
                  <a:gd name="connsiteY95" fmla="*/ 2449264 h 2673102"/>
                  <a:gd name="connsiteX96" fmla="*/ 655046 w 1739754"/>
                  <a:gd name="connsiteY96" fmla="*/ 2473077 h 2673102"/>
                  <a:gd name="connsiteX97" fmla="*/ 607421 w 1739754"/>
                  <a:gd name="connsiteY97" fmla="*/ 2511177 h 2673102"/>
                  <a:gd name="connsiteX98" fmla="*/ 574083 w 1739754"/>
                  <a:gd name="connsiteY98" fmla="*/ 2534989 h 2673102"/>
                  <a:gd name="connsiteX99" fmla="*/ 540746 w 1739754"/>
                  <a:gd name="connsiteY99" fmla="*/ 2554039 h 2673102"/>
                  <a:gd name="connsiteX100" fmla="*/ 497883 w 1739754"/>
                  <a:gd name="connsiteY100" fmla="*/ 2587377 h 2673102"/>
                  <a:gd name="connsiteX101" fmla="*/ 483596 w 1739754"/>
                  <a:gd name="connsiteY101" fmla="*/ 2601664 h 2673102"/>
                  <a:gd name="connsiteX102" fmla="*/ 459783 w 1739754"/>
                  <a:gd name="connsiteY102" fmla="*/ 2620714 h 2673102"/>
                  <a:gd name="connsiteX103" fmla="*/ 450258 w 1739754"/>
                  <a:gd name="connsiteY103" fmla="*/ 2635002 h 2673102"/>
                  <a:gd name="connsiteX104" fmla="*/ 416921 w 1739754"/>
                  <a:gd name="connsiteY104" fmla="*/ 2654052 h 2673102"/>
                  <a:gd name="connsiteX105" fmla="*/ 374058 w 1739754"/>
                  <a:gd name="connsiteY105" fmla="*/ 2673102 h 2673102"/>
                  <a:gd name="connsiteX106" fmla="*/ 359771 w 1739754"/>
                  <a:gd name="connsiteY106" fmla="*/ 2663577 h 2673102"/>
                  <a:gd name="connsiteX107" fmla="*/ 345483 w 1739754"/>
                  <a:gd name="connsiteY107" fmla="*/ 2635002 h 2673102"/>
                  <a:gd name="connsiteX108" fmla="*/ 335958 w 1739754"/>
                  <a:gd name="connsiteY108" fmla="*/ 2620714 h 2673102"/>
                  <a:gd name="connsiteX109" fmla="*/ 297858 w 1739754"/>
                  <a:gd name="connsiteY109" fmla="*/ 2611189 h 2673102"/>
                  <a:gd name="connsiteX110" fmla="*/ 278808 w 1739754"/>
                  <a:gd name="connsiteY110" fmla="*/ 2592139 h 2673102"/>
                  <a:gd name="connsiteX111" fmla="*/ 274046 w 1739754"/>
                  <a:gd name="connsiteY111" fmla="*/ 2573089 h 2673102"/>
                  <a:gd name="connsiteX112" fmla="*/ 235946 w 1739754"/>
                  <a:gd name="connsiteY112" fmla="*/ 2539752 h 2673102"/>
                  <a:gd name="connsiteX113" fmla="*/ 231183 w 1739754"/>
                  <a:gd name="connsiteY113" fmla="*/ 2525464 h 2673102"/>
                  <a:gd name="connsiteX114" fmla="*/ 226421 w 1739754"/>
                  <a:gd name="connsiteY114" fmla="*/ 2506414 h 2673102"/>
                  <a:gd name="connsiteX115" fmla="*/ 212133 w 1739754"/>
                  <a:gd name="connsiteY115" fmla="*/ 2492127 h 2673102"/>
                  <a:gd name="connsiteX116" fmla="*/ 154983 w 1739754"/>
                  <a:gd name="connsiteY116" fmla="*/ 2439739 h 2673102"/>
                  <a:gd name="connsiteX117" fmla="*/ 150221 w 1739754"/>
                  <a:gd name="connsiteY117" fmla="*/ 2415927 h 2673102"/>
                  <a:gd name="connsiteX118" fmla="*/ 135933 w 1739754"/>
                  <a:gd name="connsiteY118" fmla="*/ 2358777 h 2673102"/>
                  <a:gd name="connsiteX119" fmla="*/ 121646 w 1739754"/>
                  <a:gd name="connsiteY119" fmla="*/ 2315914 h 2673102"/>
                  <a:gd name="connsiteX120" fmla="*/ 107358 w 1739754"/>
                  <a:gd name="connsiteY120" fmla="*/ 2258764 h 2673102"/>
                  <a:gd name="connsiteX121" fmla="*/ 102596 w 1739754"/>
                  <a:gd name="connsiteY121" fmla="*/ 2234952 h 2673102"/>
                  <a:gd name="connsiteX122" fmla="*/ 93071 w 1739754"/>
                  <a:gd name="connsiteY122" fmla="*/ 2211139 h 2673102"/>
                  <a:gd name="connsiteX123" fmla="*/ 88308 w 1739754"/>
                  <a:gd name="connsiteY123" fmla="*/ 2187327 h 2673102"/>
                  <a:gd name="connsiteX124" fmla="*/ 78783 w 1739754"/>
                  <a:gd name="connsiteY124" fmla="*/ 2111127 h 2673102"/>
                  <a:gd name="connsiteX125" fmla="*/ 97833 w 1739754"/>
                  <a:gd name="connsiteY125" fmla="*/ 1944439 h 2673102"/>
                  <a:gd name="connsiteX126" fmla="*/ 107358 w 1739754"/>
                  <a:gd name="connsiteY126" fmla="*/ 1930152 h 2673102"/>
                  <a:gd name="connsiteX127" fmla="*/ 126408 w 1739754"/>
                  <a:gd name="connsiteY127" fmla="*/ 1901577 h 2673102"/>
                  <a:gd name="connsiteX128" fmla="*/ 135933 w 1739754"/>
                  <a:gd name="connsiteY128" fmla="*/ 1868239 h 2673102"/>
                  <a:gd name="connsiteX129" fmla="*/ 131171 w 1739754"/>
                  <a:gd name="connsiteY129" fmla="*/ 1825377 h 2673102"/>
                  <a:gd name="connsiteX130" fmla="*/ 112121 w 1739754"/>
                  <a:gd name="connsiteY130" fmla="*/ 1820614 h 2673102"/>
                  <a:gd name="connsiteX131" fmla="*/ 102596 w 1739754"/>
                  <a:gd name="connsiteY131" fmla="*/ 1806327 h 2673102"/>
                  <a:gd name="connsiteX132" fmla="*/ 145458 w 1739754"/>
                  <a:gd name="connsiteY132" fmla="*/ 1720602 h 2673102"/>
                  <a:gd name="connsiteX133" fmla="*/ 159746 w 1739754"/>
                  <a:gd name="connsiteY133" fmla="*/ 1715839 h 2673102"/>
                  <a:gd name="connsiteX134" fmla="*/ 174033 w 1739754"/>
                  <a:gd name="connsiteY134" fmla="*/ 1696789 h 2673102"/>
                  <a:gd name="connsiteX135" fmla="*/ 188321 w 1739754"/>
                  <a:gd name="connsiteY135" fmla="*/ 1687264 h 2673102"/>
                  <a:gd name="connsiteX136" fmla="*/ 202608 w 1739754"/>
                  <a:gd name="connsiteY136" fmla="*/ 1653927 h 2673102"/>
                  <a:gd name="connsiteX137" fmla="*/ 193083 w 1739754"/>
                  <a:gd name="connsiteY137" fmla="*/ 1606302 h 2673102"/>
                  <a:gd name="connsiteX138" fmla="*/ 164508 w 1739754"/>
                  <a:gd name="connsiteY138" fmla="*/ 1596777 h 2673102"/>
                  <a:gd name="connsiteX139" fmla="*/ 154983 w 1739754"/>
                  <a:gd name="connsiteY139" fmla="*/ 1549152 h 2673102"/>
                  <a:gd name="connsiteX140" fmla="*/ 150221 w 1739754"/>
                  <a:gd name="connsiteY140" fmla="*/ 1411039 h 2673102"/>
                  <a:gd name="connsiteX141" fmla="*/ 140696 w 1739754"/>
                  <a:gd name="connsiteY141" fmla="*/ 1377702 h 2673102"/>
                  <a:gd name="connsiteX142" fmla="*/ 121646 w 1739754"/>
                  <a:gd name="connsiteY142" fmla="*/ 1311027 h 2673102"/>
                  <a:gd name="connsiteX143" fmla="*/ 116883 w 1739754"/>
                  <a:gd name="connsiteY143" fmla="*/ 1258639 h 2673102"/>
                  <a:gd name="connsiteX144" fmla="*/ 107358 w 1739754"/>
                  <a:gd name="connsiteY144" fmla="*/ 1244352 h 2673102"/>
                  <a:gd name="connsiteX145" fmla="*/ 93071 w 1739754"/>
                  <a:gd name="connsiteY145" fmla="*/ 1196727 h 2673102"/>
                  <a:gd name="connsiteX146" fmla="*/ 78783 w 1739754"/>
                  <a:gd name="connsiteY146" fmla="*/ 1177677 h 2673102"/>
                  <a:gd name="connsiteX147" fmla="*/ 59733 w 1739754"/>
                  <a:gd name="connsiteY147" fmla="*/ 1139577 h 2673102"/>
                  <a:gd name="connsiteX148" fmla="*/ 50208 w 1739754"/>
                  <a:gd name="connsiteY148" fmla="*/ 1111002 h 2673102"/>
                  <a:gd name="connsiteX149" fmla="*/ 45446 w 1739754"/>
                  <a:gd name="connsiteY149" fmla="*/ 1096714 h 2673102"/>
                  <a:gd name="connsiteX150" fmla="*/ 21633 w 1739754"/>
                  <a:gd name="connsiteY150" fmla="*/ 1025277 h 2673102"/>
                  <a:gd name="connsiteX151" fmla="*/ 202 w 1739754"/>
                  <a:gd name="connsiteY151" fmla="*/ 980033 h 2673102"/>
                  <a:gd name="connsiteX152" fmla="*/ 14490 w 1739754"/>
                  <a:gd name="connsiteY152" fmla="*/ 930027 h 2673102"/>
                  <a:gd name="connsiteX153" fmla="*/ 69259 w 1739754"/>
                  <a:gd name="connsiteY153" fmla="*/ 810964 h 2673102"/>
                  <a:gd name="connsiteX154" fmla="*/ 221658 w 1739754"/>
                  <a:gd name="connsiteY154" fmla="*/ 601414 h 2673102"/>
                  <a:gd name="connsiteX155" fmla="*/ 288333 w 1739754"/>
                  <a:gd name="connsiteY155" fmla="*/ 515689 h 2673102"/>
                  <a:gd name="connsiteX156" fmla="*/ 412158 w 1739754"/>
                  <a:gd name="connsiteY156" fmla="*/ 406152 h 2673102"/>
                  <a:gd name="connsiteX157" fmla="*/ 535983 w 1739754"/>
                  <a:gd name="connsiteY157" fmla="*/ 291851 h 2673102"/>
                  <a:gd name="connsiteX158" fmla="*/ 640758 w 1739754"/>
                  <a:gd name="connsiteY158" fmla="*/ 229939 h 2673102"/>
                  <a:gd name="connsiteX159" fmla="*/ 733628 w 1739754"/>
                  <a:gd name="connsiteY159" fmla="*/ 168026 h 2673102"/>
                  <a:gd name="connsiteX160" fmla="*/ 978896 w 1739754"/>
                  <a:gd name="connsiteY160" fmla="*/ 63251 h 2673102"/>
                  <a:gd name="connsiteX161" fmla="*/ 1159871 w 1739754"/>
                  <a:gd name="connsiteY161" fmla="*/ 6102 h 2673102"/>
                  <a:gd name="connsiteX162" fmla="*/ 1202733 w 1739754"/>
                  <a:gd name="connsiteY16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293221 w 1739754"/>
                  <a:gd name="connsiteY10" fmla="*/ 487114 h 2673102"/>
                  <a:gd name="connsiteX11" fmla="*/ 1350371 w 1739754"/>
                  <a:gd name="connsiteY11" fmla="*/ 510927 h 2673102"/>
                  <a:gd name="connsiteX12" fmla="*/ 1378946 w 1739754"/>
                  <a:gd name="connsiteY12" fmla="*/ 520452 h 2673102"/>
                  <a:gd name="connsiteX13" fmla="*/ 1407521 w 1739754"/>
                  <a:gd name="connsiteY13" fmla="*/ 539502 h 2673102"/>
                  <a:gd name="connsiteX14" fmla="*/ 1469433 w 1739754"/>
                  <a:gd name="connsiteY14" fmla="*/ 568077 h 2673102"/>
                  <a:gd name="connsiteX15" fmla="*/ 1521821 w 1739754"/>
                  <a:gd name="connsiteY15" fmla="*/ 587127 h 2673102"/>
                  <a:gd name="connsiteX16" fmla="*/ 1540871 w 1739754"/>
                  <a:gd name="connsiteY16" fmla="*/ 596652 h 2673102"/>
                  <a:gd name="connsiteX17" fmla="*/ 1559921 w 1739754"/>
                  <a:gd name="connsiteY17" fmla="*/ 601414 h 2673102"/>
                  <a:gd name="connsiteX18" fmla="*/ 1607546 w 1739754"/>
                  <a:gd name="connsiteY18" fmla="*/ 639514 h 2673102"/>
                  <a:gd name="connsiteX19" fmla="*/ 1636121 w 1739754"/>
                  <a:gd name="connsiteY19" fmla="*/ 672852 h 2673102"/>
                  <a:gd name="connsiteX20" fmla="*/ 1650408 w 1739754"/>
                  <a:gd name="connsiteY20" fmla="*/ 687139 h 2673102"/>
                  <a:gd name="connsiteX21" fmla="*/ 1669458 w 1739754"/>
                  <a:gd name="connsiteY21" fmla="*/ 696664 h 2673102"/>
                  <a:gd name="connsiteX22" fmla="*/ 1683746 w 1739754"/>
                  <a:gd name="connsiteY22" fmla="*/ 706189 h 2673102"/>
                  <a:gd name="connsiteX23" fmla="*/ 1709940 w 1739754"/>
                  <a:gd name="connsiteY23" fmla="*/ 749052 h 2673102"/>
                  <a:gd name="connsiteX24" fmla="*/ 1702796 w 1739754"/>
                  <a:gd name="connsiteY24" fmla="*/ 853827 h 2673102"/>
                  <a:gd name="connsiteX25" fmla="*/ 1664696 w 1739754"/>
                  <a:gd name="connsiteY25" fmla="*/ 887164 h 2673102"/>
                  <a:gd name="connsiteX26" fmla="*/ 1650408 w 1739754"/>
                  <a:gd name="connsiteY26" fmla="*/ 901452 h 2673102"/>
                  <a:gd name="connsiteX27" fmla="*/ 1598021 w 1739754"/>
                  <a:gd name="connsiteY27" fmla="*/ 906214 h 2673102"/>
                  <a:gd name="connsiteX28" fmla="*/ 1555158 w 1739754"/>
                  <a:gd name="connsiteY28" fmla="*/ 925264 h 2673102"/>
                  <a:gd name="connsiteX29" fmla="*/ 1531346 w 1739754"/>
                  <a:gd name="connsiteY29" fmla="*/ 939552 h 2673102"/>
                  <a:gd name="connsiteX30" fmla="*/ 1498008 w 1739754"/>
                  <a:gd name="connsiteY30" fmla="*/ 987177 h 2673102"/>
                  <a:gd name="connsiteX31" fmla="*/ 1345608 w 1739754"/>
                  <a:gd name="connsiteY31" fmla="*/ 1030039 h 2673102"/>
                  <a:gd name="connsiteX32" fmla="*/ 1297983 w 1739754"/>
                  <a:gd name="connsiteY32" fmla="*/ 1053852 h 2673102"/>
                  <a:gd name="connsiteX33" fmla="*/ 1231308 w 1739754"/>
                  <a:gd name="connsiteY33" fmla="*/ 1082427 h 2673102"/>
                  <a:gd name="connsiteX34" fmla="*/ 1126533 w 1739754"/>
                  <a:gd name="connsiteY34" fmla="*/ 1096714 h 2673102"/>
                  <a:gd name="connsiteX35" fmla="*/ 1102721 w 1739754"/>
                  <a:gd name="connsiteY35" fmla="*/ 1101477 h 2673102"/>
                  <a:gd name="connsiteX36" fmla="*/ 1078908 w 1739754"/>
                  <a:gd name="connsiteY36" fmla="*/ 1111002 h 2673102"/>
                  <a:gd name="connsiteX37" fmla="*/ 964608 w 1739754"/>
                  <a:gd name="connsiteY37" fmla="*/ 1106239 h 2673102"/>
                  <a:gd name="connsiteX38" fmla="*/ 859833 w 1739754"/>
                  <a:gd name="connsiteY38" fmla="*/ 1058614 h 2673102"/>
                  <a:gd name="connsiteX39" fmla="*/ 812208 w 1739754"/>
                  <a:gd name="connsiteY39" fmla="*/ 1034802 h 2673102"/>
                  <a:gd name="connsiteX40" fmla="*/ 788396 w 1739754"/>
                  <a:gd name="connsiteY40" fmla="*/ 1020514 h 2673102"/>
                  <a:gd name="connsiteX41" fmla="*/ 769346 w 1739754"/>
                  <a:gd name="connsiteY41" fmla="*/ 1006227 h 2673102"/>
                  <a:gd name="connsiteX42" fmla="*/ 678858 w 1739754"/>
                  <a:gd name="connsiteY42" fmla="*/ 958602 h 2673102"/>
                  <a:gd name="connsiteX43" fmla="*/ 645521 w 1739754"/>
                  <a:gd name="connsiteY43" fmla="*/ 939552 h 2673102"/>
                  <a:gd name="connsiteX44" fmla="*/ 526458 w 1739754"/>
                  <a:gd name="connsiteY44" fmla="*/ 910977 h 2673102"/>
                  <a:gd name="connsiteX45" fmla="*/ 483596 w 1739754"/>
                  <a:gd name="connsiteY45" fmla="*/ 891927 h 2673102"/>
                  <a:gd name="connsiteX46" fmla="*/ 421683 w 1739754"/>
                  <a:gd name="connsiteY46" fmla="*/ 882402 h 2673102"/>
                  <a:gd name="connsiteX47" fmla="*/ 321671 w 1739754"/>
                  <a:gd name="connsiteY47" fmla="*/ 896689 h 2673102"/>
                  <a:gd name="connsiteX48" fmla="*/ 307383 w 1739754"/>
                  <a:gd name="connsiteY48" fmla="*/ 910977 h 2673102"/>
                  <a:gd name="connsiteX49" fmla="*/ 283571 w 1739754"/>
                  <a:gd name="connsiteY49" fmla="*/ 949077 h 2673102"/>
                  <a:gd name="connsiteX50" fmla="*/ 269283 w 1739754"/>
                  <a:gd name="connsiteY50" fmla="*/ 987177 h 2673102"/>
                  <a:gd name="connsiteX51" fmla="*/ 264521 w 1739754"/>
                  <a:gd name="connsiteY51" fmla="*/ 1039564 h 2673102"/>
                  <a:gd name="connsiteX52" fmla="*/ 264521 w 1739754"/>
                  <a:gd name="connsiteY52" fmla="*/ 1120527 h 2673102"/>
                  <a:gd name="connsiteX53" fmla="*/ 297858 w 1739754"/>
                  <a:gd name="connsiteY53" fmla="*/ 1153864 h 2673102"/>
                  <a:gd name="connsiteX54" fmla="*/ 326433 w 1739754"/>
                  <a:gd name="connsiteY54" fmla="*/ 1163389 h 2673102"/>
                  <a:gd name="connsiteX55" fmla="*/ 326433 w 1739754"/>
                  <a:gd name="connsiteY55" fmla="*/ 1244352 h 2673102"/>
                  <a:gd name="connsiteX56" fmla="*/ 312146 w 1739754"/>
                  <a:gd name="connsiteY56" fmla="*/ 1258639 h 2673102"/>
                  <a:gd name="connsiteX57" fmla="*/ 259758 w 1739754"/>
                  <a:gd name="connsiteY57" fmla="*/ 1296739 h 2673102"/>
                  <a:gd name="connsiteX58" fmla="*/ 240708 w 1739754"/>
                  <a:gd name="connsiteY58" fmla="*/ 1325314 h 2673102"/>
                  <a:gd name="connsiteX59" fmla="*/ 250233 w 1739754"/>
                  <a:gd name="connsiteY59" fmla="*/ 1425327 h 2673102"/>
                  <a:gd name="connsiteX60" fmla="*/ 278808 w 1739754"/>
                  <a:gd name="connsiteY60" fmla="*/ 1472952 h 2673102"/>
                  <a:gd name="connsiteX61" fmla="*/ 293096 w 1739754"/>
                  <a:gd name="connsiteY61" fmla="*/ 1492002 h 2673102"/>
                  <a:gd name="connsiteX62" fmla="*/ 383583 w 1739754"/>
                  <a:gd name="connsiteY62" fmla="*/ 1525339 h 2673102"/>
                  <a:gd name="connsiteX63" fmla="*/ 407396 w 1739754"/>
                  <a:gd name="connsiteY63" fmla="*/ 1492002 h 2673102"/>
                  <a:gd name="connsiteX64" fmla="*/ 412158 w 1739754"/>
                  <a:gd name="connsiteY64" fmla="*/ 1468189 h 2673102"/>
                  <a:gd name="connsiteX65" fmla="*/ 416921 w 1739754"/>
                  <a:gd name="connsiteY65" fmla="*/ 1449139 h 2673102"/>
                  <a:gd name="connsiteX66" fmla="*/ 445496 w 1739754"/>
                  <a:gd name="connsiteY66" fmla="*/ 1439614 h 2673102"/>
                  <a:gd name="connsiteX67" fmla="*/ 545508 w 1739754"/>
                  <a:gd name="connsiteY67" fmla="*/ 1458664 h 2673102"/>
                  <a:gd name="connsiteX68" fmla="*/ 555033 w 1739754"/>
                  <a:gd name="connsiteY68" fmla="*/ 1482477 h 2673102"/>
                  <a:gd name="connsiteX69" fmla="*/ 564558 w 1739754"/>
                  <a:gd name="connsiteY69" fmla="*/ 1515814 h 2673102"/>
                  <a:gd name="connsiteX70" fmla="*/ 550271 w 1739754"/>
                  <a:gd name="connsiteY70" fmla="*/ 1534864 h 2673102"/>
                  <a:gd name="connsiteX71" fmla="*/ 550271 w 1739754"/>
                  <a:gd name="connsiteY71" fmla="*/ 1601539 h 2673102"/>
                  <a:gd name="connsiteX72" fmla="*/ 559796 w 1739754"/>
                  <a:gd name="connsiteY72" fmla="*/ 1620589 h 2673102"/>
                  <a:gd name="connsiteX73" fmla="*/ 626471 w 1739754"/>
                  <a:gd name="connsiteY73" fmla="*/ 1639639 h 2673102"/>
                  <a:gd name="connsiteX74" fmla="*/ 645521 w 1739754"/>
                  <a:gd name="connsiteY74" fmla="*/ 1592014 h 2673102"/>
                  <a:gd name="connsiteX75" fmla="*/ 702671 w 1739754"/>
                  <a:gd name="connsiteY75" fmla="*/ 1620589 h 2673102"/>
                  <a:gd name="connsiteX76" fmla="*/ 731246 w 1739754"/>
                  <a:gd name="connsiteY76" fmla="*/ 1630114 h 2673102"/>
                  <a:gd name="connsiteX77" fmla="*/ 783633 w 1739754"/>
                  <a:gd name="connsiteY77" fmla="*/ 1663452 h 2673102"/>
                  <a:gd name="connsiteX78" fmla="*/ 859833 w 1739754"/>
                  <a:gd name="connsiteY78" fmla="*/ 1687264 h 2673102"/>
                  <a:gd name="connsiteX79" fmla="*/ 878883 w 1739754"/>
                  <a:gd name="connsiteY79" fmla="*/ 1701552 h 2673102"/>
                  <a:gd name="connsiteX80" fmla="*/ 888408 w 1739754"/>
                  <a:gd name="connsiteY80" fmla="*/ 1739652 h 2673102"/>
                  <a:gd name="connsiteX81" fmla="*/ 897933 w 1739754"/>
                  <a:gd name="connsiteY81" fmla="*/ 1782514 h 2673102"/>
                  <a:gd name="connsiteX82" fmla="*/ 940796 w 1739754"/>
                  <a:gd name="connsiteY82" fmla="*/ 1892052 h 2673102"/>
                  <a:gd name="connsiteX83" fmla="*/ 950321 w 1739754"/>
                  <a:gd name="connsiteY83" fmla="*/ 1906339 h 2673102"/>
                  <a:gd name="connsiteX84" fmla="*/ 959846 w 1739754"/>
                  <a:gd name="connsiteY84" fmla="*/ 1939677 h 2673102"/>
                  <a:gd name="connsiteX85" fmla="*/ 974133 w 1739754"/>
                  <a:gd name="connsiteY85" fmla="*/ 1977777 h 2673102"/>
                  <a:gd name="connsiteX86" fmla="*/ 964608 w 1739754"/>
                  <a:gd name="connsiteY86" fmla="*/ 2082552 h 2673102"/>
                  <a:gd name="connsiteX87" fmla="*/ 955083 w 1739754"/>
                  <a:gd name="connsiteY87" fmla="*/ 2101602 h 2673102"/>
                  <a:gd name="connsiteX88" fmla="*/ 926508 w 1739754"/>
                  <a:gd name="connsiteY88" fmla="*/ 2144464 h 2673102"/>
                  <a:gd name="connsiteX89" fmla="*/ 907458 w 1739754"/>
                  <a:gd name="connsiteY89" fmla="*/ 2192089 h 2673102"/>
                  <a:gd name="connsiteX90" fmla="*/ 902696 w 1739754"/>
                  <a:gd name="connsiteY90" fmla="*/ 2211139 h 2673102"/>
                  <a:gd name="connsiteX91" fmla="*/ 893171 w 1739754"/>
                  <a:gd name="connsiteY91" fmla="*/ 2239714 h 2673102"/>
                  <a:gd name="connsiteX92" fmla="*/ 897933 w 1739754"/>
                  <a:gd name="connsiteY92" fmla="*/ 2287339 h 2673102"/>
                  <a:gd name="connsiteX93" fmla="*/ 893171 w 1739754"/>
                  <a:gd name="connsiteY93" fmla="*/ 2396877 h 2673102"/>
                  <a:gd name="connsiteX94" fmla="*/ 688383 w 1739754"/>
                  <a:gd name="connsiteY94" fmla="*/ 2449264 h 2673102"/>
                  <a:gd name="connsiteX95" fmla="*/ 655046 w 1739754"/>
                  <a:gd name="connsiteY95" fmla="*/ 2473077 h 2673102"/>
                  <a:gd name="connsiteX96" fmla="*/ 607421 w 1739754"/>
                  <a:gd name="connsiteY96" fmla="*/ 2511177 h 2673102"/>
                  <a:gd name="connsiteX97" fmla="*/ 574083 w 1739754"/>
                  <a:gd name="connsiteY97" fmla="*/ 2534989 h 2673102"/>
                  <a:gd name="connsiteX98" fmla="*/ 540746 w 1739754"/>
                  <a:gd name="connsiteY98" fmla="*/ 2554039 h 2673102"/>
                  <a:gd name="connsiteX99" fmla="*/ 497883 w 1739754"/>
                  <a:gd name="connsiteY99" fmla="*/ 2587377 h 2673102"/>
                  <a:gd name="connsiteX100" fmla="*/ 483596 w 1739754"/>
                  <a:gd name="connsiteY100" fmla="*/ 2601664 h 2673102"/>
                  <a:gd name="connsiteX101" fmla="*/ 459783 w 1739754"/>
                  <a:gd name="connsiteY101" fmla="*/ 2620714 h 2673102"/>
                  <a:gd name="connsiteX102" fmla="*/ 450258 w 1739754"/>
                  <a:gd name="connsiteY102" fmla="*/ 2635002 h 2673102"/>
                  <a:gd name="connsiteX103" fmla="*/ 416921 w 1739754"/>
                  <a:gd name="connsiteY103" fmla="*/ 2654052 h 2673102"/>
                  <a:gd name="connsiteX104" fmla="*/ 374058 w 1739754"/>
                  <a:gd name="connsiteY104" fmla="*/ 2673102 h 2673102"/>
                  <a:gd name="connsiteX105" fmla="*/ 359771 w 1739754"/>
                  <a:gd name="connsiteY105" fmla="*/ 2663577 h 2673102"/>
                  <a:gd name="connsiteX106" fmla="*/ 345483 w 1739754"/>
                  <a:gd name="connsiteY106" fmla="*/ 2635002 h 2673102"/>
                  <a:gd name="connsiteX107" fmla="*/ 335958 w 1739754"/>
                  <a:gd name="connsiteY107" fmla="*/ 2620714 h 2673102"/>
                  <a:gd name="connsiteX108" fmla="*/ 297858 w 1739754"/>
                  <a:gd name="connsiteY108" fmla="*/ 2611189 h 2673102"/>
                  <a:gd name="connsiteX109" fmla="*/ 278808 w 1739754"/>
                  <a:gd name="connsiteY109" fmla="*/ 2592139 h 2673102"/>
                  <a:gd name="connsiteX110" fmla="*/ 274046 w 1739754"/>
                  <a:gd name="connsiteY110" fmla="*/ 2573089 h 2673102"/>
                  <a:gd name="connsiteX111" fmla="*/ 235946 w 1739754"/>
                  <a:gd name="connsiteY111" fmla="*/ 2539752 h 2673102"/>
                  <a:gd name="connsiteX112" fmla="*/ 231183 w 1739754"/>
                  <a:gd name="connsiteY112" fmla="*/ 2525464 h 2673102"/>
                  <a:gd name="connsiteX113" fmla="*/ 226421 w 1739754"/>
                  <a:gd name="connsiteY113" fmla="*/ 2506414 h 2673102"/>
                  <a:gd name="connsiteX114" fmla="*/ 212133 w 1739754"/>
                  <a:gd name="connsiteY114" fmla="*/ 2492127 h 2673102"/>
                  <a:gd name="connsiteX115" fmla="*/ 154983 w 1739754"/>
                  <a:gd name="connsiteY115" fmla="*/ 2439739 h 2673102"/>
                  <a:gd name="connsiteX116" fmla="*/ 150221 w 1739754"/>
                  <a:gd name="connsiteY116" fmla="*/ 2415927 h 2673102"/>
                  <a:gd name="connsiteX117" fmla="*/ 135933 w 1739754"/>
                  <a:gd name="connsiteY117" fmla="*/ 2358777 h 2673102"/>
                  <a:gd name="connsiteX118" fmla="*/ 121646 w 1739754"/>
                  <a:gd name="connsiteY118" fmla="*/ 2315914 h 2673102"/>
                  <a:gd name="connsiteX119" fmla="*/ 107358 w 1739754"/>
                  <a:gd name="connsiteY119" fmla="*/ 2258764 h 2673102"/>
                  <a:gd name="connsiteX120" fmla="*/ 102596 w 1739754"/>
                  <a:gd name="connsiteY120" fmla="*/ 2234952 h 2673102"/>
                  <a:gd name="connsiteX121" fmla="*/ 93071 w 1739754"/>
                  <a:gd name="connsiteY121" fmla="*/ 2211139 h 2673102"/>
                  <a:gd name="connsiteX122" fmla="*/ 88308 w 1739754"/>
                  <a:gd name="connsiteY122" fmla="*/ 2187327 h 2673102"/>
                  <a:gd name="connsiteX123" fmla="*/ 78783 w 1739754"/>
                  <a:gd name="connsiteY123" fmla="*/ 2111127 h 2673102"/>
                  <a:gd name="connsiteX124" fmla="*/ 97833 w 1739754"/>
                  <a:gd name="connsiteY124" fmla="*/ 1944439 h 2673102"/>
                  <a:gd name="connsiteX125" fmla="*/ 107358 w 1739754"/>
                  <a:gd name="connsiteY125" fmla="*/ 1930152 h 2673102"/>
                  <a:gd name="connsiteX126" fmla="*/ 126408 w 1739754"/>
                  <a:gd name="connsiteY126" fmla="*/ 1901577 h 2673102"/>
                  <a:gd name="connsiteX127" fmla="*/ 135933 w 1739754"/>
                  <a:gd name="connsiteY127" fmla="*/ 1868239 h 2673102"/>
                  <a:gd name="connsiteX128" fmla="*/ 131171 w 1739754"/>
                  <a:gd name="connsiteY128" fmla="*/ 1825377 h 2673102"/>
                  <a:gd name="connsiteX129" fmla="*/ 112121 w 1739754"/>
                  <a:gd name="connsiteY129" fmla="*/ 1820614 h 2673102"/>
                  <a:gd name="connsiteX130" fmla="*/ 102596 w 1739754"/>
                  <a:gd name="connsiteY130" fmla="*/ 1806327 h 2673102"/>
                  <a:gd name="connsiteX131" fmla="*/ 145458 w 1739754"/>
                  <a:gd name="connsiteY131" fmla="*/ 1720602 h 2673102"/>
                  <a:gd name="connsiteX132" fmla="*/ 159746 w 1739754"/>
                  <a:gd name="connsiteY132" fmla="*/ 1715839 h 2673102"/>
                  <a:gd name="connsiteX133" fmla="*/ 174033 w 1739754"/>
                  <a:gd name="connsiteY133" fmla="*/ 1696789 h 2673102"/>
                  <a:gd name="connsiteX134" fmla="*/ 188321 w 1739754"/>
                  <a:gd name="connsiteY134" fmla="*/ 1687264 h 2673102"/>
                  <a:gd name="connsiteX135" fmla="*/ 202608 w 1739754"/>
                  <a:gd name="connsiteY135" fmla="*/ 1653927 h 2673102"/>
                  <a:gd name="connsiteX136" fmla="*/ 193083 w 1739754"/>
                  <a:gd name="connsiteY136" fmla="*/ 1606302 h 2673102"/>
                  <a:gd name="connsiteX137" fmla="*/ 164508 w 1739754"/>
                  <a:gd name="connsiteY137" fmla="*/ 1596777 h 2673102"/>
                  <a:gd name="connsiteX138" fmla="*/ 154983 w 1739754"/>
                  <a:gd name="connsiteY138" fmla="*/ 1549152 h 2673102"/>
                  <a:gd name="connsiteX139" fmla="*/ 150221 w 1739754"/>
                  <a:gd name="connsiteY139" fmla="*/ 1411039 h 2673102"/>
                  <a:gd name="connsiteX140" fmla="*/ 140696 w 1739754"/>
                  <a:gd name="connsiteY140" fmla="*/ 1377702 h 2673102"/>
                  <a:gd name="connsiteX141" fmla="*/ 121646 w 1739754"/>
                  <a:gd name="connsiteY141" fmla="*/ 1311027 h 2673102"/>
                  <a:gd name="connsiteX142" fmla="*/ 116883 w 1739754"/>
                  <a:gd name="connsiteY142" fmla="*/ 1258639 h 2673102"/>
                  <a:gd name="connsiteX143" fmla="*/ 107358 w 1739754"/>
                  <a:gd name="connsiteY143" fmla="*/ 1244352 h 2673102"/>
                  <a:gd name="connsiteX144" fmla="*/ 93071 w 1739754"/>
                  <a:gd name="connsiteY144" fmla="*/ 1196727 h 2673102"/>
                  <a:gd name="connsiteX145" fmla="*/ 78783 w 1739754"/>
                  <a:gd name="connsiteY145" fmla="*/ 1177677 h 2673102"/>
                  <a:gd name="connsiteX146" fmla="*/ 59733 w 1739754"/>
                  <a:gd name="connsiteY146" fmla="*/ 1139577 h 2673102"/>
                  <a:gd name="connsiteX147" fmla="*/ 50208 w 1739754"/>
                  <a:gd name="connsiteY147" fmla="*/ 1111002 h 2673102"/>
                  <a:gd name="connsiteX148" fmla="*/ 45446 w 1739754"/>
                  <a:gd name="connsiteY148" fmla="*/ 1096714 h 2673102"/>
                  <a:gd name="connsiteX149" fmla="*/ 21633 w 1739754"/>
                  <a:gd name="connsiteY149" fmla="*/ 1025277 h 2673102"/>
                  <a:gd name="connsiteX150" fmla="*/ 202 w 1739754"/>
                  <a:gd name="connsiteY150" fmla="*/ 980033 h 2673102"/>
                  <a:gd name="connsiteX151" fmla="*/ 14490 w 1739754"/>
                  <a:gd name="connsiteY151" fmla="*/ 930027 h 2673102"/>
                  <a:gd name="connsiteX152" fmla="*/ 69259 w 1739754"/>
                  <a:gd name="connsiteY152" fmla="*/ 810964 h 2673102"/>
                  <a:gd name="connsiteX153" fmla="*/ 221658 w 1739754"/>
                  <a:gd name="connsiteY153" fmla="*/ 601414 h 2673102"/>
                  <a:gd name="connsiteX154" fmla="*/ 288333 w 1739754"/>
                  <a:gd name="connsiteY154" fmla="*/ 515689 h 2673102"/>
                  <a:gd name="connsiteX155" fmla="*/ 412158 w 1739754"/>
                  <a:gd name="connsiteY155" fmla="*/ 406152 h 2673102"/>
                  <a:gd name="connsiteX156" fmla="*/ 535983 w 1739754"/>
                  <a:gd name="connsiteY156" fmla="*/ 291851 h 2673102"/>
                  <a:gd name="connsiteX157" fmla="*/ 640758 w 1739754"/>
                  <a:gd name="connsiteY157" fmla="*/ 229939 h 2673102"/>
                  <a:gd name="connsiteX158" fmla="*/ 733628 w 1739754"/>
                  <a:gd name="connsiteY158" fmla="*/ 168026 h 2673102"/>
                  <a:gd name="connsiteX159" fmla="*/ 978896 w 1739754"/>
                  <a:gd name="connsiteY159" fmla="*/ 63251 h 2673102"/>
                  <a:gd name="connsiteX160" fmla="*/ 1159871 w 1739754"/>
                  <a:gd name="connsiteY160" fmla="*/ 6102 h 2673102"/>
                  <a:gd name="connsiteX161" fmla="*/ 1202733 w 1739754"/>
                  <a:gd name="connsiteY16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50371 w 1739754"/>
                  <a:gd name="connsiteY10" fmla="*/ 510927 h 2673102"/>
                  <a:gd name="connsiteX11" fmla="*/ 1378946 w 1739754"/>
                  <a:gd name="connsiteY11" fmla="*/ 520452 h 2673102"/>
                  <a:gd name="connsiteX12" fmla="*/ 1407521 w 1739754"/>
                  <a:gd name="connsiteY12" fmla="*/ 539502 h 2673102"/>
                  <a:gd name="connsiteX13" fmla="*/ 1469433 w 1739754"/>
                  <a:gd name="connsiteY13" fmla="*/ 568077 h 2673102"/>
                  <a:gd name="connsiteX14" fmla="*/ 1521821 w 1739754"/>
                  <a:gd name="connsiteY14" fmla="*/ 587127 h 2673102"/>
                  <a:gd name="connsiteX15" fmla="*/ 1540871 w 1739754"/>
                  <a:gd name="connsiteY15" fmla="*/ 596652 h 2673102"/>
                  <a:gd name="connsiteX16" fmla="*/ 1559921 w 1739754"/>
                  <a:gd name="connsiteY16" fmla="*/ 601414 h 2673102"/>
                  <a:gd name="connsiteX17" fmla="*/ 1607546 w 1739754"/>
                  <a:gd name="connsiteY17" fmla="*/ 639514 h 2673102"/>
                  <a:gd name="connsiteX18" fmla="*/ 1636121 w 1739754"/>
                  <a:gd name="connsiteY18" fmla="*/ 672852 h 2673102"/>
                  <a:gd name="connsiteX19" fmla="*/ 1650408 w 1739754"/>
                  <a:gd name="connsiteY19" fmla="*/ 687139 h 2673102"/>
                  <a:gd name="connsiteX20" fmla="*/ 1669458 w 1739754"/>
                  <a:gd name="connsiteY20" fmla="*/ 696664 h 2673102"/>
                  <a:gd name="connsiteX21" fmla="*/ 1683746 w 1739754"/>
                  <a:gd name="connsiteY21" fmla="*/ 706189 h 2673102"/>
                  <a:gd name="connsiteX22" fmla="*/ 1709940 w 1739754"/>
                  <a:gd name="connsiteY22" fmla="*/ 749052 h 2673102"/>
                  <a:gd name="connsiteX23" fmla="*/ 1702796 w 1739754"/>
                  <a:gd name="connsiteY23" fmla="*/ 853827 h 2673102"/>
                  <a:gd name="connsiteX24" fmla="*/ 1664696 w 1739754"/>
                  <a:gd name="connsiteY24" fmla="*/ 887164 h 2673102"/>
                  <a:gd name="connsiteX25" fmla="*/ 1650408 w 1739754"/>
                  <a:gd name="connsiteY25" fmla="*/ 901452 h 2673102"/>
                  <a:gd name="connsiteX26" fmla="*/ 1598021 w 1739754"/>
                  <a:gd name="connsiteY26" fmla="*/ 906214 h 2673102"/>
                  <a:gd name="connsiteX27" fmla="*/ 1555158 w 1739754"/>
                  <a:gd name="connsiteY27" fmla="*/ 925264 h 2673102"/>
                  <a:gd name="connsiteX28" fmla="*/ 1531346 w 1739754"/>
                  <a:gd name="connsiteY28" fmla="*/ 939552 h 2673102"/>
                  <a:gd name="connsiteX29" fmla="*/ 1498008 w 1739754"/>
                  <a:gd name="connsiteY29" fmla="*/ 987177 h 2673102"/>
                  <a:gd name="connsiteX30" fmla="*/ 1345608 w 1739754"/>
                  <a:gd name="connsiteY30" fmla="*/ 1030039 h 2673102"/>
                  <a:gd name="connsiteX31" fmla="*/ 1297983 w 1739754"/>
                  <a:gd name="connsiteY31" fmla="*/ 1053852 h 2673102"/>
                  <a:gd name="connsiteX32" fmla="*/ 1231308 w 1739754"/>
                  <a:gd name="connsiteY32" fmla="*/ 1082427 h 2673102"/>
                  <a:gd name="connsiteX33" fmla="*/ 1126533 w 1739754"/>
                  <a:gd name="connsiteY33" fmla="*/ 1096714 h 2673102"/>
                  <a:gd name="connsiteX34" fmla="*/ 1102721 w 1739754"/>
                  <a:gd name="connsiteY34" fmla="*/ 1101477 h 2673102"/>
                  <a:gd name="connsiteX35" fmla="*/ 1078908 w 1739754"/>
                  <a:gd name="connsiteY35" fmla="*/ 1111002 h 2673102"/>
                  <a:gd name="connsiteX36" fmla="*/ 964608 w 1739754"/>
                  <a:gd name="connsiteY36" fmla="*/ 1106239 h 2673102"/>
                  <a:gd name="connsiteX37" fmla="*/ 859833 w 1739754"/>
                  <a:gd name="connsiteY37" fmla="*/ 1058614 h 2673102"/>
                  <a:gd name="connsiteX38" fmla="*/ 812208 w 1739754"/>
                  <a:gd name="connsiteY38" fmla="*/ 1034802 h 2673102"/>
                  <a:gd name="connsiteX39" fmla="*/ 788396 w 1739754"/>
                  <a:gd name="connsiteY39" fmla="*/ 1020514 h 2673102"/>
                  <a:gd name="connsiteX40" fmla="*/ 769346 w 1739754"/>
                  <a:gd name="connsiteY40" fmla="*/ 1006227 h 2673102"/>
                  <a:gd name="connsiteX41" fmla="*/ 678858 w 1739754"/>
                  <a:gd name="connsiteY41" fmla="*/ 958602 h 2673102"/>
                  <a:gd name="connsiteX42" fmla="*/ 645521 w 1739754"/>
                  <a:gd name="connsiteY42" fmla="*/ 939552 h 2673102"/>
                  <a:gd name="connsiteX43" fmla="*/ 526458 w 1739754"/>
                  <a:gd name="connsiteY43" fmla="*/ 910977 h 2673102"/>
                  <a:gd name="connsiteX44" fmla="*/ 483596 w 1739754"/>
                  <a:gd name="connsiteY44" fmla="*/ 891927 h 2673102"/>
                  <a:gd name="connsiteX45" fmla="*/ 421683 w 1739754"/>
                  <a:gd name="connsiteY45" fmla="*/ 882402 h 2673102"/>
                  <a:gd name="connsiteX46" fmla="*/ 321671 w 1739754"/>
                  <a:gd name="connsiteY46" fmla="*/ 896689 h 2673102"/>
                  <a:gd name="connsiteX47" fmla="*/ 307383 w 1739754"/>
                  <a:gd name="connsiteY47" fmla="*/ 910977 h 2673102"/>
                  <a:gd name="connsiteX48" fmla="*/ 283571 w 1739754"/>
                  <a:gd name="connsiteY48" fmla="*/ 949077 h 2673102"/>
                  <a:gd name="connsiteX49" fmla="*/ 269283 w 1739754"/>
                  <a:gd name="connsiteY49" fmla="*/ 987177 h 2673102"/>
                  <a:gd name="connsiteX50" fmla="*/ 264521 w 1739754"/>
                  <a:gd name="connsiteY50" fmla="*/ 1039564 h 2673102"/>
                  <a:gd name="connsiteX51" fmla="*/ 264521 w 1739754"/>
                  <a:gd name="connsiteY51" fmla="*/ 1120527 h 2673102"/>
                  <a:gd name="connsiteX52" fmla="*/ 297858 w 1739754"/>
                  <a:gd name="connsiteY52" fmla="*/ 1153864 h 2673102"/>
                  <a:gd name="connsiteX53" fmla="*/ 326433 w 1739754"/>
                  <a:gd name="connsiteY53" fmla="*/ 1163389 h 2673102"/>
                  <a:gd name="connsiteX54" fmla="*/ 326433 w 1739754"/>
                  <a:gd name="connsiteY54" fmla="*/ 1244352 h 2673102"/>
                  <a:gd name="connsiteX55" fmla="*/ 312146 w 1739754"/>
                  <a:gd name="connsiteY55" fmla="*/ 1258639 h 2673102"/>
                  <a:gd name="connsiteX56" fmla="*/ 259758 w 1739754"/>
                  <a:gd name="connsiteY56" fmla="*/ 1296739 h 2673102"/>
                  <a:gd name="connsiteX57" fmla="*/ 240708 w 1739754"/>
                  <a:gd name="connsiteY57" fmla="*/ 1325314 h 2673102"/>
                  <a:gd name="connsiteX58" fmla="*/ 250233 w 1739754"/>
                  <a:gd name="connsiteY58" fmla="*/ 1425327 h 2673102"/>
                  <a:gd name="connsiteX59" fmla="*/ 278808 w 1739754"/>
                  <a:gd name="connsiteY59" fmla="*/ 1472952 h 2673102"/>
                  <a:gd name="connsiteX60" fmla="*/ 293096 w 1739754"/>
                  <a:gd name="connsiteY60" fmla="*/ 1492002 h 2673102"/>
                  <a:gd name="connsiteX61" fmla="*/ 383583 w 1739754"/>
                  <a:gd name="connsiteY61" fmla="*/ 1525339 h 2673102"/>
                  <a:gd name="connsiteX62" fmla="*/ 407396 w 1739754"/>
                  <a:gd name="connsiteY62" fmla="*/ 1492002 h 2673102"/>
                  <a:gd name="connsiteX63" fmla="*/ 412158 w 1739754"/>
                  <a:gd name="connsiteY63" fmla="*/ 1468189 h 2673102"/>
                  <a:gd name="connsiteX64" fmla="*/ 416921 w 1739754"/>
                  <a:gd name="connsiteY64" fmla="*/ 1449139 h 2673102"/>
                  <a:gd name="connsiteX65" fmla="*/ 445496 w 1739754"/>
                  <a:gd name="connsiteY65" fmla="*/ 1439614 h 2673102"/>
                  <a:gd name="connsiteX66" fmla="*/ 545508 w 1739754"/>
                  <a:gd name="connsiteY66" fmla="*/ 1458664 h 2673102"/>
                  <a:gd name="connsiteX67" fmla="*/ 555033 w 1739754"/>
                  <a:gd name="connsiteY67" fmla="*/ 1482477 h 2673102"/>
                  <a:gd name="connsiteX68" fmla="*/ 564558 w 1739754"/>
                  <a:gd name="connsiteY68" fmla="*/ 1515814 h 2673102"/>
                  <a:gd name="connsiteX69" fmla="*/ 550271 w 1739754"/>
                  <a:gd name="connsiteY69" fmla="*/ 1534864 h 2673102"/>
                  <a:gd name="connsiteX70" fmla="*/ 550271 w 1739754"/>
                  <a:gd name="connsiteY70" fmla="*/ 1601539 h 2673102"/>
                  <a:gd name="connsiteX71" fmla="*/ 559796 w 1739754"/>
                  <a:gd name="connsiteY71" fmla="*/ 1620589 h 2673102"/>
                  <a:gd name="connsiteX72" fmla="*/ 626471 w 1739754"/>
                  <a:gd name="connsiteY72" fmla="*/ 1639639 h 2673102"/>
                  <a:gd name="connsiteX73" fmla="*/ 645521 w 1739754"/>
                  <a:gd name="connsiteY73" fmla="*/ 1592014 h 2673102"/>
                  <a:gd name="connsiteX74" fmla="*/ 702671 w 1739754"/>
                  <a:gd name="connsiteY74" fmla="*/ 1620589 h 2673102"/>
                  <a:gd name="connsiteX75" fmla="*/ 731246 w 1739754"/>
                  <a:gd name="connsiteY75" fmla="*/ 1630114 h 2673102"/>
                  <a:gd name="connsiteX76" fmla="*/ 783633 w 1739754"/>
                  <a:gd name="connsiteY76" fmla="*/ 1663452 h 2673102"/>
                  <a:gd name="connsiteX77" fmla="*/ 859833 w 1739754"/>
                  <a:gd name="connsiteY77" fmla="*/ 1687264 h 2673102"/>
                  <a:gd name="connsiteX78" fmla="*/ 878883 w 1739754"/>
                  <a:gd name="connsiteY78" fmla="*/ 1701552 h 2673102"/>
                  <a:gd name="connsiteX79" fmla="*/ 888408 w 1739754"/>
                  <a:gd name="connsiteY79" fmla="*/ 1739652 h 2673102"/>
                  <a:gd name="connsiteX80" fmla="*/ 897933 w 1739754"/>
                  <a:gd name="connsiteY80" fmla="*/ 1782514 h 2673102"/>
                  <a:gd name="connsiteX81" fmla="*/ 940796 w 1739754"/>
                  <a:gd name="connsiteY81" fmla="*/ 1892052 h 2673102"/>
                  <a:gd name="connsiteX82" fmla="*/ 950321 w 1739754"/>
                  <a:gd name="connsiteY82" fmla="*/ 1906339 h 2673102"/>
                  <a:gd name="connsiteX83" fmla="*/ 959846 w 1739754"/>
                  <a:gd name="connsiteY83" fmla="*/ 1939677 h 2673102"/>
                  <a:gd name="connsiteX84" fmla="*/ 974133 w 1739754"/>
                  <a:gd name="connsiteY84" fmla="*/ 1977777 h 2673102"/>
                  <a:gd name="connsiteX85" fmla="*/ 964608 w 1739754"/>
                  <a:gd name="connsiteY85" fmla="*/ 2082552 h 2673102"/>
                  <a:gd name="connsiteX86" fmla="*/ 955083 w 1739754"/>
                  <a:gd name="connsiteY86" fmla="*/ 2101602 h 2673102"/>
                  <a:gd name="connsiteX87" fmla="*/ 926508 w 1739754"/>
                  <a:gd name="connsiteY87" fmla="*/ 2144464 h 2673102"/>
                  <a:gd name="connsiteX88" fmla="*/ 907458 w 1739754"/>
                  <a:gd name="connsiteY88" fmla="*/ 2192089 h 2673102"/>
                  <a:gd name="connsiteX89" fmla="*/ 902696 w 1739754"/>
                  <a:gd name="connsiteY89" fmla="*/ 2211139 h 2673102"/>
                  <a:gd name="connsiteX90" fmla="*/ 893171 w 1739754"/>
                  <a:gd name="connsiteY90" fmla="*/ 2239714 h 2673102"/>
                  <a:gd name="connsiteX91" fmla="*/ 897933 w 1739754"/>
                  <a:gd name="connsiteY91" fmla="*/ 2287339 h 2673102"/>
                  <a:gd name="connsiteX92" fmla="*/ 893171 w 1739754"/>
                  <a:gd name="connsiteY92" fmla="*/ 2396877 h 2673102"/>
                  <a:gd name="connsiteX93" fmla="*/ 688383 w 1739754"/>
                  <a:gd name="connsiteY93" fmla="*/ 2449264 h 2673102"/>
                  <a:gd name="connsiteX94" fmla="*/ 655046 w 1739754"/>
                  <a:gd name="connsiteY94" fmla="*/ 2473077 h 2673102"/>
                  <a:gd name="connsiteX95" fmla="*/ 607421 w 1739754"/>
                  <a:gd name="connsiteY95" fmla="*/ 2511177 h 2673102"/>
                  <a:gd name="connsiteX96" fmla="*/ 574083 w 1739754"/>
                  <a:gd name="connsiteY96" fmla="*/ 2534989 h 2673102"/>
                  <a:gd name="connsiteX97" fmla="*/ 540746 w 1739754"/>
                  <a:gd name="connsiteY97" fmla="*/ 2554039 h 2673102"/>
                  <a:gd name="connsiteX98" fmla="*/ 497883 w 1739754"/>
                  <a:gd name="connsiteY98" fmla="*/ 2587377 h 2673102"/>
                  <a:gd name="connsiteX99" fmla="*/ 483596 w 1739754"/>
                  <a:gd name="connsiteY99" fmla="*/ 2601664 h 2673102"/>
                  <a:gd name="connsiteX100" fmla="*/ 459783 w 1739754"/>
                  <a:gd name="connsiteY100" fmla="*/ 2620714 h 2673102"/>
                  <a:gd name="connsiteX101" fmla="*/ 450258 w 1739754"/>
                  <a:gd name="connsiteY101" fmla="*/ 2635002 h 2673102"/>
                  <a:gd name="connsiteX102" fmla="*/ 416921 w 1739754"/>
                  <a:gd name="connsiteY102" fmla="*/ 2654052 h 2673102"/>
                  <a:gd name="connsiteX103" fmla="*/ 374058 w 1739754"/>
                  <a:gd name="connsiteY103" fmla="*/ 2673102 h 2673102"/>
                  <a:gd name="connsiteX104" fmla="*/ 359771 w 1739754"/>
                  <a:gd name="connsiteY104" fmla="*/ 2663577 h 2673102"/>
                  <a:gd name="connsiteX105" fmla="*/ 345483 w 1739754"/>
                  <a:gd name="connsiteY105" fmla="*/ 2635002 h 2673102"/>
                  <a:gd name="connsiteX106" fmla="*/ 335958 w 1739754"/>
                  <a:gd name="connsiteY106" fmla="*/ 2620714 h 2673102"/>
                  <a:gd name="connsiteX107" fmla="*/ 297858 w 1739754"/>
                  <a:gd name="connsiteY107" fmla="*/ 2611189 h 2673102"/>
                  <a:gd name="connsiteX108" fmla="*/ 278808 w 1739754"/>
                  <a:gd name="connsiteY108" fmla="*/ 2592139 h 2673102"/>
                  <a:gd name="connsiteX109" fmla="*/ 274046 w 1739754"/>
                  <a:gd name="connsiteY109" fmla="*/ 2573089 h 2673102"/>
                  <a:gd name="connsiteX110" fmla="*/ 235946 w 1739754"/>
                  <a:gd name="connsiteY110" fmla="*/ 2539752 h 2673102"/>
                  <a:gd name="connsiteX111" fmla="*/ 231183 w 1739754"/>
                  <a:gd name="connsiteY111" fmla="*/ 2525464 h 2673102"/>
                  <a:gd name="connsiteX112" fmla="*/ 226421 w 1739754"/>
                  <a:gd name="connsiteY112" fmla="*/ 2506414 h 2673102"/>
                  <a:gd name="connsiteX113" fmla="*/ 212133 w 1739754"/>
                  <a:gd name="connsiteY113" fmla="*/ 2492127 h 2673102"/>
                  <a:gd name="connsiteX114" fmla="*/ 154983 w 1739754"/>
                  <a:gd name="connsiteY114" fmla="*/ 2439739 h 2673102"/>
                  <a:gd name="connsiteX115" fmla="*/ 150221 w 1739754"/>
                  <a:gd name="connsiteY115" fmla="*/ 2415927 h 2673102"/>
                  <a:gd name="connsiteX116" fmla="*/ 135933 w 1739754"/>
                  <a:gd name="connsiteY116" fmla="*/ 2358777 h 2673102"/>
                  <a:gd name="connsiteX117" fmla="*/ 121646 w 1739754"/>
                  <a:gd name="connsiteY117" fmla="*/ 2315914 h 2673102"/>
                  <a:gd name="connsiteX118" fmla="*/ 107358 w 1739754"/>
                  <a:gd name="connsiteY118" fmla="*/ 2258764 h 2673102"/>
                  <a:gd name="connsiteX119" fmla="*/ 102596 w 1739754"/>
                  <a:gd name="connsiteY119" fmla="*/ 2234952 h 2673102"/>
                  <a:gd name="connsiteX120" fmla="*/ 93071 w 1739754"/>
                  <a:gd name="connsiteY120" fmla="*/ 2211139 h 2673102"/>
                  <a:gd name="connsiteX121" fmla="*/ 88308 w 1739754"/>
                  <a:gd name="connsiteY121" fmla="*/ 2187327 h 2673102"/>
                  <a:gd name="connsiteX122" fmla="*/ 78783 w 1739754"/>
                  <a:gd name="connsiteY122" fmla="*/ 2111127 h 2673102"/>
                  <a:gd name="connsiteX123" fmla="*/ 97833 w 1739754"/>
                  <a:gd name="connsiteY123" fmla="*/ 1944439 h 2673102"/>
                  <a:gd name="connsiteX124" fmla="*/ 107358 w 1739754"/>
                  <a:gd name="connsiteY124" fmla="*/ 1930152 h 2673102"/>
                  <a:gd name="connsiteX125" fmla="*/ 126408 w 1739754"/>
                  <a:gd name="connsiteY125" fmla="*/ 1901577 h 2673102"/>
                  <a:gd name="connsiteX126" fmla="*/ 135933 w 1739754"/>
                  <a:gd name="connsiteY126" fmla="*/ 1868239 h 2673102"/>
                  <a:gd name="connsiteX127" fmla="*/ 131171 w 1739754"/>
                  <a:gd name="connsiteY127" fmla="*/ 1825377 h 2673102"/>
                  <a:gd name="connsiteX128" fmla="*/ 112121 w 1739754"/>
                  <a:gd name="connsiteY128" fmla="*/ 1820614 h 2673102"/>
                  <a:gd name="connsiteX129" fmla="*/ 102596 w 1739754"/>
                  <a:gd name="connsiteY129" fmla="*/ 1806327 h 2673102"/>
                  <a:gd name="connsiteX130" fmla="*/ 145458 w 1739754"/>
                  <a:gd name="connsiteY130" fmla="*/ 1720602 h 2673102"/>
                  <a:gd name="connsiteX131" fmla="*/ 159746 w 1739754"/>
                  <a:gd name="connsiteY131" fmla="*/ 1715839 h 2673102"/>
                  <a:gd name="connsiteX132" fmla="*/ 174033 w 1739754"/>
                  <a:gd name="connsiteY132" fmla="*/ 1696789 h 2673102"/>
                  <a:gd name="connsiteX133" fmla="*/ 188321 w 1739754"/>
                  <a:gd name="connsiteY133" fmla="*/ 1687264 h 2673102"/>
                  <a:gd name="connsiteX134" fmla="*/ 202608 w 1739754"/>
                  <a:gd name="connsiteY134" fmla="*/ 1653927 h 2673102"/>
                  <a:gd name="connsiteX135" fmla="*/ 193083 w 1739754"/>
                  <a:gd name="connsiteY135" fmla="*/ 1606302 h 2673102"/>
                  <a:gd name="connsiteX136" fmla="*/ 164508 w 1739754"/>
                  <a:gd name="connsiteY136" fmla="*/ 1596777 h 2673102"/>
                  <a:gd name="connsiteX137" fmla="*/ 154983 w 1739754"/>
                  <a:gd name="connsiteY137" fmla="*/ 1549152 h 2673102"/>
                  <a:gd name="connsiteX138" fmla="*/ 150221 w 1739754"/>
                  <a:gd name="connsiteY138" fmla="*/ 1411039 h 2673102"/>
                  <a:gd name="connsiteX139" fmla="*/ 140696 w 1739754"/>
                  <a:gd name="connsiteY139" fmla="*/ 1377702 h 2673102"/>
                  <a:gd name="connsiteX140" fmla="*/ 121646 w 1739754"/>
                  <a:gd name="connsiteY140" fmla="*/ 1311027 h 2673102"/>
                  <a:gd name="connsiteX141" fmla="*/ 116883 w 1739754"/>
                  <a:gd name="connsiteY141" fmla="*/ 1258639 h 2673102"/>
                  <a:gd name="connsiteX142" fmla="*/ 107358 w 1739754"/>
                  <a:gd name="connsiteY142" fmla="*/ 1244352 h 2673102"/>
                  <a:gd name="connsiteX143" fmla="*/ 93071 w 1739754"/>
                  <a:gd name="connsiteY143" fmla="*/ 1196727 h 2673102"/>
                  <a:gd name="connsiteX144" fmla="*/ 78783 w 1739754"/>
                  <a:gd name="connsiteY144" fmla="*/ 1177677 h 2673102"/>
                  <a:gd name="connsiteX145" fmla="*/ 59733 w 1739754"/>
                  <a:gd name="connsiteY145" fmla="*/ 1139577 h 2673102"/>
                  <a:gd name="connsiteX146" fmla="*/ 50208 w 1739754"/>
                  <a:gd name="connsiteY146" fmla="*/ 1111002 h 2673102"/>
                  <a:gd name="connsiteX147" fmla="*/ 45446 w 1739754"/>
                  <a:gd name="connsiteY147" fmla="*/ 1096714 h 2673102"/>
                  <a:gd name="connsiteX148" fmla="*/ 21633 w 1739754"/>
                  <a:gd name="connsiteY148" fmla="*/ 1025277 h 2673102"/>
                  <a:gd name="connsiteX149" fmla="*/ 202 w 1739754"/>
                  <a:gd name="connsiteY149" fmla="*/ 980033 h 2673102"/>
                  <a:gd name="connsiteX150" fmla="*/ 14490 w 1739754"/>
                  <a:gd name="connsiteY150" fmla="*/ 930027 h 2673102"/>
                  <a:gd name="connsiteX151" fmla="*/ 69259 w 1739754"/>
                  <a:gd name="connsiteY151" fmla="*/ 810964 h 2673102"/>
                  <a:gd name="connsiteX152" fmla="*/ 221658 w 1739754"/>
                  <a:gd name="connsiteY152" fmla="*/ 601414 h 2673102"/>
                  <a:gd name="connsiteX153" fmla="*/ 288333 w 1739754"/>
                  <a:gd name="connsiteY153" fmla="*/ 515689 h 2673102"/>
                  <a:gd name="connsiteX154" fmla="*/ 412158 w 1739754"/>
                  <a:gd name="connsiteY154" fmla="*/ 406152 h 2673102"/>
                  <a:gd name="connsiteX155" fmla="*/ 535983 w 1739754"/>
                  <a:gd name="connsiteY155" fmla="*/ 291851 h 2673102"/>
                  <a:gd name="connsiteX156" fmla="*/ 640758 w 1739754"/>
                  <a:gd name="connsiteY156" fmla="*/ 229939 h 2673102"/>
                  <a:gd name="connsiteX157" fmla="*/ 733628 w 1739754"/>
                  <a:gd name="connsiteY157" fmla="*/ 168026 h 2673102"/>
                  <a:gd name="connsiteX158" fmla="*/ 978896 w 1739754"/>
                  <a:gd name="connsiteY158" fmla="*/ 63251 h 2673102"/>
                  <a:gd name="connsiteX159" fmla="*/ 1159871 w 1739754"/>
                  <a:gd name="connsiteY159" fmla="*/ 6102 h 2673102"/>
                  <a:gd name="connsiteX160" fmla="*/ 1202733 w 1739754"/>
                  <a:gd name="connsiteY160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469433 w 1739754"/>
                  <a:gd name="connsiteY12" fmla="*/ 568077 h 2673102"/>
                  <a:gd name="connsiteX13" fmla="*/ 1521821 w 1739754"/>
                  <a:gd name="connsiteY13" fmla="*/ 587127 h 2673102"/>
                  <a:gd name="connsiteX14" fmla="*/ 1540871 w 1739754"/>
                  <a:gd name="connsiteY14" fmla="*/ 596652 h 2673102"/>
                  <a:gd name="connsiteX15" fmla="*/ 1559921 w 1739754"/>
                  <a:gd name="connsiteY15" fmla="*/ 601414 h 2673102"/>
                  <a:gd name="connsiteX16" fmla="*/ 1607546 w 1739754"/>
                  <a:gd name="connsiteY16" fmla="*/ 639514 h 2673102"/>
                  <a:gd name="connsiteX17" fmla="*/ 1636121 w 1739754"/>
                  <a:gd name="connsiteY17" fmla="*/ 672852 h 2673102"/>
                  <a:gd name="connsiteX18" fmla="*/ 1650408 w 1739754"/>
                  <a:gd name="connsiteY18" fmla="*/ 687139 h 2673102"/>
                  <a:gd name="connsiteX19" fmla="*/ 1669458 w 1739754"/>
                  <a:gd name="connsiteY19" fmla="*/ 696664 h 2673102"/>
                  <a:gd name="connsiteX20" fmla="*/ 1683746 w 1739754"/>
                  <a:gd name="connsiteY20" fmla="*/ 706189 h 2673102"/>
                  <a:gd name="connsiteX21" fmla="*/ 1709940 w 1739754"/>
                  <a:gd name="connsiteY21" fmla="*/ 749052 h 2673102"/>
                  <a:gd name="connsiteX22" fmla="*/ 1702796 w 1739754"/>
                  <a:gd name="connsiteY22" fmla="*/ 853827 h 2673102"/>
                  <a:gd name="connsiteX23" fmla="*/ 1664696 w 1739754"/>
                  <a:gd name="connsiteY23" fmla="*/ 887164 h 2673102"/>
                  <a:gd name="connsiteX24" fmla="*/ 1650408 w 1739754"/>
                  <a:gd name="connsiteY24" fmla="*/ 901452 h 2673102"/>
                  <a:gd name="connsiteX25" fmla="*/ 1598021 w 1739754"/>
                  <a:gd name="connsiteY25" fmla="*/ 906214 h 2673102"/>
                  <a:gd name="connsiteX26" fmla="*/ 1555158 w 1739754"/>
                  <a:gd name="connsiteY26" fmla="*/ 925264 h 2673102"/>
                  <a:gd name="connsiteX27" fmla="*/ 1531346 w 1739754"/>
                  <a:gd name="connsiteY27" fmla="*/ 939552 h 2673102"/>
                  <a:gd name="connsiteX28" fmla="*/ 1498008 w 1739754"/>
                  <a:gd name="connsiteY28" fmla="*/ 987177 h 2673102"/>
                  <a:gd name="connsiteX29" fmla="*/ 1345608 w 1739754"/>
                  <a:gd name="connsiteY29" fmla="*/ 1030039 h 2673102"/>
                  <a:gd name="connsiteX30" fmla="*/ 1297983 w 1739754"/>
                  <a:gd name="connsiteY30" fmla="*/ 1053852 h 2673102"/>
                  <a:gd name="connsiteX31" fmla="*/ 1231308 w 1739754"/>
                  <a:gd name="connsiteY31" fmla="*/ 1082427 h 2673102"/>
                  <a:gd name="connsiteX32" fmla="*/ 1126533 w 1739754"/>
                  <a:gd name="connsiteY32" fmla="*/ 1096714 h 2673102"/>
                  <a:gd name="connsiteX33" fmla="*/ 1102721 w 1739754"/>
                  <a:gd name="connsiteY33" fmla="*/ 1101477 h 2673102"/>
                  <a:gd name="connsiteX34" fmla="*/ 1078908 w 1739754"/>
                  <a:gd name="connsiteY34" fmla="*/ 1111002 h 2673102"/>
                  <a:gd name="connsiteX35" fmla="*/ 964608 w 1739754"/>
                  <a:gd name="connsiteY35" fmla="*/ 1106239 h 2673102"/>
                  <a:gd name="connsiteX36" fmla="*/ 859833 w 1739754"/>
                  <a:gd name="connsiteY36" fmla="*/ 1058614 h 2673102"/>
                  <a:gd name="connsiteX37" fmla="*/ 812208 w 1739754"/>
                  <a:gd name="connsiteY37" fmla="*/ 1034802 h 2673102"/>
                  <a:gd name="connsiteX38" fmla="*/ 788396 w 1739754"/>
                  <a:gd name="connsiteY38" fmla="*/ 1020514 h 2673102"/>
                  <a:gd name="connsiteX39" fmla="*/ 769346 w 1739754"/>
                  <a:gd name="connsiteY39" fmla="*/ 1006227 h 2673102"/>
                  <a:gd name="connsiteX40" fmla="*/ 678858 w 1739754"/>
                  <a:gd name="connsiteY40" fmla="*/ 958602 h 2673102"/>
                  <a:gd name="connsiteX41" fmla="*/ 645521 w 1739754"/>
                  <a:gd name="connsiteY41" fmla="*/ 939552 h 2673102"/>
                  <a:gd name="connsiteX42" fmla="*/ 526458 w 1739754"/>
                  <a:gd name="connsiteY42" fmla="*/ 910977 h 2673102"/>
                  <a:gd name="connsiteX43" fmla="*/ 483596 w 1739754"/>
                  <a:gd name="connsiteY43" fmla="*/ 891927 h 2673102"/>
                  <a:gd name="connsiteX44" fmla="*/ 421683 w 1739754"/>
                  <a:gd name="connsiteY44" fmla="*/ 882402 h 2673102"/>
                  <a:gd name="connsiteX45" fmla="*/ 321671 w 1739754"/>
                  <a:gd name="connsiteY45" fmla="*/ 896689 h 2673102"/>
                  <a:gd name="connsiteX46" fmla="*/ 307383 w 1739754"/>
                  <a:gd name="connsiteY46" fmla="*/ 910977 h 2673102"/>
                  <a:gd name="connsiteX47" fmla="*/ 283571 w 1739754"/>
                  <a:gd name="connsiteY47" fmla="*/ 949077 h 2673102"/>
                  <a:gd name="connsiteX48" fmla="*/ 269283 w 1739754"/>
                  <a:gd name="connsiteY48" fmla="*/ 987177 h 2673102"/>
                  <a:gd name="connsiteX49" fmla="*/ 264521 w 1739754"/>
                  <a:gd name="connsiteY49" fmla="*/ 1039564 h 2673102"/>
                  <a:gd name="connsiteX50" fmla="*/ 264521 w 1739754"/>
                  <a:gd name="connsiteY50" fmla="*/ 1120527 h 2673102"/>
                  <a:gd name="connsiteX51" fmla="*/ 297858 w 1739754"/>
                  <a:gd name="connsiteY51" fmla="*/ 1153864 h 2673102"/>
                  <a:gd name="connsiteX52" fmla="*/ 326433 w 1739754"/>
                  <a:gd name="connsiteY52" fmla="*/ 1163389 h 2673102"/>
                  <a:gd name="connsiteX53" fmla="*/ 326433 w 1739754"/>
                  <a:gd name="connsiteY53" fmla="*/ 1244352 h 2673102"/>
                  <a:gd name="connsiteX54" fmla="*/ 312146 w 1739754"/>
                  <a:gd name="connsiteY54" fmla="*/ 1258639 h 2673102"/>
                  <a:gd name="connsiteX55" fmla="*/ 259758 w 1739754"/>
                  <a:gd name="connsiteY55" fmla="*/ 1296739 h 2673102"/>
                  <a:gd name="connsiteX56" fmla="*/ 240708 w 1739754"/>
                  <a:gd name="connsiteY56" fmla="*/ 1325314 h 2673102"/>
                  <a:gd name="connsiteX57" fmla="*/ 250233 w 1739754"/>
                  <a:gd name="connsiteY57" fmla="*/ 1425327 h 2673102"/>
                  <a:gd name="connsiteX58" fmla="*/ 278808 w 1739754"/>
                  <a:gd name="connsiteY58" fmla="*/ 1472952 h 2673102"/>
                  <a:gd name="connsiteX59" fmla="*/ 293096 w 1739754"/>
                  <a:gd name="connsiteY59" fmla="*/ 1492002 h 2673102"/>
                  <a:gd name="connsiteX60" fmla="*/ 383583 w 1739754"/>
                  <a:gd name="connsiteY60" fmla="*/ 1525339 h 2673102"/>
                  <a:gd name="connsiteX61" fmla="*/ 407396 w 1739754"/>
                  <a:gd name="connsiteY61" fmla="*/ 1492002 h 2673102"/>
                  <a:gd name="connsiteX62" fmla="*/ 412158 w 1739754"/>
                  <a:gd name="connsiteY62" fmla="*/ 1468189 h 2673102"/>
                  <a:gd name="connsiteX63" fmla="*/ 416921 w 1739754"/>
                  <a:gd name="connsiteY63" fmla="*/ 1449139 h 2673102"/>
                  <a:gd name="connsiteX64" fmla="*/ 445496 w 1739754"/>
                  <a:gd name="connsiteY64" fmla="*/ 1439614 h 2673102"/>
                  <a:gd name="connsiteX65" fmla="*/ 545508 w 1739754"/>
                  <a:gd name="connsiteY65" fmla="*/ 1458664 h 2673102"/>
                  <a:gd name="connsiteX66" fmla="*/ 555033 w 1739754"/>
                  <a:gd name="connsiteY66" fmla="*/ 1482477 h 2673102"/>
                  <a:gd name="connsiteX67" fmla="*/ 564558 w 1739754"/>
                  <a:gd name="connsiteY67" fmla="*/ 1515814 h 2673102"/>
                  <a:gd name="connsiteX68" fmla="*/ 550271 w 1739754"/>
                  <a:gd name="connsiteY68" fmla="*/ 1534864 h 2673102"/>
                  <a:gd name="connsiteX69" fmla="*/ 550271 w 1739754"/>
                  <a:gd name="connsiteY69" fmla="*/ 1601539 h 2673102"/>
                  <a:gd name="connsiteX70" fmla="*/ 559796 w 1739754"/>
                  <a:gd name="connsiteY70" fmla="*/ 1620589 h 2673102"/>
                  <a:gd name="connsiteX71" fmla="*/ 626471 w 1739754"/>
                  <a:gd name="connsiteY71" fmla="*/ 1639639 h 2673102"/>
                  <a:gd name="connsiteX72" fmla="*/ 645521 w 1739754"/>
                  <a:gd name="connsiteY72" fmla="*/ 1592014 h 2673102"/>
                  <a:gd name="connsiteX73" fmla="*/ 702671 w 1739754"/>
                  <a:gd name="connsiteY73" fmla="*/ 1620589 h 2673102"/>
                  <a:gd name="connsiteX74" fmla="*/ 731246 w 1739754"/>
                  <a:gd name="connsiteY74" fmla="*/ 1630114 h 2673102"/>
                  <a:gd name="connsiteX75" fmla="*/ 783633 w 1739754"/>
                  <a:gd name="connsiteY75" fmla="*/ 1663452 h 2673102"/>
                  <a:gd name="connsiteX76" fmla="*/ 859833 w 1739754"/>
                  <a:gd name="connsiteY76" fmla="*/ 1687264 h 2673102"/>
                  <a:gd name="connsiteX77" fmla="*/ 878883 w 1739754"/>
                  <a:gd name="connsiteY77" fmla="*/ 1701552 h 2673102"/>
                  <a:gd name="connsiteX78" fmla="*/ 888408 w 1739754"/>
                  <a:gd name="connsiteY78" fmla="*/ 1739652 h 2673102"/>
                  <a:gd name="connsiteX79" fmla="*/ 897933 w 1739754"/>
                  <a:gd name="connsiteY79" fmla="*/ 1782514 h 2673102"/>
                  <a:gd name="connsiteX80" fmla="*/ 940796 w 1739754"/>
                  <a:gd name="connsiteY80" fmla="*/ 1892052 h 2673102"/>
                  <a:gd name="connsiteX81" fmla="*/ 950321 w 1739754"/>
                  <a:gd name="connsiteY81" fmla="*/ 1906339 h 2673102"/>
                  <a:gd name="connsiteX82" fmla="*/ 959846 w 1739754"/>
                  <a:gd name="connsiteY82" fmla="*/ 1939677 h 2673102"/>
                  <a:gd name="connsiteX83" fmla="*/ 974133 w 1739754"/>
                  <a:gd name="connsiteY83" fmla="*/ 1977777 h 2673102"/>
                  <a:gd name="connsiteX84" fmla="*/ 964608 w 1739754"/>
                  <a:gd name="connsiteY84" fmla="*/ 2082552 h 2673102"/>
                  <a:gd name="connsiteX85" fmla="*/ 955083 w 1739754"/>
                  <a:gd name="connsiteY85" fmla="*/ 2101602 h 2673102"/>
                  <a:gd name="connsiteX86" fmla="*/ 926508 w 1739754"/>
                  <a:gd name="connsiteY86" fmla="*/ 2144464 h 2673102"/>
                  <a:gd name="connsiteX87" fmla="*/ 907458 w 1739754"/>
                  <a:gd name="connsiteY87" fmla="*/ 2192089 h 2673102"/>
                  <a:gd name="connsiteX88" fmla="*/ 902696 w 1739754"/>
                  <a:gd name="connsiteY88" fmla="*/ 2211139 h 2673102"/>
                  <a:gd name="connsiteX89" fmla="*/ 893171 w 1739754"/>
                  <a:gd name="connsiteY89" fmla="*/ 2239714 h 2673102"/>
                  <a:gd name="connsiteX90" fmla="*/ 897933 w 1739754"/>
                  <a:gd name="connsiteY90" fmla="*/ 2287339 h 2673102"/>
                  <a:gd name="connsiteX91" fmla="*/ 893171 w 1739754"/>
                  <a:gd name="connsiteY91" fmla="*/ 2396877 h 2673102"/>
                  <a:gd name="connsiteX92" fmla="*/ 688383 w 1739754"/>
                  <a:gd name="connsiteY92" fmla="*/ 2449264 h 2673102"/>
                  <a:gd name="connsiteX93" fmla="*/ 655046 w 1739754"/>
                  <a:gd name="connsiteY93" fmla="*/ 2473077 h 2673102"/>
                  <a:gd name="connsiteX94" fmla="*/ 607421 w 1739754"/>
                  <a:gd name="connsiteY94" fmla="*/ 2511177 h 2673102"/>
                  <a:gd name="connsiteX95" fmla="*/ 574083 w 1739754"/>
                  <a:gd name="connsiteY95" fmla="*/ 2534989 h 2673102"/>
                  <a:gd name="connsiteX96" fmla="*/ 540746 w 1739754"/>
                  <a:gd name="connsiteY96" fmla="*/ 2554039 h 2673102"/>
                  <a:gd name="connsiteX97" fmla="*/ 497883 w 1739754"/>
                  <a:gd name="connsiteY97" fmla="*/ 2587377 h 2673102"/>
                  <a:gd name="connsiteX98" fmla="*/ 483596 w 1739754"/>
                  <a:gd name="connsiteY98" fmla="*/ 2601664 h 2673102"/>
                  <a:gd name="connsiteX99" fmla="*/ 459783 w 1739754"/>
                  <a:gd name="connsiteY99" fmla="*/ 2620714 h 2673102"/>
                  <a:gd name="connsiteX100" fmla="*/ 450258 w 1739754"/>
                  <a:gd name="connsiteY100" fmla="*/ 2635002 h 2673102"/>
                  <a:gd name="connsiteX101" fmla="*/ 416921 w 1739754"/>
                  <a:gd name="connsiteY101" fmla="*/ 2654052 h 2673102"/>
                  <a:gd name="connsiteX102" fmla="*/ 374058 w 1739754"/>
                  <a:gd name="connsiteY102" fmla="*/ 2673102 h 2673102"/>
                  <a:gd name="connsiteX103" fmla="*/ 359771 w 1739754"/>
                  <a:gd name="connsiteY103" fmla="*/ 2663577 h 2673102"/>
                  <a:gd name="connsiteX104" fmla="*/ 345483 w 1739754"/>
                  <a:gd name="connsiteY104" fmla="*/ 2635002 h 2673102"/>
                  <a:gd name="connsiteX105" fmla="*/ 335958 w 1739754"/>
                  <a:gd name="connsiteY105" fmla="*/ 2620714 h 2673102"/>
                  <a:gd name="connsiteX106" fmla="*/ 297858 w 1739754"/>
                  <a:gd name="connsiteY106" fmla="*/ 2611189 h 2673102"/>
                  <a:gd name="connsiteX107" fmla="*/ 278808 w 1739754"/>
                  <a:gd name="connsiteY107" fmla="*/ 2592139 h 2673102"/>
                  <a:gd name="connsiteX108" fmla="*/ 274046 w 1739754"/>
                  <a:gd name="connsiteY108" fmla="*/ 2573089 h 2673102"/>
                  <a:gd name="connsiteX109" fmla="*/ 235946 w 1739754"/>
                  <a:gd name="connsiteY109" fmla="*/ 2539752 h 2673102"/>
                  <a:gd name="connsiteX110" fmla="*/ 231183 w 1739754"/>
                  <a:gd name="connsiteY110" fmla="*/ 2525464 h 2673102"/>
                  <a:gd name="connsiteX111" fmla="*/ 226421 w 1739754"/>
                  <a:gd name="connsiteY111" fmla="*/ 2506414 h 2673102"/>
                  <a:gd name="connsiteX112" fmla="*/ 212133 w 1739754"/>
                  <a:gd name="connsiteY112" fmla="*/ 2492127 h 2673102"/>
                  <a:gd name="connsiteX113" fmla="*/ 154983 w 1739754"/>
                  <a:gd name="connsiteY113" fmla="*/ 2439739 h 2673102"/>
                  <a:gd name="connsiteX114" fmla="*/ 150221 w 1739754"/>
                  <a:gd name="connsiteY114" fmla="*/ 2415927 h 2673102"/>
                  <a:gd name="connsiteX115" fmla="*/ 135933 w 1739754"/>
                  <a:gd name="connsiteY115" fmla="*/ 2358777 h 2673102"/>
                  <a:gd name="connsiteX116" fmla="*/ 121646 w 1739754"/>
                  <a:gd name="connsiteY116" fmla="*/ 2315914 h 2673102"/>
                  <a:gd name="connsiteX117" fmla="*/ 107358 w 1739754"/>
                  <a:gd name="connsiteY117" fmla="*/ 2258764 h 2673102"/>
                  <a:gd name="connsiteX118" fmla="*/ 102596 w 1739754"/>
                  <a:gd name="connsiteY118" fmla="*/ 2234952 h 2673102"/>
                  <a:gd name="connsiteX119" fmla="*/ 93071 w 1739754"/>
                  <a:gd name="connsiteY119" fmla="*/ 2211139 h 2673102"/>
                  <a:gd name="connsiteX120" fmla="*/ 88308 w 1739754"/>
                  <a:gd name="connsiteY120" fmla="*/ 2187327 h 2673102"/>
                  <a:gd name="connsiteX121" fmla="*/ 78783 w 1739754"/>
                  <a:gd name="connsiteY121" fmla="*/ 2111127 h 2673102"/>
                  <a:gd name="connsiteX122" fmla="*/ 97833 w 1739754"/>
                  <a:gd name="connsiteY122" fmla="*/ 1944439 h 2673102"/>
                  <a:gd name="connsiteX123" fmla="*/ 107358 w 1739754"/>
                  <a:gd name="connsiteY123" fmla="*/ 1930152 h 2673102"/>
                  <a:gd name="connsiteX124" fmla="*/ 126408 w 1739754"/>
                  <a:gd name="connsiteY124" fmla="*/ 1901577 h 2673102"/>
                  <a:gd name="connsiteX125" fmla="*/ 135933 w 1739754"/>
                  <a:gd name="connsiteY125" fmla="*/ 1868239 h 2673102"/>
                  <a:gd name="connsiteX126" fmla="*/ 131171 w 1739754"/>
                  <a:gd name="connsiteY126" fmla="*/ 1825377 h 2673102"/>
                  <a:gd name="connsiteX127" fmla="*/ 112121 w 1739754"/>
                  <a:gd name="connsiteY127" fmla="*/ 1820614 h 2673102"/>
                  <a:gd name="connsiteX128" fmla="*/ 102596 w 1739754"/>
                  <a:gd name="connsiteY128" fmla="*/ 1806327 h 2673102"/>
                  <a:gd name="connsiteX129" fmla="*/ 145458 w 1739754"/>
                  <a:gd name="connsiteY129" fmla="*/ 1720602 h 2673102"/>
                  <a:gd name="connsiteX130" fmla="*/ 159746 w 1739754"/>
                  <a:gd name="connsiteY130" fmla="*/ 1715839 h 2673102"/>
                  <a:gd name="connsiteX131" fmla="*/ 174033 w 1739754"/>
                  <a:gd name="connsiteY131" fmla="*/ 1696789 h 2673102"/>
                  <a:gd name="connsiteX132" fmla="*/ 188321 w 1739754"/>
                  <a:gd name="connsiteY132" fmla="*/ 1687264 h 2673102"/>
                  <a:gd name="connsiteX133" fmla="*/ 202608 w 1739754"/>
                  <a:gd name="connsiteY133" fmla="*/ 1653927 h 2673102"/>
                  <a:gd name="connsiteX134" fmla="*/ 193083 w 1739754"/>
                  <a:gd name="connsiteY134" fmla="*/ 1606302 h 2673102"/>
                  <a:gd name="connsiteX135" fmla="*/ 164508 w 1739754"/>
                  <a:gd name="connsiteY135" fmla="*/ 1596777 h 2673102"/>
                  <a:gd name="connsiteX136" fmla="*/ 154983 w 1739754"/>
                  <a:gd name="connsiteY136" fmla="*/ 1549152 h 2673102"/>
                  <a:gd name="connsiteX137" fmla="*/ 150221 w 1739754"/>
                  <a:gd name="connsiteY137" fmla="*/ 1411039 h 2673102"/>
                  <a:gd name="connsiteX138" fmla="*/ 140696 w 1739754"/>
                  <a:gd name="connsiteY138" fmla="*/ 1377702 h 2673102"/>
                  <a:gd name="connsiteX139" fmla="*/ 121646 w 1739754"/>
                  <a:gd name="connsiteY139" fmla="*/ 1311027 h 2673102"/>
                  <a:gd name="connsiteX140" fmla="*/ 116883 w 1739754"/>
                  <a:gd name="connsiteY140" fmla="*/ 1258639 h 2673102"/>
                  <a:gd name="connsiteX141" fmla="*/ 107358 w 1739754"/>
                  <a:gd name="connsiteY141" fmla="*/ 1244352 h 2673102"/>
                  <a:gd name="connsiteX142" fmla="*/ 93071 w 1739754"/>
                  <a:gd name="connsiteY142" fmla="*/ 1196727 h 2673102"/>
                  <a:gd name="connsiteX143" fmla="*/ 78783 w 1739754"/>
                  <a:gd name="connsiteY143" fmla="*/ 1177677 h 2673102"/>
                  <a:gd name="connsiteX144" fmla="*/ 59733 w 1739754"/>
                  <a:gd name="connsiteY144" fmla="*/ 1139577 h 2673102"/>
                  <a:gd name="connsiteX145" fmla="*/ 50208 w 1739754"/>
                  <a:gd name="connsiteY145" fmla="*/ 1111002 h 2673102"/>
                  <a:gd name="connsiteX146" fmla="*/ 45446 w 1739754"/>
                  <a:gd name="connsiteY146" fmla="*/ 1096714 h 2673102"/>
                  <a:gd name="connsiteX147" fmla="*/ 21633 w 1739754"/>
                  <a:gd name="connsiteY147" fmla="*/ 1025277 h 2673102"/>
                  <a:gd name="connsiteX148" fmla="*/ 202 w 1739754"/>
                  <a:gd name="connsiteY148" fmla="*/ 980033 h 2673102"/>
                  <a:gd name="connsiteX149" fmla="*/ 14490 w 1739754"/>
                  <a:gd name="connsiteY149" fmla="*/ 930027 h 2673102"/>
                  <a:gd name="connsiteX150" fmla="*/ 69259 w 1739754"/>
                  <a:gd name="connsiteY150" fmla="*/ 810964 h 2673102"/>
                  <a:gd name="connsiteX151" fmla="*/ 221658 w 1739754"/>
                  <a:gd name="connsiteY151" fmla="*/ 601414 h 2673102"/>
                  <a:gd name="connsiteX152" fmla="*/ 288333 w 1739754"/>
                  <a:gd name="connsiteY152" fmla="*/ 515689 h 2673102"/>
                  <a:gd name="connsiteX153" fmla="*/ 412158 w 1739754"/>
                  <a:gd name="connsiteY153" fmla="*/ 406152 h 2673102"/>
                  <a:gd name="connsiteX154" fmla="*/ 535983 w 1739754"/>
                  <a:gd name="connsiteY154" fmla="*/ 291851 h 2673102"/>
                  <a:gd name="connsiteX155" fmla="*/ 640758 w 1739754"/>
                  <a:gd name="connsiteY155" fmla="*/ 229939 h 2673102"/>
                  <a:gd name="connsiteX156" fmla="*/ 733628 w 1739754"/>
                  <a:gd name="connsiteY156" fmla="*/ 168026 h 2673102"/>
                  <a:gd name="connsiteX157" fmla="*/ 978896 w 1739754"/>
                  <a:gd name="connsiteY157" fmla="*/ 63251 h 2673102"/>
                  <a:gd name="connsiteX158" fmla="*/ 1159871 w 1739754"/>
                  <a:gd name="connsiteY158" fmla="*/ 6102 h 2673102"/>
                  <a:gd name="connsiteX159" fmla="*/ 1202733 w 1739754"/>
                  <a:gd name="connsiteY159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40871 w 1739754"/>
                  <a:gd name="connsiteY13" fmla="*/ 596652 h 2673102"/>
                  <a:gd name="connsiteX14" fmla="*/ 1559921 w 1739754"/>
                  <a:gd name="connsiteY14" fmla="*/ 601414 h 2673102"/>
                  <a:gd name="connsiteX15" fmla="*/ 1607546 w 1739754"/>
                  <a:gd name="connsiteY15" fmla="*/ 639514 h 2673102"/>
                  <a:gd name="connsiteX16" fmla="*/ 1636121 w 1739754"/>
                  <a:gd name="connsiteY16" fmla="*/ 672852 h 2673102"/>
                  <a:gd name="connsiteX17" fmla="*/ 1650408 w 1739754"/>
                  <a:gd name="connsiteY17" fmla="*/ 687139 h 2673102"/>
                  <a:gd name="connsiteX18" fmla="*/ 1669458 w 1739754"/>
                  <a:gd name="connsiteY18" fmla="*/ 696664 h 2673102"/>
                  <a:gd name="connsiteX19" fmla="*/ 1683746 w 1739754"/>
                  <a:gd name="connsiteY19" fmla="*/ 706189 h 2673102"/>
                  <a:gd name="connsiteX20" fmla="*/ 1709940 w 1739754"/>
                  <a:gd name="connsiteY20" fmla="*/ 749052 h 2673102"/>
                  <a:gd name="connsiteX21" fmla="*/ 1702796 w 1739754"/>
                  <a:gd name="connsiteY21" fmla="*/ 853827 h 2673102"/>
                  <a:gd name="connsiteX22" fmla="*/ 1664696 w 1739754"/>
                  <a:gd name="connsiteY22" fmla="*/ 887164 h 2673102"/>
                  <a:gd name="connsiteX23" fmla="*/ 1650408 w 1739754"/>
                  <a:gd name="connsiteY23" fmla="*/ 901452 h 2673102"/>
                  <a:gd name="connsiteX24" fmla="*/ 1598021 w 1739754"/>
                  <a:gd name="connsiteY24" fmla="*/ 906214 h 2673102"/>
                  <a:gd name="connsiteX25" fmla="*/ 1555158 w 1739754"/>
                  <a:gd name="connsiteY25" fmla="*/ 925264 h 2673102"/>
                  <a:gd name="connsiteX26" fmla="*/ 1531346 w 1739754"/>
                  <a:gd name="connsiteY26" fmla="*/ 939552 h 2673102"/>
                  <a:gd name="connsiteX27" fmla="*/ 1498008 w 1739754"/>
                  <a:gd name="connsiteY27" fmla="*/ 987177 h 2673102"/>
                  <a:gd name="connsiteX28" fmla="*/ 1345608 w 1739754"/>
                  <a:gd name="connsiteY28" fmla="*/ 1030039 h 2673102"/>
                  <a:gd name="connsiteX29" fmla="*/ 1297983 w 1739754"/>
                  <a:gd name="connsiteY29" fmla="*/ 1053852 h 2673102"/>
                  <a:gd name="connsiteX30" fmla="*/ 1231308 w 1739754"/>
                  <a:gd name="connsiteY30" fmla="*/ 1082427 h 2673102"/>
                  <a:gd name="connsiteX31" fmla="*/ 1126533 w 1739754"/>
                  <a:gd name="connsiteY31" fmla="*/ 1096714 h 2673102"/>
                  <a:gd name="connsiteX32" fmla="*/ 1102721 w 1739754"/>
                  <a:gd name="connsiteY32" fmla="*/ 1101477 h 2673102"/>
                  <a:gd name="connsiteX33" fmla="*/ 1078908 w 1739754"/>
                  <a:gd name="connsiteY33" fmla="*/ 1111002 h 2673102"/>
                  <a:gd name="connsiteX34" fmla="*/ 964608 w 1739754"/>
                  <a:gd name="connsiteY34" fmla="*/ 1106239 h 2673102"/>
                  <a:gd name="connsiteX35" fmla="*/ 859833 w 1739754"/>
                  <a:gd name="connsiteY35" fmla="*/ 1058614 h 2673102"/>
                  <a:gd name="connsiteX36" fmla="*/ 812208 w 1739754"/>
                  <a:gd name="connsiteY36" fmla="*/ 1034802 h 2673102"/>
                  <a:gd name="connsiteX37" fmla="*/ 788396 w 1739754"/>
                  <a:gd name="connsiteY37" fmla="*/ 1020514 h 2673102"/>
                  <a:gd name="connsiteX38" fmla="*/ 769346 w 1739754"/>
                  <a:gd name="connsiteY38" fmla="*/ 1006227 h 2673102"/>
                  <a:gd name="connsiteX39" fmla="*/ 678858 w 1739754"/>
                  <a:gd name="connsiteY39" fmla="*/ 958602 h 2673102"/>
                  <a:gd name="connsiteX40" fmla="*/ 645521 w 1739754"/>
                  <a:gd name="connsiteY40" fmla="*/ 939552 h 2673102"/>
                  <a:gd name="connsiteX41" fmla="*/ 526458 w 1739754"/>
                  <a:gd name="connsiteY41" fmla="*/ 910977 h 2673102"/>
                  <a:gd name="connsiteX42" fmla="*/ 483596 w 1739754"/>
                  <a:gd name="connsiteY42" fmla="*/ 891927 h 2673102"/>
                  <a:gd name="connsiteX43" fmla="*/ 421683 w 1739754"/>
                  <a:gd name="connsiteY43" fmla="*/ 882402 h 2673102"/>
                  <a:gd name="connsiteX44" fmla="*/ 321671 w 1739754"/>
                  <a:gd name="connsiteY44" fmla="*/ 896689 h 2673102"/>
                  <a:gd name="connsiteX45" fmla="*/ 307383 w 1739754"/>
                  <a:gd name="connsiteY45" fmla="*/ 910977 h 2673102"/>
                  <a:gd name="connsiteX46" fmla="*/ 283571 w 1739754"/>
                  <a:gd name="connsiteY46" fmla="*/ 949077 h 2673102"/>
                  <a:gd name="connsiteX47" fmla="*/ 269283 w 1739754"/>
                  <a:gd name="connsiteY47" fmla="*/ 987177 h 2673102"/>
                  <a:gd name="connsiteX48" fmla="*/ 264521 w 1739754"/>
                  <a:gd name="connsiteY48" fmla="*/ 1039564 h 2673102"/>
                  <a:gd name="connsiteX49" fmla="*/ 264521 w 1739754"/>
                  <a:gd name="connsiteY49" fmla="*/ 1120527 h 2673102"/>
                  <a:gd name="connsiteX50" fmla="*/ 297858 w 1739754"/>
                  <a:gd name="connsiteY50" fmla="*/ 1153864 h 2673102"/>
                  <a:gd name="connsiteX51" fmla="*/ 326433 w 1739754"/>
                  <a:gd name="connsiteY51" fmla="*/ 1163389 h 2673102"/>
                  <a:gd name="connsiteX52" fmla="*/ 326433 w 1739754"/>
                  <a:gd name="connsiteY52" fmla="*/ 1244352 h 2673102"/>
                  <a:gd name="connsiteX53" fmla="*/ 312146 w 1739754"/>
                  <a:gd name="connsiteY53" fmla="*/ 1258639 h 2673102"/>
                  <a:gd name="connsiteX54" fmla="*/ 259758 w 1739754"/>
                  <a:gd name="connsiteY54" fmla="*/ 1296739 h 2673102"/>
                  <a:gd name="connsiteX55" fmla="*/ 240708 w 1739754"/>
                  <a:gd name="connsiteY55" fmla="*/ 1325314 h 2673102"/>
                  <a:gd name="connsiteX56" fmla="*/ 250233 w 1739754"/>
                  <a:gd name="connsiteY56" fmla="*/ 1425327 h 2673102"/>
                  <a:gd name="connsiteX57" fmla="*/ 278808 w 1739754"/>
                  <a:gd name="connsiteY57" fmla="*/ 1472952 h 2673102"/>
                  <a:gd name="connsiteX58" fmla="*/ 293096 w 1739754"/>
                  <a:gd name="connsiteY58" fmla="*/ 1492002 h 2673102"/>
                  <a:gd name="connsiteX59" fmla="*/ 383583 w 1739754"/>
                  <a:gd name="connsiteY59" fmla="*/ 1525339 h 2673102"/>
                  <a:gd name="connsiteX60" fmla="*/ 407396 w 1739754"/>
                  <a:gd name="connsiteY60" fmla="*/ 1492002 h 2673102"/>
                  <a:gd name="connsiteX61" fmla="*/ 412158 w 1739754"/>
                  <a:gd name="connsiteY61" fmla="*/ 1468189 h 2673102"/>
                  <a:gd name="connsiteX62" fmla="*/ 416921 w 1739754"/>
                  <a:gd name="connsiteY62" fmla="*/ 1449139 h 2673102"/>
                  <a:gd name="connsiteX63" fmla="*/ 445496 w 1739754"/>
                  <a:gd name="connsiteY63" fmla="*/ 1439614 h 2673102"/>
                  <a:gd name="connsiteX64" fmla="*/ 545508 w 1739754"/>
                  <a:gd name="connsiteY64" fmla="*/ 1458664 h 2673102"/>
                  <a:gd name="connsiteX65" fmla="*/ 555033 w 1739754"/>
                  <a:gd name="connsiteY65" fmla="*/ 1482477 h 2673102"/>
                  <a:gd name="connsiteX66" fmla="*/ 564558 w 1739754"/>
                  <a:gd name="connsiteY66" fmla="*/ 1515814 h 2673102"/>
                  <a:gd name="connsiteX67" fmla="*/ 550271 w 1739754"/>
                  <a:gd name="connsiteY67" fmla="*/ 1534864 h 2673102"/>
                  <a:gd name="connsiteX68" fmla="*/ 550271 w 1739754"/>
                  <a:gd name="connsiteY68" fmla="*/ 1601539 h 2673102"/>
                  <a:gd name="connsiteX69" fmla="*/ 559796 w 1739754"/>
                  <a:gd name="connsiteY69" fmla="*/ 1620589 h 2673102"/>
                  <a:gd name="connsiteX70" fmla="*/ 626471 w 1739754"/>
                  <a:gd name="connsiteY70" fmla="*/ 1639639 h 2673102"/>
                  <a:gd name="connsiteX71" fmla="*/ 645521 w 1739754"/>
                  <a:gd name="connsiteY71" fmla="*/ 1592014 h 2673102"/>
                  <a:gd name="connsiteX72" fmla="*/ 702671 w 1739754"/>
                  <a:gd name="connsiteY72" fmla="*/ 1620589 h 2673102"/>
                  <a:gd name="connsiteX73" fmla="*/ 731246 w 1739754"/>
                  <a:gd name="connsiteY73" fmla="*/ 1630114 h 2673102"/>
                  <a:gd name="connsiteX74" fmla="*/ 783633 w 1739754"/>
                  <a:gd name="connsiteY74" fmla="*/ 1663452 h 2673102"/>
                  <a:gd name="connsiteX75" fmla="*/ 859833 w 1739754"/>
                  <a:gd name="connsiteY75" fmla="*/ 1687264 h 2673102"/>
                  <a:gd name="connsiteX76" fmla="*/ 878883 w 1739754"/>
                  <a:gd name="connsiteY76" fmla="*/ 1701552 h 2673102"/>
                  <a:gd name="connsiteX77" fmla="*/ 888408 w 1739754"/>
                  <a:gd name="connsiteY77" fmla="*/ 1739652 h 2673102"/>
                  <a:gd name="connsiteX78" fmla="*/ 897933 w 1739754"/>
                  <a:gd name="connsiteY78" fmla="*/ 1782514 h 2673102"/>
                  <a:gd name="connsiteX79" fmla="*/ 940796 w 1739754"/>
                  <a:gd name="connsiteY79" fmla="*/ 1892052 h 2673102"/>
                  <a:gd name="connsiteX80" fmla="*/ 950321 w 1739754"/>
                  <a:gd name="connsiteY80" fmla="*/ 1906339 h 2673102"/>
                  <a:gd name="connsiteX81" fmla="*/ 959846 w 1739754"/>
                  <a:gd name="connsiteY81" fmla="*/ 1939677 h 2673102"/>
                  <a:gd name="connsiteX82" fmla="*/ 974133 w 1739754"/>
                  <a:gd name="connsiteY82" fmla="*/ 1977777 h 2673102"/>
                  <a:gd name="connsiteX83" fmla="*/ 964608 w 1739754"/>
                  <a:gd name="connsiteY83" fmla="*/ 2082552 h 2673102"/>
                  <a:gd name="connsiteX84" fmla="*/ 955083 w 1739754"/>
                  <a:gd name="connsiteY84" fmla="*/ 2101602 h 2673102"/>
                  <a:gd name="connsiteX85" fmla="*/ 926508 w 1739754"/>
                  <a:gd name="connsiteY85" fmla="*/ 2144464 h 2673102"/>
                  <a:gd name="connsiteX86" fmla="*/ 907458 w 1739754"/>
                  <a:gd name="connsiteY86" fmla="*/ 2192089 h 2673102"/>
                  <a:gd name="connsiteX87" fmla="*/ 902696 w 1739754"/>
                  <a:gd name="connsiteY87" fmla="*/ 2211139 h 2673102"/>
                  <a:gd name="connsiteX88" fmla="*/ 893171 w 1739754"/>
                  <a:gd name="connsiteY88" fmla="*/ 2239714 h 2673102"/>
                  <a:gd name="connsiteX89" fmla="*/ 897933 w 1739754"/>
                  <a:gd name="connsiteY89" fmla="*/ 2287339 h 2673102"/>
                  <a:gd name="connsiteX90" fmla="*/ 893171 w 1739754"/>
                  <a:gd name="connsiteY90" fmla="*/ 2396877 h 2673102"/>
                  <a:gd name="connsiteX91" fmla="*/ 688383 w 1739754"/>
                  <a:gd name="connsiteY91" fmla="*/ 2449264 h 2673102"/>
                  <a:gd name="connsiteX92" fmla="*/ 655046 w 1739754"/>
                  <a:gd name="connsiteY92" fmla="*/ 2473077 h 2673102"/>
                  <a:gd name="connsiteX93" fmla="*/ 607421 w 1739754"/>
                  <a:gd name="connsiteY93" fmla="*/ 2511177 h 2673102"/>
                  <a:gd name="connsiteX94" fmla="*/ 574083 w 1739754"/>
                  <a:gd name="connsiteY94" fmla="*/ 2534989 h 2673102"/>
                  <a:gd name="connsiteX95" fmla="*/ 540746 w 1739754"/>
                  <a:gd name="connsiteY95" fmla="*/ 2554039 h 2673102"/>
                  <a:gd name="connsiteX96" fmla="*/ 497883 w 1739754"/>
                  <a:gd name="connsiteY96" fmla="*/ 2587377 h 2673102"/>
                  <a:gd name="connsiteX97" fmla="*/ 483596 w 1739754"/>
                  <a:gd name="connsiteY97" fmla="*/ 2601664 h 2673102"/>
                  <a:gd name="connsiteX98" fmla="*/ 459783 w 1739754"/>
                  <a:gd name="connsiteY98" fmla="*/ 2620714 h 2673102"/>
                  <a:gd name="connsiteX99" fmla="*/ 450258 w 1739754"/>
                  <a:gd name="connsiteY99" fmla="*/ 2635002 h 2673102"/>
                  <a:gd name="connsiteX100" fmla="*/ 416921 w 1739754"/>
                  <a:gd name="connsiteY100" fmla="*/ 2654052 h 2673102"/>
                  <a:gd name="connsiteX101" fmla="*/ 374058 w 1739754"/>
                  <a:gd name="connsiteY101" fmla="*/ 2673102 h 2673102"/>
                  <a:gd name="connsiteX102" fmla="*/ 359771 w 1739754"/>
                  <a:gd name="connsiteY102" fmla="*/ 2663577 h 2673102"/>
                  <a:gd name="connsiteX103" fmla="*/ 345483 w 1739754"/>
                  <a:gd name="connsiteY103" fmla="*/ 2635002 h 2673102"/>
                  <a:gd name="connsiteX104" fmla="*/ 335958 w 1739754"/>
                  <a:gd name="connsiteY104" fmla="*/ 2620714 h 2673102"/>
                  <a:gd name="connsiteX105" fmla="*/ 297858 w 1739754"/>
                  <a:gd name="connsiteY105" fmla="*/ 2611189 h 2673102"/>
                  <a:gd name="connsiteX106" fmla="*/ 278808 w 1739754"/>
                  <a:gd name="connsiteY106" fmla="*/ 2592139 h 2673102"/>
                  <a:gd name="connsiteX107" fmla="*/ 274046 w 1739754"/>
                  <a:gd name="connsiteY107" fmla="*/ 2573089 h 2673102"/>
                  <a:gd name="connsiteX108" fmla="*/ 235946 w 1739754"/>
                  <a:gd name="connsiteY108" fmla="*/ 2539752 h 2673102"/>
                  <a:gd name="connsiteX109" fmla="*/ 231183 w 1739754"/>
                  <a:gd name="connsiteY109" fmla="*/ 2525464 h 2673102"/>
                  <a:gd name="connsiteX110" fmla="*/ 226421 w 1739754"/>
                  <a:gd name="connsiteY110" fmla="*/ 2506414 h 2673102"/>
                  <a:gd name="connsiteX111" fmla="*/ 212133 w 1739754"/>
                  <a:gd name="connsiteY111" fmla="*/ 2492127 h 2673102"/>
                  <a:gd name="connsiteX112" fmla="*/ 154983 w 1739754"/>
                  <a:gd name="connsiteY112" fmla="*/ 2439739 h 2673102"/>
                  <a:gd name="connsiteX113" fmla="*/ 150221 w 1739754"/>
                  <a:gd name="connsiteY113" fmla="*/ 2415927 h 2673102"/>
                  <a:gd name="connsiteX114" fmla="*/ 135933 w 1739754"/>
                  <a:gd name="connsiteY114" fmla="*/ 2358777 h 2673102"/>
                  <a:gd name="connsiteX115" fmla="*/ 121646 w 1739754"/>
                  <a:gd name="connsiteY115" fmla="*/ 2315914 h 2673102"/>
                  <a:gd name="connsiteX116" fmla="*/ 107358 w 1739754"/>
                  <a:gd name="connsiteY116" fmla="*/ 2258764 h 2673102"/>
                  <a:gd name="connsiteX117" fmla="*/ 102596 w 1739754"/>
                  <a:gd name="connsiteY117" fmla="*/ 2234952 h 2673102"/>
                  <a:gd name="connsiteX118" fmla="*/ 93071 w 1739754"/>
                  <a:gd name="connsiteY118" fmla="*/ 2211139 h 2673102"/>
                  <a:gd name="connsiteX119" fmla="*/ 88308 w 1739754"/>
                  <a:gd name="connsiteY119" fmla="*/ 2187327 h 2673102"/>
                  <a:gd name="connsiteX120" fmla="*/ 78783 w 1739754"/>
                  <a:gd name="connsiteY120" fmla="*/ 2111127 h 2673102"/>
                  <a:gd name="connsiteX121" fmla="*/ 97833 w 1739754"/>
                  <a:gd name="connsiteY121" fmla="*/ 1944439 h 2673102"/>
                  <a:gd name="connsiteX122" fmla="*/ 107358 w 1739754"/>
                  <a:gd name="connsiteY122" fmla="*/ 1930152 h 2673102"/>
                  <a:gd name="connsiteX123" fmla="*/ 126408 w 1739754"/>
                  <a:gd name="connsiteY123" fmla="*/ 1901577 h 2673102"/>
                  <a:gd name="connsiteX124" fmla="*/ 135933 w 1739754"/>
                  <a:gd name="connsiteY124" fmla="*/ 1868239 h 2673102"/>
                  <a:gd name="connsiteX125" fmla="*/ 131171 w 1739754"/>
                  <a:gd name="connsiteY125" fmla="*/ 1825377 h 2673102"/>
                  <a:gd name="connsiteX126" fmla="*/ 112121 w 1739754"/>
                  <a:gd name="connsiteY126" fmla="*/ 1820614 h 2673102"/>
                  <a:gd name="connsiteX127" fmla="*/ 102596 w 1739754"/>
                  <a:gd name="connsiteY127" fmla="*/ 1806327 h 2673102"/>
                  <a:gd name="connsiteX128" fmla="*/ 145458 w 1739754"/>
                  <a:gd name="connsiteY128" fmla="*/ 1720602 h 2673102"/>
                  <a:gd name="connsiteX129" fmla="*/ 159746 w 1739754"/>
                  <a:gd name="connsiteY129" fmla="*/ 1715839 h 2673102"/>
                  <a:gd name="connsiteX130" fmla="*/ 174033 w 1739754"/>
                  <a:gd name="connsiteY130" fmla="*/ 1696789 h 2673102"/>
                  <a:gd name="connsiteX131" fmla="*/ 188321 w 1739754"/>
                  <a:gd name="connsiteY131" fmla="*/ 1687264 h 2673102"/>
                  <a:gd name="connsiteX132" fmla="*/ 202608 w 1739754"/>
                  <a:gd name="connsiteY132" fmla="*/ 1653927 h 2673102"/>
                  <a:gd name="connsiteX133" fmla="*/ 193083 w 1739754"/>
                  <a:gd name="connsiteY133" fmla="*/ 1606302 h 2673102"/>
                  <a:gd name="connsiteX134" fmla="*/ 164508 w 1739754"/>
                  <a:gd name="connsiteY134" fmla="*/ 1596777 h 2673102"/>
                  <a:gd name="connsiteX135" fmla="*/ 154983 w 1739754"/>
                  <a:gd name="connsiteY135" fmla="*/ 1549152 h 2673102"/>
                  <a:gd name="connsiteX136" fmla="*/ 150221 w 1739754"/>
                  <a:gd name="connsiteY136" fmla="*/ 1411039 h 2673102"/>
                  <a:gd name="connsiteX137" fmla="*/ 140696 w 1739754"/>
                  <a:gd name="connsiteY137" fmla="*/ 1377702 h 2673102"/>
                  <a:gd name="connsiteX138" fmla="*/ 121646 w 1739754"/>
                  <a:gd name="connsiteY138" fmla="*/ 1311027 h 2673102"/>
                  <a:gd name="connsiteX139" fmla="*/ 116883 w 1739754"/>
                  <a:gd name="connsiteY139" fmla="*/ 1258639 h 2673102"/>
                  <a:gd name="connsiteX140" fmla="*/ 107358 w 1739754"/>
                  <a:gd name="connsiteY140" fmla="*/ 1244352 h 2673102"/>
                  <a:gd name="connsiteX141" fmla="*/ 93071 w 1739754"/>
                  <a:gd name="connsiteY141" fmla="*/ 1196727 h 2673102"/>
                  <a:gd name="connsiteX142" fmla="*/ 78783 w 1739754"/>
                  <a:gd name="connsiteY142" fmla="*/ 1177677 h 2673102"/>
                  <a:gd name="connsiteX143" fmla="*/ 59733 w 1739754"/>
                  <a:gd name="connsiteY143" fmla="*/ 1139577 h 2673102"/>
                  <a:gd name="connsiteX144" fmla="*/ 50208 w 1739754"/>
                  <a:gd name="connsiteY144" fmla="*/ 1111002 h 2673102"/>
                  <a:gd name="connsiteX145" fmla="*/ 45446 w 1739754"/>
                  <a:gd name="connsiteY145" fmla="*/ 1096714 h 2673102"/>
                  <a:gd name="connsiteX146" fmla="*/ 21633 w 1739754"/>
                  <a:gd name="connsiteY146" fmla="*/ 1025277 h 2673102"/>
                  <a:gd name="connsiteX147" fmla="*/ 202 w 1739754"/>
                  <a:gd name="connsiteY147" fmla="*/ 980033 h 2673102"/>
                  <a:gd name="connsiteX148" fmla="*/ 14490 w 1739754"/>
                  <a:gd name="connsiteY148" fmla="*/ 930027 h 2673102"/>
                  <a:gd name="connsiteX149" fmla="*/ 69259 w 1739754"/>
                  <a:gd name="connsiteY149" fmla="*/ 810964 h 2673102"/>
                  <a:gd name="connsiteX150" fmla="*/ 221658 w 1739754"/>
                  <a:gd name="connsiteY150" fmla="*/ 601414 h 2673102"/>
                  <a:gd name="connsiteX151" fmla="*/ 288333 w 1739754"/>
                  <a:gd name="connsiteY151" fmla="*/ 515689 h 2673102"/>
                  <a:gd name="connsiteX152" fmla="*/ 412158 w 1739754"/>
                  <a:gd name="connsiteY152" fmla="*/ 406152 h 2673102"/>
                  <a:gd name="connsiteX153" fmla="*/ 535983 w 1739754"/>
                  <a:gd name="connsiteY153" fmla="*/ 291851 h 2673102"/>
                  <a:gd name="connsiteX154" fmla="*/ 640758 w 1739754"/>
                  <a:gd name="connsiteY154" fmla="*/ 229939 h 2673102"/>
                  <a:gd name="connsiteX155" fmla="*/ 733628 w 1739754"/>
                  <a:gd name="connsiteY155" fmla="*/ 168026 h 2673102"/>
                  <a:gd name="connsiteX156" fmla="*/ 978896 w 1739754"/>
                  <a:gd name="connsiteY156" fmla="*/ 63251 h 2673102"/>
                  <a:gd name="connsiteX157" fmla="*/ 1159871 w 1739754"/>
                  <a:gd name="connsiteY157" fmla="*/ 6102 h 2673102"/>
                  <a:gd name="connsiteX158" fmla="*/ 1202733 w 1739754"/>
                  <a:gd name="connsiteY158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50408 w 1739754"/>
                  <a:gd name="connsiteY16" fmla="*/ 687139 h 2673102"/>
                  <a:gd name="connsiteX17" fmla="*/ 1669458 w 1739754"/>
                  <a:gd name="connsiteY17" fmla="*/ 696664 h 2673102"/>
                  <a:gd name="connsiteX18" fmla="*/ 1683746 w 1739754"/>
                  <a:gd name="connsiteY18" fmla="*/ 706189 h 2673102"/>
                  <a:gd name="connsiteX19" fmla="*/ 1709940 w 1739754"/>
                  <a:gd name="connsiteY19" fmla="*/ 749052 h 2673102"/>
                  <a:gd name="connsiteX20" fmla="*/ 1702796 w 1739754"/>
                  <a:gd name="connsiteY20" fmla="*/ 853827 h 2673102"/>
                  <a:gd name="connsiteX21" fmla="*/ 1664696 w 1739754"/>
                  <a:gd name="connsiteY21" fmla="*/ 887164 h 2673102"/>
                  <a:gd name="connsiteX22" fmla="*/ 1650408 w 1739754"/>
                  <a:gd name="connsiteY22" fmla="*/ 901452 h 2673102"/>
                  <a:gd name="connsiteX23" fmla="*/ 1598021 w 1739754"/>
                  <a:gd name="connsiteY23" fmla="*/ 906214 h 2673102"/>
                  <a:gd name="connsiteX24" fmla="*/ 1555158 w 1739754"/>
                  <a:gd name="connsiteY24" fmla="*/ 925264 h 2673102"/>
                  <a:gd name="connsiteX25" fmla="*/ 1531346 w 1739754"/>
                  <a:gd name="connsiteY25" fmla="*/ 939552 h 2673102"/>
                  <a:gd name="connsiteX26" fmla="*/ 1498008 w 1739754"/>
                  <a:gd name="connsiteY26" fmla="*/ 987177 h 2673102"/>
                  <a:gd name="connsiteX27" fmla="*/ 1345608 w 1739754"/>
                  <a:gd name="connsiteY27" fmla="*/ 1030039 h 2673102"/>
                  <a:gd name="connsiteX28" fmla="*/ 1297983 w 1739754"/>
                  <a:gd name="connsiteY28" fmla="*/ 1053852 h 2673102"/>
                  <a:gd name="connsiteX29" fmla="*/ 1231308 w 1739754"/>
                  <a:gd name="connsiteY29" fmla="*/ 1082427 h 2673102"/>
                  <a:gd name="connsiteX30" fmla="*/ 1126533 w 1739754"/>
                  <a:gd name="connsiteY30" fmla="*/ 1096714 h 2673102"/>
                  <a:gd name="connsiteX31" fmla="*/ 1102721 w 1739754"/>
                  <a:gd name="connsiteY31" fmla="*/ 1101477 h 2673102"/>
                  <a:gd name="connsiteX32" fmla="*/ 1078908 w 1739754"/>
                  <a:gd name="connsiteY32" fmla="*/ 1111002 h 2673102"/>
                  <a:gd name="connsiteX33" fmla="*/ 964608 w 1739754"/>
                  <a:gd name="connsiteY33" fmla="*/ 1106239 h 2673102"/>
                  <a:gd name="connsiteX34" fmla="*/ 859833 w 1739754"/>
                  <a:gd name="connsiteY34" fmla="*/ 1058614 h 2673102"/>
                  <a:gd name="connsiteX35" fmla="*/ 812208 w 1739754"/>
                  <a:gd name="connsiteY35" fmla="*/ 1034802 h 2673102"/>
                  <a:gd name="connsiteX36" fmla="*/ 788396 w 1739754"/>
                  <a:gd name="connsiteY36" fmla="*/ 1020514 h 2673102"/>
                  <a:gd name="connsiteX37" fmla="*/ 769346 w 1739754"/>
                  <a:gd name="connsiteY37" fmla="*/ 1006227 h 2673102"/>
                  <a:gd name="connsiteX38" fmla="*/ 678858 w 1739754"/>
                  <a:gd name="connsiteY38" fmla="*/ 958602 h 2673102"/>
                  <a:gd name="connsiteX39" fmla="*/ 645521 w 1739754"/>
                  <a:gd name="connsiteY39" fmla="*/ 939552 h 2673102"/>
                  <a:gd name="connsiteX40" fmla="*/ 526458 w 1739754"/>
                  <a:gd name="connsiteY40" fmla="*/ 910977 h 2673102"/>
                  <a:gd name="connsiteX41" fmla="*/ 483596 w 1739754"/>
                  <a:gd name="connsiteY41" fmla="*/ 891927 h 2673102"/>
                  <a:gd name="connsiteX42" fmla="*/ 421683 w 1739754"/>
                  <a:gd name="connsiteY42" fmla="*/ 882402 h 2673102"/>
                  <a:gd name="connsiteX43" fmla="*/ 321671 w 1739754"/>
                  <a:gd name="connsiteY43" fmla="*/ 896689 h 2673102"/>
                  <a:gd name="connsiteX44" fmla="*/ 307383 w 1739754"/>
                  <a:gd name="connsiteY44" fmla="*/ 910977 h 2673102"/>
                  <a:gd name="connsiteX45" fmla="*/ 283571 w 1739754"/>
                  <a:gd name="connsiteY45" fmla="*/ 949077 h 2673102"/>
                  <a:gd name="connsiteX46" fmla="*/ 269283 w 1739754"/>
                  <a:gd name="connsiteY46" fmla="*/ 987177 h 2673102"/>
                  <a:gd name="connsiteX47" fmla="*/ 264521 w 1739754"/>
                  <a:gd name="connsiteY47" fmla="*/ 1039564 h 2673102"/>
                  <a:gd name="connsiteX48" fmla="*/ 264521 w 1739754"/>
                  <a:gd name="connsiteY48" fmla="*/ 1120527 h 2673102"/>
                  <a:gd name="connsiteX49" fmla="*/ 297858 w 1739754"/>
                  <a:gd name="connsiteY49" fmla="*/ 1153864 h 2673102"/>
                  <a:gd name="connsiteX50" fmla="*/ 326433 w 1739754"/>
                  <a:gd name="connsiteY50" fmla="*/ 1163389 h 2673102"/>
                  <a:gd name="connsiteX51" fmla="*/ 326433 w 1739754"/>
                  <a:gd name="connsiteY51" fmla="*/ 1244352 h 2673102"/>
                  <a:gd name="connsiteX52" fmla="*/ 312146 w 1739754"/>
                  <a:gd name="connsiteY52" fmla="*/ 1258639 h 2673102"/>
                  <a:gd name="connsiteX53" fmla="*/ 259758 w 1739754"/>
                  <a:gd name="connsiteY53" fmla="*/ 1296739 h 2673102"/>
                  <a:gd name="connsiteX54" fmla="*/ 240708 w 1739754"/>
                  <a:gd name="connsiteY54" fmla="*/ 1325314 h 2673102"/>
                  <a:gd name="connsiteX55" fmla="*/ 250233 w 1739754"/>
                  <a:gd name="connsiteY55" fmla="*/ 1425327 h 2673102"/>
                  <a:gd name="connsiteX56" fmla="*/ 278808 w 1739754"/>
                  <a:gd name="connsiteY56" fmla="*/ 1472952 h 2673102"/>
                  <a:gd name="connsiteX57" fmla="*/ 293096 w 1739754"/>
                  <a:gd name="connsiteY57" fmla="*/ 1492002 h 2673102"/>
                  <a:gd name="connsiteX58" fmla="*/ 383583 w 1739754"/>
                  <a:gd name="connsiteY58" fmla="*/ 1525339 h 2673102"/>
                  <a:gd name="connsiteX59" fmla="*/ 407396 w 1739754"/>
                  <a:gd name="connsiteY59" fmla="*/ 1492002 h 2673102"/>
                  <a:gd name="connsiteX60" fmla="*/ 412158 w 1739754"/>
                  <a:gd name="connsiteY60" fmla="*/ 1468189 h 2673102"/>
                  <a:gd name="connsiteX61" fmla="*/ 416921 w 1739754"/>
                  <a:gd name="connsiteY61" fmla="*/ 1449139 h 2673102"/>
                  <a:gd name="connsiteX62" fmla="*/ 445496 w 1739754"/>
                  <a:gd name="connsiteY62" fmla="*/ 1439614 h 2673102"/>
                  <a:gd name="connsiteX63" fmla="*/ 545508 w 1739754"/>
                  <a:gd name="connsiteY63" fmla="*/ 1458664 h 2673102"/>
                  <a:gd name="connsiteX64" fmla="*/ 555033 w 1739754"/>
                  <a:gd name="connsiteY64" fmla="*/ 1482477 h 2673102"/>
                  <a:gd name="connsiteX65" fmla="*/ 564558 w 1739754"/>
                  <a:gd name="connsiteY65" fmla="*/ 1515814 h 2673102"/>
                  <a:gd name="connsiteX66" fmla="*/ 550271 w 1739754"/>
                  <a:gd name="connsiteY66" fmla="*/ 1534864 h 2673102"/>
                  <a:gd name="connsiteX67" fmla="*/ 550271 w 1739754"/>
                  <a:gd name="connsiteY67" fmla="*/ 1601539 h 2673102"/>
                  <a:gd name="connsiteX68" fmla="*/ 559796 w 1739754"/>
                  <a:gd name="connsiteY68" fmla="*/ 1620589 h 2673102"/>
                  <a:gd name="connsiteX69" fmla="*/ 626471 w 1739754"/>
                  <a:gd name="connsiteY69" fmla="*/ 1639639 h 2673102"/>
                  <a:gd name="connsiteX70" fmla="*/ 645521 w 1739754"/>
                  <a:gd name="connsiteY70" fmla="*/ 1592014 h 2673102"/>
                  <a:gd name="connsiteX71" fmla="*/ 702671 w 1739754"/>
                  <a:gd name="connsiteY71" fmla="*/ 1620589 h 2673102"/>
                  <a:gd name="connsiteX72" fmla="*/ 731246 w 1739754"/>
                  <a:gd name="connsiteY72" fmla="*/ 1630114 h 2673102"/>
                  <a:gd name="connsiteX73" fmla="*/ 783633 w 1739754"/>
                  <a:gd name="connsiteY73" fmla="*/ 1663452 h 2673102"/>
                  <a:gd name="connsiteX74" fmla="*/ 859833 w 1739754"/>
                  <a:gd name="connsiteY74" fmla="*/ 1687264 h 2673102"/>
                  <a:gd name="connsiteX75" fmla="*/ 878883 w 1739754"/>
                  <a:gd name="connsiteY75" fmla="*/ 1701552 h 2673102"/>
                  <a:gd name="connsiteX76" fmla="*/ 888408 w 1739754"/>
                  <a:gd name="connsiteY76" fmla="*/ 1739652 h 2673102"/>
                  <a:gd name="connsiteX77" fmla="*/ 897933 w 1739754"/>
                  <a:gd name="connsiteY77" fmla="*/ 1782514 h 2673102"/>
                  <a:gd name="connsiteX78" fmla="*/ 940796 w 1739754"/>
                  <a:gd name="connsiteY78" fmla="*/ 1892052 h 2673102"/>
                  <a:gd name="connsiteX79" fmla="*/ 950321 w 1739754"/>
                  <a:gd name="connsiteY79" fmla="*/ 1906339 h 2673102"/>
                  <a:gd name="connsiteX80" fmla="*/ 959846 w 1739754"/>
                  <a:gd name="connsiteY80" fmla="*/ 1939677 h 2673102"/>
                  <a:gd name="connsiteX81" fmla="*/ 974133 w 1739754"/>
                  <a:gd name="connsiteY81" fmla="*/ 1977777 h 2673102"/>
                  <a:gd name="connsiteX82" fmla="*/ 964608 w 1739754"/>
                  <a:gd name="connsiteY82" fmla="*/ 2082552 h 2673102"/>
                  <a:gd name="connsiteX83" fmla="*/ 955083 w 1739754"/>
                  <a:gd name="connsiteY83" fmla="*/ 2101602 h 2673102"/>
                  <a:gd name="connsiteX84" fmla="*/ 926508 w 1739754"/>
                  <a:gd name="connsiteY84" fmla="*/ 2144464 h 2673102"/>
                  <a:gd name="connsiteX85" fmla="*/ 907458 w 1739754"/>
                  <a:gd name="connsiteY85" fmla="*/ 2192089 h 2673102"/>
                  <a:gd name="connsiteX86" fmla="*/ 902696 w 1739754"/>
                  <a:gd name="connsiteY86" fmla="*/ 2211139 h 2673102"/>
                  <a:gd name="connsiteX87" fmla="*/ 893171 w 1739754"/>
                  <a:gd name="connsiteY87" fmla="*/ 2239714 h 2673102"/>
                  <a:gd name="connsiteX88" fmla="*/ 897933 w 1739754"/>
                  <a:gd name="connsiteY88" fmla="*/ 2287339 h 2673102"/>
                  <a:gd name="connsiteX89" fmla="*/ 893171 w 1739754"/>
                  <a:gd name="connsiteY89" fmla="*/ 2396877 h 2673102"/>
                  <a:gd name="connsiteX90" fmla="*/ 688383 w 1739754"/>
                  <a:gd name="connsiteY90" fmla="*/ 2449264 h 2673102"/>
                  <a:gd name="connsiteX91" fmla="*/ 655046 w 1739754"/>
                  <a:gd name="connsiteY91" fmla="*/ 2473077 h 2673102"/>
                  <a:gd name="connsiteX92" fmla="*/ 607421 w 1739754"/>
                  <a:gd name="connsiteY92" fmla="*/ 2511177 h 2673102"/>
                  <a:gd name="connsiteX93" fmla="*/ 574083 w 1739754"/>
                  <a:gd name="connsiteY93" fmla="*/ 2534989 h 2673102"/>
                  <a:gd name="connsiteX94" fmla="*/ 540746 w 1739754"/>
                  <a:gd name="connsiteY94" fmla="*/ 2554039 h 2673102"/>
                  <a:gd name="connsiteX95" fmla="*/ 497883 w 1739754"/>
                  <a:gd name="connsiteY95" fmla="*/ 2587377 h 2673102"/>
                  <a:gd name="connsiteX96" fmla="*/ 483596 w 1739754"/>
                  <a:gd name="connsiteY96" fmla="*/ 2601664 h 2673102"/>
                  <a:gd name="connsiteX97" fmla="*/ 459783 w 1739754"/>
                  <a:gd name="connsiteY97" fmla="*/ 2620714 h 2673102"/>
                  <a:gd name="connsiteX98" fmla="*/ 450258 w 1739754"/>
                  <a:gd name="connsiteY98" fmla="*/ 2635002 h 2673102"/>
                  <a:gd name="connsiteX99" fmla="*/ 416921 w 1739754"/>
                  <a:gd name="connsiteY99" fmla="*/ 2654052 h 2673102"/>
                  <a:gd name="connsiteX100" fmla="*/ 374058 w 1739754"/>
                  <a:gd name="connsiteY100" fmla="*/ 2673102 h 2673102"/>
                  <a:gd name="connsiteX101" fmla="*/ 359771 w 1739754"/>
                  <a:gd name="connsiteY101" fmla="*/ 2663577 h 2673102"/>
                  <a:gd name="connsiteX102" fmla="*/ 345483 w 1739754"/>
                  <a:gd name="connsiteY102" fmla="*/ 2635002 h 2673102"/>
                  <a:gd name="connsiteX103" fmla="*/ 335958 w 1739754"/>
                  <a:gd name="connsiteY103" fmla="*/ 2620714 h 2673102"/>
                  <a:gd name="connsiteX104" fmla="*/ 297858 w 1739754"/>
                  <a:gd name="connsiteY104" fmla="*/ 2611189 h 2673102"/>
                  <a:gd name="connsiteX105" fmla="*/ 278808 w 1739754"/>
                  <a:gd name="connsiteY105" fmla="*/ 2592139 h 2673102"/>
                  <a:gd name="connsiteX106" fmla="*/ 274046 w 1739754"/>
                  <a:gd name="connsiteY106" fmla="*/ 2573089 h 2673102"/>
                  <a:gd name="connsiteX107" fmla="*/ 235946 w 1739754"/>
                  <a:gd name="connsiteY107" fmla="*/ 2539752 h 2673102"/>
                  <a:gd name="connsiteX108" fmla="*/ 231183 w 1739754"/>
                  <a:gd name="connsiteY108" fmla="*/ 2525464 h 2673102"/>
                  <a:gd name="connsiteX109" fmla="*/ 226421 w 1739754"/>
                  <a:gd name="connsiteY109" fmla="*/ 2506414 h 2673102"/>
                  <a:gd name="connsiteX110" fmla="*/ 212133 w 1739754"/>
                  <a:gd name="connsiteY110" fmla="*/ 2492127 h 2673102"/>
                  <a:gd name="connsiteX111" fmla="*/ 154983 w 1739754"/>
                  <a:gd name="connsiteY111" fmla="*/ 2439739 h 2673102"/>
                  <a:gd name="connsiteX112" fmla="*/ 150221 w 1739754"/>
                  <a:gd name="connsiteY112" fmla="*/ 2415927 h 2673102"/>
                  <a:gd name="connsiteX113" fmla="*/ 135933 w 1739754"/>
                  <a:gd name="connsiteY113" fmla="*/ 2358777 h 2673102"/>
                  <a:gd name="connsiteX114" fmla="*/ 121646 w 1739754"/>
                  <a:gd name="connsiteY114" fmla="*/ 2315914 h 2673102"/>
                  <a:gd name="connsiteX115" fmla="*/ 107358 w 1739754"/>
                  <a:gd name="connsiteY115" fmla="*/ 2258764 h 2673102"/>
                  <a:gd name="connsiteX116" fmla="*/ 102596 w 1739754"/>
                  <a:gd name="connsiteY116" fmla="*/ 2234952 h 2673102"/>
                  <a:gd name="connsiteX117" fmla="*/ 93071 w 1739754"/>
                  <a:gd name="connsiteY117" fmla="*/ 2211139 h 2673102"/>
                  <a:gd name="connsiteX118" fmla="*/ 88308 w 1739754"/>
                  <a:gd name="connsiteY118" fmla="*/ 2187327 h 2673102"/>
                  <a:gd name="connsiteX119" fmla="*/ 78783 w 1739754"/>
                  <a:gd name="connsiteY119" fmla="*/ 2111127 h 2673102"/>
                  <a:gd name="connsiteX120" fmla="*/ 97833 w 1739754"/>
                  <a:gd name="connsiteY120" fmla="*/ 1944439 h 2673102"/>
                  <a:gd name="connsiteX121" fmla="*/ 107358 w 1739754"/>
                  <a:gd name="connsiteY121" fmla="*/ 1930152 h 2673102"/>
                  <a:gd name="connsiteX122" fmla="*/ 126408 w 1739754"/>
                  <a:gd name="connsiteY122" fmla="*/ 1901577 h 2673102"/>
                  <a:gd name="connsiteX123" fmla="*/ 135933 w 1739754"/>
                  <a:gd name="connsiteY123" fmla="*/ 1868239 h 2673102"/>
                  <a:gd name="connsiteX124" fmla="*/ 131171 w 1739754"/>
                  <a:gd name="connsiteY124" fmla="*/ 1825377 h 2673102"/>
                  <a:gd name="connsiteX125" fmla="*/ 112121 w 1739754"/>
                  <a:gd name="connsiteY125" fmla="*/ 1820614 h 2673102"/>
                  <a:gd name="connsiteX126" fmla="*/ 102596 w 1739754"/>
                  <a:gd name="connsiteY126" fmla="*/ 1806327 h 2673102"/>
                  <a:gd name="connsiteX127" fmla="*/ 145458 w 1739754"/>
                  <a:gd name="connsiteY127" fmla="*/ 1720602 h 2673102"/>
                  <a:gd name="connsiteX128" fmla="*/ 159746 w 1739754"/>
                  <a:gd name="connsiteY128" fmla="*/ 1715839 h 2673102"/>
                  <a:gd name="connsiteX129" fmla="*/ 174033 w 1739754"/>
                  <a:gd name="connsiteY129" fmla="*/ 1696789 h 2673102"/>
                  <a:gd name="connsiteX130" fmla="*/ 188321 w 1739754"/>
                  <a:gd name="connsiteY130" fmla="*/ 1687264 h 2673102"/>
                  <a:gd name="connsiteX131" fmla="*/ 202608 w 1739754"/>
                  <a:gd name="connsiteY131" fmla="*/ 1653927 h 2673102"/>
                  <a:gd name="connsiteX132" fmla="*/ 193083 w 1739754"/>
                  <a:gd name="connsiteY132" fmla="*/ 1606302 h 2673102"/>
                  <a:gd name="connsiteX133" fmla="*/ 164508 w 1739754"/>
                  <a:gd name="connsiteY133" fmla="*/ 1596777 h 2673102"/>
                  <a:gd name="connsiteX134" fmla="*/ 154983 w 1739754"/>
                  <a:gd name="connsiteY134" fmla="*/ 1549152 h 2673102"/>
                  <a:gd name="connsiteX135" fmla="*/ 150221 w 1739754"/>
                  <a:gd name="connsiteY135" fmla="*/ 1411039 h 2673102"/>
                  <a:gd name="connsiteX136" fmla="*/ 140696 w 1739754"/>
                  <a:gd name="connsiteY136" fmla="*/ 1377702 h 2673102"/>
                  <a:gd name="connsiteX137" fmla="*/ 121646 w 1739754"/>
                  <a:gd name="connsiteY137" fmla="*/ 1311027 h 2673102"/>
                  <a:gd name="connsiteX138" fmla="*/ 116883 w 1739754"/>
                  <a:gd name="connsiteY138" fmla="*/ 1258639 h 2673102"/>
                  <a:gd name="connsiteX139" fmla="*/ 107358 w 1739754"/>
                  <a:gd name="connsiteY139" fmla="*/ 1244352 h 2673102"/>
                  <a:gd name="connsiteX140" fmla="*/ 93071 w 1739754"/>
                  <a:gd name="connsiteY140" fmla="*/ 1196727 h 2673102"/>
                  <a:gd name="connsiteX141" fmla="*/ 78783 w 1739754"/>
                  <a:gd name="connsiteY141" fmla="*/ 1177677 h 2673102"/>
                  <a:gd name="connsiteX142" fmla="*/ 59733 w 1739754"/>
                  <a:gd name="connsiteY142" fmla="*/ 1139577 h 2673102"/>
                  <a:gd name="connsiteX143" fmla="*/ 50208 w 1739754"/>
                  <a:gd name="connsiteY143" fmla="*/ 1111002 h 2673102"/>
                  <a:gd name="connsiteX144" fmla="*/ 45446 w 1739754"/>
                  <a:gd name="connsiteY144" fmla="*/ 1096714 h 2673102"/>
                  <a:gd name="connsiteX145" fmla="*/ 21633 w 1739754"/>
                  <a:gd name="connsiteY145" fmla="*/ 1025277 h 2673102"/>
                  <a:gd name="connsiteX146" fmla="*/ 202 w 1739754"/>
                  <a:gd name="connsiteY146" fmla="*/ 980033 h 2673102"/>
                  <a:gd name="connsiteX147" fmla="*/ 14490 w 1739754"/>
                  <a:gd name="connsiteY147" fmla="*/ 930027 h 2673102"/>
                  <a:gd name="connsiteX148" fmla="*/ 69259 w 1739754"/>
                  <a:gd name="connsiteY148" fmla="*/ 810964 h 2673102"/>
                  <a:gd name="connsiteX149" fmla="*/ 221658 w 1739754"/>
                  <a:gd name="connsiteY149" fmla="*/ 601414 h 2673102"/>
                  <a:gd name="connsiteX150" fmla="*/ 288333 w 1739754"/>
                  <a:gd name="connsiteY150" fmla="*/ 515689 h 2673102"/>
                  <a:gd name="connsiteX151" fmla="*/ 412158 w 1739754"/>
                  <a:gd name="connsiteY151" fmla="*/ 406152 h 2673102"/>
                  <a:gd name="connsiteX152" fmla="*/ 535983 w 1739754"/>
                  <a:gd name="connsiteY152" fmla="*/ 291851 h 2673102"/>
                  <a:gd name="connsiteX153" fmla="*/ 640758 w 1739754"/>
                  <a:gd name="connsiteY153" fmla="*/ 229939 h 2673102"/>
                  <a:gd name="connsiteX154" fmla="*/ 733628 w 1739754"/>
                  <a:gd name="connsiteY154" fmla="*/ 168026 h 2673102"/>
                  <a:gd name="connsiteX155" fmla="*/ 978896 w 1739754"/>
                  <a:gd name="connsiteY155" fmla="*/ 63251 h 2673102"/>
                  <a:gd name="connsiteX156" fmla="*/ 1159871 w 1739754"/>
                  <a:gd name="connsiteY156" fmla="*/ 6102 h 2673102"/>
                  <a:gd name="connsiteX157" fmla="*/ 1202733 w 1739754"/>
                  <a:gd name="connsiteY15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69458 w 1739754"/>
                  <a:gd name="connsiteY16" fmla="*/ 696664 h 2673102"/>
                  <a:gd name="connsiteX17" fmla="*/ 1683746 w 1739754"/>
                  <a:gd name="connsiteY17" fmla="*/ 706189 h 2673102"/>
                  <a:gd name="connsiteX18" fmla="*/ 1709940 w 1739754"/>
                  <a:gd name="connsiteY18" fmla="*/ 749052 h 2673102"/>
                  <a:gd name="connsiteX19" fmla="*/ 1702796 w 1739754"/>
                  <a:gd name="connsiteY19" fmla="*/ 853827 h 2673102"/>
                  <a:gd name="connsiteX20" fmla="*/ 1664696 w 1739754"/>
                  <a:gd name="connsiteY20" fmla="*/ 887164 h 2673102"/>
                  <a:gd name="connsiteX21" fmla="*/ 1650408 w 1739754"/>
                  <a:gd name="connsiteY21" fmla="*/ 901452 h 2673102"/>
                  <a:gd name="connsiteX22" fmla="*/ 1598021 w 1739754"/>
                  <a:gd name="connsiteY22" fmla="*/ 906214 h 2673102"/>
                  <a:gd name="connsiteX23" fmla="*/ 1555158 w 1739754"/>
                  <a:gd name="connsiteY23" fmla="*/ 925264 h 2673102"/>
                  <a:gd name="connsiteX24" fmla="*/ 1531346 w 1739754"/>
                  <a:gd name="connsiteY24" fmla="*/ 939552 h 2673102"/>
                  <a:gd name="connsiteX25" fmla="*/ 1498008 w 1739754"/>
                  <a:gd name="connsiteY25" fmla="*/ 987177 h 2673102"/>
                  <a:gd name="connsiteX26" fmla="*/ 1345608 w 1739754"/>
                  <a:gd name="connsiteY26" fmla="*/ 1030039 h 2673102"/>
                  <a:gd name="connsiteX27" fmla="*/ 1297983 w 1739754"/>
                  <a:gd name="connsiteY27" fmla="*/ 1053852 h 2673102"/>
                  <a:gd name="connsiteX28" fmla="*/ 1231308 w 1739754"/>
                  <a:gd name="connsiteY28" fmla="*/ 1082427 h 2673102"/>
                  <a:gd name="connsiteX29" fmla="*/ 1126533 w 1739754"/>
                  <a:gd name="connsiteY29" fmla="*/ 1096714 h 2673102"/>
                  <a:gd name="connsiteX30" fmla="*/ 1102721 w 1739754"/>
                  <a:gd name="connsiteY30" fmla="*/ 1101477 h 2673102"/>
                  <a:gd name="connsiteX31" fmla="*/ 1078908 w 1739754"/>
                  <a:gd name="connsiteY31" fmla="*/ 1111002 h 2673102"/>
                  <a:gd name="connsiteX32" fmla="*/ 964608 w 1739754"/>
                  <a:gd name="connsiteY32" fmla="*/ 1106239 h 2673102"/>
                  <a:gd name="connsiteX33" fmla="*/ 859833 w 1739754"/>
                  <a:gd name="connsiteY33" fmla="*/ 1058614 h 2673102"/>
                  <a:gd name="connsiteX34" fmla="*/ 812208 w 1739754"/>
                  <a:gd name="connsiteY34" fmla="*/ 1034802 h 2673102"/>
                  <a:gd name="connsiteX35" fmla="*/ 788396 w 1739754"/>
                  <a:gd name="connsiteY35" fmla="*/ 1020514 h 2673102"/>
                  <a:gd name="connsiteX36" fmla="*/ 769346 w 1739754"/>
                  <a:gd name="connsiteY36" fmla="*/ 1006227 h 2673102"/>
                  <a:gd name="connsiteX37" fmla="*/ 678858 w 1739754"/>
                  <a:gd name="connsiteY37" fmla="*/ 958602 h 2673102"/>
                  <a:gd name="connsiteX38" fmla="*/ 645521 w 1739754"/>
                  <a:gd name="connsiteY38" fmla="*/ 939552 h 2673102"/>
                  <a:gd name="connsiteX39" fmla="*/ 526458 w 1739754"/>
                  <a:gd name="connsiteY39" fmla="*/ 910977 h 2673102"/>
                  <a:gd name="connsiteX40" fmla="*/ 483596 w 1739754"/>
                  <a:gd name="connsiteY40" fmla="*/ 891927 h 2673102"/>
                  <a:gd name="connsiteX41" fmla="*/ 421683 w 1739754"/>
                  <a:gd name="connsiteY41" fmla="*/ 882402 h 2673102"/>
                  <a:gd name="connsiteX42" fmla="*/ 321671 w 1739754"/>
                  <a:gd name="connsiteY42" fmla="*/ 896689 h 2673102"/>
                  <a:gd name="connsiteX43" fmla="*/ 307383 w 1739754"/>
                  <a:gd name="connsiteY43" fmla="*/ 910977 h 2673102"/>
                  <a:gd name="connsiteX44" fmla="*/ 283571 w 1739754"/>
                  <a:gd name="connsiteY44" fmla="*/ 949077 h 2673102"/>
                  <a:gd name="connsiteX45" fmla="*/ 269283 w 1739754"/>
                  <a:gd name="connsiteY45" fmla="*/ 987177 h 2673102"/>
                  <a:gd name="connsiteX46" fmla="*/ 264521 w 1739754"/>
                  <a:gd name="connsiteY46" fmla="*/ 1039564 h 2673102"/>
                  <a:gd name="connsiteX47" fmla="*/ 264521 w 1739754"/>
                  <a:gd name="connsiteY47" fmla="*/ 1120527 h 2673102"/>
                  <a:gd name="connsiteX48" fmla="*/ 297858 w 1739754"/>
                  <a:gd name="connsiteY48" fmla="*/ 1153864 h 2673102"/>
                  <a:gd name="connsiteX49" fmla="*/ 326433 w 1739754"/>
                  <a:gd name="connsiteY49" fmla="*/ 1163389 h 2673102"/>
                  <a:gd name="connsiteX50" fmla="*/ 326433 w 1739754"/>
                  <a:gd name="connsiteY50" fmla="*/ 1244352 h 2673102"/>
                  <a:gd name="connsiteX51" fmla="*/ 312146 w 1739754"/>
                  <a:gd name="connsiteY51" fmla="*/ 1258639 h 2673102"/>
                  <a:gd name="connsiteX52" fmla="*/ 259758 w 1739754"/>
                  <a:gd name="connsiteY52" fmla="*/ 1296739 h 2673102"/>
                  <a:gd name="connsiteX53" fmla="*/ 240708 w 1739754"/>
                  <a:gd name="connsiteY53" fmla="*/ 1325314 h 2673102"/>
                  <a:gd name="connsiteX54" fmla="*/ 250233 w 1739754"/>
                  <a:gd name="connsiteY54" fmla="*/ 1425327 h 2673102"/>
                  <a:gd name="connsiteX55" fmla="*/ 278808 w 1739754"/>
                  <a:gd name="connsiteY55" fmla="*/ 1472952 h 2673102"/>
                  <a:gd name="connsiteX56" fmla="*/ 293096 w 1739754"/>
                  <a:gd name="connsiteY56" fmla="*/ 1492002 h 2673102"/>
                  <a:gd name="connsiteX57" fmla="*/ 383583 w 1739754"/>
                  <a:gd name="connsiteY57" fmla="*/ 1525339 h 2673102"/>
                  <a:gd name="connsiteX58" fmla="*/ 407396 w 1739754"/>
                  <a:gd name="connsiteY58" fmla="*/ 1492002 h 2673102"/>
                  <a:gd name="connsiteX59" fmla="*/ 412158 w 1739754"/>
                  <a:gd name="connsiteY59" fmla="*/ 1468189 h 2673102"/>
                  <a:gd name="connsiteX60" fmla="*/ 416921 w 1739754"/>
                  <a:gd name="connsiteY60" fmla="*/ 1449139 h 2673102"/>
                  <a:gd name="connsiteX61" fmla="*/ 445496 w 1739754"/>
                  <a:gd name="connsiteY61" fmla="*/ 1439614 h 2673102"/>
                  <a:gd name="connsiteX62" fmla="*/ 545508 w 1739754"/>
                  <a:gd name="connsiteY62" fmla="*/ 1458664 h 2673102"/>
                  <a:gd name="connsiteX63" fmla="*/ 555033 w 1739754"/>
                  <a:gd name="connsiteY63" fmla="*/ 1482477 h 2673102"/>
                  <a:gd name="connsiteX64" fmla="*/ 564558 w 1739754"/>
                  <a:gd name="connsiteY64" fmla="*/ 1515814 h 2673102"/>
                  <a:gd name="connsiteX65" fmla="*/ 550271 w 1739754"/>
                  <a:gd name="connsiteY65" fmla="*/ 1534864 h 2673102"/>
                  <a:gd name="connsiteX66" fmla="*/ 550271 w 1739754"/>
                  <a:gd name="connsiteY66" fmla="*/ 1601539 h 2673102"/>
                  <a:gd name="connsiteX67" fmla="*/ 559796 w 1739754"/>
                  <a:gd name="connsiteY67" fmla="*/ 1620589 h 2673102"/>
                  <a:gd name="connsiteX68" fmla="*/ 626471 w 1739754"/>
                  <a:gd name="connsiteY68" fmla="*/ 1639639 h 2673102"/>
                  <a:gd name="connsiteX69" fmla="*/ 645521 w 1739754"/>
                  <a:gd name="connsiteY69" fmla="*/ 1592014 h 2673102"/>
                  <a:gd name="connsiteX70" fmla="*/ 702671 w 1739754"/>
                  <a:gd name="connsiteY70" fmla="*/ 1620589 h 2673102"/>
                  <a:gd name="connsiteX71" fmla="*/ 731246 w 1739754"/>
                  <a:gd name="connsiteY71" fmla="*/ 1630114 h 2673102"/>
                  <a:gd name="connsiteX72" fmla="*/ 783633 w 1739754"/>
                  <a:gd name="connsiteY72" fmla="*/ 1663452 h 2673102"/>
                  <a:gd name="connsiteX73" fmla="*/ 859833 w 1739754"/>
                  <a:gd name="connsiteY73" fmla="*/ 1687264 h 2673102"/>
                  <a:gd name="connsiteX74" fmla="*/ 878883 w 1739754"/>
                  <a:gd name="connsiteY74" fmla="*/ 1701552 h 2673102"/>
                  <a:gd name="connsiteX75" fmla="*/ 888408 w 1739754"/>
                  <a:gd name="connsiteY75" fmla="*/ 1739652 h 2673102"/>
                  <a:gd name="connsiteX76" fmla="*/ 897933 w 1739754"/>
                  <a:gd name="connsiteY76" fmla="*/ 1782514 h 2673102"/>
                  <a:gd name="connsiteX77" fmla="*/ 940796 w 1739754"/>
                  <a:gd name="connsiteY77" fmla="*/ 1892052 h 2673102"/>
                  <a:gd name="connsiteX78" fmla="*/ 950321 w 1739754"/>
                  <a:gd name="connsiteY78" fmla="*/ 1906339 h 2673102"/>
                  <a:gd name="connsiteX79" fmla="*/ 959846 w 1739754"/>
                  <a:gd name="connsiteY79" fmla="*/ 1939677 h 2673102"/>
                  <a:gd name="connsiteX80" fmla="*/ 974133 w 1739754"/>
                  <a:gd name="connsiteY80" fmla="*/ 1977777 h 2673102"/>
                  <a:gd name="connsiteX81" fmla="*/ 964608 w 1739754"/>
                  <a:gd name="connsiteY81" fmla="*/ 2082552 h 2673102"/>
                  <a:gd name="connsiteX82" fmla="*/ 955083 w 1739754"/>
                  <a:gd name="connsiteY82" fmla="*/ 2101602 h 2673102"/>
                  <a:gd name="connsiteX83" fmla="*/ 926508 w 1739754"/>
                  <a:gd name="connsiteY83" fmla="*/ 2144464 h 2673102"/>
                  <a:gd name="connsiteX84" fmla="*/ 907458 w 1739754"/>
                  <a:gd name="connsiteY84" fmla="*/ 2192089 h 2673102"/>
                  <a:gd name="connsiteX85" fmla="*/ 902696 w 1739754"/>
                  <a:gd name="connsiteY85" fmla="*/ 2211139 h 2673102"/>
                  <a:gd name="connsiteX86" fmla="*/ 893171 w 1739754"/>
                  <a:gd name="connsiteY86" fmla="*/ 2239714 h 2673102"/>
                  <a:gd name="connsiteX87" fmla="*/ 897933 w 1739754"/>
                  <a:gd name="connsiteY87" fmla="*/ 2287339 h 2673102"/>
                  <a:gd name="connsiteX88" fmla="*/ 893171 w 1739754"/>
                  <a:gd name="connsiteY88" fmla="*/ 2396877 h 2673102"/>
                  <a:gd name="connsiteX89" fmla="*/ 688383 w 1739754"/>
                  <a:gd name="connsiteY89" fmla="*/ 2449264 h 2673102"/>
                  <a:gd name="connsiteX90" fmla="*/ 655046 w 1739754"/>
                  <a:gd name="connsiteY90" fmla="*/ 2473077 h 2673102"/>
                  <a:gd name="connsiteX91" fmla="*/ 607421 w 1739754"/>
                  <a:gd name="connsiteY91" fmla="*/ 2511177 h 2673102"/>
                  <a:gd name="connsiteX92" fmla="*/ 574083 w 1739754"/>
                  <a:gd name="connsiteY92" fmla="*/ 2534989 h 2673102"/>
                  <a:gd name="connsiteX93" fmla="*/ 540746 w 1739754"/>
                  <a:gd name="connsiteY93" fmla="*/ 2554039 h 2673102"/>
                  <a:gd name="connsiteX94" fmla="*/ 497883 w 1739754"/>
                  <a:gd name="connsiteY94" fmla="*/ 2587377 h 2673102"/>
                  <a:gd name="connsiteX95" fmla="*/ 483596 w 1739754"/>
                  <a:gd name="connsiteY95" fmla="*/ 2601664 h 2673102"/>
                  <a:gd name="connsiteX96" fmla="*/ 459783 w 1739754"/>
                  <a:gd name="connsiteY96" fmla="*/ 2620714 h 2673102"/>
                  <a:gd name="connsiteX97" fmla="*/ 450258 w 1739754"/>
                  <a:gd name="connsiteY97" fmla="*/ 2635002 h 2673102"/>
                  <a:gd name="connsiteX98" fmla="*/ 416921 w 1739754"/>
                  <a:gd name="connsiteY98" fmla="*/ 2654052 h 2673102"/>
                  <a:gd name="connsiteX99" fmla="*/ 374058 w 1739754"/>
                  <a:gd name="connsiteY99" fmla="*/ 2673102 h 2673102"/>
                  <a:gd name="connsiteX100" fmla="*/ 359771 w 1739754"/>
                  <a:gd name="connsiteY100" fmla="*/ 2663577 h 2673102"/>
                  <a:gd name="connsiteX101" fmla="*/ 345483 w 1739754"/>
                  <a:gd name="connsiteY101" fmla="*/ 2635002 h 2673102"/>
                  <a:gd name="connsiteX102" fmla="*/ 335958 w 1739754"/>
                  <a:gd name="connsiteY102" fmla="*/ 2620714 h 2673102"/>
                  <a:gd name="connsiteX103" fmla="*/ 297858 w 1739754"/>
                  <a:gd name="connsiteY103" fmla="*/ 2611189 h 2673102"/>
                  <a:gd name="connsiteX104" fmla="*/ 278808 w 1739754"/>
                  <a:gd name="connsiteY104" fmla="*/ 2592139 h 2673102"/>
                  <a:gd name="connsiteX105" fmla="*/ 274046 w 1739754"/>
                  <a:gd name="connsiteY105" fmla="*/ 2573089 h 2673102"/>
                  <a:gd name="connsiteX106" fmla="*/ 235946 w 1739754"/>
                  <a:gd name="connsiteY106" fmla="*/ 2539752 h 2673102"/>
                  <a:gd name="connsiteX107" fmla="*/ 231183 w 1739754"/>
                  <a:gd name="connsiteY107" fmla="*/ 2525464 h 2673102"/>
                  <a:gd name="connsiteX108" fmla="*/ 226421 w 1739754"/>
                  <a:gd name="connsiteY108" fmla="*/ 2506414 h 2673102"/>
                  <a:gd name="connsiteX109" fmla="*/ 212133 w 1739754"/>
                  <a:gd name="connsiteY109" fmla="*/ 2492127 h 2673102"/>
                  <a:gd name="connsiteX110" fmla="*/ 154983 w 1739754"/>
                  <a:gd name="connsiteY110" fmla="*/ 2439739 h 2673102"/>
                  <a:gd name="connsiteX111" fmla="*/ 150221 w 1739754"/>
                  <a:gd name="connsiteY111" fmla="*/ 2415927 h 2673102"/>
                  <a:gd name="connsiteX112" fmla="*/ 135933 w 1739754"/>
                  <a:gd name="connsiteY112" fmla="*/ 2358777 h 2673102"/>
                  <a:gd name="connsiteX113" fmla="*/ 121646 w 1739754"/>
                  <a:gd name="connsiteY113" fmla="*/ 2315914 h 2673102"/>
                  <a:gd name="connsiteX114" fmla="*/ 107358 w 1739754"/>
                  <a:gd name="connsiteY114" fmla="*/ 2258764 h 2673102"/>
                  <a:gd name="connsiteX115" fmla="*/ 102596 w 1739754"/>
                  <a:gd name="connsiteY115" fmla="*/ 2234952 h 2673102"/>
                  <a:gd name="connsiteX116" fmla="*/ 93071 w 1739754"/>
                  <a:gd name="connsiteY116" fmla="*/ 2211139 h 2673102"/>
                  <a:gd name="connsiteX117" fmla="*/ 88308 w 1739754"/>
                  <a:gd name="connsiteY117" fmla="*/ 2187327 h 2673102"/>
                  <a:gd name="connsiteX118" fmla="*/ 78783 w 1739754"/>
                  <a:gd name="connsiteY118" fmla="*/ 2111127 h 2673102"/>
                  <a:gd name="connsiteX119" fmla="*/ 97833 w 1739754"/>
                  <a:gd name="connsiteY119" fmla="*/ 1944439 h 2673102"/>
                  <a:gd name="connsiteX120" fmla="*/ 107358 w 1739754"/>
                  <a:gd name="connsiteY120" fmla="*/ 1930152 h 2673102"/>
                  <a:gd name="connsiteX121" fmla="*/ 126408 w 1739754"/>
                  <a:gd name="connsiteY121" fmla="*/ 1901577 h 2673102"/>
                  <a:gd name="connsiteX122" fmla="*/ 135933 w 1739754"/>
                  <a:gd name="connsiteY122" fmla="*/ 1868239 h 2673102"/>
                  <a:gd name="connsiteX123" fmla="*/ 131171 w 1739754"/>
                  <a:gd name="connsiteY123" fmla="*/ 1825377 h 2673102"/>
                  <a:gd name="connsiteX124" fmla="*/ 112121 w 1739754"/>
                  <a:gd name="connsiteY124" fmla="*/ 1820614 h 2673102"/>
                  <a:gd name="connsiteX125" fmla="*/ 102596 w 1739754"/>
                  <a:gd name="connsiteY125" fmla="*/ 1806327 h 2673102"/>
                  <a:gd name="connsiteX126" fmla="*/ 145458 w 1739754"/>
                  <a:gd name="connsiteY126" fmla="*/ 1720602 h 2673102"/>
                  <a:gd name="connsiteX127" fmla="*/ 159746 w 1739754"/>
                  <a:gd name="connsiteY127" fmla="*/ 1715839 h 2673102"/>
                  <a:gd name="connsiteX128" fmla="*/ 174033 w 1739754"/>
                  <a:gd name="connsiteY128" fmla="*/ 1696789 h 2673102"/>
                  <a:gd name="connsiteX129" fmla="*/ 188321 w 1739754"/>
                  <a:gd name="connsiteY129" fmla="*/ 1687264 h 2673102"/>
                  <a:gd name="connsiteX130" fmla="*/ 202608 w 1739754"/>
                  <a:gd name="connsiteY130" fmla="*/ 1653927 h 2673102"/>
                  <a:gd name="connsiteX131" fmla="*/ 193083 w 1739754"/>
                  <a:gd name="connsiteY131" fmla="*/ 1606302 h 2673102"/>
                  <a:gd name="connsiteX132" fmla="*/ 164508 w 1739754"/>
                  <a:gd name="connsiteY132" fmla="*/ 1596777 h 2673102"/>
                  <a:gd name="connsiteX133" fmla="*/ 154983 w 1739754"/>
                  <a:gd name="connsiteY133" fmla="*/ 1549152 h 2673102"/>
                  <a:gd name="connsiteX134" fmla="*/ 150221 w 1739754"/>
                  <a:gd name="connsiteY134" fmla="*/ 1411039 h 2673102"/>
                  <a:gd name="connsiteX135" fmla="*/ 140696 w 1739754"/>
                  <a:gd name="connsiteY135" fmla="*/ 1377702 h 2673102"/>
                  <a:gd name="connsiteX136" fmla="*/ 121646 w 1739754"/>
                  <a:gd name="connsiteY136" fmla="*/ 1311027 h 2673102"/>
                  <a:gd name="connsiteX137" fmla="*/ 116883 w 1739754"/>
                  <a:gd name="connsiteY137" fmla="*/ 1258639 h 2673102"/>
                  <a:gd name="connsiteX138" fmla="*/ 107358 w 1739754"/>
                  <a:gd name="connsiteY138" fmla="*/ 1244352 h 2673102"/>
                  <a:gd name="connsiteX139" fmla="*/ 93071 w 1739754"/>
                  <a:gd name="connsiteY139" fmla="*/ 1196727 h 2673102"/>
                  <a:gd name="connsiteX140" fmla="*/ 78783 w 1739754"/>
                  <a:gd name="connsiteY140" fmla="*/ 1177677 h 2673102"/>
                  <a:gd name="connsiteX141" fmla="*/ 59733 w 1739754"/>
                  <a:gd name="connsiteY141" fmla="*/ 1139577 h 2673102"/>
                  <a:gd name="connsiteX142" fmla="*/ 50208 w 1739754"/>
                  <a:gd name="connsiteY142" fmla="*/ 1111002 h 2673102"/>
                  <a:gd name="connsiteX143" fmla="*/ 45446 w 1739754"/>
                  <a:gd name="connsiteY143" fmla="*/ 1096714 h 2673102"/>
                  <a:gd name="connsiteX144" fmla="*/ 21633 w 1739754"/>
                  <a:gd name="connsiteY144" fmla="*/ 1025277 h 2673102"/>
                  <a:gd name="connsiteX145" fmla="*/ 202 w 1739754"/>
                  <a:gd name="connsiteY145" fmla="*/ 980033 h 2673102"/>
                  <a:gd name="connsiteX146" fmla="*/ 14490 w 1739754"/>
                  <a:gd name="connsiteY146" fmla="*/ 930027 h 2673102"/>
                  <a:gd name="connsiteX147" fmla="*/ 69259 w 1739754"/>
                  <a:gd name="connsiteY147" fmla="*/ 810964 h 2673102"/>
                  <a:gd name="connsiteX148" fmla="*/ 221658 w 1739754"/>
                  <a:gd name="connsiteY148" fmla="*/ 601414 h 2673102"/>
                  <a:gd name="connsiteX149" fmla="*/ 288333 w 1739754"/>
                  <a:gd name="connsiteY149" fmla="*/ 515689 h 2673102"/>
                  <a:gd name="connsiteX150" fmla="*/ 412158 w 1739754"/>
                  <a:gd name="connsiteY150" fmla="*/ 406152 h 2673102"/>
                  <a:gd name="connsiteX151" fmla="*/ 535983 w 1739754"/>
                  <a:gd name="connsiteY151" fmla="*/ 291851 h 2673102"/>
                  <a:gd name="connsiteX152" fmla="*/ 640758 w 1739754"/>
                  <a:gd name="connsiteY152" fmla="*/ 229939 h 2673102"/>
                  <a:gd name="connsiteX153" fmla="*/ 733628 w 1739754"/>
                  <a:gd name="connsiteY153" fmla="*/ 168026 h 2673102"/>
                  <a:gd name="connsiteX154" fmla="*/ 978896 w 1739754"/>
                  <a:gd name="connsiteY154" fmla="*/ 63251 h 2673102"/>
                  <a:gd name="connsiteX155" fmla="*/ 1159871 w 1739754"/>
                  <a:gd name="connsiteY155" fmla="*/ 6102 h 2673102"/>
                  <a:gd name="connsiteX156" fmla="*/ 1202733 w 1739754"/>
                  <a:gd name="connsiteY15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650408 w 1739754"/>
                  <a:gd name="connsiteY20" fmla="*/ 901452 h 2673102"/>
                  <a:gd name="connsiteX21" fmla="*/ 1598021 w 1739754"/>
                  <a:gd name="connsiteY21" fmla="*/ 906214 h 2673102"/>
                  <a:gd name="connsiteX22" fmla="*/ 1555158 w 1739754"/>
                  <a:gd name="connsiteY22" fmla="*/ 925264 h 2673102"/>
                  <a:gd name="connsiteX23" fmla="*/ 1531346 w 1739754"/>
                  <a:gd name="connsiteY23" fmla="*/ 939552 h 2673102"/>
                  <a:gd name="connsiteX24" fmla="*/ 1498008 w 1739754"/>
                  <a:gd name="connsiteY24" fmla="*/ 987177 h 2673102"/>
                  <a:gd name="connsiteX25" fmla="*/ 1345608 w 1739754"/>
                  <a:gd name="connsiteY25" fmla="*/ 1030039 h 2673102"/>
                  <a:gd name="connsiteX26" fmla="*/ 1297983 w 1739754"/>
                  <a:gd name="connsiteY26" fmla="*/ 1053852 h 2673102"/>
                  <a:gd name="connsiteX27" fmla="*/ 1231308 w 1739754"/>
                  <a:gd name="connsiteY27" fmla="*/ 1082427 h 2673102"/>
                  <a:gd name="connsiteX28" fmla="*/ 1126533 w 1739754"/>
                  <a:gd name="connsiteY28" fmla="*/ 1096714 h 2673102"/>
                  <a:gd name="connsiteX29" fmla="*/ 1102721 w 1739754"/>
                  <a:gd name="connsiteY29" fmla="*/ 1101477 h 2673102"/>
                  <a:gd name="connsiteX30" fmla="*/ 1078908 w 1739754"/>
                  <a:gd name="connsiteY30" fmla="*/ 1111002 h 2673102"/>
                  <a:gd name="connsiteX31" fmla="*/ 964608 w 1739754"/>
                  <a:gd name="connsiteY31" fmla="*/ 1106239 h 2673102"/>
                  <a:gd name="connsiteX32" fmla="*/ 859833 w 1739754"/>
                  <a:gd name="connsiteY32" fmla="*/ 1058614 h 2673102"/>
                  <a:gd name="connsiteX33" fmla="*/ 812208 w 1739754"/>
                  <a:gd name="connsiteY33" fmla="*/ 1034802 h 2673102"/>
                  <a:gd name="connsiteX34" fmla="*/ 788396 w 1739754"/>
                  <a:gd name="connsiteY34" fmla="*/ 1020514 h 2673102"/>
                  <a:gd name="connsiteX35" fmla="*/ 769346 w 1739754"/>
                  <a:gd name="connsiteY35" fmla="*/ 1006227 h 2673102"/>
                  <a:gd name="connsiteX36" fmla="*/ 678858 w 1739754"/>
                  <a:gd name="connsiteY36" fmla="*/ 958602 h 2673102"/>
                  <a:gd name="connsiteX37" fmla="*/ 645521 w 1739754"/>
                  <a:gd name="connsiteY37" fmla="*/ 939552 h 2673102"/>
                  <a:gd name="connsiteX38" fmla="*/ 526458 w 1739754"/>
                  <a:gd name="connsiteY38" fmla="*/ 910977 h 2673102"/>
                  <a:gd name="connsiteX39" fmla="*/ 483596 w 1739754"/>
                  <a:gd name="connsiteY39" fmla="*/ 891927 h 2673102"/>
                  <a:gd name="connsiteX40" fmla="*/ 421683 w 1739754"/>
                  <a:gd name="connsiteY40" fmla="*/ 882402 h 2673102"/>
                  <a:gd name="connsiteX41" fmla="*/ 321671 w 1739754"/>
                  <a:gd name="connsiteY41" fmla="*/ 896689 h 2673102"/>
                  <a:gd name="connsiteX42" fmla="*/ 307383 w 1739754"/>
                  <a:gd name="connsiteY42" fmla="*/ 910977 h 2673102"/>
                  <a:gd name="connsiteX43" fmla="*/ 283571 w 1739754"/>
                  <a:gd name="connsiteY43" fmla="*/ 949077 h 2673102"/>
                  <a:gd name="connsiteX44" fmla="*/ 269283 w 1739754"/>
                  <a:gd name="connsiteY44" fmla="*/ 987177 h 2673102"/>
                  <a:gd name="connsiteX45" fmla="*/ 264521 w 1739754"/>
                  <a:gd name="connsiteY45" fmla="*/ 1039564 h 2673102"/>
                  <a:gd name="connsiteX46" fmla="*/ 264521 w 1739754"/>
                  <a:gd name="connsiteY46" fmla="*/ 1120527 h 2673102"/>
                  <a:gd name="connsiteX47" fmla="*/ 297858 w 1739754"/>
                  <a:gd name="connsiteY47" fmla="*/ 1153864 h 2673102"/>
                  <a:gd name="connsiteX48" fmla="*/ 326433 w 1739754"/>
                  <a:gd name="connsiteY48" fmla="*/ 1163389 h 2673102"/>
                  <a:gd name="connsiteX49" fmla="*/ 326433 w 1739754"/>
                  <a:gd name="connsiteY49" fmla="*/ 1244352 h 2673102"/>
                  <a:gd name="connsiteX50" fmla="*/ 312146 w 1739754"/>
                  <a:gd name="connsiteY50" fmla="*/ 1258639 h 2673102"/>
                  <a:gd name="connsiteX51" fmla="*/ 259758 w 1739754"/>
                  <a:gd name="connsiteY51" fmla="*/ 1296739 h 2673102"/>
                  <a:gd name="connsiteX52" fmla="*/ 240708 w 1739754"/>
                  <a:gd name="connsiteY52" fmla="*/ 1325314 h 2673102"/>
                  <a:gd name="connsiteX53" fmla="*/ 250233 w 1739754"/>
                  <a:gd name="connsiteY53" fmla="*/ 1425327 h 2673102"/>
                  <a:gd name="connsiteX54" fmla="*/ 278808 w 1739754"/>
                  <a:gd name="connsiteY54" fmla="*/ 1472952 h 2673102"/>
                  <a:gd name="connsiteX55" fmla="*/ 293096 w 1739754"/>
                  <a:gd name="connsiteY55" fmla="*/ 1492002 h 2673102"/>
                  <a:gd name="connsiteX56" fmla="*/ 383583 w 1739754"/>
                  <a:gd name="connsiteY56" fmla="*/ 1525339 h 2673102"/>
                  <a:gd name="connsiteX57" fmla="*/ 407396 w 1739754"/>
                  <a:gd name="connsiteY57" fmla="*/ 1492002 h 2673102"/>
                  <a:gd name="connsiteX58" fmla="*/ 412158 w 1739754"/>
                  <a:gd name="connsiteY58" fmla="*/ 1468189 h 2673102"/>
                  <a:gd name="connsiteX59" fmla="*/ 416921 w 1739754"/>
                  <a:gd name="connsiteY59" fmla="*/ 1449139 h 2673102"/>
                  <a:gd name="connsiteX60" fmla="*/ 445496 w 1739754"/>
                  <a:gd name="connsiteY60" fmla="*/ 1439614 h 2673102"/>
                  <a:gd name="connsiteX61" fmla="*/ 545508 w 1739754"/>
                  <a:gd name="connsiteY61" fmla="*/ 1458664 h 2673102"/>
                  <a:gd name="connsiteX62" fmla="*/ 555033 w 1739754"/>
                  <a:gd name="connsiteY62" fmla="*/ 1482477 h 2673102"/>
                  <a:gd name="connsiteX63" fmla="*/ 564558 w 1739754"/>
                  <a:gd name="connsiteY63" fmla="*/ 1515814 h 2673102"/>
                  <a:gd name="connsiteX64" fmla="*/ 550271 w 1739754"/>
                  <a:gd name="connsiteY64" fmla="*/ 1534864 h 2673102"/>
                  <a:gd name="connsiteX65" fmla="*/ 550271 w 1739754"/>
                  <a:gd name="connsiteY65" fmla="*/ 1601539 h 2673102"/>
                  <a:gd name="connsiteX66" fmla="*/ 559796 w 1739754"/>
                  <a:gd name="connsiteY66" fmla="*/ 1620589 h 2673102"/>
                  <a:gd name="connsiteX67" fmla="*/ 626471 w 1739754"/>
                  <a:gd name="connsiteY67" fmla="*/ 1639639 h 2673102"/>
                  <a:gd name="connsiteX68" fmla="*/ 645521 w 1739754"/>
                  <a:gd name="connsiteY68" fmla="*/ 1592014 h 2673102"/>
                  <a:gd name="connsiteX69" fmla="*/ 702671 w 1739754"/>
                  <a:gd name="connsiteY69" fmla="*/ 1620589 h 2673102"/>
                  <a:gd name="connsiteX70" fmla="*/ 731246 w 1739754"/>
                  <a:gd name="connsiteY70" fmla="*/ 1630114 h 2673102"/>
                  <a:gd name="connsiteX71" fmla="*/ 783633 w 1739754"/>
                  <a:gd name="connsiteY71" fmla="*/ 1663452 h 2673102"/>
                  <a:gd name="connsiteX72" fmla="*/ 859833 w 1739754"/>
                  <a:gd name="connsiteY72" fmla="*/ 1687264 h 2673102"/>
                  <a:gd name="connsiteX73" fmla="*/ 878883 w 1739754"/>
                  <a:gd name="connsiteY73" fmla="*/ 1701552 h 2673102"/>
                  <a:gd name="connsiteX74" fmla="*/ 888408 w 1739754"/>
                  <a:gd name="connsiteY74" fmla="*/ 1739652 h 2673102"/>
                  <a:gd name="connsiteX75" fmla="*/ 897933 w 1739754"/>
                  <a:gd name="connsiteY75" fmla="*/ 1782514 h 2673102"/>
                  <a:gd name="connsiteX76" fmla="*/ 940796 w 1739754"/>
                  <a:gd name="connsiteY76" fmla="*/ 1892052 h 2673102"/>
                  <a:gd name="connsiteX77" fmla="*/ 950321 w 1739754"/>
                  <a:gd name="connsiteY77" fmla="*/ 1906339 h 2673102"/>
                  <a:gd name="connsiteX78" fmla="*/ 959846 w 1739754"/>
                  <a:gd name="connsiteY78" fmla="*/ 1939677 h 2673102"/>
                  <a:gd name="connsiteX79" fmla="*/ 974133 w 1739754"/>
                  <a:gd name="connsiteY79" fmla="*/ 1977777 h 2673102"/>
                  <a:gd name="connsiteX80" fmla="*/ 964608 w 1739754"/>
                  <a:gd name="connsiteY80" fmla="*/ 2082552 h 2673102"/>
                  <a:gd name="connsiteX81" fmla="*/ 955083 w 1739754"/>
                  <a:gd name="connsiteY81" fmla="*/ 2101602 h 2673102"/>
                  <a:gd name="connsiteX82" fmla="*/ 926508 w 1739754"/>
                  <a:gd name="connsiteY82" fmla="*/ 2144464 h 2673102"/>
                  <a:gd name="connsiteX83" fmla="*/ 907458 w 1739754"/>
                  <a:gd name="connsiteY83" fmla="*/ 2192089 h 2673102"/>
                  <a:gd name="connsiteX84" fmla="*/ 902696 w 1739754"/>
                  <a:gd name="connsiteY84" fmla="*/ 2211139 h 2673102"/>
                  <a:gd name="connsiteX85" fmla="*/ 893171 w 1739754"/>
                  <a:gd name="connsiteY85" fmla="*/ 2239714 h 2673102"/>
                  <a:gd name="connsiteX86" fmla="*/ 897933 w 1739754"/>
                  <a:gd name="connsiteY86" fmla="*/ 2287339 h 2673102"/>
                  <a:gd name="connsiteX87" fmla="*/ 893171 w 1739754"/>
                  <a:gd name="connsiteY87" fmla="*/ 2396877 h 2673102"/>
                  <a:gd name="connsiteX88" fmla="*/ 688383 w 1739754"/>
                  <a:gd name="connsiteY88" fmla="*/ 2449264 h 2673102"/>
                  <a:gd name="connsiteX89" fmla="*/ 655046 w 1739754"/>
                  <a:gd name="connsiteY89" fmla="*/ 2473077 h 2673102"/>
                  <a:gd name="connsiteX90" fmla="*/ 607421 w 1739754"/>
                  <a:gd name="connsiteY90" fmla="*/ 2511177 h 2673102"/>
                  <a:gd name="connsiteX91" fmla="*/ 574083 w 1739754"/>
                  <a:gd name="connsiteY91" fmla="*/ 2534989 h 2673102"/>
                  <a:gd name="connsiteX92" fmla="*/ 540746 w 1739754"/>
                  <a:gd name="connsiteY92" fmla="*/ 2554039 h 2673102"/>
                  <a:gd name="connsiteX93" fmla="*/ 497883 w 1739754"/>
                  <a:gd name="connsiteY93" fmla="*/ 2587377 h 2673102"/>
                  <a:gd name="connsiteX94" fmla="*/ 483596 w 1739754"/>
                  <a:gd name="connsiteY94" fmla="*/ 2601664 h 2673102"/>
                  <a:gd name="connsiteX95" fmla="*/ 459783 w 1739754"/>
                  <a:gd name="connsiteY95" fmla="*/ 2620714 h 2673102"/>
                  <a:gd name="connsiteX96" fmla="*/ 450258 w 1739754"/>
                  <a:gd name="connsiteY96" fmla="*/ 2635002 h 2673102"/>
                  <a:gd name="connsiteX97" fmla="*/ 416921 w 1739754"/>
                  <a:gd name="connsiteY97" fmla="*/ 2654052 h 2673102"/>
                  <a:gd name="connsiteX98" fmla="*/ 374058 w 1739754"/>
                  <a:gd name="connsiteY98" fmla="*/ 2673102 h 2673102"/>
                  <a:gd name="connsiteX99" fmla="*/ 359771 w 1739754"/>
                  <a:gd name="connsiteY99" fmla="*/ 2663577 h 2673102"/>
                  <a:gd name="connsiteX100" fmla="*/ 345483 w 1739754"/>
                  <a:gd name="connsiteY100" fmla="*/ 2635002 h 2673102"/>
                  <a:gd name="connsiteX101" fmla="*/ 335958 w 1739754"/>
                  <a:gd name="connsiteY101" fmla="*/ 2620714 h 2673102"/>
                  <a:gd name="connsiteX102" fmla="*/ 297858 w 1739754"/>
                  <a:gd name="connsiteY102" fmla="*/ 2611189 h 2673102"/>
                  <a:gd name="connsiteX103" fmla="*/ 278808 w 1739754"/>
                  <a:gd name="connsiteY103" fmla="*/ 2592139 h 2673102"/>
                  <a:gd name="connsiteX104" fmla="*/ 274046 w 1739754"/>
                  <a:gd name="connsiteY104" fmla="*/ 2573089 h 2673102"/>
                  <a:gd name="connsiteX105" fmla="*/ 235946 w 1739754"/>
                  <a:gd name="connsiteY105" fmla="*/ 2539752 h 2673102"/>
                  <a:gd name="connsiteX106" fmla="*/ 231183 w 1739754"/>
                  <a:gd name="connsiteY106" fmla="*/ 2525464 h 2673102"/>
                  <a:gd name="connsiteX107" fmla="*/ 226421 w 1739754"/>
                  <a:gd name="connsiteY107" fmla="*/ 2506414 h 2673102"/>
                  <a:gd name="connsiteX108" fmla="*/ 212133 w 1739754"/>
                  <a:gd name="connsiteY108" fmla="*/ 2492127 h 2673102"/>
                  <a:gd name="connsiteX109" fmla="*/ 154983 w 1739754"/>
                  <a:gd name="connsiteY109" fmla="*/ 2439739 h 2673102"/>
                  <a:gd name="connsiteX110" fmla="*/ 150221 w 1739754"/>
                  <a:gd name="connsiteY110" fmla="*/ 2415927 h 2673102"/>
                  <a:gd name="connsiteX111" fmla="*/ 135933 w 1739754"/>
                  <a:gd name="connsiteY111" fmla="*/ 2358777 h 2673102"/>
                  <a:gd name="connsiteX112" fmla="*/ 121646 w 1739754"/>
                  <a:gd name="connsiteY112" fmla="*/ 2315914 h 2673102"/>
                  <a:gd name="connsiteX113" fmla="*/ 107358 w 1739754"/>
                  <a:gd name="connsiteY113" fmla="*/ 2258764 h 2673102"/>
                  <a:gd name="connsiteX114" fmla="*/ 102596 w 1739754"/>
                  <a:gd name="connsiteY114" fmla="*/ 2234952 h 2673102"/>
                  <a:gd name="connsiteX115" fmla="*/ 93071 w 1739754"/>
                  <a:gd name="connsiteY115" fmla="*/ 2211139 h 2673102"/>
                  <a:gd name="connsiteX116" fmla="*/ 88308 w 1739754"/>
                  <a:gd name="connsiteY116" fmla="*/ 2187327 h 2673102"/>
                  <a:gd name="connsiteX117" fmla="*/ 78783 w 1739754"/>
                  <a:gd name="connsiteY117" fmla="*/ 2111127 h 2673102"/>
                  <a:gd name="connsiteX118" fmla="*/ 97833 w 1739754"/>
                  <a:gd name="connsiteY118" fmla="*/ 1944439 h 2673102"/>
                  <a:gd name="connsiteX119" fmla="*/ 107358 w 1739754"/>
                  <a:gd name="connsiteY119" fmla="*/ 1930152 h 2673102"/>
                  <a:gd name="connsiteX120" fmla="*/ 126408 w 1739754"/>
                  <a:gd name="connsiteY120" fmla="*/ 1901577 h 2673102"/>
                  <a:gd name="connsiteX121" fmla="*/ 135933 w 1739754"/>
                  <a:gd name="connsiteY121" fmla="*/ 1868239 h 2673102"/>
                  <a:gd name="connsiteX122" fmla="*/ 131171 w 1739754"/>
                  <a:gd name="connsiteY122" fmla="*/ 1825377 h 2673102"/>
                  <a:gd name="connsiteX123" fmla="*/ 112121 w 1739754"/>
                  <a:gd name="connsiteY123" fmla="*/ 1820614 h 2673102"/>
                  <a:gd name="connsiteX124" fmla="*/ 102596 w 1739754"/>
                  <a:gd name="connsiteY124" fmla="*/ 1806327 h 2673102"/>
                  <a:gd name="connsiteX125" fmla="*/ 145458 w 1739754"/>
                  <a:gd name="connsiteY125" fmla="*/ 1720602 h 2673102"/>
                  <a:gd name="connsiteX126" fmla="*/ 159746 w 1739754"/>
                  <a:gd name="connsiteY126" fmla="*/ 1715839 h 2673102"/>
                  <a:gd name="connsiteX127" fmla="*/ 174033 w 1739754"/>
                  <a:gd name="connsiteY127" fmla="*/ 1696789 h 2673102"/>
                  <a:gd name="connsiteX128" fmla="*/ 188321 w 1739754"/>
                  <a:gd name="connsiteY128" fmla="*/ 1687264 h 2673102"/>
                  <a:gd name="connsiteX129" fmla="*/ 202608 w 1739754"/>
                  <a:gd name="connsiteY129" fmla="*/ 1653927 h 2673102"/>
                  <a:gd name="connsiteX130" fmla="*/ 193083 w 1739754"/>
                  <a:gd name="connsiteY130" fmla="*/ 1606302 h 2673102"/>
                  <a:gd name="connsiteX131" fmla="*/ 164508 w 1739754"/>
                  <a:gd name="connsiteY131" fmla="*/ 1596777 h 2673102"/>
                  <a:gd name="connsiteX132" fmla="*/ 154983 w 1739754"/>
                  <a:gd name="connsiteY132" fmla="*/ 1549152 h 2673102"/>
                  <a:gd name="connsiteX133" fmla="*/ 150221 w 1739754"/>
                  <a:gd name="connsiteY133" fmla="*/ 1411039 h 2673102"/>
                  <a:gd name="connsiteX134" fmla="*/ 140696 w 1739754"/>
                  <a:gd name="connsiteY134" fmla="*/ 1377702 h 2673102"/>
                  <a:gd name="connsiteX135" fmla="*/ 121646 w 1739754"/>
                  <a:gd name="connsiteY135" fmla="*/ 1311027 h 2673102"/>
                  <a:gd name="connsiteX136" fmla="*/ 116883 w 1739754"/>
                  <a:gd name="connsiteY136" fmla="*/ 1258639 h 2673102"/>
                  <a:gd name="connsiteX137" fmla="*/ 107358 w 1739754"/>
                  <a:gd name="connsiteY137" fmla="*/ 1244352 h 2673102"/>
                  <a:gd name="connsiteX138" fmla="*/ 93071 w 1739754"/>
                  <a:gd name="connsiteY138" fmla="*/ 1196727 h 2673102"/>
                  <a:gd name="connsiteX139" fmla="*/ 78783 w 1739754"/>
                  <a:gd name="connsiteY139" fmla="*/ 1177677 h 2673102"/>
                  <a:gd name="connsiteX140" fmla="*/ 59733 w 1739754"/>
                  <a:gd name="connsiteY140" fmla="*/ 1139577 h 2673102"/>
                  <a:gd name="connsiteX141" fmla="*/ 50208 w 1739754"/>
                  <a:gd name="connsiteY141" fmla="*/ 1111002 h 2673102"/>
                  <a:gd name="connsiteX142" fmla="*/ 45446 w 1739754"/>
                  <a:gd name="connsiteY142" fmla="*/ 1096714 h 2673102"/>
                  <a:gd name="connsiteX143" fmla="*/ 21633 w 1739754"/>
                  <a:gd name="connsiteY143" fmla="*/ 1025277 h 2673102"/>
                  <a:gd name="connsiteX144" fmla="*/ 202 w 1739754"/>
                  <a:gd name="connsiteY144" fmla="*/ 980033 h 2673102"/>
                  <a:gd name="connsiteX145" fmla="*/ 14490 w 1739754"/>
                  <a:gd name="connsiteY145" fmla="*/ 930027 h 2673102"/>
                  <a:gd name="connsiteX146" fmla="*/ 69259 w 1739754"/>
                  <a:gd name="connsiteY146" fmla="*/ 810964 h 2673102"/>
                  <a:gd name="connsiteX147" fmla="*/ 221658 w 1739754"/>
                  <a:gd name="connsiteY147" fmla="*/ 601414 h 2673102"/>
                  <a:gd name="connsiteX148" fmla="*/ 288333 w 1739754"/>
                  <a:gd name="connsiteY148" fmla="*/ 515689 h 2673102"/>
                  <a:gd name="connsiteX149" fmla="*/ 412158 w 1739754"/>
                  <a:gd name="connsiteY149" fmla="*/ 406152 h 2673102"/>
                  <a:gd name="connsiteX150" fmla="*/ 535983 w 1739754"/>
                  <a:gd name="connsiteY150" fmla="*/ 291851 h 2673102"/>
                  <a:gd name="connsiteX151" fmla="*/ 640758 w 1739754"/>
                  <a:gd name="connsiteY151" fmla="*/ 229939 h 2673102"/>
                  <a:gd name="connsiteX152" fmla="*/ 733628 w 1739754"/>
                  <a:gd name="connsiteY152" fmla="*/ 168026 h 2673102"/>
                  <a:gd name="connsiteX153" fmla="*/ 978896 w 1739754"/>
                  <a:gd name="connsiteY153" fmla="*/ 63251 h 2673102"/>
                  <a:gd name="connsiteX154" fmla="*/ 1159871 w 1739754"/>
                  <a:gd name="connsiteY154" fmla="*/ 6102 h 2673102"/>
                  <a:gd name="connsiteX155" fmla="*/ 1202733 w 1739754"/>
                  <a:gd name="connsiteY15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55158 w 1739754"/>
                  <a:gd name="connsiteY21" fmla="*/ 925264 h 2673102"/>
                  <a:gd name="connsiteX22" fmla="*/ 1531346 w 1739754"/>
                  <a:gd name="connsiteY22" fmla="*/ 939552 h 2673102"/>
                  <a:gd name="connsiteX23" fmla="*/ 1498008 w 1739754"/>
                  <a:gd name="connsiteY23" fmla="*/ 987177 h 2673102"/>
                  <a:gd name="connsiteX24" fmla="*/ 1345608 w 1739754"/>
                  <a:gd name="connsiteY24" fmla="*/ 1030039 h 2673102"/>
                  <a:gd name="connsiteX25" fmla="*/ 1297983 w 1739754"/>
                  <a:gd name="connsiteY25" fmla="*/ 1053852 h 2673102"/>
                  <a:gd name="connsiteX26" fmla="*/ 1231308 w 1739754"/>
                  <a:gd name="connsiteY26" fmla="*/ 1082427 h 2673102"/>
                  <a:gd name="connsiteX27" fmla="*/ 1126533 w 1739754"/>
                  <a:gd name="connsiteY27" fmla="*/ 1096714 h 2673102"/>
                  <a:gd name="connsiteX28" fmla="*/ 1102721 w 1739754"/>
                  <a:gd name="connsiteY28" fmla="*/ 1101477 h 2673102"/>
                  <a:gd name="connsiteX29" fmla="*/ 1078908 w 1739754"/>
                  <a:gd name="connsiteY29" fmla="*/ 1111002 h 2673102"/>
                  <a:gd name="connsiteX30" fmla="*/ 964608 w 1739754"/>
                  <a:gd name="connsiteY30" fmla="*/ 1106239 h 2673102"/>
                  <a:gd name="connsiteX31" fmla="*/ 859833 w 1739754"/>
                  <a:gd name="connsiteY31" fmla="*/ 1058614 h 2673102"/>
                  <a:gd name="connsiteX32" fmla="*/ 812208 w 1739754"/>
                  <a:gd name="connsiteY32" fmla="*/ 1034802 h 2673102"/>
                  <a:gd name="connsiteX33" fmla="*/ 788396 w 1739754"/>
                  <a:gd name="connsiteY33" fmla="*/ 1020514 h 2673102"/>
                  <a:gd name="connsiteX34" fmla="*/ 769346 w 1739754"/>
                  <a:gd name="connsiteY34" fmla="*/ 1006227 h 2673102"/>
                  <a:gd name="connsiteX35" fmla="*/ 678858 w 1739754"/>
                  <a:gd name="connsiteY35" fmla="*/ 958602 h 2673102"/>
                  <a:gd name="connsiteX36" fmla="*/ 645521 w 1739754"/>
                  <a:gd name="connsiteY36" fmla="*/ 939552 h 2673102"/>
                  <a:gd name="connsiteX37" fmla="*/ 526458 w 1739754"/>
                  <a:gd name="connsiteY37" fmla="*/ 910977 h 2673102"/>
                  <a:gd name="connsiteX38" fmla="*/ 483596 w 1739754"/>
                  <a:gd name="connsiteY38" fmla="*/ 891927 h 2673102"/>
                  <a:gd name="connsiteX39" fmla="*/ 421683 w 1739754"/>
                  <a:gd name="connsiteY39" fmla="*/ 882402 h 2673102"/>
                  <a:gd name="connsiteX40" fmla="*/ 321671 w 1739754"/>
                  <a:gd name="connsiteY40" fmla="*/ 896689 h 2673102"/>
                  <a:gd name="connsiteX41" fmla="*/ 307383 w 1739754"/>
                  <a:gd name="connsiteY41" fmla="*/ 910977 h 2673102"/>
                  <a:gd name="connsiteX42" fmla="*/ 283571 w 1739754"/>
                  <a:gd name="connsiteY42" fmla="*/ 949077 h 2673102"/>
                  <a:gd name="connsiteX43" fmla="*/ 269283 w 1739754"/>
                  <a:gd name="connsiteY43" fmla="*/ 987177 h 2673102"/>
                  <a:gd name="connsiteX44" fmla="*/ 264521 w 1739754"/>
                  <a:gd name="connsiteY44" fmla="*/ 1039564 h 2673102"/>
                  <a:gd name="connsiteX45" fmla="*/ 264521 w 1739754"/>
                  <a:gd name="connsiteY45" fmla="*/ 1120527 h 2673102"/>
                  <a:gd name="connsiteX46" fmla="*/ 297858 w 1739754"/>
                  <a:gd name="connsiteY46" fmla="*/ 1153864 h 2673102"/>
                  <a:gd name="connsiteX47" fmla="*/ 326433 w 1739754"/>
                  <a:gd name="connsiteY47" fmla="*/ 1163389 h 2673102"/>
                  <a:gd name="connsiteX48" fmla="*/ 326433 w 1739754"/>
                  <a:gd name="connsiteY48" fmla="*/ 1244352 h 2673102"/>
                  <a:gd name="connsiteX49" fmla="*/ 312146 w 1739754"/>
                  <a:gd name="connsiteY49" fmla="*/ 1258639 h 2673102"/>
                  <a:gd name="connsiteX50" fmla="*/ 259758 w 1739754"/>
                  <a:gd name="connsiteY50" fmla="*/ 1296739 h 2673102"/>
                  <a:gd name="connsiteX51" fmla="*/ 240708 w 1739754"/>
                  <a:gd name="connsiteY51" fmla="*/ 1325314 h 2673102"/>
                  <a:gd name="connsiteX52" fmla="*/ 250233 w 1739754"/>
                  <a:gd name="connsiteY52" fmla="*/ 1425327 h 2673102"/>
                  <a:gd name="connsiteX53" fmla="*/ 278808 w 1739754"/>
                  <a:gd name="connsiteY53" fmla="*/ 1472952 h 2673102"/>
                  <a:gd name="connsiteX54" fmla="*/ 293096 w 1739754"/>
                  <a:gd name="connsiteY54" fmla="*/ 1492002 h 2673102"/>
                  <a:gd name="connsiteX55" fmla="*/ 383583 w 1739754"/>
                  <a:gd name="connsiteY55" fmla="*/ 1525339 h 2673102"/>
                  <a:gd name="connsiteX56" fmla="*/ 407396 w 1739754"/>
                  <a:gd name="connsiteY56" fmla="*/ 1492002 h 2673102"/>
                  <a:gd name="connsiteX57" fmla="*/ 412158 w 1739754"/>
                  <a:gd name="connsiteY57" fmla="*/ 1468189 h 2673102"/>
                  <a:gd name="connsiteX58" fmla="*/ 416921 w 1739754"/>
                  <a:gd name="connsiteY58" fmla="*/ 1449139 h 2673102"/>
                  <a:gd name="connsiteX59" fmla="*/ 445496 w 1739754"/>
                  <a:gd name="connsiteY59" fmla="*/ 1439614 h 2673102"/>
                  <a:gd name="connsiteX60" fmla="*/ 545508 w 1739754"/>
                  <a:gd name="connsiteY60" fmla="*/ 1458664 h 2673102"/>
                  <a:gd name="connsiteX61" fmla="*/ 555033 w 1739754"/>
                  <a:gd name="connsiteY61" fmla="*/ 1482477 h 2673102"/>
                  <a:gd name="connsiteX62" fmla="*/ 564558 w 1739754"/>
                  <a:gd name="connsiteY62" fmla="*/ 1515814 h 2673102"/>
                  <a:gd name="connsiteX63" fmla="*/ 550271 w 1739754"/>
                  <a:gd name="connsiteY63" fmla="*/ 1534864 h 2673102"/>
                  <a:gd name="connsiteX64" fmla="*/ 550271 w 1739754"/>
                  <a:gd name="connsiteY64" fmla="*/ 1601539 h 2673102"/>
                  <a:gd name="connsiteX65" fmla="*/ 559796 w 1739754"/>
                  <a:gd name="connsiteY65" fmla="*/ 1620589 h 2673102"/>
                  <a:gd name="connsiteX66" fmla="*/ 626471 w 1739754"/>
                  <a:gd name="connsiteY66" fmla="*/ 1639639 h 2673102"/>
                  <a:gd name="connsiteX67" fmla="*/ 645521 w 1739754"/>
                  <a:gd name="connsiteY67" fmla="*/ 1592014 h 2673102"/>
                  <a:gd name="connsiteX68" fmla="*/ 702671 w 1739754"/>
                  <a:gd name="connsiteY68" fmla="*/ 1620589 h 2673102"/>
                  <a:gd name="connsiteX69" fmla="*/ 731246 w 1739754"/>
                  <a:gd name="connsiteY69" fmla="*/ 1630114 h 2673102"/>
                  <a:gd name="connsiteX70" fmla="*/ 783633 w 1739754"/>
                  <a:gd name="connsiteY70" fmla="*/ 1663452 h 2673102"/>
                  <a:gd name="connsiteX71" fmla="*/ 859833 w 1739754"/>
                  <a:gd name="connsiteY71" fmla="*/ 1687264 h 2673102"/>
                  <a:gd name="connsiteX72" fmla="*/ 878883 w 1739754"/>
                  <a:gd name="connsiteY72" fmla="*/ 1701552 h 2673102"/>
                  <a:gd name="connsiteX73" fmla="*/ 888408 w 1739754"/>
                  <a:gd name="connsiteY73" fmla="*/ 1739652 h 2673102"/>
                  <a:gd name="connsiteX74" fmla="*/ 897933 w 1739754"/>
                  <a:gd name="connsiteY74" fmla="*/ 1782514 h 2673102"/>
                  <a:gd name="connsiteX75" fmla="*/ 940796 w 1739754"/>
                  <a:gd name="connsiteY75" fmla="*/ 1892052 h 2673102"/>
                  <a:gd name="connsiteX76" fmla="*/ 950321 w 1739754"/>
                  <a:gd name="connsiteY76" fmla="*/ 1906339 h 2673102"/>
                  <a:gd name="connsiteX77" fmla="*/ 959846 w 1739754"/>
                  <a:gd name="connsiteY77" fmla="*/ 1939677 h 2673102"/>
                  <a:gd name="connsiteX78" fmla="*/ 974133 w 1739754"/>
                  <a:gd name="connsiteY78" fmla="*/ 1977777 h 2673102"/>
                  <a:gd name="connsiteX79" fmla="*/ 964608 w 1739754"/>
                  <a:gd name="connsiteY79" fmla="*/ 2082552 h 2673102"/>
                  <a:gd name="connsiteX80" fmla="*/ 955083 w 1739754"/>
                  <a:gd name="connsiteY80" fmla="*/ 2101602 h 2673102"/>
                  <a:gd name="connsiteX81" fmla="*/ 926508 w 1739754"/>
                  <a:gd name="connsiteY81" fmla="*/ 2144464 h 2673102"/>
                  <a:gd name="connsiteX82" fmla="*/ 907458 w 1739754"/>
                  <a:gd name="connsiteY82" fmla="*/ 2192089 h 2673102"/>
                  <a:gd name="connsiteX83" fmla="*/ 902696 w 1739754"/>
                  <a:gd name="connsiteY83" fmla="*/ 2211139 h 2673102"/>
                  <a:gd name="connsiteX84" fmla="*/ 893171 w 1739754"/>
                  <a:gd name="connsiteY84" fmla="*/ 2239714 h 2673102"/>
                  <a:gd name="connsiteX85" fmla="*/ 897933 w 1739754"/>
                  <a:gd name="connsiteY85" fmla="*/ 2287339 h 2673102"/>
                  <a:gd name="connsiteX86" fmla="*/ 893171 w 1739754"/>
                  <a:gd name="connsiteY86" fmla="*/ 2396877 h 2673102"/>
                  <a:gd name="connsiteX87" fmla="*/ 688383 w 1739754"/>
                  <a:gd name="connsiteY87" fmla="*/ 2449264 h 2673102"/>
                  <a:gd name="connsiteX88" fmla="*/ 655046 w 1739754"/>
                  <a:gd name="connsiteY88" fmla="*/ 2473077 h 2673102"/>
                  <a:gd name="connsiteX89" fmla="*/ 607421 w 1739754"/>
                  <a:gd name="connsiteY89" fmla="*/ 2511177 h 2673102"/>
                  <a:gd name="connsiteX90" fmla="*/ 574083 w 1739754"/>
                  <a:gd name="connsiteY90" fmla="*/ 2534989 h 2673102"/>
                  <a:gd name="connsiteX91" fmla="*/ 540746 w 1739754"/>
                  <a:gd name="connsiteY91" fmla="*/ 2554039 h 2673102"/>
                  <a:gd name="connsiteX92" fmla="*/ 497883 w 1739754"/>
                  <a:gd name="connsiteY92" fmla="*/ 2587377 h 2673102"/>
                  <a:gd name="connsiteX93" fmla="*/ 483596 w 1739754"/>
                  <a:gd name="connsiteY93" fmla="*/ 2601664 h 2673102"/>
                  <a:gd name="connsiteX94" fmla="*/ 459783 w 1739754"/>
                  <a:gd name="connsiteY94" fmla="*/ 2620714 h 2673102"/>
                  <a:gd name="connsiteX95" fmla="*/ 450258 w 1739754"/>
                  <a:gd name="connsiteY95" fmla="*/ 2635002 h 2673102"/>
                  <a:gd name="connsiteX96" fmla="*/ 416921 w 1739754"/>
                  <a:gd name="connsiteY96" fmla="*/ 2654052 h 2673102"/>
                  <a:gd name="connsiteX97" fmla="*/ 374058 w 1739754"/>
                  <a:gd name="connsiteY97" fmla="*/ 2673102 h 2673102"/>
                  <a:gd name="connsiteX98" fmla="*/ 359771 w 1739754"/>
                  <a:gd name="connsiteY98" fmla="*/ 2663577 h 2673102"/>
                  <a:gd name="connsiteX99" fmla="*/ 345483 w 1739754"/>
                  <a:gd name="connsiteY99" fmla="*/ 2635002 h 2673102"/>
                  <a:gd name="connsiteX100" fmla="*/ 335958 w 1739754"/>
                  <a:gd name="connsiteY100" fmla="*/ 2620714 h 2673102"/>
                  <a:gd name="connsiteX101" fmla="*/ 297858 w 1739754"/>
                  <a:gd name="connsiteY101" fmla="*/ 2611189 h 2673102"/>
                  <a:gd name="connsiteX102" fmla="*/ 278808 w 1739754"/>
                  <a:gd name="connsiteY102" fmla="*/ 2592139 h 2673102"/>
                  <a:gd name="connsiteX103" fmla="*/ 274046 w 1739754"/>
                  <a:gd name="connsiteY103" fmla="*/ 2573089 h 2673102"/>
                  <a:gd name="connsiteX104" fmla="*/ 235946 w 1739754"/>
                  <a:gd name="connsiteY104" fmla="*/ 2539752 h 2673102"/>
                  <a:gd name="connsiteX105" fmla="*/ 231183 w 1739754"/>
                  <a:gd name="connsiteY105" fmla="*/ 2525464 h 2673102"/>
                  <a:gd name="connsiteX106" fmla="*/ 226421 w 1739754"/>
                  <a:gd name="connsiteY106" fmla="*/ 2506414 h 2673102"/>
                  <a:gd name="connsiteX107" fmla="*/ 212133 w 1739754"/>
                  <a:gd name="connsiteY107" fmla="*/ 2492127 h 2673102"/>
                  <a:gd name="connsiteX108" fmla="*/ 154983 w 1739754"/>
                  <a:gd name="connsiteY108" fmla="*/ 2439739 h 2673102"/>
                  <a:gd name="connsiteX109" fmla="*/ 150221 w 1739754"/>
                  <a:gd name="connsiteY109" fmla="*/ 2415927 h 2673102"/>
                  <a:gd name="connsiteX110" fmla="*/ 135933 w 1739754"/>
                  <a:gd name="connsiteY110" fmla="*/ 2358777 h 2673102"/>
                  <a:gd name="connsiteX111" fmla="*/ 121646 w 1739754"/>
                  <a:gd name="connsiteY111" fmla="*/ 2315914 h 2673102"/>
                  <a:gd name="connsiteX112" fmla="*/ 107358 w 1739754"/>
                  <a:gd name="connsiteY112" fmla="*/ 2258764 h 2673102"/>
                  <a:gd name="connsiteX113" fmla="*/ 102596 w 1739754"/>
                  <a:gd name="connsiteY113" fmla="*/ 2234952 h 2673102"/>
                  <a:gd name="connsiteX114" fmla="*/ 93071 w 1739754"/>
                  <a:gd name="connsiteY114" fmla="*/ 2211139 h 2673102"/>
                  <a:gd name="connsiteX115" fmla="*/ 88308 w 1739754"/>
                  <a:gd name="connsiteY115" fmla="*/ 2187327 h 2673102"/>
                  <a:gd name="connsiteX116" fmla="*/ 78783 w 1739754"/>
                  <a:gd name="connsiteY116" fmla="*/ 2111127 h 2673102"/>
                  <a:gd name="connsiteX117" fmla="*/ 97833 w 1739754"/>
                  <a:gd name="connsiteY117" fmla="*/ 1944439 h 2673102"/>
                  <a:gd name="connsiteX118" fmla="*/ 107358 w 1739754"/>
                  <a:gd name="connsiteY118" fmla="*/ 1930152 h 2673102"/>
                  <a:gd name="connsiteX119" fmla="*/ 126408 w 1739754"/>
                  <a:gd name="connsiteY119" fmla="*/ 1901577 h 2673102"/>
                  <a:gd name="connsiteX120" fmla="*/ 135933 w 1739754"/>
                  <a:gd name="connsiteY120" fmla="*/ 1868239 h 2673102"/>
                  <a:gd name="connsiteX121" fmla="*/ 131171 w 1739754"/>
                  <a:gd name="connsiteY121" fmla="*/ 1825377 h 2673102"/>
                  <a:gd name="connsiteX122" fmla="*/ 112121 w 1739754"/>
                  <a:gd name="connsiteY122" fmla="*/ 1820614 h 2673102"/>
                  <a:gd name="connsiteX123" fmla="*/ 102596 w 1739754"/>
                  <a:gd name="connsiteY123" fmla="*/ 1806327 h 2673102"/>
                  <a:gd name="connsiteX124" fmla="*/ 145458 w 1739754"/>
                  <a:gd name="connsiteY124" fmla="*/ 1720602 h 2673102"/>
                  <a:gd name="connsiteX125" fmla="*/ 159746 w 1739754"/>
                  <a:gd name="connsiteY125" fmla="*/ 1715839 h 2673102"/>
                  <a:gd name="connsiteX126" fmla="*/ 174033 w 1739754"/>
                  <a:gd name="connsiteY126" fmla="*/ 1696789 h 2673102"/>
                  <a:gd name="connsiteX127" fmla="*/ 188321 w 1739754"/>
                  <a:gd name="connsiteY127" fmla="*/ 1687264 h 2673102"/>
                  <a:gd name="connsiteX128" fmla="*/ 202608 w 1739754"/>
                  <a:gd name="connsiteY128" fmla="*/ 1653927 h 2673102"/>
                  <a:gd name="connsiteX129" fmla="*/ 193083 w 1739754"/>
                  <a:gd name="connsiteY129" fmla="*/ 1606302 h 2673102"/>
                  <a:gd name="connsiteX130" fmla="*/ 164508 w 1739754"/>
                  <a:gd name="connsiteY130" fmla="*/ 1596777 h 2673102"/>
                  <a:gd name="connsiteX131" fmla="*/ 154983 w 1739754"/>
                  <a:gd name="connsiteY131" fmla="*/ 1549152 h 2673102"/>
                  <a:gd name="connsiteX132" fmla="*/ 150221 w 1739754"/>
                  <a:gd name="connsiteY132" fmla="*/ 1411039 h 2673102"/>
                  <a:gd name="connsiteX133" fmla="*/ 140696 w 1739754"/>
                  <a:gd name="connsiteY133" fmla="*/ 1377702 h 2673102"/>
                  <a:gd name="connsiteX134" fmla="*/ 121646 w 1739754"/>
                  <a:gd name="connsiteY134" fmla="*/ 1311027 h 2673102"/>
                  <a:gd name="connsiteX135" fmla="*/ 116883 w 1739754"/>
                  <a:gd name="connsiteY135" fmla="*/ 1258639 h 2673102"/>
                  <a:gd name="connsiteX136" fmla="*/ 107358 w 1739754"/>
                  <a:gd name="connsiteY136" fmla="*/ 1244352 h 2673102"/>
                  <a:gd name="connsiteX137" fmla="*/ 93071 w 1739754"/>
                  <a:gd name="connsiteY137" fmla="*/ 1196727 h 2673102"/>
                  <a:gd name="connsiteX138" fmla="*/ 78783 w 1739754"/>
                  <a:gd name="connsiteY138" fmla="*/ 1177677 h 2673102"/>
                  <a:gd name="connsiteX139" fmla="*/ 59733 w 1739754"/>
                  <a:gd name="connsiteY139" fmla="*/ 1139577 h 2673102"/>
                  <a:gd name="connsiteX140" fmla="*/ 50208 w 1739754"/>
                  <a:gd name="connsiteY140" fmla="*/ 1111002 h 2673102"/>
                  <a:gd name="connsiteX141" fmla="*/ 45446 w 1739754"/>
                  <a:gd name="connsiteY141" fmla="*/ 1096714 h 2673102"/>
                  <a:gd name="connsiteX142" fmla="*/ 21633 w 1739754"/>
                  <a:gd name="connsiteY142" fmla="*/ 1025277 h 2673102"/>
                  <a:gd name="connsiteX143" fmla="*/ 202 w 1739754"/>
                  <a:gd name="connsiteY143" fmla="*/ 980033 h 2673102"/>
                  <a:gd name="connsiteX144" fmla="*/ 14490 w 1739754"/>
                  <a:gd name="connsiteY144" fmla="*/ 930027 h 2673102"/>
                  <a:gd name="connsiteX145" fmla="*/ 69259 w 1739754"/>
                  <a:gd name="connsiteY145" fmla="*/ 810964 h 2673102"/>
                  <a:gd name="connsiteX146" fmla="*/ 221658 w 1739754"/>
                  <a:gd name="connsiteY146" fmla="*/ 601414 h 2673102"/>
                  <a:gd name="connsiteX147" fmla="*/ 288333 w 1739754"/>
                  <a:gd name="connsiteY147" fmla="*/ 515689 h 2673102"/>
                  <a:gd name="connsiteX148" fmla="*/ 412158 w 1739754"/>
                  <a:gd name="connsiteY148" fmla="*/ 406152 h 2673102"/>
                  <a:gd name="connsiteX149" fmla="*/ 535983 w 1739754"/>
                  <a:gd name="connsiteY149" fmla="*/ 291851 h 2673102"/>
                  <a:gd name="connsiteX150" fmla="*/ 640758 w 1739754"/>
                  <a:gd name="connsiteY150" fmla="*/ 229939 h 2673102"/>
                  <a:gd name="connsiteX151" fmla="*/ 733628 w 1739754"/>
                  <a:gd name="connsiteY151" fmla="*/ 168026 h 2673102"/>
                  <a:gd name="connsiteX152" fmla="*/ 978896 w 1739754"/>
                  <a:gd name="connsiteY152" fmla="*/ 63251 h 2673102"/>
                  <a:gd name="connsiteX153" fmla="*/ 1159871 w 1739754"/>
                  <a:gd name="connsiteY153" fmla="*/ 6102 h 2673102"/>
                  <a:gd name="connsiteX154" fmla="*/ 1202733 w 1739754"/>
                  <a:gd name="connsiteY15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26533 w 1739754"/>
                  <a:gd name="connsiteY26" fmla="*/ 1096714 h 2673102"/>
                  <a:gd name="connsiteX27" fmla="*/ 1102721 w 1739754"/>
                  <a:gd name="connsiteY27" fmla="*/ 1101477 h 2673102"/>
                  <a:gd name="connsiteX28" fmla="*/ 1078908 w 1739754"/>
                  <a:gd name="connsiteY28" fmla="*/ 1111002 h 2673102"/>
                  <a:gd name="connsiteX29" fmla="*/ 964608 w 1739754"/>
                  <a:gd name="connsiteY29" fmla="*/ 1106239 h 2673102"/>
                  <a:gd name="connsiteX30" fmla="*/ 859833 w 1739754"/>
                  <a:gd name="connsiteY30" fmla="*/ 1058614 h 2673102"/>
                  <a:gd name="connsiteX31" fmla="*/ 812208 w 1739754"/>
                  <a:gd name="connsiteY31" fmla="*/ 1034802 h 2673102"/>
                  <a:gd name="connsiteX32" fmla="*/ 788396 w 1739754"/>
                  <a:gd name="connsiteY32" fmla="*/ 1020514 h 2673102"/>
                  <a:gd name="connsiteX33" fmla="*/ 769346 w 1739754"/>
                  <a:gd name="connsiteY33" fmla="*/ 1006227 h 2673102"/>
                  <a:gd name="connsiteX34" fmla="*/ 678858 w 1739754"/>
                  <a:gd name="connsiteY34" fmla="*/ 958602 h 2673102"/>
                  <a:gd name="connsiteX35" fmla="*/ 645521 w 1739754"/>
                  <a:gd name="connsiteY35" fmla="*/ 939552 h 2673102"/>
                  <a:gd name="connsiteX36" fmla="*/ 526458 w 1739754"/>
                  <a:gd name="connsiteY36" fmla="*/ 910977 h 2673102"/>
                  <a:gd name="connsiteX37" fmla="*/ 483596 w 1739754"/>
                  <a:gd name="connsiteY37" fmla="*/ 891927 h 2673102"/>
                  <a:gd name="connsiteX38" fmla="*/ 421683 w 1739754"/>
                  <a:gd name="connsiteY38" fmla="*/ 882402 h 2673102"/>
                  <a:gd name="connsiteX39" fmla="*/ 321671 w 1739754"/>
                  <a:gd name="connsiteY39" fmla="*/ 896689 h 2673102"/>
                  <a:gd name="connsiteX40" fmla="*/ 307383 w 1739754"/>
                  <a:gd name="connsiteY40" fmla="*/ 910977 h 2673102"/>
                  <a:gd name="connsiteX41" fmla="*/ 283571 w 1739754"/>
                  <a:gd name="connsiteY41" fmla="*/ 949077 h 2673102"/>
                  <a:gd name="connsiteX42" fmla="*/ 269283 w 1739754"/>
                  <a:gd name="connsiteY42" fmla="*/ 987177 h 2673102"/>
                  <a:gd name="connsiteX43" fmla="*/ 264521 w 1739754"/>
                  <a:gd name="connsiteY43" fmla="*/ 1039564 h 2673102"/>
                  <a:gd name="connsiteX44" fmla="*/ 264521 w 1739754"/>
                  <a:gd name="connsiteY44" fmla="*/ 1120527 h 2673102"/>
                  <a:gd name="connsiteX45" fmla="*/ 297858 w 1739754"/>
                  <a:gd name="connsiteY45" fmla="*/ 1153864 h 2673102"/>
                  <a:gd name="connsiteX46" fmla="*/ 326433 w 1739754"/>
                  <a:gd name="connsiteY46" fmla="*/ 1163389 h 2673102"/>
                  <a:gd name="connsiteX47" fmla="*/ 326433 w 1739754"/>
                  <a:gd name="connsiteY47" fmla="*/ 1244352 h 2673102"/>
                  <a:gd name="connsiteX48" fmla="*/ 312146 w 1739754"/>
                  <a:gd name="connsiteY48" fmla="*/ 1258639 h 2673102"/>
                  <a:gd name="connsiteX49" fmla="*/ 259758 w 1739754"/>
                  <a:gd name="connsiteY49" fmla="*/ 1296739 h 2673102"/>
                  <a:gd name="connsiteX50" fmla="*/ 240708 w 1739754"/>
                  <a:gd name="connsiteY50" fmla="*/ 1325314 h 2673102"/>
                  <a:gd name="connsiteX51" fmla="*/ 250233 w 1739754"/>
                  <a:gd name="connsiteY51" fmla="*/ 1425327 h 2673102"/>
                  <a:gd name="connsiteX52" fmla="*/ 278808 w 1739754"/>
                  <a:gd name="connsiteY52" fmla="*/ 1472952 h 2673102"/>
                  <a:gd name="connsiteX53" fmla="*/ 293096 w 1739754"/>
                  <a:gd name="connsiteY53" fmla="*/ 1492002 h 2673102"/>
                  <a:gd name="connsiteX54" fmla="*/ 383583 w 1739754"/>
                  <a:gd name="connsiteY54" fmla="*/ 1525339 h 2673102"/>
                  <a:gd name="connsiteX55" fmla="*/ 407396 w 1739754"/>
                  <a:gd name="connsiteY55" fmla="*/ 1492002 h 2673102"/>
                  <a:gd name="connsiteX56" fmla="*/ 412158 w 1739754"/>
                  <a:gd name="connsiteY56" fmla="*/ 1468189 h 2673102"/>
                  <a:gd name="connsiteX57" fmla="*/ 416921 w 1739754"/>
                  <a:gd name="connsiteY57" fmla="*/ 1449139 h 2673102"/>
                  <a:gd name="connsiteX58" fmla="*/ 445496 w 1739754"/>
                  <a:gd name="connsiteY58" fmla="*/ 1439614 h 2673102"/>
                  <a:gd name="connsiteX59" fmla="*/ 545508 w 1739754"/>
                  <a:gd name="connsiteY59" fmla="*/ 1458664 h 2673102"/>
                  <a:gd name="connsiteX60" fmla="*/ 555033 w 1739754"/>
                  <a:gd name="connsiteY60" fmla="*/ 1482477 h 2673102"/>
                  <a:gd name="connsiteX61" fmla="*/ 564558 w 1739754"/>
                  <a:gd name="connsiteY61" fmla="*/ 1515814 h 2673102"/>
                  <a:gd name="connsiteX62" fmla="*/ 550271 w 1739754"/>
                  <a:gd name="connsiteY62" fmla="*/ 1534864 h 2673102"/>
                  <a:gd name="connsiteX63" fmla="*/ 550271 w 1739754"/>
                  <a:gd name="connsiteY63" fmla="*/ 1601539 h 2673102"/>
                  <a:gd name="connsiteX64" fmla="*/ 559796 w 1739754"/>
                  <a:gd name="connsiteY64" fmla="*/ 1620589 h 2673102"/>
                  <a:gd name="connsiteX65" fmla="*/ 626471 w 1739754"/>
                  <a:gd name="connsiteY65" fmla="*/ 1639639 h 2673102"/>
                  <a:gd name="connsiteX66" fmla="*/ 645521 w 1739754"/>
                  <a:gd name="connsiteY66" fmla="*/ 1592014 h 2673102"/>
                  <a:gd name="connsiteX67" fmla="*/ 702671 w 1739754"/>
                  <a:gd name="connsiteY67" fmla="*/ 1620589 h 2673102"/>
                  <a:gd name="connsiteX68" fmla="*/ 731246 w 1739754"/>
                  <a:gd name="connsiteY68" fmla="*/ 1630114 h 2673102"/>
                  <a:gd name="connsiteX69" fmla="*/ 783633 w 1739754"/>
                  <a:gd name="connsiteY69" fmla="*/ 1663452 h 2673102"/>
                  <a:gd name="connsiteX70" fmla="*/ 859833 w 1739754"/>
                  <a:gd name="connsiteY70" fmla="*/ 1687264 h 2673102"/>
                  <a:gd name="connsiteX71" fmla="*/ 878883 w 1739754"/>
                  <a:gd name="connsiteY71" fmla="*/ 1701552 h 2673102"/>
                  <a:gd name="connsiteX72" fmla="*/ 888408 w 1739754"/>
                  <a:gd name="connsiteY72" fmla="*/ 1739652 h 2673102"/>
                  <a:gd name="connsiteX73" fmla="*/ 897933 w 1739754"/>
                  <a:gd name="connsiteY73" fmla="*/ 1782514 h 2673102"/>
                  <a:gd name="connsiteX74" fmla="*/ 940796 w 1739754"/>
                  <a:gd name="connsiteY74" fmla="*/ 1892052 h 2673102"/>
                  <a:gd name="connsiteX75" fmla="*/ 950321 w 1739754"/>
                  <a:gd name="connsiteY75" fmla="*/ 1906339 h 2673102"/>
                  <a:gd name="connsiteX76" fmla="*/ 959846 w 1739754"/>
                  <a:gd name="connsiteY76" fmla="*/ 1939677 h 2673102"/>
                  <a:gd name="connsiteX77" fmla="*/ 974133 w 1739754"/>
                  <a:gd name="connsiteY77" fmla="*/ 1977777 h 2673102"/>
                  <a:gd name="connsiteX78" fmla="*/ 964608 w 1739754"/>
                  <a:gd name="connsiteY78" fmla="*/ 2082552 h 2673102"/>
                  <a:gd name="connsiteX79" fmla="*/ 955083 w 1739754"/>
                  <a:gd name="connsiteY79" fmla="*/ 2101602 h 2673102"/>
                  <a:gd name="connsiteX80" fmla="*/ 926508 w 1739754"/>
                  <a:gd name="connsiteY80" fmla="*/ 2144464 h 2673102"/>
                  <a:gd name="connsiteX81" fmla="*/ 907458 w 1739754"/>
                  <a:gd name="connsiteY81" fmla="*/ 2192089 h 2673102"/>
                  <a:gd name="connsiteX82" fmla="*/ 902696 w 1739754"/>
                  <a:gd name="connsiteY82" fmla="*/ 2211139 h 2673102"/>
                  <a:gd name="connsiteX83" fmla="*/ 893171 w 1739754"/>
                  <a:gd name="connsiteY83" fmla="*/ 2239714 h 2673102"/>
                  <a:gd name="connsiteX84" fmla="*/ 897933 w 1739754"/>
                  <a:gd name="connsiteY84" fmla="*/ 2287339 h 2673102"/>
                  <a:gd name="connsiteX85" fmla="*/ 893171 w 1739754"/>
                  <a:gd name="connsiteY85" fmla="*/ 2396877 h 2673102"/>
                  <a:gd name="connsiteX86" fmla="*/ 688383 w 1739754"/>
                  <a:gd name="connsiteY86" fmla="*/ 2449264 h 2673102"/>
                  <a:gd name="connsiteX87" fmla="*/ 655046 w 1739754"/>
                  <a:gd name="connsiteY87" fmla="*/ 2473077 h 2673102"/>
                  <a:gd name="connsiteX88" fmla="*/ 607421 w 1739754"/>
                  <a:gd name="connsiteY88" fmla="*/ 2511177 h 2673102"/>
                  <a:gd name="connsiteX89" fmla="*/ 574083 w 1739754"/>
                  <a:gd name="connsiteY89" fmla="*/ 2534989 h 2673102"/>
                  <a:gd name="connsiteX90" fmla="*/ 540746 w 1739754"/>
                  <a:gd name="connsiteY90" fmla="*/ 2554039 h 2673102"/>
                  <a:gd name="connsiteX91" fmla="*/ 497883 w 1739754"/>
                  <a:gd name="connsiteY91" fmla="*/ 2587377 h 2673102"/>
                  <a:gd name="connsiteX92" fmla="*/ 483596 w 1739754"/>
                  <a:gd name="connsiteY92" fmla="*/ 2601664 h 2673102"/>
                  <a:gd name="connsiteX93" fmla="*/ 459783 w 1739754"/>
                  <a:gd name="connsiteY93" fmla="*/ 2620714 h 2673102"/>
                  <a:gd name="connsiteX94" fmla="*/ 450258 w 1739754"/>
                  <a:gd name="connsiteY94" fmla="*/ 2635002 h 2673102"/>
                  <a:gd name="connsiteX95" fmla="*/ 416921 w 1739754"/>
                  <a:gd name="connsiteY95" fmla="*/ 2654052 h 2673102"/>
                  <a:gd name="connsiteX96" fmla="*/ 374058 w 1739754"/>
                  <a:gd name="connsiteY96" fmla="*/ 2673102 h 2673102"/>
                  <a:gd name="connsiteX97" fmla="*/ 359771 w 1739754"/>
                  <a:gd name="connsiteY97" fmla="*/ 2663577 h 2673102"/>
                  <a:gd name="connsiteX98" fmla="*/ 345483 w 1739754"/>
                  <a:gd name="connsiteY98" fmla="*/ 2635002 h 2673102"/>
                  <a:gd name="connsiteX99" fmla="*/ 335958 w 1739754"/>
                  <a:gd name="connsiteY99" fmla="*/ 2620714 h 2673102"/>
                  <a:gd name="connsiteX100" fmla="*/ 297858 w 1739754"/>
                  <a:gd name="connsiteY100" fmla="*/ 2611189 h 2673102"/>
                  <a:gd name="connsiteX101" fmla="*/ 278808 w 1739754"/>
                  <a:gd name="connsiteY101" fmla="*/ 2592139 h 2673102"/>
                  <a:gd name="connsiteX102" fmla="*/ 274046 w 1739754"/>
                  <a:gd name="connsiteY102" fmla="*/ 2573089 h 2673102"/>
                  <a:gd name="connsiteX103" fmla="*/ 235946 w 1739754"/>
                  <a:gd name="connsiteY103" fmla="*/ 2539752 h 2673102"/>
                  <a:gd name="connsiteX104" fmla="*/ 231183 w 1739754"/>
                  <a:gd name="connsiteY104" fmla="*/ 2525464 h 2673102"/>
                  <a:gd name="connsiteX105" fmla="*/ 226421 w 1739754"/>
                  <a:gd name="connsiteY105" fmla="*/ 2506414 h 2673102"/>
                  <a:gd name="connsiteX106" fmla="*/ 212133 w 1739754"/>
                  <a:gd name="connsiteY106" fmla="*/ 2492127 h 2673102"/>
                  <a:gd name="connsiteX107" fmla="*/ 154983 w 1739754"/>
                  <a:gd name="connsiteY107" fmla="*/ 2439739 h 2673102"/>
                  <a:gd name="connsiteX108" fmla="*/ 150221 w 1739754"/>
                  <a:gd name="connsiteY108" fmla="*/ 2415927 h 2673102"/>
                  <a:gd name="connsiteX109" fmla="*/ 135933 w 1739754"/>
                  <a:gd name="connsiteY109" fmla="*/ 2358777 h 2673102"/>
                  <a:gd name="connsiteX110" fmla="*/ 121646 w 1739754"/>
                  <a:gd name="connsiteY110" fmla="*/ 2315914 h 2673102"/>
                  <a:gd name="connsiteX111" fmla="*/ 107358 w 1739754"/>
                  <a:gd name="connsiteY111" fmla="*/ 2258764 h 2673102"/>
                  <a:gd name="connsiteX112" fmla="*/ 102596 w 1739754"/>
                  <a:gd name="connsiteY112" fmla="*/ 2234952 h 2673102"/>
                  <a:gd name="connsiteX113" fmla="*/ 93071 w 1739754"/>
                  <a:gd name="connsiteY113" fmla="*/ 2211139 h 2673102"/>
                  <a:gd name="connsiteX114" fmla="*/ 88308 w 1739754"/>
                  <a:gd name="connsiteY114" fmla="*/ 2187327 h 2673102"/>
                  <a:gd name="connsiteX115" fmla="*/ 78783 w 1739754"/>
                  <a:gd name="connsiteY115" fmla="*/ 2111127 h 2673102"/>
                  <a:gd name="connsiteX116" fmla="*/ 97833 w 1739754"/>
                  <a:gd name="connsiteY116" fmla="*/ 1944439 h 2673102"/>
                  <a:gd name="connsiteX117" fmla="*/ 107358 w 1739754"/>
                  <a:gd name="connsiteY117" fmla="*/ 1930152 h 2673102"/>
                  <a:gd name="connsiteX118" fmla="*/ 126408 w 1739754"/>
                  <a:gd name="connsiteY118" fmla="*/ 1901577 h 2673102"/>
                  <a:gd name="connsiteX119" fmla="*/ 135933 w 1739754"/>
                  <a:gd name="connsiteY119" fmla="*/ 1868239 h 2673102"/>
                  <a:gd name="connsiteX120" fmla="*/ 131171 w 1739754"/>
                  <a:gd name="connsiteY120" fmla="*/ 1825377 h 2673102"/>
                  <a:gd name="connsiteX121" fmla="*/ 112121 w 1739754"/>
                  <a:gd name="connsiteY121" fmla="*/ 1820614 h 2673102"/>
                  <a:gd name="connsiteX122" fmla="*/ 102596 w 1739754"/>
                  <a:gd name="connsiteY122" fmla="*/ 1806327 h 2673102"/>
                  <a:gd name="connsiteX123" fmla="*/ 145458 w 1739754"/>
                  <a:gd name="connsiteY123" fmla="*/ 1720602 h 2673102"/>
                  <a:gd name="connsiteX124" fmla="*/ 159746 w 1739754"/>
                  <a:gd name="connsiteY124" fmla="*/ 1715839 h 2673102"/>
                  <a:gd name="connsiteX125" fmla="*/ 174033 w 1739754"/>
                  <a:gd name="connsiteY125" fmla="*/ 1696789 h 2673102"/>
                  <a:gd name="connsiteX126" fmla="*/ 188321 w 1739754"/>
                  <a:gd name="connsiteY126" fmla="*/ 1687264 h 2673102"/>
                  <a:gd name="connsiteX127" fmla="*/ 202608 w 1739754"/>
                  <a:gd name="connsiteY127" fmla="*/ 1653927 h 2673102"/>
                  <a:gd name="connsiteX128" fmla="*/ 193083 w 1739754"/>
                  <a:gd name="connsiteY128" fmla="*/ 1606302 h 2673102"/>
                  <a:gd name="connsiteX129" fmla="*/ 164508 w 1739754"/>
                  <a:gd name="connsiteY129" fmla="*/ 1596777 h 2673102"/>
                  <a:gd name="connsiteX130" fmla="*/ 154983 w 1739754"/>
                  <a:gd name="connsiteY130" fmla="*/ 1549152 h 2673102"/>
                  <a:gd name="connsiteX131" fmla="*/ 150221 w 1739754"/>
                  <a:gd name="connsiteY131" fmla="*/ 1411039 h 2673102"/>
                  <a:gd name="connsiteX132" fmla="*/ 140696 w 1739754"/>
                  <a:gd name="connsiteY132" fmla="*/ 1377702 h 2673102"/>
                  <a:gd name="connsiteX133" fmla="*/ 121646 w 1739754"/>
                  <a:gd name="connsiteY133" fmla="*/ 1311027 h 2673102"/>
                  <a:gd name="connsiteX134" fmla="*/ 116883 w 1739754"/>
                  <a:gd name="connsiteY134" fmla="*/ 1258639 h 2673102"/>
                  <a:gd name="connsiteX135" fmla="*/ 107358 w 1739754"/>
                  <a:gd name="connsiteY135" fmla="*/ 1244352 h 2673102"/>
                  <a:gd name="connsiteX136" fmla="*/ 93071 w 1739754"/>
                  <a:gd name="connsiteY136" fmla="*/ 1196727 h 2673102"/>
                  <a:gd name="connsiteX137" fmla="*/ 78783 w 1739754"/>
                  <a:gd name="connsiteY137" fmla="*/ 1177677 h 2673102"/>
                  <a:gd name="connsiteX138" fmla="*/ 59733 w 1739754"/>
                  <a:gd name="connsiteY138" fmla="*/ 1139577 h 2673102"/>
                  <a:gd name="connsiteX139" fmla="*/ 50208 w 1739754"/>
                  <a:gd name="connsiteY139" fmla="*/ 1111002 h 2673102"/>
                  <a:gd name="connsiteX140" fmla="*/ 45446 w 1739754"/>
                  <a:gd name="connsiteY140" fmla="*/ 1096714 h 2673102"/>
                  <a:gd name="connsiteX141" fmla="*/ 21633 w 1739754"/>
                  <a:gd name="connsiteY141" fmla="*/ 1025277 h 2673102"/>
                  <a:gd name="connsiteX142" fmla="*/ 202 w 1739754"/>
                  <a:gd name="connsiteY142" fmla="*/ 980033 h 2673102"/>
                  <a:gd name="connsiteX143" fmla="*/ 14490 w 1739754"/>
                  <a:gd name="connsiteY143" fmla="*/ 930027 h 2673102"/>
                  <a:gd name="connsiteX144" fmla="*/ 69259 w 1739754"/>
                  <a:gd name="connsiteY144" fmla="*/ 810964 h 2673102"/>
                  <a:gd name="connsiteX145" fmla="*/ 221658 w 1739754"/>
                  <a:gd name="connsiteY145" fmla="*/ 601414 h 2673102"/>
                  <a:gd name="connsiteX146" fmla="*/ 288333 w 1739754"/>
                  <a:gd name="connsiteY146" fmla="*/ 515689 h 2673102"/>
                  <a:gd name="connsiteX147" fmla="*/ 412158 w 1739754"/>
                  <a:gd name="connsiteY147" fmla="*/ 406152 h 2673102"/>
                  <a:gd name="connsiteX148" fmla="*/ 535983 w 1739754"/>
                  <a:gd name="connsiteY148" fmla="*/ 291851 h 2673102"/>
                  <a:gd name="connsiteX149" fmla="*/ 640758 w 1739754"/>
                  <a:gd name="connsiteY149" fmla="*/ 229939 h 2673102"/>
                  <a:gd name="connsiteX150" fmla="*/ 733628 w 1739754"/>
                  <a:gd name="connsiteY150" fmla="*/ 168026 h 2673102"/>
                  <a:gd name="connsiteX151" fmla="*/ 978896 w 1739754"/>
                  <a:gd name="connsiteY151" fmla="*/ 63251 h 2673102"/>
                  <a:gd name="connsiteX152" fmla="*/ 1159871 w 1739754"/>
                  <a:gd name="connsiteY152" fmla="*/ 6102 h 2673102"/>
                  <a:gd name="connsiteX153" fmla="*/ 1202733 w 1739754"/>
                  <a:gd name="connsiteY15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26533 w 1739754"/>
                  <a:gd name="connsiteY26" fmla="*/ 1096714 h 2673102"/>
                  <a:gd name="connsiteX27" fmla="*/ 1078908 w 1739754"/>
                  <a:gd name="connsiteY27" fmla="*/ 1111002 h 2673102"/>
                  <a:gd name="connsiteX28" fmla="*/ 964608 w 1739754"/>
                  <a:gd name="connsiteY28" fmla="*/ 1106239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88396 w 1739754"/>
                  <a:gd name="connsiteY31" fmla="*/ 1020514 h 2673102"/>
                  <a:gd name="connsiteX32" fmla="*/ 769346 w 1739754"/>
                  <a:gd name="connsiteY32" fmla="*/ 1006227 h 2673102"/>
                  <a:gd name="connsiteX33" fmla="*/ 678858 w 1739754"/>
                  <a:gd name="connsiteY33" fmla="*/ 958602 h 2673102"/>
                  <a:gd name="connsiteX34" fmla="*/ 645521 w 1739754"/>
                  <a:gd name="connsiteY34" fmla="*/ 939552 h 2673102"/>
                  <a:gd name="connsiteX35" fmla="*/ 526458 w 1739754"/>
                  <a:gd name="connsiteY35" fmla="*/ 910977 h 2673102"/>
                  <a:gd name="connsiteX36" fmla="*/ 483596 w 1739754"/>
                  <a:gd name="connsiteY36" fmla="*/ 891927 h 2673102"/>
                  <a:gd name="connsiteX37" fmla="*/ 421683 w 1739754"/>
                  <a:gd name="connsiteY37" fmla="*/ 882402 h 2673102"/>
                  <a:gd name="connsiteX38" fmla="*/ 321671 w 1739754"/>
                  <a:gd name="connsiteY38" fmla="*/ 896689 h 2673102"/>
                  <a:gd name="connsiteX39" fmla="*/ 307383 w 1739754"/>
                  <a:gd name="connsiteY39" fmla="*/ 910977 h 2673102"/>
                  <a:gd name="connsiteX40" fmla="*/ 283571 w 1739754"/>
                  <a:gd name="connsiteY40" fmla="*/ 949077 h 2673102"/>
                  <a:gd name="connsiteX41" fmla="*/ 269283 w 1739754"/>
                  <a:gd name="connsiteY41" fmla="*/ 987177 h 2673102"/>
                  <a:gd name="connsiteX42" fmla="*/ 264521 w 1739754"/>
                  <a:gd name="connsiteY42" fmla="*/ 1039564 h 2673102"/>
                  <a:gd name="connsiteX43" fmla="*/ 264521 w 1739754"/>
                  <a:gd name="connsiteY43" fmla="*/ 1120527 h 2673102"/>
                  <a:gd name="connsiteX44" fmla="*/ 297858 w 1739754"/>
                  <a:gd name="connsiteY44" fmla="*/ 1153864 h 2673102"/>
                  <a:gd name="connsiteX45" fmla="*/ 326433 w 1739754"/>
                  <a:gd name="connsiteY45" fmla="*/ 1163389 h 2673102"/>
                  <a:gd name="connsiteX46" fmla="*/ 326433 w 1739754"/>
                  <a:gd name="connsiteY46" fmla="*/ 1244352 h 2673102"/>
                  <a:gd name="connsiteX47" fmla="*/ 312146 w 1739754"/>
                  <a:gd name="connsiteY47" fmla="*/ 1258639 h 2673102"/>
                  <a:gd name="connsiteX48" fmla="*/ 259758 w 1739754"/>
                  <a:gd name="connsiteY48" fmla="*/ 1296739 h 2673102"/>
                  <a:gd name="connsiteX49" fmla="*/ 240708 w 1739754"/>
                  <a:gd name="connsiteY49" fmla="*/ 1325314 h 2673102"/>
                  <a:gd name="connsiteX50" fmla="*/ 250233 w 1739754"/>
                  <a:gd name="connsiteY50" fmla="*/ 1425327 h 2673102"/>
                  <a:gd name="connsiteX51" fmla="*/ 278808 w 1739754"/>
                  <a:gd name="connsiteY51" fmla="*/ 1472952 h 2673102"/>
                  <a:gd name="connsiteX52" fmla="*/ 293096 w 1739754"/>
                  <a:gd name="connsiteY52" fmla="*/ 1492002 h 2673102"/>
                  <a:gd name="connsiteX53" fmla="*/ 383583 w 1739754"/>
                  <a:gd name="connsiteY53" fmla="*/ 1525339 h 2673102"/>
                  <a:gd name="connsiteX54" fmla="*/ 407396 w 1739754"/>
                  <a:gd name="connsiteY54" fmla="*/ 1492002 h 2673102"/>
                  <a:gd name="connsiteX55" fmla="*/ 412158 w 1739754"/>
                  <a:gd name="connsiteY55" fmla="*/ 1468189 h 2673102"/>
                  <a:gd name="connsiteX56" fmla="*/ 416921 w 1739754"/>
                  <a:gd name="connsiteY56" fmla="*/ 1449139 h 2673102"/>
                  <a:gd name="connsiteX57" fmla="*/ 445496 w 1739754"/>
                  <a:gd name="connsiteY57" fmla="*/ 1439614 h 2673102"/>
                  <a:gd name="connsiteX58" fmla="*/ 545508 w 1739754"/>
                  <a:gd name="connsiteY58" fmla="*/ 1458664 h 2673102"/>
                  <a:gd name="connsiteX59" fmla="*/ 555033 w 1739754"/>
                  <a:gd name="connsiteY59" fmla="*/ 1482477 h 2673102"/>
                  <a:gd name="connsiteX60" fmla="*/ 564558 w 1739754"/>
                  <a:gd name="connsiteY60" fmla="*/ 1515814 h 2673102"/>
                  <a:gd name="connsiteX61" fmla="*/ 550271 w 1739754"/>
                  <a:gd name="connsiteY61" fmla="*/ 1534864 h 2673102"/>
                  <a:gd name="connsiteX62" fmla="*/ 550271 w 1739754"/>
                  <a:gd name="connsiteY62" fmla="*/ 1601539 h 2673102"/>
                  <a:gd name="connsiteX63" fmla="*/ 559796 w 1739754"/>
                  <a:gd name="connsiteY63" fmla="*/ 1620589 h 2673102"/>
                  <a:gd name="connsiteX64" fmla="*/ 626471 w 1739754"/>
                  <a:gd name="connsiteY64" fmla="*/ 1639639 h 2673102"/>
                  <a:gd name="connsiteX65" fmla="*/ 645521 w 1739754"/>
                  <a:gd name="connsiteY65" fmla="*/ 1592014 h 2673102"/>
                  <a:gd name="connsiteX66" fmla="*/ 702671 w 1739754"/>
                  <a:gd name="connsiteY66" fmla="*/ 1620589 h 2673102"/>
                  <a:gd name="connsiteX67" fmla="*/ 731246 w 1739754"/>
                  <a:gd name="connsiteY67" fmla="*/ 1630114 h 2673102"/>
                  <a:gd name="connsiteX68" fmla="*/ 783633 w 1739754"/>
                  <a:gd name="connsiteY68" fmla="*/ 1663452 h 2673102"/>
                  <a:gd name="connsiteX69" fmla="*/ 859833 w 1739754"/>
                  <a:gd name="connsiteY69" fmla="*/ 1687264 h 2673102"/>
                  <a:gd name="connsiteX70" fmla="*/ 878883 w 1739754"/>
                  <a:gd name="connsiteY70" fmla="*/ 1701552 h 2673102"/>
                  <a:gd name="connsiteX71" fmla="*/ 888408 w 1739754"/>
                  <a:gd name="connsiteY71" fmla="*/ 1739652 h 2673102"/>
                  <a:gd name="connsiteX72" fmla="*/ 897933 w 1739754"/>
                  <a:gd name="connsiteY72" fmla="*/ 1782514 h 2673102"/>
                  <a:gd name="connsiteX73" fmla="*/ 940796 w 1739754"/>
                  <a:gd name="connsiteY73" fmla="*/ 1892052 h 2673102"/>
                  <a:gd name="connsiteX74" fmla="*/ 950321 w 1739754"/>
                  <a:gd name="connsiteY74" fmla="*/ 1906339 h 2673102"/>
                  <a:gd name="connsiteX75" fmla="*/ 959846 w 1739754"/>
                  <a:gd name="connsiteY75" fmla="*/ 1939677 h 2673102"/>
                  <a:gd name="connsiteX76" fmla="*/ 974133 w 1739754"/>
                  <a:gd name="connsiteY76" fmla="*/ 1977777 h 2673102"/>
                  <a:gd name="connsiteX77" fmla="*/ 964608 w 1739754"/>
                  <a:gd name="connsiteY77" fmla="*/ 2082552 h 2673102"/>
                  <a:gd name="connsiteX78" fmla="*/ 955083 w 1739754"/>
                  <a:gd name="connsiteY78" fmla="*/ 2101602 h 2673102"/>
                  <a:gd name="connsiteX79" fmla="*/ 926508 w 1739754"/>
                  <a:gd name="connsiteY79" fmla="*/ 2144464 h 2673102"/>
                  <a:gd name="connsiteX80" fmla="*/ 907458 w 1739754"/>
                  <a:gd name="connsiteY80" fmla="*/ 2192089 h 2673102"/>
                  <a:gd name="connsiteX81" fmla="*/ 902696 w 1739754"/>
                  <a:gd name="connsiteY81" fmla="*/ 2211139 h 2673102"/>
                  <a:gd name="connsiteX82" fmla="*/ 893171 w 1739754"/>
                  <a:gd name="connsiteY82" fmla="*/ 2239714 h 2673102"/>
                  <a:gd name="connsiteX83" fmla="*/ 897933 w 1739754"/>
                  <a:gd name="connsiteY83" fmla="*/ 2287339 h 2673102"/>
                  <a:gd name="connsiteX84" fmla="*/ 893171 w 1739754"/>
                  <a:gd name="connsiteY84" fmla="*/ 2396877 h 2673102"/>
                  <a:gd name="connsiteX85" fmla="*/ 688383 w 1739754"/>
                  <a:gd name="connsiteY85" fmla="*/ 2449264 h 2673102"/>
                  <a:gd name="connsiteX86" fmla="*/ 655046 w 1739754"/>
                  <a:gd name="connsiteY86" fmla="*/ 2473077 h 2673102"/>
                  <a:gd name="connsiteX87" fmla="*/ 607421 w 1739754"/>
                  <a:gd name="connsiteY87" fmla="*/ 2511177 h 2673102"/>
                  <a:gd name="connsiteX88" fmla="*/ 574083 w 1739754"/>
                  <a:gd name="connsiteY88" fmla="*/ 2534989 h 2673102"/>
                  <a:gd name="connsiteX89" fmla="*/ 540746 w 1739754"/>
                  <a:gd name="connsiteY89" fmla="*/ 2554039 h 2673102"/>
                  <a:gd name="connsiteX90" fmla="*/ 497883 w 1739754"/>
                  <a:gd name="connsiteY90" fmla="*/ 2587377 h 2673102"/>
                  <a:gd name="connsiteX91" fmla="*/ 483596 w 1739754"/>
                  <a:gd name="connsiteY91" fmla="*/ 2601664 h 2673102"/>
                  <a:gd name="connsiteX92" fmla="*/ 459783 w 1739754"/>
                  <a:gd name="connsiteY92" fmla="*/ 2620714 h 2673102"/>
                  <a:gd name="connsiteX93" fmla="*/ 450258 w 1739754"/>
                  <a:gd name="connsiteY93" fmla="*/ 2635002 h 2673102"/>
                  <a:gd name="connsiteX94" fmla="*/ 416921 w 1739754"/>
                  <a:gd name="connsiteY94" fmla="*/ 2654052 h 2673102"/>
                  <a:gd name="connsiteX95" fmla="*/ 374058 w 1739754"/>
                  <a:gd name="connsiteY95" fmla="*/ 2673102 h 2673102"/>
                  <a:gd name="connsiteX96" fmla="*/ 359771 w 1739754"/>
                  <a:gd name="connsiteY96" fmla="*/ 2663577 h 2673102"/>
                  <a:gd name="connsiteX97" fmla="*/ 345483 w 1739754"/>
                  <a:gd name="connsiteY97" fmla="*/ 2635002 h 2673102"/>
                  <a:gd name="connsiteX98" fmla="*/ 335958 w 1739754"/>
                  <a:gd name="connsiteY98" fmla="*/ 2620714 h 2673102"/>
                  <a:gd name="connsiteX99" fmla="*/ 297858 w 1739754"/>
                  <a:gd name="connsiteY99" fmla="*/ 2611189 h 2673102"/>
                  <a:gd name="connsiteX100" fmla="*/ 278808 w 1739754"/>
                  <a:gd name="connsiteY100" fmla="*/ 2592139 h 2673102"/>
                  <a:gd name="connsiteX101" fmla="*/ 274046 w 1739754"/>
                  <a:gd name="connsiteY101" fmla="*/ 2573089 h 2673102"/>
                  <a:gd name="connsiteX102" fmla="*/ 235946 w 1739754"/>
                  <a:gd name="connsiteY102" fmla="*/ 2539752 h 2673102"/>
                  <a:gd name="connsiteX103" fmla="*/ 231183 w 1739754"/>
                  <a:gd name="connsiteY103" fmla="*/ 2525464 h 2673102"/>
                  <a:gd name="connsiteX104" fmla="*/ 226421 w 1739754"/>
                  <a:gd name="connsiteY104" fmla="*/ 2506414 h 2673102"/>
                  <a:gd name="connsiteX105" fmla="*/ 212133 w 1739754"/>
                  <a:gd name="connsiteY105" fmla="*/ 2492127 h 2673102"/>
                  <a:gd name="connsiteX106" fmla="*/ 154983 w 1739754"/>
                  <a:gd name="connsiteY106" fmla="*/ 2439739 h 2673102"/>
                  <a:gd name="connsiteX107" fmla="*/ 150221 w 1739754"/>
                  <a:gd name="connsiteY107" fmla="*/ 2415927 h 2673102"/>
                  <a:gd name="connsiteX108" fmla="*/ 135933 w 1739754"/>
                  <a:gd name="connsiteY108" fmla="*/ 2358777 h 2673102"/>
                  <a:gd name="connsiteX109" fmla="*/ 121646 w 1739754"/>
                  <a:gd name="connsiteY109" fmla="*/ 2315914 h 2673102"/>
                  <a:gd name="connsiteX110" fmla="*/ 107358 w 1739754"/>
                  <a:gd name="connsiteY110" fmla="*/ 2258764 h 2673102"/>
                  <a:gd name="connsiteX111" fmla="*/ 102596 w 1739754"/>
                  <a:gd name="connsiteY111" fmla="*/ 2234952 h 2673102"/>
                  <a:gd name="connsiteX112" fmla="*/ 93071 w 1739754"/>
                  <a:gd name="connsiteY112" fmla="*/ 2211139 h 2673102"/>
                  <a:gd name="connsiteX113" fmla="*/ 88308 w 1739754"/>
                  <a:gd name="connsiteY113" fmla="*/ 2187327 h 2673102"/>
                  <a:gd name="connsiteX114" fmla="*/ 78783 w 1739754"/>
                  <a:gd name="connsiteY114" fmla="*/ 2111127 h 2673102"/>
                  <a:gd name="connsiteX115" fmla="*/ 97833 w 1739754"/>
                  <a:gd name="connsiteY115" fmla="*/ 1944439 h 2673102"/>
                  <a:gd name="connsiteX116" fmla="*/ 107358 w 1739754"/>
                  <a:gd name="connsiteY116" fmla="*/ 1930152 h 2673102"/>
                  <a:gd name="connsiteX117" fmla="*/ 126408 w 1739754"/>
                  <a:gd name="connsiteY117" fmla="*/ 1901577 h 2673102"/>
                  <a:gd name="connsiteX118" fmla="*/ 135933 w 1739754"/>
                  <a:gd name="connsiteY118" fmla="*/ 1868239 h 2673102"/>
                  <a:gd name="connsiteX119" fmla="*/ 131171 w 1739754"/>
                  <a:gd name="connsiteY119" fmla="*/ 1825377 h 2673102"/>
                  <a:gd name="connsiteX120" fmla="*/ 112121 w 1739754"/>
                  <a:gd name="connsiteY120" fmla="*/ 1820614 h 2673102"/>
                  <a:gd name="connsiteX121" fmla="*/ 102596 w 1739754"/>
                  <a:gd name="connsiteY121" fmla="*/ 1806327 h 2673102"/>
                  <a:gd name="connsiteX122" fmla="*/ 145458 w 1739754"/>
                  <a:gd name="connsiteY122" fmla="*/ 1720602 h 2673102"/>
                  <a:gd name="connsiteX123" fmla="*/ 159746 w 1739754"/>
                  <a:gd name="connsiteY123" fmla="*/ 1715839 h 2673102"/>
                  <a:gd name="connsiteX124" fmla="*/ 174033 w 1739754"/>
                  <a:gd name="connsiteY124" fmla="*/ 1696789 h 2673102"/>
                  <a:gd name="connsiteX125" fmla="*/ 188321 w 1739754"/>
                  <a:gd name="connsiteY125" fmla="*/ 1687264 h 2673102"/>
                  <a:gd name="connsiteX126" fmla="*/ 202608 w 1739754"/>
                  <a:gd name="connsiteY126" fmla="*/ 1653927 h 2673102"/>
                  <a:gd name="connsiteX127" fmla="*/ 193083 w 1739754"/>
                  <a:gd name="connsiteY127" fmla="*/ 1606302 h 2673102"/>
                  <a:gd name="connsiteX128" fmla="*/ 164508 w 1739754"/>
                  <a:gd name="connsiteY128" fmla="*/ 1596777 h 2673102"/>
                  <a:gd name="connsiteX129" fmla="*/ 154983 w 1739754"/>
                  <a:gd name="connsiteY129" fmla="*/ 1549152 h 2673102"/>
                  <a:gd name="connsiteX130" fmla="*/ 150221 w 1739754"/>
                  <a:gd name="connsiteY130" fmla="*/ 1411039 h 2673102"/>
                  <a:gd name="connsiteX131" fmla="*/ 140696 w 1739754"/>
                  <a:gd name="connsiteY131" fmla="*/ 1377702 h 2673102"/>
                  <a:gd name="connsiteX132" fmla="*/ 121646 w 1739754"/>
                  <a:gd name="connsiteY132" fmla="*/ 1311027 h 2673102"/>
                  <a:gd name="connsiteX133" fmla="*/ 116883 w 1739754"/>
                  <a:gd name="connsiteY133" fmla="*/ 1258639 h 2673102"/>
                  <a:gd name="connsiteX134" fmla="*/ 107358 w 1739754"/>
                  <a:gd name="connsiteY134" fmla="*/ 1244352 h 2673102"/>
                  <a:gd name="connsiteX135" fmla="*/ 93071 w 1739754"/>
                  <a:gd name="connsiteY135" fmla="*/ 1196727 h 2673102"/>
                  <a:gd name="connsiteX136" fmla="*/ 78783 w 1739754"/>
                  <a:gd name="connsiteY136" fmla="*/ 1177677 h 2673102"/>
                  <a:gd name="connsiteX137" fmla="*/ 59733 w 1739754"/>
                  <a:gd name="connsiteY137" fmla="*/ 1139577 h 2673102"/>
                  <a:gd name="connsiteX138" fmla="*/ 50208 w 1739754"/>
                  <a:gd name="connsiteY138" fmla="*/ 1111002 h 2673102"/>
                  <a:gd name="connsiteX139" fmla="*/ 45446 w 1739754"/>
                  <a:gd name="connsiteY139" fmla="*/ 1096714 h 2673102"/>
                  <a:gd name="connsiteX140" fmla="*/ 21633 w 1739754"/>
                  <a:gd name="connsiteY140" fmla="*/ 1025277 h 2673102"/>
                  <a:gd name="connsiteX141" fmla="*/ 202 w 1739754"/>
                  <a:gd name="connsiteY141" fmla="*/ 980033 h 2673102"/>
                  <a:gd name="connsiteX142" fmla="*/ 14490 w 1739754"/>
                  <a:gd name="connsiteY142" fmla="*/ 930027 h 2673102"/>
                  <a:gd name="connsiteX143" fmla="*/ 69259 w 1739754"/>
                  <a:gd name="connsiteY143" fmla="*/ 810964 h 2673102"/>
                  <a:gd name="connsiteX144" fmla="*/ 221658 w 1739754"/>
                  <a:gd name="connsiteY144" fmla="*/ 601414 h 2673102"/>
                  <a:gd name="connsiteX145" fmla="*/ 288333 w 1739754"/>
                  <a:gd name="connsiteY145" fmla="*/ 515689 h 2673102"/>
                  <a:gd name="connsiteX146" fmla="*/ 412158 w 1739754"/>
                  <a:gd name="connsiteY146" fmla="*/ 406152 h 2673102"/>
                  <a:gd name="connsiteX147" fmla="*/ 535983 w 1739754"/>
                  <a:gd name="connsiteY147" fmla="*/ 291851 h 2673102"/>
                  <a:gd name="connsiteX148" fmla="*/ 640758 w 1739754"/>
                  <a:gd name="connsiteY148" fmla="*/ 229939 h 2673102"/>
                  <a:gd name="connsiteX149" fmla="*/ 733628 w 1739754"/>
                  <a:gd name="connsiteY149" fmla="*/ 168026 h 2673102"/>
                  <a:gd name="connsiteX150" fmla="*/ 978896 w 1739754"/>
                  <a:gd name="connsiteY150" fmla="*/ 63251 h 2673102"/>
                  <a:gd name="connsiteX151" fmla="*/ 1159871 w 1739754"/>
                  <a:gd name="connsiteY151" fmla="*/ 6102 h 2673102"/>
                  <a:gd name="connsiteX152" fmla="*/ 1202733 w 1739754"/>
                  <a:gd name="connsiteY15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26533 w 1739754"/>
                  <a:gd name="connsiteY26" fmla="*/ 1096714 h 2673102"/>
                  <a:gd name="connsiteX27" fmla="*/ 1078908 w 1739754"/>
                  <a:gd name="connsiteY27" fmla="*/ 111100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88396 w 1739754"/>
                  <a:gd name="connsiteY31" fmla="*/ 1020514 h 2673102"/>
                  <a:gd name="connsiteX32" fmla="*/ 769346 w 1739754"/>
                  <a:gd name="connsiteY32" fmla="*/ 1006227 h 2673102"/>
                  <a:gd name="connsiteX33" fmla="*/ 678858 w 1739754"/>
                  <a:gd name="connsiteY33" fmla="*/ 958602 h 2673102"/>
                  <a:gd name="connsiteX34" fmla="*/ 645521 w 1739754"/>
                  <a:gd name="connsiteY34" fmla="*/ 939552 h 2673102"/>
                  <a:gd name="connsiteX35" fmla="*/ 526458 w 1739754"/>
                  <a:gd name="connsiteY35" fmla="*/ 910977 h 2673102"/>
                  <a:gd name="connsiteX36" fmla="*/ 483596 w 1739754"/>
                  <a:gd name="connsiteY36" fmla="*/ 891927 h 2673102"/>
                  <a:gd name="connsiteX37" fmla="*/ 421683 w 1739754"/>
                  <a:gd name="connsiteY37" fmla="*/ 882402 h 2673102"/>
                  <a:gd name="connsiteX38" fmla="*/ 321671 w 1739754"/>
                  <a:gd name="connsiteY38" fmla="*/ 896689 h 2673102"/>
                  <a:gd name="connsiteX39" fmla="*/ 307383 w 1739754"/>
                  <a:gd name="connsiteY39" fmla="*/ 910977 h 2673102"/>
                  <a:gd name="connsiteX40" fmla="*/ 283571 w 1739754"/>
                  <a:gd name="connsiteY40" fmla="*/ 949077 h 2673102"/>
                  <a:gd name="connsiteX41" fmla="*/ 269283 w 1739754"/>
                  <a:gd name="connsiteY41" fmla="*/ 987177 h 2673102"/>
                  <a:gd name="connsiteX42" fmla="*/ 264521 w 1739754"/>
                  <a:gd name="connsiteY42" fmla="*/ 1039564 h 2673102"/>
                  <a:gd name="connsiteX43" fmla="*/ 264521 w 1739754"/>
                  <a:gd name="connsiteY43" fmla="*/ 1120527 h 2673102"/>
                  <a:gd name="connsiteX44" fmla="*/ 297858 w 1739754"/>
                  <a:gd name="connsiteY44" fmla="*/ 1153864 h 2673102"/>
                  <a:gd name="connsiteX45" fmla="*/ 326433 w 1739754"/>
                  <a:gd name="connsiteY45" fmla="*/ 1163389 h 2673102"/>
                  <a:gd name="connsiteX46" fmla="*/ 326433 w 1739754"/>
                  <a:gd name="connsiteY46" fmla="*/ 1244352 h 2673102"/>
                  <a:gd name="connsiteX47" fmla="*/ 312146 w 1739754"/>
                  <a:gd name="connsiteY47" fmla="*/ 1258639 h 2673102"/>
                  <a:gd name="connsiteX48" fmla="*/ 259758 w 1739754"/>
                  <a:gd name="connsiteY48" fmla="*/ 1296739 h 2673102"/>
                  <a:gd name="connsiteX49" fmla="*/ 240708 w 1739754"/>
                  <a:gd name="connsiteY49" fmla="*/ 1325314 h 2673102"/>
                  <a:gd name="connsiteX50" fmla="*/ 250233 w 1739754"/>
                  <a:gd name="connsiteY50" fmla="*/ 1425327 h 2673102"/>
                  <a:gd name="connsiteX51" fmla="*/ 278808 w 1739754"/>
                  <a:gd name="connsiteY51" fmla="*/ 1472952 h 2673102"/>
                  <a:gd name="connsiteX52" fmla="*/ 293096 w 1739754"/>
                  <a:gd name="connsiteY52" fmla="*/ 1492002 h 2673102"/>
                  <a:gd name="connsiteX53" fmla="*/ 383583 w 1739754"/>
                  <a:gd name="connsiteY53" fmla="*/ 1525339 h 2673102"/>
                  <a:gd name="connsiteX54" fmla="*/ 407396 w 1739754"/>
                  <a:gd name="connsiteY54" fmla="*/ 1492002 h 2673102"/>
                  <a:gd name="connsiteX55" fmla="*/ 412158 w 1739754"/>
                  <a:gd name="connsiteY55" fmla="*/ 1468189 h 2673102"/>
                  <a:gd name="connsiteX56" fmla="*/ 416921 w 1739754"/>
                  <a:gd name="connsiteY56" fmla="*/ 1449139 h 2673102"/>
                  <a:gd name="connsiteX57" fmla="*/ 445496 w 1739754"/>
                  <a:gd name="connsiteY57" fmla="*/ 1439614 h 2673102"/>
                  <a:gd name="connsiteX58" fmla="*/ 545508 w 1739754"/>
                  <a:gd name="connsiteY58" fmla="*/ 1458664 h 2673102"/>
                  <a:gd name="connsiteX59" fmla="*/ 555033 w 1739754"/>
                  <a:gd name="connsiteY59" fmla="*/ 1482477 h 2673102"/>
                  <a:gd name="connsiteX60" fmla="*/ 564558 w 1739754"/>
                  <a:gd name="connsiteY60" fmla="*/ 1515814 h 2673102"/>
                  <a:gd name="connsiteX61" fmla="*/ 550271 w 1739754"/>
                  <a:gd name="connsiteY61" fmla="*/ 1534864 h 2673102"/>
                  <a:gd name="connsiteX62" fmla="*/ 550271 w 1739754"/>
                  <a:gd name="connsiteY62" fmla="*/ 1601539 h 2673102"/>
                  <a:gd name="connsiteX63" fmla="*/ 559796 w 1739754"/>
                  <a:gd name="connsiteY63" fmla="*/ 1620589 h 2673102"/>
                  <a:gd name="connsiteX64" fmla="*/ 626471 w 1739754"/>
                  <a:gd name="connsiteY64" fmla="*/ 1639639 h 2673102"/>
                  <a:gd name="connsiteX65" fmla="*/ 645521 w 1739754"/>
                  <a:gd name="connsiteY65" fmla="*/ 1592014 h 2673102"/>
                  <a:gd name="connsiteX66" fmla="*/ 702671 w 1739754"/>
                  <a:gd name="connsiteY66" fmla="*/ 1620589 h 2673102"/>
                  <a:gd name="connsiteX67" fmla="*/ 731246 w 1739754"/>
                  <a:gd name="connsiteY67" fmla="*/ 1630114 h 2673102"/>
                  <a:gd name="connsiteX68" fmla="*/ 783633 w 1739754"/>
                  <a:gd name="connsiteY68" fmla="*/ 1663452 h 2673102"/>
                  <a:gd name="connsiteX69" fmla="*/ 859833 w 1739754"/>
                  <a:gd name="connsiteY69" fmla="*/ 1687264 h 2673102"/>
                  <a:gd name="connsiteX70" fmla="*/ 878883 w 1739754"/>
                  <a:gd name="connsiteY70" fmla="*/ 1701552 h 2673102"/>
                  <a:gd name="connsiteX71" fmla="*/ 888408 w 1739754"/>
                  <a:gd name="connsiteY71" fmla="*/ 1739652 h 2673102"/>
                  <a:gd name="connsiteX72" fmla="*/ 897933 w 1739754"/>
                  <a:gd name="connsiteY72" fmla="*/ 1782514 h 2673102"/>
                  <a:gd name="connsiteX73" fmla="*/ 940796 w 1739754"/>
                  <a:gd name="connsiteY73" fmla="*/ 1892052 h 2673102"/>
                  <a:gd name="connsiteX74" fmla="*/ 950321 w 1739754"/>
                  <a:gd name="connsiteY74" fmla="*/ 1906339 h 2673102"/>
                  <a:gd name="connsiteX75" fmla="*/ 959846 w 1739754"/>
                  <a:gd name="connsiteY75" fmla="*/ 1939677 h 2673102"/>
                  <a:gd name="connsiteX76" fmla="*/ 974133 w 1739754"/>
                  <a:gd name="connsiteY76" fmla="*/ 1977777 h 2673102"/>
                  <a:gd name="connsiteX77" fmla="*/ 964608 w 1739754"/>
                  <a:gd name="connsiteY77" fmla="*/ 2082552 h 2673102"/>
                  <a:gd name="connsiteX78" fmla="*/ 955083 w 1739754"/>
                  <a:gd name="connsiteY78" fmla="*/ 2101602 h 2673102"/>
                  <a:gd name="connsiteX79" fmla="*/ 926508 w 1739754"/>
                  <a:gd name="connsiteY79" fmla="*/ 2144464 h 2673102"/>
                  <a:gd name="connsiteX80" fmla="*/ 907458 w 1739754"/>
                  <a:gd name="connsiteY80" fmla="*/ 2192089 h 2673102"/>
                  <a:gd name="connsiteX81" fmla="*/ 902696 w 1739754"/>
                  <a:gd name="connsiteY81" fmla="*/ 2211139 h 2673102"/>
                  <a:gd name="connsiteX82" fmla="*/ 893171 w 1739754"/>
                  <a:gd name="connsiteY82" fmla="*/ 2239714 h 2673102"/>
                  <a:gd name="connsiteX83" fmla="*/ 897933 w 1739754"/>
                  <a:gd name="connsiteY83" fmla="*/ 2287339 h 2673102"/>
                  <a:gd name="connsiteX84" fmla="*/ 893171 w 1739754"/>
                  <a:gd name="connsiteY84" fmla="*/ 2396877 h 2673102"/>
                  <a:gd name="connsiteX85" fmla="*/ 688383 w 1739754"/>
                  <a:gd name="connsiteY85" fmla="*/ 2449264 h 2673102"/>
                  <a:gd name="connsiteX86" fmla="*/ 655046 w 1739754"/>
                  <a:gd name="connsiteY86" fmla="*/ 2473077 h 2673102"/>
                  <a:gd name="connsiteX87" fmla="*/ 607421 w 1739754"/>
                  <a:gd name="connsiteY87" fmla="*/ 2511177 h 2673102"/>
                  <a:gd name="connsiteX88" fmla="*/ 574083 w 1739754"/>
                  <a:gd name="connsiteY88" fmla="*/ 2534989 h 2673102"/>
                  <a:gd name="connsiteX89" fmla="*/ 540746 w 1739754"/>
                  <a:gd name="connsiteY89" fmla="*/ 2554039 h 2673102"/>
                  <a:gd name="connsiteX90" fmla="*/ 497883 w 1739754"/>
                  <a:gd name="connsiteY90" fmla="*/ 2587377 h 2673102"/>
                  <a:gd name="connsiteX91" fmla="*/ 483596 w 1739754"/>
                  <a:gd name="connsiteY91" fmla="*/ 2601664 h 2673102"/>
                  <a:gd name="connsiteX92" fmla="*/ 459783 w 1739754"/>
                  <a:gd name="connsiteY92" fmla="*/ 2620714 h 2673102"/>
                  <a:gd name="connsiteX93" fmla="*/ 450258 w 1739754"/>
                  <a:gd name="connsiteY93" fmla="*/ 2635002 h 2673102"/>
                  <a:gd name="connsiteX94" fmla="*/ 416921 w 1739754"/>
                  <a:gd name="connsiteY94" fmla="*/ 2654052 h 2673102"/>
                  <a:gd name="connsiteX95" fmla="*/ 374058 w 1739754"/>
                  <a:gd name="connsiteY95" fmla="*/ 2673102 h 2673102"/>
                  <a:gd name="connsiteX96" fmla="*/ 359771 w 1739754"/>
                  <a:gd name="connsiteY96" fmla="*/ 2663577 h 2673102"/>
                  <a:gd name="connsiteX97" fmla="*/ 345483 w 1739754"/>
                  <a:gd name="connsiteY97" fmla="*/ 2635002 h 2673102"/>
                  <a:gd name="connsiteX98" fmla="*/ 335958 w 1739754"/>
                  <a:gd name="connsiteY98" fmla="*/ 2620714 h 2673102"/>
                  <a:gd name="connsiteX99" fmla="*/ 297858 w 1739754"/>
                  <a:gd name="connsiteY99" fmla="*/ 2611189 h 2673102"/>
                  <a:gd name="connsiteX100" fmla="*/ 278808 w 1739754"/>
                  <a:gd name="connsiteY100" fmla="*/ 2592139 h 2673102"/>
                  <a:gd name="connsiteX101" fmla="*/ 274046 w 1739754"/>
                  <a:gd name="connsiteY101" fmla="*/ 2573089 h 2673102"/>
                  <a:gd name="connsiteX102" fmla="*/ 235946 w 1739754"/>
                  <a:gd name="connsiteY102" fmla="*/ 2539752 h 2673102"/>
                  <a:gd name="connsiteX103" fmla="*/ 231183 w 1739754"/>
                  <a:gd name="connsiteY103" fmla="*/ 2525464 h 2673102"/>
                  <a:gd name="connsiteX104" fmla="*/ 226421 w 1739754"/>
                  <a:gd name="connsiteY104" fmla="*/ 2506414 h 2673102"/>
                  <a:gd name="connsiteX105" fmla="*/ 212133 w 1739754"/>
                  <a:gd name="connsiteY105" fmla="*/ 2492127 h 2673102"/>
                  <a:gd name="connsiteX106" fmla="*/ 154983 w 1739754"/>
                  <a:gd name="connsiteY106" fmla="*/ 2439739 h 2673102"/>
                  <a:gd name="connsiteX107" fmla="*/ 150221 w 1739754"/>
                  <a:gd name="connsiteY107" fmla="*/ 2415927 h 2673102"/>
                  <a:gd name="connsiteX108" fmla="*/ 135933 w 1739754"/>
                  <a:gd name="connsiteY108" fmla="*/ 2358777 h 2673102"/>
                  <a:gd name="connsiteX109" fmla="*/ 121646 w 1739754"/>
                  <a:gd name="connsiteY109" fmla="*/ 2315914 h 2673102"/>
                  <a:gd name="connsiteX110" fmla="*/ 107358 w 1739754"/>
                  <a:gd name="connsiteY110" fmla="*/ 2258764 h 2673102"/>
                  <a:gd name="connsiteX111" fmla="*/ 102596 w 1739754"/>
                  <a:gd name="connsiteY111" fmla="*/ 2234952 h 2673102"/>
                  <a:gd name="connsiteX112" fmla="*/ 93071 w 1739754"/>
                  <a:gd name="connsiteY112" fmla="*/ 2211139 h 2673102"/>
                  <a:gd name="connsiteX113" fmla="*/ 88308 w 1739754"/>
                  <a:gd name="connsiteY113" fmla="*/ 2187327 h 2673102"/>
                  <a:gd name="connsiteX114" fmla="*/ 78783 w 1739754"/>
                  <a:gd name="connsiteY114" fmla="*/ 2111127 h 2673102"/>
                  <a:gd name="connsiteX115" fmla="*/ 97833 w 1739754"/>
                  <a:gd name="connsiteY115" fmla="*/ 1944439 h 2673102"/>
                  <a:gd name="connsiteX116" fmla="*/ 107358 w 1739754"/>
                  <a:gd name="connsiteY116" fmla="*/ 1930152 h 2673102"/>
                  <a:gd name="connsiteX117" fmla="*/ 126408 w 1739754"/>
                  <a:gd name="connsiteY117" fmla="*/ 1901577 h 2673102"/>
                  <a:gd name="connsiteX118" fmla="*/ 135933 w 1739754"/>
                  <a:gd name="connsiteY118" fmla="*/ 1868239 h 2673102"/>
                  <a:gd name="connsiteX119" fmla="*/ 131171 w 1739754"/>
                  <a:gd name="connsiteY119" fmla="*/ 1825377 h 2673102"/>
                  <a:gd name="connsiteX120" fmla="*/ 112121 w 1739754"/>
                  <a:gd name="connsiteY120" fmla="*/ 1820614 h 2673102"/>
                  <a:gd name="connsiteX121" fmla="*/ 102596 w 1739754"/>
                  <a:gd name="connsiteY121" fmla="*/ 1806327 h 2673102"/>
                  <a:gd name="connsiteX122" fmla="*/ 145458 w 1739754"/>
                  <a:gd name="connsiteY122" fmla="*/ 1720602 h 2673102"/>
                  <a:gd name="connsiteX123" fmla="*/ 159746 w 1739754"/>
                  <a:gd name="connsiteY123" fmla="*/ 1715839 h 2673102"/>
                  <a:gd name="connsiteX124" fmla="*/ 174033 w 1739754"/>
                  <a:gd name="connsiteY124" fmla="*/ 1696789 h 2673102"/>
                  <a:gd name="connsiteX125" fmla="*/ 188321 w 1739754"/>
                  <a:gd name="connsiteY125" fmla="*/ 1687264 h 2673102"/>
                  <a:gd name="connsiteX126" fmla="*/ 202608 w 1739754"/>
                  <a:gd name="connsiteY126" fmla="*/ 1653927 h 2673102"/>
                  <a:gd name="connsiteX127" fmla="*/ 193083 w 1739754"/>
                  <a:gd name="connsiteY127" fmla="*/ 1606302 h 2673102"/>
                  <a:gd name="connsiteX128" fmla="*/ 164508 w 1739754"/>
                  <a:gd name="connsiteY128" fmla="*/ 1596777 h 2673102"/>
                  <a:gd name="connsiteX129" fmla="*/ 154983 w 1739754"/>
                  <a:gd name="connsiteY129" fmla="*/ 1549152 h 2673102"/>
                  <a:gd name="connsiteX130" fmla="*/ 150221 w 1739754"/>
                  <a:gd name="connsiteY130" fmla="*/ 1411039 h 2673102"/>
                  <a:gd name="connsiteX131" fmla="*/ 140696 w 1739754"/>
                  <a:gd name="connsiteY131" fmla="*/ 1377702 h 2673102"/>
                  <a:gd name="connsiteX132" fmla="*/ 121646 w 1739754"/>
                  <a:gd name="connsiteY132" fmla="*/ 1311027 h 2673102"/>
                  <a:gd name="connsiteX133" fmla="*/ 116883 w 1739754"/>
                  <a:gd name="connsiteY133" fmla="*/ 1258639 h 2673102"/>
                  <a:gd name="connsiteX134" fmla="*/ 107358 w 1739754"/>
                  <a:gd name="connsiteY134" fmla="*/ 1244352 h 2673102"/>
                  <a:gd name="connsiteX135" fmla="*/ 93071 w 1739754"/>
                  <a:gd name="connsiteY135" fmla="*/ 1196727 h 2673102"/>
                  <a:gd name="connsiteX136" fmla="*/ 78783 w 1739754"/>
                  <a:gd name="connsiteY136" fmla="*/ 1177677 h 2673102"/>
                  <a:gd name="connsiteX137" fmla="*/ 59733 w 1739754"/>
                  <a:gd name="connsiteY137" fmla="*/ 1139577 h 2673102"/>
                  <a:gd name="connsiteX138" fmla="*/ 50208 w 1739754"/>
                  <a:gd name="connsiteY138" fmla="*/ 1111002 h 2673102"/>
                  <a:gd name="connsiteX139" fmla="*/ 45446 w 1739754"/>
                  <a:gd name="connsiteY139" fmla="*/ 1096714 h 2673102"/>
                  <a:gd name="connsiteX140" fmla="*/ 21633 w 1739754"/>
                  <a:gd name="connsiteY140" fmla="*/ 1025277 h 2673102"/>
                  <a:gd name="connsiteX141" fmla="*/ 202 w 1739754"/>
                  <a:gd name="connsiteY141" fmla="*/ 980033 h 2673102"/>
                  <a:gd name="connsiteX142" fmla="*/ 14490 w 1739754"/>
                  <a:gd name="connsiteY142" fmla="*/ 930027 h 2673102"/>
                  <a:gd name="connsiteX143" fmla="*/ 69259 w 1739754"/>
                  <a:gd name="connsiteY143" fmla="*/ 810964 h 2673102"/>
                  <a:gd name="connsiteX144" fmla="*/ 221658 w 1739754"/>
                  <a:gd name="connsiteY144" fmla="*/ 601414 h 2673102"/>
                  <a:gd name="connsiteX145" fmla="*/ 288333 w 1739754"/>
                  <a:gd name="connsiteY145" fmla="*/ 515689 h 2673102"/>
                  <a:gd name="connsiteX146" fmla="*/ 412158 w 1739754"/>
                  <a:gd name="connsiteY146" fmla="*/ 406152 h 2673102"/>
                  <a:gd name="connsiteX147" fmla="*/ 535983 w 1739754"/>
                  <a:gd name="connsiteY147" fmla="*/ 291851 h 2673102"/>
                  <a:gd name="connsiteX148" fmla="*/ 640758 w 1739754"/>
                  <a:gd name="connsiteY148" fmla="*/ 229939 h 2673102"/>
                  <a:gd name="connsiteX149" fmla="*/ 733628 w 1739754"/>
                  <a:gd name="connsiteY149" fmla="*/ 168026 h 2673102"/>
                  <a:gd name="connsiteX150" fmla="*/ 978896 w 1739754"/>
                  <a:gd name="connsiteY150" fmla="*/ 63251 h 2673102"/>
                  <a:gd name="connsiteX151" fmla="*/ 1159871 w 1739754"/>
                  <a:gd name="connsiteY151" fmla="*/ 6102 h 2673102"/>
                  <a:gd name="connsiteX152" fmla="*/ 1202733 w 1739754"/>
                  <a:gd name="connsiteY15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26533 w 1739754"/>
                  <a:gd name="connsiteY26" fmla="*/ 1096714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88396 w 1739754"/>
                  <a:gd name="connsiteY31" fmla="*/ 1020514 h 2673102"/>
                  <a:gd name="connsiteX32" fmla="*/ 769346 w 1739754"/>
                  <a:gd name="connsiteY32" fmla="*/ 1006227 h 2673102"/>
                  <a:gd name="connsiteX33" fmla="*/ 678858 w 1739754"/>
                  <a:gd name="connsiteY33" fmla="*/ 958602 h 2673102"/>
                  <a:gd name="connsiteX34" fmla="*/ 645521 w 1739754"/>
                  <a:gd name="connsiteY34" fmla="*/ 939552 h 2673102"/>
                  <a:gd name="connsiteX35" fmla="*/ 526458 w 1739754"/>
                  <a:gd name="connsiteY35" fmla="*/ 910977 h 2673102"/>
                  <a:gd name="connsiteX36" fmla="*/ 483596 w 1739754"/>
                  <a:gd name="connsiteY36" fmla="*/ 891927 h 2673102"/>
                  <a:gd name="connsiteX37" fmla="*/ 421683 w 1739754"/>
                  <a:gd name="connsiteY37" fmla="*/ 882402 h 2673102"/>
                  <a:gd name="connsiteX38" fmla="*/ 321671 w 1739754"/>
                  <a:gd name="connsiteY38" fmla="*/ 896689 h 2673102"/>
                  <a:gd name="connsiteX39" fmla="*/ 307383 w 1739754"/>
                  <a:gd name="connsiteY39" fmla="*/ 910977 h 2673102"/>
                  <a:gd name="connsiteX40" fmla="*/ 283571 w 1739754"/>
                  <a:gd name="connsiteY40" fmla="*/ 949077 h 2673102"/>
                  <a:gd name="connsiteX41" fmla="*/ 269283 w 1739754"/>
                  <a:gd name="connsiteY41" fmla="*/ 987177 h 2673102"/>
                  <a:gd name="connsiteX42" fmla="*/ 264521 w 1739754"/>
                  <a:gd name="connsiteY42" fmla="*/ 1039564 h 2673102"/>
                  <a:gd name="connsiteX43" fmla="*/ 264521 w 1739754"/>
                  <a:gd name="connsiteY43" fmla="*/ 1120527 h 2673102"/>
                  <a:gd name="connsiteX44" fmla="*/ 297858 w 1739754"/>
                  <a:gd name="connsiteY44" fmla="*/ 1153864 h 2673102"/>
                  <a:gd name="connsiteX45" fmla="*/ 326433 w 1739754"/>
                  <a:gd name="connsiteY45" fmla="*/ 1163389 h 2673102"/>
                  <a:gd name="connsiteX46" fmla="*/ 326433 w 1739754"/>
                  <a:gd name="connsiteY46" fmla="*/ 1244352 h 2673102"/>
                  <a:gd name="connsiteX47" fmla="*/ 312146 w 1739754"/>
                  <a:gd name="connsiteY47" fmla="*/ 1258639 h 2673102"/>
                  <a:gd name="connsiteX48" fmla="*/ 259758 w 1739754"/>
                  <a:gd name="connsiteY48" fmla="*/ 1296739 h 2673102"/>
                  <a:gd name="connsiteX49" fmla="*/ 240708 w 1739754"/>
                  <a:gd name="connsiteY49" fmla="*/ 1325314 h 2673102"/>
                  <a:gd name="connsiteX50" fmla="*/ 250233 w 1739754"/>
                  <a:gd name="connsiteY50" fmla="*/ 1425327 h 2673102"/>
                  <a:gd name="connsiteX51" fmla="*/ 278808 w 1739754"/>
                  <a:gd name="connsiteY51" fmla="*/ 1472952 h 2673102"/>
                  <a:gd name="connsiteX52" fmla="*/ 293096 w 1739754"/>
                  <a:gd name="connsiteY52" fmla="*/ 1492002 h 2673102"/>
                  <a:gd name="connsiteX53" fmla="*/ 383583 w 1739754"/>
                  <a:gd name="connsiteY53" fmla="*/ 1525339 h 2673102"/>
                  <a:gd name="connsiteX54" fmla="*/ 407396 w 1739754"/>
                  <a:gd name="connsiteY54" fmla="*/ 1492002 h 2673102"/>
                  <a:gd name="connsiteX55" fmla="*/ 412158 w 1739754"/>
                  <a:gd name="connsiteY55" fmla="*/ 1468189 h 2673102"/>
                  <a:gd name="connsiteX56" fmla="*/ 416921 w 1739754"/>
                  <a:gd name="connsiteY56" fmla="*/ 1449139 h 2673102"/>
                  <a:gd name="connsiteX57" fmla="*/ 445496 w 1739754"/>
                  <a:gd name="connsiteY57" fmla="*/ 1439614 h 2673102"/>
                  <a:gd name="connsiteX58" fmla="*/ 545508 w 1739754"/>
                  <a:gd name="connsiteY58" fmla="*/ 1458664 h 2673102"/>
                  <a:gd name="connsiteX59" fmla="*/ 555033 w 1739754"/>
                  <a:gd name="connsiteY59" fmla="*/ 1482477 h 2673102"/>
                  <a:gd name="connsiteX60" fmla="*/ 564558 w 1739754"/>
                  <a:gd name="connsiteY60" fmla="*/ 1515814 h 2673102"/>
                  <a:gd name="connsiteX61" fmla="*/ 550271 w 1739754"/>
                  <a:gd name="connsiteY61" fmla="*/ 1534864 h 2673102"/>
                  <a:gd name="connsiteX62" fmla="*/ 550271 w 1739754"/>
                  <a:gd name="connsiteY62" fmla="*/ 1601539 h 2673102"/>
                  <a:gd name="connsiteX63" fmla="*/ 559796 w 1739754"/>
                  <a:gd name="connsiteY63" fmla="*/ 1620589 h 2673102"/>
                  <a:gd name="connsiteX64" fmla="*/ 626471 w 1739754"/>
                  <a:gd name="connsiteY64" fmla="*/ 1639639 h 2673102"/>
                  <a:gd name="connsiteX65" fmla="*/ 645521 w 1739754"/>
                  <a:gd name="connsiteY65" fmla="*/ 1592014 h 2673102"/>
                  <a:gd name="connsiteX66" fmla="*/ 702671 w 1739754"/>
                  <a:gd name="connsiteY66" fmla="*/ 1620589 h 2673102"/>
                  <a:gd name="connsiteX67" fmla="*/ 731246 w 1739754"/>
                  <a:gd name="connsiteY67" fmla="*/ 1630114 h 2673102"/>
                  <a:gd name="connsiteX68" fmla="*/ 783633 w 1739754"/>
                  <a:gd name="connsiteY68" fmla="*/ 1663452 h 2673102"/>
                  <a:gd name="connsiteX69" fmla="*/ 859833 w 1739754"/>
                  <a:gd name="connsiteY69" fmla="*/ 1687264 h 2673102"/>
                  <a:gd name="connsiteX70" fmla="*/ 878883 w 1739754"/>
                  <a:gd name="connsiteY70" fmla="*/ 1701552 h 2673102"/>
                  <a:gd name="connsiteX71" fmla="*/ 888408 w 1739754"/>
                  <a:gd name="connsiteY71" fmla="*/ 1739652 h 2673102"/>
                  <a:gd name="connsiteX72" fmla="*/ 897933 w 1739754"/>
                  <a:gd name="connsiteY72" fmla="*/ 1782514 h 2673102"/>
                  <a:gd name="connsiteX73" fmla="*/ 940796 w 1739754"/>
                  <a:gd name="connsiteY73" fmla="*/ 1892052 h 2673102"/>
                  <a:gd name="connsiteX74" fmla="*/ 950321 w 1739754"/>
                  <a:gd name="connsiteY74" fmla="*/ 1906339 h 2673102"/>
                  <a:gd name="connsiteX75" fmla="*/ 959846 w 1739754"/>
                  <a:gd name="connsiteY75" fmla="*/ 1939677 h 2673102"/>
                  <a:gd name="connsiteX76" fmla="*/ 974133 w 1739754"/>
                  <a:gd name="connsiteY76" fmla="*/ 1977777 h 2673102"/>
                  <a:gd name="connsiteX77" fmla="*/ 964608 w 1739754"/>
                  <a:gd name="connsiteY77" fmla="*/ 2082552 h 2673102"/>
                  <a:gd name="connsiteX78" fmla="*/ 955083 w 1739754"/>
                  <a:gd name="connsiteY78" fmla="*/ 2101602 h 2673102"/>
                  <a:gd name="connsiteX79" fmla="*/ 926508 w 1739754"/>
                  <a:gd name="connsiteY79" fmla="*/ 2144464 h 2673102"/>
                  <a:gd name="connsiteX80" fmla="*/ 907458 w 1739754"/>
                  <a:gd name="connsiteY80" fmla="*/ 2192089 h 2673102"/>
                  <a:gd name="connsiteX81" fmla="*/ 902696 w 1739754"/>
                  <a:gd name="connsiteY81" fmla="*/ 2211139 h 2673102"/>
                  <a:gd name="connsiteX82" fmla="*/ 893171 w 1739754"/>
                  <a:gd name="connsiteY82" fmla="*/ 2239714 h 2673102"/>
                  <a:gd name="connsiteX83" fmla="*/ 897933 w 1739754"/>
                  <a:gd name="connsiteY83" fmla="*/ 2287339 h 2673102"/>
                  <a:gd name="connsiteX84" fmla="*/ 893171 w 1739754"/>
                  <a:gd name="connsiteY84" fmla="*/ 2396877 h 2673102"/>
                  <a:gd name="connsiteX85" fmla="*/ 688383 w 1739754"/>
                  <a:gd name="connsiteY85" fmla="*/ 2449264 h 2673102"/>
                  <a:gd name="connsiteX86" fmla="*/ 655046 w 1739754"/>
                  <a:gd name="connsiteY86" fmla="*/ 2473077 h 2673102"/>
                  <a:gd name="connsiteX87" fmla="*/ 607421 w 1739754"/>
                  <a:gd name="connsiteY87" fmla="*/ 2511177 h 2673102"/>
                  <a:gd name="connsiteX88" fmla="*/ 574083 w 1739754"/>
                  <a:gd name="connsiteY88" fmla="*/ 2534989 h 2673102"/>
                  <a:gd name="connsiteX89" fmla="*/ 540746 w 1739754"/>
                  <a:gd name="connsiteY89" fmla="*/ 2554039 h 2673102"/>
                  <a:gd name="connsiteX90" fmla="*/ 497883 w 1739754"/>
                  <a:gd name="connsiteY90" fmla="*/ 2587377 h 2673102"/>
                  <a:gd name="connsiteX91" fmla="*/ 483596 w 1739754"/>
                  <a:gd name="connsiteY91" fmla="*/ 2601664 h 2673102"/>
                  <a:gd name="connsiteX92" fmla="*/ 459783 w 1739754"/>
                  <a:gd name="connsiteY92" fmla="*/ 2620714 h 2673102"/>
                  <a:gd name="connsiteX93" fmla="*/ 450258 w 1739754"/>
                  <a:gd name="connsiteY93" fmla="*/ 2635002 h 2673102"/>
                  <a:gd name="connsiteX94" fmla="*/ 416921 w 1739754"/>
                  <a:gd name="connsiteY94" fmla="*/ 2654052 h 2673102"/>
                  <a:gd name="connsiteX95" fmla="*/ 374058 w 1739754"/>
                  <a:gd name="connsiteY95" fmla="*/ 2673102 h 2673102"/>
                  <a:gd name="connsiteX96" fmla="*/ 359771 w 1739754"/>
                  <a:gd name="connsiteY96" fmla="*/ 2663577 h 2673102"/>
                  <a:gd name="connsiteX97" fmla="*/ 345483 w 1739754"/>
                  <a:gd name="connsiteY97" fmla="*/ 2635002 h 2673102"/>
                  <a:gd name="connsiteX98" fmla="*/ 335958 w 1739754"/>
                  <a:gd name="connsiteY98" fmla="*/ 2620714 h 2673102"/>
                  <a:gd name="connsiteX99" fmla="*/ 297858 w 1739754"/>
                  <a:gd name="connsiteY99" fmla="*/ 2611189 h 2673102"/>
                  <a:gd name="connsiteX100" fmla="*/ 278808 w 1739754"/>
                  <a:gd name="connsiteY100" fmla="*/ 2592139 h 2673102"/>
                  <a:gd name="connsiteX101" fmla="*/ 274046 w 1739754"/>
                  <a:gd name="connsiteY101" fmla="*/ 2573089 h 2673102"/>
                  <a:gd name="connsiteX102" fmla="*/ 235946 w 1739754"/>
                  <a:gd name="connsiteY102" fmla="*/ 2539752 h 2673102"/>
                  <a:gd name="connsiteX103" fmla="*/ 231183 w 1739754"/>
                  <a:gd name="connsiteY103" fmla="*/ 2525464 h 2673102"/>
                  <a:gd name="connsiteX104" fmla="*/ 226421 w 1739754"/>
                  <a:gd name="connsiteY104" fmla="*/ 2506414 h 2673102"/>
                  <a:gd name="connsiteX105" fmla="*/ 212133 w 1739754"/>
                  <a:gd name="connsiteY105" fmla="*/ 2492127 h 2673102"/>
                  <a:gd name="connsiteX106" fmla="*/ 154983 w 1739754"/>
                  <a:gd name="connsiteY106" fmla="*/ 2439739 h 2673102"/>
                  <a:gd name="connsiteX107" fmla="*/ 150221 w 1739754"/>
                  <a:gd name="connsiteY107" fmla="*/ 2415927 h 2673102"/>
                  <a:gd name="connsiteX108" fmla="*/ 135933 w 1739754"/>
                  <a:gd name="connsiteY108" fmla="*/ 2358777 h 2673102"/>
                  <a:gd name="connsiteX109" fmla="*/ 121646 w 1739754"/>
                  <a:gd name="connsiteY109" fmla="*/ 2315914 h 2673102"/>
                  <a:gd name="connsiteX110" fmla="*/ 107358 w 1739754"/>
                  <a:gd name="connsiteY110" fmla="*/ 2258764 h 2673102"/>
                  <a:gd name="connsiteX111" fmla="*/ 102596 w 1739754"/>
                  <a:gd name="connsiteY111" fmla="*/ 2234952 h 2673102"/>
                  <a:gd name="connsiteX112" fmla="*/ 93071 w 1739754"/>
                  <a:gd name="connsiteY112" fmla="*/ 2211139 h 2673102"/>
                  <a:gd name="connsiteX113" fmla="*/ 88308 w 1739754"/>
                  <a:gd name="connsiteY113" fmla="*/ 2187327 h 2673102"/>
                  <a:gd name="connsiteX114" fmla="*/ 78783 w 1739754"/>
                  <a:gd name="connsiteY114" fmla="*/ 2111127 h 2673102"/>
                  <a:gd name="connsiteX115" fmla="*/ 97833 w 1739754"/>
                  <a:gd name="connsiteY115" fmla="*/ 1944439 h 2673102"/>
                  <a:gd name="connsiteX116" fmla="*/ 107358 w 1739754"/>
                  <a:gd name="connsiteY116" fmla="*/ 1930152 h 2673102"/>
                  <a:gd name="connsiteX117" fmla="*/ 126408 w 1739754"/>
                  <a:gd name="connsiteY117" fmla="*/ 1901577 h 2673102"/>
                  <a:gd name="connsiteX118" fmla="*/ 135933 w 1739754"/>
                  <a:gd name="connsiteY118" fmla="*/ 1868239 h 2673102"/>
                  <a:gd name="connsiteX119" fmla="*/ 131171 w 1739754"/>
                  <a:gd name="connsiteY119" fmla="*/ 1825377 h 2673102"/>
                  <a:gd name="connsiteX120" fmla="*/ 112121 w 1739754"/>
                  <a:gd name="connsiteY120" fmla="*/ 1820614 h 2673102"/>
                  <a:gd name="connsiteX121" fmla="*/ 102596 w 1739754"/>
                  <a:gd name="connsiteY121" fmla="*/ 1806327 h 2673102"/>
                  <a:gd name="connsiteX122" fmla="*/ 145458 w 1739754"/>
                  <a:gd name="connsiteY122" fmla="*/ 1720602 h 2673102"/>
                  <a:gd name="connsiteX123" fmla="*/ 159746 w 1739754"/>
                  <a:gd name="connsiteY123" fmla="*/ 1715839 h 2673102"/>
                  <a:gd name="connsiteX124" fmla="*/ 174033 w 1739754"/>
                  <a:gd name="connsiteY124" fmla="*/ 1696789 h 2673102"/>
                  <a:gd name="connsiteX125" fmla="*/ 188321 w 1739754"/>
                  <a:gd name="connsiteY125" fmla="*/ 1687264 h 2673102"/>
                  <a:gd name="connsiteX126" fmla="*/ 202608 w 1739754"/>
                  <a:gd name="connsiteY126" fmla="*/ 1653927 h 2673102"/>
                  <a:gd name="connsiteX127" fmla="*/ 193083 w 1739754"/>
                  <a:gd name="connsiteY127" fmla="*/ 1606302 h 2673102"/>
                  <a:gd name="connsiteX128" fmla="*/ 164508 w 1739754"/>
                  <a:gd name="connsiteY128" fmla="*/ 1596777 h 2673102"/>
                  <a:gd name="connsiteX129" fmla="*/ 154983 w 1739754"/>
                  <a:gd name="connsiteY129" fmla="*/ 1549152 h 2673102"/>
                  <a:gd name="connsiteX130" fmla="*/ 150221 w 1739754"/>
                  <a:gd name="connsiteY130" fmla="*/ 1411039 h 2673102"/>
                  <a:gd name="connsiteX131" fmla="*/ 140696 w 1739754"/>
                  <a:gd name="connsiteY131" fmla="*/ 1377702 h 2673102"/>
                  <a:gd name="connsiteX132" fmla="*/ 121646 w 1739754"/>
                  <a:gd name="connsiteY132" fmla="*/ 1311027 h 2673102"/>
                  <a:gd name="connsiteX133" fmla="*/ 116883 w 1739754"/>
                  <a:gd name="connsiteY133" fmla="*/ 1258639 h 2673102"/>
                  <a:gd name="connsiteX134" fmla="*/ 107358 w 1739754"/>
                  <a:gd name="connsiteY134" fmla="*/ 1244352 h 2673102"/>
                  <a:gd name="connsiteX135" fmla="*/ 93071 w 1739754"/>
                  <a:gd name="connsiteY135" fmla="*/ 1196727 h 2673102"/>
                  <a:gd name="connsiteX136" fmla="*/ 78783 w 1739754"/>
                  <a:gd name="connsiteY136" fmla="*/ 1177677 h 2673102"/>
                  <a:gd name="connsiteX137" fmla="*/ 59733 w 1739754"/>
                  <a:gd name="connsiteY137" fmla="*/ 1139577 h 2673102"/>
                  <a:gd name="connsiteX138" fmla="*/ 50208 w 1739754"/>
                  <a:gd name="connsiteY138" fmla="*/ 1111002 h 2673102"/>
                  <a:gd name="connsiteX139" fmla="*/ 45446 w 1739754"/>
                  <a:gd name="connsiteY139" fmla="*/ 1096714 h 2673102"/>
                  <a:gd name="connsiteX140" fmla="*/ 21633 w 1739754"/>
                  <a:gd name="connsiteY140" fmla="*/ 1025277 h 2673102"/>
                  <a:gd name="connsiteX141" fmla="*/ 202 w 1739754"/>
                  <a:gd name="connsiteY141" fmla="*/ 980033 h 2673102"/>
                  <a:gd name="connsiteX142" fmla="*/ 14490 w 1739754"/>
                  <a:gd name="connsiteY142" fmla="*/ 930027 h 2673102"/>
                  <a:gd name="connsiteX143" fmla="*/ 69259 w 1739754"/>
                  <a:gd name="connsiteY143" fmla="*/ 810964 h 2673102"/>
                  <a:gd name="connsiteX144" fmla="*/ 221658 w 1739754"/>
                  <a:gd name="connsiteY144" fmla="*/ 601414 h 2673102"/>
                  <a:gd name="connsiteX145" fmla="*/ 288333 w 1739754"/>
                  <a:gd name="connsiteY145" fmla="*/ 515689 h 2673102"/>
                  <a:gd name="connsiteX146" fmla="*/ 412158 w 1739754"/>
                  <a:gd name="connsiteY146" fmla="*/ 406152 h 2673102"/>
                  <a:gd name="connsiteX147" fmla="*/ 535983 w 1739754"/>
                  <a:gd name="connsiteY147" fmla="*/ 291851 h 2673102"/>
                  <a:gd name="connsiteX148" fmla="*/ 640758 w 1739754"/>
                  <a:gd name="connsiteY148" fmla="*/ 229939 h 2673102"/>
                  <a:gd name="connsiteX149" fmla="*/ 733628 w 1739754"/>
                  <a:gd name="connsiteY149" fmla="*/ 168026 h 2673102"/>
                  <a:gd name="connsiteX150" fmla="*/ 978896 w 1739754"/>
                  <a:gd name="connsiteY150" fmla="*/ 63251 h 2673102"/>
                  <a:gd name="connsiteX151" fmla="*/ 1159871 w 1739754"/>
                  <a:gd name="connsiteY151" fmla="*/ 6102 h 2673102"/>
                  <a:gd name="connsiteX152" fmla="*/ 1202733 w 1739754"/>
                  <a:gd name="connsiteY15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88396 w 1739754"/>
                  <a:gd name="connsiteY31" fmla="*/ 1020514 h 2673102"/>
                  <a:gd name="connsiteX32" fmla="*/ 769346 w 1739754"/>
                  <a:gd name="connsiteY32" fmla="*/ 1006227 h 2673102"/>
                  <a:gd name="connsiteX33" fmla="*/ 678858 w 1739754"/>
                  <a:gd name="connsiteY33" fmla="*/ 958602 h 2673102"/>
                  <a:gd name="connsiteX34" fmla="*/ 645521 w 1739754"/>
                  <a:gd name="connsiteY34" fmla="*/ 939552 h 2673102"/>
                  <a:gd name="connsiteX35" fmla="*/ 526458 w 1739754"/>
                  <a:gd name="connsiteY35" fmla="*/ 910977 h 2673102"/>
                  <a:gd name="connsiteX36" fmla="*/ 483596 w 1739754"/>
                  <a:gd name="connsiteY36" fmla="*/ 891927 h 2673102"/>
                  <a:gd name="connsiteX37" fmla="*/ 421683 w 1739754"/>
                  <a:gd name="connsiteY37" fmla="*/ 882402 h 2673102"/>
                  <a:gd name="connsiteX38" fmla="*/ 321671 w 1739754"/>
                  <a:gd name="connsiteY38" fmla="*/ 896689 h 2673102"/>
                  <a:gd name="connsiteX39" fmla="*/ 307383 w 1739754"/>
                  <a:gd name="connsiteY39" fmla="*/ 910977 h 2673102"/>
                  <a:gd name="connsiteX40" fmla="*/ 283571 w 1739754"/>
                  <a:gd name="connsiteY40" fmla="*/ 949077 h 2673102"/>
                  <a:gd name="connsiteX41" fmla="*/ 269283 w 1739754"/>
                  <a:gd name="connsiteY41" fmla="*/ 987177 h 2673102"/>
                  <a:gd name="connsiteX42" fmla="*/ 264521 w 1739754"/>
                  <a:gd name="connsiteY42" fmla="*/ 1039564 h 2673102"/>
                  <a:gd name="connsiteX43" fmla="*/ 264521 w 1739754"/>
                  <a:gd name="connsiteY43" fmla="*/ 1120527 h 2673102"/>
                  <a:gd name="connsiteX44" fmla="*/ 297858 w 1739754"/>
                  <a:gd name="connsiteY44" fmla="*/ 1153864 h 2673102"/>
                  <a:gd name="connsiteX45" fmla="*/ 326433 w 1739754"/>
                  <a:gd name="connsiteY45" fmla="*/ 1163389 h 2673102"/>
                  <a:gd name="connsiteX46" fmla="*/ 326433 w 1739754"/>
                  <a:gd name="connsiteY46" fmla="*/ 1244352 h 2673102"/>
                  <a:gd name="connsiteX47" fmla="*/ 312146 w 1739754"/>
                  <a:gd name="connsiteY47" fmla="*/ 1258639 h 2673102"/>
                  <a:gd name="connsiteX48" fmla="*/ 259758 w 1739754"/>
                  <a:gd name="connsiteY48" fmla="*/ 1296739 h 2673102"/>
                  <a:gd name="connsiteX49" fmla="*/ 240708 w 1739754"/>
                  <a:gd name="connsiteY49" fmla="*/ 1325314 h 2673102"/>
                  <a:gd name="connsiteX50" fmla="*/ 250233 w 1739754"/>
                  <a:gd name="connsiteY50" fmla="*/ 1425327 h 2673102"/>
                  <a:gd name="connsiteX51" fmla="*/ 278808 w 1739754"/>
                  <a:gd name="connsiteY51" fmla="*/ 1472952 h 2673102"/>
                  <a:gd name="connsiteX52" fmla="*/ 293096 w 1739754"/>
                  <a:gd name="connsiteY52" fmla="*/ 1492002 h 2673102"/>
                  <a:gd name="connsiteX53" fmla="*/ 383583 w 1739754"/>
                  <a:gd name="connsiteY53" fmla="*/ 1525339 h 2673102"/>
                  <a:gd name="connsiteX54" fmla="*/ 407396 w 1739754"/>
                  <a:gd name="connsiteY54" fmla="*/ 1492002 h 2673102"/>
                  <a:gd name="connsiteX55" fmla="*/ 412158 w 1739754"/>
                  <a:gd name="connsiteY55" fmla="*/ 1468189 h 2673102"/>
                  <a:gd name="connsiteX56" fmla="*/ 416921 w 1739754"/>
                  <a:gd name="connsiteY56" fmla="*/ 1449139 h 2673102"/>
                  <a:gd name="connsiteX57" fmla="*/ 445496 w 1739754"/>
                  <a:gd name="connsiteY57" fmla="*/ 1439614 h 2673102"/>
                  <a:gd name="connsiteX58" fmla="*/ 545508 w 1739754"/>
                  <a:gd name="connsiteY58" fmla="*/ 1458664 h 2673102"/>
                  <a:gd name="connsiteX59" fmla="*/ 555033 w 1739754"/>
                  <a:gd name="connsiteY59" fmla="*/ 1482477 h 2673102"/>
                  <a:gd name="connsiteX60" fmla="*/ 564558 w 1739754"/>
                  <a:gd name="connsiteY60" fmla="*/ 1515814 h 2673102"/>
                  <a:gd name="connsiteX61" fmla="*/ 550271 w 1739754"/>
                  <a:gd name="connsiteY61" fmla="*/ 1534864 h 2673102"/>
                  <a:gd name="connsiteX62" fmla="*/ 550271 w 1739754"/>
                  <a:gd name="connsiteY62" fmla="*/ 1601539 h 2673102"/>
                  <a:gd name="connsiteX63" fmla="*/ 559796 w 1739754"/>
                  <a:gd name="connsiteY63" fmla="*/ 1620589 h 2673102"/>
                  <a:gd name="connsiteX64" fmla="*/ 626471 w 1739754"/>
                  <a:gd name="connsiteY64" fmla="*/ 1639639 h 2673102"/>
                  <a:gd name="connsiteX65" fmla="*/ 645521 w 1739754"/>
                  <a:gd name="connsiteY65" fmla="*/ 1592014 h 2673102"/>
                  <a:gd name="connsiteX66" fmla="*/ 702671 w 1739754"/>
                  <a:gd name="connsiteY66" fmla="*/ 1620589 h 2673102"/>
                  <a:gd name="connsiteX67" fmla="*/ 731246 w 1739754"/>
                  <a:gd name="connsiteY67" fmla="*/ 1630114 h 2673102"/>
                  <a:gd name="connsiteX68" fmla="*/ 783633 w 1739754"/>
                  <a:gd name="connsiteY68" fmla="*/ 1663452 h 2673102"/>
                  <a:gd name="connsiteX69" fmla="*/ 859833 w 1739754"/>
                  <a:gd name="connsiteY69" fmla="*/ 1687264 h 2673102"/>
                  <a:gd name="connsiteX70" fmla="*/ 878883 w 1739754"/>
                  <a:gd name="connsiteY70" fmla="*/ 1701552 h 2673102"/>
                  <a:gd name="connsiteX71" fmla="*/ 888408 w 1739754"/>
                  <a:gd name="connsiteY71" fmla="*/ 1739652 h 2673102"/>
                  <a:gd name="connsiteX72" fmla="*/ 897933 w 1739754"/>
                  <a:gd name="connsiteY72" fmla="*/ 1782514 h 2673102"/>
                  <a:gd name="connsiteX73" fmla="*/ 940796 w 1739754"/>
                  <a:gd name="connsiteY73" fmla="*/ 1892052 h 2673102"/>
                  <a:gd name="connsiteX74" fmla="*/ 950321 w 1739754"/>
                  <a:gd name="connsiteY74" fmla="*/ 1906339 h 2673102"/>
                  <a:gd name="connsiteX75" fmla="*/ 959846 w 1739754"/>
                  <a:gd name="connsiteY75" fmla="*/ 1939677 h 2673102"/>
                  <a:gd name="connsiteX76" fmla="*/ 974133 w 1739754"/>
                  <a:gd name="connsiteY76" fmla="*/ 1977777 h 2673102"/>
                  <a:gd name="connsiteX77" fmla="*/ 964608 w 1739754"/>
                  <a:gd name="connsiteY77" fmla="*/ 2082552 h 2673102"/>
                  <a:gd name="connsiteX78" fmla="*/ 955083 w 1739754"/>
                  <a:gd name="connsiteY78" fmla="*/ 2101602 h 2673102"/>
                  <a:gd name="connsiteX79" fmla="*/ 926508 w 1739754"/>
                  <a:gd name="connsiteY79" fmla="*/ 2144464 h 2673102"/>
                  <a:gd name="connsiteX80" fmla="*/ 907458 w 1739754"/>
                  <a:gd name="connsiteY80" fmla="*/ 2192089 h 2673102"/>
                  <a:gd name="connsiteX81" fmla="*/ 902696 w 1739754"/>
                  <a:gd name="connsiteY81" fmla="*/ 2211139 h 2673102"/>
                  <a:gd name="connsiteX82" fmla="*/ 893171 w 1739754"/>
                  <a:gd name="connsiteY82" fmla="*/ 2239714 h 2673102"/>
                  <a:gd name="connsiteX83" fmla="*/ 897933 w 1739754"/>
                  <a:gd name="connsiteY83" fmla="*/ 2287339 h 2673102"/>
                  <a:gd name="connsiteX84" fmla="*/ 893171 w 1739754"/>
                  <a:gd name="connsiteY84" fmla="*/ 2396877 h 2673102"/>
                  <a:gd name="connsiteX85" fmla="*/ 688383 w 1739754"/>
                  <a:gd name="connsiteY85" fmla="*/ 2449264 h 2673102"/>
                  <a:gd name="connsiteX86" fmla="*/ 655046 w 1739754"/>
                  <a:gd name="connsiteY86" fmla="*/ 2473077 h 2673102"/>
                  <a:gd name="connsiteX87" fmla="*/ 607421 w 1739754"/>
                  <a:gd name="connsiteY87" fmla="*/ 2511177 h 2673102"/>
                  <a:gd name="connsiteX88" fmla="*/ 574083 w 1739754"/>
                  <a:gd name="connsiteY88" fmla="*/ 2534989 h 2673102"/>
                  <a:gd name="connsiteX89" fmla="*/ 540746 w 1739754"/>
                  <a:gd name="connsiteY89" fmla="*/ 2554039 h 2673102"/>
                  <a:gd name="connsiteX90" fmla="*/ 497883 w 1739754"/>
                  <a:gd name="connsiteY90" fmla="*/ 2587377 h 2673102"/>
                  <a:gd name="connsiteX91" fmla="*/ 483596 w 1739754"/>
                  <a:gd name="connsiteY91" fmla="*/ 2601664 h 2673102"/>
                  <a:gd name="connsiteX92" fmla="*/ 459783 w 1739754"/>
                  <a:gd name="connsiteY92" fmla="*/ 2620714 h 2673102"/>
                  <a:gd name="connsiteX93" fmla="*/ 450258 w 1739754"/>
                  <a:gd name="connsiteY93" fmla="*/ 2635002 h 2673102"/>
                  <a:gd name="connsiteX94" fmla="*/ 416921 w 1739754"/>
                  <a:gd name="connsiteY94" fmla="*/ 2654052 h 2673102"/>
                  <a:gd name="connsiteX95" fmla="*/ 374058 w 1739754"/>
                  <a:gd name="connsiteY95" fmla="*/ 2673102 h 2673102"/>
                  <a:gd name="connsiteX96" fmla="*/ 359771 w 1739754"/>
                  <a:gd name="connsiteY96" fmla="*/ 2663577 h 2673102"/>
                  <a:gd name="connsiteX97" fmla="*/ 345483 w 1739754"/>
                  <a:gd name="connsiteY97" fmla="*/ 2635002 h 2673102"/>
                  <a:gd name="connsiteX98" fmla="*/ 335958 w 1739754"/>
                  <a:gd name="connsiteY98" fmla="*/ 2620714 h 2673102"/>
                  <a:gd name="connsiteX99" fmla="*/ 297858 w 1739754"/>
                  <a:gd name="connsiteY99" fmla="*/ 2611189 h 2673102"/>
                  <a:gd name="connsiteX100" fmla="*/ 278808 w 1739754"/>
                  <a:gd name="connsiteY100" fmla="*/ 2592139 h 2673102"/>
                  <a:gd name="connsiteX101" fmla="*/ 274046 w 1739754"/>
                  <a:gd name="connsiteY101" fmla="*/ 2573089 h 2673102"/>
                  <a:gd name="connsiteX102" fmla="*/ 235946 w 1739754"/>
                  <a:gd name="connsiteY102" fmla="*/ 2539752 h 2673102"/>
                  <a:gd name="connsiteX103" fmla="*/ 231183 w 1739754"/>
                  <a:gd name="connsiteY103" fmla="*/ 2525464 h 2673102"/>
                  <a:gd name="connsiteX104" fmla="*/ 226421 w 1739754"/>
                  <a:gd name="connsiteY104" fmla="*/ 2506414 h 2673102"/>
                  <a:gd name="connsiteX105" fmla="*/ 212133 w 1739754"/>
                  <a:gd name="connsiteY105" fmla="*/ 2492127 h 2673102"/>
                  <a:gd name="connsiteX106" fmla="*/ 154983 w 1739754"/>
                  <a:gd name="connsiteY106" fmla="*/ 2439739 h 2673102"/>
                  <a:gd name="connsiteX107" fmla="*/ 150221 w 1739754"/>
                  <a:gd name="connsiteY107" fmla="*/ 2415927 h 2673102"/>
                  <a:gd name="connsiteX108" fmla="*/ 135933 w 1739754"/>
                  <a:gd name="connsiteY108" fmla="*/ 2358777 h 2673102"/>
                  <a:gd name="connsiteX109" fmla="*/ 121646 w 1739754"/>
                  <a:gd name="connsiteY109" fmla="*/ 2315914 h 2673102"/>
                  <a:gd name="connsiteX110" fmla="*/ 107358 w 1739754"/>
                  <a:gd name="connsiteY110" fmla="*/ 2258764 h 2673102"/>
                  <a:gd name="connsiteX111" fmla="*/ 102596 w 1739754"/>
                  <a:gd name="connsiteY111" fmla="*/ 2234952 h 2673102"/>
                  <a:gd name="connsiteX112" fmla="*/ 93071 w 1739754"/>
                  <a:gd name="connsiteY112" fmla="*/ 2211139 h 2673102"/>
                  <a:gd name="connsiteX113" fmla="*/ 88308 w 1739754"/>
                  <a:gd name="connsiteY113" fmla="*/ 2187327 h 2673102"/>
                  <a:gd name="connsiteX114" fmla="*/ 78783 w 1739754"/>
                  <a:gd name="connsiteY114" fmla="*/ 2111127 h 2673102"/>
                  <a:gd name="connsiteX115" fmla="*/ 97833 w 1739754"/>
                  <a:gd name="connsiteY115" fmla="*/ 1944439 h 2673102"/>
                  <a:gd name="connsiteX116" fmla="*/ 107358 w 1739754"/>
                  <a:gd name="connsiteY116" fmla="*/ 1930152 h 2673102"/>
                  <a:gd name="connsiteX117" fmla="*/ 126408 w 1739754"/>
                  <a:gd name="connsiteY117" fmla="*/ 1901577 h 2673102"/>
                  <a:gd name="connsiteX118" fmla="*/ 135933 w 1739754"/>
                  <a:gd name="connsiteY118" fmla="*/ 1868239 h 2673102"/>
                  <a:gd name="connsiteX119" fmla="*/ 131171 w 1739754"/>
                  <a:gd name="connsiteY119" fmla="*/ 1825377 h 2673102"/>
                  <a:gd name="connsiteX120" fmla="*/ 112121 w 1739754"/>
                  <a:gd name="connsiteY120" fmla="*/ 1820614 h 2673102"/>
                  <a:gd name="connsiteX121" fmla="*/ 102596 w 1739754"/>
                  <a:gd name="connsiteY121" fmla="*/ 1806327 h 2673102"/>
                  <a:gd name="connsiteX122" fmla="*/ 145458 w 1739754"/>
                  <a:gd name="connsiteY122" fmla="*/ 1720602 h 2673102"/>
                  <a:gd name="connsiteX123" fmla="*/ 159746 w 1739754"/>
                  <a:gd name="connsiteY123" fmla="*/ 1715839 h 2673102"/>
                  <a:gd name="connsiteX124" fmla="*/ 174033 w 1739754"/>
                  <a:gd name="connsiteY124" fmla="*/ 1696789 h 2673102"/>
                  <a:gd name="connsiteX125" fmla="*/ 188321 w 1739754"/>
                  <a:gd name="connsiteY125" fmla="*/ 1687264 h 2673102"/>
                  <a:gd name="connsiteX126" fmla="*/ 202608 w 1739754"/>
                  <a:gd name="connsiteY126" fmla="*/ 1653927 h 2673102"/>
                  <a:gd name="connsiteX127" fmla="*/ 193083 w 1739754"/>
                  <a:gd name="connsiteY127" fmla="*/ 1606302 h 2673102"/>
                  <a:gd name="connsiteX128" fmla="*/ 164508 w 1739754"/>
                  <a:gd name="connsiteY128" fmla="*/ 1596777 h 2673102"/>
                  <a:gd name="connsiteX129" fmla="*/ 154983 w 1739754"/>
                  <a:gd name="connsiteY129" fmla="*/ 1549152 h 2673102"/>
                  <a:gd name="connsiteX130" fmla="*/ 150221 w 1739754"/>
                  <a:gd name="connsiteY130" fmla="*/ 1411039 h 2673102"/>
                  <a:gd name="connsiteX131" fmla="*/ 140696 w 1739754"/>
                  <a:gd name="connsiteY131" fmla="*/ 1377702 h 2673102"/>
                  <a:gd name="connsiteX132" fmla="*/ 121646 w 1739754"/>
                  <a:gd name="connsiteY132" fmla="*/ 1311027 h 2673102"/>
                  <a:gd name="connsiteX133" fmla="*/ 116883 w 1739754"/>
                  <a:gd name="connsiteY133" fmla="*/ 1258639 h 2673102"/>
                  <a:gd name="connsiteX134" fmla="*/ 107358 w 1739754"/>
                  <a:gd name="connsiteY134" fmla="*/ 1244352 h 2673102"/>
                  <a:gd name="connsiteX135" fmla="*/ 93071 w 1739754"/>
                  <a:gd name="connsiteY135" fmla="*/ 1196727 h 2673102"/>
                  <a:gd name="connsiteX136" fmla="*/ 78783 w 1739754"/>
                  <a:gd name="connsiteY136" fmla="*/ 1177677 h 2673102"/>
                  <a:gd name="connsiteX137" fmla="*/ 59733 w 1739754"/>
                  <a:gd name="connsiteY137" fmla="*/ 1139577 h 2673102"/>
                  <a:gd name="connsiteX138" fmla="*/ 50208 w 1739754"/>
                  <a:gd name="connsiteY138" fmla="*/ 1111002 h 2673102"/>
                  <a:gd name="connsiteX139" fmla="*/ 45446 w 1739754"/>
                  <a:gd name="connsiteY139" fmla="*/ 1096714 h 2673102"/>
                  <a:gd name="connsiteX140" fmla="*/ 21633 w 1739754"/>
                  <a:gd name="connsiteY140" fmla="*/ 1025277 h 2673102"/>
                  <a:gd name="connsiteX141" fmla="*/ 202 w 1739754"/>
                  <a:gd name="connsiteY141" fmla="*/ 980033 h 2673102"/>
                  <a:gd name="connsiteX142" fmla="*/ 14490 w 1739754"/>
                  <a:gd name="connsiteY142" fmla="*/ 930027 h 2673102"/>
                  <a:gd name="connsiteX143" fmla="*/ 69259 w 1739754"/>
                  <a:gd name="connsiteY143" fmla="*/ 810964 h 2673102"/>
                  <a:gd name="connsiteX144" fmla="*/ 221658 w 1739754"/>
                  <a:gd name="connsiteY144" fmla="*/ 601414 h 2673102"/>
                  <a:gd name="connsiteX145" fmla="*/ 288333 w 1739754"/>
                  <a:gd name="connsiteY145" fmla="*/ 515689 h 2673102"/>
                  <a:gd name="connsiteX146" fmla="*/ 412158 w 1739754"/>
                  <a:gd name="connsiteY146" fmla="*/ 406152 h 2673102"/>
                  <a:gd name="connsiteX147" fmla="*/ 535983 w 1739754"/>
                  <a:gd name="connsiteY147" fmla="*/ 291851 h 2673102"/>
                  <a:gd name="connsiteX148" fmla="*/ 640758 w 1739754"/>
                  <a:gd name="connsiteY148" fmla="*/ 229939 h 2673102"/>
                  <a:gd name="connsiteX149" fmla="*/ 733628 w 1739754"/>
                  <a:gd name="connsiteY149" fmla="*/ 168026 h 2673102"/>
                  <a:gd name="connsiteX150" fmla="*/ 978896 w 1739754"/>
                  <a:gd name="connsiteY150" fmla="*/ 63251 h 2673102"/>
                  <a:gd name="connsiteX151" fmla="*/ 1159871 w 1739754"/>
                  <a:gd name="connsiteY151" fmla="*/ 6102 h 2673102"/>
                  <a:gd name="connsiteX152" fmla="*/ 1202733 w 1739754"/>
                  <a:gd name="connsiteY15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83596 w 1739754"/>
                  <a:gd name="connsiteY35" fmla="*/ 891927 h 2673102"/>
                  <a:gd name="connsiteX36" fmla="*/ 421683 w 1739754"/>
                  <a:gd name="connsiteY36" fmla="*/ 882402 h 2673102"/>
                  <a:gd name="connsiteX37" fmla="*/ 321671 w 1739754"/>
                  <a:gd name="connsiteY37" fmla="*/ 896689 h 2673102"/>
                  <a:gd name="connsiteX38" fmla="*/ 307383 w 1739754"/>
                  <a:gd name="connsiteY38" fmla="*/ 910977 h 2673102"/>
                  <a:gd name="connsiteX39" fmla="*/ 283571 w 1739754"/>
                  <a:gd name="connsiteY39" fmla="*/ 949077 h 2673102"/>
                  <a:gd name="connsiteX40" fmla="*/ 269283 w 1739754"/>
                  <a:gd name="connsiteY40" fmla="*/ 987177 h 2673102"/>
                  <a:gd name="connsiteX41" fmla="*/ 264521 w 1739754"/>
                  <a:gd name="connsiteY41" fmla="*/ 1039564 h 2673102"/>
                  <a:gd name="connsiteX42" fmla="*/ 264521 w 1739754"/>
                  <a:gd name="connsiteY42" fmla="*/ 1120527 h 2673102"/>
                  <a:gd name="connsiteX43" fmla="*/ 297858 w 1739754"/>
                  <a:gd name="connsiteY43" fmla="*/ 1153864 h 2673102"/>
                  <a:gd name="connsiteX44" fmla="*/ 326433 w 1739754"/>
                  <a:gd name="connsiteY44" fmla="*/ 1163389 h 2673102"/>
                  <a:gd name="connsiteX45" fmla="*/ 326433 w 1739754"/>
                  <a:gd name="connsiteY45" fmla="*/ 1244352 h 2673102"/>
                  <a:gd name="connsiteX46" fmla="*/ 312146 w 1739754"/>
                  <a:gd name="connsiteY46" fmla="*/ 1258639 h 2673102"/>
                  <a:gd name="connsiteX47" fmla="*/ 259758 w 1739754"/>
                  <a:gd name="connsiteY47" fmla="*/ 1296739 h 2673102"/>
                  <a:gd name="connsiteX48" fmla="*/ 240708 w 1739754"/>
                  <a:gd name="connsiteY48" fmla="*/ 1325314 h 2673102"/>
                  <a:gd name="connsiteX49" fmla="*/ 250233 w 1739754"/>
                  <a:gd name="connsiteY49" fmla="*/ 1425327 h 2673102"/>
                  <a:gd name="connsiteX50" fmla="*/ 278808 w 1739754"/>
                  <a:gd name="connsiteY50" fmla="*/ 1472952 h 2673102"/>
                  <a:gd name="connsiteX51" fmla="*/ 293096 w 1739754"/>
                  <a:gd name="connsiteY51" fmla="*/ 1492002 h 2673102"/>
                  <a:gd name="connsiteX52" fmla="*/ 383583 w 1739754"/>
                  <a:gd name="connsiteY52" fmla="*/ 1525339 h 2673102"/>
                  <a:gd name="connsiteX53" fmla="*/ 407396 w 1739754"/>
                  <a:gd name="connsiteY53" fmla="*/ 1492002 h 2673102"/>
                  <a:gd name="connsiteX54" fmla="*/ 412158 w 1739754"/>
                  <a:gd name="connsiteY54" fmla="*/ 1468189 h 2673102"/>
                  <a:gd name="connsiteX55" fmla="*/ 416921 w 1739754"/>
                  <a:gd name="connsiteY55" fmla="*/ 1449139 h 2673102"/>
                  <a:gd name="connsiteX56" fmla="*/ 445496 w 1739754"/>
                  <a:gd name="connsiteY56" fmla="*/ 1439614 h 2673102"/>
                  <a:gd name="connsiteX57" fmla="*/ 545508 w 1739754"/>
                  <a:gd name="connsiteY57" fmla="*/ 1458664 h 2673102"/>
                  <a:gd name="connsiteX58" fmla="*/ 555033 w 1739754"/>
                  <a:gd name="connsiteY58" fmla="*/ 1482477 h 2673102"/>
                  <a:gd name="connsiteX59" fmla="*/ 564558 w 1739754"/>
                  <a:gd name="connsiteY59" fmla="*/ 1515814 h 2673102"/>
                  <a:gd name="connsiteX60" fmla="*/ 550271 w 1739754"/>
                  <a:gd name="connsiteY60" fmla="*/ 1534864 h 2673102"/>
                  <a:gd name="connsiteX61" fmla="*/ 550271 w 1739754"/>
                  <a:gd name="connsiteY61" fmla="*/ 1601539 h 2673102"/>
                  <a:gd name="connsiteX62" fmla="*/ 559796 w 1739754"/>
                  <a:gd name="connsiteY62" fmla="*/ 1620589 h 2673102"/>
                  <a:gd name="connsiteX63" fmla="*/ 626471 w 1739754"/>
                  <a:gd name="connsiteY63" fmla="*/ 1639639 h 2673102"/>
                  <a:gd name="connsiteX64" fmla="*/ 645521 w 1739754"/>
                  <a:gd name="connsiteY64" fmla="*/ 1592014 h 2673102"/>
                  <a:gd name="connsiteX65" fmla="*/ 702671 w 1739754"/>
                  <a:gd name="connsiteY65" fmla="*/ 1620589 h 2673102"/>
                  <a:gd name="connsiteX66" fmla="*/ 731246 w 1739754"/>
                  <a:gd name="connsiteY66" fmla="*/ 1630114 h 2673102"/>
                  <a:gd name="connsiteX67" fmla="*/ 783633 w 1739754"/>
                  <a:gd name="connsiteY67" fmla="*/ 1663452 h 2673102"/>
                  <a:gd name="connsiteX68" fmla="*/ 859833 w 1739754"/>
                  <a:gd name="connsiteY68" fmla="*/ 1687264 h 2673102"/>
                  <a:gd name="connsiteX69" fmla="*/ 878883 w 1739754"/>
                  <a:gd name="connsiteY69" fmla="*/ 1701552 h 2673102"/>
                  <a:gd name="connsiteX70" fmla="*/ 888408 w 1739754"/>
                  <a:gd name="connsiteY70" fmla="*/ 1739652 h 2673102"/>
                  <a:gd name="connsiteX71" fmla="*/ 897933 w 1739754"/>
                  <a:gd name="connsiteY71" fmla="*/ 1782514 h 2673102"/>
                  <a:gd name="connsiteX72" fmla="*/ 940796 w 1739754"/>
                  <a:gd name="connsiteY72" fmla="*/ 1892052 h 2673102"/>
                  <a:gd name="connsiteX73" fmla="*/ 950321 w 1739754"/>
                  <a:gd name="connsiteY73" fmla="*/ 1906339 h 2673102"/>
                  <a:gd name="connsiteX74" fmla="*/ 959846 w 1739754"/>
                  <a:gd name="connsiteY74" fmla="*/ 1939677 h 2673102"/>
                  <a:gd name="connsiteX75" fmla="*/ 974133 w 1739754"/>
                  <a:gd name="connsiteY75" fmla="*/ 1977777 h 2673102"/>
                  <a:gd name="connsiteX76" fmla="*/ 964608 w 1739754"/>
                  <a:gd name="connsiteY76" fmla="*/ 2082552 h 2673102"/>
                  <a:gd name="connsiteX77" fmla="*/ 955083 w 1739754"/>
                  <a:gd name="connsiteY77" fmla="*/ 2101602 h 2673102"/>
                  <a:gd name="connsiteX78" fmla="*/ 926508 w 1739754"/>
                  <a:gd name="connsiteY78" fmla="*/ 2144464 h 2673102"/>
                  <a:gd name="connsiteX79" fmla="*/ 907458 w 1739754"/>
                  <a:gd name="connsiteY79" fmla="*/ 2192089 h 2673102"/>
                  <a:gd name="connsiteX80" fmla="*/ 902696 w 1739754"/>
                  <a:gd name="connsiteY80" fmla="*/ 2211139 h 2673102"/>
                  <a:gd name="connsiteX81" fmla="*/ 893171 w 1739754"/>
                  <a:gd name="connsiteY81" fmla="*/ 2239714 h 2673102"/>
                  <a:gd name="connsiteX82" fmla="*/ 897933 w 1739754"/>
                  <a:gd name="connsiteY82" fmla="*/ 2287339 h 2673102"/>
                  <a:gd name="connsiteX83" fmla="*/ 893171 w 1739754"/>
                  <a:gd name="connsiteY83" fmla="*/ 2396877 h 2673102"/>
                  <a:gd name="connsiteX84" fmla="*/ 688383 w 1739754"/>
                  <a:gd name="connsiteY84" fmla="*/ 2449264 h 2673102"/>
                  <a:gd name="connsiteX85" fmla="*/ 655046 w 1739754"/>
                  <a:gd name="connsiteY85" fmla="*/ 2473077 h 2673102"/>
                  <a:gd name="connsiteX86" fmla="*/ 607421 w 1739754"/>
                  <a:gd name="connsiteY86" fmla="*/ 2511177 h 2673102"/>
                  <a:gd name="connsiteX87" fmla="*/ 574083 w 1739754"/>
                  <a:gd name="connsiteY87" fmla="*/ 2534989 h 2673102"/>
                  <a:gd name="connsiteX88" fmla="*/ 540746 w 1739754"/>
                  <a:gd name="connsiteY88" fmla="*/ 2554039 h 2673102"/>
                  <a:gd name="connsiteX89" fmla="*/ 497883 w 1739754"/>
                  <a:gd name="connsiteY89" fmla="*/ 2587377 h 2673102"/>
                  <a:gd name="connsiteX90" fmla="*/ 483596 w 1739754"/>
                  <a:gd name="connsiteY90" fmla="*/ 2601664 h 2673102"/>
                  <a:gd name="connsiteX91" fmla="*/ 459783 w 1739754"/>
                  <a:gd name="connsiteY91" fmla="*/ 2620714 h 2673102"/>
                  <a:gd name="connsiteX92" fmla="*/ 450258 w 1739754"/>
                  <a:gd name="connsiteY92" fmla="*/ 2635002 h 2673102"/>
                  <a:gd name="connsiteX93" fmla="*/ 416921 w 1739754"/>
                  <a:gd name="connsiteY93" fmla="*/ 2654052 h 2673102"/>
                  <a:gd name="connsiteX94" fmla="*/ 374058 w 1739754"/>
                  <a:gd name="connsiteY94" fmla="*/ 2673102 h 2673102"/>
                  <a:gd name="connsiteX95" fmla="*/ 359771 w 1739754"/>
                  <a:gd name="connsiteY95" fmla="*/ 2663577 h 2673102"/>
                  <a:gd name="connsiteX96" fmla="*/ 345483 w 1739754"/>
                  <a:gd name="connsiteY96" fmla="*/ 2635002 h 2673102"/>
                  <a:gd name="connsiteX97" fmla="*/ 335958 w 1739754"/>
                  <a:gd name="connsiteY97" fmla="*/ 2620714 h 2673102"/>
                  <a:gd name="connsiteX98" fmla="*/ 297858 w 1739754"/>
                  <a:gd name="connsiteY98" fmla="*/ 2611189 h 2673102"/>
                  <a:gd name="connsiteX99" fmla="*/ 278808 w 1739754"/>
                  <a:gd name="connsiteY99" fmla="*/ 2592139 h 2673102"/>
                  <a:gd name="connsiteX100" fmla="*/ 274046 w 1739754"/>
                  <a:gd name="connsiteY100" fmla="*/ 2573089 h 2673102"/>
                  <a:gd name="connsiteX101" fmla="*/ 235946 w 1739754"/>
                  <a:gd name="connsiteY101" fmla="*/ 2539752 h 2673102"/>
                  <a:gd name="connsiteX102" fmla="*/ 231183 w 1739754"/>
                  <a:gd name="connsiteY102" fmla="*/ 2525464 h 2673102"/>
                  <a:gd name="connsiteX103" fmla="*/ 226421 w 1739754"/>
                  <a:gd name="connsiteY103" fmla="*/ 2506414 h 2673102"/>
                  <a:gd name="connsiteX104" fmla="*/ 212133 w 1739754"/>
                  <a:gd name="connsiteY104" fmla="*/ 2492127 h 2673102"/>
                  <a:gd name="connsiteX105" fmla="*/ 154983 w 1739754"/>
                  <a:gd name="connsiteY105" fmla="*/ 2439739 h 2673102"/>
                  <a:gd name="connsiteX106" fmla="*/ 150221 w 1739754"/>
                  <a:gd name="connsiteY106" fmla="*/ 2415927 h 2673102"/>
                  <a:gd name="connsiteX107" fmla="*/ 135933 w 1739754"/>
                  <a:gd name="connsiteY107" fmla="*/ 2358777 h 2673102"/>
                  <a:gd name="connsiteX108" fmla="*/ 121646 w 1739754"/>
                  <a:gd name="connsiteY108" fmla="*/ 2315914 h 2673102"/>
                  <a:gd name="connsiteX109" fmla="*/ 107358 w 1739754"/>
                  <a:gd name="connsiteY109" fmla="*/ 2258764 h 2673102"/>
                  <a:gd name="connsiteX110" fmla="*/ 102596 w 1739754"/>
                  <a:gd name="connsiteY110" fmla="*/ 2234952 h 2673102"/>
                  <a:gd name="connsiteX111" fmla="*/ 93071 w 1739754"/>
                  <a:gd name="connsiteY111" fmla="*/ 2211139 h 2673102"/>
                  <a:gd name="connsiteX112" fmla="*/ 88308 w 1739754"/>
                  <a:gd name="connsiteY112" fmla="*/ 2187327 h 2673102"/>
                  <a:gd name="connsiteX113" fmla="*/ 78783 w 1739754"/>
                  <a:gd name="connsiteY113" fmla="*/ 2111127 h 2673102"/>
                  <a:gd name="connsiteX114" fmla="*/ 97833 w 1739754"/>
                  <a:gd name="connsiteY114" fmla="*/ 1944439 h 2673102"/>
                  <a:gd name="connsiteX115" fmla="*/ 107358 w 1739754"/>
                  <a:gd name="connsiteY115" fmla="*/ 1930152 h 2673102"/>
                  <a:gd name="connsiteX116" fmla="*/ 126408 w 1739754"/>
                  <a:gd name="connsiteY116" fmla="*/ 1901577 h 2673102"/>
                  <a:gd name="connsiteX117" fmla="*/ 135933 w 1739754"/>
                  <a:gd name="connsiteY117" fmla="*/ 1868239 h 2673102"/>
                  <a:gd name="connsiteX118" fmla="*/ 131171 w 1739754"/>
                  <a:gd name="connsiteY118" fmla="*/ 1825377 h 2673102"/>
                  <a:gd name="connsiteX119" fmla="*/ 112121 w 1739754"/>
                  <a:gd name="connsiteY119" fmla="*/ 1820614 h 2673102"/>
                  <a:gd name="connsiteX120" fmla="*/ 102596 w 1739754"/>
                  <a:gd name="connsiteY120" fmla="*/ 1806327 h 2673102"/>
                  <a:gd name="connsiteX121" fmla="*/ 145458 w 1739754"/>
                  <a:gd name="connsiteY121" fmla="*/ 1720602 h 2673102"/>
                  <a:gd name="connsiteX122" fmla="*/ 159746 w 1739754"/>
                  <a:gd name="connsiteY122" fmla="*/ 1715839 h 2673102"/>
                  <a:gd name="connsiteX123" fmla="*/ 174033 w 1739754"/>
                  <a:gd name="connsiteY123" fmla="*/ 1696789 h 2673102"/>
                  <a:gd name="connsiteX124" fmla="*/ 188321 w 1739754"/>
                  <a:gd name="connsiteY124" fmla="*/ 1687264 h 2673102"/>
                  <a:gd name="connsiteX125" fmla="*/ 202608 w 1739754"/>
                  <a:gd name="connsiteY125" fmla="*/ 1653927 h 2673102"/>
                  <a:gd name="connsiteX126" fmla="*/ 193083 w 1739754"/>
                  <a:gd name="connsiteY126" fmla="*/ 1606302 h 2673102"/>
                  <a:gd name="connsiteX127" fmla="*/ 164508 w 1739754"/>
                  <a:gd name="connsiteY127" fmla="*/ 1596777 h 2673102"/>
                  <a:gd name="connsiteX128" fmla="*/ 154983 w 1739754"/>
                  <a:gd name="connsiteY128" fmla="*/ 1549152 h 2673102"/>
                  <a:gd name="connsiteX129" fmla="*/ 150221 w 1739754"/>
                  <a:gd name="connsiteY129" fmla="*/ 1411039 h 2673102"/>
                  <a:gd name="connsiteX130" fmla="*/ 140696 w 1739754"/>
                  <a:gd name="connsiteY130" fmla="*/ 1377702 h 2673102"/>
                  <a:gd name="connsiteX131" fmla="*/ 121646 w 1739754"/>
                  <a:gd name="connsiteY131" fmla="*/ 1311027 h 2673102"/>
                  <a:gd name="connsiteX132" fmla="*/ 116883 w 1739754"/>
                  <a:gd name="connsiteY132" fmla="*/ 1258639 h 2673102"/>
                  <a:gd name="connsiteX133" fmla="*/ 107358 w 1739754"/>
                  <a:gd name="connsiteY133" fmla="*/ 1244352 h 2673102"/>
                  <a:gd name="connsiteX134" fmla="*/ 93071 w 1739754"/>
                  <a:gd name="connsiteY134" fmla="*/ 1196727 h 2673102"/>
                  <a:gd name="connsiteX135" fmla="*/ 78783 w 1739754"/>
                  <a:gd name="connsiteY135" fmla="*/ 1177677 h 2673102"/>
                  <a:gd name="connsiteX136" fmla="*/ 59733 w 1739754"/>
                  <a:gd name="connsiteY136" fmla="*/ 1139577 h 2673102"/>
                  <a:gd name="connsiteX137" fmla="*/ 50208 w 1739754"/>
                  <a:gd name="connsiteY137" fmla="*/ 1111002 h 2673102"/>
                  <a:gd name="connsiteX138" fmla="*/ 45446 w 1739754"/>
                  <a:gd name="connsiteY138" fmla="*/ 1096714 h 2673102"/>
                  <a:gd name="connsiteX139" fmla="*/ 21633 w 1739754"/>
                  <a:gd name="connsiteY139" fmla="*/ 1025277 h 2673102"/>
                  <a:gd name="connsiteX140" fmla="*/ 202 w 1739754"/>
                  <a:gd name="connsiteY140" fmla="*/ 980033 h 2673102"/>
                  <a:gd name="connsiteX141" fmla="*/ 14490 w 1739754"/>
                  <a:gd name="connsiteY141" fmla="*/ 930027 h 2673102"/>
                  <a:gd name="connsiteX142" fmla="*/ 69259 w 1739754"/>
                  <a:gd name="connsiteY142" fmla="*/ 810964 h 2673102"/>
                  <a:gd name="connsiteX143" fmla="*/ 221658 w 1739754"/>
                  <a:gd name="connsiteY143" fmla="*/ 601414 h 2673102"/>
                  <a:gd name="connsiteX144" fmla="*/ 288333 w 1739754"/>
                  <a:gd name="connsiteY144" fmla="*/ 515689 h 2673102"/>
                  <a:gd name="connsiteX145" fmla="*/ 412158 w 1739754"/>
                  <a:gd name="connsiteY145" fmla="*/ 406152 h 2673102"/>
                  <a:gd name="connsiteX146" fmla="*/ 535983 w 1739754"/>
                  <a:gd name="connsiteY146" fmla="*/ 291851 h 2673102"/>
                  <a:gd name="connsiteX147" fmla="*/ 640758 w 1739754"/>
                  <a:gd name="connsiteY147" fmla="*/ 229939 h 2673102"/>
                  <a:gd name="connsiteX148" fmla="*/ 733628 w 1739754"/>
                  <a:gd name="connsiteY148" fmla="*/ 168026 h 2673102"/>
                  <a:gd name="connsiteX149" fmla="*/ 978896 w 1739754"/>
                  <a:gd name="connsiteY149" fmla="*/ 63251 h 2673102"/>
                  <a:gd name="connsiteX150" fmla="*/ 1159871 w 1739754"/>
                  <a:gd name="connsiteY150" fmla="*/ 6102 h 2673102"/>
                  <a:gd name="connsiteX151" fmla="*/ 1202733 w 1739754"/>
                  <a:gd name="connsiteY15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307383 w 1739754"/>
                  <a:gd name="connsiteY37" fmla="*/ 910977 h 2673102"/>
                  <a:gd name="connsiteX38" fmla="*/ 283571 w 1739754"/>
                  <a:gd name="connsiteY38" fmla="*/ 949077 h 2673102"/>
                  <a:gd name="connsiteX39" fmla="*/ 269283 w 1739754"/>
                  <a:gd name="connsiteY39" fmla="*/ 987177 h 2673102"/>
                  <a:gd name="connsiteX40" fmla="*/ 264521 w 1739754"/>
                  <a:gd name="connsiteY40" fmla="*/ 1039564 h 2673102"/>
                  <a:gd name="connsiteX41" fmla="*/ 264521 w 1739754"/>
                  <a:gd name="connsiteY41" fmla="*/ 1120527 h 2673102"/>
                  <a:gd name="connsiteX42" fmla="*/ 297858 w 1739754"/>
                  <a:gd name="connsiteY42" fmla="*/ 1153864 h 2673102"/>
                  <a:gd name="connsiteX43" fmla="*/ 326433 w 1739754"/>
                  <a:gd name="connsiteY43" fmla="*/ 1163389 h 2673102"/>
                  <a:gd name="connsiteX44" fmla="*/ 326433 w 1739754"/>
                  <a:gd name="connsiteY44" fmla="*/ 1244352 h 2673102"/>
                  <a:gd name="connsiteX45" fmla="*/ 312146 w 1739754"/>
                  <a:gd name="connsiteY45" fmla="*/ 1258639 h 2673102"/>
                  <a:gd name="connsiteX46" fmla="*/ 259758 w 1739754"/>
                  <a:gd name="connsiteY46" fmla="*/ 1296739 h 2673102"/>
                  <a:gd name="connsiteX47" fmla="*/ 240708 w 1739754"/>
                  <a:gd name="connsiteY47" fmla="*/ 1325314 h 2673102"/>
                  <a:gd name="connsiteX48" fmla="*/ 250233 w 1739754"/>
                  <a:gd name="connsiteY48" fmla="*/ 1425327 h 2673102"/>
                  <a:gd name="connsiteX49" fmla="*/ 278808 w 1739754"/>
                  <a:gd name="connsiteY49" fmla="*/ 1472952 h 2673102"/>
                  <a:gd name="connsiteX50" fmla="*/ 293096 w 1739754"/>
                  <a:gd name="connsiteY50" fmla="*/ 1492002 h 2673102"/>
                  <a:gd name="connsiteX51" fmla="*/ 383583 w 1739754"/>
                  <a:gd name="connsiteY51" fmla="*/ 1525339 h 2673102"/>
                  <a:gd name="connsiteX52" fmla="*/ 407396 w 1739754"/>
                  <a:gd name="connsiteY52" fmla="*/ 1492002 h 2673102"/>
                  <a:gd name="connsiteX53" fmla="*/ 412158 w 1739754"/>
                  <a:gd name="connsiteY53" fmla="*/ 1468189 h 2673102"/>
                  <a:gd name="connsiteX54" fmla="*/ 416921 w 1739754"/>
                  <a:gd name="connsiteY54" fmla="*/ 1449139 h 2673102"/>
                  <a:gd name="connsiteX55" fmla="*/ 445496 w 1739754"/>
                  <a:gd name="connsiteY55" fmla="*/ 1439614 h 2673102"/>
                  <a:gd name="connsiteX56" fmla="*/ 545508 w 1739754"/>
                  <a:gd name="connsiteY56" fmla="*/ 1458664 h 2673102"/>
                  <a:gd name="connsiteX57" fmla="*/ 555033 w 1739754"/>
                  <a:gd name="connsiteY57" fmla="*/ 1482477 h 2673102"/>
                  <a:gd name="connsiteX58" fmla="*/ 564558 w 1739754"/>
                  <a:gd name="connsiteY58" fmla="*/ 1515814 h 2673102"/>
                  <a:gd name="connsiteX59" fmla="*/ 550271 w 1739754"/>
                  <a:gd name="connsiteY59" fmla="*/ 1534864 h 2673102"/>
                  <a:gd name="connsiteX60" fmla="*/ 550271 w 1739754"/>
                  <a:gd name="connsiteY60" fmla="*/ 1601539 h 2673102"/>
                  <a:gd name="connsiteX61" fmla="*/ 559796 w 1739754"/>
                  <a:gd name="connsiteY61" fmla="*/ 1620589 h 2673102"/>
                  <a:gd name="connsiteX62" fmla="*/ 626471 w 1739754"/>
                  <a:gd name="connsiteY62" fmla="*/ 1639639 h 2673102"/>
                  <a:gd name="connsiteX63" fmla="*/ 645521 w 1739754"/>
                  <a:gd name="connsiteY63" fmla="*/ 1592014 h 2673102"/>
                  <a:gd name="connsiteX64" fmla="*/ 702671 w 1739754"/>
                  <a:gd name="connsiteY64" fmla="*/ 1620589 h 2673102"/>
                  <a:gd name="connsiteX65" fmla="*/ 731246 w 1739754"/>
                  <a:gd name="connsiteY65" fmla="*/ 1630114 h 2673102"/>
                  <a:gd name="connsiteX66" fmla="*/ 783633 w 1739754"/>
                  <a:gd name="connsiteY66" fmla="*/ 1663452 h 2673102"/>
                  <a:gd name="connsiteX67" fmla="*/ 859833 w 1739754"/>
                  <a:gd name="connsiteY67" fmla="*/ 1687264 h 2673102"/>
                  <a:gd name="connsiteX68" fmla="*/ 878883 w 1739754"/>
                  <a:gd name="connsiteY68" fmla="*/ 1701552 h 2673102"/>
                  <a:gd name="connsiteX69" fmla="*/ 888408 w 1739754"/>
                  <a:gd name="connsiteY69" fmla="*/ 1739652 h 2673102"/>
                  <a:gd name="connsiteX70" fmla="*/ 897933 w 1739754"/>
                  <a:gd name="connsiteY70" fmla="*/ 1782514 h 2673102"/>
                  <a:gd name="connsiteX71" fmla="*/ 940796 w 1739754"/>
                  <a:gd name="connsiteY71" fmla="*/ 1892052 h 2673102"/>
                  <a:gd name="connsiteX72" fmla="*/ 950321 w 1739754"/>
                  <a:gd name="connsiteY72" fmla="*/ 1906339 h 2673102"/>
                  <a:gd name="connsiteX73" fmla="*/ 959846 w 1739754"/>
                  <a:gd name="connsiteY73" fmla="*/ 1939677 h 2673102"/>
                  <a:gd name="connsiteX74" fmla="*/ 974133 w 1739754"/>
                  <a:gd name="connsiteY74" fmla="*/ 1977777 h 2673102"/>
                  <a:gd name="connsiteX75" fmla="*/ 964608 w 1739754"/>
                  <a:gd name="connsiteY75" fmla="*/ 2082552 h 2673102"/>
                  <a:gd name="connsiteX76" fmla="*/ 955083 w 1739754"/>
                  <a:gd name="connsiteY76" fmla="*/ 2101602 h 2673102"/>
                  <a:gd name="connsiteX77" fmla="*/ 926508 w 1739754"/>
                  <a:gd name="connsiteY77" fmla="*/ 2144464 h 2673102"/>
                  <a:gd name="connsiteX78" fmla="*/ 907458 w 1739754"/>
                  <a:gd name="connsiteY78" fmla="*/ 2192089 h 2673102"/>
                  <a:gd name="connsiteX79" fmla="*/ 902696 w 1739754"/>
                  <a:gd name="connsiteY79" fmla="*/ 2211139 h 2673102"/>
                  <a:gd name="connsiteX80" fmla="*/ 893171 w 1739754"/>
                  <a:gd name="connsiteY80" fmla="*/ 2239714 h 2673102"/>
                  <a:gd name="connsiteX81" fmla="*/ 897933 w 1739754"/>
                  <a:gd name="connsiteY81" fmla="*/ 2287339 h 2673102"/>
                  <a:gd name="connsiteX82" fmla="*/ 893171 w 1739754"/>
                  <a:gd name="connsiteY82" fmla="*/ 2396877 h 2673102"/>
                  <a:gd name="connsiteX83" fmla="*/ 688383 w 1739754"/>
                  <a:gd name="connsiteY83" fmla="*/ 2449264 h 2673102"/>
                  <a:gd name="connsiteX84" fmla="*/ 655046 w 1739754"/>
                  <a:gd name="connsiteY84" fmla="*/ 2473077 h 2673102"/>
                  <a:gd name="connsiteX85" fmla="*/ 607421 w 1739754"/>
                  <a:gd name="connsiteY85" fmla="*/ 2511177 h 2673102"/>
                  <a:gd name="connsiteX86" fmla="*/ 574083 w 1739754"/>
                  <a:gd name="connsiteY86" fmla="*/ 2534989 h 2673102"/>
                  <a:gd name="connsiteX87" fmla="*/ 540746 w 1739754"/>
                  <a:gd name="connsiteY87" fmla="*/ 2554039 h 2673102"/>
                  <a:gd name="connsiteX88" fmla="*/ 497883 w 1739754"/>
                  <a:gd name="connsiteY88" fmla="*/ 2587377 h 2673102"/>
                  <a:gd name="connsiteX89" fmla="*/ 483596 w 1739754"/>
                  <a:gd name="connsiteY89" fmla="*/ 2601664 h 2673102"/>
                  <a:gd name="connsiteX90" fmla="*/ 459783 w 1739754"/>
                  <a:gd name="connsiteY90" fmla="*/ 2620714 h 2673102"/>
                  <a:gd name="connsiteX91" fmla="*/ 450258 w 1739754"/>
                  <a:gd name="connsiteY91" fmla="*/ 2635002 h 2673102"/>
                  <a:gd name="connsiteX92" fmla="*/ 416921 w 1739754"/>
                  <a:gd name="connsiteY92" fmla="*/ 2654052 h 2673102"/>
                  <a:gd name="connsiteX93" fmla="*/ 374058 w 1739754"/>
                  <a:gd name="connsiteY93" fmla="*/ 2673102 h 2673102"/>
                  <a:gd name="connsiteX94" fmla="*/ 359771 w 1739754"/>
                  <a:gd name="connsiteY94" fmla="*/ 2663577 h 2673102"/>
                  <a:gd name="connsiteX95" fmla="*/ 345483 w 1739754"/>
                  <a:gd name="connsiteY95" fmla="*/ 2635002 h 2673102"/>
                  <a:gd name="connsiteX96" fmla="*/ 335958 w 1739754"/>
                  <a:gd name="connsiteY96" fmla="*/ 2620714 h 2673102"/>
                  <a:gd name="connsiteX97" fmla="*/ 297858 w 1739754"/>
                  <a:gd name="connsiteY97" fmla="*/ 2611189 h 2673102"/>
                  <a:gd name="connsiteX98" fmla="*/ 278808 w 1739754"/>
                  <a:gd name="connsiteY98" fmla="*/ 2592139 h 2673102"/>
                  <a:gd name="connsiteX99" fmla="*/ 274046 w 1739754"/>
                  <a:gd name="connsiteY99" fmla="*/ 2573089 h 2673102"/>
                  <a:gd name="connsiteX100" fmla="*/ 235946 w 1739754"/>
                  <a:gd name="connsiteY100" fmla="*/ 2539752 h 2673102"/>
                  <a:gd name="connsiteX101" fmla="*/ 231183 w 1739754"/>
                  <a:gd name="connsiteY101" fmla="*/ 2525464 h 2673102"/>
                  <a:gd name="connsiteX102" fmla="*/ 226421 w 1739754"/>
                  <a:gd name="connsiteY102" fmla="*/ 2506414 h 2673102"/>
                  <a:gd name="connsiteX103" fmla="*/ 212133 w 1739754"/>
                  <a:gd name="connsiteY103" fmla="*/ 2492127 h 2673102"/>
                  <a:gd name="connsiteX104" fmla="*/ 154983 w 1739754"/>
                  <a:gd name="connsiteY104" fmla="*/ 2439739 h 2673102"/>
                  <a:gd name="connsiteX105" fmla="*/ 150221 w 1739754"/>
                  <a:gd name="connsiteY105" fmla="*/ 2415927 h 2673102"/>
                  <a:gd name="connsiteX106" fmla="*/ 135933 w 1739754"/>
                  <a:gd name="connsiteY106" fmla="*/ 2358777 h 2673102"/>
                  <a:gd name="connsiteX107" fmla="*/ 121646 w 1739754"/>
                  <a:gd name="connsiteY107" fmla="*/ 2315914 h 2673102"/>
                  <a:gd name="connsiteX108" fmla="*/ 107358 w 1739754"/>
                  <a:gd name="connsiteY108" fmla="*/ 2258764 h 2673102"/>
                  <a:gd name="connsiteX109" fmla="*/ 102596 w 1739754"/>
                  <a:gd name="connsiteY109" fmla="*/ 2234952 h 2673102"/>
                  <a:gd name="connsiteX110" fmla="*/ 93071 w 1739754"/>
                  <a:gd name="connsiteY110" fmla="*/ 2211139 h 2673102"/>
                  <a:gd name="connsiteX111" fmla="*/ 88308 w 1739754"/>
                  <a:gd name="connsiteY111" fmla="*/ 2187327 h 2673102"/>
                  <a:gd name="connsiteX112" fmla="*/ 78783 w 1739754"/>
                  <a:gd name="connsiteY112" fmla="*/ 2111127 h 2673102"/>
                  <a:gd name="connsiteX113" fmla="*/ 97833 w 1739754"/>
                  <a:gd name="connsiteY113" fmla="*/ 1944439 h 2673102"/>
                  <a:gd name="connsiteX114" fmla="*/ 107358 w 1739754"/>
                  <a:gd name="connsiteY114" fmla="*/ 1930152 h 2673102"/>
                  <a:gd name="connsiteX115" fmla="*/ 126408 w 1739754"/>
                  <a:gd name="connsiteY115" fmla="*/ 1901577 h 2673102"/>
                  <a:gd name="connsiteX116" fmla="*/ 135933 w 1739754"/>
                  <a:gd name="connsiteY116" fmla="*/ 1868239 h 2673102"/>
                  <a:gd name="connsiteX117" fmla="*/ 131171 w 1739754"/>
                  <a:gd name="connsiteY117" fmla="*/ 1825377 h 2673102"/>
                  <a:gd name="connsiteX118" fmla="*/ 112121 w 1739754"/>
                  <a:gd name="connsiteY118" fmla="*/ 1820614 h 2673102"/>
                  <a:gd name="connsiteX119" fmla="*/ 102596 w 1739754"/>
                  <a:gd name="connsiteY119" fmla="*/ 1806327 h 2673102"/>
                  <a:gd name="connsiteX120" fmla="*/ 145458 w 1739754"/>
                  <a:gd name="connsiteY120" fmla="*/ 1720602 h 2673102"/>
                  <a:gd name="connsiteX121" fmla="*/ 159746 w 1739754"/>
                  <a:gd name="connsiteY121" fmla="*/ 1715839 h 2673102"/>
                  <a:gd name="connsiteX122" fmla="*/ 174033 w 1739754"/>
                  <a:gd name="connsiteY122" fmla="*/ 1696789 h 2673102"/>
                  <a:gd name="connsiteX123" fmla="*/ 188321 w 1739754"/>
                  <a:gd name="connsiteY123" fmla="*/ 1687264 h 2673102"/>
                  <a:gd name="connsiteX124" fmla="*/ 202608 w 1739754"/>
                  <a:gd name="connsiteY124" fmla="*/ 1653927 h 2673102"/>
                  <a:gd name="connsiteX125" fmla="*/ 193083 w 1739754"/>
                  <a:gd name="connsiteY125" fmla="*/ 1606302 h 2673102"/>
                  <a:gd name="connsiteX126" fmla="*/ 164508 w 1739754"/>
                  <a:gd name="connsiteY126" fmla="*/ 1596777 h 2673102"/>
                  <a:gd name="connsiteX127" fmla="*/ 154983 w 1739754"/>
                  <a:gd name="connsiteY127" fmla="*/ 1549152 h 2673102"/>
                  <a:gd name="connsiteX128" fmla="*/ 150221 w 1739754"/>
                  <a:gd name="connsiteY128" fmla="*/ 1411039 h 2673102"/>
                  <a:gd name="connsiteX129" fmla="*/ 140696 w 1739754"/>
                  <a:gd name="connsiteY129" fmla="*/ 1377702 h 2673102"/>
                  <a:gd name="connsiteX130" fmla="*/ 121646 w 1739754"/>
                  <a:gd name="connsiteY130" fmla="*/ 1311027 h 2673102"/>
                  <a:gd name="connsiteX131" fmla="*/ 116883 w 1739754"/>
                  <a:gd name="connsiteY131" fmla="*/ 1258639 h 2673102"/>
                  <a:gd name="connsiteX132" fmla="*/ 107358 w 1739754"/>
                  <a:gd name="connsiteY132" fmla="*/ 1244352 h 2673102"/>
                  <a:gd name="connsiteX133" fmla="*/ 93071 w 1739754"/>
                  <a:gd name="connsiteY133" fmla="*/ 1196727 h 2673102"/>
                  <a:gd name="connsiteX134" fmla="*/ 78783 w 1739754"/>
                  <a:gd name="connsiteY134" fmla="*/ 1177677 h 2673102"/>
                  <a:gd name="connsiteX135" fmla="*/ 59733 w 1739754"/>
                  <a:gd name="connsiteY135" fmla="*/ 1139577 h 2673102"/>
                  <a:gd name="connsiteX136" fmla="*/ 50208 w 1739754"/>
                  <a:gd name="connsiteY136" fmla="*/ 1111002 h 2673102"/>
                  <a:gd name="connsiteX137" fmla="*/ 45446 w 1739754"/>
                  <a:gd name="connsiteY137" fmla="*/ 1096714 h 2673102"/>
                  <a:gd name="connsiteX138" fmla="*/ 21633 w 1739754"/>
                  <a:gd name="connsiteY138" fmla="*/ 1025277 h 2673102"/>
                  <a:gd name="connsiteX139" fmla="*/ 202 w 1739754"/>
                  <a:gd name="connsiteY139" fmla="*/ 980033 h 2673102"/>
                  <a:gd name="connsiteX140" fmla="*/ 14490 w 1739754"/>
                  <a:gd name="connsiteY140" fmla="*/ 930027 h 2673102"/>
                  <a:gd name="connsiteX141" fmla="*/ 69259 w 1739754"/>
                  <a:gd name="connsiteY141" fmla="*/ 810964 h 2673102"/>
                  <a:gd name="connsiteX142" fmla="*/ 221658 w 1739754"/>
                  <a:gd name="connsiteY142" fmla="*/ 601414 h 2673102"/>
                  <a:gd name="connsiteX143" fmla="*/ 288333 w 1739754"/>
                  <a:gd name="connsiteY143" fmla="*/ 515689 h 2673102"/>
                  <a:gd name="connsiteX144" fmla="*/ 412158 w 1739754"/>
                  <a:gd name="connsiteY144" fmla="*/ 406152 h 2673102"/>
                  <a:gd name="connsiteX145" fmla="*/ 535983 w 1739754"/>
                  <a:gd name="connsiteY145" fmla="*/ 291851 h 2673102"/>
                  <a:gd name="connsiteX146" fmla="*/ 640758 w 1739754"/>
                  <a:gd name="connsiteY146" fmla="*/ 229939 h 2673102"/>
                  <a:gd name="connsiteX147" fmla="*/ 733628 w 1739754"/>
                  <a:gd name="connsiteY147" fmla="*/ 168026 h 2673102"/>
                  <a:gd name="connsiteX148" fmla="*/ 978896 w 1739754"/>
                  <a:gd name="connsiteY148" fmla="*/ 63251 h 2673102"/>
                  <a:gd name="connsiteX149" fmla="*/ 1159871 w 1739754"/>
                  <a:gd name="connsiteY149" fmla="*/ 6102 h 2673102"/>
                  <a:gd name="connsiteX150" fmla="*/ 1202733 w 1739754"/>
                  <a:gd name="connsiteY150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9283 w 1739754"/>
                  <a:gd name="connsiteY38" fmla="*/ 987177 h 2673102"/>
                  <a:gd name="connsiteX39" fmla="*/ 264521 w 1739754"/>
                  <a:gd name="connsiteY39" fmla="*/ 1039564 h 2673102"/>
                  <a:gd name="connsiteX40" fmla="*/ 264521 w 1739754"/>
                  <a:gd name="connsiteY40" fmla="*/ 1120527 h 2673102"/>
                  <a:gd name="connsiteX41" fmla="*/ 297858 w 1739754"/>
                  <a:gd name="connsiteY41" fmla="*/ 1153864 h 2673102"/>
                  <a:gd name="connsiteX42" fmla="*/ 326433 w 1739754"/>
                  <a:gd name="connsiteY42" fmla="*/ 1163389 h 2673102"/>
                  <a:gd name="connsiteX43" fmla="*/ 326433 w 1739754"/>
                  <a:gd name="connsiteY43" fmla="*/ 1244352 h 2673102"/>
                  <a:gd name="connsiteX44" fmla="*/ 312146 w 1739754"/>
                  <a:gd name="connsiteY44" fmla="*/ 1258639 h 2673102"/>
                  <a:gd name="connsiteX45" fmla="*/ 259758 w 1739754"/>
                  <a:gd name="connsiteY45" fmla="*/ 1296739 h 2673102"/>
                  <a:gd name="connsiteX46" fmla="*/ 240708 w 1739754"/>
                  <a:gd name="connsiteY46" fmla="*/ 1325314 h 2673102"/>
                  <a:gd name="connsiteX47" fmla="*/ 250233 w 1739754"/>
                  <a:gd name="connsiteY47" fmla="*/ 1425327 h 2673102"/>
                  <a:gd name="connsiteX48" fmla="*/ 278808 w 1739754"/>
                  <a:gd name="connsiteY48" fmla="*/ 1472952 h 2673102"/>
                  <a:gd name="connsiteX49" fmla="*/ 293096 w 1739754"/>
                  <a:gd name="connsiteY49" fmla="*/ 1492002 h 2673102"/>
                  <a:gd name="connsiteX50" fmla="*/ 383583 w 1739754"/>
                  <a:gd name="connsiteY50" fmla="*/ 1525339 h 2673102"/>
                  <a:gd name="connsiteX51" fmla="*/ 407396 w 1739754"/>
                  <a:gd name="connsiteY51" fmla="*/ 1492002 h 2673102"/>
                  <a:gd name="connsiteX52" fmla="*/ 412158 w 1739754"/>
                  <a:gd name="connsiteY52" fmla="*/ 1468189 h 2673102"/>
                  <a:gd name="connsiteX53" fmla="*/ 416921 w 1739754"/>
                  <a:gd name="connsiteY53" fmla="*/ 1449139 h 2673102"/>
                  <a:gd name="connsiteX54" fmla="*/ 445496 w 1739754"/>
                  <a:gd name="connsiteY54" fmla="*/ 1439614 h 2673102"/>
                  <a:gd name="connsiteX55" fmla="*/ 545508 w 1739754"/>
                  <a:gd name="connsiteY55" fmla="*/ 1458664 h 2673102"/>
                  <a:gd name="connsiteX56" fmla="*/ 555033 w 1739754"/>
                  <a:gd name="connsiteY56" fmla="*/ 1482477 h 2673102"/>
                  <a:gd name="connsiteX57" fmla="*/ 564558 w 1739754"/>
                  <a:gd name="connsiteY57" fmla="*/ 1515814 h 2673102"/>
                  <a:gd name="connsiteX58" fmla="*/ 550271 w 1739754"/>
                  <a:gd name="connsiteY58" fmla="*/ 1534864 h 2673102"/>
                  <a:gd name="connsiteX59" fmla="*/ 550271 w 1739754"/>
                  <a:gd name="connsiteY59" fmla="*/ 1601539 h 2673102"/>
                  <a:gd name="connsiteX60" fmla="*/ 559796 w 1739754"/>
                  <a:gd name="connsiteY60" fmla="*/ 1620589 h 2673102"/>
                  <a:gd name="connsiteX61" fmla="*/ 626471 w 1739754"/>
                  <a:gd name="connsiteY61" fmla="*/ 1639639 h 2673102"/>
                  <a:gd name="connsiteX62" fmla="*/ 645521 w 1739754"/>
                  <a:gd name="connsiteY62" fmla="*/ 1592014 h 2673102"/>
                  <a:gd name="connsiteX63" fmla="*/ 702671 w 1739754"/>
                  <a:gd name="connsiteY63" fmla="*/ 1620589 h 2673102"/>
                  <a:gd name="connsiteX64" fmla="*/ 731246 w 1739754"/>
                  <a:gd name="connsiteY64" fmla="*/ 1630114 h 2673102"/>
                  <a:gd name="connsiteX65" fmla="*/ 783633 w 1739754"/>
                  <a:gd name="connsiteY65" fmla="*/ 1663452 h 2673102"/>
                  <a:gd name="connsiteX66" fmla="*/ 859833 w 1739754"/>
                  <a:gd name="connsiteY66" fmla="*/ 1687264 h 2673102"/>
                  <a:gd name="connsiteX67" fmla="*/ 878883 w 1739754"/>
                  <a:gd name="connsiteY67" fmla="*/ 1701552 h 2673102"/>
                  <a:gd name="connsiteX68" fmla="*/ 888408 w 1739754"/>
                  <a:gd name="connsiteY68" fmla="*/ 1739652 h 2673102"/>
                  <a:gd name="connsiteX69" fmla="*/ 897933 w 1739754"/>
                  <a:gd name="connsiteY69" fmla="*/ 1782514 h 2673102"/>
                  <a:gd name="connsiteX70" fmla="*/ 940796 w 1739754"/>
                  <a:gd name="connsiteY70" fmla="*/ 1892052 h 2673102"/>
                  <a:gd name="connsiteX71" fmla="*/ 950321 w 1739754"/>
                  <a:gd name="connsiteY71" fmla="*/ 1906339 h 2673102"/>
                  <a:gd name="connsiteX72" fmla="*/ 959846 w 1739754"/>
                  <a:gd name="connsiteY72" fmla="*/ 1939677 h 2673102"/>
                  <a:gd name="connsiteX73" fmla="*/ 974133 w 1739754"/>
                  <a:gd name="connsiteY73" fmla="*/ 1977777 h 2673102"/>
                  <a:gd name="connsiteX74" fmla="*/ 964608 w 1739754"/>
                  <a:gd name="connsiteY74" fmla="*/ 2082552 h 2673102"/>
                  <a:gd name="connsiteX75" fmla="*/ 955083 w 1739754"/>
                  <a:gd name="connsiteY75" fmla="*/ 2101602 h 2673102"/>
                  <a:gd name="connsiteX76" fmla="*/ 926508 w 1739754"/>
                  <a:gd name="connsiteY76" fmla="*/ 2144464 h 2673102"/>
                  <a:gd name="connsiteX77" fmla="*/ 907458 w 1739754"/>
                  <a:gd name="connsiteY77" fmla="*/ 2192089 h 2673102"/>
                  <a:gd name="connsiteX78" fmla="*/ 902696 w 1739754"/>
                  <a:gd name="connsiteY78" fmla="*/ 2211139 h 2673102"/>
                  <a:gd name="connsiteX79" fmla="*/ 893171 w 1739754"/>
                  <a:gd name="connsiteY79" fmla="*/ 2239714 h 2673102"/>
                  <a:gd name="connsiteX80" fmla="*/ 897933 w 1739754"/>
                  <a:gd name="connsiteY80" fmla="*/ 2287339 h 2673102"/>
                  <a:gd name="connsiteX81" fmla="*/ 893171 w 1739754"/>
                  <a:gd name="connsiteY81" fmla="*/ 2396877 h 2673102"/>
                  <a:gd name="connsiteX82" fmla="*/ 688383 w 1739754"/>
                  <a:gd name="connsiteY82" fmla="*/ 2449264 h 2673102"/>
                  <a:gd name="connsiteX83" fmla="*/ 655046 w 1739754"/>
                  <a:gd name="connsiteY83" fmla="*/ 2473077 h 2673102"/>
                  <a:gd name="connsiteX84" fmla="*/ 607421 w 1739754"/>
                  <a:gd name="connsiteY84" fmla="*/ 2511177 h 2673102"/>
                  <a:gd name="connsiteX85" fmla="*/ 574083 w 1739754"/>
                  <a:gd name="connsiteY85" fmla="*/ 2534989 h 2673102"/>
                  <a:gd name="connsiteX86" fmla="*/ 540746 w 1739754"/>
                  <a:gd name="connsiteY86" fmla="*/ 2554039 h 2673102"/>
                  <a:gd name="connsiteX87" fmla="*/ 497883 w 1739754"/>
                  <a:gd name="connsiteY87" fmla="*/ 2587377 h 2673102"/>
                  <a:gd name="connsiteX88" fmla="*/ 483596 w 1739754"/>
                  <a:gd name="connsiteY88" fmla="*/ 2601664 h 2673102"/>
                  <a:gd name="connsiteX89" fmla="*/ 459783 w 1739754"/>
                  <a:gd name="connsiteY89" fmla="*/ 2620714 h 2673102"/>
                  <a:gd name="connsiteX90" fmla="*/ 450258 w 1739754"/>
                  <a:gd name="connsiteY90" fmla="*/ 2635002 h 2673102"/>
                  <a:gd name="connsiteX91" fmla="*/ 416921 w 1739754"/>
                  <a:gd name="connsiteY91" fmla="*/ 2654052 h 2673102"/>
                  <a:gd name="connsiteX92" fmla="*/ 374058 w 1739754"/>
                  <a:gd name="connsiteY92" fmla="*/ 2673102 h 2673102"/>
                  <a:gd name="connsiteX93" fmla="*/ 359771 w 1739754"/>
                  <a:gd name="connsiteY93" fmla="*/ 2663577 h 2673102"/>
                  <a:gd name="connsiteX94" fmla="*/ 345483 w 1739754"/>
                  <a:gd name="connsiteY94" fmla="*/ 2635002 h 2673102"/>
                  <a:gd name="connsiteX95" fmla="*/ 335958 w 1739754"/>
                  <a:gd name="connsiteY95" fmla="*/ 2620714 h 2673102"/>
                  <a:gd name="connsiteX96" fmla="*/ 297858 w 1739754"/>
                  <a:gd name="connsiteY96" fmla="*/ 2611189 h 2673102"/>
                  <a:gd name="connsiteX97" fmla="*/ 278808 w 1739754"/>
                  <a:gd name="connsiteY97" fmla="*/ 2592139 h 2673102"/>
                  <a:gd name="connsiteX98" fmla="*/ 274046 w 1739754"/>
                  <a:gd name="connsiteY98" fmla="*/ 2573089 h 2673102"/>
                  <a:gd name="connsiteX99" fmla="*/ 235946 w 1739754"/>
                  <a:gd name="connsiteY99" fmla="*/ 2539752 h 2673102"/>
                  <a:gd name="connsiteX100" fmla="*/ 231183 w 1739754"/>
                  <a:gd name="connsiteY100" fmla="*/ 2525464 h 2673102"/>
                  <a:gd name="connsiteX101" fmla="*/ 226421 w 1739754"/>
                  <a:gd name="connsiteY101" fmla="*/ 2506414 h 2673102"/>
                  <a:gd name="connsiteX102" fmla="*/ 212133 w 1739754"/>
                  <a:gd name="connsiteY102" fmla="*/ 2492127 h 2673102"/>
                  <a:gd name="connsiteX103" fmla="*/ 154983 w 1739754"/>
                  <a:gd name="connsiteY103" fmla="*/ 2439739 h 2673102"/>
                  <a:gd name="connsiteX104" fmla="*/ 150221 w 1739754"/>
                  <a:gd name="connsiteY104" fmla="*/ 2415927 h 2673102"/>
                  <a:gd name="connsiteX105" fmla="*/ 135933 w 1739754"/>
                  <a:gd name="connsiteY105" fmla="*/ 2358777 h 2673102"/>
                  <a:gd name="connsiteX106" fmla="*/ 121646 w 1739754"/>
                  <a:gd name="connsiteY106" fmla="*/ 2315914 h 2673102"/>
                  <a:gd name="connsiteX107" fmla="*/ 107358 w 1739754"/>
                  <a:gd name="connsiteY107" fmla="*/ 2258764 h 2673102"/>
                  <a:gd name="connsiteX108" fmla="*/ 102596 w 1739754"/>
                  <a:gd name="connsiteY108" fmla="*/ 2234952 h 2673102"/>
                  <a:gd name="connsiteX109" fmla="*/ 93071 w 1739754"/>
                  <a:gd name="connsiteY109" fmla="*/ 2211139 h 2673102"/>
                  <a:gd name="connsiteX110" fmla="*/ 88308 w 1739754"/>
                  <a:gd name="connsiteY110" fmla="*/ 2187327 h 2673102"/>
                  <a:gd name="connsiteX111" fmla="*/ 78783 w 1739754"/>
                  <a:gd name="connsiteY111" fmla="*/ 2111127 h 2673102"/>
                  <a:gd name="connsiteX112" fmla="*/ 97833 w 1739754"/>
                  <a:gd name="connsiteY112" fmla="*/ 1944439 h 2673102"/>
                  <a:gd name="connsiteX113" fmla="*/ 107358 w 1739754"/>
                  <a:gd name="connsiteY113" fmla="*/ 1930152 h 2673102"/>
                  <a:gd name="connsiteX114" fmla="*/ 126408 w 1739754"/>
                  <a:gd name="connsiteY114" fmla="*/ 1901577 h 2673102"/>
                  <a:gd name="connsiteX115" fmla="*/ 135933 w 1739754"/>
                  <a:gd name="connsiteY115" fmla="*/ 1868239 h 2673102"/>
                  <a:gd name="connsiteX116" fmla="*/ 131171 w 1739754"/>
                  <a:gd name="connsiteY116" fmla="*/ 1825377 h 2673102"/>
                  <a:gd name="connsiteX117" fmla="*/ 112121 w 1739754"/>
                  <a:gd name="connsiteY117" fmla="*/ 1820614 h 2673102"/>
                  <a:gd name="connsiteX118" fmla="*/ 102596 w 1739754"/>
                  <a:gd name="connsiteY118" fmla="*/ 1806327 h 2673102"/>
                  <a:gd name="connsiteX119" fmla="*/ 145458 w 1739754"/>
                  <a:gd name="connsiteY119" fmla="*/ 1720602 h 2673102"/>
                  <a:gd name="connsiteX120" fmla="*/ 159746 w 1739754"/>
                  <a:gd name="connsiteY120" fmla="*/ 1715839 h 2673102"/>
                  <a:gd name="connsiteX121" fmla="*/ 174033 w 1739754"/>
                  <a:gd name="connsiteY121" fmla="*/ 1696789 h 2673102"/>
                  <a:gd name="connsiteX122" fmla="*/ 188321 w 1739754"/>
                  <a:gd name="connsiteY122" fmla="*/ 1687264 h 2673102"/>
                  <a:gd name="connsiteX123" fmla="*/ 202608 w 1739754"/>
                  <a:gd name="connsiteY123" fmla="*/ 1653927 h 2673102"/>
                  <a:gd name="connsiteX124" fmla="*/ 193083 w 1739754"/>
                  <a:gd name="connsiteY124" fmla="*/ 1606302 h 2673102"/>
                  <a:gd name="connsiteX125" fmla="*/ 164508 w 1739754"/>
                  <a:gd name="connsiteY125" fmla="*/ 1596777 h 2673102"/>
                  <a:gd name="connsiteX126" fmla="*/ 154983 w 1739754"/>
                  <a:gd name="connsiteY126" fmla="*/ 1549152 h 2673102"/>
                  <a:gd name="connsiteX127" fmla="*/ 150221 w 1739754"/>
                  <a:gd name="connsiteY127" fmla="*/ 1411039 h 2673102"/>
                  <a:gd name="connsiteX128" fmla="*/ 140696 w 1739754"/>
                  <a:gd name="connsiteY128" fmla="*/ 1377702 h 2673102"/>
                  <a:gd name="connsiteX129" fmla="*/ 121646 w 1739754"/>
                  <a:gd name="connsiteY129" fmla="*/ 1311027 h 2673102"/>
                  <a:gd name="connsiteX130" fmla="*/ 116883 w 1739754"/>
                  <a:gd name="connsiteY130" fmla="*/ 1258639 h 2673102"/>
                  <a:gd name="connsiteX131" fmla="*/ 107358 w 1739754"/>
                  <a:gd name="connsiteY131" fmla="*/ 1244352 h 2673102"/>
                  <a:gd name="connsiteX132" fmla="*/ 93071 w 1739754"/>
                  <a:gd name="connsiteY132" fmla="*/ 1196727 h 2673102"/>
                  <a:gd name="connsiteX133" fmla="*/ 78783 w 1739754"/>
                  <a:gd name="connsiteY133" fmla="*/ 1177677 h 2673102"/>
                  <a:gd name="connsiteX134" fmla="*/ 59733 w 1739754"/>
                  <a:gd name="connsiteY134" fmla="*/ 1139577 h 2673102"/>
                  <a:gd name="connsiteX135" fmla="*/ 50208 w 1739754"/>
                  <a:gd name="connsiteY135" fmla="*/ 1111002 h 2673102"/>
                  <a:gd name="connsiteX136" fmla="*/ 45446 w 1739754"/>
                  <a:gd name="connsiteY136" fmla="*/ 1096714 h 2673102"/>
                  <a:gd name="connsiteX137" fmla="*/ 21633 w 1739754"/>
                  <a:gd name="connsiteY137" fmla="*/ 1025277 h 2673102"/>
                  <a:gd name="connsiteX138" fmla="*/ 202 w 1739754"/>
                  <a:gd name="connsiteY138" fmla="*/ 980033 h 2673102"/>
                  <a:gd name="connsiteX139" fmla="*/ 14490 w 1739754"/>
                  <a:gd name="connsiteY139" fmla="*/ 930027 h 2673102"/>
                  <a:gd name="connsiteX140" fmla="*/ 69259 w 1739754"/>
                  <a:gd name="connsiteY140" fmla="*/ 810964 h 2673102"/>
                  <a:gd name="connsiteX141" fmla="*/ 221658 w 1739754"/>
                  <a:gd name="connsiteY141" fmla="*/ 601414 h 2673102"/>
                  <a:gd name="connsiteX142" fmla="*/ 288333 w 1739754"/>
                  <a:gd name="connsiteY142" fmla="*/ 515689 h 2673102"/>
                  <a:gd name="connsiteX143" fmla="*/ 412158 w 1739754"/>
                  <a:gd name="connsiteY143" fmla="*/ 406152 h 2673102"/>
                  <a:gd name="connsiteX144" fmla="*/ 535983 w 1739754"/>
                  <a:gd name="connsiteY144" fmla="*/ 291851 h 2673102"/>
                  <a:gd name="connsiteX145" fmla="*/ 640758 w 1739754"/>
                  <a:gd name="connsiteY145" fmla="*/ 229939 h 2673102"/>
                  <a:gd name="connsiteX146" fmla="*/ 733628 w 1739754"/>
                  <a:gd name="connsiteY146" fmla="*/ 168026 h 2673102"/>
                  <a:gd name="connsiteX147" fmla="*/ 978896 w 1739754"/>
                  <a:gd name="connsiteY147" fmla="*/ 63251 h 2673102"/>
                  <a:gd name="connsiteX148" fmla="*/ 1159871 w 1739754"/>
                  <a:gd name="connsiteY148" fmla="*/ 6102 h 2673102"/>
                  <a:gd name="connsiteX149" fmla="*/ 1202733 w 1739754"/>
                  <a:gd name="connsiteY149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297858 w 1739754"/>
                  <a:gd name="connsiteY40" fmla="*/ 1153864 h 2673102"/>
                  <a:gd name="connsiteX41" fmla="*/ 326433 w 1739754"/>
                  <a:gd name="connsiteY41" fmla="*/ 1163389 h 2673102"/>
                  <a:gd name="connsiteX42" fmla="*/ 326433 w 1739754"/>
                  <a:gd name="connsiteY42" fmla="*/ 1244352 h 2673102"/>
                  <a:gd name="connsiteX43" fmla="*/ 312146 w 1739754"/>
                  <a:gd name="connsiteY43" fmla="*/ 1258639 h 2673102"/>
                  <a:gd name="connsiteX44" fmla="*/ 259758 w 1739754"/>
                  <a:gd name="connsiteY44" fmla="*/ 1296739 h 2673102"/>
                  <a:gd name="connsiteX45" fmla="*/ 240708 w 1739754"/>
                  <a:gd name="connsiteY45" fmla="*/ 1325314 h 2673102"/>
                  <a:gd name="connsiteX46" fmla="*/ 250233 w 1739754"/>
                  <a:gd name="connsiteY46" fmla="*/ 1425327 h 2673102"/>
                  <a:gd name="connsiteX47" fmla="*/ 278808 w 1739754"/>
                  <a:gd name="connsiteY47" fmla="*/ 1472952 h 2673102"/>
                  <a:gd name="connsiteX48" fmla="*/ 293096 w 1739754"/>
                  <a:gd name="connsiteY48" fmla="*/ 1492002 h 2673102"/>
                  <a:gd name="connsiteX49" fmla="*/ 383583 w 1739754"/>
                  <a:gd name="connsiteY49" fmla="*/ 1525339 h 2673102"/>
                  <a:gd name="connsiteX50" fmla="*/ 407396 w 1739754"/>
                  <a:gd name="connsiteY50" fmla="*/ 1492002 h 2673102"/>
                  <a:gd name="connsiteX51" fmla="*/ 412158 w 1739754"/>
                  <a:gd name="connsiteY51" fmla="*/ 1468189 h 2673102"/>
                  <a:gd name="connsiteX52" fmla="*/ 416921 w 1739754"/>
                  <a:gd name="connsiteY52" fmla="*/ 1449139 h 2673102"/>
                  <a:gd name="connsiteX53" fmla="*/ 445496 w 1739754"/>
                  <a:gd name="connsiteY53" fmla="*/ 1439614 h 2673102"/>
                  <a:gd name="connsiteX54" fmla="*/ 545508 w 1739754"/>
                  <a:gd name="connsiteY54" fmla="*/ 1458664 h 2673102"/>
                  <a:gd name="connsiteX55" fmla="*/ 555033 w 1739754"/>
                  <a:gd name="connsiteY55" fmla="*/ 1482477 h 2673102"/>
                  <a:gd name="connsiteX56" fmla="*/ 564558 w 1739754"/>
                  <a:gd name="connsiteY56" fmla="*/ 1515814 h 2673102"/>
                  <a:gd name="connsiteX57" fmla="*/ 550271 w 1739754"/>
                  <a:gd name="connsiteY57" fmla="*/ 1534864 h 2673102"/>
                  <a:gd name="connsiteX58" fmla="*/ 550271 w 1739754"/>
                  <a:gd name="connsiteY58" fmla="*/ 1601539 h 2673102"/>
                  <a:gd name="connsiteX59" fmla="*/ 559796 w 1739754"/>
                  <a:gd name="connsiteY59" fmla="*/ 1620589 h 2673102"/>
                  <a:gd name="connsiteX60" fmla="*/ 626471 w 1739754"/>
                  <a:gd name="connsiteY60" fmla="*/ 1639639 h 2673102"/>
                  <a:gd name="connsiteX61" fmla="*/ 645521 w 1739754"/>
                  <a:gd name="connsiteY61" fmla="*/ 1592014 h 2673102"/>
                  <a:gd name="connsiteX62" fmla="*/ 702671 w 1739754"/>
                  <a:gd name="connsiteY62" fmla="*/ 1620589 h 2673102"/>
                  <a:gd name="connsiteX63" fmla="*/ 731246 w 1739754"/>
                  <a:gd name="connsiteY63" fmla="*/ 1630114 h 2673102"/>
                  <a:gd name="connsiteX64" fmla="*/ 783633 w 1739754"/>
                  <a:gd name="connsiteY64" fmla="*/ 1663452 h 2673102"/>
                  <a:gd name="connsiteX65" fmla="*/ 859833 w 1739754"/>
                  <a:gd name="connsiteY65" fmla="*/ 1687264 h 2673102"/>
                  <a:gd name="connsiteX66" fmla="*/ 878883 w 1739754"/>
                  <a:gd name="connsiteY66" fmla="*/ 1701552 h 2673102"/>
                  <a:gd name="connsiteX67" fmla="*/ 888408 w 1739754"/>
                  <a:gd name="connsiteY67" fmla="*/ 1739652 h 2673102"/>
                  <a:gd name="connsiteX68" fmla="*/ 897933 w 1739754"/>
                  <a:gd name="connsiteY68" fmla="*/ 1782514 h 2673102"/>
                  <a:gd name="connsiteX69" fmla="*/ 940796 w 1739754"/>
                  <a:gd name="connsiteY69" fmla="*/ 1892052 h 2673102"/>
                  <a:gd name="connsiteX70" fmla="*/ 950321 w 1739754"/>
                  <a:gd name="connsiteY70" fmla="*/ 1906339 h 2673102"/>
                  <a:gd name="connsiteX71" fmla="*/ 959846 w 1739754"/>
                  <a:gd name="connsiteY71" fmla="*/ 1939677 h 2673102"/>
                  <a:gd name="connsiteX72" fmla="*/ 974133 w 1739754"/>
                  <a:gd name="connsiteY72" fmla="*/ 1977777 h 2673102"/>
                  <a:gd name="connsiteX73" fmla="*/ 964608 w 1739754"/>
                  <a:gd name="connsiteY73" fmla="*/ 2082552 h 2673102"/>
                  <a:gd name="connsiteX74" fmla="*/ 955083 w 1739754"/>
                  <a:gd name="connsiteY74" fmla="*/ 2101602 h 2673102"/>
                  <a:gd name="connsiteX75" fmla="*/ 926508 w 1739754"/>
                  <a:gd name="connsiteY75" fmla="*/ 2144464 h 2673102"/>
                  <a:gd name="connsiteX76" fmla="*/ 907458 w 1739754"/>
                  <a:gd name="connsiteY76" fmla="*/ 2192089 h 2673102"/>
                  <a:gd name="connsiteX77" fmla="*/ 902696 w 1739754"/>
                  <a:gd name="connsiteY77" fmla="*/ 2211139 h 2673102"/>
                  <a:gd name="connsiteX78" fmla="*/ 893171 w 1739754"/>
                  <a:gd name="connsiteY78" fmla="*/ 2239714 h 2673102"/>
                  <a:gd name="connsiteX79" fmla="*/ 897933 w 1739754"/>
                  <a:gd name="connsiteY79" fmla="*/ 2287339 h 2673102"/>
                  <a:gd name="connsiteX80" fmla="*/ 893171 w 1739754"/>
                  <a:gd name="connsiteY80" fmla="*/ 2396877 h 2673102"/>
                  <a:gd name="connsiteX81" fmla="*/ 688383 w 1739754"/>
                  <a:gd name="connsiteY81" fmla="*/ 2449264 h 2673102"/>
                  <a:gd name="connsiteX82" fmla="*/ 655046 w 1739754"/>
                  <a:gd name="connsiteY82" fmla="*/ 2473077 h 2673102"/>
                  <a:gd name="connsiteX83" fmla="*/ 607421 w 1739754"/>
                  <a:gd name="connsiteY83" fmla="*/ 2511177 h 2673102"/>
                  <a:gd name="connsiteX84" fmla="*/ 574083 w 1739754"/>
                  <a:gd name="connsiteY84" fmla="*/ 2534989 h 2673102"/>
                  <a:gd name="connsiteX85" fmla="*/ 540746 w 1739754"/>
                  <a:gd name="connsiteY85" fmla="*/ 2554039 h 2673102"/>
                  <a:gd name="connsiteX86" fmla="*/ 497883 w 1739754"/>
                  <a:gd name="connsiteY86" fmla="*/ 2587377 h 2673102"/>
                  <a:gd name="connsiteX87" fmla="*/ 483596 w 1739754"/>
                  <a:gd name="connsiteY87" fmla="*/ 2601664 h 2673102"/>
                  <a:gd name="connsiteX88" fmla="*/ 459783 w 1739754"/>
                  <a:gd name="connsiteY88" fmla="*/ 2620714 h 2673102"/>
                  <a:gd name="connsiteX89" fmla="*/ 450258 w 1739754"/>
                  <a:gd name="connsiteY89" fmla="*/ 2635002 h 2673102"/>
                  <a:gd name="connsiteX90" fmla="*/ 416921 w 1739754"/>
                  <a:gd name="connsiteY90" fmla="*/ 2654052 h 2673102"/>
                  <a:gd name="connsiteX91" fmla="*/ 374058 w 1739754"/>
                  <a:gd name="connsiteY91" fmla="*/ 2673102 h 2673102"/>
                  <a:gd name="connsiteX92" fmla="*/ 359771 w 1739754"/>
                  <a:gd name="connsiteY92" fmla="*/ 2663577 h 2673102"/>
                  <a:gd name="connsiteX93" fmla="*/ 345483 w 1739754"/>
                  <a:gd name="connsiteY93" fmla="*/ 2635002 h 2673102"/>
                  <a:gd name="connsiteX94" fmla="*/ 335958 w 1739754"/>
                  <a:gd name="connsiteY94" fmla="*/ 2620714 h 2673102"/>
                  <a:gd name="connsiteX95" fmla="*/ 297858 w 1739754"/>
                  <a:gd name="connsiteY95" fmla="*/ 2611189 h 2673102"/>
                  <a:gd name="connsiteX96" fmla="*/ 278808 w 1739754"/>
                  <a:gd name="connsiteY96" fmla="*/ 2592139 h 2673102"/>
                  <a:gd name="connsiteX97" fmla="*/ 274046 w 1739754"/>
                  <a:gd name="connsiteY97" fmla="*/ 2573089 h 2673102"/>
                  <a:gd name="connsiteX98" fmla="*/ 235946 w 1739754"/>
                  <a:gd name="connsiteY98" fmla="*/ 2539752 h 2673102"/>
                  <a:gd name="connsiteX99" fmla="*/ 231183 w 1739754"/>
                  <a:gd name="connsiteY99" fmla="*/ 2525464 h 2673102"/>
                  <a:gd name="connsiteX100" fmla="*/ 226421 w 1739754"/>
                  <a:gd name="connsiteY100" fmla="*/ 2506414 h 2673102"/>
                  <a:gd name="connsiteX101" fmla="*/ 212133 w 1739754"/>
                  <a:gd name="connsiteY101" fmla="*/ 2492127 h 2673102"/>
                  <a:gd name="connsiteX102" fmla="*/ 154983 w 1739754"/>
                  <a:gd name="connsiteY102" fmla="*/ 2439739 h 2673102"/>
                  <a:gd name="connsiteX103" fmla="*/ 150221 w 1739754"/>
                  <a:gd name="connsiteY103" fmla="*/ 2415927 h 2673102"/>
                  <a:gd name="connsiteX104" fmla="*/ 135933 w 1739754"/>
                  <a:gd name="connsiteY104" fmla="*/ 2358777 h 2673102"/>
                  <a:gd name="connsiteX105" fmla="*/ 121646 w 1739754"/>
                  <a:gd name="connsiteY105" fmla="*/ 2315914 h 2673102"/>
                  <a:gd name="connsiteX106" fmla="*/ 107358 w 1739754"/>
                  <a:gd name="connsiteY106" fmla="*/ 2258764 h 2673102"/>
                  <a:gd name="connsiteX107" fmla="*/ 102596 w 1739754"/>
                  <a:gd name="connsiteY107" fmla="*/ 2234952 h 2673102"/>
                  <a:gd name="connsiteX108" fmla="*/ 93071 w 1739754"/>
                  <a:gd name="connsiteY108" fmla="*/ 2211139 h 2673102"/>
                  <a:gd name="connsiteX109" fmla="*/ 88308 w 1739754"/>
                  <a:gd name="connsiteY109" fmla="*/ 2187327 h 2673102"/>
                  <a:gd name="connsiteX110" fmla="*/ 78783 w 1739754"/>
                  <a:gd name="connsiteY110" fmla="*/ 2111127 h 2673102"/>
                  <a:gd name="connsiteX111" fmla="*/ 97833 w 1739754"/>
                  <a:gd name="connsiteY111" fmla="*/ 1944439 h 2673102"/>
                  <a:gd name="connsiteX112" fmla="*/ 107358 w 1739754"/>
                  <a:gd name="connsiteY112" fmla="*/ 1930152 h 2673102"/>
                  <a:gd name="connsiteX113" fmla="*/ 126408 w 1739754"/>
                  <a:gd name="connsiteY113" fmla="*/ 1901577 h 2673102"/>
                  <a:gd name="connsiteX114" fmla="*/ 135933 w 1739754"/>
                  <a:gd name="connsiteY114" fmla="*/ 1868239 h 2673102"/>
                  <a:gd name="connsiteX115" fmla="*/ 131171 w 1739754"/>
                  <a:gd name="connsiteY115" fmla="*/ 1825377 h 2673102"/>
                  <a:gd name="connsiteX116" fmla="*/ 112121 w 1739754"/>
                  <a:gd name="connsiteY116" fmla="*/ 1820614 h 2673102"/>
                  <a:gd name="connsiteX117" fmla="*/ 102596 w 1739754"/>
                  <a:gd name="connsiteY117" fmla="*/ 1806327 h 2673102"/>
                  <a:gd name="connsiteX118" fmla="*/ 145458 w 1739754"/>
                  <a:gd name="connsiteY118" fmla="*/ 1720602 h 2673102"/>
                  <a:gd name="connsiteX119" fmla="*/ 159746 w 1739754"/>
                  <a:gd name="connsiteY119" fmla="*/ 1715839 h 2673102"/>
                  <a:gd name="connsiteX120" fmla="*/ 174033 w 1739754"/>
                  <a:gd name="connsiteY120" fmla="*/ 1696789 h 2673102"/>
                  <a:gd name="connsiteX121" fmla="*/ 188321 w 1739754"/>
                  <a:gd name="connsiteY121" fmla="*/ 1687264 h 2673102"/>
                  <a:gd name="connsiteX122" fmla="*/ 202608 w 1739754"/>
                  <a:gd name="connsiteY122" fmla="*/ 1653927 h 2673102"/>
                  <a:gd name="connsiteX123" fmla="*/ 193083 w 1739754"/>
                  <a:gd name="connsiteY123" fmla="*/ 1606302 h 2673102"/>
                  <a:gd name="connsiteX124" fmla="*/ 164508 w 1739754"/>
                  <a:gd name="connsiteY124" fmla="*/ 1596777 h 2673102"/>
                  <a:gd name="connsiteX125" fmla="*/ 154983 w 1739754"/>
                  <a:gd name="connsiteY125" fmla="*/ 1549152 h 2673102"/>
                  <a:gd name="connsiteX126" fmla="*/ 150221 w 1739754"/>
                  <a:gd name="connsiteY126" fmla="*/ 1411039 h 2673102"/>
                  <a:gd name="connsiteX127" fmla="*/ 140696 w 1739754"/>
                  <a:gd name="connsiteY127" fmla="*/ 1377702 h 2673102"/>
                  <a:gd name="connsiteX128" fmla="*/ 121646 w 1739754"/>
                  <a:gd name="connsiteY128" fmla="*/ 1311027 h 2673102"/>
                  <a:gd name="connsiteX129" fmla="*/ 116883 w 1739754"/>
                  <a:gd name="connsiteY129" fmla="*/ 1258639 h 2673102"/>
                  <a:gd name="connsiteX130" fmla="*/ 107358 w 1739754"/>
                  <a:gd name="connsiteY130" fmla="*/ 1244352 h 2673102"/>
                  <a:gd name="connsiteX131" fmla="*/ 93071 w 1739754"/>
                  <a:gd name="connsiteY131" fmla="*/ 1196727 h 2673102"/>
                  <a:gd name="connsiteX132" fmla="*/ 78783 w 1739754"/>
                  <a:gd name="connsiteY132" fmla="*/ 1177677 h 2673102"/>
                  <a:gd name="connsiteX133" fmla="*/ 59733 w 1739754"/>
                  <a:gd name="connsiteY133" fmla="*/ 1139577 h 2673102"/>
                  <a:gd name="connsiteX134" fmla="*/ 50208 w 1739754"/>
                  <a:gd name="connsiteY134" fmla="*/ 1111002 h 2673102"/>
                  <a:gd name="connsiteX135" fmla="*/ 45446 w 1739754"/>
                  <a:gd name="connsiteY135" fmla="*/ 1096714 h 2673102"/>
                  <a:gd name="connsiteX136" fmla="*/ 21633 w 1739754"/>
                  <a:gd name="connsiteY136" fmla="*/ 1025277 h 2673102"/>
                  <a:gd name="connsiteX137" fmla="*/ 202 w 1739754"/>
                  <a:gd name="connsiteY137" fmla="*/ 980033 h 2673102"/>
                  <a:gd name="connsiteX138" fmla="*/ 14490 w 1739754"/>
                  <a:gd name="connsiteY138" fmla="*/ 930027 h 2673102"/>
                  <a:gd name="connsiteX139" fmla="*/ 69259 w 1739754"/>
                  <a:gd name="connsiteY139" fmla="*/ 810964 h 2673102"/>
                  <a:gd name="connsiteX140" fmla="*/ 221658 w 1739754"/>
                  <a:gd name="connsiteY140" fmla="*/ 601414 h 2673102"/>
                  <a:gd name="connsiteX141" fmla="*/ 288333 w 1739754"/>
                  <a:gd name="connsiteY141" fmla="*/ 515689 h 2673102"/>
                  <a:gd name="connsiteX142" fmla="*/ 412158 w 1739754"/>
                  <a:gd name="connsiteY142" fmla="*/ 406152 h 2673102"/>
                  <a:gd name="connsiteX143" fmla="*/ 535983 w 1739754"/>
                  <a:gd name="connsiteY143" fmla="*/ 291851 h 2673102"/>
                  <a:gd name="connsiteX144" fmla="*/ 640758 w 1739754"/>
                  <a:gd name="connsiteY144" fmla="*/ 229939 h 2673102"/>
                  <a:gd name="connsiteX145" fmla="*/ 733628 w 1739754"/>
                  <a:gd name="connsiteY145" fmla="*/ 168026 h 2673102"/>
                  <a:gd name="connsiteX146" fmla="*/ 978896 w 1739754"/>
                  <a:gd name="connsiteY146" fmla="*/ 63251 h 2673102"/>
                  <a:gd name="connsiteX147" fmla="*/ 1159871 w 1739754"/>
                  <a:gd name="connsiteY147" fmla="*/ 6102 h 2673102"/>
                  <a:gd name="connsiteX148" fmla="*/ 1202733 w 1739754"/>
                  <a:gd name="connsiteY148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312146 w 1739754"/>
                  <a:gd name="connsiteY42" fmla="*/ 1258639 h 2673102"/>
                  <a:gd name="connsiteX43" fmla="*/ 259758 w 1739754"/>
                  <a:gd name="connsiteY43" fmla="*/ 1296739 h 2673102"/>
                  <a:gd name="connsiteX44" fmla="*/ 240708 w 1739754"/>
                  <a:gd name="connsiteY44" fmla="*/ 1325314 h 2673102"/>
                  <a:gd name="connsiteX45" fmla="*/ 250233 w 1739754"/>
                  <a:gd name="connsiteY45" fmla="*/ 1425327 h 2673102"/>
                  <a:gd name="connsiteX46" fmla="*/ 278808 w 1739754"/>
                  <a:gd name="connsiteY46" fmla="*/ 1472952 h 2673102"/>
                  <a:gd name="connsiteX47" fmla="*/ 293096 w 1739754"/>
                  <a:gd name="connsiteY47" fmla="*/ 1492002 h 2673102"/>
                  <a:gd name="connsiteX48" fmla="*/ 383583 w 1739754"/>
                  <a:gd name="connsiteY48" fmla="*/ 1525339 h 2673102"/>
                  <a:gd name="connsiteX49" fmla="*/ 407396 w 1739754"/>
                  <a:gd name="connsiteY49" fmla="*/ 1492002 h 2673102"/>
                  <a:gd name="connsiteX50" fmla="*/ 412158 w 1739754"/>
                  <a:gd name="connsiteY50" fmla="*/ 1468189 h 2673102"/>
                  <a:gd name="connsiteX51" fmla="*/ 416921 w 1739754"/>
                  <a:gd name="connsiteY51" fmla="*/ 1449139 h 2673102"/>
                  <a:gd name="connsiteX52" fmla="*/ 445496 w 1739754"/>
                  <a:gd name="connsiteY52" fmla="*/ 1439614 h 2673102"/>
                  <a:gd name="connsiteX53" fmla="*/ 545508 w 1739754"/>
                  <a:gd name="connsiteY53" fmla="*/ 1458664 h 2673102"/>
                  <a:gd name="connsiteX54" fmla="*/ 555033 w 1739754"/>
                  <a:gd name="connsiteY54" fmla="*/ 1482477 h 2673102"/>
                  <a:gd name="connsiteX55" fmla="*/ 564558 w 1739754"/>
                  <a:gd name="connsiteY55" fmla="*/ 1515814 h 2673102"/>
                  <a:gd name="connsiteX56" fmla="*/ 550271 w 1739754"/>
                  <a:gd name="connsiteY56" fmla="*/ 1534864 h 2673102"/>
                  <a:gd name="connsiteX57" fmla="*/ 550271 w 1739754"/>
                  <a:gd name="connsiteY57" fmla="*/ 1601539 h 2673102"/>
                  <a:gd name="connsiteX58" fmla="*/ 559796 w 1739754"/>
                  <a:gd name="connsiteY58" fmla="*/ 1620589 h 2673102"/>
                  <a:gd name="connsiteX59" fmla="*/ 626471 w 1739754"/>
                  <a:gd name="connsiteY59" fmla="*/ 1639639 h 2673102"/>
                  <a:gd name="connsiteX60" fmla="*/ 645521 w 1739754"/>
                  <a:gd name="connsiteY60" fmla="*/ 1592014 h 2673102"/>
                  <a:gd name="connsiteX61" fmla="*/ 702671 w 1739754"/>
                  <a:gd name="connsiteY61" fmla="*/ 1620589 h 2673102"/>
                  <a:gd name="connsiteX62" fmla="*/ 731246 w 1739754"/>
                  <a:gd name="connsiteY62" fmla="*/ 1630114 h 2673102"/>
                  <a:gd name="connsiteX63" fmla="*/ 783633 w 1739754"/>
                  <a:gd name="connsiteY63" fmla="*/ 1663452 h 2673102"/>
                  <a:gd name="connsiteX64" fmla="*/ 859833 w 1739754"/>
                  <a:gd name="connsiteY64" fmla="*/ 1687264 h 2673102"/>
                  <a:gd name="connsiteX65" fmla="*/ 878883 w 1739754"/>
                  <a:gd name="connsiteY65" fmla="*/ 1701552 h 2673102"/>
                  <a:gd name="connsiteX66" fmla="*/ 888408 w 1739754"/>
                  <a:gd name="connsiteY66" fmla="*/ 1739652 h 2673102"/>
                  <a:gd name="connsiteX67" fmla="*/ 897933 w 1739754"/>
                  <a:gd name="connsiteY67" fmla="*/ 1782514 h 2673102"/>
                  <a:gd name="connsiteX68" fmla="*/ 940796 w 1739754"/>
                  <a:gd name="connsiteY68" fmla="*/ 1892052 h 2673102"/>
                  <a:gd name="connsiteX69" fmla="*/ 950321 w 1739754"/>
                  <a:gd name="connsiteY69" fmla="*/ 1906339 h 2673102"/>
                  <a:gd name="connsiteX70" fmla="*/ 959846 w 1739754"/>
                  <a:gd name="connsiteY70" fmla="*/ 1939677 h 2673102"/>
                  <a:gd name="connsiteX71" fmla="*/ 974133 w 1739754"/>
                  <a:gd name="connsiteY71" fmla="*/ 1977777 h 2673102"/>
                  <a:gd name="connsiteX72" fmla="*/ 964608 w 1739754"/>
                  <a:gd name="connsiteY72" fmla="*/ 2082552 h 2673102"/>
                  <a:gd name="connsiteX73" fmla="*/ 955083 w 1739754"/>
                  <a:gd name="connsiteY73" fmla="*/ 2101602 h 2673102"/>
                  <a:gd name="connsiteX74" fmla="*/ 926508 w 1739754"/>
                  <a:gd name="connsiteY74" fmla="*/ 2144464 h 2673102"/>
                  <a:gd name="connsiteX75" fmla="*/ 907458 w 1739754"/>
                  <a:gd name="connsiteY75" fmla="*/ 2192089 h 2673102"/>
                  <a:gd name="connsiteX76" fmla="*/ 902696 w 1739754"/>
                  <a:gd name="connsiteY76" fmla="*/ 2211139 h 2673102"/>
                  <a:gd name="connsiteX77" fmla="*/ 893171 w 1739754"/>
                  <a:gd name="connsiteY77" fmla="*/ 2239714 h 2673102"/>
                  <a:gd name="connsiteX78" fmla="*/ 897933 w 1739754"/>
                  <a:gd name="connsiteY78" fmla="*/ 2287339 h 2673102"/>
                  <a:gd name="connsiteX79" fmla="*/ 893171 w 1739754"/>
                  <a:gd name="connsiteY79" fmla="*/ 2396877 h 2673102"/>
                  <a:gd name="connsiteX80" fmla="*/ 688383 w 1739754"/>
                  <a:gd name="connsiteY80" fmla="*/ 2449264 h 2673102"/>
                  <a:gd name="connsiteX81" fmla="*/ 655046 w 1739754"/>
                  <a:gd name="connsiteY81" fmla="*/ 2473077 h 2673102"/>
                  <a:gd name="connsiteX82" fmla="*/ 607421 w 1739754"/>
                  <a:gd name="connsiteY82" fmla="*/ 2511177 h 2673102"/>
                  <a:gd name="connsiteX83" fmla="*/ 574083 w 1739754"/>
                  <a:gd name="connsiteY83" fmla="*/ 2534989 h 2673102"/>
                  <a:gd name="connsiteX84" fmla="*/ 540746 w 1739754"/>
                  <a:gd name="connsiteY84" fmla="*/ 2554039 h 2673102"/>
                  <a:gd name="connsiteX85" fmla="*/ 497883 w 1739754"/>
                  <a:gd name="connsiteY85" fmla="*/ 2587377 h 2673102"/>
                  <a:gd name="connsiteX86" fmla="*/ 483596 w 1739754"/>
                  <a:gd name="connsiteY86" fmla="*/ 2601664 h 2673102"/>
                  <a:gd name="connsiteX87" fmla="*/ 459783 w 1739754"/>
                  <a:gd name="connsiteY87" fmla="*/ 2620714 h 2673102"/>
                  <a:gd name="connsiteX88" fmla="*/ 450258 w 1739754"/>
                  <a:gd name="connsiteY88" fmla="*/ 2635002 h 2673102"/>
                  <a:gd name="connsiteX89" fmla="*/ 416921 w 1739754"/>
                  <a:gd name="connsiteY89" fmla="*/ 2654052 h 2673102"/>
                  <a:gd name="connsiteX90" fmla="*/ 374058 w 1739754"/>
                  <a:gd name="connsiteY90" fmla="*/ 2673102 h 2673102"/>
                  <a:gd name="connsiteX91" fmla="*/ 359771 w 1739754"/>
                  <a:gd name="connsiteY91" fmla="*/ 2663577 h 2673102"/>
                  <a:gd name="connsiteX92" fmla="*/ 345483 w 1739754"/>
                  <a:gd name="connsiteY92" fmla="*/ 2635002 h 2673102"/>
                  <a:gd name="connsiteX93" fmla="*/ 335958 w 1739754"/>
                  <a:gd name="connsiteY93" fmla="*/ 2620714 h 2673102"/>
                  <a:gd name="connsiteX94" fmla="*/ 297858 w 1739754"/>
                  <a:gd name="connsiteY94" fmla="*/ 2611189 h 2673102"/>
                  <a:gd name="connsiteX95" fmla="*/ 278808 w 1739754"/>
                  <a:gd name="connsiteY95" fmla="*/ 2592139 h 2673102"/>
                  <a:gd name="connsiteX96" fmla="*/ 274046 w 1739754"/>
                  <a:gd name="connsiteY96" fmla="*/ 2573089 h 2673102"/>
                  <a:gd name="connsiteX97" fmla="*/ 235946 w 1739754"/>
                  <a:gd name="connsiteY97" fmla="*/ 2539752 h 2673102"/>
                  <a:gd name="connsiteX98" fmla="*/ 231183 w 1739754"/>
                  <a:gd name="connsiteY98" fmla="*/ 2525464 h 2673102"/>
                  <a:gd name="connsiteX99" fmla="*/ 226421 w 1739754"/>
                  <a:gd name="connsiteY99" fmla="*/ 2506414 h 2673102"/>
                  <a:gd name="connsiteX100" fmla="*/ 212133 w 1739754"/>
                  <a:gd name="connsiteY100" fmla="*/ 2492127 h 2673102"/>
                  <a:gd name="connsiteX101" fmla="*/ 154983 w 1739754"/>
                  <a:gd name="connsiteY101" fmla="*/ 2439739 h 2673102"/>
                  <a:gd name="connsiteX102" fmla="*/ 150221 w 1739754"/>
                  <a:gd name="connsiteY102" fmla="*/ 2415927 h 2673102"/>
                  <a:gd name="connsiteX103" fmla="*/ 135933 w 1739754"/>
                  <a:gd name="connsiteY103" fmla="*/ 2358777 h 2673102"/>
                  <a:gd name="connsiteX104" fmla="*/ 121646 w 1739754"/>
                  <a:gd name="connsiteY104" fmla="*/ 2315914 h 2673102"/>
                  <a:gd name="connsiteX105" fmla="*/ 107358 w 1739754"/>
                  <a:gd name="connsiteY105" fmla="*/ 2258764 h 2673102"/>
                  <a:gd name="connsiteX106" fmla="*/ 102596 w 1739754"/>
                  <a:gd name="connsiteY106" fmla="*/ 2234952 h 2673102"/>
                  <a:gd name="connsiteX107" fmla="*/ 93071 w 1739754"/>
                  <a:gd name="connsiteY107" fmla="*/ 2211139 h 2673102"/>
                  <a:gd name="connsiteX108" fmla="*/ 88308 w 1739754"/>
                  <a:gd name="connsiteY108" fmla="*/ 2187327 h 2673102"/>
                  <a:gd name="connsiteX109" fmla="*/ 78783 w 1739754"/>
                  <a:gd name="connsiteY109" fmla="*/ 2111127 h 2673102"/>
                  <a:gd name="connsiteX110" fmla="*/ 97833 w 1739754"/>
                  <a:gd name="connsiteY110" fmla="*/ 1944439 h 2673102"/>
                  <a:gd name="connsiteX111" fmla="*/ 107358 w 1739754"/>
                  <a:gd name="connsiteY111" fmla="*/ 1930152 h 2673102"/>
                  <a:gd name="connsiteX112" fmla="*/ 126408 w 1739754"/>
                  <a:gd name="connsiteY112" fmla="*/ 1901577 h 2673102"/>
                  <a:gd name="connsiteX113" fmla="*/ 135933 w 1739754"/>
                  <a:gd name="connsiteY113" fmla="*/ 1868239 h 2673102"/>
                  <a:gd name="connsiteX114" fmla="*/ 131171 w 1739754"/>
                  <a:gd name="connsiteY114" fmla="*/ 1825377 h 2673102"/>
                  <a:gd name="connsiteX115" fmla="*/ 112121 w 1739754"/>
                  <a:gd name="connsiteY115" fmla="*/ 1820614 h 2673102"/>
                  <a:gd name="connsiteX116" fmla="*/ 102596 w 1739754"/>
                  <a:gd name="connsiteY116" fmla="*/ 1806327 h 2673102"/>
                  <a:gd name="connsiteX117" fmla="*/ 145458 w 1739754"/>
                  <a:gd name="connsiteY117" fmla="*/ 1720602 h 2673102"/>
                  <a:gd name="connsiteX118" fmla="*/ 159746 w 1739754"/>
                  <a:gd name="connsiteY118" fmla="*/ 1715839 h 2673102"/>
                  <a:gd name="connsiteX119" fmla="*/ 174033 w 1739754"/>
                  <a:gd name="connsiteY119" fmla="*/ 1696789 h 2673102"/>
                  <a:gd name="connsiteX120" fmla="*/ 188321 w 1739754"/>
                  <a:gd name="connsiteY120" fmla="*/ 1687264 h 2673102"/>
                  <a:gd name="connsiteX121" fmla="*/ 202608 w 1739754"/>
                  <a:gd name="connsiteY121" fmla="*/ 1653927 h 2673102"/>
                  <a:gd name="connsiteX122" fmla="*/ 193083 w 1739754"/>
                  <a:gd name="connsiteY122" fmla="*/ 1606302 h 2673102"/>
                  <a:gd name="connsiteX123" fmla="*/ 164508 w 1739754"/>
                  <a:gd name="connsiteY123" fmla="*/ 1596777 h 2673102"/>
                  <a:gd name="connsiteX124" fmla="*/ 154983 w 1739754"/>
                  <a:gd name="connsiteY124" fmla="*/ 1549152 h 2673102"/>
                  <a:gd name="connsiteX125" fmla="*/ 150221 w 1739754"/>
                  <a:gd name="connsiteY125" fmla="*/ 1411039 h 2673102"/>
                  <a:gd name="connsiteX126" fmla="*/ 140696 w 1739754"/>
                  <a:gd name="connsiteY126" fmla="*/ 1377702 h 2673102"/>
                  <a:gd name="connsiteX127" fmla="*/ 121646 w 1739754"/>
                  <a:gd name="connsiteY127" fmla="*/ 1311027 h 2673102"/>
                  <a:gd name="connsiteX128" fmla="*/ 116883 w 1739754"/>
                  <a:gd name="connsiteY128" fmla="*/ 1258639 h 2673102"/>
                  <a:gd name="connsiteX129" fmla="*/ 107358 w 1739754"/>
                  <a:gd name="connsiteY129" fmla="*/ 1244352 h 2673102"/>
                  <a:gd name="connsiteX130" fmla="*/ 93071 w 1739754"/>
                  <a:gd name="connsiteY130" fmla="*/ 1196727 h 2673102"/>
                  <a:gd name="connsiteX131" fmla="*/ 78783 w 1739754"/>
                  <a:gd name="connsiteY131" fmla="*/ 1177677 h 2673102"/>
                  <a:gd name="connsiteX132" fmla="*/ 59733 w 1739754"/>
                  <a:gd name="connsiteY132" fmla="*/ 1139577 h 2673102"/>
                  <a:gd name="connsiteX133" fmla="*/ 50208 w 1739754"/>
                  <a:gd name="connsiteY133" fmla="*/ 1111002 h 2673102"/>
                  <a:gd name="connsiteX134" fmla="*/ 45446 w 1739754"/>
                  <a:gd name="connsiteY134" fmla="*/ 1096714 h 2673102"/>
                  <a:gd name="connsiteX135" fmla="*/ 21633 w 1739754"/>
                  <a:gd name="connsiteY135" fmla="*/ 1025277 h 2673102"/>
                  <a:gd name="connsiteX136" fmla="*/ 202 w 1739754"/>
                  <a:gd name="connsiteY136" fmla="*/ 980033 h 2673102"/>
                  <a:gd name="connsiteX137" fmla="*/ 14490 w 1739754"/>
                  <a:gd name="connsiteY137" fmla="*/ 930027 h 2673102"/>
                  <a:gd name="connsiteX138" fmla="*/ 69259 w 1739754"/>
                  <a:gd name="connsiteY138" fmla="*/ 810964 h 2673102"/>
                  <a:gd name="connsiteX139" fmla="*/ 221658 w 1739754"/>
                  <a:gd name="connsiteY139" fmla="*/ 601414 h 2673102"/>
                  <a:gd name="connsiteX140" fmla="*/ 288333 w 1739754"/>
                  <a:gd name="connsiteY140" fmla="*/ 515689 h 2673102"/>
                  <a:gd name="connsiteX141" fmla="*/ 412158 w 1739754"/>
                  <a:gd name="connsiteY141" fmla="*/ 406152 h 2673102"/>
                  <a:gd name="connsiteX142" fmla="*/ 535983 w 1739754"/>
                  <a:gd name="connsiteY142" fmla="*/ 291851 h 2673102"/>
                  <a:gd name="connsiteX143" fmla="*/ 640758 w 1739754"/>
                  <a:gd name="connsiteY143" fmla="*/ 229939 h 2673102"/>
                  <a:gd name="connsiteX144" fmla="*/ 733628 w 1739754"/>
                  <a:gd name="connsiteY144" fmla="*/ 168026 h 2673102"/>
                  <a:gd name="connsiteX145" fmla="*/ 978896 w 1739754"/>
                  <a:gd name="connsiteY145" fmla="*/ 63251 h 2673102"/>
                  <a:gd name="connsiteX146" fmla="*/ 1159871 w 1739754"/>
                  <a:gd name="connsiteY146" fmla="*/ 6102 h 2673102"/>
                  <a:gd name="connsiteX147" fmla="*/ 1202733 w 1739754"/>
                  <a:gd name="connsiteY14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59758 w 1739754"/>
                  <a:gd name="connsiteY42" fmla="*/ 1296739 h 2673102"/>
                  <a:gd name="connsiteX43" fmla="*/ 240708 w 1739754"/>
                  <a:gd name="connsiteY43" fmla="*/ 1325314 h 2673102"/>
                  <a:gd name="connsiteX44" fmla="*/ 250233 w 1739754"/>
                  <a:gd name="connsiteY44" fmla="*/ 1425327 h 2673102"/>
                  <a:gd name="connsiteX45" fmla="*/ 278808 w 1739754"/>
                  <a:gd name="connsiteY45" fmla="*/ 1472952 h 2673102"/>
                  <a:gd name="connsiteX46" fmla="*/ 293096 w 1739754"/>
                  <a:gd name="connsiteY46" fmla="*/ 1492002 h 2673102"/>
                  <a:gd name="connsiteX47" fmla="*/ 383583 w 1739754"/>
                  <a:gd name="connsiteY47" fmla="*/ 1525339 h 2673102"/>
                  <a:gd name="connsiteX48" fmla="*/ 407396 w 1739754"/>
                  <a:gd name="connsiteY48" fmla="*/ 1492002 h 2673102"/>
                  <a:gd name="connsiteX49" fmla="*/ 412158 w 1739754"/>
                  <a:gd name="connsiteY49" fmla="*/ 1468189 h 2673102"/>
                  <a:gd name="connsiteX50" fmla="*/ 416921 w 1739754"/>
                  <a:gd name="connsiteY50" fmla="*/ 1449139 h 2673102"/>
                  <a:gd name="connsiteX51" fmla="*/ 445496 w 1739754"/>
                  <a:gd name="connsiteY51" fmla="*/ 1439614 h 2673102"/>
                  <a:gd name="connsiteX52" fmla="*/ 545508 w 1739754"/>
                  <a:gd name="connsiteY52" fmla="*/ 1458664 h 2673102"/>
                  <a:gd name="connsiteX53" fmla="*/ 555033 w 1739754"/>
                  <a:gd name="connsiteY53" fmla="*/ 1482477 h 2673102"/>
                  <a:gd name="connsiteX54" fmla="*/ 564558 w 1739754"/>
                  <a:gd name="connsiteY54" fmla="*/ 1515814 h 2673102"/>
                  <a:gd name="connsiteX55" fmla="*/ 550271 w 1739754"/>
                  <a:gd name="connsiteY55" fmla="*/ 1534864 h 2673102"/>
                  <a:gd name="connsiteX56" fmla="*/ 550271 w 1739754"/>
                  <a:gd name="connsiteY56" fmla="*/ 1601539 h 2673102"/>
                  <a:gd name="connsiteX57" fmla="*/ 559796 w 1739754"/>
                  <a:gd name="connsiteY57" fmla="*/ 1620589 h 2673102"/>
                  <a:gd name="connsiteX58" fmla="*/ 626471 w 1739754"/>
                  <a:gd name="connsiteY58" fmla="*/ 1639639 h 2673102"/>
                  <a:gd name="connsiteX59" fmla="*/ 645521 w 1739754"/>
                  <a:gd name="connsiteY59" fmla="*/ 1592014 h 2673102"/>
                  <a:gd name="connsiteX60" fmla="*/ 702671 w 1739754"/>
                  <a:gd name="connsiteY60" fmla="*/ 1620589 h 2673102"/>
                  <a:gd name="connsiteX61" fmla="*/ 731246 w 1739754"/>
                  <a:gd name="connsiteY61" fmla="*/ 1630114 h 2673102"/>
                  <a:gd name="connsiteX62" fmla="*/ 783633 w 1739754"/>
                  <a:gd name="connsiteY62" fmla="*/ 1663452 h 2673102"/>
                  <a:gd name="connsiteX63" fmla="*/ 859833 w 1739754"/>
                  <a:gd name="connsiteY63" fmla="*/ 1687264 h 2673102"/>
                  <a:gd name="connsiteX64" fmla="*/ 878883 w 1739754"/>
                  <a:gd name="connsiteY64" fmla="*/ 1701552 h 2673102"/>
                  <a:gd name="connsiteX65" fmla="*/ 888408 w 1739754"/>
                  <a:gd name="connsiteY65" fmla="*/ 1739652 h 2673102"/>
                  <a:gd name="connsiteX66" fmla="*/ 897933 w 1739754"/>
                  <a:gd name="connsiteY66" fmla="*/ 1782514 h 2673102"/>
                  <a:gd name="connsiteX67" fmla="*/ 940796 w 1739754"/>
                  <a:gd name="connsiteY67" fmla="*/ 1892052 h 2673102"/>
                  <a:gd name="connsiteX68" fmla="*/ 950321 w 1739754"/>
                  <a:gd name="connsiteY68" fmla="*/ 1906339 h 2673102"/>
                  <a:gd name="connsiteX69" fmla="*/ 959846 w 1739754"/>
                  <a:gd name="connsiteY69" fmla="*/ 1939677 h 2673102"/>
                  <a:gd name="connsiteX70" fmla="*/ 974133 w 1739754"/>
                  <a:gd name="connsiteY70" fmla="*/ 1977777 h 2673102"/>
                  <a:gd name="connsiteX71" fmla="*/ 964608 w 1739754"/>
                  <a:gd name="connsiteY71" fmla="*/ 2082552 h 2673102"/>
                  <a:gd name="connsiteX72" fmla="*/ 955083 w 1739754"/>
                  <a:gd name="connsiteY72" fmla="*/ 2101602 h 2673102"/>
                  <a:gd name="connsiteX73" fmla="*/ 926508 w 1739754"/>
                  <a:gd name="connsiteY73" fmla="*/ 2144464 h 2673102"/>
                  <a:gd name="connsiteX74" fmla="*/ 907458 w 1739754"/>
                  <a:gd name="connsiteY74" fmla="*/ 2192089 h 2673102"/>
                  <a:gd name="connsiteX75" fmla="*/ 902696 w 1739754"/>
                  <a:gd name="connsiteY75" fmla="*/ 2211139 h 2673102"/>
                  <a:gd name="connsiteX76" fmla="*/ 893171 w 1739754"/>
                  <a:gd name="connsiteY76" fmla="*/ 2239714 h 2673102"/>
                  <a:gd name="connsiteX77" fmla="*/ 897933 w 1739754"/>
                  <a:gd name="connsiteY77" fmla="*/ 2287339 h 2673102"/>
                  <a:gd name="connsiteX78" fmla="*/ 893171 w 1739754"/>
                  <a:gd name="connsiteY78" fmla="*/ 2396877 h 2673102"/>
                  <a:gd name="connsiteX79" fmla="*/ 688383 w 1739754"/>
                  <a:gd name="connsiteY79" fmla="*/ 2449264 h 2673102"/>
                  <a:gd name="connsiteX80" fmla="*/ 655046 w 1739754"/>
                  <a:gd name="connsiteY80" fmla="*/ 2473077 h 2673102"/>
                  <a:gd name="connsiteX81" fmla="*/ 607421 w 1739754"/>
                  <a:gd name="connsiteY81" fmla="*/ 2511177 h 2673102"/>
                  <a:gd name="connsiteX82" fmla="*/ 574083 w 1739754"/>
                  <a:gd name="connsiteY82" fmla="*/ 2534989 h 2673102"/>
                  <a:gd name="connsiteX83" fmla="*/ 540746 w 1739754"/>
                  <a:gd name="connsiteY83" fmla="*/ 2554039 h 2673102"/>
                  <a:gd name="connsiteX84" fmla="*/ 497883 w 1739754"/>
                  <a:gd name="connsiteY84" fmla="*/ 2587377 h 2673102"/>
                  <a:gd name="connsiteX85" fmla="*/ 483596 w 1739754"/>
                  <a:gd name="connsiteY85" fmla="*/ 2601664 h 2673102"/>
                  <a:gd name="connsiteX86" fmla="*/ 459783 w 1739754"/>
                  <a:gd name="connsiteY86" fmla="*/ 2620714 h 2673102"/>
                  <a:gd name="connsiteX87" fmla="*/ 450258 w 1739754"/>
                  <a:gd name="connsiteY87" fmla="*/ 2635002 h 2673102"/>
                  <a:gd name="connsiteX88" fmla="*/ 416921 w 1739754"/>
                  <a:gd name="connsiteY88" fmla="*/ 2654052 h 2673102"/>
                  <a:gd name="connsiteX89" fmla="*/ 374058 w 1739754"/>
                  <a:gd name="connsiteY89" fmla="*/ 2673102 h 2673102"/>
                  <a:gd name="connsiteX90" fmla="*/ 359771 w 1739754"/>
                  <a:gd name="connsiteY90" fmla="*/ 2663577 h 2673102"/>
                  <a:gd name="connsiteX91" fmla="*/ 345483 w 1739754"/>
                  <a:gd name="connsiteY91" fmla="*/ 2635002 h 2673102"/>
                  <a:gd name="connsiteX92" fmla="*/ 335958 w 1739754"/>
                  <a:gd name="connsiteY92" fmla="*/ 2620714 h 2673102"/>
                  <a:gd name="connsiteX93" fmla="*/ 297858 w 1739754"/>
                  <a:gd name="connsiteY93" fmla="*/ 2611189 h 2673102"/>
                  <a:gd name="connsiteX94" fmla="*/ 278808 w 1739754"/>
                  <a:gd name="connsiteY94" fmla="*/ 2592139 h 2673102"/>
                  <a:gd name="connsiteX95" fmla="*/ 274046 w 1739754"/>
                  <a:gd name="connsiteY95" fmla="*/ 2573089 h 2673102"/>
                  <a:gd name="connsiteX96" fmla="*/ 235946 w 1739754"/>
                  <a:gd name="connsiteY96" fmla="*/ 2539752 h 2673102"/>
                  <a:gd name="connsiteX97" fmla="*/ 231183 w 1739754"/>
                  <a:gd name="connsiteY97" fmla="*/ 2525464 h 2673102"/>
                  <a:gd name="connsiteX98" fmla="*/ 226421 w 1739754"/>
                  <a:gd name="connsiteY98" fmla="*/ 2506414 h 2673102"/>
                  <a:gd name="connsiteX99" fmla="*/ 212133 w 1739754"/>
                  <a:gd name="connsiteY99" fmla="*/ 2492127 h 2673102"/>
                  <a:gd name="connsiteX100" fmla="*/ 154983 w 1739754"/>
                  <a:gd name="connsiteY100" fmla="*/ 2439739 h 2673102"/>
                  <a:gd name="connsiteX101" fmla="*/ 150221 w 1739754"/>
                  <a:gd name="connsiteY101" fmla="*/ 2415927 h 2673102"/>
                  <a:gd name="connsiteX102" fmla="*/ 135933 w 1739754"/>
                  <a:gd name="connsiteY102" fmla="*/ 2358777 h 2673102"/>
                  <a:gd name="connsiteX103" fmla="*/ 121646 w 1739754"/>
                  <a:gd name="connsiteY103" fmla="*/ 2315914 h 2673102"/>
                  <a:gd name="connsiteX104" fmla="*/ 107358 w 1739754"/>
                  <a:gd name="connsiteY104" fmla="*/ 2258764 h 2673102"/>
                  <a:gd name="connsiteX105" fmla="*/ 102596 w 1739754"/>
                  <a:gd name="connsiteY105" fmla="*/ 2234952 h 2673102"/>
                  <a:gd name="connsiteX106" fmla="*/ 93071 w 1739754"/>
                  <a:gd name="connsiteY106" fmla="*/ 2211139 h 2673102"/>
                  <a:gd name="connsiteX107" fmla="*/ 88308 w 1739754"/>
                  <a:gd name="connsiteY107" fmla="*/ 2187327 h 2673102"/>
                  <a:gd name="connsiteX108" fmla="*/ 78783 w 1739754"/>
                  <a:gd name="connsiteY108" fmla="*/ 2111127 h 2673102"/>
                  <a:gd name="connsiteX109" fmla="*/ 97833 w 1739754"/>
                  <a:gd name="connsiteY109" fmla="*/ 1944439 h 2673102"/>
                  <a:gd name="connsiteX110" fmla="*/ 107358 w 1739754"/>
                  <a:gd name="connsiteY110" fmla="*/ 1930152 h 2673102"/>
                  <a:gd name="connsiteX111" fmla="*/ 126408 w 1739754"/>
                  <a:gd name="connsiteY111" fmla="*/ 1901577 h 2673102"/>
                  <a:gd name="connsiteX112" fmla="*/ 135933 w 1739754"/>
                  <a:gd name="connsiteY112" fmla="*/ 1868239 h 2673102"/>
                  <a:gd name="connsiteX113" fmla="*/ 131171 w 1739754"/>
                  <a:gd name="connsiteY113" fmla="*/ 1825377 h 2673102"/>
                  <a:gd name="connsiteX114" fmla="*/ 112121 w 1739754"/>
                  <a:gd name="connsiteY114" fmla="*/ 1820614 h 2673102"/>
                  <a:gd name="connsiteX115" fmla="*/ 102596 w 1739754"/>
                  <a:gd name="connsiteY115" fmla="*/ 1806327 h 2673102"/>
                  <a:gd name="connsiteX116" fmla="*/ 145458 w 1739754"/>
                  <a:gd name="connsiteY116" fmla="*/ 1720602 h 2673102"/>
                  <a:gd name="connsiteX117" fmla="*/ 159746 w 1739754"/>
                  <a:gd name="connsiteY117" fmla="*/ 1715839 h 2673102"/>
                  <a:gd name="connsiteX118" fmla="*/ 174033 w 1739754"/>
                  <a:gd name="connsiteY118" fmla="*/ 1696789 h 2673102"/>
                  <a:gd name="connsiteX119" fmla="*/ 188321 w 1739754"/>
                  <a:gd name="connsiteY119" fmla="*/ 1687264 h 2673102"/>
                  <a:gd name="connsiteX120" fmla="*/ 202608 w 1739754"/>
                  <a:gd name="connsiteY120" fmla="*/ 1653927 h 2673102"/>
                  <a:gd name="connsiteX121" fmla="*/ 193083 w 1739754"/>
                  <a:gd name="connsiteY121" fmla="*/ 1606302 h 2673102"/>
                  <a:gd name="connsiteX122" fmla="*/ 164508 w 1739754"/>
                  <a:gd name="connsiteY122" fmla="*/ 1596777 h 2673102"/>
                  <a:gd name="connsiteX123" fmla="*/ 154983 w 1739754"/>
                  <a:gd name="connsiteY123" fmla="*/ 1549152 h 2673102"/>
                  <a:gd name="connsiteX124" fmla="*/ 150221 w 1739754"/>
                  <a:gd name="connsiteY124" fmla="*/ 1411039 h 2673102"/>
                  <a:gd name="connsiteX125" fmla="*/ 140696 w 1739754"/>
                  <a:gd name="connsiteY125" fmla="*/ 1377702 h 2673102"/>
                  <a:gd name="connsiteX126" fmla="*/ 121646 w 1739754"/>
                  <a:gd name="connsiteY126" fmla="*/ 1311027 h 2673102"/>
                  <a:gd name="connsiteX127" fmla="*/ 116883 w 1739754"/>
                  <a:gd name="connsiteY127" fmla="*/ 1258639 h 2673102"/>
                  <a:gd name="connsiteX128" fmla="*/ 107358 w 1739754"/>
                  <a:gd name="connsiteY128" fmla="*/ 1244352 h 2673102"/>
                  <a:gd name="connsiteX129" fmla="*/ 93071 w 1739754"/>
                  <a:gd name="connsiteY129" fmla="*/ 1196727 h 2673102"/>
                  <a:gd name="connsiteX130" fmla="*/ 78783 w 1739754"/>
                  <a:gd name="connsiteY130" fmla="*/ 1177677 h 2673102"/>
                  <a:gd name="connsiteX131" fmla="*/ 59733 w 1739754"/>
                  <a:gd name="connsiteY131" fmla="*/ 1139577 h 2673102"/>
                  <a:gd name="connsiteX132" fmla="*/ 50208 w 1739754"/>
                  <a:gd name="connsiteY132" fmla="*/ 1111002 h 2673102"/>
                  <a:gd name="connsiteX133" fmla="*/ 45446 w 1739754"/>
                  <a:gd name="connsiteY133" fmla="*/ 1096714 h 2673102"/>
                  <a:gd name="connsiteX134" fmla="*/ 21633 w 1739754"/>
                  <a:gd name="connsiteY134" fmla="*/ 1025277 h 2673102"/>
                  <a:gd name="connsiteX135" fmla="*/ 202 w 1739754"/>
                  <a:gd name="connsiteY135" fmla="*/ 980033 h 2673102"/>
                  <a:gd name="connsiteX136" fmla="*/ 14490 w 1739754"/>
                  <a:gd name="connsiteY136" fmla="*/ 930027 h 2673102"/>
                  <a:gd name="connsiteX137" fmla="*/ 69259 w 1739754"/>
                  <a:gd name="connsiteY137" fmla="*/ 810964 h 2673102"/>
                  <a:gd name="connsiteX138" fmla="*/ 221658 w 1739754"/>
                  <a:gd name="connsiteY138" fmla="*/ 601414 h 2673102"/>
                  <a:gd name="connsiteX139" fmla="*/ 288333 w 1739754"/>
                  <a:gd name="connsiteY139" fmla="*/ 515689 h 2673102"/>
                  <a:gd name="connsiteX140" fmla="*/ 412158 w 1739754"/>
                  <a:gd name="connsiteY140" fmla="*/ 406152 h 2673102"/>
                  <a:gd name="connsiteX141" fmla="*/ 535983 w 1739754"/>
                  <a:gd name="connsiteY141" fmla="*/ 291851 h 2673102"/>
                  <a:gd name="connsiteX142" fmla="*/ 640758 w 1739754"/>
                  <a:gd name="connsiteY142" fmla="*/ 229939 h 2673102"/>
                  <a:gd name="connsiteX143" fmla="*/ 733628 w 1739754"/>
                  <a:gd name="connsiteY143" fmla="*/ 168026 h 2673102"/>
                  <a:gd name="connsiteX144" fmla="*/ 978896 w 1739754"/>
                  <a:gd name="connsiteY144" fmla="*/ 63251 h 2673102"/>
                  <a:gd name="connsiteX145" fmla="*/ 1159871 w 1739754"/>
                  <a:gd name="connsiteY145" fmla="*/ 6102 h 2673102"/>
                  <a:gd name="connsiteX146" fmla="*/ 1202733 w 1739754"/>
                  <a:gd name="connsiteY14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59758 w 1739754"/>
                  <a:gd name="connsiteY42" fmla="*/ 1296739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293096 w 1739754"/>
                  <a:gd name="connsiteY45" fmla="*/ 1492002 h 2673102"/>
                  <a:gd name="connsiteX46" fmla="*/ 383583 w 1739754"/>
                  <a:gd name="connsiteY46" fmla="*/ 1525339 h 2673102"/>
                  <a:gd name="connsiteX47" fmla="*/ 407396 w 1739754"/>
                  <a:gd name="connsiteY47" fmla="*/ 1492002 h 2673102"/>
                  <a:gd name="connsiteX48" fmla="*/ 412158 w 1739754"/>
                  <a:gd name="connsiteY48" fmla="*/ 1468189 h 2673102"/>
                  <a:gd name="connsiteX49" fmla="*/ 416921 w 1739754"/>
                  <a:gd name="connsiteY49" fmla="*/ 1449139 h 2673102"/>
                  <a:gd name="connsiteX50" fmla="*/ 445496 w 1739754"/>
                  <a:gd name="connsiteY50" fmla="*/ 1439614 h 2673102"/>
                  <a:gd name="connsiteX51" fmla="*/ 545508 w 1739754"/>
                  <a:gd name="connsiteY51" fmla="*/ 1458664 h 2673102"/>
                  <a:gd name="connsiteX52" fmla="*/ 555033 w 1739754"/>
                  <a:gd name="connsiteY52" fmla="*/ 1482477 h 2673102"/>
                  <a:gd name="connsiteX53" fmla="*/ 564558 w 1739754"/>
                  <a:gd name="connsiteY53" fmla="*/ 1515814 h 2673102"/>
                  <a:gd name="connsiteX54" fmla="*/ 550271 w 1739754"/>
                  <a:gd name="connsiteY54" fmla="*/ 1534864 h 2673102"/>
                  <a:gd name="connsiteX55" fmla="*/ 550271 w 1739754"/>
                  <a:gd name="connsiteY55" fmla="*/ 1601539 h 2673102"/>
                  <a:gd name="connsiteX56" fmla="*/ 559796 w 1739754"/>
                  <a:gd name="connsiteY56" fmla="*/ 1620589 h 2673102"/>
                  <a:gd name="connsiteX57" fmla="*/ 626471 w 1739754"/>
                  <a:gd name="connsiteY57" fmla="*/ 1639639 h 2673102"/>
                  <a:gd name="connsiteX58" fmla="*/ 645521 w 1739754"/>
                  <a:gd name="connsiteY58" fmla="*/ 1592014 h 2673102"/>
                  <a:gd name="connsiteX59" fmla="*/ 702671 w 1739754"/>
                  <a:gd name="connsiteY59" fmla="*/ 1620589 h 2673102"/>
                  <a:gd name="connsiteX60" fmla="*/ 731246 w 1739754"/>
                  <a:gd name="connsiteY60" fmla="*/ 1630114 h 2673102"/>
                  <a:gd name="connsiteX61" fmla="*/ 783633 w 1739754"/>
                  <a:gd name="connsiteY61" fmla="*/ 1663452 h 2673102"/>
                  <a:gd name="connsiteX62" fmla="*/ 859833 w 1739754"/>
                  <a:gd name="connsiteY62" fmla="*/ 1687264 h 2673102"/>
                  <a:gd name="connsiteX63" fmla="*/ 878883 w 1739754"/>
                  <a:gd name="connsiteY63" fmla="*/ 1701552 h 2673102"/>
                  <a:gd name="connsiteX64" fmla="*/ 888408 w 1739754"/>
                  <a:gd name="connsiteY64" fmla="*/ 1739652 h 2673102"/>
                  <a:gd name="connsiteX65" fmla="*/ 897933 w 1739754"/>
                  <a:gd name="connsiteY65" fmla="*/ 1782514 h 2673102"/>
                  <a:gd name="connsiteX66" fmla="*/ 940796 w 1739754"/>
                  <a:gd name="connsiteY66" fmla="*/ 1892052 h 2673102"/>
                  <a:gd name="connsiteX67" fmla="*/ 950321 w 1739754"/>
                  <a:gd name="connsiteY67" fmla="*/ 1906339 h 2673102"/>
                  <a:gd name="connsiteX68" fmla="*/ 959846 w 1739754"/>
                  <a:gd name="connsiteY68" fmla="*/ 1939677 h 2673102"/>
                  <a:gd name="connsiteX69" fmla="*/ 974133 w 1739754"/>
                  <a:gd name="connsiteY69" fmla="*/ 1977777 h 2673102"/>
                  <a:gd name="connsiteX70" fmla="*/ 964608 w 1739754"/>
                  <a:gd name="connsiteY70" fmla="*/ 2082552 h 2673102"/>
                  <a:gd name="connsiteX71" fmla="*/ 955083 w 1739754"/>
                  <a:gd name="connsiteY71" fmla="*/ 2101602 h 2673102"/>
                  <a:gd name="connsiteX72" fmla="*/ 926508 w 1739754"/>
                  <a:gd name="connsiteY72" fmla="*/ 2144464 h 2673102"/>
                  <a:gd name="connsiteX73" fmla="*/ 907458 w 1739754"/>
                  <a:gd name="connsiteY73" fmla="*/ 2192089 h 2673102"/>
                  <a:gd name="connsiteX74" fmla="*/ 902696 w 1739754"/>
                  <a:gd name="connsiteY74" fmla="*/ 2211139 h 2673102"/>
                  <a:gd name="connsiteX75" fmla="*/ 893171 w 1739754"/>
                  <a:gd name="connsiteY75" fmla="*/ 2239714 h 2673102"/>
                  <a:gd name="connsiteX76" fmla="*/ 897933 w 1739754"/>
                  <a:gd name="connsiteY76" fmla="*/ 2287339 h 2673102"/>
                  <a:gd name="connsiteX77" fmla="*/ 893171 w 1739754"/>
                  <a:gd name="connsiteY77" fmla="*/ 2396877 h 2673102"/>
                  <a:gd name="connsiteX78" fmla="*/ 688383 w 1739754"/>
                  <a:gd name="connsiteY78" fmla="*/ 2449264 h 2673102"/>
                  <a:gd name="connsiteX79" fmla="*/ 655046 w 1739754"/>
                  <a:gd name="connsiteY79" fmla="*/ 2473077 h 2673102"/>
                  <a:gd name="connsiteX80" fmla="*/ 607421 w 1739754"/>
                  <a:gd name="connsiteY80" fmla="*/ 2511177 h 2673102"/>
                  <a:gd name="connsiteX81" fmla="*/ 574083 w 1739754"/>
                  <a:gd name="connsiteY81" fmla="*/ 2534989 h 2673102"/>
                  <a:gd name="connsiteX82" fmla="*/ 540746 w 1739754"/>
                  <a:gd name="connsiteY82" fmla="*/ 2554039 h 2673102"/>
                  <a:gd name="connsiteX83" fmla="*/ 497883 w 1739754"/>
                  <a:gd name="connsiteY83" fmla="*/ 2587377 h 2673102"/>
                  <a:gd name="connsiteX84" fmla="*/ 483596 w 1739754"/>
                  <a:gd name="connsiteY84" fmla="*/ 2601664 h 2673102"/>
                  <a:gd name="connsiteX85" fmla="*/ 459783 w 1739754"/>
                  <a:gd name="connsiteY85" fmla="*/ 2620714 h 2673102"/>
                  <a:gd name="connsiteX86" fmla="*/ 450258 w 1739754"/>
                  <a:gd name="connsiteY86" fmla="*/ 2635002 h 2673102"/>
                  <a:gd name="connsiteX87" fmla="*/ 416921 w 1739754"/>
                  <a:gd name="connsiteY87" fmla="*/ 2654052 h 2673102"/>
                  <a:gd name="connsiteX88" fmla="*/ 374058 w 1739754"/>
                  <a:gd name="connsiteY88" fmla="*/ 2673102 h 2673102"/>
                  <a:gd name="connsiteX89" fmla="*/ 359771 w 1739754"/>
                  <a:gd name="connsiteY89" fmla="*/ 2663577 h 2673102"/>
                  <a:gd name="connsiteX90" fmla="*/ 345483 w 1739754"/>
                  <a:gd name="connsiteY90" fmla="*/ 2635002 h 2673102"/>
                  <a:gd name="connsiteX91" fmla="*/ 335958 w 1739754"/>
                  <a:gd name="connsiteY91" fmla="*/ 2620714 h 2673102"/>
                  <a:gd name="connsiteX92" fmla="*/ 297858 w 1739754"/>
                  <a:gd name="connsiteY92" fmla="*/ 2611189 h 2673102"/>
                  <a:gd name="connsiteX93" fmla="*/ 278808 w 1739754"/>
                  <a:gd name="connsiteY93" fmla="*/ 2592139 h 2673102"/>
                  <a:gd name="connsiteX94" fmla="*/ 274046 w 1739754"/>
                  <a:gd name="connsiteY94" fmla="*/ 2573089 h 2673102"/>
                  <a:gd name="connsiteX95" fmla="*/ 235946 w 1739754"/>
                  <a:gd name="connsiteY95" fmla="*/ 2539752 h 2673102"/>
                  <a:gd name="connsiteX96" fmla="*/ 231183 w 1739754"/>
                  <a:gd name="connsiteY96" fmla="*/ 2525464 h 2673102"/>
                  <a:gd name="connsiteX97" fmla="*/ 226421 w 1739754"/>
                  <a:gd name="connsiteY97" fmla="*/ 2506414 h 2673102"/>
                  <a:gd name="connsiteX98" fmla="*/ 212133 w 1739754"/>
                  <a:gd name="connsiteY98" fmla="*/ 2492127 h 2673102"/>
                  <a:gd name="connsiteX99" fmla="*/ 154983 w 1739754"/>
                  <a:gd name="connsiteY99" fmla="*/ 2439739 h 2673102"/>
                  <a:gd name="connsiteX100" fmla="*/ 150221 w 1739754"/>
                  <a:gd name="connsiteY100" fmla="*/ 2415927 h 2673102"/>
                  <a:gd name="connsiteX101" fmla="*/ 135933 w 1739754"/>
                  <a:gd name="connsiteY101" fmla="*/ 2358777 h 2673102"/>
                  <a:gd name="connsiteX102" fmla="*/ 121646 w 1739754"/>
                  <a:gd name="connsiteY102" fmla="*/ 2315914 h 2673102"/>
                  <a:gd name="connsiteX103" fmla="*/ 107358 w 1739754"/>
                  <a:gd name="connsiteY103" fmla="*/ 2258764 h 2673102"/>
                  <a:gd name="connsiteX104" fmla="*/ 102596 w 1739754"/>
                  <a:gd name="connsiteY104" fmla="*/ 2234952 h 2673102"/>
                  <a:gd name="connsiteX105" fmla="*/ 93071 w 1739754"/>
                  <a:gd name="connsiteY105" fmla="*/ 2211139 h 2673102"/>
                  <a:gd name="connsiteX106" fmla="*/ 88308 w 1739754"/>
                  <a:gd name="connsiteY106" fmla="*/ 2187327 h 2673102"/>
                  <a:gd name="connsiteX107" fmla="*/ 78783 w 1739754"/>
                  <a:gd name="connsiteY107" fmla="*/ 2111127 h 2673102"/>
                  <a:gd name="connsiteX108" fmla="*/ 97833 w 1739754"/>
                  <a:gd name="connsiteY108" fmla="*/ 1944439 h 2673102"/>
                  <a:gd name="connsiteX109" fmla="*/ 107358 w 1739754"/>
                  <a:gd name="connsiteY109" fmla="*/ 1930152 h 2673102"/>
                  <a:gd name="connsiteX110" fmla="*/ 126408 w 1739754"/>
                  <a:gd name="connsiteY110" fmla="*/ 1901577 h 2673102"/>
                  <a:gd name="connsiteX111" fmla="*/ 135933 w 1739754"/>
                  <a:gd name="connsiteY111" fmla="*/ 1868239 h 2673102"/>
                  <a:gd name="connsiteX112" fmla="*/ 131171 w 1739754"/>
                  <a:gd name="connsiteY112" fmla="*/ 1825377 h 2673102"/>
                  <a:gd name="connsiteX113" fmla="*/ 112121 w 1739754"/>
                  <a:gd name="connsiteY113" fmla="*/ 1820614 h 2673102"/>
                  <a:gd name="connsiteX114" fmla="*/ 102596 w 1739754"/>
                  <a:gd name="connsiteY114" fmla="*/ 1806327 h 2673102"/>
                  <a:gd name="connsiteX115" fmla="*/ 145458 w 1739754"/>
                  <a:gd name="connsiteY115" fmla="*/ 1720602 h 2673102"/>
                  <a:gd name="connsiteX116" fmla="*/ 159746 w 1739754"/>
                  <a:gd name="connsiteY116" fmla="*/ 1715839 h 2673102"/>
                  <a:gd name="connsiteX117" fmla="*/ 174033 w 1739754"/>
                  <a:gd name="connsiteY117" fmla="*/ 1696789 h 2673102"/>
                  <a:gd name="connsiteX118" fmla="*/ 188321 w 1739754"/>
                  <a:gd name="connsiteY118" fmla="*/ 1687264 h 2673102"/>
                  <a:gd name="connsiteX119" fmla="*/ 202608 w 1739754"/>
                  <a:gd name="connsiteY119" fmla="*/ 1653927 h 2673102"/>
                  <a:gd name="connsiteX120" fmla="*/ 193083 w 1739754"/>
                  <a:gd name="connsiteY120" fmla="*/ 1606302 h 2673102"/>
                  <a:gd name="connsiteX121" fmla="*/ 164508 w 1739754"/>
                  <a:gd name="connsiteY121" fmla="*/ 1596777 h 2673102"/>
                  <a:gd name="connsiteX122" fmla="*/ 154983 w 1739754"/>
                  <a:gd name="connsiteY122" fmla="*/ 1549152 h 2673102"/>
                  <a:gd name="connsiteX123" fmla="*/ 150221 w 1739754"/>
                  <a:gd name="connsiteY123" fmla="*/ 1411039 h 2673102"/>
                  <a:gd name="connsiteX124" fmla="*/ 140696 w 1739754"/>
                  <a:gd name="connsiteY124" fmla="*/ 1377702 h 2673102"/>
                  <a:gd name="connsiteX125" fmla="*/ 121646 w 1739754"/>
                  <a:gd name="connsiteY125" fmla="*/ 1311027 h 2673102"/>
                  <a:gd name="connsiteX126" fmla="*/ 116883 w 1739754"/>
                  <a:gd name="connsiteY126" fmla="*/ 1258639 h 2673102"/>
                  <a:gd name="connsiteX127" fmla="*/ 107358 w 1739754"/>
                  <a:gd name="connsiteY127" fmla="*/ 1244352 h 2673102"/>
                  <a:gd name="connsiteX128" fmla="*/ 93071 w 1739754"/>
                  <a:gd name="connsiteY128" fmla="*/ 1196727 h 2673102"/>
                  <a:gd name="connsiteX129" fmla="*/ 78783 w 1739754"/>
                  <a:gd name="connsiteY129" fmla="*/ 1177677 h 2673102"/>
                  <a:gd name="connsiteX130" fmla="*/ 59733 w 1739754"/>
                  <a:gd name="connsiteY130" fmla="*/ 1139577 h 2673102"/>
                  <a:gd name="connsiteX131" fmla="*/ 50208 w 1739754"/>
                  <a:gd name="connsiteY131" fmla="*/ 1111002 h 2673102"/>
                  <a:gd name="connsiteX132" fmla="*/ 45446 w 1739754"/>
                  <a:gd name="connsiteY132" fmla="*/ 1096714 h 2673102"/>
                  <a:gd name="connsiteX133" fmla="*/ 21633 w 1739754"/>
                  <a:gd name="connsiteY133" fmla="*/ 1025277 h 2673102"/>
                  <a:gd name="connsiteX134" fmla="*/ 202 w 1739754"/>
                  <a:gd name="connsiteY134" fmla="*/ 980033 h 2673102"/>
                  <a:gd name="connsiteX135" fmla="*/ 14490 w 1739754"/>
                  <a:gd name="connsiteY135" fmla="*/ 930027 h 2673102"/>
                  <a:gd name="connsiteX136" fmla="*/ 69259 w 1739754"/>
                  <a:gd name="connsiteY136" fmla="*/ 810964 h 2673102"/>
                  <a:gd name="connsiteX137" fmla="*/ 221658 w 1739754"/>
                  <a:gd name="connsiteY137" fmla="*/ 601414 h 2673102"/>
                  <a:gd name="connsiteX138" fmla="*/ 288333 w 1739754"/>
                  <a:gd name="connsiteY138" fmla="*/ 515689 h 2673102"/>
                  <a:gd name="connsiteX139" fmla="*/ 412158 w 1739754"/>
                  <a:gd name="connsiteY139" fmla="*/ 406152 h 2673102"/>
                  <a:gd name="connsiteX140" fmla="*/ 535983 w 1739754"/>
                  <a:gd name="connsiteY140" fmla="*/ 291851 h 2673102"/>
                  <a:gd name="connsiteX141" fmla="*/ 640758 w 1739754"/>
                  <a:gd name="connsiteY141" fmla="*/ 229939 h 2673102"/>
                  <a:gd name="connsiteX142" fmla="*/ 733628 w 1739754"/>
                  <a:gd name="connsiteY142" fmla="*/ 168026 h 2673102"/>
                  <a:gd name="connsiteX143" fmla="*/ 978896 w 1739754"/>
                  <a:gd name="connsiteY143" fmla="*/ 63251 h 2673102"/>
                  <a:gd name="connsiteX144" fmla="*/ 1159871 w 1739754"/>
                  <a:gd name="connsiteY144" fmla="*/ 6102 h 2673102"/>
                  <a:gd name="connsiteX145" fmla="*/ 1202733 w 1739754"/>
                  <a:gd name="connsiteY14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293096 w 1739754"/>
                  <a:gd name="connsiteY45" fmla="*/ 1492002 h 2673102"/>
                  <a:gd name="connsiteX46" fmla="*/ 383583 w 1739754"/>
                  <a:gd name="connsiteY46" fmla="*/ 1525339 h 2673102"/>
                  <a:gd name="connsiteX47" fmla="*/ 407396 w 1739754"/>
                  <a:gd name="connsiteY47" fmla="*/ 1492002 h 2673102"/>
                  <a:gd name="connsiteX48" fmla="*/ 412158 w 1739754"/>
                  <a:gd name="connsiteY48" fmla="*/ 1468189 h 2673102"/>
                  <a:gd name="connsiteX49" fmla="*/ 416921 w 1739754"/>
                  <a:gd name="connsiteY49" fmla="*/ 1449139 h 2673102"/>
                  <a:gd name="connsiteX50" fmla="*/ 445496 w 1739754"/>
                  <a:gd name="connsiteY50" fmla="*/ 1439614 h 2673102"/>
                  <a:gd name="connsiteX51" fmla="*/ 545508 w 1739754"/>
                  <a:gd name="connsiteY51" fmla="*/ 1458664 h 2673102"/>
                  <a:gd name="connsiteX52" fmla="*/ 555033 w 1739754"/>
                  <a:gd name="connsiteY52" fmla="*/ 1482477 h 2673102"/>
                  <a:gd name="connsiteX53" fmla="*/ 564558 w 1739754"/>
                  <a:gd name="connsiteY53" fmla="*/ 1515814 h 2673102"/>
                  <a:gd name="connsiteX54" fmla="*/ 550271 w 1739754"/>
                  <a:gd name="connsiteY54" fmla="*/ 1534864 h 2673102"/>
                  <a:gd name="connsiteX55" fmla="*/ 550271 w 1739754"/>
                  <a:gd name="connsiteY55" fmla="*/ 1601539 h 2673102"/>
                  <a:gd name="connsiteX56" fmla="*/ 559796 w 1739754"/>
                  <a:gd name="connsiteY56" fmla="*/ 1620589 h 2673102"/>
                  <a:gd name="connsiteX57" fmla="*/ 626471 w 1739754"/>
                  <a:gd name="connsiteY57" fmla="*/ 1639639 h 2673102"/>
                  <a:gd name="connsiteX58" fmla="*/ 645521 w 1739754"/>
                  <a:gd name="connsiteY58" fmla="*/ 1592014 h 2673102"/>
                  <a:gd name="connsiteX59" fmla="*/ 702671 w 1739754"/>
                  <a:gd name="connsiteY59" fmla="*/ 1620589 h 2673102"/>
                  <a:gd name="connsiteX60" fmla="*/ 731246 w 1739754"/>
                  <a:gd name="connsiteY60" fmla="*/ 1630114 h 2673102"/>
                  <a:gd name="connsiteX61" fmla="*/ 783633 w 1739754"/>
                  <a:gd name="connsiteY61" fmla="*/ 1663452 h 2673102"/>
                  <a:gd name="connsiteX62" fmla="*/ 859833 w 1739754"/>
                  <a:gd name="connsiteY62" fmla="*/ 1687264 h 2673102"/>
                  <a:gd name="connsiteX63" fmla="*/ 878883 w 1739754"/>
                  <a:gd name="connsiteY63" fmla="*/ 1701552 h 2673102"/>
                  <a:gd name="connsiteX64" fmla="*/ 888408 w 1739754"/>
                  <a:gd name="connsiteY64" fmla="*/ 1739652 h 2673102"/>
                  <a:gd name="connsiteX65" fmla="*/ 897933 w 1739754"/>
                  <a:gd name="connsiteY65" fmla="*/ 1782514 h 2673102"/>
                  <a:gd name="connsiteX66" fmla="*/ 940796 w 1739754"/>
                  <a:gd name="connsiteY66" fmla="*/ 1892052 h 2673102"/>
                  <a:gd name="connsiteX67" fmla="*/ 950321 w 1739754"/>
                  <a:gd name="connsiteY67" fmla="*/ 1906339 h 2673102"/>
                  <a:gd name="connsiteX68" fmla="*/ 959846 w 1739754"/>
                  <a:gd name="connsiteY68" fmla="*/ 1939677 h 2673102"/>
                  <a:gd name="connsiteX69" fmla="*/ 974133 w 1739754"/>
                  <a:gd name="connsiteY69" fmla="*/ 1977777 h 2673102"/>
                  <a:gd name="connsiteX70" fmla="*/ 964608 w 1739754"/>
                  <a:gd name="connsiteY70" fmla="*/ 2082552 h 2673102"/>
                  <a:gd name="connsiteX71" fmla="*/ 955083 w 1739754"/>
                  <a:gd name="connsiteY71" fmla="*/ 2101602 h 2673102"/>
                  <a:gd name="connsiteX72" fmla="*/ 926508 w 1739754"/>
                  <a:gd name="connsiteY72" fmla="*/ 2144464 h 2673102"/>
                  <a:gd name="connsiteX73" fmla="*/ 907458 w 1739754"/>
                  <a:gd name="connsiteY73" fmla="*/ 2192089 h 2673102"/>
                  <a:gd name="connsiteX74" fmla="*/ 902696 w 1739754"/>
                  <a:gd name="connsiteY74" fmla="*/ 2211139 h 2673102"/>
                  <a:gd name="connsiteX75" fmla="*/ 893171 w 1739754"/>
                  <a:gd name="connsiteY75" fmla="*/ 2239714 h 2673102"/>
                  <a:gd name="connsiteX76" fmla="*/ 897933 w 1739754"/>
                  <a:gd name="connsiteY76" fmla="*/ 2287339 h 2673102"/>
                  <a:gd name="connsiteX77" fmla="*/ 893171 w 1739754"/>
                  <a:gd name="connsiteY77" fmla="*/ 2396877 h 2673102"/>
                  <a:gd name="connsiteX78" fmla="*/ 688383 w 1739754"/>
                  <a:gd name="connsiteY78" fmla="*/ 2449264 h 2673102"/>
                  <a:gd name="connsiteX79" fmla="*/ 655046 w 1739754"/>
                  <a:gd name="connsiteY79" fmla="*/ 2473077 h 2673102"/>
                  <a:gd name="connsiteX80" fmla="*/ 607421 w 1739754"/>
                  <a:gd name="connsiteY80" fmla="*/ 2511177 h 2673102"/>
                  <a:gd name="connsiteX81" fmla="*/ 574083 w 1739754"/>
                  <a:gd name="connsiteY81" fmla="*/ 2534989 h 2673102"/>
                  <a:gd name="connsiteX82" fmla="*/ 540746 w 1739754"/>
                  <a:gd name="connsiteY82" fmla="*/ 2554039 h 2673102"/>
                  <a:gd name="connsiteX83" fmla="*/ 497883 w 1739754"/>
                  <a:gd name="connsiteY83" fmla="*/ 2587377 h 2673102"/>
                  <a:gd name="connsiteX84" fmla="*/ 483596 w 1739754"/>
                  <a:gd name="connsiteY84" fmla="*/ 2601664 h 2673102"/>
                  <a:gd name="connsiteX85" fmla="*/ 459783 w 1739754"/>
                  <a:gd name="connsiteY85" fmla="*/ 2620714 h 2673102"/>
                  <a:gd name="connsiteX86" fmla="*/ 450258 w 1739754"/>
                  <a:gd name="connsiteY86" fmla="*/ 2635002 h 2673102"/>
                  <a:gd name="connsiteX87" fmla="*/ 416921 w 1739754"/>
                  <a:gd name="connsiteY87" fmla="*/ 2654052 h 2673102"/>
                  <a:gd name="connsiteX88" fmla="*/ 374058 w 1739754"/>
                  <a:gd name="connsiteY88" fmla="*/ 2673102 h 2673102"/>
                  <a:gd name="connsiteX89" fmla="*/ 359771 w 1739754"/>
                  <a:gd name="connsiteY89" fmla="*/ 2663577 h 2673102"/>
                  <a:gd name="connsiteX90" fmla="*/ 345483 w 1739754"/>
                  <a:gd name="connsiteY90" fmla="*/ 2635002 h 2673102"/>
                  <a:gd name="connsiteX91" fmla="*/ 335958 w 1739754"/>
                  <a:gd name="connsiteY91" fmla="*/ 2620714 h 2673102"/>
                  <a:gd name="connsiteX92" fmla="*/ 297858 w 1739754"/>
                  <a:gd name="connsiteY92" fmla="*/ 2611189 h 2673102"/>
                  <a:gd name="connsiteX93" fmla="*/ 278808 w 1739754"/>
                  <a:gd name="connsiteY93" fmla="*/ 2592139 h 2673102"/>
                  <a:gd name="connsiteX94" fmla="*/ 274046 w 1739754"/>
                  <a:gd name="connsiteY94" fmla="*/ 2573089 h 2673102"/>
                  <a:gd name="connsiteX95" fmla="*/ 235946 w 1739754"/>
                  <a:gd name="connsiteY95" fmla="*/ 2539752 h 2673102"/>
                  <a:gd name="connsiteX96" fmla="*/ 231183 w 1739754"/>
                  <a:gd name="connsiteY96" fmla="*/ 2525464 h 2673102"/>
                  <a:gd name="connsiteX97" fmla="*/ 226421 w 1739754"/>
                  <a:gd name="connsiteY97" fmla="*/ 2506414 h 2673102"/>
                  <a:gd name="connsiteX98" fmla="*/ 212133 w 1739754"/>
                  <a:gd name="connsiteY98" fmla="*/ 2492127 h 2673102"/>
                  <a:gd name="connsiteX99" fmla="*/ 154983 w 1739754"/>
                  <a:gd name="connsiteY99" fmla="*/ 2439739 h 2673102"/>
                  <a:gd name="connsiteX100" fmla="*/ 150221 w 1739754"/>
                  <a:gd name="connsiteY100" fmla="*/ 2415927 h 2673102"/>
                  <a:gd name="connsiteX101" fmla="*/ 135933 w 1739754"/>
                  <a:gd name="connsiteY101" fmla="*/ 2358777 h 2673102"/>
                  <a:gd name="connsiteX102" fmla="*/ 121646 w 1739754"/>
                  <a:gd name="connsiteY102" fmla="*/ 2315914 h 2673102"/>
                  <a:gd name="connsiteX103" fmla="*/ 107358 w 1739754"/>
                  <a:gd name="connsiteY103" fmla="*/ 2258764 h 2673102"/>
                  <a:gd name="connsiteX104" fmla="*/ 102596 w 1739754"/>
                  <a:gd name="connsiteY104" fmla="*/ 2234952 h 2673102"/>
                  <a:gd name="connsiteX105" fmla="*/ 93071 w 1739754"/>
                  <a:gd name="connsiteY105" fmla="*/ 2211139 h 2673102"/>
                  <a:gd name="connsiteX106" fmla="*/ 88308 w 1739754"/>
                  <a:gd name="connsiteY106" fmla="*/ 2187327 h 2673102"/>
                  <a:gd name="connsiteX107" fmla="*/ 78783 w 1739754"/>
                  <a:gd name="connsiteY107" fmla="*/ 2111127 h 2673102"/>
                  <a:gd name="connsiteX108" fmla="*/ 97833 w 1739754"/>
                  <a:gd name="connsiteY108" fmla="*/ 1944439 h 2673102"/>
                  <a:gd name="connsiteX109" fmla="*/ 107358 w 1739754"/>
                  <a:gd name="connsiteY109" fmla="*/ 1930152 h 2673102"/>
                  <a:gd name="connsiteX110" fmla="*/ 126408 w 1739754"/>
                  <a:gd name="connsiteY110" fmla="*/ 1901577 h 2673102"/>
                  <a:gd name="connsiteX111" fmla="*/ 135933 w 1739754"/>
                  <a:gd name="connsiteY111" fmla="*/ 1868239 h 2673102"/>
                  <a:gd name="connsiteX112" fmla="*/ 131171 w 1739754"/>
                  <a:gd name="connsiteY112" fmla="*/ 1825377 h 2673102"/>
                  <a:gd name="connsiteX113" fmla="*/ 112121 w 1739754"/>
                  <a:gd name="connsiteY113" fmla="*/ 1820614 h 2673102"/>
                  <a:gd name="connsiteX114" fmla="*/ 102596 w 1739754"/>
                  <a:gd name="connsiteY114" fmla="*/ 1806327 h 2673102"/>
                  <a:gd name="connsiteX115" fmla="*/ 145458 w 1739754"/>
                  <a:gd name="connsiteY115" fmla="*/ 1720602 h 2673102"/>
                  <a:gd name="connsiteX116" fmla="*/ 159746 w 1739754"/>
                  <a:gd name="connsiteY116" fmla="*/ 1715839 h 2673102"/>
                  <a:gd name="connsiteX117" fmla="*/ 174033 w 1739754"/>
                  <a:gd name="connsiteY117" fmla="*/ 1696789 h 2673102"/>
                  <a:gd name="connsiteX118" fmla="*/ 188321 w 1739754"/>
                  <a:gd name="connsiteY118" fmla="*/ 1687264 h 2673102"/>
                  <a:gd name="connsiteX119" fmla="*/ 202608 w 1739754"/>
                  <a:gd name="connsiteY119" fmla="*/ 1653927 h 2673102"/>
                  <a:gd name="connsiteX120" fmla="*/ 193083 w 1739754"/>
                  <a:gd name="connsiteY120" fmla="*/ 1606302 h 2673102"/>
                  <a:gd name="connsiteX121" fmla="*/ 164508 w 1739754"/>
                  <a:gd name="connsiteY121" fmla="*/ 1596777 h 2673102"/>
                  <a:gd name="connsiteX122" fmla="*/ 154983 w 1739754"/>
                  <a:gd name="connsiteY122" fmla="*/ 1549152 h 2673102"/>
                  <a:gd name="connsiteX123" fmla="*/ 150221 w 1739754"/>
                  <a:gd name="connsiteY123" fmla="*/ 1411039 h 2673102"/>
                  <a:gd name="connsiteX124" fmla="*/ 140696 w 1739754"/>
                  <a:gd name="connsiteY124" fmla="*/ 1377702 h 2673102"/>
                  <a:gd name="connsiteX125" fmla="*/ 121646 w 1739754"/>
                  <a:gd name="connsiteY125" fmla="*/ 1311027 h 2673102"/>
                  <a:gd name="connsiteX126" fmla="*/ 116883 w 1739754"/>
                  <a:gd name="connsiteY126" fmla="*/ 1258639 h 2673102"/>
                  <a:gd name="connsiteX127" fmla="*/ 107358 w 1739754"/>
                  <a:gd name="connsiteY127" fmla="*/ 1244352 h 2673102"/>
                  <a:gd name="connsiteX128" fmla="*/ 93071 w 1739754"/>
                  <a:gd name="connsiteY128" fmla="*/ 1196727 h 2673102"/>
                  <a:gd name="connsiteX129" fmla="*/ 78783 w 1739754"/>
                  <a:gd name="connsiteY129" fmla="*/ 1177677 h 2673102"/>
                  <a:gd name="connsiteX130" fmla="*/ 59733 w 1739754"/>
                  <a:gd name="connsiteY130" fmla="*/ 1139577 h 2673102"/>
                  <a:gd name="connsiteX131" fmla="*/ 50208 w 1739754"/>
                  <a:gd name="connsiteY131" fmla="*/ 1111002 h 2673102"/>
                  <a:gd name="connsiteX132" fmla="*/ 45446 w 1739754"/>
                  <a:gd name="connsiteY132" fmla="*/ 1096714 h 2673102"/>
                  <a:gd name="connsiteX133" fmla="*/ 21633 w 1739754"/>
                  <a:gd name="connsiteY133" fmla="*/ 1025277 h 2673102"/>
                  <a:gd name="connsiteX134" fmla="*/ 202 w 1739754"/>
                  <a:gd name="connsiteY134" fmla="*/ 980033 h 2673102"/>
                  <a:gd name="connsiteX135" fmla="*/ 14490 w 1739754"/>
                  <a:gd name="connsiteY135" fmla="*/ 930027 h 2673102"/>
                  <a:gd name="connsiteX136" fmla="*/ 69259 w 1739754"/>
                  <a:gd name="connsiteY136" fmla="*/ 810964 h 2673102"/>
                  <a:gd name="connsiteX137" fmla="*/ 221658 w 1739754"/>
                  <a:gd name="connsiteY137" fmla="*/ 601414 h 2673102"/>
                  <a:gd name="connsiteX138" fmla="*/ 288333 w 1739754"/>
                  <a:gd name="connsiteY138" fmla="*/ 515689 h 2673102"/>
                  <a:gd name="connsiteX139" fmla="*/ 412158 w 1739754"/>
                  <a:gd name="connsiteY139" fmla="*/ 406152 h 2673102"/>
                  <a:gd name="connsiteX140" fmla="*/ 535983 w 1739754"/>
                  <a:gd name="connsiteY140" fmla="*/ 291851 h 2673102"/>
                  <a:gd name="connsiteX141" fmla="*/ 640758 w 1739754"/>
                  <a:gd name="connsiteY141" fmla="*/ 229939 h 2673102"/>
                  <a:gd name="connsiteX142" fmla="*/ 733628 w 1739754"/>
                  <a:gd name="connsiteY142" fmla="*/ 168026 h 2673102"/>
                  <a:gd name="connsiteX143" fmla="*/ 978896 w 1739754"/>
                  <a:gd name="connsiteY143" fmla="*/ 63251 h 2673102"/>
                  <a:gd name="connsiteX144" fmla="*/ 1159871 w 1739754"/>
                  <a:gd name="connsiteY144" fmla="*/ 6102 h 2673102"/>
                  <a:gd name="connsiteX145" fmla="*/ 1202733 w 1739754"/>
                  <a:gd name="connsiteY14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83583 w 1739754"/>
                  <a:gd name="connsiteY45" fmla="*/ 1525339 h 2673102"/>
                  <a:gd name="connsiteX46" fmla="*/ 407396 w 1739754"/>
                  <a:gd name="connsiteY46" fmla="*/ 1492002 h 2673102"/>
                  <a:gd name="connsiteX47" fmla="*/ 412158 w 1739754"/>
                  <a:gd name="connsiteY47" fmla="*/ 1468189 h 2673102"/>
                  <a:gd name="connsiteX48" fmla="*/ 416921 w 1739754"/>
                  <a:gd name="connsiteY48" fmla="*/ 1449139 h 2673102"/>
                  <a:gd name="connsiteX49" fmla="*/ 445496 w 1739754"/>
                  <a:gd name="connsiteY49" fmla="*/ 1439614 h 2673102"/>
                  <a:gd name="connsiteX50" fmla="*/ 545508 w 1739754"/>
                  <a:gd name="connsiteY50" fmla="*/ 1458664 h 2673102"/>
                  <a:gd name="connsiteX51" fmla="*/ 555033 w 1739754"/>
                  <a:gd name="connsiteY51" fmla="*/ 1482477 h 2673102"/>
                  <a:gd name="connsiteX52" fmla="*/ 564558 w 1739754"/>
                  <a:gd name="connsiteY52" fmla="*/ 1515814 h 2673102"/>
                  <a:gd name="connsiteX53" fmla="*/ 550271 w 1739754"/>
                  <a:gd name="connsiteY53" fmla="*/ 1534864 h 2673102"/>
                  <a:gd name="connsiteX54" fmla="*/ 550271 w 1739754"/>
                  <a:gd name="connsiteY54" fmla="*/ 1601539 h 2673102"/>
                  <a:gd name="connsiteX55" fmla="*/ 559796 w 1739754"/>
                  <a:gd name="connsiteY55" fmla="*/ 1620589 h 2673102"/>
                  <a:gd name="connsiteX56" fmla="*/ 626471 w 1739754"/>
                  <a:gd name="connsiteY56" fmla="*/ 1639639 h 2673102"/>
                  <a:gd name="connsiteX57" fmla="*/ 645521 w 1739754"/>
                  <a:gd name="connsiteY57" fmla="*/ 1592014 h 2673102"/>
                  <a:gd name="connsiteX58" fmla="*/ 702671 w 1739754"/>
                  <a:gd name="connsiteY58" fmla="*/ 1620589 h 2673102"/>
                  <a:gd name="connsiteX59" fmla="*/ 731246 w 1739754"/>
                  <a:gd name="connsiteY59" fmla="*/ 1630114 h 2673102"/>
                  <a:gd name="connsiteX60" fmla="*/ 783633 w 1739754"/>
                  <a:gd name="connsiteY60" fmla="*/ 1663452 h 2673102"/>
                  <a:gd name="connsiteX61" fmla="*/ 859833 w 1739754"/>
                  <a:gd name="connsiteY61" fmla="*/ 1687264 h 2673102"/>
                  <a:gd name="connsiteX62" fmla="*/ 878883 w 1739754"/>
                  <a:gd name="connsiteY62" fmla="*/ 1701552 h 2673102"/>
                  <a:gd name="connsiteX63" fmla="*/ 888408 w 1739754"/>
                  <a:gd name="connsiteY63" fmla="*/ 1739652 h 2673102"/>
                  <a:gd name="connsiteX64" fmla="*/ 897933 w 1739754"/>
                  <a:gd name="connsiteY64" fmla="*/ 1782514 h 2673102"/>
                  <a:gd name="connsiteX65" fmla="*/ 940796 w 1739754"/>
                  <a:gd name="connsiteY65" fmla="*/ 1892052 h 2673102"/>
                  <a:gd name="connsiteX66" fmla="*/ 950321 w 1739754"/>
                  <a:gd name="connsiteY66" fmla="*/ 1906339 h 2673102"/>
                  <a:gd name="connsiteX67" fmla="*/ 959846 w 1739754"/>
                  <a:gd name="connsiteY67" fmla="*/ 1939677 h 2673102"/>
                  <a:gd name="connsiteX68" fmla="*/ 974133 w 1739754"/>
                  <a:gd name="connsiteY68" fmla="*/ 1977777 h 2673102"/>
                  <a:gd name="connsiteX69" fmla="*/ 964608 w 1739754"/>
                  <a:gd name="connsiteY69" fmla="*/ 2082552 h 2673102"/>
                  <a:gd name="connsiteX70" fmla="*/ 955083 w 1739754"/>
                  <a:gd name="connsiteY70" fmla="*/ 2101602 h 2673102"/>
                  <a:gd name="connsiteX71" fmla="*/ 926508 w 1739754"/>
                  <a:gd name="connsiteY71" fmla="*/ 2144464 h 2673102"/>
                  <a:gd name="connsiteX72" fmla="*/ 907458 w 1739754"/>
                  <a:gd name="connsiteY72" fmla="*/ 2192089 h 2673102"/>
                  <a:gd name="connsiteX73" fmla="*/ 902696 w 1739754"/>
                  <a:gd name="connsiteY73" fmla="*/ 2211139 h 2673102"/>
                  <a:gd name="connsiteX74" fmla="*/ 893171 w 1739754"/>
                  <a:gd name="connsiteY74" fmla="*/ 2239714 h 2673102"/>
                  <a:gd name="connsiteX75" fmla="*/ 897933 w 1739754"/>
                  <a:gd name="connsiteY75" fmla="*/ 2287339 h 2673102"/>
                  <a:gd name="connsiteX76" fmla="*/ 893171 w 1739754"/>
                  <a:gd name="connsiteY76" fmla="*/ 2396877 h 2673102"/>
                  <a:gd name="connsiteX77" fmla="*/ 688383 w 1739754"/>
                  <a:gd name="connsiteY77" fmla="*/ 2449264 h 2673102"/>
                  <a:gd name="connsiteX78" fmla="*/ 655046 w 1739754"/>
                  <a:gd name="connsiteY78" fmla="*/ 2473077 h 2673102"/>
                  <a:gd name="connsiteX79" fmla="*/ 607421 w 1739754"/>
                  <a:gd name="connsiteY79" fmla="*/ 2511177 h 2673102"/>
                  <a:gd name="connsiteX80" fmla="*/ 574083 w 1739754"/>
                  <a:gd name="connsiteY80" fmla="*/ 2534989 h 2673102"/>
                  <a:gd name="connsiteX81" fmla="*/ 540746 w 1739754"/>
                  <a:gd name="connsiteY81" fmla="*/ 2554039 h 2673102"/>
                  <a:gd name="connsiteX82" fmla="*/ 497883 w 1739754"/>
                  <a:gd name="connsiteY82" fmla="*/ 2587377 h 2673102"/>
                  <a:gd name="connsiteX83" fmla="*/ 483596 w 1739754"/>
                  <a:gd name="connsiteY83" fmla="*/ 2601664 h 2673102"/>
                  <a:gd name="connsiteX84" fmla="*/ 459783 w 1739754"/>
                  <a:gd name="connsiteY84" fmla="*/ 2620714 h 2673102"/>
                  <a:gd name="connsiteX85" fmla="*/ 450258 w 1739754"/>
                  <a:gd name="connsiteY85" fmla="*/ 2635002 h 2673102"/>
                  <a:gd name="connsiteX86" fmla="*/ 416921 w 1739754"/>
                  <a:gd name="connsiteY86" fmla="*/ 2654052 h 2673102"/>
                  <a:gd name="connsiteX87" fmla="*/ 374058 w 1739754"/>
                  <a:gd name="connsiteY87" fmla="*/ 2673102 h 2673102"/>
                  <a:gd name="connsiteX88" fmla="*/ 359771 w 1739754"/>
                  <a:gd name="connsiteY88" fmla="*/ 2663577 h 2673102"/>
                  <a:gd name="connsiteX89" fmla="*/ 345483 w 1739754"/>
                  <a:gd name="connsiteY89" fmla="*/ 2635002 h 2673102"/>
                  <a:gd name="connsiteX90" fmla="*/ 335958 w 1739754"/>
                  <a:gd name="connsiteY90" fmla="*/ 2620714 h 2673102"/>
                  <a:gd name="connsiteX91" fmla="*/ 297858 w 1739754"/>
                  <a:gd name="connsiteY91" fmla="*/ 2611189 h 2673102"/>
                  <a:gd name="connsiteX92" fmla="*/ 278808 w 1739754"/>
                  <a:gd name="connsiteY92" fmla="*/ 2592139 h 2673102"/>
                  <a:gd name="connsiteX93" fmla="*/ 274046 w 1739754"/>
                  <a:gd name="connsiteY93" fmla="*/ 2573089 h 2673102"/>
                  <a:gd name="connsiteX94" fmla="*/ 235946 w 1739754"/>
                  <a:gd name="connsiteY94" fmla="*/ 2539752 h 2673102"/>
                  <a:gd name="connsiteX95" fmla="*/ 231183 w 1739754"/>
                  <a:gd name="connsiteY95" fmla="*/ 2525464 h 2673102"/>
                  <a:gd name="connsiteX96" fmla="*/ 226421 w 1739754"/>
                  <a:gd name="connsiteY96" fmla="*/ 2506414 h 2673102"/>
                  <a:gd name="connsiteX97" fmla="*/ 212133 w 1739754"/>
                  <a:gd name="connsiteY97" fmla="*/ 2492127 h 2673102"/>
                  <a:gd name="connsiteX98" fmla="*/ 154983 w 1739754"/>
                  <a:gd name="connsiteY98" fmla="*/ 2439739 h 2673102"/>
                  <a:gd name="connsiteX99" fmla="*/ 150221 w 1739754"/>
                  <a:gd name="connsiteY99" fmla="*/ 2415927 h 2673102"/>
                  <a:gd name="connsiteX100" fmla="*/ 135933 w 1739754"/>
                  <a:gd name="connsiteY100" fmla="*/ 2358777 h 2673102"/>
                  <a:gd name="connsiteX101" fmla="*/ 121646 w 1739754"/>
                  <a:gd name="connsiteY101" fmla="*/ 2315914 h 2673102"/>
                  <a:gd name="connsiteX102" fmla="*/ 107358 w 1739754"/>
                  <a:gd name="connsiteY102" fmla="*/ 2258764 h 2673102"/>
                  <a:gd name="connsiteX103" fmla="*/ 102596 w 1739754"/>
                  <a:gd name="connsiteY103" fmla="*/ 2234952 h 2673102"/>
                  <a:gd name="connsiteX104" fmla="*/ 93071 w 1739754"/>
                  <a:gd name="connsiteY104" fmla="*/ 2211139 h 2673102"/>
                  <a:gd name="connsiteX105" fmla="*/ 88308 w 1739754"/>
                  <a:gd name="connsiteY105" fmla="*/ 2187327 h 2673102"/>
                  <a:gd name="connsiteX106" fmla="*/ 78783 w 1739754"/>
                  <a:gd name="connsiteY106" fmla="*/ 2111127 h 2673102"/>
                  <a:gd name="connsiteX107" fmla="*/ 97833 w 1739754"/>
                  <a:gd name="connsiteY107" fmla="*/ 1944439 h 2673102"/>
                  <a:gd name="connsiteX108" fmla="*/ 107358 w 1739754"/>
                  <a:gd name="connsiteY108" fmla="*/ 1930152 h 2673102"/>
                  <a:gd name="connsiteX109" fmla="*/ 126408 w 1739754"/>
                  <a:gd name="connsiteY109" fmla="*/ 1901577 h 2673102"/>
                  <a:gd name="connsiteX110" fmla="*/ 135933 w 1739754"/>
                  <a:gd name="connsiteY110" fmla="*/ 1868239 h 2673102"/>
                  <a:gd name="connsiteX111" fmla="*/ 131171 w 1739754"/>
                  <a:gd name="connsiteY111" fmla="*/ 1825377 h 2673102"/>
                  <a:gd name="connsiteX112" fmla="*/ 112121 w 1739754"/>
                  <a:gd name="connsiteY112" fmla="*/ 1820614 h 2673102"/>
                  <a:gd name="connsiteX113" fmla="*/ 102596 w 1739754"/>
                  <a:gd name="connsiteY113" fmla="*/ 1806327 h 2673102"/>
                  <a:gd name="connsiteX114" fmla="*/ 145458 w 1739754"/>
                  <a:gd name="connsiteY114" fmla="*/ 1720602 h 2673102"/>
                  <a:gd name="connsiteX115" fmla="*/ 159746 w 1739754"/>
                  <a:gd name="connsiteY115" fmla="*/ 1715839 h 2673102"/>
                  <a:gd name="connsiteX116" fmla="*/ 174033 w 1739754"/>
                  <a:gd name="connsiteY116" fmla="*/ 1696789 h 2673102"/>
                  <a:gd name="connsiteX117" fmla="*/ 188321 w 1739754"/>
                  <a:gd name="connsiteY117" fmla="*/ 1687264 h 2673102"/>
                  <a:gd name="connsiteX118" fmla="*/ 202608 w 1739754"/>
                  <a:gd name="connsiteY118" fmla="*/ 1653927 h 2673102"/>
                  <a:gd name="connsiteX119" fmla="*/ 193083 w 1739754"/>
                  <a:gd name="connsiteY119" fmla="*/ 1606302 h 2673102"/>
                  <a:gd name="connsiteX120" fmla="*/ 164508 w 1739754"/>
                  <a:gd name="connsiteY120" fmla="*/ 1596777 h 2673102"/>
                  <a:gd name="connsiteX121" fmla="*/ 154983 w 1739754"/>
                  <a:gd name="connsiteY121" fmla="*/ 1549152 h 2673102"/>
                  <a:gd name="connsiteX122" fmla="*/ 150221 w 1739754"/>
                  <a:gd name="connsiteY122" fmla="*/ 1411039 h 2673102"/>
                  <a:gd name="connsiteX123" fmla="*/ 140696 w 1739754"/>
                  <a:gd name="connsiteY123" fmla="*/ 1377702 h 2673102"/>
                  <a:gd name="connsiteX124" fmla="*/ 121646 w 1739754"/>
                  <a:gd name="connsiteY124" fmla="*/ 1311027 h 2673102"/>
                  <a:gd name="connsiteX125" fmla="*/ 116883 w 1739754"/>
                  <a:gd name="connsiteY125" fmla="*/ 1258639 h 2673102"/>
                  <a:gd name="connsiteX126" fmla="*/ 107358 w 1739754"/>
                  <a:gd name="connsiteY126" fmla="*/ 1244352 h 2673102"/>
                  <a:gd name="connsiteX127" fmla="*/ 93071 w 1739754"/>
                  <a:gd name="connsiteY127" fmla="*/ 1196727 h 2673102"/>
                  <a:gd name="connsiteX128" fmla="*/ 78783 w 1739754"/>
                  <a:gd name="connsiteY128" fmla="*/ 1177677 h 2673102"/>
                  <a:gd name="connsiteX129" fmla="*/ 59733 w 1739754"/>
                  <a:gd name="connsiteY129" fmla="*/ 1139577 h 2673102"/>
                  <a:gd name="connsiteX130" fmla="*/ 50208 w 1739754"/>
                  <a:gd name="connsiteY130" fmla="*/ 1111002 h 2673102"/>
                  <a:gd name="connsiteX131" fmla="*/ 45446 w 1739754"/>
                  <a:gd name="connsiteY131" fmla="*/ 1096714 h 2673102"/>
                  <a:gd name="connsiteX132" fmla="*/ 21633 w 1739754"/>
                  <a:gd name="connsiteY132" fmla="*/ 1025277 h 2673102"/>
                  <a:gd name="connsiteX133" fmla="*/ 202 w 1739754"/>
                  <a:gd name="connsiteY133" fmla="*/ 980033 h 2673102"/>
                  <a:gd name="connsiteX134" fmla="*/ 14490 w 1739754"/>
                  <a:gd name="connsiteY134" fmla="*/ 930027 h 2673102"/>
                  <a:gd name="connsiteX135" fmla="*/ 69259 w 1739754"/>
                  <a:gd name="connsiteY135" fmla="*/ 810964 h 2673102"/>
                  <a:gd name="connsiteX136" fmla="*/ 221658 w 1739754"/>
                  <a:gd name="connsiteY136" fmla="*/ 601414 h 2673102"/>
                  <a:gd name="connsiteX137" fmla="*/ 288333 w 1739754"/>
                  <a:gd name="connsiteY137" fmla="*/ 515689 h 2673102"/>
                  <a:gd name="connsiteX138" fmla="*/ 412158 w 1739754"/>
                  <a:gd name="connsiteY138" fmla="*/ 406152 h 2673102"/>
                  <a:gd name="connsiteX139" fmla="*/ 535983 w 1739754"/>
                  <a:gd name="connsiteY139" fmla="*/ 291851 h 2673102"/>
                  <a:gd name="connsiteX140" fmla="*/ 640758 w 1739754"/>
                  <a:gd name="connsiteY140" fmla="*/ 229939 h 2673102"/>
                  <a:gd name="connsiteX141" fmla="*/ 733628 w 1739754"/>
                  <a:gd name="connsiteY141" fmla="*/ 168026 h 2673102"/>
                  <a:gd name="connsiteX142" fmla="*/ 978896 w 1739754"/>
                  <a:gd name="connsiteY142" fmla="*/ 63251 h 2673102"/>
                  <a:gd name="connsiteX143" fmla="*/ 1159871 w 1739754"/>
                  <a:gd name="connsiteY143" fmla="*/ 6102 h 2673102"/>
                  <a:gd name="connsiteX144" fmla="*/ 1202733 w 1739754"/>
                  <a:gd name="connsiteY14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407396 w 1739754"/>
                  <a:gd name="connsiteY46" fmla="*/ 1492002 h 2673102"/>
                  <a:gd name="connsiteX47" fmla="*/ 412158 w 1739754"/>
                  <a:gd name="connsiteY47" fmla="*/ 1468189 h 2673102"/>
                  <a:gd name="connsiteX48" fmla="*/ 416921 w 1739754"/>
                  <a:gd name="connsiteY48" fmla="*/ 1449139 h 2673102"/>
                  <a:gd name="connsiteX49" fmla="*/ 445496 w 1739754"/>
                  <a:gd name="connsiteY49" fmla="*/ 1439614 h 2673102"/>
                  <a:gd name="connsiteX50" fmla="*/ 545508 w 1739754"/>
                  <a:gd name="connsiteY50" fmla="*/ 1458664 h 2673102"/>
                  <a:gd name="connsiteX51" fmla="*/ 555033 w 1739754"/>
                  <a:gd name="connsiteY51" fmla="*/ 1482477 h 2673102"/>
                  <a:gd name="connsiteX52" fmla="*/ 564558 w 1739754"/>
                  <a:gd name="connsiteY52" fmla="*/ 1515814 h 2673102"/>
                  <a:gd name="connsiteX53" fmla="*/ 550271 w 1739754"/>
                  <a:gd name="connsiteY53" fmla="*/ 1534864 h 2673102"/>
                  <a:gd name="connsiteX54" fmla="*/ 550271 w 1739754"/>
                  <a:gd name="connsiteY54" fmla="*/ 1601539 h 2673102"/>
                  <a:gd name="connsiteX55" fmla="*/ 559796 w 1739754"/>
                  <a:gd name="connsiteY55" fmla="*/ 1620589 h 2673102"/>
                  <a:gd name="connsiteX56" fmla="*/ 626471 w 1739754"/>
                  <a:gd name="connsiteY56" fmla="*/ 1639639 h 2673102"/>
                  <a:gd name="connsiteX57" fmla="*/ 645521 w 1739754"/>
                  <a:gd name="connsiteY57" fmla="*/ 1592014 h 2673102"/>
                  <a:gd name="connsiteX58" fmla="*/ 702671 w 1739754"/>
                  <a:gd name="connsiteY58" fmla="*/ 1620589 h 2673102"/>
                  <a:gd name="connsiteX59" fmla="*/ 731246 w 1739754"/>
                  <a:gd name="connsiteY59" fmla="*/ 1630114 h 2673102"/>
                  <a:gd name="connsiteX60" fmla="*/ 783633 w 1739754"/>
                  <a:gd name="connsiteY60" fmla="*/ 1663452 h 2673102"/>
                  <a:gd name="connsiteX61" fmla="*/ 859833 w 1739754"/>
                  <a:gd name="connsiteY61" fmla="*/ 1687264 h 2673102"/>
                  <a:gd name="connsiteX62" fmla="*/ 878883 w 1739754"/>
                  <a:gd name="connsiteY62" fmla="*/ 1701552 h 2673102"/>
                  <a:gd name="connsiteX63" fmla="*/ 888408 w 1739754"/>
                  <a:gd name="connsiteY63" fmla="*/ 1739652 h 2673102"/>
                  <a:gd name="connsiteX64" fmla="*/ 897933 w 1739754"/>
                  <a:gd name="connsiteY64" fmla="*/ 1782514 h 2673102"/>
                  <a:gd name="connsiteX65" fmla="*/ 940796 w 1739754"/>
                  <a:gd name="connsiteY65" fmla="*/ 1892052 h 2673102"/>
                  <a:gd name="connsiteX66" fmla="*/ 950321 w 1739754"/>
                  <a:gd name="connsiteY66" fmla="*/ 1906339 h 2673102"/>
                  <a:gd name="connsiteX67" fmla="*/ 959846 w 1739754"/>
                  <a:gd name="connsiteY67" fmla="*/ 1939677 h 2673102"/>
                  <a:gd name="connsiteX68" fmla="*/ 974133 w 1739754"/>
                  <a:gd name="connsiteY68" fmla="*/ 1977777 h 2673102"/>
                  <a:gd name="connsiteX69" fmla="*/ 964608 w 1739754"/>
                  <a:gd name="connsiteY69" fmla="*/ 2082552 h 2673102"/>
                  <a:gd name="connsiteX70" fmla="*/ 955083 w 1739754"/>
                  <a:gd name="connsiteY70" fmla="*/ 2101602 h 2673102"/>
                  <a:gd name="connsiteX71" fmla="*/ 926508 w 1739754"/>
                  <a:gd name="connsiteY71" fmla="*/ 2144464 h 2673102"/>
                  <a:gd name="connsiteX72" fmla="*/ 907458 w 1739754"/>
                  <a:gd name="connsiteY72" fmla="*/ 2192089 h 2673102"/>
                  <a:gd name="connsiteX73" fmla="*/ 902696 w 1739754"/>
                  <a:gd name="connsiteY73" fmla="*/ 2211139 h 2673102"/>
                  <a:gd name="connsiteX74" fmla="*/ 893171 w 1739754"/>
                  <a:gd name="connsiteY74" fmla="*/ 2239714 h 2673102"/>
                  <a:gd name="connsiteX75" fmla="*/ 897933 w 1739754"/>
                  <a:gd name="connsiteY75" fmla="*/ 2287339 h 2673102"/>
                  <a:gd name="connsiteX76" fmla="*/ 893171 w 1739754"/>
                  <a:gd name="connsiteY76" fmla="*/ 2396877 h 2673102"/>
                  <a:gd name="connsiteX77" fmla="*/ 688383 w 1739754"/>
                  <a:gd name="connsiteY77" fmla="*/ 2449264 h 2673102"/>
                  <a:gd name="connsiteX78" fmla="*/ 655046 w 1739754"/>
                  <a:gd name="connsiteY78" fmla="*/ 2473077 h 2673102"/>
                  <a:gd name="connsiteX79" fmla="*/ 607421 w 1739754"/>
                  <a:gd name="connsiteY79" fmla="*/ 2511177 h 2673102"/>
                  <a:gd name="connsiteX80" fmla="*/ 574083 w 1739754"/>
                  <a:gd name="connsiteY80" fmla="*/ 2534989 h 2673102"/>
                  <a:gd name="connsiteX81" fmla="*/ 540746 w 1739754"/>
                  <a:gd name="connsiteY81" fmla="*/ 2554039 h 2673102"/>
                  <a:gd name="connsiteX82" fmla="*/ 497883 w 1739754"/>
                  <a:gd name="connsiteY82" fmla="*/ 2587377 h 2673102"/>
                  <a:gd name="connsiteX83" fmla="*/ 483596 w 1739754"/>
                  <a:gd name="connsiteY83" fmla="*/ 2601664 h 2673102"/>
                  <a:gd name="connsiteX84" fmla="*/ 459783 w 1739754"/>
                  <a:gd name="connsiteY84" fmla="*/ 2620714 h 2673102"/>
                  <a:gd name="connsiteX85" fmla="*/ 450258 w 1739754"/>
                  <a:gd name="connsiteY85" fmla="*/ 2635002 h 2673102"/>
                  <a:gd name="connsiteX86" fmla="*/ 416921 w 1739754"/>
                  <a:gd name="connsiteY86" fmla="*/ 2654052 h 2673102"/>
                  <a:gd name="connsiteX87" fmla="*/ 374058 w 1739754"/>
                  <a:gd name="connsiteY87" fmla="*/ 2673102 h 2673102"/>
                  <a:gd name="connsiteX88" fmla="*/ 359771 w 1739754"/>
                  <a:gd name="connsiteY88" fmla="*/ 2663577 h 2673102"/>
                  <a:gd name="connsiteX89" fmla="*/ 345483 w 1739754"/>
                  <a:gd name="connsiteY89" fmla="*/ 2635002 h 2673102"/>
                  <a:gd name="connsiteX90" fmla="*/ 335958 w 1739754"/>
                  <a:gd name="connsiteY90" fmla="*/ 2620714 h 2673102"/>
                  <a:gd name="connsiteX91" fmla="*/ 297858 w 1739754"/>
                  <a:gd name="connsiteY91" fmla="*/ 2611189 h 2673102"/>
                  <a:gd name="connsiteX92" fmla="*/ 278808 w 1739754"/>
                  <a:gd name="connsiteY92" fmla="*/ 2592139 h 2673102"/>
                  <a:gd name="connsiteX93" fmla="*/ 274046 w 1739754"/>
                  <a:gd name="connsiteY93" fmla="*/ 2573089 h 2673102"/>
                  <a:gd name="connsiteX94" fmla="*/ 235946 w 1739754"/>
                  <a:gd name="connsiteY94" fmla="*/ 2539752 h 2673102"/>
                  <a:gd name="connsiteX95" fmla="*/ 231183 w 1739754"/>
                  <a:gd name="connsiteY95" fmla="*/ 2525464 h 2673102"/>
                  <a:gd name="connsiteX96" fmla="*/ 226421 w 1739754"/>
                  <a:gd name="connsiteY96" fmla="*/ 2506414 h 2673102"/>
                  <a:gd name="connsiteX97" fmla="*/ 212133 w 1739754"/>
                  <a:gd name="connsiteY97" fmla="*/ 2492127 h 2673102"/>
                  <a:gd name="connsiteX98" fmla="*/ 154983 w 1739754"/>
                  <a:gd name="connsiteY98" fmla="*/ 2439739 h 2673102"/>
                  <a:gd name="connsiteX99" fmla="*/ 150221 w 1739754"/>
                  <a:gd name="connsiteY99" fmla="*/ 2415927 h 2673102"/>
                  <a:gd name="connsiteX100" fmla="*/ 135933 w 1739754"/>
                  <a:gd name="connsiteY100" fmla="*/ 2358777 h 2673102"/>
                  <a:gd name="connsiteX101" fmla="*/ 121646 w 1739754"/>
                  <a:gd name="connsiteY101" fmla="*/ 2315914 h 2673102"/>
                  <a:gd name="connsiteX102" fmla="*/ 107358 w 1739754"/>
                  <a:gd name="connsiteY102" fmla="*/ 2258764 h 2673102"/>
                  <a:gd name="connsiteX103" fmla="*/ 102596 w 1739754"/>
                  <a:gd name="connsiteY103" fmla="*/ 2234952 h 2673102"/>
                  <a:gd name="connsiteX104" fmla="*/ 93071 w 1739754"/>
                  <a:gd name="connsiteY104" fmla="*/ 2211139 h 2673102"/>
                  <a:gd name="connsiteX105" fmla="*/ 88308 w 1739754"/>
                  <a:gd name="connsiteY105" fmla="*/ 2187327 h 2673102"/>
                  <a:gd name="connsiteX106" fmla="*/ 78783 w 1739754"/>
                  <a:gd name="connsiteY106" fmla="*/ 2111127 h 2673102"/>
                  <a:gd name="connsiteX107" fmla="*/ 97833 w 1739754"/>
                  <a:gd name="connsiteY107" fmla="*/ 1944439 h 2673102"/>
                  <a:gd name="connsiteX108" fmla="*/ 107358 w 1739754"/>
                  <a:gd name="connsiteY108" fmla="*/ 1930152 h 2673102"/>
                  <a:gd name="connsiteX109" fmla="*/ 126408 w 1739754"/>
                  <a:gd name="connsiteY109" fmla="*/ 1901577 h 2673102"/>
                  <a:gd name="connsiteX110" fmla="*/ 135933 w 1739754"/>
                  <a:gd name="connsiteY110" fmla="*/ 1868239 h 2673102"/>
                  <a:gd name="connsiteX111" fmla="*/ 131171 w 1739754"/>
                  <a:gd name="connsiteY111" fmla="*/ 1825377 h 2673102"/>
                  <a:gd name="connsiteX112" fmla="*/ 112121 w 1739754"/>
                  <a:gd name="connsiteY112" fmla="*/ 1820614 h 2673102"/>
                  <a:gd name="connsiteX113" fmla="*/ 102596 w 1739754"/>
                  <a:gd name="connsiteY113" fmla="*/ 1806327 h 2673102"/>
                  <a:gd name="connsiteX114" fmla="*/ 145458 w 1739754"/>
                  <a:gd name="connsiteY114" fmla="*/ 1720602 h 2673102"/>
                  <a:gd name="connsiteX115" fmla="*/ 159746 w 1739754"/>
                  <a:gd name="connsiteY115" fmla="*/ 1715839 h 2673102"/>
                  <a:gd name="connsiteX116" fmla="*/ 174033 w 1739754"/>
                  <a:gd name="connsiteY116" fmla="*/ 1696789 h 2673102"/>
                  <a:gd name="connsiteX117" fmla="*/ 188321 w 1739754"/>
                  <a:gd name="connsiteY117" fmla="*/ 1687264 h 2673102"/>
                  <a:gd name="connsiteX118" fmla="*/ 202608 w 1739754"/>
                  <a:gd name="connsiteY118" fmla="*/ 1653927 h 2673102"/>
                  <a:gd name="connsiteX119" fmla="*/ 193083 w 1739754"/>
                  <a:gd name="connsiteY119" fmla="*/ 1606302 h 2673102"/>
                  <a:gd name="connsiteX120" fmla="*/ 164508 w 1739754"/>
                  <a:gd name="connsiteY120" fmla="*/ 1596777 h 2673102"/>
                  <a:gd name="connsiteX121" fmla="*/ 154983 w 1739754"/>
                  <a:gd name="connsiteY121" fmla="*/ 1549152 h 2673102"/>
                  <a:gd name="connsiteX122" fmla="*/ 150221 w 1739754"/>
                  <a:gd name="connsiteY122" fmla="*/ 1411039 h 2673102"/>
                  <a:gd name="connsiteX123" fmla="*/ 140696 w 1739754"/>
                  <a:gd name="connsiteY123" fmla="*/ 1377702 h 2673102"/>
                  <a:gd name="connsiteX124" fmla="*/ 121646 w 1739754"/>
                  <a:gd name="connsiteY124" fmla="*/ 1311027 h 2673102"/>
                  <a:gd name="connsiteX125" fmla="*/ 116883 w 1739754"/>
                  <a:gd name="connsiteY125" fmla="*/ 1258639 h 2673102"/>
                  <a:gd name="connsiteX126" fmla="*/ 107358 w 1739754"/>
                  <a:gd name="connsiteY126" fmla="*/ 1244352 h 2673102"/>
                  <a:gd name="connsiteX127" fmla="*/ 93071 w 1739754"/>
                  <a:gd name="connsiteY127" fmla="*/ 1196727 h 2673102"/>
                  <a:gd name="connsiteX128" fmla="*/ 78783 w 1739754"/>
                  <a:gd name="connsiteY128" fmla="*/ 1177677 h 2673102"/>
                  <a:gd name="connsiteX129" fmla="*/ 59733 w 1739754"/>
                  <a:gd name="connsiteY129" fmla="*/ 1139577 h 2673102"/>
                  <a:gd name="connsiteX130" fmla="*/ 50208 w 1739754"/>
                  <a:gd name="connsiteY130" fmla="*/ 1111002 h 2673102"/>
                  <a:gd name="connsiteX131" fmla="*/ 45446 w 1739754"/>
                  <a:gd name="connsiteY131" fmla="*/ 1096714 h 2673102"/>
                  <a:gd name="connsiteX132" fmla="*/ 21633 w 1739754"/>
                  <a:gd name="connsiteY132" fmla="*/ 1025277 h 2673102"/>
                  <a:gd name="connsiteX133" fmla="*/ 202 w 1739754"/>
                  <a:gd name="connsiteY133" fmla="*/ 980033 h 2673102"/>
                  <a:gd name="connsiteX134" fmla="*/ 14490 w 1739754"/>
                  <a:gd name="connsiteY134" fmla="*/ 930027 h 2673102"/>
                  <a:gd name="connsiteX135" fmla="*/ 69259 w 1739754"/>
                  <a:gd name="connsiteY135" fmla="*/ 810964 h 2673102"/>
                  <a:gd name="connsiteX136" fmla="*/ 221658 w 1739754"/>
                  <a:gd name="connsiteY136" fmla="*/ 601414 h 2673102"/>
                  <a:gd name="connsiteX137" fmla="*/ 288333 w 1739754"/>
                  <a:gd name="connsiteY137" fmla="*/ 515689 h 2673102"/>
                  <a:gd name="connsiteX138" fmla="*/ 412158 w 1739754"/>
                  <a:gd name="connsiteY138" fmla="*/ 406152 h 2673102"/>
                  <a:gd name="connsiteX139" fmla="*/ 535983 w 1739754"/>
                  <a:gd name="connsiteY139" fmla="*/ 291851 h 2673102"/>
                  <a:gd name="connsiteX140" fmla="*/ 640758 w 1739754"/>
                  <a:gd name="connsiteY140" fmla="*/ 229939 h 2673102"/>
                  <a:gd name="connsiteX141" fmla="*/ 733628 w 1739754"/>
                  <a:gd name="connsiteY141" fmla="*/ 168026 h 2673102"/>
                  <a:gd name="connsiteX142" fmla="*/ 978896 w 1739754"/>
                  <a:gd name="connsiteY142" fmla="*/ 63251 h 2673102"/>
                  <a:gd name="connsiteX143" fmla="*/ 1159871 w 1739754"/>
                  <a:gd name="connsiteY143" fmla="*/ 6102 h 2673102"/>
                  <a:gd name="connsiteX144" fmla="*/ 1202733 w 1739754"/>
                  <a:gd name="connsiteY14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55008 w 1739754"/>
                  <a:gd name="connsiteY46" fmla="*/ 1472952 h 2673102"/>
                  <a:gd name="connsiteX47" fmla="*/ 412158 w 1739754"/>
                  <a:gd name="connsiteY47" fmla="*/ 1468189 h 2673102"/>
                  <a:gd name="connsiteX48" fmla="*/ 416921 w 1739754"/>
                  <a:gd name="connsiteY48" fmla="*/ 1449139 h 2673102"/>
                  <a:gd name="connsiteX49" fmla="*/ 445496 w 1739754"/>
                  <a:gd name="connsiteY49" fmla="*/ 1439614 h 2673102"/>
                  <a:gd name="connsiteX50" fmla="*/ 545508 w 1739754"/>
                  <a:gd name="connsiteY50" fmla="*/ 1458664 h 2673102"/>
                  <a:gd name="connsiteX51" fmla="*/ 555033 w 1739754"/>
                  <a:gd name="connsiteY51" fmla="*/ 1482477 h 2673102"/>
                  <a:gd name="connsiteX52" fmla="*/ 564558 w 1739754"/>
                  <a:gd name="connsiteY52" fmla="*/ 1515814 h 2673102"/>
                  <a:gd name="connsiteX53" fmla="*/ 550271 w 1739754"/>
                  <a:gd name="connsiteY53" fmla="*/ 1534864 h 2673102"/>
                  <a:gd name="connsiteX54" fmla="*/ 550271 w 1739754"/>
                  <a:gd name="connsiteY54" fmla="*/ 1601539 h 2673102"/>
                  <a:gd name="connsiteX55" fmla="*/ 559796 w 1739754"/>
                  <a:gd name="connsiteY55" fmla="*/ 1620589 h 2673102"/>
                  <a:gd name="connsiteX56" fmla="*/ 626471 w 1739754"/>
                  <a:gd name="connsiteY56" fmla="*/ 1639639 h 2673102"/>
                  <a:gd name="connsiteX57" fmla="*/ 645521 w 1739754"/>
                  <a:gd name="connsiteY57" fmla="*/ 1592014 h 2673102"/>
                  <a:gd name="connsiteX58" fmla="*/ 702671 w 1739754"/>
                  <a:gd name="connsiteY58" fmla="*/ 1620589 h 2673102"/>
                  <a:gd name="connsiteX59" fmla="*/ 731246 w 1739754"/>
                  <a:gd name="connsiteY59" fmla="*/ 1630114 h 2673102"/>
                  <a:gd name="connsiteX60" fmla="*/ 783633 w 1739754"/>
                  <a:gd name="connsiteY60" fmla="*/ 1663452 h 2673102"/>
                  <a:gd name="connsiteX61" fmla="*/ 859833 w 1739754"/>
                  <a:gd name="connsiteY61" fmla="*/ 1687264 h 2673102"/>
                  <a:gd name="connsiteX62" fmla="*/ 878883 w 1739754"/>
                  <a:gd name="connsiteY62" fmla="*/ 1701552 h 2673102"/>
                  <a:gd name="connsiteX63" fmla="*/ 888408 w 1739754"/>
                  <a:gd name="connsiteY63" fmla="*/ 1739652 h 2673102"/>
                  <a:gd name="connsiteX64" fmla="*/ 897933 w 1739754"/>
                  <a:gd name="connsiteY64" fmla="*/ 1782514 h 2673102"/>
                  <a:gd name="connsiteX65" fmla="*/ 940796 w 1739754"/>
                  <a:gd name="connsiteY65" fmla="*/ 1892052 h 2673102"/>
                  <a:gd name="connsiteX66" fmla="*/ 950321 w 1739754"/>
                  <a:gd name="connsiteY66" fmla="*/ 1906339 h 2673102"/>
                  <a:gd name="connsiteX67" fmla="*/ 959846 w 1739754"/>
                  <a:gd name="connsiteY67" fmla="*/ 1939677 h 2673102"/>
                  <a:gd name="connsiteX68" fmla="*/ 974133 w 1739754"/>
                  <a:gd name="connsiteY68" fmla="*/ 1977777 h 2673102"/>
                  <a:gd name="connsiteX69" fmla="*/ 964608 w 1739754"/>
                  <a:gd name="connsiteY69" fmla="*/ 2082552 h 2673102"/>
                  <a:gd name="connsiteX70" fmla="*/ 955083 w 1739754"/>
                  <a:gd name="connsiteY70" fmla="*/ 2101602 h 2673102"/>
                  <a:gd name="connsiteX71" fmla="*/ 926508 w 1739754"/>
                  <a:gd name="connsiteY71" fmla="*/ 2144464 h 2673102"/>
                  <a:gd name="connsiteX72" fmla="*/ 907458 w 1739754"/>
                  <a:gd name="connsiteY72" fmla="*/ 2192089 h 2673102"/>
                  <a:gd name="connsiteX73" fmla="*/ 902696 w 1739754"/>
                  <a:gd name="connsiteY73" fmla="*/ 2211139 h 2673102"/>
                  <a:gd name="connsiteX74" fmla="*/ 893171 w 1739754"/>
                  <a:gd name="connsiteY74" fmla="*/ 2239714 h 2673102"/>
                  <a:gd name="connsiteX75" fmla="*/ 897933 w 1739754"/>
                  <a:gd name="connsiteY75" fmla="*/ 2287339 h 2673102"/>
                  <a:gd name="connsiteX76" fmla="*/ 893171 w 1739754"/>
                  <a:gd name="connsiteY76" fmla="*/ 2396877 h 2673102"/>
                  <a:gd name="connsiteX77" fmla="*/ 688383 w 1739754"/>
                  <a:gd name="connsiteY77" fmla="*/ 2449264 h 2673102"/>
                  <a:gd name="connsiteX78" fmla="*/ 655046 w 1739754"/>
                  <a:gd name="connsiteY78" fmla="*/ 2473077 h 2673102"/>
                  <a:gd name="connsiteX79" fmla="*/ 607421 w 1739754"/>
                  <a:gd name="connsiteY79" fmla="*/ 2511177 h 2673102"/>
                  <a:gd name="connsiteX80" fmla="*/ 574083 w 1739754"/>
                  <a:gd name="connsiteY80" fmla="*/ 2534989 h 2673102"/>
                  <a:gd name="connsiteX81" fmla="*/ 540746 w 1739754"/>
                  <a:gd name="connsiteY81" fmla="*/ 2554039 h 2673102"/>
                  <a:gd name="connsiteX82" fmla="*/ 497883 w 1739754"/>
                  <a:gd name="connsiteY82" fmla="*/ 2587377 h 2673102"/>
                  <a:gd name="connsiteX83" fmla="*/ 483596 w 1739754"/>
                  <a:gd name="connsiteY83" fmla="*/ 2601664 h 2673102"/>
                  <a:gd name="connsiteX84" fmla="*/ 459783 w 1739754"/>
                  <a:gd name="connsiteY84" fmla="*/ 2620714 h 2673102"/>
                  <a:gd name="connsiteX85" fmla="*/ 450258 w 1739754"/>
                  <a:gd name="connsiteY85" fmla="*/ 2635002 h 2673102"/>
                  <a:gd name="connsiteX86" fmla="*/ 416921 w 1739754"/>
                  <a:gd name="connsiteY86" fmla="*/ 2654052 h 2673102"/>
                  <a:gd name="connsiteX87" fmla="*/ 374058 w 1739754"/>
                  <a:gd name="connsiteY87" fmla="*/ 2673102 h 2673102"/>
                  <a:gd name="connsiteX88" fmla="*/ 359771 w 1739754"/>
                  <a:gd name="connsiteY88" fmla="*/ 2663577 h 2673102"/>
                  <a:gd name="connsiteX89" fmla="*/ 345483 w 1739754"/>
                  <a:gd name="connsiteY89" fmla="*/ 2635002 h 2673102"/>
                  <a:gd name="connsiteX90" fmla="*/ 335958 w 1739754"/>
                  <a:gd name="connsiteY90" fmla="*/ 2620714 h 2673102"/>
                  <a:gd name="connsiteX91" fmla="*/ 297858 w 1739754"/>
                  <a:gd name="connsiteY91" fmla="*/ 2611189 h 2673102"/>
                  <a:gd name="connsiteX92" fmla="*/ 278808 w 1739754"/>
                  <a:gd name="connsiteY92" fmla="*/ 2592139 h 2673102"/>
                  <a:gd name="connsiteX93" fmla="*/ 274046 w 1739754"/>
                  <a:gd name="connsiteY93" fmla="*/ 2573089 h 2673102"/>
                  <a:gd name="connsiteX94" fmla="*/ 235946 w 1739754"/>
                  <a:gd name="connsiteY94" fmla="*/ 2539752 h 2673102"/>
                  <a:gd name="connsiteX95" fmla="*/ 231183 w 1739754"/>
                  <a:gd name="connsiteY95" fmla="*/ 2525464 h 2673102"/>
                  <a:gd name="connsiteX96" fmla="*/ 226421 w 1739754"/>
                  <a:gd name="connsiteY96" fmla="*/ 2506414 h 2673102"/>
                  <a:gd name="connsiteX97" fmla="*/ 212133 w 1739754"/>
                  <a:gd name="connsiteY97" fmla="*/ 2492127 h 2673102"/>
                  <a:gd name="connsiteX98" fmla="*/ 154983 w 1739754"/>
                  <a:gd name="connsiteY98" fmla="*/ 2439739 h 2673102"/>
                  <a:gd name="connsiteX99" fmla="*/ 150221 w 1739754"/>
                  <a:gd name="connsiteY99" fmla="*/ 2415927 h 2673102"/>
                  <a:gd name="connsiteX100" fmla="*/ 135933 w 1739754"/>
                  <a:gd name="connsiteY100" fmla="*/ 2358777 h 2673102"/>
                  <a:gd name="connsiteX101" fmla="*/ 121646 w 1739754"/>
                  <a:gd name="connsiteY101" fmla="*/ 2315914 h 2673102"/>
                  <a:gd name="connsiteX102" fmla="*/ 107358 w 1739754"/>
                  <a:gd name="connsiteY102" fmla="*/ 2258764 h 2673102"/>
                  <a:gd name="connsiteX103" fmla="*/ 102596 w 1739754"/>
                  <a:gd name="connsiteY103" fmla="*/ 2234952 h 2673102"/>
                  <a:gd name="connsiteX104" fmla="*/ 93071 w 1739754"/>
                  <a:gd name="connsiteY104" fmla="*/ 2211139 h 2673102"/>
                  <a:gd name="connsiteX105" fmla="*/ 88308 w 1739754"/>
                  <a:gd name="connsiteY105" fmla="*/ 2187327 h 2673102"/>
                  <a:gd name="connsiteX106" fmla="*/ 78783 w 1739754"/>
                  <a:gd name="connsiteY106" fmla="*/ 2111127 h 2673102"/>
                  <a:gd name="connsiteX107" fmla="*/ 97833 w 1739754"/>
                  <a:gd name="connsiteY107" fmla="*/ 1944439 h 2673102"/>
                  <a:gd name="connsiteX108" fmla="*/ 107358 w 1739754"/>
                  <a:gd name="connsiteY108" fmla="*/ 1930152 h 2673102"/>
                  <a:gd name="connsiteX109" fmla="*/ 126408 w 1739754"/>
                  <a:gd name="connsiteY109" fmla="*/ 1901577 h 2673102"/>
                  <a:gd name="connsiteX110" fmla="*/ 135933 w 1739754"/>
                  <a:gd name="connsiteY110" fmla="*/ 1868239 h 2673102"/>
                  <a:gd name="connsiteX111" fmla="*/ 131171 w 1739754"/>
                  <a:gd name="connsiteY111" fmla="*/ 1825377 h 2673102"/>
                  <a:gd name="connsiteX112" fmla="*/ 112121 w 1739754"/>
                  <a:gd name="connsiteY112" fmla="*/ 1820614 h 2673102"/>
                  <a:gd name="connsiteX113" fmla="*/ 102596 w 1739754"/>
                  <a:gd name="connsiteY113" fmla="*/ 1806327 h 2673102"/>
                  <a:gd name="connsiteX114" fmla="*/ 145458 w 1739754"/>
                  <a:gd name="connsiteY114" fmla="*/ 1720602 h 2673102"/>
                  <a:gd name="connsiteX115" fmla="*/ 159746 w 1739754"/>
                  <a:gd name="connsiteY115" fmla="*/ 1715839 h 2673102"/>
                  <a:gd name="connsiteX116" fmla="*/ 174033 w 1739754"/>
                  <a:gd name="connsiteY116" fmla="*/ 1696789 h 2673102"/>
                  <a:gd name="connsiteX117" fmla="*/ 188321 w 1739754"/>
                  <a:gd name="connsiteY117" fmla="*/ 1687264 h 2673102"/>
                  <a:gd name="connsiteX118" fmla="*/ 202608 w 1739754"/>
                  <a:gd name="connsiteY118" fmla="*/ 1653927 h 2673102"/>
                  <a:gd name="connsiteX119" fmla="*/ 193083 w 1739754"/>
                  <a:gd name="connsiteY119" fmla="*/ 1606302 h 2673102"/>
                  <a:gd name="connsiteX120" fmla="*/ 164508 w 1739754"/>
                  <a:gd name="connsiteY120" fmla="*/ 1596777 h 2673102"/>
                  <a:gd name="connsiteX121" fmla="*/ 154983 w 1739754"/>
                  <a:gd name="connsiteY121" fmla="*/ 1549152 h 2673102"/>
                  <a:gd name="connsiteX122" fmla="*/ 150221 w 1739754"/>
                  <a:gd name="connsiteY122" fmla="*/ 1411039 h 2673102"/>
                  <a:gd name="connsiteX123" fmla="*/ 140696 w 1739754"/>
                  <a:gd name="connsiteY123" fmla="*/ 1377702 h 2673102"/>
                  <a:gd name="connsiteX124" fmla="*/ 121646 w 1739754"/>
                  <a:gd name="connsiteY124" fmla="*/ 1311027 h 2673102"/>
                  <a:gd name="connsiteX125" fmla="*/ 116883 w 1739754"/>
                  <a:gd name="connsiteY125" fmla="*/ 1258639 h 2673102"/>
                  <a:gd name="connsiteX126" fmla="*/ 107358 w 1739754"/>
                  <a:gd name="connsiteY126" fmla="*/ 1244352 h 2673102"/>
                  <a:gd name="connsiteX127" fmla="*/ 93071 w 1739754"/>
                  <a:gd name="connsiteY127" fmla="*/ 1196727 h 2673102"/>
                  <a:gd name="connsiteX128" fmla="*/ 78783 w 1739754"/>
                  <a:gd name="connsiteY128" fmla="*/ 1177677 h 2673102"/>
                  <a:gd name="connsiteX129" fmla="*/ 59733 w 1739754"/>
                  <a:gd name="connsiteY129" fmla="*/ 1139577 h 2673102"/>
                  <a:gd name="connsiteX130" fmla="*/ 50208 w 1739754"/>
                  <a:gd name="connsiteY130" fmla="*/ 1111002 h 2673102"/>
                  <a:gd name="connsiteX131" fmla="*/ 45446 w 1739754"/>
                  <a:gd name="connsiteY131" fmla="*/ 1096714 h 2673102"/>
                  <a:gd name="connsiteX132" fmla="*/ 21633 w 1739754"/>
                  <a:gd name="connsiteY132" fmla="*/ 1025277 h 2673102"/>
                  <a:gd name="connsiteX133" fmla="*/ 202 w 1739754"/>
                  <a:gd name="connsiteY133" fmla="*/ 980033 h 2673102"/>
                  <a:gd name="connsiteX134" fmla="*/ 14490 w 1739754"/>
                  <a:gd name="connsiteY134" fmla="*/ 930027 h 2673102"/>
                  <a:gd name="connsiteX135" fmla="*/ 69259 w 1739754"/>
                  <a:gd name="connsiteY135" fmla="*/ 810964 h 2673102"/>
                  <a:gd name="connsiteX136" fmla="*/ 221658 w 1739754"/>
                  <a:gd name="connsiteY136" fmla="*/ 601414 h 2673102"/>
                  <a:gd name="connsiteX137" fmla="*/ 288333 w 1739754"/>
                  <a:gd name="connsiteY137" fmla="*/ 515689 h 2673102"/>
                  <a:gd name="connsiteX138" fmla="*/ 412158 w 1739754"/>
                  <a:gd name="connsiteY138" fmla="*/ 406152 h 2673102"/>
                  <a:gd name="connsiteX139" fmla="*/ 535983 w 1739754"/>
                  <a:gd name="connsiteY139" fmla="*/ 291851 h 2673102"/>
                  <a:gd name="connsiteX140" fmla="*/ 640758 w 1739754"/>
                  <a:gd name="connsiteY140" fmla="*/ 229939 h 2673102"/>
                  <a:gd name="connsiteX141" fmla="*/ 733628 w 1739754"/>
                  <a:gd name="connsiteY141" fmla="*/ 168026 h 2673102"/>
                  <a:gd name="connsiteX142" fmla="*/ 978896 w 1739754"/>
                  <a:gd name="connsiteY142" fmla="*/ 63251 h 2673102"/>
                  <a:gd name="connsiteX143" fmla="*/ 1159871 w 1739754"/>
                  <a:gd name="connsiteY143" fmla="*/ 6102 h 2673102"/>
                  <a:gd name="connsiteX144" fmla="*/ 1202733 w 1739754"/>
                  <a:gd name="connsiteY14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412158 w 1739754"/>
                  <a:gd name="connsiteY46" fmla="*/ 1468189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64558 w 1739754"/>
                  <a:gd name="connsiteY51" fmla="*/ 1515814 h 2673102"/>
                  <a:gd name="connsiteX52" fmla="*/ 550271 w 1739754"/>
                  <a:gd name="connsiteY52" fmla="*/ 1534864 h 2673102"/>
                  <a:gd name="connsiteX53" fmla="*/ 550271 w 1739754"/>
                  <a:gd name="connsiteY53" fmla="*/ 1601539 h 2673102"/>
                  <a:gd name="connsiteX54" fmla="*/ 559796 w 1739754"/>
                  <a:gd name="connsiteY54" fmla="*/ 1620589 h 2673102"/>
                  <a:gd name="connsiteX55" fmla="*/ 626471 w 1739754"/>
                  <a:gd name="connsiteY55" fmla="*/ 1639639 h 2673102"/>
                  <a:gd name="connsiteX56" fmla="*/ 645521 w 1739754"/>
                  <a:gd name="connsiteY56" fmla="*/ 1592014 h 2673102"/>
                  <a:gd name="connsiteX57" fmla="*/ 702671 w 1739754"/>
                  <a:gd name="connsiteY57" fmla="*/ 1620589 h 2673102"/>
                  <a:gd name="connsiteX58" fmla="*/ 731246 w 1739754"/>
                  <a:gd name="connsiteY58" fmla="*/ 1630114 h 2673102"/>
                  <a:gd name="connsiteX59" fmla="*/ 783633 w 1739754"/>
                  <a:gd name="connsiteY59" fmla="*/ 1663452 h 2673102"/>
                  <a:gd name="connsiteX60" fmla="*/ 859833 w 1739754"/>
                  <a:gd name="connsiteY60" fmla="*/ 1687264 h 2673102"/>
                  <a:gd name="connsiteX61" fmla="*/ 878883 w 1739754"/>
                  <a:gd name="connsiteY61" fmla="*/ 1701552 h 2673102"/>
                  <a:gd name="connsiteX62" fmla="*/ 888408 w 1739754"/>
                  <a:gd name="connsiteY62" fmla="*/ 1739652 h 2673102"/>
                  <a:gd name="connsiteX63" fmla="*/ 897933 w 1739754"/>
                  <a:gd name="connsiteY63" fmla="*/ 1782514 h 2673102"/>
                  <a:gd name="connsiteX64" fmla="*/ 940796 w 1739754"/>
                  <a:gd name="connsiteY64" fmla="*/ 1892052 h 2673102"/>
                  <a:gd name="connsiteX65" fmla="*/ 950321 w 1739754"/>
                  <a:gd name="connsiteY65" fmla="*/ 1906339 h 2673102"/>
                  <a:gd name="connsiteX66" fmla="*/ 959846 w 1739754"/>
                  <a:gd name="connsiteY66" fmla="*/ 1939677 h 2673102"/>
                  <a:gd name="connsiteX67" fmla="*/ 974133 w 1739754"/>
                  <a:gd name="connsiteY67" fmla="*/ 1977777 h 2673102"/>
                  <a:gd name="connsiteX68" fmla="*/ 964608 w 1739754"/>
                  <a:gd name="connsiteY68" fmla="*/ 2082552 h 2673102"/>
                  <a:gd name="connsiteX69" fmla="*/ 955083 w 1739754"/>
                  <a:gd name="connsiteY69" fmla="*/ 2101602 h 2673102"/>
                  <a:gd name="connsiteX70" fmla="*/ 926508 w 1739754"/>
                  <a:gd name="connsiteY70" fmla="*/ 2144464 h 2673102"/>
                  <a:gd name="connsiteX71" fmla="*/ 907458 w 1739754"/>
                  <a:gd name="connsiteY71" fmla="*/ 2192089 h 2673102"/>
                  <a:gd name="connsiteX72" fmla="*/ 902696 w 1739754"/>
                  <a:gd name="connsiteY72" fmla="*/ 2211139 h 2673102"/>
                  <a:gd name="connsiteX73" fmla="*/ 893171 w 1739754"/>
                  <a:gd name="connsiteY73" fmla="*/ 2239714 h 2673102"/>
                  <a:gd name="connsiteX74" fmla="*/ 897933 w 1739754"/>
                  <a:gd name="connsiteY74" fmla="*/ 2287339 h 2673102"/>
                  <a:gd name="connsiteX75" fmla="*/ 893171 w 1739754"/>
                  <a:gd name="connsiteY75" fmla="*/ 2396877 h 2673102"/>
                  <a:gd name="connsiteX76" fmla="*/ 688383 w 1739754"/>
                  <a:gd name="connsiteY76" fmla="*/ 2449264 h 2673102"/>
                  <a:gd name="connsiteX77" fmla="*/ 655046 w 1739754"/>
                  <a:gd name="connsiteY77" fmla="*/ 2473077 h 2673102"/>
                  <a:gd name="connsiteX78" fmla="*/ 607421 w 1739754"/>
                  <a:gd name="connsiteY78" fmla="*/ 2511177 h 2673102"/>
                  <a:gd name="connsiteX79" fmla="*/ 574083 w 1739754"/>
                  <a:gd name="connsiteY79" fmla="*/ 2534989 h 2673102"/>
                  <a:gd name="connsiteX80" fmla="*/ 540746 w 1739754"/>
                  <a:gd name="connsiteY80" fmla="*/ 2554039 h 2673102"/>
                  <a:gd name="connsiteX81" fmla="*/ 497883 w 1739754"/>
                  <a:gd name="connsiteY81" fmla="*/ 2587377 h 2673102"/>
                  <a:gd name="connsiteX82" fmla="*/ 483596 w 1739754"/>
                  <a:gd name="connsiteY82" fmla="*/ 2601664 h 2673102"/>
                  <a:gd name="connsiteX83" fmla="*/ 459783 w 1739754"/>
                  <a:gd name="connsiteY83" fmla="*/ 2620714 h 2673102"/>
                  <a:gd name="connsiteX84" fmla="*/ 450258 w 1739754"/>
                  <a:gd name="connsiteY84" fmla="*/ 2635002 h 2673102"/>
                  <a:gd name="connsiteX85" fmla="*/ 416921 w 1739754"/>
                  <a:gd name="connsiteY85" fmla="*/ 2654052 h 2673102"/>
                  <a:gd name="connsiteX86" fmla="*/ 374058 w 1739754"/>
                  <a:gd name="connsiteY86" fmla="*/ 2673102 h 2673102"/>
                  <a:gd name="connsiteX87" fmla="*/ 359771 w 1739754"/>
                  <a:gd name="connsiteY87" fmla="*/ 2663577 h 2673102"/>
                  <a:gd name="connsiteX88" fmla="*/ 345483 w 1739754"/>
                  <a:gd name="connsiteY88" fmla="*/ 2635002 h 2673102"/>
                  <a:gd name="connsiteX89" fmla="*/ 335958 w 1739754"/>
                  <a:gd name="connsiteY89" fmla="*/ 2620714 h 2673102"/>
                  <a:gd name="connsiteX90" fmla="*/ 297858 w 1739754"/>
                  <a:gd name="connsiteY90" fmla="*/ 2611189 h 2673102"/>
                  <a:gd name="connsiteX91" fmla="*/ 278808 w 1739754"/>
                  <a:gd name="connsiteY91" fmla="*/ 2592139 h 2673102"/>
                  <a:gd name="connsiteX92" fmla="*/ 274046 w 1739754"/>
                  <a:gd name="connsiteY92" fmla="*/ 2573089 h 2673102"/>
                  <a:gd name="connsiteX93" fmla="*/ 235946 w 1739754"/>
                  <a:gd name="connsiteY93" fmla="*/ 2539752 h 2673102"/>
                  <a:gd name="connsiteX94" fmla="*/ 231183 w 1739754"/>
                  <a:gd name="connsiteY94" fmla="*/ 2525464 h 2673102"/>
                  <a:gd name="connsiteX95" fmla="*/ 226421 w 1739754"/>
                  <a:gd name="connsiteY95" fmla="*/ 2506414 h 2673102"/>
                  <a:gd name="connsiteX96" fmla="*/ 212133 w 1739754"/>
                  <a:gd name="connsiteY96" fmla="*/ 2492127 h 2673102"/>
                  <a:gd name="connsiteX97" fmla="*/ 154983 w 1739754"/>
                  <a:gd name="connsiteY97" fmla="*/ 2439739 h 2673102"/>
                  <a:gd name="connsiteX98" fmla="*/ 150221 w 1739754"/>
                  <a:gd name="connsiteY98" fmla="*/ 2415927 h 2673102"/>
                  <a:gd name="connsiteX99" fmla="*/ 135933 w 1739754"/>
                  <a:gd name="connsiteY99" fmla="*/ 2358777 h 2673102"/>
                  <a:gd name="connsiteX100" fmla="*/ 121646 w 1739754"/>
                  <a:gd name="connsiteY100" fmla="*/ 2315914 h 2673102"/>
                  <a:gd name="connsiteX101" fmla="*/ 107358 w 1739754"/>
                  <a:gd name="connsiteY101" fmla="*/ 2258764 h 2673102"/>
                  <a:gd name="connsiteX102" fmla="*/ 102596 w 1739754"/>
                  <a:gd name="connsiteY102" fmla="*/ 2234952 h 2673102"/>
                  <a:gd name="connsiteX103" fmla="*/ 93071 w 1739754"/>
                  <a:gd name="connsiteY103" fmla="*/ 2211139 h 2673102"/>
                  <a:gd name="connsiteX104" fmla="*/ 88308 w 1739754"/>
                  <a:gd name="connsiteY104" fmla="*/ 2187327 h 2673102"/>
                  <a:gd name="connsiteX105" fmla="*/ 78783 w 1739754"/>
                  <a:gd name="connsiteY105" fmla="*/ 2111127 h 2673102"/>
                  <a:gd name="connsiteX106" fmla="*/ 97833 w 1739754"/>
                  <a:gd name="connsiteY106" fmla="*/ 1944439 h 2673102"/>
                  <a:gd name="connsiteX107" fmla="*/ 107358 w 1739754"/>
                  <a:gd name="connsiteY107" fmla="*/ 1930152 h 2673102"/>
                  <a:gd name="connsiteX108" fmla="*/ 126408 w 1739754"/>
                  <a:gd name="connsiteY108" fmla="*/ 1901577 h 2673102"/>
                  <a:gd name="connsiteX109" fmla="*/ 135933 w 1739754"/>
                  <a:gd name="connsiteY109" fmla="*/ 1868239 h 2673102"/>
                  <a:gd name="connsiteX110" fmla="*/ 131171 w 1739754"/>
                  <a:gd name="connsiteY110" fmla="*/ 1825377 h 2673102"/>
                  <a:gd name="connsiteX111" fmla="*/ 112121 w 1739754"/>
                  <a:gd name="connsiteY111" fmla="*/ 1820614 h 2673102"/>
                  <a:gd name="connsiteX112" fmla="*/ 102596 w 1739754"/>
                  <a:gd name="connsiteY112" fmla="*/ 1806327 h 2673102"/>
                  <a:gd name="connsiteX113" fmla="*/ 145458 w 1739754"/>
                  <a:gd name="connsiteY113" fmla="*/ 1720602 h 2673102"/>
                  <a:gd name="connsiteX114" fmla="*/ 159746 w 1739754"/>
                  <a:gd name="connsiteY114" fmla="*/ 1715839 h 2673102"/>
                  <a:gd name="connsiteX115" fmla="*/ 174033 w 1739754"/>
                  <a:gd name="connsiteY115" fmla="*/ 1696789 h 2673102"/>
                  <a:gd name="connsiteX116" fmla="*/ 188321 w 1739754"/>
                  <a:gd name="connsiteY116" fmla="*/ 1687264 h 2673102"/>
                  <a:gd name="connsiteX117" fmla="*/ 202608 w 1739754"/>
                  <a:gd name="connsiteY117" fmla="*/ 1653927 h 2673102"/>
                  <a:gd name="connsiteX118" fmla="*/ 193083 w 1739754"/>
                  <a:gd name="connsiteY118" fmla="*/ 1606302 h 2673102"/>
                  <a:gd name="connsiteX119" fmla="*/ 164508 w 1739754"/>
                  <a:gd name="connsiteY119" fmla="*/ 1596777 h 2673102"/>
                  <a:gd name="connsiteX120" fmla="*/ 154983 w 1739754"/>
                  <a:gd name="connsiteY120" fmla="*/ 1549152 h 2673102"/>
                  <a:gd name="connsiteX121" fmla="*/ 150221 w 1739754"/>
                  <a:gd name="connsiteY121" fmla="*/ 1411039 h 2673102"/>
                  <a:gd name="connsiteX122" fmla="*/ 140696 w 1739754"/>
                  <a:gd name="connsiteY122" fmla="*/ 1377702 h 2673102"/>
                  <a:gd name="connsiteX123" fmla="*/ 121646 w 1739754"/>
                  <a:gd name="connsiteY123" fmla="*/ 1311027 h 2673102"/>
                  <a:gd name="connsiteX124" fmla="*/ 116883 w 1739754"/>
                  <a:gd name="connsiteY124" fmla="*/ 1258639 h 2673102"/>
                  <a:gd name="connsiteX125" fmla="*/ 107358 w 1739754"/>
                  <a:gd name="connsiteY125" fmla="*/ 1244352 h 2673102"/>
                  <a:gd name="connsiteX126" fmla="*/ 93071 w 1739754"/>
                  <a:gd name="connsiteY126" fmla="*/ 1196727 h 2673102"/>
                  <a:gd name="connsiteX127" fmla="*/ 78783 w 1739754"/>
                  <a:gd name="connsiteY127" fmla="*/ 1177677 h 2673102"/>
                  <a:gd name="connsiteX128" fmla="*/ 59733 w 1739754"/>
                  <a:gd name="connsiteY128" fmla="*/ 1139577 h 2673102"/>
                  <a:gd name="connsiteX129" fmla="*/ 50208 w 1739754"/>
                  <a:gd name="connsiteY129" fmla="*/ 1111002 h 2673102"/>
                  <a:gd name="connsiteX130" fmla="*/ 45446 w 1739754"/>
                  <a:gd name="connsiteY130" fmla="*/ 1096714 h 2673102"/>
                  <a:gd name="connsiteX131" fmla="*/ 21633 w 1739754"/>
                  <a:gd name="connsiteY131" fmla="*/ 1025277 h 2673102"/>
                  <a:gd name="connsiteX132" fmla="*/ 202 w 1739754"/>
                  <a:gd name="connsiteY132" fmla="*/ 980033 h 2673102"/>
                  <a:gd name="connsiteX133" fmla="*/ 14490 w 1739754"/>
                  <a:gd name="connsiteY133" fmla="*/ 930027 h 2673102"/>
                  <a:gd name="connsiteX134" fmla="*/ 69259 w 1739754"/>
                  <a:gd name="connsiteY134" fmla="*/ 810964 h 2673102"/>
                  <a:gd name="connsiteX135" fmla="*/ 221658 w 1739754"/>
                  <a:gd name="connsiteY135" fmla="*/ 601414 h 2673102"/>
                  <a:gd name="connsiteX136" fmla="*/ 288333 w 1739754"/>
                  <a:gd name="connsiteY136" fmla="*/ 515689 h 2673102"/>
                  <a:gd name="connsiteX137" fmla="*/ 412158 w 1739754"/>
                  <a:gd name="connsiteY137" fmla="*/ 406152 h 2673102"/>
                  <a:gd name="connsiteX138" fmla="*/ 535983 w 1739754"/>
                  <a:gd name="connsiteY138" fmla="*/ 291851 h 2673102"/>
                  <a:gd name="connsiteX139" fmla="*/ 640758 w 1739754"/>
                  <a:gd name="connsiteY139" fmla="*/ 229939 h 2673102"/>
                  <a:gd name="connsiteX140" fmla="*/ 733628 w 1739754"/>
                  <a:gd name="connsiteY140" fmla="*/ 168026 h 2673102"/>
                  <a:gd name="connsiteX141" fmla="*/ 978896 w 1739754"/>
                  <a:gd name="connsiteY141" fmla="*/ 63251 h 2673102"/>
                  <a:gd name="connsiteX142" fmla="*/ 1159871 w 1739754"/>
                  <a:gd name="connsiteY142" fmla="*/ 6102 h 2673102"/>
                  <a:gd name="connsiteX143" fmla="*/ 1202733 w 1739754"/>
                  <a:gd name="connsiteY14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64558 w 1739754"/>
                  <a:gd name="connsiteY51" fmla="*/ 1515814 h 2673102"/>
                  <a:gd name="connsiteX52" fmla="*/ 550271 w 1739754"/>
                  <a:gd name="connsiteY52" fmla="*/ 1534864 h 2673102"/>
                  <a:gd name="connsiteX53" fmla="*/ 550271 w 1739754"/>
                  <a:gd name="connsiteY53" fmla="*/ 1601539 h 2673102"/>
                  <a:gd name="connsiteX54" fmla="*/ 559796 w 1739754"/>
                  <a:gd name="connsiteY54" fmla="*/ 1620589 h 2673102"/>
                  <a:gd name="connsiteX55" fmla="*/ 626471 w 1739754"/>
                  <a:gd name="connsiteY55" fmla="*/ 1639639 h 2673102"/>
                  <a:gd name="connsiteX56" fmla="*/ 645521 w 1739754"/>
                  <a:gd name="connsiteY56" fmla="*/ 1592014 h 2673102"/>
                  <a:gd name="connsiteX57" fmla="*/ 702671 w 1739754"/>
                  <a:gd name="connsiteY57" fmla="*/ 1620589 h 2673102"/>
                  <a:gd name="connsiteX58" fmla="*/ 731246 w 1739754"/>
                  <a:gd name="connsiteY58" fmla="*/ 1630114 h 2673102"/>
                  <a:gd name="connsiteX59" fmla="*/ 783633 w 1739754"/>
                  <a:gd name="connsiteY59" fmla="*/ 1663452 h 2673102"/>
                  <a:gd name="connsiteX60" fmla="*/ 859833 w 1739754"/>
                  <a:gd name="connsiteY60" fmla="*/ 1687264 h 2673102"/>
                  <a:gd name="connsiteX61" fmla="*/ 878883 w 1739754"/>
                  <a:gd name="connsiteY61" fmla="*/ 1701552 h 2673102"/>
                  <a:gd name="connsiteX62" fmla="*/ 888408 w 1739754"/>
                  <a:gd name="connsiteY62" fmla="*/ 1739652 h 2673102"/>
                  <a:gd name="connsiteX63" fmla="*/ 897933 w 1739754"/>
                  <a:gd name="connsiteY63" fmla="*/ 1782514 h 2673102"/>
                  <a:gd name="connsiteX64" fmla="*/ 940796 w 1739754"/>
                  <a:gd name="connsiteY64" fmla="*/ 1892052 h 2673102"/>
                  <a:gd name="connsiteX65" fmla="*/ 950321 w 1739754"/>
                  <a:gd name="connsiteY65" fmla="*/ 1906339 h 2673102"/>
                  <a:gd name="connsiteX66" fmla="*/ 959846 w 1739754"/>
                  <a:gd name="connsiteY66" fmla="*/ 1939677 h 2673102"/>
                  <a:gd name="connsiteX67" fmla="*/ 974133 w 1739754"/>
                  <a:gd name="connsiteY67" fmla="*/ 1977777 h 2673102"/>
                  <a:gd name="connsiteX68" fmla="*/ 964608 w 1739754"/>
                  <a:gd name="connsiteY68" fmla="*/ 2082552 h 2673102"/>
                  <a:gd name="connsiteX69" fmla="*/ 955083 w 1739754"/>
                  <a:gd name="connsiteY69" fmla="*/ 2101602 h 2673102"/>
                  <a:gd name="connsiteX70" fmla="*/ 926508 w 1739754"/>
                  <a:gd name="connsiteY70" fmla="*/ 2144464 h 2673102"/>
                  <a:gd name="connsiteX71" fmla="*/ 907458 w 1739754"/>
                  <a:gd name="connsiteY71" fmla="*/ 2192089 h 2673102"/>
                  <a:gd name="connsiteX72" fmla="*/ 902696 w 1739754"/>
                  <a:gd name="connsiteY72" fmla="*/ 2211139 h 2673102"/>
                  <a:gd name="connsiteX73" fmla="*/ 893171 w 1739754"/>
                  <a:gd name="connsiteY73" fmla="*/ 2239714 h 2673102"/>
                  <a:gd name="connsiteX74" fmla="*/ 897933 w 1739754"/>
                  <a:gd name="connsiteY74" fmla="*/ 2287339 h 2673102"/>
                  <a:gd name="connsiteX75" fmla="*/ 893171 w 1739754"/>
                  <a:gd name="connsiteY75" fmla="*/ 2396877 h 2673102"/>
                  <a:gd name="connsiteX76" fmla="*/ 688383 w 1739754"/>
                  <a:gd name="connsiteY76" fmla="*/ 2449264 h 2673102"/>
                  <a:gd name="connsiteX77" fmla="*/ 655046 w 1739754"/>
                  <a:gd name="connsiteY77" fmla="*/ 2473077 h 2673102"/>
                  <a:gd name="connsiteX78" fmla="*/ 607421 w 1739754"/>
                  <a:gd name="connsiteY78" fmla="*/ 2511177 h 2673102"/>
                  <a:gd name="connsiteX79" fmla="*/ 574083 w 1739754"/>
                  <a:gd name="connsiteY79" fmla="*/ 2534989 h 2673102"/>
                  <a:gd name="connsiteX80" fmla="*/ 540746 w 1739754"/>
                  <a:gd name="connsiteY80" fmla="*/ 2554039 h 2673102"/>
                  <a:gd name="connsiteX81" fmla="*/ 497883 w 1739754"/>
                  <a:gd name="connsiteY81" fmla="*/ 2587377 h 2673102"/>
                  <a:gd name="connsiteX82" fmla="*/ 483596 w 1739754"/>
                  <a:gd name="connsiteY82" fmla="*/ 2601664 h 2673102"/>
                  <a:gd name="connsiteX83" fmla="*/ 459783 w 1739754"/>
                  <a:gd name="connsiteY83" fmla="*/ 2620714 h 2673102"/>
                  <a:gd name="connsiteX84" fmla="*/ 450258 w 1739754"/>
                  <a:gd name="connsiteY84" fmla="*/ 2635002 h 2673102"/>
                  <a:gd name="connsiteX85" fmla="*/ 416921 w 1739754"/>
                  <a:gd name="connsiteY85" fmla="*/ 2654052 h 2673102"/>
                  <a:gd name="connsiteX86" fmla="*/ 374058 w 1739754"/>
                  <a:gd name="connsiteY86" fmla="*/ 2673102 h 2673102"/>
                  <a:gd name="connsiteX87" fmla="*/ 359771 w 1739754"/>
                  <a:gd name="connsiteY87" fmla="*/ 2663577 h 2673102"/>
                  <a:gd name="connsiteX88" fmla="*/ 345483 w 1739754"/>
                  <a:gd name="connsiteY88" fmla="*/ 2635002 h 2673102"/>
                  <a:gd name="connsiteX89" fmla="*/ 335958 w 1739754"/>
                  <a:gd name="connsiteY89" fmla="*/ 2620714 h 2673102"/>
                  <a:gd name="connsiteX90" fmla="*/ 297858 w 1739754"/>
                  <a:gd name="connsiteY90" fmla="*/ 2611189 h 2673102"/>
                  <a:gd name="connsiteX91" fmla="*/ 278808 w 1739754"/>
                  <a:gd name="connsiteY91" fmla="*/ 2592139 h 2673102"/>
                  <a:gd name="connsiteX92" fmla="*/ 274046 w 1739754"/>
                  <a:gd name="connsiteY92" fmla="*/ 2573089 h 2673102"/>
                  <a:gd name="connsiteX93" fmla="*/ 235946 w 1739754"/>
                  <a:gd name="connsiteY93" fmla="*/ 2539752 h 2673102"/>
                  <a:gd name="connsiteX94" fmla="*/ 231183 w 1739754"/>
                  <a:gd name="connsiteY94" fmla="*/ 2525464 h 2673102"/>
                  <a:gd name="connsiteX95" fmla="*/ 226421 w 1739754"/>
                  <a:gd name="connsiteY95" fmla="*/ 2506414 h 2673102"/>
                  <a:gd name="connsiteX96" fmla="*/ 212133 w 1739754"/>
                  <a:gd name="connsiteY96" fmla="*/ 2492127 h 2673102"/>
                  <a:gd name="connsiteX97" fmla="*/ 154983 w 1739754"/>
                  <a:gd name="connsiteY97" fmla="*/ 2439739 h 2673102"/>
                  <a:gd name="connsiteX98" fmla="*/ 150221 w 1739754"/>
                  <a:gd name="connsiteY98" fmla="*/ 2415927 h 2673102"/>
                  <a:gd name="connsiteX99" fmla="*/ 135933 w 1739754"/>
                  <a:gd name="connsiteY99" fmla="*/ 2358777 h 2673102"/>
                  <a:gd name="connsiteX100" fmla="*/ 121646 w 1739754"/>
                  <a:gd name="connsiteY100" fmla="*/ 2315914 h 2673102"/>
                  <a:gd name="connsiteX101" fmla="*/ 107358 w 1739754"/>
                  <a:gd name="connsiteY101" fmla="*/ 2258764 h 2673102"/>
                  <a:gd name="connsiteX102" fmla="*/ 102596 w 1739754"/>
                  <a:gd name="connsiteY102" fmla="*/ 2234952 h 2673102"/>
                  <a:gd name="connsiteX103" fmla="*/ 93071 w 1739754"/>
                  <a:gd name="connsiteY103" fmla="*/ 2211139 h 2673102"/>
                  <a:gd name="connsiteX104" fmla="*/ 88308 w 1739754"/>
                  <a:gd name="connsiteY104" fmla="*/ 2187327 h 2673102"/>
                  <a:gd name="connsiteX105" fmla="*/ 78783 w 1739754"/>
                  <a:gd name="connsiteY105" fmla="*/ 2111127 h 2673102"/>
                  <a:gd name="connsiteX106" fmla="*/ 97833 w 1739754"/>
                  <a:gd name="connsiteY106" fmla="*/ 1944439 h 2673102"/>
                  <a:gd name="connsiteX107" fmla="*/ 107358 w 1739754"/>
                  <a:gd name="connsiteY107" fmla="*/ 1930152 h 2673102"/>
                  <a:gd name="connsiteX108" fmla="*/ 126408 w 1739754"/>
                  <a:gd name="connsiteY108" fmla="*/ 1901577 h 2673102"/>
                  <a:gd name="connsiteX109" fmla="*/ 135933 w 1739754"/>
                  <a:gd name="connsiteY109" fmla="*/ 1868239 h 2673102"/>
                  <a:gd name="connsiteX110" fmla="*/ 131171 w 1739754"/>
                  <a:gd name="connsiteY110" fmla="*/ 1825377 h 2673102"/>
                  <a:gd name="connsiteX111" fmla="*/ 112121 w 1739754"/>
                  <a:gd name="connsiteY111" fmla="*/ 1820614 h 2673102"/>
                  <a:gd name="connsiteX112" fmla="*/ 102596 w 1739754"/>
                  <a:gd name="connsiteY112" fmla="*/ 1806327 h 2673102"/>
                  <a:gd name="connsiteX113" fmla="*/ 145458 w 1739754"/>
                  <a:gd name="connsiteY113" fmla="*/ 1720602 h 2673102"/>
                  <a:gd name="connsiteX114" fmla="*/ 159746 w 1739754"/>
                  <a:gd name="connsiteY114" fmla="*/ 1715839 h 2673102"/>
                  <a:gd name="connsiteX115" fmla="*/ 174033 w 1739754"/>
                  <a:gd name="connsiteY115" fmla="*/ 1696789 h 2673102"/>
                  <a:gd name="connsiteX116" fmla="*/ 188321 w 1739754"/>
                  <a:gd name="connsiteY116" fmla="*/ 1687264 h 2673102"/>
                  <a:gd name="connsiteX117" fmla="*/ 202608 w 1739754"/>
                  <a:gd name="connsiteY117" fmla="*/ 1653927 h 2673102"/>
                  <a:gd name="connsiteX118" fmla="*/ 193083 w 1739754"/>
                  <a:gd name="connsiteY118" fmla="*/ 1606302 h 2673102"/>
                  <a:gd name="connsiteX119" fmla="*/ 164508 w 1739754"/>
                  <a:gd name="connsiteY119" fmla="*/ 1596777 h 2673102"/>
                  <a:gd name="connsiteX120" fmla="*/ 154983 w 1739754"/>
                  <a:gd name="connsiteY120" fmla="*/ 1549152 h 2673102"/>
                  <a:gd name="connsiteX121" fmla="*/ 150221 w 1739754"/>
                  <a:gd name="connsiteY121" fmla="*/ 1411039 h 2673102"/>
                  <a:gd name="connsiteX122" fmla="*/ 140696 w 1739754"/>
                  <a:gd name="connsiteY122" fmla="*/ 1377702 h 2673102"/>
                  <a:gd name="connsiteX123" fmla="*/ 121646 w 1739754"/>
                  <a:gd name="connsiteY123" fmla="*/ 1311027 h 2673102"/>
                  <a:gd name="connsiteX124" fmla="*/ 116883 w 1739754"/>
                  <a:gd name="connsiteY124" fmla="*/ 1258639 h 2673102"/>
                  <a:gd name="connsiteX125" fmla="*/ 107358 w 1739754"/>
                  <a:gd name="connsiteY125" fmla="*/ 1244352 h 2673102"/>
                  <a:gd name="connsiteX126" fmla="*/ 93071 w 1739754"/>
                  <a:gd name="connsiteY126" fmla="*/ 1196727 h 2673102"/>
                  <a:gd name="connsiteX127" fmla="*/ 78783 w 1739754"/>
                  <a:gd name="connsiteY127" fmla="*/ 1177677 h 2673102"/>
                  <a:gd name="connsiteX128" fmla="*/ 59733 w 1739754"/>
                  <a:gd name="connsiteY128" fmla="*/ 1139577 h 2673102"/>
                  <a:gd name="connsiteX129" fmla="*/ 50208 w 1739754"/>
                  <a:gd name="connsiteY129" fmla="*/ 1111002 h 2673102"/>
                  <a:gd name="connsiteX130" fmla="*/ 45446 w 1739754"/>
                  <a:gd name="connsiteY130" fmla="*/ 1096714 h 2673102"/>
                  <a:gd name="connsiteX131" fmla="*/ 21633 w 1739754"/>
                  <a:gd name="connsiteY131" fmla="*/ 1025277 h 2673102"/>
                  <a:gd name="connsiteX132" fmla="*/ 202 w 1739754"/>
                  <a:gd name="connsiteY132" fmla="*/ 980033 h 2673102"/>
                  <a:gd name="connsiteX133" fmla="*/ 14490 w 1739754"/>
                  <a:gd name="connsiteY133" fmla="*/ 930027 h 2673102"/>
                  <a:gd name="connsiteX134" fmla="*/ 69259 w 1739754"/>
                  <a:gd name="connsiteY134" fmla="*/ 810964 h 2673102"/>
                  <a:gd name="connsiteX135" fmla="*/ 221658 w 1739754"/>
                  <a:gd name="connsiteY135" fmla="*/ 601414 h 2673102"/>
                  <a:gd name="connsiteX136" fmla="*/ 288333 w 1739754"/>
                  <a:gd name="connsiteY136" fmla="*/ 515689 h 2673102"/>
                  <a:gd name="connsiteX137" fmla="*/ 412158 w 1739754"/>
                  <a:gd name="connsiteY137" fmla="*/ 406152 h 2673102"/>
                  <a:gd name="connsiteX138" fmla="*/ 535983 w 1739754"/>
                  <a:gd name="connsiteY138" fmla="*/ 291851 h 2673102"/>
                  <a:gd name="connsiteX139" fmla="*/ 640758 w 1739754"/>
                  <a:gd name="connsiteY139" fmla="*/ 229939 h 2673102"/>
                  <a:gd name="connsiteX140" fmla="*/ 733628 w 1739754"/>
                  <a:gd name="connsiteY140" fmla="*/ 168026 h 2673102"/>
                  <a:gd name="connsiteX141" fmla="*/ 978896 w 1739754"/>
                  <a:gd name="connsiteY141" fmla="*/ 63251 h 2673102"/>
                  <a:gd name="connsiteX142" fmla="*/ 1159871 w 1739754"/>
                  <a:gd name="connsiteY142" fmla="*/ 6102 h 2673102"/>
                  <a:gd name="connsiteX143" fmla="*/ 1202733 w 1739754"/>
                  <a:gd name="connsiteY14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16883 w 1739754"/>
                  <a:gd name="connsiteY123" fmla="*/ 1258639 h 2673102"/>
                  <a:gd name="connsiteX124" fmla="*/ 107358 w 1739754"/>
                  <a:gd name="connsiteY124" fmla="*/ 1244352 h 2673102"/>
                  <a:gd name="connsiteX125" fmla="*/ 93071 w 1739754"/>
                  <a:gd name="connsiteY125" fmla="*/ 1196727 h 2673102"/>
                  <a:gd name="connsiteX126" fmla="*/ 78783 w 1739754"/>
                  <a:gd name="connsiteY126" fmla="*/ 1177677 h 2673102"/>
                  <a:gd name="connsiteX127" fmla="*/ 59733 w 1739754"/>
                  <a:gd name="connsiteY127" fmla="*/ 1139577 h 2673102"/>
                  <a:gd name="connsiteX128" fmla="*/ 50208 w 1739754"/>
                  <a:gd name="connsiteY128" fmla="*/ 1111002 h 2673102"/>
                  <a:gd name="connsiteX129" fmla="*/ 45446 w 1739754"/>
                  <a:gd name="connsiteY129" fmla="*/ 1096714 h 2673102"/>
                  <a:gd name="connsiteX130" fmla="*/ 21633 w 1739754"/>
                  <a:gd name="connsiteY130" fmla="*/ 1025277 h 2673102"/>
                  <a:gd name="connsiteX131" fmla="*/ 202 w 1739754"/>
                  <a:gd name="connsiteY131" fmla="*/ 980033 h 2673102"/>
                  <a:gd name="connsiteX132" fmla="*/ 14490 w 1739754"/>
                  <a:gd name="connsiteY132" fmla="*/ 930027 h 2673102"/>
                  <a:gd name="connsiteX133" fmla="*/ 69259 w 1739754"/>
                  <a:gd name="connsiteY133" fmla="*/ 810964 h 2673102"/>
                  <a:gd name="connsiteX134" fmla="*/ 221658 w 1739754"/>
                  <a:gd name="connsiteY134" fmla="*/ 601414 h 2673102"/>
                  <a:gd name="connsiteX135" fmla="*/ 288333 w 1739754"/>
                  <a:gd name="connsiteY135" fmla="*/ 515689 h 2673102"/>
                  <a:gd name="connsiteX136" fmla="*/ 412158 w 1739754"/>
                  <a:gd name="connsiteY136" fmla="*/ 406152 h 2673102"/>
                  <a:gd name="connsiteX137" fmla="*/ 535983 w 1739754"/>
                  <a:gd name="connsiteY137" fmla="*/ 291851 h 2673102"/>
                  <a:gd name="connsiteX138" fmla="*/ 640758 w 1739754"/>
                  <a:gd name="connsiteY138" fmla="*/ 229939 h 2673102"/>
                  <a:gd name="connsiteX139" fmla="*/ 733628 w 1739754"/>
                  <a:gd name="connsiteY139" fmla="*/ 168026 h 2673102"/>
                  <a:gd name="connsiteX140" fmla="*/ 978896 w 1739754"/>
                  <a:gd name="connsiteY140" fmla="*/ 63251 h 2673102"/>
                  <a:gd name="connsiteX141" fmla="*/ 1159871 w 1739754"/>
                  <a:gd name="connsiteY141" fmla="*/ 6102 h 2673102"/>
                  <a:gd name="connsiteX142" fmla="*/ 1202733 w 1739754"/>
                  <a:gd name="connsiteY14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07358 w 1739754"/>
                  <a:gd name="connsiteY123" fmla="*/ 1244352 h 2673102"/>
                  <a:gd name="connsiteX124" fmla="*/ 93071 w 1739754"/>
                  <a:gd name="connsiteY124" fmla="*/ 1196727 h 2673102"/>
                  <a:gd name="connsiteX125" fmla="*/ 78783 w 1739754"/>
                  <a:gd name="connsiteY125" fmla="*/ 1177677 h 2673102"/>
                  <a:gd name="connsiteX126" fmla="*/ 59733 w 1739754"/>
                  <a:gd name="connsiteY126" fmla="*/ 1139577 h 2673102"/>
                  <a:gd name="connsiteX127" fmla="*/ 50208 w 1739754"/>
                  <a:gd name="connsiteY127" fmla="*/ 1111002 h 2673102"/>
                  <a:gd name="connsiteX128" fmla="*/ 45446 w 1739754"/>
                  <a:gd name="connsiteY128" fmla="*/ 1096714 h 2673102"/>
                  <a:gd name="connsiteX129" fmla="*/ 21633 w 1739754"/>
                  <a:gd name="connsiteY129" fmla="*/ 1025277 h 2673102"/>
                  <a:gd name="connsiteX130" fmla="*/ 202 w 1739754"/>
                  <a:gd name="connsiteY130" fmla="*/ 980033 h 2673102"/>
                  <a:gd name="connsiteX131" fmla="*/ 14490 w 1739754"/>
                  <a:gd name="connsiteY131" fmla="*/ 930027 h 2673102"/>
                  <a:gd name="connsiteX132" fmla="*/ 69259 w 1739754"/>
                  <a:gd name="connsiteY132" fmla="*/ 810964 h 2673102"/>
                  <a:gd name="connsiteX133" fmla="*/ 221658 w 1739754"/>
                  <a:gd name="connsiteY133" fmla="*/ 601414 h 2673102"/>
                  <a:gd name="connsiteX134" fmla="*/ 288333 w 1739754"/>
                  <a:gd name="connsiteY134" fmla="*/ 515689 h 2673102"/>
                  <a:gd name="connsiteX135" fmla="*/ 412158 w 1739754"/>
                  <a:gd name="connsiteY135" fmla="*/ 406152 h 2673102"/>
                  <a:gd name="connsiteX136" fmla="*/ 535983 w 1739754"/>
                  <a:gd name="connsiteY136" fmla="*/ 291851 h 2673102"/>
                  <a:gd name="connsiteX137" fmla="*/ 640758 w 1739754"/>
                  <a:gd name="connsiteY137" fmla="*/ 229939 h 2673102"/>
                  <a:gd name="connsiteX138" fmla="*/ 733628 w 1739754"/>
                  <a:gd name="connsiteY138" fmla="*/ 168026 h 2673102"/>
                  <a:gd name="connsiteX139" fmla="*/ 978896 w 1739754"/>
                  <a:gd name="connsiteY139" fmla="*/ 63251 h 2673102"/>
                  <a:gd name="connsiteX140" fmla="*/ 1159871 w 1739754"/>
                  <a:gd name="connsiteY140" fmla="*/ 6102 h 2673102"/>
                  <a:gd name="connsiteX141" fmla="*/ 1202733 w 1739754"/>
                  <a:gd name="connsiteY14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07358 w 1739754"/>
                  <a:gd name="connsiteY123" fmla="*/ 1244352 h 2673102"/>
                  <a:gd name="connsiteX124" fmla="*/ 78783 w 1739754"/>
                  <a:gd name="connsiteY124" fmla="*/ 1177677 h 2673102"/>
                  <a:gd name="connsiteX125" fmla="*/ 59733 w 1739754"/>
                  <a:gd name="connsiteY125" fmla="*/ 1139577 h 2673102"/>
                  <a:gd name="connsiteX126" fmla="*/ 50208 w 1739754"/>
                  <a:gd name="connsiteY126" fmla="*/ 1111002 h 2673102"/>
                  <a:gd name="connsiteX127" fmla="*/ 45446 w 1739754"/>
                  <a:gd name="connsiteY127" fmla="*/ 1096714 h 2673102"/>
                  <a:gd name="connsiteX128" fmla="*/ 21633 w 1739754"/>
                  <a:gd name="connsiteY128" fmla="*/ 1025277 h 2673102"/>
                  <a:gd name="connsiteX129" fmla="*/ 202 w 1739754"/>
                  <a:gd name="connsiteY129" fmla="*/ 980033 h 2673102"/>
                  <a:gd name="connsiteX130" fmla="*/ 14490 w 1739754"/>
                  <a:gd name="connsiteY130" fmla="*/ 930027 h 2673102"/>
                  <a:gd name="connsiteX131" fmla="*/ 69259 w 1739754"/>
                  <a:gd name="connsiteY131" fmla="*/ 810964 h 2673102"/>
                  <a:gd name="connsiteX132" fmla="*/ 221658 w 1739754"/>
                  <a:gd name="connsiteY132" fmla="*/ 601414 h 2673102"/>
                  <a:gd name="connsiteX133" fmla="*/ 288333 w 1739754"/>
                  <a:gd name="connsiteY133" fmla="*/ 515689 h 2673102"/>
                  <a:gd name="connsiteX134" fmla="*/ 412158 w 1739754"/>
                  <a:gd name="connsiteY134" fmla="*/ 406152 h 2673102"/>
                  <a:gd name="connsiteX135" fmla="*/ 535983 w 1739754"/>
                  <a:gd name="connsiteY135" fmla="*/ 291851 h 2673102"/>
                  <a:gd name="connsiteX136" fmla="*/ 640758 w 1739754"/>
                  <a:gd name="connsiteY136" fmla="*/ 229939 h 2673102"/>
                  <a:gd name="connsiteX137" fmla="*/ 733628 w 1739754"/>
                  <a:gd name="connsiteY137" fmla="*/ 168026 h 2673102"/>
                  <a:gd name="connsiteX138" fmla="*/ 978896 w 1739754"/>
                  <a:gd name="connsiteY138" fmla="*/ 63251 h 2673102"/>
                  <a:gd name="connsiteX139" fmla="*/ 1159871 w 1739754"/>
                  <a:gd name="connsiteY139" fmla="*/ 6102 h 2673102"/>
                  <a:gd name="connsiteX140" fmla="*/ 1202733 w 1739754"/>
                  <a:gd name="connsiteY140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07358 w 1739754"/>
                  <a:gd name="connsiteY123" fmla="*/ 1244352 h 2673102"/>
                  <a:gd name="connsiteX124" fmla="*/ 78783 w 1739754"/>
                  <a:gd name="connsiteY124" fmla="*/ 1177677 h 2673102"/>
                  <a:gd name="connsiteX125" fmla="*/ 59733 w 1739754"/>
                  <a:gd name="connsiteY125" fmla="*/ 1139577 h 2673102"/>
                  <a:gd name="connsiteX126" fmla="*/ 45446 w 1739754"/>
                  <a:gd name="connsiteY126" fmla="*/ 1096714 h 2673102"/>
                  <a:gd name="connsiteX127" fmla="*/ 21633 w 1739754"/>
                  <a:gd name="connsiteY127" fmla="*/ 1025277 h 2673102"/>
                  <a:gd name="connsiteX128" fmla="*/ 202 w 1739754"/>
                  <a:gd name="connsiteY128" fmla="*/ 980033 h 2673102"/>
                  <a:gd name="connsiteX129" fmla="*/ 14490 w 1739754"/>
                  <a:gd name="connsiteY129" fmla="*/ 930027 h 2673102"/>
                  <a:gd name="connsiteX130" fmla="*/ 69259 w 1739754"/>
                  <a:gd name="connsiteY130" fmla="*/ 810964 h 2673102"/>
                  <a:gd name="connsiteX131" fmla="*/ 221658 w 1739754"/>
                  <a:gd name="connsiteY131" fmla="*/ 601414 h 2673102"/>
                  <a:gd name="connsiteX132" fmla="*/ 288333 w 1739754"/>
                  <a:gd name="connsiteY132" fmla="*/ 515689 h 2673102"/>
                  <a:gd name="connsiteX133" fmla="*/ 412158 w 1739754"/>
                  <a:gd name="connsiteY133" fmla="*/ 406152 h 2673102"/>
                  <a:gd name="connsiteX134" fmla="*/ 535983 w 1739754"/>
                  <a:gd name="connsiteY134" fmla="*/ 291851 h 2673102"/>
                  <a:gd name="connsiteX135" fmla="*/ 640758 w 1739754"/>
                  <a:gd name="connsiteY135" fmla="*/ 229939 h 2673102"/>
                  <a:gd name="connsiteX136" fmla="*/ 733628 w 1739754"/>
                  <a:gd name="connsiteY136" fmla="*/ 168026 h 2673102"/>
                  <a:gd name="connsiteX137" fmla="*/ 978896 w 1739754"/>
                  <a:gd name="connsiteY137" fmla="*/ 63251 h 2673102"/>
                  <a:gd name="connsiteX138" fmla="*/ 1159871 w 1739754"/>
                  <a:gd name="connsiteY138" fmla="*/ 6102 h 2673102"/>
                  <a:gd name="connsiteX139" fmla="*/ 1202733 w 1739754"/>
                  <a:gd name="connsiteY139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50221 w 1739754"/>
                  <a:gd name="connsiteY120" fmla="*/ 1411039 h 2673102"/>
                  <a:gd name="connsiteX121" fmla="*/ 140696 w 1739754"/>
                  <a:gd name="connsiteY121" fmla="*/ 1377702 h 2673102"/>
                  <a:gd name="connsiteX122" fmla="*/ 121646 w 1739754"/>
                  <a:gd name="connsiteY122" fmla="*/ 1311027 h 2673102"/>
                  <a:gd name="connsiteX123" fmla="*/ 107358 w 1739754"/>
                  <a:gd name="connsiteY123" fmla="*/ 1244352 h 2673102"/>
                  <a:gd name="connsiteX124" fmla="*/ 78783 w 1739754"/>
                  <a:gd name="connsiteY124" fmla="*/ 1177677 h 2673102"/>
                  <a:gd name="connsiteX125" fmla="*/ 45446 w 1739754"/>
                  <a:gd name="connsiteY125" fmla="*/ 1096714 h 2673102"/>
                  <a:gd name="connsiteX126" fmla="*/ 21633 w 1739754"/>
                  <a:gd name="connsiteY126" fmla="*/ 1025277 h 2673102"/>
                  <a:gd name="connsiteX127" fmla="*/ 202 w 1739754"/>
                  <a:gd name="connsiteY127" fmla="*/ 980033 h 2673102"/>
                  <a:gd name="connsiteX128" fmla="*/ 14490 w 1739754"/>
                  <a:gd name="connsiteY128" fmla="*/ 930027 h 2673102"/>
                  <a:gd name="connsiteX129" fmla="*/ 69259 w 1739754"/>
                  <a:gd name="connsiteY129" fmla="*/ 810964 h 2673102"/>
                  <a:gd name="connsiteX130" fmla="*/ 221658 w 1739754"/>
                  <a:gd name="connsiteY130" fmla="*/ 601414 h 2673102"/>
                  <a:gd name="connsiteX131" fmla="*/ 288333 w 1739754"/>
                  <a:gd name="connsiteY131" fmla="*/ 515689 h 2673102"/>
                  <a:gd name="connsiteX132" fmla="*/ 412158 w 1739754"/>
                  <a:gd name="connsiteY132" fmla="*/ 406152 h 2673102"/>
                  <a:gd name="connsiteX133" fmla="*/ 535983 w 1739754"/>
                  <a:gd name="connsiteY133" fmla="*/ 291851 h 2673102"/>
                  <a:gd name="connsiteX134" fmla="*/ 640758 w 1739754"/>
                  <a:gd name="connsiteY134" fmla="*/ 229939 h 2673102"/>
                  <a:gd name="connsiteX135" fmla="*/ 733628 w 1739754"/>
                  <a:gd name="connsiteY135" fmla="*/ 168026 h 2673102"/>
                  <a:gd name="connsiteX136" fmla="*/ 978896 w 1739754"/>
                  <a:gd name="connsiteY136" fmla="*/ 63251 h 2673102"/>
                  <a:gd name="connsiteX137" fmla="*/ 1159871 w 1739754"/>
                  <a:gd name="connsiteY137" fmla="*/ 6102 h 2673102"/>
                  <a:gd name="connsiteX138" fmla="*/ 1202733 w 1739754"/>
                  <a:gd name="connsiteY138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64508 w 1739754"/>
                  <a:gd name="connsiteY118" fmla="*/ 1596777 h 2673102"/>
                  <a:gd name="connsiteX119" fmla="*/ 154983 w 1739754"/>
                  <a:gd name="connsiteY119" fmla="*/ 1549152 h 2673102"/>
                  <a:gd name="connsiteX120" fmla="*/ 140696 w 1739754"/>
                  <a:gd name="connsiteY120" fmla="*/ 1377702 h 2673102"/>
                  <a:gd name="connsiteX121" fmla="*/ 121646 w 1739754"/>
                  <a:gd name="connsiteY121" fmla="*/ 1311027 h 2673102"/>
                  <a:gd name="connsiteX122" fmla="*/ 107358 w 1739754"/>
                  <a:gd name="connsiteY122" fmla="*/ 1244352 h 2673102"/>
                  <a:gd name="connsiteX123" fmla="*/ 78783 w 1739754"/>
                  <a:gd name="connsiteY123" fmla="*/ 1177677 h 2673102"/>
                  <a:gd name="connsiteX124" fmla="*/ 45446 w 1739754"/>
                  <a:gd name="connsiteY124" fmla="*/ 1096714 h 2673102"/>
                  <a:gd name="connsiteX125" fmla="*/ 21633 w 1739754"/>
                  <a:gd name="connsiteY125" fmla="*/ 1025277 h 2673102"/>
                  <a:gd name="connsiteX126" fmla="*/ 202 w 1739754"/>
                  <a:gd name="connsiteY126" fmla="*/ 980033 h 2673102"/>
                  <a:gd name="connsiteX127" fmla="*/ 14490 w 1739754"/>
                  <a:gd name="connsiteY127" fmla="*/ 930027 h 2673102"/>
                  <a:gd name="connsiteX128" fmla="*/ 69259 w 1739754"/>
                  <a:gd name="connsiteY128" fmla="*/ 810964 h 2673102"/>
                  <a:gd name="connsiteX129" fmla="*/ 221658 w 1739754"/>
                  <a:gd name="connsiteY129" fmla="*/ 601414 h 2673102"/>
                  <a:gd name="connsiteX130" fmla="*/ 288333 w 1739754"/>
                  <a:gd name="connsiteY130" fmla="*/ 515689 h 2673102"/>
                  <a:gd name="connsiteX131" fmla="*/ 412158 w 1739754"/>
                  <a:gd name="connsiteY131" fmla="*/ 406152 h 2673102"/>
                  <a:gd name="connsiteX132" fmla="*/ 535983 w 1739754"/>
                  <a:gd name="connsiteY132" fmla="*/ 291851 h 2673102"/>
                  <a:gd name="connsiteX133" fmla="*/ 640758 w 1739754"/>
                  <a:gd name="connsiteY133" fmla="*/ 229939 h 2673102"/>
                  <a:gd name="connsiteX134" fmla="*/ 733628 w 1739754"/>
                  <a:gd name="connsiteY134" fmla="*/ 168026 h 2673102"/>
                  <a:gd name="connsiteX135" fmla="*/ 978896 w 1739754"/>
                  <a:gd name="connsiteY135" fmla="*/ 63251 h 2673102"/>
                  <a:gd name="connsiteX136" fmla="*/ 1159871 w 1739754"/>
                  <a:gd name="connsiteY136" fmla="*/ 6102 h 2673102"/>
                  <a:gd name="connsiteX137" fmla="*/ 1202733 w 1739754"/>
                  <a:gd name="connsiteY13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74033 w 1739754"/>
                  <a:gd name="connsiteY114" fmla="*/ 1696789 h 2673102"/>
                  <a:gd name="connsiteX115" fmla="*/ 188321 w 1739754"/>
                  <a:gd name="connsiteY115" fmla="*/ 1687264 h 2673102"/>
                  <a:gd name="connsiteX116" fmla="*/ 202608 w 1739754"/>
                  <a:gd name="connsiteY116" fmla="*/ 1653927 h 2673102"/>
                  <a:gd name="connsiteX117" fmla="*/ 193083 w 1739754"/>
                  <a:gd name="connsiteY117" fmla="*/ 1606302 h 2673102"/>
                  <a:gd name="connsiteX118" fmla="*/ 154983 w 1739754"/>
                  <a:gd name="connsiteY118" fmla="*/ 1549152 h 2673102"/>
                  <a:gd name="connsiteX119" fmla="*/ 140696 w 1739754"/>
                  <a:gd name="connsiteY119" fmla="*/ 1377702 h 2673102"/>
                  <a:gd name="connsiteX120" fmla="*/ 121646 w 1739754"/>
                  <a:gd name="connsiteY120" fmla="*/ 1311027 h 2673102"/>
                  <a:gd name="connsiteX121" fmla="*/ 107358 w 1739754"/>
                  <a:gd name="connsiteY121" fmla="*/ 1244352 h 2673102"/>
                  <a:gd name="connsiteX122" fmla="*/ 78783 w 1739754"/>
                  <a:gd name="connsiteY122" fmla="*/ 1177677 h 2673102"/>
                  <a:gd name="connsiteX123" fmla="*/ 45446 w 1739754"/>
                  <a:gd name="connsiteY123" fmla="*/ 1096714 h 2673102"/>
                  <a:gd name="connsiteX124" fmla="*/ 21633 w 1739754"/>
                  <a:gd name="connsiteY124" fmla="*/ 1025277 h 2673102"/>
                  <a:gd name="connsiteX125" fmla="*/ 202 w 1739754"/>
                  <a:gd name="connsiteY125" fmla="*/ 980033 h 2673102"/>
                  <a:gd name="connsiteX126" fmla="*/ 14490 w 1739754"/>
                  <a:gd name="connsiteY126" fmla="*/ 930027 h 2673102"/>
                  <a:gd name="connsiteX127" fmla="*/ 69259 w 1739754"/>
                  <a:gd name="connsiteY127" fmla="*/ 810964 h 2673102"/>
                  <a:gd name="connsiteX128" fmla="*/ 221658 w 1739754"/>
                  <a:gd name="connsiteY128" fmla="*/ 601414 h 2673102"/>
                  <a:gd name="connsiteX129" fmla="*/ 288333 w 1739754"/>
                  <a:gd name="connsiteY129" fmla="*/ 515689 h 2673102"/>
                  <a:gd name="connsiteX130" fmla="*/ 412158 w 1739754"/>
                  <a:gd name="connsiteY130" fmla="*/ 406152 h 2673102"/>
                  <a:gd name="connsiteX131" fmla="*/ 535983 w 1739754"/>
                  <a:gd name="connsiteY131" fmla="*/ 291851 h 2673102"/>
                  <a:gd name="connsiteX132" fmla="*/ 640758 w 1739754"/>
                  <a:gd name="connsiteY132" fmla="*/ 229939 h 2673102"/>
                  <a:gd name="connsiteX133" fmla="*/ 733628 w 1739754"/>
                  <a:gd name="connsiteY133" fmla="*/ 168026 h 2673102"/>
                  <a:gd name="connsiteX134" fmla="*/ 978896 w 1739754"/>
                  <a:gd name="connsiteY134" fmla="*/ 63251 h 2673102"/>
                  <a:gd name="connsiteX135" fmla="*/ 1159871 w 1739754"/>
                  <a:gd name="connsiteY135" fmla="*/ 6102 h 2673102"/>
                  <a:gd name="connsiteX136" fmla="*/ 1202733 w 1739754"/>
                  <a:gd name="connsiteY13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59746 w 1739754"/>
                  <a:gd name="connsiteY113" fmla="*/ 1715839 h 2673102"/>
                  <a:gd name="connsiteX114" fmla="*/ 188321 w 1739754"/>
                  <a:gd name="connsiteY114" fmla="*/ 1687264 h 2673102"/>
                  <a:gd name="connsiteX115" fmla="*/ 202608 w 1739754"/>
                  <a:gd name="connsiteY115" fmla="*/ 1653927 h 2673102"/>
                  <a:gd name="connsiteX116" fmla="*/ 193083 w 1739754"/>
                  <a:gd name="connsiteY116" fmla="*/ 1606302 h 2673102"/>
                  <a:gd name="connsiteX117" fmla="*/ 154983 w 1739754"/>
                  <a:gd name="connsiteY117" fmla="*/ 1549152 h 2673102"/>
                  <a:gd name="connsiteX118" fmla="*/ 140696 w 1739754"/>
                  <a:gd name="connsiteY118" fmla="*/ 1377702 h 2673102"/>
                  <a:gd name="connsiteX119" fmla="*/ 121646 w 1739754"/>
                  <a:gd name="connsiteY119" fmla="*/ 1311027 h 2673102"/>
                  <a:gd name="connsiteX120" fmla="*/ 107358 w 1739754"/>
                  <a:gd name="connsiteY120" fmla="*/ 1244352 h 2673102"/>
                  <a:gd name="connsiteX121" fmla="*/ 78783 w 1739754"/>
                  <a:gd name="connsiteY121" fmla="*/ 1177677 h 2673102"/>
                  <a:gd name="connsiteX122" fmla="*/ 45446 w 1739754"/>
                  <a:gd name="connsiteY122" fmla="*/ 1096714 h 2673102"/>
                  <a:gd name="connsiteX123" fmla="*/ 21633 w 1739754"/>
                  <a:gd name="connsiteY123" fmla="*/ 1025277 h 2673102"/>
                  <a:gd name="connsiteX124" fmla="*/ 202 w 1739754"/>
                  <a:gd name="connsiteY124" fmla="*/ 980033 h 2673102"/>
                  <a:gd name="connsiteX125" fmla="*/ 14490 w 1739754"/>
                  <a:gd name="connsiteY125" fmla="*/ 930027 h 2673102"/>
                  <a:gd name="connsiteX126" fmla="*/ 69259 w 1739754"/>
                  <a:gd name="connsiteY126" fmla="*/ 810964 h 2673102"/>
                  <a:gd name="connsiteX127" fmla="*/ 221658 w 1739754"/>
                  <a:gd name="connsiteY127" fmla="*/ 601414 h 2673102"/>
                  <a:gd name="connsiteX128" fmla="*/ 288333 w 1739754"/>
                  <a:gd name="connsiteY128" fmla="*/ 515689 h 2673102"/>
                  <a:gd name="connsiteX129" fmla="*/ 412158 w 1739754"/>
                  <a:gd name="connsiteY129" fmla="*/ 406152 h 2673102"/>
                  <a:gd name="connsiteX130" fmla="*/ 535983 w 1739754"/>
                  <a:gd name="connsiteY130" fmla="*/ 291851 h 2673102"/>
                  <a:gd name="connsiteX131" fmla="*/ 640758 w 1739754"/>
                  <a:gd name="connsiteY131" fmla="*/ 229939 h 2673102"/>
                  <a:gd name="connsiteX132" fmla="*/ 733628 w 1739754"/>
                  <a:gd name="connsiteY132" fmla="*/ 168026 h 2673102"/>
                  <a:gd name="connsiteX133" fmla="*/ 978896 w 1739754"/>
                  <a:gd name="connsiteY133" fmla="*/ 63251 h 2673102"/>
                  <a:gd name="connsiteX134" fmla="*/ 1159871 w 1739754"/>
                  <a:gd name="connsiteY134" fmla="*/ 6102 h 2673102"/>
                  <a:gd name="connsiteX135" fmla="*/ 1202733 w 1739754"/>
                  <a:gd name="connsiteY13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26408 w 1739754"/>
                  <a:gd name="connsiteY107" fmla="*/ 1901577 h 2673102"/>
                  <a:gd name="connsiteX108" fmla="*/ 135933 w 1739754"/>
                  <a:gd name="connsiteY108" fmla="*/ 1868239 h 2673102"/>
                  <a:gd name="connsiteX109" fmla="*/ 131171 w 1739754"/>
                  <a:gd name="connsiteY109" fmla="*/ 1825377 h 2673102"/>
                  <a:gd name="connsiteX110" fmla="*/ 112121 w 1739754"/>
                  <a:gd name="connsiteY110" fmla="*/ 1820614 h 2673102"/>
                  <a:gd name="connsiteX111" fmla="*/ 102596 w 1739754"/>
                  <a:gd name="connsiteY111" fmla="*/ 1806327 h 2673102"/>
                  <a:gd name="connsiteX112" fmla="*/ 145458 w 1739754"/>
                  <a:gd name="connsiteY112" fmla="*/ 1720602 h 2673102"/>
                  <a:gd name="connsiteX113" fmla="*/ 188321 w 1739754"/>
                  <a:gd name="connsiteY113" fmla="*/ 1687264 h 2673102"/>
                  <a:gd name="connsiteX114" fmla="*/ 202608 w 1739754"/>
                  <a:gd name="connsiteY114" fmla="*/ 1653927 h 2673102"/>
                  <a:gd name="connsiteX115" fmla="*/ 193083 w 1739754"/>
                  <a:gd name="connsiteY115" fmla="*/ 1606302 h 2673102"/>
                  <a:gd name="connsiteX116" fmla="*/ 154983 w 1739754"/>
                  <a:gd name="connsiteY116" fmla="*/ 1549152 h 2673102"/>
                  <a:gd name="connsiteX117" fmla="*/ 140696 w 1739754"/>
                  <a:gd name="connsiteY117" fmla="*/ 1377702 h 2673102"/>
                  <a:gd name="connsiteX118" fmla="*/ 121646 w 1739754"/>
                  <a:gd name="connsiteY118" fmla="*/ 1311027 h 2673102"/>
                  <a:gd name="connsiteX119" fmla="*/ 107358 w 1739754"/>
                  <a:gd name="connsiteY119" fmla="*/ 1244352 h 2673102"/>
                  <a:gd name="connsiteX120" fmla="*/ 78783 w 1739754"/>
                  <a:gd name="connsiteY120" fmla="*/ 1177677 h 2673102"/>
                  <a:gd name="connsiteX121" fmla="*/ 45446 w 1739754"/>
                  <a:gd name="connsiteY121" fmla="*/ 1096714 h 2673102"/>
                  <a:gd name="connsiteX122" fmla="*/ 21633 w 1739754"/>
                  <a:gd name="connsiteY122" fmla="*/ 1025277 h 2673102"/>
                  <a:gd name="connsiteX123" fmla="*/ 202 w 1739754"/>
                  <a:gd name="connsiteY123" fmla="*/ 980033 h 2673102"/>
                  <a:gd name="connsiteX124" fmla="*/ 14490 w 1739754"/>
                  <a:gd name="connsiteY124" fmla="*/ 930027 h 2673102"/>
                  <a:gd name="connsiteX125" fmla="*/ 69259 w 1739754"/>
                  <a:gd name="connsiteY125" fmla="*/ 810964 h 2673102"/>
                  <a:gd name="connsiteX126" fmla="*/ 221658 w 1739754"/>
                  <a:gd name="connsiteY126" fmla="*/ 601414 h 2673102"/>
                  <a:gd name="connsiteX127" fmla="*/ 288333 w 1739754"/>
                  <a:gd name="connsiteY127" fmla="*/ 515689 h 2673102"/>
                  <a:gd name="connsiteX128" fmla="*/ 412158 w 1739754"/>
                  <a:gd name="connsiteY128" fmla="*/ 406152 h 2673102"/>
                  <a:gd name="connsiteX129" fmla="*/ 535983 w 1739754"/>
                  <a:gd name="connsiteY129" fmla="*/ 291851 h 2673102"/>
                  <a:gd name="connsiteX130" fmla="*/ 640758 w 1739754"/>
                  <a:gd name="connsiteY130" fmla="*/ 229939 h 2673102"/>
                  <a:gd name="connsiteX131" fmla="*/ 733628 w 1739754"/>
                  <a:gd name="connsiteY131" fmla="*/ 168026 h 2673102"/>
                  <a:gd name="connsiteX132" fmla="*/ 978896 w 1739754"/>
                  <a:gd name="connsiteY132" fmla="*/ 63251 h 2673102"/>
                  <a:gd name="connsiteX133" fmla="*/ 1159871 w 1739754"/>
                  <a:gd name="connsiteY133" fmla="*/ 6102 h 2673102"/>
                  <a:gd name="connsiteX134" fmla="*/ 1202733 w 1739754"/>
                  <a:gd name="connsiteY13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07358 w 1739754"/>
                  <a:gd name="connsiteY106" fmla="*/ 1930152 h 2673102"/>
                  <a:gd name="connsiteX107" fmla="*/ 135933 w 1739754"/>
                  <a:gd name="connsiteY107" fmla="*/ 1868239 h 2673102"/>
                  <a:gd name="connsiteX108" fmla="*/ 131171 w 1739754"/>
                  <a:gd name="connsiteY108" fmla="*/ 1825377 h 2673102"/>
                  <a:gd name="connsiteX109" fmla="*/ 112121 w 1739754"/>
                  <a:gd name="connsiteY109" fmla="*/ 1820614 h 2673102"/>
                  <a:gd name="connsiteX110" fmla="*/ 102596 w 1739754"/>
                  <a:gd name="connsiteY110" fmla="*/ 1806327 h 2673102"/>
                  <a:gd name="connsiteX111" fmla="*/ 145458 w 1739754"/>
                  <a:gd name="connsiteY111" fmla="*/ 1720602 h 2673102"/>
                  <a:gd name="connsiteX112" fmla="*/ 188321 w 1739754"/>
                  <a:gd name="connsiteY112" fmla="*/ 1687264 h 2673102"/>
                  <a:gd name="connsiteX113" fmla="*/ 202608 w 1739754"/>
                  <a:gd name="connsiteY113" fmla="*/ 1653927 h 2673102"/>
                  <a:gd name="connsiteX114" fmla="*/ 193083 w 1739754"/>
                  <a:gd name="connsiteY114" fmla="*/ 1606302 h 2673102"/>
                  <a:gd name="connsiteX115" fmla="*/ 154983 w 1739754"/>
                  <a:gd name="connsiteY115" fmla="*/ 1549152 h 2673102"/>
                  <a:gd name="connsiteX116" fmla="*/ 140696 w 1739754"/>
                  <a:gd name="connsiteY116" fmla="*/ 1377702 h 2673102"/>
                  <a:gd name="connsiteX117" fmla="*/ 121646 w 1739754"/>
                  <a:gd name="connsiteY117" fmla="*/ 1311027 h 2673102"/>
                  <a:gd name="connsiteX118" fmla="*/ 107358 w 1739754"/>
                  <a:gd name="connsiteY118" fmla="*/ 1244352 h 2673102"/>
                  <a:gd name="connsiteX119" fmla="*/ 78783 w 1739754"/>
                  <a:gd name="connsiteY119" fmla="*/ 1177677 h 2673102"/>
                  <a:gd name="connsiteX120" fmla="*/ 45446 w 1739754"/>
                  <a:gd name="connsiteY120" fmla="*/ 1096714 h 2673102"/>
                  <a:gd name="connsiteX121" fmla="*/ 21633 w 1739754"/>
                  <a:gd name="connsiteY121" fmla="*/ 1025277 h 2673102"/>
                  <a:gd name="connsiteX122" fmla="*/ 202 w 1739754"/>
                  <a:gd name="connsiteY122" fmla="*/ 980033 h 2673102"/>
                  <a:gd name="connsiteX123" fmla="*/ 14490 w 1739754"/>
                  <a:gd name="connsiteY123" fmla="*/ 930027 h 2673102"/>
                  <a:gd name="connsiteX124" fmla="*/ 69259 w 1739754"/>
                  <a:gd name="connsiteY124" fmla="*/ 810964 h 2673102"/>
                  <a:gd name="connsiteX125" fmla="*/ 221658 w 1739754"/>
                  <a:gd name="connsiteY125" fmla="*/ 601414 h 2673102"/>
                  <a:gd name="connsiteX126" fmla="*/ 288333 w 1739754"/>
                  <a:gd name="connsiteY126" fmla="*/ 515689 h 2673102"/>
                  <a:gd name="connsiteX127" fmla="*/ 412158 w 1739754"/>
                  <a:gd name="connsiteY127" fmla="*/ 406152 h 2673102"/>
                  <a:gd name="connsiteX128" fmla="*/ 535983 w 1739754"/>
                  <a:gd name="connsiteY128" fmla="*/ 291851 h 2673102"/>
                  <a:gd name="connsiteX129" fmla="*/ 640758 w 1739754"/>
                  <a:gd name="connsiteY129" fmla="*/ 229939 h 2673102"/>
                  <a:gd name="connsiteX130" fmla="*/ 733628 w 1739754"/>
                  <a:gd name="connsiteY130" fmla="*/ 168026 h 2673102"/>
                  <a:gd name="connsiteX131" fmla="*/ 978896 w 1739754"/>
                  <a:gd name="connsiteY131" fmla="*/ 63251 h 2673102"/>
                  <a:gd name="connsiteX132" fmla="*/ 1159871 w 1739754"/>
                  <a:gd name="connsiteY132" fmla="*/ 6102 h 2673102"/>
                  <a:gd name="connsiteX133" fmla="*/ 1202733 w 1739754"/>
                  <a:gd name="connsiteY13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102596 w 1739754"/>
                  <a:gd name="connsiteY101" fmla="*/ 2234952 h 2673102"/>
                  <a:gd name="connsiteX102" fmla="*/ 93071 w 1739754"/>
                  <a:gd name="connsiteY102" fmla="*/ 2211139 h 2673102"/>
                  <a:gd name="connsiteX103" fmla="*/ 88308 w 1739754"/>
                  <a:gd name="connsiteY103" fmla="*/ 2187327 h 2673102"/>
                  <a:gd name="connsiteX104" fmla="*/ 78783 w 1739754"/>
                  <a:gd name="connsiteY104" fmla="*/ 2111127 h 2673102"/>
                  <a:gd name="connsiteX105" fmla="*/ 97833 w 1739754"/>
                  <a:gd name="connsiteY105" fmla="*/ 1944439 h 2673102"/>
                  <a:gd name="connsiteX106" fmla="*/ 135933 w 1739754"/>
                  <a:gd name="connsiteY106" fmla="*/ 1868239 h 2673102"/>
                  <a:gd name="connsiteX107" fmla="*/ 131171 w 1739754"/>
                  <a:gd name="connsiteY107" fmla="*/ 1825377 h 2673102"/>
                  <a:gd name="connsiteX108" fmla="*/ 112121 w 1739754"/>
                  <a:gd name="connsiteY108" fmla="*/ 1820614 h 2673102"/>
                  <a:gd name="connsiteX109" fmla="*/ 102596 w 1739754"/>
                  <a:gd name="connsiteY109" fmla="*/ 1806327 h 2673102"/>
                  <a:gd name="connsiteX110" fmla="*/ 145458 w 1739754"/>
                  <a:gd name="connsiteY110" fmla="*/ 1720602 h 2673102"/>
                  <a:gd name="connsiteX111" fmla="*/ 188321 w 1739754"/>
                  <a:gd name="connsiteY111" fmla="*/ 1687264 h 2673102"/>
                  <a:gd name="connsiteX112" fmla="*/ 202608 w 1739754"/>
                  <a:gd name="connsiteY112" fmla="*/ 1653927 h 2673102"/>
                  <a:gd name="connsiteX113" fmla="*/ 193083 w 1739754"/>
                  <a:gd name="connsiteY113" fmla="*/ 1606302 h 2673102"/>
                  <a:gd name="connsiteX114" fmla="*/ 154983 w 1739754"/>
                  <a:gd name="connsiteY114" fmla="*/ 1549152 h 2673102"/>
                  <a:gd name="connsiteX115" fmla="*/ 140696 w 1739754"/>
                  <a:gd name="connsiteY115" fmla="*/ 1377702 h 2673102"/>
                  <a:gd name="connsiteX116" fmla="*/ 121646 w 1739754"/>
                  <a:gd name="connsiteY116" fmla="*/ 1311027 h 2673102"/>
                  <a:gd name="connsiteX117" fmla="*/ 107358 w 1739754"/>
                  <a:gd name="connsiteY117" fmla="*/ 1244352 h 2673102"/>
                  <a:gd name="connsiteX118" fmla="*/ 78783 w 1739754"/>
                  <a:gd name="connsiteY118" fmla="*/ 1177677 h 2673102"/>
                  <a:gd name="connsiteX119" fmla="*/ 45446 w 1739754"/>
                  <a:gd name="connsiteY119" fmla="*/ 1096714 h 2673102"/>
                  <a:gd name="connsiteX120" fmla="*/ 21633 w 1739754"/>
                  <a:gd name="connsiteY120" fmla="*/ 1025277 h 2673102"/>
                  <a:gd name="connsiteX121" fmla="*/ 202 w 1739754"/>
                  <a:gd name="connsiteY121" fmla="*/ 980033 h 2673102"/>
                  <a:gd name="connsiteX122" fmla="*/ 14490 w 1739754"/>
                  <a:gd name="connsiteY122" fmla="*/ 930027 h 2673102"/>
                  <a:gd name="connsiteX123" fmla="*/ 69259 w 1739754"/>
                  <a:gd name="connsiteY123" fmla="*/ 810964 h 2673102"/>
                  <a:gd name="connsiteX124" fmla="*/ 221658 w 1739754"/>
                  <a:gd name="connsiteY124" fmla="*/ 601414 h 2673102"/>
                  <a:gd name="connsiteX125" fmla="*/ 288333 w 1739754"/>
                  <a:gd name="connsiteY125" fmla="*/ 515689 h 2673102"/>
                  <a:gd name="connsiteX126" fmla="*/ 412158 w 1739754"/>
                  <a:gd name="connsiteY126" fmla="*/ 406152 h 2673102"/>
                  <a:gd name="connsiteX127" fmla="*/ 535983 w 1739754"/>
                  <a:gd name="connsiteY127" fmla="*/ 291851 h 2673102"/>
                  <a:gd name="connsiteX128" fmla="*/ 640758 w 1739754"/>
                  <a:gd name="connsiteY128" fmla="*/ 229939 h 2673102"/>
                  <a:gd name="connsiteX129" fmla="*/ 733628 w 1739754"/>
                  <a:gd name="connsiteY129" fmla="*/ 168026 h 2673102"/>
                  <a:gd name="connsiteX130" fmla="*/ 978896 w 1739754"/>
                  <a:gd name="connsiteY130" fmla="*/ 63251 h 2673102"/>
                  <a:gd name="connsiteX131" fmla="*/ 1159871 w 1739754"/>
                  <a:gd name="connsiteY131" fmla="*/ 6102 h 2673102"/>
                  <a:gd name="connsiteX132" fmla="*/ 1202733 w 1739754"/>
                  <a:gd name="connsiteY13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107358 w 1739754"/>
                  <a:gd name="connsiteY100" fmla="*/ 2258764 h 2673102"/>
                  <a:gd name="connsiteX101" fmla="*/ 93071 w 1739754"/>
                  <a:gd name="connsiteY101" fmla="*/ 2211139 h 2673102"/>
                  <a:gd name="connsiteX102" fmla="*/ 88308 w 1739754"/>
                  <a:gd name="connsiteY102" fmla="*/ 2187327 h 2673102"/>
                  <a:gd name="connsiteX103" fmla="*/ 78783 w 1739754"/>
                  <a:gd name="connsiteY103" fmla="*/ 2111127 h 2673102"/>
                  <a:gd name="connsiteX104" fmla="*/ 97833 w 1739754"/>
                  <a:gd name="connsiteY104" fmla="*/ 1944439 h 2673102"/>
                  <a:gd name="connsiteX105" fmla="*/ 135933 w 1739754"/>
                  <a:gd name="connsiteY105" fmla="*/ 1868239 h 2673102"/>
                  <a:gd name="connsiteX106" fmla="*/ 131171 w 1739754"/>
                  <a:gd name="connsiteY106" fmla="*/ 1825377 h 2673102"/>
                  <a:gd name="connsiteX107" fmla="*/ 112121 w 1739754"/>
                  <a:gd name="connsiteY107" fmla="*/ 1820614 h 2673102"/>
                  <a:gd name="connsiteX108" fmla="*/ 102596 w 1739754"/>
                  <a:gd name="connsiteY108" fmla="*/ 1806327 h 2673102"/>
                  <a:gd name="connsiteX109" fmla="*/ 145458 w 1739754"/>
                  <a:gd name="connsiteY109" fmla="*/ 1720602 h 2673102"/>
                  <a:gd name="connsiteX110" fmla="*/ 188321 w 1739754"/>
                  <a:gd name="connsiteY110" fmla="*/ 1687264 h 2673102"/>
                  <a:gd name="connsiteX111" fmla="*/ 202608 w 1739754"/>
                  <a:gd name="connsiteY111" fmla="*/ 1653927 h 2673102"/>
                  <a:gd name="connsiteX112" fmla="*/ 193083 w 1739754"/>
                  <a:gd name="connsiteY112" fmla="*/ 1606302 h 2673102"/>
                  <a:gd name="connsiteX113" fmla="*/ 154983 w 1739754"/>
                  <a:gd name="connsiteY113" fmla="*/ 1549152 h 2673102"/>
                  <a:gd name="connsiteX114" fmla="*/ 140696 w 1739754"/>
                  <a:gd name="connsiteY114" fmla="*/ 1377702 h 2673102"/>
                  <a:gd name="connsiteX115" fmla="*/ 121646 w 1739754"/>
                  <a:gd name="connsiteY115" fmla="*/ 1311027 h 2673102"/>
                  <a:gd name="connsiteX116" fmla="*/ 107358 w 1739754"/>
                  <a:gd name="connsiteY116" fmla="*/ 1244352 h 2673102"/>
                  <a:gd name="connsiteX117" fmla="*/ 78783 w 1739754"/>
                  <a:gd name="connsiteY117" fmla="*/ 1177677 h 2673102"/>
                  <a:gd name="connsiteX118" fmla="*/ 45446 w 1739754"/>
                  <a:gd name="connsiteY118" fmla="*/ 1096714 h 2673102"/>
                  <a:gd name="connsiteX119" fmla="*/ 21633 w 1739754"/>
                  <a:gd name="connsiteY119" fmla="*/ 1025277 h 2673102"/>
                  <a:gd name="connsiteX120" fmla="*/ 202 w 1739754"/>
                  <a:gd name="connsiteY120" fmla="*/ 980033 h 2673102"/>
                  <a:gd name="connsiteX121" fmla="*/ 14490 w 1739754"/>
                  <a:gd name="connsiteY121" fmla="*/ 930027 h 2673102"/>
                  <a:gd name="connsiteX122" fmla="*/ 69259 w 1739754"/>
                  <a:gd name="connsiteY122" fmla="*/ 810964 h 2673102"/>
                  <a:gd name="connsiteX123" fmla="*/ 221658 w 1739754"/>
                  <a:gd name="connsiteY123" fmla="*/ 601414 h 2673102"/>
                  <a:gd name="connsiteX124" fmla="*/ 288333 w 1739754"/>
                  <a:gd name="connsiteY124" fmla="*/ 515689 h 2673102"/>
                  <a:gd name="connsiteX125" fmla="*/ 412158 w 1739754"/>
                  <a:gd name="connsiteY125" fmla="*/ 406152 h 2673102"/>
                  <a:gd name="connsiteX126" fmla="*/ 535983 w 1739754"/>
                  <a:gd name="connsiteY126" fmla="*/ 291851 h 2673102"/>
                  <a:gd name="connsiteX127" fmla="*/ 640758 w 1739754"/>
                  <a:gd name="connsiteY127" fmla="*/ 229939 h 2673102"/>
                  <a:gd name="connsiteX128" fmla="*/ 733628 w 1739754"/>
                  <a:gd name="connsiteY128" fmla="*/ 168026 h 2673102"/>
                  <a:gd name="connsiteX129" fmla="*/ 978896 w 1739754"/>
                  <a:gd name="connsiteY129" fmla="*/ 63251 h 2673102"/>
                  <a:gd name="connsiteX130" fmla="*/ 1159871 w 1739754"/>
                  <a:gd name="connsiteY130" fmla="*/ 6102 h 2673102"/>
                  <a:gd name="connsiteX131" fmla="*/ 1202733 w 1739754"/>
                  <a:gd name="connsiteY13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93071 w 1739754"/>
                  <a:gd name="connsiteY100" fmla="*/ 2211139 h 2673102"/>
                  <a:gd name="connsiteX101" fmla="*/ 88308 w 1739754"/>
                  <a:gd name="connsiteY101" fmla="*/ 2187327 h 2673102"/>
                  <a:gd name="connsiteX102" fmla="*/ 78783 w 1739754"/>
                  <a:gd name="connsiteY102" fmla="*/ 2111127 h 2673102"/>
                  <a:gd name="connsiteX103" fmla="*/ 97833 w 1739754"/>
                  <a:gd name="connsiteY103" fmla="*/ 1944439 h 2673102"/>
                  <a:gd name="connsiteX104" fmla="*/ 135933 w 1739754"/>
                  <a:gd name="connsiteY104" fmla="*/ 1868239 h 2673102"/>
                  <a:gd name="connsiteX105" fmla="*/ 131171 w 1739754"/>
                  <a:gd name="connsiteY105" fmla="*/ 1825377 h 2673102"/>
                  <a:gd name="connsiteX106" fmla="*/ 112121 w 1739754"/>
                  <a:gd name="connsiteY106" fmla="*/ 1820614 h 2673102"/>
                  <a:gd name="connsiteX107" fmla="*/ 102596 w 1739754"/>
                  <a:gd name="connsiteY107" fmla="*/ 1806327 h 2673102"/>
                  <a:gd name="connsiteX108" fmla="*/ 145458 w 1739754"/>
                  <a:gd name="connsiteY108" fmla="*/ 1720602 h 2673102"/>
                  <a:gd name="connsiteX109" fmla="*/ 188321 w 1739754"/>
                  <a:gd name="connsiteY109" fmla="*/ 1687264 h 2673102"/>
                  <a:gd name="connsiteX110" fmla="*/ 202608 w 1739754"/>
                  <a:gd name="connsiteY110" fmla="*/ 1653927 h 2673102"/>
                  <a:gd name="connsiteX111" fmla="*/ 193083 w 1739754"/>
                  <a:gd name="connsiteY111" fmla="*/ 1606302 h 2673102"/>
                  <a:gd name="connsiteX112" fmla="*/ 154983 w 1739754"/>
                  <a:gd name="connsiteY112" fmla="*/ 1549152 h 2673102"/>
                  <a:gd name="connsiteX113" fmla="*/ 140696 w 1739754"/>
                  <a:gd name="connsiteY113" fmla="*/ 1377702 h 2673102"/>
                  <a:gd name="connsiteX114" fmla="*/ 121646 w 1739754"/>
                  <a:gd name="connsiteY114" fmla="*/ 1311027 h 2673102"/>
                  <a:gd name="connsiteX115" fmla="*/ 107358 w 1739754"/>
                  <a:gd name="connsiteY115" fmla="*/ 1244352 h 2673102"/>
                  <a:gd name="connsiteX116" fmla="*/ 78783 w 1739754"/>
                  <a:gd name="connsiteY116" fmla="*/ 1177677 h 2673102"/>
                  <a:gd name="connsiteX117" fmla="*/ 45446 w 1739754"/>
                  <a:gd name="connsiteY117" fmla="*/ 1096714 h 2673102"/>
                  <a:gd name="connsiteX118" fmla="*/ 21633 w 1739754"/>
                  <a:gd name="connsiteY118" fmla="*/ 1025277 h 2673102"/>
                  <a:gd name="connsiteX119" fmla="*/ 202 w 1739754"/>
                  <a:gd name="connsiteY119" fmla="*/ 980033 h 2673102"/>
                  <a:gd name="connsiteX120" fmla="*/ 14490 w 1739754"/>
                  <a:gd name="connsiteY120" fmla="*/ 930027 h 2673102"/>
                  <a:gd name="connsiteX121" fmla="*/ 69259 w 1739754"/>
                  <a:gd name="connsiteY121" fmla="*/ 810964 h 2673102"/>
                  <a:gd name="connsiteX122" fmla="*/ 221658 w 1739754"/>
                  <a:gd name="connsiteY122" fmla="*/ 601414 h 2673102"/>
                  <a:gd name="connsiteX123" fmla="*/ 288333 w 1739754"/>
                  <a:gd name="connsiteY123" fmla="*/ 515689 h 2673102"/>
                  <a:gd name="connsiteX124" fmla="*/ 412158 w 1739754"/>
                  <a:gd name="connsiteY124" fmla="*/ 406152 h 2673102"/>
                  <a:gd name="connsiteX125" fmla="*/ 535983 w 1739754"/>
                  <a:gd name="connsiteY125" fmla="*/ 291851 h 2673102"/>
                  <a:gd name="connsiteX126" fmla="*/ 640758 w 1739754"/>
                  <a:gd name="connsiteY126" fmla="*/ 229939 h 2673102"/>
                  <a:gd name="connsiteX127" fmla="*/ 733628 w 1739754"/>
                  <a:gd name="connsiteY127" fmla="*/ 168026 h 2673102"/>
                  <a:gd name="connsiteX128" fmla="*/ 978896 w 1739754"/>
                  <a:gd name="connsiteY128" fmla="*/ 63251 h 2673102"/>
                  <a:gd name="connsiteX129" fmla="*/ 1159871 w 1739754"/>
                  <a:gd name="connsiteY129" fmla="*/ 6102 h 2673102"/>
                  <a:gd name="connsiteX130" fmla="*/ 1202733 w 1739754"/>
                  <a:gd name="connsiteY130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26421 w 1739754"/>
                  <a:gd name="connsiteY94" fmla="*/ 2506414 h 2673102"/>
                  <a:gd name="connsiteX95" fmla="*/ 212133 w 1739754"/>
                  <a:gd name="connsiteY95" fmla="*/ 2492127 h 2673102"/>
                  <a:gd name="connsiteX96" fmla="*/ 154983 w 1739754"/>
                  <a:gd name="connsiteY96" fmla="*/ 2439739 h 2673102"/>
                  <a:gd name="connsiteX97" fmla="*/ 150221 w 1739754"/>
                  <a:gd name="connsiteY97" fmla="*/ 2415927 h 2673102"/>
                  <a:gd name="connsiteX98" fmla="*/ 135933 w 1739754"/>
                  <a:gd name="connsiteY98" fmla="*/ 2358777 h 2673102"/>
                  <a:gd name="connsiteX99" fmla="*/ 121646 w 1739754"/>
                  <a:gd name="connsiteY99" fmla="*/ 2315914 h 2673102"/>
                  <a:gd name="connsiteX100" fmla="*/ 88308 w 1739754"/>
                  <a:gd name="connsiteY100" fmla="*/ 2187327 h 2673102"/>
                  <a:gd name="connsiteX101" fmla="*/ 78783 w 1739754"/>
                  <a:gd name="connsiteY101" fmla="*/ 2111127 h 2673102"/>
                  <a:gd name="connsiteX102" fmla="*/ 97833 w 1739754"/>
                  <a:gd name="connsiteY102" fmla="*/ 1944439 h 2673102"/>
                  <a:gd name="connsiteX103" fmla="*/ 135933 w 1739754"/>
                  <a:gd name="connsiteY103" fmla="*/ 1868239 h 2673102"/>
                  <a:gd name="connsiteX104" fmla="*/ 131171 w 1739754"/>
                  <a:gd name="connsiteY104" fmla="*/ 1825377 h 2673102"/>
                  <a:gd name="connsiteX105" fmla="*/ 112121 w 1739754"/>
                  <a:gd name="connsiteY105" fmla="*/ 1820614 h 2673102"/>
                  <a:gd name="connsiteX106" fmla="*/ 102596 w 1739754"/>
                  <a:gd name="connsiteY106" fmla="*/ 1806327 h 2673102"/>
                  <a:gd name="connsiteX107" fmla="*/ 145458 w 1739754"/>
                  <a:gd name="connsiteY107" fmla="*/ 1720602 h 2673102"/>
                  <a:gd name="connsiteX108" fmla="*/ 188321 w 1739754"/>
                  <a:gd name="connsiteY108" fmla="*/ 1687264 h 2673102"/>
                  <a:gd name="connsiteX109" fmla="*/ 202608 w 1739754"/>
                  <a:gd name="connsiteY109" fmla="*/ 1653927 h 2673102"/>
                  <a:gd name="connsiteX110" fmla="*/ 193083 w 1739754"/>
                  <a:gd name="connsiteY110" fmla="*/ 1606302 h 2673102"/>
                  <a:gd name="connsiteX111" fmla="*/ 154983 w 1739754"/>
                  <a:gd name="connsiteY111" fmla="*/ 1549152 h 2673102"/>
                  <a:gd name="connsiteX112" fmla="*/ 140696 w 1739754"/>
                  <a:gd name="connsiteY112" fmla="*/ 1377702 h 2673102"/>
                  <a:gd name="connsiteX113" fmla="*/ 121646 w 1739754"/>
                  <a:gd name="connsiteY113" fmla="*/ 1311027 h 2673102"/>
                  <a:gd name="connsiteX114" fmla="*/ 107358 w 1739754"/>
                  <a:gd name="connsiteY114" fmla="*/ 1244352 h 2673102"/>
                  <a:gd name="connsiteX115" fmla="*/ 78783 w 1739754"/>
                  <a:gd name="connsiteY115" fmla="*/ 1177677 h 2673102"/>
                  <a:gd name="connsiteX116" fmla="*/ 45446 w 1739754"/>
                  <a:gd name="connsiteY116" fmla="*/ 1096714 h 2673102"/>
                  <a:gd name="connsiteX117" fmla="*/ 21633 w 1739754"/>
                  <a:gd name="connsiteY117" fmla="*/ 1025277 h 2673102"/>
                  <a:gd name="connsiteX118" fmla="*/ 202 w 1739754"/>
                  <a:gd name="connsiteY118" fmla="*/ 980033 h 2673102"/>
                  <a:gd name="connsiteX119" fmla="*/ 14490 w 1739754"/>
                  <a:gd name="connsiteY119" fmla="*/ 930027 h 2673102"/>
                  <a:gd name="connsiteX120" fmla="*/ 69259 w 1739754"/>
                  <a:gd name="connsiteY120" fmla="*/ 810964 h 2673102"/>
                  <a:gd name="connsiteX121" fmla="*/ 221658 w 1739754"/>
                  <a:gd name="connsiteY121" fmla="*/ 601414 h 2673102"/>
                  <a:gd name="connsiteX122" fmla="*/ 288333 w 1739754"/>
                  <a:gd name="connsiteY122" fmla="*/ 515689 h 2673102"/>
                  <a:gd name="connsiteX123" fmla="*/ 412158 w 1739754"/>
                  <a:gd name="connsiteY123" fmla="*/ 406152 h 2673102"/>
                  <a:gd name="connsiteX124" fmla="*/ 535983 w 1739754"/>
                  <a:gd name="connsiteY124" fmla="*/ 291851 h 2673102"/>
                  <a:gd name="connsiteX125" fmla="*/ 640758 w 1739754"/>
                  <a:gd name="connsiteY125" fmla="*/ 229939 h 2673102"/>
                  <a:gd name="connsiteX126" fmla="*/ 733628 w 1739754"/>
                  <a:gd name="connsiteY126" fmla="*/ 168026 h 2673102"/>
                  <a:gd name="connsiteX127" fmla="*/ 978896 w 1739754"/>
                  <a:gd name="connsiteY127" fmla="*/ 63251 h 2673102"/>
                  <a:gd name="connsiteX128" fmla="*/ 1159871 w 1739754"/>
                  <a:gd name="connsiteY128" fmla="*/ 6102 h 2673102"/>
                  <a:gd name="connsiteX129" fmla="*/ 1202733 w 1739754"/>
                  <a:gd name="connsiteY129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31183 w 1739754"/>
                  <a:gd name="connsiteY93" fmla="*/ 2525464 h 2673102"/>
                  <a:gd name="connsiteX94" fmla="*/ 212133 w 1739754"/>
                  <a:gd name="connsiteY94" fmla="*/ 2492127 h 2673102"/>
                  <a:gd name="connsiteX95" fmla="*/ 154983 w 1739754"/>
                  <a:gd name="connsiteY95" fmla="*/ 2439739 h 2673102"/>
                  <a:gd name="connsiteX96" fmla="*/ 150221 w 1739754"/>
                  <a:gd name="connsiteY96" fmla="*/ 2415927 h 2673102"/>
                  <a:gd name="connsiteX97" fmla="*/ 135933 w 1739754"/>
                  <a:gd name="connsiteY97" fmla="*/ 2358777 h 2673102"/>
                  <a:gd name="connsiteX98" fmla="*/ 121646 w 1739754"/>
                  <a:gd name="connsiteY98" fmla="*/ 2315914 h 2673102"/>
                  <a:gd name="connsiteX99" fmla="*/ 88308 w 1739754"/>
                  <a:gd name="connsiteY99" fmla="*/ 2187327 h 2673102"/>
                  <a:gd name="connsiteX100" fmla="*/ 78783 w 1739754"/>
                  <a:gd name="connsiteY100" fmla="*/ 2111127 h 2673102"/>
                  <a:gd name="connsiteX101" fmla="*/ 97833 w 1739754"/>
                  <a:gd name="connsiteY101" fmla="*/ 1944439 h 2673102"/>
                  <a:gd name="connsiteX102" fmla="*/ 135933 w 1739754"/>
                  <a:gd name="connsiteY102" fmla="*/ 1868239 h 2673102"/>
                  <a:gd name="connsiteX103" fmla="*/ 131171 w 1739754"/>
                  <a:gd name="connsiteY103" fmla="*/ 1825377 h 2673102"/>
                  <a:gd name="connsiteX104" fmla="*/ 112121 w 1739754"/>
                  <a:gd name="connsiteY104" fmla="*/ 1820614 h 2673102"/>
                  <a:gd name="connsiteX105" fmla="*/ 102596 w 1739754"/>
                  <a:gd name="connsiteY105" fmla="*/ 1806327 h 2673102"/>
                  <a:gd name="connsiteX106" fmla="*/ 145458 w 1739754"/>
                  <a:gd name="connsiteY106" fmla="*/ 1720602 h 2673102"/>
                  <a:gd name="connsiteX107" fmla="*/ 188321 w 1739754"/>
                  <a:gd name="connsiteY107" fmla="*/ 1687264 h 2673102"/>
                  <a:gd name="connsiteX108" fmla="*/ 202608 w 1739754"/>
                  <a:gd name="connsiteY108" fmla="*/ 1653927 h 2673102"/>
                  <a:gd name="connsiteX109" fmla="*/ 193083 w 1739754"/>
                  <a:gd name="connsiteY109" fmla="*/ 1606302 h 2673102"/>
                  <a:gd name="connsiteX110" fmla="*/ 154983 w 1739754"/>
                  <a:gd name="connsiteY110" fmla="*/ 1549152 h 2673102"/>
                  <a:gd name="connsiteX111" fmla="*/ 140696 w 1739754"/>
                  <a:gd name="connsiteY111" fmla="*/ 1377702 h 2673102"/>
                  <a:gd name="connsiteX112" fmla="*/ 121646 w 1739754"/>
                  <a:gd name="connsiteY112" fmla="*/ 1311027 h 2673102"/>
                  <a:gd name="connsiteX113" fmla="*/ 107358 w 1739754"/>
                  <a:gd name="connsiteY113" fmla="*/ 1244352 h 2673102"/>
                  <a:gd name="connsiteX114" fmla="*/ 78783 w 1739754"/>
                  <a:gd name="connsiteY114" fmla="*/ 1177677 h 2673102"/>
                  <a:gd name="connsiteX115" fmla="*/ 45446 w 1739754"/>
                  <a:gd name="connsiteY115" fmla="*/ 1096714 h 2673102"/>
                  <a:gd name="connsiteX116" fmla="*/ 21633 w 1739754"/>
                  <a:gd name="connsiteY116" fmla="*/ 1025277 h 2673102"/>
                  <a:gd name="connsiteX117" fmla="*/ 202 w 1739754"/>
                  <a:gd name="connsiteY117" fmla="*/ 980033 h 2673102"/>
                  <a:gd name="connsiteX118" fmla="*/ 14490 w 1739754"/>
                  <a:gd name="connsiteY118" fmla="*/ 930027 h 2673102"/>
                  <a:gd name="connsiteX119" fmla="*/ 69259 w 1739754"/>
                  <a:gd name="connsiteY119" fmla="*/ 810964 h 2673102"/>
                  <a:gd name="connsiteX120" fmla="*/ 221658 w 1739754"/>
                  <a:gd name="connsiteY120" fmla="*/ 601414 h 2673102"/>
                  <a:gd name="connsiteX121" fmla="*/ 288333 w 1739754"/>
                  <a:gd name="connsiteY121" fmla="*/ 515689 h 2673102"/>
                  <a:gd name="connsiteX122" fmla="*/ 412158 w 1739754"/>
                  <a:gd name="connsiteY122" fmla="*/ 406152 h 2673102"/>
                  <a:gd name="connsiteX123" fmla="*/ 535983 w 1739754"/>
                  <a:gd name="connsiteY123" fmla="*/ 291851 h 2673102"/>
                  <a:gd name="connsiteX124" fmla="*/ 640758 w 1739754"/>
                  <a:gd name="connsiteY124" fmla="*/ 229939 h 2673102"/>
                  <a:gd name="connsiteX125" fmla="*/ 733628 w 1739754"/>
                  <a:gd name="connsiteY125" fmla="*/ 168026 h 2673102"/>
                  <a:gd name="connsiteX126" fmla="*/ 978896 w 1739754"/>
                  <a:gd name="connsiteY126" fmla="*/ 63251 h 2673102"/>
                  <a:gd name="connsiteX127" fmla="*/ 1159871 w 1739754"/>
                  <a:gd name="connsiteY127" fmla="*/ 6102 h 2673102"/>
                  <a:gd name="connsiteX128" fmla="*/ 1202733 w 1739754"/>
                  <a:gd name="connsiteY128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35946 w 1739754"/>
                  <a:gd name="connsiteY92" fmla="*/ 2539752 h 2673102"/>
                  <a:gd name="connsiteX93" fmla="*/ 212133 w 1739754"/>
                  <a:gd name="connsiteY93" fmla="*/ 2492127 h 2673102"/>
                  <a:gd name="connsiteX94" fmla="*/ 154983 w 1739754"/>
                  <a:gd name="connsiteY94" fmla="*/ 2439739 h 2673102"/>
                  <a:gd name="connsiteX95" fmla="*/ 150221 w 1739754"/>
                  <a:gd name="connsiteY95" fmla="*/ 2415927 h 2673102"/>
                  <a:gd name="connsiteX96" fmla="*/ 135933 w 1739754"/>
                  <a:gd name="connsiteY96" fmla="*/ 2358777 h 2673102"/>
                  <a:gd name="connsiteX97" fmla="*/ 121646 w 1739754"/>
                  <a:gd name="connsiteY97" fmla="*/ 2315914 h 2673102"/>
                  <a:gd name="connsiteX98" fmla="*/ 88308 w 1739754"/>
                  <a:gd name="connsiteY98" fmla="*/ 2187327 h 2673102"/>
                  <a:gd name="connsiteX99" fmla="*/ 78783 w 1739754"/>
                  <a:gd name="connsiteY99" fmla="*/ 2111127 h 2673102"/>
                  <a:gd name="connsiteX100" fmla="*/ 97833 w 1739754"/>
                  <a:gd name="connsiteY100" fmla="*/ 1944439 h 2673102"/>
                  <a:gd name="connsiteX101" fmla="*/ 135933 w 1739754"/>
                  <a:gd name="connsiteY101" fmla="*/ 1868239 h 2673102"/>
                  <a:gd name="connsiteX102" fmla="*/ 131171 w 1739754"/>
                  <a:gd name="connsiteY102" fmla="*/ 1825377 h 2673102"/>
                  <a:gd name="connsiteX103" fmla="*/ 112121 w 1739754"/>
                  <a:gd name="connsiteY103" fmla="*/ 1820614 h 2673102"/>
                  <a:gd name="connsiteX104" fmla="*/ 102596 w 1739754"/>
                  <a:gd name="connsiteY104" fmla="*/ 1806327 h 2673102"/>
                  <a:gd name="connsiteX105" fmla="*/ 145458 w 1739754"/>
                  <a:gd name="connsiteY105" fmla="*/ 1720602 h 2673102"/>
                  <a:gd name="connsiteX106" fmla="*/ 188321 w 1739754"/>
                  <a:gd name="connsiteY106" fmla="*/ 1687264 h 2673102"/>
                  <a:gd name="connsiteX107" fmla="*/ 202608 w 1739754"/>
                  <a:gd name="connsiteY107" fmla="*/ 1653927 h 2673102"/>
                  <a:gd name="connsiteX108" fmla="*/ 193083 w 1739754"/>
                  <a:gd name="connsiteY108" fmla="*/ 1606302 h 2673102"/>
                  <a:gd name="connsiteX109" fmla="*/ 154983 w 1739754"/>
                  <a:gd name="connsiteY109" fmla="*/ 1549152 h 2673102"/>
                  <a:gd name="connsiteX110" fmla="*/ 140696 w 1739754"/>
                  <a:gd name="connsiteY110" fmla="*/ 1377702 h 2673102"/>
                  <a:gd name="connsiteX111" fmla="*/ 121646 w 1739754"/>
                  <a:gd name="connsiteY111" fmla="*/ 1311027 h 2673102"/>
                  <a:gd name="connsiteX112" fmla="*/ 107358 w 1739754"/>
                  <a:gd name="connsiteY112" fmla="*/ 1244352 h 2673102"/>
                  <a:gd name="connsiteX113" fmla="*/ 78783 w 1739754"/>
                  <a:gd name="connsiteY113" fmla="*/ 1177677 h 2673102"/>
                  <a:gd name="connsiteX114" fmla="*/ 45446 w 1739754"/>
                  <a:gd name="connsiteY114" fmla="*/ 1096714 h 2673102"/>
                  <a:gd name="connsiteX115" fmla="*/ 21633 w 1739754"/>
                  <a:gd name="connsiteY115" fmla="*/ 1025277 h 2673102"/>
                  <a:gd name="connsiteX116" fmla="*/ 202 w 1739754"/>
                  <a:gd name="connsiteY116" fmla="*/ 980033 h 2673102"/>
                  <a:gd name="connsiteX117" fmla="*/ 14490 w 1739754"/>
                  <a:gd name="connsiteY117" fmla="*/ 930027 h 2673102"/>
                  <a:gd name="connsiteX118" fmla="*/ 69259 w 1739754"/>
                  <a:gd name="connsiteY118" fmla="*/ 810964 h 2673102"/>
                  <a:gd name="connsiteX119" fmla="*/ 221658 w 1739754"/>
                  <a:gd name="connsiteY119" fmla="*/ 601414 h 2673102"/>
                  <a:gd name="connsiteX120" fmla="*/ 288333 w 1739754"/>
                  <a:gd name="connsiteY120" fmla="*/ 515689 h 2673102"/>
                  <a:gd name="connsiteX121" fmla="*/ 412158 w 1739754"/>
                  <a:gd name="connsiteY121" fmla="*/ 406152 h 2673102"/>
                  <a:gd name="connsiteX122" fmla="*/ 535983 w 1739754"/>
                  <a:gd name="connsiteY122" fmla="*/ 291851 h 2673102"/>
                  <a:gd name="connsiteX123" fmla="*/ 640758 w 1739754"/>
                  <a:gd name="connsiteY123" fmla="*/ 229939 h 2673102"/>
                  <a:gd name="connsiteX124" fmla="*/ 733628 w 1739754"/>
                  <a:gd name="connsiteY124" fmla="*/ 168026 h 2673102"/>
                  <a:gd name="connsiteX125" fmla="*/ 978896 w 1739754"/>
                  <a:gd name="connsiteY125" fmla="*/ 63251 h 2673102"/>
                  <a:gd name="connsiteX126" fmla="*/ 1159871 w 1739754"/>
                  <a:gd name="connsiteY126" fmla="*/ 6102 h 2673102"/>
                  <a:gd name="connsiteX127" fmla="*/ 1202733 w 1739754"/>
                  <a:gd name="connsiteY127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74046 w 1739754"/>
                  <a:gd name="connsiteY91" fmla="*/ 2573089 h 2673102"/>
                  <a:gd name="connsiteX92" fmla="*/ 212133 w 1739754"/>
                  <a:gd name="connsiteY92" fmla="*/ 2492127 h 2673102"/>
                  <a:gd name="connsiteX93" fmla="*/ 154983 w 1739754"/>
                  <a:gd name="connsiteY93" fmla="*/ 2439739 h 2673102"/>
                  <a:gd name="connsiteX94" fmla="*/ 150221 w 1739754"/>
                  <a:gd name="connsiteY94" fmla="*/ 2415927 h 2673102"/>
                  <a:gd name="connsiteX95" fmla="*/ 135933 w 1739754"/>
                  <a:gd name="connsiteY95" fmla="*/ 2358777 h 2673102"/>
                  <a:gd name="connsiteX96" fmla="*/ 121646 w 1739754"/>
                  <a:gd name="connsiteY96" fmla="*/ 2315914 h 2673102"/>
                  <a:gd name="connsiteX97" fmla="*/ 88308 w 1739754"/>
                  <a:gd name="connsiteY97" fmla="*/ 2187327 h 2673102"/>
                  <a:gd name="connsiteX98" fmla="*/ 78783 w 1739754"/>
                  <a:gd name="connsiteY98" fmla="*/ 2111127 h 2673102"/>
                  <a:gd name="connsiteX99" fmla="*/ 97833 w 1739754"/>
                  <a:gd name="connsiteY99" fmla="*/ 1944439 h 2673102"/>
                  <a:gd name="connsiteX100" fmla="*/ 135933 w 1739754"/>
                  <a:gd name="connsiteY100" fmla="*/ 1868239 h 2673102"/>
                  <a:gd name="connsiteX101" fmla="*/ 131171 w 1739754"/>
                  <a:gd name="connsiteY101" fmla="*/ 1825377 h 2673102"/>
                  <a:gd name="connsiteX102" fmla="*/ 112121 w 1739754"/>
                  <a:gd name="connsiteY102" fmla="*/ 1820614 h 2673102"/>
                  <a:gd name="connsiteX103" fmla="*/ 102596 w 1739754"/>
                  <a:gd name="connsiteY103" fmla="*/ 1806327 h 2673102"/>
                  <a:gd name="connsiteX104" fmla="*/ 145458 w 1739754"/>
                  <a:gd name="connsiteY104" fmla="*/ 1720602 h 2673102"/>
                  <a:gd name="connsiteX105" fmla="*/ 188321 w 1739754"/>
                  <a:gd name="connsiteY105" fmla="*/ 1687264 h 2673102"/>
                  <a:gd name="connsiteX106" fmla="*/ 202608 w 1739754"/>
                  <a:gd name="connsiteY106" fmla="*/ 1653927 h 2673102"/>
                  <a:gd name="connsiteX107" fmla="*/ 193083 w 1739754"/>
                  <a:gd name="connsiteY107" fmla="*/ 1606302 h 2673102"/>
                  <a:gd name="connsiteX108" fmla="*/ 154983 w 1739754"/>
                  <a:gd name="connsiteY108" fmla="*/ 1549152 h 2673102"/>
                  <a:gd name="connsiteX109" fmla="*/ 140696 w 1739754"/>
                  <a:gd name="connsiteY109" fmla="*/ 1377702 h 2673102"/>
                  <a:gd name="connsiteX110" fmla="*/ 121646 w 1739754"/>
                  <a:gd name="connsiteY110" fmla="*/ 1311027 h 2673102"/>
                  <a:gd name="connsiteX111" fmla="*/ 107358 w 1739754"/>
                  <a:gd name="connsiteY111" fmla="*/ 1244352 h 2673102"/>
                  <a:gd name="connsiteX112" fmla="*/ 78783 w 1739754"/>
                  <a:gd name="connsiteY112" fmla="*/ 1177677 h 2673102"/>
                  <a:gd name="connsiteX113" fmla="*/ 45446 w 1739754"/>
                  <a:gd name="connsiteY113" fmla="*/ 1096714 h 2673102"/>
                  <a:gd name="connsiteX114" fmla="*/ 21633 w 1739754"/>
                  <a:gd name="connsiteY114" fmla="*/ 1025277 h 2673102"/>
                  <a:gd name="connsiteX115" fmla="*/ 202 w 1739754"/>
                  <a:gd name="connsiteY115" fmla="*/ 980033 h 2673102"/>
                  <a:gd name="connsiteX116" fmla="*/ 14490 w 1739754"/>
                  <a:gd name="connsiteY116" fmla="*/ 930027 h 2673102"/>
                  <a:gd name="connsiteX117" fmla="*/ 69259 w 1739754"/>
                  <a:gd name="connsiteY117" fmla="*/ 810964 h 2673102"/>
                  <a:gd name="connsiteX118" fmla="*/ 221658 w 1739754"/>
                  <a:gd name="connsiteY118" fmla="*/ 601414 h 2673102"/>
                  <a:gd name="connsiteX119" fmla="*/ 288333 w 1739754"/>
                  <a:gd name="connsiteY119" fmla="*/ 515689 h 2673102"/>
                  <a:gd name="connsiteX120" fmla="*/ 412158 w 1739754"/>
                  <a:gd name="connsiteY120" fmla="*/ 406152 h 2673102"/>
                  <a:gd name="connsiteX121" fmla="*/ 535983 w 1739754"/>
                  <a:gd name="connsiteY121" fmla="*/ 291851 h 2673102"/>
                  <a:gd name="connsiteX122" fmla="*/ 640758 w 1739754"/>
                  <a:gd name="connsiteY122" fmla="*/ 229939 h 2673102"/>
                  <a:gd name="connsiteX123" fmla="*/ 733628 w 1739754"/>
                  <a:gd name="connsiteY123" fmla="*/ 168026 h 2673102"/>
                  <a:gd name="connsiteX124" fmla="*/ 978896 w 1739754"/>
                  <a:gd name="connsiteY124" fmla="*/ 63251 h 2673102"/>
                  <a:gd name="connsiteX125" fmla="*/ 1159871 w 1739754"/>
                  <a:gd name="connsiteY125" fmla="*/ 6102 h 2673102"/>
                  <a:gd name="connsiteX126" fmla="*/ 1202733 w 1739754"/>
                  <a:gd name="connsiteY126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78808 w 1739754"/>
                  <a:gd name="connsiteY90" fmla="*/ 2592139 h 2673102"/>
                  <a:gd name="connsiteX91" fmla="*/ 212133 w 1739754"/>
                  <a:gd name="connsiteY91" fmla="*/ 2492127 h 2673102"/>
                  <a:gd name="connsiteX92" fmla="*/ 154983 w 1739754"/>
                  <a:gd name="connsiteY92" fmla="*/ 2439739 h 2673102"/>
                  <a:gd name="connsiteX93" fmla="*/ 150221 w 1739754"/>
                  <a:gd name="connsiteY93" fmla="*/ 2415927 h 2673102"/>
                  <a:gd name="connsiteX94" fmla="*/ 135933 w 1739754"/>
                  <a:gd name="connsiteY94" fmla="*/ 2358777 h 2673102"/>
                  <a:gd name="connsiteX95" fmla="*/ 121646 w 1739754"/>
                  <a:gd name="connsiteY95" fmla="*/ 2315914 h 2673102"/>
                  <a:gd name="connsiteX96" fmla="*/ 88308 w 1739754"/>
                  <a:gd name="connsiteY96" fmla="*/ 2187327 h 2673102"/>
                  <a:gd name="connsiteX97" fmla="*/ 78783 w 1739754"/>
                  <a:gd name="connsiteY97" fmla="*/ 2111127 h 2673102"/>
                  <a:gd name="connsiteX98" fmla="*/ 97833 w 1739754"/>
                  <a:gd name="connsiteY98" fmla="*/ 1944439 h 2673102"/>
                  <a:gd name="connsiteX99" fmla="*/ 135933 w 1739754"/>
                  <a:gd name="connsiteY99" fmla="*/ 1868239 h 2673102"/>
                  <a:gd name="connsiteX100" fmla="*/ 131171 w 1739754"/>
                  <a:gd name="connsiteY100" fmla="*/ 1825377 h 2673102"/>
                  <a:gd name="connsiteX101" fmla="*/ 112121 w 1739754"/>
                  <a:gd name="connsiteY101" fmla="*/ 1820614 h 2673102"/>
                  <a:gd name="connsiteX102" fmla="*/ 102596 w 1739754"/>
                  <a:gd name="connsiteY102" fmla="*/ 1806327 h 2673102"/>
                  <a:gd name="connsiteX103" fmla="*/ 145458 w 1739754"/>
                  <a:gd name="connsiteY103" fmla="*/ 1720602 h 2673102"/>
                  <a:gd name="connsiteX104" fmla="*/ 188321 w 1739754"/>
                  <a:gd name="connsiteY104" fmla="*/ 1687264 h 2673102"/>
                  <a:gd name="connsiteX105" fmla="*/ 202608 w 1739754"/>
                  <a:gd name="connsiteY105" fmla="*/ 1653927 h 2673102"/>
                  <a:gd name="connsiteX106" fmla="*/ 193083 w 1739754"/>
                  <a:gd name="connsiteY106" fmla="*/ 1606302 h 2673102"/>
                  <a:gd name="connsiteX107" fmla="*/ 154983 w 1739754"/>
                  <a:gd name="connsiteY107" fmla="*/ 1549152 h 2673102"/>
                  <a:gd name="connsiteX108" fmla="*/ 140696 w 1739754"/>
                  <a:gd name="connsiteY108" fmla="*/ 1377702 h 2673102"/>
                  <a:gd name="connsiteX109" fmla="*/ 121646 w 1739754"/>
                  <a:gd name="connsiteY109" fmla="*/ 1311027 h 2673102"/>
                  <a:gd name="connsiteX110" fmla="*/ 107358 w 1739754"/>
                  <a:gd name="connsiteY110" fmla="*/ 1244352 h 2673102"/>
                  <a:gd name="connsiteX111" fmla="*/ 78783 w 1739754"/>
                  <a:gd name="connsiteY111" fmla="*/ 1177677 h 2673102"/>
                  <a:gd name="connsiteX112" fmla="*/ 45446 w 1739754"/>
                  <a:gd name="connsiteY112" fmla="*/ 1096714 h 2673102"/>
                  <a:gd name="connsiteX113" fmla="*/ 21633 w 1739754"/>
                  <a:gd name="connsiteY113" fmla="*/ 1025277 h 2673102"/>
                  <a:gd name="connsiteX114" fmla="*/ 202 w 1739754"/>
                  <a:gd name="connsiteY114" fmla="*/ 980033 h 2673102"/>
                  <a:gd name="connsiteX115" fmla="*/ 14490 w 1739754"/>
                  <a:gd name="connsiteY115" fmla="*/ 930027 h 2673102"/>
                  <a:gd name="connsiteX116" fmla="*/ 69259 w 1739754"/>
                  <a:gd name="connsiteY116" fmla="*/ 810964 h 2673102"/>
                  <a:gd name="connsiteX117" fmla="*/ 221658 w 1739754"/>
                  <a:gd name="connsiteY117" fmla="*/ 601414 h 2673102"/>
                  <a:gd name="connsiteX118" fmla="*/ 288333 w 1739754"/>
                  <a:gd name="connsiteY118" fmla="*/ 515689 h 2673102"/>
                  <a:gd name="connsiteX119" fmla="*/ 412158 w 1739754"/>
                  <a:gd name="connsiteY119" fmla="*/ 406152 h 2673102"/>
                  <a:gd name="connsiteX120" fmla="*/ 535983 w 1739754"/>
                  <a:gd name="connsiteY120" fmla="*/ 291851 h 2673102"/>
                  <a:gd name="connsiteX121" fmla="*/ 640758 w 1739754"/>
                  <a:gd name="connsiteY121" fmla="*/ 229939 h 2673102"/>
                  <a:gd name="connsiteX122" fmla="*/ 733628 w 1739754"/>
                  <a:gd name="connsiteY122" fmla="*/ 168026 h 2673102"/>
                  <a:gd name="connsiteX123" fmla="*/ 978896 w 1739754"/>
                  <a:gd name="connsiteY123" fmla="*/ 63251 h 2673102"/>
                  <a:gd name="connsiteX124" fmla="*/ 1159871 w 1739754"/>
                  <a:gd name="connsiteY124" fmla="*/ 6102 h 2673102"/>
                  <a:gd name="connsiteX125" fmla="*/ 1202733 w 1739754"/>
                  <a:gd name="connsiteY125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212133 w 1739754"/>
                  <a:gd name="connsiteY90" fmla="*/ 2492127 h 2673102"/>
                  <a:gd name="connsiteX91" fmla="*/ 154983 w 1739754"/>
                  <a:gd name="connsiteY91" fmla="*/ 2439739 h 2673102"/>
                  <a:gd name="connsiteX92" fmla="*/ 150221 w 1739754"/>
                  <a:gd name="connsiteY92" fmla="*/ 2415927 h 2673102"/>
                  <a:gd name="connsiteX93" fmla="*/ 135933 w 1739754"/>
                  <a:gd name="connsiteY93" fmla="*/ 2358777 h 2673102"/>
                  <a:gd name="connsiteX94" fmla="*/ 121646 w 1739754"/>
                  <a:gd name="connsiteY94" fmla="*/ 2315914 h 2673102"/>
                  <a:gd name="connsiteX95" fmla="*/ 88308 w 1739754"/>
                  <a:gd name="connsiteY95" fmla="*/ 2187327 h 2673102"/>
                  <a:gd name="connsiteX96" fmla="*/ 78783 w 1739754"/>
                  <a:gd name="connsiteY96" fmla="*/ 2111127 h 2673102"/>
                  <a:gd name="connsiteX97" fmla="*/ 97833 w 1739754"/>
                  <a:gd name="connsiteY97" fmla="*/ 1944439 h 2673102"/>
                  <a:gd name="connsiteX98" fmla="*/ 135933 w 1739754"/>
                  <a:gd name="connsiteY98" fmla="*/ 1868239 h 2673102"/>
                  <a:gd name="connsiteX99" fmla="*/ 131171 w 1739754"/>
                  <a:gd name="connsiteY99" fmla="*/ 1825377 h 2673102"/>
                  <a:gd name="connsiteX100" fmla="*/ 112121 w 1739754"/>
                  <a:gd name="connsiteY100" fmla="*/ 1820614 h 2673102"/>
                  <a:gd name="connsiteX101" fmla="*/ 102596 w 1739754"/>
                  <a:gd name="connsiteY101" fmla="*/ 1806327 h 2673102"/>
                  <a:gd name="connsiteX102" fmla="*/ 145458 w 1739754"/>
                  <a:gd name="connsiteY102" fmla="*/ 1720602 h 2673102"/>
                  <a:gd name="connsiteX103" fmla="*/ 188321 w 1739754"/>
                  <a:gd name="connsiteY103" fmla="*/ 1687264 h 2673102"/>
                  <a:gd name="connsiteX104" fmla="*/ 202608 w 1739754"/>
                  <a:gd name="connsiteY104" fmla="*/ 1653927 h 2673102"/>
                  <a:gd name="connsiteX105" fmla="*/ 193083 w 1739754"/>
                  <a:gd name="connsiteY105" fmla="*/ 1606302 h 2673102"/>
                  <a:gd name="connsiteX106" fmla="*/ 154983 w 1739754"/>
                  <a:gd name="connsiteY106" fmla="*/ 1549152 h 2673102"/>
                  <a:gd name="connsiteX107" fmla="*/ 140696 w 1739754"/>
                  <a:gd name="connsiteY107" fmla="*/ 1377702 h 2673102"/>
                  <a:gd name="connsiteX108" fmla="*/ 121646 w 1739754"/>
                  <a:gd name="connsiteY108" fmla="*/ 1311027 h 2673102"/>
                  <a:gd name="connsiteX109" fmla="*/ 107358 w 1739754"/>
                  <a:gd name="connsiteY109" fmla="*/ 1244352 h 2673102"/>
                  <a:gd name="connsiteX110" fmla="*/ 78783 w 1739754"/>
                  <a:gd name="connsiteY110" fmla="*/ 1177677 h 2673102"/>
                  <a:gd name="connsiteX111" fmla="*/ 45446 w 1739754"/>
                  <a:gd name="connsiteY111" fmla="*/ 1096714 h 2673102"/>
                  <a:gd name="connsiteX112" fmla="*/ 21633 w 1739754"/>
                  <a:gd name="connsiteY112" fmla="*/ 1025277 h 2673102"/>
                  <a:gd name="connsiteX113" fmla="*/ 202 w 1739754"/>
                  <a:gd name="connsiteY113" fmla="*/ 980033 h 2673102"/>
                  <a:gd name="connsiteX114" fmla="*/ 14490 w 1739754"/>
                  <a:gd name="connsiteY114" fmla="*/ 930027 h 2673102"/>
                  <a:gd name="connsiteX115" fmla="*/ 69259 w 1739754"/>
                  <a:gd name="connsiteY115" fmla="*/ 810964 h 2673102"/>
                  <a:gd name="connsiteX116" fmla="*/ 221658 w 1739754"/>
                  <a:gd name="connsiteY116" fmla="*/ 601414 h 2673102"/>
                  <a:gd name="connsiteX117" fmla="*/ 288333 w 1739754"/>
                  <a:gd name="connsiteY117" fmla="*/ 515689 h 2673102"/>
                  <a:gd name="connsiteX118" fmla="*/ 412158 w 1739754"/>
                  <a:gd name="connsiteY118" fmla="*/ 406152 h 2673102"/>
                  <a:gd name="connsiteX119" fmla="*/ 535983 w 1739754"/>
                  <a:gd name="connsiteY119" fmla="*/ 291851 h 2673102"/>
                  <a:gd name="connsiteX120" fmla="*/ 640758 w 1739754"/>
                  <a:gd name="connsiteY120" fmla="*/ 229939 h 2673102"/>
                  <a:gd name="connsiteX121" fmla="*/ 733628 w 1739754"/>
                  <a:gd name="connsiteY121" fmla="*/ 168026 h 2673102"/>
                  <a:gd name="connsiteX122" fmla="*/ 978896 w 1739754"/>
                  <a:gd name="connsiteY122" fmla="*/ 63251 h 2673102"/>
                  <a:gd name="connsiteX123" fmla="*/ 1159871 w 1739754"/>
                  <a:gd name="connsiteY123" fmla="*/ 6102 h 2673102"/>
                  <a:gd name="connsiteX124" fmla="*/ 1202733 w 1739754"/>
                  <a:gd name="connsiteY124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154983 w 1739754"/>
                  <a:gd name="connsiteY90" fmla="*/ 2439739 h 2673102"/>
                  <a:gd name="connsiteX91" fmla="*/ 150221 w 1739754"/>
                  <a:gd name="connsiteY91" fmla="*/ 2415927 h 2673102"/>
                  <a:gd name="connsiteX92" fmla="*/ 135933 w 1739754"/>
                  <a:gd name="connsiteY92" fmla="*/ 2358777 h 2673102"/>
                  <a:gd name="connsiteX93" fmla="*/ 121646 w 1739754"/>
                  <a:gd name="connsiteY93" fmla="*/ 2315914 h 2673102"/>
                  <a:gd name="connsiteX94" fmla="*/ 88308 w 1739754"/>
                  <a:gd name="connsiteY94" fmla="*/ 2187327 h 2673102"/>
                  <a:gd name="connsiteX95" fmla="*/ 78783 w 1739754"/>
                  <a:gd name="connsiteY95" fmla="*/ 2111127 h 2673102"/>
                  <a:gd name="connsiteX96" fmla="*/ 97833 w 1739754"/>
                  <a:gd name="connsiteY96" fmla="*/ 1944439 h 2673102"/>
                  <a:gd name="connsiteX97" fmla="*/ 135933 w 1739754"/>
                  <a:gd name="connsiteY97" fmla="*/ 1868239 h 2673102"/>
                  <a:gd name="connsiteX98" fmla="*/ 131171 w 1739754"/>
                  <a:gd name="connsiteY98" fmla="*/ 1825377 h 2673102"/>
                  <a:gd name="connsiteX99" fmla="*/ 112121 w 1739754"/>
                  <a:gd name="connsiteY99" fmla="*/ 1820614 h 2673102"/>
                  <a:gd name="connsiteX100" fmla="*/ 102596 w 1739754"/>
                  <a:gd name="connsiteY100" fmla="*/ 1806327 h 2673102"/>
                  <a:gd name="connsiteX101" fmla="*/ 145458 w 1739754"/>
                  <a:gd name="connsiteY101" fmla="*/ 1720602 h 2673102"/>
                  <a:gd name="connsiteX102" fmla="*/ 188321 w 1739754"/>
                  <a:gd name="connsiteY102" fmla="*/ 1687264 h 2673102"/>
                  <a:gd name="connsiteX103" fmla="*/ 202608 w 1739754"/>
                  <a:gd name="connsiteY103" fmla="*/ 1653927 h 2673102"/>
                  <a:gd name="connsiteX104" fmla="*/ 193083 w 1739754"/>
                  <a:gd name="connsiteY104" fmla="*/ 1606302 h 2673102"/>
                  <a:gd name="connsiteX105" fmla="*/ 154983 w 1739754"/>
                  <a:gd name="connsiteY105" fmla="*/ 1549152 h 2673102"/>
                  <a:gd name="connsiteX106" fmla="*/ 140696 w 1739754"/>
                  <a:gd name="connsiteY106" fmla="*/ 1377702 h 2673102"/>
                  <a:gd name="connsiteX107" fmla="*/ 121646 w 1739754"/>
                  <a:gd name="connsiteY107" fmla="*/ 1311027 h 2673102"/>
                  <a:gd name="connsiteX108" fmla="*/ 107358 w 1739754"/>
                  <a:gd name="connsiteY108" fmla="*/ 1244352 h 2673102"/>
                  <a:gd name="connsiteX109" fmla="*/ 78783 w 1739754"/>
                  <a:gd name="connsiteY109" fmla="*/ 1177677 h 2673102"/>
                  <a:gd name="connsiteX110" fmla="*/ 45446 w 1739754"/>
                  <a:gd name="connsiteY110" fmla="*/ 1096714 h 2673102"/>
                  <a:gd name="connsiteX111" fmla="*/ 21633 w 1739754"/>
                  <a:gd name="connsiteY111" fmla="*/ 1025277 h 2673102"/>
                  <a:gd name="connsiteX112" fmla="*/ 202 w 1739754"/>
                  <a:gd name="connsiteY112" fmla="*/ 980033 h 2673102"/>
                  <a:gd name="connsiteX113" fmla="*/ 14490 w 1739754"/>
                  <a:gd name="connsiteY113" fmla="*/ 930027 h 2673102"/>
                  <a:gd name="connsiteX114" fmla="*/ 69259 w 1739754"/>
                  <a:gd name="connsiteY114" fmla="*/ 810964 h 2673102"/>
                  <a:gd name="connsiteX115" fmla="*/ 221658 w 1739754"/>
                  <a:gd name="connsiteY115" fmla="*/ 601414 h 2673102"/>
                  <a:gd name="connsiteX116" fmla="*/ 288333 w 1739754"/>
                  <a:gd name="connsiteY116" fmla="*/ 515689 h 2673102"/>
                  <a:gd name="connsiteX117" fmla="*/ 412158 w 1739754"/>
                  <a:gd name="connsiteY117" fmla="*/ 406152 h 2673102"/>
                  <a:gd name="connsiteX118" fmla="*/ 535983 w 1739754"/>
                  <a:gd name="connsiteY118" fmla="*/ 291851 h 2673102"/>
                  <a:gd name="connsiteX119" fmla="*/ 640758 w 1739754"/>
                  <a:gd name="connsiteY119" fmla="*/ 229939 h 2673102"/>
                  <a:gd name="connsiteX120" fmla="*/ 733628 w 1739754"/>
                  <a:gd name="connsiteY120" fmla="*/ 168026 h 2673102"/>
                  <a:gd name="connsiteX121" fmla="*/ 978896 w 1739754"/>
                  <a:gd name="connsiteY121" fmla="*/ 63251 h 2673102"/>
                  <a:gd name="connsiteX122" fmla="*/ 1159871 w 1739754"/>
                  <a:gd name="connsiteY122" fmla="*/ 6102 h 2673102"/>
                  <a:gd name="connsiteX123" fmla="*/ 1202733 w 1739754"/>
                  <a:gd name="connsiteY12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181177 w 1739754"/>
                  <a:gd name="connsiteY90" fmla="*/ 2456408 h 2673102"/>
                  <a:gd name="connsiteX91" fmla="*/ 150221 w 1739754"/>
                  <a:gd name="connsiteY91" fmla="*/ 2415927 h 2673102"/>
                  <a:gd name="connsiteX92" fmla="*/ 135933 w 1739754"/>
                  <a:gd name="connsiteY92" fmla="*/ 2358777 h 2673102"/>
                  <a:gd name="connsiteX93" fmla="*/ 121646 w 1739754"/>
                  <a:gd name="connsiteY93" fmla="*/ 2315914 h 2673102"/>
                  <a:gd name="connsiteX94" fmla="*/ 88308 w 1739754"/>
                  <a:gd name="connsiteY94" fmla="*/ 2187327 h 2673102"/>
                  <a:gd name="connsiteX95" fmla="*/ 78783 w 1739754"/>
                  <a:gd name="connsiteY95" fmla="*/ 2111127 h 2673102"/>
                  <a:gd name="connsiteX96" fmla="*/ 97833 w 1739754"/>
                  <a:gd name="connsiteY96" fmla="*/ 1944439 h 2673102"/>
                  <a:gd name="connsiteX97" fmla="*/ 135933 w 1739754"/>
                  <a:gd name="connsiteY97" fmla="*/ 1868239 h 2673102"/>
                  <a:gd name="connsiteX98" fmla="*/ 131171 w 1739754"/>
                  <a:gd name="connsiteY98" fmla="*/ 1825377 h 2673102"/>
                  <a:gd name="connsiteX99" fmla="*/ 112121 w 1739754"/>
                  <a:gd name="connsiteY99" fmla="*/ 1820614 h 2673102"/>
                  <a:gd name="connsiteX100" fmla="*/ 102596 w 1739754"/>
                  <a:gd name="connsiteY100" fmla="*/ 1806327 h 2673102"/>
                  <a:gd name="connsiteX101" fmla="*/ 145458 w 1739754"/>
                  <a:gd name="connsiteY101" fmla="*/ 1720602 h 2673102"/>
                  <a:gd name="connsiteX102" fmla="*/ 188321 w 1739754"/>
                  <a:gd name="connsiteY102" fmla="*/ 1687264 h 2673102"/>
                  <a:gd name="connsiteX103" fmla="*/ 202608 w 1739754"/>
                  <a:gd name="connsiteY103" fmla="*/ 1653927 h 2673102"/>
                  <a:gd name="connsiteX104" fmla="*/ 193083 w 1739754"/>
                  <a:gd name="connsiteY104" fmla="*/ 1606302 h 2673102"/>
                  <a:gd name="connsiteX105" fmla="*/ 154983 w 1739754"/>
                  <a:gd name="connsiteY105" fmla="*/ 1549152 h 2673102"/>
                  <a:gd name="connsiteX106" fmla="*/ 140696 w 1739754"/>
                  <a:gd name="connsiteY106" fmla="*/ 1377702 h 2673102"/>
                  <a:gd name="connsiteX107" fmla="*/ 121646 w 1739754"/>
                  <a:gd name="connsiteY107" fmla="*/ 1311027 h 2673102"/>
                  <a:gd name="connsiteX108" fmla="*/ 107358 w 1739754"/>
                  <a:gd name="connsiteY108" fmla="*/ 1244352 h 2673102"/>
                  <a:gd name="connsiteX109" fmla="*/ 78783 w 1739754"/>
                  <a:gd name="connsiteY109" fmla="*/ 1177677 h 2673102"/>
                  <a:gd name="connsiteX110" fmla="*/ 45446 w 1739754"/>
                  <a:gd name="connsiteY110" fmla="*/ 1096714 h 2673102"/>
                  <a:gd name="connsiteX111" fmla="*/ 21633 w 1739754"/>
                  <a:gd name="connsiteY111" fmla="*/ 1025277 h 2673102"/>
                  <a:gd name="connsiteX112" fmla="*/ 202 w 1739754"/>
                  <a:gd name="connsiteY112" fmla="*/ 980033 h 2673102"/>
                  <a:gd name="connsiteX113" fmla="*/ 14490 w 1739754"/>
                  <a:gd name="connsiteY113" fmla="*/ 930027 h 2673102"/>
                  <a:gd name="connsiteX114" fmla="*/ 69259 w 1739754"/>
                  <a:gd name="connsiteY114" fmla="*/ 810964 h 2673102"/>
                  <a:gd name="connsiteX115" fmla="*/ 221658 w 1739754"/>
                  <a:gd name="connsiteY115" fmla="*/ 601414 h 2673102"/>
                  <a:gd name="connsiteX116" fmla="*/ 288333 w 1739754"/>
                  <a:gd name="connsiteY116" fmla="*/ 515689 h 2673102"/>
                  <a:gd name="connsiteX117" fmla="*/ 412158 w 1739754"/>
                  <a:gd name="connsiteY117" fmla="*/ 406152 h 2673102"/>
                  <a:gd name="connsiteX118" fmla="*/ 535983 w 1739754"/>
                  <a:gd name="connsiteY118" fmla="*/ 291851 h 2673102"/>
                  <a:gd name="connsiteX119" fmla="*/ 640758 w 1739754"/>
                  <a:gd name="connsiteY119" fmla="*/ 229939 h 2673102"/>
                  <a:gd name="connsiteX120" fmla="*/ 733628 w 1739754"/>
                  <a:gd name="connsiteY120" fmla="*/ 168026 h 2673102"/>
                  <a:gd name="connsiteX121" fmla="*/ 978896 w 1739754"/>
                  <a:gd name="connsiteY121" fmla="*/ 63251 h 2673102"/>
                  <a:gd name="connsiteX122" fmla="*/ 1159871 w 1739754"/>
                  <a:gd name="connsiteY122" fmla="*/ 6102 h 2673102"/>
                  <a:gd name="connsiteX123" fmla="*/ 1202733 w 1739754"/>
                  <a:gd name="connsiteY12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335958 w 1739754"/>
                  <a:gd name="connsiteY88" fmla="*/ 2620714 h 2673102"/>
                  <a:gd name="connsiteX89" fmla="*/ 297858 w 1739754"/>
                  <a:gd name="connsiteY89" fmla="*/ 2611189 h 2673102"/>
                  <a:gd name="connsiteX90" fmla="*/ 181177 w 1739754"/>
                  <a:gd name="connsiteY90" fmla="*/ 2456408 h 2673102"/>
                  <a:gd name="connsiteX91" fmla="*/ 150221 w 1739754"/>
                  <a:gd name="connsiteY91" fmla="*/ 2415927 h 2673102"/>
                  <a:gd name="connsiteX92" fmla="*/ 135933 w 1739754"/>
                  <a:gd name="connsiteY92" fmla="*/ 2358777 h 2673102"/>
                  <a:gd name="connsiteX93" fmla="*/ 121646 w 1739754"/>
                  <a:gd name="connsiteY93" fmla="*/ 2315914 h 2673102"/>
                  <a:gd name="connsiteX94" fmla="*/ 88308 w 1739754"/>
                  <a:gd name="connsiteY94" fmla="*/ 2187327 h 2673102"/>
                  <a:gd name="connsiteX95" fmla="*/ 78783 w 1739754"/>
                  <a:gd name="connsiteY95" fmla="*/ 2111127 h 2673102"/>
                  <a:gd name="connsiteX96" fmla="*/ 97833 w 1739754"/>
                  <a:gd name="connsiteY96" fmla="*/ 1944439 h 2673102"/>
                  <a:gd name="connsiteX97" fmla="*/ 135933 w 1739754"/>
                  <a:gd name="connsiteY97" fmla="*/ 1868239 h 2673102"/>
                  <a:gd name="connsiteX98" fmla="*/ 131171 w 1739754"/>
                  <a:gd name="connsiteY98" fmla="*/ 1825377 h 2673102"/>
                  <a:gd name="connsiteX99" fmla="*/ 112121 w 1739754"/>
                  <a:gd name="connsiteY99" fmla="*/ 1820614 h 2673102"/>
                  <a:gd name="connsiteX100" fmla="*/ 102596 w 1739754"/>
                  <a:gd name="connsiteY100" fmla="*/ 1806327 h 2673102"/>
                  <a:gd name="connsiteX101" fmla="*/ 145458 w 1739754"/>
                  <a:gd name="connsiteY101" fmla="*/ 1720602 h 2673102"/>
                  <a:gd name="connsiteX102" fmla="*/ 188321 w 1739754"/>
                  <a:gd name="connsiteY102" fmla="*/ 1687264 h 2673102"/>
                  <a:gd name="connsiteX103" fmla="*/ 202608 w 1739754"/>
                  <a:gd name="connsiteY103" fmla="*/ 1653927 h 2673102"/>
                  <a:gd name="connsiteX104" fmla="*/ 193083 w 1739754"/>
                  <a:gd name="connsiteY104" fmla="*/ 1606302 h 2673102"/>
                  <a:gd name="connsiteX105" fmla="*/ 154983 w 1739754"/>
                  <a:gd name="connsiteY105" fmla="*/ 1549152 h 2673102"/>
                  <a:gd name="connsiteX106" fmla="*/ 140696 w 1739754"/>
                  <a:gd name="connsiteY106" fmla="*/ 1377702 h 2673102"/>
                  <a:gd name="connsiteX107" fmla="*/ 121646 w 1739754"/>
                  <a:gd name="connsiteY107" fmla="*/ 1311027 h 2673102"/>
                  <a:gd name="connsiteX108" fmla="*/ 107358 w 1739754"/>
                  <a:gd name="connsiteY108" fmla="*/ 1244352 h 2673102"/>
                  <a:gd name="connsiteX109" fmla="*/ 78783 w 1739754"/>
                  <a:gd name="connsiteY109" fmla="*/ 1177677 h 2673102"/>
                  <a:gd name="connsiteX110" fmla="*/ 45446 w 1739754"/>
                  <a:gd name="connsiteY110" fmla="*/ 1096714 h 2673102"/>
                  <a:gd name="connsiteX111" fmla="*/ 21633 w 1739754"/>
                  <a:gd name="connsiteY111" fmla="*/ 1025277 h 2673102"/>
                  <a:gd name="connsiteX112" fmla="*/ 202 w 1739754"/>
                  <a:gd name="connsiteY112" fmla="*/ 980033 h 2673102"/>
                  <a:gd name="connsiteX113" fmla="*/ 14490 w 1739754"/>
                  <a:gd name="connsiteY113" fmla="*/ 930027 h 2673102"/>
                  <a:gd name="connsiteX114" fmla="*/ 69259 w 1739754"/>
                  <a:gd name="connsiteY114" fmla="*/ 810964 h 2673102"/>
                  <a:gd name="connsiteX115" fmla="*/ 221658 w 1739754"/>
                  <a:gd name="connsiteY115" fmla="*/ 601414 h 2673102"/>
                  <a:gd name="connsiteX116" fmla="*/ 288333 w 1739754"/>
                  <a:gd name="connsiteY116" fmla="*/ 515689 h 2673102"/>
                  <a:gd name="connsiteX117" fmla="*/ 412158 w 1739754"/>
                  <a:gd name="connsiteY117" fmla="*/ 406152 h 2673102"/>
                  <a:gd name="connsiteX118" fmla="*/ 535983 w 1739754"/>
                  <a:gd name="connsiteY118" fmla="*/ 291851 h 2673102"/>
                  <a:gd name="connsiteX119" fmla="*/ 640758 w 1739754"/>
                  <a:gd name="connsiteY119" fmla="*/ 229939 h 2673102"/>
                  <a:gd name="connsiteX120" fmla="*/ 733628 w 1739754"/>
                  <a:gd name="connsiteY120" fmla="*/ 168026 h 2673102"/>
                  <a:gd name="connsiteX121" fmla="*/ 978896 w 1739754"/>
                  <a:gd name="connsiteY121" fmla="*/ 63251 h 2673102"/>
                  <a:gd name="connsiteX122" fmla="*/ 1159871 w 1739754"/>
                  <a:gd name="connsiteY122" fmla="*/ 6102 h 2673102"/>
                  <a:gd name="connsiteX123" fmla="*/ 1202733 w 1739754"/>
                  <a:gd name="connsiteY123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345483 w 1739754"/>
                  <a:gd name="connsiteY87" fmla="*/ 2635002 h 2673102"/>
                  <a:gd name="connsiteX88" fmla="*/ 297858 w 1739754"/>
                  <a:gd name="connsiteY88" fmla="*/ 2611189 h 2673102"/>
                  <a:gd name="connsiteX89" fmla="*/ 181177 w 1739754"/>
                  <a:gd name="connsiteY89" fmla="*/ 2456408 h 2673102"/>
                  <a:gd name="connsiteX90" fmla="*/ 150221 w 1739754"/>
                  <a:gd name="connsiteY90" fmla="*/ 2415927 h 2673102"/>
                  <a:gd name="connsiteX91" fmla="*/ 135933 w 1739754"/>
                  <a:gd name="connsiteY91" fmla="*/ 2358777 h 2673102"/>
                  <a:gd name="connsiteX92" fmla="*/ 121646 w 1739754"/>
                  <a:gd name="connsiteY92" fmla="*/ 2315914 h 2673102"/>
                  <a:gd name="connsiteX93" fmla="*/ 88308 w 1739754"/>
                  <a:gd name="connsiteY93" fmla="*/ 2187327 h 2673102"/>
                  <a:gd name="connsiteX94" fmla="*/ 78783 w 1739754"/>
                  <a:gd name="connsiteY94" fmla="*/ 2111127 h 2673102"/>
                  <a:gd name="connsiteX95" fmla="*/ 97833 w 1739754"/>
                  <a:gd name="connsiteY95" fmla="*/ 1944439 h 2673102"/>
                  <a:gd name="connsiteX96" fmla="*/ 135933 w 1739754"/>
                  <a:gd name="connsiteY96" fmla="*/ 1868239 h 2673102"/>
                  <a:gd name="connsiteX97" fmla="*/ 131171 w 1739754"/>
                  <a:gd name="connsiteY97" fmla="*/ 1825377 h 2673102"/>
                  <a:gd name="connsiteX98" fmla="*/ 112121 w 1739754"/>
                  <a:gd name="connsiteY98" fmla="*/ 1820614 h 2673102"/>
                  <a:gd name="connsiteX99" fmla="*/ 102596 w 1739754"/>
                  <a:gd name="connsiteY99" fmla="*/ 1806327 h 2673102"/>
                  <a:gd name="connsiteX100" fmla="*/ 145458 w 1739754"/>
                  <a:gd name="connsiteY100" fmla="*/ 1720602 h 2673102"/>
                  <a:gd name="connsiteX101" fmla="*/ 188321 w 1739754"/>
                  <a:gd name="connsiteY101" fmla="*/ 1687264 h 2673102"/>
                  <a:gd name="connsiteX102" fmla="*/ 202608 w 1739754"/>
                  <a:gd name="connsiteY102" fmla="*/ 1653927 h 2673102"/>
                  <a:gd name="connsiteX103" fmla="*/ 193083 w 1739754"/>
                  <a:gd name="connsiteY103" fmla="*/ 1606302 h 2673102"/>
                  <a:gd name="connsiteX104" fmla="*/ 154983 w 1739754"/>
                  <a:gd name="connsiteY104" fmla="*/ 1549152 h 2673102"/>
                  <a:gd name="connsiteX105" fmla="*/ 140696 w 1739754"/>
                  <a:gd name="connsiteY105" fmla="*/ 1377702 h 2673102"/>
                  <a:gd name="connsiteX106" fmla="*/ 121646 w 1739754"/>
                  <a:gd name="connsiteY106" fmla="*/ 1311027 h 2673102"/>
                  <a:gd name="connsiteX107" fmla="*/ 107358 w 1739754"/>
                  <a:gd name="connsiteY107" fmla="*/ 1244352 h 2673102"/>
                  <a:gd name="connsiteX108" fmla="*/ 78783 w 1739754"/>
                  <a:gd name="connsiteY108" fmla="*/ 1177677 h 2673102"/>
                  <a:gd name="connsiteX109" fmla="*/ 45446 w 1739754"/>
                  <a:gd name="connsiteY109" fmla="*/ 1096714 h 2673102"/>
                  <a:gd name="connsiteX110" fmla="*/ 21633 w 1739754"/>
                  <a:gd name="connsiteY110" fmla="*/ 1025277 h 2673102"/>
                  <a:gd name="connsiteX111" fmla="*/ 202 w 1739754"/>
                  <a:gd name="connsiteY111" fmla="*/ 980033 h 2673102"/>
                  <a:gd name="connsiteX112" fmla="*/ 14490 w 1739754"/>
                  <a:gd name="connsiteY112" fmla="*/ 930027 h 2673102"/>
                  <a:gd name="connsiteX113" fmla="*/ 69259 w 1739754"/>
                  <a:gd name="connsiteY113" fmla="*/ 810964 h 2673102"/>
                  <a:gd name="connsiteX114" fmla="*/ 221658 w 1739754"/>
                  <a:gd name="connsiteY114" fmla="*/ 601414 h 2673102"/>
                  <a:gd name="connsiteX115" fmla="*/ 288333 w 1739754"/>
                  <a:gd name="connsiteY115" fmla="*/ 515689 h 2673102"/>
                  <a:gd name="connsiteX116" fmla="*/ 412158 w 1739754"/>
                  <a:gd name="connsiteY116" fmla="*/ 406152 h 2673102"/>
                  <a:gd name="connsiteX117" fmla="*/ 535983 w 1739754"/>
                  <a:gd name="connsiteY117" fmla="*/ 291851 h 2673102"/>
                  <a:gd name="connsiteX118" fmla="*/ 640758 w 1739754"/>
                  <a:gd name="connsiteY118" fmla="*/ 229939 h 2673102"/>
                  <a:gd name="connsiteX119" fmla="*/ 733628 w 1739754"/>
                  <a:gd name="connsiteY119" fmla="*/ 168026 h 2673102"/>
                  <a:gd name="connsiteX120" fmla="*/ 978896 w 1739754"/>
                  <a:gd name="connsiteY120" fmla="*/ 63251 h 2673102"/>
                  <a:gd name="connsiteX121" fmla="*/ 1159871 w 1739754"/>
                  <a:gd name="connsiteY121" fmla="*/ 6102 h 2673102"/>
                  <a:gd name="connsiteX122" fmla="*/ 1202733 w 1739754"/>
                  <a:gd name="connsiteY122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297858 w 1739754"/>
                  <a:gd name="connsiteY87" fmla="*/ 2611189 h 2673102"/>
                  <a:gd name="connsiteX88" fmla="*/ 181177 w 1739754"/>
                  <a:gd name="connsiteY88" fmla="*/ 2456408 h 2673102"/>
                  <a:gd name="connsiteX89" fmla="*/ 150221 w 1739754"/>
                  <a:gd name="connsiteY89" fmla="*/ 2415927 h 2673102"/>
                  <a:gd name="connsiteX90" fmla="*/ 135933 w 1739754"/>
                  <a:gd name="connsiteY90" fmla="*/ 2358777 h 2673102"/>
                  <a:gd name="connsiteX91" fmla="*/ 121646 w 1739754"/>
                  <a:gd name="connsiteY91" fmla="*/ 2315914 h 2673102"/>
                  <a:gd name="connsiteX92" fmla="*/ 88308 w 1739754"/>
                  <a:gd name="connsiteY92" fmla="*/ 2187327 h 2673102"/>
                  <a:gd name="connsiteX93" fmla="*/ 78783 w 1739754"/>
                  <a:gd name="connsiteY93" fmla="*/ 2111127 h 2673102"/>
                  <a:gd name="connsiteX94" fmla="*/ 97833 w 1739754"/>
                  <a:gd name="connsiteY94" fmla="*/ 1944439 h 2673102"/>
                  <a:gd name="connsiteX95" fmla="*/ 135933 w 1739754"/>
                  <a:gd name="connsiteY95" fmla="*/ 1868239 h 2673102"/>
                  <a:gd name="connsiteX96" fmla="*/ 131171 w 1739754"/>
                  <a:gd name="connsiteY96" fmla="*/ 1825377 h 2673102"/>
                  <a:gd name="connsiteX97" fmla="*/ 112121 w 1739754"/>
                  <a:gd name="connsiteY97" fmla="*/ 1820614 h 2673102"/>
                  <a:gd name="connsiteX98" fmla="*/ 102596 w 1739754"/>
                  <a:gd name="connsiteY98" fmla="*/ 1806327 h 2673102"/>
                  <a:gd name="connsiteX99" fmla="*/ 145458 w 1739754"/>
                  <a:gd name="connsiteY99" fmla="*/ 1720602 h 2673102"/>
                  <a:gd name="connsiteX100" fmla="*/ 188321 w 1739754"/>
                  <a:gd name="connsiteY100" fmla="*/ 1687264 h 2673102"/>
                  <a:gd name="connsiteX101" fmla="*/ 202608 w 1739754"/>
                  <a:gd name="connsiteY101" fmla="*/ 1653927 h 2673102"/>
                  <a:gd name="connsiteX102" fmla="*/ 193083 w 1739754"/>
                  <a:gd name="connsiteY102" fmla="*/ 1606302 h 2673102"/>
                  <a:gd name="connsiteX103" fmla="*/ 154983 w 1739754"/>
                  <a:gd name="connsiteY103" fmla="*/ 1549152 h 2673102"/>
                  <a:gd name="connsiteX104" fmla="*/ 140696 w 1739754"/>
                  <a:gd name="connsiteY104" fmla="*/ 1377702 h 2673102"/>
                  <a:gd name="connsiteX105" fmla="*/ 121646 w 1739754"/>
                  <a:gd name="connsiteY105" fmla="*/ 1311027 h 2673102"/>
                  <a:gd name="connsiteX106" fmla="*/ 107358 w 1739754"/>
                  <a:gd name="connsiteY106" fmla="*/ 1244352 h 2673102"/>
                  <a:gd name="connsiteX107" fmla="*/ 78783 w 1739754"/>
                  <a:gd name="connsiteY107" fmla="*/ 1177677 h 2673102"/>
                  <a:gd name="connsiteX108" fmla="*/ 45446 w 1739754"/>
                  <a:gd name="connsiteY108" fmla="*/ 1096714 h 2673102"/>
                  <a:gd name="connsiteX109" fmla="*/ 21633 w 1739754"/>
                  <a:gd name="connsiteY109" fmla="*/ 1025277 h 2673102"/>
                  <a:gd name="connsiteX110" fmla="*/ 202 w 1739754"/>
                  <a:gd name="connsiteY110" fmla="*/ 980033 h 2673102"/>
                  <a:gd name="connsiteX111" fmla="*/ 14490 w 1739754"/>
                  <a:gd name="connsiteY111" fmla="*/ 930027 h 2673102"/>
                  <a:gd name="connsiteX112" fmla="*/ 69259 w 1739754"/>
                  <a:gd name="connsiteY112" fmla="*/ 810964 h 2673102"/>
                  <a:gd name="connsiteX113" fmla="*/ 221658 w 1739754"/>
                  <a:gd name="connsiteY113" fmla="*/ 601414 h 2673102"/>
                  <a:gd name="connsiteX114" fmla="*/ 288333 w 1739754"/>
                  <a:gd name="connsiteY114" fmla="*/ 515689 h 2673102"/>
                  <a:gd name="connsiteX115" fmla="*/ 412158 w 1739754"/>
                  <a:gd name="connsiteY115" fmla="*/ 406152 h 2673102"/>
                  <a:gd name="connsiteX116" fmla="*/ 535983 w 1739754"/>
                  <a:gd name="connsiteY116" fmla="*/ 291851 h 2673102"/>
                  <a:gd name="connsiteX117" fmla="*/ 640758 w 1739754"/>
                  <a:gd name="connsiteY117" fmla="*/ 229939 h 2673102"/>
                  <a:gd name="connsiteX118" fmla="*/ 733628 w 1739754"/>
                  <a:gd name="connsiteY118" fmla="*/ 168026 h 2673102"/>
                  <a:gd name="connsiteX119" fmla="*/ 978896 w 1739754"/>
                  <a:gd name="connsiteY119" fmla="*/ 63251 h 2673102"/>
                  <a:gd name="connsiteX120" fmla="*/ 1159871 w 1739754"/>
                  <a:gd name="connsiteY120" fmla="*/ 6102 h 2673102"/>
                  <a:gd name="connsiteX121" fmla="*/ 1202733 w 1739754"/>
                  <a:gd name="connsiteY121" fmla="*/ 10864 h 2673102"/>
                  <a:gd name="connsiteX0" fmla="*/ 1202733 w 1739754"/>
                  <a:gd name="connsiteY0" fmla="*/ 10864 h 2673102"/>
                  <a:gd name="connsiteX1" fmla="*/ 1197971 w 1739754"/>
                  <a:gd name="connsiteY1" fmla="*/ 68014 h 2673102"/>
                  <a:gd name="connsiteX2" fmla="*/ 1164633 w 1739754"/>
                  <a:gd name="connsiteY2" fmla="*/ 129927 h 2673102"/>
                  <a:gd name="connsiteX3" fmla="*/ 1164633 w 1739754"/>
                  <a:gd name="connsiteY3" fmla="*/ 206127 h 2673102"/>
                  <a:gd name="connsiteX4" fmla="*/ 1202733 w 1739754"/>
                  <a:gd name="connsiteY4" fmla="*/ 258514 h 2673102"/>
                  <a:gd name="connsiteX5" fmla="*/ 1245596 w 1739754"/>
                  <a:gd name="connsiteY5" fmla="*/ 296614 h 2673102"/>
                  <a:gd name="connsiteX6" fmla="*/ 1255121 w 1739754"/>
                  <a:gd name="connsiteY6" fmla="*/ 315664 h 2673102"/>
                  <a:gd name="connsiteX7" fmla="*/ 1250358 w 1739754"/>
                  <a:gd name="connsiteY7" fmla="*/ 344239 h 2673102"/>
                  <a:gd name="connsiteX8" fmla="*/ 1250358 w 1739754"/>
                  <a:gd name="connsiteY8" fmla="*/ 425202 h 2673102"/>
                  <a:gd name="connsiteX9" fmla="*/ 1269408 w 1739754"/>
                  <a:gd name="connsiteY9" fmla="*/ 463302 h 2673102"/>
                  <a:gd name="connsiteX10" fmla="*/ 1378946 w 1739754"/>
                  <a:gd name="connsiteY10" fmla="*/ 520452 h 2673102"/>
                  <a:gd name="connsiteX11" fmla="*/ 1407521 w 1739754"/>
                  <a:gd name="connsiteY11" fmla="*/ 539502 h 2673102"/>
                  <a:gd name="connsiteX12" fmla="*/ 1521821 w 1739754"/>
                  <a:gd name="connsiteY12" fmla="*/ 587127 h 2673102"/>
                  <a:gd name="connsiteX13" fmla="*/ 1559921 w 1739754"/>
                  <a:gd name="connsiteY13" fmla="*/ 601414 h 2673102"/>
                  <a:gd name="connsiteX14" fmla="*/ 1607546 w 1739754"/>
                  <a:gd name="connsiteY14" fmla="*/ 639514 h 2673102"/>
                  <a:gd name="connsiteX15" fmla="*/ 1636121 w 1739754"/>
                  <a:gd name="connsiteY15" fmla="*/ 672852 h 2673102"/>
                  <a:gd name="connsiteX16" fmla="*/ 1683746 w 1739754"/>
                  <a:gd name="connsiteY16" fmla="*/ 706189 h 2673102"/>
                  <a:gd name="connsiteX17" fmla="*/ 1709940 w 1739754"/>
                  <a:gd name="connsiteY17" fmla="*/ 749052 h 2673102"/>
                  <a:gd name="connsiteX18" fmla="*/ 1702796 w 1739754"/>
                  <a:gd name="connsiteY18" fmla="*/ 853827 h 2673102"/>
                  <a:gd name="connsiteX19" fmla="*/ 1664696 w 1739754"/>
                  <a:gd name="connsiteY19" fmla="*/ 887164 h 2673102"/>
                  <a:gd name="connsiteX20" fmla="*/ 1598021 w 1739754"/>
                  <a:gd name="connsiteY20" fmla="*/ 906214 h 2673102"/>
                  <a:gd name="connsiteX21" fmla="*/ 1531346 w 1739754"/>
                  <a:gd name="connsiteY21" fmla="*/ 939552 h 2673102"/>
                  <a:gd name="connsiteX22" fmla="*/ 1498008 w 1739754"/>
                  <a:gd name="connsiteY22" fmla="*/ 987177 h 2673102"/>
                  <a:gd name="connsiteX23" fmla="*/ 1345608 w 1739754"/>
                  <a:gd name="connsiteY23" fmla="*/ 1030039 h 2673102"/>
                  <a:gd name="connsiteX24" fmla="*/ 1297983 w 1739754"/>
                  <a:gd name="connsiteY24" fmla="*/ 1053852 h 2673102"/>
                  <a:gd name="connsiteX25" fmla="*/ 1231308 w 1739754"/>
                  <a:gd name="connsiteY25" fmla="*/ 1082427 h 2673102"/>
                  <a:gd name="connsiteX26" fmla="*/ 1145583 w 1739754"/>
                  <a:gd name="connsiteY26" fmla="*/ 1091951 h 2673102"/>
                  <a:gd name="connsiteX27" fmla="*/ 1078908 w 1739754"/>
                  <a:gd name="connsiteY27" fmla="*/ 1130052 h 2673102"/>
                  <a:gd name="connsiteX28" fmla="*/ 966990 w 1739754"/>
                  <a:gd name="connsiteY28" fmla="*/ 1122908 h 2673102"/>
                  <a:gd name="connsiteX29" fmla="*/ 859833 w 1739754"/>
                  <a:gd name="connsiteY29" fmla="*/ 1058614 h 2673102"/>
                  <a:gd name="connsiteX30" fmla="*/ 812208 w 1739754"/>
                  <a:gd name="connsiteY30" fmla="*/ 1034802 h 2673102"/>
                  <a:gd name="connsiteX31" fmla="*/ 769346 w 1739754"/>
                  <a:gd name="connsiteY31" fmla="*/ 1006227 h 2673102"/>
                  <a:gd name="connsiteX32" fmla="*/ 678858 w 1739754"/>
                  <a:gd name="connsiteY32" fmla="*/ 958602 h 2673102"/>
                  <a:gd name="connsiteX33" fmla="*/ 645521 w 1739754"/>
                  <a:gd name="connsiteY33" fmla="*/ 939552 h 2673102"/>
                  <a:gd name="connsiteX34" fmla="*/ 526458 w 1739754"/>
                  <a:gd name="connsiteY34" fmla="*/ 910977 h 2673102"/>
                  <a:gd name="connsiteX35" fmla="*/ 421683 w 1739754"/>
                  <a:gd name="connsiteY35" fmla="*/ 882402 h 2673102"/>
                  <a:gd name="connsiteX36" fmla="*/ 321671 w 1739754"/>
                  <a:gd name="connsiteY36" fmla="*/ 896689 h 2673102"/>
                  <a:gd name="connsiteX37" fmla="*/ 283571 w 1739754"/>
                  <a:gd name="connsiteY37" fmla="*/ 949077 h 2673102"/>
                  <a:gd name="connsiteX38" fmla="*/ 264521 w 1739754"/>
                  <a:gd name="connsiteY38" fmla="*/ 1039564 h 2673102"/>
                  <a:gd name="connsiteX39" fmla="*/ 264521 w 1739754"/>
                  <a:gd name="connsiteY39" fmla="*/ 1120527 h 2673102"/>
                  <a:gd name="connsiteX40" fmla="*/ 326433 w 1739754"/>
                  <a:gd name="connsiteY40" fmla="*/ 1163389 h 2673102"/>
                  <a:gd name="connsiteX41" fmla="*/ 326433 w 1739754"/>
                  <a:gd name="connsiteY41" fmla="*/ 1244352 h 2673102"/>
                  <a:gd name="connsiteX42" fmla="*/ 276427 w 1739754"/>
                  <a:gd name="connsiteY42" fmla="*/ 1325314 h 2673102"/>
                  <a:gd name="connsiteX43" fmla="*/ 250233 w 1739754"/>
                  <a:gd name="connsiteY43" fmla="*/ 1425327 h 2673102"/>
                  <a:gd name="connsiteX44" fmla="*/ 278808 w 1739754"/>
                  <a:gd name="connsiteY44" fmla="*/ 1472952 h 2673102"/>
                  <a:gd name="connsiteX45" fmla="*/ 366915 w 1739754"/>
                  <a:gd name="connsiteY45" fmla="*/ 1522958 h 2673102"/>
                  <a:gd name="connsiteX46" fmla="*/ 369295 w 1739754"/>
                  <a:gd name="connsiteY46" fmla="*/ 1480095 h 2673102"/>
                  <a:gd name="connsiteX47" fmla="*/ 416921 w 1739754"/>
                  <a:gd name="connsiteY47" fmla="*/ 1449139 h 2673102"/>
                  <a:gd name="connsiteX48" fmla="*/ 445496 w 1739754"/>
                  <a:gd name="connsiteY48" fmla="*/ 1439614 h 2673102"/>
                  <a:gd name="connsiteX49" fmla="*/ 545508 w 1739754"/>
                  <a:gd name="connsiteY49" fmla="*/ 1458664 h 2673102"/>
                  <a:gd name="connsiteX50" fmla="*/ 555033 w 1739754"/>
                  <a:gd name="connsiteY50" fmla="*/ 1482477 h 2673102"/>
                  <a:gd name="connsiteX51" fmla="*/ 550271 w 1739754"/>
                  <a:gd name="connsiteY51" fmla="*/ 1534864 h 2673102"/>
                  <a:gd name="connsiteX52" fmla="*/ 550271 w 1739754"/>
                  <a:gd name="connsiteY52" fmla="*/ 1601539 h 2673102"/>
                  <a:gd name="connsiteX53" fmla="*/ 559796 w 1739754"/>
                  <a:gd name="connsiteY53" fmla="*/ 1620589 h 2673102"/>
                  <a:gd name="connsiteX54" fmla="*/ 626471 w 1739754"/>
                  <a:gd name="connsiteY54" fmla="*/ 1639639 h 2673102"/>
                  <a:gd name="connsiteX55" fmla="*/ 645521 w 1739754"/>
                  <a:gd name="connsiteY55" fmla="*/ 1592014 h 2673102"/>
                  <a:gd name="connsiteX56" fmla="*/ 702671 w 1739754"/>
                  <a:gd name="connsiteY56" fmla="*/ 1620589 h 2673102"/>
                  <a:gd name="connsiteX57" fmla="*/ 731246 w 1739754"/>
                  <a:gd name="connsiteY57" fmla="*/ 1630114 h 2673102"/>
                  <a:gd name="connsiteX58" fmla="*/ 783633 w 1739754"/>
                  <a:gd name="connsiteY58" fmla="*/ 1663452 h 2673102"/>
                  <a:gd name="connsiteX59" fmla="*/ 859833 w 1739754"/>
                  <a:gd name="connsiteY59" fmla="*/ 1687264 h 2673102"/>
                  <a:gd name="connsiteX60" fmla="*/ 878883 w 1739754"/>
                  <a:gd name="connsiteY60" fmla="*/ 1701552 h 2673102"/>
                  <a:gd name="connsiteX61" fmla="*/ 888408 w 1739754"/>
                  <a:gd name="connsiteY61" fmla="*/ 1739652 h 2673102"/>
                  <a:gd name="connsiteX62" fmla="*/ 897933 w 1739754"/>
                  <a:gd name="connsiteY62" fmla="*/ 1782514 h 2673102"/>
                  <a:gd name="connsiteX63" fmla="*/ 940796 w 1739754"/>
                  <a:gd name="connsiteY63" fmla="*/ 1892052 h 2673102"/>
                  <a:gd name="connsiteX64" fmla="*/ 950321 w 1739754"/>
                  <a:gd name="connsiteY64" fmla="*/ 1906339 h 2673102"/>
                  <a:gd name="connsiteX65" fmla="*/ 959846 w 1739754"/>
                  <a:gd name="connsiteY65" fmla="*/ 1939677 h 2673102"/>
                  <a:gd name="connsiteX66" fmla="*/ 974133 w 1739754"/>
                  <a:gd name="connsiteY66" fmla="*/ 1977777 h 2673102"/>
                  <a:gd name="connsiteX67" fmla="*/ 964608 w 1739754"/>
                  <a:gd name="connsiteY67" fmla="*/ 2082552 h 2673102"/>
                  <a:gd name="connsiteX68" fmla="*/ 955083 w 1739754"/>
                  <a:gd name="connsiteY68" fmla="*/ 2101602 h 2673102"/>
                  <a:gd name="connsiteX69" fmla="*/ 926508 w 1739754"/>
                  <a:gd name="connsiteY69" fmla="*/ 2144464 h 2673102"/>
                  <a:gd name="connsiteX70" fmla="*/ 907458 w 1739754"/>
                  <a:gd name="connsiteY70" fmla="*/ 2192089 h 2673102"/>
                  <a:gd name="connsiteX71" fmla="*/ 902696 w 1739754"/>
                  <a:gd name="connsiteY71" fmla="*/ 2211139 h 2673102"/>
                  <a:gd name="connsiteX72" fmla="*/ 893171 w 1739754"/>
                  <a:gd name="connsiteY72" fmla="*/ 2239714 h 2673102"/>
                  <a:gd name="connsiteX73" fmla="*/ 897933 w 1739754"/>
                  <a:gd name="connsiteY73" fmla="*/ 2287339 h 2673102"/>
                  <a:gd name="connsiteX74" fmla="*/ 893171 w 1739754"/>
                  <a:gd name="connsiteY74" fmla="*/ 2396877 h 2673102"/>
                  <a:gd name="connsiteX75" fmla="*/ 688383 w 1739754"/>
                  <a:gd name="connsiteY75" fmla="*/ 2449264 h 2673102"/>
                  <a:gd name="connsiteX76" fmla="*/ 655046 w 1739754"/>
                  <a:gd name="connsiteY76" fmla="*/ 2473077 h 2673102"/>
                  <a:gd name="connsiteX77" fmla="*/ 607421 w 1739754"/>
                  <a:gd name="connsiteY77" fmla="*/ 2511177 h 2673102"/>
                  <a:gd name="connsiteX78" fmla="*/ 574083 w 1739754"/>
                  <a:gd name="connsiteY78" fmla="*/ 2534989 h 2673102"/>
                  <a:gd name="connsiteX79" fmla="*/ 540746 w 1739754"/>
                  <a:gd name="connsiteY79" fmla="*/ 2554039 h 2673102"/>
                  <a:gd name="connsiteX80" fmla="*/ 497883 w 1739754"/>
                  <a:gd name="connsiteY80" fmla="*/ 2587377 h 2673102"/>
                  <a:gd name="connsiteX81" fmla="*/ 483596 w 1739754"/>
                  <a:gd name="connsiteY81" fmla="*/ 2601664 h 2673102"/>
                  <a:gd name="connsiteX82" fmla="*/ 459783 w 1739754"/>
                  <a:gd name="connsiteY82" fmla="*/ 2620714 h 2673102"/>
                  <a:gd name="connsiteX83" fmla="*/ 450258 w 1739754"/>
                  <a:gd name="connsiteY83" fmla="*/ 2635002 h 2673102"/>
                  <a:gd name="connsiteX84" fmla="*/ 416921 w 1739754"/>
                  <a:gd name="connsiteY84" fmla="*/ 2654052 h 2673102"/>
                  <a:gd name="connsiteX85" fmla="*/ 374058 w 1739754"/>
                  <a:gd name="connsiteY85" fmla="*/ 2673102 h 2673102"/>
                  <a:gd name="connsiteX86" fmla="*/ 359771 w 1739754"/>
                  <a:gd name="connsiteY86" fmla="*/ 2663577 h 2673102"/>
                  <a:gd name="connsiteX87" fmla="*/ 297858 w 1739754"/>
                  <a:gd name="connsiteY87" fmla="*/ 2601664 h 2673102"/>
                  <a:gd name="connsiteX88" fmla="*/ 181177 w 1739754"/>
                  <a:gd name="connsiteY88" fmla="*/ 2456408 h 2673102"/>
                  <a:gd name="connsiteX89" fmla="*/ 150221 w 1739754"/>
                  <a:gd name="connsiteY89" fmla="*/ 2415927 h 2673102"/>
                  <a:gd name="connsiteX90" fmla="*/ 135933 w 1739754"/>
                  <a:gd name="connsiteY90" fmla="*/ 2358777 h 2673102"/>
                  <a:gd name="connsiteX91" fmla="*/ 121646 w 1739754"/>
                  <a:gd name="connsiteY91" fmla="*/ 2315914 h 2673102"/>
                  <a:gd name="connsiteX92" fmla="*/ 88308 w 1739754"/>
                  <a:gd name="connsiteY92" fmla="*/ 2187327 h 2673102"/>
                  <a:gd name="connsiteX93" fmla="*/ 78783 w 1739754"/>
                  <a:gd name="connsiteY93" fmla="*/ 2111127 h 2673102"/>
                  <a:gd name="connsiteX94" fmla="*/ 97833 w 1739754"/>
                  <a:gd name="connsiteY94" fmla="*/ 1944439 h 2673102"/>
                  <a:gd name="connsiteX95" fmla="*/ 135933 w 1739754"/>
                  <a:gd name="connsiteY95" fmla="*/ 1868239 h 2673102"/>
                  <a:gd name="connsiteX96" fmla="*/ 131171 w 1739754"/>
                  <a:gd name="connsiteY96" fmla="*/ 1825377 h 2673102"/>
                  <a:gd name="connsiteX97" fmla="*/ 112121 w 1739754"/>
                  <a:gd name="connsiteY97" fmla="*/ 1820614 h 2673102"/>
                  <a:gd name="connsiteX98" fmla="*/ 102596 w 1739754"/>
                  <a:gd name="connsiteY98" fmla="*/ 1806327 h 2673102"/>
                  <a:gd name="connsiteX99" fmla="*/ 145458 w 1739754"/>
                  <a:gd name="connsiteY99" fmla="*/ 1720602 h 2673102"/>
                  <a:gd name="connsiteX100" fmla="*/ 188321 w 1739754"/>
                  <a:gd name="connsiteY100" fmla="*/ 1687264 h 2673102"/>
                  <a:gd name="connsiteX101" fmla="*/ 202608 w 1739754"/>
                  <a:gd name="connsiteY101" fmla="*/ 1653927 h 2673102"/>
                  <a:gd name="connsiteX102" fmla="*/ 193083 w 1739754"/>
                  <a:gd name="connsiteY102" fmla="*/ 1606302 h 2673102"/>
                  <a:gd name="connsiteX103" fmla="*/ 154983 w 1739754"/>
                  <a:gd name="connsiteY103" fmla="*/ 1549152 h 2673102"/>
                  <a:gd name="connsiteX104" fmla="*/ 140696 w 1739754"/>
                  <a:gd name="connsiteY104" fmla="*/ 1377702 h 2673102"/>
                  <a:gd name="connsiteX105" fmla="*/ 121646 w 1739754"/>
                  <a:gd name="connsiteY105" fmla="*/ 1311027 h 2673102"/>
                  <a:gd name="connsiteX106" fmla="*/ 107358 w 1739754"/>
                  <a:gd name="connsiteY106" fmla="*/ 1244352 h 2673102"/>
                  <a:gd name="connsiteX107" fmla="*/ 78783 w 1739754"/>
                  <a:gd name="connsiteY107" fmla="*/ 1177677 h 2673102"/>
                  <a:gd name="connsiteX108" fmla="*/ 45446 w 1739754"/>
                  <a:gd name="connsiteY108" fmla="*/ 1096714 h 2673102"/>
                  <a:gd name="connsiteX109" fmla="*/ 21633 w 1739754"/>
                  <a:gd name="connsiteY109" fmla="*/ 1025277 h 2673102"/>
                  <a:gd name="connsiteX110" fmla="*/ 202 w 1739754"/>
                  <a:gd name="connsiteY110" fmla="*/ 980033 h 2673102"/>
                  <a:gd name="connsiteX111" fmla="*/ 14490 w 1739754"/>
                  <a:gd name="connsiteY111" fmla="*/ 930027 h 2673102"/>
                  <a:gd name="connsiteX112" fmla="*/ 69259 w 1739754"/>
                  <a:gd name="connsiteY112" fmla="*/ 810964 h 2673102"/>
                  <a:gd name="connsiteX113" fmla="*/ 221658 w 1739754"/>
                  <a:gd name="connsiteY113" fmla="*/ 601414 h 2673102"/>
                  <a:gd name="connsiteX114" fmla="*/ 288333 w 1739754"/>
                  <a:gd name="connsiteY114" fmla="*/ 515689 h 2673102"/>
                  <a:gd name="connsiteX115" fmla="*/ 412158 w 1739754"/>
                  <a:gd name="connsiteY115" fmla="*/ 406152 h 2673102"/>
                  <a:gd name="connsiteX116" fmla="*/ 535983 w 1739754"/>
                  <a:gd name="connsiteY116" fmla="*/ 291851 h 2673102"/>
                  <a:gd name="connsiteX117" fmla="*/ 640758 w 1739754"/>
                  <a:gd name="connsiteY117" fmla="*/ 229939 h 2673102"/>
                  <a:gd name="connsiteX118" fmla="*/ 733628 w 1739754"/>
                  <a:gd name="connsiteY118" fmla="*/ 168026 h 2673102"/>
                  <a:gd name="connsiteX119" fmla="*/ 978896 w 1739754"/>
                  <a:gd name="connsiteY119" fmla="*/ 63251 h 2673102"/>
                  <a:gd name="connsiteX120" fmla="*/ 1159871 w 1739754"/>
                  <a:gd name="connsiteY120" fmla="*/ 6102 h 2673102"/>
                  <a:gd name="connsiteX121" fmla="*/ 1202733 w 1739754"/>
                  <a:gd name="connsiteY121" fmla="*/ 10864 h 2673102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55046 w 1739754"/>
                  <a:gd name="connsiteY76" fmla="*/ 2473077 h 2666451"/>
                  <a:gd name="connsiteX77" fmla="*/ 607421 w 1739754"/>
                  <a:gd name="connsiteY77" fmla="*/ 2511177 h 2666451"/>
                  <a:gd name="connsiteX78" fmla="*/ 574083 w 1739754"/>
                  <a:gd name="connsiteY78" fmla="*/ 2534989 h 2666451"/>
                  <a:gd name="connsiteX79" fmla="*/ 540746 w 1739754"/>
                  <a:gd name="connsiteY79" fmla="*/ 2554039 h 2666451"/>
                  <a:gd name="connsiteX80" fmla="*/ 497883 w 1739754"/>
                  <a:gd name="connsiteY80" fmla="*/ 2587377 h 2666451"/>
                  <a:gd name="connsiteX81" fmla="*/ 483596 w 1739754"/>
                  <a:gd name="connsiteY81" fmla="*/ 2601664 h 2666451"/>
                  <a:gd name="connsiteX82" fmla="*/ 459783 w 1739754"/>
                  <a:gd name="connsiteY82" fmla="*/ 2620714 h 2666451"/>
                  <a:gd name="connsiteX83" fmla="*/ 450258 w 1739754"/>
                  <a:gd name="connsiteY83" fmla="*/ 2635002 h 2666451"/>
                  <a:gd name="connsiteX84" fmla="*/ 416921 w 1739754"/>
                  <a:gd name="connsiteY84" fmla="*/ 2654052 h 2666451"/>
                  <a:gd name="connsiteX85" fmla="*/ 359771 w 1739754"/>
                  <a:gd name="connsiteY85" fmla="*/ 2663577 h 2666451"/>
                  <a:gd name="connsiteX86" fmla="*/ 297858 w 1739754"/>
                  <a:gd name="connsiteY86" fmla="*/ 2601664 h 2666451"/>
                  <a:gd name="connsiteX87" fmla="*/ 181177 w 1739754"/>
                  <a:gd name="connsiteY87" fmla="*/ 2456408 h 2666451"/>
                  <a:gd name="connsiteX88" fmla="*/ 150221 w 1739754"/>
                  <a:gd name="connsiteY88" fmla="*/ 2415927 h 2666451"/>
                  <a:gd name="connsiteX89" fmla="*/ 135933 w 1739754"/>
                  <a:gd name="connsiteY89" fmla="*/ 2358777 h 2666451"/>
                  <a:gd name="connsiteX90" fmla="*/ 121646 w 1739754"/>
                  <a:gd name="connsiteY90" fmla="*/ 2315914 h 2666451"/>
                  <a:gd name="connsiteX91" fmla="*/ 88308 w 1739754"/>
                  <a:gd name="connsiteY91" fmla="*/ 2187327 h 2666451"/>
                  <a:gd name="connsiteX92" fmla="*/ 78783 w 1739754"/>
                  <a:gd name="connsiteY92" fmla="*/ 2111127 h 2666451"/>
                  <a:gd name="connsiteX93" fmla="*/ 97833 w 1739754"/>
                  <a:gd name="connsiteY93" fmla="*/ 1944439 h 2666451"/>
                  <a:gd name="connsiteX94" fmla="*/ 135933 w 1739754"/>
                  <a:gd name="connsiteY94" fmla="*/ 1868239 h 2666451"/>
                  <a:gd name="connsiteX95" fmla="*/ 131171 w 1739754"/>
                  <a:gd name="connsiteY95" fmla="*/ 1825377 h 2666451"/>
                  <a:gd name="connsiteX96" fmla="*/ 112121 w 1739754"/>
                  <a:gd name="connsiteY96" fmla="*/ 1820614 h 2666451"/>
                  <a:gd name="connsiteX97" fmla="*/ 102596 w 1739754"/>
                  <a:gd name="connsiteY97" fmla="*/ 1806327 h 2666451"/>
                  <a:gd name="connsiteX98" fmla="*/ 145458 w 1739754"/>
                  <a:gd name="connsiteY98" fmla="*/ 1720602 h 2666451"/>
                  <a:gd name="connsiteX99" fmla="*/ 188321 w 1739754"/>
                  <a:gd name="connsiteY99" fmla="*/ 1687264 h 2666451"/>
                  <a:gd name="connsiteX100" fmla="*/ 202608 w 1739754"/>
                  <a:gd name="connsiteY100" fmla="*/ 1653927 h 2666451"/>
                  <a:gd name="connsiteX101" fmla="*/ 193083 w 1739754"/>
                  <a:gd name="connsiteY101" fmla="*/ 1606302 h 2666451"/>
                  <a:gd name="connsiteX102" fmla="*/ 154983 w 1739754"/>
                  <a:gd name="connsiteY102" fmla="*/ 1549152 h 2666451"/>
                  <a:gd name="connsiteX103" fmla="*/ 140696 w 1739754"/>
                  <a:gd name="connsiteY103" fmla="*/ 1377702 h 2666451"/>
                  <a:gd name="connsiteX104" fmla="*/ 121646 w 1739754"/>
                  <a:gd name="connsiteY104" fmla="*/ 1311027 h 2666451"/>
                  <a:gd name="connsiteX105" fmla="*/ 107358 w 1739754"/>
                  <a:gd name="connsiteY105" fmla="*/ 1244352 h 2666451"/>
                  <a:gd name="connsiteX106" fmla="*/ 78783 w 1739754"/>
                  <a:gd name="connsiteY106" fmla="*/ 1177677 h 2666451"/>
                  <a:gd name="connsiteX107" fmla="*/ 45446 w 1739754"/>
                  <a:gd name="connsiteY107" fmla="*/ 1096714 h 2666451"/>
                  <a:gd name="connsiteX108" fmla="*/ 21633 w 1739754"/>
                  <a:gd name="connsiteY108" fmla="*/ 1025277 h 2666451"/>
                  <a:gd name="connsiteX109" fmla="*/ 202 w 1739754"/>
                  <a:gd name="connsiteY109" fmla="*/ 980033 h 2666451"/>
                  <a:gd name="connsiteX110" fmla="*/ 14490 w 1739754"/>
                  <a:gd name="connsiteY110" fmla="*/ 930027 h 2666451"/>
                  <a:gd name="connsiteX111" fmla="*/ 69259 w 1739754"/>
                  <a:gd name="connsiteY111" fmla="*/ 810964 h 2666451"/>
                  <a:gd name="connsiteX112" fmla="*/ 221658 w 1739754"/>
                  <a:gd name="connsiteY112" fmla="*/ 601414 h 2666451"/>
                  <a:gd name="connsiteX113" fmla="*/ 288333 w 1739754"/>
                  <a:gd name="connsiteY113" fmla="*/ 515689 h 2666451"/>
                  <a:gd name="connsiteX114" fmla="*/ 412158 w 1739754"/>
                  <a:gd name="connsiteY114" fmla="*/ 406152 h 2666451"/>
                  <a:gd name="connsiteX115" fmla="*/ 535983 w 1739754"/>
                  <a:gd name="connsiteY115" fmla="*/ 291851 h 2666451"/>
                  <a:gd name="connsiteX116" fmla="*/ 640758 w 1739754"/>
                  <a:gd name="connsiteY116" fmla="*/ 229939 h 2666451"/>
                  <a:gd name="connsiteX117" fmla="*/ 733628 w 1739754"/>
                  <a:gd name="connsiteY117" fmla="*/ 168026 h 2666451"/>
                  <a:gd name="connsiteX118" fmla="*/ 978896 w 1739754"/>
                  <a:gd name="connsiteY118" fmla="*/ 63251 h 2666451"/>
                  <a:gd name="connsiteX119" fmla="*/ 1159871 w 1739754"/>
                  <a:gd name="connsiteY119" fmla="*/ 6102 h 2666451"/>
                  <a:gd name="connsiteX120" fmla="*/ 1202733 w 1739754"/>
                  <a:gd name="connsiteY120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55046 w 1739754"/>
                  <a:gd name="connsiteY76" fmla="*/ 2473077 h 2666451"/>
                  <a:gd name="connsiteX77" fmla="*/ 607421 w 1739754"/>
                  <a:gd name="connsiteY77" fmla="*/ 2511177 h 2666451"/>
                  <a:gd name="connsiteX78" fmla="*/ 574083 w 1739754"/>
                  <a:gd name="connsiteY78" fmla="*/ 2534989 h 2666451"/>
                  <a:gd name="connsiteX79" fmla="*/ 540746 w 1739754"/>
                  <a:gd name="connsiteY79" fmla="*/ 2554039 h 2666451"/>
                  <a:gd name="connsiteX80" fmla="*/ 497883 w 1739754"/>
                  <a:gd name="connsiteY80" fmla="*/ 2587377 h 2666451"/>
                  <a:gd name="connsiteX81" fmla="*/ 459783 w 1739754"/>
                  <a:gd name="connsiteY81" fmla="*/ 2620714 h 2666451"/>
                  <a:gd name="connsiteX82" fmla="*/ 450258 w 1739754"/>
                  <a:gd name="connsiteY82" fmla="*/ 2635002 h 2666451"/>
                  <a:gd name="connsiteX83" fmla="*/ 416921 w 1739754"/>
                  <a:gd name="connsiteY83" fmla="*/ 2654052 h 2666451"/>
                  <a:gd name="connsiteX84" fmla="*/ 359771 w 1739754"/>
                  <a:gd name="connsiteY84" fmla="*/ 2663577 h 2666451"/>
                  <a:gd name="connsiteX85" fmla="*/ 297858 w 1739754"/>
                  <a:gd name="connsiteY85" fmla="*/ 2601664 h 2666451"/>
                  <a:gd name="connsiteX86" fmla="*/ 181177 w 1739754"/>
                  <a:gd name="connsiteY86" fmla="*/ 2456408 h 2666451"/>
                  <a:gd name="connsiteX87" fmla="*/ 150221 w 1739754"/>
                  <a:gd name="connsiteY87" fmla="*/ 2415927 h 2666451"/>
                  <a:gd name="connsiteX88" fmla="*/ 135933 w 1739754"/>
                  <a:gd name="connsiteY88" fmla="*/ 2358777 h 2666451"/>
                  <a:gd name="connsiteX89" fmla="*/ 121646 w 1739754"/>
                  <a:gd name="connsiteY89" fmla="*/ 2315914 h 2666451"/>
                  <a:gd name="connsiteX90" fmla="*/ 88308 w 1739754"/>
                  <a:gd name="connsiteY90" fmla="*/ 2187327 h 2666451"/>
                  <a:gd name="connsiteX91" fmla="*/ 78783 w 1739754"/>
                  <a:gd name="connsiteY91" fmla="*/ 2111127 h 2666451"/>
                  <a:gd name="connsiteX92" fmla="*/ 97833 w 1739754"/>
                  <a:gd name="connsiteY92" fmla="*/ 1944439 h 2666451"/>
                  <a:gd name="connsiteX93" fmla="*/ 135933 w 1739754"/>
                  <a:gd name="connsiteY93" fmla="*/ 1868239 h 2666451"/>
                  <a:gd name="connsiteX94" fmla="*/ 131171 w 1739754"/>
                  <a:gd name="connsiteY94" fmla="*/ 1825377 h 2666451"/>
                  <a:gd name="connsiteX95" fmla="*/ 112121 w 1739754"/>
                  <a:gd name="connsiteY95" fmla="*/ 1820614 h 2666451"/>
                  <a:gd name="connsiteX96" fmla="*/ 102596 w 1739754"/>
                  <a:gd name="connsiteY96" fmla="*/ 1806327 h 2666451"/>
                  <a:gd name="connsiteX97" fmla="*/ 145458 w 1739754"/>
                  <a:gd name="connsiteY97" fmla="*/ 1720602 h 2666451"/>
                  <a:gd name="connsiteX98" fmla="*/ 188321 w 1739754"/>
                  <a:gd name="connsiteY98" fmla="*/ 1687264 h 2666451"/>
                  <a:gd name="connsiteX99" fmla="*/ 202608 w 1739754"/>
                  <a:gd name="connsiteY99" fmla="*/ 1653927 h 2666451"/>
                  <a:gd name="connsiteX100" fmla="*/ 193083 w 1739754"/>
                  <a:gd name="connsiteY100" fmla="*/ 1606302 h 2666451"/>
                  <a:gd name="connsiteX101" fmla="*/ 154983 w 1739754"/>
                  <a:gd name="connsiteY101" fmla="*/ 1549152 h 2666451"/>
                  <a:gd name="connsiteX102" fmla="*/ 140696 w 1739754"/>
                  <a:gd name="connsiteY102" fmla="*/ 1377702 h 2666451"/>
                  <a:gd name="connsiteX103" fmla="*/ 121646 w 1739754"/>
                  <a:gd name="connsiteY103" fmla="*/ 1311027 h 2666451"/>
                  <a:gd name="connsiteX104" fmla="*/ 107358 w 1739754"/>
                  <a:gd name="connsiteY104" fmla="*/ 1244352 h 2666451"/>
                  <a:gd name="connsiteX105" fmla="*/ 78783 w 1739754"/>
                  <a:gd name="connsiteY105" fmla="*/ 1177677 h 2666451"/>
                  <a:gd name="connsiteX106" fmla="*/ 45446 w 1739754"/>
                  <a:gd name="connsiteY106" fmla="*/ 1096714 h 2666451"/>
                  <a:gd name="connsiteX107" fmla="*/ 21633 w 1739754"/>
                  <a:gd name="connsiteY107" fmla="*/ 1025277 h 2666451"/>
                  <a:gd name="connsiteX108" fmla="*/ 202 w 1739754"/>
                  <a:gd name="connsiteY108" fmla="*/ 980033 h 2666451"/>
                  <a:gd name="connsiteX109" fmla="*/ 14490 w 1739754"/>
                  <a:gd name="connsiteY109" fmla="*/ 930027 h 2666451"/>
                  <a:gd name="connsiteX110" fmla="*/ 69259 w 1739754"/>
                  <a:gd name="connsiteY110" fmla="*/ 810964 h 2666451"/>
                  <a:gd name="connsiteX111" fmla="*/ 221658 w 1739754"/>
                  <a:gd name="connsiteY111" fmla="*/ 601414 h 2666451"/>
                  <a:gd name="connsiteX112" fmla="*/ 288333 w 1739754"/>
                  <a:gd name="connsiteY112" fmla="*/ 515689 h 2666451"/>
                  <a:gd name="connsiteX113" fmla="*/ 412158 w 1739754"/>
                  <a:gd name="connsiteY113" fmla="*/ 406152 h 2666451"/>
                  <a:gd name="connsiteX114" fmla="*/ 535983 w 1739754"/>
                  <a:gd name="connsiteY114" fmla="*/ 291851 h 2666451"/>
                  <a:gd name="connsiteX115" fmla="*/ 640758 w 1739754"/>
                  <a:gd name="connsiteY115" fmla="*/ 229939 h 2666451"/>
                  <a:gd name="connsiteX116" fmla="*/ 733628 w 1739754"/>
                  <a:gd name="connsiteY116" fmla="*/ 168026 h 2666451"/>
                  <a:gd name="connsiteX117" fmla="*/ 978896 w 1739754"/>
                  <a:gd name="connsiteY117" fmla="*/ 63251 h 2666451"/>
                  <a:gd name="connsiteX118" fmla="*/ 1159871 w 1739754"/>
                  <a:gd name="connsiteY118" fmla="*/ 6102 h 2666451"/>
                  <a:gd name="connsiteX119" fmla="*/ 1202733 w 1739754"/>
                  <a:gd name="connsiteY119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55046 w 1739754"/>
                  <a:gd name="connsiteY76" fmla="*/ 2473077 h 2666451"/>
                  <a:gd name="connsiteX77" fmla="*/ 607421 w 1739754"/>
                  <a:gd name="connsiteY77" fmla="*/ 2511177 h 2666451"/>
                  <a:gd name="connsiteX78" fmla="*/ 574083 w 1739754"/>
                  <a:gd name="connsiteY78" fmla="*/ 2534989 h 2666451"/>
                  <a:gd name="connsiteX79" fmla="*/ 540746 w 1739754"/>
                  <a:gd name="connsiteY79" fmla="*/ 2554039 h 2666451"/>
                  <a:gd name="connsiteX80" fmla="*/ 497883 w 1739754"/>
                  <a:gd name="connsiteY80" fmla="*/ 2587377 h 2666451"/>
                  <a:gd name="connsiteX81" fmla="*/ 450258 w 1739754"/>
                  <a:gd name="connsiteY81" fmla="*/ 2635002 h 2666451"/>
                  <a:gd name="connsiteX82" fmla="*/ 416921 w 1739754"/>
                  <a:gd name="connsiteY82" fmla="*/ 2654052 h 2666451"/>
                  <a:gd name="connsiteX83" fmla="*/ 359771 w 1739754"/>
                  <a:gd name="connsiteY83" fmla="*/ 2663577 h 2666451"/>
                  <a:gd name="connsiteX84" fmla="*/ 297858 w 1739754"/>
                  <a:gd name="connsiteY84" fmla="*/ 2601664 h 2666451"/>
                  <a:gd name="connsiteX85" fmla="*/ 181177 w 1739754"/>
                  <a:gd name="connsiteY85" fmla="*/ 2456408 h 2666451"/>
                  <a:gd name="connsiteX86" fmla="*/ 150221 w 1739754"/>
                  <a:gd name="connsiteY86" fmla="*/ 2415927 h 2666451"/>
                  <a:gd name="connsiteX87" fmla="*/ 135933 w 1739754"/>
                  <a:gd name="connsiteY87" fmla="*/ 2358777 h 2666451"/>
                  <a:gd name="connsiteX88" fmla="*/ 121646 w 1739754"/>
                  <a:gd name="connsiteY88" fmla="*/ 2315914 h 2666451"/>
                  <a:gd name="connsiteX89" fmla="*/ 88308 w 1739754"/>
                  <a:gd name="connsiteY89" fmla="*/ 2187327 h 2666451"/>
                  <a:gd name="connsiteX90" fmla="*/ 78783 w 1739754"/>
                  <a:gd name="connsiteY90" fmla="*/ 2111127 h 2666451"/>
                  <a:gd name="connsiteX91" fmla="*/ 97833 w 1739754"/>
                  <a:gd name="connsiteY91" fmla="*/ 1944439 h 2666451"/>
                  <a:gd name="connsiteX92" fmla="*/ 135933 w 1739754"/>
                  <a:gd name="connsiteY92" fmla="*/ 1868239 h 2666451"/>
                  <a:gd name="connsiteX93" fmla="*/ 131171 w 1739754"/>
                  <a:gd name="connsiteY93" fmla="*/ 1825377 h 2666451"/>
                  <a:gd name="connsiteX94" fmla="*/ 112121 w 1739754"/>
                  <a:gd name="connsiteY94" fmla="*/ 1820614 h 2666451"/>
                  <a:gd name="connsiteX95" fmla="*/ 102596 w 1739754"/>
                  <a:gd name="connsiteY95" fmla="*/ 1806327 h 2666451"/>
                  <a:gd name="connsiteX96" fmla="*/ 145458 w 1739754"/>
                  <a:gd name="connsiteY96" fmla="*/ 1720602 h 2666451"/>
                  <a:gd name="connsiteX97" fmla="*/ 188321 w 1739754"/>
                  <a:gd name="connsiteY97" fmla="*/ 1687264 h 2666451"/>
                  <a:gd name="connsiteX98" fmla="*/ 202608 w 1739754"/>
                  <a:gd name="connsiteY98" fmla="*/ 1653927 h 2666451"/>
                  <a:gd name="connsiteX99" fmla="*/ 193083 w 1739754"/>
                  <a:gd name="connsiteY99" fmla="*/ 1606302 h 2666451"/>
                  <a:gd name="connsiteX100" fmla="*/ 154983 w 1739754"/>
                  <a:gd name="connsiteY100" fmla="*/ 1549152 h 2666451"/>
                  <a:gd name="connsiteX101" fmla="*/ 140696 w 1739754"/>
                  <a:gd name="connsiteY101" fmla="*/ 1377702 h 2666451"/>
                  <a:gd name="connsiteX102" fmla="*/ 121646 w 1739754"/>
                  <a:gd name="connsiteY102" fmla="*/ 1311027 h 2666451"/>
                  <a:gd name="connsiteX103" fmla="*/ 107358 w 1739754"/>
                  <a:gd name="connsiteY103" fmla="*/ 1244352 h 2666451"/>
                  <a:gd name="connsiteX104" fmla="*/ 78783 w 1739754"/>
                  <a:gd name="connsiteY104" fmla="*/ 1177677 h 2666451"/>
                  <a:gd name="connsiteX105" fmla="*/ 45446 w 1739754"/>
                  <a:gd name="connsiteY105" fmla="*/ 1096714 h 2666451"/>
                  <a:gd name="connsiteX106" fmla="*/ 21633 w 1739754"/>
                  <a:gd name="connsiteY106" fmla="*/ 1025277 h 2666451"/>
                  <a:gd name="connsiteX107" fmla="*/ 202 w 1739754"/>
                  <a:gd name="connsiteY107" fmla="*/ 980033 h 2666451"/>
                  <a:gd name="connsiteX108" fmla="*/ 14490 w 1739754"/>
                  <a:gd name="connsiteY108" fmla="*/ 930027 h 2666451"/>
                  <a:gd name="connsiteX109" fmla="*/ 69259 w 1739754"/>
                  <a:gd name="connsiteY109" fmla="*/ 810964 h 2666451"/>
                  <a:gd name="connsiteX110" fmla="*/ 221658 w 1739754"/>
                  <a:gd name="connsiteY110" fmla="*/ 601414 h 2666451"/>
                  <a:gd name="connsiteX111" fmla="*/ 288333 w 1739754"/>
                  <a:gd name="connsiteY111" fmla="*/ 515689 h 2666451"/>
                  <a:gd name="connsiteX112" fmla="*/ 412158 w 1739754"/>
                  <a:gd name="connsiteY112" fmla="*/ 406152 h 2666451"/>
                  <a:gd name="connsiteX113" fmla="*/ 535983 w 1739754"/>
                  <a:gd name="connsiteY113" fmla="*/ 291851 h 2666451"/>
                  <a:gd name="connsiteX114" fmla="*/ 640758 w 1739754"/>
                  <a:gd name="connsiteY114" fmla="*/ 229939 h 2666451"/>
                  <a:gd name="connsiteX115" fmla="*/ 733628 w 1739754"/>
                  <a:gd name="connsiteY115" fmla="*/ 168026 h 2666451"/>
                  <a:gd name="connsiteX116" fmla="*/ 978896 w 1739754"/>
                  <a:gd name="connsiteY116" fmla="*/ 63251 h 2666451"/>
                  <a:gd name="connsiteX117" fmla="*/ 1159871 w 1739754"/>
                  <a:gd name="connsiteY117" fmla="*/ 6102 h 2666451"/>
                  <a:gd name="connsiteX118" fmla="*/ 1202733 w 1739754"/>
                  <a:gd name="connsiteY118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55046 w 1739754"/>
                  <a:gd name="connsiteY76" fmla="*/ 2473077 h 2666451"/>
                  <a:gd name="connsiteX77" fmla="*/ 607421 w 1739754"/>
                  <a:gd name="connsiteY77" fmla="*/ 2511177 h 2666451"/>
                  <a:gd name="connsiteX78" fmla="*/ 540746 w 1739754"/>
                  <a:gd name="connsiteY78" fmla="*/ 2554039 h 2666451"/>
                  <a:gd name="connsiteX79" fmla="*/ 497883 w 1739754"/>
                  <a:gd name="connsiteY79" fmla="*/ 2587377 h 2666451"/>
                  <a:gd name="connsiteX80" fmla="*/ 450258 w 1739754"/>
                  <a:gd name="connsiteY80" fmla="*/ 2635002 h 2666451"/>
                  <a:gd name="connsiteX81" fmla="*/ 416921 w 1739754"/>
                  <a:gd name="connsiteY81" fmla="*/ 2654052 h 2666451"/>
                  <a:gd name="connsiteX82" fmla="*/ 359771 w 1739754"/>
                  <a:gd name="connsiteY82" fmla="*/ 2663577 h 2666451"/>
                  <a:gd name="connsiteX83" fmla="*/ 297858 w 1739754"/>
                  <a:gd name="connsiteY83" fmla="*/ 2601664 h 2666451"/>
                  <a:gd name="connsiteX84" fmla="*/ 181177 w 1739754"/>
                  <a:gd name="connsiteY84" fmla="*/ 2456408 h 2666451"/>
                  <a:gd name="connsiteX85" fmla="*/ 150221 w 1739754"/>
                  <a:gd name="connsiteY85" fmla="*/ 2415927 h 2666451"/>
                  <a:gd name="connsiteX86" fmla="*/ 135933 w 1739754"/>
                  <a:gd name="connsiteY86" fmla="*/ 2358777 h 2666451"/>
                  <a:gd name="connsiteX87" fmla="*/ 121646 w 1739754"/>
                  <a:gd name="connsiteY87" fmla="*/ 2315914 h 2666451"/>
                  <a:gd name="connsiteX88" fmla="*/ 88308 w 1739754"/>
                  <a:gd name="connsiteY88" fmla="*/ 2187327 h 2666451"/>
                  <a:gd name="connsiteX89" fmla="*/ 78783 w 1739754"/>
                  <a:gd name="connsiteY89" fmla="*/ 2111127 h 2666451"/>
                  <a:gd name="connsiteX90" fmla="*/ 97833 w 1739754"/>
                  <a:gd name="connsiteY90" fmla="*/ 1944439 h 2666451"/>
                  <a:gd name="connsiteX91" fmla="*/ 135933 w 1739754"/>
                  <a:gd name="connsiteY91" fmla="*/ 1868239 h 2666451"/>
                  <a:gd name="connsiteX92" fmla="*/ 131171 w 1739754"/>
                  <a:gd name="connsiteY92" fmla="*/ 1825377 h 2666451"/>
                  <a:gd name="connsiteX93" fmla="*/ 112121 w 1739754"/>
                  <a:gd name="connsiteY93" fmla="*/ 1820614 h 2666451"/>
                  <a:gd name="connsiteX94" fmla="*/ 102596 w 1739754"/>
                  <a:gd name="connsiteY94" fmla="*/ 1806327 h 2666451"/>
                  <a:gd name="connsiteX95" fmla="*/ 145458 w 1739754"/>
                  <a:gd name="connsiteY95" fmla="*/ 1720602 h 2666451"/>
                  <a:gd name="connsiteX96" fmla="*/ 188321 w 1739754"/>
                  <a:gd name="connsiteY96" fmla="*/ 1687264 h 2666451"/>
                  <a:gd name="connsiteX97" fmla="*/ 202608 w 1739754"/>
                  <a:gd name="connsiteY97" fmla="*/ 1653927 h 2666451"/>
                  <a:gd name="connsiteX98" fmla="*/ 193083 w 1739754"/>
                  <a:gd name="connsiteY98" fmla="*/ 1606302 h 2666451"/>
                  <a:gd name="connsiteX99" fmla="*/ 154983 w 1739754"/>
                  <a:gd name="connsiteY99" fmla="*/ 1549152 h 2666451"/>
                  <a:gd name="connsiteX100" fmla="*/ 140696 w 1739754"/>
                  <a:gd name="connsiteY100" fmla="*/ 1377702 h 2666451"/>
                  <a:gd name="connsiteX101" fmla="*/ 121646 w 1739754"/>
                  <a:gd name="connsiteY101" fmla="*/ 1311027 h 2666451"/>
                  <a:gd name="connsiteX102" fmla="*/ 107358 w 1739754"/>
                  <a:gd name="connsiteY102" fmla="*/ 1244352 h 2666451"/>
                  <a:gd name="connsiteX103" fmla="*/ 78783 w 1739754"/>
                  <a:gd name="connsiteY103" fmla="*/ 1177677 h 2666451"/>
                  <a:gd name="connsiteX104" fmla="*/ 45446 w 1739754"/>
                  <a:gd name="connsiteY104" fmla="*/ 1096714 h 2666451"/>
                  <a:gd name="connsiteX105" fmla="*/ 21633 w 1739754"/>
                  <a:gd name="connsiteY105" fmla="*/ 1025277 h 2666451"/>
                  <a:gd name="connsiteX106" fmla="*/ 202 w 1739754"/>
                  <a:gd name="connsiteY106" fmla="*/ 980033 h 2666451"/>
                  <a:gd name="connsiteX107" fmla="*/ 14490 w 1739754"/>
                  <a:gd name="connsiteY107" fmla="*/ 930027 h 2666451"/>
                  <a:gd name="connsiteX108" fmla="*/ 69259 w 1739754"/>
                  <a:gd name="connsiteY108" fmla="*/ 810964 h 2666451"/>
                  <a:gd name="connsiteX109" fmla="*/ 221658 w 1739754"/>
                  <a:gd name="connsiteY109" fmla="*/ 601414 h 2666451"/>
                  <a:gd name="connsiteX110" fmla="*/ 288333 w 1739754"/>
                  <a:gd name="connsiteY110" fmla="*/ 515689 h 2666451"/>
                  <a:gd name="connsiteX111" fmla="*/ 412158 w 1739754"/>
                  <a:gd name="connsiteY111" fmla="*/ 406152 h 2666451"/>
                  <a:gd name="connsiteX112" fmla="*/ 535983 w 1739754"/>
                  <a:gd name="connsiteY112" fmla="*/ 291851 h 2666451"/>
                  <a:gd name="connsiteX113" fmla="*/ 640758 w 1739754"/>
                  <a:gd name="connsiteY113" fmla="*/ 229939 h 2666451"/>
                  <a:gd name="connsiteX114" fmla="*/ 733628 w 1739754"/>
                  <a:gd name="connsiteY114" fmla="*/ 168026 h 2666451"/>
                  <a:gd name="connsiteX115" fmla="*/ 978896 w 1739754"/>
                  <a:gd name="connsiteY115" fmla="*/ 63251 h 2666451"/>
                  <a:gd name="connsiteX116" fmla="*/ 1159871 w 1739754"/>
                  <a:gd name="connsiteY116" fmla="*/ 6102 h 2666451"/>
                  <a:gd name="connsiteX117" fmla="*/ 1202733 w 1739754"/>
                  <a:gd name="connsiteY117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07421 w 1739754"/>
                  <a:gd name="connsiteY76" fmla="*/ 2511177 h 2666451"/>
                  <a:gd name="connsiteX77" fmla="*/ 540746 w 1739754"/>
                  <a:gd name="connsiteY77" fmla="*/ 2554039 h 2666451"/>
                  <a:gd name="connsiteX78" fmla="*/ 497883 w 1739754"/>
                  <a:gd name="connsiteY78" fmla="*/ 2587377 h 2666451"/>
                  <a:gd name="connsiteX79" fmla="*/ 450258 w 1739754"/>
                  <a:gd name="connsiteY79" fmla="*/ 2635002 h 2666451"/>
                  <a:gd name="connsiteX80" fmla="*/ 416921 w 1739754"/>
                  <a:gd name="connsiteY80" fmla="*/ 2654052 h 2666451"/>
                  <a:gd name="connsiteX81" fmla="*/ 359771 w 1739754"/>
                  <a:gd name="connsiteY81" fmla="*/ 2663577 h 2666451"/>
                  <a:gd name="connsiteX82" fmla="*/ 297858 w 1739754"/>
                  <a:gd name="connsiteY82" fmla="*/ 2601664 h 2666451"/>
                  <a:gd name="connsiteX83" fmla="*/ 181177 w 1739754"/>
                  <a:gd name="connsiteY83" fmla="*/ 2456408 h 2666451"/>
                  <a:gd name="connsiteX84" fmla="*/ 150221 w 1739754"/>
                  <a:gd name="connsiteY84" fmla="*/ 2415927 h 2666451"/>
                  <a:gd name="connsiteX85" fmla="*/ 135933 w 1739754"/>
                  <a:gd name="connsiteY85" fmla="*/ 2358777 h 2666451"/>
                  <a:gd name="connsiteX86" fmla="*/ 121646 w 1739754"/>
                  <a:gd name="connsiteY86" fmla="*/ 2315914 h 2666451"/>
                  <a:gd name="connsiteX87" fmla="*/ 88308 w 1739754"/>
                  <a:gd name="connsiteY87" fmla="*/ 2187327 h 2666451"/>
                  <a:gd name="connsiteX88" fmla="*/ 78783 w 1739754"/>
                  <a:gd name="connsiteY88" fmla="*/ 2111127 h 2666451"/>
                  <a:gd name="connsiteX89" fmla="*/ 97833 w 1739754"/>
                  <a:gd name="connsiteY89" fmla="*/ 1944439 h 2666451"/>
                  <a:gd name="connsiteX90" fmla="*/ 135933 w 1739754"/>
                  <a:gd name="connsiteY90" fmla="*/ 1868239 h 2666451"/>
                  <a:gd name="connsiteX91" fmla="*/ 131171 w 1739754"/>
                  <a:gd name="connsiteY91" fmla="*/ 1825377 h 2666451"/>
                  <a:gd name="connsiteX92" fmla="*/ 112121 w 1739754"/>
                  <a:gd name="connsiteY92" fmla="*/ 1820614 h 2666451"/>
                  <a:gd name="connsiteX93" fmla="*/ 102596 w 1739754"/>
                  <a:gd name="connsiteY93" fmla="*/ 1806327 h 2666451"/>
                  <a:gd name="connsiteX94" fmla="*/ 145458 w 1739754"/>
                  <a:gd name="connsiteY94" fmla="*/ 1720602 h 2666451"/>
                  <a:gd name="connsiteX95" fmla="*/ 188321 w 1739754"/>
                  <a:gd name="connsiteY95" fmla="*/ 1687264 h 2666451"/>
                  <a:gd name="connsiteX96" fmla="*/ 202608 w 1739754"/>
                  <a:gd name="connsiteY96" fmla="*/ 1653927 h 2666451"/>
                  <a:gd name="connsiteX97" fmla="*/ 193083 w 1739754"/>
                  <a:gd name="connsiteY97" fmla="*/ 1606302 h 2666451"/>
                  <a:gd name="connsiteX98" fmla="*/ 154983 w 1739754"/>
                  <a:gd name="connsiteY98" fmla="*/ 1549152 h 2666451"/>
                  <a:gd name="connsiteX99" fmla="*/ 140696 w 1739754"/>
                  <a:gd name="connsiteY99" fmla="*/ 1377702 h 2666451"/>
                  <a:gd name="connsiteX100" fmla="*/ 121646 w 1739754"/>
                  <a:gd name="connsiteY100" fmla="*/ 1311027 h 2666451"/>
                  <a:gd name="connsiteX101" fmla="*/ 107358 w 1739754"/>
                  <a:gd name="connsiteY101" fmla="*/ 1244352 h 2666451"/>
                  <a:gd name="connsiteX102" fmla="*/ 78783 w 1739754"/>
                  <a:gd name="connsiteY102" fmla="*/ 1177677 h 2666451"/>
                  <a:gd name="connsiteX103" fmla="*/ 45446 w 1739754"/>
                  <a:gd name="connsiteY103" fmla="*/ 1096714 h 2666451"/>
                  <a:gd name="connsiteX104" fmla="*/ 21633 w 1739754"/>
                  <a:gd name="connsiteY104" fmla="*/ 1025277 h 2666451"/>
                  <a:gd name="connsiteX105" fmla="*/ 202 w 1739754"/>
                  <a:gd name="connsiteY105" fmla="*/ 980033 h 2666451"/>
                  <a:gd name="connsiteX106" fmla="*/ 14490 w 1739754"/>
                  <a:gd name="connsiteY106" fmla="*/ 930027 h 2666451"/>
                  <a:gd name="connsiteX107" fmla="*/ 69259 w 1739754"/>
                  <a:gd name="connsiteY107" fmla="*/ 810964 h 2666451"/>
                  <a:gd name="connsiteX108" fmla="*/ 221658 w 1739754"/>
                  <a:gd name="connsiteY108" fmla="*/ 601414 h 2666451"/>
                  <a:gd name="connsiteX109" fmla="*/ 288333 w 1739754"/>
                  <a:gd name="connsiteY109" fmla="*/ 515689 h 2666451"/>
                  <a:gd name="connsiteX110" fmla="*/ 412158 w 1739754"/>
                  <a:gd name="connsiteY110" fmla="*/ 406152 h 2666451"/>
                  <a:gd name="connsiteX111" fmla="*/ 535983 w 1739754"/>
                  <a:gd name="connsiteY111" fmla="*/ 291851 h 2666451"/>
                  <a:gd name="connsiteX112" fmla="*/ 640758 w 1739754"/>
                  <a:gd name="connsiteY112" fmla="*/ 229939 h 2666451"/>
                  <a:gd name="connsiteX113" fmla="*/ 733628 w 1739754"/>
                  <a:gd name="connsiteY113" fmla="*/ 168026 h 2666451"/>
                  <a:gd name="connsiteX114" fmla="*/ 978896 w 1739754"/>
                  <a:gd name="connsiteY114" fmla="*/ 63251 h 2666451"/>
                  <a:gd name="connsiteX115" fmla="*/ 1159871 w 1739754"/>
                  <a:gd name="connsiteY115" fmla="*/ 6102 h 2666451"/>
                  <a:gd name="connsiteX116" fmla="*/ 1202733 w 1739754"/>
                  <a:gd name="connsiteY116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902696 w 1739754"/>
                  <a:gd name="connsiteY71" fmla="*/ 2211139 h 2666451"/>
                  <a:gd name="connsiteX72" fmla="*/ 893171 w 1739754"/>
                  <a:gd name="connsiteY72" fmla="*/ 2239714 h 2666451"/>
                  <a:gd name="connsiteX73" fmla="*/ 897933 w 1739754"/>
                  <a:gd name="connsiteY73" fmla="*/ 2287339 h 2666451"/>
                  <a:gd name="connsiteX74" fmla="*/ 893171 w 1739754"/>
                  <a:gd name="connsiteY74" fmla="*/ 2396877 h 2666451"/>
                  <a:gd name="connsiteX75" fmla="*/ 688383 w 1739754"/>
                  <a:gd name="connsiteY75" fmla="*/ 2449264 h 2666451"/>
                  <a:gd name="connsiteX76" fmla="*/ 607421 w 1739754"/>
                  <a:gd name="connsiteY76" fmla="*/ 2511177 h 2666451"/>
                  <a:gd name="connsiteX77" fmla="*/ 540746 w 1739754"/>
                  <a:gd name="connsiteY77" fmla="*/ 2554039 h 2666451"/>
                  <a:gd name="connsiteX78" fmla="*/ 497883 w 1739754"/>
                  <a:gd name="connsiteY78" fmla="*/ 2587377 h 2666451"/>
                  <a:gd name="connsiteX79" fmla="*/ 450258 w 1739754"/>
                  <a:gd name="connsiteY79" fmla="*/ 2635002 h 2666451"/>
                  <a:gd name="connsiteX80" fmla="*/ 416921 w 1739754"/>
                  <a:gd name="connsiteY80" fmla="*/ 2654052 h 2666451"/>
                  <a:gd name="connsiteX81" fmla="*/ 359771 w 1739754"/>
                  <a:gd name="connsiteY81" fmla="*/ 2663577 h 2666451"/>
                  <a:gd name="connsiteX82" fmla="*/ 297858 w 1739754"/>
                  <a:gd name="connsiteY82" fmla="*/ 2601664 h 2666451"/>
                  <a:gd name="connsiteX83" fmla="*/ 181177 w 1739754"/>
                  <a:gd name="connsiteY83" fmla="*/ 2456408 h 2666451"/>
                  <a:gd name="connsiteX84" fmla="*/ 150221 w 1739754"/>
                  <a:gd name="connsiteY84" fmla="*/ 2415927 h 2666451"/>
                  <a:gd name="connsiteX85" fmla="*/ 135933 w 1739754"/>
                  <a:gd name="connsiteY85" fmla="*/ 2358777 h 2666451"/>
                  <a:gd name="connsiteX86" fmla="*/ 121646 w 1739754"/>
                  <a:gd name="connsiteY86" fmla="*/ 2315914 h 2666451"/>
                  <a:gd name="connsiteX87" fmla="*/ 88308 w 1739754"/>
                  <a:gd name="connsiteY87" fmla="*/ 2187327 h 2666451"/>
                  <a:gd name="connsiteX88" fmla="*/ 78783 w 1739754"/>
                  <a:gd name="connsiteY88" fmla="*/ 2111127 h 2666451"/>
                  <a:gd name="connsiteX89" fmla="*/ 97833 w 1739754"/>
                  <a:gd name="connsiteY89" fmla="*/ 1944439 h 2666451"/>
                  <a:gd name="connsiteX90" fmla="*/ 135933 w 1739754"/>
                  <a:gd name="connsiteY90" fmla="*/ 1868239 h 2666451"/>
                  <a:gd name="connsiteX91" fmla="*/ 131171 w 1739754"/>
                  <a:gd name="connsiteY91" fmla="*/ 1825377 h 2666451"/>
                  <a:gd name="connsiteX92" fmla="*/ 112121 w 1739754"/>
                  <a:gd name="connsiteY92" fmla="*/ 1820614 h 2666451"/>
                  <a:gd name="connsiteX93" fmla="*/ 102596 w 1739754"/>
                  <a:gd name="connsiteY93" fmla="*/ 1806327 h 2666451"/>
                  <a:gd name="connsiteX94" fmla="*/ 145458 w 1739754"/>
                  <a:gd name="connsiteY94" fmla="*/ 1720602 h 2666451"/>
                  <a:gd name="connsiteX95" fmla="*/ 188321 w 1739754"/>
                  <a:gd name="connsiteY95" fmla="*/ 1687264 h 2666451"/>
                  <a:gd name="connsiteX96" fmla="*/ 202608 w 1739754"/>
                  <a:gd name="connsiteY96" fmla="*/ 1653927 h 2666451"/>
                  <a:gd name="connsiteX97" fmla="*/ 193083 w 1739754"/>
                  <a:gd name="connsiteY97" fmla="*/ 1606302 h 2666451"/>
                  <a:gd name="connsiteX98" fmla="*/ 154983 w 1739754"/>
                  <a:gd name="connsiteY98" fmla="*/ 1549152 h 2666451"/>
                  <a:gd name="connsiteX99" fmla="*/ 140696 w 1739754"/>
                  <a:gd name="connsiteY99" fmla="*/ 1377702 h 2666451"/>
                  <a:gd name="connsiteX100" fmla="*/ 121646 w 1739754"/>
                  <a:gd name="connsiteY100" fmla="*/ 1311027 h 2666451"/>
                  <a:gd name="connsiteX101" fmla="*/ 107358 w 1739754"/>
                  <a:gd name="connsiteY101" fmla="*/ 1244352 h 2666451"/>
                  <a:gd name="connsiteX102" fmla="*/ 78783 w 1739754"/>
                  <a:gd name="connsiteY102" fmla="*/ 1177677 h 2666451"/>
                  <a:gd name="connsiteX103" fmla="*/ 45446 w 1739754"/>
                  <a:gd name="connsiteY103" fmla="*/ 1096714 h 2666451"/>
                  <a:gd name="connsiteX104" fmla="*/ 21633 w 1739754"/>
                  <a:gd name="connsiteY104" fmla="*/ 1025277 h 2666451"/>
                  <a:gd name="connsiteX105" fmla="*/ 202 w 1739754"/>
                  <a:gd name="connsiteY105" fmla="*/ 980033 h 2666451"/>
                  <a:gd name="connsiteX106" fmla="*/ 14490 w 1739754"/>
                  <a:gd name="connsiteY106" fmla="*/ 930027 h 2666451"/>
                  <a:gd name="connsiteX107" fmla="*/ 69259 w 1739754"/>
                  <a:gd name="connsiteY107" fmla="*/ 810964 h 2666451"/>
                  <a:gd name="connsiteX108" fmla="*/ 221658 w 1739754"/>
                  <a:gd name="connsiteY108" fmla="*/ 601414 h 2666451"/>
                  <a:gd name="connsiteX109" fmla="*/ 288333 w 1739754"/>
                  <a:gd name="connsiteY109" fmla="*/ 515689 h 2666451"/>
                  <a:gd name="connsiteX110" fmla="*/ 412158 w 1739754"/>
                  <a:gd name="connsiteY110" fmla="*/ 406152 h 2666451"/>
                  <a:gd name="connsiteX111" fmla="*/ 535983 w 1739754"/>
                  <a:gd name="connsiteY111" fmla="*/ 291851 h 2666451"/>
                  <a:gd name="connsiteX112" fmla="*/ 640758 w 1739754"/>
                  <a:gd name="connsiteY112" fmla="*/ 229939 h 2666451"/>
                  <a:gd name="connsiteX113" fmla="*/ 733628 w 1739754"/>
                  <a:gd name="connsiteY113" fmla="*/ 168026 h 2666451"/>
                  <a:gd name="connsiteX114" fmla="*/ 978896 w 1739754"/>
                  <a:gd name="connsiteY114" fmla="*/ 63251 h 2666451"/>
                  <a:gd name="connsiteX115" fmla="*/ 1159871 w 1739754"/>
                  <a:gd name="connsiteY115" fmla="*/ 6102 h 2666451"/>
                  <a:gd name="connsiteX116" fmla="*/ 1202733 w 1739754"/>
                  <a:gd name="connsiteY116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55083 w 1739754"/>
                  <a:gd name="connsiteY68" fmla="*/ 2101602 h 2666451"/>
                  <a:gd name="connsiteX69" fmla="*/ 926508 w 1739754"/>
                  <a:gd name="connsiteY69" fmla="*/ 2144464 h 2666451"/>
                  <a:gd name="connsiteX70" fmla="*/ 907458 w 1739754"/>
                  <a:gd name="connsiteY70" fmla="*/ 2192089 h 2666451"/>
                  <a:gd name="connsiteX71" fmla="*/ 893171 w 1739754"/>
                  <a:gd name="connsiteY71" fmla="*/ 2239714 h 2666451"/>
                  <a:gd name="connsiteX72" fmla="*/ 897933 w 1739754"/>
                  <a:gd name="connsiteY72" fmla="*/ 2287339 h 2666451"/>
                  <a:gd name="connsiteX73" fmla="*/ 893171 w 1739754"/>
                  <a:gd name="connsiteY73" fmla="*/ 2396877 h 2666451"/>
                  <a:gd name="connsiteX74" fmla="*/ 688383 w 1739754"/>
                  <a:gd name="connsiteY74" fmla="*/ 2449264 h 2666451"/>
                  <a:gd name="connsiteX75" fmla="*/ 607421 w 1739754"/>
                  <a:gd name="connsiteY75" fmla="*/ 2511177 h 2666451"/>
                  <a:gd name="connsiteX76" fmla="*/ 540746 w 1739754"/>
                  <a:gd name="connsiteY76" fmla="*/ 2554039 h 2666451"/>
                  <a:gd name="connsiteX77" fmla="*/ 497883 w 1739754"/>
                  <a:gd name="connsiteY77" fmla="*/ 2587377 h 2666451"/>
                  <a:gd name="connsiteX78" fmla="*/ 450258 w 1739754"/>
                  <a:gd name="connsiteY78" fmla="*/ 2635002 h 2666451"/>
                  <a:gd name="connsiteX79" fmla="*/ 416921 w 1739754"/>
                  <a:gd name="connsiteY79" fmla="*/ 2654052 h 2666451"/>
                  <a:gd name="connsiteX80" fmla="*/ 359771 w 1739754"/>
                  <a:gd name="connsiteY80" fmla="*/ 2663577 h 2666451"/>
                  <a:gd name="connsiteX81" fmla="*/ 297858 w 1739754"/>
                  <a:gd name="connsiteY81" fmla="*/ 2601664 h 2666451"/>
                  <a:gd name="connsiteX82" fmla="*/ 181177 w 1739754"/>
                  <a:gd name="connsiteY82" fmla="*/ 2456408 h 2666451"/>
                  <a:gd name="connsiteX83" fmla="*/ 150221 w 1739754"/>
                  <a:gd name="connsiteY83" fmla="*/ 2415927 h 2666451"/>
                  <a:gd name="connsiteX84" fmla="*/ 135933 w 1739754"/>
                  <a:gd name="connsiteY84" fmla="*/ 2358777 h 2666451"/>
                  <a:gd name="connsiteX85" fmla="*/ 121646 w 1739754"/>
                  <a:gd name="connsiteY85" fmla="*/ 2315914 h 2666451"/>
                  <a:gd name="connsiteX86" fmla="*/ 88308 w 1739754"/>
                  <a:gd name="connsiteY86" fmla="*/ 2187327 h 2666451"/>
                  <a:gd name="connsiteX87" fmla="*/ 78783 w 1739754"/>
                  <a:gd name="connsiteY87" fmla="*/ 2111127 h 2666451"/>
                  <a:gd name="connsiteX88" fmla="*/ 97833 w 1739754"/>
                  <a:gd name="connsiteY88" fmla="*/ 1944439 h 2666451"/>
                  <a:gd name="connsiteX89" fmla="*/ 135933 w 1739754"/>
                  <a:gd name="connsiteY89" fmla="*/ 1868239 h 2666451"/>
                  <a:gd name="connsiteX90" fmla="*/ 131171 w 1739754"/>
                  <a:gd name="connsiteY90" fmla="*/ 1825377 h 2666451"/>
                  <a:gd name="connsiteX91" fmla="*/ 112121 w 1739754"/>
                  <a:gd name="connsiteY91" fmla="*/ 1820614 h 2666451"/>
                  <a:gd name="connsiteX92" fmla="*/ 102596 w 1739754"/>
                  <a:gd name="connsiteY92" fmla="*/ 1806327 h 2666451"/>
                  <a:gd name="connsiteX93" fmla="*/ 145458 w 1739754"/>
                  <a:gd name="connsiteY93" fmla="*/ 1720602 h 2666451"/>
                  <a:gd name="connsiteX94" fmla="*/ 188321 w 1739754"/>
                  <a:gd name="connsiteY94" fmla="*/ 1687264 h 2666451"/>
                  <a:gd name="connsiteX95" fmla="*/ 202608 w 1739754"/>
                  <a:gd name="connsiteY95" fmla="*/ 1653927 h 2666451"/>
                  <a:gd name="connsiteX96" fmla="*/ 193083 w 1739754"/>
                  <a:gd name="connsiteY96" fmla="*/ 1606302 h 2666451"/>
                  <a:gd name="connsiteX97" fmla="*/ 154983 w 1739754"/>
                  <a:gd name="connsiteY97" fmla="*/ 1549152 h 2666451"/>
                  <a:gd name="connsiteX98" fmla="*/ 140696 w 1739754"/>
                  <a:gd name="connsiteY98" fmla="*/ 1377702 h 2666451"/>
                  <a:gd name="connsiteX99" fmla="*/ 121646 w 1739754"/>
                  <a:gd name="connsiteY99" fmla="*/ 1311027 h 2666451"/>
                  <a:gd name="connsiteX100" fmla="*/ 107358 w 1739754"/>
                  <a:gd name="connsiteY100" fmla="*/ 1244352 h 2666451"/>
                  <a:gd name="connsiteX101" fmla="*/ 78783 w 1739754"/>
                  <a:gd name="connsiteY101" fmla="*/ 1177677 h 2666451"/>
                  <a:gd name="connsiteX102" fmla="*/ 45446 w 1739754"/>
                  <a:gd name="connsiteY102" fmla="*/ 1096714 h 2666451"/>
                  <a:gd name="connsiteX103" fmla="*/ 21633 w 1739754"/>
                  <a:gd name="connsiteY103" fmla="*/ 1025277 h 2666451"/>
                  <a:gd name="connsiteX104" fmla="*/ 202 w 1739754"/>
                  <a:gd name="connsiteY104" fmla="*/ 980033 h 2666451"/>
                  <a:gd name="connsiteX105" fmla="*/ 14490 w 1739754"/>
                  <a:gd name="connsiteY105" fmla="*/ 930027 h 2666451"/>
                  <a:gd name="connsiteX106" fmla="*/ 69259 w 1739754"/>
                  <a:gd name="connsiteY106" fmla="*/ 810964 h 2666451"/>
                  <a:gd name="connsiteX107" fmla="*/ 221658 w 1739754"/>
                  <a:gd name="connsiteY107" fmla="*/ 601414 h 2666451"/>
                  <a:gd name="connsiteX108" fmla="*/ 288333 w 1739754"/>
                  <a:gd name="connsiteY108" fmla="*/ 515689 h 2666451"/>
                  <a:gd name="connsiteX109" fmla="*/ 412158 w 1739754"/>
                  <a:gd name="connsiteY109" fmla="*/ 406152 h 2666451"/>
                  <a:gd name="connsiteX110" fmla="*/ 535983 w 1739754"/>
                  <a:gd name="connsiteY110" fmla="*/ 291851 h 2666451"/>
                  <a:gd name="connsiteX111" fmla="*/ 640758 w 1739754"/>
                  <a:gd name="connsiteY111" fmla="*/ 229939 h 2666451"/>
                  <a:gd name="connsiteX112" fmla="*/ 733628 w 1739754"/>
                  <a:gd name="connsiteY112" fmla="*/ 168026 h 2666451"/>
                  <a:gd name="connsiteX113" fmla="*/ 978896 w 1739754"/>
                  <a:gd name="connsiteY113" fmla="*/ 63251 h 2666451"/>
                  <a:gd name="connsiteX114" fmla="*/ 1159871 w 1739754"/>
                  <a:gd name="connsiteY114" fmla="*/ 6102 h 2666451"/>
                  <a:gd name="connsiteX115" fmla="*/ 1202733 w 1739754"/>
                  <a:gd name="connsiteY115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26508 w 1739754"/>
                  <a:gd name="connsiteY68" fmla="*/ 2144464 h 2666451"/>
                  <a:gd name="connsiteX69" fmla="*/ 907458 w 1739754"/>
                  <a:gd name="connsiteY69" fmla="*/ 2192089 h 2666451"/>
                  <a:gd name="connsiteX70" fmla="*/ 893171 w 1739754"/>
                  <a:gd name="connsiteY70" fmla="*/ 2239714 h 2666451"/>
                  <a:gd name="connsiteX71" fmla="*/ 897933 w 1739754"/>
                  <a:gd name="connsiteY71" fmla="*/ 2287339 h 2666451"/>
                  <a:gd name="connsiteX72" fmla="*/ 893171 w 1739754"/>
                  <a:gd name="connsiteY72" fmla="*/ 2396877 h 2666451"/>
                  <a:gd name="connsiteX73" fmla="*/ 688383 w 1739754"/>
                  <a:gd name="connsiteY73" fmla="*/ 2449264 h 2666451"/>
                  <a:gd name="connsiteX74" fmla="*/ 607421 w 1739754"/>
                  <a:gd name="connsiteY74" fmla="*/ 2511177 h 2666451"/>
                  <a:gd name="connsiteX75" fmla="*/ 540746 w 1739754"/>
                  <a:gd name="connsiteY75" fmla="*/ 2554039 h 2666451"/>
                  <a:gd name="connsiteX76" fmla="*/ 497883 w 1739754"/>
                  <a:gd name="connsiteY76" fmla="*/ 2587377 h 2666451"/>
                  <a:gd name="connsiteX77" fmla="*/ 450258 w 1739754"/>
                  <a:gd name="connsiteY77" fmla="*/ 2635002 h 2666451"/>
                  <a:gd name="connsiteX78" fmla="*/ 416921 w 1739754"/>
                  <a:gd name="connsiteY78" fmla="*/ 2654052 h 2666451"/>
                  <a:gd name="connsiteX79" fmla="*/ 359771 w 1739754"/>
                  <a:gd name="connsiteY79" fmla="*/ 2663577 h 2666451"/>
                  <a:gd name="connsiteX80" fmla="*/ 297858 w 1739754"/>
                  <a:gd name="connsiteY80" fmla="*/ 2601664 h 2666451"/>
                  <a:gd name="connsiteX81" fmla="*/ 181177 w 1739754"/>
                  <a:gd name="connsiteY81" fmla="*/ 2456408 h 2666451"/>
                  <a:gd name="connsiteX82" fmla="*/ 150221 w 1739754"/>
                  <a:gd name="connsiteY82" fmla="*/ 2415927 h 2666451"/>
                  <a:gd name="connsiteX83" fmla="*/ 135933 w 1739754"/>
                  <a:gd name="connsiteY83" fmla="*/ 2358777 h 2666451"/>
                  <a:gd name="connsiteX84" fmla="*/ 121646 w 1739754"/>
                  <a:gd name="connsiteY84" fmla="*/ 2315914 h 2666451"/>
                  <a:gd name="connsiteX85" fmla="*/ 88308 w 1739754"/>
                  <a:gd name="connsiteY85" fmla="*/ 2187327 h 2666451"/>
                  <a:gd name="connsiteX86" fmla="*/ 78783 w 1739754"/>
                  <a:gd name="connsiteY86" fmla="*/ 2111127 h 2666451"/>
                  <a:gd name="connsiteX87" fmla="*/ 97833 w 1739754"/>
                  <a:gd name="connsiteY87" fmla="*/ 1944439 h 2666451"/>
                  <a:gd name="connsiteX88" fmla="*/ 135933 w 1739754"/>
                  <a:gd name="connsiteY88" fmla="*/ 1868239 h 2666451"/>
                  <a:gd name="connsiteX89" fmla="*/ 131171 w 1739754"/>
                  <a:gd name="connsiteY89" fmla="*/ 1825377 h 2666451"/>
                  <a:gd name="connsiteX90" fmla="*/ 112121 w 1739754"/>
                  <a:gd name="connsiteY90" fmla="*/ 1820614 h 2666451"/>
                  <a:gd name="connsiteX91" fmla="*/ 102596 w 1739754"/>
                  <a:gd name="connsiteY91" fmla="*/ 1806327 h 2666451"/>
                  <a:gd name="connsiteX92" fmla="*/ 145458 w 1739754"/>
                  <a:gd name="connsiteY92" fmla="*/ 1720602 h 2666451"/>
                  <a:gd name="connsiteX93" fmla="*/ 188321 w 1739754"/>
                  <a:gd name="connsiteY93" fmla="*/ 1687264 h 2666451"/>
                  <a:gd name="connsiteX94" fmla="*/ 202608 w 1739754"/>
                  <a:gd name="connsiteY94" fmla="*/ 1653927 h 2666451"/>
                  <a:gd name="connsiteX95" fmla="*/ 193083 w 1739754"/>
                  <a:gd name="connsiteY95" fmla="*/ 1606302 h 2666451"/>
                  <a:gd name="connsiteX96" fmla="*/ 154983 w 1739754"/>
                  <a:gd name="connsiteY96" fmla="*/ 1549152 h 2666451"/>
                  <a:gd name="connsiteX97" fmla="*/ 140696 w 1739754"/>
                  <a:gd name="connsiteY97" fmla="*/ 1377702 h 2666451"/>
                  <a:gd name="connsiteX98" fmla="*/ 121646 w 1739754"/>
                  <a:gd name="connsiteY98" fmla="*/ 1311027 h 2666451"/>
                  <a:gd name="connsiteX99" fmla="*/ 107358 w 1739754"/>
                  <a:gd name="connsiteY99" fmla="*/ 1244352 h 2666451"/>
                  <a:gd name="connsiteX100" fmla="*/ 78783 w 1739754"/>
                  <a:gd name="connsiteY100" fmla="*/ 1177677 h 2666451"/>
                  <a:gd name="connsiteX101" fmla="*/ 45446 w 1739754"/>
                  <a:gd name="connsiteY101" fmla="*/ 1096714 h 2666451"/>
                  <a:gd name="connsiteX102" fmla="*/ 21633 w 1739754"/>
                  <a:gd name="connsiteY102" fmla="*/ 1025277 h 2666451"/>
                  <a:gd name="connsiteX103" fmla="*/ 202 w 1739754"/>
                  <a:gd name="connsiteY103" fmla="*/ 980033 h 2666451"/>
                  <a:gd name="connsiteX104" fmla="*/ 14490 w 1739754"/>
                  <a:gd name="connsiteY104" fmla="*/ 930027 h 2666451"/>
                  <a:gd name="connsiteX105" fmla="*/ 69259 w 1739754"/>
                  <a:gd name="connsiteY105" fmla="*/ 810964 h 2666451"/>
                  <a:gd name="connsiteX106" fmla="*/ 221658 w 1739754"/>
                  <a:gd name="connsiteY106" fmla="*/ 601414 h 2666451"/>
                  <a:gd name="connsiteX107" fmla="*/ 288333 w 1739754"/>
                  <a:gd name="connsiteY107" fmla="*/ 515689 h 2666451"/>
                  <a:gd name="connsiteX108" fmla="*/ 412158 w 1739754"/>
                  <a:gd name="connsiteY108" fmla="*/ 406152 h 2666451"/>
                  <a:gd name="connsiteX109" fmla="*/ 535983 w 1739754"/>
                  <a:gd name="connsiteY109" fmla="*/ 291851 h 2666451"/>
                  <a:gd name="connsiteX110" fmla="*/ 640758 w 1739754"/>
                  <a:gd name="connsiteY110" fmla="*/ 229939 h 2666451"/>
                  <a:gd name="connsiteX111" fmla="*/ 733628 w 1739754"/>
                  <a:gd name="connsiteY111" fmla="*/ 168026 h 2666451"/>
                  <a:gd name="connsiteX112" fmla="*/ 978896 w 1739754"/>
                  <a:gd name="connsiteY112" fmla="*/ 63251 h 2666451"/>
                  <a:gd name="connsiteX113" fmla="*/ 1159871 w 1739754"/>
                  <a:gd name="connsiteY113" fmla="*/ 6102 h 2666451"/>
                  <a:gd name="connsiteX114" fmla="*/ 1202733 w 1739754"/>
                  <a:gd name="connsiteY114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64608 w 1739754"/>
                  <a:gd name="connsiteY67" fmla="*/ 2082552 h 2666451"/>
                  <a:gd name="connsiteX68" fmla="*/ 926508 w 1739754"/>
                  <a:gd name="connsiteY68" fmla="*/ 2144464 h 2666451"/>
                  <a:gd name="connsiteX69" fmla="*/ 893171 w 1739754"/>
                  <a:gd name="connsiteY69" fmla="*/ 2239714 h 2666451"/>
                  <a:gd name="connsiteX70" fmla="*/ 897933 w 1739754"/>
                  <a:gd name="connsiteY70" fmla="*/ 2287339 h 2666451"/>
                  <a:gd name="connsiteX71" fmla="*/ 893171 w 1739754"/>
                  <a:gd name="connsiteY71" fmla="*/ 2396877 h 2666451"/>
                  <a:gd name="connsiteX72" fmla="*/ 688383 w 1739754"/>
                  <a:gd name="connsiteY72" fmla="*/ 2449264 h 2666451"/>
                  <a:gd name="connsiteX73" fmla="*/ 607421 w 1739754"/>
                  <a:gd name="connsiteY73" fmla="*/ 2511177 h 2666451"/>
                  <a:gd name="connsiteX74" fmla="*/ 540746 w 1739754"/>
                  <a:gd name="connsiteY74" fmla="*/ 2554039 h 2666451"/>
                  <a:gd name="connsiteX75" fmla="*/ 497883 w 1739754"/>
                  <a:gd name="connsiteY75" fmla="*/ 2587377 h 2666451"/>
                  <a:gd name="connsiteX76" fmla="*/ 450258 w 1739754"/>
                  <a:gd name="connsiteY76" fmla="*/ 2635002 h 2666451"/>
                  <a:gd name="connsiteX77" fmla="*/ 416921 w 1739754"/>
                  <a:gd name="connsiteY77" fmla="*/ 2654052 h 2666451"/>
                  <a:gd name="connsiteX78" fmla="*/ 359771 w 1739754"/>
                  <a:gd name="connsiteY78" fmla="*/ 2663577 h 2666451"/>
                  <a:gd name="connsiteX79" fmla="*/ 297858 w 1739754"/>
                  <a:gd name="connsiteY79" fmla="*/ 2601664 h 2666451"/>
                  <a:gd name="connsiteX80" fmla="*/ 181177 w 1739754"/>
                  <a:gd name="connsiteY80" fmla="*/ 2456408 h 2666451"/>
                  <a:gd name="connsiteX81" fmla="*/ 150221 w 1739754"/>
                  <a:gd name="connsiteY81" fmla="*/ 2415927 h 2666451"/>
                  <a:gd name="connsiteX82" fmla="*/ 135933 w 1739754"/>
                  <a:gd name="connsiteY82" fmla="*/ 2358777 h 2666451"/>
                  <a:gd name="connsiteX83" fmla="*/ 121646 w 1739754"/>
                  <a:gd name="connsiteY83" fmla="*/ 2315914 h 2666451"/>
                  <a:gd name="connsiteX84" fmla="*/ 88308 w 1739754"/>
                  <a:gd name="connsiteY84" fmla="*/ 2187327 h 2666451"/>
                  <a:gd name="connsiteX85" fmla="*/ 78783 w 1739754"/>
                  <a:gd name="connsiteY85" fmla="*/ 2111127 h 2666451"/>
                  <a:gd name="connsiteX86" fmla="*/ 97833 w 1739754"/>
                  <a:gd name="connsiteY86" fmla="*/ 1944439 h 2666451"/>
                  <a:gd name="connsiteX87" fmla="*/ 135933 w 1739754"/>
                  <a:gd name="connsiteY87" fmla="*/ 1868239 h 2666451"/>
                  <a:gd name="connsiteX88" fmla="*/ 131171 w 1739754"/>
                  <a:gd name="connsiteY88" fmla="*/ 1825377 h 2666451"/>
                  <a:gd name="connsiteX89" fmla="*/ 112121 w 1739754"/>
                  <a:gd name="connsiteY89" fmla="*/ 1820614 h 2666451"/>
                  <a:gd name="connsiteX90" fmla="*/ 102596 w 1739754"/>
                  <a:gd name="connsiteY90" fmla="*/ 1806327 h 2666451"/>
                  <a:gd name="connsiteX91" fmla="*/ 145458 w 1739754"/>
                  <a:gd name="connsiteY91" fmla="*/ 1720602 h 2666451"/>
                  <a:gd name="connsiteX92" fmla="*/ 188321 w 1739754"/>
                  <a:gd name="connsiteY92" fmla="*/ 1687264 h 2666451"/>
                  <a:gd name="connsiteX93" fmla="*/ 202608 w 1739754"/>
                  <a:gd name="connsiteY93" fmla="*/ 1653927 h 2666451"/>
                  <a:gd name="connsiteX94" fmla="*/ 193083 w 1739754"/>
                  <a:gd name="connsiteY94" fmla="*/ 1606302 h 2666451"/>
                  <a:gd name="connsiteX95" fmla="*/ 154983 w 1739754"/>
                  <a:gd name="connsiteY95" fmla="*/ 1549152 h 2666451"/>
                  <a:gd name="connsiteX96" fmla="*/ 140696 w 1739754"/>
                  <a:gd name="connsiteY96" fmla="*/ 1377702 h 2666451"/>
                  <a:gd name="connsiteX97" fmla="*/ 121646 w 1739754"/>
                  <a:gd name="connsiteY97" fmla="*/ 1311027 h 2666451"/>
                  <a:gd name="connsiteX98" fmla="*/ 107358 w 1739754"/>
                  <a:gd name="connsiteY98" fmla="*/ 1244352 h 2666451"/>
                  <a:gd name="connsiteX99" fmla="*/ 78783 w 1739754"/>
                  <a:gd name="connsiteY99" fmla="*/ 1177677 h 2666451"/>
                  <a:gd name="connsiteX100" fmla="*/ 45446 w 1739754"/>
                  <a:gd name="connsiteY100" fmla="*/ 1096714 h 2666451"/>
                  <a:gd name="connsiteX101" fmla="*/ 21633 w 1739754"/>
                  <a:gd name="connsiteY101" fmla="*/ 1025277 h 2666451"/>
                  <a:gd name="connsiteX102" fmla="*/ 202 w 1739754"/>
                  <a:gd name="connsiteY102" fmla="*/ 980033 h 2666451"/>
                  <a:gd name="connsiteX103" fmla="*/ 14490 w 1739754"/>
                  <a:gd name="connsiteY103" fmla="*/ 930027 h 2666451"/>
                  <a:gd name="connsiteX104" fmla="*/ 69259 w 1739754"/>
                  <a:gd name="connsiteY104" fmla="*/ 810964 h 2666451"/>
                  <a:gd name="connsiteX105" fmla="*/ 221658 w 1739754"/>
                  <a:gd name="connsiteY105" fmla="*/ 601414 h 2666451"/>
                  <a:gd name="connsiteX106" fmla="*/ 288333 w 1739754"/>
                  <a:gd name="connsiteY106" fmla="*/ 515689 h 2666451"/>
                  <a:gd name="connsiteX107" fmla="*/ 412158 w 1739754"/>
                  <a:gd name="connsiteY107" fmla="*/ 406152 h 2666451"/>
                  <a:gd name="connsiteX108" fmla="*/ 535983 w 1739754"/>
                  <a:gd name="connsiteY108" fmla="*/ 291851 h 2666451"/>
                  <a:gd name="connsiteX109" fmla="*/ 640758 w 1739754"/>
                  <a:gd name="connsiteY109" fmla="*/ 229939 h 2666451"/>
                  <a:gd name="connsiteX110" fmla="*/ 733628 w 1739754"/>
                  <a:gd name="connsiteY110" fmla="*/ 168026 h 2666451"/>
                  <a:gd name="connsiteX111" fmla="*/ 978896 w 1739754"/>
                  <a:gd name="connsiteY111" fmla="*/ 63251 h 2666451"/>
                  <a:gd name="connsiteX112" fmla="*/ 1159871 w 1739754"/>
                  <a:gd name="connsiteY112" fmla="*/ 6102 h 2666451"/>
                  <a:gd name="connsiteX113" fmla="*/ 1202733 w 1739754"/>
                  <a:gd name="connsiteY113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59846 w 1739754"/>
                  <a:gd name="connsiteY65" fmla="*/ 1939677 h 2666451"/>
                  <a:gd name="connsiteX66" fmla="*/ 974133 w 1739754"/>
                  <a:gd name="connsiteY66" fmla="*/ 1977777 h 2666451"/>
                  <a:gd name="connsiteX67" fmla="*/ 976514 w 1739754"/>
                  <a:gd name="connsiteY67" fmla="*/ 2080171 h 2666451"/>
                  <a:gd name="connsiteX68" fmla="*/ 926508 w 1739754"/>
                  <a:gd name="connsiteY68" fmla="*/ 2144464 h 2666451"/>
                  <a:gd name="connsiteX69" fmla="*/ 893171 w 1739754"/>
                  <a:gd name="connsiteY69" fmla="*/ 2239714 h 2666451"/>
                  <a:gd name="connsiteX70" fmla="*/ 897933 w 1739754"/>
                  <a:gd name="connsiteY70" fmla="*/ 2287339 h 2666451"/>
                  <a:gd name="connsiteX71" fmla="*/ 893171 w 1739754"/>
                  <a:gd name="connsiteY71" fmla="*/ 2396877 h 2666451"/>
                  <a:gd name="connsiteX72" fmla="*/ 688383 w 1739754"/>
                  <a:gd name="connsiteY72" fmla="*/ 2449264 h 2666451"/>
                  <a:gd name="connsiteX73" fmla="*/ 607421 w 1739754"/>
                  <a:gd name="connsiteY73" fmla="*/ 2511177 h 2666451"/>
                  <a:gd name="connsiteX74" fmla="*/ 540746 w 1739754"/>
                  <a:gd name="connsiteY74" fmla="*/ 2554039 h 2666451"/>
                  <a:gd name="connsiteX75" fmla="*/ 497883 w 1739754"/>
                  <a:gd name="connsiteY75" fmla="*/ 2587377 h 2666451"/>
                  <a:gd name="connsiteX76" fmla="*/ 450258 w 1739754"/>
                  <a:gd name="connsiteY76" fmla="*/ 2635002 h 2666451"/>
                  <a:gd name="connsiteX77" fmla="*/ 416921 w 1739754"/>
                  <a:gd name="connsiteY77" fmla="*/ 2654052 h 2666451"/>
                  <a:gd name="connsiteX78" fmla="*/ 359771 w 1739754"/>
                  <a:gd name="connsiteY78" fmla="*/ 2663577 h 2666451"/>
                  <a:gd name="connsiteX79" fmla="*/ 297858 w 1739754"/>
                  <a:gd name="connsiteY79" fmla="*/ 2601664 h 2666451"/>
                  <a:gd name="connsiteX80" fmla="*/ 181177 w 1739754"/>
                  <a:gd name="connsiteY80" fmla="*/ 2456408 h 2666451"/>
                  <a:gd name="connsiteX81" fmla="*/ 150221 w 1739754"/>
                  <a:gd name="connsiteY81" fmla="*/ 2415927 h 2666451"/>
                  <a:gd name="connsiteX82" fmla="*/ 135933 w 1739754"/>
                  <a:gd name="connsiteY82" fmla="*/ 2358777 h 2666451"/>
                  <a:gd name="connsiteX83" fmla="*/ 121646 w 1739754"/>
                  <a:gd name="connsiteY83" fmla="*/ 2315914 h 2666451"/>
                  <a:gd name="connsiteX84" fmla="*/ 88308 w 1739754"/>
                  <a:gd name="connsiteY84" fmla="*/ 2187327 h 2666451"/>
                  <a:gd name="connsiteX85" fmla="*/ 78783 w 1739754"/>
                  <a:gd name="connsiteY85" fmla="*/ 2111127 h 2666451"/>
                  <a:gd name="connsiteX86" fmla="*/ 97833 w 1739754"/>
                  <a:gd name="connsiteY86" fmla="*/ 1944439 h 2666451"/>
                  <a:gd name="connsiteX87" fmla="*/ 135933 w 1739754"/>
                  <a:gd name="connsiteY87" fmla="*/ 1868239 h 2666451"/>
                  <a:gd name="connsiteX88" fmla="*/ 131171 w 1739754"/>
                  <a:gd name="connsiteY88" fmla="*/ 1825377 h 2666451"/>
                  <a:gd name="connsiteX89" fmla="*/ 112121 w 1739754"/>
                  <a:gd name="connsiteY89" fmla="*/ 1820614 h 2666451"/>
                  <a:gd name="connsiteX90" fmla="*/ 102596 w 1739754"/>
                  <a:gd name="connsiteY90" fmla="*/ 1806327 h 2666451"/>
                  <a:gd name="connsiteX91" fmla="*/ 145458 w 1739754"/>
                  <a:gd name="connsiteY91" fmla="*/ 1720602 h 2666451"/>
                  <a:gd name="connsiteX92" fmla="*/ 188321 w 1739754"/>
                  <a:gd name="connsiteY92" fmla="*/ 1687264 h 2666451"/>
                  <a:gd name="connsiteX93" fmla="*/ 202608 w 1739754"/>
                  <a:gd name="connsiteY93" fmla="*/ 1653927 h 2666451"/>
                  <a:gd name="connsiteX94" fmla="*/ 193083 w 1739754"/>
                  <a:gd name="connsiteY94" fmla="*/ 1606302 h 2666451"/>
                  <a:gd name="connsiteX95" fmla="*/ 154983 w 1739754"/>
                  <a:gd name="connsiteY95" fmla="*/ 1549152 h 2666451"/>
                  <a:gd name="connsiteX96" fmla="*/ 140696 w 1739754"/>
                  <a:gd name="connsiteY96" fmla="*/ 1377702 h 2666451"/>
                  <a:gd name="connsiteX97" fmla="*/ 121646 w 1739754"/>
                  <a:gd name="connsiteY97" fmla="*/ 1311027 h 2666451"/>
                  <a:gd name="connsiteX98" fmla="*/ 107358 w 1739754"/>
                  <a:gd name="connsiteY98" fmla="*/ 1244352 h 2666451"/>
                  <a:gd name="connsiteX99" fmla="*/ 78783 w 1739754"/>
                  <a:gd name="connsiteY99" fmla="*/ 1177677 h 2666451"/>
                  <a:gd name="connsiteX100" fmla="*/ 45446 w 1739754"/>
                  <a:gd name="connsiteY100" fmla="*/ 1096714 h 2666451"/>
                  <a:gd name="connsiteX101" fmla="*/ 21633 w 1739754"/>
                  <a:gd name="connsiteY101" fmla="*/ 1025277 h 2666451"/>
                  <a:gd name="connsiteX102" fmla="*/ 202 w 1739754"/>
                  <a:gd name="connsiteY102" fmla="*/ 980033 h 2666451"/>
                  <a:gd name="connsiteX103" fmla="*/ 14490 w 1739754"/>
                  <a:gd name="connsiteY103" fmla="*/ 930027 h 2666451"/>
                  <a:gd name="connsiteX104" fmla="*/ 69259 w 1739754"/>
                  <a:gd name="connsiteY104" fmla="*/ 810964 h 2666451"/>
                  <a:gd name="connsiteX105" fmla="*/ 221658 w 1739754"/>
                  <a:gd name="connsiteY105" fmla="*/ 601414 h 2666451"/>
                  <a:gd name="connsiteX106" fmla="*/ 288333 w 1739754"/>
                  <a:gd name="connsiteY106" fmla="*/ 515689 h 2666451"/>
                  <a:gd name="connsiteX107" fmla="*/ 412158 w 1739754"/>
                  <a:gd name="connsiteY107" fmla="*/ 406152 h 2666451"/>
                  <a:gd name="connsiteX108" fmla="*/ 535983 w 1739754"/>
                  <a:gd name="connsiteY108" fmla="*/ 291851 h 2666451"/>
                  <a:gd name="connsiteX109" fmla="*/ 640758 w 1739754"/>
                  <a:gd name="connsiteY109" fmla="*/ 229939 h 2666451"/>
                  <a:gd name="connsiteX110" fmla="*/ 733628 w 1739754"/>
                  <a:gd name="connsiteY110" fmla="*/ 168026 h 2666451"/>
                  <a:gd name="connsiteX111" fmla="*/ 978896 w 1739754"/>
                  <a:gd name="connsiteY111" fmla="*/ 63251 h 2666451"/>
                  <a:gd name="connsiteX112" fmla="*/ 1159871 w 1739754"/>
                  <a:gd name="connsiteY112" fmla="*/ 6102 h 2666451"/>
                  <a:gd name="connsiteX113" fmla="*/ 1202733 w 1739754"/>
                  <a:gd name="connsiteY113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74133 w 1739754"/>
                  <a:gd name="connsiteY65" fmla="*/ 1977777 h 2666451"/>
                  <a:gd name="connsiteX66" fmla="*/ 976514 w 1739754"/>
                  <a:gd name="connsiteY66" fmla="*/ 2080171 h 2666451"/>
                  <a:gd name="connsiteX67" fmla="*/ 926508 w 1739754"/>
                  <a:gd name="connsiteY67" fmla="*/ 2144464 h 2666451"/>
                  <a:gd name="connsiteX68" fmla="*/ 893171 w 1739754"/>
                  <a:gd name="connsiteY68" fmla="*/ 2239714 h 2666451"/>
                  <a:gd name="connsiteX69" fmla="*/ 897933 w 1739754"/>
                  <a:gd name="connsiteY69" fmla="*/ 2287339 h 2666451"/>
                  <a:gd name="connsiteX70" fmla="*/ 893171 w 1739754"/>
                  <a:gd name="connsiteY70" fmla="*/ 2396877 h 2666451"/>
                  <a:gd name="connsiteX71" fmla="*/ 688383 w 1739754"/>
                  <a:gd name="connsiteY71" fmla="*/ 2449264 h 2666451"/>
                  <a:gd name="connsiteX72" fmla="*/ 607421 w 1739754"/>
                  <a:gd name="connsiteY72" fmla="*/ 2511177 h 2666451"/>
                  <a:gd name="connsiteX73" fmla="*/ 540746 w 1739754"/>
                  <a:gd name="connsiteY73" fmla="*/ 2554039 h 2666451"/>
                  <a:gd name="connsiteX74" fmla="*/ 497883 w 1739754"/>
                  <a:gd name="connsiteY74" fmla="*/ 2587377 h 2666451"/>
                  <a:gd name="connsiteX75" fmla="*/ 450258 w 1739754"/>
                  <a:gd name="connsiteY75" fmla="*/ 2635002 h 2666451"/>
                  <a:gd name="connsiteX76" fmla="*/ 416921 w 1739754"/>
                  <a:gd name="connsiteY76" fmla="*/ 2654052 h 2666451"/>
                  <a:gd name="connsiteX77" fmla="*/ 359771 w 1739754"/>
                  <a:gd name="connsiteY77" fmla="*/ 2663577 h 2666451"/>
                  <a:gd name="connsiteX78" fmla="*/ 297858 w 1739754"/>
                  <a:gd name="connsiteY78" fmla="*/ 2601664 h 2666451"/>
                  <a:gd name="connsiteX79" fmla="*/ 181177 w 1739754"/>
                  <a:gd name="connsiteY79" fmla="*/ 2456408 h 2666451"/>
                  <a:gd name="connsiteX80" fmla="*/ 150221 w 1739754"/>
                  <a:gd name="connsiteY80" fmla="*/ 2415927 h 2666451"/>
                  <a:gd name="connsiteX81" fmla="*/ 135933 w 1739754"/>
                  <a:gd name="connsiteY81" fmla="*/ 2358777 h 2666451"/>
                  <a:gd name="connsiteX82" fmla="*/ 121646 w 1739754"/>
                  <a:gd name="connsiteY82" fmla="*/ 2315914 h 2666451"/>
                  <a:gd name="connsiteX83" fmla="*/ 88308 w 1739754"/>
                  <a:gd name="connsiteY83" fmla="*/ 2187327 h 2666451"/>
                  <a:gd name="connsiteX84" fmla="*/ 78783 w 1739754"/>
                  <a:gd name="connsiteY84" fmla="*/ 2111127 h 2666451"/>
                  <a:gd name="connsiteX85" fmla="*/ 97833 w 1739754"/>
                  <a:gd name="connsiteY85" fmla="*/ 1944439 h 2666451"/>
                  <a:gd name="connsiteX86" fmla="*/ 135933 w 1739754"/>
                  <a:gd name="connsiteY86" fmla="*/ 1868239 h 2666451"/>
                  <a:gd name="connsiteX87" fmla="*/ 131171 w 1739754"/>
                  <a:gd name="connsiteY87" fmla="*/ 1825377 h 2666451"/>
                  <a:gd name="connsiteX88" fmla="*/ 112121 w 1739754"/>
                  <a:gd name="connsiteY88" fmla="*/ 1820614 h 2666451"/>
                  <a:gd name="connsiteX89" fmla="*/ 102596 w 1739754"/>
                  <a:gd name="connsiteY89" fmla="*/ 1806327 h 2666451"/>
                  <a:gd name="connsiteX90" fmla="*/ 145458 w 1739754"/>
                  <a:gd name="connsiteY90" fmla="*/ 1720602 h 2666451"/>
                  <a:gd name="connsiteX91" fmla="*/ 188321 w 1739754"/>
                  <a:gd name="connsiteY91" fmla="*/ 1687264 h 2666451"/>
                  <a:gd name="connsiteX92" fmla="*/ 202608 w 1739754"/>
                  <a:gd name="connsiteY92" fmla="*/ 1653927 h 2666451"/>
                  <a:gd name="connsiteX93" fmla="*/ 193083 w 1739754"/>
                  <a:gd name="connsiteY93" fmla="*/ 1606302 h 2666451"/>
                  <a:gd name="connsiteX94" fmla="*/ 154983 w 1739754"/>
                  <a:gd name="connsiteY94" fmla="*/ 1549152 h 2666451"/>
                  <a:gd name="connsiteX95" fmla="*/ 140696 w 1739754"/>
                  <a:gd name="connsiteY95" fmla="*/ 1377702 h 2666451"/>
                  <a:gd name="connsiteX96" fmla="*/ 121646 w 1739754"/>
                  <a:gd name="connsiteY96" fmla="*/ 1311027 h 2666451"/>
                  <a:gd name="connsiteX97" fmla="*/ 107358 w 1739754"/>
                  <a:gd name="connsiteY97" fmla="*/ 1244352 h 2666451"/>
                  <a:gd name="connsiteX98" fmla="*/ 78783 w 1739754"/>
                  <a:gd name="connsiteY98" fmla="*/ 1177677 h 2666451"/>
                  <a:gd name="connsiteX99" fmla="*/ 45446 w 1739754"/>
                  <a:gd name="connsiteY99" fmla="*/ 1096714 h 2666451"/>
                  <a:gd name="connsiteX100" fmla="*/ 21633 w 1739754"/>
                  <a:gd name="connsiteY100" fmla="*/ 1025277 h 2666451"/>
                  <a:gd name="connsiteX101" fmla="*/ 202 w 1739754"/>
                  <a:gd name="connsiteY101" fmla="*/ 980033 h 2666451"/>
                  <a:gd name="connsiteX102" fmla="*/ 14490 w 1739754"/>
                  <a:gd name="connsiteY102" fmla="*/ 930027 h 2666451"/>
                  <a:gd name="connsiteX103" fmla="*/ 69259 w 1739754"/>
                  <a:gd name="connsiteY103" fmla="*/ 810964 h 2666451"/>
                  <a:gd name="connsiteX104" fmla="*/ 221658 w 1739754"/>
                  <a:gd name="connsiteY104" fmla="*/ 601414 h 2666451"/>
                  <a:gd name="connsiteX105" fmla="*/ 288333 w 1739754"/>
                  <a:gd name="connsiteY105" fmla="*/ 515689 h 2666451"/>
                  <a:gd name="connsiteX106" fmla="*/ 412158 w 1739754"/>
                  <a:gd name="connsiteY106" fmla="*/ 406152 h 2666451"/>
                  <a:gd name="connsiteX107" fmla="*/ 535983 w 1739754"/>
                  <a:gd name="connsiteY107" fmla="*/ 291851 h 2666451"/>
                  <a:gd name="connsiteX108" fmla="*/ 640758 w 1739754"/>
                  <a:gd name="connsiteY108" fmla="*/ 229939 h 2666451"/>
                  <a:gd name="connsiteX109" fmla="*/ 733628 w 1739754"/>
                  <a:gd name="connsiteY109" fmla="*/ 168026 h 2666451"/>
                  <a:gd name="connsiteX110" fmla="*/ 978896 w 1739754"/>
                  <a:gd name="connsiteY110" fmla="*/ 63251 h 2666451"/>
                  <a:gd name="connsiteX111" fmla="*/ 1159871 w 1739754"/>
                  <a:gd name="connsiteY111" fmla="*/ 6102 h 2666451"/>
                  <a:gd name="connsiteX112" fmla="*/ 1202733 w 1739754"/>
                  <a:gd name="connsiteY112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50321 w 1739754"/>
                  <a:gd name="connsiteY64" fmla="*/ 1906339 h 2666451"/>
                  <a:gd name="connsiteX65" fmla="*/ 990801 w 1739754"/>
                  <a:gd name="connsiteY65" fmla="*/ 1975396 h 2666451"/>
                  <a:gd name="connsiteX66" fmla="*/ 976514 w 1739754"/>
                  <a:gd name="connsiteY66" fmla="*/ 2080171 h 2666451"/>
                  <a:gd name="connsiteX67" fmla="*/ 926508 w 1739754"/>
                  <a:gd name="connsiteY67" fmla="*/ 2144464 h 2666451"/>
                  <a:gd name="connsiteX68" fmla="*/ 893171 w 1739754"/>
                  <a:gd name="connsiteY68" fmla="*/ 2239714 h 2666451"/>
                  <a:gd name="connsiteX69" fmla="*/ 897933 w 1739754"/>
                  <a:gd name="connsiteY69" fmla="*/ 2287339 h 2666451"/>
                  <a:gd name="connsiteX70" fmla="*/ 893171 w 1739754"/>
                  <a:gd name="connsiteY70" fmla="*/ 2396877 h 2666451"/>
                  <a:gd name="connsiteX71" fmla="*/ 688383 w 1739754"/>
                  <a:gd name="connsiteY71" fmla="*/ 2449264 h 2666451"/>
                  <a:gd name="connsiteX72" fmla="*/ 607421 w 1739754"/>
                  <a:gd name="connsiteY72" fmla="*/ 2511177 h 2666451"/>
                  <a:gd name="connsiteX73" fmla="*/ 540746 w 1739754"/>
                  <a:gd name="connsiteY73" fmla="*/ 2554039 h 2666451"/>
                  <a:gd name="connsiteX74" fmla="*/ 497883 w 1739754"/>
                  <a:gd name="connsiteY74" fmla="*/ 2587377 h 2666451"/>
                  <a:gd name="connsiteX75" fmla="*/ 450258 w 1739754"/>
                  <a:gd name="connsiteY75" fmla="*/ 2635002 h 2666451"/>
                  <a:gd name="connsiteX76" fmla="*/ 416921 w 1739754"/>
                  <a:gd name="connsiteY76" fmla="*/ 2654052 h 2666451"/>
                  <a:gd name="connsiteX77" fmla="*/ 359771 w 1739754"/>
                  <a:gd name="connsiteY77" fmla="*/ 2663577 h 2666451"/>
                  <a:gd name="connsiteX78" fmla="*/ 297858 w 1739754"/>
                  <a:gd name="connsiteY78" fmla="*/ 2601664 h 2666451"/>
                  <a:gd name="connsiteX79" fmla="*/ 181177 w 1739754"/>
                  <a:gd name="connsiteY79" fmla="*/ 2456408 h 2666451"/>
                  <a:gd name="connsiteX80" fmla="*/ 150221 w 1739754"/>
                  <a:gd name="connsiteY80" fmla="*/ 2415927 h 2666451"/>
                  <a:gd name="connsiteX81" fmla="*/ 135933 w 1739754"/>
                  <a:gd name="connsiteY81" fmla="*/ 2358777 h 2666451"/>
                  <a:gd name="connsiteX82" fmla="*/ 121646 w 1739754"/>
                  <a:gd name="connsiteY82" fmla="*/ 2315914 h 2666451"/>
                  <a:gd name="connsiteX83" fmla="*/ 88308 w 1739754"/>
                  <a:gd name="connsiteY83" fmla="*/ 2187327 h 2666451"/>
                  <a:gd name="connsiteX84" fmla="*/ 78783 w 1739754"/>
                  <a:gd name="connsiteY84" fmla="*/ 2111127 h 2666451"/>
                  <a:gd name="connsiteX85" fmla="*/ 97833 w 1739754"/>
                  <a:gd name="connsiteY85" fmla="*/ 1944439 h 2666451"/>
                  <a:gd name="connsiteX86" fmla="*/ 135933 w 1739754"/>
                  <a:gd name="connsiteY86" fmla="*/ 1868239 h 2666451"/>
                  <a:gd name="connsiteX87" fmla="*/ 131171 w 1739754"/>
                  <a:gd name="connsiteY87" fmla="*/ 1825377 h 2666451"/>
                  <a:gd name="connsiteX88" fmla="*/ 112121 w 1739754"/>
                  <a:gd name="connsiteY88" fmla="*/ 1820614 h 2666451"/>
                  <a:gd name="connsiteX89" fmla="*/ 102596 w 1739754"/>
                  <a:gd name="connsiteY89" fmla="*/ 1806327 h 2666451"/>
                  <a:gd name="connsiteX90" fmla="*/ 145458 w 1739754"/>
                  <a:gd name="connsiteY90" fmla="*/ 1720602 h 2666451"/>
                  <a:gd name="connsiteX91" fmla="*/ 188321 w 1739754"/>
                  <a:gd name="connsiteY91" fmla="*/ 1687264 h 2666451"/>
                  <a:gd name="connsiteX92" fmla="*/ 202608 w 1739754"/>
                  <a:gd name="connsiteY92" fmla="*/ 1653927 h 2666451"/>
                  <a:gd name="connsiteX93" fmla="*/ 193083 w 1739754"/>
                  <a:gd name="connsiteY93" fmla="*/ 1606302 h 2666451"/>
                  <a:gd name="connsiteX94" fmla="*/ 154983 w 1739754"/>
                  <a:gd name="connsiteY94" fmla="*/ 1549152 h 2666451"/>
                  <a:gd name="connsiteX95" fmla="*/ 140696 w 1739754"/>
                  <a:gd name="connsiteY95" fmla="*/ 1377702 h 2666451"/>
                  <a:gd name="connsiteX96" fmla="*/ 121646 w 1739754"/>
                  <a:gd name="connsiteY96" fmla="*/ 1311027 h 2666451"/>
                  <a:gd name="connsiteX97" fmla="*/ 107358 w 1739754"/>
                  <a:gd name="connsiteY97" fmla="*/ 1244352 h 2666451"/>
                  <a:gd name="connsiteX98" fmla="*/ 78783 w 1739754"/>
                  <a:gd name="connsiteY98" fmla="*/ 1177677 h 2666451"/>
                  <a:gd name="connsiteX99" fmla="*/ 45446 w 1739754"/>
                  <a:gd name="connsiteY99" fmla="*/ 1096714 h 2666451"/>
                  <a:gd name="connsiteX100" fmla="*/ 21633 w 1739754"/>
                  <a:gd name="connsiteY100" fmla="*/ 1025277 h 2666451"/>
                  <a:gd name="connsiteX101" fmla="*/ 202 w 1739754"/>
                  <a:gd name="connsiteY101" fmla="*/ 980033 h 2666451"/>
                  <a:gd name="connsiteX102" fmla="*/ 14490 w 1739754"/>
                  <a:gd name="connsiteY102" fmla="*/ 930027 h 2666451"/>
                  <a:gd name="connsiteX103" fmla="*/ 69259 w 1739754"/>
                  <a:gd name="connsiteY103" fmla="*/ 810964 h 2666451"/>
                  <a:gd name="connsiteX104" fmla="*/ 221658 w 1739754"/>
                  <a:gd name="connsiteY104" fmla="*/ 601414 h 2666451"/>
                  <a:gd name="connsiteX105" fmla="*/ 288333 w 1739754"/>
                  <a:gd name="connsiteY105" fmla="*/ 515689 h 2666451"/>
                  <a:gd name="connsiteX106" fmla="*/ 412158 w 1739754"/>
                  <a:gd name="connsiteY106" fmla="*/ 406152 h 2666451"/>
                  <a:gd name="connsiteX107" fmla="*/ 535983 w 1739754"/>
                  <a:gd name="connsiteY107" fmla="*/ 291851 h 2666451"/>
                  <a:gd name="connsiteX108" fmla="*/ 640758 w 1739754"/>
                  <a:gd name="connsiteY108" fmla="*/ 229939 h 2666451"/>
                  <a:gd name="connsiteX109" fmla="*/ 733628 w 1739754"/>
                  <a:gd name="connsiteY109" fmla="*/ 168026 h 2666451"/>
                  <a:gd name="connsiteX110" fmla="*/ 978896 w 1739754"/>
                  <a:gd name="connsiteY110" fmla="*/ 63251 h 2666451"/>
                  <a:gd name="connsiteX111" fmla="*/ 1159871 w 1739754"/>
                  <a:gd name="connsiteY111" fmla="*/ 6102 h 2666451"/>
                  <a:gd name="connsiteX112" fmla="*/ 1202733 w 1739754"/>
                  <a:gd name="connsiteY112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90801 w 1739754"/>
                  <a:gd name="connsiteY64" fmla="*/ 1975396 h 2666451"/>
                  <a:gd name="connsiteX65" fmla="*/ 976514 w 1739754"/>
                  <a:gd name="connsiteY65" fmla="*/ 2080171 h 2666451"/>
                  <a:gd name="connsiteX66" fmla="*/ 926508 w 1739754"/>
                  <a:gd name="connsiteY66" fmla="*/ 2144464 h 2666451"/>
                  <a:gd name="connsiteX67" fmla="*/ 893171 w 1739754"/>
                  <a:gd name="connsiteY67" fmla="*/ 2239714 h 2666451"/>
                  <a:gd name="connsiteX68" fmla="*/ 897933 w 1739754"/>
                  <a:gd name="connsiteY68" fmla="*/ 2287339 h 2666451"/>
                  <a:gd name="connsiteX69" fmla="*/ 893171 w 1739754"/>
                  <a:gd name="connsiteY69" fmla="*/ 2396877 h 2666451"/>
                  <a:gd name="connsiteX70" fmla="*/ 688383 w 1739754"/>
                  <a:gd name="connsiteY70" fmla="*/ 2449264 h 2666451"/>
                  <a:gd name="connsiteX71" fmla="*/ 607421 w 1739754"/>
                  <a:gd name="connsiteY71" fmla="*/ 2511177 h 2666451"/>
                  <a:gd name="connsiteX72" fmla="*/ 540746 w 1739754"/>
                  <a:gd name="connsiteY72" fmla="*/ 2554039 h 2666451"/>
                  <a:gd name="connsiteX73" fmla="*/ 497883 w 1739754"/>
                  <a:gd name="connsiteY73" fmla="*/ 2587377 h 2666451"/>
                  <a:gd name="connsiteX74" fmla="*/ 450258 w 1739754"/>
                  <a:gd name="connsiteY74" fmla="*/ 2635002 h 2666451"/>
                  <a:gd name="connsiteX75" fmla="*/ 416921 w 1739754"/>
                  <a:gd name="connsiteY75" fmla="*/ 2654052 h 2666451"/>
                  <a:gd name="connsiteX76" fmla="*/ 359771 w 1739754"/>
                  <a:gd name="connsiteY76" fmla="*/ 2663577 h 2666451"/>
                  <a:gd name="connsiteX77" fmla="*/ 297858 w 1739754"/>
                  <a:gd name="connsiteY77" fmla="*/ 2601664 h 2666451"/>
                  <a:gd name="connsiteX78" fmla="*/ 181177 w 1739754"/>
                  <a:gd name="connsiteY78" fmla="*/ 2456408 h 2666451"/>
                  <a:gd name="connsiteX79" fmla="*/ 150221 w 1739754"/>
                  <a:gd name="connsiteY79" fmla="*/ 2415927 h 2666451"/>
                  <a:gd name="connsiteX80" fmla="*/ 135933 w 1739754"/>
                  <a:gd name="connsiteY80" fmla="*/ 2358777 h 2666451"/>
                  <a:gd name="connsiteX81" fmla="*/ 121646 w 1739754"/>
                  <a:gd name="connsiteY81" fmla="*/ 2315914 h 2666451"/>
                  <a:gd name="connsiteX82" fmla="*/ 88308 w 1739754"/>
                  <a:gd name="connsiteY82" fmla="*/ 2187327 h 2666451"/>
                  <a:gd name="connsiteX83" fmla="*/ 78783 w 1739754"/>
                  <a:gd name="connsiteY83" fmla="*/ 2111127 h 2666451"/>
                  <a:gd name="connsiteX84" fmla="*/ 97833 w 1739754"/>
                  <a:gd name="connsiteY84" fmla="*/ 1944439 h 2666451"/>
                  <a:gd name="connsiteX85" fmla="*/ 135933 w 1739754"/>
                  <a:gd name="connsiteY85" fmla="*/ 1868239 h 2666451"/>
                  <a:gd name="connsiteX86" fmla="*/ 131171 w 1739754"/>
                  <a:gd name="connsiteY86" fmla="*/ 1825377 h 2666451"/>
                  <a:gd name="connsiteX87" fmla="*/ 112121 w 1739754"/>
                  <a:gd name="connsiteY87" fmla="*/ 1820614 h 2666451"/>
                  <a:gd name="connsiteX88" fmla="*/ 102596 w 1739754"/>
                  <a:gd name="connsiteY88" fmla="*/ 1806327 h 2666451"/>
                  <a:gd name="connsiteX89" fmla="*/ 145458 w 1739754"/>
                  <a:gd name="connsiteY89" fmla="*/ 1720602 h 2666451"/>
                  <a:gd name="connsiteX90" fmla="*/ 188321 w 1739754"/>
                  <a:gd name="connsiteY90" fmla="*/ 1687264 h 2666451"/>
                  <a:gd name="connsiteX91" fmla="*/ 202608 w 1739754"/>
                  <a:gd name="connsiteY91" fmla="*/ 1653927 h 2666451"/>
                  <a:gd name="connsiteX92" fmla="*/ 193083 w 1739754"/>
                  <a:gd name="connsiteY92" fmla="*/ 1606302 h 2666451"/>
                  <a:gd name="connsiteX93" fmla="*/ 154983 w 1739754"/>
                  <a:gd name="connsiteY93" fmla="*/ 1549152 h 2666451"/>
                  <a:gd name="connsiteX94" fmla="*/ 140696 w 1739754"/>
                  <a:gd name="connsiteY94" fmla="*/ 1377702 h 2666451"/>
                  <a:gd name="connsiteX95" fmla="*/ 121646 w 1739754"/>
                  <a:gd name="connsiteY95" fmla="*/ 1311027 h 2666451"/>
                  <a:gd name="connsiteX96" fmla="*/ 107358 w 1739754"/>
                  <a:gd name="connsiteY96" fmla="*/ 1244352 h 2666451"/>
                  <a:gd name="connsiteX97" fmla="*/ 78783 w 1739754"/>
                  <a:gd name="connsiteY97" fmla="*/ 1177677 h 2666451"/>
                  <a:gd name="connsiteX98" fmla="*/ 45446 w 1739754"/>
                  <a:gd name="connsiteY98" fmla="*/ 1096714 h 2666451"/>
                  <a:gd name="connsiteX99" fmla="*/ 21633 w 1739754"/>
                  <a:gd name="connsiteY99" fmla="*/ 1025277 h 2666451"/>
                  <a:gd name="connsiteX100" fmla="*/ 202 w 1739754"/>
                  <a:gd name="connsiteY100" fmla="*/ 980033 h 2666451"/>
                  <a:gd name="connsiteX101" fmla="*/ 14490 w 1739754"/>
                  <a:gd name="connsiteY101" fmla="*/ 930027 h 2666451"/>
                  <a:gd name="connsiteX102" fmla="*/ 69259 w 1739754"/>
                  <a:gd name="connsiteY102" fmla="*/ 810964 h 2666451"/>
                  <a:gd name="connsiteX103" fmla="*/ 221658 w 1739754"/>
                  <a:gd name="connsiteY103" fmla="*/ 601414 h 2666451"/>
                  <a:gd name="connsiteX104" fmla="*/ 288333 w 1739754"/>
                  <a:gd name="connsiteY104" fmla="*/ 515689 h 2666451"/>
                  <a:gd name="connsiteX105" fmla="*/ 412158 w 1739754"/>
                  <a:gd name="connsiteY105" fmla="*/ 406152 h 2666451"/>
                  <a:gd name="connsiteX106" fmla="*/ 535983 w 1739754"/>
                  <a:gd name="connsiteY106" fmla="*/ 291851 h 2666451"/>
                  <a:gd name="connsiteX107" fmla="*/ 640758 w 1739754"/>
                  <a:gd name="connsiteY107" fmla="*/ 229939 h 2666451"/>
                  <a:gd name="connsiteX108" fmla="*/ 733628 w 1739754"/>
                  <a:gd name="connsiteY108" fmla="*/ 168026 h 2666451"/>
                  <a:gd name="connsiteX109" fmla="*/ 978896 w 1739754"/>
                  <a:gd name="connsiteY109" fmla="*/ 63251 h 2666451"/>
                  <a:gd name="connsiteX110" fmla="*/ 1159871 w 1739754"/>
                  <a:gd name="connsiteY110" fmla="*/ 6102 h 2666451"/>
                  <a:gd name="connsiteX111" fmla="*/ 1202733 w 1739754"/>
                  <a:gd name="connsiteY111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897933 w 1739754"/>
                  <a:gd name="connsiteY62" fmla="*/ 1782514 h 2666451"/>
                  <a:gd name="connsiteX63" fmla="*/ 940796 w 1739754"/>
                  <a:gd name="connsiteY63" fmla="*/ 1892052 h 2666451"/>
                  <a:gd name="connsiteX64" fmla="*/ 990801 w 1739754"/>
                  <a:gd name="connsiteY64" fmla="*/ 1975396 h 2666451"/>
                  <a:gd name="connsiteX65" fmla="*/ 976514 w 1739754"/>
                  <a:gd name="connsiteY65" fmla="*/ 2080171 h 2666451"/>
                  <a:gd name="connsiteX66" fmla="*/ 926508 w 1739754"/>
                  <a:gd name="connsiteY66" fmla="*/ 2144464 h 2666451"/>
                  <a:gd name="connsiteX67" fmla="*/ 893171 w 1739754"/>
                  <a:gd name="connsiteY67" fmla="*/ 2239714 h 2666451"/>
                  <a:gd name="connsiteX68" fmla="*/ 897933 w 1739754"/>
                  <a:gd name="connsiteY68" fmla="*/ 2287339 h 2666451"/>
                  <a:gd name="connsiteX69" fmla="*/ 893171 w 1739754"/>
                  <a:gd name="connsiteY69" fmla="*/ 2396877 h 2666451"/>
                  <a:gd name="connsiteX70" fmla="*/ 688383 w 1739754"/>
                  <a:gd name="connsiteY70" fmla="*/ 2449264 h 2666451"/>
                  <a:gd name="connsiteX71" fmla="*/ 607421 w 1739754"/>
                  <a:gd name="connsiteY71" fmla="*/ 2511177 h 2666451"/>
                  <a:gd name="connsiteX72" fmla="*/ 540746 w 1739754"/>
                  <a:gd name="connsiteY72" fmla="*/ 2554039 h 2666451"/>
                  <a:gd name="connsiteX73" fmla="*/ 497883 w 1739754"/>
                  <a:gd name="connsiteY73" fmla="*/ 2587377 h 2666451"/>
                  <a:gd name="connsiteX74" fmla="*/ 450258 w 1739754"/>
                  <a:gd name="connsiteY74" fmla="*/ 2635002 h 2666451"/>
                  <a:gd name="connsiteX75" fmla="*/ 416921 w 1739754"/>
                  <a:gd name="connsiteY75" fmla="*/ 2654052 h 2666451"/>
                  <a:gd name="connsiteX76" fmla="*/ 359771 w 1739754"/>
                  <a:gd name="connsiteY76" fmla="*/ 2663577 h 2666451"/>
                  <a:gd name="connsiteX77" fmla="*/ 297858 w 1739754"/>
                  <a:gd name="connsiteY77" fmla="*/ 2601664 h 2666451"/>
                  <a:gd name="connsiteX78" fmla="*/ 181177 w 1739754"/>
                  <a:gd name="connsiteY78" fmla="*/ 2456408 h 2666451"/>
                  <a:gd name="connsiteX79" fmla="*/ 150221 w 1739754"/>
                  <a:gd name="connsiteY79" fmla="*/ 2415927 h 2666451"/>
                  <a:gd name="connsiteX80" fmla="*/ 135933 w 1739754"/>
                  <a:gd name="connsiteY80" fmla="*/ 2358777 h 2666451"/>
                  <a:gd name="connsiteX81" fmla="*/ 121646 w 1739754"/>
                  <a:gd name="connsiteY81" fmla="*/ 2315914 h 2666451"/>
                  <a:gd name="connsiteX82" fmla="*/ 88308 w 1739754"/>
                  <a:gd name="connsiteY82" fmla="*/ 2187327 h 2666451"/>
                  <a:gd name="connsiteX83" fmla="*/ 78783 w 1739754"/>
                  <a:gd name="connsiteY83" fmla="*/ 2111127 h 2666451"/>
                  <a:gd name="connsiteX84" fmla="*/ 97833 w 1739754"/>
                  <a:gd name="connsiteY84" fmla="*/ 1944439 h 2666451"/>
                  <a:gd name="connsiteX85" fmla="*/ 135933 w 1739754"/>
                  <a:gd name="connsiteY85" fmla="*/ 1868239 h 2666451"/>
                  <a:gd name="connsiteX86" fmla="*/ 131171 w 1739754"/>
                  <a:gd name="connsiteY86" fmla="*/ 1825377 h 2666451"/>
                  <a:gd name="connsiteX87" fmla="*/ 112121 w 1739754"/>
                  <a:gd name="connsiteY87" fmla="*/ 1820614 h 2666451"/>
                  <a:gd name="connsiteX88" fmla="*/ 102596 w 1739754"/>
                  <a:gd name="connsiteY88" fmla="*/ 1806327 h 2666451"/>
                  <a:gd name="connsiteX89" fmla="*/ 145458 w 1739754"/>
                  <a:gd name="connsiteY89" fmla="*/ 1720602 h 2666451"/>
                  <a:gd name="connsiteX90" fmla="*/ 188321 w 1739754"/>
                  <a:gd name="connsiteY90" fmla="*/ 1687264 h 2666451"/>
                  <a:gd name="connsiteX91" fmla="*/ 202608 w 1739754"/>
                  <a:gd name="connsiteY91" fmla="*/ 1653927 h 2666451"/>
                  <a:gd name="connsiteX92" fmla="*/ 193083 w 1739754"/>
                  <a:gd name="connsiteY92" fmla="*/ 1606302 h 2666451"/>
                  <a:gd name="connsiteX93" fmla="*/ 154983 w 1739754"/>
                  <a:gd name="connsiteY93" fmla="*/ 1549152 h 2666451"/>
                  <a:gd name="connsiteX94" fmla="*/ 140696 w 1739754"/>
                  <a:gd name="connsiteY94" fmla="*/ 1377702 h 2666451"/>
                  <a:gd name="connsiteX95" fmla="*/ 121646 w 1739754"/>
                  <a:gd name="connsiteY95" fmla="*/ 1311027 h 2666451"/>
                  <a:gd name="connsiteX96" fmla="*/ 107358 w 1739754"/>
                  <a:gd name="connsiteY96" fmla="*/ 1244352 h 2666451"/>
                  <a:gd name="connsiteX97" fmla="*/ 78783 w 1739754"/>
                  <a:gd name="connsiteY97" fmla="*/ 1177677 h 2666451"/>
                  <a:gd name="connsiteX98" fmla="*/ 45446 w 1739754"/>
                  <a:gd name="connsiteY98" fmla="*/ 1096714 h 2666451"/>
                  <a:gd name="connsiteX99" fmla="*/ 21633 w 1739754"/>
                  <a:gd name="connsiteY99" fmla="*/ 1025277 h 2666451"/>
                  <a:gd name="connsiteX100" fmla="*/ 202 w 1739754"/>
                  <a:gd name="connsiteY100" fmla="*/ 980033 h 2666451"/>
                  <a:gd name="connsiteX101" fmla="*/ 14490 w 1739754"/>
                  <a:gd name="connsiteY101" fmla="*/ 930027 h 2666451"/>
                  <a:gd name="connsiteX102" fmla="*/ 69259 w 1739754"/>
                  <a:gd name="connsiteY102" fmla="*/ 810964 h 2666451"/>
                  <a:gd name="connsiteX103" fmla="*/ 221658 w 1739754"/>
                  <a:gd name="connsiteY103" fmla="*/ 601414 h 2666451"/>
                  <a:gd name="connsiteX104" fmla="*/ 288333 w 1739754"/>
                  <a:gd name="connsiteY104" fmla="*/ 515689 h 2666451"/>
                  <a:gd name="connsiteX105" fmla="*/ 412158 w 1739754"/>
                  <a:gd name="connsiteY105" fmla="*/ 406152 h 2666451"/>
                  <a:gd name="connsiteX106" fmla="*/ 535983 w 1739754"/>
                  <a:gd name="connsiteY106" fmla="*/ 291851 h 2666451"/>
                  <a:gd name="connsiteX107" fmla="*/ 640758 w 1739754"/>
                  <a:gd name="connsiteY107" fmla="*/ 229939 h 2666451"/>
                  <a:gd name="connsiteX108" fmla="*/ 733628 w 1739754"/>
                  <a:gd name="connsiteY108" fmla="*/ 168026 h 2666451"/>
                  <a:gd name="connsiteX109" fmla="*/ 978896 w 1739754"/>
                  <a:gd name="connsiteY109" fmla="*/ 63251 h 2666451"/>
                  <a:gd name="connsiteX110" fmla="*/ 1159871 w 1739754"/>
                  <a:gd name="connsiteY110" fmla="*/ 6102 h 2666451"/>
                  <a:gd name="connsiteX111" fmla="*/ 1202733 w 1739754"/>
                  <a:gd name="connsiteY111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938414 w 1739754"/>
                  <a:gd name="connsiteY62" fmla="*/ 1799183 h 2666451"/>
                  <a:gd name="connsiteX63" fmla="*/ 940796 w 1739754"/>
                  <a:gd name="connsiteY63" fmla="*/ 1892052 h 2666451"/>
                  <a:gd name="connsiteX64" fmla="*/ 990801 w 1739754"/>
                  <a:gd name="connsiteY64" fmla="*/ 1975396 h 2666451"/>
                  <a:gd name="connsiteX65" fmla="*/ 976514 w 1739754"/>
                  <a:gd name="connsiteY65" fmla="*/ 2080171 h 2666451"/>
                  <a:gd name="connsiteX66" fmla="*/ 926508 w 1739754"/>
                  <a:gd name="connsiteY66" fmla="*/ 2144464 h 2666451"/>
                  <a:gd name="connsiteX67" fmla="*/ 893171 w 1739754"/>
                  <a:gd name="connsiteY67" fmla="*/ 2239714 h 2666451"/>
                  <a:gd name="connsiteX68" fmla="*/ 897933 w 1739754"/>
                  <a:gd name="connsiteY68" fmla="*/ 2287339 h 2666451"/>
                  <a:gd name="connsiteX69" fmla="*/ 893171 w 1739754"/>
                  <a:gd name="connsiteY69" fmla="*/ 2396877 h 2666451"/>
                  <a:gd name="connsiteX70" fmla="*/ 688383 w 1739754"/>
                  <a:gd name="connsiteY70" fmla="*/ 2449264 h 2666451"/>
                  <a:gd name="connsiteX71" fmla="*/ 607421 w 1739754"/>
                  <a:gd name="connsiteY71" fmla="*/ 2511177 h 2666451"/>
                  <a:gd name="connsiteX72" fmla="*/ 540746 w 1739754"/>
                  <a:gd name="connsiteY72" fmla="*/ 2554039 h 2666451"/>
                  <a:gd name="connsiteX73" fmla="*/ 497883 w 1739754"/>
                  <a:gd name="connsiteY73" fmla="*/ 2587377 h 2666451"/>
                  <a:gd name="connsiteX74" fmla="*/ 450258 w 1739754"/>
                  <a:gd name="connsiteY74" fmla="*/ 2635002 h 2666451"/>
                  <a:gd name="connsiteX75" fmla="*/ 416921 w 1739754"/>
                  <a:gd name="connsiteY75" fmla="*/ 2654052 h 2666451"/>
                  <a:gd name="connsiteX76" fmla="*/ 359771 w 1739754"/>
                  <a:gd name="connsiteY76" fmla="*/ 2663577 h 2666451"/>
                  <a:gd name="connsiteX77" fmla="*/ 297858 w 1739754"/>
                  <a:gd name="connsiteY77" fmla="*/ 2601664 h 2666451"/>
                  <a:gd name="connsiteX78" fmla="*/ 181177 w 1739754"/>
                  <a:gd name="connsiteY78" fmla="*/ 2456408 h 2666451"/>
                  <a:gd name="connsiteX79" fmla="*/ 150221 w 1739754"/>
                  <a:gd name="connsiteY79" fmla="*/ 2415927 h 2666451"/>
                  <a:gd name="connsiteX80" fmla="*/ 135933 w 1739754"/>
                  <a:gd name="connsiteY80" fmla="*/ 2358777 h 2666451"/>
                  <a:gd name="connsiteX81" fmla="*/ 121646 w 1739754"/>
                  <a:gd name="connsiteY81" fmla="*/ 2315914 h 2666451"/>
                  <a:gd name="connsiteX82" fmla="*/ 88308 w 1739754"/>
                  <a:gd name="connsiteY82" fmla="*/ 2187327 h 2666451"/>
                  <a:gd name="connsiteX83" fmla="*/ 78783 w 1739754"/>
                  <a:gd name="connsiteY83" fmla="*/ 2111127 h 2666451"/>
                  <a:gd name="connsiteX84" fmla="*/ 97833 w 1739754"/>
                  <a:gd name="connsiteY84" fmla="*/ 1944439 h 2666451"/>
                  <a:gd name="connsiteX85" fmla="*/ 135933 w 1739754"/>
                  <a:gd name="connsiteY85" fmla="*/ 1868239 h 2666451"/>
                  <a:gd name="connsiteX86" fmla="*/ 131171 w 1739754"/>
                  <a:gd name="connsiteY86" fmla="*/ 1825377 h 2666451"/>
                  <a:gd name="connsiteX87" fmla="*/ 112121 w 1739754"/>
                  <a:gd name="connsiteY87" fmla="*/ 1820614 h 2666451"/>
                  <a:gd name="connsiteX88" fmla="*/ 102596 w 1739754"/>
                  <a:gd name="connsiteY88" fmla="*/ 1806327 h 2666451"/>
                  <a:gd name="connsiteX89" fmla="*/ 145458 w 1739754"/>
                  <a:gd name="connsiteY89" fmla="*/ 1720602 h 2666451"/>
                  <a:gd name="connsiteX90" fmla="*/ 188321 w 1739754"/>
                  <a:gd name="connsiteY90" fmla="*/ 1687264 h 2666451"/>
                  <a:gd name="connsiteX91" fmla="*/ 202608 w 1739754"/>
                  <a:gd name="connsiteY91" fmla="*/ 1653927 h 2666451"/>
                  <a:gd name="connsiteX92" fmla="*/ 193083 w 1739754"/>
                  <a:gd name="connsiteY92" fmla="*/ 1606302 h 2666451"/>
                  <a:gd name="connsiteX93" fmla="*/ 154983 w 1739754"/>
                  <a:gd name="connsiteY93" fmla="*/ 1549152 h 2666451"/>
                  <a:gd name="connsiteX94" fmla="*/ 140696 w 1739754"/>
                  <a:gd name="connsiteY94" fmla="*/ 1377702 h 2666451"/>
                  <a:gd name="connsiteX95" fmla="*/ 121646 w 1739754"/>
                  <a:gd name="connsiteY95" fmla="*/ 1311027 h 2666451"/>
                  <a:gd name="connsiteX96" fmla="*/ 107358 w 1739754"/>
                  <a:gd name="connsiteY96" fmla="*/ 1244352 h 2666451"/>
                  <a:gd name="connsiteX97" fmla="*/ 78783 w 1739754"/>
                  <a:gd name="connsiteY97" fmla="*/ 1177677 h 2666451"/>
                  <a:gd name="connsiteX98" fmla="*/ 45446 w 1739754"/>
                  <a:gd name="connsiteY98" fmla="*/ 1096714 h 2666451"/>
                  <a:gd name="connsiteX99" fmla="*/ 21633 w 1739754"/>
                  <a:gd name="connsiteY99" fmla="*/ 1025277 h 2666451"/>
                  <a:gd name="connsiteX100" fmla="*/ 202 w 1739754"/>
                  <a:gd name="connsiteY100" fmla="*/ 980033 h 2666451"/>
                  <a:gd name="connsiteX101" fmla="*/ 14490 w 1739754"/>
                  <a:gd name="connsiteY101" fmla="*/ 930027 h 2666451"/>
                  <a:gd name="connsiteX102" fmla="*/ 69259 w 1739754"/>
                  <a:gd name="connsiteY102" fmla="*/ 810964 h 2666451"/>
                  <a:gd name="connsiteX103" fmla="*/ 221658 w 1739754"/>
                  <a:gd name="connsiteY103" fmla="*/ 601414 h 2666451"/>
                  <a:gd name="connsiteX104" fmla="*/ 288333 w 1739754"/>
                  <a:gd name="connsiteY104" fmla="*/ 515689 h 2666451"/>
                  <a:gd name="connsiteX105" fmla="*/ 412158 w 1739754"/>
                  <a:gd name="connsiteY105" fmla="*/ 406152 h 2666451"/>
                  <a:gd name="connsiteX106" fmla="*/ 535983 w 1739754"/>
                  <a:gd name="connsiteY106" fmla="*/ 291851 h 2666451"/>
                  <a:gd name="connsiteX107" fmla="*/ 640758 w 1739754"/>
                  <a:gd name="connsiteY107" fmla="*/ 229939 h 2666451"/>
                  <a:gd name="connsiteX108" fmla="*/ 733628 w 1739754"/>
                  <a:gd name="connsiteY108" fmla="*/ 168026 h 2666451"/>
                  <a:gd name="connsiteX109" fmla="*/ 978896 w 1739754"/>
                  <a:gd name="connsiteY109" fmla="*/ 63251 h 2666451"/>
                  <a:gd name="connsiteX110" fmla="*/ 1159871 w 1739754"/>
                  <a:gd name="connsiteY110" fmla="*/ 6102 h 2666451"/>
                  <a:gd name="connsiteX111" fmla="*/ 1202733 w 1739754"/>
                  <a:gd name="connsiteY111" fmla="*/ 10864 h 2666451"/>
                  <a:gd name="connsiteX0" fmla="*/ 1202733 w 1739754"/>
                  <a:gd name="connsiteY0" fmla="*/ 10864 h 2666451"/>
                  <a:gd name="connsiteX1" fmla="*/ 1197971 w 1739754"/>
                  <a:gd name="connsiteY1" fmla="*/ 68014 h 2666451"/>
                  <a:gd name="connsiteX2" fmla="*/ 1164633 w 1739754"/>
                  <a:gd name="connsiteY2" fmla="*/ 129927 h 2666451"/>
                  <a:gd name="connsiteX3" fmla="*/ 1164633 w 1739754"/>
                  <a:gd name="connsiteY3" fmla="*/ 206127 h 2666451"/>
                  <a:gd name="connsiteX4" fmla="*/ 1202733 w 1739754"/>
                  <a:gd name="connsiteY4" fmla="*/ 258514 h 2666451"/>
                  <a:gd name="connsiteX5" fmla="*/ 1245596 w 1739754"/>
                  <a:gd name="connsiteY5" fmla="*/ 296614 h 2666451"/>
                  <a:gd name="connsiteX6" fmla="*/ 1255121 w 1739754"/>
                  <a:gd name="connsiteY6" fmla="*/ 315664 h 2666451"/>
                  <a:gd name="connsiteX7" fmla="*/ 1250358 w 1739754"/>
                  <a:gd name="connsiteY7" fmla="*/ 344239 h 2666451"/>
                  <a:gd name="connsiteX8" fmla="*/ 1250358 w 1739754"/>
                  <a:gd name="connsiteY8" fmla="*/ 425202 h 2666451"/>
                  <a:gd name="connsiteX9" fmla="*/ 1269408 w 1739754"/>
                  <a:gd name="connsiteY9" fmla="*/ 463302 h 2666451"/>
                  <a:gd name="connsiteX10" fmla="*/ 1378946 w 1739754"/>
                  <a:gd name="connsiteY10" fmla="*/ 520452 h 2666451"/>
                  <a:gd name="connsiteX11" fmla="*/ 1407521 w 1739754"/>
                  <a:gd name="connsiteY11" fmla="*/ 539502 h 2666451"/>
                  <a:gd name="connsiteX12" fmla="*/ 1521821 w 1739754"/>
                  <a:gd name="connsiteY12" fmla="*/ 587127 h 2666451"/>
                  <a:gd name="connsiteX13" fmla="*/ 1559921 w 1739754"/>
                  <a:gd name="connsiteY13" fmla="*/ 601414 h 2666451"/>
                  <a:gd name="connsiteX14" fmla="*/ 1607546 w 1739754"/>
                  <a:gd name="connsiteY14" fmla="*/ 639514 h 2666451"/>
                  <a:gd name="connsiteX15" fmla="*/ 1636121 w 1739754"/>
                  <a:gd name="connsiteY15" fmla="*/ 672852 h 2666451"/>
                  <a:gd name="connsiteX16" fmla="*/ 1683746 w 1739754"/>
                  <a:gd name="connsiteY16" fmla="*/ 706189 h 2666451"/>
                  <a:gd name="connsiteX17" fmla="*/ 1709940 w 1739754"/>
                  <a:gd name="connsiteY17" fmla="*/ 749052 h 2666451"/>
                  <a:gd name="connsiteX18" fmla="*/ 1702796 w 1739754"/>
                  <a:gd name="connsiteY18" fmla="*/ 853827 h 2666451"/>
                  <a:gd name="connsiteX19" fmla="*/ 1664696 w 1739754"/>
                  <a:gd name="connsiteY19" fmla="*/ 887164 h 2666451"/>
                  <a:gd name="connsiteX20" fmla="*/ 1598021 w 1739754"/>
                  <a:gd name="connsiteY20" fmla="*/ 906214 h 2666451"/>
                  <a:gd name="connsiteX21" fmla="*/ 1531346 w 1739754"/>
                  <a:gd name="connsiteY21" fmla="*/ 939552 h 2666451"/>
                  <a:gd name="connsiteX22" fmla="*/ 1498008 w 1739754"/>
                  <a:gd name="connsiteY22" fmla="*/ 987177 h 2666451"/>
                  <a:gd name="connsiteX23" fmla="*/ 1345608 w 1739754"/>
                  <a:gd name="connsiteY23" fmla="*/ 1030039 h 2666451"/>
                  <a:gd name="connsiteX24" fmla="*/ 1297983 w 1739754"/>
                  <a:gd name="connsiteY24" fmla="*/ 1053852 h 2666451"/>
                  <a:gd name="connsiteX25" fmla="*/ 1231308 w 1739754"/>
                  <a:gd name="connsiteY25" fmla="*/ 1082427 h 2666451"/>
                  <a:gd name="connsiteX26" fmla="*/ 1145583 w 1739754"/>
                  <a:gd name="connsiteY26" fmla="*/ 1091951 h 2666451"/>
                  <a:gd name="connsiteX27" fmla="*/ 1078908 w 1739754"/>
                  <a:gd name="connsiteY27" fmla="*/ 1130052 h 2666451"/>
                  <a:gd name="connsiteX28" fmla="*/ 966990 w 1739754"/>
                  <a:gd name="connsiteY28" fmla="*/ 1122908 h 2666451"/>
                  <a:gd name="connsiteX29" fmla="*/ 859833 w 1739754"/>
                  <a:gd name="connsiteY29" fmla="*/ 1058614 h 2666451"/>
                  <a:gd name="connsiteX30" fmla="*/ 812208 w 1739754"/>
                  <a:gd name="connsiteY30" fmla="*/ 1034802 h 2666451"/>
                  <a:gd name="connsiteX31" fmla="*/ 769346 w 1739754"/>
                  <a:gd name="connsiteY31" fmla="*/ 1006227 h 2666451"/>
                  <a:gd name="connsiteX32" fmla="*/ 678858 w 1739754"/>
                  <a:gd name="connsiteY32" fmla="*/ 958602 h 2666451"/>
                  <a:gd name="connsiteX33" fmla="*/ 645521 w 1739754"/>
                  <a:gd name="connsiteY33" fmla="*/ 939552 h 2666451"/>
                  <a:gd name="connsiteX34" fmla="*/ 526458 w 1739754"/>
                  <a:gd name="connsiteY34" fmla="*/ 910977 h 2666451"/>
                  <a:gd name="connsiteX35" fmla="*/ 421683 w 1739754"/>
                  <a:gd name="connsiteY35" fmla="*/ 882402 h 2666451"/>
                  <a:gd name="connsiteX36" fmla="*/ 321671 w 1739754"/>
                  <a:gd name="connsiteY36" fmla="*/ 896689 h 2666451"/>
                  <a:gd name="connsiteX37" fmla="*/ 283571 w 1739754"/>
                  <a:gd name="connsiteY37" fmla="*/ 949077 h 2666451"/>
                  <a:gd name="connsiteX38" fmla="*/ 264521 w 1739754"/>
                  <a:gd name="connsiteY38" fmla="*/ 1039564 h 2666451"/>
                  <a:gd name="connsiteX39" fmla="*/ 264521 w 1739754"/>
                  <a:gd name="connsiteY39" fmla="*/ 1120527 h 2666451"/>
                  <a:gd name="connsiteX40" fmla="*/ 326433 w 1739754"/>
                  <a:gd name="connsiteY40" fmla="*/ 1163389 h 2666451"/>
                  <a:gd name="connsiteX41" fmla="*/ 326433 w 1739754"/>
                  <a:gd name="connsiteY41" fmla="*/ 1244352 h 2666451"/>
                  <a:gd name="connsiteX42" fmla="*/ 276427 w 1739754"/>
                  <a:gd name="connsiteY42" fmla="*/ 1325314 h 2666451"/>
                  <a:gd name="connsiteX43" fmla="*/ 250233 w 1739754"/>
                  <a:gd name="connsiteY43" fmla="*/ 1425327 h 2666451"/>
                  <a:gd name="connsiteX44" fmla="*/ 278808 w 1739754"/>
                  <a:gd name="connsiteY44" fmla="*/ 1472952 h 2666451"/>
                  <a:gd name="connsiteX45" fmla="*/ 366915 w 1739754"/>
                  <a:gd name="connsiteY45" fmla="*/ 1522958 h 2666451"/>
                  <a:gd name="connsiteX46" fmla="*/ 369295 w 1739754"/>
                  <a:gd name="connsiteY46" fmla="*/ 1480095 h 2666451"/>
                  <a:gd name="connsiteX47" fmla="*/ 416921 w 1739754"/>
                  <a:gd name="connsiteY47" fmla="*/ 1449139 h 2666451"/>
                  <a:gd name="connsiteX48" fmla="*/ 445496 w 1739754"/>
                  <a:gd name="connsiteY48" fmla="*/ 1439614 h 2666451"/>
                  <a:gd name="connsiteX49" fmla="*/ 545508 w 1739754"/>
                  <a:gd name="connsiteY49" fmla="*/ 1458664 h 2666451"/>
                  <a:gd name="connsiteX50" fmla="*/ 555033 w 1739754"/>
                  <a:gd name="connsiteY50" fmla="*/ 1482477 h 2666451"/>
                  <a:gd name="connsiteX51" fmla="*/ 550271 w 1739754"/>
                  <a:gd name="connsiteY51" fmla="*/ 1534864 h 2666451"/>
                  <a:gd name="connsiteX52" fmla="*/ 550271 w 1739754"/>
                  <a:gd name="connsiteY52" fmla="*/ 1601539 h 2666451"/>
                  <a:gd name="connsiteX53" fmla="*/ 559796 w 1739754"/>
                  <a:gd name="connsiteY53" fmla="*/ 1620589 h 2666451"/>
                  <a:gd name="connsiteX54" fmla="*/ 626471 w 1739754"/>
                  <a:gd name="connsiteY54" fmla="*/ 1639639 h 2666451"/>
                  <a:gd name="connsiteX55" fmla="*/ 645521 w 1739754"/>
                  <a:gd name="connsiteY55" fmla="*/ 1592014 h 2666451"/>
                  <a:gd name="connsiteX56" fmla="*/ 702671 w 1739754"/>
                  <a:gd name="connsiteY56" fmla="*/ 1620589 h 2666451"/>
                  <a:gd name="connsiteX57" fmla="*/ 731246 w 1739754"/>
                  <a:gd name="connsiteY57" fmla="*/ 1630114 h 2666451"/>
                  <a:gd name="connsiteX58" fmla="*/ 783633 w 1739754"/>
                  <a:gd name="connsiteY58" fmla="*/ 1663452 h 2666451"/>
                  <a:gd name="connsiteX59" fmla="*/ 859833 w 1739754"/>
                  <a:gd name="connsiteY59" fmla="*/ 1687264 h 2666451"/>
                  <a:gd name="connsiteX60" fmla="*/ 878883 w 1739754"/>
                  <a:gd name="connsiteY60" fmla="*/ 1701552 h 2666451"/>
                  <a:gd name="connsiteX61" fmla="*/ 888408 w 1739754"/>
                  <a:gd name="connsiteY61" fmla="*/ 1739652 h 2666451"/>
                  <a:gd name="connsiteX62" fmla="*/ 938414 w 1739754"/>
                  <a:gd name="connsiteY62" fmla="*/ 1799183 h 2666451"/>
                  <a:gd name="connsiteX63" fmla="*/ 940796 w 1739754"/>
                  <a:gd name="connsiteY63" fmla="*/ 1892052 h 2666451"/>
                  <a:gd name="connsiteX64" fmla="*/ 990801 w 1739754"/>
                  <a:gd name="connsiteY64" fmla="*/ 1975396 h 2666451"/>
                  <a:gd name="connsiteX65" fmla="*/ 976514 w 1739754"/>
                  <a:gd name="connsiteY65" fmla="*/ 2080171 h 2666451"/>
                  <a:gd name="connsiteX66" fmla="*/ 926508 w 1739754"/>
                  <a:gd name="connsiteY66" fmla="*/ 2144464 h 2666451"/>
                  <a:gd name="connsiteX67" fmla="*/ 893171 w 1739754"/>
                  <a:gd name="connsiteY67" fmla="*/ 2239714 h 2666451"/>
                  <a:gd name="connsiteX68" fmla="*/ 897933 w 1739754"/>
                  <a:gd name="connsiteY68" fmla="*/ 2287339 h 2666451"/>
                  <a:gd name="connsiteX69" fmla="*/ 893171 w 1739754"/>
                  <a:gd name="connsiteY69" fmla="*/ 2396877 h 2666451"/>
                  <a:gd name="connsiteX70" fmla="*/ 688383 w 1739754"/>
                  <a:gd name="connsiteY70" fmla="*/ 2449264 h 2666451"/>
                  <a:gd name="connsiteX71" fmla="*/ 607421 w 1739754"/>
                  <a:gd name="connsiteY71" fmla="*/ 2511177 h 2666451"/>
                  <a:gd name="connsiteX72" fmla="*/ 540746 w 1739754"/>
                  <a:gd name="connsiteY72" fmla="*/ 2554039 h 2666451"/>
                  <a:gd name="connsiteX73" fmla="*/ 497883 w 1739754"/>
                  <a:gd name="connsiteY73" fmla="*/ 2587377 h 2666451"/>
                  <a:gd name="connsiteX74" fmla="*/ 450258 w 1739754"/>
                  <a:gd name="connsiteY74" fmla="*/ 2635002 h 2666451"/>
                  <a:gd name="connsiteX75" fmla="*/ 416921 w 1739754"/>
                  <a:gd name="connsiteY75" fmla="*/ 2654052 h 2666451"/>
                  <a:gd name="connsiteX76" fmla="*/ 359771 w 1739754"/>
                  <a:gd name="connsiteY76" fmla="*/ 2663577 h 2666451"/>
                  <a:gd name="connsiteX77" fmla="*/ 297858 w 1739754"/>
                  <a:gd name="connsiteY77" fmla="*/ 2601664 h 2666451"/>
                  <a:gd name="connsiteX78" fmla="*/ 181177 w 1739754"/>
                  <a:gd name="connsiteY78" fmla="*/ 2456408 h 2666451"/>
                  <a:gd name="connsiteX79" fmla="*/ 150221 w 1739754"/>
                  <a:gd name="connsiteY79" fmla="*/ 2415927 h 2666451"/>
                  <a:gd name="connsiteX80" fmla="*/ 135933 w 1739754"/>
                  <a:gd name="connsiteY80" fmla="*/ 2358777 h 2666451"/>
                  <a:gd name="connsiteX81" fmla="*/ 121646 w 1739754"/>
                  <a:gd name="connsiteY81" fmla="*/ 2315914 h 2666451"/>
                  <a:gd name="connsiteX82" fmla="*/ 88308 w 1739754"/>
                  <a:gd name="connsiteY82" fmla="*/ 2187327 h 2666451"/>
                  <a:gd name="connsiteX83" fmla="*/ 78783 w 1739754"/>
                  <a:gd name="connsiteY83" fmla="*/ 2111127 h 2666451"/>
                  <a:gd name="connsiteX84" fmla="*/ 97833 w 1739754"/>
                  <a:gd name="connsiteY84" fmla="*/ 1944439 h 2666451"/>
                  <a:gd name="connsiteX85" fmla="*/ 135933 w 1739754"/>
                  <a:gd name="connsiteY85" fmla="*/ 1868239 h 2666451"/>
                  <a:gd name="connsiteX86" fmla="*/ 131171 w 1739754"/>
                  <a:gd name="connsiteY86" fmla="*/ 1825377 h 2666451"/>
                  <a:gd name="connsiteX87" fmla="*/ 112121 w 1739754"/>
                  <a:gd name="connsiteY87" fmla="*/ 1820614 h 2666451"/>
                  <a:gd name="connsiteX88" fmla="*/ 102596 w 1739754"/>
                  <a:gd name="connsiteY88" fmla="*/ 1806327 h 2666451"/>
                  <a:gd name="connsiteX89" fmla="*/ 145458 w 1739754"/>
                  <a:gd name="connsiteY89" fmla="*/ 1720602 h 2666451"/>
                  <a:gd name="connsiteX90" fmla="*/ 188321 w 1739754"/>
                  <a:gd name="connsiteY90" fmla="*/ 1687264 h 2666451"/>
                  <a:gd name="connsiteX91" fmla="*/ 202608 w 1739754"/>
                  <a:gd name="connsiteY91" fmla="*/ 1653927 h 2666451"/>
                  <a:gd name="connsiteX92" fmla="*/ 193083 w 1739754"/>
                  <a:gd name="connsiteY92" fmla="*/ 1606302 h 2666451"/>
                  <a:gd name="connsiteX93" fmla="*/ 154983 w 1739754"/>
                  <a:gd name="connsiteY93" fmla="*/ 1549152 h 2666451"/>
                  <a:gd name="connsiteX94" fmla="*/ 140696 w 1739754"/>
                  <a:gd name="connsiteY94" fmla="*/ 1377702 h 2666451"/>
                  <a:gd name="connsiteX95" fmla="*/ 121646 w 1739754"/>
                  <a:gd name="connsiteY95" fmla="*/ 1311027 h 2666451"/>
                  <a:gd name="connsiteX96" fmla="*/ 107358 w 1739754"/>
                  <a:gd name="connsiteY96" fmla="*/ 1244352 h 2666451"/>
                  <a:gd name="connsiteX97" fmla="*/ 78783 w 1739754"/>
                  <a:gd name="connsiteY97" fmla="*/ 1177677 h 2666451"/>
                  <a:gd name="connsiteX98" fmla="*/ 45446 w 1739754"/>
                  <a:gd name="connsiteY98" fmla="*/ 1096714 h 2666451"/>
                  <a:gd name="connsiteX99" fmla="*/ 21633 w 1739754"/>
                  <a:gd name="connsiteY99" fmla="*/ 1025277 h 2666451"/>
                  <a:gd name="connsiteX100" fmla="*/ 202 w 1739754"/>
                  <a:gd name="connsiteY100" fmla="*/ 980033 h 2666451"/>
                  <a:gd name="connsiteX101" fmla="*/ 14490 w 1739754"/>
                  <a:gd name="connsiteY101" fmla="*/ 930027 h 2666451"/>
                  <a:gd name="connsiteX102" fmla="*/ 69259 w 1739754"/>
                  <a:gd name="connsiteY102" fmla="*/ 810964 h 2666451"/>
                  <a:gd name="connsiteX103" fmla="*/ 221658 w 1739754"/>
                  <a:gd name="connsiteY103" fmla="*/ 601414 h 2666451"/>
                  <a:gd name="connsiteX104" fmla="*/ 288333 w 1739754"/>
                  <a:gd name="connsiteY104" fmla="*/ 515689 h 2666451"/>
                  <a:gd name="connsiteX105" fmla="*/ 412158 w 1739754"/>
                  <a:gd name="connsiteY105" fmla="*/ 406152 h 2666451"/>
                  <a:gd name="connsiteX106" fmla="*/ 535983 w 1739754"/>
                  <a:gd name="connsiteY106" fmla="*/ 291851 h 2666451"/>
                  <a:gd name="connsiteX107" fmla="*/ 640758 w 1739754"/>
                  <a:gd name="connsiteY107" fmla="*/ 229939 h 2666451"/>
                  <a:gd name="connsiteX108" fmla="*/ 733628 w 1739754"/>
                  <a:gd name="connsiteY108" fmla="*/ 168026 h 2666451"/>
                  <a:gd name="connsiteX109" fmla="*/ 978896 w 1739754"/>
                  <a:gd name="connsiteY109" fmla="*/ 63251 h 2666451"/>
                  <a:gd name="connsiteX110" fmla="*/ 1159871 w 1739754"/>
                  <a:gd name="connsiteY110" fmla="*/ 6102 h 2666451"/>
                  <a:gd name="connsiteX111" fmla="*/ 1202733 w 1739754"/>
                  <a:gd name="connsiteY111" fmla="*/ 10864 h 26664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</a:cxnLst>
                <a:rect l="l" t="t" r="r" b="b"/>
                <a:pathLst>
                  <a:path w="1739754" h="2666451">
                    <a:moveTo>
                      <a:pt x="1202733" y="10864"/>
                    </a:moveTo>
                    <a:cubicBezTo>
                      <a:pt x="1209083" y="21183"/>
                      <a:pt x="1204321" y="48170"/>
                      <a:pt x="1197971" y="68014"/>
                    </a:cubicBezTo>
                    <a:cubicBezTo>
                      <a:pt x="1191621" y="87858"/>
                      <a:pt x="1170189" y="106908"/>
                      <a:pt x="1164633" y="129927"/>
                    </a:cubicBezTo>
                    <a:cubicBezTo>
                      <a:pt x="1159077" y="152946"/>
                      <a:pt x="1158283" y="184696"/>
                      <a:pt x="1164633" y="206127"/>
                    </a:cubicBezTo>
                    <a:cubicBezTo>
                      <a:pt x="1170983" y="227558"/>
                      <a:pt x="1189239" y="243433"/>
                      <a:pt x="1202733" y="258514"/>
                    </a:cubicBezTo>
                    <a:cubicBezTo>
                      <a:pt x="1216227" y="273595"/>
                      <a:pt x="1236865" y="287089"/>
                      <a:pt x="1245596" y="296614"/>
                    </a:cubicBezTo>
                    <a:cubicBezTo>
                      <a:pt x="1254327" y="306139"/>
                      <a:pt x="1251946" y="309314"/>
                      <a:pt x="1255121" y="315664"/>
                    </a:cubicBezTo>
                    <a:cubicBezTo>
                      <a:pt x="1253533" y="325189"/>
                      <a:pt x="1251152" y="325983"/>
                      <a:pt x="1250358" y="344239"/>
                    </a:cubicBezTo>
                    <a:cubicBezTo>
                      <a:pt x="1249564" y="362495"/>
                      <a:pt x="1247183" y="405358"/>
                      <a:pt x="1250358" y="425202"/>
                    </a:cubicBezTo>
                    <a:cubicBezTo>
                      <a:pt x="1253533" y="445046"/>
                      <a:pt x="1247977" y="447427"/>
                      <a:pt x="1269408" y="463302"/>
                    </a:cubicBezTo>
                    <a:cubicBezTo>
                      <a:pt x="1290839" y="479177"/>
                      <a:pt x="1355927" y="507752"/>
                      <a:pt x="1378946" y="520452"/>
                    </a:cubicBezTo>
                    <a:cubicBezTo>
                      <a:pt x="1401965" y="533152"/>
                      <a:pt x="1383709" y="528390"/>
                      <a:pt x="1407521" y="539502"/>
                    </a:cubicBezTo>
                    <a:cubicBezTo>
                      <a:pt x="1431334" y="550615"/>
                      <a:pt x="1499596" y="577602"/>
                      <a:pt x="1521821" y="587127"/>
                    </a:cubicBezTo>
                    <a:cubicBezTo>
                      <a:pt x="1547221" y="597446"/>
                      <a:pt x="1545634" y="592683"/>
                      <a:pt x="1559921" y="601414"/>
                    </a:cubicBezTo>
                    <a:cubicBezTo>
                      <a:pt x="1574208" y="610145"/>
                      <a:pt x="1607059" y="639027"/>
                      <a:pt x="1607546" y="639514"/>
                    </a:cubicBezTo>
                    <a:cubicBezTo>
                      <a:pt x="1617895" y="649863"/>
                      <a:pt x="1623421" y="661740"/>
                      <a:pt x="1636121" y="672852"/>
                    </a:cubicBezTo>
                    <a:cubicBezTo>
                      <a:pt x="1648821" y="683964"/>
                      <a:pt x="1671443" y="693489"/>
                      <a:pt x="1683746" y="706189"/>
                    </a:cubicBezTo>
                    <a:cubicBezTo>
                      <a:pt x="1701544" y="732887"/>
                      <a:pt x="1692397" y="731509"/>
                      <a:pt x="1709940" y="749052"/>
                    </a:cubicBezTo>
                    <a:cubicBezTo>
                      <a:pt x="1777409" y="816520"/>
                      <a:pt x="1710337" y="830808"/>
                      <a:pt x="1702796" y="853827"/>
                    </a:cubicBezTo>
                    <a:cubicBezTo>
                      <a:pt x="1695255" y="876846"/>
                      <a:pt x="1682158" y="878433"/>
                      <a:pt x="1664696" y="887164"/>
                    </a:cubicBezTo>
                    <a:cubicBezTo>
                      <a:pt x="1647234" y="895895"/>
                      <a:pt x="1616277" y="899864"/>
                      <a:pt x="1598021" y="906214"/>
                    </a:cubicBezTo>
                    <a:cubicBezTo>
                      <a:pt x="1575796" y="914945"/>
                      <a:pt x="1548015" y="926058"/>
                      <a:pt x="1531346" y="939552"/>
                    </a:cubicBezTo>
                    <a:cubicBezTo>
                      <a:pt x="1507893" y="974731"/>
                      <a:pt x="1519165" y="958969"/>
                      <a:pt x="1498008" y="987177"/>
                    </a:cubicBezTo>
                    <a:cubicBezTo>
                      <a:pt x="1419427" y="1078458"/>
                      <a:pt x="1378945" y="1018927"/>
                      <a:pt x="1345608" y="1030039"/>
                    </a:cubicBezTo>
                    <a:cubicBezTo>
                      <a:pt x="1329733" y="1037977"/>
                      <a:pt x="1313203" y="1044720"/>
                      <a:pt x="1297983" y="1053852"/>
                    </a:cubicBezTo>
                    <a:cubicBezTo>
                      <a:pt x="1274742" y="1067796"/>
                      <a:pt x="1256708" y="1076077"/>
                      <a:pt x="1231308" y="1082427"/>
                    </a:cubicBezTo>
                    <a:cubicBezTo>
                      <a:pt x="1205908" y="1088777"/>
                      <a:pt x="1170983" y="1084014"/>
                      <a:pt x="1145583" y="1091951"/>
                    </a:cubicBezTo>
                    <a:cubicBezTo>
                      <a:pt x="1120183" y="1099888"/>
                      <a:pt x="1108673" y="1124893"/>
                      <a:pt x="1078908" y="1130052"/>
                    </a:cubicBezTo>
                    <a:cubicBezTo>
                      <a:pt x="1049143" y="1135211"/>
                      <a:pt x="1003502" y="1134814"/>
                      <a:pt x="966990" y="1122908"/>
                    </a:cubicBezTo>
                    <a:cubicBezTo>
                      <a:pt x="930478" y="1111002"/>
                      <a:pt x="885630" y="1073298"/>
                      <a:pt x="859833" y="1058614"/>
                    </a:cubicBezTo>
                    <a:cubicBezTo>
                      <a:pt x="834036" y="1043930"/>
                      <a:pt x="827289" y="1043533"/>
                      <a:pt x="812208" y="1034802"/>
                    </a:cubicBezTo>
                    <a:cubicBezTo>
                      <a:pt x="797127" y="1026071"/>
                      <a:pt x="791571" y="1018927"/>
                      <a:pt x="769346" y="1006227"/>
                    </a:cubicBezTo>
                    <a:cubicBezTo>
                      <a:pt x="747121" y="993527"/>
                      <a:pt x="712968" y="976555"/>
                      <a:pt x="678858" y="958602"/>
                    </a:cubicBezTo>
                    <a:cubicBezTo>
                      <a:pt x="667532" y="952641"/>
                      <a:pt x="657609" y="943757"/>
                      <a:pt x="645521" y="939552"/>
                    </a:cubicBezTo>
                    <a:cubicBezTo>
                      <a:pt x="625528" y="932598"/>
                      <a:pt x="555521" y="917435"/>
                      <a:pt x="526458" y="910977"/>
                    </a:cubicBezTo>
                    <a:cubicBezTo>
                      <a:pt x="489152" y="901452"/>
                      <a:pt x="455814" y="884783"/>
                      <a:pt x="421683" y="882402"/>
                    </a:cubicBezTo>
                    <a:cubicBezTo>
                      <a:pt x="388346" y="887164"/>
                      <a:pt x="344690" y="885576"/>
                      <a:pt x="321671" y="896689"/>
                    </a:cubicBezTo>
                    <a:cubicBezTo>
                      <a:pt x="298652" y="907802"/>
                      <a:pt x="293096" y="925265"/>
                      <a:pt x="283571" y="949077"/>
                    </a:cubicBezTo>
                    <a:cubicBezTo>
                      <a:pt x="274046" y="972890"/>
                      <a:pt x="267696" y="1010989"/>
                      <a:pt x="264521" y="1039564"/>
                    </a:cubicBezTo>
                    <a:cubicBezTo>
                      <a:pt x="261346" y="1068139"/>
                      <a:pt x="254202" y="1099890"/>
                      <a:pt x="264521" y="1120527"/>
                    </a:cubicBezTo>
                    <a:cubicBezTo>
                      <a:pt x="274840" y="1141165"/>
                      <a:pt x="316114" y="1142752"/>
                      <a:pt x="326433" y="1163389"/>
                    </a:cubicBezTo>
                    <a:cubicBezTo>
                      <a:pt x="336752" y="1184027"/>
                      <a:pt x="334767" y="1217365"/>
                      <a:pt x="326433" y="1244352"/>
                    </a:cubicBezTo>
                    <a:cubicBezTo>
                      <a:pt x="318099" y="1271339"/>
                      <a:pt x="289127" y="1295152"/>
                      <a:pt x="276427" y="1325314"/>
                    </a:cubicBezTo>
                    <a:cubicBezTo>
                      <a:pt x="263727" y="1355477"/>
                      <a:pt x="249836" y="1400721"/>
                      <a:pt x="250233" y="1425327"/>
                    </a:cubicBezTo>
                    <a:cubicBezTo>
                      <a:pt x="250630" y="1449933"/>
                      <a:pt x="259361" y="1456680"/>
                      <a:pt x="278808" y="1472952"/>
                    </a:cubicBezTo>
                    <a:cubicBezTo>
                      <a:pt x="298255" y="1489224"/>
                      <a:pt x="345484" y="1519783"/>
                      <a:pt x="366915" y="1522958"/>
                    </a:cubicBezTo>
                    <a:cubicBezTo>
                      <a:pt x="389140" y="1522164"/>
                      <a:pt x="360961" y="1492398"/>
                      <a:pt x="369295" y="1480095"/>
                    </a:cubicBezTo>
                    <a:cubicBezTo>
                      <a:pt x="377629" y="1467792"/>
                      <a:pt x="404221" y="1455886"/>
                      <a:pt x="416921" y="1449139"/>
                    </a:cubicBezTo>
                    <a:cubicBezTo>
                      <a:pt x="429621" y="1442392"/>
                      <a:pt x="435971" y="1442789"/>
                      <a:pt x="445496" y="1439614"/>
                    </a:cubicBezTo>
                    <a:cubicBezTo>
                      <a:pt x="478833" y="1445964"/>
                      <a:pt x="513905" y="1446297"/>
                      <a:pt x="545508" y="1458664"/>
                    </a:cubicBezTo>
                    <a:cubicBezTo>
                      <a:pt x="553469" y="1461779"/>
                      <a:pt x="554239" y="1469777"/>
                      <a:pt x="555033" y="1482477"/>
                    </a:cubicBezTo>
                    <a:cubicBezTo>
                      <a:pt x="555827" y="1495177"/>
                      <a:pt x="551065" y="1515020"/>
                      <a:pt x="550271" y="1534864"/>
                    </a:cubicBezTo>
                    <a:cubicBezTo>
                      <a:pt x="549477" y="1554708"/>
                      <a:pt x="546837" y="1585515"/>
                      <a:pt x="550271" y="1601539"/>
                    </a:cubicBezTo>
                    <a:cubicBezTo>
                      <a:pt x="551759" y="1608481"/>
                      <a:pt x="553806" y="1616777"/>
                      <a:pt x="559796" y="1620589"/>
                    </a:cubicBezTo>
                    <a:cubicBezTo>
                      <a:pt x="575242" y="1630419"/>
                      <a:pt x="606754" y="1635696"/>
                      <a:pt x="626471" y="1639639"/>
                    </a:cubicBezTo>
                    <a:cubicBezTo>
                      <a:pt x="632821" y="1623764"/>
                      <a:pt x="630228" y="1584368"/>
                      <a:pt x="645521" y="1592014"/>
                    </a:cubicBezTo>
                    <a:cubicBezTo>
                      <a:pt x="664571" y="1601539"/>
                      <a:pt x="683208" y="1611939"/>
                      <a:pt x="702671" y="1620589"/>
                    </a:cubicBezTo>
                    <a:cubicBezTo>
                      <a:pt x="711846" y="1624667"/>
                      <a:pt x="722373" y="1625416"/>
                      <a:pt x="731246" y="1630114"/>
                    </a:cubicBezTo>
                    <a:cubicBezTo>
                      <a:pt x="749539" y="1639799"/>
                      <a:pt x="764415" y="1655765"/>
                      <a:pt x="783633" y="1663452"/>
                    </a:cubicBezTo>
                    <a:cubicBezTo>
                      <a:pt x="840224" y="1686088"/>
                      <a:pt x="814393" y="1679691"/>
                      <a:pt x="859833" y="1687264"/>
                    </a:cubicBezTo>
                    <a:cubicBezTo>
                      <a:pt x="866183" y="1692027"/>
                      <a:pt x="875082" y="1694584"/>
                      <a:pt x="878883" y="1701552"/>
                    </a:cubicBezTo>
                    <a:cubicBezTo>
                      <a:pt x="885152" y="1713044"/>
                      <a:pt x="878486" y="1723380"/>
                      <a:pt x="888408" y="1739652"/>
                    </a:cubicBezTo>
                    <a:cubicBezTo>
                      <a:pt x="898330" y="1755924"/>
                      <a:pt x="940583" y="1788781"/>
                      <a:pt x="938414" y="1799183"/>
                    </a:cubicBezTo>
                    <a:cubicBezTo>
                      <a:pt x="924670" y="1865106"/>
                      <a:pt x="932065" y="1862683"/>
                      <a:pt x="940796" y="1892052"/>
                    </a:cubicBezTo>
                    <a:cubicBezTo>
                      <a:pt x="949527" y="1921421"/>
                      <a:pt x="984848" y="1944043"/>
                      <a:pt x="990801" y="1975396"/>
                    </a:cubicBezTo>
                    <a:cubicBezTo>
                      <a:pt x="996754" y="2006749"/>
                      <a:pt x="987230" y="2051993"/>
                      <a:pt x="976514" y="2080171"/>
                    </a:cubicBezTo>
                    <a:cubicBezTo>
                      <a:pt x="965799" y="2108349"/>
                      <a:pt x="940398" y="2117874"/>
                      <a:pt x="926508" y="2144464"/>
                    </a:cubicBezTo>
                    <a:cubicBezTo>
                      <a:pt x="912618" y="2171054"/>
                      <a:pt x="897933" y="2215902"/>
                      <a:pt x="893171" y="2239714"/>
                    </a:cubicBezTo>
                    <a:cubicBezTo>
                      <a:pt x="894758" y="2255589"/>
                      <a:pt x="895507" y="2271570"/>
                      <a:pt x="897933" y="2287339"/>
                    </a:cubicBezTo>
                    <a:cubicBezTo>
                      <a:pt x="904013" y="2326860"/>
                      <a:pt x="958961" y="2328651"/>
                      <a:pt x="893171" y="2396877"/>
                    </a:cubicBezTo>
                    <a:cubicBezTo>
                      <a:pt x="867334" y="2423671"/>
                      <a:pt x="752650" y="2477844"/>
                      <a:pt x="688383" y="2449264"/>
                    </a:cubicBezTo>
                    <a:cubicBezTo>
                      <a:pt x="640758" y="2468314"/>
                      <a:pt x="632027" y="2493715"/>
                      <a:pt x="607421" y="2511177"/>
                    </a:cubicBezTo>
                    <a:cubicBezTo>
                      <a:pt x="582815" y="2528639"/>
                      <a:pt x="559002" y="2541339"/>
                      <a:pt x="540746" y="2554039"/>
                    </a:cubicBezTo>
                    <a:cubicBezTo>
                      <a:pt x="522490" y="2566739"/>
                      <a:pt x="531289" y="2576241"/>
                      <a:pt x="497883" y="2587377"/>
                    </a:cubicBezTo>
                    <a:cubicBezTo>
                      <a:pt x="482802" y="2600871"/>
                      <a:pt x="463752" y="2623890"/>
                      <a:pt x="450258" y="2635002"/>
                    </a:cubicBezTo>
                    <a:cubicBezTo>
                      <a:pt x="436764" y="2646115"/>
                      <a:pt x="432002" y="2649290"/>
                      <a:pt x="416921" y="2654052"/>
                    </a:cubicBezTo>
                    <a:cubicBezTo>
                      <a:pt x="401840" y="2658814"/>
                      <a:pt x="379615" y="2672308"/>
                      <a:pt x="359771" y="2663577"/>
                    </a:cubicBezTo>
                    <a:cubicBezTo>
                      <a:pt x="339927" y="2654846"/>
                      <a:pt x="327624" y="2636192"/>
                      <a:pt x="297858" y="2601664"/>
                    </a:cubicBezTo>
                    <a:cubicBezTo>
                      <a:pt x="268092" y="2567136"/>
                      <a:pt x="215308" y="2531814"/>
                      <a:pt x="181177" y="2456408"/>
                    </a:cubicBezTo>
                    <a:cubicBezTo>
                      <a:pt x="179590" y="2448471"/>
                      <a:pt x="157762" y="2432199"/>
                      <a:pt x="150221" y="2415927"/>
                    </a:cubicBezTo>
                    <a:cubicBezTo>
                      <a:pt x="142680" y="2399655"/>
                      <a:pt x="139784" y="2378032"/>
                      <a:pt x="135933" y="2358777"/>
                    </a:cubicBezTo>
                    <a:cubicBezTo>
                      <a:pt x="129779" y="2328002"/>
                      <a:pt x="134791" y="2342204"/>
                      <a:pt x="121646" y="2315914"/>
                    </a:cubicBezTo>
                    <a:cubicBezTo>
                      <a:pt x="113708" y="2287339"/>
                      <a:pt x="95452" y="2221458"/>
                      <a:pt x="88308" y="2187327"/>
                    </a:cubicBezTo>
                    <a:cubicBezTo>
                      <a:pt x="81164" y="2153196"/>
                      <a:pt x="81882" y="2139014"/>
                      <a:pt x="78783" y="2111127"/>
                    </a:cubicBezTo>
                    <a:cubicBezTo>
                      <a:pt x="84776" y="2018230"/>
                      <a:pt x="88308" y="1984920"/>
                      <a:pt x="97833" y="1944439"/>
                    </a:cubicBezTo>
                    <a:cubicBezTo>
                      <a:pt x="107358" y="1903958"/>
                      <a:pt x="130377" y="1888083"/>
                      <a:pt x="135933" y="1868239"/>
                    </a:cubicBezTo>
                    <a:cubicBezTo>
                      <a:pt x="134346" y="1853952"/>
                      <a:pt x="137600" y="1838235"/>
                      <a:pt x="131171" y="1825377"/>
                    </a:cubicBezTo>
                    <a:cubicBezTo>
                      <a:pt x="128244" y="1819523"/>
                      <a:pt x="117567" y="1824245"/>
                      <a:pt x="112121" y="1820614"/>
                    </a:cubicBezTo>
                    <a:cubicBezTo>
                      <a:pt x="107359" y="1817439"/>
                      <a:pt x="105771" y="1811089"/>
                      <a:pt x="102596" y="1806327"/>
                    </a:cubicBezTo>
                    <a:cubicBezTo>
                      <a:pt x="116733" y="1740350"/>
                      <a:pt x="131171" y="1740446"/>
                      <a:pt x="145458" y="1720602"/>
                    </a:cubicBezTo>
                    <a:cubicBezTo>
                      <a:pt x="159745" y="1700758"/>
                      <a:pt x="178796" y="1698377"/>
                      <a:pt x="188321" y="1687264"/>
                    </a:cubicBezTo>
                    <a:cubicBezTo>
                      <a:pt x="197846" y="1676152"/>
                      <a:pt x="199299" y="1663853"/>
                      <a:pt x="202608" y="1653927"/>
                    </a:cubicBezTo>
                    <a:cubicBezTo>
                      <a:pt x="199433" y="1638052"/>
                      <a:pt x="201020" y="1623764"/>
                      <a:pt x="193083" y="1606302"/>
                    </a:cubicBezTo>
                    <a:cubicBezTo>
                      <a:pt x="185146" y="1588840"/>
                      <a:pt x="163714" y="1587252"/>
                      <a:pt x="154983" y="1549152"/>
                    </a:cubicBezTo>
                    <a:cubicBezTo>
                      <a:pt x="146252" y="1511052"/>
                      <a:pt x="146252" y="1417390"/>
                      <a:pt x="140696" y="1377702"/>
                    </a:cubicBezTo>
                    <a:cubicBezTo>
                      <a:pt x="135140" y="1338015"/>
                      <a:pt x="146718" y="1361173"/>
                      <a:pt x="121646" y="1311027"/>
                    </a:cubicBezTo>
                    <a:cubicBezTo>
                      <a:pt x="116090" y="1288802"/>
                      <a:pt x="114502" y="1266577"/>
                      <a:pt x="107358" y="1244352"/>
                    </a:cubicBezTo>
                    <a:cubicBezTo>
                      <a:pt x="100214" y="1222127"/>
                      <a:pt x="86720" y="1195139"/>
                      <a:pt x="78783" y="1177677"/>
                    </a:cubicBezTo>
                    <a:cubicBezTo>
                      <a:pt x="68464" y="1153071"/>
                      <a:pt x="54971" y="1122114"/>
                      <a:pt x="45446" y="1096714"/>
                    </a:cubicBezTo>
                    <a:cubicBezTo>
                      <a:pt x="35921" y="1071314"/>
                      <a:pt x="42051" y="1055902"/>
                      <a:pt x="21633" y="1025277"/>
                    </a:cubicBezTo>
                    <a:cubicBezTo>
                      <a:pt x="18458" y="1014164"/>
                      <a:pt x="1393" y="995908"/>
                      <a:pt x="202" y="980033"/>
                    </a:cubicBezTo>
                    <a:cubicBezTo>
                      <a:pt x="-988" y="964158"/>
                      <a:pt x="2981" y="958205"/>
                      <a:pt x="14490" y="930027"/>
                    </a:cubicBezTo>
                    <a:cubicBezTo>
                      <a:pt x="25999" y="901849"/>
                      <a:pt x="34731" y="865733"/>
                      <a:pt x="69259" y="810964"/>
                    </a:cubicBezTo>
                    <a:cubicBezTo>
                      <a:pt x="103787" y="756195"/>
                      <a:pt x="185146" y="650626"/>
                      <a:pt x="221658" y="601414"/>
                    </a:cubicBezTo>
                    <a:cubicBezTo>
                      <a:pt x="258170" y="552202"/>
                      <a:pt x="256583" y="548232"/>
                      <a:pt x="288333" y="515689"/>
                    </a:cubicBezTo>
                    <a:cubicBezTo>
                      <a:pt x="320083" y="483146"/>
                      <a:pt x="370883" y="443458"/>
                      <a:pt x="412158" y="406152"/>
                    </a:cubicBezTo>
                    <a:cubicBezTo>
                      <a:pt x="453433" y="368846"/>
                      <a:pt x="497883" y="321220"/>
                      <a:pt x="535983" y="291851"/>
                    </a:cubicBezTo>
                    <a:cubicBezTo>
                      <a:pt x="574083" y="262482"/>
                      <a:pt x="607817" y="250576"/>
                      <a:pt x="640758" y="229939"/>
                    </a:cubicBezTo>
                    <a:cubicBezTo>
                      <a:pt x="673699" y="209302"/>
                      <a:pt x="684933" y="207732"/>
                      <a:pt x="733628" y="168026"/>
                    </a:cubicBezTo>
                    <a:cubicBezTo>
                      <a:pt x="785222" y="125957"/>
                      <a:pt x="907856" y="90238"/>
                      <a:pt x="978896" y="63251"/>
                    </a:cubicBezTo>
                    <a:cubicBezTo>
                      <a:pt x="1049937" y="36264"/>
                      <a:pt x="1017790" y="41028"/>
                      <a:pt x="1159871" y="6102"/>
                    </a:cubicBezTo>
                    <a:cubicBezTo>
                      <a:pt x="1182890" y="-5011"/>
                      <a:pt x="1196383" y="545"/>
                      <a:pt x="1202733" y="10864"/>
                    </a:cubicBezTo>
                    <a:close/>
                  </a:path>
                </a:pathLst>
              </a:custGeom>
              <a:solidFill>
                <a:srgbClr val="88BCAD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400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B2244000-34DE-AF64-B0FE-937C4D47FCEC}"/>
                  </a:ext>
                </a:extLst>
              </p:cNvPr>
              <p:cNvSpPr/>
              <p:nvPr/>
            </p:nvSpPr>
            <p:spPr>
              <a:xfrm>
                <a:off x="5210175" y="2875261"/>
                <a:ext cx="1596224" cy="2249189"/>
              </a:xfrm>
              <a:custGeom>
                <a:avLst/>
                <a:gdLst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257300 w 1602771"/>
                  <a:gd name="connsiteY142" fmla="*/ 1720615 h 2249252"/>
                  <a:gd name="connsiteX143" fmla="*/ 1281113 w 1602771"/>
                  <a:gd name="connsiteY143" fmla="*/ 1701565 h 2249252"/>
                  <a:gd name="connsiteX144" fmla="*/ 1309688 w 1602771"/>
                  <a:gd name="connsiteY144" fmla="*/ 1668227 h 2249252"/>
                  <a:gd name="connsiteX145" fmla="*/ 1333500 w 1602771"/>
                  <a:gd name="connsiteY145" fmla="*/ 1639652 h 2249252"/>
                  <a:gd name="connsiteX146" fmla="*/ 1352550 w 1602771"/>
                  <a:gd name="connsiteY146" fmla="*/ 1596790 h 2249252"/>
                  <a:gd name="connsiteX147" fmla="*/ 1357313 w 1602771"/>
                  <a:gd name="connsiteY147" fmla="*/ 1577740 h 2249252"/>
                  <a:gd name="connsiteX148" fmla="*/ 1371600 w 1602771"/>
                  <a:gd name="connsiteY148" fmla="*/ 1544402 h 2249252"/>
                  <a:gd name="connsiteX149" fmla="*/ 1376363 w 1602771"/>
                  <a:gd name="connsiteY149" fmla="*/ 1525352 h 2249252"/>
                  <a:gd name="connsiteX150" fmla="*/ 1400175 w 1602771"/>
                  <a:gd name="connsiteY150" fmla="*/ 1492015 h 2249252"/>
                  <a:gd name="connsiteX151" fmla="*/ 1414463 w 1602771"/>
                  <a:gd name="connsiteY151" fmla="*/ 1458677 h 2249252"/>
                  <a:gd name="connsiteX152" fmla="*/ 1433513 w 1602771"/>
                  <a:gd name="connsiteY152" fmla="*/ 1434865 h 2249252"/>
                  <a:gd name="connsiteX153" fmla="*/ 1462088 w 1602771"/>
                  <a:gd name="connsiteY153" fmla="*/ 1368190 h 2249252"/>
                  <a:gd name="connsiteX154" fmla="*/ 1471613 w 1602771"/>
                  <a:gd name="connsiteY154" fmla="*/ 1334852 h 2249252"/>
                  <a:gd name="connsiteX155" fmla="*/ 1481138 w 1602771"/>
                  <a:gd name="connsiteY155" fmla="*/ 1311040 h 2249252"/>
                  <a:gd name="connsiteX156" fmla="*/ 1490663 w 1602771"/>
                  <a:gd name="connsiteY156" fmla="*/ 1282465 h 2249252"/>
                  <a:gd name="connsiteX157" fmla="*/ 1504950 w 1602771"/>
                  <a:gd name="connsiteY157" fmla="*/ 1225315 h 2249252"/>
                  <a:gd name="connsiteX158" fmla="*/ 1514475 w 1602771"/>
                  <a:gd name="connsiteY158" fmla="*/ 1211027 h 2249252"/>
                  <a:gd name="connsiteX159" fmla="*/ 1528763 w 1602771"/>
                  <a:gd name="connsiteY159" fmla="*/ 1149115 h 2249252"/>
                  <a:gd name="connsiteX160" fmla="*/ 1533525 w 1602771"/>
                  <a:gd name="connsiteY160" fmla="*/ 1120540 h 2249252"/>
                  <a:gd name="connsiteX161" fmla="*/ 1538288 w 1602771"/>
                  <a:gd name="connsiteY161" fmla="*/ 1101490 h 2249252"/>
                  <a:gd name="connsiteX162" fmla="*/ 1543050 w 1602771"/>
                  <a:gd name="connsiteY162" fmla="*/ 1063390 h 2249252"/>
                  <a:gd name="connsiteX163" fmla="*/ 1552575 w 1602771"/>
                  <a:gd name="connsiteY163" fmla="*/ 1049102 h 2249252"/>
                  <a:gd name="connsiteX164" fmla="*/ 1557338 w 1602771"/>
                  <a:gd name="connsiteY164" fmla="*/ 1015765 h 2249252"/>
                  <a:gd name="connsiteX165" fmla="*/ 1566863 w 1602771"/>
                  <a:gd name="connsiteY165" fmla="*/ 987190 h 2249252"/>
                  <a:gd name="connsiteX166" fmla="*/ 1571625 w 1602771"/>
                  <a:gd name="connsiteY166" fmla="*/ 968140 h 2249252"/>
                  <a:gd name="connsiteX167" fmla="*/ 1581150 w 1602771"/>
                  <a:gd name="connsiteY167" fmla="*/ 920515 h 2249252"/>
                  <a:gd name="connsiteX168" fmla="*/ 1590675 w 1602771"/>
                  <a:gd name="connsiteY168" fmla="*/ 868127 h 2249252"/>
                  <a:gd name="connsiteX169" fmla="*/ 1590675 w 1602771"/>
                  <a:gd name="connsiteY169" fmla="*/ 596665 h 2249252"/>
                  <a:gd name="connsiteX170" fmla="*/ 1581150 w 1602771"/>
                  <a:gd name="connsiteY170" fmla="*/ 525227 h 2249252"/>
                  <a:gd name="connsiteX171" fmla="*/ 1576388 w 1602771"/>
                  <a:gd name="connsiteY171" fmla="*/ 510940 h 2249252"/>
                  <a:gd name="connsiteX172" fmla="*/ 1571625 w 1602771"/>
                  <a:gd name="connsiteY172" fmla="*/ 491890 h 2249252"/>
                  <a:gd name="connsiteX173" fmla="*/ 1557338 w 1602771"/>
                  <a:gd name="connsiteY173" fmla="*/ 458552 h 2249252"/>
                  <a:gd name="connsiteX174" fmla="*/ 1538288 w 1602771"/>
                  <a:gd name="connsiteY174" fmla="*/ 401402 h 2249252"/>
                  <a:gd name="connsiteX175" fmla="*/ 1533525 w 1602771"/>
                  <a:gd name="connsiteY175" fmla="*/ 377590 h 2249252"/>
                  <a:gd name="connsiteX176" fmla="*/ 1524000 w 1602771"/>
                  <a:gd name="connsiteY176" fmla="*/ 353777 h 2249252"/>
                  <a:gd name="connsiteX177" fmla="*/ 1514475 w 1602771"/>
                  <a:gd name="connsiteY177" fmla="*/ 325202 h 2249252"/>
                  <a:gd name="connsiteX178" fmla="*/ 1500188 w 1602771"/>
                  <a:gd name="connsiteY178" fmla="*/ 291865 h 2249252"/>
                  <a:gd name="connsiteX179" fmla="*/ 1481138 w 1602771"/>
                  <a:gd name="connsiteY179" fmla="*/ 244240 h 2249252"/>
                  <a:gd name="connsiteX180" fmla="*/ 1471613 w 1602771"/>
                  <a:gd name="connsiteY180" fmla="*/ 201377 h 2249252"/>
                  <a:gd name="connsiteX181" fmla="*/ 1462088 w 1602771"/>
                  <a:gd name="connsiteY181" fmla="*/ 177565 h 2249252"/>
                  <a:gd name="connsiteX182" fmla="*/ 1447800 w 1602771"/>
                  <a:gd name="connsiteY182" fmla="*/ 125177 h 2249252"/>
                  <a:gd name="connsiteX183" fmla="*/ 1443038 w 1602771"/>
                  <a:gd name="connsiteY183" fmla="*/ 110890 h 2249252"/>
                  <a:gd name="connsiteX184" fmla="*/ 1419225 w 1602771"/>
                  <a:gd name="connsiteY184" fmla="*/ 68027 h 2249252"/>
                  <a:gd name="connsiteX185" fmla="*/ 1395413 w 1602771"/>
                  <a:gd name="connsiteY185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257300 w 1602771"/>
                  <a:gd name="connsiteY142" fmla="*/ 1720615 h 2249252"/>
                  <a:gd name="connsiteX143" fmla="*/ 1281113 w 1602771"/>
                  <a:gd name="connsiteY143" fmla="*/ 1701565 h 2249252"/>
                  <a:gd name="connsiteX144" fmla="*/ 1309688 w 1602771"/>
                  <a:gd name="connsiteY144" fmla="*/ 1668227 h 2249252"/>
                  <a:gd name="connsiteX145" fmla="*/ 1352550 w 1602771"/>
                  <a:gd name="connsiteY145" fmla="*/ 1596790 h 2249252"/>
                  <a:gd name="connsiteX146" fmla="*/ 1357313 w 1602771"/>
                  <a:gd name="connsiteY146" fmla="*/ 1577740 h 2249252"/>
                  <a:gd name="connsiteX147" fmla="*/ 1371600 w 1602771"/>
                  <a:gd name="connsiteY147" fmla="*/ 1544402 h 2249252"/>
                  <a:gd name="connsiteX148" fmla="*/ 1376363 w 1602771"/>
                  <a:gd name="connsiteY148" fmla="*/ 1525352 h 2249252"/>
                  <a:gd name="connsiteX149" fmla="*/ 1400175 w 1602771"/>
                  <a:gd name="connsiteY149" fmla="*/ 1492015 h 2249252"/>
                  <a:gd name="connsiteX150" fmla="*/ 1414463 w 1602771"/>
                  <a:gd name="connsiteY150" fmla="*/ 1458677 h 2249252"/>
                  <a:gd name="connsiteX151" fmla="*/ 1433513 w 1602771"/>
                  <a:gd name="connsiteY151" fmla="*/ 1434865 h 2249252"/>
                  <a:gd name="connsiteX152" fmla="*/ 1462088 w 1602771"/>
                  <a:gd name="connsiteY152" fmla="*/ 1368190 h 2249252"/>
                  <a:gd name="connsiteX153" fmla="*/ 1471613 w 1602771"/>
                  <a:gd name="connsiteY153" fmla="*/ 1334852 h 2249252"/>
                  <a:gd name="connsiteX154" fmla="*/ 1481138 w 1602771"/>
                  <a:gd name="connsiteY154" fmla="*/ 1311040 h 2249252"/>
                  <a:gd name="connsiteX155" fmla="*/ 1490663 w 1602771"/>
                  <a:gd name="connsiteY155" fmla="*/ 1282465 h 2249252"/>
                  <a:gd name="connsiteX156" fmla="*/ 1504950 w 1602771"/>
                  <a:gd name="connsiteY156" fmla="*/ 1225315 h 2249252"/>
                  <a:gd name="connsiteX157" fmla="*/ 1514475 w 1602771"/>
                  <a:gd name="connsiteY157" fmla="*/ 1211027 h 2249252"/>
                  <a:gd name="connsiteX158" fmla="*/ 1528763 w 1602771"/>
                  <a:gd name="connsiteY158" fmla="*/ 1149115 h 2249252"/>
                  <a:gd name="connsiteX159" fmla="*/ 1533525 w 1602771"/>
                  <a:gd name="connsiteY159" fmla="*/ 1120540 h 2249252"/>
                  <a:gd name="connsiteX160" fmla="*/ 1538288 w 1602771"/>
                  <a:gd name="connsiteY160" fmla="*/ 1101490 h 2249252"/>
                  <a:gd name="connsiteX161" fmla="*/ 1543050 w 1602771"/>
                  <a:gd name="connsiteY161" fmla="*/ 1063390 h 2249252"/>
                  <a:gd name="connsiteX162" fmla="*/ 1552575 w 1602771"/>
                  <a:gd name="connsiteY162" fmla="*/ 1049102 h 2249252"/>
                  <a:gd name="connsiteX163" fmla="*/ 1557338 w 1602771"/>
                  <a:gd name="connsiteY163" fmla="*/ 1015765 h 2249252"/>
                  <a:gd name="connsiteX164" fmla="*/ 1566863 w 1602771"/>
                  <a:gd name="connsiteY164" fmla="*/ 987190 h 2249252"/>
                  <a:gd name="connsiteX165" fmla="*/ 1571625 w 1602771"/>
                  <a:gd name="connsiteY165" fmla="*/ 968140 h 2249252"/>
                  <a:gd name="connsiteX166" fmla="*/ 1581150 w 1602771"/>
                  <a:gd name="connsiteY166" fmla="*/ 920515 h 2249252"/>
                  <a:gd name="connsiteX167" fmla="*/ 1590675 w 1602771"/>
                  <a:gd name="connsiteY167" fmla="*/ 868127 h 2249252"/>
                  <a:gd name="connsiteX168" fmla="*/ 1590675 w 1602771"/>
                  <a:gd name="connsiteY168" fmla="*/ 596665 h 2249252"/>
                  <a:gd name="connsiteX169" fmla="*/ 1581150 w 1602771"/>
                  <a:gd name="connsiteY169" fmla="*/ 525227 h 2249252"/>
                  <a:gd name="connsiteX170" fmla="*/ 1576388 w 1602771"/>
                  <a:gd name="connsiteY170" fmla="*/ 510940 h 2249252"/>
                  <a:gd name="connsiteX171" fmla="*/ 1571625 w 1602771"/>
                  <a:gd name="connsiteY171" fmla="*/ 491890 h 2249252"/>
                  <a:gd name="connsiteX172" fmla="*/ 1557338 w 1602771"/>
                  <a:gd name="connsiteY172" fmla="*/ 458552 h 2249252"/>
                  <a:gd name="connsiteX173" fmla="*/ 1538288 w 1602771"/>
                  <a:gd name="connsiteY173" fmla="*/ 401402 h 2249252"/>
                  <a:gd name="connsiteX174" fmla="*/ 1533525 w 1602771"/>
                  <a:gd name="connsiteY174" fmla="*/ 377590 h 2249252"/>
                  <a:gd name="connsiteX175" fmla="*/ 1524000 w 1602771"/>
                  <a:gd name="connsiteY175" fmla="*/ 353777 h 2249252"/>
                  <a:gd name="connsiteX176" fmla="*/ 1514475 w 1602771"/>
                  <a:gd name="connsiteY176" fmla="*/ 325202 h 2249252"/>
                  <a:gd name="connsiteX177" fmla="*/ 1500188 w 1602771"/>
                  <a:gd name="connsiteY177" fmla="*/ 291865 h 2249252"/>
                  <a:gd name="connsiteX178" fmla="*/ 1481138 w 1602771"/>
                  <a:gd name="connsiteY178" fmla="*/ 244240 h 2249252"/>
                  <a:gd name="connsiteX179" fmla="*/ 1471613 w 1602771"/>
                  <a:gd name="connsiteY179" fmla="*/ 201377 h 2249252"/>
                  <a:gd name="connsiteX180" fmla="*/ 1462088 w 1602771"/>
                  <a:gd name="connsiteY180" fmla="*/ 177565 h 2249252"/>
                  <a:gd name="connsiteX181" fmla="*/ 1447800 w 1602771"/>
                  <a:gd name="connsiteY181" fmla="*/ 125177 h 2249252"/>
                  <a:gd name="connsiteX182" fmla="*/ 1443038 w 1602771"/>
                  <a:gd name="connsiteY182" fmla="*/ 110890 h 2249252"/>
                  <a:gd name="connsiteX183" fmla="*/ 1419225 w 1602771"/>
                  <a:gd name="connsiteY183" fmla="*/ 68027 h 2249252"/>
                  <a:gd name="connsiteX184" fmla="*/ 1395413 w 1602771"/>
                  <a:gd name="connsiteY184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257300 w 1602771"/>
                  <a:gd name="connsiteY142" fmla="*/ 1720615 h 2249252"/>
                  <a:gd name="connsiteX143" fmla="*/ 1281113 w 1602771"/>
                  <a:gd name="connsiteY143" fmla="*/ 1701565 h 2249252"/>
                  <a:gd name="connsiteX144" fmla="*/ 1352550 w 1602771"/>
                  <a:gd name="connsiteY144" fmla="*/ 1596790 h 2249252"/>
                  <a:gd name="connsiteX145" fmla="*/ 1357313 w 1602771"/>
                  <a:gd name="connsiteY145" fmla="*/ 1577740 h 2249252"/>
                  <a:gd name="connsiteX146" fmla="*/ 1371600 w 1602771"/>
                  <a:gd name="connsiteY146" fmla="*/ 1544402 h 2249252"/>
                  <a:gd name="connsiteX147" fmla="*/ 1376363 w 1602771"/>
                  <a:gd name="connsiteY147" fmla="*/ 1525352 h 2249252"/>
                  <a:gd name="connsiteX148" fmla="*/ 1400175 w 1602771"/>
                  <a:gd name="connsiteY148" fmla="*/ 1492015 h 2249252"/>
                  <a:gd name="connsiteX149" fmla="*/ 1414463 w 1602771"/>
                  <a:gd name="connsiteY149" fmla="*/ 1458677 h 2249252"/>
                  <a:gd name="connsiteX150" fmla="*/ 1433513 w 1602771"/>
                  <a:gd name="connsiteY150" fmla="*/ 1434865 h 2249252"/>
                  <a:gd name="connsiteX151" fmla="*/ 1462088 w 1602771"/>
                  <a:gd name="connsiteY151" fmla="*/ 1368190 h 2249252"/>
                  <a:gd name="connsiteX152" fmla="*/ 1471613 w 1602771"/>
                  <a:gd name="connsiteY152" fmla="*/ 1334852 h 2249252"/>
                  <a:gd name="connsiteX153" fmla="*/ 1481138 w 1602771"/>
                  <a:gd name="connsiteY153" fmla="*/ 1311040 h 2249252"/>
                  <a:gd name="connsiteX154" fmla="*/ 1490663 w 1602771"/>
                  <a:gd name="connsiteY154" fmla="*/ 1282465 h 2249252"/>
                  <a:gd name="connsiteX155" fmla="*/ 1504950 w 1602771"/>
                  <a:gd name="connsiteY155" fmla="*/ 1225315 h 2249252"/>
                  <a:gd name="connsiteX156" fmla="*/ 1514475 w 1602771"/>
                  <a:gd name="connsiteY156" fmla="*/ 1211027 h 2249252"/>
                  <a:gd name="connsiteX157" fmla="*/ 1528763 w 1602771"/>
                  <a:gd name="connsiteY157" fmla="*/ 1149115 h 2249252"/>
                  <a:gd name="connsiteX158" fmla="*/ 1533525 w 1602771"/>
                  <a:gd name="connsiteY158" fmla="*/ 1120540 h 2249252"/>
                  <a:gd name="connsiteX159" fmla="*/ 1538288 w 1602771"/>
                  <a:gd name="connsiteY159" fmla="*/ 1101490 h 2249252"/>
                  <a:gd name="connsiteX160" fmla="*/ 1543050 w 1602771"/>
                  <a:gd name="connsiteY160" fmla="*/ 1063390 h 2249252"/>
                  <a:gd name="connsiteX161" fmla="*/ 1552575 w 1602771"/>
                  <a:gd name="connsiteY161" fmla="*/ 1049102 h 2249252"/>
                  <a:gd name="connsiteX162" fmla="*/ 1557338 w 1602771"/>
                  <a:gd name="connsiteY162" fmla="*/ 1015765 h 2249252"/>
                  <a:gd name="connsiteX163" fmla="*/ 1566863 w 1602771"/>
                  <a:gd name="connsiteY163" fmla="*/ 987190 h 2249252"/>
                  <a:gd name="connsiteX164" fmla="*/ 1571625 w 1602771"/>
                  <a:gd name="connsiteY164" fmla="*/ 968140 h 2249252"/>
                  <a:gd name="connsiteX165" fmla="*/ 1581150 w 1602771"/>
                  <a:gd name="connsiteY165" fmla="*/ 920515 h 2249252"/>
                  <a:gd name="connsiteX166" fmla="*/ 1590675 w 1602771"/>
                  <a:gd name="connsiteY166" fmla="*/ 868127 h 2249252"/>
                  <a:gd name="connsiteX167" fmla="*/ 1590675 w 1602771"/>
                  <a:gd name="connsiteY167" fmla="*/ 596665 h 2249252"/>
                  <a:gd name="connsiteX168" fmla="*/ 1581150 w 1602771"/>
                  <a:gd name="connsiteY168" fmla="*/ 525227 h 2249252"/>
                  <a:gd name="connsiteX169" fmla="*/ 1576388 w 1602771"/>
                  <a:gd name="connsiteY169" fmla="*/ 510940 h 2249252"/>
                  <a:gd name="connsiteX170" fmla="*/ 1571625 w 1602771"/>
                  <a:gd name="connsiteY170" fmla="*/ 491890 h 2249252"/>
                  <a:gd name="connsiteX171" fmla="*/ 1557338 w 1602771"/>
                  <a:gd name="connsiteY171" fmla="*/ 458552 h 2249252"/>
                  <a:gd name="connsiteX172" fmla="*/ 1538288 w 1602771"/>
                  <a:gd name="connsiteY172" fmla="*/ 401402 h 2249252"/>
                  <a:gd name="connsiteX173" fmla="*/ 1533525 w 1602771"/>
                  <a:gd name="connsiteY173" fmla="*/ 377590 h 2249252"/>
                  <a:gd name="connsiteX174" fmla="*/ 1524000 w 1602771"/>
                  <a:gd name="connsiteY174" fmla="*/ 353777 h 2249252"/>
                  <a:gd name="connsiteX175" fmla="*/ 1514475 w 1602771"/>
                  <a:gd name="connsiteY175" fmla="*/ 325202 h 2249252"/>
                  <a:gd name="connsiteX176" fmla="*/ 1500188 w 1602771"/>
                  <a:gd name="connsiteY176" fmla="*/ 291865 h 2249252"/>
                  <a:gd name="connsiteX177" fmla="*/ 1481138 w 1602771"/>
                  <a:gd name="connsiteY177" fmla="*/ 244240 h 2249252"/>
                  <a:gd name="connsiteX178" fmla="*/ 1471613 w 1602771"/>
                  <a:gd name="connsiteY178" fmla="*/ 201377 h 2249252"/>
                  <a:gd name="connsiteX179" fmla="*/ 1462088 w 1602771"/>
                  <a:gd name="connsiteY179" fmla="*/ 177565 h 2249252"/>
                  <a:gd name="connsiteX180" fmla="*/ 1447800 w 1602771"/>
                  <a:gd name="connsiteY180" fmla="*/ 125177 h 2249252"/>
                  <a:gd name="connsiteX181" fmla="*/ 1443038 w 1602771"/>
                  <a:gd name="connsiteY181" fmla="*/ 110890 h 2249252"/>
                  <a:gd name="connsiteX182" fmla="*/ 1419225 w 1602771"/>
                  <a:gd name="connsiteY182" fmla="*/ 68027 h 2249252"/>
                  <a:gd name="connsiteX183" fmla="*/ 1395413 w 1602771"/>
                  <a:gd name="connsiteY183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257300 w 1602771"/>
                  <a:gd name="connsiteY142" fmla="*/ 1720615 h 2249252"/>
                  <a:gd name="connsiteX143" fmla="*/ 1352550 w 1602771"/>
                  <a:gd name="connsiteY143" fmla="*/ 1596790 h 2249252"/>
                  <a:gd name="connsiteX144" fmla="*/ 1357313 w 1602771"/>
                  <a:gd name="connsiteY144" fmla="*/ 1577740 h 2249252"/>
                  <a:gd name="connsiteX145" fmla="*/ 1371600 w 1602771"/>
                  <a:gd name="connsiteY145" fmla="*/ 1544402 h 2249252"/>
                  <a:gd name="connsiteX146" fmla="*/ 1376363 w 1602771"/>
                  <a:gd name="connsiteY146" fmla="*/ 1525352 h 2249252"/>
                  <a:gd name="connsiteX147" fmla="*/ 1400175 w 1602771"/>
                  <a:gd name="connsiteY147" fmla="*/ 1492015 h 2249252"/>
                  <a:gd name="connsiteX148" fmla="*/ 1414463 w 1602771"/>
                  <a:gd name="connsiteY148" fmla="*/ 1458677 h 2249252"/>
                  <a:gd name="connsiteX149" fmla="*/ 1433513 w 1602771"/>
                  <a:gd name="connsiteY149" fmla="*/ 1434865 h 2249252"/>
                  <a:gd name="connsiteX150" fmla="*/ 1462088 w 1602771"/>
                  <a:gd name="connsiteY150" fmla="*/ 1368190 h 2249252"/>
                  <a:gd name="connsiteX151" fmla="*/ 1471613 w 1602771"/>
                  <a:gd name="connsiteY151" fmla="*/ 1334852 h 2249252"/>
                  <a:gd name="connsiteX152" fmla="*/ 1481138 w 1602771"/>
                  <a:gd name="connsiteY152" fmla="*/ 1311040 h 2249252"/>
                  <a:gd name="connsiteX153" fmla="*/ 1490663 w 1602771"/>
                  <a:gd name="connsiteY153" fmla="*/ 1282465 h 2249252"/>
                  <a:gd name="connsiteX154" fmla="*/ 1504950 w 1602771"/>
                  <a:gd name="connsiteY154" fmla="*/ 1225315 h 2249252"/>
                  <a:gd name="connsiteX155" fmla="*/ 1514475 w 1602771"/>
                  <a:gd name="connsiteY155" fmla="*/ 1211027 h 2249252"/>
                  <a:gd name="connsiteX156" fmla="*/ 1528763 w 1602771"/>
                  <a:gd name="connsiteY156" fmla="*/ 1149115 h 2249252"/>
                  <a:gd name="connsiteX157" fmla="*/ 1533525 w 1602771"/>
                  <a:gd name="connsiteY157" fmla="*/ 1120540 h 2249252"/>
                  <a:gd name="connsiteX158" fmla="*/ 1538288 w 1602771"/>
                  <a:gd name="connsiteY158" fmla="*/ 1101490 h 2249252"/>
                  <a:gd name="connsiteX159" fmla="*/ 1543050 w 1602771"/>
                  <a:gd name="connsiteY159" fmla="*/ 1063390 h 2249252"/>
                  <a:gd name="connsiteX160" fmla="*/ 1552575 w 1602771"/>
                  <a:gd name="connsiteY160" fmla="*/ 1049102 h 2249252"/>
                  <a:gd name="connsiteX161" fmla="*/ 1557338 w 1602771"/>
                  <a:gd name="connsiteY161" fmla="*/ 1015765 h 2249252"/>
                  <a:gd name="connsiteX162" fmla="*/ 1566863 w 1602771"/>
                  <a:gd name="connsiteY162" fmla="*/ 987190 h 2249252"/>
                  <a:gd name="connsiteX163" fmla="*/ 1571625 w 1602771"/>
                  <a:gd name="connsiteY163" fmla="*/ 968140 h 2249252"/>
                  <a:gd name="connsiteX164" fmla="*/ 1581150 w 1602771"/>
                  <a:gd name="connsiteY164" fmla="*/ 920515 h 2249252"/>
                  <a:gd name="connsiteX165" fmla="*/ 1590675 w 1602771"/>
                  <a:gd name="connsiteY165" fmla="*/ 868127 h 2249252"/>
                  <a:gd name="connsiteX166" fmla="*/ 1590675 w 1602771"/>
                  <a:gd name="connsiteY166" fmla="*/ 596665 h 2249252"/>
                  <a:gd name="connsiteX167" fmla="*/ 1581150 w 1602771"/>
                  <a:gd name="connsiteY167" fmla="*/ 525227 h 2249252"/>
                  <a:gd name="connsiteX168" fmla="*/ 1576388 w 1602771"/>
                  <a:gd name="connsiteY168" fmla="*/ 510940 h 2249252"/>
                  <a:gd name="connsiteX169" fmla="*/ 1571625 w 1602771"/>
                  <a:gd name="connsiteY169" fmla="*/ 491890 h 2249252"/>
                  <a:gd name="connsiteX170" fmla="*/ 1557338 w 1602771"/>
                  <a:gd name="connsiteY170" fmla="*/ 458552 h 2249252"/>
                  <a:gd name="connsiteX171" fmla="*/ 1538288 w 1602771"/>
                  <a:gd name="connsiteY171" fmla="*/ 401402 h 2249252"/>
                  <a:gd name="connsiteX172" fmla="*/ 1533525 w 1602771"/>
                  <a:gd name="connsiteY172" fmla="*/ 377590 h 2249252"/>
                  <a:gd name="connsiteX173" fmla="*/ 1524000 w 1602771"/>
                  <a:gd name="connsiteY173" fmla="*/ 353777 h 2249252"/>
                  <a:gd name="connsiteX174" fmla="*/ 1514475 w 1602771"/>
                  <a:gd name="connsiteY174" fmla="*/ 325202 h 2249252"/>
                  <a:gd name="connsiteX175" fmla="*/ 1500188 w 1602771"/>
                  <a:gd name="connsiteY175" fmla="*/ 291865 h 2249252"/>
                  <a:gd name="connsiteX176" fmla="*/ 1481138 w 1602771"/>
                  <a:gd name="connsiteY176" fmla="*/ 244240 h 2249252"/>
                  <a:gd name="connsiteX177" fmla="*/ 1471613 w 1602771"/>
                  <a:gd name="connsiteY177" fmla="*/ 201377 h 2249252"/>
                  <a:gd name="connsiteX178" fmla="*/ 1462088 w 1602771"/>
                  <a:gd name="connsiteY178" fmla="*/ 177565 h 2249252"/>
                  <a:gd name="connsiteX179" fmla="*/ 1447800 w 1602771"/>
                  <a:gd name="connsiteY179" fmla="*/ 125177 h 2249252"/>
                  <a:gd name="connsiteX180" fmla="*/ 1443038 w 1602771"/>
                  <a:gd name="connsiteY180" fmla="*/ 110890 h 2249252"/>
                  <a:gd name="connsiteX181" fmla="*/ 1419225 w 1602771"/>
                  <a:gd name="connsiteY181" fmla="*/ 68027 h 2249252"/>
                  <a:gd name="connsiteX182" fmla="*/ 1395413 w 1602771"/>
                  <a:gd name="connsiteY182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47775 w 1602771"/>
                  <a:gd name="connsiteY141" fmla="*/ 1734902 h 2249252"/>
                  <a:gd name="connsiteX142" fmla="*/ 1352550 w 1602771"/>
                  <a:gd name="connsiteY142" fmla="*/ 1596790 h 2249252"/>
                  <a:gd name="connsiteX143" fmla="*/ 1357313 w 1602771"/>
                  <a:gd name="connsiteY143" fmla="*/ 1577740 h 2249252"/>
                  <a:gd name="connsiteX144" fmla="*/ 1371600 w 1602771"/>
                  <a:gd name="connsiteY144" fmla="*/ 1544402 h 2249252"/>
                  <a:gd name="connsiteX145" fmla="*/ 1376363 w 1602771"/>
                  <a:gd name="connsiteY145" fmla="*/ 1525352 h 2249252"/>
                  <a:gd name="connsiteX146" fmla="*/ 1400175 w 1602771"/>
                  <a:gd name="connsiteY146" fmla="*/ 1492015 h 2249252"/>
                  <a:gd name="connsiteX147" fmla="*/ 1414463 w 1602771"/>
                  <a:gd name="connsiteY147" fmla="*/ 1458677 h 2249252"/>
                  <a:gd name="connsiteX148" fmla="*/ 1433513 w 1602771"/>
                  <a:gd name="connsiteY148" fmla="*/ 1434865 h 2249252"/>
                  <a:gd name="connsiteX149" fmla="*/ 1462088 w 1602771"/>
                  <a:gd name="connsiteY149" fmla="*/ 1368190 h 2249252"/>
                  <a:gd name="connsiteX150" fmla="*/ 1471613 w 1602771"/>
                  <a:gd name="connsiteY150" fmla="*/ 1334852 h 2249252"/>
                  <a:gd name="connsiteX151" fmla="*/ 1481138 w 1602771"/>
                  <a:gd name="connsiteY151" fmla="*/ 1311040 h 2249252"/>
                  <a:gd name="connsiteX152" fmla="*/ 1490663 w 1602771"/>
                  <a:gd name="connsiteY152" fmla="*/ 1282465 h 2249252"/>
                  <a:gd name="connsiteX153" fmla="*/ 1504950 w 1602771"/>
                  <a:gd name="connsiteY153" fmla="*/ 1225315 h 2249252"/>
                  <a:gd name="connsiteX154" fmla="*/ 1514475 w 1602771"/>
                  <a:gd name="connsiteY154" fmla="*/ 1211027 h 2249252"/>
                  <a:gd name="connsiteX155" fmla="*/ 1528763 w 1602771"/>
                  <a:gd name="connsiteY155" fmla="*/ 1149115 h 2249252"/>
                  <a:gd name="connsiteX156" fmla="*/ 1533525 w 1602771"/>
                  <a:gd name="connsiteY156" fmla="*/ 1120540 h 2249252"/>
                  <a:gd name="connsiteX157" fmla="*/ 1538288 w 1602771"/>
                  <a:gd name="connsiteY157" fmla="*/ 1101490 h 2249252"/>
                  <a:gd name="connsiteX158" fmla="*/ 1543050 w 1602771"/>
                  <a:gd name="connsiteY158" fmla="*/ 1063390 h 2249252"/>
                  <a:gd name="connsiteX159" fmla="*/ 1552575 w 1602771"/>
                  <a:gd name="connsiteY159" fmla="*/ 1049102 h 2249252"/>
                  <a:gd name="connsiteX160" fmla="*/ 1557338 w 1602771"/>
                  <a:gd name="connsiteY160" fmla="*/ 1015765 h 2249252"/>
                  <a:gd name="connsiteX161" fmla="*/ 1566863 w 1602771"/>
                  <a:gd name="connsiteY161" fmla="*/ 987190 h 2249252"/>
                  <a:gd name="connsiteX162" fmla="*/ 1571625 w 1602771"/>
                  <a:gd name="connsiteY162" fmla="*/ 968140 h 2249252"/>
                  <a:gd name="connsiteX163" fmla="*/ 1581150 w 1602771"/>
                  <a:gd name="connsiteY163" fmla="*/ 920515 h 2249252"/>
                  <a:gd name="connsiteX164" fmla="*/ 1590675 w 1602771"/>
                  <a:gd name="connsiteY164" fmla="*/ 868127 h 2249252"/>
                  <a:gd name="connsiteX165" fmla="*/ 1590675 w 1602771"/>
                  <a:gd name="connsiteY165" fmla="*/ 596665 h 2249252"/>
                  <a:gd name="connsiteX166" fmla="*/ 1581150 w 1602771"/>
                  <a:gd name="connsiteY166" fmla="*/ 525227 h 2249252"/>
                  <a:gd name="connsiteX167" fmla="*/ 1576388 w 1602771"/>
                  <a:gd name="connsiteY167" fmla="*/ 510940 h 2249252"/>
                  <a:gd name="connsiteX168" fmla="*/ 1571625 w 1602771"/>
                  <a:gd name="connsiteY168" fmla="*/ 491890 h 2249252"/>
                  <a:gd name="connsiteX169" fmla="*/ 1557338 w 1602771"/>
                  <a:gd name="connsiteY169" fmla="*/ 458552 h 2249252"/>
                  <a:gd name="connsiteX170" fmla="*/ 1538288 w 1602771"/>
                  <a:gd name="connsiteY170" fmla="*/ 401402 h 2249252"/>
                  <a:gd name="connsiteX171" fmla="*/ 1533525 w 1602771"/>
                  <a:gd name="connsiteY171" fmla="*/ 377590 h 2249252"/>
                  <a:gd name="connsiteX172" fmla="*/ 1524000 w 1602771"/>
                  <a:gd name="connsiteY172" fmla="*/ 353777 h 2249252"/>
                  <a:gd name="connsiteX173" fmla="*/ 1514475 w 1602771"/>
                  <a:gd name="connsiteY173" fmla="*/ 325202 h 2249252"/>
                  <a:gd name="connsiteX174" fmla="*/ 1500188 w 1602771"/>
                  <a:gd name="connsiteY174" fmla="*/ 291865 h 2249252"/>
                  <a:gd name="connsiteX175" fmla="*/ 1481138 w 1602771"/>
                  <a:gd name="connsiteY175" fmla="*/ 244240 h 2249252"/>
                  <a:gd name="connsiteX176" fmla="*/ 1471613 w 1602771"/>
                  <a:gd name="connsiteY176" fmla="*/ 201377 h 2249252"/>
                  <a:gd name="connsiteX177" fmla="*/ 1462088 w 1602771"/>
                  <a:gd name="connsiteY177" fmla="*/ 177565 h 2249252"/>
                  <a:gd name="connsiteX178" fmla="*/ 1447800 w 1602771"/>
                  <a:gd name="connsiteY178" fmla="*/ 125177 h 2249252"/>
                  <a:gd name="connsiteX179" fmla="*/ 1443038 w 1602771"/>
                  <a:gd name="connsiteY179" fmla="*/ 110890 h 2249252"/>
                  <a:gd name="connsiteX180" fmla="*/ 1419225 w 1602771"/>
                  <a:gd name="connsiteY180" fmla="*/ 68027 h 2249252"/>
                  <a:gd name="connsiteX181" fmla="*/ 1395413 w 1602771"/>
                  <a:gd name="connsiteY18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14438 w 1602771"/>
                  <a:gd name="connsiteY140" fmla="*/ 1787290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357313 w 1602771"/>
                  <a:gd name="connsiteY143" fmla="*/ 1577740 h 2249252"/>
                  <a:gd name="connsiteX144" fmla="*/ 1371600 w 1602771"/>
                  <a:gd name="connsiteY144" fmla="*/ 1544402 h 2249252"/>
                  <a:gd name="connsiteX145" fmla="*/ 1376363 w 1602771"/>
                  <a:gd name="connsiteY145" fmla="*/ 1525352 h 2249252"/>
                  <a:gd name="connsiteX146" fmla="*/ 1400175 w 1602771"/>
                  <a:gd name="connsiteY146" fmla="*/ 1492015 h 2249252"/>
                  <a:gd name="connsiteX147" fmla="*/ 1414463 w 1602771"/>
                  <a:gd name="connsiteY147" fmla="*/ 1458677 h 2249252"/>
                  <a:gd name="connsiteX148" fmla="*/ 1433513 w 1602771"/>
                  <a:gd name="connsiteY148" fmla="*/ 1434865 h 2249252"/>
                  <a:gd name="connsiteX149" fmla="*/ 1462088 w 1602771"/>
                  <a:gd name="connsiteY149" fmla="*/ 1368190 h 2249252"/>
                  <a:gd name="connsiteX150" fmla="*/ 1471613 w 1602771"/>
                  <a:gd name="connsiteY150" fmla="*/ 1334852 h 2249252"/>
                  <a:gd name="connsiteX151" fmla="*/ 1481138 w 1602771"/>
                  <a:gd name="connsiteY151" fmla="*/ 1311040 h 2249252"/>
                  <a:gd name="connsiteX152" fmla="*/ 1490663 w 1602771"/>
                  <a:gd name="connsiteY152" fmla="*/ 1282465 h 2249252"/>
                  <a:gd name="connsiteX153" fmla="*/ 1504950 w 1602771"/>
                  <a:gd name="connsiteY153" fmla="*/ 1225315 h 2249252"/>
                  <a:gd name="connsiteX154" fmla="*/ 1514475 w 1602771"/>
                  <a:gd name="connsiteY154" fmla="*/ 1211027 h 2249252"/>
                  <a:gd name="connsiteX155" fmla="*/ 1528763 w 1602771"/>
                  <a:gd name="connsiteY155" fmla="*/ 1149115 h 2249252"/>
                  <a:gd name="connsiteX156" fmla="*/ 1533525 w 1602771"/>
                  <a:gd name="connsiteY156" fmla="*/ 1120540 h 2249252"/>
                  <a:gd name="connsiteX157" fmla="*/ 1538288 w 1602771"/>
                  <a:gd name="connsiteY157" fmla="*/ 1101490 h 2249252"/>
                  <a:gd name="connsiteX158" fmla="*/ 1543050 w 1602771"/>
                  <a:gd name="connsiteY158" fmla="*/ 1063390 h 2249252"/>
                  <a:gd name="connsiteX159" fmla="*/ 1552575 w 1602771"/>
                  <a:gd name="connsiteY159" fmla="*/ 1049102 h 2249252"/>
                  <a:gd name="connsiteX160" fmla="*/ 1557338 w 1602771"/>
                  <a:gd name="connsiteY160" fmla="*/ 1015765 h 2249252"/>
                  <a:gd name="connsiteX161" fmla="*/ 1566863 w 1602771"/>
                  <a:gd name="connsiteY161" fmla="*/ 987190 h 2249252"/>
                  <a:gd name="connsiteX162" fmla="*/ 1571625 w 1602771"/>
                  <a:gd name="connsiteY162" fmla="*/ 968140 h 2249252"/>
                  <a:gd name="connsiteX163" fmla="*/ 1581150 w 1602771"/>
                  <a:gd name="connsiteY163" fmla="*/ 920515 h 2249252"/>
                  <a:gd name="connsiteX164" fmla="*/ 1590675 w 1602771"/>
                  <a:gd name="connsiteY164" fmla="*/ 868127 h 2249252"/>
                  <a:gd name="connsiteX165" fmla="*/ 1590675 w 1602771"/>
                  <a:gd name="connsiteY165" fmla="*/ 596665 h 2249252"/>
                  <a:gd name="connsiteX166" fmla="*/ 1581150 w 1602771"/>
                  <a:gd name="connsiteY166" fmla="*/ 525227 h 2249252"/>
                  <a:gd name="connsiteX167" fmla="*/ 1576388 w 1602771"/>
                  <a:gd name="connsiteY167" fmla="*/ 510940 h 2249252"/>
                  <a:gd name="connsiteX168" fmla="*/ 1571625 w 1602771"/>
                  <a:gd name="connsiteY168" fmla="*/ 491890 h 2249252"/>
                  <a:gd name="connsiteX169" fmla="*/ 1557338 w 1602771"/>
                  <a:gd name="connsiteY169" fmla="*/ 458552 h 2249252"/>
                  <a:gd name="connsiteX170" fmla="*/ 1538288 w 1602771"/>
                  <a:gd name="connsiteY170" fmla="*/ 401402 h 2249252"/>
                  <a:gd name="connsiteX171" fmla="*/ 1533525 w 1602771"/>
                  <a:gd name="connsiteY171" fmla="*/ 377590 h 2249252"/>
                  <a:gd name="connsiteX172" fmla="*/ 1524000 w 1602771"/>
                  <a:gd name="connsiteY172" fmla="*/ 353777 h 2249252"/>
                  <a:gd name="connsiteX173" fmla="*/ 1514475 w 1602771"/>
                  <a:gd name="connsiteY173" fmla="*/ 325202 h 2249252"/>
                  <a:gd name="connsiteX174" fmla="*/ 1500188 w 1602771"/>
                  <a:gd name="connsiteY174" fmla="*/ 291865 h 2249252"/>
                  <a:gd name="connsiteX175" fmla="*/ 1481138 w 1602771"/>
                  <a:gd name="connsiteY175" fmla="*/ 244240 h 2249252"/>
                  <a:gd name="connsiteX176" fmla="*/ 1471613 w 1602771"/>
                  <a:gd name="connsiteY176" fmla="*/ 201377 h 2249252"/>
                  <a:gd name="connsiteX177" fmla="*/ 1462088 w 1602771"/>
                  <a:gd name="connsiteY177" fmla="*/ 177565 h 2249252"/>
                  <a:gd name="connsiteX178" fmla="*/ 1447800 w 1602771"/>
                  <a:gd name="connsiteY178" fmla="*/ 125177 h 2249252"/>
                  <a:gd name="connsiteX179" fmla="*/ 1443038 w 1602771"/>
                  <a:gd name="connsiteY179" fmla="*/ 110890 h 2249252"/>
                  <a:gd name="connsiteX180" fmla="*/ 1419225 w 1602771"/>
                  <a:gd name="connsiteY180" fmla="*/ 68027 h 2249252"/>
                  <a:gd name="connsiteX181" fmla="*/ 1395413 w 1602771"/>
                  <a:gd name="connsiteY18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357313 w 1602771"/>
                  <a:gd name="connsiteY143" fmla="*/ 1577740 h 2249252"/>
                  <a:gd name="connsiteX144" fmla="*/ 1371600 w 1602771"/>
                  <a:gd name="connsiteY144" fmla="*/ 1544402 h 2249252"/>
                  <a:gd name="connsiteX145" fmla="*/ 1376363 w 1602771"/>
                  <a:gd name="connsiteY145" fmla="*/ 1525352 h 2249252"/>
                  <a:gd name="connsiteX146" fmla="*/ 1400175 w 1602771"/>
                  <a:gd name="connsiteY146" fmla="*/ 1492015 h 2249252"/>
                  <a:gd name="connsiteX147" fmla="*/ 1414463 w 1602771"/>
                  <a:gd name="connsiteY147" fmla="*/ 1458677 h 2249252"/>
                  <a:gd name="connsiteX148" fmla="*/ 1433513 w 1602771"/>
                  <a:gd name="connsiteY148" fmla="*/ 1434865 h 2249252"/>
                  <a:gd name="connsiteX149" fmla="*/ 1462088 w 1602771"/>
                  <a:gd name="connsiteY149" fmla="*/ 1368190 h 2249252"/>
                  <a:gd name="connsiteX150" fmla="*/ 1471613 w 1602771"/>
                  <a:gd name="connsiteY150" fmla="*/ 1334852 h 2249252"/>
                  <a:gd name="connsiteX151" fmla="*/ 1481138 w 1602771"/>
                  <a:gd name="connsiteY151" fmla="*/ 1311040 h 2249252"/>
                  <a:gd name="connsiteX152" fmla="*/ 1490663 w 1602771"/>
                  <a:gd name="connsiteY152" fmla="*/ 1282465 h 2249252"/>
                  <a:gd name="connsiteX153" fmla="*/ 1504950 w 1602771"/>
                  <a:gd name="connsiteY153" fmla="*/ 1225315 h 2249252"/>
                  <a:gd name="connsiteX154" fmla="*/ 1514475 w 1602771"/>
                  <a:gd name="connsiteY154" fmla="*/ 1211027 h 2249252"/>
                  <a:gd name="connsiteX155" fmla="*/ 1528763 w 1602771"/>
                  <a:gd name="connsiteY155" fmla="*/ 1149115 h 2249252"/>
                  <a:gd name="connsiteX156" fmla="*/ 1533525 w 1602771"/>
                  <a:gd name="connsiteY156" fmla="*/ 1120540 h 2249252"/>
                  <a:gd name="connsiteX157" fmla="*/ 1538288 w 1602771"/>
                  <a:gd name="connsiteY157" fmla="*/ 1101490 h 2249252"/>
                  <a:gd name="connsiteX158" fmla="*/ 1543050 w 1602771"/>
                  <a:gd name="connsiteY158" fmla="*/ 1063390 h 2249252"/>
                  <a:gd name="connsiteX159" fmla="*/ 1552575 w 1602771"/>
                  <a:gd name="connsiteY159" fmla="*/ 1049102 h 2249252"/>
                  <a:gd name="connsiteX160" fmla="*/ 1557338 w 1602771"/>
                  <a:gd name="connsiteY160" fmla="*/ 1015765 h 2249252"/>
                  <a:gd name="connsiteX161" fmla="*/ 1566863 w 1602771"/>
                  <a:gd name="connsiteY161" fmla="*/ 987190 h 2249252"/>
                  <a:gd name="connsiteX162" fmla="*/ 1571625 w 1602771"/>
                  <a:gd name="connsiteY162" fmla="*/ 968140 h 2249252"/>
                  <a:gd name="connsiteX163" fmla="*/ 1581150 w 1602771"/>
                  <a:gd name="connsiteY163" fmla="*/ 920515 h 2249252"/>
                  <a:gd name="connsiteX164" fmla="*/ 1590675 w 1602771"/>
                  <a:gd name="connsiteY164" fmla="*/ 868127 h 2249252"/>
                  <a:gd name="connsiteX165" fmla="*/ 1590675 w 1602771"/>
                  <a:gd name="connsiteY165" fmla="*/ 596665 h 2249252"/>
                  <a:gd name="connsiteX166" fmla="*/ 1581150 w 1602771"/>
                  <a:gd name="connsiteY166" fmla="*/ 525227 h 2249252"/>
                  <a:gd name="connsiteX167" fmla="*/ 1576388 w 1602771"/>
                  <a:gd name="connsiteY167" fmla="*/ 510940 h 2249252"/>
                  <a:gd name="connsiteX168" fmla="*/ 1571625 w 1602771"/>
                  <a:gd name="connsiteY168" fmla="*/ 491890 h 2249252"/>
                  <a:gd name="connsiteX169" fmla="*/ 1557338 w 1602771"/>
                  <a:gd name="connsiteY169" fmla="*/ 458552 h 2249252"/>
                  <a:gd name="connsiteX170" fmla="*/ 1538288 w 1602771"/>
                  <a:gd name="connsiteY170" fmla="*/ 401402 h 2249252"/>
                  <a:gd name="connsiteX171" fmla="*/ 1533525 w 1602771"/>
                  <a:gd name="connsiteY171" fmla="*/ 377590 h 2249252"/>
                  <a:gd name="connsiteX172" fmla="*/ 1524000 w 1602771"/>
                  <a:gd name="connsiteY172" fmla="*/ 353777 h 2249252"/>
                  <a:gd name="connsiteX173" fmla="*/ 1514475 w 1602771"/>
                  <a:gd name="connsiteY173" fmla="*/ 325202 h 2249252"/>
                  <a:gd name="connsiteX174" fmla="*/ 1500188 w 1602771"/>
                  <a:gd name="connsiteY174" fmla="*/ 291865 h 2249252"/>
                  <a:gd name="connsiteX175" fmla="*/ 1481138 w 1602771"/>
                  <a:gd name="connsiteY175" fmla="*/ 244240 h 2249252"/>
                  <a:gd name="connsiteX176" fmla="*/ 1471613 w 1602771"/>
                  <a:gd name="connsiteY176" fmla="*/ 201377 h 2249252"/>
                  <a:gd name="connsiteX177" fmla="*/ 1462088 w 1602771"/>
                  <a:gd name="connsiteY177" fmla="*/ 177565 h 2249252"/>
                  <a:gd name="connsiteX178" fmla="*/ 1447800 w 1602771"/>
                  <a:gd name="connsiteY178" fmla="*/ 125177 h 2249252"/>
                  <a:gd name="connsiteX179" fmla="*/ 1443038 w 1602771"/>
                  <a:gd name="connsiteY179" fmla="*/ 110890 h 2249252"/>
                  <a:gd name="connsiteX180" fmla="*/ 1419225 w 1602771"/>
                  <a:gd name="connsiteY180" fmla="*/ 68027 h 2249252"/>
                  <a:gd name="connsiteX181" fmla="*/ 1395413 w 1602771"/>
                  <a:gd name="connsiteY18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357313 w 1602771"/>
                  <a:gd name="connsiteY143" fmla="*/ 1577740 h 2249252"/>
                  <a:gd name="connsiteX144" fmla="*/ 1376363 w 1602771"/>
                  <a:gd name="connsiteY144" fmla="*/ 1525352 h 2249252"/>
                  <a:gd name="connsiteX145" fmla="*/ 1400175 w 1602771"/>
                  <a:gd name="connsiteY145" fmla="*/ 1492015 h 2249252"/>
                  <a:gd name="connsiteX146" fmla="*/ 1414463 w 1602771"/>
                  <a:gd name="connsiteY146" fmla="*/ 1458677 h 2249252"/>
                  <a:gd name="connsiteX147" fmla="*/ 1433513 w 1602771"/>
                  <a:gd name="connsiteY147" fmla="*/ 1434865 h 2249252"/>
                  <a:gd name="connsiteX148" fmla="*/ 1462088 w 1602771"/>
                  <a:gd name="connsiteY148" fmla="*/ 1368190 h 2249252"/>
                  <a:gd name="connsiteX149" fmla="*/ 1471613 w 1602771"/>
                  <a:gd name="connsiteY149" fmla="*/ 1334852 h 2249252"/>
                  <a:gd name="connsiteX150" fmla="*/ 1481138 w 1602771"/>
                  <a:gd name="connsiteY150" fmla="*/ 1311040 h 2249252"/>
                  <a:gd name="connsiteX151" fmla="*/ 1490663 w 1602771"/>
                  <a:gd name="connsiteY151" fmla="*/ 1282465 h 2249252"/>
                  <a:gd name="connsiteX152" fmla="*/ 1504950 w 1602771"/>
                  <a:gd name="connsiteY152" fmla="*/ 1225315 h 2249252"/>
                  <a:gd name="connsiteX153" fmla="*/ 1514475 w 1602771"/>
                  <a:gd name="connsiteY153" fmla="*/ 1211027 h 2249252"/>
                  <a:gd name="connsiteX154" fmla="*/ 1528763 w 1602771"/>
                  <a:gd name="connsiteY154" fmla="*/ 1149115 h 2249252"/>
                  <a:gd name="connsiteX155" fmla="*/ 1533525 w 1602771"/>
                  <a:gd name="connsiteY155" fmla="*/ 1120540 h 2249252"/>
                  <a:gd name="connsiteX156" fmla="*/ 1538288 w 1602771"/>
                  <a:gd name="connsiteY156" fmla="*/ 1101490 h 2249252"/>
                  <a:gd name="connsiteX157" fmla="*/ 1543050 w 1602771"/>
                  <a:gd name="connsiteY157" fmla="*/ 1063390 h 2249252"/>
                  <a:gd name="connsiteX158" fmla="*/ 1552575 w 1602771"/>
                  <a:gd name="connsiteY158" fmla="*/ 1049102 h 2249252"/>
                  <a:gd name="connsiteX159" fmla="*/ 1557338 w 1602771"/>
                  <a:gd name="connsiteY159" fmla="*/ 1015765 h 2249252"/>
                  <a:gd name="connsiteX160" fmla="*/ 1566863 w 1602771"/>
                  <a:gd name="connsiteY160" fmla="*/ 987190 h 2249252"/>
                  <a:gd name="connsiteX161" fmla="*/ 1571625 w 1602771"/>
                  <a:gd name="connsiteY161" fmla="*/ 968140 h 2249252"/>
                  <a:gd name="connsiteX162" fmla="*/ 1581150 w 1602771"/>
                  <a:gd name="connsiteY162" fmla="*/ 920515 h 2249252"/>
                  <a:gd name="connsiteX163" fmla="*/ 1590675 w 1602771"/>
                  <a:gd name="connsiteY163" fmla="*/ 868127 h 2249252"/>
                  <a:gd name="connsiteX164" fmla="*/ 1590675 w 1602771"/>
                  <a:gd name="connsiteY164" fmla="*/ 596665 h 2249252"/>
                  <a:gd name="connsiteX165" fmla="*/ 1581150 w 1602771"/>
                  <a:gd name="connsiteY165" fmla="*/ 525227 h 2249252"/>
                  <a:gd name="connsiteX166" fmla="*/ 1576388 w 1602771"/>
                  <a:gd name="connsiteY166" fmla="*/ 510940 h 2249252"/>
                  <a:gd name="connsiteX167" fmla="*/ 1571625 w 1602771"/>
                  <a:gd name="connsiteY167" fmla="*/ 491890 h 2249252"/>
                  <a:gd name="connsiteX168" fmla="*/ 1557338 w 1602771"/>
                  <a:gd name="connsiteY168" fmla="*/ 458552 h 2249252"/>
                  <a:gd name="connsiteX169" fmla="*/ 1538288 w 1602771"/>
                  <a:gd name="connsiteY169" fmla="*/ 401402 h 2249252"/>
                  <a:gd name="connsiteX170" fmla="*/ 1533525 w 1602771"/>
                  <a:gd name="connsiteY170" fmla="*/ 377590 h 2249252"/>
                  <a:gd name="connsiteX171" fmla="*/ 1524000 w 1602771"/>
                  <a:gd name="connsiteY171" fmla="*/ 353777 h 2249252"/>
                  <a:gd name="connsiteX172" fmla="*/ 1514475 w 1602771"/>
                  <a:gd name="connsiteY172" fmla="*/ 325202 h 2249252"/>
                  <a:gd name="connsiteX173" fmla="*/ 1500188 w 1602771"/>
                  <a:gd name="connsiteY173" fmla="*/ 291865 h 2249252"/>
                  <a:gd name="connsiteX174" fmla="*/ 1481138 w 1602771"/>
                  <a:gd name="connsiteY174" fmla="*/ 244240 h 2249252"/>
                  <a:gd name="connsiteX175" fmla="*/ 1471613 w 1602771"/>
                  <a:gd name="connsiteY175" fmla="*/ 201377 h 2249252"/>
                  <a:gd name="connsiteX176" fmla="*/ 1462088 w 1602771"/>
                  <a:gd name="connsiteY176" fmla="*/ 177565 h 2249252"/>
                  <a:gd name="connsiteX177" fmla="*/ 1447800 w 1602771"/>
                  <a:gd name="connsiteY177" fmla="*/ 125177 h 2249252"/>
                  <a:gd name="connsiteX178" fmla="*/ 1443038 w 1602771"/>
                  <a:gd name="connsiteY178" fmla="*/ 110890 h 2249252"/>
                  <a:gd name="connsiteX179" fmla="*/ 1419225 w 1602771"/>
                  <a:gd name="connsiteY179" fmla="*/ 68027 h 2249252"/>
                  <a:gd name="connsiteX180" fmla="*/ 1395413 w 1602771"/>
                  <a:gd name="connsiteY180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376363 w 1602771"/>
                  <a:gd name="connsiteY143" fmla="*/ 1525352 h 2249252"/>
                  <a:gd name="connsiteX144" fmla="*/ 1400175 w 1602771"/>
                  <a:gd name="connsiteY144" fmla="*/ 1492015 h 2249252"/>
                  <a:gd name="connsiteX145" fmla="*/ 1414463 w 1602771"/>
                  <a:gd name="connsiteY145" fmla="*/ 1458677 h 2249252"/>
                  <a:gd name="connsiteX146" fmla="*/ 1433513 w 1602771"/>
                  <a:gd name="connsiteY146" fmla="*/ 1434865 h 2249252"/>
                  <a:gd name="connsiteX147" fmla="*/ 1462088 w 1602771"/>
                  <a:gd name="connsiteY147" fmla="*/ 1368190 h 2249252"/>
                  <a:gd name="connsiteX148" fmla="*/ 1471613 w 1602771"/>
                  <a:gd name="connsiteY148" fmla="*/ 1334852 h 2249252"/>
                  <a:gd name="connsiteX149" fmla="*/ 1481138 w 1602771"/>
                  <a:gd name="connsiteY149" fmla="*/ 1311040 h 2249252"/>
                  <a:gd name="connsiteX150" fmla="*/ 1490663 w 1602771"/>
                  <a:gd name="connsiteY150" fmla="*/ 1282465 h 2249252"/>
                  <a:gd name="connsiteX151" fmla="*/ 1504950 w 1602771"/>
                  <a:gd name="connsiteY151" fmla="*/ 1225315 h 2249252"/>
                  <a:gd name="connsiteX152" fmla="*/ 1514475 w 1602771"/>
                  <a:gd name="connsiteY152" fmla="*/ 1211027 h 2249252"/>
                  <a:gd name="connsiteX153" fmla="*/ 1528763 w 1602771"/>
                  <a:gd name="connsiteY153" fmla="*/ 1149115 h 2249252"/>
                  <a:gd name="connsiteX154" fmla="*/ 1533525 w 1602771"/>
                  <a:gd name="connsiteY154" fmla="*/ 1120540 h 2249252"/>
                  <a:gd name="connsiteX155" fmla="*/ 1538288 w 1602771"/>
                  <a:gd name="connsiteY155" fmla="*/ 1101490 h 2249252"/>
                  <a:gd name="connsiteX156" fmla="*/ 1543050 w 1602771"/>
                  <a:gd name="connsiteY156" fmla="*/ 1063390 h 2249252"/>
                  <a:gd name="connsiteX157" fmla="*/ 1552575 w 1602771"/>
                  <a:gd name="connsiteY157" fmla="*/ 1049102 h 2249252"/>
                  <a:gd name="connsiteX158" fmla="*/ 1557338 w 1602771"/>
                  <a:gd name="connsiteY158" fmla="*/ 1015765 h 2249252"/>
                  <a:gd name="connsiteX159" fmla="*/ 1566863 w 1602771"/>
                  <a:gd name="connsiteY159" fmla="*/ 987190 h 2249252"/>
                  <a:gd name="connsiteX160" fmla="*/ 1571625 w 1602771"/>
                  <a:gd name="connsiteY160" fmla="*/ 968140 h 2249252"/>
                  <a:gd name="connsiteX161" fmla="*/ 1581150 w 1602771"/>
                  <a:gd name="connsiteY161" fmla="*/ 920515 h 2249252"/>
                  <a:gd name="connsiteX162" fmla="*/ 1590675 w 1602771"/>
                  <a:gd name="connsiteY162" fmla="*/ 868127 h 2249252"/>
                  <a:gd name="connsiteX163" fmla="*/ 1590675 w 1602771"/>
                  <a:gd name="connsiteY163" fmla="*/ 596665 h 2249252"/>
                  <a:gd name="connsiteX164" fmla="*/ 1581150 w 1602771"/>
                  <a:gd name="connsiteY164" fmla="*/ 525227 h 2249252"/>
                  <a:gd name="connsiteX165" fmla="*/ 1576388 w 1602771"/>
                  <a:gd name="connsiteY165" fmla="*/ 510940 h 2249252"/>
                  <a:gd name="connsiteX166" fmla="*/ 1571625 w 1602771"/>
                  <a:gd name="connsiteY166" fmla="*/ 491890 h 2249252"/>
                  <a:gd name="connsiteX167" fmla="*/ 1557338 w 1602771"/>
                  <a:gd name="connsiteY167" fmla="*/ 458552 h 2249252"/>
                  <a:gd name="connsiteX168" fmla="*/ 1538288 w 1602771"/>
                  <a:gd name="connsiteY168" fmla="*/ 401402 h 2249252"/>
                  <a:gd name="connsiteX169" fmla="*/ 1533525 w 1602771"/>
                  <a:gd name="connsiteY169" fmla="*/ 377590 h 2249252"/>
                  <a:gd name="connsiteX170" fmla="*/ 1524000 w 1602771"/>
                  <a:gd name="connsiteY170" fmla="*/ 353777 h 2249252"/>
                  <a:gd name="connsiteX171" fmla="*/ 1514475 w 1602771"/>
                  <a:gd name="connsiteY171" fmla="*/ 325202 h 2249252"/>
                  <a:gd name="connsiteX172" fmla="*/ 1500188 w 1602771"/>
                  <a:gd name="connsiteY172" fmla="*/ 291865 h 2249252"/>
                  <a:gd name="connsiteX173" fmla="*/ 1481138 w 1602771"/>
                  <a:gd name="connsiteY173" fmla="*/ 244240 h 2249252"/>
                  <a:gd name="connsiteX174" fmla="*/ 1471613 w 1602771"/>
                  <a:gd name="connsiteY174" fmla="*/ 201377 h 2249252"/>
                  <a:gd name="connsiteX175" fmla="*/ 1462088 w 1602771"/>
                  <a:gd name="connsiteY175" fmla="*/ 177565 h 2249252"/>
                  <a:gd name="connsiteX176" fmla="*/ 1447800 w 1602771"/>
                  <a:gd name="connsiteY176" fmla="*/ 125177 h 2249252"/>
                  <a:gd name="connsiteX177" fmla="*/ 1443038 w 1602771"/>
                  <a:gd name="connsiteY177" fmla="*/ 110890 h 2249252"/>
                  <a:gd name="connsiteX178" fmla="*/ 1419225 w 1602771"/>
                  <a:gd name="connsiteY178" fmla="*/ 68027 h 2249252"/>
                  <a:gd name="connsiteX179" fmla="*/ 1395413 w 1602771"/>
                  <a:gd name="connsiteY179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00175 w 1602771"/>
                  <a:gd name="connsiteY143" fmla="*/ 1492015 h 2249252"/>
                  <a:gd name="connsiteX144" fmla="*/ 1414463 w 1602771"/>
                  <a:gd name="connsiteY144" fmla="*/ 1458677 h 2249252"/>
                  <a:gd name="connsiteX145" fmla="*/ 1433513 w 1602771"/>
                  <a:gd name="connsiteY145" fmla="*/ 1434865 h 2249252"/>
                  <a:gd name="connsiteX146" fmla="*/ 1462088 w 1602771"/>
                  <a:gd name="connsiteY146" fmla="*/ 1368190 h 2249252"/>
                  <a:gd name="connsiteX147" fmla="*/ 1471613 w 1602771"/>
                  <a:gd name="connsiteY147" fmla="*/ 1334852 h 2249252"/>
                  <a:gd name="connsiteX148" fmla="*/ 1481138 w 1602771"/>
                  <a:gd name="connsiteY148" fmla="*/ 1311040 h 2249252"/>
                  <a:gd name="connsiteX149" fmla="*/ 1490663 w 1602771"/>
                  <a:gd name="connsiteY149" fmla="*/ 1282465 h 2249252"/>
                  <a:gd name="connsiteX150" fmla="*/ 1504950 w 1602771"/>
                  <a:gd name="connsiteY150" fmla="*/ 1225315 h 2249252"/>
                  <a:gd name="connsiteX151" fmla="*/ 1514475 w 1602771"/>
                  <a:gd name="connsiteY151" fmla="*/ 1211027 h 2249252"/>
                  <a:gd name="connsiteX152" fmla="*/ 1528763 w 1602771"/>
                  <a:gd name="connsiteY152" fmla="*/ 1149115 h 2249252"/>
                  <a:gd name="connsiteX153" fmla="*/ 1533525 w 1602771"/>
                  <a:gd name="connsiteY153" fmla="*/ 1120540 h 2249252"/>
                  <a:gd name="connsiteX154" fmla="*/ 1538288 w 1602771"/>
                  <a:gd name="connsiteY154" fmla="*/ 1101490 h 2249252"/>
                  <a:gd name="connsiteX155" fmla="*/ 1543050 w 1602771"/>
                  <a:gd name="connsiteY155" fmla="*/ 1063390 h 2249252"/>
                  <a:gd name="connsiteX156" fmla="*/ 1552575 w 1602771"/>
                  <a:gd name="connsiteY156" fmla="*/ 1049102 h 2249252"/>
                  <a:gd name="connsiteX157" fmla="*/ 1557338 w 1602771"/>
                  <a:gd name="connsiteY157" fmla="*/ 1015765 h 2249252"/>
                  <a:gd name="connsiteX158" fmla="*/ 1566863 w 1602771"/>
                  <a:gd name="connsiteY158" fmla="*/ 987190 h 2249252"/>
                  <a:gd name="connsiteX159" fmla="*/ 1571625 w 1602771"/>
                  <a:gd name="connsiteY159" fmla="*/ 968140 h 2249252"/>
                  <a:gd name="connsiteX160" fmla="*/ 1581150 w 1602771"/>
                  <a:gd name="connsiteY160" fmla="*/ 920515 h 2249252"/>
                  <a:gd name="connsiteX161" fmla="*/ 1590675 w 1602771"/>
                  <a:gd name="connsiteY161" fmla="*/ 868127 h 2249252"/>
                  <a:gd name="connsiteX162" fmla="*/ 1590675 w 1602771"/>
                  <a:gd name="connsiteY162" fmla="*/ 596665 h 2249252"/>
                  <a:gd name="connsiteX163" fmla="*/ 1581150 w 1602771"/>
                  <a:gd name="connsiteY163" fmla="*/ 525227 h 2249252"/>
                  <a:gd name="connsiteX164" fmla="*/ 1576388 w 1602771"/>
                  <a:gd name="connsiteY164" fmla="*/ 510940 h 2249252"/>
                  <a:gd name="connsiteX165" fmla="*/ 1571625 w 1602771"/>
                  <a:gd name="connsiteY165" fmla="*/ 491890 h 2249252"/>
                  <a:gd name="connsiteX166" fmla="*/ 1557338 w 1602771"/>
                  <a:gd name="connsiteY166" fmla="*/ 458552 h 2249252"/>
                  <a:gd name="connsiteX167" fmla="*/ 1538288 w 1602771"/>
                  <a:gd name="connsiteY167" fmla="*/ 401402 h 2249252"/>
                  <a:gd name="connsiteX168" fmla="*/ 1533525 w 1602771"/>
                  <a:gd name="connsiteY168" fmla="*/ 377590 h 2249252"/>
                  <a:gd name="connsiteX169" fmla="*/ 1524000 w 1602771"/>
                  <a:gd name="connsiteY169" fmla="*/ 353777 h 2249252"/>
                  <a:gd name="connsiteX170" fmla="*/ 1514475 w 1602771"/>
                  <a:gd name="connsiteY170" fmla="*/ 325202 h 2249252"/>
                  <a:gd name="connsiteX171" fmla="*/ 1500188 w 1602771"/>
                  <a:gd name="connsiteY171" fmla="*/ 291865 h 2249252"/>
                  <a:gd name="connsiteX172" fmla="*/ 1481138 w 1602771"/>
                  <a:gd name="connsiteY172" fmla="*/ 244240 h 2249252"/>
                  <a:gd name="connsiteX173" fmla="*/ 1471613 w 1602771"/>
                  <a:gd name="connsiteY173" fmla="*/ 201377 h 2249252"/>
                  <a:gd name="connsiteX174" fmla="*/ 1462088 w 1602771"/>
                  <a:gd name="connsiteY174" fmla="*/ 177565 h 2249252"/>
                  <a:gd name="connsiteX175" fmla="*/ 1447800 w 1602771"/>
                  <a:gd name="connsiteY175" fmla="*/ 125177 h 2249252"/>
                  <a:gd name="connsiteX176" fmla="*/ 1443038 w 1602771"/>
                  <a:gd name="connsiteY176" fmla="*/ 110890 h 2249252"/>
                  <a:gd name="connsiteX177" fmla="*/ 1419225 w 1602771"/>
                  <a:gd name="connsiteY177" fmla="*/ 68027 h 2249252"/>
                  <a:gd name="connsiteX178" fmla="*/ 1395413 w 1602771"/>
                  <a:gd name="connsiteY178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14463 w 1602771"/>
                  <a:gd name="connsiteY143" fmla="*/ 1458677 h 2249252"/>
                  <a:gd name="connsiteX144" fmla="*/ 1433513 w 1602771"/>
                  <a:gd name="connsiteY144" fmla="*/ 1434865 h 2249252"/>
                  <a:gd name="connsiteX145" fmla="*/ 1462088 w 1602771"/>
                  <a:gd name="connsiteY145" fmla="*/ 1368190 h 2249252"/>
                  <a:gd name="connsiteX146" fmla="*/ 1471613 w 1602771"/>
                  <a:gd name="connsiteY146" fmla="*/ 1334852 h 2249252"/>
                  <a:gd name="connsiteX147" fmla="*/ 1481138 w 1602771"/>
                  <a:gd name="connsiteY147" fmla="*/ 1311040 h 2249252"/>
                  <a:gd name="connsiteX148" fmla="*/ 1490663 w 1602771"/>
                  <a:gd name="connsiteY148" fmla="*/ 1282465 h 2249252"/>
                  <a:gd name="connsiteX149" fmla="*/ 1504950 w 1602771"/>
                  <a:gd name="connsiteY149" fmla="*/ 1225315 h 2249252"/>
                  <a:gd name="connsiteX150" fmla="*/ 1514475 w 1602771"/>
                  <a:gd name="connsiteY150" fmla="*/ 1211027 h 2249252"/>
                  <a:gd name="connsiteX151" fmla="*/ 1528763 w 1602771"/>
                  <a:gd name="connsiteY151" fmla="*/ 1149115 h 2249252"/>
                  <a:gd name="connsiteX152" fmla="*/ 1533525 w 1602771"/>
                  <a:gd name="connsiteY152" fmla="*/ 1120540 h 2249252"/>
                  <a:gd name="connsiteX153" fmla="*/ 1538288 w 1602771"/>
                  <a:gd name="connsiteY153" fmla="*/ 1101490 h 2249252"/>
                  <a:gd name="connsiteX154" fmla="*/ 1543050 w 1602771"/>
                  <a:gd name="connsiteY154" fmla="*/ 1063390 h 2249252"/>
                  <a:gd name="connsiteX155" fmla="*/ 1552575 w 1602771"/>
                  <a:gd name="connsiteY155" fmla="*/ 1049102 h 2249252"/>
                  <a:gd name="connsiteX156" fmla="*/ 1557338 w 1602771"/>
                  <a:gd name="connsiteY156" fmla="*/ 1015765 h 2249252"/>
                  <a:gd name="connsiteX157" fmla="*/ 1566863 w 1602771"/>
                  <a:gd name="connsiteY157" fmla="*/ 987190 h 2249252"/>
                  <a:gd name="connsiteX158" fmla="*/ 1571625 w 1602771"/>
                  <a:gd name="connsiteY158" fmla="*/ 968140 h 2249252"/>
                  <a:gd name="connsiteX159" fmla="*/ 1581150 w 1602771"/>
                  <a:gd name="connsiteY159" fmla="*/ 920515 h 2249252"/>
                  <a:gd name="connsiteX160" fmla="*/ 1590675 w 1602771"/>
                  <a:gd name="connsiteY160" fmla="*/ 868127 h 2249252"/>
                  <a:gd name="connsiteX161" fmla="*/ 1590675 w 1602771"/>
                  <a:gd name="connsiteY161" fmla="*/ 596665 h 2249252"/>
                  <a:gd name="connsiteX162" fmla="*/ 1581150 w 1602771"/>
                  <a:gd name="connsiteY162" fmla="*/ 525227 h 2249252"/>
                  <a:gd name="connsiteX163" fmla="*/ 1576388 w 1602771"/>
                  <a:gd name="connsiteY163" fmla="*/ 510940 h 2249252"/>
                  <a:gd name="connsiteX164" fmla="*/ 1571625 w 1602771"/>
                  <a:gd name="connsiteY164" fmla="*/ 491890 h 2249252"/>
                  <a:gd name="connsiteX165" fmla="*/ 1557338 w 1602771"/>
                  <a:gd name="connsiteY165" fmla="*/ 458552 h 2249252"/>
                  <a:gd name="connsiteX166" fmla="*/ 1538288 w 1602771"/>
                  <a:gd name="connsiteY166" fmla="*/ 401402 h 2249252"/>
                  <a:gd name="connsiteX167" fmla="*/ 1533525 w 1602771"/>
                  <a:gd name="connsiteY167" fmla="*/ 377590 h 2249252"/>
                  <a:gd name="connsiteX168" fmla="*/ 1524000 w 1602771"/>
                  <a:gd name="connsiteY168" fmla="*/ 353777 h 2249252"/>
                  <a:gd name="connsiteX169" fmla="*/ 1514475 w 1602771"/>
                  <a:gd name="connsiteY169" fmla="*/ 325202 h 2249252"/>
                  <a:gd name="connsiteX170" fmla="*/ 1500188 w 1602771"/>
                  <a:gd name="connsiteY170" fmla="*/ 291865 h 2249252"/>
                  <a:gd name="connsiteX171" fmla="*/ 1481138 w 1602771"/>
                  <a:gd name="connsiteY171" fmla="*/ 244240 h 2249252"/>
                  <a:gd name="connsiteX172" fmla="*/ 1471613 w 1602771"/>
                  <a:gd name="connsiteY172" fmla="*/ 201377 h 2249252"/>
                  <a:gd name="connsiteX173" fmla="*/ 1462088 w 1602771"/>
                  <a:gd name="connsiteY173" fmla="*/ 177565 h 2249252"/>
                  <a:gd name="connsiteX174" fmla="*/ 1447800 w 1602771"/>
                  <a:gd name="connsiteY174" fmla="*/ 125177 h 2249252"/>
                  <a:gd name="connsiteX175" fmla="*/ 1443038 w 1602771"/>
                  <a:gd name="connsiteY175" fmla="*/ 110890 h 2249252"/>
                  <a:gd name="connsiteX176" fmla="*/ 1419225 w 1602771"/>
                  <a:gd name="connsiteY176" fmla="*/ 68027 h 2249252"/>
                  <a:gd name="connsiteX177" fmla="*/ 1395413 w 1602771"/>
                  <a:gd name="connsiteY177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62088 w 1602771"/>
                  <a:gd name="connsiteY144" fmla="*/ 1368190 h 2249252"/>
                  <a:gd name="connsiteX145" fmla="*/ 1471613 w 1602771"/>
                  <a:gd name="connsiteY145" fmla="*/ 1334852 h 2249252"/>
                  <a:gd name="connsiteX146" fmla="*/ 1481138 w 1602771"/>
                  <a:gd name="connsiteY146" fmla="*/ 1311040 h 2249252"/>
                  <a:gd name="connsiteX147" fmla="*/ 1490663 w 1602771"/>
                  <a:gd name="connsiteY147" fmla="*/ 1282465 h 2249252"/>
                  <a:gd name="connsiteX148" fmla="*/ 1504950 w 1602771"/>
                  <a:gd name="connsiteY148" fmla="*/ 1225315 h 2249252"/>
                  <a:gd name="connsiteX149" fmla="*/ 1514475 w 1602771"/>
                  <a:gd name="connsiteY149" fmla="*/ 1211027 h 2249252"/>
                  <a:gd name="connsiteX150" fmla="*/ 1528763 w 1602771"/>
                  <a:gd name="connsiteY150" fmla="*/ 1149115 h 2249252"/>
                  <a:gd name="connsiteX151" fmla="*/ 1533525 w 1602771"/>
                  <a:gd name="connsiteY151" fmla="*/ 1120540 h 2249252"/>
                  <a:gd name="connsiteX152" fmla="*/ 1538288 w 1602771"/>
                  <a:gd name="connsiteY152" fmla="*/ 1101490 h 2249252"/>
                  <a:gd name="connsiteX153" fmla="*/ 1543050 w 1602771"/>
                  <a:gd name="connsiteY153" fmla="*/ 1063390 h 2249252"/>
                  <a:gd name="connsiteX154" fmla="*/ 1552575 w 1602771"/>
                  <a:gd name="connsiteY154" fmla="*/ 1049102 h 2249252"/>
                  <a:gd name="connsiteX155" fmla="*/ 1557338 w 1602771"/>
                  <a:gd name="connsiteY155" fmla="*/ 1015765 h 2249252"/>
                  <a:gd name="connsiteX156" fmla="*/ 1566863 w 1602771"/>
                  <a:gd name="connsiteY156" fmla="*/ 987190 h 2249252"/>
                  <a:gd name="connsiteX157" fmla="*/ 1571625 w 1602771"/>
                  <a:gd name="connsiteY157" fmla="*/ 968140 h 2249252"/>
                  <a:gd name="connsiteX158" fmla="*/ 1581150 w 1602771"/>
                  <a:gd name="connsiteY158" fmla="*/ 920515 h 2249252"/>
                  <a:gd name="connsiteX159" fmla="*/ 1590675 w 1602771"/>
                  <a:gd name="connsiteY159" fmla="*/ 868127 h 2249252"/>
                  <a:gd name="connsiteX160" fmla="*/ 1590675 w 1602771"/>
                  <a:gd name="connsiteY160" fmla="*/ 596665 h 2249252"/>
                  <a:gd name="connsiteX161" fmla="*/ 1581150 w 1602771"/>
                  <a:gd name="connsiteY161" fmla="*/ 525227 h 2249252"/>
                  <a:gd name="connsiteX162" fmla="*/ 1576388 w 1602771"/>
                  <a:gd name="connsiteY162" fmla="*/ 510940 h 2249252"/>
                  <a:gd name="connsiteX163" fmla="*/ 1571625 w 1602771"/>
                  <a:gd name="connsiteY163" fmla="*/ 491890 h 2249252"/>
                  <a:gd name="connsiteX164" fmla="*/ 1557338 w 1602771"/>
                  <a:gd name="connsiteY164" fmla="*/ 458552 h 2249252"/>
                  <a:gd name="connsiteX165" fmla="*/ 1538288 w 1602771"/>
                  <a:gd name="connsiteY165" fmla="*/ 401402 h 2249252"/>
                  <a:gd name="connsiteX166" fmla="*/ 1533525 w 1602771"/>
                  <a:gd name="connsiteY166" fmla="*/ 377590 h 2249252"/>
                  <a:gd name="connsiteX167" fmla="*/ 1524000 w 1602771"/>
                  <a:gd name="connsiteY167" fmla="*/ 353777 h 2249252"/>
                  <a:gd name="connsiteX168" fmla="*/ 1514475 w 1602771"/>
                  <a:gd name="connsiteY168" fmla="*/ 325202 h 2249252"/>
                  <a:gd name="connsiteX169" fmla="*/ 1500188 w 1602771"/>
                  <a:gd name="connsiteY169" fmla="*/ 291865 h 2249252"/>
                  <a:gd name="connsiteX170" fmla="*/ 1481138 w 1602771"/>
                  <a:gd name="connsiteY170" fmla="*/ 244240 h 2249252"/>
                  <a:gd name="connsiteX171" fmla="*/ 1471613 w 1602771"/>
                  <a:gd name="connsiteY171" fmla="*/ 201377 h 2249252"/>
                  <a:gd name="connsiteX172" fmla="*/ 1462088 w 1602771"/>
                  <a:gd name="connsiteY172" fmla="*/ 177565 h 2249252"/>
                  <a:gd name="connsiteX173" fmla="*/ 1447800 w 1602771"/>
                  <a:gd name="connsiteY173" fmla="*/ 125177 h 2249252"/>
                  <a:gd name="connsiteX174" fmla="*/ 1443038 w 1602771"/>
                  <a:gd name="connsiteY174" fmla="*/ 110890 h 2249252"/>
                  <a:gd name="connsiteX175" fmla="*/ 1419225 w 1602771"/>
                  <a:gd name="connsiteY175" fmla="*/ 68027 h 2249252"/>
                  <a:gd name="connsiteX176" fmla="*/ 1395413 w 1602771"/>
                  <a:gd name="connsiteY176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81138 w 1602771"/>
                  <a:gd name="connsiteY145" fmla="*/ 1311040 h 2249252"/>
                  <a:gd name="connsiteX146" fmla="*/ 1490663 w 1602771"/>
                  <a:gd name="connsiteY146" fmla="*/ 1282465 h 2249252"/>
                  <a:gd name="connsiteX147" fmla="*/ 1504950 w 1602771"/>
                  <a:gd name="connsiteY147" fmla="*/ 1225315 h 2249252"/>
                  <a:gd name="connsiteX148" fmla="*/ 1514475 w 1602771"/>
                  <a:gd name="connsiteY148" fmla="*/ 1211027 h 2249252"/>
                  <a:gd name="connsiteX149" fmla="*/ 1528763 w 1602771"/>
                  <a:gd name="connsiteY149" fmla="*/ 1149115 h 2249252"/>
                  <a:gd name="connsiteX150" fmla="*/ 1533525 w 1602771"/>
                  <a:gd name="connsiteY150" fmla="*/ 1120540 h 2249252"/>
                  <a:gd name="connsiteX151" fmla="*/ 1538288 w 1602771"/>
                  <a:gd name="connsiteY151" fmla="*/ 1101490 h 2249252"/>
                  <a:gd name="connsiteX152" fmla="*/ 1543050 w 1602771"/>
                  <a:gd name="connsiteY152" fmla="*/ 1063390 h 2249252"/>
                  <a:gd name="connsiteX153" fmla="*/ 1552575 w 1602771"/>
                  <a:gd name="connsiteY153" fmla="*/ 1049102 h 2249252"/>
                  <a:gd name="connsiteX154" fmla="*/ 1557338 w 1602771"/>
                  <a:gd name="connsiteY154" fmla="*/ 1015765 h 2249252"/>
                  <a:gd name="connsiteX155" fmla="*/ 1566863 w 1602771"/>
                  <a:gd name="connsiteY155" fmla="*/ 987190 h 2249252"/>
                  <a:gd name="connsiteX156" fmla="*/ 1571625 w 1602771"/>
                  <a:gd name="connsiteY156" fmla="*/ 968140 h 2249252"/>
                  <a:gd name="connsiteX157" fmla="*/ 1581150 w 1602771"/>
                  <a:gd name="connsiteY157" fmla="*/ 920515 h 2249252"/>
                  <a:gd name="connsiteX158" fmla="*/ 1590675 w 1602771"/>
                  <a:gd name="connsiteY158" fmla="*/ 868127 h 2249252"/>
                  <a:gd name="connsiteX159" fmla="*/ 1590675 w 1602771"/>
                  <a:gd name="connsiteY159" fmla="*/ 596665 h 2249252"/>
                  <a:gd name="connsiteX160" fmla="*/ 1581150 w 1602771"/>
                  <a:gd name="connsiteY160" fmla="*/ 525227 h 2249252"/>
                  <a:gd name="connsiteX161" fmla="*/ 1576388 w 1602771"/>
                  <a:gd name="connsiteY161" fmla="*/ 510940 h 2249252"/>
                  <a:gd name="connsiteX162" fmla="*/ 1571625 w 1602771"/>
                  <a:gd name="connsiteY162" fmla="*/ 491890 h 2249252"/>
                  <a:gd name="connsiteX163" fmla="*/ 1557338 w 1602771"/>
                  <a:gd name="connsiteY163" fmla="*/ 458552 h 2249252"/>
                  <a:gd name="connsiteX164" fmla="*/ 1538288 w 1602771"/>
                  <a:gd name="connsiteY164" fmla="*/ 401402 h 2249252"/>
                  <a:gd name="connsiteX165" fmla="*/ 1533525 w 1602771"/>
                  <a:gd name="connsiteY165" fmla="*/ 377590 h 2249252"/>
                  <a:gd name="connsiteX166" fmla="*/ 1524000 w 1602771"/>
                  <a:gd name="connsiteY166" fmla="*/ 353777 h 2249252"/>
                  <a:gd name="connsiteX167" fmla="*/ 1514475 w 1602771"/>
                  <a:gd name="connsiteY167" fmla="*/ 325202 h 2249252"/>
                  <a:gd name="connsiteX168" fmla="*/ 1500188 w 1602771"/>
                  <a:gd name="connsiteY168" fmla="*/ 291865 h 2249252"/>
                  <a:gd name="connsiteX169" fmla="*/ 1481138 w 1602771"/>
                  <a:gd name="connsiteY169" fmla="*/ 244240 h 2249252"/>
                  <a:gd name="connsiteX170" fmla="*/ 1471613 w 1602771"/>
                  <a:gd name="connsiteY170" fmla="*/ 201377 h 2249252"/>
                  <a:gd name="connsiteX171" fmla="*/ 1462088 w 1602771"/>
                  <a:gd name="connsiteY171" fmla="*/ 177565 h 2249252"/>
                  <a:gd name="connsiteX172" fmla="*/ 1447800 w 1602771"/>
                  <a:gd name="connsiteY172" fmla="*/ 125177 h 2249252"/>
                  <a:gd name="connsiteX173" fmla="*/ 1443038 w 1602771"/>
                  <a:gd name="connsiteY173" fmla="*/ 110890 h 2249252"/>
                  <a:gd name="connsiteX174" fmla="*/ 1419225 w 1602771"/>
                  <a:gd name="connsiteY174" fmla="*/ 68027 h 2249252"/>
                  <a:gd name="connsiteX175" fmla="*/ 1395413 w 1602771"/>
                  <a:gd name="connsiteY175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04950 w 1602771"/>
                  <a:gd name="connsiteY146" fmla="*/ 1225315 h 2249252"/>
                  <a:gd name="connsiteX147" fmla="*/ 1514475 w 1602771"/>
                  <a:gd name="connsiteY147" fmla="*/ 1211027 h 2249252"/>
                  <a:gd name="connsiteX148" fmla="*/ 1528763 w 1602771"/>
                  <a:gd name="connsiteY148" fmla="*/ 1149115 h 2249252"/>
                  <a:gd name="connsiteX149" fmla="*/ 1533525 w 1602771"/>
                  <a:gd name="connsiteY149" fmla="*/ 1120540 h 2249252"/>
                  <a:gd name="connsiteX150" fmla="*/ 1538288 w 1602771"/>
                  <a:gd name="connsiteY150" fmla="*/ 1101490 h 2249252"/>
                  <a:gd name="connsiteX151" fmla="*/ 1543050 w 1602771"/>
                  <a:gd name="connsiteY151" fmla="*/ 1063390 h 2249252"/>
                  <a:gd name="connsiteX152" fmla="*/ 1552575 w 1602771"/>
                  <a:gd name="connsiteY152" fmla="*/ 1049102 h 2249252"/>
                  <a:gd name="connsiteX153" fmla="*/ 1557338 w 1602771"/>
                  <a:gd name="connsiteY153" fmla="*/ 1015765 h 2249252"/>
                  <a:gd name="connsiteX154" fmla="*/ 1566863 w 1602771"/>
                  <a:gd name="connsiteY154" fmla="*/ 987190 h 2249252"/>
                  <a:gd name="connsiteX155" fmla="*/ 1571625 w 1602771"/>
                  <a:gd name="connsiteY155" fmla="*/ 968140 h 2249252"/>
                  <a:gd name="connsiteX156" fmla="*/ 1581150 w 1602771"/>
                  <a:gd name="connsiteY156" fmla="*/ 920515 h 2249252"/>
                  <a:gd name="connsiteX157" fmla="*/ 1590675 w 1602771"/>
                  <a:gd name="connsiteY157" fmla="*/ 868127 h 2249252"/>
                  <a:gd name="connsiteX158" fmla="*/ 1590675 w 1602771"/>
                  <a:gd name="connsiteY158" fmla="*/ 596665 h 2249252"/>
                  <a:gd name="connsiteX159" fmla="*/ 1581150 w 1602771"/>
                  <a:gd name="connsiteY159" fmla="*/ 525227 h 2249252"/>
                  <a:gd name="connsiteX160" fmla="*/ 1576388 w 1602771"/>
                  <a:gd name="connsiteY160" fmla="*/ 510940 h 2249252"/>
                  <a:gd name="connsiteX161" fmla="*/ 1571625 w 1602771"/>
                  <a:gd name="connsiteY161" fmla="*/ 491890 h 2249252"/>
                  <a:gd name="connsiteX162" fmla="*/ 1557338 w 1602771"/>
                  <a:gd name="connsiteY162" fmla="*/ 458552 h 2249252"/>
                  <a:gd name="connsiteX163" fmla="*/ 1538288 w 1602771"/>
                  <a:gd name="connsiteY163" fmla="*/ 401402 h 2249252"/>
                  <a:gd name="connsiteX164" fmla="*/ 1533525 w 1602771"/>
                  <a:gd name="connsiteY164" fmla="*/ 377590 h 2249252"/>
                  <a:gd name="connsiteX165" fmla="*/ 1524000 w 1602771"/>
                  <a:gd name="connsiteY165" fmla="*/ 353777 h 2249252"/>
                  <a:gd name="connsiteX166" fmla="*/ 1514475 w 1602771"/>
                  <a:gd name="connsiteY166" fmla="*/ 325202 h 2249252"/>
                  <a:gd name="connsiteX167" fmla="*/ 1500188 w 1602771"/>
                  <a:gd name="connsiteY167" fmla="*/ 291865 h 2249252"/>
                  <a:gd name="connsiteX168" fmla="*/ 1481138 w 1602771"/>
                  <a:gd name="connsiteY168" fmla="*/ 244240 h 2249252"/>
                  <a:gd name="connsiteX169" fmla="*/ 1471613 w 1602771"/>
                  <a:gd name="connsiteY169" fmla="*/ 201377 h 2249252"/>
                  <a:gd name="connsiteX170" fmla="*/ 1462088 w 1602771"/>
                  <a:gd name="connsiteY170" fmla="*/ 177565 h 2249252"/>
                  <a:gd name="connsiteX171" fmla="*/ 1447800 w 1602771"/>
                  <a:gd name="connsiteY171" fmla="*/ 125177 h 2249252"/>
                  <a:gd name="connsiteX172" fmla="*/ 1443038 w 1602771"/>
                  <a:gd name="connsiteY172" fmla="*/ 110890 h 2249252"/>
                  <a:gd name="connsiteX173" fmla="*/ 1419225 w 1602771"/>
                  <a:gd name="connsiteY173" fmla="*/ 68027 h 2249252"/>
                  <a:gd name="connsiteX174" fmla="*/ 1395413 w 1602771"/>
                  <a:gd name="connsiteY174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33525 w 1602771"/>
                  <a:gd name="connsiteY148" fmla="*/ 1120540 h 2249252"/>
                  <a:gd name="connsiteX149" fmla="*/ 1538288 w 1602771"/>
                  <a:gd name="connsiteY149" fmla="*/ 1101490 h 2249252"/>
                  <a:gd name="connsiteX150" fmla="*/ 1543050 w 1602771"/>
                  <a:gd name="connsiteY150" fmla="*/ 1063390 h 2249252"/>
                  <a:gd name="connsiteX151" fmla="*/ 1552575 w 1602771"/>
                  <a:gd name="connsiteY151" fmla="*/ 1049102 h 2249252"/>
                  <a:gd name="connsiteX152" fmla="*/ 1557338 w 1602771"/>
                  <a:gd name="connsiteY152" fmla="*/ 1015765 h 2249252"/>
                  <a:gd name="connsiteX153" fmla="*/ 1566863 w 1602771"/>
                  <a:gd name="connsiteY153" fmla="*/ 987190 h 2249252"/>
                  <a:gd name="connsiteX154" fmla="*/ 1571625 w 1602771"/>
                  <a:gd name="connsiteY154" fmla="*/ 968140 h 2249252"/>
                  <a:gd name="connsiteX155" fmla="*/ 1581150 w 1602771"/>
                  <a:gd name="connsiteY155" fmla="*/ 920515 h 2249252"/>
                  <a:gd name="connsiteX156" fmla="*/ 1590675 w 1602771"/>
                  <a:gd name="connsiteY156" fmla="*/ 868127 h 2249252"/>
                  <a:gd name="connsiteX157" fmla="*/ 1590675 w 1602771"/>
                  <a:gd name="connsiteY157" fmla="*/ 596665 h 2249252"/>
                  <a:gd name="connsiteX158" fmla="*/ 1581150 w 1602771"/>
                  <a:gd name="connsiteY158" fmla="*/ 525227 h 2249252"/>
                  <a:gd name="connsiteX159" fmla="*/ 1576388 w 1602771"/>
                  <a:gd name="connsiteY159" fmla="*/ 510940 h 2249252"/>
                  <a:gd name="connsiteX160" fmla="*/ 1571625 w 1602771"/>
                  <a:gd name="connsiteY160" fmla="*/ 491890 h 2249252"/>
                  <a:gd name="connsiteX161" fmla="*/ 1557338 w 1602771"/>
                  <a:gd name="connsiteY161" fmla="*/ 458552 h 2249252"/>
                  <a:gd name="connsiteX162" fmla="*/ 1538288 w 1602771"/>
                  <a:gd name="connsiteY162" fmla="*/ 401402 h 2249252"/>
                  <a:gd name="connsiteX163" fmla="*/ 1533525 w 1602771"/>
                  <a:gd name="connsiteY163" fmla="*/ 377590 h 2249252"/>
                  <a:gd name="connsiteX164" fmla="*/ 1524000 w 1602771"/>
                  <a:gd name="connsiteY164" fmla="*/ 353777 h 2249252"/>
                  <a:gd name="connsiteX165" fmla="*/ 1514475 w 1602771"/>
                  <a:gd name="connsiteY165" fmla="*/ 325202 h 2249252"/>
                  <a:gd name="connsiteX166" fmla="*/ 1500188 w 1602771"/>
                  <a:gd name="connsiteY166" fmla="*/ 291865 h 2249252"/>
                  <a:gd name="connsiteX167" fmla="*/ 1481138 w 1602771"/>
                  <a:gd name="connsiteY167" fmla="*/ 244240 h 2249252"/>
                  <a:gd name="connsiteX168" fmla="*/ 1471613 w 1602771"/>
                  <a:gd name="connsiteY168" fmla="*/ 201377 h 2249252"/>
                  <a:gd name="connsiteX169" fmla="*/ 1462088 w 1602771"/>
                  <a:gd name="connsiteY169" fmla="*/ 177565 h 2249252"/>
                  <a:gd name="connsiteX170" fmla="*/ 1447800 w 1602771"/>
                  <a:gd name="connsiteY170" fmla="*/ 125177 h 2249252"/>
                  <a:gd name="connsiteX171" fmla="*/ 1443038 w 1602771"/>
                  <a:gd name="connsiteY171" fmla="*/ 110890 h 2249252"/>
                  <a:gd name="connsiteX172" fmla="*/ 1419225 w 1602771"/>
                  <a:gd name="connsiteY172" fmla="*/ 68027 h 2249252"/>
                  <a:gd name="connsiteX173" fmla="*/ 1395413 w 1602771"/>
                  <a:gd name="connsiteY173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33525 w 1602771"/>
                  <a:gd name="connsiteY148" fmla="*/ 1120540 h 2249252"/>
                  <a:gd name="connsiteX149" fmla="*/ 1543050 w 1602771"/>
                  <a:gd name="connsiteY149" fmla="*/ 1063390 h 2249252"/>
                  <a:gd name="connsiteX150" fmla="*/ 1552575 w 1602771"/>
                  <a:gd name="connsiteY150" fmla="*/ 1049102 h 2249252"/>
                  <a:gd name="connsiteX151" fmla="*/ 1557338 w 1602771"/>
                  <a:gd name="connsiteY151" fmla="*/ 1015765 h 2249252"/>
                  <a:gd name="connsiteX152" fmla="*/ 1566863 w 1602771"/>
                  <a:gd name="connsiteY152" fmla="*/ 987190 h 2249252"/>
                  <a:gd name="connsiteX153" fmla="*/ 1571625 w 1602771"/>
                  <a:gd name="connsiteY153" fmla="*/ 968140 h 2249252"/>
                  <a:gd name="connsiteX154" fmla="*/ 1581150 w 1602771"/>
                  <a:gd name="connsiteY154" fmla="*/ 920515 h 2249252"/>
                  <a:gd name="connsiteX155" fmla="*/ 1590675 w 1602771"/>
                  <a:gd name="connsiteY155" fmla="*/ 868127 h 2249252"/>
                  <a:gd name="connsiteX156" fmla="*/ 1590675 w 1602771"/>
                  <a:gd name="connsiteY156" fmla="*/ 596665 h 2249252"/>
                  <a:gd name="connsiteX157" fmla="*/ 1581150 w 1602771"/>
                  <a:gd name="connsiteY157" fmla="*/ 525227 h 2249252"/>
                  <a:gd name="connsiteX158" fmla="*/ 1576388 w 1602771"/>
                  <a:gd name="connsiteY158" fmla="*/ 510940 h 2249252"/>
                  <a:gd name="connsiteX159" fmla="*/ 1571625 w 1602771"/>
                  <a:gd name="connsiteY159" fmla="*/ 491890 h 2249252"/>
                  <a:gd name="connsiteX160" fmla="*/ 1557338 w 1602771"/>
                  <a:gd name="connsiteY160" fmla="*/ 458552 h 2249252"/>
                  <a:gd name="connsiteX161" fmla="*/ 1538288 w 1602771"/>
                  <a:gd name="connsiteY161" fmla="*/ 401402 h 2249252"/>
                  <a:gd name="connsiteX162" fmla="*/ 1533525 w 1602771"/>
                  <a:gd name="connsiteY162" fmla="*/ 377590 h 2249252"/>
                  <a:gd name="connsiteX163" fmla="*/ 1524000 w 1602771"/>
                  <a:gd name="connsiteY163" fmla="*/ 353777 h 2249252"/>
                  <a:gd name="connsiteX164" fmla="*/ 1514475 w 1602771"/>
                  <a:gd name="connsiteY164" fmla="*/ 325202 h 2249252"/>
                  <a:gd name="connsiteX165" fmla="*/ 1500188 w 1602771"/>
                  <a:gd name="connsiteY165" fmla="*/ 291865 h 2249252"/>
                  <a:gd name="connsiteX166" fmla="*/ 1481138 w 1602771"/>
                  <a:gd name="connsiteY166" fmla="*/ 244240 h 2249252"/>
                  <a:gd name="connsiteX167" fmla="*/ 1471613 w 1602771"/>
                  <a:gd name="connsiteY167" fmla="*/ 201377 h 2249252"/>
                  <a:gd name="connsiteX168" fmla="*/ 1462088 w 1602771"/>
                  <a:gd name="connsiteY168" fmla="*/ 177565 h 2249252"/>
                  <a:gd name="connsiteX169" fmla="*/ 1447800 w 1602771"/>
                  <a:gd name="connsiteY169" fmla="*/ 125177 h 2249252"/>
                  <a:gd name="connsiteX170" fmla="*/ 1443038 w 1602771"/>
                  <a:gd name="connsiteY170" fmla="*/ 110890 h 2249252"/>
                  <a:gd name="connsiteX171" fmla="*/ 1419225 w 1602771"/>
                  <a:gd name="connsiteY171" fmla="*/ 68027 h 2249252"/>
                  <a:gd name="connsiteX172" fmla="*/ 1395413 w 1602771"/>
                  <a:gd name="connsiteY172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43050 w 1602771"/>
                  <a:gd name="connsiteY148" fmla="*/ 1063390 h 2249252"/>
                  <a:gd name="connsiteX149" fmla="*/ 1552575 w 1602771"/>
                  <a:gd name="connsiteY149" fmla="*/ 1049102 h 2249252"/>
                  <a:gd name="connsiteX150" fmla="*/ 1557338 w 1602771"/>
                  <a:gd name="connsiteY150" fmla="*/ 1015765 h 2249252"/>
                  <a:gd name="connsiteX151" fmla="*/ 1566863 w 1602771"/>
                  <a:gd name="connsiteY151" fmla="*/ 987190 h 2249252"/>
                  <a:gd name="connsiteX152" fmla="*/ 1571625 w 1602771"/>
                  <a:gd name="connsiteY152" fmla="*/ 968140 h 2249252"/>
                  <a:gd name="connsiteX153" fmla="*/ 1581150 w 1602771"/>
                  <a:gd name="connsiteY153" fmla="*/ 920515 h 2249252"/>
                  <a:gd name="connsiteX154" fmla="*/ 1590675 w 1602771"/>
                  <a:gd name="connsiteY154" fmla="*/ 868127 h 2249252"/>
                  <a:gd name="connsiteX155" fmla="*/ 1590675 w 1602771"/>
                  <a:gd name="connsiteY155" fmla="*/ 596665 h 2249252"/>
                  <a:gd name="connsiteX156" fmla="*/ 1581150 w 1602771"/>
                  <a:gd name="connsiteY156" fmla="*/ 525227 h 2249252"/>
                  <a:gd name="connsiteX157" fmla="*/ 1576388 w 1602771"/>
                  <a:gd name="connsiteY157" fmla="*/ 510940 h 2249252"/>
                  <a:gd name="connsiteX158" fmla="*/ 1571625 w 1602771"/>
                  <a:gd name="connsiteY158" fmla="*/ 491890 h 2249252"/>
                  <a:gd name="connsiteX159" fmla="*/ 1557338 w 1602771"/>
                  <a:gd name="connsiteY159" fmla="*/ 458552 h 2249252"/>
                  <a:gd name="connsiteX160" fmla="*/ 1538288 w 1602771"/>
                  <a:gd name="connsiteY160" fmla="*/ 401402 h 2249252"/>
                  <a:gd name="connsiteX161" fmla="*/ 1533525 w 1602771"/>
                  <a:gd name="connsiteY161" fmla="*/ 377590 h 2249252"/>
                  <a:gd name="connsiteX162" fmla="*/ 1524000 w 1602771"/>
                  <a:gd name="connsiteY162" fmla="*/ 353777 h 2249252"/>
                  <a:gd name="connsiteX163" fmla="*/ 1514475 w 1602771"/>
                  <a:gd name="connsiteY163" fmla="*/ 325202 h 2249252"/>
                  <a:gd name="connsiteX164" fmla="*/ 1500188 w 1602771"/>
                  <a:gd name="connsiteY164" fmla="*/ 291865 h 2249252"/>
                  <a:gd name="connsiteX165" fmla="*/ 1481138 w 1602771"/>
                  <a:gd name="connsiteY165" fmla="*/ 244240 h 2249252"/>
                  <a:gd name="connsiteX166" fmla="*/ 1471613 w 1602771"/>
                  <a:gd name="connsiteY166" fmla="*/ 201377 h 2249252"/>
                  <a:gd name="connsiteX167" fmla="*/ 1462088 w 1602771"/>
                  <a:gd name="connsiteY167" fmla="*/ 177565 h 2249252"/>
                  <a:gd name="connsiteX168" fmla="*/ 1447800 w 1602771"/>
                  <a:gd name="connsiteY168" fmla="*/ 125177 h 2249252"/>
                  <a:gd name="connsiteX169" fmla="*/ 1443038 w 1602771"/>
                  <a:gd name="connsiteY169" fmla="*/ 110890 h 2249252"/>
                  <a:gd name="connsiteX170" fmla="*/ 1419225 w 1602771"/>
                  <a:gd name="connsiteY170" fmla="*/ 68027 h 2249252"/>
                  <a:gd name="connsiteX171" fmla="*/ 1395413 w 1602771"/>
                  <a:gd name="connsiteY17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52575 w 1602771"/>
                  <a:gd name="connsiteY148" fmla="*/ 1049102 h 2249252"/>
                  <a:gd name="connsiteX149" fmla="*/ 1557338 w 1602771"/>
                  <a:gd name="connsiteY149" fmla="*/ 1015765 h 2249252"/>
                  <a:gd name="connsiteX150" fmla="*/ 1566863 w 1602771"/>
                  <a:gd name="connsiteY150" fmla="*/ 987190 h 2249252"/>
                  <a:gd name="connsiteX151" fmla="*/ 1571625 w 1602771"/>
                  <a:gd name="connsiteY151" fmla="*/ 968140 h 2249252"/>
                  <a:gd name="connsiteX152" fmla="*/ 1581150 w 1602771"/>
                  <a:gd name="connsiteY152" fmla="*/ 920515 h 2249252"/>
                  <a:gd name="connsiteX153" fmla="*/ 1590675 w 1602771"/>
                  <a:gd name="connsiteY153" fmla="*/ 868127 h 2249252"/>
                  <a:gd name="connsiteX154" fmla="*/ 1590675 w 1602771"/>
                  <a:gd name="connsiteY154" fmla="*/ 596665 h 2249252"/>
                  <a:gd name="connsiteX155" fmla="*/ 1581150 w 1602771"/>
                  <a:gd name="connsiteY155" fmla="*/ 525227 h 2249252"/>
                  <a:gd name="connsiteX156" fmla="*/ 1576388 w 1602771"/>
                  <a:gd name="connsiteY156" fmla="*/ 510940 h 2249252"/>
                  <a:gd name="connsiteX157" fmla="*/ 1571625 w 1602771"/>
                  <a:gd name="connsiteY157" fmla="*/ 491890 h 2249252"/>
                  <a:gd name="connsiteX158" fmla="*/ 1557338 w 1602771"/>
                  <a:gd name="connsiteY158" fmla="*/ 458552 h 2249252"/>
                  <a:gd name="connsiteX159" fmla="*/ 1538288 w 1602771"/>
                  <a:gd name="connsiteY159" fmla="*/ 401402 h 2249252"/>
                  <a:gd name="connsiteX160" fmla="*/ 1533525 w 1602771"/>
                  <a:gd name="connsiteY160" fmla="*/ 377590 h 2249252"/>
                  <a:gd name="connsiteX161" fmla="*/ 1524000 w 1602771"/>
                  <a:gd name="connsiteY161" fmla="*/ 353777 h 2249252"/>
                  <a:gd name="connsiteX162" fmla="*/ 1514475 w 1602771"/>
                  <a:gd name="connsiteY162" fmla="*/ 325202 h 2249252"/>
                  <a:gd name="connsiteX163" fmla="*/ 1500188 w 1602771"/>
                  <a:gd name="connsiteY163" fmla="*/ 291865 h 2249252"/>
                  <a:gd name="connsiteX164" fmla="*/ 1481138 w 1602771"/>
                  <a:gd name="connsiteY164" fmla="*/ 244240 h 2249252"/>
                  <a:gd name="connsiteX165" fmla="*/ 1471613 w 1602771"/>
                  <a:gd name="connsiteY165" fmla="*/ 201377 h 2249252"/>
                  <a:gd name="connsiteX166" fmla="*/ 1462088 w 1602771"/>
                  <a:gd name="connsiteY166" fmla="*/ 177565 h 2249252"/>
                  <a:gd name="connsiteX167" fmla="*/ 1447800 w 1602771"/>
                  <a:gd name="connsiteY167" fmla="*/ 125177 h 2249252"/>
                  <a:gd name="connsiteX168" fmla="*/ 1443038 w 1602771"/>
                  <a:gd name="connsiteY168" fmla="*/ 110890 h 2249252"/>
                  <a:gd name="connsiteX169" fmla="*/ 1419225 w 1602771"/>
                  <a:gd name="connsiteY169" fmla="*/ 68027 h 2249252"/>
                  <a:gd name="connsiteX170" fmla="*/ 1395413 w 1602771"/>
                  <a:gd name="connsiteY170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57338 w 1602771"/>
                  <a:gd name="connsiteY148" fmla="*/ 1015765 h 2249252"/>
                  <a:gd name="connsiteX149" fmla="*/ 1566863 w 1602771"/>
                  <a:gd name="connsiteY149" fmla="*/ 987190 h 2249252"/>
                  <a:gd name="connsiteX150" fmla="*/ 1571625 w 1602771"/>
                  <a:gd name="connsiteY150" fmla="*/ 968140 h 2249252"/>
                  <a:gd name="connsiteX151" fmla="*/ 1581150 w 1602771"/>
                  <a:gd name="connsiteY151" fmla="*/ 920515 h 2249252"/>
                  <a:gd name="connsiteX152" fmla="*/ 1590675 w 1602771"/>
                  <a:gd name="connsiteY152" fmla="*/ 868127 h 2249252"/>
                  <a:gd name="connsiteX153" fmla="*/ 1590675 w 1602771"/>
                  <a:gd name="connsiteY153" fmla="*/ 596665 h 2249252"/>
                  <a:gd name="connsiteX154" fmla="*/ 1581150 w 1602771"/>
                  <a:gd name="connsiteY154" fmla="*/ 525227 h 2249252"/>
                  <a:gd name="connsiteX155" fmla="*/ 1576388 w 1602771"/>
                  <a:gd name="connsiteY155" fmla="*/ 510940 h 2249252"/>
                  <a:gd name="connsiteX156" fmla="*/ 1571625 w 1602771"/>
                  <a:gd name="connsiteY156" fmla="*/ 491890 h 2249252"/>
                  <a:gd name="connsiteX157" fmla="*/ 1557338 w 1602771"/>
                  <a:gd name="connsiteY157" fmla="*/ 458552 h 2249252"/>
                  <a:gd name="connsiteX158" fmla="*/ 1538288 w 1602771"/>
                  <a:gd name="connsiteY158" fmla="*/ 401402 h 2249252"/>
                  <a:gd name="connsiteX159" fmla="*/ 1533525 w 1602771"/>
                  <a:gd name="connsiteY159" fmla="*/ 377590 h 2249252"/>
                  <a:gd name="connsiteX160" fmla="*/ 1524000 w 1602771"/>
                  <a:gd name="connsiteY160" fmla="*/ 353777 h 2249252"/>
                  <a:gd name="connsiteX161" fmla="*/ 1514475 w 1602771"/>
                  <a:gd name="connsiteY161" fmla="*/ 325202 h 2249252"/>
                  <a:gd name="connsiteX162" fmla="*/ 1500188 w 1602771"/>
                  <a:gd name="connsiteY162" fmla="*/ 291865 h 2249252"/>
                  <a:gd name="connsiteX163" fmla="*/ 1481138 w 1602771"/>
                  <a:gd name="connsiteY163" fmla="*/ 244240 h 2249252"/>
                  <a:gd name="connsiteX164" fmla="*/ 1471613 w 1602771"/>
                  <a:gd name="connsiteY164" fmla="*/ 201377 h 2249252"/>
                  <a:gd name="connsiteX165" fmla="*/ 1462088 w 1602771"/>
                  <a:gd name="connsiteY165" fmla="*/ 177565 h 2249252"/>
                  <a:gd name="connsiteX166" fmla="*/ 1447800 w 1602771"/>
                  <a:gd name="connsiteY166" fmla="*/ 125177 h 2249252"/>
                  <a:gd name="connsiteX167" fmla="*/ 1443038 w 1602771"/>
                  <a:gd name="connsiteY167" fmla="*/ 110890 h 2249252"/>
                  <a:gd name="connsiteX168" fmla="*/ 1419225 w 1602771"/>
                  <a:gd name="connsiteY168" fmla="*/ 68027 h 2249252"/>
                  <a:gd name="connsiteX169" fmla="*/ 1395413 w 1602771"/>
                  <a:gd name="connsiteY169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71625 w 1602771"/>
                  <a:gd name="connsiteY149" fmla="*/ 968140 h 2249252"/>
                  <a:gd name="connsiteX150" fmla="*/ 1581150 w 1602771"/>
                  <a:gd name="connsiteY150" fmla="*/ 920515 h 2249252"/>
                  <a:gd name="connsiteX151" fmla="*/ 1590675 w 1602771"/>
                  <a:gd name="connsiteY151" fmla="*/ 868127 h 2249252"/>
                  <a:gd name="connsiteX152" fmla="*/ 1590675 w 1602771"/>
                  <a:gd name="connsiteY152" fmla="*/ 596665 h 2249252"/>
                  <a:gd name="connsiteX153" fmla="*/ 1581150 w 1602771"/>
                  <a:gd name="connsiteY153" fmla="*/ 525227 h 2249252"/>
                  <a:gd name="connsiteX154" fmla="*/ 1576388 w 1602771"/>
                  <a:gd name="connsiteY154" fmla="*/ 510940 h 2249252"/>
                  <a:gd name="connsiteX155" fmla="*/ 1571625 w 1602771"/>
                  <a:gd name="connsiteY155" fmla="*/ 491890 h 2249252"/>
                  <a:gd name="connsiteX156" fmla="*/ 1557338 w 1602771"/>
                  <a:gd name="connsiteY156" fmla="*/ 458552 h 2249252"/>
                  <a:gd name="connsiteX157" fmla="*/ 1538288 w 1602771"/>
                  <a:gd name="connsiteY157" fmla="*/ 401402 h 2249252"/>
                  <a:gd name="connsiteX158" fmla="*/ 1533525 w 1602771"/>
                  <a:gd name="connsiteY158" fmla="*/ 377590 h 2249252"/>
                  <a:gd name="connsiteX159" fmla="*/ 1524000 w 1602771"/>
                  <a:gd name="connsiteY159" fmla="*/ 353777 h 2249252"/>
                  <a:gd name="connsiteX160" fmla="*/ 1514475 w 1602771"/>
                  <a:gd name="connsiteY160" fmla="*/ 325202 h 2249252"/>
                  <a:gd name="connsiteX161" fmla="*/ 1500188 w 1602771"/>
                  <a:gd name="connsiteY161" fmla="*/ 291865 h 2249252"/>
                  <a:gd name="connsiteX162" fmla="*/ 1481138 w 1602771"/>
                  <a:gd name="connsiteY162" fmla="*/ 244240 h 2249252"/>
                  <a:gd name="connsiteX163" fmla="*/ 1471613 w 1602771"/>
                  <a:gd name="connsiteY163" fmla="*/ 201377 h 2249252"/>
                  <a:gd name="connsiteX164" fmla="*/ 1462088 w 1602771"/>
                  <a:gd name="connsiteY164" fmla="*/ 177565 h 2249252"/>
                  <a:gd name="connsiteX165" fmla="*/ 1447800 w 1602771"/>
                  <a:gd name="connsiteY165" fmla="*/ 125177 h 2249252"/>
                  <a:gd name="connsiteX166" fmla="*/ 1443038 w 1602771"/>
                  <a:gd name="connsiteY166" fmla="*/ 110890 h 2249252"/>
                  <a:gd name="connsiteX167" fmla="*/ 1419225 w 1602771"/>
                  <a:gd name="connsiteY167" fmla="*/ 68027 h 2249252"/>
                  <a:gd name="connsiteX168" fmla="*/ 1395413 w 1602771"/>
                  <a:gd name="connsiteY168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81150 w 1602771"/>
                  <a:gd name="connsiteY149" fmla="*/ 920515 h 2249252"/>
                  <a:gd name="connsiteX150" fmla="*/ 1590675 w 1602771"/>
                  <a:gd name="connsiteY150" fmla="*/ 868127 h 2249252"/>
                  <a:gd name="connsiteX151" fmla="*/ 1590675 w 1602771"/>
                  <a:gd name="connsiteY151" fmla="*/ 596665 h 2249252"/>
                  <a:gd name="connsiteX152" fmla="*/ 1581150 w 1602771"/>
                  <a:gd name="connsiteY152" fmla="*/ 525227 h 2249252"/>
                  <a:gd name="connsiteX153" fmla="*/ 1576388 w 1602771"/>
                  <a:gd name="connsiteY153" fmla="*/ 510940 h 2249252"/>
                  <a:gd name="connsiteX154" fmla="*/ 1571625 w 1602771"/>
                  <a:gd name="connsiteY154" fmla="*/ 491890 h 2249252"/>
                  <a:gd name="connsiteX155" fmla="*/ 1557338 w 1602771"/>
                  <a:gd name="connsiteY155" fmla="*/ 458552 h 2249252"/>
                  <a:gd name="connsiteX156" fmla="*/ 1538288 w 1602771"/>
                  <a:gd name="connsiteY156" fmla="*/ 401402 h 2249252"/>
                  <a:gd name="connsiteX157" fmla="*/ 1533525 w 1602771"/>
                  <a:gd name="connsiteY157" fmla="*/ 377590 h 2249252"/>
                  <a:gd name="connsiteX158" fmla="*/ 1524000 w 1602771"/>
                  <a:gd name="connsiteY158" fmla="*/ 353777 h 2249252"/>
                  <a:gd name="connsiteX159" fmla="*/ 1514475 w 1602771"/>
                  <a:gd name="connsiteY159" fmla="*/ 325202 h 2249252"/>
                  <a:gd name="connsiteX160" fmla="*/ 1500188 w 1602771"/>
                  <a:gd name="connsiteY160" fmla="*/ 291865 h 2249252"/>
                  <a:gd name="connsiteX161" fmla="*/ 1481138 w 1602771"/>
                  <a:gd name="connsiteY161" fmla="*/ 244240 h 2249252"/>
                  <a:gd name="connsiteX162" fmla="*/ 1471613 w 1602771"/>
                  <a:gd name="connsiteY162" fmla="*/ 201377 h 2249252"/>
                  <a:gd name="connsiteX163" fmla="*/ 1462088 w 1602771"/>
                  <a:gd name="connsiteY163" fmla="*/ 177565 h 2249252"/>
                  <a:gd name="connsiteX164" fmla="*/ 1447800 w 1602771"/>
                  <a:gd name="connsiteY164" fmla="*/ 125177 h 2249252"/>
                  <a:gd name="connsiteX165" fmla="*/ 1443038 w 1602771"/>
                  <a:gd name="connsiteY165" fmla="*/ 110890 h 2249252"/>
                  <a:gd name="connsiteX166" fmla="*/ 1419225 w 1602771"/>
                  <a:gd name="connsiteY166" fmla="*/ 68027 h 2249252"/>
                  <a:gd name="connsiteX167" fmla="*/ 1395413 w 1602771"/>
                  <a:gd name="connsiteY167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71625 w 1602771"/>
                  <a:gd name="connsiteY153" fmla="*/ 491890 h 2249252"/>
                  <a:gd name="connsiteX154" fmla="*/ 1557338 w 1602771"/>
                  <a:gd name="connsiteY154" fmla="*/ 458552 h 2249252"/>
                  <a:gd name="connsiteX155" fmla="*/ 1538288 w 1602771"/>
                  <a:gd name="connsiteY155" fmla="*/ 401402 h 2249252"/>
                  <a:gd name="connsiteX156" fmla="*/ 1533525 w 1602771"/>
                  <a:gd name="connsiteY156" fmla="*/ 377590 h 2249252"/>
                  <a:gd name="connsiteX157" fmla="*/ 1524000 w 1602771"/>
                  <a:gd name="connsiteY157" fmla="*/ 353777 h 2249252"/>
                  <a:gd name="connsiteX158" fmla="*/ 1514475 w 1602771"/>
                  <a:gd name="connsiteY158" fmla="*/ 325202 h 2249252"/>
                  <a:gd name="connsiteX159" fmla="*/ 1500188 w 1602771"/>
                  <a:gd name="connsiteY159" fmla="*/ 291865 h 2249252"/>
                  <a:gd name="connsiteX160" fmla="*/ 1481138 w 1602771"/>
                  <a:gd name="connsiteY160" fmla="*/ 244240 h 2249252"/>
                  <a:gd name="connsiteX161" fmla="*/ 1471613 w 1602771"/>
                  <a:gd name="connsiteY161" fmla="*/ 201377 h 2249252"/>
                  <a:gd name="connsiteX162" fmla="*/ 1462088 w 1602771"/>
                  <a:gd name="connsiteY162" fmla="*/ 177565 h 2249252"/>
                  <a:gd name="connsiteX163" fmla="*/ 1447800 w 1602771"/>
                  <a:gd name="connsiteY163" fmla="*/ 125177 h 2249252"/>
                  <a:gd name="connsiteX164" fmla="*/ 1443038 w 1602771"/>
                  <a:gd name="connsiteY164" fmla="*/ 110890 h 2249252"/>
                  <a:gd name="connsiteX165" fmla="*/ 1419225 w 1602771"/>
                  <a:gd name="connsiteY165" fmla="*/ 68027 h 2249252"/>
                  <a:gd name="connsiteX166" fmla="*/ 1395413 w 1602771"/>
                  <a:gd name="connsiteY166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57338 w 1602771"/>
                  <a:gd name="connsiteY153" fmla="*/ 458552 h 2249252"/>
                  <a:gd name="connsiteX154" fmla="*/ 1538288 w 1602771"/>
                  <a:gd name="connsiteY154" fmla="*/ 401402 h 2249252"/>
                  <a:gd name="connsiteX155" fmla="*/ 1533525 w 1602771"/>
                  <a:gd name="connsiteY155" fmla="*/ 377590 h 2249252"/>
                  <a:gd name="connsiteX156" fmla="*/ 1524000 w 1602771"/>
                  <a:gd name="connsiteY156" fmla="*/ 353777 h 2249252"/>
                  <a:gd name="connsiteX157" fmla="*/ 1514475 w 1602771"/>
                  <a:gd name="connsiteY157" fmla="*/ 325202 h 2249252"/>
                  <a:gd name="connsiteX158" fmla="*/ 1500188 w 1602771"/>
                  <a:gd name="connsiteY158" fmla="*/ 291865 h 2249252"/>
                  <a:gd name="connsiteX159" fmla="*/ 1481138 w 1602771"/>
                  <a:gd name="connsiteY159" fmla="*/ 244240 h 2249252"/>
                  <a:gd name="connsiteX160" fmla="*/ 1471613 w 1602771"/>
                  <a:gd name="connsiteY160" fmla="*/ 201377 h 2249252"/>
                  <a:gd name="connsiteX161" fmla="*/ 1462088 w 1602771"/>
                  <a:gd name="connsiteY161" fmla="*/ 177565 h 2249252"/>
                  <a:gd name="connsiteX162" fmla="*/ 1447800 w 1602771"/>
                  <a:gd name="connsiteY162" fmla="*/ 125177 h 2249252"/>
                  <a:gd name="connsiteX163" fmla="*/ 1443038 w 1602771"/>
                  <a:gd name="connsiteY163" fmla="*/ 110890 h 2249252"/>
                  <a:gd name="connsiteX164" fmla="*/ 1419225 w 1602771"/>
                  <a:gd name="connsiteY164" fmla="*/ 68027 h 2249252"/>
                  <a:gd name="connsiteX165" fmla="*/ 1395413 w 1602771"/>
                  <a:gd name="connsiteY165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38288 w 1602771"/>
                  <a:gd name="connsiteY153" fmla="*/ 401402 h 2249252"/>
                  <a:gd name="connsiteX154" fmla="*/ 1533525 w 1602771"/>
                  <a:gd name="connsiteY154" fmla="*/ 377590 h 2249252"/>
                  <a:gd name="connsiteX155" fmla="*/ 1524000 w 1602771"/>
                  <a:gd name="connsiteY155" fmla="*/ 353777 h 2249252"/>
                  <a:gd name="connsiteX156" fmla="*/ 1514475 w 1602771"/>
                  <a:gd name="connsiteY156" fmla="*/ 325202 h 2249252"/>
                  <a:gd name="connsiteX157" fmla="*/ 1500188 w 1602771"/>
                  <a:gd name="connsiteY157" fmla="*/ 291865 h 2249252"/>
                  <a:gd name="connsiteX158" fmla="*/ 1481138 w 1602771"/>
                  <a:gd name="connsiteY158" fmla="*/ 244240 h 2249252"/>
                  <a:gd name="connsiteX159" fmla="*/ 1471613 w 1602771"/>
                  <a:gd name="connsiteY159" fmla="*/ 201377 h 2249252"/>
                  <a:gd name="connsiteX160" fmla="*/ 1462088 w 1602771"/>
                  <a:gd name="connsiteY160" fmla="*/ 177565 h 2249252"/>
                  <a:gd name="connsiteX161" fmla="*/ 1447800 w 1602771"/>
                  <a:gd name="connsiteY161" fmla="*/ 125177 h 2249252"/>
                  <a:gd name="connsiteX162" fmla="*/ 1443038 w 1602771"/>
                  <a:gd name="connsiteY162" fmla="*/ 110890 h 2249252"/>
                  <a:gd name="connsiteX163" fmla="*/ 1419225 w 1602771"/>
                  <a:gd name="connsiteY163" fmla="*/ 68027 h 2249252"/>
                  <a:gd name="connsiteX164" fmla="*/ 1395413 w 1602771"/>
                  <a:gd name="connsiteY164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33525 w 1602771"/>
                  <a:gd name="connsiteY153" fmla="*/ 377590 h 2249252"/>
                  <a:gd name="connsiteX154" fmla="*/ 1524000 w 1602771"/>
                  <a:gd name="connsiteY154" fmla="*/ 353777 h 2249252"/>
                  <a:gd name="connsiteX155" fmla="*/ 1514475 w 1602771"/>
                  <a:gd name="connsiteY155" fmla="*/ 325202 h 2249252"/>
                  <a:gd name="connsiteX156" fmla="*/ 1500188 w 1602771"/>
                  <a:gd name="connsiteY156" fmla="*/ 291865 h 2249252"/>
                  <a:gd name="connsiteX157" fmla="*/ 1481138 w 1602771"/>
                  <a:gd name="connsiteY157" fmla="*/ 244240 h 2249252"/>
                  <a:gd name="connsiteX158" fmla="*/ 1471613 w 1602771"/>
                  <a:gd name="connsiteY158" fmla="*/ 201377 h 2249252"/>
                  <a:gd name="connsiteX159" fmla="*/ 1462088 w 1602771"/>
                  <a:gd name="connsiteY159" fmla="*/ 177565 h 2249252"/>
                  <a:gd name="connsiteX160" fmla="*/ 1447800 w 1602771"/>
                  <a:gd name="connsiteY160" fmla="*/ 125177 h 2249252"/>
                  <a:gd name="connsiteX161" fmla="*/ 1443038 w 1602771"/>
                  <a:gd name="connsiteY161" fmla="*/ 110890 h 2249252"/>
                  <a:gd name="connsiteX162" fmla="*/ 1419225 w 1602771"/>
                  <a:gd name="connsiteY162" fmla="*/ 68027 h 2249252"/>
                  <a:gd name="connsiteX163" fmla="*/ 1395413 w 1602771"/>
                  <a:gd name="connsiteY163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24000 w 1602771"/>
                  <a:gd name="connsiteY153" fmla="*/ 353777 h 2249252"/>
                  <a:gd name="connsiteX154" fmla="*/ 1514475 w 1602771"/>
                  <a:gd name="connsiteY154" fmla="*/ 325202 h 2249252"/>
                  <a:gd name="connsiteX155" fmla="*/ 1500188 w 1602771"/>
                  <a:gd name="connsiteY155" fmla="*/ 291865 h 2249252"/>
                  <a:gd name="connsiteX156" fmla="*/ 1481138 w 1602771"/>
                  <a:gd name="connsiteY156" fmla="*/ 244240 h 2249252"/>
                  <a:gd name="connsiteX157" fmla="*/ 1471613 w 1602771"/>
                  <a:gd name="connsiteY157" fmla="*/ 201377 h 2249252"/>
                  <a:gd name="connsiteX158" fmla="*/ 1462088 w 1602771"/>
                  <a:gd name="connsiteY158" fmla="*/ 177565 h 2249252"/>
                  <a:gd name="connsiteX159" fmla="*/ 1447800 w 1602771"/>
                  <a:gd name="connsiteY159" fmla="*/ 125177 h 2249252"/>
                  <a:gd name="connsiteX160" fmla="*/ 1443038 w 1602771"/>
                  <a:gd name="connsiteY160" fmla="*/ 110890 h 2249252"/>
                  <a:gd name="connsiteX161" fmla="*/ 1419225 w 1602771"/>
                  <a:gd name="connsiteY161" fmla="*/ 68027 h 2249252"/>
                  <a:gd name="connsiteX162" fmla="*/ 1395413 w 1602771"/>
                  <a:gd name="connsiteY162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14475 w 1602771"/>
                  <a:gd name="connsiteY153" fmla="*/ 325202 h 2249252"/>
                  <a:gd name="connsiteX154" fmla="*/ 1500188 w 1602771"/>
                  <a:gd name="connsiteY154" fmla="*/ 291865 h 2249252"/>
                  <a:gd name="connsiteX155" fmla="*/ 1481138 w 1602771"/>
                  <a:gd name="connsiteY155" fmla="*/ 244240 h 2249252"/>
                  <a:gd name="connsiteX156" fmla="*/ 1471613 w 1602771"/>
                  <a:gd name="connsiteY156" fmla="*/ 201377 h 2249252"/>
                  <a:gd name="connsiteX157" fmla="*/ 1462088 w 1602771"/>
                  <a:gd name="connsiteY157" fmla="*/ 177565 h 2249252"/>
                  <a:gd name="connsiteX158" fmla="*/ 1447800 w 1602771"/>
                  <a:gd name="connsiteY158" fmla="*/ 125177 h 2249252"/>
                  <a:gd name="connsiteX159" fmla="*/ 1443038 w 1602771"/>
                  <a:gd name="connsiteY159" fmla="*/ 110890 h 2249252"/>
                  <a:gd name="connsiteX160" fmla="*/ 1419225 w 1602771"/>
                  <a:gd name="connsiteY160" fmla="*/ 68027 h 2249252"/>
                  <a:gd name="connsiteX161" fmla="*/ 1395413 w 1602771"/>
                  <a:gd name="connsiteY161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500188 w 1602771"/>
                  <a:gd name="connsiteY153" fmla="*/ 291865 h 2249252"/>
                  <a:gd name="connsiteX154" fmla="*/ 1481138 w 1602771"/>
                  <a:gd name="connsiteY154" fmla="*/ 244240 h 2249252"/>
                  <a:gd name="connsiteX155" fmla="*/ 1471613 w 1602771"/>
                  <a:gd name="connsiteY155" fmla="*/ 201377 h 2249252"/>
                  <a:gd name="connsiteX156" fmla="*/ 1462088 w 1602771"/>
                  <a:gd name="connsiteY156" fmla="*/ 177565 h 2249252"/>
                  <a:gd name="connsiteX157" fmla="*/ 1447800 w 1602771"/>
                  <a:gd name="connsiteY157" fmla="*/ 125177 h 2249252"/>
                  <a:gd name="connsiteX158" fmla="*/ 1443038 w 1602771"/>
                  <a:gd name="connsiteY158" fmla="*/ 110890 h 2249252"/>
                  <a:gd name="connsiteX159" fmla="*/ 1419225 w 1602771"/>
                  <a:gd name="connsiteY159" fmla="*/ 68027 h 2249252"/>
                  <a:gd name="connsiteX160" fmla="*/ 1395413 w 1602771"/>
                  <a:gd name="connsiteY160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81138 w 1602771"/>
                  <a:gd name="connsiteY153" fmla="*/ 244240 h 2249252"/>
                  <a:gd name="connsiteX154" fmla="*/ 1471613 w 1602771"/>
                  <a:gd name="connsiteY154" fmla="*/ 201377 h 2249252"/>
                  <a:gd name="connsiteX155" fmla="*/ 1462088 w 1602771"/>
                  <a:gd name="connsiteY155" fmla="*/ 177565 h 2249252"/>
                  <a:gd name="connsiteX156" fmla="*/ 1447800 w 1602771"/>
                  <a:gd name="connsiteY156" fmla="*/ 125177 h 2249252"/>
                  <a:gd name="connsiteX157" fmla="*/ 1443038 w 1602771"/>
                  <a:gd name="connsiteY157" fmla="*/ 110890 h 2249252"/>
                  <a:gd name="connsiteX158" fmla="*/ 1419225 w 1602771"/>
                  <a:gd name="connsiteY158" fmla="*/ 68027 h 2249252"/>
                  <a:gd name="connsiteX159" fmla="*/ 1395413 w 1602771"/>
                  <a:gd name="connsiteY159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71613 w 1602771"/>
                  <a:gd name="connsiteY153" fmla="*/ 201377 h 2249252"/>
                  <a:gd name="connsiteX154" fmla="*/ 1462088 w 1602771"/>
                  <a:gd name="connsiteY154" fmla="*/ 177565 h 2249252"/>
                  <a:gd name="connsiteX155" fmla="*/ 1447800 w 1602771"/>
                  <a:gd name="connsiteY155" fmla="*/ 125177 h 2249252"/>
                  <a:gd name="connsiteX156" fmla="*/ 1443038 w 1602771"/>
                  <a:gd name="connsiteY156" fmla="*/ 110890 h 2249252"/>
                  <a:gd name="connsiteX157" fmla="*/ 1419225 w 1602771"/>
                  <a:gd name="connsiteY157" fmla="*/ 68027 h 2249252"/>
                  <a:gd name="connsiteX158" fmla="*/ 1395413 w 1602771"/>
                  <a:gd name="connsiteY158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62088 w 1602771"/>
                  <a:gd name="connsiteY153" fmla="*/ 177565 h 2249252"/>
                  <a:gd name="connsiteX154" fmla="*/ 1447800 w 1602771"/>
                  <a:gd name="connsiteY154" fmla="*/ 125177 h 2249252"/>
                  <a:gd name="connsiteX155" fmla="*/ 1443038 w 1602771"/>
                  <a:gd name="connsiteY155" fmla="*/ 110890 h 2249252"/>
                  <a:gd name="connsiteX156" fmla="*/ 1419225 w 1602771"/>
                  <a:gd name="connsiteY156" fmla="*/ 68027 h 2249252"/>
                  <a:gd name="connsiteX157" fmla="*/ 1395413 w 1602771"/>
                  <a:gd name="connsiteY157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47800 w 1602771"/>
                  <a:gd name="connsiteY153" fmla="*/ 125177 h 2249252"/>
                  <a:gd name="connsiteX154" fmla="*/ 1443038 w 1602771"/>
                  <a:gd name="connsiteY154" fmla="*/ 110890 h 2249252"/>
                  <a:gd name="connsiteX155" fmla="*/ 1419225 w 1602771"/>
                  <a:gd name="connsiteY155" fmla="*/ 68027 h 2249252"/>
                  <a:gd name="connsiteX156" fmla="*/ 1395413 w 1602771"/>
                  <a:gd name="connsiteY156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43038 w 1602771"/>
                  <a:gd name="connsiteY153" fmla="*/ 110890 h 2249252"/>
                  <a:gd name="connsiteX154" fmla="*/ 1419225 w 1602771"/>
                  <a:gd name="connsiteY154" fmla="*/ 68027 h 2249252"/>
                  <a:gd name="connsiteX155" fmla="*/ 1395413 w 1602771"/>
                  <a:gd name="connsiteY155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419225 w 1602771"/>
                  <a:gd name="connsiteY153" fmla="*/ 68027 h 2249252"/>
                  <a:gd name="connsiteX154" fmla="*/ 1395413 w 1602771"/>
                  <a:gd name="connsiteY154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395413 w 1602771"/>
                  <a:gd name="connsiteY153" fmla="*/ 1352 h 2249252"/>
                  <a:gd name="connsiteX0" fmla="*/ 1395413 w 1602771"/>
                  <a:gd name="connsiteY0" fmla="*/ 1352 h 2249252"/>
                  <a:gd name="connsiteX1" fmla="*/ 1381125 w 1602771"/>
                  <a:gd name="connsiteY1" fmla="*/ 25165 h 2249252"/>
                  <a:gd name="connsiteX2" fmla="*/ 1371600 w 1602771"/>
                  <a:gd name="connsiteY2" fmla="*/ 39452 h 2249252"/>
                  <a:gd name="connsiteX3" fmla="*/ 1347788 w 1602771"/>
                  <a:gd name="connsiteY3" fmla="*/ 58502 h 2249252"/>
                  <a:gd name="connsiteX4" fmla="*/ 1333500 w 1602771"/>
                  <a:gd name="connsiteY4" fmla="*/ 68027 h 2249252"/>
                  <a:gd name="connsiteX5" fmla="*/ 1304925 w 1602771"/>
                  <a:gd name="connsiteY5" fmla="*/ 72790 h 2249252"/>
                  <a:gd name="connsiteX6" fmla="*/ 1281113 w 1602771"/>
                  <a:gd name="connsiteY6" fmla="*/ 82315 h 2249252"/>
                  <a:gd name="connsiteX7" fmla="*/ 1195388 w 1602771"/>
                  <a:gd name="connsiteY7" fmla="*/ 63265 h 2249252"/>
                  <a:gd name="connsiteX8" fmla="*/ 1076325 w 1602771"/>
                  <a:gd name="connsiteY8" fmla="*/ 68027 h 2249252"/>
                  <a:gd name="connsiteX9" fmla="*/ 1052513 w 1602771"/>
                  <a:gd name="connsiteY9" fmla="*/ 96602 h 2249252"/>
                  <a:gd name="connsiteX10" fmla="*/ 1038225 w 1602771"/>
                  <a:gd name="connsiteY10" fmla="*/ 120415 h 2249252"/>
                  <a:gd name="connsiteX11" fmla="*/ 1023938 w 1602771"/>
                  <a:gd name="connsiteY11" fmla="*/ 139465 h 2249252"/>
                  <a:gd name="connsiteX12" fmla="*/ 1019175 w 1602771"/>
                  <a:gd name="connsiteY12" fmla="*/ 153752 h 2249252"/>
                  <a:gd name="connsiteX13" fmla="*/ 981075 w 1602771"/>
                  <a:gd name="connsiteY13" fmla="*/ 148990 h 2249252"/>
                  <a:gd name="connsiteX14" fmla="*/ 966788 w 1602771"/>
                  <a:gd name="connsiteY14" fmla="*/ 144227 h 2249252"/>
                  <a:gd name="connsiteX15" fmla="*/ 919163 w 1602771"/>
                  <a:gd name="connsiteY15" fmla="*/ 172802 h 2249252"/>
                  <a:gd name="connsiteX16" fmla="*/ 900113 w 1602771"/>
                  <a:gd name="connsiteY16" fmla="*/ 187090 h 2249252"/>
                  <a:gd name="connsiteX17" fmla="*/ 881063 w 1602771"/>
                  <a:gd name="connsiteY17" fmla="*/ 215665 h 2249252"/>
                  <a:gd name="connsiteX18" fmla="*/ 876300 w 1602771"/>
                  <a:gd name="connsiteY18" fmla="*/ 229952 h 2249252"/>
                  <a:gd name="connsiteX19" fmla="*/ 857250 w 1602771"/>
                  <a:gd name="connsiteY19" fmla="*/ 249002 h 2249252"/>
                  <a:gd name="connsiteX20" fmla="*/ 809625 w 1602771"/>
                  <a:gd name="connsiteY20" fmla="*/ 296627 h 2249252"/>
                  <a:gd name="connsiteX21" fmla="*/ 795338 w 1602771"/>
                  <a:gd name="connsiteY21" fmla="*/ 310915 h 2249252"/>
                  <a:gd name="connsiteX22" fmla="*/ 752475 w 1602771"/>
                  <a:gd name="connsiteY22" fmla="*/ 334727 h 2249252"/>
                  <a:gd name="connsiteX23" fmla="*/ 685800 w 1602771"/>
                  <a:gd name="connsiteY23" fmla="*/ 372827 h 2249252"/>
                  <a:gd name="connsiteX24" fmla="*/ 628650 w 1602771"/>
                  <a:gd name="connsiteY24" fmla="*/ 391877 h 2249252"/>
                  <a:gd name="connsiteX25" fmla="*/ 619125 w 1602771"/>
                  <a:gd name="connsiteY25" fmla="*/ 410927 h 2249252"/>
                  <a:gd name="connsiteX26" fmla="*/ 623888 w 1602771"/>
                  <a:gd name="connsiteY26" fmla="*/ 434740 h 2249252"/>
                  <a:gd name="connsiteX27" fmla="*/ 647700 w 1602771"/>
                  <a:gd name="connsiteY27" fmla="*/ 468077 h 2249252"/>
                  <a:gd name="connsiteX28" fmla="*/ 661988 w 1602771"/>
                  <a:gd name="connsiteY28" fmla="*/ 477602 h 2249252"/>
                  <a:gd name="connsiteX29" fmla="*/ 695325 w 1602771"/>
                  <a:gd name="connsiteY29" fmla="*/ 472840 h 2249252"/>
                  <a:gd name="connsiteX30" fmla="*/ 742950 w 1602771"/>
                  <a:gd name="connsiteY30" fmla="*/ 468077 h 2249252"/>
                  <a:gd name="connsiteX31" fmla="*/ 762000 w 1602771"/>
                  <a:gd name="connsiteY31" fmla="*/ 453790 h 2249252"/>
                  <a:gd name="connsiteX32" fmla="*/ 766763 w 1602771"/>
                  <a:gd name="connsiteY32" fmla="*/ 439502 h 2249252"/>
                  <a:gd name="connsiteX33" fmla="*/ 781050 w 1602771"/>
                  <a:gd name="connsiteY33" fmla="*/ 434740 h 2249252"/>
                  <a:gd name="connsiteX34" fmla="*/ 847725 w 1602771"/>
                  <a:gd name="connsiteY34" fmla="*/ 477602 h 2249252"/>
                  <a:gd name="connsiteX35" fmla="*/ 862013 w 1602771"/>
                  <a:gd name="connsiteY35" fmla="*/ 487127 h 2249252"/>
                  <a:gd name="connsiteX36" fmla="*/ 933450 w 1602771"/>
                  <a:gd name="connsiteY36" fmla="*/ 496652 h 2249252"/>
                  <a:gd name="connsiteX37" fmla="*/ 966788 w 1602771"/>
                  <a:gd name="connsiteY37" fmla="*/ 491890 h 2249252"/>
                  <a:gd name="connsiteX38" fmla="*/ 981075 w 1602771"/>
                  <a:gd name="connsiteY38" fmla="*/ 482365 h 2249252"/>
                  <a:gd name="connsiteX39" fmla="*/ 1004888 w 1602771"/>
                  <a:gd name="connsiteY39" fmla="*/ 472840 h 2249252"/>
                  <a:gd name="connsiteX40" fmla="*/ 1081088 w 1602771"/>
                  <a:gd name="connsiteY40" fmla="*/ 487127 h 2249252"/>
                  <a:gd name="connsiteX41" fmla="*/ 1100138 w 1602771"/>
                  <a:gd name="connsiteY41" fmla="*/ 506177 h 2249252"/>
                  <a:gd name="connsiteX42" fmla="*/ 1119188 w 1602771"/>
                  <a:gd name="connsiteY42" fmla="*/ 529990 h 2249252"/>
                  <a:gd name="connsiteX43" fmla="*/ 1133475 w 1602771"/>
                  <a:gd name="connsiteY43" fmla="*/ 568090 h 2249252"/>
                  <a:gd name="connsiteX44" fmla="*/ 1147763 w 1602771"/>
                  <a:gd name="connsiteY44" fmla="*/ 596665 h 2249252"/>
                  <a:gd name="connsiteX45" fmla="*/ 1162050 w 1602771"/>
                  <a:gd name="connsiteY45" fmla="*/ 625240 h 2249252"/>
                  <a:gd name="connsiteX46" fmla="*/ 1166813 w 1602771"/>
                  <a:gd name="connsiteY46" fmla="*/ 649052 h 2249252"/>
                  <a:gd name="connsiteX47" fmla="*/ 1176338 w 1602771"/>
                  <a:gd name="connsiteY47" fmla="*/ 730015 h 2249252"/>
                  <a:gd name="connsiteX48" fmla="*/ 1100138 w 1602771"/>
                  <a:gd name="connsiteY48" fmla="*/ 734777 h 2249252"/>
                  <a:gd name="connsiteX49" fmla="*/ 1085850 w 1602771"/>
                  <a:gd name="connsiteY49" fmla="*/ 725252 h 2249252"/>
                  <a:gd name="connsiteX50" fmla="*/ 1052513 w 1602771"/>
                  <a:gd name="connsiteY50" fmla="*/ 687152 h 2249252"/>
                  <a:gd name="connsiteX51" fmla="*/ 966788 w 1602771"/>
                  <a:gd name="connsiteY51" fmla="*/ 691915 h 2249252"/>
                  <a:gd name="connsiteX52" fmla="*/ 866775 w 1602771"/>
                  <a:gd name="connsiteY52" fmla="*/ 677627 h 2249252"/>
                  <a:gd name="connsiteX53" fmla="*/ 766763 w 1602771"/>
                  <a:gd name="connsiteY53" fmla="*/ 682390 h 2249252"/>
                  <a:gd name="connsiteX54" fmla="*/ 704850 w 1602771"/>
                  <a:gd name="connsiteY54" fmla="*/ 691915 h 2249252"/>
                  <a:gd name="connsiteX55" fmla="*/ 661988 w 1602771"/>
                  <a:gd name="connsiteY55" fmla="*/ 696677 h 2249252"/>
                  <a:gd name="connsiteX56" fmla="*/ 619125 w 1602771"/>
                  <a:gd name="connsiteY56" fmla="*/ 677627 h 2249252"/>
                  <a:gd name="connsiteX57" fmla="*/ 585788 w 1602771"/>
                  <a:gd name="connsiteY57" fmla="*/ 649052 h 2249252"/>
                  <a:gd name="connsiteX58" fmla="*/ 481013 w 1602771"/>
                  <a:gd name="connsiteY58" fmla="*/ 672865 h 2249252"/>
                  <a:gd name="connsiteX59" fmla="*/ 442913 w 1602771"/>
                  <a:gd name="connsiteY59" fmla="*/ 701440 h 2249252"/>
                  <a:gd name="connsiteX60" fmla="*/ 428625 w 1602771"/>
                  <a:gd name="connsiteY60" fmla="*/ 710965 h 2249252"/>
                  <a:gd name="connsiteX61" fmla="*/ 395288 w 1602771"/>
                  <a:gd name="connsiteY61" fmla="*/ 734777 h 2249252"/>
                  <a:gd name="connsiteX62" fmla="*/ 357188 w 1602771"/>
                  <a:gd name="connsiteY62" fmla="*/ 777640 h 2249252"/>
                  <a:gd name="connsiteX63" fmla="*/ 328613 w 1602771"/>
                  <a:gd name="connsiteY63" fmla="*/ 801452 h 2249252"/>
                  <a:gd name="connsiteX64" fmla="*/ 309563 w 1602771"/>
                  <a:gd name="connsiteY64" fmla="*/ 820502 h 2249252"/>
                  <a:gd name="connsiteX65" fmla="*/ 290513 w 1602771"/>
                  <a:gd name="connsiteY65" fmla="*/ 830027 h 2249252"/>
                  <a:gd name="connsiteX66" fmla="*/ 247650 w 1602771"/>
                  <a:gd name="connsiteY66" fmla="*/ 863365 h 2249252"/>
                  <a:gd name="connsiteX67" fmla="*/ 223838 w 1602771"/>
                  <a:gd name="connsiteY67" fmla="*/ 882415 h 2249252"/>
                  <a:gd name="connsiteX68" fmla="*/ 200025 w 1602771"/>
                  <a:gd name="connsiteY68" fmla="*/ 910990 h 2249252"/>
                  <a:gd name="connsiteX69" fmla="*/ 166688 w 1602771"/>
                  <a:gd name="connsiteY69" fmla="*/ 958615 h 2249252"/>
                  <a:gd name="connsiteX70" fmla="*/ 133350 w 1602771"/>
                  <a:gd name="connsiteY70" fmla="*/ 991952 h 2249252"/>
                  <a:gd name="connsiteX71" fmla="*/ 114300 w 1602771"/>
                  <a:gd name="connsiteY71" fmla="*/ 1025290 h 2249252"/>
                  <a:gd name="connsiteX72" fmla="*/ 85725 w 1602771"/>
                  <a:gd name="connsiteY72" fmla="*/ 1063390 h 2249252"/>
                  <a:gd name="connsiteX73" fmla="*/ 66675 w 1602771"/>
                  <a:gd name="connsiteY73" fmla="*/ 1082440 h 2249252"/>
                  <a:gd name="connsiteX74" fmla="*/ 57150 w 1602771"/>
                  <a:gd name="connsiteY74" fmla="*/ 1101490 h 2249252"/>
                  <a:gd name="connsiteX75" fmla="*/ 33338 w 1602771"/>
                  <a:gd name="connsiteY75" fmla="*/ 1139590 h 2249252"/>
                  <a:gd name="connsiteX76" fmla="*/ 23813 w 1602771"/>
                  <a:gd name="connsiteY76" fmla="*/ 1163402 h 2249252"/>
                  <a:gd name="connsiteX77" fmla="*/ 14288 w 1602771"/>
                  <a:gd name="connsiteY77" fmla="*/ 1182452 h 2249252"/>
                  <a:gd name="connsiteX78" fmla="*/ 9525 w 1602771"/>
                  <a:gd name="connsiteY78" fmla="*/ 1215790 h 2249252"/>
                  <a:gd name="connsiteX79" fmla="*/ 0 w 1602771"/>
                  <a:gd name="connsiteY79" fmla="*/ 1258652 h 2249252"/>
                  <a:gd name="connsiteX80" fmla="*/ 4763 w 1602771"/>
                  <a:gd name="connsiteY80" fmla="*/ 1320565 h 2249252"/>
                  <a:gd name="connsiteX81" fmla="*/ 33338 w 1602771"/>
                  <a:gd name="connsiteY81" fmla="*/ 1363427 h 2249252"/>
                  <a:gd name="connsiteX82" fmla="*/ 100013 w 1602771"/>
                  <a:gd name="connsiteY82" fmla="*/ 1411052 h 2249252"/>
                  <a:gd name="connsiteX83" fmla="*/ 157163 w 1602771"/>
                  <a:gd name="connsiteY83" fmla="*/ 1425340 h 2249252"/>
                  <a:gd name="connsiteX84" fmla="*/ 338138 w 1602771"/>
                  <a:gd name="connsiteY84" fmla="*/ 1420577 h 2249252"/>
                  <a:gd name="connsiteX85" fmla="*/ 361950 w 1602771"/>
                  <a:gd name="connsiteY85" fmla="*/ 1415815 h 2249252"/>
                  <a:gd name="connsiteX86" fmla="*/ 476250 w 1602771"/>
                  <a:gd name="connsiteY86" fmla="*/ 1425340 h 2249252"/>
                  <a:gd name="connsiteX87" fmla="*/ 495300 w 1602771"/>
                  <a:gd name="connsiteY87" fmla="*/ 1434865 h 2249252"/>
                  <a:gd name="connsiteX88" fmla="*/ 519113 w 1602771"/>
                  <a:gd name="connsiteY88" fmla="*/ 1492015 h 2249252"/>
                  <a:gd name="connsiteX89" fmla="*/ 528638 w 1602771"/>
                  <a:gd name="connsiteY89" fmla="*/ 1506302 h 2249252"/>
                  <a:gd name="connsiteX90" fmla="*/ 523875 w 1602771"/>
                  <a:gd name="connsiteY90" fmla="*/ 1606315 h 2249252"/>
                  <a:gd name="connsiteX91" fmla="*/ 514350 w 1602771"/>
                  <a:gd name="connsiteY91" fmla="*/ 1620602 h 2249252"/>
                  <a:gd name="connsiteX92" fmla="*/ 504825 w 1602771"/>
                  <a:gd name="connsiteY92" fmla="*/ 1653940 h 2249252"/>
                  <a:gd name="connsiteX93" fmla="*/ 533400 w 1602771"/>
                  <a:gd name="connsiteY93" fmla="*/ 1715852 h 2249252"/>
                  <a:gd name="connsiteX94" fmla="*/ 547688 w 1602771"/>
                  <a:gd name="connsiteY94" fmla="*/ 1725377 h 2249252"/>
                  <a:gd name="connsiteX95" fmla="*/ 566738 w 1602771"/>
                  <a:gd name="connsiteY95" fmla="*/ 1763477 h 2249252"/>
                  <a:gd name="connsiteX96" fmla="*/ 581025 w 1602771"/>
                  <a:gd name="connsiteY96" fmla="*/ 1806340 h 2249252"/>
                  <a:gd name="connsiteX97" fmla="*/ 557213 w 1602771"/>
                  <a:gd name="connsiteY97" fmla="*/ 1853965 h 2249252"/>
                  <a:gd name="connsiteX98" fmla="*/ 533400 w 1602771"/>
                  <a:gd name="connsiteY98" fmla="*/ 1858727 h 2249252"/>
                  <a:gd name="connsiteX99" fmla="*/ 490538 w 1602771"/>
                  <a:gd name="connsiteY99" fmla="*/ 1877777 h 2249252"/>
                  <a:gd name="connsiteX100" fmla="*/ 452438 w 1602771"/>
                  <a:gd name="connsiteY100" fmla="*/ 1892065 h 2249252"/>
                  <a:gd name="connsiteX101" fmla="*/ 447675 w 1602771"/>
                  <a:gd name="connsiteY101" fmla="*/ 1925402 h 2249252"/>
                  <a:gd name="connsiteX102" fmla="*/ 438150 w 1602771"/>
                  <a:gd name="connsiteY102" fmla="*/ 1939690 h 2249252"/>
                  <a:gd name="connsiteX103" fmla="*/ 428625 w 1602771"/>
                  <a:gd name="connsiteY103" fmla="*/ 1958740 h 2249252"/>
                  <a:gd name="connsiteX104" fmla="*/ 414338 w 1602771"/>
                  <a:gd name="connsiteY104" fmla="*/ 1977790 h 2249252"/>
                  <a:gd name="connsiteX105" fmla="*/ 404813 w 1602771"/>
                  <a:gd name="connsiteY105" fmla="*/ 1992077 h 2249252"/>
                  <a:gd name="connsiteX106" fmla="*/ 385763 w 1602771"/>
                  <a:gd name="connsiteY106" fmla="*/ 2011127 h 2249252"/>
                  <a:gd name="connsiteX107" fmla="*/ 352425 w 1602771"/>
                  <a:gd name="connsiteY107" fmla="*/ 2053990 h 2249252"/>
                  <a:gd name="connsiteX108" fmla="*/ 314325 w 1602771"/>
                  <a:gd name="connsiteY108" fmla="*/ 2096852 h 2249252"/>
                  <a:gd name="connsiteX109" fmla="*/ 300038 w 1602771"/>
                  <a:gd name="connsiteY109" fmla="*/ 2115902 h 2249252"/>
                  <a:gd name="connsiteX110" fmla="*/ 276225 w 1602771"/>
                  <a:gd name="connsiteY110" fmla="*/ 2130190 h 2249252"/>
                  <a:gd name="connsiteX111" fmla="*/ 261938 w 1602771"/>
                  <a:gd name="connsiteY111" fmla="*/ 2144477 h 2249252"/>
                  <a:gd name="connsiteX112" fmla="*/ 252413 w 1602771"/>
                  <a:gd name="connsiteY112" fmla="*/ 2168290 h 2249252"/>
                  <a:gd name="connsiteX113" fmla="*/ 252413 w 1602771"/>
                  <a:gd name="connsiteY113" fmla="*/ 2234965 h 2249252"/>
                  <a:gd name="connsiteX114" fmla="*/ 280988 w 1602771"/>
                  <a:gd name="connsiteY114" fmla="*/ 2249252 h 2249252"/>
                  <a:gd name="connsiteX115" fmla="*/ 400050 w 1602771"/>
                  <a:gd name="connsiteY115" fmla="*/ 2244490 h 2249252"/>
                  <a:gd name="connsiteX116" fmla="*/ 423863 w 1602771"/>
                  <a:gd name="connsiteY116" fmla="*/ 2230202 h 2249252"/>
                  <a:gd name="connsiteX117" fmla="*/ 471488 w 1602771"/>
                  <a:gd name="connsiteY117" fmla="*/ 2187340 h 2249252"/>
                  <a:gd name="connsiteX118" fmla="*/ 509588 w 1602771"/>
                  <a:gd name="connsiteY118" fmla="*/ 2163527 h 2249252"/>
                  <a:gd name="connsiteX119" fmla="*/ 533400 w 1602771"/>
                  <a:gd name="connsiteY119" fmla="*/ 2144477 h 2249252"/>
                  <a:gd name="connsiteX120" fmla="*/ 581025 w 1602771"/>
                  <a:gd name="connsiteY120" fmla="*/ 2120665 h 2249252"/>
                  <a:gd name="connsiteX121" fmla="*/ 604838 w 1602771"/>
                  <a:gd name="connsiteY121" fmla="*/ 2106377 h 2249252"/>
                  <a:gd name="connsiteX122" fmla="*/ 642938 w 1602771"/>
                  <a:gd name="connsiteY122" fmla="*/ 2082565 h 2249252"/>
                  <a:gd name="connsiteX123" fmla="*/ 666750 w 1602771"/>
                  <a:gd name="connsiteY123" fmla="*/ 2073040 h 2249252"/>
                  <a:gd name="connsiteX124" fmla="*/ 685800 w 1602771"/>
                  <a:gd name="connsiteY124" fmla="*/ 2063515 h 2249252"/>
                  <a:gd name="connsiteX125" fmla="*/ 728663 w 1602771"/>
                  <a:gd name="connsiteY125" fmla="*/ 2049227 h 2249252"/>
                  <a:gd name="connsiteX126" fmla="*/ 747713 w 1602771"/>
                  <a:gd name="connsiteY126" fmla="*/ 2034940 h 2249252"/>
                  <a:gd name="connsiteX127" fmla="*/ 762000 w 1602771"/>
                  <a:gd name="connsiteY127" fmla="*/ 2025415 h 2249252"/>
                  <a:gd name="connsiteX128" fmla="*/ 776288 w 1602771"/>
                  <a:gd name="connsiteY128" fmla="*/ 2011127 h 2249252"/>
                  <a:gd name="connsiteX129" fmla="*/ 790575 w 1602771"/>
                  <a:gd name="connsiteY129" fmla="*/ 2006365 h 2249252"/>
                  <a:gd name="connsiteX130" fmla="*/ 833438 w 1602771"/>
                  <a:gd name="connsiteY130" fmla="*/ 1996840 h 2249252"/>
                  <a:gd name="connsiteX131" fmla="*/ 881063 w 1602771"/>
                  <a:gd name="connsiteY131" fmla="*/ 1973027 h 2249252"/>
                  <a:gd name="connsiteX132" fmla="*/ 904875 w 1602771"/>
                  <a:gd name="connsiteY132" fmla="*/ 1963502 h 2249252"/>
                  <a:gd name="connsiteX133" fmla="*/ 966788 w 1602771"/>
                  <a:gd name="connsiteY133" fmla="*/ 1911115 h 2249252"/>
                  <a:gd name="connsiteX134" fmla="*/ 981075 w 1602771"/>
                  <a:gd name="connsiteY134" fmla="*/ 1887302 h 2249252"/>
                  <a:gd name="connsiteX135" fmla="*/ 995363 w 1602771"/>
                  <a:gd name="connsiteY135" fmla="*/ 1873015 h 2249252"/>
                  <a:gd name="connsiteX136" fmla="*/ 1000125 w 1602771"/>
                  <a:gd name="connsiteY136" fmla="*/ 1858727 h 2249252"/>
                  <a:gd name="connsiteX137" fmla="*/ 1033463 w 1602771"/>
                  <a:gd name="connsiteY137" fmla="*/ 1834915 h 2249252"/>
                  <a:gd name="connsiteX138" fmla="*/ 1095375 w 1602771"/>
                  <a:gd name="connsiteY138" fmla="*/ 1801577 h 2249252"/>
                  <a:gd name="connsiteX139" fmla="*/ 1114425 w 1602771"/>
                  <a:gd name="connsiteY139" fmla="*/ 1792052 h 2249252"/>
                  <a:gd name="connsiteX140" fmla="*/ 1204913 w 1602771"/>
                  <a:gd name="connsiteY140" fmla="*/ 1790465 h 2249252"/>
                  <a:gd name="connsiteX141" fmla="*/ 1254125 w 1602771"/>
                  <a:gd name="connsiteY141" fmla="*/ 1731727 h 2249252"/>
                  <a:gd name="connsiteX142" fmla="*/ 1352550 w 1602771"/>
                  <a:gd name="connsiteY142" fmla="*/ 1596790 h 2249252"/>
                  <a:gd name="connsiteX143" fmla="*/ 1433513 w 1602771"/>
                  <a:gd name="connsiteY143" fmla="*/ 1434865 h 2249252"/>
                  <a:gd name="connsiteX144" fmla="*/ 1471613 w 1602771"/>
                  <a:gd name="connsiteY144" fmla="*/ 1334852 h 2249252"/>
                  <a:gd name="connsiteX145" fmla="*/ 1490663 w 1602771"/>
                  <a:gd name="connsiteY145" fmla="*/ 1282465 h 2249252"/>
                  <a:gd name="connsiteX146" fmla="*/ 1514475 w 1602771"/>
                  <a:gd name="connsiteY146" fmla="*/ 1211027 h 2249252"/>
                  <a:gd name="connsiteX147" fmla="*/ 1528763 w 1602771"/>
                  <a:gd name="connsiteY147" fmla="*/ 1149115 h 2249252"/>
                  <a:gd name="connsiteX148" fmla="*/ 1566863 w 1602771"/>
                  <a:gd name="connsiteY148" fmla="*/ 987190 h 2249252"/>
                  <a:gd name="connsiteX149" fmla="*/ 1590675 w 1602771"/>
                  <a:gd name="connsiteY149" fmla="*/ 868127 h 2249252"/>
                  <a:gd name="connsiteX150" fmla="*/ 1590675 w 1602771"/>
                  <a:gd name="connsiteY150" fmla="*/ 596665 h 2249252"/>
                  <a:gd name="connsiteX151" fmla="*/ 1581150 w 1602771"/>
                  <a:gd name="connsiteY151" fmla="*/ 525227 h 2249252"/>
                  <a:gd name="connsiteX152" fmla="*/ 1576388 w 1602771"/>
                  <a:gd name="connsiteY152" fmla="*/ 510940 h 2249252"/>
                  <a:gd name="connsiteX153" fmla="*/ 1395413 w 1602771"/>
                  <a:gd name="connsiteY153" fmla="*/ 1352 h 2249252"/>
                  <a:gd name="connsiteX0" fmla="*/ 1395413 w 1596224"/>
                  <a:gd name="connsiteY0" fmla="*/ 1352 h 2249252"/>
                  <a:gd name="connsiteX1" fmla="*/ 1381125 w 1596224"/>
                  <a:gd name="connsiteY1" fmla="*/ 25165 h 2249252"/>
                  <a:gd name="connsiteX2" fmla="*/ 1371600 w 1596224"/>
                  <a:gd name="connsiteY2" fmla="*/ 39452 h 2249252"/>
                  <a:gd name="connsiteX3" fmla="*/ 1347788 w 1596224"/>
                  <a:gd name="connsiteY3" fmla="*/ 58502 h 2249252"/>
                  <a:gd name="connsiteX4" fmla="*/ 1333500 w 1596224"/>
                  <a:gd name="connsiteY4" fmla="*/ 68027 h 2249252"/>
                  <a:gd name="connsiteX5" fmla="*/ 1304925 w 1596224"/>
                  <a:gd name="connsiteY5" fmla="*/ 72790 h 2249252"/>
                  <a:gd name="connsiteX6" fmla="*/ 1281113 w 1596224"/>
                  <a:gd name="connsiteY6" fmla="*/ 82315 h 2249252"/>
                  <a:gd name="connsiteX7" fmla="*/ 1195388 w 1596224"/>
                  <a:gd name="connsiteY7" fmla="*/ 63265 h 2249252"/>
                  <a:gd name="connsiteX8" fmla="*/ 1076325 w 1596224"/>
                  <a:gd name="connsiteY8" fmla="*/ 68027 h 2249252"/>
                  <a:gd name="connsiteX9" fmla="*/ 1052513 w 1596224"/>
                  <a:gd name="connsiteY9" fmla="*/ 96602 h 2249252"/>
                  <a:gd name="connsiteX10" fmla="*/ 1038225 w 1596224"/>
                  <a:gd name="connsiteY10" fmla="*/ 120415 h 2249252"/>
                  <a:gd name="connsiteX11" fmla="*/ 1023938 w 1596224"/>
                  <a:gd name="connsiteY11" fmla="*/ 139465 h 2249252"/>
                  <a:gd name="connsiteX12" fmla="*/ 1019175 w 1596224"/>
                  <a:gd name="connsiteY12" fmla="*/ 153752 h 2249252"/>
                  <a:gd name="connsiteX13" fmla="*/ 981075 w 1596224"/>
                  <a:gd name="connsiteY13" fmla="*/ 148990 h 2249252"/>
                  <a:gd name="connsiteX14" fmla="*/ 966788 w 1596224"/>
                  <a:gd name="connsiteY14" fmla="*/ 144227 h 2249252"/>
                  <a:gd name="connsiteX15" fmla="*/ 919163 w 1596224"/>
                  <a:gd name="connsiteY15" fmla="*/ 172802 h 2249252"/>
                  <a:gd name="connsiteX16" fmla="*/ 900113 w 1596224"/>
                  <a:gd name="connsiteY16" fmla="*/ 187090 h 2249252"/>
                  <a:gd name="connsiteX17" fmla="*/ 881063 w 1596224"/>
                  <a:gd name="connsiteY17" fmla="*/ 215665 h 2249252"/>
                  <a:gd name="connsiteX18" fmla="*/ 876300 w 1596224"/>
                  <a:gd name="connsiteY18" fmla="*/ 229952 h 2249252"/>
                  <a:gd name="connsiteX19" fmla="*/ 857250 w 1596224"/>
                  <a:gd name="connsiteY19" fmla="*/ 249002 h 2249252"/>
                  <a:gd name="connsiteX20" fmla="*/ 809625 w 1596224"/>
                  <a:gd name="connsiteY20" fmla="*/ 296627 h 2249252"/>
                  <a:gd name="connsiteX21" fmla="*/ 795338 w 1596224"/>
                  <a:gd name="connsiteY21" fmla="*/ 310915 h 2249252"/>
                  <a:gd name="connsiteX22" fmla="*/ 752475 w 1596224"/>
                  <a:gd name="connsiteY22" fmla="*/ 334727 h 2249252"/>
                  <a:gd name="connsiteX23" fmla="*/ 685800 w 1596224"/>
                  <a:gd name="connsiteY23" fmla="*/ 372827 h 2249252"/>
                  <a:gd name="connsiteX24" fmla="*/ 628650 w 1596224"/>
                  <a:gd name="connsiteY24" fmla="*/ 391877 h 2249252"/>
                  <a:gd name="connsiteX25" fmla="*/ 619125 w 1596224"/>
                  <a:gd name="connsiteY25" fmla="*/ 410927 h 2249252"/>
                  <a:gd name="connsiteX26" fmla="*/ 623888 w 1596224"/>
                  <a:gd name="connsiteY26" fmla="*/ 434740 h 2249252"/>
                  <a:gd name="connsiteX27" fmla="*/ 647700 w 1596224"/>
                  <a:gd name="connsiteY27" fmla="*/ 468077 h 2249252"/>
                  <a:gd name="connsiteX28" fmla="*/ 661988 w 1596224"/>
                  <a:gd name="connsiteY28" fmla="*/ 477602 h 2249252"/>
                  <a:gd name="connsiteX29" fmla="*/ 695325 w 1596224"/>
                  <a:gd name="connsiteY29" fmla="*/ 472840 h 2249252"/>
                  <a:gd name="connsiteX30" fmla="*/ 742950 w 1596224"/>
                  <a:gd name="connsiteY30" fmla="*/ 468077 h 2249252"/>
                  <a:gd name="connsiteX31" fmla="*/ 762000 w 1596224"/>
                  <a:gd name="connsiteY31" fmla="*/ 453790 h 2249252"/>
                  <a:gd name="connsiteX32" fmla="*/ 766763 w 1596224"/>
                  <a:gd name="connsiteY32" fmla="*/ 439502 h 2249252"/>
                  <a:gd name="connsiteX33" fmla="*/ 781050 w 1596224"/>
                  <a:gd name="connsiteY33" fmla="*/ 434740 h 2249252"/>
                  <a:gd name="connsiteX34" fmla="*/ 847725 w 1596224"/>
                  <a:gd name="connsiteY34" fmla="*/ 477602 h 2249252"/>
                  <a:gd name="connsiteX35" fmla="*/ 862013 w 1596224"/>
                  <a:gd name="connsiteY35" fmla="*/ 487127 h 2249252"/>
                  <a:gd name="connsiteX36" fmla="*/ 933450 w 1596224"/>
                  <a:gd name="connsiteY36" fmla="*/ 496652 h 2249252"/>
                  <a:gd name="connsiteX37" fmla="*/ 966788 w 1596224"/>
                  <a:gd name="connsiteY37" fmla="*/ 491890 h 2249252"/>
                  <a:gd name="connsiteX38" fmla="*/ 981075 w 1596224"/>
                  <a:gd name="connsiteY38" fmla="*/ 482365 h 2249252"/>
                  <a:gd name="connsiteX39" fmla="*/ 1004888 w 1596224"/>
                  <a:gd name="connsiteY39" fmla="*/ 472840 h 2249252"/>
                  <a:gd name="connsiteX40" fmla="*/ 1081088 w 1596224"/>
                  <a:gd name="connsiteY40" fmla="*/ 487127 h 2249252"/>
                  <a:gd name="connsiteX41" fmla="*/ 1100138 w 1596224"/>
                  <a:gd name="connsiteY41" fmla="*/ 506177 h 2249252"/>
                  <a:gd name="connsiteX42" fmla="*/ 1119188 w 1596224"/>
                  <a:gd name="connsiteY42" fmla="*/ 529990 h 2249252"/>
                  <a:gd name="connsiteX43" fmla="*/ 1133475 w 1596224"/>
                  <a:gd name="connsiteY43" fmla="*/ 568090 h 2249252"/>
                  <a:gd name="connsiteX44" fmla="*/ 1147763 w 1596224"/>
                  <a:gd name="connsiteY44" fmla="*/ 596665 h 2249252"/>
                  <a:gd name="connsiteX45" fmla="*/ 1162050 w 1596224"/>
                  <a:gd name="connsiteY45" fmla="*/ 625240 h 2249252"/>
                  <a:gd name="connsiteX46" fmla="*/ 1166813 w 1596224"/>
                  <a:gd name="connsiteY46" fmla="*/ 649052 h 2249252"/>
                  <a:gd name="connsiteX47" fmla="*/ 1176338 w 1596224"/>
                  <a:gd name="connsiteY47" fmla="*/ 730015 h 2249252"/>
                  <a:gd name="connsiteX48" fmla="*/ 1100138 w 1596224"/>
                  <a:gd name="connsiteY48" fmla="*/ 734777 h 2249252"/>
                  <a:gd name="connsiteX49" fmla="*/ 1085850 w 1596224"/>
                  <a:gd name="connsiteY49" fmla="*/ 725252 h 2249252"/>
                  <a:gd name="connsiteX50" fmla="*/ 1052513 w 1596224"/>
                  <a:gd name="connsiteY50" fmla="*/ 687152 h 2249252"/>
                  <a:gd name="connsiteX51" fmla="*/ 966788 w 1596224"/>
                  <a:gd name="connsiteY51" fmla="*/ 691915 h 2249252"/>
                  <a:gd name="connsiteX52" fmla="*/ 866775 w 1596224"/>
                  <a:gd name="connsiteY52" fmla="*/ 677627 h 2249252"/>
                  <a:gd name="connsiteX53" fmla="*/ 766763 w 1596224"/>
                  <a:gd name="connsiteY53" fmla="*/ 682390 h 2249252"/>
                  <a:gd name="connsiteX54" fmla="*/ 704850 w 1596224"/>
                  <a:gd name="connsiteY54" fmla="*/ 691915 h 2249252"/>
                  <a:gd name="connsiteX55" fmla="*/ 661988 w 1596224"/>
                  <a:gd name="connsiteY55" fmla="*/ 696677 h 2249252"/>
                  <a:gd name="connsiteX56" fmla="*/ 619125 w 1596224"/>
                  <a:gd name="connsiteY56" fmla="*/ 677627 h 2249252"/>
                  <a:gd name="connsiteX57" fmla="*/ 585788 w 1596224"/>
                  <a:gd name="connsiteY57" fmla="*/ 649052 h 2249252"/>
                  <a:gd name="connsiteX58" fmla="*/ 481013 w 1596224"/>
                  <a:gd name="connsiteY58" fmla="*/ 672865 h 2249252"/>
                  <a:gd name="connsiteX59" fmla="*/ 442913 w 1596224"/>
                  <a:gd name="connsiteY59" fmla="*/ 701440 h 2249252"/>
                  <a:gd name="connsiteX60" fmla="*/ 428625 w 1596224"/>
                  <a:gd name="connsiteY60" fmla="*/ 710965 h 2249252"/>
                  <a:gd name="connsiteX61" fmla="*/ 395288 w 1596224"/>
                  <a:gd name="connsiteY61" fmla="*/ 734777 h 2249252"/>
                  <a:gd name="connsiteX62" fmla="*/ 357188 w 1596224"/>
                  <a:gd name="connsiteY62" fmla="*/ 777640 h 2249252"/>
                  <a:gd name="connsiteX63" fmla="*/ 328613 w 1596224"/>
                  <a:gd name="connsiteY63" fmla="*/ 801452 h 2249252"/>
                  <a:gd name="connsiteX64" fmla="*/ 309563 w 1596224"/>
                  <a:gd name="connsiteY64" fmla="*/ 820502 h 2249252"/>
                  <a:gd name="connsiteX65" fmla="*/ 290513 w 1596224"/>
                  <a:gd name="connsiteY65" fmla="*/ 830027 h 2249252"/>
                  <a:gd name="connsiteX66" fmla="*/ 247650 w 1596224"/>
                  <a:gd name="connsiteY66" fmla="*/ 863365 h 2249252"/>
                  <a:gd name="connsiteX67" fmla="*/ 223838 w 1596224"/>
                  <a:gd name="connsiteY67" fmla="*/ 882415 h 2249252"/>
                  <a:gd name="connsiteX68" fmla="*/ 200025 w 1596224"/>
                  <a:gd name="connsiteY68" fmla="*/ 910990 h 2249252"/>
                  <a:gd name="connsiteX69" fmla="*/ 166688 w 1596224"/>
                  <a:gd name="connsiteY69" fmla="*/ 958615 h 2249252"/>
                  <a:gd name="connsiteX70" fmla="*/ 133350 w 1596224"/>
                  <a:gd name="connsiteY70" fmla="*/ 991952 h 2249252"/>
                  <a:gd name="connsiteX71" fmla="*/ 114300 w 1596224"/>
                  <a:gd name="connsiteY71" fmla="*/ 1025290 h 2249252"/>
                  <a:gd name="connsiteX72" fmla="*/ 85725 w 1596224"/>
                  <a:gd name="connsiteY72" fmla="*/ 1063390 h 2249252"/>
                  <a:gd name="connsiteX73" fmla="*/ 66675 w 1596224"/>
                  <a:gd name="connsiteY73" fmla="*/ 1082440 h 2249252"/>
                  <a:gd name="connsiteX74" fmla="*/ 57150 w 1596224"/>
                  <a:gd name="connsiteY74" fmla="*/ 1101490 h 2249252"/>
                  <a:gd name="connsiteX75" fmla="*/ 33338 w 1596224"/>
                  <a:gd name="connsiteY75" fmla="*/ 1139590 h 2249252"/>
                  <a:gd name="connsiteX76" fmla="*/ 23813 w 1596224"/>
                  <a:gd name="connsiteY76" fmla="*/ 1163402 h 2249252"/>
                  <a:gd name="connsiteX77" fmla="*/ 14288 w 1596224"/>
                  <a:gd name="connsiteY77" fmla="*/ 1182452 h 2249252"/>
                  <a:gd name="connsiteX78" fmla="*/ 9525 w 1596224"/>
                  <a:gd name="connsiteY78" fmla="*/ 1215790 h 2249252"/>
                  <a:gd name="connsiteX79" fmla="*/ 0 w 1596224"/>
                  <a:gd name="connsiteY79" fmla="*/ 1258652 h 2249252"/>
                  <a:gd name="connsiteX80" fmla="*/ 4763 w 1596224"/>
                  <a:gd name="connsiteY80" fmla="*/ 1320565 h 2249252"/>
                  <a:gd name="connsiteX81" fmla="*/ 33338 w 1596224"/>
                  <a:gd name="connsiteY81" fmla="*/ 1363427 h 2249252"/>
                  <a:gd name="connsiteX82" fmla="*/ 100013 w 1596224"/>
                  <a:gd name="connsiteY82" fmla="*/ 1411052 h 2249252"/>
                  <a:gd name="connsiteX83" fmla="*/ 157163 w 1596224"/>
                  <a:gd name="connsiteY83" fmla="*/ 1425340 h 2249252"/>
                  <a:gd name="connsiteX84" fmla="*/ 338138 w 1596224"/>
                  <a:gd name="connsiteY84" fmla="*/ 1420577 h 2249252"/>
                  <a:gd name="connsiteX85" fmla="*/ 361950 w 1596224"/>
                  <a:gd name="connsiteY85" fmla="*/ 1415815 h 2249252"/>
                  <a:gd name="connsiteX86" fmla="*/ 476250 w 1596224"/>
                  <a:gd name="connsiteY86" fmla="*/ 1425340 h 2249252"/>
                  <a:gd name="connsiteX87" fmla="*/ 495300 w 1596224"/>
                  <a:gd name="connsiteY87" fmla="*/ 1434865 h 2249252"/>
                  <a:gd name="connsiteX88" fmla="*/ 519113 w 1596224"/>
                  <a:gd name="connsiteY88" fmla="*/ 1492015 h 2249252"/>
                  <a:gd name="connsiteX89" fmla="*/ 528638 w 1596224"/>
                  <a:gd name="connsiteY89" fmla="*/ 1506302 h 2249252"/>
                  <a:gd name="connsiteX90" fmla="*/ 523875 w 1596224"/>
                  <a:gd name="connsiteY90" fmla="*/ 1606315 h 2249252"/>
                  <a:gd name="connsiteX91" fmla="*/ 514350 w 1596224"/>
                  <a:gd name="connsiteY91" fmla="*/ 1620602 h 2249252"/>
                  <a:gd name="connsiteX92" fmla="*/ 504825 w 1596224"/>
                  <a:gd name="connsiteY92" fmla="*/ 1653940 h 2249252"/>
                  <a:gd name="connsiteX93" fmla="*/ 533400 w 1596224"/>
                  <a:gd name="connsiteY93" fmla="*/ 1715852 h 2249252"/>
                  <a:gd name="connsiteX94" fmla="*/ 547688 w 1596224"/>
                  <a:gd name="connsiteY94" fmla="*/ 1725377 h 2249252"/>
                  <a:gd name="connsiteX95" fmla="*/ 566738 w 1596224"/>
                  <a:gd name="connsiteY95" fmla="*/ 1763477 h 2249252"/>
                  <a:gd name="connsiteX96" fmla="*/ 581025 w 1596224"/>
                  <a:gd name="connsiteY96" fmla="*/ 1806340 h 2249252"/>
                  <a:gd name="connsiteX97" fmla="*/ 557213 w 1596224"/>
                  <a:gd name="connsiteY97" fmla="*/ 1853965 h 2249252"/>
                  <a:gd name="connsiteX98" fmla="*/ 533400 w 1596224"/>
                  <a:gd name="connsiteY98" fmla="*/ 1858727 h 2249252"/>
                  <a:gd name="connsiteX99" fmla="*/ 490538 w 1596224"/>
                  <a:gd name="connsiteY99" fmla="*/ 1877777 h 2249252"/>
                  <a:gd name="connsiteX100" fmla="*/ 452438 w 1596224"/>
                  <a:gd name="connsiteY100" fmla="*/ 1892065 h 2249252"/>
                  <a:gd name="connsiteX101" fmla="*/ 447675 w 1596224"/>
                  <a:gd name="connsiteY101" fmla="*/ 1925402 h 2249252"/>
                  <a:gd name="connsiteX102" fmla="*/ 438150 w 1596224"/>
                  <a:gd name="connsiteY102" fmla="*/ 1939690 h 2249252"/>
                  <a:gd name="connsiteX103" fmla="*/ 428625 w 1596224"/>
                  <a:gd name="connsiteY103" fmla="*/ 1958740 h 2249252"/>
                  <a:gd name="connsiteX104" fmla="*/ 414338 w 1596224"/>
                  <a:gd name="connsiteY104" fmla="*/ 1977790 h 2249252"/>
                  <a:gd name="connsiteX105" fmla="*/ 404813 w 1596224"/>
                  <a:gd name="connsiteY105" fmla="*/ 1992077 h 2249252"/>
                  <a:gd name="connsiteX106" fmla="*/ 385763 w 1596224"/>
                  <a:gd name="connsiteY106" fmla="*/ 2011127 h 2249252"/>
                  <a:gd name="connsiteX107" fmla="*/ 352425 w 1596224"/>
                  <a:gd name="connsiteY107" fmla="*/ 2053990 h 2249252"/>
                  <a:gd name="connsiteX108" fmla="*/ 314325 w 1596224"/>
                  <a:gd name="connsiteY108" fmla="*/ 2096852 h 2249252"/>
                  <a:gd name="connsiteX109" fmla="*/ 300038 w 1596224"/>
                  <a:gd name="connsiteY109" fmla="*/ 2115902 h 2249252"/>
                  <a:gd name="connsiteX110" fmla="*/ 276225 w 1596224"/>
                  <a:gd name="connsiteY110" fmla="*/ 2130190 h 2249252"/>
                  <a:gd name="connsiteX111" fmla="*/ 261938 w 1596224"/>
                  <a:gd name="connsiteY111" fmla="*/ 2144477 h 2249252"/>
                  <a:gd name="connsiteX112" fmla="*/ 252413 w 1596224"/>
                  <a:gd name="connsiteY112" fmla="*/ 2168290 h 2249252"/>
                  <a:gd name="connsiteX113" fmla="*/ 252413 w 1596224"/>
                  <a:gd name="connsiteY113" fmla="*/ 2234965 h 2249252"/>
                  <a:gd name="connsiteX114" fmla="*/ 280988 w 1596224"/>
                  <a:gd name="connsiteY114" fmla="*/ 2249252 h 2249252"/>
                  <a:gd name="connsiteX115" fmla="*/ 400050 w 1596224"/>
                  <a:gd name="connsiteY115" fmla="*/ 2244490 h 2249252"/>
                  <a:gd name="connsiteX116" fmla="*/ 423863 w 1596224"/>
                  <a:gd name="connsiteY116" fmla="*/ 2230202 h 2249252"/>
                  <a:gd name="connsiteX117" fmla="*/ 471488 w 1596224"/>
                  <a:gd name="connsiteY117" fmla="*/ 2187340 h 2249252"/>
                  <a:gd name="connsiteX118" fmla="*/ 509588 w 1596224"/>
                  <a:gd name="connsiteY118" fmla="*/ 2163527 h 2249252"/>
                  <a:gd name="connsiteX119" fmla="*/ 533400 w 1596224"/>
                  <a:gd name="connsiteY119" fmla="*/ 2144477 h 2249252"/>
                  <a:gd name="connsiteX120" fmla="*/ 581025 w 1596224"/>
                  <a:gd name="connsiteY120" fmla="*/ 2120665 h 2249252"/>
                  <a:gd name="connsiteX121" fmla="*/ 604838 w 1596224"/>
                  <a:gd name="connsiteY121" fmla="*/ 2106377 h 2249252"/>
                  <a:gd name="connsiteX122" fmla="*/ 642938 w 1596224"/>
                  <a:gd name="connsiteY122" fmla="*/ 2082565 h 2249252"/>
                  <a:gd name="connsiteX123" fmla="*/ 666750 w 1596224"/>
                  <a:gd name="connsiteY123" fmla="*/ 2073040 h 2249252"/>
                  <a:gd name="connsiteX124" fmla="*/ 685800 w 1596224"/>
                  <a:gd name="connsiteY124" fmla="*/ 2063515 h 2249252"/>
                  <a:gd name="connsiteX125" fmla="*/ 728663 w 1596224"/>
                  <a:gd name="connsiteY125" fmla="*/ 2049227 h 2249252"/>
                  <a:gd name="connsiteX126" fmla="*/ 747713 w 1596224"/>
                  <a:gd name="connsiteY126" fmla="*/ 2034940 h 2249252"/>
                  <a:gd name="connsiteX127" fmla="*/ 762000 w 1596224"/>
                  <a:gd name="connsiteY127" fmla="*/ 2025415 h 2249252"/>
                  <a:gd name="connsiteX128" fmla="*/ 776288 w 1596224"/>
                  <a:gd name="connsiteY128" fmla="*/ 2011127 h 2249252"/>
                  <a:gd name="connsiteX129" fmla="*/ 790575 w 1596224"/>
                  <a:gd name="connsiteY129" fmla="*/ 2006365 h 2249252"/>
                  <a:gd name="connsiteX130" fmla="*/ 833438 w 1596224"/>
                  <a:gd name="connsiteY130" fmla="*/ 1996840 h 2249252"/>
                  <a:gd name="connsiteX131" fmla="*/ 881063 w 1596224"/>
                  <a:gd name="connsiteY131" fmla="*/ 1973027 h 2249252"/>
                  <a:gd name="connsiteX132" fmla="*/ 904875 w 1596224"/>
                  <a:gd name="connsiteY132" fmla="*/ 1963502 h 2249252"/>
                  <a:gd name="connsiteX133" fmla="*/ 966788 w 1596224"/>
                  <a:gd name="connsiteY133" fmla="*/ 1911115 h 2249252"/>
                  <a:gd name="connsiteX134" fmla="*/ 981075 w 1596224"/>
                  <a:gd name="connsiteY134" fmla="*/ 1887302 h 2249252"/>
                  <a:gd name="connsiteX135" fmla="*/ 995363 w 1596224"/>
                  <a:gd name="connsiteY135" fmla="*/ 1873015 h 2249252"/>
                  <a:gd name="connsiteX136" fmla="*/ 1000125 w 1596224"/>
                  <a:gd name="connsiteY136" fmla="*/ 1858727 h 2249252"/>
                  <a:gd name="connsiteX137" fmla="*/ 1033463 w 1596224"/>
                  <a:gd name="connsiteY137" fmla="*/ 1834915 h 2249252"/>
                  <a:gd name="connsiteX138" fmla="*/ 1095375 w 1596224"/>
                  <a:gd name="connsiteY138" fmla="*/ 1801577 h 2249252"/>
                  <a:gd name="connsiteX139" fmla="*/ 1114425 w 1596224"/>
                  <a:gd name="connsiteY139" fmla="*/ 1792052 h 2249252"/>
                  <a:gd name="connsiteX140" fmla="*/ 1204913 w 1596224"/>
                  <a:gd name="connsiteY140" fmla="*/ 1790465 h 2249252"/>
                  <a:gd name="connsiteX141" fmla="*/ 1254125 w 1596224"/>
                  <a:gd name="connsiteY141" fmla="*/ 1731727 h 2249252"/>
                  <a:gd name="connsiteX142" fmla="*/ 1352550 w 1596224"/>
                  <a:gd name="connsiteY142" fmla="*/ 1596790 h 2249252"/>
                  <a:gd name="connsiteX143" fmla="*/ 1433513 w 1596224"/>
                  <a:gd name="connsiteY143" fmla="*/ 1434865 h 2249252"/>
                  <a:gd name="connsiteX144" fmla="*/ 1471613 w 1596224"/>
                  <a:gd name="connsiteY144" fmla="*/ 1334852 h 2249252"/>
                  <a:gd name="connsiteX145" fmla="*/ 1490663 w 1596224"/>
                  <a:gd name="connsiteY145" fmla="*/ 1282465 h 2249252"/>
                  <a:gd name="connsiteX146" fmla="*/ 1514475 w 1596224"/>
                  <a:gd name="connsiteY146" fmla="*/ 1211027 h 2249252"/>
                  <a:gd name="connsiteX147" fmla="*/ 1528763 w 1596224"/>
                  <a:gd name="connsiteY147" fmla="*/ 1149115 h 2249252"/>
                  <a:gd name="connsiteX148" fmla="*/ 1566863 w 1596224"/>
                  <a:gd name="connsiteY148" fmla="*/ 987190 h 2249252"/>
                  <a:gd name="connsiteX149" fmla="*/ 1590675 w 1596224"/>
                  <a:gd name="connsiteY149" fmla="*/ 868127 h 2249252"/>
                  <a:gd name="connsiteX150" fmla="*/ 1590675 w 1596224"/>
                  <a:gd name="connsiteY150" fmla="*/ 596665 h 2249252"/>
                  <a:gd name="connsiteX151" fmla="*/ 1581150 w 1596224"/>
                  <a:gd name="connsiteY151" fmla="*/ 525227 h 2249252"/>
                  <a:gd name="connsiteX152" fmla="*/ 1576388 w 1596224"/>
                  <a:gd name="connsiteY152" fmla="*/ 510940 h 2249252"/>
                  <a:gd name="connsiteX153" fmla="*/ 1395413 w 1596224"/>
                  <a:gd name="connsiteY153" fmla="*/ 1352 h 2249252"/>
                  <a:gd name="connsiteX0" fmla="*/ 1408113 w 1596224"/>
                  <a:gd name="connsiteY0" fmla="*/ 1289 h 2249189"/>
                  <a:gd name="connsiteX1" fmla="*/ 1381125 w 1596224"/>
                  <a:gd name="connsiteY1" fmla="*/ 25102 h 2249189"/>
                  <a:gd name="connsiteX2" fmla="*/ 1371600 w 1596224"/>
                  <a:gd name="connsiteY2" fmla="*/ 39389 h 2249189"/>
                  <a:gd name="connsiteX3" fmla="*/ 1347788 w 1596224"/>
                  <a:gd name="connsiteY3" fmla="*/ 58439 h 2249189"/>
                  <a:gd name="connsiteX4" fmla="*/ 1333500 w 1596224"/>
                  <a:gd name="connsiteY4" fmla="*/ 67964 h 2249189"/>
                  <a:gd name="connsiteX5" fmla="*/ 1304925 w 1596224"/>
                  <a:gd name="connsiteY5" fmla="*/ 72727 h 2249189"/>
                  <a:gd name="connsiteX6" fmla="*/ 1281113 w 1596224"/>
                  <a:gd name="connsiteY6" fmla="*/ 82252 h 2249189"/>
                  <a:gd name="connsiteX7" fmla="*/ 1195388 w 1596224"/>
                  <a:gd name="connsiteY7" fmla="*/ 63202 h 2249189"/>
                  <a:gd name="connsiteX8" fmla="*/ 1076325 w 1596224"/>
                  <a:gd name="connsiteY8" fmla="*/ 67964 h 2249189"/>
                  <a:gd name="connsiteX9" fmla="*/ 1052513 w 1596224"/>
                  <a:gd name="connsiteY9" fmla="*/ 96539 h 2249189"/>
                  <a:gd name="connsiteX10" fmla="*/ 1038225 w 1596224"/>
                  <a:gd name="connsiteY10" fmla="*/ 120352 h 2249189"/>
                  <a:gd name="connsiteX11" fmla="*/ 1023938 w 1596224"/>
                  <a:gd name="connsiteY11" fmla="*/ 139402 h 2249189"/>
                  <a:gd name="connsiteX12" fmla="*/ 1019175 w 1596224"/>
                  <a:gd name="connsiteY12" fmla="*/ 153689 h 2249189"/>
                  <a:gd name="connsiteX13" fmla="*/ 981075 w 1596224"/>
                  <a:gd name="connsiteY13" fmla="*/ 148927 h 2249189"/>
                  <a:gd name="connsiteX14" fmla="*/ 966788 w 1596224"/>
                  <a:gd name="connsiteY14" fmla="*/ 144164 h 2249189"/>
                  <a:gd name="connsiteX15" fmla="*/ 919163 w 1596224"/>
                  <a:gd name="connsiteY15" fmla="*/ 172739 h 2249189"/>
                  <a:gd name="connsiteX16" fmla="*/ 900113 w 1596224"/>
                  <a:gd name="connsiteY16" fmla="*/ 187027 h 2249189"/>
                  <a:gd name="connsiteX17" fmla="*/ 881063 w 1596224"/>
                  <a:gd name="connsiteY17" fmla="*/ 215602 h 2249189"/>
                  <a:gd name="connsiteX18" fmla="*/ 876300 w 1596224"/>
                  <a:gd name="connsiteY18" fmla="*/ 229889 h 2249189"/>
                  <a:gd name="connsiteX19" fmla="*/ 857250 w 1596224"/>
                  <a:gd name="connsiteY19" fmla="*/ 248939 h 2249189"/>
                  <a:gd name="connsiteX20" fmla="*/ 809625 w 1596224"/>
                  <a:gd name="connsiteY20" fmla="*/ 296564 h 2249189"/>
                  <a:gd name="connsiteX21" fmla="*/ 795338 w 1596224"/>
                  <a:gd name="connsiteY21" fmla="*/ 310852 h 2249189"/>
                  <a:gd name="connsiteX22" fmla="*/ 752475 w 1596224"/>
                  <a:gd name="connsiteY22" fmla="*/ 334664 h 2249189"/>
                  <a:gd name="connsiteX23" fmla="*/ 685800 w 1596224"/>
                  <a:gd name="connsiteY23" fmla="*/ 372764 h 2249189"/>
                  <a:gd name="connsiteX24" fmla="*/ 628650 w 1596224"/>
                  <a:gd name="connsiteY24" fmla="*/ 391814 h 2249189"/>
                  <a:gd name="connsiteX25" fmla="*/ 619125 w 1596224"/>
                  <a:gd name="connsiteY25" fmla="*/ 410864 h 2249189"/>
                  <a:gd name="connsiteX26" fmla="*/ 623888 w 1596224"/>
                  <a:gd name="connsiteY26" fmla="*/ 434677 h 2249189"/>
                  <a:gd name="connsiteX27" fmla="*/ 647700 w 1596224"/>
                  <a:gd name="connsiteY27" fmla="*/ 468014 h 2249189"/>
                  <a:gd name="connsiteX28" fmla="*/ 661988 w 1596224"/>
                  <a:gd name="connsiteY28" fmla="*/ 477539 h 2249189"/>
                  <a:gd name="connsiteX29" fmla="*/ 695325 w 1596224"/>
                  <a:gd name="connsiteY29" fmla="*/ 472777 h 2249189"/>
                  <a:gd name="connsiteX30" fmla="*/ 742950 w 1596224"/>
                  <a:gd name="connsiteY30" fmla="*/ 468014 h 2249189"/>
                  <a:gd name="connsiteX31" fmla="*/ 762000 w 1596224"/>
                  <a:gd name="connsiteY31" fmla="*/ 453727 h 2249189"/>
                  <a:gd name="connsiteX32" fmla="*/ 766763 w 1596224"/>
                  <a:gd name="connsiteY32" fmla="*/ 439439 h 2249189"/>
                  <a:gd name="connsiteX33" fmla="*/ 781050 w 1596224"/>
                  <a:gd name="connsiteY33" fmla="*/ 434677 h 2249189"/>
                  <a:gd name="connsiteX34" fmla="*/ 847725 w 1596224"/>
                  <a:gd name="connsiteY34" fmla="*/ 477539 h 2249189"/>
                  <a:gd name="connsiteX35" fmla="*/ 862013 w 1596224"/>
                  <a:gd name="connsiteY35" fmla="*/ 487064 h 2249189"/>
                  <a:gd name="connsiteX36" fmla="*/ 933450 w 1596224"/>
                  <a:gd name="connsiteY36" fmla="*/ 496589 h 2249189"/>
                  <a:gd name="connsiteX37" fmla="*/ 966788 w 1596224"/>
                  <a:gd name="connsiteY37" fmla="*/ 491827 h 2249189"/>
                  <a:gd name="connsiteX38" fmla="*/ 981075 w 1596224"/>
                  <a:gd name="connsiteY38" fmla="*/ 482302 h 2249189"/>
                  <a:gd name="connsiteX39" fmla="*/ 1004888 w 1596224"/>
                  <a:gd name="connsiteY39" fmla="*/ 472777 h 2249189"/>
                  <a:gd name="connsiteX40" fmla="*/ 1081088 w 1596224"/>
                  <a:gd name="connsiteY40" fmla="*/ 487064 h 2249189"/>
                  <a:gd name="connsiteX41" fmla="*/ 1100138 w 1596224"/>
                  <a:gd name="connsiteY41" fmla="*/ 506114 h 2249189"/>
                  <a:gd name="connsiteX42" fmla="*/ 1119188 w 1596224"/>
                  <a:gd name="connsiteY42" fmla="*/ 529927 h 2249189"/>
                  <a:gd name="connsiteX43" fmla="*/ 1133475 w 1596224"/>
                  <a:gd name="connsiteY43" fmla="*/ 568027 h 2249189"/>
                  <a:gd name="connsiteX44" fmla="*/ 1147763 w 1596224"/>
                  <a:gd name="connsiteY44" fmla="*/ 596602 h 2249189"/>
                  <a:gd name="connsiteX45" fmla="*/ 1162050 w 1596224"/>
                  <a:gd name="connsiteY45" fmla="*/ 625177 h 2249189"/>
                  <a:gd name="connsiteX46" fmla="*/ 1166813 w 1596224"/>
                  <a:gd name="connsiteY46" fmla="*/ 648989 h 2249189"/>
                  <a:gd name="connsiteX47" fmla="*/ 1176338 w 1596224"/>
                  <a:gd name="connsiteY47" fmla="*/ 729952 h 2249189"/>
                  <a:gd name="connsiteX48" fmla="*/ 1100138 w 1596224"/>
                  <a:gd name="connsiteY48" fmla="*/ 734714 h 2249189"/>
                  <a:gd name="connsiteX49" fmla="*/ 1085850 w 1596224"/>
                  <a:gd name="connsiteY49" fmla="*/ 725189 h 2249189"/>
                  <a:gd name="connsiteX50" fmla="*/ 1052513 w 1596224"/>
                  <a:gd name="connsiteY50" fmla="*/ 687089 h 2249189"/>
                  <a:gd name="connsiteX51" fmla="*/ 966788 w 1596224"/>
                  <a:gd name="connsiteY51" fmla="*/ 691852 h 2249189"/>
                  <a:gd name="connsiteX52" fmla="*/ 866775 w 1596224"/>
                  <a:gd name="connsiteY52" fmla="*/ 677564 h 2249189"/>
                  <a:gd name="connsiteX53" fmla="*/ 766763 w 1596224"/>
                  <a:gd name="connsiteY53" fmla="*/ 682327 h 2249189"/>
                  <a:gd name="connsiteX54" fmla="*/ 704850 w 1596224"/>
                  <a:gd name="connsiteY54" fmla="*/ 691852 h 2249189"/>
                  <a:gd name="connsiteX55" fmla="*/ 661988 w 1596224"/>
                  <a:gd name="connsiteY55" fmla="*/ 696614 h 2249189"/>
                  <a:gd name="connsiteX56" fmla="*/ 619125 w 1596224"/>
                  <a:gd name="connsiteY56" fmla="*/ 677564 h 2249189"/>
                  <a:gd name="connsiteX57" fmla="*/ 585788 w 1596224"/>
                  <a:gd name="connsiteY57" fmla="*/ 648989 h 2249189"/>
                  <a:gd name="connsiteX58" fmla="*/ 481013 w 1596224"/>
                  <a:gd name="connsiteY58" fmla="*/ 672802 h 2249189"/>
                  <a:gd name="connsiteX59" fmla="*/ 442913 w 1596224"/>
                  <a:gd name="connsiteY59" fmla="*/ 701377 h 2249189"/>
                  <a:gd name="connsiteX60" fmla="*/ 428625 w 1596224"/>
                  <a:gd name="connsiteY60" fmla="*/ 710902 h 2249189"/>
                  <a:gd name="connsiteX61" fmla="*/ 395288 w 1596224"/>
                  <a:gd name="connsiteY61" fmla="*/ 734714 h 2249189"/>
                  <a:gd name="connsiteX62" fmla="*/ 357188 w 1596224"/>
                  <a:gd name="connsiteY62" fmla="*/ 777577 h 2249189"/>
                  <a:gd name="connsiteX63" fmla="*/ 328613 w 1596224"/>
                  <a:gd name="connsiteY63" fmla="*/ 801389 h 2249189"/>
                  <a:gd name="connsiteX64" fmla="*/ 309563 w 1596224"/>
                  <a:gd name="connsiteY64" fmla="*/ 820439 h 2249189"/>
                  <a:gd name="connsiteX65" fmla="*/ 290513 w 1596224"/>
                  <a:gd name="connsiteY65" fmla="*/ 829964 h 2249189"/>
                  <a:gd name="connsiteX66" fmla="*/ 247650 w 1596224"/>
                  <a:gd name="connsiteY66" fmla="*/ 863302 h 2249189"/>
                  <a:gd name="connsiteX67" fmla="*/ 223838 w 1596224"/>
                  <a:gd name="connsiteY67" fmla="*/ 882352 h 2249189"/>
                  <a:gd name="connsiteX68" fmla="*/ 200025 w 1596224"/>
                  <a:gd name="connsiteY68" fmla="*/ 910927 h 2249189"/>
                  <a:gd name="connsiteX69" fmla="*/ 166688 w 1596224"/>
                  <a:gd name="connsiteY69" fmla="*/ 958552 h 2249189"/>
                  <a:gd name="connsiteX70" fmla="*/ 133350 w 1596224"/>
                  <a:gd name="connsiteY70" fmla="*/ 991889 h 2249189"/>
                  <a:gd name="connsiteX71" fmla="*/ 114300 w 1596224"/>
                  <a:gd name="connsiteY71" fmla="*/ 1025227 h 2249189"/>
                  <a:gd name="connsiteX72" fmla="*/ 85725 w 1596224"/>
                  <a:gd name="connsiteY72" fmla="*/ 1063327 h 2249189"/>
                  <a:gd name="connsiteX73" fmla="*/ 66675 w 1596224"/>
                  <a:gd name="connsiteY73" fmla="*/ 1082377 h 2249189"/>
                  <a:gd name="connsiteX74" fmla="*/ 57150 w 1596224"/>
                  <a:gd name="connsiteY74" fmla="*/ 1101427 h 2249189"/>
                  <a:gd name="connsiteX75" fmla="*/ 33338 w 1596224"/>
                  <a:gd name="connsiteY75" fmla="*/ 1139527 h 2249189"/>
                  <a:gd name="connsiteX76" fmla="*/ 23813 w 1596224"/>
                  <a:gd name="connsiteY76" fmla="*/ 1163339 h 2249189"/>
                  <a:gd name="connsiteX77" fmla="*/ 14288 w 1596224"/>
                  <a:gd name="connsiteY77" fmla="*/ 1182389 h 2249189"/>
                  <a:gd name="connsiteX78" fmla="*/ 9525 w 1596224"/>
                  <a:gd name="connsiteY78" fmla="*/ 1215727 h 2249189"/>
                  <a:gd name="connsiteX79" fmla="*/ 0 w 1596224"/>
                  <a:gd name="connsiteY79" fmla="*/ 1258589 h 2249189"/>
                  <a:gd name="connsiteX80" fmla="*/ 4763 w 1596224"/>
                  <a:gd name="connsiteY80" fmla="*/ 1320502 h 2249189"/>
                  <a:gd name="connsiteX81" fmla="*/ 33338 w 1596224"/>
                  <a:gd name="connsiteY81" fmla="*/ 1363364 h 2249189"/>
                  <a:gd name="connsiteX82" fmla="*/ 100013 w 1596224"/>
                  <a:gd name="connsiteY82" fmla="*/ 1410989 h 2249189"/>
                  <a:gd name="connsiteX83" fmla="*/ 157163 w 1596224"/>
                  <a:gd name="connsiteY83" fmla="*/ 1425277 h 2249189"/>
                  <a:gd name="connsiteX84" fmla="*/ 338138 w 1596224"/>
                  <a:gd name="connsiteY84" fmla="*/ 1420514 h 2249189"/>
                  <a:gd name="connsiteX85" fmla="*/ 361950 w 1596224"/>
                  <a:gd name="connsiteY85" fmla="*/ 1415752 h 2249189"/>
                  <a:gd name="connsiteX86" fmla="*/ 476250 w 1596224"/>
                  <a:gd name="connsiteY86" fmla="*/ 1425277 h 2249189"/>
                  <a:gd name="connsiteX87" fmla="*/ 495300 w 1596224"/>
                  <a:gd name="connsiteY87" fmla="*/ 1434802 h 2249189"/>
                  <a:gd name="connsiteX88" fmla="*/ 519113 w 1596224"/>
                  <a:gd name="connsiteY88" fmla="*/ 1491952 h 2249189"/>
                  <a:gd name="connsiteX89" fmla="*/ 528638 w 1596224"/>
                  <a:gd name="connsiteY89" fmla="*/ 1506239 h 2249189"/>
                  <a:gd name="connsiteX90" fmla="*/ 523875 w 1596224"/>
                  <a:gd name="connsiteY90" fmla="*/ 1606252 h 2249189"/>
                  <a:gd name="connsiteX91" fmla="*/ 514350 w 1596224"/>
                  <a:gd name="connsiteY91" fmla="*/ 1620539 h 2249189"/>
                  <a:gd name="connsiteX92" fmla="*/ 504825 w 1596224"/>
                  <a:gd name="connsiteY92" fmla="*/ 1653877 h 2249189"/>
                  <a:gd name="connsiteX93" fmla="*/ 533400 w 1596224"/>
                  <a:gd name="connsiteY93" fmla="*/ 1715789 h 2249189"/>
                  <a:gd name="connsiteX94" fmla="*/ 547688 w 1596224"/>
                  <a:gd name="connsiteY94" fmla="*/ 1725314 h 2249189"/>
                  <a:gd name="connsiteX95" fmla="*/ 566738 w 1596224"/>
                  <a:gd name="connsiteY95" fmla="*/ 1763414 h 2249189"/>
                  <a:gd name="connsiteX96" fmla="*/ 581025 w 1596224"/>
                  <a:gd name="connsiteY96" fmla="*/ 1806277 h 2249189"/>
                  <a:gd name="connsiteX97" fmla="*/ 557213 w 1596224"/>
                  <a:gd name="connsiteY97" fmla="*/ 1853902 h 2249189"/>
                  <a:gd name="connsiteX98" fmla="*/ 533400 w 1596224"/>
                  <a:gd name="connsiteY98" fmla="*/ 1858664 h 2249189"/>
                  <a:gd name="connsiteX99" fmla="*/ 490538 w 1596224"/>
                  <a:gd name="connsiteY99" fmla="*/ 1877714 h 2249189"/>
                  <a:gd name="connsiteX100" fmla="*/ 452438 w 1596224"/>
                  <a:gd name="connsiteY100" fmla="*/ 1892002 h 2249189"/>
                  <a:gd name="connsiteX101" fmla="*/ 447675 w 1596224"/>
                  <a:gd name="connsiteY101" fmla="*/ 1925339 h 2249189"/>
                  <a:gd name="connsiteX102" fmla="*/ 438150 w 1596224"/>
                  <a:gd name="connsiteY102" fmla="*/ 1939627 h 2249189"/>
                  <a:gd name="connsiteX103" fmla="*/ 428625 w 1596224"/>
                  <a:gd name="connsiteY103" fmla="*/ 1958677 h 2249189"/>
                  <a:gd name="connsiteX104" fmla="*/ 414338 w 1596224"/>
                  <a:gd name="connsiteY104" fmla="*/ 1977727 h 2249189"/>
                  <a:gd name="connsiteX105" fmla="*/ 404813 w 1596224"/>
                  <a:gd name="connsiteY105" fmla="*/ 1992014 h 2249189"/>
                  <a:gd name="connsiteX106" fmla="*/ 385763 w 1596224"/>
                  <a:gd name="connsiteY106" fmla="*/ 2011064 h 2249189"/>
                  <a:gd name="connsiteX107" fmla="*/ 352425 w 1596224"/>
                  <a:gd name="connsiteY107" fmla="*/ 2053927 h 2249189"/>
                  <a:gd name="connsiteX108" fmla="*/ 314325 w 1596224"/>
                  <a:gd name="connsiteY108" fmla="*/ 2096789 h 2249189"/>
                  <a:gd name="connsiteX109" fmla="*/ 300038 w 1596224"/>
                  <a:gd name="connsiteY109" fmla="*/ 2115839 h 2249189"/>
                  <a:gd name="connsiteX110" fmla="*/ 276225 w 1596224"/>
                  <a:gd name="connsiteY110" fmla="*/ 2130127 h 2249189"/>
                  <a:gd name="connsiteX111" fmla="*/ 261938 w 1596224"/>
                  <a:gd name="connsiteY111" fmla="*/ 2144414 h 2249189"/>
                  <a:gd name="connsiteX112" fmla="*/ 252413 w 1596224"/>
                  <a:gd name="connsiteY112" fmla="*/ 2168227 h 2249189"/>
                  <a:gd name="connsiteX113" fmla="*/ 252413 w 1596224"/>
                  <a:gd name="connsiteY113" fmla="*/ 2234902 h 2249189"/>
                  <a:gd name="connsiteX114" fmla="*/ 280988 w 1596224"/>
                  <a:gd name="connsiteY114" fmla="*/ 2249189 h 2249189"/>
                  <a:gd name="connsiteX115" fmla="*/ 400050 w 1596224"/>
                  <a:gd name="connsiteY115" fmla="*/ 2244427 h 2249189"/>
                  <a:gd name="connsiteX116" fmla="*/ 423863 w 1596224"/>
                  <a:gd name="connsiteY116" fmla="*/ 2230139 h 2249189"/>
                  <a:gd name="connsiteX117" fmla="*/ 471488 w 1596224"/>
                  <a:gd name="connsiteY117" fmla="*/ 2187277 h 2249189"/>
                  <a:gd name="connsiteX118" fmla="*/ 509588 w 1596224"/>
                  <a:gd name="connsiteY118" fmla="*/ 2163464 h 2249189"/>
                  <a:gd name="connsiteX119" fmla="*/ 533400 w 1596224"/>
                  <a:gd name="connsiteY119" fmla="*/ 2144414 h 2249189"/>
                  <a:gd name="connsiteX120" fmla="*/ 581025 w 1596224"/>
                  <a:gd name="connsiteY120" fmla="*/ 2120602 h 2249189"/>
                  <a:gd name="connsiteX121" fmla="*/ 604838 w 1596224"/>
                  <a:gd name="connsiteY121" fmla="*/ 2106314 h 2249189"/>
                  <a:gd name="connsiteX122" fmla="*/ 642938 w 1596224"/>
                  <a:gd name="connsiteY122" fmla="*/ 2082502 h 2249189"/>
                  <a:gd name="connsiteX123" fmla="*/ 666750 w 1596224"/>
                  <a:gd name="connsiteY123" fmla="*/ 2072977 h 2249189"/>
                  <a:gd name="connsiteX124" fmla="*/ 685800 w 1596224"/>
                  <a:gd name="connsiteY124" fmla="*/ 2063452 h 2249189"/>
                  <a:gd name="connsiteX125" fmla="*/ 728663 w 1596224"/>
                  <a:gd name="connsiteY125" fmla="*/ 2049164 h 2249189"/>
                  <a:gd name="connsiteX126" fmla="*/ 747713 w 1596224"/>
                  <a:gd name="connsiteY126" fmla="*/ 2034877 h 2249189"/>
                  <a:gd name="connsiteX127" fmla="*/ 762000 w 1596224"/>
                  <a:gd name="connsiteY127" fmla="*/ 2025352 h 2249189"/>
                  <a:gd name="connsiteX128" fmla="*/ 776288 w 1596224"/>
                  <a:gd name="connsiteY128" fmla="*/ 2011064 h 2249189"/>
                  <a:gd name="connsiteX129" fmla="*/ 790575 w 1596224"/>
                  <a:gd name="connsiteY129" fmla="*/ 2006302 h 2249189"/>
                  <a:gd name="connsiteX130" fmla="*/ 833438 w 1596224"/>
                  <a:gd name="connsiteY130" fmla="*/ 1996777 h 2249189"/>
                  <a:gd name="connsiteX131" fmla="*/ 881063 w 1596224"/>
                  <a:gd name="connsiteY131" fmla="*/ 1972964 h 2249189"/>
                  <a:gd name="connsiteX132" fmla="*/ 904875 w 1596224"/>
                  <a:gd name="connsiteY132" fmla="*/ 1963439 h 2249189"/>
                  <a:gd name="connsiteX133" fmla="*/ 966788 w 1596224"/>
                  <a:gd name="connsiteY133" fmla="*/ 1911052 h 2249189"/>
                  <a:gd name="connsiteX134" fmla="*/ 981075 w 1596224"/>
                  <a:gd name="connsiteY134" fmla="*/ 1887239 h 2249189"/>
                  <a:gd name="connsiteX135" fmla="*/ 995363 w 1596224"/>
                  <a:gd name="connsiteY135" fmla="*/ 1872952 h 2249189"/>
                  <a:gd name="connsiteX136" fmla="*/ 1000125 w 1596224"/>
                  <a:gd name="connsiteY136" fmla="*/ 1858664 h 2249189"/>
                  <a:gd name="connsiteX137" fmla="*/ 1033463 w 1596224"/>
                  <a:gd name="connsiteY137" fmla="*/ 1834852 h 2249189"/>
                  <a:gd name="connsiteX138" fmla="*/ 1095375 w 1596224"/>
                  <a:gd name="connsiteY138" fmla="*/ 1801514 h 2249189"/>
                  <a:gd name="connsiteX139" fmla="*/ 1114425 w 1596224"/>
                  <a:gd name="connsiteY139" fmla="*/ 1791989 h 2249189"/>
                  <a:gd name="connsiteX140" fmla="*/ 1204913 w 1596224"/>
                  <a:gd name="connsiteY140" fmla="*/ 1790402 h 2249189"/>
                  <a:gd name="connsiteX141" fmla="*/ 1254125 w 1596224"/>
                  <a:gd name="connsiteY141" fmla="*/ 1731664 h 2249189"/>
                  <a:gd name="connsiteX142" fmla="*/ 1352550 w 1596224"/>
                  <a:gd name="connsiteY142" fmla="*/ 1596727 h 2249189"/>
                  <a:gd name="connsiteX143" fmla="*/ 1433513 w 1596224"/>
                  <a:gd name="connsiteY143" fmla="*/ 1434802 h 2249189"/>
                  <a:gd name="connsiteX144" fmla="*/ 1471613 w 1596224"/>
                  <a:gd name="connsiteY144" fmla="*/ 1334789 h 2249189"/>
                  <a:gd name="connsiteX145" fmla="*/ 1490663 w 1596224"/>
                  <a:gd name="connsiteY145" fmla="*/ 1282402 h 2249189"/>
                  <a:gd name="connsiteX146" fmla="*/ 1514475 w 1596224"/>
                  <a:gd name="connsiteY146" fmla="*/ 1210964 h 2249189"/>
                  <a:gd name="connsiteX147" fmla="*/ 1528763 w 1596224"/>
                  <a:gd name="connsiteY147" fmla="*/ 1149052 h 2249189"/>
                  <a:gd name="connsiteX148" fmla="*/ 1566863 w 1596224"/>
                  <a:gd name="connsiteY148" fmla="*/ 987127 h 2249189"/>
                  <a:gd name="connsiteX149" fmla="*/ 1590675 w 1596224"/>
                  <a:gd name="connsiteY149" fmla="*/ 868064 h 2249189"/>
                  <a:gd name="connsiteX150" fmla="*/ 1590675 w 1596224"/>
                  <a:gd name="connsiteY150" fmla="*/ 596602 h 2249189"/>
                  <a:gd name="connsiteX151" fmla="*/ 1581150 w 1596224"/>
                  <a:gd name="connsiteY151" fmla="*/ 525164 h 2249189"/>
                  <a:gd name="connsiteX152" fmla="*/ 1576388 w 1596224"/>
                  <a:gd name="connsiteY152" fmla="*/ 510877 h 2249189"/>
                  <a:gd name="connsiteX153" fmla="*/ 1408113 w 1596224"/>
                  <a:gd name="connsiteY153" fmla="*/ 1289 h 2249189"/>
                  <a:gd name="connsiteX0" fmla="*/ 1408113 w 1596224"/>
                  <a:gd name="connsiteY0" fmla="*/ 1289 h 2249189"/>
                  <a:gd name="connsiteX1" fmla="*/ 1381125 w 1596224"/>
                  <a:gd name="connsiteY1" fmla="*/ 25102 h 2249189"/>
                  <a:gd name="connsiteX2" fmla="*/ 1371600 w 1596224"/>
                  <a:gd name="connsiteY2" fmla="*/ 39389 h 2249189"/>
                  <a:gd name="connsiteX3" fmla="*/ 1347788 w 1596224"/>
                  <a:gd name="connsiteY3" fmla="*/ 58439 h 2249189"/>
                  <a:gd name="connsiteX4" fmla="*/ 1333500 w 1596224"/>
                  <a:gd name="connsiteY4" fmla="*/ 67964 h 2249189"/>
                  <a:gd name="connsiteX5" fmla="*/ 1304925 w 1596224"/>
                  <a:gd name="connsiteY5" fmla="*/ 72727 h 2249189"/>
                  <a:gd name="connsiteX6" fmla="*/ 1281113 w 1596224"/>
                  <a:gd name="connsiteY6" fmla="*/ 82252 h 2249189"/>
                  <a:gd name="connsiteX7" fmla="*/ 1195388 w 1596224"/>
                  <a:gd name="connsiteY7" fmla="*/ 63202 h 2249189"/>
                  <a:gd name="connsiteX8" fmla="*/ 1076325 w 1596224"/>
                  <a:gd name="connsiteY8" fmla="*/ 67964 h 2249189"/>
                  <a:gd name="connsiteX9" fmla="*/ 1052513 w 1596224"/>
                  <a:gd name="connsiteY9" fmla="*/ 96539 h 2249189"/>
                  <a:gd name="connsiteX10" fmla="*/ 1038225 w 1596224"/>
                  <a:gd name="connsiteY10" fmla="*/ 120352 h 2249189"/>
                  <a:gd name="connsiteX11" fmla="*/ 1023938 w 1596224"/>
                  <a:gd name="connsiteY11" fmla="*/ 139402 h 2249189"/>
                  <a:gd name="connsiteX12" fmla="*/ 1019175 w 1596224"/>
                  <a:gd name="connsiteY12" fmla="*/ 153689 h 2249189"/>
                  <a:gd name="connsiteX13" fmla="*/ 981075 w 1596224"/>
                  <a:gd name="connsiteY13" fmla="*/ 148927 h 2249189"/>
                  <a:gd name="connsiteX14" fmla="*/ 966788 w 1596224"/>
                  <a:gd name="connsiteY14" fmla="*/ 144164 h 2249189"/>
                  <a:gd name="connsiteX15" fmla="*/ 919163 w 1596224"/>
                  <a:gd name="connsiteY15" fmla="*/ 172739 h 2249189"/>
                  <a:gd name="connsiteX16" fmla="*/ 900113 w 1596224"/>
                  <a:gd name="connsiteY16" fmla="*/ 187027 h 2249189"/>
                  <a:gd name="connsiteX17" fmla="*/ 881063 w 1596224"/>
                  <a:gd name="connsiteY17" fmla="*/ 215602 h 2249189"/>
                  <a:gd name="connsiteX18" fmla="*/ 876300 w 1596224"/>
                  <a:gd name="connsiteY18" fmla="*/ 229889 h 2249189"/>
                  <a:gd name="connsiteX19" fmla="*/ 857250 w 1596224"/>
                  <a:gd name="connsiteY19" fmla="*/ 248939 h 2249189"/>
                  <a:gd name="connsiteX20" fmla="*/ 809625 w 1596224"/>
                  <a:gd name="connsiteY20" fmla="*/ 296564 h 2249189"/>
                  <a:gd name="connsiteX21" fmla="*/ 795338 w 1596224"/>
                  <a:gd name="connsiteY21" fmla="*/ 310852 h 2249189"/>
                  <a:gd name="connsiteX22" fmla="*/ 752475 w 1596224"/>
                  <a:gd name="connsiteY22" fmla="*/ 334664 h 2249189"/>
                  <a:gd name="connsiteX23" fmla="*/ 685800 w 1596224"/>
                  <a:gd name="connsiteY23" fmla="*/ 372764 h 2249189"/>
                  <a:gd name="connsiteX24" fmla="*/ 628650 w 1596224"/>
                  <a:gd name="connsiteY24" fmla="*/ 391814 h 2249189"/>
                  <a:gd name="connsiteX25" fmla="*/ 619125 w 1596224"/>
                  <a:gd name="connsiteY25" fmla="*/ 410864 h 2249189"/>
                  <a:gd name="connsiteX26" fmla="*/ 623888 w 1596224"/>
                  <a:gd name="connsiteY26" fmla="*/ 434677 h 2249189"/>
                  <a:gd name="connsiteX27" fmla="*/ 647700 w 1596224"/>
                  <a:gd name="connsiteY27" fmla="*/ 468014 h 2249189"/>
                  <a:gd name="connsiteX28" fmla="*/ 661988 w 1596224"/>
                  <a:gd name="connsiteY28" fmla="*/ 477539 h 2249189"/>
                  <a:gd name="connsiteX29" fmla="*/ 695325 w 1596224"/>
                  <a:gd name="connsiteY29" fmla="*/ 472777 h 2249189"/>
                  <a:gd name="connsiteX30" fmla="*/ 742950 w 1596224"/>
                  <a:gd name="connsiteY30" fmla="*/ 468014 h 2249189"/>
                  <a:gd name="connsiteX31" fmla="*/ 762000 w 1596224"/>
                  <a:gd name="connsiteY31" fmla="*/ 453727 h 2249189"/>
                  <a:gd name="connsiteX32" fmla="*/ 766763 w 1596224"/>
                  <a:gd name="connsiteY32" fmla="*/ 439439 h 2249189"/>
                  <a:gd name="connsiteX33" fmla="*/ 781050 w 1596224"/>
                  <a:gd name="connsiteY33" fmla="*/ 434677 h 2249189"/>
                  <a:gd name="connsiteX34" fmla="*/ 847725 w 1596224"/>
                  <a:gd name="connsiteY34" fmla="*/ 477539 h 2249189"/>
                  <a:gd name="connsiteX35" fmla="*/ 862013 w 1596224"/>
                  <a:gd name="connsiteY35" fmla="*/ 487064 h 2249189"/>
                  <a:gd name="connsiteX36" fmla="*/ 933450 w 1596224"/>
                  <a:gd name="connsiteY36" fmla="*/ 496589 h 2249189"/>
                  <a:gd name="connsiteX37" fmla="*/ 966788 w 1596224"/>
                  <a:gd name="connsiteY37" fmla="*/ 491827 h 2249189"/>
                  <a:gd name="connsiteX38" fmla="*/ 981075 w 1596224"/>
                  <a:gd name="connsiteY38" fmla="*/ 482302 h 2249189"/>
                  <a:gd name="connsiteX39" fmla="*/ 1004888 w 1596224"/>
                  <a:gd name="connsiteY39" fmla="*/ 472777 h 2249189"/>
                  <a:gd name="connsiteX40" fmla="*/ 1081088 w 1596224"/>
                  <a:gd name="connsiteY40" fmla="*/ 487064 h 2249189"/>
                  <a:gd name="connsiteX41" fmla="*/ 1100138 w 1596224"/>
                  <a:gd name="connsiteY41" fmla="*/ 506114 h 2249189"/>
                  <a:gd name="connsiteX42" fmla="*/ 1119188 w 1596224"/>
                  <a:gd name="connsiteY42" fmla="*/ 529927 h 2249189"/>
                  <a:gd name="connsiteX43" fmla="*/ 1133475 w 1596224"/>
                  <a:gd name="connsiteY43" fmla="*/ 568027 h 2249189"/>
                  <a:gd name="connsiteX44" fmla="*/ 1147763 w 1596224"/>
                  <a:gd name="connsiteY44" fmla="*/ 596602 h 2249189"/>
                  <a:gd name="connsiteX45" fmla="*/ 1162050 w 1596224"/>
                  <a:gd name="connsiteY45" fmla="*/ 625177 h 2249189"/>
                  <a:gd name="connsiteX46" fmla="*/ 1166813 w 1596224"/>
                  <a:gd name="connsiteY46" fmla="*/ 648989 h 2249189"/>
                  <a:gd name="connsiteX47" fmla="*/ 1176338 w 1596224"/>
                  <a:gd name="connsiteY47" fmla="*/ 729952 h 2249189"/>
                  <a:gd name="connsiteX48" fmla="*/ 1100138 w 1596224"/>
                  <a:gd name="connsiteY48" fmla="*/ 734714 h 2249189"/>
                  <a:gd name="connsiteX49" fmla="*/ 1085850 w 1596224"/>
                  <a:gd name="connsiteY49" fmla="*/ 725189 h 2249189"/>
                  <a:gd name="connsiteX50" fmla="*/ 1052513 w 1596224"/>
                  <a:gd name="connsiteY50" fmla="*/ 687089 h 2249189"/>
                  <a:gd name="connsiteX51" fmla="*/ 966788 w 1596224"/>
                  <a:gd name="connsiteY51" fmla="*/ 691852 h 2249189"/>
                  <a:gd name="connsiteX52" fmla="*/ 866775 w 1596224"/>
                  <a:gd name="connsiteY52" fmla="*/ 677564 h 2249189"/>
                  <a:gd name="connsiteX53" fmla="*/ 766763 w 1596224"/>
                  <a:gd name="connsiteY53" fmla="*/ 682327 h 2249189"/>
                  <a:gd name="connsiteX54" fmla="*/ 704850 w 1596224"/>
                  <a:gd name="connsiteY54" fmla="*/ 691852 h 2249189"/>
                  <a:gd name="connsiteX55" fmla="*/ 661988 w 1596224"/>
                  <a:gd name="connsiteY55" fmla="*/ 696614 h 2249189"/>
                  <a:gd name="connsiteX56" fmla="*/ 619125 w 1596224"/>
                  <a:gd name="connsiteY56" fmla="*/ 677564 h 2249189"/>
                  <a:gd name="connsiteX57" fmla="*/ 585788 w 1596224"/>
                  <a:gd name="connsiteY57" fmla="*/ 648989 h 2249189"/>
                  <a:gd name="connsiteX58" fmla="*/ 481013 w 1596224"/>
                  <a:gd name="connsiteY58" fmla="*/ 672802 h 2249189"/>
                  <a:gd name="connsiteX59" fmla="*/ 442913 w 1596224"/>
                  <a:gd name="connsiteY59" fmla="*/ 701377 h 2249189"/>
                  <a:gd name="connsiteX60" fmla="*/ 428625 w 1596224"/>
                  <a:gd name="connsiteY60" fmla="*/ 710902 h 2249189"/>
                  <a:gd name="connsiteX61" fmla="*/ 395288 w 1596224"/>
                  <a:gd name="connsiteY61" fmla="*/ 734714 h 2249189"/>
                  <a:gd name="connsiteX62" fmla="*/ 357188 w 1596224"/>
                  <a:gd name="connsiteY62" fmla="*/ 777577 h 2249189"/>
                  <a:gd name="connsiteX63" fmla="*/ 328613 w 1596224"/>
                  <a:gd name="connsiteY63" fmla="*/ 801389 h 2249189"/>
                  <a:gd name="connsiteX64" fmla="*/ 309563 w 1596224"/>
                  <a:gd name="connsiteY64" fmla="*/ 820439 h 2249189"/>
                  <a:gd name="connsiteX65" fmla="*/ 290513 w 1596224"/>
                  <a:gd name="connsiteY65" fmla="*/ 829964 h 2249189"/>
                  <a:gd name="connsiteX66" fmla="*/ 247650 w 1596224"/>
                  <a:gd name="connsiteY66" fmla="*/ 863302 h 2249189"/>
                  <a:gd name="connsiteX67" fmla="*/ 223838 w 1596224"/>
                  <a:gd name="connsiteY67" fmla="*/ 882352 h 2249189"/>
                  <a:gd name="connsiteX68" fmla="*/ 200025 w 1596224"/>
                  <a:gd name="connsiteY68" fmla="*/ 910927 h 2249189"/>
                  <a:gd name="connsiteX69" fmla="*/ 166688 w 1596224"/>
                  <a:gd name="connsiteY69" fmla="*/ 958552 h 2249189"/>
                  <a:gd name="connsiteX70" fmla="*/ 133350 w 1596224"/>
                  <a:gd name="connsiteY70" fmla="*/ 991889 h 2249189"/>
                  <a:gd name="connsiteX71" fmla="*/ 114300 w 1596224"/>
                  <a:gd name="connsiteY71" fmla="*/ 1025227 h 2249189"/>
                  <a:gd name="connsiteX72" fmla="*/ 85725 w 1596224"/>
                  <a:gd name="connsiteY72" fmla="*/ 1063327 h 2249189"/>
                  <a:gd name="connsiteX73" fmla="*/ 66675 w 1596224"/>
                  <a:gd name="connsiteY73" fmla="*/ 1082377 h 2249189"/>
                  <a:gd name="connsiteX74" fmla="*/ 57150 w 1596224"/>
                  <a:gd name="connsiteY74" fmla="*/ 1101427 h 2249189"/>
                  <a:gd name="connsiteX75" fmla="*/ 33338 w 1596224"/>
                  <a:gd name="connsiteY75" fmla="*/ 1139527 h 2249189"/>
                  <a:gd name="connsiteX76" fmla="*/ 23813 w 1596224"/>
                  <a:gd name="connsiteY76" fmla="*/ 1163339 h 2249189"/>
                  <a:gd name="connsiteX77" fmla="*/ 14288 w 1596224"/>
                  <a:gd name="connsiteY77" fmla="*/ 1182389 h 2249189"/>
                  <a:gd name="connsiteX78" fmla="*/ 9525 w 1596224"/>
                  <a:gd name="connsiteY78" fmla="*/ 1215727 h 2249189"/>
                  <a:gd name="connsiteX79" fmla="*/ 0 w 1596224"/>
                  <a:gd name="connsiteY79" fmla="*/ 1258589 h 2249189"/>
                  <a:gd name="connsiteX80" fmla="*/ 4763 w 1596224"/>
                  <a:gd name="connsiteY80" fmla="*/ 1320502 h 2249189"/>
                  <a:gd name="connsiteX81" fmla="*/ 33338 w 1596224"/>
                  <a:gd name="connsiteY81" fmla="*/ 1363364 h 2249189"/>
                  <a:gd name="connsiteX82" fmla="*/ 100013 w 1596224"/>
                  <a:gd name="connsiteY82" fmla="*/ 1410989 h 2249189"/>
                  <a:gd name="connsiteX83" fmla="*/ 157163 w 1596224"/>
                  <a:gd name="connsiteY83" fmla="*/ 1425277 h 2249189"/>
                  <a:gd name="connsiteX84" fmla="*/ 338138 w 1596224"/>
                  <a:gd name="connsiteY84" fmla="*/ 1420514 h 2249189"/>
                  <a:gd name="connsiteX85" fmla="*/ 361950 w 1596224"/>
                  <a:gd name="connsiteY85" fmla="*/ 1415752 h 2249189"/>
                  <a:gd name="connsiteX86" fmla="*/ 476250 w 1596224"/>
                  <a:gd name="connsiteY86" fmla="*/ 1425277 h 2249189"/>
                  <a:gd name="connsiteX87" fmla="*/ 495300 w 1596224"/>
                  <a:gd name="connsiteY87" fmla="*/ 1434802 h 2249189"/>
                  <a:gd name="connsiteX88" fmla="*/ 519113 w 1596224"/>
                  <a:gd name="connsiteY88" fmla="*/ 1491952 h 2249189"/>
                  <a:gd name="connsiteX89" fmla="*/ 528638 w 1596224"/>
                  <a:gd name="connsiteY89" fmla="*/ 1506239 h 2249189"/>
                  <a:gd name="connsiteX90" fmla="*/ 523875 w 1596224"/>
                  <a:gd name="connsiteY90" fmla="*/ 1606252 h 2249189"/>
                  <a:gd name="connsiteX91" fmla="*/ 514350 w 1596224"/>
                  <a:gd name="connsiteY91" fmla="*/ 1620539 h 2249189"/>
                  <a:gd name="connsiteX92" fmla="*/ 504825 w 1596224"/>
                  <a:gd name="connsiteY92" fmla="*/ 1653877 h 2249189"/>
                  <a:gd name="connsiteX93" fmla="*/ 533400 w 1596224"/>
                  <a:gd name="connsiteY93" fmla="*/ 1715789 h 2249189"/>
                  <a:gd name="connsiteX94" fmla="*/ 547688 w 1596224"/>
                  <a:gd name="connsiteY94" fmla="*/ 1725314 h 2249189"/>
                  <a:gd name="connsiteX95" fmla="*/ 566738 w 1596224"/>
                  <a:gd name="connsiteY95" fmla="*/ 1763414 h 2249189"/>
                  <a:gd name="connsiteX96" fmla="*/ 581025 w 1596224"/>
                  <a:gd name="connsiteY96" fmla="*/ 1806277 h 2249189"/>
                  <a:gd name="connsiteX97" fmla="*/ 557213 w 1596224"/>
                  <a:gd name="connsiteY97" fmla="*/ 1853902 h 2249189"/>
                  <a:gd name="connsiteX98" fmla="*/ 533400 w 1596224"/>
                  <a:gd name="connsiteY98" fmla="*/ 1858664 h 2249189"/>
                  <a:gd name="connsiteX99" fmla="*/ 490538 w 1596224"/>
                  <a:gd name="connsiteY99" fmla="*/ 1877714 h 2249189"/>
                  <a:gd name="connsiteX100" fmla="*/ 452438 w 1596224"/>
                  <a:gd name="connsiteY100" fmla="*/ 1892002 h 2249189"/>
                  <a:gd name="connsiteX101" fmla="*/ 447675 w 1596224"/>
                  <a:gd name="connsiteY101" fmla="*/ 1925339 h 2249189"/>
                  <a:gd name="connsiteX102" fmla="*/ 438150 w 1596224"/>
                  <a:gd name="connsiteY102" fmla="*/ 1939627 h 2249189"/>
                  <a:gd name="connsiteX103" fmla="*/ 428625 w 1596224"/>
                  <a:gd name="connsiteY103" fmla="*/ 1958677 h 2249189"/>
                  <a:gd name="connsiteX104" fmla="*/ 414338 w 1596224"/>
                  <a:gd name="connsiteY104" fmla="*/ 1977727 h 2249189"/>
                  <a:gd name="connsiteX105" fmla="*/ 404813 w 1596224"/>
                  <a:gd name="connsiteY105" fmla="*/ 1992014 h 2249189"/>
                  <a:gd name="connsiteX106" fmla="*/ 385763 w 1596224"/>
                  <a:gd name="connsiteY106" fmla="*/ 2011064 h 2249189"/>
                  <a:gd name="connsiteX107" fmla="*/ 352425 w 1596224"/>
                  <a:gd name="connsiteY107" fmla="*/ 2053927 h 2249189"/>
                  <a:gd name="connsiteX108" fmla="*/ 314325 w 1596224"/>
                  <a:gd name="connsiteY108" fmla="*/ 2096789 h 2249189"/>
                  <a:gd name="connsiteX109" fmla="*/ 300038 w 1596224"/>
                  <a:gd name="connsiteY109" fmla="*/ 2115839 h 2249189"/>
                  <a:gd name="connsiteX110" fmla="*/ 276225 w 1596224"/>
                  <a:gd name="connsiteY110" fmla="*/ 2130127 h 2249189"/>
                  <a:gd name="connsiteX111" fmla="*/ 261938 w 1596224"/>
                  <a:gd name="connsiteY111" fmla="*/ 2144414 h 2249189"/>
                  <a:gd name="connsiteX112" fmla="*/ 252413 w 1596224"/>
                  <a:gd name="connsiteY112" fmla="*/ 2168227 h 2249189"/>
                  <a:gd name="connsiteX113" fmla="*/ 252413 w 1596224"/>
                  <a:gd name="connsiteY113" fmla="*/ 2234902 h 2249189"/>
                  <a:gd name="connsiteX114" fmla="*/ 280988 w 1596224"/>
                  <a:gd name="connsiteY114" fmla="*/ 2249189 h 2249189"/>
                  <a:gd name="connsiteX115" fmla="*/ 400050 w 1596224"/>
                  <a:gd name="connsiteY115" fmla="*/ 2244427 h 2249189"/>
                  <a:gd name="connsiteX116" fmla="*/ 423863 w 1596224"/>
                  <a:gd name="connsiteY116" fmla="*/ 2230139 h 2249189"/>
                  <a:gd name="connsiteX117" fmla="*/ 471488 w 1596224"/>
                  <a:gd name="connsiteY117" fmla="*/ 2187277 h 2249189"/>
                  <a:gd name="connsiteX118" fmla="*/ 509588 w 1596224"/>
                  <a:gd name="connsiteY118" fmla="*/ 2163464 h 2249189"/>
                  <a:gd name="connsiteX119" fmla="*/ 533400 w 1596224"/>
                  <a:gd name="connsiteY119" fmla="*/ 2144414 h 2249189"/>
                  <a:gd name="connsiteX120" fmla="*/ 581025 w 1596224"/>
                  <a:gd name="connsiteY120" fmla="*/ 2120602 h 2249189"/>
                  <a:gd name="connsiteX121" fmla="*/ 604838 w 1596224"/>
                  <a:gd name="connsiteY121" fmla="*/ 2106314 h 2249189"/>
                  <a:gd name="connsiteX122" fmla="*/ 642938 w 1596224"/>
                  <a:gd name="connsiteY122" fmla="*/ 2082502 h 2249189"/>
                  <a:gd name="connsiteX123" fmla="*/ 666750 w 1596224"/>
                  <a:gd name="connsiteY123" fmla="*/ 2072977 h 2249189"/>
                  <a:gd name="connsiteX124" fmla="*/ 685800 w 1596224"/>
                  <a:gd name="connsiteY124" fmla="*/ 2063452 h 2249189"/>
                  <a:gd name="connsiteX125" fmla="*/ 728663 w 1596224"/>
                  <a:gd name="connsiteY125" fmla="*/ 2049164 h 2249189"/>
                  <a:gd name="connsiteX126" fmla="*/ 747713 w 1596224"/>
                  <a:gd name="connsiteY126" fmla="*/ 2034877 h 2249189"/>
                  <a:gd name="connsiteX127" fmla="*/ 762000 w 1596224"/>
                  <a:gd name="connsiteY127" fmla="*/ 2025352 h 2249189"/>
                  <a:gd name="connsiteX128" fmla="*/ 776288 w 1596224"/>
                  <a:gd name="connsiteY128" fmla="*/ 2011064 h 2249189"/>
                  <a:gd name="connsiteX129" fmla="*/ 790575 w 1596224"/>
                  <a:gd name="connsiteY129" fmla="*/ 2006302 h 2249189"/>
                  <a:gd name="connsiteX130" fmla="*/ 833438 w 1596224"/>
                  <a:gd name="connsiteY130" fmla="*/ 1996777 h 2249189"/>
                  <a:gd name="connsiteX131" fmla="*/ 881063 w 1596224"/>
                  <a:gd name="connsiteY131" fmla="*/ 1972964 h 2249189"/>
                  <a:gd name="connsiteX132" fmla="*/ 904875 w 1596224"/>
                  <a:gd name="connsiteY132" fmla="*/ 1963439 h 2249189"/>
                  <a:gd name="connsiteX133" fmla="*/ 966788 w 1596224"/>
                  <a:gd name="connsiteY133" fmla="*/ 1911052 h 2249189"/>
                  <a:gd name="connsiteX134" fmla="*/ 981075 w 1596224"/>
                  <a:gd name="connsiteY134" fmla="*/ 1887239 h 2249189"/>
                  <a:gd name="connsiteX135" fmla="*/ 995363 w 1596224"/>
                  <a:gd name="connsiteY135" fmla="*/ 1872952 h 2249189"/>
                  <a:gd name="connsiteX136" fmla="*/ 1000125 w 1596224"/>
                  <a:gd name="connsiteY136" fmla="*/ 1858664 h 2249189"/>
                  <a:gd name="connsiteX137" fmla="*/ 1033463 w 1596224"/>
                  <a:gd name="connsiteY137" fmla="*/ 1834852 h 2249189"/>
                  <a:gd name="connsiteX138" fmla="*/ 1095375 w 1596224"/>
                  <a:gd name="connsiteY138" fmla="*/ 1801514 h 2249189"/>
                  <a:gd name="connsiteX139" fmla="*/ 1114425 w 1596224"/>
                  <a:gd name="connsiteY139" fmla="*/ 1791989 h 2249189"/>
                  <a:gd name="connsiteX140" fmla="*/ 1204913 w 1596224"/>
                  <a:gd name="connsiteY140" fmla="*/ 1790402 h 2249189"/>
                  <a:gd name="connsiteX141" fmla="*/ 1254125 w 1596224"/>
                  <a:gd name="connsiteY141" fmla="*/ 1731664 h 2249189"/>
                  <a:gd name="connsiteX142" fmla="*/ 1352550 w 1596224"/>
                  <a:gd name="connsiteY142" fmla="*/ 1596727 h 2249189"/>
                  <a:gd name="connsiteX143" fmla="*/ 1433513 w 1596224"/>
                  <a:gd name="connsiteY143" fmla="*/ 1434802 h 2249189"/>
                  <a:gd name="connsiteX144" fmla="*/ 1471613 w 1596224"/>
                  <a:gd name="connsiteY144" fmla="*/ 1334789 h 2249189"/>
                  <a:gd name="connsiteX145" fmla="*/ 1490663 w 1596224"/>
                  <a:gd name="connsiteY145" fmla="*/ 1282402 h 2249189"/>
                  <a:gd name="connsiteX146" fmla="*/ 1514475 w 1596224"/>
                  <a:gd name="connsiteY146" fmla="*/ 1210964 h 2249189"/>
                  <a:gd name="connsiteX147" fmla="*/ 1528763 w 1596224"/>
                  <a:gd name="connsiteY147" fmla="*/ 1149052 h 2249189"/>
                  <a:gd name="connsiteX148" fmla="*/ 1566863 w 1596224"/>
                  <a:gd name="connsiteY148" fmla="*/ 987127 h 2249189"/>
                  <a:gd name="connsiteX149" fmla="*/ 1590675 w 1596224"/>
                  <a:gd name="connsiteY149" fmla="*/ 868064 h 2249189"/>
                  <a:gd name="connsiteX150" fmla="*/ 1590675 w 1596224"/>
                  <a:gd name="connsiteY150" fmla="*/ 596602 h 2249189"/>
                  <a:gd name="connsiteX151" fmla="*/ 1581150 w 1596224"/>
                  <a:gd name="connsiteY151" fmla="*/ 525164 h 2249189"/>
                  <a:gd name="connsiteX152" fmla="*/ 1576388 w 1596224"/>
                  <a:gd name="connsiteY152" fmla="*/ 510877 h 2249189"/>
                  <a:gd name="connsiteX153" fmla="*/ 1408113 w 1596224"/>
                  <a:gd name="connsiteY153" fmla="*/ 1289 h 22491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</a:cxnLst>
                <a:rect l="l" t="t" r="r" b="b"/>
                <a:pathLst>
                  <a:path w="1596224" h="2249189">
                    <a:moveTo>
                      <a:pt x="1408113" y="1289"/>
                    </a:moveTo>
                    <a:cubicBezTo>
                      <a:pt x="1401763" y="-5855"/>
                      <a:pt x="1387211" y="18752"/>
                      <a:pt x="1381125" y="25102"/>
                    </a:cubicBezTo>
                    <a:cubicBezTo>
                      <a:pt x="1375040" y="31452"/>
                      <a:pt x="1375647" y="35342"/>
                      <a:pt x="1371600" y="39389"/>
                    </a:cubicBezTo>
                    <a:cubicBezTo>
                      <a:pt x="1364412" y="46577"/>
                      <a:pt x="1355920" y="52340"/>
                      <a:pt x="1347788" y="58439"/>
                    </a:cubicBezTo>
                    <a:cubicBezTo>
                      <a:pt x="1343209" y="61873"/>
                      <a:pt x="1338930" y="66154"/>
                      <a:pt x="1333500" y="67964"/>
                    </a:cubicBezTo>
                    <a:cubicBezTo>
                      <a:pt x="1324339" y="71018"/>
                      <a:pt x="1314450" y="71139"/>
                      <a:pt x="1304925" y="72727"/>
                    </a:cubicBezTo>
                    <a:cubicBezTo>
                      <a:pt x="1296988" y="75902"/>
                      <a:pt x="1289632" y="81542"/>
                      <a:pt x="1281113" y="82252"/>
                    </a:cubicBezTo>
                    <a:cubicBezTo>
                      <a:pt x="1262420" y="83810"/>
                      <a:pt x="1206100" y="66123"/>
                      <a:pt x="1195388" y="63202"/>
                    </a:cubicBezTo>
                    <a:cubicBezTo>
                      <a:pt x="1155700" y="64789"/>
                      <a:pt x="1115005" y="58939"/>
                      <a:pt x="1076325" y="67964"/>
                    </a:cubicBezTo>
                    <a:cubicBezTo>
                      <a:pt x="1064251" y="70781"/>
                      <a:pt x="1059805" y="86512"/>
                      <a:pt x="1052513" y="96539"/>
                    </a:cubicBezTo>
                    <a:cubicBezTo>
                      <a:pt x="1047068" y="104025"/>
                      <a:pt x="1043360" y="112650"/>
                      <a:pt x="1038225" y="120352"/>
                    </a:cubicBezTo>
                    <a:cubicBezTo>
                      <a:pt x="1033822" y="126956"/>
                      <a:pt x="1028700" y="133052"/>
                      <a:pt x="1023938" y="139402"/>
                    </a:cubicBezTo>
                    <a:cubicBezTo>
                      <a:pt x="1022350" y="144164"/>
                      <a:pt x="1022725" y="150139"/>
                      <a:pt x="1019175" y="153689"/>
                    </a:cubicBezTo>
                    <a:cubicBezTo>
                      <a:pt x="1007332" y="165532"/>
                      <a:pt x="991574" y="152864"/>
                      <a:pt x="981075" y="148927"/>
                    </a:cubicBezTo>
                    <a:cubicBezTo>
                      <a:pt x="976375" y="147164"/>
                      <a:pt x="971550" y="145752"/>
                      <a:pt x="966788" y="144164"/>
                    </a:cubicBezTo>
                    <a:cubicBezTo>
                      <a:pt x="913596" y="166961"/>
                      <a:pt x="949610" y="146641"/>
                      <a:pt x="919163" y="172739"/>
                    </a:cubicBezTo>
                    <a:cubicBezTo>
                      <a:pt x="913136" y="177905"/>
                      <a:pt x="905386" y="181094"/>
                      <a:pt x="900113" y="187027"/>
                    </a:cubicBezTo>
                    <a:cubicBezTo>
                      <a:pt x="892508" y="195583"/>
                      <a:pt x="884684" y="204742"/>
                      <a:pt x="881063" y="215602"/>
                    </a:cubicBezTo>
                    <a:cubicBezTo>
                      <a:pt x="879475" y="220364"/>
                      <a:pt x="879218" y="225804"/>
                      <a:pt x="876300" y="229889"/>
                    </a:cubicBezTo>
                    <a:cubicBezTo>
                      <a:pt x="871080" y="237196"/>
                      <a:pt x="863216" y="242227"/>
                      <a:pt x="857250" y="248939"/>
                    </a:cubicBezTo>
                    <a:cubicBezTo>
                      <a:pt x="809245" y="302945"/>
                      <a:pt x="871879" y="241227"/>
                      <a:pt x="809625" y="296564"/>
                    </a:cubicBezTo>
                    <a:cubicBezTo>
                      <a:pt x="804591" y="301039"/>
                      <a:pt x="800942" y="307116"/>
                      <a:pt x="795338" y="310852"/>
                    </a:cubicBezTo>
                    <a:cubicBezTo>
                      <a:pt x="781739" y="319918"/>
                      <a:pt x="766490" y="326255"/>
                      <a:pt x="752475" y="334664"/>
                    </a:cubicBezTo>
                    <a:cubicBezTo>
                      <a:pt x="726345" y="350342"/>
                      <a:pt x="716453" y="362546"/>
                      <a:pt x="685800" y="372764"/>
                    </a:cubicBezTo>
                    <a:lnTo>
                      <a:pt x="628650" y="391814"/>
                    </a:lnTo>
                    <a:cubicBezTo>
                      <a:pt x="625475" y="398164"/>
                      <a:pt x="619909" y="403808"/>
                      <a:pt x="619125" y="410864"/>
                    </a:cubicBezTo>
                    <a:cubicBezTo>
                      <a:pt x="618231" y="418909"/>
                      <a:pt x="621328" y="426998"/>
                      <a:pt x="623888" y="434677"/>
                    </a:cubicBezTo>
                    <a:cubicBezTo>
                      <a:pt x="629073" y="450232"/>
                      <a:pt x="635367" y="457737"/>
                      <a:pt x="647700" y="468014"/>
                    </a:cubicBezTo>
                    <a:cubicBezTo>
                      <a:pt x="652097" y="471678"/>
                      <a:pt x="657225" y="474364"/>
                      <a:pt x="661988" y="477539"/>
                    </a:cubicBezTo>
                    <a:cubicBezTo>
                      <a:pt x="673100" y="475952"/>
                      <a:pt x="684177" y="474089"/>
                      <a:pt x="695325" y="472777"/>
                    </a:cubicBezTo>
                    <a:cubicBezTo>
                      <a:pt x="711170" y="470913"/>
                      <a:pt x="727610" y="472397"/>
                      <a:pt x="742950" y="468014"/>
                    </a:cubicBezTo>
                    <a:cubicBezTo>
                      <a:pt x="750582" y="465833"/>
                      <a:pt x="755650" y="458489"/>
                      <a:pt x="762000" y="453727"/>
                    </a:cubicBezTo>
                    <a:cubicBezTo>
                      <a:pt x="763588" y="448964"/>
                      <a:pt x="763213" y="442989"/>
                      <a:pt x="766763" y="439439"/>
                    </a:cubicBezTo>
                    <a:cubicBezTo>
                      <a:pt x="770313" y="435889"/>
                      <a:pt x="776150" y="433588"/>
                      <a:pt x="781050" y="434677"/>
                    </a:cubicBezTo>
                    <a:cubicBezTo>
                      <a:pt x="801707" y="439268"/>
                      <a:pt x="834076" y="467612"/>
                      <a:pt x="847725" y="477539"/>
                    </a:cubicBezTo>
                    <a:cubicBezTo>
                      <a:pt x="852354" y="480906"/>
                      <a:pt x="856530" y="485419"/>
                      <a:pt x="862013" y="487064"/>
                    </a:cubicBezTo>
                    <a:cubicBezTo>
                      <a:pt x="866715" y="488475"/>
                      <a:pt x="931307" y="496321"/>
                      <a:pt x="933450" y="496589"/>
                    </a:cubicBezTo>
                    <a:cubicBezTo>
                      <a:pt x="944563" y="495002"/>
                      <a:pt x="956036" y="495053"/>
                      <a:pt x="966788" y="491827"/>
                    </a:cubicBezTo>
                    <a:cubicBezTo>
                      <a:pt x="972270" y="490182"/>
                      <a:pt x="975956" y="484862"/>
                      <a:pt x="981075" y="482302"/>
                    </a:cubicBezTo>
                    <a:cubicBezTo>
                      <a:pt x="988722" y="478479"/>
                      <a:pt x="996950" y="475952"/>
                      <a:pt x="1004888" y="472777"/>
                    </a:cubicBezTo>
                    <a:cubicBezTo>
                      <a:pt x="1030288" y="477539"/>
                      <a:pt x="1056696" y="478527"/>
                      <a:pt x="1081088" y="487064"/>
                    </a:cubicBezTo>
                    <a:cubicBezTo>
                      <a:pt x="1089564" y="490031"/>
                      <a:pt x="1094172" y="499402"/>
                      <a:pt x="1100138" y="506114"/>
                    </a:cubicBezTo>
                    <a:cubicBezTo>
                      <a:pt x="1106891" y="513712"/>
                      <a:pt x="1113958" y="521211"/>
                      <a:pt x="1119188" y="529927"/>
                    </a:cubicBezTo>
                    <a:cubicBezTo>
                      <a:pt x="1130660" y="549048"/>
                      <a:pt x="1125961" y="551121"/>
                      <a:pt x="1133475" y="568027"/>
                    </a:cubicBezTo>
                    <a:cubicBezTo>
                      <a:pt x="1137800" y="577759"/>
                      <a:pt x="1143438" y="586871"/>
                      <a:pt x="1147763" y="596602"/>
                    </a:cubicBezTo>
                    <a:cubicBezTo>
                      <a:pt x="1160910" y="626182"/>
                      <a:pt x="1142244" y="595467"/>
                      <a:pt x="1162050" y="625177"/>
                    </a:cubicBezTo>
                    <a:cubicBezTo>
                      <a:pt x="1163638" y="633114"/>
                      <a:pt x="1163807" y="641473"/>
                      <a:pt x="1166813" y="648989"/>
                    </a:cubicBezTo>
                    <a:cubicBezTo>
                      <a:pt x="1175560" y="670858"/>
                      <a:pt x="1213618" y="701444"/>
                      <a:pt x="1176338" y="729952"/>
                    </a:cubicBezTo>
                    <a:cubicBezTo>
                      <a:pt x="1156122" y="745411"/>
                      <a:pt x="1125538" y="733127"/>
                      <a:pt x="1100138" y="734714"/>
                    </a:cubicBezTo>
                    <a:cubicBezTo>
                      <a:pt x="1095375" y="731539"/>
                      <a:pt x="1090247" y="728853"/>
                      <a:pt x="1085850" y="725189"/>
                    </a:cubicBezTo>
                    <a:cubicBezTo>
                      <a:pt x="1072965" y="714452"/>
                      <a:pt x="1062805" y="699955"/>
                      <a:pt x="1052513" y="687089"/>
                    </a:cubicBezTo>
                    <a:cubicBezTo>
                      <a:pt x="1023938" y="688677"/>
                      <a:pt x="995395" y="692669"/>
                      <a:pt x="966788" y="691852"/>
                    </a:cubicBezTo>
                    <a:cubicBezTo>
                      <a:pt x="914505" y="690358"/>
                      <a:pt x="903713" y="686799"/>
                      <a:pt x="866775" y="677564"/>
                    </a:cubicBezTo>
                    <a:cubicBezTo>
                      <a:pt x="833438" y="679152"/>
                      <a:pt x="800009" y="679393"/>
                      <a:pt x="766763" y="682327"/>
                    </a:cubicBezTo>
                    <a:cubicBezTo>
                      <a:pt x="745963" y="684162"/>
                      <a:pt x="725539" y="689031"/>
                      <a:pt x="704850" y="691852"/>
                    </a:cubicBezTo>
                    <a:cubicBezTo>
                      <a:pt x="690607" y="693794"/>
                      <a:pt x="676275" y="695027"/>
                      <a:pt x="661988" y="696614"/>
                    </a:cubicBezTo>
                    <a:cubicBezTo>
                      <a:pt x="647842" y="691899"/>
                      <a:pt x="630445" y="688884"/>
                      <a:pt x="619125" y="677564"/>
                    </a:cubicBezTo>
                    <a:cubicBezTo>
                      <a:pt x="588212" y="646651"/>
                      <a:pt x="622998" y="667594"/>
                      <a:pt x="585788" y="648989"/>
                    </a:cubicBezTo>
                    <a:cubicBezTo>
                      <a:pt x="550863" y="656927"/>
                      <a:pt x="515353" y="662627"/>
                      <a:pt x="481013" y="672802"/>
                    </a:cubicBezTo>
                    <a:cubicBezTo>
                      <a:pt x="459267" y="679245"/>
                      <a:pt x="458039" y="688772"/>
                      <a:pt x="442913" y="701377"/>
                    </a:cubicBezTo>
                    <a:cubicBezTo>
                      <a:pt x="438516" y="705041"/>
                      <a:pt x="432971" y="707177"/>
                      <a:pt x="428625" y="710902"/>
                    </a:cubicBezTo>
                    <a:cubicBezTo>
                      <a:pt x="399861" y="735556"/>
                      <a:pt x="421540" y="725964"/>
                      <a:pt x="395288" y="734714"/>
                    </a:cubicBezTo>
                    <a:cubicBezTo>
                      <a:pt x="382330" y="750263"/>
                      <a:pt x="372003" y="764408"/>
                      <a:pt x="357188" y="777577"/>
                    </a:cubicBezTo>
                    <a:cubicBezTo>
                      <a:pt x="347921" y="785814"/>
                      <a:pt x="337829" y="793095"/>
                      <a:pt x="328613" y="801389"/>
                    </a:cubicBezTo>
                    <a:cubicBezTo>
                      <a:pt x="321938" y="807396"/>
                      <a:pt x="316747" y="815051"/>
                      <a:pt x="309563" y="820439"/>
                    </a:cubicBezTo>
                    <a:cubicBezTo>
                      <a:pt x="303883" y="824699"/>
                      <a:pt x="296350" y="825923"/>
                      <a:pt x="290513" y="829964"/>
                    </a:cubicBezTo>
                    <a:cubicBezTo>
                      <a:pt x="275631" y="840267"/>
                      <a:pt x="261883" y="852119"/>
                      <a:pt x="247650" y="863302"/>
                    </a:cubicBezTo>
                    <a:cubicBezTo>
                      <a:pt x="239657" y="869582"/>
                      <a:pt x="229477" y="873894"/>
                      <a:pt x="223838" y="882352"/>
                    </a:cubicBezTo>
                    <a:cubicBezTo>
                      <a:pt x="189798" y="933411"/>
                      <a:pt x="242812" y="855915"/>
                      <a:pt x="200025" y="910927"/>
                    </a:cubicBezTo>
                    <a:cubicBezTo>
                      <a:pt x="187854" y="926575"/>
                      <a:pt x="180021" y="943886"/>
                      <a:pt x="166688" y="958552"/>
                    </a:cubicBezTo>
                    <a:cubicBezTo>
                      <a:pt x="156117" y="970180"/>
                      <a:pt x="143059" y="979532"/>
                      <a:pt x="133350" y="991889"/>
                    </a:cubicBezTo>
                    <a:cubicBezTo>
                      <a:pt x="125442" y="1001953"/>
                      <a:pt x="121400" y="1014578"/>
                      <a:pt x="114300" y="1025227"/>
                    </a:cubicBezTo>
                    <a:cubicBezTo>
                      <a:pt x="105494" y="1038436"/>
                      <a:pt x="95888" y="1051131"/>
                      <a:pt x="85725" y="1063327"/>
                    </a:cubicBezTo>
                    <a:cubicBezTo>
                      <a:pt x="79976" y="1070226"/>
                      <a:pt x="72063" y="1075193"/>
                      <a:pt x="66675" y="1082377"/>
                    </a:cubicBezTo>
                    <a:cubicBezTo>
                      <a:pt x="62415" y="1088057"/>
                      <a:pt x="60672" y="1095263"/>
                      <a:pt x="57150" y="1101427"/>
                    </a:cubicBezTo>
                    <a:cubicBezTo>
                      <a:pt x="42033" y="1127881"/>
                      <a:pt x="51309" y="1103585"/>
                      <a:pt x="33338" y="1139527"/>
                    </a:cubicBezTo>
                    <a:cubicBezTo>
                      <a:pt x="29515" y="1147173"/>
                      <a:pt x="27285" y="1155527"/>
                      <a:pt x="23813" y="1163339"/>
                    </a:cubicBezTo>
                    <a:cubicBezTo>
                      <a:pt x="20930" y="1169827"/>
                      <a:pt x="17463" y="1176039"/>
                      <a:pt x="14288" y="1182389"/>
                    </a:cubicBezTo>
                    <a:cubicBezTo>
                      <a:pt x="12700" y="1193502"/>
                      <a:pt x="11370" y="1204654"/>
                      <a:pt x="9525" y="1215727"/>
                    </a:cubicBezTo>
                    <a:cubicBezTo>
                      <a:pt x="6500" y="1233875"/>
                      <a:pt x="4284" y="1241456"/>
                      <a:pt x="0" y="1258589"/>
                    </a:cubicBezTo>
                    <a:cubicBezTo>
                      <a:pt x="1588" y="1279227"/>
                      <a:pt x="1166" y="1300118"/>
                      <a:pt x="4763" y="1320502"/>
                    </a:cubicBezTo>
                    <a:cubicBezTo>
                      <a:pt x="7023" y="1333306"/>
                      <a:pt x="26764" y="1355968"/>
                      <a:pt x="33338" y="1363364"/>
                    </a:cubicBezTo>
                    <a:cubicBezTo>
                      <a:pt x="49152" y="1381155"/>
                      <a:pt x="78346" y="1407377"/>
                      <a:pt x="100013" y="1410989"/>
                    </a:cubicBezTo>
                    <a:cubicBezTo>
                      <a:pt x="138492" y="1417403"/>
                      <a:pt x="119427" y="1412698"/>
                      <a:pt x="157163" y="1425277"/>
                    </a:cubicBezTo>
                    <a:cubicBezTo>
                      <a:pt x="217488" y="1423689"/>
                      <a:pt x="277857" y="1423318"/>
                      <a:pt x="338138" y="1420514"/>
                    </a:cubicBezTo>
                    <a:cubicBezTo>
                      <a:pt x="346224" y="1420138"/>
                      <a:pt x="353860" y="1415473"/>
                      <a:pt x="361950" y="1415752"/>
                    </a:cubicBezTo>
                    <a:cubicBezTo>
                      <a:pt x="400159" y="1417070"/>
                      <a:pt x="438150" y="1422102"/>
                      <a:pt x="476250" y="1425277"/>
                    </a:cubicBezTo>
                    <a:cubicBezTo>
                      <a:pt x="482600" y="1428452"/>
                      <a:pt x="490280" y="1429782"/>
                      <a:pt x="495300" y="1434802"/>
                    </a:cubicBezTo>
                    <a:cubicBezTo>
                      <a:pt x="512986" y="1452488"/>
                      <a:pt x="510227" y="1469736"/>
                      <a:pt x="519113" y="1491952"/>
                    </a:cubicBezTo>
                    <a:cubicBezTo>
                      <a:pt x="521239" y="1497266"/>
                      <a:pt x="525463" y="1501477"/>
                      <a:pt x="528638" y="1506239"/>
                    </a:cubicBezTo>
                    <a:cubicBezTo>
                      <a:pt x="534525" y="1553339"/>
                      <a:pt x="537736" y="1550809"/>
                      <a:pt x="523875" y="1606252"/>
                    </a:cubicBezTo>
                    <a:cubicBezTo>
                      <a:pt x="522487" y="1611805"/>
                      <a:pt x="517525" y="1615777"/>
                      <a:pt x="514350" y="1620539"/>
                    </a:cubicBezTo>
                    <a:cubicBezTo>
                      <a:pt x="512615" y="1625746"/>
                      <a:pt x="504161" y="1649893"/>
                      <a:pt x="504825" y="1653877"/>
                    </a:cubicBezTo>
                    <a:cubicBezTo>
                      <a:pt x="507044" y="1667190"/>
                      <a:pt x="522589" y="1703177"/>
                      <a:pt x="533400" y="1715789"/>
                    </a:cubicBezTo>
                    <a:cubicBezTo>
                      <a:pt x="537125" y="1720135"/>
                      <a:pt x="542925" y="1722139"/>
                      <a:pt x="547688" y="1725314"/>
                    </a:cubicBezTo>
                    <a:cubicBezTo>
                      <a:pt x="558426" y="1757532"/>
                      <a:pt x="544245" y="1718429"/>
                      <a:pt x="566738" y="1763414"/>
                    </a:cubicBezTo>
                    <a:cubicBezTo>
                      <a:pt x="575705" y="1781348"/>
                      <a:pt x="576478" y="1788087"/>
                      <a:pt x="581025" y="1806277"/>
                    </a:cubicBezTo>
                    <a:cubicBezTo>
                      <a:pt x="576653" y="1819393"/>
                      <a:pt x="571466" y="1844994"/>
                      <a:pt x="557213" y="1853902"/>
                    </a:cubicBezTo>
                    <a:cubicBezTo>
                      <a:pt x="550349" y="1858192"/>
                      <a:pt x="541338" y="1857077"/>
                      <a:pt x="533400" y="1858664"/>
                    </a:cubicBezTo>
                    <a:cubicBezTo>
                      <a:pt x="508821" y="1875051"/>
                      <a:pt x="527943" y="1864112"/>
                      <a:pt x="490538" y="1877714"/>
                    </a:cubicBezTo>
                    <a:cubicBezTo>
                      <a:pt x="427843" y="1900512"/>
                      <a:pt x="494930" y="1877836"/>
                      <a:pt x="452438" y="1892002"/>
                    </a:cubicBezTo>
                    <a:cubicBezTo>
                      <a:pt x="450850" y="1903114"/>
                      <a:pt x="450901" y="1914587"/>
                      <a:pt x="447675" y="1925339"/>
                    </a:cubicBezTo>
                    <a:cubicBezTo>
                      <a:pt x="446030" y="1930822"/>
                      <a:pt x="440990" y="1934657"/>
                      <a:pt x="438150" y="1939627"/>
                    </a:cubicBezTo>
                    <a:cubicBezTo>
                      <a:pt x="434628" y="1945791"/>
                      <a:pt x="432388" y="1952657"/>
                      <a:pt x="428625" y="1958677"/>
                    </a:cubicBezTo>
                    <a:cubicBezTo>
                      <a:pt x="424418" y="1965408"/>
                      <a:pt x="418952" y="1971268"/>
                      <a:pt x="414338" y="1977727"/>
                    </a:cubicBezTo>
                    <a:cubicBezTo>
                      <a:pt x="411011" y="1982385"/>
                      <a:pt x="408538" y="1987668"/>
                      <a:pt x="404813" y="1992014"/>
                    </a:cubicBezTo>
                    <a:cubicBezTo>
                      <a:pt x="398969" y="1998832"/>
                      <a:pt x="391564" y="2004209"/>
                      <a:pt x="385763" y="2011064"/>
                    </a:cubicBezTo>
                    <a:cubicBezTo>
                      <a:pt x="374071" y="2024882"/>
                      <a:pt x="365224" y="2041128"/>
                      <a:pt x="352425" y="2053927"/>
                    </a:cubicBezTo>
                    <a:cubicBezTo>
                      <a:pt x="332428" y="2073924"/>
                      <a:pt x="336822" y="2068668"/>
                      <a:pt x="314325" y="2096789"/>
                    </a:cubicBezTo>
                    <a:cubicBezTo>
                      <a:pt x="309367" y="2102987"/>
                      <a:pt x="306011" y="2110612"/>
                      <a:pt x="300038" y="2115839"/>
                    </a:cubicBezTo>
                    <a:cubicBezTo>
                      <a:pt x="293072" y="2121935"/>
                      <a:pt x="283630" y="2124573"/>
                      <a:pt x="276225" y="2130127"/>
                    </a:cubicBezTo>
                    <a:cubicBezTo>
                      <a:pt x="270837" y="2134168"/>
                      <a:pt x="266700" y="2139652"/>
                      <a:pt x="261938" y="2144414"/>
                    </a:cubicBezTo>
                    <a:cubicBezTo>
                      <a:pt x="258763" y="2152352"/>
                      <a:pt x="255117" y="2160117"/>
                      <a:pt x="252413" y="2168227"/>
                    </a:cubicBezTo>
                    <a:cubicBezTo>
                      <a:pt x="244933" y="2190666"/>
                      <a:pt x="244189" y="2210229"/>
                      <a:pt x="252413" y="2234902"/>
                    </a:cubicBezTo>
                    <a:cubicBezTo>
                      <a:pt x="254721" y="2241827"/>
                      <a:pt x="275440" y="2247340"/>
                      <a:pt x="280988" y="2249189"/>
                    </a:cubicBezTo>
                    <a:cubicBezTo>
                      <a:pt x="320675" y="2247602"/>
                      <a:pt x="360679" y="2249676"/>
                      <a:pt x="400050" y="2244427"/>
                    </a:cubicBezTo>
                    <a:cubicBezTo>
                      <a:pt x="409226" y="2243204"/>
                      <a:pt x="416161" y="2235274"/>
                      <a:pt x="423863" y="2230139"/>
                    </a:cubicBezTo>
                    <a:cubicBezTo>
                      <a:pt x="484286" y="2189858"/>
                      <a:pt x="385376" y="2251863"/>
                      <a:pt x="471488" y="2187277"/>
                    </a:cubicBezTo>
                    <a:cubicBezTo>
                      <a:pt x="554680" y="2124881"/>
                      <a:pt x="431148" y="2215758"/>
                      <a:pt x="509588" y="2163464"/>
                    </a:cubicBezTo>
                    <a:cubicBezTo>
                      <a:pt x="518046" y="2157826"/>
                      <a:pt x="524684" y="2149644"/>
                      <a:pt x="533400" y="2144414"/>
                    </a:cubicBezTo>
                    <a:cubicBezTo>
                      <a:pt x="548619" y="2135282"/>
                      <a:pt x="565806" y="2129734"/>
                      <a:pt x="581025" y="2120602"/>
                    </a:cubicBezTo>
                    <a:cubicBezTo>
                      <a:pt x="588963" y="2115839"/>
                      <a:pt x="596988" y="2111220"/>
                      <a:pt x="604838" y="2106314"/>
                    </a:cubicBezTo>
                    <a:cubicBezTo>
                      <a:pt x="619956" y="2096865"/>
                      <a:pt x="625329" y="2091306"/>
                      <a:pt x="642938" y="2082502"/>
                    </a:cubicBezTo>
                    <a:cubicBezTo>
                      <a:pt x="650584" y="2078679"/>
                      <a:pt x="658938" y="2076449"/>
                      <a:pt x="666750" y="2072977"/>
                    </a:cubicBezTo>
                    <a:cubicBezTo>
                      <a:pt x="673238" y="2070094"/>
                      <a:pt x="679174" y="2066001"/>
                      <a:pt x="685800" y="2063452"/>
                    </a:cubicBezTo>
                    <a:cubicBezTo>
                      <a:pt x="699857" y="2058046"/>
                      <a:pt x="728663" y="2049164"/>
                      <a:pt x="728663" y="2049164"/>
                    </a:cubicBezTo>
                    <a:cubicBezTo>
                      <a:pt x="735013" y="2044402"/>
                      <a:pt x="741254" y="2039491"/>
                      <a:pt x="747713" y="2034877"/>
                    </a:cubicBezTo>
                    <a:cubicBezTo>
                      <a:pt x="752371" y="2031550"/>
                      <a:pt x="757603" y="2029016"/>
                      <a:pt x="762000" y="2025352"/>
                    </a:cubicBezTo>
                    <a:cubicBezTo>
                      <a:pt x="767174" y="2021040"/>
                      <a:pt x="770684" y="2014800"/>
                      <a:pt x="776288" y="2011064"/>
                    </a:cubicBezTo>
                    <a:cubicBezTo>
                      <a:pt x="780465" y="2008279"/>
                      <a:pt x="785705" y="2007519"/>
                      <a:pt x="790575" y="2006302"/>
                    </a:cubicBezTo>
                    <a:cubicBezTo>
                      <a:pt x="804774" y="2002752"/>
                      <a:pt x="819239" y="2000327"/>
                      <a:pt x="833438" y="1996777"/>
                    </a:cubicBezTo>
                    <a:cubicBezTo>
                      <a:pt x="855277" y="1991317"/>
                      <a:pt x="855069" y="1985961"/>
                      <a:pt x="881063" y="1972964"/>
                    </a:cubicBezTo>
                    <a:cubicBezTo>
                      <a:pt x="888709" y="1969141"/>
                      <a:pt x="896938" y="1966614"/>
                      <a:pt x="904875" y="1963439"/>
                    </a:cubicBezTo>
                    <a:cubicBezTo>
                      <a:pt x="946308" y="1922007"/>
                      <a:pt x="925137" y="1938819"/>
                      <a:pt x="966788" y="1911052"/>
                    </a:cubicBezTo>
                    <a:cubicBezTo>
                      <a:pt x="971550" y="1903114"/>
                      <a:pt x="975521" y="1894644"/>
                      <a:pt x="981075" y="1887239"/>
                    </a:cubicBezTo>
                    <a:cubicBezTo>
                      <a:pt x="985116" y="1881851"/>
                      <a:pt x="991627" y="1878556"/>
                      <a:pt x="995363" y="1872952"/>
                    </a:cubicBezTo>
                    <a:cubicBezTo>
                      <a:pt x="998148" y="1868775"/>
                      <a:pt x="997340" y="1862841"/>
                      <a:pt x="1000125" y="1858664"/>
                    </a:cubicBezTo>
                    <a:cubicBezTo>
                      <a:pt x="1009778" y="1844185"/>
                      <a:pt x="1018567" y="1842300"/>
                      <a:pt x="1033463" y="1834852"/>
                    </a:cubicBezTo>
                    <a:cubicBezTo>
                      <a:pt x="1064084" y="1804229"/>
                      <a:pt x="1030722" y="1833840"/>
                      <a:pt x="1095375" y="1801514"/>
                    </a:cubicBezTo>
                    <a:cubicBezTo>
                      <a:pt x="1101725" y="1798339"/>
                      <a:pt x="1096169" y="1793841"/>
                      <a:pt x="1114425" y="1791989"/>
                    </a:cubicBezTo>
                    <a:cubicBezTo>
                      <a:pt x="1132681" y="1790137"/>
                      <a:pt x="1171575" y="1791989"/>
                      <a:pt x="1204913" y="1790402"/>
                    </a:cubicBezTo>
                    <a:cubicBezTo>
                      <a:pt x="1245742" y="1729159"/>
                      <a:pt x="1229519" y="1763943"/>
                      <a:pt x="1254125" y="1731664"/>
                    </a:cubicBezTo>
                    <a:cubicBezTo>
                      <a:pt x="1278731" y="1699385"/>
                      <a:pt x="1322652" y="1646204"/>
                      <a:pt x="1352550" y="1596727"/>
                    </a:cubicBezTo>
                    <a:cubicBezTo>
                      <a:pt x="1382448" y="1547250"/>
                      <a:pt x="1415257" y="1472902"/>
                      <a:pt x="1433513" y="1434802"/>
                    </a:cubicBezTo>
                    <a:cubicBezTo>
                      <a:pt x="1453357" y="1391146"/>
                      <a:pt x="1462088" y="1360189"/>
                      <a:pt x="1471613" y="1334789"/>
                    </a:cubicBezTo>
                    <a:cubicBezTo>
                      <a:pt x="1481138" y="1309389"/>
                      <a:pt x="1485107" y="1300658"/>
                      <a:pt x="1490663" y="1282402"/>
                    </a:cubicBezTo>
                    <a:cubicBezTo>
                      <a:pt x="1497807" y="1261765"/>
                      <a:pt x="1508125" y="1233189"/>
                      <a:pt x="1514475" y="1210964"/>
                    </a:cubicBezTo>
                    <a:cubicBezTo>
                      <a:pt x="1525533" y="1133568"/>
                      <a:pt x="1520032" y="1186358"/>
                      <a:pt x="1528763" y="1149052"/>
                    </a:cubicBezTo>
                    <a:cubicBezTo>
                      <a:pt x="1537494" y="1111746"/>
                      <a:pt x="1556544" y="1033958"/>
                      <a:pt x="1566863" y="987127"/>
                    </a:cubicBezTo>
                    <a:cubicBezTo>
                      <a:pt x="1577182" y="940296"/>
                      <a:pt x="1586706" y="933151"/>
                      <a:pt x="1590675" y="868064"/>
                    </a:cubicBezTo>
                    <a:cubicBezTo>
                      <a:pt x="1591272" y="781636"/>
                      <a:pt x="1602858" y="815898"/>
                      <a:pt x="1590675" y="596602"/>
                    </a:cubicBezTo>
                    <a:cubicBezTo>
                      <a:pt x="1589399" y="573637"/>
                      <a:pt x="1586865" y="548023"/>
                      <a:pt x="1581150" y="525164"/>
                    </a:cubicBezTo>
                    <a:cubicBezTo>
                      <a:pt x="1579932" y="520294"/>
                      <a:pt x="1582456" y="602628"/>
                      <a:pt x="1576388" y="510877"/>
                    </a:cubicBezTo>
                    <a:cubicBezTo>
                      <a:pt x="1569774" y="410865"/>
                      <a:pt x="1468438" y="171152"/>
                      <a:pt x="1408113" y="1289"/>
                    </a:cubicBezTo>
                    <a:close/>
                  </a:path>
                </a:pathLst>
              </a:custGeom>
              <a:solidFill>
                <a:srgbClr val="E1EBE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a-DK" sz="1400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893228FF-04E9-91FA-3337-FE00D1977884}"/>
                  </a:ext>
                </a:extLst>
              </p:cNvPr>
              <p:cNvSpPr/>
              <p:nvPr/>
            </p:nvSpPr>
            <p:spPr>
              <a:xfrm>
                <a:off x="3663419" y="2034541"/>
                <a:ext cx="3142643" cy="3131365"/>
              </a:xfrm>
              <a:custGeom>
                <a:avLst/>
                <a:gdLst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594477 w 3147279"/>
                  <a:gd name="connsiteY78" fmla="*/ 2948940 h 3147060"/>
                  <a:gd name="connsiteX79" fmla="*/ 525897 w 3147279"/>
                  <a:gd name="connsiteY79" fmla="*/ 2895600 h 3147060"/>
                  <a:gd name="connsiteX80" fmla="*/ 480177 w 3147279"/>
                  <a:gd name="connsiteY80" fmla="*/ 2819400 h 3147060"/>
                  <a:gd name="connsiteX81" fmla="*/ 449697 w 3147279"/>
                  <a:gd name="connsiteY81" fmla="*/ 2781300 h 3147060"/>
                  <a:gd name="connsiteX82" fmla="*/ 419217 w 3147279"/>
                  <a:gd name="connsiteY82" fmla="*/ 2735580 h 3147060"/>
                  <a:gd name="connsiteX83" fmla="*/ 403977 w 3147279"/>
                  <a:gd name="connsiteY83" fmla="*/ 2712720 h 3147060"/>
                  <a:gd name="connsiteX84" fmla="*/ 365877 w 3147279"/>
                  <a:gd name="connsiteY84" fmla="*/ 2613660 h 3147060"/>
                  <a:gd name="connsiteX85" fmla="*/ 343017 w 3147279"/>
                  <a:gd name="connsiteY85" fmla="*/ 2567940 h 3147060"/>
                  <a:gd name="connsiteX86" fmla="*/ 320157 w 3147279"/>
                  <a:gd name="connsiteY86" fmla="*/ 2484120 h 3147060"/>
                  <a:gd name="connsiteX87" fmla="*/ 297297 w 3147279"/>
                  <a:gd name="connsiteY87" fmla="*/ 2430780 h 3147060"/>
                  <a:gd name="connsiteX88" fmla="*/ 274437 w 3147279"/>
                  <a:gd name="connsiteY88" fmla="*/ 2377440 h 3147060"/>
                  <a:gd name="connsiteX89" fmla="*/ 228717 w 3147279"/>
                  <a:gd name="connsiteY89" fmla="*/ 2316480 h 3147060"/>
                  <a:gd name="connsiteX90" fmla="*/ 205857 w 3147279"/>
                  <a:gd name="connsiteY90" fmla="*/ 2293620 h 3147060"/>
                  <a:gd name="connsiteX91" fmla="*/ 175377 w 3147279"/>
                  <a:gd name="connsiteY91" fmla="*/ 2240280 h 3147060"/>
                  <a:gd name="connsiteX92" fmla="*/ 160137 w 3147279"/>
                  <a:gd name="connsiteY92" fmla="*/ 2202180 h 3147060"/>
                  <a:gd name="connsiteX93" fmla="*/ 144897 w 3147279"/>
                  <a:gd name="connsiteY93" fmla="*/ 2179320 h 3147060"/>
                  <a:gd name="connsiteX94" fmla="*/ 129657 w 3147279"/>
                  <a:gd name="connsiteY94" fmla="*/ 2133600 h 3147060"/>
                  <a:gd name="connsiteX95" fmla="*/ 99177 w 3147279"/>
                  <a:gd name="connsiteY95" fmla="*/ 2087880 h 3147060"/>
                  <a:gd name="connsiteX96" fmla="*/ 61077 w 3147279"/>
                  <a:gd name="connsiteY96" fmla="*/ 2026920 h 3147060"/>
                  <a:gd name="connsiteX97" fmla="*/ 53457 w 3147279"/>
                  <a:gd name="connsiteY97" fmla="*/ 2004060 h 3147060"/>
                  <a:gd name="connsiteX98" fmla="*/ 38217 w 3147279"/>
                  <a:gd name="connsiteY98" fmla="*/ 1943100 h 3147060"/>
                  <a:gd name="connsiteX99" fmla="*/ 22977 w 3147279"/>
                  <a:gd name="connsiteY99" fmla="*/ 1897380 h 3147060"/>
                  <a:gd name="connsiteX100" fmla="*/ 117 w 3147279"/>
                  <a:gd name="connsiteY100" fmla="*/ 1562100 h 3147060"/>
                  <a:gd name="connsiteX101" fmla="*/ 22977 w 3147279"/>
                  <a:gd name="connsiteY101" fmla="*/ 1135380 h 3147060"/>
                  <a:gd name="connsiteX102" fmla="*/ 38217 w 3147279"/>
                  <a:gd name="connsiteY102" fmla="*/ 1104900 h 3147060"/>
                  <a:gd name="connsiteX103" fmla="*/ 83937 w 3147279"/>
                  <a:gd name="connsiteY103" fmla="*/ 1021080 h 3147060"/>
                  <a:gd name="connsiteX104" fmla="*/ 129657 w 3147279"/>
                  <a:gd name="connsiteY104" fmla="*/ 914400 h 3147060"/>
                  <a:gd name="connsiteX105" fmla="*/ 160137 w 3147279"/>
                  <a:gd name="connsiteY105" fmla="*/ 861060 h 3147060"/>
                  <a:gd name="connsiteX106" fmla="*/ 182997 w 3147279"/>
                  <a:gd name="connsiteY106" fmla="*/ 822960 h 3147060"/>
                  <a:gd name="connsiteX107" fmla="*/ 205857 w 3147279"/>
                  <a:gd name="connsiteY107" fmla="*/ 800100 h 3147060"/>
                  <a:gd name="connsiteX108" fmla="*/ 259197 w 3147279"/>
                  <a:gd name="connsiteY108" fmla="*/ 708660 h 3147060"/>
                  <a:gd name="connsiteX109" fmla="*/ 274437 w 3147279"/>
                  <a:gd name="connsiteY109" fmla="*/ 662940 h 3147060"/>
                  <a:gd name="connsiteX110" fmla="*/ 327777 w 3147279"/>
                  <a:gd name="connsiteY110" fmla="*/ 586740 h 3147060"/>
                  <a:gd name="connsiteX111" fmla="*/ 419217 w 3147279"/>
                  <a:gd name="connsiteY111" fmla="*/ 510540 h 3147060"/>
                  <a:gd name="connsiteX112" fmla="*/ 449697 w 3147279"/>
                  <a:gd name="connsiteY112" fmla="*/ 472440 h 3147060"/>
                  <a:gd name="connsiteX113" fmla="*/ 510657 w 3147279"/>
                  <a:gd name="connsiteY113" fmla="*/ 434340 h 3147060"/>
                  <a:gd name="connsiteX114" fmla="*/ 563997 w 3147279"/>
                  <a:gd name="connsiteY114" fmla="*/ 396240 h 3147060"/>
                  <a:gd name="connsiteX115" fmla="*/ 655437 w 3147279"/>
                  <a:gd name="connsiteY115" fmla="*/ 335280 h 3147060"/>
                  <a:gd name="connsiteX116" fmla="*/ 731637 w 3147279"/>
                  <a:gd name="connsiteY116" fmla="*/ 297180 h 3147060"/>
                  <a:gd name="connsiteX117" fmla="*/ 815457 w 3147279"/>
                  <a:gd name="connsiteY117" fmla="*/ 236220 h 3147060"/>
                  <a:gd name="connsiteX118" fmla="*/ 830697 w 3147279"/>
                  <a:gd name="connsiteY118" fmla="*/ 213360 h 3147060"/>
                  <a:gd name="connsiteX119" fmla="*/ 861177 w 3147279"/>
                  <a:gd name="connsiteY119" fmla="*/ 205740 h 3147060"/>
                  <a:gd name="connsiteX120" fmla="*/ 952617 w 3147279"/>
                  <a:gd name="connsiteY120" fmla="*/ 152400 h 3147060"/>
                  <a:gd name="connsiteX121" fmla="*/ 983097 w 3147279"/>
                  <a:gd name="connsiteY121" fmla="*/ 129540 h 3147060"/>
                  <a:gd name="connsiteX122" fmla="*/ 1105017 w 3147279"/>
                  <a:gd name="connsiteY122" fmla="*/ 76200 h 3147060"/>
                  <a:gd name="connsiteX123" fmla="*/ 1127877 w 3147279"/>
                  <a:gd name="connsiteY123" fmla="*/ 68580 h 3147060"/>
                  <a:gd name="connsiteX124" fmla="*/ 1188837 w 3147279"/>
                  <a:gd name="connsiteY124" fmla="*/ 53340 h 3147060"/>
                  <a:gd name="connsiteX125" fmla="*/ 1242177 w 3147279"/>
                  <a:gd name="connsiteY125" fmla="*/ 38100 h 3147060"/>
                  <a:gd name="connsiteX126" fmla="*/ 1265037 w 3147279"/>
                  <a:gd name="connsiteY126" fmla="*/ 30480 h 3147060"/>
                  <a:gd name="connsiteX127" fmla="*/ 1386957 w 3147279"/>
                  <a:gd name="connsiteY127" fmla="*/ 15240 h 3147060"/>
                  <a:gd name="connsiteX128" fmla="*/ 1463157 w 3147279"/>
                  <a:gd name="connsiteY128" fmla="*/ 0 h 3147060"/>
                  <a:gd name="connsiteX129" fmla="*/ 1882257 w 3147279"/>
                  <a:gd name="connsiteY129" fmla="*/ 15240 h 3147060"/>
                  <a:gd name="connsiteX130" fmla="*/ 1912737 w 3147279"/>
                  <a:gd name="connsiteY130" fmla="*/ 22860 h 3147060"/>
                  <a:gd name="connsiteX131" fmla="*/ 2164197 w 3147279"/>
                  <a:gd name="connsiteY131" fmla="*/ 99060 h 3147060"/>
                  <a:gd name="connsiteX132" fmla="*/ 2339457 w 3147279"/>
                  <a:gd name="connsiteY132" fmla="*/ 182880 h 3147060"/>
                  <a:gd name="connsiteX133" fmla="*/ 2369937 w 3147279"/>
                  <a:gd name="connsiteY133" fmla="*/ 190500 h 3147060"/>
                  <a:gd name="connsiteX134" fmla="*/ 2392797 w 3147279"/>
                  <a:gd name="connsiteY134" fmla="*/ 205740 h 3147060"/>
                  <a:gd name="connsiteX135" fmla="*/ 2438517 w 3147279"/>
                  <a:gd name="connsiteY135" fmla="*/ 228600 h 3147060"/>
                  <a:gd name="connsiteX136" fmla="*/ 2446137 w 3147279"/>
                  <a:gd name="connsiteY136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525897 w 3147279"/>
                  <a:gd name="connsiteY78" fmla="*/ 2895600 h 3147060"/>
                  <a:gd name="connsiteX79" fmla="*/ 480177 w 3147279"/>
                  <a:gd name="connsiteY79" fmla="*/ 2819400 h 3147060"/>
                  <a:gd name="connsiteX80" fmla="*/ 449697 w 3147279"/>
                  <a:gd name="connsiteY80" fmla="*/ 2781300 h 3147060"/>
                  <a:gd name="connsiteX81" fmla="*/ 419217 w 3147279"/>
                  <a:gd name="connsiteY81" fmla="*/ 2735580 h 3147060"/>
                  <a:gd name="connsiteX82" fmla="*/ 403977 w 3147279"/>
                  <a:gd name="connsiteY82" fmla="*/ 2712720 h 3147060"/>
                  <a:gd name="connsiteX83" fmla="*/ 365877 w 3147279"/>
                  <a:gd name="connsiteY83" fmla="*/ 2613660 h 3147060"/>
                  <a:gd name="connsiteX84" fmla="*/ 343017 w 3147279"/>
                  <a:gd name="connsiteY84" fmla="*/ 2567940 h 3147060"/>
                  <a:gd name="connsiteX85" fmla="*/ 320157 w 3147279"/>
                  <a:gd name="connsiteY85" fmla="*/ 2484120 h 3147060"/>
                  <a:gd name="connsiteX86" fmla="*/ 297297 w 3147279"/>
                  <a:gd name="connsiteY86" fmla="*/ 2430780 h 3147060"/>
                  <a:gd name="connsiteX87" fmla="*/ 274437 w 3147279"/>
                  <a:gd name="connsiteY87" fmla="*/ 2377440 h 3147060"/>
                  <a:gd name="connsiteX88" fmla="*/ 228717 w 3147279"/>
                  <a:gd name="connsiteY88" fmla="*/ 2316480 h 3147060"/>
                  <a:gd name="connsiteX89" fmla="*/ 205857 w 3147279"/>
                  <a:gd name="connsiteY89" fmla="*/ 2293620 h 3147060"/>
                  <a:gd name="connsiteX90" fmla="*/ 175377 w 3147279"/>
                  <a:gd name="connsiteY90" fmla="*/ 2240280 h 3147060"/>
                  <a:gd name="connsiteX91" fmla="*/ 160137 w 3147279"/>
                  <a:gd name="connsiteY91" fmla="*/ 2202180 h 3147060"/>
                  <a:gd name="connsiteX92" fmla="*/ 144897 w 3147279"/>
                  <a:gd name="connsiteY92" fmla="*/ 2179320 h 3147060"/>
                  <a:gd name="connsiteX93" fmla="*/ 129657 w 3147279"/>
                  <a:gd name="connsiteY93" fmla="*/ 2133600 h 3147060"/>
                  <a:gd name="connsiteX94" fmla="*/ 99177 w 3147279"/>
                  <a:gd name="connsiteY94" fmla="*/ 2087880 h 3147060"/>
                  <a:gd name="connsiteX95" fmla="*/ 61077 w 3147279"/>
                  <a:gd name="connsiteY95" fmla="*/ 2026920 h 3147060"/>
                  <a:gd name="connsiteX96" fmla="*/ 53457 w 3147279"/>
                  <a:gd name="connsiteY96" fmla="*/ 2004060 h 3147060"/>
                  <a:gd name="connsiteX97" fmla="*/ 38217 w 3147279"/>
                  <a:gd name="connsiteY97" fmla="*/ 1943100 h 3147060"/>
                  <a:gd name="connsiteX98" fmla="*/ 22977 w 3147279"/>
                  <a:gd name="connsiteY98" fmla="*/ 1897380 h 3147060"/>
                  <a:gd name="connsiteX99" fmla="*/ 117 w 3147279"/>
                  <a:gd name="connsiteY99" fmla="*/ 1562100 h 3147060"/>
                  <a:gd name="connsiteX100" fmla="*/ 22977 w 3147279"/>
                  <a:gd name="connsiteY100" fmla="*/ 1135380 h 3147060"/>
                  <a:gd name="connsiteX101" fmla="*/ 38217 w 3147279"/>
                  <a:gd name="connsiteY101" fmla="*/ 1104900 h 3147060"/>
                  <a:gd name="connsiteX102" fmla="*/ 83937 w 3147279"/>
                  <a:gd name="connsiteY102" fmla="*/ 1021080 h 3147060"/>
                  <a:gd name="connsiteX103" fmla="*/ 129657 w 3147279"/>
                  <a:gd name="connsiteY103" fmla="*/ 914400 h 3147060"/>
                  <a:gd name="connsiteX104" fmla="*/ 160137 w 3147279"/>
                  <a:gd name="connsiteY104" fmla="*/ 861060 h 3147060"/>
                  <a:gd name="connsiteX105" fmla="*/ 182997 w 3147279"/>
                  <a:gd name="connsiteY105" fmla="*/ 822960 h 3147060"/>
                  <a:gd name="connsiteX106" fmla="*/ 205857 w 3147279"/>
                  <a:gd name="connsiteY106" fmla="*/ 800100 h 3147060"/>
                  <a:gd name="connsiteX107" fmla="*/ 259197 w 3147279"/>
                  <a:gd name="connsiteY107" fmla="*/ 708660 h 3147060"/>
                  <a:gd name="connsiteX108" fmla="*/ 274437 w 3147279"/>
                  <a:gd name="connsiteY108" fmla="*/ 662940 h 3147060"/>
                  <a:gd name="connsiteX109" fmla="*/ 327777 w 3147279"/>
                  <a:gd name="connsiteY109" fmla="*/ 586740 h 3147060"/>
                  <a:gd name="connsiteX110" fmla="*/ 419217 w 3147279"/>
                  <a:gd name="connsiteY110" fmla="*/ 510540 h 3147060"/>
                  <a:gd name="connsiteX111" fmla="*/ 449697 w 3147279"/>
                  <a:gd name="connsiteY111" fmla="*/ 472440 h 3147060"/>
                  <a:gd name="connsiteX112" fmla="*/ 510657 w 3147279"/>
                  <a:gd name="connsiteY112" fmla="*/ 434340 h 3147060"/>
                  <a:gd name="connsiteX113" fmla="*/ 563997 w 3147279"/>
                  <a:gd name="connsiteY113" fmla="*/ 396240 h 3147060"/>
                  <a:gd name="connsiteX114" fmla="*/ 655437 w 3147279"/>
                  <a:gd name="connsiteY114" fmla="*/ 335280 h 3147060"/>
                  <a:gd name="connsiteX115" fmla="*/ 731637 w 3147279"/>
                  <a:gd name="connsiteY115" fmla="*/ 297180 h 3147060"/>
                  <a:gd name="connsiteX116" fmla="*/ 815457 w 3147279"/>
                  <a:gd name="connsiteY116" fmla="*/ 236220 h 3147060"/>
                  <a:gd name="connsiteX117" fmla="*/ 830697 w 3147279"/>
                  <a:gd name="connsiteY117" fmla="*/ 213360 h 3147060"/>
                  <a:gd name="connsiteX118" fmla="*/ 861177 w 3147279"/>
                  <a:gd name="connsiteY118" fmla="*/ 205740 h 3147060"/>
                  <a:gd name="connsiteX119" fmla="*/ 952617 w 3147279"/>
                  <a:gd name="connsiteY119" fmla="*/ 152400 h 3147060"/>
                  <a:gd name="connsiteX120" fmla="*/ 983097 w 3147279"/>
                  <a:gd name="connsiteY120" fmla="*/ 129540 h 3147060"/>
                  <a:gd name="connsiteX121" fmla="*/ 1105017 w 3147279"/>
                  <a:gd name="connsiteY121" fmla="*/ 76200 h 3147060"/>
                  <a:gd name="connsiteX122" fmla="*/ 1127877 w 3147279"/>
                  <a:gd name="connsiteY122" fmla="*/ 68580 h 3147060"/>
                  <a:gd name="connsiteX123" fmla="*/ 1188837 w 3147279"/>
                  <a:gd name="connsiteY123" fmla="*/ 53340 h 3147060"/>
                  <a:gd name="connsiteX124" fmla="*/ 1242177 w 3147279"/>
                  <a:gd name="connsiteY124" fmla="*/ 38100 h 3147060"/>
                  <a:gd name="connsiteX125" fmla="*/ 1265037 w 3147279"/>
                  <a:gd name="connsiteY125" fmla="*/ 30480 h 3147060"/>
                  <a:gd name="connsiteX126" fmla="*/ 1386957 w 3147279"/>
                  <a:gd name="connsiteY126" fmla="*/ 15240 h 3147060"/>
                  <a:gd name="connsiteX127" fmla="*/ 1463157 w 3147279"/>
                  <a:gd name="connsiteY127" fmla="*/ 0 h 3147060"/>
                  <a:gd name="connsiteX128" fmla="*/ 1882257 w 3147279"/>
                  <a:gd name="connsiteY128" fmla="*/ 15240 h 3147060"/>
                  <a:gd name="connsiteX129" fmla="*/ 1912737 w 3147279"/>
                  <a:gd name="connsiteY129" fmla="*/ 22860 h 3147060"/>
                  <a:gd name="connsiteX130" fmla="*/ 2164197 w 3147279"/>
                  <a:gd name="connsiteY130" fmla="*/ 99060 h 3147060"/>
                  <a:gd name="connsiteX131" fmla="*/ 2339457 w 3147279"/>
                  <a:gd name="connsiteY131" fmla="*/ 182880 h 3147060"/>
                  <a:gd name="connsiteX132" fmla="*/ 2369937 w 3147279"/>
                  <a:gd name="connsiteY132" fmla="*/ 190500 h 3147060"/>
                  <a:gd name="connsiteX133" fmla="*/ 2392797 w 3147279"/>
                  <a:gd name="connsiteY133" fmla="*/ 205740 h 3147060"/>
                  <a:gd name="connsiteX134" fmla="*/ 2438517 w 3147279"/>
                  <a:gd name="connsiteY134" fmla="*/ 228600 h 3147060"/>
                  <a:gd name="connsiteX135" fmla="*/ 2446137 w 3147279"/>
                  <a:gd name="connsiteY135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480177 w 3147279"/>
                  <a:gd name="connsiteY78" fmla="*/ 2819400 h 3147060"/>
                  <a:gd name="connsiteX79" fmla="*/ 449697 w 3147279"/>
                  <a:gd name="connsiteY79" fmla="*/ 2781300 h 3147060"/>
                  <a:gd name="connsiteX80" fmla="*/ 419217 w 3147279"/>
                  <a:gd name="connsiteY80" fmla="*/ 2735580 h 3147060"/>
                  <a:gd name="connsiteX81" fmla="*/ 403977 w 3147279"/>
                  <a:gd name="connsiteY81" fmla="*/ 2712720 h 3147060"/>
                  <a:gd name="connsiteX82" fmla="*/ 365877 w 3147279"/>
                  <a:gd name="connsiteY82" fmla="*/ 2613660 h 3147060"/>
                  <a:gd name="connsiteX83" fmla="*/ 343017 w 3147279"/>
                  <a:gd name="connsiteY83" fmla="*/ 2567940 h 3147060"/>
                  <a:gd name="connsiteX84" fmla="*/ 320157 w 3147279"/>
                  <a:gd name="connsiteY84" fmla="*/ 2484120 h 3147060"/>
                  <a:gd name="connsiteX85" fmla="*/ 297297 w 3147279"/>
                  <a:gd name="connsiteY85" fmla="*/ 2430780 h 3147060"/>
                  <a:gd name="connsiteX86" fmla="*/ 274437 w 3147279"/>
                  <a:gd name="connsiteY86" fmla="*/ 2377440 h 3147060"/>
                  <a:gd name="connsiteX87" fmla="*/ 228717 w 3147279"/>
                  <a:gd name="connsiteY87" fmla="*/ 2316480 h 3147060"/>
                  <a:gd name="connsiteX88" fmla="*/ 205857 w 3147279"/>
                  <a:gd name="connsiteY88" fmla="*/ 2293620 h 3147060"/>
                  <a:gd name="connsiteX89" fmla="*/ 175377 w 3147279"/>
                  <a:gd name="connsiteY89" fmla="*/ 2240280 h 3147060"/>
                  <a:gd name="connsiteX90" fmla="*/ 160137 w 3147279"/>
                  <a:gd name="connsiteY90" fmla="*/ 2202180 h 3147060"/>
                  <a:gd name="connsiteX91" fmla="*/ 144897 w 3147279"/>
                  <a:gd name="connsiteY91" fmla="*/ 2179320 h 3147060"/>
                  <a:gd name="connsiteX92" fmla="*/ 129657 w 3147279"/>
                  <a:gd name="connsiteY92" fmla="*/ 2133600 h 3147060"/>
                  <a:gd name="connsiteX93" fmla="*/ 99177 w 3147279"/>
                  <a:gd name="connsiteY93" fmla="*/ 2087880 h 3147060"/>
                  <a:gd name="connsiteX94" fmla="*/ 61077 w 3147279"/>
                  <a:gd name="connsiteY94" fmla="*/ 2026920 h 3147060"/>
                  <a:gd name="connsiteX95" fmla="*/ 53457 w 3147279"/>
                  <a:gd name="connsiteY95" fmla="*/ 2004060 h 3147060"/>
                  <a:gd name="connsiteX96" fmla="*/ 38217 w 3147279"/>
                  <a:gd name="connsiteY96" fmla="*/ 1943100 h 3147060"/>
                  <a:gd name="connsiteX97" fmla="*/ 22977 w 3147279"/>
                  <a:gd name="connsiteY97" fmla="*/ 1897380 h 3147060"/>
                  <a:gd name="connsiteX98" fmla="*/ 117 w 3147279"/>
                  <a:gd name="connsiteY98" fmla="*/ 1562100 h 3147060"/>
                  <a:gd name="connsiteX99" fmla="*/ 22977 w 3147279"/>
                  <a:gd name="connsiteY99" fmla="*/ 1135380 h 3147060"/>
                  <a:gd name="connsiteX100" fmla="*/ 38217 w 3147279"/>
                  <a:gd name="connsiteY100" fmla="*/ 1104900 h 3147060"/>
                  <a:gd name="connsiteX101" fmla="*/ 83937 w 3147279"/>
                  <a:gd name="connsiteY101" fmla="*/ 1021080 h 3147060"/>
                  <a:gd name="connsiteX102" fmla="*/ 129657 w 3147279"/>
                  <a:gd name="connsiteY102" fmla="*/ 914400 h 3147060"/>
                  <a:gd name="connsiteX103" fmla="*/ 160137 w 3147279"/>
                  <a:gd name="connsiteY103" fmla="*/ 861060 h 3147060"/>
                  <a:gd name="connsiteX104" fmla="*/ 182997 w 3147279"/>
                  <a:gd name="connsiteY104" fmla="*/ 822960 h 3147060"/>
                  <a:gd name="connsiteX105" fmla="*/ 205857 w 3147279"/>
                  <a:gd name="connsiteY105" fmla="*/ 800100 h 3147060"/>
                  <a:gd name="connsiteX106" fmla="*/ 259197 w 3147279"/>
                  <a:gd name="connsiteY106" fmla="*/ 708660 h 3147060"/>
                  <a:gd name="connsiteX107" fmla="*/ 274437 w 3147279"/>
                  <a:gd name="connsiteY107" fmla="*/ 662940 h 3147060"/>
                  <a:gd name="connsiteX108" fmla="*/ 327777 w 3147279"/>
                  <a:gd name="connsiteY108" fmla="*/ 586740 h 3147060"/>
                  <a:gd name="connsiteX109" fmla="*/ 419217 w 3147279"/>
                  <a:gd name="connsiteY109" fmla="*/ 510540 h 3147060"/>
                  <a:gd name="connsiteX110" fmla="*/ 449697 w 3147279"/>
                  <a:gd name="connsiteY110" fmla="*/ 472440 h 3147060"/>
                  <a:gd name="connsiteX111" fmla="*/ 510657 w 3147279"/>
                  <a:gd name="connsiteY111" fmla="*/ 434340 h 3147060"/>
                  <a:gd name="connsiteX112" fmla="*/ 563997 w 3147279"/>
                  <a:gd name="connsiteY112" fmla="*/ 396240 h 3147060"/>
                  <a:gd name="connsiteX113" fmla="*/ 655437 w 3147279"/>
                  <a:gd name="connsiteY113" fmla="*/ 335280 h 3147060"/>
                  <a:gd name="connsiteX114" fmla="*/ 731637 w 3147279"/>
                  <a:gd name="connsiteY114" fmla="*/ 297180 h 3147060"/>
                  <a:gd name="connsiteX115" fmla="*/ 815457 w 3147279"/>
                  <a:gd name="connsiteY115" fmla="*/ 236220 h 3147060"/>
                  <a:gd name="connsiteX116" fmla="*/ 830697 w 3147279"/>
                  <a:gd name="connsiteY116" fmla="*/ 213360 h 3147060"/>
                  <a:gd name="connsiteX117" fmla="*/ 861177 w 3147279"/>
                  <a:gd name="connsiteY117" fmla="*/ 205740 h 3147060"/>
                  <a:gd name="connsiteX118" fmla="*/ 952617 w 3147279"/>
                  <a:gd name="connsiteY118" fmla="*/ 152400 h 3147060"/>
                  <a:gd name="connsiteX119" fmla="*/ 983097 w 3147279"/>
                  <a:gd name="connsiteY119" fmla="*/ 129540 h 3147060"/>
                  <a:gd name="connsiteX120" fmla="*/ 1105017 w 3147279"/>
                  <a:gd name="connsiteY120" fmla="*/ 76200 h 3147060"/>
                  <a:gd name="connsiteX121" fmla="*/ 1127877 w 3147279"/>
                  <a:gd name="connsiteY121" fmla="*/ 68580 h 3147060"/>
                  <a:gd name="connsiteX122" fmla="*/ 1188837 w 3147279"/>
                  <a:gd name="connsiteY122" fmla="*/ 53340 h 3147060"/>
                  <a:gd name="connsiteX123" fmla="*/ 1242177 w 3147279"/>
                  <a:gd name="connsiteY123" fmla="*/ 38100 h 3147060"/>
                  <a:gd name="connsiteX124" fmla="*/ 1265037 w 3147279"/>
                  <a:gd name="connsiteY124" fmla="*/ 30480 h 3147060"/>
                  <a:gd name="connsiteX125" fmla="*/ 1386957 w 3147279"/>
                  <a:gd name="connsiteY125" fmla="*/ 15240 h 3147060"/>
                  <a:gd name="connsiteX126" fmla="*/ 1463157 w 3147279"/>
                  <a:gd name="connsiteY126" fmla="*/ 0 h 3147060"/>
                  <a:gd name="connsiteX127" fmla="*/ 1882257 w 3147279"/>
                  <a:gd name="connsiteY127" fmla="*/ 15240 h 3147060"/>
                  <a:gd name="connsiteX128" fmla="*/ 1912737 w 3147279"/>
                  <a:gd name="connsiteY128" fmla="*/ 22860 h 3147060"/>
                  <a:gd name="connsiteX129" fmla="*/ 2164197 w 3147279"/>
                  <a:gd name="connsiteY129" fmla="*/ 99060 h 3147060"/>
                  <a:gd name="connsiteX130" fmla="*/ 2339457 w 3147279"/>
                  <a:gd name="connsiteY130" fmla="*/ 182880 h 3147060"/>
                  <a:gd name="connsiteX131" fmla="*/ 2369937 w 3147279"/>
                  <a:gd name="connsiteY131" fmla="*/ 190500 h 3147060"/>
                  <a:gd name="connsiteX132" fmla="*/ 2392797 w 3147279"/>
                  <a:gd name="connsiteY132" fmla="*/ 205740 h 3147060"/>
                  <a:gd name="connsiteX133" fmla="*/ 2438517 w 3147279"/>
                  <a:gd name="connsiteY133" fmla="*/ 228600 h 3147060"/>
                  <a:gd name="connsiteX134" fmla="*/ 2446137 w 3147279"/>
                  <a:gd name="connsiteY134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449697 w 3147279"/>
                  <a:gd name="connsiteY78" fmla="*/ 2781300 h 3147060"/>
                  <a:gd name="connsiteX79" fmla="*/ 419217 w 3147279"/>
                  <a:gd name="connsiteY79" fmla="*/ 2735580 h 3147060"/>
                  <a:gd name="connsiteX80" fmla="*/ 403977 w 3147279"/>
                  <a:gd name="connsiteY80" fmla="*/ 2712720 h 3147060"/>
                  <a:gd name="connsiteX81" fmla="*/ 365877 w 3147279"/>
                  <a:gd name="connsiteY81" fmla="*/ 2613660 h 3147060"/>
                  <a:gd name="connsiteX82" fmla="*/ 343017 w 3147279"/>
                  <a:gd name="connsiteY82" fmla="*/ 2567940 h 3147060"/>
                  <a:gd name="connsiteX83" fmla="*/ 320157 w 3147279"/>
                  <a:gd name="connsiteY83" fmla="*/ 2484120 h 3147060"/>
                  <a:gd name="connsiteX84" fmla="*/ 297297 w 3147279"/>
                  <a:gd name="connsiteY84" fmla="*/ 2430780 h 3147060"/>
                  <a:gd name="connsiteX85" fmla="*/ 274437 w 3147279"/>
                  <a:gd name="connsiteY85" fmla="*/ 2377440 h 3147060"/>
                  <a:gd name="connsiteX86" fmla="*/ 228717 w 3147279"/>
                  <a:gd name="connsiteY86" fmla="*/ 2316480 h 3147060"/>
                  <a:gd name="connsiteX87" fmla="*/ 205857 w 3147279"/>
                  <a:gd name="connsiteY87" fmla="*/ 2293620 h 3147060"/>
                  <a:gd name="connsiteX88" fmla="*/ 175377 w 3147279"/>
                  <a:gd name="connsiteY88" fmla="*/ 2240280 h 3147060"/>
                  <a:gd name="connsiteX89" fmla="*/ 160137 w 3147279"/>
                  <a:gd name="connsiteY89" fmla="*/ 2202180 h 3147060"/>
                  <a:gd name="connsiteX90" fmla="*/ 144897 w 3147279"/>
                  <a:gd name="connsiteY90" fmla="*/ 2179320 h 3147060"/>
                  <a:gd name="connsiteX91" fmla="*/ 129657 w 3147279"/>
                  <a:gd name="connsiteY91" fmla="*/ 2133600 h 3147060"/>
                  <a:gd name="connsiteX92" fmla="*/ 99177 w 3147279"/>
                  <a:gd name="connsiteY92" fmla="*/ 2087880 h 3147060"/>
                  <a:gd name="connsiteX93" fmla="*/ 61077 w 3147279"/>
                  <a:gd name="connsiteY93" fmla="*/ 2026920 h 3147060"/>
                  <a:gd name="connsiteX94" fmla="*/ 53457 w 3147279"/>
                  <a:gd name="connsiteY94" fmla="*/ 2004060 h 3147060"/>
                  <a:gd name="connsiteX95" fmla="*/ 38217 w 3147279"/>
                  <a:gd name="connsiteY95" fmla="*/ 1943100 h 3147060"/>
                  <a:gd name="connsiteX96" fmla="*/ 22977 w 3147279"/>
                  <a:gd name="connsiteY96" fmla="*/ 1897380 h 3147060"/>
                  <a:gd name="connsiteX97" fmla="*/ 117 w 3147279"/>
                  <a:gd name="connsiteY97" fmla="*/ 1562100 h 3147060"/>
                  <a:gd name="connsiteX98" fmla="*/ 22977 w 3147279"/>
                  <a:gd name="connsiteY98" fmla="*/ 1135380 h 3147060"/>
                  <a:gd name="connsiteX99" fmla="*/ 38217 w 3147279"/>
                  <a:gd name="connsiteY99" fmla="*/ 1104900 h 3147060"/>
                  <a:gd name="connsiteX100" fmla="*/ 83937 w 3147279"/>
                  <a:gd name="connsiteY100" fmla="*/ 1021080 h 3147060"/>
                  <a:gd name="connsiteX101" fmla="*/ 129657 w 3147279"/>
                  <a:gd name="connsiteY101" fmla="*/ 914400 h 3147060"/>
                  <a:gd name="connsiteX102" fmla="*/ 160137 w 3147279"/>
                  <a:gd name="connsiteY102" fmla="*/ 861060 h 3147060"/>
                  <a:gd name="connsiteX103" fmla="*/ 182997 w 3147279"/>
                  <a:gd name="connsiteY103" fmla="*/ 822960 h 3147060"/>
                  <a:gd name="connsiteX104" fmla="*/ 205857 w 3147279"/>
                  <a:gd name="connsiteY104" fmla="*/ 800100 h 3147060"/>
                  <a:gd name="connsiteX105" fmla="*/ 259197 w 3147279"/>
                  <a:gd name="connsiteY105" fmla="*/ 708660 h 3147060"/>
                  <a:gd name="connsiteX106" fmla="*/ 274437 w 3147279"/>
                  <a:gd name="connsiteY106" fmla="*/ 662940 h 3147060"/>
                  <a:gd name="connsiteX107" fmla="*/ 327777 w 3147279"/>
                  <a:gd name="connsiteY107" fmla="*/ 586740 h 3147060"/>
                  <a:gd name="connsiteX108" fmla="*/ 419217 w 3147279"/>
                  <a:gd name="connsiteY108" fmla="*/ 510540 h 3147060"/>
                  <a:gd name="connsiteX109" fmla="*/ 449697 w 3147279"/>
                  <a:gd name="connsiteY109" fmla="*/ 472440 h 3147060"/>
                  <a:gd name="connsiteX110" fmla="*/ 510657 w 3147279"/>
                  <a:gd name="connsiteY110" fmla="*/ 434340 h 3147060"/>
                  <a:gd name="connsiteX111" fmla="*/ 563997 w 3147279"/>
                  <a:gd name="connsiteY111" fmla="*/ 396240 h 3147060"/>
                  <a:gd name="connsiteX112" fmla="*/ 655437 w 3147279"/>
                  <a:gd name="connsiteY112" fmla="*/ 335280 h 3147060"/>
                  <a:gd name="connsiteX113" fmla="*/ 731637 w 3147279"/>
                  <a:gd name="connsiteY113" fmla="*/ 297180 h 3147060"/>
                  <a:gd name="connsiteX114" fmla="*/ 815457 w 3147279"/>
                  <a:gd name="connsiteY114" fmla="*/ 236220 h 3147060"/>
                  <a:gd name="connsiteX115" fmla="*/ 830697 w 3147279"/>
                  <a:gd name="connsiteY115" fmla="*/ 213360 h 3147060"/>
                  <a:gd name="connsiteX116" fmla="*/ 861177 w 3147279"/>
                  <a:gd name="connsiteY116" fmla="*/ 205740 h 3147060"/>
                  <a:gd name="connsiteX117" fmla="*/ 952617 w 3147279"/>
                  <a:gd name="connsiteY117" fmla="*/ 152400 h 3147060"/>
                  <a:gd name="connsiteX118" fmla="*/ 983097 w 3147279"/>
                  <a:gd name="connsiteY118" fmla="*/ 129540 h 3147060"/>
                  <a:gd name="connsiteX119" fmla="*/ 1105017 w 3147279"/>
                  <a:gd name="connsiteY119" fmla="*/ 76200 h 3147060"/>
                  <a:gd name="connsiteX120" fmla="*/ 1127877 w 3147279"/>
                  <a:gd name="connsiteY120" fmla="*/ 68580 h 3147060"/>
                  <a:gd name="connsiteX121" fmla="*/ 1188837 w 3147279"/>
                  <a:gd name="connsiteY121" fmla="*/ 53340 h 3147060"/>
                  <a:gd name="connsiteX122" fmla="*/ 1242177 w 3147279"/>
                  <a:gd name="connsiteY122" fmla="*/ 38100 h 3147060"/>
                  <a:gd name="connsiteX123" fmla="*/ 1265037 w 3147279"/>
                  <a:gd name="connsiteY123" fmla="*/ 30480 h 3147060"/>
                  <a:gd name="connsiteX124" fmla="*/ 1386957 w 3147279"/>
                  <a:gd name="connsiteY124" fmla="*/ 15240 h 3147060"/>
                  <a:gd name="connsiteX125" fmla="*/ 1463157 w 3147279"/>
                  <a:gd name="connsiteY125" fmla="*/ 0 h 3147060"/>
                  <a:gd name="connsiteX126" fmla="*/ 1882257 w 3147279"/>
                  <a:gd name="connsiteY126" fmla="*/ 15240 h 3147060"/>
                  <a:gd name="connsiteX127" fmla="*/ 1912737 w 3147279"/>
                  <a:gd name="connsiteY127" fmla="*/ 22860 h 3147060"/>
                  <a:gd name="connsiteX128" fmla="*/ 2164197 w 3147279"/>
                  <a:gd name="connsiteY128" fmla="*/ 99060 h 3147060"/>
                  <a:gd name="connsiteX129" fmla="*/ 2339457 w 3147279"/>
                  <a:gd name="connsiteY129" fmla="*/ 182880 h 3147060"/>
                  <a:gd name="connsiteX130" fmla="*/ 2369937 w 3147279"/>
                  <a:gd name="connsiteY130" fmla="*/ 190500 h 3147060"/>
                  <a:gd name="connsiteX131" fmla="*/ 2392797 w 3147279"/>
                  <a:gd name="connsiteY131" fmla="*/ 205740 h 3147060"/>
                  <a:gd name="connsiteX132" fmla="*/ 2438517 w 3147279"/>
                  <a:gd name="connsiteY132" fmla="*/ 228600 h 3147060"/>
                  <a:gd name="connsiteX133" fmla="*/ 2446137 w 3147279"/>
                  <a:gd name="connsiteY133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419217 w 3147279"/>
                  <a:gd name="connsiteY78" fmla="*/ 2735580 h 3147060"/>
                  <a:gd name="connsiteX79" fmla="*/ 403977 w 3147279"/>
                  <a:gd name="connsiteY79" fmla="*/ 2712720 h 3147060"/>
                  <a:gd name="connsiteX80" fmla="*/ 365877 w 3147279"/>
                  <a:gd name="connsiteY80" fmla="*/ 2613660 h 3147060"/>
                  <a:gd name="connsiteX81" fmla="*/ 343017 w 3147279"/>
                  <a:gd name="connsiteY81" fmla="*/ 2567940 h 3147060"/>
                  <a:gd name="connsiteX82" fmla="*/ 320157 w 3147279"/>
                  <a:gd name="connsiteY82" fmla="*/ 2484120 h 3147060"/>
                  <a:gd name="connsiteX83" fmla="*/ 297297 w 3147279"/>
                  <a:gd name="connsiteY83" fmla="*/ 2430780 h 3147060"/>
                  <a:gd name="connsiteX84" fmla="*/ 274437 w 3147279"/>
                  <a:gd name="connsiteY84" fmla="*/ 2377440 h 3147060"/>
                  <a:gd name="connsiteX85" fmla="*/ 228717 w 3147279"/>
                  <a:gd name="connsiteY85" fmla="*/ 2316480 h 3147060"/>
                  <a:gd name="connsiteX86" fmla="*/ 205857 w 3147279"/>
                  <a:gd name="connsiteY86" fmla="*/ 2293620 h 3147060"/>
                  <a:gd name="connsiteX87" fmla="*/ 175377 w 3147279"/>
                  <a:gd name="connsiteY87" fmla="*/ 2240280 h 3147060"/>
                  <a:gd name="connsiteX88" fmla="*/ 160137 w 3147279"/>
                  <a:gd name="connsiteY88" fmla="*/ 2202180 h 3147060"/>
                  <a:gd name="connsiteX89" fmla="*/ 144897 w 3147279"/>
                  <a:gd name="connsiteY89" fmla="*/ 2179320 h 3147060"/>
                  <a:gd name="connsiteX90" fmla="*/ 129657 w 3147279"/>
                  <a:gd name="connsiteY90" fmla="*/ 2133600 h 3147060"/>
                  <a:gd name="connsiteX91" fmla="*/ 99177 w 3147279"/>
                  <a:gd name="connsiteY91" fmla="*/ 2087880 h 3147060"/>
                  <a:gd name="connsiteX92" fmla="*/ 61077 w 3147279"/>
                  <a:gd name="connsiteY92" fmla="*/ 2026920 h 3147060"/>
                  <a:gd name="connsiteX93" fmla="*/ 53457 w 3147279"/>
                  <a:gd name="connsiteY93" fmla="*/ 2004060 h 3147060"/>
                  <a:gd name="connsiteX94" fmla="*/ 38217 w 3147279"/>
                  <a:gd name="connsiteY94" fmla="*/ 1943100 h 3147060"/>
                  <a:gd name="connsiteX95" fmla="*/ 22977 w 3147279"/>
                  <a:gd name="connsiteY95" fmla="*/ 1897380 h 3147060"/>
                  <a:gd name="connsiteX96" fmla="*/ 117 w 3147279"/>
                  <a:gd name="connsiteY96" fmla="*/ 1562100 h 3147060"/>
                  <a:gd name="connsiteX97" fmla="*/ 22977 w 3147279"/>
                  <a:gd name="connsiteY97" fmla="*/ 1135380 h 3147060"/>
                  <a:gd name="connsiteX98" fmla="*/ 38217 w 3147279"/>
                  <a:gd name="connsiteY98" fmla="*/ 1104900 h 3147060"/>
                  <a:gd name="connsiteX99" fmla="*/ 83937 w 3147279"/>
                  <a:gd name="connsiteY99" fmla="*/ 1021080 h 3147060"/>
                  <a:gd name="connsiteX100" fmla="*/ 129657 w 3147279"/>
                  <a:gd name="connsiteY100" fmla="*/ 914400 h 3147060"/>
                  <a:gd name="connsiteX101" fmla="*/ 160137 w 3147279"/>
                  <a:gd name="connsiteY101" fmla="*/ 861060 h 3147060"/>
                  <a:gd name="connsiteX102" fmla="*/ 182997 w 3147279"/>
                  <a:gd name="connsiteY102" fmla="*/ 822960 h 3147060"/>
                  <a:gd name="connsiteX103" fmla="*/ 205857 w 3147279"/>
                  <a:gd name="connsiteY103" fmla="*/ 800100 h 3147060"/>
                  <a:gd name="connsiteX104" fmla="*/ 259197 w 3147279"/>
                  <a:gd name="connsiteY104" fmla="*/ 708660 h 3147060"/>
                  <a:gd name="connsiteX105" fmla="*/ 274437 w 3147279"/>
                  <a:gd name="connsiteY105" fmla="*/ 662940 h 3147060"/>
                  <a:gd name="connsiteX106" fmla="*/ 327777 w 3147279"/>
                  <a:gd name="connsiteY106" fmla="*/ 586740 h 3147060"/>
                  <a:gd name="connsiteX107" fmla="*/ 419217 w 3147279"/>
                  <a:gd name="connsiteY107" fmla="*/ 510540 h 3147060"/>
                  <a:gd name="connsiteX108" fmla="*/ 449697 w 3147279"/>
                  <a:gd name="connsiteY108" fmla="*/ 472440 h 3147060"/>
                  <a:gd name="connsiteX109" fmla="*/ 510657 w 3147279"/>
                  <a:gd name="connsiteY109" fmla="*/ 434340 h 3147060"/>
                  <a:gd name="connsiteX110" fmla="*/ 563997 w 3147279"/>
                  <a:gd name="connsiteY110" fmla="*/ 396240 h 3147060"/>
                  <a:gd name="connsiteX111" fmla="*/ 655437 w 3147279"/>
                  <a:gd name="connsiteY111" fmla="*/ 335280 h 3147060"/>
                  <a:gd name="connsiteX112" fmla="*/ 731637 w 3147279"/>
                  <a:gd name="connsiteY112" fmla="*/ 297180 h 3147060"/>
                  <a:gd name="connsiteX113" fmla="*/ 815457 w 3147279"/>
                  <a:gd name="connsiteY113" fmla="*/ 236220 h 3147060"/>
                  <a:gd name="connsiteX114" fmla="*/ 830697 w 3147279"/>
                  <a:gd name="connsiteY114" fmla="*/ 213360 h 3147060"/>
                  <a:gd name="connsiteX115" fmla="*/ 861177 w 3147279"/>
                  <a:gd name="connsiteY115" fmla="*/ 205740 h 3147060"/>
                  <a:gd name="connsiteX116" fmla="*/ 952617 w 3147279"/>
                  <a:gd name="connsiteY116" fmla="*/ 152400 h 3147060"/>
                  <a:gd name="connsiteX117" fmla="*/ 983097 w 3147279"/>
                  <a:gd name="connsiteY117" fmla="*/ 129540 h 3147060"/>
                  <a:gd name="connsiteX118" fmla="*/ 1105017 w 3147279"/>
                  <a:gd name="connsiteY118" fmla="*/ 76200 h 3147060"/>
                  <a:gd name="connsiteX119" fmla="*/ 1127877 w 3147279"/>
                  <a:gd name="connsiteY119" fmla="*/ 68580 h 3147060"/>
                  <a:gd name="connsiteX120" fmla="*/ 1188837 w 3147279"/>
                  <a:gd name="connsiteY120" fmla="*/ 53340 h 3147060"/>
                  <a:gd name="connsiteX121" fmla="*/ 1242177 w 3147279"/>
                  <a:gd name="connsiteY121" fmla="*/ 38100 h 3147060"/>
                  <a:gd name="connsiteX122" fmla="*/ 1265037 w 3147279"/>
                  <a:gd name="connsiteY122" fmla="*/ 30480 h 3147060"/>
                  <a:gd name="connsiteX123" fmla="*/ 1386957 w 3147279"/>
                  <a:gd name="connsiteY123" fmla="*/ 15240 h 3147060"/>
                  <a:gd name="connsiteX124" fmla="*/ 1463157 w 3147279"/>
                  <a:gd name="connsiteY124" fmla="*/ 0 h 3147060"/>
                  <a:gd name="connsiteX125" fmla="*/ 1882257 w 3147279"/>
                  <a:gd name="connsiteY125" fmla="*/ 15240 h 3147060"/>
                  <a:gd name="connsiteX126" fmla="*/ 1912737 w 3147279"/>
                  <a:gd name="connsiteY126" fmla="*/ 22860 h 3147060"/>
                  <a:gd name="connsiteX127" fmla="*/ 2164197 w 3147279"/>
                  <a:gd name="connsiteY127" fmla="*/ 99060 h 3147060"/>
                  <a:gd name="connsiteX128" fmla="*/ 2339457 w 3147279"/>
                  <a:gd name="connsiteY128" fmla="*/ 182880 h 3147060"/>
                  <a:gd name="connsiteX129" fmla="*/ 2369937 w 3147279"/>
                  <a:gd name="connsiteY129" fmla="*/ 190500 h 3147060"/>
                  <a:gd name="connsiteX130" fmla="*/ 2392797 w 3147279"/>
                  <a:gd name="connsiteY130" fmla="*/ 205740 h 3147060"/>
                  <a:gd name="connsiteX131" fmla="*/ 2438517 w 3147279"/>
                  <a:gd name="connsiteY131" fmla="*/ 228600 h 3147060"/>
                  <a:gd name="connsiteX132" fmla="*/ 2446137 w 3147279"/>
                  <a:gd name="connsiteY132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419217 w 3147279"/>
                  <a:gd name="connsiteY78" fmla="*/ 2735580 h 3147060"/>
                  <a:gd name="connsiteX79" fmla="*/ 365877 w 3147279"/>
                  <a:gd name="connsiteY79" fmla="*/ 2613660 h 3147060"/>
                  <a:gd name="connsiteX80" fmla="*/ 343017 w 3147279"/>
                  <a:gd name="connsiteY80" fmla="*/ 2567940 h 3147060"/>
                  <a:gd name="connsiteX81" fmla="*/ 320157 w 3147279"/>
                  <a:gd name="connsiteY81" fmla="*/ 2484120 h 3147060"/>
                  <a:gd name="connsiteX82" fmla="*/ 297297 w 3147279"/>
                  <a:gd name="connsiteY82" fmla="*/ 2430780 h 3147060"/>
                  <a:gd name="connsiteX83" fmla="*/ 274437 w 3147279"/>
                  <a:gd name="connsiteY83" fmla="*/ 2377440 h 3147060"/>
                  <a:gd name="connsiteX84" fmla="*/ 228717 w 3147279"/>
                  <a:gd name="connsiteY84" fmla="*/ 2316480 h 3147060"/>
                  <a:gd name="connsiteX85" fmla="*/ 205857 w 3147279"/>
                  <a:gd name="connsiteY85" fmla="*/ 2293620 h 3147060"/>
                  <a:gd name="connsiteX86" fmla="*/ 175377 w 3147279"/>
                  <a:gd name="connsiteY86" fmla="*/ 2240280 h 3147060"/>
                  <a:gd name="connsiteX87" fmla="*/ 160137 w 3147279"/>
                  <a:gd name="connsiteY87" fmla="*/ 2202180 h 3147060"/>
                  <a:gd name="connsiteX88" fmla="*/ 144897 w 3147279"/>
                  <a:gd name="connsiteY88" fmla="*/ 2179320 h 3147060"/>
                  <a:gd name="connsiteX89" fmla="*/ 129657 w 3147279"/>
                  <a:gd name="connsiteY89" fmla="*/ 2133600 h 3147060"/>
                  <a:gd name="connsiteX90" fmla="*/ 99177 w 3147279"/>
                  <a:gd name="connsiteY90" fmla="*/ 2087880 h 3147060"/>
                  <a:gd name="connsiteX91" fmla="*/ 61077 w 3147279"/>
                  <a:gd name="connsiteY91" fmla="*/ 2026920 h 3147060"/>
                  <a:gd name="connsiteX92" fmla="*/ 53457 w 3147279"/>
                  <a:gd name="connsiteY92" fmla="*/ 2004060 h 3147060"/>
                  <a:gd name="connsiteX93" fmla="*/ 38217 w 3147279"/>
                  <a:gd name="connsiteY93" fmla="*/ 1943100 h 3147060"/>
                  <a:gd name="connsiteX94" fmla="*/ 22977 w 3147279"/>
                  <a:gd name="connsiteY94" fmla="*/ 1897380 h 3147060"/>
                  <a:gd name="connsiteX95" fmla="*/ 117 w 3147279"/>
                  <a:gd name="connsiteY95" fmla="*/ 1562100 h 3147060"/>
                  <a:gd name="connsiteX96" fmla="*/ 22977 w 3147279"/>
                  <a:gd name="connsiteY96" fmla="*/ 1135380 h 3147060"/>
                  <a:gd name="connsiteX97" fmla="*/ 38217 w 3147279"/>
                  <a:gd name="connsiteY97" fmla="*/ 1104900 h 3147060"/>
                  <a:gd name="connsiteX98" fmla="*/ 83937 w 3147279"/>
                  <a:gd name="connsiteY98" fmla="*/ 1021080 h 3147060"/>
                  <a:gd name="connsiteX99" fmla="*/ 129657 w 3147279"/>
                  <a:gd name="connsiteY99" fmla="*/ 914400 h 3147060"/>
                  <a:gd name="connsiteX100" fmla="*/ 160137 w 3147279"/>
                  <a:gd name="connsiteY100" fmla="*/ 861060 h 3147060"/>
                  <a:gd name="connsiteX101" fmla="*/ 182997 w 3147279"/>
                  <a:gd name="connsiteY101" fmla="*/ 822960 h 3147060"/>
                  <a:gd name="connsiteX102" fmla="*/ 205857 w 3147279"/>
                  <a:gd name="connsiteY102" fmla="*/ 800100 h 3147060"/>
                  <a:gd name="connsiteX103" fmla="*/ 259197 w 3147279"/>
                  <a:gd name="connsiteY103" fmla="*/ 708660 h 3147060"/>
                  <a:gd name="connsiteX104" fmla="*/ 274437 w 3147279"/>
                  <a:gd name="connsiteY104" fmla="*/ 662940 h 3147060"/>
                  <a:gd name="connsiteX105" fmla="*/ 327777 w 3147279"/>
                  <a:gd name="connsiteY105" fmla="*/ 586740 h 3147060"/>
                  <a:gd name="connsiteX106" fmla="*/ 419217 w 3147279"/>
                  <a:gd name="connsiteY106" fmla="*/ 510540 h 3147060"/>
                  <a:gd name="connsiteX107" fmla="*/ 449697 w 3147279"/>
                  <a:gd name="connsiteY107" fmla="*/ 472440 h 3147060"/>
                  <a:gd name="connsiteX108" fmla="*/ 510657 w 3147279"/>
                  <a:gd name="connsiteY108" fmla="*/ 434340 h 3147060"/>
                  <a:gd name="connsiteX109" fmla="*/ 563997 w 3147279"/>
                  <a:gd name="connsiteY109" fmla="*/ 396240 h 3147060"/>
                  <a:gd name="connsiteX110" fmla="*/ 655437 w 3147279"/>
                  <a:gd name="connsiteY110" fmla="*/ 335280 h 3147060"/>
                  <a:gd name="connsiteX111" fmla="*/ 731637 w 3147279"/>
                  <a:gd name="connsiteY111" fmla="*/ 297180 h 3147060"/>
                  <a:gd name="connsiteX112" fmla="*/ 815457 w 3147279"/>
                  <a:gd name="connsiteY112" fmla="*/ 236220 h 3147060"/>
                  <a:gd name="connsiteX113" fmla="*/ 830697 w 3147279"/>
                  <a:gd name="connsiteY113" fmla="*/ 213360 h 3147060"/>
                  <a:gd name="connsiteX114" fmla="*/ 861177 w 3147279"/>
                  <a:gd name="connsiteY114" fmla="*/ 205740 h 3147060"/>
                  <a:gd name="connsiteX115" fmla="*/ 952617 w 3147279"/>
                  <a:gd name="connsiteY115" fmla="*/ 152400 h 3147060"/>
                  <a:gd name="connsiteX116" fmla="*/ 983097 w 3147279"/>
                  <a:gd name="connsiteY116" fmla="*/ 129540 h 3147060"/>
                  <a:gd name="connsiteX117" fmla="*/ 1105017 w 3147279"/>
                  <a:gd name="connsiteY117" fmla="*/ 76200 h 3147060"/>
                  <a:gd name="connsiteX118" fmla="*/ 1127877 w 3147279"/>
                  <a:gd name="connsiteY118" fmla="*/ 68580 h 3147060"/>
                  <a:gd name="connsiteX119" fmla="*/ 1188837 w 3147279"/>
                  <a:gd name="connsiteY119" fmla="*/ 53340 h 3147060"/>
                  <a:gd name="connsiteX120" fmla="*/ 1242177 w 3147279"/>
                  <a:gd name="connsiteY120" fmla="*/ 38100 h 3147060"/>
                  <a:gd name="connsiteX121" fmla="*/ 1265037 w 3147279"/>
                  <a:gd name="connsiteY121" fmla="*/ 30480 h 3147060"/>
                  <a:gd name="connsiteX122" fmla="*/ 1386957 w 3147279"/>
                  <a:gd name="connsiteY122" fmla="*/ 15240 h 3147060"/>
                  <a:gd name="connsiteX123" fmla="*/ 1463157 w 3147279"/>
                  <a:gd name="connsiteY123" fmla="*/ 0 h 3147060"/>
                  <a:gd name="connsiteX124" fmla="*/ 1882257 w 3147279"/>
                  <a:gd name="connsiteY124" fmla="*/ 15240 h 3147060"/>
                  <a:gd name="connsiteX125" fmla="*/ 1912737 w 3147279"/>
                  <a:gd name="connsiteY125" fmla="*/ 22860 h 3147060"/>
                  <a:gd name="connsiteX126" fmla="*/ 2164197 w 3147279"/>
                  <a:gd name="connsiteY126" fmla="*/ 99060 h 3147060"/>
                  <a:gd name="connsiteX127" fmla="*/ 2339457 w 3147279"/>
                  <a:gd name="connsiteY127" fmla="*/ 182880 h 3147060"/>
                  <a:gd name="connsiteX128" fmla="*/ 2369937 w 3147279"/>
                  <a:gd name="connsiteY128" fmla="*/ 190500 h 3147060"/>
                  <a:gd name="connsiteX129" fmla="*/ 2392797 w 3147279"/>
                  <a:gd name="connsiteY129" fmla="*/ 205740 h 3147060"/>
                  <a:gd name="connsiteX130" fmla="*/ 2438517 w 3147279"/>
                  <a:gd name="connsiteY130" fmla="*/ 228600 h 3147060"/>
                  <a:gd name="connsiteX131" fmla="*/ 2446137 w 3147279"/>
                  <a:gd name="connsiteY131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716397 w 3147279"/>
                  <a:gd name="connsiteY77" fmla="*/ 3025140 h 3147060"/>
                  <a:gd name="connsiteX78" fmla="*/ 365877 w 3147279"/>
                  <a:gd name="connsiteY78" fmla="*/ 2613660 h 3147060"/>
                  <a:gd name="connsiteX79" fmla="*/ 343017 w 3147279"/>
                  <a:gd name="connsiteY79" fmla="*/ 2567940 h 3147060"/>
                  <a:gd name="connsiteX80" fmla="*/ 320157 w 3147279"/>
                  <a:gd name="connsiteY80" fmla="*/ 2484120 h 3147060"/>
                  <a:gd name="connsiteX81" fmla="*/ 297297 w 3147279"/>
                  <a:gd name="connsiteY81" fmla="*/ 2430780 h 3147060"/>
                  <a:gd name="connsiteX82" fmla="*/ 274437 w 3147279"/>
                  <a:gd name="connsiteY82" fmla="*/ 2377440 h 3147060"/>
                  <a:gd name="connsiteX83" fmla="*/ 228717 w 3147279"/>
                  <a:gd name="connsiteY83" fmla="*/ 2316480 h 3147060"/>
                  <a:gd name="connsiteX84" fmla="*/ 205857 w 3147279"/>
                  <a:gd name="connsiteY84" fmla="*/ 2293620 h 3147060"/>
                  <a:gd name="connsiteX85" fmla="*/ 175377 w 3147279"/>
                  <a:gd name="connsiteY85" fmla="*/ 2240280 h 3147060"/>
                  <a:gd name="connsiteX86" fmla="*/ 160137 w 3147279"/>
                  <a:gd name="connsiteY86" fmla="*/ 2202180 h 3147060"/>
                  <a:gd name="connsiteX87" fmla="*/ 144897 w 3147279"/>
                  <a:gd name="connsiteY87" fmla="*/ 2179320 h 3147060"/>
                  <a:gd name="connsiteX88" fmla="*/ 129657 w 3147279"/>
                  <a:gd name="connsiteY88" fmla="*/ 2133600 h 3147060"/>
                  <a:gd name="connsiteX89" fmla="*/ 99177 w 3147279"/>
                  <a:gd name="connsiteY89" fmla="*/ 2087880 h 3147060"/>
                  <a:gd name="connsiteX90" fmla="*/ 61077 w 3147279"/>
                  <a:gd name="connsiteY90" fmla="*/ 2026920 h 3147060"/>
                  <a:gd name="connsiteX91" fmla="*/ 53457 w 3147279"/>
                  <a:gd name="connsiteY91" fmla="*/ 2004060 h 3147060"/>
                  <a:gd name="connsiteX92" fmla="*/ 38217 w 3147279"/>
                  <a:gd name="connsiteY92" fmla="*/ 1943100 h 3147060"/>
                  <a:gd name="connsiteX93" fmla="*/ 22977 w 3147279"/>
                  <a:gd name="connsiteY93" fmla="*/ 1897380 h 3147060"/>
                  <a:gd name="connsiteX94" fmla="*/ 117 w 3147279"/>
                  <a:gd name="connsiteY94" fmla="*/ 1562100 h 3147060"/>
                  <a:gd name="connsiteX95" fmla="*/ 22977 w 3147279"/>
                  <a:gd name="connsiteY95" fmla="*/ 1135380 h 3147060"/>
                  <a:gd name="connsiteX96" fmla="*/ 38217 w 3147279"/>
                  <a:gd name="connsiteY96" fmla="*/ 1104900 h 3147060"/>
                  <a:gd name="connsiteX97" fmla="*/ 83937 w 3147279"/>
                  <a:gd name="connsiteY97" fmla="*/ 1021080 h 3147060"/>
                  <a:gd name="connsiteX98" fmla="*/ 129657 w 3147279"/>
                  <a:gd name="connsiteY98" fmla="*/ 914400 h 3147060"/>
                  <a:gd name="connsiteX99" fmla="*/ 160137 w 3147279"/>
                  <a:gd name="connsiteY99" fmla="*/ 861060 h 3147060"/>
                  <a:gd name="connsiteX100" fmla="*/ 182997 w 3147279"/>
                  <a:gd name="connsiteY100" fmla="*/ 822960 h 3147060"/>
                  <a:gd name="connsiteX101" fmla="*/ 205857 w 3147279"/>
                  <a:gd name="connsiteY101" fmla="*/ 800100 h 3147060"/>
                  <a:gd name="connsiteX102" fmla="*/ 259197 w 3147279"/>
                  <a:gd name="connsiteY102" fmla="*/ 708660 h 3147060"/>
                  <a:gd name="connsiteX103" fmla="*/ 274437 w 3147279"/>
                  <a:gd name="connsiteY103" fmla="*/ 662940 h 3147060"/>
                  <a:gd name="connsiteX104" fmla="*/ 327777 w 3147279"/>
                  <a:gd name="connsiteY104" fmla="*/ 586740 h 3147060"/>
                  <a:gd name="connsiteX105" fmla="*/ 419217 w 3147279"/>
                  <a:gd name="connsiteY105" fmla="*/ 510540 h 3147060"/>
                  <a:gd name="connsiteX106" fmla="*/ 449697 w 3147279"/>
                  <a:gd name="connsiteY106" fmla="*/ 472440 h 3147060"/>
                  <a:gd name="connsiteX107" fmla="*/ 510657 w 3147279"/>
                  <a:gd name="connsiteY107" fmla="*/ 434340 h 3147060"/>
                  <a:gd name="connsiteX108" fmla="*/ 563997 w 3147279"/>
                  <a:gd name="connsiteY108" fmla="*/ 396240 h 3147060"/>
                  <a:gd name="connsiteX109" fmla="*/ 655437 w 3147279"/>
                  <a:gd name="connsiteY109" fmla="*/ 335280 h 3147060"/>
                  <a:gd name="connsiteX110" fmla="*/ 731637 w 3147279"/>
                  <a:gd name="connsiteY110" fmla="*/ 297180 h 3147060"/>
                  <a:gd name="connsiteX111" fmla="*/ 815457 w 3147279"/>
                  <a:gd name="connsiteY111" fmla="*/ 236220 h 3147060"/>
                  <a:gd name="connsiteX112" fmla="*/ 830697 w 3147279"/>
                  <a:gd name="connsiteY112" fmla="*/ 213360 h 3147060"/>
                  <a:gd name="connsiteX113" fmla="*/ 861177 w 3147279"/>
                  <a:gd name="connsiteY113" fmla="*/ 205740 h 3147060"/>
                  <a:gd name="connsiteX114" fmla="*/ 952617 w 3147279"/>
                  <a:gd name="connsiteY114" fmla="*/ 152400 h 3147060"/>
                  <a:gd name="connsiteX115" fmla="*/ 983097 w 3147279"/>
                  <a:gd name="connsiteY115" fmla="*/ 129540 h 3147060"/>
                  <a:gd name="connsiteX116" fmla="*/ 1105017 w 3147279"/>
                  <a:gd name="connsiteY116" fmla="*/ 76200 h 3147060"/>
                  <a:gd name="connsiteX117" fmla="*/ 1127877 w 3147279"/>
                  <a:gd name="connsiteY117" fmla="*/ 68580 h 3147060"/>
                  <a:gd name="connsiteX118" fmla="*/ 1188837 w 3147279"/>
                  <a:gd name="connsiteY118" fmla="*/ 53340 h 3147060"/>
                  <a:gd name="connsiteX119" fmla="*/ 1242177 w 3147279"/>
                  <a:gd name="connsiteY119" fmla="*/ 38100 h 3147060"/>
                  <a:gd name="connsiteX120" fmla="*/ 1265037 w 3147279"/>
                  <a:gd name="connsiteY120" fmla="*/ 30480 h 3147060"/>
                  <a:gd name="connsiteX121" fmla="*/ 1386957 w 3147279"/>
                  <a:gd name="connsiteY121" fmla="*/ 15240 h 3147060"/>
                  <a:gd name="connsiteX122" fmla="*/ 1463157 w 3147279"/>
                  <a:gd name="connsiteY122" fmla="*/ 0 h 3147060"/>
                  <a:gd name="connsiteX123" fmla="*/ 1882257 w 3147279"/>
                  <a:gd name="connsiteY123" fmla="*/ 15240 h 3147060"/>
                  <a:gd name="connsiteX124" fmla="*/ 1912737 w 3147279"/>
                  <a:gd name="connsiteY124" fmla="*/ 22860 h 3147060"/>
                  <a:gd name="connsiteX125" fmla="*/ 2164197 w 3147279"/>
                  <a:gd name="connsiteY125" fmla="*/ 99060 h 3147060"/>
                  <a:gd name="connsiteX126" fmla="*/ 2339457 w 3147279"/>
                  <a:gd name="connsiteY126" fmla="*/ 182880 h 3147060"/>
                  <a:gd name="connsiteX127" fmla="*/ 2369937 w 3147279"/>
                  <a:gd name="connsiteY127" fmla="*/ 190500 h 3147060"/>
                  <a:gd name="connsiteX128" fmla="*/ 2392797 w 3147279"/>
                  <a:gd name="connsiteY128" fmla="*/ 205740 h 3147060"/>
                  <a:gd name="connsiteX129" fmla="*/ 2438517 w 3147279"/>
                  <a:gd name="connsiteY129" fmla="*/ 228600 h 3147060"/>
                  <a:gd name="connsiteX130" fmla="*/ 2446137 w 3147279"/>
                  <a:gd name="connsiteY130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784977 w 3147279"/>
                  <a:gd name="connsiteY76" fmla="*/ 3048000 h 3147060"/>
                  <a:gd name="connsiteX77" fmla="*/ 365877 w 3147279"/>
                  <a:gd name="connsiteY77" fmla="*/ 2613660 h 3147060"/>
                  <a:gd name="connsiteX78" fmla="*/ 343017 w 3147279"/>
                  <a:gd name="connsiteY78" fmla="*/ 2567940 h 3147060"/>
                  <a:gd name="connsiteX79" fmla="*/ 320157 w 3147279"/>
                  <a:gd name="connsiteY79" fmla="*/ 2484120 h 3147060"/>
                  <a:gd name="connsiteX80" fmla="*/ 297297 w 3147279"/>
                  <a:gd name="connsiteY80" fmla="*/ 2430780 h 3147060"/>
                  <a:gd name="connsiteX81" fmla="*/ 274437 w 3147279"/>
                  <a:gd name="connsiteY81" fmla="*/ 2377440 h 3147060"/>
                  <a:gd name="connsiteX82" fmla="*/ 228717 w 3147279"/>
                  <a:gd name="connsiteY82" fmla="*/ 2316480 h 3147060"/>
                  <a:gd name="connsiteX83" fmla="*/ 205857 w 3147279"/>
                  <a:gd name="connsiteY83" fmla="*/ 2293620 h 3147060"/>
                  <a:gd name="connsiteX84" fmla="*/ 175377 w 3147279"/>
                  <a:gd name="connsiteY84" fmla="*/ 2240280 h 3147060"/>
                  <a:gd name="connsiteX85" fmla="*/ 160137 w 3147279"/>
                  <a:gd name="connsiteY85" fmla="*/ 2202180 h 3147060"/>
                  <a:gd name="connsiteX86" fmla="*/ 144897 w 3147279"/>
                  <a:gd name="connsiteY86" fmla="*/ 2179320 h 3147060"/>
                  <a:gd name="connsiteX87" fmla="*/ 129657 w 3147279"/>
                  <a:gd name="connsiteY87" fmla="*/ 2133600 h 3147060"/>
                  <a:gd name="connsiteX88" fmla="*/ 99177 w 3147279"/>
                  <a:gd name="connsiteY88" fmla="*/ 2087880 h 3147060"/>
                  <a:gd name="connsiteX89" fmla="*/ 61077 w 3147279"/>
                  <a:gd name="connsiteY89" fmla="*/ 2026920 h 3147060"/>
                  <a:gd name="connsiteX90" fmla="*/ 53457 w 3147279"/>
                  <a:gd name="connsiteY90" fmla="*/ 2004060 h 3147060"/>
                  <a:gd name="connsiteX91" fmla="*/ 38217 w 3147279"/>
                  <a:gd name="connsiteY91" fmla="*/ 1943100 h 3147060"/>
                  <a:gd name="connsiteX92" fmla="*/ 22977 w 3147279"/>
                  <a:gd name="connsiteY92" fmla="*/ 1897380 h 3147060"/>
                  <a:gd name="connsiteX93" fmla="*/ 117 w 3147279"/>
                  <a:gd name="connsiteY93" fmla="*/ 1562100 h 3147060"/>
                  <a:gd name="connsiteX94" fmla="*/ 22977 w 3147279"/>
                  <a:gd name="connsiteY94" fmla="*/ 1135380 h 3147060"/>
                  <a:gd name="connsiteX95" fmla="*/ 38217 w 3147279"/>
                  <a:gd name="connsiteY95" fmla="*/ 1104900 h 3147060"/>
                  <a:gd name="connsiteX96" fmla="*/ 83937 w 3147279"/>
                  <a:gd name="connsiteY96" fmla="*/ 1021080 h 3147060"/>
                  <a:gd name="connsiteX97" fmla="*/ 129657 w 3147279"/>
                  <a:gd name="connsiteY97" fmla="*/ 914400 h 3147060"/>
                  <a:gd name="connsiteX98" fmla="*/ 160137 w 3147279"/>
                  <a:gd name="connsiteY98" fmla="*/ 861060 h 3147060"/>
                  <a:gd name="connsiteX99" fmla="*/ 182997 w 3147279"/>
                  <a:gd name="connsiteY99" fmla="*/ 822960 h 3147060"/>
                  <a:gd name="connsiteX100" fmla="*/ 205857 w 3147279"/>
                  <a:gd name="connsiteY100" fmla="*/ 800100 h 3147060"/>
                  <a:gd name="connsiteX101" fmla="*/ 259197 w 3147279"/>
                  <a:gd name="connsiteY101" fmla="*/ 708660 h 3147060"/>
                  <a:gd name="connsiteX102" fmla="*/ 274437 w 3147279"/>
                  <a:gd name="connsiteY102" fmla="*/ 662940 h 3147060"/>
                  <a:gd name="connsiteX103" fmla="*/ 327777 w 3147279"/>
                  <a:gd name="connsiteY103" fmla="*/ 586740 h 3147060"/>
                  <a:gd name="connsiteX104" fmla="*/ 419217 w 3147279"/>
                  <a:gd name="connsiteY104" fmla="*/ 510540 h 3147060"/>
                  <a:gd name="connsiteX105" fmla="*/ 449697 w 3147279"/>
                  <a:gd name="connsiteY105" fmla="*/ 472440 h 3147060"/>
                  <a:gd name="connsiteX106" fmla="*/ 510657 w 3147279"/>
                  <a:gd name="connsiteY106" fmla="*/ 434340 h 3147060"/>
                  <a:gd name="connsiteX107" fmla="*/ 563997 w 3147279"/>
                  <a:gd name="connsiteY107" fmla="*/ 396240 h 3147060"/>
                  <a:gd name="connsiteX108" fmla="*/ 655437 w 3147279"/>
                  <a:gd name="connsiteY108" fmla="*/ 335280 h 3147060"/>
                  <a:gd name="connsiteX109" fmla="*/ 731637 w 3147279"/>
                  <a:gd name="connsiteY109" fmla="*/ 297180 h 3147060"/>
                  <a:gd name="connsiteX110" fmla="*/ 815457 w 3147279"/>
                  <a:gd name="connsiteY110" fmla="*/ 236220 h 3147060"/>
                  <a:gd name="connsiteX111" fmla="*/ 830697 w 3147279"/>
                  <a:gd name="connsiteY111" fmla="*/ 213360 h 3147060"/>
                  <a:gd name="connsiteX112" fmla="*/ 861177 w 3147279"/>
                  <a:gd name="connsiteY112" fmla="*/ 205740 h 3147060"/>
                  <a:gd name="connsiteX113" fmla="*/ 952617 w 3147279"/>
                  <a:gd name="connsiteY113" fmla="*/ 152400 h 3147060"/>
                  <a:gd name="connsiteX114" fmla="*/ 983097 w 3147279"/>
                  <a:gd name="connsiteY114" fmla="*/ 129540 h 3147060"/>
                  <a:gd name="connsiteX115" fmla="*/ 1105017 w 3147279"/>
                  <a:gd name="connsiteY115" fmla="*/ 76200 h 3147060"/>
                  <a:gd name="connsiteX116" fmla="*/ 1127877 w 3147279"/>
                  <a:gd name="connsiteY116" fmla="*/ 68580 h 3147060"/>
                  <a:gd name="connsiteX117" fmla="*/ 1188837 w 3147279"/>
                  <a:gd name="connsiteY117" fmla="*/ 53340 h 3147060"/>
                  <a:gd name="connsiteX118" fmla="*/ 1242177 w 3147279"/>
                  <a:gd name="connsiteY118" fmla="*/ 38100 h 3147060"/>
                  <a:gd name="connsiteX119" fmla="*/ 1265037 w 3147279"/>
                  <a:gd name="connsiteY119" fmla="*/ 30480 h 3147060"/>
                  <a:gd name="connsiteX120" fmla="*/ 1386957 w 3147279"/>
                  <a:gd name="connsiteY120" fmla="*/ 15240 h 3147060"/>
                  <a:gd name="connsiteX121" fmla="*/ 1463157 w 3147279"/>
                  <a:gd name="connsiteY121" fmla="*/ 0 h 3147060"/>
                  <a:gd name="connsiteX122" fmla="*/ 1882257 w 3147279"/>
                  <a:gd name="connsiteY122" fmla="*/ 15240 h 3147060"/>
                  <a:gd name="connsiteX123" fmla="*/ 1912737 w 3147279"/>
                  <a:gd name="connsiteY123" fmla="*/ 22860 h 3147060"/>
                  <a:gd name="connsiteX124" fmla="*/ 2164197 w 3147279"/>
                  <a:gd name="connsiteY124" fmla="*/ 99060 h 3147060"/>
                  <a:gd name="connsiteX125" fmla="*/ 2339457 w 3147279"/>
                  <a:gd name="connsiteY125" fmla="*/ 182880 h 3147060"/>
                  <a:gd name="connsiteX126" fmla="*/ 2369937 w 3147279"/>
                  <a:gd name="connsiteY126" fmla="*/ 190500 h 3147060"/>
                  <a:gd name="connsiteX127" fmla="*/ 2392797 w 3147279"/>
                  <a:gd name="connsiteY127" fmla="*/ 205740 h 3147060"/>
                  <a:gd name="connsiteX128" fmla="*/ 2438517 w 3147279"/>
                  <a:gd name="connsiteY128" fmla="*/ 228600 h 3147060"/>
                  <a:gd name="connsiteX129" fmla="*/ 2446137 w 3147279"/>
                  <a:gd name="connsiteY129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861177 w 3147279"/>
                  <a:gd name="connsiteY75" fmla="*/ 3070860 h 3147060"/>
                  <a:gd name="connsiteX76" fmla="*/ 365877 w 3147279"/>
                  <a:gd name="connsiteY76" fmla="*/ 2613660 h 3147060"/>
                  <a:gd name="connsiteX77" fmla="*/ 343017 w 3147279"/>
                  <a:gd name="connsiteY77" fmla="*/ 2567940 h 3147060"/>
                  <a:gd name="connsiteX78" fmla="*/ 320157 w 3147279"/>
                  <a:gd name="connsiteY78" fmla="*/ 2484120 h 3147060"/>
                  <a:gd name="connsiteX79" fmla="*/ 297297 w 3147279"/>
                  <a:gd name="connsiteY79" fmla="*/ 2430780 h 3147060"/>
                  <a:gd name="connsiteX80" fmla="*/ 274437 w 3147279"/>
                  <a:gd name="connsiteY80" fmla="*/ 2377440 h 3147060"/>
                  <a:gd name="connsiteX81" fmla="*/ 228717 w 3147279"/>
                  <a:gd name="connsiteY81" fmla="*/ 2316480 h 3147060"/>
                  <a:gd name="connsiteX82" fmla="*/ 205857 w 3147279"/>
                  <a:gd name="connsiteY82" fmla="*/ 2293620 h 3147060"/>
                  <a:gd name="connsiteX83" fmla="*/ 175377 w 3147279"/>
                  <a:gd name="connsiteY83" fmla="*/ 2240280 h 3147060"/>
                  <a:gd name="connsiteX84" fmla="*/ 160137 w 3147279"/>
                  <a:gd name="connsiteY84" fmla="*/ 2202180 h 3147060"/>
                  <a:gd name="connsiteX85" fmla="*/ 144897 w 3147279"/>
                  <a:gd name="connsiteY85" fmla="*/ 2179320 h 3147060"/>
                  <a:gd name="connsiteX86" fmla="*/ 129657 w 3147279"/>
                  <a:gd name="connsiteY86" fmla="*/ 2133600 h 3147060"/>
                  <a:gd name="connsiteX87" fmla="*/ 99177 w 3147279"/>
                  <a:gd name="connsiteY87" fmla="*/ 2087880 h 3147060"/>
                  <a:gd name="connsiteX88" fmla="*/ 61077 w 3147279"/>
                  <a:gd name="connsiteY88" fmla="*/ 2026920 h 3147060"/>
                  <a:gd name="connsiteX89" fmla="*/ 53457 w 3147279"/>
                  <a:gd name="connsiteY89" fmla="*/ 2004060 h 3147060"/>
                  <a:gd name="connsiteX90" fmla="*/ 38217 w 3147279"/>
                  <a:gd name="connsiteY90" fmla="*/ 1943100 h 3147060"/>
                  <a:gd name="connsiteX91" fmla="*/ 22977 w 3147279"/>
                  <a:gd name="connsiteY91" fmla="*/ 1897380 h 3147060"/>
                  <a:gd name="connsiteX92" fmla="*/ 117 w 3147279"/>
                  <a:gd name="connsiteY92" fmla="*/ 1562100 h 3147060"/>
                  <a:gd name="connsiteX93" fmla="*/ 22977 w 3147279"/>
                  <a:gd name="connsiteY93" fmla="*/ 1135380 h 3147060"/>
                  <a:gd name="connsiteX94" fmla="*/ 38217 w 3147279"/>
                  <a:gd name="connsiteY94" fmla="*/ 1104900 h 3147060"/>
                  <a:gd name="connsiteX95" fmla="*/ 83937 w 3147279"/>
                  <a:gd name="connsiteY95" fmla="*/ 1021080 h 3147060"/>
                  <a:gd name="connsiteX96" fmla="*/ 129657 w 3147279"/>
                  <a:gd name="connsiteY96" fmla="*/ 914400 h 3147060"/>
                  <a:gd name="connsiteX97" fmla="*/ 160137 w 3147279"/>
                  <a:gd name="connsiteY97" fmla="*/ 861060 h 3147060"/>
                  <a:gd name="connsiteX98" fmla="*/ 182997 w 3147279"/>
                  <a:gd name="connsiteY98" fmla="*/ 822960 h 3147060"/>
                  <a:gd name="connsiteX99" fmla="*/ 205857 w 3147279"/>
                  <a:gd name="connsiteY99" fmla="*/ 800100 h 3147060"/>
                  <a:gd name="connsiteX100" fmla="*/ 259197 w 3147279"/>
                  <a:gd name="connsiteY100" fmla="*/ 708660 h 3147060"/>
                  <a:gd name="connsiteX101" fmla="*/ 274437 w 3147279"/>
                  <a:gd name="connsiteY101" fmla="*/ 662940 h 3147060"/>
                  <a:gd name="connsiteX102" fmla="*/ 327777 w 3147279"/>
                  <a:gd name="connsiteY102" fmla="*/ 586740 h 3147060"/>
                  <a:gd name="connsiteX103" fmla="*/ 419217 w 3147279"/>
                  <a:gd name="connsiteY103" fmla="*/ 510540 h 3147060"/>
                  <a:gd name="connsiteX104" fmla="*/ 449697 w 3147279"/>
                  <a:gd name="connsiteY104" fmla="*/ 472440 h 3147060"/>
                  <a:gd name="connsiteX105" fmla="*/ 510657 w 3147279"/>
                  <a:gd name="connsiteY105" fmla="*/ 434340 h 3147060"/>
                  <a:gd name="connsiteX106" fmla="*/ 563997 w 3147279"/>
                  <a:gd name="connsiteY106" fmla="*/ 396240 h 3147060"/>
                  <a:gd name="connsiteX107" fmla="*/ 655437 w 3147279"/>
                  <a:gd name="connsiteY107" fmla="*/ 335280 h 3147060"/>
                  <a:gd name="connsiteX108" fmla="*/ 731637 w 3147279"/>
                  <a:gd name="connsiteY108" fmla="*/ 297180 h 3147060"/>
                  <a:gd name="connsiteX109" fmla="*/ 815457 w 3147279"/>
                  <a:gd name="connsiteY109" fmla="*/ 236220 h 3147060"/>
                  <a:gd name="connsiteX110" fmla="*/ 830697 w 3147279"/>
                  <a:gd name="connsiteY110" fmla="*/ 213360 h 3147060"/>
                  <a:gd name="connsiteX111" fmla="*/ 861177 w 3147279"/>
                  <a:gd name="connsiteY111" fmla="*/ 205740 h 3147060"/>
                  <a:gd name="connsiteX112" fmla="*/ 952617 w 3147279"/>
                  <a:gd name="connsiteY112" fmla="*/ 152400 h 3147060"/>
                  <a:gd name="connsiteX113" fmla="*/ 983097 w 3147279"/>
                  <a:gd name="connsiteY113" fmla="*/ 129540 h 3147060"/>
                  <a:gd name="connsiteX114" fmla="*/ 1105017 w 3147279"/>
                  <a:gd name="connsiteY114" fmla="*/ 76200 h 3147060"/>
                  <a:gd name="connsiteX115" fmla="*/ 1127877 w 3147279"/>
                  <a:gd name="connsiteY115" fmla="*/ 68580 h 3147060"/>
                  <a:gd name="connsiteX116" fmla="*/ 1188837 w 3147279"/>
                  <a:gd name="connsiteY116" fmla="*/ 53340 h 3147060"/>
                  <a:gd name="connsiteX117" fmla="*/ 1242177 w 3147279"/>
                  <a:gd name="connsiteY117" fmla="*/ 38100 h 3147060"/>
                  <a:gd name="connsiteX118" fmla="*/ 1265037 w 3147279"/>
                  <a:gd name="connsiteY118" fmla="*/ 30480 h 3147060"/>
                  <a:gd name="connsiteX119" fmla="*/ 1386957 w 3147279"/>
                  <a:gd name="connsiteY119" fmla="*/ 15240 h 3147060"/>
                  <a:gd name="connsiteX120" fmla="*/ 1463157 w 3147279"/>
                  <a:gd name="connsiteY120" fmla="*/ 0 h 3147060"/>
                  <a:gd name="connsiteX121" fmla="*/ 1882257 w 3147279"/>
                  <a:gd name="connsiteY121" fmla="*/ 15240 h 3147060"/>
                  <a:gd name="connsiteX122" fmla="*/ 1912737 w 3147279"/>
                  <a:gd name="connsiteY122" fmla="*/ 22860 h 3147060"/>
                  <a:gd name="connsiteX123" fmla="*/ 2164197 w 3147279"/>
                  <a:gd name="connsiteY123" fmla="*/ 99060 h 3147060"/>
                  <a:gd name="connsiteX124" fmla="*/ 2339457 w 3147279"/>
                  <a:gd name="connsiteY124" fmla="*/ 182880 h 3147060"/>
                  <a:gd name="connsiteX125" fmla="*/ 2369937 w 3147279"/>
                  <a:gd name="connsiteY125" fmla="*/ 190500 h 3147060"/>
                  <a:gd name="connsiteX126" fmla="*/ 2392797 w 3147279"/>
                  <a:gd name="connsiteY126" fmla="*/ 205740 h 3147060"/>
                  <a:gd name="connsiteX127" fmla="*/ 2438517 w 3147279"/>
                  <a:gd name="connsiteY127" fmla="*/ 228600 h 3147060"/>
                  <a:gd name="connsiteX128" fmla="*/ 2446137 w 3147279"/>
                  <a:gd name="connsiteY128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998337 w 3147279"/>
                  <a:gd name="connsiteY74" fmla="*/ 3093720 h 3147060"/>
                  <a:gd name="connsiteX75" fmla="*/ 365877 w 3147279"/>
                  <a:gd name="connsiteY75" fmla="*/ 2613660 h 3147060"/>
                  <a:gd name="connsiteX76" fmla="*/ 343017 w 3147279"/>
                  <a:gd name="connsiteY76" fmla="*/ 2567940 h 3147060"/>
                  <a:gd name="connsiteX77" fmla="*/ 320157 w 3147279"/>
                  <a:gd name="connsiteY77" fmla="*/ 2484120 h 3147060"/>
                  <a:gd name="connsiteX78" fmla="*/ 297297 w 3147279"/>
                  <a:gd name="connsiteY78" fmla="*/ 2430780 h 3147060"/>
                  <a:gd name="connsiteX79" fmla="*/ 274437 w 3147279"/>
                  <a:gd name="connsiteY79" fmla="*/ 2377440 h 3147060"/>
                  <a:gd name="connsiteX80" fmla="*/ 228717 w 3147279"/>
                  <a:gd name="connsiteY80" fmla="*/ 2316480 h 3147060"/>
                  <a:gd name="connsiteX81" fmla="*/ 205857 w 3147279"/>
                  <a:gd name="connsiteY81" fmla="*/ 2293620 h 3147060"/>
                  <a:gd name="connsiteX82" fmla="*/ 175377 w 3147279"/>
                  <a:gd name="connsiteY82" fmla="*/ 2240280 h 3147060"/>
                  <a:gd name="connsiteX83" fmla="*/ 160137 w 3147279"/>
                  <a:gd name="connsiteY83" fmla="*/ 2202180 h 3147060"/>
                  <a:gd name="connsiteX84" fmla="*/ 144897 w 3147279"/>
                  <a:gd name="connsiteY84" fmla="*/ 2179320 h 3147060"/>
                  <a:gd name="connsiteX85" fmla="*/ 129657 w 3147279"/>
                  <a:gd name="connsiteY85" fmla="*/ 2133600 h 3147060"/>
                  <a:gd name="connsiteX86" fmla="*/ 99177 w 3147279"/>
                  <a:gd name="connsiteY86" fmla="*/ 2087880 h 3147060"/>
                  <a:gd name="connsiteX87" fmla="*/ 61077 w 3147279"/>
                  <a:gd name="connsiteY87" fmla="*/ 2026920 h 3147060"/>
                  <a:gd name="connsiteX88" fmla="*/ 53457 w 3147279"/>
                  <a:gd name="connsiteY88" fmla="*/ 2004060 h 3147060"/>
                  <a:gd name="connsiteX89" fmla="*/ 38217 w 3147279"/>
                  <a:gd name="connsiteY89" fmla="*/ 1943100 h 3147060"/>
                  <a:gd name="connsiteX90" fmla="*/ 22977 w 3147279"/>
                  <a:gd name="connsiteY90" fmla="*/ 1897380 h 3147060"/>
                  <a:gd name="connsiteX91" fmla="*/ 117 w 3147279"/>
                  <a:gd name="connsiteY91" fmla="*/ 1562100 h 3147060"/>
                  <a:gd name="connsiteX92" fmla="*/ 22977 w 3147279"/>
                  <a:gd name="connsiteY92" fmla="*/ 1135380 h 3147060"/>
                  <a:gd name="connsiteX93" fmla="*/ 38217 w 3147279"/>
                  <a:gd name="connsiteY93" fmla="*/ 1104900 h 3147060"/>
                  <a:gd name="connsiteX94" fmla="*/ 83937 w 3147279"/>
                  <a:gd name="connsiteY94" fmla="*/ 1021080 h 3147060"/>
                  <a:gd name="connsiteX95" fmla="*/ 129657 w 3147279"/>
                  <a:gd name="connsiteY95" fmla="*/ 914400 h 3147060"/>
                  <a:gd name="connsiteX96" fmla="*/ 160137 w 3147279"/>
                  <a:gd name="connsiteY96" fmla="*/ 861060 h 3147060"/>
                  <a:gd name="connsiteX97" fmla="*/ 182997 w 3147279"/>
                  <a:gd name="connsiteY97" fmla="*/ 822960 h 3147060"/>
                  <a:gd name="connsiteX98" fmla="*/ 205857 w 3147279"/>
                  <a:gd name="connsiteY98" fmla="*/ 800100 h 3147060"/>
                  <a:gd name="connsiteX99" fmla="*/ 259197 w 3147279"/>
                  <a:gd name="connsiteY99" fmla="*/ 708660 h 3147060"/>
                  <a:gd name="connsiteX100" fmla="*/ 274437 w 3147279"/>
                  <a:gd name="connsiteY100" fmla="*/ 662940 h 3147060"/>
                  <a:gd name="connsiteX101" fmla="*/ 327777 w 3147279"/>
                  <a:gd name="connsiteY101" fmla="*/ 586740 h 3147060"/>
                  <a:gd name="connsiteX102" fmla="*/ 419217 w 3147279"/>
                  <a:gd name="connsiteY102" fmla="*/ 510540 h 3147060"/>
                  <a:gd name="connsiteX103" fmla="*/ 449697 w 3147279"/>
                  <a:gd name="connsiteY103" fmla="*/ 472440 h 3147060"/>
                  <a:gd name="connsiteX104" fmla="*/ 510657 w 3147279"/>
                  <a:gd name="connsiteY104" fmla="*/ 434340 h 3147060"/>
                  <a:gd name="connsiteX105" fmla="*/ 563997 w 3147279"/>
                  <a:gd name="connsiteY105" fmla="*/ 396240 h 3147060"/>
                  <a:gd name="connsiteX106" fmla="*/ 655437 w 3147279"/>
                  <a:gd name="connsiteY106" fmla="*/ 335280 h 3147060"/>
                  <a:gd name="connsiteX107" fmla="*/ 731637 w 3147279"/>
                  <a:gd name="connsiteY107" fmla="*/ 297180 h 3147060"/>
                  <a:gd name="connsiteX108" fmla="*/ 815457 w 3147279"/>
                  <a:gd name="connsiteY108" fmla="*/ 236220 h 3147060"/>
                  <a:gd name="connsiteX109" fmla="*/ 830697 w 3147279"/>
                  <a:gd name="connsiteY109" fmla="*/ 213360 h 3147060"/>
                  <a:gd name="connsiteX110" fmla="*/ 861177 w 3147279"/>
                  <a:gd name="connsiteY110" fmla="*/ 205740 h 3147060"/>
                  <a:gd name="connsiteX111" fmla="*/ 952617 w 3147279"/>
                  <a:gd name="connsiteY111" fmla="*/ 152400 h 3147060"/>
                  <a:gd name="connsiteX112" fmla="*/ 983097 w 3147279"/>
                  <a:gd name="connsiteY112" fmla="*/ 129540 h 3147060"/>
                  <a:gd name="connsiteX113" fmla="*/ 1105017 w 3147279"/>
                  <a:gd name="connsiteY113" fmla="*/ 76200 h 3147060"/>
                  <a:gd name="connsiteX114" fmla="*/ 1127877 w 3147279"/>
                  <a:gd name="connsiteY114" fmla="*/ 68580 h 3147060"/>
                  <a:gd name="connsiteX115" fmla="*/ 1188837 w 3147279"/>
                  <a:gd name="connsiteY115" fmla="*/ 53340 h 3147060"/>
                  <a:gd name="connsiteX116" fmla="*/ 1242177 w 3147279"/>
                  <a:gd name="connsiteY116" fmla="*/ 38100 h 3147060"/>
                  <a:gd name="connsiteX117" fmla="*/ 1265037 w 3147279"/>
                  <a:gd name="connsiteY117" fmla="*/ 30480 h 3147060"/>
                  <a:gd name="connsiteX118" fmla="*/ 1386957 w 3147279"/>
                  <a:gd name="connsiteY118" fmla="*/ 15240 h 3147060"/>
                  <a:gd name="connsiteX119" fmla="*/ 1463157 w 3147279"/>
                  <a:gd name="connsiteY119" fmla="*/ 0 h 3147060"/>
                  <a:gd name="connsiteX120" fmla="*/ 1882257 w 3147279"/>
                  <a:gd name="connsiteY120" fmla="*/ 15240 h 3147060"/>
                  <a:gd name="connsiteX121" fmla="*/ 1912737 w 3147279"/>
                  <a:gd name="connsiteY121" fmla="*/ 22860 h 3147060"/>
                  <a:gd name="connsiteX122" fmla="*/ 2164197 w 3147279"/>
                  <a:gd name="connsiteY122" fmla="*/ 99060 h 3147060"/>
                  <a:gd name="connsiteX123" fmla="*/ 2339457 w 3147279"/>
                  <a:gd name="connsiteY123" fmla="*/ 182880 h 3147060"/>
                  <a:gd name="connsiteX124" fmla="*/ 2369937 w 3147279"/>
                  <a:gd name="connsiteY124" fmla="*/ 190500 h 3147060"/>
                  <a:gd name="connsiteX125" fmla="*/ 2392797 w 3147279"/>
                  <a:gd name="connsiteY125" fmla="*/ 205740 h 3147060"/>
                  <a:gd name="connsiteX126" fmla="*/ 2438517 w 3147279"/>
                  <a:gd name="connsiteY126" fmla="*/ 228600 h 3147060"/>
                  <a:gd name="connsiteX127" fmla="*/ 2446137 w 3147279"/>
                  <a:gd name="connsiteY127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1158357 w 3147279"/>
                  <a:gd name="connsiteY71" fmla="*/ 3131820 h 3147060"/>
                  <a:gd name="connsiteX72" fmla="*/ 1112637 w 3147279"/>
                  <a:gd name="connsiteY72" fmla="*/ 3116580 h 3147060"/>
                  <a:gd name="connsiteX73" fmla="*/ 1074537 w 3147279"/>
                  <a:gd name="connsiteY73" fmla="*/ 3101340 h 3147060"/>
                  <a:gd name="connsiteX74" fmla="*/ 365877 w 3147279"/>
                  <a:gd name="connsiteY74" fmla="*/ 2613660 h 3147060"/>
                  <a:gd name="connsiteX75" fmla="*/ 343017 w 3147279"/>
                  <a:gd name="connsiteY75" fmla="*/ 2567940 h 3147060"/>
                  <a:gd name="connsiteX76" fmla="*/ 320157 w 3147279"/>
                  <a:gd name="connsiteY76" fmla="*/ 2484120 h 3147060"/>
                  <a:gd name="connsiteX77" fmla="*/ 297297 w 3147279"/>
                  <a:gd name="connsiteY77" fmla="*/ 2430780 h 3147060"/>
                  <a:gd name="connsiteX78" fmla="*/ 274437 w 3147279"/>
                  <a:gd name="connsiteY78" fmla="*/ 2377440 h 3147060"/>
                  <a:gd name="connsiteX79" fmla="*/ 228717 w 3147279"/>
                  <a:gd name="connsiteY79" fmla="*/ 2316480 h 3147060"/>
                  <a:gd name="connsiteX80" fmla="*/ 205857 w 3147279"/>
                  <a:gd name="connsiteY80" fmla="*/ 2293620 h 3147060"/>
                  <a:gd name="connsiteX81" fmla="*/ 175377 w 3147279"/>
                  <a:gd name="connsiteY81" fmla="*/ 2240280 h 3147060"/>
                  <a:gd name="connsiteX82" fmla="*/ 160137 w 3147279"/>
                  <a:gd name="connsiteY82" fmla="*/ 2202180 h 3147060"/>
                  <a:gd name="connsiteX83" fmla="*/ 144897 w 3147279"/>
                  <a:gd name="connsiteY83" fmla="*/ 2179320 h 3147060"/>
                  <a:gd name="connsiteX84" fmla="*/ 129657 w 3147279"/>
                  <a:gd name="connsiteY84" fmla="*/ 2133600 h 3147060"/>
                  <a:gd name="connsiteX85" fmla="*/ 99177 w 3147279"/>
                  <a:gd name="connsiteY85" fmla="*/ 2087880 h 3147060"/>
                  <a:gd name="connsiteX86" fmla="*/ 61077 w 3147279"/>
                  <a:gd name="connsiteY86" fmla="*/ 2026920 h 3147060"/>
                  <a:gd name="connsiteX87" fmla="*/ 53457 w 3147279"/>
                  <a:gd name="connsiteY87" fmla="*/ 2004060 h 3147060"/>
                  <a:gd name="connsiteX88" fmla="*/ 38217 w 3147279"/>
                  <a:gd name="connsiteY88" fmla="*/ 1943100 h 3147060"/>
                  <a:gd name="connsiteX89" fmla="*/ 22977 w 3147279"/>
                  <a:gd name="connsiteY89" fmla="*/ 1897380 h 3147060"/>
                  <a:gd name="connsiteX90" fmla="*/ 117 w 3147279"/>
                  <a:gd name="connsiteY90" fmla="*/ 1562100 h 3147060"/>
                  <a:gd name="connsiteX91" fmla="*/ 22977 w 3147279"/>
                  <a:gd name="connsiteY91" fmla="*/ 1135380 h 3147060"/>
                  <a:gd name="connsiteX92" fmla="*/ 38217 w 3147279"/>
                  <a:gd name="connsiteY92" fmla="*/ 1104900 h 3147060"/>
                  <a:gd name="connsiteX93" fmla="*/ 83937 w 3147279"/>
                  <a:gd name="connsiteY93" fmla="*/ 1021080 h 3147060"/>
                  <a:gd name="connsiteX94" fmla="*/ 129657 w 3147279"/>
                  <a:gd name="connsiteY94" fmla="*/ 914400 h 3147060"/>
                  <a:gd name="connsiteX95" fmla="*/ 160137 w 3147279"/>
                  <a:gd name="connsiteY95" fmla="*/ 861060 h 3147060"/>
                  <a:gd name="connsiteX96" fmla="*/ 182997 w 3147279"/>
                  <a:gd name="connsiteY96" fmla="*/ 822960 h 3147060"/>
                  <a:gd name="connsiteX97" fmla="*/ 205857 w 3147279"/>
                  <a:gd name="connsiteY97" fmla="*/ 800100 h 3147060"/>
                  <a:gd name="connsiteX98" fmla="*/ 259197 w 3147279"/>
                  <a:gd name="connsiteY98" fmla="*/ 708660 h 3147060"/>
                  <a:gd name="connsiteX99" fmla="*/ 274437 w 3147279"/>
                  <a:gd name="connsiteY99" fmla="*/ 662940 h 3147060"/>
                  <a:gd name="connsiteX100" fmla="*/ 327777 w 3147279"/>
                  <a:gd name="connsiteY100" fmla="*/ 586740 h 3147060"/>
                  <a:gd name="connsiteX101" fmla="*/ 419217 w 3147279"/>
                  <a:gd name="connsiteY101" fmla="*/ 510540 h 3147060"/>
                  <a:gd name="connsiteX102" fmla="*/ 449697 w 3147279"/>
                  <a:gd name="connsiteY102" fmla="*/ 472440 h 3147060"/>
                  <a:gd name="connsiteX103" fmla="*/ 510657 w 3147279"/>
                  <a:gd name="connsiteY103" fmla="*/ 434340 h 3147060"/>
                  <a:gd name="connsiteX104" fmla="*/ 563997 w 3147279"/>
                  <a:gd name="connsiteY104" fmla="*/ 396240 h 3147060"/>
                  <a:gd name="connsiteX105" fmla="*/ 655437 w 3147279"/>
                  <a:gd name="connsiteY105" fmla="*/ 335280 h 3147060"/>
                  <a:gd name="connsiteX106" fmla="*/ 731637 w 3147279"/>
                  <a:gd name="connsiteY106" fmla="*/ 297180 h 3147060"/>
                  <a:gd name="connsiteX107" fmla="*/ 815457 w 3147279"/>
                  <a:gd name="connsiteY107" fmla="*/ 236220 h 3147060"/>
                  <a:gd name="connsiteX108" fmla="*/ 830697 w 3147279"/>
                  <a:gd name="connsiteY108" fmla="*/ 213360 h 3147060"/>
                  <a:gd name="connsiteX109" fmla="*/ 861177 w 3147279"/>
                  <a:gd name="connsiteY109" fmla="*/ 205740 h 3147060"/>
                  <a:gd name="connsiteX110" fmla="*/ 952617 w 3147279"/>
                  <a:gd name="connsiteY110" fmla="*/ 152400 h 3147060"/>
                  <a:gd name="connsiteX111" fmla="*/ 983097 w 3147279"/>
                  <a:gd name="connsiteY111" fmla="*/ 129540 h 3147060"/>
                  <a:gd name="connsiteX112" fmla="*/ 1105017 w 3147279"/>
                  <a:gd name="connsiteY112" fmla="*/ 76200 h 3147060"/>
                  <a:gd name="connsiteX113" fmla="*/ 1127877 w 3147279"/>
                  <a:gd name="connsiteY113" fmla="*/ 68580 h 3147060"/>
                  <a:gd name="connsiteX114" fmla="*/ 1188837 w 3147279"/>
                  <a:gd name="connsiteY114" fmla="*/ 53340 h 3147060"/>
                  <a:gd name="connsiteX115" fmla="*/ 1242177 w 3147279"/>
                  <a:gd name="connsiteY115" fmla="*/ 38100 h 3147060"/>
                  <a:gd name="connsiteX116" fmla="*/ 1265037 w 3147279"/>
                  <a:gd name="connsiteY116" fmla="*/ 30480 h 3147060"/>
                  <a:gd name="connsiteX117" fmla="*/ 1386957 w 3147279"/>
                  <a:gd name="connsiteY117" fmla="*/ 15240 h 3147060"/>
                  <a:gd name="connsiteX118" fmla="*/ 1463157 w 3147279"/>
                  <a:gd name="connsiteY118" fmla="*/ 0 h 3147060"/>
                  <a:gd name="connsiteX119" fmla="*/ 1882257 w 3147279"/>
                  <a:gd name="connsiteY119" fmla="*/ 15240 h 3147060"/>
                  <a:gd name="connsiteX120" fmla="*/ 1912737 w 3147279"/>
                  <a:gd name="connsiteY120" fmla="*/ 22860 h 3147060"/>
                  <a:gd name="connsiteX121" fmla="*/ 2164197 w 3147279"/>
                  <a:gd name="connsiteY121" fmla="*/ 99060 h 3147060"/>
                  <a:gd name="connsiteX122" fmla="*/ 2339457 w 3147279"/>
                  <a:gd name="connsiteY122" fmla="*/ 182880 h 3147060"/>
                  <a:gd name="connsiteX123" fmla="*/ 2369937 w 3147279"/>
                  <a:gd name="connsiteY123" fmla="*/ 190500 h 3147060"/>
                  <a:gd name="connsiteX124" fmla="*/ 2392797 w 3147279"/>
                  <a:gd name="connsiteY124" fmla="*/ 205740 h 3147060"/>
                  <a:gd name="connsiteX125" fmla="*/ 2438517 w 3147279"/>
                  <a:gd name="connsiteY125" fmla="*/ 228600 h 3147060"/>
                  <a:gd name="connsiteX126" fmla="*/ 2446137 w 3147279"/>
                  <a:gd name="connsiteY126" fmla="*/ 266700 h 3147060"/>
                  <a:gd name="connsiteX0" fmla="*/ 2446137 w 3147279"/>
                  <a:gd name="connsiteY0" fmla="*/ 266700 h 3158149"/>
                  <a:gd name="connsiteX1" fmla="*/ 2491857 w 3147279"/>
                  <a:gd name="connsiteY1" fmla="*/ 297180 h 3158149"/>
                  <a:gd name="connsiteX2" fmla="*/ 2499477 w 3147279"/>
                  <a:gd name="connsiteY2" fmla="*/ 320040 h 3158149"/>
                  <a:gd name="connsiteX3" fmla="*/ 2529957 w 3147279"/>
                  <a:gd name="connsiteY3" fmla="*/ 342900 h 3158149"/>
                  <a:gd name="connsiteX4" fmla="*/ 2552817 w 3147279"/>
                  <a:gd name="connsiteY4" fmla="*/ 373380 h 3158149"/>
                  <a:gd name="connsiteX5" fmla="*/ 2583297 w 3147279"/>
                  <a:gd name="connsiteY5" fmla="*/ 388620 h 3158149"/>
                  <a:gd name="connsiteX6" fmla="*/ 2629017 w 3147279"/>
                  <a:gd name="connsiteY6" fmla="*/ 434340 h 3158149"/>
                  <a:gd name="connsiteX7" fmla="*/ 2659497 w 3147279"/>
                  <a:gd name="connsiteY7" fmla="*/ 464820 h 3158149"/>
                  <a:gd name="connsiteX8" fmla="*/ 2705217 w 3147279"/>
                  <a:gd name="connsiteY8" fmla="*/ 487680 h 3158149"/>
                  <a:gd name="connsiteX9" fmla="*/ 2728077 w 3147279"/>
                  <a:gd name="connsiteY9" fmla="*/ 510540 h 3158149"/>
                  <a:gd name="connsiteX10" fmla="*/ 2789037 w 3147279"/>
                  <a:gd name="connsiteY10" fmla="*/ 594360 h 3158149"/>
                  <a:gd name="connsiteX11" fmla="*/ 2849997 w 3147279"/>
                  <a:gd name="connsiteY11" fmla="*/ 662940 h 3158149"/>
                  <a:gd name="connsiteX12" fmla="*/ 2872857 w 3147279"/>
                  <a:gd name="connsiteY12" fmla="*/ 701040 h 3158149"/>
                  <a:gd name="connsiteX13" fmla="*/ 2910957 w 3147279"/>
                  <a:gd name="connsiteY13" fmla="*/ 762000 h 3158149"/>
                  <a:gd name="connsiteX14" fmla="*/ 2949057 w 3147279"/>
                  <a:gd name="connsiteY14" fmla="*/ 845820 h 3158149"/>
                  <a:gd name="connsiteX15" fmla="*/ 2956677 w 3147279"/>
                  <a:gd name="connsiteY15" fmla="*/ 868680 h 3158149"/>
                  <a:gd name="connsiteX16" fmla="*/ 2979537 w 3147279"/>
                  <a:gd name="connsiteY16" fmla="*/ 922020 h 3158149"/>
                  <a:gd name="connsiteX17" fmla="*/ 2994777 w 3147279"/>
                  <a:gd name="connsiteY17" fmla="*/ 952500 h 3158149"/>
                  <a:gd name="connsiteX18" fmla="*/ 3010017 w 3147279"/>
                  <a:gd name="connsiteY18" fmla="*/ 998220 h 3158149"/>
                  <a:gd name="connsiteX19" fmla="*/ 3025257 w 3147279"/>
                  <a:gd name="connsiteY19" fmla="*/ 1036320 h 3158149"/>
                  <a:gd name="connsiteX20" fmla="*/ 3032877 w 3147279"/>
                  <a:gd name="connsiteY20" fmla="*/ 1066800 h 3158149"/>
                  <a:gd name="connsiteX21" fmla="*/ 3055737 w 3147279"/>
                  <a:gd name="connsiteY21" fmla="*/ 1104900 h 3158149"/>
                  <a:gd name="connsiteX22" fmla="*/ 3070977 w 3147279"/>
                  <a:gd name="connsiteY22" fmla="*/ 1150620 h 3158149"/>
                  <a:gd name="connsiteX23" fmla="*/ 3086217 w 3147279"/>
                  <a:gd name="connsiteY23" fmla="*/ 1181100 h 3158149"/>
                  <a:gd name="connsiteX24" fmla="*/ 3093837 w 3147279"/>
                  <a:gd name="connsiteY24" fmla="*/ 1226820 h 3158149"/>
                  <a:gd name="connsiteX25" fmla="*/ 3101457 w 3147279"/>
                  <a:gd name="connsiteY25" fmla="*/ 1280160 h 3158149"/>
                  <a:gd name="connsiteX26" fmla="*/ 3116697 w 3147279"/>
                  <a:gd name="connsiteY26" fmla="*/ 1371600 h 3158149"/>
                  <a:gd name="connsiteX27" fmla="*/ 3131937 w 3147279"/>
                  <a:gd name="connsiteY27" fmla="*/ 1417320 h 3158149"/>
                  <a:gd name="connsiteX28" fmla="*/ 3139557 w 3147279"/>
                  <a:gd name="connsiteY28" fmla="*/ 1485900 h 3158149"/>
                  <a:gd name="connsiteX29" fmla="*/ 3147177 w 3147279"/>
                  <a:gd name="connsiteY29" fmla="*/ 1516380 h 3158149"/>
                  <a:gd name="connsiteX30" fmla="*/ 3131937 w 3147279"/>
                  <a:gd name="connsiteY30" fmla="*/ 1691640 h 3158149"/>
                  <a:gd name="connsiteX31" fmla="*/ 3124317 w 3147279"/>
                  <a:gd name="connsiteY31" fmla="*/ 1767840 h 3158149"/>
                  <a:gd name="connsiteX32" fmla="*/ 3109077 w 3147279"/>
                  <a:gd name="connsiteY32" fmla="*/ 1836420 h 3158149"/>
                  <a:gd name="connsiteX33" fmla="*/ 3086217 w 3147279"/>
                  <a:gd name="connsiteY33" fmla="*/ 1905000 h 3158149"/>
                  <a:gd name="connsiteX34" fmla="*/ 3078597 w 3147279"/>
                  <a:gd name="connsiteY34" fmla="*/ 1935480 h 3158149"/>
                  <a:gd name="connsiteX35" fmla="*/ 3070977 w 3147279"/>
                  <a:gd name="connsiteY35" fmla="*/ 1958340 h 3158149"/>
                  <a:gd name="connsiteX36" fmla="*/ 3055737 w 3147279"/>
                  <a:gd name="connsiteY36" fmla="*/ 2019300 h 3158149"/>
                  <a:gd name="connsiteX37" fmla="*/ 3040497 w 3147279"/>
                  <a:gd name="connsiteY37" fmla="*/ 2057400 h 3158149"/>
                  <a:gd name="connsiteX38" fmla="*/ 3032877 w 3147279"/>
                  <a:gd name="connsiteY38" fmla="*/ 2080260 h 3158149"/>
                  <a:gd name="connsiteX39" fmla="*/ 3017637 w 3147279"/>
                  <a:gd name="connsiteY39" fmla="*/ 2118360 h 3158149"/>
                  <a:gd name="connsiteX40" fmla="*/ 2994777 w 3147279"/>
                  <a:gd name="connsiteY40" fmla="*/ 2186940 h 3158149"/>
                  <a:gd name="connsiteX41" fmla="*/ 2987157 w 3147279"/>
                  <a:gd name="connsiteY41" fmla="*/ 2225040 h 3158149"/>
                  <a:gd name="connsiteX42" fmla="*/ 2971917 w 3147279"/>
                  <a:gd name="connsiteY42" fmla="*/ 2270760 h 3158149"/>
                  <a:gd name="connsiteX43" fmla="*/ 2964297 w 3147279"/>
                  <a:gd name="connsiteY43" fmla="*/ 2308860 h 3158149"/>
                  <a:gd name="connsiteX44" fmla="*/ 2949057 w 3147279"/>
                  <a:gd name="connsiteY44" fmla="*/ 2331720 h 3158149"/>
                  <a:gd name="connsiteX45" fmla="*/ 2926197 w 3147279"/>
                  <a:gd name="connsiteY45" fmla="*/ 2385060 h 3158149"/>
                  <a:gd name="connsiteX46" fmla="*/ 2903337 w 3147279"/>
                  <a:gd name="connsiteY46" fmla="*/ 2407920 h 3158149"/>
                  <a:gd name="connsiteX47" fmla="*/ 2857617 w 3147279"/>
                  <a:gd name="connsiteY47" fmla="*/ 2499360 h 3158149"/>
                  <a:gd name="connsiteX48" fmla="*/ 2842377 w 3147279"/>
                  <a:gd name="connsiteY48" fmla="*/ 2529840 h 3158149"/>
                  <a:gd name="connsiteX49" fmla="*/ 2834757 w 3147279"/>
                  <a:gd name="connsiteY49" fmla="*/ 2552700 h 3158149"/>
                  <a:gd name="connsiteX50" fmla="*/ 2758557 w 3147279"/>
                  <a:gd name="connsiteY50" fmla="*/ 2636520 h 3158149"/>
                  <a:gd name="connsiteX51" fmla="*/ 2705217 w 3147279"/>
                  <a:gd name="connsiteY51" fmla="*/ 2667000 h 3158149"/>
                  <a:gd name="connsiteX52" fmla="*/ 2629017 w 3147279"/>
                  <a:gd name="connsiteY52" fmla="*/ 2712720 h 3158149"/>
                  <a:gd name="connsiteX53" fmla="*/ 2598537 w 3147279"/>
                  <a:gd name="connsiteY53" fmla="*/ 2727960 h 3158149"/>
                  <a:gd name="connsiteX54" fmla="*/ 2568057 w 3147279"/>
                  <a:gd name="connsiteY54" fmla="*/ 2750820 h 3158149"/>
                  <a:gd name="connsiteX55" fmla="*/ 2545197 w 3147279"/>
                  <a:gd name="connsiteY55" fmla="*/ 2773680 h 3158149"/>
                  <a:gd name="connsiteX56" fmla="*/ 2484237 w 3147279"/>
                  <a:gd name="connsiteY56" fmla="*/ 2804160 h 3158149"/>
                  <a:gd name="connsiteX57" fmla="*/ 2423277 w 3147279"/>
                  <a:gd name="connsiteY57" fmla="*/ 2865120 h 3158149"/>
                  <a:gd name="connsiteX58" fmla="*/ 2392797 w 3147279"/>
                  <a:gd name="connsiteY58" fmla="*/ 2887980 h 3158149"/>
                  <a:gd name="connsiteX59" fmla="*/ 2377557 w 3147279"/>
                  <a:gd name="connsiteY59" fmla="*/ 2910840 h 3158149"/>
                  <a:gd name="connsiteX60" fmla="*/ 2301357 w 3147279"/>
                  <a:gd name="connsiteY60" fmla="*/ 2994660 h 3158149"/>
                  <a:gd name="connsiteX61" fmla="*/ 2248017 w 3147279"/>
                  <a:gd name="connsiteY61" fmla="*/ 3032760 h 3158149"/>
                  <a:gd name="connsiteX62" fmla="*/ 2225157 w 3147279"/>
                  <a:gd name="connsiteY62" fmla="*/ 3040380 h 3158149"/>
                  <a:gd name="connsiteX63" fmla="*/ 2187057 w 3147279"/>
                  <a:gd name="connsiteY63" fmla="*/ 3055620 h 3158149"/>
                  <a:gd name="connsiteX64" fmla="*/ 2164197 w 3147279"/>
                  <a:gd name="connsiteY64" fmla="*/ 3070860 h 3158149"/>
                  <a:gd name="connsiteX65" fmla="*/ 2095617 w 3147279"/>
                  <a:gd name="connsiteY65" fmla="*/ 3101340 h 3158149"/>
                  <a:gd name="connsiteX66" fmla="*/ 2027037 w 3147279"/>
                  <a:gd name="connsiteY66" fmla="*/ 3108960 h 3158149"/>
                  <a:gd name="connsiteX67" fmla="*/ 1981317 w 3147279"/>
                  <a:gd name="connsiteY67" fmla="*/ 3124200 h 3158149"/>
                  <a:gd name="connsiteX68" fmla="*/ 1912737 w 3147279"/>
                  <a:gd name="connsiteY68" fmla="*/ 3131820 h 3158149"/>
                  <a:gd name="connsiteX69" fmla="*/ 1798437 w 3147279"/>
                  <a:gd name="connsiteY69" fmla="*/ 3147060 h 3158149"/>
                  <a:gd name="connsiteX70" fmla="*/ 1188837 w 3147279"/>
                  <a:gd name="connsiteY70" fmla="*/ 3139440 h 3158149"/>
                  <a:gd name="connsiteX71" fmla="*/ 1158357 w 3147279"/>
                  <a:gd name="connsiteY71" fmla="*/ 3131820 h 3158149"/>
                  <a:gd name="connsiteX72" fmla="*/ 1112637 w 3147279"/>
                  <a:gd name="connsiteY72" fmla="*/ 3116580 h 3158149"/>
                  <a:gd name="connsiteX73" fmla="*/ 365877 w 3147279"/>
                  <a:gd name="connsiteY73" fmla="*/ 2613660 h 3158149"/>
                  <a:gd name="connsiteX74" fmla="*/ 343017 w 3147279"/>
                  <a:gd name="connsiteY74" fmla="*/ 2567940 h 3158149"/>
                  <a:gd name="connsiteX75" fmla="*/ 320157 w 3147279"/>
                  <a:gd name="connsiteY75" fmla="*/ 2484120 h 3158149"/>
                  <a:gd name="connsiteX76" fmla="*/ 297297 w 3147279"/>
                  <a:gd name="connsiteY76" fmla="*/ 2430780 h 3158149"/>
                  <a:gd name="connsiteX77" fmla="*/ 274437 w 3147279"/>
                  <a:gd name="connsiteY77" fmla="*/ 2377440 h 3158149"/>
                  <a:gd name="connsiteX78" fmla="*/ 228717 w 3147279"/>
                  <a:gd name="connsiteY78" fmla="*/ 2316480 h 3158149"/>
                  <a:gd name="connsiteX79" fmla="*/ 205857 w 3147279"/>
                  <a:gd name="connsiteY79" fmla="*/ 2293620 h 3158149"/>
                  <a:gd name="connsiteX80" fmla="*/ 175377 w 3147279"/>
                  <a:gd name="connsiteY80" fmla="*/ 2240280 h 3158149"/>
                  <a:gd name="connsiteX81" fmla="*/ 160137 w 3147279"/>
                  <a:gd name="connsiteY81" fmla="*/ 2202180 h 3158149"/>
                  <a:gd name="connsiteX82" fmla="*/ 144897 w 3147279"/>
                  <a:gd name="connsiteY82" fmla="*/ 2179320 h 3158149"/>
                  <a:gd name="connsiteX83" fmla="*/ 129657 w 3147279"/>
                  <a:gd name="connsiteY83" fmla="*/ 2133600 h 3158149"/>
                  <a:gd name="connsiteX84" fmla="*/ 99177 w 3147279"/>
                  <a:gd name="connsiteY84" fmla="*/ 2087880 h 3158149"/>
                  <a:gd name="connsiteX85" fmla="*/ 61077 w 3147279"/>
                  <a:gd name="connsiteY85" fmla="*/ 2026920 h 3158149"/>
                  <a:gd name="connsiteX86" fmla="*/ 53457 w 3147279"/>
                  <a:gd name="connsiteY86" fmla="*/ 2004060 h 3158149"/>
                  <a:gd name="connsiteX87" fmla="*/ 38217 w 3147279"/>
                  <a:gd name="connsiteY87" fmla="*/ 1943100 h 3158149"/>
                  <a:gd name="connsiteX88" fmla="*/ 22977 w 3147279"/>
                  <a:gd name="connsiteY88" fmla="*/ 1897380 h 3158149"/>
                  <a:gd name="connsiteX89" fmla="*/ 117 w 3147279"/>
                  <a:gd name="connsiteY89" fmla="*/ 1562100 h 3158149"/>
                  <a:gd name="connsiteX90" fmla="*/ 22977 w 3147279"/>
                  <a:gd name="connsiteY90" fmla="*/ 1135380 h 3158149"/>
                  <a:gd name="connsiteX91" fmla="*/ 38217 w 3147279"/>
                  <a:gd name="connsiteY91" fmla="*/ 1104900 h 3158149"/>
                  <a:gd name="connsiteX92" fmla="*/ 83937 w 3147279"/>
                  <a:gd name="connsiteY92" fmla="*/ 1021080 h 3158149"/>
                  <a:gd name="connsiteX93" fmla="*/ 129657 w 3147279"/>
                  <a:gd name="connsiteY93" fmla="*/ 914400 h 3158149"/>
                  <a:gd name="connsiteX94" fmla="*/ 160137 w 3147279"/>
                  <a:gd name="connsiteY94" fmla="*/ 861060 h 3158149"/>
                  <a:gd name="connsiteX95" fmla="*/ 182997 w 3147279"/>
                  <a:gd name="connsiteY95" fmla="*/ 822960 h 3158149"/>
                  <a:gd name="connsiteX96" fmla="*/ 205857 w 3147279"/>
                  <a:gd name="connsiteY96" fmla="*/ 800100 h 3158149"/>
                  <a:gd name="connsiteX97" fmla="*/ 259197 w 3147279"/>
                  <a:gd name="connsiteY97" fmla="*/ 708660 h 3158149"/>
                  <a:gd name="connsiteX98" fmla="*/ 274437 w 3147279"/>
                  <a:gd name="connsiteY98" fmla="*/ 662940 h 3158149"/>
                  <a:gd name="connsiteX99" fmla="*/ 327777 w 3147279"/>
                  <a:gd name="connsiteY99" fmla="*/ 586740 h 3158149"/>
                  <a:gd name="connsiteX100" fmla="*/ 419217 w 3147279"/>
                  <a:gd name="connsiteY100" fmla="*/ 510540 h 3158149"/>
                  <a:gd name="connsiteX101" fmla="*/ 449697 w 3147279"/>
                  <a:gd name="connsiteY101" fmla="*/ 472440 h 3158149"/>
                  <a:gd name="connsiteX102" fmla="*/ 510657 w 3147279"/>
                  <a:gd name="connsiteY102" fmla="*/ 434340 h 3158149"/>
                  <a:gd name="connsiteX103" fmla="*/ 563997 w 3147279"/>
                  <a:gd name="connsiteY103" fmla="*/ 396240 h 3158149"/>
                  <a:gd name="connsiteX104" fmla="*/ 655437 w 3147279"/>
                  <a:gd name="connsiteY104" fmla="*/ 335280 h 3158149"/>
                  <a:gd name="connsiteX105" fmla="*/ 731637 w 3147279"/>
                  <a:gd name="connsiteY105" fmla="*/ 297180 h 3158149"/>
                  <a:gd name="connsiteX106" fmla="*/ 815457 w 3147279"/>
                  <a:gd name="connsiteY106" fmla="*/ 236220 h 3158149"/>
                  <a:gd name="connsiteX107" fmla="*/ 830697 w 3147279"/>
                  <a:gd name="connsiteY107" fmla="*/ 213360 h 3158149"/>
                  <a:gd name="connsiteX108" fmla="*/ 861177 w 3147279"/>
                  <a:gd name="connsiteY108" fmla="*/ 205740 h 3158149"/>
                  <a:gd name="connsiteX109" fmla="*/ 952617 w 3147279"/>
                  <a:gd name="connsiteY109" fmla="*/ 152400 h 3158149"/>
                  <a:gd name="connsiteX110" fmla="*/ 983097 w 3147279"/>
                  <a:gd name="connsiteY110" fmla="*/ 129540 h 3158149"/>
                  <a:gd name="connsiteX111" fmla="*/ 1105017 w 3147279"/>
                  <a:gd name="connsiteY111" fmla="*/ 76200 h 3158149"/>
                  <a:gd name="connsiteX112" fmla="*/ 1127877 w 3147279"/>
                  <a:gd name="connsiteY112" fmla="*/ 68580 h 3158149"/>
                  <a:gd name="connsiteX113" fmla="*/ 1188837 w 3147279"/>
                  <a:gd name="connsiteY113" fmla="*/ 53340 h 3158149"/>
                  <a:gd name="connsiteX114" fmla="*/ 1242177 w 3147279"/>
                  <a:gd name="connsiteY114" fmla="*/ 38100 h 3158149"/>
                  <a:gd name="connsiteX115" fmla="*/ 1265037 w 3147279"/>
                  <a:gd name="connsiteY115" fmla="*/ 30480 h 3158149"/>
                  <a:gd name="connsiteX116" fmla="*/ 1386957 w 3147279"/>
                  <a:gd name="connsiteY116" fmla="*/ 15240 h 3158149"/>
                  <a:gd name="connsiteX117" fmla="*/ 1463157 w 3147279"/>
                  <a:gd name="connsiteY117" fmla="*/ 0 h 3158149"/>
                  <a:gd name="connsiteX118" fmla="*/ 1882257 w 3147279"/>
                  <a:gd name="connsiteY118" fmla="*/ 15240 h 3158149"/>
                  <a:gd name="connsiteX119" fmla="*/ 1912737 w 3147279"/>
                  <a:gd name="connsiteY119" fmla="*/ 22860 h 3158149"/>
                  <a:gd name="connsiteX120" fmla="*/ 2164197 w 3147279"/>
                  <a:gd name="connsiteY120" fmla="*/ 99060 h 3158149"/>
                  <a:gd name="connsiteX121" fmla="*/ 2339457 w 3147279"/>
                  <a:gd name="connsiteY121" fmla="*/ 182880 h 3158149"/>
                  <a:gd name="connsiteX122" fmla="*/ 2369937 w 3147279"/>
                  <a:gd name="connsiteY122" fmla="*/ 190500 h 3158149"/>
                  <a:gd name="connsiteX123" fmla="*/ 2392797 w 3147279"/>
                  <a:gd name="connsiteY123" fmla="*/ 205740 h 3158149"/>
                  <a:gd name="connsiteX124" fmla="*/ 2438517 w 3147279"/>
                  <a:gd name="connsiteY124" fmla="*/ 228600 h 3158149"/>
                  <a:gd name="connsiteX125" fmla="*/ 2446137 w 3147279"/>
                  <a:gd name="connsiteY125" fmla="*/ 266700 h 3158149"/>
                  <a:gd name="connsiteX0" fmla="*/ 2446137 w 3147279"/>
                  <a:gd name="connsiteY0" fmla="*/ 266700 h 3172784"/>
                  <a:gd name="connsiteX1" fmla="*/ 2491857 w 3147279"/>
                  <a:gd name="connsiteY1" fmla="*/ 297180 h 3172784"/>
                  <a:gd name="connsiteX2" fmla="*/ 2499477 w 3147279"/>
                  <a:gd name="connsiteY2" fmla="*/ 320040 h 3172784"/>
                  <a:gd name="connsiteX3" fmla="*/ 2529957 w 3147279"/>
                  <a:gd name="connsiteY3" fmla="*/ 342900 h 3172784"/>
                  <a:gd name="connsiteX4" fmla="*/ 2552817 w 3147279"/>
                  <a:gd name="connsiteY4" fmla="*/ 373380 h 3172784"/>
                  <a:gd name="connsiteX5" fmla="*/ 2583297 w 3147279"/>
                  <a:gd name="connsiteY5" fmla="*/ 388620 h 3172784"/>
                  <a:gd name="connsiteX6" fmla="*/ 2629017 w 3147279"/>
                  <a:gd name="connsiteY6" fmla="*/ 434340 h 3172784"/>
                  <a:gd name="connsiteX7" fmla="*/ 2659497 w 3147279"/>
                  <a:gd name="connsiteY7" fmla="*/ 464820 h 3172784"/>
                  <a:gd name="connsiteX8" fmla="*/ 2705217 w 3147279"/>
                  <a:gd name="connsiteY8" fmla="*/ 487680 h 3172784"/>
                  <a:gd name="connsiteX9" fmla="*/ 2728077 w 3147279"/>
                  <a:gd name="connsiteY9" fmla="*/ 510540 h 3172784"/>
                  <a:gd name="connsiteX10" fmla="*/ 2789037 w 3147279"/>
                  <a:gd name="connsiteY10" fmla="*/ 594360 h 3172784"/>
                  <a:gd name="connsiteX11" fmla="*/ 2849997 w 3147279"/>
                  <a:gd name="connsiteY11" fmla="*/ 662940 h 3172784"/>
                  <a:gd name="connsiteX12" fmla="*/ 2872857 w 3147279"/>
                  <a:gd name="connsiteY12" fmla="*/ 701040 h 3172784"/>
                  <a:gd name="connsiteX13" fmla="*/ 2910957 w 3147279"/>
                  <a:gd name="connsiteY13" fmla="*/ 762000 h 3172784"/>
                  <a:gd name="connsiteX14" fmla="*/ 2949057 w 3147279"/>
                  <a:gd name="connsiteY14" fmla="*/ 845820 h 3172784"/>
                  <a:gd name="connsiteX15" fmla="*/ 2956677 w 3147279"/>
                  <a:gd name="connsiteY15" fmla="*/ 868680 h 3172784"/>
                  <a:gd name="connsiteX16" fmla="*/ 2979537 w 3147279"/>
                  <a:gd name="connsiteY16" fmla="*/ 922020 h 3172784"/>
                  <a:gd name="connsiteX17" fmla="*/ 2994777 w 3147279"/>
                  <a:gd name="connsiteY17" fmla="*/ 952500 h 3172784"/>
                  <a:gd name="connsiteX18" fmla="*/ 3010017 w 3147279"/>
                  <a:gd name="connsiteY18" fmla="*/ 998220 h 3172784"/>
                  <a:gd name="connsiteX19" fmla="*/ 3025257 w 3147279"/>
                  <a:gd name="connsiteY19" fmla="*/ 1036320 h 3172784"/>
                  <a:gd name="connsiteX20" fmla="*/ 3032877 w 3147279"/>
                  <a:gd name="connsiteY20" fmla="*/ 1066800 h 3172784"/>
                  <a:gd name="connsiteX21" fmla="*/ 3055737 w 3147279"/>
                  <a:gd name="connsiteY21" fmla="*/ 1104900 h 3172784"/>
                  <a:gd name="connsiteX22" fmla="*/ 3070977 w 3147279"/>
                  <a:gd name="connsiteY22" fmla="*/ 1150620 h 3172784"/>
                  <a:gd name="connsiteX23" fmla="*/ 3086217 w 3147279"/>
                  <a:gd name="connsiteY23" fmla="*/ 1181100 h 3172784"/>
                  <a:gd name="connsiteX24" fmla="*/ 3093837 w 3147279"/>
                  <a:gd name="connsiteY24" fmla="*/ 1226820 h 3172784"/>
                  <a:gd name="connsiteX25" fmla="*/ 3101457 w 3147279"/>
                  <a:gd name="connsiteY25" fmla="*/ 1280160 h 3172784"/>
                  <a:gd name="connsiteX26" fmla="*/ 3116697 w 3147279"/>
                  <a:gd name="connsiteY26" fmla="*/ 1371600 h 3172784"/>
                  <a:gd name="connsiteX27" fmla="*/ 3131937 w 3147279"/>
                  <a:gd name="connsiteY27" fmla="*/ 1417320 h 3172784"/>
                  <a:gd name="connsiteX28" fmla="*/ 3139557 w 3147279"/>
                  <a:gd name="connsiteY28" fmla="*/ 1485900 h 3172784"/>
                  <a:gd name="connsiteX29" fmla="*/ 3147177 w 3147279"/>
                  <a:gd name="connsiteY29" fmla="*/ 1516380 h 3172784"/>
                  <a:gd name="connsiteX30" fmla="*/ 3131937 w 3147279"/>
                  <a:gd name="connsiteY30" fmla="*/ 1691640 h 3172784"/>
                  <a:gd name="connsiteX31" fmla="*/ 3124317 w 3147279"/>
                  <a:gd name="connsiteY31" fmla="*/ 1767840 h 3172784"/>
                  <a:gd name="connsiteX32" fmla="*/ 3109077 w 3147279"/>
                  <a:gd name="connsiteY32" fmla="*/ 1836420 h 3172784"/>
                  <a:gd name="connsiteX33" fmla="*/ 3086217 w 3147279"/>
                  <a:gd name="connsiteY33" fmla="*/ 1905000 h 3172784"/>
                  <a:gd name="connsiteX34" fmla="*/ 3078597 w 3147279"/>
                  <a:gd name="connsiteY34" fmla="*/ 1935480 h 3172784"/>
                  <a:gd name="connsiteX35" fmla="*/ 3070977 w 3147279"/>
                  <a:gd name="connsiteY35" fmla="*/ 1958340 h 3172784"/>
                  <a:gd name="connsiteX36" fmla="*/ 3055737 w 3147279"/>
                  <a:gd name="connsiteY36" fmla="*/ 2019300 h 3172784"/>
                  <a:gd name="connsiteX37" fmla="*/ 3040497 w 3147279"/>
                  <a:gd name="connsiteY37" fmla="*/ 2057400 h 3172784"/>
                  <a:gd name="connsiteX38" fmla="*/ 3032877 w 3147279"/>
                  <a:gd name="connsiteY38" fmla="*/ 2080260 h 3172784"/>
                  <a:gd name="connsiteX39" fmla="*/ 3017637 w 3147279"/>
                  <a:gd name="connsiteY39" fmla="*/ 2118360 h 3172784"/>
                  <a:gd name="connsiteX40" fmla="*/ 2994777 w 3147279"/>
                  <a:gd name="connsiteY40" fmla="*/ 2186940 h 3172784"/>
                  <a:gd name="connsiteX41" fmla="*/ 2987157 w 3147279"/>
                  <a:gd name="connsiteY41" fmla="*/ 2225040 h 3172784"/>
                  <a:gd name="connsiteX42" fmla="*/ 2971917 w 3147279"/>
                  <a:gd name="connsiteY42" fmla="*/ 2270760 h 3172784"/>
                  <a:gd name="connsiteX43" fmla="*/ 2964297 w 3147279"/>
                  <a:gd name="connsiteY43" fmla="*/ 2308860 h 3172784"/>
                  <a:gd name="connsiteX44" fmla="*/ 2949057 w 3147279"/>
                  <a:gd name="connsiteY44" fmla="*/ 2331720 h 3172784"/>
                  <a:gd name="connsiteX45" fmla="*/ 2926197 w 3147279"/>
                  <a:gd name="connsiteY45" fmla="*/ 2385060 h 3172784"/>
                  <a:gd name="connsiteX46" fmla="*/ 2903337 w 3147279"/>
                  <a:gd name="connsiteY46" fmla="*/ 2407920 h 3172784"/>
                  <a:gd name="connsiteX47" fmla="*/ 2857617 w 3147279"/>
                  <a:gd name="connsiteY47" fmla="*/ 2499360 h 3172784"/>
                  <a:gd name="connsiteX48" fmla="*/ 2842377 w 3147279"/>
                  <a:gd name="connsiteY48" fmla="*/ 2529840 h 3172784"/>
                  <a:gd name="connsiteX49" fmla="*/ 2834757 w 3147279"/>
                  <a:gd name="connsiteY49" fmla="*/ 2552700 h 3172784"/>
                  <a:gd name="connsiteX50" fmla="*/ 2758557 w 3147279"/>
                  <a:gd name="connsiteY50" fmla="*/ 2636520 h 3172784"/>
                  <a:gd name="connsiteX51" fmla="*/ 2705217 w 3147279"/>
                  <a:gd name="connsiteY51" fmla="*/ 2667000 h 3172784"/>
                  <a:gd name="connsiteX52" fmla="*/ 2629017 w 3147279"/>
                  <a:gd name="connsiteY52" fmla="*/ 2712720 h 3172784"/>
                  <a:gd name="connsiteX53" fmla="*/ 2598537 w 3147279"/>
                  <a:gd name="connsiteY53" fmla="*/ 2727960 h 3172784"/>
                  <a:gd name="connsiteX54" fmla="*/ 2568057 w 3147279"/>
                  <a:gd name="connsiteY54" fmla="*/ 2750820 h 3172784"/>
                  <a:gd name="connsiteX55" fmla="*/ 2545197 w 3147279"/>
                  <a:gd name="connsiteY55" fmla="*/ 2773680 h 3172784"/>
                  <a:gd name="connsiteX56" fmla="*/ 2484237 w 3147279"/>
                  <a:gd name="connsiteY56" fmla="*/ 2804160 h 3172784"/>
                  <a:gd name="connsiteX57" fmla="*/ 2423277 w 3147279"/>
                  <a:gd name="connsiteY57" fmla="*/ 2865120 h 3172784"/>
                  <a:gd name="connsiteX58" fmla="*/ 2392797 w 3147279"/>
                  <a:gd name="connsiteY58" fmla="*/ 2887980 h 3172784"/>
                  <a:gd name="connsiteX59" fmla="*/ 2377557 w 3147279"/>
                  <a:gd name="connsiteY59" fmla="*/ 2910840 h 3172784"/>
                  <a:gd name="connsiteX60" fmla="*/ 2301357 w 3147279"/>
                  <a:gd name="connsiteY60" fmla="*/ 2994660 h 3172784"/>
                  <a:gd name="connsiteX61" fmla="*/ 2248017 w 3147279"/>
                  <a:gd name="connsiteY61" fmla="*/ 3032760 h 3172784"/>
                  <a:gd name="connsiteX62" fmla="*/ 2225157 w 3147279"/>
                  <a:gd name="connsiteY62" fmla="*/ 3040380 h 3172784"/>
                  <a:gd name="connsiteX63" fmla="*/ 2187057 w 3147279"/>
                  <a:gd name="connsiteY63" fmla="*/ 3055620 h 3172784"/>
                  <a:gd name="connsiteX64" fmla="*/ 2164197 w 3147279"/>
                  <a:gd name="connsiteY64" fmla="*/ 3070860 h 3172784"/>
                  <a:gd name="connsiteX65" fmla="*/ 2095617 w 3147279"/>
                  <a:gd name="connsiteY65" fmla="*/ 3101340 h 3172784"/>
                  <a:gd name="connsiteX66" fmla="*/ 2027037 w 3147279"/>
                  <a:gd name="connsiteY66" fmla="*/ 3108960 h 3172784"/>
                  <a:gd name="connsiteX67" fmla="*/ 1981317 w 3147279"/>
                  <a:gd name="connsiteY67" fmla="*/ 3124200 h 3172784"/>
                  <a:gd name="connsiteX68" fmla="*/ 1912737 w 3147279"/>
                  <a:gd name="connsiteY68" fmla="*/ 3131820 h 3172784"/>
                  <a:gd name="connsiteX69" fmla="*/ 1798437 w 3147279"/>
                  <a:gd name="connsiteY69" fmla="*/ 3147060 h 3172784"/>
                  <a:gd name="connsiteX70" fmla="*/ 1188837 w 3147279"/>
                  <a:gd name="connsiteY70" fmla="*/ 3139440 h 3172784"/>
                  <a:gd name="connsiteX71" fmla="*/ 1158357 w 3147279"/>
                  <a:gd name="connsiteY71" fmla="*/ 3131820 h 3172784"/>
                  <a:gd name="connsiteX72" fmla="*/ 365877 w 3147279"/>
                  <a:gd name="connsiteY72" fmla="*/ 2613660 h 3172784"/>
                  <a:gd name="connsiteX73" fmla="*/ 343017 w 3147279"/>
                  <a:gd name="connsiteY73" fmla="*/ 2567940 h 3172784"/>
                  <a:gd name="connsiteX74" fmla="*/ 320157 w 3147279"/>
                  <a:gd name="connsiteY74" fmla="*/ 2484120 h 3172784"/>
                  <a:gd name="connsiteX75" fmla="*/ 297297 w 3147279"/>
                  <a:gd name="connsiteY75" fmla="*/ 2430780 h 3172784"/>
                  <a:gd name="connsiteX76" fmla="*/ 274437 w 3147279"/>
                  <a:gd name="connsiteY76" fmla="*/ 2377440 h 3172784"/>
                  <a:gd name="connsiteX77" fmla="*/ 228717 w 3147279"/>
                  <a:gd name="connsiteY77" fmla="*/ 2316480 h 3172784"/>
                  <a:gd name="connsiteX78" fmla="*/ 205857 w 3147279"/>
                  <a:gd name="connsiteY78" fmla="*/ 2293620 h 3172784"/>
                  <a:gd name="connsiteX79" fmla="*/ 175377 w 3147279"/>
                  <a:gd name="connsiteY79" fmla="*/ 2240280 h 3172784"/>
                  <a:gd name="connsiteX80" fmla="*/ 160137 w 3147279"/>
                  <a:gd name="connsiteY80" fmla="*/ 2202180 h 3172784"/>
                  <a:gd name="connsiteX81" fmla="*/ 144897 w 3147279"/>
                  <a:gd name="connsiteY81" fmla="*/ 2179320 h 3172784"/>
                  <a:gd name="connsiteX82" fmla="*/ 129657 w 3147279"/>
                  <a:gd name="connsiteY82" fmla="*/ 2133600 h 3172784"/>
                  <a:gd name="connsiteX83" fmla="*/ 99177 w 3147279"/>
                  <a:gd name="connsiteY83" fmla="*/ 2087880 h 3172784"/>
                  <a:gd name="connsiteX84" fmla="*/ 61077 w 3147279"/>
                  <a:gd name="connsiteY84" fmla="*/ 2026920 h 3172784"/>
                  <a:gd name="connsiteX85" fmla="*/ 53457 w 3147279"/>
                  <a:gd name="connsiteY85" fmla="*/ 2004060 h 3172784"/>
                  <a:gd name="connsiteX86" fmla="*/ 38217 w 3147279"/>
                  <a:gd name="connsiteY86" fmla="*/ 1943100 h 3172784"/>
                  <a:gd name="connsiteX87" fmla="*/ 22977 w 3147279"/>
                  <a:gd name="connsiteY87" fmla="*/ 1897380 h 3172784"/>
                  <a:gd name="connsiteX88" fmla="*/ 117 w 3147279"/>
                  <a:gd name="connsiteY88" fmla="*/ 1562100 h 3172784"/>
                  <a:gd name="connsiteX89" fmla="*/ 22977 w 3147279"/>
                  <a:gd name="connsiteY89" fmla="*/ 1135380 h 3172784"/>
                  <a:gd name="connsiteX90" fmla="*/ 38217 w 3147279"/>
                  <a:gd name="connsiteY90" fmla="*/ 1104900 h 3172784"/>
                  <a:gd name="connsiteX91" fmla="*/ 83937 w 3147279"/>
                  <a:gd name="connsiteY91" fmla="*/ 1021080 h 3172784"/>
                  <a:gd name="connsiteX92" fmla="*/ 129657 w 3147279"/>
                  <a:gd name="connsiteY92" fmla="*/ 914400 h 3172784"/>
                  <a:gd name="connsiteX93" fmla="*/ 160137 w 3147279"/>
                  <a:gd name="connsiteY93" fmla="*/ 861060 h 3172784"/>
                  <a:gd name="connsiteX94" fmla="*/ 182997 w 3147279"/>
                  <a:gd name="connsiteY94" fmla="*/ 822960 h 3172784"/>
                  <a:gd name="connsiteX95" fmla="*/ 205857 w 3147279"/>
                  <a:gd name="connsiteY95" fmla="*/ 800100 h 3172784"/>
                  <a:gd name="connsiteX96" fmla="*/ 259197 w 3147279"/>
                  <a:gd name="connsiteY96" fmla="*/ 708660 h 3172784"/>
                  <a:gd name="connsiteX97" fmla="*/ 274437 w 3147279"/>
                  <a:gd name="connsiteY97" fmla="*/ 662940 h 3172784"/>
                  <a:gd name="connsiteX98" fmla="*/ 327777 w 3147279"/>
                  <a:gd name="connsiteY98" fmla="*/ 586740 h 3172784"/>
                  <a:gd name="connsiteX99" fmla="*/ 419217 w 3147279"/>
                  <a:gd name="connsiteY99" fmla="*/ 510540 h 3172784"/>
                  <a:gd name="connsiteX100" fmla="*/ 449697 w 3147279"/>
                  <a:gd name="connsiteY100" fmla="*/ 472440 h 3172784"/>
                  <a:gd name="connsiteX101" fmla="*/ 510657 w 3147279"/>
                  <a:gd name="connsiteY101" fmla="*/ 434340 h 3172784"/>
                  <a:gd name="connsiteX102" fmla="*/ 563997 w 3147279"/>
                  <a:gd name="connsiteY102" fmla="*/ 396240 h 3172784"/>
                  <a:gd name="connsiteX103" fmla="*/ 655437 w 3147279"/>
                  <a:gd name="connsiteY103" fmla="*/ 335280 h 3172784"/>
                  <a:gd name="connsiteX104" fmla="*/ 731637 w 3147279"/>
                  <a:gd name="connsiteY104" fmla="*/ 297180 h 3172784"/>
                  <a:gd name="connsiteX105" fmla="*/ 815457 w 3147279"/>
                  <a:gd name="connsiteY105" fmla="*/ 236220 h 3172784"/>
                  <a:gd name="connsiteX106" fmla="*/ 830697 w 3147279"/>
                  <a:gd name="connsiteY106" fmla="*/ 213360 h 3172784"/>
                  <a:gd name="connsiteX107" fmla="*/ 861177 w 3147279"/>
                  <a:gd name="connsiteY107" fmla="*/ 205740 h 3172784"/>
                  <a:gd name="connsiteX108" fmla="*/ 952617 w 3147279"/>
                  <a:gd name="connsiteY108" fmla="*/ 152400 h 3172784"/>
                  <a:gd name="connsiteX109" fmla="*/ 983097 w 3147279"/>
                  <a:gd name="connsiteY109" fmla="*/ 129540 h 3172784"/>
                  <a:gd name="connsiteX110" fmla="*/ 1105017 w 3147279"/>
                  <a:gd name="connsiteY110" fmla="*/ 76200 h 3172784"/>
                  <a:gd name="connsiteX111" fmla="*/ 1127877 w 3147279"/>
                  <a:gd name="connsiteY111" fmla="*/ 68580 h 3172784"/>
                  <a:gd name="connsiteX112" fmla="*/ 1188837 w 3147279"/>
                  <a:gd name="connsiteY112" fmla="*/ 53340 h 3172784"/>
                  <a:gd name="connsiteX113" fmla="*/ 1242177 w 3147279"/>
                  <a:gd name="connsiteY113" fmla="*/ 38100 h 3172784"/>
                  <a:gd name="connsiteX114" fmla="*/ 1265037 w 3147279"/>
                  <a:gd name="connsiteY114" fmla="*/ 30480 h 3172784"/>
                  <a:gd name="connsiteX115" fmla="*/ 1386957 w 3147279"/>
                  <a:gd name="connsiteY115" fmla="*/ 15240 h 3172784"/>
                  <a:gd name="connsiteX116" fmla="*/ 1463157 w 3147279"/>
                  <a:gd name="connsiteY116" fmla="*/ 0 h 3172784"/>
                  <a:gd name="connsiteX117" fmla="*/ 1882257 w 3147279"/>
                  <a:gd name="connsiteY117" fmla="*/ 15240 h 3172784"/>
                  <a:gd name="connsiteX118" fmla="*/ 1912737 w 3147279"/>
                  <a:gd name="connsiteY118" fmla="*/ 22860 h 3172784"/>
                  <a:gd name="connsiteX119" fmla="*/ 2164197 w 3147279"/>
                  <a:gd name="connsiteY119" fmla="*/ 99060 h 3172784"/>
                  <a:gd name="connsiteX120" fmla="*/ 2339457 w 3147279"/>
                  <a:gd name="connsiteY120" fmla="*/ 182880 h 3172784"/>
                  <a:gd name="connsiteX121" fmla="*/ 2369937 w 3147279"/>
                  <a:gd name="connsiteY121" fmla="*/ 190500 h 3172784"/>
                  <a:gd name="connsiteX122" fmla="*/ 2392797 w 3147279"/>
                  <a:gd name="connsiteY122" fmla="*/ 205740 h 3172784"/>
                  <a:gd name="connsiteX123" fmla="*/ 2438517 w 3147279"/>
                  <a:gd name="connsiteY123" fmla="*/ 228600 h 3172784"/>
                  <a:gd name="connsiteX124" fmla="*/ 2446137 w 3147279"/>
                  <a:gd name="connsiteY124" fmla="*/ 266700 h 3172784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69737 w 3147279"/>
                  <a:gd name="connsiteY71" fmla="*/ 2933700 h 3147060"/>
                  <a:gd name="connsiteX72" fmla="*/ 365877 w 3147279"/>
                  <a:gd name="connsiteY72" fmla="*/ 2613660 h 3147060"/>
                  <a:gd name="connsiteX73" fmla="*/ 343017 w 3147279"/>
                  <a:gd name="connsiteY73" fmla="*/ 2567940 h 3147060"/>
                  <a:gd name="connsiteX74" fmla="*/ 320157 w 3147279"/>
                  <a:gd name="connsiteY74" fmla="*/ 2484120 h 3147060"/>
                  <a:gd name="connsiteX75" fmla="*/ 297297 w 3147279"/>
                  <a:gd name="connsiteY75" fmla="*/ 2430780 h 3147060"/>
                  <a:gd name="connsiteX76" fmla="*/ 274437 w 3147279"/>
                  <a:gd name="connsiteY76" fmla="*/ 2377440 h 3147060"/>
                  <a:gd name="connsiteX77" fmla="*/ 228717 w 3147279"/>
                  <a:gd name="connsiteY77" fmla="*/ 2316480 h 3147060"/>
                  <a:gd name="connsiteX78" fmla="*/ 205857 w 3147279"/>
                  <a:gd name="connsiteY78" fmla="*/ 2293620 h 3147060"/>
                  <a:gd name="connsiteX79" fmla="*/ 175377 w 3147279"/>
                  <a:gd name="connsiteY79" fmla="*/ 2240280 h 3147060"/>
                  <a:gd name="connsiteX80" fmla="*/ 160137 w 3147279"/>
                  <a:gd name="connsiteY80" fmla="*/ 2202180 h 3147060"/>
                  <a:gd name="connsiteX81" fmla="*/ 144897 w 3147279"/>
                  <a:gd name="connsiteY81" fmla="*/ 2179320 h 3147060"/>
                  <a:gd name="connsiteX82" fmla="*/ 129657 w 3147279"/>
                  <a:gd name="connsiteY82" fmla="*/ 2133600 h 3147060"/>
                  <a:gd name="connsiteX83" fmla="*/ 99177 w 3147279"/>
                  <a:gd name="connsiteY83" fmla="*/ 2087880 h 3147060"/>
                  <a:gd name="connsiteX84" fmla="*/ 61077 w 3147279"/>
                  <a:gd name="connsiteY84" fmla="*/ 2026920 h 3147060"/>
                  <a:gd name="connsiteX85" fmla="*/ 53457 w 3147279"/>
                  <a:gd name="connsiteY85" fmla="*/ 2004060 h 3147060"/>
                  <a:gd name="connsiteX86" fmla="*/ 38217 w 3147279"/>
                  <a:gd name="connsiteY86" fmla="*/ 1943100 h 3147060"/>
                  <a:gd name="connsiteX87" fmla="*/ 22977 w 3147279"/>
                  <a:gd name="connsiteY87" fmla="*/ 1897380 h 3147060"/>
                  <a:gd name="connsiteX88" fmla="*/ 117 w 3147279"/>
                  <a:gd name="connsiteY88" fmla="*/ 1562100 h 3147060"/>
                  <a:gd name="connsiteX89" fmla="*/ 22977 w 3147279"/>
                  <a:gd name="connsiteY89" fmla="*/ 1135380 h 3147060"/>
                  <a:gd name="connsiteX90" fmla="*/ 38217 w 3147279"/>
                  <a:gd name="connsiteY90" fmla="*/ 1104900 h 3147060"/>
                  <a:gd name="connsiteX91" fmla="*/ 83937 w 3147279"/>
                  <a:gd name="connsiteY91" fmla="*/ 1021080 h 3147060"/>
                  <a:gd name="connsiteX92" fmla="*/ 129657 w 3147279"/>
                  <a:gd name="connsiteY92" fmla="*/ 914400 h 3147060"/>
                  <a:gd name="connsiteX93" fmla="*/ 160137 w 3147279"/>
                  <a:gd name="connsiteY93" fmla="*/ 861060 h 3147060"/>
                  <a:gd name="connsiteX94" fmla="*/ 182997 w 3147279"/>
                  <a:gd name="connsiteY94" fmla="*/ 822960 h 3147060"/>
                  <a:gd name="connsiteX95" fmla="*/ 205857 w 3147279"/>
                  <a:gd name="connsiteY95" fmla="*/ 800100 h 3147060"/>
                  <a:gd name="connsiteX96" fmla="*/ 259197 w 3147279"/>
                  <a:gd name="connsiteY96" fmla="*/ 708660 h 3147060"/>
                  <a:gd name="connsiteX97" fmla="*/ 274437 w 3147279"/>
                  <a:gd name="connsiteY97" fmla="*/ 662940 h 3147060"/>
                  <a:gd name="connsiteX98" fmla="*/ 327777 w 3147279"/>
                  <a:gd name="connsiteY98" fmla="*/ 586740 h 3147060"/>
                  <a:gd name="connsiteX99" fmla="*/ 419217 w 3147279"/>
                  <a:gd name="connsiteY99" fmla="*/ 510540 h 3147060"/>
                  <a:gd name="connsiteX100" fmla="*/ 449697 w 3147279"/>
                  <a:gd name="connsiteY100" fmla="*/ 472440 h 3147060"/>
                  <a:gd name="connsiteX101" fmla="*/ 510657 w 3147279"/>
                  <a:gd name="connsiteY101" fmla="*/ 434340 h 3147060"/>
                  <a:gd name="connsiteX102" fmla="*/ 563997 w 3147279"/>
                  <a:gd name="connsiteY102" fmla="*/ 396240 h 3147060"/>
                  <a:gd name="connsiteX103" fmla="*/ 655437 w 3147279"/>
                  <a:gd name="connsiteY103" fmla="*/ 335280 h 3147060"/>
                  <a:gd name="connsiteX104" fmla="*/ 731637 w 3147279"/>
                  <a:gd name="connsiteY104" fmla="*/ 297180 h 3147060"/>
                  <a:gd name="connsiteX105" fmla="*/ 815457 w 3147279"/>
                  <a:gd name="connsiteY105" fmla="*/ 236220 h 3147060"/>
                  <a:gd name="connsiteX106" fmla="*/ 830697 w 3147279"/>
                  <a:gd name="connsiteY106" fmla="*/ 213360 h 3147060"/>
                  <a:gd name="connsiteX107" fmla="*/ 861177 w 3147279"/>
                  <a:gd name="connsiteY107" fmla="*/ 205740 h 3147060"/>
                  <a:gd name="connsiteX108" fmla="*/ 952617 w 3147279"/>
                  <a:gd name="connsiteY108" fmla="*/ 152400 h 3147060"/>
                  <a:gd name="connsiteX109" fmla="*/ 983097 w 3147279"/>
                  <a:gd name="connsiteY109" fmla="*/ 129540 h 3147060"/>
                  <a:gd name="connsiteX110" fmla="*/ 1105017 w 3147279"/>
                  <a:gd name="connsiteY110" fmla="*/ 76200 h 3147060"/>
                  <a:gd name="connsiteX111" fmla="*/ 1127877 w 3147279"/>
                  <a:gd name="connsiteY111" fmla="*/ 68580 h 3147060"/>
                  <a:gd name="connsiteX112" fmla="*/ 1188837 w 3147279"/>
                  <a:gd name="connsiteY112" fmla="*/ 53340 h 3147060"/>
                  <a:gd name="connsiteX113" fmla="*/ 1242177 w 3147279"/>
                  <a:gd name="connsiteY113" fmla="*/ 38100 h 3147060"/>
                  <a:gd name="connsiteX114" fmla="*/ 1265037 w 3147279"/>
                  <a:gd name="connsiteY114" fmla="*/ 30480 h 3147060"/>
                  <a:gd name="connsiteX115" fmla="*/ 1386957 w 3147279"/>
                  <a:gd name="connsiteY115" fmla="*/ 15240 h 3147060"/>
                  <a:gd name="connsiteX116" fmla="*/ 1463157 w 3147279"/>
                  <a:gd name="connsiteY116" fmla="*/ 0 h 3147060"/>
                  <a:gd name="connsiteX117" fmla="*/ 1882257 w 3147279"/>
                  <a:gd name="connsiteY117" fmla="*/ 15240 h 3147060"/>
                  <a:gd name="connsiteX118" fmla="*/ 1912737 w 3147279"/>
                  <a:gd name="connsiteY118" fmla="*/ 22860 h 3147060"/>
                  <a:gd name="connsiteX119" fmla="*/ 2164197 w 3147279"/>
                  <a:gd name="connsiteY119" fmla="*/ 99060 h 3147060"/>
                  <a:gd name="connsiteX120" fmla="*/ 2339457 w 3147279"/>
                  <a:gd name="connsiteY120" fmla="*/ 182880 h 3147060"/>
                  <a:gd name="connsiteX121" fmla="*/ 2369937 w 3147279"/>
                  <a:gd name="connsiteY121" fmla="*/ 190500 h 3147060"/>
                  <a:gd name="connsiteX122" fmla="*/ 2392797 w 3147279"/>
                  <a:gd name="connsiteY122" fmla="*/ 205740 h 3147060"/>
                  <a:gd name="connsiteX123" fmla="*/ 2438517 w 3147279"/>
                  <a:gd name="connsiteY123" fmla="*/ 228600 h 3147060"/>
                  <a:gd name="connsiteX124" fmla="*/ 2446137 w 3147279"/>
                  <a:gd name="connsiteY124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69737 w 3147279"/>
                  <a:gd name="connsiteY71" fmla="*/ 2933700 h 3147060"/>
                  <a:gd name="connsiteX72" fmla="*/ 365877 w 3147279"/>
                  <a:gd name="connsiteY72" fmla="*/ 2613660 h 3147060"/>
                  <a:gd name="connsiteX73" fmla="*/ 343017 w 3147279"/>
                  <a:gd name="connsiteY73" fmla="*/ 2567940 h 3147060"/>
                  <a:gd name="connsiteX74" fmla="*/ 320157 w 3147279"/>
                  <a:gd name="connsiteY74" fmla="*/ 2484120 h 3147060"/>
                  <a:gd name="connsiteX75" fmla="*/ 297297 w 3147279"/>
                  <a:gd name="connsiteY75" fmla="*/ 2430780 h 3147060"/>
                  <a:gd name="connsiteX76" fmla="*/ 274437 w 3147279"/>
                  <a:gd name="connsiteY76" fmla="*/ 2377440 h 3147060"/>
                  <a:gd name="connsiteX77" fmla="*/ 228717 w 3147279"/>
                  <a:gd name="connsiteY77" fmla="*/ 2316480 h 3147060"/>
                  <a:gd name="connsiteX78" fmla="*/ 205857 w 3147279"/>
                  <a:gd name="connsiteY78" fmla="*/ 2293620 h 3147060"/>
                  <a:gd name="connsiteX79" fmla="*/ 175377 w 3147279"/>
                  <a:gd name="connsiteY79" fmla="*/ 2240280 h 3147060"/>
                  <a:gd name="connsiteX80" fmla="*/ 160137 w 3147279"/>
                  <a:gd name="connsiteY80" fmla="*/ 2202180 h 3147060"/>
                  <a:gd name="connsiteX81" fmla="*/ 144897 w 3147279"/>
                  <a:gd name="connsiteY81" fmla="*/ 2179320 h 3147060"/>
                  <a:gd name="connsiteX82" fmla="*/ 129657 w 3147279"/>
                  <a:gd name="connsiteY82" fmla="*/ 2133600 h 3147060"/>
                  <a:gd name="connsiteX83" fmla="*/ 99177 w 3147279"/>
                  <a:gd name="connsiteY83" fmla="*/ 2087880 h 3147060"/>
                  <a:gd name="connsiteX84" fmla="*/ 61077 w 3147279"/>
                  <a:gd name="connsiteY84" fmla="*/ 2026920 h 3147060"/>
                  <a:gd name="connsiteX85" fmla="*/ 53457 w 3147279"/>
                  <a:gd name="connsiteY85" fmla="*/ 2004060 h 3147060"/>
                  <a:gd name="connsiteX86" fmla="*/ 38217 w 3147279"/>
                  <a:gd name="connsiteY86" fmla="*/ 1943100 h 3147060"/>
                  <a:gd name="connsiteX87" fmla="*/ 22977 w 3147279"/>
                  <a:gd name="connsiteY87" fmla="*/ 1897380 h 3147060"/>
                  <a:gd name="connsiteX88" fmla="*/ 117 w 3147279"/>
                  <a:gd name="connsiteY88" fmla="*/ 1562100 h 3147060"/>
                  <a:gd name="connsiteX89" fmla="*/ 22977 w 3147279"/>
                  <a:gd name="connsiteY89" fmla="*/ 1135380 h 3147060"/>
                  <a:gd name="connsiteX90" fmla="*/ 38217 w 3147279"/>
                  <a:gd name="connsiteY90" fmla="*/ 1104900 h 3147060"/>
                  <a:gd name="connsiteX91" fmla="*/ 83937 w 3147279"/>
                  <a:gd name="connsiteY91" fmla="*/ 1021080 h 3147060"/>
                  <a:gd name="connsiteX92" fmla="*/ 129657 w 3147279"/>
                  <a:gd name="connsiteY92" fmla="*/ 914400 h 3147060"/>
                  <a:gd name="connsiteX93" fmla="*/ 160137 w 3147279"/>
                  <a:gd name="connsiteY93" fmla="*/ 861060 h 3147060"/>
                  <a:gd name="connsiteX94" fmla="*/ 182997 w 3147279"/>
                  <a:gd name="connsiteY94" fmla="*/ 822960 h 3147060"/>
                  <a:gd name="connsiteX95" fmla="*/ 205857 w 3147279"/>
                  <a:gd name="connsiteY95" fmla="*/ 800100 h 3147060"/>
                  <a:gd name="connsiteX96" fmla="*/ 259197 w 3147279"/>
                  <a:gd name="connsiteY96" fmla="*/ 708660 h 3147060"/>
                  <a:gd name="connsiteX97" fmla="*/ 274437 w 3147279"/>
                  <a:gd name="connsiteY97" fmla="*/ 662940 h 3147060"/>
                  <a:gd name="connsiteX98" fmla="*/ 327777 w 3147279"/>
                  <a:gd name="connsiteY98" fmla="*/ 586740 h 3147060"/>
                  <a:gd name="connsiteX99" fmla="*/ 419217 w 3147279"/>
                  <a:gd name="connsiteY99" fmla="*/ 510540 h 3147060"/>
                  <a:gd name="connsiteX100" fmla="*/ 449697 w 3147279"/>
                  <a:gd name="connsiteY100" fmla="*/ 472440 h 3147060"/>
                  <a:gd name="connsiteX101" fmla="*/ 510657 w 3147279"/>
                  <a:gd name="connsiteY101" fmla="*/ 434340 h 3147060"/>
                  <a:gd name="connsiteX102" fmla="*/ 563997 w 3147279"/>
                  <a:gd name="connsiteY102" fmla="*/ 396240 h 3147060"/>
                  <a:gd name="connsiteX103" fmla="*/ 655437 w 3147279"/>
                  <a:gd name="connsiteY103" fmla="*/ 335280 h 3147060"/>
                  <a:gd name="connsiteX104" fmla="*/ 731637 w 3147279"/>
                  <a:gd name="connsiteY104" fmla="*/ 297180 h 3147060"/>
                  <a:gd name="connsiteX105" fmla="*/ 815457 w 3147279"/>
                  <a:gd name="connsiteY105" fmla="*/ 236220 h 3147060"/>
                  <a:gd name="connsiteX106" fmla="*/ 830697 w 3147279"/>
                  <a:gd name="connsiteY106" fmla="*/ 213360 h 3147060"/>
                  <a:gd name="connsiteX107" fmla="*/ 861177 w 3147279"/>
                  <a:gd name="connsiteY107" fmla="*/ 205740 h 3147060"/>
                  <a:gd name="connsiteX108" fmla="*/ 952617 w 3147279"/>
                  <a:gd name="connsiteY108" fmla="*/ 152400 h 3147060"/>
                  <a:gd name="connsiteX109" fmla="*/ 983097 w 3147279"/>
                  <a:gd name="connsiteY109" fmla="*/ 129540 h 3147060"/>
                  <a:gd name="connsiteX110" fmla="*/ 1105017 w 3147279"/>
                  <a:gd name="connsiteY110" fmla="*/ 76200 h 3147060"/>
                  <a:gd name="connsiteX111" fmla="*/ 1127877 w 3147279"/>
                  <a:gd name="connsiteY111" fmla="*/ 68580 h 3147060"/>
                  <a:gd name="connsiteX112" fmla="*/ 1188837 w 3147279"/>
                  <a:gd name="connsiteY112" fmla="*/ 53340 h 3147060"/>
                  <a:gd name="connsiteX113" fmla="*/ 1242177 w 3147279"/>
                  <a:gd name="connsiteY113" fmla="*/ 38100 h 3147060"/>
                  <a:gd name="connsiteX114" fmla="*/ 1265037 w 3147279"/>
                  <a:gd name="connsiteY114" fmla="*/ 30480 h 3147060"/>
                  <a:gd name="connsiteX115" fmla="*/ 1386957 w 3147279"/>
                  <a:gd name="connsiteY115" fmla="*/ 15240 h 3147060"/>
                  <a:gd name="connsiteX116" fmla="*/ 1463157 w 3147279"/>
                  <a:gd name="connsiteY116" fmla="*/ 0 h 3147060"/>
                  <a:gd name="connsiteX117" fmla="*/ 1882257 w 3147279"/>
                  <a:gd name="connsiteY117" fmla="*/ 15240 h 3147060"/>
                  <a:gd name="connsiteX118" fmla="*/ 1912737 w 3147279"/>
                  <a:gd name="connsiteY118" fmla="*/ 22860 h 3147060"/>
                  <a:gd name="connsiteX119" fmla="*/ 2164197 w 3147279"/>
                  <a:gd name="connsiteY119" fmla="*/ 99060 h 3147060"/>
                  <a:gd name="connsiteX120" fmla="*/ 2339457 w 3147279"/>
                  <a:gd name="connsiteY120" fmla="*/ 182880 h 3147060"/>
                  <a:gd name="connsiteX121" fmla="*/ 2369937 w 3147279"/>
                  <a:gd name="connsiteY121" fmla="*/ 190500 h 3147060"/>
                  <a:gd name="connsiteX122" fmla="*/ 2392797 w 3147279"/>
                  <a:gd name="connsiteY122" fmla="*/ 205740 h 3147060"/>
                  <a:gd name="connsiteX123" fmla="*/ 2438517 w 3147279"/>
                  <a:gd name="connsiteY123" fmla="*/ 228600 h 3147060"/>
                  <a:gd name="connsiteX124" fmla="*/ 2446137 w 3147279"/>
                  <a:gd name="connsiteY124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92597 w 3147279"/>
                  <a:gd name="connsiteY71" fmla="*/ 2933700 h 3147060"/>
                  <a:gd name="connsiteX72" fmla="*/ 365877 w 3147279"/>
                  <a:gd name="connsiteY72" fmla="*/ 2613660 h 3147060"/>
                  <a:gd name="connsiteX73" fmla="*/ 343017 w 3147279"/>
                  <a:gd name="connsiteY73" fmla="*/ 2567940 h 3147060"/>
                  <a:gd name="connsiteX74" fmla="*/ 320157 w 3147279"/>
                  <a:gd name="connsiteY74" fmla="*/ 2484120 h 3147060"/>
                  <a:gd name="connsiteX75" fmla="*/ 297297 w 3147279"/>
                  <a:gd name="connsiteY75" fmla="*/ 2430780 h 3147060"/>
                  <a:gd name="connsiteX76" fmla="*/ 274437 w 3147279"/>
                  <a:gd name="connsiteY76" fmla="*/ 2377440 h 3147060"/>
                  <a:gd name="connsiteX77" fmla="*/ 228717 w 3147279"/>
                  <a:gd name="connsiteY77" fmla="*/ 2316480 h 3147060"/>
                  <a:gd name="connsiteX78" fmla="*/ 205857 w 3147279"/>
                  <a:gd name="connsiteY78" fmla="*/ 2293620 h 3147060"/>
                  <a:gd name="connsiteX79" fmla="*/ 175377 w 3147279"/>
                  <a:gd name="connsiteY79" fmla="*/ 2240280 h 3147060"/>
                  <a:gd name="connsiteX80" fmla="*/ 160137 w 3147279"/>
                  <a:gd name="connsiteY80" fmla="*/ 2202180 h 3147060"/>
                  <a:gd name="connsiteX81" fmla="*/ 144897 w 3147279"/>
                  <a:gd name="connsiteY81" fmla="*/ 2179320 h 3147060"/>
                  <a:gd name="connsiteX82" fmla="*/ 129657 w 3147279"/>
                  <a:gd name="connsiteY82" fmla="*/ 2133600 h 3147060"/>
                  <a:gd name="connsiteX83" fmla="*/ 99177 w 3147279"/>
                  <a:gd name="connsiteY83" fmla="*/ 2087880 h 3147060"/>
                  <a:gd name="connsiteX84" fmla="*/ 61077 w 3147279"/>
                  <a:gd name="connsiteY84" fmla="*/ 2026920 h 3147060"/>
                  <a:gd name="connsiteX85" fmla="*/ 53457 w 3147279"/>
                  <a:gd name="connsiteY85" fmla="*/ 2004060 h 3147060"/>
                  <a:gd name="connsiteX86" fmla="*/ 38217 w 3147279"/>
                  <a:gd name="connsiteY86" fmla="*/ 1943100 h 3147060"/>
                  <a:gd name="connsiteX87" fmla="*/ 22977 w 3147279"/>
                  <a:gd name="connsiteY87" fmla="*/ 1897380 h 3147060"/>
                  <a:gd name="connsiteX88" fmla="*/ 117 w 3147279"/>
                  <a:gd name="connsiteY88" fmla="*/ 1562100 h 3147060"/>
                  <a:gd name="connsiteX89" fmla="*/ 22977 w 3147279"/>
                  <a:gd name="connsiteY89" fmla="*/ 1135380 h 3147060"/>
                  <a:gd name="connsiteX90" fmla="*/ 38217 w 3147279"/>
                  <a:gd name="connsiteY90" fmla="*/ 1104900 h 3147060"/>
                  <a:gd name="connsiteX91" fmla="*/ 83937 w 3147279"/>
                  <a:gd name="connsiteY91" fmla="*/ 1021080 h 3147060"/>
                  <a:gd name="connsiteX92" fmla="*/ 129657 w 3147279"/>
                  <a:gd name="connsiteY92" fmla="*/ 914400 h 3147060"/>
                  <a:gd name="connsiteX93" fmla="*/ 160137 w 3147279"/>
                  <a:gd name="connsiteY93" fmla="*/ 861060 h 3147060"/>
                  <a:gd name="connsiteX94" fmla="*/ 182997 w 3147279"/>
                  <a:gd name="connsiteY94" fmla="*/ 822960 h 3147060"/>
                  <a:gd name="connsiteX95" fmla="*/ 205857 w 3147279"/>
                  <a:gd name="connsiteY95" fmla="*/ 800100 h 3147060"/>
                  <a:gd name="connsiteX96" fmla="*/ 259197 w 3147279"/>
                  <a:gd name="connsiteY96" fmla="*/ 708660 h 3147060"/>
                  <a:gd name="connsiteX97" fmla="*/ 274437 w 3147279"/>
                  <a:gd name="connsiteY97" fmla="*/ 662940 h 3147060"/>
                  <a:gd name="connsiteX98" fmla="*/ 327777 w 3147279"/>
                  <a:gd name="connsiteY98" fmla="*/ 586740 h 3147060"/>
                  <a:gd name="connsiteX99" fmla="*/ 419217 w 3147279"/>
                  <a:gd name="connsiteY99" fmla="*/ 510540 h 3147060"/>
                  <a:gd name="connsiteX100" fmla="*/ 449697 w 3147279"/>
                  <a:gd name="connsiteY100" fmla="*/ 472440 h 3147060"/>
                  <a:gd name="connsiteX101" fmla="*/ 510657 w 3147279"/>
                  <a:gd name="connsiteY101" fmla="*/ 434340 h 3147060"/>
                  <a:gd name="connsiteX102" fmla="*/ 563997 w 3147279"/>
                  <a:gd name="connsiteY102" fmla="*/ 396240 h 3147060"/>
                  <a:gd name="connsiteX103" fmla="*/ 655437 w 3147279"/>
                  <a:gd name="connsiteY103" fmla="*/ 335280 h 3147060"/>
                  <a:gd name="connsiteX104" fmla="*/ 731637 w 3147279"/>
                  <a:gd name="connsiteY104" fmla="*/ 297180 h 3147060"/>
                  <a:gd name="connsiteX105" fmla="*/ 815457 w 3147279"/>
                  <a:gd name="connsiteY105" fmla="*/ 236220 h 3147060"/>
                  <a:gd name="connsiteX106" fmla="*/ 830697 w 3147279"/>
                  <a:gd name="connsiteY106" fmla="*/ 213360 h 3147060"/>
                  <a:gd name="connsiteX107" fmla="*/ 861177 w 3147279"/>
                  <a:gd name="connsiteY107" fmla="*/ 205740 h 3147060"/>
                  <a:gd name="connsiteX108" fmla="*/ 952617 w 3147279"/>
                  <a:gd name="connsiteY108" fmla="*/ 152400 h 3147060"/>
                  <a:gd name="connsiteX109" fmla="*/ 983097 w 3147279"/>
                  <a:gd name="connsiteY109" fmla="*/ 129540 h 3147060"/>
                  <a:gd name="connsiteX110" fmla="*/ 1105017 w 3147279"/>
                  <a:gd name="connsiteY110" fmla="*/ 76200 h 3147060"/>
                  <a:gd name="connsiteX111" fmla="*/ 1127877 w 3147279"/>
                  <a:gd name="connsiteY111" fmla="*/ 68580 h 3147060"/>
                  <a:gd name="connsiteX112" fmla="*/ 1188837 w 3147279"/>
                  <a:gd name="connsiteY112" fmla="*/ 53340 h 3147060"/>
                  <a:gd name="connsiteX113" fmla="*/ 1242177 w 3147279"/>
                  <a:gd name="connsiteY113" fmla="*/ 38100 h 3147060"/>
                  <a:gd name="connsiteX114" fmla="*/ 1265037 w 3147279"/>
                  <a:gd name="connsiteY114" fmla="*/ 30480 h 3147060"/>
                  <a:gd name="connsiteX115" fmla="*/ 1386957 w 3147279"/>
                  <a:gd name="connsiteY115" fmla="*/ 15240 h 3147060"/>
                  <a:gd name="connsiteX116" fmla="*/ 1463157 w 3147279"/>
                  <a:gd name="connsiteY116" fmla="*/ 0 h 3147060"/>
                  <a:gd name="connsiteX117" fmla="*/ 1882257 w 3147279"/>
                  <a:gd name="connsiteY117" fmla="*/ 15240 h 3147060"/>
                  <a:gd name="connsiteX118" fmla="*/ 1912737 w 3147279"/>
                  <a:gd name="connsiteY118" fmla="*/ 22860 h 3147060"/>
                  <a:gd name="connsiteX119" fmla="*/ 2164197 w 3147279"/>
                  <a:gd name="connsiteY119" fmla="*/ 99060 h 3147060"/>
                  <a:gd name="connsiteX120" fmla="*/ 2339457 w 3147279"/>
                  <a:gd name="connsiteY120" fmla="*/ 182880 h 3147060"/>
                  <a:gd name="connsiteX121" fmla="*/ 2369937 w 3147279"/>
                  <a:gd name="connsiteY121" fmla="*/ 190500 h 3147060"/>
                  <a:gd name="connsiteX122" fmla="*/ 2392797 w 3147279"/>
                  <a:gd name="connsiteY122" fmla="*/ 205740 h 3147060"/>
                  <a:gd name="connsiteX123" fmla="*/ 2438517 w 3147279"/>
                  <a:gd name="connsiteY123" fmla="*/ 228600 h 3147060"/>
                  <a:gd name="connsiteX124" fmla="*/ 2446137 w 3147279"/>
                  <a:gd name="connsiteY124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92597 w 3147279"/>
                  <a:gd name="connsiteY71" fmla="*/ 2933700 h 3147060"/>
                  <a:gd name="connsiteX72" fmla="*/ 365877 w 3147279"/>
                  <a:gd name="connsiteY72" fmla="*/ 2613660 h 3147060"/>
                  <a:gd name="connsiteX73" fmla="*/ 320157 w 3147279"/>
                  <a:gd name="connsiteY73" fmla="*/ 2484120 h 3147060"/>
                  <a:gd name="connsiteX74" fmla="*/ 297297 w 3147279"/>
                  <a:gd name="connsiteY74" fmla="*/ 2430780 h 3147060"/>
                  <a:gd name="connsiteX75" fmla="*/ 274437 w 3147279"/>
                  <a:gd name="connsiteY75" fmla="*/ 2377440 h 3147060"/>
                  <a:gd name="connsiteX76" fmla="*/ 228717 w 3147279"/>
                  <a:gd name="connsiteY76" fmla="*/ 2316480 h 3147060"/>
                  <a:gd name="connsiteX77" fmla="*/ 205857 w 3147279"/>
                  <a:gd name="connsiteY77" fmla="*/ 2293620 h 3147060"/>
                  <a:gd name="connsiteX78" fmla="*/ 175377 w 3147279"/>
                  <a:gd name="connsiteY78" fmla="*/ 2240280 h 3147060"/>
                  <a:gd name="connsiteX79" fmla="*/ 160137 w 3147279"/>
                  <a:gd name="connsiteY79" fmla="*/ 2202180 h 3147060"/>
                  <a:gd name="connsiteX80" fmla="*/ 144897 w 3147279"/>
                  <a:gd name="connsiteY80" fmla="*/ 2179320 h 3147060"/>
                  <a:gd name="connsiteX81" fmla="*/ 129657 w 3147279"/>
                  <a:gd name="connsiteY81" fmla="*/ 2133600 h 3147060"/>
                  <a:gd name="connsiteX82" fmla="*/ 99177 w 3147279"/>
                  <a:gd name="connsiteY82" fmla="*/ 2087880 h 3147060"/>
                  <a:gd name="connsiteX83" fmla="*/ 61077 w 3147279"/>
                  <a:gd name="connsiteY83" fmla="*/ 2026920 h 3147060"/>
                  <a:gd name="connsiteX84" fmla="*/ 53457 w 3147279"/>
                  <a:gd name="connsiteY84" fmla="*/ 2004060 h 3147060"/>
                  <a:gd name="connsiteX85" fmla="*/ 38217 w 3147279"/>
                  <a:gd name="connsiteY85" fmla="*/ 1943100 h 3147060"/>
                  <a:gd name="connsiteX86" fmla="*/ 22977 w 3147279"/>
                  <a:gd name="connsiteY86" fmla="*/ 1897380 h 3147060"/>
                  <a:gd name="connsiteX87" fmla="*/ 117 w 3147279"/>
                  <a:gd name="connsiteY87" fmla="*/ 1562100 h 3147060"/>
                  <a:gd name="connsiteX88" fmla="*/ 22977 w 3147279"/>
                  <a:gd name="connsiteY88" fmla="*/ 1135380 h 3147060"/>
                  <a:gd name="connsiteX89" fmla="*/ 38217 w 3147279"/>
                  <a:gd name="connsiteY89" fmla="*/ 1104900 h 3147060"/>
                  <a:gd name="connsiteX90" fmla="*/ 83937 w 3147279"/>
                  <a:gd name="connsiteY90" fmla="*/ 1021080 h 3147060"/>
                  <a:gd name="connsiteX91" fmla="*/ 129657 w 3147279"/>
                  <a:gd name="connsiteY91" fmla="*/ 914400 h 3147060"/>
                  <a:gd name="connsiteX92" fmla="*/ 160137 w 3147279"/>
                  <a:gd name="connsiteY92" fmla="*/ 861060 h 3147060"/>
                  <a:gd name="connsiteX93" fmla="*/ 182997 w 3147279"/>
                  <a:gd name="connsiteY93" fmla="*/ 822960 h 3147060"/>
                  <a:gd name="connsiteX94" fmla="*/ 205857 w 3147279"/>
                  <a:gd name="connsiteY94" fmla="*/ 800100 h 3147060"/>
                  <a:gd name="connsiteX95" fmla="*/ 259197 w 3147279"/>
                  <a:gd name="connsiteY95" fmla="*/ 708660 h 3147060"/>
                  <a:gd name="connsiteX96" fmla="*/ 274437 w 3147279"/>
                  <a:gd name="connsiteY96" fmla="*/ 662940 h 3147060"/>
                  <a:gd name="connsiteX97" fmla="*/ 327777 w 3147279"/>
                  <a:gd name="connsiteY97" fmla="*/ 586740 h 3147060"/>
                  <a:gd name="connsiteX98" fmla="*/ 419217 w 3147279"/>
                  <a:gd name="connsiteY98" fmla="*/ 510540 h 3147060"/>
                  <a:gd name="connsiteX99" fmla="*/ 449697 w 3147279"/>
                  <a:gd name="connsiteY99" fmla="*/ 472440 h 3147060"/>
                  <a:gd name="connsiteX100" fmla="*/ 510657 w 3147279"/>
                  <a:gd name="connsiteY100" fmla="*/ 434340 h 3147060"/>
                  <a:gd name="connsiteX101" fmla="*/ 563997 w 3147279"/>
                  <a:gd name="connsiteY101" fmla="*/ 396240 h 3147060"/>
                  <a:gd name="connsiteX102" fmla="*/ 655437 w 3147279"/>
                  <a:gd name="connsiteY102" fmla="*/ 335280 h 3147060"/>
                  <a:gd name="connsiteX103" fmla="*/ 731637 w 3147279"/>
                  <a:gd name="connsiteY103" fmla="*/ 297180 h 3147060"/>
                  <a:gd name="connsiteX104" fmla="*/ 815457 w 3147279"/>
                  <a:gd name="connsiteY104" fmla="*/ 236220 h 3147060"/>
                  <a:gd name="connsiteX105" fmla="*/ 830697 w 3147279"/>
                  <a:gd name="connsiteY105" fmla="*/ 213360 h 3147060"/>
                  <a:gd name="connsiteX106" fmla="*/ 861177 w 3147279"/>
                  <a:gd name="connsiteY106" fmla="*/ 205740 h 3147060"/>
                  <a:gd name="connsiteX107" fmla="*/ 952617 w 3147279"/>
                  <a:gd name="connsiteY107" fmla="*/ 152400 h 3147060"/>
                  <a:gd name="connsiteX108" fmla="*/ 983097 w 3147279"/>
                  <a:gd name="connsiteY108" fmla="*/ 129540 h 3147060"/>
                  <a:gd name="connsiteX109" fmla="*/ 1105017 w 3147279"/>
                  <a:gd name="connsiteY109" fmla="*/ 76200 h 3147060"/>
                  <a:gd name="connsiteX110" fmla="*/ 1127877 w 3147279"/>
                  <a:gd name="connsiteY110" fmla="*/ 68580 h 3147060"/>
                  <a:gd name="connsiteX111" fmla="*/ 1188837 w 3147279"/>
                  <a:gd name="connsiteY111" fmla="*/ 53340 h 3147060"/>
                  <a:gd name="connsiteX112" fmla="*/ 1242177 w 3147279"/>
                  <a:gd name="connsiteY112" fmla="*/ 38100 h 3147060"/>
                  <a:gd name="connsiteX113" fmla="*/ 1265037 w 3147279"/>
                  <a:gd name="connsiteY113" fmla="*/ 30480 h 3147060"/>
                  <a:gd name="connsiteX114" fmla="*/ 1386957 w 3147279"/>
                  <a:gd name="connsiteY114" fmla="*/ 15240 h 3147060"/>
                  <a:gd name="connsiteX115" fmla="*/ 1463157 w 3147279"/>
                  <a:gd name="connsiteY115" fmla="*/ 0 h 3147060"/>
                  <a:gd name="connsiteX116" fmla="*/ 1882257 w 3147279"/>
                  <a:gd name="connsiteY116" fmla="*/ 15240 h 3147060"/>
                  <a:gd name="connsiteX117" fmla="*/ 1912737 w 3147279"/>
                  <a:gd name="connsiteY117" fmla="*/ 22860 h 3147060"/>
                  <a:gd name="connsiteX118" fmla="*/ 2164197 w 3147279"/>
                  <a:gd name="connsiteY118" fmla="*/ 99060 h 3147060"/>
                  <a:gd name="connsiteX119" fmla="*/ 2339457 w 3147279"/>
                  <a:gd name="connsiteY119" fmla="*/ 182880 h 3147060"/>
                  <a:gd name="connsiteX120" fmla="*/ 2369937 w 3147279"/>
                  <a:gd name="connsiteY120" fmla="*/ 190500 h 3147060"/>
                  <a:gd name="connsiteX121" fmla="*/ 2392797 w 3147279"/>
                  <a:gd name="connsiteY121" fmla="*/ 205740 h 3147060"/>
                  <a:gd name="connsiteX122" fmla="*/ 2438517 w 3147279"/>
                  <a:gd name="connsiteY122" fmla="*/ 228600 h 3147060"/>
                  <a:gd name="connsiteX123" fmla="*/ 2446137 w 3147279"/>
                  <a:gd name="connsiteY123" fmla="*/ 266700 h 3147060"/>
                  <a:gd name="connsiteX0" fmla="*/ 2446137 w 3147279"/>
                  <a:gd name="connsiteY0" fmla="*/ 266700 h 3147060"/>
                  <a:gd name="connsiteX1" fmla="*/ 2491857 w 3147279"/>
                  <a:gd name="connsiteY1" fmla="*/ 297180 h 3147060"/>
                  <a:gd name="connsiteX2" fmla="*/ 2499477 w 3147279"/>
                  <a:gd name="connsiteY2" fmla="*/ 320040 h 3147060"/>
                  <a:gd name="connsiteX3" fmla="*/ 2529957 w 3147279"/>
                  <a:gd name="connsiteY3" fmla="*/ 342900 h 3147060"/>
                  <a:gd name="connsiteX4" fmla="*/ 2552817 w 3147279"/>
                  <a:gd name="connsiteY4" fmla="*/ 373380 h 3147060"/>
                  <a:gd name="connsiteX5" fmla="*/ 2583297 w 3147279"/>
                  <a:gd name="connsiteY5" fmla="*/ 388620 h 3147060"/>
                  <a:gd name="connsiteX6" fmla="*/ 2629017 w 3147279"/>
                  <a:gd name="connsiteY6" fmla="*/ 434340 h 3147060"/>
                  <a:gd name="connsiteX7" fmla="*/ 2659497 w 3147279"/>
                  <a:gd name="connsiteY7" fmla="*/ 464820 h 3147060"/>
                  <a:gd name="connsiteX8" fmla="*/ 2705217 w 3147279"/>
                  <a:gd name="connsiteY8" fmla="*/ 487680 h 3147060"/>
                  <a:gd name="connsiteX9" fmla="*/ 2728077 w 3147279"/>
                  <a:gd name="connsiteY9" fmla="*/ 510540 h 3147060"/>
                  <a:gd name="connsiteX10" fmla="*/ 2789037 w 3147279"/>
                  <a:gd name="connsiteY10" fmla="*/ 594360 h 3147060"/>
                  <a:gd name="connsiteX11" fmla="*/ 2849997 w 3147279"/>
                  <a:gd name="connsiteY11" fmla="*/ 662940 h 3147060"/>
                  <a:gd name="connsiteX12" fmla="*/ 2872857 w 3147279"/>
                  <a:gd name="connsiteY12" fmla="*/ 701040 h 3147060"/>
                  <a:gd name="connsiteX13" fmla="*/ 2910957 w 3147279"/>
                  <a:gd name="connsiteY13" fmla="*/ 762000 h 3147060"/>
                  <a:gd name="connsiteX14" fmla="*/ 2949057 w 3147279"/>
                  <a:gd name="connsiteY14" fmla="*/ 845820 h 3147060"/>
                  <a:gd name="connsiteX15" fmla="*/ 2956677 w 3147279"/>
                  <a:gd name="connsiteY15" fmla="*/ 868680 h 3147060"/>
                  <a:gd name="connsiteX16" fmla="*/ 2979537 w 3147279"/>
                  <a:gd name="connsiteY16" fmla="*/ 922020 h 3147060"/>
                  <a:gd name="connsiteX17" fmla="*/ 2994777 w 3147279"/>
                  <a:gd name="connsiteY17" fmla="*/ 952500 h 3147060"/>
                  <a:gd name="connsiteX18" fmla="*/ 3010017 w 3147279"/>
                  <a:gd name="connsiteY18" fmla="*/ 998220 h 3147060"/>
                  <a:gd name="connsiteX19" fmla="*/ 3025257 w 3147279"/>
                  <a:gd name="connsiteY19" fmla="*/ 1036320 h 3147060"/>
                  <a:gd name="connsiteX20" fmla="*/ 3032877 w 3147279"/>
                  <a:gd name="connsiteY20" fmla="*/ 1066800 h 3147060"/>
                  <a:gd name="connsiteX21" fmla="*/ 3055737 w 3147279"/>
                  <a:gd name="connsiteY21" fmla="*/ 1104900 h 3147060"/>
                  <a:gd name="connsiteX22" fmla="*/ 3070977 w 3147279"/>
                  <a:gd name="connsiteY22" fmla="*/ 1150620 h 3147060"/>
                  <a:gd name="connsiteX23" fmla="*/ 3086217 w 3147279"/>
                  <a:gd name="connsiteY23" fmla="*/ 1181100 h 3147060"/>
                  <a:gd name="connsiteX24" fmla="*/ 3093837 w 3147279"/>
                  <a:gd name="connsiteY24" fmla="*/ 1226820 h 3147060"/>
                  <a:gd name="connsiteX25" fmla="*/ 3101457 w 3147279"/>
                  <a:gd name="connsiteY25" fmla="*/ 1280160 h 3147060"/>
                  <a:gd name="connsiteX26" fmla="*/ 3116697 w 3147279"/>
                  <a:gd name="connsiteY26" fmla="*/ 1371600 h 3147060"/>
                  <a:gd name="connsiteX27" fmla="*/ 3131937 w 3147279"/>
                  <a:gd name="connsiteY27" fmla="*/ 1417320 h 3147060"/>
                  <a:gd name="connsiteX28" fmla="*/ 3139557 w 3147279"/>
                  <a:gd name="connsiteY28" fmla="*/ 1485900 h 3147060"/>
                  <a:gd name="connsiteX29" fmla="*/ 3147177 w 3147279"/>
                  <a:gd name="connsiteY29" fmla="*/ 1516380 h 3147060"/>
                  <a:gd name="connsiteX30" fmla="*/ 3131937 w 3147279"/>
                  <a:gd name="connsiteY30" fmla="*/ 1691640 h 3147060"/>
                  <a:gd name="connsiteX31" fmla="*/ 3124317 w 3147279"/>
                  <a:gd name="connsiteY31" fmla="*/ 1767840 h 3147060"/>
                  <a:gd name="connsiteX32" fmla="*/ 3109077 w 3147279"/>
                  <a:gd name="connsiteY32" fmla="*/ 1836420 h 3147060"/>
                  <a:gd name="connsiteX33" fmla="*/ 3086217 w 3147279"/>
                  <a:gd name="connsiteY33" fmla="*/ 1905000 h 3147060"/>
                  <a:gd name="connsiteX34" fmla="*/ 3078597 w 3147279"/>
                  <a:gd name="connsiteY34" fmla="*/ 1935480 h 3147060"/>
                  <a:gd name="connsiteX35" fmla="*/ 3070977 w 3147279"/>
                  <a:gd name="connsiteY35" fmla="*/ 1958340 h 3147060"/>
                  <a:gd name="connsiteX36" fmla="*/ 3055737 w 3147279"/>
                  <a:gd name="connsiteY36" fmla="*/ 2019300 h 3147060"/>
                  <a:gd name="connsiteX37" fmla="*/ 3040497 w 3147279"/>
                  <a:gd name="connsiteY37" fmla="*/ 2057400 h 3147060"/>
                  <a:gd name="connsiteX38" fmla="*/ 3032877 w 3147279"/>
                  <a:gd name="connsiteY38" fmla="*/ 2080260 h 3147060"/>
                  <a:gd name="connsiteX39" fmla="*/ 3017637 w 3147279"/>
                  <a:gd name="connsiteY39" fmla="*/ 2118360 h 3147060"/>
                  <a:gd name="connsiteX40" fmla="*/ 2994777 w 3147279"/>
                  <a:gd name="connsiteY40" fmla="*/ 2186940 h 3147060"/>
                  <a:gd name="connsiteX41" fmla="*/ 2987157 w 3147279"/>
                  <a:gd name="connsiteY41" fmla="*/ 2225040 h 3147060"/>
                  <a:gd name="connsiteX42" fmla="*/ 2971917 w 3147279"/>
                  <a:gd name="connsiteY42" fmla="*/ 2270760 h 3147060"/>
                  <a:gd name="connsiteX43" fmla="*/ 2964297 w 3147279"/>
                  <a:gd name="connsiteY43" fmla="*/ 2308860 h 3147060"/>
                  <a:gd name="connsiteX44" fmla="*/ 2949057 w 3147279"/>
                  <a:gd name="connsiteY44" fmla="*/ 2331720 h 3147060"/>
                  <a:gd name="connsiteX45" fmla="*/ 2926197 w 3147279"/>
                  <a:gd name="connsiteY45" fmla="*/ 2385060 h 3147060"/>
                  <a:gd name="connsiteX46" fmla="*/ 2903337 w 3147279"/>
                  <a:gd name="connsiteY46" fmla="*/ 2407920 h 3147060"/>
                  <a:gd name="connsiteX47" fmla="*/ 2857617 w 3147279"/>
                  <a:gd name="connsiteY47" fmla="*/ 2499360 h 3147060"/>
                  <a:gd name="connsiteX48" fmla="*/ 2842377 w 3147279"/>
                  <a:gd name="connsiteY48" fmla="*/ 2529840 h 3147060"/>
                  <a:gd name="connsiteX49" fmla="*/ 2834757 w 3147279"/>
                  <a:gd name="connsiteY49" fmla="*/ 2552700 h 3147060"/>
                  <a:gd name="connsiteX50" fmla="*/ 2758557 w 3147279"/>
                  <a:gd name="connsiteY50" fmla="*/ 2636520 h 3147060"/>
                  <a:gd name="connsiteX51" fmla="*/ 2705217 w 3147279"/>
                  <a:gd name="connsiteY51" fmla="*/ 2667000 h 3147060"/>
                  <a:gd name="connsiteX52" fmla="*/ 2629017 w 3147279"/>
                  <a:gd name="connsiteY52" fmla="*/ 2712720 h 3147060"/>
                  <a:gd name="connsiteX53" fmla="*/ 2598537 w 3147279"/>
                  <a:gd name="connsiteY53" fmla="*/ 2727960 h 3147060"/>
                  <a:gd name="connsiteX54" fmla="*/ 2568057 w 3147279"/>
                  <a:gd name="connsiteY54" fmla="*/ 2750820 h 3147060"/>
                  <a:gd name="connsiteX55" fmla="*/ 2545197 w 3147279"/>
                  <a:gd name="connsiteY55" fmla="*/ 2773680 h 3147060"/>
                  <a:gd name="connsiteX56" fmla="*/ 2484237 w 3147279"/>
                  <a:gd name="connsiteY56" fmla="*/ 2804160 h 3147060"/>
                  <a:gd name="connsiteX57" fmla="*/ 2423277 w 3147279"/>
                  <a:gd name="connsiteY57" fmla="*/ 2865120 h 3147060"/>
                  <a:gd name="connsiteX58" fmla="*/ 2392797 w 3147279"/>
                  <a:gd name="connsiteY58" fmla="*/ 2887980 h 3147060"/>
                  <a:gd name="connsiteX59" fmla="*/ 2377557 w 3147279"/>
                  <a:gd name="connsiteY59" fmla="*/ 2910840 h 3147060"/>
                  <a:gd name="connsiteX60" fmla="*/ 2301357 w 3147279"/>
                  <a:gd name="connsiteY60" fmla="*/ 2994660 h 3147060"/>
                  <a:gd name="connsiteX61" fmla="*/ 2248017 w 3147279"/>
                  <a:gd name="connsiteY61" fmla="*/ 3032760 h 3147060"/>
                  <a:gd name="connsiteX62" fmla="*/ 2225157 w 3147279"/>
                  <a:gd name="connsiteY62" fmla="*/ 3040380 h 3147060"/>
                  <a:gd name="connsiteX63" fmla="*/ 2187057 w 3147279"/>
                  <a:gd name="connsiteY63" fmla="*/ 3055620 h 3147060"/>
                  <a:gd name="connsiteX64" fmla="*/ 2164197 w 3147279"/>
                  <a:gd name="connsiteY64" fmla="*/ 3070860 h 3147060"/>
                  <a:gd name="connsiteX65" fmla="*/ 2095617 w 3147279"/>
                  <a:gd name="connsiteY65" fmla="*/ 3101340 h 3147060"/>
                  <a:gd name="connsiteX66" fmla="*/ 2027037 w 3147279"/>
                  <a:gd name="connsiteY66" fmla="*/ 3108960 h 3147060"/>
                  <a:gd name="connsiteX67" fmla="*/ 1981317 w 3147279"/>
                  <a:gd name="connsiteY67" fmla="*/ 3124200 h 3147060"/>
                  <a:gd name="connsiteX68" fmla="*/ 1912737 w 3147279"/>
                  <a:gd name="connsiteY68" fmla="*/ 3131820 h 3147060"/>
                  <a:gd name="connsiteX69" fmla="*/ 1798437 w 3147279"/>
                  <a:gd name="connsiteY69" fmla="*/ 3147060 h 3147060"/>
                  <a:gd name="connsiteX70" fmla="*/ 1188837 w 3147279"/>
                  <a:gd name="connsiteY70" fmla="*/ 3139440 h 3147060"/>
                  <a:gd name="connsiteX71" fmla="*/ 792597 w 3147279"/>
                  <a:gd name="connsiteY71" fmla="*/ 2933700 h 3147060"/>
                  <a:gd name="connsiteX72" fmla="*/ 419217 w 3147279"/>
                  <a:gd name="connsiteY72" fmla="*/ 2644140 h 3147060"/>
                  <a:gd name="connsiteX73" fmla="*/ 320157 w 3147279"/>
                  <a:gd name="connsiteY73" fmla="*/ 2484120 h 3147060"/>
                  <a:gd name="connsiteX74" fmla="*/ 297297 w 3147279"/>
                  <a:gd name="connsiteY74" fmla="*/ 2430780 h 3147060"/>
                  <a:gd name="connsiteX75" fmla="*/ 274437 w 3147279"/>
                  <a:gd name="connsiteY75" fmla="*/ 2377440 h 3147060"/>
                  <a:gd name="connsiteX76" fmla="*/ 228717 w 3147279"/>
                  <a:gd name="connsiteY76" fmla="*/ 2316480 h 3147060"/>
                  <a:gd name="connsiteX77" fmla="*/ 205857 w 3147279"/>
                  <a:gd name="connsiteY77" fmla="*/ 2293620 h 3147060"/>
                  <a:gd name="connsiteX78" fmla="*/ 175377 w 3147279"/>
                  <a:gd name="connsiteY78" fmla="*/ 2240280 h 3147060"/>
                  <a:gd name="connsiteX79" fmla="*/ 160137 w 3147279"/>
                  <a:gd name="connsiteY79" fmla="*/ 2202180 h 3147060"/>
                  <a:gd name="connsiteX80" fmla="*/ 144897 w 3147279"/>
                  <a:gd name="connsiteY80" fmla="*/ 2179320 h 3147060"/>
                  <a:gd name="connsiteX81" fmla="*/ 129657 w 3147279"/>
                  <a:gd name="connsiteY81" fmla="*/ 2133600 h 3147060"/>
                  <a:gd name="connsiteX82" fmla="*/ 99177 w 3147279"/>
                  <a:gd name="connsiteY82" fmla="*/ 2087880 h 3147060"/>
                  <a:gd name="connsiteX83" fmla="*/ 61077 w 3147279"/>
                  <a:gd name="connsiteY83" fmla="*/ 2026920 h 3147060"/>
                  <a:gd name="connsiteX84" fmla="*/ 53457 w 3147279"/>
                  <a:gd name="connsiteY84" fmla="*/ 2004060 h 3147060"/>
                  <a:gd name="connsiteX85" fmla="*/ 38217 w 3147279"/>
                  <a:gd name="connsiteY85" fmla="*/ 1943100 h 3147060"/>
                  <a:gd name="connsiteX86" fmla="*/ 22977 w 3147279"/>
                  <a:gd name="connsiteY86" fmla="*/ 1897380 h 3147060"/>
                  <a:gd name="connsiteX87" fmla="*/ 117 w 3147279"/>
                  <a:gd name="connsiteY87" fmla="*/ 1562100 h 3147060"/>
                  <a:gd name="connsiteX88" fmla="*/ 22977 w 3147279"/>
                  <a:gd name="connsiteY88" fmla="*/ 1135380 h 3147060"/>
                  <a:gd name="connsiteX89" fmla="*/ 38217 w 3147279"/>
                  <a:gd name="connsiteY89" fmla="*/ 1104900 h 3147060"/>
                  <a:gd name="connsiteX90" fmla="*/ 83937 w 3147279"/>
                  <a:gd name="connsiteY90" fmla="*/ 1021080 h 3147060"/>
                  <a:gd name="connsiteX91" fmla="*/ 129657 w 3147279"/>
                  <a:gd name="connsiteY91" fmla="*/ 914400 h 3147060"/>
                  <a:gd name="connsiteX92" fmla="*/ 160137 w 3147279"/>
                  <a:gd name="connsiteY92" fmla="*/ 861060 h 3147060"/>
                  <a:gd name="connsiteX93" fmla="*/ 182997 w 3147279"/>
                  <a:gd name="connsiteY93" fmla="*/ 822960 h 3147060"/>
                  <a:gd name="connsiteX94" fmla="*/ 205857 w 3147279"/>
                  <a:gd name="connsiteY94" fmla="*/ 800100 h 3147060"/>
                  <a:gd name="connsiteX95" fmla="*/ 259197 w 3147279"/>
                  <a:gd name="connsiteY95" fmla="*/ 708660 h 3147060"/>
                  <a:gd name="connsiteX96" fmla="*/ 274437 w 3147279"/>
                  <a:gd name="connsiteY96" fmla="*/ 662940 h 3147060"/>
                  <a:gd name="connsiteX97" fmla="*/ 327777 w 3147279"/>
                  <a:gd name="connsiteY97" fmla="*/ 586740 h 3147060"/>
                  <a:gd name="connsiteX98" fmla="*/ 419217 w 3147279"/>
                  <a:gd name="connsiteY98" fmla="*/ 510540 h 3147060"/>
                  <a:gd name="connsiteX99" fmla="*/ 449697 w 3147279"/>
                  <a:gd name="connsiteY99" fmla="*/ 472440 h 3147060"/>
                  <a:gd name="connsiteX100" fmla="*/ 510657 w 3147279"/>
                  <a:gd name="connsiteY100" fmla="*/ 434340 h 3147060"/>
                  <a:gd name="connsiteX101" fmla="*/ 563997 w 3147279"/>
                  <a:gd name="connsiteY101" fmla="*/ 396240 h 3147060"/>
                  <a:gd name="connsiteX102" fmla="*/ 655437 w 3147279"/>
                  <a:gd name="connsiteY102" fmla="*/ 335280 h 3147060"/>
                  <a:gd name="connsiteX103" fmla="*/ 731637 w 3147279"/>
                  <a:gd name="connsiteY103" fmla="*/ 297180 h 3147060"/>
                  <a:gd name="connsiteX104" fmla="*/ 815457 w 3147279"/>
                  <a:gd name="connsiteY104" fmla="*/ 236220 h 3147060"/>
                  <a:gd name="connsiteX105" fmla="*/ 830697 w 3147279"/>
                  <a:gd name="connsiteY105" fmla="*/ 213360 h 3147060"/>
                  <a:gd name="connsiteX106" fmla="*/ 861177 w 3147279"/>
                  <a:gd name="connsiteY106" fmla="*/ 205740 h 3147060"/>
                  <a:gd name="connsiteX107" fmla="*/ 952617 w 3147279"/>
                  <a:gd name="connsiteY107" fmla="*/ 152400 h 3147060"/>
                  <a:gd name="connsiteX108" fmla="*/ 983097 w 3147279"/>
                  <a:gd name="connsiteY108" fmla="*/ 129540 h 3147060"/>
                  <a:gd name="connsiteX109" fmla="*/ 1105017 w 3147279"/>
                  <a:gd name="connsiteY109" fmla="*/ 76200 h 3147060"/>
                  <a:gd name="connsiteX110" fmla="*/ 1127877 w 3147279"/>
                  <a:gd name="connsiteY110" fmla="*/ 68580 h 3147060"/>
                  <a:gd name="connsiteX111" fmla="*/ 1188837 w 3147279"/>
                  <a:gd name="connsiteY111" fmla="*/ 53340 h 3147060"/>
                  <a:gd name="connsiteX112" fmla="*/ 1242177 w 3147279"/>
                  <a:gd name="connsiteY112" fmla="*/ 38100 h 3147060"/>
                  <a:gd name="connsiteX113" fmla="*/ 1265037 w 3147279"/>
                  <a:gd name="connsiteY113" fmla="*/ 30480 h 3147060"/>
                  <a:gd name="connsiteX114" fmla="*/ 1386957 w 3147279"/>
                  <a:gd name="connsiteY114" fmla="*/ 15240 h 3147060"/>
                  <a:gd name="connsiteX115" fmla="*/ 1463157 w 3147279"/>
                  <a:gd name="connsiteY115" fmla="*/ 0 h 3147060"/>
                  <a:gd name="connsiteX116" fmla="*/ 1882257 w 3147279"/>
                  <a:gd name="connsiteY116" fmla="*/ 15240 h 3147060"/>
                  <a:gd name="connsiteX117" fmla="*/ 1912737 w 3147279"/>
                  <a:gd name="connsiteY117" fmla="*/ 22860 h 3147060"/>
                  <a:gd name="connsiteX118" fmla="*/ 2164197 w 3147279"/>
                  <a:gd name="connsiteY118" fmla="*/ 99060 h 3147060"/>
                  <a:gd name="connsiteX119" fmla="*/ 2339457 w 3147279"/>
                  <a:gd name="connsiteY119" fmla="*/ 182880 h 3147060"/>
                  <a:gd name="connsiteX120" fmla="*/ 2369937 w 3147279"/>
                  <a:gd name="connsiteY120" fmla="*/ 190500 h 3147060"/>
                  <a:gd name="connsiteX121" fmla="*/ 2392797 w 3147279"/>
                  <a:gd name="connsiteY121" fmla="*/ 205740 h 3147060"/>
                  <a:gd name="connsiteX122" fmla="*/ 2438517 w 3147279"/>
                  <a:gd name="connsiteY122" fmla="*/ 228600 h 3147060"/>
                  <a:gd name="connsiteX123" fmla="*/ 2446137 w 3147279"/>
                  <a:gd name="connsiteY123" fmla="*/ 266700 h 3147060"/>
                  <a:gd name="connsiteX0" fmla="*/ 2446137 w 3147279"/>
                  <a:gd name="connsiteY0" fmla="*/ 266700 h 3157851"/>
                  <a:gd name="connsiteX1" fmla="*/ 2491857 w 3147279"/>
                  <a:gd name="connsiteY1" fmla="*/ 297180 h 3157851"/>
                  <a:gd name="connsiteX2" fmla="*/ 2499477 w 3147279"/>
                  <a:gd name="connsiteY2" fmla="*/ 320040 h 3157851"/>
                  <a:gd name="connsiteX3" fmla="*/ 2529957 w 3147279"/>
                  <a:gd name="connsiteY3" fmla="*/ 342900 h 3157851"/>
                  <a:gd name="connsiteX4" fmla="*/ 2552817 w 3147279"/>
                  <a:gd name="connsiteY4" fmla="*/ 373380 h 3157851"/>
                  <a:gd name="connsiteX5" fmla="*/ 2583297 w 3147279"/>
                  <a:gd name="connsiteY5" fmla="*/ 388620 h 3157851"/>
                  <a:gd name="connsiteX6" fmla="*/ 2629017 w 3147279"/>
                  <a:gd name="connsiteY6" fmla="*/ 434340 h 3157851"/>
                  <a:gd name="connsiteX7" fmla="*/ 2659497 w 3147279"/>
                  <a:gd name="connsiteY7" fmla="*/ 464820 h 3157851"/>
                  <a:gd name="connsiteX8" fmla="*/ 2705217 w 3147279"/>
                  <a:gd name="connsiteY8" fmla="*/ 487680 h 3157851"/>
                  <a:gd name="connsiteX9" fmla="*/ 2728077 w 3147279"/>
                  <a:gd name="connsiteY9" fmla="*/ 510540 h 3157851"/>
                  <a:gd name="connsiteX10" fmla="*/ 2789037 w 3147279"/>
                  <a:gd name="connsiteY10" fmla="*/ 594360 h 3157851"/>
                  <a:gd name="connsiteX11" fmla="*/ 2849997 w 3147279"/>
                  <a:gd name="connsiteY11" fmla="*/ 662940 h 3157851"/>
                  <a:gd name="connsiteX12" fmla="*/ 2872857 w 3147279"/>
                  <a:gd name="connsiteY12" fmla="*/ 701040 h 3157851"/>
                  <a:gd name="connsiteX13" fmla="*/ 2910957 w 3147279"/>
                  <a:gd name="connsiteY13" fmla="*/ 762000 h 3157851"/>
                  <a:gd name="connsiteX14" fmla="*/ 2949057 w 3147279"/>
                  <a:gd name="connsiteY14" fmla="*/ 845820 h 3157851"/>
                  <a:gd name="connsiteX15" fmla="*/ 2956677 w 3147279"/>
                  <a:gd name="connsiteY15" fmla="*/ 868680 h 3157851"/>
                  <a:gd name="connsiteX16" fmla="*/ 2979537 w 3147279"/>
                  <a:gd name="connsiteY16" fmla="*/ 922020 h 3157851"/>
                  <a:gd name="connsiteX17" fmla="*/ 2994777 w 3147279"/>
                  <a:gd name="connsiteY17" fmla="*/ 952500 h 3157851"/>
                  <a:gd name="connsiteX18" fmla="*/ 3010017 w 3147279"/>
                  <a:gd name="connsiteY18" fmla="*/ 998220 h 3157851"/>
                  <a:gd name="connsiteX19" fmla="*/ 3025257 w 3147279"/>
                  <a:gd name="connsiteY19" fmla="*/ 1036320 h 3157851"/>
                  <a:gd name="connsiteX20" fmla="*/ 3032877 w 3147279"/>
                  <a:gd name="connsiteY20" fmla="*/ 1066800 h 3157851"/>
                  <a:gd name="connsiteX21" fmla="*/ 3055737 w 3147279"/>
                  <a:gd name="connsiteY21" fmla="*/ 1104900 h 3157851"/>
                  <a:gd name="connsiteX22" fmla="*/ 3070977 w 3147279"/>
                  <a:gd name="connsiteY22" fmla="*/ 1150620 h 3157851"/>
                  <a:gd name="connsiteX23" fmla="*/ 3086217 w 3147279"/>
                  <a:gd name="connsiteY23" fmla="*/ 1181100 h 3157851"/>
                  <a:gd name="connsiteX24" fmla="*/ 3093837 w 3147279"/>
                  <a:gd name="connsiteY24" fmla="*/ 1226820 h 3157851"/>
                  <a:gd name="connsiteX25" fmla="*/ 3101457 w 3147279"/>
                  <a:gd name="connsiteY25" fmla="*/ 1280160 h 3157851"/>
                  <a:gd name="connsiteX26" fmla="*/ 3116697 w 3147279"/>
                  <a:gd name="connsiteY26" fmla="*/ 1371600 h 3157851"/>
                  <a:gd name="connsiteX27" fmla="*/ 3131937 w 3147279"/>
                  <a:gd name="connsiteY27" fmla="*/ 1417320 h 3157851"/>
                  <a:gd name="connsiteX28" fmla="*/ 3139557 w 3147279"/>
                  <a:gd name="connsiteY28" fmla="*/ 1485900 h 3157851"/>
                  <a:gd name="connsiteX29" fmla="*/ 3147177 w 3147279"/>
                  <a:gd name="connsiteY29" fmla="*/ 1516380 h 3157851"/>
                  <a:gd name="connsiteX30" fmla="*/ 3131937 w 3147279"/>
                  <a:gd name="connsiteY30" fmla="*/ 1691640 h 3157851"/>
                  <a:gd name="connsiteX31" fmla="*/ 3124317 w 3147279"/>
                  <a:gd name="connsiteY31" fmla="*/ 1767840 h 3157851"/>
                  <a:gd name="connsiteX32" fmla="*/ 3109077 w 3147279"/>
                  <a:gd name="connsiteY32" fmla="*/ 1836420 h 3157851"/>
                  <a:gd name="connsiteX33" fmla="*/ 3086217 w 3147279"/>
                  <a:gd name="connsiteY33" fmla="*/ 1905000 h 3157851"/>
                  <a:gd name="connsiteX34" fmla="*/ 3078597 w 3147279"/>
                  <a:gd name="connsiteY34" fmla="*/ 1935480 h 3157851"/>
                  <a:gd name="connsiteX35" fmla="*/ 3070977 w 3147279"/>
                  <a:gd name="connsiteY35" fmla="*/ 1958340 h 3157851"/>
                  <a:gd name="connsiteX36" fmla="*/ 3055737 w 3147279"/>
                  <a:gd name="connsiteY36" fmla="*/ 2019300 h 3157851"/>
                  <a:gd name="connsiteX37" fmla="*/ 3040497 w 3147279"/>
                  <a:gd name="connsiteY37" fmla="*/ 2057400 h 3157851"/>
                  <a:gd name="connsiteX38" fmla="*/ 3032877 w 3147279"/>
                  <a:gd name="connsiteY38" fmla="*/ 2080260 h 3157851"/>
                  <a:gd name="connsiteX39" fmla="*/ 3017637 w 3147279"/>
                  <a:gd name="connsiteY39" fmla="*/ 2118360 h 3157851"/>
                  <a:gd name="connsiteX40" fmla="*/ 2994777 w 3147279"/>
                  <a:gd name="connsiteY40" fmla="*/ 2186940 h 3157851"/>
                  <a:gd name="connsiteX41" fmla="*/ 2987157 w 3147279"/>
                  <a:gd name="connsiteY41" fmla="*/ 2225040 h 3157851"/>
                  <a:gd name="connsiteX42" fmla="*/ 2971917 w 3147279"/>
                  <a:gd name="connsiteY42" fmla="*/ 2270760 h 3157851"/>
                  <a:gd name="connsiteX43" fmla="*/ 2964297 w 3147279"/>
                  <a:gd name="connsiteY43" fmla="*/ 2308860 h 3157851"/>
                  <a:gd name="connsiteX44" fmla="*/ 2949057 w 3147279"/>
                  <a:gd name="connsiteY44" fmla="*/ 2331720 h 3157851"/>
                  <a:gd name="connsiteX45" fmla="*/ 2926197 w 3147279"/>
                  <a:gd name="connsiteY45" fmla="*/ 2385060 h 3157851"/>
                  <a:gd name="connsiteX46" fmla="*/ 2903337 w 3147279"/>
                  <a:gd name="connsiteY46" fmla="*/ 2407920 h 3157851"/>
                  <a:gd name="connsiteX47" fmla="*/ 2857617 w 3147279"/>
                  <a:gd name="connsiteY47" fmla="*/ 2499360 h 3157851"/>
                  <a:gd name="connsiteX48" fmla="*/ 2842377 w 3147279"/>
                  <a:gd name="connsiteY48" fmla="*/ 2529840 h 3157851"/>
                  <a:gd name="connsiteX49" fmla="*/ 2834757 w 3147279"/>
                  <a:gd name="connsiteY49" fmla="*/ 2552700 h 3157851"/>
                  <a:gd name="connsiteX50" fmla="*/ 2758557 w 3147279"/>
                  <a:gd name="connsiteY50" fmla="*/ 2636520 h 3157851"/>
                  <a:gd name="connsiteX51" fmla="*/ 2705217 w 3147279"/>
                  <a:gd name="connsiteY51" fmla="*/ 2667000 h 3157851"/>
                  <a:gd name="connsiteX52" fmla="*/ 2629017 w 3147279"/>
                  <a:gd name="connsiteY52" fmla="*/ 2712720 h 3157851"/>
                  <a:gd name="connsiteX53" fmla="*/ 2598537 w 3147279"/>
                  <a:gd name="connsiteY53" fmla="*/ 2727960 h 3157851"/>
                  <a:gd name="connsiteX54" fmla="*/ 2568057 w 3147279"/>
                  <a:gd name="connsiteY54" fmla="*/ 2750820 h 3157851"/>
                  <a:gd name="connsiteX55" fmla="*/ 2545197 w 3147279"/>
                  <a:gd name="connsiteY55" fmla="*/ 2773680 h 3157851"/>
                  <a:gd name="connsiteX56" fmla="*/ 2484237 w 3147279"/>
                  <a:gd name="connsiteY56" fmla="*/ 2804160 h 3157851"/>
                  <a:gd name="connsiteX57" fmla="*/ 2423277 w 3147279"/>
                  <a:gd name="connsiteY57" fmla="*/ 2865120 h 3157851"/>
                  <a:gd name="connsiteX58" fmla="*/ 2392797 w 3147279"/>
                  <a:gd name="connsiteY58" fmla="*/ 2887980 h 3157851"/>
                  <a:gd name="connsiteX59" fmla="*/ 2377557 w 3147279"/>
                  <a:gd name="connsiteY59" fmla="*/ 2910840 h 3157851"/>
                  <a:gd name="connsiteX60" fmla="*/ 2301357 w 3147279"/>
                  <a:gd name="connsiteY60" fmla="*/ 2994660 h 3157851"/>
                  <a:gd name="connsiteX61" fmla="*/ 2248017 w 3147279"/>
                  <a:gd name="connsiteY61" fmla="*/ 3032760 h 3157851"/>
                  <a:gd name="connsiteX62" fmla="*/ 2225157 w 3147279"/>
                  <a:gd name="connsiteY62" fmla="*/ 3040380 h 3157851"/>
                  <a:gd name="connsiteX63" fmla="*/ 2187057 w 3147279"/>
                  <a:gd name="connsiteY63" fmla="*/ 3055620 h 3157851"/>
                  <a:gd name="connsiteX64" fmla="*/ 2164197 w 3147279"/>
                  <a:gd name="connsiteY64" fmla="*/ 3070860 h 3157851"/>
                  <a:gd name="connsiteX65" fmla="*/ 2095617 w 3147279"/>
                  <a:gd name="connsiteY65" fmla="*/ 3101340 h 3157851"/>
                  <a:gd name="connsiteX66" fmla="*/ 2027037 w 3147279"/>
                  <a:gd name="connsiteY66" fmla="*/ 3108960 h 3157851"/>
                  <a:gd name="connsiteX67" fmla="*/ 1981317 w 3147279"/>
                  <a:gd name="connsiteY67" fmla="*/ 3124200 h 3157851"/>
                  <a:gd name="connsiteX68" fmla="*/ 1912737 w 3147279"/>
                  <a:gd name="connsiteY68" fmla="*/ 3131820 h 3157851"/>
                  <a:gd name="connsiteX69" fmla="*/ 1798437 w 3147279"/>
                  <a:gd name="connsiteY69" fmla="*/ 3147060 h 3157851"/>
                  <a:gd name="connsiteX70" fmla="*/ 1188837 w 3147279"/>
                  <a:gd name="connsiteY70" fmla="*/ 3139440 h 3157851"/>
                  <a:gd name="connsiteX71" fmla="*/ 792597 w 3147279"/>
                  <a:gd name="connsiteY71" fmla="*/ 2933700 h 3157851"/>
                  <a:gd name="connsiteX72" fmla="*/ 419217 w 3147279"/>
                  <a:gd name="connsiteY72" fmla="*/ 2644140 h 3157851"/>
                  <a:gd name="connsiteX73" fmla="*/ 320157 w 3147279"/>
                  <a:gd name="connsiteY73" fmla="*/ 2484120 h 3157851"/>
                  <a:gd name="connsiteX74" fmla="*/ 297297 w 3147279"/>
                  <a:gd name="connsiteY74" fmla="*/ 2430780 h 3157851"/>
                  <a:gd name="connsiteX75" fmla="*/ 274437 w 3147279"/>
                  <a:gd name="connsiteY75" fmla="*/ 2377440 h 3157851"/>
                  <a:gd name="connsiteX76" fmla="*/ 228717 w 3147279"/>
                  <a:gd name="connsiteY76" fmla="*/ 2316480 h 3157851"/>
                  <a:gd name="connsiteX77" fmla="*/ 205857 w 3147279"/>
                  <a:gd name="connsiteY77" fmla="*/ 2293620 h 3157851"/>
                  <a:gd name="connsiteX78" fmla="*/ 175377 w 3147279"/>
                  <a:gd name="connsiteY78" fmla="*/ 2240280 h 3157851"/>
                  <a:gd name="connsiteX79" fmla="*/ 160137 w 3147279"/>
                  <a:gd name="connsiteY79" fmla="*/ 2202180 h 3157851"/>
                  <a:gd name="connsiteX80" fmla="*/ 144897 w 3147279"/>
                  <a:gd name="connsiteY80" fmla="*/ 2179320 h 3157851"/>
                  <a:gd name="connsiteX81" fmla="*/ 129657 w 3147279"/>
                  <a:gd name="connsiteY81" fmla="*/ 2133600 h 3157851"/>
                  <a:gd name="connsiteX82" fmla="*/ 99177 w 3147279"/>
                  <a:gd name="connsiteY82" fmla="*/ 2087880 h 3157851"/>
                  <a:gd name="connsiteX83" fmla="*/ 61077 w 3147279"/>
                  <a:gd name="connsiteY83" fmla="*/ 2026920 h 3157851"/>
                  <a:gd name="connsiteX84" fmla="*/ 53457 w 3147279"/>
                  <a:gd name="connsiteY84" fmla="*/ 2004060 h 3157851"/>
                  <a:gd name="connsiteX85" fmla="*/ 38217 w 3147279"/>
                  <a:gd name="connsiteY85" fmla="*/ 1943100 h 3157851"/>
                  <a:gd name="connsiteX86" fmla="*/ 22977 w 3147279"/>
                  <a:gd name="connsiteY86" fmla="*/ 1897380 h 3157851"/>
                  <a:gd name="connsiteX87" fmla="*/ 117 w 3147279"/>
                  <a:gd name="connsiteY87" fmla="*/ 1562100 h 3157851"/>
                  <a:gd name="connsiteX88" fmla="*/ 22977 w 3147279"/>
                  <a:gd name="connsiteY88" fmla="*/ 1135380 h 3157851"/>
                  <a:gd name="connsiteX89" fmla="*/ 38217 w 3147279"/>
                  <a:gd name="connsiteY89" fmla="*/ 1104900 h 3157851"/>
                  <a:gd name="connsiteX90" fmla="*/ 83937 w 3147279"/>
                  <a:gd name="connsiteY90" fmla="*/ 1021080 h 3157851"/>
                  <a:gd name="connsiteX91" fmla="*/ 129657 w 3147279"/>
                  <a:gd name="connsiteY91" fmla="*/ 914400 h 3157851"/>
                  <a:gd name="connsiteX92" fmla="*/ 160137 w 3147279"/>
                  <a:gd name="connsiteY92" fmla="*/ 861060 h 3157851"/>
                  <a:gd name="connsiteX93" fmla="*/ 182997 w 3147279"/>
                  <a:gd name="connsiteY93" fmla="*/ 822960 h 3157851"/>
                  <a:gd name="connsiteX94" fmla="*/ 205857 w 3147279"/>
                  <a:gd name="connsiteY94" fmla="*/ 800100 h 3157851"/>
                  <a:gd name="connsiteX95" fmla="*/ 259197 w 3147279"/>
                  <a:gd name="connsiteY95" fmla="*/ 708660 h 3157851"/>
                  <a:gd name="connsiteX96" fmla="*/ 274437 w 3147279"/>
                  <a:gd name="connsiteY96" fmla="*/ 662940 h 3157851"/>
                  <a:gd name="connsiteX97" fmla="*/ 327777 w 3147279"/>
                  <a:gd name="connsiteY97" fmla="*/ 586740 h 3157851"/>
                  <a:gd name="connsiteX98" fmla="*/ 419217 w 3147279"/>
                  <a:gd name="connsiteY98" fmla="*/ 510540 h 3157851"/>
                  <a:gd name="connsiteX99" fmla="*/ 449697 w 3147279"/>
                  <a:gd name="connsiteY99" fmla="*/ 472440 h 3157851"/>
                  <a:gd name="connsiteX100" fmla="*/ 510657 w 3147279"/>
                  <a:gd name="connsiteY100" fmla="*/ 434340 h 3157851"/>
                  <a:gd name="connsiteX101" fmla="*/ 563997 w 3147279"/>
                  <a:gd name="connsiteY101" fmla="*/ 396240 h 3157851"/>
                  <a:gd name="connsiteX102" fmla="*/ 655437 w 3147279"/>
                  <a:gd name="connsiteY102" fmla="*/ 335280 h 3157851"/>
                  <a:gd name="connsiteX103" fmla="*/ 731637 w 3147279"/>
                  <a:gd name="connsiteY103" fmla="*/ 297180 h 3157851"/>
                  <a:gd name="connsiteX104" fmla="*/ 815457 w 3147279"/>
                  <a:gd name="connsiteY104" fmla="*/ 236220 h 3157851"/>
                  <a:gd name="connsiteX105" fmla="*/ 830697 w 3147279"/>
                  <a:gd name="connsiteY105" fmla="*/ 213360 h 3157851"/>
                  <a:gd name="connsiteX106" fmla="*/ 861177 w 3147279"/>
                  <a:gd name="connsiteY106" fmla="*/ 205740 h 3157851"/>
                  <a:gd name="connsiteX107" fmla="*/ 952617 w 3147279"/>
                  <a:gd name="connsiteY107" fmla="*/ 152400 h 3157851"/>
                  <a:gd name="connsiteX108" fmla="*/ 983097 w 3147279"/>
                  <a:gd name="connsiteY108" fmla="*/ 129540 h 3157851"/>
                  <a:gd name="connsiteX109" fmla="*/ 1105017 w 3147279"/>
                  <a:gd name="connsiteY109" fmla="*/ 76200 h 3157851"/>
                  <a:gd name="connsiteX110" fmla="*/ 1127877 w 3147279"/>
                  <a:gd name="connsiteY110" fmla="*/ 68580 h 3157851"/>
                  <a:gd name="connsiteX111" fmla="*/ 1188837 w 3147279"/>
                  <a:gd name="connsiteY111" fmla="*/ 53340 h 3157851"/>
                  <a:gd name="connsiteX112" fmla="*/ 1242177 w 3147279"/>
                  <a:gd name="connsiteY112" fmla="*/ 38100 h 3157851"/>
                  <a:gd name="connsiteX113" fmla="*/ 1265037 w 3147279"/>
                  <a:gd name="connsiteY113" fmla="*/ 30480 h 3157851"/>
                  <a:gd name="connsiteX114" fmla="*/ 1386957 w 3147279"/>
                  <a:gd name="connsiteY114" fmla="*/ 15240 h 3157851"/>
                  <a:gd name="connsiteX115" fmla="*/ 1463157 w 3147279"/>
                  <a:gd name="connsiteY115" fmla="*/ 0 h 3157851"/>
                  <a:gd name="connsiteX116" fmla="*/ 1882257 w 3147279"/>
                  <a:gd name="connsiteY116" fmla="*/ 15240 h 3157851"/>
                  <a:gd name="connsiteX117" fmla="*/ 1912737 w 3147279"/>
                  <a:gd name="connsiteY117" fmla="*/ 22860 h 3157851"/>
                  <a:gd name="connsiteX118" fmla="*/ 2164197 w 3147279"/>
                  <a:gd name="connsiteY118" fmla="*/ 99060 h 3157851"/>
                  <a:gd name="connsiteX119" fmla="*/ 2339457 w 3147279"/>
                  <a:gd name="connsiteY119" fmla="*/ 182880 h 3157851"/>
                  <a:gd name="connsiteX120" fmla="*/ 2369937 w 3147279"/>
                  <a:gd name="connsiteY120" fmla="*/ 190500 h 3157851"/>
                  <a:gd name="connsiteX121" fmla="*/ 2392797 w 3147279"/>
                  <a:gd name="connsiteY121" fmla="*/ 205740 h 3157851"/>
                  <a:gd name="connsiteX122" fmla="*/ 2438517 w 3147279"/>
                  <a:gd name="connsiteY122" fmla="*/ 228600 h 3157851"/>
                  <a:gd name="connsiteX123" fmla="*/ 2446137 w 3147279"/>
                  <a:gd name="connsiteY123" fmla="*/ 266700 h 315785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48017 w 3147279"/>
                  <a:gd name="connsiteY61" fmla="*/ 3032760 h 3147261"/>
                  <a:gd name="connsiteX62" fmla="*/ 2225157 w 3147279"/>
                  <a:gd name="connsiteY62" fmla="*/ 3040380 h 3147261"/>
                  <a:gd name="connsiteX63" fmla="*/ 2187057 w 3147279"/>
                  <a:gd name="connsiteY63" fmla="*/ 3055620 h 3147261"/>
                  <a:gd name="connsiteX64" fmla="*/ 2164197 w 3147279"/>
                  <a:gd name="connsiteY64" fmla="*/ 3070860 h 3147261"/>
                  <a:gd name="connsiteX65" fmla="*/ 2095617 w 3147279"/>
                  <a:gd name="connsiteY65" fmla="*/ 3101340 h 3147261"/>
                  <a:gd name="connsiteX66" fmla="*/ 2027037 w 3147279"/>
                  <a:gd name="connsiteY66" fmla="*/ 3108960 h 3147261"/>
                  <a:gd name="connsiteX67" fmla="*/ 1981317 w 3147279"/>
                  <a:gd name="connsiteY67" fmla="*/ 3124200 h 3147261"/>
                  <a:gd name="connsiteX68" fmla="*/ 1912737 w 3147279"/>
                  <a:gd name="connsiteY68" fmla="*/ 3131820 h 3147261"/>
                  <a:gd name="connsiteX69" fmla="*/ 1798437 w 3147279"/>
                  <a:gd name="connsiteY69" fmla="*/ 3147060 h 3147261"/>
                  <a:gd name="connsiteX70" fmla="*/ 1333617 w 3147279"/>
                  <a:gd name="connsiteY70" fmla="*/ 3108960 h 3147261"/>
                  <a:gd name="connsiteX71" fmla="*/ 792597 w 3147279"/>
                  <a:gd name="connsiteY71" fmla="*/ 2933700 h 3147261"/>
                  <a:gd name="connsiteX72" fmla="*/ 419217 w 3147279"/>
                  <a:gd name="connsiteY72" fmla="*/ 2644140 h 3147261"/>
                  <a:gd name="connsiteX73" fmla="*/ 320157 w 3147279"/>
                  <a:gd name="connsiteY73" fmla="*/ 2484120 h 3147261"/>
                  <a:gd name="connsiteX74" fmla="*/ 297297 w 3147279"/>
                  <a:gd name="connsiteY74" fmla="*/ 2430780 h 3147261"/>
                  <a:gd name="connsiteX75" fmla="*/ 274437 w 3147279"/>
                  <a:gd name="connsiteY75" fmla="*/ 2377440 h 3147261"/>
                  <a:gd name="connsiteX76" fmla="*/ 228717 w 3147279"/>
                  <a:gd name="connsiteY76" fmla="*/ 2316480 h 3147261"/>
                  <a:gd name="connsiteX77" fmla="*/ 205857 w 3147279"/>
                  <a:gd name="connsiteY77" fmla="*/ 2293620 h 3147261"/>
                  <a:gd name="connsiteX78" fmla="*/ 175377 w 3147279"/>
                  <a:gd name="connsiteY78" fmla="*/ 2240280 h 3147261"/>
                  <a:gd name="connsiteX79" fmla="*/ 160137 w 3147279"/>
                  <a:gd name="connsiteY79" fmla="*/ 2202180 h 3147261"/>
                  <a:gd name="connsiteX80" fmla="*/ 144897 w 3147279"/>
                  <a:gd name="connsiteY80" fmla="*/ 2179320 h 3147261"/>
                  <a:gd name="connsiteX81" fmla="*/ 129657 w 3147279"/>
                  <a:gd name="connsiteY81" fmla="*/ 2133600 h 3147261"/>
                  <a:gd name="connsiteX82" fmla="*/ 99177 w 3147279"/>
                  <a:gd name="connsiteY82" fmla="*/ 2087880 h 3147261"/>
                  <a:gd name="connsiteX83" fmla="*/ 61077 w 3147279"/>
                  <a:gd name="connsiteY83" fmla="*/ 2026920 h 3147261"/>
                  <a:gd name="connsiteX84" fmla="*/ 53457 w 3147279"/>
                  <a:gd name="connsiteY84" fmla="*/ 2004060 h 3147261"/>
                  <a:gd name="connsiteX85" fmla="*/ 38217 w 3147279"/>
                  <a:gd name="connsiteY85" fmla="*/ 1943100 h 3147261"/>
                  <a:gd name="connsiteX86" fmla="*/ 22977 w 3147279"/>
                  <a:gd name="connsiteY86" fmla="*/ 1897380 h 3147261"/>
                  <a:gd name="connsiteX87" fmla="*/ 117 w 3147279"/>
                  <a:gd name="connsiteY87" fmla="*/ 1562100 h 3147261"/>
                  <a:gd name="connsiteX88" fmla="*/ 22977 w 3147279"/>
                  <a:gd name="connsiteY88" fmla="*/ 1135380 h 3147261"/>
                  <a:gd name="connsiteX89" fmla="*/ 38217 w 3147279"/>
                  <a:gd name="connsiteY89" fmla="*/ 1104900 h 3147261"/>
                  <a:gd name="connsiteX90" fmla="*/ 83937 w 3147279"/>
                  <a:gd name="connsiteY90" fmla="*/ 1021080 h 3147261"/>
                  <a:gd name="connsiteX91" fmla="*/ 129657 w 3147279"/>
                  <a:gd name="connsiteY91" fmla="*/ 914400 h 3147261"/>
                  <a:gd name="connsiteX92" fmla="*/ 160137 w 3147279"/>
                  <a:gd name="connsiteY92" fmla="*/ 861060 h 3147261"/>
                  <a:gd name="connsiteX93" fmla="*/ 182997 w 3147279"/>
                  <a:gd name="connsiteY93" fmla="*/ 822960 h 3147261"/>
                  <a:gd name="connsiteX94" fmla="*/ 205857 w 3147279"/>
                  <a:gd name="connsiteY94" fmla="*/ 800100 h 3147261"/>
                  <a:gd name="connsiteX95" fmla="*/ 259197 w 3147279"/>
                  <a:gd name="connsiteY95" fmla="*/ 708660 h 3147261"/>
                  <a:gd name="connsiteX96" fmla="*/ 274437 w 3147279"/>
                  <a:gd name="connsiteY96" fmla="*/ 662940 h 3147261"/>
                  <a:gd name="connsiteX97" fmla="*/ 327777 w 3147279"/>
                  <a:gd name="connsiteY97" fmla="*/ 586740 h 3147261"/>
                  <a:gd name="connsiteX98" fmla="*/ 419217 w 3147279"/>
                  <a:gd name="connsiteY98" fmla="*/ 510540 h 3147261"/>
                  <a:gd name="connsiteX99" fmla="*/ 449697 w 3147279"/>
                  <a:gd name="connsiteY99" fmla="*/ 472440 h 3147261"/>
                  <a:gd name="connsiteX100" fmla="*/ 510657 w 3147279"/>
                  <a:gd name="connsiteY100" fmla="*/ 434340 h 3147261"/>
                  <a:gd name="connsiteX101" fmla="*/ 563997 w 3147279"/>
                  <a:gd name="connsiteY101" fmla="*/ 396240 h 3147261"/>
                  <a:gd name="connsiteX102" fmla="*/ 655437 w 3147279"/>
                  <a:gd name="connsiteY102" fmla="*/ 335280 h 3147261"/>
                  <a:gd name="connsiteX103" fmla="*/ 731637 w 3147279"/>
                  <a:gd name="connsiteY103" fmla="*/ 297180 h 3147261"/>
                  <a:gd name="connsiteX104" fmla="*/ 815457 w 3147279"/>
                  <a:gd name="connsiteY104" fmla="*/ 236220 h 3147261"/>
                  <a:gd name="connsiteX105" fmla="*/ 830697 w 3147279"/>
                  <a:gd name="connsiteY105" fmla="*/ 213360 h 3147261"/>
                  <a:gd name="connsiteX106" fmla="*/ 861177 w 3147279"/>
                  <a:gd name="connsiteY106" fmla="*/ 205740 h 3147261"/>
                  <a:gd name="connsiteX107" fmla="*/ 952617 w 3147279"/>
                  <a:gd name="connsiteY107" fmla="*/ 152400 h 3147261"/>
                  <a:gd name="connsiteX108" fmla="*/ 983097 w 3147279"/>
                  <a:gd name="connsiteY108" fmla="*/ 129540 h 3147261"/>
                  <a:gd name="connsiteX109" fmla="*/ 1105017 w 3147279"/>
                  <a:gd name="connsiteY109" fmla="*/ 76200 h 3147261"/>
                  <a:gd name="connsiteX110" fmla="*/ 1127877 w 3147279"/>
                  <a:gd name="connsiteY110" fmla="*/ 68580 h 3147261"/>
                  <a:gd name="connsiteX111" fmla="*/ 1188837 w 3147279"/>
                  <a:gd name="connsiteY111" fmla="*/ 53340 h 3147261"/>
                  <a:gd name="connsiteX112" fmla="*/ 1242177 w 3147279"/>
                  <a:gd name="connsiteY112" fmla="*/ 38100 h 3147261"/>
                  <a:gd name="connsiteX113" fmla="*/ 1265037 w 3147279"/>
                  <a:gd name="connsiteY113" fmla="*/ 30480 h 3147261"/>
                  <a:gd name="connsiteX114" fmla="*/ 1386957 w 3147279"/>
                  <a:gd name="connsiteY114" fmla="*/ 15240 h 3147261"/>
                  <a:gd name="connsiteX115" fmla="*/ 1463157 w 3147279"/>
                  <a:gd name="connsiteY115" fmla="*/ 0 h 3147261"/>
                  <a:gd name="connsiteX116" fmla="*/ 1882257 w 3147279"/>
                  <a:gd name="connsiteY116" fmla="*/ 15240 h 3147261"/>
                  <a:gd name="connsiteX117" fmla="*/ 1912737 w 3147279"/>
                  <a:gd name="connsiteY117" fmla="*/ 22860 h 3147261"/>
                  <a:gd name="connsiteX118" fmla="*/ 2164197 w 3147279"/>
                  <a:gd name="connsiteY118" fmla="*/ 99060 h 3147261"/>
                  <a:gd name="connsiteX119" fmla="*/ 2339457 w 3147279"/>
                  <a:gd name="connsiteY119" fmla="*/ 182880 h 3147261"/>
                  <a:gd name="connsiteX120" fmla="*/ 2369937 w 3147279"/>
                  <a:gd name="connsiteY120" fmla="*/ 190500 h 3147261"/>
                  <a:gd name="connsiteX121" fmla="*/ 2392797 w 3147279"/>
                  <a:gd name="connsiteY121" fmla="*/ 205740 h 3147261"/>
                  <a:gd name="connsiteX122" fmla="*/ 2438517 w 3147279"/>
                  <a:gd name="connsiteY122" fmla="*/ 228600 h 3147261"/>
                  <a:gd name="connsiteX123" fmla="*/ 2446137 w 3147279"/>
                  <a:gd name="connsiteY123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25157 w 3147279"/>
                  <a:gd name="connsiteY61" fmla="*/ 3040380 h 3147261"/>
                  <a:gd name="connsiteX62" fmla="*/ 2187057 w 3147279"/>
                  <a:gd name="connsiteY62" fmla="*/ 3055620 h 3147261"/>
                  <a:gd name="connsiteX63" fmla="*/ 2164197 w 3147279"/>
                  <a:gd name="connsiteY63" fmla="*/ 3070860 h 3147261"/>
                  <a:gd name="connsiteX64" fmla="*/ 2095617 w 3147279"/>
                  <a:gd name="connsiteY64" fmla="*/ 3101340 h 3147261"/>
                  <a:gd name="connsiteX65" fmla="*/ 2027037 w 3147279"/>
                  <a:gd name="connsiteY65" fmla="*/ 3108960 h 3147261"/>
                  <a:gd name="connsiteX66" fmla="*/ 1981317 w 3147279"/>
                  <a:gd name="connsiteY66" fmla="*/ 3124200 h 3147261"/>
                  <a:gd name="connsiteX67" fmla="*/ 1912737 w 3147279"/>
                  <a:gd name="connsiteY67" fmla="*/ 3131820 h 3147261"/>
                  <a:gd name="connsiteX68" fmla="*/ 1798437 w 3147279"/>
                  <a:gd name="connsiteY68" fmla="*/ 3147060 h 3147261"/>
                  <a:gd name="connsiteX69" fmla="*/ 1333617 w 3147279"/>
                  <a:gd name="connsiteY69" fmla="*/ 3108960 h 3147261"/>
                  <a:gd name="connsiteX70" fmla="*/ 792597 w 3147279"/>
                  <a:gd name="connsiteY70" fmla="*/ 2933700 h 3147261"/>
                  <a:gd name="connsiteX71" fmla="*/ 419217 w 3147279"/>
                  <a:gd name="connsiteY71" fmla="*/ 2644140 h 3147261"/>
                  <a:gd name="connsiteX72" fmla="*/ 320157 w 3147279"/>
                  <a:gd name="connsiteY72" fmla="*/ 2484120 h 3147261"/>
                  <a:gd name="connsiteX73" fmla="*/ 297297 w 3147279"/>
                  <a:gd name="connsiteY73" fmla="*/ 2430780 h 3147261"/>
                  <a:gd name="connsiteX74" fmla="*/ 274437 w 3147279"/>
                  <a:gd name="connsiteY74" fmla="*/ 2377440 h 3147261"/>
                  <a:gd name="connsiteX75" fmla="*/ 228717 w 3147279"/>
                  <a:gd name="connsiteY75" fmla="*/ 2316480 h 3147261"/>
                  <a:gd name="connsiteX76" fmla="*/ 205857 w 3147279"/>
                  <a:gd name="connsiteY76" fmla="*/ 2293620 h 3147261"/>
                  <a:gd name="connsiteX77" fmla="*/ 175377 w 3147279"/>
                  <a:gd name="connsiteY77" fmla="*/ 2240280 h 3147261"/>
                  <a:gd name="connsiteX78" fmla="*/ 160137 w 3147279"/>
                  <a:gd name="connsiteY78" fmla="*/ 2202180 h 3147261"/>
                  <a:gd name="connsiteX79" fmla="*/ 144897 w 3147279"/>
                  <a:gd name="connsiteY79" fmla="*/ 2179320 h 3147261"/>
                  <a:gd name="connsiteX80" fmla="*/ 129657 w 3147279"/>
                  <a:gd name="connsiteY80" fmla="*/ 2133600 h 3147261"/>
                  <a:gd name="connsiteX81" fmla="*/ 99177 w 3147279"/>
                  <a:gd name="connsiteY81" fmla="*/ 2087880 h 3147261"/>
                  <a:gd name="connsiteX82" fmla="*/ 61077 w 3147279"/>
                  <a:gd name="connsiteY82" fmla="*/ 2026920 h 3147261"/>
                  <a:gd name="connsiteX83" fmla="*/ 53457 w 3147279"/>
                  <a:gd name="connsiteY83" fmla="*/ 2004060 h 3147261"/>
                  <a:gd name="connsiteX84" fmla="*/ 38217 w 3147279"/>
                  <a:gd name="connsiteY84" fmla="*/ 1943100 h 3147261"/>
                  <a:gd name="connsiteX85" fmla="*/ 22977 w 3147279"/>
                  <a:gd name="connsiteY85" fmla="*/ 1897380 h 3147261"/>
                  <a:gd name="connsiteX86" fmla="*/ 117 w 3147279"/>
                  <a:gd name="connsiteY86" fmla="*/ 1562100 h 3147261"/>
                  <a:gd name="connsiteX87" fmla="*/ 22977 w 3147279"/>
                  <a:gd name="connsiteY87" fmla="*/ 1135380 h 3147261"/>
                  <a:gd name="connsiteX88" fmla="*/ 38217 w 3147279"/>
                  <a:gd name="connsiteY88" fmla="*/ 1104900 h 3147261"/>
                  <a:gd name="connsiteX89" fmla="*/ 83937 w 3147279"/>
                  <a:gd name="connsiteY89" fmla="*/ 1021080 h 3147261"/>
                  <a:gd name="connsiteX90" fmla="*/ 129657 w 3147279"/>
                  <a:gd name="connsiteY90" fmla="*/ 914400 h 3147261"/>
                  <a:gd name="connsiteX91" fmla="*/ 160137 w 3147279"/>
                  <a:gd name="connsiteY91" fmla="*/ 861060 h 3147261"/>
                  <a:gd name="connsiteX92" fmla="*/ 182997 w 3147279"/>
                  <a:gd name="connsiteY92" fmla="*/ 822960 h 3147261"/>
                  <a:gd name="connsiteX93" fmla="*/ 205857 w 3147279"/>
                  <a:gd name="connsiteY93" fmla="*/ 800100 h 3147261"/>
                  <a:gd name="connsiteX94" fmla="*/ 259197 w 3147279"/>
                  <a:gd name="connsiteY94" fmla="*/ 708660 h 3147261"/>
                  <a:gd name="connsiteX95" fmla="*/ 274437 w 3147279"/>
                  <a:gd name="connsiteY95" fmla="*/ 662940 h 3147261"/>
                  <a:gd name="connsiteX96" fmla="*/ 327777 w 3147279"/>
                  <a:gd name="connsiteY96" fmla="*/ 586740 h 3147261"/>
                  <a:gd name="connsiteX97" fmla="*/ 419217 w 3147279"/>
                  <a:gd name="connsiteY97" fmla="*/ 510540 h 3147261"/>
                  <a:gd name="connsiteX98" fmla="*/ 449697 w 3147279"/>
                  <a:gd name="connsiteY98" fmla="*/ 472440 h 3147261"/>
                  <a:gd name="connsiteX99" fmla="*/ 510657 w 3147279"/>
                  <a:gd name="connsiteY99" fmla="*/ 434340 h 3147261"/>
                  <a:gd name="connsiteX100" fmla="*/ 563997 w 3147279"/>
                  <a:gd name="connsiteY100" fmla="*/ 396240 h 3147261"/>
                  <a:gd name="connsiteX101" fmla="*/ 655437 w 3147279"/>
                  <a:gd name="connsiteY101" fmla="*/ 335280 h 3147261"/>
                  <a:gd name="connsiteX102" fmla="*/ 731637 w 3147279"/>
                  <a:gd name="connsiteY102" fmla="*/ 297180 h 3147261"/>
                  <a:gd name="connsiteX103" fmla="*/ 815457 w 3147279"/>
                  <a:gd name="connsiteY103" fmla="*/ 236220 h 3147261"/>
                  <a:gd name="connsiteX104" fmla="*/ 830697 w 3147279"/>
                  <a:gd name="connsiteY104" fmla="*/ 213360 h 3147261"/>
                  <a:gd name="connsiteX105" fmla="*/ 861177 w 3147279"/>
                  <a:gd name="connsiteY105" fmla="*/ 205740 h 3147261"/>
                  <a:gd name="connsiteX106" fmla="*/ 952617 w 3147279"/>
                  <a:gd name="connsiteY106" fmla="*/ 152400 h 3147261"/>
                  <a:gd name="connsiteX107" fmla="*/ 983097 w 3147279"/>
                  <a:gd name="connsiteY107" fmla="*/ 129540 h 3147261"/>
                  <a:gd name="connsiteX108" fmla="*/ 1105017 w 3147279"/>
                  <a:gd name="connsiteY108" fmla="*/ 76200 h 3147261"/>
                  <a:gd name="connsiteX109" fmla="*/ 1127877 w 3147279"/>
                  <a:gd name="connsiteY109" fmla="*/ 68580 h 3147261"/>
                  <a:gd name="connsiteX110" fmla="*/ 1188837 w 3147279"/>
                  <a:gd name="connsiteY110" fmla="*/ 53340 h 3147261"/>
                  <a:gd name="connsiteX111" fmla="*/ 1242177 w 3147279"/>
                  <a:gd name="connsiteY111" fmla="*/ 38100 h 3147261"/>
                  <a:gd name="connsiteX112" fmla="*/ 1265037 w 3147279"/>
                  <a:gd name="connsiteY112" fmla="*/ 30480 h 3147261"/>
                  <a:gd name="connsiteX113" fmla="*/ 1386957 w 3147279"/>
                  <a:gd name="connsiteY113" fmla="*/ 15240 h 3147261"/>
                  <a:gd name="connsiteX114" fmla="*/ 1463157 w 3147279"/>
                  <a:gd name="connsiteY114" fmla="*/ 0 h 3147261"/>
                  <a:gd name="connsiteX115" fmla="*/ 1882257 w 3147279"/>
                  <a:gd name="connsiteY115" fmla="*/ 15240 h 3147261"/>
                  <a:gd name="connsiteX116" fmla="*/ 1912737 w 3147279"/>
                  <a:gd name="connsiteY116" fmla="*/ 22860 h 3147261"/>
                  <a:gd name="connsiteX117" fmla="*/ 2164197 w 3147279"/>
                  <a:gd name="connsiteY117" fmla="*/ 99060 h 3147261"/>
                  <a:gd name="connsiteX118" fmla="*/ 2339457 w 3147279"/>
                  <a:gd name="connsiteY118" fmla="*/ 182880 h 3147261"/>
                  <a:gd name="connsiteX119" fmla="*/ 2369937 w 3147279"/>
                  <a:gd name="connsiteY119" fmla="*/ 190500 h 3147261"/>
                  <a:gd name="connsiteX120" fmla="*/ 2392797 w 3147279"/>
                  <a:gd name="connsiteY120" fmla="*/ 205740 h 3147261"/>
                  <a:gd name="connsiteX121" fmla="*/ 2438517 w 3147279"/>
                  <a:gd name="connsiteY121" fmla="*/ 228600 h 3147261"/>
                  <a:gd name="connsiteX122" fmla="*/ 2446137 w 3147279"/>
                  <a:gd name="connsiteY122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25157 w 3147279"/>
                  <a:gd name="connsiteY61" fmla="*/ 3040380 h 3147261"/>
                  <a:gd name="connsiteX62" fmla="*/ 2187057 w 3147279"/>
                  <a:gd name="connsiteY62" fmla="*/ 3055620 h 3147261"/>
                  <a:gd name="connsiteX63" fmla="*/ 2095617 w 3147279"/>
                  <a:gd name="connsiteY63" fmla="*/ 3101340 h 3147261"/>
                  <a:gd name="connsiteX64" fmla="*/ 2027037 w 3147279"/>
                  <a:gd name="connsiteY64" fmla="*/ 3108960 h 3147261"/>
                  <a:gd name="connsiteX65" fmla="*/ 1981317 w 3147279"/>
                  <a:gd name="connsiteY65" fmla="*/ 3124200 h 3147261"/>
                  <a:gd name="connsiteX66" fmla="*/ 1912737 w 3147279"/>
                  <a:gd name="connsiteY66" fmla="*/ 3131820 h 3147261"/>
                  <a:gd name="connsiteX67" fmla="*/ 1798437 w 3147279"/>
                  <a:gd name="connsiteY67" fmla="*/ 3147060 h 3147261"/>
                  <a:gd name="connsiteX68" fmla="*/ 1333617 w 3147279"/>
                  <a:gd name="connsiteY68" fmla="*/ 3108960 h 3147261"/>
                  <a:gd name="connsiteX69" fmla="*/ 792597 w 3147279"/>
                  <a:gd name="connsiteY69" fmla="*/ 2933700 h 3147261"/>
                  <a:gd name="connsiteX70" fmla="*/ 419217 w 3147279"/>
                  <a:gd name="connsiteY70" fmla="*/ 2644140 h 3147261"/>
                  <a:gd name="connsiteX71" fmla="*/ 320157 w 3147279"/>
                  <a:gd name="connsiteY71" fmla="*/ 2484120 h 3147261"/>
                  <a:gd name="connsiteX72" fmla="*/ 297297 w 3147279"/>
                  <a:gd name="connsiteY72" fmla="*/ 2430780 h 3147261"/>
                  <a:gd name="connsiteX73" fmla="*/ 274437 w 3147279"/>
                  <a:gd name="connsiteY73" fmla="*/ 2377440 h 3147261"/>
                  <a:gd name="connsiteX74" fmla="*/ 228717 w 3147279"/>
                  <a:gd name="connsiteY74" fmla="*/ 2316480 h 3147261"/>
                  <a:gd name="connsiteX75" fmla="*/ 205857 w 3147279"/>
                  <a:gd name="connsiteY75" fmla="*/ 2293620 h 3147261"/>
                  <a:gd name="connsiteX76" fmla="*/ 175377 w 3147279"/>
                  <a:gd name="connsiteY76" fmla="*/ 2240280 h 3147261"/>
                  <a:gd name="connsiteX77" fmla="*/ 160137 w 3147279"/>
                  <a:gd name="connsiteY77" fmla="*/ 2202180 h 3147261"/>
                  <a:gd name="connsiteX78" fmla="*/ 144897 w 3147279"/>
                  <a:gd name="connsiteY78" fmla="*/ 2179320 h 3147261"/>
                  <a:gd name="connsiteX79" fmla="*/ 129657 w 3147279"/>
                  <a:gd name="connsiteY79" fmla="*/ 2133600 h 3147261"/>
                  <a:gd name="connsiteX80" fmla="*/ 99177 w 3147279"/>
                  <a:gd name="connsiteY80" fmla="*/ 2087880 h 3147261"/>
                  <a:gd name="connsiteX81" fmla="*/ 61077 w 3147279"/>
                  <a:gd name="connsiteY81" fmla="*/ 2026920 h 3147261"/>
                  <a:gd name="connsiteX82" fmla="*/ 53457 w 3147279"/>
                  <a:gd name="connsiteY82" fmla="*/ 2004060 h 3147261"/>
                  <a:gd name="connsiteX83" fmla="*/ 38217 w 3147279"/>
                  <a:gd name="connsiteY83" fmla="*/ 1943100 h 3147261"/>
                  <a:gd name="connsiteX84" fmla="*/ 22977 w 3147279"/>
                  <a:gd name="connsiteY84" fmla="*/ 1897380 h 3147261"/>
                  <a:gd name="connsiteX85" fmla="*/ 117 w 3147279"/>
                  <a:gd name="connsiteY85" fmla="*/ 1562100 h 3147261"/>
                  <a:gd name="connsiteX86" fmla="*/ 22977 w 3147279"/>
                  <a:gd name="connsiteY86" fmla="*/ 1135380 h 3147261"/>
                  <a:gd name="connsiteX87" fmla="*/ 38217 w 3147279"/>
                  <a:gd name="connsiteY87" fmla="*/ 1104900 h 3147261"/>
                  <a:gd name="connsiteX88" fmla="*/ 83937 w 3147279"/>
                  <a:gd name="connsiteY88" fmla="*/ 1021080 h 3147261"/>
                  <a:gd name="connsiteX89" fmla="*/ 129657 w 3147279"/>
                  <a:gd name="connsiteY89" fmla="*/ 914400 h 3147261"/>
                  <a:gd name="connsiteX90" fmla="*/ 160137 w 3147279"/>
                  <a:gd name="connsiteY90" fmla="*/ 861060 h 3147261"/>
                  <a:gd name="connsiteX91" fmla="*/ 182997 w 3147279"/>
                  <a:gd name="connsiteY91" fmla="*/ 822960 h 3147261"/>
                  <a:gd name="connsiteX92" fmla="*/ 205857 w 3147279"/>
                  <a:gd name="connsiteY92" fmla="*/ 800100 h 3147261"/>
                  <a:gd name="connsiteX93" fmla="*/ 259197 w 3147279"/>
                  <a:gd name="connsiteY93" fmla="*/ 708660 h 3147261"/>
                  <a:gd name="connsiteX94" fmla="*/ 274437 w 3147279"/>
                  <a:gd name="connsiteY94" fmla="*/ 662940 h 3147261"/>
                  <a:gd name="connsiteX95" fmla="*/ 327777 w 3147279"/>
                  <a:gd name="connsiteY95" fmla="*/ 586740 h 3147261"/>
                  <a:gd name="connsiteX96" fmla="*/ 419217 w 3147279"/>
                  <a:gd name="connsiteY96" fmla="*/ 510540 h 3147261"/>
                  <a:gd name="connsiteX97" fmla="*/ 449697 w 3147279"/>
                  <a:gd name="connsiteY97" fmla="*/ 472440 h 3147261"/>
                  <a:gd name="connsiteX98" fmla="*/ 510657 w 3147279"/>
                  <a:gd name="connsiteY98" fmla="*/ 434340 h 3147261"/>
                  <a:gd name="connsiteX99" fmla="*/ 563997 w 3147279"/>
                  <a:gd name="connsiteY99" fmla="*/ 396240 h 3147261"/>
                  <a:gd name="connsiteX100" fmla="*/ 655437 w 3147279"/>
                  <a:gd name="connsiteY100" fmla="*/ 335280 h 3147261"/>
                  <a:gd name="connsiteX101" fmla="*/ 731637 w 3147279"/>
                  <a:gd name="connsiteY101" fmla="*/ 297180 h 3147261"/>
                  <a:gd name="connsiteX102" fmla="*/ 815457 w 3147279"/>
                  <a:gd name="connsiteY102" fmla="*/ 236220 h 3147261"/>
                  <a:gd name="connsiteX103" fmla="*/ 830697 w 3147279"/>
                  <a:gd name="connsiteY103" fmla="*/ 213360 h 3147261"/>
                  <a:gd name="connsiteX104" fmla="*/ 861177 w 3147279"/>
                  <a:gd name="connsiteY104" fmla="*/ 205740 h 3147261"/>
                  <a:gd name="connsiteX105" fmla="*/ 952617 w 3147279"/>
                  <a:gd name="connsiteY105" fmla="*/ 152400 h 3147261"/>
                  <a:gd name="connsiteX106" fmla="*/ 983097 w 3147279"/>
                  <a:gd name="connsiteY106" fmla="*/ 129540 h 3147261"/>
                  <a:gd name="connsiteX107" fmla="*/ 1105017 w 3147279"/>
                  <a:gd name="connsiteY107" fmla="*/ 76200 h 3147261"/>
                  <a:gd name="connsiteX108" fmla="*/ 1127877 w 3147279"/>
                  <a:gd name="connsiteY108" fmla="*/ 68580 h 3147261"/>
                  <a:gd name="connsiteX109" fmla="*/ 1188837 w 3147279"/>
                  <a:gd name="connsiteY109" fmla="*/ 53340 h 3147261"/>
                  <a:gd name="connsiteX110" fmla="*/ 1242177 w 3147279"/>
                  <a:gd name="connsiteY110" fmla="*/ 38100 h 3147261"/>
                  <a:gd name="connsiteX111" fmla="*/ 1265037 w 3147279"/>
                  <a:gd name="connsiteY111" fmla="*/ 30480 h 3147261"/>
                  <a:gd name="connsiteX112" fmla="*/ 1386957 w 3147279"/>
                  <a:gd name="connsiteY112" fmla="*/ 15240 h 3147261"/>
                  <a:gd name="connsiteX113" fmla="*/ 1463157 w 3147279"/>
                  <a:gd name="connsiteY113" fmla="*/ 0 h 3147261"/>
                  <a:gd name="connsiteX114" fmla="*/ 1882257 w 3147279"/>
                  <a:gd name="connsiteY114" fmla="*/ 15240 h 3147261"/>
                  <a:gd name="connsiteX115" fmla="*/ 1912737 w 3147279"/>
                  <a:gd name="connsiteY115" fmla="*/ 22860 h 3147261"/>
                  <a:gd name="connsiteX116" fmla="*/ 2164197 w 3147279"/>
                  <a:gd name="connsiteY116" fmla="*/ 99060 h 3147261"/>
                  <a:gd name="connsiteX117" fmla="*/ 2339457 w 3147279"/>
                  <a:gd name="connsiteY117" fmla="*/ 182880 h 3147261"/>
                  <a:gd name="connsiteX118" fmla="*/ 2369937 w 3147279"/>
                  <a:gd name="connsiteY118" fmla="*/ 190500 h 3147261"/>
                  <a:gd name="connsiteX119" fmla="*/ 2392797 w 3147279"/>
                  <a:gd name="connsiteY119" fmla="*/ 205740 h 3147261"/>
                  <a:gd name="connsiteX120" fmla="*/ 2438517 w 3147279"/>
                  <a:gd name="connsiteY120" fmla="*/ 228600 h 3147261"/>
                  <a:gd name="connsiteX121" fmla="*/ 2446137 w 3147279"/>
                  <a:gd name="connsiteY121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25157 w 3147279"/>
                  <a:gd name="connsiteY61" fmla="*/ 3040380 h 3147261"/>
                  <a:gd name="connsiteX62" fmla="*/ 2187057 w 3147279"/>
                  <a:gd name="connsiteY62" fmla="*/ 3055620 h 3147261"/>
                  <a:gd name="connsiteX63" fmla="*/ 2095617 w 3147279"/>
                  <a:gd name="connsiteY63" fmla="*/ 3101340 h 3147261"/>
                  <a:gd name="connsiteX64" fmla="*/ 2027037 w 3147279"/>
                  <a:gd name="connsiteY64" fmla="*/ 3108960 h 3147261"/>
                  <a:gd name="connsiteX65" fmla="*/ 1912737 w 3147279"/>
                  <a:gd name="connsiteY65" fmla="*/ 3131820 h 3147261"/>
                  <a:gd name="connsiteX66" fmla="*/ 1798437 w 3147279"/>
                  <a:gd name="connsiteY66" fmla="*/ 3147060 h 3147261"/>
                  <a:gd name="connsiteX67" fmla="*/ 1333617 w 3147279"/>
                  <a:gd name="connsiteY67" fmla="*/ 3108960 h 3147261"/>
                  <a:gd name="connsiteX68" fmla="*/ 792597 w 3147279"/>
                  <a:gd name="connsiteY68" fmla="*/ 2933700 h 3147261"/>
                  <a:gd name="connsiteX69" fmla="*/ 419217 w 3147279"/>
                  <a:gd name="connsiteY69" fmla="*/ 2644140 h 3147261"/>
                  <a:gd name="connsiteX70" fmla="*/ 320157 w 3147279"/>
                  <a:gd name="connsiteY70" fmla="*/ 2484120 h 3147261"/>
                  <a:gd name="connsiteX71" fmla="*/ 297297 w 3147279"/>
                  <a:gd name="connsiteY71" fmla="*/ 2430780 h 3147261"/>
                  <a:gd name="connsiteX72" fmla="*/ 274437 w 3147279"/>
                  <a:gd name="connsiteY72" fmla="*/ 2377440 h 3147261"/>
                  <a:gd name="connsiteX73" fmla="*/ 228717 w 3147279"/>
                  <a:gd name="connsiteY73" fmla="*/ 2316480 h 3147261"/>
                  <a:gd name="connsiteX74" fmla="*/ 205857 w 3147279"/>
                  <a:gd name="connsiteY74" fmla="*/ 2293620 h 3147261"/>
                  <a:gd name="connsiteX75" fmla="*/ 175377 w 3147279"/>
                  <a:gd name="connsiteY75" fmla="*/ 2240280 h 3147261"/>
                  <a:gd name="connsiteX76" fmla="*/ 160137 w 3147279"/>
                  <a:gd name="connsiteY76" fmla="*/ 2202180 h 3147261"/>
                  <a:gd name="connsiteX77" fmla="*/ 144897 w 3147279"/>
                  <a:gd name="connsiteY77" fmla="*/ 2179320 h 3147261"/>
                  <a:gd name="connsiteX78" fmla="*/ 129657 w 3147279"/>
                  <a:gd name="connsiteY78" fmla="*/ 2133600 h 3147261"/>
                  <a:gd name="connsiteX79" fmla="*/ 99177 w 3147279"/>
                  <a:gd name="connsiteY79" fmla="*/ 2087880 h 3147261"/>
                  <a:gd name="connsiteX80" fmla="*/ 61077 w 3147279"/>
                  <a:gd name="connsiteY80" fmla="*/ 2026920 h 3147261"/>
                  <a:gd name="connsiteX81" fmla="*/ 53457 w 3147279"/>
                  <a:gd name="connsiteY81" fmla="*/ 2004060 h 3147261"/>
                  <a:gd name="connsiteX82" fmla="*/ 38217 w 3147279"/>
                  <a:gd name="connsiteY82" fmla="*/ 1943100 h 3147261"/>
                  <a:gd name="connsiteX83" fmla="*/ 22977 w 3147279"/>
                  <a:gd name="connsiteY83" fmla="*/ 1897380 h 3147261"/>
                  <a:gd name="connsiteX84" fmla="*/ 117 w 3147279"/>
                  <a:gd name="connsiteY84" fmla="*/ 1562100 h 3147261"/>
                  <a:gd name="connsiteX85" fmla="*/ 22977 w 3147279"/>
                  <a:gd name="connsiteY85" fmla="*/ 1135380 h 3147261"/>
                  <a:gd name="connsiteX86" fmla="*/ 38217 w 3147279"/>
                  <a:gd name="connsiteY86" fmla="*/ 1104900 h 3147261"/>
                  <a:gd name="connsiteX87" fmla="*/ 83937 w 3147279"/>
                  <a:gd name="connsiteY87" fmla="*/ 1021080 h 3147261"/>
                  <a:gd name="connsiteX88" fmla="*/ 129657 w 3147279"/>
                  <a:gd name="connsiteY88" fmla="*/ 914400 h 3147261"/>
                  <a:gd name="connsiteX89" fmla="*/ 160137 w 3147279"/>
                  <a:gd name="connsiteY89" fmla="*/ 861060 h 3147261"/>
                  <a:gd name="connsiteX90" fmla="*/ 182997 w 3147279"/>
                  <a:gd name="connsiteY90" fmla="*/ 822960 h 3147261"/>
                  <a:gd name="connsiteX91" fmla="*/ 205857 w 3147279"/>
                  <a:gd name="connsiteY91" fmla="*/ 800100 h 3147261"/>
                  <a:gd name="connsiteX92" fmla="*/ 259197 w 3147279"/>
                  <a:gd name="connsiteY92" fmla="*/ 708660 h 3147261"/>
                  <a:gd name="connsiteX93" fmla="*/ 274437 w 3147279"/>
                  <a:gd name="connsiteY93" fmla="*/ 662940 h 3147261"/>
                  <a:gd name="connsiteX94" fmla="*/ 327777 w 3147279"/>
                  <a:gd name="connsiteY94" fmla="*/ 586740 h 3147261"/>
                  <a:gd name="connsiteX95" fmla="*/ 419217 w 3147279"/>
                  <a:gd name="connsiteY95" fmla="*/ 510540 h 3147261"/>
                  <a:gd name="connsiteX96" fmla="*/ 449697 w 3147279"/>
                  <a:gd name="connsiteY96" fmla="*/ 472440 h 3147261"/>
                  <a:gd name="connsiteX97" fmla="*/ 510657 w 3147279"/>
                  <a:gd name="connsiteY97" fmla="*/ 434340 h 3147261"/>
                  <a:gd name="connsiteX98" fmla="*/ 563997 w 3147279"/>
                  <a:gd name="connsiteY98" fmla="*/ 396240 h 3147261"/>
                  <a:gd name="connsiteX99" fmla="*/ 655437 w 3147279"/>
                  <a:gd name="connsiteY99" fmla="*/ 335280 h 3147261"/>
                  <a:gd name="connsiteX100" fmla="*/ 731637 w 3147279"/>
                  <a:gd name="connsiteY100" fmla="*/ 297180 h 3147261"/>
                  <a:gd name="connsiteX101" fmla="*/ 815457 w 3147279"/>
                  <a:gd name="connsiteY101" fmla="*/ 236220 h 3147261"/>
                  <a:gd name="connsiteX102" fmla="*/ 830697 w 3147279"/>
                  <a:gd name="connsiteY102" fmla="*/ 213360 h 3147261"/>
                  <a:gd name="connsiteX103" fmla="*/ 861177 w 3147279"/>
                  <a:gd name="connsiteY103" fmla="*/ 205740 h 3147261"/>
                  <a:gd name="connsiteX104" fmla="*/ 952617 w 3147279"/>
                  <a:gd name="connsiteY104" fmla="*/ 152400 h 3147261"/>
                  <a:gd name="connsiteX105" fmla="*/ 983097 w 3147279"/>
                  <a:gd name="connsiteY105" fmla="*/ 129540 h 3147261"/>
                  <a:gd name="connsiteX106" fmla="*/ 1105017 w 3147279"/>
                  <a:gd name="connsiteY106" fmla="*/ 76200 h 3147261"/>
                  <a:gd name="connsiteX107" fmla="*/ 1127877 w 3147279"/>
                  <a:gd name="connsiteY107" fmla="*/ 68580 h 3147261"/>
                  <a:gd name="connsiteX108" fmla="*/ 1188837 w 3147279"/>
                  <a:gd name="connsiteY108" fmla="*/ 53340 h 3147261"/>
                  <a:gd name="connsiteX109" fmla="*/ 1242177 w 3147279"/>
                  <a:gd name="connsiteY109" fmla="*/ 38100 h 3147261"/>
                  <a:gd name="connsiteX110" fmla="*/ 1265037 w 3147279"/>
                  <a:gd name="connsiteY110" fmla="*/ 30480 h 3147261"/>
                  <a:gd name="connsiteX111" fmla="*/ 1386957 w 3147279"/>
                  <a:gd name="connsiteY111" fmla="*/ 15240 h 3147261"/>
                  <a:gd name="connsiteX112" fmla="*/ 1463157 w 3147279"/>
                  <a:gd name="connsiteY112" fmla="*/ 0 h 3147261"/>
                  <a:gd name="connsiteX113" fmla="*/ 1882257 w 3147279"/>
                  <a:gd name="connsiteY113" fmla="*/ 15240 h 3147261"/>
                  <a:gd name="connsiteX114" fmla="*/ 1912737 w 3147279"/>
                  <a:gd name="connsiteY114" fmla="*/ 22860 h 3147261"/>
                  <a:gd name="connsiteX115" fmla="*/ 2164197 w 3147279"/>
                  <a:gd name="connsiteY115" fmla="*/ 99060 h 3147261"/>
                  <a:gd name="connsiteX116" fmla="*/ 2339457 w 3147279"/>
                  <a:gd name="connsiteY116" fmla="*/ 182880 h 3147261"/>
                  <a:gd name="connsiteX117" fmla="*/ 2369937 w 3147279"/>
                  <a:gd name="connsiteY117" fmla="*/ 190500 h 3147261"/>
                  <a:gd name="connsiteX118" fmla="*/ 2392797 w 3147279"/>
                  <a:gd name="connsiteY118" fmla="*/ 205740 h 3147261"/>
                  <a:gd name="connsiteX119" fmla="*/ 2438517 w 3147279"/>
                  <a:gd name="connsiteY119" fmla="*/ 228600 h 3147261"/>
                  <a:gd name="connsiteX120" fmla="*/ 2446137 w 3147279"/>
                  <a:gd name="connsiteY120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225157 w 3147279"/>
                  <a:gd name="connsiteY61" fmla="*/ 3040380 h 3147261"/>
                  <a:gd name="connsiteX62" fmla="*/ 2187057 w 3147279"/>
                  <a:gd name="connsiteY62" fmla="*/ 3055620 h 3147261"/>
                  <a:gd name="connsiteX63" fmla="*/ 2095617 w 3147279"/>
                  <a:gd name="connsiteY63" fmla="*/ 3101340 h 3147261"/>
                  <a:gd name="connsiteX64" fmla="*/ 1912737 w 3147279"/>
                  <a:gd name="connsiteY64" fmla="*/ 3131820 h 3147261"/>
                  <a:gd name="connsiteX65" fmla="*/ 1798437 w 3147279"/>
                  <a:gd name="connsiteY65" fmla="*/ 3147060 h 3147261"/>
                  <a:gd name="connsiteX66" fmla="*/ 1333617 w 3147279"/>
                  <a:gd name="connsiteY66" fmla="*/ 3108960 h 3147261"/>
                  <a:gd name="connsiteX67" fmla="*/ 792597 w 3147279"/>
                  <a:gd name="connsiteY67" fmla="*/ 2933700 h 3147261"/>
                  <a:gd name="connsiteX68" fmla="*/ 419217 w 3147279"/>
                  <a:gd name="connsiteY68" fmla="*/ 2644140 h 3147261"/>
                  <a:gd name="connsiteX69" fmla="*/ 320157 w 3147279"/>
                  <a:gd name="connsiteY69" fmla="*/ 2484120 h 3147261"/>
                  <a:gd name="connsiteX70" fmla="*/ 297297 w 3147279"/>
                  <a:gd name="connsiteY70" fmla="*/ 2430780 h 3147261"/>
                  <a:gd name="connsiteX71" fmla="*/ 274437 w 3147279"/>
                  <a:gd name="connsiteY71" fmla="*/ 2377440 h 3147261"/>
                  <a:gd name="connsiteX72" fmla="*/ 228717 w 3147279"/>
                  <a:gd name="connsiteY72" fmla="*/ 2316480 h 3147261"/>
                  <a:gd name="connsiteX73" fmla="*/ 205857 w 3147279"/>
                  <a:gd name="connsiteY73" fmla="*/ 2293620 h 3147261"/>
                  <a:gd name="connsiteX74" fmla="*/ 175377 w 3147279"/>
                  <a:gd name="connsiteY74" fmla="*/ 2240280 h 3147261"/>
                  <a:gd name="connsiteX75" fmla="*/ 160137 w 3147279"/>
                  <a:gd name="connsiteY75" fmla="*/ 2202180 h 3147261"/>
                  <a:gd name="connsiteX76" fmla="*/ 144897 w 3147279"/>
                  <a:gd name="connsiteY76" fmla="*/ 2179320 h 3147261"/>
                  <a:gd name="connsiteX77" fmla="*/ 129657 w 3147279"/>
                  <a:gd name="connsiteY77" fmla="*/ 2133600 h 3147261"/>
                  <a:gd name="connsiteX78" fmla="*/ 99177 w 3147279"/>
                  <a:gd name="connsiteY78" fmla="*/ 2087880 h 3147261"/>
                  <a:gd name="connsiteX79" fmla="*/ 61077 w 3147279"/>
                  <a:gd name="connsiteY79" fmla="*/ 2026920 h 3147261"/>
                  <a:gd name="connsiteX80" fmla="*/ 53457 w 3147279"/>
                  <a:gd name="connsiteY80" fmla="*/ 2004060 h 3147261"/>
                  <a:gd name="connsiteX81" fmla="*/ 38217 w 3147279"/>
                  <a:gd name="connsiteY81" fmla="*/ 1943100 h 3147261"/>
                  <a:gd name="connsiteX82" fmla="*/ 22977 w 3147279"/>
                  <a:gd name="connsiteY82" fmla="*/ 1897380 h 3147261"/>
                  <a:gd name="connsiteX83" fmla="*/ 117 w 3147279"/>
                  <a:gd name="connsiteY83" fmla="*/ 1562100 h 3147261"/>
                  <a:gd name="connsiteX84" fmla="*/ 22977 w 3147279"/>
                  <a:gd name="connsiteY84" fmla="*/ 1135380 h 3147261"/>
                  <a:gd name="connsiteX85" fmla="*/ 38217 w 3147279"/>
                  <a:gd name="connsiteY85" fmla="*/ 1104900 h 3147261"/>
                  <a:gd name="connsiteX86" fmla="*/ 83937 w 3147279"/>
                  <a:gd name="connsiteY86" fmla="*/ 1021080 h 3147261"/>
                  <a:gd name="connsiteX87" fmla="*/ 129657 w 3147279"/>
                  <a:gd name="connsiteY87" fmla="*/ 914400 h 3147261"/>
                  <a:gd name="connsiteX88" fmla="*/ 160137 w 3147279"/>
                  <a:gd name="connsiteY88" fmla="*/ 861060 h 3147261"/>
                  <a:gd name="connsiteX89" fmla="*/ 182997 w 3147279"/>
                  <a:gd name="connsiteY89" fmla="*/ 822960 h 3147261"/>
                  <a:gd name="connsiteX90" fmla="*/ 205857 w 3147279"/>
                  <a:gd name="connsiteY90" fmla="*/ 800100 h 3147261"/>
                  <a:gd name="connsiteX91" fmla="*/ 259197 w 3147279"/>
                  <a:gd name="connsiteY91" fmla="*/ 708660 h 3147261"/>
                  <a:gd name="connsiteX92" fmla="*/ 274437 w 3147279"/>
                  <a:gd name="connsiteY92" fmla="*/ 662940 h 3147261"/>
                  <a:gd name="connsiteX93" fmla="*/ 327777 w 3147279"/>
                  <a:gd name="connsiteY93" fmla="*/ 586740 h 3147261"/>
                  <a:gd name="connsiteX94" fmla="*/ 419217 w 3147279"/>
                  <a:gd name="connsiteY94" fmla="*/ 510540 h 3147261"/>
                  <a:gd name="connsiteX95" fmla="*/ 449697 w 3147279"/>
                  <a:gd name="connsiteY95" fmla="*/ 472440 h 3147261"/>
                  <a:gd name="connsiteX96" fmla="*/ 510657 w 3147279"/>
                  <a:gd name="connsiteY96" fmla="*/ 434340 h 3147261"/>
                  <a:gd name="connsiteX97" fmla="*/ 563997 w 3147279"/>
                  <a:gd name="connsiteY97" fmla="*/ 396240 h 3147261"/>
                  <a:gd name="connsiteX98" fmla="*/ 655437 w 3147279"/>
                  <a:gd name="connsiteY98" fmla="*/ 335280 h 3147261"/>
                  <a:gd name="connsiteX99" fmla="*/ 731637 w 3147279"/>
                  <a:gd name="connsiteY99" fmla="*/ 297180 h 3147261"/>
                  <a:gd name="connsiteX100" fmla="*/ 815457 w 3147279"/>
                  <a:gd name="connsiteY100" fmla="*/ 236220 h 3147261"/>
                  <a:gd name="connsiteX101" fmla="*/ 830697 w 3147279"/>
                  <a:gd name="connsiteY101" fmla="*/ 213360 h 3147261"/>
                  <a:gd name="connsiteX102" fmla="*/ 861177 w 3147279"/>
                  <a:gd name="connsiteY102" fmla="*/ 205740 h 3147261"/>
                  <a:gd name="connsiteX103" fmla="*/ 952617 w 3147279"/>
                  <a:gd name="connsiteY103" fmla="*/ 152400 h 3147261"/>
                  <a:gd name="connsiteX104" fmla="*/ 983097 w 3147279"/>
                  <a:gd name="connsiteY104" fmla="*/ 129540 h 3147261"/>
                  <a:gd name="connsiteX105" fmla="*/ 1105017 w 3147279"/>
                  <a:gd name="connsiteY105" fmla="*/ 76200 h 3147261"/>
                  <a:gd name="connsiteX106" fmla="*/ 1127877 w 3147279"/>
                  <a:gd name="connsiteY106" fmla="*/ 68580 h 3147261"/>
                  <a:gd name="connsiteX107" fmla="*/ 1188837 w 3147279"/>
                  <a:gd name="connsiteY107" fmla="*/ 53340 h 3147261"/>
                  <a:gd name="connsiteX108" fmla="*/ 1242177 w 3147279"/>
                  <a:gd name="connsiteY108" fmla="*/ 38100 h 3147261"/>
                  <a:gd name="connsiteX109" fmla="*/ 1265037 w 3147279"/>
                  <a:gd name="connsiteY109" fmla="*/ 30480 h 3147261"/>
                  <a:gd name="connsiteX110" fmla="*/ 1386957 w 3147279"/>
                  <a:gd name="connsiteY110" fmla="*/ 15240 h 3147261"/>
                  <a:gd name="connsiteX111" fmla="*/ 1463157 w 3147279"/>
                  <a:gd name="connsiteY111" fmla="*/ 0 h 3147261"/>
                  <a:gd name="connsiteX112" fmla="*/ 1882257 w 3147279"/>
                  <a:gd name="connsiteY112" fmla="*/ 15240 h 3147261"/>
                  <a:gd name="connsiteX113" fmla="*/ 1912737 w 3147279"/>
                  <a:gd name="connsiteY113" fmla="*/ 22860 h 3147261"/>
                  <a:gd name="connsiteX114" fmla="*/ 2164197 w 3147279"/>
                  <a:gd name="connsiteY114" fmla="*/ 99060 h 3147261"/>
                  <a:gd name="connsiteX115" fmla="*/ 2339457 w 3147279"/>
                  <a:gd name="connsiteY115" fmla="*/ 182880 h 3147261"/>
                  <a:gd name="connsiteX116" fmla="*/ 2369937 w 3147279"/>
                  <a:gd name="connsiteY116" fmla="*/ 190500 h 3147261"/>
                  <a:gd name="connsiteX117" fmla="*/ 2392797 w 3147279"/>
                  <a:gd name="connsiteY117" fmla="*/ 205740 h 3147261"/>
                  <a:gd name="connsiteX118" fmla="*/ 2438517 w 3147279"/>
                  <a:gd name="connsiteY118" fmla="*/ 228600 h 3147261"/>
                  <a:gd name="connsiteX119" fmla="*/ 2446137 w 3147279"/>
                  <a:gd name="connsiteY119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187057 w 3147279"/>
                  <a:gd name="connsiteY61" fmla="*/ 3055620 h 3147261"/>
                  <a:gd name="connsiteX62" fmla="*/ 2095617 w 3147279"/>
                  <a:gd name="connsiteY62" fmla="*/ 3101340 h 3147261"/>
                  <a:gd name="connsiteX63" fmla="*/ 1912737 w 3147279"/>
                  <a:gd name="connsiteY63" fmla="*/ 313182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187057 w 3147279"/>
                  <a:gd name="connsiteY61" fmla="*/ 3055620 h 3147261"/>
                  <a:gd name="connsiteX62" fmla="*/ 2095617 w 3147279"/>
                  <a:gd name="connsiteY62" fmla="*/ 3055620 h 3147261"/>
                  <a:gd name="connsiteX63" fmla="*/ 1912737 w 3147279"/>
                  <a:gd name="connsiteY63" fmla="*/ 313182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94660 h 3147261"/>
                  <a:gd name="connsiteX61" fmla="*/ 2187057 w 3147279"/>
                  <a:gd name="connsiteY61" fmla="*/ 3055620 h 3147261"/>
                  <a:gd name="connsiteX62" fmla="*/ 2095617 w 3147279"/>
                  <a:gd name="connsiteY62" fmla="*/ 3055620 h 3147261"/>
                  <a:gd name="connsiteX63" fmla="*/ 1912737 w 3147279"/>
                  <a:gd name="connsiteY63" fmla="*/ 310896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71800 h 3147261"/>
                  <a:gd name="connsiteX61" fmla="*/ 2187057 w 3147279"/>
                  <a:gd name="connsiteY61" fmla="*/ 3055620 h 3147261"/>
                  <a:gd name="connsiteX62" fmla="*/ 2095617 w 3147279"/>
                  <a:gd name="connsiteY62" fmla="*/ 3055620 h 3147261"/>
                  <a:gd name="connsiteX63" fmla="*/ 1912737 w 3147279"/>
                  <a:gd name="connsiteY63" fmla="*/ 310896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84237 w 3147279"/>
                  <a:gd name="connsiteY56" fmla="*/ 2804160 h 3147261"/>
                  <a:gd name="connsiteX57" fmla="*/ 2423277 w 3147279"/>
                  <a:gd name="connsiteY57" fmla="*/ 2865120 h 3147261"/>
                  <a:gd name="connsiteX58" fmla="*/ 2392797 w 3147279"/>
                  <a:gd name="connsiteY58" fmla="*/ 2887980 h 3147261"/>
                  <a:gd name="connsiteX59" fmla="*/ 2377557 w 3147279"/>
                  <a:gd name="connsiteY59" fmla="*/ 2910840 h 3147261"/>
                  <a:gd name="connsiteX60" fmla="*/ 2301357 w 3147279"/>
                  <a:gd name="connsiteY60" fmla="*/ 2971800 h 3147261"/>
                  <a:gd name="connsiteX61" fmla="*/ 2194677 w 3147279"/>
                  <a:gd name="connsiteY61" fmla="*/ 3025140 h 3147261"/>
                  <a:gd name="connsiteX62" fmla="*/ 2095617 w 3147279"/>
                  <a:gd name="connsiteY62" fmla="*/ 3055620 h 3147261"/>
                  <a:gd name="connsiteX63" fmla="*/ 1912737 w 3147279"/>
                  <a:gd name="connsiteY63" fmla="*/ 3108960 h 3147261"/>
                  <a:gd name="connsiteX64" fmla="*/ 1798437 w 3147279"/>
                  <a:gd name="connsiteY64" fmla="*/ 3147060 h 3147261"/>
                  <a:gd name="connsiteX65" fmla="*/ 1333617 w 3147279"/>
                  <a:gd name="connsiteY65" fmla="*/ 3108960 h 3147261"/>
                  <a:gd name="connsiteX66" fmla="*/ 792597 w 3147279"/>
                  <a:gd name="connsiteY66" fmla="*/ 2933700 h 3147261"/>
                  <a:gd name="connsiteX67" fmla="*/ 419217 w 3147279"/>
                  <a:gd name="connsiteY67" fmla="*/ 2644140 h 3147261"/>
                  <a:gd name="connsiteX68" fmla="*/ 320157 w 3147279"/>
                  <a:gd name="connsiteY68" fmla="*/ 2484120 h 3147261"/>
                  <a:gd name="connsiteX69" fmla="*/ 297297 w 3147279"/>
                  <a:gd name="connsiteY69" fmla="*/ 2430780 h 3147261"/>
                  <a:gd name="connsiteX70" fmla="*/ 274437 w 3147279"/>
                  <a:gd name="connsiteY70" fmla="*/ 2377440 h 3147261"/>
                  <a:gd name="connsiteX71" fmla="*/ 228717 w 3147279"/>
                  <a:gd name="connsiteY71" fmla="*/ 2316480 h 3147261"/>
                  <a:gd name="connsiteX72" fmla="*/ 205857 w 3147279"/>
                  <a:gd name="connsiteY72" fmla="*/ 2293620 h 3147261"/>
                  <a:gd name="connsiteX73" fmla="*/ 175377 w 3147279"/>
                  <a:gd name="connsiteY73" fmla="*/ 2240280 h 3147261"/>
                  <a:gd name="connsiteX74" fmla="*/ 160137 w 3147279"/>
                  <a:gd name="connsiteY74" fmla="*/ 2202180 h 3147261"/>
                  <a:gd name="connsiteX75" fmla="*/ 144897 w 3147279"/>
                  <a:gd name="connsiteY75" fmla="*/ 2179320 h 3147261"/>
                  <a:gd name="connsiteX76" fmla="*/ 129657 w 3147279"/>
                  <a:gd name="connsiteY76" fmla="*/ 2133600 h 3147261"/>
                  <a:gd name="connsiteX77" fmla="*/ 99177 w 3147279"/>
                  <a:gd name="connsiteY77" fmla="*/ 2087880 h 3147261"/>
                  <a:gd name="connsiteX78" fmla="*/ 61077 w 3147279"/>
                  <a:gd name="connsiteY78" fmla="*/ 2026920 h 3147261"/>
                  <a:gd name="connsiteX79" fmla="*/ 53457 w 3147279"/>
                  <a:gd name="connsiteY79" fmla="*/ 2004060 h 3147261"/>
                  <a:gd name="connsiteX80" fmla="*/ 38217 w 3147279"/>
                  <a:gd name="connsiteY80" fmla="*/ 1943100 h 3147261"/>
                  <a:gd name="connsiteX81" fmla="*/ 22977 w 3147279"/>
                  <a:gd name="connsiteY81" fmla="*/ 1897380 h 3147261"/>
                  <a:gd name="connsiteX82" fmla="*/ 117 w 3147279"/>
                  <a:gd name="connsiteY82" fmla="*/ 1562100 h 3147261"/>
                  <a:gd name="connsiteX83" fmla="*/ 22977 w 3147279"/>
                  <a:gd name="connsiteY83" fmla="*/ 1135380 h 3147261"/>
                  <a:gd name="connsiteX84" fmla="*/ 38217 w 3147279"/>
                  <a:gd name="connsiteY84" fmla="*/ 1104900 h 3147261"/>
                  <a:gd name="connsiteX85" fmla="*/ 83937 w 3147279"/>
                  <a:gd name="connsiteY85" fmla="*/ 1021080 h 3147261"/>
                  <a:gd name="connsiteX86" fmla="*/ 129657 w 3147279"/>
                  <a:gd name="connsiteY86" fmla="*/ 914400 h 3147261"/>
                  <a:gd name="connsiteX87" fmla="*/ 160137 w 3147279"/>
                  <a:gd name="connsiteY87" fmla="*/ 861060 h 3147261"/>
                  <a:gd name="connsiteX88" fmla="*/ 182997 w 3147279"/>
                  <a:gd name="connsiteY88" fmla="*/ 822960 h 3147261"/>
                  <a:gd name="connsiteX89" fmla="*/ 205857 w 3147279"/>
                  <a:gd name="connsiteY89" fmla="*/ 800100 h 3147261"/>
                  <a:gd name="connsiteX90" fmla="*/ 259197 w 3147279"/>
                  <a:gd name="connsiteY90" fmla="*/ 708660 h 3147261"/>
                  <a:gd name="connsiteX91" fmla="*/ 274437 w 3147279"/>
                  <a:gd name="connsiteY91" fmla="*/ 662940 h 3147261"/>
                  <a:gd name="connsiteX92" fmla="*/ 327777 w 3147279"/>
                  <a:gd name="connsiteY92" fmla="*/ 586740 h 3147261"/>
                  <a:gd name="connsiteX93" fmla="*/ 419217 w 3147279"/>
                  <a:gd name="connsiteY93" fmla="*/ 510540 h 3147261"/>
                  <a:gd name="connsiteX94" fmla="*/ 449697 w 3147279"/>
                  <a:gd name="connsiteY94" fmla="*/ 472440 h 3147261"/>
                  <a:gd name="connsiteX95" fmla="*/ 510657 w 3147279"/>
                  <a:gd name="connsiteY95" fmla="*/ 434340 h 3147261"/>
                  <a:gd name="connsiteX96" fmla="*/ 563997 w 3147279"/>
                  <a:gd name="connsiteY96" fmla="*/ 396240 h 3147261"/>
                  <a:gd name="connsiteX97" fmla="*/ 655437 w 3147279"/>
                  <a:gd name="connsiteY97" fmla="*/ 335280 h 3147261"/>
                  <a:gd name="connsiteX98" fmla="*/ 731637 w 3147279"/>
                  <a:gd name="connsiteY98" fmla="*/ 297180 h 3147261"/>
                  <a:gd name="connsiteX99" fmla="*/ 815457 w 3147279"/>
                  <a:gd name="connsiteY99" fmla="*/ 236220 h 3147261"/>
                  <a:gd name="connsiteX100" fmla="*/ 830697 w 3147279"/>
                  <a:gd name="connsiteY100" fmla="*/ 213360 h 3147261"/>
                  <a:gd name="connsiteX101" fmla="*/ 861177 w 3147279"/>
                  <a:gd name="connsiteY101" fmla="*/ 205740 h 3147261"/>
                  <a:gd name="connsiteX102" fmla="*/ 952617 w 3147279"/>
                  <a:gd name="connsiteY102" fmla="*/ 152400 h 3147261"/>
                  <a:gd name="connsiteX103" fmla="*/ 983097 w 3147279"/>
                  <a:gd name="connsiteY103" fmla="*/ 129540 h 3147261"/>
                  <a:gd name="connsiteX104" fmla="*/ 1105017 w 3147279"/>
                  <a:gd name="connsiteY104" fmla="*/ 76200 h 3147261"/>
                  <a:gd name="connsiteX105" fmla="*/ 1127877 w 3147279"/>
                  <a:gd name="connsiteY105" fmla="*/ 68580 h 3147261"/>
                  <a:gd name="connsiteX106" fmla="*/ 1188837 w 3147279"/>
                  <a:gd name="connsiteY106" fmla="*/ 53340 h 3147261"/>
                  <a:gd name="connsiteX107" fmla="*/ 1242177 w 3147279"/>
                  <a:gd name="connsiteY107" fmla="*/ 38100 h 3147261"/>
                  <a:gd name="connsiteX108" fmla="*/ 1265037 w 3147279"/>
                  <a:gd name="connsiteY108" fmla="*/ 30480 h 3147261"/>
                  <a:gd name="connsiteX109" fmla="*/ 1386957 w 3147279"/>
                  <a:gd name="connsiteY109" fmla="*/ 15240 h 3147261"/>
                  <a:gd name="connsiteX110" fmla="*/ 1463157 w 3147279"/>
                  <a:gd name="connsiteY110" fmla="*/ 0 h 3147261"/>
                  <a:gd name="connsiteX111" fmla="*/ 1882257 w 3147279"/>
                  <a:gd name="connsiteY111" fmla="*/ 15240 h 3147261"/>
                  <a:gd name="connsiteX112" fmla="*/ 1912737 w 3147279"/>
                  <a:gd name="connsiteY112" fmla="*/ 22860 h 3147261"/>
                  <a:gd name="connsiteX113" fmla="*/ 2164197 w 3147279"/>
                  <a:gd name="connsiteY113" fmla="*/ 99060 h 3147261"/>
                  <a:gd name="connsiteX114" fmla="*/ 2339457 w 3147279"/>
                  <a:gd name="connsiteY114" fmla="*/ 182880 h 3147261"/>
                  <a:gd name="connsiteX115" fmla="*/ 2369937 w 3147279"/>
                  <a:gd name="connsiteY115" fmla="*/ 190500 h 3147261"/>
                  <a:gd name="connsiteX116" fmla="*/ 2392797 w 3147279"/>
                  <a:gd name="connsiteY116" fmla="*/ 205740 h 3147261"/>
                  <a:gd name="connsiteX117" fmla="*/ 2438517 w 3147279"/>
                  <a:gd name="connsiteY117" fmla="*/ 228600 h 3147261"/>
                  <a:gd name="connsiteX118" fmla="*/ 2446137 w 3147279"/>
                  <a:gd name="connsiteY118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23277 w 3147279"/>
                  <a:gd name="connsiteY56" fmla="*/ 2865120 h 3147261"/>
                  <a:gd name="connsiteX57" fmla="*/ 2392797 w 3147279"/>
                  <a:gd name="connsiteY57" fmla="*/ 2887980 h 3147261"/>
                  <a:gd name="connsiteX58" fmla="*/ 2377557 w 3147279"/>
                  <a:gd name="connsiteY58" fmla="*/ 2910840 h 3147261"/>
                  <a:gd name="connsiteX59" fmla="*/ 2301357 w 3147279"/>
                  <a:gd name="connsiteY59" fmla="*/ 2971800 h 3147261"/>
                  <a:gd name="connsiteX60" fmla="*/ 2194677 w 3147279"/>
                  <a:gd name="connsiteY60" fmla="*/ 3025140 h 3147261"/>
                  <a:gd name="connsiteX61" fmla="*/ 2095617 w 3147279"/>
                  <a:gd name="connsiteY61" fmla="*/ 3055620 h 3147261"/>
                  <a:gd name="connsiteX62" fmla="*/ 1912737 w 3147279"/>
                  <a:gd name="connsiteY62" fmla="*/ 3108960 h 3147261"/>
                  <a:gd name="connsiteX63" fmla="*/ 1798437 w 3147279"/>
                  <a:gd name="connsiteY63" fmla="*/ 3147060 h 3147261"/>
                  <a:gd name="connsiteX64" fmla="*/ 1333617 w 3147279"/>
                  <a:gd name="connsiteY64" fmla="*/ 3108960 h 3147261"/>
                  <a:gd name="connsiteX65" fmla="*/ 792597 w 3147279"/>
                  <a:gd name="connsiteY65" fmla="*/ 2933700 h 3147261"/>
                  <a:gd name="connsiteX66" fmla="*/ 419217 w 3147279"/>
                  <a:gd name="connsiteY66" fmla="*/ 2644140 h 3147261"/>
                  <a:gd name="connsiteX67" fmla="*/ 320157 w 3147279"/>
                  <a:gd name="connsiteY67" fmla="*/ 2484120 h 3147261"/>
                  <a:gd name="connsiteX68" fmla="*/ 297297 w 3147279"/>
                  <a:gd name="connsiteY68" fmla="*/ 2430780 h 3147261"/>
                  <a:gd name="connsiteX69" fmla="*/ 274437 w 3147279"/>
                  <a:gd name="connsiteY69" fmla="*/ 2377440 h 3147261"/>
                  <a:gd name="connsiteX70" fmla="*/ 228717 w 3147279"/>
                  <a:gd name="connsiteY70" fmla="*/ 2316480 h 3147261"/>
                  <a:gd name="connsiteX71" fmla="*/ 205857 w 3147279"/>
                  <a:gd name="connsiteY71" fmla="*/ 2293620 h 3147261"/>
                  <a:gd name="connsiteX72" fmla="*/ 175377 w 3147279"/>
                  <a:gd name="connsiteY72" fmla="*/ 2240280 h 3147261"/>
                  <a:gd name="connsiteX73" fmla="*/ 160137 w 3147279"/>
                  <a:gd name="connsiteY73" fmla="*/ 2202180 h 3147261"/>
                  <a:gd name="connsiteX74" fmla="*/ 144897 w 3147279"/>
                  <a:gd name="connsiteY74" fmla="*/ 2179320 h 3147261"/>
                  <a:gd name="connsiteX75" fmla="*/ 129657 w 3147279"/>
                  <a:gd name="connsiteY75" fmla="*/ 2133600 h 3147261"/>
                  <a:gd name="connsiteX76" fmla="*/ 99177 w 3147279"/>
                  <a:gd name="connsiteY76" fmla="*/ 2087880 h 3147261"/>
                  <a:gd name="connsiteX77" fmla="*/ 61077 w 3147279"/>
                  <a:gd name="connsiteY77" fmla="*/ 2026920 h 3147261"/>
                  <a:gd name="connsiteX78" fmla="*/ 53457 w 3147279"/>
                  <a:gd name="connsiteY78" fmla="*/ 2004060 h 3147261"/>
                  <a:gd name="connsiteX79" fmla="*/ 38217 w 3147279"/>
                  <a:gd name="connsiteY79" fmla="*/ 1943100 h 3147261"/>
                  <a:gd name="connsiteX80" fmla="*/ 22977 w 3147279"/>
                  <a:gd name="connsiteY80" fmla="*/ 1897380 h 3147261"/>
                  <a:gd name="connsiteX81" fmla="*/ 117 w 3147279"/>
                  <a:gd name="connsiteY81" fmla="*/ 1562100 h 3147261"/>
                  <a:gd name="connsiteX82" fmla="*/ 22977 w 3147279"/>
                  <a:gd name="connsiteY82" fmla="*/ 1135380 h 3147261"/>
                  <a:gd name="connsiteX83" fmla="*/ 38217 w 3147279"/>
                  <a:gd name="connsiteY83" fmla="*/ 1104900 h 3147261"/>
                  <a:gd name="connsiteX84" fmla="*/ 83937 w 3147279"/>
                  <a:gd name="connsiteY84" fmla="*/ 1021080 h 3147261"/>
                  <a:gd name="connsiteX85" fmla="*/ 129657 w 3147279"/>
                  <a:gd name="connsiteY85" fmla="*/ 914400 h 3147261"/>
                  <a:gd name="connsiteX86" fmla="*/ 160137 w 3147279"/>
                  <a:gd name="connsiteY86" fmla="*/ 861060 h 3147261"/>
                  <a:gd name="connsiteX87" fmla="*/ 182997 w 3147279"/>
                  <a:gd name="connsiteY87" fmla="*/ 822960 h 3147261"/>
                  <a:gd name="connsiteX88" fmla="*/ 205857 w 3147279"/>
                  <a:gd name="connsiteY88" fmla="*/ 800100 h 3147261"/>
                  <a:gd name="connsiteX89" fmla="*/ 259197 w 3147279"/>
                  <a:gd name="connsiteY89" fmla="*/ 708660 h 3147261"/>
                  <a:gd name="connsiteX90" fmla="*/ 274437 w 3147279"/>
                  <a:gd name="connsiteY90" fmla="*/ 662940 h 3147261"/>
                  <a:gd name="connsiteX91" fmla="*/ 327777 w 3147279"/>
                  <a:gd name="connsiteY91" fmla="*/ 586740 h 3147261"/>
                  <a:gd name="connsiteX92" fmla="*/ 419217 w 3147279"/>
                  <a:gd name="connsiteY92" fmla="*/ 510540 h 3147261"/>
                  <a:gd name="connsiteX93" fmla="*/ 449697 w 3147279"/>
                  <a:gd name="connsiteY93" fmla="*/ 472440 h 3147261"/>
                  <a:gd name="connsiteX94" fmla="*/ 510657 w 3147279"/>
                  <a:gd name="connsiteY94" fmla="*/ 434340 h 3147261"/>
                  <a:gd name="connsiteX95" fmla="*/ 563997 w 3147279"/>
                  <a:gd name="connsiteY95" fmla="*/ 396240 h 3147261"/>
                  <a:gd name="connsiteX96" fmla="*/ 655437 w 3147279"/>
                  <a:gd name="connsiteY96" fmla="*/ 335280 h 3147261"/>
                  <a:gd name="connsiteX97" fmla="*/ 731637 w 3147279"/>
                  <a:gd name="connsiteY97" fmla="*/ 297180 h 3147261"/>
                  <a:gd name="connsiteX98" fmla="*/ 815457 w 3147279"/>
                  <a:gd name="connsiteY98" fmla="*/ 236220 h 3147261"/>
                  <a:gd name="connsiteX99" fmla="*/ 830697 w 3147279"/>
                  <a:gd name="connsiteY99" fmla="*/ 213360 h 3147261"/>
                  <a:gd name="connsiteX100" fmla="*/ 861177 w 3147279"/>
                  <a:gd name="connsiteY100" fmla="*/ 205740 h 3147261"/>
                  <a:gd name="connsiteX101" fmla="*/ 952617 w 3147279"/>
                  <a:gd name="connsiteY101" fmla="*/ 152400 h 3147261"/>
                  <a:gd name="connsiteX102" fmla="*/ 983097 w 3147279"/>
                  <a:gd name="connsiteY102" fmla="*/ 129540 h 3147261"/>
                  <a:gd name="connsiteX103" fmla="*/ 1105017 w 3147279"/>
                  <a:gd name="connsiteY103" fmla="*/ 76200 h 3147261"/>
                  <a:gd name="connsiteX104" fmla="*/ 1127877 w 3147279"/>
                  <a:gd name="connsiteY104" fmla="*/ 68580 h 3147261"/>
                  <a:gd name="connsiteX105" fmla="*/ 1188837 w 3147279"/>
                  <a:gd name="connsiteY105" fmla="*/ 53340 h 3147261"/>
                  <a:gd name="connsiteX106" fmla="*/ 1242177 w 3147279"/>
                  <a:gd name="connsiteY106" fmla="*/ 38100 h 3147261"/>
                  <a:gd name="connsiteX107" fmla="*/ 1265037 w 3147279"/>
                  <a:gd name="connsiteY107" fmla="*/ 30480 h 3147261"/>
                  <a:gd name="connsiteX108" fmla="*/ 1386957 w 3147279"/>
                  <a:gd name="connsiteY108" fmla="*/ 15240 h 3147261"/>
                  <a:gd name="connsiteX109" fmla="*/ 1463157 w 3147279"/>
                  <a:gd name="connsiteY109" fmla="*/ 0 h 3147261"/>
                  <a:gd name="connsiteX110" fmla="*/ 1882257 w 3147279"/>
                  <a:gd name="connsiteY110" fmla="*/ 15240 h 3147261"/>
                  <a:gd name="connsiteX111" fmla="*/ 1912737 w 3147279"/>
                  <a:gd name="connsiteY111" fmla="*/ 22860 h 3147261"/>
                  <a:gd name="connsiteX112" fmla="*/ 2164197 w 3147279"/>
                  <a:gd name="connsiteY112" fmla="*/ 99060 h 3147261"/>
                  <a:gd name="connsiteX113" fmla="*/ 2339457 w 3147279"/>
                  <a:gd name="connsiteY113" fmla="*/ 182880 h 3147261"/>
                  <a:gd name="connsiteX114" fmla="*/ 2369937 w 3147279"/>
                  <a:gd name="connsiteY114" fmla="*/ 190500 h 3147261"/>
                  <a:gd name="connsiteX115" fmla="*/ 2392797 w 3147279"/>
                  <a:gd name="connsiteY115" fmla="*/ 205740 h 3147261"/>
                  <a:gd name="connsiteX116" fmla="*/ 2438517 w 3147279"/>
                  <a:gd name="connsiteY116" fmla="*/ 228600 h 3147261"/>
                  <a:gd name="connsiteX117" fmla="*/ 2446137 w 3147279"/>
                  <a:gd name="connsiteY117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68057 w 3147279"/>
                  <a:gd name="connsiteY54" fmla="*/ 2750820 h 3147261"/>
                  <a:gd name="connsiteX55" fmla="*/ 2545197 w 3147279"/>
                  <a:gd name="connsiteY55" fmla="*/ 2773680 h 3147261"/>
                  <a:gd name="connsiteX56" fmla="*/ 2423277 w 3147279"/>
                  <a:gd name="connsiteY56" fmla="*/ 2865120 h 3147261"/>
                  <a:gd name="connsiteX57" fmla="*/ 2392797 w 3147279"/>
                  <a:gd name="connsiteY57" fmla="*/ 2887980 h 3147261"/>
                  <a:gd name="connsiteX58" fmla="*/ 2301357 w 3147279"/>
                  <a:gd name="connsiteY58" fmla="*/ 2971800 h 3147261"/>
                  <a:gd name="connsiteX59" fmla="*/ 2194677 w 3147279"/>
                  <a:gd name="connsiteY59" fmla="*/ 3025140 h 3147261"/>
                  <a:gd name="connsiteX60" fmla="*/ 2095617 w 3147279"/>
                  <a:gd name="connsiteY60" fmla="*/ 3055620 h 3147261"/>
                  <a:gd name="connsiteX61" fmla="*/ 1912737 w 3147279"/>
                  <a:gd name="connsiteY61" fmla="*/ 3108960 h 3147261"/>
                  <a:gd name="connsiteX62" fmla="*/ 1798437 w 3147279"/>
                  <a:gd name="connsiteY62" fmla="*/ 3147060 h 3147261"/>
                  <a:gd name="connsiteX63" fmla="*/ 1333617 w 3147279"/>
                  <a:gd name="connsiteY63" fmla="*/ 3108960 h 3147261"/>
                  <a:gd name="connsiteX64" fmla="*/ 792597 w 3147279"/>
                  <a:gd name="connsiteY64" fmla="*/ 2933700 h 3147261"/>
                  <a:gd name="connsiteX65" fmla="*/ 419217 w 3147279"/>
                  <a:gd name="connsiteY65" fmla="*/ 2644140 h 3147261"/>
                  <a:gd name="connsiteX66" fmla="*/ 320157 w 3147279"/>
                  <a:gd name="connsiteY66" fmla="*/ 2484120 h 3147261"/>
                  <a:gd name="connsiteX67" fmla="*/ 297297 w 3147279"/>
                  <a:gd name="connsiteY67" fmla="*/ 2430780 h 3147261"/>
                  <a:gd name="connsiteX68" fmla="*/ 274437 w 3147279"/>
                  <a:gd name="connsiteY68" fmla="*/ 2377440 h 3147261"/>
                  <a:gd name="connsiteX69" fmla="*/ 228717 w 3147279"/>
                  <a:gd name="connsiteY69" fmla="*/ 2316480 h 3147261"/>
                  <a:gd name="connsiteX70" fmla="*/ 205857 w 3147279"/>
                  <a:gd name="connsiteY70" fmla="*/ 2293620 h 3147261"/>
                  <a:gd name="connsiteX71" fmla="*/ 175377 w 3147279"/>
                  <a:gd name="connsiteY71" fmla="*/ 2240280 h 3147261"/>
                  <a:gd name="connsiteX72" fmla="*/ 160137 w 3147279"/>
                  <a:gd name="connsiteY72" fmla="*/ 2202180 h 3147261"/>
                  <a:gd name="connsiteX73" fmla="*/ 144897 w 3147279"/>
                  <a:gd name="connsiteY73" fmla="*/ 2179320 h 3147261"/>
                  <a:gd name="connsiteX74" fmla="*/ 129657 w 3147279"/>
                  <a:gd name="connsiteY74" fmla="*/ 2133600 h 3147261"/>
                  <a:gd name="connsiteX75" fmla="*/ 99177 w 3147279"/>
                  <a:gd name="connsiteY75" fmla="*/ 2087880 h 3147261"/>
                  <a:gd name="connsiteX76" fmla="*/ 61077 w 3147279"/>
                  <a:gd name="connsiteY76" fmla="*/ 2026920 h 3147261"/>
                  <a:gd name="connsiteX77" fmla="*/ 53457 w 3147279"/>
                  <a:gd name="connsiteY77" fmla="*/ 2004060 h 3147261"/>
                  <a:gd name="connsiteX78" fmla="*/ 38217 w 3147279"/>
                  <a:gd name="connsiteY78" fmla="*/ 1943100 h 3147261"/>
                  <a:gd name="connsiteX79" fmla="*/ 22977 w 3147279"/>
                  <a:gd name="connsiteY79" fmla="*/ 1897380 h 3147261"/>
                  <a:gd name="connsiteX80" fmla="*/ 117 w 3147279"/>
                  <a:gd name="connsiteY80" fmla="*/ 1562100 h 3147261"/>
                  <a:gd name="connsiteX81" fmla="*/ 22977 w 3147279"/>
                  <a:gd name="connsiteY81" fmla="*/ 1135380 h 3147261"/>
                  <a:gd name="connsiteX82" fmla="*/ 38217 w 3147279"/>
                  <a:gd name="connsiteY82" fmla="*/ 1104900 h 3147261"/>
                  <a:gd name="connsiteX83" fmla="*/ 83937 w 3147279"/>
                  <a:gd name="connsiteY83" fmla="*/ 1021080 h 3147261"/>
                  <a:gd name="connsiteX84" fmla="*/ 129657 w 3147279"/>
                  <a:gd name="connsiteY84" fmla="*/ 914400 h 3147261"/>
                  <a:gd name="connsiteX85" fmla="*/ 160137 w 3147279"/>
                  <a:gd name="connsiteY85" fmla="*/ 861060 h 3147261"/>
                  <a:gd name="connsiteX86" fmla="*/ 182997 w 3147279"/>
                  <a:gd name="connsiteY86" fmla="*/ 822960 h 3147261"/>
                  <a:gd name="connsiteX87" fmla="*/ 205857 w 3147279"/>
                  <a:gd name="connsiteY87" fmla="*/ 800100 h 3147261"/>
                  <a:gd name="connsiteX88" fmla="*/ 259197 w 3147279"/>
                  <a:gd name="connsiteY88" fmla="*/ 708660 h 3147261"/>
                  <a:gd name="connsiteX89" fmla="*/ 274437 w 3147279"/>
                  <a:gd name="connsiteY89" fmla="*/ 662940 h 3147261"/>
                  <a:gd name="connsiteX90" fmla="*/ 327777 w 3147279"/>
                  <a:gd name="connsiteY90" fmla="*/ 586740 h 3147261"/>
                  <a:gd name="connsiteX91" fmla="*/ 419217 w 3147279"/>
                  <a:gd name="connsiteY91" fmla="*/ 510540 h 3147261"/>
                  <a:gd name="connsiteX92" fmla="*/ 449697 w 3147279"/>
                  <a:gd name="connsiteY92" fmla="*/ 472440 h 3147261"/>
                  <a:gd name="connsiteX93" fmla="*/ 510657 w 3147279"/>
                  <a:gd name="connsiteY93" fmla="*/ 434340 h 3147261"/>
                  <a:gd name="connsiteX94" fmla="*/ 563997 w 3147279"/>
                  <a:gd name="connsiteY94" fmla="*/ 396240 h 3147261"/>
                  <a:gd name="connsiteX95" fmla="*/ 655437 w 3147279"/>
                  <a:gd name="connsiteY95" fmla="*/ 335280 h 3147261"/>
                  <a:gd name="connsiteX96" fmla="*/ 731637 w 3147279"/>
                  <a:gd name="connsiteY96" fmla="*/ 297180 h 3147261"/>
                  <a:gd name="connsiteX97" fmla="*/ 815457 w 3147279"/>
                  <a:gd name="connsiteY97" fmla="*/ 236220 h 3147261"/>
                  <a:gd name="connsiteX98" fmla="*/ 830697 w 3147279"/>
                  <a:gd name="connsiteY98" fmla="*/ 213360 h 3147261"/>
                  <a:gd name="connsiteX99" fmla="*/ 861177 w 3147279"/>
                  <a:gd name="connsiteY99" fmla="*/ 205740 h 3147261"/>
                  <a:gd name="connsiteX100" fmla="*/ 952617 w 3147279"/>
                  <a:gd name="connsiteY100" fmla="*/ 152400 h 3147261"/>
                  <a:gd name="connsiteX101" fmla="*/ 983097 w 3147279"/>
                  <a:gd name="connsiteY101" fmla="*/ 129540 h 3147261"/>
                  <a:gd name="connsiteX102" fmla="*/ 1105017 w 3147279"/>
                  <a:gd name="connsiteY102" fmla="*/ 76200 h 3147261"/>
                  <a:gd name="connsiteX103" fmla="*/ 1127877 w 3147279"/>
                  <a:gd name="connsiteY103" fmla="*/ 68580 h 3147261"/>
                  <a:gd name="connsiteX104" fmla="*/ 1188837 w 3147279"/>
                  <a:gd name="connsiteY104" fmla="*/ 53340 h 3147261"/>
                  <a:gd name="connsiteX105" fmla="*/ 1242177 w 3147279"/>
                  <a:gd name="connsiteY105" fmla="*/ 38100 h 3147261"/>
                  <a:gd name="connsiteX106" fmla="*/ 1265037 w 3147279"/>
                  <a:gd name="connsiteY106" fmla="*/ 30480 h 3147261"/>
                  <a:gd name="connsiteX107" fmla="*/ 1386957 w 3147279"/>
                  <a:gd name="connsiteY107" fmla="*/ 15240 h 3147261"/>
                  <a:gd name="connsiteX108" fmla="*/ 1463157 w 3147279"/>
                  <a:gd name="connsiteY108" fmla="*/ 0 h 3147261"/>
                  <a:gd name="connsiteX109" fmla="*/ 1882257 w 3147279"/>
                  <a:gd name="connsiteY109" fmla="*/ 15240 h 3147261"/>
                  <a:gd name="connsiteX110" fmla="*/ 1912737 w 3147279"/>
                  <a:gd name="connsiteY110" fmla="*/ 22860 h 3147261"/>
                  <a:gd name="connsiteX111" fmla="*/ 2164197 w 3147279"/>
                  <a:gd name="connsiteY111" fmla="*/ 99060 h 3147261"/>
                  <a:gd name="connsiteX112" fmla="*/ 2339457 w 3147279"/>
                  <a:gd name="connsiteY112" fmla="*/ 182880 h 3147261"/>
                  <a:gd name="connsiteX113" fmla="*/ 2369937 w 3147279"/>
                  <a:gd name="connsiteY113" fmla="*/ 190500 h 3147261"/>
                  <a:gd name="connsiteX114" fmla="*/ 2392797 w 3147279"/>
                  <a:gd name="connsiteY114" fmla="*/ 205740 h 3147261"/>
                  <a:gd name="connsiteX115" fmla="*/ 2438517 w 3147279"/>
                  <a:gd name="connsiteY115" fmla="*/ 228600 h 3147261"/>
                  <a:gd name="connsiteX116" fmla="*/ 2446137 w 3147279"/>
                  <a:gd name="connsiteY116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545197 w 3147279"/>
                  <a:gd name="connsiteY54" fmla="*/ 2773680 h 3147261"/>
                  <a:gd name="connsiteX55" fmla="*/ 2423277 w 3147279"/>
                  <a:gd name="connsiteY55" fmla="*/ 2865120 h 3147261"/>
                  <a:gd name="connsiteX56" fmla="*/ 2392797 w 3147279"/>
                  <a:gd name="connsiteY56" fmla="*/ 2887980 h 3147261"/>
                  <a:gd name="connsiteX57" fmla="*/ 2301357 w 3147279"/>
                  <a:gd name="connsiteY57" fmla="*/ 2971800 h 3147261"/>
                  <a:gd name="connsiteX58" fmla="*/ 2194677 w 3147279"/>
                  <a:gd name="connsiteY58" fmla="*/ 3025140 h 3147261"/>
                  <a:gd name="connsiteX59" fmla="*/ 2095617 w 3147279"/>
                  <a:gd name="connsiteY59" fmla="*/ 3055620 h 3147261"/>
                  <a:gd name="connsiteX60" fmla="*/ 1912737 w 3147279"/>
                  <a:gd name="connsiteY60" fmla="*/ 3108960 h 3147261"/>
                  <a:gd name="connsiteX61" fmla="*/ 1798437 w 3147279"/>
                  <a:gd name="connsiteY61" fmla="*/ 3147060 h 3147261"/>
                  <a:gd name="connsiteX62" fmla="*/ 1333617 w 3147279"/>
                  <a:gd name="connsiteY62" fmla="*/ 3108960 h 3147261"/>
                  <a:gd name="connsiteX63" fmla="*/ 792597 w 3147279"/>
                  <a:gd name="connsiteY63" fmla="*/ 2933700 h 3147261"/>
                  <a:gd name="connsiteX64" fmla="*/ 419217 w 3147279"/>
                  <a:gd name="connsiteY64" fmla="*/ 2644140 h 3147261"/>
                  <a:gd name="connsiteX65" fmla="*/ 320157 w 3147279"/>
                  <a:gd name="connsiteY65" fmla="*/ 2484120 h 3147261"/>
                  <a:gd name="connsiteX66" fmla="*/ 297297 w 3147279"/>
                  <a:gd name="connsiteY66" fmla="*/ 2430780 h 3147261"/>
                  <a:gd name="connsiteX67" fmla="*/ 274437 w 3147279"/>
                  <a:gd name="connsiteY67" fmla="*/ 2377440 h 3147261"/>
                  <a:gd name="connsiteX68" fmla="*/ 228717 w 3147279"/>
                  <a:gd name="connsiteY68" fmla="*/ 2316480 h 3147261"/>
                  <a:gd name="connsiteX69" fmla="*/ 205857 w 3147279"/>
                  <a:gd name="connsiteY69" fmla="*/ 2293620 h 3147261"/>
                  <a:gd name="connsiteX70" fmla="*/ 175377 w 3147279"/>
                  <a:gd name="connsiteY70" fmla="*/ 2240280 h 3147261"/>
                  <a:gd name="connsiteX71" fmla="*/ 160137 w 3147279"/>
                  <a:gd name="connsiteY71" fmla="*/ 2202180 h 3147261"/>
                  <a:gd name="connsiteX72" fmla="*/ 144897 w 3147279"/>
                  <a:gd name="connsiteY72" fmla="*/ 2179320 h 3147261"/>
                  <a:gd name="connsiteX73" fmla="*/ 129657 w 3147279"/>
                  <a:gd name="connsiteY73" fmla="*/ 2133600 h 3147261"/>
                  <a:gd name="connsiteX74" fmla="*/ 99177 w 3147279"/>
                  <a:gd name="connsiteY74" fmla="*/ 2087880 h 3147261"/>
                  <a:gd name="connsiteX75" fmla="*/ 61077 w 3147279"/>
                  <a:gd name="connsiteY75" fmla="*/ 2026920 h 3147261"/>
                  <a:gd name="connsiteX76" fmla="*/ 53457 w 3147279"/>
                  <a:gd name="connsiteY76" fmla="*/ 2004060 h 3147261"/>
                  <a:gd name="connsiteX77" fmla="*/ 38217 w 3147279"/>
                  <a:gd name="connsiteY77" fmla="*/ 1943100 h 3147261"/>
                  <a:gd name="connsiteX78" fmla="*/ 22977 w 3147279"/>
                  <a:gd name="connsiteY78" fmla="*/ 1897380 h 3147261"/>
                  <a:gd name="connsiteX79" fmla="*/ 117 w 3147279"/>
                  <a:gd name="connsiteY79" fmla="*/ 1562100 h 3147261"/>
                  <a:gd name="connsiteX80" fmla="*/ 22977 w 3147279"/>
                  <a:gd name="connsiteY80" fmla="*/ 1135380 h 3147261"/>
                  <a:gd name="connsiteX81" fmla="*/ 38217 w 3147279"/>
                  <a:gd name="connsiteY81" fmla="*/ 1104900 h 3147261"/>
                  <a:gd name="connsiteX82" fmla="*/ 83937 w 3147279"/>
                  <a:gd name="connsiteY82" fmla="*/ 1021080 h 3147261"/>
                  <a:gd name="connsiteX83" fmla="*/ 129657 w 3147279"/>
                  <a:gd name="connsiteY83" fmla="*/ 914400 h 3147261"/>
                  <a:gd name="connsiteX84" fmla="*/ 160137 w 3147279"/>
                  <a:gd name="connsiteY84" fmla="*/ 861060 h 3147261"/>
                  <a:gd name="connsiteX85" fmla="*/ 182997 w 3147279"/>
                  <a:gd name="connsiteY85" fmla="*/ 822960 h 3147261"/>
                  <a:gd name="connsiteX86" fmla="*/ 205857 w 3147279"/>
                  <a:gd name="connsiteY86" fmla="*/ 800100 h 3147261"/>
                  <a:gd name="connsiteX87" fmla="*/ 259197 w 3147279"/>
                  <a:gd name="connsiteY87" fmla="*/ 708660 h 3147261"/>
                  <a:gd name="connsiteX88" fmla="*/ 274437 w 3147279"/>
                  <a:gd name="connsiteY88" fmla="*/ 662940 h 3147261"/>
                  <a:gd name="connsiteX89" fmla="*/ 327777 w 3147279"/>
                  <a:gd name="connsiteY89" fmla="*/ 586740 h 3147261"/>
                  <a:gd name="connsiteX90" fmla="*/ 419217 w 3147279"/>
                  <a:gd name="connsiteY90" fmla="*/ 510540 h 3147261"/>
                  <a:gd name="connsiteX91" fmla="*/ 449697 w 3147279"/>
                  <a:gd name="connsiteY91" fmla="*/ 472440 h 3147261"/>
                  <a:gd name="connsiteX92" fmla="*/ 510657 w 3147279"/>
                  <a:gd name="connsiteY92" fmla="*/ 434340 h 3147261"/>
                  <a:gd name="connsiteX93" fmla="*/ 563997 w 3147279"/>
                  <a:gd name="connsiteY93" fmla="*/ 396240 h 3147261"/>
                  <a:gd name="connsiteX94" fmla="*/ 655437 w 3147279"/>
                  <a:gd name="connsiteY94" fmla="*/ 335280 h 3147261"/>
                  <a:gd name="connsiteX95" fmla="*/ 731637 w 3147279"/>
                  <a:gd name="connsiteY95" fmla="*/ 297180 h 3147261"/>
                  <a:gd name="connsiteX96" fmla="*/ 815457 w 3147279"/>
                  <a:gd name="connsiteY96" fmla="*/ 236220 h 3147261"/>
                  <a:gd name="connsiteX97" fmla="*/ 830697 w 3147279"/>
                  <a:gd name="connsiteY97" fmla="*/ 213360 h 3147261"/>
                  <a:gd name="connsiteX98" fmla="*/ 861177 w 3147279"/>
                  <a:gd name="connsiteY98" fmla="*/ 205740 h 3147261"/>
                  <a:gd name="connsiteX99" fmla="*/ 952617 w 3147279"/>
                  <a:gd name="connsiteY99" fmla="*/ 152400 h 3147261"/>
                  <a:gd name="connsiteX100" fmla="*/ 983097 w 3147279"/>
                  <a:gd name="connsiteY100" fmla="*/ 129540 h 3147261"/>
                  <a:gd name="connsiteX101" fmla="*/ 1105017 w 3147279"/>
                  <a:gd name="connsiteY101" fmla="*/ 76200 h 3147261"/>
                  <a:gd name="connsiteX102" fmla="*/ 1127877 w 3147279"/>
                  <a:gd name="connsiteY102" fmla="*/ 68580 h 3147261"/>
                  <a:gd name="connsiteX103" fmla="*/ 1188837 w 3147279"/>
                  <a:gd name="connsiteY103" fmla="*/ 53340 h 3147261"/>
                  <a:gd name="connsiteX104" fmla="*/ 1242177 w 3147279"/>
                  <a:gd name="connsiteY104" fmla="*/ 38100 h 3147261"/>
                  <a:gd name="connsiteX105" fmla="*/ 1265037 w 3147279"/>
                  <a:gd name="connsiteY105" fmla="*/ 30480 h 3147261"/>
                  <a:gd name="connsiteX106" fmla="*/ 1386957 w 3147279"/>
                  <a:gd name="connsiteY106" fmla="*/ 15240 h 3147261"/>
                  <a:gd name="connsiteX107" fmla="*/ 1463157 w 3147279"/>
                  <a:gd name="connsiteY107" fmla="*/ 0 h 3147261"/>
                  <a:gd name="connsiteX108" fmla="*/ 1882257 w 3147279"/>
                  <a:gd name="connsiteY108" fmla="*/ 15240 h 3147261"/>
                  <a:gd name="connsiteX109" fmla="*/ 1912737 w 3147279"/>
                  <a:gd name="connsiteY109" fmla="*/ 22860 h 3147261"/>
                  <a:gd name="connsiteX110" fmla="*/ 2164197 w 3147279"/>
                  <a:gd name="connsiteY110" fmla="*/ 99060 h 3147261"/>
                  <a:gd name="connsiteX111" fmla="*/ 2339457 w 3147279"/>
                  <a:gd name="connsiteY111" fmla="*/ 182880 h 3147261"/>
                  <a:gd name="connsiteX112" fmla="*/ 2369937 w 3147279"/>
                  <a:gd name="connsiteY112" fmla="*/ 190500 h 3147261"/>
                  <a:gd name="connsiteX113" fmla="*/ 2392797 w 3147279"/>
                  <a:gd name="connsiteY113" fmla="*/ 205740 h 3147261"/>
                  <a:gd name="connsiteX114" fmla="*/ 2438517 w 3147279"/>
                  <a:gd name="connsiteY114" fmla="*/ 228600 h 3147261"/>
                  <a:gd name="connsiteX115" fmla="*/ 2446137 w 3147279"/>
                  <a:gd name="connsiteY115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423277 w 3147279"/>
                  <a:gd name="connsiteY54" fmla="*/ 2865120 h 3147261"/>
                  <a:gd name="connsiteX55" fmla="*/ 2392797 w 3147279"/>
                  <a:gd name="connsiteY55" fmla="*/ 2887980 h 3147261"/>
                  <a:gd name="connsiteX56" fmla="*/ 2301357 w 3147279"/>
                  <a:gd name="connsiteY56" fmla="*/ 2971800 h 3147261"/>
                  <a:gd name="connsiteX57" fmla="*/ 2194677 w 3147279"/>
                  <a:gd name="connsiteY57" fmla="*/ 3025140 h 3147261"/>
                  <a:gd name="connsiteX58" fmla="*/ 2095617 w 3147279"/>
                  <a:gd name="connsiteY58" fmla="*/ 3055620 h 3147261"/>
                  <a:gd name="connsiteX59" fmla="*/ 1912737 w 3147279"/>
                  <a:gd name="connsiteY59" fmla="*/ 3108960 h 3147261"/>
                  <a:gd name="connsiteX60" fmla="*/ 1798437 w 3147279"/>
                  <a:gd name="connsiteY60" fmla="*/ 3147060 h 3147261"/>
                  <a:gd name="connsiteX61" fmla="*/ 1333617 w 3147279"/>
                  <a:gd name="connsiteY61" fmla="*/ 3108960 h 3147261"/>
                  <a:gd name="connsiteX62" fmla="*/ 792597 w 3147279"/>
                  <a:gd name="connsiteY62" fmla="*/ 2933700 h 3147261"/>
                  <a:gd name="connsiteX63" fmla="*/ 419217 w 3147279"/>
                  <a:gd name="connsiteY63" fmla="*/ 2644140 h 3147261"/>
                  <a:gd name="connsiteX64" fmla="*/ 320157 w 3147279"/>
                  <a:gd name="connsiteY64" fmla="*/ 2484120 h 3147261"/>
                  <a:gd name="connsiteX65" fmla="*/ 297297 w 3147279"/>
                  <a:gd name="connsiteY65" fmla="*/ 2430780 h 3147261"/>
                  <a:gd name="connsiteX66" fmla="*/ 274437 w 3147279"/>
                  <a:gd name="connsiteY66" fmla="*/ 2377440 h 3147261"/>
                  <a:gd name="connsiteX67" fmla="*/ 228717 w 3147279"/>
                  <a:gd name="connsiteY67" fmla="*/ 2316480 h 3147261"/>
                  <a:gd name="connsiteX68" fmla="*/ 205857 w 3147279"/>
                  <a:gd name="connsiteY68" fmla="*/ 2293620 h 3147261"/>
                  <a:gd name="connsiteX69" fmla="*/ 175377 w 3147279"/>
                  <a:gd name="connsiteY69" fmla="*/ 2240280 h 3147261"/>
                  <a:gd name="connsiteX70" fmla="*/ 160137 w 3147279"/>
                  <a:gd name="connsiteY70" fmla="*/ 2202180 h 3147261"/>
                  <a:gd name="connsiteX71" fmla="*/ 144897 w 3147279"/>
                  <a:gd name="connsiteY71" fmla="*/ 2179320 h 3147261"/>
                  <a:gd name="connsiteX72" fmla="*/ 129657 w 3147279"/>
                  <a:gd name="connsiteY72" fmla="*/ 2133600 h 3147261"/>
                  <a:gd name="connsiteX73" fmla="*/ 99177 w 3147279"/>
                  <a:gd name="connsiteY73" fmla="*/ 2087880 h 3147261"/>
                  <a:gd name="connsiteX74" fmla="*/ 61077 w 3147279"/>
                  <a:gd name="connsiteY74" fmla="*/ 2026920 h 3147261"/>
                  <a:gd name="connsiteX75" fmla="*/ 53457 w 3147279"/>
                  <a:gd name="connsiteY75" fmla="*/ 2004060 h 3147261"/>
                  <a:gd name="connsiteX76" fmla="*/ 38217 w 3147279"/>
                  <a:gd name="connsiteY76" fmla="*/ 1943100 h 3147261"/>
                  <a:gd name="connsiteX77" fmla="*/ 22977 w 3147279"/>
                  <a:gd name="connsiteY77" fmla="*/ 1897380 h 3147261"/>
                  <a:gd name="connsiteX78" fmla="*/ 117 w 3147279"/>
                  <a:gd name="connsiteY78" fmla="*/ 1562100 h 3147261"/>
                  <a:gd name="connsiteX79" fmla="*/ 22977 w 3147279"/>
                  <a:gd name="connsiteY79" fmla="*/ 1135380 h 3147261"/>
                  <a:gd name="connsiteX80" fmla="*/ 38217 w 3147279"/>
                  <a:gd name="connsiteY80" fmla="*/ 1104900 h 3147261"/>
                  <a:gd name="connsiteX81" fmla="*/ 83937 w 3147279"/>
                  <a:gd name="connsiteY81" fmla="*/ 1021080 h 3147261"/>
                  <a:gd name="connsiteX82" fmla="*/ 129657 w 3147279"/>
                  <a:gd name="connsiteY82" fmla="*/ 914400 h 3147261"/>
                  <a:gd name="connsiteX83" fmla="*/ 160137 w 3147279"/>
                  <a:gd name="connsiteY83" fmla="*/ 861060 h 3147261"/>
                  <a:gd name="connsiteX84" fmla="*/ 182997 w 3147279"/>
                  <a:gd name="connsiteY84" fmla="*/ 822960 h 3147261"/>
                  <a:gd name="connsiteX85" fmla="*/ 205857 w 3147279"/>
                  <a:gd name="connsiteY85" fmla="*/ 800100 h 3147261"/>
                  <a:gd name="connsiteX86" fmla="*/ 259197 w 3147279"/>
                  <a:gd name="connsiteY86" fmla="*/ 708660 h 3147261"/>
                  <a:gd name="connsiteX87" fmla="*/ 274437 w 3147279"/>
                  <a:gd name="connsiteY87" fmla="*/ 662940 h 3147261"/>
                  <a:gd name="connsiteX88" fmla="*/ 327777 w 3147279"/>
                  <a:gd name="connsiteY88" fmla="*/ 586740 h 3147261"/>
                  <a:gd name="connsiteX89" fmla="*/ 419217 w 3147279"/>
                  <a:gd name="connsiteY89" fmla="*/ 510540 h 3147261"/>
                  <a:gd name="connsiteX90" fmla="*/ 449697 w 3147279"/>
                  <a:gd name="connsiteY90" fmla="*/ 472440 h 3147261"/>
                  <a:gd name="connsiteX91" fmla="*/ 510657 w 3147279"/>
                  <a:gd name="connsiteY91" fmla="*/ 434340 h 3147261"/>
                  <a:gd name="connsiteX92" fmla="*/ 563997 w 3147279"/>
                  <a:gd name="connsiteY92" fmla="*/ 396240 h 3147261"/>
                  <a:gd name="connsiteX93" fmla="*/ 655437 w 3147279"/>
                  <a:gd name="connsiteY93" fmla="*/ 335280 h 3147261"/>
                  <a:gd name="connsiteX94" fmla="*/ 731637 w 3147279"/>
                  <a:gd name="connsiteY94" fmla="*/ 297180 h 3147261"/>
                  <a:gd name="connsiteX95" fmla="*/ 815457 w 3147279"/>
                  <a:gd name="connsiteY95" fmla="*/ 236220 h 3147261"/>
                  <a:gd name="connsiteX96" fmla="*/ 830697 w 3147279"/>
                  <a:gd name="connsiteY96" fmla="*/ 213360 h 3147261"/>
                  <a:gd name="connsiteX97" fmla="*/ 861177 w 3147279"/>
                  <a:gd name="connsiteY97" fmla="*/ 205740 h 3147261"/>
                  <a:gd name="connsiteX98" fmla="*/ 952617 w 3147279"/>
                  <a:gd name="connsiteY98" fmla="*/ 152400 h 3147261"/>
                  <a:gd name="connsiteX99" fmla="*/ 983097 w 3147279"/>
                  <a:gd name="connsiteY99" fmla="*/ 129540 h 3147261"/>
                  <a:gd name="connsiteX100" fmla="*/ 1105017 w 3147279"/>
                  <a:gd name="connsiteY100" fmla="*/ 76200 h 3147261"/>
                  <a:gd name="connsiteX101" fmla="*/ 1127877 w 3147279"/>
                  <a:gd name="connsiteY101" fmla="*/ 68580 h 3147261"/>
                  <a:gd name="connsiteX102" fmla="*/ 1188837 w 3147279"/>
                  <a:gd name="connsiteY102" fmla="*/ 53340 h 3147261"/>
                  <a:gd name="connsiteX103" fmla="*/ 1242177 w 3147279"/>
                  <a:gd name="connsiteY103" fmla="*/ 38100 h 3147261"/>
                  <a:gd name="connsiteX104" fmla="*/ 1265037 w 3147279"/>
                  <a:gd name="connsiteY104" fmla="*/ 30480 h 3147261"/>
                  <a:gd name="connsiteX105" fmla="*/ 1386957 w 3147279"/>
                  <a:gd name="connsiteY105" fmla="*/ 15240 h 3147261"/>
                  <a:gd name="connsiteX106" fmla="*/ 1463157 w 3147279"/>
                  <a:gd name="connsiteY106" fmla="*/ 0 h 3147261"/>
                  <a:gd name="connsiteX107" fmla="*/ 1882257 w 3147279"/>
                  <a:gd name="connsiteY107" fmla="*/ 15240 h 3147261"/>
                  <a:gd name="connsiteX108" fmla="*/ 1912737 w 3147279"/>
                  <a:gd name="connsiteY108" fmla="*/ 22860 h 3147261"/>
                  <a:gd name="connsiteX109" fmla="*/ 2164197 w 3147279"/>
                  <a:gd name="connsiteY109" fmla="*/ 99060 h 3147261"/>
                  <a:gd name="connsiteX110" fmla="*/ 2339457 w 3147279"/>
                  <a:gd name="connsiteY110" fmla="*/ 182880 h 3147261"/>
                  <a:gd name="connsiteX111" fmla="*/ 2369937 w 3147279"/>
                  <a:gd name="connsiteY111" fmla="*/ 190500 h 3147261"/>
                  <a:gd name="connsiteX112" fmla="*/ 2392797 w 3147279"/>
                  <a:gd name="connsiteY112" fmla="*/ 205740 h 3147261"/>
                  <a:gd name="connsiteX113" fmla="*/ 2438517 w 3147279"/>
                  <a:gd name="connsiteY113" fmla="*/ 228600 h 3147261"/>
                  <a:gd name="connsiteX114" fmla="*/ 2446137 w 3147279"/>
                  <a:gd name="connsiteY114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423277 w 3147279"/>
                  <a:gd name="connsiteY54" fmla="*/ 2865120 h 3147261"/>
                  <a:gd name="connsiteX55" fmla="*/ 2301357 w 3147279"/>
                  <a:gd name="connsiteY55" fmla="*/ 2971800 h 3147261"/>
                  <a:gd name="connsiteX56" fmla="*/ 2194677 w 3147279"/>
                  <a:gd name="connsiteY56" fmla="*/ 3025140 h 3147261"/>
                  <a:gd name="connsiteX57" fmla="*/ 2095617 w 3147279"/>
                  <a:gd name="connsiteY57" fmla="*/ 3055620 h 3147261"/>
                  <a:gd name="connsiteX58" fmla="*/ 1912737 w 3147279"/>
                  <a:gd name="connsiteY58" fmla="*/ 3108960 h 3147261"/>
                  <a:gd name="connsiteX59" fmla="*/ 1798437 w 3147279"/>
                  <a:gd name="connsiteY59" fmla="*/ 3147060 h 3147261"/>
                  <a:gd name="connsiteX60" fmla="*/ 1333617 w 3147279"/>
                  <a:gd name="connsiteY60" fmla="*/ 3108960 h 3147261"/>
                  <a:gd name="connsiteX61" fmla="*/ 792597 w 3147279"/>
                  <a:gd name="connsiteY61" fmla="*/ 2933700 h 3147261"/>
                  <a:gd name="connsiteX62" fmla="*/ 419217 w 3147279"/>
                  <a:gd name="connsiteY62" fmla="*/ 2644140 h 3147261"/>
                  <a:gd name="connsiteX63" fmla="*/ 320157 w 3147279"/>
                  <a:gd name="connsiteY63" fmla="*/ 2484120 h 3147261"/>
                  <a:gd name="connsiteX64" fmla="*/ 297297 w 3147279"/>
                  <a:gd name="connsiteY64" fmla="*/ 2430780 h 3147261"/>
                  <a:gd name="connsiteX65" fmla="*/ 274437 w 3147279"/>
                  <a:gd name="connsiteY65" fmla="*/ 2377440 h 3147261"/>
                  <a:gd name="connsiteX66" fmla="*/ 228717 w 3147279"/>
                  <a:gd name="connsiteY66" fmla="*/ 2316480 h 3147261"/>
                  <a:gd name="connsiteX67" fmla="*/ 205857 w 3147279"/>
                  <a:gd name="connsiteY67" fmla="*/ 2293620 h 3147261"/>
                  <a:gd name="connsiteX68" fmla="*/ 175377 w 3147279"/>
                  <a:gd name="connsiteY68" fmla="*/ 2240280 h 3147261"/>
                  <a:gd name="connsiteX69" fmla="*/ 160137 w 3147279"/>
                  <a:gd name="connsiteY69" fmla="*/ 2202180 h 3147261"/>
                  <a:gd name="connsiteX70" fmla="*/ 144897 w 3147279"/>
                  <a:gd name="connsiteY70" fmla="*/ 2179320 h 3147261"/>
                  <a:gd name="connsiteX71" fmla="*/ 129657 w 3147279"/>
                  <a:gd name="connsiteY71" fmla="*/ 2133600 h 3147261"/>
                  <a:gd name="connsiteX72" fmla="*/ 99177 w 3147279"/>
                  <a:gd name="connsiteY72" fmla="*/ 2087880 h 3147261"/>
                  <a:gd name="connsiteX73" fmla="*/ 61077 w 3147279"/>
                  <a:gd name="connsiteY73" fmla="*/ 2026920 h 3147261"/>
                  <a:gd name="connsiteX74" fmla="*/ 53457 w 3147279"/>
                  <a:gd name="connsiteY74" fmla="*/ 2004060 h 3147261"/>
                  <a:gd name="connsiteX75" fmla="*/ 38217 w 3147279"/>
                  <a:gd name="connsiteY75" fmla="*/ 1943100 h 3147261"/>
                  <a:gd name="connsiteX76" fmla="*/ 22977 w 3147279"/>
                  <a:gd name="connsiteY76" fmla="*/ 1897380 h 3147261"/>
                  <a:gd name="connsiteX77" fmla="*/ 117 w 3147279"/>
                  <a:gd name="connsiteY77" fmla="*/ 1562100 h 3147261"/>
                  <a:gd name="connsiteX78" fmla="*/ 22977 w 3147279"/>
                  <a:gd name="connsiteY78" fmla="*/ 1135380 h 3147261"/>
                  <a:gd name="connsiteX79" fmla="*/ 38217 w 3147279"/>
                  <a:gd name="connsiteY79" fmla="*/ 1104900 h 3147261"/>
                  <a:gd name="connsiteX80" fmla="*/ 83937 w 3147279"/>
                  <a:gd name="connsiteY80" fmla="*/ 1021080 h 3147261"/>
                  <a:gd name="connsiteX81" fmla="*/ 129657 w 3147279"/>
                  <a:gd name="connsiteY81" fmla="*/ 914400 h 3147261"/>
                  <a:gd name="connsiteX82" fmla="*/ 160137 w 3147279"/>
                  <a:gd name="connsiteY82" fmla="*/ 861060 h 3147261"/>
                  <a:gd name="connsiteX83" fmla="*/ 182997 w 3147279"/>
                  <a:gd name="connsiteY83" fmla="*/ 822960 h 3147261"/>
                  <a:gd name="connsiteX84" fmla="*/ 205857 w 3147279"/>
                  <a:gd name="connsiteY84" fmla="*/ 800100 h 3147261"/>
                  <a:gd name="connsiteX85" fmla="*/ 259197 w 3147279"/>
                  <a:gd name="connsiteY85" fmla="*/ 708660 h 3147261"/>
                  <a:gd name="connsiteX86" fmla="*/ 274437 w 3147279"/>
                  <a:gd name="connsiteY86" fmla="*/ 662940 h 3147261"/>
                  <a:gd name="connsiteX87" fmla="*/ 327777 w 3147279"/>
                  <a:gd name="connsiteY87" fmla="*/ 586740 h 3147261"/>
                  <a:gd name="connsiteX88" fmla="*/ 419217 w 3147279"/>
                  <a:gd name="connsiteY88" fmla="*/ 510540 h 3147261"/>
                  <a:gd name="connsiteX89" fmla="*/ 449697 w 3147279"/>
                  <a:gd name="connsiteY89" fmla="*/ 472440 h 3147261"/>
                  <a:gd name="connsiteX90" fmla="*/ 510657 w 3147279"/>
                  <a:gd name="connsiteY90" fmla="*/ 434340 h 3147261"/>
                  <a:gd name="connsiteX91" fmla="*/ 563997 w 3147279"/>
                  <a:gd name="connsiteY91" fmla="*/ 396240 h 3147261"/>
                  <a:gd name="connsiteX92" fmla="*/ 655437 w 3147279"/>
                  <a:gd name="connsiteY92" fmla="*/ 335280 h 3147261"/>
                  <a:gd name="connsiteX93" fmla="*/ 731637 w 3147279"/>
                  <a:gd name="connsiteY93" fmla="*/ 297180 h 3147261"/>
                  <a:gd name="connsiteX94" fmla="*/ 815457 w 3147279"/>
                  <a:gd name="connsiteY94" fmla="*/ 236220 h 3147261"/>
                  <a:gd name="connsiteX95" fmla="*/ 830697 w 3147279"/>
                  <a:gd name="connsiteY95" fmla="*/ 213360 h 3147261"/>
                  <a:gd name="connsiteX96" fmla="*/ 861177 w 3147279"/>
                  <a:gd name="connsiteY96" fmla="*/ 205740 h 3147261"/>
                  <a:gd name="connsiteX97" fmla="*/ 952617 w 3147279"/>
                  <a:gd name="connsiteY97" fmla="*/ 152400 h 3147261"/>
                  <a:gd name="connsiteX98" fmla="*/ 983097 w 3147279"/>
                  <a:gd name="connsiteY98" fmla="*/ 129540 h 3147261"/>
                  <a:gd name="connsiteX99" fmla="*/ 1105017 w 3147279"/>
                  <a:gd name="connsiteY99" fmla="*/ 76200 h 3147261"/>
                  <a:gd name="connsiteX100" fmla="*/ 1127877 w 3147279"/>
                  <a:gd name="connsiteY100" fmla="*/ 68580 h 3147261"/>
                  <a:gd name="connsiteX101" fmla="*/ 1188837 w 3147279"/>
                  <a:gd name="connsiteY101" fmla="*/ 53340 h 3147261"/>
                  <a:gd name="connsiteX102" fmla="*/ 1242177 w 3147279"/>
                  <a:gd name="connsiteY102" fmla="*/ 38100 h 3147261"/>
                  <a:gd name="connsiteX103" fmla="*/ 1265037 w 3147279"/>
                  <a:gd name="connsiteY103" fmla="*/ 30480 h 3147261"/>
                  <a:gd name="connsiteX104" fmla="*/ 1386957 w 3147279"/>
                  <a:gd name="connsiteY104" fmla="*/ 15240 h 3147261"/>
                  <a:gd name="connsiteX105" fmla="*/ 1463157 w 3147279"/>
                  <a:gd name="connsiteY105" fmla="*/ 0 h 3147261"/>
                  <a:gd name="connsiteX106" fmla="*/ 1882257 w 3147279"/>
                  <a:gd name="connsiteY106" fmla="*/ 15240 h 3147261"/>
                  <a:gd name="connsiteX107" fmla="*/ 1912737 w 3147279"/>
                  <a:gd name="connsiteY107" fmla="*/ 22860 h 3147261"/>
                  <a:gd name="connsiteX108" fmla="*/ 2164197 w 3147279"/>
                  <a:gd name="connsiteY108" fmla="*/ 99060 h 3147261"/>
                  <a:gd name="connsiteX109" fmla="*/ 2339457 w 3147279"/>
                  <a:gd name="connsiteY109" fmla="*/ 182880 h 3147261"/>
                  <a:gd name="connsiteX110" fmla="*/ 2369937 w 3147279"/>
                  <a:gd name="connsiteY110" fmla="*/ 190500 h 3147261"/>
                  <a:gd name="connsiteX111" fmla="*/ 2392797 w 3147279"/>
                  <a:gd name="connsiteY111" fmla="*/ 205740 h 3147261"/>
                  <a:gd name="connsiteX112" fmla="*/ 2438517 w 3147279"/>
                  <a:gd name="connsiteY112" fmla="*/ 228600 h 3147261"/>
                  <a:gd name="connsiteX113" fmla="*/ 2446137 w 3147279"/>
                  <a:gd name="connsiteY113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598537 w 3147279"/>
                  <a:gd name="connsiteY53" fmla="*/ 2727960 h 3147261"/>
                  <a:gd name="connsiteX54" fmla="*/ 2301357 w 3147279"/>
                  <a:gd name="connsiteY54" fmla="*/ 2971800 h 3147261"/>
                  <a:gd name="connsiteX55" fmla="*/ 2194677 w 3147279"/>
                  <a:gd name="connsiteY55" fmla="*/ 3025140 h 3147261"/>
                  <a:gd name="connsiteX56" fmla="*/ 2095617 w 3147279"/>
                  <a:gd name="connsiteY56" fmla="*/ 3055620 h 3147261"/>
                  <a:gd name="connsiteX57" fmla="*/ 1912737 w 3147279"/>
                  <a:gd name="connsiteY57" fmla="*/ 3108960 h 3147261"/>
                  <a:gd name="connsiteX58" fmla="*/ 1798437 w 3147279"/>
                  <a:gd name="connsiteY58" fmla="*/ 3147060 h 3147261"/>
                  <a:gd name="connsiteX59" fmla="*/ 1333617 w 3147279"/>
                  <a:gd name="connsiteY59" fmla="*/ 3108960 h 3147261"/>
                  <a:gd name="connsiteX60" fmla="*/ 792597 w 3147279"/>
                  <a:gd name="connsiteY60" fmla="*/ 2933700 h 3147261"/>
                  <a:gd name="connsiteX61" fmla="*/ 419217 w 3147279"/>
                  <a:gd name="connsiteY61" fmla="*/ 2644140 h 3147261"/>
                  <a:gd name="connsiteX62" fmla="*/ 320157 w 3147279"/>
                  <a:gd name="connsiteY62" fmla="*/ 2484120 h 3147261"/>
                  <a:gd name="connsiteX63" fmla="*/ 297297 w 3147279"/>
                  <a:gd name="connsiteY63" fmla="*/ 2430780 h 3147261"/>
                  <a:gd name="connsiteX64" fmla="*/ 274437 w 3147279"/>
                  <a:gd name="connsiteY64" fmla="*/ 2377440 h 3147261"/>
                  <a:gd name="connsiteX65" fmla="*/ 228717 w 3147279"/>
                  <a:gd name="connsiteY65" fmla="*/ 2316480 h 3147261"/>
                  <a:gd name="connsiteX66" fmla="*/ 205857 w 3147279"/>
                  <a:gd name="connsiteY66" fmla="*/ 2293620 h 3147261"/>
                  <a:gd name="connsiteX67" fmla="*/ 175377 w 3147279"/>
                  <a:gd name="connsiteY67" fmla="*/ 2240280 h 3147261"/>
                  <a:gd name="connsiteX68" fmla="*/ 160137 w 3147279"/>
                  <a:gd name="connsiteY68" fmla="*/ 2202180 h 3147261"/>
                  <a:gd name="connsiteX69" fmla="*/ 144897 w 3147279"/>
                  <a:gd name="connsiteY69" fmla="*/ 2179320 h 3147261"/>
                  <a:gd name="connsiteX70" fmla="*/ 129657 w 3147279"/>
                  <a:gd name="connsiteY70" fmla="*/ 2133600 h 3147261"/>
                  <a:gd name="connsiteX71" fmla="*/ 99177 w 3147279"/>
                  <a:gd name="connsiteY71" fmla="*/ 2087880 h 3147261"/>
                  <a:gd name="connsiteX72" fmla="*/ 61077 w 3147279"/>
                  <a:gd name="connsiteY72" fmla="*/ 2026920 h 3147261"/>
                  <a:gd name="connsiteX73" fmla="*/ 53457 w 3147279"/>
                  <a:gd name="connsiteY73" fmla="*/ 2004060 h 3147261"/>
                  <a:gd name="connsiteX74" fmla="*/ 38217 w 3147279"/>
                  <a:gd name="connsiteY74" fmla="*/ 1943100 h 3147261"/>
                  <a:gd name="connsiteX75" fmla="*/ 22977 w 3147279"/>
                  <a:gd name="connsiteY75" fmla="*/ 1897380 h 3147261"/>
                  <a:gd name="connsiteX76" fmla="*/ 117 w 3147279"/>
                  <a:gd name="connsiteY76" fmla="*/ 1562100 h 3147261"/>
                  <a:gd name="connsiteX77" fmla="*/ 22977 w 3147279"/>
                  <a:gd name="connsiteY77" fmla="*/ 1135380 h 3147261"/>
                  <a:gd name="connsiteX78" fmla="*/ 38217 w 3147279"/>
                  <a:gd name="connsiteY78" fmla="*/ 1104900 h 3147261"/>
                  <a:gd name="connsiteX79" fmla="*/ 83937 w 3147279"/>
                  <a:gd name="connsiteY79" fmla="*/ 1021080 h 3147261"/>
                  <a:gd name="connsiteX80" fmla="*/ 129657 w 3147279"/>
                  <a:gd name="connsiteY80" fmla="*/ 914400 h 3147261"/>
                  <a:gd name="connsiteX81" fmla="*/ 160137 w 3147279"/>
                  <a:gd name="connsiteY81" fmla="*/ 861060 h 3147261"/>
                  <a:gd name="connsiteX82" fmla="*/ 182997 w 3147279"/>
                  <a:gd name="connsiteY82" fmla="*/ 822960 h 3147261"/>
                  <a:gd name="connsiteX83" fmla="*/ 205857 w 3147279"/>
                  <a:gd name="connsiteY83" fmla="*/ 800100 h 3147261"/>
                  <a:gd name="connsiteX84" fmla="*/ 259197 w 3147279"/>
                  <a:gd name="connsiteY84" fmla="*/ 708660 h 3147261"/>
                  <a:gd name="connsiteX85" fmla="*/ 274437 w 3147279"/>
                  <a:gd name="connsiteY85" fmla="*/ 662940 h 3147261"/>
                  <a:gd name="connsiteX86" fmla="*/ 327777 w 3147279"/>
                  <a:gd name="connsiteY86" fmla="*/ 586740 h 3147261"/>
                  <a:gd name="connsiteX87" fmla="*/ 419217 w 3147279"/>
                  <a:gd name="connsiteY87" fmla="*/ 510540 h 3147261"/>
                  <a:gd name="connsiteX88" fmla="*/ 449697 w 3147279"/>
                  <a:gd name="connsiteY88" fmla="*/ 472440 h 3147261"/>
                  <a:gd name="connsiteX89" fmla="*/ 510657 w 3147279"/>
                  <a:gd name="connsiteY89" fmla="*/ 434340 h 3147261"/>
                  <a:gd name="connsiteX90" fmla="*/ 563997 w 3147279"/>
                  <a:gd name="connsiteY90" fmla="*/ 396240 h 3147261"/>
                  <a:gd name="connsiteX91" fmla="*/ 655437 w 3147279"/>
                  <a:gd name="connsiteY91" fmla="*/ 335280 h 3147261"/>
                  <a:gd name="connsiteX92" fmla="*/ 731637 w 3147279"/>
                  <a:gd name="connsiteY92" fmla="*/ 297180 h 3147261"/>
                  <a:gd name="connsiteX93" fmla="*/ 815457 w 3147279"/>
                  <a:gd name="connsiteY93" fmla="*/ 236220 h 3147261"/>
                  <a:gd name="connsiteX94" fmla="*/ 830697 w 3147279"/>
                  <a:gd name="connsiteY94" fmla="*/ 213360 h 3147261"/>
                  <a:gd name="connsiteX95" fmla="*/ 861177 w 3147279"/>
                  <a:gd name="connsiteY95" fmla="*/ 205740 h 3147261"/>
                  <a:gd name="connsiteX96" fmla="*/ 952617 w 3147279"/>
                  <a:gd name="connsiteY96" fmla="*/ 152400 h 3147261"/>
                  <a:gd name="connsiteX97" fmla="*/ 983097 w 3147279"/>
                  <a:gd name="connsiteY97" fmla="*/ 129540 h 3147261"/>
                  <a:gd name="connsiteX98" fmla="*/ 1105017 w 3147279"/>
                  <a:gd name="connsiteY98" fmla="*/ 76200 h 3147261"/>
                  <a:gd name="connsiteX99" fmla="*/ 1127877 w 3147279"/>
                  <a:gd name="connsiteY99" fmla="*/ 68580 h 3147261"/>
                  <a:gd name="connsiteX100" fmla="*/ 1188837 w 3147279"/>
                  <a:gd name="connsiteY100" fmla="*/ 53340 h 3147261"/>
                  <a:gd name="connsiteX101" fmla="*/ 1242177 w 3147279"/>
                  <a:gd name="connsiteY101" fmla="*/ 38100 h 3147261"/>
                  <a:gd name="connsiteX102" fmla="*/ 1265037 w 3147279"/>
                  <a:gd name="connsiteY102" fmla="*/ 30480 h 3147261"/>
                  <a:gd name="connsiteX103" fmla="*/ 1386957 w 3147279"/>
                  <a:gd name="connsiteY103" fmla="*/ 15240 h 3147261"/>
                  <a:gd name="connsiteX104" fmla="*/ 1463157 w 3147279"/>
                  <a:gd name="connsiteY104" fmla="*/ 0 h 3147261"/>
                  <a:gd name="connsiteX105" fmla="*/ 1882257 w 3147279"/>
                  <a:gd name="connsiteY105" fmla="*/ 15240 h 3147261"/>
                  <a:gd name="connsiteX106" fmla="*/ 1912737 w 3147279"/>
                  <a:gd name="connsiteY106" fmla="*/ 22860 h 3147261"/>
                  <a:gd name="connsiteX107" fmla="*/ 2164197 w 3147279"/>
                  <a:gd name="connsiteY107" fmla="*/ 99060 h 3147261"/>
                  <a:gd name="connsiteX108" fmla="*/ 2339457 w 3147279"/>
                  <a:gd name="connsiteY108" fmla="*/ 182880 h 3147261"/>
                  <a:gd name="connsiteX109" fmla="*/ 2369937 w 3147279"/>
                  <a:gd name="connsiteY109" fmla="*/ 190500 h 3147261"/>
                  <a:gd name="connsiteX110" fmla="*/ 2392797 w 3147279"/>
                  <a:gd name="connsiteY110" fmla="*/ 205740 h 3147261"/>
                  <a:gd name="connsiteX111" fmla="*/ 2438517 w 3147279"/>
                  <a:gd name="connsiteY111" fmla="*/ 228600 h 3147261"/>
                  <a:gd name="connsiteX112" fmla="*/ 2446137 w 3147279"/>
                  <a:gd name="connsiteY112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629017 w 3147279"/>
                  <a:gd name="connsiteY52" fmla="*/ 2712720 h 3147261"/>
                  <a:gd name="connsiteX53" fmla="*/ 2301357 w 3147279"/>
                  <a:gd name="connsiteY53" fmla="*/ 2971800 h 3147261"/>
                  <a:gd name="connsiteX54" fmla="*/ 2194677 w 3147279"/>
                  <a:gd name="connsiteY54" fmla="*/ 3025140 h 3147261"/>
                  <a:gd name="connsiteX55" fmla="*/ 2095617 w 3147279"/>
                  <a:gd name="connsiteY55" fmla="*/ 3055620 h 3147261"/>
                  <a:gd name="connsiteX56" fmla="*/ 1912737 w 3147279"/>
                  <a:gd name="connsiteY56" fmla="*/ 3108960 h 3147261"/>
                  <a:gd name="connsiteX57" fmla="*/ 1798437 w 3147279"/>
                  <a:gd name="connsiteY57" fmla="*/ 3147060 h 3147261"/>
                  <a:gd name="connsiteX58" fmla="*/ 1333617 w 3147279"/>
                  <a:gd name="connsiteY58" fmla="*/ 3108960 h 3147261"/>
                  <a:gd name="connsiteX59" fmla="*/ 792597 w 3147279"/>
                  <a:gd name="connsiteY59" fmla="*/ 2933700 h 3147261"/>
                  <a:gd name="connsiteX60" fmla="*/ 419217 w 3147279"/>
                  <a:gd name="connsiteY60" fmla="*/ 2644140 h 3147261"/>
                  <a:gd name="connsiteX61" fmla="*/ 320157 w 3147279"/>
                  <a:gd name="connsiteY61" fmla="*/ 2484120 h 3147261"/>
                  <a:gd name="connsiteX62" fmla="*/ 297297 w 3147279"/>
                  <a:gd name="connsiteY62" fmla="*/ 2430780 h 3147261"/>
                  <a:gd name="connsiteX63" fmla="*/ 274437 w 3147279"/>
                  <a:gd name="connsiteY63" fmla="*/ 2377440 h 3147261"/>
                  <a:gd name="connsiteX64" fmla="*/ 228717 w 3147279"/>
                  <a:gd name="connsiteY64" fmla="*/ 2316480 h 3147261"/>
                  <a:gd name="connsiteX65" fmla="*/ 205857 w 3147279"/>
                  <a:gd name="connsiteY65" fmla="*/ 2293620 h 3147261"/>
                  <a:gd name="connsiteX66" fmla="*/ 175377 w 3147279"/>
                  <a:gd name="connsiteY66" fmla="*/ 2240280 h 3147261"/>
                  <a:gd name="connsiteX67" fmla="*/ 160137 w 3147279"/>
                  <a:gd name="connsiteY67" fmla="*/ 2202180 h 3147261"/>
                  <a:gd name="connsiteX68" fmla="*/ 144897 w 3147279"/>
                  <a:gd name="connsiteY68" fmla="*/ 2179320 h 3147261"/>
                  <a:gd name="connsiteX69" fmla="*/ 129657 w 3147279"/>
                  <a:gd name="connsiteY69" fmla="*/ 2133600 h 3147261"/>
                  <a:gd name="connsiteX70" fmla="*/ 99177 w 3147279"/>
                  <a:gd name="connsiteY70" fmla="*/ 2087880 h 3147261"/>
                  <a:gd name="connsiteX71" fmla="*/ 61077 w 3147279"/>
                  <a:gd name="connsiteY71" fmla="*/ 2026920 h 3147261"/>
                  <a:gd name="connsiteX72" fmla="*/ 53457 w 3147279"/>
                  <a:gd name="connsiteY72" fmla="*/ 2004060 h 3147261"/>
                  <a:gd name="connsiteX73" fmla="*/ 38217 w 3147279"/>
                  <a:gd name="connsiteY73" fmla="*/ 1943100 h 3147261"/>
                  <a:gd name="connsiteX74" fmla="*/ 22977 w 3147279"/>
                  <a:gd name="connsiteY74" fmla="*/ 1897380 h 3147261"/>
                  <a:gd name="connsiteX75" fmla="*/ 117 w 3147279"/>
                  <a:gd name="connsiteY75" fmla="*/ 1562100 h 3147261"/>
                  <a:gd name="connsiteX76" fmla="*/ 22977 w 3147279"/>
                  <a:gd name="connsiteY76" fmla="*/ 1135380 h 3147261"/>
                  <a:gd name="connsiteX77" fmla="*/ 38217 w 3147279"/>
                  <a:gd name="connsiteY77" fmla="*/ 1104900 h 3147261"/>
                  <a:gd name="connsiteX78" fmla="*/ 83937 w 3147279"/>
                  <a:gd name="connsiteY78" fmla="*/ 1021080 h 3147261"/>
                  <a:gd name="connsiteX79" fmla="*/ 129657 w 3147279"/>
                  <a:gd name="connsiteY79" fmla="*/ 914400 h 3147261"/>
                  <a:gd name="connsiteX80" fmla="*/ 160137 w 3147279"/>
                  <a:gd name="connsiteY80" fmla="*/ 861060 h 3147261"/>
                  <a:gd name="connsiteX81" fmla="*/ 182997 w 3147279"/>
                  <a:gd name="connsiteY81" fmla="*/ 822960 h 3147261"/>
                  <a:gd name="connsiteX82" fmla="*/ 205857 w 3147279"/>
                  <a:gd name="connsiteY82" fmla="*/ 800100 h 3147261"/>
                  <a:gd name="connsiteX83" fmla="*/ 259197 w 3147279"/>
                  <a:gd name="connsiteY83" fmla="*/ 708660 h 3147261"/>
                  <a:gd name="connsiteX84" fmla="*/ 274437 w 3147279"/>
                  <a:gd name="connsiteY84" fmla="*/ 662940 h 3147261"/>
                  <a:gd name="connsiteX85" fmla="*/ 327777 w 3147279"/>
                  <a:gd name="connsiteY85" fmla="*/ 586740 h 3147261"/>
                  <a:gd name="connsiteX86" fmla="*/ 419217 w 3147279"/>
                  <a:gd name="connsiteY86" fmla="*/ 510540 h 3147261"/>
                  <a:gd name="connsiteX87" fmla="*/ 449697 w 3147279"/>
                  <a:gd name="connsiteY87" fmla="*/ 472440 h 3147261"/>
                  <a:gd name="connsiteX88" fmla="*/ 510657 w 3147279"/>
                  <a:gd name="connsiteY88" fmla="*/ 434340 h 3147261"/>
                  <a:gd name="connsiteX89" fmla="*/ 563997 w 3147279"/>
                  <a:gd name="connsiteY89" fmla="*/ 396240 h 3147261"/>
                  <a:gd name="connsiteX90" fmla="*/ 655437 w 3147279"/>
                  <a:gd name="connsiteY90" fmla="*/ 335280 h 3147261"/>
                  <a:gd name="connsiteX91" fmla="*/ 731637 w 3147279"/>
                  <a:gd name="connsiteY91" fmla="*/ 297180 h 3147261"/>
                  <a:gd name="connsiteX92" fmla="*/ 815457 w 3147279"/>
                  <a:gd name="connsiteY92" fmla="*/ 236220 h 3147261"/>
                  <a:gd name="connsiteX93" fmla="*/ 830697 w 3147279"/>
                  <a:gd name="connsiteY93" fmla="*/ 213360 h 3147261"/>
                  <a:gd name="connsiteX94" fmla="*/ 861177 w 3147279"/>
                  <a:gd name="connsiteY94" fmla="*/ 205740 h 3147261"/>
                  <a:gd name="connsiteX95" fmla="*/ 952617 w 3147279"/>
                  <a:gd name="connsiteY95" fmla="*/ 152400 h 3147261"/>
                  <a:gd name="connsiteX96" fmla="*/ 983097 w 3147279"/>
                  <a:gd name="connsiteY96" fmla="*/ 129540 h 3147261"/>
                  <a:gd name="connsiteX97" fmla="*/ 1105017 w 3147279"/>
                  <a:gd name="connsiteY97" fmla="*/ 76200 h 3147261"/>
                  <a:gd name="connsiteX98" fmla="*/ 1127877 w 3147279"/>
                  <a:gd name="connsiteY98" fmla="*/ 68580 h 3147261"/>
                  <a:gd name="connsiteX99" fmla="*/ 1188837 w 3147279"/>
                  <a:gd name="connsiteY99" fmla="*/ 53340 h 3147261"/>
                  <a:gd name="connsiteX100" fmla="*/ 1242177 w 3147279"/>
                  <a:gd name="connsiteY100" fmla="*/ 38100 h 3147261"/>
                  <a:gd name="connsiteX101" fmla="*/ 1265037 w 3147279"/>
                  <a:gd name="connsiteY101" fmla="*/ 30480 h 3147261"/>
                  <a:gd name="connsiteX102" fmla="*/ 1386957 w 3147279"/>
                  <a:gd name="connsiteY102" fmla="*/ 15240 h 3147261"/>
                  <a:gd name="connsiteX103" fmla="*/ 1463157 w 3147279"/>
                  <a:gd name="connsiteY103" fmla="*/ 0 h 3147261"/>
                  <a:gd name="connsiteX104" fmla="*/ 1882257 w 3147279"/>
                  <a:gd name="connsiteY104" fmla="*/ 15240 h 3147261"/>
                  <a:gd name="connsiteX105" fmla="*/ 1912737 w 3147279"/>
                  <a:gd name="connsiteY105" fmla="*/ 22860 h 3147261"/>
                  <a:gd name="connsiteX106" fmla="*/ 2164197 w 3147279"/>
                  <a:gd name="connsiteY106" fmla="*/ 99060 h 3147261"/>
                  <a:gd name="connsiteX107" fmla="*/ 2339457 w 3147279"/>
                  <a:gd name="connsiteY107" fmla="*/ 182880 h 3147261"/>
                  <a:gd name="connsiteX108" fmla="*/ 2369937 w 3147279"/>
                  <a:gd name="connsiteY108" fmla="*/ 190500 h 3147261"/>
                  <a:gd name="connsiteX109" fmla="*/ 2392797 w 3147279"/>
                  <a:gd name="connsiteY109" fmla="*/ 205740 h 3147261"/>
                  <a:gd name="connsiteX110" fmla="*/ 2438517 w 3147279"/>
                  <a:gd name="connsiteY110" fmla="*/ 228600 h 3147261"/>
                  <a:gd name="connsiteX111" fmla="*/ 2446137 w 3147279"/>
                  <a:gd name="connsiteY111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301357 w 3147279"/>
                  <a:gd name="connsiteY52" fmla="*/ 2971800 h 3147261"/>
                  <a:gd name="connsiteX53" fmla="*/ 2194677 w 3147279"/>
                  <a:gd name="connsiteY53" fmla="*/ 3025140 h 3147261"/>
                  <a:gd name="connsiteX54" fmla="*/ 2095617 w 3147279"/>
                  <a:gd name="connsiteY54" fmla="*/ 3055620 h 3147261"/>
                  <a:gd name="connsiteX55" fmla="*/ 1912737 w 3147279"/>
                  <a:gd name="connsiteY55" fmla="*/ 3108960 h 3147261"/>
                  <a:gd name="connsiteX56" fmla="*/ 1798437 w 3147279"/>
                  <a:gd name="connsiteY56" fmla="*/ 3147060 h 3147261"/>
                  <a:gd name="connsiteX57" fmla="*/ 1333617 w 3147279"/>
                  <a:gd name="connsiteY57" fmla="*/ 3108960 h 3147261"/>
                  <a:gd name="connsiteX58" fmla="*/ 792597 w 3147279"/>
                  <a:gd name="connsiteY58" fmla="*/ 2933700 h 3147261"/>
                  <a:gd name="connsiteX59" fmla="*/ 419217 w 3147279"/>
                  <a:gd name="connsiteY59" fmla="*/ 2644140 h 3147261"/>
                  <a:gd name="connsiteX60" fmla="*/ 320157 w 3147279"/>
                  <a:gd name="connsiteY60" fmla="*/ 2484120 h 3147261"/>
                  <a:gd name="connsiteX61" fmla="*/ 297297 w 3147279"/>
                  <a:gd name="connsiteY61" fmla="*/ 2430780 h 3147261"/>
                  <a:gd name="connsiteX62" fmla="*/ 274437 w 3147279"/>
                  <a:gd name="connsiteY62" fmla="*/ 2377440 h 3147261"/>
                  <a:gd name="connsiteX63" fmla="*/ 228717 w 3147279"/>
                  <a:gd name="connsiteY63" fmla="*/ 2316480 h 3147261"/>
                  <a:gd name="connsiteX64" fmla="*/ 205857 w 3147279"/>
                  <a:gd name="connsiteY64" fmla="*/ 2293620 h 3147261"/>
                  <a:gd name="connsiteX65" fmla="*/ 175377 w 3147279"/>
                  <a:gd name="connsiteY65" fmla="*/ 2240280 h 3147261"/>
                  <a:gd name="connsiteX66" fmla="*/ 160137 w 3147279"/>
                  <a:gd name="connsiteY66" fmla="*/ 2202180 h 3147261"/>
                  <a:gd name="connsiteX67" fmla="*/ 144897 w 3147279"/>
                  <a:gd name="connsiteY67" fmla="*/ 2179320 h 3147261"/>
                  <a:gd name="connsiteX68" fmla="*/ 129657 w 3147279"/>
                  <a:gd name="connsiteY68" fmla="*/ 2133600 h 3147261"/>
                  <a:gd name="connsiteX69" fmla="*/ 99177 w 3147279"/>
                  <a:gd name="connsiteY69" fmla="*/ 2087880 h 3147261"/>
                  <a:gd name="connsiteX70" fmla="*/ 61077 w 3147279"/>
                  <a:gd name="connsiteY70" fmla="*/ 2026920 h 3147261"/>
                  <a:gd name="connsiteX71" fmla="*/ 53457 w 3147279"/>
                  <a:gd name="connsiteY71" fmla="*/ 2004060 h 3147261"/>
                  <a:gd name="connsiteX72" fmla="*/ 38217 w 3147279"/>
                  <a:gd name="connsiteY72" fmla="*/ 1943100 h 3147261"/>
                  <a:gd name="connsiteX73" fmla="*/ 22977 w 3147279"/>
                  <a:gd name="connsiteY73" fmla="*/ 1897380 h 3147261"/>
                  <a:gd name="connsiteX74" fmla="*/ 117 w 3147279"/>
                  <a:gd name="connsiteY74" fmla="*/ 1562100 h 3147261"/>
                  <a:gd name="connsiteX75" fmla="*/ 22977 w 3147279"/>
                  <a:gd name="connsiteY75" fmla="*/ 1135380 h 3147261"/>
                  <a:gd name="connsiteX76" fmla="*/ 38217 w 3147279"/>
                  <a:gd name="connsiteY76" fmla="*/ 1104900 h 3147261"/>
                  <a:gd name="connsiteX77" fmla="*/ 83937 w 3147279"/>
                  <a:gd name="connsiteY77" fmla="*/ 1021080 h 3147261"/>
                  <a:gd name="connsiteX78" fmla="*/ 129657 w 3147279"/>
                  <a:gd name="connsiteY78" fmla="*/ 914400 h 3147261"/>
                  <a:gd name="connsiteX79" fmla="*/ 160137 w 3147279"/>
                  <a:gd name="connsiteY79" fmla="*/ 861060 h 3147261"/>
                  <a:gd name="connsiteX80" fmla="*/ 182997 w 3147279"/>
                  <a:gd name="connsiteY80" fmla="*/ 822960 h 3147261"/>
                  <a:gd name="connsiteX81" fmla="*/ 205857 w 3147279"/>
                  <a:gd name="connsiteY81" fmla="*/ 800100 h 3147261"/>
                  <a:gd name="connsiteX82" fmla="*/ 259197 w 3147279"/>
                  <a:gd name="connsiteY82" fmla="*/ 708660 h 3147261"/>
                  <a:gd name="connsiteX83" fmla="*/ 274437 w 3147279"/>
                  <a:gd name="connsiteY83" fmla="*/ 662940 h 3147261"/>
                  <a:gd name="connsiteX84" fmla="*/ 327777 w 3147279"/>
                  <a:gd name="connsiteY84" fmla="*/ 586740 h 3147261"/>
                  <a:gd name="connsiteX85" fmla="*/ 419217 w 3147279"/>
                  <a:gd name="connsiteY85" fmla="*/ 510540 h 3147261"/>
                  <a:gd name="connsiteX86" fmla="*/ 449697 w 3147279"/>
                  <a:gd name="connsiteY86" fmla="*/ 472440 h 3147261"/>
                  <a:gd name="connsiteX87" fmla="*/ 510657 w 3147279"/>
                  <a:gd name="connsiteY87" fmla="*/ 434340 h 3147261"/>
                  <a:gd name="connsiteX88" fmla="*/ 563997 w 3147279"/>
                  <a:gd name="connsiteY88" fmla="*/ 396240 h 3147261"/>
                  <a:gd name="connsiteX89" fmla="*/ 655437 w 3147279"/>
                  <a:gd name="connsiteY89" fmla="*/ 335280 h 3147261"/>
                  <a:gd name="connsiteX90" fmla="*/ 731637 w 3147279"/>
                  <a:gd name="connsiteY90" fmla="*/ 297180 h 3147261"/>
                  <a:gd name="connsiteX91" fmla="*/ 815457 w 3147279"/>
                  <a:gd name="connsiteY91" fmla="*/ 236220 h 3147261"/>
                  <a:gd name="connsiteX92" fmla="*/ 830697 w 3147279"/>
                  <a:gd name="connsiteY92" fmla="*/ 213360 h 3147261"/>
                  <a:gd name="connsiteX93" fmla="*/ 861177 w 3147279"/>
                  <a:gd name="connsiteY93" fmla="*/ 205740 h 3147261"/>
                  <a:gd name="connsiteX94" fmla="*/ 952617 w 3147279"/>
                  <a:gd name="connsiteY94" fmla="*/ 152400 h 3147261"/>
                  <a:gd name="connsiteX95" fmla="*/ 983097 w 3147279"/>
                  <a:gd name="connsiteY95" fmla="*/ 129540 h 3147261"/>
                  <a:gd name="connsiteX96" fmla="*/ 1105017 w 3147279"/>
                  <a:gd name="connsiteY96" fmla="*/ 76200 h 3147261"/>
                  <a:gd name="connsiteX97" fmla="*/ 1127877 w 3147279"/>
                  <a:gd name="connsiteY97" fmla="*/ 68580 h 3147261"/>
                  <a:gd name="connsiteX98" fmla="*/ 1188837 w 3147279"/>
                  <a:gd name="connsiteY98" fmla="*/ 53340 h 3147261"/>
                  <a:gd name="connsiteX99" fmla="*/ 1242177 w 3147279"/>
                  <a:gd name="connsiteY99" fmla="*/ 38100 h 3147261"/>
                  <a:gd name="connsiteX100" fmla="*/ 1265037 w 3147279"/>
                  <a:gd name="connsiteY100" fmla="*/ 30480 h 3147261"/>
                  <a:gd name="connsiteX101" fmla="*/ 1386957 w 3147279"/>
                  <a:gd name="connsiteY101" fmla="*/ 15240 h 3147261"/>
                  <a:gd name="connsiteX102" fmla="*/ 1463157 w 3147279"/>
                  <a:gd name="connsiteY102" fmla="*/ 0 h 3147261"/>
                  <a:gd name="connsiteX103" fmla="*/ 1882257 w 3147279"/>
                  <a:gd name="connsiteY103" fmla="*/ 15240 h 3147261"/>
                  <a:gd name="connsiteX104" fmla="*/ 1912737 w 3147279"/>
                  <a:gd name="connsiteY104" fmla="*/ 22860 h 3147261"/>
                  <a:gd name="connsiteX105" fmla="*/ 2164197 w 3147279"/>
                  <a:gd name="connsiteY105" fmla="*/ 99060 h 3147261"/>
                  <a:gd name="connsiteX106" fmla="*/ 2339457 w 3147279"/>
                  <a:gd name="connsiteY106" fmla="*/ 182880 h 3147261"/>
                  <a:gd name="connsiteX107" fmla="*/ 2369937 w 3147279"/>
                  <a:gd name="connsiteY107" fmla="*/ 190500 h 3147261"/>
                  <a:gd name="connsiteX108" fmla="*/ 2392797 w 3147279"/>
                  <a:gd name="connsiteY108" fmla="*/ 205740 h 3147261"/>
                  <a:gd name="connsiteX109" fmla="*/ 2438517 w 3147279"/>
                  <a:gd name="connsiteY109" fmla="*/ 228600 h 3147261"/>
                  <a:gd name="connsiteX110" fmla="*/ 2446137 w 3147279"/>
                  <a:gd name="connsiteY110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301357 w 3147279"/>
                  <a:gd name="connsiteY52" fmla="*/ 2971800 h 3147261"/>
                  <a:gd name="connsiteX53" fmla="*/ 2194677 w 3147279"/>
                  <a:gd name="connsiteY53" fmla="*/ 3025140 h 3147261"/>
                  <a:gd name="connsiteX54" fmla="*/ 2095617 w 3147279"/>
                  <a:gd name="connsiteY54" fmla="*/ 3055620 h 3147261"/>
                  <a:gd name="connsiteX55" fmla="*/ 1912737 w 3147279"/>
                  <a:gd name="connsiteY55" fmla="*/ 3108960 h 3147261"/>
                  <a:gd name="connsiteX56" fmla="*/ 1798437 w 3147279"/>
                  <a:gd name="connsiteY56" fmla="*/ 3147060 h 3147261"/>
                  <a:gd name="connsiteX57" fmla="*/ 1333617 w 3147279"/>
                  <a:gd name="connsiteY57" fmla="*/ 3108960 h 3147261"/>
                  <a:gd name="connsiteX58" fmla="*/ 792597 w 3147279"/>
                  <a:gd name="connsiteY58" fmla="*/ 2933700 h 3147261"/>
                  <a:gd name="connsiteX59" fmla="*/ 419217 w 3147279"/>
                  <a:gd name="connsiteY59" fmla="*/ 2644140 h 3147261"/>
                  <a:gd name="connsiteX60" fmla="*/ 320157 w 3147279"/>
                  <a:gd name="connsiteY60" fmla="*/ 2484120 h 3147261"/>
                  <a:gd name="connsiteX61" fmla="*/ 297297 w 3147279"/>
                  <a:gd name="connsiteY61" fmla="*/ 2430780 h 3147261"/>
                  <a:gd name="connsiteX62" fmla="*/ 274437 w 3147279"/>
                  <a:gd name="connsiteY62" fmla="*/ 2377440 h 3147261"/>
                  <a:gd name="connsiteX63" fmla="*/ 228717 w 3147279"/>
                  <a:gd name="connsiteY63" fmla="*/ 2316480 h 3147261"/>
                  <a:gd name="connsiteX64" fmla="*/ 205857 w 3147279"/>
                  <a:gd name="connsiteY64" fmla="*/ 2293620 h 3147261"/>
                  <a:gd name="connsiteX65" fmla="*/ 175377 w 3147279"/>
                  <a:gd name="connsiteY65" fmla="*/ 2240280 h 3147261"/>
                  <a:gd name="connsiteX66" fmla="*/ 160137 w 3147279"/>
                  <a:gd name="connsiteY66" fmla="*/ 2202180 h 3147261"/>
                  <a:gd name="connsiteX67" fmla="*/ 144897 w 3147279"/>
                  <a:gd name="connsiteY67" fmla="*/ 2179320 h 3147261"/>
                  <a:gd name="connsiteX68" fmla="*/ 129657 w 3147279"/>
                  <a:gd name="connsiteY68" fmla="*/ 2133600 h 3147261"/>
                  <a:gd name="connsiteX69" fmla="*/ 99177 w 3147279"/>
                  <a:gd name="connsiteY69" fmla="*/ 2087880 h 3147261"/>
                  <a:gd name="connsiteX70" fmla="*/ 61077 w 3147279"/>
                  <a:gd name="connsiteY70" fmla="*/ 2026920 h 3147261"/>
                  <a:gd name="connsiteX71" fmla="*/ 53457 w 3147279"/>
                  <a:gd name="connsiteY71" fmla="*/ 2004060 h 3147261"/>
                  <a:gd name="connsiteX72" fmla="*/ 38217 w 3147279"/>
                  <a:gd name="connsiteY72" fmla="*/ 1943100 h 3147261"/>
                  <a:gd name="connsiteX73" fmla="*/ 22977 w 3147279"/>
                  <a:gd name="connsiteY73" fmla="*/ 1897380 h 3147261"/>
                  <a:gd name="connsiteX74" fmla="*/ 117 w 3147279"/>
                  <a:gd name="connsiteY74" fmla="*/ 1562100 h 3147261"/>
                  <a:gd name="connsiteX75" fmla="*/ 22977 w 3147279"/>
                  <a:gd name="connsiteY75" fmla="*/ 1135380 h 3147261"/>
                  <a:gd name="connsiteX76" fmla="*/ 38217 w 3147279"/>
                  <a:gd name="connsiteY76" fmla="*/ 1104900 h 3147261"/>
                  <a:gd name="connsiteX77" fmla="*/ 83937 w 3147279"/>
                  <a:gd name="connsiteY77" fmla="*/ 1021080 h 3147261"/>
                  <a:gd name="connsiteX78" fmla="*/ 129657 w 3147279"/>
                  <a:gd name="connsiteY78" fmla="*/ 914400 h 3147261"/>
                  <a:gd name="connsiteX79" fmla="*/ 160137 w 3147279"/>
                  <a:gd name="connsiteY79" fmla="*/ 861060 h 3147261"/>
                  <a:gd name="connsiteX80" fmla="*/ 182997 w 3147279"/>
                  <a:gd name="connsiteY80" fmla="*/ 822960 h 3147261"/>
                  <a:gd name="connsiteX81" fmla="*/ 205857 w 3147279"/>
                  <a:gd name="connsiteY81" fmla="*/ 800100 h 3147261"/>
                  <a:gd name="connsiteX82" fmla="*/ 259197 w 3147279"/>
                  <a:gd name="connsiteY82" fmla="*/ 708660 h 3147261"/>
                  <a:gd name="connsiteX83" fmla="*/ 274437 w 3147279"/>
                  <a:gd name="connsiteY83" fmla="*/ 662940 h 3147261"/>
                  <a:gd name="connsiteX84" fmla="*/ 327777 w 3147279"/>
                  <a:gd name="connsiteY84" fmla="*/ 586740 h 3147261"/>
                  <a:gd name="connsiteX85" fmla="*/ 419217 w 3147279"/>
                  <a:gd name="connsiteY85" fmla="*/ 510540 h 3147261"/>
                  <a:gd name="connsiteX86" fmla="*/ 449697 w 3147279"/>
                  <a:gd name="connsiteY86" fmla="*/ 472440 h 3147261"/>
                  <a:gd name="connsiteX87" fmla="*/ 510657 w 3147279"/>
                  <a:gd name="connsiteY87" fmla="*/ 434340 h 3147261"/>
                  <a:gd name="connsiteX88" fmla="*/ 563997 w 3147279"/>
                  <a:gd name="connsiteY88" fmla="*/ 396240 h 3147261"/>
                  <a:gd name="connsiteX89" fmla="*/ 655437 w 3147279"/>
                  <a:gd name="connsiteY89" fmla="*/ 335280 h 3147261"/>
                  <a:gd name="connsiteX90" fmla="*/ 731637 w 3147279"/>
                  <a:gd name="connsiteY90" fmla="*/ 297180 h 3147261"/>
                  <a:gd name="connsiteX91" fmla="*/ 815457 w 3147279"/>
                  <a:gd name="connsiteY91" fmla="*/ 236220 h 3147261"/>
                  <a:gd name="connsiteX92" fmla="*/ 830697 w 3147279"/>
                  <a:gd name="connsiteY92" fmla="*/ 213360 h 3147261"/>
                  <a:gd name="connsiteX93" fmla="*/ 861177 w 3147279"/>
                  <a:gd name="connsiteY93" fmla="*/ 205740 h 3147261"/>
                  <a:gd name="connsiteX94" fmla="*/ 952617 w 3147279"/>
                  <a:gd name="connsiteY94" fmla="*/ 152400 h 3147261"/>
                  <a:gd name="connsiteX95" fmla="*/ 983097 w 3147279"/>
                  <a:gd name="connsiteY95" fmla="*/ 129540 h 3147261"/>
                  <a:gd name="connsiteX96" fmla="*/ 1105017 w 3147279"/>
                  <a:gd name="connsiteY96" fmla="*/ 76200 h 3147261"/>
                  <a:gd name="connsiteX97" fmla="*/ 1127877 w 3147279"/>
                  <a:gd name="connsiteY97" fmla="*/ 68580 h 3147261"/>
                  <a:gd name="connsiteX98" fmla="*/ 1188837 w 3147279"/>
                  <a:gd name="connsiteY98" fmla="*/ 53340 h 3147261"/>
                  <a:gd name="connsiteX99" fmla="*/ 1242177 w 3147279"/>
                  <a:gd name="connsiteY99" fmla="*/ 38100 h 3147261"/>
                  <a:gd name="connsiteX100" fmla="*/ 1265037 w 3147279"/>
                  <a:gd name="connsiteY100" fmla="*/ 30480 h 3147261"/>
                  <a:gd name="connsiteX101" fmla="*/ 1386957 w 3147279"/>
                  <a:gd name="connsiteY101" fmla="*/ 15240 h 3147261"/>
                  <a:gd name="connsiteX102" fmla="*/ 1463157 w 3147279"/>
                  <a:gd name="connsiteY102" fmla="*/ 0 h 3147261"/>
                  <a:gd name="connsiteX103" fmla="*/ 1882257 w 3147279"/>
                  <a:gd name="connsiteY103" fmla="*/ 15240 h 3147261"/>
                  <a:gd name="connsiteX104" fmla="*/ 1912737 w 3147279"/>
                  <a:gd name="connsiteY104" fmla="*/ 22860 h 3147261"/>
                  <a:gd name="connsiteX105" fmla="*/ 2164197 w 3147279"/>
                  <a:gd name="connsiteY105" fmla="*/ 99060 h 3147261"/>
                  <a:gd name="connsiteX106" fmla="*/ 2339457 w 3147279"/>
                  <a:gd name="connsiteY106" fmla="*/ 182880 h 3147261"/>
                  <a:gd name="connsiteX107" fmla="*/ 2369937 w 3147279"/>
                  <a:gd name="connsiteY107" fmla="*/ 190500 h 3147261"/>
                  <a:gd name="connsiteX108" fmla="*/ 2392797 w 3147279"/>
                  <a:gd name="connsiteY108" fmla="*/ 205740 h 3147261"/>
                  <a:gd name="connsiteX109" fmla="*/ 2438517 w 3147279"/>
                  <a:gd name="connsiteY109" fmla="*/ 228600 h 3147261"/>
                  <a:gd name="connsiteX110" fmla="*/ 2446137 w 3147279"/>
                  <a:gd name="connsiteY110" fmla="*/ 266700 h 3147261"/>
                  <a:gd name="connsiteX0" fmla="*/ 2446137 w 3147279"/>
                  <a:gd name="connsiteY0" fmla="*/ 266700 h 3147261"/>
                  <a:gd name="connsiteX1" fmla="*/ 2491857 w 3147279"/>
                  <a:gd name="connsiteY1" fmla="*/ 297180 h 3147261"/>
                  <a:gd name="connsiteX2" fmla="*/ 2499477 w 3147279"/>
                  <a:gd name="connsiteY2" fmla="*/ 320040 h 3147261"/>
                  <a:gd name="connsiteX3" fmla="*/ 2529957 w 3147279"/>
                  <a:gd name="connsiteY3" fmla="*/ 342900 h 3147261"/>
                  <a:gd name="connsiteX4" fmla="*/ 2552817 w 3147279"/>
                  <a:gd name="connsiteY4" fmla="*/ 373380 h 3147261"/>
                  <a:gd name="connsiteX5" fmla="*/ 2583297 w 3147279"/>
                  <a:gd name="connsiteY5" fmla="*/ 388620 h 3147261"/>
                  <a:gd name="connsiteX6" fmla="*/ 2629017 w 3147279"/>
                  <a:gd name="connsiteY6" fmla="*/ 434340 h 3147261"/>
                  <a:gd name="connsiteX7" fmla="*/ 2659497 w 3147279"/>
                  <a:gd name="connsiteY7" fmla="*/ 464820 h 3147261"/>
                  <a:gd name="connsiteX8" fmla="*/ 2705217 w 3147279"/>
                  <a:gd name="connsiteY8" fmla="*/ 487680 h 3147261"/>
                  <a:gd name="connsiteX9" fmla="*/ 2728077 w 3147279"/>
                  <a:gd name="connsiteY9" fmla="*/ 510540 h 3147261"/>
                  <a:gd name="connsiteX10" fmla="*/ 2789037 w 3147279"/>
                  <a:gd name="connsiteY10" fmla="*/ 594360 h 3147261"/>
                  <a:gd name="connsiteX11" fmla="*/ 2849997 w 3147279"/>
                  <a:gd name="connsiteY11" fmla="*/ 662940 h 3147261"/>
                  <a:gd name="connsiteX12" fmla="*/ 2872857 w 3147279"/>
                  <a:gd name="connsiteY12" fmla="*/ 701040 h 3147261"/>
                  <a:gd name="connsiteX13" fmla="*/ 2910957 w 3147279"/>
                  <a:gd name="connsiteY13" fmla="*/ 762000 h 3147261"/>
                  <a:gd name="connsiteX14" fmla="*/ 2949057 w 3147279"/>
                  <a:gd name="connsiteY14" fmla="*/ 845820 h 3147261"/>
                  <a:gd name="connsiteX15" fmla="*/ 2956677 w 3147279"/>
                  <a:gd name="connsiteY15" fmla="*/ 868680 h 3147261"/>
                  <a:gd name="connsiteX16" fmla="*/ 2979537 w 3147279"/>
                  <a:gd name="connsiteY16" fmla="*/ 922020 h 3147261"/>
                  <a:gd name="connsiteX17" fmla="*/ 2994777 w 3147279"/>
                  <a:gd name="connsiteY17" fmla="*/ 952500 h 3147261"/>
                  <a:gd name="connsiteX18" fmla="*/ 3010017 w 3147279"/>
                  <a:gd name="connsiteY18" fmla="*/ 998220 h 3147261"/>
                  <a:gd name="connsiteX19" fmla="*/ 3025257 w 3147279"/>
                  <a:gd name="connsiteY19" fmla="*/ 1036320 h 3147261"/>
                  <a:gd name="connsiteX20" fmla="*/ 3032877 w 3147279"/>
                  <a:gd name="connsiteY20" fmla="*/ 1066800 h 3147261"/>
                  <a:gd name="connsiteX21" fmla="*/ 3055737 w 3147279"/>
                  <a:gd name="connsiteY21" fmla="*/ 1104900 h 3147261"/>
                  <a:gd name="connsiteX22" fmla="*/ 3070977 w 3147279"/>
                  <a:gd name="connsiteY22" fmla="*/ 1150620 h 3147261"/>
                  <a:gd name="connsiteX23" fmla="*/ 3086217 w 3147279"/>
                  <a:gd name="connsiteY23" fmla="*/ 1181100 h 3147261"/>
                  <a:gd name="connsiteX24" fmla="*/ 3093837 w 3147279"/>
                  <a:gd name="connsiteY24" fmla="*/ 1226820 h 3147261"/>
                  <a:gd name="connsiteX25" fmla="*/ 3101457 w 3147279"/>
                  <a:gd name="connsiteY25" fmla="*/ 1280160 h 3147261"/>
                  <a:gd name="connsiteX26" fmla="*/ 3116697 w 3147279"/>
                  <a:gd name="connsiteY26" fmla="*/ 1371600 h 3147261"/>
                  <a:gd name="connsiteX27" fmla="*/ 3131937 w 3147279"/>
                  <a:gd name="connsiteY27" fmla="*/ 1417320 h 3147261"/>
                  <a:gd name="connsiteX28" fmla="*/ 3139557 w 3147279"/>
                  <a:gd name="connsiteY28" fmla="*/ 1485900 h 3147261"/>
                  <a:gd name="connsiteX29" fmla="*/ 3147177 w 3147279"/>
                  <a:gd name="connsiteY29" fmla="*/ 1516380 h 3147261"/>
                  <a:gd name="connsiteX30" fmla="*/ 3131937 w 3147279"/>
                  <a:gd name="connsiteY30" fmla="*/ 1691640 h 3147261"/>
                  <a:gd name="connsiteX31" fmla="*/ 3124317 w 3147279"/>
                  <a:gd name="connsiteY31" fmla="*/ 1767840 h 3147261"/>
                  <a:gd name="connsiteX32" fmla="*/ 3109077 w 3147279"/>
                  <a:gd name="connsiteY32" fmla="*/ 1836420 h 3147261"/>
                  <a:gd name="connsiteX33" fmla="*/ 3086217 w 3147279"/>
                  <a:gd name="connsiteY33" fmla="*/ 1905000 h 3147261"/>
                  <a:gd name="connsiteX34" fmla="*/ 3078597 w 3147279"/>
                  <a:gd name="connsiteY34" fmla="*/ 1935480 h 3147261"/>
                  <a:gd name="connsiteX35" fmla="*/ 3070977 w 3147279"/>
                  <a:gd name="connsiteY35" fmla="*/ 1958340 h 3147261"/>
                  <a:gd name="connsiteX36" fmla="*/ 3055737 w 3147279"/>
                  <a:gd name="connsiteY36" fmla="*/ 2019300 h 3147261"/>
                  <a:gd name="connsiteX37" fmla="*/ 3040497 w 3147279"/>
                  <a:gd name="connsiteY37" fmla="*/ 2057400 h 3147261"/>
                  <a:gd name="connsiteX38" fmla="*/ 3032877 w 3147279"/>
                  <a:gd name="connsiteY38" fmla="*/ 2080260 h 3147261"/>
                  <a:gd name="connsiteX39" fmla="*/ 3017637 w 3147279"/>
                  <a:gd name="connsiteY39" fmla="*/ 2118360 h 3147261"/>
                  <a:gd name="connsiteX40" fmla="*/ 2994777 w 3147279"/>
                  <a:gd name="connsiteY40" fmla="*/ 2186940 h 3147261"/>
                  <a:gd name="connsiteX41" fmla="*/ 2987157 w 3147279"/>
                  <a:gd name="connsiteY41" fmla="*/ 2225040 h 3147261"/>
                  <a:gd name="connsiteX42" fmla="*/ 2971917 w 3147279"/>
                  <a:gd name="connsiteY42" fmla="*/ 2270760 h 3147261"/>
                  <a:gd name="connsiteX43" fmla="*/ 2964297 w 3147279"/>
                  <a:gd name="connsiteY43" fmla="*/ 2308860 h 3147261"/>
                  <a:gd name="connsiteX44" fmla="*/ 2949057 w 3147279"/>
                  <a:gd name="connsiteY44" fmla="*/ 2331720 h 3147261"/>
                  <a:gd name="connsiteX45" fmla="*/ 2926197 w 3147279"/>
                  <a:gd name="connsiteY45" fmla="*/ 2385060 h 3147261"/>
                  <a:gd name="connsiteX46" fmla="*/ 2903337 w 3147279"/>
                  <a:gd name="connsiteY46" fmla="*/ 2407920 h 3147261"/>
                  <a:gd name="connsiteX47" fmla="*/ 2857617 w 3147279"/>
                  <a:gd name="connsiteY47" fmla="*/ 2499360 h 3147261"/>
                  <a:gd name="connsiteX48" fmla="*/ 2842377 w 3147279"/>
                  <a:gd name="connsiteY48" fmla="*/ 2529840 h 3147261"/>
                  <a:gd name="connsiteX49" fmla="*/ 2834757 w 3147279"/>
                  <a:gd name="connsiteY49" fmla="*/ 2552700 h 3147261"/>
                  <a:gd name="connsiteX50" fmla="*/ 2758557 w 3147279"/>
                  <a:gd name="connsiteY50" fmla="*/ 2636520 h 3147261"/>
                  <a:gd name="connsiteX51" fmla="*/ 2705217 w 3147279"/>
                  <a:gd name="connsiteY51" fmla="*/ 2667000 h 3147261"/>
                  <a:gd name="connsiteX52" fmla="*/ 2301357 w 3147279"/>
                  <a:gd name="connsiteY52" fmla="*/ 2971800 h 3147261"/>
                  <a:gd name="connsiteX53" fmla="*/ 2194677 w 3147279"/>
                  <a:gd name="connsiteY53" fmla="*/ 3025140 h 3147261"/>
                  <a:gd name="connsiteX54" fmla="*/ 2095617 w 3147279"/>
                  <a:gd name="connsiteY54" fmla="*/ 3055620 h 3147261"/>
                  <a:gd name="connsiteX55" fmla="*/ 1912737 w 3147279"/>
                  <a:gd name="connsiteY55" fmla="*/ 3108960 h 3147261"/>
                  <a:gd name="connsiteX56" fmla="*/ 1798437 w 3147279"/>
                  <a:gd name="connsiteY56" fmla="*/ 3147060 h 3147261"/>
                  <a:gd name="connsiteX57" fmla="*/ 1333617 w 3147279"/>
                  <a:gd name="connsiteY57" fmla="*/ 3108960 h 3147261"/>
                  <a:gd name="connsiteX58" fmla="*/ 792597 w 3147279"/>
                  <a:gd name="connsiteY58" fmla="*/ 2933700 h 3147261"/>
                  <a:gd name="connsiteX59" fmla="*/ 419217 w 3147279"/>
                  <a:gd name="connsiteY59" fmla="*/ 2644140 h 3147261"/>
                  <a:gd name="connsiteX60" fmla="*/ 320157 w 3147279"/>
                  <a:gd name="connsiteY60" fmla="*/ 2484120 h 3147261"/>
                  <a:gd name="connsiteX61" fmla="*/ 297297 w 3147279"/>
                  <a:gd name="connsiteY61" fmla="*/ 2430780 h 3147261"/>
                  <a:gd name="connsiteX62" fmla="*/ 274437 w 3147279"/>
                  <a:gd name="connsiteY62" fmla="*/ 2377440 h 3147261"/>
                  <a:gd name="connsiteX63" fmla="*/ 228717 w 3147279"/>
                  <a:gd name="connsiteY63" fmla="*/ 2316480 h 3147261"/>
                  <a:gd name="connsiteX64" fmla="*/ 205857 w 3147279"/>
                  <a:gd name="connsiteY64" fmla="*/ 2293620 h 3147261"/>
                  <a:gd name="connsiteX65" fmla="*/ 175377 w 3147279"/>
                  <a:gd name="connsiteY65" fmla="*/ 2240280 h 3147261"/>
                  <a:gd name="connsiteX66" fmla="*/ 160137 w 3147279"/>
                  <a:gd name="connsiteY66" fmla="*/ 2202180 h 3147261"/>
                  <a:gd name="connsiteX67" fmla="*/ 144897 w 3147279"/>
                  <a:gd name="connsiteY67" fmla="*/ 2179320 h 3147261"/>
                  <a:gd name="connsiteX68" fmla="*/ 129657 w 3147279"/>
                  <a:gd name="connsiteY68" fmla="*/ 2133600 h 3147261"/>
                  <a:gd name="connsiteX69" fmla="*/ 99177 w 3147279"/>
                  <a:gd name="connsiteY69" fmla="*/ 2087880 h 3147261"/>
                  <a:gd name="connsiteX70" fmla="*/ 61077 w 3147279"/>
                  <a:gd name="connsiteY70" fmla="*/ 2026920 h 3147261"/>
                  <a:gd name="connsiteX71" fmla="*/ 53457 w 3147279"/>
                  <a:gd name="connsiteY71" fmla="*/ 2004060 h 3147261"/>
                  <a:gd name="connsiteX72" fmla="*/ 38217 w 3147279"/>
                  <a:gd name="connsiteY72" fmla="*/ 1943100 h 3147261"/>
                  <a:gd name="connsiteX73" fmla="*/ 22977 w 3147279"/>
                  <a:gd name="connsiteY73" fmla="*/ 1897380 h 3147261"/>
                  <a:gd name="connsiteX74" fmla="*/ 117 w 3147279"/>
                  <a:gd name="connsiteY74" fmla="*/ 1562100 h 3147261"/>
                  <a:gd name="connsiteX75" fmla="*/ 22977 w 3147279"/>
                  <a:gd name="connsiteY75" fmla="*/ 1135380 h 3147261"/>
                  <a:gd name="connsiteX76" fmla="*/ 83937 w 3147279"/>
                  <a:gd name="connsiteY76" fmla="*/ 1021080 h 3147261"/>
                  <a:gd name="connsiteX77" fmla="*/ 129657 w 3147279"/>
                  <a:gd name="connsiteY77" fmla="*/ 914400 h 3147261"/>
                  <a:gd name="connsiteX78" fmla="*/ 160137 w 3147279"/>
                  <a:gd name="connsiteY78" fmla="*/ 861060 h 3147261"/>
                  <a:gd name="connsiteX79" fmla="*/ 182997 w 3147279"/>
                  <a:gd name="connsiteY79" fmla="*/ 822960 h 3147261"/>
                  <a:gd name="connsiteX80" fmla="*/ 205857 w 3147279"/>
                  <a:gd name="connsiteY80" fmla="*/ 800100 h 3147261"/>
                  <a:gd name="connsiteX81" fmla="*/ 259197 w 3147279"/>
                  <a:gd name="connsiteY81" fmla="*/ 708660 h 3147261"/>
                  <a:gd name="connsiteX82" fmla="*/ 274437 w 3147279"/>
                  <a:gd name="connsiteY82" fmla="*/ 662940 h 3147261"/>
                  <a:gd name="connsiteX83" fmla="*/ 327777 w 3147279"/>
                  <a:gd name="connsiteY83" fmla="*/ 586740 h 3147261"/>
                  <a:gd name="connsiteX84" fmla="*/ 419217 w 3147279"/>
                  <a:gd name="connsiteY84" fmla="*/ 510540 h 3147261"/>
                  <a:gd name="connsiteX85" fmla="*/ 449697 w 3147279"/>
                  <a:gd name="connsiteY85" fmla="*/ 472440 h 3147261"/>
                  <a:gd name="connsiteX86" fmla="*/ 510657 w 3147279"/>
                  <a:gd name="connsiteY86" fmla="*/ 434340 h 3147261"/>
                  <a:gd name="connsiteX87" fmla="*/ 563997 w 3147279"/>
                  <a:gd name="connsiteY87" fmla="*/ 396240 h 3147261"/>
                  <a:gd name="connsiteX88" fmla="*/ 655437 w 3147279"/>
                  <a:gd name="connsiteY88" fmla="*/ 335280 h 3147261"/>
                  <a:gd name="connsiteX89" fmla="*/ 731637 w 3147279"/>
                  <a:gd name="connsiteY89" fmla="*/ 297180 h 3147261"/>
                  <a:gd name="connsiteX90" fmla="*/ 815457 w 3147279"/>
                  <a:gd name="connsiteY90" fmla="*/ 236220 h 3147261"/>
                  <a:gd name="connsiteX91" fmla="*/ 830697 w 3147279"/>
                  <a:gd name="connsiteY91" fmla="*/ 213360 h 3147261"/>
                  <a:gd name="connsiteX92" fmla="*/ 861177 w 3147279"/>
                  <a:gd name="connsiteY92" fmla="*/ 205740 h 3147261"/>
                  <a:gd name="connsiteX93" fmla="*/ 952617 w 3147279"/>
                  <a:gd name="connsiteY93" fmla="*/ 152400 h 3147261"/>
                  <a:gd name="connsiteX94" fmla="*/ 983097 w 3147279"/>
                  <a:gd name="connsiteY94" fmla="*/ 129540 h 3147261"/>
                  <a:gd name="connsiteX95" fmla="*/ 1105017 w 3147279"/>
                  <a:gd name="connsiteY95" fmla="*/ 76200 h 3147261"/>
                  <a:gd name="connsiteX96" fmla="*/ 1127877 w 3147279"/>
                  <a:gd name="connsiteY96" fmla="*/ 68580 h 3147261"/>
                  <a:gd name="connsiteX97" fmla="*/ 1188837 w 3147279"/>
                  <a:gd name="connsiteY97" fmla="*/ 53340 h 3147261"/>
                  <a:gd name="connsiteX98" fmla="*/ 1242177 w 3147279"/>
                  <a:gd name="connsiteY98" fmla="*/ 38100 h 3147261"/>
                  <a:gd name="connsiteX99" fmla="*/ 1265037 w 3147279"/>
                  <a:gd name="connsiteY99" fmla="*/ 30480 h 3147261"/>
                  <a:gd name="connsiteX100" fmla="*/ 1386957 w 3147279"/>
                  <a:gd name="connsiteY100" fmla="*/ 15240 h 3147261"/>
                  <a:gd name="connsiteX101" fmla="*/ 1463157 w 3147279"/>
                  <a:gd name="connsiteY101" fmla="*/ 0 h 3147261"/>
                  <a:gd name="connsiteX102" fmla="*/ 1882257 w 3147279"/>
                  <a:gd name="connsiteY102" fmla="*/ 15240 h 3147261"/>
                  <a:gd name="connsiteX103" fmla="*/ 1912737 w 3147279"/>
                  <a:gd name="connsiteY103" fmla="*/ 22860 h 3147261"/>
                  <a:gd name="connsiteX104" fmla="*/ 2164197 w 3147279"/>
                  <a:gd name="connsiteY104" fmla="*/ 99060 h 3147261"/>
                  <a:gd name="connsiteX105" fmla="*/ 2339457 w 3147279"/>
                  <a:gd name="connsiteY105" fmla="*/ 182880 h 3147261"/>
                  <a:gd name="connsiteX106" fmla="*/ 2369937 w 3147279"/>
                  <a:gd name="connsiteY106" fmla="*/ 190500 h 3147261"/>
                  <a:gd name="connsiteX107" fmla="*/ 2392797 w 3147279"/>
                  <a:gd name="connsiteY107" fmla="*/ 205740 h 3147261"/>
                  <a:gd name="connsiteX108" fmla="*/ 2438517 w 3147279"/>
                  <a:gd name="connsiteY108" fmla="*/ 228600 h 3147261"/>
                  <a:gd name="connsiteX109" fmla="*/ 2446137 w 3147279"/>
                  <a:gd name="connsiteY109" fmla="*/ 266700 h 3147261"/>
                  <a:gd name="connsiteX0" fmla="*/ 2448781 w 3149923"/>
                  <a:gd name="connsiteY0" fmla="*/ 266700 h 3147261"/>
                  <a:gd name="connsiteX1" fmla="*/ 2494501 w 3149923"/>
                  <a:gd name="connsiteY1" fmla="*/ 297180 h 3147261"/>
                  <a:gd name="connsiteX2" fmla="*/ 2502121 w 3149923"/>
                  <a:gd name="connsiteY2" fmla="*/ 320040 h 3147261"/>
                  <a:gd name="connsiteX3" fmla="*/ 2532601 w 3149923"/>
                  <a:gd name="connsiteY3" fmla="*/ 342900 h 3147261"/>
                  <a:gd name="connsiteX4" fmla="*/ 2555461 w 3149923"/>
                  <a:gd name="connsiteY4" fmla="*/ 373380 h 3147261"/>
                  <a:gd name="connsiteX5" fmla="*/ 2585941 w 3149923"/>
                  <a:gd name="connsiteY5" fmla="*/ 388620 h 3147261"/>
                  <a:gd name="connsiteX6" fmla="*/ 2631661 w 3149923"/>
                  <a:gd name="connsiteY6" fmla="*/ 434340 h 3147261"/>
                  <a:gd name="connsiteX7" fmla="*/ 2662141 w 3149923"/>
                  <a:gd name="connsiteY7" fmla="*/ 464820 h 3147261"/>
                  <a:gd name="connsiteX8" fmla="*/ 2707861 w 3149923"/>
                  <a:gd name="connsiteY8" fmla="*/ 487680 h 3147261"/>
                  <a:gd name="connsiteX9" fmla="*/ 2730721 w 3149923"/>
                  <a:gd name="connsiteY9" fmla="*/ 510540 h 3147261"/>
                  <a:gd name="connsiteX10" fmla="*/ 2791681 w 3149923"/>
                  <a:gd name="connsiteY10" fmla="*/ 594360 h 3147261"/>
                  <a:gd name="connsiteX11" fmla="*/ 2852641 w 3149923"/>
                  <a:gd name="connsiteY11" fmla="*/ 662940 h 3147261"/>
                  <a:gd name="connsiteX12" fmla="*/ 2875501 w 3149923"/>
                  <a:gd name="connsiteY12" fmla="*/ 701040 h 3147261"/>
                  <a:gd name="connsiteX13" fmla="*/ 2913601 w 3149923"/>
                  <a:gd name="connsiteY13" fmla="*/ 762000 h 3147261"/>
                  <a:gd name="connsiteX14" fmla="*/ 2951701 w 3149923"/>
                  <a:gd name="connsiteY14" fmla="*/ 845820 h 3147261"/>
                  <a:gd name="connsiteX15" fmla="*/ 2959321 w 3149923"/>
                  <a:gd name="connsiteY15" fmla="*/ 868680 h 3147261"/>
                  <a:gd name="connsiteX16" fmla="*/ 2982181 w 3149923"/>
                  <a:gd name="connsiteY16" fmla="*/ 922020 h 3147261"/>
                  <a:gd name="connsiteX17" fmla="*/ 2997421 w 3149923"/>
                  <a:gd name="connsiteY17" fmla="*/ 952500 h 3147261"/>
                  <a:gd name="connsiteX18" fmla="*/ 3012661 w 3149923"/>
                  <a:gd name="connsiteY18" fmla="*/ 998220 h 3147261"/>
                  <a:gd name="connsiteX19" fmla="*/ 3027901 w 3149923"/>
                  <a:gd name="connsiteY19" fmla="*/ 1036320 h 3147261"/>
                  <a:gd name="connsiteX20" fmla="*/ 3035521 w 3149923"/>
                  <a:gd name="connsiteY20" fmla="*/ 1066800 h 3147261"/>
                  <a:gd name="connsiteX21" fmla="*/ 3058381 w 3149923"/>
                  <a:gd name="connsiteY21" fmla="*/ 1104900 h 3147261"/>
                  <a:gd name="connsiteX22" fmla="*/ 3073621 w 3149923"/>
                  <a:gd name="connsiteY22" fmla="*/ 1150620 h 3147261"/>
                  <a:gd name="connsiteX23" fmla="*/ 3088861 w 3149923"/>
                  <a:gd name="connsiteY23" fmla="*/ 1181100 h 3147261"/>
                  <a:gd name="connsiteX24" fmla="*/ 3096481 w 3149923"/>
                  <a:gd name="connsiteY24" fmla="*/ 1226820 h 3147261"/>
                  <a:gd name="connsiteX25" fmla="*/ 3104101 w 3149923"/>
                  <a:gd name="connsiteY25" fmla="*/ 1280160 h 3147261"/>
                  <a:gd name="connsiteX26" fmla="*/ 3119341 w 3149923"/>
                  <a:gd name="connsiteY26" fmla="*/ 1371600 h 3147261"/>
                  <a:gd name="connsiteX27" fmla="*/ 3134581 w 3149923"/>
                  <a:gd name="connsiteY27" fmla="*/ 1417320 h 3147261"/>
                  <a:gd name="connsiteX28" fmla="*/ 3142201 w 3149923"/>
                  <a:gd name="connsiteY28" fmla="*/ 1485900 h 3147261"/>
                  <a:gd name="connsiteX29" fmla="*/ 3149821 w 3149923"/>
                  <a:gd name="connsiteY29" fmla="*/ 1516380 h 3147261"/>
                  <a:gd name="connsiteX30" fmla="*/ 3134581 w 3149923"/>
                  <a:gd name="connsiteY30" fmla="*/ 1691640 h 3147261"/>
                  <a:gd name="connsiteX31" fmla="*/ 3126961 w 3149923"/>
                  <a:gd name="connsiteY31" fmla="*/ 1767840 h 3147261"/>
                  <a:gd name="connsiteX32" fmla="*/ 3111721 w 3149923"/>
                  <a:gd name="connsiteY32" fmla="*/ 1836420 h 3147261"/>
                  <a:gd name="connsiteX33" fmla="*/ 3088861 w 3149923"/>
                  <a:gd name="connsiteY33" fmla="*/ 1905000 h 3147261"/>
                  <a:gd name="connsiteX34" fmla="*/ 3081241 w 3149923"/>
                  <a:gd name="connsiteY34" fmla="*/ 1935480 h 3147261"/>
                  <a:gd name="connsiteX35" fmla="*/ 3073621 w 3149923"/>
                  <a:gd name="connsiteY35" fmla="*/ 1958340 h 3147261"/>
                  <a:gd name="connsiteX36" fmla="*/ 3058381 w 3149923"/>
                  <a:gd name="connsiteY36" fmla="*/ 2019300 h 3147261"/>
                  <a:gd name="connsiteX37" fmla="*/ 3043141 w 3149923"/>
                  <a:gd name="connsiteY37" fmla="*/ 2057400 h 3147261"/>
                  <a:gd name="connsiteX38" fmla="*/ 3035521 w 3149923"/>
                  <a:gd name="connsiteY38" fmla="*/ 2080260 h 3147261"/>
                  <a:gd name="connsiteX39" fmla="*/ 3020281 w 3149923"/>
                  <a:gd name="connsiteY39" fmla="*/ 2118360 h 3147261"/>
                  <a:gd name="connsiteX40" fmla="*/ 2997421 w 3149923"/>
                  <a:gd name="connsiteY40" fmla="*/ 2186940 h 3147261"/>
                  <a:gd name="connsiteX41" fmla="*/ 2989801 w 3149923"/>
                  <a:gd name="connsiteY41" fmla="*/ 2225040 h 3147261"/>
                  <a:gd name="connsiteX42" fmla="*/ 2974561 w 3149923"/>
                  <a:gd name="connsiteY42" fmla="*/ 2270760 h 3147261"/>
                  <a:gd name="connsiteX43" fmla="*/ 2966941 w 3149923"/>
                  <a:gd name="connsiteY43" fmla="*/ 2308860 h 3147261"/>
                  <a:gd name="connsiteX44" fmla="*/ 2951701 w 3149923"/>
                  <a:gd name="connsiteY44" fmla="*/ 2331720 h 3147261"/>
                  <a:gd name="connsiteX45" fmla="*/ 2928841 w 3149923"/>
                  <a:gd name="connsiteY45" fmla="*/ 2385060 h 3147261"/>
                  <a:gd name="connsiteX46" fmla="*/ 2905981 w 3149923"/>
                  <a:gd name="connsiteY46" fmla="*/ 2407920 h 3147261"/>
                  <a:gd name="connsiteX47" fmla="*/ 2860261 w 3149923"/>
                  <a:gd name="connsiteY47" fmla="*/ 2499360 h 3147261"/>
                  <a:gd name="connsiteX48" fmla="*/ 2845021 w 3149923"/>
                  <a:gd name="connsiteY48" fmla="*/ 2529840 h 3147261"/>
                  <a:gd name="connsiteX49" fmla="*/ 2837401 w 3149923"/>
                  <a:gd name="connsiteY49" fmla="*/ 2552700 h 3147261"/>
                  <a:gd name="connsiteX50" fmla="*/ 2761201 w 3149923"/>
                  <a:gd name="connsiteY50" fmla="*/ 2636520 h 3147261"/>
                  <a:gd name="connsiteX51" fmla="*/ 2707861 w 3149923"/>
                  <a:gd name="connsiteY51" fmla="*/ 2667000 h 3147261"/>
                  <a:gd name="connsiteX52" fmla="*/ 2304001 w 3149923"/>
                  <a:gd name="connsiteY52" fmla="*/ 2971800 h 3147261"/>
                  <a:gd name="connsiteX53" fmla="*/ 2197321 w 3149923"/>
                  <a:gd name="connsiteY53" fmla="*/ 3025140 h 3147261"/>
                  <a:gd name="connsiteX54" fmla="*/ 2098261 w 3149923"/>
                  <a:gd name="connsiteY54" fmla="*/ 3055620 h 3147261"/>
                  <a:gd name="connsiteX55" fmla="*/ 1915381 w 3149923"/>
                  <a:gd name="connsiteY55" fmla="*/ 3108960 h 3147261"/>
                  <a:gd name="connsiteX56" fmla="*/ 1801081 w 3149923"/>
                  <a:gd name="connsiteY56" fmla="*/ 3147060 h 3147261"/>
                  <a:gd name="connsiteX57" fmla="*/ 1336261 w 3149923"/>
                  <a:gd name="connsiteY57" fmla="*/ 3108960 h 3147261"/>
                  <a:gd name="connsiteX58" fmla="*/ 795241 w 3149923"/>
                  <a:gd name="connsiteY58" fmla="*/ 2933700 h 3147261"/>
                  <a:gd name="connsiteX59" fmla="*/ 421861 w 3149923"/>
                  <a:gd name="connsiteY59" fmla="*/ 2644140 h 3147261"/>
                  <a:gd name="connsiteX60" fmla="*/ 322801 w 3149923"/>
                  <a:gd name="connsiteY60" fmla="*/ 2484120 h 3147261"/>
                  <a:gd name="connsiteX61" fmla="*/ 299941 w 3149923"/>
                  <a:gd name="connsiteY61" fmla="*/ 2430780 h 3147261"/>
                  <a:gd name="connsiteX62" fmla="*/ 277081 w 3149923"/>
                  <a:gd name="connsiteY62" fmla="*/ 2377440 h 3147261"/>
                  <a:gd name="connsiteX63" fmla="*/ 231361 w 3149923"/>
                  <a:gd name="connsiteY63" fmla="*/ 2316480 h 3147261"/>
                  <a:gd name="connsiteX64" fmla="*/ 208501 w 3149923"/>
                  <a:gd name="connsiteY64" fmla="*/ 2293620 h 3147261"/>
                  <a:gd name="connsiteX65" fmla="*/ 178021 w 3149923"/>
                  <a:gd name="connsiteY65" fmla="*/ 2240280 h 3147261"/>
                  <a:gd name="connsiteX66" fmla="*/ 162781 w 3149923"/>
                  <a:gd name="connsiteY66" fmla="*/ 2202180 h 3147261"/>
                  <a:gd name="connsiteX67" fmla="*/ 147541 w 3149923"/>
                  <a:gd name="connsiteY67" fmla="*/ 2179320 h 3147261"/>
                  <a:gd name="connsiteX68" fmla="*/ 132301 w 3149923"/>
                  <a:gd name="connsiteY68" fmla="*/ 2133600 h 3147261"/>
                  <a:gd name="connsiteX69" fmla="*/ 101821 w 3149923"/>
                  <a:gd name="connsiteY69" fmla="*/ 2087880 h 3147261"/>
                  <a:gd name="connsiteX70" fmla="*/ 63721 w 3149923"/>
                  <a:gd name="connsiteY70" fmla="*/ 2026920 h 3147261"/>
                  <a:gd name="connsiteX71" fmla="*/ 56101 w 3149923"/>
                  <a:gd name="connsiteY71" fmla="*/ 2004060 h 3147261"/>
                  <a:gd name="connsiteX72" fmla="*/ 40861 w 3149923"/>
                  <a:gd name="connsiteY72" fmla="*/ 1943100 h 3147261"/>
                  <a:gd name="connsiteX73" fmla="*/ 25621 w 3149923"/>
                  <a:gd name="connsiteY73" fmla="*/ 1897380 h 3147261"/>
                  <a:gd name="connsiteX74" fmla="*/ 2761 w 3149923"/>
                  <a:gd name="connsiteY74" fmla="*/ 1562100 h 3147261"/>
                  <a:gd name="connsiteX75" fmla="*/ 86581 w 3149923"/>
                  <a:gd name="connsiteY75" fmla="*/ 1021080 h 3147261"/>
                  <a:gd name="connsiteX76" fmla="*/ 132301 w 3149923"/>
                  <a:gd name="connsiteY76" fmla="*/ 914400 h 3147261"/>
                  <a:gd name="connsiteX77" fmla="*/ 162781 w 3149923"/>
                  <a:gd name="connsiteY77" fmla="*/ 861060 h 3147261"/>
                  <a:gd name="connsiteX78" fmla="*/ 185641 w 3149923"/>
                  <a:gd name="connsiteY78" fmla="*/ 822960 h 3147261"/>
                  <a:gd name="connsiteX79" fmla="*/ 208501 w 3149923"/>
                  <a:gd name="connsiteY79" fmla="*/ 800100 h 3147261"/>
                  <a:gd name="connsiteX80" fmla="*/ 261841 w 3149923"/>
                  <a:gd name="connsiteY80" fmla="*/ 708660 h 3147261"/>
                  <a:gd name="connsiteX81" fmla="*/ 277081 w 3149923"/>
                  <a:gd name="connsiteY81" fmla="*/ 662940 h 3147261"/>
                  <a:gd name="connsiteX82" fmla="*/ 330421 w 3149923"/>
                  <a:gd name="connsiteY82" fmla="*/ 586740 h 3147261"/>
                  <a:gd name="connsiteX83" fmla="*/ 421861 w 3149923"/>
                  <a:gd name="connsiteY83" fmla="*/ 510540 h 3147261"/>
                  <a:gd name="connsiteX84" fmla="*/ 452341 w 3149923"/>
                  <a:gd name="connsiteY84" fmla="*/ 472440 h 3147261"/>
                  <a:gd name="connsiteX85" fmla="*/ 513301 w 3149923"/>
                  <a:gd name="connsiteY85" fmla="*/ 434340 h 3147261"/>
                  <a:gd name="connsiteX86" fmla="*/ 566641 w 3149923"/>
                  <a:gd name="connsiteY86" fmla="*/ 396240 h 3147261"/>
                  <a:gd name="connsiteX87" fmla="*/ 658081 w 3149923"/>
                  <a:gd name="connsiteY87" fmla="*/ 335280 h 3147261"/>
                  <a:gd name="connsiteX88" fmla="*/ 734281 w 3149923"/>
                  <a:gd name="connsiteY88" fmla="*/ 297180 h 3147261"/>
                  <a:gd name="connsiteX89" fmla="*/ 818101 w 3149923"/>
                  <a:gd name="connsiteY89" fmla="*/ 236220 h 3147261"/>
                  <a:gd name="connsiteX90" fmla="*/ 833341 w 3149923"/>
                  <a:gd name="connsiteY90" fmla="*/ 213360 h 3147261"/>
                  <a:gd name="connsiteX91" fmla="*/ 863821 w 3149923"/>
                  <a:gd name="connsiteY91" fmla="*/ 205740 h 3147261"/>
                  <a:gd name="connsiteX92" fmla="*/ 955261 w 3149923"/>
                  <a:gd name="connsiteY92" fmla="*/ 152400 h 3147261"/>
                  <a:gd name="connsiteX93" fmla="*/ 985741 w 3149923"/>
                  <a:gd name="connsiteY93" fmla="*/ 129540 h 3147261"/>
                  <a:gd name="connsiteX94" fmla="*/ 1107661 w 3149923"/>
                  <a:gd name="connsiteY94" fmla="*/ 76200 h 3147261"/>
                  <a:gd name="connsiteX95" fmla="*/ 1130521 w 3149923"/>
                  <a:gd name="connsiteY95" fmla="*/ 68580 h 3147261"/>
                  <a:gd name="connsiteX96" fmla="*/ 1191481 w 3149923"/>
                  <a:gd name="connsiteY96" fmla="*/ 53340 h 3147261"/>
                  <a:gd name="connsiteX97" fmla="*/ 1244821 w 3149923"/>
                  <a:gd name="connsiteY97" fmla="*/ 38100 h 3147261"/>
                  <a:gd name="connsiteX98" fmla="*/ 1267681 w 3149923"/>
                  <a:gd name="connsiteY98" fmla="*/ 30480 h 3147261"/>
                  <a:gd name="connsiteX99" fmla="*/ 1389601 w 3149923"/>
                  <a:gd name="connsiteY99" fmla="*/ 15240 h 3147261"/>
                  <a:gd name="connsiteX100" fmla="*/ 1465801 w 3149923"/>
                  <a:gd name="connsiteY100" fmla="*/ 0 h 3147261"/>
                  <a:gd name="connsiteX101" fmla="*/ 1884901 w 3149923"/>
                  <a:gd name="connsiteY101" fmla="*/ 15240 h 3147261"/>
                  <a:gd name="connsiteX102" fmla="*/ 1915381 w 3149923"/>
                  <a:gd name="connsiteY102" fmla="*/ 22860 h 3147261"/>
                  <a:gd name="connsiteX103" fmla="*/ 2166841 w 3149923"/>
                  <a:gd name="connsiteY103" fmla="*/ 99060 h 3147261"/>
                  <a:gd name="connsiteX104" fmla="*/ 2342101 w 3149923"/>
                  <a:gd name="connsiteY104" fmla="*/ 182880 h 3147261"/>
                  <a:gd name="connsiteX105" fmla="*/ 2372581 w 3149923"/>
                  <a:gd name="connsiteY105" fmla="*/ 190500 h 3147261"/>
                  <a:gd name="connsiteX106" fmla="*/ 2395441 w 3149923"/>
                  <a:gd name="connsiteY106" fmla="*/ 205740 h 3147261"/>
                  <a:gd name="connsiteX107" fmla="*/ 2441161 w 3149923"/>
                  <a:gd name="connsiteY107" fmla="*/ 228600 h 3147261"/>
                  <a:gd name="connsiteX108" fmla="*/ 2448781 w 3149923"/>
                  <a:gd name="connsiteY108" fmla="*/ 266700 h 3147261"/>
                  <a:gd name="connsiteX0" fmla="*/ 2451788 w 3152930"/>
                  <a:gd name="connsiteY0" fmla="*/ 266700 h 3147261"/>
                  <a:gd name="connsiteX1" fmla="*/ 2497508 w 3152930"/>
                  <a:gd name="connsiteY1" fmla="*/ 297180 h 3147261"/>
                  <a:gd name="connsiteX2" fmla="*/ 2505128 w 3152930"/>
                  <a:gd name="connsiteY2" fmla="*/ 320040 h 3147261"/>
                  <a:gd name="connsiteX3" fmla="*/ 2535608 w 3152930"/>
                  <a:gd name="connsiteY3" fmla="*/ 342900 h 3147261"/>
                  <a:gd name="connsiteX4" fmla="*/ 2558468 w 3152930"/>
                  <a:gd name="connsiteY4" fmla="*/ 373380 h 3147261"/>
                  <a:gd name="connsiteX5" fmla="*/ 2588948 w 3152930"/>
                  <a:gd name="connsiteY5" fmla="*/ 388620 h 3147261"/>
                  <a:gd name="connsiteX6" fmla="*/ 2634668 w 3152930"/>
                  <a:gd name="connsiteY6" fmla="*/ 434340 h 3147261"/>
                  <a:gd name="connsiteX7" fmla="*/ 2665148 w 3152930"/>
                  <a:gd name="connsiteY7" fmla="*/ 464820 h 3147261"/>
                  <a:gd name="connsiteX8" fmla="*/ 2710868 w 3152930"/>
                  <a:gd name="connsiteY8" fmla="*/ 487680 h 3147261"/>
                  <a:gd name="connsiteX9" fmla="*/ 2733728 w 3152930"/>
                  <a:gd name="connsiteY9" fmla="*/ 510540 h 3147261"/>
                  <a:gd name="connsiteX10" fmla="*/ 2794688 w 3152930"/>
                  <a:gd name="connsiteY10" fmla="*/ 594360 h 3147261"/>
                  <a:gd name="connsiteX11" fmla="*/ 2855648 w 3152930"/>
                  <a:gd name="connsiteY11" fmla="*/ 662940 h 3147261"/>
                  <a:gd name="connsiteX12" fmla="*/ 2878508 w 3152930"/>
                  <a:gd name="connsiteY12" fmla="*/ 701040 h 3147261"/>
                  <a:gd name="connsiteX13" fmla="*/ 2916608 w 3152930"/>
                  <a:gd name="connsiteY13" fmla="*/ 762000 h 3147261"/>
                  <a:gd name="connsiteX14" fmla="*/ 2954708 w 3152930"/>
                  <a:gd name="connsiteY14" fmla="*/ 845820 h 3147261"/>
                  <a:gd name="connsiteX15" fmla="*/ 2962328 w 3152930"/>
                  <a:gd name="connsiteY15" fmla="*/ 868680 h 3147261"/>
                  <a:gd name="connsiteX16" fmla="*/ 2985188 w 3152930"/>
                  <a:gd name="connsiteY16" fmla="*/ 922020 h 3147261"/>
                  <a:gd name="connsiteX17" fmla="*/ 3000428 w 3152930"/>
                  <a:gd name="connsiteY17" fmla="*/ 952500 h 3147261"/>
                  <a:gd name="connsiteX18" fmla="*/ 3015668 w 3152930"/>
                  <a:gd name="connsiteY18" fmla="*/ 998220 h 3147261"/>
                  <a:gd name="connsiteX19" fmla="*/ 3030908 w 3152930"/>
                  <a:gd name="connsiteY19" fmla="*/ 1036320 h 3147261"/>
                  <a:gd name="connsiteX20" fmla="*/ 3038528 w 3152930"/>
                  <a:gd name="connsiteY20" fmla="*/ 1066800 h 3147261"/>
                  <a:gd name="connsiteX21" fmla="*/ 3061388 w 3152930"/>
                  <a:gd name="connsiteY21" fmla="*/ 1104900 h 3147261"/>
                  <a:gd name="connsiteX22" fmla="*/ 3076628 w 3152930"/>
                  <a:gd name="connsiteY22" fmla="*/ 1150620 h 3147261"/>
                  <a:gd name="connsiteX23" fmla="*/ 3091868 w 3152930"/>
                  <a:gd name="connsiteY23" fmla="*/ 1181100 h 3147261"/>
                  <a:gd name="connsiteX24" fmla="*/ 3099488 w 3152930"/>
                  <a:gd name="connsiteY24" fmla="*/ 1226820 h 3147261"/>
                  <a:gd name="connsiteX25" fmla="*/ 3107108 w 3152930"/>
                  <a:gd name="connsiteY25" fmla="*/ 1280160 h 3147261"/>
                  <a:gd name="connsiteX26" fmla="*/ 3122348 w 3152930"/>
                  <a:gd name="connsiteY26" fmla="*/ 1371600 h 3147261"/>
                  <a:gd name="connsiteX27" fmla="*/ 3137588 w 3152930"/>
                  <a:gd name="connsiteY27" fmla="*/ 1417320 h 3147261"/>
                  <a:gd name="connsiteX28" fmla="*/ 3145208 w 3152930"/>
                  <a:gd name="connsiteY28" fmla="*/ 1485900 h 3147261"/>
                  <a:gd name="connsiteX29" fmla="*/ 3152828 w 3152930"/>
                  <a:gd name="connsiteY29" fmla="*/ 1516380 h 3147261"/>
                  <a:gd name="connsiteX30" fmla="*/ 3137588 w 3152930"/>
                  <a:gd name="connsiteY30" fmla="*/ 1691640 h 3147261"/>
                  <a:gd name="connsiteX31" fmla="*/ 3129968 w 3152930"/>
                  <a:gd name="connsiteY31" fmla="*/ 1767840 h 3147261"/>
                  <a:gd name="connsiteX32" fmla="*/ 3114728 w 3152930"/>
                  <a:gd name="connsiteY32" fmla="*/ 1836420 h 3147261"/>
                  <a:gd name="connsiteX33" fmla="*/ 3091868 w 3152930"/>
                  <a:gd name="connsiteY33" fmla="*/ 1905000 h 3147261"/>
                  <a:gd name="connsiteX34" fmla="*/ 3084248 w 3152930"/>
                  <a:gd name="connsiteY34" fmla="*/ 1935480 h 3147261"/>
                  <a:gd name="connsiteX35" fmla="*/ 3076628 w 3152930"/>
                  <a:gd name="connsiteY35" fmla="*/ 1958340 h 3147261"/>
                  <a:gd name="connsiteX36" fmla="*/ 3061388 w 3152930"/>
                  <a:gd name="connsiteY36" fmla="*/ 2019300 h 3147261"/>
                  <a:gd name="connsiteX37" fmla="*/ 3046148 w 3152930"/>
                  <a:gd name="connsiteY37" fmla="*/ 2057400 h 3147261"/>
                  <a:gd name="connsiteX38" fmla="*/ 3038528 w 3152930"/>
                  <a:gd name="connsiteY38" fmla="*/ 2080260 h 3147261"/>
                  <a:gd name="connsiteX39" fmla="*/ 3023288 w 3152930"/>
                  <a:gd name="connsiteY39" fmla="*/ 2118360 h 3147261"/>
                  <a:gd name="connsiteX40" fmla="*/ 3000428 w 3152930"/>
                  <a:gd name="connsiteY40" fmla="*/ 2186940 h 3147261"/>
                  <a:gd name="connsiteX41" fmla="*/ 2992808 w 3152930"/>
                  <a:gd name="connsiteY41" fmla="*/ 2225040 h 3147261"/>
                  <a:gd name="connsiteX42" fmla="*/ 2977568 w 3152930"/>
                  <a:gd name="connsiteY42" fmla="*/ 2270760 h 3147261"/>
                  <a:gd name="connsiteX43" fmla="*/ 2969948 w 3152930"/>
                  <a:gd name="connsiteY43" fmla="*/ 2308860 h 3147261"/>
                  <a:gd name="connsiteX44" fmla="*/ 2954708 w 3152930"/>
                  <a:gd name="connsiteY44" fmla="*/ 2331720 h 3147261"/>
                  <a:gd name="connsiteX45" fmla="*/ 2931848 w 3152930"/>
                  <a:gd name="connsiteY45" fmla="*/ 2385060 h 3147261"/>
                  <a:gd name="connsiteX46" fmla="*/ 2908988 w 3152930"/>
                  <a:gd name="connsiteY46" fmla="*/ 2407920 h 3147261"/>
                  <a:gd name="connsiteX47" fmla="*/ 2863268 w 3152930"/>
                  <a:gd name="connsiteY47" fmla="*/ 2499360 h 3147261"/>
                  <a:gd name="connsiteX48" fmla="*/ 2848028 w 3152930"/>
                  <a:gd name="connsiteY48" fmla="*/ 2529840 h 3147261"/>
                  <a:gd name="connsiteX49" fmla="*/ 2840408 w 3152930"/>
                  <a:gd name="connsiteY49" fmla="*/ 2552700 h 3147261"/>
                  <a:gd name="connsiteX50" fmla="*/ 2764208 w 3152930"/>
                  <a:gd name="connsiteY50" fmla="*/ 2636520 h 3147261"/>
                  <a:gd name="connsiteX51" fmla="*/ 2710868 w 3152930"/>
                  <a:gd name="connsiteY51" fmla="*/ 2667000 h 3147261"/>
                  <a:gd name="connsiteX52" fmla="*/ 2307008 w 3152930"/>
                  <a:gd name="connsiteY52" fmla="*/ 2971800 h 3147261"/>
                  <a:gd name="connsiteX53" fmla="*/ 2200328 w 3152930"/>
                  <a:gd name="connsiteY53" fmla="*/ 3025140 h 3147261"/>
                  <a:gd name="connsiteX54" fmla="*/ 2101268 w 3152930"/>
                  <a:gd name="connsiteY54" fmla="*/ 3055620 h 3147261"/>
                  <a:gd name="connsiteX55" fmla="*/ 1918388 w 3152930"/>
                  <a:gd name="connsiteY55" fmla="*/ 3108960 h 3147261"/>
                  <a:gd name="connsiteX56" fmla="*/ 1804088 w 3152930"/>
                  <a:gd name="connsiteY56" fmla="*/ 3147060 h 3147261"/>
                  <a:gd name="connsiteX57" fmla="*/ 1339268 w 3152930"/>
                  <a:gd name="connsiteY57" fmla="*/ 3108960 h 3147261"/>
                  <a:gd name="connsiteX58" fmla="*/ 798248 w 3152930"/>
                  <a:gd name="connsiteY58" fmla="*/ 2933700 h 3147261"/>
                  <a:gd name="connsiteX59" fmla="*/ 424868 w 3152930"/>
                  <a:gd name="connsiteY59" fmla="*/ 2644140 h 3147261"/>
                  <a:gd name="connsiteX60" fmla="*/ 325808 w 3152930"/>
                  <a:gd name="connsiteY60" fmla="*/ 2484120 h 3147261"/>
                  <a:gd name="connsiteX61" fmla="*/ 302948 w 3152930"/>
                  <a:gd name="connsiteY61" fmla="*/ 2430780 h 3147261"/>
                  <a:gd name="connsiteX62" fmla="*/ 280088 w 3152930"/>
                  <a:gd name="connsiteY62" fmla="*/ 2377440 h 3147261"/>
                  <a:gd name="connsiteX63" fmla="*/ 234368 w 3152930"/>
                  <a:gd name="connsiteY63" fmla="*/ 2316480 h 3147261"/>
                  <a:gd name="connsiteX64" fmla="*/ 211508 w 3152930"/>
                  <a:gd name="connsiteY64" fmla="*/ 2293620 h 3147261"/>
                  <a:gd name="connsiteX65" fmla="*/ 181028 w 3152930"/>
                  <a:gd name="connsiteY65" fmla="*/ 2240280 h 3147261"/>
                  <a:gd name="connsiteX66" fmla="*/ 165788 w 3152930"/>
                  <a:gd name="connsiteY66" fmla="*/ 2202180 h 3147261"/>
                  <a:gd name="connsiteX67" fmla="*/ 150548 w 3152930"/>
                  <a:gd name="connsiteY67" fmla="*/ 2179320 h 3147261"/>
                  <a:gd name="connsiteX68" fmla="*/ 135308 w 3152930"/>
                  <a:gd name="connsiteY68" fmla="*/ 2133600 h 3147261"/>
                  <a:gd name="connsiteX69" fmla="*/ 104828 w 3152930"/>
                  <a:gd name="connsiteY69" fmla="*/ 2087880 h 3147261"/>
                  <a:gd name="connsiteX70" fmla="*/ 66728 w 3152930"/>
                  <a:gd name="connsiteY70" fmla="*/ 2026920 h 3147261"/>
                  <a:gd name="connsiteX71" fmla="*/ 59108 w 3152930"/>
                  <a:gd name="connsiteY71" fmla="*/ 2004060 h 3147261"/>
                  <a:gd name="connsiteX72" fmla="*/ 43868 w 3152930"/>
                  <a:gd name="connsiteY72" fmla="*/ 1943100 h 3147261"/>
                  <a:gd name="connsiteX73" fmla="*/ 28628 w 3152930"/>
                  <a:gd name="connsiteY73" fmla="*/ 1897380 h 3147261"/>
                  <a:gd name="connsiteX74" fmla="*/ 5768 w 3152930"/>
                  <a:gd name="connsiteY74" fmla="*/ 1562100 h 3147261"/>
                  <a:gd name="connsiteX75" fmla="*/ 135308 w 3152930"/>
                  <a:gd name="connsiteY75" fmla="*/ 914400 h 3147261"/>
                  <a:gd name="connsiteX76" fmla="*/ 165788 w 3152930"/>
                  <a:gd name="connsiteY76" fmla="*/ 861060 h 3147261"/>
                  <a:gd name="connsiteX77" fmla="*/ 188648 w 3152930"/>
                  <a:gd name="connsiteY77" fmla="*/ 822960 h 3147261"/>
                  <a:gd name="connsiteX78" fmla="*/ 211508 w 3152930"/>
                  <a:gd name="connsiteY78" fmla="*/ 800100 h 3147261"/>
                  <a:gd name="connsiteX79" fmla="*/ 264848 w 3152930"/>
                  <a:gd name="connsiteY79" fmla="*/ 708660 h 3147261"/>
                  <a:gd name="connsiteX80" fmla="*/ 280088 w 3152930"/>
                  <a:gd name="connsiteY80" fmla="*/ 662940 h 3147261"/>
                  <a:gd name="connsiteX81" fmla="*/ 333428 w 3152930"/>
                  <a:gd name="connsiteY81" fmla="*/ 586740 h 3147261"/>
                  <a:gd name="connsiteX82" fmla="*/ 424868 w 3152930"/>
                  <a:gd name="connsiteY82" fmla="*/ 510540 h 3147261"/>
                  <a:gd name="connsiteX83" fmla="*/ 455348 w 3152930"/>
                  <a:gd name="connsiteY83" fmla="*/ 472440 h 3147261"/>
                  <a:gd name="connsiteX84" fmla="*/ 516308 w 3152930"/>
                  <a:gd name="connsiteY84" fmla="*/ 434340 h 3147261"/>
                  <a:gd name="connsiteX85" fmla="*/ 569648 w 3152930"/>
                  <a:gd name="connsiteY85" fmla="*/ 396240 h 3147261"/>
                  <a:gd name="connsiteX86" fmla="*/ 661088 w 3152930"/>
                  <a:gd name="connsiteY86" fmla="*/ 335280 h 3147261"/>
                  <a:gd name="connsiteX87" fmla="*/ 737288 w 3152930"/>
                  <a:gd name="connsiteY87" fmla="*/ 297180 h 3147261"/>
                  <a:gd name="connsiteX88" fmla="*/ 821108 w 3152930"/>
                  <a:gd name="connsiteY88" fmla="*/ 236220 h 3147261"/>
                  <a:gd name="connsiteX89" fmla="*/ 836348 w 3152930"/>
                  <a:gd name="connsiteY89" fmla="*/ 213360 h 3147261"/>
                  <a:gd name="connsiteX90" fmla="*/ 866828 w 3152930"/>
                  <a:gd name="connsiteY90" fmla="*/ 205740 h 3147261"/>
                  <a:gd name="connsiteX91" fmla="*/ 958268 w 3152930"/>
                  <a:gd name="connsiteY91" fmla="*/ 152400 h 3147261"/>
                  <a:gd name="connsiteX92" fmla="*/ 988748 w 3152930"/>
                  <a:gd name="connsiteY92" fmla="*/ 129540 h 3147261"/>
                  <a:gd name="connsiteX93" fmla="*/ 1110668 w 3152930"/>
                  <a:gd name="connsiteY93" fmla="*/ 76200 h 3147261"/>
                  <a:gd name="connsiteX94" fmla="*/ 1133528 w 3152930"/>
                  <a:gd name="connsiteY94" fmla="*/ 68580 h 3147261"/>
                  <a:gd name="connsiteX95" fmla="*/ 1194488 w 3152930"/>
                  <a:gd name="connsiteY95" fmla="*/ 53340 h 3147261"/>
                  <a:gd name="connsiteX96" fmla="*/ 1247828 w 3152930"/>
                  <a:gd name="connsiteY96" fmla="*/ 38100 h 3147261"/>
                  <a:gd name="connsiteX97" fmla="*/ 1270688 w 3152930"/>
                  <a:gd name="connsiteY97" fmla="*/ 30480 h 3147261"/>
                  <a:gd name="connsiteX98" fmla="*/ 1392608 w 3152930"/>
                  <a:gd name="connsiteY98" fmla="*/ 15240 h 3147261"/>
                  <a:gd name="connsiteX99" fmla="*/ 1468808 w 3152930"/>
                  <a:gd name="connsiteY99" fmla="*/ 0 h 3147261"/>
                  <a:gd name="connsiteX100" fmla="*/ 1887908 w 3152930"/>
                  <a:gd name="connsiteY100" fmla="*/ 15240 h 3147261"/>
                  <a:gd name="connsiteX101" fmla="*/ 1918388 w 3152930"/>
                  <a:gd name="connsiteY101" fmla="*/ 22860 h 3147261"/>
                  <a:gd name="connsiteX102" fmla="*/ 2169848 w 3152930"/>
                  <a:gd name="connsiteY102" fmla="*/ 99060 h 3147261"/>
                  <a:gd name="connsiteX103" fmla="*/ 2345108 w 3152930"/>
                  <a:gd name="connsiteY103" fmla="*/ 182880 h 3147261"/>
                  <a:gd name="connsiteX104" fmla="*/ 2375588 w 3152930"/>
                  <a:gd name="connsiteY104" fmla="*/ 190500 h 3147261"/>
                  <a:gd name="connsiteX105" fmla="*/ 2398448 w 3152930"/>
                  <a:gd name="connsiteY105" fmla="*/ 205740 h 3147261"/>
                  <a:gd name="connsiteX106" fmla="*/ 2444168 w 3152930"/>
                  <a:gd name="connsiteY106" fmla="*/ 228600 h 3147261"/>
                  <a:gd name="connsiteX107" fmla="*/ 2451788 w 3152930"/>
                  <a:gd name="connsiteY107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06749 w 3148171"/>
                  <a:gd name="connsiteY78" fmla="*/ 800100 h 3147261"/>
                  <a:gd name="connsiteX79" fmla="*/ 260089 w 3148171"/>
                  <a:gd name="connsiteY79" fmla="*/ 708660 h 3147261"/>
                  <a:gd name="connsiteX80" fmla="*/ 275329 w 3148171"/>
                  <a:gd name="connsiteY80" fmla="*/ 662940 h 3147261"/>
                  <a:gd name="connsiteX81" fmla="*/ 328669 w 3148171"/>
                  <a:gd name="connsiteY81" fmla="*/ 586740 h 3147261"/>
                  <a:gd name="connsiteX82" fmla="*/ 420109 w 3148171"/>
                  <a:gd name="connsiteY82" fmla="*/ 510540 h 3147261"/>
                  <a:gd name="connsiteX83" fmla="*/ 450589 w 3148171"/>
                  <a:gd name="connsiteY83" fmla="*/ 472440 h 3147261"/>
                  <a:gd name="connsiteX84" fmla="*/ 511549 w 3148171"/>
                  <a:gd name="connsiteY84" fmla="*/ 434340 h 3147261"/>
                  <a:gd name="connsiteX85" fmla="*/ 564889 w 3148171"/>
                  <a:gd name="connsiteY85" fmla="*/ 396240 h 3147261"/>
                  <a:gd name="connsiteX86" fmla="*/ 656329 w 3148171"/>
                  <a:gd name="connsiteY86" fmla="*/ 335280 h 3147261"/>
                  <a:gd name="connsiteX87" fmla="*/ 732529 w 3148171"/>
                  <a:gd name="connsiteY87" fmla="*/ 297180 h 3147261"/>
                  <a:gd name="connsiteX88" fmla="*/ 816349 w 3148171"/>
                  <a:gd name="connsiteY88" fmla="*/ 236220 h 3147261"/>
                  <a:gd name="connsiteX89" fmla="*/ 831589 w 3148171"/>
                  <a:gd name="connsiteY89" fmla="*/ 213360 h 3147261"/>
                  <a:gd name="connsiteX90" fmla="*/ 862069 w 3148171"/>
                  <a:gd name="connsiteY90" fmla="*/ 205740 h 3147261"/>
                  <a:gd name="connsiteX91" fmla="*/ 953509 w 3148171"/>
                  <a:gd name="connsiteY91" fmla="*/ 152400 h 3147261"/>
                  <a:gd name="connsiteX92" fmla="*/ 983989 w 3148171"/>
                  <a:gd name="connsiteY92" fmla="*/ 129540 h 3147261"/>
                  <a:gd name="connsiteX93" fmla="*/ 1105909 w 3148171"/>
                  <a:gd name="connsiteY93" fmla="*/ 76200 h 3147261"/>
                  <a:gd name="connsiteX94" fmla="*/ 1128769 w 3148171"/>
                  <a:gd name="connsiteY94" fmla="*/ 68580 h 3147261"/>
                  <a:gd name="connsiteX95" fmla="*/ 1189729 w 3148171"/>
                  <a:gd name="connsiteY95" fmla="*/ 53340 h 3147261"/>
                  <a:gd name="connsiteX96" fmla="*/ 1243069 w 3148171"/>
                  <a:gd name="connsiteY96" fmla="*/ 38100 h 3147261"/>
                  <a:gd name="connsiteX97" fmla="*/ 1265929 w 3148171"/>
                  <a:gd name="connsiteY97" fmla="*/ 30480 h 3147261"/>
                  <a:gd name="connsiteX98" fmla="*/ 1387849 w 3148171"/>
                  <a:gd name="connsiteY98" fmla="*/ 15240 h 3147261"/>
                  <a:gd name="connsiteX99" fmla="*/ 1464049 w 3148171"/>
                  <a:gd name="connsiteY99" fmla="*/ 0 h 3147261"/>
                  <a:gd name="connsiteX100" fmla="*/ 1883149 w 3148171"/>
                  <a:gd name="connsiteY100" fmla="*/ 15240 h 3147261"/>
                  <a:gd name="connsiteX101" fmla="*/ 1913629 w 3148171"/>
                  <a:gd name="connsiteY101" fmla="*/ 22860 h 3147261"/>
                  <a:gd name="connsiteX102" fmla="*/ 2165089 w 3148171"/>
                  <a:gd name="connsiteY102" fmla="*/ 99060 h 3147261"/>
                  <a:gd name="connsiteX103" fmla="*/ 2340349 w 3148171"/>
                  <a:gd name="connsiteY103" fmla="*/ 182880 h 3147261"/>
                  <a:gd name="connsiteX104" fmla="*/ 2370829 w 3148171"/>
                  <a:gd name="connsiteY104" fmla="*/ 190500 h 3147261"/>
                  <a:gd name="connsiteX105" fmla="*/ 2393689 w 3148171"/>
                  <a:gd name="connsiteY105" fmla="*/ 205740 h 3147261"/>
                  <a:gd name="connsiteX106" fmla="*/ 2439409 w 3148171"/>
                  <a:gd name="connsiteY106" fmla="*/ 228600 h 3147261"/>
                  <a:gd name="connsiteX107" fmla="*/ 2447029 w 3148171"/>
                  <a:gd name="connsiteY107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328669 w 3148171"/>
                  <a:gd name="connsiteY80" fmla="*/ 586740 h 3147261"/>
                  <a:gd name="connsiteX81" fmla="*/ 420109 w 3148171"/>
                  <a:gd name="connsiteY81" fmla="*/ 510540 h 3147261"/>
                  <a:gd name="connsiteX82" fmla="*/ 450589 w 3148171"/>
                  <a:gd name="connsiteY82" fmla="*/ 472440 h 3147261"/>
                  <a:gd name="connsiteX83" fmla="*/ 511549 w 3148171"/>
                  <a:gd name="connsiteY83" fmla="*/ 434340 h 3147261"/>
                  <a:gd name="connsiteX84" fmla="*/ 564889 w 3148171"/>
                  <a:gd name="connsiteY84" fmla="*/ 396240 h 3147261"/>
                  <a:gd name="connsiteX85" fmla="*/ 656329 w 3148171"/>
                  <a:gd name="connsiteY85" fmla="*/ 335280 h 3147261"/>
                  <a:gd name="connsiteX86" fmla="*/ 732529 w 3148171"/>
                  <a:gd name="connsiteY86" fmla="*/ 297180 h 3147261"/>
                  <a:gd name="connsiteX87" fmla="*/ 816349 w 3148171"/>
                  <a:gd name="connsiteY87" fmla="*/ 236220 h 3147261"/>
                  <a:gd name="connsiteX88" fmla="*/ 831589 w 3148171"/>
                  <a:gd name="connsiteY88" fmla="*/ 213360 h 3147261"/>
                  <a:gd name="connsiteX89" fmla="*/ 862069 w 3148171"/>
                  <a:gd name="connsiteY89" fmla="*/ 205740 h 3147261"/>
                  <a:gd name="connsiteX90" fmla="*/ 953509 w 3148171"/>
                  <a:gd name="connsiteY90" fmla="*/ 152400 h 3147261"/>
                  <a:gd name="connsiteX91" fmla="*/ 983989 w 3148171"/>
                  <a:gd name="connsiteY91" fmla="*/ 129540 h 3147261"/>
                  <a:gd name="connsiteX92" fmla="*/ 1105909 w 3148171"/>
                  <a:gd name="connsiteY92" fmla="*/ 76200 h 3147261"/>
                  <a:gd name="connsiteX93" fmla="*/ 1128769 w 3148171"/>
                  <a:gd name="connsiteY93" fmla="*/ 68580 h 3147261"/>
                  <a:gd name="connsiteX94" fmla="*/ 1189729 w 3148171"/>
                  <a:gd name="connsiteY94" fmla="*/ 53340 h 3147261"/>
                  <a:gd name="connsiteX95" fmla="*/ 1243069 w 3148171"/>
                  <a:gd name="connsiteY95" fmla="*/ 38100 h 3147261"/>
                  <a:gd name="connsiteX96" fmla="*/ 1265929 w 3148171"/>
                  <a:gd name="connsiteY96" fmla="*/ 30480 h 3147261"/>
                  <a:gd name="connsiteX97" fmla="*/ 1387849 w 3148171"/>
                  <a:gd name="connsiteY97" fmla="*/ 15240 h 3147261"/>
                  <a:gd name="connsiteX98" fmla="*/ 1464049 w 3148171"/>
                  <a:gd name="connsiteY98" fmla="*/ 0 h 3147261"/>
                  <a:gd name="connsiteX99" fmla="*/ 1883149 w 3148171"/>
                  <a:gd name="connsiteY99" fmla="*/ 15240 h 3147261"/>
                  <a:gd name="connsiteX100" fmla="*/ 1913629 w 3148171"/>
                  <a:gd name="connsiteY100" fmla="*/ 22860 h 3147261"/>
                  <a:gd name="connsiteX101" fmla="*/ 2165089 w 3148171"/>
                  <a:gd name="connsiteY101" fmla="*/ 99060 h 3147261"/>
                  <a:gd name="connsiteX102" fmla="*/ 2340349 w 3148171"/>
                  <a:gd name="connsiteY102" fmla="*/ 182880 h 3147261"/>
                  <a:gd name="connsiteX103" fmla="*/ 2370829 w 3148171"/>
                  <a:gd name="connsiteY103" fmla="*/ 190500 h 3147261"/>
                  <a:gd name="connsiteX104" fmla="*/ 2393689 w 3148171"/>
                  <a:gd name="connsiteY104" fmla="*/ 205740 h 3147261"/>
                  <a:gd name="connsiteX105" fmla="*/ 2439409 w 3148171"/>
                  <a:gd name="connsiteY105" fmla="*/ 228600 h 3147261"/>
                  <a:gd name="connsiteX106" fmla="*/ 2447029 w 3148171"/>
                  <a:gd name="connsiteY106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450589 w 3148171"/>
                  <a:gd name="connsiteY81" fmla="*/ 472440 h 3147261"/>
                  <a:gd name="connsiteX82" fmla="*/ 511549 w 3148171"/>
                  <a:gd name="connsiteY82" fmla="*/ 434340 h 3147261"/>
                  <a:gd name="connsiteX83" fmla="*/ 564889 w 3148171"/>
                  <a:gd name="connsiteY83" fmla="*/ 396240 h 3147261"/>
                  <a:gd name="connsiteX84" fmla="*/ 656329 w 3148171"/>
                  <a:gd name="connsiteY84" fmla="*/ 335280 h 3147261"/>
                  <a:gd name="connsiteX85" fmla="*/ 732529 w 3148171"/>
                  <a:gd name="connsiteY85" fmla="*/ 297180 h 3147261"/>
                  <a:gd name="connsiteX86" fmla="*/ 816349 w 3148171"/>
                  <a:gd name="connsiteY86" fmla="*/ 236220 h 3147261"/>
                  <a:gd name="connsiteX87" fmla="*/ 831589 w 3148171"/>
                  <a:gd name="connsiteY87" fmla="*/ 213360 h 3147261"/>
                  <a:gd name="connsiteX88" fmla="*/ 862069 w 3148171"/>
                  <a:gd name="connsiteY88" fmla="*/ 205740 h 3147261"/>
                  <a:gd name="connsiteX89" fmla="*/ 953509 w 3148171"/>
                  <a:gd name="connsiteY89" fmla="*/ 152400 h 3147261"/>
                  <a:gd name="connsiteX90" fmla="*/ 983989 w 3148171"/>
                  <a:gd name="connsiteY90" fmla="*/ 129540 h 3147261"/>
                  <a:gd name="connsiteX91" fmla="*/ 1105909 w 3148171"/>
                  <a:gd name="connsiteY91" fmla="*/ 76200 h 3147261"/>
                  <a:gd name="connsiteX92" fmla="*/ 1128769 w 3148171"/>
                  <a:gd name="connsiteY92" fmla="*/ 68580 h 3147261"/>
                  <a:gd name="connsiteX93" fmla="*/ 1189729 w 3148171"/>
                  <a:gd name="connsiteY93" fmla="*/ 53340 h 3147261"/>
                  <a:gd name="connsiteX94" fmla="*/ 1243069 w 3148171"/>
                  <a:gd name="connsiteY94" fmla="*/ 38100 h 3147261"/>
                  <a:gd name="connsiteX95" fmla="*/ 1265929 w 3148171"/>
                  <a:gd name="connsiteY95" fmla="*/ 30480 h 3147261"/>
                  <a:gd name="connsiteX96" fmla="*/ 1387849 w 3148171"/>
                  <a:gd name="connsiteY96" fmla="*/ 15240 h 3147261"/>
                  <a:gd name="connsiteX97" fmla="*/ 1464049 w 3148171"/>
                  <a:gd name="connsiteY97" fmla="*/ 0 h 3147261"/>
                  <a:gd name="connsiteX98" fmla="*/ 1883149 w 3148171"/>
                  <a:gd name="connsiteY98" fmla="*/ 15240 h 3147261"/>
                  <a:gd name="connsiteX99" fmla="*/ 1913629 w 3148171"/>
                  <a:gd name="connsiteY99" fmla="*/ 22860 h 3147261"/>
                  <a:gd name="connsiteX100" fmla="*/ 2165089 w 3148171"/>
                  <a:gd name="connsiteY100" fmla="*/ 99060 h 3147261"/>
                  <a:gd name="connsiteX101" fmla="*/ 2340349 w 3148171"/>
                  <a:gd name="connsiteY101" fmla="*/ 182880 h 3147261"/>
                  <a:gd name="connsiteX102" fmla="*/ 2370829 w 3148171"/>
                  <a:gd name="connsiteY102" fmla="*/ 190500 h 3147261"/>
                  <a:gd name="connsiteX103" fmla="*/ 2393689 w 3148171"/>
                  <a:gd name="connsiteY103" fmla="*/ 205740 h 3147261"/>
                  <a:gd name="connsiteX104" fmla="*/ 2439409 w 3148171"/>
                  <a:gd name="connsiteY104" fmla="*/ 228600 h 3147261"/>
                  <a:gd name="connsiteX105" fmla="*/ 2447029 w 3148171"/>
                  <a:gd name="connsiteY105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35280 h 3147261"/>
                  <a:gd name="connsiteX84" fmla="*/ 732529 w 3148171"/>
                  <a:gd name="connsiteY84" fmla="*/ 297180 h 3147261"/>
                  <a:gd name="connsiteX85" fmla="*/ 816349 w 3148171"/>
                  <a:gd name="connsiteY85" fmla="*/ 236220 h 3147261"/>
                  <a:gd name="connsiteX86" fmla="*/ 831589 w 3148171"/>
                  <a:gd name="connsiteY86" fmla="*/ 213360 h 3147261"/>
                  <a:gd name="connsiteX87" fmla="*/ 862069 w 3148171"/>
                  <a:gd name="connsiteY87" fmla="*/ 205740 h 3147261"/>
                  <a:gd name="connsiteX88" fmla="*/ 953509 w 3148171"/>
                  <a:gd name="connsiteY88" fmla="*/ 152400 h 3147261"/>
                  <a:gd name="connsiteX89" fmla="*/ 983989 w 3148171"/>
                  <a:gd name="connsiteY89" fmla="*/ 129540 h 3147261"/>
                  <a:gd name="connsiteX90" fmla="*/ 1105909 w 3148171"/>
                  <a:gd name="connsiteY90" fmla="*/ 76200 h 3147261"/>
                  <a:gd name="connsiteX91" fmla="*/ 1128769 w 3148171"/>
                  <a:gd name="connsiteY91" fmla="*/ 68580 h 3147261"/>
                  <a:gd name="connsiteX92" fmla="*/ 1189729 w 3148171"/>
                  <a:gd name="connsiteY92" fmla="*/ 53340 h 3147261"/>
                  <a:gd name="connsiteX93" fmla="*/ 1243069 w 3148171"/>
                  <a:gd name="connsiteY93" fmla="*/ 38100 h 3147261"/>
                  <a:gd name="connsiteX94" fmla="*/ 1265929 w 3148171"/>
                  <a:gd name="connsiteY94" fmla="*/ 30480 h 3147261"/>
                  <a:gd name="connsiteX95" fmla="*/ 1387849 w 3148171"/>
                  <a:gd name="connsiteY95" fmla="*/ 15240 h 3147261"/>
                  <a:gd name="connsiteX96" fmla="*/ 1464049 w 3148171"/>
                  <a:gd name="connsiteY96" fmla="*/ 0 h 3147261"/>
                  <a:gd name="connsiteX97" fmla="*/ 1883149 w 3148171"/>
                  <a:gd name="connsiteY97" fmla="*/ 15240 h 3147261"/>
                  <a:gd name="connsiteX98" fmla="*/ 1913629 w 3148171"/>
                  <a:gd name="connsiteY98" fmla="*/ 22860 h 3147261"/>
                  <a:gd name="connsiteX99" fmla="*/ 2165089 w 3148171"/>
                  <a:gd name="connsiteY99" fmla="*/ 99060 h 3147261"/>
                  <a:gd name="connsiteX100" fmla="*/ 2340349 w 3148171"/>
                  <a:gd name="connsiteY100" fmla="*/ 182880 h 3147261"/>
                  <a:gd name="connsiteX101" fmla="*/ 2370829 w 3148171"/>
                  <a:gd name="connsiteY101" fmla="*/ 190500 h 3147261"/>
                  <a:gd name="connsiteX102" fmla="*/ 2393689 w 3148171"/>
                  <a:gd name="connsiteY102" fmla="*/ 205740 h 3147261"/>
                  <a:gd name="connsiteX103" fmla="*/ 2439409 w 3148171"/>
                  <a:gd name="connsiteY103" fmla="*/ 228600 h 3147261"/>
                  <a:gd name="connsiteX104" fmla="*/ 2447029 w 3148171"/>
                  <a:gd name="connsiteY104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35280 h 3147261"/>
                  <a:gd name="connsiteX84" fmla="*/ 816349 w 3148171"/>
                  <a:gd name="connsiteY84" fmla="*/ 236220 h 3147261"/>
                  <a:gd name="connsiteX85" fmla="*/ 831589 w 3148171"/>
                  <a:gd name="connsiteY85" fmla="*/ 213360 h 3147261"/>
                  <a:gd name="connsiteX86" fmla="*/ 862069 w 3148171"/>
                  <a:gd name="connsiteY86" fmla="*/ 205740 h 3147261"/>
                  <a:gd name="connsiteX87" fmla="*/ 953509 w 3148171"/>
                  <a:gd name="connsiteY87" fmla="*/ 152400 h 3147261"/>
                  <a:gd name="connsiteX88" fmla="*/ 983989 w 3148171"/>
                  <a:gd name="connsiteY88" fmla="*/ 129540 h 3147261"/>
                  <a:gd name="connsiteX89" fmla="*/ 1105909 w 3148171"/>
                  <a:gd name="connsiteY89" fmla="*/ 76200 h 3147261"/>
                  <a:gd name="connsiteX90" fmla="*/ 1128769 w 3148171"/>
                  <a:gd name="connsiteY90" fmla="*/ 68580 h 3147261"/>
                  <a:gd name="connsiteX91" fmla="*/ 1189729 w 3148171"/>
                  <a:gd name="connsiteY91" fmla="*/ 53340 h 3147261"/>
                  <a:gd name="connsiteX92" fmla="*/ 1243069 w 3148171"/>
                  <a:gd name="connsiteY92" fmla="*/ 38100 h 3147261"/>
                  <a:gd name="connsiteX93" fmla="*/ 1265929 w 3148171"/>
                  <a:gd name="connsiteY93" fmla="*/ 30480 h 3147261"/>
                  <a:gd name="connsiteX94" fmla="*/ 1387849 w 3148171"/>
                  <a:gd name="connsiteY94" fmla="*/ 15240 h 3147261"/>
                  <a:gd name="connsiteX95" fmla="*/ 1464049 w 3148171"/>
                  <a:gd name="connsiteY95" fmla="*/ 0 h 3147261"/>
                  <a:gd name="connsiteX96" fmla="*/ 1883149 w 3148171"/>
                  <a:gd name="connsiteY96" fmla="*/ 15240 h 3147261"/>
                  <a:gd name="connsiteX97" fmla="*/ 1913629 w 3148171"/>
                  <a:gd name="connsiteY97" fmla="*/ 22860 h 3147261"/>
                  <a:gd name="connsiteX98" fmla="*/ 2165089 w 3148171"/>
                  <a:gd name="connsiteY98" fmla="*/ 99060 h 3147261"/>
                  <a:gd name="connsiteX99" fmla="*/ 2340349 w 3148171"/>
                  <a:gd name="connsiteY99" fmla="*/ 182880 h 3147261"/>
                  <a:gd name="connsiteX100" fmla="*/ 2370829 w 3148171"/>
                  <a:gd name="connsiteY100" fmla="*/ 190500 h 3147261"/>
                  <a:gd name="connsiteX101" fmla="*/ 2393689 w 3148171"/>
                  <a:gd name="connsiteY101" fmla="*/ 205740 h 3147261"/>
                  <a:gd name="connsiteX102" fmla="*/ 2439409 w 3148171"/>
                  <a:gd name="connsiteY102" fmla="*/ 228600 h 3147261"/>
                  <a:gd name="connsiteX103" fmla="*/ 2447029 w 3148171"/>
                  <a:gd name="connsiteY103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35280 h 3147261"/>
                  <a:gd name="connsiteX84" fmla="*/ 816349 w 3148171"/>
                  <a:gd name="connsiteY84" fmla="*/ 236220 h 3147261"/>
                  <a:gd name="connsiteX85" fmla="*/ 862069 w 3148171"/>
                  <a:gd name="connsiteY85" fmla="*/ 205740 h 3147261"/>
                  <a:gd name="connsiteX86" fmla="*/ 953509 w 3148171"/>
                  <a:gd name="connsiteY86" fmla="*/ 152400 h 3147261"/>
                  <a:gd name="connsiteX87" fmla="*/ 983989 w 3148171"/>
                  <a:gd name="connsiteY87" fmla="*/ 129540 h 3147261"/>
                  <a:gd name="connsiteX88" fmla="*/ 1105909 w 3148171"/>
                  <a:gd name="connsiteY88" fmla="*/ 76200 h 3147261"/>
                  <a:gd name="connsiteX89" fmla="*/ 1128769 w 3148171"/>
                  <a:gd name="connsiteY89" fmla="*/ 68580 h 3147261"/>
                  <a:gd name="connsiteX90" fmla="*/ 1189729 w 3148171"/>
                  <a:gd name="connsiteY90" fmla="*/ 53340 h 3147261"/>
                  <a:gd name="connsiteX91" fmla="*/ 1243069 w 3148171"/>
                  <a:gd name="connsiteY91" fmla="*/ 38100 h 3147261"/>
                  <a:gd name="connsiteX92" fmla="*/ 1265929 w 3148171"/>
                  <a:gd name="connsiteY92" fmla="*/ 30480 h 3147261"/>
                  <a:gd name="connsiteX93" fmla="*/ 1387849 w 3148171"/>
                  <a:gd name="connsiteY93" fmla="*/ 15240 h 3147261"/>
                  <a:gd name="connsiteX94" fmla="*/ 1464049 w 3148171"/>
                  <a:gd name="connsiteY94" fmla="*/ 0 h 3147261"/>
                  <a:gd name="connsiteX95" fmla="*/ 1883149 w 3148171"/>
                  <a:gd name="connsiteY95" fmla="*/ 15240 h 3147261"/>
                  <a:gd name="connsiteX96" fmla="*/ 1913629 w 3148171"/>
                  <a:gd name="connsiteY96" fmla="*/ 22860 h 3147261"/>
                  <a:gd name="connsiteX97" fmla="*/ 2165089 w 3148171"/>
                  <a:gd name="connsiteY97" fmla="*/ 99060 h 3147261"/>
                  <a:gd name="connsiteX98" fmla="*/ 2340349 w 3148171"/>
                  <a:gd name="connsiteY98" fmla="*/ 182880 h 3147261"/>
                  <a:gd name="connsiteX99" fmla="*/ 2370829 w 3148171"/>
                  <a:gd name="connsiteY99" fmla="*/ 190500 h 3147261"/>
                  <a:gd name="connsiteX100" fmla="*/ 2393689 w 3148171"/>
                  <a:gd name="connsiteY100" fmla="*/ 205740 h 3147261"/>
                  <a:gd name="connsiteX101" fmla="*/ 2439409 w 3148171"/>
                  <a:gd name="connsiteY101" fmla="*/ 228600 h 3147261"/>
                  <a:gd name="connsiteX102" fmla="*/ 2447029 w 3148171"/>
                  <a:gd name="connsiteY102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35280 h 3147261"/>
                  <a:gd name="connsiteX84" fmla="*/ 862069 w 3148171"/>
                  <a:gd name="connsiteY84" fmla="*/ 20574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128769 w 3148171"/>
                  <a:gd name="connsiteY88" fmla="*/ 68580 h 3147261"/>
                  <a:gd name="connsiteX89" fmla="*/ 1189729 w 3148171"/>
                  <a:gd name="connsiteY89" fmla="*/ 53340 h 3147261"/>
                  <a:gd name="connsiteX90" fmla="*/ 1243069 w 3148171"/>
                  <a:gd name="connsiteY90" fmla="*/ 38100 h 3147261"/>
                  <a:gd name="connsiteX91" fmla="*/ 1265929 w 3148171"/>
                  <a:gd name="connsiteY91" fmla="*/ 30480 h 3147261"/>
                  <a:gd name="connsiteX92" fmla="*/ 1387849 w 3148171"/>
                  <a:gd name="connsiteY92" fmla="*/ 15240 h 3147261"/>
                  <a:gd name="connsiteX93" fmla="*/ 1464049 w 3148171"/>
                  <a:gd name="connsiteY93" fmla="*/ 0 h 3147261"/>
                  <a:gd name="connsiteX94" fmla="*/ 1883149 w 3148171"/>
                  <a:gd name="connsiteY94" fmla="*/ 15240 h 3147261"/>
                  <a:gd name="connsiteX95" fmla="*/ 1913629 w 3148171"/>
                  <a:gd name="connsiteY95" fmla="*/ 22860 h 3147261"/>
                  <a:gd name="connsiteX96" fmla="*/ 2165089 w 3148171"/>
                  <a:gd name="connsiteY96" fmla="*/ 99060 h 3147261"/>
                  <a:gd name="connsiteX97" fmla="*/ 2340349 w 3148171"/>
                  <a:gd name="connsiteY97" fmla="*/ 182880 h 3147261"/>
                  <a:gd name="connsiteX98" fmla="*/ 2370829 w 3148171"/>
                  <a:gd name="connsiteY98" fmla="*/ 190500 h 3147261"/>
                  <a:gd name="connsiteX99" fmla="*/ 2393689 w 3148171"/>
                  <a:gd name="connsiteY99" fmla="*/ 205740 h 3147261"/>
                  <a:gd name="connsiteX100" fmla="*/ 2439409 w 3148171"/>
                  <a:gd name="connsiteY100" fmla="*/ 228600 h 3147261"/>
                  <a:gd name="connsiteX101" fmla="*/ 2447029 w 3148171"/>
                  <a:gd name="connsiteY101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2069 w 3148171"/>
                  <a:gd name="connsiteY84" fmla="*/ 20574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128769 w 3148171"/>
                  <a:gd name="connsiteY88" fmla="*/ 68580 h 3147261"/>
                  <a:gd name="connsiteX89" fmla="*/ 1189729 w 3148171"/>
                  <a:gd name="connsiteY89" fmla="*/ 53340 h 3147261"/>
                  <a:gd name="connsiteX90" fmla="*/ 1243069 w 3148171"/>
                  <a:gd name="connsiteY90" fmla="*/ 38100 h 3147261"/>
                  <a:gd name="connsiteX91" fmla="*/ 1265929 w 3148171"/>
                  <a:gd name="connsiteY91" fmla="*/ 30480 h 3147261"/>
                  <a:gd name="connsiteX92" fmla="*/ 1387849 w 3148171"/>
                  <a:gd name="connsiteY92" fmla="*/ 15240 h 3147261"/>
                  <a:gd name="connsiteX93" fmla="*/ 1464049 w 3148171"/>
                  <a:gd name="connsiteY93" fmla="*/ 0 h 3147261"/>
                  <a:gd name="connsiteX94" fmla="*/ 1883149 w 3148171"/>
                  <a:gd name="connsiteY94" fmla="*/ 15240 h 3147261"/>
                  <a:gd name="connsiteX95" fmla="*/ 1913629 w 3148171"/>
                  <a:gd name="connsiteY95" fmla="*/ 22860 h 3147261"/>
                  <a:gd name="connsiteX96" fmla="*/ 2165089 w 3148171"/>
                  <a:gd name="connsiteY96" fmla="*/ 99060 h 3147261"/>
                  <a:gd name="connsiteX97" fmla="*/ 2340349 w 3148171"/>
                  <a:gd name="connsiteY97" fmla="*/ 182880 h 3147261"/>
                  <a:gd name="connsiteX98" fmla="*/ 2370829 w 3148171"/>
                  <a:gd name="connsiteY98" fmla="*/ 190500 h 3147261"/>
                  <a:gd name="connsiteX99" fmla="*/ 2393689 w 3148171"/>
                  <a:gd name="connsiteY99" fmla="*/ 205740 h 3147261"/>
                  <a:gd name="connsiteX100" fmla="*/ 2439409 w 3148171"/>
                  <a:gd name="connsiteY100" fmla="*/ 228600 h 3147261"/>
                  <a:gd name="connsiteX101" fmla="*/ 2447029 w 3148171"/>
                  <a:gd name="connsiteY101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128769 w 3148171"/>
                  <a:gd name="connsiteY88" fmla="*/ 68580 h 3147261"/>
                  <a:gd name="connsiteX89" fmla="*/ 1189729 w 3148171"/>
                  <a:gd name="connsiteY89" fmla="*/ 53340 h 3147261"/>
                  <a:gd name="connsiteX90" fmla="*/ 1243069 w 3148171"/>
                  <a:gd name="connsiteY90" fmla="*/ 38100 h 3147261"/>
                  <a:gd name="connsiteX91" fmla="*/ 1265929 w 3148171"/>
                  <a:gd name="connsiteY91" fmla="*/ 30480 h 3147261"/>
                  <a:gd name="connsiteX92" fmla="*/ 1387849 w 3148171"/>
                  <a:gd name="connsiteY92" fmla="*/ 15240 h 3147261"/>
                  <a:gd name="connsiteX93" fmla="*/ 1464049 w 3148171"/>
                  <a:gd name="connsiteY93" fmla="*/ 0 h 3147261"/>
                  <a:gd name="connsiteX94" fmla="*/ 1883149 w 3148171"/>
                  <a:gd name="connsiteY94" fmla="*/ 15240 h 3147261"/>
                  <a:gd name="connsiteX95" fmla="*/ 1913629 w 3148171"/>
                  <a:gd name="connsiteY95" fmla="*/ 22860 h 3147261"/>
                  <a:gd name="connsiteX96" fmla="*/ 2165089 w 3148171"/>
                  <a:gd name="connsiteY96" fmla="*/ 99060 h 3147261"/>
                  <a:gd name="connsiteX97" fmla="*/ 2340349 w 3148171"/>
                  <a:gd name="connsiteY97" fmla="*/ 182880 h 3147261"/>
                  <a:gd name="connsiteX98" fmla="*/ 2370829 w 3148171"/>
                  <a:gd name="connsiteY98" fmla="*/ 190500 h 3147261"/>
                  <a:gd name="connsiteX99" fmla="*/ 2393689 w 3148171"/>
                  <a:gd name="connsiteY99" fmla="*/ 205740 h 3147261"/>
                  <a:gd name="connsiteX100" fmla="*/ 2439409 w 3148171"/>
                  <a:gd name="connsiteY100" fmla="*/ 228600 h 3147261"/>
                  <a:gd name="connsiteX101" fmla="*/ 2447029 w 3148171"/>
                  <a:gd name="connsiteY101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189729 w 3148171"/>
                  <a:gd name="connsiteY88" fmla="*/ 53340 h 3147261"/>
                  <a:gd name="connsiteX89" fmla="*/ 1243069 w 3148171"/>
                  <a:gd name="connsiteY89" fmla="*/ 38100 h 3147261"/>
                  <a:gd name="connsiteX90" fmla="*/ 1265929 w 3148171"/>
                  <a:gd name="connsiteY90" fmla="*/ 30480 h 3147261"/>
                  <a:gd name="connsiteX91" fmla="*/ 1387849 w 3148171"/>
                  <a:gd name="connsiteY91" fmla="*/ 15240 h 3147261"/>
                  <a:gd name="connsiteX92" fmla="*/ 1464049 w 3148171"/>
                  <a:gd name="connsiteY92" fmla="*/ 0 h 3147261"/>
                  <a:gd name="connsiteX93" fmla="*/ 1883149 w 3148171"/>
                  <a:gd name="connsiteY93" fmla="*/ 15240 h 3147261"/>
                  <a:gd name="connsiteX94" fmla="*/ 1913629 w 3148171"/>
                  <a:gd name="connsiteY94" fmla="*/ 22860 h 3147261"/>
                  <a:gd name="connsiteX95" fmla="*/ 2165089 w 3148171"/>
                  <a:gd name="connsiteY95" fmla="*/ 99060 h 3147261"/>
                  <a:gd name="connsiteX96" fmla="*/ 2340349 w 3148171"/>
                  <a:gd name="connsiteY96" fmla="*/ 182880 h 3147261"/>
                  <a:gd name="connsiteX97" fmla="*/ 2370829 w 3148171"/>
                  <a:gd name="connsiteY97" fmla="*/ 190500 h 3147261"/>
                  <a:gd name="connsiteX98" fmla="*/ 2393689 w 3148171"/>
                  <a:gd name="connsiteY98" fmla="*/ 205740 h 3147261"/>
                  <a:gd name="connsiteX99" fmla="*/ 2439409 w 3148171"/>
                  <a:gd name="connsiteY99" fmla="*/ 228600 h 3147261"/>
                  <a:gd name="connsiteX100" fmla="*/ 2447029 w 3148171"/>
                  <a:gd name="connsiteY100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53509 w 3148171"/>
                  <a:gd name="connsiteY85" fmla="*/ 152400 h 3147261"/>
                  <a:gd name="connsiteX86" fmla="*/ 983989 w 3148171"/>
                  <a:gd name="connsiteY86" fmla="*/ 129540 h 3147261"/>
                  <a:gd name="connsiteX87" fmla="*/ 1105909 w 3148171"/>
                  <a:gd name="connsiteY87" fmla="*/ 76200 h 3147261"/>
                  <a:gd name="connsiteX88" fmla="*/ 1243069 w 3148171"/>
                  <a:gd name="connsiteY88" fmla="*/ 38100 h 3147261"/>
                  <a:gd name="connsiteX89" fmla="*/ 1265929 w 3148171"/>
                  <a:gd name="connsiteY89" fmla="*/ 30480 h 3147261"/>
                  <a:gd name="connsiteX90" fmla="*/ 1387849 w 3148171"/>
                  <a:gd name="connsiteY90" fmla="*/ 15240 h 3147261"/>
                  <a:gd name="connsiteX91" fmla="*/ 1464049 w 3148171"/>
                  <a:gd name="connsiteY91" fmla="*/ 0 h 3147261"/>
                  <a:gd name="connsiteX92" fmla="*/ 1883149 w 3148171"/>
                  <a:gd name="connsiteY92" fmla="*/ 15240 h 3147261"/>
                  <a:gd name="connsiteX93" fmla="*/ 1913629 w 3148171"/>
                  <a:gd name="connsiteY93" fmla="*/ 22860 h 3147261"/>
                  <a:gd name="connsiteX94" fmla="*/ 2165089 w 3148171"/>
                  <a:gd name="connsiteY94" fmla="*/ 99060 h 3147261"/>
                  <a:gd name="connsiteX95" fmla="*/ 2340349 w 3148171"/>
                  <a:gd name="connsiteY95" fmla="*/ 182880 h 3147261"/>
                  <a:gd name="connsiteX96" fmla="*/ 2370829 w 3148171"/>
                  <a:gd name="connsiteY96" fmla="*/ 190500 h 3147261"/>
                  <a:gd name="connsiteX97" fmla="*/ 2393689 w 3148171"/>
                  <a:gd name="connsiteY97" fmla="*/ 205740 h 3147261"/>
                  <a:gd name="connsiteX98" fmla="*/ 2439409 w 3148171"/>
                  <a:gd name="connsiteY98" fmla="*/ 228600 h 3147261"/>
                  <a:gd name="connsiteX99" fmla="*/ 2447029 w 3148171"/>
                  <a:gd name="connsiteY99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53509 w 3148171"/>
                  <a:gd name="connsiteY85" fmla="*/ 15240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883149 w 3148171"/>
                  <a:gd name="connsiteY91" fmla="*/ 15240 h 3147261"/>
                  <a:gd name="connsiteX92" fmla="*/ 1913629 w 3148171"/>
                  <a:gd name="connsiteY92" fmla="*/ 22860 h 3147261"/>
                  <a:gd name="connsiteX93" fmla="*/ 2165089 w 3148171"/>
                  <a:gd name="connsiteY93" fmla="*/ 99060 h 3147261"/>
                  <a:gd name="connsiteX94" fmla="*/ 2340349 w 3148171"/>
                  <a:gd name="connsiteY94" fmla="*/ 182880 h 3147261"/>
                  <a:gd name="connsiteX95" fmla="*/ 2370829 w 3148171"/>
                  <a:gd name="connsiteY95" fmla="*/ 190500 h 3147261"/>
                  <a:gd name="connsiteX96" fmla="*/ 2393689 w 3148171"/>
                  <a:gd name="connsiteY96" fmla="*/ 205740 h 3147261"/>
                  <a:gd name="connsiteX97" fmla="*/ 2439409 w 3148171"/>
                  <a:gd name="connsiteY97" fmla="*/ 228600 h 3147261"/>
                  <a:gd name="connsiteX98" fmla="*/ 2447029 w 3148171"/>
                  <a:gd name="connsiteY98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883149 w 3148171"/>
                  <a:gd name="connsiteY91" fmla="*/ 15240 h 3147261"/>
                  <a:gd name="connsiteX92" fmla="*/ 1913629 w 3148171"/>
                  <a:gd name="connsiteY92" fmla="*/ 22860 h 3147261"/>
                  <a:gd name="connsiteX93" fmla="*/ 2165089 w 3148171"/>
                  <a:gd name="connsiteY93" fmla="*/ 99060 h 3147261"/>
                  <a:gd name="connsiteX94" fmla="*/ 2340349 w 3148171"/>
                  <a:gd name="connsiteY94" fmla="*/ 182880 h 3147261"/>
                  <a:gd name="connsiteX95" fmla="*/ 2370829 w 3148171"/>
                  <a:gd name="connsiteY95" fmla="*/ 190500 h 3147261"/>
                  <a:gd name="connsiteX96" fmla="*/ 2393689 w 3148171"/>
                  <a:gd name="connsiteY96" fmla="*/ 205740 h 3147261"/>
                  <a:gd name="connsiteX97" fmla="*/ 2439409 w 3148171"/>
                  <a:gd name="connsiteY97" fmla="*/ 228600 h 3147261"/>
                  <a:gd name="connsiteX98" fmla="*/ 2447029 w 3148171"/>
                  <a:gd name="connsiteY98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883149 w 3148171"/>
                  <a:gd name="connsiteY91" fmla="*/ 1524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95" fmla="*/ 2393689 w 3148171"/>
                  <a:gd name="connsiteY95" fmla="*/ 205740 h 3147261"/>
                  <a:gd name="connsiteX96" fmla="*/ 2439409 w 3148171"/>
                  <a:gd name="connsiteY96" fmla="*/ 228600 h 3147261"/>
                  <a:gd name="connsiteX97" fmla="*/ 2447029 w 3148171"/>
                  <a:gd name="connsiteY97" fmla="*/ 266700 h 3147261"/>
                  <a:gd name="connsiteX0" fmla="*/ 2447029 w 3148171"/>
                  <a:gd name="connsiteY0" fmla="*/ 2667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745989 w 3148171"/>
                  <a:gd name="connsiteY91" fmla="*/ 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95" fmla="*/ 2393689 w 3148171"/>
                  <a:gd name="connsiteY95" fmla="*/ 205740 h 3147261"/>
                  <a:gd name="connsiteX96" fmla="*/ 2439409 w 3148171"/>
                  <a:gd name="connsiteY96" fmla="*/ 228600 h 3147261"/>
                  <a:gd name="connsiteX97" fmla="*/ 2447029 w 3148171"/>
                  <a:gd name="connsiteY97" fmla="*/ 266700 h 3147261"/>
                  <a:gd name="connsiteX0" fmla="*/ 2439409 w 3148171"/>
                  <a:gd name="connsiteY0" fmla="*/ 2286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745989 w 3148171"/>
                  <a:gd name="connsiteY91" fmla="*/ 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95" fmla="*/ 2393689 w 3148171"/>
                  <a:gd name="connsiteY95" fmla="*/ 205740 h 3147261"/>
                  <a:gd name="connsiteX96" fmla="*/ 2439409 w 3148171"/>
                  <a:gd name="connsiteY96" fmla="*/ 228600 h 3147261"/>
                  <a:gd name="connsiteX0" fmla="*/ 2393689 w 3148171"/>
                  <a:gd name="connsiteY0" fmla="*/ 20574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745989 w 3148171"/>
                  <a:gd name="connsiteY91" fmla="*/ 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95" fmla="*/ 2393689 w 3148171"/>
                  <a:gd name="connsiteY95" fmla="*/ 20574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660389 w 3148171"/>
                  <a:gd name="connsiteY7" fmla="*/ 464820 h 3147261"/>
                  <a:gd name="connsiteX8" fmla="*/ 2706109 w 3148171"/>
                  <a:gd name="connsiteY8" fmla="*/ 487680 h 3147261"/>
                  <a:gd name="connsiteX9" fmla="*/ 2728969 w 3148171"/>
                  <a:gd name="connsiteY9" fmla="*/ 510540 h 3147261"/>
                  <a:gd name="connsiteX10" fmla="*/ 2789929 w 3148171"/>
                  <a:gd name="connsiteY10" fmla="*/ 594360 h 3147261"/>
                  <a:gd name="connsiteX11" fmla="*/ 2850889 w 3148171"/>
                  <a:gd name="connsiteY11" fmla="*/ 662940 h 3147261"/>
                  <a:gd name="connsiteX12" fmla="*/ 2873749 w 3148171"/>
                  <a:gd name="connsiteY12" fmla="*/ 701040 h 3147261"/>
                  <a:gd name="connsiteX13" fmla="*/ 2911849 w 3148171"/>
                  <a:gd name="connsiteY13" fmla="*/ 762000 h 3147261"/>
                  <a:gd name="connsiteX14" fmla="*/ 2949949 w 3148171"/>
                  <a:gd name="connsiteY14" fmla="*/ 845820 h 3147261"/>
                  <a:gd name="connsiteX15" fmla="*/ 2957569 w 3148171"/>
                  <a:gd name="connsiteY15" fmla="*/ 868680 h 3147261"/>
                  <a:gd name="connsiteX16" fmla="*/ 2980429 w 3148171"/>
                  <a:gd name="connsiteY16" fmla="*/ 922020 h 3147261"/>
                  <a:gd name="connsiteX17" fmla="*/ 2995669 w 3148171"/>
                  <a:gd name="connsiteY17" fmla="*/ 952500 h 3147261"/>
                  <a:gd name="connsiteX18" fmla="*/ 3010909 w 3148171"/>
                  <a:gd name="connsiteY18" fmla="*/ 998220 h 3147261"/>
                  <a:gd name="connsiteX19" fmla="*/ 3026149 w 3148171"/>
                  <a:gd name="connsiteY19" fmla="*/ 1036320 h 3147261"/>
                  <a:gd name="connsiteX20" fmla="*/ 3033769 w 3148171"/>
                  <a:gd name="connsiteY20" fmla="*/ 1066800 h 3147261"/>
                  <a:gd name="connsiteX21" fmla="*/ 3056629 w 3148171"/>
                  <a:gd name="connsiteY21" fmla="*/ 1104900 h 3147261"/>
                  <a:gd name="connsiteX22" fmla="*/ 3071869 w 3148171"/>
                  <a:gd name="connsiteY22" fmla="*/ 1150620 h 3147261"/>
                  <a:gd name="connsiteX23" fmla="*/ 3087109 w 3148171"/>
                  <a:gd name="connsiteY23" fmla="*/ 1181100 h 3147261"/>
                  <a:gd name="connsiteX24" fmla="*/ 3094729 w 3148171"/>
                  <a:gd name="connsiteY24" fmla="*/ 1226820 h 3147261"/>
                  <a:gd name="connsiteX25" fmla="*/ 3102349 w 3148171"/>
                  <a:gd name="connsiteY25" fmla="*/ 1280160 h 3147261"/>
                  <a:gd name="connsiteX26" fmla="*/ 3117589 w 3148171"/>
                  <a:gd name="connsiteY26" fmla="*/ 1371600 h 3147261"/>
                  <a:gd name="connsiteX27" fmla="*/ 3132829 w 3148171"/>
                  <a:gd name="connsiteY27" fmla="*/ 1417320 h 3147261"/>
                  <a:gd name="connsiteX28" fmla="*/ 3140449 w 3148171"/>
                  <a:gd name="connsiteY28" fmla="*/ 1485900 h 3147261"/>
                  <a:gd name="connsiteX29" fmla="*/ 3148069 w 3148171"/>
                  <a:gd name="connsiteY29" fmla="*/ 1516380 h 3147261"/>
                  <a:gd name="connsiteX30" fmla="*/ 3132829 w 3148171"/>
                  <a:gd name="connsiteY30" fmla="*/ 1691640 h 3147261"/>
                  <a:gd name="connsiteX31" fmla="*/ 3125209 w 3148171"/>
                  <a:gd name="connsiteY31" fmla="*/ 1767840 h 3147261"/>
                  <a:gd name="connsiteX32" fmla="*/ 3109969 w 3148171"/>
                  <a:gd name="connsiteY32" fmla="*/ 1836420 h 3147261"/>
                  <a:gd name="connsiteX33" fmla="*/ 3087109 w 3148171"/>
                  <a:gd name="connsiteY33" fmla="*/ 1905000 h 3147261"/>
                  <a:gd name="connsiteX34" fmla="*/ 3079489 w 3148171"/>
                  <a:gd name="connsiteY34" fmla="*/ 1935480 h 3147261"/>
                  <a:gd name="connsiteX35" fmla="*/ 3071869 w 3148171"/>
                  <a:gd name="connsiteY35" fmla="*/ 1958340 h 3147261"/>
                  <a:gd name="connsiteX36" fmla="*/ 3056629 w 3148171"/>
                  <a:gd name="connsiteY36" fmla="*/ 2019300 h 3147261"/>
                  <a:gd name="connsiteX37" fmla="*/ 3041389 w 3148171"/>
                  <a:gd name="connsiteY37" fmla="*/ 2057400 h 3147261"/>
                  <a:gd name="connsiteX38" fmla="*/ 3033769 w 3148171"/>
                  <a:gd name="connsiteY38" fmla="*/ 2080260 h 3147261"/>
                  <a:gd name="connsiteX39" fmla="*/ 3018529 w 3148171"/>
                  <a:gd name="connsiteY39" fmla="*/ 2118360 h 3147261"/>
                  <a:gd name="connsiteX40" fmla="*/ 2995669 w 3148171"/>
                  <a:gd name="connsiteY40" fmla="*/ 2186940 h 3147261"/>
                  <a:gd name="connsiteX41" fmla="*/ 2988049 w 3148171"/>
                  <a:gd name="connsiteY41" fmla="*/ 2225040 h 3147261"/>
                  <a:gd name="connsiteX42" fmla="*/ 2972809 w 3148171"/>
                  <a:gd name="connsiteY42" fmla="*/ 2270760 h 3147261"/>
                  <a:gd name="connsiteX43" fmla="*/ 2965189 w 3148171"/>
                  <a:gd name="connsiteY43" fmla="*/ 2308860 h 3147261"/>
                  <a:gd name="connsiteX44" fmla="*/ 2949949 w 3148171"/>
                  <a:gd name="connsiteY44" fmla="*/ 2331720 h 3147261"/>
                  <a:gd name="connsiteX45" fmla="*/ 2927089 w 3148171"/>
                  <a:gd name="connsiteY45" fmla="*/ 2385060 h 3147261"/>
                  <a:gd name="connsiteX46" fmla="*/ 2904229 w 3148171"/>
                  <a:gd name="connsiteY46" fmla="*/ 2407920 h 3147261"/>
                  <a:gd name="connsiteX47" fmla="*/ 2858509 w 3148171"/>
                  <a:gd name="connsiteY47" fmla="*/ 2499360 h 3147261"/>
                  <a:gd name="connsiteX48" fmla="*/ 2843269 w 3148171"/>
                  <a:gd name="connsiteY48" fmla="*/ 2529840 h 3147261"/>
                  <a:gd name="connsiteX49" fmla="*/ 2835649 w 3148171"/>
                  <a:gd name="connsiteY49" fmla="*/ 2552700 h 3147261"/>
                  <a:gd name="connsiteX50" fmla="*/ 2759449 w 3148171"/>
                  <a:gd name="connsiteY50" fmla="*/ 2636520 h 3147261"/>
                  <a:gd name="connsiteX51" fmla="*/ 2706109 w 3148171"/>
                  <a:gd name="connsiteY51" fmla="*/ 2667000 h 3147261"/>
                  <a:gd name="connsiteX52" fmla="*/ 2302249 w 3148171"/>
                  <a:gd name="connsiteY52" fmla="*/ 2971800 h 3147261"/>
                  <a:gd name="connsiteX53" fmla="*/ 2195569 w 3148171"/>
                  <a:gd name="connsiteY53" fmla="*/ 3025140 h 3147261"/>
                  <a:gd name="connsiteX54" fmla="*/ 2096509 w 3148171"/>
                  <a:gd name="connsiteY54" fmla="*/ 3055620 h 3147261"/>
                  <a:gd name="connsiteX55" fmla="*/ 1913629 w 3148171"/>
                  <a:gd name="connsiteY55" fmla="*/ 3108960 h 3147261"/>
                  <a:gd name="connsiteX56" fmla="*/ 1799329 w 3148171"/>
                  <a:gd name="connsiteY56" fmla="*/ 3147060 h 3147261"/>
                  <a:gd name="connsiteX57" fmla="*/ 1334509 w 3148171"/>
                  <a:gd name="connsiteY57" fmla="*/ 3108960 h 3147261"/>
                  <a:gd name="connsiteX58" fmla="*/ 793489 w 3148171"/>
                  <a:gd name="connsiteY58" fmla="*/ 2933700 h 3147261"/>
                  <a:gd name="connsiteX59" fmla="*/ 420109 w 3148171"/>
                  <a:gd name="connsiteY59" fmla="*/ 2644140 h 3147261"/>
                  <a:gd name="connsiteX60" fmla="*/ 321049 w 3148171"/>
                  <a:gd name="connsiteY60" fmla="*/ 2484120 h 3147261"/>
                  <a:gd name="connsiteX61" fmla="*/ 298189 w 3148171"/>
                  <a:gd name="connsiteY61" fmla="*/ 2430780 h 3147261"/>
                  <a:gd name="connsiteX62" fmla="*/ 275329 w 3148171"/>
                  <a:gd name="connsiteY62" fmla="*/ 2377440 h 3147261"/>
                  <a:gd name="connsiteX63" fmla="*/ 229609 w 3148171"/>
                  <a:gd name="connsiteY63" fmla="*/ 2316480 h 3147261"/>
                  <a:gd name="connsiteX64" fmla="*/ 206749 w 3148171"/>
                  <a:gd name="connsiteY64" fmla="*/ 2293620 h 3147261"/>
                  <a:gd name="connsiteX65" fmla="*/ 176269 w 3148171"/>
                  <a:gd name="connsiteY65" fmla="*/ 2240280 h 3147261"/>
                  <a:gd name="connsiteX66" fmla="*/ 161029 w 3148171"/>
                  <a:gd name="connsiteY66" fmla="*/ 2202180 h 3147261"/>
                  <a:gd name="connsiteX67" fmla="*/ 145789 w 3148171"/>
                  <a:gd name="connsiteY67" fmla="*/ 2179320 h 3147261"/>
                  <a:gd name="connsiteX68" fmla="*/ 130549 w 3148171"/>
                  <a:gd name="connsiteY68" fmla="*/ 2133600 h 3147261"/>
                  <a:gd name="connsiteX69" fmla="*/ 100069 w 3148171"/>
                  <a:gd name="connsiteY69" fmla="*/ 2087880 h 3147261"/>
                  <a:gd name="connsiteX70" fmla="*/ 61969 w 3148171"/>
                  <a:gd name="connsiteY70" fmla="*/ 2026920 h 3147261"/>
                  <a:gd name="connsiteX71" fmla="*/ 54349 w 3148171"/>
                  <a:gd name="connsiteY71" fmla="*/ 2004060 h 3147261"/>
                  <a:gd name="connsiteX72" fmla="*/ 39109 w 3148171"/>
                  <a:gd name="connsiteY72" fmla="*/ 1943100 h 3147261"/>
                  <a:gd name="connsiteX73" fmla="*/ 23869 w 3148171"/>
                  <a:gd name="connsiteY73" fmla="*/ 1897380 h 3147261"/>
                  <a:gd name="connsiteX74" fmla="*/ 1009 w 3148171"/>
                  <a:gd name="connsiteY74" fmla="*/ 1562100 h 3147261"/>
                  <a:gd name="connsiteX75" fmla="*/ 54349 w 3148171"/>
                  <a:gd name="connsiteY75" fmla="*/ 1135380 h 3147261"/>
                  <a:gd name="connsiteX76" fmla="*/ 161029 w 3148171"/>
                  <a:gd name="connsiteY76" fmla="*/ 861060 h 3147261"/>
                  <a:gd name="connsiteX77" fmla="*/ 183889 w 3148171"/>
                  <a:gd name="connsiteY77" fmla="*/ 822960 h 3147261"/>
                  <a:gd name="connsiteX78" fmla="*/ 260089 w 3148171"/>
                  <a:gd name="connsiteY78" fmla="*/ 708660 h 3147261"/>
                  <a:gd name="connsiteX79" fmla="*/ 275329 w 3148171"/>
                  <a:gd name="connsiteY79" fmla="*/ 662940 h 3147261"/>
                  <a:gd name="connsiteX80" fmla="*/ 420109 w 3148171"/>
                  <a:gd name="connsiteY80" fmla="*/ 510540 h 3147261"/>
                  <a:gd name="connsiteX81" fmla="*/ 511549 w 3148171"/>
                  <a:gd name="connsiteY81" fmla="*/ 434340 h 3147261"/>
                  <a:gd name="connsiteX82" fmla="*/ 564889 w 3148171"/>
                  <a:gd name="connsiteY82" fmla="*/ 396240 h 3147261"/>
                  <a:gd name="connsiteX83" fmla="*/ 656329 w 3148171"/>
                  <a:gd name="connsiteY83" fmla="*/ 312420 h 3147261"/>
                  <a:gd name="connsiteX84" fmla="*/ 869689 w 3148171"/>
                  <a:gd name="connsiteY84" fmla="*/ 175260 h 3147261"/>
                  <a:gd name="connsiteX85" fmla="*/ 976369 w 3148171"/>
                  <a:gd name="connsiteY85" fmla="*/ 137160 h 3147261"/>
                  <a:gd name="connsiteX86" fmla="*/ 1105909 w 3148171"/>
                  <a:gd name="connsiteY86" fmla="*/ 76200 h 3147261"/>
                  <a:gd name="connsiteX87" fmla="*/ 1243069 w 3148171"/>
                  <a:gd name="connsiteY87" fmla="*/ 38100 h 3147261"/>
                  <a:gd name="connsiteX88" fmla="*/ 1265929 w 3148171"/>
                  <a:gd name="connsiteY88" fmla="*/ 30480 h 3147261"/>
                  <a:gd name="connsiteX89" fmla="*/ 1387849 w 3148171"/>
                  <a:gd name="connsiteY89" fmla="*/ 15240 h 3147261"/>
                  <a:gd name="connsiteX90" fmla="*/ 1464049 w 3148171"/>
                  <a:gd name="connsiteY90" fmla="*/ 0 h 3147261"/>
                  <a:gd name="connsiteX91" fmla="*/ 1745989 w 3148171"/>
                  <a:gd name="connsiteY91" fmla="*/ 0 h 3147261"/>
                  <a:gd name="connsiteX92" fmla="*/ 2165089 w 3148171"/>
                  <a:gd name="connsiteY92" fmla="*/ 99060 h 3147261"/>
                  <a:gd name="connsiteX93" fmla="*/ 2340349 w 3148171"/>
                  <a:gd name="connsiteY93" fmla="*/ 182880 h 3147261"/>
                  <a:gd name="connsiteX94" fmla="*/ 2370829 w 3148171"/>
                  <a:gd name="connsiteY94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584189 w 3148171"/>
                  <a:gd name="connsiteY5" fmla="*/ 388620 h 3147261"/>
                  <a:gd name="connsiteX6" fmla="*/ 2629909 w 3148171"/>
                  <a:gd name="connsiteY6" fmla="*/ 434340 h 3147261"/>
                  <a:gd name="connsiteX7" fmla="*/ 2706109 w 3148171"/>
                  <a:gd name="connsiteY7" fmla="*/ 487680 h 3147261"/>
                  <a:gd name="connsiteX8" fmla="*/ 2728969 w 3148171"/>
                  <a:gd name="connsiteY8" fmla="*/ 510540 h 3147261"/>
                  <a:gd name="connsiteX9" fmla="*/ 2789929 w 3148171"/>
                  <a:gd name="connsiteY9" fmla="*/ 594360 h 3147261"/>
                  <a:gd name="connsiteX10" fmla="*/ 2850889 w 3148171"/>
                  <a:gd name="connsiteY10" fmla="*/ 662940 h 3147261"/>
                  <a:gd name="connsiteX11" fmla="*/ 2873749 w 3148171"/>
                  <a:gd name="connsiteY11" fmla="*/ 701040 h 3147261"/>
                  <a:gd name="connsiteX12" fmla="*/ 2911849 w 3148171"/>
                  <a:gd name="connsiteY12" fmla="*/ 762000 h 3147261"/>
                  <a:gd name="connsiteX13" fmla="*/ 2949949 w 3148171"/>
                  <a:gd name="connsiteY13" fmla="*/ 845820 h 3147261"/>
                  <a:gd name="connsiteX14" fmla="*/ 2957569 w 3148171"/>
                  <a:gd name="connsiteY14" fmla="*/ 868680 h 3147261"/>
                  <a:gd name="connsiteX15" fmla="*/ 2980429 w 3148171"/>
                  <a:gd name="connsiteY15" fmla="*/ 922020 h 3147261"/>
                  <a:gd name="connsiteX16" fmla="*/ 2995669 w 3148171"/>
                  <a:gd name="connsiteY16" fmla="*/ 952500 h 3147261"/>
                  <a:gd name="connsiteX17" fmla="*/ 3010909 w 3148171"/>
                  <a:gd name="connsiteY17" fmla="*/ 998220 h 3147261"/>
                  <a:gd name="connsiteX18" fmla="*/ 3026149 w 3148171"/>
                  <a:gd name="connsiteY18" fmla="*/ 1036320 h 3147261"/>
                  <a:gd name="connsiteX19" fmla="*/ 3033769 w 3148171"/>
                  <a:gd name="connsiteY19" fmla="*/ 1066800 h 3147261"/>
                  <a:gd name="connsiteX20" fmla="*/ 3056629 w 3148171"/>
                  <a:gd name="connsiteY20" fmla="*/ 1104900 h 3147261"/>
                  <a:gd name="connsiteX21" fmla="*/ 3071869 w 3148171"/>
                  <a:gd name="connsiteY21" fmla="*/ 1150620 h 3147261"/>
                  <a:gd name="connsiteX22" fmla="*/ 3087109 w 3148171"/>
                  <a:gd name="connsiteY22" fmla="*/ 1181100 h 3147261"/>
                  <a:gd name="connsiteX23" fmla="*/ 3094729 w 3148171"/>
                  <a:gd name="connsiteY23" fmla="*/ 1226820 h 3147261"/>
                  <a:gd name="connsiteX24" fmla="*/ 3102349 w 3148171"/>
                  <a:gd name="connsiteY24" fmla="*/ 1280160 h 3147261"/>
                  <a:gd name="connsiteX25" fmla="*/ 3117589 w 3148171"/>
                  <a:gd name="connsiteY25" fmla="*/ 1371600 h 3147261"/>
                  <a:gd name="connsiteX26" fmla="*/ 3132829 w 3148171"/>
                  <a:gd name="connsiteY26" fmla="*/ 1417320 h 3147261"/>
                  <a:gd name="connsiteX27" fmla="*/ 3140449 w 3148171"/>
                  <a:gd name="connsiteY27" fmla="*/ 1485900 h 3147261"/>
                  <a:gd name="connsiteX28" fmla="*/ 3148069 w 3148171"/>
                  <a:gd name="connsiteY28" fmla="*/ 1516380 h 3147261"/>
                  <a:gd name="connsiteX29" fmla="*/ 3132829 w 3148171"/>
                  <a:gd name="connsiteY29" fmla="*/ 1691640 h 3147261"/>
                  <a:gd name="connsiteX30" fmla="*/ 3125209 w 3148171"/>
                  <a:gd name="connsiteY30" fmla="*/ 1767840 h 3147261"/>
                  <a:gd name="connsiteX31" fmla="*/ 3109969 w 3148171"/>
                  <a:gd name="connsiteY31" fmla="*/ 1836420 h 3147261"/>
                  <a:gd name="connsiteX32" fmla="*/ 3087109 w 3148171"/>
                  <a:gd name="connsiteY32" fmla="*/ 1905000 h 3147261"/>
                  <a:gd name="connsiteX33" fmla="*/ 3079489 w 3148171"/>
                  <a:gd name="connsiteY33" fmla="*/ 1935480 h 3147261"/>
                  <a:gd name="connsiteX34" fmla="*/ 3071869 w 3148171"/>
                  <a:gd name="connsiteY34" fmla="*/ 1958340 h 3147261"/>
                  <a:gd name="connsiteX35" fmla="*/ 3056629 w 3148171"/>
                  <a:gd name="connsiteY35" fmla="*/ 2019300 h 3147261"/>
                  <a:gd name="connsiteX36" fmla="*/ 3041389 w 3148171"/>
                  <a:gd name="connsiteY36" fmla="*/ 2057400 h 3147261"/>
                  <a:gd name="connsiteX37" fmla="*/ 3033769 w 3148171"/>
                  <a:gd name="connsiteY37" fmla="*/ 2080260 h 3147261"/>
                  <a:gd name="connsiteX38" fmla="*/ 3018529 w 3148171"/>
                  <a:gd name="connsiteY38" fmla="*/ 2118360 h 3147261"/>
                  <a:gd name="connsiteX39" fmla="*/ 2995669 w 3148171"/>
                  <a:gd name="connsiteY39" fmla="*/ 2186940 h 3147261"/>
                  <a:gd name="connsiteX40" fmla="*/ 2988049 w 3148171"/>
                  <a:gd name="connsiteY40" fmla="*/ 2225040 h 3147261"/>
                  <a:gd name="connsiteX41" fmla="*/ 2972809 w 3148171"/>
                  <a:gd name="connsiteY41" fmla="*/ 2270760 h 3147261"/>
                  <a:gd name="connsiteX42" fmla="*/ 2965189 w 3148171"/>
                  <a:gd name="connsiteY42" fmla="*/ 2308860 h 3147261"/>
                  <a:gd name="connsiteX43" fmla="*/ 2949949 w 3148171"/>
                  <a:gd name="connsiteY43" fmla="*/ 2331720 h 3147261"/>
                  <a:gd name="connsiteX44" fmla="*/ 2927089 w 3148171"/>
                  <a:gd name="connsiteY44" fmla="*/ 2385060 h 3147261"/>
                  <a:gd name="connsiteX45" fmla="*/ 2904229 w 3148171"/>
                  <a:gd name="connsiteY45" fmla="*/ 2407920 h 3147261"/>
                  <a:gd name="connsiteX46" fmla="*/ 2858509 w 3148171"/>
                  <a:gd name="connsiteY46" fmla="*/ 2499360 h 3147261"/>
                  <a:gd name="connsiteX47" fmla="*/ 2843269 w 3148171"/>
                  <a:gd name="connsiteY47" fmla="*/ 2529840 h 3147261"/>
                  <a:gd name="connsiteX48" fmla="*/ 2835649 w 3148171"/>
                  <a:gd name="connsiteY48" fmla="*/ 2552700 h 3147261"/>
                  <a:gd name="connsiteX49" fmla="*/ 2759449 w 3148171"/>
                  <a:gd name="connsiteY49" fmla="*/ 2636520 h 3147261"/>
                  <a:gd name="connsiteX50" fmla="*/ 2706109 w 3148171"/>
                  <a:gd name="connsiteY50" fmla="*/ 2667000 h 3147261"/>
                  <a:gd name="connsiteX51" fmla="*/ 2302249 w 3148171"/>
                  <a:gd name="connsiteY51" fmla="*/ 2971800 h 3147261"/>
                  <a:gd name="connsiteX52" fmla="*/ 2195569 w 3148171"/>
                  <a:gd name="connsiteY52" fmla="*/ 3025140 h 3147261"/>
                  <a:gd name="connsiteX53" fmla="*/ 2096509 w 3148171"/>
                  <a:gd name="connsiteY53" fmla="*/ 3055620 h 3147261"/>
                  <a:gd name="connsiteX54" fmla="*/ 1913629 w 3148171"/>
                  <a:gd name="connsiteY54" fmla="*/ 3108960 h 3147261"/>
                  <a:gd name="connsiteX55" fmla="*/ 1799329 w 3148171"/>
                  <a:gd name="connsiteY55" fmla="*/ 3147060 h 3147261"/>
                  <a:gd name="connsiteX56" fmla="*/ 1334509 w 3148171"/>
                  <a:gd name="connsiteY56" fmla="*/ 3108960 h 3147261"/>
                  <a:gd name="connsiteX57" fmla="*/ 793489 w 3148171"/>
                  <a:gd name="connsiteY57" fmla="*/ 2933700 h 3147261"/>
                  <a:gd name="connsiteX58" fmla="*/ 420109 w 3148171"/>
                  <a:gd name="connsiteY58" fmla="*/ 2644140 h 3147261"/>
                  <a:gd name="connsiteX59" fmla="*/ 321049 w 3148171"/>
                  <a:gd name="connsiteY59" fmla="*/ 2484120 h 3147261"/>
                  <a:gd name="connsiteX60" fmla="*/ 298189 w 3148171"/>
                  <a:gd name="connsiteY60" fmla="*/ 2430780 h 3147261"/>
                  <a:gd name="connsiteX61" fmla="*/ 275329 w 3148171"/>
                  <a:gd name="connsiteY61" fmla="*/ 2377440 h 3147261"/>
                  <a:gd name="connsiteX62" fmla="*/ 229609 w 3148171"/>
                  <a:gd name="connsiteY62" fmla="*/ 2316480 h 3147261"/>
                  <a:gd name="connsiteX63" fmla="*/ 206749 w 3148171"/>
                  <a:gd name="connsiteY63" fmla="*/ 2293620 h 3147261"/>
                  <a:gd name="connsiteX64" fmla="*/ 176269 w 3148171"/>
                  <a:gd name="connsiteY64" fmla="*/ 2240280 h 3147261"/>
                  <a:gd name="connsiteX65" fmla="*/ 161029 w 3148171"/>
                  <a:gd name="connsiteY65" fmla="*/ 2202180 h 3147261"/>
                  <a:gd name="connsiteX66" fmla="*/ 145789 w 3148171"/>
                  <a:gd name="connsiteY66" fmla="*/ 2179320 h 3147261"/>
                  <a:gd name="connsiteX67" fmla="*/ 130549 w 3148171"/>
                  <a:gd name="connsiteY67" fmla="*/ 2133600 h 3147261"/>
                  <a:gd name="connsiteX68" fmla="*/ 100069 w 3148171"/>
                  <a:gd name="connsiteY68" fmla="*/ 2087880 h 3147261"/>
                  <a:gd name="connsiteX69" fmla="*/ 61969 w 3148171"/>
                  <a:gd name="connsiteY69" fmla="*/ 2026920 h 3147261"/>
                  <a:gd name="connsiteX70" fmla="*/ 54349 w 3148171"/>
                  <a:gd name="connsiteY70" fmla="*/ 2004060 h 3147261"/>
                  <a:gd name="connsiteX71" fmla="*/ 39109 w 3148171"/>
                  <a:gd name="connsiteY71" fmla="*/ 1943100 h 3147261"/>
                  <a:gd name="connsiteX72" fmla="*/ 23869 w 3148171"/>
                  <a:gd name="connsiteY72" fmla="*/ 1897380 h 3147261"/>
                  <a:gd name="connsiteX73" fmla="*/ 1009 w 3148171"/>
                  <a:gd name="connsiteY73" fmla="*/ 1562100 h 3147261"/>
                  <a:gd name="connsiteX74" fmla="*/ 54349 w 3148171"/>
                  <a:gd name="connsiteY74" fmla="*/ 1135380 h 3147261"/>
                  <a:gd name="connsiteX75" fmla="*/ 161029 w 3148171"/>
                  <a:gd name="connsiteY75" fmla="*/ 861060 h 3147261"/>
                  <a:gd name="connsiteX76" fmla="*/ 183889 w 3148171"/>
                  <a:gd name="connsiteY76" fmla="*/ 822960 h 3147261"/>
                  <a:gd name="connsiteX77" fmla="*/ 260089 w 3148171"/>
                  <a:gd name="connsiteY77" fmla="*/ 708660 h 3147261"/>
                  <a:gd name="connsiteX78" fmla="*/ 275329 w 3148171"/>
                  <a:gd name="connsiteY78" fmla="*/ 662940 h 3147261"/>
                  <a:gd name="connsiteX79" fmla="*/ 420109 w 3148171"/>
                  <a:gd name="connsiteY79" fmla="*/ 510540 h 3147261"/>
                  <a:gd name="connsiteX80" fmla="*/ 511549 w 3148171"/>
                  <a:gd name="connsiteY80" fmla="*/ 434340 h 3147261"/>
                  <a:gd name="connsiteX81" fmla="*/ 564889 w 3148171"/>
                  <a:gd name="connsiteY81" fmla="*/ 396240 h 3147261"/>
                  <a:gd name="connsiteX82" fmla="*/ 656329 w 3148171"/>
                  <a:gd name="connsiteY82" fmla="*/ 312420 h 3147261"/>
                  <a:gd name="connsiteX83" fmla="*/ 869689 w 3148171"/>
                  <a:gd name="connsiteY83" fmla="*/ 175260 h 3147261"/>
                  <a:gd name="connsiteX84" fmla="*/ 976369 w 3148171"/>
                  <a:gd name="connsiteY84" fmla="*/ 137160 h 3147261"/>
                  <a:gd name="connsiteX85" fmla="*/ 1105909 w 3148171"/>
                  <a:gd name="connsiteY85" fmla="*/ 76200 h 3147261"/>
                  <a:gd name="connsiteX86" fmla="*/ 1243069 w 3148171"/>
                  <a:gd name="connsiteY86" fmla="*/ 38100 h 3147261"/>
                  <a:gd name="connsiteX87" fmla="*/ 1265929 w 3148171"/>
                  <a:gd name="connsiteY87" fmla="*/ 30480 h 3147261"/>
                  <a:gd name="connsiteX88" fmla="*/ 1387849 w 3148171"/>
                  <a:gd name="connsiteY88" fmla="*/ 15240 h 3147261"/>
                  <a:gd name="connsiteX89" fmla="*/ 1464049 w 3148171"/>
                  <a:gd name="connsiteY89" fmla="*/ 0 h 3147261"/>
                  <a:gd name="connsiteX90" fmla="*/ 1745989 w 3148171"/>
                  <a:gd name="connsiteY90" fmla="*/ 0 h 3147261"/>
                  <a:gd name="connsiteX91" fmla="*/ 2165089 w 3148171"/>
                  <a:gd name="connsiteY91" fmla="*/ 99060 h 3147261"/>
                  <a:gd name="connsiteX92" fmla="*/ 2340349 w 3148171"/>
                  <a:gd name="connsiteY92" fmla="*/ 182880 h 3147261"/>
                  <a:gd name="connsiteX93" fmla="*/ 2370829 w 3148171"/>
                  <a:gd name="connsiteY93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30849 w 3148171"/>
                  <a:gd name="connsiteY3" fmla="*/ 342900 h 3147261"/>
                  <a:gd name="connsiteX4" fmla="*/ 2553709 w 3148171"/>
                  <a:gd name="connsiteY4" fmla="*/ 373380 h 3147261"/>
                  <a:gd name="connsiteX5" fmla="*/ 2629909 w 3148171"/>
                  <a:gd name="connsiteY5" fmla="*/ 434340 h 3147261"/>
                  <a:gd name="connsiteX6" fmla="*/ 2706109 w 3148171"/>
                  <a:gd name="connsiteY6" fmla="*/ 487680 h 3147261"/>
                  <a:gd name="connsiteX7" fmla="*/ 2728969 w 3148171"/>
                  <a:gd name="connsiteY7" fmla="*/ 510540 h 3147261"/>
                  <a:gd name="connsiteX8" fmla="*/ 2789929 w 3148171"/>
                  <a:gd name="connsiteY8" fmla="*/ 594360 h 3147261"/>
                  <a:gd name="connsiteX9" fmla="*/ 2850889 w 3148171"/>
                  <a:gd name="connsiteY9" fmla="*/ 662940 h 3147261"/>
                  <a:gd name="connsiteX10" fmla="*/ 2873749 w 3148171"/>
                  <a:gd name="connsiteY10" fmla="*/ 701040 h 3147261"/>
                  <a:gd name="connsiteX11" fmla="*/ 2911849 w 3148171"/>
                  <a:gd name="connsiteY11" fmla="*/ 762000 h 3147261"/>
                  <a:gd name="connsiteX12" fmla="*/ 2949949 w 3148171"/>
                  <a:gd name="connsiteY12" fmla="*/ 845820 h 3147261"/>
                  <a:gd name="connsiteX13" fmla="*/ 2957569 w 3148171"/>
                  <a:gd name="connsiteY13" fmla="*/ 868680 h 3147261"/>
                  <a:gd name="connsiteX14" fmla="*/ 2980429 w 3148171"/>
                  <a:gd name="connsiteY14" fmla="*/ 922020 h 3147261"/>
                  <a:gd name="connsiteX15" fmla="*/ 2995669 w 3148171"/>
                  <a:gd name="connsiteY15" fmla="*/ 952500 h 3147261"/>
                  <a:gd name="connsiteX16" fmla="*/ 3010909 w 3148171"/>
                  <a:gd name="connsiteY16" fmla="*/ 998220 h 3147261"/>
                  <a:gd name="connsiteX17" fmla="*/ 3026149 w 3148171"/>
                  <a:gd name="connsiteY17" fmla="*/ 1036320 h 3147261"/>
                  <a:gd name="connsiteX18" fmla="*/ 3033769 w 3148171"/>
                  <a:gd name="connsiteY18" fmla="*/ 1066800 h 3147261"/>
                  <a:gd name="connsiteX19" fmla="*/ 3056629 w 3148171"/>
                  <a:gd name="connsiteY19" fmla="*/ 1104900 h 3147261"/>
                  <a:gd name="connsiteX20" fmla="*/ 3071869 w 3148171"/>
                  <a:gd name="connsiteY20" fmla="*/ 1150620 h 3147261"/>
                  <a:gd name="connsiteX21" fmla="*/ 3087109 w 3148171"/>
                  <a:gd name="connsiteY21" fmla="*/ 1181100 h 3147261"/>
                  <a:gd name="connsiteX22" fmla="*/ 3094729 w 3148171"/>
                  <a:gd name="connsiteY22" fmla="*/ 1226820 h 3147261"/>
                  <a:gd name="connsiteX23" fmla="*/ 3102349 w 3148171"/>
                  <a:gd name="connsiteY23" fmla="*/ 1280160 h 3147261"/>
                  <a:gd name="connsiteX24" fmla="*/ 3117589 w 3148171"/>
                  <a:gd name="connsiteY24" fmla="*/ 1371600 h 3147261"/>
                  <a:gd name="connsiteX25" fmla="*/ 3132829 w 3148171"/>
                  <a:gd name="connsiteY25" fmla="*/ 1417320 h 3147261"/>
                  <a:gd name="connsiteX26" fmla="*/ 3140449 w 3148171"/>
                  <a:gd name="connsiteY26" fmla="*/ 1485900 h 3147261"/>
                  <a:gd name="connsiteX27" fmla="*/ 3148069 w 3148171"/>
                  <a:gd name="connsiteY27" fmla="*/ 1516380 h 3147261"/>
                  <a:gd name="connsiteX28" fmla="*/ 3132829 w 3148171"/>
                  <a:gd name="connsiteY28" fmla="*/ 1691640 h 3147261"/>
                  <a:gd name="connsiteX29" fmla="*/ 3125209 w 3148171"/>
                  <a:gd name="connsiteY29" fmla="*/ 1767840 h 3147261"/>
                  <a:gd name="connsiteX30" fmla="*/ 3109969 w 3148171"/>
                  <a:gd name="connsiteY30" fmla="*/ 1836420 h 3147261"/>
                  <a:gd name="connsiteX31" fmla="*/ 3087109 w 3148171"/>
                  <a:gd name="connsiteY31" fmla="*/ 1905000 h 3147261"/>
                  <a:gd name="connsiteX32" fmla="*/ 3079489 w 3148171"/>
                  <a:gd name="connsiteY32" fmla="*/ 1935480 h 3147261"/>
                  <a:gd name="connsiteX33" fmla="*/ 3071869 w 3148171"/>
                  <a:gd name="connsiteY33" fmla="*/ 1958340 h 3147261"/>
                  <a:gd name="connsiteX34" fmla="*/ 3056629 w 3148171"/>
                  <a:gd name="connsiteY34" fmla="*/ 2019300 h 3147261"/>
                  <a:gd name="connsiteX35" fmla="*/ 3041389 w 3148171"/>
                  <a:gd name="connsiteY35" fmla="*/ 2057400 h 3147261"/>
                  <a:gd name="connsiteX36" fmla="*/ 3033769 w 3148171"/>
                  <a:gd name="connsiteY36" fmla="*/ 2080260 h 3147261"/>
                  <a:gd name="connsiteX37" fmla="*/ 3018529 w 3148171"/>
                  <a:gd name="connsiteY37" fmla="*/ 2118360 h 3147261"/>
                  <a:gd name="connsiteX38" fmla="*/ 2995669 w 3148171"/>
                  <a:gd name="connsiteY38" fmla="*/ 2186940 h 3147261"/>
                  <a:gd name="connsiteX39" fmla="*/ 2988049 w 3148171"/>
                  <a:gd name="connsiteY39" fmla="*/ 2225040 h 3147261"/>
                  <a:gd name="connsiteX40" fmla="*/ 2972809 w 3148171"/>
                  <a:gd name="connsiteY40" fmla="*/ 2270760 h 3147261"/>
                  <a:gd name="connsiteX41" fmla="*/ 2965189 w 3148171"/>
                  <a:gd name="connsiteY41" fmla="*/ 2308860 h 3147261"/>
                  <a:gd name="connsiteX42" fmla="*/ 2949949 w 3148171"/>
                  <a:gd name="connsiteY42" fmla="*/ 2331720 h 3147261"/>
                  <a:gd name="connsiteX43" fmla="*/ 2927089 w 3148171"/>
                  <a:gd name="connsiteY43" fmla="*/ 2385060 h 3147261"/>
                  <a:gd name="connsiteX44" fmla="*/ 2904229 w 3148171"/>
                  <a:gd name="connsiteY44" fmla="*/ 2407920 h 3147261"/>
                  <a:gd name="connsiteX45" fmla="*/ 2858509 w 3148171"/>
                  <a:gd name="connsiteY45" fmla="*/ 2499360 h 3147261"/>
                  <a:gd name="connsiteX46" fmla="*/ 2843269 w 3148171"/>
                  <a:gd name="connsiteY46" fmla="*/ 2529840 h 3147261"/>
                  <a:gd name="connsiteX47" fmla="*/ 2835649 w 3148171"/>
                  <a:gd name="connsiteY47" fmla="*/ 2552700 h 3147261"/>
                  <a:gd name="connsiteX48" fmla="*/ 2759449 w 3148171"/>
                  <a:gd name="connsiteY48" fmla="*/ 2636520 h 3147261"/>
                  <a:gd name="connsiteX49" fmla="*/ 2706109 w 3148171"/>
                  <a:gd name="connsiteY49" fmla="*/ 2667000 h 3147261"/>
                  <a:gd name="connsiteX50" fmla="*/ 2302249 w 3148171"/>
                  <a:gd name="connsiteY50" fmla="*/ 2971800 h 3147261"/>
                  <a:gd name="connsiteX51" fmla="*/ 2195569 w 3148171"/>
                  <a:gd name="connsiteY51" fmla="*/ 3025140 h 3147261"/>
                  <a:gd name="connsiteX52" fmla="*/ 2096509 w 3148171"/>
                  <a:gd name="connsiteY52" fmla="*/ 3055620 h 3147261"/>
                  <a:gd name="connsiteX53" fmla="*/ 1913629 w 3148171"/>
                  <a:gd name="connsiteY53" fmla="*/ 3108960 h 3147261"/>
                  <a:gd name="connsiteX54" fmla="*/ 1799329 w 3148171"/>
                  <a:gd name="connsiteY54" fmla="*/ 3147060 h 3147261"/>
                  <a:gd name="connsiteX55" fmla="*/ 1334509 w 3148171"/>
                  <a:gd name="connsiteY55" fmla="*/ 3108960 h 3147261"/>
                  <a:gd name="connsiteX56" fmla="*/ 793489 w 3148171"/>
                  <a:gd name="connsiteY56" fmla="*/ 2933700 h 3147261"/>
                  <a:gd name="connsiteX57" fmla="*/ 420109 w 3148171"/>
                  <a:gd name="connsiteY57" fmla="*/ 2644140 h 3147261"/>
                  <a:gd name="connsiteX58" fmla="*/ 321049 w 3148171"/>
                  <a:gd name="connsiteY58" fmla="*/ 2484120 h 3147261"/>
                  <a:gd name="connsiteX59" fmla="*/ 298189 w 3148171"/>
                  <a:gd name="connsiteY59" fmla="*/ 2430780 h 3147261"/>
                  <a:gd name="connsiteX60" fmla="*/ 275329 w 3148171"/>
                  <a:gd name="connsiteY60" fmla="*/ 2377440 h 3147261"/>
                  <a:gd name="connsiteX61" fmla="*/ 229609 w 3148171"/>
                  <a:gd name="connsiteY61" fmla="*/ 2316480 h 3147261"/>
                  <a:gd name="connsiteX62" fmla="*/ 206749 w 3148171"/>
                  <a:gd name="connsiteY62" fmla="*/ 2293620 h 3147261"/>
                  <a:gd name="connsiteX63" fmla="*/ 176269 w 3148171"/>
                  <a:gd name="connsiteY63" fmla="*/ 2240280 h 3147261"/>
                  <a:gd name="connsiteX64" fmla="*/ 161029 w 3148171"/>
                  <a:gd name="connsiteY64" fmla="*/ 2202180 h 3147261"/>
                  <a:gd name="connsiteX65" fmla="*/ 145789 w 3148171"/>
                  <a:gd name="connsiteY65" fmla="*/ 2179320 h 3147261"/>
                  <a:gd name="connsiteX66" fmla="*/ 130549 w 3148171"/>
                  <a:gd name="connsiteY66" fmla="*/ 2133600 h 3147261"/>
                  <a:gd name="connsiteX67" fmla="*/ 100069 w 3148171"/>
                  <a:gd name="connsiteY67" fmla="*/ 2087880 h 3147261"/>
                  <a:gd name="connsiteX68" fmla="*/ 61969 w 3148171"/>
                  <a:gd name="connsiteY68" fmla="*/ 2026920 h 3147261"/>
                  <a:gd name="connsiteX69" fmla="*/ 54349 w 3148171"/>
                  <a:gd name="connsiteY69" fmla="*/ 2004060 h 3147261"/>
                  <a:gd name="connsiteX70" fmla="*/ 39109 w 3148171"/>
                  <a:gd name="connsiteY70" fmla="*/ 1943100 h 3147261"/>
                  <a:gd name="connsiteX71" fmla="*/ 23869 w 3148171"/>
                  <a:gd name="connsiteY71" fmla="*/ 1897380 h 3147261"/>
                  <a:gd name="connsiteX72" fmla="*/ 1009 w 3148171"/>
                  <a:gd name="connsiteY72" fmla="*/ 1562100 h 3147261"/>
                  <a:gd name="connsiteX73" fmla="*/ 54349 w 3148171"/>
                  <a:gd name="connsiteY73" fmla="*/ 1135380 h 3147261"/>
                  <a:gd name="connsiteX74" fmla="*/ 161029 w 3148171"/>
                  <a:gd name="connsiteY74" fmla="*/ 861060 h 3147261"/>
                  <a:gd name="connsiteX75" fmla="*/ 183889 w 3148171"/>
                  <a:gd name="connsiteY75" fmla="*/ 822960 h 3147261"/>
                  <a:gd name="connsiteX76" fmla="*/ 260089 w 3148171"/>
                  <a:gd name="connsiteY76" fmla="*/ 708660 h 3147261"/>
                  <a:gd name="connsiteX77" fmla="*/ 275329 w 3148171"/>
                  <a:gd name="connsiteY77" fmla="*/ 662940 h 3147261"/>
                  <a:gd name="connsiteX78" fmla="*/ 420109 w 3148171"/>
                  <a:gd name="connsiteY78" fmla="*/ 510540 h 3147261"/>
                  <a:gd name="connsiteX79" fmla="*/ 511549 w 3148171"/>
                  <a:gd name="connsiteY79" fmla="*/ 434340 h 3147261"/>
                  <a:gd name="connsiteX80" fmla="*/ 564889 w 3148171"/>
                  <a:gd name="connsiteY80" fmla="*/ 396240 h 3147261"/>
                  <a:gd name="connsiteX81" fmla="*/ 656329 w 3148171"/>
                  <a:gd name="connsiteY81" fmla="*/ 312420 h 3147261"/>
                  <a:gd name="connsiteX82" fmla="*/ 869689 w 3148171"/>
                  <a:gd name="connsiteY82" fmla="*/ 175260 h 3147261"/>
                  <a:gd name="connsiteX83" fmla="*/ 976369 w 3148171"/>
                  <a:gd name="connsiteY83" fmla="*/ 137160 h 3147261"/>
                  <a:gd name="connsiteX84" fmla="*/ 1105909 w 3148171"/>
                  <a:gd name="connsiteY84" fmla="*/ 76200 h 3147261"/>
                  <a:gd name="connsiteX85" fmla="*/ 1243069 w 3148171"/>
                  <a:gd name="connsiteY85" fmla="*/ 38100 h 3147261"/>
                  <a:gd name="connsiteX86" fmla="*/ 1265929 w 3148171"/>
                  <a:gd name="connsiteY86" fmla="*/ 30480 h 3147261"/>
                  <a:gd name="connsiteX87" fmla="*/ 1387849 w 3148171"/>
                  <a:gd name="connsiteY87" fmla="*/ 15240 h 3147261"/>
                  <a:gd name="connsiteX88" fmla="*/ 1464049 w 3148171"/>
                  <a:gd name="connsiteY88" fmla="*/ 0 h 3147261"/>
                  <a:gd name="connsiteX89" fmla="*/ 1745989 w 3148171"/>
                  <a:gd name="connsiteY89" fmla="*/ 0 h 3147261"/>
                  <a:gd name="connsiteX90" fmla="*/ 2165089 w 3148171"/>
                  <a:gd name="connsiteY90" fmla="*/ 99060 h 3147261"/>
                  <a:gd name="connsiteX91" fmla="*/ 2340349 w 3148171"/>
                  <a:gd name="connsiteY91" fmla="*/ 182880 h 3147261"/>
                  <a:gd name="connsiteX92" fmla="*/ 2370829 w 3148171"/>
                  <a:gd name="connsiteY92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553709 w 3148171"/>
                  <a:gd name="connsiteY3" fmla="*/ 373380 h 3147261"/>
                  <a:gd name="connsiteX4" fmla="*/ 2629909 w 3148171"/>
                  <a:gd name="connsiteY4" fmla="*/ 434340 h 3147261"/>
                  <a:gd name="connsiteX5" fmla="*/ 2706109 w 3148171"/>
                  <a:gd name="connsiteY5" fmla="*/ 487680 h 3147261"/>
                  <a:gd name="connsiteX6" fmla="*/ 2728969 w 3148171"/>
                  <a:gd name="connsiteY6" fmla="*/ 510540 h 3147261"/>
                  <a:gd name="connsiteX7" fmla="*/ 2789929 w 3148171"/>
                  <a:gd name="connsiteY7" fmla="*/ 594360 h 3147261"/>
                  <a:gd name="connsiteX8" fmla="*/ 2850889 w 3148171"/>
                  <a:gd name="connsiteY8" fmla="*/ 662940 h 3147261"/>
                  <a:gd name="connsiteX9" fmla="*/ 2873749 w 3148171"/>
                  <a:gd name="connsiteY9" fmla="*/ 701040 h 3147261"/>
                  <a:gd name="connsiteX10" fmla="*/ 2911849 w 3148171"/>
                  <a:gd name="connsiteY10" fmla="*/ 762000 h 3147261"/>
                  <a:gd name="connsiteX11" fmla="*/ 2949949 w 3148171"/>
                  <a:gd name="connsiteY11" fmla="*/ 845820 h 3147261"/>
                  <a:gd name="connsiteX12" fmla="*/ 2957569 w 3148171"/>
                  <a:gd name="connsiteY12" fmla="*/ 868680 h 3147261"/>
                  <a:gd name="connsiteX13" fmla="*/ 2980429 w 3148171"/>
                  <a:gd name="connsiteY13" fmla="*/ 922020 h 3147261"/>
                  <a:gd name="connsiteX14" fmla="*/ 2995669 w 3148171"/>
                  <a:gd name="connsiteY14" fmla="*/ 952500 h 3147261"/>
                  <a:gd name="connsiteX15" fmla="*/ 3010909 w 3148171"/>
                  <a:gd name="connsiteY15" fmla="*/ 998220 h 3147261"/>
                  <a:gd name="connsiteX16" fmla="*/ 3026149 w 3148171"/>
                  <a:gd name="connsiteY16" fmla="*/ 1036320 h 3147261"/>
                  <a:gd name="connsiteX17" fmla="*/ 3033769 w 3148171"/>
                  <a:gd name="connsiteY17" fmla="*/ 1066800 h 3147261"/>
                  <a:gd name="connsiteX18" fmla="*/ 3056629 w 3148171"/>
                  <a:gd name="connsiteY18" fmla="*/ 1104900 h 3147261"/>
                  <a:gd name="connsiteX19" fmla="*/ 3071869 w 3148171"/>
                  <a:gd name="connsiteY19" fmla="*/ 1150620 h 3147261"/>
                  <a:gd name="connsiteX20" fmla="*/ 3087109 w 3148171"/>
                  <a:gd name="connsiteY20" fmla="*/ 1181100 h 3147261"/>
                  <a:gd name="connsiteX21" fmla="*/ 3094729 w 3148171"/>
                  <a:gd name="connsiteY21" fmla="*/ 1226820 h 3147261"/>
                  <a:gd name="connsiteX22" fmla="*/ 3102349 w 3148171"/>
                  <a:gd name="connsiteY22" fmla="*/ 1280160 h 3147261"/>
                  <a:gd name="connsiteX23" fmla="*/ 3117589 w 3148171"/>
                  <a:gd name="connsiteY23" fmla="*/ 1371600 h 3147261"/>
                  <a:gd name="connsiteX24" fmla="*/ 3132829 w 3148171"/>
                  <a:gd name="connsiteY24" fmla="*/ 1417320 h 3147261"/>
                  <a:gd name="connsiteX25" fmla="*/ 3140449 w 3148171"/>
                  <a:gd name="connsiteY25" fmla="*/ 1485900 h 3147261"/>
                  <a:gd name="connsiteX26" fmla="*/ 3148069 w 3148171"/>
                  <a:gd name="connsiteY26" fmla="*/ 1516380 h 3147261"/>
                  <a:gd name="connsiteX27" fmla="*/ 3132829 w 3148171"/>
                  <a:gd name="connsiteY27" fmla="*/ 1691640 h 3147261"/>
                  <a:gd name="connsiteX28" fmla="*/ 3125209 w 3148171"/>
                  <a:gd name="connsiteY28" fmla="*/ 1767840 h 3147261"/>
                  <a:gd name="connsiteX29" fmla="*/ 3109969 w 3148171"/>
                  <a:gd name="connsiteY29" fmla="*/ 1836420 h 3147261"/>
                  <a:gd name="connsiteX30" fmla="*/ 3087109 w 3148171"/>
                  <a:gd name="connsiteY30" fmla="*/ 1905000 h 3147261"/>
                  <a:gd name="connsiteX31" fmla="*/ 3079489 w 3148171"/>
                  <a:gd name="connsiteY31" fmla="*/ 1935480 h 3147261"/>
                  <a:gd name="connsiteX32" fmla="*/ 3071869 w 3148171"/>
                  <a:gd name="connsiteY32" fmla="*/ 1958340 h 3147261"/>
                  <a:gd name="connsiteX33" fmla="*/ 3056629 w 3148171"/>
                  <a:gd name="connsiteY33" fmla="*/ 2019300 h 3147261"/>
                  <a:gd name="connsiteX34" fmla="*/ 3041389 w 3148171"/>
                  <a:gd name="connsiteY34" fmla="*/ 2057400 h 3147261"/>
                  <a:gd name="connsiteX35" fmla="*/ 3033769 w 3148171"/>
                  <a:gd name="connsiteY35" fmla="*/ 2080260 h 3147261"/>
                  <a:gd name="connsiteX36" fmla="*/ 3018529 w 3148171"/>
                  <a:gd name="connsiteY36" fmla="*/ 2118360 h 3147261"/>
                  <a:gd name="connsiteX37" fmla="*/ 2995669 w 3148171"/>
                  <a:gd name="connsiteY37" fmla="*/ 2186940 h 3147261"/>
                  <a:gd name="connsiteX38" fmla="*/ 2988049 w 3148171"/>
                  <a:gd name="connsiteY38" fmla="*/ 2225040 h 3147261"/>
                  <a:gd name="connsiteX39" fmla="*/ 2972809 w 3148171"/>
                  <a:gd name="connsiteY39" fmla="*/ 2270760 h 3147261"/>
                  <a:gd name="connsiteX40" fmla="*/ 2965189 w 3148171"/>
                  <a:gd name="connsiteY40" fmla="*/ 2308860 h 3147261"/>
                  <a:gd name="connsiteX41" fmla="*/ 2949949 w 3148171"/>
                  <a:gd name="connsiteY41" fmla="*/ 2331720 h 3147261"/>
                  <a:gd name="connsiteX42" fmla="*/ 2927089 w 3148171"/>
                  <a:gd name="connsiteY42" fmla="*/ 2385060 h 3147261"/>
                  <a:gd name="connsiteX43" fmla="*/ 2904229 w 3148171"/>
                  <a:gd name="connsiteY43" fmla="*/ 2407920 h 3147261"/>
                  <a:gd name="connsiteX44" fmla="*/ 2858509 w 3148171"/>
                  <a:gd name="connsiteY44" fmla="*/ 2499360 h 3147261"/>
                  <a:gd name="connsiteX45" fmla="*/ 2843269 w 3148171"/>
                  <a:gd name="connsiteY45" fmla="*/ 2529840 h 3147261"/>
                  <a:gd name="connsiteX46" fmla="*/ 2835649 w 3148171"/>
                  <a:gd name="connsiteY46" fmla="*/ 2552700 h 3147261"/>
                  <a:gd name="connsiteX47" fmla="*/ 2759449 w 3148171"/>
                  <a:gd name="connsiteY47" fmla="*/ 2636520 h 3147261"/>
                  <a:gd name="connsiteX48" fmla="*/ 2706109 w 3148171"/>
                  <a:gd name="connsiteY48" fmla="*/ 2667000 h 3147261"/>
                  <a:gd name="connsiteX49" fmla="*/ 2302249 w 3148171"/>
                  <a:gd name="connsiteY49" fmla="*/ 2971800 h 3147261"/>
                  <a:gd name="connsiteX50" fmla="*/ 2195569 w 3148171"/>
                  <a:gd name="connsiteY50" fmla="*/ 3025140 h 3147261"/>
                  <a:gd name="connsiteX51" fmla="*/ 2096509 w 3148171"/>
                  <a:gd name="connsiteY51" fmla="*/ 3055620 h 3147261"/>
                  <a:gd name="connsiteX52" fmla="*/ 1913629 w 3148171"/>
                  <a:gd name="connsiteY52" fmla="*/ 3108960 h 3147261"/>
                  <a:gd name="connsiteX53" fmla="*/ 1799329 w 3148171"/>
                  <a:gd name="connsiteY53" fmla="*/ 3147060 h 3147261"/>
                  <a:gd name="connsiteX54" fmla="*/ 1334509 w 3148171"/>
                  <a:gd name="connsiteY54" fmla="*/ 3108960 h 3147261"/>
                  <a:gd name="connsiteX55" fmla="*/ 793489 w 3148171"/>
                  <a:gd name="connsiteY55" fmla="*/ 2933700 h 3147261"/>
                  <a:gd name="connsiteX56" fmla="*/ 420109 w 3148171"/>
                  <a:gd name="connsiteY56" fmla="*/ 2644140 h 3147261"/>
                  <a:gd name="connsiteX57" fmla="*/ 321049 w 3148171"/>
                  <a:gd name="connsiteY57" fmla="*/ 2484120 h 3147261"/>
                  <a:gd name="connsiteX58" fmla="*/ 298189 w 3148171"/>
                  <a:gd name="connsiteY58" fmla="*/ 2430780 h 3147261"/>
                  <a:gd name="connsiteX59" fmla="*/ 275329 w 3148171"/>
                  <a:gd name="connsiteY59" fmla="*/ 2377440 h 3147261"/>
                  <a:gd name="connsiteX60" fmla="*/ 229609 w 3148171"/>
                  <a:gd name="connsiteY60" fmla="*/ 2316480 h 3147261"/>
                  <a:gd name="connsiteX61" fmla="*/ 206749 w 3148171"/>
                  <a:gd name="connsiteY61" fmla="*/ 2293620 h 3147261"/>
                  <a:gd name="connsiteX62" fmla="*/ 176269 w 3148171"/>
                  <a:gd name="connsiteY62" fmla="*/ 2240280 h 3147261"/>
                  <a:gd name="connsiteX63" fmla="*/ 161029 w 3148171"/>
                  <a:gd name="connsiteY63" fmla="*/ 2202180 h 3147261"/>
                  <a:gd name="connsiteX64" fmla="*/ 145789 w 3148171"/>
                  <a:gd name="connsiteY64" fmla="*/ 2179320 h 3147261"/>
                  <a:gd name="connsiteX65" fmla="*/ 130549 w 3148171"/>
                  <a:gd name="connsiteY65" fmla="*/ 2133600 h 3147261"/>
                  <a:gd name="connsiteX66" fmla="*/ 100069 w 3148171"/>
                  <a:gd name="connsiteY66" fmla="*/ 2087880 h 3147261"/>
                  <a:gd name="connsiteX67" fmla="*/ 61969 w 3148171"/>
                  <a:gd name="connsiteY67" fmla="*/ 2026920 h 3147261"/>
                  <a:gd name="connsiteX68" fmla="*/ 54349 w 3148171"/>
                  <a:gd name="connsiteY68" fmla="*/ 2004060 h 3147261"/>
                  <a:gd name="connsiteX69" fmla="*/ 39109 w 3148171"/>
                  <a:gd name="connsiteY69" fmla="*/ 1943100 h 3147261"/>
                  <a:gd name="connsiteX70" fmla="*/ 23869 w 3148171"/>
                  <a:gd name="connsiteY70" fmla="*/ 1897380 h 3147261"/>
                  <a:gd name="connsiteX71" fmla="*/ 1009 w 3148171"/>
                  <a:gd name="connsiteY71" fmla="*/ 1562100 h 3147261"/>
                  <a:gd name="connsiteX72" fmla="*/ 54349 w 3148171"/>
                  <a:gd name="connsiteY72" fmla="*/ 1135380 h 3147261"/>
                  <a:gd name="connsiteX73" fmla="*/ 161029 w 3148171"/>
                  <a:gd name="connsiteY73" fmla="*/ 861060 h 3147261"/>
                  <a:gd name="connsiteX74" fmla="*/ 183889 w 3148171"/>
                  <a:gd name="connsiteY74" fmla="*/ 822960 h 3147261"/>
                  <a:gd name="connsiteX75" fmla="*/ 260089 w 3148171"/>
                  <a:gd name="connsiteY75" fmla="*/ 708660 h 3147261"/>
                  <a:gd name="connsiteX76" fmla="*/ 275329 w 3148171"/>
                  <a:gd name="connsiteY76" fmla="*/ 662940 h 3147261"/>
                  <a:gd name="connsiteX77" fmla="*/ 420109 w 3148171"/>
                  <a:gd name="connsiteY77" fmla="*/ 510540 h 3147261"/>
                  <a:gd name="connsiteX78" fmla="*/ 511549 w 3148171"/>
                  <a:gd name="connsiteY78" fmla="*/ 434340 h 3147261"/>
                  <a:gd name="connsiteX79" fmla="*/ 564889 w 3148171"/>
                  <a:gd name="connsiteY79" fmla="*/ 396240 h 3147261"/>
                  <a:gd name="connsiteX80" fmla="*/ 656329 w 3148171"/>
                  <a:gd name="connsiteY80" fmla="*/ 312420 h 3147261"/>
                  <a:gd name="connsiteX81" fmla="*/ 869689 w 3148171"/>
                  <a:gd name="connsiteY81" fmla="*/ 175260 h 3147261"/>
                  <a:gd name="connsiteX82" fmla="*/ 976369 w 3148171"/>
                  <a:gd name="connsiteY82" fmla="*/ 137160 h 3147261"/>
                  <a:gd name="connsiteX83" fmla="*/ 1105909 w 3148171"/>
                  <a:gd name="connsiteY83" fmla="*/ 76200 h 3147261"/>
                  <a:gd name="connsiteX84" fmla="*/ 1243069 w 3148171"/>
                  <a:gd name="connsiteY84" fmla="*/ 38100 h 3147261"/>
                  <a:gd name="connsiteX85" fmla="*/ 1265929 w 3148171"/>
                  <a:gd name="connsiteY85" fmla="*/ 30480 h 3147261"/>
                  <a:gd name="connsiteX86" fmla="*/ 1387849 w 3148171"/>
                  <a:gd name="connsiteY86" fmla="*/ 15240 h 3147261"/>
                  <a:gd name="connsiteX87" fmla="*/ 1464049 w 3148171"/>
                  <a:gd name="connsiteY87" fmla="*/ 0 h 3147261"/>
                  <a:gd name="connsiteX88" fmla="*/ 1745989 w 3148171"/>
                  <a:gd name="connsiteY88" fmla="*/ 0 h 3147261"/>
                  <a:gd name="connsiteX89" fmla="*/ 2165089 w 3148171"/>
                  <a:gd name="connsiteY89" fmla="*/ 99060 h 3147261"/>
                  <a:gd name="connsiteX90" fmla="*/ 2340349 w 3148171"/>
                  <a:gd name="connsiteY90" fmla="*/ 182880 h 3147261"/>
                  <a:gd name="connsiteX91" fmla="*/ 2370829 w 3148171"/>
                  <a:gd name="connsiteY91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500369 w 3148171"/>
                  <a:gd name="connsiteY2" fmla="*/ 320040 h 3147261"/>
                  <a:gd name="connsiteX3" fmla="*/ 2629909 w 3148171"/>
                  <a:gd name="connsiteY3" fmla="*/ 434340 h 3147261"/>
                  <a:gd name="connsiteX4" fmla="*/ 2706109 w 3148171"/>
                  <a:gd name="connsiteY4" fmla="*/ 487680 h 3147261"/>
                  <a:gd name="connsiteX5" fmla="*/ 2728969 w 3148171"/>
                  <a:gd name="connsiteY5" fmla="*/ 510540 h 3147261"/>
                  <a:gd name="connsiteX6" fmla="*/ 2789929 w 3148171"/>
                  <a:gd name="connsiteY6" fmla="*/ 594360 h 3147261"/>
                  <a:gd name="connsiteX7" fmla="*/ 2850889 w 3148171"/>
                  <a:gd name="connsiteY7" fmla="*/ 662940 h 3147261"/>
                  <a:gd name="connsiteX8" fmla="*/ 2873749 w 3148171"/>
                  <a:gd name="connsiteY8" fmla="*/ 701040 h 3147261"/>
                  <a:gd name="connsiteX9" fmla="*/ 2911849 w 3148171"/>
                  <a:gd name="connsiteY9" fmla="*/ 762000 h 3147261"/>
                  <a:gd name="connsiteX10" fmla="*/ 2949949 w 3148171"/>
                  <a:gd name="connsiteY10" fmla="*/ 845820 h 3147261"/>
                  <a:gd name="connsiteX11" fmla="*/ 2957569 w 3148171"/>
                  <a:gd name="connsiteY11" fmla="*/ 868680 h 3147261"/>
                  <a:gd name="connsiteX12" fmla="*/ 2980429 w 3148171"/>
                  <a:gd name="connsiteY12" fmla="*/ 922020 h 3147261"/>
                  <a:gd name="connsiteX13" fmla="*/ 2995669 w 3148171"/>
                  <a:gd name="connsiteY13" fmla="*/ 952500 h 3147261"/>
                  <a:gd name="connsiteX14" fmla="*/ 3010909 w 3148171"/>
                  <a:gd name="connsiteY14" fmla="*/ 998220 h 3147261"/>
                  <a:gd name="connsiteX15" fmla="*/ 3026149 w 3148171"/>
                  <a:gd name="connsiteY15" fmla="*/ 1036320 h 3147261"/>
                  <a:gd name="connsiteX16" fmla="*/ 3033769 w 3148171"/>
                  <a:gd name="connsiteY16" fmla="*/ 1066800 h 3147261"/>
                  <a:gd name="connsiteX17" fmla="*/ 3056629 w 3148171"/>
                  <a:gd name="connsiteY17" fmla="*/ 1104900 h 3147261"/>
                  <a:gd name="connsiteX18" fmla="*/ 3071869 w 3148171"/>
                  <a:gd name="connsiteY18" fmla="*/ 1150620 h 3147261"/>
                  <a:gd name="connsiteX19" fmla="*/ 3087109 w 3148171"/>
                  <a:gd name="connsiteY19" fmla="*/ 1181100 h 3147261"/>
                  <a:gd name="connsiteX20" fmla="*/ 3094729 w 3148171"/>
                  <a:gd name="connsiteY20" fmla="*/ 1226820 h 3147261"/>
                  <a:gd name="connsiteX21" fmla="*/ 3102349 w 3148171"/>
                  <a:gd name="connsiteY21" fmla="*/ 1280160 h 3147261"/>
                  <a:gd name="connsiteX22" fmla="*/ 3117589 w 3148171"/>
                  <a:gd name="connsiteY22" fmla="*/ 1371600 h 3147261"/>
                  <a:gd name="connsiteX23" fmla="*/ 3132829 w 3148171"/>
                  <a:gd name="connsiteY23" fmla="*/ 1417320 h 3147261"/>
                  <a:gd name="connsiteX24" fmla="*/ 3140449 w 3148171"/>
                  <a:gd name="connsiteY24" fmla="*/ 1485900 h 3147261"/>
                  <a:gd name="connsiteX25" fmla="*/ 3148069 w 3148171"/>
                  <a:gd name="connsiteY25" fmla="*/ 1516380 h 3147261"/>
                  <a:gd name="connsiteX26" fmla="*/ 3132829 w 3148171"/>
                  <a:gd name="connsiteY26" fmla="*/ 1691640 h 3147261"/>
                  <a:gd name="connsiteX27" fmla="*/ 3125209 w 3148171"/>
                  <a:gd name="connsiteY27" fmla="*/ 1767840 h 3147261"/>
                  <a:gd name="connsiteX28" fmla="*/ 3109969 w 3148171"/>
                  <a:gd name="connsiteY28" fmla="*/ 1836420 h 3147261"/>
                  <a:gd name="connsiteX29" fmla="*/ 3087109 w 3148171"/>
                  <a:gd name="connsiteY29" fmla="*/ 1905000 h 3147261"/>
                  <a:gd name="connsiteX30" fmla="*/ 3079489 w 3148171"/>
                  <a:gd name="connsiteY30" fmla="*/ 1935480 h 3147261"/>
                  <a:gd name="connsiteX31" fmla="*/ 3071869 w 3148171"/>
                  <a:gd name="connsiteY31" fmla="*/ 1958340 h 3147261"/>
                  <a:gd name="connsiteX32" fmla="*/ 3056629 w 3148171"/>
                  <a:gd name="connsiteY32" fmla="*/ 2019300 h 3147261"/>
                  <a:gd name="connsiteX33" fmla="*/ 3041389 w 3148171"/>
                  <a:gd name="connsiteY33" fmla="*/ 2057400 h 3147261"/>
                  <a:gd name="connsiteX34" fmla="*/ 3033769 w 3148171"/>
                  <a:gd name="connsiteY34" fmla="*/ 2080260 h 3147261"/>
                  <a:gd name="connsiteX35" fmla="*/ 3018529 w 3148171"/>
                  <a:gd name="connsiteY35" fmla="*/ 2118360 h 3147261"/>
                  <a:gd name="connsiteX36" fmla="*/ 2995669 w 3148171"/>
                  <a:gd name="connsiteY36" fmla="*/ 2186940 h 3147261"/>
                  <a:gd name="connsiteX37" fmla="*/ 2988049 w 3148171"/>
                  <a:gd name="connsiteY37" fmla="*/ 2225040 h 3147261"/>
                  <a:gd name="connsiteX38" fmla="*/ 2972809 w 3148171"/>
                  <a:gd name="connsiteY38" fmla="*/ 2270760 h 3147261"/>
                  <a:gd name="connsiteX39" fmla="*/ 2965189 w 3148171"/>
                  <a:gd name="connsiteY39" fmla="*/ 2308860 h 3147261"/>
                  <a:gd name="connsiteX40" fmla="*/ 2949949 w 3148171"/>
                  <a:gd name="connsiteY40" fmla="*/ 2331720 h 3147261"/>
                  <a:gd name="connsiteX41" fmla="*/ 2927089 w 3148171"/>
                  <a:gd name="connsiteY41" fmla="*/ 2385060 h 3147261"/>
                  <a:gd name="connsiteX42" fmla="*/ 2904229 w 3148171"/>
                  <a:gd name="connsiteY42" fmla="*/ 2407920 h 3147261"/>
                  <a:gd name="connsiteX43" fmla="*/ 2858509 w 3148171"/>
                  <a:gd name="connsiteY43" fmla="*/ 2499360 h 3147261"/>
                  <a:gd name="connsiteX44" fmla="*/ 2843269 w 3148171"/>
                  <a:gd name="connsiteY44" fmla="*/ 2529840 h 3147261"/>
                  <a:gd name="connsiteX45" fmla="*/ 2835649 w 3148171"/>
                  <a:gd name="connsiteY45" fmla="*/ 2552700 h 3147261"/>
                  <a:gd name="connsiteX46" fmla="*/ 2759449 w 3148171"/>
                  <a:gd name="connsiteY46" fmla="*/ 2636520 h 3147261"/>
                  <a:gd name="connsiteX47" fmla="*/ 2706109 w 3148171"/>
                  <a:gd name="connsiteY47" fmla="*/ 2667000 h 3147261"/>
                  <a:gd name="connsiteX48" fmla="*/ 2302249 w 3148171"/>
                  <a:gd name="connsiteY48" fmla="*/ 2971800 h 3147261"/>
                  <a:gd name="connsiteX49" fmla="*/ 2195569 w 3148171"/>
                  <a:gd name="connsiteY49" fmla="*/ 3025140 h 3147261"/>
                  <a:gd name="connsiteX50" fmla="*/ 2096509 w 3148171"/>
                  <a:gd name="connsiteY50" fmla="*/ 3055620 h 3147261"/>
                  <a:gd name="connsiteX51" fmla="*/ 1913629 w 3148171"/>
                  <a:gd name="connsiteY51" fmla="*/ 3108960 h 3147261"/>
                  <a:gd name="connsiteX52" fmla="*/ 1799329 w 3148171"/>
                  <a:gd name="connsiteY52" fmla="*/ 3147060 h 3147261"/>
                  <a:gd name="connsiteX53" fmla="*/ 1334509 w 3148171"/>
                  <a:gd name="connsiteY53" fmla="*/ 3108960 h 3147261"/>
                  <a:gd name="connsiteX54" fmla="*/ 793489 w 3148171"/>
                  <a:gd name="connsiteY54" fmla="*/ 2933700 h 3147261"/>
                  <a:gd name="connsiteX55" fmla="*/ 420109 w 3148171"/>
                  <a:gd name="connsiteY55" fmla="*/ 2644140 h 3147261"/>
                  <a:gd name="connsiteX56" fmla="*/ 321049 w 3148171"/>
                  <a:gd name="connsiteY56" fmla="*/ 2484120 h 3147261"/>
                  <a:gd name="connsiteX57" fmla="*/ 298189 w 3148171"/>
                  <a:gd name="connsiteY57" fmla="*/ 2430780 h 3147261"/>
                  <a:gd name="connsiteX58" fmla="*/ 275329 w 3148171"/>
                  <a:gd name="connsiteY58" fmla="*/ 2377440 h 3147261"/>
                  <a:gd name="connsiteX59" fmla="*/ 229609 w 3148171"/>
                  <a:gd name="connsiteY59" fmla="*/ 2316480 h 3147261"/>
                  <a:gd name="connsiteX60" fmla="*/ 206749 w 3148171"/>
                  <a:gd name="connsiteY60" fmla="*/ 2293620 h 3147261"/>
                  <a:gd name="connsiteX61" fmla="*/ 176269 w 3148171"/>
                  <a:gd name="connsiteY61" fmla="*/ 2240280 h 3147261"/>
                  <a:gd name="connsiteX62" fmla="*/ 161029 w 3148171"/>
                  <a:gd name="connsiteY62" fmla="*/ 2202180 h 3147261"/>
                  <a:gd name="connsiteX63" fmla="*/ 145789 w 3148171"/>
                  <a:gd name="connsiteY63" fmla="*/ 2179320 h 3147261"/>
                  <a:gd name="connsiteX64" fmla="*/ 130549 w 3148171"/>
                  <a:gd name="connsiteY64" fmla="*/ 2133600 h 3147261"/>
                  <a:gd name="connsiteX65" fmla="*/ 100069 w 3148171"/>
                  <a:gd name="connsiteY65" fmla="*/ 2087880 h 3147261"/>
                  <a:gd name="connsiteX66" fmla="*/ 61969 w 3148171"/>
                  <a:gd name="connsiteY66" fmla="*/ 2026920 h 3147261"/>
                  <a:gd name="connsiteX67" fmla="*/ 54349 w 3148171"/>
                  <a:gd name="connsiteY67" fmla="*/ 2004060 h 3147261"/>
                  <a:gd name="connsiteX68" fmla="*/ 39109 w 3148171"/>
                  <a:gd name="connsiteY68" fmla="*/ 1943100 h 3147261"/>
                  <a:gd name="connsiteX69" fmla="*/ 23869 w 3148171"/>
                  <a:gd name="connsiteY69" fmla="*/ 1897380 h 3147261"/>
                  <a:gd name="connsiteX70" fmla="*/ 1009 w 3148171"/>
                  <a:gd name="connsiteY70" fmla="*/ 1562100 h 3147261"/>
                  <a:gd name="connsiteX71" fmla="*/ 54349 w 3148171"/>
                  <a:gd name="connsiteY71" fmla="*/ 1135380 h 3147261"/>
                  <a:gd name="connsiteX72" fmla="*/ 161029 w 3148171"/>
                  <a:gd name="connsiteY72" fmla="*/ 861060 h 3147261"/>
                  <a:gd name="connsiteX73" fmla="*/ 183889 w 3148171"/>
                  <a:gd name="connsiteY73" fmla="*/ 822960 h 3147261"/>
                  <a:gd name="connsiteX74" fmla="*/ 260089 w 3148171"/>
                  <a:gd name="connsiteY74" fmla="*/ 708660 h 3147261"/>
                  <a:gd name="connsiteX75" fmla="*/ 275329 w 3148171"/>
                  <a:gd name="connsiteY75" fmla="*/ 662940 h 3147261"/>
                  <a:gd name="connsiteX76" fmla="*/ 420109 w 3148171"/>
                  <a:gd name="connsiteY76" fmla="*/ 510540 h 3147261"/>
                  <a:gd name="connsiteX77" fmla="*/ 511549 w 3148171"/>
                  <a:gd name="connsiteY77" fmla="*/ 434340 h 3147261"/>
                  <a:gd name="connsiteX78" fmla="*/ 564889 w 3148171"/>
                  <a:gd name="connsiteY78" fmla="*/ 396240 h 3147261"/>
                  <a:gd name="connsiteX79" fmla="*/ 656329 w 3148171"/>
                  <a:gd name="connsiteY79" fmla="*/ 312420 h 3147261"/>
                  <a:gd name="connsiteX80" fmla="*/ 869689 w 3148171"/>
                  <a:gd name="connsiteY80" fmla="*/ 175260 h 3147261"/>
                  <a:gd name="connsiteX81" fmla="*/ 976369 w 3148171"/>
                  <a:gd name="connsiteY81" fmla="*/ 137160 h 3147261"/>
                  <a:gd name="connsiteX82" fmla="*/ 1105909 w 3148171"/>
                  <a:gd name="connsiteY82" fmla="*/ 76200 h 3147261"/>
                  <a:gd name="connsiteX83" fmla="*/ 1243069 w 3148171"/>
                  <a:gd name="connsiteY83" fmla="*/ 38100 h 3147261"/>
                  <a:gd name="connsiteX84" fmla="*/ 1265929 w 3148171"/>
                  <a:gd name="connsiteY84" fmla="*/ 30480 h 3147261"/>
                  <a:gd name="connsiteX85" fmla="*/ 1387849 w 3148171"/>
                  <a:gd name="connsiteY85" fmla="*/ 15240 h 3147261"/>
                  <a:gd name="connsiteX86" fmla="*/ 1464049 w 3148171"/>
                  <a:gd name="connsiteY86" fmla="*/ 0 h 3147261"/>
                  <a:gd name="connsiteX87" fmla="*/ 1745989 w 3148171"/>
                  <a:gd name="connsiteY87" fmla="*/ 0 h 3147261"/>
                  <a:gd name="connsiteX88" fmla="*/ 2165089 w 3148171"/>
                  <a:gd name="connsiteY88" fmla="*/ 99060 h 3147261"/>
                  <a:gd name="connsiteX89" fmla="*/ 2340349 w 3148171"/>
                  <a:gd name="connsiteY89" fmla="*/ 182880 h 3147261"/>
                  <a:gd name="connsiteX90" fmla="*/ 2370829 w 3148171"/>
                  <a:gd name="connsiteY90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29909 w 3148171"/>
                  <a:gd name="connsiteY2" fmla="*/ 43434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2995669 w 3148171"/>
                  <a:gd name="connsiteY12" fmla="*/ 952500 h 3147261"/>
                  <a:gd name="connsiteX13" fmla="*/ 3010909 w 3148171"/>
                  <a:gd name="connsiteY13" fmla="*/ 998220 h 3147261"/>
                  <a:gd name="connsiteX14" fmla="*/ 3026149 w 3148171"/>
                  <a:gd name="connsiteY14" fmla="*/ 1036320 h 3147261"/>
                  <a:gd name="connsiteX15" fmla="*/ 3033769 w 3148171"/>
                  <a:gd name="connsiteY15" fmla="*/ 1066800 h 3147261"/>
                  <a:gd name="connsiteX16" fmla="*/ 3056629 w 3148171"/>
                  <a:gd name="connsiteY16" fmla="*/ 1104900 h 3147261"/>
                  <a:gd name="connsiteX17" fmla="*/ 3071869 w 3148171"/>
                  <a:gd name="connsiteY17" fmla="*/ 1150620 h 3147261"/>
                  <a:gd name="connsiteX18" fmla="*/ 3087109 w 3148171"/>
                  <a:gd name="connsiteY18" fmla="*/ 1181100 h 3147261"/>
                  <a:gd name="connsiteX19" fmla="*/ 3094729 w 3148171"/>
                  <a:gd name="connsiteY19" fmla="*/ 1226820 h 3147261"/>
                  <a:gd name="connsiteX20" fmla="*/ 3102349 w 3148171"/>
                  <a:gd name="connsiteY20" fmla="*/ 1280160 h 3147261"/>
                  <a:gd name="connsiteX21" fmla="*/ 3117589 w 3148171"/>
                  <a:gd name="connsiteY21" fmla="*/ 1371600 h 3147261"/>
                  <a:gd name="connsiteX22" fmla="*/ 3132829 w 3148171"/>
                  <a:gd name="connsiteY22" fmla="*/ 1417320 h 3147261"/>
                  <a:gd name="connsiteX23" fmla="*/ 3140449 w 3148171"/>
                  <a:gd name="connsiteY23" fmla="*/ 1485900 h 3147261"/>
                  <a:gd name="connsiteX24" fmla="*/ 3148069 w 3148171"/>
                  <a:gd name="connsiteY24" fmla="*/ 1516380 h 3147261"/>
                  <a:gd name="connsiteX25" fmla="*/ 3132829 w 3148171"/>
                  <a:gd name="connsiteY25" fmla="*/ 1691640 h 3147261"/>
                  <a:gd name="connsiteX26" fmla="*/ 3125209 w 3148171"/>
                  <a:gd name="connsiteY26" fmla="*/ 1767840 h 3147261"/>
                  <a:gd name="connsiteX27" fmla="*/ 3109969 w 3148171"/>
                  <a:gd name="connsiteY27" fmla="*/ 1836420 h 3147261"/>
                  <a:gd name="connsiteX28" fmla="*/ 3087109 w 3148171"/>
                  <a:gd name="connsiteY28" fmla="*/ 1905000 h 3147261"/>
                  <a:gd name="connsiteX29" fmla="*/ 3079489 w 3148171"/>
                  <a:gd name="connsiteY29" fmla="*/ 1935480 h 3147261"/>
                  <a:gd name="connsiteX30" fmla="*/ 3071869 w 3148171"/>
                  <a:gd name="connsiteY30" fmla="*/ 1958340 h 3147261"/>
                  <a:gd name="connsiteX31" fmla="*/ 3056629 w 3148171"/>
                  <a:gd name="connsiteY31" fmla="*/ 2019300 h 3147261"/>
                  <a:gd name="connsiteX32" fmla="*/ 3041389 w 3148171"/>
                  <a:gd name="connsiteY32" fmla="*/ 2057400 h 3147261"/>
                  <a:gd name="connsiteX33" fmla="*/ 3033769 w 3148171"/>
                  <a:gd name="connsiteY33" fmla="*/ 2080260 h 3147261"/>
                  <a:gd name="connsiteX34" fmla="*/ 3018529 w 3148171"/>
                  <a:gd name="connsiteY34" fmla="*/ 2118360 h 3147261"/>
                  <a:gd name="connsiteX35" fmla="*/ 2995669 w 3148171"/>
                  <a:gd name="connsiteY35" fmla="*/ 2186940 h 3147261"/>
                  <a:gd name="connsiteX36" fmla="*/ 2988049 w 3148171"/>
                  <a:gd name="connsiteY36" fmla="*/ 2225040 h 3147261"/>
                  <a:gd name="connsiteX37" fmla="*/ 2972809 w 3148171"/>
                  <a:gd name="connsiteY37" fmla="*/ 2270760 h 3147261"/>
                  <a:gd name="connsiteX38" fmla="*/ 2965189 w 3148171"/>
                  <a:gd name="connsiteY38" fmla="*/ 2308860 h 3147261"/>
                  <a:gd name="connsiteX39" fmla="*/ 2949949 w 3148171"/>
                  <a:gd name="connsiteY39" fmla="*/ 2331720 h 3147261"/>
                  <a:gd name="connsiteX40" fmla="*/ 2927089 w 3148171"/>
                  <a:gd name="connsiteY40" fmla="*/ 2385060 h 3147261"/>
                  <a:gd name="connsiteX41" fmla="*/ 2904229 w 3148171"/>
                  <a:gd name="connsiteY41" fmla="*/ 2407920 h 3147261"/>
                  <a:gd name="connsiteX42" fmla="*/ 2858509 w 3148171"/>
                  <a:gd name="connsiteY42" fmla="*/ 2499360 h 3147261"/>
                  <a:gd name="connsiteX43" fmla="*/ 2843269 w 3148171"/>
                  <a:gd name="connsiteY43" fmla="*/ 2529840 h 3147261"/>
                  <a:gd name="connsiteX44" fmla="*/ 2835649 w 3148171"/>
                  <a:gd name="connsiteY44" fmla="*/ 2552700 h 3147261"/>
                  <a:gd name="connsiteX45" fmla="*/ 2759449 w 3148171"/>
                  <a:gd name="connsiteY45" fmla="*/ 2636520 h 3147261"/>
                  <a:gd name="connsiteX46" fmla="*/ 2706109 w 3148171"/>
                  <a:gd name="connsiteY46" fmla="*/ 2667000 h 3147261"/>
                  <a:gd name="connsiteX47" fmla="*/ 2302249 w 3148171"/>
                  <a:gd name="connsiteY47" fmla="*/ 2971800 h 3147261"/>
                  <a:gd name="connsiteX48" fmla="*/ 2195569 w 3148171"/>
                  <a:gd name="connsiteY48" fmla="*/ 3025140 h 3147261"/>
                  <a:gd name="connsiteX49" fmla="*/ 2096509 w 3148171"/>
                  <a:gd name="connsiteY49" fmla="*/ 3055620 h 3147261"/>
                  <a:gd name="connsiteX50" fmla="*/ 1913629 w 3148171"/>
                  <a:gd name="connsiteY50" fmla="*/ 3108960 h 3147261"/>
                  <a:gd name="connsiteX51" fmla="*/ 1799329 w 3148171"/>
                  <a:gd name="connsiteY51" fmla="*/ 3147060 h 3147261"/>
                  <a:gd name="connsiteX52" fmla="*/ 1334509 w 3148171"/>
                  <a:gd name="connsiteY52" fmla="*/ 3108960 h 3147261"/>
                  <a:gd name="connsiteX53" fmla="*/ 793489 w 3148171"/>
                  <a:gd name="connsiteY53" fmla="*/ 2933700 h 3147261"/>
                  <a:gd name="connsiteX54" fmla="*/ 420109 w 3148171"/>
                  <a:gd name="connsiteY54" fmla="*/ 2644140 h 3147261"/>
                  <a:gd name="connsiteX55" fmla="*/ 321049 w 3148171"/>
                  <a:gd name="connsiteY55" fmla="*/ 2484120 h 3147261"/>
                  <a:gd name="connsiteX56" fmla="*/ 298189 w 3148171"/>
                  <a:gd name="connsiteY56" fmla="*/ 2430780 h 3147261"/>
                  <a:gd name="connsiteX57" fmla="*/ 275329 w 3148171"/>
                  <a:gd name="connsiteY57" fmla="*/ 2377440 h 3147261"/>
                  <a:gd name="connsiteX58" fmla="*/ 229609 w 3148171"/>
                  <a:gd name="connsiteY58" fmla="*/ 2316480 h 3147261"/>
                  <a:gd name="connsiteX59" fmla="*/ 206749 w 3148171"/>
                  <a:gd name="connsiteY59" fmla="*/ 2293620 h 3147261"/>
                  <a:gd name="connsiteX60" fmla="*/ 176269 w 3148171"/>
                  <a:gd name="connsiteY60" fmla="*/ 2240280 h 3147261"/>
                  <a:gd name="connsiteX61" fmla="*/ 161029 w 3148171"/>
                  <a:gd name="connsiteY61" fmla="*/ 2202180 h 3147261"/>
                  <a:gd name="connsiteX62" fmla="*/ 145789 w 3148171"/>
                  <a:gd name="connsiteY62" fmla="*/ 2179320 h 3147261"/>
                  <a:gd name="connsiteX63" fmla="*/ 130549 w 3148171"/>
                  <a:gd name="connsiteY63" fmla="*/ 2133600 h 3147261"/>
                  <a:gd name="connsiteX64" fmla="*/ 100069 w 3148171"/>
                  <a:gd name="connsiteY64" fmla="*/ 2087880 h 3147261"/>
                  <a:gd name="connsiteX65" fmla="*/ 61969 w 3148171"/>
                  <a:gd name="connsiteY65" fmla="*/ 2026920 h 3147261"/>
                  <a:gd name="connsiteX66" fmla="*/ 54349 w 3148171"/>
                  <a:gd name="connsiteY66" fmla="*/ 2004060 h 3147261"/>
                  <a:gd name="connsiteX67" fmla="*/ 39109 w 3148171"/>
                  <a:gd name="connsiteY67" fmla="*/ 1943100 h 3147261"/>
                  <a:gd name="connsiteX68" fmla="*/ 23869 w 3148171"/>
                  <a:gd name="connsiteY68" fmla="*/ 1897380 h 3147261"/>
                  <a:gd name="connsiteX69" fmla="*/ 1009 w 3148171"/>
                  <a:gd name="connsiteY69" fmla="*/ 1562100 h 3147261"/>
                  <a:gd name="connsiteX70" fmla="*/ 54349 w 3148171"/>
                  <a:gd name="connsiteY70" fmla="*/ 1135380 h 3147261"/>
                  <a:gd name="connsiteX71" fmla="*/ 161029 w 3148171"/>
                  <a:gd name="connsiteY71" fmla="*/ 861060 h 3147261"/>
                  <a:gd name="connsiteX72" fmla="*/ 183889 w 3148171"/>
                  <a:gd name="connsiteY72" fmla="*/ 822960 h 3147261"/>
                  <a:gd name="connsiteX73" fmla="*/ 260089 w 3148171"/>
                  <a:gd name="connsiteY73" fmla="*/ 708660 h 3147261"/>
                  <a:gd name="connsiteX74" fmla="*/ 275329 w 3148171"/>
                  <a:gd name="connsiteY74" fmla="*/ 662940 h 3147261"/>
                  <a:gd name="connsiteX75" fmla="*/ 420109 w 3148171"/>
                  <a:gd name="connsiteY75" fmla="*/ 510540 h 3147261"/>
                  <a:gd name="connsiteX76" fmla="*/ 511549 w 3148171"/>
                  <a:gd name="connsiteY76" fmla="*/ 434340 h 3147261"/>
                  <a:gd name="connsiteX77" fmla="*/ 564889 w 3148171"/>
                  <a:gd name="connsiteY77" fmla="*/ 396240 h 3147261"/>
                  <a:gd name="connsiteX78" fmla="*/ 656329 w 3148171"/>
                  <a:gd name="connsiteY78" fmla="*/ 312420 h 3147261"/>
                  <a:gd name="connsiteX79" fmla="*/ 869689 w 3148171"/>
                  <a:gd name="connsiteY79" fmla="*/ 175260 h 3147261"/>
                  <a:gd name="connsiteX80" fmla="*/ 976369 w 3148171"/>
                  <a:gd name="connsiteY80" fmla="*/ 137160 h 3147261"/>
                  <a:gd name="connsiteX81" fmla="*/ 1105909 w 3148171"/>
                  <a:gd name="connsiteY81" fmla="*/ 76200 h 3147261"/>
                  <a:gd name="connsiteX82" fmla="*/ 1243069 w 3148171"/>
                  <a:gd name="connsiteY82" fmla="*/ 38100 h 3147261"/>
                  <a:gd name="connsiteX83" fmla="*/ 1265929 w 3148171"/>
                  <a:gd name="connsiteY83" fmla="*/ 30480 h 3147261"/>
                  <a:gd name="connsiteX84" fmla="*/ 1387849 w 3148171"/>
                  <a:gd name="connsiteY84" fmla="*/ 15240 h 3147261"/>
                  <a:gd name="connsiteX85" fmla="*/ 1464049 w 3148171"/>
                  <a:gd name="connsiteY85" fmla="*/ 0 h 3147261"/>
                  <a:gd name="connsiteX86" fmla="*/ 1745989 w 3148171"/>
                  <a:gd name="connsiteY86" fmla="*/ 0 h 3147261"/>
                  <a:gd name="connsiteX87" fmla="*/ 2165089 w 3148171"/>
                  <a:gd name="connsiteY87" fmla="*/ 99060 h 3147261"/>
                  <a:gd name="connsiteX88" fmla="*/ 2340349 w 3148171"/>
                  <a:gd name="connsiteY88" fmla="*/ 182880 h 3147261"/>
                  <a:gd name="connsiteX89" fmla="*/ 2370829 w 3148171"/>
                  <a:gd name="connsiteY89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2995669 w 3148171"/>
                  <a:gd name="connsiteY12" fmla="*/ 952500 h 3147261"/>
                  <a:gd name="connsiteX13" fmla="*/ 3010909 w 3148171"/>
                  <a:gd name="connsiteY13" fmla="*/ 998220 h 3147261"/>
                  <a:gd name="connsiteX14" fmla="*/ 3026149 w 3148171"/>
                  <a:gd name="connsiteY14" fmla="*/ 1036320 h 3147261"/>
                  <a:gd name="connsiteX15" fmla="*/ 3033769 w 3148171"/>
                  <a:gd name="connsiteY15" fmla="*/ 1066800 h 3147261"/>
                  <a:gd name="connsiteX16" fmla="*/ 3056629 w 3148171"/>
                  <a:gd name="connsiteY16" fmla="*/ 1104900 h 3147261"/>
                  <a:gd name="connsiteX17" fmla="*/ 3071869 w 3148171"/>
                  <a:gd name="connsiteY17" fmla="*/ 1150620 h 3147261"/>
                  <a:gd name="connsiteX18" fmla="*/ 3087109 w 3148171"/>
                  <a:gd name="connsiteY18" fmla="*/ 1181100 h 3147261"/>
                  <a:gd name="connsiteX19" fmla="*/ 3094729 w 3148171"/>
                  <a:gd name="connsiteY19" fmla="*/ 1226820 h 3147261"/>
                  <a:gd name="connsiteX20" fmla="*/ 3102349 w 3148171"/>
                  <a:gd name="connsiteY20" fmla="*/ 1280160 h 3147261"/>
                  <a:gd name="connsiteX21" fmla="*/ 3117589 w 3148171"/>
                  <a:gd name="connsiteY21" fmla="*/ 1371600 h 3147261"/>
                  <a:gd name="connsiteX22" fmla="*/ 3132829 w 3148171"/>
                  <a:gd name="connsiteY22" fmla="*/ 1417320 h 3147261"/>
                  <a:gd name="connsiteX23" fmla="*/ 3140449 w 3148171"/>
                  <a:gd name="connsiteY23" fmla="*/ 1485900 h 3147261"/>
                  <a:gd name="connsiteX24" fmla="*/ 3148069 w 3148171"/>
                  <a:gd name="connsiteY24" fmla="*/ 1516380 h 3147261"/>
                  <a:gd name="connsiteX25" fmla="*/ 3132829 w 3148171"/>
                  <a:gd name="connsiteY25" fmla="*/ 1691640 h 3147261"/>
                  <a:gd name="connsiteX26" fmla="*/ 3125209 w 3148171"/>
                  <a:gd name="connsiteY26" fmla="*/ 1767840 h 3147261"/>
                  <a:gd name="connsiteX27" fmla="*/ 3109969 w 3148171"/>
                  <a:gd name="connsiteY27" fmla="*/ 1836420 h 3147261"/>
                  <a:gd name="connsiteX28" fmla="*/ 3087109 w 3148171"/>
                  <a:gd name="connsiteY28" fmla="*/ 1905000 h 3147261"/>
                  <a:gd name="connsiteX29" fmla="*/ 3079489 w 3148171"/>
                  <a:gd name="connsiteY29" fmla="*/ 1935480 h 3147261"/>
                  <a:gd name="connsiteX30" fmla="*/ 3071869 w 3148171"/>
                  <a:gd name="connsiteY30" fmla="*/ 1958340 h 3147261"/>
                  <a:gd name="connsiteX31" fmla="*/ 3056629 w 3148171"/>
                  <a:gd name="connsiteY31" fmla="*/ 2019300 h 3147261"/>
                  <a:gd name="connsiteX32" fmla="*/ 3041389 w 3148171"/>
                  <a:gd name="connsiteY32" fmla="*/ 2057400 h 3147261"/>
                  <a:gd name="connsiteX33" fmla="*/ 3033769 w 3148171"/>
                  <a:gd name="connsiteY33" fmla="*/ 2080260 h 3147261"/>
                  <a:gd name="connsiteX34" fmla="*/ 3018529 w 3148171"/>
                  <a:gd name="connsiteY34" fmla="*/ 2118360 h 3147261"/>
                  <a:gd name="connsiteX35" fmla="*/ 2995669 w 3148171"/>
                  <a:gd name="connsiteY35" fmla="*/ 2186940 h 3147261"/>
                  <a:gd name="connsiteX36" fmla="*/ 2988049 w 3148171"/>
                  <a:gd name="connsiteY36" fmla="*/ 2225040 h 3147261"/>
                  <a:gd name="connsiteX37" fmla="*/ 2972809 w 3148171"/>
                  <a:gd name="connsiteY37" fmla="*/ 2270760 h 3147261"/>
                  <a:gd name="connsiteX38" fmla="*/ 2965189 w 3148171"/>
                  <a:gd name="connsiteY38" fmla="*/ 2308860 h 3147261"/>
                  <a:gd name="connsiteX39" fmla="*/ 2949949 w 3148171"/>
                  <a:gd name="connsiteY39" fmla="*/ 2331720 h 3147261"/>
                  <a:gd name="connsiteX40" fmla="*/ 2927089 w 3148171"/>
                  <a:gd name="connsiteY40" fmla="*/ 2385060 h 3147261"/>
                  <a:gd name="connsiteX41" fmla="*/ 2904229 w 3148171"/>
                  <a:gd name="connsiteY41" fmla="*/ 2407920 h 3147261"/>
                  <a:gd name="connsiteX42" fmla="*/ 2858509 w 3148171"/>
                  <a:gd name="connsiteY42" fmla="*/ 2499360 h 3147261"/>
                  <a:gd name="connsiteX43" fmla="*/ 2843269 w 3148171"/>
                  <a:gd name="connsiteY43" fmla="*/ 2529840 h 3147261"/>
                  <a:gd name="connsiteX44" fmla="*/ 2835649 w 3148171"/>
                  <a:gd name="connsiteY44" fmla="*/ 2552700 h 3147261"/>
                  <a:gd name="connsiteX45" fmla="*/ 2759449 w 3148171"/>
                  <a:gd name="connsiteY45" fmla="*/ 2636520 h 3147261"/>
                  <a:gd name="connsiteX46" fmla="*/ 2706109 w 3148171"/>
                  <a:gd name="connsiteY46" fmla="*/ 2667000 h 3147261"/>
                  <a:gd name="connsiteX47" fmla="*/ 2302249 w 3148171"/>
                  <a:gd name="connsiteY47" fmla="*/ 2971800 h 3147261"/>
                  <a:gd name="connsiteX48" fmla="*/ 2195569 w 3148171"/>
                  <a:gd name="connsiteY48" fmla="*/ 3025140 h 3147261"/>
                  <a:gd name="connsiteX49" fmla="*/ 2096509 w 3148171"/>
                  <a:gd name="connsiteY49" fmla="*/ 3055620 h 3147261"/>
                  <a:gd name="connsiteX50" fmla="*/ 1913629 w 3148171"/>
                  <a:gd name="connsiteY50" fmla="*/ 3108960 h 3147261"/>
                  <a:gd name="connsiteX51" fmla="*/ 1799329 w 3148171"/>
                  <a:gd name="connsiteY51" fmla="*/ 3147060 h 3147261"/>
                  <a:gd name="connsiteX52" fmla="*/ 1334509 w 3148171"/>
                  <a:gd name="connsiteY52" fmla="*/ 3108960 h 3147261"/>
                  <a:gd name="connsiteX53" fmla="*/ 793489 w 3148171"/>
                  <a:gd name="connsiteY53" fmla="*/ 2933700 h 3147261"/>
                  <a:gd name="connsiteX54" fmla="*/ 420109 w 3148171"/>
                  <a:gd name="connsiteY54" fmla="*/ 2644140 h 3147261"/>
                  <a:gd name="connsiteX55" fmla="*/ 321049 w 3148171"/>
                  <a:gd name="connsiteY55" fmla="*/ 2484120 h 3147261"/>
                  <a:gd name="connsiteX56" fmla="*/ 298189 w 3148171"/>
                  <a:gd name="connsiteY56" fmla="*/ 2430780 h 3147261"/>
                  <a:gd name="connsiteX57" fmla="*/ 275329 w 3148171"/>
                  <a:gd name="connsiteY57" fmla="*/ 2377440 h 3147261"/>
                  <a:gd name="connsiteX58" fmla="*/ 229609 w 3148171"/>
                  <a:gd name="connsiteY58" fmla="*/ 2316480 h 3147261"/>
                  <a:gd name="connsiteX59" fmla="*/ 206749 w 3148171"/>
                  <a:gd name="connsiteY59" fmla="*/ 2293620 h 3147261"/>
                  <a:gd name="connsiteX60" fmla="*/ 176269 w 3148171"/>
                  <a:gd name="connsiteY60" fmla="*/ 2240280 h 3147261"/>
                  <a:gd name="connsiteX61" fmla="*/ 161029 w 3148171"/>
                  <a:gd name="connsiteY61" fmla="*/ 2202180 h 3147261"/>
                  <a:gd name="connsiteX62" fmla="*/ 145789 w 3148171"/>
                  <a:gd name="connsiteY62" fmla="*/ 2179320 h 3147261"/>
                  <a:gd name="connsiteX63" fmla="*/ 130549 w 3148171"/>
                  <a:gd name="connsiteY63" fmla="*/ 2133600 h 3147261"/>
                  <a:gd name="connsiteX64" fmla="*/ 100069 w 3148171"/>
                  <a:gd name="connsiteY64" fmla="*/ 2087880 h 3147261"/>
                  <a:gd name="connsiteX65" fmla="*/ 61969 w 3148171"/>
                  <a:gd name="connsiteY65" fmla="*/ 2026920 h 3147261"/>
                  <a:gd name="connsiteX66" fmla="*/ 54349 w 3148171"/>
                  <a:gd name="connsiteY66" fmla="*/ 2004060 h 3147261"/>
                  <a:gd name="connsiteX67" fmla="*/ 39109 w 3148171"/>
                  <a:gd name="connsiteY67" fmla="*/ 1943100 h 3147261"/>
                  <a:gd name="connsiteX68" fmla="*/ 23869 w 3148171"/>
                  <a:gd name="connsiteY68" fmla="*/ 1897380 h 3147261"/>
                  <a:gd name="connsiteX69" fmla="*/ 1009 w 3148171"/>
                  <a:gd name="connsiteY69" fmla="*/ 1562100 h 3147261"/>
                  <a:gd name="connsiteX70" fmla="*/ 54349 w 3148171"/>
                  <a:gd name="connsiteY70" fmla="*/ 1135380 h 3147261"/>
                  <a:gd name="connsiteX71" fmla="*/ 161029 w 3148171"/>
                  <a:gd name="connsiteY71" fmla="*/ 861060 h 3147261"/>
                  <a:gd name="connsiteX72" fmla="*/ 183889 w 3148171"/>
                  <a:gd name="connsiteY72" fmla="*/ 822960 h 3147261"/>
                  <a:gd name="connsiteX73" fmla="*/ 260089 w 3148171"/>
                  <a:gd name="connsiteY73" fmla="*/ 708660 h 3147261"/>
                  <a:gd name="connsiteX74" fmla="*/ 275329 w 3148171"/>
                  <a:gd name="connsiteY74" fmla="*/ 662940 h 3147261"/>
                  <a:gd name="connsiteX75" fmla="*/ 420109 w 3148171"/>
                  <a:gd name="connsiteY75" fmla="*/ 510540 h 3147261"/>
                  <a:gd name="connsiteX76" fmla="*/ 511549 w 3148171"/>
                  <a:gd name="connsiteY76" fmla="*/ 434340 h 3147261"/>
                  <a:gd name="connsiteX77" fmla="*/ 564889 w 3148171"/>
                  <a:gd name="connsiteY77" fmla="*/ 396240 h 3147261"/>
                  <a:gd name="connsiteX78" fmla="*/ 656329 w 3148171"/>
                  <a:gd name="connsiteY78" fmla="*/ 312420 h 3147261"/>
                  <a:gd name="connsiteX79" fmla="*/ 869689 w 3148171"/>
                  <a:gd name="connsiteY79" fmla="*/ 175260 h 3147261"/>
                  <a:gd name="connsiteX80" fmla="*/ 976369 w 3148171"/>
                  <a:gd name="connsiteY80" fmla="*/ 137160 h 3147261"/>
                  <a:gd name="connsiteX81" fmla="*/ 1105909 w 3148171"/>
                  <a:gd name="connsiteY81" fmla="*/ 76200 h 3147261"/>
                  <a:gd name="connsiteX82" fmla="*/ 1243069 w 3148171"/>
                  <a:gd name="connsiteY82" fmla="*/ 38100 h 3147261"/>
                  <a:gd name="connsiteX83" fmla="*/ 1265929 w 3148171"/>
                  <a:gd name="connsiteY83" fmla="*/ 30480 h 3147261"/>
                  <a:gd name="connsiteX84" fmla="*/ 1387849 w 3148171"/>
                  <a:gd name="connsiteY84" fmla="*/ 15240 h 3147261"/>
                  <a:gd name="connsiteX85" fmla="*/ 1464049 w 3148171"/>
                  <a:gd name="connsiteY85" fmla="*/ 0 h 3147261"/>
                  <a:gd name="connsiteX86" fmla="*/ 1745989 w 3148171"/>
                  <a:gd name="connsiteY86" fmla="*/ 0 h 3147261"/>
                  <a:gd name="connsiteX87" fmla="*/ 2165089 w 3148171"/>
                  <a:gd name="connsiteY87" fmla="*/ 99060 h 3147261"/>
                  <a:gd name="connsiteX88" fmla="*/ 2340349 w 3148171"/>
                  <a:gd name="connsiteY88" fmla="*/ 182880 h 3147261"/>
                  <a:gd name="connsiteX89" fmla="*/ 2370829 w 3148171"/>
                  <a:gd name="connsiteY89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2995669 w 3148171"/>
                  <a:gd name="connsiteY12" fmla="*/ 952500 h 3147261"/>
                  <a:gd name="connsiteX13" fmla="*/ 3010909 w 3148171"/>
                  <a:gd name="connsiteY13" fmla="*/ 998220 h 3147261"/>
                  <a:gd name="connsiteX14" fmla="*/ 3026149 w 3148171"/>
                  <a:gd name="connsiteY14" fmla="*/ 1036320 h 3147261"/>
                  <a:gd name="connsiteX15" fmla="*/ 3033769 w 3148171"/>
                  <a:gd name="connsiteY15" fmla="*/ 1066800 h 3147261"/>
                  <a:gd name="connsiteX16" fmla="*/ 3056629 w 3148171"/>
                  <a:gd name="connsiteY16" fmla="*/ 1104900 h 3147261"/>
                  <a:gd name="connsiteX17" fmla="*/ 3087109 w 3148171"/>
                  <a:gd name="connsiteY17" fmla="*/ 1181100 h 3147261"/>
                  <a:gd name="connsiteX18" fmla="*/ 3094729 w 3148171"/>
                  <a:gd name="connsiteY18" fmla="*/ 1226820 h 3147261"/>
                  <a:gd name="connsiteX19" fmla="*/ 3102349 w 3148171"/>
                  <a:gd name="connsiteY19" fmla="*/ 1280160 h 3147261"/>
                  <a:gd name="connsiteX20" fmla="*/ 3117589 w 3148171"/>
                  <a:gd name="connsiteY20" fmla="*/ 1371600 h 3147261"/>
                  <a:gd name="connsiteX21" fmla="*/ 3132829 w 3148171"/>
                  <a:gd name="connsiteY21" fmla="*/ 1417320 h 3147261"/>
                  <a:gd name="connsiteX22" fmla="*/ 3140449 w 3148171"/>
                  <a:gd name="connsiteY22" fmla="*/ 1485900 h 3147261"/>
                  <a:gd name="connsiteX23" fmla="*/ 3148069 w 3148171"/>
                  <a:gd name="connsiteY23" fmla="*/ 1516380 h 3147261"/>
                  <a:gd name="connsiteX24" fmla="*/ 3132829 w 3148171"/>
                  <a:gd name="connsiteY24" fmla="*/ 1691640 h 3147261"/>
                  <a:gd name="connsiteX25" fmla="*/ 3125209 w 3148171"/>
                  <a:gd name="connsiteY25" fmla="*/ 1767840 h 3147261"/>
                  <a:gd name="connsiteX26" fmla="*/ 3109969 w 3148171"/>
                  <a:gd name="connsiteY26" fmla="*/ 1836420 h 3147261"/>
                  <a:gd name="connsiteX27" fmla="*/ 3087109 w 3148171"/>
                  <a:gd name="connsiteY27" fmla="*/ 1905000 h 3147261"/>
                  <a:gd name="connsiteX28" fmla="*/ 3079489 w 3148171"/>
                  <a:gd name="connsiteY28" fmla="*/ 1935480 h 3147261"/>
                  <a:gd name="connsiteX29" fmla="*/ 3071869 w 3148171"/>
                  <a:gd name="connsiteY29" fmla="*/ 1958340 h 3147261"/>
                  <a:gd name="connsiteX30" fmla="*/ 3056629 w 3148171"/>
                  <a:gd name="connsiteY30" fmla="*/ 2019300 h 3147261"/>
                  <a:gd name="connsiteX31" fmla="*/ 3041389 w 3148171"/>
                  <a:gd name="connsiteY31" fmla="*/ 2057400 h 3147261"/>
                  <a:gd name="connsiteX32" fmla="*/ 3033769 w 3148171"/>
                  <a:gd name="connsiteY32" fmla="*/ 2080260 h 3147261"/>
                  <a:gd name="connsiteX33" fmla="*/ 3018529 w 3148171"/>
                  <a:gd name="connsiteY33" fmla="*/ 2118360 h 3147261"/>
                  <a:gd name="connsiteX34" fmla="*/ 2995669 w 3148171"/>
                  <a:gd name="connsiteY34" fmla="*/ 2186940 h 3147261"/>
                  <a:gd name="connsiteX35" fmla="*/ 2988049 w 3148171"/>
                  <a:gd name="connsiteY35" fmla="*/ 2225040 h 3147261"/>
                  <a:gd name="connsiteX36" fmla="*/ 2972809 w 3148171"/>
                  <a:gd name="connsiteY36" fmla="*/ 2270760 h 3147261"/>
                  <a:gd name="connsiteX37" fmla="*/ 2965189 w 3148171"/>
                  <a:gd name="connsiteY37" fmla="*/ 2308860 h 3147261"/>
                  <a:gd name="connsiteX38" fmla="*/ 2949949 w 3148171"/>
                  <a:gd name="connsiteY38" fmla="*/ 2331720 h 3147261"/>
                  <a:gd name="connsiteX39" fmla="*/ 2927089 w 3148171"/>
                  <a:gd name="connsiteY39" fmla="*/ 2385060 h 3147261"/>
                  <a:gd name="connsiteX40" fmla="*/ 2904229 w 3148171"/>
                  <a:gd name="connsiteY40" fmla="*/ 2407920 h 3147261"/>
                  <a:gd name="connsiteX41" fmla="*/ 2858509 w 3148171"/>
                  <a:gd name="connsiteY41" fmla="*/ 2499360 h 3147261"/>
                  <a:gd name="connsiteX42" fmla="*/ 2843269 w 3148171"/>
                  <a:gd name="connsiteY42" fmla="*/ 2529840 h 3147261"/>
                  <a:gd name="connsiteX43" fmla="*/ 2835649 w 3148171"/>
                  <a:gd name="connsiteY43" fmla="*/ 2552700 h 3147261"/>
                  <a:gd name="connsiteX44" fmla="*/ 2759449 w 3148171"/>
                  <a:gd name="connsiteY44" fmla="*/ 2636520 h 3147261"/>
                  <a:gd name="connsiteX45" fmla="*/ 2706109 w 3148171"/>
                  <a:gd name="connsiteY45" fmla="*/ 2667000 h 3147261"/>
                  <a:gd name="connsiteX46" fmla="*/ 2302249 w 3148171"/>
                  <a:gd name="connsiteY46" fmla="*/ 2971800 h 3147261"/>
                  <a:gd name="connsiteX47" fmla="*/ 2195569 w 3148171"/>
                  <a:gd name="connsiteY47" fmla="*/ 3025140 h 3147261"/>
                  <a:gd name="connsiteX48" fmla="*/ 2096509 w 3148171"/>
                  <a:gd name="connsiteY48" fmla="*/ 3055620 h 3147261"/>
                  <a:gd name="connsiteX49" fmla="*/ 1913629 w 3148171"/>
                  <a:gd name="connsiteY49" fmla="*/ 3108960 h 3147261"/>
                  <a:gd name="connsiteX50" fmla="*/ 1799329 w 3148171"/>
                  <a:gd name="connsiteY50" fmla="*/ 3147060 h 3147261"/>
                  <a:gd name="connsiteX51" fmla="*/ 1334509 w 3148171"/>
                  <a:gd name="connsiteY51" fmla="*/ 3108960 h 3147261"/>
                  <a:gd name="connsiteX52" fmla="*/ 793489 w 3148171"/>
                  <a:gd name="connsiteY52" fmla="*/ 2933700 h 3147261"/>
                  <a:gd name="connsiteX53" fmla="*/ 420109 w 3148171"/>
                  <a:gd name="connsiteY53" fmla="*/ 2644140 h 3147261"/>
                  <a:gd name="connsiteX54" fmla="*/ 321049 w 3148171"/>
                  <a:gd name="connsiteY54" fmla="*/ 2484120 h 3147261"/>
                  <a:gd name="connsiteX55" fmla="*/ 298189 w 3148171"/>
                  <a:gd name="connsiteY55" fmla="*/ 2430780 h 3147261"/>
                  <a:gd name="connsiteX56" fmla="*/ 275329 w 3148171"/>
                  <a:gd name="connsiteY56" fmla="*/ 2377440 h 3147261"/>
                  <a:gd name="connsiteX57" fmla="*/ 229609 w 3148171"/>
                  <a:gd name="connsiteY57" fmla="*/ 2316480 h 3147261"/>
                  <a:gd name="connsiteX58" fmla="*/ 206749 w 3148171"/>
                  <a:gd name="connsiteY58" fmla="*/ 2293620 h 3147261"/>
                  <a:gd name="connsiteX59" fmla="*/ 176269 w 3148171"/>
                  <a:gd name="connsiteY59" fmla="*/ 2240280 h 3147261"/>
                  <a:gd name="connsiteX60" fmla="*/ 161029 w 3148171"/>
                  <a:gd name="connsiteY60" fmla="*/ 2202180 h 3147261"/>
                  <a:gd name="connsiteX61" fmla="*/ 145789 w 3148171"/>
                  <a:gd name="connsiteY61" fmla="*/ 2179320 h 3147261"/>
                  <a:gd name="connsiteX62" fmla="*/ 130549 w 3148171"/>
                  <a:gd name="connsiteY62" fmla="*/ 2133600 h 3147261"/>
                  <a:gd name="connsiteX63" fmla="*/ 100069 w 3148171"/>
                  <a:gd name="connsiteY63" fmla="*/ 2087880 h 3147261"/>
                  <a:gd name="connsiteX64" fmla="*/ 61969 w 3148171"/>
                  <a:gd name="connsiteY64" fmla="*/ 2026920 h 3147261"/>
                  <a:gd name="connsiteX65" fmla="*/ 54349 w 3148171"/>
                  <a:gd name="connsiteY65" fmla="*/ 2004060 h 3147261"/>
                  <a:gd name="connsiteX66" fmla="*/ 39109 w 3148171"/>
                  <a:gd name="connsiteY66" fmla="*/ 1943100 h 3147261"/>
                  <a:gd name="connsiteX67" fmla="*/ 23869 w 3148171"/>
                  <a:gd name="connsiteY67" fmla="*/ 1897380 h 3147261"/>
                  <a:gd name="connsiteX68" fmla="*/ 1009 w 3148171"/>
                  <a:gd name="connsiteY68" fmla="*/ 1562100 h 3147261"/>
                  <a:gd name="connsiteX69" fmla="*/ 54349 w 3148171"/>
                  <a:gd name="connsiteY69" fmla="*/ 1135380 h 3147261"/>
                  <a:gd name="connsiteX70" fmla="*/ 161029 w 3148171"/>
                  <a:gd name="connsiteY70" fmla="*/ 861060 h 3147261"/>
                  <a:gd name="connsiteX71" fmla="*/ 183889 w 3148171"/>
                  <a:gd name="connsiteY71" fmla="*/ 822960 h 3147261"/>
                  <a:gd name="connsiteX72" fmla="*/ 260089 w 3148171"/>
                  <a:gd name="connsiteY72" fmla="*/ 708660 h 3147261"/>
                  <a:gd name="connsiteX73" fmla="*/ 275329 w 3148171"/>
                  <a:gd name="connsiteY73" fmla="*/ 662940 h 3147261"/>
                  <a:gd name="connsiteX74" fmla="*/ 420109 w 3148171"/>
                  <a:gd name="connsiteY74" fmla="*/ 510540 h 3147261"/>
                  <a:gd name="connsiteX75" fmla="*/ 511549 w 3148171"/>
                  <a:gd name="connsiteY75" fmla="*/ 434340 h 3147261"/>
                  <a:gd name="connsiteX76" fmla="*/ 564889 w 3148171"/>
                  <a:gd name="connsiteY76" fmla="*/ 396240 h 3147261"/>
                  <a:gd name="connsiteX77" fmla="*/ 656329 w 3148171"/>
                  <a:gd name="connsiteY77" fmla="*/ 312420 h 3147261"/>
                  <a:gd name="connsiteX78" fmla="*/ 869689 w 3148171"/>
                  <a:gd name="connsiteY78" fmla="*/ 175260 h 3147261"/>
                  <a:gd name="connsiteX79" fmla="*/ 976369 w 3148171"/>
                  <a:gd name="connsiteY79" fmla="*/ 137160 h 3147261"/>
                  <a:gd name="connsiteX80" fmla="*/ 1105909 w 3148171"/>
                  <a:gd name="connsiteY80" fmla="*/ 76200 h 3147261"/>
                  <a:gd name="connsiteX81" fmla="*/ 1243069 w 3148171"/>
                  <a:gd name="connsiteY81" fmla="*/ 38100 h 3147261"/>
                  <a:gd name="connsiteX82" fmla="*/ 1265929 w 3148171"/>
                  <a:gd name="connsiteY82" fmla="*/ 30480 h 3147261"/>
                  <a:gd name="connsiteX83" fmla="*/ 1387849 w 3148171"/>
                  <a:gd name="connsiteY83" fmla="*/ 15240 h 3147261"/>
                  <a:gd name="connsiteX84" fmla="*/ 1464049 w 3148171"/>
                  <a:gd name="connsiteY84" fmla="*/ 0 h 3147261"/>
                  <a:gd name="connsiteX85" fmla="*/ 1745989 w 3148171"/>
                  <a:gd name="connsiteY85" fmla="*/ 0 h 3147261"/>
                  <a:gd name="connsiteX86" fmla="*/ 2165089 w 3148171"/>
                  <a:gd name="connsiteY86" fmla="*/ 99060 h 3147261"/>
                  <a:gd name="connsiteX87" fmla="*/ 2340349 w 3148171"/>
                  <a:gd name="connsiteY87" fmla="*/ 182880 h 3147261"/>
                  <a:gd name="connsiteX88" fmla="*/ 2370829 w 3148171"/>
                  <a:gd name="connsiteY88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2995669 w 3148171"/>
                  <a:gd name="connsiteY12" fmla="*/ 952500 h 3147261"/>
                  <a:gd name="connsiteX13" fmla="*/ 3010909 w 3148171"/>
                  <a:gd name="connsiteY13" fmla="*/ 998220 h 3147261"/>
                  <a:gd name="connsiteX14" fmla="*/ 3026149 w 3148171"/>
                  <a:gd name="connsiteY14" fmla="*/ 1036320 h 3147261"/>
                  <a:gd name="connsiteX15" fmla="*/ 3033769 w 3148171"/>
                  <a:gd name="connsiteY15" fmla="*/ 1066800 h 3147261"/>
                  <a:gd name="connsiteX16" fmla="*/ 3087109 w 3148171"/>
                  <a:gd name="connsiteY16" fmla="*/ 1181100 h 3147261"/>
                  <a:gd name="connsiteX17" fmla="*/ 3094729 w 3148171"/>
                  <a:gd name="connsiteY17" fmla="*/ 1226820 h 3147261"/>
                  <a:gd name="connsiteX18" fmla="*/ 3102349 w 3148171"/>
                  <a:gd name="connsiteY18" fmla="*/ 1280160 h 3147261"/>
                  <a:gd name="connsiteX19" fmla="*/ 3117589 w 3148171"/>
                  <a:gd name="connsiteY19" fmla="*/ 1371600 h 3147261"/>
                  <a:gd name="connsiteX20" fmla="*/ 3132829 w 3148171"/>
                  <a:gd name="connsiteY20" fmla="*/ 1417320 h 3147261"/>
                  <a:gd name="connsiteX21" fmla="*/ 3140449 w 3148171"/>
                  <a:gd name="connsiteY21" fmla="*/ 1485900 h 3147261"/>
                  <a:gd name="connsiteX22" fmla="*/ 3148069 w 3148171"/>
                  <a:gd name="connsiteY22" fmla="*/ 1516380 h 3147261"/>
                  <a:gd name="connsiteX23" fmla="*/ 3132829 w 3148171"/>
                  <a:gd name="connsiteY23" fmla="*/ 1691640 h 3147261"/>
                  <a:gd name="connsiteX24" fmla="*/ 3125209 w 3148171"/>
                  <a:gd name="connsiteY24" fmla="*/ 1767840 h 3147261"/>
                  <a:gd name="connsiteX25" fmla="*/ 3109969 w 3148171"/>
                  <a:gd name="connsiteY25" fmla="*/ 1836420 h 3147261"/>
                  <a:gd name="connsiteX26" fmla="*/ 3087109 w 3148171"/>
                  <a:gd name="connsiteY26" fmla="*/ 1905000 h 3147261"/>
                  <a:gd name="connsiteX27" fmla="*/ 3079489 w 3148171"/>
                  <a:gd name="connsiteY27" fmla="*/ 1935480 h 3147261"/>
                  <a:gd name="connsiteX28" fmla="*/ 3071869 w 3148171"/>
                  <a:gd name="connsiteY28" fmla="*/ 1958340 h 3147261"/>
                  <a:gd name="connsiteX29" fmla="*/ 3056629 w 3148171"/>
                  <a:gd name="connsiteY29" fmla="*/ 2019300 h 3147261"/>
                  <a:gd name="connsiteX30" fmla="*/ 3041389 w 3148171"/>
                  <a:gd name="connsiteY30" fmla="*/ 2057400 h 3147261"/>
                  <a:gd name="connsiteX31" fmla="*/ 3033769 w 3148171"/>
                  <a:gd name="connsiteY31" fmla="*/ 2080260 h 3147261"/>
                  <a:gd name="connsiteX32" fmla="*/ 3018529 w 3148171"/>
                  <a:gd name="connsiteY32" fmla="*/ 2118360 h 3147261"/>
                  <a:gd name="connsiteX33" fmla="*/ 2995669 w 3148171"/>
                  <a:gd name="connsiteY33" fmla="*/ 2186940 h 3147261"/>
                  <a:gd name="connsiteX34" fmla="*/ 2988049 w 3148171"/>
                  <a:gd name="connsiteY34" fmla="*/ 2225040 h 3147261"/>
                  <a:gd name="connsiteX35" fmla="*/ 2972809 w 3148171"/>
                  <a:gd name="connsiteY35" fmla="*/ 2270760 h 3147261"/>
                  <a:gd name="connsiteX36" fmla="*/ 2965189 w 3148171"/>
                  <a:gd name="connsiteY36" fmla="*/ 2308860 h 3147261"/>
                  <a:gd name="connsiteX37" fmla="*/ 2949949 w 3148171"/>
                  <a:gd name="connsiteY37" fmla="*/ 2331720 h 3147261"/>
                  <a:gd name="connsiteX38" fmla="*/ 2927089 w 3148171"/>
                  <a:gd name="connsiteY38" fmla="*/ 2385060 h 3147261"/>
                  <a:gd name="connsiteX39" fmla="*/ 2904229 w 3148171"/>
                  <a:gd name="connsiteY39" fmla="*/ 2407920 h 3147261"/>
                  <a:gd name="connsiteX40" fmla="*/ 2858509 w 3148171"/>
                  <a:gd name="connsiteY40" fmla="*/ 2499360 h 3147261"/>
                  <a:gd name="connsiteX41" fmla="*/ 2843269 w 3148171"/>
                  <a:gd name="connsiteY41" fmla="*/ 2529840 h 3147261"/>
                  <a:gd name="connsiteX42" fmla="*/ 2835649 w 3148171"/>
                  <a:gd name="connsiteY42" fmla="*/ 2552700 h 3147261"/>
                  <a:gd name="connsiteX43" fmla="*/ 2759449 w 3148171"/>
                  <a:gd name="connsiteY43" fmla="*/ 2636520 h 3147261"/>
                  <a:gd name="connsiteX44" fmla="*/ 2706109 w 3148171"/>
                  <a:gd name="connsiteY44" fmla="*/ 2667000 h 3147261"/>
                  <a:gd name="connsiteX45" fmla="*/ 2302249 w 3148171"/>
                  <a:gd name="connsiteY45" fmla="*/ 2971800 h 3147261"/>
                  <a:gd name="connsiteX46" fmla="*/ 2195569 w 3148171"/>
                  <a:gd name="connsiteY46" fmla="*/ 3025140 h 3147261"/>
                  <a:gd name="connsiteX47" fmla="*/ 2096509 w 3148171"/>
                  <a:gd name="connsiteY47" fmla="*/ 3055620 h 3147261"/>
                  <a:gd name="connsiteX48" fmla="*/ 1913629 w 3148171"/>
                  <a:gd name="connsiteY48" fmla="*/ 3108960 h 3147261"/>
                  <a:gd name="connsiteX49" fmla="*/ 1799329 w 3148171"/>
                  <a:gd name="connsiteY49" fmla="*/ 3147060 h 3147261"/>
                  <a:gd name="connsiteX50" fmla="*/ 1334509 w 3148171"/>
                  <a:gd name="connsiteY50" fmla="*/ 3108960 h 3147261"/>
                  <a:gd name="connsiteX51" fmla="*/ 793489 w 3148171"/>
                  <a:gd name="connsiteY51" fmla="*/ 2933700 h 3147261"/>
                  <a:gd name="connsiteX52" fmla="*/ 420109 w 3148171"/>
                  <a:gd name="connsiteY52" fmla="*/ 2644140 h 3147261"/>
                  <a:gd name="connsiteX53" fmla="*/ 321049 w 3148171"/>
                  <a:gd name="connsiteY53" fmla="*/ 2484120 h 3147261"/>
                  <a:gd name="connsiteX54" fmla="*/ 298189 w 3148171"/>
                  <a:gd name="connsiteY54" fmla="*/ 2430780 h 3147261"/>
                  <a:gd name="connsiteX55" fmla="*/ 275329 w 3148171"/>
                  <a:gd name="connsiteY55" fmla="*/ 2377440 h 3147261"/>
                  <a:gd name="connsiteX56" fmla="*/ 229609 w 3148171"/>
                  <a:gd name="connsiteY56" fmla="*/ 2316480 h 3147261"/>
                  <a:gd name="connsiteX57" fmla="*/ 206749 w 3148171"/>
                  <a:gd name="connsiteY57" fmla="*/ 2293620 h 3147261"/>
                  <a:gd name="connsiteX58" fmla="*/ 176269 w 3148171"/>
                  <a:gd name="connsiteY58" fmla="*/ 2240280 h 3147261"/>
                  <a:gd name="connsiteX59" fmla="*/ 161029 w 3148171"/>
                  <a:gd name="connsiteY59" fmla="*/ 2202180 h 3147261"/>
                  <a:gd name="connsiteX60" fmla="*/ 145789 w 3148171"/>
                  <a:gd name="connsiteY60" fmla="*/ 2179320 h 3147261"/>
                  <a:gd name="connsiteX61" fmla="*/ 130549 w 3148171"/>
                  <a:gd name="connsiteY61" fmla="*/ 2133600 h 3147261"/>
                  <a:gd name="connsiteX62" fmla="*/ 100069 w 3148171"/>
                  <a:gd name="connsiteY62" fmla="*/ 2087880 h 3147261"/>
                  <a:gd name="connsiteX63" fmla="*/ 61969 w 3148171"/>
                  <a:gd name="connsiteY63" fmla="*/ 2026920 h 3147261"/>
                  <a:gd name="connsiteX64" fmla="*/ 54349 w 3148171"/>
                  <a:gd name="connsiteY64" fmla="*/ 2004060 h 3147261"/>
                  <a:gd name="connsiteX65" fmla="*/ 39109 w 3148171"/>
                  <a:gd name="connsiteY65" fmla="*/ 1943100 h 3147261"/>
                  <a:gd name="connsiteX66" fmla="*/ 23869 w 3148171"/>
                  <a:gd name="connsiteY66" fmla="*/ 1897380 h 3147261"/>
                  <a:gd name="connsiteX67" fmla="*/ 1009 w 3148171"/>
                  <a:gd name="connsiteY67" fmla="*/ 1562100 h 3147261"/>
                  <a:gd name="connsiteX68" fmla="*/ 54349 w 3148171"/>
                  <a:gd name="connsiteY68" fmla="*/ 1135380 h 3147261"/>
                  <a:gd name="connsiteX69" fmla="*/ 161029 w 3148171"/>
                  <a:gd name="connsiteY69" fmla="*/ 861060 h 3147261"/>
                  <a:gd name="connsiteX70" fmla="*/ 183889 w 3148171"/>
                  <a:gd name="connsiteY70" fmla="*/ 822960 h 3147261"/>
                  <a:gd name="connsiteX71" fmla="*/ 260089 w 3148171"/>
                  <a:gd name="connsiteY71" fmla="*/ 708660 h 3147261"/>
                  <a:gd name="connsiteX72" fmla="*/ 275329 w 3148171"/>
                  <a:gd name="connsiteY72" fmla="*/ 662940 h 3147261"/>
                  <a:gd name="connsiteX73" fmla="*/ 420109 w 3148171"/>
                  <a:gd name="connsiteY73" fmla="*/ 510540 h 3147261"/>
                  <a:gd name="connsiteX74" fmla="*/ 511549 w 3148171"/>
                  <a:gd name="connsiteY74" fmla="*/ 434340 h 3147261"/>
                  <a:gd name="connsiteX75" fmla="*/ 564889 w 3148171"/>
                  <a:gd name="connsiteY75" fmla="*/ 396240 h 3147261"/>
                  <a:gd name="connsiteX76" fmla="*/ 656329 w 3148171"/>
                  <a:gd name="connsiteY76" fmla="*/ 312420 h 3147261"/>
                  <a:gd name="connsiteX77" fmla="*/ 869689 w 3148171"/>
                  <a:gd name="connsiteY77" fmla="*/ 175260 h 3147261"/>
                  <a:gd name="connsiteX78" fmla="*/ 976369 w 3148171"/>
                  <a:gd name="connsiteY78" fmla="*/ 137160 h 3147261"/>
                  <a:gd name="connsiteX79" fmla="*/ 1105909 w 3148171"/>
                  <a:gd name="connsiteY79" fmla="*/ 76200 h 3147261"/>
                  <a:gd name="connsiteX80" fmla="*/ 1243069 w 3148171"/>
                  <a:gd name="connsiteY80" fmla="*/ 38100 h 3147261"/>
                  <a:gd name="connsiteX81" fmla="*/ 1265929 w 3148171"/>
                  <a:gd name="connsiteY81" fmla="*/ 30480 h 3147261"/>
                  <a:gd name="connsiteX82" fmla="*/ 1387849 w 3148171"/>
                  <a:gd name="connsiteY82" fmla="*/ 15240 h 3147261"/>
                  <a:gd name="connsiteX83" fmla="*/ 1464049 w 3148171"/>
                  <a:gd name="connsiteY83" fmla="*/ 0 h 3147261"/>
                  <a:gd name="connsiteX84" fmla="*/ 1745989 w 3148171"/>
                  <a:gd name="connsiteY84" fmla="*/ 0 h 3147261"/>
                  <a:gd name="connsiteX85" fmla="*/ 2165089 w 3148171"/>
                  <a:gd name="connsiteY85" fmla="*/ 99060 h 3147261"/>
                  <a:gd name="connsiteX86" fmla="*/ 2340349 w 3148171"/>
                  <a:gd name="connsiteY86" fmla="*/ 182880 h 3147261"/>
                  <a:gd name="connsiteX87" fmla="*/ 2370829 w 3148171"/>
                  <a:gd name="connsiteY87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57569 w 3148171"/>
                  <a:gd name="connsiteY10" fmla="*/ 868680 h 3147261"/>
                  <a:gd name="connsiteX11" fmla="*/ 2980429 w 3148171"/>
                  <a:gd name="connsiteY11" fmla="*/ 922020 h 3147261"/>
                  <a:gd name="connsiteX12" fmla="*/ 3010909 w 3148171"/>
                  <a:gd name="connsiteY12" fmla="*/ 998220 h 3147261"/>
                  <a:gd name="connsiteX13" fmla="*/ 3026149 w 3148171"/>
                  <a:gd name="connsiteY13" fmla="*/ 1036320 h 3147261"/>
                  <a:gd name="connsiteX14" fmla="*/ 3033769 w 3148171"/>
                  <a:gd name="connsiteY14" fmla="*/ 1066800 h 3147261"/>
                  <a:gd name="connsiteX15" fmla="*/ 3087109 w 3148171"/>
                  <a:gd name="connsiteY15" fmla="*/ 1181100 h 3147261"/>
                  <a:gd name="connsiteX16" fmla="*/ 3094729 w 3148171"/>
                  <a:gd name="connsiteY16" fmla="*/ 1226820 h 3147261"/>
                  <a:gd name="connsiteX17" fmla="*/ 3102349 w 3148171"/>
                  <a:gd name="connsiteY17" fmla="*/ 1280160 h 3147261"/>
                  <a:gd name="connsiteX18" fmla="*/ 3117589 w 3148171"/>
                  <a:gd name="connsiteY18" fmla="*/ 1371600 h 3147261"/>
                  <a:gd name="connsiteX19" fmla="*/ 3132829 w 3148171"/>
                  <a:gd name="connsiteY19" fmla="*/ 1417320 h 3147261"/>
                  <a:gd name="connsiteX20" fmla="*/ 3140449 w 3148171"/>
                  <a:gd name="connsiteY20" fmla="*/ 1485900 h 3147261"/>
                  <a:gd name="connsiteX21" fmla="*/ 3148069 w 3148171"/>
                  <a:gd name="connsiteY21" fmla="*/ 1516380 h 3147261"/>
                  <a:gd name="connsiteX22" fmla="*/ 3132829 w 3148171"/>
                  <a:gd name="connsiteY22" fmla="*/ 1691640 h 3147261"/>
                  <a:gd name="connsiteX23" fmla="*/ 3125209 w 3148171"/>
                  <a:gd name="connsiteY23" fmla="*/ 1767840 h 3147261"/>
                  <a:gd name="connsiteX24" fmla="*/ 3109969 w 3148171"/>
                  <a:gd name="connsiteY24" fmla="*/ 1836420 h 3147261"/>
                  <a:gd name="connsiteX25" fmla="*/ 3087109 w 3148171"/>
                  <a:gd name="connsiteY25" fmla="*/ 1905000 h 3147261"/>
                  <a:gd name="connsiteX26" fmla="*/ 3079489 w 3148171"/>
                  <a:gd name="connsiteY26" fmla="*/ 1935480 h 3147261"/>
                  <a:gd name="connsiteX27" fmla="*/ 3071869 w 3148171"/>
                  <a:gd name="connsiteY27" fmla="*/ 1958340 h 3147261"/>
                  <a:gd name="connsiteX28" fmla="*/ 3056629 w 3148171"/>
                  <a:gd name="connsiteY28" fmla="*/ 2019300 h 3147261"/>
                  <a:gd name="connsiteX29" fmla="*/ 3041389 w 3148171"/>
                  <a:gd name="connsiteY29" fmla="*/ 2057400 h 3147261"/>
                  <a:gd name="connsiteX30" fmla="*/ 3033769 w 3148171"/>
                  <a:gd name="connsiteY30" fmla="*/ 2080260 h 3147261"/>
                  <a:gd name="connsiteX31" fmla="*/ 3018529 w 3148171"/>
                  <a:gd name="connsiteY31" fmla="*/ 2118360 h 3147261"/>
                  <a:gd name="connsiteX32" fmla="*/ 2995669 w 3148171"/>
                  <a:gd name="connsiteY32" fmla="*/ 2186940 h 3147261"/>
                  <a:gd name="connsiteX33" fmla="*/ 2988049 w 3148171"/>
                  <a:gd name="connsiteY33" fmla="*/ 2225040 h 3147261"/>
                  <a:gd name="connsiteX34" fmla="*/ 2972809 w 3148171"/>
                  <a:gd name="connsiteY34" fmla="*/ 2270760 h 3147261"/>
                  <a:gd name="connsiteX35" fmla="*/ 2965189 w 3148171"/>
                  <a:gd name="connsiteY35" fmla="*/ 2308860 h 3147261"/>
                  <a:gd name="connsiteX36" fmla="*/ 2949949 w 3148171"/>
                  <a:gd name="connsiteY36" fmla="*/ 2331720 h 3147261"/>
                  <a:gd name="connsiteX37" fmla="*/ 2927089 w 3148171"/>
                  <a:gd name="connsiteY37" fmla="*/ 2385060 h 3147261"/>
                  <a:gd name="connsiteX38" fmla="*/ 2904229 w 3148171"/>
                  <a:gd name="connsiteY38" fmla="*/ 2407920 h 3147261"/>
                  <a:gd name="connsiteX39" fmla="*/ 2858509 w 3148171"/>
                  <a:gd name="connsiteY39" fmla="*/ 2499360 h 3147261"/>
                  <a:gd name="connsiteX40" fmla="*/ 2843269 w 3148171"/>
                  <a:gd name="connsiteY40" fmla="*/ 2529840 h 3147261"/>
                  <a:gd name="connsiteX41" fmla="*/ 2835649 w 3148171"/>
                  <a:gd name="connsiteY41" fmla="*/ 2552700 h 3147261"/>
                  <a:gd name="connsiteX42" fmla="*/ 2759449 w 3148171"/>
                  <a:gd name="connsiteY42" fmla="*/ 2636520 h 3147261"/>
                  <a:gd name="connsiteX43" fmla="*/ 2706109 w 3148171"/>
                  <a:gd name="connsiteY43" fmla="*/ 2667000 h 3147261"/>
                  <a:gd name="connsiteX44" fmla="*/ 2302249 w 3148171"/>
                  <a:gd name="connsiteY44" fmla="*/ 2971800 h 3147261"/>
                  <a:gd name="connsiteX45" fmla="*/ 2195569 w 3148171"/>
                  <a:gd name="connsiteY45" fmla="*/ 3025140 h 3147261"/>
                  <a:gd name="connsiteX46" fmla="*/ 2096509 w 3148171"/>
                  <a:gd name="connsiteY46" fmla="*/ 3055620 h 3147261"/>
                  <a:gd name="connsiteX47" fmla="*/ 1913629 w 3148171"/>
                  <a:gd name="connsiteY47" fmla="*/ 3108960 h 3147261"/>
                  <a:gd name="connsiteX48" fmla="*/ 1799329 w 3148171"/>
                  <a:gd name="connsiteY48" fmla="*/ 3147060 h 3147261"/>
                  <a:gd name="connsiteX49" fmla="*/ 1334509 w 3148171"/>
                  <a:gd name="connsiteY49" fmla="*/ 3108960 h 3147261"/>
                  <a:gd name="connsiteX50" fmla="*/ 793489 w 3148171"/>
                  <a:gd name="connsiteY50" fmla="*/ 2933700 h 3147261"/>
                  <a:gd name="connsiteX51" fmla="*/ 420109 w 3148171"/>
                  <a:gd name="connsiteY51" fmla="*/ 2644140 h 3147261"/>
                  <a:gd name="connsiteX52" fmla="*/ 321049 w 3148171"/>
                  <a:gd name="connsiteY52" fmla="*/ 2484120 h 3147261"/>
                  <a:gd name="connsiteX53" fmla="*/ 298189 w 3148171"/>
                  <a:gd name="connsiteY53" fmla="*/ 2430780 h 3147261"/>
                  <a:gd name="connsiteX54" fmla="*/ 275329 w 3148171"/>
                  <a:gd name="connsiteY54" fmla="*/ 2377440 h 3147261"/>
                  <a:gd name="connsiteX55" fmla="*/ 229609 w 3148171"/>
                  <a:gd name="connsiteY55" fmla="*/ 2316480 h 3147261"/>
                  <a:gd name="connsiteX56" fmla="*/ 206749 w 3148171"/>
                  <a:gd name="connsiteY56" fmla="*/ 2293620 h 3147261"/>
                  <a:gd name="connsiteX57" fmla="*/ 176269 w 3148171"/>
                  <a:gd name="connsiteY57" fmla="*/ 2240280 h 3147261"/>
                  <a:gd name="connsiteX58" fmla="*/ 161029 w 3148171"/>
                  <a:gd name="connsiteY58" fmla="*/ 2202180 h 3147261"/>
                  <a:gd name="connsiteX59" fmla="*/ 145789 w 3148171"/>
                  <a:gd name="connsiteY59" fmla="*/ 2179320 h 3147261"/>
                  <a:gd name="connsiteX60" fmla="*/ 130549 w 3148171"/>
                  <a:gd name="connsiteY60" fmla="*/ 2133600 h 3147261"/>
                  <a:gd name="connsiteX61" fmla="*/ 100069 w 3148171"/>
                  <a:gd name="connsiteY61" fmla="*/ 2087880 h 3147261"/>
                  <a:gd name="connsiteX62" fmla="*/ 61969 w 3148171"/>
                  <a:gd name="connsiteY62" fmla="*/ 2026920 h 3147261"/>
                  <a:gd name="connsiteX63" fmla="*/ 54349 w 3148171"/>
                  <a:gd name="connsiteY63" fmla="*/ 2004060 h 3147261"/>
                  <a:gd name="connsiteX64" fmla="*/ 39109 w 3148171"/>
                  <a:gd name="connsiteY64" fmla="*/ 1943100 h 3147261"/>
                  <a:gd name="connsiteX65" fmla="*/ 23869 w 3148171"/>
                  <a:gd name="connsiteY65" fmla="*/ 1897380 h 3147261"/>
                  <a:gd name="connsiteX66" fmla="*/ 1009 w 3148171"/>
                  <a:gd name="connsiteY66" fmla="*/ 1562100 h 3147261"/>
                  <a:gd name="connsiteX67" fmla="*/ 54349 w 3148171"/>
                  <a:gd name="connsiteY67" fmla="*/ 1135380 h 3147261"/>
                  <a:gd name="connsiteX68" fmla="*/ 161029 w 3148171"/>
                  <a:gd name="connsiteY68" fmla="*/ 861060 h 3147261"/>
                  <a:gd name="connsiteX69" fmla="*/ 183889 w 3148171"/>
                  <a:gd name="connsiteY69" fmla="*/ 822960 h 3147261"/>
                  <a:gd name="connsiteX70" fmla="*/ 260089 w 3148171"/>
                  <a:gd name="connsiteY70" fmla="*/ 708660 h 3147261"/>
                  <a:gd name="connsiteX71" fmla="*/ 275329 w 3148171"/>
                  <a:gd name="connsiteY71" fmla="*/ 662940 h 3147261"/>
                  <a:gd name="connsiteX72" fmla="*/ 420109 w 3148171"/>
                  <a:gd name="connsiteY72" fmla="*/ 510540 h 3147261"/>
                  <a:gd name="connsiteX73" fmla="*/ 511549 w 3148171"/>
                  <a:gd name="connsiteY73" fmla="*/ 434340 h 3147261"/>
                  <a:gd name="connsiteX74" fmla="*/ 564889 w 3148171"/>
                  <a:gd name="connsiteY74" fmla="*/ 396240 h 3147261"/>
                  <a:gd name="connsiteX75" fmla="*/ 656329 w 3148171"/>
                  <a:gd name="connsiteY75" fmla="*/ 312420 h 3147261"/>
                  <a:gd name="connsiteX76" fmla="*/ 869689 w 3148171"/>
                  <a:gd name="connsiteY76" fmla="*/ 175260 h 3147261"/>
                  <a:gd name="connsiteX77" fmla="*/ 976369 w 3148171"/>
                  <a:gd name="connsiteY77" fmla="*/ 137160 h 3147261"/>
                  <a:gd name="connsiteX78" fmla="*/ 1105909 w 3148171"/>
                  <a:gd name="connsiteY78" fmla="*/ 76200 h 3147261"/>
                  <a:gd name="connsiteX79" fmla="*/ 1243069 w 3148171"/>
                  <a:gd name="connsiteY79" fmla="*/ 38100 h 3147261"/>
                  <a:gd name="connsiteX80" fmla="*/ 1265929 w 3148171"/>
                  <a:gd name="connsiteY80" fmla="*/ 30480 h 3147261"/>
                  <a:gd name="connsiteX81" fmla="*/ 1387849 w 3148171"/>
                  <a:gd name="connsiteY81" fmla="*/ 15240 h 3147261"/>
                  <a:gd name="connsiteX82" fmla="*/ 1464049 w 3148171"/>
                  <a:gd name="connsiteY82" fmla="*/ 0 h 3147261"/>
                  <a:gd name="connsiteX83" fmla="*/ 1745989 w 3148171"/>
                  <a:gd name="connsiteY83" fmla="*/ 0 h 3147261"/>
                  <a:gd name="connsiteX84" fmla="*/ 2165089 w 3148171"/>
                  <a:gd name="connsiteY84" fmla="*/ 99060 h 3147261"/>
                  <a:gd name="connsiteX85" fmla="*/ 2340349 w 3148171"/>
                  <a:gd name="connsiteY85" fmla="*/ 182880 h 3147261"/>
                  <a:gd name="connsiteX86" fmla="*/ 2370829 w 3148171"/>
                  <a:gd name="connsiteY86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2980429 w 3148171"/>
                  <a:gd name="connsiteY10" fmla="*/ 922020 h 3147261"/>
                  <a:gd name="connsiteX11" fmla="*/ 3010909 w 3148171"/>
                  <a:gd name="connsiteY11" fmla="*/ 998220 h 3147261"/>
                  <a:gd name="connsiteX12" fmla="*/ 3026149 w 3148171"/>
                  <a:gd name="connsiteY12" fmla="*/ 1036320 h 3147261"/>
                  <a:gd name="connsiteX13" fmla="*/ 3033769 w 3148171"/>
                  <a:gd name="connsiteY13" fmla="*/ 1066800 h 3147261"/>
                  <a:gd name="connsiteX14" fmla="*/ 3087109 w 3148171"/>
                  <a:gd name="connsiteY14" fmla="*/ 1181100 h 3147261"/>
                  <a:gd name="connsiteX15" fmla="*/ 3094729 w 3148171"/>
                  <a:gd name="connsiteY15" fmla="*/ 1226820 h 3147261"/>
                  <a:gd name="connsiteX16" fmla="*/ 3102349 w 3148171"/>
                  <a:gd name="connsiteY16" fmla="*/ 1280160 h 3147261"/>
                  <a:gd name="connsiteX17" fmla="*/ 3117589 w 3148171"/>
                  <a:gd name="connsiteY17" fmla="*/ 1371600 h 3147261"/>
                  <a:gd name="connsiteX18" fmla="*/ 3132829 w 3148171"/>
                  <a:gd name="connsiteY18" fmla="*/ 1417320 h 3147261"/>
                  <a:gd name="connsiteX19" fmla="*/ 3140449 w 3148171"/>
                  <a:gd name="connsiteY19" fmla="*/ 1485900 h 3147261"/>
                  <a:gd name="connsiteX20" fmla="*/ 3148069 w 3148171"/>
                  <a:gd name="connsiteY20" fmla="*/ 1516380 h 3147261"/>
                  <a:gd name="connsiteX21" fmla="*/ 3132829 w 3148171"/>
                  <a:gd name="connsiteY21" fmla="*/ 1691640 h 3147261"/>
                  <a:gd name="connsiteX22" fmla="*/ 3125209 w 3148171"/>
                  <a:gd name="connsiteY22" fmla="*/ 1767840 h 3147261"/>
                  <a:gd name="connsiteX23" fmla="*/ 3109969 w 3148171"/>
                  <a:gd name="connsiteY23" fmla="*/ 1836420 h 3147261"/>
                  <a:gd name="connsiteX24" fmla="*/ 3087109 w 3148171"/>
                  <a:gd name="connsiteY24" fmla="*/ 1905000 h 3147261"/>
                  <a:gd name="connsiteX25" fmla="*/ 3079489 w 3148171"/>
                  <a:gd name="connsiteY25" fmla="*/ 1935480 h 3147261"/>
                  <a:gd name="connsiteX26" fmla="*/ 3071869 w 3148171"/>
                  <a:gd name="connsiteY26" fmla="*/ 1958340 h 3147261"/>
                  <a:gd name="connsiteX27" fmla="*/ 3056629 w 3148171"/>
                  <a:gd name="connsiteY27" fmla="*/ 2019300 h 3147261"/>
                  <a:gd name="connsiteX28" fmla="*/ 3041389 w 3148171"/>
                  <a:gd name="connsiteY28" fmla="*/ 2057400 h 3147261"/>
                  <a:gd name="connsiteX29" fmla="*/ 3033769 w 3148171"/>
                  <a:gd name="connsiteY29" fmla="*/ 2080260 h 3147261"/>
                  <a:gd name="connsiteX30" fmla="*/ 3018529 w 3148171"/>
                  <a:gd name="connsiteY30" fmla="*/ 2118360 h 3147261"/>
                  <a:gd name="connsiteX31" fmla="*/ 2995669 w 3148171"/>
                  <a:gd name="connsiteY31" fmla="*/ 2186940 h 3147261"/>
                  <a:gd name="connsiteX32" fmla="*/ 2988049 w 3148171"/>
                  <a:gd name="connsiteY32" fmla="*/ 2225040 h 3147261"/>
                  <a:gd name="connsiteX33" fmla="*/ 2972809 w 3148171"/>
                  <a:gd name="connsiteY33" fmla="*/ 2270760 h 3147261"/>
                  <a:gd name="connsiteX34" fmla="*/ 2965189 w 3148171"/>
                  <a:gd name="connsiteY34" fmla="*/ 2308860 h 3147261"/>
                  <a:gd name="connsiteX35" fmla="*/ 2949949 w 3148171"/>
                  <a:gd name="connsiteY35" fmla="*/ 2331720 h 3147261"/>
                  <a:gd name="connsiteX36" fmla="*/ 2927089 w 3148171"/>
                  <a:gd name="connsiteY36" fmla="*/ 2385060 h 3147261"/>
                  <a:gd name="connsiteX37" fmla="*/ 2904229 w 3148171"/>
                  <a:gd name="connsiteY37" fmla="*/ 2407920 h 3147261"/>
                  <a:gd name="connsiteX38" fmla="*/ 2858509 w 3148171"/>
                  <a:gd name="connsiteY38" fmla="*/ 2499360 h 3147261"/>
                  <a:gd name="connsiteX39" fmla="*/ 2843269 w 3148171"/>
                  <a:gd name="connsiteY39" fmla="*/ 2529840 h 3147261"/>
                  <a:gd name="connsiteX40" fmla="*/ 2835649 w 3148171"/>
                  <a:gd name="connsiteY40" fmla="*/ 2552700 h 3147261"/>
                  <a:gd name="connsiteX41" fmla="*/ 2759449 w 3148171"/>
                  <a:gd name="connsiteY41" fmla="*/ 2636520 h 3147261"/>
                  <a:gd name="connsiteX42" fmla="*/ 2706109 w 3148171"/>
                  <a:gd name="connsiteY42" fmla="*/ 2667000 h 3147261"/>
                  <a:gd name="connsiteX43" fmla="*/ 2302249 w 3148171"/>
                  <a:gd name="connsiteY43" fmla="*/ 2971800 h 3147261"/>
                  <a:gd name="connsiteX44" fmla="*/ 2195569 w 3148171"/>
                  <a:gd name="connsiteY44" fmla="*/ 3025140 h 3147261"/>
                  <a:gd name="connsiteX45" fmla="*/ 2096509 w 3148171"/>
                  <a:gd name="connsiteY45" fmla="*/ 3055620 h 3147261"/>
                  <a:gd name="connsiteX46" fmla="*/ 1913629 w 3148171"/>
                  <a:gd name="connsiteY46" fmla="*/ 3108960 h 3147261"/>
                  <a:gd name="connsiteX47" fmla="*/ 1799329 w 3148171"/>
                  <a:gd name="connsiteY47" fmla="*/ 3147060 h 3147261"/>
                  <a:gd name="connsiteX48" fmla="*/ 1334509 w 3148171"/>
                  <a:gd name="connsiteY48" fmla="*/ 3108960 h 3147261"/>
                  <a:gd name="connsiteX49" fmla="*/ 793489 w 3148171"/>
                  <a:gd name="connsiteY49" fmla="*/ 2933700 h 3147261"/>
                  <a:gd name="connsiteX50" fmla="*/ 420109 w 3148171"/>
                  <a:gd name="connsiteY50" fmla="*/ 2644140 h 3147261"/>
                  <a:gd name="connsiteX51" fmla="*/ 321049 w 3148171"/>
                  <a:gd name="connsiteY51" fmla="*/ 2484120 h 3147261"/>
                  <a:gd name="connsiteX52" fmla="*/ 298189 w 3148171"/>
                  <a:gd name="connsiteY52" fmla="*/ 2430780 h 3147261"/>
                  <a:gd name="connsiteX53" fmla="*/ 275329 w 3148171"/>
                  <a:gd name="connsiteY53" fmla="*/ 2377440 h 3147261"/>
                  <a:gd name="connsiteX54" fmla="*/ 229609 w 3148171"/>
                  <a:gd name="connsiteY54" fmla="*/ 2316480 h 3147261"/>
                  <a:gd name="connsiteX55" fmla="*/ 206749 w 3148171"/>
                  <a:gd name="connsiteY55" fmla="*/ 2293620 h 3147261"/>
                  <a:gd name="connsiteX56" fmla="*/ 176269 w 3148171"/>
                  <a:gd name="connsiteY56" fmla="*/ 2240280 h 3147261"/>
                  <a:gd name="connsiteX57" fmla="*/ 161029 w 3148171"/>
                  <a:gd name="connsiteY57" fmla="*/ 2202180 h 3147261"/>
                  <a:gd name="connsiteX58" fmla="*/ 145789 w 3148171"/>
                  <a:gd name="connsiteY58" fmla="*/ 2179320 h 3147261"/>
                  <a:gd name="connsiteX59" fmla="*/ 130549 w 3148171"/>
                  <a:gd name="connsiteY59" fmla="*/ 2133600 h 3147261"/>
                  <a:gd name="connsiteX60" fmla="*/ 100069 w 3148171"/>
                  <a:gd name="connsiteY60" fmla="*/ 2087880 h 3147261"/>
                  <a:gd name="connsiteX61" fmla="*/ 61969 w 3148171"/>
                  <a:gd name="connsiteY61" fmla="*/ 2026920 h 3147261"/>
                  <a:gd name="connsiteX62" fmla="*/ 54349 w 3148171"/>
                  <a:gd name="connsiteY62" fmla="*/ 2004060 h 3147261"/>
                  <a:gd name="connsiteX63" fmla="*/ 39109 w 3148171"/>
                  <a:gd name="connsiteY63" fmla="*/ 1943100 h 3147261"/>
                  <a:gd name="connsiteX64" fmla="*/ 23869 w 3148171"/>
                  <a:gd name="connsiteY64" fmla="*/ 1897380 h 3147261"/>
                  <a:gd name="connsiteX65" fmla="*/ 1009 w 3148171"/>
                  <a:gd name="connsiteY65" fmla="*/ 1562100 h 3147261"/>
                  <a:gd name="connsiteX66" fmla="*/ 54349 w 3148171"/>
                  <a:gd name="connsiteY66" fmla="*/ 1135380 h 3147261"/>
                  <a:gd name="connsiteX67" fmla="*/ 161029 w 3148171"/>
                  <a:gd name="connsiteY67" fmla="*/ 861060 h 3147261"/>
                  <a:gd name="connsiteX68" fmla="*/ 183889 w 3148171"/>
                  <a:gd name="connsiteY68" fmla="*/ 822960 h 3147261"/>
                  <a:gd name="connsiteX69" fmla="*/ 260089 w 3148171"/>
                  <a:gd name="connsiteY69" fmla="*/ 708660 h 3147261"/>
                  <a:gd name="connsiteX70" fmla="*/ 275329 w 3148171"/>
                  <a:gd name="connsiteY70" fmla="*/ 662940 h 3147261"/>
                  <a:gd name="connsiteX71" fmla="*/ 420109 w 3148171"/>
                  <a:gd name="connsiteY71" fmla="*/ 510540 h 3147261"/>
                  <a:gd name="connsiteX72" fmla="*/ 511549 w 3148171"/>
                  <a:gd name="connsiteY72" fmla="*/ 434340 h 3147261"/>
                  <a:gd name="connsiteX73" fmla="*/ 564889 w 3148171"/>
                  <a:gd name="connsiteY73" fmla="*/ 396240 h 3147261"/>
                  <a:gd name="connsiteX74" fmla="*/ 656329 w 3148171"/>
                  <a:gd name="connsiteY74" fmla="*/ 312420 h 3147261"/>
                  <a:gd name="connsiteX75" fmla="*/ 869689 w 3148171"/>
                  <a:gd name="connsiteY75" fmla="*/ 175260 h 3147261"/>
                  <a:gd name="connsiteX76" fmla="*/ 976369 w 3148171"/>
                  <a:gd name="connsiteY76" fmla="*/ 137160 h 3147261"/>
                  <a:gd name="connsiteX77" fmla="*/ 1105909 w 3148171"/>
                  <a:gd name="connsiteY77" fmla="*/ 76200 h 3147261"/>
                  <a:gd name="connsiteX78" fmla="*/ 1243069 w 3148171"/>
                  <a:gd name="connsiteY78" fmla="*/ 38100 h 3147261"/>
                  <a:gd name="connsiteX79" fmla="*/ 1265929 w 3148171"/>
                  <a:gd name="connsiteY79" fmla="*/ 30480 h 3147261"/>
                  <a:gd name="connsiteX80" fmla="*/ 1387849 w 3148171"/>
                  <a:gd name="connsiteY80" fmla="*/ 15240 h 3147261"/>
                  <a:gd name="connsiteX81" fmla="*/ 1464049 w 3148171"/>
                  <a:gd name="connsiteY81" fmla="*/ 0 h 3147261"/>
                  <a:gd name="connsiteX82" fmla="*/ 1745989 w 3148171"/>
                  <a:gd name="connsiteY82" fmla="*/ 0 h 3147261"/>
                  <a:gd name="connsiteX83" fmla="*/ 2165089 w 3148171"/>
                  <a:gd name="connsiteY83" fmla="*/ 99060 h 3147261"/>
                  <a:gd name="connsiteX84" fmla="*/ 2340349 w 3148171"/>
                  <a:gd name="connsiteY84" fmla="*/ 182880 h 3147261"/>
                  <a:gd name="connsiteX85" fmla="*/ 2370829 w 3148171"/>
                  <a:gd name="connsiteY85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3010909 w 3148171"/>
                  <a:gd name="connsiteY10" fmla="*/ 998220 h 3147261"/>
                  <a:gd name="connsiteX11" fmla="*/ 3026149 w 3148171"/>
                  <a:gd name="connsiteY11" fmla="*/ 1036320 h 3147261"/>
                  <a:gd name="connsiteX12" fmla="*/ 3033769 w 3148171"/>
                  <a:gd name="connsiteY12" fmla="*/ 1066800 h 3147261"/>
                  <a:gd name="connsiteX13" fmla="*/ 3087109 w 3148171"/>
                  <a:gd name="connsiteY13" fmla="*/ 1181100 h 3147261"/>
                  <a:gd name="connsiteX14" fmla="*/ 3094729 w 3148171"/>
                  <a:gd name="connsiteY14" fmla="*/ 1226820 h 3147261"/>
                  <a:gd name="connsiteX15" fmla="*/ 3102349 w 3148171"/>
                  <a:gd name="connsiteY15" fmla="*/ 1280160 h 3147261"/>
                  <a:gd name="connsiteX16" fmla="*/ 3117589 w 3148171"/>
                  <a:gd name="connsiteY16" fmla="*/ 1371600 h 3147261"/>
                  <a:gd name="connsiteX17" fmla="*/ 3132829 w 3148171"/>
                  <a:gd name="connsiteY17" fmla="*/ 1417320 h 3147261"/>
                  <a:gd name="connsiteX18" fmla="*/ 3140449 w 3148171"/>
                  <a:gd name="connsiteY18" fmla="*/ 1485900 h 3147261"/>
                  <a:gd name="connsiteX19" fmla="*/ 3148069 w 3148171"/>
                  <a:gd name="connsiteY19" fmla="*/ 1516380 h 3147261"/>
                  <a:gd name="connsiteX20" fmla="*/ 3132829 w 3148171"/>
                  <a:gd name="connsiteY20" fmla="*/ 1691640 h 3147261"/>
                  <a:gd name="connsiteX21" fmla="*/ 3125209 w 3148171"/>
                  <a:gd name="connsiteY21" fmla="*/ 1767840 h 3147261"/>
                  <a:gd name="connsiteX22" fmla="*/ 3109969 w 3148171"/>
                  <a:gd name="connsiteY22" fmla="*/ 1836420 h 3147261"/>
                  <a:gd name="connsiteX23" fmla="*/ 3087109 w 3148171"/>
                  <a:gd name="connsiteY23" fmla="*/ 1905000 h 3147261"/>
                  <a:gd name="connsiteX24" fmla="*/ 3079489 w 3148171"/>
                  <a:gd name="connsiteY24" fmla="*/ 1935480 h 3147261"/>
                  <a:gd name="connsiteX25" fmla="*/ 3071869 w 3148171"/>
                  <a:gd name="connsiteY25" fmla="*/ 1958340 h 3147261"/>
                  <a:gd name="connsiteX26" fmla="*/ 3056629 w 3148171"/>
                  <a:gd name="connsiteY26" fmla="*/ 2019300 h 3147261"/>
                  <a:gd name="connsiteX27" fmla="*/ 3041389 w 3148171"/>
                  <a:gd name="connsiteY27" fmla="*/ 2057400 h 3147261"/>
                  <a:gd name="connsiteX28" fmla="*/ 3033769 w 3148171"/>
                  <a:gd name="connsiteY28" fmla="*/ 2080260 h 3147261"/>
                  <a:gd name="connsiteX29" fmla="*/ 3018529 w 3148171"/>
                  <a:gd name="connsiteY29" fmla="*/ 2118360 h 3147261"/>
                  <a:gd name="connsiteX30" fmla="*/ 2995669 w 3148171"/>
                  <a:gd name="connsiteY30" fmla="*/ 2186940 h 3147261"/>
                  <a:gd name="connsiteX31" fmla="*/ 2988049 w 3148171"/>
                  <a:gd name="connsiteY31" fmla="*/ 2225040 h 3147261"/>
                  <a:gd name="connsiteX32" fmla="*/ 2972809 w 3148171"/>
                  <a:gd name="connsiteY32" fmla="*/ 2270760 h 3147261"/>
                  <a:gd name="connsiteX33" fmla="*/ 2965189 w 3148171"/>
                  <a:gd name="connsiteY33" fmla="*/ 2308860 h 3147261"/>
                  <a:gd name="connsiteX34" fmla="*/ 2949949 w 3148171"/>
                  <a:gd name="connsiteY34" fmla="*/ 2331720 h 3147261"/>
                  <a:gd name="connsiteX35" fmla="*/ 2927089 w 3148171"/>
                  <a:gd name="connsiteY35" fmla="*/ 2385060 h 3147261"/>
                  <a:gd name="connsiteX36" fmla="*/ 2904229 w 3148171"/>
                  <a:gd name="connsiteY36" fmla="*/ 2407920 h 3147261"/>
                  <a:gd name="connsiteX37" fmla="*/ 2858509 w 3148171"/>
                  <a:gd name="connsiteY37" fmla="*/ 2499360 h 3147261"/>
                  <a:gd name="connsiteX38" fmla="*/ 2843269 w 3148171"/>
                  <a:gd name="connsiteY38" fmla="*/ 2529840 h 3147261"/>
                  <a:gd name="connsiteX39" fmla="*/ 2835649 w 3148171"/>
                  <a:gd name="connsiteY39" fmla="*/ 2552700 h 3147261"/>
                  <a:gd name="connsiteX40" fmla="*/ 2759449 w 3148171"/>
                  <a:gd name="connsiteY40" fmla="*/ 2636520 h 3147261"/>
                  <a:gd name="connsiteX41" fmla="*/ 2706109 w 3148171"/>
                  <a:gd name="connsiteY41" fmla="*/ 2667000 h 3147261"/>
                  <a:gd name="connsiteX42" fmla="*/ 2302249 w 3148171"/>
                  <a:gd name="connsiteY42" fmla="*/ 2971800 h 3147261"/>
                  <a:gd name="connsiteX43" fmla="*/ 2195569 w 3148171"/>
                  <a:gd name="connsiteY43" fmla="*/ 3025140 h 3147261"/>
                  <a:gd name="connsiteX44" fmla="*/ 2096509 w 3148171"/>
                  <a:gd name="connsiteY44" fmla="*/ 3055620 h 3147261"/>
                  <a:gd name="connsiteX45" fmla="*/ 1913629 w 3148171"/>
                  <a:gd name="connsiteY45" fmla="*/ 3108960 h 3147261"/>
                  <a:gd name="connsiteX46" fmla="*/ 1799329 w 3148171"/>
                  <a:gd name="connsiteY46" fmla="*/ 3147060 h 3147261"/>
                  <a:gd name="connsiteX47" fmla="*/ 1334509 w 3148171"/>
                  <a:gd name="connsiteY47" fmla="*/ 3108960 h 3147261"/>
                  <a:gd name="connsiteX48" fmla="*/ 793489 w 3148171"/>
                  <a:gd name="connsiteY48" fmla="*/ 2933700 h 3147261"/>
                  <a:gd name="connsiteX49" fmla="*/ 420109 w 3148171"/>
                  <a:gd name="connsiteY49" fmla="*/ 2644140 h 3147261"/>
                  <a:gd name="connsiteX50" fmla="*/ 321049 w 3148171"/>
                  <a:gd name="connsiteY50" fmla="*/ 2484120 h 3147261"/>
                  <a:gd name="connsiteX51" fmla="*/ 298189 w 3148171"/>
                  <a:gd name="connsiteY51" fmla="*/ 2430780 h 3147261"/>
                  <a:gd name="connsiteX52" fmla="*/ 275329 w 3148171"/>
                  <a:gd name="connsiteY52" fmla="*/ 2377440 h 3147261"/>
                  <a:gd name="connsiteX53" fmla="*/ 229609 w 3148171"/>
                  <a:gd name="connsiteY53" fmla="*/ 2316480 h 3147261"/>
                  <a:gd name="connsiteX54" fmla="*/ 206749 w 3148171"/>
                  <a:gd name="connsiteY54" fmla="*/ 2293620 h 3147261"/>
                  <a:gd name="connsiteX55" fmla="*/ 176269 w 3148171"/>
                  <a:gd name="connsiteY55" fmla="*/ 2240280 h 3147261"/>
                  <a:gd name="connsiteX56" fmla="*/ 161029 w 3148171"/>
                  <a:gd name="connsiteY56" fmla="*/ 2202180 h 3147261"/>
                  <a:gd name="connsiteX57" fmla="*/ 145789 w 3148171"/>
                  <a:gd name="connsiteY57" fmla="*/ 2179320 h 3147261"/>
                  <a:gd name="connsiteX58" fmla="*/ 130549 w 3148171"/>
                  <a:gd name="connsiteY58" fmla="*/ 2133600 h 3147261"/>
                  <a:gd name="connsiteX59" fmla="*/ 100069 w 3148171"/>
                  <a:gd name="connsiteY59" fmla="*/ 2087880 h 3147261"/>
                  <a:gd name="connsiteX60" fmla="*/ 61969 w 3148171"/>
                  <a:gd name="connsiteY60" fmla="*/ 2026920 h 3147261"/>
                  <a:gd name="connsiteX61" fmla="*/ 54349 w 3148171"/>
                  <a:gd name="connsiteY61" fmla="*/ 2004060 h 3147261"/>
                  <a:gd name="connsiteX62" fmla="*/ 39109 w 3148171"/>
                  <a:gd name="connsiteY62" fmla="*/ 1943100 h 3147261"/>
                  <a:gd name="connsiteX63" fmla="*/ 23869 w 3148171"/>
                  <a:gd name="connsiteY63" fmla="*/ 1897380 h 3147261"/>
                  <a:gd name="connsiteX64" fmla="*/ 1009 w 3148171"/>
                  <a:gd name="connsiteY64" fmla="*/ 1562100 h 3147261"/>
                  <a:gd name="connsiteX65" fmla="*/ 54349 w 3148171"/>
                  <a:gd name="connsiteY65" fmla="*/ 1135380 h 3147261"/>
                  <a:gd name="connsiteX66" fmla="*/ 161029 w 3148171"/>
                  <a:gd name="connsiteY66" fmla="*/ 861060 h 3147261"/>
                  <a:gd name="connsiteX67" fmla="*/ 183889 w 3148171"/>
                  <a:gd name="connsiteY67" fmla="*/ 822960 h 3147261"/>
                  <a:gd name="connsiteX68" fmla="*/ 260089 w 3148171"/>
                  <a:gd name="connsiteY68" fmla="*/ 708660 h 3147261"/>
                  <a:gd name="connsiteX69" fmla="*/ 275329 w 3148171"/>
                  <a:gd name="connsiteY69" fmla="*/ 662940 h 3147261"/>
                  <a:gd name="connsiteX70" fmla="*/ 420109 w 3148171"/>
                  <a:gd name="connsiteY70" fmla="*/ 510540 h 3147261"/>
                  <a:gd name="connsiteX71" fmla="*/ 511549 w 3148171"/>
                  <a:gd name="connsiteY71" fmla="*/ 434340 h 3147261"/>
                  <a:gd name="connsiteX72" fmla="*/ 564889 w 3148171"/>
                  <a:gd name="connsiteY72" fmla="*/ 396240 h 3147261"/>
                  <a:gd name="connsiteX73" fmla="*/ 656329 w 3148171"/>
                  <a:gd name="connsiteY73" fmla="*/ 312420 h 3147261"/>
                  <a:gd name="connsiteX74" fmla="*/ 869689 w 3148171"/>
                  <a:gd name="connsiteY74" fmla="*/ 175260 h 3147261"/>
                  <a:gd name="connsiteX75" fmla="*/ 976369 w 3148171"/>
                  <a:gd name="connsiteY75" fmla="*/ 137160 h 3147261"/>
                  <a:gd name="connsiteX76" fmla="*/ 1105909 w 3148171"/>
                  <a:gd name="connsiteY76" fmla="*/ 76200 h 3147261"/>
                  <a:gd name="connsiteX77" fmla="*/ 1243069 w 3148171"/>
                  <a:gd name="connsiteY77" fmla="*/ 38100 h 3147261"/>
                  <a:gd name="connsiteX78" fmla="*/ 1265929 w 3148171"/>
                  <a:gd name="connsiteY78" fmla="*/ 30480 h 3147261"/>
                  <a:gd name="connsiteX79" fmla="*/ 1387849 w 3148171"/>
                  <a:gd name="connsiteY79" fmla="*/ 15240 h 3147261"/>
                  <a:gd name="connsiteX80" fmla="*/ 1464049 w 3148171"/>
                  <a:gd name="connsiteY80" fmla="*/ 0 h 3147261"/>
                  <a:gd name="connsiteX81" fmla="*/ 1745989 w 3148171"/>
                  <a:gd name="connsiteY81" fmla="*/ 0 h 3147261"/>
                  <a:gd name="connsiteX82" fmla="*/ 2165089 w 3148171"/>
                  <a:gd name="connsiteY82" fmla="*/ 99060 h 3147261"/>
                  <a:gd name="connsiteX83" fmla="*/ 2340349 w 3148171"/>
                  <a:gd name="connsiteY83" fmla="*/ 182880 h 3147261"/>
                  <a:gd name="connsiteX84" fmla="*/ 2370829 w 3148171"/>
                  <a:gd name="connsiteY84" fmla="*/ 190500 h 3147261"/>
                  <a:gd name="connsiteX0" fmla="*/ 2370829 w 3148171"/>
                  <a:gd name="connsiteY0" fmla="*/ 190500 h 3147261"/>
                  <a:gd name="connsiteX1" fmla="*/ 2492749 w 3148171"/>
                  <a:gd name="connsiteY1" fmla="*/ 297180 h 3147261"/>
                  <a:gd name="connsiteX2" fmla="*/ 2607049 w 3148171"/>
                  <a:gd name="connsiteY2" fmla="*/ 381000 h 3147261"/>
                  <a:gd name="connsiteX3" fmla="*/ 2706109 w 3148171"/>
                  <a:gd name="connsiteY3" fmla="*/ 487680 h 3147261"/>
                  <a:gd name="connsiteX4" fmla="*/ 2728969 w 3148171"/>
                  <a:gd name="connsiteY4" fmla="*/ 510540 h 3147261"/>
                  <a:gd name="connsiteX5" fmla="*/ 2789929 w 3148171"/>
                  <a:gd name="connsiteY5" fmla="*/ 594360 h 3147261"/>
                  <a:gd name="connsiteX6" fmla="*/ 2850889 w 3148171"/>
                  <a:gd name="connsiteY6" fmla="*/ 662940 h 3147261"/>
                  <a:gd name="connsiteX7" fmla="*/ 2873749 w 3148171"/>
                  <a:gd name="connsiteY7" fmla="*/ 701040 h 3147261"/>
                  <a:gd name="connsiteX8" fmla="*/ 2911849 w 3148171"/>
                  <a:gd name="connsiteY8" fmla="*/ 762000 h 3147261"/>
                  <a:gd name="connsiteX9" fmla="*/ 2949949 w 3148171"/>
                  <a:gd name="connsiteY9" fmla="*/ 845820 h 3147261"/>
                  <a:gd name="connsiteX10" fmla="*/ 3010909 w 3148171"/>
                  <a:gd name="connsiteY10" fmla="*/ 998220 h 3147261"/>
                  <a:gd name="connsiteX11" fmla="*/ 3026149 w 3148171"/>
                  <a:gd name="connsiteY11" fmla="*/ 1036320 h 3147261"/>
                  <a:gd name="connsiteX12" fmla="*/ 3033769 w 3148171"/>
                  <a:gd name="connsiteY12" fmla="*/ 1066800 h 3147261"/>
                  <a:gd name="connsiteX13" fmla="*/ 3087109 w 3148171"/>
                  <a:gd name="connsiteY13" fmla="*/ 1181100 h 3147261"/>
                  <a:gd name="connsiteX14" fmla="*/ 3094729 w 3148171"/>
                  <a:gd name="connsiteY14" fmla="*/ 1226820 h 3147261"/>
                  <a:gd name="connsiteX15" fmla="*/ 3102349 w 3148171"/>
                  <a:gd name="connsiteY15" fmla="*/ 1280160 h 3147261"/>
                  <a:gd name="connsiteX16" fmla="*/ 3117589 w 3148171"/>
                  <a:gd name="connsiteY16" fmla="*/ 1371600 h 3147261"/>
                  <a:gd name="connsiteX17" fmla="*/ 3140449 w 3148171"/>
                  <a:gd name="connsiteY17" fmla="*/ 1485900 h 3147261"/>
                  <a:gd name="connsiteX18" fmla="*/ 3148069 w 3148171"/>
                  <a:gd name="connsiteY18" fmla="*/ 1516380 h 3147261"/>
                  <a:gd name="connsiteX19" fmla="*/ 3132829 w 3148171"/>
                  <a:gd name="connsiteY19" fmla="*/ 1691640 h 3147261"/>
                  <a:gd name="connsiteX20" fmla="*/ 3125209 w 3148171"/>
                  <a:gd name="connsiteY20" fmla="*/ 1767840 h 3147261"/>
                  <a:gd name="connsiteX21" fmla="*/ 3109969 w 3148171"/>
                  <a:gd name="connsiteY21" fmla="*/ 1836420 h 3147261"/>
                  <a:gd name="connsiteX22" fmla="*/ 3087109 w 3148171"/>
                  <a:gd name="connsiteY22" fmla="*/ 1905000 h 3147261"/>
                  <a:gd name="connsiteX23" fmla="*/ 3079489 w 3148171"/>
                  <a:gd name="connsiteY23" fmla="*/ 1935480 h 3147261"/>
                  <a:gd name="connsiteX24" fmla="*/ 3071869 w 3148171"/>
                  <a:gd name="connsiteY24" fmla="*/ 1958340 h 3147261"/>
                  <a:gd name="connsiteX25" fmla="*/ 3056629 w 3148171"/>
                  <a:gd name="connsiteY25" fmla="*/ 2019300 h 3147261"/>
                  <a:gd name="connsiteX26" fmla="*/ 3041389 w 3148171"/>
                  <a:gd name="connsiteY26" fmla="*/ 2057400 h 3147261"/>
                  <a:gd name="connsiteX27" fmla="*/ 3033769 w 3148171"/>
                  <a:gd name="connsiteY27" fmla="*/ 2080260 h 3147261"/>
                  <a:gd name="connsiteX28" fmla="*/ 3018529 w 3148171"/>
                  <a:gd name="connsiteY28" fmla="*/ 2118360 h 3147261"/>
                  <a:gd name="connsiteX29" fmla="*/ 2995669 w 3148171"/>
                  <a:gd name="connsiteY29" fmla="*/ 2186940 h 3147261"/>
                  <a:gd name="connsiteX30" fmla="*/ 2988049 w 3148171"/>
                  <a:gd name="connsiteY30" fmla="*/ 2225040 h 3147261"/>
                  <a:gd name="connsiteX31" fmla="*/ 2972809 w 3148171"/>
                  <a:gd name="connsiteY31" fmla="*/ 2270760 h 3147261"/>
                  <a:gd name="connsiteX32" fmla="*/ 2965189 w 3148171"/>
                  <a:gd name="connsiteY32" fmla="*/ 2308860 h 3147261"/>
                  <a:gd name="connsiteX33" fmla="*/ 2949949 w 3148171"/>
                  <a:gd name="connsiteY33" fmla="*/ 2331720 h 3147261"/>
                  <a:gd name="connsiteX34" fmla="*/ 2927089 w 3148171"/>
                  <a:gd name="connsiteY34" fmla="*/ 2385060 h 3147261"/>
                  <a:gd name="connsiteX35" fmla="*/ 2904229 w 3148171"/>
                  <a:gd name="connsiteY35" fmla="*/ 2407920 h 3147261"/>
                  <a:gd name="connsiteX36" fmla="*/ 2858509 w 3148171"/>
                  <a:gd name="connsiteY36" fmla="*/ 2499360 h 3147261"/>
                  <a:gd name="connsiteX37" fmla="*/ 2843269 w 3148171"/>
                  <a:gd name="connsiteY37" fmla="*/ 2529840 h 3147261"/>
                  <a:gd name="connsiteX38" fmla="*/ 2835649 w 3148171"/>
                  <a:gd name="connsiteY38" fmla="*/ 2552700 h 3147261"/>
                  <a:gd name="connsiteX39" fmla="*/ 2759449 w 3148171"/>
                  <a:gd name="connsiteY39" fmla="*/ 2636520 h 3147261"/>
                  <a:gd name="connsiteX40" fmla="*/ 2706109 w 3148171"/>
                  <a:gd name="connsiteY40" fmla="*/ 2667000 h 3147261"/>
                  <a:gd name="connsiteX41" fmla="*/ 2302249 w 3148171"/>
                  <a:gd name="connsiteY41" fmla="*/ 2971800 h 3147261"/>
                  <a:gd name="connsiteX42" fmla="*/ 2195569 w 3148171"/>
                  <a:gd name="connsiteY42" fmla="*/ 3025140 h 3147261"/>
                  <a:gd name="connsiteX43" fmla="*/ 2096509 w 3148171"/>
                  <a:gd name="connsiteY43" fmla="*/ 3055620 h 3147261"/>
                  <a:gd name="connsiteX44" fmla="*/ 1913629 w 3148171"/>
                  <a:gd name="connsiteY44" fmla="*/ 3108960 h 3147261"/>
                  <a:gd name="connsiteX45" fmla="*/ 1799329 w 3148171"/>
                  <a:gd name="connsiteY45" fmla="*/ 3147060 h 3147261"/>
                  <a:gd name="connsiteX46" fmla="*/ 1334509 w 3148171"/>
                  <a:gd name="connsiteY46" fmla="*/ 3108960 h 3147261"/>
                  <a:gd name="connsiteX47" fmla="*/ 793489 w 3148171"/>
                  <a:gd name="connsiteY47" fmla="*/ 2933700 h 3147261"/>
                  <a:gd name="connsiteX48" fmla="*/ 420109 w 3148171"/>
                  <a:gd name="connsiteY48" fmla="*/ 2644140 h 3147261"/>
                  <a:gd name="connsiteX49" fmla="*/ 321049 w 3148171"/>
                  <a:gd name="connsiteY49" fmla="*/ 2484120 h 3147261"/>
                  <a:gd name="connsiteX50" fmla="*/ 298189 w 3148171"/>
                  <a:gd name="connsiteY50" fmla="*/ 2430780 h 3147261"/>
                  <a:gd name="connsiteX51" fmla="*/ 275329 w 3148171"/>
                  <a:gd name="connsiteY51" fmla="*/ 2377440 h 3147261"/>
                  <a:gd name="connsiteX52" fmla="*/ 229609 w 3148171"/>
                  <a:gd name="connsiteY52" fmla="*/ 2316480 h 3147261"/>
                  <a:gd name="connsiteX53" fmla="*/ 206749 w 3148171"/>
                  <a:gd name="connsiteY53" fmla="*/ 2293620 h 3147261"/>
                  <a:gd name="connsiteX54" fmla="*/ 176269 w 3148171"/>
                  <a:gd name="connsiteY54" fmla="*/ 2240280 h 3147261"/>
                  <a:gd name="connsiteX55" fmla="*/ 161029 w 3148171"/>
                  <a:gd name="connsiteY55" fmla="*/ 2202180 h 3147261"/>
                  <a:gd name="connsiteX56" fmla="*/ 145789 w 3148171"/>
                  <a:gd name="connsiteY56" fmla="*/ 2179320 h 3147261"/>
                  <a:gd name="connsiteX57" fmla="*/ 130549 w 3148171"/>
                  <a:gd name="connsiteY57" fmla="*/ 2133600 h 3147261"/>
                  <a:gd name="connsiteX58" fmla="*/ 100069 w 3148171"/>
                  <a:gd name="connsiteY58" fmla="*/ 2087880 h 3147261"/>
                  <a:gd name="connsiteX59" fmla="*/ 61969 w 3148171"/>
                  <a:gd name="connsiteY59" fmla="*/ 2026920 h 3147261"/>
                  <a:gd name="connsiteX60" fmla="*/ 54349 w 3148171"/>
                  <a:gd name="connsiteY60" fmla="*/ 2004060 h 3147261"/>
                  <a:gd name="connsiteX61" fmla="*/ 39109 w 3148171"/>
                  <a:gd name="connsiteY61" fmla="*/ 1943100 h 3147261"/>
                  <a:gd name="connsiteX62" fmla="*/ 23869 w 3148171"/>
                  <a:gd name="connsiteY62" fmla="*/ 1897380 h 3147261"/>
                  <a:gd name="connsiteX63" fmla="*/ 1009 w 3148171"/>
                  <a:gd name="connsiteY63" fmla="*/ 1562100 h 3147261"/>
                  <a:gd name="connsiteX64" fmla="*/ 54349 w 3148171"/>
                  <a:gd name="connsiteY64" fmla="*/ 1135380 h 3147261"/>
                  <a:gd name="connsiteX65" fmla="*/ 161029 w 3148171"/>
                  <a:gd name="connsiteY65" fmla="*/ 861060 h 3147261"/>
                  <a:gd name="connsiteX66" fmla="*/ 183889 w 3148171"/>
                  <a:gd name="connsiteY66" fmla="*/ 822960 h 3147261"/>
                  <a:gd name="connsiteX67" fmla="*/ 260089 w 3148171"/>
                  <a:gd name="connsiteY67" fmla="*/ 708660 h 3147261"/>
                  <a:gd name="connsiteX68" fmla="*/ 275329 w 3148171"/>
                  <a:gd name="connsiteY68" fmla="*/ 662940 h 3147261"/>
                  <a:gd name="connsiteX69" fmla="*/ 420109 w 3148171"/>
                  <a:gd name="connsiteY69" fmla="*/ 510540 h 3147261"/>
                  <a:gd name="connsiteX70" fmla="*/ 511549 w 3148171"/>
                  <a:gd name="connsiteY70" fmla="*/ 434340 h 3147261"/>
                  <a:gd name="connsiteX71" fmla="*/ 564889 w 3148171"/>
                  <a:gd name="connsiteY71" fmla="*/ 396240 h 3147261"/>
                  <a:gd name="connsiteX72" fmla="*/ 656329 w 3148171"/>
                  <a:gd name="connsiteY72" fmla="*/ 312420 h 3147261"/>
                  <a:gd name="connsiteX73" fmla="*/ 869689 w 3148171"/>
                  <a:gd name="connsiteY73" fmla="*/ 175260 h 3147261"/>
                  <a:gd name="connsiteX74" fmla="*/ 976369 w 3148171"/>
                  <a:gd name="connsiteY74" fmla="*/ 137160 h 3147261"/>
                  <a:gd name="connsiteX75" fmla="*/ 1105909 w 3148171"/>
                  <a:gd name="connsiteY75" fmla="*/ 76200 h 3147261"/>
                  <a:gd name="connsiteX76" fmla="*/ 1243069 w 3148171"/>
                  <a:gd name="connsiteY76" fmla="*/ 38100 h 3147261"/>
                  <a:gd name="connsiteX77" fmla="*/ 1265929 w 3148171"/>
                  <a:gd name="connsiteY77" fmla="*/ 30480 h 3147261"/>
                  <a:gd name="connsiteX78" fmla="*/ 1387849 w 3148171"/>
                  <a:gd name="connsiteY78" fmla="*/ 15240 h 3147261"/>
                  <a:gd name="connsiteX79" fmla="*/ 1464049 w 3148171"/>
                  <a:gd name="connsiteY79" fmla="*/ 0 h 3147261"/>
                  <a:gd name="connsiteX80" fmla="*/ 1745989 w 3148171"/>
                  <a:gd name="connsiteY80" fmla="*/ 0 h 3147261"/>
                  <a:gd name="connsiteX81" fmla="*/ 2165089 w 3148171"/>
                  <a:gd name="connsiteY81" fmla="*/ 99060 h 3147261"/>
                  <a:gd name="connsiteX82" fmla="*/ 2340349 w 3148171"/>
                  <a:gd name="connsiteY82" fmla="*/ 182880 h 3147261"/>
                  <a:gd name="connsiteX83" fmla="*/ 2370829 w 3148171"/>
                  <a:gd name="connsiteY83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71869 w 3140960"/>
                  <a:gd name="connsiteY23" fmla="*/ 1958340 h 3147261"/>
                  <a:gd name="connsiteX24" fmla="*/ 3056629 w 3140960"/>
                  <a:gd name="connsiteY24" fmla="*/ 2019300 h 3147261"/>
                  <a:gd name="connsiteX25" fmla="*/ 3041389 w 3140960"/>
                  <a:gd name="connsiteY25" fmla="*/ 2057400 h 3147261"/>
                  <a:gd name="connsiteX26" fmla="*/ 3033769 w 3140960"/>
                  <a:gd name="connsiteY26" fmla="*/ 2080260 h 3147261"/>
                  <a:gd name="connsiteX27" fmla="*/ 3018529 w 3140960"/>
                  <a:gd name="connsiteY27" fmla="*/ 2118360 h 3147261"/>
                  <a:gd name="connsiteX28" fmla="*/ 2995669 w 3140960"/>
                  <a:gd name="connsiteY28" fmla="*/ 2186940 h 3147261"/>
                  <a:gd name="connsiteX29" fmla="*/ 2988049 w 3140960"/>
                  <a:gd name="connsiteY29" fmla="*/ 2225040 h 3147261"/>
                  <a:gd name="connsiteX30" fmla="*/ 2972809 w 3140960"/>
                  <a:gd name="connsiteY30" fmla="*/ 2270760 h 3147261"/>
                  <a:gd name="connsiteX31" fmla="*/ 2965189 w 3140960"/>
                  <a:gd name="connsiteY31" fmla="*/ 2308860 h 3147261"/>
                  <a:gd name="connsiteX32" fmla="*/ 2949949 w 3140960"/>
                  <a:gd name="connsiteY32" fmla="*/ 2331720 h 3147261"/>
                  <a:gd name="connsiteX33" fmla="*/ 2927089 w 3140960"/>
                  <a:gd name="connsiteY33" fmla="*/ 2385060 h 3147261"/>
                  <a:gd name="connsiteX34" fmla="*/ 2904229 w 3140960"/>
                  <a:gd name="connsiteY34" fmla="*/ 2407920 h 3147261"/>
                  <a:gd name="connsiteX35" fmla="*/ 2858509 w 3140960"/>
                  <a:gd name="connsiteY35" fmla="*/ 2499360 h 3147261"/>
                  <a:gd name="connsiteX36" fmla="*/ 2843269 w 3140960"/>
                  <a:gd name="connsiteY36" fmla="*/ 2529840 h 3147261"/>
                  <a:gd name="connsiteX37" fmla="*/ 2835649 w 3140960"/>
                  <a:gd name="connsiteY37" fmla="*/ 2552700 h 3147261"/>
                  <a:gd name="connsiteX38" fmla="*/ 2759449 w 3140960"/>
                  <a:gd name="connsiteY38" fmla="*/ 2636520 h 3147261"/>
                  <a:gd name="connsiteX39" fmla="*/ 2706109 w 3140960"/>
                  <a:gd name="connsiteY39" fmla="*/ 2667000 h 3147261"/>
                  <a:gd name="connsiteX40" fmla="*/ 2302249 w 3140960"/>
                  <a:gd name="connsiteY40" fmla="*/ 2971800 h 3147261"/>
                  <a:gd name="connsiteX41" fmla="*/ 2195569 w 3140960"/>
                  <a:gd name="connsiteY41" fmla="*/ 3025140 h 3147261"/>
                  <a:gd name="connsiteX42" fmla="*/ 2096509 w 3140960"/>
                  <a:gd name="connsiteY42" fmla="*/ 3055620 h 3147261"/>
                  <a:gd name="connsiteX43" fmla="*/ 1913629 w 3140960"/>
                  <a:gd name="connsiteY43" fmla="*/ 3108960 h 3147261"/>
                  <a:gd name="connsiteX44" fmla="*/ 1799329 w 3140960"/>
                  <a:gd name="connsiteY44" fmla="*/ 3147060 h 3147261"/>
                  <a:gd name="connsiteX45" fmla="*/ 1334509 w 3140960"/>
                  <a:gd name="connsiteY45" fmla="*/ 3108960 h 3147261"/>
                  <a:gd name="connsiteX46" fmla="*/ 793489 w 3140960"/>
                  <a:gd name="connsiteY46" fmla="*/ 2933700 h 3147261"/>
                  <a:gd name="connsiteX47" fmla="*/ 420109 w 3140960"/>
                  <a:gd name="connsiteY47" fmla="*/ 2644140 h 3147261"/>
                  <a:gd name="connsiteX48" fmla="*/ 321049 w 3140960"/>
                  <a:gd name="connsiteY48" fmla="*/ 2484120 h 3147261"/>
                  <a:gd name="connsiteX49" fmla="*/ 298189 w 3140960"/>
                  <a:gd name="connsiteY49" fmla="*/ 2430780 h 3147261"/>
                  <a:gd name="connsiteX50" fmla="*/ 275329 w 3140960"/>
                  <a:gd name="connsiteY50" fmla="*/ 2377440 h 3147261"/>
                  <a:gd name="connsiteX51" fmla="*/ 229609 w 3140960"/>
                  <a:gd name="connsiteY51" fmla="*/ 2316480 h 3147261"/>
                  <a:gd name="connsiteX52" fmla="*/ 206749 w 3140960"/>
                  <a:gd name="connsiteY52" fmla="*/ 2293620 h 3147261"/>
                  <a:gd name="connsiteX53" fmla="*/ 176269 w 3140960"/>
                  <a:gd name="connsiteY53" fmla="*/ 2240280 h 3147261"/>
                  <a:gd name="connsiteX54" fmla="*/ 161029 w 3140960"/>
                  <a:gd name="connsiteY54" fmla="*/ 2202180 h 3147261"/>
                  <a:gd name="connsiteX55" fmla="*/ 145789 w 3140960"/>
                  <a:gd name="connsiteY55" fmla="*/ 2179320 h 3147261"/>
                  <a:gd name="connsiteX56" fmla="*/ 130549 w 3140960"/>
                  <a:gd name="connsiteY56" fmla="*/ 2133600 h 3147261"/>
                  <a:gd name="connsiteX57" fmla="*/ 100069 w 3140960"/>
                  <a:gd name="connsiteY57" fmla="*/ 2087880 h 3147261"/>
                  <a:gd name="connsiteX58" fmla="*/ 61969 w 3140960"/>
                  <a:gd name="connsiteY58" fmla="*/ 2026920 h 3147261"/>
                  <a:gd name="connsiteX59" fmla="*/ 54349 w 3140960"/>
                  <a:gd name="connsiteY59" fmla="*/ 2004060 h 3147261"/>
                  <a:gd name="connsiteX60" fmla="*/ 39109 w 3140960"/>
                  <a:gd name="connsiteY60" fmla="*/ 1943100 h 3147261"/>
                  <a:gd name="connsiteX61" fmla="*/ 23869 w 3140960"/>
                  <a:gd name="connsiteY61" fmla="*/ 1897380 h 3147261"/>
                  <a:gd name="connsiteX62" fmla="*/ 1009 w 3140960"/>
                  <a:gd name="connsiteY62" fmla="*/ 1562100 h 3147261"/>
                  <a:gd name="connsiteX63" fmla="*/ 54349 w 3140960"/>
                  <a:gd name="connsiteY63" fmla="*/ 1135380 h 3147261"/>
                  <a:gd name="connsiteX64" fmla="*/ 161029 w 3140960"/>
                  <a:gd name="connsiteY64" fmla="*/ 861060 h 3147261"/>
                  <a:gd name="connsiteX65" fmla="*/ 183889 w 3140960"/>
                  <a:gd name="connsiteY65" fmla="*/ 822960 h 3147261"/>
                  <a:gd name="connsiteX66" fmla="*/ 260089 w 3140960"/>
                  <a:gd name="connsiteY66" fmla="*/ 708660 h 3147261"/>
                  <a:gd name="connsiteX67" fmla="*/ 275329 w 3140960"/>
                  <a:gd name="connsiteY67" fmla="*/ 662940 h 3147261"/>
                  <a:gd name="connsiteX68" fmla="*/ 420109 w 3140960"/>
                  <a:gd name="connsiteY68" fmla="*/ 510540 h 3147261"/>
                  <a:gd name="connsiteX69" fmla="*/ 511549 w 3140960"/>
                  <a:gd name="connsiteY69" fmla="*/ 434340 h 3147261"/>
                  <a:gd name="connsiteX70" fmla="*/ 564889 w 3140960"/>
                  <a:gd name="connsiteY70" fmla="*/ 396240 h 3147261"/>
                  <a:gd name="connsiteX71" fmla="*/ 656329 w 3140960"/>
                  <a:gd name="connsiteY71" fmla="*/ 312420 h 3147261"/>
                  <a:gd name="connsiteX72" fmla="*/ 869689 w 3140960"/>
                  <a:gd name="connsiteY72" fmla="*/ 175260 h 3147261"/>
                  <a:gd name="connsiteX73" fmla="*/ 976369 w 3140960"/>
                  <a:gd name="connsiteY73" fmla="*/ 137160 h 3147261"/>
                  <a:gd name="connsiteX74" fmla="*/ 1105909 w 3140960"/>
                  <a:gd name="connsiteY74" fmla="*/ 76200 h 3147261"/>
                  <a:gd name="connsiteX75" fmla="*/ 1243069 w 3140960"/>
                  <a:gd name="connsiteY75" fmla="*/ 38100 h 3147261"/>
                  <a:gd name="connsiteX76" fmla="*/ 1265929 w 3140960"/>
                  <a:gd name="connsiteY76" fmla="*/ 30480 h 3147261"/>
                  <a:gd name="connsiteX77" fmla="*/ 1387849 w 3140960"/>
                  <a:gd name="connsiteY77" fmla="*/ 15240 h 3147261"/>
                  <a:gd name="connsiteX78" fmla="*/ 1464049 w 3140960"/>
                  <a:gd name="connsiteY78" fmla="*/ 0 h 3147261"/>
                  <a:gd name="connsiteX79" fmla="*/ 1745989 w 3140960"/>
                  <a:gd name="connsiteY79" fmla="*/ 0 h 3147261"/>
                  <a:gd name="connsiteX80" fmla="*/ 2165089 w 3140960"/>
                  <a:gd name="connsiteY80" fmla="*/ 99060 h 3147261"/>
                  <a:gd name="connsiteX81" fmla="*/ 2340349 w 3140960"/>
                  <a:gd name="connsiteY81" fmla="*/ 182880 h 3147261"/>
                  <a:gd name="connsiteX82" fmla="*/ 2370829 w 3140960"/>
                  <a:gd name="connsiteY82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33769 w 3140960"/>
                  <a:gd name="connsiteY25" fmla="*/ 2080260 h 3147261"/>
                  <a:gd name="connsiteX26" fmla="*/ 3018529 w 3140960"/>
                  <a:gd name="connsiteY26" fmla="*/ 2118360 h 3147261"/>
                  <a:gd name="connsiteX27" fmla="*/ 2995669 w 3140960"/>
                  <a:gd name="connsiteY27" fmla="*/ 2186940 h 3147261"/>
                  <a:gd name="connsiteX28" fmla="*/ 2988049 w 3140960"/>
                  <a:gd name="connsiteY28" fmla="*/ 2225040 h 3147261"/>
                  <a:gd name="connsiteX29" fmla="*/ 2972809 w 3140960"/>
                  <a:gd name="connsiteY29" fmla="*/ 2270760 h 3147261"/>
                  <a:gd name="connsiteX30" fmla="*/ 2965189 w 3140960"/>
                  <a:gd name="connsiteY30" fmla="*/ 2308860 h 3147261"/>
                  <a:gd name="connsiteX31" fmla="*/ 2949949 w 3140960"/>
                  <a:gd name="connsiteY31" fmla="*/ 2331720 h 3147261"/>
                  <a:gd name="connsiteX32" fmla="*/ 2927089 w 3140960"/>
                  <a:gd name="connsiteY32" fmla="*/ 2385060 h 3147261"/>
                  <a:gd name="connsiteX33" fmla="*/ 2904229 w 3140960"/>
                  <a:gd name="connsiteY33" fmla="*/ 2407920 h 3147261"/>
                  <a:gd name="connsiteX34" fmla="*/ 2858509 w 3140960"/>
                  <a:gd name="connsiteY34" fmla="*/ 2499360 h 3147261"/>
                  <a:gd name="connsiteX35" fmla="*/ 2843269 w 3140960"/>
                  <a:gd name="connsiteY35" fmla="*/ 2529840 h 3147261"/>
                  <a:gd name="connsiteX36" fmla="*/ 2835649 w 3140960"/>
                  <a:gd name="connsiteY36" fmla="*/ 2552700 h 3147261"/>
                  <a:gd name="connsiteX37" fmla="*/ 2759449 w 3140960"/>
                  <a:gd name="connsiteY37" fmla="*/ 2636520 h 3147261"/>
                  <a:gd name="connsiteX38" fmla="*/ 2706109 w 3140960"/>
                  <a:gd name="connsiteY38" fmla="*/ 2667000 h 3147261"/>
                  <a:gd name="connsiteX39" fmla="*/ 2302249 w 3140960"/>
                  <a:gd name="connsiteY39" fmla="*/ 2971800 h 3147261"/>
                  <a:gd name="connsiteX40" fmla="*/ 2195569 w 3140960"/>
                  <a:gd name="connsiteY40" fmla="*/ 3025140 h 3147261"/>
                  <a:gd name="connsiteX41" fmla="*/ 2096509 w 3140960"/>
                  <a:gd name="connsiteY41" fmla="*/ 3055620 h 3147261"/>
                  <a:gd name="connsiteX42" fmla="*/ 1913629 w 3140960"/>
                  <a:gd name="connsiteY42" fmla="*/ 3108960 h 3147261"/>
                  <a:gd name="connsiteX43" fmla="*/ 1799329 w 3140960"/>
                  <a:gd name="connsiteY43" fmla="*/ 3147060 h 3147261"/>
                  <a:gd name="connsiteX44" fmla="*/ 1334509 w 3140960"/>
                  <a:gd name="connsiteY44" fmla="*/ 3108960 h 3147261"/>
                  <a:gd name="connsiteX45" fmla="*/ 793489 w 3140960"/>
                  <a:gd name="connsiteY45" fmla="*/ 2933700 h 3147261"/>
                  <a:gd name="connsiteX46" fmla="*/ 420109 w 3140960"/>
                  <a:gd name="connsiteY46" fmla="*/ 2644140 h 3147261"/>
                  <a:gd name="connsiteX47" fmla="*/ 321049 w 3140960"/>
                  <a:gd name="connsiteY47" fmla="*/ 2484120 h 3147261"/>
                  <a:gd name="connsiteX48" fmla="*/ 298189 w 3140960"/>
                  <a:gd name="connsiteY48" fmla="*/ 2430780 h 3147261"/>
                  <a:gd name="connsiteX49" fmla="*/ 275329 w 3140960"/>
                  <a:gd name="connsiteY49" fmla="*/ 2377440 h 3147261"/>
                  <a:gd name="connsiteX50" fmla="*/ 229609 w 3140960"/>
                  <a:gd name="connsiteY50" fmla="*/ 2316480 h 3147261"/>
                  <a:gd name="connsiteX51" fmla="*/ 206749 w 3140960"/>
                  <a:gd name="connsiteY51" fmla="*/ 2293620 h 3147261"/>
                  <a:gd name="connsiteX52" fmla="*/ 176269 w 3140960"/>
                  <a:gd name="connsiteY52" fmla="*/ 2240280 h 3147261"/>
                  <a:gd name="connsiteX53" fmla="*/ 161029 w 3140960"/>
                  <a:gd name="connsiteY53" fmla="*/ 2202180 h 3147261"/>
                  <a:gd name="connsiteX54" fmla="*/ 145789 w 3140960"/>
                  <a:gd name="connsiteY54" fmla="*/ 2179320 h 3147261"/>
                  <a:gd name="connsiteX55" fmla="*/ 130549 w 3140960"/>
                  <a:gd name="connsiteY55" fmla="*/ 2133600 h 3147261"/>
                  <a:gd name="connsiteX56" fmla="*/ 100069 w 3140960"/>
                  <a:gd name="connsiteY56" fmla="*/ 2087880 h 3147261"/>
                  <a:gd name="connsiteX57" fmla="*/ 61969 w 3140960"/>
                  <a:gd name="connsiteY57" fmla="*/ 2026920 h 3147261"/>
                  <a:gd name="connsiteX58" fmla="*/ 54349 w 3140960"/>
                  <a:gd name="connsiteY58" fmla="*/ 2004060 h 3147261"/>
                  <a:gd name="connsiteX59" fmla="*/ 39109 w 3140960"/>
                  <a:gd name="connsiteY59" fmla="*/ 1943100 h 3147261"/>
                  <a:gd name="connsiteX60" fmla="*/ 23869 w 3140960"/>
                  <a:gd name="connsiteY60" fmla="*/ 1897380 h 3147261"/>
                  <a:gd name="connsiteX61" fmla="*/ 1009 w 3140960"/>
                  <a:gd name="connsiteY61" fmla="*/ 1562100 h 3147261"/>
                  <a:gd name="connsiteX62" fmla="*/ 54349 w 3140960"/>
                  <a:gd name="connsiteY62" fmla="*/ 1135380 h 3147261"/>
                  <a:gd name="connsiteX63" fmla="*/ 161029 w 3140960"/>
                  <a:gd name="connsiteY63" fmla="*/ 861060 h 3147261"/>
                  <a:gd name="connsiteX64" fmla="*/ 183889 w 3140960"/>
                  <a:gd name="connsiteY64" fmla="*/ 822960 h 3147261"/>
                  <a:gd name="connsiteX65" fmla="*/ 260089 w 3140960"/>
                  <a:gd name="connsiteY65" fmla="*/ 708660 h 3147261"/>
                  <a:gd name="connsiteX66" fmla="*/ 275329 w 3140960"/>
                  <a:gd name="connsiteY66" fmla="*/ 662940 h 3147261"/>
                  <a:gd name="connsiteX67" fmla="*/ 420109 w 3140960"/>
                  <a:gd name="connsiteY67" fmla="*/ 510540 h 3147261"/>
                  <a:gd name="connsiteX68" fmla="*/ 511549 w 3140960"/>
                  <a:gd name="connsiteY68" fmla="*/ 434340 h 3147261"/>
                  <a:gd name="connsiteX69" fmla="*/ 564889 w 3140960"/>
                  <a:gd name="connsiteY69" fmla="*/ 396240 h 3147261"/>
                  <a:gd name="connsiteX70" fmla="*/ 656329 w 3140960"/>
                  <a:gd name="connsiteY70" fmla="*/ 312420 h 3147261"/>
                  <a:gd name="connsiteX71" fmla="*/ 869689 w 3140960"/>
                  <a:gd name="connsiteY71" fmla="*/ 175260 h 3147261"/>
                  <a:gd name="connsiteX72" fmla="*/ 976369 w 3140960"/>
                  <a:gd name="connsiteY72" fmla="*/ 137160 h 3147261"/>
                  <a:gd name="connsiteX73" fmla="*/ 1105909 w 3140960"/>
                  <a:gd name="connsiteY73" fmla="*/ 76200 h 3147261"/>
                  <a:gd name="connsiteX74" fmla="*/ 1243069 w 3140960"/>
                  <a:gd name="connsiteY74" fmla="*/ 38100 h 3147261"/>
                  <a:gd name="connsiteX75" fmla="*/ 1265929 w 3140960"/>
                  <a:gd name="connsiteY75" fmla="*/ 30480 h 3147261"/>
                  <a:gd name="connsiteX76" fmla="*/ 1387849 w 3140960"/>
                  <a:gd name="connsiteY76" fmla="*/ 15240 h 3147261"/>
                  <a:gd name="connsiteX77" fmla="*/ 1464049 w 3140960"/>
                  <a:gd name="connsiteY77" fmla="*/ 0 h 3147261"/>
                  <a:gd name="connsiteX78" fmla="*/ 1745989 w 3140960"/>
                  <a:gd name="connsiteY78" fmla="*/ 0 h 3147261"/>
                  <a:gd name="connsiteX79" fmla="*/ 2165089 w 3140960"/>
                  <a:gd name="connsiteY79" fmla="*/ 99060 h 3147261"/>
                  <a:gd name="connsiteX80" fmla="*/ 2340349 w 3140960"/>
                  <a:gd name="connsiteY80" fmla="*/ 182880 h 3147261"/>
                  <a:gd name="connsiteX81" fmla="*/ 2370829 w 3140960"/>
                  <a:gd name="connsiteY81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88049 w 3140960"/>
                  <a:gd name="connsiteY27" fmla="*/ 2225040 h 3147261"/>
                  <a:gd name="connsiteX28" fmla="*/ 2972809 w 3140960"/>
                  <a:gd name="connsiteY28" fmla="*/ 2270760 h 3147261"/>
                  <a:gd name="connsiteX29" fmla="*/ 2965189 w 3140960"/>
                  <a:gd name="connsiteY29" fmla="*/ 2308860 h 3147261"/>
                  <a:gd name="connsiteX30" fmla="*/ 2949949 w 3140960"/>
                  <a:gd name="connsiteY30" fmla="*/ 2331720 h 3147261"/>
                  <a:gd name="connsiteX31" fmla="*/ 2927089 w 3140960"/>
                  <a:gd name="connsiteY31" fmla="*/ 2385060 h 3147261"/>
                  <a:gd name="connsiteX32" fmla="*/ 2904229 w 3140960"/>
                  <a:gd name="connsiteY32" fmla="*/ 2407920 h 3147261"/>
                  <a:gd name="connsiteX33" fmla="*/ 2858509 w 3140960"/>
                  <a:gd name="connsiteY33" fmla="*/ 2499360 h 3147261"/>
                  <a:gd name="connsiteX34" fmla="*/ 2843269 w 3140960"/>
                  <a:gd name="connsiteY34" fmla="*/ 2529840 h 3147261"/>
                  <a:gd name="connsiteX35" fmla="*/ 2835649 w 3140960"/>
                  <a:gd name="connsiteY35" fmla="*/ 2552700 h 3147261"/>
                  <a:gd name="connsiteX36" fmla="*/ 2759449 w 3140960"/>
                  <a:gd name="connsiteY36" fmla="*/ 2636520 h 3147261"/>
                  <a:gd name="connsiteX37" fmla="*/ 2706109 w 3140960"/>
                  <a:gd name="connsiteY37" fmla="*/ 2667000 h 3147261"/>
                  <a:gd name="connsiteX38" fmla="*/ 2302249 w 3140960"/>
                  <a:gd name="connsiteY38" fmla="*/ 2971800 h 3147261"/>
                  <a:gd name="connsiteX39" fmla="*/ 2195569 w 3140960"/>
                  <a:gd name="connsiteY39" fmla="*/ 3025140 h 3147261"/>
                  <a:gd name="connsiteX40" fmla="*/ 2096509 w 3140960"/>
                  <a:gd name="connsiteY40" fmla="*/ 3055620 h 3147261"/>
                  <a:gd name="connsiteX41" fmla="*/ 1913629 w 3140960"/>
                  <a:gd name="connsiteY41" fmla="*/ 3108960 h 3147261"/>
                  <a:gd name="connsiteX42" fmla="*/ 1799329 w 3140960"/>
                  <a:gd name="connsiteY42" fmla="*/ 3147060 h 3147261"/>
                  <a:gd name="connsiteX43" fmla="*/ 1334509 w 3140960"/>
                  <a:gd name="connsiteY43" fmla="*/ 3108960 h 3147261"/>
                  <a:gd name="connsiteX44" fmla="*/ 793489 w 3140960"/>
                  <a:gd name="connsiteY44" fmla="*/ 2933700 h 3147261"/>
                  <a:gd name="connsiteX45" fmla="*/ 420109 w 3140960"/>
                  <a:gd name="connsiteY45" fmla="*/ 2644140 h 3147261"/>
                  <a:gd name="connsiteX46" fmla="*/ 321049 w 3140960"/>
                  <a:gd name="connsiteY46" fmla="*/ 2484120 h 3147261"/>
                  <a:gd name="connsiteX47" fmla="*/ 298189 w 3140960"/>
                  <a:gd name="connsiteY47" fmla="*/ 2430780 h 3147261"/>
                  <a:gd name="connsiteX48" fmla="*/ 275329 w 3140960"/>
                  <a:gd name="connsiteY48" fmla="*/ 2377440 h 3147261"/>
                  <a:gd name="connsiteX49" fmla="*/ 229609 w 3140960"/>
                  <a:gd name="connsiteY49" fmla="*/ 2316480 h 3147261"/>
                  <a:gd name="connsiteX50" fmla="*/ 206749 w 3140960"/>
                  <a:gd name="connsiteY50" fmla="*/ 2293620 h 3147261"/>
                  <a:gd name="connsiteX51" fmla="*/ 176269 w 3140960"/>
                  <a:gd name="connsiteY51" fmla="*/ 2240280 h 3147261"/>
                  <a:gd name="connsiteX52" fmla="*/ 161029 w 3140960"/>
                  <a:gd name="connsiteY52" fmla="*/ 2202180 h 3147261"/>
                  <a:gd name="connsiteX53" fmla="*/ 145789 w 3140960"/>
                  <a:gd name="connsiteY53" fmla="*/ 2179320 h 3147261"/>
                  <a:gd name="connsiteX54" fmla="*/ 130549 w 3140960"/>
                  <a:gd name="connsiteY54" fmla="*/ 2133600 h 3147261"/>
                  <a:gd name="connsiteX55" fmla="*/ 100069 w 3140960"/>
                  <a:gd name="connsiteY55" fmla="*/ 2087880 h 3147261"/>
                  <a:gd name="connsiteX56" fmla="*/ 61969 w 3140960"/>
                  <a:gd name="connsiteY56" fmla="*/ 2026920 h 3147261"/>
                  <a:gd name="connsiteX57" fmla="*/ 54349 w 3140960"/>
                  <a:gd name="connsiteY57" fmla="*/ 2004060 h 3147261"/>
                  <a:gd name="connsiteX58" fmla="*/ 39109 w 3140960"/>
                  <a:gd name="connsiteY58" fmla="*/ 1943100 h 3147261"/>
                  <a:gd name="connsiteX59" fmla="*/ 23869 w 3140960"/>
                  <a:gd name="connsiteY59" fmla="*/ 1897380 h 3147261"/>
                  <a:gd name="connsiteX60" fmla="*/ 1009 w 3140960"/>
                  <a:gd name="connsiteY60" fmla="*/ 1562100 h 3147261"/>
                  <a:gd name="connsiteX61" fmla="*/ 54349 w 3140960"/>
                  <a:gd name="connsiteY61" fmla="*/ 1135380 h 3147261"/>
                  <a:gd name="connsiteX62" fmla="*/ 161029 w 3140960"/>
                  <a:gd name="connsiteY62" fmla="*/ 861060 h 3147261"/>
                  <a:gd name="connsiteX63" fmla="*/ 183889 w 3140960"/>
                  <a:gd name="connsiteY63" fmla="*/ 822960 h 3147261"/>
                  <a:gd name="connsiteX64" fmla="*/ 260089 w 3140960"/>
                  <a:gd name="connsiteY64" fmla="*/ 708660 h 3147261"/>
                  <a:gd name="connsiteX65" fmla="*/ 275329 w 3140960"/>
                  <a:gd name="connsiteY65" fmla="*/ 662940 h 3147261"/>
                  <a:gd name="connsiteX66" fmla="*/ 420109 w 3140960"/>
                  <a:gd name="connsiteY66" fmla="*/ 510540 h 3147261"/>
                  <a:gd name="connsiteX67" fmla="*/ 511549 w 3140960"/>
                  <a:gd name="connsiteY67" fmla="*/ 434340 h 3147261"/>
                  <a:gd name="connsiteX68" fmla="*/ 564889 w 3140960"/>
                  <a:gd name="connsiteY68" fmla="*/ 396240 h 3147261"/>
                  <a:gd name="connsiteX69" fmla="*/ 656329 w 3140960"/>
                  <a:gd name="connsiteY69" fmla="*/ 312420 h 3147261"/>
                  <a:gd name="connsiteX70" fmla="*/ 869689 w 3140960"/>
                  <a:gd name="connsiteY70" fmla="*/ 175260 h 3147261"/>
                  <a:gd name="connsiteX71" fmla="*/ 976369 w 3140960"/>
                  <a:gd name="connsiteY71" fmla="*/ 137160 h 3147261"/>
                  <a:gd name="connsiteX72" fmla="*/ 1105909 w 3140960"/>
                  <a:gd name="connsiteY72" fmla="*/ 76200 h 3147261"/>
                  <a:gd name="connsiteX73" fmla="*/ 1243069 w 3140960"/>
                  <a:gd name="connsiteY73" fmla="*/ 38100 h 3147261"/>
                  <a:gd name="connsiteX74" fmla="*/ 1265929 w 3140960"/>
                  <a:gd name="connsiteY74" fmla="*/ 30480 h 3147261"/>
                  <a:gd name="connsiteX75" fmla="*/ 1387849 w 3140960"/>
                  <a:gd name="connsiteY75" fmla="*/ 15240 h 3147261"/>
                  <a:gd name="connsiteX76" fmla="*/ 1464049 w 3140960"/>
                  <a:gd name="connsiteY76" fmla="*/ 0 h 3147261"/>
                  <a:gd name="connsiteX77" fmla="*/ 1745989 w 3140960"/>
                  <a:gd name="connsiteY77" fmla="*/ 0 h 3147261"/>
                  <a:gd name="connsiteX78" fmla="*/ 2165089 w 3140960"/>
                  <a:gd name="connsiteY78" fmla="*/ 99060 h 3147261"/>
                  <a:gd name="connsiteX79" fmla="*/ 2340349 w 3140960"/>
                  <a:gd name="connsiteY79" fmla="*/ 182880 h 3147261"/>
                  <a:gd name="connsiteX80" fmla="*/ 2370829 w 3140960"/>
                  <a:gd name="connsiteY80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72809 w 3140960"/>
                  <a:gd name="connsiteY27" fmla="*/ 2270760 h 3147261"/>
                  <a:gd name="connsiteX28" fmla="*/ 2965189 w 3140960"/>
                  <a:gd name="connsiteY28" fmla="*/ 2308860 h 3147261"/>
                  <a:gd name="connsiteX29" fmla="*/ 2949949 w 3140960"/>
                  <a:gd name="connsiteY29" fmla="*/ 2331720 h 3147261"/>
                  <a:gd name="connsiteX30" fmla="*/ 2927089 w 3140960"/>
                  <a:gd name="connsiteY30" fmla="*/ 2385060 h 3147261"/>
                  <a:gd name="connsiteX31" fmla="*/ 2904229 w 3140960"/>
                  <a:gd name="connsiteY31" fmla="*/ 2407920 h 3147261"/>
                  <a:gd name="connsiteX32" fmla="*/ 2858509 w 3140960"/>
                  <a:gd name="connsiteY32" fmla="*/ 2499360 h 3147261"/>
                  <a:gd name="connsiteX33" fmla="*/ 2843269 w 3140960"/>
                  <a:gd name="connsiteY33" fmla="*/ 2529840 h 3147261"/>
                  <a:gd name="connsiteX34" fmla="*/ 2835649 w 3140960"/>
                  <a:gd name="connsiteY34" fmla="*/ 2552700 h 3147261"/>
                  <a:gd name="connsiteX35" fmla="*/ 2759449 w 3140960"/>
                  <a:gd name="connsiteY35" fmla="*/ 2636520 h 3147261"/>
                  <a:gd name="connsiteX36" fmla="*/ 2706109 w 3140960"/>
                  <a:gd name="connsiteY36" fmla="*/ 2667000 h 3147261"/>
                  <a:gd name="connsiteX37" fmla="*/ 2302249 w 3140960"/>
                  <a:gd name="connsiteY37" fmla="*/ 2971800 h 3147261"/>
                  <a:gd name="connsiteX38" fmla="*/ 2195569 w 3140960"/>
                  <a:gd name="connsiteY38" fmla="*/ 3025140 h 3147261"/>
                  <a:gd name="connsiteX39" fmla="*/ 2096509 w 3140960"/>
                  <a:gd name="connsiteY39" fmla="*/ 3055620 h 3147261"/>
                  <a:gd name="connsiteX40" fmla="*/ 1913629 w 3140960"/>
                  <a:gd name="connsiteY40" fmla="*/ 3108960 h 3147261"/>
                  <a:gd name="connsiteX41" fmla="*/ 1799329 w 3140960"/>
                  <a:gd name="connsiteY41" fmla="*/ 3147060 h 3147261"/>
                  <a:gd name="connsiteX42" fmla="*/ 1334509 w 3140960"/>
                  <a:gd name="connsiteY42" fmla="*/ 3108960 h 3147261"/>
                  <a:gd name="connsiteX43" fmla="*/ 793489 w 3140960"/>
                  <a:gd name="connsiteY43" fmla="*/ 2933700 h 3147261"/>
                  <a:gd name="connsiteX44" fmla="*/ 420109 w 3140960"/>
                  <a:gd name="connsiteY44" fmla="*/ 2644140 h 3147261"/>
                  <a:gd name="connsiteX45" fmla="*/ 321049 w 3140960"/>
                  <a:gd name="connsiteY45" fmla="*/ 2484120 h 3147261"/>
                  <a:gd name="connsiteX46" fmla="*/ 298189 w 3140960"/>
                  <a:gd name="connsiteY46" fmla="*/ 2430780 h 3147261"/>
                  <a:gd name="connsiteX47" fmla="*/ 275329 w 3140960"/>
                  <a:gd name="connsiteY47" fmla="*/ 2377440 h 3147261"/>
                  <a:gd name="connsiteX48" fmla="*/ 229609 w 3140960"/>
                  <a:gd name="connsiteY48" fmla="*/ 2316480 h 3147261"/>
                  <a:gd name="connsiteX49" fmla="*/ 206749 w 3140960"/>
                  <a:gd name="connsiteY49" fmla="*/ 2293620 h 3147261"/>
                  <a:gd name="connsiteX50" fmla="*/ 176269 w 3140960"/>
                  <a:gd name="connsiteY50" fmla="*/ 2240280 h 3147261"/>
                  <a:gd name="connsiteX51" fmla="*/ 161029 w 3140960"/>
                  <a:gd name="connsiteY51" fmla="*/ 2202180 h 3147261"/>
                  <a:gd name="connsiteX52" fmla="*/ 145789 w 3140960"/>
                  <a:gd name="connsiteY52" fmla="*/ 2179320 h 3147261"/>
                  <a:gd name="connsiteX53" fmla="*/ 130549 w 3140960"/>
                  <a:gd name="connsiteY53" fmla="*/ 2133600 h 3147261"/>
                  <a:gd name="connsiteX54" fmla="*/ 100069 w 3140960"/>
                  <a:gd name="connsiteY54" fmla="*/ 2087880 h 3147261"/>
                  <a:gd name="connsiteX55" fmla="*/ 61969 w 3140960"/>
                  <a:gd name="connsiteY55" fmla="*/ 2026920 h 3147261"/>
                  <a:gd name="connsiteX56" fmla="*/ 54349 w 3140960"/>
                  <a:gd name="connsiteY56" fmla="*/ 2004060 h 3147261"/>
                  <a:gd name="connsiteX57" fmla="*/ 39109 w 3140960"/>
                  <a:gd name="connsiteY57" fmla="*/ 1943100 h 3147261"/>
                  <a:gd name="connsiteX58" fmla="*/ 23869 w 3140960"/>
                  <a:gd name="connsiteY58" fmla="*/ 1897380 h 3147261"/>
                  <a:gd name="connsiteX59" fmla="*/ 1009 w 3140960"/>
                  <a:gd name="connsiteY59" fmla="*/ 1562100 h 3147261"/>
                  <a:gd name="connsiteX60" fmla="*/ 54349 w 3140960"/>
                  <a:gd name="connsiteY60" fmla="*/ 1135380 h 3147261"/>
                  <a:gd name="connsiteX61" fmla="*/ 161029 w 3140960"/>
                  <a:gd name="connsiteY61" fmla="*/ 861060 h 3147261"/>
                  <a:gd name="connsiteX62" fmla="*/ 183889 w 3140960"/>
                  <a:gd name="connsiteY62" fmla="*/ 822960 h 3147261"/>
                  <a:gd name="connsiteX63" fmla="*/ 260089 w 3140960"/>
                  <a:gd name="connsiteY63" fmla="*/ 708660 h 3147261"/>
                  <a:gd name="connsiteX64" fmla="*/ 275329 w 3140960"/>
                  <a:gd name="connsiteY64" fmla="*/ 662940 h 3147261"/>
                  <a:gd name="connsiteX65" fmla="*/ 420109 w 3140960"/>
                  <a:gd name="connsiteY65" fmla="*/ 510540 h 3147261"/>
                  <a:gd name="connsiteX66" fmla="*/ 511549 w 3140960"/>
                  <a:gd name="connsiteY66" fmla="*/ 434340 h 3147261"/>
                  <a:gd name="connsiteX67" fmla="*/ 564889 w 3140960"/>
                  <a:gd name="connsiteY67" fmla="*/ 396240 h 3147261"/>
                  <a:gd name="connsiteX68" fmla="*/ 656329 w 3140960"/>
                  <a:gd name="connsiteY68" fmla="*/ 312420 h 3147261"/>
                  <a:gd name="connsiteX69" fmla="*/ 869689 w 3140960"/>
                  <a:gd name="connsiteY69" fmla="*/ 175260 h 3147261"/>
                  <a:gd name="connsiteX70" fmla="*/ 976369 w 3140960"/>
                  <a:gd name="connsiteY70" fmla="*/ 137160 h 3147261"/>
                  <a:gd name="connsiteX71" fmla="*/ 1105909 w 3140960"/>
                  <a:gd name="connsiteY71" fmla="*/ 76200 h 3147261"/>
                  <a:gd name="connsiteX72" fmla="*/ 1243069 w 3140960"/>
                  <a:gd name="connsiteY72" fmla="*/ 38100 h 3147261"/>
                  <a:gd name="connsiteX73" fmla="*/ 1265929 w 3140960"/>
                  <a:gd name="connsiteY73" fmla="*/ 30480 h 3147261"/>
                  <a:gd name="connsiteX74" fmla="*/ 1387849 w 3140960"/>
                  <a:gd name="connsiteY74" fmla="*/ 15240 h 3147261"/>
                  <a:gd name="connsiteX75" fmla="*/ 1464049 w 3140960"/>
                  <a:gd name="connsiteY75" fmla="*/ 0 h 3147261"/>
                  <a:gd name="connsiteX76" fmla="*/ 1745989 w 3140960"/>
                  <a:gd name="connsiteY76" fmla="*/ 0 h 3147261"/>
                  <a:gd name="connsiteX77" fmla="*/ 2165089 w 3140960"/>
                  <a:gd name="connsiteY77" fmla="*/ 99060 h 3147261"/>
                  <a:gd name="connsiteX78" fmla="*/ 2340349 w 3140960"/>
                  <a:gd name="connsiteY78" fmla="*/ 182880 h 3147261"/>
                  <a:gd name="connsiteX79" fmla="*/ 2370829 w 3140960"/>
                  <a:gd name="connsiteY79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72809 w 3140960"/>
                  <a:gd name="connsiteY27" fmla="*/ 2270760 h 3147261"/>
                  <a:gd name="connsiteX28" fmla="*/ 2949949 w 3140960"/>
                  <a:gd name="connsiteY28" fmla="*/ 2331720 h 3147261"/>
                  <a:gd name="connsiteX29" fmla="*/ 2927089 w 3140960"/>
                  <a:gd name="connsiteY29" fmla="*/ 2385060 h 3147261"/>
                  <a:gd name="connsiteX30" fmla="*/ 2904229 w 3140960"/>
                  <a:gd name="connsiteY30" fmla="*/ 2407920 h 3147261"/>
                  <a:gd name="connsiteX31" fmla="*/ 2858509 w 3140960"/>
                  <a:gd name="connsiteY31" fmla="*/ 2499360 h 3147261"/>
                  <a:gd name="connsiteX32" fmla="*/ 2843269 w 3140960"/>
                  <a:gd name="connsiteY32" fmla="*/ 2529840 h 3147261"/>
                  <a:gd name="connsiteX33" fmla="*/ 2835649 w 3140960"/>
                  <a:gd name="connsiteY33" fmla="*/ 2552700 h 3147261"/>
                  <a:gd name="connsiteX34" fmla="*/ 2759449 w 3140960"/>
                  <a:gd name="connsiteY34" fmla="*/ 2636520 h 3147261"/>
                  <a:gd name="connsiteX35" fmla="*/ 2706109 w 3140960"/>
                  <a:gd name="connsiteY35" fmla="*/ 2667000 h 3147261"/>
                  <a:gd name="connsiteX36" fmla="*/ 2302249 w 3140960"/>
                  <a:gd name="connsiteY36" fmla="*/ 2971800 h 3147261"/>
                  <a:gd name="connsiteX37" fmla="*/ 2195569 w 3140960"/>
                  <a:gd name="connsiteY37" fmla="*/ 3025140 h 3147261"/>
                  <a:gd name="connsiteX38" fmla="*/ 2096509 w 3140960"/>
                  <a:gd name="connsiteY38" fmla="*/ 3055620 h 3147261"/>
                  <a:gd name="connsiteX39" fmla="*/ 1913629 w 3140960"/>
                  <a:gd name="connsiteY39" fmla="*/ 3108960 h 3147261"/>
                  <a:gd name="connsiteX40" fmla="*/ 1799329 w 3140960"/>
                  <a:gd name="connsiteY40" fmla="*/ 3147060 h 3147261"/>
                  <a:gd name="connsiteX41" fmla="*/ 1334509 w 3140960"/>
                  <a:gd name="connsiteY41" fmla="*/ 3108960 h 3147261"/>
                  <a:gd name="connsiteX42" fmla="*/ 793489 w 3140960"/>
                  <a:gd name="connsiteY42" fmla="*/ 2933700 h 3147261"/>
                  <a:gd name="connsiteX43" fmla="*/ 420109 w 3140960"/>
                  <a:gd name="connsiteY43" fmla="*/ 2644140 h 3147261"/>
                  <a:gd name="connsiteX44" fmla="*/ 321049 w 3140960"/>
                  <a:gd name="connsiteY44" fmla="*/ 2484120 h 3147261"/>
                  <a:gd name="connsiteX45" fmla="*/ 298189 w 3140960"/>
                  <a:gd name="connsiteY45" fmla="*/ 2430780 h 3147261"/>
                  <a:gd name="connsiteX46" fmla="*/ 275329 w 3140960"/>
                  <a:gd name="connsiteY46" fmla="*/ 2377440 h 3147261"/>
                  <a:gd name="connsiteX47" fmla="*/ 229609 w 3140960"/>
                  <a:gd name="connsiteY47" fmla="*/ 2316480 h 3147261"/>
                  <a:gd name="connsiteX48" fmla="*/ 206749 w 3140960"/>
                  <a:gd name="connsiteY48" fmla="*/ 2293620 h 3147261"/>
                  <a:gd name="connsiteX49" fmla="*/ 176269 w 3140960"/>
                  <a:gd name="connsiteY49" fmla="*/ 2240280 h 3147261"/>
                  <a:gd name="connsiteX50" fmla="*/ 161029 w 3140960"/>
                  <a:gd name="connsiteY50" fmla="*/ 2202180 h 3147261"/>
                  <a:gd name="connsiteX51" fmla="*/ 145789 w 3140960"/>
                  <a:gd name="connsiteY51" fmla="*/ 2179320 h 3147261"/>
                  <a:gd name="connsiteX52" fmla="*/ 130549 w 3140960"/>
                  <a:gd name="connsiteY52" fmla="*/ 2133600 h 3147261"/>
                  <a:gd name="connsiteX53" fmla="*/ 100069 w 3140960"/>
                  <a:gd name="connsiteY53" fmla="*/ 2087880 h 3147261"/>
                  <a:gd name="connsiteX54" fmla="*/ 61969 w 3140960"/>
                  <a:gd name="connsiteY54" fmla="*/ 2026920 h 3147261"/>
                  <a:gd name="connsiteX55" fmla="*/ 54349 w 3140960"/>
                  <a:gd name="connsiteY55" fmla="*/ 2004060 h 3147261"/>
                  <a:gd name="connsiteX56" fmla="*/ 39109 w 3140960"/>
                  <a:gd name="connsiteY56" fmla="*/ 1943100 h 3147261"/>
                  <a:gd name="connsiteX57" fmla="*/ 23869 w 3140960"/>
                  <a:gd name="connsiteY57" fmla="*/ 1897380 h 3147261"/>
                  <a:gd name="connsiteX58" fmla="*/ 1009 w 3140960"/>
                  <a:gd name="connsiteY58" fmla="*/ 1562100 h 3147261"/>
                  <a:gd name="connsiteX59" fmla="*/ 54349 w 3140960"/>
                  <a:gd name="connsiteY59" fmla="*/ 1135380 h 3147261"/>
                  <a:gd name="connsiteX60" fmla="*/ 161029 w 3140960"/>
                  <a:gd name="connsiteY60" fmla="*/ 861060 h 3147261"/>
                  <a:gd name="connsiteX61" fmla="*/ 183889 w 3140960"/>
                  <a:gd name="connsiteY61" fmla="*/ 822960 h 3147261"/>
                  <a:gd name="connsiteX62" fmla="*/ 260089 w 3140960"/>
                  <a:gd name="connsiteY62" fmla="*/ 708660 h 3147261"/>
                  <a:gd name="connsiteX63" fmla="*/ 275329 w 3140960"/>
                  <a:gd name="connsiteY63" fmla="*/ 662940 h 3147261"/>
                  <a:gd name="connsiteX64" fmla="*/ 420109 w 3140960"/>
                  <a:gd name="connsiteY64" fmla="*/ 510540 h 3147261"/>
                  <a:gd name="connsiteX65" fmla="*/ 511549 w 3140960"/>
                  <a:gd name="connsiteY65" fmla="*/ 434340 h 3147261"/>
                  <a:gd name="connsiteX66" fmla="*/ 564889 w 3140960"/>
                  <a:gd name="connsiteY66" fmla="*/ 396240 h 3147261"/>
                  <a:gd name="connsiteX67" fmla="*/ 656329 w 3140960"/>
                  <a:gd name="connsiteY67" fmla="*/ 312420 h 3147261"/>
                  <a:gd name="connsiteX68" fmla="*/ 869689 w 3140960"/>
                  <a:gd name="connsiteY68" fmla="*/ 175260 h 3147261"/>
                  <a:gd name="connsiteX69" fmla="*/ 976369 w 3140960"/>
                  <a:gd name="connsiteY69" fmla="*/ 137160 h 3147261"/>
                  <a:gd name="connsiteX70" fmla="*/ 1105909 w 3140960"/>
                  <a:gd name="connsiteY70" fmla="*/ 76200 h 3147261"/>
                  <a:gd name="connsiteX71" fmla="*/ 1243069 w 3140960"/>
                  <a:gd name="connsiteY71" fmla="*/ 38100 h 3147261"/>
                  <a:gd name="connsiteX72" fmla="*/ 1265929 w 3140960"/>
                  <a:gd name="connsiteY72" fmla="*/ 30480 h 3147261"/>
                  <a:gd name="connsiteX73" fmla="*/ 1387849 w 3140960"/>
                  <a:gd name="connsiteY73" fmla="*/ 15240 h 3147261"/>
                  <a:gd name="connsiteX74" fmla="*/ 1464049 w 3140960"/>
                  <a:gd name="connsiteY74" fmla="*/ 0 h 3147261"/>
                  <a:gd name="connsiteX75" fmla="*/ 1745989 w 3140960"/>
                  <a:gd name="connsiteY75" fmla="*/ 0 h 3147261"/>
                  <a:gd name="connsiteX76" fmla="*/ 2165089 w 3140960"/>
                  <a:gd name="connsiteY76" fmla="*/ 99060 h 3147261"/>
                  <a:gd name="connsiteX77" fmla="*/ 2340349 w 3140960"/>
                  <a:gd name="connsiteY77" fmla="*/ 182880 h 3147261"/>
                  <a:gd name="connsiteX78" fmla="*/ 2370829 w 3140960"/>
                  <a:gd name="connsiteY78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72809 w 3140960"/>
                  <a:gd name="connsiteY27" fmla="*/ 2270760 h 3147261"/>
                  <a:gd name="connsiteX28" fmla="*/ 2949949 w 3140960"/>
                  <a:gd name="connsiteY28" fmla="*/ 2331720 h 3147261"/>
                  <a:gd name="connsiteX29" fmla="*/ 2927089 w 3140960"/>
                  <a:gd name="connsiteY29" fmla="*/ 2385060 h 3147261"/>
                  <a:gd name="connsiteX30" fmla="*/ 2858509 w 3140960"/>
                  <a:gd name="connsiteY30" fmla="*/ 2499360 h 3147261"/>
                  <a:gd name="connsiteX31" fmla="*/ 2843269 w 3140960"/>
                  <a:gd name="connsiteY31" fmla="*/ 2529840 h 3147261"/>
                  <a:gd name="connsiteX32" fmla="*/ 2835649 w 3140960"/>
                  <a:gd name="connsiteY32" fmla="*/ 2552700 h 3147261"/>
                  <a:gd name="connsiteX33" fmla="*/ 2759449 w 3140960"/>
                  <a:gd name="connsiteY33" fmla="*/ 2636520 h 3147261"/>
                  <a:gd name="connsiteX34" fmla="*/ 2706109 w 3140960"/>
                  <a:gd name="connsiteY34" fmla="*/ 2667000 h 3147261"/>
                  <a:gd name="connsiteX35" fmla="*/ 2302249 w 3140960"/>
                  <a:gd name="connsiteY35" fmla="*/ 2971800 h 3147261"/>
                  <a:gd name="connsiteX36" fmla="*/ 2195569 w 3140960"/>
                  <a:gd name="connsiteY36" fmla="*/ 3025140 h 3147261"/>
                  <a:gd name="connsiteX37" fmla="*/ 2096509 w 3140960"/>
                  <a:gd name="connsiteY37" fmla="*/ 3055620 h 3147261"/>
                  <a:gd name="connsiteX38" fmla="*/ 1913629 w 3140960"/>
                  <a:gd name="connsiteY38" fmla="*/ 3108960 h 3147261"/>
                  <a:gd name="connsiteX39" fmla="*/ 1799329 w 3140960"/>
                  <a:gd name="connsiteY39" fmla="*/ 3147060 h 3147261"/>
                  <a:gd name="connsiteX40" fmla="*/ 1334509 w 3140960"/>
                  <a:gd name="connsiteY40" fmla="*/ 3108960 h 3147261"/>
                  <a:gd name="connsiteX41" fmla="*/ 793489 w 3140960"/>
                  <a:gd name="connsiteY41" fmla="*/ 2933700 h 3147261"/>
                  <a:gd name="connsiteX42" fmla="*/ 420109 w 3140960"/>
                  <a:gd name="connsiteY42" fmla="*/ 2644140 h 3147261"/>
                  <a:gd name="connsiteX43" fmla="*/ 321049 w 3140960"/>
                  <a:gd name="connsiteY43" fmla="*/ 2484120 h 3147261"/>
                  <a:gd name="connsiteX44" fmla="*/ 298189 w 3140960"/>
                  <a:gd name="connsiteY44" fmla="*/ 2430780 h 3147261"/>
                  <a:gd name="connsiteX45" fmla="*/ 275329 w 3140960"/>
                  <a:gd name="connsiteY45" fmla="*/ 2377440 h 3147261"/>
                  <a:gd name="connsiteX46" fmla="*/ 229609 w 3140960"/>
                  <a:gd name="connsiteY46" fmla="*/ 2316480 h 3147261"/>
                  <a:gd name="connsiteX47" fmla="*/ 206749 w 3140960"/>
                  <a:gd name="connsiteY47" fmla="*/ 2293620 h 3147261"/>
                  <a:gd name="connsiteX48" fmla="*/ 176269 w 3140960"/>
                  <a:gd name="connsiteY48" fmla="*/ 2240280 h 3147261"/>
                  <a:gd name="connsiteX49" fmla="*/ 161029 w 3140960"/>
                  <a:gd name="connsiteY49" fmla="*/ 2202180 h 3147261"/>
                  <a:gd name="connsiteX50" fmla="*/ 145789 w 3140960"/>
                  <a:gd name="connsiteY50" fmla="*/ 2179320 h 3147261"/>
                  <a:gd name="connsiteX51" fmla="*/ 130549 w 3140960"/>
                  <a:gd name="connsiteY51" fmla="*/ 2133600 h 3147261"/>
                  <a:gd name="connsiteX52" fmla="*/ 100069 w 3140960"/>
                  <a:gd name="connsiteY52" fmla="*/ 2087880 h 3147261"/>
                  <a:gd name="connsiteX53" fmla="*/ 61969 w 3140960"/>
                  <a:gd name="connsiteY53" fmla="*/ 2026920 h 3147261"/>
                  <a:gd name="connsiteX54" fmla="*/ 54349 w 3140960"/>
                  <a:gd name="connsiteY54" fmla="*/ 2004060 h 3147261"/>
                  <a:gd name="connsiteX55" fmla="*/ 39109 w 3140960"/>
                  <a:gd name="connsiteY55" fmla="*/ 1943100 h 3147261"/>
                  <a:gd name="connsiteX56" fmla="*/ 23869 w 3140960"/>
                  <a:gd name="connsiteY56" fmla="*/ 1897380 h 3147261"/>
                  <a:gd name="connsiteX57" fmla="*/ 1009 w 3140960"/>
                  <a:gd name="connsiteY57" fmla="*/ 1562100 h 3147261"/>
                  <a:gd name="connsiteX58" fmla="*/ 54349 w 3140960"/>
                  <a:gd name="connsiteY58" fmla="*/ 1135380 h 3147261"/>
                  <a:gd name="connsiteX59" fmla="*/ 161029 w 3140960"/>
                  <a:gd name="connsiteY59" fmla="*/ 861060 h 3147261"/>
                  <a:gd name="connsiteX60" fmla="*/ 183889 w 3140960"/>
                  <a:gd name="connsiteY60" fmla="*/ 822960 h 3147261"/>
                  <a:gd name="connsiteX61" fmla="*/ 260089 w 3140960"/>
                  <a:gd name="connsiteY61" fmla="*/ 708660 h 3147261"/>
                  <a:gd name="connsiteX62" fmla="*/ 275329 w 3140960"/>
                  <a:gd name="connsiteY62" fmla="*/ 662940 h 3147261"/>
                  <a:gd name="connsiteX63" fmla="*/ 420109 w 3140960"/>
                  <a:gd name="connsiteY63" fmla="*/ 510540 h 3147261"/>
                  <a:gd name="connsiteX64" fmla="*/ 511549 w 3140960"/>
                  <a:gd name="connsiteY64" fmla="*/ 434340 h 3147261"/>
                  <a:gd name="connsiteX65" fmla="*/ 564889 w 3140960"/>
                  <a:gd name="connsiteY65" fmla="*/ 396240 h 3147261"/>
                  <a:gd name="connsiteX66" fmla="*/ 656329 w 3140960"/>
                  <a:gd name="connsiteY66" fmla="*/ 312420 h 3147261"/>
                  <a:gd name="connsiteX67" fmla="*/ 869689 w 3140960"/>
                  <a:gd name="connsiteY67" fmla="*/ 175260 h 3147261"/>
                  <a:gd name="connsiteX68" fmla="*/ 976369 w 3140960"/>
                  <a:gd name="connsiteY68" fmla="*/ 137160 h 3147261"/>
                  <a:gd name="connsiteX69" fmla="*/ 1105909 w 3140960"/>
                  <a:gd name="connsiteY69" fmla="*/ 76200 h 3147261"/>
                  <a:gd name="connsiteX70" fmla="*/ 1243069 w 3140960"/>
                  <a:gd name="connsiteY70" fmla="*/ 38100 h 3147261"/>
                  <a:gd name="connsiteX71" fmla="*/ 1265929 w 3140960"/>
                  <a:gd name="connsiteY71" fmla="*/ 30480 h 3147261"/>
                  <a:gd name="connsiteX72" fmla="*/ 1387849 w 3140960"/>
                  <a:gd name="connsiteY72" fmla="*/ 15240 h 3147261"/>
                  <a:gd name="connsiteX73" fmla="*/ 1464049 w 3140960"/>
                  <a:gd name="connsiteY73" fmla="*/ 0 h 3147261"/>
                  <a:gd name="connsiteX74" fmla="*/ 1745989 w 3140960"/>
                  <a:gd name="connsiteY74" fmla="*/ 0 h 3147261"/>
                  <a:gd name="connsiteX75" fmla="*/ 2165089 w 3140960"/>
                  <a:gd name="connsiteY75" fmla="*/ 99060 h 3147261"/>
                  <a:gd name="connsiteX76" fmla="*/ 2340349 w 3140960"/>
                  <a:gd name="connsiteY76" fmla="*/ 182880 h 3147261"/>
                  <a:gd name="connsiteX77" fmla="*/ 2370829 w 3140960"/>
                  <a:gd name="connsiteY77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95669 w 3140960"/>
                  <a:gd name="connsiteY26" fmla="*/ 2186940 h 3147261"/>
                  <a:gd name="connsiteX27" fmla="*/ 2949949 w 3140960"/>
                  <a:gd name="connsiteY27" fmla="*/ 2331720 h 3147261"/>
                  <a:gd name="connsiteX28" fmla="*/ 2927089 w 3140960"/>
                  <a:gd name="connsiteY28" fmla="*/ 2385060 h 3147261"/>
                  <a:gd name="connsiteX29" fmla="*/ 2858509 w 3140960"/>
                  <a:gd name="connsiteY29" fmla="*/ 2499360 h 3147261"/>
                  <a:gd name="connsiteX30" fmla="*/ 2843269 w 3140960"/>
                  <a:gd name="connsiteY30" fmla="*/ 2529840 h 3147261"/>
                  <a:gd name="connsiteX31" fmla="*/ 2835649 w 3140960"/>
                  <a:gd name="connsiteY31" fmla="*/ 2552700 h 3147261"/>
                  <a:gd name="connsiteX32" fmla="*/ 2759449 w 3140960"/>
                  <a:gd name="connsiteY32" fmla="*/ 2636520 h 3147261"/>
                  <a:gd name="connsiteX33" fmla="*/ 2706109 w 3140960"/>
                  <a:gd name="connsiteY33" fmla="*/ 2667000 h 3147261"/>
                  <a:gd name="connsiteX34" fmla="*/ 2302249 w 3140960"/>
                  <a:gd name="connsiteY34" fmla="*/ 2971800 h 3147261"/>
                  <a:gd name="connsiteX35" fmla="*/ 2195569 w 3140960"/>
                  <a:gd name="connsiteY35" fmla="*/ 3025140 h 3147261"/>
                  <a:gd name="connsiteX36" fmla="*/ 2096509 w 3140960"/>
                  <a:gd name="connsiteY36" fmla="*/ 3055620 h 3147261"/>
                  <a:gd name="connsiteX37" fmla="*/ 1913629 w 3140960"/>
                  <a:gd name="connsiteY37" fmla="*/ 3108960 h 3147261"/>
                  <a:gd name="connsiteX38" fmla="*/ 1799329 w 3140960"/>
                  <a:gd name="connsiteY38" fmla="*/ 3147060 h 3147261"/>
                  <a:gd name="connsiteX39" fmla="*/ 1334509 w 3140960"/>
                  <a:gd name="connsiteY39" fmla="*/ 3108960 h 3147261"/>
                  <a:gd name="connsiteX40" fmla="*/ 793489 w 3140960"/>
                  <a:gd name="connsiteY40" fmla="*/ 2933700 h 3147261"/>
                  <a:gd name="connsiteX41" fmla="*/ 420109 w 3140960"/>
                  <a:gd name="connsiteY41" fmla="*/ 2644140 h 3147261"/>
                  <a:gd name="connsiteX42" fmla="*/ 321049 w 3140960"/>
                  <a:gd name="connsiteY42" fmla="*/ 2484120 h 3147261"/>
                  <a:gd name="connsiteX43" fmla="*/ 298189 w 3140960"/>
                  <a:gd name="connsiteY43" fmla="*/ 2430780 h 3147261"/>
                  <a:gd name="connsiteX44" fmla="*/ 275329 w 3140960"/>
                  <a:gd name="connsiteY44" fmla="*/ 2377440 h 3147261"/>
                  <a:gd name="connsiteX45" fmla="*/ 229609 w 3140960"/>
                  <a:gd name="connsiteY45" fmla="*/ 2316480 h 3147261"/>
                  <a:gd name="connsiteX46" fmla="*/ 206749 w 3140960"/>
                  <a:gd name="connsiteY46" fmla="*/ 2293620 h 3147261"/>
                  <a:gd name="connsiteX47" fmla="*/ 176269 w 3140960"/>
                  <a:gd name="connsiteY47" fmla="*/ 2240280 h 3147261"/>
                  <a:gd name="connsiteX48" fmla="*/ 161029 w 3140960"/>
                  <a:gd name="connsiteY48" fmla="*/ 2202180 h 3147261"/>
                  <a:gd name="connsiteX49" fmla="*/ 145789 w 3140960"/>
                  <a:gd name="connsiteY49" fmla="*/ 2179320 h 3147261"/>
                  <a:gd name="connsiteX50" fmla="*/ 130549 w 3140960"/>
                  <a:gd name="connsiteY50" fmla="*/ 2133600 h 3147261"/>
                  <a:gd name="connsiteX51" fmla="*/ 100069 w 3140960"/>
                  <a:gd name="connsiteY51" fmla="*/ 2087880 h 3147261"/>
                  <a:gd name="connsiteX52" fmla="*/ 61969 w 3140960"/>
                  <a:gd name="connsiteY52" fmla="*/ 2026920 h 3147261"/>
                  <a:gd name="connsiteX53" fmla="*/ 54349 w 3140960"/>
                  <a:gd name="connsiteY53" fmla="*/ 2004060 h 3147261"/>
                  <a:gd name="connsiteX54" fmla="*/ 39109 w 3140960"/>
                  <a:gd name="connsiteY54" fmla="*/ 1943100 h 3147261"/>
                  <a:gd name="connsiteX55" fmla="*/ 23869 w 3140960"/>
                  <a:gd name="connsiteY55" fmla="*/ 1897380 h 3147261"/>
                  <a:gd name="connsiteX56" fmla="*/ 1009 w 3140960"/>
                  <a:gd name="connsiteY56" fmla="*/ 1562100 h 3147261"/>
                  <a:gd name="connsiteX57" fmla="*/ 54349 w 3140960"/>
                  <a:gd name="connsiteY57" fmla="*/ 1135380 h 3147261"/>
                  <a:gd name="connsiteX58" fmla="*/ 161029 w 3140960"/>
                  <a:gd name="connsiteY58" fmla="*/ 861060 h 3147261"/>
                  <a:gd name="connsiteX59" fmla="*/ 183889 w 3140960"/>
                  <a:gd name="connsiteY59" fmla="*/ 822960 h 3147261"/>
                  <a:gd name="connsiteX60" fmla="*/ 260089 w 3140960"/>
                  <a:gd name="connsiteY60" fmla="*/ 708660 h 3147261"/>
                  <a:gd name="connsiteX61" fmla="*/ 275329 w 3140960"/>
                  <a:gd name="connsiteY61" fmla="*/ 662940 h 3147261"/>
                  <a:gd name="connsiteX62" fmla="*/ 420109 w 3140960"/>
                  <a:gd name="connsiteY62" fmla="*/ 510540 h 3147261"/>
                  <a:gd name="connsiteX63" fmla="*/ 511549 w 3140960"/>
                  <a:gd name="connsiteY63" fmla="*/ 434340 h 3147261"/>
                  <a:gd name="connsiteX64" fmla="*/ 564889 w 3140960"/>
                  <a:gd name="connsiteY64" fmla="*/ 396240 h 3147261"/>
                  <a:gd name="connsiteX65" fmla="*/ 656329 w 3140960"/>
                  <a:gd name="connsiteY65" fmla="*/ 312420 h 3147261"/>
                  <a:gd name="connsiteX66" fmla="*/ 869689 w 3140960"/>
                  <a:gd name="connsiteY66" fmla="*/ 175260 h 3147261"/>
                  <a:gd name="connsiteX67" fmla="*/ 976369 w 3140960"/>
                  <a:gd name="connsiteY67" fmla="*/ 137160 h 3147261"/>
                  <a:gd name="connsiteX68" fmla="*/ 1105909 w 3140960"/>
                  <a:gd name="connsiteY68" fmla="*/ 76200 h 3147261"/>
                  <a:gd name="connsiteX69" fmla="*/ 1243069 w 3140960"/>
                  <a:gd name="connsiteY69" fmla="*/ 38100 h 3147261"/>
                  <a:gd name="connsiteX70" fmla="*/ 1265929 w 3140960"/>
                  <a:gd name="connsiteY70" fmla="*/ 30480 h 3147261"/>
                  <a:gd name="connsiteX71" fmla="*/ 1387849 w 3140960"/>
                  <a:gd name="connsiteY71" fmla="*/ 15240 h 3147261"/>
                  <a:gd name="connsiteX72" fmla="*/ 1464049 w 3140960"/>
                  <a:gd name="connsiteY72" fmla="*/ 0 h 3147261"/>
                  <a:gd name="connsiteX73" fmla="*/ 1745989 w 3140960"/>
                  <a:gd name="connsiteY73" fmla="*/ 0 h 3147261"/>
                  <a:gd name="connsiteX74" fmla="*/ 2165089 w 3140960"/>
                  <a:gd name="connsiteY74" fmla="*/ 99060 h 3147261"/>
                  <a:gd name="connsiteX75" fmla="*/ 2340349 w 3140960"/>
                  <a:gd name="connsiteY75" fmla="*/ 182880 h 3147261"/>
                  <a:gd name="connsiteX76" fmla="*/ 2370829 w 3140960"/>
                  <a:gd name="connsiteY76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3018529 w 3140960"/>
                  <a:gd name="connsiteY25" fmla="*/ 2118360 h 3147261"/>
                  <a:gd name="connsiteX26" fmla="*/ 2949949 w 3140960"/>
                  <a:gd name="connsiteY26" fmla="*/ 2331720 h 3147261"/>
                  <a:gd name="connsiteX27" fmla="*/ 2927089 w 3140960"/>
                  <a:gd name="connsiteY27" fmla="*/ 2385060 h 3147261"/>
                  <a:gd name="connsiteX28" fmla="*/ 2858509 w 3140960"/>
                  <a:gd name="connsiteY28" fmla="*/ 2499360 h 3147261"/>
                  <a:gd name="connsiteX29" fmla="*/ 2843269 w 3140960"/>
                  <a:gd name="connsiteY29" fmla="*/ 2529840 h 3147261"/>
                  <a:gd name="connsiteX30" fmla="*/ 2835649 w 3140960"/>
                  <a:gd name="connsiteY30" fmla="*/ 2552700 h 3147261"/>
                  <a:gd name="connsiteX31" fmla="*/ 2759449 w 3140960"/>
                  <a:gd name="connsiteY31" fmla="*/ 2636520 h 3147261"/>
                  <a:gd name="connsiteX32" fmla="*/ 2706109 w 3140960"/>
                  <a:gd name="connsiteY32" fmla="*/ 2667000 h 3147261"/>
                  <a:gd name="connsiteX33" fmla="*/ 2302249 w 3140960"/>
                  <a:gd name="connsiteY33" fmla="*/ 2971800 h 3147261"/>
                  <a:gd name="connsiteX34" fmla="*/ 2195569 w 3140960"/>
                  <a:gd name="connsiteY34" fmla="*/ 3025140 h 3147261"/>
                  <a:gd name="connsiteX35" fmla="*/ 2096509 w 3140960"/>
                  <a:gd name="connsiteY35" fmla="*/ 3055620 h 3147261"/>
                  <a:gd name="connsiteX36" fmla="*/ 1913629 w 3140960"/>
                  <a:gd name="connsiteY36" fmla="*/ 3108960 h 3147261"/>
                  <a:gd name="connsiteX37" fmla="*/ 1799329 w 3140960"/>
                  <a:gd name="connsiteY37" fmla="*/ 3147060 h 3147261"/>
                  <a:gd name="connsiteX38" fmla="*/ 1334509 w 3140960"/>
                  <a:gd name="connsiteY38" fmla="*/ 3108960 h 3147261"/>
                  <a:gd name="connsiteX39" fmla="*/ 793489 w 3140960"/>
                  <a:gd name="connsiteY39" fmla="*/ 2933700 h 3147261"/>
                  <a:gd name="connsiteX40" fmla="*/ 420109 w 3140960"/>
                  <a:gd name="connsiteY40" fmla="*/ 2644140 h 3147261"/>
                  <a:gd name="connsiteX41" fmla="*/ 321049 w 3140960"/>
                  <a:gd name="connsiteY41" fmla="*/ 2484120 h 3147261"/>
                  <a:gd name="connsiteX42" fmla="*/ 298189 w 3140960"/>
                  <a:gd name="connsiteY42" fmla="*/ 2430780 h 3147261"/>
                  <a:gd name="connsiteX43" fmla="*/ 275329 w 3140960"/>
                  <a:gd name="connsiteY43" fmla="*/ 2377440 h 3147261"/>
                  <a:gd name="connsiteX44" fmla="*/ 229609 w 3140960"/>
                  <a:gd name="connsiteY44" fmla="*/ 2316480 h 3147261"/>
                  <a:gd name="connsiteX45" fmla="*/ 206749 w 3140960"/>
                  <a:gd name="connsiteY45" fmla="*/ 2293620 h 3147261"/>
                  <a:gd name="connsiteX46" fmla="*/ 176269 w 3140960"/>
                  <a:gd name="connsiteY46" fmla="*/ 2240280 h 3147261"/>
                  <a:gd name="connsiteX47" fmla="*/ 161029 w 3140960"/>
                  <a:gd name="connsiteY47" fmla="*/ 2202180 h 3147261"/>
                  <a:gd name="connsiteX48" fmla="*/ 145789 w 3140960"/>
                  <a:gd name="connsiteY48" fmla="*/ 2179320 h 3147261"/>
                  <a:gd name="connsiteX49" fmla="*/ 130549 w 3140960"/>
                  <a:gd name="connsiteY49" fmla="*/ 2133600 h 3147261"/>
                  <a:gd name="connsiteX50" fmla="*/ 100069 w 3140960"/>
                  <a:gd name="connsiteY50" fmla="*/ 2087880 h 3147261"/>
                  <a:gd name="connsiteX51" fmla="*/ 61969 w 3140960"/>
                  <a:gd name="connsiteY51" fmla="*/ 2026920 h 3147261"/>
                  <a:gd name="connsiteX52" fmla="*/ 54349 w 3140960"/>
                  <a:gd name="connsiteY52" fmla="*/ 2004060 h 3147261"/>
                  <a:gd name="connsiteX53" fmla="*/ 39109 w 3140960"/>
                  <a:gd name="connsiteY53" fmla="*/ 1943100 h 3147261"/>
                  <a:gd name="connsiteX54" fmla="*/ 23869 w 3140960"/>
                  <a:gd name="connsiteY54" fmla="*/ 1897380 h 3147261"/>
                  <a:gd name="connsiteX55" fmla="*/ 1009 w 3140960"/>
                  <a:gd name="connsiteY55" fmla="*/ 1562100 h 3147261"/>
                  <a:gd name="connsiteX56" fmla="*/ 54349 w 3140960"/>
                  <a:gd name="connsiteY56" fmla="*/ 1135380 h 3147261"/>
                  <a:gd name="connsiteX57" fmla="*/ 161029 w 3140960"/>
                  <a:gd name="connsiteY57" fmla="*/ 861060 h 3147261"/>
                  <a:gd name="connsiteX58" fmla="*/ 183889 w 3140960"/>
                  <a:gd name="connsiteY58" fmla="*/ 822960 h 3147261"/>
                  <a:gd name="connsiteX59" fmla="*/ 260089 w 3140960"/>
                  <a:gd name="connsiteY59" fmla="*/ 708660 h 3147261"/>
                  <a:gd name="connsiteX60" fmla="*/ 275329 w 3140960"/>
                  <a:gd name="connsiteY60" fmla="*/ 662940 h 3147261"/>
                  <a:gd name="connsiteX61" fmla="*/ 420109 w 3140960"/>
                  <a:gd name="connsiteY61" fmla="*/ 510540 h 3147261"/>
                  <a:gd name="connsiteX62" fmla="*/ 511549 w 3140960"/>
                  <a:gd name="connsiteY62" fmla="*/ 434340 h 3147261"/>
                  <a:gd name="connsiteX63" fmla="*/ 564889 w 3140960"/>
                  <a:gd name="connsiteY63" fmla="*/ 396240 h 3147261"/>
                  <a:gd name="connsiteX64" fmla="*/ 656329 w 3140960"/>
                  <a:gd name="connsiteY64" fmla="*/ 312420 h 3147261"/>
                  <a:gd name="connsiteX65" fmla="*/ 869689 w 3140960"/>
                  <a:gd name="connsiteY65" fmla="*/ 175260 h 3147261"/>
                  <a:gd name="connsiteX66" fmla="*/ 976369 w 3140960"/>
                  <a:gd name="connsiteY66" fmla="*/ 137160 h 3147261"/>
                  <a:gd name="connsiteX67" fmla="*/ 1105909 w 3140960"/>
                  <a:gd name="connsiteY67" fmla="*/ 76200 h 3147261"/>
                  <a:gd name="connsiteX68" fmla="*/ 1243069 w 3140960"/>
                  <a:gd name="connsiteY68" fmla="*/ 38100 h 3147261"/>
                  <a:gd name="connsiteX69" fmla="*/ 1265929 w 3140960"/>
                  <a:gd name="connsiteY69" fmla="*/ 30480 h 3147261"/>
                  <a:gd name="connsiteX70" fmla="*/ 1387849 w 3140960"/>
                  <a:gd name="connsiteY70" fmla="*/ 15240 h 3147261"/>
                  <a:gd name="connsiteX71" fmla="*/ 1464049 w 3140960"/>
                  <a:gd name="connsiteY71" fmla="*/ 0 h 3147261"/>
                  <a:gd name="connsiteX72" fmla="*/ 1745989 w 3140960"/>
                  <a:gd name="connsiteY72" fmla="*/ 0 h 3147261"/>
                  <a:gd name="connsiteX73" fmla="*/ 2165089 w 3140960"/>
                  <a:gd name="connsiteY73" fmla="*/ 99060 h 3147261"/>
                  <a:gd name="connsiteX74" fmla="*/ 2340349 w 3140960"/>
                  <a:gd name="connsiteY74" fmla="*/ 182880 h 3147261"/>
                  <a:gd name="connsiteX75" fmla="*/ 2370829 w 3140960"/>
                  <a:gd name="connsiteY75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3041389 w 3140960"/>
                  <a:gd name="connsiteY24" fmla="*/ 2057400 h 3147261"/>
                  <a:gd name="connsiteX25" fmla="*/ 2949949 w 3140960"/>
                  <a:gd name="connsiteY25" fmla="*/ 2331720 h 3147261"/>
                  <a:gd name="connsiteX26" fmla="*/ 2927089 w 3140960"/>
                  <a:gd name="connsiteY26" fmla="*/ 2385060 h 3147261"/>
                  <a:gd name="connsiteX27" fmla="*/ 2858509 w 3140960"/>
                  <a:gd name="connsiteY27" fmla="*/ 2499360 h 3147261"/>
                  <a:gd name="connsiteX28" fmla="*/ 2843269 w 3140960"/>
                  <a:gd name="connsiteY28" fmla="*/ 2529840 h 3147261"/>
                  <a:gd name="connsiteX29" fmla="*/ 2835649 w 3140960"/>
                  <a:gd name="connsiteY29" fmla="*/ 2552700 h 3147261"/>
                  <a:gd name="connsiteX30" fmla="*/ 2759449 w 3140960"/>
                  <a:gd name="connsiteY30" fmla="*/ 2636520 h 3147261"/>
                  <a:gd name="connsiteX31" fmla="*/ 2706109 w 3140960"/>
                  <a:gd name="connsiteY31" fmla="*/ 2667000 h 3147261"/>
                  <a:gd name="connsiteX32" fmla="*/ 2302249 w 3140960"/>
                  <a:gd name="connsiteY32" fmla="*/ 2971800 h 3147261"/>
                  <a:gd name="connsiteX33" fmla="*/ 2195569 w 3140960"/>
                  <a:gd name="connsiteY33" fmla="*/ 3025140 h 3147261"/>
                  <a:gd name="connsiteX34" fmla="*/ 2096509 w 3140960"/>
                  <a:gd name="connsiteY34" fmla="*/ 3055620 h 3147261"/>
                  <a:gd name="connsiteX35" fmla="*/ 1913629 w 3140960"/>
                  <a:gd name="connsiteY35" fmla="*/ 3108960 h 3147261"/>
                  <a:gd name="connsiteX36" fmla="*/ 1799329 w 3140960"/>
                  <a:gd name="connsiteY36" fmla="*/ 3147060 h 3147261"/>
                  <a:gd name="connsiteX37" fmla="*/ 1334509 w 3140960"/>
                  <a:gd name="connsiteY37" fmla="*/ 3108960 h 3147261"/>
                  <a:gd name="connsiteX38" fmla="*/ 793489 w 3140960"/>
                  <a:gd name="connsiteY38" fmla="*/ 2933700 h 3147261"/>
                  <a:gd name="connsiteX39" fmla="*/ 420109 w 3140960"/>
                  <a:gd name="connsiteY39" fmla="*/ 2644140 h 3147261"/>
                  <a:gd name="connsiteX40" fmla="*/ 321049 w 3140960"/>
                  <a:gd name="connsiteY40" fmla="*/ 2484120 h 3147261"/>
                  <a:gd name="connsiteX41" fmla="*/ 298189 w 3140960"/>
                  <a:gd name="connsiteY41" fmla="*/ 2430780 h 3147261"/>
                  <a:gd name="connsiteX42" fmla="*/ 275329 w 3140960"/>
                  <a:gd name="connsiteY42" fmla="*/ 2377440 h 3147261"/>
                  <a:gd name="connsiteX43" fmla="*/ 229609 w 3140960"/>
                  <a:gd name="connsiteY43" fmla="*/ 2316480 h 3147261"/>
                  <a:gd name="connsiteX44" fmla="*/ 206749 w 3140960"/>
                  <a:gd name="connsiteY44" fmla="*/ 2293620 h 3147261"/>
                  <a:gd name="connsiteX45" fmla="*/ 176269 w 3140960"/>
                  <a:gd name="connsiteY45" fmla="*/ 2240280 h 3147261"/>
                  <a:gd name="connsiteX46" fmla="*/ 161029 w 3140960"/>
                  <a:gd name="connsiteY46" fmla="*/ 2202180 h 3147261"/>
                  <a:gd name="connsiteX47" fmla="*/ 145789 w 3140960"/>
                  <a:gd name="connsiteY47" fmla="*/ 2179320 h 3147261"/>
                  <a:gd name="connsiteX48" fmla="*/ 130549 w 3140960"/>
                  <a:gd name="connsiteY48" fmla="*/ 2133600 h 3147261"/>
                  <a:gd name="connsiteX49" fmla="*/ 100069 w 3140960"/>
                  <a:gd name="connsiteY49" fmla="*/ 2087880 h 3147261"/>
                  <a:gd name="connsiteX50" fmla="*/ 61969 w 3140960"/>
                  <a:gd name="connsiteY50" fmla="*/ 2026920 h 3147261"/>
                  <a:gd name="connsiteX51" fmla="*/ 54349 w 3140960"/>
                  <a:gd name="connsiteY51" fmla="*/ 2004060 h 3147261"/>
                  <a:gd name="connsiteX52" fmla="*/ 39109 w 3140960"/>
                  <a:gd name="connsiteY52" fmla="*/ 1943100 h 3147261"/>
                  <a:gd name="connsiteX53" fmla="*/ 23869 w 3140960"/>
                  <a:gd name="connsiteY53" fmla="*/ 1897380 h 3147261"/>
                  <a:gd name="connsiteX54" fmla="*/ 1009 w 3140960"/>
                  <a:gd name="connsiteY54" fmla="*/ 1562100 h 3147261"/>
                  <a:gd name="connsiteX55" fmla="*/ 54349 w 3140960"/>
                  <a:gd name="connsiteY55" fmla="*/ 1135380 h 3147261"/>
                  <a:gd name="connsiteX56" fmla="*/ 161029 w 3140960"/>
                  <a:gd name="connsiteY56" fmla="*/ 861060 h 3147261"/>
                  <a:gd name="connsiteX57" fmla="*/ 183889 w 3140960"/>
                  <a:gd name="connsiteY57" fmla="*/ 822960 h 3147261"/>
                  <a:gd name="connsiteX58" fmla="*/ 260089 w 3140960"/>
                  <a:gd name="connsiteY58" fmla="*/ 708660 h 3147261"/>
                  <a:gd name="connsiteX59" fmla="*/ 275329 w 3140960"/>
                  <a:gd name="connsiteY59" fmla="*/ 662940 h 3147261"/>
                  <a:gd name="connsiteX60" fmla="*/ 420109 w 3140960"/>
                  <a:gd name="connsiteY60" fmla="*/ 510540 h 3147261"/>
                  <a:gd name="connsiteX61" fmla="*/ 511549 w 3140960"/>
                  <a:gd name="connsiteY61" fmla="*/ 434340 h 3147261"/>
                  <a:gd name="connsiteX62" fmla="*/ 564889 w 3140960"/>
                  <a:gd name="connsiteY62" fmla="*/ 396240 h 3147261"/>
                  <a:gd name="connsiteX63" fmla="*/ 656329 w 3140960"/>
                  <a:gd name="connsiteY63" fmla="*/ 312420 h 3147261"/>
                  <a:gd name="connsiteX64" fmla="*/ 869689 w 3140960"/>
                  <a:gd name="connsiteY64" fmla="*/ 175260 h 3147261"/>
                  <a:gd name="connsiteX65" fmla="*/ 976369 w 3140960"/>
                  <a:gd name="connsiteY65" fmla="*/ 137160 h 3147261"/>
                  <a:gd name="connsiteX66" fmla="*/ 1105909 w 3140960"/>
                  <a:gd name="connsiteY66" fmla="*/ 76200 h 3147261"/>
                  <a:gd name="connsiteX67" fmla="*/ 1243069 w 3140960"/>
                  <a:gd name="connsiteY67" fmla="*/ 38100 h 3147261"/>
                  <a:gd name="connsiteX68" fmla="*/ 1265929 w 3140960"/>
                  <a:gd name="connsiteY68" fmla="*/ 30480 h 3147261"/>
                  <a:gd name="connsiteX69" fmla="*/ 1387849 w 3140960"/>
                  <a:gd name="connsiteY69" fmla="*/ 15240 h 3147261"/>
                  <a:gd name="connsiteX70" fmla="*/ 1464049 w 3140960"/>
                  <a:gd name="connsiteY70" fmla="*/ 0 h 3147261"/>
                  <a:gd name="connsiteX71" fmla="*/ 1745989 w 3140960"/>
                  <a:gd name="connsiteY71" fmla="*/ 0 h 3147261"/>
                  <a:gd name="connsiteX72" fmla="*/ 2165089 w 3140960"/>
                  <a:gd name="connsiteY72" fmla="*/ 99060 h 3147261"/>
                  <a:gd name="connsiteX73" fmla="*/ 2340349 w 3140960"/>
                  <a:gd name="connsiteY73" fmla="*/ 182880 h 3147261"/>
                  <a:gd name="connsiteX74" fmla="*/ 2370829 w 3140960"/>
                  <a:gd name="connsiteY74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109969 w 3140960"/>
                  <a:gd name="connsiteY20" fmla="*/ 1836420 h 3147261"/>
                  <a:gd name="connsiteX21" fmla="*/ 3087109 w 3140960"/>
                  <a:gd name="connsiteY21" fmla="*/ 1905000 h 3147261"/>
                  <a:gd name="connsiteX22" fmla="*/ 3079489 w 3140960"/>
                  <a:gd name="connsiteY22" fmla="*/ 1935480 h 3147261"/>
                  <a:gd name="connsiteX23" fmla="*/ 3056629 w 3140960"/>
                  <a:gd name="connsiteY23" fmla="*/ 2019300 h 3147261"/>
                  <a:gd name="connsiteX24" fmla="*/ 2949949 w 3140960"/>
                  <a:gd name="connsiteY24" fmla="*/ 2331720 h 3147261"/>
                  <a:gd name="connsiteX25" fmla="*/ 2927089 w 3140960"/>
                  <a:gd name="connsiteY25" fmla="*/ 2385060 h 3147261"/>
                  <a:gd name="connsiteX26" fmla="*/ 2858509 w 3140960"/>
                  <a:gd name="connsiteY26" fmla="*/ 2499360 h 3147261"/>
                  <a:gd name="connsiteX27" fmla="*/ 2843269 w 3140960"/>
                  <a:gd name="connsiteY27" fmla="*/ 2529840 h 3147261"/>
                  <a:gd name="connsiteX28" fmla="*/ 2835649 w 3140960"/>
                  <a:gd name="connsiteY28" fmla="*/ 2552700 h 3147261"/>
                  <a:gd name="connsiteX29" fmla="*/ 2759449 w 3140960"/>
                  <a:gd name="connsiteY29" fmla="*/ 2636520 h 3147261"/>
                  <a:gd name="connsiteX30" fmla="*/ 2706109 w 3140960"/>
                  <a:gd name="connsiteY30" fmla="*/ 2667000 h 3147261"/>
                  <a:gd name="connsiteX31" fmla="*/ 2302249 w 3140960"/>
                  <a:gd name="connsiteY31" fmla="*/ 2971800 h 3147261"/>
                  <a:gd name="connsiteX32" fmla="*/ 2195569 w 3140960"/>
                  <a:gd name="connsiteY32" fmla="*/ 3025140 h 3147261"/>
                  <a:gd name="connsiteX33" fmla="*/ 2096509 w 3140960"/>
                  <a:gd name="connsiteY33" fmla="*/ 3055620 h 3147261"/>
                  <a:gd name="connsiteX34" fmla="*/ 1913629 w 3140960"/>
                  <a:gd name="connsiteY34" fmla="*/ 3108960 h 3147261"/>
                  <a:gd name="connsiteX35" fmla="*/ 1799329 w 3140960"/>
                  <a:gd name="connsiteY35" fmla="*/ 3147060 h 3147261"/>
                  <a:gd name="connsiteX36" fmla="*/ 1334509 w 3140960"/>
                  <a:gd name="connsiteY36" fmla="*/ 3108960 h 3147261"/>
                  <a:gd name="connsiteX37" fmla="*/ 793489 w 3140960"/>
                  <a:gd name="connsiteY37" fmla="*/ 2933700 h 3147261"/>
                  <a:gd name="connsiteX38" fmla="*/ 420109 w 3140960"/>
                  <a:gd name="connsiteY38" fmla="*/ 2644140 h 3147261"/>
                  <a:gd name="connsiteX39" fmla="*/ 321049 w 3140960"/>
                  <a:gd name="connsiteY39" fmla="*/ 2484120 h 3147261"/>
                  <a:gd name="connsiteX40" fmla="*/ 298189 w 3140960"/>
                  <a:gd name="connsiteY40" fmla="*/ 2430780 h 3147261"/>
                  <a:gd name="connsiteX41" fmla="*/ 275329 w 3140960"/>
                  <a:gd name="connsiteY41" fmla="*/ 2377440 h 3147261"/>
                  <a:gd name="connsiteX42" fmla="*/ 229609 w 3140960"/>
                  <a:gd name="connsiteY42" fmla="*/ 2316480 h 3147261"/>
                  <a:gd name="connsiteX43" fmla="*/ 206749 w 3140960"/>
                  <a:gd name="connsiteY43" fmla="*/ 2293620 h 3147261"/>
                  <a:gd name="connsiteX44" fmla="*/ 176269 w 3140960"/>
                  <a:gd name="connsiteY44" fmla="*/ 2240280 h 3147261"/>
                  <a:gd name="connsiteX45" fmla="*/ 161029 w 3140960"/>
                  <a:gd name="connsiteY45" fmla="*/ 2202180 h 3147261"/>
                  <a:gd name="connsiteX46" fmla="*/ 145789 w 3140960"/>
                  <a:gd name="connsiteY46" fmla="*/ 2179320 h 3147261"/>
                  <a:gd name="connsiteX47" fmla="*/ 130549 w 3140960"/>
                  <a:gd name="connsiteY47" fmla="*/ 2133600 h 3147261"/>
                  <a:gd name="connsiteX48" fmla="*/ 100069 w 3140960"/>
                  <a:gd name="connsiteY48" fmla="*/ 2087880 h 3147261"/>
                  <a:gd name="connsiteX49" fmla="*/ 61969 w 3140960"/>
                  <a:gd name="connsiteY49" fmla="*/ 2026920 h 3147261"/>
                  <a:gd name="connsiteX50" fmla="*/ 54349 w 3140960"/>
                  <a:gd name="connsiteY50" fmla="*/ 2004060 h 3147261"/>
                  <a:gd name="connsiteX51" fmla="*/ 39109 w 3140960"/>
                  <a:gd name="connsiteY51" fmla="*/ 1943100 h 3147261"/>
                  <a:gd name="connsiteX52" fmla="*/ 23869 w 3140960"/>
                  <a:gd name="connsiteY52" fmla="*/ 1897380 h 3147261"/>
                  <a:gd name="connsiteX53" fmla="*/ 1009 w 3140960"/>
                  <a:gd name="connsiteY53" fmla="*/ 1562100 h 3147261"/>
                  <a:gd name="connsiteX54" fmla="*/ 54349 w 3140960"/>
                  <a:gd name="connsiteY54" fmla="*/ 1135380 h 3147261"/>
                  <a:gd name="connsiteX55" fmla="*/ 161029 w 3140960"/>
                  <a:gd name="connsiteY55" fmla="*/ 861060 h 3147261"/>
                  <a:gd name="connsiteX56" fmla="*/ 183889 w 3140960"/>
                  <a:gd name="connsiteY56" fmla="*/ 822960 h 3147261"/>
                  <a:gd name="connsiteX57" fmla="*/ 260089 w 3140960"/>
                  <a:gd name="connsiteY57" fmla="*/ 708660 h 3147261"/>
                  <a:gd name="connsiteX58" fmla="*/ 275329 w 3140960"/>
                  <a:gd name="connsiteY58" fmla="*/ 662940 h 3147261"/>
                  <a:gd name="connsiteX59" fmla="*/ 420109 w 3140960"/>
                  <a:gd name="connsiteY59" fmla="*/ 510540 h 3147261"/>
                  <a:gd name="connsiteX60" fmla="*/ 511549 w 3140960"/>
                  <a:gd name="connsiteY60" fmla="*/ 434340 h 3147261"/>
                  <a:gd name="connsiteX61" fmla="*/ 564889 w 3140960"/>
                  <a:gd name="connsiteY61" fmla="*/ 396240 h 3147261"/>
                  <a:gd name="connsiteX62" fmla="*/ 656329 w 3140960"/>
                  <a:gd name="connsiteY62" fmla="*/ 312420 h 3147261"/>
                  <a:gd name="connsiteX63" fmla="*/ 869689 w 3140960"/>
                  <a:gd name="connsiteY63" fmla="*/ 175260 h 3147261"/>
                  <a:gd name="connsiteX64" fmla="*/ 976369 w 3140960"/>
                  <a:gd name="connsiteY64" fmla="*/ 137160 h 3147261"/>
                  <a:gd name="connsiteX65" fmla="*/ 1105909 w 3140960"/>
                  <a:gd name="connsiteY65" fmla="*/ 76200 h 3147261"/>
                  <a:gd name="connsiteX66" fmla="*/ 1243069 w 3140960"/>
                  <a:gd name="connsiteY66" fmla="*/ 38100 h 3147261"/>
                  <a:gd name="connsiteX67" fmla="*/ 1265929 w 3140960"/>
                  <a:gd name="connsiteY67" fmla="*/ 30480 h 3147261"/>
                  <a:gd name="connsiteX68" fmla="*/ 1387849 w 3140960"/>
                  <a:gd name="connsiteY68" fmla="*/ 15240 h 3147261"/>
                  <a:gd name="connsiteX69" fmla="*/ 1464049 w 3140960"/>
                  <a:gd name="connsiteY69" fmla="*/ 0 h 3147261"/>
                  <a:gd name="connsiteX70" fmla="*/ 1745989 w 3140960"/>
                  <a:gd name="connsiteY70" fmla="*/ 0 h 3147261"/>
                  <a:gd name="connsiteX71" fmla="*/ 2165089 w 3140960"/>
                  <a:gd name="connsiteY71" fmla="*/ 99060 h 3147261"/>
                  <a:gd name="connsiteX72" fmla="*/ 2340349 w 3140960"/>
                  <a:gd name="connsiteY72" fmla="*/ 182880 h 3147261"/>
                  <a:gd name="connsiteX73" fmla="*/ 2370829 w 3140960"/>
                  <a:gd name="connsiteY73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29609 w 3140960"/>
                  <a:gd name="connsiteY41" fmla="*/ 2316480 h 3147261"/>
                  <a:gd name="connsiteX42" fmla="*/ 206749 w 3140960"/>
                  <a:gd name="connsiteY42" fmla="*/ 2293620 h 3147261"/>
                  <a:gd name="connsiteX43" fmla="*/ 176269 w 3140960"/>
                  <a:gd name="connsiteY43" fmla="*/ 2240280 h 3147261"/>
                  <a:gd name="connsiteX44" fmla="*/ 161029 w 3140960"/>
                  <a:gd name="connsiteY44" fmla="*/ 2202180 h 3147261"/>
                  <a:gd name="connsiteX45" fmla="*/ 145789 w 3140960"/>
                  <a:gd name="connsiteY45" fmla="*/ 2179320 h 3147261"/>
                  <a:gd name="connsiteX46" fmla="*/ 130549 w 3140960"/>
                  <a:gd name="connsiteY46" fmla="*/ 2133600 h 3147261"/>
                  <a:gd name="connsiteX47" fmla="*/ 100069 w 3140960"/>
                  <a:gd name="connsiteY47" fmla="*/ 2087880 h 3147261"/>
                  <a:gd name="connsiteX48" fmla="*/ 61969 w 3140960"/>
                  <a:gd name="connsiteY48" fmla="*/ 2026920 h 3147261"/>
                  <a:gd name="connsiteX49" fmla="*/ 54349 w 3140960"/>
                  <a:gd name="connsiteY49" fmla="*/ 2004060 h 3147261"/>
                  <a:gd name="connsiteX50" fmla="*/ 39109 w 3140960"/>
                  <a:gd name="connsiteY50" fmla="*/ 1943100 h 3147261"/>
                  <a:gd name="connsiteX51" fmla="*/ 23869 w 3140960"/>
                  <a:gd name="connsiteY51" fmla="*/ 1897380 h 3147261"/>
                  <a:gd name="connsiteX52" fmla="*/ 1009 w 3140960"/>
                  <a:gd name="connsiteY52" fmla="*/ 1562100 h 3147261"/>
                  <a:gd name="connsiteX53" fmla="*/ 54349 w 3140960"/>
                  <a:gd name="connsiteY53" fmla="*/ 1135380 h 3147261"/>
                  <a:gd name="connsiteX54" fmla="*/ 161029 w 3140960"/>
                  <a:gd name="connsiteY54" fmla="*/ 861060 h 3147261"/>
                  <a:gd name="connsiteX55" fmla="*/ 183889 w 3140960"/>
                  <a:gd name="connsiteY55" fmla="*/ 822960 h 3147261"/>
                  <a:gd name="connsiteX56" fmla="*/ 260089 w 3140960"/>
                  <a:gd name="connsiteY56" fmla="*/ 708660 h 3147261"/>
                  <a:gd name="connsiteX57" fmla="*/ 275329 w 3140960"/>
                  <a:gd name="connsiteY57" fmla="*/ 662940 h 3147261"/>
                  <a:gd name="connsiteX58" fmla="*/ 420109 w 3140960"/>
                  <a:gd name="connsiteY58" fmla="*/ 510540 h 3147261"/>
                  <a:gd name="connsiteX59" fmla="*/ 511549 w 3140960"/>
                  <a:gd name="connsiteY59" fmla="*/ 434340 h 3147261"/>
                  <a:gd name="connsiteX60" fmla="*/ 564889 w 3140960"/>
                  <a:gd name="connsiteY60" fmla="*/ 396240 h 3147261"/>
                  <a:gd name="connsiteX61" fmla="*/ 656329 w 3140960"/>
                  <a:gd name="connsiteY61" fmla="*/ 312420 h 3147261"/>
                  <a:gd name="connsiteX62" fmla="*/ 869689 w 3140960"/>
                  <a:gd name="connsiteY62" fmla="*/ 175260 h 3147261"/>
                  <a:gd name="connsiteX63" fmla="*/ 976369 w 3140960"/>
                  <a:gd name="connsiteY63" fmla="*/ 137160 h 3147261"/>
                  <a:gd name="connsiteX64" fmla="*/ 1105909 w 3140960"/>
                  <a:gd name="connsiteY64" fmla="*/ 76200 h 3147261"/>
                  <a:gd name="connsiteX65" fmla="*/ 1243069 w 3140960"/>
                  <a:gd name="connsiteY65" fmla="*/ 38100 h 3147261"/>
                  <a:gd name="connsiteX66" fmla="*/ 1265929 w 3140960"/>
                  <a:gd name="connsiteY66" fmla="*/ 30480 h 3147261"/>
                  <a:gd name="connsiteX67" fmla="*/ 1387849 w 3140960"/>
                  <a:gd name="connsiteY67" fmla="*/ 15240 h 3147261"/>
                  <a:gd name="connsiteX68" fmla="*/ 1464049 w 3140960"/>
                  <a:gd name="connsiteY68" fmla="*/ 0 h 3147261"/>
                  <a:gd name="connsiteX69" fmla="*/ 1745989 w 3140960"/>
                  <a:gd name="connsiteY69" fmla="*/ 0 h 3147261"/>
                  <a:gd name="connsiteX70" fmla="*/ 2165089 w 3140960"/>
                  <a:gd name="connsiteY70" fmla="*/ 99060 h 3147261"/>
                  <a:gd name="connsiteX71" fmla="*/ 2340349 w 3140960"/>
                  <a:gd name="connsiteY71" fmla="*/ 182880 h 3147261"/>
                  <a:gd name="connsiteX72" fmla="*/ 2370829 w 3140960"/>
                  <a:gd name="connsiteY72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29609 w 3140960"/>
                  <a:gd name="connsiteY41" fmla="*/ 2316480 h 3147261"/>
                  <a:gd name="connsiteX42" fmla="*/ 206749 w 3140960"/>
                  <a:gd name="connsiteY42" fmla="*/ 2293620 h 3147261"/>
                  <a:gd name="connsiteX43" fmla="*/ 176269 w 3140960"/>
                  <a:gd name="connsiteY43" fmla="*/ 2240280 h 3147261"/>
                  <a:gd name="connsiteX44" fmla="*/ 161029 w 3140960"/>
                  <a:gd name="connsiteY44" fmla="*/ 2202180 h 3147261"/>
                  <a:gd name="connsiteX45" fmla="*/ 145789 w 3140960"/>
                  <a:gd name="connsiteY45" fmla="*/ 2179320 h 3147261"/>
                  <a:gd name="connsiteX46" fmla="*/ 100069 w 3140960"/>
                  <a:gd name="connsiteY46" fmla="*/ 2087880 h 3147261"/>
                  <a:gd name="connsiteX47" fmla="*/ 61969 w 3140960"/>
                  <a:gd name="connsiteY47" fmla="*/ 2026920 h 3147261"/>
                  <a:gd name="connsiteX48" fmla="*/ 54349 w 3140960"/>
                  <a:gd name="connsiteY48" fmla="*/ 2004060 h 3147261"/>
                  <a:gd name="connsiteX49" fmla="*/ 39109 w 3140960"/>
                  <a:gd name="connsiteY49" fmla="*/ 1943100 h 3147261"/>
                  <a:gd name="connsiteX50" fmla="*/ 23869 w 3140960"/>
                  <a:gd name="connsiteY50" fmla="*/ 1897380 h 3147261"/>
                  <a:gd name="connsiteX51" fmla="*/ 1009 w 3140960"/>
                  <a:gd name="connsiteY51" fmla="*/ 1562100 h 3147261"/>
                  <a:gd name="connsiteX52" fmla="*/ 54349 w 3140960"/>
                  <a:gd name="connsiteY52" fmla="*/ 1135380 h 3147261"/>
                  <a:gd name="connsiteX53" fmla="*/ 161029 w 3140960"/>
                  <a:gd name="connsiteY53" fmla="*/ 861060 h 3147261"/>
                  <a:gd name="connsiteX54" fmla="*/ 183889 w 3140960"/>
                  <a:gd name="connsiteY54" fmla="*/ 822960 h 3147261"/>
                  <a:gd name="connsiteX55" fmla="*/ 260089 w 3140960"/>
                  <a:gd name="connsiteY55" fmla="*/ 708660 h 3147261"/>
                  <a:gd name="connsiteX56" fmla="*/ 275329 w 3140960"/>
                  <a:gd name="connsiteY56" fmla="*/ 662940 h 3147261"/>
                  <a:gd name="connsiteX57" fmla="*/ 420109 w 3140960"/>
                  <a:gd name="connsiteY57" fmla="*/ 510540 h 3147261"/>
                  <a:gd name="connsiteX58" fmla="*/ 511549 w 3140960"/>
                  <a:gd name="connsiteY58" fmla="*/ 434340 h 3147261"/>
                  <a:gd name="connsiteX59" fmla="*/ 564889 w 3140960"/>
                  <a:gd name="connsiteY59" fmla="*/ 396240 h 3147261"/>
                  <a:gd name="connsiteX60" fmla="*/ 656329 w 3140960"/>
                  <a:gd name="connsiteY60" fmla="*/ 312420 h 3147261"/>
                  <a:gd name="connsiteX61" fmla="*/ 869689 w 3140960"/>
                  <a:gd name="connsiteY61" fmla="*/ 175260 h 3147261"/>
                  <a:gd name="connsiteX62" fmla="*/ 976369 w 3140960"/>
                  <a:gd name="connsiteY62" fmla="*/ 137160 h 3147261"/>
                  <a:gd name="connsiteX63" fmla="*/ 1105909 w 3140960"/>
                  <a:gd name="connsiteY63" fmla="*/ 76200 h 3147261"/>
                  <a:gd name="connsiteX64" fmla="*/ 1243069 w 3140960"/>
                  <a:gd name="connsiteY64" fmla="*/ 38100 h 3147261"/>
                  <a:gd name="connsiteX65" fmla="*/ 1265929 w 3140960"/>
                  <a:gd name="connsiteY65" fmla="*/ 30480 h 3147261"/>
                  <a:gd name="connsiteX66" fmla="*/ 1387849 w 3140960"/>
                  <a:gd name="connsiteY66" fmla="*/ 15240 h 3147261"/>
                  <a:gd name="connsiteX67" fmla="*/ 1464049 w 3140960"/>
                  <a:gd name="connsiteY67" fmla="*/ 0 h 3147261"/>
                  <a:gd name="connsiteX68" fmla="*/ 1745989 w 3140960"/>
                  <a:gd name="connsiteY68" fmla="*/ 0 h 3147261"/>
                  <a:gd name="connsiteX69" fmla="*/ 2165089 w 3140960"/>
                  <a:gd name="connsiteY69" fmla="*/ 99060 h 3147261"/>
                  <a:gd name="connsiteX70" fmla="*/ 2340349 w 3140960"/>
                  <a:gd name="connsiteY70" fmla="*/ 182880 h 3147261"/>
                  <a:gd name="connsiteX71" fmla="*/ 2370829 w 3140960"/>
                  <a:gd name="connsiteY71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29609 w 3140960"/>
                  <a:gd name="connsiteY41" fmla="*/ 2316480 h 3147261"/>
                  <a:gd name="connsiteX42" fmla="*/ 206749 w 3140960"/>
                  <a:gd name="connsiteY42" fmla="*/ 2293620 h 3147261"/>
                  <a:gd name="connsiteX43" fmla="*/ 176269 w 3140960"/>
                  <a:gd name="connsiteY43" fmla="*/ 2240280 h 3147261"/>
                  <a:gd name="connsiteX44" fmla="*/ 145789 w 3140960"/>
                  <a:gd name="connsiteY44" fmla="*/ 2179320 h 3147261"/>
                  <a:gd name="connsiteX45" fmla="*/ 100069 w 3140960"/>
                  <a:gd name="connsiteY45" fmla="*/ 2087880 h 3147261"/>
                  <a:gd name="connsiteX46" fmla="*/ 61969 w 3140960"/>
                  <a:gd name="connsiteY46" fmla="*/ 2026920 h 3147261"/>
                  <a:gd name="connsiteX47" fmla="*/ 54349 w 3140960"/>
                  <a:gd name="connsiteY47" fmla="*/ 2004060 h 3147261"/>
                  <a:gd name="connsiteX48" fmla="*/ 39109 w 3140960"/>
                  <a:gd name="connsiteY48" fmla="*/ 1943100 h 3147261"/>
                  <a:gd name="connsiteX49" fmla="*/ 23869 w 3140960"/>
                  <a:gd name="connsiteY49" fmla="*/ 1897380 h 3147261"/>
                  <a:gd name="connsiteX50" fmla="*/ 1009 w 3140960"/>
                  <a:gd name="connsiteY50" fmla="*/ 1562100 h 3147261"/>
                  <a:gd name="connsiteX51" fmla="*/ 54349 w 3140960"/>
                  <a:gd name="connsiteY51" fmla="*/ 1135380 h 3147261"/>
                  <a:gd name="connsiteX52" fmla="*/ 161029 w 3140960"/>
                  <a:gd name="connsiteY52" fmla="*/ 861060 h 3147261"/>
                  <a:gd name="connsiteX53" fmla="*/ 183889 w 3140960"/>
                  <a:gd name="connsiteY53" fmla="*/ 822960 h 3147261"/>
                  <a:gd name="connsiteX54" fmla="*/ 260089 w 3140960"/>
                  <a:gd name="connsiteY54" fmla="*/ 708660 h 3147261"/>
                  <a:gd name="connsiteX55" fmla="*/ 275329 w 3140960"/>
                  <a:gd name="connsiteY55" fmla="*/ 662940 h 3147261"/>
                  <a:gd name="connsiteX56" fmla="*/ 420109 w 3140960"/>
                  <a:gd name="connsiteY56" fmla="*/ 510540 h 3147261"/>
                  <a:gd name="connsiteX57" fmla="*/ 511549 w 3140960"/>
                  <a:gd name="connsiteY57" fmla="*/ 434340 h 3147261"/>
                  <a:gd name="connsiteX58" fmla="*/ 564889 w 3140960"/>
                  <a:gd name="connsiteY58" fmla="*/ 396240 h 3147261"/>
                  <a:gd name="connsiteX59" fmla="*/ 656329 w 3140960"/>
                  <a:gd name="connsiteY59" fmla="*/ 312420 h 3147261"/>
                  <a:gd name="connsiteX60" fmla="*/ 869689 w 3140960"/>
                  <a:gd name="connsiteY60" fmla="*/ 175260 h 3147261"/>
                  <a:gd name="connsiteX61" fmla="*/ 976369 w 3140960"/>
                  <a:gd name="connsiteY61" fmla="*/ 137160 h 3147261"/>
                  <a:gd name="connsiteX62" fmla="*/ 1105909 w 3140960"/>
                  <a:gd name="connsiteY62" fmla="*/ 76200 h 3147261"/>
                  <a:gd name="connsiteX63" fmla="*/ 1243069 w 3140960"/>
                  <a:gd name="connsiteY63" fmla="*/ 38100 h 3147261"/>
                  <a:gd name="connsiteX64" fmla="*/ 1265929 w 3140960"/>
                  <a:gd name="connsiteY64" fmla="*/ 30480 h 3147261"/>
                  <a:gd name="connsiteX65" fmla="*/ 1387849 w 3140960"/>
                  <a:gd name="connsiteY65" fmla="*/ 15240 h 3147261"/>
                  <a:gd name="connsiteX66" fmla="*/ 1464049 w 3140960"/>
                  <a:gd name="connsiteY66" fmla="*/ 0 h 3147261"/>
                  <a:gd name="connsiteX67" fmla="*/ 1745989 w 3140960"/>
                  <a:gd name="connsiteY67" fmla="*/ 0 h 3147261"/>
                  <a:gd name="connsiteX68" fmla="*/ 2165089 w 3140960"/>
                  <a:gd name="connsiteY68" fmla="*/ 99060 h 3147261"/>
                  <a:gd name="connsiteX69" fmla="*/ 2340349 w 3140960"/>
                  <a:gd name="connsiteY69" fmla="*/ 182880 h 3147261"/>
                  <a:gd name="connsiteX70" fmla="*/ 2370829 w 3140960"/>
                  <a:gd name="connsiteY70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29609 w 3140960"/>
                  <a:gd name="connsiteY41" fmla="*/ 2316480 h 3147261"/>
                  <a:gd name="connsiteX42" fmla="*/ 206749 w 3140960"/>
                  <a:gd name="connsiteY42" fmla="*/ 2293620 h 3147261"/>
                  <a:gd name="connsiteX43" fmla="*/ 145789 w 3140960"/>
                  <a:gd name="connsiteY43" fmla="*/ 2179320 h 3147261"/>
                  <a:gd name="connsiteX44" fmla="*/ 100069 w 3140960"/>
                  <a:gd name="connsiteY44" fmla="*/ 2087880 h 3147261"/>
                  <a:gd name="connsiteX45" fmla="*/ 61969 w 3140960"/>
                  <a:gd name="connsiteY45" fmla="*/ 2026920 h 3147261"/>
                  <a:gd name="connsiteX46" fmla="*/ 54349 w 3140960"/>
                  <a:gd name="connsiteY46" fmla="*/ 2004060 h 3147261"/>
                  <a:gd name="connsiteX47" fmla="*/ 39109 w 3140960"/>
                  <a:gd name="connsiteY47" fmla="*/ 1943100 h 3147261"/>
                  <a:gd name="connsiteX48" fmla="*/ 23869 w 3140960"/>
                  <a:gd name="connsiteY48" fmla="*/ 1897380 h 3147261"/>
                  <a:gd name="connsiteX49" fmla="*/ 1009 w 3140960"/>
                  <a:gd name="connsiteY49" fmla="*/ 1562100 h 3147261"/>
                  <a:gd name="connsiteX50" fmla="*/ 54349 w 3140960"/>
                  <a:gd name="connsiteY50" fmla="*/ 1135380 h 3147261"/>
                  <a:gd name="connsiteX51" fmla="*/ 161029 w 3140960"/>
                  <a:gd name="connsiteY51" fmla="*/ 861060 h 3147261"/>
                  <a:gd name="connsiteX52" fmla="*/ 183889 w 3140960"/>
                  <a:gd name="connsiteY52" fmla="*/ 822960 h 3147261"/>
                  <a:gd name="connsiteX53" fmla="*/ 260089 w 3140960"/>
                  <a:gd name="connsiteY53" fmla="*/ 708660 h 3147261"/>
                  <a:gd name="connsiteX54" fmla="*/ 275329 w 3140960"/>
                  <a:gd name="connsiteY54" fmla="*/ 662940 h 3147261"/>
                  <a:gd name="connsiteX55" fmla="*/ 420109 w 3140960"/>
                  <a:gd name="connsiteY55" fmla="*/ 510540 h 3147261"/>
                  <a:gd name="connsiteX56" fmla="*/ 511549 w 3140960"/>
                  <a:gd name="connsiteY56" fmla="*/ 434340 h 3147261"/>
                  <a:gd name="connsiteX57" fmla="*/ 564889 w 3140960"/>
                  <a:gd name="connsiteY57" fmla="*/ 396240 h 3147261"/>
                  <a:gd name="connsiteX58" fmla="*/ 656329 w 3140960"/>
                  <a:gd name="connsiteY58" fmla="*/ 312420 h 3147261"/>
                  <a:gd name="connsiteX59" fmla="*/ 869689 w 3140960"/>
                  <a:gd name="connsiteY59" fmla="*/ 175260 h 3147261"/>
                  <a:gd name="connsiteX60" fmla="*/ 976369 w 3140960"/>
                  <a:gd name="connsiteY60" fmla="*/ 137160 h 3147261"/>
                  <a:gd name="connsiteX61" fmla="*/ 1105909 w 3140960"/>
                  <a:gd name="connsiteY61" fmla="*/ 76200 h 3147261"/>
                  <a:gd name="connsiteX62" fmla="*/ 1243069 w 3140960"/>
                  <a:gd name="connsiteY62" fmla="*/ 38100 h 3147261"/>
                  <a:gd name="connsiteX63" fmla="*/ 1265929 w 3140960"/>
                  <a:gd name="connsiteY63" fmla="*/ 30480 h 3147261"/>
                  <a:gd name="connsiteX64" fmla="*/ 1387849 w 3140960"/>
                  <a:gd name="connsiteY64" fmla="*/ 15240 h 3147261"/>
                  <a:gd name="connsiteX65" fmla="*/ 1464049 w 3140960"/>
                  <a:gd name="connsiteY65" fmla="*/ 0 h 3147261"/>
                  <a:gd name="connsiteX66" fmla="*/ 1745989 w 3140960"/>
                  <a:gd name="connsiteY66" fmla="*/ 0 h 3147261"/>
                  <a:gd name="connsiteX67" fmla="*/ 2165089 w 3140960"/>
                  <a:gd name="connsiteY67" fmla="*/ 99060 h 3147261"/>
                  <a:gd name="connsiteX68" fmla="*/ 2340349 w 3140960"/>
                  <a:gd name="connsiteY68" fmla="*/ 182880 h 3147261"/>
                  <a:gd name="connsiteX69" fmla="*/ 2370829 w 3140960"/>
                  <a:gd name="connsiteY69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06749 w 3140960"/>
                  <a:gd name="connsiteY41" fmla="*/ 2293620 h 3147261"/>
                  <a:gd name="connsiteX42" fmla="*/ 145789 w 3140960"/>
                  <a:gd name="connsiteY42" fmla="*/ 2179320 h 3147261"/>
                  <a:gd name="connsiteX43" fmla="*/ 100069 w 3140960"/>
                  <a:gd name="connsiteY43" fmla="*/ 2087880 h 3147261"/>
                  <a:gd name="connsiteX44" fmla="*/ 61969 w 3140960"/>
                  <a:gd name="connsiteY44" fmla="*/ 2026920 h 3147261"/>
                  <a:gd name="connsiteX45" fmla="*/ 54349 w 3140960"/>
                  <a:gd name="connsiteY45" fmla="*/ 2004060 h 3147261"/>
                  <a:gd name="connsiteX46" fmla="*/ 39109 w 3140960"/>
                  <a:gd name="connsiteY46" fmla="*/ 1943100 h 3147261"/>
                  <a:gd name="connsiteX47" fmla="*/ 23869 w 3140960"/>
                  <a:gd name="connsiteY47" fmla="*/ 1897380 h 3147261"/>
                  <a:gd name="connsiteX48" fmla="*/ 1009 w 3140960"/>
                  <a:gd name="connsiteY48" fmla="*/ 1562100 h 3147261"/>
                  <a:gd name="connsiteX49" fmla="*/ 54349 w 3140960"/>
                  <a:gd name="connsiteY49" fmla="*/ 1135380 h 3147261"/>
                  <a:gd name="connsiteX50" fmla="*/ 161029 w 3140960"/>
                  <a:gd name="connsiteY50" fmla="*/ 861060 h 3147261"/>
                  <a:gd name="connsiteX51" fmla="*/ 183889 w 3140960"/>
                  <a:gd name="connsiteY51" fmla="*/ 822960 h 3147261"/>
                  <a:gd name="connsiteX52" fmla="*/ 260089 w 3140960"/>
                  <a:gd name="connsiteY52" fmla="*/ 708660 h 3147261"/>
                  <a:gd name="connsiteX53" fmla="*/ 275329 w 3140960"/>
                  <a:gd name="connsiteY53" fmla="*/ 662940 h 3147261"/>
                  <a:gd name="connsiteX54" fmla="*/ 420109 w 3140960"/>
                  <a:gd name="connsiteY54" fmla="*/ 510540 h 3147261"/>
                  <a:gd name="connsiteX55" fmla="*/ 511549 w 3140960"/>
                  <a:gd name="connsiteY55" fmla="*/ 434340 h 3147261"/>
                  <a:gd name="connsiteX56" fmla="*/ 564889 w 3140960"/>
                  <a:gd name="connsiteY56" fmla="*/ 396240 h 3147261"/>
                  <a:gd name="connsiteX57" fmla="*/ 656329 w 3140960"/>
                  <a:gd name="connsiteY57" fmla="*/ 312420 h 3147261"/>
                  <a:gd name="connsiteX58" fmla="*/ 869689 w 3140960"/>
                  <a:gd name="connsiteY58" fmla="*/ 175260 h 3147261"/>
                  <a:gd name="connsiteX59" fmla="*/ 976369 w 3140960"/>
                  <a:gd name="connsiteY59" fmla="*/ 137160 h 3147261"/>
                  <a:gd name="connsiteX60" fmla="*/ 1105909 w 3140960"/>
                  <a:gd name="connsiteY60" fmla="*/ 76200 h 3147261"/>
                  <a:gd name="connsiteX61" fmla="*/ 1243069 w 3140960"/>
                  <a:gd name="connsiteY61" fmla="*/ 38100 h 3147261"/>
                  <a:gd name="connsiteX62" fmla="*/ 1265929 w 3140960"/>
                  <a:gd name="connsiteY62" fmla="*/ 30480 h 3147261"/>
                  <a:gd name="connsiteX63" fmla="*/ 1387849 w 3140960"/>
                  <a:gd name="connsiteY63" fmla="*/ 15240 h 3147261"/>
                  <a:gd name="connsiteX64" fmla="*/ 1464049 w 3140960"/>
                  <a:gd name="connsiteY64" fmla="*/ 0 h 3147261"/>
                  <a:gd name="connsiteX65" fmla="*/ 1745989 w 3140960"/>
                  <a:gd name="connsiteY65" fmla="*/ 0 h 3147261"/>
                  <a:gd name="connsiteX66" fmla="*/ 2165089 w 3140960"/>
                  <a:gd name="connsiteY66" fmla="*/ 99060 h 3147261"/>
                  <a:gd name="connsiteX67" fmla="*/ 2340349 w 3140960"/>
                  <a:gd name="connsiteY67" fmla="*/ 182880 h 3147261"/>
                  <a:gd name="connsiteX68" fmla="*/ 2370829 w 3140960"/>
                  <a:gd name="connsiteY68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206749 w 3140960"/>
                  <a:gd name="connsiteY41" fmla="*/ 2293620 h 3147261"/>
                  <a:gd name="connsiteX42" fmla="*/ 100069 w 3140960"/>
                  <a:gd name="connsiteY42" fmla="*/ 2087880 h 3147261"/>
                  <a:gd name="connsiteX43" fmla="*/ 61969 w 3140960"/>
                  <a:gd name="connsiteY43" fmla="*/ 2026920 h 3147261"/>
                  <a:gd name="connsiteX44" fmla="*/ 54349 w 3140960"/>
                  <a:gd name="connsiteY44" fmla="*/ 2004060 h 3147261"/>
                  <a:gd name="connsiteX45" fmla="*/ 39109 w 3140960"/>
                  <a:gd name="connsiteY45" fmla="*/ 1943100 h 3147261"/>
                  <a:gd name="connsiteX46" fmla="*/ 23869 w 3140960"/>
                  <a:gd name="connsiteY46" fmla="*/ 1897380 h 3147261"/>
                  <a:gd name="connsiteX47" fmla="*/ 1009 w 3140960"/>
                  <a:gd name="connsiteY47" fmla="*/ 1562100 h 3147261"/>
                  <a:gd name="connsiteX48" fmla="*/ 54349 w 3140960"/>
                  <a:gd name="connsiteY48" fmla="*/ 1135380 h 3147261"/>
                  <a:gd name="connsiteX49" fmla="*/ 161029 w 3140960"/>
                  <a:gd name="connsiteY49" fmla="*/ 861060 h 3147261"/>
                  <a:gd name="connsiteX50" fmla="*/ 183889 w 3140960"/>
                  <a:gd name="connsiteY50" fmla="*/ 822960 h 3147261"/>
                  <a:gd name="connsiteX51" fmla="*/ 260089 w 3140960"/>
                  <a:gd name="connsiteY51" fmla="*/ 708660 h 3147261"/>
                  <a:gd name="connsiteX52" fmla="*/ 275329 w 3140960"/>
                  <a:gd name="connsiteY52" fmla="*/ 662940 h 3147261"/>
                  <a:gd name="connsiteX53" fmla="*/ 420109 w 3140960"/>
                  <a:gd name="connsiteY53" fmla="*/ 510540 h 3147261"/>
                  <a:gd name="connsiteX54" fmla="*/ 511549 w 3140960"/>
                  <a:gd name="connsiteY54" fmla="*/ 434340 h 3147261"/>
                  <a:gd name="connsiteX55" fmla="*/ 564889 w 3140960"/>
                  <a:gd name="connsiteY55" fmla="*/ 396240 h 3147261"/>
                  <a:gd name="connsiteX56" fmla="*/ 656329 w 3140960"/>
                  <a:gd name="connsiteY56" fmla="*/ 312420 h 3147261"/>
                  <a:gd name="connsiteX57" fmla="*/ 869689 w 3140960"/>
                  <a:gd name="connsiteY57" fmla="*/ 175260 h 3147261"/>
                  <a:gd name="connsiteX58" fmla="*/ 976369 w 3140960"/>
                  <a:gd name="connsiteY58" fmla="*/ 137160 h 3147261"/>
                  <a:gd name="connsiteX59" fmla="*/ 1105909 w 3140960"/>
                  <a:gd name="connsiteY59" fmla="*/ 76200 h 3147261"/>
                  <a:gd name="connsiteX60" fmla="*/ 1243069 w 3140960"/>
                  <a:gd name="connsiteY60" fmla="*/ 38100 h 3147261"/>
                  <a:gd name="connsiteX61" fmla="*/ 1265929 w 3140960"/>
                  <a:gd name="connsiteY61" fmla="*/ 30480 h 3147261"/>
                  <a:gd name="connsiteX62" fmla="*/ 1387849 w 3140960"/>
                  <a:gd name="connsiteY62" fmla="*/ 15240 h 3147261"/>
                  <a:gd name="connsiteX63" fmla="*/ 1464049 w 3140960"/>
                  <a:gd name="connsiteY63" fmla="*/ 0 h 3147261"/>
                  <a:gd name="connsiteX64" fmla="*/ 1745989 w 3140960"/>
                  <a:gd name="connsiteY64" fmla="*/ 0 h 3147261"/>
                  <a:gd name="connsiteX65" fmla="*/ 2165089 w 3140960"/>
                  <a:gd name="connsiteY65" fmla="*/ 99060 h 3147261"/>
                  <a:gd name="connsiteX66" fmla="*/ 2340349 w 3140960"/>
                  <a:gd name="connsiteY66" fmla="*/ 182880 h 3147261"/>
                  <a:gd name="connsiteX67" fmla="*/ 2370829 w 3140960"/>
                  <a:gd name="connsiteY67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100069 w 3140960"/>
                  <a:gd name="connsiteY41" fmla="*/ 2087880 h 3147261"/>
                  <a:gd name="connsiteX42" fmla="*/ 61969 w 3140960"/>
                  <a:gd name="connsiteY42" fmla="*/ 2026920 h 3147261"/>
                  <a:gd name="connsiteX43" fmla="*/ 54349 w 3140960"/>
                  <a:gd name="connsiteY43" fmla="*/ 2004060 h 3147261"/>
                  <a:gd name="connsiteX44" fmla="*/ 39109 w 3140960"/>
                  <a:gd name="connsiteY44" fmla="*/ 1943100 h 3147261"/>
                  <a:gd name="connsiteX45" fmla="*/ 23869 w 3140960"/>
                  <a:gd name="connsiteY45" fmla="*/ 1897380 h 3147261"/>
                  <a:gd name="connsiteX46" fmla="*/ 1009 w 3140960"/>
                  <a:gd name="connsiteY46" fmla="*/ 1562100 h 3147261"/>
                  <a:gd name="connsiteX47" fmla="*/ 54349 w 3140960"/>
                  <a:gd name="connsiteY47" fmla="*/ 1135380 h 3147261"/>
                  <a:gd name="connsiteX48" fmla="*/ 161029 w 3140960"/>
                  <a:gd name="connsiteY48" fmla="*/ 861060 h 3147261"/>
                  <a:gd name="connsiteX49" fmla="*/ 183889 w 3140960"/>
                  <a:gd name="connsiteY49" fmla="*/ 822960 h 3147261"/>
                  <a:gd name="connsiteX50" fmla="*/ 260089 w 3140960"/>
                  <a:gd name="connsiteY50" fmla="*/ 708660 h 3147261"/>
                  <a:gd name="connsiteX51" fmla="*/ 275329 w 3140960"/>
                  <a:gd name="connsiteY51" fmla="*/ 662940 h 3147261"/>
                  <a:gd name="connsiteX52" fmla="*/ 420109 w 3140960"/>
                  <a:gd name="connsiteY52" fmla="*/ 510540 h 3147261"/>
                  <a:gd name="connsiteX53" fmla="*/ 511549 w 3140960"/>
                  <a:gd name="connsiteY53" fmla="*/ 434340 h 3147261"/>
                  <a:gd name="connsiteX54" fmla="*/ 564889 w 3140960"/>
                  <a:gd name="connsiteY54" fmla="*/ 396240 h 3147261"/>
                  <a:gd name="connsiteX55" fmla="*/ 656329 w 3140960"/>
                  <a:gd name="connsiteY55" fmla="*/ 312420 h 3147261"/>
                  <a:gd name="connsiteX56" fmla="*/ 869689 w 3140960"/>
                  <a:gd name="connsiteY56" fmla="*/ 175260 h 3147261"/>
                  <a:gd name="connsiteX57" fmla="*/ 976369 w 3140960"/>
                  <a:gd name="connsiteY57" fmla="*/ 137160 h 3147261"/>
                  <a:gd name="connsiteX58" fmla="*/ 1105909 w 3140960"/>
                  <a:gd name="connsiteY58" fmla="*/ 76200 h 3147261"/>
                  <a:gd name="connsiteX59" fmla="*/ 1243069 w 3140960"/>
                  <a:gd name="connsiteY59" fmla="*/ 38100 h 3147261"/>
                  <a:gd name="connsiteX60" fmla="*/ 1265929 w 3140960"/>
                  <a:gd name="connsiteY60" fmla="*/ 30480 h 3147261"/>
                  <a:gd name="connsiteX61" fmla="*/ 1387849 w 3140960"/>
                  <a:gd name="connsiteY61" fmla="*/ 15240 h 3147261"/>
                  <a:gd name="connsiteX62" fmla="*/ 1464049 w 3140960"/>
                  <a:gd name="connsiteY62" fmla="*/ 0 h 3147261"/>
                  <a:gd name="connsiteX63" fmla="*/ 1745989 w 3140960"/>
                  <a:gd name="connsiteY63" fmla="*/ 0 h 3147261"/>
                  <a:gd name="connsiteX64" fmla="*/ 2165089 w 3140960"/>
                  <a:gd name="connsiteY64" fmla="*/ 99060 h 3147261"/>
                  <a:gd name="connsiteX65" fmla="*/ 2340349 w 3140960"/>
                  <a:gd name="connsiteY65" fmla="*/ 182880 h 3147261"/>
                  <a:gd name="connsiteX66" fmla="*/ 2370829 w 3140960"/>
                  <a:gd name="connsiteY66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75329 w 3140960"/>
                  <a:gd name="connsiteY40" fmla="*/ 2377440 h 3147261"/>
                  <a:gd name="connsiteX41" fmla="*/ 61969 w 3140960"/>
                  <a:gd name="connsiteY41" fmla="*/ 2026920 h 3147261"/>
                  <a:gd name="connsiteX42" fmla="*/ 54349 w 3140960"/>
                  <a:gd name="connsiteY42" fmla="*/ 2004060 h 3147261"/>
                  <a:gd name="connsiteX43" fmla="*/ 39109 w 3140960"/>
                  <a:gd name="connsiteY43" fmla="*/ 1943100 h 3147261"/>
                  <a:gd name="connsiteX44" fmla="*/ 23869 w 3140960"/>
                  <a:gd name="connsiteY44" fmla="*/ 1897380 h 3147261"/>
                  <a:gd name="connsiteX45" fmla="*/ 1009 w 3140960"/>
                  <a:gd name="connsiteY45" fmla="*/ 1562100 h 3147261"/>
                  <a:gd name="connsiteX46" fmla="*/ 54349 w 3140960"/>
                  <a:gd name="connsiteY46" fmla="*/ 1135380 h 3147261"/>
                  <a:gd name="connsiteX47" fmla="*/ 161029 w 3140960"/>
                  <a:gd name="connsiteY47" fmla="*/ 861060 h 3147261"/>
                  <a:gd name="connsiteX48" fmla="*/ 183889 w 3140960"/>
                  <a:gd name="connsiteY48" fmla="*/ 822960 h 3147261"/>
                  <a:gd name="connsiteX49" fmla="*/ 260089 w 3140960"/>
                  <a:gd name="connsiteY49" fmla="*/ 708660 h 3147261"/>
                  <a:gd name="connsiteX50" fmla="*/ 275329 w 3140960"/>
                  <a:gd name="connsiteY50" fmla="*/ 662940 h 3147261"/>
                  <a:gd name="connsiteX51" fmla="*/ 420109 w 3140960"/>
                  <a:gd name="connsiteY51" fmla="*/ 510540 h 3147261"/>
                  <a:gd name="connsiteX52" fmla="*/ 511549 w 3140960"/>
                  <a:gd name="connsiteY52" fmla="*/ 434340 h 3147261"/>
                  <a:gd name="connsiteX53" fmla="*/ 564889 w 3140960"/>
                  <a:gd name="connsiteY53" fmla="*/ 396240 h 3147261"/>
                  <a:gd name="connsiteX54" fmla="*/ 656329 w 3140960"/>
                  <a:gd name="connsiteY54" fmla="*/ 312420 h 3147261"/>
                  <a:gd name="connsiteX55" fmla="*/ 869689 w 3140960"/>
                  <a:gd name="connsiteY55" fmla="*/ 175260 h 3147261"/>
                  <a:gd name="connsiteX56" fmla="*/ 976369 w 3140960"/>
                  <a:gd name="connsiteY56" fmla="*/ 137160 h 3147261"/>
                  <a:gd name="connsiteX57" fmla="*/ 1105909 w 3140960"/>
                  <a:gd name="connsiteY57" fmla="*/ 76200 h 3147261"/>
                  <a:gd name="connsiteX58" fmla="*/ 1243069 w 3140960"/>
                  <a:gd name="connsiteY58" fmla="*/ 38100 h 3147261"/>
                  <a:gd name="connsiteX59" fmla="*/ 1265929 w 3140960"/>
                  <a:gd name="connsiteY59" fmla="*/ 30480 h 3147261"/>
                  <a:gd name="connsiteX60" fmla="*/ 1387849 w 3140960"/>
                  <a:gd name="connsiteY60" fmla="*/ 15240 h 3147261"/>
                  <a:gd name="connsiteX61" fmla="*/ 1464049 w 3140960"/>
                  <a:gd name="connsiteY61" fmla="*/ 0 h 3147261"/>
                  <a:gd name="connsiteX62" fmla="*/ 1745989 w 3140960"/>
                  <a:gd name="connsiteY62" fmla="*/ 0 h 3147261"/>
                  <a:gd name="connsiteX63" fmla="*/ 2165089 w 3140960"/>
                  <a:gd name="connsiteY63" fmla="*/ 99060 h 3147261"/>
                  <a:gd name="connsiteX64" fmla="*/ 2340349 w 3140960"/>
                  <a:gd name="connsiteY64" fmla="*/ 182880 h 3147261"/>
                  <a:gd name="connsiteX65" fmla="*/ 2370829 w 3140960"/>
                  <a:gd name="connsiteY65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221989 w 3140960"/>
                  <a:gd name="connsiteY40" fmla="*/ 2316480 h 3147261"/>
                  <a:gd name="connsiteX41" fmla="*/ 61969 w 3140960"/>
                  <a:gd name="connsiteY41" fmla="*/ 2026920 h 3147261"/>
                  <a:gd name="connsiteX42" fmla="*/ 54349 w 3140960"/>
                  <a:gd name="connsiteY42" fmla="*/ 2004060 h 3147261"/>
                  <a:gd name="connsiteX43" fmla="*/ 39109 w 3140960"/>
                  <a:gd name="connsiteY43" fmla="*/ 1943100 h 3147261"/>
                  <a:gd name="connsiteX44" fmla="*/ 23869 w 3140960"/>
                  <a:gd name="connsiteY44" fmla="*/ 1897380 h 3147261"/>
                  <a:gd name="connsiteX45" fmla="*/ 1009 w 3140960"/>
                  <a:gd name="connsiteY45" fmla="*/ 1562100 h 3147261"/>
                  <a:gd name="connsiteX46" fmla="*/ 54349 w 3140960"/>
                  <a:gd name="connsiteY46" fmla="*/ 1135380 h 3147261"/>
                  <a:gd name="connsiteX47" fmla="*/ 161029 w 3140960"/>
                  <a:gd name="connsiteY47" fmla="*/ 861060 h 3147261"/>
                  <a:gd name="connsiteX48" fmla="*/ 183889 w 3140960"/>
                  <a:gd name="connsiteY48" fmla="*/ 822960 h 3147261"/>
                  <a:gd name="connsiteX49" fmla="*/ 260089 w 3140960"/>
                  <a:gd name="connsiteY49" fmla="*/ 708660 h 3147261"/>
                  <a:gd name="connsiteX50" fmla="*/ 275329 w 3140960"/>
                  <a:gd name="connsiteY50" fmla="*/ 662940 h 3147261"/>
                  <a:gd name="connsiteX51" fmla="*/ 420109 w 3140960"/>
                  <a:gd name="connsiteY51" fmla="*/ 510540 h 3147261"/>
                  <a:gd name="connsiteX52" fmla="*/ 511549 w 3140960"/>
                  <a:gd name="connsiteY52" fmla="*/ 434340 h 3147261"/>
                  <a:gd name="connsiteX53" fmla="*/ 564889 w 3140960"/>
                  <a:gd name="connsiteY53" fmla="*/ 396240 h 3147261"/>
                  <a:gd name="connsiteX54" fmla="*/ 656329 w 3140960"/>
                  <a:gd name="connsiteY54" fmla="*/ 312420 h 3147261"/>
                  <a:gd name="connsiteX55" fmla="*/ 869689 w 3140960"/>
                  <a:gd name="connsiteY55" fmla="*/ 175260 h 3147261"/>
                  <a:gd name="connsiteX56" fmla="*/ 976369 w 3140960"/>
                  <a:gd name="connsiteY56" fmla="*/ 137160 h 3147261"/>
                  <a:gd name="connsiteX57" fmla="*/ 1105909 w 3140960"/>
                  <a:gd name="connsiteY57" fmla="*/ 76200 h 3147261"/>
                  <a:gd name="connsiteX58" fmla="*/ 1243069 w 3140960"/>
                  <a:gd name="connsiteY58" fmla="*/ 38100 h 3147261"/>
                  <a:gd name="connsiteX59" fmla="*/ 1265929 w 3140960"/>
                  <a:gd name="connsiteY59" fmla="*/ 30480 h 3147261"/>
                  <a:gd name="connsiteX60" fmla="*/ 1387849 w 3140960"/>
                  <a:gd name="connsiteY60" fmla="*/ 15240 h 3147261"/>
                  <a:gd name="connsiteX61" fmla="*/ 1464049 w 3140960"/>
                  <a:gd name="connsiteY61" fmla="*/ 0 h 3147261"/>
                  <a:gd name="connsiteX62" fmla="*/ 1745989 w 3140960"/>
                  <a:gd name="connsiteY62" fmla="*/ 0 h 3147261"/>
                  <a:gd name="connsiteX63" fmla="*/ 2165089 w 3140960"/>
                  <a:gd name="connsiteY63" fmla="*/ 99060 h 3147261"/>
                  <a:gd name="connsiteX64" fmla="*/ 2340349 w 3140960"/>
                  <a:gd name="connsiteY64" fmla="*/ 182880 h 3147261"/>
                  <a:gd name="connsiteX65" fmla="*/ 2370829 w 3140960"/>
                  <a:gd name="connsiteY65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321049 w 3140960"/>
                  <a:gd name="connsiteY38" fmla="*/ 2484120 h 3147261"/>
                  <a:gd name="connsiteX39" fmla="*/ 298189 w 3140960"/>
                  <a:gd name="connsiteY39" fmla="*/ 2430780 h 3147261"/>
                  <a:gd name="connsiteX40" fmla="*/ 183889 w 3140960"/>
                  <a:gd name="connsiteY40" fmla="*/ 2308860 h 3147261"/>
                  <a:gd name="connsiteX41" fmla="*/ 61969 w 3140960"/>
                  <a:gd name="connsiteY41" fmla="*/ 2026920 h 3147261"/>
                  <a:gd name="connsiteX42" fmla="*/ 54349 w 3140960"/>
                  <a:gd name="connsiteY42" fmla="*/ 2004060 h 3147261"/>
                  <a:gd name="connsiteX43" fmla="*/ 39109 w 3140960"/>
                  <a:gd name="connsiteY43" fmla="*/ 1943100 h 3147261"/>
                  <a:gd name="connsiteX44" fmla="*/ 23869 w 3140960"/>
                  <a:gd name="connsiteY44" fmla="*/ 1897380 h 3147261"/>
                  <a:gd name="connsiteX45" fmla="*/ 1009 w 3140960"/>
                  <a:gd name="connsiteY45" fmla="*/ 1562100 h 3147261"/>
                  <a:gd name="connsiteX46" fmla="*/ 54349 w 3140960"/>
                  <a:gd name="connsiteY46" fmla="*/ 1135380 h 3147261"/>
                  <a:gd name="connsiteX47" fmla="*/ 161029 w 3140960"/>
                  <a:gd name="connsiteY47" fmla="*/ 861060 h 3147261"/>
                  <a:gd name="connsiteX48" fmla="*/ 183889 w 3140960"/>
                  <a:gd name="connsiteY48" fmla="*/ 822960 h 3147261"/>
                  <a:gd name="connsiteX49" fmla="*/ 260089 w 3140960"/>
                  <a:gd name="connsiteY49" fmla="*/ 708660 h 3147261"/>
                  <a:gd name="connsiteX50" fmla="*/ 275329 w 3140960"/>
                  <a:gd name="connsiteY50" fmla="*/ 662940 h 3147261"/>
                  <a:gd name="connsiteX51" fmla="*/ 420109 w 3140960"/>
                  <a:gd name="connsiteY51" fmla="*/ 510540 h 3147261"/>
                  <a:gd name="connsiteX52" fmla="*/ 511549 w 3140960"/>
                  <a:gd name="connsiteY52" fmla="*/ 434340 h 3147261"/>
                  <a:gd name="connsiteX53" fmla="*/ 564889 w 3140960"/>
                  <a:gd name="connsiteY53" fmla="*/ 396240 h 3147261"/>
                  <a:gd name="connsiteX54" fmla="*/ 656329 w 3140960"/>
                  <a:gd name="connsiteY54" fmla="*/ 312420 h 3147261"/>
                  <a:gd name="connsiteX55" fmla="*/ 869689 w 3140960"/>
                  <a:gd name="connsiteY55" fmla="*/ 175260 h 3147261"/>
                  <a:gd name="connsiteX56" fmla="*/ 976369 w 3140960"/>
                  <a:gd name="connsiteY56" fmla="*/ 137160 h 3147261"/>
                  <a:gd name="connsiteX57" fmla="*/ 1105909 w 3140960"/>
                  <a:gd name="connsiteY57" fmla="*/ 76200 h 3147261"/>
                  <a:gd name="connsiteX58" fmla="*/ 1243069 w 3140960"/>
                  <a:gd name="connsiteY58" fmla="*/ 38100 h 3147261"/>
                  <a:gd name="connsiteX59" fmla="*/ 1265929 w 3140960"/>
                  <a:gd name="connsiteY59" fmla="*/ 30480 h 3147261"/>
                  <a:gd name="connsiteX60" fmla="*/ 1387849 w 3140960"/>
                  <a:gd name="connsiteY60" fmla="*/ 15240 h 3147261"/>
                  <a:gd name="connsiteX61" fmla="*/ 1464049 w 3140960"/>
                  <a:gd name="connsiteY61" fmla="*/ 0 h 3147261"/>
                  <a:gd name="connsiteX62" fmla="*/ 1745989 w 3140960"/>
                  <a:gd name="connsiteY62" fmla="*/ 0 h 3147261"/>
                  <a:gd name="connsiteX63" fmla="*/ 2165089 w 3140960"/>
                  <a:gd name="connsiteY63" fmla="*/ 99060 h 3147261"/>
                  <a:gd name="connsiteX64" fmla="*/ 2340349 w 3140960"/>
                  <a:gd name="connsiteY64" fmla="*/ 182880 h 3147261"/>
                  <a:gd name="connsiteX65" fmla="*/ 2370829 w 3140960"/>
                  <a:gd name="connsiteY65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298189 w 3140960"/>
                  <a:gd name="connsiteY38" fmla="*/ 2430780 h 3147261"/>
                  <a:gd name="connsiteX39" fmla="*/ 183889 w 3140960"/>
                  <a:gd name="connsiteY39" fmla="*/ 2308860 h 3147261"/>
                  <a:gd name="connsiteX40" fmla="*/ 61969 w 3140960"/>
                  <a:gd name="connsiteY40" fmla="*/ 2026920 h 3147261"/>
                  <a:gd name="connsiteX41" fmla="*/ 54349 w 3140960"/>
                  <a:gd name="connsiteY41" fmla="*/ 2004060 h 3147261"/>
                  <a:gd name="connsiteX42" fmla="*/ 39109 w 3140960"/>
                  <a:gd name="connsiteY42" fmla="*/ 1943100 h 3147261"/>
                  <a:gd name="connsiteX43" fmla="*/ 23869 w 3140960"/>
                  <a:gd name="connsiteY43" fmla="*/ 1897380 h 3147261"/>
                  <a:gd name="connsiteX44" fmla="*/ 1009 w 3140960"/>
                  <a:gd name="connsiteY44" fmla="*/ 1562100 h 3147261"/>
                  <a:gd name="connsiteX45" fmla="*/ 54349 w 3140960"/>
                  <a:gd name="connsiteY45" fmla="*/ 1135380 h 3147261"/>
                  <a:gd name="connsiteX46" fmla="*/ 161029 w 3140960"/>
                  <a:gd name="connsiteY46" fmla="*/ 861060 h 3147261"/>
                  <a:gd name="connsiteX47" fmla="*/ 183889 w 3140960"/>
                  <a:gd name="connsiteY47" fmla="*/ 822960 h 3147261"/>
                  <a:gd name="connsiteX48" fmla="*/ 260089 w 3140960"/>
                  <a:gd name="connsiteY48" fmla="*/ 708660 h 3147261"/>
                  <a:gd name="connsiteX49" fmla="*/ 275329 w 3140960"/>
                  <a:gd name="connsiteY49" fmla="*/ 662940 h 3147261"/>
                  <a:gd name="connsiteX50" fmla="*/ 420109 w 3140960"/>
                  <a:gd name="connsiteY50" fmla="*/ 510540 h 3147261"/>
                  <a:gd name="connsiteX51" fmla="*/ 511549 w 3140960"/>
                  <a:gd name="connsiteY51" fmla="*/ 434340 h 3147261"/>
                  <a:gd name="connsiteX52" fmla="*/ 564889 w 3140960"/>
                  <a:gd name="connsiteY52" fmla="*/ 396240 h 3147261"/>
                  <a:gd name="connsiteX53" fmla="*/ 656329 w 3140960"/>
                  <a:gd name="connsiteY53" fmla="*/ 312420 h 3147261"/>
                  <a:gd name="connsiteX54" fmla="*/ 869689 w 3140960"/>
                  <a:gd name="connsiteY54" fmla="*/ 175260 h 3147261"/>
                  <a:gd name="connsiteX55" fmla="*/ 976369 w 3140960"/>
                  <a:gd name="connsiteY55" fmla="*/ 137160 h 3147261"/>
                  <a:gd name="connsiteX56" fmla="*/ 1105909 w 3140960"/>
                  <a:gd name="connsiteY56" fmla="*/ 76200 h 3147261"/>
                  <a:gd name="connsiteX57" fmla="*/ 1243069 w 3140960"/>
                  <a:gd name="connsiteY57" fmla="*/ 38100 h 3147261"/>
                  <a:gd name="connsiteX58" fmla="*/ 1265929 w 3140960"/>
                  <a:gd name="connsiteY58" fmla="*/ 30480 h 3147261"/>
                  <a:gd name="connsiteX59" fmla="*/ 1387849 w 3140960"/>
                  <a:gd name="connsiteY59" fmla="*/ 15240 h 3147261"/>
                  <a:gd name="connsiteX60" fmla="*/ 1464049 w 3140960"/>
                  <a:gd name="connsiteY60" fmla="*/ 0 h 3147261"/>
                  <a:gd name="connsiteX61" fmla="*/ 1745989 w 3140960"/>
                  <a:gd name="connsiteY61" fmla="*/ 0 h 3147261"/>
                  <a:gd name="connsiteX62" fmla="*/ 2165089 w 3140960"/>
                  <a:gd name="connsiteY62" fmla="*/ 99060 h 3147261"/>
                  <a:gd name="connsiteX63" fmla="*/ 2340349 w 3140960"/>
                  <a:gd name="connsiteY63" fmla="*/ 182880 h 3147261"/>
                  <a:gd name="connsiteX64" fmla="*/ 2370829 w 3140960"/>
                  <a:gd name="connsiteY64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298189 w 3140960"/>
                  <a:gd name="connsiteY38" fmla="*/ 2499360 h 3147261"/>
                  <a:gd name="connsiteX39" fmla="*/ 183889 w 3140960"/>
                  <a:gd name="connsiteY39" fmla="*/ 2308860 h 3147261"/>
                  <a:gd name="connsiteX40" fmla="*/ 61969 w 3140960"/>
                  <a:gd name="connsiteY40" fmla="*/ 2026920 h 3147261"/>
                  <a:gd name="connsiteX41" fmla="*/ 54349 w 3140960"/>
                  <a:gd name="connsiteY41" fmla="*/ 2004060 h 3147261"/>
                  <a:gd name="connsiteX42" fmla="*/ 39109 w 3140960"/>
                  <a:gd name="connsiteY42" fmla="*/ 1943100 h 3147261"/>
                  <a:gd name="connsiteX43" fmla="*/ 23869 w 3140960"/>
                  <a:gd name="connsiteY43" fmla="*/ 1897380 h 3147261"/>
                  <a:gd name="connsiteX44" fmla="*/ 1009 w 3140960"/>
                  <a:gd name="connsiteY44" fmla="*/ 1562100 h 3147261"/>
                  <a:gd name="connsiteX45" fmla="*/ 54349 w 3140960"/>
                  <a:gd name="connsiteY45" fmla="*/ 1135380 h 3147261"/>
                  <a:gd name="connsiteX46" fmla="*/ 161029 w 3140960"/>
                  <a:gd name="connsiteY46" fmla="*/ 861060 h 3147261"/>
                  <a:gd name="connsiteX47" fmla="*/ 183889 w 3140960"/>
                  <a:gd name="connsiteY47" fmla="*/ 822960 h 3147261"/>
                  <a:gd name="connsiteX48" fmla="*/ 260089 w 3140960"/>
                  <a:gd name="connsiteY48" fmla="*/ 708660 h 3147261"/>
                  <a:gd name="connsiteX49" fmla="*/ 275329 w 3140960"/>
                  <a:gd name="connsiteY49" fmla="*/ 662940 h 3147261"/>
                  <a:gd name="connsiteX50" fmla="*/ 420109 w 3140960"/>
                  <a:gd name="connsiteY50" fmla="*/ 510540 h 3147261"/>
                  <a:gd name="connsiteX51" fmla="*/ 511549 w 3140960"/>
                  <a:gd name="connsiteY51" fmla="*/ 434340 h 3147261"/>
                  <a:gd name="connsiteX52" fmla="*/ 564889 w 3140960"/>
                  <a:gd name="connsiteY52" fmla="*/ 396240 h 3147261"/>
                  <a:gd name="connsiteX53" fmla="*/ 656329 w 3140960"/>
                  <a:gd name="connsiteY53" fmla="*/ 312420 h 3147261"/>
                  <a:gd name="connsiteX54" fmla="*/ 869689 w 3140960"/>
                  <a:gd name="connsiteY54" fmla="*/ 175260 h 3147261"/>
                  <a:gd name="connsiteX55" fmla="*/ 976369 w 3140960"/>
                  <a:gd name="connsiteY55" fmla="*/ 137160 h 3147261"/>
                  <a:gd name="connsiteX56" fmla="*/ 1105909 w 3140960"/>
                  <a:gd name="connsiteY56" fmla="*/ 76200 h 3147261"/>
                  <a:gd name="connsiteX57" fmla="*/ 1243069 w 3140960"/>
                  <a:gd name="connsiteY57" fmla="*/ 38100 h 3147261"/>
                  <a:gd name="connsiteX58" fmla="*/ 1265929 w 3140960"/>
                  <a:gd name="connsiteY58" fmla="*/ 30480 h 3147261"/>
                  <a:gd name="connsiteX59" fmla="*/ 1387849 w 3140960"/>
                  <a:gd name="connsiteY59" fmla="*/ 15240 h 3147261"/>
                  <a:gd name="connsiteX60" fmla="*/ 1464049 w 3140960"/>
                  <a:gd name="connsiteY60" fmla="*/ 0 h 3147261"/>
                  <a:gd name="connsiteX61" fmla="*/ 1745989 w 3140960"/>
                  <a:gd name="connsiteY61" fmla="*/ 0 h 3147261"/>
                  <a:gd name="connsiteX62" fmla="*/ 2165089 w 3140960"/>
                  <a:gd name="connsiteY62" fmla="*/ 99060 h 3147261"/>
                  <a:gd name="connsiteX63" fmla="*/ 2340349 w 3140960"/>
                  <a:gd name="connsiteY63" fmla="*/ 182880 h 3147261"/>
                  <a:gd name="connsiteX64" fmla="*/ 2370829 w 3140960"/>
                  <a:gd name="connsiteY64" fmla="*/ 190500 h 3147261"/>
                  <a:gd name="connsiteX0" fmla="*/ 2370829 w 3140960"/>
                  <a:gd name="connsiteY0" fmla="*/ 190500 h 3147261"/>
                  <a:gd name="connsiteX1" fmla="*/ 2492749 w 3140960"/>
                  <a:gd name="connsiteY1" fmla="*/ 297180 h 3147261"/>
                  <a:gd name="connsiteX2" fmla="*/ 2607049 w 3140960"/>
                  <a:gd name="connsiteY2" fmla="*/ 381000 h 3147261"/>
                  <a:gd name="connsiteX3" fmla="*/ 2706109 w 3140960"/>
                  <a:gd name="connsiteY3" fmla="*/ 487680 h 3147261"/>
                  <a:gd name="connsiteX4" fmla="*/ 2728969 w 3140960"/>
                  <a:gd name="connsiteY4" fmla="*/ 510540 h 3147261"/>
                  <a:gd name="connsiteX5" fmla="*/ 2789929 w 3140960"/>
                  <a:gd name="connsiteY5" fmla="*/ 594360 h 3147261"/>
                  <a:gd name="connsiteX6" fmla="*/ 2850889 w 3140960"/>
                  <a:gd name="connsiteY6" fmla="*/ 662940 h 3147261"/>
                  <a:gd name="connsiteX7" fmla="*/ 2873749 w 3140960"/>
                  <a:gd name="connsiteY7" fmla="*/ 701040 h 3147261"/>
                  <a:gd name="connsiteX8" fmla="*/ 2911849 w 3140960"/>
                  <a:gd name="connsiteY8" fmla="*/ 762000 h 3147261"/>
                  <a:gd name="connsiteX9" fmla="*/ 2949949 w 3140960"/>
                  <a:gd name="connsiteY9" fmla="*/ 845820 h 3147261"/>
                  <a:gd name="connsiteX10" fmla="*/ 3010909 w 3140960"/>
                  <a:gd name="connsiteY10" fmla="*/ 998220 h 3147261"/>
                  <a:gd name="connsiteX11" fmla="*/ 3026149 w 3140960"/>
                  <a:gd name="connsiteY11" fmla="*/ 1036320 h 3147261"/>
                  <a:gd name="connsiteX12" fmla="*/ 3033769 w 3140960"/>
                  <a:gd name="connsiteY12" fmla="*/ 1066800 h 3147261"/>
                  <a:gd name="connsiteX13" fmla="*/ 3087109 w 3140960"/>
                  <a:gd name="connsiteY13" fmla="*/ 1181100 h 3147261"/>
                  <a:gd name="connsiteX14" fmla="*/ 3094729 w 3140960"/>
                  <a:gd name="connsiteY14" fmla="*/ 1226820 h 3147261"/>
                  <a:gd name="connsiteX15" fmla="*/ 3102349 w 3140960"/>
                  <a:gd name="connsiteY15" fmla="*/ 1280160 h 3147261"/>
                  <a:gd name="connsiteX16" fmla="*/ 3117589 w 3140960"/>
                  <a:gd name="connsiteY16" fmla="*/ 1371600 h 3147261"/>
                  <a:gd name="connsiteX17" fmla="*/ 3140449 w 3140960"/>
                  <a:gd name="connsiteY17" fmla="*/ 1485900 h 3147261"/>
                  <a:gd name="connsiteX18" fmla="*/ 3132829 w 3140960"/>
                  <a:gd name="connsiteY18" fmla="*/ 1691640 h 3147261"/>
                  <a:gd name="connsiteX19" fmla="*/ 3125209 w 3140960"/>
                  <a:gd name="connsiteY19" fmla="*/ 1767840 h 3147261"/>
                  <a:gd name="connsiteX20" fmla="*/ 3087109 w 3140960"/>
                  <a:gd name="connsiteY20" fmla="*/ 1905000 h 3147261"/>
                  <a:gd name="connsiteX21" fmla="*/ 3079489 w 3140960"/>
                  <a:gd name="connsiteY21" fmla="*/ 1935480 h 3147261"/>
                  <a:gd name="connsiteX22" fmla="*/ 3056629 w 3140960"/>
                  <a:gd name="connsiteY22" fmla="*/ 2019300 h 3147261"/>
                  <a:gd name="connsiteX23" fmla="*/ 2949949 w 3140960"/>
                  <a:gd name="connsiteY23" fmla="*/ 2331720 h 3147261"/>
                  <a:gd name="connsiteX24" fmla="*/ 2927089 w 3140960"/>
                  <a:gd name="connsiteY24" fmla="*/ 2385060 h 3147261"/>
                  <a:gd name="connsiteX25" fmla="*/ 2858509 w 3140960"/>
                  <a:gd name="connsiteY25" fmla="*/ 2499360 h 3147261"/>
                  <a:gd name="connsiteX26" fmla="*/ 2843269 w 3140960"/>
                  <a:gd name="connsiteY26" fmla="*/ 2529840 h 3147261"/>
                  <a:gd name="connsiteX27" fmla="*/ 2835649 w 3140960"/>
                  <a:gd name="connsiteY27" fmla="*/ 2552700 h 3147261"/>
                  <a:gd name="connsiteX28" fmla="*/ 2759449 w 3140960"/>
                  <a:gd name="connsiteY28" fmla="*/ 2636520 h 3147261"/>
                  <a:gd name="connsiteX29" fmla="*/ 2706109 w 3140960"/>
                  <a:gd name="connsiteY29" fmla="*/ 2667000 h 3147261"/>
                  <a:gd name="connsiteX30" fmla="*/ 2302249 w 3140960"/>
                  <a:gd name="connsiteY30" fmla="*/ 2971800 h 3147261"/>
                  <a:gd name="connsiteX31" fmla="*/ 2195569 w 3140960"/>
                  <a:gd name="connsiteY31" fmla="*/ 3025140 h 3147261"/>
                  <a:gd name="connsiteX32" fmla="*/ 2096509 w 3140960"/>
                  <a:gd name="connsiteY32" fmla="*/ 3055620 h 3147261"/>
                  <a:gd name="connsiteX33" fmla="*/ 1913629 w 3140960"/>
                  <a:gd name="connsiteY33" fmla="*/ 3108960 h 3147261"/>
                  <a:gd name="connsiteX34" fmla="*/ 1799329 w 3140960"/>
                  <a:gd name="connsiteY34" fmla="*/ 3147060 h 3147261"/>
                  <a:gd name="connsiteX35" fmla="*/ 1334509 w 3140960"/>
                  <a:gd name="connsiteY35" fmla="*/ 3108960 h 3147261"/>
                  <a:gd name="connsiteX36" fmla="*/ 793489 w 3140960"/>
                  <a:gd name="connsiteY36" fmla="*/ 2933700 h 3147261"/>
                  <a:gd name="connsiteX37" fmla="*/ 420109 w 3140960"/>
                  <a:gd name="connsiteY37" fmla="*/ 2644140 h 3147261"/>
                  <a:gd name="connsiteX38" fmla="*/ 298189 w 3140960"/>
                  <a:gd name="connsiteY38" fmla="*/ 2499360 h 3147261"/>
                  <a:gd name="connsiteX39" fmla="*/ 183889 w 3140960"/>
                  <a:gd name="connsiteY39" fmla="*/ 2308860 h 3147261"/>
                  <a:gd name="connsiteX40" fmla="*/ 61969 w 3140960"/>
                  <a:gd name="connsiteY40" fmla="*/ 2026920 h 3147261"/>
                  <a:gd name="connsiteX41" fmla="*/ 39109 w 3140960"/>
                  <a:gd name="connsiteY41" fmla="*/ 1943100 h 3147261"/>
                  <a:gd name="connsiteX42" fmla="*/ 23869 w 3140960"/>
                  <a:gd name="connsiteY42" fmla="*/ 1897380 h 3147261"/>
                  <a:gd name="connsiteX43" fmla="*/ 1009 w 3140960"/>
                  <a:gd name="connsiteY43" fmla="*/ 1562100 h 3147261"/>
                  <a:gd name="connsiteX44" fmla="*/ 54349 w 3140960"/>
                  <a:gd name="connsiteY44" fmla="*/ 1135380 h 3147261"/>
                  <a:gd name="connsiteX45" fmla="*/ 161029 w 3140960"/>
                  <a:gd name="connsiteY45" fmla="*/ 861060 h 3147261"/>
                  <a:gd name="connsiteX46" fmla="*/ 183889 w 3140960"/>
                  <a:gd name="connsiteY46" fmla="*/ 822960 h 3147261"/>
                  <a:gd name="connsiteX47" fmla="*/ 260089 w 3140960"/>
                  <a:gd name="connsiteY47" fmla="*/ 708660 h 3147261"/>
                  <a:gd name="connsiteX48" fmla="*/ 275329 w 3140960"/>
                  <a:gd name="connsiteY48" fmla="*/ 662940 h 3147261"/>
                  <a:gd name="connsiteX49" fmla="*/ 420109 w 3140960"/>
                  <a:gd name="connsiteY49" fmla="*/ 510540 h 3147261"/>
                  <a:gd name="connsiteX50" fmla="*/ 511549 w 3140960"/>
                  <a:gd name="connsiteY50" fmla="*/ 434340 h 3147261"/>
                  <a:gd name="connsiteX51" fmla="*/ 564889 w 3140960"/>
                  <a:gd name="connsiteY51" fmla="*/ 396240 h 3147261"/>
                  <a:gd name="connsiteX52" fmla="*/ 656329 w 3140960"/>
                  <a:gd name="connsiteY52" fmla="*/ 312420 h 3147261"/>
                  <a:gd name="connsiteX53" fmla="*/ 869689 w 3140960"/>
                  <a:gd name="connsiteY53" fmla="*/ 175260 h 3147261"/>
                  <a:gd name="connsiteX54" fmla="*/ 976369 w 3140960"/>
                  <a:gd name="connsiteY54" fmla="*/ 137160 h 3147261"/>
                  <a:gd name="connsiteX55" fmla="*/ 1105909 w 3140960"/>
                  <a:gd name="connsiteY55" fmla="*/ 76200 h 3147261"/>
                  <a:gd name="connsiteX56" fmla="*/ 1243069 w 3140960"/>
                  <a:gd name="connsiteY56" fmla="*/ 38100 h 3147261"/>
                  <a:gd name="connsiteX57" fmla="*/ 1265929 w 3140960"/>
                  <a:gd name="connsiteY57" fmla="*/ 30480 h 3147261"/>
                  <a:gd name="connsiteX58" fmla="*/ 1387849 w 3140960"/>
                  <a:gd name="connsiteY58" fmla="*/ 15240 h 3147261"/>
                  <a:gd name="connsiteX59" fmla="*/ 1464049 w 3140960"/>
                  <a:gd name="connsiteY59" fmla="*/ 0 h 3147261"/>
                  <a:gd name="connsiteX60" fmla="*/ 1745989 w 3140960"/>
                  <a:gd name="connsiteY60" fmla="*/ 0 h 3147261"/>
                  <a:gd name="connsiteX61" fmla="*/ 2165089 w 3140960"/>
                  <a:gd name="connsiteY61" fmla="*/ 99060 h 3147261"/>
                  <a:gd name="connsiteX62" fmla="*/ 2340349 w 3140960"/>
                  <a:gd name="connsiteY62" fmla="*/ 182880 h 3147261"/>
                  <a:gd name="connsiteX63" fmla="*/ 2370829 w 3140960"/>
                  <a:gd name="connsiteY63" fmla="*/ 190500 h 3147261"/>
                  <a:gd name="connsiteX0" fmla="*/ 2369820 w 3139951"/>
                  <a:gd name="connsiteY0" fmla="*/ 190500 h 3147261"/>
                  <a:gd name="connsiteX1" fmla="*/ 2491740 w 3139951"/>
                  <a:gd name="connsiteY1" fmla="*/ 297180 h 3147261"/>
                  <a:gd name="connsiteX2" fmla="*/ 2606040 w 3139951"/>
                  <a:gd name="connsiteY2" fmla="*/ 381000 h 3147261"/>
                  <a:gd name="connsiteX3" fmla="*/ 2705100 w 3139951"/>
                  <a:gd name="connsiteY3" fmla="*/ 487680 h 3147261"/>
                  <a:gd name="connsiteX4" fmla="*/ 2727960 w 3139951"/>
                  <a:gd name="connsiteY4" fmla="*/ 510540 h 3147261"/>
                  <a:gd name="connsiteX5" fmla="*/ 2788920 w 3139951"/>
                  <a:gd name="connsiteY5" fmla="*/ 594360 h 3147261"/>
                  <a:gd name="connsiteX6" fmla="*/ 2849880 w 3139951"/>
                  <a:gd name="connsiteY6" fmla="*/ 662940 h 3147261"/>
                  <a:gd name="connsiteX7" fmla="*/ 2872740 w 3139951"/>
                  <a:gd name="connsiteY7" fmla="*/ 701040 h 3147261"/>
                  <a:gd name="connsiteX8" fmla="*/ 2910840 w 3139951"/>
                  <a:gd name="connsiteY8" fmla="*/ 762000 h 3147261"/>
                  <a:gd name="connsiteX9" fmla="*/ 2948940 w 3139951"/>
                  <a:gd name="connsiteY9" fmla="*/ 845820 h 3147261"/>
                  <a:gd name="connsiteX10" fmla="*/ 3009900 w 3139951"/>
                  <a:gd name="connsiteY10" fmla="*/ 998220 h 3147261"/>
                  <a:gd name="connsiteX11" fmla="*/ 3025140 w 3139951"/>
                  <a:gd name="connsiteY11" fmla="*/ 1036320 h 3147261"/>
                  <a:gd name="connsiteX12" fmla="*/ 3032760 w 3139951"/>
                  <a:gd name="connsiteY12" fmla="*/ 1066800 h 3147261"/>
                  <a:gd name="connsiteX13" fmla="*/ 3086100 w 3139951"/>
                  <a:gd name="connsiteY13" fmla="*/ 1181100 h 3147261"/>
                  <a:gd name="connsiteX14" fmla="*/ 3093720 w 3139951"/>
                  <a:gd name="connsiteY14" fmla="*/ 1226820 h 3147261"/>
                  <a:gd name="connsiteX15" fmla="*/ 3101340 w 3139951"/>
                  <a:gd name="connsiteY15" fmla="*/ 1280160 h 3147261"/>
                  <a:gd name="connsiteX16" fmla="*/ 3116580 w 3139951"/>
                  <a:gd name="connsiteY16" fmla="*/ 1371600 h 3147261"/>
                  <a:gd name="connsiteX17" fmla="*/ 3139440 w 3139951"/>
                  <a:gd name="connsiteY17" fmla="*/ 1485900 h 3147261"/>
                  <a:gd name="connsiteX18" fmla="*/ 3131820 w 3139951"/>
                  <a:gd name="connsiteY18" fmla="*/ 1691640 h 3147261"/>
                  <a:gd name="connsiteX19" fmla="*/ 3124200 w 3139951"/>
                  <a:gd name="connsiteY19" fmla="*/ 1767840 h 3147261"/>
                  <a:gd name="connsiteX20" fmla="*/ 3086100 w 3139951"/>
                  <a:gd name="connsiteY20" fmla="*/ 1905000 h 3147261"/>
                  <a:gd name="connsiteX21" fmla="*/ 3078480 w 3139951"/>
                  <a:gd name="connsiteY21" fmla="*/ 1935480 h 3147261"/>
                  <a:gd name="connsiteX22" fmla="*/ 3055620 w 3139951"/>
                  <a:gd name="connsiteY22" fmla="*/ 2019300 h 3147261"/>
                  <a:gd name="connsiteX23" fmla="*/ 2948940 w 3139951"/>
                  <a:gd name="connsiteY23" fmla="*/ 2331720 h 3147261"/>
                  <a:gd name="connsiteX24" fmla="*/ 2926080 w 3139951"/>
                  <a:gd name="connsiteY24" fmla="*/ 2385060 h 3147261"/>
                  <a:gd name="connsiteX25" fmla="*/ 2857500 w 3139951"/>
                  <a:gd name="connsiteY25" fmla="*/ 2499360 h 3147261"/>
                  <a:gd name="connsiteX26" fmla="*/ 2842260 w 3139951"/>
                  <a:gd name="connsiteY26" fmla="*/ 2529840 h 3147261"/>
                  <a:gd name="connsiteX27" fmla="*/ 2834640 w 3139951"/>
                  <a:gd name="connsiteY27" fmla="*/ 2552700 h 3147261"/>
                  <a:gd name="connsiteX28" fmla="*/ 2758440 w 3139951"/>
                  <a:gd name="connsiteY28" fmla="*/ 2636520 h 3147261"/>
                  <a:gd name="connsiteX29" fmla="*/ 2705100 w 3139951"/>
                  <a:gd name="connsiteY29" fmla="*/ 2667000 h 3147261"/>
                  <a:gd name="connsiteX30" fmla="*/ 2301240 w 3139951"/>
                  <a:gd name="connsiteY30" fmla="*/ 2971800 h 3147261"/>
                  <a:gd name="connsiteX31" fmla="*/ 2194560 w 3139951"/>
                  <a:gd name="connsiteY31" fmla="*/ 3025140 h 3147261"/>
                  <a:gd name="connsiteX32" fmla="*/ 2095500 w 3139951"/>
                  <a:gd name="connsiteY32" fmla="*/ 3055620 h 3147261"/>
                  <a:gd name="connsiteX33" fmla="*/ 1912620 w 3139951"/>
                  <a:gd name="connsiteY33" fmla="*/ 3108960 h 3147261"/>
                  <a:gd name="connsiteX34" fmla="*/ 1798320 w 3139951"/>
                  <a:gd name="connsiteY34" fmla="*/ 3147060 h 3147261"/>
                  <a:gd name="connsiteX35" fmla="*/ 1333500 w 3139951"/>
                  <a:gd name="connsiteY35" fmla="*/ 3108960 h 3147261"/>
                  <a:gd name="connsiteX36" fmla="*/ 792480 w 3139951"/>
                  <a:gd name="connsiteY36" fmla="*/ 2933700 h 3147261"/>
                  <a:gd name="connsiteX37" fmla="*/ 419100 w 3139951"/>
                  <a:gd name="connsiteY37" fmla="*/ 2644140 h 3147261"/>
                  <a:gd name="connsiteX38" fmla="*/ 297180 w 3139951"/>
                  <a:gd name="connsiteY38" fmla="*/ 2499360 h 3147261"/>
                  <a:gd name="connsiteX39" fmla="*/ 182880 w 3139951"/>
                  <a:gd name="connsiteY39" fmla="*/ 2308860 h 3147261"/>
                  <a:gd name="connsiteX40" fmla="*/ 60960 w 3139951"/>
                  <a:gd name="connsiteY40" fmla="*/ 2026920 h 3147261"/>
                  <a:gd name="connsiteX41" fmla="*/ 38100 w 3139951"/>
                  <a:gd name="connsiteY41" fmla="*/ 1943100 h 3147261"/>
                  <a:gd name="connsiteX42" fmla="*/ 0 w 3139951"/>
                  <a:gd name="connsiteY42" fmla="*/ 1562100 h 3147261"/>
                  <a:gd name="connsiteX43" fmla="*/ 53340 w 3139951"/>
                  <a:gd name="connsiteY43" fmla="*/ 1135380 h 3147261"/>
                  <a:gd name="connsiteX44" fmla="*/ 160020 w 3139951"/>
                  <a:gd name="connsiteY44" fmla="*/ 861060 h 3147261"/>
                  <a:gd name="connsiteX45" fmla="*/ 182880 w 3139951"/>
                  <a:gd name="connsiteY45" fmla="*/ 822960 h 3147261"/>
                  <a:gd name="connsiteX46" fmla="*/ 259080 w 3139951"/>
                  <a:gd name="connsiteY46" fmla="*/ 708660 h 3147261"/>
                  <a:gd name="connsiteX47" fmla="*/ 274320 w 3139951"/>
                  <a:gd name="connsiteY47" fmla="*/ 662940 h 3147261"/>
                  <a:gd name="connsiteX48" fmla="*/ 419100 w 3139951"/>
                  <a:gd name="connsiteY48" fmla="*/ 510540 h 3147261"/>
                  <a:gd name="connsiteX49" fmla="*/ 510540 w 3139951"/>
                  <a:gd name="connsiteY49" fmla="*/ 434340 h 3147261"/>
                  <a:gd name="connsiteX50" fmla="*/ 563880 w 3139951"/>
                  <a:gd name="connsiteY50" fmla="*/ 396240 h 3147261"/>
                  <a:gd name="connsiteX51" fmla="*/ 655320 w 3139951"/>
                  <a:gd name="connsiteY51" fmla="*/ 312420 h 3147261"/>
                  <a:gd name="connsiteX52" fmla="*/ 868680 w 3139951"/>
                  <a:gd name="connsiteY52" fmla="*/ 175260 h 3147261"/>
                  <a:gd name="connsiteX53" fmla="*/ 975360 w 3139951"/>
                  <a:gd name="connsiteY53" fmla="*/ 137160 h 3147261"/>
                  <a:gd name="connsiteX54" fmla="*/ 1104900 w 3139951"/>
                  <a:gd name="connsiteY54" fmla="*/ 76200 h 3147261"/>
                  <a:gd name="connsiteX55" fmla="*/ 1242060 w 3139951"/>
                  <a:gd name="connsiteY55" fmla="*/ 38100 h 3147261"/>
                  <a:gd name="connsiteX56" fmla="*/ 1264920 w 3139951"/>
                  <a:gd name="connsiteY56" fmla="*/ 30480 h 3147261"/>
                  <a:gd name="connsiteX57" fmla="*/ 1386840 w 3139951"/>
                  <a:gd name="connsiteY57" fmla="*/ 15240 h 3147261"/>
                  <a:gd name="connsiteX58" fmla="*/ 1463040 w 3139951"/>
                  <a:gd name="connsiteY58" fmla="*/ 0 h 3147261"/>
                  <a:gd name="connsiteX59" fmla="*/ 1744980 w 3139951"/>
                  <a:gd name="connsiteY59" fmla="*/ 0 h 3147261"/>
                  <a:gd name="connsiteX60" fmla="*/ 2164080 w 3139951"/>
                  <a:gd name="connsiteY60" fmla="*/ 99060 h 3147261"/>
                  <a:gd name="connsiteX61" fmla="*/ 2339340 w 3139951"/>
                  <a:gd name="connsiteY61" fmla="*/ 182880 h 3147261"/>
                  <a:gd name="connsiteX62" fmla="*/ 2369820 w 3139951"/>
                  <a:gd name="connsiteY62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276121 w 3141752"/>
                  <a:gd name="connsiteY47" fmla="*/ 662940 h 3147261"/>
                  <a:gd name="connsiteX48" fmla="*/ 420901 w 3141752"/>
                  <a:gd name="connsiteY48" fmla="*/ 510540 h 3147261"/>
                  <a:gd name="connsiteX49" fmla="*/ 512341 w 3141752"/>
                  <a:gd name="connsiteY49" fmla="*/ 434340 h 3147261"/>
                  <a:gd name="connsiteX50" fmla="*/ 565681 w 3141752"/>
                  <a:gd name="connsiteY50" fmla="*/ 396240 h 3147261"/>
                  <a:gd name="connsiteX51" fmla="*/ 657121 w 3141752"/>
                  <a:gd name="connsiteY51" fmla="*/ 312420 h 3147261"/>
                  <a:gd name="connsiteX52" fmla="*/ 870481 w 3141752"/>
                  <a:gd name="connsiteY52" fmla="*/ 175260 h 3147261"/>
                  <a:gd name="connsiteX53" fmla="*/ 977161 w 3141752"/>
                  <a:gd name="connsiteY53" fmla="*/ 137160 h 3147261"/>
                  <a:gd name="connsiteX54" fmla="*/ 1106701 w 3141752"/>
                  <a:gd name="connsiteY54" fmla="*/ 76200 h 3147261"/>
                  <a:gd name="connsiteX55" fmla="*/ 1243861 w 3141752"/>
                  <a:gd name="connsiteY55" fmla="*/ 38100 h 3147261"/>
                  <a:gd name="connsiteX56" fmla="*/ 1266721 w 3141752"/>
                  <a:gd name="connsiteY56" fmla="*/ 30480 h 3147261"/>
                  <a:gd name="connsiteX57" fmla="*/ 1388641 w 3141752"/>
                  <a:gd name="connsiteY57" fmla="*/ 15240 h 3147261"/>
                  <a:gd name="connsiteX58" fmla="*/ 1464841 w 3141752"/>
                  <a:gd name="connsiteY58" fmla="*/ 0 h 3147261"/>
                  <a:gd name="connsiteX59" fmla="*/ 1746781 w 3141752"/>
                  <a:gd name="connsiteY59" fmla="*/ 0 h 3147261"/>
                  <a:gd name="connsiteX60" fmla="*/ 2165881 w 3141752"/>
                  <a:gd name="connsiteY60" fmla="*/ 99060 h 3147261"/>
                  <a:gd name="connsiteX61" fmla="*/ 2341141 w 3141752"/>
                  <a:gd name="connsiteY61" fmla="*/ 182880 h 3147261"/>
                  <a:gd name="connsiteX62" fmla="*/ 2371621 w 3141752"/>
                  <a:gd name="connsiteY62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276121 w 3141752"/>
                  <a:gd name="connsiteY47" fmla="*/ 662940 h 3147261"/>
                  <a:gd name="connsiteX48" fmla="*/ 420901 w 3141752"/>
                  <a:gd name="connsiteY48" fmla="*/ 510540 h 3147261"/>
                  <a:gd name="connsiteX49" fmla="*/ 512341 w 3141752"/>
                  <a:gd name="connsiteY49" fmla="*/ 434340 h 3147261"/>
                  <a:gd name="connsiteX50" fmla="*/ 565681 w 3141752"/>
                  <a:gd name="connsiteY50" fmla="*/ 396240 h 3147261"/>
                  <a:gd name="connsiteX51" fmla="*/ 657121 w 3141752"/>
                  <a:gd name="connsiteY51" fmla="*/ 312420 h 3147261"/>
                  <a:gd name="connsiteX52" fmla="*/ 870481 w 3141752"/>
                  <a:gd name="connsiteY52" fmla="*/ 175260 h 3147261"/>
                  <a:gd name="connsiteX53" fmla="*/ 977161 w 3141752"/>
                  <a:gd name="connsiteY53" fmla="*/ 137160 h 3147261"/>
                  <a:gd name="connsiteX54" fmla="*/ 1106701 w 3141752"/>
                  <a:gd name="connsiteY54" fmla="*/ 76200 h 3147261"/>
                  <a:gd name="connsiteX55" fmla="*/ 1243861 w 3141752"/>
                  <a:gd name="connsiteY55" fmla="*/ 38100 h 3147261"/>
                  <a:gd name="connsiteX56" fmla="*/ 1388641 w 3141752"/>
                  <a:gd name="connsiteY56" fmla="*/ 15240 h 3147261"/>
                  <a:gd name="connsiteX57" fmla="*/ 1464841 w 3141752"/>
                  <a:gd name="connsiteY57" fmla="*/ 0 h 3147261"/>
                  <a:gd name="connsiteX58" fmla="*/ 1746781 w 3141752"/>
                  <a:gd name="connsiteY58" fmla="*/ 0 h 3147261"/>
                  <a:gd name="connsiteX59" fmla="*/ 2165881 w 3141752"/>
                  <a:gd name="connsiteY59" fmla="*/ 99060 h 3147261"/>
                  <a:gd name="connsiteX60" fmla="*/ 2341141 w 3141752"/>
                  <a:gd name="connsiteY60" fmla="*/ 182880 h 3147261"/>
                  <a:gd name="connsiteX61" fmla="*/ 2371621 w 3141752"/>
                  <a:gd name="connsiteY61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276121 w 3141752"/>
                  <a:gd name="connsiteY47" fmla="*/ 662940 h 3147261"/>
                  <a:gd name="connsiteX48" fmla="*/ 420901 w 3141752"/>
                  <a:gd name="connsiteY48" fmla="*/ 510540 h 3147261"/>
                  <a:gd name="connsiteX49" fmla="*/ 512341 w 3141752"/>
                  <a:gd name="connsiteY49" fmla="*/ 434340 h 3147261"/>
                  <a:gd name="connsiteX50" fmla="*/ 565681 w 3141752"/>
                  <a:gd name="connsiteY50" fmla="*/ 396240 h 3147261"/>
                  <a:gd name="connsiteX51" fmla="*/ 657121 w 3141752"/>
                  <a:gd name="connsiteY51" fmla="*/ 312420 h 3147261"/>
                  <a:gd name="connsiteX52" fmla="*/ 870481 w 3141752"/>
                  <a:gd name="connsiteY52" fmla="*/ 175260 h 3147261"/>
                  <a:gd name="connsiteX53" fmla="*/ 1106701 w 3141752"/>
                  <a:gd name="connsiteY53" fmla="*/ 76200 h 3147261"/>
                  <a:gd name="connsiteX54" fmla="*/ 1243861 w 3141752"/>
                  <a:gd name="connsiteY54" fmla="*/ 38100 h 3147261"/>
                  <a:gd name="connsiteX55" fmla="*/ 1388641 w 3141752"/>
                  <a:gd name="connsiteY55" fmla="*/ 15240 h 3147261"/>
                  <a:gd name="connsiteX56" fmla="*/ 1464841 w 3141752"/>
                  <a:gd name="connsiteY56" fmla="*/ 0 h 3147261"/>
                  <a:gd name="connsiteX57" fmla="*/ 1746781 w 3141752"/>
                  <a:gd name="connsiteY57" fmla="*/ 0 h 3147261"/>
                  <a:gd name="connsiteX58" fmla="*/ 2165881 w 3141752"/>
                  <a:gd name="connsiteY58" fmla="*/ 99060 h 3147261"/>
                  <a:gd name="connsiteX59" fmla="*/ 2341141 w 3141752"/>
                  <a:gd name="connsiteY59" fmla="*/ 182880 h 3147261"/>
                  <a:gd name="connsiteX60" fmla="*/ 2371621 w 3141752"/>
                  <a:gd name="connsiteY60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276121 w 3141752"/>
                  <a:gd name="connsiteY47" fmla="*/ 662940 h 3147261"/>
                  <a:gd name="connsiteX48" fmla="*/ 420901 w 3141752"/>
                  <a:gd name="connsiteY48" fmla="*/ 510540 h 3147261"/>
                  <a:gd name="connsiteX49" fmla="*/ 512341 w 3141752"/>
                  <a:gd name="connsiteY49" fmla="*/ 434340 h 3147261"/>
                  <a:gd name="connsiteX50" fmla="*/ 657121 w 3141752"/>
                  <a:gd name="connsiteY50" fmla="*/ 312420 h 3147261"/>
                  <a:gd name="connsiteX51" fmla="*/ 870481 w 3141752"/>
                  <a:gd name="connsiteY51" fmla="*/ 175260 h 3147261"/>
                  <a:gd name="connsiteX52" fmla="*/ 1106701 w 3141752"/>
                  <a:gd name="connsiteY52" fmla="*/ 76200 h 3147261"/>
                  <a:gd name="connsiteX53" fmla="*/ 1243861 w 3141752"/>
                  <a:gd name="connsiteY53" fmla="*/ 38100 h 3147261"/>
                  <a:gd name="connsiteX54" fmla="*/ 1388641 w 3141752"/>
                  <a:gd name="connsiteY54" fmla="*/ 15240 h 3147261"/>
                  <a:gd name="connsiteX55" fmla="*/ 1464841 w 3141752"/>
                  <a:gd name="connsiteY55" fmla="*/ 0 h 3147261"/>
                  <a:gd name="connsiteX56" fmla="*/ 1746781 w 3141752"/>
                  <a:gd name="connsiteY56" fmla="*/ 0 h 3147261"/>
                  <a:gd name="connsiteX57" fmla="*/ 2165881 w 3141752"/>
                  <a:gd name="connsiteY57" fmla="*/ 99060 h 3147261"/>
                  <a:gd name="connsiteX58" fmla="*/ 2341141 w 3141752"/>
                  <a:gd name="connsiteY58" fmla="*/ 182880 h 3147261"/>
                  <a:gd name="connsiteX59" fmla="*/ 2371621 w 3141752"/>
                  <a:gd name="connsiteY59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184681 w 3141752"/>
                  <a:gd name="connsiteY45" fmla="*/ 822960 h 3147261"/>
                  <a:gd name="connsiteX46" fmla="*/ 260881 w 3141752"/>
                  <a:gd name="connsiteY46" fmla="*/ 708660 h 3147261"/>
                  <a:gd name="connsiteX47" fmla="*/ 420901 w 3141752"/>
                  <a:gd name="connsiteY47" fmla="*/ 510540 h 3147261"/>
                  <a:gd name="connsiteX48" fmla="*/ 512341 w 3141752"/>
                  <a:gd name="connsiteY48" fmla="*/ 434340 h 3147261"/>
                  <a:gd name="connsiteX49" fmla="*/ 657121 w 3141752"/>
                  <a:gd name="connsiteY49" fmla="*/ 312420 h 3147261"/>
                  <a:gd name="connsiteX50" fmla="*/ 870481 w 3141752"/>
                  <a:gd name="connsiteY50" fmla="*/ 175260 h 3147261"/>
                  <a:gd name="connsiteX51" fmla="*/ 1106701 w 3141752"/>
                  <a:gd name="connsiteY51" fmla="*/ 76200 h 3147261"/>
                  <a:gd name="connsiteX52" fmla="*/ 1243861 w 3141752"/>
                  <a:gd name="connsiteY52" fmla="*/ 38100 h 3147261"/>
                  <a:gd name="connsiteX53" fmla="*/ 1388641 w 3141752"/>
                  <a:gd name="connsiteY53" fmla="*/ 15240 h 3147261"/>
                  <a:gd name="connsiteX54" fmla="*/ 1464841 w 3141752"/>
                  <a:gd name="connsiteY54" fmla="*/ 0 h 3147261"/>
                  <a:gd name="connsiteX55" fmla="*/ 1746781 w 3141752"/>
                  <a:gd name="connsiteY55" fmla="*/ 0 h 3147261"/>
                  <a:gd name="connsiteX56" fmla="*/ 2165881 w 3141752"/>
                  <a:gd name="connsiteY56" fmla="*/ 99060 h 3147261"/>
                  <a:gd name="connsiteX57" fmla="*/ 2341141 w 3141752"/>
                  <a:gd name="connsiteY57" fmla="*/ 182880 h 3147261"/>
                  <a:gd name="connsiteX58" fmla="*/ 2371621 w 3141752"/>
                  <a:gd name="connsiteY58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62761 w 3141752"/>
                  <a:gd name="connsiteY40" fmla="*/ 2026920 h 3147261"/>
                  <a:gd name="connsiteX41" fmla="*/ 39901 w 3141752"/>
                  <a:gd name="connsiteY41" fmla="*/ 1943100 h 3147261"/>
                  <a:gd name="connsiteX42" fmla="*/ 1801 w 3141752"/>
                  <a:gd name="connsiteY42" fmla="*/ 1562100 h 3147261"/>
                  <a:gd name="connsiteX43" fmla="*/ 55141 w 3141752"/>
                  <a:gd name="connsiteY43" fmla="*/ 1135380 h 3147261"/>
                  <a:gd name="connsiteX44" fmla="*/ 161821 w 3141752"/>
                  <a:gd name="connsiteY44" fmla="*/ 861060 h 3147261"/>
                  <a:gd name="connsiteX45" fmla="*/ 260881 w 3141752"/>
                  <a:gd name="connsiteY45" fmla="*/ 708660 h 3147261"/>
                  <a:gd name="connsiteX46" fmla="*/ 420901 w 3141752"/>
                  <a:gd name="connsiteY46" fmla="*/ 510540 h 3147261"/>
                  <a:gd name="connsiteX47" fmla="*/ 512341 w 3141752"/>
                  <a:gd name="connsiteY47" fmla="*/ 434340 h 3147261"/>
                  <a:gd name="connsiteX48" fmla="*/ 657121 w 3141752"/>
                  <a:gd name="connsiteY48" fmla="*/ 312420 h 3147261"/>
                  <a:gd name="connsiteX49" fmla="*/ 870481 w 3141752"/>
                  <a:gd name="connsiteY49" fmla="*/ 175260 h 3147261"/>
                  <a:gd name="connsiteX50" fmla="*/ 1106701 w 3141752"/>
                  <a:gd name="connsiteY50" fmla="*/ 76200 h 3147261"/>
                  <a:gd name="connsiteX51" fmla="*/ 1243861 w 3141752"/>
                  <a:gd name="connsiteY51" fmla="*/ 38100 h 3147261"/>
                  <a:gd name="connsiteX52" fmla="*/ 1388641 w 3141752"/>
                  <a:gd name="connsiteY52" fmla="*/ 15240 h 3147261"/>
                  <a:gd name="connsiteX53" fmla="*/ 1464841 w 3141752"/>
                  <a:gd name="connsiteY53" fmla="*/ 0 h 3147261"/>
                  <a:gd name="connsiteX54" fmla="*/ 1746781 w 3141752"/>
                  <a:gd name="connsiteY54" fmla="*/ 0 h 3147261"/>
                  <a:gd name="connsiteX55" fmla="*/ 2165881 w 3141752"/>
                  <a:gd name="connsiteY55" fmla="*/ 99060 h 3147261"/>
                  <a:gd name="connsiteX56" fmla="*/ 2341141 w 3141752"/>
                  <a:gd name="connsiteY56" fmla="*/ 182880 h 3147261"/>
                  <a:gd name="connsiteX57" fmla="*/ 2371621 w 3141752"/>
                  <a:gd name="connsiteY57" fmla="*/ 190500 h 3147261"/>
                  <a:gd name="connsiteX0" fmla="*/ 2371621 w 3141752"/>
                  <a:gd name="connsiteY0" fmla="*/ 190500 h 3147261"/>
                  <a:gd name="connsiteX1" fmla="*/ 2493541 w 3141752"/>
                  <a:gd name="connsiteY1" fmla="*/ 297180 h 3147261"/>
                  <a:gd name="connsiteX2" fmla="*/ 2607841 w 3141752"/>
                  <a:gd name="connsiteY2" fmla="*/ 381000 h 3147261"/>
                  <a:gd name="connsiteX3" fmla="*/ 2706901 w 3141752"/>
                  <a:gd name="connsiteY3" fmla="*/ 487680 h 3147261"/>
                  <a:gd name="connsiteX4" fmla="*/ 2729761 w 3141752"/>
                  <a:gd name="connsiteY4" fmla="*/ 510540 h 3147261"/>
                  <a:gd name="connsiteX5" fmla="*/ 2790721 w 3141752"/>
                  <a:gd name="connsiteY5" fmla="*/ 594360 h 3147261"/>
                  <a:gd name="connsiteX6" fmla="*/ 2851681 w 3141752"/>
                  <a:gd name="connsiteY6" fmla="*/ 662940 h 3147261"/>
                  <a:gd name="connsiteX7" fmla="*/ 2874541 w 3141752"/>
                  <a:gd name="connsiteY7" fmla="*/ 701040 h 3147261"/>
                  <a:gd name="connsiteX8" fmla="*/ 2912641 w 3141752"/>
                  <a:gd name="connsiteY8" fmla="*/ 762000 h 3147261"/>
                  <a:gd name="connsiteX9" fmla="*/ 2950741 w 3141752"/>
                  <a:gd name="connsiteY9" fmla="*/ 845820 h 3147261"/>
                  <a:gd name="connsiteX10" fmla="*/ 3011701 w 3141752"/>
                  <a:gd name="connsiteY10" fmla="*/ 998220 h 3147261"/>
                  <a:gd name="connsiteX11" fmla="*/ 3026941 w 3141752"/>
                  <a:gd name="connsiteY11" fmla="*/ 1036320 h 3147261"/>
                  <a:gd name="connsiteX12" fmla="*/ 3034561 w 3141752"/>
                  <a:gd name="connsiteY12" fmla="*/ 1066800 h 3147261"/>
                  <a:gd name="connsiteX13" fmla="*/ 3087901 w 3141752"/>
                  <a:gd name="connsiteY13" fmla="*/ 1181100 h 3147261"/>
                  <a:gd name="connsiteX14" fmla="*/ 3095521 w 3141752"/>
                  <a:gd name="connsiteY14" fmla="*/ 1226820 h 3147261"/>
                  <a:gd name="connsiteX15" fmla="*/ 3103141 w 3141752"/>
                  <a:gd name="connsiteY15" fmla="*/ 1280160 h 3147261"/>
                  <a:gd name="connsiteX16" fmla="*/ 3118381 w 3141752"/>
                  <a:gd name="connsiteY16" fmla="*/ 1371600 h 3147261"/>
                  <a:gd name="connsiteX17" fmla="*/ 3141241 w 3141752"/>
                  <a:gd name="connsiteY17" fmla="*/ 1485900 h 3147261"/>
                  <a:gd name="connsiteX18" fmla="*/ 3133621 w 3141752"/>
                  <a:gd name="connsiteY18" fmla="*/ 1691640 h 3147261"/>
                  <a:gd name="connsiteX19" fmla="*/ 3126001 w 3141752"/>
                  <a:gd name="connsiteY19" fmla="*/ 1767840 h 3147261"/>
                  <a:gd name="connsiteX20" fmla="*/ 3087901 w 3141752"/>
                  <a:gd name="connsiteY20" fmla="*/ 1905000 h 3147261"/>
                  <a:gd name="connsiteX21" fmla="*/ 3080281 w 3141752"/>
                  <a:gd name="connsiteY21" fmla="*/ 1935480 h 3147261"/>
                  <a:gd name="connsiteX22" fmla="*/ 3057421 w 3141752"/>
                  <a:gd name="connsiteY22" fmla="*/ 2019300 h 3147261"/>
                  <a:gd name="connsiteX23" fmla="*/ 2950741 w 3141752"/>
                  <a:gd name="connsiteY23" fmla="*/ 2331720 h 3147261"/>
                  <a:gd name="connsiteX24" fmla="*/ 2927881 w 3141752"/>
                  <a:gd name="connsiteY24" fmla="*/ 2385060 h 3147261"/>
                  <a:gd name="connsiteX25" fmla="*/ 2859301 w 3141752"/>
                  <a:gd name="connsiteY25" fmla="*/ 2499360 h 3147261"/>
                  <a:gd name="connsiteX26" fmla="*/ 2844061 w 3141752"/>
                  <a:gd name="connsiteY26" fmla="*/ 2529840 h 3147261"/>
                  <a:gd name="connsiteX27" fmla="*/ 2836441 w 3141752"/>
                  <a:gd name="connsiteY27" fmla="*/ 2552700 h 3147261"/>
                  <a:gd name="connsiteX28" fmla="*/ 2760241 w 3141752"/>
                  <a:gd name="connsiteY28" fmla="*/ 2636520 h 3147261"/>
                  <a:gd name="connsiteX29" fmla="*/ 2706901 w 3141752"/>
                  <a:gd name="connsiteY29" fmla="*/ 2667000 h 3147261"/>
                  <a:gd name="connsiteX30" fmla="*/ 2303041 w 3141752"/>
                  <a:gd name="connsiteY30" fmla="*/ 2971800 h 3147261"/>
                  <a:gd name="connsiteX31" fmla="*/ 2196361 w 3141752"/>
                  <a:gd name="connsiteY31" fmla="*/ 3025140 h 3147261"/>
                  <a:gd name="connsiteX32" fmla="*/ 2097301 w 3141752"/>
                  <a:gd name="connsiteY32" fmla="*/ 3055620 h 3147261"/>
                  <a:gd name="connsiteX33" fmla="*/ 1914421 w 3141752"/>
                  <a:gd name="connsiteY33" fmla="*/ 3108960 h 3147261"/>
                  <a:gd name="connsiteX34" fmla="*/ 1800121 w 3141752"/>
                  <a:gd name="connsiteY34" fmla="*/ 3147060 h 3147261"/>
                  <a:gd name="connsiteX35" fmla="*/ 1335301 w 3141752"/>
                  <a:gd name="connsiteY35" fmla="*/ 3108960 h 3147261"/>
                  <a:gd name="connsiteX36" fmla="*/ 794281 w 3141752"/>
                  <a:gd name="connsiteY36" fmla="*/ 2933700 h 3147261"/>
                  <a:gd name="connsiteX37" fmla="*/ 420901 w 3141752"/>
                  <a:gd name="connsiteY37" fmla="*/ 2644140 h 3147261"/>
                  <a:gd name="connsiteX38" fmla="*/ 298981 w 3141752"/>
                  <a:gd name="connsiteY38" fmla="*/ 2499360 h 3147261"/>
                  <a:gd name="connsiteX39" fmla="*/ 184681 w 3141752"/>
                  <a:gd name="connsiteY39" fmla="*/ 2308860 h 3147261"/>
                  <a:gd name="connsiteX40" fmla="*/ 39901 w 3141752"/>
                  <a:gd name="connsiteY40" fmla="*/ 1943100 h 3147261"/>
                  <a:gd name="connsiteX41" fmla="*/ 1801 w 3141752"/>
                  <a:gd name="connsiteY41" fmla="*/ 1562100 h 3147261"/>
                  <a:gd name="connsiteX42" fmla="*/ 55141 w 3141752"/>
                  <a:gd name="connsiteY42" fmla="*/ 1135380 h 3147261"/>
                  <a:gd name="connsiteX43" fmla="*/ 161821 w 3141752"/>
                  <a:gd name="connsiteY43" fmla="*/ 861060 h 3147261"/>
                  <a:gd name="connsiteX44" fmla="*/ 260881 w 3141752"/>
                  <a:gd name="connsiteY44" fmla="*/ 708660 h 3147261"/>
                  <a:gd name="connsiteX45" fmla="*/ 420901 w 3141752"/>
                  <a:gd name="connsiteY45" fmla="*/ 510540 h 3147261"/>
                  <a:gd name="connsiteX46" fmla="*/ 512341 w 3141752"/>
                  <a:gd name="connsiteY46" fmla="*/ 434340 h 3147261"/>
                  <a:gd name="connsiteX47" fmla="*/ 657121 w 3141752"/>
                  <a:gd name="connsiteY47" fmla="*/ 312420 h 3147261"/>
                  <a:gd name="connsiteX48" fmla="*/ 870481 w 3141752"/>
                  <a:gd name="connsiteY48" fmla="*/ 175260 h 3147261"/>
                  <a:gd name="connsiteX49" fmla="*/ 1106701 w 3141752"/>
                  <a:gd name="connsiteY49" fmla="*/ 76200 h 3147261"/>
                  <a:gd name="connsiteX50" fmla="*/ 1243861 w 3141752"/>
                  <a:gd name="connsiteY50" fmla="*/ 38100 h 3147261"/>
                  <a:gd name="connsiteX51" fmla="*/ 1388641 w 3141752"/>
                  <a:gd name="connsiteY51" fmla="*/ 15240 h 3147261"/>
                  <a:gd name="connsiteX52" fmla="*/ 1464841 w 3141752"/>
                  <a:gd name="connsiteY52" fmla="*/ 0 h 3147261"/>
                  <a:gd name="connsiteX53" fmla="*/ 1746781 w 3141752"/>
                  <a:gd name="connsiteY53" fmla="*/ 0 h 3147261"/>
                  <a:gd name="connsiteX54" fmla="*/ 2165881 w 3141752"/>
                  <a:gd name="connsiteY54" fmla="*/ 99060 h 3147261"/>
                  <a:gd name="connsiteX55" fmla="*/ 2341141 w 3141752"/>
                  <a:gd name="connsiteY55" fmla="*/ 182880 h 3147261"/>
                  <a:gd name="connsiteX56" fmla="*/ 2371621 w 3141752"/>
                  <a:gd name="connsiteY56" fmla="*/ 190500 h 3147261"/>
                  <a:gd name="connsiteX0" fmla="*/ 2371621 w 3141752"/>
                  <a:gd name="connsiteY0" fmla="*/ 190500 h 3149938"/>
                  <a:gd name="connsiteX1" fmla="*/ 2493541 w 3141752"/>
                  <a:gd name="connsiteY1" fmla="*/ 297180 h 3149938"/>
                  <a:gd name="connsiteX2" fmla="*/ 2607841 w 3141752"/>
                  <a:gd name="connsiteY2" fmla="*/ 381000 h 3149938"/>
                  <a:gd name="connsiteX3" fmla="*/ 2706901 w 3141752"/>
                  <a:gd name="connsiteY3" fmla="*/ 487680 h 3149938"/>
                  <a:gd name="connsiteX4" fmla="*/ 2729761 w 3141752"/>
                  <a:gd name="connsiteY4" fmla="*/ 510540 h 3149938"/>
                  <a:gd name="connsiteX5" fmla="*/ 2790721 w 3141752"/>
                  <a:gd name="connsiteY5" fmla="*/ 594360 h 3149938"/>
                  <a:gd name="connsiteX6" fmla="*/ 2851681 w 3141752"/>
                  <a:gd name="connsiteY6" fmla="*/ 662940 h 3149938"/>
                  <a:gd name="connsiteX7" fmla="*/ 2874541 w 3141752"/>
                  <a:gd name="connsiteY7" fmla="*/ 701040 h 3149938"/>
                  <a:gd name="connsiteX8" fmla="*/ 2912641 w 3141752"/>
                  <a:gd name="connsiteY8" fmla="*/ 762000 h 3149938"/>
                  <a:gd name="connsiteX9" fmla="*/ 2950741 w 3141752"/>
                  <a:gd name="connsiteY9" fmla="*/ 845820 h 3149938"/>
                  <a:gd name="connsiteX10" fmla="*/ 3011701 w 3141752"/>
                  <a:gd name="connsiteY10" fmla="*/ 998220 h 3149938"/>
                  <a:gd name="connsiteX11" fmla="*/ 3026941 w 3141752"/>
                  <a:gd name="connsiteY11" fmla="*/ 1036320 h 3149938"/>
                  <a:gd name="connsiteX12" fmla="*/ 3034561 w 3141752"/>
                  <a:gd name="connsiteY12" fmla="*/ 1066800 h 3149938"/>
                  <a:gd name="connsiteX13" fmla="*/ 3087901 w 3141752"/>
                  <a:gd name="connsiteY13" fmla="*/ 1181100 h 3149938"/>
                  <a:gd name="connsiteX14" fmla="*/ 3095521 w 3141752"/>
                  <a:gd name="connsiteY14" fmla="*/ 1226820 h 3149938"/>
                  <a:gd name="connsiteX15" fmla="*/ 3103141 w 3141752"/>
                  <a:gd name="connsiteY15" fmla="*/ 1280160 h 3149938"/>
                  <a:gd name="connsiteX16" fmla="*/ 3118381 w 3141752"/>
                  <a:gd name="connsiteY16" fmla="*/ 1371600 h 3149938"/>
                  <a:gd name="connsiteX17" fmla="*/ 3141241 w 3141752"/>
                  <a:gd name="connsiteY17" fmla="*/ 1485900 h 3149938"/>
                  <a:gd name="connsiteX18" fmla="*/ 3133621 w 3141752"/>
                  <a:gd name="connsiteY18" fmla="*/ 1691640 h 3149938"/>
                  <a:gd name="connsiteX19" fmla="*/ 3126001 w 3141752"/>
                  <a:gd name="connsiteY19" fmla="*/ 1767840 h 3149938"/>
                  <a:gd name="connsiteX20" fmla="*/ 3087901 w 3141752"/>
                  <a:gd name="connsiteY20" fmla="*/ 1905000 h 3149938"/>
                  <a:gd name="connsiteX21" fmla="*/ 3080281 w 3141752"/>
                  <a:gd name="connsiteY21" fmla="*/ 1935480 h 3149938"/>
                  <a:gd name="connsiteX22" fmla="*/ 3057421 w 3141752"/>
                  <a:gd name="connsiteY22" fmla="*/ 2019300 h 3149938"/>
                  <a:gd name="connsiteX23" fmla="*/ 2950741 w 3141752"/>
                  <a:gd name="connsiteY23" fmla="*/ 2331720 h 3149938"/>
                  <a:gd name="connsiteX24" fmla="*/ 2927881 w 3141752"/>
                  <a:gd name="connsiteY24" fmla="*/ 2385060 h 3149938"/>
                  <a:gd name="connsiteX25" fmla="*/ 2859301 w 3141752"/>
                  <a:gd name="connsiteY25" fmla="*/ 2499360 h 3149938"/>
                  <a:gd name="connsiteX26" fmla="*/ 2844061 w 3141752"/>
                  <a:gd name="connsiteY26" fmla="*/ 2529840 h 3149938"/>
                  <a:gd name="connsiteX27" fmla="*/ 2836441 w 3141752"/>
                  <a:gd name="connsiteY27" fmla="*/ 2552700 h 3149938"/>
                  <a:gd name="connsiteX28" fmla="*/ 2760241 w 3141752"/>
                  <a:gd name="connsiteY28" fmla="*/ 2636520 h 3149938"/>
                  <a:gd name="connsiteX29" fmla="*/ 2706901 w 3141752"/>
                  <a:gd name="connsiteY29" fmla="*/ 2667000 h 3149938"/>
                  <a:gd name="connsiteX30" fmla="*/ 2303041 w 3141752"/>
                  <a:gd name="connsiteY30" fmla="*/ 2971800 h 3149938"/>
                  <a:gd name="connsiteX31" fmla="*/ 2196361 w 3141752"/>
                  <a:gd name="connsiteY31" fmla="*/ 3025140 h 3149938"/>
                  <a:gd name="connsiteX32" fmla="*/ 2097301 w 3141752"/>
                  <a:gd name="connsiteY32" fmla="*/ 3055620 h 3149938"/>
                  <a:gd name="connsiteX33" fmla="*/ 1800121 w 3141752"/>
                  <a:gd name="connsiteY33" fmla="*/ 3147060 h 3149938"/>
                  <a:gd name="connsiteX34" fmla="*/ 1335301 w 3141752"/>
                  <a:gd name="connsiteY34" fmla="*/ 3108960 h 3149938"/>
                  <a:gd name="connsiteX35" fmla="*/ 794281 w 3141752"/>
                  <a:gd name="connsiteY35" fmla="*/ 2933700 h 3149938"/>
                  <a:gd name="connsiteX36" fmla="*/ 420901 w 3141752"/>
                  <a:gd name="connsiteY36" fmla="*/ 2644140 h 3149938"/>
                  <a:gd name="connsiteX37" fmla="*/ 298981 w 3141752"/>
                  <a:gd name="connsiteY37" fmla="*/ 2499360 h 3149938"/>
                  <a:gd name="connsiteX38" fmla="*/ 184681 w 3141752"/>
                  <a:gd name="connsiteY38" fmla="*/ 2308860 h 3149938"/>
                  <a:gd name="connsiteX39" fmla="*/ 39901 w 3141752"/>
                  <a:gd name="connsiteY39" fmla="*/ 1943100 h 3149938"/>
                  <a:gd name="connsiteX40" fmla="*/ 1801 w 3141752"/>
                  <a:gd name="connsiteY40" fmla="*/ 1562100 h 3149938"/>
                  <a:gd name="connsiteX41" fmla="*/ 55141 w 3141752"/>
                  <a:gd name="connsiteY41" fmla="*/ 1135380 h 3149938"/>
                  <a:gd name="connsiteX42" fmla="*/ 161821 w 3141752"/>
                  <a:gd name="connsiteY42" fmla="*/ 861060 h 3149938"/>
                  <a:gd name="connsiteX43" fmla="*/ 260881 w 3141752"/>
                  <a:gd name="connsiteY43" fmla="*/ 708660 h 3149938"/>
                  <a:gd name="connsiteX44" fmla="*/ 420901 w 3141752"/>
                  <a:gd name="connsiteY44" fmla="*/ 510540 h 3149938"/>
                  <a:gd name="connsiteX45" fmla="*/ 512341 w 3141752"/>
                  <a:gd name="connsiteY45" fmla="*/ 434340 h 3149938"/>
                  <a:gd name="connsiteX46" fmla="*/ 657121 w 3141752"/>
                  <a:gd name="connsiteY46" fmla="*/ 312420 h 3149938"/>
                  <a:gd name="connsiteX47" fmla="*/ 870481 w 3141752"/>
                  <a:gd name="connsiteY47" fmla="*/ 175260 h 3149938"/>
                  <a:gd name="connsiteX48" fmla="*/ 1106701 w 3141752"/>
                  <a:gd name="connsiteY48" fmla="*/ 76200 h 3149938"/>
                  <a:gd name="connsiteX49" fmla="*/ 1243861 w 3141752"/>
                  <a:gd name="connsiteY49" fmla="*/ 38100 h 3149938"/>
                  <a:gd name="connsiteX50" fmla="*/ 1388641 w 3141752"/>
                  <a:gd name="connsiteY50" fmla="*/ 15240 h 3149938"/>
                  <a:gd name="connsiteX51" fmla="*/ 1464841 w 3141752"/>
                  <a:gd name="connsiteY51" fmla="*/ 0 h 3149938"/>
                  <a:gd name="connsiteX52" fmla="*/ 1746781 w 3141752"/>
                  <a:gd name="connsiteY52" fmla="*/ 0 h 3149938"/>
                  <a:gd name="connsiteX53" fmla="*/ 2165881 w 3141752"/>
                  <a:gd name="connsiteY53" fmla="*/ 99060 h 3149938"/>
                  <a:gd name="connsiteX54" fmla="*/ 2341141 w 3141752"/>
                  <a:gd name="connsiteY54" fmla="*/ 182880 h 3149938"/>
                  <a:gd name="connsiteX55" fmla="*/ 2371621 w 3141752"/>
                  <a:gd name="connsiteY55" fmla="*/ 190500 h 3149938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844061 w 3141752"/>
                  <a:gd name="connsiteY26" fmla="*/ 2529840 h 3131365"/>
                  <a:gd name="connsiteX27" fmla="*/ 2836441 w 3141752"/>
                  <a:gd name="connsiteY27" fmla="*/ 2552700 h 3131365"/>
                  <a:gd name="connsiteX28" fmla="*/ 2760241 w 3141752"/>
                  <a:gd name="connsiteY28" fmla="*/ 2636520 h 3131365"/>
                  <a:gd name="connsiteX29" fmla="*/ 2706901 w 3141752"/>
                  <a:gd name="connsiteY29" fmla="*/ 2667000 h 3131365"/>
                  <a:gd name="connsiteX30" fmla="*/ 2303041 w 3141752"/>
                  <a:gd name="connsiteY30" fmla="*/ 2971800 h 3131365"/>
                  <a:gd name="connsiteX31" fmla="*/ 2196361 w 3141752"/>
                  <a:gd name="connsiteY31" fmla="*/ 3025140 h 3131365"/>
                  <a:gd name="connsiteX32" fmla="*/ 2097301 w 3141752"/>
                  <a:gd name="connsiteY32" fmla="*/ 3055620 h 3131365"/>
                  <a:gd name="connsiteX33" fmla="*/ 1809646 w 3141752"/>
                  <a:gd name="connsiteY33" fmla="*/ 3123247 h 3131365"/>
                  <a:gd name="connsiteX34" fmla="*/ 1335301 w 3141752"/>
                  <a:gd name="connsiteY34" fmla="*/ 3108960 h 3131365"/>
                  <a:gd name="connsiteX35" fmla="*/ 794281 w 3141752"/>
                  <a:gd name="connsiteY35" fmla="*/ 2933700 h 3131365"/>
                  <a:gd name="connsiteX36" fmla="*/ 420901 w 3141752"/>
                  <a:gd name="connsiteY36" fmla="*/ 2644140 h 3131365"/>
                  <a:gd name="connsiteX37" fmla="*/ 298981 w 3141752"/>
                  <a:gd name="connsiteY37" fmla="*/ 2499360 h 3131365"/>
                  <a:gd name="connsiteX38" fmla="*/ 184681 w 3141752"/>
                  <a:gd name="connsiteY38" fmla="*/ 2308860 h 3131365"/>
                  <a:gd name="connsiteX39" fmla="*/ 39901 w 3141752"/>
                  <a:gd name="connsiteY39" fmla="*/ 1943100 h 3131365"/>
                  <a:gd name="connsiteX40" fmla="*/ 1801 w 3141752"/>
                  <a:gd name="connsiteY40" fmla="*/ 1562100 h 3131365"/>
                  <a:gd name="connsiteX41" fmla="*/ 55141 w 3141752"/>
                  <a:gd name="connsiteY41" fmla="*/ 1135380 h 3131365"/>
                  <a:gd name="connsiteX42" fmla="*/ 161821 w 3141752"/>
                  <a:gd name="connsiteY42" fmla="*/ 861060 h 3131365"/>
                  <a:gd name="connsiteX43" fmla="*/ 260881 w 3141752"/>
                  <a:gd name="connsiteY43" fmla="*/ 708660 h 3131365"/>
                  <a:gd name="connsiteX44" fmla="*/ 420901 w 3141752"/>
                  <a:gd name="connsiteY44" fmla="*/ 510540 h 3131365"/>
                  <a:gd name="connsiteX45" fmla="*/ 512341 w 3141752"/>
                  <a:gd name="connsiteY45" fmla="*/ 434340 h 3131365"/>
                  <a:gd name="connsiteX46" fmla="*/ 657121 w 3141752"/>
                  <a:gd name="connsiteY46" fmla="*/ 312420 h 3131365"/>
                  <a:gd name="connsiteX47" fmla="*/ 870481 w 3141752"/>
                  <a:gd name="connsiteY47" fmla="*/ 175260 h 3131365"/>
                  <a:gd name="connsiteX48" fmla="*/ 1106701 w 3141752"/>
                  <a:gd name="connsiteY48" fmla="*/ 76200 h 3131365"/>
                  <a:gd name="connsiteX49" fmla="*/ 1243861 w 3141752"/>
                  <a:gd name="connsiteY49" fmla="*/ 38100 h 3131365"/>
                  <a:gd name="connsiteX50" fmla="*/ 1388641 w 3141752"/>
                  <a:gd name="connsiteY50" fmla="*/ 15240 h 3131365"/>
                  <a:gd name="connsiteX51" fmla="*/ 1464841 w 3141752"/>
                  <a:gd name="connsiteY51" fmla="*/ 0 h 3131365"/>
                  <a:gd name="connsiteX52" fmla="*/ 1746781 w 3141752"/>
                  <a:gd name="connsiteY52" fmla="*/ 0 h 3131365"/>
                  <a:gd name="connsiteX53" fmla="*/ 2165881 w 3141752"/>
                  <a:gd name="connsiteY53" fmla="*/ 99060 h 3131365"/>
                  <a:gd name="connsiteX54" fmla="*/ 2341141 w 3141752"/>
                  <a:gd name="connsiteY54" fmla="*/ 182880 h 3131365"/>
                  <a:gd name="connsiteX55" fmla="*/ 2371621 w 3141752"/>
                  <a:gd name="connsiteY55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844061 w 3141752"/>
                  <a:gd name="connsiteY26" fmla="*/ 2529840 h 3131365"/>
                  <a:gd name="connsiteX27" fmla="*/ 2836441 w 3141752"/>
                  <a:gd name="connsiteY27" fmla="*/ 2552700 h 3131365"/>
                  <a:gd name="connsiteX28" fmla="*/ 2760241 w 3141752"/>
                  <a:gd name="connsiteY28" fmla="*/ 2636520 h 3131365"/>
                  <a:gd name="connsiteX29" fmla="*/ 2706901 w 3141752"/>
                  <a:gd name="connsiteY29" fmla="*/ 2667000 h 3131365"/>
                  <a:gd name="connsiteX30" fmla="*/ 2303041 w 3141752"/>
                  <a:gd name="connsiteY30" fmla="*/ 2971800 h 3131365"/>
                  <a:gd name="connsiteX31" fmla="*/ 2097301 w 3141752"/>
                  <a:gd name="connsiteY31" fmla="*/ 3055620 h 3131365"/>
                  <a:gd name="connsiteX32" fmla="*/ 1809646 w 3141752"/>
                  <a:gd name="connsiteY32" fmla="*/ 3123247 h 3131365"/>
                  <a:gd name="connsiteX33" fmla="*/ 1335301 w 3141752"/>
                  <a:gd name="connsiteY33" fmla="*/ 3108960 h 3131365"/>
                  <a:gd name="connsiteX34" fmla="*/ 794281 w 3141752"/>
                  <a:gd name="connsiteY34" fmla="*/ 2933700 h 3131365"/>
                  <a:gd name="connsiteX35" fmla="*/ 420901 w 3141752"/>
                  <a:gd name="connsiteY35" fmla="*/ 2644140 h 3131365"/>
                  <a:gd name="connsiteX36" fmla="*/ 298981 w 3141752"/>
                  <a:gd name="connsiteY36" fmla="*/ 2499360 h 3131365"/>
                  <a:gd name="connsiteX37" fmla="*/ 184681 w 3141752"/>
                  <a:gd name="connsiteY37" fmla="*/ 2308860 h 3131365"/>
                  <a:gd name="connsiteX38" fmla="*/ 39901 w 3141752"/>
                  <a:gd name="connsiteY38" fmla="*/ 1943100 h 3131365"/>
                  <a:gd name="connsiteX39" fmla="*/ 1801 w 3141752"/>
                  <a:gd name="connsiteY39" fmla="*/ 1562100 h 3131365"/>
                  <a:gd name="connsiteX40" fmla="*/ 55141 w 3141752"/>
                  <a:gd name="connsiteY40" fmla="*/ 1135380 h 3131365"/>
                  <a:gd name="connsiteX41" fmla="*/ 161821 w 3141752"/>
                  <a:gd name="connsiteY41" fmla="*/ 861060 h 3131365"/>
                  <a:gd name="connsiteX42" fmla="*/ 260881 w 3141752"/>
                  <a:gd name="connsiteY42" fmla="*/ 708660 h 3131365"/>
                  <a:gd name="connsiteX43" fmla="*/ 420901 w 3141752"/>
                  <a:gd name="connsiteY43" fmla="*/ 510540 h 3131365"/>
                  <a:gd name="connsiteX44" fmla="*/ 512341 w 3141752"/>
                  <a:gd name="connsiteY44" fmla="*/ 434340 h 3131365"/>
                  <a:gd name="connsiteX45" fmla="*/ 657121 w 3141752"/>
                  <a:gd name="connsiteY45" fmla="*/ 312420 h 3131365"/>
                  <a:gd name="connsiteX46" fmla="*/ 870481 w 3141752"/>
                  <a:gd name="connsiteY46" fmla="*/ 175260 h 3131365"/>
                  <a:gd name="connsiteX47" fmla="*/ 1106701 w 3141752"/>
                  <a:gd name="connsiteY47" fmla="*/ 76200 h 3131365"/>
                  <a:gd name="connsiteX48" fmla="*/ 1243861 w 3141752"/>
                  <a:gd name="connsiteY48" fmla="*/ 38100 h 3131365"/>
                  <a:gd name="connsiteX49" fmla="*/ 1388641 w 3141752"/>
                  <a:gd name="connsiteY49" fmla="*/ 15240 h 3131365"/>
                  <a:gd name="connsiteX50" fmla="*/ 1464841 w 3141752"/>
                  <a:gd name="connsiteY50" fmla="*/ 0 h 3131365"/>
                  <a:gd name="connsiteX51" fmla="*/ 1746781 w 3141752"/>
                  <a:gd name="connsiteY51" fmla="*/ 0 h 3131365"/>
                  <a:gd name="connsiteX52" fmla="*/ 2165881 w 3141752"/>
                  <a:gd name="connsiteY52" fmla="*/ 99060 h 3131365"/>
                  <a:gd name="connsiteX53" fmla="*/ 2341141 w 3141752"/>
                  <a:gd name="connsiteY53" fmla="*/ 182880 h 3131365"/>
                  <a:gd name="connsiteX54" fmla="*/ 2371621 w 3141752"/>
                  <a:gd name="connsiteY54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844061 w 3141752"/>
                  <a:gd name="connsiteY26" fmla="*/ 2529840 h 3131365"/>
                  <a:gd name="connsiteX27" fmla="*/ 2836441 w 3141752"/>
                  <a:gd name="connsiteY27" fmla="*/ 2552700 h 3131365"/>
                  <a:gd name="connsiteX28" fmla="*/ 2706901 w 3141752"/>
                  <a:gd name="connsiteY28" fmla="*/ 2667000 h 3131365"/>
                  <a:gd name="connsiteX29" fmla="*/ 2303041 w 3141752"/>
                  <a:gd name="connsiteY29" fmla="*/ 2971800 h 3131365"/>
                  <a:gd name="connsiteX30" fmla="*/ 2097301 w 3141752"/>
                  <a:gd name="connsiteY30" fmla="*/ 3055620 h 3131365"/>
                  <a:gd name="connsiteX31" fmla="*/ 1809646 w 3141752"/>
                  <a:gd name="connsiteY31" fmla="*/ 3123247 h 3131365"/>
                  <a:gd name="connsiteX32" fmla="*/ 1335301 w 3141752"/>
                  <a:gd name="connsiteY32" fmla="*/ 3108960 h 3131365"/>
                  <a:gd name="connsiteX33" fmla="*/ 794281 w 3141752"/>
                  <a:gd name="connsiteY33" fmla="*/ 2933700 h 3131365"/>
                  <a:gd name="connsiteX34" fmla="*/ 420901 w 3141752"/>
                  <a:gd name="connsiteY34" fmla="*/ 2644140 h 3131365"/>
                  <a:gd name="connsiteX35" fmla="*/ 298981 w 3141752"/>
                  <a:gd name="connsiteY35" fmla="*/ 2499360 h 3131365"/>
                  <a:gd name="connsiteX36" fmla="*/ 184681 w 3141752"/>
                  <a:gd name="connsiteY36" fmla="*/ 2308860 h 3131365"/>
                  <a:gd name="connsiteX37" fmla="*/ 39901 w 3141752"/>
                  <a:gd name="connsiteY37" fmla="*/ 1943100 h 3131365"/>
                  <a:gd name="connsiteX38" fmla="*/ 1801 w 3141752"/>
                  <a:gd name="connsiteY38" fmla="*/ 1562100 h 3131365"/>
                  <a:gd name="connsiteX39" fmla="*/ 55141 w 3141752"/>
                  <a:gd name="connsiteY39" fmla="*/ 1135380 h 3131365"/>
                  <a:gd name="connsiteX40" fmla="*/ 161821 w 3141752"/>
                  <a:gd name="connsiteY40" fmla="*/ 861060 h 3131365"/>
                  <a:gd name="connsiteX41" fmla="*/ 260881 w 3141752"/>
                  <a:gd name="connsiteY41" fmla="*/ 708660 h 3131365"/>
                  <a:gd name="connsiteX42" fmla="*/ 420901 w 3141752"/>
                  <a:gd name="connsiteY42" fmla="*/ 510540 h 3131365"/>
                  <a:gd name="connsiteX43" fmla="*/ 512341 w 3141752"/>
                  <a:gd name="connsiteY43" fmla="*/ 434340 h 3131365"/>
                  <a:gd name="connsiteX44" fmla="*/ 657121 w 3141752"/>
                  <a:gd name="connsiteY44" fmla="*/ 312420 h 3131365"/>
                  <a:gd name="connsiteX45" fmla="*/ 870481 w 3141752"/>
                  <a:gd name="connsiteY45" fmla="*/ 175260 h 3131365"/>
                  <a:gd name="connsiteX46" fmla="*/ 1106701 w 3141752"/>
                  <a:gd name="connsiteY46" fmla="*/ 76200 h 3131365"/>
                  <a:gd name="connsiteX47" fmla="*/ 1243861 w 3141752"/>
                  <a:gd name="connsiteY47" fmla="*/ 38100 h 3131365"/>
                  <a:gd name="connsiteX48" fmla="*/ 1388641 w 3141752"/>
                  <a:gd name="connsiteY48" fmla="*/ 15240 h 3131365"/>
                  <a:gd name="connsiteX49" fmla="*/ 1464841 w 3141752"/>
                  <a:gd name="connsiteY49" fmla="*/ 0 h 3131365"/>
                  <a:gd name="connsiteX50" fmla="*/ 1746781 w 3141752"/>
                  <a:gd name="connsiteY50" fmla="*/ 0 h 3131365"/>
                  <a:gd name="connsiteX51" fmla="*/ 2165881 w 3141752"/>
                  <a:gd name="connsiteY51" fmla="*/ 99060 h 3131365"/>
                  <a:gd name="connsiteX52" fmla="*/ 2341141 w 3141752"/>
                  <a:gd name="connsiteY52" fmla="*/ 182880 h 3131365"/>
                  <a:gd name="connsiteX53" fmla="*/ 2371621 w 3141752"/>
                  <a:gd name="connsiteY53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844061 w 3141752"/>
                  <a:gd name="connsiteY26" fmla="*/ 2529840 h 3131365"/>
                  <a:gd name="connsiteX27" fmla="*/ 2706901 w 3141752"/>
                  <a:gd name="connsiteY27" fmla="*/ 2667000 h 3131365"/>
                  <a:gd name="connsiteX28" fmla="*/ 2303041 w 3141752"/>
                  <a:gd name="connsiteY28" fmla="*/ 2971800 h 3131365"/>
                  <a:gd name="connsiteX29" fmla="*/ 2097301 w 3141752"/>
                  <a:gd name="connsiteY29" fmla="*/ 3055620 h 3131365"/>
                  <a:gd name="connsiteX30" fmla="*/ 1809646 w 3141752"/>
                  <a:gd name="connsiteY30" fmla="*/ 3123247 h 3131365"/>
                  <a:gd name="connsiteX31" fmla="*/ 1335301 w 3141752"/>
                  <a:gd name="connsiteY31" fmla="*/ 3108960 h 3131365"/>
                  <a:gd name="connsiteX32" fmla="*/ 794281 w 3141752"/>
                  <a:gd name="connsiteY32" fmla="*/ 2933700 h 3131365"/>
                  <a:gd name="connsiteX33" fmla="*/ 420901 w 3141752"/>
                  <a:gd name="connsiteY33" fmla="*/ 2644140 h 3131365"/>
                  <a:gd name="connsiteX34" fmla="*/ 298981 w 3141752"/>
                  <a:gd name="connsiteY34" fmla="*/ 2499360 h 3131365"/>
                  <a:gd name="connsiteX35" fmla="*/ 184681 w 3141752"/>
                  <a:gd name="connsiteY35" fmla="*/ 2308860 h 3131365"/>
                  <a:gd name="connsiteX36" fmla="*/ 39901 w 3141752"/>
                  <a:gd name="connsiteY36" fmla="*/ 1943100 h 3131365"/>
                  <a:gd name="connsiteX37" fmla="*/ 1801 w 3141752"/>
                  <a:gd name="connsiteY37" fmla="*/ 1562100 h 3131365"/>
                  <a:gd name="connsiteX38" fmla="*/ 55141 w 3141752"/>
                  <a:gd name="connsiteY38" fmla="*/ 1135380 h 3131365"/>
                  <a:gd name="connsiteX39" fmla="*/ 161821 w 3141752"/>
                  <a:gd name="connsiteY39" fmla="*/ 861060 h 3131365"/>
                  <a:gd name="connsiteX40" fmla="*/ 260881 w 3141752"/>
                  <a:gd name="connsiteY40" fmla="*/ 708660 h 3131365"/>
                  <a:gd name="connsiteX41" fmla="*/ 420901 w 3141752"/>
                  <a:gd name="connsiteY41" fmla="*/ 510540 h 3131365"/>
                  <a:gd name="connsiteX42" fmla="*/ 512341 w 3141752"/>
                  <a:gd name="connsiteY42" fmla="*/ 434340 h 3131365"/>
                  <a:gd name="connsiteX43" fmla="*/ 657121 w 3141752"/>
                  <a:gd name="connsiteY43" fmla="*/ 312420 h 3131365"/>
                  <a:gd name="connsiteX44" fmla="*/ 870481 w 3141752"/>
                  <a:gd name="connsiteY44" fmla="*/ 175260 h 3131365"/>
                  <a:gd name="connsiteX45" fmla="*/ 1106701 w 3141752"/>
                  <a:gd name="connsiteY45" fmla="*/ 76200 h 3131365"/>
                  <a:gd name="connsiteX46" fmla="*/ 1243861 w 3141752"/>
                  <a:gd name="connsiteY46" fmla="*/ 38100 h 3131365"/>
                  <a:gd name="connsiteX47" fmla="*/ 1388641 w 3141752"/>
                  <a:gd name="connsiteY47" fmla="*/ 15240 h 3131365"/>
                  <a:gd name="connsiteX48" fmla="*/ 1464841 w 3141752"/>
                  <a:gd name="connsiteY48" fmla="*/ 0 h 3131365"/>
                  <a:gd name="connsiteX49" fmla="*/ 1746781 w 3141752"/>
                  <a:gd name="connsiteY49" fmla="*/ 0 h 3131365"/>
                  <a:gd name="connsiteX50" fmla="*/ 2165881 w 3141752"/>
                  <a:gd name="connsiteY50" fmla="*/ 99060 h 3131365"/>
                  <a:gd name="connsiteX51" fmla="*/ 2341141 w 3141752"/>
                  <a:gd name="connsiteY51" fmla="*/ 182880 h 3131365"/>
                  <a:gd name="connsiteX52" fmla="*/ 2371621 w 3141752"/>
                  <a:gd name="connsiteY52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927881 w 3141752"/>
                  <a:gd name="connsiteY24" fmla="*/ 2385060 h 3131365"/>
                  <a:gd name="connsiteX25" fmla="*/ 2859301 w 3141752"/>
                  <a:gd name="connsiteY25" fmla="*/ 2499360 h 3131365"/>
                  <a:gd name="connsiteX26" fmla="*/ 2706901 w 3141752"/>
                  <a:gd name="connsiteY26" fmla="*/ 2667000 h 3131365"/>
                  <a:gd name="connsiteX27" fmla="*/ 2303041 w 3141752"/>
                  <a:gd name="connsiteY27" fmla="*/ 2971800 h 3131365"/>
                  <a:gd name="connsiteX28" fmla="*/ 2097301 w 3141752"/>
                  <a:gd name="connsiteY28" fmla="*/ 3055620 h 3131365"/>
                  <a:gd name="connsiteX29" fmla="*/ 1809646 w 3141752"/>
                  <a:gd name="connsiteY29" fmla="*/ 3123247 h 3131365"/>
                  <a:gd name="connsiteX30" fmla="*/ 1335301 w 3141752"/>
                  <a:gd name="connsiteY30" fmla="*/ 3108960 h 3131365"/>
                  <a:gd name="connsiteX31" fmla="*/ 794281 w 3141752"/>
                  <a:gd name="connsiteY31" fmla="*/ 2933700 h 3131365"/>
                  <a:gd name="connsiteX32" fmla="*/ 420901 w 3141752"/>
                  <a:gd name="connsiteY32" fmla="*/ 2644140 h 3131365"/>
                  <a:gd name="connsiteX33" fmla="*/ 298981 w 3141752"/>
                  <a:gd name="connsiteY33" fmla="*/ 2499360 h 3131365"/>
                  <a:gd name="connsiteX34" fmla="*/ 184681 w 3141752"/>
                  <a:gd name="connsiteY34" fmla="*/ 2308860 h 3131365"/>
                  <a:gd name="connsiteX35" fmla="*/ 39901 w 3141752"/>
                  <a:gd name="connsiteY35" fmla="*/ 1943100 h 3131365"/>
                  <a:gd name="connsiteX36" fmla="*/ 1801 w 3141752"/>
                  <a:gd name="connsiteY36" fmla="*/ 1562100 h 3131365"/>
                  <a:gd name="connsiteX37" fmla="*/ 55141 w 3141752"/>
                  <a:gd name="connsiteY37" fmla="*/ 1135380 h 3131365"/>
                  <a:gd name="connsiteX38" fmla="*/ 161821 w 3141752"/>
                  <a:gd name="connsiteY38" fmla="*/ 861060 h 3131365"/>
                  <a:gd name="connsiteX39" fmla="*/ 260881 w 3141752"/>
                  <a:gd name="connsiteY39" fmla="*/ 708660 h 3131365"/>
                  <a:gd name="connsiteX40" fmla="*/ 420901 w 3141752"/>
                  <a:gd name="connsiteY40" fmla="*/ 510540 h 3131365"/>
                  <a:gd name="connsiteX41" fmla="*/ 512341 w 3141752"/>
                  <a:gd name="connsiteY41" fmla="*/ 434340 h 3131365"/>
                  <a:gd name="connsiteX42" fmla="*/ 657121 w 3141752"/>
                  <a:gd name="connsiteY42" fmla="*/ 312420 h 3131365"/>
                  <a:gd name="connsiteX43" fmla="*/ 870481 w 3141752"/>
                  <a:gd name="connsiteY43" fmla="*/ 175260 h 3131365"/>
                  <a:gd name="connsiteX44" fmla="*/ 1106701 w 3141752"/>
                  <a:gd name="connsiteY44" fmla="*/ 76200 h 3131365"/>
                  <a:gd name="connsiteX45" fmla="*/ 1243861 w 3141752"/>
                  <a:gd name="connsiteY45" fmla="*/ 38100 h 3131365"/>
                  <a:gd name="connsiteX46" fmla="*/ 1388641 w 3141752"/>
                  <a:gd name="connsiteY46" fmla="*/ 15240 h 3131365"/>
                  <a:gd name="connsiteX47" fmla="*/ 1464841 w 3141752"/>
                  <a:gd name="connsiteY47" fmla="*/ 0 h 3131365"/>
                  <a:gd name="connsiteX48" fmla="*/ 1746781 w 3141752"/>
                  <a:gd name="connsiteY48" fmla="*/ 0 h 3131365"/>
                  <a:gd name="connsiteX49" fmla="*/ 2165881 w 3141752"/>
                  <a:gd name="connsiteY49" fmla="*/ 99060 h 3131365"/>
                  <a:gd name="connsiteX50" fmla="*/ 2341141 w 3141752"/>
                  <a:gd name="connsiteY50" fmla="*/ 182880 h 3131365"/>
                  <a:gd name="connsiteX51" fmla="*/ 2371621 w 3141752"/>
                  <a:gd name="connsiteY51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859301 w 3141752"/>
                  <a:gd name="connsiteY24" fmla="*/ 2499360 h 3131365"/>
                  <a:gd name="connsiteX25" fmla="*/ 2706901 w 3141752"/>
                  <a:gd name="connsiteY25" fmla="*/ 2667000 h 3131365"/>
                  <a:gd name="connsiteX26" fmla="*/ 2303041 w 3141752"/>
                  <a:gd name="connsiteY26" fmla="*/ 2971800 h 3131365"/>
                  <a:gd name="connsiteX27" fmla="*/ 2097301 w 3141752"/>
                  <a:gd name="connsiteY27" fmla="*/ 3055620 h 3131365"/>
                  <a:gd name="connsiteX28" fmla="*/ 1809646 w 3141752"/>
                  <a:gd name="connsiteY28" fmla="*/ 3123247 h 3131365"/>
                  <a:gd name="connsiteX29" fmla="*/ 1335301 w 3141752"/>
                  <a:gd name="connsiteY29" fmla="*/ 3108960 h 3131365"/>
                  <a:gd name="connsiteX30" fmla="*/ 794281 w 3141752"/>
                  <a:gd name="connsiteY30" fmla="*/ 2933700 h 3131365"/>
                  <a:gd name="connsiteX31" fmla="*/ 420901 w 3141752"/>
                  <a:gd name="connsiteY31" fmla="*/ 2644140 h 3131365"/>
                  <a:gd name="connsiteX32" fmla="*/ 298981 w 3141752"/>
                  <a:gd name="connsiteY32" fmla="*/ 2499360 h 3131365"/>
                  <a:gd name="connsiteX33" fmla="*/ 184681 w 3141752"/>
                  <a:gd name="connsiteY33" fmla="*/ 2308860 h 3131365"/>
                  <a:gd name="connsiteX34" fmla="*/ 39901 w 3141752"/>
                  <a:gd name="connsiteY34" fmla="*/ 1943100 h 3131365"/>
                  <a:gd name="connsiteX35" fmla="*/ 1801 w 3141752"/>
                  <a:gd name="connsiteY35" fmla="*/ 1562100 h 3131365"/>
                  <a:gd name="connsiteX36" fmla="*/ 55141 w 3141752"/>
                  <a:gd name="connsiteY36" fmla="*/ 1135380 h 3131365"/>
                  <a:gd name="connsiteX37" fmla="*/ 161821 w 3141752"/>
                  <a:gd name="connsiteY37" fmla="*/ 861060 h 3131365"/>
                  <a:gd name="connsiteX38" fmla="*/ 260881 w 3141752"/>
                  <a:gd name="connsiteY38" fmla="*/ 708660 h 3131365"/>
                  <a:gd name="connsiteX39" fmla="*/ 420901 w 3141752"/>
                  <a:gd name="connsiteY39" fmla="*/ 510540 h 3131365"/>
                  <a:gd name="connsiteX40" fmla="*/ 512341 w 3141752"/>
                  <a:gd name="connsiteY40" fmla="*/ 434340 h 3131365"/>
                  <a:gd name="connsiteX41" fmla="*/ 657121 w 3141752"/>
                  <a:gd name="connsiteY41" fmla="*/ 312420 h 3131365"/>
                  <a:gd name="connsiteX42" fmla="*/ 870481 w 3141752"/>
                  <a:gd name="connsiteY42" fmla="*/ 175260 h 3131365"/>
                  <a:gd name="connsiteX43" fmla="*/ 1106701 w 3141752"/>
                  <a:gd name="connsiteY43" fmla="*/ 76200 h 3131365"/>
                  <a:gd name="connsiteX44" fmla="*/ 1243861 w 3141752"/>
                  <a:gd name="connsiteY44" fmla="*/ 38100 h 3131365"/>
                  <a:gd name="connsiteX45" fmla="*/ 1388641 w 3141752"/>
                  <a:gd name="connsiteY45" fmla="*/ 15240 h 3131365"/>
                  <a:gd name="connsiteX46" fmla="*/ 1464841 w 3141752"/>
                  <a:gd name="connsiteY46" fmla="*/ 0 h 3131365"/>
                  <a:gd name="connsiteX47" fmla="*/ 1746781 w 3141752"/>
                  <a:gd name="connsiteY47" fmla="*/ 0 h 3131365"/>
                  <a:gd name="connsiteX48" fmla="*/ 2165881 w 3141752"/>
                  <a:gd name="connsiteY48" fmla="*/ 99060 h 3131365"/>
                  <a:gd name="connsiteX49" fmla="*/ 2341141 w 3141752"/>
                  <a:gd name="connsiteY49" fmla="*/ 182880 h 3131365"/>
                  <a:gd name="connsiteX50" fmla="*/ 2371621 w 3141752"/>
                  <a:gd name="connsiteY50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80281 w 3141752"/>
                  <a:gd name="connsiteY21" fmla="*/ 1935480 h 3131365"/>
                  <a:gd name="connsiteX22" fmla="*/ 3057421 w 3141752"/>
                  <a:gd name="connsiteY22" fmla="*/ 2019300 h 3131365"/>
                  <a:gd name="connsiteX23" fmla="*/ 2950741 w 3141752"/>
                  <a:gd name="connsiteY23" fmla="*/ 2331720 h 3131365"/>
                  <a:gd name="connsiteX24" fmla="*/ 2845014 w 3141752"/>
                  <a:gd name="connsiteY24" fmla="*/ 2504122 h 3131365"/>
                  <a:gd name="connsiteX25" fmla="*/ 2706901 w 3141752"/>
                  <a:gd name="connsiteY25" fmla="*/ 2667000 h 3131365"/>
                  <a:gd name="connsiteX26" fmla="*/ 2303041 w 3141752"/>
                  <a:gd name="connsiteY26" fmla="*/ 2971800 h 3131365"/>
                  <a:gd name="connsiteX27" fmla="*/ 2097301 w 3141752"/>
                  <a:gd name="connsiteY27" fmla="*/ 3055620 h 3131365"/>
                  <a:gd name="connsiteX28" fmla="*/ 1809646 w 3141752"/>
                  <a:gd name="connsiteY28" fmla="*/ 3123247 h 3131365"/>
                  <a:gd name="connsiteX29" fmla="*/ 1335301 w 3141752"/>
                  <a:gd name="connsiteY29" fmla="*/ 3108960 h 3131365"/>
                  <a:gd name="connsiteX30" fmla="*/ 794281 w 3141752"/>
                  <a:gd name="connsiteY30" fmla="*/ 2933700 h 3131365"/>
                  <a:gd name="connsiteX31" fmla="*/ 420901 w 3141752"/>
                  <a:gd name="connsiteY31" fmla="*/ 2644140 h 3131365"/>
                  <a:gd name="connsiteX32" fmla="*/ 298981 w 3141752"/>
                  <a:gd name="connsiteY32" fmla="*/ 2499360 h 3131365"/>
                  <a:gd name="connsiteX33" fmla="*/ 184681 w 3141752"/>
                  <a:gd name="connsiteY33" fmla="*/ 2308860 h 3131365"/>
                  <a:gd name="connsiteX34" fmla="*/ 39901 w 3141752"/>
                  <a:gd name="connsiteY34" fmla="*/ 1943100 h 3131365"/>
                  <a:gd name="connsiteX35" fmla="*/ 1801 w 3141752"/>
                  <a:gd name="connsiteY35" fmla="*/ 1562100 h 3131365"/>
                  <a:gd name="connsiteX36" fmla="*/ 55141 w 3141752"/>
                  <a:gd name="connsiteY36" fmla="*/ 1135380 h 3131365"/>
                  <a:gd name="connsiteX37" fmla="*/ 161821 w 3141752"/>
                  <a:gd name="connsiteY37" fmla="*/ 861060 h 3131365"/>
                  <a:gd name="connsiteX38" fmla="*/ 260881 w 3141752"/>
                  <a:gd name="connsiteY38" fmla="*/ 708660 h 3131365"/>
                  <a:gd name="connsiteX39" fmla="*/ 420901 w 3141752"/>
                  <a:gd name="connsiteY39" fmla="*/ 510540 h 3131365"/>
                  <a:gd name="connsiteX40" fmla="*/ 512341 w 3141752"/>
                  <a:gd name="connsiteY40" fmla="*/ 434340 h 3131365"/>
                  <a:gd name="connsiteX41" fmla="*/ 657121 w 3141752"/>
                  <a:gd name="connsiteY41" fmla="*/ 312420 h 3131365"/>
                  <a:gd name="connsiteX42" fmla="*/ 870481 w 3141752"/>
                  <a:gd name="connsiteY42" fmla="*/ 175260 h 3131365"/>
                  <a:gd name="connsiteX43" fmla="*/ 1106701 w 3141752"/>
                  <a:gd name="connsiteY43" fmla="*/ 76200 h 3131365"/>
                  <a:gd name="connsiteX44" fmla="*/ 1243861 w 3141752"/>
                  <a:gd name="connsiteY44" fmla="*/ 38100 h 3131365"/>
                  <a:gd name="connsiteX45" fmla="*/ 1388641 w 3141752"/>
                  <a:gd name="connsiteY45" fmla="*/ 15240 h 3131365"/>
                  <a:gd name="connsiteX46" fmla="*/ 1464841 w 3141752"/>
                  <a:gd name="connsiteY46" fmla="*/ 0 h 3131365"/>
                  <a:gd name="connsiteX47" fmla="*/ 1746781 w 3141752"/>
                  <a:gd name="connsiteY47" fmla="*/ 0 h 3131365"/>
                  <a:gd name="connsiteX48" fmla="*/ 2165881 w 3141752"/>
                  <a:gd name="connsiteY48" fmla="*/ 99060 h 3131365"/>
                  <a:gd name="connsiteX49" fmla="*/ 2341141 w 3141752"/>
                  <a:gd name="connsiteY49" fmla="*/ 182880 h 3131365"/>
                  <a:gd name="connsiteX50" fmla="*/ 2371621 w 3141752"/>
                  <a:gd name="connsiteY50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87901 w 3141752"/>
                  <a:gd name="connsiteY20" fmla="*/ 1905000 h 3131365"/>
                  <a:gd name="connsiteX21" fmla="*/ 3057421 w 3141752"/>
                  <a:gd name="connsiteY21" fmla="*/ 2019300 h 3131365"/>
                  <a:gd name="connsiteX22" fmla="*/ 2950741 w 3141752"/>
                  <a:gd name="connsiteY22" fmla="*/ 2331720 h 3131365"/>
                  <a:gd name="connsiteX23" fmla="*/ 2845014 w 3141752"/>
                  <a:gd name="connsiteY23" fmla="*/ 2504122 h 3131365"/>
                  <a:gd name="connsiteX24" fmla="*/ 2706901 w 3141752"/>
                  <a:gd name="connsiteY24" fmla="*/ 2667000 h 3131365"/>
                  <a:gd name="connsiteX25" fmla="*/ 2303041 w 3141752"/>
                  <a:gd name="connsiteY25" fmla="*/ 2971800 h 3131365"/>
                  <a:gd name="connsiteX26" fmla="*/ 2097301 w 3141752"/>
                  <a:gd name="connsiteY26" fmla="*/ 3055620 h 3131365"/>
                  <a:gd name="connsiteX27" fmla="*/ 1809646 w 3141752"/>
                  <a:gd name="connsiteY27" fmla="*/ 3123247 h 3131365"/>
                  <a:gd name="connsiteX28" fmla="*/ 1335301 w 3141752"/>
                  <a:gd name="connsiteY28" fmla="*/ 3108960 h 3131365"/>
                  <a:gd name="connsiteX29" fmla="*/ 794281 w 3141752"/>
                  <a:gd name="connsiteY29" fmla="*/ 2933700 h 3131365"/>
                  <a:gd name="connsiteX30" fmla="*/ 420901 w 3141752"/>
                  <a:gd name="connsiteY30" fmla="*/ 2644140 h 3131365"/>
                  <a:gd name="connsiteX31" fmla="*/ 298981 w 3141752"/>
                  <a:gd name="connsiteY31" fmla="*/ 2499360 h 3131365"/>
                  <a:gd name="connsiteX32" fmla="*/ 184681 w 3141752"/>
                  <a:gd name="connsiteY32" fmla="*/ 2308860 h 3131365"/>
                  <a:gd name="connsiteX33" fmla="*/ 39901 w 3141752"/>
                  <a:gd name="connsiteY33" fmla="*/ 1943100 h 3131365"/>
                  <a:gd name="connsiteX34" fmla="*/ 1801 w 3141752"/>
                  <a:gd name="connsiteY34" fmla="*/ 1562100 h 3131365"/>
                  <a:gd name="connsiteX35" fmla="*/ 55141 w 3141752"/>
                  <a:gd name="connsiteY35" fmla="*/ 1135380 h 3131365"/>
                  <a:gd name="connsiteX36" fmla="*/ 161821 w 3141752"/>
                  <a:gd name="connsiteY36" fmla="*/ 861060 h 3131365"/>
                  <a:gd name="connsiteX37" fmla="*/ 260881 w 3141752"/>
                  <a:gd name="connsiteY37" fmla="*/ 708660 h 3131365"/>
                  <a:gd name="connsiteX38" fmla="*/ 420901 w 3141752"/>
                  <a:gd name="connsiteY38" fmla="*/ 510540 h 3131365"/>
                  <a:gd name="connsiteX39" fmla="*/ 512341 w 3141752"/>
                  <a:gd name="connsiteY39" fmla="*/ 434340 h 3131365"/>
                  <a:gd name="connsiteX40" fmla="*/ 657121 w 3141752"/>
                  <a:gd name="connsiteY40" fmla="*/ 312420 h 3131365"/>
                  <a:gd name="connsiteX41" fmla="*/ 870481 w 3141752"/>
                  <a:gd name="connsiteY41" fmla="*/ 175260 h 3131365"/>
                  <a:gd name="connsiteX42" fmla="*/ 1106701 w 3141752"/>
                  <a:gd name="connsiteY42" fmla="*/ 76200 h 3131365"/>
                  <a:gd name="connsiteX43" fmla="*/ 1243861 w 3141752"/>
                  <a:gd name="connsiteY43" fmla="*/ 38100 h 3131365"/>
                  <a:gd name="connsiteX44" fmla="*/ 1388641 w 3141752"/>
                  <a:gd name="connsiteY44" fmla="*/ 15240 h 3131365"/>
                  <a:gd name="connsiteX45" fmla="*/ 1464841 w 3141752"/>
                  <a:gd name="connsiteY45" fmla="*/ 0 h 3131365"/>
                  <a:gd name="connsiteX46" fmla="*/ 1746781 w 3141752"/>
                  <a:gd name="connsiteY46" fmla="*/ 0 h 3131365"/>
                  <a:gd name="connsiteX47" fmla="*/ 2165881 w 3141752"/>
                  <a:gd name="connsiteY47" fmla="*/ 99060 h 3131365"/>
                  <a:gd name="connsiteX48" fmla="*/ 2341141 w 3141752"/>
                  <a:gd name="connsiteY48" fmla="*/ 182880 h 3131365"/>
                  <a:gd name="connsiteX49" fmla="*/ 2371621 w 3141752"/>
                  <a:gd name="connsiteY49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57421 w 3141752"/>
                  <a:gd name="connsiteY20" fmla="*/ 2019300 h 3131365"/>
                  <a:gd name="connsiteX21" fmla="*/ 2950741 w 3141752"/>
                  <a:gd name="connsiteY21" fmla="*/ 2331720 h 3131365"/>
                  <a:gd name="connsiteX22" fmla="*/ 2845014 w 3141752"/>
                  <a:gd name="connsiteY22" fmla="*/ 2504122 h 3131365"/>
                  <a:gd name="connsiteX23" fmla="*/ 2706901 w 3141752"/>
                  <a:gd name="connsiteY23" fmla="*/ 2667000 h 3131365"/>
                  <a:gd name="connsiteX24" fmla="*/ 2303041 w 3141752"/>
                  <a:gd name="connsiteY24" fmla="*/ 2971800 h 3131365"/>
                  <a:gd name="connsiteX25" fmla="*/ 2097301 w 3141752"/>
                  <a:gd name="connsiteY25" fmla="*/ 3055620 h 3131365"/>
                  <a:gd name="connsiteX26" fmla="*/ 1809646 w 3141752"/>
                  <a:gd name="connsiteY26" fmla="*/ 3123247 h 3131365"/>
                  <a:gd name="connsiteX27" fmla="*/ 1335301 w 3141752"/>
                  <a:gd name="connsiteY27" fmla="*/ 3108960 h 3131365"/>
                  <a:gd name="connsiteX28" fmla="*/ 794281 w 3141752"/>
                  <a:gd name="connsiteY28" fmla="*/ 2933700 h 3131365"/>
                  <a:gd name="connsiteX29" fmla="*/ 420901 w 3141752"/>
                  <a:gd name="connsiteY29" fmla="*/ 2644140 h 3131365"/>
                  <a:gd name="connsiteX30" fmla="*/ 298981 w 3141752"/>
                  <a:gd name="connsiteY30" fmla="*/ 2499360 h 3131365"/>
                  <a:gd name="connsiteX31" fmla="*/ 184681 w 3141752"/>
                  <a:gd name="connsiteY31" fmla="*/ 2308860 h 3131365"/>
                  <a:gd name="connsiteX32" fmla="*/ 39901 w 3141752"/>
                  <a:gd name="connsiteY32" fmla="*/ 1943100 h 3131365"/>
                  <a:gd name="connsiteX33" fmla="*/ 1801 w 3141752"/>
                  <a:gd name="connsiteY33" fmla="*/ 1562100 h 3131365"/>
                  <a:gd name="connsiteX34" fmla="*/ 55141 w 3141752"/>
                  <a:gd name="connsiteY34" fmla="*/ 1135380 h 3131365"/>
                  <a:gd name="connsiteX35" fmla="*/ 161821 w 3141752"/>
                  <a:gd name="connsiteY35" fmla="*/ 861060 h 3131365"/>
                  <a:gd name="connsiteX36" fmla="*/ 260881 w 3141752"/>
                  <a:gd name="connsiteY36" fmla="*/ 708660 h 3131365"/>
                  <a:gd name="connsiteX37" fmla="*/ 420901 w 3141752"/>
                  <a:gd name="connsiteY37" fmla="*/ 510540 h 3131365"/>
                  <a:gd name="connsiteX38" fmla="*/ 512341 w 3141752"/>
                  <a:gd name="connsiteY38" fmla="*/ 434340 h 3131365"/>
                  <a:gd name="connsiteX39" fmla="*/ 657121 w 3141752"/>
                  <a:gd name="connsiteY39" fmla="*/ 312420 h 3131365"/>
                  <a:gd name="connsiteX40" fmla="*/ 870481 w 3141752"/>
                  <a:gd name="connsiteY40" fmla="*/ 175260 h 3131365"/>
                  <a:gd name="connsiteX41" fmla="*/ 1106701 w 3141752"/>
                  <a:gd name="connsiteY41" fmla="*/ 76200 h 3131365"/>
                  <a:gd name="connsiteX42" fmla="*/ 1243861 w 3141752"/>
                  <a:gd name="connsiteY42" fmla="*/ 38100 h 3131365"/>
                  <a:gd name="connsiteX43" fmla="*/ 1388641 w 3141752"/>
                  <a:gd name="connsiteY43" fmla="*/ 15240 h 3131365"/>
                  <a:gd name="connsiteX44" fmla="*/ 1464841 w 3141752"/>
                  <a:gd name="connsiteY44" fmla="*/ 0 h 3131365"/>
                  <a:gd name="connsiteX45" fmla="*/ 1746781 w 3141752"/>
                  <a:gd name="connsiteY45" fmla="*/ 0 h 3131365"/>
                  <a:gd name="connsiteX46" fmla="*/ 2165881 w 3141752"/>
                  <a:gd name="connsiteY46" fmla="*/ 99060 h 3131365"/>
                  <a:gd name="connsiteX47" fmla="*/ 2341141 w 3141752"/>
                  <a:gd name="connsiteY47" fmla="*/ 182880 h 3131365"/>
                  <a:gd name="connsiteX48" fmla="*/ 2371621 w 3141752"/>
                  <a:gd name="connsiteY48" fmla="*/ 190500 h 3131365"/>
                  <a:gd name="connsiteX0" fmla="*/ 2371621 w 3141752"/>
                  <a:gd name="connsiteY0" fmla="*/ 190500 h 3131365"/>
                  <a:gd name="connsiteX1" fmla="*/ 2493541 w 3141752"/>
                  <a:gd name="connsiteY1" fmla="*/ 297180 h 3131365"/>
                  <a:gd name="connsiteX2" fmla="*/ 2607841 w 3141752"/>
                  <a:gd name="connsiteY2" fmla="*/ 381000 h 3131365"/>
                  <a:gd name="connsiteX3" fmla="*/ 2706901 w 3141752"/>
                  <a:gd name="connsiteY3" fmla="*/ 487680 h 3131365"/>
                  <a:gd name="connsiteX4" fmla="*/ 2729761 w 3141752"/>
                  <a:gd name="connsiteY4" fmla="*/ 510540 h 3131365"/>
                  <a:gd name="connsiteX5" fmla="*/ 2790721 w 3141752"/>
                  <a:gd name="connsiteY5" fmla="*/ 594360 h 3131365"/>
                  <a:gd name="connsiteX6" fmla="*/ 2851681 w 3141752"/>
                  <a:gd name="connsiteY6" fmla="*/ 662940 h 3131365"/>
                  <a:gd name="connsiteX7" fmla="*/ 2874541 w 3141752"/>
                  <a:gd name="connsiteY7" fmla="*/ 701040 h 3131365"/>
                  <a:gd name="connsiteX8" fmla="*/ 2912641 w 3141752"/>
                  <a:gd name="connsiteY8" fmla="*/ 762000 h 3131365"/>
                  <a:gd name="connsiteX9" fmla="*/ 2950741 w 3141752"/>
                  <a:gd name="connsiteY9" fmla="*/ 845820 h 3131365"/>
                  <a:gd name="connsiteX10" fmla="*/ 3011701 w 3141752"/>
                  <a:gd name="connsiteY10" fmla="*/ 998220 h 3131365"/>
                  <a:gd name="connsiteX11" fmla="*/ 3026941 w 3141752"/>
                  <a:gd name="connsiteY11" fmla="*/ 1036320 h 3131365"/>
                  <a:gd name="connsiteX12" fmla="*/ 3034561 w 3141752"/>
                  <a:gd name="connsiteY12" fmla="*/ 1066800 h 3131365"/>
                  <a:gd name="connsiteX13" fmla="*/ 3087901 w 3141752"/>
                  <a:gd name="connsiteY13" fmla="*/ 1181100 h 3131365"/>
                  <a:gd name="connsiteX14" fmla="*/ 3095521 w 3141752"/>
                  <a:gd name="connsiteY14" fmla="*/ 1226820 h 3131365"/>
                  <a:gd name="connsiteX15" fmla="*/ 3103141 w 3141752"/>
                  <a:gd name="connsiteY15" fmla="*/ 1280160 h 3131365"/>
                  <a:gd name="connsiteX16" fmla="*/ 3118381 w 3141752"/>
                  <a:gd name="connsiteY16" fmla="*/ 1371600 h 3131365"/>
                  <a:gd name="connsiteX17" fmla="*/ 3141241 w 3141752"/>
                  <a:gd name="connsiteY17" fmla="*/ 1485900 h 3131365"/>
                  <a:gd name="connsiteX18" fmla="*/ 3133621 w 3141752"/>
                  <a:gd name="connsiteY18" fmla="*/ 1691640 h 3131365"/>
                  <a:gd name="connsiteX19" fmla="*/ 3126001 w 3141752"/>
                  <a:gd name="connsiteY19" fmla="*/ 1767840 h 3131365"/>
                  <a:gd name="connsiteX20" fmla="*/ 3062183 w 3141752"/>
                  <a:gd name="connsiteY20" fmla="*/ 2038350 h 3131365"/>
                  <a:gd name="connsiteX21" fmla="*/ 2950741 w 3141752"/>
                  <a:gd name="connsiteY21" fmla="*/ 2331720 h 3131365"/>
                  <a:gd name="connsiteX22" fmla="*/ 2845014 w 3141752"/>
                  <a:gd name="connsiteY22" fmla="*/ 2504122 h 3131365"/>
                  <a:gd name="connsiteX23" fmla="*/ 2706901 w 3141752"/>
                  <a:gd name="connsiteY23" fmla="*/ 2667000 h 3131365"/>
                  <a:gd name="connsiteX24" fmla="*/ 2303041 w 3141752"/>
                  <a:gd name="connsiteY24" fmla="*/ 2971800 h 3131365"/>
                  <a:gd name="connsiteX25" fmla="*/ 2097301 w 3141752"/>
                  <a:gd name="connsiteY25" fmla="*/ 3055620 h 3131365"/>
                  <a:gd name="connsiteX26" fmla="*/ 1809646 w 3141752"/>
                  <a:gd name="connsiteY26" fmla="*/ 3123247 h 3131365"/>
                  <a:gd name="connsiteX27" fmla="*/ 1335301 w 3141752"/>
                  <a:gd name="connsiteY27" fmla="*/ 3108960 h 3131365"/>
                  <a:gd name="connsiteX28" fmla="*/ 794281 w 3141752"/>
                  <a:gd name="connsiteY28" fmla="*/ 2933700 h 3131365"/>
                  <a:gd name="connsiteX29" fmla="*/ 420901 w 3141752"/>
                  <a:gd name="connsiteY29" fmla="*/ 2644140 h 3131365"/>
                  <a:gd name="connsiteX30" fmla="*/ 298981 w 3141752"/>
                  <a:gd name="connsiteY30" fmla="*/ 2499360 h 3131365"/>
                  <a:gd name="connsiteX31" fmla="*/ 184681 w 3141752"/>
                  <a:gd name="connsiteY31" fmla="*/ 2308860 h 3131365"/>
                  <a:gd name="connsiteX32" fmla="*/ 39901 w 3141752"/>
                  <a:gd name="connsiteY32" fmla="*/ 1943100 h 3131365"/>
                  <a:gd name="connsiteX33" fmla="*/ 1801 w 3141752"/>
                  <a:gd name="connsiteY33" fmla="*/ 1562100 h 3131365"/>
                  <a:gd name="connsiteX34" fmla="*/ 55141 w 3141752"/>
                  <a:gd name="connsiteY34" fmla="*/ 1135380 h 3131365"/>
                  <a:gd name="connsiteX35" fmla="*/ 161821 w 3141752"/>
                  <a:gd name="connsiteY35" fmla="*/ 861060 h 3131365"/>
                  <a:gd name="connsiteX36" fmla="*/ 260881 w 3141752"/>
                  <a:gd name="connsiteY36" fmla="*/ 708660 h 3131365"/>
                  <a:gd name="connsiteX37" fmla="*/ 420901 w 3141752"/>
                  <a:gd name="connsiteY37" fmla="*/ 510540 h 3131365"/>
                  <a:gd name="connsiteX38" fmla="*/ 512341 w 3141752"/>
                  <a:gd name="connsiteY38" fmla="*/ 434340 h 3131365"/>
                  <a:gd name="connsiteX39" fmla="*/ 657121 w 3141752"/>
                  <a:gd name="connsiteY39" fmla="*/ 312420 h 3131365"/>
                  <a:gd name="connsiteX40" fmla="*/ 870481 w 3141752"/>
                  <a:gd name="connsiteY40" fmla="*/ 175260 h 3131365"/>
                  <a:gd name="connsiteX41" fmla="*/ 1106701 w 3141752"/>
                  <a:gd name="connsiteY41" fmla="*/ 76200 h 3131365"/>
                  <a:gd name="connsiteX42" fmla="*/ 1243861 w 3141752"/>
                  <a:gd name="connsiteY42" fmla="*/ 38100 h 3131365"/>
                  <a:gd name="connsiteX43" fmla="*/ 1388641 w 3141752"/>
                  <a:gd name="connsiteY43" fmla="*/ 15240 h 3131365"/>
                  <a:gd name="connsiteX44" fmla="*/ 1464841 w 3141752"/>
                  <a:gd name="connsiteY44" fmla="*/ 0 h 3131365"/>
                  <a:gd name="connsiteX45" fmla="*/ 1746781 w 3141752"/>
                  <a:gd name="connsiteY45" fmla="*/ 0 h 3131365"/>
                  <a:gd name="connsiteX46" fmla="*/ 2165881 w 3141752"/>
                  <a:gd name="connsiteY46" fmla="*/ 99060 h 3131365"/>
                  <a:gd name="connsiteX47" fmla="*/ 2341141 w 3141752"/>
                  <a:gd name="connsiteY47" fmla="*/ 182880 h 3131365"/>
                  <a:gd name="connsiteX48" fmla="*/ 2371621 w 3141752"/>
                  <a:gd name="connsiteY48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12641 w 3142643"/>
                  <a:gd name="connsiteY8" fmla="*/ 762000 h 3131365"/>
                  <a:gd name="connsiteX9" fmla="*/ 2950741 w 3142643"/>
                  <a:gd name="connsiteY9" fmla="*/ 845820 h 3131365"/>
                  <a:gd name="connsiteX10" fmla="*/ 3011701 w 3142643"/>
                  <a:gd name="connsiteY10" fmla="*/ 998220 h 3131365"/>
                  <a:gd name="connsiteX11" fmla="*/ 3026941 w 3142643"/>
                  <a:gd name="connsiteY11" fmla="*/ 1036320 h 3131365"/>
                  <a:gd name="connsiteX12" fmla="*/ 3034561 w 3142643"/>
                  <a:gd name="connsiteY12" fmla="*/ 1066800 h 3131365"/>
                  <a:gd name="connsiteX13" fmla="*/ 3087901 w 3142643"/>
                  <a:gd name="connsiteY13" fmla="*/ 1181100 h 3131365"/>
                  <a:gd name="connsiteX14" fmla="*/ 3095521 w 3142643"/>
                  <a:gd name="connsiteY14" fmla="*/ 1226820 h 3131365"/>
                  <a:gd name="connsiteX15" fmla="*/ 3103141 w 3142643"/>
                  <a:gd name="connsiteY15" fmla="*/ 1280160 h 3131365"/>
                  <a:gd name="connsiteX16" fmla="*/ 3141241 w 3142643"/>
                  <a:gd name="connsiteY16" fmla="*/ 1485900 h 3131365"/>
                  <a:gd name="connsiteX17" fmla="*/ 3133621 w 3142643"/>
                  <a:gd name="connsiteY17" fmla="*/ 1691640 h 3131365"/>
                  <a:gd name="connsiteX18" fmla="*/ 3126001 w 3142643"/>
                  <a:gd name="connsiteY18" fmla="*/ 1767840 h 3131365"/>
                  <a:gd name="connsiteX19" fmla="*/ 3062183 w 3142643"/>
                  <a:gd name="connsiteY19" fmla="*/ 2038350 h 3131365"/>
                  <a:gd name="connsiteX20" fmla="*/ 2950741 w 3142643"/>
                  <a:gd name="connsiteY20" fmla="*/ 2331720 h 3131365"/>
                  <a:gd name="connsiteX21" fmla="*/ 2845014 w 3142643"/>
                  <a:gd name="connsiteY21" fmla="*/ 2504122 h 3131365"/>
                  <a:gd name="connsiteX22" fmla="*/ 2706901 w 3142643"/>
                  <a:gd name="connsiteY22" fmla="*/ 2667000 h 3131365"/>
                  <a:gd name="connsiteX23" fmla="*/ 2303041 w 3142643"/>
                  <a:gd name="connsiteY23" fmla="*/ 2971800 h 3131365"/>
                  <a:gd name="connsiteX24" fmla="*/ 2097301 w 3142643"/>
                  <a:gd name="connsiteY24" fmla="*/ 3055620 h 3131365"/>
                  <a:gd name="connsiteX25" fmla="*/ 1809646 w 3142643"/>
                  <a:gd name="connsiteY25" fmla="*/ 3123247 h 3131365"/>
                  <a:gd name="connsiteX26" fmla="*/ 1335301 w 3142643"/>
                  <a:gd name="connsiteY26" fmla="*/ 3108960 h 3131365"/>
                  <a:gd name="connsiteX27" fmla="*/ 794281 w 3142643"/>
                  <a:gd name="connsiteY27" fmla="*/ 2933700 h 3131365"/>
                  <a:gd name="connsiteX28" fmla="*/ 420901 w 3142643"/>
                  <a:gd name="connsiteY28" fmla="*/ 2644140 h 3131365"/>
                  <a:gd name="connsiteX29" fmla="*/ 298981 w 3142643"/>
                  <a:gd name="connsiteY29" fmla="*/ 2499360 h 3131365"/>
                  <a:gd name="connsiteX30" fmla="*/ 184681 w 3142643"/>
                  <a:gd name="connsiteY30" fmla="*/ 2308860 h 3131365"/>
                  <a:gd name="connsiteX31" fmla="*/ 39901 w 3142643"/>
                  <a:gd name="connsiteY31" fmla="*/ 1943100 h 3131365"/>
                  <a:gd name="connsiteX32" fmla="*/ 1801 w 3142643"/>
                  <a:gd name="connsiteY32" fmla="*/ 1562100 h 3131365"/>
                  <a:gd name="connsiteX33" fmla="*/ 55141 w 3142643"/>
                  <a:gd name="connsiteY33" fmla="*/ 1135380 h 3131365"/>
                  <a:gd name="connsiteX34" fmla="*/ 161821 w 3142643"/>
                  <a:gd name="connsiteY34" fmla="*/ 861060 h 3131365"/>
                  <a:gd name="connsiteX35" fmla="*/ 260881 w 3142643"/>
                  <a:gd name="connsiteY35" fmla="*/ 708660 h 3131365"/>
                  <a:gd name="connsiteX36" fmla="*/ 420901 w 3142643"/>
                  <a:gd name="connsiteY36" fmla="*/ 510540 h 3131365"/>
                  <a:gd name="connsiteX37" fmla="*/ 512341 w 3142643"/>
                  <a:gd name="connsiteY37" fmla="*/ 434340 h 3131365"/>
                  <a:gd name="connsiteX38" fmla="*/ 657121 w 3142643"/>
                  <a:gd name="connsiteY38" fmla="*/ 312420 h 3131365"/>
                  <a:gd name="connsiteX39" fmla="*/ 870481 w 3142643"/>
                  <a:gd name="connsiteY39" fmla="*/ 175260 h 3131365"/>
                  <a:gd name="connsiteX40" fmla="*/ 1106701 w 3142643"/>
                  <a:gd name="connsiteY40" fmla="*/ 76200 h 3131365"/>
                  <a:gd name="connsiteX41" fmla="*/ 1243861 w 3142643"/>
                  <a:gd name="connsiteY41" fmla="*/ 38100 h 3131365"/>
                  <a:gd name="connsiteX42" fmla="*/ 1388641 w 3142643"/>
                  <a:gd name="connsiteY42" fmla="*/ 15240 h 3131365"/>
                  <a:gd name="connsiteX43" fmla="*/ 1464841 w 3142643"/>
                  <a:gd name="connsiteY43" fmla="*/ 0 h 3131365"/>
                  <a:gd name="connsiteX44" fmla="*/ 1746781 w 3142643"/>
                  <a:gd name="connsiteY44" fmla="*/ 0 h 3131365"/>
                  <a:gd name="connsiteX45" fmla="*/ 2165881 w 3142643"/>
                  <a:gd name="connsiteY45" fmla="*/ 99060 h 3131365"/>
                  <a:gd name="connsiteX46" fmla="*/ 2341141 w 3142643"/>
                  <a:gd name="connsiteY46" fmla="*/ 182880 h 3131365"/>
                  <a:gd name="connsiteX47" fmla="*/ 2371621 w 3142643"/>
                  <a:gd name="connsiteY47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12641 w 3142643"/>
                  <a:gd name="connsiteY8" fmla="*/ 762000 h 3131365"/>
                  <a:gd name="connsiteX9" fmla="*/ 2950741 w 3142643"/>
                  <a:gd name="connsiteY9" fmla="*/ 845820 h 3131365"/>
                  <a:gd name="connsiteX10" fmla="*/ 3011701 w 3142643"/>
                  <a:gd name="connsiteY10" fmla="*/ 998220 h 3131365"/>
                  <a:gd name="connsiteX11" fmla="*/ 3026941 w 3142643"/>
                  <a:gd name="connsiteY11" fmla="*/ 1036320 h 3131365"/>
                  <a:gd name="connsiteX12" fmla="*/ 3034561 w 3142643"/>
                  <a:gd name="connsiteY12" fmla="*/ 1066800 h 3131365"/>
                  <a:gd name="connsiteX13" fmla="*/ 3087901 w 3142643"/>
                  <a:gd name="connsiteY13" fmla="*/ 1181100 h 3131365"/>
                  <a:gd name="connsiteX14" fmla="*/ 3103141 w 3142643"/>
                  <a:gd name="connsiteY14" fmla="*/ 1280160 h 3131365"/>
                  <a:gd name="connsiteX15" fmla="*/ 3141241 w 3142643"/>
                  <a:gd name="connsiteY15" fmla="*/ 1485900 h 3131365"/>
                  <a:gd name="connsiteX16" fmla="*/ 3133621 w 3142643"/>
                  <a:gd name="connsiteY16" fmla="*/ 1691640 h 3131365"/>
                  <a:gd name="connsiteX17" fmla="*/ 3126001 w 3142643"/>
                  <a:gd name="connsiteY17" fmla="*/ 1767840 h 3131365"/>
                  <a:gd name="connsiteX18" fmla="*/ 3062183 w 3142643"/>
                  <a:gd name="connsiteY18" fmla="*/ 2038350 h 3131365"/>
                  <a:gd name="connsiteX19" fmla="*/ 2950741 w 3142643"/>
                  <a:gd name="connsiteY19" fmla="*/ 2331720 h 3131365"/>
                  <a:gd name="connsiteX20" fmla="*/ 2845014 w 3142643"/>
                  <a:gd name="connsiteY20" fmla="*/ 2504122 h 3131365"/>
                  <a:gd name="connsiteX21" fmla="*/ 2706901 w 3142643"/>
                  <a:gd name="connsiteY21" fmla="*/ 2667000 h 3131365"/>
                  <a:gd name="connsiteX22" fmla="*/ 2303041 w 3142643"/>
                  <a:gd name="connsiteY22" fmla="*/ 2971800 h 3131365"/>
                  <a:gd name="connsiteX23" fmla="*/ 2097301 w 3142643"/>
                  <a:gd name="connsiteY23" fmla="*/ 3055620 h 3131365"/>
                  <a:gd name="connsiteX24" fmla="*/ 1809646 w 3142643"/>
                  <a:gd name="connsiteY24" fmla="*/ 3123247 h 3131365"/>
                  <a:gd name="connsiteX25" fmla="*/ 1335301 w 3142643"/>
                  <a:gd name="connsiteY25" fmla="*/ 3108960 h 3131365"/>
                  <a:gd name="connsiteX26" fmla="*/ 794281 w 3142643"/>
                  <a:gd name="connsiteY26" fmla="*/ 2933700 h 3131365"/>
                  <a:gd name="connsiteX27" fmla="*/ 420901 w 3142643"/>
                  <a:gd name="connsiteY27" fmla="*/ 2644140 h 3131365"/>
                  <a:gd name="connsiteX28" fmla="*/ 298981 w 3142643"/>
                  <a:gd name="connsiteY28" fmla="*/ 2499360 h 3131365"/>
                  <a:gd name="connsiteX29" fmla="*/ 184681 w 3142643"/>
                  <a:gd name="connsiteY29" fmla="*/ 2308860 h 3131365"/>
                  <a:gd name="connsiteX30" fmla="*/ 39901 w 3142643"/>
                  <a:gd name="connsiteY30" fmla="*/ 1943100 h 3131365"/>
                  <a:gd name="connsiteX31" fmla="*/ 1801 w 3142643"/>
                  <a:gd name="connsiteY31" fmla="*/ 1562100 h 3131365"/>
                  <a:gd name="connsiteX32" fmla="*/ 55141 w 3142643"/>
                  <a:gd name="connsiteY32" fmla="*/ 1135380 h 3131365"/>
                  <a:gd name="connsiteX33" fmla="*/ 161821 w 3142643"/>
                  <a:gd name="connsiteY33" fmla="*/ 861060 h 3131365"/>
                  <a:gd name="connsiteX34" fmla="*/ 260881 w 3142643"/>
                  <a:gd name="connsiteY34" fmla="*/ 708660 h 3131365"/>
                  <a:gd name="connsiteX35" fmla="*/ 420901 w 3142643"/>
                  <a:gd name="connsiteY35" fmla="*/ 510540 h 3131365"/>
                  <a:gd name="connsiteX36" fmla="*/ 512341 w 3142643"/>
                  <a:gd name="connsiteY36" fmla="*/ 434340 h 3131365"/>
                  <a:gd name="connsiteX37" fmla="*/ 657121 w 3142643"/>
                  <a:gd name="connsiteY37" fmla="*/ 312420 h 3131365"/>
                  <a:gd name="connsiteX38" fmla="*/ 870481 w 3142643"/>
                  <a:gd name="connsiteY38" fmla="*/ 175260 h 3131365"/>
                  <a:gd name="connsiteX39" fmla="*/ 1106701 w 3142643"/>
                  <a:gd name="connsiteY39" fmla="*/ 76200 h 3131365"/>
                  <a:gd name="connsiteX40" fmla="*/ 1243861 w 3142643"/>
                  <a:gd name="connsiteY40" fmla="*/ 38100 h 3131365"/>
                  <a:gd name="connsiteX41" fmla="*/ 1388641 w 3142643"/>
                  <a:gd name="connsiteY41" fmla="*/ 15240 h 3131365"/>
                  <a:gd name="connsiteX42" fmla="*/ 1464841 w 3142643"/>
                  <a:gd name="connsiteY42" fmla="*/ 0 h 3131365"/>
                  <a:gd name="connsiteX43" fmla="*/ 1746781 w 3142643"/>
                  <a:gd name="connsiteY43" fmla="*/ 0 h 3131365"/>
                  <a:gd name="connsiteX44" fmla="*/ 2165881 w 3142643"/>
                  <a:gd name="connsiteY44" fmla="*/ 99060 h 3131365"/>
                  <a:gd name="connsiteX45" fmla="*/ 2341141 w 3142643"/>
                  <a:gd name="connsiteY45" fmla="*/ 182880 h 3131365"/>
                  <a:gd name="connsiteX46" fmla="*/ 2371621 w 3142643"/>
                  <a:gd name="connsiteY46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12641 w 3142643"/>
                  <a:gd name="connsiteY8" fmla="*/ 762000 h 3131365"/>
                  <a:gd name="connsiteX9" fmla="*/ 2950741 w 3142643"/>
                  <a:gd name="connsiteY9" fmla="*/ 845820 h 3131365"/>
                  <a:gd name="connsiteX10" fmla="*/ 3011701 w 3142643"/>
                  <a:gd name="connsiteY10" fmla="*/ 998220 h 3131365"/>
                  <a:gd name="connsiteX11" fmla="*/ 3026941 w 3142643"/>
                  <a:gd name="connsiteY11" fmla="*/ 1036320 h 3131365"/>
                  <a:gd name="connsiteX12" fmla="*/ 3034561 w 3142643"/>
                  <a:gd name="connsiteY12" fmla="*/ 1066800 h 3131365"/>
                  <a:gd name="connsiteX13" fmla="*/ 3103141 w 3142643"/>
                  <a:gd name="connsiteY13" fmla="*/ 1280160 h 3131365"/>
                  <a:gd name="connsiteX14" fmla="*/ 3141241 w 3142643"/>
                  <a:gd name="connsiteY14" fmla="*/ 1485900 h 3131365"/>
                  <a:gd name="connsiteX15" fmla="*/ 3133621 w 3142643"/>
                  <a:gd name="connsiteY15" fmla="*/ 1691640 h 3131365"/>
                  <a:gd name="connsiteX16" fmla="*/ 3126001 w 3142643"/>
                  <a:gd name="connsiteY16" fmla="*/ 1767840 h 3131365"/>
                  <a:gd name="connsiteX17" fmla="*/ 3062183 w 3142643"/>
                  <a:gd name="connsiteY17" fmla="*/ 2038350 h 3131365"/>
                  <a:gd name="connsiteX18" fmla="*/ 2950741 w 3142643"/>
                  <a:gd name="connsiteY18" fmla="*/ 2331720 h 3131365"/>
                  <a:gd name="connsiteX19" fmla="*/ 2845014 w 3142643"/>
                  <a:gd name="connsiteY19" fmla="*/ 2504122 h 3131365"/>
                  <a:gd name="connsiteX20" fmla="*/ 2706901 w 3142643"/>
                  <a:gd name="connsiteY20" fmla="*/ 2667000 h 3131365"/>
                  <a:gd name="connsiteX21" fmla="*/ 2303041 w 3142643"/>
                  <a:gd name="connsiteY21" fmla="*/ 2971800 h 3131365"/>
                  <a:gd name="connsiteX22" fmla="*/ 2097301 w 3142643"/>
                  <a:gd name="connsiteY22" fmla="*/ 3055620 h 3131365"/>
                  <a:gd name="connsiteX23" fmla="*/ 1809646 w 3142643"/>
                  <a:gd name="connsiteY23" fmla="*/ 3123247 h 3131365"/>
                  <a:gd name="connsiteX24" fmla="*/ 1335301 w 3142643"/>
                  <a:gd name="connsiteY24" fmla="*/ 3108960 h 3131365"/>
                  <a:gd name="connsiteX25" fmla="*/ 794281 w 3142643"/>
                  <a:gd name="connsiteY25" fmla="*/ 2933700 h 3131365"/>
                  <a:gd name="connsiteX26" fmla="*/ 420901 w 3142643"/>
                  <a:gd name="connsiteY26" fmla="*/ 2644140 h 3131365"/>
                  <a:gd name="connsiteX27" fmla="*/ 298981 w 3142643"/>
                  <a:gd name="connsiteY27" fmla="*/ 2499360 h 3131365"/>
                  <a:gd name="connsiteX28" fmla="*/ 184681 w 3142643"/>
                  <a:gd name="connsiteY28" fmla="*/ 2308860 h 3131365"/>
                  <a:gd name="connsiteX29" fmla="*/ 39901 w 3142643"/>
                  <a:gd name="connsiteY29" fmla="*/ 1943100 h 3131365"/>
                  <a:gd name="connsiteX30" fmla="*/ 1801 w 3142643"/>
                  <a:gd name="connsiteY30" fmla="*/ 1562100 h 3131365"/>
                  <a:gd name="connsiteX31" fmla="*/ 55141 w 3142643"/>
                  <a:gd name="connsiteY31" fmla="*/ 1135380 h 3131365"/>
                  <a:gd name="connsiteX32" fmla="*/ 161821 w 3142643"/>
                  <a:gd name="connsiteY32" fmla="*/ 861060 h 3131365"/>
                  <a:gd name="connsiteX33" fmla="*/ 260881 w 3142643"/>
                  <a:gd name="connsiteY33" fmla="*/ 708660 h 3131365"/>
                  <a:gd name="connsiteX34" fmla="*/ 420901 w 3142643"/>
                  <a:gd name="connsiteY34" fmla="*/ 510540 h 3131365"/>
                  <a:gd name="connsiteX35" fmla="*/ 512341 w 3142643"/>
                  <a:gd name="connsiteY35" fmla="*/ 434340 h 3131365"/>
                  <a:gd name="connsiteX36" fmla="*/ 657121 w 3142643"/>
                  <a:gd name="connsiteY36" fmla="*/ 312420 h 3131365"/>
                  <a:gd name="connsiteX37" fmla="*/ 870481 w 3142643"/>
                  <a:gd name="connsiteY37" fmla="*/ 175260 h 3131365"/>
                  <a:gd name="connsiteX38" fmla="*/ 1106701 w 3142643"/>
                  <a:gd name="connsiteY38" fmla="*/ 76200 h 3131365"/>
                  <a:gd name="connsiteX39" fmla="*/ 1243861 w 3142643"/>
                  <a:gd name="connsiteY39" fmla="*/ 38100 h 3131365"/>
                  <a:gd name="connsiteX40" fmla="*/ 1388641 w 3142643"/>
                  <a:gd name="connsiteY40" fmla="*/ 15240 h 3131365"/>
                  <a:gd name="connsiteX41" fmla="*/ 1464841 w 3142643"/>
                  <a:gd name="connsiteY41" fmla="*/ 0 h 3131365"/>
                  <a:gd name="connsiteX42" fmla="*/ 1746781 w 3142643"/>
                  <a:gd name="connsiteY42" fmla="*/ 0 h 3131365"/>
                  <a:gd name="connsiteX43" fmla="*/ 2165881 w 3142643"/>
                  <a:gd name="connsiteY43" fmla="*/ 99060 h 3131365"/>
                  <a:gd name="connsiteX44" fmla="*/ 2341141 w 3142643"/>
                  <a:gd name="connsiteY44" fmla="*/ 182880 h 3131365"/>
                  <a:gd name="connsiteX45" fmla="*/ 2371621 w 3142643"/>
                  <a:gd name="connsiteY45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12641 w 3142643"/>
                  <a:gd name="connsiteY8" fmla="*/ 762000 h 3131365"/>
                  <a:gd name="connsiteX9" fmla="*/ 2950741 w 3142643"/>
                  <a:gd name="connsiteY9" fmla="*/ 845820 h 3131365"/>
                  <a:gd name="connsiteX10" fmla="*/ 3011701 w 3142643"/>
                  <a:gd name="connsiteY10" fmla="*/ 998220 h 3131365"/>
                  <a:gd name="connsiteX11" fmla="*/ 3034561 w 3142643"/>
                  <a:gd name="connsiteY11" fmla="*/ 1066800 h 3131365"/>
                  <a:gd name="connsiteX12" fmla="*/ 3103141 w 3142643"/>
                  <a:gd name="connsiteY12" fmla="*/ 1280160 h 3131365"/>
                  <a:gd name="connsiteX13" fmla="*/ 3141241 w 3142643"/>
                  <a:gd name="connsiteY13" fmla="*/ 1485900 h 3131365"/>
                  <a:gd name="connsiteX14" fmla="*/ 3133621 w 3142643"/>
                  <a:gd name="connsiteY14" fmla="*/ 1691640 h 3131365"/>
                  <a:gd name="connsiteX15" fmla="*/ 3126001 w 3142643"/>
                  <a:gd name="connsiteY15" fmla="*/ 1767840 h 3131365"/>
                  <a:gd name="connsiteX16" fmla="*/ 3062183 w 3142643"/>
                  <a:gd name="connsiteY16" fmla="*/ 2038350 h 3131365"/>
                  <a:gd name="connsiteX17" fmla="*/ 2950741 w 3142643"/>
                  <a:gd name="connsiteY17" fmla="*/ 2331720 h 3131365"/>
                  <a:gd name="connsiteX18" fmla="*/ 2845014 w 3142643"/>
                  <a:gd name="connsiteY18" fmla="*/ 2504122 h 3131365"/>
                  <a:gd name="connsiteX19" fmla="*/ 2706901 w 3142643"/>
                  <a:gd name="connsiteY19" fmla="*/ 2667000 h 3131365"/>
                  <a:gd name="connsiteX20" fmla="*/ 2303041 w 3142643"/>
                  <a:gd name="connsiteY20" fmla="*/ 2971800 h 3131365"/>
                  <a:gd name="connsiteX21" fmla="*/ 2097301 w 3142643"/>
                  <a:gd name="connsiteY21" fmla="*/ 3055620 h 3131365"/>
                  <a:gd name="connsiteX22" fmla="*/ 1809646 w 3142643"/>
                  <a:gd name="connsiteY22" fmla="*/ 3123247 h 3131365"/>
                  <a:gd name="connsiteX23" fmla="*/ 1335301 w 3142643"/>
                  <a:gd name="connsiteY23" fmla="*/ 3108960 h 3131365"/>
                  <a:gd name="connsiteX24" fmla="*/ 794281 w 3142643"/>
                  <a:gd name="connsiteY24" fmla="*/ 2933700 h 3131365"/>
                  <a:gd name="connsiteX25" fmla="*/ 420901 w 3142643"/>
                  <a:gd name="connsiteY25" fmla="*/ 2644140 h 3131365"/>
                  <a:gd name="connsiteX26" fmla="*/ 298981 w 3142643"/>
                  <a:gd name="connsiteY26" fmla="*/ 2499360 h 3131365"/>
                  <a:gd name="connsiteX27" fmla="*/ 184681 w 3142643"/>
                  <a:gd name="connsiteY27" fmla="*/ 2308860 h 3131365"/>
                  <a:gd name="connsiteX28" fmla="*/ 39901 w 3142643"/>
                  <a:gd name="connsiteY28" fmla="*/ 1943100 h 3131365"/>
                  <a:gd name="connsiteX29" fmla="*/ 1801 w 3142643"/>
                  <a:gd name="connsiteY29" fmla="*/ 1562100 h 3131365"/>
                  <a:gd name="connsiteX30" fmla="*/ 55141 w 3142643"/>
                  <a:gd name="connsiteY30" fmla="*/ 1135380 h 3131365"/>
                  <a:gd name="connsiteX31" fmla="*/ 161821 w 3142643"/>
                  <a:gd name="connsiteY31" fmla="*/ 861060 h 3131365"/>
                  <a:gd name="connsiteX32" fmla="*/ 260881 w 3142643"/>
                  <a:gd name="connsiteY32" fmla="*/ 708660 h 3131365"/>
                  <a:gd name="connsiteX33" fmla="*/ 420901 w 3142643"/>
                  <a:gd name="connsiteY33" fmla="*/ 510540 h 3131365"/>
                  <a:gd name="connsiteX34" fmla="*/ 512341 w 3142643"/>
                  <a:gd name="connsiteY34" fmla="*/ 434340 h 3131365"/>
                  <a:gd name="connsiteX35" fmla="*/ 657121 w 3142643"/>
                  <a:gd name="connsiteY35" fmla="*/ 312420 h 3131365"/>
                  <a:gd name="connsiteX36" fmla="*/ 870481 w 3142643"/>
                  <a:gd name="connsiteY36" fmla="*/ 175260 h 3131365"/>
                  <a:gd name="connsiteX37" fmla="*/ 1106701 w 3142643"/>
                  <a:gd name="connsiteY37" fmla="*/ 76200 h 3131365"/>
                  <a:gd name="connsiteX38" fmla="*/ 1243861 w 3142643"/>
                  <a:gd name="connsiteY38" fmla="*/ 38100 h 3131365"/>
                  <a:gd name="connsiteX39" fmla="*/ 1388641 w 3142643"/>
                  <a:gd name="connsiteY39" fmla="*/ 15240 h 3131365"/>
                  <a:gd name="connsiteX40" fmla="*/ 1464841 w 3142643"/>
                  <a:gd name="connsiteY40" fmla="*/ 0 h 3131365"/>
                  <a:gd name="connsiteX41" fmla="*/ 1746781 w 3142643"/>
                  <a:gd name="connsiteY41" fmla="*/ 0 h 3131365"/>
                  <a:gd name="connsiteX42" fmla="*/ 2165881 w 3142643"/>
                  <a:gd name="connsiteY42" fmla="*/ 99060 h 3131365"/>
                  <a:gd name="connsiteX43" fmla="*/ 2341141 w 3142643"/>
                  <a:gd name="connsiteY43" fmla="*/ 182880 h 3131365"/>
                  <a:gd name="connsiteX44" fmla="*/ 2371621 w 3142643"/>
                  <a:gd name="connsiteY44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874541 w 3142643"/>
                  <a:gd name="connsiteY7" fmla="*/ 701040 h 3131365"/>
                  <a:gd name="connsiteX8" fmla="*/ 2950741 w 3142643"/>
                  <a:gd name="connsiteY8" fmla="*/ 845820 h 3131365"/>
                  <a:gd name="connsiteX9" fmla="*/ 3011701 w 3142643"/>
                  <a:gd name="connsiteY9" fmla="*/ 998220 h 3131365"/>
                  <a:gd name="connsiteX10" fmla="*/ 3034561 w 3142643"/>
                  <a:gd name="connsiteY10" fmla="*/ 1066800 h 3131365"/>
                  <a:gd name="connsiteX11" fmla="*/ 3103141 w 3142643"/>
                  <a:gd name="connsiteY11" fmla="*/ 1280160 h 3131365"/>
                  <a:gd name="connsiteX12" fmla="*/ 3141241 w 3142643"/>
                  <a:gd name="connsiteY12" fmla="*/ 1485900 h 3131365"/>
                  <a:gd name="connsiteX13" fmla="*/ 3133621 w 3142643"/>
                  <a:gd name="connsiteY13" fmla="*/ 1691640 h 3131365"/>
                  <a:gd name="connsiteX14" fmla="*/ 3126001 w 3142643"/>
                  <a:gd name="connsiteY14" fmla="*/ 1767840 h 3131365"/>
                  <a:gd name="connsiteX15" fmla="*/ 3062183 w 3142643"/>
                  <a:gd name="connsiteY15" fmla="*/ 2038350 h 3131365"/>
                  <a:gd name="connsiteX16" fmla="*/ 2950741 w 3142643"/>
                  <a:gd name="connsiteY16" fmla="*/ 2331720 h 3131365"/>
                  <a:gd name="connsiteX17" fmla="*/ 2845014 w 3142643"/>
                  <a:gd name="connsiteY17" fmla="*/ 2504122 h 3131365"/>
                  <a:gd name="connsiteX18" fmla="*/ 2706901 w 3142643"/>
                  <a:gd name="connsiteY18" fmla="*/ 2667000 h 3131365"/>
                  <a:gd name="connsiteX19" fmla="*/ 2303041 w 3142643"/>
                  <a:gd name="connsiteY19" fmla="*/ 2971800 h 3131365"/>
                  <a:gd name="connsiteX20" fmla="*/ 2097301 w 3142643"/>
                  <a:gd name="connsiteY20" fmla="*/ 3055620 h 3131365"/>
                  <a:gd name="connsiteX21" fmla="*/ 1809646 w 3142643"/>
                  <a:gd name="connsiteY21" fmla="*/ 3123247 h 3131365"/>
                  <a:gd name="connsiteX22" fmla="*/ 1335301 w 3142643"/>
                  <a:gd name="connsiteY22" fmla="*/ 3108960 h 3131365"/>
                  <a:gd name="connsiteX23" fmla="*/ 794281 w 3142643"/>
                  <a:gd name="connsiteY23" fmla="*/ 2933700 h 3131365"/>
                  <a:gd name="connsiteX24" fmla="*/ 420901 w 3142643"/>
                  <a:gd name="connsiteY24" fmla="*/ 2644140 h 3131365"/>
                  <a:gd name="connsiteX25" fmla="*/ 298981 w 3142643"/>
                  <a:gd name="connsiteY25" fmla="*/ 2499360 h 3131365"/>
                  <a:gd name="connsiteX26" fmla="*/ 184681 w 3142643"/>
                  <a:gd name="connsiteY26" fmla="*/ 2308860 h 3131365"/>
                  <a:gd name="connsiteX27" fmla="*/ 39901 w 3142643"/>
                  <a:gd name="connsiteY27" fmla="*/ 1943100 h 3131365"/>
                  <a:gd name="connsiteX28" fmla="*/ 1801 w 3142643"/>
                  <a:gd name="connsiteY28" fmla="*/ 1562100 h 3131365"/>
                  <a:gd name="connsiteX29" fmla="*/ 55141 w 3142643"/>
                  <a:gd name="connsiteY29" fmla="*/ 1135380 h 3131365"/>
                  <a:gd name="connsiteX30" fmla="*/ 161821 w 3142643"/>
                  <a:gd name="connsiteY30" fmla="*/ 861060 h 3131365"/>
                  <a:gd name="connsiteX31" fmla="*/ 260881 w 3142643"/>
                  <a:gd name="connsiteY31" fmla="*/ 708660 h 3131365"/>
                  <a:gd name="connsiteX32" fmla="*/ 420901 w 3142643"/>
                  <a:gd name="connsiteY32" fmla="*/ 510540 h 3131365"/>
                  <a:gd name="connsiteX33" fmla="*/ 512341 w 3142643"/>
                  <a:gd name="connsiteY33" fmla="*/ 434340 h 3131365"/>
                  <a:gd name="connsiteX34" fmla="*/ 657121 w 3142643"/>
                  <a:gd name="connsiteY34" fmla="*/ 312420 h 3131365"/>
                  <a:gd name="connsiteX35" fmla="*/ 870481 w 3142643"/>
                  <a:gd name="connsiteY35" fmla="*/ 175260 h 3131365"/>
                  <a:gd name="connsiteX36" fmla="*/ 1106701 w 3142643"/>
                  <a:gd name="connsiteY36" fmla="*/ 76200 h 3131365"/>
                  <a:gd name="connsiteX37" fmla="*/ 1243861 w 3142643"/>
                  <a:gd name="connsiteY37" fmla="*/ 38100 h 3131365"/>
                  <a:gd name="connsiteX38" fmla="*/ 1388641 w 3142643"/>
                  <a:gd name="connsiteY38" fmla="*/ 15240 h 3131365"/>
                  <a:gd name="connsiteX39" fmla="*/ 1464841 w 3142643"/>
                  <a:gd name="connsiteY39" fmla="*/ 0 h 3131365"/>
                  <a:gd name="connsiteX40" fmla="*/ 1746781 w 3142643"/>
                  <a:gd name="connsiteY40" fmla="*/ 0 h 3131365"/>
                  <a:gd name="connsiteX41" fmla="*/ 2165881 w 3142643"/>
                  <a:gd name="connsiteY41" fmla="*/ 99060 h 3131365"/>
                  <a:gd name="connsiteX42" fmla="*/ 2341141 w 3142643"/>
                  <a:gd name="connsiteY42" fmla="*/ 182880 h 3131365"/>
                  <a:gd name="connsiteX43" fmla="*/ 2371621 w 3142643"/>
                  <a:gd name="connsiteY43" fmla="*/ 190500 h 3131365"/>
                  <a:gd name="connsiteX0" fmla="*/ 2371621 w 3142643"/>
                  <a:gd name="connsiteY0" fmla="*/ 190500 h 3131365"/>
                  <a:gd name="connsiteX1" fmla="*/ 2493541 w 3142643"/>
                  <a:gd name="connsiteY1" fmla="*/ 297180 h 3131365"/>
                  <a:gd name="connsiteX2" fmla="*/ 2607841 w 3142643"/>
                  <a:gd name="connsiteY2" fmla="*/ 381000 h 3131365"/>
                  <a:gd name="connsiteX3" fmla="*/ 2706901 w 3142643"/>
                  <a:gd name="connsiteY3" fmla="*/ 487680 h 3131365"/>
                  <a:gd name="connsiteX4" fmla="*/ 2729761 w 3142643"/>
                  <a:gd name="connsiteY4" fmla="*/ 510540 h 3131365"/>
                  <a:gd name="connsiteX5" fmla="*/ 2790721 w 3142643"/>
                  <a:gd name="connsiteY5" fmla="*/ 594360 h 3131365"/>
                  <a:gd name="connsiteX6" fmla="*/ 2851681 w 3142643"/>
                  <a:gd name="connsiteY6" fmla="*/ 662940 h 3131365"/>
                  <a:gd name="connsiteX7" fmla="*/ 2950741 w 3142643"/>
                  <a:gd name="connsiteY7" fmla="*/ 845820 h 3131365"/>
                  <a:gd name="connsiteX8" fmla="*/ 3011701 w 3142643"/>
                  <a:gd name="connsiteY8" fmla="*/ 998220 h 3131365"/>
                  <a:gd name="connsiteX9" fmla="*/ 3034561 w 3142643"/>
                  <a:gd name="connsiteY9" fmla="*/ 1066800 h 3131365"/>
                  <a:gd name="connsiteX10" fmla="*/ 3103141 w 3142643"/>
                  <a:gd name="connsiteY10" fmla="*/ 1280160 h 3131365"/>
                  <a:gd name="connsiteX11" fmla="*/ 3141241 w 3142643"/>
                  <a:gd name="connsiteY11" fmla="*/ 1485900 h 3131365"/>
                  <a:gd name="connsiteX12" fmla="*/ 3133621 w 3142643"/>
                  <a:gd name="connsiteY12" fmla="*/ 1691640 h 3131365"/>
                  <a:gd name="connsiteX13" fmla="*/ 3126001 w 3142643"/>
                  <a:gd name="connsiteY13" fmla="*/ 1767840 h 3131365"/>
                  <a:gd name="connsiteX14" fmla="*/ 3062183 w 3142643"/>
                  <a:gd name="connsiteY14" fmla="*/ 2038350 h 3131365"/>
                  <a:gd name="connsiteX15" fmla="*/ 2950741 w 3142643"/>
                  <a:gd name="connsiteY15" fmla="*/ 2331720 h 3131365"/>
                  <a:gd name="connsiteX16" fmla="*/ 2845014 w 3142643"/>
                  <a:gd name="connsiteY16" fmla="*/ 2504122 h 3131365"/>
                  <a:gd name="connsiteX17" fmla="*/ 2706901 w 3142643"/>
                  <a:gd name="connsiteY17" fmla="*/ 2667000 h 3131365"/>
                  <a:gd name="connsiteX18" fmla="*/ 2303041 w 3142643"/>
                  <a:gd name="connsiteY18" fmla="*/ 2971800 h 3131365"/>
                  <a:gd name="connsiteX19" fmla="*/ 2097301 w 3142643"/>
                  <a:gd name="connsiteY19" fmla="*/ 3055620 h 3131365"/>
                  <a:gd name="connsiteX20" fmla="*/ 1809646 w 3142643"/>
                  <a:gd name="connsiteY20" fmla="*/ 3123247 h 3131365"/>
                  <a:gd name="connsiteX21" fmla="*/ 1335301 w 3142643"/>
                  <a:gd name="connsiteY21" fmla="*/ 3108960 h 3131365"/>
                  <a:gd name="connsiteX22" fmla="*/ 794281 w 3142643"/>
                  <a:gd name="connsiteY22" fmla="*/ 2933700 h 3131365"/>
                  <a:gd name="connsiteX23" fmla="*/ 420901 w 3142643"/>
                  <a:gd name="connsiteY23" fmla="*/ 2644140 h 3131365"/>
                  <a:gd name="connsiteX24" fmla="*/ 298981 w 3142643"/>
                  <a:gd name="connsiteY24" fmla="*/ 2499360 h 3131365"/>
                  <a:gd name="connsiteX25" fmla="*/ 184681 w 3142643"/>
                  <a:gd name="connsiteY25" fmla="*/ 2308860 h 3131365"/>
                  <a:gd name="connsiteX26" fmla="*/ 39901 w 3142643"/>
                  <a:gd name="connsiteY26" fmla="*/ 1943100 h 3131365"/>
                  <a:gd name="connsiteX27" fmla="*/ 1801 w 3142643"/>
                  <a:gd name="connsiteY27" fmla="*/ 1562100 h 3131365"/>
                  <a:gd name="connsiteX28" fmla="*/ 55141 w 3142643"/>
                  <a:gd name="connsiteY28" fmla="*/ 1135380 h 3131365"/>
                  <a:gd name="connsiteX29" fmla="*/ 161821 w 3142643"/>
                  <a:gd name="connsiteY29" fmla="*/ 861060 h 3131365"/>
                  <a:gd name="connsiteX30" fmla="*/ 260881 w 3142643"/>
                  <a:gd name="connsiteY30" fmla="*/ 708660 h 3131365"/>
                  <a:gd name="connsiteX31" fmla="*/ 420901 w 3142643"/>
                  <a:gd name="connsiteY31" fmla="*/ 510540 h 3131365"/>
                  <a:gd name="connsiteX32" fmla="*/ 512341 w 3142643"/>
                  <a:gd name="connsiteY32" fmla="*/ 434340 h 3131365"/>
                  <a:gd name="connsiteX33" fmla="*/ 657121 w 3142643"/>
                  <a:gd name="connsiteY33" fmla="*/ 312420 h 3131365"/>
                  <a:gd name="connsiteX34" fmla="*/ 870481 w 3142643"/>
                  <a:gd name="connsiteY34" fmla="*/ 175260 h 3131365"/>
                  <a:gd name="connsiteX35" fmla="*/ 1106701 w 3142643"/>
                  <a:gd name="connsiteY35" fmla="*/ 76200 h 3131365"/>
                  <a:gd name="connsiteX36" fmla="*/ 1243861 w 3142643"/>
                  <a:gd name="connsiteY36" fmla="*/ 38100 h 3131365"/>
                  <a:gd name="connsiteX37" fmla="*/ 1388641 w 3142643"/>
                  <a:gd name="connsiteY37" fmla="*/ 15240 h 3131365"/>
                  <a:gd name="connsiteX38" fmla="*/ 1464841 w 3142643"/>
                  <a:gd name="connsiteY38" fmla="*/ 0 h 3131365"/>
                  <a:gd name="connsiteX39" fmla="*/ 1746781 w 3142643"/>
                  <a:gd name="connsiteY39" fmla="*/ 0 h 3131365"/>
                  <a:gd name="connsiteX40" fmla="*/ 2165881 w 3142643"/>
                  <a:gd name="connsiteY40" fmla="*/ 99060 h 3131365"/>
                  <a:gd name="connsiteX41" fmla="*/ 2341141 w 3142643"/>
                  <a:gd name="connsiteY41" fmla="*/ 182880 h 3131365"/>
                  <a:gd name="connsiteX42" fmla="*/ 2371621 w 3142643"/>
                  <a:gd name="connsiteY42" fmla="*/ 190500 h 31313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3142643" h="3131365">
                    <a:moveTo>
                      <a:pt x="2371621" y="190500"/>
                    </a:moveTo>
                    <a:cubicBezTo>
                      <a:pt x="2397021" y="209550"/>
                      <a:pt x="2454171" y="265430"/>
                      <a:pt x="2493541" y="297180"/>
                    </a:cubicBezTo>
                    <a:cubicBezTo>
                      <a:pt x="2532911" y="328930"/>
                      <a:pt x="2572281" y="349250"/>
                      <a:pt x="2607841" y="381000"/>
                    </a:cubicBezTo>
                    <a:cubicBezTo>
                      <a:pt x="2643401" y="412750"/>
                      <a:pt x="2686581" y="466090"/>
                      <a:pt x="2706901" y="487680"/>
                    </a:cubicBezTo>
                    <a:cubicBezTo>
                      <a:pt x="2727221" y="509270"/>
                      <a:pt x="2722748" y="502358"/>
                      <a:pt x="2729761" y="510540"/>
                    </a:cubicBezTo>
                    <a:cubicBezTo>
                      <a:pt x="2752356" y="536901"/>
                      <a:pt x="2768126" y="567999"/>
                      <a:pt x="2790721" y="594360"/>
                    </a:cubicBezTo>
                    <a:cubicBezTo>
                      <a:pt x="2836586" y="647869"/>
                      <a:pt x="2825011" y="621030"/>
                      <a:pt x="2851681" y="662940"/>
                    </a:cubicBezTo>
                    <a:cubicBezTo>
                      <a:pt x="2878351" y="704850"/>
                      <a:pt x="2924071" y="789940"/>
                      <a:pt x="2950741" y="845820"/>
                    </a:cubicBezTo>
                    <a:cubicBezTo>
                      <a:pt x="2977411" y="901700"/>
                      <a:pt x="2997731" y="961390"/>
                      <a:pt x="3011701" y="998220"/>
                    </a:cubicBezTo>
                    <a:cubicBezTo>
                      <a:pt x="3025671" y="1035050"/>
                      <a:pt x="3019321" y="1019810"/>
                      <a:pt x="3034561" y="1066800"/>
                    </a:cubicBezTo>
                    <a:cubicBezTo>
                      <a:pt x="3049801" y="1113790"/>
                      <a:pt x="3085361" y="1210310"/>
                      <a:pt x="3103141" y="1280160"/>
                    </a:cubicBezTo>
                    <a:cubicBezTo>
                      <a:pt x="3120921" y="1350010"/>
                      <a:pt x="3136161" y="1417320"/>
                      <a:pt x="3141241" y="1485900"/>
                    </a:cubicBezTo>
                    <a:cubicBezTo>
                      <a:pt x="3146321" y="1554480"/>
                      <a:pt x="3136161" y="1644650"/>
                      <a:pt x="3133621" y="1691640"/>
                    </a:cubicBezTo>
                    <a:cubicBezTo>
                      <a:pt x="3131081" y="1717040"/>
                      <a:pt x="3137907" y="1710055"/>
                      <a:pt x="3126001" y="1767840"/>
                    </a:cubicBezTo>
                    <a:cubicBezTo>
                      <a:pt x="3114095" y="1825625"/>
                      <a:pt x="3091393" y="1944370"/>
                      <a:pt x="3062183" y="2038350"/>
                    </a:cubicBezTo>
                    <a:cubicBezTo>
                      <a:pt x="3032973" y="2132330"/>
                      <a:pt x="2986936" y="2254091"/>
                      <a:pt x="2950741" y="2331720"/>
                    </a:cubicBezTo>
                    <a:cubicBezTo>
                      <a:pt x="2914546" y="2409349"/>
                      <a:pt x="2885654" y="2448242"/>
                      <a:pt x="2845014" y="2504122"/>
                    </a:cubicBezTo>
                    <a:cubicBezTo>
                      <a:pt x="2804374" y="2560002"/>
                      <a:pt x="2797230" y="2589054"/>
                      <a:pt x="2706901" y="2667000"/>
                    </a:cubicBezTo>
                    <a:cubicBezTo>
                      <a:pt x="2616572" y="2744946"/>
                      <a:pt x="2404641" y="2907030"/>
                      <a:pt x="2303041" y="2971800"/>
                    </a:cubicBezTo>
                    <a:cubicBezTo>
                      <a:pt x="2201441" y="3036570"/>
                      <a:pt x="2179533" y="3030379"/>
                      <a:pt x="2097301" y="3055620"/>
                    </a:cubicBezTo>
                    <a:cubicBezTo>
                      <a:pt x="2015069" y="3080861"/>
                      <a:pt x="1936646" y="3114357"/>
                      <a:pt x="1809646" y="3123247"/>
                    </a:cubicBezTo>
                    <a:cubicBezTo>
                      <a:pt x="1682646" y="3132137"/>
                      <a:pt x="1504528" y="3140551"/>
                      <a:pt x="1335301" y="3108960"/>
                    </a:cubicBezTo>
                    <a:cubicBezTo>
                      <a:pt x="1166074" y="3077369"/>
                      <a:pt x="946681" y="3011170"/>
                      <a:pt x="794281" y="2933700"/>
                    </a:cubicBezTo>
                    <a:cubicBezTo>
                      <a:pt x="641881" y="2856230"/>
                      <a:pt x="503451" y="2716530"/>
                      <a:pt x="420901" y="2644140"/>
                    </a:cubicBezTo>
                    <a:cubicBezTo>
                      <a:pt x="338351" y="2571750"/>
                      <a:pt x="338351" y="2555240"/>
                      <a:pt x="298981" y="2499360"/>
                    </a:cubicBezTo>
                    <a:cubicBezTo>
                      <a:pt x="259611" y="2443480"/>
                      <a:pt x="227861" y="2401570"/>
                      <a:pt x="184681" y="2308860"/>
                    </a:cubicBezTo>
                    <a:cubicBezTo>
                      <a:pt x="141501" y="2216150"/>
                      <a:pt x="70381" y="2067560"/>
                      <a:pt x="39901" y="1943100"/>
                    </a:cubicBezTo>
                    <a:cubicBezTo>
                      <a:pt x="27201" y="1816100"/>
                      <a:pt x="-8359" y="1734820"/>
                      <a:pt x="1801" y="1562100"/>
                    </a:cubicBezTo>
                    <a:cubicBezTo>
                      <a:pt x="9265" y="1435218"/>
                      <a:pt x="28471" y="1252220"/>
                      <a:pt x="55141" y="1135380"/>
                    </a:cubicBezTo>
                    <a:cubicBezTo>
                      <a:pt x="81811" y="1018540"/>
                      <a:pt x="127531" y="932180"/>
                      <a:pt x="161821" y="861060"/>
                    </a:cubicBezTo>
                    <a:cubicBezTo>
                      <a:pt x="196111" y="789940"/>
                      <a:pt x="217701" y="767080"/>
                      <a:pt x="260881" y="708660"/>
                    </a:cubicBezTo>
                    <a:cubicBezTo>
                      <a:pt x="304061" y="650240"/>
                      <a:pt x="378991" y="556260"/>
                      <a:pt x="420901" y="510540"/>
                    </a:cubicBezTo>
                    <a:cubicBezTo>
                      <a:pt x="462811" y="464820"/>
                      <a:pt x="472971" y="467360"/>
                      <a:pt x="512341" y="434340"/>
                    </a:cubicBezTo>
                    <a:cubicBezTo>
                      <a:pt x="551711" y="401320"/>
                      <a:pt x="597431" y="355600"/>
                      <a:pt x="657121" y="312420"/>
                    </a:cubicBezTo>
                    <a:cubicBezTo>
                      <a:pt x="716811" y="269240"/>
                      <a:pt x="820951" y="205740"/>
                      <a:pt x="870481" y="175260"/>
                    </a:cubicBezTo>
                    <a:cubicBezTo>
                      <a:pt x="945411" y="135890"/>
                      <a:pt x="1044471" y="99060"/>
                      <a:pt x="1106701" y="76200"/>
                    </a:cubicBezTo>
                    <a:cubicBezTo>
                      <a:pt x="1168931" y="53340"/>
                      <a:pt x="1196871" y="48260"/>
                      <a:pt x="1243861" y="38100"/>
                    </a:cubicBezTo>
                    <a:cubicBezTo>
                      <a:pt x="1290851" y="27940"/>
                      <a:pt x="1351811" y="21590"/>
                      <a:pt x="1388641" y="15240"/>
                    </a:cubicBezTo>
                    <a:cubicBezTo>
                      <a:pt x="1425471" y="8890"/>
                      <a:pt x="1464841" y="0"/>
                      <a:pt x="1464841" y="0"/>
                    </a:cubicBezTo>
                    <a:lnTo>
                      <a:pt x="1746781" y="0"/>
                    </a:lnTo>
                    <a:cubicBezTo>
                      <a:pt x="1863621" y="16510"/>
                      <a:pt x="2066821" y="68580"/>
                      <a:pt x="2165881" y="99060"/>
                    </a:cubicBezTo>
                    <a:cubicBezTo>
                      <a:pt x="2264941" y="129540"/>
                      <a:pt x="2282524" y="168226"/>
                      <a:pt x="2341141" y="182880"/>
                    </a:cubicBezTo>
                    <a:lnTo>
                      <a:pt x="2371621" y="190500"/>
                    </a:lnTo>
                    <a:close/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EDC2F114-89D0-E899-4DD5-01AB641F173C}"/>
                  </a:ext>
                </a:extLst>
              </p:cNvPr>
              <p:cNvSpPr/>
              <p:nvPr/>
            </p:nvSpPr>
            <p:spPr>
              <a:xfrm>
                <a:off x="4610100" y="2186941"/>
                <a:ext cx="2056448" cy="917172"/>
              </a:xfrm>
              <a:custGeom>
                <a:avLst/>
                <a:gdLst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175260 w 2080260"/>
                  <a:gd name="connsiteY7" fmla="*/ 243840 h 932460"/>
                  <a:gd name="connsiteX8" fmla="*/ 274320 w 2080260"/>
                  <a:gd name="connsiteY8" fmla="*/ 320040 h 932460"/>
                  <a:gd name="connsiteX9" fmla="*/ 373380 w 2080260"/>
                  <a:gd name="connsiteY9" fmla="*/ 411480 h 932460"/>
                  <a:gd name="connsiteX10" fmla="*/ 403860 w 2080260"/>
                  <a:gd name="connsiteY10" fmla="*/ 419100 h 932460"/>
                  <a:gd name="connsiteX11" fmla="*/ 457200 w 2080260"/>
                  <a:gd name="connsiteY11" fmla="*/ 472440 h 932460"/>
                  <a:gd name="connsiteX12" fmla="*/ 472440 w 2080260"/>
                  <a:gd name="connsiteY12" fmla="*/ 510540 h 932460"/>
                  <a:gd name="connsiteX13" fmla="*/ 541020 w 2080260"/>
                  <a:gd name="connsiteY13" fmla="*/ 556260 h 932460"/>
                  <a:gd name="connsiteX14" fmla="*/ 670560 w 2080260"/>
                  <a:gd name="connsiteY14" fmla="*/ 601980 h 932460"/>
                  <a:gd name="connsiteX15" fmla="*/ 716280 w 2080260"/>
                  <a:gd name="connsiteY15" fmla="*/ 624840 h 932460"/>
                  <a:gd name="connsiteX16" fmla="*/ 739140 w 2080260"/>
                  <a:gd name="connsiteY16" fmla="*/ 632460 h 932460"/>
                  <a:gd name="connsiteX17" fmla="*/ 784860 w 2080260"/>
                  <a:gd name="connsiteY17" fmla="*/ 662940 h 932460"/>
                  <a:gd name="connsiteX18" fmla="*/ 815340 w 2080260"/>
                  <a:gd name="connsiteY18" fmla="*/ 678180 h 932460"/>
                  <a:gd name="connsiteX19" fmla="*/ 853440 w 2080260"/>
                  <a:gd name="connsiteY19" fmla="*/ 701040 h 932460"/>
                  <a:gd name="connsiteX20" fmla="*/ 883920 w 2080260"/>
                  <a:gd name="connsiteY20" fmla="*/ 708660 h 932460"/>
                  <a:gd name="connsiteX21" fmla="*/ 967740 w 2080260"/>
                  <a:gd name="connsiteY21" fmla="*/ 746760 h 932460"/>
                  <a:gd name="connsiteX22" fmla="*/ 990600 w 2080260"/>
                  <a:gd name="connsiteY22" fmla="*/ 754380 h 932460"/>
                  <a:gd name="connsiteX23" fmla="*/ 1089660 w 2080260"/>
                  <a:gd name="connsiteY23" fmla="*/ 800100 h 932460"/>
                  <a:gd name="connsiteX24" fmla="*/ 1173480 w 2080260"/>
                  <a:gd name="connsiteY24" fmla="*/ 822960 h 932460"/>
                  <a:gd name="connsiteX25" fmla="*/ 1211580 w 2080260"/>
                  <a:gd name="connsiteY25" fmla="*/ 830580 h 932460"/>
                  <a:gd name="connsiteX26" fmla="*/ 1272540 w 2080260"/>
                  <a:gd name="connsiteY26" fmla="*/ 853440 h 932460"/>
                  <a:gd name="connsiteX27" fmla="*/ 1325880 w 2080260"/>
                  <a:gd name="connsiteY27" fmla="*/ 861060 h 932460"/>
                  <a:gd name="connsiteX28" fmla="*/ 1516380 w 2080260"/>
                  <a:gd name="connsiteY28" fmla="*/ 899160 h 932460"/>
                  <a:gd name="connsiteX29" fmla="*/ 1584960 w 2080260"/>
                  <a:gd name="connsiteY29" fmla="*/ 906780 h 932460"/>
                  <a:gd name="connsiteX30" fmla="*/ 1965960 w 2080260"/>
                  <a:gd name="connsiteY30" fmla="*/ 914400 h 932460"/>
                  <a:gd name="connsiteX31" fmla="*/ 1996440 w 2080260"/>
                  <a:gd name="connsiteY31" fmla="*/ 899160 h 932460"/>
                  <a:gd name="connsiteX32" fmla="*/ 2042160 w 2080260"/>
                  <a:gd name="connsiteY32" fmla="*/ 883920 h 932460"/>
                  <a:gd name="connsiteX33" fmla="*/ 2080260 w 2080260"/>
                  <a:gd name="connsiteY33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175260 w 2080260"/>
                  <a:gd name="connsiteY7" fmla="*/ 243840 h 932460"/>
                  <a:gd name="connsiteX8" fmla="*/ 274320 w 2080260"/>
                  <a:gd name="connsiteY8" fmla="*/ 320040 h 932460"/>
                  <a:gd name="connsiteX9" fmla="*/ 373380 w 2080260"/>
                  <a:gd name="connsiteY9" fmla="*/ 411480 h 932460"/>
                  <a:gd name="connsiteX10" fmla="*/ 457200 w 2080260"/>
                  <a:gd name="connsiteY10" fmla="*/ 472440 h 932460"/>
                  <a:gd name="connsiteX11" fmla="*/ 472440 w 2080260"/>
                  <a:gd name="connsiteY11" fmla="*/ 510540 h 932460"/>
                  <a:gd name="connsiteX12" fmla="*/ 541020 w 2080260"/>
                  <a:gd name="connsiteY12" fmla="*/ 556260 h 932460"/>
                  <a:gd name="connsiteX13" fmla="*/ 670560 w 2080260"/>
                  <a:gd name="connsiteY13" fmla="*/ 601980 h 932460"/>
                  <a:gd name="connsiteX14" fmla="*/ 716280 w 2080260"/>
                  <a:gd name="connsiteY14" fmla="*/ 624840 h 932460"/>
                  <a:gd name="connsiteX15" fmla="*/ 739140 w 2080260"/>
                  <a:gd name="connsiteY15" fmla="*/ 632460 h 932460"/>
                  <a:gd name="connsiteX16" fmla="*/ 784860 w 2080260"/>
                  <a:gd name="connsiteY16" fmla="*/ 662940 h 932460"/>
                  <a:gd name="connsiteX17" fmla="*/ 815340 w 2080260"/>
                  <a:gd name="connsiteY17" fmla="*/ 678180 h 932460"/>
                  <a:gd name="connsiteX18" fmla="*/ 853440 w 2080260"/>
                  <a:gd name="connsiteY18" fmla="*/ 701040 h 932460"/>
                  <a:gd name="connsiteX19" fmla="*/ 883920 w 2080260"/>
                  <a:gd name="connsiteY19" fmla="*/ 708660 h 932460"/>
                  <a:gd name="connsiteX20" fmla="*/ 967740 w 2080260"/>
                  <a:gd name="connsiteY20" fmla="*/ 746760 h 932460"/>
                  <a:gd name="connsiteX21" fmla="*/ 990600 w 2080260"/>
                  <a:gd name="connsiteY21" fmla="*/ 754380 h 932460"/>
                  <a:gd name="connsiteX22" fmla="*/ 1089660 w 2080260"/>
                  <a:gd name="connsiteY22" fmla="*/ 800100 h 932460"/>
                  <a:gd name="connsiteX23" fmla="*/ 1173480 w 2080260"/>
                  <a:gd name="connsiteY23" fmla="*/ 822960 h 932460"/>
                  <a:gd name="connsiteX24" fmla="*/ 1211580 w 2080260"/>
                  <a:gd name="connsiteY24" fmla="*/ 830580 h 932460"/>
                  <a:gd name="connsiteX25" fmla="*/ 1272540 w 2080260"/>
                  <a:gd name="connsiteY25" fmla="*/ 853440 h 932460"/>
                  <a:gd name="connsiteX26" fmla="*/ 1325880 w 2080260"/>
                  <a:gd name="connsiteY26" fmla="*/ 861060 h 932460"/>
                  <a:gd name="connsiteX27" fmla="*/ 1516380 w 2080260"/>
                  <a:gd name="connsiteY27" fmla="*/ 899160 h 932460"/>
                  <a:gd name="connsiteX28" fmla="*/ 1584960 w 2080260"/>
                  <a:gd name="connsiteY28" fmla="*/ 906780 h 932460"/>
                  <a:gd name="connsiteX29" fmla="*/ 1965960 w 2080260"/>
                  <a:gd name="connsiteY29" fmla="*/ 914400 h 932460"/>
                  <a:gd name="connsiteX30" fmla="*/ 1996440 w 2080260"/>
                  <a:gd name="connsiteY30" fmla="*/ 899160 h 932460"/>
                  <a:gd name="connsiteX31" fmla="*/ 2042160 w 2080260"/>
                  <a:gd name="connsiteY31" fmla="*/ 883920 h 932460"/>
                  <a:gd name="connsiteX32" fmla="*/ 2080260 w 2080260"/>
                  <a:gd name="connsiteY32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274320 w 2080260"/>
                  <a:gd name="connsiteY7" fmla="*/ 320040 h 932460"/>
                  <a:gd name="connsiteX8" fmla="*/ 373380 w 2080260"/>
                  <a:gd name="connsiteY8" fmla="*/ 411480 h 932460"/>
                  <a:gd name="connsiteX9" fmla="*/ 457200 w 2080260"/>
                  <a:gd name="connsiteY9" fmla="*/ 472440 h 932460"/>
                  <a:gd name="connsiteX10" fmla="*/ 472440 w 2080260"/>
                  <a:gd name="connsiteY10" fmla="*/ 510540 h 932460"/>
                  <a:gd name="connsiteX11" fmla="*/ 541020 w 2080260"/>
                  <a:gd name="connsiteY11" fmla="*/ 556260 h 932460"/>
                  <a:gd name="connsiteX12" fmla="*/ 670560 w 2080260"/>
                  <a:gd name="connsiteY12" fmla="*/ 601980 h 932460"/>
                  <a:gd name="connsiteX13" fmla="*/ 716280 w 2080260"/>
                  <a:gd name="connsiteY13" fmla="*/ 624840 h 932460"/>
                  <a:gd name="connsiteX14" fmla="*/ 739140 w 2080260"/>
                  <a:gd name="connsiteY14" fmla="*/ 632460 h 932460"/>
                  <a:gd name="connsiteX15" fmla="*/ 784860 w 2080260"/>
                  <a:gd name="connsiteY15" fmla="*/ 662940 h 932460"/>
                  <a:gd name="connsiteX16" fmla="*/ 815340 w 2080260"/>
                  <a:gd name="connsiteY16" fmla="*/ 678180 h 932460"/>
                  <a:gd name="connsiteX17" fmla="*/ 853440 w 2080260"/>
                  <a:gd name="connsiteY17" fmla="*/ 701040 h 932460"/>
                  <a:gd name="connsiteX18" fmla="*/ 883920 w 2080260"/>
                  <a:gd name="connsiteY18" fmla="*/ 708660 h 932460"/>
                  <a:gd name="connsiteX19" fmla="*/ 967740 w 2080260"/>
                  <a:gd name="connsiteY19" fmla="*/ 746760 h 932460"/>
                  <a:gd name="connsiteX20" fmla="*/ 990600 w 2080260"/>
                  <a:gd name="connsiteY20" fmla="*/ 754380 h 932460"/>
                  <a:gd name="connsiteX21" fmla="*/ 1089660 w 2080260"/>
                  <a:gd name="connsiteY21" fmla="*/ 800100 h 932460"/>
                  <a:gd name="connsiteX22" fmla="*/ 1173480 w 2080260"/>
                  <a:gd name="connsiteY22" fmla="*/ 822960 h 932460"/>
                  <a:gd name="connsiteX23" fmla="*/ 1211580 w 2080260"/>
                  <a:gd name="connsiteY23" fmla="*/ 830580 h 932460"/>
                  <a:gd name="connsiteX24" fmla="*/ 1272540 w 2080260"/>
                  <a:gd name="connsiteY24" fmla="*/ 853440 h 932460"/>
                  <a:gd name="connsiteX25" fmla="*/ 1325880 w 2080260"/>
                  <a:gd name="connsiteY25" fmla="*/ 861060 h 932460"/>
                  <a:gd name="connsiteX26" fmla="*/ 1516380 w 2080260"/>
                  <a:gd name="connsiteY26" fmla="*/ 899160 h 932460"/>
                  <a:gd name="connsiteX27" fmla="*/ 1584960 w 2080260"/>
                  <a:gd name="connsiteY27" fmla="*/ 906780 h 932460"/>
                  <a:gd name="connsiteX28" fmla="*/ 1965960 w 2080260"/>
                  <a:gd name="connsiteY28" fmla="*/ 914400 h 932460"/>
                  <a:gd name="connsiteX29" fmla="*/ 1996440 w 2080260"/>
                  <a:gd name="connsiteY29" fmla="*/ 899160 h 932460"/>
                  <a:gd name="connsiteX30" fmla="*/ 2042160 w 2080260"/>
                  <a:gd name="connsiteY30" fmla="*/ 883920 h 932460"/>
                  <a:gd name="connsiteX31" fmla="*/ 2080260 w 2080260"/>
                  <a:gd name="connsiteY31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373380 w 2080260"/>
                  <a:gd name="connsiteY7" fmla="*/ 411480 h 932460"/>
                  <a:gd name="connsiteX8" fmla="*/ 457200 w 2080260"/>
                  <a:gd name="connsiteY8" fmla="*/ 472440 h 932460"/>
                  <a:gd name="connsiteX9" fmla="*/ 472440 w 2080260"/>
                  <a:gd name="connsiteY9" fmla="*/ 510540 h 932460"/>
                  <a:gd name="connsiteX10" fmla="*/ 541020 w 2080260"/>
                  <a:gd name="connsiteY10" fmla="*/ 556260 h 932460"/>
                  <a:gd name="connsiteX11" fmla="*/ 670560 w 2080260"/>
                  <a:gd name="connsiteY11" fmla="*/ 601980 h 932460"/>
                  <a:gd name="connsiteX12" fmla="*/ 716280 w 2080260"/>
                  <a:gd name="connsiteY12" fmla="*/ 624840 h 932460"/>
                  <a:gd name="connsiteX13" fmla="*/ 739140 w 2080260"/>
                  <a:gd name="connsiteY13" fmla="*/ 632460 h 932460"/>
                  <a:gd name="connsiteX14" fmla="*/ 784860 w 2080260"/>
                  <a:gd name="connsiteY14" fmla="*/ 662940 h 932460"/>
                  <a:gd name="connsiteX15" fmla="*/ 815340 w 2080260"/>
                  <a:gd name="connsiteY15" fmla="*/ 678180 h 932460"/>
                  <a:gd name="connsiteX16" fmla="*/ 853440 w 2080260"/>
                  <a:gd name="connsiteY16" fmla="*/ 701040 h 932460"/>
                  <a:gd name="connsiteX17" fmla="*/ 883920 w 2080260"/>
                  <a:gd name="connsiteY17" fmla="*/ 708660 h 932460"/>
                  <a:gd name="connsiteX18" fmla="*/ 967740 w 2080260"/>
                  <a:gd name="connsiteY18" fmla="*/ 746760 h 932460"/>
                  <a:gd name="connsiteX19" fmla="*/ 990600 w 2080260"/>
                  <a:gd name="connsiteY19" fmla="*/ 754380 h 932460"/>
                  <a:gd name="connsiteX20" fmla="*/ 1089660 w 2080260"/>
                  <a:gd name="connsiteY20" fmla="*/ 800100 h 932460"/>
                  <a:gd name="connsiteX21" fmla="*/ 1173480 w 2080260"/>
                  <a:gd name="connsiteY21" fmla="*/ 822960 h 932460"/>
                  <a:gd name="connsiteX22" fmla="*/ 1211580 w 2080260"/>
                  <a:gd name="connsiteY22" fmla="*/ 830580 h 932460"/>
                  <a:gd name="connsiteX23" fmla="*/ 1272540 w 2080260"/>
                  <a:gd name="connsiteY23" fmla="*/ 853440 h 932460"/>
                  <a:gd name="connsiteX24" fmla="*/ 1325880 w 2080260"/>
                  <a:gd name="connsiteY24" fmla="*/ 861060 h 932460"/>
                  <a:gd name="connsiteX25" fmla="*/ 1516380 w 2080260"/>
                  <a:gd name="connsiteY25" fmla="*/ 899160 h 932460"/>
                  <a:gd name="connsiteX26" fmla="*/ 1584960 w 2080260"/>
                  <a:gd name="connsiteY26" fmla="*/ 906780 h 932460"/>
                  <a:gd name="connsiteX27" fmla="*/ 1965960 w 2080260"/>
                  <a:gd name="connsiteY27" fmla="*/ 914400 h 932460"/>
                  <a:gd name="connsiteX28" fmla="*/ 1996440 w 2080260"/>
                  <a:gd name="connsiteY28" fmla="*/ 899160 h 932460"/>
                  <a:gd name="connsiteX29" fmla="*/ 2042160 w 2080260"/>
                  <a:gd name="connsiteY29" fmla="*/ 883920 h 932460"/>
                  <a:gd name="connsiteX30" fmla="*/ 2080260 w 2080260"/>
                  <a:gd name="connsiteY30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373380 w 2080260"/>
                  <a:gd name="connsiteY7" fmla="*/ 411480 h 932460"/>
                  <a:gd name="connsiteX8" fmla="*/ 457200 w 2080260"/>
                  <a:gd name="connsiteY8" fmla="*/ 472440 h 932460"/>
                  <a:gd name="connsiteX9" fmla="*/ 472440 w 2080260"/>
                  <a:gd name="connsiteY9" fmla="*/ 510540 h 932460"/>
                  <a:gd name="connsiteX10" fmla="*/ 541020 w 2080260"/>
                  <a:gd name="connsiteY10" fmla="*/ 556260 h 932460"/>
                  <a:gd name="connsiteX11" fmla="*/ 670560 w 2080260"/>
                  <a:gd name="connsiteY11" fmla="*/ 601980 h 932460"/>
                  <a:gd name="connsiteX12" fmla="*/ 716280 w 2080260"/>
                  <a:gd name="connsiteY12" fmla="*/ 624840 h 932460"/>
                  <a:gd name="connsiteX13" fmla="*/ 739140 w 2080260"/>
                  <a:gd name="connsiteY13" fmla="*/ 632460 h 932460"/>
                  <a:gd name="connsiteX14" fmla="*/ 784860 w 2080260"/>
                  <a:gd name="connsiteY14" fmla="*/ 662940 h 932460"/>
                  <a:gd name="connsiteX15" fmla="*/ 815340 w 2080260"/>
                  <a:gd name="connsiteY15" fmla="*/ 678180 h 932460"/>
                  <a:gd name="connsiteX16" fmla="*/ 853440 w 2080260"/>
                  <a:gd name="connsiteY16" fmla="*/ 701040 h 932460"/>
                  <a:gd name="connsiteX17" fmla="*/ 883920 w 2080260"/>
                  <a:gd name="connsiteY17" fmla="*/ 708660 h 932460"/>
                  <a:gd name="connsiteX18" fmla="*/ 967740 w 2080260"/>
                  <a:gd name="connsiteY18" fmla="*/ 746760 h 932460"/>
                  <a:gd name="connsiteX19" fmla="*/ 990600 w 2080260"/>
                  <a:gd name="connsiteY19" fmla="*/ 754380 h 932460"/>
                  <a:gd name="connsiteX20" fmla="*/ 1173480 w 2080260"/>
                  <a:gd name="connsiteY20" fmla="*/ 822960 h 932460"/>
                  <a:gd name="connsiteX21" fmla="*/ 1211580 w 2080260"/>
                  <a:gd name="connsiteY21" fmla="*/ 830580 h 932460"/>
                  <a:gd name="connsiteX22" fmla="*/ 1272540 w 2080260"/>
                  <a:gd name="connsiteY22" fmla="*/ 853440 h 932460"/>
                  <a:gd name="connsiteX23" fmla="*/ 1325880 w 2080260"/>
                  <a:gd name="connsiteY23" fmla="*/ 861060 h 932460"/>
                  <a:gd name="connsiteX24" fmla="*/ 1516380 w 2080260"/>
                  <a:gd name="connsiteY24" fmla="*/ 899160 h 932460"/>
                  <a:gd name="connsiteX25" fmla="*/ 1584960 w 2080260"/>
                  <a:gd name="connsiteY25" fmla="*/ 906780 h 932460"/>
                  <a:gd name="connsiteX26" fmla="*/ 1965960 w 2080260"/>
                  <a:gd name="connsiteY26" fmla="*/ 914400 h 932460"/>
                  <a:gd name="connsiteX27" fmla="*/ 1996440 w 2080260"/>
                  <a:gd name="connsiteY27" fmla="*/ 899160 h 932460"/>
                  <a:gd name="connsiteX28" fmla="*/ 2042160 w 2080260"/>
                  <a:gd name="connsiteY28" fmla="*/ 883920 h 932460"/>
                  <a:gd name="connsiteX29" fmla="*/ 2080260 w 2080260"/>
                  <a:gd name="connsiteY29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373380 w 2080260"/>
                  <a:gd name="connsiteY7" fmla="*/ 411480 h 932460"/>
                  <a:gd name="connsiteX8" fmla="*/ 457200 w 2080260"/>
                  <a:gd name="connsiteY8" fmla="*/ 472440 h 932460"/>
                  <a:gd name="connsiteX9" fmla="*/ 472440 w 2080260"/>
                  <a:gd name="connsiteY9" fmla="*/ 510540 h 932460"/>
                  <a:gd name="connsiteX10" fmla="*/ 541020 w 2080260"/>
                  <a:gd name="connsiteY10" fmla="*/ 556260 h 932460"/>
                  <a:gd name="connsiteX11" fmla="*/ 670560 w 2080260"/>
                  <a:gd name="connsiteY11" fmla="*/ 601980 h 932460"/>
                  <a:gd name="connsiteX12" fmla="*/ 716280 w 2080260"/>
                  <a:gd name="connsiteY12" fmla="*/ 624840 h 932460"/>
                  <a:gd name="connsiteX13" fmla="*/ 739140 w 2080260"/>
                  <a:gd name="connsiteY13" fmla="*/ 632460 h 932460"/>
                  <a:gd name="connsiteX14" fmla="*/ 784860 w 2080260"/>
                  <a:gd name="connsiteY14" fmla="*/ 662940 h 932460"/>
                  <a:gd name="connsiteX15" fmla="*/ 815340 w 2080260"/>
                  <a:gd name="connsiteY15" fmla="*/ 678180 h 932460"/>
                  <a:gd name="connsiteX16" fmla="*/ 853440 w 2080260"/>
                  <a:gd name="connsiteY16" fmla="*/ 701040 h 932460"/>
                  <a:gd name="connsiteX17" fmla="*/ 883920 w 2080260"/>
                  <a:gd name="connsiteY17" fmla="*/ 708660 h 932460"/>
                  <a:gd name="connsiteX18" fmla="*/ 967740 w 2080260"/>
                  <a:gd name="connsiteY18" fmla="*/ 746760 h 932460"/>
                  <a:gd name="connsiteX19" fmla="*/ 1173480 w 2080260"/>
                  <a:gd name="connsiteY19" fmla="*/ 822960 h 932460"/>
                  <a:gd name="connsiteX20" fmla="*/ 1211580 w 2080260"/>
                  <a:gd name="connsiteY20" fmla="*/ 830580 h 932460"/>
                  <a:gd name="connsiteX21" fmla="*/ 1272540 w 2080260"/>
                  <a:gd name="connsiteY21" fmla="*/ 853440 h 932460"/>
                  <a:gd name="connsiteX22" fmla="*/ 1325880 w 2080260"/>
                  <a:gd name="connsiteY22" fmla="*/ 861060 h 932460"/>
                  <a:gd name="connsiteX23" fmla="*/ 1516380 w 2080260"/>
                  <a:gd name="connsiteY23" fmla="*/ 899160 h 932460"/>
                  <a:gd name="connsiteX24" fmla="*/ 1584960 w 2080260"/>
                  <a:gd name="connsiteY24" fmla="*/ 906780 h 932460"/>
                  <a:gd name="connsiteX25" fmla="*/ 1965960 w 2080260"/>
                  <a:gd name="connsiteY25" fmla="*/ 914400 h 932460"/>
                  <a:gd name="connsiteX26" fmla="*/ 1996440 w 2080260"/>
                  <a:gd name="connsiteY26" fmla="*/ 899160 h 932460"/>
                  <a:gd name="connsiteX27" fmla="*/ 2042160 w 2080260"/>
                  <a:gd name="connsiteY27" fmla="*/ 883920 h 932460"/>
                  <a:gd name="connsiteX28" fmla="*/ 2080260 w 2080260"/>
                  <a:gd name="connsiteY28" fmla="*/ 845820 h 932460"/>
                  <a:gd name="connsiteX0" fmla="*/ 0 w 2080260"/>
                  <a:gd name="connsiteY0" fmla="*/ 0 h 932460"/>
                  <a:gd name="connsiteX1" fmla="*/ 22860 w 2080260"/>
                  <a:gd name="connsiteY1" fmla="*/ 38100 h 932460"/>
                  <a:gd name="connsiteX2" fmla="*/ 45720 w 2080260"/>
                  <a:gd name="connsiteY2" fmla="*/ 68580 h 932460"/>
                  <a:gd name="connsiteX3" fmla="*/ 60960 w 2080260"/>
                  <a:gd name="connsiteY3" fmla="*/ 106680 h 932460"/>
                  <a:gd name="connsiteX4" fmla="*/ 83820 w 2080260"/>
                  <a:gd name="connsiteY4" fmla="*/ 137160 h 932460"/>
                  <a:gd name="connsiteX5" fmla="*/ 106680 w 2080260"/>
                  <a:gd name="connsiteY5" fmla="*/ 175260 h 932460"/>
                  <a:gd name="connsiteX6" fmla="*/ 144780 w 2080260"/>
                  <a:gd name="connsiteY6" fmla="*/ 236220 h 932460"/>
                  <a:gd name="connsiteX7" fmla="*/ 373380 w 2080260"/>
                  <a:gd name="connsiteY7" fmla="*/ 411480 h 932460"/>
                  <a:gd name="connsiteX8" fmla="*/ 457200 w 2080260"/>
                  <a:gd name="connsiteY8" fmla="*/ 472440 h 932460"/>
                  <a:gd name="connsiteX9" fmla="*/ 472440 w 2080260"/>
                  <a:gd name="connsiteY9" fmla="*/ 510540 h 932460"/>
                  <a:gd name="connsiteX10" fmla="*/ 541020 w 2080260"/>
                  <a:gd name="connsiteY10" fmla="*/ 556260 h 932460"/>
                  <a:gd name="connsiteX11" fmla="*/ 670560 w 2080260"/>
                  <a:gd name="connsiteY11" fmla="*/ 601980 h 932460"/>
                  <a:gd name="connsiteX12" fmla="*/ 716280 w 2080260"/>
                  <a:gd name="connsiteY12" fmla="*/ 624840 h 932460"/>
                  <a:gd name="connsiteX13" fmla="*/ 739140 w 2080260"/>
                  <a:gd name="connsiteY13" fmla="*/ 632460 h 932460"/>
                  <a:gd name="connsiteX14" fmla="*/ 784860 w 2080260"/>
                  <a:gd name="connsiteY14" fmla="*/ 662940 h 932460"/>
                  <a:gd name="connsiteX15" fmla="*/ 815340 w 2080260"/>
                  <a:gd name="connsiteY15" fmla="*/ 678180 h 932460"/>
                  <a:gd name="connsiteX16" fmla="*/ 853440 w 2080260"/>
                  <a:gd name="connsiteY16" fmla="*/ 701040 h 932460"/>
                  <a:gd name="connsiteX17" fmla="*/ 883920 w 2080260"/>
                  <a:gd name="connsiteY17" fmla="*/ 708660 h 932460"/>
                  <a:gd name="connsiteX18" fmla="*/ 967740 w 2080260"/>
                  <a:gd name="connsiteY18" fmla="*/ 746760 h 932460"/>
                  <a:gd name="connsiteX19" fmla="*/ 1211580 w 2080260"/>
                  <a:gd name="connsiteY19" fmla="*/ 830580 h 932460"/>
                  <a:gd name="connsiteX20" fmla="*/ 1272540 w 2080260"/>
                  <a:gd name="connsiteY20" fmla="*/ 853440 h 932460"/>
                  <a:gd name="connsiteX21" fmla="*/ 1325880 w 2080260"/>
                  <a:gd name="connsiteY21" fmla="*/ 861060 h 932460"/>
                  <a:gd name="connsiteX22" fmla="*/ 1516380 w 2080260"/>
                  <a:gd name="connsiteY22" fmla="*/ 899160 h 932460"/>
                  <a:gd name="connsiteX23" fmla="*/ 1584960 w 2080260"/>
                  <a:gd name="connsiteY23" fmla="*/ 906780 h 932460"/>
                  <a:gd name="connsiteX24" fmla="*/ 1965960 w 2080260"/>
                  <a:gd name="connsiteY24" fmla="*/ 914400 h 932460"/>
                  <a:gd name="connsiteX25" fmla="*/ 1996440 w 2080260"/>
                  <a:gd name="connsiteY25" fmla="*/ 899160 h 932460"/>
                  <a:gd name="connsiteX26" fmla="*/ 2042160 w 2080260"/>
                  <a:gd name="connsiteY26" fmla="*/ 883920 h 932460"/>
                  <a:gd name="connsiteX27" fmla="*/ 2080260 w 2080260"/>
                  <a:gd name="connsiteY27" fmla="*/ 845820 h 932460"/>
                  <a:gd name="connsiteX0" fmla="*/ 0 w 2080260"/>
                  <a:gd name="connsiteY0" fmla="*/ 0 h 906780"/>
                  <a:gd name="connsiteX1" fmla="*/ 22860 w 2080260"/>
                  <a:gd name="connsiteY1" fmla="*/ 38100 h 906780"/>
                  <a:gd name="connsiteX2" fmla="*/ 45720 w 2080260"/>
                  <a:gd name="connsiteY2" fmla="*/ 68580 h 906780"/>
                  <a:gd name="connsiteX3" fmla="*/ 60960 w 2080260"/>
                  <a:gd name="connsiteY3" fmla="*/ 106680 h 906780"/>
                  <a:gd name="connsiteX4" fmla="*/ 83820 w 2080260"/>
                  <a:gd name="connsiteY4" fmla="*/ 137160 h 906780"/>
                  <a:gd name="connsiteX5" fmla="*/ 106680 w 2080260"/>
                  <a:gd name="connsiteY5" fmla="*/ 175260 h 906780"/>
                  <a:gd name="connsiteX6" fmla="*/ 144780 w 2080260"/>
                  <a:gd name="connsiteY6" fmla="*/ 236220 h 906780"/>
                  <a:gd name="connsiteX7" fmla="*/ 373380 w 2080260"/>
                  <a:gd name="connsiteY7" fmla="*/ 411480 h 906780"/>
                  <a:gd name="connsiteX8" fmla="*/ 457200 w 2080260"/>
                  <a:gd name="connsiteY8" fmla="*/ 472440 h 906780"/>
                  <a:gd name="connsiteX9" fmla="*/ 472440 w 2080260"/>
                  <a:gd name="connsiteY9" fmla="*/ 510540 h 906780"/>
                  <a:gd name="connsiteX10" fmla="*/ 541020 w 2080260"/>
                  <a:gd name="connsiteY10" fmla="*/ 556260 h 906780"/>
                  <a:gd name="connsiteX11" fmla="*/ 670560 w 2080260"/>
                  <a:gd name="connsiteY11" fmla="*/ 601980 h 906780"/>
                  <a:gd name="connsiteX12" fmla="*/ 716280 w 2080260"/>
                  <a:gd name="connsiteY12" fmla="*/ 624840 h 906780"/>
                  <a:gd name="connsiteX13" fmla="*/ 739140 w 2080260"/>
                  <a:gd name="connsiteY13" fmla="*/ 632460 h 906780"/>
                  <a:gd name="connsiteX14" fmla="*/ 784860 w 2080260"/>
                  <a:gd name="connsiteY14" fmla="*/ 662940 h 906780"/>
                  <a:gd name="connsiteX15" fmla="*/ 815340 w 2080260"/>
                  <a:gd name="connsiteY15" fmla="*/ 678180 h 906780"/>
                  <a:gd name="connsiteX16" fmla="*/ 853440 w 2080260"/>
                  <a:gd name="connsiteY16" fmla="*/ 701040 h 906780"/>
                  <a:gd name="connsiteX17" fmla="*/ 883920 w 2080260"/>
                  <a:gd name="connsiteY17" fmla="*/ 708660 h 906780"/>
                  <a:gd name="connsiteX18" fmla="*/ 967740 w 2080260"/>
                  <a:gd name="connsiteY18" fmla="*/ 746760 h 906780"/>
                  <a:gd name="connsiteX19" fmla="*/ 1211580 w 2080260"/>
                  <a:gd name="connsiteY19" fmla="*/ 830580 h 906780"/>
                  <a:gd name="connsiteX20" fmla="*/ 1272540 w 2080260"/>
                  <a:gd name="connsiteY20" fmla="*/ 853440 h 906780"/>
                  <a:gd name="connsiteX21" fmla="*/ 1325880 w 2080260"/>
                  <a:gd name="connsiteY21" fmla="*/ 861060 h 906780"/>
                  <a:gd name="connsiteX22" fmla="*/ 1516380 w 2080260"/>
                  <a:gd name="connsiteY22" fmla="*/ 899160 h 906780"/>
                  <a:gd name="connsiteX23" fmla="*/ 1584960 w 2080260"/>
                  <a:gd name="connsiteY23" fmla="*/ 906780 h 906780"/>
                  <a:gd name="connsiteX24" fmla="*/ 1996440 w 2080260"/>
                  <a:gd name="connsiteY24" fmla="*/ 899160 h 906780"/>
                  <a:gd name="connsiteX25" fmla="*/ 2042160 w 2080260"/>
                  <a:gd name="connsiteY25" fmla="*/ 883920 h 906780"/>
                  <a:gd name="connsiteX26" fmla="*/ 2080260 w 2080260"/>
                  <a:gd name="connsiteY26" fmla="*/ 845820 h 906780"/>
                  <a:gd name="connsiteX0" fmla="*/ 0 w 2080260"/>
                  <a:gd name="connsiteY0" fmla="*/ 0 h 906780"/>
                  <a:gd name="connsiteX1" fmla="*/ 22860 w 2080260"/>
                  <a:gd name="connsiteY1" fmla="*/ 38100 h 906780"/>
                  <a:gd name="connsiteX2" fmla="*/ 45720 w 2080260"/>
                  <a:gd name="connsiteY2" fmla="*/ 68580 h 906780"/>
                  <a:gd name="connsiteX3" fmla="*/ 60960 w 2080260"/>
                  <a:gd name="connsiteY3" fmla="*/ 106680 h 906780"/>
                  <a:gd name="connsiteX4" fmla="*/ 83820 w 2080260"/>
                  <a:gd name="connsiteY4" fmla="*/ 137160 h 906780"/>
                  <a:gd name="connsiteX5" fmla="*/ 106680 w 2080260"/>
                  <a:gd name="connsiteY5" fmla="*/ 175260 h 906780"/>
                  <a:gd name="connsiteX6" fmla="*/ 144780 w 2080260"/>
                  <a:gd name="connsiteY6" fmla="*/ 236220 h 906780"/>
                  <a:gd name="connsiteX7" fmla="*/ 373380 w 2080260"/>
                  <a:gd name="connsiteY7" fmla="*/ 411480 h 906780"/>
                  <a:gd name="connsiteX8" fmla="*/ 457200 w 2080260"/>
                  <a:gd name="connsiteY8" fmla="*/ 472440 h 906780"/>
                  <a:gd name="connsiteX9" fmla="*/ 472440 w 2080260"/>
                  <a:gd name="connsiteY9" fmla="*/ 510540 h 906780"/>
                  <a:gd name="connsiteX10" fmla="*/ 541020 w 2080260"/>
                  <a:gd name="connsiteY10" fmla="*/ 556260 h 906780"/>
                  <a:gd name="connsiteX11" fmla="*/ 670560 w 2080260"/>
                  <a:gd name="connsiteY11" fmla="*/ 601980 h 906780"/>
                  <a:gd name="connsiteX12" fmla="*/ 716280 w 2080260"/>
                  <a:gd name="connsiteY12" fmla="*/ 624840 h 906780"/>
                  <a:gd name="connsiteX13" fmla="*/ 739140 w 2080260"/>
                  <a:gd name="connsiteY13" fmla="*/ 632460 h 906780"/>
                  <a:gd name="connsiteX14" fmla="*/ 784860 w 2080260"/>
                  <a:gd name="connsiteY14" fmla="*/ 662940 h 906780"/>
                  <a:gd name="connsiteX15" fmla="*/ 815340 w 2080260"/>
                  <a:gd name="connsiteY15" fmla="*/ 678180 h 906780"/>
                  <a:gd name="connsiteX16" fmla="*/ 853440 w 2080260"/>
                  <a:gd name="connsiteY16" fmla="*/ 701040 h 906780"/>
                  <a:gd name="connsiteX17" fmla="*/ 883920 w 2080260"/>
                  <a:gd name="connsiteY17" fmla="*/ 708660 h 906780"/>
                  <a:gd name="connsiteX18" fmla="*/ 967740 w 2080260"/>
                  <a:gd name="connsiteY18" fmla="*/ 746760 h 906780"/>
                  <a:gd name="connsiteX19" fmla="*/ 1211580 w 2080260"/>
                  <a:gd name="connsiteY19" fmla="*/ 830580 h 906780"/>
                  <a:gd name="connsiteX20" fmla="*/ 1272540 w 2080260"/>
                  <a:gd name="connsiteY20" fmla="*/ 853440 h 906780"/>
                  <a:gd name="connsiteX21" fmla="*/ 1325880 w 2080260"/>
                  <a:gd name="connsiteY21" fmla="*/ 861060 h 906780"/>
                  <a:gd name="connsiteX22" fmla="*/ 1516380 w 2080260"/>
                  <a:gd name="connsiteY22" fmla="*/ 899160 h 906780"/>
                  <a:gd name="connsiteX23" fmla="*/ 1584960 w 2080260"/>
                  <a:gd name="connsiteY23" fmla="*/ 906780 h 906780"/>
                  <a:gd name="connsiteX24" fmla="*/ 1953578 w 2080260"/>
                  <a:gd name="connsiteY24" fmla="*/ 880110 h 906780"/>
                  <a:gd name="connsiteX25" fmla="*/ 2042160 w 2080260"/>
                  <a:gd name="connsiteY25" fmla="*/ 883920 h 906780"/>
                  <a:gd name="connsiteX26" fmla="*/ 2080260 w 2080260"/>
                  <a:gd name="connsiteY26" fmla="*/ 845820 h 906780"/>
                  <a:gd name="connsiteX0" fmla="*/ 0 w 2080260"/>
                  <a:gd name="connsiteY0" fmla="*/ 0 h 906780"/>
                  <a:gd name="connsiteX1" fmla="*/ 22860 w 2080260"/>
                  <a:gd name="connsiteY1" fmla="*/ 38100 h 906780"/>
                  <a:gd name="connsiteX2" fmla="*/ 45720 w 2080260"/>
                  <a:gd name="connsiteY2" fmla="*/ 68580 h 906780"/>
                  <a:gd name="connsiteX3" fmla="*/ 60960 w 2080260"/>
                  <a:gd name="connsiteY3" fmla="*/ 106680 h 906780"/>
                  <a:gd name="connsiteX4" fmla="*/ 83820 w 2080260"/>
                  <a:gd name="connsiteY4" fmla="*/ 137160 h 906780"/>
                  <a:gd name="connsiteX5" fmla="*/ 106680 w 2080260"/>
                  <a:gd name="connsiteY5" fmla="*/ 175260 h 906780"/>
                  <a:gd name="connsiteX6" fmla="*/ 144780 w 2080260"/>
                  <a:gd name="connsiteY6" fmla="*/ 236220 h 906780"/>
                  <a:gd name="connsiteX7" fmla="*/ 373380 w 2080260"/>
                  <a:gd name="connsiteY7" fmla="*/ 411480 h 906780"/>
                  <a:gd name="connsiteX8" fmla="*/ 457200 w 2080260"/>
                  <a:gd name="connsiteY8" fmla="*/ 472440 h 906780"/>
                  <a:gd name="connsiteX9" fmla="*/ 472440 w 2080260"/>
                  <a:gd name="connsiteY9" fmla="*/ 510540 h 906780"/>
                  <a:gd name="connsiteX10" fmla="*/ 541020 w 2080260"/>
                  <a:gd name="connsiteY10" fmla="*/ 556260 h 906780"/>
                  <a:gd name="connsiteX11" fmla="*/ 670560 w 2080260"/>
                  <a:gd name="connsiteY11" fmla="*/ 601980 h 906780"/>
                  <a:gd name="connsiteX12" fmla="*/ 716280 w 2080260"/>
                  <a:gd name="connsiteY12" fmla="*/ 624840 h 906780"/>
                  <a:gd name="connsiteX13" fmla="*/ 739140 w 2080260"/>
                  <a:gd name="connsiteY13" fmla="*/ 632460 h 906780"/>
                  <a:gd name="connsiteX14" fmla="*/ 784860 w 2080260"/>
                  <a:gd name="connsiteY14" fmla="*/ 662940 h 906780"/>
                  <a:gd name="connsiteX15" fmla="*/ 815340 w 2080260"/>
                  <a:gd name="connsiteY15" fmla="*/ 678180 h 906780"/>
                  <a:gd name="connsiteX16" fmla="*/ 853440 w 2080260"/>
                  <a:gd name="connsiteY16" fmla="*/ 701040 h 906780"/>
                  <a:gd name="connsiteX17" fmla="*/ 883920 w 2080260"/>
                  <a:gd name="connsiteY17" fmla="*/ 708660 h 906780"/>
                  <a:gd name="connsiteX18" fmla="*/ 967740 w 2080260"/>
                  <a:gd name="connsiteY18" fmla="*/ 746760 h 906780"/>
                  <a:gd name="connsiteX19" fmla="*/ 1211580 w 2080260"/>
                  <a:gd name="connsiteY19" fmla="*/ 830580 h 906780"/>
                  <a:gd name="connsiteX20" fmla="*/ 1272540 w 2080260"/>
                  <a:gd name="connsiteY20" fmla="*/ 853440 h 906780"/>
                  <a:gd name="connsiteX21" fmla="*/ 1325880 w 2080260"/>
                  <a:gd name="connsiteY21" fmla="*/ 861060 h 906780"/>
                  <a:gd name="connsiteX22" fmla="*/ 1516380 w 2080260"/>
                  <a:gd name="connsiteY22" fmla="*/ 899160 h 906780"/>
                  <a:gd name="connsiteX23" fmla="*/ 1584960 w 2080260"/>
                  <a:gd name="connsiteY23" fmla="*/ 906780 h 906780"/>
                  <a:gd name="connsiteX24" fmla="*/ 1953578 w 2080260"/>
                  <a:gd name="connsiteY24" fmla="*/ 880110 h 906780"/>
                  <a:gd name="connsiteX25" fmla="*/ 2027873 w 2080260"/>
                  <a:gd name="connsiteY25" fmla="*/ 841058 h 906780"/>
                  <a:gd name="connsiteX26" fmla="*/ 2080260 w 2080260"/>
                  <a:gd name="connsiteY26" fmla="*/ 845820 h 906780"/>
                  <a:gd name="connsiteX0" fmla="*/ 0 w 2027873"/>
                  <a:gd name="connsiteY0" fmla="*/ 0 h 906780"/>
                  <a:gd name="connsiteX1" fmla="*/ 22860 w 2027873"/>
                  <a:gd name="connsiteY1" fmla="*/ 38100 h 906780"/>
                  <a:gd name="connsiteX2" fmla="*/ 45720 w 2027873"/>
                  <a:gd name="connsiteY2" fmla="*/ 68580 h 906780"/>
                  <a:gd name="connsiteX3" fmla="*/ 60960 w 2027873"/>
                  <a:gd name="connsiteY3" fmla="*/ 106680 h 906780"/>
                  <a:gd name="connsiteX4" fmla="*/ 83820 w 2027873"/>
                  <a:gd name="connsiteY4" fmla="*/ 137160 h 906780"/>
                  <a:gd name="connsiteX5" fmla="*/ 106680 w 2027873"/>
                  <a:gd name="connsiteY5" fmla="*/ 175260 h 906780"/>
                  <a:gd name="connsiteX6" fmla="*/ 144780 w 2027873"/>
                  <a:gd name="connsiteY6" fmla="*/ 236220 h 906780"/>
                  <a:gd name="connsiteX7" fmla="*/ 373380 w 2027873"/>
                  <a:gd name="connsiteY7" fmla="*/ 411480 h 906780"/>
                  <a:gd name="connsiteX8" fmla="*/ 457200 w 2027873"/>
                  <a:gd name="connsiteY8" fmla="*/ 472440 h 906780"/>
                  <a:gd name="connsiteX9" fmla="*/ 472440 w 2027873"/>
                  <a:gd name="connsiteY9" fmla="*/ 510540 h 906780"/>
                  <a:gd name="connsiteX10" fmla="*/ 541020 w 2027873"/>
                  <a:gd name="connsiteY10" fmla="*/ 556260 h 906780"/>
                  <a:gd name="connsiteX11" fmla="*/ 670560 w 2027873"/>
                  <a:gd name="connsiteY11" fmla="*/ 601980 h 906780"/>
                  <a:gd name="connsiteX12" fmla="*/ 716280 w 2027873"/>
                  <a:gd name="connsiteY12" fmla="*/ 624840 h 906780"/>
                  <a:gd name="connsiteX13" fmla="*/ 739140 w 2027873"/>
                  <a:gd name="connsiteY13" fmla="*/ 632460 h 906780"/>
                  <a:gd name="connsiteX14" fmla="*/ 784860 w 2027873"/>
                  <a:gd name="connsiteY14" fmla="*/ 662940 h 906780"/>
                  <a:gd name="connsiteX15" fmla="*/ 815340 w 2027873"/>
                  <a:gd name="connsiteY15" fmla="*/ 678180 h 906780"/>
                  <a:gd name="connsiteX16" fmla="*/ 853440 w 2027873"/>
                  <a:gd name="connsiteY16" fmla="*/ 701040 h 906780"/>
                  <a:gd name="connsiteX17" fmla="*/ 883920 w 2027873"/>
                  <a:gd name="connsiteY17" fmla="*/ 708660 h 906780"/>
                  <a:gd name="connsiteX18" fmla="*/ 967740 w 2027873"/>
                  <a:gd name="connsiteY18" fmla="*/ 746760 h 906780"/>
                  <a:gd name="connsiteX19" fmla="*/ 1211580 w 2027873"/>
                  <a:gd name="connsiteY19" fmla="*/ 830580 h 906780"/>
                  <a:gd name="connsiteX20" fmla="*/ 1272540 w 2027873"/>
                  <a:gd name="connsiteY20" fmla="*/ 853440 h 906780"/>
                  <a:gd name="connsiteX21" fmla="*/ 1325880 w 2027873"/>
                  <a:gd name="connsiteY21" fmla="*/ 861060 h 906780"/>
                  <a:gd name="connsiteX22" fmla="*/ 1516380 w 2027873"/>
                  <a:gd name="connsiteY22" fmla="*/ 899160 h 906780"/>
                  <a:gd name="connsiteX23" fmla="*/ 1584960 w 2027873"/>
                  <a:gd name="connsiteY23" fmla="*/ 906780 h 906780"/>
                  <a:gd name="connsiteX24" fmla="*/ 1953578 w 2027873"/>
                  <a:gd name="connsiteY24" fmla="*/ 880110 h 906780"/>
                  <a:gd name="connsiteX25" fmla="*/ 2027873 w 2027873"/>
                  <a:gd name="connsiteY25" fmla="*/ 84105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373380 w 2056448"/>
                  <a:gd name="connsiteY7" fmla="*/ 411480 h 906780"/>
                  <a:gd name="connsiteX8" fmla="*/ 457200 w 2056448"/>
                  <a:gd name="connsiteY8" fmla="*/ 472440 h 906780"/>
                  <a:gd name="connsiteX9" fmla="*/ 472440 w 2056448"/>
                  <a:gd name="connsiteY9" fmla="*/ 510540 h 906780"/>
                  <a:gd name="connsiteX10" fmla="*/ 541020 w 2056448"/>
                  <a:gd name="connsiteY10" fmla="*/ 556260 h 906780"/>
                  <a:gd name="connsiteX11" fmla="*/ 670560 w 2056448"/>
                  <a:gd name="connsiteY11" fmla="*/ 601980 h 906780"/>
                  <a:gd name="connsiteX12" fmla="*/ 716280 w 2056448"/>
                  <a:gd name="connsiteY12" fmla="*/ 624840 h 906780"/>
                  <a:gd name="connsiteX13" fmla="*/ 739140 w 2056448"/>
                  <a:gd name="connsiteY13" fmla="*/ 632460 h 906780"/>
                  <a:gd name="connsiteX14" fmla="*/ 784860 w 2056448"/>
                  <a:gd name="connsiteY14" fmla="*/ 662940 h 906780"/>
                  <a:gd name="connsiteX15" fmla="*/ 815340 w 2056448"/>
                  <a:gd name="connsiteY15" fmla="*/ 678180 h 906780"/>
                  <a:gd name="connsiteX16" fmla="*/ 853440 w 2056448"/>
                  <a:gd name="connsiteY16" fmla="*/ 701040 h 906780"/>
                  <a:gd name="connsiteX17" fmla="*/ 883920 w 2056448"/>
                  <a:gd name="connsiteY17" fmla="*/ 708660 h 906780"/>
                  <a:gd name="connsiteX18" fmla="*/ 967740 w 2056448"/>
                  <a:gd name="connsiteY18" fmla="*/ 746760 h 906780"/>
                  <a:gd name="connsiteX19" fmla="*/ 1211580 w 2056448"/>
                  <a:gd name="connsiteY19" fmla="*/ 830580 h 906780"/>
                  <a:gd name="connsiteX20" fmla="*/ 1272540 w 2056448"/>
                  <a:gd name="connsiteY20" fmla="*/ 853440 h 906780"/>
                  <a:gd name="connsiteX21" fmla="*/ 1325880 w 2056448"/>
                  <a:gd name="connsiteY21" fmla="*/ 861060 h 906780"/>
                  <a:gd name="connsiteX22" fmla="*/ 1516380 w 2056448"/>
                  <a:gd name="connsiteY22" fmla="*/ 899160 h 906780"/>
                  <a:gd name="connsiteX23" fmla="*/ 1584960 w 2056448"/>
                  <a:gd name="connsiteY23" fmla="*/ 906780 h 906780"/>
                  <a:gd name="connsiteX24" fmla="*/ 1953578 w 2056448"/>
                  <a:gd name="connsiteY24" fmla="*/ 880110 h 906780"/>
                  <a:gd name="connsiteX25" fmla="*/ 2056448 w 2056448"/>
                  <a:gd name="connsiteY25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373380 w 2056448"/>
                  <a:gd name="connsiteY7" fmla="*/ 411480 h 906780"/>
                  <a:gd name="connsiteX8" fmla="*/ 457200 w 2056448"/>
                  <a:gd name="connsiteY8" fmla="*/ 472440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16280 w 2056448"/>
                  <a:gd name="connsiteY11" fmla="*/ 624840 h 906780"/>
                  <a:gd name="connsiteX12" fmla="*/ 739140 w 2056448"/>
                  <a:gd name="connsiteY12" fmla="*/ 632460 h 906780"/>
                  <a:gd name="connsiteX13" fmla="*/ 784860 w 2056448"/>
                  <a:gd name="connsiteY13" fmla="*/ 662940 h 906780"/>
                  <a:gd name="connsiteX14" fmla="*/ 815340 w 2056448"/>
                  <a:gd name="connsiteY14" fmla="*/ 678180 h 906780"/>
                  <a:gd name="connsiteX15" fmla="*/ 853440 w 2056448"/>
                  <a:gd name="connsiteY15" fmla="*/ 701040 h 906780"/>
                  <a:gd name="connsiteX16" fmla="*/ 883920 w 2056448"/>
                  <a:gd name="connsiteY16" fmla="*/ 708660 h 906780"/>
                  <a:gd name="connsiteX17" fmla="*/ 967740 w 2056448"/>
                  <a:gd name="connsiteY17" fmla="*/ 746760 h 906780"/>
                  <a:gd name="connsiteX18" fmla="*/ 1211580 w 2056448"/>
                  <a:gd name="connsiteY18" fmla="*/ 830580 h 906780"/>
                  <a:gd name="connsiteX19" fmla="*/ 1272540 w 2056448"/>
                  <a:gd name="connsiteY19" fmla="*/ 853440 h 906780"/>
                  <a:gd name="connsiteX20" fmla="*/ 1325880 w 2056448"/>
                  <a:gd name="connsiteY20" fmla="*/ 861060 h 906780"/>
                  <a:gd name="connsiteX21" fmla="*/ 1516380 w 2056448"/>
                  <a:gd name="connsiteY21" fmla="*/ 899160 h 906780"/>
                  <a:gd name="connsiteX22" fmla="*/ 1584960 w 2056448"/>
                  <a:gd name="connsiteY22" fmla="*/ 906780 h 906780"/>
                  <a:gd name="connsiteX23" fmla="*/ 1953578 w 2056448"/>
                  <a:gd name="connsiteY23" fmla="*/ 880110 h 906780"/>
                  <a:gd name="connsiteX24" fmla="*/ 2056448 w 2056448"/>
                  <a:gd name="connsiteY24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373380 w 2056448"/>
                  <a:gd name="connsiteY7" fmla="*/ 41148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16280 w 2056448"/>
                  <a:gd name="connsiteY11" fmla="*/ 624840 h 906780"/>
                  <a:gd name="connsiteX12" fmla="*/ 739140 w 2056448"/>
                  <a:gd name="connsiteY12" fmla="*/ 632460 h 906780"/>
                  <a:gd name="connsiteX13" fmla="*/ 784860 w 2056448"/>
                  <a:gd name="connsiteY13" fmla="*/ 662940 h 906780"/>
                  <a:gd name="connsiteX14" fmla="*/ 815340 w 2056448"/>
                  <a:gd name="connsiteY14" fmla="*/ 678180 h 906780"/>
                  <a:gd name="connsiteX15" fmla="*/ 853440 w 2056448"/>
                  <a:gd name="connsiteY15" fmla="*/ 701040 h 906780"/>
                  <a:gd name="connsiteX16" fmla="*/ 883920 w 2056448"/>
                  <a:gd name="connsiteY16" fmla="*/ 708660 h 906780"/>
                  <a:gd name="connsiteX17" fmla="*/ 967740 w 2056448"/>
                  <a:gd name="connsiteY17" fmla="*/ 746760 h 906780"/>
                  <a:gd name="connsiteX18" fmla="*/ 1211580 w 2056448"/>
                  <a:gd name="connsiteY18" fmla="*/ 830580 h 906780"/>
                  <a:gd name="connsiteX19" fmla="*/ 1272540 w 2056448"/>
                  <a:gd name="connsiteY19" fmla="*/ 853440 h 906780"/>
                  <a:gd name="connsiteX20" fmla="*/ 1325880 w 2056448"/>
                  <a:gd name="connsiteY20" fmla="*/ 861060 h 906780"/>
                  <a:gd name="connsiteX21" fmla="*/ 1516380 w 2056448"/>
                  <a:gd name="connsiteY21" fmla="*/ 899160 h 906780"/>
                  <a:gd name="connsiteX22" fmla="*/ 1584960 w 2056448"/>
                  <a:gd name="connsiteY22" fmla="*/ 906780 h 906780"/>
                  <a:gd name="connsiteX23" fmla="*/ 1953578 w 2056448"/>
                  <a:gd name="connsiteY23" fmla="*/ 880110 h 906780"/>
                  <a:gd name="connsiteX24" fmla="*/ 2056448 w 2056448"/>
                  <a:gd name="connsiteY24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16280 w 2056448"/>
                  <a:gd name="connsiteY11" fmla="*/ 624840 h 906780"/>
                  <a:gd name="connsiteX12" fmla="*/ 739140 w 2056448"/>
                  <a:gd name="connsiteY12" fmla="*/ 632460 h 906780"/>
                  <a:gd name="connsiteX13" fmla="*/ 784860 w 2056448"/>
                  <a:gd name="connsiteY13" fmla="*/ 662940 h 906780"/>
                  <a:gd name="connsiteX14" fmla="*/ 815340 w 2056448"/>
                  <a:gd name="connsiteY14" fmla="*/ 678180 h 906780"/>
                  <a:gd name="connsiteX15" fmla="*/ 853440 w 2056448"/>
                  <a:gd name="connsiteY15" fmla="*/ 701040 h 906780"/>
                  <a:gd name="connsiteX16" fmla="*/ 883920 w 2056448"/>
                  <a:gd name="connsiteY16" fmla="*/ 708660 h 906780"/>
                  <a:gd name="connsiteX17" fmla="*/ 967740 w 2056448"/>
                  <a:gd name="connsiteY17" fmla="*/ 746760 h 906780"/>
                  <a:gd name="connsiteX18" fmla="*/ 1211580 w 2056448"/>
                  <a:gd name="connsiteY18" fmla="*/ 830580 h 906780"/>
                  <a:gd name="connsiteX19" fmla="*/ 1272540 w 2056448"/>
                  <a:gd name="connsiteY19" fmla="*/ 853440 h 906780"/>
                  <a:gd name="connsiteX20" fmla="*/ 1325880 w 2056448"/>
                  <a:gd name="connsiteY20" fmla="*/ 861060 h 906780"/>
                  <a:gd name="connsiteX21" fmla="*/ 1516380 w 2056448"/>
                  <a:gd name="connsiteY21" fmla="*/ 899160 h 906780"/>
                  <a:gd name="connsiteX22" fmla="*/ 1584960 w 2056448"/>
                  <a:gd name="connsiteY22" fmla="*/ 906780 h 906780"/>
                  <a:gd name="connsiteX23" fmla="*/ 1953578 w 2056448"/>
                  <a:gd name="connsiteY23" fmla="*/ 880110 h 906780"/>
                  <a:gd name="connsiteX24" fmla="*/ 2056448 w 2056448"/>
                  <a:gd name="connsiteY24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39140 w 2056448"/>
                  <a:gd name="connsiteY11" fmla="*/ 632460 h 906780"/>
                  <a:gd name="connsiteX12" fmla="*/ 784860 w 2056448"/>
                  <a:gd name="connsiteY12" fmla="*/ 662940 h 906780"/>
                  <a:gd name="connsiteX13" fmla="*/ 815340 w 2056448"/>
                  <a:gd name="connsiteY13" fmla="*/ 678180 h 906780"/>
                  <a:gd name="connsiteX14" fmla="*/ 853440 w 2056448"/>
                  <a:gd name="connsiteY14" fmla="*/ 701040 h 906780"/>
                  <a:gd name="connsiteX15" fmla="*/ 883920 w 2056448"/>
                  <a:gd name="connsiteY15" fmla="*/ 708660 h 906780"/>
                  <a:gd name="connsiteX16" fmla="*/ 967740 w 2056448"/>
                  <a:gd name="connsiteY16" fmla="*/ 746760 h 906780"/>
                  <a:gd name="connsiteX17" fmla="*/ 1211580 w 2056448"/>
                  <a:gd name="connsiteY17" fmla="*/ 830580 h 906780"/>
                  <a:gd name="connsiteX18" fmla="*/ 1272540 w 2056448"/>
                  <a:gd name="connsiteY18" fmla="*/ 853440 h 906780"/>
                  <a:gd name="connsiteX19" fmla="*/ 1325880 w 2056448"/>
                  <a:gd name="connsiteY19" fmla="*/ 861060 h 906780"/>
                  <a:gd name="connsiteX20" fmla="*/ 1516380 w 2056448"/>
                  <a:gd name="connsiteY20" fmla="*/ 899160 h 906780"/>
                  <a:gd name="connsiteX21" fmla="*/ 1584960 w 2056448"/>
                  <a:gd name="connsiteY21" fmla="*/ 906780 h 906780"/>
                  <a:gd name="connsiteX22" fmla="*/ 1953578 w 2056448"/>
                  <a:gd name="connsiteY22" fmla="*/ 880110 h 906780"/>
                  <a:gd name="connsiteX23" fmla="*/ 2056448 w 2056448"/>
                  <a:gd name="connsiteY23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39140 w 2056448"/>
                  <a:gd name="connsiteY11" fmla="*/ 632460 h 906780"/>
                  <a:gd name="connsiteX12" fmla="*/ 815340 w 2056448"/>
                  <a:gd name="connsiteY12" fmla="*/ 678180 h 906780"/>
                  <a:gd name="connsiteX13" fmla="*/ 853440 w 2056448"/>
                  <a:gd name="connsiteY13" fmla="*/ 701040 h 906780"/>
                  <a:gd name="connsiteX14" fmla="*/ 883920 w 2056448"/>
                  <a:gd name="connsiteY14" fmla="*/ 708660 h 906780"/>
                  <a:gd name="connsiteX15" fmla="*/ 967740 w 2056448"/>
                  <a:gd name="connsiteY15" fmla="*/ 746760 h 906780"/>
                  <a:gd name="connsiteX16" fmla="*/ 1211580 w 2056448"/>
                  <a:gd name="connsiteY16" fmla="*/ 830580 h 906780"/>
                  <a:gd name="connsiteX17" fmla="*/ 1272540 w 2056448"/>
                  <a:gd name="connsiteY17" fmla="*/ 853440 h 906780"/>
                  <a:gd name="connsiteX18" fmla="*/ 1325880 w 2056448"/>
                  <a:gd name="connsiteY18" fmla="*/ 861060 h 906780"/>
                  <a:gd name="connsiteX19" fmla="*/ 1516380 w 2056448"/>
                  <a:gd name="connsiteY19" fmla="*/ 899160 h 906780"/>
                  <a:gd name="connsiteX20" fmla="*/ 1584960 w 2056448"/>
                  <a:gd name="connsiteY20" fmla="*/ 906780 h 906780"/>
                  <a:gd name="connsiteX21" fmla="*/ 1953578 w 2056448"/>
                  <a:gd name="connsiteY21" fmla="*/ 880110 h 906780"/>
                  <a:gd name="connsiteX22" fmla="*/ 2056448 w 2056448"/>
                  <a:gd name="connsiteY22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739140 w 2056448"/>
                  <a:gd name="connsiteY11" fmla="*/ 632460 h 906780"/>
                  <a:gd name="connsiteX12" fmla="*/ 815340 w 2056448"/>
                  <a:gd name="connsiteY12" fmla="*/ 678180 h 906780"/>
                  <a:gd name="connsiteX13" fmla="*/ 853440 w 2056448"/>
                  <a:gd name="connsiteY13" fmla="*/ 701040 h 906780"/>
                  <a:gd name="connsiteX14" fmla="*/ 967740 w 2056448"/>
                  <a:gd name="connsiteY14" fmla="*/ 746760 h 906780"/>
                  <a:gd name="connsiteX15" fmla="*/ 1211580 w 2056448"/>
                  <a:gd name="connsiteY15" fmla="*/ 830580 h 906780"/>
                  <a:gd name="connsiteX16" fmla="*/ 1272540 w 2056448"/>
                  <a:gd name="connsiteY16" fmla="*/ 853440 h 906780"/>
                  <a:gd name="connsiteX17" fmla="*/ 1325880 w 2056448"/>
                  <a:gd name="connsiteY17" fmla="*/ 861060 h 906780"/>
                  <a:gd name="connsiteX18" fmla="*/ 1516380 w 2056448"/>
                  <a:gd name="connsiteY18" fmla="*/ 899160 h 906780"/>
                  <a:gd name="connsiteX19" fmla="*/ 1584960 w 2056448"/>
                  <a:gd name="connsiteY19" fmla="*/ 906780 h 906780"/>
                  <a:gd name="connsiteX20" fmla="*/ 1953578 w 2056448"/>
                  <a:gd name="connsiteY20" fmla="*/ 880110 h 906780"/>
                  <a:gd name="connsiteX21" fmla="*/ 2056448 w 2056448"/>
                  <a:gd name="connsiteY21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70560 w 2056448"/>
                  <a:gd name="connsiteY10" fmla="*/ 601980 h 906780"/>
                  <a:gd name="connsiteX11" fmla="*/ 815340 w 2056448"/>
                  <a:gd name="connsiteY11" fmla="*/ 678180 h 906780"/>
                  <a:gd name="connsiteX12" fmla="*/ 853440 w 2056448"/>
                  <a:gd name="connsiteY12" fmla="*/ 701040 h 906780"/>
                  <a:gd name="connsiteX13" fmla="*/ 967740 w 2056448"/>
                  <a:gd name="connsiteY13" fmla="*/ 746760 h 906780"/>
                  <a:gd name="connsiteX14" fmla="*/ 1211580 w 2056448"/>
                  <a:gd name="connsiteY14" fmla="*/ 830580 h 906780"/>
                  <a:gd name="connsiteX15" fmla="*/ 1272540 w 2056448"/>
                  <a:gd name="connsiteY15" fmla="*/ 853440 h 906780"/>
                  <a:gd name="connsiteX16" fmla="*/ 1325880 w 2056448"/>
                  <a:gd name="connsiteY16" fmla="*/ 861060 h 906780"/>
                  <a:gd name="connsiteX17" fmla="*/ 1516380 w 2056448"/>
                  <a:gd name="connsiteY17" fmla="*/ 899160 h 906780"/>
                  <a:gd name="connsiteX18" fmla="*/ 1584960 w 2056448"/>
                  <a:gd name="connsiteY18" fmla="*/ 906780 h 906780"/>
                  <a:gd name="connsiteX19" fmla="*/ 1953578 w 2056448"/>
                  <a:gd name="connsiteY19" fmla="*/ 880110 h 906780"/>
                  <a:gd name="connsiteX20" fmla="*/ 2056448 w 2056448"/>
                  <a:gd name="connsiteY20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80085 w 2056448"/>
                  <a:gd name="connsiteY10" fmla="*/ 625793 h 906780"/>
                  <a:gd name="connsiteX11" fmla="*/ 815340 w 2056448"/>
                  <a:gd name="connsiteY11" fmla="*/ 678180 h 906780"/>
                  <a:gd name="connsiteX12" fmla="*/ 853440 w 2056448"/>
                  <a:gd name="connsiteY12" fmla="*/ 701040 h 906780"/>
                  <a:gd name="connsiteX13" fmla="*/ 967740 w 2056448"/>
                  <a:gd name="connsiteY13" fmla="*/ 746760 h 906780"/>
                  <a:gd name="connsiteX14" fmla="*/ 1211580 w 2056448"/>
                  <a:gd name="connsiteY14" fmla="*/ 830580 h 906780"/>
                  <a:gd name="connsiteX15" fmla="*/ 1272540 w 2056448"/>
                  <a:gd name="connsiteY15" fmla="*/ 853440 h 906780"/>
                  <a:gd name="connsiteX16" fmla="*/ 1325880 w 2056448"/>
                  <a:gd name="connsiteY16" fmla="*/ 861060 h 906780"/>
                  <a:gd name="connsiteX17" fmla="*/ 1516380 w 2056448"/>
                  <a:gd name="connsiteY17" fmla="*/ 899160 h 906780"/>
                  <a:gd name="connsiteX18" fmla="*/ 1584960 w 2056448"/>
                  <a:gd name="connsiteY18" fmla="*/ 906780 h 906780"/>
                  <a:gd name="connsiteX19" fmla="*/ 1953578 w 2056448"/>
                  <a:gd name="connsiteY19" fmla="*/ 880110 h 906780"/>
                  <a:gd name="connsiteX20" fmla="*/ 2056448 w 2056448"/>
                  <a:gd name="connsiteY20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80085 w 2056448"/>
                  <a:gd name="connsiteY10" fmla="*/ 625793 h 906780"/>
                  <a:gd name="connsiteX11" fmla="*/ 810577 w 2056448"/>
                  <a:gd name="connsiteY11" fmla="*/ 697230 h 906780"/>
                  <a:gd name="connsiteX12" fmla="*/ 853440 w 2056448"/>
                  <a:gd name="connsiteY12" fmla="*/ 701040 h 906780"/>
                  <a:gd name="connsiteX13" fmla="*/ 967740 w 2056448"/>
                  <a:gd name="connsiteY13" fmla="*/ 746760 h 906780"/>
                  <a:gd name="connsiteX14" fmla="*/ 1211580 w 2056448"/>
                  <a:gd name="connsiteY14" fmla="*/ 830580 h 906780"/>
                  <a:gd name="connsiteX15" fmla="*/ 1272540 w 2056448"/>
                  <a:gd name="connsiteY15" fmla="*/ 853440 h 906780"/>
                  <a:gd name="connsiteX16" fmla="*/ 1325880 w 2056448"/>
                  <a:gd name="connsiteY16" fmla="*/ 861060 h 906780"/>
                  <a:gd name="connsiteX17" fmla="*/ 1516380 w 2056448"/>
                  <a:gd name="connsiteY17" fmla="*/ 899160 h 906780"/>
                  <a:gd name="connsiteX18" fmla="*/ 1584960 w 2056448"/>
                  <a:gd name="connsiteY18" fmla="*/ 906780 h 906780"/>
                  <a:gd name="connsiteX19" fmla="*/ 1953578 w 2056448"/>
                  <a:gd name="connsiteY19" fmla="*/ 880110 h 906780"/>
                  <a:gd name="connsiteX20" fmla="*/ 2056448 w 2056448"/>
                  <a:gd name="connsiteY20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680085 w 2056448"/>
                  <a:gd name="connsiteY10" fmla="*/ 625793 h 906780"/>
                  <a:gd name="connsiteX11" fmla="*/ 810577 w 2056448"/>
                  <a:gd name="connsiteY11" fmla="*/ 697230 h 906780"/>
                  <a:gd name="connsiteX12" fmla="*/ 882015 w 2056448"/>
                  <a:gd name="connsiteY12" fmla="*/ 748665 h 906780"/>
                  <a:gd name="connsiteX13" fmla="*/ 967740 w 2056448"/>
                  <a:gd name="connsiteY13" fmla="*/ 746760 h 906780"/>
                  <a:gd name="connsiteX14" fmla="*/ 1211580 w 2056448"/>
                  <a:gd name="connsiteY14" fmla="*/ 830580 h 906780"/>
                  <a:gd name="connsiteX15" fmla="*/ 1272540 w 2056448"/>
                  <a:gd name="connsiteY15" fmla="*/ 853440 h 906780"/>
                  <a:gd name="connsiteX16" fmla="*/ 1325880 w 2056448"/>
                  <a:gd name="connsiteY16" fmla="*/ 861060 h 906780"/>
                  <a:gd name="connsiteX17" fmla="*/ 1516380 w 2056448"/>
                  <a:gd name="connsiteY17" fmla="*/ 899160 h 906780"/>
                  <a:gd name="connsiteX18" fmla="*/ 1584960 w 2056448"/>
                  <a:gd name="connsiteY18" fmla="*/ 906780 h 906780"/>
                  <a:gd name="connsiteX19" fmla="*/ 1953578 w 2056448"/>
                  <a:gd name="connsiteY19" fmla="*/ 880110 h 906780"/>
                  <a:gd name="connsiteX20" fmla="*/ 2056448 w 2056448"/>
                  <a:gd name="connsiteY20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810577 w 2056448"/>
                  <a:gd name="connsiteY10" fmla="*/ 697230 h 906780"/>
                  <a:gd name="connsiteX11" fmla="*/ 882015 w 2056448"/>
                  <a:gd name="connsiteY11" fmla="*/ 748665 h 906780"/>
                  <a:gd name="connsiteX12" fmla="*/ 967740 w 2056448"/>
                  <a:gd name="connsiteY12" fmla="*/ 746760 h 906780"/>
                  <a:gd name="connsiteX13" fmla="*/ 1211580 w 2056448"/>
                  <a:gd name="connsiteY13" fmla="*/ 830580 h 906780"/>
                  <a:gd name="connsiteX14" fmla="*/ 1272540 w 2056448"/>
                  <a:gd name="connsiteY14" fmla="*/ 853440 h 906780"/>
                  <a:gd name="connsiteX15" fmla="*/ 1325880 w 2056448"/>
                  <a:gd name="connsiteY15" fmla="*/ 861060 h 906780"/>
                  <a:gd name="connsiteX16" fmla="*/ 1516380 w 2056448"/>
                  <a:gd name="connsiteY16" fmla="*/ 899160 h 906780"/>
                  <a:gd name="connsiteX17" fmla="*/ 1584960 w 2056448"/>
                  <a:gd name="connsiteY17" fmla="*/ 906780 h 906780"/>
                  <a:gd name="connsiteX18" fmla="*/ 1953578 w 2056448"/>
                  <a:gd name="connsiteY18" fmla="*/ 880110 h 906780"/>
                  <a:gd name="connsiteX19" fmla="*/ 2056448 w 2056448"/>
                  <a:gd name="connsiteY19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967740 w 2056448"/>
                  <a:gd name="connsiteY12" fmla="*/ 746760 h 906780"/>
                  <a:gd name="connsiteX13" fmla="*/ 1211580 w 2056448"/>
                  <a:gd name="connsiteY13" fmla="*/ 830580 h 906780"/>
                  <a:gd name="connsiteX14" fmla="*/ 1272540 w 2056448"/>
                  <a:gd name="connsiteY14" fmla="*/ 853440 h 906780"/>
                  <a:gd name="connsiteX15" fmla="*/ 1325880 w 2056448"/>
                  <a:gd name="connsiteY15" fmla="*/ 861060 h 906780"/>
                  <a:gd name="connsiteX16" fmla="*/ 1516380 w 2056448"/>
                  <a:gd name="connsiteY16" fmla="*/ 899160 h 906780"/>
                  <a:gd name="connsiteX17" fmla="*/ 1584960 w 2056448"/>
                  <a:gd name="connsiteY17" fmla="*/ 906780 h 906780"/>
                  <a:gd name="connsiteX18" fmla="*/ 1953578 w 2056448"/>
                  <a:gd name="connsiteY18" fmla="*/ 880110 h 906780"/>
                  <a:gd name="connsiteX19" fmla="*/ 2056448 w 2056448"/>
                  <a:gd name="connsiteY19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30580 h 906780"/>
                  <a:gd name="connsiteX14" fmla="*/ 1272540 w 2056448"/>
                  <a:gd name="connsiteY14" fmla="*/ 853440 h 906780"/>
                  <a:gd name="connsiteX15" fmla="*/ 1325880 w 2056448"/>
                  <a:gd name="connsiteY15" fmla="*/ 861060 h 906780"/>
                  <a:gd name="connsiteX16" fmla="*/ 1516380 w 2056448"/>
                  <a:gd name="connsiteY16" fmla="*/ 899160 h 906780"/>
                  <a:gd name="connsiteX17" fmla="*/ 1584960 w 2056448"/>
                  <a:gd name="connsiteY17" fmla="*/ 906780 h 906780"/>
                  <a:gd name="connsiteX18" fmla="*/ 1953578 w 2056448"/>
                  <a:gd name="connsiteY18" fmla="*/ 880110 h 906780"/>
                  <a:gd name="connsiteX19" fmla="*/ 2056448 w 2056448"/>
                  <a:gd name="connsiteY19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68680 h 906780"/>
                  <a:gd name="connsiteX14" fmla="*/ 1272540 w 2056448"/>
                  <a:gd name="connsiteY14" fmla="*/ 853440 h 906780"/>
                  <a:gd name="connsiteX15" fmla="*/ 1325880 w 2056448"/>
                  <a:gd name="connsiteY15" fmla="*/ 861060 h 906780"/>
                  <a:gd name="connsiteX16" fmla="*/ 1516380 w 2056448"/>
                  <a:gd name="connsiteY16" fmla="*/ 899160 h 906780"/>
                  <a:gd name="connsiteX17" fmla="*/ 1584960 w 2056448"/>
                  <a:gd name="connsiteY17" fmla="*/ 906780 h 906780"/>
                  <a:gd name="connsiteX18" fmla="*/ 1953578 w 2056448"/>
                  <a:gd name="connsiteY18" fmla="*/ 880110 h 906780"/>
                  <a:gd name="connsiteX19" fmla="*/ 2056448 w 2056448"/>
                  <a:gd name="connsiteY19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68680 h 906780"/>
                  <a:gd name="connsiteX14" fmla="*/ 1325880 w 2056448"/>
                  <a:gd name="connsiteY14" fmla="*/ 861060 h 906780"/>
                  <a:gd name="connsiteX15" fmla="*/ 1516380 w 2056448"/>
                  <a:gd name="connsiteY15" fmla="*/ 899160 h 906780"/>
                  <a:gd name="connsiteX16" fmla="*/ 1584960 w 2056448"/>
                  <a:gd name="connsiteY16" fmla="*/ 906780 h 906780"/>
                  <a:gd name="connsiteX17" fmla="*/ 1953578 w 2056448"/>
                  <a:gd name="connsiteY17" fmla="*/ 880110 h 906780"/>
                  <a:gd name="connsiteX18" fmla="*/ 2056448 w 2056448"/>
                  <a:gd name="connsiteY18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68680 h 906780"/>
                  <a:gd name="connsiteX14" fmla="*/ 1516380 w 2056448"/>
                  <a:gd name="connsiteY14" fmla="*/ 899160 h 906780"/>
                  <a:gd name="connsiteX15" fmla="*/ 1584960 w 2056448"/>
                  <a:gd name="connsiteY15" fmla="*/ 906780 h 906780"/>
                  <a:gd name="connsiteX16" fmla="*/ 1953578 w 2056448"/>
                  <a:gd name="connsiteY16" fmla="*/ 880110 h 906780"/>
                  <a:gd name="connsiteX17" fmla="*/ 2056448 w 2056448"/>
                  <a:gd name="connsiteY17" fmla="*/ 822008 h 906780"/>
                  <a:gd name="connsiteX0" fmla="*/ 0 w 2056448"/>
                  <a:gd name="connsiteY0" fmla="*/ 0 h 906780"/>
                  <a:gd name="connsiteX1" fmla="*/ 22860 w 2056448"/>
                  <a:gd name="connsiteY1" fmla="*/ 38100 h 906780"/>
                  <a:gd name="connsiteX2" fmla="*/ 45720 w 2056448"/>
                  <a:gd name="connsiteY2" fmla="*/ 68580 h 906780"/>
                  <a:gd name="connsiteX3" fmla="*/ 60960 w 2056448"/>
                  <a:gd name="connsiteY3" fmla="*/ 106680 h 906780"/>
                  <a:gd name="connsiteX4" fmla="*/ 83820 w 2056448"/>
                  <a:gd name="connsiteY4" fmla="*/ 137160 h 906780"/>
                  <a:gd name="connsiteX5" fmla="*/ 106680 w 2056448"/>
                  <a:gd name="connsiteY5" fmla="*/ 175260 h 906780"/>
                  <a:gd name="connsiteX6" fmla="*/ 144780 w 2056448"/>
                  <a:gd name="connsiteY6" fmla="*/ 236220 h 906780"/>
                  <a:gd name="connsiteX7" fmla="*/ 297180 w 2056448"/>
                  <a:gd name="connsiteY7" fmla="*/ 392430 h 906780"/>
                  <a:gd name="connsiteX8" fmla="*/ 442913 w 2056448"/>
                  <a:gd name="connsiteY8" fmla="*/ 496252 h 906780"/>
                  <a:gd name="connsiteX9" fmla="*/ 541020 w 2056448"/>
                  <a:gd name="connsiteY9" fmla="*/ 556260 h 906780"/>
                  <a:gd name="connsiteX10" fmla="*/ 724852 w 2056448"/>
                  <a:gd name="connsiteY10" fmla="*/ 678180 h 906780"/>
                  <a:gd name="connsiteX11" fmla="*/ 882015 w 2056448"/>
                  <a:gd name="connsiteY11" fmla="*/ 748665 h 906780"/>
                  <a:gd name="connsiteX12" fmla="*/ 1039178 w 2056448"/>
                  <a:gd name="connsiteY12" fmla="*/ 808672 h 906780"/>
                  <a:gd name="connsiteX13" fmla="*/ 1211580 w 2056448"/>
                  <a:gd name="connsiteY13" fmla="*/ 868680 h 906780"/>
                  <a:gd name="connsiteX14" fmla="*/ 1516380 w 2056448"/>
                  <a:gd name="connsiteY14" fmla="*/ 899160 h 906780"/>
                  <a:gd name="connsiteX15" fmla="*/ 1584960 w 2056448"/>
                  <a:gd name="connsiteY15" fmla="*/ 906780 h 906780"/>
                  <a:gd name="connsiteX16" fmla="*/ 1953578 w 2056448"/>
                  <a:gd name="connsiteY16" fmla="*/ 880110 h 906780"/>
                  <a:gd name="connsiteX17" fmla="*/ 2056448 w 2056448"/>
                  <a:gd name="connsiteY17" fmla="*/ 822008 h 906780"/>
                  <a:gd name="connsiteX0" fmla="*/ 0 w 2056448"/>
                  <a:gd name="connsiteY0" fmla="*/ 0 h 916305"/>
                  <a:gd name="connsiteX1" fmla="*/ 22860 w 2056448"/>
                  <a:gd name="connsiteY1" fmla="*/ 38100 h 916305"/>
                  <a:gd name="connsiteX2" fmla="*/ 45720 w 2056448"/>
                  <a:gd name="connsiteY2" fmla="*/ 68580 h 916305"/>
                  <a:gd name="connsiteX3" fmla="*/ 60960 w 2056448"/>
                  <a:gd name="connsiteY3" fmla="*/ 106680 h 916305"/>
                  <a:gd name="connsiteX4" fmla="*/ 83820 w 2056448"/>
                  <a:gd name="connsiteY4" fmla="*/ 137160 h 916305"/>
                  <a:gd name="connsiteX5" fmla="*/ 106680 w 2056448"/>
                  <a:gd name="connsiteY5" fmla="*/ 175260 h 916305"/>
                  <a:gd name="connsiteX6" fmla="*/ 144780 w 2056448"/>
                  <a:gd name="connsiteY6" fmla="*/ 236220 h 916305"/>
                  <a:gd name="connsiteX7" fmla="*/ 297180 w 2056448"/>
                  <a:gd name="connsiteY7" fmla="*/ 392430 h 916305"/>
                  <a:gd name="connsiteX8" fmla="*/ 442913 w 2056448"/>
                  <a:gd name="connsiteY8" fmla="*/ 496252 h 916305"/>
                  <a:gd name="connsiteX9" fmla="*/ 541020 w 2056448"/>
                  <a:gd name="connsiteY9" fmla="*/ 556260 h 916305"/>
                  <a:gd name="connsiteX10" fmla="*/ 724852 w 2056448"/>
                  <a:gd name="connsiteY10" fmla="*/ 678180 h 916305"/>
                  <a:gd name="connsiteX11" fmla="*/ 882015 w 2056448"/>
                  <a:gd name="connsiteY11" fmla="*/ 748665 h 916305"/>
                  <a:gd name="connsiteX12" fmla="*/ 1039178 w 2056448"/>
                  <a:gd name="connsiteY12" fmla="*/ 808672 h 916305"/>
                  <a:gd name="connsiteX13" fmla="*/ 1211580 w 2056448"/>
                  <a:gd name="connsiteY13" fmla="*/ 868680 h 916305"/>
                  <a:gd name="connsiteX14" fmla="*/ 1516380 w 2056448"/>
                  <a:gd name="connsiteY14" fmla="*/ 899160 h 916305"/>
                  <a:gd name="connsiteX15" fmla="*/ 1646872 w 2056448"/>
                  <a:gd name="connsiteY15" fmla="*/ 916305 h 916305"/>
                  <a:gd name="connsiteX16" fmla="*/ 1953578 w 2056448"/>
                  <a:gd name="connsiteY16" fmla="*/ 880110 h 916305"/>
                  <a:gd name="connsiteX17" fmla="*/ 2056448 w 2056448"/>
                  <a:gd name="connsiteY17" fmla="*/ 822008 h 916305"/>
                  <a:gd name="connsiteX0" fmla="*/ 0 w 2056448"/>
                  <a:gd name="connsiteY0" fmla="*/ 0 h 917172"/>
                  <a:gd name="connsiteX1" fmla="*/ 22860 w 2056448"/>
                  <a:gd name="connsiteY1" fmla="*/ 38100 h 917172"/>
                  <a:gd name="connsiteX2" fmla="*/ 45720 w 2056448"/>
                  <a:gd name="connsiteY2" fmla="*/ 68580 h 917172"/>
                  <a:gd name="connsiteX3" fmla="*/ 60960 w 2056448"/>
                  <a:gd name="connsiteY3" fmla="*/ 106680 h 917172"/>
                  <a:gd name="connsiteX4" fmla="*/ 83820 w 2056448"/>
                  <a:gd name="connsiteY4" fmla="*/ 137160 h 917172"/>
                  <a:gd name="connsiteX5" fmla="*/ 106680 w 2056448"/>
                  <a:gd name="connsiteY5" fmla="*/ 175260 h 917172"/>
                  <a:gd name="connsiteX6" fmla="*/ 144780 w 2056448"/>
                  <a:gd name="connsiteY6" fmla="*/ 236220 h 917172"/>
                  <a:gd name="connsiteX7" fmla="*/ 297180 w 2056448"/>
                  <a:gd name="connsiteY7" fmla="*/ 392430 h 917172"/>
                  <a:gd name="connsiteX8" fmla="*/ 442913 w 2056448"/>
                  <a:gd name="connsiteY8" fmla="*/ 496252 h 917172"/>
                  <a:gd name="connsiteX9" fmla="*/ 541020 w 2056448"/>
                  <a:gd name="connsiteY9" fmla="*/ 556260 h 917172"/>
                  <a:gd name="connsiteX10" fmla="*/ 724852 w 2056448"/>
                  <a:gd name="connsiteY10" fmla="*/ 678180 h 917172"/>
                  <a:gd name="connsiteX11" fmla="*/ 882015 w 2056448"/>
                  <a:gd name="connsiteY11" fmla="*/ 748665 h 917172"/>
                  <a:gd name="connsiteX12" fmla="*/ 1039178 w 2056448"/>
                  <a:gd name="connsiteY12" fmla="*/ 808672 h 917172"/>
                  <a:gd name="connsiteX13" fmla="*/ 1211580 w 2056448"/>
                  <a:gd name="connsiteY13" fmla="*/ 868680 h 917172"/>
                  <a:gd name="connsiteX14" fmla="*/ 1502093 w 2056448"/>
                  <a:gd name="connsiteY14" fmla="*/ 913448 h 917172"/>
                  <a:gd name="connsiteX15" fmla="*/ 1646872 w 2056448"/>
                  <a:gd name="connsiteY15" fmla="*/ 916305 h 917172"/>
                  <a:gd name="connsiteX16" fmla="*/ 1953578 w 2056448"/>
                  <a:gd name="connsiteY16" fmla="*/ 880110 h 917172"/>
                  <a:gd name="connsiteX17" fmla="*/ 2056448 w 2056448"/>
                  <a:gd name="connsiteY17" fmla="*/ 822008 h 917172"/>
                  <a:gd name="connsiteX0" fmla="*/ 0 w 2056448"/>
                  <a:gd name="connsiteY0" fmla="*/ 0 h 917172"/>
                  <a:gd name="connsiteX1" fmla="*/ 22860 w 2056448"/>
                  <a:gd name="connsiteY1" fmla="*/ 38100 h 917172"/>
                  <a:gd name="connsiteX2" fmla="*/ 45720 w 2056448"/>
                  <a:gd name="connsiteY2" fmla="*/ 68580 h 917172"/>
                  <a:gd name="connsiteX3" fmla="*/ 83820 w 2056448"/>
                  <a:gd name="connsiteY3" fmla="*/ 137160 h 917172"/>
                  <a:gd name="connsiteX4" fmla="*/ 106680 w 2056448"/>
                  <a:gd name="connsiteY4" fmla="*/ 175260 h 917172"/>
                  <a:gd name="connsiteX5" fmla="*/ 144780 w 2056448"/>
                  <a:gd name="connsiteY5" fmla="*/ 236220 h 917172"/>
                  <a:gd name="connsiteX6" fmla="*/ 297180 w 2056448"/>
                  <a:gd name="connsiteY6" fmla="*/ 392430 h 917172"/>
                  <a:gd name="connsiteX7" fmla="*/ 442913 w 2056448"/>
                  <a:gd name="connsiteY7" fmla="*/ 496252 h 917172"/>
                  <a:gd name="connsiteX8" fmla="*/ 541020 w 2056448"/>
                  <a:gd name="connsiteY8" fmla="*/ 556260 h 917172"/>
                  <a:gd name="connsiteX9" fmla="*/ 724852 w 2056448"/>
                  <a:gd name="connsiteY9" fmla="*/ 678180 h 917172"/>
                  <a:gd name="connsiteX10" fmla="*/ 882015 w 2056448"/>
                  <a:gd name="connsiteY10" fmla="*/ 748665 h 917172"/>
                  <a:gd name="connsiteX11" fmla="*/ 1039178 w 2056448"/>
                  <a:gd name="connsiteY11" fmla="*/ 808672 h 917172"/>
                  <a:gd name="connsiteX12" fmla="*/ 1211580 w 2056448"/>
                  <a:gd name="connsiteY12" fmla="*/ 868680 h 917172"/>
                  <a:gd name="connsiteX13" fmla="*/ 1502093 w 2056448"/>
                  <a:gd name="connsiteY13" fmla="*/ 913448 h 917172"/>
                  <a:gd name="connsiteX14" fmla="*/ 1646872 w 2056448"/>
                  <a:gd name="connsiteY14" fmla="*/ 916305 h 917172"/>
                  <a:gd name="connsiteX15" fmla="*/ 1953578 w 2056448"/>
                  <a:gd name="connsiteY15" fmla="*/ 880110 h 917172"/>
                  <a:gd name="connsiteX16" fmla="*/ 2056448 w 2056448"/>
                  <a:gd name="connsiteY16" fmla="*/ 822008 h 917172"/>
                  <a:gd name="connsiteX0" fmla="*/ 0 w 2056448"/>
                  <a:gd name="connsiteY0" fmla="*/ 0 h 917172"/>
                  <a:gd name="connsiteX1" fmla="*/ 22860 w 2056448"/>
                  <a:gd name="connsiteY1" fmla="*/ 38100 h 917172"/>
                  <a:gd name="connsiteX2" fmla="*/ 83820 w 2056448"/>
                  <a:gd name="connsiteY2" fmla="*/ 137160 h 917172"/>
                  <a:gd name="connsiteX3" fmla="*/ 106680 w 2056448"/>
                  <a:gd name="connsiteY3" fmla="*/ 175260 h 917172"/>
                  <a:gd name="connsiteX4" fmla="*/ 144780 w 2056448"/>
                  <a:gd name="connsiteY4" fmla="*/ 236220 h 917172"/>
                  <a:gd name="connsiteX5" fmla="*/ 297180 w 2056448"/>
                  <a:gd name="connsiteY5" fmla="*/ 392430 h 917172"/>
                  <a:gd name="connsiteX6" fmla="*/ 442913 w 2056448"/>
                  <a:gd name="connsiteY6" fmla="*/ 496252 h 917172"/>
                  <a:gd name="connsiteX7" fmla="*/ 541020 w 2056448"/>
                  <a:gd name="connsiteY7" fmla="*/ 556260 h 917172"/>
                  <a:gd name="connsiteX8" fmla="*/ 724852 w 2056448"/>
                  <a:gd name="connsiteY8" fmla="*/ 678180 h 917172"/>
                  <a:gd name="connsiteX9" fmla="*/ 882015 w 2056448"/>
                  <a:gd name="connsiteY9" fmla="*/ 748665 h 917172"/>
                  <a:gd name="connsiteX10" fmla="*/ 1039178 w 2056448"/>
                  <a:gd name="connsiteY10" fmla="*/ 808672 h 917172"/>
                  <a:gd name="connsiteX11" fmla="*/ 1211580 w 2056448"/>
                  <a:gd name="connsiteY11" fmla="*/ 868680 h 917172"/>
                  <a:gd name="connsiteX12" fmla="*/ 1502093 w 2056448"/>
                  <a:gd name="connsiteY12" fmla="*/ 913448 h 917172"/>
                  <a:gd name="connsiteX13" fmla="*/ 1646872 w 2056448"/>
                  <a:gd name="connsiteY13" fmla="*/ 916305 h 917172"/>
                  <a:gd name="connsiteX14" fmla="*/ 1953578 w 2056448"/>
                  <a:gd name="connsiteY14" fmla="*/ 880110 h 917172"/>
                  <a:gd name="connsiteX15" fmla="*/ 2056448 w 2056448"/>
                  <a:gd name="connsiteY15" fmla="*/ 822008 h 917172"/>
                  <a:gd name="connsiteX0" fmla="*/ 0 w 2056448"/>
                  <a:gd name="connsiteY0" fmla="*/ 0 h 917172"/>
                  <a:gd name="connsiteX1" fmla="*/ 83820 w 2056448"/>
                  <a:gd name="connsiteY1" fmla="*/ 137160 h 917172"/>
                  <a:gd name="connsiteX2" fmla="*/ 106680 w 2056448"/>
                  <a:gd name="connsiteY2" fmla="*/ 175260 h 917172"/>
                  <a:gd name="connsiteX3" fmla="*/ 144780 w 2056448"/>
                  <a:gd name="connsiteY3" fmla="*/ 236220 h 917172"/>
                  <a:gd name="connsiteX4" fmla="*/ 297180 w 2056448"/>
                  <a:gd name="connsiteY4" fmla="*/ 392430 h 917172"/>
                  <a:gd name="connsiteX5" fmla="*/ 442913 w 2056448"/>
                  <a:gd name="connsiteY5" fmla="*/ 496252 h 917172"/>
                  <a:gd name="connsiteX6" fmla="*/ 541020 w 2056448"/>
                  <a:gd name="connsiteY6" fmla="*/ 556260 h 917172"/>
                  <a:gd name="connsiteX7" fmla="*/ 724852 w 2056448"/>
                  <a:gd name="connsiteY7" fmla="*/ 678180 h 917172"/>
                  <a:gd name="connsiteX8" fmla="*/ 882015 w 2056448"/>
                  <a:gd name="connsiteY8" fmla="*/ 748665 h 917172"/>
                  <a:gd name="connsiteX9" fmla="*/ 1039178 w 2056448"/>
                  <a:gd name="connsiteY9" fmla="*/ 808672 h 917172"/>
                  <a:gd name="connsiteX10" fmla="*/ 1211580 w 2056448"/>
                  <a:gd name="connsiteY10" fmla="*/ 868680 h 917172"/>
                  <a:gd name="connsiteX11" fmla="*/ 1502093 w 2056448"/>
                  <a:gd name="connsiteY11" fmla="*/ 913448 h 917172"/>
                  <a:gd name="connsiteX12" fmla="*/ 1646872 w 2056448"/>
                  <a:gd name="connsiteY12" fmla="*/ 916305 h 917172"/>
                  <a:gd name="connsiteX13" fmla="*/ 1953578 w 2056448"/>
                  <a:gd name="connsiteY13" fmla="*/ 880110 h 917172"/>
                  <a:gd name="connsiteX14" fmla="*/ 2056448 w 2056448"/>
                  <a:gd name="connsiteY14" fmla="*/ 822008 h 917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056448" h="917172">
                    <a:moveTo>
                      <a:pt x="0" y="0"/>
                    </a:moveTo>
                    <a:lnTo>
                      <a:pt x="83820" y="137160"/>
                    </a:lnTo>
                    <a:cubicBezTo>
                      <a:pt x="101600" y="166370"/>
                      <a:pt x="99487" y="162313"/>
                      <a:pt x="106680" y="175260"/>
                    </a:cubicBezTo>
                    <a:cubicBezTo>
                      <a:pt x="116319" y="192611"/>
                      <a:pt x="113030" y="200025"/>
                      <a:pt x="144780" y="236220"/>
                    </a:cubicBezTo>
                    <a:cubicBezTo>
                      <a:pt x="176530" y="272415"/>
                      <a:pt x="247491" y="349091"/>
                      <a:pt x="297180" y="392430"/>
                    </a:cubicBezTo>
                    <a:cubicBezTo>
                      <a:pt x="346869" y="435769"/>
                      <a:pt x="402273" y="468947"/>
                      <a:pt x="442913" y="496252"/>
                    </a:cubicBezTo>
                    <a:cubicBezTo>
                      <a:pt x="483553" y="523557"/>
                      <a:pt x="494030" y="525939"/>
                      <a:pt x="541020" y="556260"/>
                    </a:cubicBezTo>
                    <a:cubicBezTo>
                      <a:pt x="588010" y="586581"/>
                      <a:pt x="668020" y="646113"/>
                      <a:pt x="724852" y="678180"/>
                    </a:cubicBezTo>
                    <a:cubicBezTo>
                      <a:pt x="781685" y="710248"/>
                      <a:pt x="829627" y="726916"/>
                      <a:pt x="882015" y="748665"/>
                    </a:cubicBezTo>
                    <a:cubicBezTo>
                      <a:pt x="934403" y="770414"/>
                      <a:pt x="984251" y="788670"/>
                      <a:pt x="1039178" y="808672"/>
                    </a:cubicBezTo>
                    <a:cubicBezTo>
                      <a:pt x="1094105" y="828674"/>
                      <a:pt x="1134428" y="851217"/>
                      <a:pt x="1211580" y="868680"/>
                    </a:cubicBezTo>
                    <a:cubicBezTo>
                      <a:pt x="1288732" y="886143"/>
                      <a:pt x="1429544" y="905511"/>
                      <a:pt x="1502093" y="913448"/>
                    </a:cubicBezTo>
                    <a:cubicBezTo>
                      <a:pt x="1574642" y="921386"/>
                      <a:pt x="1624012" y="913765"/>
                      <a:pt x="1646872" y="916305"/>
                    </a:cubicBezTo>
                    <a:cubicBezTo>
                      <a:pt x="1726882" y="916305"/>
                      <a:pt x="1885315" y="895826"/>
                      <a:pt x="1953578" y="880110"/>
                    </a:cubicBezTo>
                    <a:cubicBezTo>
                      <a:pt x="2021841" y="864394"/>
                      <a:pt x="2031683" y="835025"/>
                      <a:pt x="2056448" y="822008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8AB6640D-6281-8DB8-7D2D-A82AA5E61DFC}"/>
                  </a:ext>
                </a:extLst>
              </p:cNvPr>
              <p:cNvSpPr/>
              <p:nvPr/>
            </p:nvSpPr>
            <p:spPr>
              <a:xfrm>
                <a:off x="3787140" y="3009900"/>
                <a:ext cx="2944177" cy="1234440"/>
              </a:xfrm>
              <a:custGeom>
                <a:avLst/>
                <a:gdLst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03860 w 2956560"/>
                  <a:gd name="connsiteY13" fmla="*/ 533400 h 1249680"/>
                  <a:gd name="connsiteX14" fmla="*/ 426720 w 2956560"/>
                  <a:gd name="connsiteY14" fmla="*/ 548640 h 1249680"/>
                  <a:gd name="connsiteX15" fmla="*/ 464820 w 2956560"/>
                  <a:gd name="connsiteY15" fmla="*/ 579120 h 1249680"/>
                  <a:gd name="connsiteX16" fmla="*/ 495300 w 2956560"/>
                  <a:gd name="connsiteY16" fmla="*/ 594360 h 1249680"/>
                  <a:gd name="connsiteX17" fmla="*/ 533400 w 2956560"/>
                  <a:gd name="connsiteY17" fmla="*/ 624840 h 1249680"/>
                  <a:gd name="connsiteX18" fmla="*/ 548640 w 2956560"/>
                  <a:gd name="connsiteY18" fmla="*/ 647700 h 1249680"/>
                  <a:gd name="connsiteX19" fmla="*/ 571500 w 2956560"/>
                  <a:gd name="connsiteY19" fmla="*/ 655320 h 1249680"/>
                  <a:gd name="connsiteX20" fmla="*/ 617220 w 2956560"/>
                  <a:gd name="connsiteY20" fmla="*/ 693420 h 1249680"/>
                  <a:gd name="connsiteX21" fmla="*/ 670560 w 2956560"/>
                  <a:gd name="connsiteY21" fmla="*/ 746760 h 1249680"/>
                  <a:gd name="connsiteX22" fmla="*/ 723900 w 2956560"/>
                  <a:gd name="connsiteY22" fmla="*/ 784860 h 1249680"/>
                  <a:gd name="connsiteX23" fmla="*/ 769620 w 2956560"/>
                  <a:gd name="connsiteY23" fmla="*/ 830580 h 1249680"/>
                  <a:gd name="connsiteX24" fmla="*/ 792480 w 2956560"/>
                  <a:gd name="connsiteY24" fmla="*/ 845820 h 1249680"/>
                  <a:gd name="connsiteX25" fmla="*/ 891540 w 2956560"/>
                  <a:gd name="connsiteY25" fmla="*/ 883920 h 1249680"/>
                  <a:gd name="connsiteX26" fmla="*/ 967740 w 2956560"/>
                  <a:gd name="connsiteY26" fmla="*/ 937260 h 1249680"/>
                  <a:gd name="connsiteX27" fmla="*/ 998220 w 2956560"/>
                  <a:gd name="connsiteY27" fmla="*/ 960120 h 1249680"/>
                  <a:gd name="connsiteX28" fmla="*/ 1021080 w 2956560"/>
                  <a:gd name="connsiteY28" fmla="*/ 967740 h 1249680"/>
                  <a:gd name="connsiteX29" fmla="*/ 1074420 w 2956560"/>
                  <a:gd name="connsiteY29" fmla="*/ 998220 h 1249680"/>
                  <a:gd name="connsiteX30" fmla="*/ 1097280 w 2956560"/>
                  <a:gd name="connsiteY30" fmla="*/ 1013460 h 1249680"/>
                  <a:gd name="connsiteX31" fmla="*/ 1158240 w 2956560"/>
                  <a:gd name="connsiteY31" fmla="*/ 1036320 h 1249680"/>
                  <a:gd name="connsiteX32" fmla="*/ 1219200 w 2956560"/>
                  <a:gd name="connsiteY32" fmla="*/ 1082040 h 1249680"/>
                  <a:gd name="connsiteX33" fmla="*/ 1264920 w 2956560"/>
                  <a:gd name="connsiteY33" fmla="*/ 1104900 h 1249680"/>
                  <a:gd name="connsiteX34" fmla="*/ 1287780 w 2956560"/>
                  <a:gd name="connsiteY34" fmla="*/ 1120140 h 1249680"/>
                  <a:gd name="connsiteX35" fmla="*/ 1371600 w 2956560"/>
                  <a:gd name="connsiteY35" fmla="*/ 1150620 h 1249680"/>
                  <a:gd name="connsiteX36" fmla="*/ 1409700 w 2956560"/>
                  <a:gd name="connsiteY36" fmla="*/ 1158240 h 1249680"/>
                  <a:gd name="connsiteX37" fmla="*/ 1478280 w 2956560"/>
                  <a:gd name="connsiteY37" fmla="*/ 1173480 h 1249680"/>
                  <a:gd name="connsiteX38" fmla="*/ 1600200 w 2956560"/>
                  <a:gd name="connsiteY38" fmla="*/ 1181100 h 1249680"/>
                  <a:gd name="connsiteX39" fmla="*/ 1760220 w 2956560"/>
                  <a:gd name="connsiteY39" fmla="*/ 1196340 h 1249680"/>
                  <a:gd name="connsiteX40" fmla="*/ 1798320 w 2956560"/>
                  <a:gd name="connsiteY40" fmla="*/ 1203960 h 1249680"/>
                  <a:gd name="connsiteX41" fmla="*/ 1927860 w 2956560"/>
                  <a:gd name="connsiteY41" fmla="*/ 1211580 h 1249680"/>
                  <a:gd name="connsiteX42" fmla="*/ 1988820 w 2956560"/>
                  <a:gd name="connsiteY42" fmla="*/ 1226820 h 1249680"/>
                  <a:gd name="connsiteX43" fmla="*/ 2065020 w 2956560"/>
                  <a:gd name="connsiteY43" fmla="*/ 1234440 h 1249680"/>
                  <a:gd name="connsiteX44" fmla="*/ 2186940 w 2956560"/>
                  <a:gd name="connsiteY44" fmla="*/ 1249680 h 1249680"/>
                  <a:gd name="connsiteX45" fmla="*/ 2331720 w 2956560"/>
                  <a:gd name="connsiteY45" fmla="*/ 1242060 h 1249680"/>
                  <a:gd name="connsiteX46" fmla="*/ 2354580 w 2956560"/>
                  <a:gd name="connsiteY46" fmla="*/ 1226820 h 1249680"/>
                  <a:gd name="connsiteX47" fmla="*/ 2423160 w 2956560"/>
                  <a:gd name="connsiteY47" fmla="*/ 1196340 h 1249680"/>
                  <a:gd name="connsiteX48" fmla="*/ 2461260 w 2956560"/>
                  <a:gd name="connsiteY48" fmla="*/ 1173480 h 1249680"/>
                  <a:gd name="connsiteX49" fmla="*/ 2506980 w 2956560"/>
                  <a:gd name="connsiteY49" fmla="*/ 1165860 h 1249680"/>
                  <a:gd name="connsiteX50" fmla="*/ 2537460 w 2956560"/>
                  <a:gd name="connsiteY50" fmla="*/ 1150620 h 1249680"/>
                  <a:gd name="connsiteX51" fmla="*/ 2621280 w 2956560"/>
                  <a:gd name="connsiteY51" fmla="*/ 1127760 h 1249680"/>
                  <a:gd name="connsiteX52" fmla="*/ 2644140 w 2956560"/>
                  <a:gd name="connsiteY52" fmla="*/ 1112520 h 1249680"/>
                  <a:gd name="connsiteX53" fmla="*/ 2750820 w 2956560"/>
                  <a:gd name="connsiteY53" fmla="*/ 1082040 h 1249680"/>
                  <a:gd name="connsiteX54" fmla="*/ 2781300 w 2956560"/>
                  <a:gd name="connsiteY54" fmla="*/ 1066800 h 1249680"/>
                  <a:gd name="connsiteX55" fmla="*/ 2849880 w 2956560"/>
                  <a:gd name="connsiteY55" fmla="*/ 1051560 h 1249680"/>
                  <a:gd name="connsiteX56" fmla="*/ 2910840 w 2956560"/>
                  <a:gd name="connsiteY56" fmla="*/ 1021080 h 1249680"/>
                  <a:gd name="connsiteX57" fmla="*/ 2956560 w 2956560"/>
                  <a:gd name="connsiteY57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26720 w 2956560"/>
                  <a:gd name="connsiteY13" fmla="*/ 548640 h 1249680"/>
                  <a:gd name="connsiteX14" fmla="*/ 464820 w 2956560"/>
                  <a:gd name="connsiteY14" fmla="*/ 579120 h 1249680"/>
                  <a:gd name="connsiteX15" fmla="*/ 495300 w 2956560"/>
                  <a:gd name="connsiteY15" fmla="*/ 594360 h 1249680"/>
                  <a:gd name="connsiteX16" fmla="*/ 533400 w 2956560"/>
                  <a:gd name="connsiteY16" fmla="*/ 624840 h 1249680"/>
                  <a:gd name="connsiteX17" fmla="*/ 548640 w 2956560"/>
                  <a:gd name="connsiteY17" fmla="*/ 647700 h 1249680"/>
                  <a:gd name="connsiteX18" fmla="*/ 571500 w 2956560"/>
                  <a:gd name="connsiteY18" fmla="*/ 655320 h 1249680"/>
                  <a:gd name="connsiteX19" fmla="*/ 617220 w 2956560"/>
                  <a:gd name="connsiteY19" fmla="*/ 693420 h 1249680"/>
                  <a:gd name="connsiteX20" fmla="*/ 670560 w 2956560"/>
                  <a:gd name="connsiteY20" fmla="*/ 746760 h 1249680"/>
                  <a:gd name="connsiteX21" fmla="*/ 723900 w 2956560"/>
                  <a:gd name="connsiteY21" fmla="*/ 784860 h 1249680"/>
                  <a:gd name="connsiteX22" fmla="*/ 769620 w 2956560"/>
                  <a:gd name="connsiteY22" fmla="*/ 830580 h 1249680"/>
                  <a:gd name="connsiteX23" fmla="*/ 792480 w 2956560"/>
                  <a:gd name="connsiteY23" fmla="*/ 845820 h 1249680"/>
                  <a:gd name="connsiteX24" fmla="*/ 891540 w 2956560"/>
                  <a:gd name="connsiteY24" fmla="*/ 883920 h 1249680"/>
                  <a:gd name="connsiteX25" fmla="*/ 967740 w 2956560"/>
                  <a:gd name="connsiteY25" fmla="*/ 937260 h 1249680"/>
                  <a:gd name="connsiteX26" fmla="*/ 998220 w 2956560"/>
                  <a:gd name="connsiteY26" fmla="*/ 960120 h 1249680"/>
                  <a:gd name="connsiteX27" fmla="*/ 1021080 w 2956560"/>
                  <a:gd name="connsiteY27" fmla="*/ 967740 h 1249680"/>
                  <a:gd name="connsiteX28" fmla="*/ 1074420 w 2956560"/>
                  <a:gd name="connsiteY28" fmla="*/ 998220 h 1249680"/>
                  <a:gd name="connsiteX29" fmla="*/ 1097280 w 2956560"/>
                  <a:gd name="connsiteY29" fmla="*/ 1013460 h 1249680"/>
                  <a:gd name="connsiteX30" fmla="*/ 1158240 w 2956560"/>
                  <a:gd name="connsiteY30" fmla="*/ 1036320 h 1249680"/>
                  <a:gd name="connsiteX31" fmla="*/ 1219200 w 2956560"/>
                  <a:gd name="connsiteY31" fmla="*/ 1082040 h 1249680"/>
                  <a:gd name="connsiteX32" fmla="*/ 1264920 w 2956560"/>
                  <a:gd name="connsiteY32" fmla="*/ 1104900 h 1249680"/>
                  <a:gd name="connsiteX33" fmla="*/ 1287780 w 2956560"/>
                  <a:gd name="connsiteY33" fmla="*/ 1120140 h 1249680"/>
                  <a:gd name="connsiteX34" fmla="*/ 1371600 w 2956560"/>
                  <a:gd name="connsiteY34" fmla="*/ 1150620 h 1249680"/>
                  <a:gd name="connsiteX35" fmla="*/ 1409700 w 2956560"/>
                  <a:gd name="connsiteY35" fmla="*/ 1158240 h 1249680"/>
                  <a:gd name="connsiteX36" fmla="*/ 1478280 w 2956560"/>
                  <a:gd name="connsiteY36" fmla="*/ 1173480 h 1249680"/>
                  <a:gd name="connsiteX37" fmla="*/ 1600200 w 2956560"/>
                  <a:gd name="connsiteY37" fmla="*/ 1181100 h 1249680"/>
                  <a:gd name="connsiteX38" fmla="*/ 1760220 w 2956560"/>
                  <a:gd name="connsiteY38" fmla="*/ 1196340 h 1249680"/>
                  <a:gd name="connsiteX39" fmla="*/ 1798320 w 2956560"/>
                  <a:gd name="connsiteY39" fmla="*/ 1203960 h 1249680"/>
                  <a:gd name="connsiteX40" fmla="*/ 1927860 w 2956560"/>
                  <a:gd name="connsiteY40" fmla="*/ 1211580 h 1249680"/>
                  <a:gd name="connsiteX41" fmla="*/ 1988820 w 2956560"/>
                  <a:gd name="connsiteY41" fmla="*/ 1226820 h 1249680"/>
                  <a:gd name="connsiteX42" fmla="*/ 2065020 w 2956560"/>
                  <a:gd name="connsiteY42" fmla="*/ 1234440 h 1249680"/>
                  <a:gd name="connsiteX43" fmla="*/ 2186940 w 2956560"/>
                  <a:gd name="connsiteY43" fmla="*/ 1249680 h 1249680"/>
                  <a:gd name="connsiteX44" fmla="*/ 2331720 w 2956560"/>
                  <a:gd name="connsiteY44" fmla="*/ 1242060 h 1249680"/>
                  <a:gd name="connsiteX45" fmla="*/ 2354580 w 2956560"/>
                  <a:gd name="connsiteY45" fmla="*/ 1226820 h 1249680"/>
                  <a:gd name="connsiteX46" fmla="*/ 2423160 w 2956560"/>
                  <a:gd name="connsiteY46" fmla="*/ 1196340 h 1249680"/>
                  <a:gd name="connsiteX47" fmla="*/ 2461260 w 2956560"/>
                  <a:gd name="connsiteY47" fmla="*/ 1173480 h 1249680"/>
                  <a:gd name="connsiteX48" fmla="*/ 2506980 w 2956560"/>
                  <a:gd name="connsiteY48" fmla="*/ 1165860 h 1249680"/>
                  <a:gd name="connsiteX49" fmla="*/ 2537460 w 2956560"/>
                  <a:gd name="connsiteY49" fmla="*/ 1150620 h 1249680"/>
                  <a:gd name="connsiteX50" fmla="*/ 2621280 w 2956560"/>
                  <a:gd name="connsiteY50" fmla="*/ 1127760 h 1249680"/>
                  <a:gd name="connsiteX51" fmla="*/ 2644140 w 2956560"/>
                  <a:gd name="connsiteY51" fmla="*/ 1112520 h 1249680"/>
                  <a:gd name="connsiteX52" fmla="*/ 2750820 w 2956560"/>
                  <a:gd name="connsiteY52" fmla="*/ 1082040 h 1249680"/>
                  <a:gd name="connsiteX53" fmla="*/ 2781300 w 2956560"/>
                  <a:gd name="connsiteY53" fmla="*/ 1066800 h 1249680"/>
                  <a:gd name="connsiteX54" fmla="*/ 2849880 w 2956560"/>
                  <a:gd name="connsiteY54" fmla="*/ 1051560 h 1249680"/>
                  <a:gd name="connsiteX55" fmla="*/ 2910840 w 2956560"/>
                  <a:gd name="connsiteY55" fmla="*/ 1021080 h 1249680"/>
                  <a:gd name="connsiteX56" fmla="*/ 2956560 w 2956560"/>
                  <a:gd name="connsiteY56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264920 w 2956560"/>
                  <a:gd name="connsiteY31" fmla="*/ 1104900 h 1249680"/>
                  <a:gd name="connsiteX32" fmla="*/ 1287780 w 2956560"/>
                  <a:gd name="connsiteY32" fmla="*/ 1120140 h 1249680"/>
                  <a:gd name="connsiteX33" fmla="*/ 1371600 w 2956560"/>
                  <a:gd name="connsiteY33" fmla="*/ 1150620 h 1249680"/>
                  <a:gd name="connsiteX34" fmla="*/ 1409700 w 2956560"/>
                  <a:gd name="connsiteY34" fmla="*/ 1158240 h 1249680"/>
                  <a:gd name="connsiteX35" fmla="*/ 1478280 w 2956560"/>
                  <a:gd name="connsiteY35" fmla="*/ 1173480 h 1249680"/>
                  <a:gd name="connsiteX36" fmla="*/ 1600200 w 2956560"/>
                  <a:gd name="connsiteY36" fmla="*/ 1181100 h 1249680"/>
                  <a:gd name="connsiteX37" fmla="*/ 1760220 w 2956560"/>
                  <a:gd name="connsiteY37" fmla="*/ 1196340 h 1249680"/>
                  <a:gd name="connsiteX38" fmla="*/ 1798320 w 2956560"/>
                  <a:gd name="connsiteY38" fmla="*/ 1203960 h 1249680"/>
                  <a:gd name="connsiteX39" fmla="*/ 1927860 w 2956560"/>
                  <a:gd name="connsiteY39" fmla="*/ 1211580 h 1249680"/>
                  <a:gd name="connsiteX40" fmla="*/ 1988820 w 2956560"/>
                  <a:gd name="connsiteY40" fmla="*/ 1226820 h 1249680"/>
                  <a:gd name="connsiteX41" fmla="*/ 2065020 w 2956560"/>
                  <a:gd name="connsiteY41" fmla="*/ 1234440 h 1249680"/>
                  <a:gd name="connsiteX42" fmla="*/ 2186940 w 2956560"/>
                  <a:gd name="connsiteY42" fmla="*/ 1249680 h 1249680"/>
                  <a:gd name="connsiteX43" fmla="*/ 2331720 w 2956560"/>
                  <a:gd name="connsiteY43" fmla="*/ 1242060 h 1249680"/>
                  <a:gd name="connsiteX44" fmla="*/ 2354580 w 2956560"/>
                  <a:gd name="connsiteY44" fmla="*/ 1226820 h 1249680"/>
                  <a:gd name="connsiteX45" fmla="*/ 2423160 w 2956560"/>
                  <a:gd name="connsiteY45" fmla="*/ 1196340 h 1249680"/>
                  <a:gd name="connsiteX46" fmla="*/ 2461260 w 2956560"/>
                  <a:gd name="connsiteY46" fmla="*/ 1173480 h 1249680"/>
                  <a:gd name="connsiteX47" fmla="*/ 2506980 w 2956560"/>
                  <a:gd name="connsiteY47" fmla="*/ 1165860 h 1249680"/>
                  <a:gd name="connsiteX48" fmla="*/ 2537460 w 2956560"/>
                  <a:gd name="connsiteY48" fmla="*/ 1150620 h 1249680"/>
                  <a:gd name="connsiteX49" fmla="*/ 2621280 w 2956560"/>
                  <a:gd name="connsiteY49" fmla="*/ 1127760 h 1249680"/>
                  <a:gd name="connsiteX50" fmla="*/ 2644140 w 2956560"/>
                  <a:gd name="connsiteY50" fmla="*/ 1112520 h 1249680"/>
                  <a:gd name="connsiteX51" fmla="*/ 2750820 w 2956560"/>
                  <a:gd name="connsiteY51" fmla="*/ 1082040 h 1249680"/>
                  <a:gd name="connsiteX52" fmla="*/ 2781300 w 2956560"/>
                  <a:gd name="connsiteY52" fmla="*/ 1066800 h 1249680"/>
                  <a:gd name="connsiteX53" fmla="*/ 2849880 w 2956560"/>
                  <a:gd name="connsiteY53" fmla="*/ 1051560 h 1249680"/>
                  <a:gd name="connsiteX54" fmla="*/ 2910840 w 2956560"/>
                  <a:gd name="connsiteY54" fmla="*/ 1021080 h 1249680"/>
                  <a:gd name="connsiteX55" fmla="*/ 2956560 w 2956560"/>
                  <a:gd name="connsiteY55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264920 w 2956560"/>
                  <a:gd name="connsiteY31" fmla="*/ 1104900 h 1249680"/>
                  <a:gd name="connsiteX32" fmla="*/ 1371600 w 2956560"/>
                  <a:gd name="connsiteY32" fmla="*/ 1150620 h 1249680"/>
                  <a:gd name="connsiteX33" fmla="*/ 1409700 w 2956560"/>
                  <a:gd name="connsiteY33" fmla="*/ 1158240 h 1249680"/>
                  <a:gd name="connsiteX34" fmla="*/ 1478280 w 2956560"/>
                  <a:gd name="connsiteY34" fmla="*/ 1173480 h 1249680"/>
                  <a:gd name="connsiteX35" fmla="*/ 1600200 w 2956560"/>
                  <a:gd name="connsiteY35" fmla="*/ 1181100 h 1249680"/>
                  <a:gd name="connsiteX36" fmla="*/ 1760220 w 2956560"/>
                  <a:gd name="connsiteY36" fmla="*/ 1196340 h 1249680"/>
                  <a:gd name="connsiteX37" fmla="*/ 1798320 w 2956560"/>
                  <a:gd name="connsiteY37" fmla="*/ 1203960 h 1249680"/>
                  <a:gd name="connsiteX38" fmla="*/ 1927860 w 2956560"/>
                  <a:gd name="connsiteY38" fmla="*/ 1211580 h 1249680"/>
                  <a:gd name="connsiteX39" fmla="*/ 1988820 w 2956560"/>
                  <a:gd name="connsiteY39" fmla="*/ 1226820 h 1249680"/>
                  <a:gd name="connsiteX40" fmla="*/ 2065020 w 2956560"/>
                  <a:gd name="connsiteY40" fmla="*/ 1234440 h 1249680"/>
                  <a:gd name="connsiteX41" fmla="*/ 2186940 w 2956560"/>
                  <a:gd name="connsiteY41" fmla="*/ 1249680 h 1249680"/>
                  <a:gd name="connsiteX42" fmla="*/ 2331720 w 2956560"/>
                  <a:gd name="connsiteY42" fmla="*/ 1242060 h 1249680"/>
                  <a:gd name="connsiteX43" fmla="*/ 2354580 w 2956560"/>
                  <a:gd name="connsiteY43" fmla="*/ 1226820 h 1249680"/>
                  <a:gd name="connsiteX44" fmla="*/ 2423160 w 2956560"/>
                  <a:gd name="connsiteY44" fmla="*/ 1196340 h 1249680"/>
                  <a:gd name="connsiteX45" fmla="*/ 2461260 w 2956560"/>
                  <a:gd name="connsiteY45" fmla="*/ 1173480 h 1249680"/>
                  <a:gd name="connsiteX46" fmla="*/ 2506980 w 2956560"/>
                  <a:gd name="connsiteY46" fmla="*/ 1165860 h 1249680"/>
                  <a:gd name="connsiteX47" fmla="*/ 2537460 w 2956560"/>
                  <a:gd name="connsiteY47" fmla="*/ 1150620 h 1249680"/>
                  <a:gd name="connsiteX48" fmla="*/ 2621280 w 2956560"/>
                  <a:gd name="connsiteY48" fmla="*/ 1127760 h 1249680"/>
                  <a:gd name="connsiteX49" fmla="*/ 2644140 w 2956560"/>
                  <a:gd name="connsiteY49" fmla="*/ 1112520 h 1249680"/>
                  <a:gd name="connsiteX50" fmla="*/ 2750820 w 2956560"/>
                  <a:gd name="connsiteY50" fmla="*/ 1082040 h 1249680"/>
                  <a:gd name="connsiteX51" fmla="*/ 2781300 w 2956560"/>
                  <a:gd name="connsiteY51" fmla="*/ 1066800 h 1249680"/>
                  <a:gd name="connsiteX52" fmla="*/ 2849880 w 2956560"/>
                  <a:gd name="connsiteY52" fmla="*/ 1051560 h 1249680"/>
                  <a:gd name="connsiteX53" fmla="*/ 2910840 w 2956560"/>
                  <a:gd name="connsiteY53" fmla="*/ 1021080 h 1249680"/>
                  <a:gd name="connsiteX54" fmla="*/ 2956560 w 2956560"/>
                  <a:gd name="connsiteY54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371600 w 2956560"/>
                  <a:gd name="connsiteY31" fmla="*/ 1150620 h 1249680"/>
                  <a:gd name="connsiteX32" fmla="*/ 1409700 w 2956560"/>
                  <a:gd name="connsiteY32" fmla="*/ 1158240 h 1249680"/>
                  <a:gd name="connsiteX33" fmla="*/ 1478280 w 2956560"/>
                  <a:gd name="connsiteY33" fmla="*/ 1173480 h 1249680"/>
                  <a:gd name="connsiteX34" fmla="*/ 1600200 w 2956560"/>
                  <a:gd name="connsiteY34" fmla="*/ 1181100 h 1249680"/>
                  <a:gd name="connsiteX35" fmla="*/ 1760220 w 2956560"/>
                  <a:gd name="connsiteY35" fmla="*/ 1196340 h 1249680"/>
                  <a:gd name="connsiteX36" fmla="*/ 1798320 w 2956560"/>
                  <a:gd name="connsiteY36" fmla="*/ 1203960 h 1249680"/>
                  <a:gd name="connsiteX37" fmla="*/ 1927860 w 2956560"/>
                  <a:gd name="connsiteY37" fmla="*/ 1211580 h 1249680"/>
                  <a:gd name="connsiteX38" fmla="*/ 1988820 w 2956560"/>
                  <a:gd name="connsiteY38" fmla="*/ 1226820 h 1249680"/>
                  <a:gd name="connsiteX39" fmla="*/ 2065020 w 2956560"/>
                  <a:gd name="connsiteY39" fmla="*/ 1234440 h 1249680"/>
                  <a:gd name="connsiteX40" fmla="*/ 2186940 w 2956560"/>
                  <a:gd name="connsiteY40" fmla="*/ 1249680 h 1249680"/>
                  <a:gd name="connsiteX41" fmla="*/ 2331720 w 2956560"/>
                  <a:gd name="connsiteY41" fmla="*/ 1242060 h 1249680"/>
                  <a:gd name="connsiteX42" fmla="*/ 2354580 w 2956560"/>
                  <a:gd name="connsiteY42" fmla="*/ 1226820 h 1249680"/>
                  <a:gd name="connsiteX43" fmla="*/ 2423160 w 2956560"/>
                  <a:gd name="connsiteY43" fmla="*/ 1196340 h 1249680"/>
                  <a:gd name="connsiteX44" fmla="*/ 2461260 w 2956560"/>
                  <a:gd name="connsiteY44" fmla="*/ 1173480 h 1249680"/>
                  <a:gd name="connsiteX45" fmla="*/ 2506980 w 2956560"/>
                  <a:gd name="connsiteY45" fmla="*/ 1165860 h 1249680"/>
                  <a:gd name="connsiteX46" fmla="*/ 2537460 w 2956560"/>
                  <a:gd name="connsiteY46" fmla="*/ 1150620 h 1249680"/>
                  <a:gd name="connsiteX47" fmla="*/ 2621280 w 2956560"/>
                  <a:gd name="connsiteY47" fmla="*/ 1127760 h 1249680"/>
                  <a:gd name="connsiteX48" fmla="*/ 2644140 w 2956560"/>
                  <a:gd name="connsiteY48" fmla="*/ 1112520 h 1249680"/>
                  <a:gd name="connsiteX49" fmla="*/ 2750820 w 2956560"/>
                  <a:gd name="connsiteY49" fmla="*/ 1082040 h 1249680"/>
                  <a:gd name="connsiteX50" fmla="*/ 2781300 w 2956560"/>
                  <a:gd name="connsiteY50" fmla="*/ 1066800 h 1249680"/>
                  <a:gd name="connsiteX51" fmla="*/ 2849880 w 2956560"/>
                  <a:gd name="connsiteY51" fmla="*/ 1051560 h 1249680"/>
                  <a:gd name="connsiteX52" fmla="*/ 2910840 w 2956560"/>
                  <a:gd name="connsiteY52" fmla="*/ 1021080 h 1249680"/>
                  <a:gd name="connsiteX53" fmla="*/ 2956560 w 2956560"/>
                  <a:gd name="connsiteY53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409700 w 2956560"/>
                  <a:gd name="connsiteY31" fmla="*/ 1158240 h 1249680"/>
                  <a:gd name="connsiteX32" fmla="*/ 1478280 w 2956560"/>
                  <a:gd name="connsiteY32" fmla="*/ 1173480 h 1249680"/>
                  <a:gd name="connsiteX33" fmla="*/ 1600200 w 2956560"/>
                  <a:gd name="connsiteY33" fmla="*/ 1181100 h 1249680"/>
                  <a:gd name="connsiteX34" fmla="*/ 1760220 w 2956560"/>
                  <a:gd name="connsiteY34" fmla="*/ 1196340 h 1249680"/>
                  <a:gd name="connsiteX35" fmla="*/ 1798320 w 2956560"/>
                  <a:gd name="connsiteY35" fmla="*/ 1203960 h 1249680"/>
                  <a:gd name="connsiteX36" fmla="*/ 1927860 w 2956560"/>
                  <a:gd name="connsiteY36" fmla="*/ 1211580 h 1249680"/>
                  <a:gd name="connsiteX37" fmla="*/ 1988820 w 2956560"/>
                  <a:gd name="connsiteY37" fmla="*/ 1226820 h 1249680"/>
                  <a:gd name="connsiteX38" fmla="*/ 2065020 w 2956560"/>
                  <a:gd name="connsiteY38" fmla="*/ 1234440 h 1249680"/>
                  <a:gd name="connsiteX39" fmla="*/ 2186940 w 2956560"/>
                  <a:gd name="connsiteY39" fmla="*/ 1249680 h 1249680"/>
                  <a:gd name="connsiteX40" fmla="*/ 2331720 w 2956560"/>
                  <a:gd name="connsiteY40" fmla="*/ 1242060 h 1249680"/>
                  <a:gd name="connsiteX41" fmla="*/ 2354580 w 2956560"/>
                  <a:gd name="connsiteY41" fmla="*/ 1226820 h 1249680"/>
                  <a:gd name="connsiteX42" fmla="*/ 2423160 w 2956560"/>
                  <a:gd name="connsiteY42" fmla="*/ 1196340 h 1249680"/>
                  <a:gd name="connsiteX43" fmla="*/ 2461260 w 2956560"/>
                  <a:gd name="connsiteY43" fmla="*/ 1173480 h 1249680"/>
                  <a:gd name="connsiteX44" fmla="*/ 2506980 w 2956560"/>
                  <a:gd name="connsiteY44" fmla="*/ 1165860 h 1249680"/>
                  <a:gd name="connsiteX45" fmla="*/ 2537460 w 2956560"/>
                  <a:gd name="connsiteY45" fmla="*/ 1150620 h 1249680"/>
                  <a:gd name="connsiteX46" fmla="*/ 2621280 w 2956560"/>
                  <a:gd name="connsiteY46" fmla="*/ 1127760 h 1249680"/>
                  <a:gd name="connsiteX47" fmla="*/ 2644140 w 2956560"/>
                  <a:gd name="connsiteY47" fmla="*/ 1112520 h 1249680"/>
                  <a:gd name="connsiteX48" fmla="*/ 2750820 w 2956560"/>
                  <a:gd name="connsiteY48" fmla="*/ 1082040 h 1249680"/>
                  <a:gd name="connsiteX49" fmla="*/ 2781300 w 2956560"/>
                  <a:gd name="connsiteY49" fmla="*/ 1066800 h 1249680"/>
                  <a:gd name="connsiteX50" fmla="*/ 2849880 w 2956560"/>
                  <a:gd name="connsiteY50" fmla="*/ 1051560 h 1249680"/>
                  <a:gd name="connsiteX51" fmla="*/ 2910840 w 2956560"/>
                  <a:gd name="connsiteY51" fmla="*/ 1021080 h 1249680"/>
                  <a:gd name="connsiteX52" fmla="*/ 2956560 w 2956560"/>
                  <a:gd name="connsiteY52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478280 w 2956560"/>
                  <a:gd name="connsiteY31" fmla="*/ 1173480 h 1249680"/>
                  <a:gd name="connsiteX32" fmla="*/ 1600200 w 2956560"/>
                  <a:gd name="connsiteY32" fmla="*/ 1181100 h 1249680"/>
                  <a:gd name="connsiteX33" fmla="*/ 1760220 w 2956560"/>
                  <a:gd name="connsiteY33" fmla="*/ 1196340 h 1249680"/>
                  <a:gd name="connsiteX34" fmla="*/ 1798320 w 2956560"/>
                  <a:gd name="connsiteY34" fmla="*/ 1203960 h 1249680"/>
                  <a:gd name="connsiteX35" fmla="*/ 1927860 w 2956560"/>
                  <a:gd name="connsiteY35" fmla="*/ 1211580 h 1249680"/>
                  <a:gd name="connsiteX36" fmla="*/ 1988820 w 2956560"/>
                  <a:gd name="connsiteY36" fmla="*/ 1226820 h 1249680"/>
                  <a:gd name="connsiteX37" fmla="*/ 2065020 w 2956560"/>
                  <a:gd name="connsiteY37" fmla="*/ 1234440 h 1249680"/>
                  <a:gd name="connsiteX38" fmla="*/ 2186940 w 2956560"/>
                  <a:gd name="connsiteY38" fmla="*/ 1249680 h 1249680"/>
                  <a:gd name="connsiteX39" fmla="*/ 2331720 w 2956560"/>
                  <a:gd name="connsiteY39" fmla="*/ 1242060 h 1249680"/>
                  <a:gd name="connsiteX40" fmla="*/ 2354580 w 2956560"/>
                  <a:gd name="connsiteY40" fmla="*/ 1226820 h 1249680"/>
                  <a:gd name="connsiteX41" fmla="*/ 2423160 w 2956560"/>
                  <a:gd name="connsiteY41" fmla="*/ 1196340 h 1249680"/>
                  <a:gd name="connsiteX42" fmla="*/ 2461260 w 2956560"/>
                  <a:gd name="connsiteY42" fmla="*/ 1173480 h 1249680"/>
                  <a:gd name="connsiteX43" fmla="*/ 2506980 w 2956560"/>
                  <a:gd name="connsiteY43" fmla="*/ 1165860 h 1249680"/>
                  <a:gd name="connsiteX44" fmla="*/ 2537460 w 2956560"/>
                  <a:gd name="connsiteY44" fmla="*/ 1150620 h 1249680"/>
                  <a:gd name="connsiteX45" fmla="*/ 2621280 w 2956560"/>
                  <a:gd name="connsiteY45" fmla="*/ 1127760 h 1249680"/>
                  <a:gd name="connsiteX46" fmla="*/ 2644140 w 2956560"/>
                  <a:gd name="connsiteY46" fmla="*/ 1112520 h 1249680"/>
                  <a:gd name="connsiteX47" fmla="*/ 2750820 w 2956560"/>
                  <a:gd name="connsiteY47" fmla="*/ 1082040 h 1249680"/>
                  <a:gd name="connsiteX48" fmla="*/ 2781300 w 2956560"/>
                  <a:gd name="connsiteY48" fmla="*/ 1066800 h 1249680"/>
                  <a:gd name="connsiteX49" fmla="*/ 2849880 w 2956560"/>
                  <a:gd name="connsiteY49" fmla="*/ 1051560 h 1249680"/>
                  <a:gd name="connsiteX50" fmla="*/ 2910840 w 2956560"/>
                  <a:gd name="connsiteY50" fmla="*/ 1021080 h 1249680"/>
                  <a:gd name="connsiteX51" fmla="*/ 2956560 w 2956560"/>
                  <a:gd name="connsiteY51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097280 w 2956560"/>
                  <a:gd name="connsiteY28" fmla="*/ 1013460 h 1249680"/>
                  <a:gd name="connsiteX29" fmla="*/ 1158240 w 2956560"/>
                  <a:gd name="connsiteY29" fmla="*/ 1036320 h 1249680"/>
                  <a:gd name="connsiteX30" fmla="*/ 1219200 w 2956560"/>
                  <a:gd name="connsiteY30" fmla="*/ 1082040 h 1249680"/>
                  <a:gd name="connsiteX31" fmla="*/ 1600200 w 2956560"/>
                  <a:gd name="connsiteY31" fmla="*/ 1181100 h 1249680"/>
                  <a:gd name="connsiteX32" fmla="*/ 1760220 w 2956560"/>
                  <a:gd name="connsiteY32" fmla="*/ 1196340 h 1249680"/>
                  <a:gd name="connsiteX33" fmla="*/ 1798320 w 2956560"/>
                  <a:gd name="connsiteY33" fmla="*/ 1203960 h 1249680"/>
                  <a:gd name="connsiteX34" fmla="*/ 1927860 w 2956560"/>
                  <a:gd name="connsiteY34" fmla="*/ 1211580 h 1249680"/>
                  <a:gd name="connsiteX35" fmla="*/ 1988820 w 2956560"/>
                  <a:gd name="connsiteY35" fmla="*/ 1226820 h 1249680"/>
                  <a:gd name="connsiteX36" fmla="*/ 2065020 w 2956560"/>
                  <a:gd name="connsiteY36" fmla="*/ 1234440 h 1249680"/>
                  <a:gd name="connsiteX37" fmla="*/ 2186940 w 2956560"/>
                  <a:gd name="connsiteY37" fmla="*/ 1249680 h 1249680"/>
                  <a:gd name="connsiteX38" fmla="*/ 2331720 w 2956560"/>
                  <a:gd name="connsiteY38" fmla="*/ 1242060 h 1249680"/>
                  <a:gd name="connsiteX39" fmla="*/ 2354580 w 2956560"/>
                  <a:gd name="connsiteY39" fmla="*/ 1226820 h 1249680"/>
                  <a:gd name="connsiteX40" fmla="*/ 2423160 w 2956560"/>
                  <a:gd name="connsiteY40" fmla="*/ 1196340 h 1249680"/>
                  <a:gd name="connsiteX41" fmla="*/ 2461260 w 2956560"/>
                  <a:gd name="connsiteY41" fmla="*/ 1173480 h 1249680"/>
                  <a:gd name="connsiteX42" fmla="*/ 2506980 w 2956560"/>
                  <a:gd name="connsiteY42" fmla="*/ 1165860 h 1249680"/>
                  <a:gd name="connsiteX43" fmla="*/ 2537460 w 2956560"/>
                  <a:gd name="connsiteY43" fmla="*/ 1150620 h 1249680"/>
                  <a:gd name="connsiteX44" fmla="*/ 2621280 w 2956560"/>
                  <a:gd name="connsiteY44" fmla="*/ 1127760 h 1249680"/>
                  <a:gd name="connsiteX45" fmla="*/ 2644140 w 2956560"/>
                  <a:gd name="connsiteY45" fmla="*/ 1112520 h 1249680"/>
                  <a:gd name="connsiteX46" fmla="*/ 2750820 w 2956560"/>
                  <a:gd name="connsiteY46" fmla="*/ 1082040 h 1249680"/>
                  <a:gd name="connsiteX47" fmla="*/ 2781300 w 2956560"/>
                  <a:gd name="connsiteY47" fmla="*/ 1066800 h 1249680"/>
                  <a:gd name="connsiteX48" fmla="*/ 2849880 w 2956560"/>
                  <a:gd name="connsiteY48" fmla="*/ 1051560 h 1249680"/>
                  <a:gd name="connsiteX49" fmla="*/ 2910840 w 2956560"/>
                  <a:gd name="connsiteY49" fmla="*/ 1021080 h 1249680"/>
                  <a:gd name="connsiteX50" fmla="*/ 2956560 w 2956560"/>
                  <a:gd name="connsiteY50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998220 w 2956560"/>
                  <a:gd name="connsiteY25" fmla="*/ 960120 h 1249680"/>
                  <a:gd name="connsiteX26" fmla="*/ 1021080 w 2956560"/>
                  <a:gd name="connsiteY26" fmla="*/ 967740 h 1249680"/>
                  <a:gd name="connsiteX27" fmla="*/ 1074420 w 2956560"/>
                  <a:gd name="connsiteY27" fmla="*/ 998220 h 1249680"/>
                  <a:gd name="connsiteX28" fmla="*/ 1158240 w 2956560"/>
                  <a:gd name="connsiteY28" fmla="*/ 1036320 h 1249680"/>
                  <a:gd name="connsiteX29" fmla="*/ 1219200 w 2956560"/>
                  <a:gd name="connsiteY29" fmla="*/ 1082040 h 1249680"/>
                  <a:gd name="connsiteX30" fmla="*/ 1600200 w 2956560"/>
                  <a:gd name="connsiteY30" fmla="*/ 1181100 h 1249680"/>
                  <a:gd name="connsiteX31" fmla="*/ 1760220 w 2956560"/>
                  <a:gd name="connsiteY31" fmla="*/ 1196340 h 1249680"/>
                  <a:gd name="connsiteX32" fmla="*/ 1798320 w 2956560"/>
                  <a:gd name="connsiteY32" fmla="*/ 1203960 h 1249680"/>
                  <a:gd name="connsiteX33" fmla="*/ 1927860 w 2956560"/>
                  <a:gd name="connsiteY33" fmla="*/ 1211580 h 1249680"/>
                  <a:gd name="connsiteX34" fmla="*/ 1988820 w 2956560"/>
                  <a:gd name="connsiteY34" fmla="*/ 1226820 h 1249680"/>
                  <a:gd name="connsiteX35" fmla="*/ 2065020 w 2956560"/>
                  <a:gd name="connsiteY35" fmla="*/ 1234440 h 1249680"/>
                  <a:gd name="connsiteX36" fmla="*/ 2186940 w 2956560"/>
                  <a:gd name="connsiteY36" fmla="*/ 1249680 h 1249680"/>
                  <a:gd name="connsiteX37" fmla="*/ 2331720 w 2956560"/>
                  <a:gd name="connsiteY37" fmla="*/ 1242060 h 1249680"/>
                  <a:gd name="connsiteX38" fmla="*/ 2354580 w 2956560"/>
                  <a:gd name="connsiteY38" fmla="*/ 1226820 h 1249680"/>
                  <a:gd name="connsiteX39" fmla="*/ 2423160 w 2956560"/>
                  <a:gd name="connsiteY39" fmla="*/ 1196340 h 1249680"/>
                  <a:gd name="connsiteX40" fmla="*/ 2461260 w 2956560"/>
                  <a:gd name="connsiteY40" fmla="*/ 1173480 h 1249680"/>
                  <a:gd name="connsiteX41" fmla="*/ 2506980 w 2956560"/>
                  <a:gd name="connsiteY41" fmla="*/ 1165860 h 1249680"/>
                  <a:gd name="connsiteX42" fmla="*/ 2537460 w 2956560"/>
                  <a:gd name="connsiteY42" fmla="*/ 1150620 h 1249680"/>
                  <a:gd name="connsiteX43" fmla="*/ 2621280 w 2956560"/>
                  <a:gd name="connsiteY43" fmla="*/ 1127760 h 1249680"/>
                  <a:gd name="connsiteX44" fmla="*/ 2644140 w 2956560"/>
                  <a:gd name="connsiteY44" fmla="*/ 1112520 h 1249680"/>
                  <a:gd name="connsiteX45" fmla="*/ 2750820 w 2956560"/>
                  <a:gd name="connsiteY45" fmla="*/ 1082040 h 1249680"/>
                  <a:gd name="connsiteX46" fmla="*/ 2781300 w 2956560"/>
                  <a:gd name="connsiteY46" fmla="*/ 1066800 h 1249680"/>
                  <a:gd name="connsiteX47" fmla="*/ 2849880 w 2956560"/>
                  <a:gd name="connsiteY47" fmla="*/ 1051560 h 1249680"/>
                  <a:gd name="connsiteX48" fmla="*/ 2910840 w 2956560"/>
                  <a:gd name="connsiteY48" fmla="*/ 1021080 h 1249680"/>
                  <a:gd name="connsiteX49" fmla="*/ 2956560 w 2956560"/>
                  <a:gd name="connsiteY49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23900 w 2956560"/>
                  <a:gd name="connsiteY20" fmla="*/ 784860 h 1249680"/>
                  <a:gd name="connsiteX21" fmla="*/ 769620 w 2956560"/>
                  <a:gd name="connsiteY21" fmla="*/ 830580 h 1249680"/>
                  <a:gd name="connsiteX22" fmla="*/ 792480 w 2956560"/>
                  <a:gd name="connsiteY22" fmla="*/ 845820 h 1249680"/>
                  <a:gd name="connsiteX23" fmla="*/ 891540 w 2956560"/>
                  <a:gd name="connsiteY23" fmla="*/ 883920 h 1249680"/>
                  <a:gd name="connsiteX24" fmla="*/ 967740 w 2956560"/>
                  <a:gd name="connsiteY24" fmla="*/ 937260 h 1249680"/>
                  <a:gd name="connsiteX25" fmla="*/ 1021080 w 2956560"/>
                  <a:gd name="connsiteY25" fmla="*/ 967740 h 1249680"/>
                  <a:gd name="connsiteX26" fmla="*/ 1074420 w 2956560"/>
                  <a:gd name="connsiteY26" fmla="*/ 998220 h 1249680"/>
                  <a:gd name="connsiteX27" fmla="*/ 1158240 w 2956560"/>
                  <a:gd name="connsiteY27" fmla="*/ 1036320 h 1249680"/>
                  <a:gd name="connsiteX28" fmla="*/ 1219200 w 2956560"/>
                  <a:gd name="connsiteY28" fmla="*/ 1082040 h 1249680"/>
                  <a:gd name="connsiteX29" fmla="*/ 1600200 w 2956560"/>
                  <a:gd name="connsiteY29" fmla="*/ 1181100 h 1249680"/>
                  <a:gd name="connsiteX30" fmla="*/ 1760220 w 2956560"/>
                  <a:gd name="connsiteY30" fmla="*/ 1196340 h 1249680"/>
                  <a:gd name="connsiteX31" fmla="*/ 1798320 w 2956560"/>
                  <a:gd name="connsiteY31" fmla="*/ 1203960 h 1249680"/>
                  <a:gd name="connsiteX32" fmla="*/ 1927860 w 2956560"/>
                  <a:gd name="connsiteY32" fmla="*/ 1211580 h 1249680"/>
                  <a:gd name="connsiteX33" fmla="*/ 1988820 w 2956560"/>
                  <a:gd name="connsiteY33" fmla="*/ 1226820 h 1249680"/>
                  <a:gd name="connsiteX34" fmla="*/ 2065020 w 2956560"/>
                  <a:gd name="connsiteY34" fmla="*/ 1234440 h 1249680"/>
                  <a:gd name="connsiteX35" fmla="*/ 2186940 w 2956560"/>
                  <a:gd name="connsiteY35" fmla="*/ 1249680 h 1249680"/>
                  <a:gd name="connsiteX36" fmla="*/ 2331720 w 2956560"/>
                  <a:gd name="connsiteY36" fmla="*/ 1242060 h 1249680"/>
                  <a:gd name="connsiteX37" fmla="*/ 2354580 w 2956560"/>
                  <a:gd name="connsiteY37" fmla="*/ 1226820 h 1249680"/>
                  <a:gd name="connsiteX38" fmla="*/ 2423160 w 2956560"/>
                  <a:gd name="connsiteY38" fmla="*/ 1196340 h 1249680"/>
                  <a:gd name="connsiteX39" fmla="*/ 2461260 w 2956560"/>
                  <a:gd name="connsiteY39" fmla="*/ 1173480 h 1249680"/>
                  <a:gd name="connsiteX40" fmla="*/ 2506980 w 2956560"/>
                  <a:gd name="connsiteY40" fmla="*/ 1165860 h 1249680"/>
                  <a:gd name="connsiteX41" fmla="*/ 2537460 w 2956560"/>
                  <a:gd name="connsiteY41" fmla="*/ 1150620 h 1249680"/>
                  <a:gd name="connsiteX42" fmla="*/ 2621280 w 2956560"/>
                  <a:gd name="connsiteY42" fmla="*/ 1127760 h 1249680"/>
                  <a:gd name="connsiteX43" fmla="*/ 2644140 w 2956560"/>
                  <a:gd name="connsiteY43" fmla="*/ 1112520 h 1249680"/>
                  <a:gd name="connsiteX44" fmla="*/ 2750820 w 2956560"/>
                  <a:gd name="connsiteY44" fmla="*/ 1082040 h 1249680"/>
                  <a:gd name="connsiteX45" fmla="*/ 2781300 w 2956560"/>
                  <a:gd name="connsiteY45" fmla="*/ 1066800 h 1249680"/>
                  <a:gd name="connsiteX46" fmla="*/ 2849880 w 2956560"/>
                  <a:gd name="connsiteY46" fmla="*/ 1051560 h 1249680"/>
                  <a:gd name="connsiteX47" fmla="*/ 2910840 w 2956560"/>
                  <a:gd name="connsiteY47" fmla="*/ 1021080 h 1249680"/>
                  <a:gd name="connsiteX48" fmla="*/ 2956560 w 2956560"/>
                  <a:gd name="connsiteY48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792480 w 2956560"/>
                  <a:gd name="connsiteY21" fmla="*/ 845820 h 1249680"/>
                  <a:gd name="connsiteX22" fmla="*/ 891540 w 2956560"/>
                  <a:gd name="connsiteY22" fmla="*/ 883920 h 1249680"/>
                  <a:gd name="connsiteX23" fmla="*/ 967740 w 2956560"/>
                  <a:gd name="connsiteY23" fmla="*/ 937260 h 1249680"/>
                  <a:gd name="connsiteX24" fmla="*/ 1021080 w 2956560"/>
                  <a:gd name="connsiteY24" fmla="*/ 967740 h 1249680"/>
                  <a:gd name="connsiteX25" fmla="*/ 1074420 w 2956560"/>
                  <a:gd name="connsiteY25" fmla="*/ 998220 h 1249680"/>
                  <a:gd name="connsiteX26" fmla="*/ 1158240 w 2956560"/>
                  <a:gd name="connsiteY26" fmla="*/ 1036320 h 1249680"/>
                  <a:gd name="connsiteX27" fmla="*/ 1219200 w 2956560"/>
                  <a:gd name="connsiteY27" fmla="*/ 1082040 h 1249680"/>
                  <a:gd name="connsiteX28" fmla="*/ 1600200 w 2956560"/>
                  <a:gd name="connsiteY28" fmla="*/ 1181100 h 1249680"/>
                  <a:gd name="connsiteX29" fmla="*/ 1760220 w 2956560"/>
                  <a:gd name="connsiteY29" fmla="*/ 1196340 h 1249680"/>
                  <a:gd name="connsiteX30" fmla="*/ 1798320 w 2956560"/>
                  <a:gd name="connsiteY30" fmla="*/ 1203960 h 1249680"/>
                  <a:gd name="connsiteX31" fmla="*/ 1927860 w 2956560"/>
                  <a:gd name="connsiteY31" fmla="*/ 1211580 h 1249680"/>
                  <a:gd name="connsiteX32" fmla="*/ 1988820 w 2956560"/>
                  <a:gd name="connsiteY32" fmla="*/ 1226820 h 1249680"/>
                  <a:gd name="connsiteX33" fmla="*/ 2065020 w 2956560"/>
                  <a:gd name="connsiteY33" fmla="*/ 1234440 h 1249680"/>
                  <a:gd name="connsiteX34" fmla="*/ 2186940 w 2956560"/>
                  <a:gd name="connsiteY34" fmla="*/ 1249680 h 1249680"/>
                  <a:gd name="connsiteX35" fmla="*/ 2331720 w 2956560"/>
                  <a:gd name="connsiteY35" fmla="*/ 1242060 h 1249680"/>
                  <a:gd name="connsiteX36" fmla="*/ 2354580 w 2956560"/>
                  <a:gd name="connsiteY36" fmla="*/ 1226820 h 1249680"/>
                  <a:gd name="connsiteX37" fmla="*/ 2423160 w 2956560"/>
                  <a:gd name="connsiteY37" fmla="*/ 1196340 h 1249680"/>
                  <a:gd name="connsiteX38" fmla="*/ 2461260 w 2956560"/>
                  <a:gd name="connsiteY38" fmla="*/ 1173480 h 1249680"/>
                  <a:gd name="connsiteX39" fmla="*/ 2506980 w 2956560"/>
                  <a:gd name="connsiteY39" fmla="*/ 1165860 h 1249680"/>
                  <a:gd name="connsiteX40" fmla="*/ 2537460 w 2956560"/>
                  <a:gd name="connsiteY40" fmla="*/ 1150620 h 1249680"/>
                  <a:gd name="connsiteX41" fmla="*/ 2621280 w 2956560"/>
                  <a:gd name="connsiteY41" fmla="*/ 1127760 h 1249680"/>
                  <a:gd name="connsiteX42" fmla="*/ 2644140 w 2956560"/>
                  <a:gd name="connsiteY42" fmla="*/ 1112520 h 1249680"/>
                  <a:gd name="connsiteX43" fmla="*/ 2750820 w 2956560"/>
                  <a:gd name="connsiteY43" fmla="*/ 1082040 h 1249680"/>
                  <a:gd name="connsiteX44" fmla="*/ 2781300 w 2956560"/>
                  <a:gd name="connsiteY44" fmla="*/ 1066800 h 1249680"/>
                  <a:gd name="connsiteX45" fmla="*/ 2849880 w 2956560"/>
                  <a:gd name="connsiteY45" fmla="*/ 1051560 h 1249680"/>
                  <a:gd name="connsiteX46" fmla="*/ 2910840 w 2956560"/>
                  <a:gd name="connsiteY46" fmla="*/ 1021080 h 1249680"/>
                  <a:gd name="connsiteX47" fmla="*/ 2956560 w 2956560"/>
                  <a:gd name="connsiteY47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891540 w 2956560"/>
                  <a:gd name="connsiteY21" fmla="*/ 883920 h 1249680"/>
                  <a:gd name="connsiteX22" fmla="*/ 967740 w 2956560"/>
                  <a:gd name="connsiteY22" fmla="*/ 937260 h 1249680"/>
                  <a:gd name="connsiteX23" fmla="*/ 1021080 w 2956560"/>
                  <a:gd name="connsiteY23" fmla="*/ 967740 h 1249680"/>
                  <a:gd name="connsiteX24" fmla="*/ 1074420 w 2956560"/>
                  <a:gd name="connsiteY24" fmla="*/ 998220 h 1249680"/>
                  <a:gd name="connsiteX25" fmla="*/ 1158240 w 2956560"/>
                  <a:gd name="connsiteY25" fmla="*/ 1036320 h 1249680"/>
                  <a:gd name="connsiteX26" fmla="*/ 1219200 w 2956560"/>
                  <a:gd name="connsiteY26" fmla="*/ 1082040 h 1249680"/>
                  <a:gd name="connsiteX27" fmla="*/ 1600200 w 2956560"/>
                  <a:gd name="connsiteY27" fmla="*/ 1181100 h 1249680"/>
                  <a:gd name="connsiteX28" fmla="*/ 1760220 w 2956560"/>
                  <a:gd name="connsiteY28" fmla="*/ 1196340 h 1249680"/>
                  <a:gd name="connsiteX29" fmla="*/ 1798320 w 2956560"/>
                  <a:gd name="connsiteY29" fmla="*/ 1203960 h 1249680"/>
                  <a:gd name="connsiteX30" fmla="*/ 1927860 w 2956560"/>
                  <a:gd name="connsiteY30" fmla="*/ 1211580 h 1249680"/>
                  <a:gd name="connsiteX31" fmla="*/ 1988820 w 2956560"/>
                  <a:gd name="connsiteY31" fmla="*/ 1226820 h 1249680"/>
                  <a:gd name="connsiteX32" fmla="*/ 2065020 w 2956560"/>
                  <a:gd name="connsiteY32" fmla="*/ 1234440 h 1249680"/>
                  <a:gd name="connsiteX33" fmla="*/ 2186940 w 2956560"/>
                  <a:gd name="connsiteY33" fmla="*/ 1249680 h 1249680"/>
                  <a:gd name="connsiteX34" fmla="*/ 2331720 w 2956560"/>
                  <a:gd name="connsiteY34" fmla="*/ 1242060 h 1249680"/>
                  <a:gd name="connsiteX35" fmla="*/ 2354580 w 2956560"/>
                  <a:gd name="connsiteY35" fmla="*/ 1226820 h 1249680"/>
                  <a:gd name="connsiteX36" fmla="*/ 2423160 w 2956560"/>
                  <a:gd name="connsiteY36" fmla="*/ 1196340 h 1249680"/>
                  <a:gd name="connsiteX37" fmla="*/ 2461260 w 2956560"/>
                  <a:gd name="connsiteY37" fmla="*/ 1173480 h 1249680"/>
                  <a:gd name="connsiteX38" fmla="*/ 2506980 w 2956560"/>
                  <a:gd name="connsiteY38" fmla="*/ 1165860 h 1249680"/>
                  <a:gd name="connsiteX39" fmla="*/ 2537460 w 2956560"/>
                  <a:gd name="connsiteY39" fmla="*/ 1150620 h 1249680"/>
                  <a:gd name="connsiteX40" fmla="*/ 2621280 w 2956560"/>
                  <a:gd name="connsiteY40" fmla="*/ 1127760 h 1249680"/>
                  <a:gd name="connsiteX41" fmla="*/ 2644140 w 2956560"/>
                  <a:gd name="connsiteY41" fmla="*/ 1112520 h 1249680"/>
                  <a:gd name="connsiteX42" fmla="*/ 2750820 w 2956560"/>
                  <a:gd name="connsiteY42" fmla="*/ 1082040 h 1249680"/>
                  <a:gd name="connsiteX43" fmla="*/ 2781300 w 2956560"/>
                  <a:gd name="connsiteY43" fmla="*/ 1066800 h 1249680"/>
                  <a:gd name="connsiteX44" fmla="*/ 2849880 w 2956560"/>
                  <a:gd name="connsiteY44" fmla="*/ 1051560 h 1249680"/>
                  <a:gd name="connsiteX45" fmla="*/ 2910840 w 2956560"/>
                  <a:gd name="connsiteY45" fmla="*/ 1021080 h 1249680"/>
                  <a:gd name="connsiteX46" fmla="*/ 2956560 w 2956560"/>
                  <a:gd name="connsiteY46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967740 w 2956560"/>
                  <a:gd name="connsiteY21" fmla="*/ 937260 h 1249680"/>
                  <a:gd name="connsiteX22" fmla="*/ 1021080 w 2956560"/>
                  <a:gd name="connsiteY22" fmla="*/ 967740 h 1249680"/>
                  <a:gd name="connsiteX23" fmla="*/ 1074420 w 2956560"/>
                  <a:gd name="connsiteY23" fmla="*/ 998220 h 1249680"/>
                  <a:gd name="connsiteX24" fmla="*/ 1158240 w 2956560"/>
                  <a:gd name="connsiteY24" fmla="*/ 1036320 h 1249680"/>
                  <a:gd name="connsiteX25" fmla="*/ 1219200 w 2956560"/>
                  <a:gd name="connsiteY25" fmla="*/ 1082040 h 1249680"/>
                  <a:gd name="connsiteX26" fmla="*/ 1600200 w 2956560"/>
                  <a:gd name="connsiteY26" fmla="*/ 1181100 h 1249680"/>
                  <a:gd name="connsiteX27" fmla="*/ 1760220 w 2956560"/>
                  <a:gd name="connsiteY27" fmla="*/ 1196340 h 1249680"/>
                  <a:gd name="connsiteX28" fmla="*/ 1798320 w 2956560"/>
                  <a:gd name="connsiteY28" fmla="*/ 1203960 h 1249680"/>
                  <a:gd name="connsiteX29" fmla="*/ 1927860 w 2956560"/>
                  <a:gd name="connsiteY29" fmla="*/ 1211580 h 1249680"/>
                  <a:gd name="connsiteX30" fmla="*/ 1988820 w 2956560"/>
                  <a:gd name="connsiteY30" fmla="*/ 1226820 h 1249680"/>
                  <a:gd name="connsiteX31" fmla="*/ 2065020 w 2956560"/>
                  <a:gd name="connsiteY31" fmla="*/ 1234440 h 1249680"/>
                  <a:gd name="connsiteX32" fmla="*/ 2186940 w 2956560"/>
                  <a:gd name="connsiteY32" fmla="*/ 1249680 h 1249680"/>
                  <a:gd name="connsiteX33" fmla="*/ 2331720 w 2956560"/>
                  <a:gd name="connsiteY33" fmla="*/ 1242060 h 1249680"/>
                  <a:gd name="connsiteX34" fmla="*/ 2354580 w 2956560"/>
                  <a:gd name="connsiteY34" fmla="*/ 1226820 h 1249680"/>
                  <a:gd name="connsiteX35" fmla="*/ 2423160 w 2956560"/>
                  <a:gd name="connsiteY35" fmla="*/ 1196340 h 1249680"/>
                  <a:gd name="connsiteX36" fmla="*/ 2461260 w 2956560"/>
                  <a:gd name="connsiteY36" fmla="*/ 1173480 h 1249680"/>
                  <a:gd name="connsiteX37" fmla="*/ 2506980 w 2956560"/>
                  <a:gd name="connsiteY37" fmla="*/ 1165860 h 1249680"/>
                  <a:gd name="connsiteX38" fmla="*/ 2537460 w 2956560"/>
                  <a:gd name="connsiteY38" fmla="*/ 1150620 h 1249680"/>
                  <a:gd name="connsiteX39" fmla="*/ 2621280 w 2956560"/>
                  <a:gd name="connsiteY39" fmla="*/ 1127760 h 1249680"/>
                  <a:gd name="connsiteX40" fmla="*/ 2644140 w 2956560"/>
                  <a:gd name="connsiteY40" fmla="*/ 1112520 h 1249680"/>
                  <a:gd name="connsiteX41" fmla="*/ 2750820 w 2956560"/>
                  <a:gd name="connsiteY41" fmla="*/ 1082040 h 1249680"/>
                  <a:gd name="connsiteX42" fmla="*/ 2781300 w 2956560"/>
                  <a:gd name="connsiteY42" fmla="*/ 1066800 h 1249680"/>
                  <a:gd name="connsiteX43" fmla="*/ 2849880 w 2956560"/>
                  <a:gd name="connsiteY43" fmla="*/ 1051560 h 1249680"/>
                  <a:gd name="connsiteX44" fmla="*/ 2910840 w 2956560"/>
                  <a:gd name="connsiteY44" fmla="*/ 1021080 h 1249680"/>
                  <a:gd name="connsiteX45" fmla="*/ 2956560 w 2956560"/>
                  <a:gd name="connsiteY45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967740 w 2956560"/>
                  <a:gd name="connsiteY21" fmla="*/ 937260 h 1249680"/>
                  <a:gd name="connsiteX22" fmla="*/ 1021080 w 2956560"/>
                  <a:gd name="connsiteY22" fmla="*/ 967740 h 1249680"/>
                  <a:gd name="connsiteX23" fmla="*/ 1074420 w 2956560"/>
                  <a:gd name="connsiteY23" fmla="*/ 998220 h 1249680"/>
                  <a:gd name="connsiteX24" fmla="*/ 1158240 w 2956560"/>
                  <a:gd name="connsiteY24" fmla="*/ 1036320 h 1249680"/>
                  <a:gd name="connsiteX25" fmla="*/ 1219200 w 2956560"/>
                  <a:gd name="connsiteY25" fmla="*/ 1082040 h 1249680"/>
                  <a:gd name="connsiteX26" fmla="*/ 1600200 w 2956560"/>
                  <a:gd name="connsiteY26" fmla="*/ 1181100 h 1249680"/>
                  <a:gd name="connsiteX27" fmla="*/ 1760220 w 2956560"/>
                  <a:gd name="connsiteY27" fmla="*/ 1196340 h 1249680"/>
                  <a:gd name="connsiteX28" fmla="*/ 1798320 w 2956560"/>
                  <a:gd name="connsiteY28" fmla="*/ 1203960 h 1249680"/>
                  <a:gd name="connsiteX29" fmla="*/ 1927860 w 2956560"/>
                  <a:gd name="connsiteY29" fmla="*/ 1211580 h 1249680"/>
                  <a:gd name="connsiteX30" fmla="*/ 1988820 w 2956560"/>
                  <a:gd name="connsiteY30" fmla="*/ 1226820 h 1249680"/>
                  <a:gd name="connsiteX31" fmla="*/ 2065020 w 2956560"/>
                  <a:gd name="connsiteY31" fmla="*/ 1234440 h 1249680"/>
                  <a:gd name="connsiteX32" fmla="*/ 2186940 w 2956560"/>
                  <a:gd name="connsiteY32" fmla="*/ 1249680 h 1249680"/>
                  <a:gd name="connsiteX33" fmla="*/ 2354580 w 2956560"/>
                  <a:gd name="connsiteY33" fmla="*/ 1226820 h 1249680"/>
                  <a:gd name="connsiteX34" fmla="*/ 2423160 w 2956560"/>
                  <a:gd name="connsiteY34" fmla="*/ 1196340 h 1249680"/>
                  <a:gd name="connsiteX35" fmla="*/ 2461260 w 2956560"/>
                  <a:gd name="connsiteY35" fmla="*/ 1173480 h 1249680"/>
                  <a:gd name="connsiteX36" fmla="*/ 2506980 w 2956560"/>
                  <a:gd name="connsiteY36" fmla="*/ 1165860 h 1249680"/>
                  <a:gd name="connsiteX37" fmla="*/ 2537460 w 2956560"/>
                  <a:gd name="connsiteY37" fmla="*/ 1150620 h 1249680"/>
                  <a:gd name="connsiteX38" fmla="*/ 2621280 w 2956560"/>
                  <a:gd name="connsiteY38" fmla="*/ 1127760 h 1249680"/>
                  <a:gd name="connsiteX39" fmla="*/ 2644140 w 2956560"/>
                  <a:gd name="connsiteY39" fmla="*/ 1112520 h 1249680"/>
                  <a:gd name="connsiteX40" fmla="*/ 2750820 w 2956560"/>
                  <a:gd name="connsiteY40" fmla="*/ 1082040 h 1249680"/>
                  <a:gd name="connsiteX41" fmla="*/ 2781300 w 2956560"/>
                  <a:gd name="connsiteY41" fmla="*/ 1066800 h 1249680"/>
                  <a:gd name="connsiteX42" fmla="*/ 2849880 w 2956560"/>
                  <a:gd name="connsiteY42" fmla="*/ 1051560 h 1249680"/>
                  <a:gd name="connsiteX43" fmla="*/ 2910840 w 2956560"/>
                  <a:gd name="connsiteY43" fmla="*/ 1021080 h 1249680"/>
                  <a:gd name="connsiteX44" fmla="*/ 2956560 w 2956560"/>
                  <a:gd name="connsiteY44" fmla="*/ 998220 h 1249680"/>
                  <a:gd name="connsiteX0" fmla="*/ 0 w 2956560"/>
                  <a:gd name="connsiteY0" fmla="*/ 0 h 1249680"/>
                  <a:gd name="connsiteX1" fmla="*/ 45720 w 2956560"/>
                  <a:gd name="connsiteY1" fmla="*/ 76200 h 1249680"/>
                  <a:gd name="connsiteX2" fmla="*/ 76200 w 2956560"/>
                  <a:gd name="connsiteY2" fmla="*/ 121920 h 1249680"/>
                  <a:gd name="connsiteX3" fmla="*/ 83820 w 2956560"/>
                  <a:gd name="connsiteY3" fmla="*/ 152400 h 1249680"/>
                  <a:gd name="connsiteX4" fmla="*/ 121920 w 2956560"/>
                  <a:gd name="connsiteY4" fmla="*/ 198120 h 1249680"/>
                  <a:gd name="connsiteX5" fmla="*/ 152400 w 2956560"/>
                  <a:gd name="connsiteY5" fmla="*/ 243840 h 1249680"/>
                  <a:gd name="connsiteX6" fmla="*/ 198120 w 2956560"/>
                  <a:gd name="connsiteY6" fmla="*/ 289560 h 1249680"/>
                  <a:gd name="connsiteX7" fmla="*/ 251460 w 2956560"/>
                  <a:gd name="connsiteY7" fmla="*/ 358140 h 1249680"/>
                  <a:gd name="connsiteX8" fmla="*/ 281940 w 2956560"/>
                  <a:gd name="connsiteY8" fmla="*/ 381000 h 1249680"/>
                  <a:gd name="connsiteX9" fmla="*/ 312420 w 2956560"/>
                  <a:gd name="connsiteY9" fmla="*/ 419100 h 1249680"/>
                  <a:gd name="connsiteX10" fmla="*/ 335280 w 2956560"/>
                  <a:gd name="connsiteY10" fmla="*/ 441960 h 1249680"/>
                  <a:gd name="connsiteX11" fmla="*/ 350520 w 2956560"/>
                  <a:gd name="connsiteY11" fmla="*/ 464820 h 1249680"/>
                  <a:gd name="connsiteX12" fmla="*/ 396240 w 2956560"/>
                  <a:gd name="connsiteY12" fmla="*/ 510540 h 1249680"/>
                  <a:gd name="connsiteX13" fmla="*/ 464820 w 2956560"/>
                  <a:gd name="connsiteY13" fmla="*/ 579120 h 1249680"/>
                  <a:gd name="connsiteX14" fmla="*/ 495300 w 2956560"/>
                  <a:gd name="connsiteY14" fmla="*/ 594360 h 1249680"/>
                  <a:gd name="connsiteX15" fmla="*/ 533400 w 2956560"/>
                  <a:gd name="connsiteY15" fmla="*/ 624840 h 1249680"/>
                  <a:gd name="connsiteX16" fmla="*/ 548640 w 2956560"/>
                  <a:gd name="connsiteY16" fmla="*/ 647700 h 1249680"/>
                  <a:gd name="connsiteX17" fmla="*/ 571500 w 2956560"/>
                  <a:gd name="connsiteY17" fmla="*/ 655320 h 1249680"/>
                  <a:gd name="connsiteX18" fmla="*/ 617220 w 2956560"/>
                  <a:gd name="connsiteY18" fmla="*/ 693420 h 1249680"/>
                  <a:gd name="connsiteX19" fmla="*/ 670560 w 2956560"/>
                  <a:gd name="connsiteY19" fmla="*/ 746760 h 1249680"/>
                  <a:gd name="connsiteX20" fmla="*/ 769620 w 2956560"/>
                  <a:gd name="connsiteY20" fmla="*/ 830580 h 1249680"/>
                  <a:gd name="connsiteX21" fmla="*/ 967740 w 2956560"/>
                  <a:gd name="connsiteY21" fmla="*/ 937260 h 1249680"/>
                  <a:gd name="connsiteX22" fmla="*/ 1021080 w 2956560"/>
                  <a:gd name="connsiteY22" fmla="*/ 967740 h 1249680"/>
                  <a:gd name="connsiteX23" fmla="*/ 1074420 w 2956560"/>
                  <a:gd name="connsiteY23" fmla="*/ 998220 h 1249680"/>
                  <a:gd name="connsiteX24" fmla="*/ 1158240 w 2956560"/>
                  <a:gd name="connsiteY24" fmla="*/ 1036320 h 1249680"/>
                  <a:gd name="connsiteX25" fmla="*/ 1219200 w 2956560"/>
                  <a:gd name="connsiteY25" fmla="*/ 1082040 h 1249680"/>
                  <a:gd name="connsiteX26" fmla="*/ 1600200 w 2956560"/>
                  <a:gd name="connsiteY26" fmla="*/ 1181100 h 1249680"/>
                  <a:gd name="connsiteX27" fmla="*/ 1760220 w 2956560"/>
                  <a:gd name="connsiteY27" fmla="*/ 1196340 h 1249680"/>
                  <a:gd name="connsiteX28" fmla="*/ 1798320 w 2956560"/>
                  <a:gd name="connsiteY28" fmla="*/ 1203960 h 1249680"/>
                  <a:gd name="connsiteX29" fmla="*/ 1927860 w 2956560"/>
                  <a:gd name="connsiteY29" fmla="*/ 1211580 h 1249680"/>
                  <a:gd name="connsiteX30" fmla="*/ 1988820 w 2956560"/>
                  <a:gd name="connsiteY30" fmla="*/ 1226820 h 1249680"/>
                  <a:gd name="connsiteX31" fmla="*/ 2065020 w 2956560"/>
                  <a:gd name="connsiteY31" fmla="*/ 1234440 h 1249680"/>
                  <a:gd name="connsiteX32" fmla="*/ 2186940 w 2956560"/>
                  <a:gd name="connsiteY32" fmla="*/ 1249680 h 1249680"/>
                  <a:gd name="connsiteX33" fmla="*/ 2423160 w 2956560"/>
                  <a:gd name="connsiteY33" fmla="*/ 1196340 h 1249680"/>
                  <a:gd name="connsiteX34" fmla="*/ 2461260 w 2956560"/>
                  <a:gd name="connsiteY34" fmla="*/ 1173480 h 1249680"/>
                  <a:gd name="connsiteX35" fmla="*/ 2506980 w 2956560"/>
                  <a:gd name="connsiteY35" fmla="*/ 1165860 h 1249680"/>
                  <a:gd name="connsiteX36" fmla="*/ 2537460 w 2956560"/>
                  <a:gd name="connsiteY36" fmla="*/ 1150620 h 1249680"/>
                  <a:gd name="connsiteX37" fmla="*/ 2621280 w 2956560"/>
                  <a:gd name="connsiteY37" fmla="*/ 1127760 h 1249680"/>
                  <a:gd name="connsiteX38" fmla="*/ 2644140 w 2956560"/>
                  <a:gd name="connsiteY38" fmla="*/ 1112520 h 1249680"/>
                  <a:gd name="connsiteX39" fmla="*/ 2750820 w 2956560"/>
                  <a:gd name="connsiteY39" fmla="*/ 1082040 h 1249680"/>
                  <a:gd name="connsiteX40" fmla="*/ 2781300 w 2956560"/>
                  <a:gd name="connsiteY40" fmla="*/ 1066800 h 1249680"/>
                  <a:gd name="connsiteX41" fmla="*/ 2849880 w 2956560"/>
                  <a:gd name="connsiteY41" fmla="*/ 1051560 h 1249680"/>
                  <a:gd name="connsiteX42" fmla="*/ 2910840 w 2956560"/>
                  <a:gd name="connsiteY42" fmla="*/ 1021080 h 1249680"/>
                  <a:gd name="connsiteX43" fmla="*/ 2956560 w 2956560"/>
                  <a:gd name="connsiteY43" fmla="*/ 998220 h 124968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76200 w 2956560"/>
                  <a:gd name="connsiteY2" fmla="*/ 121920 h 1234440"/>
                  <a:gd name="connsiteX3" fmla="*/ 83820 w 2956560"/>
                  <a:gd name="connsiteY3" fmla="*/ 152400 h 1234440"/>
                  <a:gd name="connsiteX4" fmla="*/ 121920 w 2956560"/>
                  <a:gd name="connsiteY4" fmla="*/ 198120 h 1234440"/>
                  <a:gd name="connsiteX5" fmla="*/ 152400 w 2956560"/>
                  <a:gd name="connsiteY5" fmla="*/ 243840 h 1234440"/>
                  <a:gd name="connsiteX6" fmla="*/ 198120 w 2956560"/>
                  <a:gd name="connsiteY6" fmla="*/ 289560 h 1234440"/>
                  <a:gd name="connsiteX7" fmla="*/ 251460 w 2956560"/>
                  <a:gd name="connsiteY7" fmla="*/ 358140 h 1234440"/>
                  <a:gd name="connsiteX8" fmla="*/ 281940 w 2956560"/>
                  <a:gd name="connsiteY8" fmla="*/ 381000 h 1234440"/>
                  <a:gd name="connsiteX9" fmla="*/ 312420 w 2956560"/>
                  <a:gd name="connsiteY9" fmla="*/ 419100 h 1234440"/>
                  <a:gd name="connsiteX10" fmla="*/ 335280 w 2956560"/>
                  <a:gd name="connsiteY10" fmla="*/ 441960 h 1234440"/>
                  <a:gd name="connsiteX11" fmla="*/ 350520 w 2956560"/>
                  <a:gd name="connsiteY11" fmla="*/ 464820 h 1234440"/>
                  <a:gd name="connsiteX12" fmla="*/ 396240 w 2956560"/>
                  <a:gd name="connsiteY12" fmla="*/ 510540 h 1234440"/>
                  <a:gd name="connsiteX13" fmla="*/ 464820 w 2956560"/>
                  <a:gd name="connsiteY13" fmla="*/ 579120 h 1234440"/>
                  <a:gd name="connsiteX14" fmla="*/ 495300 w 2956560"/>
                  <a:gd name="connsiteY14" fmla="*/ 594360 h 1234440"/>
                  <a:gd name="connsiteX15" fmla="*/ 533400 w 2956560"/>
                  <a:gd name="connsiteY15" fmla="*/ 624840 h 1234440"/>
                  <a:gd name="connsiteX16" fmla="*/ 548640 w 2956560"/>
                  <a:gd name="connsiteY16" fmla="*/ 647700 h 1234440"/>
                  <a:gd name="connsiteX17" fmla="*/ 571500 w 2956560"/>
                  <a:gd name="connsiteY17" fmla="*/ 655320 h 1234440"/>
                  <a:gd name="connsiteX18" fmla="*/ 617220 w 2956560"/>
                  <a:gd name="connsiteY18" fmla="*/ 693420 h 1234440"/>
                  <a:gd name="connsiteX19" fmla="*/ 670560 w 2956560"/>
                  <a:gd name="connsiteY19" fmla="*/ 746760 h 1234440"/>
                  <a:gd name="connsiteX20" fmla="*/ 769620 w 2956560"/>
                  <a:gd name="connsiteY20" fmla="*/ 830580 h 1234440"/>
                  <a:gd name="connsiteX21" fmla="*/ 967740 w 2956560"/>
                  <a:gd name="connsiteY21" fmla="*/ 937260 h 1234440"/>
                  <a:gd name="connsiteX22" fmla="*/ 1021080 w 2956560"/>
                  <a:gd name="connsiteY22" fmla="*/ 967740 h 1234440"/>
                  <a:gd name="connsiteX23" fmla="*/ 1074420 w 2956560"/>
                  <a:gd name="connsiteY23" fmla="*/ 998220 h 1234440"/>
                  <a:gd name="connsiteX24" fmla="*/ 1158240 w 2956560"/>
                  <a:gd name="connsiteY24" fmla="*/ 1036320 h 1234440"/>
                  <a:gd name="connsiteX25" fmla="*/ 1219200 w 2956560"/>
                  <a:gd name="connsiteY25" fmla="*/ 1082040 h 1234440"/>
                  <a:gd name="connsiteX26" fmla="*/ 1600200 w 2956560"/>
                  <a:gd name="connsiteY26" fmla="*/ 1181100 h 1234440"/>
                  <a:gd name="connsiteX27" fmla="*/ 1760220 w 2956560"/>
                  <a:gd name="connsiteY27" fmla="*/ 1196340 h 1234440"/>
                  <a:gd name="connsiteX28" fmla="*/ 1798320 w 2956560"/>
                  <a:gd name="connsiteY28" fmla="*/ 1203960 h 1234440"/>
                  <a:gd name="connsiteX29" fmla="*/ 1927860 w 2956560"/>
                  <a:gd name="connsiteY29" fmla="*/ 1211580 h 1234440"/>
                  <a:gd name="connsiteX30" fmla="*/ 1988820 w 2956560"/>
                  <a:gd name="connsiteY30" fmla="*/ 1226820 h 1234440"/>
                  <a:gd name="connsiteX31" fmla="*/ 2065020 w 2956560"/>
                  <a:gd name="connsiteY31" fmla="*/ 1234440 h 1234440"/>
                  <a:gd name="connsiteX32" fmla="*/ 2423160 w 2956560"/>
                  <a:gd name="connsiteY32" fmla="*/ 1196340 h 1234440"/>
                  <a:gd name="connsiteX33" fmla="*/ 2461260 w 2956560"/>
                  <a:gd name="connsiteY33" fmla="*/ 1173480 h 1234440"/>
                  <a:gd name="connsiteX34" fmla="*/ 2506980 w 2956560"/>
                  <a:gd name="connsiteY34" fmla="*/ 1165860 h 1234440"/>
                  <a:gd name="connsiteX35" fmla="*/ 2537460 w 2956560"/>
                  <a:gd name="connsiteY35" fmla="*/ 1150620 h 1234440"/>
                  <a:gd name="connsiteX36" fmla="*/ 2621280 w 2956560"/>
                  <a:gd name="connsiteY36" fmla="*/ 1127760 h 1234440"/>
                  <a:gd name="connsiteX37" fmla="*/ 2644140 w 2956560"/>
                  <a:gd name="connsiteY37" fmla="*/ 1112520 h 1234440"/>
                  <a:gd name="connsiteX38" fmla="*/ 2750820 w 2956560"/>
                  <a:gd name="connsiteY38" fmla="*/ 1082040 h 1234440"/>
                  <a:gd name="connsiteX39" fmla="*/ 2781300 w 2956560"/>
                  <a:gd name="connsiteY39" fmla="*/ 1066800 h 1234440"/>
                  <a:gd name="connsiteX40" fmla="*/ 2849880 w 2956560"/>
                  <a:gd name="connsiteY40" fmla="*/ 1051560 h 1234440"/>
                  <a:gd name="connsiteX41" fmla="*/ 2910840 w 2956560"/>
                  <a:gd name="connsiteY41" fmla="*/ 1021080 h 1234440"/>
                  <a:gd name="connsiteX42" fmla="*/ 2956560 w 2956560"/>
                  <a:gd name="connsiteY42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76200 w 2956560"/>
                  <a:gd name="connsiteY2" fmla="*/ 121920 h 1234440"/>
                  <a:gd name="connsiteX3" fmla="*/ 83820 w 2956560"/>
                  <a:gd name="connsiteY3" fmla="*/ 152400 h 1234440"/>
                  <a:gd name="connsiteX4" fmla="*/ 121920 w 2956560"/>
                  <a:gd name="connsiteY4" fmla="*/ 198120 h 1234440"/>
                  <a:gd name="connsiteX5" fmla="*/ 152400 w 2956560"/>
                  <a:gd name="connsiteY5" fmla="*/ 243840 h 1234440"/>
                  <a:gd name="connsiteX6" fmla="*/ 198120 w 2956560"/>
                  <a:gd name="connsiteY6" fmla="*/ 289560 h 1234440"/>
                  <a:gd name="connsiteX7" fmla="*/ 251460 w 2956560"/>
                  <a:gd name="connsiteY7" fmla="*/ 358140 h 1234440"/>
                  <a:gd name="connsiteX8" fmla="*/ 281940 w 2956560"/>
                  <a:gd name="connsiteY8" fmla="*/ 381000 h 1234440"/>
                  <a:gd name="connsiteX9" fmla="*/ 312420 w 2956560"/>
                  <a:gd name="connsiteY9" fmla="*/ 419100 h 1234440"/>
                  <a:gd name="connsiteX10" fmla="*/ 335280 w 2956560"/>
                  <a:gd name="connsiteY10" fmla="*/ 441960 h 1234440"/>
                  <a:gd name="connsiteX11" fmla="*/ 350520 w 2956560"/>
                  <a:gd name="connsiteY11" fmla="*/ 464820 h 1234440"/>
                  <a:gd name="connsiteX12" fmla="*/ 396240 w 2956560"/>
                  <a:gd name="connsiteY12" fmla="*/ 510540 h 1234440"/>
                  <a:gd name="connsiteX13" fmla="*/ 464820 w 2956560"/>
                  <a:gd name="connsiteY13" fmla="*/ 579120 h 1234440"/>
                  <a:gd name="connsiteX14" fmla="*/ 495300 w 2956560"/>
                  <a:gd name="connsiteY14" fmla="*/ 594360 h 1234440"/>
                  <a:gd name="connsiteX15" fmla="*/ 533400 w 2956560"/>
                  <a:gd name="connsiteY15" fmla="*/ 624840 h 1234440"/>
                  <a:gd name="connsiteX16" fmla="*/ 548640 w 2956560"/>
                  <a:gd name="connsiteY16" fmla="*/ 647700 h 1234440"/>
                  <a:gd name="connsiteX17" fmla="*/ 571500 w 2956560"/>
                  <a:gd name="connsiteY17" fmla="*/ 655320 h 1234440"/>
                  <a:gd name="connsiteX18" fmla="*/ 617220 w 2956560"/>
                  <a:gd name="connsiteY18" fmla="*/ 693420 h 1234440"/>
                  <a:gd name="connsiteX19" fmla="*/ 670560 w 2956560"/>
                  <a:gd name="connsiteY19" fmla="*/ 746760 h 1234440"/>
                  <a:gd name="connsiteX20" fmla="*/ 769620 w 2956560"/>
                  <a:gd name="connsiteY20" fmla="*/ 830580 h 1234440"/>
                  <a:gd name="connsiteX21" fmla="*/ 967740 w 2956560"/>
                  <a:gd name="connsiteY21" fmla="*/ 937260 h 1234440"/>
                  <a:gd name="connsiteX22" fmla="*/ 1021080 w 2956560"/>
                  <a:gd name="connsiteY22" fmla="*/ 967740 h 1234440"/>
                  <a:gd name="connsiteX23" fmla="*/ 1074420 w 2956560"/>
                  <a:gd name="connsiteY23" fmla="*/ 998220 h 1234440"/>
                  <a:gd name="connsiteX24" fmla="*/ 1158240 w 2956560"/>
                  <a:gd name="connsiteY24" fmla="*/ 1036320 h 1234440"/>
                  <a:gd name="connsiteX25" fmla="*/ 1219200 w 2956560"/>
                  <a:gd name="connsiteY25" fmla="*/ 1082040 h 1234440"/>
                  <a:gd name="connsiteX26" fmla="*/ 1600200 w 2956560"/>
                  <a:gd name="connsiteY26" fmla="*/ 1181100 h 1234440"/>
                  <a:gd name="connsiteX27" fmla="*/ 1760220 w 2956560"/>
                  <a:gd name="connsiteY27" fmla="*/ 1196340 h 1234440"/>
                  <a:gd name="connsiteX28" fmla="*/ 1798320 w 2956560"/>
                  <a:gd name="connsiteY28" fmla="*/ 1203960 h 1234440"/>
                  <a:gd name="connsiteX29" fmla="*/ 1988820 w 2956560"/>
                  <a:gd name="connsiteY29" fmla="*/ 1226820 h 1234440"/>
                  <a:gd name="connsiteX30" fmla="*/ 2065020 w 2956560"/>
                  <a:gd name="connsiteY30" fmla="*/ 1234440 h 1234440"/>
                  <a:gd name="connsiteX31" fmla="*/ 2423160 w 2956560"/>
                  <a:gd name="connsiteY31" fmla="*/ 1196340 h 1234440"/>
                  <a:gd name="connsiteX32" fmla="*/ 2461260 w 2956560"/>
                  <a:gd name="connsiteY32" fmla="*/ 1173480 h 1234440"/>
                  <a:gd name="connsiteX33" fmla="*/ 2506980 w 2956560"/>
                  <a:gd name="connsiteY33" fmla="*/ 1165860 h 1234440"/>
                  <a:gd name="connsiteX34" fmla="*/ 2537460 w 2956560"/>
                  <a:gd name="connsiteY34" fmla="*/ 1150620 h 1234440"/>
                  <a:gd name="connsiteX35" fmla="*/ 2621280 w 2956560"/>
                  <a:gd name="connsiteY35" fmla="*/ 1127760 h 1234440"/>
                  <a:gd name="connsiteX36" fmla="*/ 2644140 w 2956560"/>
                  <a:gd name="connsiteY36" fmla="*/ 1112520 h 1234440"/>
                  <a:gd name="connsiteX37" fmla="*/ 2750820 w 2956560"/>
                  <a:gd name="connsiteY37" fmla="*/ 1082040 h 1234440"/>
                  <a:gd name="connsiteX38" fmla="*/ 2781300 w 2956560"/>
                  <a:gd name="connsiteY38" fmla="*/ 1066800 h 1234440"/>
                  <a:gd name="connsiteX39" fmla="*/ 2849880 w 2956560"/>
                  <a:gd name="connsiteY39" fmla="*/ 1051560 h 1234440"/>
                  <a:gd name="connsiteX40" fmla="*/ 2910840 w 2956560"/>
                  <a:gd name="connsiteY40" fmla="*/ 1021080 h 1234440"/>
                  <a:gd name="connsiteX41" fmla="*/ 2956560 w 2956560"/>
                  <a:gd name="connsiteY41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76200 w 2956560"/>
                  <a:gd name="connsiteY2" fmla="*/ 121920 h 1234440"/>
                  <a:gd name="connsiteX3" fmla="*/ 83820 w 2956560"/>
                  <a:gd name="connsiteY3" fmla="*/ 152400 h 1234440"/>
                  <a:gd name="connsiteX4" fmla="*/ 121920 w 2956560"/>
                  <a:gd name="connsiteY4" fmla="*/ 198120 h 1234440"/>
                  <a:gd name="connsiteX5" fmla="*/ 152400 w 2956560"/>
                  <a:gd name="connsiteY5" fmla="*/ 243840 h 1234440"/>
                  <a:gd name="connsiteX6" fmla="*/ 198120 w 2956560"/>
                  <a:gd name="connsiteY6" fmla="*/ 289560 h 1234440"/>
                  <a:gd name="connsiteX7" fmla="*/ 251460 w 2956560"/>
                  <a:gd name="connsiteY7" fmla="*/ 358140 h 1234440"/>
                  <a:gd name="connsiteX8" fmla="*/ 281940 w 2956560"/>
                  <a:gd name="connsiteY8" fmla="*/ 381000 h 1234440"/>
                  <a:gd name="connsiteX9" fmla="*/ 312420 w 2956560"/>
                  <a:gd name="connsiteY9" fmla="*/ 419100 h 1234440"/>
                  <a:gd name="connsiteX10" fmla="*/ 335280 w 2956560"/>
                  <a:gd name="connsiteY10" fmla="*/ 441960 h 1234440"/>
                  <a:gd name="connsiteX11" fmla="*/ 350520 w 2956560"/>
                  <a:gd name="connsiteY11" fmla="*/ 464820 h 1234440"/>
                  <a:gd name="connsiteX12" fmla="*/ 396240 w 2956560"/>
                  <a:gd name="connsiteY12" fmla="*/ 510540 h 1234440"/>
                  <a:gd name="connsiteX13" fmla="*/ 464820 w 2956560"/>
                  <a:gd name="connsiteY13" fmla="*/ 579120 h 1234440"/>
                  <a:gd name="connsiteX14" fmla="*/ 495300 w 2956560"/>
                  <a:gd name="connsiteY14" fmla="*/ 594360 h 1234440"/>
                  <a:gd name="connsiteX15" fmla="*/ 533400 w 2956560"/>
                  <a:gd name="connsiteY15" fmla="*/ 624840 h 1234440"/>
                  <a:gd name="connsiteX16" fmla="*/ 548640 w 2956560"/>
                  <a:gd name="connsiteY16" fmla="*/ 647700 h 1234440"/>
                  <a:gd name="connsiteX17" fmla="*/ 571500 w 2956560"/>
                  <a:gd name="connsiteY17" fmla="*/ 655320 h 1234440"/>
                  <a:gd name="connsiteX18" fmla="*/ 617220 w 2956560"/>
                  <a:gd name="connsiteY18" fmla="*/ 693420 h 1234440"/>
                  <a:gd name="connsiteX19" fmla="*/ 670560 w 2956560"/>
                  <a:gd name="connsiteY19" fmla="*/ 746760 h 1234440"/>
                  <a:gd name="connsiteX20" fmla="*/ 769620 w 2956560"/>
                  <a:gd name="connsiteY20" fmla="*/ 830580 h 1234440"/>
                  <a:gd name="connsiteX21" fmla="*/ 967740 w 2956560"/>
                  <a:gd name="connsiteY21" fmla="*/ 937260 h 1234440"/>
                  <a:gd name="connsiteX22" fmla="*/ 1021080 w 2956560"/>
                  <a:gd name="connsiteY22" fmla="*/ 967740 h 1234440"/>
                  <a:gd name="connsiteX23" fmla="*/ 1074420 w 2956560"/>
                  <a:gd name="connsiteY23" fmla="*/ 998220 h 1234440"/>
                  <a:gd name="connsiteX24" fmla="*/ 1158240 w 2956560"/>
                  <a:gd name="connsiteY24" fmla="*/ 1036320 h 1234440"/>
                  <a:gd name="connsiteX25" fmla="*/ 1219200 w 2956560"/>
                  <a:gd name="connsiteY25" fmla="*/ 1082040 h 1234440"/>
                  <a:gd name="connsiteX26" fmla="*/ 1600200 w 2956560"/>
                  <a:gd name="connsiteY26" fmla="*/ 1181100 h 1234440"/>
                  <a:gd name="connsiteX27" fmla="*/ 1760220 w 2956560"/>
                  <a:gd name="connsiteY27" fmla="*/ 1196340 h 1234440"/>
                  <a:gd name="connsiteX28" fmla="*/ 1988820 w 2956560"/>
                  <a:gd name="connsiteY28" fmla="*/ 1226820 h 1234440"/>
                  <a:gd name="connsiteX29" fmla="*/ 2065020 w 2956560"/>
                  <a:gd name="connsiteY29" fmla="*/ 1234440 h 1234440"/>
                  <a:gd name="connsiteX30" fmla="*/ 2423160 w 2956560"/>
                  <a:gd name="connsiteY30" fmla="*/ 1196340 h 1234440"/>
                  <a:gd name="connsiteX31" fmla="*/ 2461260 w 2956560"/>
                  <a:gd name="connsiteY31" fmla="*/ 1173480 h 1234440"/>
                  <a:gd name="connsiteX32" fmla="*/ 2506980 w 2956560"/>
                  <a:gd name="connsiteY32" fmla="*/ 1165860 h 1234440"/>
                  <a:gd name="connsiteX33" fmla="*/ 2537460 w 2956560"/>
                  <a:gd name="connsiteY33" fmla="*/ 1150620 h 1234440"/>
                  <a:gd name="connsiteX34" fmla="*/ 2621280 w 2956560"/>
                  <a:gd name="connsiteY34" fmla="*/ 1127760 h 1234440"/>
                  <a:gd name="connsiteX35" fmla="*/ 2644140 w 2956560"/>
                  <a:gd name="connsiteY35" fmla="*/ 1112520 h 1234440"/>
                  <a:gd name="connsiteX36" fmla="*/ 2750820 w 2956560"/>
                  <a:gd name="connsiteY36" fmla="*/ 1082040 h 1234440"/>
                  <a:gd name="connsiteX37" fmla="*/ 2781300 w 2956560"/>
                  <a:gd name="connsiteY37" fmla="*/ 1066800 h 1234440"/>
                  <a:gd name="connsiteX38" fmla="*/ 2849880 w 2956560"/>
                  <a:gd name="connsiteY38" fmla="*/ 1051560 h 1234440"/>
                  <a:gd name="connsiteX39" fmla="*/ 2910840 w 2956560"/>
                  <a:gd name="connsiteY39" fmla="*/ 1021080 h 1234440"/>
                  <a:gd name="connsiteX40" fmla="*/ 2956560 w 2956560"/>
                  <a:gd name="connsiteY40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76200 w 2956560"/>
                  <a:gd name="connsiteY2" fmla="*/ 121920 h 1234440"/>
                  <a:gd name="connsiteX3" fmla="*/ 83820 w 2956560"/>
                  <a:gd name="connsiteY3" fmla="*/ 152400 h 1234440"/>
                  <a:gd name="connsiteX4" fmla="*/ 121920 w 2956560"/>
                  <a:gd name="connsiteY4" fmla="*/ 198120 h 1234440"/>
                  <a:gd name="connsiteX5" fmla="*/ 152400 w 2956560"/>
                  <a:gd name="connsiteY5" fmla="*/ 243840 h 1234440"/>
                  <a:gd name="connsiteX6" fmla="*/ 198120 w 2956560"/>
                  <a:gd name="connsiteY6" fmla="*/ 289560 h 1234440"/>
                  <a:gd name="connsiteX7" fmla="*/ 251460 w 2956560"/>
                  <a:gd name="connsiteY7" fmla="*/ 358140 h 1234440"/>
                  <a:gd name="connsiteX8" fmla="*/ 281940 w 2956560"/>
                  <a:gd name="connsiteY8" fmla="*/ 381000 h 1234440"/>
                  <a:gd name="connsiteX9" fmla="*/ 312420 w 2956560"/>
                  <a:gd name="connsiteY9" fmla="*/ 419100 h 1234440"/>
                  <a:gd name="connsiteX10" fmla="*/ 335280 w 2956560"/>
                  <a:gd name="connsiteY10" fmla="*/ 441960 h 1234440"/>
                  <a:gd name="connsiteX11" fmla="*/ 350520 w 2956560"/>
                  <a:gd name="connsiteY11" fmla="*/ 464820 h 1234440"/>
                  <a:gd name="connsiteX12" fmla="*/ 396240 w 2956560"/>
                  <a:gd name="connsiteY12" fmla="*/ 510540 h 1234440"/>
                  <a:gd name="connsiteX13" fmla="*/ 464820 w 2956560"/>
                  <a:gd name="connsiteY13" fmla="*/ 579120 h 1234440"/>
                  <a:gd name="connsiteX14" fmla="*/ 495300 w 2956560"/>
                  <a:gd name="connsiteY14" fmla="*/ 594360 h 1234440"/>
                  <a:gd name="connsiteX15" fmla="*/ 533400 w 2956560"/>
                  <a:gd name="connsiteY15" fmla="*/ 624840 h 1234440"/>
                  <a:gd name="connsiteX16" fmla="*/ 548640 w 2956560"/>
                  <a:gd name="connsiteY16" fmla="*/ 647700 h 1234440"/>
                  <a:gd name="connsiteX17" fmla="*/ 571500 w 2956560"/>
                  <a:gd name="connsiteY17" fmla="*/ 655320 h 1234440"/>
                  <a:gd name="connsiteX18" fmla="*/ 617220 w 2956560"/>
                  <a:gd name="connsiteY18" fmla="*/ 693420 h 1234440"/>
                  <a:gd name="connsiteX19" fmla="*/ 670560 w 2956560"/>
                  <a:gd name="connsiteY19" fmla="*/ 746760 h 1234440"/>
                  <a:gd name="connsiteX20" fmla="*/ 769620 w 2956560"/>
                  <a:gd name="connsiteY20" fmla="*/ 830580 h 1234440"/>
                  <a:gd name="connsiteX21" fmla="*/ 967740 w 2956560"/>
                  <a:gd name="connsiteY21" fmla="*/ 937260 h 1234440"/>
                  <a:gd name="connsiteX22" fmla="*/ 1021080 w 2956560"/>
                  <a:gd name="connsiteY22" fmla="*/ 967740 h 1234440"/>
                  <a:gd name="connsiteX23" fmla="*/ 1074420 w 2956560"/>
                  <a:gd name="connsiteY23" fmla="*/ 998220 h 1234440"/>
                  <a:gd name="connsiteX24" fmla="*/ 1158240 w 2956560"/>
                  <a:gd name="connsiteY24" fmla="*/ 1036320 h 1234440"/>
                  <a:gd name="connsiteX25" fmla="*/ 1219200 w 2956560"/>
                  <a:gd name="connsiteY25" fmla="*/ 1082040 h 1234440"/>
                  <a:gd name="connsiteX26" fmla="*/ 1600200 w 2956560"/>
                  <a:gd name="connsiteY26" fmla="*/ 1181100 h 1234440"/>
                  <a:gd name="connsiteX27" fmla="*/ 1769745 w 2956560"/>
                  <a:gd name="connsiteY27" fmla="*/ 1220153 h 1234440"/>
                  <a:gd name="connsiteX28" fmla="*/ 1988820 w 2956560"/>
                  <a:gd name="connsiteY28" fmla="*/ 1226820 h 1234440"/>
                  <a:gd name="connsiteX29" fmla="*/ 2065020 w 2956560"/>
                  <a:gd name="connsiteY29" fmla="*/ 1234440 h 1234440"/>
                  <a:gd name="connsiteX30" fmla="*/ 2423160 w 2956560"/>
                  <a:gd name="connsiteY30" fmla="*/ 1196340 h 1234440"/>
                  <a:gd name="connsiteX31" fmla="*/ 2461260 w 2956560"/>
                  <a:gd name="connsiteY31" fmla="*/ 1173480 h 1234440"/>
                  <a:gd name="connsiteX32" fmla="*/ 2506980 w 2956560"/>
                  <a:gd name="connsiteY32" fmla="*/ 1165860 h 1234440"/>
                  <a:gd name="connsiteX33" fmla="*/ 2537460 w 2956560"/>
                  <a:gd name="connsiteY33" fmla="*/ 1150620 h 1234440"/>
                  <a:gd name="connsiteX34" fmla="*/ 2621280 w 2956560"/>
                  <a:gd name="connsiteY34" fmla="*/ 1127760 h 1234440"/>
                  <a:gd name="connsiteX35" fmla="*/ 2644140 w 2956560"/>
                  <a:gd name="connsiteY35" fmla="*/ 1112520 h 1234440"/>
                  <a:gd name="connsiteX36" fmla="*/ 2750820 w 2956560"/>
                  <a:gd name="connsiteY36" fmla="*/ 1082040 h 1234440"/>
                  <a:gd name="connsiteX37" fmla="*/ 2781300 w 2956560"/>
                  <a:gd name="connsiteY37" fmla="*/ 1066800 h 1234440"/>
                  <a:gd name="connsiteX38" fmla="*/ 2849880 w 2956560"/>
                  <a:gd name="connsiteY38" fmla="*/ 1051560 h 1234440"/>
                  <a:gd name="connsiteX39" fmla="*/ 2910840 w 2956560"/>
                  <a:gd name="connsiteY39" fmla="*/ 1021080 h 1234440"/>
                  <a:gd name="connsiteX40" fmla="*/ 2956560 w 2956560"/>
                  <a:gd name="connsiteY40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83820 w 2956560"/>
                  <a:gd name="connsiteY2" fmla="*/ 152400 h 1234440"/>
                  <a:gd name="connsiteX3" fmla="*/ 121920 w 2956560"/>
                  <a:gd name="connsiteY3" fmla="*/ 198120 h 1234440"/>
                  <a:gd name="connsiteX4" fmla="*/ 152400 w 2956560"/>
                  <a:gd name="connsiteY4" fmla="*/ 243840 h 1234440"/>
                  <a:gd name="connsiteX5" fmla="*/ 198120 w 2956560"/>
                  <a:gd name="connsiteY5" fmla="*/ 289560 h 1234440"/>
                  <a:gd name="connsiteX6" fmla="*/ 251460 w 2956560"/>
                  <a:gd name="connsiteY6" fmla="*/ 358140 h 1234440"/>
                  <a:gd name="connsiteX7" fmla="*/ 281940 w 2956560"/>
                  <a:gd name="connsiteY7" fmla="*/ 381000 h 1234440"/>
                  <a:gd name="connsiteX8" fmla="*/ 312420 w 2956560"/>
                  <a:gd name="connsiteY8" fmla="*/ 419100 h 1234440"/>
                  <a:gd name="connsiteX9" fmla="*/ 335280 w 2956560"/>
                  <a:gd name="connsiteY9" fmla="*/ 441960 h 1234440"/>
                  <a:gd name="connsiteX10" fmla="*/ 350520 w 2956560"/>
                  <a:gd name="connsiteY10" fmla="*/ 464820 h 1234440"/>
                  <a:gd name="connsiteX11" fmla="*/ 396240 w 2956560"/>
                  <a:gd name="connsiteY11" fmla="*/ 510540 h 1234440"/>
                  <a:gd name="connsiteX12" fmla="*/ 464820 w 2956560"/>
                  <a:gd name="connsiteY12" fmla="*/ 579120 h 1234440"/>
                  <a:gd name="connsiteX13" fmla="*/ 495300 w 2956560"/>
                  <a:gd name="connsiteY13" fmla="*/ 594360 h 1234440"/>
                  <a:gd name="connsiteX14" fmla="*/ 533400 w 2956560"/>
                  <a:gd name="connsiteY14" fmla="*/ 624840 h 1234440"/>
                  <a:gd name="connsiteX15" fmla="*/ 548640 w 2956560"/>
                  <a:gd name="connsiteY15" fmla="*/ 647700 h 1234440"/>
                  <a:gd name="connsiteX16" fmla="*/ 571500 w 2956560"/>
                  <a:gd name="connsiteY16" fmla="*/ 655320 h 1234440"/>
                  <a:gd name="connsiteX17" fmla="*/ 617220 w 2956560"/>
                  <a:gd name="connsiteY17" fmla="*/ 693420 h 1234440"/>
                  <a:gd name="connsiteX18" fmla="*/ 670560 w 2956560"/>
                  <a:gd name="connsiteY18" fmla="*/ 746760 h 1234440"/>
                  <a:gd name="connsiteX19" fmla="*/ 769620 w 2956560"/>
                  <a:gd name="connsiteY19" fmla="*/ 830580 h 1234440"/>
                  <a:gd name="connsiteX20" fmla="*/ 967740 w 2956560"/>
                  <a:gd name="connsiteY20" fmla="*/ 937260 h 1234440"/>
                  <a:gd name="connsiteX21" fmla="*/ 1021080 w 2956560"/>
                  <a:gd name="connsiteY21" fmla="*/ 967740 h 1234440"/>
                  <a:gd name="connsiteX22" fmla="*/ 1074420 w 2956560"/>
                  <a:gd name="connsiteY22" fmla="*/ 998220 h 1234440"/>
                  <a:gd name="connsiteX23" fmla="*/ 1158240 w 2956560"/>
                  <a:gd name="connsiteY23" fmla="*/ 1036320 h 1234440"/>
                  <a:gd name="connsiteX24" fmla="*/ 1219200 w 2956560"/>
                  <a:gd name="connsiteY24" fmla="*/ 1082040 h 1234440"/>
                  <a:gd name="connsiteX25" fmla="*/ 1600200 w 2956560"/>
                  <a:gd name="connsiteY25" fmla="*/ 1181100 h 1234440"/>
                  <a:gd name="connsiteX26" fmla="*/ 1769745 w 2956560"/>
                  <a:gd name="connsiteY26" fmla="*/ 1220153 h 1234440"/>
                  <a:gd name="connsiteX27" fmla="*/ 1988820 w 2956560"/>
                  <a:gd name="connsiteY27" fmla="*/ 1226820 h 1234440"/>
                  <a:gd name="connsiteX28" fmla="*/ 2065020 w 2956560"/>
                  <a:gd name="connsiteY28" fmla="*/ 1234440 h 1234440"/>
                  <a:gd name="connsiteX29" fmla="*/ 2423160 w 2956560"/>
                  <a:gd name="connsiteY29" fmla="*/ 1196340 h 1234440"/>
                  <a:gd name="connsiteX30" fmla="*/ 2461260 w 2956560"/>
                  <a:gd name="connsiteY30" fmla="*/ 1173480 h 1234440"/>
                  <a:gd name="connsiteX31" fmla="*/ 2506980 w 2956560"/>
                  <a:gd name="connsiteY31" fmla="*/ 1165860 h 1234440"/>
                  <a:gd name="connsiteX32" fmla="*/ 2537460 w 2956560"/>
                  <a:gd name="connsiteY32" fmla="*/ 1150620 h 1234440"/>
                  <a:gd name="connsiteX33" fmla="*/ 2621280 w 2956560"/>
                  <a:gd name="connsiteY33" fmla="*/ 1127760 h 1234440"/>
                  <a:gd name="connsiteX34" fmla="*/ 2644140 w 2956560"/>
                  <a:gd name="connsiteY34" fmla="*/ 1112520 h 1234440"/>
                  <a:gd name="connsiteX35" fmla="*/ 2750820 w 2956560"/>
                  <a:gd name="connsiteY35" fmla="*/ 1082040 h 1234440"/>
                  <a:gd name="connsiteX36" fmla="*/ 2781300 w 2956560"/>
                  <a:gd name="connsiteY36" fmla="*/ 1066800 h 1234440"/>
                  <a:gd name="connsiteX37" fmla="*/ 2849880 w 2956560"/>
                  <a:gd name="connsiteY37" fmla="*/ 1051560 h 1234440"/>
                  <a:gd name="connsiteX38" fmla="*/ 2910840 w 2956560"/>
                  <a:gd name="connsiteY38" fmla="*/ 1021080 h 1234440"/>
                  <a:gd name="connsiteX39" fmla="*/ 2956560 w 2956560"/>
                  <a:gd name="connsiteY39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52400 w 2956560"/>
                  <a:gd name="connsiteY3" fmla="*/ 243840 h 1234440"/>
                  <a:gd name="connsiteX4" fmla="*/ 198120 w 2956560"/>
                  <a:gd name="connsiteY4" fmla="*/ 289560 h 1234440"/>
                  <a:gd name="connsiteX5" fmla="*/ 251460 w 2956560"/>
                  <a:gd name="connsiteY5" fmla="*/ 358140 h 1234440"/>
                  <a:gd name="connsiteX6" fmla="*/ 281940 w 2956560"/>
                  <a:gd name="connsiteY6" fmla="*/ 381000 h 1234440"/>
                  <a:gd name="connsiteX7" fmla="*/ 312420 w 2956560"/>
                  <a:gd name="connsiteY7" fmla="*/ 419100 h 1234440"/>
                  <a:gd name="connsiteX8" fmla="*/ 335280 w 2956560"/>
                  <a:gd name="connsiteY8" fmla="*/ 441960 h 1234440"/>
                  <a:gd name="connsiteX9" fmla="*/ 350520 w 2956560"/>
                  <a:gd name="connsiteY9" fmla="*/ 464820 h 1234440"/>
                  <a:gd name="connsiteX10" fmla="*/ 396240 w 2956560"/>
                  <a:gd name="connsiteY10" fmla="*/ 510540 h 1234440"/>
                  <a:gd name="connsiteX11" fmla="*/ 464820 w 2956560"/>
                  <a:gd name="connsiteY11" fmla="*/ 579120 h 1234440"/>
                  <a:gd name="connsiteX12" fmla="*/ 495300 w 2956560"/>
                  <a:gd name="connsiteY12" fmla="*/ 594360 h 1234440"/>
                  <a:gd name="connsiteX13" fmla="*/ 533400 w 2956560"/>
                  <a:gd name="connsiteY13" fmla="*/ 624840 h 1234440"/>
                  <a:gd name="connsiteX14" fmla="*/ 548640 w 2956560"/>
                  <a:gd name="connsiteY14" fmla="*/ 647700 h 1234440"/>
                  <a:gd name="connsiteX15" fmla="*/ 571500 w 2956560"/>
                  <a:gd name="connsiteY15" fmla="*/ 655320 h 1234440"/>
                  <a:gd name="connsiteX16" fmla="*/ 617220 w 2956560"/>
                  <a:gd name="connsiteY16" fmla="*/ 693420 h 1234440"/>
                  <a:gd name="connsiteX17" fmla="*/ 670560 w 2956560"/>
                  <a:gd name="connsiteY17" fmla="*/ 746760 h 1234440"/>
                  <a:gd name="connsiteX18" fmla="*/ 769620 w 2956560"/>
                  <a:gd name="connsiteY18" fmla="*/ 830580 h 1234440"/>
                  <a:gd name="connsiteX19" fmla="*/ 967740 w 2956560"/>
                  <a:gd name="connsiteY19" fmla="*/ 937260 h 1234440"/>
                  <a:gd name="connsiteX20" fmla="*/ 1021080 w 2956560"/>
                  <a:gd name="connsiteY20" fmla="*/ 967740 h 1234440"/>
                  <a:gd name="connsiteX21" fmla="*/ 1074420 w 2956560"/>
                  <a:gd name="connsiteY21" fmla="*/ 998220 h 1234440"/>
                  <a:gd name="connsiteX22" fmla="*/ 1158240 w 2956560"/>
                  <a:gd name="connsiteY22" fmla="*/ 1036320 h 1234440"/>
                  <a:gd name="connsiteX23" fmla="*/ 1219200 w 2956560"/>
                  <a:gd name="connsiteY23" fmla="*/ 1082040 h 1234440"/>
                  <a:gd name="connsiteX24" fmla="*/ 1600200 w 2956560"/>
                  <a:gd name="connsiteY24" fmla="*/ 1181100 h 1234440"/>
                  <a:gd name="connsiteX25" fmla="*/ 1769745 w 2956560"/>
                  <a:gd name="connsiteY25" fmla="*/ 1220153 h 1234440"/>
                  <a:gd name="connsiteX26" fmla="*/ 1988820 w 2956560"/>
                  <a:gd name="connsiteY26" fmla="*/ 1226820 h 1234440"/>
                  <a:gd name="connsiteX27" fmla="*/ 2065020 w 2956560"/>
                  <a:gd name="connsiteY27" fmla="*/ 1234440 h 1234440"/>
                  <a:gd name="connsiteX28" fmla="*/ 2423160 w 2956560"/>
                  <a:gd name="connsiteY28" fmla="*/ 1196340 h 1234440"/>
                  <a:gd name="connsiteX29" fmla="*/ 2461260 w 2956560"/>
                  <a:gd name="connsiteY29" fmla="*/ 1173480 h 1234440"/>
                  <a:gd name="connsiteX30" fmla="*/ 2506980 w 2956560"/>
                  <a:gd name="connsiteY30" fmla="*/ 1165860 h 1234440"/>
                  <a:gd name="connsiteX31" fmla="*/ 2537460 w 2956560"/>
                  <a:gd name="connsiteY31" fmla="*/ 1150620 h 1234440"/>
                  <a:gd name="connsiteX32" fmla="*/ 2621280 w 2956560"/>
                  <a:gd name="connsiteY32" fmla="*/ 1127760 h 1234440"/>
                  <a:gd name="connsiteX33" fmla="*/ 2644140 w 2956560"/>
                  <a:gd name="connsiteY33" fmla="*/ 1112520 h 1234440"/>
                  <a:gd name="connsiteX34" fmla="*/ 2750820 w 2956560"/>
                  <a:gd name="connsiteY34" fmla="*/ 1082040 h 1234440"/>
                  <a:gd name="connsiteX35" fmla="*/ 2781300 w 2956560"/>
                  <a:gd name="connsiteY35" fmla="*/ 1066800 h 1234440"/>
                  <a:gd name="connsiteX36" fmla="*/ 2849880 w 2956560"/>
                  <a:gd name="connsiteY36" fmla="*/ 1051560 h 1234440"/>
                  <a:gd name="connsiteX37" fmla="*/ 2910840 w 2956560"/>
                  <a:gd name="connsiteY37" fmla="*/ 1021080 h 1234440"/>
                  <a:gd name="connsiteX38" fmla="*/ 2956560 w 2956560"/>
                  <a:gd name="connsiteY38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281940 w 2956560"/>
                  <a:gd name="connsiteY5" fmla="*/ 381000 h 1234440"/>
                  <a:gd name="connsiteX6" fmla="*/ 312420 w 2956560"/>
                  <a:gd name="connsiteY6" fmla="*/ 419100 h 1234440"/>
                  <a:gd name="connsiteX7" fmla="*/ 335280 w 2956560"/>
                  <a:gd name="connsiteY7" fmla="*/ 441960 h 1234440"/>
                  <a:gd name="connsiteX8" fmla="*/ 350520 w 2956560"/>
                  <a:gd name="connsiteY8" fmla="*/ 464820 h 1234440"/>
                  <a:gd name="connsiteX9" fmla="*/ 396240 w 2956560"/>
                  <a:gd name="connsiteY9" fmla="*/ 510540 h 1234440"/>
                  <a:gd name="connsiteX10" fmla="*/ 464820 w 2956560"/>
                  <a:gd name="connsiteY10" fmla="*/ 579120 h 1234440"/>
                  <a:gd name="connsiteX11" fmla="*/ 495300 w 2956560"/>
                  <a:gd name="connsiteY11" fmla="*/ 594360 h 1234440"/>
                  <a:gd name="connsiteX12" fmla="*/ 533400 w 2956560"/>
                  <a:gd name="connsiteY12" fmla="*/ 624840 h 1234440"/>
                  <a:gd name="connsiteX13" fmla="*/ 548640 w 2956560"/>
                  <a:gd name="connsiteY13" fmla="*/ 647700 h 1234440"/>
                  <a:gd name="connsiteX14" fmla="*/ 571500 w 2956560"/>
                  <a:gd name="connsiteY14" fmla="*/ 655320 h 1234440"/>
                  <a:gd name="connsiteX15" fmla="*/ 617220 w 2956560"/>
                  <a:gd name="connsiteY15" fmla="*/ 693420 h 1234440"/>
                  <a:gd name="connsiteX16" fmla="*/ 670560 w 2956560"/>
                  <a:gd name="connsiteY16" fmla="*/ 746760 h 1234440"/>
                  <a:gd name="connsiteX17" fmla="*/ 769620 w 2956560"/>
                  <a:gd name="connsiteY17" fmla="*/ 830580 h 1234440"/>
                  <a:gd name="connsiteX18" fmla="*/ 967740 w 2956560"/>
                  <a:gd name="connsiteY18" fmla="*/ 937260 h 1234440"/>
                  <a:gd name="connsiteX19" fmla="*/ 1021080 w 2956560"/>
                  <a:gd name="connsiteY19" fmla="*/ 967740 h 1234440"/>
                  <a:gd name="connsiteX20" fmla="*/ 1074420 w 2956560"/>
                  <a:gd name="connsiteY20" fmla="*/ 998220 h 1234440"/>
                  <a:gd name="connsiteX21" fmla="*/ 1158240 w 2956560"/>
                  <a:gd name="connsiteY21" fmla="*/ 1036320 h 1234440"/>
                  <a:gd name="connsiteX22" fmla="*/ 1219200 w 2956560"/>
                  <a:gd name="connsiteY22" fmla="*/ 1082040 h 1234440"/>
                  <a:gd name="connsiteX23" fmla="*/ 1600200 w 2956560"/>
                  <a:gd name="connsiteY23" fmla="*/ 1181100 h 1234440"/>
                  <a:gd name="connsiteX24" fmla="*/ 1769745 w 2956560"/>
                  <a:gd name="connsiteY24" fmla="*/ 1220153 h 1234440"/>
                  <a:gd name="connsiteX25" fmla="*/ 1988820 w 2956560"/>
                  <a:gd name="connsiteY25" fmla="*/ 1226820 h 1234440"/>
                  <a:gd name="connsiteX26" fmla="*/ 2065020 w 2956560"/>
                  <a:gd name="connsiteY26" fmla="*/ 1234440 h 1234440"/>
                  <a:gd name="connsiteX27" fmla="*/ 2423160 w 2956560"/>
                  <a:gd name="connsiteY27" fmla="*/ 1196340 h 1234440"/>
                  <a:gd name="connsiteX28" fmla="*/ 2461260 w 2956560"/>
                  <a:gd name="connsiteY28" fmla="*/ 1173480 h 1234440"/>
                  <a:gd name="connsiteX29" fmla="*/ 2506980 w 2956560"/>
                  <a:gd name="connsiteY29" fmla="*/ 1165860 h 1234440"/>
                  <a:gd name="connsiteX30" fmla="*/ 2537460 w 2956560"/>
                  <a:gd name="connsiteY30" fmla="*/ 1150620 h 1234440"/>
                  <a:gd name="connsiteX31" fmla="*/ 2621280 w 2956560"/>
                  <a:gd name="connsiteY31" fmla="*/ 1127760 h 1234440"/>
                  <a:gd name="connsiteX32" fmla="*/ 2644140 w 2956560"/>
                  <a:gd name="connsiteY32" fmla="*/ 1112520 h 1234440"/>
                  <a:gd name="connsiteX33" fmla="*/ 2750820 w 2956560"/>
                  <a:gd name="connsiteY33" fmla="*/ 1082040 h 1234440"/>
                  <a:gd name="connsiteX34" fmla="*/ 2781300 w 2956560"/>
                  <a:gd name="connsiteY34" fmla="*/ 1066800 h 1234440"/>
                  <a:gd name="connsiteX35" fmla="*/ 2849880 w 2956560"/>
                  <a:gd name="connsiteY35" fmla="*/ 1051560 h 1234440"/>
                  <a:gd name="connsiteX36" fmla="*/ 2910840 w 2956560"/>
                  <a:gd name="connsiteY36" fmla="*/ 1021080 h 1234440"/>
                  <a:gd name="connsiteX37" fmla="*/ 2956560 w 2956560"/>
                  <a:gd name="connsiteY37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281940 w 2956560"/>
                  <a:gd name="connsiteY5" fmla="*/ 381000 h 1234440"/>
                  <a:gd name="connsiteX6" fmla="*/ 312420 w 2956560"/>
                  <a:gd name="connsiteY6" fmla="*/ 419100 h 1234440"/>
                  <a:gd name="connsiteX7" fmla="*/ 335280 w 2956560"/>
                  <a:gd name="connsiteY7" fmla="*/ 441960 h 1234440"/>
                  <a:gd name="connsiteX8" fmla="*/ 396240 w 2956560"/>
                  <a:gd name="connsiteY8" fmla="*/ 510540 h 1234440"/>
                  <a:gd name="connsiteX9" fmla="*/ 464820 w 2956560"/>
                  <a:gd name="connsiteY9" fmla="*/ 579120 h 1234440"/>
                  <a:gd name="connsiteX10" fmla="*/ 495300 w 2956560"/>
                  <a:gd name="connsiteY10" fmla="*/ 594360 h 1234440"/>
                  <a:gd name="connsiteX11" fmla="*/ 533400 w 2956560"/>
                  <a:gd name="connsiteY11" fmla="*/ 624840 h 1234440"/>
                  <a:gd name="connsiteX12" fmla="*/ 548640 w 2956560"/>
                  <a:gd name="connsiteY12" fmla="*/ 647700 h 1234440"/>
                  <a:gd name="connsiteX13" fmla="*/ 571500 w 2956560"/>
                  <a:gd name="connsiteY13" fmla="*/ 655320 h 1234440"/>
                  <a:gd name="connsiteX14" fmla="*/ 617220 w 2956560"/>
                  <a:gd name="connsiteY14" fmla="*/ 693420 h 1234440"/>
                  <a:gd name="connsiteX15" fmla="*/ 670560 w 2956560"/>
                  <a:gd name="connsiteY15" fmla="*/ 746760 h 1234440"/>
                  <a:gd name="connsiteX16" fmla="*/ 769620 w 2956560"/>
                  <a:gd name="connsiteY16" fmla="*/ 830580 h 1234440"/>
                  <a:gd name="connsiteX17" fmla="*/ 967740 w 2956560"/>
                  <a:gd name="connsiteY17" fmla="*/ 937260 h 1234440"/>
                  <a:gd name="connsiteX18" fmla="*/ 1021080 w 2956560"/>
                  <a:gd name="connsiteY18" fmla="*/ 967740 h 1234440"/>
                  <a:gd name="connsiteX19" fmla="*/ 1074420 w 2956560"/>
                  <a:gd name="connsiteY19" fmla="*/ 998220 h 1234440"/>
                  <a:gd name="connsiteX20" fmla="*/ 1158240 w 2956560"/>
                  <a:gd name="connsiteY20" fmla="*/ 1036320 h 1234440"/>
                  <a:gd name="connsiteX21" fmla="*/ 1219200 w 2956560"/>
                  <a:gd name="connsiteY21" fmla="*/ 1082040 h 1234440"/>
                  <a:gd name="connsiteX22" fmla="*/ 1600200 w 2956560"/>
                  <a:gd name="connsiteY22" fmla="*/ 1181100 h 1234440"/>
                  <a:gd name="connsiteX23" fmla="*/ 1769745 w 2956560"/>
                  <a:gd name="connsiteY23" fmla="*/ 1220153 h 1234440"/>
                  <a:gd name="connsiteX24" fmla="*/ 1988820 w 2956560"/>
                  <a:gd name="connsiteY24" fmla="*/ 1226820 h 1234440"/>
                  <a:gd name="connsiteX25" fmla="*/ 2065020 w 2956560"/>
                  <a:gd name="connsiteY25" fmla="*/ 1234440 h 1234440"/>
                  <a:gd name="connsiteX26" fmla="*/ 2423160 w 2956560"/>
                  <a:gd name="connsiteY26" fmla="*/ 1196340 h 1234440"/>
                  <a:gd name="connsiteX27" fmla="*/ 2461260 w 2956560"/>
                  <a:gd name="connsiteY27" fmla="*/ 1173480 h 1234440"/>
                  <a:gd name="connsiteX28" fmla="*/ 2506980 w 2956560"/>
                  <a:gd name="connsiteY28" fmla="*/ 1165860 h 1234440"/>
                  <a:gd name="connsiteX29" fmla="*/ 2537460 w 2956560"/>
                  <a:gd name="connsiteY29" fmla="*/ 1150620 h 1234440"/>
                  <a:gd name="connsiteX30" fmla="*/ 2621280 w 2956560"/>
                  <a:gd name="connsiteY30" fmla="*/ 1127760 h 1234440"/>
                  <a:gd name="connsiteX31" fmla="*/ 2644140 w 2956560"/>
                  <a:gd name="connsiteY31" fmla="*/ 1112520 h 1234440"/>
                  <a:gd name="connsiteX32" fmla="*/ 2750820 w 2956560"/>
                  <a:gd name="connsiteY32" fmla="*/ 1082040 h 1234440"/>
                  <a:gd name="connsiteX33" fmla="*/ 2781300 w 2956560"/>
                  <a:gd name="connsiteY33" fmla="*/ 1066800 h 1234440"/>
                  <a:gd name="connsiteX34" fmla="*/ 2849880 w 2956560"/>
                  <a:gd name="connsiteY34" fmla="*/ 1051560 h 1234440"/>
                  <a:gd name="connsiteX35" fmla="*/ 2910840 w 2956560"/>
                  <a:gd name="connsiteY35" fmla="*/ 1021080 h 1234440"/>
                  <a:gd name="connsiteX36" fmla="*/ 2956560 w 2956560"/>
                  <a:gd name="connsiteY36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281940 w 2956560"/>
                  <a:gd name="connsiteY5" fmla="*/ 381000 h 1234440"/>
                  <a:gd name="connsiteX6" fmla="*/ 312420 w 2956560"/>
                  <a:gd name="connsiteY6" fmla="*/ 419100 h 1234440"/>
                  <a:gd name="connsiteX7" fmla="*/ 396240 w 2956560"/>
                  <a:gd name="connsiteY7" fmla="*/ 510540 h 1234440"/>
                  <a:gd name="connsiteX8" fmla="*/ 464820 w 2956560"/>
                  <a:gd name="connsiteY8" fmla="*/ 579120 h 1234440"/>
                  <a:gd name="connsiteX9" fmla="*/ 495300 w 2956560"/>
                  <a:gd name="connsiteY9" fmla="*/ 594360 h 1234440"/>
                  <a:gd name="connsiteX10" fmla="*/ 533400 w 2956560"/>
                  <a:gd name="connsiteY10" fmla="*/ 624840 h 1234440"/>
                  <a:gd name="connsiteX11" fmla="*/ 548640 w 2956560"/>
                  <a:gd name="connsiteY11" fmla="*/ 647700 h 1234440"/>
                  <a:gd name="connsiteX12" fmla="*/ 571500 w 2956560"/>
                  <a:gd name="connsiteY12" fmla="*/ 655320 h 1234440"/>
                  <a:gd name="connsiteX13" fmla="*/ 617220 w 2956560"/>
                  <a:gd name="connsiteY13" fmla="*/ 693420 h 1234440"/>
                  <a:gd name="connsiteX14" fmla="*/ 670560 w 2956560"/>
                  <a:gd name="connsiteY14" fmla="*/ 746760 h 1234440"/>
                  <a:gd name="connsiteX15" fmla="*/ 769620 w 2956560"/>
                  <a:gd name="connsiteY15" fmla="*/ 830580 h 1234440"/>
                  <a:gd name="connsiteX16" fmla="*/ 967740 w 2956560"/>
                  <a:gd name="connsiteY16" fmla="*/ 937260 h 1234440"/>
                  <a:gd name="connsiteX17" fmla="*/ 1021080 w 2956560"/>
                  <a:gd name="connsiteY17" fmla="*/ 967740 h 1234440"/>
                  <a:gd name="connsiteX18" fmla="*/ 1074420 w 2956560"/>
                  <a:gd name="connsiteY18" fmla="*/ 998220 h 1234440"/>
                  <a:gd name="connsiteX19" fmla="*/ 1158240 w 2956560"/>
                  <a:gd name="connsiteY19" fmla="*/ 1036320 h 1234440"/>
                  <a:gd name="connsiteX20" fmla="*/ 1219200 w 2956560"/>
                  <a:gd name="connsiteY20" fmla="*/ 1082040 h 1234440"/>
                  <a:gd name="connsiteX21" fmla="*/ 1600200 w 2956560"/>
                  <a:gd name="connsiteY21" fmla="*/ 1181100 h 1234440"/>
                  <a:gd name="connsiteX22" fmla="*/ 1769745 w 2956560"/>
                  <a:gd name="connsiteY22" fmla="*/ 1220153 h 1234440"/>
                  <a:gd name="connsiteX23" fmla="*/ 1988820 w 2956560"/>
                  <a:gd name="connsiteY23" fmla="*/ 1226820 h 1234440"/>
                  <a:gd name="connsiteX24" fmla="*/ 2065020 w 2956560"/>
                  <a:gd name="connsiteY24" fmla="*/ 1234440 h 1234440"/>
                  <a:gd name="connsiteX25" fmla="*/ 2423160 w 2956560"/>
                  <a:gd name="connsiteY25" fmla="*/ 1196340 h 1234440"/>
                  <a:gd name="connsiteX26" fmla="*/ 2461260 w 2956560"/>
                  <a:gd name="connsiteY26" fmla="*/ 1173480 h 1234440"/>
                  <a:gd name="connsiteX27" fmla="*/ 2506980 w 2956560"/>
                  <a:gd name="connsiteY27" fmla="*/ 1165860 h 1234440"/>
                  <a:gd name="connsiteX28" fmla="*/ 2537460 w 2956560"/>
                  <a:gd name="connsiteY28" fmla="*/ 1150620 h 1234440"/>
                  <a:gd name="connsiteX29" fmla="*/ 2621280 w 2956560"/>
                  <a:gd name="connsiteY29" fmla="*/ 1127760 h 1234440"/>
                  <a:gd name="connsiteX30" fmla="*/ 2644140 w 2956560"/>
                  <a:gd name="connsiteY30" fmla="*/ 1112520 h 1234440"/>
                  <a:gd name="connsiteX31" fmla="*/ 2750820 w 2956560"/>
                  <a:gd name="connsiteY31" fmla="*/ 1082040 h 1234440"/>
                  <a:gd name="connsiteX32" fmla="*/ 2781300 w 2956560"/>
                  <a:gd name="connsiteY32" fmla="*/ 1066800 h 1234440"/>
                  <a:gd name="connsiteX33" fmla="*/ 2849880 w 2956560"/>
                  <a:gd name="connsiteY33" fmla="*/ 1051560 h 1234440"/>
                  <a:gd name="connsiteX34" fmla="*/ 2910840 w 2956560"/>
                  <a:gd name="connsiteY34" fmla="*/ 1021080 h 1234440"/>
                  <a:gd name="connsiteX35" fmla="*/ 2956560 w 2956560"/>
                  <a:gd name="connsiteY35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495300 w 2956560"/>
                  <a:gd name="connsiteY8" fmla="*/ 594360 h 1234440"/>
                  <a:gd name="connsiteX9" fmla="*/ 533400 w 2956560"/>
                  <a:gd name="connsiteY9" fmla="*/ 624840 h 1234440"/>
                  <a:gd name="connsiteX10" fmla="*/ 548640 w 2956560"/>
                  <a:gd name="connsiteY10" fmla="*/ 647700 h 1234440"/>
                  <a:gd name="connsiteX11" fmla="*/ 571500 w 2956560"/>
                  <a:gd name="connsiteY11" fmla="*/ 655320 h 1234440"/>
                  <a:gd name="connsiteX12" fmla="*/ 617220 w 2956560"/>
                  <a:gd name="connsiteY12" fmla="*/ 693420 h 1234440"/>
                  <a:gd name="connsiteX13" fmla="*/ 670560 w 2956560"/>
                  <a:gd name="connsiteY13" fmla="*/ 746760 h 1234440"/>
                  <a:gd name="connsiteX14" fmla="*/ 769620 w 2956560"/>
                  <a:gd name="connsiteY14" fmla="*/ 830580 h 1234440"/>
                  <a:gd name="connsiteX15" fmla="*/ 967740 w 2956560"/>
                  <a:gd name="connsiteY15" fmla="*/ 937260 h 1234440"/>
                  <a:gd name="connsiteX16" fmla="*/ 1021080 w 2956560"/>
                  <a:gd name="connsiteY16" fmla="*/ 967740 h 1234440"/>
                  <a:gd name="connsiteX17" fmla="*/ 1074420 w 2956560"/>
                  <a:gd name="connsiteY17" fmla="*/ 998220 h 1234440"/>
                  <a:gd name="connsiteX18" fmla="*/ 1158240 w 2956560"/>
                  <a:gd name="connsiteY18" fmla="*/ 1036320 h 1234440"/>
                  <a:gd name="connsiteX19" fmla="*/ 1219200 w 2956560"/>
                  <a:gd name="connsiteY19" fmla="*/ 1082040 h 1234440"/>
                  <a:gd name="connsiteX20" fmla="*/ 1600200 w 2956560"/>
                  <a:gd name="connsiteY20" fmla="*/ 1181100 h 1234440"/>
                  <a:gd name="connsiteX21" fmla="*/ 1769745 w 2956560"/>
                  <a:gd name="connsiteY21" fmla="*/ 1220153 h 1234440"/>
                  <a:gd name="connsiteX22" fmla="*/ 1988820 w 2956560"/>
                  <a:gd name="connsiteY22" fmla="*/ 1226820 h 1234440"/>
                  <a:gd name="connsiteX23" fmla="*/ 2065020 w 2956560"/>
                  <a:gd name="connsiteY23" fmla="*/ 1234440 h 1234440"/>
                  <a:gd name="connsiteX24" fmla="*/ 2423160 w 2956560"/>
                  <a:gd name="connsiteY24" fmla="*/ 1196340 h 1234440"/>
                  <a:gd name="connsiteX25" fmla="*/ 2461260 w 2956560"/>
                  <a:gd name="connsiteY25" fmla="*/ 1173480 h 1234440"/>
                  <a:gd name="connsiteX26" fmla="*/ 2506980 w 2956560"/>
                  <a:gd name="connsiteY26" fmla="*/ 1165860 h 1234440"/>
                  <a:gd name="connsiteX27" fmla="*/ 2537460 w 2956560"/>
                  <a:gd name="connsiteY27" fmla="*/ 1150620 h 1234440"/>
                  <a:gd name="connsiteX28" fmla="*/ 2621280 w 2956560"/>
                  <a:gd name="connsiteY28" fmla="*/ 1127760 h 1234440"/>
                  <a:gd name="connsiteX29" fmla="*/ 2644140 w 2956560"/>
                  <a:gd name="connsiteY29" fmla="*/ 1112520 h 1234440"/>
                  <a:gd name="connsiteX30" fmla="*/ 2750820 w 2956560"/>
                  <a:gd name="connsiteY30" fmla="*/ 1082040 h 1234440"/>
                  <a:gd name="connsiteX31" fmla="*/ 2781300 w 2956560"/>
                  <a:gd name="connsiteY31" fmla="*/ 1066800 h 1234440"/>
                  <a:gd name="connsiteX32" fmla="*/ 2849880 w 2956560"/>
                  <a:gd name="connsiteY32" fmla="*/ 1051560 h 1234440"/>
                  <a:gd name="connsiteX33" fmla="*/ 2910840 w 2956560"/>
                  <a:gd name="connsiteY33" fmla="*/ 1021080 h 1234440"/>
                  <a:gd name="connsiteX34" fmla="*/ 2956560 w 2956560"/>
                  <a:gd name="connsiteY34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548640 w 2956560"/>
                  <a:gd name="connsiteY9" fmla="*/ 647700 h 1234440"/>
                  <a:gd name="connsiteX10" fmla="*/ 571500 w 2956560"/>
                  <a:gd name="connsiteY10" fmla="*/ 655320 h 1234440"/>
                  <a:gd name="connsiteX11" fmla="*/ 617220 w 2956560"/>
                  <a:gd name="connsiteY11" fmla="*/ 693420 h 1234440"/>
                  <a:gd name="connsiteX12" fmla="*/ 670560 w 2956560"/>
                  <a:gd name="connsiteY12" fmla="*/ 746760 h 1234440"/>
                  <a:gd name="connsiteX13" fmla="*/ 769620 w 2956560"/>
                  <a:gd name="connsiteY13" fmla="*/ 830580 h 1234440"/>
                  <a:gd name="connsiteX14" fmla="*/ 967740 w 2956560"/>
                  <a:gd name="connsiteY14" fmla="*/ 937260 h 1234440"/>
                  <a:gd name="connsiteX15" fmla="*/ 1021080 w 2956560"/>
                  <a:gd name="connsiteY15" fmla="*/ 967740 h 1234440"/>
                  <a:gd name="connsiteX16" fmla="*/ 1074420 w 2956560"/>
                  <a:gd name="connsiteY16" fmla="*/ 998220 h 1234440"/>
                  <a:gd name="connsiteX17" fmla="*/ 1158240 w 2956560"/>
                  <a:gd name="connsiteY17" fmla="*/ 1036320 h 1234440"/>
                  <a:gd name="connsiteX18" fmla="*/ 1219200 w 2956560"/>
                  <a:gd name="connsiteY18" fmla="*/ 1082040 h 1234440"/>
                  <a:gd name="connsiteX19" fmla="*/ 1600200 w 2956560"/>
                  <a:gd name="connsiteY19" fmla="*/ 1181100 h 1234440"/>
                  <a:gd name="connsiteX20" fmla="*/ 1769745 w 2956560"/>
                  <a:gd name="connsiteY20" fmla="*/ 1220153 h 1234440"/>
                  <a:gd name="connsiteX21" fmla="*/ 1988820 w 2956560"/>
                  <a:gd name="connsiteY21" fmla="*/ 1226820 h 1234440"/>
                  <a:gd name="connsiteX22" fmla="*/ 2065020 w 2956560"/>
                  <a:gd name="connsiteY22" fmla="*/ 1234440 h 1234440"/>
                  <a:gd name="connsiteX23" fmla="*/ 2423160 w 2956560"/>
                  <a:gd name="connsiteY23" fmla="*/ 1196340 h 1234440"/>
                  <a:gd name="connsiteX24" fmla="*/ 2461260 w 2956560"/>
                  <a:gd name="connsiteY24" fmla="*/ 1173480 h 1234440"/>
                  <a:gd name="connsiteX25" fmla="*/ 2506980 w 2956560"/>
                  <a:gd name="connsiteY25" fmla="*/ 1165860 h 1234440"/>
                  <a:gd name="connsiteX26" fmla="*/ 2537460 w 2956560"/>
                  <a:gd name="connsiteY26" fmla="*/ 1150620 h 1234440"/>
                  <a:gd name="connsiteX27" fmla="*/ 2621280 w 2956560"/>
                  <a:gd name="connsiteY27" fmla="*/ 1127760 h 1234440"/>
                  <a:gd name="connsiteX28" fmla="*/ 2644140 w 2956560"/>
                  <a:gd name="connsiteY28" fmla="*/ 1112520 h 1234440"/>
                  <a:gd name="connsiteX29" fmla="*/ 2750820 w 2956560"/>
                  <a:gd name="connsiteY29" fmla="*/ 1082040 h 1234440"/>
                  <a:gd name="connsiteX30" fmla="*/ 2781300 w 2956560"/>
                  <a:gd name="connsiteY30" fmla="*/ 1066800 h 1234440"/>
                  <a:gd name="connsiteX31" fmla="*/ 2849880 w 2956560"/>
                  <a:gd name="connsiteY31" fmla="*/ 1051560 h 1234440"/>
                  <a:gd name="connsiteX32" fmla="*/ 2910840 w 2956560"/>
                  <a:gd name="connsiteY32" fmla="*/ 1021080 h 1234440"/>
                  <a:gd name="connsiteX33" fmla="*/ 2956560 w 2956560"/>
                  <a:gd name="connsiteY33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548640 w 2956560"/>
                  <a:gd name="connsiteY9" fmla="*/ 647700 h 1234440"/>
                  <a:gd name="connsiteX10" fmla="*/ 617220 w 2956560"/>
                  <a:gd name="connsiteY10" fmla="*/ 693420 h 1234440"/>
                  <a:gd name="connsiteX11" fmla="*/ 670560 w 2956560"/>
                  <a:gd name="connsiteY11" fmla="*/ 746760 h 1234440"/>
                  <a:gd name="connsiteX12" fmla="*/ 769620 w 2956560"/>
                  <a:gd name="connsiteY12" fmla="*/ 830580 h 1234440"/>
                  <a:gd name="connsiteX13" fmla="*/ 967740 w 2956560"/>
                  <a:gd name="connsiteY13" fmla="*/ 937260 h 1234440"/>
                  <a:gd name="connsiteX14" fmla="*/ 1021080 w 2956560"/>
                  <a:gd name="connsiteY14" fmla="*/ 967740 h 1234440"/>
                  <a:gd name="connsiteX15" fmla="*/ 1074420 w 2956560"/>
                  <a:gd name="connsiteY15" fmla="*/ 998220 h 1234440"/>
                  <a:gd name="connsiteX16" fmla="*/ 1158240 w 2956560"/>
                  <a:gd name="connsiteY16" fmla="*/ 1036320 h 1234440"/>
                  <a:gd name="connsiteX17" fmla="*/ 1219200 w 2956560"/>
                  <a:gd name="connsiteY17" fmla="*/ 1082040 h 1234440"/>
                  <a:gd name="connsiteX18" fmla="*/ 1600200 w 2956560"/>
                  <a:gd name="connsiteY18" fmla="*/ 1181100 h 1234440"/>
                  <a:gd name="connsiteX19" fmla="*/ 1769745 w 2956560"/>
                  <a:gd name="connsiteY19" fmla="*/ 1220153 h 1234440"/>
                  <a:gd name="connsiteX20" fmla="*/ 1988820 w 2956560"/>
                  <a:gd name="connsiteY20" fmla="*/ 1226820 h 1234440"/>
                  <a:gd name="connsiteX21" fmla="*/ 2065020 w 2956560"/>
                  <a:gd name="connsiteY21" fmla="*/ 1234440 h 1234440"/>
                  <a:gd name="connsiteX22" fmla="*/ 2423160 w 2956560"/>
                  <a:gd name="connsiteY22" fmla="*/ 1196340 h 1234440"/>
                  <a:gd name="connsiteX23" fmla="*/ 2461260 w 2956560"/>
                  <a:gd name="connsiteY23" fmla="*/ 1173480 h 1234440"/>
                  <a:gd name="connsiteX24" fmla="*/ 2506980 w 2956560"/>
                  <a:gd name="connsiteY24" fmla="*/ 1165860 h 1234440"/>
                  <a:gd name="connsiteX25" fmla="*/ 2537460 w 2956560"/>
                  <a:gd name="connsiteY25" fmla="*/ 1150620 h 1234440"/>
                  <a:gd name="connsiteX26" fmla="*/ 2621280 w 2956560"/>
                  <a:gd name="connsiteY26" fmla="*/ 1127760 h 1234440"/>
                  <a:gd name="connsiteX27" fmla="*/ 2644140 w 2956560"/>
                  <a:gd name="connsiteY27" fmla="*/ 1112520 h 1234440"/>
                  <a:gd name="connsiteX28" fmla="*/ 2750820 w 2956560"/>
                  <a:gd name="connsiteY28" fmla="*/ 1082040 h 1234440"/>
                  <a:gd name="connsiteX29" fmla="*/ 2781300 w 2956560"/>
                  <a:gd name="connsiteY29" fmla="*/ 1066800 h 1234440"/>
                  <a:gd name="connsiteX30" fmla="*/ 2849880 w 2956560"/>
                  <a:gd name="connsiteY30" fmla="*/ 1051560 h 1234440"/>
                  <a:gd name="connsiteX31" fmla="*/ 2910840 w 2956560"/>
                  <a:gd name="connsiteY31" fmla="*/ 1021080 h 1234440"/>
                  <a:gd name="connsiteX32" fmla="*/ 2956560 w 2956560"/>
                  <a:gd name="connsiteY32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461260 w 2956560"/>
                  <a:gd name="connsiteY22" fmla="*/ 1173480 h 1234440"/>
                  <a:gd name="connsiteX23" fmla="*/ 2506980 w 2956560"/>
                  <a:gd name="connsiteY23" fmla="*/ 1165860 h 1234440"/>
                  <a:gd name="connsiteX24" fmla="*/ 2537460 w 2956560"/>
                  <a:gd name="connsiteY24" fmla="*/ 1150620 h 1234440"/>
                  <a:gd name="connsiteX25" fmla="*/ 2621280 w 2956560"/>
                  <a:gd name="connsiteY25" fmla="*/ 1127760 h 1234440"/>
                  <a:gd name="connsiteX26" fmla="*/ 2644140 w 2956560"/>
                  <a:gd name="connsiteY26" fmla="*/ 1112520 h 1234440"/>
                  <a:gd name="connsiteX27" fmla="*/ 2750820 w 2956560"/>
                  <a:gd name="connsiteY27" fmla="*/ 1082040 h 1234440"/>
                  <a:gd name="connsiteX28" fmla="*/ 2781300 w 2956560"/>
                  <a:gd name="connsiteY28" fmla="*/ 1066800 h 1234440"/>
                  <a:gd name="connsiteX29" fmla="*/ 2849880 w 2956560"/>
                  <a:gd name="connsiteY29" fmla="*/ 1051560 h 1234440"/>
                  <a:gd name="connsiteX30" fmla="*/ 2910840 w 2956560"/>
                  <a:gd name="connsiteY30" fmla="*/ 1021080 h 1234440"/>
                  <a:gd name="connsiteX31" fmla="*/ 2956560 w 2956560"/>
                  <a:gd name="connsiteY31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461260 w 2956560"/>
                  <a:gd name="connsiteY22" fmla="*/ 1173480 h 1234440"/>
                  <a:gd name="connsiteX23" fmla="*/ 2506980 w 2956560"/>
                  <a:gd name="connsiteY23" fmla="*/ 1165860 h 1234440"/>
                  <a:gd name="connsiteX24" fmla="*/ 2537460 w 2956560"/>
                  <a:gd name="connsiteY24" fmla="*/ 1150620 h 1234440"/>
                  <a:gd name="connsiteX25" fmla="*/ 2621280 w 2956560"/>
                  <a:gd name="connsiteY25" fmla="*/ 1127760 h 1234440"/>
                  <a:gd name="connsiteX26" fmla="*/ 2644140 w 2956560"/>
                  <a:gd name="connsiteY26" fmla="*/ 1112520 h 1234440"/>
                  <a:gd name="connsiteX27" fmla="*/ 2781300 w 2956560"/>
                  <a:gd name="connsiteY27" fmla="*/ 1066800 h 1234440"/>
                  <a:gd name="connsiteX28" fmla="*/ 2849880 w 2956560"/>
                  <a:gd name="connsiteY28" fmla="*/ 1051560 h 1234440"/>
                  <a:gd name="connsiteX29" fmla="*/ 2910840 w 2956560"/>
                  <a:gd name="connsiteY29" fmla="*/ 1021080 h 1234440"/>
                  <a:gd name="connsiteX30" fmla="*/ 2956560 w 2956560"/>
                  <a:gd name="connsiteY30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461260 w 2956560"/>
                  <a:gd name="connsiteY22" fmla="*/ 1173480 h 1234440"/>
                  <a:gd name="connsiteX23" fmla="*/ 2506980 w 2956560"/>
                  <a:gd name="connsiteY23" fmla="*/ 1165860 h 1234440"/>
                  <a:gd name="connsiteX24" fmla="*/ 2621280 w 2956560"/>
                  <a:gd name="connsiteY24" fmla="*/ 1127760 h 1234440"/>
                  <a:gd name="connsiteX25" fmla="*/ 2644140 w 2956560"/>
                  <a:gd name="connsiteY25" fmla="*/ 1112520 h 1234440"/>
                  <a:gd name="connsiteX26" fmla="*/ 2781300 w 2956560"/>
                  <a:gd name="connsiteY26" fmla="*/ 1066800 h 1234440"/>
                  <a:gd name="connsiteX27" fmla="*/ 2849880 w 2956560"/>
                  <a:gd name="connsiteY27" fmla="*/ 1051560 h 1234440"/>
                  <a:gd name="connsiteX28" fmla="*/ 2910840 w 2956560"/>
                  <a:gd name="connsiteY28" fmla="*/ 1021080 h 1234440"/>
                  <a:gd name="connsiteX29" fmla="*/ 2956560 w 2956560"/>
                  <a:gd name="connsiteY29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506980 w 2956560"/>
                  <a:gd name="connsiteY22" fmla="*/ 1165860 h 1234440"/>
                  <a:gd name="connsiteX23" fmla="*/ 2621280 w 2956560"/>
                  <a:gd name="connsiteY23" fmla="*/ 1127760 h 1234440"/>
                  <a:gd name="connsiteX24" fmla="*/ 2644140 w 2956560"/>
                  <a:gd name="connsiteY24" fmla="*/ 1112520 h 1234440"/>
                  <a:gd name="connsiteX25" fmla="*/ 2781300 w 2956560"/>
                  <a:gd name="connsiteY25" fmla="*/ 1066800 h 1234440"/>
                  <a:gd name="connsiteX26" fmla="*/ 2849880 w 2956560"/>
                  <a:gd name="connsiteY26" fmla="*/ 1051560 h 1234440"/>
                  <a:gd name="connsiteX27" fmla="*/ 2910840 w 2956560"/>
                  <a:gd name="connsiteY27" fmla="*/ 1021080 h 1234440"/>
                  <a:gd name="connsiteX28" fmla="*/ 2956560 w 2956560"/>
                  <a:gd name="connsiteY28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21080 w 2956560"/>
                  <a:gd name="connsiteY13" fmla="*/ 967740 h 1234440"/>
                  <a:gd name="connsiteX14" fmla="*/ 1074420 w 2956560"/>
                  <a:gd name="connsiteY14" fmla="*/ 998220 h 1234440"/>
                  <a:gd name="connsiteX15" fmla="*/ 1158240 w 2956560"/>
                  <a:gd name="connsiteY15" fmla="*/ 1036320 h 1234440"/>
                  <a:gd name="connsiteX16" fmla="*/ 1219200 w 2956560"/>
                  <a:gd name="connsiteY16" fmla="*/ 1082040 h 1234440"/>
                  <a:gd name="connsiteX17" fmla="*/ 1600200 w 2956560"/>
                  <a:gd name="connsiteY17" fmla="*/ 1181100 h 1234440"/>
                  <a:gd name="connsiteX18" fmla="*/ 1769745 w 2956560"/>
                  <a:gd name="connsiteY18" fmla="*/ 1220153 h 1234440"/>
                  <a:gd name="connsiteX19" fmla="*/ 1988820 w 2956560"/>
                  <a:gd name="connsiteY19" fmla="*/ 1226820 h 1234440"/>
                  <a:gd name="connsiteX20" fmla="*/ 2065020 w 2956560"/>
                  <a:gd name="connsiteY20" fmla="*/ 1234440 h 1234440"/>
                  <a:gd name="connsiteX21" fmla="*/ 2423160 w 2956560"/>
                  <a:gd name="connsiteY21" fmla="*/ 1196340 h 1234440"/>
                  <a:gd name="connsiteX22" fmla="*/ 2506980 w 2956560"/>
                  <a:gd name="connsiteY22" fmla="*/ 1165860 h 1234440"/>
                  <a:gd name="connsiteX23" fmla="*/ 2621280 w 2956560"/>
                  <a:gd name="connsiteY23" fmla="*/ 1127760 h 1234440"/>
                  <a:gd name="connsiteX24" fmla="*/ 2781300 w 2956560"/>
                  <a:gd name="connsiteY24" fmla="*/ 1066800 h 1234440"/>
                  <a:gd name="connsiteX25" fmla="*/ 2849880 w 2956560"/>
                  <a:gd name="connsiteY25" fmla="*/ 1051560 h 1234440"/>
                  <a:gd name="connsiteX26" fmla="*/ 2910840 w 2956560"/>
                  <a:gd name="connsiteY26" fmla="*/ 1021080 h 1234440"/>
                  <a:gd name="connsiteX27" fmla="*/ 2956560 w 2956560"/>
                  <a:gd name="connsiteY27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219200 w 2956560"/>
                  <a:gd name="connsiteY15" fmla="*/ 1082040 h 1234440"/>
                  <a:gd name="connsiteX16" fmla="*/ 1600200 w 2956560"/>
                  <a:gd name="connsiteY16" fmla="*/ 1181100 h 1234440"/>
                  <a:gd name="connsiteX17" fmla="*/ 1769745 w 2956560"/>
                  <a:gd name="connsiteY17" fmla="*/ 1220153 h 1234440"/>
                  <a:gd name="connsiteX18" fmla="*/ 1988820 w 2956560"/>
                  <a:gd name="connsiteY18" fmla="*/ 1226820 h 1234440"/>
                  <a:gd name="connsiteX19" fmla="*/ 2065020 w 2956560"/>
                  <a:gd name="connsiteY19" fmla="*/ 1234440 h 1234440"/>
                  <a:gd name="connsiteX20" fmla="*/ 2423160 w 2956560"/>
                  <a:gd name="connsiteY20" fmla="*/ 1196340 h 1234440"/>
                  <a:gd name="connsiteX21" fmla="*/ 2506980 w 2956560"/>
                  <a:gd name="connsiteY21" fmla="*/ 1165860 h 1234440"/>
                  <a:gd name="connsiteX22" fmla="*/ 2621280 w 2956560"/>
                  <a:gd name="connsiteY22" fmla="*/ 1127760 h 1234440"/>
                  <a:gd name="connsiteX23" fmla="*/ 2781300 w 2956560"/>
                  <a:gd name="connsiteY23" fmla="*/ 1066800 h 1234440"/>
                  <a:gd name="connsiteX24" fmla="*/ 2849880 w 2956560"/>
                  <a:gd name="connsiteY24" fmla="*/ 1051560 h 1234440"/>
                  <a:gd name="connsiteX25" fmla="*/ 2910840 w 2956560"/>
                  <a:gd name="connsiteY25" fmla="*/ 1021080 h 1234440"/>
                  <a:gd name="connsiteX26" fmla="*/ 2956560 w 2956560"/>
                  <a:gd name="connsiteY26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600200 w 2956560"/>
                  <a:gd name="connsiteY15" fmla="*/ 1181100 h 1234440"/>
                  <a:gd name="connsiteX16" fmla="*/ 1769745 w 2956560"/>
                  <a:gd name="connsiteY16" fmla="*/ 1220153 h 1234440"/>
                  <a:gd name="connsiteX17" fmla="*/ 1988820 w 2956560"/>
                  <a:gd name="connsiteY17" fmla="*/ 1226820 h 1234440"/>
                  <a:gd name="connsiteX18" fmla="*/ 2065020 w 2956560"/>
                  <a:gd name="connsiteY18" fmla="*/ 1234440 h 1234440"/>
                  <a:gd name="connsiteX19" fmla="*/ 2423160 w 2956560"/>
                  <a:gd name="connsiteY19" fmla="*/ 1196340 h 1234440"/>
                  <a:gd name="connsiteX20" fmla="*/ 2506980 w 2956560"/>
                  <a:gd name="connsiteY20" fmla="*/ 1165860 h 1234440"/>
                  <a:gd name="connsiteX21" fmla="*/ 2621280 w 2956560"/>
                  <a:gd name="connsiteY21" fmla="*/ 1127760 h 1234440"/>
                  <a:gd name="connsiteX22" fmla="*/ 2781300 w 2956560"/>
                  <a:gd name="connsiteY22" fmla="*/ 1066800 h 1234440"/>
                  <a:gd name="connsiteX23" fmla="*/ 2849880 w 2956560"/>
                  <a:gd name="connsiteY23" fmla="*/ 1051560 h 1234440"/>
                  <a:gd name="connsiteX24" fmla="*/ 2910840 w 2956560"/>
                  <a:gd name="connsiteY24" fmla="*/ 1021080 h 1234440"/>
                  <a:gd name="connsiteX25" fmla="*/ 2956560 w 2956560"/>
                  <a:gd name="connsiteY25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447800 w 2956560"/>
                  <a:gd name="connsiteY15" fmla="*/ 1152525 h 1234440"/>
                  <a:gd name="connsiteX16" fmla="*/ 1769745 w 2956560"/>
                  <a:gd name="connsiteY16" fmla="*/ 1220153 h 1234440"/>
                  <a:gd name="connsiteX17" fmla="*/ 1988820 w 2956560"/>
                  <a:gd name="connsiteY17" fmla="*/ 1226820 h 1234440"/>
                  <a:gd name="connsiteX18" fmla="*/ 2065020 w 2956560"/>
                  <a:gd name="connsiteY18" fmla="*/ 1234440 h 1234440"/>
                  <a:gd name="connsiteX19" fmla="*/ 2423160 w 2956560"/>
                  <a:gd name="connsiteY19" fmla="*/ 1196340 h 1234440"/>
                  <a:gd name="connsiteX20" fmla="*/ 2506980 w 2956560"/>
                  <a:gd name="connsiteY20" fmla="*/ 1165860 h 1234440"/>
                  <a:gd name="connsiteX21" fmla="*/ 2621280 w 2956560"/>
                  <a:gd name="connsiteY21" fmla="*/ 1127760 h 1234440"/>
                  <a:gd name="connsiteX22" fmla="*/ 2781300 w 2956560"/>
                  <a:gd name="connsiteY22" fmla="*/ 1066800 h 1234440"/>
                  <a:gd name="connsiteX23" fmla="*/ 2849880 w 2956560"/>
                  <a:gd name="connsiteY23" fmla="*/ 1051560 h 1234440"/>
                  <a:gd name="connsiteX24" fmla="*/ 2910840 w 2956560"/>
                  <a:gd name="connsiteY24" fmla="*/ 1021080 h 1234440"/>
                  <a:gd name="connsiteX25" fmla="*/ 2956560 w 2956560"/>
                  <a:gd name="connsiteY25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447800 w 2956560"/>
                  <a:gd name="connsiteY15" fmla="*/ 1152525 h 1234440"/>
                  <a:gd name="connsiteX16" fmla="*/ 1760220 w 2956560"/>
                  <a:gd name="connsiteY16" fmla="*/ 1201103 h 1234440"/>
                  <a:gd name="connsiteX17" fmla="*/ 1988820 w 2956560"/>
                  <a:gd name="connsiteY17" fmla="*/ 1226820 h 1234440"/>
                  <a:gd name="connsiteX18" fmla="*/ 2065020 w 2956560"/>
                  <a:gd name="connsiteY18" fmla="*/ 1234440 h 1234440"/>
                  <a:gd name="connsiteX19" fmla="*/ 2423160 w 2956560"/>
                  <a:gd name="connsiteY19" fmla="*/ 1196340 h 1234440"/>
                  <a:gd name="connsiteX20" fmla="*/ 2506980 w 2956560"/>
                  <a:gd name="connsiteY20" fmla="*/ 1165860 h 1234440"/>
                  <a:gd name="connsiteX21" fmla="*/ 2621280 w 2956560"/>
                  <a:gd name="connsiteY21" fmla="*/ 1127760 h 1234440"/>
                  <a:gd name="connsiteX22" fmla="*/ 2781300 w 2956560"/>
                  <a:gd name="connsiteY22" fmla="*/ 1066800 h 1234440"/>
                  <a:gd name="connsiteX23" fmla="*/ 2849880 w 2956560"/>
                  <a:gd name="connsiteY23" fmla="*/ 1051560 h 1234440"/>
                  <a:gd name="connsiteX24" fmla="*/ 2910840 w 2956560"/>
                  <a:gd name="connsiteY24" fmla="*/ 1021080 h 1234440"/>
                  <a:gd name="connsiteX25" fmla="*/ 2956560 w 2956560"/>
                  <a:gd name="connsiteY25" fmla="*/ 998220 h 1234440"/>
                  <a:gd name="connsiteX0" fmla="*/ 0 w 2956560"/>
                  <a:gd name="connsiteY0" fmla="*/ 0 h 1234440"/>
                  <a:gd name="connsiteX1" fmla="*/ 45720 w 2956560"/>
                  <a:gd name="connsiteY1" fmla="*/ 76200 h 1234440"/>
                  <a:gd name="connsiteX2" fmla="*/ 121920 w 2956560"/>
                  <a:gd name="connsiteY2" fmla="*/ 198120 h 1234440"/>
                  <a:gd name="connsiteX3" fmla="*/ 198120 w 2956560"/>
                  <a:gd name="connsiteY3" fmla="*/ 289560 h 1234440"/>
                  <a:gd name="connsiteX4" fmla="*/ 251460 w 2956560"/>
                  <a:gd name="connsiteY4" fmla="*/ 358140 h 1234440"/>
                  <a:gd name="connsiteX5" fmla="*/ 312420 w 2956560"/>
                  <a:gd name="connsiteY5" fmla="*/ 419100 h 1234440"/>
                  <a:gd name="connsiteX6" fmla="*/ 396240 w 2956560"/>
                  <a:gd name="connsiteY6" fmla="*/ 510540 h 1234440"/>
                  <a:gd name="connsiteX7" fmla="*/ 464820 w 2956560"/>
                  <a:gd name="connsiteY7" fmla="*/ 579120 h 1234440"/>
                  <a:gd name="connsiteX8" fmla="*/ 533400 w 2956560"/>
                  <a:gd name="connsiteY8" fmla="*/ 624840 h 1234440"/>
                  <a:gd name="connsiteX9" fmla="*/ 617220 w 2956560"/>
                  <a:gd name="connsiteY9" fmla="*/ 693420 h 1234440"/>
                  <a:gd name="connsiteX10" fmla="*/ 670560 w 2956560"/>
                  <a:gd name="connsiteY10" fmla="*/ 746760 h 1234440"/>
                  <a:gd name="connsiteX11" fmla="*/ 769620 w 2956560"/>
                  <a:gd name="connsiteY11" fmla="*/ 830580 h 1234440"/>
                  <a:gd name="connsiteX12" fmla="*/ 967740 w 2956560"/>
                  <a:gd name="connsiteY12" fmla="*/ 937260 h 1234440"/>
                  <a:gd name="connsiteX13" fmla="*/ 1074420 w 2956560"/>
                  <a:gd name="connsiteY13" fmla="*/ 998220 h 1234440"/>
                  <a:gd name="connsiteX14" fmla="*/ 1158240 w 2956560"/>
                  <a:gd name="connsiteY14" fmla="*/ 1036320 h 1234440"/>
                  <a:gd name="connsiteX15" fmla="*/ 1447800 w 2956560"/>
                  <a:gd name="connsiteY15" fmla="*/ 1152525 h 1234440"/>
                  <a:gd name="connsiteX16" fmla="*/ 1760220 w 2956560"/>
                  <a:gd name="connsiteY16" fmla="*/ 1201103 h 1234440"/>
                  <a:gd name="connsiteX17" fmla="*/ 1988820 w 2956560"/>
                  <a:gd name="connsiteY17" fmla="*/ 1226820 h 1234440"/>
                  <a:gd name="connsiteX18" fmla="*/ 2098358 w 2956560"/>
                  <a:gd name="connsiteY18" fmla="*/ 1234440 h 1234440"/>
                  <a:gd name="connsiteX19" fmla="*/ 2423160 w 2956560"/>
                  <a:gd name="connsiteY19" fmla="*/ 1196340 h 1234440"/>
                  <a:gd name="connsiteX20" fmla="*/ 2506980 w 2956560"/>
                  <a:gd name="connsiteY20" fmla="*/ 1165860 h 1234440"/>
                  <a:gd name="connsiteX21" fmla="*/ 2621280 w 2956560"/>
                  <a:gd name="connsiteY21" fmla="*/ 1127760 h 1234440"/>
                  <a:gd name="connsiteX22" fmla="*/ 2781300 w 2956560"/>
                  <a:gd name="connsiteY22" fmla="*/ 1066800 h 1234440"/>
                  <a:gd name="connsiteX23" fmla="*/ 2849880 w 2956560"/>
                  <a:gd name="connsiteY23" fmla="*/ 1051560 h 1234440"/>
                  <a:gd name="connsiteX24" fmla="*/ 2910840 w 2956560"/>
                  <a:gd name="connsiteY24" fmla="*/ 1021080 h 1234440"/>
                  <a:gd name="connsiteX25" fmla="*/ 2956560 w 2956560"/>
                  <a:gd name="connsiteY25" fmla="*/ 998220 h 1234440"/>
                  <a:gd name="connsiteX0" fmla="*/ 0 w 2910840"/>
                  <a:gd name="connsiteY0" fmla="*/ 0 h 1234440"/>
                  <a:gd name="connsiteX1" fmla="*/ 45720 w 2910840"/>
                  <a:gd name="connsiteY1" fmla="*/ 76200 h 1234440"/>
                  <a:gd name="connsiteX2" fmla="*/ 121920 w 2910840"/>
                  <a:gd name="connsiteY2" fmla="*/ 198120 h 1234440"/>
                  <a:gd name="connsiteX3" fmla="*/ 198120 w 2910840"/>
                  <a:gd name="connsiteY3" fmla="*/ 289560 h 1234440"/>
                  <a:gd name="connsiteX4" fmla="*/ 251460 w 2910840"/>
                  <a:gd name="connsiteY4" fmla="*/ 358140 h 1234440"/>
                  <a:gd name="connsiteX5" fmla="*/ 312420 w 2910840"/>
                  <a:gd name="connsiteY5" fmla="*/ 419100 h 1234440"/>
                  <a:gd name="connsiteX6" fmla="*/ 396240 w 2910840"/>
                  <a:gd name="connsiteY6" fmla="*/ 510540 h 1234440"/>
                  <a:gd name="connsiteX7" fmla="*/ 464820 w 2910840"/>
                  <a:gd name="connsiteY7" fmla="*/ 579120 h 1234440"/>
                  <a:gd name="connsiteX8" fmla="*/ 533400 w 2910840"/>
                  <a:gd name="connsiteY8" fmla="*/ 624840 h 1234440"/>
                  <a:gd name="connsiteX9" fmla="*/ 617220 w 2910840"/>
                  <a:gd name="connsiteY9" fmla="*/ 693420 h 1234440"/>
                  <a:gd name="connsiteX10" fmla="*/ 670560 w 2910840"/>
                  <a:gd name="connsiteY10" fmla="*/ 746760 h 1234440"/>
                  <a:gd name="connsiteX11" fmla="*/ 769620 w 2910840"/>
                  <a:gd name="connsiteY11" fmla="*/ 830580 h 1234440"/>
                  <a:gd name="connsiteX12" fmla="*/ 967740 w 2910840"/>
                  <a:gd name="connsiteY12" fmla="*/ 937260 h 1234440"/>
                  <a:gd name="connsiteX13" fmla="*/ 1074420 w 2910840"/>
                  <a:gd name="connsiteY13" fmla="*/ 998220 h 1234440"/>
                  <a:gd name="connsiteX14" fmla="*/ 1158240 w 2910840"/>
                  <a:gd name="connsiteY14" fmla="*/ 1036320 h 1234440"/>
                  <a:gd name="connsiteX15" fmla="*/ 1447800 w 2910840"/>
                  <a:gd name="connsiteY15" fmla="*/ 1152525 h 1234440"/>
                  <a:gd name="connsiteX16" fmla="*/ 1760220 w 2910840"/>
                  <a:gd name="connsiteY16" fmla="*/ 1201103 h 1234440"/>
                  <a:gd name="connsiteX17" fmla="*/ 1988820 w 2910840"/>
                  <a:gd name="connsiteY17" fmla="*/ 1226820 h 1234440"/>
                  <a:gd name="connsiteX18" fmla="*/ 2098358 w 2910840"/>
                  <a:gd name="connsiteY18" fmla="*/ 1234440 h 1234440"/>
                  <a:gd name="connsiteX19" fmla="*/ 2423160 w 2910840"/>
                  <a:gd name="connsiteY19" fmla="*/ 1196340 h 1234440"/>
                  <a:gd name="connsiteX20" fmla="*/ 2506980 w 2910840"/>
                  <a:gd name="connsiteY20" fmla="*/ 1165860 h 1234440"/>
                  <a:gd name="connsiteX21" fmla="*/ 2621280 w 2910840"/>
                  <a:gd name="connsiteY21" fmla="*/ 1127760 h 1234440"/>
                  <a:gd name="connsiteX22" fmla="*/ 2781300 w 2910840"/>
                  <a:gd name="connsiteY22" fmla="*/ 1066800 h 1234440"/>
                  <a:gd name="connsiteX23" fmla="*/ 2849880 w 2910840"/>
                  <a:gd name="connsiteY23" fmla="*/ 1051560 h 1234440"/>
                  <a:gd name="connsiteX24" fmla="*/ 2910840 w 2910840"/>
                  <a:gd name="connsiteY24" fmla="*/ 1021080 h 1234440"/>
                  <a:gd name="connsiteX0" fmla="*/ 0 w 2944177"/>
                  <a:gd name="connsiteY0" fmla="*/ 0 h 1234440"/>
                  <a:gd name="connsiteX1" fmla="*/ 45720 w 2944177"/>
                  <a:gd name="connsiteY1" fmla="*/ 76200 h 1234440"/>
                  <a:gd name="connsiteX2" fmla="*/ 121920 w 2944177"/>
                  <a:gd name="connsiteY2" fmla="*/ 198120 h 1234440"/>
                  <a:gd name="connsiteX3" fmla="*/ 198120 w 2944177"/>
                  <a:gd name="connsiteY3" fmla="*/ 289560 h 1234440"/>
                  <a:gd name="connsiteX4" fmla="*/ 251460 w 2944177"/>
                  <a:gd name="connsiteY4" fmla="*/ 358140 h 1234440"/>
                  <a:gd name="connsiteX5" fmla="*/ 312420 w 2944177"/>
                  <a:gd name="connsiteY5" fmla="*/ 419100 h 1234440"/>
                  <a:gd name="connsiteX6" fmla="*/ 396240 w 2944177"/>
                  <a:gd name="connsiteY6" fmla="*/ 510540 h 1234440"/>
                  <a:gd name="connsiteX7" fmla="*/ 464820 w 2944177"/>
                  <a:gd name="connsiteY7" fmla="*/ 579120 h 1234440"/>
                  <a:gd name="connsiteX8" fmla="*/ 533400 w 2944177"/>
                  <a:gd name="connsiteY8" fmla="*/ 624840 h 1234440"/>
                  <a:gd name="connsiteX9" fmla="*/ 617220 w 2944177"/>
                  <a:gd name="connsiteY9" fmla="*/ 693420 h 1234440"/>
                  <a:gd name="connsiteX10" fmla="*/ 670560 w 2944177"/>
                  <a:gd name="connsiteY10" fmla="*/ 746760 h 1234440"/>
                  <a:gd name="connsiteX11" fmla="*/ 769620 w 2944177"/>
                  <a:gd name="connsiteY11" fmla="*/ 830580 h 1234440"/>
                  <a:gd name="connsiteX12" fmla="*/ 967740 w 2944177"/>
                  <a:gd name="connsiteY12" fmla="*/ 937260 h 1234440"/>
                  <a:gd name="connsiteX13" fmla="*/ 1074420 w 2944177"/>
                  <a:gd name="connsiteY13" fmla="*/ 998220 h 1234440"/>
                  <a:gd name="connsiteX14" fmla="*/ 1158240 w 2944177"/>
                  <a:gd name="connsiteY14" fmla="*/ 1036320 h 1234440"/>
                  <a:gd name="connsiteX15" fmla="*/ 1447800 w 2944177"/>
                  <a:gd name="connsiteY15" fmla="*/ 1152525 h 1234440"/>
                  <a:gd name="connsiteX16" fmla="*/ 1760220 w 2944177"/>
                  <a:gd name="connsiteY16" fmla="*/ 1201103 h 1234440"/>
                  <a:gd name="connsiteX17" fmla="*/ 1988820 w 2944177"/>
                  <a:gd name="connsiteY17" fmla="*/ 1226820 h 1234440"/>
                  <a:gd name="connsiteX18" fmla="*/ 2098358 w 2944177"/>
                  <a:gd name="connsiteY18" fmla="*/ 1234440 h 1234440"/>
                  <a:gd name="connsiteX19" fmla="*/ 2423160 w 2944177"/>
                  <a:gd name="connsiteY19" fmla="*/ 1196340 h 1234440"/>
                  <a:gd name="connsiteX20" fmla="*/ 2506980 w 2944177"/>
                  <a:gd name="connsiteY20" fmla="*/ 1165860 h 1234440"/>
                  <a:gd name="connsiteX21" fmla="*/ 2621280 w 2944177"/>
                  <a:gd name="connsiteY21" fmla="*/ 1127760 h 1234440"/>
                  <a:gd name="connsiteX22" fmla="*/ 2781300 w 2944177"/>
                  <a:gd name="connsiteY22" fmla="*/ 1066800 h 1234440"/>
                  <a:gd name="connsiteX23" fmla="*/ 2849880 w 2944177"/>
                  <a:gd name="connsiteY23" fmla="*/ 1051560 h 1234440"/>
                  <a:gd name="connsiteX24" fmla="*/ 2944177 w 2944177"/>
                  <a:gd name="connsiteY24" fmla="*/ 992505 h 1234440"/>
                  <a:gd name="connsiteX0" fmla="*/ 0 w 2944177"/>
                  <a:gd name="connsiteY0" fmla="*/ 0 h 1234440"/>
                  <a:gd name="connsiteX1" fmla="*/ 45720 w 2944177"/>
                  <a:gd name="connsiteY1" fmla="*/ 76200 h 1234440"/>
                  <a:gd name="connsiteX2" fmla="*/ 121920 w 2944177"/>
                  <a:gd name="connsiteY2" fmla="*/ 198120 h 1234440"/>
                  <a:gd name="connsiteX3" fmla="*/ 198120 w 2944177"/>
                  <a:gd name="connsiteY3" fmla="*/ 289560 h 1234440"/>
                  <a:gd name="connsiteX4" fmla="*/ 251460 w 2944177"/>
                  <a:gd name="connsiteY4" fmla="*/ 358140 h 1234440"/>
                  <a:gd name="connsiteX5" fmla="*/ 312420 w 2944177"/>
                  <a:gd name="connsiteY5" fmla="*/ 419100 h 1234440"/>
                  <a:gd name="connsiteX6" fmla="*/ 396240 w 2944177"/>
                  <a:gd name="connsiteY6" fmla="*/ 510540 h 1234440"/>
                  <a:gd name="connsiteX7" fmla="*/ 464820 w 2944177"/>
                  <a:gd name="connsiteY7" fmla="*/ 579120 h 1234440"/>
                  <a:gd name="connsiteX8" fmla="*/ 533400 w 2944177"/>
                  <a:gd name="connsiteY8" fmla="*/ 624840 h 1234440"/>
                  <a:gd name="connsiteX9" fmla="*/ 617220 w 2944177"/>
                  <a:gd name="connsiteY9" fmla="*/ 693420 h 1234440"/>
                  <a:gd name="connsiteX10" fmla="*/ 670560 w 2944177"/>
                  <a:gd name="connsiteY10" fmla="*/ 746760 h 1234440"/>
                  <a:gd name="connsiteX11" fmla="*/ 769620 w 2944177"/>
                  <a:gd name="connsiteY11" fmla="*/ 830580 h 1234440"/>
                  <a:gd name="connsiteX12" fmla="*/ 967740 w 2944177"/>
                  <a:gd name="connsiteY12" fmla="*/ 937260 h 1234440"/>
                  <a:gd name="connsiteX13" fmla="*/ 1074420 w 2944177"/>
                  <a:gd name="connsiteY13" fmla="*/ 998220 h 1234440"/>
                  <a:gd name="connsiteX14" fmla="*/ 1158240 w 2944177"/>
                  <a:gd name="connsiteY14" fmla="*/ 1036320 h 1234440"/>
                  <a:gd name="connsiteX15" fmla="*/ 1447800 w 2944177"/>
                  <a:gd name="connsiteY15" fmla="*/ 1152525 h 1234440"/>
                  <a:gd name="connsiteX16" fmla="*/ 1760220 w 2944177"/>
                  <a:gd name="connsiteY16" fmla="*/ 1201103 h 1234440"/>
                  <a:gd name="connsiteX17" fmla="*/ 1988820 w 2944177"/>
                  <a:gd name="connsiteY17" fmla="*/ 1226820 h 1234440"/>
                  <a:gd name="connsiteX18" fmla="*/ 2098358 w 2944177"/>
                  <a:gd name="connsiteY18" fmla="*/ 1234440 h 1234440"/>
                  <a:gd name="connsiteX19" fmla="*/ 2423160 w 2944177"/>
                  <a:gd name="connsiteY19" fmla="*/ 1196340 h 1234440"/>
                  <a:gd name="connsiteX20" fmla="*/ 2506980 w 2944177"/>
                  <a:gd name="connsiteY20" fmla="*/ 1165860 h 1234440"/>
                  <a:gd name="connsiteX21" fmla="*/ 2621280 w 2944177"/>
                  <a:gd name="connsiteY21" fmla="*/ 1127760 h 1234440"/>
                  <a:gd name="connsiteX22" fmla="*/ 2781300 w 2944177"/>
                  <a:gd name="connsiteY22" fmla="*/ 1066800 h 1234440"/>
                  <a:gd name="connsiteX23" fmla="*/ 2944177 w 2944177"/>
                  <a:gd name="connsiteY23" fmla="*/ 992505 h 12344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944177" h="1234440">
                    <a:moveTo>
                      <a:pt x="0" y="0"/>
                    </a:moveTo>
                    <a:cubicBezTo>
                      <a:pt x="67942" y="84928"/>
                      <a:pt x="25400" y="43180"/>
                      <a:pt x="45720" y="76200"/>
                    </a:cubicBezTo>
                    <a:cubicBezTo>
                      <a:pt x="66040" y="109220"/>
                      <a:pt x="96520" y="162560"/>
                      <a:pt x="121920" y="198120"/>
                    </a:cubicBezTo>
                    <a:cubicBezTo>
                      <a:pt x="147320" y="233680"/>
                      <a:pt x="176530" y="262890"/>
                      <a:pt x="198120" y="289560"/>
                    </a:cubicBezTo>
                    <a:cubicBezTo>
                      <a:pt x="219710" y="316230"/>
                      <a:pt x="232410" y="336550"/>
                      <a:pt x="251460" y="358140"/>
                    </a:cubicBezTo>
                    <a:cubicBezTo>
                      <a:pt x="270510" y="379730"/>
                      <a:pt x="288290" y="393700"/>
                      <a:pt x="312420" y="419100"/>
                    </a:cubicBezTo>
                    <a:cubicBezTo>
                      <a:pt x="336550" y="444500"/>
                      <a:pt x="370840" y="483870"/>
                      <a:pt x="396240" y="510540"/>
                    </a:cubicBezTo>
                    <a:cubicBezTo>
                      <a:pt x="421640" y="537210"/>
                      <a:pt x="441960" y="560070"/>
                      <a:pt x="464820" y="579120"/>
                    </a:cubicBezTo>
                    <a:cubicBezTo>
                      <a:pt x="487680" y="598170"/>
                      <a:pt x="508000" y="605790"/>
                      <a:pt x="533400" y="624840"/>
                    </a:cubicBezTo>
                    <a:cubicBezTo>
                      <a:pt x="558800" y="643890"/>
                      <a:pt x="594360" y="673100"/>
                      <a:pt x="617220" y="693420"/>
                    </a:cubicBezTo>
                    <a:cubicBezTo>
                      <a:pt x="640080" y="713740"/>
                      <a:pt x="645160" y="723900"/>
                      <a:pt x="670560" y="746760"/>
                    </a:cubicBezTo>
                    <a:cubicBezTo>
                      <a:pt x="695960" y="769620"/>
                      <a:pt x="720090" y="798830"/>
                      <a:pt x="769620" y="830580"/>
                    </a:cubicBezTo>
                    <a:cubicBezTo>
                      <a:pt x="819150" y="862330"/>
                      <a:pt x="916940" y="909320"/>
                      <a:pt x="967740" y="937260"/>
                    </a:cubicBezTo>
                    <a:cubicBezTo>
                      <a:pt x="1018540" y="965200"/>
                      <a:pt x="1042670" y="981710"/>
                      <a:pt x="1074420" y="998220"/>
                    </a:cubicBezTo>
                    <a:cubicBezTo>
                      <a:pt x="1106170" y="1014730"/>
                      <a:pt x="1096010" y="1010603"/>
                      <a:pt x="1158240" y="1036320"/>
                    </a:cubicBezTo>
                    <a:cubicBezTo>
                      <a:pt x="1220470" y="1062038"/>
                      <a:pt x="1345883" y="1121886"/>
                      <a:pt x="1447800" y="1152525"/>
                    </a:cubicBezTo>
                    <a:cubicBezTo>
                      <a:pt x="1549717" y="1183164"/>
                      <a:pt x="1670050" y="1188721"/>
                      <a:pt x="1760220" y="1201103"/>
                    </a:cubicBezTo>
                    <a:cubicBezTo>
                      <a:pt x="1850390" y="1213485"/>
                      <a:pt x="1932464" y="1221264"/>
                      <a:pt x="1988820" y="1226820"/>
                    </a:cubicBezTo>
                    <a:cubicBezTo>
                      <a:pt x="2045176" y="1232376"/>
                      <a:pt x="2061845" y="1231900"/>
                      <a:pt x="2098358" y="1234440"/>
                    </a:cubicBezTo>
                    <a:cubicBezTo>
                      <a:pt x="2217738" y="1221740"/>
                      <a:pt x="2355056" y="1207770"/>
                      <a:pt x="2423160" y="1196340"/>
                    </a:cubicBezTo>
                    <a:cubicBezTo>
                      <a:pt x="2491264" y="1184910"/>
                      <a:pt x="2473960" y="1177290"/>
                      <a:pt x="2506980" y="1165860"/>
                    </a:cubicBezTo>
                    <a:cubicBezTo>
                      <a:pt x="2540000" y="1154430"/>
                      <a:pt x="2575560" y="1144270"/>
                      <a:pt x="2621280" y="1127760"/>
                    </a:cubicBezTo>
                    <a:cubicBezTo>
                      <a:pt x="2667000" y="1111250"/>
                      <a:pt x="2727484" y="1089343"/>
                      <a:pt x="2781300" y="1066800"/>
                    </a:cubicBezTo>
                    <a:cubicBezTo>
                      <a:pt x="2835116" y="1044258"/>
                      <a:pt x="2910244" y="1007983"/>
                      <a:pt x="2944177" y="992505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1FE560E6-3758-4AEE-108D-DEF3D0FE9600}"/>
                  </a:ext>
                </a:extLst>
              </p:cNvPr>
              <p:cNvSpPr/>
              <p:nvPr/>
            </p:nvSpPr>
            <p:spPr>
              <a:xfrm>
                <a:off x="5813581" y="1990894"/>
                <a:ext cx="389411" cy="442575"/>
              </a:xfrm>
              <a:custGeom>
                <a:avLst/>
                <a:gdLst>
                  <a:gd name="connsiteX0" fmla="*/ 167640 w 358317"/>
                  <a:gd name="connsiteY0" fmla="*/ 2549 h 452129"/>
                  <a:gd name="connsiteX1" fmla="*/ 121920 w 358317"/>
                  <a:gd name="connsiteY1" fmla="*/ 78749 h 452129"/>
                  <a:gd name="connsiteX2" fmla="*/ 68580 w 358317"/>
                  <a:gd name="connsiteY2" fmla="*/ 124469 h 452129"/>
                  <a:gd name="connsiteX3" fmla="*/ 30480 w 358317"/>
                  <a:gd name="connsiteY3" fmla="*/ 185429 h 452129"/>
                  <a:gd name="connsiteX4" fmla="*/ 15240 w 358317"/>
                  <a:gd name="connsiteY4" fmla="*/ 208289 h 452129"/>
                  <a:gd name="connsiteX5" fmla="*/ 0 w 358317"/>
                  <a:gd name="connsiteY5" fmla="*/ 269249 h 452129"/>
                  <a:gd name="connsiteX6" fmla="*/ 15240 w 358317"/>
                  <a:gd name="connsiteY6" fmla="*/ 368309 h 452129"/>
                  <a:gd name="connsiteX7" fmla="*/ 45720 w 358317"/>
                  <a:gd name="connsiteY7" fmla="*/ 391169 h 452129"/>
                  <a:gd name="connsiteX8" fmla="*/ 144780 w 358317"/>
                  <a:gd name="connsiteY8" fmla="*/ 444509 h 452129"/>
                  <a:gd name="connsiteX9" fmla="*/ 175260 w 358317"/>
                  <a:gd name="connsiteY9" fmla="*/ 452129 h 452129"/>
                  <a:gd name="connsiteX10" fmla="*/ 198120 w 358317"/>
                  <a:gd name="connsiteY10" fmla="*/ 444509 h 452129"/>
                  <a:gd name="connsiteX11" fmla="*/ 213360 w 358317"/>
                  <a:gd name="connsiteY11" fmla="*/ 421649 h 452129"/>
                  <a:gd name="connsiteX12" fmla="*/ 220980 w 358317"/>
                  <a:gd name="connsiteY12" fmla="*/ 398789 h 452129"/>
                  <a:gd name="connsiteX13" fmla="*/ 236220 w 358317"/>
                  <a:gd name="connsiteY13" fmla="*/ 345449 h 452129"/>
                  <a:gd name="connsiteX14" fmla="*/ 274320 w 358317"/>
                  <a:gd name="connsiteY14" fmla="*/ 269249 h 452129"/>
                  <a:gd name="connsiteX15" fmla="*/ 304800 w 358317"/>
                  <a:gd name="connsiteY15" fmla="*/ 208289 h 452129"/>
                  <a:gd name="connsiteX16" fmla="*/ 312420 w 358317"/>
                  <a:gd name="connsiteY16" fmla="*/ 185429 h 452129"/>
                  <a:gd name="connsiteX17" fmla="*/ 350520 w 358317"/>
                  <a:gd name="connsiteY17" fmla="*/ 132089 h 452129"/>
                  <a:gd name="connsiteX18" fmla="*/ 358140 w 358317"/>
                  <a:gd name="connsiteY18" fmla="*/ 109229 h 452129"/>
                  <a:gd name="connsiteX19" fmla="*/ 342900 w 358317"/>
                  <a:gd name="connsiteY19" fmla="*/ 86369 h 452129"/>
                  <a:gd name="connsiteX20" fmla="*/ 289560 w 358317"/>
                  <a:gd name="connsiteY20" fmla="*/ 48269 h 452129"/>
                  <a:gd name="connsiteX21" fmla="*/ 266700 w 358317"/>
                  <a:gd name="connsiteY21" fmla="*/ 25409 h 452129"/>
                  <a:gd name="connsiteX22" fmla="*/ 220980 w 358317"/>
                  <a:gd name="connsiteY22" fmla="*/ 17789 h 452129"/>
                  <a:gd name="connsiteX23" fmla="*/ 167640 w 358317"/>
                  <a:gd name="connsiteY23" fmla="*/ 2549 h 452129"/>
                  <a:gd name="connsiteX0" fmla="*/ 167640 w 358317"/>
                  <a:gd name="connsiteY0" fmla="*/ 2549 h 452129"/>
                  <a:gd name="connsiteX1" fmla="*/ 121920 w 358317"/>
                  <a:gd name="connsiteY1" fmla="*/ 78749 h 452129"/>
                  <a:gd name="connsiteX2" fmla="*/ 68580 w 358317"/>
                  <a:gd name="connsiteY2" fmla="*/ 124469 h 452129"/>
                  <a:gd name="connsiteX3" fmla="*/ 30480 w 358317"/>
                  <a:gd name="connsiteY3" fmla="*/ 185429 h 452129"/>
                  <a:gd name="connsiteX4" fmla="*/ 15240 w 358317"/>
                  <a:gd name="connsiteY4" fmla="*/ 208289 h 452129"/>
                  <a:gd name="connsiteX5" fmla="*/ 0 w 358317"/>
                  <a:gd name="connsiteY5" fmla="*/ 269249 h 452129"/>
                  <a:gd name="connsiteX6" fmla="*/ 15240 w 358317"/>
                  <a:gd name="connsiteY6" fmla="*/ 368309 h 452129"/>
                  <a:gd name="connsiteX7" fmla="*/ 45720 w 358317"/>
                  <a:gd name="connsiteY7" fmla="*/ 391169 h 452129"/>
                  <a:gd name="connsiteX8" fmla="*/ 144780 w 358317"/>
                  <a:gd name="connsiteY8" fmla="*/ 444509 h 452129"/>
                  <a:gd name="connsiteX9" fmla="*/ 175260 w 358317"/>
                  <a:gd name="connsiteY9" fmla="*/ 452129 h 452129"/>
                  <a:gd name="connsiteX10" fmla="*/ 198120 w 358317"/>
                  <a:gd name="connsiteY10" fmla="*/ 444509 h 452129"/>
                  <a:gd name="connsiteX11" fmla="*/ 213360 w 358317"/>
                  <a:gd name="connsiteY11" fmla="*/ 421649 h 452129"/>
                  <a:gd name="connsiteX12" fmla="*/ 220980 w 358317"/>
                  <a:gd name="connsiteY12" fmla="*/ 398789 h 452129"/>
                  <a:gd name="connsiteX13" fmla="*/ 236220 w 358317"/>
                  <a:gd name="connsiteY13" fmla="*/ 345449 h 452129"/>
                  <a:gd name="connsiteX14" fmla="*/ 274320 w 358317"/>
                  <a:gd name="connsiteY14" fmla="*/ 269249 h 452129"/>
                  <a:gd name="connsiteX15" fmla="*/ 304800 w 358317"/>
                  <a:gd name="connsiteY15" fmla="*/ 208289 h 452129"/>
                  <a:gd name="connsiteX16" fmla="*/ 312420 w 358317"/>
                  <a:gd name="connsiteY16" fmla="*/ 185429 h 452129"/>
                  <a:gd name="connsiteX17" fmla="*/ 350520 w 358317"/>
                  <a:gd name="connsiteY17" fmla="*/ 132089 h 452129"/>
                  <a:gd name="connsiteX18" fmla="*/ 358140 w 358317"/>
                  <a:gd name="connsiteY18" fmla="*/ 109229 h 452129"/>
                  <a:gd name="connsiteX19" fmla="*/ 342900 w 358317"/>
                  <a:gd name="connsiteY19" fmla="*/ 86369 h 452129"/>
                  <a:gd name="connsiteX20" fmla="*/ 266700 w 358317"/>
                  <a:gd name="connsiteY20" fmla="*/ 25409 h 452129"/>
                  <a:gd name="connsiteX21" fmla="*/ 220980 w 358317"/>
                  <a:gd name="connsiteY21" fmla="*/ 17789 h 452129"/>
                  <a:gd name="connsiteX22" fmla="*/ 167640 w 358317"/>
                  <a:gd name="connsiteY22" fmla="*/ 2549 h 452129"/>
                  <a:gd name="connsiteX0" fmla="*/ 167640 w 358712"/>
                  <a:gd name="connsiteY0" fmla="*/ 3883 h 453463"/>
                  <a:gd name="connsiteX1" fmla="*/ 121920 w 358712"/>
                  <a:gd name="connsiteY1" fmla="*/ 80083 h 453463"/>
                  <a:gd name="connsiteX2" fmla="*/ 68580 w 358712"/>
                  <a:gd name="connsiteY2" fmla="*/ 125803 h 453463"/>
                  <a:gd name="connsiteX3" fmla="*/ 30480 w 358712"/>
                  <a:gd name="connsiteY3" fmla="*/ 186763 h 453463"/>
                  <a:gd name="connsiteX4" fmla="*/ 15240 w 358712"/>
                  <a:gd name="connsiteY4" fmla="*/ 209623 h 453463"/>
                  <a:gd name="connsiteX5" fmla="*/ 0 w 358712"/>
                  <a:gd name="connsiteY5" fmla="*/ 270583 h 453463"/>
                  <a:gd name="connsiteX6" fmla="*/ 15240 w 358712"/>
                  <a:gd name="connsiteY6" fmla="*/ 369643 h 453463"/>
                  <a:gd name="connsiteX7" fmla="*/ 45720 w 358712"/>
                  <a:gd name="connsiteY7" fmla="*/ 392503 h 453463"/>
                  <a:gd name="connsiteX8" fmla="*/ 144780 w 358712"/>
                  <a:gd name="connsiteY8" fmla="*/ 445843 h 453463"/>
                  <a:gd name="connsiteX9" fmla="*/ 175260 w 358712"/>
                  <a:gd name="connsiteY9" fmla="*/ 453463 h 453463"/>
                  <a:gd name="connsiteX10" fmla="*/ 198120 w 358712"/>
                  <a:gd name="connsiteY10" fmla="*/ 445843 h 453463"/>
                  <a:gd name="connsiteX11" fmla="*/ 213360 w 358712"/>
                  <a:gd name="connsiteY11" fmla="*/ 422983 h 453463"/>
                  <a:gd name="connsiteX12" fmla="*/ 220980 w 358712"/>
                  <a:gd name="connsiteY12" fmla="*/ 400123 h 453463"/>
                  <a:gd name="connsiteX13" fmla="*/ 236220 w 358712"/>
                  <a:gd name="connsiteY13" fmla="*/ 346783 h 453463"/>
                  <a:gd name="connsiteX14" fmla="*/ 274320 w 358712"/>
                  <a:gd name="connsiteY14" fmla="*/ 270583 h 453463"/>
                  <a:gd name="connsiteX15" fmla="*/ 304800 w 358712"/>
                  <a:gd name="connsiteY15" fmla="*/ 209623 h 453463"/>
                  <a:gd name="connsiteX16" fmla="*/ 312420 w 358712"/>
                  <a:gd name="connsiteY16" fmla="*/ 186763 h 453463"/>
                  <a:gd name="connsiteX17" fmla="*/ 350520 w 358712"/>
                  <a:gd name="connsiteY17" fmla="*/ 133423 h 453463"/>
                  <a:gd name="connsiteX18" fmla="*/ 358140 w 358712"/>
                  <a:gd name="connsiteY18" fmla="*/ 110563 h 453463"/>
                  <a:gd name="connsiteX19" fmla="*/ 342900 w 358712"/>
                  <a:gd name="connsiteY19" fmla="*/ 87703 h 453463"/>
                  <a:gd name="connsiteX20" fmla="*/ 220980 w 358712"/>
                  <a:gd name="connsiteY20" fmla="*/ 19123 h 453463"/>
                  <a:gd name="connsiteX21" fmla="*/ 167640 w 358712"/>
                  <a:gd name="connsiteY21" fmla="*/ 3883 h 453463"/>
                  <a:gd name="connsiteX0" fmla="*/ 167640 w 366515"/>
                  <a:gd name="connsiteY0" fmla="*/ 4550 h 454130"/>
                  <a:gd name="connsiteX1" fmla="*/ 121920 w 366515"/>
                  <a:gd name="connsiteY1" fmla="*/ 80750 h 454130"/>
                  <a:gd name="connsiteX2" fmla="*/ 68580 w 366515"/>
                  <a:gd name="connsiteY2" fmla="*/ 126470 h 454130"/>
                  <a:gd name="connsiteX3" fmla="*/ 30480 w 366515"/>
                  <a:gd name="connsiteY3" fmla="*/ 187430 h 454130"/>
                  <a:gd name="connsiteX4" fmla="*/ 15240 w 366515"/>
                  <a:gd name="connsiteY4" fmla="*/ 210290 h 454130"/>
                  <a:gd name="connsiteX5" fmla="*/ 0 w 366515"/>
                  <a:gd name="connsiteY5" fmla="*/ 271250 h 454130"/>
                  <a:gd name="connsiteX6" fmla="*/ 15240 w 366515"/>
                  <a:gd name="connsiteY6" fmla="*/ 370310 h 454130"/>
                  <a:gd name="connsiteX7" fmla="*/ 45720 w 366515"/>
                  <a:gd name="connsiteY7" fmla="*/ 393170 h 454130"/>
                  <a:gd name="connsiteX8" fmla="*/ 144780 w 366515"/>
                  <a:gd name="connsiteY8" fmla="*/ 446510 h 454130"/>
                  <a:gd name="connsiteX9" fmla="*/ 175260 w 366515"/>
                  <a:gd name="connsiteY9" fmla="*/ 454130 h 454130"/>
                  <a:gd name="connsiteX10" fmla="*/ 198120 w 366515"/>
                  <a:gd name="connsiteY10" fmla="*/ 446510 h 454130"/>
                  <a:gd name="connsiteX11" fmla="*/ 213360 w 366515"/>
                  <a:gd name="connsiteY11" fmla="*/ 423650 h 454130"/>
                  <a:gd name="connsiteX12" fmla="*/ 220980 w 366515"/>
                  <a:gd name="connsiteY12" fmla="*/ 400790 h 454130"/>
                  <a:gd name="connsiteX13" fmla="*/ 236220 w 366515"/>
                  <a:gd name="connsiteY13" fmla="*/ 347450 h 454130"/>
                  <a:gd name="connsiteX14" fmla="*/ 274320 w 366515"/>
                  <a:gd name="connsiteY14" fmla="*/ 271250 h 454130"/>
                  <a:gd name="connsiteX15" fmla="*/ 304800 w 366515"/>
                  <a:gd name="connsiteY15" fmla="*/ 210290 h 454130"/>
                  <a:gd name="connsiteX16" fmla="*/ 312420 w 366515"/>
                  <a:gd name="connsiteY16" fmla="*/ 187430 h 454130"/>
                  <a:gd name="connsiteX17" fmla="*/ 350520 w 366515"/>
                  <a:gd name="connsiteY17" fmla="*/ 134090 h 454130"/>
                  <a:gd name="connsiteX18" fmla="*/ 358140 w 366515"/>
                  <a:gd name="connsiteY18" fmla="*/ 111230 h 454130"/>
                  <a:gd name="connsiteX19" fmla="*/ 220980 w 366515"/>
                  <a:gd name="connsiteY19" fmla="*/ 19790 h 454130"/>
                  <a:gd name="connsiteX20" fmla="*/ 167640 w 366515"/>
                  <a:gd name="connsiteY20" fmla="*/ 4550 h 454130"/>
                  <a:gd name="connsiteX0" fmla="*/ 167640 w 365131"/>
                  <a:gd name="connsiteY0" fmla="*/ 615 h 450195"/>
                  <a:gd name="connsiteX1" fmla="*/ 121920 w 365131"/>
                  <a:gd name="connsiteY1" fmla="*/ 76815 h 450195"/>
                  <a:gd name="connsiteX2" fmla="*/ 68580 w 365131"/>
                  <a:gd name="connsiteY2" fmla="*/ 122535 h 450195"/>
                  <a:gd name="connsiteX3" fmla="*/ 30480 w 365131"/>
                  <a:gd name="connsiteY3" fmla="*/ 183495 h 450195"/>
                  <a:gd name="connsiteX4" fmla="*/ 15240 w 365131"/>
                  <a:gd name="connsiteY4" fmla="*/ 206355 h 450195"/>
                  <a:gd name="connsiteX5" fmla="*/ 0 w 365131"/>
                  <a:gd name="connsiteY5" fmla="*/ 267315 h 450195"/>
                  <a:gd name="connsiteX6" fmla="*/ 15240 w 365131"/>
                  <a:gd name="connsiteY6" fmla="*/ 366375 h 450195"/>
                  <a:gd name="connsiteX7" fmla="*/ 45720 w 365131"/>
                  <a:gd name="connsiteY7" fmla="*/ 389235 h 450195"/>
                  <a:gd name="connsiteX8" fmla="*/ 144780 w 365131"/>
                  <a:gd name="connsiteY8" fmla="*/ 442575 h 450195"/>
                  <a:gd name="connsiteX9" fmla="*/ 175260 w 365131"/>
                  <a:gd name="connsiteY9" fmla="*/ 450195 h 450195"/>
                  <a:gd name="connsiteX10" fmla="*/ 198120 w 365131"/>
                  <a:gd name="connsiteY10" fmla="*/ 442575 h 450195"/>
                  <a:gd name="connsiteX11" fmla="*/ 213360 w 365131"/>
                  <a:gd name="connsiteY11" fmla="*/ 419715 h 450195"/>
                  <a:gd name="connsiteX12" fmla="*/ 220980 w 365131"/>
                  <a:gd name="connsiteY12" fmla="*/ 396855 h 450195"/>
                  <a:gd name="connsiteX13" fmla="*/ 236220 w 365131"/>
                  <a:gd name="connsiteY13" fmla="*/ 343515 h 450195"/>
                  <a:gd name="connsiteX14" fmla="*/ 274320 w 365131"/>
                  <a:gd name="connsiteY14" fmla="*/ 267315 h 450195"/>
                  <a:gd name="connsiteX15" fmla="*/ 304800 w 365131"/>
                  <a:gd name="connsiteY15" fmla="*/ 206355 h 450195"/>
                  <a:gd name="connsiteX16" fmla="*/ 312420 w 365131"/>
                  <a:gd name="connsiteY16" fmla="*/ 183495 h 450195"/>
                  <a:gd name="connsiteX17" fmla="*/ 350520 w 365131"/>
                  <a:gd name="connsiteY17" fmla="*/ 130155 h 450195"/>
                  <a:gd name="connsiteX18" fmla="*/ 358140 w 365131"/>
                  <a:gd name="connsiteY18" fmla="*/ 107295 h 450195"/>
                  <a:gd name="connsiteX19" fmla="*/ 240030 w 365131"/>
                  <a:gd name="connsiteY19" fmla="*/ 44430 h 450195"/>
                  <a:gd name="connsiteX20" fmla="*/ 167640 w 365131"/>
                  <a:gd name="connsiteY20" fmla="*/ 615 h 450195"/>
                  <a:gd name="connsiteX0" fmla="*/ 167640 w 365131"/>
                  <a:gd name="connsiteY0" fmla="*/ 615 h 450195"/>
                  <a:gd name="connsiteX1" fmla="*/ 121920 w 365131"/>
                  <a:gd name="connsiteY1" fmla="*/ 76815 h 450195"/>
                  <a:gd name="connsiteX2" fmla="*/ 30480 w 365131"/>
                  <a:gd name="connsiteY2" fmla="*/ 183495 h 450195"/>
                  <a:gd name="connsiteX3" fmla="*/ 15240 w 365131"/>
                  <a:gd name="connsiteY3" fmla="*/ 206355 h 450195"/>
                  <a:gd name="connsiteX4" fmla="*/ 0 w 365131"/>
                  <a:gd name="connsiteY4" fmla="*/ 267315 h 450195"/>
                  <a:gd name="connsiteX5" fmla="*/ 15240 w 365131"/>
                  <a:gd name="connsiteY5" fmla="*/ 366375 h 450195"/>
                  <a:gd name="connsiteX6" fmla="*/ 45720 w 365131"/>
                  <a:gd name="connsiteY6" fmla="*/ 389235 h 450195"/>
                  <a:gd name="connsiteX7" fmla="*/ 144780 w 365131"/>
                  <a:gd name="connsiteY7" fmla="*/ 442575 h 450195"/>
                  <a:gd name="connsiteX8" fmla="*/ 175260 w 365131"/>
                  <a:gd name="connsiteY8" fmla="*/ 450195 h 450195"/>
                  <a:gd name="connsiteX9" fmla="*/ 198120 w 365131"/>
                  <a:gd name="connsiteY9" fmla="*/ 442575 h 450195"/>
                  <a:gd name="connsiteX10" fmla="*/ 213360 w 365131"/>
                  <a:gd name="connsiteY10" fmla="*/ 419715 h 450195"/>
                  <a:gd name="connsiteX11" fmla="*/ 220980 w 365131"/>
                  <a:gd name="connsiteY11" fmla="*/ 396855 h 450195"/>
                  <a:gd name="connsiteX12" fmla="*/ 236220 w 365131"/>
                  <a:gd name="connsiteY12" fmla="*/ 343515 h 450195"/>
                  <a:gd name="connsiteX13" fmla="*/ 274320 w 365131"/>
                  <a:gd name="connsiteY13" fmla="*/ 267315 h 450195"/>
                  <a:gd name="connsiteX14" fmla="*/ 304800 w 365131"/>
                  <a:gd name="connsiteY14" fmla="*/ 206355 h 450195"/>
                  <a:gd name="connsiteX15" fmla="*/ 312420 w 365131"/>
                  <a:gd name="connsiteY15" fmla="*/ 183495 h 450195"/>
                  <a:gd name="connsiteX16" fmla="*/ 350520 w 365131"/>
                  <a:gd name="connsiteY16" fmla="*/ 130155 h 450195"/>
                  <a:gd name="connsiteX17" fmla="*/ 358140 w 365131"/>
                  <a:gd name="connsiteY17" fmla="*/ 107295 h 450195"/>
                  <a:gd name="connsiteX18" fmla="*/ 240030 w 365131"/>
                  <a:gd name="connsiteY18" fmla="*/ 44430 h 450195"/>
                  <a:gd name="connsiteX19" fmla="*/ 167640 w 365131"/>
                  <a:gd name="connsiteY19" fmla="*/ 615 h 450195"/>
                  <a:gd name="connsiteX0" fmla="*/ 167640 w 365131"/>
                  <a:gd name="connsiteY0" fmla="*/ 615 h 450195"/>
                  <a:gd name="connsiteX1" fmla="*/ 121920 w 365131"/>
                  <a:gd name="connsiteY1" fmla="*/ 76815 h 450195"/>
                  <a:gd name="connsiteX2" fmla="*/ 30480 w 365131"/>
                  <a:gd name="connsiteY2" fmla="*/ 183495 h 450195"/>
                  <a:gd name="connsiteX3" fmla="*/ 15240 w 365131"/>
                  <a:gd name="connsiteY3" fmla="*/ 206355 h 450195"/>
                  <a:gd name="connsiteX4" fmla="*/ 0 w 365131"/>
                  <a:gd name="connsiteY4" fmla="*/ 267315 h 450195"/>
                  <a:gd name="connsiteX5" fmla="*/ 15240 w 365131"/>
                  <a:gd name="connsiteY5" fmla="*/ 366375 h 450195"/>
                  <a:gd name="connsiteX6" fmla="*/ 144780 w 365131"/>
                  <a:gd name="connsiteY6" fmla="*/ 442575 h 450195"/>
                  <a:gd name="connsiteX7" fmla="*/ 175260 w 365131"/>
                  <a:gd name="connsiteY7" fmla="*/ 450195 h 450195"/>
                  <a:gd name="connsiteX8" fmla="*/ 198120 w 365131"/>
                  <a:gd name="connsiteY8" fmla="*/ 442575 h 450195"/>
                  <a:gd name="connsiteX9" fmla="*/ 213360 w 365131"/>
                  <a:gd name="connsiteY9" fmla="*/ 419715 h 450195"/>
                  <a:gd name="connsiteX10" fmla="*/ 220980 w 365131"/>
                  <a:gd name="connsiteY10" fmla="*/ 396855 h 450195"/>
                  <a:gd name="connsiteX11" fmla="*/ 236220 w 365131"/>
                  <a:gd name="connsiteY11" fmla="*/ 343515 h 450195"/>
                  <a:gd name="connsiteX12" fmla="*/ 274320 w 365131"/>
                  <a:gd name="connsiteY12" fmla="*/ 267315 h 450195"/>
                  <a:gd name="connsiteX13" fmla="*/ 304800 w 365131"/>
                  <a:gd name="connsiteY13" fmla="*/ 206355 h 450195"/>
                  <a:gd name="connsiteX14" fmla="*/ 312420 w 365131"/>
                  <a:gd name="connsiteY14" fmla="*/ 183495 h 450195"/>
                  <a:gd name="connsiteX15" fmla="*/ 350520 w 365131"/>
                  <a:gd name="connsiteY15" fmla="*/ 130155 h 450195"/>
                  <a:gd name="connsiteX16" fmla="*/ 358140 w 365131"/>
                  <a:gd name="connsiteY16" fmla="*/ 107295 h 450195"/>
                  <a:gd name="connsiteX17" fmla="*/ 240030 w 365131"/>
                  <a:gd name="connsiteY17" fmla="*/ 44430 h 450195"/>
                  <a:gd name="connsiteX18" fmla="*/ 167640 w 365131"/>
                  <a:gd name="connsiteY18" fmla="*/ 615 h 450195"/>
                  <a:gd name="connsiteX0" fmla="*/ 188438 w 385929"/>
                  <a:gd name="connsiteY0" fmla="*/ 615 h 450195"/>
                  <a:gd name="connsiteX1" fmla="*/ 142718 w 385929"/>
                  <a:gd name="connsiteY1" fmla="*/ 76815 h 450195"/>
                  <a:gd name="connsiteX2" fmla="*/ 51278 w 385929"/>
                  <a:gd name="connsiteY2" fmla="*/ 183495 h 450195"/>
                  <a:gd name="connsiteX3" fmla="*/ 36038 w 385929"/>
                  <a:gd name="connsiteY3" fmla="*/ 206355 h 450195"/>
                  <a:gd name="connsiteX4" fmla="*/ 20798 w 385929"/>
                  <a:gd name="connsiteY4" fmla="*/ 267315 h 450195"/>
                  <a:gd name="connsiteX5" fmla="*/ 7463 w 385929"/>
                  <a:gd name="connsiteY5" fmla="*/ 328275 h 450195"/>
                  <a:gd name="connsiteX6" fmla="*/ 165578 w 385929"/>
                  <a:gd name="connsiteY6" fmla="*/ 442575 h 450195"/>
                  <a:gd name="connsiteX7" fmla="*/ 196058 w 385929"/>
                  <a:gd name="connsiteY7" fmla="*/ 450195 h 450195"/>
                  <a:gd name="connsiteX8" fmla="*/ 218918 w 385929"/>
                  <a:gd name="connsiteY8" fmla="*/ 442575 h 450195"/>
                  <a:gd name="connsiteX9" fmla="*/ 234158 w 385929"/>
                  <a:gd name="connsiteY9" fmla="*/ 419715 h 450195"/>
                  <a:gd name="connsiteX10" fmla="*/ 241778 w 385929"/>
                  <a:gd name="connsiteY10" fmla="*/ 396855 h 450195"/>
                  <a:gd name="connsiteX11" fmla="*/ 257018 w 385929"/>
                  <a:gd name="connsiteY11" fmla="*/ 343515 h 450195"/>
                  <a:gd name="connsiteX12" fmla="*/ 295118 w 385929"/>
                  <a:gd name="connsiteY12" fmla="*/ 267315 h 450195"/>
                  <a:gd name="connsiteX13" fmla="*/ 325598 w 385929"/>
                  <a:gd name="connsiteY13" fmla="*/ 206355 h 450195"/>
                  <a:gd name="connsiteX14" fmla="*/ 333218 w 385929"/>
                  <a:gd name="connsiteY14" fmla="*/ 183495 h 450195"/>
                  <a:gd name="connsiteX15" fmla="*/ 371318 w 385929"/>
                  <a:gd name="connsiteY15" fmla="*/ 130155 h 450195"/>
                  <a:gd name="connsiteX16" fmla="*/ 378938 w 385929"/>
                  <a:gd name="connsiteY16" fmla="*/ 107295 h 450195"/>
                  <a:gd name="connsiteX17" fmla="*/ 260828 w 385929"/>
                  <a:gd name="connsiteY17" fmla="*/ 44430 h 450195"/>
                  <a:gd name="connsiteX18" fmla="*/ 188438 w 385929"/>
                  <a:gd name="connsiteY18" fmla="*/ 615 h 450195"/>
                  <a:gd name="connsiteX0" fmla="*/ 183823 w 381314"/>
                  <a:gd name="connsiteY0" fmla="*/ 615 h 450195"/>
                  <a:gd name="connsiteX1" fmla="*/ 138103 w 381314"/>
                  <a:gd name="connsiteY1" fmla="*/ 76815 h 450195"/>
                  <a:gd name="connsiteX2" fmla="*/ 46663 w 381314"/>
                  <a:gd name="connsiteY2" fmla="*/ 183495 h 450195"/>
                  <a:gd name="connsiteX3" fmla="*/ 31423 w 381314"/>
                  <a:gd name="connsiteY3" fmla="*/ 206355 h 450195"/>
                  <a:gd name="connsiteX4" fmla="*/ 16183 w 381314"/>
                  <a:gd name="connsiteY4" fmla="*/ 267315 h 450195"/>
                  <a:gd name="connsiteX5" fmla="*/ 2848 w 381314"/>
                  <a:gd name="connsiteY5" fmla="*/ 328275 h 450195"/>
                  <a:gd name="connsiteX6" fmla="*/ 160963 w 381314"/>
                  <a:gd name="connsiteY6" fmla="*/ 442575 h 450195"/>
                  <a:gd name="connsiteX7" fmla="*/ 191443 w 381314"/>
                  <a:gd name="connsiteY7" fmla="*/ 450195 h 450195"/>
                  <a:gd name="connsiteX8" fmla="*/ 214303 w 381314"/>
                  <a:gd name="connsiteY8" fmla="*/ 442575 h 450195"/>
                  <a:gd name="connsiteX9" fmla="*/ 229543 w 381314"/>
                  <a:gd name="connsiteY9" fmla="*/ 419715 h 450195"/>
                  <a:gd name="connsiteX10" fmla="*/ 237163 w 381314"/>
                  <a:gd name="connsiteY10" fmla="*/ 396855 h 450195"/>
                  <a:gd name="connsiteX11" fmla="*/ 252403 w 381314"/>
                  <a:gd name="connsiteY11" fmla="*/ 343515 h 450195"/>
                  <a:gd name="connsiteX12" fmla="*/ 290503 w 381314"/>
                  <a:gd name="connsiteY12" fmla="*/ 267315 h 450195"/>
                  <a:gd name="connsiteX13" fmla="*/ 320983 w 381314"/>
                  <a:gd name="connsiteY13" fmla="*/ 206355 h 450195"/>
                  <a:gd name="connsiteX14" fmla="*/ 328603 w 381314"/>
                  <a:gd name="connsiteY14" fmla="*/ 183495 h 450195"/>
                  <a:gd name="connsiteX15" fmla="*/ 366703 w 381314"/>
                  <a:gd name="connsiteY15" fmla="*/ 130155 h 450195"/>
                  <a:gd name="connsiteX16" fmla="*/ 374323 w 381314"/>
                  <a:gd name="connsiteY16" fmla="*/ 107295 h 450195"/>
                  <a:gd name="connsiteX17" fmla="*/ 256213 w 381314"/>
                  <a:gd name="connsiteY17" fmla="*/ 44430 h 450195"/>
                  <a:gd name="connsiteX18" fmla="*/ 183823 w 381314"/>
                  <a:gd name="connsiteY18" fmla="*/ 615 h 450195"/>
                  <a:gd name="connsiteX0" fmla="*/ 183823 w 381314"/>
                  <a:gd name="connsiteY0" fmla="*/ 615 h 450195"/>
                  <a:gd name="connsiteX1" fmla="*/ 138103 w 381314"/>
                  <a:gd name="connsiteY1" fmla="*/ 76815 h 450195"/>
                  <a:gd name="connsiteX2" fmla="*/ 46663 w 381314"/>
                  <a:gd name="connsiteY2" fmla="*/ 183495 h 450195"/>
                  <a:gd name="connsiteX3" fmla="*/ 31423 w 381314"/>
                  <a:gd name="connsiteY3" fmla="*/ 206355 h 450195"/>
                  <a:gd name="connsiteX4" fmla="*/ 16183 w 381314"/>
                  <a:gd name="connsiteY4" fmla="*/ 267315 h 450195"/>
                  <a:gd name="connsiteX5" fmla="*/ 2848 w 381314"/>
                  <a:gd name="connsiteY5" fmla="*/ 328275 h 450195"/>
                  <a:gd name="connsiteX6" fmla="*/ 160963 w 381314"/>
                  <a:gd name="connsiteY6" fmla="*/ 442575 h 450195"/>
                  <a:gd name="connsiteX7" fmla="*/ 191443 w 381314"/>
                  <a:gd name="connsiteY7" fmla="*/ 450195 h 450195"/>
                  <a:gd name="connsiteX8" fmla="*/ 214303 w 381314"/>
                  <a:gd name="connsiteY8" fmla="*/ 442575 h 450195"/>
                  <a:gd name="connsiteX9" fmla="*/ 237163 w 381314"/>
                  <a:gd name="connsiteY9" fmla="*/ 396855 h 450195"/>
                  <a:gd name="connsiteX10" fmla="*/ 252403 w 381314"/>
                  <a:gd name="connsiteY10" fmla="*/ 343515 h 450195"/>
                  <a:gd name="connsiteX11" fmla="*/ 290503 w 381314"/>
                  <a:gd name="connsiteY11" fmla="*/ 267315 h 450195"/>
                  <a:gd name="connsiteX12" fmla="*/ 320983 w 381314"/>
                  <a:gd name="connsiteY12" fmla="*/ 206355 h 450195"/>
                  <a:gd name="connsiteX13" fmla="*/ 328603 w 381314"/>
                  <a:gd name="connsiteY13" fmla="*/ 183495 h 450195"/>
                  <a:gd name="connsiteX14" fmla="*/ 366703 w 381314"/>
                  <a:gd name="connsiteY14" fmla="*/ 130155 h 450195"/>
                  <a:gd name="connsiteX15" fmla="*/ 374323 w 381314"/>
                  <a:gd name="connsiteY15" fmla="*/ 107295 h 450195"/>
                  <a:gd name="connsiteX16" fmla="*/ 256213 w 381314"/>
                  <a:gd name="connsiteY16" fmla="*/ 44430 h 450195"/>
                  <a:gd name="connsiteX17" fmla="*/ 183823 w 381314"/>
                  <a:gd name="connsiteY17" fmla="*/ 615 h 450195"/>
                  <a:gd name="connsiteX0" fmla="*/ 183823 w 381314"/>
                  <a:gd name="connsiteY0" fmla="*/ 615 h 452239"/>
                  <a:gd name="connsiteX1" fmla="*/ 138103 w 381314"/>
                  <a:gd name="connsiteY1" fmla="*/ 76815 h 452239"/>
                  <a:gd name="connsiteX2" fmla="*/ 46663 w 381314"/>
                  <a:gd name="connsiteY2" fmla="*/ 183495 h 452239"/>
                  <a:gd name="connsiteX3" fmla="*/ 31423 w 381314"/>
                  <a:gd name="connsiteY3" fmla="*/ 206355 h 452239"/>
                  <a:gd name="connsiteX4" fmla="*/ 16183 w 381314"/>
                  <a:gd name="connsiteY4" fmla="*/ 267315 h 452239"/>
                  <a:gd name="connsiteX5" fmla="*/ 2848 w 381314"/>
                  <a:gd name="connsiteY5" fmla="*/ 328275 h 452239"/>
                  <a:gd name="connsiteX6" fmla="*/ 160963 w 381314"/>
                  <a:gd name="connsiteY6" fmla="*/ 442575 h 452239"/>
                  <a:gd name="connsiteX7" fmla="*/ 191443 w 381314"/>
                  <a:gd name="connsiteY7" fmla="*/ 450195 h 452239"/>
                  <a:gd name="connsiteX8" fmla="*/ 214303 w 381314"/>
                  <a:gd name="connsiteY8" fmla="*/ 442575 h 452239"/>
                  <a:gd name="connsiteX9" fmla="*/ 252403 w 381314"/>
                  <a:gd name="connsiteY9" fmla="*/ 343515 h 452239"/>
                  <a:gd name="connsiteX10" fmla="*/ 290503 w 381314"/>
                  <a:gd name="connsiteY10" fmla="*/ 267315 h 452239"/>
                  <a:gd name="connsiteX11" fmla="*/ 320983 w 381314"/>
                  <a:gd name="connsiteY11" fmla="*/ 206355 h 452239"/>
                  <a:gd name="connsiteX12" fmla="*/ 328603 w 381314"/>
                  <a:gd name="connsiteY12" fmla="*/ 183495 h 452239"/>
                  <a:gd name="connsiteX13" fmla="*/ 366703 w 381314"/>
                  <a:gd name="connsiteY13" fmla="*/ 130155 h 452239"/>
                  <a:gd name="connsiteX14" fmla="*/ 374323 w 381314"/>
                  <a:gd name="connsiteY14" fmla="*/ 107295 h 452239"/>
                  <a:gd name="connsiteX15" fmla="*/ 256213 w 381314"/>
                  <a:gd name="connsiteY15" fmla="*/ 44430 h 452239"/>
                  <a:gd name="connsiteX16" fmla="*/ 183823 w 381314"/>
                  <a:gd name="connsiteY16" fmla="*/ 615 h 452239"/>
                  <a:gd name="connsiteX0" fmla="*/ 183823 w 381314"/>
                  <a:gd name="connsiteY0" fmla="*/ 615 h 457714"/>
                  <a:gd name="connsiteX1" fmla="*/ 138103 w 381314"/>
                  <a:gd name="connsiteY1" fmla="*/ 76815 h 457714"/>
                  <a:gd name="connsiteX2" fmla="*/ 46663 w 381314"/>
                  <a:gd name="connsiteY2" fmla="*/ 183495 h 457714"/>
                  <a:gd name="connsiteX3" fmla="*/ 31423 w 381314"/>
                  <a:gd name="connsiteY3" fmla="*/ 206355 h 457714"/>
                  <a:gd name="connsiteX4" fmla="*/ 16183 w 381314"/>
                  <a:gd name="connsiteY4" fmla="*/ 267315 h 457714"/>
                  <a:gd name="connsiteX5" fmla="*/ 2848 w 381314"/>
                  <a:gd name="connsiteY5" fmla="*/ 328275 h 457714"/>
                  <a:gd name="connsiteX6" fmla="*/ 160963 w 381314"/>
                  <a:gd name="connsiteY6" fmla="*/ 442575 h 457714"/>
                  <a:gd name="connsiteX7" fmla="*/ 191443 w 381314"/>
                  <a:gd name="connsiteY7" fmla="*/ 450195 h 457714"/>
                  <a:gd name="connsiteX8" fmla="*/ 214303 w 381314"/>
                  <a:gd name="connsiteY8" fmla="*/ 442575 h 457714"/>
                  <a:gd name="connsiteX9" fmla="*/ 290503 w 381314"/>
                  <a:gd name="connsiteY9" fmla="*/ 267315 h 457714"/>
                  <a:gd name="connsiteX10" fmla="*/ 320983 w 381314"/>
                  <a:gd name="connsiteY10" fmla="*/ 206355 h 457714"/>
                  <a:gd name="connsiteX11" fmla="*/ 328603 w 381314"/>
                  <a:gd name="connsiteY11" fmla="*/ 183495 h 457714"/>
                  <a:gd name="connsiteX12" fmla="*/ 366703 w 381314"/>
                  <a:gd name="connsiteY12" fmla="*/ 130155 h 457714"/>
                  <a:gd name="connsiteX13" fmla="*/ 374323 w 381314"/>
                  <a:gd name="connsiteY13" fmla="*/ 107295 h 457714"/>
                  <a:gd name="connsiteX14" fmla="*/ 256213 w 381314"/>
                  <a:gd name="connsiteY14" fmla="*/ 44430 h 457714"/>
                  <a:gd name="connsiteX15" fmla="*/ 183823 w 381314"/>
                  <a:gd name="connsiteY15" fmla="*/ 615 h 457714"/>
                  <a:gd name="connsiteX0" fmla="*/ 183823 w 381314"/>
                  <a:gd name="connsiteY0" fmla="*/ 615 h 457714"/>
                  <a:gd name="connsiteX1" fmla="*/ 138103 w 381314"/>
                  <a:gd name="connsiteY1" fmla="*/ 76815 h 457714"/>
                  <a:gd name="connsiteX2" fmla="*/ 46663 w 381314"/>
                  <a:gd name="connsiteY2" fmla="*/ 183495 h 457714"/>
                  <a:gd name="connsiteX3" fmla="*/ 31423 w 381314"/>
                  <a:gd name="connsiteY3" fmla="*/ 206355 h 457714"/>
                  <a:gd name="connsiteX4" fmla="*/ 16183 w 381314"/>
                  <a:gd name="connsiteY4" fmla="*/ 267315 h 457714"/>
                  <a:gd name="connsiteX5" fmla="*/ 2848 w 381314"/>
                  <a:gd name="connsiteY5" fmla="*/ 328275 h 457714"/>
                  <a:gd name="connsiteX6" fmla="*/ 160963 w 381314"/>
                  <a:gd name="connsiteY6" fmla="*/ 442575 h 457714"/>
                  <a:gd name="connsiteX7" fmla="*/ 191443 w 381314"/>
                  <a:gd name="connsiteY7" fmla="*/ 450195 h 457714"/>
                  <a:gd name="connsiteX8" fmla="*/ 238116 w 381314"/>
                  <a:gd name="connsiteY8" fmla="*/ 442575 h 457714"/>
                  <a:gd name="connsiteX9" fmla="*/ 290503 w 381314"/>
                  <a:gd name="connsiteY9" fmla="*/ 267315 h 457714"/>
                  <a:gd name="connsiteX10" fmla="*/ 320983 w 381314"/>
                  <a:gd name="connsiteY10" fmla="*/ 206355 h 457714"/>
                  <a:gd name="connsiteX11" fmla="*/ 328603 w 381314"/>
                  <a:gd name="connsiteY11" fmla="*/ 183495 h 457714"/>
                  <a:gd name="connsiteX12" fmla="*/ 366703 w 381314"/>
                  <a:gd name="connsiteY12" fmla="*/ 130155 h 457714"/>
                  <a:gd name="connsiteX13" fmla="*/ 374323 w 381314"/>
                  <a:gd name="connsiteY13" fmla="*/ 107295 h 457714"/>
                  <a:gd name="connsiteX14" fmla="*/ 256213 w 381314"/>
                  <a:gd name="connsiteY14" fmla="*/ 44430 h 457714"/>
                  <a:gd name="connsiteX15" fmla="*/ 183823 w 381314"/>
                  <a:gd name="connsiteY15" fmla="*/ 615 h 457714"/>
                  <a:gd name="connsiteX0" fmla="*/ 191920 w 389411"/>
                  <a:gd name="connsiteY0" fmla="*/ 615 h 457714"/>
                  <a:gd name="connsiteX1" fmla="*/ 146200 w 389411"/>
                  <a:gd name="connsiteY1" fmla="*/ 76815 h 457714"/>
                  <a:gd name="connsiteX2" fmla="*/ 54760 w 389411"/>
                  <a:gd name="connsiteY2" fmla="*/ 183495 h 457714"/>
                  <a:gd name="connsiteX3" fmla="*/ 39520 w 389411"/>
                  <a:gd name="connsiteY3" fmla="*/ 206355 h 457714"/>
                  <a:gd name="connsiteX4" fmla="*/ 9992 w 389411"/>
                  <a:gd name="connsiteY4" fmla="*/ 267315 h 457714"/>
                  <a:gd name="connsiteX5" fmla="*/ 10945 w 389411"/>
                  <a:gd name="connsiteY5" fmla="*/ 328275 h 457714"/>
                  <a:gd name="connsiteX6" fmla="*/ 169060 w 389411"/>
                  <a:gd name="connsiteY6" fmla="*/ 442575 h 457714"/>
                  <a:gd name="connsiteX7" fmla="*/ 199540 w 389411"/>
                  <a:gd name="connsiteY7" fmla="*/ 450195 h 457714"/>
                  <a:gd name="connsiteX8" fmla="*/ 246213 w 389411"/>
                  <a:gd name="connsiteY8" fmla="*/ 442575 h 457714"/>
                  <a:gd name="connsiteX9" fmla="*/ 298600 w 389411"/>
                  <a:gd name="connsiteY9" fmla="*/ 267315 h 457714"/>
                  <a:gd name="connsiteX10" fmla="*/ 329080 w 389411"/>
                  <a:gd name="connsiteY10" fmla="*/ 206355 h 457714"/>
                  <a:gd name="connsiteX11" fmla="*/ 336700 w 389411"/>
                  <a:gd name="connsiteY11" fmla="*/ 183495 h 457714"/>
                  <a:gd name="connsiteX12" fmla="*/ 374800 w 389411"/>
                  <a:gd name="connsiteY12" fmla="*/ 130155 h 457714"/>
                  <a:gd name="connsiteX13" fmla="*/ 382420 w 389411"/>
                  <a:gd name="connsiteY13" fmla="*/ 107295 h 457714"/>
                  <a:gd name="connsiteX14" fmla="*/ 264310 w 389411"/>
                  <a:gd name="connsiteY14" fmla="*/ 44430 h 457714"/>
                  <a:gd name="connsiteX15" fmla="*/ 191920 w 389411"/>
                  <a:gd name="connsiteY15" fmla="*/ 615 h 457714"/>
                  <a:gd name="connsiteX0" fmla="*/ 199540 w 389411"/>
                  <a:gd name="connsiteY0" fmla="*/ 450195 h 541635"/>
                  <a:gd name="connsiteX1" fmla="*/ 246213 w 389411"/>
                  <a:gd name="connsiteY1" fmla="*/ 442575 h 541635"/>
                  <a:gd name="connsiteX2" fmla="*/ 298600 w 389411"/>
                  <a:gd name="connsiteY2" fmla="*/ 267315 h 541635"/>
                  <a:gd name="connsiteX3" fmla="*/ 329080 w 389411"/>
                  <a:gd name="connsiteY3" fmla="*/ 206355 h 541635"/>
                  <a:gd name="connsiteX4" fmla="*/ 336700 w 389411"/>
                  <a:gd name="connsiteY4" fmla="*/ 183495 h 541635"/>
                  <a:gd name="connsiteX5" fmla="*/ 374800 w 389411"/>
                  <a:gd name="connsiteY5" fmla="*/ 130155 h 541635"/>
                  <a:gd name="connsiteX6" fmla="*/ 382420 w 389411"/>
                  <a:gd name="connsiteY6" fmla="*/ 107295 h 541635"/>
                  <a:gd name="connsiteX7" fmla="*/ 264310 w 389411"/>
                  <a:gd name="connsiteY7" fmla="*/ 44430 h 541635"/>
                  <a:gd name="connsiteX8" fmla="*/ 191920 w 389411"/>
                  <a:gd name="connsiteY8" fmla="*/ 615 h 541635"/>
                  <a:gd name="connsiteX9" fmla="*/ 146200 w 389411"/>
                  <a:gd name="connsiteY9" fmla="*/ 76815 h 541635"/>
                  <a:gd name="connsiteX10" fmla="*/ 54760 w 389411"/>
                  <a:gd name="connsiteY10" fmla="*/ 183495 h 541635"/>
                  <a:gd name="connsiteX11" fmla="*/ 39520 w 389411"/>
                  <a:gd name="connsiteY11" fmla="*/ 206355 h 541635"/>
                  <a:gd name="connsiteX12" fmla="*/ 9992 w 389411"/>
                  <a:gd name="connsiteY12" fmla="*/ 267315 h 541635"/>
                  <a:gd name="connsiteX13" fmla="*/ 10945 w 389411"/>
                  <a:gd name="connsiteY13" fmla="*/ 328275 h 541635"/>
                  <a:gd name="connsiteX14" fmla="*/ 169060 w 389411"/>
                  <a:gd name="connsiteY14" fmla="*/ 442575 h 541635"/>
                  <a:gd name="connsiteX15" fmla="*/ 290980 w 389411"/>
                  <a:gd name="connsiteY15" fmla="*/ 541635 h 541635"/>
                  <a:gd name="connsiteX0" fmla="*/ 199540 w 389411"/>
                  <a:gd name="connsiteY0" fmla="*/ 450195 h 457714"/>
                  <a:gd name="connsiteX1" fmla="*/ 246213 w 389411"/>
                  <a:gd name="connsiteY1" fmla="*/ 442575 h 457714"/>
                  <a:gd name="connsiteX2" fmla="*/ 298600 w 389411"/>
                  <a:gd name="connsiteY2" fmla="*/ 267315 h 457714"/>
                  <a:gd name="connsiteX3" fmla="*/ 329080 w 389411"/>
                  <a:gd name="connsiteY3" fmla="*/ 206355 h 457714"/>
                  <a:gd name="connsiteX4" fmla="*/ 336700 w 389411"/>
                  <a:gd name="connsiteY4" fmla="*/ 183495 h 457714"/>
                  <a:gd name="connsiteX5" fmla="*/ 374800 w 389411"/>
                  <a:gd name="connsiteY5" fmla="*/ 130155 h 457714"/>
                  <a:gd name="connsiteX6" fmla="*/ 382420 w 389411"/>
                  <a:gd name="connsiteY6" fmla="*/ 107295 h 457714"/>
                  <a:gd name="connsiteX7" fmla="*/ 264310 w 389411"/>
                  <a:gd name="connsiteY7" fmla="*/ 44430 h 457714"/>
                  <a:gd name="connsiteX8" fmla="*/ 191920 w 389411"/>
                  <a:gd name="connsiteY8" fmla="*/ 615 h 457714"/>
                  <a:gd name="connsiteX9" fmla="*/ 146200 w 389411"/>
                  <a:gd name="connsiteY9" fmla="*/ 76815 h 457714"/>
                  <a:gd name="connsiteX10" fmla="*/ 54760 w 389411"/>
                  <a:gd name="connsiteY10" fmla="*/ 183495 h 457714"/>
                  <a:gd name="connsiteX11" fmla="*/ 39520 w 389411"/>
                  <a:gd name="connsiteY11" fmla="*/ 206355 h 457714"/>
                  <a:gd name="connsiteX12" fmla="*/ 9992 w 389411"/>
                  <a:gd name="connsiteY12" fmla="*/ 267315 h 457714"/>
                  <a:gd name="connsiteX13" fmla="*/ 10945 w 389411"/>
                  <a:gd name="connsiteY13" fmla="*/ 328275 h 457714"/>
                  <a:gd name="connsiteX14" fmla="*/ 169060 w 389411"/>
                  <a:gd name="connsiteY14" fmla="*/ 442575 h 457714"/>
                  <a:gd name="connsiteX0" fmla="*/ 199540 w 389411"/>
                  <a:gd name="connsiteY0" fmla="*/ 450195 h 450195"/>
                  <a:gd name="connsiteX1" fmla="*/ 298600 w 389411"/>
                  <a:gd name="connsiteY1" fmla="*/ 267315 h 450195"/>
                  <a:gd name="connsiteX2" fmla="*/ 329080 w 389411"/>
                  <a:gd name="connsiteY2" fmla="*/ 206355 h 450195"/>
                  <a:gd name="connsiteX3" fmla="*/ 336700 w 389411"/>
                  <a:gd name="connsiteY3" fmla="*/ 183495 h 450195"/>
                  <a:gd name="connsiteX4" fmla="*/ 374800 w 389411"/>
                  <a:gd name="connsiteY4" fmla="*/ 130155 h 450195"/>
                  <a:gd name="connsiteX5" fmla="*/ 382420 w 389411"/>
                  <a:gd name="connsiteY5" fmla="*/ 107295 h 450195"/>
                  <a:gd name="connsiteX6" fmla="*/ 264310 w 389411"/>
                  <a:gd name="connsiteY6" fmla="*/ 44430 h 450195"/>
                  <a:gd name="connsiteX7" fmla="*/ 191920 w 389411"/>
                  <a:gd name="connsiteY7" fmla="*/ 615 h 450195"/>
                  <a:gd name="connsiteX8" fmla="*/ 146200 w 389411"/>
                  <a:gd name="connsiteY8" fmla="*/ 76815 h 450195"/>
                  <a:gd name="connsiteX9" fmla="*/ 54760 w 389411"/>
                  <a:gd name="connsiteY9" fmla="*/ 183495 h 450195"/>
                  <a:gd name="connsiteX10" fmla="*/ 39520 w 389411"/>
                  <a:gd name="connsiteY10" fmla="*/ 206355 h 450195"/>
                  <a:gd name="connsiteX11" fmla="*/ 9992 w 389411"/>
                  <a:gd name="connsiteY11" fmla="*/ 267315 h 450195"/>
                  <a:gd name="connsiteX12" fmla="*/ 10945 w 389411"/>
                  <a:gd name="connsiteY12" fmla="*/ 328275 h 450195"/>
                  <a:gd name="connsiteX13" fmla="*/ 169060 w 389411"/>
                  <a:gd name="connsiteY13" fmla="*/ 442575 h 450195"/>
                  <a:gd name="connsiteX0" fmla="*/ 298600 w 389411"/>
                  <a:gd name="connsiteY0" fmla="*/ 267315 h 442575"/>
                  <a:gd name="connsiteX1" fmla="*/ 329080 w 389411"/>
                  <a:gd name="connsiteY1" fmla="*/ 206355 h 442575"/>
                  <a:gd name="connsiteX2" fmla="*/ 336700 w 389411"/>
                  <a:gd name="connsiteY2" fmla="*/ 183495 h 442575"/>
                  <a:gd name="connsiteX3" fmla="*/ 374800 w 389411"/>
                  <a:gd name="connsiteY3" fmla="*/ 130155 h 442575"/>
                  <a:gd name="connsiteX4" fmla="*/ 382420 w 389411"/>
                  <a:gd name="connsiteY4" fmla="*/ 107295 h 442575"/>
                  <a:gd name="connsiteX5" fmla="*/ 264310 w 389411"/>
                  <a:gd name="connsiteY5" fmla="*/ 44430 h 442575"/>
                  <a:gd name="connsiteX6" fmla="*/ 191920 w 389411"/>
                  <a:gd name="connsiteY6" fmla="*/ 615 h 442575"/>
                  <a:gd name="connsiteX7" fmla="*/ 146200 w 389411"/>
                  <a:gd name="connsiteY7" fmla="*/ 76815 h 442575"/>
                  <a:gd name="connsiteX8" fmla="*/ 54760 w 389411"/>
                  <a:gd name="connsiteY8" fmla="*/ 183495 h 442575"/>
                  <a:gd name="connsiteX9" fmla="*/ 39520 w 389411"/>
                  <a:gd name="connsiteY9" fmla="*/ 206355 h 442575"/>
                  <a:gd name="connsiteX10" fmla="*/ 9992 w 389411"/>
                  <a:gd name="connsiteY10" fmla="*/ 267315 h 442575"/>
                  <a:gd name="connsiteX11" fmla="*/ 10945 w 389411"/>
                  <a:gd name="connsiteY11" fmla="*/ 328275 h 442575"/>
                  <a:gd name="connsiteX12" fmla="*/ 169060 w 389411"/>
                  <a:gd name="connsiteY12" fmla="*/ 442575 h 4425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9411" h="442575">
                    <a:moveTo>
                      <a:pt x="298600" y="267315"/>
                    </a:moveTo>
                    <a:cubicBezTo>
                      <a:pt x="320190" y="226675"/>
                      <a:pt x="321896" y="227908"/>
                      <a:pt x="329080" y="206355"/>
                    </a:cubicBezTo>
                    <a:cubicBezTo>
                      <a:pt x="331620" y="198735"/>
                      <a:pt x="333108" y="190679"/>
                      <a:pt x="336700" y="183495"/>
                    </a:cubicBezTo>
                    <a:cubicBezTo>
                      <a:pt x="342271" y="172353"/>
                      <a:pt x="369623" y="137058"/>
                      <a:pt x="374800" y="130155"/>
                    </a:cubicBezTo>
                    <a:cubicBezTo>
                      <a:pt x="377340" y="122535"/>
                      <a:pt x="400835" y="121583"/>
                      <a:pt x="382420" y="107295"/>
                    </a:cubicBezTo>
                    <a:cubicBezTo>
                      <a:pt x="364005" y="93008"/>
                      <a:pt x="296060" y="62210"/>
                      <a:pt x="264310" y="44430"/>
                    </a:cubicBezTo>
                    <a:cubicBezTo>
                      <a:pt x="232560" y="26650"/>
                      <a:pt x="211605" y="-4782"/>
                      <a:pt x="191920" y="615"/>
                    </a:cubicBezTo>
                    <a:cubicBezTo>
                      <a:pt x="172235" y="6012"/>
                      <a:pt x="169060" y="46335"/>
                      <a:pt x="146200" y="76815"/>
                    </a:cubicBezTo>
                    <a:cubicBezTo>
                      <a:pt x="123340" y="107295"/>
                      <a:pt x="72540" y="161905"/>
                      <a:pt x="54760" y="183495"/>
                    </a:cubicBezTo>
                    <a:cubicBezTo>
                      <a:pt x="36980" y="205085"/>
                      <a:pt x="46981" y="192385"/>
                      <a:pt x="39520" y="206355"/>
                    </a:cubicBezTo>
                    <a:cubicBezTo>
                      <a:pt x="32059" y="220325"/>
                      <a:pt x="12890" y="252824"/>
                      <a:pt x="9992" y="267315"/>
                    </a:cubicBezTo>
                    <a:cubicBezTo>
                      <a:pt x="15072" y="300335"/>
                      <a:pt x="-15566" y="299065"/>
                      <a:pt x="10945" y="328275"/>
                    </a:cubicBezTo>
                    <a:cubicBezTo>
                      <a:pt x="37456" y="357485"/>
                      <a:pt x="142390" y="428605"/>
                      <a:pt x="169060" y="442575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BDC72A96-DF5D-41CB-EE38-5C10AAE26437}"/>
                  </a:ext>
                </a:extLst>
              </p:cNvPr>
              <p:cNvSpPr/>
              <p:nvPr/>
            </p:nvSpPr>
            <p:spPr>
              <a:xfrm>
                <a:off x="4302959" y="4952838"/>
                <a:ext cx="368334" cy="368304"/>
              </a:xfrm>
              <a:custGeom>
                <a:avLst/>
                <a:gdLst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38100 w 320040"/>
                  <a:gd name="connsiteY4" fmla="*/ 129702 h 365922"/>
                  <a:gd name="connsiteX5" fmla="*/ 30480 w 320040"/>
                  <a:gd name="connsiteY5" fmla="*/ 160182 h 365922"/>
                  <a:gd name="connsiteX6" fmla="*/ 22860 w 320040"/>
                  <a:gd name="connsiteY6" fmla="*/ 183042 h 365922"/>
                  <a:gd name="connsiteX7" fmla="*/ 15240 w 320040"/>
                  <a:gd name="connsiteY7" fmla="*/ 221142 h 365922"/>
                  <a:gd name="connsiteX8" fmla="*/ 0 w 320040"/>
                  <a:gd name="connsiteY8" fmla="*/ 251622 h 365922"/>
                  <a:gd name="connsiteX9" fmla="*/ 7620 w 320040"/>
                  <a:gd name="connsiteY9" fmla="*/ 304962 h 365922"/>
                  <a:gd name="connsiteX10" fmla="*/ 15240 w 320040"/>
                  <a:gd name="connsiteY10" fmla="*/ 327822 h 365922"/>
                  <a:gd name="connsiteX11" fmla="*/ 45720 w 320040"/>
                  <a:gd name="connsiteY11" fmla="*/ 343062 h 365922"/>
                  <a:gd name="connsiteX12" fmla="*/ 144780 w 320040"/>
                  <a:gd name="connsiteY12" fmla="*/ 365922 h 365922"/>
                  <a:gd name="connsiteX13" fmla="*/ 205740 w 320040"/>
                  <a:gd name="connsiteY13" fmla="*/ 350682 h 365922"/>
                  <a:gd name="connsiteX14" fmla="*/ 220980 w 320040"/>
                  <a:gd name="connsiteY14" fmla="*/ 327822 h 365922"/>
                  <a:gd name="connsiteX15" fmla="*/ 243840 w 320040"/>
                  <a:gd name="connsiteY15" fmla="*/ 289722 h 365922"/>
                  <a:gd name="connsiteX16" fmla="*/ 266700 w 320040"/>
                  <a:gd name="connsiteY16" fmla="*/ 221142 h 365922"/>
                  <a:gd name="connsiteX17" fmla="*/ 289560 w 320040"/>
                  <a:gd name="connsiteY17" fmla="*/ 167802 h 365922"/>
                  <a:gd name="connsiteX18" fmla="*/ 304800 w 320040"/>
                  <a:gd name="connsiteY18" fmla="*/ 137322 h 365922"/>
                  <a:gd name="connsiteX19" fmla="*/ 312420 w 320040"/>
                  <a:gd name="connsiteY19" fmla="*/ 106842 h 365922"/>
                  <a:gd name="connsiteX20" fmla="*/ 320040 w 320040"/>
                  <a:gd name="connsiteY20" fmla="*/ 83982 h 365922"/>
                  <a:gd name="connsiteX21" fmla="*/ 266700 w 320040"/>
                  <a:gd name="connsiteY21" fmla="*/ 68742 h 365922"/>
                  <a:gd name="connsiteX22" fmla="*/ 152400 w 320040"/>
                  <a:gd name="connsiteY22" fmla="*/ 53502 h 365922"/>
                  <a:gd name="connsiteX23" fmla="*/ 114300 w 320040"/>
                  <a:gd name="connsiteY23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38100 w 320040"/>
                  <a:gd name="connsiteY4" fmla="*/ 129702 h 365922"/>
                  <a:gd name="connsiteX5" fmla="*/ 30480 w 320040"/>
                  <a:gd name="connsiteY5" fmla="*/ 160182 h 365922"/>
                  <a:gd name="connsiteX6" fmla="*/ 22860 w 320040"/>
                  <a:gd name="connsiteY6" fmla="*/ 183042 h 365922"/>
                  <a:gd name="connsiteX7" fmla="*/ 15240 w 320040"/>
                  <a:gd name="connsiteY7" fmla="*/ 221142 h 365922"/>
                  <a:gd name="connsiteX8" fmla="*/ 0 w 320040"/>
                  <a:gd name="connsiteY8" fmla="*/ 251622 h 365922"/>
                  <a:gd name="connsiteX9" fmla="*/ 7620 w 320040"/>
                  <a:gd name="connsiteY9" fmla="*/ 304962 h 365922"/>
                  <a:gd name="connsiteX10" fmla="*/ 15240 w 320040"/>
                  <a:gd name="connsiteY10" fmla="*/ 327822 h 365922"/>
                  <a:gd name="connsiteX11" fmla="*/ 45720 w 320040"/>
                  <a:gd name="connsiteY11" fmla="*/ 343062 h 365922"/>
                  <a:gd name="connsiteX12" fmla="*/ 144780 w 320040"/>
                  <a:gd name="connsiteY12" fmla="*/ 365922 h 365922"/>
                  <a:gd name="connsiteX13" fmla="*/ 205740 w 320040"/>
                  <a:gd name="connsiteY13" fmla="*/ 350682 h 365922"/>
                  <a:gd name="connsiteX14" fmla="*/ 220980 w 320040"/>
                  <a:gd name="connsiteY14" fmla="*/ 327822 h 365922"/>
                  <a:gd name="connsiteX15" fmla="*/ 243840 w 320040"/>
                  <a:gd name="connsiteY15" fmla="*/ 289722 h 365922"/>
                  <a:gd name="connsiteX16" fmla="*/ 266700 w 320040"/>
                  <a:gd name="connsiteY16" fmla="*/ 221142 h 365922"/>
                  <a:gd name="connsiteX17" fmla="*/ 289560 w 320040"/>
                  <a:gd name="connsiteY17" fmla="*/ 167802 h 365922"/>
                  <a:gd name="connsiteX18" fmla="*/ 304800 w 320040"/>
                  <a:gd name="connsiteY18" fmla="*/ 137322 h 365922"/>
                  <a:gd name="connsiteX19" fmla="*/ 312420 w 320040"/>
                  <a:gd name="connsiteY19" fmla="*/ 106842 h 365922"/>
                  <a:gd name="connsiteX20" fmla="*/ 320040 w 320040"/>
                  <a:gd name="connsiteY20" fmla="*/ 83982 h 365922"/>
                  <a:gd name="connsiteX21" fmla="*/ 266700 w 320040"/>
                  <a:gd name="connsiteY21" fmla="*/ 68742 h 365922"/>
                  <a:gd name="connsiteX22" fmla="*/ 114300 w 320040"/>
                  <a:gd name="connsiteY22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38100 w 320040"/>
                  <a:gd name="connsiteY4" fmla="*/ 129702 h 365922"/>
                  <a:gd name="connsiteX5" fmla="*/ 22860 w 320040"/>
                  <a:gd name="connsiteY5" fmla="*/ 183042 h 365922"/>
                  <a:gd name="connsiteX6" fmla="*/ 15240 w 320040"/>
                  <a:gd name="connsiteY6" fmla="*/ 221142 h 365922"/>
                  <a:gd name="connsiteX7" fmla="*/ 0 w 320040"/>
                  <a:gd name="connsiteY7" fmla="*/ 251622 h 365922"/>
                  <a:gd name="connsiteX8" fmla="*/ 7620 w 320040"/>
                  <a:gd name="connsiteY8" fmla="*/ 304962 h 365922"/>
                  <a:gd name="connsiteX9" fmla="*/ 15240 w 320040"/>
                  <a:gd name="connsiteY9" fmla="*/ 327822 h 365922"/>
                  <a:gd name="connsiteX10" fmla="*/ 45720 w 320040"/>
                  <a:gd name="connsiteY10" fmla="*/ 343062 h 365922"/>
                  <a:gd name="connsiteX11" fmla="*/ 144780 w 320040"/>
                  <a:gd name="connsiteY11" fmla="*/ 365922 h 365922"/>
                  <a:gd name="connsiteX12" fmla="*/ 205740 w 320040"/>
                  <a:gd name="connsiteY12" fmla="*/ 350682 h 365922"/>
                  <a:gd name="connsiteX13" fmla="*/ 220980 w 320040"/>
                  <a:gd name="connsiteY13" fmla="*/ 327822 h 365922"/>
                  <a:gd name="connsiteX14" fmla="*/ 243840 w 320040"/>
                  <a:gd name="connsiteY14" fmla="*/ 289722 h 365922"/>
                  <a:gd name="connsiteX15" fmla="*/ 266700 w 320040"/>
                  <a:gd name="connsiteY15" fmla="*/ 221142 h 365922"/>
                  <a:gd name="connsiteX16" fmla="*/ 289560 w 320040"/>
                  <a:gd name="connsiteY16" fmla="*/ 167802 h 365922"/>
                  <a:gd name="connsiteX17" fmla="*/ 304800 w 320040"/>
                  <a:gd name="connsiteY17" fmla="*/ 137322 h 365922"/>
                  <a:gd name="connsiteX18" fmla="*/ 312420 w 320040"/>
                  <a:gd name="connsiteY18" fmla="*/ 106842 h 365922"/>
                  <a:gd name="connsiteX19" fmla="*/ 320040 w 320040"/>
                  <a:gd name="connsiteY19" fmla="*/ 83982 h 365922"/>
                  <a:gd name="connsiteX20" fmla="*/ 266700 w 320040"/>
                  <a:gd name="connsiteY20" fmla="*/ 68742 h 365922"/>
                  <a:gd name="connsiteX21" fmla="*/ 114300 w 320040"/>
                  <a:gd name="connsiteY21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38100 w 320040"/>
                  <a:gd name="connsiteY4" fmla="*/ 129702 h 365922"/>
                  <a:gd name="connsiteX5" fmla="*/ 15240 w 320040"/>
                  <a:gd name="connsiteY5" fmla="*/ 221142 h 365922"/>
                  <a:gd name="connsiteX6" fmla="*/ 0 w 320040"/>
                  <a:gd name="connsiteY6" fmla="*/ 251622 h 365922"/>
                  <a:gd name="connsiteX7" fmla="*/ 7620 w 320040"/>
                  <a:gd name="connsiteY7" fmla="*/ 304962 h 365922"/>
                  <a:gd name="connsiteX8" fmla="*/ 15240 w 320040"/>
                  <a:gd name="connsiteY8" fmla="*/ 327822 h 365922"/>
                  <a:gd name="connsiteX9" fmla="*/ 45720 w 320040"/>
                  <a:gd name="connsiteY9" fmla="*/ 343062 h 365922"/>
                  <a:gd name="connsiteX10" fmla="*/ 144780 w 320040"/>
                  <a:gd name="connsiteY10" fmla="*/ 365922 h 365922"/>
                  <a:gd name="connsiteX11" fmla="*/ 205740 w 320040"/>
                  <a:gd name="connsiteY11" fmla="*/ 350682 h 365922"/>
                  <a:gd name="connsiteX12" fmla="*/ 220980 w 320040"/>
                  <a:gd name="connsiteY12" fmla="*/ 327822 h 365922"/>
                  <a:gd name="connsiteX13" fmla="*/ 243840 w 320040"/>
                  <a:gd name="connsiteY13" fmla="*/ 289722 h 365922"/>
                  <a:gd name="connsiteX14" fmla="*/ 266700 w 320040"/>
                  <a:gd name="connsiteY14" fmla="*/ 221142 h 365922"/>
                  <a:gd name="connsiteX15" fmla="*/ 289560 w 320040"/>
                  <a:gd name="connsiteY15" fmla="*/ 167802 h 365922"/>
                  <a:gd name="connsiteX16" fmla="*/ 304800 w 320040"/>
                  <a:gd name="connsiteY16" fmla="*/ 137322 h 365922"/>
                  <a:gd name="connsiteX17" fmla="*/ 312420 w 320040"/>
                  <a:gd name="connsiteY17" fmla="*/ 106842 h 365922"/>
                  <a:gd name="connsiteX18" fmla="*/ 320040 w 320040"/>
                  <a:gd name="connsiteY18" fmla="*/ 83982 h 365922"/>
                  <a:gd name="connsiteX19" fmla="*/ 266700 w 320040"/>
                  <a:gd name="connsiteY19" fmla="*/ 68742 h 365922"/>
                  <a:gd name="connsiteX20" fmla="*/ 114300 w 320040"/>
                  <a:gd name="connsiteY20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68580 w 320040"/>
                  <a:gd name="connsiteY3" fmla="*/ 83982 h 365922"/>
                  <a:gd name="connsiteX4" fmla="*/ 15240 w 320040"/>
                  <a:gd name="connsiteY4" fmla="*/ 221142 h 365922"/>
                  <a:gd name="connsiteX5" fmla="*/ 0 w 320040"/>
                  <a:gd name="connsiteY5" fmla="*/ 251622 h 365922"/>
                  <a:gd name="connsiteX6" fmla="*/ 7620 w 320040"/>
                  <a:gd name="connsiteY6" fmla="*/ 304962 h 365922"/>
                  <a:gd name="connsiteX7" fmla="*/ 15240 w 320040"/>
                  <a:gd name="connsiteY7" fmla="*/ 327822 h 365922"/>
                  <a:gd name="connsiteX8" fmla="*/ 45720 w 320040"/>
                  <a:gd name="connsiteY8" fmla="*/ 343062 h 365922"/>
                  <a:gd name="connsiteX9" fmla="*/ 144780 w 320040"/>
                  <a:gd name="connsiteY9" fmla="*/ 365922 h 365922"/>
                  <a:gd name="connsiteX10" fmla="*/ 205740 w 320040"/>
                  <a:gd name="connsiteY10" fmla="*/ 350682 h 365922"/>
                  <a:gd name="connsiteX11" fmla="*/ 220980 w 320040"/>
                  <a:gd name="connsiteY11" fmla="*/ 327822 h 365922"/>
                  <a:gd name="connsiteX12" fmla="*/ 243840 w 320040"/>
                  <a:gd name="connsiteY12" fmla="*/ 289722 h 365922"/>
                  <a:gd name="connsiteX13" fmla="*/ 266700 w 320040"/>
                  <a:gd name="connsiteY13" fmla="*/ 221142 h 365922"/>
                  <a:gd name="connsiteX14" fmla="*/ 289560 w 320040"/>
                  <a:gd name="connsiteY14" fmla="*/ 167802 h 365922"/>
                  <a:gd name="connsiteX15" fmla="*/ 304800 w 320040"/>
                  <a:gd name="connsiteY15" fmla="*/ 137322 h 365922"/>
                  <a:gd name="connsiteX16" fmla="*/ 312420 w 320040"/>
                  <a:gd name="connsiteY16" fmla="*/ 106842 h 365922"/>
                  <a:gd name="connsiteX17" fmla="*/ 320040 w 320040"/>
                  <a:gd name="connsiteY17" fmla="*/ 83982 h 365922"/>
                  <a:gd name="connsiteX18" fmla="*/ 266700 w 320040"/>
                  <a:gd name="connsiteY18" fmla="*/ 68742 h 365922"/>
                  <a:gd name="connsiteX19" fmla="*/ 114300 w 320040"/>
                  <a:gd name="connsiteY19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75723 w 320040"/>
                  <a:gd name="connsiteY3" fmla="*/ 107794 h 365922"/>
                  <a:gd name="connsiteX4" fmla="*/ 15240 w 320040"/>
                  <a:gd name="connsiteY4" fmla="*/ 221142 h 365922"/>
                  <a:gd name="connsiteX5" fmla="*/ 0 w 320040"/>
                  <a:gd name="connsiteY5" fmla="*/ 251622 h 365922"/>
                  <a:gd name="connsiteX6" fmla="*/ 7620 w 320040"/>
                  <a:gd name="connsiteY6" fmla="*/ 304962 h 365922"/>
                  <a:gd name="connsiteX7" fmla="*/ 15240 w 320040"/>
                  <a:gd name="connsiteY7" fmla="*/ 327822 h 365922"/>
                  <a:gd name="connsiteX8" fmla="*/ 45720 w 320040"/>
                  <a:gd name="connsiteY8" fmla="*/ 343062 h 365922"/>
                  <a:gd name="connsiteX9" fmla="*/ 144780 w 320040"/>
                  <a:gd name="connsiteY9" fmla="*/ 365922 h 365922"/>
                  <a:gd name="connsiteX10" fmla="*/ 205740 w 320040"/>
                  <a:gd name="connsiteY10" fmla="*/ 350682 h 365922"/>
                  <a:gd name="connsiteX11" fmla="*/ 220980 w 320040"/>
                  <a:gd name="connsiteY11" fmla="*/ 327822 h 365922"/>
                  <a:gd name="connsiteX12" fmla="*/ 243840 w 320040"/>
                  <a:gd name="connsiteY12" fmla="*/ 289722 h 365922"/>
                  <a:gd name="connsiteX13" fmla="*/ 266700 w 320040"/>
                  <a:gd name="connsiteY13" fmla="*/ 221142 h 365922"/>
                  <a:gd name="connsiteX14" fmla="*/ 289560 w 320040"/>
                  <a:gd name="connsiteY14" fmla="*/ 167802 h 365922"/>
                  <a:gd name="connsiteX15" fmla="*/ 304800 w 320040"/>
                  <a:gd name="connsiteY15" fmla="*/ 137322 h 365922"/>
                  <a:gd name="connsiteX16" fmla="*/ 312420 w 320040"/>
                  <a:gd name="connsiteY16" fmla="*/ 106842 h 365922"/>
                  <a:gd name="connsiteX17" fmla="*/ 320040 w 320040"/>
                  <a:gd name="connsiteY17" fmla="*/ 83982 h 365922"/>
                  <a:gd name="connsiteX18" fmla="*/ 266700 w 320040"/>
                  <a:gd name="connsiteY18" fmla="*/ 68742 h 365922"/>
                  <a:gd name="connsiteX19" fmla="*/ 114300 w 320040"/>
                  <a:gd name="connsiteY19" fmla="*/ 162 h 365922"/>
                  <a:gd name="connsiteX0" fmla="*/ 114300 w 320040"/>
                  <a:gd name="connsiteY0" fmla="*/ 162 h 365922"/>
                  <a:gd name="connsiteX1" fmla="*/ 99060 w 320040"/>
                  <a:gd name="connsiteY1" fmla="*/ 38262 h 365922"/>
                  <a:gd name="connsiteX2" fmla="*/ 91440 w 320040"/>
                  <a:gd name="connsiteY2" fmla="*/ 61122 h 365922"/>
                  <a:gd name="connsiteX3" fmla="*/ 75723 w 320040"/>
                  <a:gd name="connsiteY3" fmla="*/ 107794 h 365922"/>
                  <a:gd name="connsiteX4" fmla="*/ 29528 w 320040"/>
                  <a:gd name="connsiteY4" fmla="*/ 211617 h 365922"/>
                  <a:gd name="connsiteX5" fmla="*/ 0 w 320040"/>
                  <a:gd name="connsiteY5" fmla="*/ 251622 h 365922"/>
                  <a:gd name="connsiteX6" fmla="*/ 7620 w 320040"/>
                  <a:gd name="connsiteY6" fmla="*/ 304962 h 365922"/>
                  <a:gd name="connsiteX7" fmla="*/ 15240 w 320040"/>
                  <a:gd name="connsiteY7" fmla="*/ 327822 h 365922"/>
                  <a:gd name="connsiteX8" fmla="*/ 45720 w 320040"/>
                  <a:gd name="connsiteY8" fmla="*/ 343062 h 365922"/>
                  <a:gd name="connsiteX9" fmla="*/ 144780 w 320040"/>
                  <a:gd name="connsiteY9" fmla="*/ 365922 h 365922"/>
                  <a:gd name="connsiteX10" fmla="*/ 205740 w 320040"/>
                  <a:gd name="connsiteY10" fmla="*/ 350682 h 365922"/>
                  <a:gd name="connsiteX11" fmla="*/ 220980 w 320040"/>
                  <a:gd name="connsiteY11" fmla="*/ 327822 h 365922"/>
                  <a:gd name="connsiteX12" fmla="*/ 243840 w 320040"/>
                  <a:gd name="connsiteY12" fmla="*/ 289722 h 365922"/>
                  <a:gd name="connsiteX13" fmla="*/ 266700 w 320040"/>
                  <a:gd name="connsiteY13" fmla="*/ 221142 h 365922"/>
                  <a:gd name="connsiteX14" fmla="*/ 289560 w 320040"/>
                  <a:gd name="connsiteY14" fmla="*/ 167802 h 365922"/>
                  <a:gd name="connsiteX15" fmla="*/ 304800 w 320040"/>
                  <a:gd name="connsiteY15" fmla="*/ 137322 h 365922"/>
                  <a:gd name="connsiteX16" fmla="*/ 312420 w 320040"/>
                  <a:gd name="connsiteY16" fmla="*/ 106842 h 365922"/>
                  <a:gd name="connsiteX17" fmla="*/ 320040 w 320040"/>
                  <a:gd name="connsiteY17" fmla="*/ 83982 h 365922"/>
                  <a:gd name="connsiteX18" fmla="*/ 266700 w 320040"/>
                  <a:gd name="connsiteY18" fmla="*/ 68742 h 365922"/>
                  <a:gd name="connsiteX19" fmla="*/ 114300 w 320040"/>
                  <a:gd name="connsiteY19" fmla="*/ 162 h 365922"/>
                  <a:gd name="connsiteX0" fmla="*/ 106698 w 312438"/>
                  <a:gd name="connsiteY0" fmla="*/ 162 h 365922"/>
                  <a:gd name="connsiteX1" fmla="*/ 91458 w 312438"/>
                  <a:gd name="connsiteY1" fmla="*/ 38262 h 365922"/>
                  <a:gd name="connsiteX2" fmla="*/ 83838 w 312438"/>
                  <a:gd name="connsiteY2" fmla="*/ 61122 h 365922"/>
                  <a:gd name="connsiteX3" fmla="*/ 68121 w 312438"/>
                  <a:gd name="connsiteY3" fmla="*/ 107794 h 365922"/>
                  <a:gd name="connsiteX4" fmla="*/ 21926 w 312438"/>
                  <a:gd name="connsiteY4" fmla="*/ 211617 h 365922"/>
                  <a:gd name="connsiteX5" fmla="*/ 9067 w 312438"/>
                  <a:gd name="connsiteY5" fmla="*/ 242097 h 365922"/>
                  <a:gd name="connsiteX6" fmla="*/ 18 w 312438"/>
                  <a:gd name="connsiteY6" fmla="*/ 304962 h 365922"/>
                  <a:gd name="connsiteX7" fmla="*/ 7638 w 312438"/>
                  <a:gd name="connsiteY7" fmla="*/ 327822 h 365922"/>
                  <a:gd name="connsiteX8" fmla="*/ 38118 w 312438"/>
                  <a:gd name="connsiteY8" fmla="*/ 343062 h 365922"/>
                  <a:gd name="connsiteX9" fmla="*/ 137178 w 312438"/>
                  <a:gd name="connsiteY9" fmla="*/ 365922 h 365922"/>
                  <a:gd name="connsiteX10" fmla="*/ 198138 w 312438"/>
                  <a:gd name="connsiteY10" fmla="*/ 350682 h 365922"/>
                  <a:gd name="connsiteX11" fmla="*/ 213378 w 312438"/>
                  <a:gd name="connsiteY11" fmla="*/ 327822 h 365922"/>
                  <a:gd name="connsiteX12" fmla="*/ 236238 w 312438"/>
                  <a:gd name="connsiteY12" fmla="*/ 289722 h 365922"/>
                  <a:gd name="connsiteX13" fmla="*/ 259098 w 312438"/>
                  <a:gd name="connsiteY13" fmla="*/ 221142 h 365922"/>
                  <a:gd name="connsiteX14" fmla="*/ 281958 w 312438"/>
                  <a:gd name="connsiteY14" fmla="*/ 167802 h 365922"/>
                  <a:gd name="connsiteX15" fmla="*/ 297198 w 312438"/>
                  <a:gd name="connsiteY15" fmla="*/ 137322 h 365922"/>
                  <a:gd name="connsiteX16" fmla="*/ 304818 w 312438"/>
                  <a:gd name="connsiteY16" fmla="*/ 106842 h 365922"/>
                  <a:gd name="connsiteX17" fmla="*/ 312438 w 312438"/>
                  <a:gd name="connsiteY17" fmla="*/ 83982 h 365922"/>
                  <a:gd name="connsiteX18" fmla="*/ 259098 w 312438"/>
                  <a:gd name="connsiteY18" fmla="*/ 68742 h 365922"/>
                  <a:gd name="connsiteX19" fmla="*/ 106698 w 312438"/>
                  <a:gd name="connsiteY19" fmla="*/ 162 h 365922"/>
                  <a:gd name="connsiteX0" fmla="*/ 107578 w 313318"/>
                  <a:gd name="connsiteY0" fmla="*/ 162 h 365922"/>
                  <a:gd name="connsiteX1" fmla="*/ 92338 w 313318"/>
                  <a:gd name="connsiteY1" fmla="*/ 38262 h 365922"/>
                  <a:gd name="connsiteX2" fmla="*/ 84718 w 313318"/>
                  <a:gd name="connsiteY2" fmla="*/ 61122 h 365922"/>
                  <a:gd name="connsiteX3" fmla="*/ 69001 w 313318"/>
                  <a:gd name="connsiteY3" fmla="*/ 107794 h 365922"/>
                  <a:gd name="connsiteX4" fmla="*/ 22806 w 313318"/>
                  <a:gd name="connsiteY4" fmla="*/ 211617 h 365922"/>
                  <a:gd name="connsiteX5" fmla="*/ 9947 w 313318"/>
                  <a:gd name="connsiteY5" fmla="*/ 242097 h 365922"/>
                  <a:gd name="connsiteX6" fmla="*/ 898 w 313318"/>
                  <a:gd name="connsiteY6" fmla="*/ 304962 h 365922"/>
                  <a:gd name="connsiteX7" fmla="*/ 38998 w 313318"/>
                  <a:gd name="connsiteY7" fmla="*/ 343062 h 365922"/>
                  <a:gd name="connsiteX8" fmla="*/ 138058 w 313318"/>
                  <a:gd name="connsiteY8" fmla="*/ 365922 h 365922"/>
                  <a:gd name="connsiteX9" fmla="*/ 199018 w 313318"/>
                  <a:gd name="connsiteY9" fmla="*/ 350682 h 365922"/>
                  <a:gd name="connsiteX10" fmla="*/ 214258 w 313318"/>
                  <a:gd name="connsiteY10" fmla="*/ 327822 h 365922"/>
                  <a:gd name="connsiteX11" fmla="*/ 237118 w 313318"/>
                  <a:gd name="connsiteY11" fmla="*/ 289722 h 365922"/>
                  <a:gd name="connsiteX12" fmla="*/ 259978 w 313318"/>
                  <a:gd name="connsiteY12" fmla="*/ 221142 h 365922"/>
                  <a:gd name="connsiteX13" fmla="*/ 282838 w 313318"/>
                  <a:gd name="connsiteY13" fmla="*/ 167802 h 365922"/>
                  <a:gd name="connsiteX14" fmla="*/ 298078 w 313318"/>
                  <a:gd name="connsiteY14" fmla="*/ 137322 h 365922"/>
                  <a:gd name="connsiteX15" fmla="*/ 305698 w 313318"/>
                  <a:gd name="connsiteY15" fmla="*/ 106842 h 365922"/>
                  <a:gd name="connsiteX16" fmla="*/ 313318 w 313318"/>
                  <a:gd name="connsiteY16" fmla="*/ 83982 h 365922"/>
                  <a:gd name="connsiteX17" fmla="*/ 259978 w 313318"/>
                  <a:gd name="connsiteY17" fmla="*/ 68742 h 365922"/>
                  <a:gd name="connsiteX18" fmla="*/ 107578 w 313318"/>
                  <a:gd name="connsiteY18" fmla="*/ 162 h 365922"/>
                  <a:gd name="connsiteX0" fmla="*/ 116808 w 322548"/>
                  <a:gd name="connsiteY0" fmla="*/ 162 h 365922"/>
                  <a:gd name="connsiteX1" fmla="*/ 101568 w 322548"/>
                  <a:gd name="connsiteY1" fmla="*/ 38262 h 365922"/>
                  <a:gd name="connsiteX2" fmla="*/ 93948 w 322548"/>
                  <a:gd name="connsiteY2" fmla="*/ 61122 h 365922"/>
                  <a:gd name="connsiteX3" fmla="*/ 78231 w 322548"/>
                  <a:gd name="connsiteY3" fmla="*/ 107794 h 365922"/>
                  <a:gd name="connsiteX4" fmla="*/ 32036 w 322548"/>
                  <a:gd name="connsiteY4" fmla="*/ 211617 h 365922"/>
                  <a:gd name="connsiteX5" fmla="*/ 19177 w 322548"/>
                  <a:gd name="connsiteY5" fmla="*/ 242097 h 365922"/>
                  <a:gd name="connsiteX6" fmla="*/ 603 w 322548"/>
                  <a:gd name="connsiteY6" fmla="*/ 290674 h 365922"/>
                  <a:gd name="connsiteX7" fmla="*/ 48228 w 322548"/>
                  <a:gd name="connsiteY7" fmla="*/ 343062 h 365922"/>
                  <a:gd name="connsiteX8" fmla="*/ 147288 w 322548"/>
                  <a:gd name="connsiteY8" fmla="*/ 365922 h 365922"/>
                  <a:gd name="connsiteX9" fmla="*/ 208248 w 322548"/>
                  <a:gd name="connsiteY9" fmla="*/ 350682 h 365922"/>
                  <a:gd name="connsiteX10" fmla="*/ 223488 w 322548"/>
                  <a:gd name="connsiteY10" fmla="*/ 327822 h 365922"/>
                  <a:gd name="connsiteX11" fmla="*/ 246348 w 322548"/>
                  <a:gd name="connsiteY11" fmla="*/ 289722 h 365922"/>
                  <a:gd name="connsiteX12" fmla="*/ 269208 w 322548"/>
                  <a:gd name="connsiteY12" fmla="*/ 221142 h 365922"/>
                  <a:gd name="connsiteX13" fmla="*/ 292068 w 322548"/>
                  <a:gd name="connsiteY13" fmla="*/ 167802 h 365922"/>
                  <a:gd name="connsiteX14" fmla="*/ 307308 w 322548"/>
                  <a:gd name="connsiteY14" fmla="*/ 137322 h 365922"/>
                  <a:gd name="connsiteX15" fmla="*/ 314928 w 322548"/>
                  <a:gd name="connsiteY15" fmla="*/ 106842 h 365922"/>
                  <a:gd name="connsiteX16" fmla="*/ 322548 w 322548"/>
                  <a:gd name="connsiteY16" fmla="*/ 83982 h 365922"/>
                  <a:gd name="connsiteX17" fmla="*/ 269208 w 322548"/>
                  <a:gd name="connsiteY17" fmla="*/ 68742 h 365922"/>
                  <a:gd name="connsiteX18" fmla="*/ 116808 w 322548"/>
                  <a:gd name="connsiteY18" fmla="*/ 162 h 365922"/>
                  <a:gd name="connsiteX0" fmla="*/ 122229 w 327969"/>
                  <a:gd name="connsiteY0" fmla="*/ 162 h 365922"/>
                  <a:gd name="connsiteX1" fmla="*/ 106989 w 327969"/>
                  <a:gd name="connsiteY1" fmla="*/ 38262 h 365922"/>
                  <a:gd name="connsiteX2" fmla="*/ 99369 w 327969"/>
                  <a:gd name="connsiteY2" fmla="*/ 61122 h 365922"/>
                  <a:gd name="connsiteX3" fmla="*/ 83652 w 327969"/>
                  <a:gd name="connsiteY3" fmla="*/ 107794 h 365922"/>
                  <a:gd name="connsiteX4" fmla="*/ 37457 w 327969"/>
                  <a:gd name="connsiteY4" fmla="*/ 211617 h 365922"/>
                  <a:gd name="connsiteX5" fmla="*/ 24598 w 327969"/>
                  <a:gd name="connsiteY5" fmla="*/ 242097 h 365922"/>
                  <a:gd name="connsiteX6" fmla="*/ 6024 w 327969"/>
                  <a:gd name="connsiteY6" fmla="*/ 290674 h 365922"/>
                  <a:gd name="connsiteX7" fmla="*/ 152709 w 327969"/>
                  <a:gd name="connsiteY7" fmla="*/ 365922 h 365922"/>
                  <a:gd name="connsiteX8" fmla="*/ 213669 w 327969"/>
                  <a:gd name="connsiteY8" fmla="*/ 350682 h 365922"/>
                  <a:gd name="connsiteX9" fmla="*/ 228909 w 327969"/>
                  <a:gd name="connsiteY9" fmla="*/ 327822 h 365922"/>
                  <a:gd name="connsiteX10" fmla="*/ 251769 w 327969"/>
                  <a:gd name="connsiteY10" fmla="*/ 289722 h 365922"/>
                  <a:gd name="connsiteX11" fmla="*/ 274629 w 327969"/>
                  <a:gd name="connsiteY11" fmla="*/ 221142 h 365922"/>
                  <a:gd name="connsiteX12" fmla="*/ 297489 w 327969"/>
                  <a:gd name="connsiteY12" fmla="*/ 167802 h 365922"/>
                  <a:gd name="connsiteX13" fmla="*/ 312729 w 327969"/>
                  <a:gd name="connsiteY13" fmla="*/ 137322 h 365922"/>
                  <a:gd name="connsiteX14" fmla="*/ 320349 w 327969"/>
                  <a:gd name="connsiteY14" fmla="*/ 106842 h 365922"/>
                  <a:gd name="connsiteX15" fmla="*/ 327969 w 327969"/>
                  <a:gd name="connsiteY15" fmla="*/ 83982 h 365922"/>
                  <a:gd name="connsiteX16" fmla="*/ 274629 w 327969"/>
                  <a:gd name="connsiteY16" fmla="*/ 68742 h 365922"/>
                  <a:gd name="connsiteX17" fmla="*/ 122229 w 327969"/>
                  <a:gd name="connsiteY17" fmla="*/ 162 h 365922"/>
                  <a:gd name="connsiteX0" fmla="*/ 124261 w 330001"/>
                  <a:gd name="connsiteY0" fmla="*/ 162 h 368304"/>
                  <a:gd name="connsiteX1" fmla="*/ 109021 w 330001"/>
                  <a:gd name="connsiteY1" fmla="*/ 38262 h 368304"/>
                  <a:gd name="connsiteX2" fmla="*/ 101401 w 330001"/>
                  <a:gd name="connsiteY2" fmla="*/ 61122 h 368304"/>
                  <a:gd name="connsiteX3" fmla="*/ 85684 w 330001"/>
                  <a:gd name="connsiteY3" fmla="*/ 107794 h 368304"/>
                  <a:gd name="connsiteX4" fmla="*/ 39489 w 330001"/>
                  <a:gd name="connsiteY4" fmla="*/ 211617 h 368304"/>
                  <a:gd name="connsiteX5" fmla="*/ 26630 w 330001"/>
                  <a:gd name="connsiteY5" fmla="*/ 242097 h 368304"/>
                  <a:gd name="connsiteX6" fmla="*/ 8056 w 330001"/>
                  <a:gd name="connsiteY6" fmla="*/ 290674 h 368304"/>
                  <a:gd name="connsiteX7" fmla="*/ 185697 w 330001"/>
                  <a:gd name="connsiteY7" fmla="*/ 368304 h 368304"/>
                  <a:gd name="connsiteX8" fmla="*/ 215701 w 330001"/>
                  <a:gd name="connsiteY8" fmla="*/ 350682 h 368304"/>
                  <a:gd name="connsiteX9" fmla="*/ 230941 w 330001"/>
                  <a:gd name="connsiteY9" fmla="*/ 327822 h 368304"/>
                  <a:gd name="connsiteX10" fmla="*/ 253801 w 330001"/>
                  <a:gd name="connsiteY10" fmla="*/ 289722 h 368304"/>
                  <a:gd name="connsiteX11" fmla="*/ 276661 w 330001"/>
                  <a:gd name="connsiteY11" fmla="*/ 221142 h 368304"/>
                  <a:gd name="connsiteX12" fmla="*/ 299521 w 330001"/>
                  <a:gd name="connsiteY12" fmla="*/ 167802 h 368304"/>
                  <a:gd name="connsiteX13" fmla="*/ 314761 w 330001"/>
                  <a:gd name="connsiteY13" fmla="*/ 137322 h 368304"/>
                  <a:gd name="connsiteX14" fmla="*/ 322381 w 330001"/>
                  <a:gd name="connsiteY14" fmla="*/ 106842 h 368304"/>
                  <a:gd name="connsiteX15" fmla="*/ 330001 w 330001"/>
                  <a:gd name="connsiteY15" fmla="*/ 83982 h 368304"/>
                  <a:gd name="connsiteX16" fmla="*/ 276661 w 330001"/>
                  <a:gd name="connsiteY16" fmla="*/ 68742 h 368304"/>
                  <a:gd name="connsiteX17" fmla="*/ 124261 w 330001"/>
                  <a:gd name="connsiteY17" fmla="*/ 162 h 368304"/>
                  <a:gd name="connsiteX0" fmla="*/ 124261 w 330001"/>
                  <a:gd name="connsiteY0" fmla="*/ 162 h 368304"/>
                  <a:gd name="connsiteX1" fmla="*/ 109021 w 330001"/>
                  <a:gd name="connsiteY1" fmla="*/ 38262 h 368304"/>
                  <a:gd name="connsiteX2" fmla="*/ 101401 w 330001"/>
                  <a:gd name="connsiteY2" fmla="*/ 61122 h 368304"/>
                  <a:gd name="connsiteX3" fmla="*/ 85684 w 330001"/>
                  <a:gd name="connsiteY3" fmla="*/ 107794 h 368304"/>
                  <a:gd name="connsiteX4" fmla="*/ 39489 w 330001"/>
                  <a:gd name="connsiteY4" fmla="*/ 211617 h 368304"/>
                  <a:gd name="connsiteX5" fmla="*/ 26630 w 330001"/>
                  <a:gd name="connsiteY5" fmla="*/ 242097 h 368304"/>
                  <a:gd name="connsiteX6" fmla="*/ 8056 w 330001"/>
                  <a:gd name="connsiteY6" fmla="*/ 290674 h 368304"/>
                  <a:gd name="connsiteX7" fmla="*/ 185697 w 330001"/>
                  <a:gd name="connsiteY7" fmla="*/ 368304 h 368304"/>
                  <a:gd name="connsiteX8" fmla="*/ 215701 w 330001"/>
                  <a:gd name="connsiteY8" fmla="*/ 350682 h 368304"/>
                  <a:gd name="connsiteX9" fmla="*/ 253801 w 330001"/>
                  <a:gd name="connsiteY9" fmla="*/ 289722 h 368304"/>
                  <a:gd name="connsiteX10" fmla="*/ 276661 w 330001"/>
                  <a:gd name="connsiteY10" fmla="*/ 221142 h 368304"/>
                  <a:gd name="connsiteX11" fmla="*/ 299521 w 330001"/>
                  <a:gd name="connsiteY11" fmla="*/ 167802 h 368304"/>
                  <a:gd name="connsiteX12" fmla="*/ 314761 w 330001"/>
                  <a:gd name="connsiteY12" fmla="*/ 137322 h 368304"/>
                  <a:gd name="connsiteX13" fmla="*/ 322381 w 330001"/>
                  <a:gd name="connsiteY13" fmla="*/ 106842 h 368304"/>
                  <a:gd name="connsiteX14" fmla="*/ 330001 w 330001"/>
                  <a:gd name="connsiteY14" fmla="*/ 83982 h 368304"/>
                  <a:gd name="connsiteX15" fmla="*/ 276661 w 330001"/>
                  <a:gd name="connsiteY15" fmla="*/ 68742 h 368304"/>
                  <a:gd name="connsiteX16" fmla="*/ 124261 w 330001"/>
                  <a:gd name="connsiteY16" fmla="*/ 162 h 368304"/>
                  <a:gd name="connsiteX0" fmla="*/ 124261 w 330001"/>
                  <a:gd name="connsiteY0" fmla="*/ 162 h 368304"/>
                  <a:gd name="connsiteX1" fmla="*/ 109021 w 330001"/>
                  <a:gd name="connsiteY1" fmla="*/ 38262 h 368304"/>
                  <a:gd name="connsiteX2" fmla="*/ 101401 w 330001"/>
                  <a:gd name="connsiteY2" fmla="*/ 61122 h 368304"/>
                  <a:gd name="connsiteX3" fmla="*/ 85684 w 330001"/>
                  <a:gd name="connsiteY3" fmla="*/ 107794 h 368304"/>
                  <a:gd name="connsiteX4" fmla="*/ 39489 w 330001"/>
                  <a:gd name="connsiteY4" fmla="*/ 211617 h 368304"/>
                  <a:gd name="connsiteX5" fmla="*/ 26630 w 330001"/>
                  <a:gd name="connsiteY5" fmla="*/ 242097 h 368304"/>
                  <a:gd name="connsiteX6" fmla="*/ 8056 w 330001"/>
                  <a:gd name="connsiteY6" fmla="*/ 290674 h 368304"/>
                  <a:gd name="connsiteX7" fmla="*/ 185697 w 330001"/>
                  <a:gd name="connsiteY7" fmla="*/ 368304 h 368304"/>
                  <a:gd name="connsiteX8" fmla="*/ 215701 w 330001"/>
                  <a:gd name="connsiteY8" fmla="*/ 350682 h 368304"/>
                  <a:gd name="connsiteX9" fmla="*/ 253801 w 330001"/>
                  <a:gd name="connsiteY9" fmla="*/ 289722 h 368304"/>
                  <a:gd name="connsiteX10" fmla="*/ 299521 w 330001"/>
                  <a:gd name="connsiteY10" fmla="*/ 167802 h 368304"/>
                  <a:gd name="connsiteX11" fmla="*/ 314761 w 330001"/>
                  <a:gd name="connsiteY11" fmla="*/ 137322 h 368304"/>
                  <a:gd name="connsiteX12" fmla="*/ 322381 w 330001"/>
                  <a:gd name="connsiteY12" fmla="*/ 106842 h 368304"/>
                  <a:gd name="connsiteX13" fmla="*/ 330001 w 330001"/>
                  <a:gd name="connsiteY13" fmla="*/ 83982 h 368304"/>
                  <a:gd name="connsiteX14" fmla="*/ 276661 w 330001"/>
                  <a:gd name="connsiteY14" fmla="*/ 68742 h 368304"/>
                  <a:gd name="connsiteX15" fmla="*/ 124261 w 330001"/>
                  <a:gd name="connsiteY15" fmla="*/ 162 h 368304"/>
                  <a:gd name="connsiteX0" fmla="*/ 124261 w 368101"/>
                  <a:gd name="connsiteY0" fmla="*/ 162 h 368304"/>
                  <a:gd name="connsiteX1" fmla="*/ 109021 w 368101"/>
                  <a:gd name="connsiteY1" fmla="*/ 38262 h 368304"/>
                  <a:gd name="connsiteX2" fmla="*/ 101401 w 368101"/>
                  <a:gd name="connsiteY2" fmla="*/ 61122 h 368304"/>
                  <a:gd name="connsiteX3" fmla="*/ 85684 w 368101"/>
                  <a:gd name="connsiteY3" fmla="*/ 107794 h 368304"/>
                  <a:gd name="connsiteX4" fmla="*/ 39489 w 368101"/>
                  <a:gd name="connsiteY4" fmla="*/ 211617 h 368304"/>
                  <a:gd name="connsiteX5" fmla="*/ 26630 w 368101"/>
                  <a:gd name="connsiteY5" fmla="*/ 242097 h 368304"/>
                  <a:gd name="connsiteX6" fmla="*/ 8056 w 368101"/>
                  <a:gd name="connsiteY6" fmla="*/ 290674 h 368304"/>
                  <a:gd name="connsiteX7" fmla="*/ 185697 w 368101"/>
                  <a:gd name="connsiteY7" fmla="*/ 368304 h 368304"/>
                  <a:gd name="connsiteX8" fmla="*/ 215701 w 368101"/>
                  <a:gd name="connsiteY8" fmla="*/ 350682 h 368304"/>
                  <a:gd name="connsiteX9" fmla="*/ 253801 w 368101"/>
                  <a:gd name="connsiteY9" fmla="*/ 289722 h 368304"/>
                  <a:gd name="connsiteX10" fmla="*/ 299521 w 368101"/>
                  <a:gd name="connsiteY10" fmla="*/ 167802 h 368304"/>
                  <a:gd name="connsiteX11" fmla="*/ 314761 w 368101"/>
                  <a:gd name="connsiteY11" fmla="*/ 137322 h 368304"/>
                  <a:gd name="connsiteX12" fmla="*/ 322381 w 368101"/>
                  <a:gd name="connsiteY12" fmla="*/ 106842 h 368304"/>
                  <a:gd name="connsiteX13" fmla="*/ 368101 w 368101"/>
                  <a:gd name="connsiteY13" fmla="*/ 105414 h 368304"/>
                  <a:gd name="connsiteX14" fmla="*/ 276661 w 368101"/>
                  <a:gd name="connsiteY14" fmla="*/ 68742 h 368304"/>
                  <a:gd name="connsiteX15" fmla="*/ 124261 w 368101"/>
                  <a:gd name="connsiteY15" fmla="*/ 162 h 368304"/>
                  <a:gd name="connsiteX0" fmla="*/ 124261 w 368674"/>
                  <a:gd name="connsiteY0" fmla="*/ 162 h 368304"/>
                  <a:gd name="connsiteX1" fmla="*/ 109021 w 368674"/>
                  <a:gd name="connsiteY1" fmla="*/ 38262 h 368304"/>
                  <a:gd name="connsiteX2" fmla="*/ 101401 w 368674"/>
                  <a:gd name="connsiteY2" fmla="*/ 61122 h 368304"/>
                  <a:gd name="connsiteX3" fmla="*/ 85684 w 368674"/>
                  <a:gd name="connsiteY3" fmla="*/ 107794 h 368304"/>
                  <a:gd name="connsiteX4" fmla="*/ 39489 w 368674"/>
                  <a:gd name="connsiteY4" fmla="*/ 211617 h 368304"/>
                  <a:gd name="connsiteX5" fmla="*/ 26630 w 368674"/>
                  <a:gd name="connsiteY5" fmla="*/ 242097 h 368304"/>
                  <a:gd name="connsiteX6" fmla="*/ 8056 w 368674"/>
                  <a:gd name="connsiteY6" fmla="*/ 290674 h 368304"/>
                  <a:gd name="connsiteX7" fmla="*/ 185697 w 368674"/>
                  <a:gd name="connsiteY7" fmla="*/ 368304 h 368304"/>
                  <a:gd name="connsiteX8" fmla="*/ 215701 w 368674"/>
                  <a:gd name="connsiteY8" fmla="*/ 350682 h 368304"/>
                  <a:gd name="connsiteX9" fmla="*/ 253801 w 368674"/>
                  <a:gd name="connsiteY9" fmla="*/ 289722 h 368304"/>
                  <a:gd name="connsiteX10" fmla="*/ 299521 w 368674"/>
                  <a:gd name="connsiteY10" fmla="*/ 167802 h 368304"/>
                  <a:gd name="connsiteX11" fmla="*/ 314761 w 368674"/>
                  <a:gd name="connsiteY11" fmla="*/ 137322 h 368304"/>
                  <a:gd name="connsiteX12" fmla="*/ 368101 w 368674"/>
                  <a:gd name="connsiteY12" fmla="*/ 105414 h 368304"/>
                  <a:gd name="connsiteX13" fmla="*/ 276661 w 368674"/>
                  <a:gd name="connsiteY13" fmla="*/ 68742 h 368304"/>
                  <a:gd name="connsiteX14" fmla="*/ 124261 w 368674"/>
                  <a:gd name="connsiteY14" fmla="*/ 162 h 368304"/>
                  <a:gd name="connsiteX0" fmla="*/ 124261 w 368295"/>
                  <a:gd name="connsiteY0" fmla="*/ 162 h 368304"/>
                  <a:gd name="connsiteX1" fmla="*/ 109021 w 368295"/>
                  <a:gd name="connsiteY1" fmla="*/ 38262 h 368304"/>
                  <a:gd name="connsiteX2" fmla="*/ 101401 w 368295"/>
                  <a:gd name="connsiteY2" fmla="*/ 61122 h 368304"/>
                  <a:gd name="connsiteX3" fmla="*/ 85684 w 368295"/>
                  <a:gd name="connsiteY3" fmla="*/ 107794 h 368304"/>
                  <a:gd name="connsiteX4" fmla="*/ 39489 w 368295"/>
                  <a:gd name="connsiteY4" fmla="*/ 211617 h 368304"/>
                  <a:gd name="connsiteX5" fmla="*/ 26630 w 368295"/>
                  <a:gd name="connsiteY5" fmla="*/ 242097 h 368304"/>
                  <a:gd name="connsiteX6" fmla="*/ 8056 w 368295"/>
                  <a:gd name="connsiteY6" fmla="*/ 290674 h 368304"/>
                  <a:gd name="connsiteX7" fmla="*/ 185697 w 368295"/>
                  <a:gd name="connsiteY7" fmla="*/ 368304 h 368304"/>
                  <a:gd name="connsiteX8" fmla="*/ 215701 w 368295"/>
                  <a:gd name="connsiteY8" fmla="*/ 350682 h 368304"/>
                  <a:gd name="connsiteX9" fmla="*/ 253801 w 368295"/>
                  <a:gd name="connsiteY9" fmla="*/ 289722 h 368304"/>
                  <a:gd name="connsiteX10" fmla="*/ 299521 w 368295"/>
                  <a:gd name="connsiteY10" fmla="*/ 167802 h 368304"/>
                  <a:gd name="connsiteX11" fmla="*/ 368101 w 368295"/>
                  <a:gd name="connsiteY11" fmla="*/ 105414 h 368304"/>
                  <a:gd name="connsiteX12" fmla="*/ 276661 w 368295"/>
                  <a:gd name="connsiteY12" fmla="*/ 68742 h 368304"/>
                  <a:gd name="connsiteX13" fmla="*/ 124261 w 368295"/>
                  <a:gd name="connsiteY13" fmla="*/ 162 h 368304"/>
                  <a:gd name="connsiteX0" fmla="*/ 124261 w 368334"/>
                  <a:gd name="connsiteY0" fmla="*/ 162 h 368304"/>
                  <a:gd name="connsiteX1" fmla="*/ 109021 w 368334"/>
                  <a:gd name="connsiteY1" fmla="*/ 38262 h 368304"/>
                  <a:gd name="connsiteX2" fmla="*/ 101401 w 368334"/>
                  <a:gd name="connsiteY2" fmla="*/ 61122 h 368304"/>
                  <a:gd name="connsiteX3" fmla="*/ 85684 w 368334"/>
                  <a:gd name="connsiteY3" fmla="*/ 107794 h 368304"/>
                  <a:gd name="connsiteX4" fmla="*/ 39489 w 368334"/>
                  <a:gd name="connsiteY4" fmla="*/ 211617 h 368304"/>
                  <a:gd name="connsiteX5" fmla="*/ 26630 w 368334"/>
                  <a:gd name="connsiteY5" fmla="*/ 242097 h 368304"/>
                  <a:gd name="connsiteX6" fmla="*/ 8056 w 368334"/>
                  <a:gd name="connsiteY6" fmla="*/ 290674 h 368304"/>
                  <a:gd name="connsiteX7" fmla="*/ 185697 w 368334"/>
                  <a:gd name="connsiteY7" fmla="*/ 368304 h 368304"/>
                  <a:gd name="connsiteX8" fmla="*/ 215701 w 368334"/>
                  <a:gd name="connsiteY8" fmla="*/ 350682 h 368304"/>
                  <a:gd name="connsiteX9" fmla="*/ 253801 w 368334"/>
                  <a:gd name="connsiteY9" fmla="*/ 289722 h 368304"/>
                  <a:gd name="connsiteX10" fmla="*/ 309046 w 368334"/>
                  <a:gd name="connsiteY10" fmla="*/ 191614 h 368304"/>
                  <a:gd name="connsiteX11" fmla="*/ 368101 w 368334"/>
                  <a:gd name="connsiteY11" fmla="*/ 105414 h 368304"/>
                  <a:gd name="connsiteX12" fmla="*/ 276661 w 368334"/>
                  <a:gd name="connsiteY12" fmla="*/ 68742 h 368304"/>
                  <a:gd name="connsiteX13" fmla="*/ 124261 w 368334"/>
                  <a:gd name="connsiteY13" fmla="*/ 162 h 368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68334" h="368304">
                    <a:moveTo>
                      <a:pt x="124261" y="162"/>
                    </a:moveTo>
                    <a:cubicBezTo>
                      <a:pt x="115371" y="-2378"/>
                      <a:pt x="113824" y="25455"/>
                      <a:pt x="109021" y="38262"/>
                    </a:cubicBezTo>
                    <a:cubicBezTo>
                      <a:pt x="106201" y="45783"/>
                      <a:pt x="105290" y="49533"/>
                      <a:pt x="101401" y="61122"/>
                    </a:cubicBezTo>
                    <a:cubicBezTo>
                      <a:pt x="97512" y="72711"/>
                      <a:pt x="96003" y="82712"/>
                      <a:pt x="85684" y="107794"/>
                    </a:cubicBezTo>
                    <a:cubicBezTo>
                      <a:pt x="75365" y="132876"/>
                      <a:pt x="49331" y="189233"/>
                      <a:pt x="39489" y="211617"/>
                    </a:cubicBezTo>
                    <a:cubicBezTo>
                      <a:pt x="29647" y="234001"/>
                      <a:pt x="31710" y="231937"/>
                      <a:pt x="26630" y="242097"/>
                    </a:cubicBezTo>
                    <a:cubicBezTo>
                      <a:pt x="29170" y="259877"/>
                      <a:pt x="-18455" y="269640"/>
                      <a:pt x="8056" y="290674"/>
                    </a:cubicBezTo>
                    <a:cubicBezTo>
                      <a:pt x="34567" y="311708"/>
                      <a:pt x="151090" y="358303"/>
                      <a:pt x="185697" y="368304"/>
                    </a:cubicBezTo>
                    <a:cubicBezTo>
                      <a:pt x="206017" y="363224"/>
                      <a:pt x="204350" y="363779"/>
                      <a:pt x="215701" y="350682"/>
                    </a:cubicBezTo>
                    <a:cubicBezTo>
                      <a:pt x="227052" y="337585"/>
                      <a:pt x="238244" y="316233"/>
                      <a:pt x="253801" y="289722"/>
                    </a:cubicBezTo>
                    <a:cubicBezTo>
                      <a:pt x="269358" y="263211"/>
                      <a:pt x="289996" y="222332"/>
                      <a:pt x="309046" y="191614"/>
                    </a:cubicBezTo>
                    <a:cubicBezTo>
                      <a:pt x="328096" y="160896"/>
                      <a:pt x="371911" y="121924"/>
                      <a:pt x="368101" y="105414"/>
                    </a:cubicBezTo>
                    <a:cubicBezTo>
                      <a:pt x="350716" y="99619"/>
                      <a:pt x="294840" y="71612"/>
                      <a:pt x="276661" y="68742"/>
                    </a:cubicBezTo>
                    <a:cubicBezTo>
                      <a:pt x="242371" y="54772"/>
                      <a:pt x="152201" y="5242"/>
                      <a:pt x="124261" y="162"/>
                    </a:cubicBezTo>
                    <a:close/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7933EAA3-41EC-1E20-EFF5-417270E304DF}"/>
                  </a:ext>
                </a:extLst>
              </p:cNvPr>
              <p:cNvSpPr/>
              <p:nvPr/>
            </p:nvSpPr>
            <p:spPr>
              <a:xfrm>
                <a:off x="4109085" y="1790700"/>
                <a:ext cx="3008034" cy="3680460"/>
              </a:xfrm>
              <a:custGeom>
                <a:avLst/>
                <a:gdLst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453640 w 3025140"/>
                  <a:gd name="connsiteY169" fmla="*/ 533400 h 3680460"/>
                  <a:gd name="connsiteX170" fmla="*/ 2377440 w 3025140"/>
                  <a:gd name="connsiteY170" fmla="*/ 464820 h 3680460"/>
                  <a:gd name="connsiteX171" fmla="*/ 2301240 w 3025140"/>
                  <a:gd name="connsiteY171" fmla="*/ 434340 h 3680460"/>
                  <a:gd name="connsiteX172" fmla="*/ 2270760 w 3025140"/>
                  <a:gd name="connsiteY172" fmla="*/ 411480 h 3680460"/>
                  <a:gd name="connsiteX173" fmla="*/ 2103120 w 3025140"/>
                  <a:gd name="connsiteY173" fmla="*/ 312420 h 3680460"/>
                  <a:gd name="connsiteX174" fmla="*/ 2042160 w 3025140"/>
                  <a:gd name="connsiteY174" fmla="*/ 266700 h 3680460"/>
                  <a:gd name="connsiteX175" fmla="*/ 2004060 w 3025140"/>
                  <a:gd name="connsiteY175" fmla="*/ 251460 h 3680460"/>
                  <a:gd name="connsiteX176" fmla="*/ 1958340 w 3025140"/>
                  <a:gd name="connsiteY176" fmla="*/ 220980 h 3680460"/>
                  <a:gd name="connsiteX177" fmla="*/ 1897380 w 3025140"/>
                  <a:gd name="connsiteY177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453640 w 3025140"/>
                  <a:gd name="connsiteY169" fmla="*/ 533400 h 3680460"/>
                  <a:gd name="connsiteX170" fmla="*/ 2301240 w 3025140"/>
                  <a:gd name="connsiteY170" fmla="*/ 434340 h 3680460"/>
                  <a:gd name="connsiteX171" fmla="*/ 2270760 w 3025140"/>
                  <a:gd name="connsiteY171" fmla="*/ 411480 h 3680460"/>
                  <a:gd name="connsiteX172" fmla="*/ 2103120 w 3025140"/>
                  <a:gd name="connsiteY172" fmla="*/ 312420 h 3680460"/>
                  <a:gd name="connsiteX173" fmla="*/ 2042160 w 3025140"/>
                  <a:gd name="connsiteY173" fmla="*/ 266700 h 3680460"/>
                  <a:gd name="connsiteX174" fmla="*/ 2004060 w 3025140"/>
                  <a:gd name="connsiteY174" fmla="*/ 251460 h 3680460"/>
                  <a:gd name="connsiteX175" fmla="*/ 1958340 w 3025140"/>
                  <a:gd name="connsiteY175" fmla="*/ 220980 h 3680460"/>
                  <a:gd name="connsiteX176" fmla="*/ 1897380 w 3025140"/>
                  <a:gd name="connsiteY176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301240 w 3025140"/>
                  <a:gd name="connsiteY169" fmla="*/ 434340 h 3680460"/>
                  <a:gd name="connsiteX170" fmla="*/ 2270760 w 3025140"/>
                  <a:gd name="connsiteY170" fmla="*/ 411480 h 3680460"/>
                  <a:gd name="connsiteX171" fmla="*/ 2103120 w 3025140"/>
                  <a:gd name="connsiteY171" fmla="*/ 312420 h 3680460"/>
                  <a:gd name="connsiteX172" fmla="*/ 2042160 w 3025140"/>
                  <a:gd name="connsiteY172" fmla="*/ 266700 h 3680460"/>
                  <a:gd name="connsiteX173" fmla="*/ 2004060 w 3025140"/>
                  <a:gd name="connsiteY173" fmla="*/ 251460 h 3680460"/>
                  <a:gd name="connsiteX174" fmla="*/ 1958340 w 3025140"/>
                  <a:gd name="connsiteY174" fmla="*/ 220980 h 3680460"/>
                  <a:gd name="connsiteX175" fmla="*/ 1897380 w 3025140"/>
                  <a:gd name="connsiteY175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301240 w 3025140"/>
                  <a:gd name="connsiteY168" fmla="*/ 434340 h 3680460"/>
                  <a:gd name="connsiteX169" fmla="*/ 2270760 w 3025140"/>
                  <a:gd name="connsiteY169" fmla="*/ 411480 h 3680460"/>
                  <a:gd name="connsiteX170" fmla="*/ 2103120 w 3025140"/>
                  <a:gd name="connsiteY170" fmla="*/ 312420 h 3680460"/>
                  <a:gd name="connsiteX171" fmla="*/ 2042160 w 3025140"/>
                  <a:gd name="connsiteY171" fmla="*/ 266700 h 3680460"/>
                  <a:gd name="connsiteX172" fmla="*/ 2004060 w 3025140"/>
                  <a:gd name="connsiteY172" fmla="*/ 251460 h 3680460"/>
                  <a:gd name="connsiteX173" fmla="*/ 1958340 w 3025140"/>
                  <a:gd name="connsiteY173" fmla="*/ 220980 h 3680460"/>
                  <a:gd name="connsiteX174" fmla="*/ 1897380 w 3025140"/>
                  <a:gd name="connsiteY174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301240 w 3025140"/>
                  <a:gd name="connsiteY167" fmla="*/ 434340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34340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58152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58152 h 3680460"/>
                  <a:gd name="connsiteX168" fmla="*/ 2237423 w 3025140"/>
                  <a:gd name="connsiteY168" fmla="*/ 406717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912620 w 3025140"/>
                  <a:gd name="connsiteY8" fmla="*/ 7620 h 3680460"/>
                  <a:gd name="connsiteX9" fmla="*/ 1981200 w 3025140"/>
                  <a:gd name="connsiteY9" fmla="*/ 0 h 3680460"/>
                  <a:gd name="connsiteX10" fmla="*/ 2026920 w 3025140"/>
                  <a:gd name="connsiteY10" fmla="*/ 30480 h 3680460"/>
                  <a:gd name="connsiteX11" fmla="*/ 2065020 w 3025140"/>
                  <a:gd name="connsiteY11" fmla="*/ 76200 h 3680460"/>
                  <a:gd name="connsiteX12" fmla="*/ 2171700 w 3025140"/>
                  <a:gd name="connsiteY12" fmla="*/ 114300 h 3680460"/>
                  <a:gd name="connsiteX13" fmla="*/ 2225040 w 3025140"/>
                  <a:gd name="connsiteY13" fmla="*/ 160020 h 3680460"/>
                  <a:gd name="connsiteX14" fmla="*/ 2286000 w 3025140"/>
                  <a:gd name="connsiteY14" fmla="*/ 190500 h 3680460"/>
                  <a:gd name="connsiteX15" fmla="*/ 2331720 w 3025140"/>
                  <a:gd name="connsiteY15" fmla="*/ 220980 h 3680460"/>
                  <a:gd name="connsiteX16" fmla="*/ 2385060 w 3025140"/>
                  <a:gd name="connsiteY16" fmla="*/ 266700 h 3680460"/>
                  <a:gd name="connsiteX17" fmla="*/ 2415540 w 3025140"/>
                  <a:gd name="connsiteY17" fmla="*/ 289560 h 3680460"/>
                  <a:gd name="connsiteX18" fmla="*/ 2461260 w 3025140"/>
                  <a:gd name="connsiteY18" fmla="*/ 320040 h 3680460"/>
                  <a:gd name="connsiteX19" fmla="*/ 2537460 w 3025140"/>
                  <a:gd name="connsiteY19" fmla="*/ 426720 h 3680460"/>
                  <a:gd name="connsiteX20" fmla="*/ 2552700 w 3025140"/>
                  <a:gd name="connsiteY20" fmla="*/ 449580 h 3680460"/>
                  <a:gd name="connsiteX21" fmla="*/ 2575560 w 3025140"/>
                  <a:gd name="connsiteY21" fmla="*/ 487680 h 3680460"/>
                  <a:gd name="connsiteX22" fmla="*/ 2621280 w 3025140"/>
                  <a:gd name="connsiteY22" fmla="*/ 548640 h 3680460"/>
                  <a:gd name="connsiteX23" fmla="*/ 2674620 w 3025140"/>
                  <a:gd name="connsiteY23" fmla="*/ 609600 h 3680460"/>
                  <a:gd name="connsiteX24" fmla="*/ 2727960 w 3025140"/>
                  <a:gd name="connsiteY24" fmla="*/ 678180 h 3680460"/>
                  <a:gd name="connsiteX25" fmla="*/ 2727960 w 3025140"/>
                  <a:gd name="connsiteY25" fmla="*/ 678180 h 3680460"/>
                  <a:gd name="connsiteX26" fmla="*/ 2766060 w 3025140"/>
                  <a:gd name="connsiteY26" fmla="*/ 754380 h 3680460"/>
                  <a:gd name="connsiteX27" fmla="*/ 2819400 w 3025140"/>
                  <a:gd name="connsiteY27" fmla="*/ 830580 h 3680460"/>
                  <a:gd name="connsiteX28" fmla="*/ 2834640 w 3025140"/>
                  <a:gd name="connsiteY28" fmla="*/ 853440 h 3680460"/>
                  <a:gd name="connsiteX29" fmla="*/ 2849880 w 3025140"/>
                  <a:gd name="connsiteY29" fmla="*/ 883920 h 3680460"/>
                  <a:gd name="connsiteX30" fmla="*/ 2880360 w 3025140"/>
                  <a:gd name="connsiteY30" fmla="*/ 922020 h 3680460"/>
                  <a:gd name="connsiteX31" fmla="*/ 2887980 w 3025140"/>
                  <a:gd name="connsiteY31" fmla="*/ 944880 h 3680460"/>
                  <a:gd name="connsiteX32" fmla="*/ 2903220 w 3025140"/>
                  <a:gd name="connsiteY32" fmla="*/ 967740 h 3680460"/>
                  <a:gd name="connsiteX33" fmla="*/ 2918460 w 3025140"/>
                  <a:gd name="connsiteY33" fmla="*/ 1036320 h 3680460"/>
                  <a:gd name="connsiteX34" fmla="*/ 2933700 w 3025140"/>
                  <a:gd name="connsiteY34" fmla="*/ 1074420 h 3680460"/>
                  <a:gd name="connsiteX35" fmla="*/ 2948940 w 3025140"/>
                  <a:gd name="connsiteY35" fmla="*/ 1120140 h 3680460"/>
                  <a:gd name="connsiteX36" fmla="*/ 2964180 w 3025140"/>
                  <a:gd name="connsiteY36" fmla="*/ 1203960 h 3680460"/>
                  <a:gd name="connsiteX37" fmla="*/ 2979420 w 3025140"/>
                  <a:gd name="connsiteY37" fmla="*/ 1264920 h 3680460"/>
                  <a:gd name="connsiteX38" fmla="*/ 2987040 w 3025140"/>
                  <a:gd name="connsiteY38" fmla="*/ 1318260 h 3680460"/>
                  <a:gd name="connsiteX39" fmla="*/ 2994660 w 3025140"/>
                  <a:gd name="connsiteY39" fmla="*/ 1348740 h 3680460"/>
                  <a:gd name="connsiteX40" fmla="*/ 3009900 w 3025140"/>
                  <a:gd name="connsiteY40" fmla="*/ 1432560 h 3680460"/>
                  <a:gd name="connsiteX41" fmla="*/ 3017520 w 3025140"/>
                  <a:gd name="connsiteY41" fmla="*/ 1684020 h 3680460"/>
                  <a:gd name="connsiteX42" fmla="*/ 3025140 w 3025140"/>
                  <a:gd name="connsiteY42" fmla="*/ 1744980 h 3680460"/>
                  <a:gd name="connsiteX43" fmla="*/ 3017520 w 3025140"/>
                  <a:gd name="connsiteY43" fmla="*/ 2095500 h 3680460"/>
                  <a:gd name="connsiteX44" fmla="*/ 3009900 w 3025140"/>
                  <a:gd name="connsiteY44" fmla="*/ 2125980 h 3680460"/>
                  <a:gd name="connsiteX45" fmla="*/ 2979420 w 3025140"/>
                  <a:gd name="connsiteY45" fmla="*/ 2194560 h 3680460"/>
                  <a:gd name="connsiteX46" fmla="*/ 2956560 w 3025140"/>
                  <a:gd name="connsiteY46" fmla="*/ 2247900 h 3680460"/>
                  <a:gd name="connsiteX47" fmla="*/ 2941320 w 3025140"/>
                  <a:gd name="connsiteY47" fmla="*/ 2324100 h 3680460"/>
                  <a:gd name="connsiteX48" fmla="*/ 2926080 w 3025140"/>
                  <a:gd name="connsiteY48" fmla="*/ 2392680 h 3680460"/>
                  <a:gd name="connsiteX49" fmla="*/ 2918460 w 3025140"/>
                  <a:gd name="connsiteY49" fmla="*/ 2415540 h 3680460"/>
                  <a:gd name="connsiteX50" fmla="*/ 2895600 w 3025140"/>
                  <a:gd name="connsiteY50" fmla="*/ 2484120 h 3680460"/>
                  <a:gd name="connsiteX51" fmla="*/ 2872740 w 3025140"/>
                  <a:gd name="connsiteY51" fmla="*/ 2583180 h 3680460"/>
                  <a:gd name="connsiteX52" fmla="*/ 2857500 w 3025140"/>
                  <a:gd name="connsiteY52" fmla="*/ 2606040 h 3680460"/>
                  <a:gd name="connsiteX53" fmla="*/ 2834640 w 3025140"/>
                  <a:gd name="connsiteY53" fmla="*/ 2689860 h 3680460"/>
                  <a:gd name="connsiteX54" fmla="*/ 2811780 w 3025140"/>
                  <a:gd name="connsiteY54" fmla="*/ 2750820 h 3680460"/>
                  <a:gd name="connsiteX55" fmla="*/ 2788920 w 3025140"/>
                  <a:gd name="connsiteY55" fmla="*/ 2781300 h 3680460"/>
                  <a:gd name="connsiteX56" fmla="*/ 2781300 w 3025140"/>
                  <a:gd name="connsiteY56" fmla="*/ 2804160 h 3680460"/>
                  <a:gd name="connsiteX57" fmla="*/ 2743200 w 3025140"/>
                  <a:gd name="connsiteY57" fmla="*/ 2865120 h 3680460"/>
                  <a:gd name="connsiteX58" fmla="*/ 2712720 w 3025140"/>
                  <a:gd name="connsiteY58" fmla="*/ 2903220 h 3680460"/>
                  <a:gd name="connsiteX59" fmla="*/ 2697480 w 3025140"/>
                  <a:gd name="connsiteY59" fmla="*/ 2933700 h 3680460"/>
                  <a:gd name="connsiteX60" fmla="*/ 2674620 w 3025140"/>
                  <a:gd name="connsiteY60" fmla="*/ 2964180 h 3680460"/>
                  <a:gd name="connsiteX61" fmla="*/ 2644140 w 3025140"/>
                  <a:gd name="connsiteY61" fmla="*/ 3009900 h 3680460"/>
                  <a:gd name="connsiteX62" fmla="*/ 2598420 w 3025140"/>
                  <a:gd name="connsiteY62" fmla="*/ 3055620 h 3680460"/>
                  <a:gd name="connsiteX63" fmla="*/ 2575560 w 3025140"/>
                  <a:gd name="connsiteY63" fmla="*/ 3078480 h 3680460"/>
                  <a:gd name="connsiteX64" fmla="*/ 2476500 w 3025140"/>
                  <a:gd name="connsiteY64" fmla="*/ 3169920 h 3680460"/>
                  <a:gd name="connsiteX65" fmla="*/ 2377440 w 3025140"/>
                  <a:gd name="connsiteY65" fmla="*/ 3223260 h 3680460"/>
                  <a:gd name="connsiteX66" fmla="*/ 2293620 w 3025140"/>
                  <a:gd name="connsiteY66" fmla="*/ 3284220 h 3680460"/>
                  <a:gd name="connsiteX67" fmla="*/ 2240280 w 3025140"/>
                  <a:gd name="connsiteY67" fmla="*/ 3314700 h 3680460"/>
                  <a:gd name="connsiteX68" fmla="*/ 2225040 w 3025140"/>
                  <a:gd name="connsiteY68" fmla="*/ 3337560 h 3680460"/>
                  <a:gd name="connsiteX69" fmla="*/ 2141220 w 3025140"/>
                  <a:gd name="connsiteY69" fmla="*/ 3390900 h 3680460"/>
                  <a:gd name="connsiteX70" fmla="*/ 2110740 w 3025140"/>
                  <a:gd name="connsiteY70" fmla="*/ 3413760 h 3680460"/>
                  <a:gd name="connsiteX71" fmla="*/ 2072640 w 3025140"/>
                  <a:gd name="connsiteY71" fmla="*/ 3451860 h 3680460"/>
                  <a:gd name="connsiteX72" fmla="*/ 2019300 w 3025140"/>
                  <a:gd name="connsiteY72" fmla="*/ 3467100 h 3680460"/>
                  <a:gd name="connsiteX73" fmla="*/ 1874520 w 3025140"/>
                  <a:gd name="connsiteY73" fmla="*/ 3512820 h 3680460"/>
                  <a:gd name="connsiteX74" fmla="*/ 1828800 w 3025140"/>
                  <a:gd name="connsiteY74" fmla="*/ 3520440 h 3680460"/>
                  <a:gd name="connsiteX75" fmla="*/ 1722120 w 3025140"/>
                  <a:gd name="connsiteY75" fmla="*/ 3550920 h 3680460"/>
                  <a:gd name="connsiteX76" fmla="*/ 1600200 w 3025140"/>
                  <a:gd name="connsiteY76" fmla="*/ 3589020 h 3680460"/>
                  <a:gd name="connsiteX77" fmla="*/ 1569720 w 3025140"/>
                  <a:gd name="connsiteY77" fmla="*/ 3596640 h 3680460"/>
                  <a:gd name="connsiteX78" fmla="*/ 1546860 w 3025140"/>
                  <a:gd name="connsiteY78" fmla="*/ 3611880 h 3680460"/>
                  <a:gd name="connsiteX79" fmla="*/ 1463040 w 3025140"/>
                  <a:gd name="connsiteY79" fmla="*/ 3627120 h 3680460"/>
                  <a:gd name="connsiteX80" fmla="*/ 1333500 w 3025140"/>
                  <a:gd name="connsiteY80" fmla="*/ 3657600 h 3680460"/>
                  <a:gd name="connsiteX81" fmla="*/ 1203960 w 3025140"/>
                  <a:gd name="connsiteY81" fmla="*/ 3672840 h 3680460"/>
                  <a:gd name="connsiteX82" fmla="*/ 1165860 w 3025140"/>
                  <a:gd name="connsiteY82" fmla="*/ 3680460 h 3680460"/>
                  <a:gd name="connsiteX83" fmla="*/ 449580 w 3025140"/>
                  <a:gd name="connsiteY83" fmla="*/ 3672840 h 3680460"/>
                  <a:gd name="connsiteX84" fmla="*/ 426720 w 3025140"/>
                  <a:gd name="connsiteY84" fmla="*/ 3665220 h 3680460"/>
                  <a:gd name="connsiteX85" fmla="*/ 388620 w 3025140"/>
                  <a:gd name="connsiteY85" fmla="*/ 3657600 h 3680460"/>
                  <a:gd name="connsiteX86" fmla="*/ 335280 w 3025140"/>
                  <a:gd name="connsiteY86" fmla="*/ 3627120 h 3680460"/>
                  <a:gd name="connsiteX87" fmla="*/ 266700 w 3025140"/>
                  <a:gd name="connsiteY87" fmla="*/ 3604260 h 3680460"/>
                  <a:gd name="connsiteX88" fmla="*/ 243840 w 3025140"/>
                  <a:gd name="connsiteY88" fmla="*/ 3589020 h 3680460"/>
                  <a:gd name="connsiteX89" fmla="*/ 160020 w 3025140"/>
                  <a:gd name="connsiteY89" fmla="*/ 3558540 h 3680460"/>
                  <a:gd name="connsiteX90" fmla="*/ 137160 w 3025140"/>
                  <a:gd name="connsiteY90" fmla="*/ 3535680 h 3680460"/>
                  <a:gd name="connsiteX91" fmla="*/ 99060 w 3025140"/>
                  <a:gd name="connsiteY91" fmla="*/ 3520440 h 3680460"/>
                  <a:gd name="connsiteX92" fmla="*/ 83820 w 3025140"/>
                  <a:gd name="connsiteY92" fmla="*/ 3489960 h 3680460"/>
                  <a:gd name="connsiteX93" fmla="*/ 45720 w 3025140"/>
                  <a:gd name="connsiteY93" fmla="*/ 3436620 h 3680460"/>
                  <a:gd name="connsiteX94" fmla="*/ 0 w 3025140"/>
                  <a:gd name="connsiteY94" fmla="*/ 3352800 h 3680460"/>
                  <a:gd name="connsiteX95" fmla="*/ 30480 w 3025140"/>
                  <a:gd name="connsiteY95" fmla="*/ 3345180 h 3680460"/>
                  <a:gd name="connsiteX96" fmla="*/ 137160 w 3025140"/>
                  <a:gd name="connsiteY96" fmla="*/ 3360420 h 3680460"/>
                  <a:gd name="connsiteX97" fmla="*/ 167640 w 3025140"/>
                  <a:gd name="connsiteY97" fmla="*/ 3390900 h 3680460"/>
                  <a:gd name="connsiteX98" fmla="*/ 198120 w 3025140"/>
                  <a:gd name="connsiteY98" fmla="*/ 3406140 h 3680460"/>
                  <a:gd name="connsiteX99" fmla="*/ 350520 w 3025140"/>
                  <a:gd name="connsiteY99" fmla="*/ 3436620 h 3680460"/>
                  <a:gd name="connsiteX100" fmla="*/ 381000 w 3025140"/>
                  <a:gd name="connsiteY100" fmla="*/ 3451860 h 3680460"/>
                  <a:gd name="connsiteX101" fmla="*/ 449580 w 3025140"/>
                  <a:gd name="connsiteY101" fmla="*/ 3489960 h 3680460"/>
                  <a:gd name="connsiteX102" fmla="*/ 495300 w 3025140"/>
                  <a:gd name="connsiteY102" fmla="*/ 3520440 h 3680460"/>
                  <a:gd name="connsiteX103" fmla="*/ 525780 w 3025140"/>
                  <a:gd name="connsiteY103" fmla="*/ 3535680 h 3680460"/>
                  <a:gd name="connsiteX104" fmla="*/ 731520 w 3025140"/>
                  <a:gd name="connsiteY104" fmla="*/ 3558540 h 3680460"/>
                  <a:gd name="connsiteX105" fmla="*/ 1341120 w 3025140"/>
                  <a:gd name="connsiteY105" fmla="*/ 3550920 h 3680460"/>
                  <a:gd name="connsiteX106" fmla="*/ 1440180 w 3025140"/>
                  <a:gd name="connsiteY106" fmla="*/ 3528060 h 3680460"/>
                  <a:gd name="connsiteX107" fmla="*/ 1539240 w 3025140"/>
                  <a:gd name="connsiteY107" fmla="*/ 3520440 h 3680460"/>
                  <a:gd name="connsiteX108" fmla="*/ 1562100 w 3025140"/>
                  <a:gd name="connsiteY108" fmla="*/ 3512820 h 3680460"/>
                  <a:gd name="connsiteX109" fmla="*/ 1630680 w 3025140"/>
                  <a:gd name="connsiteY109" fmla="*/ 3497580 h 3680460"/>
                  <a:gd name="connsiteX110" fmla="*/ 1699260 w 3025140"/>
                  <a:gd name="connsiteY110" fmla="*/ 3474720 h 3680460"/>
                  <a:gd name="connsiteX111" fmla="*/ 1790700 w 3025140"/>
                  <a:gd name="connsiteY111" fmla="*/ 3451860 h 3680460"/>
                  <a:gd name="connsiteX112" fmla="*/ 1821180 w 3025140"/>
                  <a:gd name="connsiteY112" fmla="*/ 3444240 h 3680460"/>
                  <a:gd name="connsiteX113" fmla="*/ 1844040 w 3025140"/>
                  <a:gd name="connsiteY113" fmla="*/ 3429000 h 3680460"/>
                  <a:gd name="connsiteX114" fmla="*/ 1874520 w 3025140"/>
                  <a:gd name="connsiteY114" fmla="*/ 3421380 h 3680460"/>
                  <a:gd name="connsiteX115" fmla="*/ 1927860 w 3025140"/>
                  <a:gd name="connsiteY115" fmla="*/ 3398520 h 3680460"/>
                  <a:gd name="connsiteX116" fmla="*/ 1950720 w 3025140"/>
                  <a:gd name="connsiteY116" fmla="*/ 3390900 h 3680460"/>
                  <a:gd name="connsiteX117" fmla="*/ 2004060 w 3025140"/>
                  <a:gd name="connsiteY117" fmla="*/ 3360420 h 3680460"/>
                  <a:gd name="connsiteX118" fmla="*/ 2042160 w 3025140"/>
                  <a:gd name="connsiteY118" fmla="*/ 3352800 h 3680460"/>
                  <a:gd name="connsiteX119" fmla="*/ 2080260 w 3025140"/>
                  <a:gd name="connsiteY119" fmla="*/ 3337560 h 3680460"/>
                  <a:gd name="connsiteX120" fmla="*/ 2156460 w 3025140"/>
                  <a:gd name="connsiteY120" fmla="*/ 3299460 h 3680460"/>
                  <a:gd name="connsiteX121" fmla="*/ 2179320 w 3025140"/>
                  <a:gd name="connsiteY121" fmla="*/ 3284220 h 3680460"/>
                  <a:gd name="connsiteX122" fmla="*/ 2209800 w 3025140"/>
                  <a:gd name="connsiteY122" fmla="*/ 3276600 h 3680460"/>
                  <a:gd name="connsiteX123" fmla="*/ 2263140 w 3025140"/>
                  <a:gd name="connsiteY123" fmla="*/ 3230880 h 3680460"/>
                  <a:gd name="connsiteX124" fmla="*/ 2346960 w 3025140"/>
                  <a:gd name="connsiteY124" fmla="*/ 3154680 h 3680460"/>
                  <a:gd name="connsiteX125" fmla="*/ 2400300 w 3025140"/>
                  <a:gd name="connsiteY125" fmla="*/ 3070860 h 3680460"/>
                  <a:gd name="connsiteX126" fmla="*/ 2415540 w 3025140"/>
                  <a:gd name="connsiteY126" fmla="*/ 3048000 h 3680460"/>
                  <a:gd name="connsiteX127" fmla="*/ 2446020 w 3025140"/>
                  <a:gd name="connsiteY127" fmla="*/ 3032760 h 3680460"/>
                  <a:gd name="connsiteX128" fmla="*/ 2468880 w 3025140"/>
                  <a:gd name="connsiteY128" fmla="*/ 3009900 h 3680460"/>
                  <a:gd name="connsiteX129" fmla="*/ 2537460 w 3025140"/>
                  <a:gd name="connsiteY129" fmla="*/ 2926080 h 3680460"/>
                  <a:gd name="connsiteX130" fmla="*/ 2575560 w 3025140"/>
                  <a:gd name="connsiteY130" fmla="*/ 2880360 h 3680460"/>
                  <a:gd name="connsiteX131" fmla="*/ 2628900 w 3025140"/>
                  <a:gd name="connsiteY131" fmla="*/ 2811780 h 3680460"/>
                  <a:gd name="connsiteX132" fmla="*/ 2644140 w 3025140"/>
                  <a:gd name="connsiteY132" fmla="*/ 2773680 h 3680460"/>
                  <a:gd name="connsiteX133" fmla="*/ 2674620 w 3025140"/>
                  <a:gd name="connsiteY133" fmla="*/ 2727960 h 3680460"/>
                  <a:gd name="connsiteX134" fmla="*/ 2689860 w 3025140"/>
                  <a:gd name="connsiteY134" fmla="*/ 2705100 h 3680460"/>
                  <a:gd name="connsiteX135" fmla="*/ 2705100 w 3025140"/>
                  <a:gd name="connsiteY135" fmla="*/ 2667000 h 3680460"/>
                  <a:gd name="connsiteX136" fmla="*/ 2727960 w 3025140"/>
                  <a:gd name="connsiteY136" fmla="*/ 2621280 h 3680460"/>
                  <a:gd name="connsiteX137" fmla="*/ 2735580 w 3025140"/>
                  <a:gd name="connsiteY137" fmla="*/ 2590800 h 3680460"/>
                  <a:gd name="connsiteX138" fmla="*/ 2758440 w 3025140"/>
                  <a:gd name="connsiteY138" fmla="*/ 2545080 h 3680460"/>
                  <a:gd name="connsiteX139" fmla="*/ 2788920 w 3025140"/>
                  <a:gd name="connsiteY139" fmla="*/ 2484120 h 3680460"/>
                  <a:gd name="connsiteX140" fmla="*/ 2811780 w 3025140"/>
                  <a:gd name="connsiteY140" fmla="*/ 2407920 h 3680460"/>
                  <a:gd name="connsiteX141" fmla="*/ 2842260 w 3025140"/>
                  <a:gd name="connsiteY141" fmla="*/ 2324100 h 3680460"/>
                  <a:gd name="connsiteX142" fmla="*/ 2857500 w 3025140"/>
                  <a:gd name="connsiteY142" fmla="*/ 2247900 h 3680460"/>
                  <a:gd name="connsiteX143" fmla="*/ 2872740 w 3025140"/>
                  <a:gd name="connsiteY143" fmla="*/ 2194560 h 3680460"/>
                  <a:gd name="connsiteX144" fmla="*/ 2887980 w 3025140"/>
                  <a:gd name="connsiteY144" fmla="*/ 2148840 h 3680460"/>
                  <a:gd name="connsiteX145" fmla="*/ 2910840 w 3025140"/>
                  <a:gd name="connsiteY145" fmla="*/ 2087880 h 3680460"/>
                  <a:gd name="connsiteX146" fmla="*/ 2918460 w 3025140"/>
                  <a:gd name="connsiteY146" fmla="*/ 2049780 h 3680460"/>
                  <a:gd name="connsiteX147" fmla="*/ 2933700 w 3025140"/>
                  <a:gd name="connsiteY147" fmla="*/ 1844040 h 3680460"/>
                  <a:gd name="connsiteX148" fmla="*/ 2918460 w 3025140"/>
                  <a:gd name="connsiteY148" fmla="*/ 1470660 h 3680460"/>
                  <a:gd name="connsiteX149" fmla="*/ 2895600 w 3025140"/>
                  <a:gd name="connsiteY149" fmla="*/ 1371600 h 3680460"/>
                  <a:gd name="connsiteX150" fmla="*/ 2880360 w 3025140"/>
                  <a:gd name="connsiteY150" fmla="*/ 1341120 h 3680460"/>
                  <a:gd name="connsiteX151" fmla="*/ 2857500 w 3025140"/>
                  <a:gd name="connsiteY151" fmla="*/ 1272540 h 3680460"/>
                  <a:gd name="connsiteX152" fmla="*/ 2849880 w 3025140"/>
                  <a:gd name="connsiteY152" fmla="*/ 1234440 h 3680460"/>
                  <a:gd name="connsiteX153" fmla="*/ 2827020 w 3025140"/>
                  <a:gd name="connsiteY153" fmla="*/ 1196340 h 3680460"/>
                  <a:gd name="connsiteX154" fmla="*/ 2811780 w 3025140"/>
                  <a:gd name="connsiteY154" fmla="*/ 1165860 h 3680460"/>
                  <a:gd name="connsiteX155" fmla="*/ 2781300 w 3025140"/>
                  <a:gd name="connsiteY155" fmla="*/ 1127760 h 3680460"/>
                  <a:gd name="connsiteX156" fmla="*/ 2766060 w 3025140"/>
                  <a:gd name="connsiteY156" fmla="*/ 1089660 h 3680460"/>
                  <a:gd name="connsiteX157" fmla="*/ 2735580 w 3025140"/>
                  <a:gd name="connsiteY157" fmla="*/ 1043940 h 3680460"/>
                  <a:gd name="connsiteX158" fmla="*/ 2727960 w 3025140"/>
                  <a:gd name="connsiteY158" fmla="*/ 1021080 h 3680460"/>
                  <a:gd name="connsiteX159" fmla="*/ 2682240 w 3025140"/>
                  <a:gd name="connsiteY159" fmla="*/ 937260 h 3680460"/>
                  <a:gd name="connsiteX160" fmla="*/ 2659380 w 3025140"/>
                  <a:gd name="connsiteY160" fmla="*/ 876300 h 3680460"/>
                  <a:gd name="connsiteX161" fmla="*/ 2644140 w 3025140"/>
                  <a:gd name="connsiteY161" fmla="*/ 845820 h 3680460"/>
                  <a:gd name="connsiteX162" fmla="*/ 2636520 w 3025140"/>
                  <a:gd name="connsiteY162" fmla="*/ 822960 h 3680460"/>
                  <a:gd name="connsiteX163" fmla="*/ 2621280 w 3025140"/>
                  <a:gd name="connsiteY163" fmla="*/ 800100 h 3680460"/>
                  <a:gd name="connsiteX164" fmla="*/ 2598420 w 3025140"/>
                  <a:gd name="connsiteY164" fmla="*/ 739140 h 3680460"/>
                  <a:gd name="connsiteX165" fmla="*/ 2458403 w 3025140"/>
                  <a:gd name="connsiteY165" fmla="*/ 621983 h 3680460"/>
                  <a:gd name="connsiteX166" fmla="*/ 2301240 w 3025140"/>
                  <a:gd name="connsiteY166" fmla="*/ 458152 h 3680460"/>
                  <a:gd name="connsiteX167" fmla="*/ 2237423 w 3025140"/>
                  <a:gd name="connsiteY167" fmla="*/ 406717 h 3680460"/>
                  <a:gd name="connsiteX168" fmla="*/ 2103120 w 3025140"/>
                  <a:gd name="connsiteY168" fmla="*/ 312420 h 3680460"/>
                  <a:gd name="connsiteX169" fmla="*/ 2042160 w 3025140"/>
                  <a:gd name="connsiteY169" fmla="*/ 266700 h 3680460"/>
                  <a:gd name="connsiteX170" fmla="*/ 2004060 w 3025140"/>
                  <a:gd name="connsiteY170" fmla="*/ 251460 h 3680460"/>
                  <a:gd name="connsiteX171" fmla="*/ 1958340 w 3025140"/>
                  <a:gd name="connsiteY171" fmla="*/ 220980 h 3680460"/>
                  <a:gd name="connsiteX172" fmla="*/ 1897380 w 3025140"/>
                  <a:gd name="connsiteY172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065020 w 3025140"/>
                  <a:gd name="connsiteY10" fmla="*/ 76200 h 3680460"/>
                  <a:gd name="connsiteX11" fmla="*/ 2171700 w 3025140"/>
                  <a:gd name="connsiteY11" fmla="*/ 114300 h 3680460"/>
                  <a:gd name="connsiteX12" fmla="*/ 2225040 w 3025140"/>
                  <a:gd name="connsiteY12" fmla="*/ 160020 h 3680460"/>
                  <a:gd name="connsiteX13" fmla="*/ 2286000 w 3025140"/>
                  <a:gd name="connsiteY13" fmla="*/ 190500 h 3680460"/>
                  <a:gd name="connsiteX14" fmla="*/ 2331720 w 3025140"/>
                  <a:gd name="connsiteY14" fmla="*/ 220980 h 3680460"/>
                  <a:gd name="connsiteX15" fmla="*/ 2385060 w 3025140"/>
                  <a:gd name="connsiteY15" fmla="*/ 266700 h 3680460"/>
                  <a:gd name="connsiteX16" fmla="*/ 2415540 w 3025140"/>
                  <a:gd name="connsiteY16" fmla="*/ 289560 h 3680460"/>
                  <a:gd name="connsiteX17" fmla="*/ 2461260 w 3025140"/>
                  <a:gd name="connsiteY17" fmla="*/ 320040 h 3680460"/>
                  <a:gd name="connsiteX18" fmla="*/ 2537460 w 3025140"/>
                  <a:gd name="connsiteY18" fmla="*/ 426720 h 3680460"/>
                  <a:gd name="connsiteX19" fmla="*/ 2552700 w 3025140"/>
                  <a:gd name="connsiteY19" fmla="*/ 449580 h 3680460"/>
                  <a:gd name="connsiteX20" fmla="*/ 2575560 w 3025140"/>
                  <a:gd name="connsiteY20" fmla="*/ 487680 h 3680460"/>
                  <a:gd name="connsiteX21" fmla="*/ 2621280 w 3025140"/>
                  <a:gd name="connsiteY21" fmla="*/ 548640 h 3680460"/>
                  <a:gd name="connsiteX22" fmla="*/ 2674620 w 3025140"/>
                  <a:gd name="connsiteY22" fmla="*/ 609600 h 3680460"/>
                  <a:gd name="connsiteX23" fmla="*/ 2727960 w 3025140"/>
                  <a:gd name="connsiteY23" fmla="*/ 678180 h 3680460"/>
                  <a:gd name="connsiteX24" fmla="*/ 2727960 w 3025140"/>
                  <a:gd name="connsiteY24" fmla="*/ 678180 h 3680460"/>
                  <a:gd name="connsiteX25" fmla="*/ 2766060 w 3025140"/>
                  <a:gd name="connsiteY25" fmla="*/ 754380 h 3680460"/>
                  <a:gd name="connsiteX26" fmla="*/ 2819400 w 3025140"/>
                  <a:gd name="connsiteY26" fmla="*/ 830580 h 3680460"/>
                  <a:gd name="connsiteX27" fmla="*/ 2834640 w 3025140"/>
                  <a:gd name="connsiteY27" fmla="*/ 853440 h 3680460"/>
                  <a:gd name="connsiteX28" fmla="*/ 2849880 w 3025140"/>
                  <a:gd name="connsiteY28" fmla="*/ 883920 h 3680460"/>
                  <a:gd name="connsiteX29" fmla="*/ 2880360 w 3025140"/>
                  <a:gd name="connsiteY29" fmla="*/ 922020 h 3680460"/>
                  <a:gd name="connsiteX30" fmla="*/ 2887980 w 3025140"/>
                  <a:gd name="connsiteY30" fmla="*/ 944880 h 3680460"/>
                  <a:gd name="connsiteX31" fmla="*/ 2903220 w 3025140"/>
                  <a:gd name="connsiteY31" fmla="*/ 967740 h 3680460"/>
                  <a:gd name="connsiteX32" fmla="*/ 2918460 w 3025140"/>
                  <a:gd name="connsiteY32" fmla="*/ 1036320 h 3680460"/>
                  <a:gd name="connsiteX33" fmla="*/ 2933700 w 3025140"/>
                  <a:gd name="connsiteY33" fmla="*/ 1074420 h 3680460"/>
                  <a:gd name="connsiteX34" fmla="*/ 2948940 w 3025140"/>
                  <a:gd name="connsiteY34" fmla="*/ 1120140 h 3680460"/>
                  <a:gd name="connsiteX35" fmla="*/ 2964180 w 3025140"/>
                  <a:gd name="connsiteY35" fmla="*/ 1203960 h 3680460"/>
                  <a:gd name="connsiteX36" fmla="*/ 2979420 w 3025140"/>
                  <a:gd name="connsiteY36" fmla="*/ 1264920 h 3680460"/>
                  <a:gd name="connsiteX37" fmla="*/ 2987040 w 3025140"/>
                  <a:gd name="connsiteY37" fmla="*/ 1318260 h 3680460"/>
                  <a:gd name="connsiteX38" fmla="*/ 2994660 w 3025140"/>
                  <a:gd name="connsiteY38" fmla="*/ 1348740 h 3680460"/>
                  <a:gd name="connsiteX39" fmla="*/ 3009900 w 3025140"/>
                  <a:gd name="connsiteY39" fmla="*/ 1432560 h 3680460"/>
                  <a:gd name="connsiteX40" fmla="*/ 3017520 w 3025140"/>
                  <a:gd name="connsiteY40" fmla="*/ 1684020 h 3680460"/>
                  <a:gd name="connsiteX41" fmla="*/ 3025140 w 3025140"/>
                  <a:gd name="connsiteY41" fmla="*/ 1744980 h 3680460"/>
                  <a:gd name="connsiteX42" fmla="*/ 3017520 w 3025140"/>
                  <a:gd name="connsiteY42" fmla="*/ 2095500 h 3680460"/>
                  <a:gd name="connsiteX43" fmla="*/ 3009900 w 3025140"/>
                  <a:gd name="connsiteY43" fmla="*/ 2125980 h 3680460"/>
                  <a:gd name="connsiteX44" fmla="*/ 2979420 w 3025140"/>
                  <a:gd name="connsiteY44" fmla="*/ 2194560 h 3680460"/>
                  <a:gd name="connsiteX45" fmla="*/ 2956560 w 3025140"/>
                  <a:gd name="connsiteY45" fmla="*/ 2247900 h 3680460"/>
                  <a:gd name="connsiteX46" fmla="*/ 2941320 w 3025140"/>
                  <a:gd name="connsiteY46" fmla="*/ 2324100 h 3680460"/>
                  <a:gd name="connsiteX47" fmla="*/ 2926080 w 3025140"/>
                  <a:gd name="connsiteY47" fmla="*/ 2392680 h 3680460"/>
                  <a:gd name="connsiteX48" fmla="*/ 2918460 w 3025140"/>
                  <a:gd name="connsiteY48" fmla="*/ 2415540 h 3680460"/>
                  <a:gd name="connsiteX49" fmla="*/ 2895600 w 3025140"/>
                  <a:gd name="connsiteY49" fmla="*/ 2484120 h 3680460"/>
                  <a:gd name="connsiteX50" fmla="*/ 2872740 w 3025140"/>
                  <a:gd name="connsiteY50" fmla="*/ 2583180 h 3680460"/>
                  <a:gd name="connsiteX51" fmla="*/ 2857500 w 3025140"/>
                  <a:gd name="connsiteY51" fmla="*/ 2606040 h 3680460"/>
                  <a:gd name="connsiteX52" fmla="*/ 2834640 w 3025140"/>
                  <a:gd name="connsiteY52" fmla="*/ 2689860 h 3680460"/>
                  <a:gd name="connsiteX53" fmla="*/ 2811780 w 3025140"/>
                  <a:gd name="connsiteY53" fmla="*/ 2750820 h 3680460"/>
                  <a:gd name="connsiteX54" fmla="*/ 2788920 w 3025140"/>
                  <a:gd name="connsiteY54" fmla="*/ 2781300 h 3680460"/>
                  <a:gd name="connsiteX55" fmla="*/ 2781300 w 3025140"/>
                  <a:gd name="connsiteY55" fmla="*/ 2804160 h 3680460"/>
                  <a:gd name="connsiteX56" fmla="*/ 2743200 w 3025140"/>
                  <a:gd name="connsiteY56" fmla="*/ 2865120 h 3680460"/>
                  <a:gd name="connsiteX57" fmla="*/ 2712720 w 3025140"/>
                  <a:gd name="connsiteY57" fmla="*/ 2903220 h 3680460"/>
                  <a:gd name="connsiteX58" fmla="*/ 2697480 w 3025140"/>
                  <a:gd name="connsiteY58" fmla="*/ 2933700 h 3680460"/>
                  <a:gd name="connsiteX59" fmla="*/ 2674620 w 3025140"/>
                  <a:gd name="connsiteY59" fmla="*/ 2964180 h 3680460"/>
                  <a:gd name="connsiteX60" fmla="*/ 2644140 w 3025140"/>
                  <a:gd name="connsiteY60" fmla="*/ 3009900 h 3680460"/>
                  <a:gd name="connsiteX61" fmla="*/ 2598420 w 3025140"/>
                  <a:gd name="connsiteY61" fmla="*/ 3055620 h 3680460"/>
                  <a:gd name="connsiteX62" fmla="*/ 2575560 w 3025140"/>
                  <a:gd name="connsiteY62" fmla="*/ 3078480 h 3680460"/>
                  <a:gd name="connsiteX63" fmla="*/ 2476500 w 3025140"/>
                  <a:gd name="connsiteY63" fmla="*/ 3169920 h 3680460"/>
                  <a:gd name="connsiteX64" fmla="*/ 2377440 w 3025140"/>
                  <a:gd name="connsiteY64" fmla="*/ 3223260 h 3680460"/>
                  <a:gd name="connsiteX65" fmla="*/ 2293620 w 3025140"/>
                  <a:gd name="connsiteY65" fmla="*/ 3284220 h 3680460"/>
                  <a:gd name="connsiteX66" fmla="*/ 2240280 w 3025140"/>
                  <a:gd name="connsiteY66" fmla="*/ 3314700 h 3680460"/>
                  <a:gd name="connsiteX67" fmla="*/ 2225040 w 3025140"/>
                  <a:gd name="connsiteY67" fmla="*/ 3337560 h 3680460"/>
                  <a:gd name="connsiteX68" fmla="*/ 2141220 w 3025140"/>
                  <a:gd name="connsiteY68" fmla="*/ 3390900 h 3680460"/>
                  <a:gd name="connsiteX69" fmla="*/ 2110740 w 3025140"/>
                  <a:gd name="connsiteY69" fmla="*/ 3413760 h 3680460"/>
                  <a:gd name="connsiteX70" fmla="*/ 2072640 w 3025140"/>
                  <a:gd name="connsiteY70" fmla="*/ 3451860 h 3680460"/>
                  <a:gd name="connsiteX71" fmla="*/ 2019300 w 3025140"/>
                  <a:gd name="connsiteY71" fmla="*/ 3467100 h 3680460"/>
                  <a:gd name="connsiteX72" fmla="*/ 1874520 w 3025140"/>
                  <a:gd name="connsiteY72" fmla="*/ 3512820 h 3680460"/>
                  <a:gd name="connsiteX73" fmla="*/ 1828800 w 3025140"/>
                  <a:gd name="connsiteY73" fmla="*/ 3520440 h 3680460"/>
                  <a:gd name="connsiteX74" fmla="*/ 1722120 w 3025140"/>
                  <a:gd name="connsiteY74" fmla="*/ 3550920 h 3680460"/>
                  <a:gd name="connsiteX75" fmla="*/ 1600200 w 3025140"/>
                  <a:gd name="connsiteY75" fmla="*/ 3589020 h 3680460"/>
                  <a:gd name="connsiteX76" fmla="*/ 1569720 w 3025140"/>
                  <a:gd name="connsiteY76" fmla="*/ 3596640 h 3680460"/>
                  <a:gd name="connsiteX77" fmla="*/ 1546860 w 3025140"/>
                  <a:gd name="connsiteY77" fmla="*/ 3611880 h 3680460"/>
                  <a:gd name="connsiteX78" fmla="*/ 1463040 w 3025140"/>
                  <a:gd name="connsiteY78" fmla="*/ 3627120 h 3680460"/>
                  <a:gd name="connsiteX79" fmla="*/ 1333500 w 3025140"/>
                  <a:gd name="connsiteY79" fmla="*/ 3657600 h 3680460"/>
                  <a:gd name="connsiteX80" fmla="*/ 1203960 w 3025140"/>
                  <a:gd name="connsiteY80" fmla="*/ 3672840 h 3680460"/>
                  <a:gd name="connsiteX81" fmla="*/ 1165860 w 3025140"/>
                  <a:gd name="connsiteY81" fmla="*/ 3680460 h 3680460"/>
                  <a:gd name="connsiteX82" fmla="*/ 449580 w 3025140"/>
                  <a:gd name="connsiteY82" fmla="*/ 3672840 h 3680460"/>
                  <a:gd name="connsiteX83" fmla="*/ 426720 w 3025140"/>
                  <a:gd name="connsiteY83" fmla="*/ 3665220 h 3680460"/>
                  <a:gd name="connsiteX84" fmla="*/ 388620 w 3025140"/>
                  <a:gd name="connsiteY84" fmla="*/ 3657600 h 3680460"/>
                  <a:gd name="connsiteX85" fmla="*/ 335280 w 3025140"/>
                  <a:gd name="connsiteY85" fmla="*/ 3627120 h 3680460"/>
                  <a:gd name="connsiteX86" fmla="*/ 266700 w 3025140"/>
                  <a:gd name="connsiteY86" fmla="*/ 3604260 h 3680460"/>
                  <a:gd name="connsiteX87" fmla="*/ 243840 w 3025140"/>
                  <a:gd name="connsiteY87" fmla="*/ 3589020 h 3680460"/>
                  <a:gd name="connsiteX88" fmla="*/ 160020 w 3025140"/>
                  <a:gd name="connsiteY88" fmla="*/ 3558540 h 3680460"/>
                  <a:gd name="connsiteX89" fmla="*/ 137160 w 3025140"/>
                  <a:gd name="connsiteY89" fmla="*/ 3535680 h 3680460"/>
                  <a:gd name="connsiteX90" fmla="*/ 99060 w 3025140"/>
                  <a:gd name="connsiteY90" fmla="*/ 3520440 h 3680460"/>
                  <a:gd name="connsiteX91" fmla="*/ 83820 w 3025140"/>
                  <a:gd name="connsiteY91" fmla="*/ 3489960 h 3680460"/>
                  <a:gd name="connsiteX92" fmla="*/ 45720 w 3025140"/>
                  <a:gd name="connsiteY92" fmla="*/ 3436620 h 3680460"/>
                  <a:gd name="connsiteX93" fmla="*/ 0 w 3025140"/>
                  <a:gd name="connsiteY93" fmla="*/ 3352800 h 3680460"/>
                  <a:gd name="connsiteX94" fmla="*/ 30480 w 3025140"/>
                  <a:gd name="connsiteY94" fmla="*/ 3345180 h 3680460"/>
                  <a:gd name="connsiteX95" fmla="*/ 137160 w 3025140"/>
                  <a:gd name="connsiteY95" fmla="*/ 3360420 h 3680460"/>
                  <a:gd name="connsiteX96" fmla="*/ 167640 w 3025140"/>
                  <a:gd name="connsiteY96" fmla="*/ 3390900 h 3680460"/>
                  <a:gd name="connsiteX97" fmla="*/ 198120 w 3025140"/>
                  <a:gd name="connsiteY97" fmla="*/ 3406140 h 3680460"/>
                  <a:gd name="connsiteX98" fmla="*/ 350520 w 3025140"/>
                  <a:gd name="connsiteY98" fmla="*/ 3436620 h 3680460"/>
                  <a:gd name="connsiteX99" fmla="*/ 381000 w 3025140"/>
                  <a:gd name="connsiteY99" fmla="*/ 3451860 h 3680460"/>
                  <a:gd name="connsiteX100" fmla="*/ 449580 w 3025140"/>
                  <a:gd name="connsiteY100" fmla="*/ 3489960 h 3680460"/>
                  <a:gd name="connsiteX101" fmla="*/ 495300 w 3025140"/>
                  <a:gd name="connsiteY101" fmla="*/ 3520440 h 3680460"/>
                  <a:gd name="connsiteX102" fmla="*/ 525780 w 3025140"/>
                  <a:gd name="connsiteY102" fmla="*/ 3535680 h 3680460"/>
                  <a:gd name="connsiteX103" fmla="*/ 731520 w 3025140"/>
                  <a:gd name="connsiteY103" fmla="*/ 3558540 h 3680460"/>
                  <a:gd name="connsiteX104" fmla="*/ 1341120 w 3025140"/>
                  <a:gd name="connsiteY104" fmla="*/ 3550920 h 3680460"/>
                  <a:gd name="connsiteX105" fmla="*/ 1440180 w 3025140"/>
                  <a:gd name="connsiteY105" fmla="*/ 3528060 h 3680460"/>
                  <a:gd name="connsiteX106" fmla="*/ 1539240 w 3025140"/>
                  <a:gd name="connsiteY106" fmla="*/ 3520440 h 3680460"/>
                  <a:gd name="connsiteX107" fmla="*/ 1562100 w 3025140"/>
                  <a:gd name="connsiteY107" fmla="*/ 3512820 h 3680460"/>
                  <a:gd name="connsiteX108" fmla="*/ 1630680 w 3025140"/>
                  <a:gd name="connsiteY108" fmla="*/ 3497580 h 3680460"/>
                  <a:gd name="connsiteX109" fmla="*/ 1699260 w 3025140"/>
                  <a:gd name="connsiteY109" fmla="*/ 3474720 h 3680460"/>
                  <a:gd name="connsiteX110" fmla="*/ 1790700 w 3025140"/>
                  <a:gd name="connsiteY110" fmla="*/ 3451860 h 3680460"/>
                  <a:gd name="connsiteX111" fmla="*/ 1821180 w 3025140"/>
                  <a:gd name="connsiteY111" fmla="*/ 3444240 h 3680460"/>
                  <a:gd name="connsiteX112" fmla="*/ 1844040 w 3025140"/>
                  <a:gd name="connsiteY112" fmla="*/ 3429000 h 3680460"/>
                  <a:gd name="connsiteX113" fmla="*/ 1874520 w 3025140"/>
                  <a:gd name="connsiteY113" fmla="*/ 3421380 h 3680460"/>
                  <a:gd name="connsiteX114" fmla="*/ 1927860 w 3025140"/>
                  <a:gd name="connsiteY114" fmla="*/ 3398520 h 3680460"/>
                  <a:gd name="connsiteX115" fmla="*/ 1950720 w 3025140"/>
                  <a:gd name="connsiteY115" fmla="*/ 3390900 h 3680460"/>
                  <a:gd name="connsiteX116" fmla="*/ 2004060 w 3025140"/>
                  <a:gd name="connsiteY116" fmla="*/ 3360420 h 3680460"/>
                  <a:gd name="connsiteX117" fmla="*/ 2042160 w 3025140"/>
                  <a:gd name="connsiteY117" fmla="*/ 3352800 h 3680460"/>
                  <a:gd name="connsiteX118" fmla="*/ 2080260 w 3025140"/>
                  <a:gd name="connsiteY118" fmla="*/ 3337560 h 3680460"/>
                  <a:gd name="connsiteX119" fmla="*/ 2156460 w 3025140"/>
                  <a:gd name="connsiteY119" fmla="*/ 3299460 h 3680460"/>
                  <a:gd name="connsiteX120" fmla="*/ 2179320 w 3025140"/>
                  <a:gd name="connsiteY120" fmla="*/ 3284220 h 3680460"/>
                  <a:gd name="connsiteX121" fmla="*/ 2209800 w 3025140"/>
                  <a:gd name="connsiteY121" fmla="*/ 3276600 h 3680460"/>
                  <a:gd name="connsiteX122" fmla="*/ 2263140 w 3025140"/>
                  <a:gd name="connsiteY122" fmla="*/ 3230880 h 3680460"/>
                  <a:gd name="connsiteX123" fmla="*/ 2346960 w 3025140"/>
                  <a:gd name="connsiteY123" fmla="*/ 3154680 h 3680460"/>
                  <a:gd name="connsiteX124" fmla="*/ 2400300 w 3025140"/>
                  <a:gd name="connsiteY124" fmla="*/ 3070860 h 3680460"/>
                  <a:gd name="connsiteX125" fmla="*/ 2415540 w 3025140"/>
                  <a:gd name="connsiteY125" fmla="*/ 3048000 h 3680460"/>
                  <a:gd name="connsiteX126" fmla="*/ 2446020 w 3025140"/>
                  <a:gd name="connsiteY126" fmla="*/ 3032760 h 3680460"/>
                  <a:gd name="connsiteX127" fmla="*/ 2468880 w 3025140"/>
                  <a:gd name="connsiteY127" fmla="*/ 3009900 h 3680460"/>
                  <a:gd name="connsiteX128" fmla="*/ 2537460 w 3025140"/>
                  <a:gd name="connsiteY128" fmla="*/ 2926080 h 3680460"/>
                  <a:gd name="connsiteX129" fmla="*/ 2575560 w 3025140"/>
                  <a:gd name="connsiteY129" fmla="*/ 2880360 h 3680460"/>
                  <a:gd name="connsiteX130" fmla="*/ 2628900 w 3025140"/>
                  <a:gd name="connsiteY130" fmla="*/ 2811780 h 3680460"/>
                  <a:gd name="connsiteX131" fmla="*/ 2644140 w 3025140"/>
                  <a:gd name="connsiteY131" fmla="*/ 2773680 h 3680460"/>
                  <a:gd name="connsiteX132" fmla="*/ 2674620 w 3025140"/>
                  <a:gd name="connsiteY132" fmla="*/ 2727960 h 3680460"/>
                  <a:gd name="connsiteX133" fmla="*/ 2689860 w 3025140"/>
                  <a:gd name="connsiteY133" fmla="*/ 2705100 h 3680460"/>
                  <a:gd name="connsiteX134" fmla="*/ 2705100 w 3025140"/>
                  <a:gd name="connsiteY134" fmla="*/ 2667000 h 3680460"/>
                  <a:gd name="connsiteX135" fmla="*/ 2727960 w 3025140"/>
                  <a:gd name="connsiteY135" fmla="*/ 2621280 h 3680460"/>
                  <a:gd name="connsiteX136" fmla="*/ 2735580 w 3025140"/>
                  <a:gd name="connsiteY136" fmla="*/ 2590800 h 3680460"/>
                  <a:gd name="connsiteX137" fmla="*/ 2758440 w 3025140"/>
                  <a:gd name="connsiteY137" fmla="*/ 2545080 h 3680460"/>
                  <a:gd name="connsiteX138" fmla="*/ 2788920 w 3025140"/>
                  <a:gd name="connsiteY138" fmla="*/ 2484120 h 3680460"/>
                  <a:gd name="connsiteX139" fmla="*/ 2811780 w 3025140"/>
                  <a:gd name="connsiteY139" fmla="*/ 2407920 h 3680460"/>
                  <a:gd name="connsiteX140" fmla="*/ 2842260 w 3025140"/>
                  <a:gd name="connsiteY140" fmla="*/ 2324100 h 3680460"/>
                  <a:gd name="connsiteX141" fmla="*/ 2857500 w 3025140"/>
                  <a:gd name="connsiteY141" fmla="*/ 2247900 h 3680460"/>
                  <a:gd name="connsiteX142" fmla="*/ 2872740 w 3025140"/>
                  <a:gd name="connsiteY142" fmla="*/ 2194560 h 3680460"/>
                  <a:gd name="connsiteX143" fmla="*/ 2887980 w 3025140"/>
                  <a:gd name="connsiteY143" fmla="*/ 2148840 h 3680460"/>
                  <a:gd name="connsiteX144" fmla="*/ 2910840 w 3025140"/>
                  <a:gd name="connsiteY144" fmla="*/ 2087880 h 3680460"/>
                  <a:gd name="connsiteX145" fmla="*/ 2918460 w 3025140"/>
                  <a:gd name="connsiteY145" fmla="*/ 2049780 h 3680460"/>
                  <a:gd name="connsiteX146" fmla="*/ 2933700 w 3025140"/>
                  <a:gd name="connsiteY146" fmla="*/ 1844040 h 3680460"/>
                  <a:gd name="connsiteX147" fmla="*/ 2918460 w 3025140"/>
                  <a:gd name="connsiteY147" fmla="*/ 1470660 h 3680460"/>
                  <a:gd name="connsiteX148" fmla="*/ 2895600 w 3025140"/>
                  <a:gd name="connsiteY148" fmla="*/ 1371600 h 3680460"/>
                  <a:gd name="connsiteX149" fmla="*/ 2880360 w 3025140"/>
                  <a:gd name="connsiteY149" fmla="*/ 1341120 h 3680460"/>
                  <a:gd name="connsiteX150" fmla="*/ 2857500 w 3025140"/>
                  <a:gd name="connsiteY150" fmla="*/ 1272540 h 3680460"/>
                  <a:gd name="connsiteX151" fmla="*/ 2849880 w 3025140"/>
                  <a:gd name="connsiteY151" fmla="*/ 1234440 h 3680460"/>
                  <a:gd name="connsiteX152" fmla="*/ 2827020 w 3025140"/>
                  <a:gd name="connsiteY152" fmla="*/ 1196340 h 3680460"/>
                  <a:gd name="connsiteX153" fmla="*/ 2811780 w 3025140"/>
                  <a:gd name="connsiteY153" fmla="*/ 1165860 h 3680460"/>
                  <a:gd name="connsiteX154" fmla="*/ 2781300 w 3025140"/>
                  <a:gd name="connsiteY154" fmla="*/ 1127760 h 3680460"/>
                  <a:gd name="connsiteX155" fmla="*/ 2766060 w 3025140"/>
                  <a:gd name="connsiteY155" fmla="*/ 1089660 h 3680460"/>
                  <a:gd name="connsiteX156" fmla="*/ 2735580 w 3025140"/>
                  <a:gd name="connsiteY156" fmla="*/ 1043940 h 3680460"/>
                  <a:gd name="connsiteX157" fmla="*/ 2727960 w 3025140"/>
                  <a:gd name="connsiteY157" fmla="*/ 1021080 h 3680460"/>
                  <a:gd name="connsiteX158" fmla="*/ 2682240 w 3025140"/>
                  <a:gd name="connsiteY158" fmla="*/ 937260 h 3680460"/>
                  <a:gd name="connsiteX159" fmla="*/ 2659380 w 3025140"/>
                  <a:gd name="connsiteY159" fmla="*/ 876300 h 3680460"/>
                  <a:gd name="connsiteX160" fmla="*/ 2644140 w 3025140"/>
                  <a:gd name="connsiteY160" fmla="*/ 845820 h 3680460"/>
                  <a:gd name="connsiteX161" fmla="*/ 2636520 w 3025140"/>
                  <a:gd name="connsiteY161" fmla="*/ 822960 h 3680460"/>
                  <a:gd name="connsiteX162" fmla="*/ 2621280 w 3025140"/>
                  <a:gd name="connsiteY162" fmla="*/ 800100 h 3680460"/>
                  <a:gd name="connsiteX163" fmla="*/ 2598420 w 3025140"/>
                  <a:gd name="connsiteY163" fmla="*/ 739140 h 3680460"/>
                  <a:gd name="connsiteX164" fmla="*/ 2458403 w 3025140"/>
                  <a:gd name="connsiteY164" fmla="*/ 621983 h 3680460"/>
                  <a:gd name="connsiteX165" fmla="*/ 2301240 w 3025140"/>
                  <a:gd name="connsiteY165" fmla="*/ 458152 h 3680460"/>
                  <a:gd name="connsiteX166" fmla="*/ 2237423 w 3025140"/>
                  <a:gd name="connsiteY166" fmla="*/ 406717 h 3680460"/>
                  <a:gd name="connsiteX167" fmla="*/ 2103120 w 3025140"/>
                  <a:gd name="connsiteY167" fmla="*/ 312420 h 3680460"/>
                  <a:gd name="connsiteX168" fmla="*/ 2042160 w 3025140"/>
                  <a:gd name="connsiteY168" fmla="*/ 266700 h 3680460"/>
                  <a:gd name="connsiteX169" fmla="*/ 2004060 w 3025140"/>
                  <a:gd name="connsiteY169" fmla="*/ 251460 h 3680460"/>
                  <a:gd name="connsiteX170" fmla="*/ 1958340 w 3025140"/>
                  <a:gd name="connsiteY170" fmla="*/ 220980 h 3680460"/>
                  <a:gd name="connsiteX171" fmla="*/ 1897380 w 3025140"/>
                  <a:gd name="connsiteY17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065020 w 3025140"/>
                  <a:gd name="connsiteY10" fmla="*/ 76200 h 3680460"/>
                  <a:gd name="connsiteX11" fmla="*/ 2171700 w 3025140"/>
                  <a:gd name="connsiteY11" fmla="*/ 114300 h 3680460"/>
                  <a:gd name="connsiteX12" fmla="*/ 2225040 w 3025140"/>
                  <a:gd name="connsiteY12" fmla="*/ 160020 h 3680460"/>
                  <a:gd name="connsiteX13" fmla="*/ 2286000 w 3025140"/>
                  <a:gd name="connsiteY13" fmla="*/ 190500 h 3680460"/>
                  <a:gd name="connsiteX14" fmla="*/ 2331720 w 3025140"/>
                  <a:gd name="connsiteY14" fmla="*/ 220980 h 3680460"/>
                  <a:gd name="connsiteX15" fmla="*/ 2385060 w 3025140"/>
                  <a:gd name="connsiteY15" fmla="*/ 266700 h 3680460"/>
                  <a:gd name="connsiteX16" fmla="*/ 2415540 w 3025140"/>
                  <a:gd name="connsiteY16" fmla="*/ 289560 h 3680460"/>
                  <a:gd name="connsiteX17" fmla="*/ 2461260 w 3025140"/>
                  <a:gd name="connsiteY17" fmla="*/ 320040 h 3680460"/>
                  <a:gd name="connsiteX18" fmla="*/ 2537460 w 3025140"/>
                  <a:gd name="connsiteY18" fmla="*/ 426720 h 3680460"/>
                  <a:gd name="connsiteX19" fmla="*/ 2552700 w 3025140"/>
                  <a:gd name="connsiteY19" fmla="*/ 449580 h 3680460"/>
                  <a:gd name="connsiteX20" fmla="*/ 2575560 w 3025140"/>
                  <a:gd name="connsiteY20" fmla="*/ 487680 h 3680460"/>
                  <a:gd name="connsiteX21" fmla="*/ 2621280 w 3025140"/>
                  <a:gd name="connsiteY21" fmla="*/ 548640 h 3680460"/>
                  <a:gd name="connsiteX22" fmla="*/ 2674620 w 3025140"/>
                  <a:gd name="connsiteY22" fmla="*/ 609600 h 3680460"/>
                  <a:gd name="connsiteX23" fmla="*/ 2727960 w 3025140"/>
                  <a:gd name="connsiteY23" fmla="*/ 678180 h 3680460"/>
                  <a:gd name="connsiteX24" fmla="*/ 2727960 w 3025140"/>
                  <a:gd name="connsiteY24" fmla="*/ 678180 h 3680460"/>
                  <a:gd name="connsiteX25" fmla="*/ 2766060 w 3025140"/>
                  <a:gd name="connsiteY25" fmla="*/ 754380 h 3680460"/>
                  <a:gd name="connsiteX26" fmla="*/ 2819400 w 3025140"/>
                  <a:gd name="connsiteY26" fmla="*/ 830580 h 3680460"/>
                  <a:gd name="connsiteX27" fmla="*/ 2834640 w 3025140"/>
                  <a:gd name="connsiteY27" fmla="*/ 853440 h 3680460"/>
                  <a:gd name="connsiteX28" fmla="*/ 2849880 w 3025140"/>
                  <a:gd name="connsiteY28" fmla="*/ 883920 h 3680460"/>
                  <a:gd name="connsiteX29" fmla="*/ 2880360 w 3025140"/>
                  <a:gd name="connsiteY29" fmla="*/ 922020 h 3680460"/>
                  <a:gd name="connsiteX30" fmla="*/ 2887980 w 3025140"/>
                  <a:gd name="connsiteY30" fmla="*/ 944880 h 3680460"/>
                  <a:gd name="connsiteX31" fmla="*/ 2903220 w 3025140"/>
                  <a:gd name="connsiteY31" fmla="*/ 967740 h 3680460"/>
                  <a:gd name="connsiteX32" fmla="*/ 2918460 w 3025140"/>
                  <a:gd name="connsiteY32" fmla="*/ 1036320 h 3680460"/>
                  <a:gd name="connsiteX33" fmla="*/ 2933700 w 3025140"/>
                  <a:gd name="connsiteY33" fmla="*/ 1074420 h 3680460"/>
                  <a:gd name="connsiteX34" fmla="*/ 2948940 w 3025140"/>
                  <a:gd name="connsiteY34" fmla="*/ 1120140 h 3680460"/>
                  <a:gd name="connsiteX35" fmla="*/ 2964180 w 3025140"/>
                  <a:gd name="connsiteY35" fmla="*/ 1203960 h 3680460"/>
                  <a:gd name="connsiteX36" fmla="*/ 2979420 w 3025140"/>
                  <a:gd name="connsiteY36" fmla="*/ 1264920 h 3680460"/>
                  <a:gd name="connsiteX37" fmla="*/ 2987040 w 3025140"/>
                  <a:gd name="connsiteY37" fmla="*/ 1318260 h 3680460"/>
                  <a:gd name="connsiteX38" fmla="*/ 2994660 w 3025140"/>
                  <a:gd name="connsiteY38" fmla="*/ 1348740 h 3680460"/>
                  <a:gd name="connsiteX39" fmla="*/ 3009900 w 3025140"/>
                  <a:gd name="connsiteY39" fmla="*/ 1432560 h 3680460"/>
                  <a:gd name="connsiteX40" fmla="*/ 3017520 w 3025140"/>
                  <a:gd name="connsiteY40" fmla="*/ 1684020 h 3680460"/>
                  <a:gd name="connsiteX41" fmla="*/ 3025140 w 3025140"/>
                  <a:gd name="connsiteY41" fmla="*/ 1744980 h 3680460"/>
                  <a:gd name="connsiteX42" fmla="*/ 3017520 w 3025140"/>
                  <a:gd name="connsiteY42" fmla="*/ 2095500 h 3680460"/>
                  <a:gd name="connsiteX43" fmla="*/ 3009900 w 3025140"/>
                  <a:gd name="connsiteY43" fmla="*/ 2125980 h 3680460"/>
                  <a:gd name="connsiteX44" fmla="*/ 2979420 w 3025140"/>
                  <a:gd name="connsiteY44" fmla="*/ 2194560 h 3680460"/>
                  <a:gd name="connsiteX45" fmla="*/ 2956560 w 3025140"/>
                  <a:gd name="connsiteY45" fmla="*/ 2247900 h 3680460"/>
                  <a:gd name="connsiteX46" fmla="*/ 2941320 w 3025140"/>
                  <a:gd name="connsiteY46" fmla="*/ 2324100 h 3680460"/>
                  <a:gd name="connsiteX47" fmla="*/ 2926080 w 3025140"/>
                  <a:gd name="connsiteY47" fmla="*/ 2392680 h 3680460"/>
                  <a:gd name="connsiteX48" fmla="*/ 2918460 w 3025140"/>
                  <a:gd name="connsiteY48" fmla="*/ 2415540 h 3680460"/>
                  <a:gd name="connsiteX49" fmla="*/ 2895600 w 3025140"/>
                  <a:gd name="connsiteY49" fmla="*/ 2484120 h 3680460"/>
                  <a:gd name="connsiteX50" fmla="*/ 2872740 w 3025140"/>
                  <a:gd name="connsiteY50" fmla="*/ 2583180 h 3680460"/>
                  <a:gd name="connsiteX51" fmla="*/ 2857500 w 3025140"/>
                  <a:gd name="connsiteY51" fmla="*/ 2606040 h 3680460"/>
                  <a:gd name="connsiteX52" fmla="*/ 2834640 w 3025140"/>
                  <a:gd name="connsiteY52" fmla="*/ 2689860 h 3680460"/>
                  <a:gd name="connsiteX53" fmla="*/ 2811780 w 3025140"/>
                  <a:gd name="connsiteY53" fmla="*/ 2750820 h 3680460"/>
                  <a:gd name="connsiteX54" fmla="*/ 2788920 w 3025140"/>
                  <a:gd name="connsiteY54" fmla="*/ 2781300 h 3680460"/>
                  <a:gd name="connsiteX55" fmla="*/ 2781300 w 3025140"/>
                  <a:gd name="connsiteY55" fmla="*/ 2804160 h 3680460"/>
                  <a:gd name="connsiteX56" fmla="*/ 2743200 w 3025140"/>
                  <a:gd name="connsiteY56" fmla="*/ 2865120 h 3680460"/>
                  <a:gd name="connsiteX57" fmla="*/ 2712720 w 3025140"/>
                  <a:gd name="connsiteY57" fmla="*/ 2903220 h 3680460"/>
                  <a:gd name="connsiteX58" fmla="*/ 2697480 w 3025140"/>
                  <a:gd name="connsiteY58" fmla="*/ 2933700 h 3680460"/>
                  <a:gd name="connsiteX59" fmla="*/ 2674620 w 3025140"/>
                  <a:gd name="connsiteY59" fmla="*/ 2964180 h 3680460"/>
                  <a:gd name="connsiteX60" fmla="*/ 2644140 w 3025140"/>
                  <a:gd name="connsiteY60" fmla="*/ 3009900 h 3680460"/>
                  <a:gd name="connsiteX61" fmla="*/ 2598420 w 3025140"/>
                  <a:gd name="connsiteY61" fmla="*/ 3055620 h 3680460"/>
                  <a:gd name="connsiteX62" fmla="*/ 2575560 w 3025140"/>
                  <a:gd name="connsiteY62" fmla="*/ 3078480 h 3680460"/>
                  <a:gd name="connsiteX63" fmla="*/ 2476500 w 3025140"/>
                  <a:gd name="connsiteY63" fmla="*/ 3169920 h 3680460"/>
                  <a:gd name="connsiteX64" fmla="*/ 2377440 w 3025140"/>
                  <a:gd name="connsiteY64" fmla="*/ 3223260 h 3680460"/>
                  <a:gd name="connsiteX65" fmla="*/ 2293620 w 3025140"/>
                  <a:gd name="connsiteY65" fmla="*/ 3284220 h 3680460"/>
                  <a:gd name="connsiteX66" fmla="*/ 2240280 w 3025140"/>
                  <a:gd name="connsiteY66" fmla="*/ 3314700 h 3680460"/>
                  <a:gd name="connsiteX67" fmla="*/ 2225040 w 3025140"/>
                  <a:gd name="connsiteY67" fmla="*/ 3337560 h 3680460"/>
                  <a:gd name="connsiteX68" fmla="*/ 2141220 w 3025140"/>
                  <a:gd name="connsiteY68" fmla="*/ 3390900 h 3680460"/>
                  <a:gd name="connsiteX69" fmla="*/ 2110740 w 3025140"/>
                  <a:gd name="connsiteY69" fmla="*/ 3413760 h 3680460"/>
                  <a:gd name="connsiteX70" fmla="*/ 2072640 w 3025140"/>
                  <a:gd name="connsiteY70" fmla="*/ 3451860 h 3680460"/>
                  <a:gd name="connsiteX71" fmla="*/ 2019300 w 3025140"/>
                  <a:gd name="connsiteY71" fmla="*/ 3467100 h 3680460"/>
                  <a:gd name="connsiteX72" fmla="*/ 1874520 w 3025140"/>
                  <a:gd name="connsiteY72" fmla="*/ 3512820 h 3680460"/>
                  <a:gd name="connsiteX73" fmla="*/ 1828800 w 3025140"/>
                  <a:gd name="connsiteY73" fmla="*/ 3520440 h 3680460"/>
                  <a:gd name="connsiteX74" fmla="*/ 1722120 w 3025140"/>
                  <a:gd name="connsiteY74" fmla="*/ 3550920 h 3680460"/>
                  <a:gd name="connsiteX75" fmla="*/ 1600200 w 3025140"/>
                  <a:gd name="connsiteY75" fmla="*/ 3589020 h 3680460"/>
                  <a:gd name="connsiteX76" fmla="*/ 1569720 w 3025140"/>
                  <a:gd name="connsiteY76" fmla="*/ 3596640 h 3680460"/>
                  <a:gd name="connsiteX77" fmla="*/ 1546860 w 3025140"/>
                  <a:gd name="connsiteY77" fmla="*/ 3611880 h 3680460"/>
                  <a:gd name="connsiteX78" fmla="*/ 1463040 w 3025140"/>
                  <a:gd name="connsiteY78" fmla="*/ 3627120 h 3680460"/>
                  <a:gd name="connsiteX79" fmla="*/ 1333500 w 3025140"/>
                  <a:gd name="connsiteY79" fmla="*/ 3657600 h 3680460"/>
                  <a:gd name="connsiteX80" fmla="*/ 1203960 w 3025140"/>
                  <a:gd name="connsiteY80" fmla="*/ 3672840 h 3680460"/>
                  <a:gd name="connsiteX81" fmla="*/ 1165860 w 3025140"/>
                  <a:gd name="connsiteY81" fmla="*/ 3680460 h 3680460"/>
                  <a:gd name="connsiteX82" fmla="*/ 449580 w 3025140"/>
                  <a:gd name="connsiteY82" fmla="*/ 3672840 h 3680460"/>
                  <a:gd name="connsiteX83" fmla="*/ 426720 w 3025140"/>
                  <a:gd name="connsiteY83" fmla="*/ 3665220 h 3680460"/>
                  <a:gd name="connsiteX84" fmla="*/ 388620 w 3025140"/>
                  <a:gd name="connsiteY84" fmla="*/ 3657600 h 3680460"/>
                  <a:gd name="connsiteX85" fmla="*/ 335280 w 3025140"/>
                  <a:gd name="connsiteY85" fmla="*/ 3627120 h 3680460"/>
                  <a:gd name="connsiteX86" fmla="*/ 266700 w 3025140"/>
                  <a:gd name="connsiteY86" fmla="*/ 3604260 h 3680460"/>
                  <a:gd name="connsiteX87" fmla="*/ 243840 w 3025140"/>
                  <a:gd name="connsiteY87" fmla="*/ 3589020 h 3680460"/>
                  <a:gd name="connsiteX88" fmla="*/ 160020 w 3025140"/>
                  <a:gd name="connsiteY88" fmla="*/ 3558540 h 3680460"/>
                  <a:gd name="connsiteX89" fmla="*/ 137160 w 3025140"/>
                  <a:gd name="connsiteY89" fmla="*/ 3535680 h 3680460"/>
                  <a:gd name="connsiteX90" fmla="*/ 99060 w 3025140"/>
                  <a:gd name="connsiteY90" fmla="*/ 3520440 h 3680460"/>
                  <a:gd name="connsiteX91" fmla="*/ 83820 w 3025140"/>
                  <a:gd name="connsiteY91" fmla="*/ 3489960 h 3680460"/>
                  <a:gd name="connsiteX92" fmla="*/ 45720 w 3025140"/>
                  <a:gd name="connsiteY92" fmla="*/ 3436620 h 3680460"/>
                  <a:gd name="connsiteX93" fmla="*/ 0 w 3025140"/>
                  <a:gd name="connsiteY93" fmla="*/ 3352800 h 3680460"/>
                  <a:gd name="connsiteX94" fmla="*/ 30480 w 3025140"/>
                  <a:gd name="connsiteY94" fmla="*/ 3345180 h 3680460"/>
                  <a:gd name="connsiteX95" fmla="*/ 137160 w 3025140"/>
                  <a:gd name="connsiteY95" fmla="*/ 3360420 h 3680460"/>
                  <a:gd name="connsiteX96" fmla="*/ 167640 w 3025140"/>
                  <a:gd name="connsiteY96" fmla="*/ 3390900 h 3680460"/>
                  <a:gd name="connsiteX97" fmla="*/ 198120 w 3025140"/>
                  <a:gd name="connsiteY97" fmla="*/ 3406140 h 3680460"/>
                  <a:gd name="connsiteX98" fmla="*/ 350520 w 3025140"/>
                  <a:gd name="connsiteY98" fmla="*/ 3436620 h 3680460"/>
                  <a:gd name="connsiteX99" fmla="*/ 381000 w 3025140"/>
                  <a:gd name="connsiteY99" fmla="*/ 3451860 h 3680460"/>
                  <a:gd name="connsiteX100" fmla="*/ 449580 w 3025140"/>
                  <a:gd name="connsiteY100" fmla="*/ 3489960 h 3680460"/>
                  <a:gd name="connsiteX101" fmla="*/ 495300 w 3025140"/>
                  <a:gd name="connsiteY101" fmla="*/ 3520440 h 3680460"/>
                  <a:gd name="connsiteX102" fmla="*/ 525780 w 3025140"/>
                  <a:gd name="connsiteY102" fmla="*/ 3535680 h 3680460"/>
                  <a:gd name="connsiteX103" fmla="*/ 731520 w 3025140"/>
                  <a:gd name="connsiteY103" fmla="*/ 3558540 h 3680460"/>
                  <a:gd name="connsiteX104" fmla="*/ 1341120 w 3025140"/>
                  <a:gd name="connsiteY104" fmla="*/ 3550920 h 3680460"/>
                  <a:gd name="connsiteX105" fmla="*/ 1440180 w 3025140"/>
                  <a:gd name="connsiteY105" fmla="*/ 3528060 h 3680460"/>
                  <a:gd name="connsiteX106" fmla="*/ 1539240 w 3025140"/>
                  <a:gd name="connsiteY106" fmla="*/ 3520440 h 3680460"/>
                  <a:gd name="connsiteX107" fmla="*/ 1562100 w 3025140"/>
                  <a:gd name="connsiteY107" fmla="*/ 3512820 h 3680460"/>
                  <a:gd name="connsiteX108" fmla="*/ 1630680 w 3025140"/>
                  <a:gd name="connsiteY108" fmla="*/ 3497580 h 3680460"/>
                  <a:gd name="connsiteX109" fmla="*/ 1699260 w 3025140"/>
                  <a:gd name="connsiteY109" fmla="*/ 3474720 h 3680460"/>
                  <a:gd name="connsiteX110" fmla="*/ 1790700 w 3025140"/>
                  <a:gd name="connsiteY110" fmla="*/ 3451860 h 3680460"/>
                  <a:gd name="connsiteX111" fmla="*/ 1821180 w 3025140"/>
                  <a:gd name="connsiteY111" fmla="*/ 3444240 h 3680460"/>
                  <a:gd name="connsiteX112" fmla="*/ 1844040 w 3025140"/>
                  <a:gd name="connsiteY112" fmla="*/ 3429000 h 3680460"/>
                  <a:gd name="connsiteX113" fmla="*/ 1874520 w 3025140"/>
                  <a:gd name="connsiteY113" fmla="*/ 3421380 h 3680460"/>
                  <a:gd name="connsiteX114" fmla="*/ 1927860 w 3025140"/>
                  <a:gd name="connsiteY114" fmla="*/ 3398520 h 3680460"/>
                  <a:gd name="connsiteX115" fmla="*/ 1950720 w 3025140"/>
                  <a:gd name="connsiteY115" fmla="*/ 3390900 h 3680460"/>
                  <a:gd name="connsiteX116" fmla="*/ 2004060 w 3025140"/>
                  <a:gd name="connsiteY116" fmla="*/ 3360420 h 3680460"/>
                  <a:gd name="connsiteX117" fmla="*/ 2042160 w 3025140"/>
                  <a:gd name="connsiteY117" fmla="*/ 3352800 h 3680460"/>
                  <a:gd name="connsiteX118" fmla="*/ 2080260 w 3025140"/>
                  <a:gd name="connsiteY118" fmla="*/ 3337560 h 3680460"/>
                  <a:gd name="connsiteX119" fmla="*/ 2156460 w 3025140"/>
                  <a:gd name="connsiteY119" fmla="*/ 3299460 h 3680460"/>
                  <a:gd name="connsiteX120" fmla="*/ 2179320 w 3025140"/>
                  <a:gd name="connsiteY120" fmla="*/ 3284220 h 3680460"/>
                  <a:gd name="connsiteX121" fmla="*/ 2209800 w 3025140"/>
                  <a:gd name="connsiteY121" fmla="*/ 3276600 h 3680460"/>
                  <a:gd name="connsiteX122" fmla="*/ 2263140 w 3025140"/>
                  <a:gd name="connsiteY122" fmla="*/ 3230880 h 3680460"/>
                  <a:gd name="connsiteX123" fmla="*/ 2346960 w 3025140"/>
                  <a:gd name="connsiteY123" fmla="*/ 3154680 h 3680460"/>
                  <a:gd name="connsiteX124" fmla="*/ 2400300 w 3025140"/>
                  <a:gd name="connsiteY124" fmla="*/ 3070860 h 3680460"/>
                  <a:gd name="connsiteX125" fmla="*/ 2415540 w 3025140"/>
                  <a:gd name="connsiteY125" fmla="*/ 3048000 h 3680460"/>
                  <a:gd name="connsiteX126" fmla="*/ 2446020 w 3025140"/>
                  <a:gd name="connsiteY126" fmla="*/ 3032760 h 3680460"/>
                  <a:gd name="connsiteX127" fmla="*/ 2468880 w 3025140"/>
                  <a:gd name="connsiteY127" fmla="*/ 3009900 h 3680460"/>
                  <a:gd name="connsiteX128" fmla="*/ 2537460 w 3025140"/>
                  <a:gd name="connsiteY128" fmla="*/ 2926080 h 3680460"/>
                  <a:gd name="connsiteX129" fmla="*/ 2575560 w 3025140"/>
                  <a:gd name="connsiteY129" fmla="*/ 2880360 h 3680460"/>
                  <a:gd name="connsiteX130" fmla="*/ 2628900 w 3025140"/>
                  <a:gd name="connsiteY130" fmla="*/ 2811780 h 3680460"/>
                  <a:gd name="connsiteX131" fmla="*/ 2644140 w 3025140"/>
                  <a:gd name="connsiteY131" fmla="*/ 2773680 h 3680460"/>
                  <a:gd name="connsiteX132" fmla="*/ 2674620 w 3025140"/>
                  <a:gd name="connsiteY132" fmla="*/ 2727960 h 3680460"/>
                  <a:gd name="connsiteX133" fmla="*/ 2689860 w 3025140"/>
                  <a:gd name="connsiteY133" fmla="*/ 2705100 h 3680460"/>
                  <a:gd name="connsiteX134" fmla="*/ 2705100 w 3025140"/>
                  <a:gd name="connsiteY134" fmla="*/ 2667000 h 3680460"/>
                  <a:gd name="connsiteX135" fmla="*/ 2727960 w 3025140"/>
                  <a:gd name="connsiteY135" fmla="*/ 2621280 h 3680460"/>
                  <a:gd name="connsiteX136" fmla="*/ 2735580 w 3025140"/>
                  <a:gd name="connsiteY136" fmla="*/ 2590800 h 3680460"/>
                  <a:gd name="connsiteX137" fmla="*/ 2758440 w 3025140"/>
                  <a:gd name="connsiteY137" fmla="*/ 2545080 h 3680460"/>
                  <a:gd name="connsiteX138" fmla="*/ 2788920 w 3025140"/>
                  <a:gd name="connsiteY138" fmla="*/ 2484120 h 3680460"/>
                  <a:gd name="connsiteX139" fmla="*/ 2811780 w 3025140"/>
                  <a:gd name="connsiteY139" fmla="*/ 2407920 h 3680460"/>
                  <a:gd name="connsiteX140" fmla="*/ 2842260 w 3025140"/>
                  <a:gd name="connsiteY140" fmla="*/ 2324100 h 3680460"/>
                  <a:gd name="connsiteX141" fmla="*/ 2857500 w 3025140"/>
                  <a:gd name="connsiteY141" fmla="*/ 2247900 h 3680460"/>
                  <a:gd name="connsiteX142" fmla="*/ 2872740 w 3025140"/>
                  <a:gd name="connsiteY142" fmla="*/ 2194560 h 3680460"/>
                  <a:gd name="connsiteX143" fmla="*/ 2887980 w 3025140"/>
                  <a:gd name="connsiteY143" fmla="*/ 2148840 h 3680460"/>
                  <a:gd name="connsiteX144" fmla="*/ 2910840 w 3025140"/>
                  <a:gd name="connsiteY144" fmla="*/ 2087880 h 3680460"/>
                  <a:gd name="connsiteX145" fmla="*/ 2918460 w 3025140"/>
                  <a:gd name="connsiteY145" fmla="*/ 2049780 h 3680460"/>
                  <a:gd name="connsiteX146" fmla="*/ 2933700 w 3025140"/>
                  <a:gd name="connsiteY146" fmla="*/ 1844040 h 3680460"/>
                  <a:gd name="connsiteX147" fmla="*/ 2918460 w 3025140"/>
                  <a:gd name="connsiteY147" fmla="*/ 1470660 h 3680460"/>
                  <a:gd name="connsiteX148" fmla="*/ 2895600 w 3025140"/>
                  <a:gd name="connsiteY148" fmla="*/ 1371600 h 3680460"/>
                  <a:gd name="connsiteX149" fmla="*/ 2880360 w 3025140"/>
                  <a:gd name="connsiteY149" fmla="*/ 1341120 h 3680460"/>
                  <a:gd name="connsiteX150" fmla="*/ 2857500 w 3025140"/>
                  <a:gd name="connsiteY150" fmla="*/ 1272540 h 3680460"/>
                  <a:gd name="connsiteX151" fmla="*/ 2849880 w 3025140"/>
                  <a:gd name="connsiteY151" fmla="*/ 1234440 h 3680460"/>
                  <a:gd name="connsiteX152" fmla="*/ 2827020 w 3025140"/>
                  <a:gd name="connsiteY152" fmla="*/ 1196340 h 3680460"/>
                  <a:gd name="connsiteX153" fmla="*/ 2811780 w 3025140"/>
                  <a:gd name="connsiteY153" fmla="*/ 1165860 h 3680460"/>
                  <a:gd name="connsiteX154" fmla="*/ 2781300 w 3025140"/>
                  <a:gd name="connsiteY154" fmla="*/ 1127760 h 3680460"/>
                  <a:gd name="connsiteX155" fmla="*/ 2766060 w 3025140"/>
                  <a:gd name="connsiteY155" fmla="*/ 1089660 h 3680460"/>
                  <a:gd name="connsiteX156" fmla="*/ 2735580 w 3025140"/>
                  <a:gd name="connsiteY156" fmla="*/ 1043940 h 3680460"/>
                  <a:gd name="connsiteX157" fmla="*/ 2727960 w 3025140"/>
                  <a:gd name="connsiteY157" fmla="*/ 1021080 h 3680460"/>
                  <a:gd name="connsiteX158" fmla="*/ 2682240 w 3025140"/>
                  <a:gd name="connsiteY158" fmla="*/ 937260 h 3680460"/>
                  <a:gd name="connsiteX159" fmla="*/ 2659380 w 3025140"/>
                  <a:gd name="connsiteY159" fmla="*/ 876300 h 3680460"/>
                  <a:gd name="connsiteX160" fmla="*/ 2644140 w 3025140"/>
                  <a:gd name="connsiteY160" fmla="*/ 845820 h 3680460"/>
                  <a:gd name="connsiteX161" fmla="*/ 2636520 w 3025140"/>
                  <a:gd name="connsiteY161" fmla="*/ 822960 h 3680460"/>
                  <a:gd name="connsiteX162" fmla="*/ 2621280 w 3025140"/>
                  <a:gd name="connsiteY162" fmla="*/ 800100 h 3680460"/>
                  <a:gd name="connsiteX163" fmla="*/ 2598420 w 3025140"/>
                  <a:gd name="connsiteY163" fmla="*/ 739140 h 3680460"/>
                  <a:gd name="connsiteX164" fmla="*/ 2458403 w 3025140"/>
                  <a:gd name="connsiteY164" fmla="*/ 621983 h 3680460"/>
                  <a:gd name="connsiteX165" fmla="*/ 2301240 w 3025140"/>
                  <a:gd name="connsiteY165" fmla="*/ 458152 h 3680460"/>
                  <a:gd name="connsiteX166" fmla="*/ 2237423 w 3025140"/>
                  <a:gd name="connsiteY166" fmla="*/ 406717 h 3680460"/>
                  <a:gd name="connsiteX167" fmla="*/ 2103120 w 3025140"/>
                  <a:gd name="connsiteY167" fmla="*/ 312420 h 3680460"/>
                  <a:gd name="connsiteX168" fmla="*/ 2042160 w 3025140"/>
                  <a:gd name="connsiteY168" fmla="*/ 266700 h 3680460"/>
                  <a:gd name="connsiteX169" fmla="*/ 2004060 w 3025140"/>
                  <a:gd name="connsiteY169" fmla="*/ 251460 h 3680460"/>
                  <a:gd name="connsiteX170" fmla="*/ 1958340 w 3025140"/>
                  <a:gd name="connsiteY170" fmla="*/ 220980 h 3680460"/>
                  <a:gd name="connsiteX171" fmla="*/ 1897380 w 3025140"/>
                  <a:gd name="connsiteY17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171700 w 3025140"/>
                  <a:gd name="connsiteY10" fmla="*/ 114300 h 3680460"/>
                  <a:gd name="connsiteX11" fmla="*/ 2225040 w 3025140"/>
                  <a:gd name="connsiteY11" fmla="*/ 160020 h 3680460"/>
                  <a:gd name="connsiteX12" fmla="*/ 2286000 w 3025140"/>
                  <a:gd name="connsiteY12" fmla="*/ 190500 h 3680460"/>
                  <a:gd name="connsiteX13" fmla="*/ 2331720 w 3025140"/>
                  <a:gd name="connsiteY13" fmla="*/ 220980 h 3680460"/>
                  <a:gd name="connsiteX14" fmla="*/ 2385060 w 3025140"/>
                  <a:gd name="connsiteY14" fmla="*/ 266700 h 3680460"/>
                  <a:gd name="connsiteX15" fmla="*/ 2415540 w 3025140"/>
                  <a:gd name="connsiteY15" fmla="*/ 289560 h 3680460"/>
                  <a:gd name="connsiteX16" fmla="*/ 2461260 w 3025140"/>
                  <a:gd name="connsiteY16" fmla="*/ 320040 h 3680460"/>
                  <a:gd name="connsiteX17" fmla="*/ 2537460 w 3025140"/>
                  <a:gd name="connsiteY17" fmla="*/ 426720 h 3680460"/>
                  <a:gd name="connsiteX18" fmla="*/ 2552700 w 3025140"/>
                  <a:gd name="connsiteY18" fmla="*/ 449580 h 3680460"/>
                  <a:gd name="connsiteX19" fmla="*/ 2575560 w 3025140"/>
                  <a:gd name="connsiteY19" fmla="*/ 487680 h 3680460"/>
                  <a:gd name="connsiteX20" fmla="*/ 2621280 w 3025140"/>
                  <a:gd name="connsiteY20" fmla="*/ 548640 h 3680460"/>
                  <a:gd name="connsiteX21" fmla="*/ 2674620 w 3025140"/>
                  <a:gd name="connsiteY21" fmla="*/ 609600 h 3680460"/>
                  <a:gd name="connsiteX22" fmla="*/ 2727960 w 3025140"/>
                  <a:gd name="connsiteY22" fmla="*/ 678180 h 3680460"/>
                  <a:gd name="connsiteX23" fmla="*/ 2727960 w 3025140"/>
                  <a:gd name="connsiteY23" fmla="*/ 678180 h 3680460"/>
                  <a:gd name="connsiteX24" fmla="*/ 2766060 w 3025140"/>
                  <a:gd name="connsiteY24" fmla="*/ 754380 h 3680460"/>
                  <a:gd name="connsiteX25" fmla="*/ 2819400 w 3025140"/>
                  <a:gd name="connsiteY25" fmla="*/ 830580 h 3680460"/>
                  <a:gd name="connsiteX26" fmla="*/ 2834640 w 3025140"/>
                  <a:gd name="connsiteY26" fmla="*/ 853440 h 3680460"/>
                  <a:gd name="connsiteX27" fmla="*/ 2849880 w 3025140"/>
                  <a:gd name="connsiteY27" fmla="*/ 883920 h 3680460"/>
                  <a:gd name="connsiteX28" fmla="*/ 2880360 w 3025140"/>
                  <a:gd name="connsiteY28" fmla="*/ 922020 h 3680460"/>
                  <a:gd name="connsiteX29" fmla="*/ 2887980 w 3025140"/>
                  <a:gd name="connsiteY29" fmla="*/ 944880 h 3680460"/>
                  <a:gd name="connsiteX30" fmla="*/ 2903220 w 3025140"/>
                  <a:gd name="connsiteY30" fmla="*/ 967740 h 3680460"/>
                  <a:gd name="connsiteX31" fmla="*/ 2918460 w 3025140"/>
                  <a:gd name="connsiteY31" fmla="*/ 1036320 h 3680460"/>
                  <a:gd name="connsiteX32" fmla="*/ 2933700 w 3025140"/>
                  <a:gd name="connsiteY32" fmla="*/ 1074420 h 3680460"/>
                  <a:gd name="connsiteX33" fmla="*/ 2948940 w 3025140"/>
                  <a:gd name="connsiteY33" fmla="*/ 1120140 h 3680460"/>
                  <a:gd name="connsiteX34" fmla="*/ 2964180 w 3025140"/>
                  <a:gd name="connsiteY34" fmla="*/ 1203960 h 3680460"/>
                  <a:gd name="connsiteX35" fmla="*/ 2979420 w 3025140"/>
                  <a:gd name="connsiteY35" fmla="*/ 1264920 h 3680460"/>
                  <a:gd name="connsiteX36" fmla="*/ 2987040 w 3025140"/>
                  <a:gd name="connsiteY36" fmla="*/ 1318260 h 3680460"/>
                  <a:gd name="connsiteX37" fmla="*/ 2994660 w 3025140"/>
                  <a:gd name="connsiteY37" fmla="*/ 1348740 h 3680460"/>
                  <a:gd name="connsiteX38" fmla="*/ 3009900 w 3025140"/>
                  <a:gd name="connsiteY38" fmla="*/ 1432560 h 3680460"/>
                  <a:gd name="connsiteX39" fmla="*/ 3017520 w 3025140"/>
                  <a:gd name="connsiteY39" fmla="*/ 1684020 h 3680460"/>
                  <a:gd name="connsiteX40" fmla="*/ 3025140 w 3025140"/>
                  <a:gd name="connsiteY40" fmla="*/ 1744980 h 3680460"/>
                  <a:gd name="connsiteX41" fmla="*/ 3017520 w 3025140"/>
                  <a:gd name="connsiteY41" fmla="*/ 2095500 h 3680460"/>
                  <a:gd name="connsiteX42" fmla="*/ 3009900 w 3025140"/>
                  <a:gd name="connsiteY42" fmla="*/ 2125980 h 3680460"/>
                  <a:gd name="connsiteX43" fmla="*/ 2979420 w 3025140"/>
                  <a:gd name="connsiteY43" fmla="*/ 2194560 h 3680460"/>
                  <a:gd name="connsiteX44" fmla="*/ 2956560 w 3025140"/>
                  <a:gd name="connsiteY44" fmla="*/ 2247900 h 3680460"/>
                  <a:gd name="connsiteX45" fmla="*/ 2941320 w 3025140"/>
                  <a:gd name="connsiteY45" fmla="*/ 2324100 h 3680460"/>
                  <a:gd name="connsiteX46" fmla="*/ 2926080 w 3025140"/>
                  <a:gd name="connsiteY46" fmla="*/ 2392680 h 3680460"/>
                  <a:gd name="connsiteX47" fmla="*/ 2918460 w 3025140"/>
                  <a:gd name="connsiteY47" fmla="*/ 2415540 h 3680460"/>
                  <a:gd name="connsiteX48" fmla="*/ 2895600 w 3025140"/>
                  <a:gd name="connsiteY48" fmla="*/ 2484120 h 3680460"/>
                  <a:gd name="connsiteX49" fmla="*/ 2872740 w 3025140"/>
                  <a:gd name="connsiteY49" fmla="*/ 2583180 h 3680460"/>
                  <a:gd name="connsiteX50" fmla="*/ 2857500 w 3025140"/>
                  <a:gd name="connsiteY50" fmla="*/ 2606040 h 3680460"/>
                  <a:gd name="connsiteX51" fmla="*/ 2834640 w 3025140"/>
                  <a:gd name="connsiteY51" fmla="*/ 2689860 h 3680460"/>
                  <a:gd name="connsiteX52" fmla="*/ 2811780 w 3025140"/>
                  <a:gd name="connsiteY52" fmla="*/ 2750820 h 3680460"/>
                  <a:gd name="connsiteX53" fmla="*/ 2788920 w 3025140"/>
                  <a:gd name="connsiteY53" fmla="*/ 2781300 h 3680460"/>
                  <a:gd name="connsiteX54" fmla="*/ 2781300 w 3025140"/>
                  <a:gd name="connsiteY54" fmla="*/ 2804160 h 3680460"/>
                  <a:gd name="connsiteX55" fmla="*/ 2743200 w 3025140"/>
                  <a:gd name="connsiteY55" fmla="*/ 2865120 h 3680460"/>
                  <a:gd name="connsiteX56" fmla="*/ 2712720 w 3025140"/>
                  <a:gd name="connsiteY56" fmla="*/ 2903220 h 3680460"/>
                  <a:gd name="connsiteX57" fmla="*/ 2697480 w 3025140"/>
                  <a:gd name="connsiteY57" fmla="*/ 2933700 h 3680460"/>
                  <a:gd name="connsiteX58" fmla="*/ 2674620 w 3025140"/>
                  <a:gd name="connsiteY58" fmla="*/ 2964180 h 3680460"/>
                  <a:gd name="connsiteX59" fmla="*/ 2644140 w 3025140"/>
                  <a:gd name="connsiteY59" fmla="*/ 3009900 h 3680460"/>
                  <a:gd name="connsiteX60" fmla="*/ 2598420 w 3025140"/>
                  <a:gd name="connsiteY60" fmla="*/ 3055620 h 3680460"/>
                  <a:gd name="connsiteX61" fmla="*/ 2575560 w 3025140"/>
                  <a:gd name="connsiteY61" fmla="*/ 3078480 h 3680460"/>
                  <a:gd name="connsiteX62" fmla="*/ 2476500 w 3025140"/>
                  <a:gd name="connsiteY62" fmla="*/ 3169920 h 3680460"/>
                  <a:gd name="connsiteX63" fmla="*/ 2377440 w 3025140"/>
                  <a:gd name="connsiteY63" fmla="*/ 3223260 h 3680460"/>
                  <a:gd name="connsiteX64" fmla="*/ 2293620 w 3025140"/>
                  <a:gd name="connsiteY64" fmla="*/ 3284220 h 3680460"/>
                  <a:gd name="connsiteX65" fmla="*/ 2240280 w 3025140"/>
                  <a:gd name="connsiteY65" fmla="*/ 3314700 h 3680460"/>
                  <a:gd name="connsiteX66" fmla="*/ 2225040 w 3025140"/>
                  <a:gd name="connsiteY66" fmla="*/ 3337560 h 3680460"/>
                  <a:gd name="connsiteX67" fmla="*/ 2141220 w 3025140"/>
                  <a:gd name="connsiteY67" fmla="*/ 3390900 h 3680460"/>
                  <a:gd name="connsiteX68" fmla="*/ 2110740 w 3025140"/>
                  <a:gd name="connsiteY68" fmla="*/ 3413760 h 3680460"/>
                  <a:gd name="connsiteX69" fmla="*/ 2072640 w 3025140"/>
                  <a:gd name="connsiteY69" fmla="*/ 3451860 h 3680460"/>
                  <a:gd name="connsiteX70" fmla="*/ 2019300 w 3025140"/>
                  <a:gd name="connsiteY70" fmla="*/ 3467100 h 3680460"/>
                  <a:gd name="connsiteX71" fmla="*/ 1874520 w 3025140"/>
                  <a:gd name="connsiteY71" fmla="*/ 3512820 h 3680460"/>
                  <a:gd name="connsiteX72" fmla="*/ 1828800 w 3025140"/>
                  <a:gd name="connsiteY72" fmla="*/ 3520440 h 3680460"/>
                  <a:gd name="connsiteX73" fmla="*/ 1722120 w 3025140"/>
                  <a:gd name="connsiteY73" fmla="*/ 3550920 h 3680460"/>
                  <a:gd name="connsiteX74" fmla="*/ 1600200 w 3025140"/>
                  <a:gd name="connsiteY74" fmla="*/ 3589020 h 3680460"/>
                  <a:gd name="connsiteX75" fmla="*/ 1569720 w 3025140"/>
                  <a:gd name="connsiteY75" fmla="*/ 3596640 h 3680460"/>
                  <a:gd name="connsiteX76" fmla="*/ 1546860 w 3025140"/>
                  <a:gd name="connsiteY76" fmla="*/ 3611880 h 3680460"/>
                  <a:gd name="connsiteX77" fmla="*/ 1463040 w 3025140"/>
                  <a:gd name="connsiteY77" fmla="*/ 3627120 h 3680460"/>
                  <a:gd name="connsiteX78" fmla="*/ 1333500 w 3025140"/>
                  <a:gd name="connsiteY78" fmla="*/ 3657600 h 3680460"/>
                  <a:gd name="connsiteX79" fmla="*/ 1203960 w 3025140"/>
                  <a:gd name="connsiteY79" fmla="*/ 3672840 h 3680460"/>
                  <a:gd name="connsiteX80" fmla="*/ 1165860 w 3025140"/>
                  <a:gd name="connsiteY80" fmla="*/ 3680460 h 3680460"/>
                  <a:gd name="connsiteX81" fmla="*/ 449580 w 3025140"/>
                  <a:gd name="connsiteY81" fmla="*/ 3672840 h 3680460"/>
                  <a:gd name="connsiteX82" fmla="*/ 426720 w 3025140"/>
                  <a:gd name="connsiteY82" fmla="*/ 3665220 h 3680460"/>
                  <a:gd name="connsiteX83" fmla="*/ 388620 w 3025140"/>
                  <a:gd name="connsiteY83" fmla="*/ 3657600 h 3680460"/>
                  <a:gd name="connsiteX84" fmla="*/ 335280 w 3025140"/>
                  <a:gd name="connsiteY84" fmla="*/ 3627120 h 3680460"/>
                  <a:gd name="connsiteX85" fmla="*/ 266700 w 3025140"/>
                  <a:gd name="connsiteY85" fmla="*/ 3604260 h 3680460"/>
                  <a:gd name="connsiteX86" fmla="*/ 243840 w 3025140"/>
                  <a:gd name="connsiteY86" fmla="*/ 3589020 h 3680460"/>
                  <a:gd name="connsiteX87" fmla="*/ 160020 w 3025140"/>
                  <a:gd name="connsiteY87" fmla="*/ 3558540 h 3680460"/>
                  <a:gd name="connsiteX88" fmla="*/ 137160 w 3025140"/>
                  <a:gd name="connsiteY88" fmla="*/ 3535680 h 3680460"/>
                  <a:gd name="connsiteX89" fmla="*/ 99060 w 3025140"/>
                  <a:gd name="connsiteY89" fmla="*/ 3520440 h 3680460"/>
                  <a:gd name="connsiteX90" fmla="*/ 83820 w 3025140"/>
                  <a:gd name="connsiteY90" fmla="*/ 3489960 h 3680460"/>
                  <a:gd name="connsiteX91" fmla="*/ 45720 w 3025140"/>
                  <a:gd name="connsiteY91" fmla="*/ 3436620 h 3680460"/>
                  <a:gd name="connsiteX92" fmla="*/ 0 w 3025140"/>
                  <a:gd name="connsiteY92" fmla="*/ 3352800 h 3680460"/>
                  <a:gd name="connsiteX93" fmla="*/ 30480 w 3025140"/>
                  <a:gd name="connsiteY93" fmla="*/ 3345180 h 3680460"/>
                  <a:gd name="connsiteX94" fmla="*/ 137160 w 3025140"/>
                  <a:gd name="connsiteY94" fmla="*/ 3360420 h 3680460"/>
                  <a:gd name="connsiteX95" fmla="*/ 167640 w 3025140"/>
                  <a:gd name="connsiteY95" fmla="*/ 3390900 h 3680460"/>
                  <a:gd name="connsiteX96" fmla="*/ 198120 w 3025140"/>
                  <a:gd name="connsiteY96" fmla="*/ 3406140 h 3680460"/>
                  <a:gd name="connsiteX97" fmla="*/ 350520 w 3025140"/>
                  <a:gd name="connsiteY97" fmla="*/ 3436620 h 3680460"/>
                  <a:gd name="connsiteX98" fmla="*/ 381000 w 3025140"/>
                  <a:gd name="connsiteY98" fmla="*/ 3451860 h 3680460"/>
                  <a:gd name="connsiteX99" fmla="*/ 449580 w 3025140"/>
                  <a:gd name="connsiteY99" fmla="*/ 3489960 h 3680460"/>
                  <a:gd name="connsiteX100" fmla="*/ 495300 w 3025140"/>
                  <a:gd name="connsiteY100" fmla="*/ 3520440 h 3680460"/>
                  <a:gd name="connsiteX101" fmla="*/ 525780 w 3025140"/>
                  <a:gd name="connsiteY101" fmla="*/ 3535680 h 3680460"/>
                  <a:gd name="connsiteX102" fmla="*/ 731520 w 3025140"/>
                  <a:gd name="connsiteY102" fmla="*/ 3558540 h 3680460"/>
                  <a:gd name="connsiteX103" fmla="*/ 1341120 w 3025140"/>
                  <a:gd name="connsiteY103" fmla="*/ 3550920 h 3680460"/>
                  <a:gd name="connsiteX104" fmla="*/ 1440180 w 3025140"/>
                  <a:gd name="connsiteY104" fmla="*/ 3528060 h 3680460"/>
                  <a:gd name="connsiteX105" fmla="*/ 1539240 w 3025140"/>
                  <a:gd name="connsiteY105" fmla="*/ 3520440 h 3680460"/>
                  <a:gd name="connsiteX106" fmla="*/ 1562100 w 3025140"/>
                  <a:gd name="connsiteY106" fmla="*/ 3512820 h 3680460"/>
                  <a:gd name="connsiteX107" fmla="*/ 1630680 w 3025140"/>
                  <a:gd name="connsiteY107" fmla="*/ 3497580 h 3680460"/>
                  <a:gd name="connsiteX108" fmla="*/ 1699260 w 3025140"/>
                  <a:gd name="connsiteY108" fmla="*/ 3474720 h 3680460"/>
                  <a:gd name="connsiteX109" fmla="*/ 1790700 w 3025140"/>
                  <a:gd name="connsiteY109" fmla="*/ 3451860 h 3680460"/>
                  <a:gd name="connsiteX110" fmla="*/ 1821180 w 3025140"/>
                  <a:gd name="connsiteY110" fmla="*/ 3444240 h 3680460"/>
                  <a:gd name="connsiteX111" fmla="*/ 1844040 w 3025140"/>
                  <a:gd name="connsiteY111" fmla="*/ 3429000 h 3680460"/>
                  <a:gd name="connsiteX112" fmla="*/ 1874520 w 3025140"/>
                  <a:gd name="connsiteY112" fmla="*/ 3421380 h 3680460"/>
                  <a:gd name="connsiteX113" fmla="*/ 1927860 w 3025140"/>
                  <a:gd name="connsiteY113" fmla="*/ 3398520 h 3680460"/>
                  <a:gd name="connsiteX114" fmla="*/ 1950720 w 3025140"/>
                  <a:gd name="connsiteY114" fmla="*/ 3390900 h 3680460"/>
                  <a:gd name="connsiteX115" fmla="*/ 2004060 w 3025140"/>
                  <a:gd name="connsiteY115" fmla="*/ 3360420 h 3680460"/>
                  <a:gd name="connsiteX116" fmla="*/ 2042160 w 3025140"/>
                  <a:gd name="connsiteY116" fmla="*/ 3352800 h 3680460"/>
                  <a:gd name="connsiteX117" fmla="*/ 2080260 w 3025140"/>
                  <a:gd name="connsiteY117" fmla="*/ 3337560 h 3680460"/>
                  <a:gd name="connsiteX118" fmla="*/ 2156460 w 3025140"/>
                  <a:gd name="connsiteY118" fmla="*/ 3299460 h 3680460"/>
                  <a:gd name="connsiteX119" fmla="*/ 2179320 w 3025140"/>
                  <a:gd name="connsiteY119" fmla="*/ 3284220 h 3680460"/>
                  <a:gd name="connsiteX120" fmla="*/ 2209800 w 3025140"/>
                  <a:gd name="connsiteY120" fmla="*/ 3276600 h 3680460"/>
                  <a:gd name="connsiteX121" fmla="*/ 2263140 w 3025140"/>
                  <a:gd name="connsiteY121" fmla="*/ 3230880 h 3680460"/>
                  <a:gd name="connsiteX122" fmla="*/ 2346960 w 3025140"/>
                  <a:gd name="connsiteY122" fmla="*/ 3154680 h 3680460"/>
                  <a:gd name="connsiteX123" fmla="*/ 2400300 w 3025140"/>
                  <a:gd name="connsiteY123" fmla="*/ 3070860 h 3680460"/>
                  <a:gd name="connsiteX124" fmla="*/ 2415540 w 3025140"/>
                  <a:gd name="connsiteY124" fmla="*/ 3048000 h 3680460"/>
                  <a:gd name="connsiteX125" fmla="*/ 2446020 w 3025140"/>
                  <a:gd name="connsiteY125" fmla="*/ 3032760 h 3680460"/>
                  <a:gd name="connsiteX126" fmla="*/ 2468880 w 3025140"/>
                  <a:gd name="connsiteY126" fmla="*/ 3009900 h 3680460"/>
                  <a:gd name="connsiteX127" fmla="*/ 2537460 w 3025140"/>
                  <a:gd name="connsiteY127" fmla="*/ 2926080 h 3680460"/>
                  <a:gd name="connsiteX128" fmla="*/ 2575560 w 3025140"/>
                  <a:gd name="connsiteY128" fmla="*/ 2880360 h 3680460"/>
                  <a:gd name="connsiteX129" fmla="*/ 2628900 w 3025140"/>
                  <a:gd name="connsiteY129" fmla="*/ 2811780 h 3680460"/>
                  <a:gd name="connsiteX130" fmla="*/ 2644140 w 3025140"/>
                  <a:gd name="connsiteY130" fmla="*/ 2773680 h 3680460"/>
                  <a:gd name="connsiteX131" fmla="*/ 2674620 w 3025140"/>
                  <a:gd name="connsiteY131" fmla="*/ 2727960 h 3680460"/>
                  <a:gd name="connsiteX132" fmla="*/ 2689860 w 3025140"/>
                  <a:gd name="connsiteY132" fmla="*/ 2705100 h 3680460"/>
                  <a:gd name="connsiteX133" fmla="*/ 2705100 w 3025140"/>
                  <a:gd name="connsiteY133" fmla="*/ 2667000 h 3680460"/>
                  <a:gd name="connsiteX134" fmla="*/ 2727960 w 3025140"/>
                  <a:gd name="connsiteY134" fmla="*/ 2621280 h 3680460"/>
                  <a:gd name="connsiteX135" fmla="*/ 2735580 w 3025140"/>
                  <a:gd name="connsiteY135" fmla="*/ 2590800 h 3680460"/>
                  <a:gd name="connsiteX136" fmla="*/ 2758440 w 3025140"/>
                  <a:gd name="connsiteY136" fmla="*/ 2545080 h 3680460"/>
                  <a:gd name="connsiteX137" fmla="*/ 2788920 w 3025140"/>
                  <a:gd name="connsiteY137" fmla="*/ 2484120 h 3680460"/>
                  <a:gd name="connsiteX138" fmla="*/ 2811780 w 3025140"/>
                  <a:gd name="connsiteY138" fmla="*/ 2407920 h 3680460"/>
                  <a:gd name="connsiteX139" fmla="*/ 2842260 w 3025140"/>
                  <a:gd name="connsiteY139" fmla="*/ 2324100 h 3680460"/>
                  <a:gd name="connsiteX140" fmla="*/ 2857500 w 3025140"/>
                  <a:gd name="connsiteY140" fmla="*/ 2247900 h 3680460"/>
                  <a:gd name="connsiteX141" fmla="*/ 2872740 w 3025140"/>
                  <a:gd name="connsiteY141" fmla="*/ 2194560 h 3680460"/>
                  <a:gd name="connsiteX142" fmla="*/ 2887980 w 3025140"/>
                  <a:gd name="connsiteY142" fmla="*/ 2148840 h 3680460"/>
                  <a:gd name="connsiteX143" fmla="*/ 2910840 w 3025140"/>
                  <a:gd name="connsiteY143" fmla="*/ 2087880 h 3680460"/>
                  <a:gd name="connsiteX144" fmla="*/ 2918460 w 3025140"/>
                  <a:gd name="connsiteY144" fmla="*/ 2049780 h 3680460"/>
                  <a:gd name="connsiteX145" fmla="*/ 2933700 w 3025140"/>
                  <a:gd name="connsiteY145" fmla="*/ 1844040 h 3680460"/>
                  <a:gd name="connsiteX146" fmla="*/ 2918460 w 3025140"/>
                  <a:gd name="connsiteY146" fmla="*/ 1470660 h 3680460"/>
                  <a:gd name="connsiteX147" fmla="*/ 2895600 w 3025140"/>
                  <a:gd name="connsiteY147" fmla="*/ 1371600 h 3680460"/>
                  <a:gd name="connsiteX148" fmla="*/ 2880360 w 3025140"/>
                  <a:gd name="connsiteY148" fmla="*/ 1341120 h 3680460"/>
                  <a:gd name="connsiteX149" fmla="*/ 2857500 w 3025140"/>
                  <a:gd name="connsiteY149" fmla="*/ 1272540 h 3680460"/>
                  <a:gd name="connsiteX150" fmla="*/ 2849880 w 3025140"/>
                  <a:gd name="connsiteY150" fmla="*/ 1234440 h 3680460"/>
                  <a:gd name="connsiteX151" fmla="*/ 2827020 w 3025140"/>
                  <a:gd name="connsiteY151" fmla="*/ 1196340 h 3680460"/>
                  <a:gd name="connsiteX152" fmla="*/ 2811780 w 3025140"/>
                  <a:gd name="connsiteY152" fmla="*/ 1165860 h 3680460"/>
                  <a:gd name="connsiteX153" fmla="*/ 2781300 w 3025140"/>
                  <a:gd name="connsiteY153" fmla="*/ 1127760 h 3680460"/>
                  <a:gd name="connsiteX154" fmla="*/ 2766060 w 3025140"/>
                  <a:gd name="connsiteY154" fmla="*/ 1089660 h 3680460"/>
                  <a:gd name="connsiteX155" fmla="*/ 2735580 w 3025140"/>
                  <a:gd name="connsiteY155" fmla="*/ 1043940 h 3680460"/>
                  <a:gd name="connsiteX156" fmla="*/ 2727960 w 3025140"/>
                  <a:gd name="connsiteY156" fmla="*/ 1021080 h 3680460"/>
                  <a:gd name="connsiteX157" fmla="*/ 2682240 w 3025140"/>
                  <a:gd name="connsiteY157" fmla="*/ 937260 h 3680460"/>
                  <a:gd name="connsiteX158" fmla="*/ 2659380 w 3025140"/>
                  <a:gd name="connsiteY158" fmla="*/ 876300 h 3680460"/>
                  <a:gd name="connsiteX159" fmla="*/ 2644140 w 3025140"/>
                  <a:gd name="connsiteY159" fmla="*/ 845820 h 3680460"/>
                  <a:gd name="connsiteX160" fmla="*/ 2636520 w 3025140"/>
                  <a:gd name="connsiteY160" fmla="*/ 822960 h 3680460"/>
                  <a:gd name="connsiteX161" fmla="*/ 2621280 w 3025140"/>
                  <a:gd name="connsiteY161" fmla="*/ 800100 h 3680460"/>
                  <a:gd name="connsiteX162" fmla="*/ 2598420 w 3025140"/>
                  <a:gd name="connsiteY162" fmla="*/ 739140 h 3680460"/>
                  <a:gd name="connsiteX163" fmla="*/ 2458403 w 3025140"/>
                  <a:gd name="connsiteY163" fmla="*/ 621983 h 3680460"/>
                  <a:gd name="connsiteX164" fmla="*/ 2301240 w 3025140"/>
                  <a:gd name="connsiteY164" fmla="*/ 458152 h 3680460"/>
                  <a:gd name="connsiteX165" fmla="*/ 2237423 w 3025140"/>
                  <a:gd name="connsiteY165" fmla="*/ 406717 h 3680460"/>
                  <a:gd name="connsiteX166" fmla="*/ 2103120 w 3025140"/>
                  <a:gd name="connsiteY166" fmla="*/ 312420 h 3680460"/>
                  <a:gd name="connsiteX167" fmla="*/ 2042160 w 3025140"/>
                  <a:gd name="connsiteY167" fmla="*/ 266700 h 3680460"/>
                  <a:gd name="connsiteX168" fmla="*/ 2004060 w 3025140"/>
                  <a:gd name="connsiteY168" fmla="*/ 251460 h 3680460"/>
                  <a:gd name="connsiteX169" fmla="*/ 1958340 w 3025140"/>
                  <a:gd name="connsiteY169" fmla="*/ 220980 h 3680460"/>
                  <a:gd name="connsiteX170" fmla="*/ 1897380 w 3025140"/>
                  <a:gd name="connsiteY170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25040 w 3025140"/>
                  <a:gd name="connsiteY10" fmla="*/ 160020 h 3680460"/>
                  <a:gd name="connsiteX11" fmla="*/ 2286000 w 3025140"/>
                  <a:gd name="connsiteY11" fmla="*/ 190500 h 3680460"/>
                  <a:gd name="connsiteX12" fmla="*/ 2331720 w 3025140"/>
                  <a:gd name="connsiteY12" fmla="*/ 220980 h 3680460"/>
                  <a:gd name="connsiteX13" fmla="*/ 2385060 w 3025140"/>
                  <a:gd name="connsiteY13" fmla="*/ 266700 h 3680460"/>
                  <a:gd name="connsiteX14" fmla="*/ 2415540 w 3025140"/>
                  <a:gd name="connsiteY14" fmla="*/ 289560 h 3680460"/>
                  <a:gd name="connsiteX15" fmla="*/ 2461260 w 3025140"/>
                  <a:gd name="connsiteY15" fmla="*/ 320040 h 3680460"/>
                  <a:gd name="connsiteX16" fmla="*/ 2537460 w 3025140"/>
                  <a:gd name="connsiteY16" fmla="*/ 426720 h 3680460"/>
                  <a:gd name="connsiteX17" fmla="*/ 2552700 w 3025140"/>
                  <a:gd name="connsiteY17" fmla="*/ 449580 h 3680460"/>
                  <a:gd name="connsiteX18" fmla="*/ 2575560 w 3025140"/>
                  <a:gd name="connsiteY18" fmla="*/ 487680 h 3680460"/>
                  <a:gd name="connsiteX19" fmla="*/ 2621280 w 3025140"/>
                  <a:gd name="connsiteY19" fmla="*/ 548640 h 3680460"/>
                  <a:gd name="connsiteX20" fmla="*/ 2674620 w 3025140"/>
                  <a:gd name="connsiteY20" fmla="*/ 609600 h 3680460"/>
                  <a:gd name="connsiteX21" fmla="*/ 2727960 w 3025140"/>
                  <a:gd name="connsiteY21" fmla="*/ 678180 h 3680460"/>
                  <a:gd name="connsiteX22" fmla="*/ 2727960 w 3025140"/>
                  <a:gd name="connsiteY22" fmla="*/ 678180 h 3680460"/>
                  <a:gd name="connsiteX23" fmla="*/ 2766060 w 3025140"/>
                  <a:gd name="connsiteY23" fmla="*/ 754380 h 3680460"/>
                  <a:gd name="connsiteX24" fmla="*/ 2819400 w 3025140"/>
                  <a:gd name="connsiteY24" fmla="*/ 830580 h 3680460"/>
                  <a:gd name="connsiteX25" fmla="*/ 2834640 w 3025140"/>
                  <a:gd name="connsiteY25" fmla="*/ 853440 h 3680460"/>
                  <a:gd name="connsiteX26" fmla="*/ 2849880 w 3025140"/>
                  <a:gd name="connsiteY26" fmla="*/ 883920 h 3680460"/>
                  <a:gd name="connsiteX27" fmla="*/ 2880360 w 3025140"/>
                  <a:gd name="connsiteY27" fmla="*/ 922020 h 3680460"/>
                  <a:gd name="connsiteX28" fmla="*/ 2887980 w 3025140"/>
                  <a:gd name="connsiteY28" fmla="*/ 944880 h 3680460"/>
                  <a:gd name="connsiteX29" fmla="*/ 2903220 w 3025140"/>
                  <a:gd name="connsiteY29" fmla="*/ 967740 h 3680460"/>
                  <a:gd name="connsiteX30" fmla="*/ 2918460 w 3025140"/>
                  <a:gd name="connsiteY30" fmla="*/ 1036320 h 3680460"/>
                  <a:gd name="connsiteX31" fmla="*/ 2933700 w 3025140"/>
                  <a:gd name="connsiteY31" fmla="*/ 1074420 h 3680460"/>
                  <a:gd name="connsiteX32" fmla="*/ 2948940 w 3025140"/>
                  <a:gd name="connsiteY32" fmla="*/ 1120140 h 3680460"/>
                  <a:gd name="connsiteX33" fmla="*/ 2964180 w 3025140"/>
                  <a:gd name="connsiteY33" fmla="*/ 1203960 h 3680460"/>
                  <a:gd name="connsiteX34" fmla="*/ 2979420 w 3025140"/>
                  <a:gd name="connsiteY34" fmla="*/ 1264920 h 3680460"/>
                  <a:gd name="connsiteX35" fmla="*/ 2987040 w 3025140"/>
                  <a:gd name="connsiteY35" fmla="*/ 1318260 h 3680460"/>
                  <a:gd name="connsiteX36" fmla="*/ 2994660 w 3025140"/>
                  <a:gd name="connsiteY36" fmla="*/ 1348740 h 3680460"/>
                  <a:gd name="connsiteX37" fmla="*/ 3009900 w 3025140"/>
                  <a:gd name="connsiteY37" fmla="*/ 1432560 h 3680460"/>
                  <a:gd name="connsiteX38" fmla="*/ 3017520 w 3025140"/>
                  <a:gd name="connsiteY38" fmla="*/ 1684020 h 3680460"/>
                  <a:gd name="connsiteX39" fmla="*/ 3025140 w 3025140"/>
                  <a:gd name="connsiteY39" fmla="*/ 1744980 h 3680460"/>
                  <a:gd name="connsiteX40" fmla="*/ 3017520 w 3025140"/>
                  <a:gd name="connsiteY40" fmla="*/ 2095500 h 3680460"/>
                  <a:gd name="connsiteX41" fmla="*/ 3009900 w 3025140"/>
                  <a:gd name="connsiteY41" fmla="*/ 2125980 h 3680460"/>
                  <a:gd name="connsiteX42" fmla="*/ 2979420 w 3025140"/>
                  <a:gd name="connsiteY42" fmla="*/ 2194560 h 3680460"/>
                  <a:gd name="connsiteX43" fmla="*/ 2956560 w 3025140"/>
                  <a:gd name="connsiteY43" fmla="*/ 2247900 h 3680460"/>
                  <a:gd name="connsiteX44" fmla="*/ 2941320 w 3025140"/>
                  <a:gd name="connsiteY44" fmla="*/ 2324100 h 3680460"/>
                  <a:gd name="connsiteX45" fmla="*/ 2926080 w 3025140"/>
                  <a:gd name="connsiteY45" fmla="*/ 2392680 h 3680460"/>
                  <a:gd name="connsiteX46" fmla="*/ 2918460 w 3025140"/>
                  <a:gd name="connsiteY46" fmla="*/ 2415540 h 3680460"/>
                  <a:gd name="connsiteX47" fmla="*/ 2895600 w 3025140"/>
                  <a:gd name="connsiteY47" fmla="*/ 2484120 h 3680460"/>
                  <a:gd name="connsiteX48" fmla="*/ 2872740 w 3025140"/>
                  <a:gd name="connsiteY48" fmla="*/ 2583180 h 3680460"/>
                  <a:gd name="connsiteX49" fmla="*/ 2857500 w 3025140"/>
                  <a:gd name="connsiteY49" fmla="*/ 2606040 h 3680460"/>
                  <a:gd name="connsiteX50" fmla="*/ 2834640 w 3025140"/>
                  <a:gd name="connsiteY50" fmla="*/ 2689860 h 3680460"/>
                  <a:gd name="connsiteX51" fmla="*/ 2811780 w 3025140"/>
                  <a:gd name="connsiteY51" fmla="*/ 2750820 h 3680460"/>
                  <a:gd name="connsiteX52" fmla="*/ 2788920 w 3025140"/>
                  <a:gd name="connsiteY52" fmla="*/ 2781300 h 3680460"/>
                  <a:gd name="connsiteX53" fmla="*/ 2781300 w 3025140"/>
                  <a:gd name="connsiteY53" fmla="*/ 2804160 h 3680460"/>
                  <a:gd name="connsiteX54" fmla="*/ 2743200 w 3025140"/>
                  <a:gd name="connsiteY54" fmla="*/ 2865120 h 3680460"/>
                  <a:gd name="connsiteX55" fmla="*/ 2712720 w 3025140"/>
                  <a:gd name="connsiteY55" fmla="*/ 2903220 h 3680460"/>
                  <a:gd name="connsiteX56" fmla="*/ 2697480 w 3025140"/>
                  <a:gd name="connsiteY56" fmla="*/ 2933700 h 3680460"/>
                  <a:gd name="connsiteX57" fmla="*/ 2674620 w 3025140"/>
                  <a:gd name="connsiteY57" fmla="*/ 2964180 h 3680460"/>
                  <a:gd name="connsiteX58" fmla="*/ 2644140 w 3025140"/>
                  <a:gd name="connsiteY58" fmla="*/ 3009900 h 3680460"/>
                  <a:gd name="connsiteX59" fmla="*/ 2598420 w 3025140"/>
                  <a:gd name="connsiteY59" fmla="*/ 3055620 h 3680460"/>
                  <a:gd name="connsiteX60" fmla="*/ 2575560 w 3025140"/>
                  <a:gd name="connsiteY60" fmla="*/ 3078480 h 3680460"/>
                  <a:gd name="connsiteX61" fmla="*/ 2476500 w 3025140"/>
                  <a:gd name="connsiteY61" fmla="*/ 3169920 h 3680460"/>
                  <a:gd name="connsiteX62" fmla="*/ 2377440 w 3025140"/>
                  <a:gd name="connsiteY62" fmla="*/ 3223260 h 3680460"/>
                  <a:gd name="connsiteX63" fmla="*/ 2293620 w 3025140"/>
                  <a:gd name="connsiteY63" fmla="*/ 3284220 h 3680460"/>
                  <a:gd name="connsiteX64" fmla="*/ 2240280 w 3025140"/>
                  <a:gd name="connsiteY64" fmla="*/ 3314700 h 3680460"/>
                  <a:gd name="connsiteX65" fmla="*/ 2225040 w 3025140"/>
                  <a:gd name="connsiteY65" fmla="*/ 3337560 h 3680460"/>
                  <a:gd name="connsiteX66" fmla="*/ 2141220 w 3025140"/>
                  <a:gd name="connsiteY66" fmla="*/ 3390900 h 3680460"/>
                  <a:gd name="connsiteX67" fmla="*/ 2110740 w 3025140"/>
                  <a:gd name="connsiteY67" fmla="*/ 3413760 h 3680460"/>
                  <a:gd name="connsiteX68" fmla="*/ 2072640 w 3025140"/>
                  <a:gd name="connsiteY68" fmla="*/ 3451860 h 3680460"/>
                  <a:gd name="connsiteX69" fmla="*/ 2019300 w 3025140"/>
                  <a:gd name="connsiteY69" fmla="*/ 3467100 h 3680460"/>
                  <a:gd name="connsiteX70" fmla="*/ 1874520 w 3025140"/>
                  <a:gd name="connsiteY70" fmla="*/ 3512820 h 3680460"/>
                  <a:gd name="connsiteX71" fmla="*/ 1828800 w 3025140"/>
                  <a:gd name="connsiteY71" fmla="*/ 3520440 h 3680460"/>
                  <a:gd name="connsiteX72" fmla="*/ 1722120 w 3025140"/>
                  <a:gd name="connsiteY72" fmla="*/ 3550920 h 3680460"/>
                  <a:gd name="connsiteX73" fmla="*/ 1600200 w 3025140"/>
                  <a:gd name="connsiteY73" fmla="*/ 3589020 h 3680460"/>
                  <a:gd name="connsiteX74" fmla="*/ 1569720 w 3025140"/>
                  <a:gd name="connsiteY74" fmla="*/ 3596640 h 3680460"/>
                  <a:gd name="connsiteX75" fmla="*/ 1546860 w 3025140"/>
                  <a:gd name="connsiteY75" fmla="*/ 3611880 h 3680460"/>
                  <a:gd name="connsiteX76" fmla="*/ 1463040 w 3025140"/>
                  <a:gd name="connsiteY76" fmla="*/ 3627120 h 3680460"/>
                  <a:gd name="connsiteX77" fmla="*/ 1333500 w 3025140"/>
                  <a:gd name="connsiteY77" fmla="*/ 3657600 h 3680460"/>
                  <a:gd name="connsiteX78" fmla="*/ 1203960 w 3025140"/>
                  <a:gd name="connsiteY78" fmla="*/ 3672840 h 3680460"/>
                  <a:gd name="connsiteX79" fmla="*/ 1165860 w 3025140"/>
                  <a:gd name="connsiteY79" fmla="*/ 3680460 h 3680460"/>
                  <a:gd name="connsiteX80" fmla="*/ 449580 w 3025140"/>
                  <a:gd name="connsiteY80" fmla="*/ 3672840 h 3680460"/>
                  <a:gd name="connsiteX81" fmla="*/ 426720 w 3025140"/>
                  <a:gd name="connsiteY81" fmla="*/ 3665220 h 3680460"/>
                  <a:gd name="connsiteX82" fmla="*/ 388620 w 3025140"/>
                  <a:gd name="connsiteY82" fmla="*/ 3657600 h 3680460"/>
                  <a:gd name="connsiteX83" fmla="*/ 335280 w 3025140"/>
                  <a:gd name="connsiteY83" fmla="*/ 3627120 h 3680460"/>
                  <a:gd name="connsiteX84" fmla="*/ 266700 w 3025140"/>
                  <a:gd name="connsiteY84" fmla="*/ 3604260 h 3680460"/>
                  <a:gd name="connsiteX85" fmla="*/ 243840 w 3025140"/>
                  <a:gd name="connsiteY85" fmla="*/ 3589020 h 3680460"/>
                  <a:gd name="connsiteX86" fmla="*/ 160020 w 3025140"/>
                  <a:gd name="connsiteY86" fmla="*/ 3558540 h 3680460"/>
                  <a:gd name="connsiteX87" fmla="*/ 137160 w 3025140"/>
                  <a:gd name="connsiteY87" fmla="*/ 3535680 h 3680460"/>
                  <a:gd name="connsiteX88" fmla="*/ 99060 w 3025140"/>
                  <a:gd name="connsiteY88" fmla="*/ 3520440 h 3680460"/>
                  <a:gd name="connsiteX89" fmla="*/ 83820 w 3025140"/>
                  <a:gd name="connsiteY89" fmla="*/ 3489960 h 3680460"/>
                  <a:gd name="connsiteX90" fmla="*/ 45720 w 3025140"/>
                  <a:gd name="connsiteY90" fmla="*/ 3436620 h 3680460"/>
                  <a:gd name="connsiteX91" fmla="*/ 0 w 3025140"/>
                  <a:gd name="connsiteY91" fmla="*/ 3352800 h 3680460"/>
                  <a:gd name="connsiteX92" fmla="*/ 30480 w 3025140"/>
                  <a:gd name="connsiteY92" fmla="*/ 3345180 h 3680460"/>
                  <a:gd name="connsiteX93" fmla="*/ 137160 w 3025140"/>
                  <a:gd name="connsiteY93" fmla="*/ 3360420 h 3680460"/>
                  <a:gd name="connsiteX94" fmla="*/ 167640 w 3025140"/>
                  <a:gd name="connsiteY94" fmla="*/ 3390900 h 3680460"/>
                  <a:gd name="connsiteX95" fmla="*/ 198120 w 3025140"/>
                  <a:gd name="connsiteY95" fmla="*/ 3406140 h 3680460"/>
                  <a:gd name="connsiteX96" fmla="*/ 350520 w 3025140"/>
                  <a:gd name="connsiteY96" fmla="*/ 3436620 h 3680460"/>
                  <a:gd name="connsiteX97" fmla="*/ 381000 w 3025140"/>
                  <a:gd name="connsiteY97" fmla="*/ 3451860 h 3680460"/>
                  <a:gd name="connsiteX98" fmla="*/ 449580 w 3025140"/>
                  <a:gd name="connsiteY98" fmla="*/ 3489960 h 3680460"/>
                  <a:gd name="connsiteX99" fmla="*/ 495300 w 3025140"/>
                  <a:gd name="connsiteY99" fmla="*/ 3520440 h 3680460"/>
                  <a:gd name="connsiteX100" fmla="*/ 525780 w 3025140"/>
                  <a:gd name="connsiteY100" fmla="*/ 3535680 h 3680460"/>
                  <a:gd name="connsiteX101" fmla="*/ 731520 w 3025140"/>
                  <a:gd name="connsiteY101" fmla="*/ 3558540 h 3680460"/>
                  <a:gd name="connsiteX102" fmla="*/ 1341120 w 3025140"/>
                  <a:gd name="connsiteY102" fmla="*/ 3550920 h 3680460"/>
                  <a:gd name="connsiteX103" fmla="*/ 1440180 w 3025140"/>
                  <a:gd name="connsiteY103" fmla="*/ 3528060 h 3680460"/>
                  <a:gd name="connsiteX104" fmla="*/ 1539240 w 3025140"/>
                  <a:gd name="connsiteY104" fmla="*/ 3520440 h 3680460"/>
                  <a:gd name="connsiteX105" fmla="*/ 1562100 w 3025140"/>
                  <a:gd name="connsiteY105" fmla="*/ 3512820 h 3680460"/>
                  <a:gd name="connsiteX106" fmla="*/ 1630680 w 3025140"/>
                  <a:gd name="connsiteY106" fmla="*/ 3497580 h 3680460"/>
                  <a:gd name="connsiteX107" fmla="*/ 1699260 w 3025140"/>
                  <a:gd name="connsiteY107" fmla="*/ 3474720 h 3680460"/>
                  <a:gd name="connsiteX108" fmla="*/ 1790700 w 3025140"/>
                  <a:gd name="connsiteY108" fmla="*/ 3451860 h 3680460"/>
                  <a:gd name="connsiteX109" fmla="*/ 1821180 w 3025140"/>
                  <a:gd name="connsiteY109" fmla="*/ 3444240 h 3680460"/>
                  <a:gd name="connsiteX110" fmla="*/ 1844040 w 3025140"/>
                  <a:gd name="connsiteY110" fmla="*/ 3429000 h 3680460"/>
                  <a:gd name="connsiteX111" fmla="*/ 1874520 w 3025140"/>
                  <a:gd name="connsiteY111" fmla="*/ 3421380 h 3680460"/>
                  <a:gd name="connsiteX112" fmla="*/ 1927860 w 3025140"/>
                  <a:gd name="connsiteY112" fmla="*/ 3398520 h 3680460"/>
                  <a:gd name="connsiteX113" fmla="*/ 1950720 w 3025140"/>
                  <a:gd name="connsiteY113" fmla="*/ 3390900 h 3680460"/>
                  <a:gd name="connsiteX114" fmla="*/ 2004060 w 3025140"/>
                  <a:gd name="connsiteY114" fmla="*/ 3360420 h 3680460"/>
                  <a:gd name="connsiteX115" fmla="*/ 2042160 w 3025140"/>
                  <a:gd name="connsiteY115" fmla="*/ 3352800 h 3680460"/>
                  <a:gd name="connsiteX116" fmla="*/ 2080260 w 3025140"/>
                  <a:gd name="connsiteY116" fmla="*/ 3337560 h 3680460"/>
                  <a:gd name="connsiteX117" fmla="*/ 2156460 w 3025140"/>
                  <a:gd name="connsiteY117" fmla="*/ 3299460 h 3680460"/>
                  <a:gd name="connsiteX118" fmla="*/ 2179320 w 3025140"/>
                  <a:gd name="connsiteY118" fmla="*/ 3284220 h 3680460"/>
                  <a:gd name="connsiteX119" fmla="*/ 2209800 w 3025140"/>
                  <a:gd name="connsiteY119" fmla="*/ 3276600 h 3680460"/>
                  <a:gd name="connsiteX120" fmla="*/ 2263140 w 3025140"/>
                  <a:gd name="connsiteY120" fmla="*/ 3230880 h 3680460"/>
                  <a:gd name="connsiteX121" fmla="*/ 2346960 w 3025140"/>
                  <a:gd name="connsiteY121" fmla="*/ 3154680 h 3680460"/>
                  <a:gd name="connsiteX122" fmla="*/ 2400300 w 3025140"/>
                  <a:gd name="connsiteY122" fmla="*/ 3070860 h 3680460"/>
                  <a:gd name="connsiteX123" fmla="*/ 2415540 w 3025140"/>
                  <a:gd name="connsiteY123" fmla="*/ 3048000 h 3680460"/>
                  <a:gd name="connsiteX124" fmla="*/ 2446020 w 3025140"/>
                  <a:gd name="connsiteY124" fmla="*/ 3032760 h 3680460"/>
                  <a:gd name="connsiteX125" fmla="*/ 2468880 w 3025140"/>
                  <a:gd name="connsiteY125" fmla="*/ 3009900 h 3680460"/>
                  <a:gd name="connsiteX126" fmla="*/ 2537460 w 3025140"/>
                  <a:gd name="connsiteY126" fmla="*/ 2926080 h 3680460"/>
                  <a:gd name="connsiteX127" fmla="*/ 2575560 w 3025140"/>
                  <a:gd name="connsiteY127" fmla="*/ 2880360 h 3680460"/>
                  <a:gd name="connsiteX128" fmla="*/ 2628900 w 3025140"/>
                  <a:gd name="connsiteY128" fmla="*/ 2811780 h 3680460"/>
                  <a:gd name="connsiteX129" fmla="*/ 2644140 w 3025140"/>
                  <a:gd name="connsiteY129" fmla="*/ 2773680 h 3680460"/>
                  <a:gd name="connsiteX130" fmla="*/ 2674620 w 3025140"/>
                  <a:gd name="connsiteY130" fmla="*/ 2727960 h 3680460"/>
                  <a:gd name="connsiteX131" fmla="*/ 2689860 w 3025140"/>
                  <a:gd name="connsiteY131" fmla="*/ 2705100 h 3680460"/>
                  <a:gd name="connsiteX132" fmla="*/ 2705100 w 3025140"/>
                  <a:gd name="connsiteY132" fmla="*/ 2667000 h 3680460"/>
                  <a:gd name="connsiteX133" fmla="*/ 2727960 w 3025140"/>
                  <a:gd name="connsiteY133" fmla="*/ 2621280 h 3680460"/>
                  <a:gd name="connsiteX134" fmla="*/ 2735580 w 3025140"/>
                  <a:gd name="connsiteY134" fmla="*/ 2590800 h 3680460"/>
                  <a:gd name="connsiteX135" fmla="*/ 2758440 w 3025140"/>
                  <a:gd name="connsiteY135" fmla="*/ 2545080 h 3680460"/>
                  <a:gd name="connsiteX136" fmla="*/ 2788920 w 3025140"/>
                  <a:gd name="connsiteY136" fmla="*/ 2484120 h 3680460"/>
                  <a:gd name="connsiteX137" fmla="*/ 2811780 w 3025140"/>
                  <a:gd name="connsiteY137" fmla="*/ 2407920 h 3680460"/>
                  <a:gd name="connsiteX138" fmla="*/ 2842260 w 3025140"/>
                  <a:gd name="connsiteY138" fmla="*/ 2324100 h 3680460"/>
                  <a:gd name="connsiteX139" fmla="*/ 2857500 w 3025140"/>
                  <a:gd name="connsiteY139" fmla="*/ 2247900 h 3680460"/>
                  <a:gd name="connsiteX140" fmla="*/ 2872740 w 3025140"/>
                  <a:gd name="connsiteY140" fmla="*/ 2194560 h 3680460"/>
                  <a:gd name="connsiteX141" fmla="*/ 2887980 w 3025140"/>
                  <a:gd name="connsiteY141" fmla="*/ 2148840 h 3680460"/>
                  <a:gd name="connsiteX142" fmla="*/ 2910840 w 3025140"/>
                  <a:gd name="connsiteY142" fmla="*/ 2087880 h 3680460"/>
                  <a:gd name="connsiteX143" fmla="*/ 2918460 w 3025140"/>
                  <a:gd name="connsiteY143" fmla="*/ 2049780 h 3680460"/>
                  <a:gd name="connsiteX144" fmla="*/ 2933700 w 3025140"/>
                  <a:gd name="connsiteY144" fmla="*/ 1844040 h 3680460"/>
                  <a:gd name="connsiteX145" fmla="*/ 2918460 w 3025140"/>
                  <a:gd name="connsiteY145" fmla="*/ 1470660 h 3680460"/>
                  <a:gd name="connsiteX146" fmla="*/ 2895600 w 3025140"/>
                  <a:gd name="connsiteY146" fmla="*/ 1371600 h 3680460"/>
                  <a:gd name="connsiteX147" fmla="*/ 2880360 w 3025140"/>
                  <a:gd name="connsiteY147" fmla="*/ 1341120 h 3680460"/>
                  <a:gd name="connsiteX148" fmla="*/ 2857500 w 3025140"/>
                  <a:gd name="connsiteY148" fmla="*/ 1272540 h 3680460"/>
                  <a:gd name="connsiteX149" fmla="*/ 2849880 w 3025140"/>
                  <a:gd name="connsiteY149" fmla="*/ 1234440 h 3680460"/>
                  <a:gd name="connsiteX150" fmla="*/ 2827020 w 3025140"/>
                  <a:gd name="connsiteY150" fmla="*/ 1196340 h 3680460"/>
                  <a:gd name="connsiteX151" fmla="*/ 2811780 w 3025140"/>
                  <a:gd name="connsiteY151" fmla="*/ 1165860 h 3680460"/>
                  <a:gd name="connsiteX152" fmla="*/ 2781300 w 3025140"/>
                  <a:gd name="connsiteY152" fmla="*/ 1127760 h 3680460"/>
                  <a:gd name="connsiteX153" fmla="*/ 2766060 w 3025140"/>
                  <a:gd name="connsiteY153" fmla="*/ 1089660 h 3680460"/>
                  <a:gd name="connsiteX154" fmla="*/ 2735580 w 3025140"/>
                  <a:gd name="connsiteY154" fmla="*/ 1043940 h 3680460"/>
                  <a:gd name="connsiteX155" fmla="*/ 2727960 w 3025140"/>
                  <a:gd name="connsiteY155" fmla="*/ 1021080 h 3680460"/>
                  <a:gd name="connsiteX156" fmla="*/ 2682240 w 3025140"/>
                  <a:gd name="connsiteY156" fmla="*/ 937260 h 3680460"/>
                  <a:gd name="connsiteX157" fmla="*/ 2659380 w 3025140"/>
                  <a:gd name="connsiteY157" fmla="*/ 876300 h 3680460"/>
                  <a:gd name="connsiteX158" fmla="*/ 2644140 w 3025140"/>
                  <a:gd name="connsiteY158" fmla="*/ 845820 h 3680460"/>
                  <a:gd name="connsiteX159" fmla="*/ 2636520 w 3025140"/>
                  <a:gd name="connsiteY159" fmla="*/ 822960 h 3680460"/>
                  <a:gd name="connsiteX160" fmla="*/ 2621280 w 3025140"/>
                  <a:gd name="connsiteY160" fmla="*/ 800100 h 3680460"/>
                  <a:gd name="connsiteX161" fmla="*/ 2598420 w 3025140"/>
                  <a:gd name="connsiteY161" fmla="*/ 739140 h 3680460"/>
                  <a:gd name="connsiteX162" fmla="*/ 2458403 w 3025140"/>
                  <a:gd name="connsiteY162" fmla="*/ 621983 h 3680460"/>
                  <a:gd name="connsiteX163" fmla="*/ 2301240 w 3025140"/>
                  <a:gd name="connsiteY163" fmla="*/ 458152 h 3680460"/>
                  <a:gd name="connsiteX164" fmla="*/ 2237423 w 3025140"/>
                  <a:gd name="connsiteY164" fmla="*/ 406717 h 3680460"/>
                  <a:gd name="connsiteX165" fmla="*/ 2103120 w 3025140"/>
                  <a:gd name="connsiteY165" fmla="*/ 312420 h 3680460"/>
                  <a:gd name="connsiteX166" fmla="*/ 2042160 w 3025140"/>
                  <a:gd name="connsiteY166" fmla="*/ 266700 h 3680460"/>
                  <a:gd name="connsiteX167" fmla="*/ 2004060 w 3025140"/>
                  <a:gd name="connsiteY167" fmla="*/ 251460 h 3680460"/>
                  <a:gd name="connsiteX168" fmla="*/ 1958340 w 3025140"/>
                  <a:gd name="connsiteY168" fmla="*/ 220980 h 3680460"/>
                  <a:gd name="connsiteX169" fmla="*/ 1897380 w 3025140"/>
                  <a:gd name="connsiteY169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415540 w 3025140"/>
                  <a:gd name="connsiteY13" fmla="*/ 289560 h 3680460"/>
                  <a:gd name="connsiteX14" fmla="*/ 2461260 w 3025140"/>
                  <a:gd name="connsiteY14" fmla="*/ 320040 h 3680460"/>
                  <a:gd name="connsiteX15" fmla="*/ 2537460 w 3025140"/>
                  <a:gd name="connsiteY15" fmla="*/ 426720 h 3680460"/>
                  <a:gd name="connsiteX16" fmla="*/ 2552700 w 3025140"/>
                  <a:gd name="connsiteY16" fmla="*/ 449580 h 3680460"/>
                  <a:gd name="connsiteX17" fmla="*/ 2575560 w 3025140"/>
                  <a:gd name="connsiteY17" fmla="*/ 487680 h 3680460"/>
                  <a:gd name="connsiteX18" fmla="*/ 2621280 w 3025140"/>
                  <a:gd name="connsiteY18" fmla="*/ 548640 h 3680460"/>
                  <a:gd name="connsiteX19" fmla="*/ 2674620 w 3025140"/>
                  <a:gd name="connsiteY19" fmla="*/ 609600 h 3680460"/>
                  <a:gd name="connsiteX20" fmla="*/ 2727960 w 3025140"/>
                  <a:gd name="connsiteY20" fmla="*/ 678180 h 3680460"/>
                  <a:gd name="connsiteX21" fmla="*/ 2727960 w 3025140"/>
                  <a:gd name="connsiteY21" fmla="*/ 678180 h 3680460"/>
                  <a:gd name="connsiteX22" fmla="*/ 2766060 w 3025140"/>
                  <a:gd name="connsiteY22" fmla="*/ 754380 h 3680460"/>
                  <a:gd name="connsiteX23" fmla="*/ 2819400 w 3025140"/>
                  <a:gd name="connsiteY23" fmla="*/ 830580 h 3680460"/>
                  <a:gd name="connsiteX24" fmla="*/ 2834640 w 3025140"/>
                  <a:gd name="connsiteY24" fmla="*/ 853440 h 3680460"/>
                  <a:gd name="connsiteX25" fmla="*/ 2849880 w 3025140"/>
                  <a:gd name="connsiteY25" fmla="*/ 883920 h 3680460"/>
                  <a:gd name="connsiteX26" fmla="*/ 2880360 w 3025140"/>
                  <a:gd name="connsiteY26" fmla="*/ 922020 h 3680460"/>
                  <a:gd name="connsiteX27" fmla="*/ 2887980 w 3025140"/>
                  <a:gd name="connsiteY27" fmla="*/ 944880 h 3680460"/>
                  <a:gd name="connsiteX28" fmla="*/ 2903220 w 3025140"/>
                  <a:gd name="connsiteY28" fmla="*/ 967740 h 3680460"/>
                  <a:gd name="connsiteX29" fmla="*/ 2918460 w 3025140"/>
                  <a:gd name="connsiteY29" fmla="*/ 1036320 h 3680460"/>
                  <a:gd name="connsiteX30" fmla="*/ 2933700 w 3025140"/>
                  <a:gd name="connsiteY30" fmla="*/ 1074420 h 3680460"/>
                  <a:gd name="connsiteX31" fmla="*/ 2948940 w 3025140"/>
                  <a:gd name="connsiteY31" fmla="*/ 1120140 h 3680460"/>
                  <a:gd name="connsiteX32" fmla="*/ 2964180 w 3025140"/>
                  <a:gd name="connsiteY32" fmla="*/ 1203960 h 3680460"/>
                  <a:gd name="connsiteX33" fmla="*/ 2979420 w 3025140"/>
                  <a:gd name="connsiteY33" fmla="*/ 1264920 h 3680460"/>
                  <a:gd name="connsiteX34" fmla="*/ 2987040 w 3025140"/>
                  <a:gd name="connsiteY34" fmla="*/ 1318260 h 3680460"/>
                  <a:gd name="connsiteX35" fmla="*/ 2994660 w 3025140"/>
                  <a:gd name="connsiteY35" fmla="*/ 1348740 h 3680460"/>
                  <a:gd name="connsiteX36" fmla="*/ 3009900 w 3025140"/>
                  <a:gd name="connsiteY36" fmla="*/ 1432560 h 3680460"/>
                  <a:gd name="connsiteX37" fmla="*/ 3017520 w 3025140"/>
                  <a:gd name="connsiteY37" fmla="*/ 1684020 h 3680460"/>
                  <a:gd name="connsiteX38" fmla="*/ 3025140 w 3025140"/>
                  <a:gd name="connsiteY38" fmla="*/ 1744980 h 3680460"/>
                  <a:gd name="connsiteX39" fmla="*/ 3017520 w 3025140"/>
                  <a:gd name="connsiteY39" fmla="*/ 2095500 h 3680460"/>
                  <a:gd name="connsiteX40" fmla="*/ 3009900 w 3025140"/>
                  <a:gd name="connsiteY40" fmla="*/ 2125980 h 3680460"/>
                  <a:gd name="connsiteX41" fmla="*/ 2979420 w 3025140"/>
                  <a:gd name="connsiteY41" fmla="*/ 2194560 h 3680460"/>
                  <a:gd name="connsiteX42" fmla="*/ 2956560 w 3025140"/>
                  <a:gd name="connsiteY42" fmla="*/ 2247900 h 3680460"/>
                  <a:gd name="connsiteX43" fmla="*/ 2941320 w 3025140"/>
                  <a:gd name="connsiteY43" fmla="*/ 2324100 h 3680460"/>
                  <a:gd name="connsiteX44" fmla="*/ 2926080 w 3025140"/>
                  <a:gd name="connsiteY44" fmla="*/ 2392680 h 3680460"/>
                  <a:gd name="connsiteX45" fmla="*/ 2918460 w 3025140"/>
                  <a:gd name="connsiteY45" fmla="*/ 2415540 h 3680460"/>
                  <a:gd name="connsiteX46" fmla="*/ 2895600 w 3025140"/>
                  <a:gd name="connsiteY46" fmla="*/ 2484120 h 3680460"/>
                  <a:gd name="connsiteX47" fmla="*/ 2872740 w 3025140"/>
                  <a:gd name="connsiteY47" fmla="*/ 2583180 h 3680460"/>
                  <a:gd name="connsiteX48" fmla="*/ 2857500 w 3025140"/>
                  <a:gd name="connsiteY48" fmla="*/ 2606040 h 3680460"/>
                  <a:gd name="connsiteX49" fmla="*/ 2834640 w 3025140"/>
                  <a:gd name="connsiteY49" fmla="*/ 2689860 h 3680460"/>
                  <a:gd name="connsiteX50" fmla="*/ 2811780 w 3025140"/>
                  <a:gd name="connsiteY50" fmla="*/ 2750820 h 3680460"/>
                  <a:gd name="connsiteX51" fmla="*/ 2788920 w 3025140"/>
                  <a:gd name="connsiteY51" fmla="*/ 2781300 h 3680460"/>
                  <a:gd name="connsiteX52" fmla="*/ 2781300 w 3025140"/>
                  <a:gd name="connsiteY52" fmla="*/ 2804160 h 3680460"/>
                  <a:gd name="connsiteX53" fmla="*/ 2743200 w 3025140"/>
                  <a:gd name="connsiteY53" fmla="*/ 2865120 h 3680460"/>
                  <a:gd name="connsiteX54" fmla="*/ 2712720 w 3025140"/>
                  <a:gd name="connsiteY54" fmla="*/ 2903220 h 3680460"/>
                  <a:gd name="connsiteX55" fmla="*/ 2697480 w 3025140"/>
                  <a:gd name="connsiteY55" fmla="*/ 2933700 h 3680460"/>
                  <a:gd name="connsiteX56" fmla="*/ 2674620 w 3025140"/>
                  <a:gd name="connsiteY56" fmla="*/ 2964180 h 3680460"/>
                  <a:gd name="connsiteX57" fmla="*/ 2644140 w 3025140"/>
                  <a:gd name="connsiteY57" fmla="*/ 3009900 h 3680460"/>
                  <a:gd name="connsiteX58" fmla="*/ 2598420 w 3025140"/>
                  <a:gd name="connsiteY58" fmla="*/ 3055620 h 3680460"/>
                  <a:gd name="connsiteX59" fmla="*/ 2575560 w 3025140"/>
                  <a:gd name="connsiteY59" fmla="*/ 3078480 h 3680460"/>
                  <a:gd name="connsiteX60" fmla="*/ 2476500 w 3025140"/>
                  <a:gd name="connsiteY60" fmla="*/ 3169920 h 3680460"/>
                  <a:gd name="connsiteX61" fmla="*/ 2377440 w 3025140"/>
                  <a:gd name="connsiteY61" fmla="*/ 3223260 h 3680460"/>
                  <a:gd name="connsiteX62" fmla="*/ 2293620 w 3025140"/>
                  <a:gd name="connsiteY62" fmla="*/ 3284220 h 3680460"/>
                  <a:gd name="connsiteX63" fmla="*/ 2240280 w 3025140"/>
                  <a:gd name="connsiteY63" fmla="*/ 3314700 h 3680460"/>
                  <a:gd name="connsiteX64" fmla="*/ 2225040 w 3025140"/>
                  <a:gd name="connsiteY64" fmla="*/ 3337560 h 3680460"/>
                  <a:gd name="connsiteX65" fmla="*/ 2141220 w 3025140"/>
                  <a:gd name="connsiteY65" fmla="*/ 3390900 h 3680460"/>
                  <a:gd name="connsiteX66" fmla="*/ 2110740 w 3025140"/>
                  <a:gd name="connsiteY66" fmla="*/ 3413760 h 3680460"/>
                  <a:gd name="connsiteX67" fmla="*/ 2072640 w 3025140"/>
                  <a:gd name="connsiteY67" fmla="*/ 3451860 h 3680460"/>
                  <a:gd name="connsiteX68" fmla="*/ 2019300 w 3025140"/>
                  <a:gd name="connsiteY68" fmla="*/ 3467100 h 3680460"/>
                  <a:gd name="connsiteX69" fmla="*/ 1874520 w 3025140"/>
                  <a:gd name="connsiteY69" fmla="*/ 3512820 h 3680460"/>
                  <a:gd name="connsiteX70" fmla="*/ 1828800 w 3025140"/>
                  <a:gd name="connsiteY70" fmla="*/ 3520440 h 3680460"/>
                  <a:gd name="connsiteX71" fmla="*/ 1722120 w 3025140"/>
                  <a:gd name="connsiteY71" fmla="*/ 3550920 h 3680460"/>
                  <a:gd name="connsiteX72" fmla="*/ 1600200 w 3025140"/>
                  <a:gd name="connsiteY72" fmla="*/ 3589020 h 3680460"/>
                  <a:gd name="connsiteX73" fmla="*/ 1569720 w 3025140"/>
                  <a:gd name="connsiteY73" fmla="*/ 3596640 h 3680460"/>
                  <a:gd name="connsiteX74" fmla="*/ 1546860 w 3025140"/>
                  <a:gd name="connsiteY74" fmla="*/ 3611880 h 3680460"/>
                  <a:gd name="connsiteX75" fmla="*/ 1463040 w 3025140"/>
                  <a:gd name="connsiteY75" fmla="*/ 3627120 h 3680460"/>
                  <a:gd name="connsiteX76" fmla="*/ 1333500 w 3025140"/>
                  <a:gd name="connsiteY76" fmla="*/ 3657600 h 3680460"/>
                  <a:gd name="connsiteX77" fmla="*/ 1203960 w 3025140"/>
                  <a:gd name="connsiteY77" fmla="*/ 3672840 h 3680460"/>
                  <a:gd name="connsiteX78" fmla="*/ 1165860 w 3025140"/>
                  <a:gd name="connsiteY78" fmla="*/ 3680460 h 3680460"/>
                  <a:gd name="connsiteX79" fmla="*/ 449580 w 3025140"/>
                  <a:gd name="connsiteY79" fmla="*/ 3672840 h 3680460"/>
                  <a:gd name="connsiteX80" fmla="*/ 426720 w 3025140"/>
                  <a:gd name="connsiteY80" fmla="*/ 3665220 h 3680460"/>
                  <a:gd name="connsiteX81" fmla="*/ 388620 w 3025140"/>
                  <a:gd name="connsiteY81" fmla="*/ 3657600 h 3680460"/>
                  <a:gd name="connsiteX82" fmla="*/ 335280 w 3025140"/>
                  <a:gd name="connsiteY82" fmla="*/ 3627120 h 3680460"/>
                  <a:gd name="connsiteX83" fmla="*/ 266700 w 3025140"/>
                  <a:gd name="connsiteY83" fmla="*/ 3604260 h 3680460"/>
                  <a:gd name="connsiteX84" fmla="*/ 243840 w 3025140"/>
                  <a:gd name="connsiteY84" fmla="*/ 3589020 h 3680460"/>
                  <a:gd name="connsiteX85" fmla="*/ 160020 w 3025140"/>
                  <a:gd name="connsiteY85" fmla="*/ 3558540 h 3680460"/>
                  <a:gd name="connsiteX86" fmla="*/ 137160 w 3025140"/>
                  <a:gd name="connsiteY86" fmla="*/ 3535680 h 3680460"/>
                  <a:gd name="connsiteX87" fmla="*/ 99060 w 3025140"/>
                  <a:gd name="connsiteY87" fmla="*/ 3520440 h 3680460"/>
                  <a:gd name="connsiteX88" fmla="*/ 83820 w 3025140"/>
                  <a:gd name="connsiteY88" fmla="*/ 3489960 h 3680460"/>
                  <a:gd name="connsiteX89" fmla="*/ 45720 w 3025140"/>
                  <a:gd name="connsiteY89" fmla="*/ 3436620 h 3680460"/>
                  <a:gd name="connsiteX90" fmla="*/ 0 w 3025140"/>
                  <a:gd name="connsiteY90" fmla="*/ 3352800 h 3680460"/>
                  <a:gd name="connsiteX91" fmla="*/ 30480 w 3025140"/>
                  <a:gd name="connsiteY91" fmla="*/ 3345180 h 3680460"/>
                  <a:gd name="connsiteX92" fmla="*/ 137160 w 3025140"/>
                  <a:gd name="connsiteY92" fmla="*/ 3360420 h 3680460"/>
                  <a:gd name="connsiteX93" fmla="*/ 167640 w 3025140"/>
                  <a:gd name="connsiteY93" fmla="*/ 3390900 h 3680460"/>
                  <a:gd name="connsiteX94" fmla="*/ 198120 w 3025140"/>
                  <a:gd name="connsiteY94" fmla="*/ 3406140 h 3680460"/>
                  <a:gd name="connsiteX95" fmla="*/ 350520 w 3025140"/>
                  <a:gd name="connsiteY95" fmla="*/ 3436620 h 3680460"/>
                  <a:gd name="connsiteX96" fmla="*/ 381000 w 3025140"/>
                  <a:gd name="connsiteY96" fmla="*/ 3451860 h 3680460"/>
                  <a:gd name="connsiteX97" fmla="*/ 449580 w 3025140"/>
                  <a:gd name="connsiteY97" fmla="*/ 3489960 h 3680460"/>
                  <a:gd name="connsiteX98" fmla="*/ 495300 w 3025140"/>
                  <a:gd name="connsiteY98" fmla="*/ 3520440 h 3680460"/>
                  <a:gd name="connsiteX99" fmla="*/ 525780 w 3025140"/>
                  <a:gd name="connsiteY99" fmla="*/ 3535680 h 3680460"/>
                  <a:gd name="connsiteX100" fmla="*/ 731520 w 3025140"/>
                  <a:gd name="connsiteY100" fmla="*/ 3558540 h 3680460"/>
                  <a:gd name="connsiteX101" fmla="*/ 1341120 w 3025140"/>
                  <a:gd name="connsiteY101" fmla="*/ 3550920 h 3680460"/>
                  <a:gd name="connsiteX102" fmla="*/ 1440180 w 3025140"/>
                  <a:gd name="connsiteY102" fmla="*/ 3528060 h 3680460"/>
                  <a:gd name="connsiteX103" fmla="*/ 1539240 w 3025140"/>
                  <a:gd name="connsiteY103" fmla="*/ 3520440 h 3680460"/>
                  <a:gd name="connsiteX104" fmla="*/ 1562100 w 3025140"/>
                  <a:gd name="connsiteY104" fmla="*/ 3512820 h 3680460"/>
                  <a:gd name="connsiteX105" fmla="*/ 1630680 w 3025140"/>
                  <a:gd name="connsiteY105" fmla="*/ 3497580 h 3680460"/>
                  <a:gd name="connsiteX106" fmla="*/ 1699260 w 3025140"/>
                  <a:gd name="connsiteY106" fmla="*/ 3474720 h 3680460"/>
                  <a:gd name="connsiteX107" fmla="*/ 1790700 w 3025140"/>
                  <a:gd name="connsiteY107" fmla="*/ 3451860 h 3680460"/>
                  <a:gd name="connsiteX108" fmla="*/ 1821180 w 3025140"/>
                  <a:gd name="connsiteY108" fmla="*/ 3444240 h 3680460"/>
                  <a:gd name="connsiteX109" fmla="*/ 1844040 w 3025140"/>
                  <a:gd name="connsiteY109" fmla="*/ 3429000 h 3680460"/>
                  <a:gd name="connsiteX110" fmla="*/ 1874520 w 3025140"/>
                  <a:gd name="connsiteY110" fmla="*/ 3421380 h 3680460"/>
                  <a:gd name="connsiteX111" fmla="*/ 1927860 w 3025140"/>
                  <a:gd name="connsiteY111" fmla="*/ 3398520 h 3680460"/>
                  <a:gd name="connsiteX112" fmla="*/ 1950720 w 3025140"/>
                  <a:gd name="connsiteY112" fmla="*/ 3390900 h 3680460"/>
                  <a:gd name="connsiteX113" fmla="*/ 2004060 w 3025140"/>
                  <a:gd name="connsiteY113" fmla="*/ 3360420 h 3680460"/>
                  <a:gd name="connsiteX114" fmla="*/ 2042160 w 3025140"/>
                  <a:gd name="connsiteY114" fmla="*/ 3352800 h 3680460"/>
                  <a:gd name="connsiteX115" fmla="*/ 2080260 w 3025140"/>
                  <a:gd name="connsiteY115" fmla="*/ 3337560 h 3680460"/>
                  <a:gd name="connsiteX116" fmla="*/ 2156460 w 3025140"/>
                  <a:gd name="connsiteY116" fmla="*/ 3299460 h 3680460"/>
                  <a:gd name="connsiteX117" fmla="*/ 2179320 w 3025140"/>
                  <a:gd name="connsiteY117" fmla="*/ 3284220 h 3680460"/>
                  <a:gd name="connsiteX118" fmla="*/ 2209800 w 3025140"/>
                  <a:gd name="connsiteY118" fmla="*/ 3276600 h 3680460"/>
                  <a:gd name="connsiteX119" fmla="*/ 2263140 w 3025140"/>
                  <a:gd name="connsiteY119" fmla="*/ 3230880 h 3680460"/>
                  <a:gd name="connsiteX120" fmla="*/ 2346960 w 3025140"/>
                  <a:gd name="connsiteY120" fmla="*/ 3154680 h 3680460"/>
                  <a:gd name="connsiteX121" fmla="*/ 2400300 w 3025140"/>
                  <a:gd name="connsiteY121" fmla="*/ 3070860 h 3680460"/>
                  <a:gd name="connsiteX122" fmla="*/ 2415540 w 3025140"/>
                  <a:gd name="connsiteY122" fmla="*/ 3048000 h 3680460"/>
                  <a:gd name="connsiteX123" fmla="*/ 2446020 w 3025140"/>
                  <a:gd name="connsiteY123" fmla="*/ 3032760 h 3680460"/>
                  <a:gd name="connsiteX124" fmla="*/ 2468880 w 3025140"/>
                  <a:gd name="connsiteY124" fmla="*/ 3009900 h 3680460"/>
                  <a:gd name="connsiteX125" fmla="*/ 2537460 w 3025140"/>
                  <a:gd name="connsiteY125" fmla="*/ 2926080 h 3680460"/>
                  <a:gd name="connsiteX126" fmla="*/ 2575560 w 3025140"/>
                  <a:gd name="connsiteY126" fmla="*/ 2880360 h 3680460"/>
                  <a:gd name="connsiteX127" fmla="*/ 2628900 w 3025140"/>
                  <a:gd name="connsiteY127" fmla="*/ 2811780 h 3680460"/>
                  <a:gd name="connsiteX128" fmla="*/ 2644140 w 3025140"/>
                  <a:gd name="connsiteY128" fmla="*/ 2773680 h 3680460"/>
                  <a:gd name="connsiteX129" fmla="*/ 2674620 w 3025140"/>
                  <a:gd name="connsiteY129" fmla="*/ 2727960 h 3680460"/>
                  <a:gd name="connsiteX130" fmla="*/ 2689860 w 3025140"/>
                  <a:gd name="connsiteY130" fmla="*/ 2705100 h 3680460"/>
                  <a:gd name="connsiteX131" fmla="*/ 2705100 w 3025140"/>
                  <a:gd name="connsiteY131" fmla="*/ 2667000 h 3680460"/>
                  <a:gd name="connsiteX132" fmla="*/ 2727960 w 3025140"/>
                  <a:gd name="connsiteY132" fmla="*/ 2621280 h 3680460"/>
                  <a:gd name="connsiteX133" fmla="*/ 2735580 w 3025140"/>
                  <a:gd name="connsiteY133" fmla="*/ 2590800 h 3680460"/>
                  <a:gd name="connsiteX134" fmla="*/ 2758440 w 3025140"/>
                  <a:gd name="connsiteY134" fmla="*/ 2545080 h 3680460"/>
                  <a:gd name="connsiteX135" fmla="*/ 2788920 w 3025140"/>
                  <a:gd name="connsiteY135" fmla="*/ 2484120 h 3680460"/>
                  <a:gd name="connsiteX136" fmla="*/ 2811780 w 3025140"/>
                  <a:gd name="connsiteY136" fmla="*/ 2407920 h 3680460"/>
                  <a:gd name="connsiteX137" fmla="*/ 2842260 w 3025140"/>
                  <a:gd name="connsiteY137" fmla="*/ 2324100 h 3680460"/>
                  <a:gd name="connsiteX138" fmla="*/ 2857500 w 3025140"/>
                  <a:gd name="connsiteY138" fmla="*/ 2247900 h 3680460"/>
                  <a:gd name="connsiteX139" fmla="*/ 2872740 w 3025140"/>
                  <a:gd name="connsiteY139" fmla="*/ 2194560 h 3680460"/>
                  <a:gd name="connsiteX140" fmla="*/ 2887980 w 3025140"/>
                  <a:gd name="connsiteY140" fmla="*/ 2148840 h 3680460"/>
                  <a:gd name="connsiteX141" fmla="*/ 2910840 w 3025140"/>
                  <a:gd name="connsiteY141" fmla="*/ 2087880 h 3680460"/>
                  <a:gd name="connsiteX142" fmla="*/ 2918460 w 3025140"/>
                  <a:gd name="connsiteY142" fmla="*/ 2049780 h 3680460"/>
                  <a:gd name="connsiteX143" fmla="*/ 2933700 w 3025140"/>
                  <a:gd name="connsiteY143" fmla="*/ 1844040 h 3680460"/>
                  <a:gd name="connsiteX144" fmla="*/ 2918460 w 3025140"/>
                  <a:gd name="connsiteY144" fmla="*/ 1470660 h 3680460"/>
                  <a:gd name="connsiteX145" fmla="*/ 2895600 w 3025140"/>
                  <a:gd name="connsiteY145" fmla="*/ 1371600 h 3680460"/>
                  <a:gd name="connsiteX146" fmla="*/ 2880360 w 3025140"/>
                  <a:gd name="connsiteY146" fmla="*/ 1341120 h 3680460"/>
                  <a:gd name="connsiteX147" fmla="*/ 2857500 w 3025140"/>
                  <a:gd name="connsiteY147" fmla="*/ 1272540 h 3680460"/>
                  <a:gd name="connsiteX148" fmla="*/ 2849880 w 3025140"/>
                  <a:gd name="connsiteY148" fmla="*/ 1234440 h 3680460"/>
                  <a:gd name="connsiteX149" fmla="*/ 2827020 w 3025140"/>
                  <a:gd name="connsiteY149" fmla="*/ 1196340 h 3680460"/>
                  <a:gd name="connsiteX150" fmla="*/ 2811780 w 3025140"/>
                  <a:gd name="connsiteY150" fmla="*/ 1165860 h 3680460"/>
                  <a:gd name="connsiteX151" fmla="*/ 2781300 w 3025140"/>
                  <a:gd name="connsiteY151" fmla="*/ 1127760 h 3680460"/>
                  <a:gd name="connsiteX152" fmla="*/ 2766060 w 3025140"/>
                  <a:gd name="connsiteY152" fmla="*/ 1089660 h 3680460"/>
                  <a:gd name="connsiteX153" fmla="*/ 2735580 w 3025140"/>
                  <a:gd name="connsiteY153" fmla="*/ 1043940 h 3680460"/>
                  <a:gd name="connsiteX154" fmla="*/ 2727960 w 3025140"/>
                  <a:gd name="connsiteY154" fmla="*/ 1021080 h 3680460"/>
                  <a:gd name="connsiteX155" fmla="*/ 2682240 w 3025140"/>
                  <a:gd name="connsiteY155" fmla="*/ 937260 h 3680460"/>
                  <a:gd name="connsiteX156" fmla="*/ 2659380 w 3025140"/>
                  <a:gd name="connsiteY156" fmla="*/ 876300 h 3680460"/>
                  <a:gd name="connsiteX157" fmla="*/ 2644140 w 3025140"/>
                  <a:gd name="connsiteY157" fmla="*/ 845820 h 3680460"/>
                  <a:gd name="connsiteX158" fmla="*/ 2636520 w 3025140"/>
                  <a:gd name="connsiteY158" fmla="*/ 822960 h 3680460"/>
                  <a:gd name="connsiteX159" fmla="*/ 2621280 w 3025140"/>
                  <a:gd name="connsiteY159" fmla="*/ 800100 h 3680460"/>
                  <a:gd name="connsiteX160" fmla="*/ 2598420 w 3025140"/>
                  <a:gd name="connsiteY160" fmla="*/ 739140 h 3680460"/>
                  <a:gd name="connsiteX161" fmla="*/ 2458403 w 3025140"/>
                  <a:gd name="connsiteY161" fmla="*/ 621983 h 3680460"/>
                  <a:gd name="connsiteX162" fmla="*/ 2301240 w 3025140"/>
                  <a:gd name="connsiteY162" fmla="*/ 458152 h 3680460"/>
                  <a:gd name="connsiteX163" fmla="*/ 2237423 w 3025140"/>
                  <a:gd name="connsiteY163" fmla="*/ 406717 h 3680460"/>
                  <a:gd name="connsiteX164" fmla="*/ 2103120 w 3025140"/>
                  <a:gd name="connsiteY164" fmla="*/ 312420 h 3680460"/>
                  <a:gd name="connsiteX165" fmla="*/ 2042160 w 3025140"/>
                  <a:gd name="connsiteY165" fmla="*/ 266700 h 3680460"/>
                  <a:gd name="connsiteX166" fmla="*/ 2004060 w 3025140"/>
                  <a:gd name="connsiteY166" fmla="*/ 251460 h 3680460"/>
                  <a:gd name="connsiteX167" fmla="*/ 1958340 w 3025140"/>
                  <a:gd name="connsiteY167" fmla="*/ 220980 h 3680460"/>
                  <a:gd name="connsiteX168" fmla="*/ 1897380 w 3025140"/>
                  <a:gd name="connsiteY168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461260 w 3025140"/>
                  <a:gd name="connsiteY13" fmla="*/ 320040 h 3680460"/>
                  <a:gd name="connsiteX14" fmla="*/ 2537460 w 3025140"/>
                  <a:gd name="connsiteY14" fmla="*/ 426720 h 3680460"/>
                  <a:gd name="connsiteX15" fmla="*/ 2552700 w 3025140"/>
                  <a:gd name="connsiteY15" fmla="*/ 449580 h 3680460"/>
                  <a:gd name="connsiteX16" fmla="*/ 2575560 w 3025140"/>
                  <a:gd name="connsiteY16" fmla="*/ 487680 h 3680460"/>
                  <a:gd name="connsiteX17" fmla="*/ 2621280 w 3025140"/>
                  <a:gd name="connsiteY17" fmla="*/ 548640 h 3680460"/>
                  <a:gd name="connsiteX18" fmla="*/ 2674620 w 3025140"/>
                  <a:gd name="connsiteY18" fmla="*/ 609600 h 3680460"/>
                  <a:gd name="connsiteX19" fmla="*/ 2727960 w 3025140"/>
                  <a:gd name="connsiteY19" fmla="*/ 678180 h 3680460"/>
                  <a:gd name="connsiteX20" fmla="*/ 2727960 w 3025140"/>
                  <a:gd name="connsiteY20" fmla="*/ 678180 h 3680460"/>
                  <a:gd name="connsiteX21" fmla="*/ 2766060 w 3025140"/>
                  <a:gd name="connsiteY21" fmla="*/ 754380 h 3680460"/>
                  <a:gd name="connsiteX22" fmla="*/ 2819400 w 3025140"/>
                  <a:gd name="connsiteY22" fmla="*/ 830580 h 3680460"/>
                  <a:gd name="connsiteX23" fmla="*/ 2834640 w 3025140"/>
                  <a:gd name="connsiteY23" fmla="*/ 853440 h 3680460"/>
                  <a:gd name="connsiteX24" fmla="*/ 2849880 w 3025140"/>
                  <a:gd name="connsiteY24" fmla="*/ 883920 h 3680460"/>
                  <a:gd name="connsiteX25" fmla="*/ 2880360 w 3025140"/>
                  <a:gd name="connsiteY25" fmla="*/ 922020 h 3680460"/>
                  <a:gd name="connsiteX26" fmla="*/ 2887980 w 3025140"/>
                  <a:gd name="connsiteY26" fmla="*/ 944880 h 3680460"/>
                  <a:gd name="connsiteX27" fmla="*/ 2903220 w 3025140"/>
                  <a:gd name="connsiteY27" fmla="*/ 967740 h 3680460"/>
                  <a:gd name="connsiteX28" fmla="*/ 2918460 w 3025140"/>
                  <a:gd name="connsiteY28" fmla="*/ 1036320 h 3680460"/>
                  <a:gd name="connsiteX29" fmla="*/ 2933700 w 3025140"/>
                  <a:gd name="connsiteY29" fmla="*/ 1074420 h 3680460"/>
                  <a:gd name="connsiteX30" fmla="*/ 2948940 w 3025140"/>
                  <a:gd name="connsiteY30" fmla="*/ 1120140 h 3680460"/>
                  <a:gd name="connsiteX31" fmla="*/ 2964180 w 3025140"/>
                  <a:gd name="connsiteY31" fmla="*/ 1203960 h 3680460"/>
                  <a:gd name="connsiteX32" fmla="*/ 2979420 w 3025140"/>
                  <a:gd name="connsiteY32" fmla="*/ 1264920 h 3680460"/>
                  <a:gd name="connsiteX33" fmla="*/ 2987040 w 3025140"/>
                  <a:gd name="connsiteY33" fmla="*/ 1318260 h 3680460"/>
                  <a:gd name="connsiteX34" fmla="*/ 2994660 w 3025140"/>
                  <a:gd name="connsiteY34" fmla="*/ 1348740 h 3680460"/>
                  <a:gd name="connsiteX35" fmla="*/ 3009900 w 3025140"/>
                  <a:gd name="connsiteY35" fmla="*/ 1432560 h 3680460"/>
                  <a:gd name="connsiteX36" fmla="*/ 3017520 w 3025140"/>
                  <a:gd name="connsiteY36" fmla="*/ 1684020 h 3680460"/>
                  <a:gd name="connsiteX37" fmla="*/ 3025140 w 3025140"/>
                  <a:gd name="connsiteY37" fmla="*/ 1744980 h 3680460"/>
                  <a:gd name="connsiteX38" fmla="*/ 3017520 w 3025140"/>
                  <a:gd name="connsiteY38" fmla="*/ 2095500 h 3680460"/>
                  <a:gd name="connsiteX39" fmla="*/ 3009900 w 3025140"/>
                  <a:gd name="connsiteY39" fmla="*/ 2125980 h 3680460"/>
                  <a:gd name="connsiteX40" fmla="*/ 2979420 w 3025140"/>
                  <a:gd name="connsiteY40" fmla="*/ 2194560 h 3680460"/>
                  <a:gd name="connsiteX41" fmla="*/ 2956560 w 3025140"/>
                  <a:gd name="connsiteY41" fmla="*/ 2247900 h 3680460"/>
                  <a:gd name="connsiteX42" fmla="*/ 2941320 w 3025140"/>
                  <a:gd name="connsiteY42" fmla="*/ 2324100 h 3680460"/>
                  <a:gd name="connsiteX43" fmla="*/ 2926080 w 3025140"/>
                  <a:gd name="connsiteY43" fmla="*/ 2392680 h 3680460"/>
                  <a:gd name="connsiteX44" fmla="*/ 2918460 w 3025140"/>
                  <a:gd name="connsiteY44" fmla="*/ 2415540 h 3680460"/>
                  <a:gd name="connsiteX45" fmla="*/ 2895600 w 3025140"/>
                  <a:gd name="connsiteY45" fmla="*/ 2484120 h 3680460"/>
                  <a:gd name="connsiteX46" fmla="*/ 2872740 w 3025140"/>
                  <a:gd name="connsiteY46" fmla="*/ 2583180 h 3680460"/>
                  <a:gd name="connsiteX47" fmla="*/ 2857500 w 3025140"/>
                  <a:gd name="connsiteY47" fmla="*/ 2606040 h 3680460"/>
                  <a:gd name="connsiteX48" fmla="*/ 2834640 w 3025140"/>
                  <a:gd name="connsiteY48" fmla="*/ 2689860 h 3680460"/>
                  <a:gd name="connsiteX49" fmla="*/ 2811780 w 3025140"/>
                  <a:gd name="connsiteY49" fmla="*/ 2750820 h 3680460"/>
                  <a:gd name="connsiteX50" fmla="*/ 2788920 w 3025140"/>
                  <a:gd name="connsiteY50" fmla="*/ 2781300 h 3680460"/>
                  <a:gd name="connsiteX51" fmla="*/ 2781300 w 3025140"/>
                  <a:gd name="connsiteY51" fmla="*/ 2804160 h 3680460"/>
                  <a:gd name="connsiteX52" fmla="*/ 2743200 w 3025140"/>
                  <a:gd name="connsiteY52" fmla="*/ 2865120 h 3680460"/>
                  <a:gd name="connsiteX53" fmla="*/ 2712720 w 3025140"/>
                  <a:gd name="connsiteY53" fmla="*/ 2903220 h 3680460"/>
                  <a:gd name="connsiteX54" fmla="*/ 2697480 w 3025140"/>
                  <a:gd name="connsiteY54" fmla="*/ 2933700 h 3680460"/>
                  <a:gd name="connsiteX55" fmla="*/ 2674620 w 3025140"/>
                  <a:gd name="connsiteY55" fmla="*/ 2964180 h 3680460"/>
                  <a:gd name="connsiteX56" fmla="*/ 2644140 w 3025140"/>
                  <a:gd name="connsiteY56" fmla="*/ 3009900 h 3680460"/>
                  <a:gd name="connsiteX57" fmla="*/ 2598420 w 3025140"/>
                  <a:gd name="connsiteY57" fmla="*/ 3055620 h 3680460"/>
                  <a:gd name="connsiteX58" fmla="*/ 2575560 w 3025140"/>
                  <a:gd name="connsiteY58" fmla="*/ 3078480 h 3680460"/>
                  <a:gd name="connsiteX59" fmla="*/ 2476500 w 3025140"/>
                  <a:gd name="connsiteY59" fmla="*/ 3169920 h 3680460"/>
                  <a:gd name="connsiteX60" fmla="*/ 2377440 w 3025140"/>
                  <a:gd name="connsiteY60" fmla="*/ 3223260 h 3680460"/>
                  <a:gd name="connsiteX61" fmla="*/ 2293620 w 3025140"/>
                  <a:gd name="connsiteY61" fmla="*/ 3284220 h 3680460"/>
                  <a:gd name="connsiteX62" fmla="*/ 2240280 w 3025140"/>
                  <a:gd name="connsiteY62" fmla="*/ 3314700 h 3680460"/>
                  <a:gd name="connsiteX63" fmla="*/ 2225040 w 3025140"/>
                  <a:gd name="connsiteY63" fmla="*/ 3337560 h 3680460"/>
                  <a:gd name="connsiteX64" fmla="*/ 2141220 w 3025140"/>
                  <a:gd name="connsiteY64" fmla="*/ 3390900 h 3680460"/>
                  <a:gd name="connsiteX65" fmla="*/ 2110740 w 3025140"/>
                  <a:gd name="connsiteY65" fmla="*/ 3413760 h 3680460"/>
                  <a:gd name="connsiteX66" fmla="*/ 2072640 w 3025140"/>
                  <a:gd name="connsiteY66" fmla="*/ 3451860 h 3680460"/>
                  <a:gd name="connsiteX67" fmla="*/ 2019300 w 3025140"/>
                  <a:gd name="connsiteY67" fmla="*/ 3467100 h 3680460"/>
                  <a:gd name="connsiteX68" fmla="*/ 1874520 w 3025140"/>
                  <a:gd name="connsiteY68" fmla="*/ 3512820 h 3680460"/>
                  <a:gd name="connsiteX69" fmla="*/ 1828800 w 3025140"/>
                  <a:gd name="connsiteY69" fmla="*/ 3520440 h 3680460"/>
                  <a:gd name="connsiteX70" fmla="*/ 1722120 w 3025140"/>
                  <a:gd name="connsiteY70" fmla="*/ 3550920 h 3680460"/>
                  <a:gd name="connsiteX71" fmla="*/ 1600200 w 3025140"/>
                  <a:gd name="connsiteY71" fmla="*/ 3589020 h 3680460"/>
                  <a:gd name="connsiteX72" fmla="*/ 1569720 w 3025140"/>
                  <a:gd name="connsiteY72" fmla="*/ 3596640 h 3680460"/>
                  <a:gd name="connsiteX73" fmla="*/ 1546860 w 3025140"/>
                  <a:gd name="connsiteY73" fmla="*/ 3611880 h 3680460"/>
                  <a:gd name="connsiteX74" fmla="*/ 1463040 w 3025140"/>
                  <a:gd name="connsiteY74" fmla="*/ 3627120 h 3680460"/>
                  <a:gd name="connsiteX75" fmla="*/ 1333500 w 3025140"/>
                  <a:gd name="connsiteY75" fmla="*/ 3657600 h 3680460"/>
                  <a:gd name="connsiteX76" fmla="*/ 1203960 w 3025140"/>
                  <a:gd name="connsiteY76" fmla="*/ 3672840 h 3680460"/>
                  <a:gd name="connsiteX77" fmla="*/ 1165860 w 3025140"/>
                  <a:gd name="connsiteY77" fmla="*/ 3680460 h 3680460"/>
                  <a:gd name="connsiteX78" fmla="*/ 449580 w 3025140"/>
                  <a:gd name="connsiteY78" fmla="*/ 3672840 h 3680460"/>
                  <a:gd name="connsiteX79" fmla="*/ 426720 w 3025140"/>
                  <a:gd name="connsiteY79" fmla="*/ 3665220 h 3680460"/>
                  <a:gd name="connsiteX80" fmla="*/ 388620 w 3025140"/>
                  <a:gd name="connsiteY80" fmla="*/ 3657600 h 3680460"/>
                  <a:gd name="connsiteX81" fmla="*/ 335280 w 3025140"/>
                  <a:gd name="connsiteY81" fmla="*/ 3627120 h 3680460"/>
                  <a:gd name="connsiteX82" fmla="*/ 266700 w 3025140"/>
                  <a:gd name="connsiteY82" fmla="*/ 3604260 h 3680460"/>
                  <a:gd name="connsiteX83" fmla="*/ 243840 w 3025140"/>
                  <a:gd name="connsiteY83" fmla="*/ 3589020 h 3680460"/>
                  <a:gd name="connsiteX84" fmla="*/ 160020 w 3025140"/>
                  <a:gd name="connsiteY84" fmla="*/ 3558540 h 3680460"/>
                  <a:gd name="connsiteX85" fmla="*/ 137160 w 3025140"/>
                  <a:gd name="connsiteY85" fmla="*/ 3535680 h 3680460"/>
                  <a:gd name="connsiteX86" fmla="*/ 99060 w 3025140"/>
                  <a:gd name="connsiteY86" fmla="*/ 3520440 h 3680460"/>
                  <a:gd name="connsiteX87" fmla="*/ 83820 w 3025140"/>
                  <a:gd name="connsiteY87" fmla="*/ 3489960 h 3680460"/>
                  <a:gd name="connsiteX88" fmla="*/ 45720 w 3025140"/>
                  <a:gd name="connsiteY88" fmla="*/ 3436620 h 3680460"/>
                  <a:gd name="connsiteX89" fmla="*/ 0 w 3025140"/>
                  <a:gd name="connsiteY89" fmla="*/ 3352800 h 3680460"/>
                  <a:gd name="connsiteX90" fmla="*/ 30480 w 3025140"/>
                  <a:gd name="connsiteY90" fmla="*/ 3345180 h 3680460"/>
                  <a:gd name="connsiteX91" fmla="*/ 137160 w 3025140"/>
                  <a:gd name="connsiteY91" fmla="*/ 3360420 h 3680460"/>
                  <a:gd name="connsiteX92" fmla="*/ 167640 w 3025140"/>
                  <a:gd name="connsiteY92" fmla="*/ 3390900 h 3680460"/>
                  <a:gd name="connsiteX93" fmla="*/ 198120 w 3025140"/>
                  <a:gd name="connsiteY93" fmla="*/ 3406140 h 3680460"/>
                  <a:gd name="connsiteX94" fmla="*/ 350520 w 3025140"/>
                  <a:gd name="connsiteY94" fmla="*/ 3436620 h 3680460"/>
                  <a:gd name="connsiteX95" fmla="*/ 381000 w 3025140"/>
                  <a:gd name="connsiteY95" fmla="*/ 3451860 h 3680460"/>
                  <a:gd name="connsiteX96" fmla="*/ 449580 w 3025140"/>
                  <a:gd name="connsiteY96" fmla="*/ 3489960 h 3680460"/>
                  <a:gd name="connsiteX97" fmla="*/ 495300 w 3025140"/>
                  <a:gd name="connsiteY97" fmla="*/ 3520440 h 3680460"/>
                  <a:gd name="connsiteX98" fmla="*/ 525780 w 3025140"/>
                  <a:gd name="connsiteY98" fmla="*/ 3535680 h 3680460"/>
                  <a:gd name="connsiteX99" fmla="*/ 731520 w 3025140"/>
                  <a:gd name="connsiteY99" fmla="*/ 3558540 h 3680460"/>
                  <a:gd name="connsiteX100" fmla="*/ 1341120 w 3025140"/>
                  <a:gd name="connsiteY100" fmla="*/ 3550920 h 3680460"/>
                  <a:gd name="connsiteX101" fmla="*/ 1440180 w 3025140"/>
                  <a:gd name="connsiteY101" fmla="*/ 3528060 h 3680460"/>
                  <a:gd name="connsiteX102" fmla="*/ 1539240 w 3025140"/>
                  <a:gd name="connsiteY102" fmla="*/ 3520440 h 3680460"/>
                  <a:gd name="connsiteX103" fmla="*/ 1562100 w 3025140"/>
                  <a:gd name="connsiteY103" fmla="*/ 3512820 h 3680460"/>
                  <a:gd name="connsiteX104" fmla="*/ 1630680 w 3025140"/>
                  <a:gd name="connsiteY104" fmla="*/ 3497580 h 3680460"/>
                  <a:gd name="connsiteX105" fmla="*/ 1699260 w 3025140"/>
                  <a:gd name="connsiteY105" fmla="*/ 3474720 h 3680460"/>
                  <a:gd name="connsiteX106" fmla="*/ 1790700 w 3025140"/>
                  <a:gd name="connsiteY106" fmla="*/ 3451860 h 3680460"/>
                  <a:gd name="connsiteX107" fmla="*/ 1821180 w 3025140"/>
                  <a:gd name="connsiteY107" fmla="*/ 3444240 h 3680460"/>
                  <a:gd name="connsiteX108" fmla="*/ 1844040 w 3025140"/>
                  <a:gd name="connsiteY108" fmla="*/ 3429000 h 3680460"/>
                  <a:gd name="connsiteX109" fmla="*/ 1874520 w 3025140"/>
                  <a:gd name="connsiteY109" fmla="*/ 3421380 h 3680460"/>
                  <a:gd name="connsiteX110" fmla="*/ 1927860 w 3025140"/>
                  <a:gd name="connsiteY110" fmla="*/ 3398520 h 3680460"/>
                  <a:gd name="connsiteX111" fmla="*/ 1950720 w 3025140"/>
                  <a:gd name="connsiteY111" fmla="*/ 3390900 h 3680460"/>
                  <a:gd name="connsiteX112" fmla="*/ 2004060 w 3025140"/>
                  <a:gd name="connsiteY112" fmla="*/ 3360420 h 3680460"/>
                  <a:gd name="connsiteX113" fmla="*/ 2042160 w 3025140"/>
                  <a:gd name="connsiteY113" fmla="*/ 3352800 h 3680460"/>
                  <a:gd name="connsiteX114" fmla="*/ 2080260 w 3025140"/>
                  <a:gd name="connsiteY114" fmla="*/ 3337560 h 3680460"/>
                  <a:gd name="connsiteX115" fmla="*/ 2156460 w 3025140"/>
                  <a:gd name="connsiteY115" fmla="*/ 3299460 h 3680460"/>
                  <a:gd name="connsiteX116" fmla="*/ 2179320 w 3025140"/>
                  <a:gd name="connsiteY116" fmla="*/ 3284220 h 3680460"/>
                  <a:gd name="connsiteX117" fmla="*/ 2209800 w 3025140"/>
                  <a:gd name="connsiteY117" fmla="*/ 3276600 h 3680460"/>
                  <a:gd name="connsiteX118" fmla="*/ 2263140 w 3025140"/>
                  <a:gd name="connsiteY118" fmla="*/ 3230880 h 3680460"/>
                  <a:gd name="connsiteX119" fmla="*/ 2346960 w 3025140"/>
                  <a:gd name="connsiteY119" fmla="*/ 3154680 h 3680460"/>
                  <a:gd name="connsiteX120" fmla="*/ 2400300 w 3025140"/>
                  <a:gd name="connsiteY120" fmla="*/ 3070860 h 3680460"/>
                  <a:gd name="connsiteX121" fmla="*/ 2415540 w 3025140"/>
                  <a:gd name="connsiteY121" fmla="*/ 3048000 h 3680460"/>
                  <a:gd name="connsiteX122" fmla="*/ 2446020 w 3025140"/>
                  <a:gd name="connsiteY122" fmla="*/ 3032760 h 3680460"/>
                  <a:gd name="connsiteX123" fmla="*/ 2468880 w 3025140"/>
                  <a:gd name="connsiteY123" fmla="*/ 3009900 h 3680460"/>
                  <a:gd name="connsiteX124" fmla="*/ 2537460 w 3025140"/>
                  <a:gd name="connsiteY124" fmla="*/ 2926080 h 3680460"/>
                  <a:gd name="connsiteX125" fmla="*/ 2575560 w 3025140"/>
                  <a:gd name="connsiteY125" fmla="*/ 2880360 h 3680460"/>
                  <a:gd name="connsiteX126" fmla="*/ 2628900 w 3025140"/>
                  <a:gd name="connsiteY126" fmla="*/ 2811780 h 3680460"/>
                  <a:gd name="connsiteX127" fmla="*/ 2644140 w 3025140"/>
                  <a:gd name="connsiteY127" fmla="*/ 2773680 h 3680460"/>
                  <a:gd name="connsiteX128" fmla="*/ 2674620 w 3025140"/>
                  <a:gd name="connsiteY128" fmla="*/ 2727960 h 3680460"/>
                  <a:gd name="connsiteX129" fmla="*/ 2689860 w 3025140"/>
                  <a:gd name="connsiteY129" fmla="*/ 2705100 h 3680460"/>
                  <a:gd name="connsiteX130" fmla="*/ 2705100 w 3025140"/>
                  <a:gd name="connsiteY130" fmla="*/ 2667000 h 3680460"/>
                  <a:gd name="connsiteX131" fmla="*/ 2727960 w 3025140"/>
                  <a:gd name="connsiteY131" fmla="*/ 2621280 h 3680460"/>
                  <a:gd name="connsiteX132" fmla="*/ 2735580 w 3025140"/>
                  <a:gd name="connsiteY132" fmla="*/ 2590800 h 3680460"/>
                  <a:gd name="connsiteX133" fmla="*/ 2758440 w 3025140"/>
                  <a:gd name="connsiteY133" fmla="*/ 2545080 h 3680460"/>
                  <a:gd name="connsiteX134" fmla="*/ 2788920 w 3025140"/>
                  <a:gd name="connsiteY134" fmla="*/ 2484120 h 3680460"/>
                  <a:gd name="connsiteX135" fmla="*/ 2811780 w 3025140"/>
                  <a:gd name="connsiteY135" fmla="*/ 2407920 h 3680460"/>
                  <a:gd name="connsiteX136" fmla="*/ 2842260 w 3025140"/>
                  <a:gd name="connsiteY136" fmla="*/ 2324100 h 3680460"/>
                  <a:gd name="connsiteX137" fmla="*/ 2857500 w 3025140"/>
                  <a:gd name="connsiteY137" fmla="*/ 2247900 h 3680460"/>
                  <a:gd name="connsiteX138" fmla="*/ 2872740 w 3025140"/>
                  <a:gd name="connsiteY138" fmla="*/ 2194560 h 3680460"/>
                  <a:gd name="connsiteX139" fmla="*/ 2887980 w 3025140"/>
                  <a:gd name="connsiteY139" fmla="*/ 2148840 h 3680460"/>
                  <a:gd name="connsiteX140" fmla="*/ 2910840 w 3025140"/>
                  <a:gd name="connsiteY140" fmla="*/ 2087880 h 3680460"/>
                  <a:gd name="connsiteX141" fmla="*/ 2918460 w 3025140"/>
                  <a:gd name="connsiteY141" fmla="*/ 2049780 h 3680460"/>
                  <a:gd name="connsiteX142" fmla="*/ 2933700 w 3025140"/>
                  <a:gd name="connsiteY142" fmla="*/ 1844040 h 3680460"/>
                  <a:gd name="connsiteX143" fmla="*/ 2918460 w 3025140"/>
                  <a:gd name="connsiteY143" fmla="*/ 1470660 h 3680460"/>
                  <a:gd name="connsiteX144" fmla="*/ 2895600 w 3025140"/>
                  <a:gd name="connsiteY144" fmla="*/ 1371600 h 3680460"/>
                  <a:gd name="connsiteX145" fmla="*/ 2880360 w 3025140"/>
                  <a:gd name="connsiteY145" fmla="*/ 1341120 h 3680460"/>
                  <a:gd name="connsiteX146" fmla="*/ 2857500 w 3025140"/>
                  <a:gd name="connsiteY146" fmla="*/ 1272540 h 3680460"/>
                  <a:gd name="connsiteX147" fmla="*/ 2849880 w 3025140"/>
                  <a:gd name="connsiteY147" fmla="*/ 1234440 h 3680460"/>
                  <a:gd name="connsiteX148" fmla="*/ 2827020 w 3025140"/>
                  <a:gd name="connsiteY148" fmla="*/ 1196340 h 3680460"/>
                  <a:gd name="connsiteX149" fmla="*/ 2811780 w 3025140"/>
                  <a:gd name="connsiteY149" fmla="*/ 1165860 h 3680460"/>
                  <a:gd name="connsiteX150" fmla="*/ 2781300 w 3025140"/>
                  <a:gd name="connsiteY150" fmla="*/ 1127760 h 3680460"/>
                  <a:gd name="connsiteX151" fmla="*/ 2766060 w 3025140"/>
                  <a:gd name="connsiteY151" fmla="*/ 1089660 h 3680460"/>
                  <a:gd name="connsiteX152" fmla="*/ 2735580 w 3025140"/>
                  <a:gd name="connsiteY152" fmla="*/ 1043940 h 3680460"/>
                  <a:gd name="connsiteX153" fmla="*/ 2727960 w 3025140"/>
                  <a:gd name="connsiteY153" fmla="*/ 1021080 h 3680460"/>
                  <a:gd name="connsiteX154" fmla="*/ 2682240 w 3025140"/>
                  <a:gd name="connsiteY154" fmla="*/ 937260 h 3680460"/>
                  <a:gd name="connsiteX155" fmla="*/ 2659380 w 3025140"/>
                  <a:gd name="connsiteY155" fmla="*/ 876300 h 3680460"/>
                  <a:gd name="connsiteX156" fmla="*/ 2644140 w 3025140"/>
                  <a:gd name="connsiteY156" fmla="*/ 845820 h 3680460"/>
                  <a:gd name="connsiteX157" fmla="*/ 2636520 w 3025140"/>
                  <a:gd name="connsiteY157" fmla="*/ 822960 h 3680460"/>
                  <a:gd name="connsiteX158" fmla="*/ 2621280 w 3025140"/>
                  <a:gd name="connsiteY158" fmla="*/ 800100 h 3680460"/>
                  <a:gd name="connsiteX159" fmla="*/ 2598420 w 3025140"/>
                  <a:gd name="connsiteY159" fmla="*/ 739140 h 3680460"/>
                  <a:gd name="connsiteX160" fmla="*/ 2458403 w 3025140"/>
                  <a:gd name="connsiteY160" fmla="*/ 621983 h 3680460"/>
                  <a:gd name="connsiteX161" fmla="*/ 2301240 w 3025140"/>
                  <a:gd name="connsiteY161" fmla="*/ 458152 h 3680460"/>
                  <a:gd name="connsiteX162" fmla="*/ 2237423 w 3025140"/>
                  <a:gd name="connsiteY162" fmla="*/ 406717 h 3680460"/>
                  <a:gd name="connsiteX163" fmla="*/ 2103120 w 3025140"/>
                  <a:gd name="connsiteY163" fmla="*/ 312420 h 3680460"/>
                  <a:gd name="connsiteX164" fmla="*/ 2042160 w 3025140"/>
                  <a:gd name="connsiteY164" fmla="*/ 266700 h 3680460"/>
                  <a:gd name="connsiteX165" fmla="*/ 2004060 w 3025140"/>
                  <a:gd name="connsiteY165" fmla="*/ 251460 h 3680460"/>
                  <a:gd name="connsiteX166" fmla="*/ 1958340 w 3025140"/>
                  <a:gd name="connsiteY166" fmla="*/ 220980 h 3680460"/>
                  <a:gd name="connsiteX167" fmla="*/ 1897380 w 3025140"/>
                  <a:gd name="connsiteY167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34640 w 3025140"/>
                  <a:gd name="connsiteY22" fmla="*/ 853440 h 3680460"/>
                  <a:gd name="connsiteX23" fmla="*/ 2849880 w 3025140"/>
                  <a:gd name="connsiteY23" fmla="*/ 883920 h 3680460"/>
                  <a:gd name="connsiteX24" fmla="*/ 2880360 w 3025140"/>
                  <a:gd name="connsiteY24" fmla="*/ 922020 h 3680460"/>
                  <a:gd name="connsiteX25" fmla="*/ 2887980 w 3025140"/>
                  <a:gd name="connsiteY25" fmla="*/ 944880 h 3680460"/>
                  <a:gd name="connsiteX26" fmla="*/ 2903220 w 3025140"/>
                  <a:gd name="connsiteY26" fmla="*/ 967740 h 3680460"/>
                  <a:gd name="connsiteX27" fmla="*/ 2918460 w 3025140"/>
                  <a:gd name="connsiteY27" fmla="*/ 1036320 h 3680460"/>
                  <a:gd name="connsiteX28" fmla="*/ 2933700 w 3025140"/>
                  <a:gd name="connsiteY28" fmla="*/ 1074420 h 3680460"/>
                  <a:gd name="connsiteX29" fmla="*/ 2948940 w 3025140"/>
                  <a:gd name="connsiteY29" fmla="*/ 1120140 h 3680460"/>
                  <a:gd name="connsiteX30" fmla="*/ 2964180 w 3025140"/>
                  <a:gd name="connsiteY30" fmla="*/ 1203960 h 3680460"/>
                  <a:gd name="connsiteX31" fmla="*/ 2979420 w 3025140"/>
                  <a:gd name="connsiteY31" fmla="*/ 1264920 h 3680460"/>
                  <a:gd name="connsiteX32" fmla="*/ 2987040 w 3025140"/>
                  <a:gd name="connsiteY32" fmla="*/ 1318260 h 3680460"/>
                  <a:gd name="connsiteX33" fmla="*/ 2994660 w 3025140"/>
                  <a:gd name="connsiteY33" fmla="*/ 1348740 h 3680460"/>
                  <a:gd name="connsiteX34" fmla="*/ 3009900 w 3025140"/>
                  <a:gd name="connsiteY34" fmla="*/ 1432560 h 3680460"/>
                  <a:gd name="connsiteX35" fmla="*/ 3017520 w 3025140"/>
                  <a:gd name="connsiteY35" fmla="*/ 1684020 h 3680460"/>
                  <a:gd name="connsiteX36" fmla="*/ 3025140 w 3025140"/>
                  <a:gd name="connsiteY36" fmla="*/ 1744980 h 3680460"/>
                  <a:gd name="connsiteX37" fmla="*/ 3017520 w 3025140"/>
                  <a:gd name="connsiteY37" fmla="*/ 2095500 h 3680460"/>
                  <a:gd name="connsiteX38" fmla="*/ 3009900 w 3025140"/>
                  <a:gd name="connsiteY38" fmla="*/ 2125980 h 3680460"/>
                  <a:gd name="connsiteX39" fmla="*/ 2979420 w 3025140"/>
                  <a:gd name="connsiteY39" fmla="*/ 2194560 h 3680460"/>
                  <a:gd name="connsiteX40" fmla="*/ 2956560 w 3025140"/>
                  <a:gd name="connsiteY40" fmla="*/ 2247900 h 3680460"/>
                  <a:gd name="connsiteX41" fmla="*/ 2941320 w 3025140"/>
                  <a:gd name="connsiteY41" fmla="*/ 2324100 h 3680460"/>
                  <a:gd name="connsiteX42" fmla="*/ 2926080 w 3025140"/>
                  <a:gd name="connsiteY42" fmla="*/ 2392680 h 3680460"/>
                  <a:gd name="connsiteX43" fmla="*/ 2918460 w 3025140"/>
                  <a:gd name="connsiteY43" fmla="*/ 2415540 h 3680460"/>
                  <a:gd name="connsiteX44" fmla="*/ 2895600 w 3025140"/>
                  <a:gd name="connsiteY44" fmla="*/ 2484120 h 3680460"/>
                  <a:gd name="connsiteX45" fmla="*/ 2872740 w 3025140"/>
                  <a:gd name="connsiteY45" fmla="*/ 2583180 h 3680460"/>
                  <a:gd name="connsiteX46" fmla="*/ 2857500 w 3025140"/>
                  <a:gd name="connsiteY46" fmla="*/ 2606040 h 3680460"/>
                  <a:gd name="connsiteX47" fmla="*/ 2834640 w 3025140"/>
                  <a:gd name="connsiteY47" fmla="*/ 2689860 h 3680460"/>
                  <a:gd name="connsiteX48" fmla="*/ 2811780 w 3025140"/>
                  <a:gd name="connsiteY48" fmla="*/ 2750820 h 3680460"/>
                  <a:gd name="connsiteX49" fmla="*/ 2788920 w 3025140"/>
                  <a:gd name="connsiteY49" fmla="*/ 2781300 h 3680460"/>
                  <a:gd name="connsiteX50" fmla="*/ 2781300 w 3025140"/>
                  <a:gd name="connsiteY50" fmla="*/ 2804160 h 3680460"/>
                  <a:gd name="connsiteX51" fmla="*/ 2743200 w 3025140"/>
                  <a:gd name="connsiteY51" fmla="*/ 2865120 h 3680460"/>
                  <a:gd name="connsiteX52" fmla="*/ 2712720 w 3025140"/>
                  <a:gd name="connsiteY52" fmla="*/ 2903220 h 3680460"/>
                  <a:gd name="connsiteX53" fmla="*/ 2697480 w 3025140"/>
                  <a:gd name="connsiteY53" fmla="*/ 2933700 h 3680460"/>
                  <a:gd name="connsiteX54" fmla="*/ 2674620 w 3025140"/>
                  <a:gd name="connsiteY54" fmla="*/ 2964180 h 3680460"/>
                  <a:gd name="connsiteX55" fmla="*/ 2644140 w 3025140"/>
                  <a:gd name="connsiteY55" fmla="*/ 3009900 h 3680460"/>
                  <a:gd name="connsiteX56" fmla="*/ 2598420 w 3025140"/>
                  <a:gd name="connsiteY56" fmla="*/ 3055620 h 3680460"/>
                  <a:gd name="connsiteX57" fmla="*/ 2575560 w 3025140"/>
                  <a:gd name="connsiteY57" fmla="*/ 3078480 h 3680460"/>
                  <a:gd name="connsiteX58" fmla="*/ 2476500 w 3025140"/>
                  <a:gd name="connsiteY58" fmla="*/ 3169920 h 3680460"/>
                  <a:gd name="connsiteX59" fmla="*/ 2377440 w 3025140"/>
                  <a:gd name="connsiteY59" fmla="*/ 3223260 h 3680460"/>
                  <a:gd name="connsiteX60" fmla="*/ 2293620 w 3025140"/>
                  <a:gd name="connsiteY60" fmla="*/ 3284220 h 3680460"/>
                  <a:gd name="connsiteX61" fmla="*/ 2240280 w 3025140"/>
                  <a:gd name="connsiteY61" fmla="*/ 3314700 h 3680460"/>
                  <a:gd name="connsiteX62" fmla="*/ 2225040 w 3025140"/>
                  <a:gd name="connsiteY62" fmla="*/ 3337560 h 3680460"/>
                  <a:gd name="connsiteX63" fmla="*/ 2141220 w 3025140"/>
                  <a:gd name="connsiteY63" fmla="*/ 3390900 h 3680460"/>
                  <a:gd name="connsiteX64" fmla="*/ 2110740 w 3025140"/>
                  <a:gd name="connsiteY64" fmla="*/ 3413760 h 3680460"/>
                  <a:gd name="connsiteX65" fmla="*/ 2072640 w 3025140"/>
                  <a:gd name="connsiteY65" fmla="*/ 3451860 h 3680460"/>
                  <a:gd name="connsiteX66" fmla="*/ 2019300 w 3025140"/>
                  <a:gd name="connsiteY66" fmla="*/ 3467100 h 3680460"/>
                  <a:gd name="connsiteX67" fmla="*/ 1874520 w 3025140"/>
                  <a:gd name="connsiteY67" fmla="*/ 3512820 h 3680460"/>
                  <a:gd name="connsiteX68" fmla="*/ 1828800 w 3025140"/>
                  <a:gd name="connsiteY68" fmla="*/ 3520440 h 3680460"/>
                  <a:gd name="connsiteX69" fmla="*/ 1722120 w 3025140"/>
                  <a:gd name="connsiteY69" fmla="*/ 3550920 h 3680460"/>
                  <a:gd name="connsiteX70" fmla="*/ 1600200 w 3025140"/>
                  <a:gd name="connsiteY70" fmla="*/ 3589020 h 3680460"/>
                  <a:gd name="connsiteX71" fmla="*/ 1569720 w 3025140"/>
                  <a:gd name="connsiteY71" fmla="*/ 3596640 h 3680460"/>
                  <a:gd name="connsiteX72" fmla="*/ 1546860 w 3025140"/>
                  <a:gd name="connsiteY72" fmla="*/ 3611880 h 3680460"/>
                  <a:gd name="connsiteX73" fmla="*/ 1463040 w 3025140"/>
                  <a:gd name="connsiteY73" fmla="*/ 3627120 h 3680460"/>
                  <a:gd name="connsiteX74" fmla="*/ 1333500 w 3025140"/>
                  <a:gd name="connsiteY74" fmla="*/ 3657600 h 3680460"/>
                  <a:gd name="connsiteX75" fmla="*/ 1203960 w 3025140"/>
                  <a:gd name="connsiteY75" fmla="*/ 3672840 h 3680460"/>
                  <a:gd name="connsiteX76" fmla="*/ 1165860 w 3025140"/>
                  <a:gd name="connsiteY76" fmla="*/ 3680460 h 3680460"/>
                  <a:gd name="connsiteX77" fmla="*/ 449580 w 3025140"/>
                  <a:gd name="connsiteY77" fmla="*/ 3672840 h 3680460"/>
                  <a:gd name="connsiteX78" fmla="*/ 426720 w 3025140"/>
                  <a:gd name="connsiteY78" fmla="*/ 3665220 h 3680460"/>
                  <a:gd name="connsiteX79" fmla="*/ 388620 w 3025140"/>
                  <a:gd name="connsiteY79" fmla="*/ 3657600 h 3680460"/>
                  <a:gd name="connsiteX80" fmla="*/ 335280 w 3025140"/>
                  <a:gd name="connsiteY80" fmla="*/ 3627120 h 3680460"/>
                  <a:gd name="connsiteX81" fmla="*/ 266700 w 3025140"/>
                  <a:gd name="connsiteY81" fmla="*/ 3604260 h 3680460"/>
                  <a:gd name="connsiteX82" fmla="*/ 243840 w 3025140"/>
                  <a:gd name="connsiteY82" fmla="*/ 3589020 h 3680460"/>
                  <a:gd name="connsiteX83" fmla="*/ 160020 w 3025140"/>
                  <a:gd name="connsiteY83" fmla="*/ 3558540 h 3680460"/>
                  <a:gd name="connsiteX84" fmla="*/ 137160 w 3025140"/>
                  <a:gd name="connsiteY84" fmla="*/ 3535680 h 3680460"/>
                  <a:gd name="connsiteX85" fmla="*/ 99060 w 3025140"/>
                  <a:gd name="connsiteY85" fmla="*/ 3520440 h 3680460"/>
                  <a:gd name="connsiteX86" fmla="*/ 83820 w 3025140"/>
                  <a:gd name="connsiteY86" fmla="*/ 3489960 h 3680460"/>
                  <a:gd name="connsiteX87" fmla="*/ 45720 w 3025140"/>
                  <a:gd name="connsiteY87" fmla="*/ 3436620 h 3680460"/>
                  <a:gd name="connsiteX88" fmla="*/ 0 w 3025140"/>
                  <a:gd name="connsiteY88" fmla="*/ 3352800 h 3680460"/>
                  <a:gd name="connsiteX89" fmla="*/ 30480 w 3025140"/>
                  <a:gd name="connsiteY89" fmla="*/ 3345180 h 3680460"/>
                  <a:gd name="connsiteX90" fmla="*/ 137160 w 3025140"/>
                  <a:gd name="connsiteY90" fmla="*/ 3360420 h 3680460"/>
                  <a:gd name="connsiteX91" fmla="*/ 167640 w 3025140"/>
                  <a:gd name="connsiteY91" fmla="*/ 3390900 h 3680460"/>
                  <a:gd name="connsiteX92" fmla="*/ 198120 w 3025140"/>
                  <a:gd name="connsiteY92" fmla="*/ 3406140 h 3680460"/>
                  <a:gd name="connsiteX93" fmla="*/ 350520 w 3025140"/>
                  <a:gd name="connsiteY93" fmla="*/ 3436620 h 3680460"/>
                  <a:gd name="connsiteX94" fmla="*/ 381000 w 3025140"/>
                  <a:gd name="connsiteY94" fmla="*/ 3451860 h 3680460"/>
                  <a:gd name="connsiteX95" fmla="*/ 449580 w 3025140"/>
                  <a:gd name="connsiteY95" fmla="*/ 3489960 h 3680460"/>
                  <a:gd name="connsiteX96" fmla="*/ 495300 w 3025140"/>
                  <a:gd name="connsiteY96" fmla="*/ 3520440 h 3680460"/>
                  <a:gd name="connsiteX97" fmla="*/ 525780 w 3025140"/>
                  <a:gd name="connsiteY97" fmla="*/ 3535680 h 3680460"/>
                  <a:gd name="connsiteX98" fmla="*/ 731520 w 3025140"/>
                  <a:gd name="connsiteY98" fmla="*/ 3558540 h 3680460"/>
                  <a:gd name="connsiteX99" fmla="*/ 1341120 w 3025140"/>
                  <a:gd name="connsiteY99" fmla="*/ 3550920 h 3680460"/>
                  <a:gd name="connsiteX100" fmla="*/ 1440180 w 3025140"/>
                  <a:gd name="connsiteY100" fmla="*/ 3528060 h 3680460"/>
                  <a:gd name="connsiteX101" fmla="*/ 1539240 w 3025140"/>
                  <a:gd name="connsiteY101" fmla="*/ 3520440 h 3680460"/>
                  <a:gd name="connsiteX102" fmla="*/ 1562100 w 3025140"/>
                  <a:gd name="connsiteY102" fmla="*/ 3512820 h 3680460"/>
                  <a:gd name="connsiteX103" fmla="*/ 1630680 w 3025140"/>
                  <a:gd name="connsiteY103" fmla="*/ 3497580 h 3680460"/>
                  <a:gd name="connsiteX104" fmla="*/ 1699260 w 3025140"/>
                  <a:gd name="connsiteY104" fmla="*/ 3474720 h 3680460"/>
                  <a:gd name="connsiteX105" fmla="*/ 1790700 w 3025140"/>
                  <a:gd name="connsiteY105" fmla="*/ 3451860 h 3680460"/>
                  <a:gd name="connsiteX106" fmla="*/ 1821180 w 3025140"/>
                  <a:gd name="connsiteY106" fmla="*/ 3444240 h 3680460"/>
                  <a:gd name="connsiteX107" fmla="*/ 1844040 w 3025140"/>
                  <a:gd name="connsiteY107" fmla="*/ 3429000 h 3680460"/>
                  <a:gd name="connsiteX108" fmla="*/ 1874520 w 3025140"/>
                  <a:gd name="connsiteY108" fmla="*/ 3421380 h 3680460"/>
                  <a:gd name="connsiteX109" fmla="*/ 1927860 w 3025140"/>
                  <a:gd name="connsiteY109" fmla="*/ 3398520 h 3680460"/>
                  <a:gd name="connsiteX110" fmla="*/ 1950720 w 3025140"/>
                  <a:gd name="connsiteY110" fmla="*/ 3390900 h 3680460"/>
                  <a:gd name="connsiteX111" fmla="*/ 2004060 w 3025140"/>
                  <a:gd name="connsiteY111" fmla="*/ 3360420 h 3680460"/>
                  <a:gd name="connsiteX112" fmla="*/ 2042160 w 3025140"/>
                  <a:gd name="connsiteY112" fmla="*/ 3352800 h 3680460"/>
                  <a:gd name="connsiteX113" fmla="*/ 2080260 w 3025140"/>
                  <a:gd name="connsiteY113" fmla="*/ 3337560 h 3680460"/>
                  <a:gd name="connsiteX114" fmla="*/ 2156460 w 3025140"/>
                  <a:gd name="connsiteY114" fmla="*/ 3299460 h 3680460"/>
                  <a:gd name="connsiteX115" fmla="*/ 2179320 w 3025140"/>
                  <a:gd name="connsiteY115" fmla="*/ 3284220 h 3680460"/>
                  <a:gd name="connsiteX116" fmla="*/ 2209800 w 3025140"/>
                  <a:gd name="connsiteY116" fmla="*/ 3276600 h 3680460"/>
                  <a:gd name="connsiteX117" fmla="*/ 2263140 w 3025140"/>
                  <a:gd name="connsiteY117" fmla="*/ 3230880 h 3680460"/>
                  <a:gd name="connsiteX118" fmla="*/ 2346960 w 3025140"/>
                  <a:gd name="connsiteY118" fmla="*/ 3154680 h 3680460"/>
                  <a:gd name="connsiteX119" fmla="*/ 2400300 w 3025140"/>
                  <a:gd name="connsiteY119" fmla="*/ 3070860 h 3680460"/>
                  <a:gd name="connsiteX120" fmla="*/ 2415540 w 3025140"/>
                  <a:gd name="connsiteY120" fmla="*/ 3048000 h 3680460"/>
                  <a:gd name="connsiteX121" fmla="*/ 2446020 w 3025140"/>
                  <a:gd name="connsiteY121" fmla="*/ 3032760 h 3680460"/>
                  <a:gd name="connsiteX122" fmla="*/ 2468880 w 3025140"/>
                  <a:gd name="connsiteY122" fmla="*/ 3009900 h 3680460"/>
                  <a:gd name="connsiteX123" fmla="*/ 2537460 w 3025140"/>
                  <a:gd name="connsiteY123" fmla="*/ 2926080 h 3680460"/>
                  <a:gd name="connsiteX124" fmla="*/ 2575560 w 3025140"/>
                  <a:gd name="connsiteY124" fmla="*/ 2880360 h 3680460"/>
                  <a:gd name="connsiteX125" fmla="*/ 2628900 w 3025140"/>
                  <a:gd name="connsiteY125" fmla="*/ 2811780 h 3680460"/>
                  <a:gd name="connsiteX126" fmla="*/ 2644140 w 3025140"/>
                  <a:gd name="connsiteY126" fmla="*/ 2773680 h 3680460"/>
                  <a:gd name="connsiteX127" fmla="*/ 2674620 w 3025140"/>
                  <a:gd name="connsiteY127" fmla="*/ 2727960 h 3680460"/>
                  <a:gd name="connsiteX128" fmla="*/ 2689860 w 3025140"/>
                  <a:gd name="connsiteY128" fmla="*/ 2705100 h 3680460"/>
                  <a:gd name="connsiteX129" fmla="*/ 2705100 w 3025140"/>
                  <a:gd name="connsiteY129" fmla="*/ 2667000 h 3680460"/>
                  <a:gd name="connsiteX130" fmla="*/ 2727960 w 3025140"/>
                  <a:gd name="connsiteY130" fmla="*/ 2621280 h 3680460"/>
                  <a:gd name="connsiteX131" fmla="*/ 2735580 w 3025140"/>
                  <a:gd name="connsiteY131" fmla="*/ 2590800 h 3680460"/>
                  <a:gd name="connsiteX132" fmla="*/ 2758440 w 3025140"/>
                  <a:gd name="connsiteY132" fmla="*/ 2545080 h 3680460"/>
                  <a:gd name="connsiteX133" fmla="*/ 2788920 w 3025140"/>
                  <a:gd name="connsiteY133" fmla="*/ 2484120 h 3680460"/>
                  <a:gd name="connsiteX134" fmla="*/ 2811780 w 3025140"/>
                  <a:gd name="connsiteY134" fmla="*/ 2407920 h 3680460"/>
                  <a:gd name="connsiteX135" fmla="*/ 2842260 w 3025140"/>
                  <a:gd name="connsiteY135" fmla="*/ 2324100 h 3680460"/>
                  <a:gd name="connsiteX136" fmla="*/ 2857500 w 3025140"/>
                  <a:gd name="connsiteY136" fmla="*/ 2247900 h 3680460"/>
                  <a:gd name="connsiteX137" fmla="*/ 2872740 w 3025140"/>
                  <a:gd name="connsiteY137" fmla="*/ 2194560 h 3680460"/>
                  <a:gd name="connsiteX138" fmla="*/ 2887980 w 3025140"/>
                  <a:gd name="connsiteY138" fmla="*/ 2148840 h 3680460"/>
                  <a:gd name="connsiteX139" fmla="*/ 2910840 w 3025140"/>
                  <a:gd name="connsiteY139" fmla="*/ 2087880 h 3680460"/>
                  <a:gd name="connsiteX140" fmla="*/ 2918460 w 3025140"/>
                  <a:gd name="connsiteY140" fmla="*/ 2049780 h 3680460"/>
                  <a:gd name="connsiteX141" fmla="*/ 2933700 w 3025140"/>
                  <a:gd name="connsiteY141" fmla="*/ 1844040 h 3680460"/>
                  <a:gd name="connsiteX142" fmla="*/ 2918460 w 3025140"/>
                  <a:gd name="connsiteY142" fmla="*/ 1470660 h 3680460"/>
                  <a:gd name="connsiteX143" fmla="*/ 2895600 w 3025140"/>
                  <a:gd name="connsiteY143" fmla="*/ 1371600 h 3680460"/>
                  <a:gd name="connsiteX144" fmla="*/ 2880360 w 3025140"/>
                  <a:gd name="connsiteY144" fmla="*/ 1341120 h 3680460"/>
                  <a:gd name="connsiteX145" fmla="*/ 2857500 w 3025140"/>
                  <a:gd name="connsiteY145" fmla="*/ 1272540 h 3680460"/>
                  <a:gd name="connsiteX146" fmla="*/ 2849880 w 3025140"/>
                  <a:gd name="connsiteY146" fmla="*/ 1234440 h 3680460"/>
                  <a:gd name="connsiteX147" fmla="*/ 2827020 w 3025140"/>
                  <a:gd name="connsiteY147" fmla="*/ 1196340 h 3680460"/>
                  <a:gd name="connsiteX148" fmla="*/ 2811780 w 3025140"/>
                  <a:gd name="connsiteY148" fmla="*/ 1165860 h 3680460"/>
                  <a:gd name="connsiteX149" fmla="*/ 2781300 w 3025140"/>
                  <a:gd name="connsiteY149" fmla="*/ 1127760 h 3680460"/>
                  <a:gd name="connsiteX150" fmla="*/ 2766060 w 3025140"/>
                  <a:gd name="connsiteY150" fmla="*/ 1089660 h 3680460"/>
                  <a:gd name="connsiteX151" fmla="*/ 2735580 w 3025140"/>
                  <a:gd name="connsiteY151" fmla="*/ 1043940 h 3680460"/>
                  <a:gd name="connsiteX152" fmla="*/ 2727960 w 3025140"/>
                  <a:gd name="connsiteY152" fmla="*/ 1021080 h 3680460"/>
                  <a:gd name="connsiteX153" fmla="*/ 2682240 w 3025140"/>
                  <a:gd name="connsiteY153" fmla="*/ 937260 h 3680460"/>
                  <a:gd name="connsiteX154" fmla="*/ 2659380 w 3025140"/>
                  <a:gd name="connsiteY154" fmla="*/ 876300 h 3680460"/>
                  <a:gd name="connsiteX155" fmla="*/ 2644140 w 3025140"/>
                  <a:gd name="connsiteY155" fmla="*/ 845820 h 3680460"/>
                  <a:gd name="connsiteX156" fmla="*/ 2636520 w 3025140"/>
                  <a:gd name="connsiteY156" fmla="*/ 822960 h 3680460"/>
                  <a:gd name="connsiteX157" fmla="*/ 2621280 w 3025140"/>
                  <a:gd name="connsiteY157" fmla="*/ 800100 h 3680460"/>
                  <a:gd name="connsiteX158" fmla="*/ 2598420 w 3025140"/>
                  <a:gd name="connsiteY158" fmla="*/ 739140 h 3680460"/>
                  <a:gd name="connsiteX159" fmla="*/ 2458403 w 3025140"/>
                  <a:gd name="connsiteY159" fmla="*/ 621983 h 3680460"/>
                  <a:gd name="connsiteX160" fmla="*/ 2301240 w 3025140"/>
                  <a:gd name="connsiteY160" fmla="*/ 458152 h 3680460"/>
                  <a:gd name="connsiteX161" fmla="*/ 2237423 w 3025140"/>
                  <a:gd name="connsiteY161" fmla="*/ 406717 h 3680460"/>
                  <a:gd name="connsiteX162" fmla="*/ 2103120 w 3025140"/>
                  <a:gd name="connsiteY162" fmla="*/ 312420 h 3680460"/>
                  <a:gd name="connsiteX163" fmla="*/ 2042160 w 3025140"/>
                  <a:gd name="connsiteY163" fmla="*/ 266700 h 3680460"/>
                  <a:gd name="connsiteX164" fmla="*/ 2004060 w 3025140"/>
                  <a:gd name="connsiteY164" fmla="*/ 251460 h 3680460"/>
                  <a:gd name="connsiteX165" fmla="*/ 1958340 w 3025140"/>
                  <a:gd name="connsiteY165" fmla="*/ 220980 h 3680460"/>
                  <a:gd name="connsiteX166" fmla="*/ 1897380 w 3025140"/>
                  <a:gd name="connsiteY166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34640 w 3025140"/>
                  <a:gd name="connsiteY22" fmla="*/ 853440 h 3680460"/>
                  <a:gd name="connsiteX23" fmla="*/ 2880360 w 3025140"/>
                  <a:gd name="connsiteY23" fmla="*/ 922020 h 3680460"/>
                  <a:gd name="connsiteX24" fmla="*/ 2887980 w 3025140"/>
                  <a:gd name="connsiteY24" fmla="*/ 944880 h 3680460"/>
                  <a:gd name="connsiteX25" fmla="*/ 2903220 w 3025140"/>
                  <a:gd name="connsiteY25" fmla="*/ 967740 h 3680460"/>
                  <a:gd name="connsiteX26" fmla="*/ 2918460 w 3025140"/>
                  <a:gd name="connsiteY26" fmla="*/ 1036320 h 3680460"/>
                  <a:gd name="connsiteX27" fmla="*/ 2933700 w 3025140"/>
                  <a:gd name="connsiteY27" fmla="*/ 1074420 h 3680460"/>
                  <a:gd name="connsiteX28" fmla="*/ 2948940 w 3025140"/>
                  <a:gd name="connsiteY28" fmla="*/ 1120140 h 3680460"/>
                  <a:gd name="connsiteX29" fmla="*/ 2964180 w 3025140"/>
                  <a:gd name="connsiteY29" fmla="*/ 1203960 h 3680460"/>
                  <a:gd name="connsiteX30" fmla="*/ 2979420 w 3025140"/>
                  <a:gd name="connsiteY30" fmla="*/ 1264920 h 3680460"/>
                  <a:gd name="connsiteX31" fmla="*/ 2987040 w 3025140"/>
                  <a:gd name="connsiteY31" fmla="*/ 1318260 h 3680460"/>
                  <a:gd name="connsiteX32" fmla="*/ 2994660 w 3025140"/>
                  <a:gd name="connsiteY32" fmla="*/ 1348740 h 3680460"/>
                  <a:gd name="connsiteX33" fmla="*/ 3009900 w 3025140"/>
                  <a:gd name="connsiteY33" fmla="*/ 1432560 h 3680460"/>
                  <a:gd name="connsiteX34" fmla="*/ 3017520 w 3025140"/>
                  <a:gd name="connsiteY34" fmla="*/ 1684020 h 3680460"/>
                  <a:gd name="connsiteX35" fmla="*/ 3025140 w 3025140"/>
                  <a:gd name="connsiteY35" fmla="*/ 1744980 h 3680460"/>
                  <a:gd name="connsiteX36" fmla="*/ 3017520 w 3025140"/>
                  <a:gd name="connsiteY36" fmla="*/ 2095500 h 3680460"/>
                  <a:gd name="connsiteX37" fmla="*/ 3009900 w 3025140"/>
                  <a:gd name="connsiteY37" fmla="*/ 2125980 h 3680460"/>
                  <a:gd name="connsiteX38" fmla="*/ 2979420 w 3025140"/>
                  <a:gd name="connsiteY38" fmla="*/ 2194560 h 3680460"/>
                  <a:gd name="connsiteX39" fmla="*/ 2956560 w 3025140"/>
                  <a:gd name="connsiteY39" fmla="*/ 2247900 h 3680460"/>
                  <a:gd name="connsiteX40" fmla="*/ 2941320 w 3025140"/>
                  <a:gd name="connsiteY40" fmla="*/ 2324100 h 3680460"/>
                  <a:gd name="connsiteX41" fmla="*/ 2926080 w 3025140"/>
                  <a:gd name="connsiteY41" fmla="*/ 2392680 h 3680460"/>
                  <a:gd name="connsiteX42" fmla="*/ 2918460 w 3025140"/>
                  <a:gd name="connsiteY42" fmla="*/ 2415540 h 3680460"/>
                  <a:gd name="connsiteX43" fmla="*/ 2895600 w 3025140"/>
                  <a:gd name="connsiteY43" fmla="*/ 2484120 h 3680460"/>
                  <a:gd name="connsiteX44" fmla="*/ 2872740 w 3025140"/>
                  <a:gd name="connsiteY44" fmla="*/ 2583180 h 3680460"/>
                  <a:gd name="connsiteX45" fmla="*/ 2857500 w 3025140"/>
                  <a:gd name="connsiteY45" fmla="*/ 2606040 h 3680460"/>
                  <a:gd name="connsiteX46" fmla="*/ 2834640 w 3025140"/>
                  <a:gd name="connsiteY46" fmla="*/ 2689860 h 3680460"/>
                  <a:gd name="connsiteX47" fmla="*/ 2811780 w 3025140"/>
                  <a:gd name="connsiteY47" fmla="*/ 2750820 h 3680460"/>
                  <a:gd name="connsiteX48" fmla="*/ 2788920 w 3025140"/>
                  <a:gd name="connsiteY48" fmla="*/ 2781300 h 3680460"/>
                  <a:gd name="connsiteX49" fmla="*/ 2781300 w 3025140"/>
                  <a:gd name="connsiteY49" fmla="*/ 2804160 h 3680460"/>
                  <a:gd name="connsiteX50" fmla="*/ 2743200 w 3025140"/>
                  <a:gd name="connsiteY50" fmla="*/ 2865120 h 3680460"/>
                  <a:gd name="connsiteX51" fmla="*/ 2712720 w 3025140"/>
                  <a:gd name="connsiteY51" fmla="*/ 2903220 h 3680460"/>
                  <a:gd name="connsiteX52" fmla="*/ 2697480 w 3025140"/>
                  <a:gd name="connsiteY52" fmla="*/ 2933700 h 3680460"/>
                  <a:gd name="connsiteX53" fmla="*/ 2674620 w 3025140"/>
                  <a:gd name="connsiteY53" fmla="*/ 2964180 h 3680460"/>
                  <a:gd name="connsiteX54" fmla="*/ 2644140 w 3025140"/>
                  <a:gd name="connsiteY54" fmla="*/ 3009900 h 3680460"/>
                  <a:gd name="connsiteX55" fmla="*/ 2598420 w 3025140"/>
                  <a:gd name="connsiteY55" fmla="*/ 3055620 h 3680460"/>
                  <a:gd name="connsiteX56" fmla="*/ 2575560 w 3025140"/>
                  <a:gd name="connsiteY56" fmla="*/ 3078480 h 3680460"/>
                  <a:gd name="connsiteX57" fmla="*/ 2476500 w 3025140"/>
                  <a:gd name="connsiteY57" fmla="*/ 3169920 h 3680460"/>
                  <a:gd name="connsiteX58" fmla="*/ 2377440 w 3025140"/>
                  <a:gd name="connsiteY58" fmla="*/ 3223260 h 3680460"/>
                  <a:gd name="connsiteX59" fmla="*/ 2293620 w 3025140"/>
                  <a:gd name="connsiteY59" fmla="*/ 3284220 h 3680460"/>
                  <a:gd name="connsiteX60" fmla="*/ 2240280 w 3025140"/>
                  <a:gd name="connsiteY60" fmla="*/ 3314700 h 3680460"/>
                  <a:gd name="connsiteX61" fmla="*/ 2225040 w 3025140"/>
                  <a:gd name="connsiteY61" fmla="*/ 3337560 h 3680460"/>
                  <a:gd name="connsiteX62" fmla="*/ 2141220 w 3025140"/>
                  <a:gd name="connsiteY62" fmla="*/ 3390900 h 3680460"/>
                  <a:gd name="connsiteX63" fmla="*/ 2110740 w 3025140"/>
                  <a:gd name="connsiteY63" fmla="*/ 3413760 h 3680460"/>
                  <a:gd name="connsiteX64" fmla="*/ 2072640 w 3025140"/>
                  <a:gd name="connsiteY64" fmla="*/ 3451860 h 3680460"/>
                  <a:gd name="connsiteX65" fmla="*/ 2019300 w 3025140"/>
                  <a:gd name="connsiteY65" fmla="*/ 3467100 h 3680460"/>
                  <a:gd name="connsiteX66" fmla="*/ 1874520 w 3025140"/>
                  <a:gd name="connsiteY66" fmla="*/ 3512820 h 3680460"/>
                  <a:gd name="connsiteX67" fmla="*/ 1828800 w 3025140"/>
                  <a:gd name="connsiteY67" fmla="*/ 3520440 h 3680460"/>
                  <a:gd name="connsiteX68" fmla="*/ 1722120 w 3025140"/>
                  <a:gd name="connsiteY68" fmla="*/ 3550920 h 3680460"/>
                  <a:gd name="connsiteX69" fmla="*/ 1600200 w 3025140"/>
                  <a:gd name="connsiteY69" fmla="*/ 3589020 h 3680460"/>
                  <a:gd name="connsiteX70" fmla="*/ 1569720 w 3025140"/>
                  <a:gd name="connsiteY70" fmla="*/ 3596640 h 3680460"/>
                  <a:gd name="connsiteX71" fmla="*/ 1546860 w 3025140"/>
                  <a:gd name="connsiteY71" fmla="*/ 3611880 h 3680460"/>
                  <a:gd name="connsiteX72" fmla="*/ 1463040 w 3025140"/>
                  <a:gd name="connsiteY72" fmla="*/ 3627120 h 3680460"/>
                  <a:gd name="connsiteX73" fmla="*/ 1333500 w 3025140"/>
                  <a:gd name="connsiteY73" fmla="*/ 3657600 h 3680460"/>
                  <a:gd name="connsiteX74" fmla="*/ 1203960 w 3025140"/>
                  <a:gd name="connsiteY74" fmla="*/ 3672840 h 3680460"/>
                  <a:gd name="connsiteX75" fmla="*/ 1165860 w 3025140"/>
                  <a:gd name="connsiteY75" fmla="*/ 3680460 h 3680460"/>
                  <a:gd name="connsiteX76" fmla="*/ 449580 w 3025140"/>
                  <a:gd name="connsiteY76" fmla="*/ 3672840 h 3680460"/>
                  <a:gd name="connsiteX77" fmla="*/ 426720 w 3025140"/>
                  <a:gd name="connsiteY77" fmla="*/ 3665220 h 3680460"/>
                  <a:gd name="connsiteX78" fmla="*/ 388620 w 3025140"/>
                  <a:gd name="connsiteY78" fmla="*/ 3657600 h 3680460"/>
                  <a:gd name="connsiteX79" fmla="*/ 335280 w 3025140"/>
                  <a:gd name="connsiteY79" fmla="*/ 3627120 h 3680460"/>
                  <a:gd name="connsiteX80" fmla="*/ 266700 w 3025140"/>
                  <a:gd name="connsiteY80" fmla="*/ 3604260 h 3680460"/>
                  <a:gd name="connsiteX81" fmla="*/ 243840 w 3025140"/>
                  <a:gd name="connsiteY81" fmla="*/ 3589020 h 3680460"/>
                  <a:gd name="connsiteX82" fmla="*/ 160020 w 3025140"/>
                  <a:gd name="connsiteY82" fmla="*/ 3558540 h 3680460"/>
                  <a:gd name="connsiteX83" fmla="*/ 137160 w 3025140"/>
                  <a:gd name="connsiteY83" fmla="*/ 3535680 h 3680460"/>
                  <a:gd name="connsiteX84" fmla="*/ 99060 w 3025140"/>
                  <a:gd name="connsiteY84" fmla="*/ 3520440 h 3680460"/>
                  <a:gd name="connsiteX85" fmla="*/ 83820 w 3025140"/>
                  <a:gd name="connsiteY85" fmla="*/ 3489960 h 3680460"/>
                  <a:gd name="connsiteX86" fmla="*/ 45720 w 3025140"/>
                  <a:gd name="connsiteY86" fmla="*/ 3436620 h 3680460"/>
                  <a:gd name="connsiteX87" fmla="*/ 0 w 3025140"/>
                  <a:gd name="connsiteY87" fmla="*/ 3352800 h 3680460"/>
                  <a:gd name="connsiteX88" fmla="*/ 30480 w 3025140"/>
                  <a:gd name="connsiteY88" fmla="*/ 3345180 h 3680460"/>
                  <a:gd name="connsiteX89" fmla="*/ 137160 w 3025140"/>
                  <a:gd name="connsiteY89" fmla="*/ 3360420 h 3680460"/>
                  <a:gd name="connsiteX90" fmla="*/ 167640 w 3025140"/>
                  <a:gd name="connsiteY90" fmla="*/ 3390900 h 3680460"/>
                  <a:gd name="connsiteX91" fmla="*/ 198120 w 3025140"/>
                  <a:gd name="connsiteY91" fmla="*/ 3406140 h 3680460"/>
                  <a:gd name="connsiteX92" fmla="*/ 350520 w 3025140"/>
                  <a:gd name="connsiteY92" fmla="*/ 3436620 h 3680460"/>
                  <a:gd name="connsiteX93" fmla="*/ 381000 w 3025140"/>
                  <a:gd name="connsiteY93" fmla="*/ 3451860 h 3680460"/>
                  <a:gd name="connsiteX94" fmla="*/ 449580 w 3025140"/>
                  <a:gd name="connsiteY94" fmla="*/ 3489960 h 3680460"/>
                  <a:gd name="connsiteX95" fmla="*/ 495300 w 3025140"/>
                  <a:gd name="connsiteY95" fmla="*/ 3520440 h 3680460"/>
                  <a:gd name="connsiteX96" fmla="*/ 525780 w 3025140"/>
                  <a:gd name="connsiteY96" fmla="*/ 3535680 h 3680460"/>
                  <a:gd name="connsiteX97" fmla="*/ 731520 w 3025140"/>
                  <a:gd name="connsiteY97" fmla="*/ 3558540 h 3680460"/>
                  <a:gd name="connsiteX98" fmla="*/ 1341120 w 3025140"/>
                  <a:gd name="connsiteY98" fmla="*/ 3550920 h 3680460"/>
                  <a:gd name="connsiteX99" fmla="*/ 1440180 w 3025140"/>
                  <a:gd name="connsiteY99" fmla="*/ 3528060 h 3680460"/>
                  <a:gd name="connsiteX100" fmla="*/ 1539240 w 3025140"/>
                  <a:gd name="connsiteY100" fmla="*/ 3520440 h 3680460"/>
                  <a:gd name="connsiteX101" fmla="*/ 1562100 w 3025140"/>
                  <a:gd name="connsiteY101" fmla="*/ 3512820 h 3680460"/>
                  <a:gd name="connsiteX102" fmla="*/ 1630680 w 3025140"/>
                  <a:gd name="connsiteY102" fmla="*/ 3497580 h 3680460"/>
                  <a:gd name="connsiteX103" fmla="*/ 1699260 w 3025140"/>
                  <a:gd name="connsiteY103" fmla="*/ 3474720 h 3680460"/>
                  <a:gd name="connsiteX104" fmla="*/ 1790700 w 3025140"/>
                  <a:gd name="connsiteY104" fmla="*/ 3451860 h 3680460"/>
                  <a:gd name="connsiteX105" fmla="*/ 1821180 w 3025140"/>
                  <a:gd name="connsiteY105" fmla="*/ 3444240 h 3680460"/>
                  <a:gd name="connsiteX106" fmla="*/ 1844040 w 3025140"/>
                  <a:gd name="connsiteY106" fmla="*/ 3429000 h 3680460"/>
                  <a:gd name="connsiteX107" fmla="*/ 1874520 w 3025140"/>
                  <a:gd name="connsiteY107" fmla="*/ 3421380 h 3680460"/>
                  <a:gd name="connsiteX108" fmla="*/ 1927860 w 3025140"/>
                  <a:gd name="connsiteY108" fmla="*/ 3398520 h 3680460"/>
                  <a:gd name="connsiteX109" fmla="*/ 1950720 w 3025140"/>
                  <a:gd name="connsiteY109" fmla="*/ 3390900 h 3680460"/>
                  <a:gd name="connsiteX110" fmla="*/ 2004060 w 3025140"/>
                  <a:gd name="connsiteY110" fmla="*/ 3360420 h 3680460"/>
                  <a:gd name="connsiteX111" fmla="*/ 2042160 w 3025140"/>
                  <a:gd name="connsiteY111" fmla="*/ 3352800 h 3680460"/>
                  <a:gd name="connsiteX112" fmla="*/ 2080260 w 3025140"/>
                  <a:gd name="connsiteY112" fmla="*/ 3337560 h 3680460"/>
                  <a:gd name="connsiteX113" fmla="*/ 2156460 w 3025140"/>
                  <a:gd name="connsiteY113" fmla="*/ 3299460 h 3680460"/>
                  <a:gd name="connsiteX114" fmla="*/ 2179320 w 3025140"/>
                  <a:gd name="connsiteY114" fmla="*/ 3284220 h 3680460"/>
                  <a:gd name="connsiteX115" fmla="*/ 2209800 w 3025140"/>
                  <a:gd name="connsiteY115" fmla="*/ 3276600 h 3680460"/>
                  <a:gd name="connsiteX116" fmla="*/ 2263140 w 3025140"/>
                  <a:gd name="connsiteY116" fmla="*/ 3230880 h 3680460"/>
                  <a:gd name="connsiteX117" fmla="*/ 2346960 w 3025140"/>
                  <a:gd name="connsiteY117" fmla="*/ 3154680 h 3680460"/>
                  <a:gd name="connsiteX118" fmla="*/ 2400300 w 3025140"/>
                  <a:gd name="connsiteY118" fmla="*/ 3070860 h 3680460"/>
                  <a:gd name="connsiteX119" fmla="*/ 2415540 w 3025140"/>
                  <a:gd name="connsiteY119" fmla="*/ 3048000 h 3680460"/>
                  <a:gd name="connsiteX120" fmla="*/ 2446020 w 3025140"/>
                  <a:gd name="connsiteY120" fmla="*/ 3032760 h 3680460"/>
                  <a:gd name="connsiteX121" fmla="*/ 2468880 w 3025140"/>
                  <a:gd name="connsiteY121" fmla="*/ 3009900 h 3680460"/>
                  <a:gd name="connsiteX122" fmla="*/ 2537460 w 3025140"/>
                  <a:gd name="connsiteY122" fmla="*/ 2926080 h 3680460"/>
                  <a:gd name="connsiteX123" fmla="*/ 2575560 w 3025140"/>
                  <a:gd name="connsiteY123" fmla="*/ 2880360 h 3680460"/>
                  <a:gd name="connsiteX124" fmla="*/ 2628900 w 3025140"/>
                  <a:gd name="connsiteY124" fmla="*/ 2811780 h 3680460"/>
                  <a:gd name="connsiteX125" fmla="*/ 2644140 w 3025140"/>
                  <a:gd name="connsiteY125" fmla="*/ 2773680 h 3680460"/>
                  <a:gd name="connsiteX126" fmla="*/ 2674620 w 3025140"/>
                  <a:gd name="connsiteY126" fmla="*/ 2727960 h 3680460"/>
                  <a:gd name="connsiteX127" fmla="*/ 2689860 w 3025140"/>
                  <a:gd name="connsiteY127" fmla="*/ 2705100 h 3680460"/>
                  <a:gd name="connsiteX128" fmla="*/ 2705100 w 3025140"/>
                  <a:gd name="connsiteY128" fmla="*/ 2667000 h 3680460"/>
                  <a:gd name="connsiteX129" fmla="*/ 2727960 w 3025140"/>
                  <a:gd name="connsiteY129" fmla="*/ 2621280 h 3680460"/>
                  <a:gd name="connsiteX130" fmla="*/ 2735580 w 3025140"/>
                  <a:gd name="connsiteY130" fmla="*/ 2590800 h 3680460"/>
                  <a:gd name="connsiteX131" fmla="*/ 2758440 w 3025140"/>
                  <a:gd name="connsiteY131" fmla="*/ 2545080 h 3680460"/>
                  <a:gd name="connsiteX132" fmla="*/ 2788920 w 3025140"/>
                  <a:gd name="connsiteY132" fmla="*/ 2484120 h 3680460"/>
                  <a:gd name="connsiteX133" fmla="*/ 2811780 w 3025140"/>
                  <a:gd name="connsiteY133" fmla="*/ 2407920 h 3680460"/>
                  <a:gd name="connsiteX134" fmla="*/ 2842260 w 3025140"/>
                  <a:gd name="connsiteY134" fmla="*/ 2324100 h 3680460"/>
                  <a:gd name="connsiteX135" fmla="*/ 2857500 w 3025140"/>
                  <a:gd name="connsiteY135" fmla="*/ 2247900 h 3680460"/>
                  <a:gd name="connsiteX136" fmla="*/ 2872740 w 3025140"/>
                  <a:gd name="connsiteY136" fmla="*/ 2194560 h 3680460"/>
                  <a:gd name="connsiteX137" fmla="*/ 2887980 w 3025140"/>
                  <a:gd name="connsiteY137" fmla="*/ 2148840 h 3680460"/>
                  <a:gd name="connsiteX138" fmla="*/ 2910840 w 3025140"/>
                  <a:gd name="connsiteY138" fmla="*/ 2087880 h 3680460"/>
                  <a:gd name="connsiteX139" fmla="*/ 2918460 w 3025140"/>
                  <a:gd name="connsiteY139" fmla="*/ 2049780 h 3680460"/>
                  <a:gd name="connsiteX140" fmla="*/ 2933700 w 3025140"/>
                  <a:gd name="connsiteY140" fmla="*/ 1844040 h 3680460"/>
                  <a:gd name="connsiteX141" fmla="*/ 2918460 w 3025140"/>
                  <a:gd name="connsiteY141" fmla="*/ 1470660 h 3680460"/>
                  <a:gd name="connsiteX142" fmla="*/ 2895600 w 3025140"/>
                  <a:gd name="connsiteY142" fmla="*/ 1371600 h 3680460"/>
                  <a:gd name="connsiteX143" fmla="*/ 2880360 w 3025140"/>
                  <a:gd name="connsiteY143" fmla="*/ 1341120 h 3680460"/>
                  <a:gd name="connsiteX144" fmla="*/ 2857500 w 3025140"/>
                  <a:gd name="connsiteY144" fmla="*/ 1272540 h 3680460"/>
                  <a:gd name="connsiteX145" fmla="*/ 2849880 w 3025140"/>
                  <a:gd name="connsiteY145" fmla="*/ 1234440 h 3680460"/>
                  <a:gd name="connsiteX146" fmla="*/ 2827020 w 3025140"/>
                  <a:gd name="connsiteY146" fmla="*/ 1196340 h 3680460"/>
                  <a:gd name="connsiteX147" fmla="*/ 2811780 w 3025140"/>
                  <a:gd name="connsiteY147" fmla="*/ 1165860 h 3680460"/>
                  <a:gd name="connsiteX148" fmla="*/ 2781300 w 3025140"/>
                  <a:gd name="connsiteY148" fmla="*/ 1127760 h 3680460"/>
                  <a:gd name="connsiteX149" fmla="*/ 2766060 w 3025140"/>
                  <a:gd name="connsiteY149" fmla="*/ 1089660 h 3680460"/>
                  <a:gd name="connsiteX150" fmla="*/ 2735580 w 3025140"/>
                  <a:gd name="connsiteY150" fmla="*/ 1043940 h 3680460"/>
                  <a:gd name="connsiteX151" fmla="*/ 2727960 w 3025140"/>
                  <a:gd name="connsiteY151" fmla="*/ 1021080 h 3680460"/>
                  <a:gd name="connsiteX152" fmla="*/ 2682240 w 3025140"/>
                  <a:gd name="connsiteY152" fmla="*/ 937260 h 3680460"/>
                  <a:gd name="connsiteX153" fmla="*/ 2659380 w 3025140"/>
                  <a:gd name="connsiteY153" fmla="*/ 876300 h 3680460"/>
                  <a:gd name="connsiteX154" fmla="*/ 2644140 w 3025140"/>
                  <a:gd name="connsiteY154" fmla="*/ 845820 h 3680460"/>
                  <a:gd name="connsiteX155" fmla="*/ 2636520 w 3025140"/>
                  <a:gd name="connsiteY155" fmla="*/ 822960 h 3680460"/>
                  <a:gd name="connsiteX156" fmla="*/ 2621280 w 3025140"/>
                  <a:gd name="connsiteY156" fmla="*/ 800100 h 3680460"/>
                  <a:gd name="connsiteX157" fmla="*/ 2598420 w 3025140"/>
                  <a:gd name="connsiteY157" fmla="*/ 739140 h 3680460"/>
                  <a:gd name="connsiteX158" fmla="*/ 2458403 w 3025140"/>
                  <a:gd name="connsiteY158" fmla="*/ 621983 h 3680460"/>
                  <a:gd name="connsiteX159" fmla="*/ 2301240 w 3025140"/>
                  <a:gd name="connsiteY159" fmla="*/ 458152 h 3680460"/>
                  <a:gd name="connsiteX160" fmla="*/ 2237423 w 3025140"/>
                  <a:gd name="connsiteY160" fmla="*/ 406717 h 3680460"/>
                  <a:gd name="connsiteX161" fmla="*/ 2103120 w 3025140"/>
                  <a:gd name="connsiteY161" fmla="*/ 312420 h 3680460"/>
                  <a:gd name="connsiteX162" fmla="*/ 2042160 w 3025140"/>
                  <a:gd name="connsiteY162" fmla="*/ 266700 h 3680460"/>
                  <a:gd name="connsiteX163" fmla="*/ 2004060 w 3025140"/>
                  <a:gd name="connsiteY163" fmla="*/ 251460 h 3680460"/>
                  <a:gd name="connsiteX164" fmla="*/ 1958340 w 3025140"/>
                  <a:gd name="connsiteY164" fmla="*/ 220980 h 3680460"/>
                  <a:gd name="connsiteX165" fmla="*/ 1897380 w 3025140"/>
                  <a:gd name="connsiteY165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887980 w 3025140"/>
                  <a:gd name="connsiteY23" fmla="*/ 944880 h 3680460"/>
                  <a:gd name="connsiteX24" fmla="*/ 2903220 w 3025140"/>
                  <a:gd name="connsiteY24" fmla="*/ 967740 h 3680460"/>
                  <a:gd name="connsiteX25" fmla="*/ 2918460 w 3025140"/>
                  <a:gd name="connsiteY25" fmla="*/ 1036320 h 3680460"/>
                  <a:gd name="connsiteX26" fmla="*/ 2933700 w 3025140"/>
                  <a:gd name="connsiteY26" fmla="*/ 1074420 h 3680460"/>
                  <a:gd name="connsiteX27" fmla="*/ 2948940 w 3025140"/>
                  <a:gd name="connsiteY27" fmla="*/ 1120140 h 3680460"/>
                  <a:gd name="connsiteX28" fmla="*/ 2964180 w 3025140"/>
                  <a:gd name="connsiteY28" fmla="*/ 1203960 h 3680460"/>
                  <a:gd name="connsiteX29" fmla="*/ 2979420 w 3025140"/>
                  <a:gd name="connsiteY29" fmla="*/ 1264920 h 3680460"/>
                  <a:gd name="connsiteX30" fmla="*/ 2987040 w 3025140"/>
                  <a:gd name="connsiteY30" fmla="*/ 1318260 h 3680460"/>
                  <a:gd name="connsiteX31" fmla="*/ 2994660 w 3025140"/>
                  <a:gd name="connsiteY31" fmla="*/ 1348740 h 3680460"/>
                  <a:gd name="connsiteX32" fmla="*/ 3009900 w 3025140"/>
                  <a:gd name="connsiteY32" fmla="*/ 1432560 h 3680460"/>
                  <a:gd name="connsiteX33" fmla="*/ 3017520 w 3025140"/>
                  <a:gd name="connsiteY33" fmla="*/ 1684020 h 3680460"/>
                  <a:gd name="connsiteX34" fmla="*/ 3025140 w 3025140"/>
                  <a:gd name="connsiteY34" fmla="*/ 1744980 h 3680460"/>
                  <a:gd name="connsiteX35" fmla="*/ 3017520 w 3025140"/>
                  <a:gd name="connsiteY35" fmla="*/ 2095500 h 3680460"/>
                  <a:gd name="connsiteX36" fmla="*/ 3009900 w 3025140"/>
                  <a:gd name="connsiteY36" fmla="*/ 2125980 h 3680460"/>
                  <a:gd name="connsiteX37" fmla="*/ 2979420 w 3025140"/>
                  <a:gd name="connsiteY37" fmla="*/ 2194560 h 3680460"/>
                  <a:gd name="connsiteX38" fmla="*/ 2956560 w 3025140"/>
                  <a:gd name="connsiteY38" fmla="*/ 2247900 h 3680460"/>
                  <a:gd name="connsiteX39" fmla="*/ 2941320 w 3025140"/>
                  <a:gd name="connsiteY39" fmla="*/ 2324100 h 3680460"/>
                  <a:gd name="connsiteX40" fmla="*/ 2926080 w 3025140"/>
                  <a:gd name="connsiteY40" fmla="*/ 2392680 h 3680460"/>
                  <a:gd name="connsiteX41" fmla="*/ 2918460 w 3025140"/>
                  <a:gd name="connsiteY41" fmla="*/ 2415540 h 3680460"/>
                  <a:gd name="connsiteX42" fmla="*/ 2895600 w 3025140"/>
                  <a:gd name="connsiteY42" fmla="*/ 2484120 h 3680460"/>
                  <a:gd name="connsiteX43" fmla="*/ 2872740 w 3025140"/>
                  <a:gd name="connsiteY43" fmla="*/ 2583180 h 3680460"/>
                  <a:gd name="connsiteX44" fmla="*/ 2857500 w 3025140"/>
                  <a:gd name="connsiteY44" fmla="*/ 2606040 h 3680460"/>
                  <a:gd name="connsiteX45" fmla="*/ 2834640 w 3025140"/>
                  <a:gd name="connsiteY45" fmla="*/ 2689860 h 3680460"/>
                  <a:gd name="connsiteX46" fmla="*/ 2811780 w 3025140"/>
                  <a:gd name="connsiteY46" fmla="*/ 2750820 h 3680460"/>
                  <a:gd name="connsiteX47" fmla="*/ 2788920 w 3025140"/>
                  <a:gd name="connsiteY47" fmla="*/ 2781300 h 3680460"/>
                  <a:gd name="connsiteX48" fmla="*/ 2781300 w 3025140"/>
                  <a:gd name="connsiteY48" fmla="*/ 2804160 h 3680460"/>
                  <a:gd name="connsiteX49" fmla="*/ 2743200 w 3025140"/>
                  <a:gd name="connsiteY49" fmla="*/ 2865120 h 3680460"/>
                  <a:gd name="connsiteX50" fmla="*/ 2712720 w 3025140"/>
                  <a:gd name="connsiteY50" fmla="*/ 2903220 h 3680460"/>
                  <a:gd name="connsiteX51" fmla="*/ 2697480 w 3025140"/>
                  <a:gd name="connsiteY51" fmla="*/ 2933700 h 3680460"/>
                  <a:gd name="connsiteX52" fmla="*/ 2674620 w 3025140"/>
                  <a:gd name="connsiteY52" fmla="*/ 2964180 h 3680460"/>
                  <a:gd name="connsiteX53" fmla="*/ 2644140 w 3025140"/>
                  <a:gd name="connsiteY53" fmla="*/ 3009900 h 3680460"/>
                  <a:gd name="connsiteX54" fmla="*/ 2598420 w 3025140"/>
                  <a:gd name="connsiteY54" fmla="*/ 3055620 h 3680460"/>
                  <a:gd name="connsiteX55" fmla="*/ 2575560 w 3025140"/>
                  <a:gd name="connsiteY55" fmla="*/ 3078480 h 3680460"/>
                  <a:gd name="connsiteX56" fmla="*/ 2476500 w 3025140"/>
                  <a:gd name="connsiteY56" fmla="*/ 3169920 h 3680460"/>
                  <a:gd name="connsiteX57" fmla="*/ 2377440 w 3025140"/>
                  <a:gd name="connsiteY57" fmla="*/ 3223260 h 3680460"/>
                  <a:gd name="connsiteX58" fmla="*/ 2293620 w 3025140"/>
                  <a:gd name="connsiteY58" fmla="*/ 3284220 h 3680460"/>
                  <a:gd name="connsiteX59" fmla="*/ 2240280 w 3025140"/>
                  <a:gd name="connsiteY59" fmla="*/ 3314700 h 3680460"/>
                  <a:gd name="connsiteX60" fmla="*/ 2225040 w 3025140"/>
                  <a:gd name="connsiteY60" fmla="*/ 3337560 h 3680460"/>
                  <a:gd name="connsiteX61" fmla="*/ 2141220 w 3025140"/>
                  <a:gd name="connsiteY61" fmla="*/ 3390900 h 3680460"/>
                  <a:gd name="connsiteX62" fmla="*/ 2110740 w 3025140"/>
                  <a:gd name="connsiteY62" fmla="*/ 3413760 h 3680460"/>
                  <a:gd name="connsiteX63" fmla="*/ 2072640 w 3025140"/>
                  <a:gd name="connsiteY63" fmla="*/ 3451860 h 3680460"/>
                  <a:gd name="connsiteX64" fmla="*/ 2019300 w 3025140"/>
                  <a:gd name="connsiteY64" fmla="*/ 3467100 h 3680460"/>
                  <a:gd name="connsiteX65" fmla="*/ 1874520 w 3025140"/>
                  <a:gd name="connsiteY65" fmla="*/ 3512820 h 3680460"/>
                  <a:gd name="connsiteX66" fmla="*/ 1828800 w 3025140"/>
                  <a:gd name="connsiteY66" fmla="*/ 3520440 h 3680460"/>
                  <a:gd name="connsiteX67" fmla="*/ 1722120 w 3025140"/>
                  <a:gd name="connsiteY67" fmla="*/ 3550920 h 3680460"/>
                  <a:gd name="connsiteX68" fmla="*/ 1600200 w 3025140"/>
                  <a:gd name="connsiteY68" fmla="*/ 3589020 h 3680460"/>
                  <a:gd name="connsiteX69" fmla="*/ 1569720 w 3025140"/>
                  <a:gd name="connsiteY69" fmla="*/ 3596640 h 3680460"/>
                  <a:gd name="connsiteX70" fmla="*/ 1546860 w 3025140"/>
                  <a:gd name="connsiteY70" fmla="*/ 3611880 h 3680460"/>
                  <a:gd name="connsiteX71" fmla="*/ 1463040 w 3025140"/>
                  <a:gd name="connsiteY71" fmla="*/ 3627120 h 3680460"/>
                  <a:gd name="connsiteX72" fmla="*/ 1333500 w 3025140"/>
                  <a:gd name="connsiteY72" fmla="*/ 3657600 h 3680460"/>
                  <a:gd name="connsiteX73" fmla="*/ 1203960 w 3025140"/>
                  <a:gd name="connsiteY73" fmla="*/ 3672840 h 3680460"/>
                  <a:gd name="connsiteX74" fmla="*/ 1165860 w 3025140"/>
                  <a:gd name="connsiteY74" fmla="*/ 3680460 h 3680460"/>
                  <a:gd name="connsiteX75" fmla="*/ 449580 w 3025140"/>
                  <a:gd name="connsiteY75" fmla="*/ 3672840 h 3680460"/>
                  <a:gd name="connsiteX76" fmla="*/ 426720 w 3025140"/>
                  <a:gd name="connsiteY76" fmla="*/ 3665220 h 3680460"/>
                  <a:gd name="connsiteX77" fmla="*/ 388620 w 3025140"/>
                  <a:gd name="connsiteY77" fmla="*/ 3657600 h 3680460"/>
                  <a:gd name="connsiteX78" fmla="*/ 335280 w 3025140"/>
                  <a:gd name="connsiteY78" fmla="*/ 3627120 h 3680460"/>
                  <a:gd name="connsiteX79" fmla="*/ 266700 w 3025140"/>
                  <a:gd name="connsiteY79" fmla="*/ 3604260 h 3680460"/>
                  <a:gd name="connsiteX80" fmla="*/ 243840 w 3025140"/>
                  <a:gd name="connsiteY80" fmla="*/ 3589020 h 3680460"/>
                  <a:gd name="connsiteX81" fmla="*/ 160020 w 3025140"/>
                  <a:gd name="connsiteY81" fmla="*/ 3558540 h 3680460"/>
                  <a:gd name="connsiteX82" fmla="*/ 137160 w 3025140"/>
                  <a:gd name="connsiteY82" fmla="*/ 3535680 h 3680460"/>
                  <a:gd name="connsiteX83" fmla="*/ 99060 w 3025140"/>
                  <a:gd name="connsiteY83" fmla="*/ 3520440 h 3680460"/>
                  <a:gd name="connsiteX84" fmla="*/ 83820 w 3025140"/>
                  <a:gd name="connsiteY84" fmla="*/ 3489960 h 3680460"/>
                  <a:gd name="connsiteX85" fmla="*/ 45720 w 3025140"/>
                  <a:gd name="connsiteY85" fmla="*/ 3436620 h 3680460"/>
                  <a:gd name="connsiteX86" fmla="*/ 0 w 3025140"/>
                  <a:gd name="connsiteY86" fmla="*/ 3352800 h 3680460"/>
                  <a:gd name="connsiteX87" fmla="*/ 30480 w 3025140"/>
                  <a:gd name="connsiteY87" fmla="*/ 3345180 h 3680460"/>
                  <a:gd name="connsiteX88" fmla="*/ 137160 w 3025140"/>
                  <a:gd name="connsiteY88" fmla="*/ 3360420 h 3680460"/>
                  <a:gd name="connsiteX89" fmla="*/ 167640 w 3025140"/>
                  <a:gd name="connsiteY89" fmla="*/ 3390900 h 3680460"/>
                  <a:gd name="connsiteX90" fmla="*/ 198120 w 3025140"/>
                  <a:gd name="connsiteY90" fmla="*/ 3406140 h 3680460"/>
                  <a:gd name="connsiteX91" fmla="*/ 350520 w 3025140"/>
                  <a:gd name="connsiteY91" fmla="*/ 3436620 h 3680460"/>
                  <a:gd name="connsiteX92" fmla="*/ 381000 w 3025140"/>
                  <a:gd name="connsiteY92" fmla="*/ 3451860 h 3680460"/>
                  <a:gd name="connsiteX93" fmla="*/ 449580 w 3025140"/>
                  <a:gd name="connsiteY93" fmla="*/ 3489960 h 3680460"/>
                  <a:gd name="connsiteX94" fmla="*/ 495300 w 3025140"/>
                  <a:gd name="connsiteY94" fmla="*/ 3520440 h 3680460"/>
                  <a:gd name="connsiteX95" fmla="*/ 525780 w 3025140"/>
                  <a:gd name="connsiteY95" fmla="*/ 3535680 h 3680460"/>
                  <a:gd name="connsiteX96" fmla="*/ 731520 w 3025140"/>
                  <a:gd name="connsiteY96" fmla="*/ 3558540 h 3680460"/>
                  <a:gd name="connsiteX97" fmla="*/ 1341120 w 3025140"/>
                  <a:gd name="connsiteY97" fmla="*/ 3550920 h 3680460"/>
                  <a:gd name="connsiteX98" fmla="*/ 1440180 w 3025140"/>
                  <a:gd name="connsiteY98" fmla="*/ 3528060 h 3680460"/>
                  <a:gd name="connsiteX99" fmla="*/ 1539240 w 3025140"/>
                  <a:gd name="connsiteY99" fmla="*/ 3520440 h 3680460"/>
                  <a:gd name="connsiteX100" fmla="*/ 1562100 w 3025140"/>
                  <a:gd name="connsiteY100" fmla="*/ 3512820 h 3680460"/>
                  <a:gd name="connsiteX101" fmla="*/ 1630680 w 3025140"/>
                  <a:gd name="connsiteY101" fmla="*/ 3497580 h 3680460"/>
                  <a:gd name="connsiteX102" fmla="*/ 1699260 w 3025140"/>
                  <a:gd name="connsiteY102" fmla="*/ 3474720 h 3680460"/>
                  <a:gd name="connsiteX103" fmla="*/ 1790700 w 3025140"/>
                  <a:gd name="connsiteY103" fmla="*/ 3451860 h 3680460"/>
                  <a:gd name="connsiteX104" fmla="*/ 1821180 w 3025140"/>
                  <a:gd name="connsiteY104" fmla="*/ 3444240 h 3680460"/>
                  <a:gd name="connsiteX105" fmla="*/ 1844040 w 3025140"/>
                  <a:gd name="connsiteY105" fmla="*/ 3429000 h 3680460"/>
                  <a:gd name="connsiteX106" fmla="*/ 1874520 w 3025140"/>
                  <a:gd name="connsiteY106" fmla="*/ 3421380 h 3680460"/>
                  <a:gd name="connsiteX107" fmla="*/ 1927860 w 3025140"/>
                  <a:gd name="connsiteY107" fmla="*/ 3398520 h 3680460"/>
                  <a:gd name="connsiteX108" fmla="*/ 1950720 w 3025140"/>
                  <a:gd name="connsiteY108" fmla="*/ 3390900 h 3680460"/>
                  <a:gd name="connsiteX109" fmla="*/ 2004060 w 3025140"/>
                  <a:gd name="connsiteY109" fmla="*/ 3360420 h 3680460"/>
                  <a:gd name="connsiteX110" fmla="*/ 2042160 w 3025140"/>
                  <a:gd name="connsiteY110" fmla="*/ 3352800 h 3680460"/>
                  <a:gd name="connsiteX111" fmla="*/ 2080260 w 3025140"/>
                  <a:gd name="connsiteY111" fmla="*/ 3337560 h 3680460"/>
                  <a:gd name="connsiteX112" fmla="*/ 2156460 w 3025140"/>
                  <a:gd name="connsiteY112" fmla="*/ 3299460 h 3680460"/>
                  <a:gd name="connsiteX113" fmla="*/ 2179320 w 3025140"/>
                  <a:gd name="connsiteY113" fmla="*/ 3284220 h 3680460"/>
                  <a:gd name="connsiteX114" fmla="*/ 2209800 w 3025140"/>
                  <a:gd name="connsiteY114" fmla="*/ 3276600 h 3680460"/>
                  <a:gd name="connsiteX115" fmla="*/ 2263140 w 3025140"/>
                  <a:gd name="connsiteY115" fmla="*/ 3230880 h 3680460"/>
                  <a:gd name="connsiteX116" fmla="*/ 2346960 w 3025140"/>
                  <a:gd name="connsiteY116" fmla="*/ 3154680 h 3680460"/>
                  <a:gd name="connsiteX117" fmla="*/ 2400300 w 3025140"/>
                  <a:gd name="connsiteY117" fmla="*/ 3070860 h 3680460"/>
                  <a:gd name="connsiteX118" fmla="*/ 2415540 w 3025140"/>
                  <a:gd name="connsiteY118" fmla="*/ 3048000 h 3680460"/>
                  <a:gd name="connsiteX119" fmla="*/ 2446020 w 3025140"/>
                  <a:gd name="connsiteY119" fmla="*/ 3032760 h 3680460"/>
                  <a:gd name="connsiteX120" fmla="*/ 2468880 w 3025140"/>
                  <a:gd name="connsiteY120" fmla="*/ 3009900 h 3680460"/>
                  <a:gd name="connsiteX121" fmla="*/ 2537460 w 3025140"/>
                  <a:gd name="connsiteY121" fmla="*/ 2926080 h 3680460"/>
                  <a:gd name="connsiteX122" fmla="*/ 2575560 w 3025140"/>
                  <a:gd name="connsiteY122" fmla="*/ 2880360 h 3680460"/>
                  <a:gd name="connsiteX123" fmla="*/ 2628900 w 3025140"/>
                  <a:gd name="connsiteY123" fmla="*/ 2811780 h 3680460"/>
                  <a:gd name="connsiteX124" fmla="*/ 2644140 w 3025140"/>
                  <a:gd name="connsiteY124" fmla="*/ 2773680 h 3680460"/>
                  <a:gd name="connsiteX125" fmla="*/ 2674620 w 3025140"/>
                  <a:gd name="connsiteY125" fmla="*/ 2727960 h 3680460"/>
                  <a:gd name="connsiteX126" fmla="*/ 2689860 w 3025140"/>
                  <a:gd name="connsiteY126" fmla="*/ 2705100 h 3680460"/>
                  <a:gd name="connsiteX127" fmla="*/ 2705100 w 3025140"/>
                  <a:gd name="connsiteY127" fmla="*/ 2667000 h 3680460"/>
                  <a:gd name="connsiteX128" fmla="*/ 2727960 w 3025140"/>
                  <a:gd name="connsiteY128" fmla="*/ 2621280 h 3680460"/>
                  <a:gd name="connsiteX129" fmla="*/ 2735580 w 3025140"/>
                  <a:gd name="connsiteY129" fmla="*/ 2590800 h 3680460"/>
                  <a:gd name="connsiteX130" fmla="*/ 2758440 w 3025140"/>
                  <a:gd name="connsiteY130" fmla="*/ 2545080 h 3680460"/>
                  <a:gd name="connsiteX131" fmla="*/ 2788920 w 3025140"/>
                  <a:gd name="connsiteY131" fmla="*/ 2484120 h 3680460"/>
                  <a:gd name="connsiteX132" fmla="*/ 2811780 w 3025140"/>
                  <a:gd name="connsiteY132" fmla="*/ 2407920 h 3680460"/>
                  <a:gd name="connsiteX133" fmla="*/ 2842260 w 3025140"/>
                  <a:gd name="connsiteY133" fmla="*/ 2324100 h 3680460"/>
                  <a:gd name="connsiteX134" fmla="*/ 2857500 w 3025140"/>
                  <a:gd name="connsiteY134" fmla="*/ 2247900 h 3680460"/>
                  <a:gd name="connsiteX135" fmla="*/ 2872740 w 3025140"/>
                  <a:gd name="connsiteY135" fmla="*/ 2194560 h 3680460"/>
                  <a:gd name="connsiteX136" fmla="*/ 2887980 w 3025140"/>
                  <a:gd name="connsiteY136" fmla="*/ 2148840 h 3680460"/>
                  <a:gd name="connsiteX137" fmla="*/ 2910840 w 3025140"/>
                  <a:gd name="connsiteY137" fmla="*/ 2087880 h 3680460"/>
                  <a:gd name="connsiteX138" fmla="*/ 2918460 w 3025140"/>
                  <a:gd name="connsiteY138" fmla="*/ 2049780 h 3680460"/>
                  <a:gd name="connsiteX139" fmla="*/ 2933700 w 3025140"/>
                  <a:gd name="connsiteY139" fmla="*/ 1844040 h 3680460"/>
                  <a:gd name="connsiteX140" fmla="*/ 2918460 w 3025140"/>
                  <a:gd name="connsiteY140" fmla="*/ 1470660 h 3680460"/>
                  <a:gd name="connsiteX141" fmla="*/ 2895600 w 3025140"/>
                  <a:gd name="connsiteY141" fmla="*/ 1371600 h 3680460"/>
                  <a:gd name="connsiteX142" fmla="*/ 2880360 w 3025140"/>
                  <a:gd name="connsiteY142" fmla="*/ 1341120 h 3680460"/>
                  <a:gd name="connsiteX143" fmla="*/ 2857500 w 3025140"/>
                  <a:gd name="connsiteY143" fmla="*/ 1272540 h 3680460"/>
                  <a:gd name="connsiteX144" fmla="*/ 2849880 w 3025140"/>
                  <a:gd name="connsiteY144" fmla="*/ 1234440 h 3680460"/>
                  <a:gd name="connsiteX145" fmla="*/ 2827020 w 3025140"/>
                  <a:gd name="connsiteY145" fmla="*/ 1196340 h 3680460"/>
                  <a:gd name="connsiteX146" fmla="*/ 2811780 w 3025140"/>
                  <a:gd name="connsiteY146" fmla="*/ 1165860 h 3680460"/>
                  <a:gd name="connsiteX147" fmla="*/ 2781300 w 3025140"/>
                  <a:gd name="connsiteY147" fmla="*/ 1127760 h 3680460"/>
                  <a:gd name="connsiteX148" fmla="*/ 2766060 w 3025140"/>
                  <a:gd name="connsiteY148" fmla="*/ 1089660 h 3680460"/>
                  <a:gd name="connsiteX149" fmla="*/ 2735580 w 3025140"/>
                  <a:gd name="connsiteY149" fmla="*/ 1043940 h 3680460"/>
                  <a:gd name="connsiteX150" fmla="*/ 2727960 w 3025140"/>
                  <a:gd name="connsiteY150" fmla="*/ 1021080 h 3680460"/>
                  <a:gd name="connsiteX151" fmla="*/ 2682240 w 3025140"/>
                  <a:gd name="connsiteY151" fmla="*/ 937260 h 3680460"/>
                  <a:gd name="connsiteX152" fmla="*/ 2659380 w 3025140"/>
                  <a:gd name="connsiteY152" fmla="*/ 876300 h 3680460"/>
                  <a:gd name="connsiteX153" fmla="*/ 2644140 w 3025140"/>
                  <a:gd name="connsiteY153" fmla="*/ 845820 h 3680460"/>
                  <a:gd name="connsiteX154" fmla="*/ 2636520 w 3025140"/>
                  <a:gd name="connsiteY154" fmla="*/ 822960 h 3680460"/>
                  <a:gd name="connsiteX155" fmla="*/ 2621280 w 3025140"/>
                  <a:gd name="connsiteY155" fmla="*/ 800100 h 3680460"/>
                  <a:gd name="connsiteX156" fmla="*/ 2598420 w 3025140"/>
                  <a:gd name="connsiteY156" fmla="*/ 739140 h 3680460"/>
                  <a:gd name="connsiteX157" fmla="*/ 2458403 w 3025140"/>
                  <a:gd name="connsiteY157" fmla="*/ 621983 h 3680460"/>
                  <a:gd name="connsiteX158" fmla="*/ 2301240 w 3025140"/>
                  <a:gd name="connsiteY158" fmla="*/ 458152 h 3680460"/>
                  <a:gd name="connsiteX159" fmla="*/ 2237423 w 3025140"/>
                  <a:gd name="connsiteY159" fmla="*/ 406717 h 3680460"/>
                  <a:gd name="connsiteX160" fmla="*/ 2103120 w 3025140"/>
                  <a:gd name="connsiteY160" fmla="*/ 312420 h 3680460"/>
                  <a:gd name="connsiteX161" fmla="*/ 2042160 w 3025140"/>
                  <a:gd name="connsiteY161" fmla="*/ 266700 h 3680460"/>
                  <a:gd name="connsiteX162" fmla="*/ 2004060 w 3025140"/>
                  <a:gd name="connsiteY162" fmla="*/ 251460 h 3680460"/>
                  <a:gd name="connsiteX163" fmla="*/ 1958340 w 3025140"/>
                  <a:gd name="connsiteY163" fmla="*/ 220980 h 3680460"/>
                  <a:gd name="connsiteX164" fmla="*/ 1897380 w 3025140"/>
                  <a:gd name="connsiteY164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887980 w 3025140"/>
                  <a:gd name="connsiteY23" fmla="*/ 944880 h 3680460"/>
                  <a:gd name="connsiteX24" fmla="*/ 2918460 w 3025140"/>
                  <a:gd name="connsiteY24" fmla="*/ 1036320 h 3680460"/>
                  <a:gd name="connsiteX25" fmla="*/ 2933700 w 3025140"/>
                  <a:gd name="connsiteY25" fmla="*/ 1074420 h 3680460"/>
                  <a:gd name="connsiteX26" fmla="*/ 2948940 w 3025140"/>
                  <a:gd name="connsiteY26" fmla="*/ 1120140 h 3680460"/>
                  <a:gd name="connsiteX27" fmla="*/ 2964180 w 3025140"/>
                  <a:gd name="connsiteY27" fmla="*/ 1203960 h 3680460"/>
                  <a:gd name="connsiteX28" fmla="*/ 2979420 w 3025140"/>
                  <a:gd name="connsiteY28" fmla="*/ 1264920 h 3680460"/>
                  <a:gd name="connsiteX29" fmla="*/ 2987040 w 3025140"/>
                  <a:gd name="connsiteY29" fmla="*/ 1318260 h 3680460"/>
                  <a:gd name="connsiteX30" fmla="*/ 2994660 w 3025140"/>
                  <a:gd name="connsiteY30" fmla="*/ 1348740 h 3680460"/>
                  <a:gd name="connsiteX31" fmla="*/ 3009900 w 3025140"/>
                  <a:gd name="connsiteY31" fmla="*/ 1432560 h 3680460"/>
                  <a:gd name="connsiteX32" fmla="*/ 3017520 w 3025140"/>
                  <a:gd name="connsiteY32" fmla="*/ 1684020 h 3680460"/>
                  <a:gd name="connsiteX33" fmla="*/ 3025140 w 3025140"/>
                  <a:gd name="connsiteY33" fmla="*/ 1744980 h 3680460"/>
                  <a:gd name="connsiteX34" fmla="*/ 3017520 w 3025140"/>
                  <a:gd name="connsiteY34" fmla="*/ 2095500 h 3680460"/>
                  <a:gd name="connsiteX35" fmla="*/ 3009900 w 3025140"/>
                  <a:gd name="connsiteY35" fmla="*/ 2125980 h 3680460"/>
                  <a:gd name="connsiteX36" fmla="*/ 2979420 w 3025140"/>
                  <a:gd name="connsiteY36" fmla="*/ 2194560 h 3680460"/>
                  <a:gd name="connsiteX37" fmla="*/ 2956560 w 3025140"/>
                  <a:gd name="connsiteY37" fmla="*/ 2247900 h 3680460"/>
                  <a:gd name="connsiteX38" fmla="*/ 2941320 w 3025140"/>
                  <a:gd name="connsiteY38" fmla="*/ 2324100 h 3680460"/>
                  <a:gd name="connsiteX39" fmla="*/ 2926080 w 3025140"/>
                  <a:gd name="connsiteY39" fmla="*/ 2392680 h 3680460"/>
                  <a:gd name="connsiteX40" fmla="*/ 2918460 w 3025140"/>
                  <a:gd name="connsiteY40" fmla="*/ 2415540 h 3680460"/>
                  <a:gd name="connsiteX41" fmla="*/ 2895600 w 3025140"/>
                  <a:gd name="connsiteY41" fmla="*/ 2484120 h 3680460"/>
                  <a:gd name="connsiteX42" fmla="*/ 2872740 w 3025140"/>
                  <a:gd name="connsiteY42" fmla="*/ 2583180 h 3680460"/>
                  <a:gd name="connsiteX43" fmla="*/ 2857500 w 3025140"/>
                  <a:gd name="connsiteY43" fmla="*/ 2606040 h 3680460"/>
                  <a:gd name="connsiteX44" fmla="*/ 2834640 w 3025140"/>
                  <a:gd name="connsiteY44" fmla="*/ 2689860 h 3680460"/>
                  <a:gd name="connsiteX45" fmla="*/ 2811780 w 3025140"/>
                  <a:gd name="connsiteY45" fmla="*/ 2750820 h 3680460"/>
                  <a:gd name="connsiteX46" fmla="*/ 2788920 w 3025140"/>
                  <a:gd name="connsiteY46" fmla="*/ 2781300 h 3680460"/>
                  <a:gd name="connsiteX47" fmla="*/ 2781300 w 3025140"/>
                  <a:gd name="connsiteY47" fmla="*/ 2804160 h 3680460"/>
                  <a:gd name="connsiteX48" fmla="*/ 2743200 w 3025140"/>
                  <a:gd name="connsiteY48" fmla="*/ 2865120 h 3680460"/>
                  <a:gd name="connsiteX49" fmla="*/ 2712720 w 3025140"/>
                  <a:gd name="connsiteY49" fmla="*/ 2903220 h 3680460"/>
                  <a:gd name="connsiteX50" fmla="*/ 2697480 w 3025140"/>
                  <a:gd name="connsiteY50" fmla="*/ 2933700 h 3680460"/>
                  <a:gd name="connsiteX51" fmla="*/ 2674620 w 3025140"/>
                  <a:gd name="connsiteY51" fmla="*/ 2964180 h 3680460"/>
                  <a:gd name="connsiteX52" fmla="*/ 2644140 w 3025140"/>
                  <a:gd name="connsiteY52" fmla="*/ 3009900 h 3680460"/>
                  <a:gd name="connsiteX53" fmla="*/ 2598420 w 3025140"/>
                  <a:gd name="connsiteY53" fmla="*/ 3055620 h 3680460"/>
                  <a:gd name="connsiteX54" fmla="*/ 2575560 w 3025140"/>
                  <a:gd name="connsiteY54" fmla="*/ 3078480 h 3680460"/>
                  <a:gd name="connsiteX55" fmla="*/ 2476500 w 3025140"/>
                  <a:gd name="connsiteY55" fmla="*/ 3169920 h 3680460"/>
                  <a:gd name="connsiteX56" fmla="*/ 2377440 w 3025140"/>
                  <a:gd name="connsiteY56" fmla="*/ 3223260 h 3680460"/>
                  <a:gd name="connsiteX57" fmla="*/ 2293620 w 3025140"/>
                  <a:gd name="connsiteY57" fmla="*/ 3284220 h 3680460"/>
                  <a:gd name="connsiteX58" fmla="*/ 2240280 w 3025140"/>
                  <a:gd name="connsiteY58" fmla="*/ 3314700 h 3680460"/>
                  <a:gd name="connsiteX59" fmla="*/ 2225040 w 3025140"/>
                  <a:gd name="connsiteY59" fmla="*/ 3337560 h 3680460"/>
                  <a:gd name="connsiteX60" fmla="*/ 2141220 w 3025140"/>
                  <a:gd name="connsiteY60" fmla="*/ 3390900 h 3680460"/>
                  <a:gd name="connsiteX61" fmla="*/ 2110740 w 3025140"/>
                  <a:gd name="connsiteY61" fmla="*/ 3413760 h 3680460"/>
                  <a:gd name="connsiteX62" fmla="*/ 2072640 w 3025140"/>
                  <a:gd name="connsiteY62" fmla="*/ 3451860 h 3680460"/>
                  <a:gd name="connsiteX63" fmla="*/ 2019300 w 3025140"/>
                  <a:gd name="connsiteY63" fmla="*/ 3467100 h 3680460"/>
                  <a:gd name="connsiteX64" fmla="*/ 1874520 w 3025140"/>
                  <a:gd name="connsiteY64" fmla="*/ 3512820 h 3680460"/>
                  <a:gd name="connsiteX65" fmla="*/ 1828800 w 3025140"/>
                  <a:gd name="connsiteY65" fmla="*/ 3520440 h 3680460"/>
                  <a:gd name="connsiteX66" fmla="*/ 1722120 w 3025140"/>
                  <a:gd name="connsiteY66" fmla="*/ 3550920 h 3680460"/>
                  <a:gd name="connsiteX67" fmla="*/ 1600200 w 3025140"/>
                  <a:gd name="connsiteY67" fmla="*/ 3589020 h 3680460"/>
                  <a:gd name="connsiteX68" fmla="*/ 1569720 w 3025140"/>
                  <a:gd name="connsiteY68" fmla="*/ 3596640 h 3680460"/>
                  <a:gd name="connsiteX69" fmla="*/ 1546860 w 3025140"/>
                  <a:gd name="connsiteY69" fmla="*/ 3611880 h 3680460"/>
                  <a:gd name="connsiteX70" fmla="*/ 1463040 w 3025140"/>
                  <a:gd name="connsiteY70" fmla="*/ 3627120 h 3680460"/>
                  <a:gd name="connsiteX71" fmla="*/ 1333500 w 3025140"/>
                  <a:gd name="connsiteY71" fmla="*/ 3657600 h 3680460"/>
                  <a:gd name="connsiteX72" fmla="*/ 1203960 w 3025140"/>
                  <a:gd name="connsiteY72" fmla="*/ 3672840 h 3680460"/>
                  <a:gd name="connsiteX73" fmla="*/ 1165860 w 3025140"/>
                  <a:gd name="connsiteY73" fmla="*/ 3680460 h 3680460"/>
                  <a:gd name="connsiteX74" fmla="*/ 449580 w 3025140"/>
                  <a:gd name="connsiteY74" fmla="*/ 3672840 h 3680460"/>
                  <a:gd name="connsiteX75" fmla="*/ 426720 w 3025140"/>
                  <a:gd name="connsiteY75" fmla="*/ 3665220 h 3680460"/>
                  <a:gd name="connsiteX76" fmla="*/ 388620 w 3025140"/>
                  <a:gd name="connsiteY76" fmla="*/ 3657600 h 3680460"/>
                  <a:gd name="connsiteX77" fmla="*/ 335280 w 3025140"/>
                  <a:gd name="connsiteY77" fmla="*/ 3627120 h 3680460"/>
                  <a:gd name="connsiteX78" fmla="*/ 266700 w 3025140"/>
                  <a:gd name="connsiteY78" fmla="*/ 3604260 h 3680460"/>
                  <a:gd name="connsiteX79" fmla="*/ 243840 w 3025140"/>
                  <a:gd name="connsiteY79" fmla="*/ 3589020 h 3680460"/>
                  <a:gd name="connsiteX80" fmla="*/ 160020 w 3025140"/>
                  <a:gd name="connsiteY80" fmla="*/ 3558540 h 3680460"/>
                  <a:gd name="connsiteX81" fmla="*/ 137160 w 3025140"/>
                  <a:gd name="connsiteY81" fmla="*/ 3535680 h 3680460"/>
                  <a:gd name="connsiteX82" fmla="*/ 99060 w 3025140"/>
                  <a:gd name="connsiteY82" fmla="*/ 3520440 h 3680460"/>
                  <a:gd name="connsiteX83" fmla="*/ 83820 w 3025140"/>
                  <a:gd name="connsiteY83" fmla="*/ 3489960 h 3680460"/>
                  <a:gd name="connsiteX84" fmla="*/ 45720 w 3025140"/>
                  <a:gd name="connsiteY84" fmla="*/ 3436620 h 3680460"/>
                  <a:gd name="connsiteX85" fmla="*/ 0 w 3025140"/>
                  <a:gd name="connsiteY85" fmla="*/ 3352800 h 3680460"/>
                  <a:gd name="connsiteX86" fmla="*/ 30480 w 3025140"/>
                  <a:gd name="connsiteY86" fmla="*/ 3345180 h 3680460"/>
                  <a:gd name="connsiteX87" fmla="*/ 137160 w 3025140"/>
                  <a:gd name="connsiteY87" fmla="*/ 3360420 h 3680460"/>
                  <a:gd name="connsiteX88" fmla="*/ 167640 w 3025140"/>
                  <a:gd name="connsiteY88" fmla="*/ 3390900 h 3680460"/>
                  <a:gd name="connsiteX89" fmla="*/ 198120 w 3025140"/>
                  <a:gd name="connsiteY89" fmla="*/ 3406140 h 3680460"/>
                  <a:gd name="connsiteX90" fmla="*/ 350520 w 3025140"/>
                  <a:gd name="connsiteY90" fmla="*/ 3436620 h 3680460"/>
                  <a:gd name="connsiteX91" fmla="*/ 381000 w 3025140"/>
                  <a:gd name="connsiteY91" fmla="*/ 3451860 h 3680460"/>
                  <a:gd name="connsiteX92" fmla="*/ 449580 w 3025140"/>
                  <a:gd name="connsiteY92" fmla="*/ 3489960 h 3680460"/>
                  <a:gd name="connsiteX93" fmla="*/ 495300 w 3025140"/>
                  <a:gd name="connsiteY93" fmla="*/ 3520440 h 3680460"/>
                  <a:gd name="connsiteX94" fmla="*/ 525780 w 3025140"/>
                  <a:gd name="connsiteY94" fmla="*/ 3535680 h 3680460"/>
                  <a:gd name="connsiteX95" fmla="*/ 731520 w 3025140"/>
                  <a:gd name="connsiteY95" fmla="*/ 3558540 h 3680460"/>
                  <a:gd name="connsiteX96" fmla="*/ 1341120 w 3025140"/>
                  <a:gd name="connsiteY96" fmla="*/ 3550920 h 3680460"/>
                  <a:gd name="connsiteX97" fmla="*/ 1440180 w 3025140"/>
                  <a:gd name="connsiteY97" fmla="*/ 3528060 h 3680460"/>
                  <a:gd name="connsiteX98" fmla="*/ 1539240 w 3025140"/>
                  <a:gd name="connsiteY98" fmla="*/ 3520440 h 3680460"/>
                  <a:gd name="connsiteX99" fmla="*/ 1562100 w 3025140"/>
                  <a:gd name="connsiteY99" fmla="*/ 3512820 h 3680460"/>
                  <a:gd name="connsiteX100" fmla="*/ 1630680 w 3025140"/>
                  <a:gd name="connsiteY100" fmla="*/ 3497580 h 3680460"/>
                  <a:gd name="connsiteX101" fmla="*/ 1699260 w 3025140"/>
                  <a:gd name="connsiteY101" fmla="*/ 3474720 h 3680460"/>
                  <a:gd name="connsiteX102" fmla="*/ 1790700 w 3025140"/>
                  <a:gd name="connsiteY102" fmla="*/ 3451860 h 3680460"/>
                  <a:gd name="connsiteX103" fmla="*/ 1821180 w 3025140"/>
                  <a:gd name="connsiteY103" fmla="*/ 3444240 h 3680460"/>
                  <a:gd name="connsiteX104" fmla="*/ 1844040 w 3025140"/>
                  <a:gd name="connsiteY104" fmla="*/ 3429000 h 3680460"/>
                  <a:gd name="connsiteX105" fmla="*/ 1874520 w 3025140"/>
                  <a:gd name="connsiteY105" fmla="*/ 3421380 h 3680460"/>
                  <a:gd name="connsiteX106" fmla="*/ 1927860 w 3025140"/>
                  <a:gd name="connsiteY106" fmla="*/ 3398520 h 3680460"/>
                  <a:gd name="connsiteX107" fmla="*/ 1950720 w 3025140"/>
                  <a:gd name="connsiteY107" fmla="*/ 3390900 h 3680460"/>
                  <a:gd name="connsiteX108" fmla="*/ 2004060 w 3025140"/>
                  <a:gd name="connsiteY108" fmla="*/ 3360420 h 3680460"/>
                  <a:gd name="connsiteX109" fmla="*/ 2042160 w 3025140"/>
                  <a:gd name="connsiteY109" fmla="*/ 3352800 h 3680460"/>
                  <a:gd name="connsiteX110" fmla="*/ 2080260 w 3025140"/>
                  <a:gd name="connsiteY110" fmla="*/ 3337560 h 3680460"/>
                  <a:gd name="connsiteX111" fmla="*/ 2156460 w 3025140"/>
                  <a:gd name="connsiteY111" fmla="*/ 3299460 h 3680460"/>
                  <a:gd name="connsiteX112" fmla="*/ 2179320 w 3025140"/>
                  <a:gd name="connsiteY112" fmla="*/ 3284220 h 3680460"/>
                  <a:gd name="connsiteX113" fmla="*/ 2209800 w 3025140"/>
                  <a:gd name="connsiteY113" fmla="*/ 3276600 h 3680460"/>
                  <a:gd name="connsiteX114" fmla="*/ 2263140 w 3025140"/>
                  <a:gd name="connsiteY114" fmla="*/ 3230880 h 3680460"/>
                  <a:gd name="connsiteX115" fmla="*/ 2346960 w 3025140"/>
                  <a:gd name="connsiteY115" fmla="*/ 3154680 h 3680460"/>
                  <a:gd name="connsiteX116" fmla="*/ 2400300 w 3025140"/>
                  <a:gd name="connsiteY116" fmla="*/ 3070860 h 3680460"/>
                  <a:gd name="connsiteX117" fmla="*/ 2415540 w 3025140"/>
                  <a:gd name="connsiteY117" fmla="*/ 3048000 h 3680460"/>
                  <a:gd name="connsiteX118" fmla="*/ 2446020 w 3025140"/>
                  <a:gd name="connsiteY118" fmla="*/ 3032760 h 3680460"/>
                  <a:gd name="connsiteX119" fmla="*/ 2468880 w 3025140"/>
                  <a:gd name="connsiteY119" fmla="*/ 3009900 h 3680460"/>
                  <a:gd name="connsiteX120" fmla="*/ 2537460 w 3025140"/>
                  <a:gd name="connsiteY120" fmla="*/ 2926080 h 3680460"/>
                  <a:gd name="connsiteX121" fmla="*/ 2575560 w 3025140"/>
                  <a:gd name="connsiteY121" fmla="*/ 2880360 h 3680460"/>
                  <a:gd name="connsiteX122" fmla="*/ 2628900 w 3025140"/>
                  <a:gd name="connsiteY122" fmla="*/ 2811780 h 3680460"/>
                  <a:gd name="connsiteX123" fmla="*/ 2644140 w 3025140"/>
                  <a:gd name="connsiteY123" fmla="*/ 2773680 h 3680460"/>
                  <a:gd name="connsiteX124" fmla="*/ 2674620 w 3025140"/>
                  <a:gd name="connsiteY124" fmla="*/ 2727960 h 3680460"/>
                  <a:gd name="connsiteX125" fmla="*/ 2689860 w 3025140"/>
                  <a:gd name="connsiteY125" fmla="*/ 2705100 h 3680460"/>
                  <a:gd name="connsiteX126" fmla="*/ 2705100 w 3025140"/>
                  <a:gd name="connsiteY126" fmla="*/ 2667000 h 3680460"/>
                  <a:gd name="connsiteX127" fmla="*/ 2727960 w 3025140"/>
                  <a:gd name="connsiteY127" fmla="*/ 2621280 h 3680460"/>
                  <a:gd name="connsiteX128" fmla="*/ 2735580 w 3025140"/>
                  <a:gd name="connsiteY128" fmla="*/ 2590800 h 3680460"/>
                  <a:gd name="connsiteX129" fmla="*/ 2758440 w 3025140"/>
                  <a:gd name="connsiteY129" fmla="*/ 2545080 h 3680460"/>
                  <a:gd name="connsiteX130" fmla="*/ 2788920 w 3025140"/>
                  <a:gd name="connsiteY130" fmla="*/ 2484120 h 3680460"/>
                  <a:gd name="connsiteX131" fmla="*/ 2811780 w 3025140"/>
                  <a:gd name="connsiteY131" fmla="*/ 2407920 h 3680460"/>
                  <a:gd name="connsiteX132" fmla="*/ 2842260 w 3025140"/>
                  <a:gd name="connsiteY132" fmla="*/ 2324100 h 3680460"/>
                  <a:gd name="connsiteX133" fmla="*/ 2857500 w 3025140"/>
                  <a:gd name="connsiteY133" fmla="*/ 2247900 h 3680460"/>
                  <a:gd name="connsiteX134" fmla="*/ 2872740 w 3025140"/>
                  <a:gd name="connsiteY134" fmla="*/ 2194560 h 3680460"/>
                  <a:gd name="connsiteX135" fmla="*/ 2887980 w 3025140"/>
                  <a:gd name="connsiteY135" fmla="*/ 2148840 h 3680460"/>
                  <a:gd name="connsiteX136" fmla="*/ 2910840 w 3025140"/>
                  <a:gd name="connsiteY136" fmla="*/ 2087880 h 3680460"/>
                  <a:gd name="connsiteX137" fmla="*/ 2918460 w 3025140"/>
                  <a:gd name="connsiteY137" fmla="*/ 2049780 h 3680460"/>
                  <a:gd name="connsiteX138" fmla="*/ 2933700 w 3025140"/>
                  <a:gd name="connsiteY138" fmla="*/ 1844040 h 3680460"/>
                  <a:gd name="connsiteX139" fmla="*/ 2918460 w 3025140"/>
                  <a:gd name="connsiteY139" fmla="*/ 1470660 h 3680460"/>
                  <a:gd name="connsiteX140" fmla="*/ 2895600 w 3025140"/>
                  <a:gd name="connsiteY140" fmla="*/ 1371600 h 3680460"/>
                  <a:gd name="connsiteX141" fmla="*/ 2880360 w 3025140"/>
                  <a:gd name="connsiteY141" fmla="*/ 1341120 h 3680460"/>
                  <a:gd name="connsiteX142" fmla="*/ 2857500 w 3025140"/>
                  <a:gd name="connsiteY142" fmla="*/ 1272540 h 3680460"/>
                  <a:gd name="connsiteX143" fmla="*/ 2849880 w 3025140"/>
                  <a:gd name="connsiteY143" fmla="*/ 1234440 h 3680460"/>
                  <a:gd name="connsiteX144" fmla="*/ 2827020 w 3025140"/>
                  <a:gd name="connsiteY144" fmla="*/ 1196340 h 3680460"/>
                  <a:gd name="connsiteX145" fmla="*/ 2811780 w 3025140"/>
                  <a:gd name="connsiteY145" fmla="*/ 1165860 h 3680460"/>
                  <a:gd name="connsiteX146" fmla="*/ 2781300 w 3025140"/>
                  <a:gd name="connsiteY146" fmla="*/ 1127760 h 3680460"/>
                  <a:gd name="connsiteX147" fmla="*/ 2766060 w 3025140"/>
                  <a:gd name="connsiteY147" fmla="*/ 1089660 h 3680460"/>
                  <a:gd name="connsiteX148" fmla="*/ 2735580 w 3025140"/>
                  <a:gd name="connsiteY148" fmla="*/ 1043940 h 3680460"/>
                  <a:gd name="connsiteX149" fmla="*/ 2727960 w 3025140"/>
                  <a:gd name="connsiteY149" fmla="*/ 1021080 h 3680460"/>
                  <a:gd name="connsiteX150" fmla="*/ 2682240 w 3025140"/>
                  <a:gd name="connsiteY150" fmla="*/ 937260 h 3680460"/>
                  <a:gd name="connsiteX151" fmla="*/ 2659380 w 3025140"/>
                  <a:gd name="connsiteY151" fmla="*/ 876300 h 3680460"/>
                  <a:gd name="connsiteX152" fmla="*/ 2644140 w 3025140"/>
                  <a:gd name="connsiteY152" fmla="*/ 845820 h 3680460"/>
                  <a:gd name="connsiteX153" fmla="*/ 2636520 w 3025140"/>
                  <a:gd name="connsiteY153" fmla="*/ 822960 h 3680460"/>
                  <a:gd name="connsiteX154" fmla="*/ 2621280 w 3025140"/>
                  <a:gd name="connsiteY154" fmla="*/ 800100 h 3680460"/>
                  <a:gd name="connsiteX155" fmla="*/ 2598420 w 3025140"/>
                  <a:gd name="connsiteY155" fmla="*/ 739140 h 3680460"/>
                  <a:gd name="connsiteX156" fmla="*/ 2458403 w 3025140"/>
                  <a:gd name="connsiteY156" fmla="*/ 621983 h 3680460"/>
                  <a:gd name="connsiteX157" fmla="*/ 2301240 w 3025140"/>
                  <a:gd name="connsiteY157" fmla="*/ 458152 h 3680460"/>
                  <a:gd name="connsiteX158" fmla="*/ 2237423 w 3025140"/>
                  <a:gd name="connsiteY158" fmla="*/ 406717 h 3680460"/>
                  <a:gd name="connsiteX159" fmla="*/ 2103120 w 3025140"/>
                  <a:gd name="connsiteY159" fmla="*/ 312420 h 3680460"/>
                  <a:gd name="connsiteX160" fmla="*/ 2042160 w 3025140"/>
                  <a:gd name="connsiteY160" fmla="*/ 266700 h 3680460"/>
                  <a:gd name="connsiteX161" fmla="*/ 2004060 w 3025140"/>
                  <a:gd name="connsiteY161" fmla="*/ 251460 h 3680460"/>
                  <a:gd name="connsiteX162" fmla="*/ 1958340 w 3025140"/>
                  <a:gd name="connsiteY162" fmla="*/ 220980 h 3680460"/>
                  <a:gd name="connsiteX163" fmla="*/ 1897380 w 3025140"/>
                  <a:gd name="connsiteY16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918460 w 3025140"/>
                  <a:gd name="connsiteY23" fmla="*/ 1036320 h 3680460"/>
                  <a:gd name="connsiteX24" fmla="*/ 2933700 w 3025140"/>
                  <a:gd name="connsiteY24" fmla="*/ 1074420 h 3680460"/>
                  <a:gd name="connsiteX25" fmla="*/ 2948940 w 3025140"/>
                  <a:gd name="connsiteY25" fmla="*/ 1120140 h 3680460"/>
                  <a:gd name="connsiteX26" fmla="*/ 2964180 w 3025140"/>
                  <a:gd name="connsiteY26" fmla="*/ 1203960 h 3680460"/>
                  <a:gd name="connsiteX27" fmla="*/ 2979420 w 3025140"/>
                  <a:gd name="connsiteY27" fmla="*/ 1264920 h 3680460"/>
                  <a:gd name="connsiteX28" fmla="*/ 2987040 w 3025140"/>
                  <a:gd name="connsiteY28" fmla="*/ 1318260 h 3680460"/>
                  <a:gd name="connsiteX29" fmla="*/ 2994660 w 3025140"/>
                  <a:gd name="connsiteY29" fmla="*/ 1348740 h 3680460"/>
                  <a:gd name="connsiteX30" fmla="*/ 3009900 w 3025140"/>
                  <a:gd name="connsiteY30" fmla="*/ 1432560 h 3680460"/>
                  <a:gd name="connsiteX31" fmla="*/ 3017520 w 3025140"/>
                  <a:gd name="connsiteY31" fmla="*/ 1684020 h 3680460"/>
                  <a:gd name="connsiteX32" fmla="*/ 3025140 w 3025140"/>
                  <a:gd name="connsiteY32" fmla="*/ 1744980 h 3680460"/>
                  <a:gd name="connsiteX33" fmla="*/ 3017520 w 3025140"/>
                  <a:gd name="connsiteY33" fmla="*/ 2095500 h 3680460"/>
                  <a:gd name="connsiteX34" fmla="*/ 3009900 w 3025140"/>
                  <a:gd name="connsiteY34" fmla="*/ 2125980 h 3680460"/>
                  <a:gd name="connsiteX35" fmla="*/ 2979420 w 3025140"/>
                  <a:gd name="connsiteY35" fmla="*/ 2194560 h 3680460"/>
                  <a:gd name="connsiteX36" fmla="*/ 2956560 w 3025140"/>
                  <a:gd name="connsiteY36" fmla="*/ 2247900 h 3680460"/>
                  <a:gd name="connsiteX37" fmla="*/ 2941320 w 3025140"/>
                  <a:gd name="connsiteY37" fmla="*/ 2324100 h 3680460"/>
                  <a:gd name="connsiteX38" fmla="*/ 2926080 w 3025140"/>
                  <a:gd name="connsiteY38" fmla="*/ 2392680 h 3680460"/>
                  <a:gd name="connsiteX39" fmla="*/ 2918460 w 3025140"/>
                  <a:gd name="connsiteY39" fmla="*/ 2415540 h 3680460"/>
                  <a:gd name="connsiteX40" fmla="*/ 2895600 w 3025140"/>
                  <a:gd name="connsiteY40" fmla="*/ 2484120 h 3680460"/>
                  <a:gd name="connsiteX41" fmla="*/ 2872740 w 3025140"/>
                  <a:gd name="connsiteY41" fmla="*/ 2583180 h 3680460"/>
                  <a:gd name="connsiteX42" fmla="*/ 2857500 w 3025140"/>
                  <a:gd name="connsiteY42" fmla="*/ 2606040 h 3680460"/>
                  <a:gd name="connsiteX43" fmla="*/ 2834640 w 3025140"/>
                  <a:gd name="connsiteY43" fmla="*/ 2689860 h 3680460"/>
                  <a:gd name="connsiteX44" fmla="*/ 2811780 w 3025140"/>
                  <a:gd name="connsiteY44" fmla="*/ 2750820 h 3680460"/>
                  <a:gd name="connsiteX45" fmla="*/ 2788920 w 3025140"/>
                  <a:gd name="connsiteY45" fmla="*/ 2781300 h 3680460"/>
                  <a:gd name="connsiteX46" fmla="*/ 2781300 w 3025140"/>
                  <a:gd name="connsiteY46" fmla="*/ 2804160 h 3680460"/>
                  <a:gd name="connsiteX47" fmla="*/ 2743200 w 3025140"/>
                  <a:gd name="connsiteY47" fmla="*/ 2865120 h 3680460"/>
                  <a:gd name="connsiteX48" fmla="*/ 2712720 w 3025140"/>
                  <a:gd name="connsiteY48" fmla="*/ 2903220 h 3680460"/>
                  <a:gd name="connsiteX49" fmla="*/ 2697480 w 3025140"/>
                  <a:gd name="connsiteY49" fmla="*/ 2933700 h 3680460"/>
                  <a:gd name="connsiteX50" fmla="*/ 2674620 w 3025140"/>
                  <a:gd name="connsiteY50" fmla="*/ 2964180 h 3680460"/>
                  <a:gd name="connsiteX51" fmla="*/ 2644140 w 3025140"/>
                  <a:gd name="connsiteY51" fmla="*/ 3009900 h 3680460"/>
                  <a:gd name="connsiteX52" fmla="*/ 2598420 w 3025140"/>
                  <a:gd name="connsiteY52" fmla="*/ 3055620 h 3680460"/>
                  <a:gd name="connsiteX53" fmla="*/ 2575560 w 3025140"/>
                  <a:gd name="connsiteY53" fmla="*/ 3078480 h 3680460"/>
                  <a:gd name="connsiteX54" fmla="*/ 2476500 w 3025140"/>
                  <a:gd name="connsiteY54" fmla="*/ 3169920 h 3680460"/>
                  <a:gd name="connsiteX55" fmla="*/ 2377440 w 3025140"/>
                  <a:gd name="connsiteY55" fmla="*/ 3223260 h 3680460"/>
                  <a:gd name="connsiteX56" fmla="*/ 2293620 w 3025140"/>
                  <a:gd name="connsiteY56" fmla="*/ 3284220 h 3680460"/>
                  <a:gd name="connsiteX57" fmla="*/ 2240280 w 3025140"/>
                  <a:gd name="connsiteY57" fmla="*/ 3314700 h 3680460"/>
                  <a:gd name="connsiteX58" fmla="*/ 2225040 w 3025140"/>
                  <a:gd name="connsiteY58" fmla="*/ 3337560 h 3680460"/>
                  <a:gd name="connsiteX59" fmla="*/ 2141220 w 3025140"/>
                  <a:gd name="connsiteY59" fmla="*/ 3390900 h 3680460"/>
                  <a:gd name="connsiteX60" fmla="*/ 2110740 w 3025140"/>
                  <a:gd name="connsiteY60" fmla="*/ 3413760 h 3680460"/>
                  <a:gd name="connsiteX61" fmla="*/ 2072640 w 3025140"/>
                  <a:gd name="connsiteY61" fmla="*/ 3451860 h 3680460"/>
                  <a:gd name="connsiteX62" fmla="*/ 2019300 w 3025140"/>
                  <a:gd name="connsiteY62" fmla="*/ 3467100 h 3680460"/>
                  <a:gd name="connsiteX63" fmla="*/ 1874520 w 3025140"/>
                  <a:gd name="connsiteY63" fmla="*/ 3512820 h 3680460"/>
                  <a:gd name="connsiteX64" fmla="*/ 1828800 w 3025140"/>
                  <a:gd name="connsiteY64" fmla="*/ 3520440 h 3680460"/>
                  <a:gd name="connsiteX65" fmla="*/ 1722120 w 3025140"/>
                  <a:gd name="connsiteY65" fmla="*/ 3550920 h 3680460"/>
                  <a:gd name="connsiteX66" fmla="*/ 1600200 w 3025140"/>
                  <a:gd name="connsiteY66" fmla="*/ 3589020 h 3680460"/>
                  <a:gd name="connsiteX67" fmla="*/ 1569720 w 3025140"/>
                  <a:gd name="connsiteY67" fmla="*/ 3596640 h 3680460"/>
                  <a:gd name="connsiteX68" fmla="*/ 1546860 w 3025140"/>
                  <a:gd name="connsiteY68" fmla="*/ 3611880 h 3680460"/>
                  <a:gd name="connsiteX69" fmla="*/ 1463040 w 3025140"/>
                  <a:gd name="connsiteY69" fmla="*/ 3627120 h 3680460"/>
                  <a:gd name="connsiteX70" fmla="*/ 1333500 w 3025140"/>
                  <a:gd name="connsiteY70" fmla="*/ 3657600 h 3680460"/>
                  <a:gd name="connsiteX71" fmla="*/ 1203960 w 3025140"/>
                  <a:gd name="connsiteY71" fmla="*/ 3672840 h 3680460"/>
                  <a:gd name="connsiteX72" fmla="*/ 1165860 w 3025140"/>
                  <a:gd name="connsiteY72" fmla="*/ 3680460 h 3680460"/>
                  <a:gd name="connsiteX73" fmla="*/ 449580 w 3025140"/>
                  <a:gd name="connsiteY73" fmla="*/ 3672840 h 3680460"/>
                  <a:gd name="connsiteX74" fmla="*/ 426720 w 3025140"/>
                  <a:gd name="connsiteY74" fmla="*/ 3665220 h 3680460"/>
                  <a:gd name="connsiteX75" fmla="*/ 388620 w 3025140"/>
                  <a:gd name="connsiteY75" fmla="*/ 3657600 h 3680460"/>
                  <a:gd name="connsiteX76" fmla="*/ 335280 w 3025140"/>
                  <a:gd name="connsiteY76" fmla="*/ 3627120 h 3680460"/>
                  <a:gd name="connsiteX77" fmla="*/ 266700 w 3025140"/>
                  <a:gd name="connsiteY77" fmla="*/ 3604260 h 3680460"/>
                  <a:gd name="connsiteX78" fmla="*/ 243840 w 3025140"/>
                  <a:gd name="connsiteY78" fmla="*/ 3589020 h 3680460"/>
                  <a:gd name="connsiteX79" fmla="*/ 160020 w 3025140"/>
                  <a:gd name="connsiteY79" fmla="*/ 3558540 h 3680460"/>
                  <a:gd name="connsiteX80" fmla="*/ 137160 w 3025140"/>
                  <a:gd name="connsiteY80" fmla="*/ 3535680 h 3680460"/>
                  <a:gd name="connsiteX81" fmla="*/ 99060 w 3025140"/>
                  <a:gd name="connsiteY81" fmla="*/ 3520440 h 3680460"/>
                  <a:gd name="connsiteX82" fmla="*/ 83820 w 3025140"/>
                  <a:gd name="connsiteY82" fmla="*/ 3489960 h 3680460"/>
                  <a:gd name="connsiteX83" fmla="*/ 45720 w 3025140"/>
                  <a:gd name="connsiteY83" fmla="*/ 3436620 h 3680460"/>
                  <a:gd name="connsiteX84" fmla="*/ 0 w 3025140"/>
                  <a:gd name="connsiteY84" fmla="*/ 3352800 h 3680460"/>
                  <a:gd name="connsiteX85" fmla="*/ 30480 w 3025140"/>
                  <a:gd name="connsiteY85" fmla="*/ 3345180 h 3680460"/>
                  <a:gd name="connsiteX86" fmla="*/ 137160 w 3025140"/>
                  <a:gd name="connsiteY86" fmla="*/ 3360420 h 3680460"/>
                  <a:gd name="connsiteX87" fmla="*/ 167640 w 3025140"/>
                  <a:gd name="connsiteY87" fmla="*/ 3390900 h 3680460"/>
                  <a:gd name="connsiteX88" fmla="*/ 198120 w 3025140"/>
                  <a:gd name="connsiteY88" fmla="*/ 3406140 h 3680460"/>
                  <a:gd name="connsiteX89" fmla="*/ 350520 w 3025140"/>
                  <a:gd name="connsiteY89" fmla="*/ 3436620 h 3680460"/>
                  <a:gd name="connsiteX90" fmla="*/ 381000 w 3025140"/>
                  <a:gd name="connsiteY90" fmla="*/ 3451860 h 3680460"/>
                  <a:gd name="connsiteX91" fmla="*/ 449580 w 3025140"/>
                  <a:gd name="connsiteY91" fmla="*/ 3489960 h 3680460"/>
                  <a:gd name="connsiteX92" fmla="*/ 495300 w 3025140"/>
                  <a:gd name="connsiteY92" fmla="*/ 3520440 h 3680460"/>
                  <a:gd name="connsiteX93" fmla="*/ 525780 w 3025140"/>
                  <a:gd name="connsiteY93" fmla="*/ 3535680 h 3680460"/>
                  <a:gd name="connsiteX94" fmla="*/ 731520 w 3025140"/>
                  <a:gd name="connsiteY94" fmla="*/ 3558540 h 3680460"/>
                  <a:gd name="connsiteX95" fmla="*/ 1341120 w 3025140"/>
                  <a:gd name="connsiteY95" fmla="*/ 3550920 h 3680460"/>
                  <a:gd name="connsiteX96" fmla="*/ 1440180 w 3025140"/>
                  <a:gd name="connsiteY96" fmla="*/ 3528060 h 3680460"/>
                  <a:gd name="connsiteX97" fmla="*/ 1539240 w 3025140"/>
                  <a:gd name="connsiteY97" fmla="*/ 3520440 h 3680460"/>
                  <a:gd name="connsiteX98" fmla="*/ 1562100 w 3025140"/>
                  <a:gd name="connsiteY98" fmla="*/ 3512820 h 3680460"/>
                  <a:gd name="connsiteX99" fmla="*/ 1630680 w 3025140"/>
                  <a:gd name="connsiteY99" fmla="*/ 3497580 h 3680460"/>
                  <a:gd name="connsiteX100" fmla="*/ 1699260 w 3025140"/>
                  <a:gd name="connsiteY100" fmla="*/ 3474720 h 3680460"/>
                  <a:gd name="connsiteX101" fmla="*/ 1790700 w 3025140"/>
                  <a:gd name="connsiteY101" fmla="*/ 3451860 h 3680460"/>
                  <a:gd name="connsiteX102" fmla="*/ 1821180 w 3025140"/>
                  <a:gd name="connsiteY102" fmla="*/ 3444240 h 3680460"/>
                  <a:gd name="connsiteX103" fmla="*/ 1844040 w 3025140"/>
                  <a:gd name="connsiteY103" fmla="*/ 3429000 h 3680460"/>
                  <a:gd name="connsiteX104" fmla="*/ 1874520 w 3025140"/>
                  <a:gd name="connsiteY104" fmla="*/ 3421380 h 3680460"/>
                  <a:gd name="connsiteX105" fmla="*/ 1927860 w 3025140"/>
                  <a:gd name="connsiteY105" fmla="*/ 3398520 h 3680460"/>
                  <a:gd name="connsiteX106" fmla="*/ 1950720 w 3025140"/>
                  <a:gd name="connsiteY106" fmla="*/ 3390900 h 3680460"/>
                  <a:gd name="connsiteX107" fmla="*/ 2004060 w 3025140"/>
                  <a:gd name="connsiteY107" fmla="*/ 3360420 h 3680460"/>
                  <a:gd name="connsiteX108" fmla="*/ 2042160 w 3025140"/>
                  <a:gd name="connsiteY108" fmla="*/ 3352800 h 3680460"/>
                  <a:gd name="connsiteX109" fmla="*/ 2080260 w 3025140"/>
                  <a:gd name="connsiteY109" fmla="*/ 3337560 h 3680460"/>
                  <a:gd name="connsiteX110" fmla="*/ 2156460 w 3025140"/>
                  <a:gd name="connsiteY110" fmla="*/ 3299460 h 3680460"/>
                  <a:gd name="connsiteX111" fmla="*/ 2179320 w 3025140"/>
                  <a:gd name="connsiteY111" fmla="*/ 3284220 h 3680460"/>
                  <a:gd name="connsiteX112" fmla="*/ 2209800 w 3025140"/>
                  <a:gd name="connsiteY112" fmla="*/ 3276600 h 3680460"/>
                  <a:gd name="connsiteX113" fmla="*/ 2263140 w 3025140"/>
                  <a:gd name="connsiteY113" fmla="*/ 3230880 h 3680460"/>
                  <a:gd name="connsiteX114" fmla="*/ 2346960 w 3025140"/>
                  <a:gd name="connsiteY114" fmla="*/ 3154680 h 3680460"/>
                  <a:gd name="connsiteX115" fmla="*/ 2400300 w 3025140"/>
                  <a:gd name="connsiteY115" fmla="*/ 3070860 h 3680460"/>
                  <a:gd name="connsiteX116" fmla="*/ 2415540 w 3025140"/>
                  <a:gd name="connsiteY116" fmla="*/ 3048000 h 3680460"/>
                  <a:gd name="connsiteX117" fmla="*/ 2446020 w 3025140"/>
                  <a:gd name="connsiteY117" fmla="*/ 3032760 h 3680460"/>
                  <a:gd name="connsiteX118" fmla="*/ 2468880 w 3025140"/>
                  <a:gd name="connsiteY118" fmla="*/ 3009900 h 3680460"/>
                  <a:gd name="connsiteX119" fmla="*/ 2537460 w 3025140"/>
                  <a:gd name="connsiteY119" fmla="*/ 2926080 h 3680460"/>
                  <a:gd name="connsiteX120" fmla="*/ 2575560 w 3025140"/>
                  <a:gd name="connsiteY120" fmla="*/ 2880360 h 3680460"/>
                  <a:gd name="connsiteX121" fmla="*/ 2628900 w 3025140"/>
                  <a:gd name="connsiteY121" fmla="*/ 2811780 h 3680460"/>
                  <a:gd name="connsiteX122" fmla="*/ 2644140 w 3025140"/>
                  <a:gd name="connsiteY122" fmla="*/ 2773680 h 3680460"/>
                  <a:gd name="connsiteX123" fmla="*/ 2674620 w 3025140"/>
                  <a:gd name="connsiteY123" fmla="*/ 2727960 h 3680460"/>
                  <a:gd name="connsiteX124" fmla="*/ 2689860 w 3025140"/>
                  <a:gd name="connsiteY124" fmla="*/ 2705100 h 3680460"/>
                  <a:gd name="connsiteX125" fmla="*/ 2705100 w 3025140"/>
                  <a:gd name="connsiteY125" fmla="*/ 2667000 h 3680460"/>
                  <a:gd name="connsiteX126" fmla="*/ 2727960 w 3025140"/>
                  <a:gd name="connsiteY126" fmla="*/ 2621280 h 3680460"/>
                  <a:gd name="connsiteX127" fmla="*/ 2735580 w 3025140"/>
                  <a:gd name="connsiteY127" fmla="*/ 2590800 h 3680460"/>
                  <a:gd name="connsiteX128" fmla="*/ 2758440 w 3025140"/>
                  <a:gd name="connsiteY128" fmla="*/ 2545080 h 3680460"/>
                  <a:gd name="connsiteX129" fmla="*/ 2788920 w 3025140"/>
                  <a:gd name="connsiteY129" fmla="*/ 2484120 h 3680460"/>
                  <a:gd name="connsiteX130" fmla="*/ 2811780 w 3025140"/>
                  <a:gd name="connsiteY130" fmla="*/ 2407920 h 3680460"/>
                  <a:gd name="connsiteX131" fmla="*/ 2842260 w 3025140"/>
                  <a:gd name="connsiteY131" fmla="*/ 2324100 h 3680460"/>
                  <a:gd name="connsiteX132" fmla="*/ 2857500 w 3025140"/>
                  <a:gd name="connsiteY132" fmla="*/ 2247900 h 3680460"/>
                  <a:gd name="connsiteX133" fmla="*/ 2872740 w 3025140"/>
                  <a:gd name="connsiteY133" fmla="*/ 2194560 h 3680460"/>
                  <a:gd name="connsiteX134" fmla="*/ 2887980 w 3025140"/>
                  <a:gd name="connsiteY134" fmla="*/ 2148840 h 3680460"/>
                  <a:gd name="connsiteX135" fmla="*/ 2910840 w 3025140"/>
                  <a:gd name="connsiteY135" fmla="*/ 2087880 h 3680460"/>
                  <a:gd name="connsiteX136" fmla="*/ 2918460 w 3025140"/>
                  <a:gd name="connsiteY136" fmla="*/ 2049780 h 3680460"/>
                  <a:gd name="connsiteX137" fmla="*/ 2933700 w 3025140"/>
                  <a:gd name="connsiteY137" fmla="*/ 1844040 h 3680460"/>
                  <a:gd name="connsiteX138" fmla="*/ 2918460 w 3025140"/>
                  <a:gd name="connsiteY138" fmla="*/ 1470660 h 3680460"/>
                  <a:gd name="connsiteX139" fmla="*/ 2895600 w 3025140"/>
                  <a:gd name="connsiteY139" fmla="*/ 1371600 h 3680460"/>
                  <a:gd name="connsiteX140" fmla="*/ 2880360 w 3025140"/>
                  <a:gd name="connsiteY140" fmla="*/ 1341120 h 3680460"/>
                  <a:gd name="connsiteX141" fmla="*/ 2857500 w 3025140"/>
                  <a:gd name="connsiteY141" fmla="*/ 1272540 h 3680460"/>
                  <a:gd name="connsiteX142" fmla="*/ 2849880 w 3025140"/>
                  <a:gd name="connsiteY142" fmla="*/ 1234440 h 3680460"/>
                  <a:gd name="connsiteX143" fmla="*/ 2827020 w 3025140"/>
                  <a:gd name="connsiteY143" fmla="*/ 1196340 h 3680460"/>
                  <a:gd name="connsiteX144" fmla="*/ 2811780 w 3025140"/>
                  <a:gd name="connsiteY144" fmla="*/ 1165860 h 3680460"/>
                  <a:gd name="connsiteX145" fmla="*/ 2781300 w 3025140"/>
                  <a:gd name="connsiteY145" fmla="*/ 1127760 h 3680460"/>
                  <a:gd name="connsiteX146" fmla="*/ 2766060 w 3025140"/>
                  <a:gd name="connsiteY146" fmla="*/ 1089660 h 3680460"/>
                  <a:gd name="connsiteX147" fmla="*/ 2735580 w 3025140"/>
                  <a:gd name="connsiteY147" fmla="*/ 1043940 h 3680460"/>
                  <a:gd name="connsiteX148" fmla="*/ 2727960 w 3025140"/>
                  <a:gd name="connsiteY148" fmla="*/ 1021080 h 3680460"/>
                  <a:gd name="connsiteX149" fmla="*/ 2682240 w 3025140"/>
                  <a:gd name="connsiteY149" fmla="*/ 937260 h 3680460"/>
                  <a:gd name="connsiteX150" fmla="*/ 2659380 w 3025140"/>
                  <a:gd name="connsiteY150" fmla="*/ 876300 h 3680460"/>
                  <a:gd name="connsiteX151" fmla="*/ 2644140 w 3025140"/>
                  <a:gd name="connsiteY151" fmla="*/ 845820 h 3680460"/>
                  <a:gd name="connsiteX152" fmla="*/ 2636520 w 3025140"/>
                  <a:gd name="connsiteY152" fmla="*/ 822960 h 3680460"/>
                  <a:gd name="connsiteX153" fmla="*/ 2621280 w 3025140"/>
                  <a:gd name="connsiteY153" fmla="*/ 800100 h 3680460"/>
                  <a:gd name="connsiteX154" fmla="*/ 2598420 w 3025140"/>
                  <a:gd name="connsiteY154" fmla="*/ 739140 h 3680460"/>
                  <a:gd name="connsiteX155" fmla="*/ 2458403 w 3025140"/>
                  <a:gd name="connsiteY155" fmla="*/ 621983 h 3680460"/>
                  <a:gd name="connsiteX156" fmla="*/ 2301240 w 3025140"/>
                  <a:gd name="connsiteY156" fmla="*/ 458152 h 3680460"/>
                  <a:gd name="connsiteX157" fmla="*/ 2237423 w 3025140"/>
                  <a:gd name="connsiteY157" fmla="*/ 406717 h 3680460"/>
                  <a:gd name="connsiteX158" fmla="*/ 2103120 w 3025140"/>
                  <a:gd name="connsiteY158" fmla="*/ 312420 h 3680460"/>
                  <a:gd name="connsiteX159" fmla="*/ 2042160 w 3025140"/>
                  <a:gd name="connsiteY159" fmla="*/ 266700 h 3680460"/>
                  <a:gd name="connsiteX160" fmla="*/ 2004060 w 3025140"/>
                  <a:gd name="connsiteY160" fmla="*/ 251460 h 3680460"/>
                  <a:gd name="connsiteX161" fmla="*/ 1958340 w 3025140"/>
                  <a:gd name="connsiteY161" fmla="*/ 220980 h 3680460"/>
                  <a:gd name="connsiteX162" fmla="*/ 1897380 w 3025140"/>
                  <a:gd name="connsiteY162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48940 w 3025140"/>
                  <a:gd name="connsiteY24" fmla="*/ 1120140 h 3680460"/>
                  <a:gd name="connsiteX25" fmla="*/ 2964180 w 3025140"/>
                  <a:gd name="connsiteY25" fmla="*/ 1203960 h 3680460"/>
                  <a:gd name="connsiteX26" fmla="*/ 2979420 w 3025140"/>
                  <a:gd name="connsiteY26" fmla="*/ 1264920 h 3680460"/>
                  <a:gd name="connsiteX27" fmla="*/ 2987040 w 3025140"/>
                  <a:gd name="connsiteY27" fmla="*/ 1318260 h 3680460"/>
                  <a:gd name="connsiteX28" fmla="*/ 2994660 w 3025140"/>
                  <a:gd name="connsiteY28" fmla="*/ 1348740 h 3680460"/>
                  <a:gd name="connsiteX29" fmla="*/ 3009900 w 3025140"/>
                  <a:gd name="connsiteY29" fmla="*/ 1432560 h 3680460"/>
                  <a:gd name="connsiteX30" fmla="*/ 3017520 w 3025140"/>
                  <a:gd name="connsiteY30" fmla="*/ 1684020 h 3680460"/>
                  <a:gd name="connsiteX31" fmla="*/ 3025140 w 3025140"/>
                  <a:gd name="connsiteY31" fmla="*/ 1744980 h 3680460"/>
                  <a:gd name="connsiteX32" fmla="*/ 3017520 w 3025140"/>
                  <a:gd name="connsiteY32" fmla="*/ 2095500 h 3680460"/>
                  <a:gd name="connsiteX33" fmla="*/ 3009900 w 3025140"/>
                  <a:gd name="connsiteY33" fmla="*/ 2125980 h 3680460"/>
                  <a:gd name="connsiteX34" fmla="*/ 2979420 w 3025140"/>
                  <a:gd name="connsiteY34" fmla="*/ 2194560 h 3680460"/>
                  <a:gd name="connsiteX35" fmla="*/ 2956560 w 3025140"/>
                  <a:gd name="connsiteY35" fmla="*/ 2247900 h 3680460"/>
                  <a:gd name="connsiteX36" fmla="*/ 2941320 w 3025140"/>
                  <a:gd name="connsiteY36" fmla="*/ 2324100 h 3680460"/>
                  <a:gd name="connsiteX37" fmla="*/ 2926080 w 3025140"/>
                  <a:gd name="connsiteY37" fmla="*/ 2392680 h 3680460"/>
                  <a:gd name="connsiteX38" fmla="*/ 2918460 w 3025140"/>
                  <a:gd name="connsiteY38" fmla="*/ 2415540 h 3680460"/>
                  <a:gd name="connsiteX39" fmla="*/ 2895600 w 3025140"/>
                  <a:gd name="connsiteY39" fmla="*/ 2484120 h 3680460"/>
                  <a:gd name="connsiteX40" fmla="*/ 2872740 w 3025140"/>
                  <a:gd name="connsiteY40" fmla="*/ 2583180 h 3680460"/>
                  <a:gd name="connsiteX41" fmla="*/ 2857500 w 3025140"/>
                  <a:gd name="connsiteY41" fmla="*/ 2606040 h 3680460"/>
                  <a:gd name="connsiteX42" fmla="*/ 2834640 w 3025140"/>
                  <a:gd name="connsiteY42" fmla="*/ 2689860 h 3680460"/>
                  <a:gd name="connsiteX43" fmla="*/ 2811780 w 3025140"/>
                  <a:gd name="connsiteY43" fmla="*/ 2750820 h 3680460"/>
                  <a:gd name="connsiteX44" fmla="*/ 2788920 w 3025140"/>
                  <a:gd name="connsiteY44" fmla="*/ 2781300 h 3680460"/>
                  <a:gd name="connsiteX45" fmla="*/ 2781300 w 3025140"/>
                  <a:gd name="connsiteY45" fmla="*/ 2804160 h 3680460"/>
                  <a:gd name="connsiteX46" fmla="*/ 2743200 w 3025140"/>
                  <a:gd name="connsiteY46" fmla="*/ 2865120 h 3680460"/>
                  <a:gd name="connsiteX47" fmla="*/ 2712720 w 3025140"/>
                  <a:gd name="connsiteY47" fmla="*/ 2903220 h 3680460"/>
                  <a:gd name="connsiteX48" fmla="*/ 2697480 w 3025140"/>
                  <a:gd name="connsiteY48" fmla="*/ 2933700 h 3680460"/>
                  <a:gd name="connsiteX49" fmla="*/ 2674620 w 3025140"/>
                  <a:gd name="connsiteY49" fmla="*/ 2964180 h 3680460"/>
                  <a:gd name="connsiteX50" fmla="*/ 2644140 w 3025140"/>
                  <a:gd name="connsiteY50" fmla="*/ 3009900 h 3680460"/>
                  <a:gd name="connsiteX51" fmla="*/ 2598420 w 3025140"/>
                  <a:gd name="connsiteY51" fmla="*/ 3055620 h 3680460"/>
                  <a:gd name="connsiteX52" fmla="*/ 2575560 w 3025140"/>
                  <a:gd name="connsiteY52" fmla="*/ 3078480 h 3680460"/>
                  <a:gd name="connsiteX53" fmla="*/ 2476500 w 3025140"/>
                  <a:gd name="connsiteY53" fmla="*/ 3169920 h 3680460"/>
                  <a:gd name="connsiteX54" fmla="*/ 2377440 w 3025140"/>
                  <a:gd name="connsiteY54" fmla="*/ 3223260 h 3680460"/>
                  <a:gd name="connsiteX55" fmla="*/ 2293620 w 3025140"/>
                  <a:gd name="connsiteY55" fmla="*/ 3284220 h 3680460"/>
                  <a:gd name="connsiteX56" fmla="*/ 2240280 w 3025140"/>
                  <a:gd name="connsiteY56" fmla="*/ 3314700 h 3680460"/>
                  <a:gd name="connsiteX57" fmla="*/ 2225040 w 3025140"/>
                  <a:gd name="connsiteY57" fmla="*/ 3337560 h 3680460"/>
                  <a:gd name="connsiteX58" fmla="*/ 2141220 w 3025140"/>
                  <a:gd name="connsiteY58" fmla="*/ 3390900 h 3680460"/>
                  <a:gd name="connsiteX59" fmla="*/ 2110740 w 3025140"/>
                  <a:gd name="connsiteY59" fmla="*/ 3413760 h 3680460"/>
                  <a:gd name="connsiteX60" fmla="*/ 2072640 w 3025140"/>
                  <a:gd name="connsiteY60" fmla="*/ 3451860 h 3680460"/>
                  <a:gd name="connsiteX61" fmla="*/ 2019300 w 3025140"/>
                  <a:gd name="connsiteY61" fmla="*/ 3467100 h 3680460"/>
                  <a:gd name="connsiteX62" fmla="*/ 1874520 w 3025140"/>
                  <a:gd name="connsiteY62" fmla="*/ 3512820 h 3680460"/>
                  <a:gd name="connsiteX63" fmla="*/ 1828800 w 3025140"/>
                  <a:gd name="connsiteY63" fmla="*/ 3520440 h 3680460"/>
                  <a:gd name="connsiteX64" fmla="*/ 1722120 w 3025140"/>
                  <a:gd name="connsiteY64" fmla="*/ 3550920 h 3680460"/>
                  <a:gd name="connsiteX65" fmla="*/ 1600200 w 3025140"/>
                  <a:gd name="connsiteY65" fmla="*/ 3589020 h 3680460"/>
                  <a:gd name="connsiteX66" fmla="*/ 1569720 w 3025140"/>
                  <a:gd name="connsiteY66" fmla="*/ 3596640 h 3680460"/>
                  <a:gd name="connsiteX67" fmla="*/ 1546860 w 3025140"/>
                  <a:gd name="connsiteY67" fmla="*/ 3611880 h 3680460"/>
                  <a:gd name="connsiteX68" fmla="*/ 1463040 w 3025140"/>
                  <a:gd name="connsiteY68" fmla="*/ 3627120 h 3680460"/>
                  <a:gd name="connsiteX69" fmla="*/ 1333500 w 3025140"/>
                  <a:gd name="connsiteY69" fmla="*/ 3657600 h 3680460"/>
                  <a:gd name="connsiteX70" fmla="*/ 1203960 w 3025140"/>
                  <a:gd name="connsiteY70" fmla="*/ 3672840 h 3680460"/>
                  <a:gd name="connsiteX71" fmla="*/ 1165860 w 3025140"/>
                  <a:gd name="connsiteY71" fmla="*/ 3680460 h 3680460"/>
                  <a:gd name="connsiteX72" fmla="*/ 449580 w 3025140"/>
                  <a:gd name="connsiteY72" fmla="*/ 3672840 h 3680460"/>
                  <a:gd name="connsiteX73" fmla="*/ 426720 w 3025140"/>
                  <a:gd name="connsiteY73" fmla="*/ 3665220 h 3680460"/>
                  <a:gd name="connsiteX74" fmla="*/ 388620 w 3025140"/>
                  <a:gd name="connsiteY74" fmla="*/ 3657600 h 3680460"/>
                  <a:gd name="connsiteX75" fmla="*/ 335280 w 3025140"/>
                  <a:gd name="connsiteY75" fmla="*/ 3627120 h 3680460"/>
                  <a:gd name="connsiteX76" fmla="*/ 266700 w 3025140"/>
                  <a:gd name="connsiteY76" fmla="*/ 3604260 h 3680460"/>
                  <a:gd name="connsiteX77" fmla="*/ 243840 w 3025140"/>
                  <a:gd name="connsiteY77" fmla="*/ 3589020 h 3680460"/>
                  <a:gd name="connsiteX78" fmla="*/ 160020 w 3025140"/>
                  <a:gd name="connsiteY78" fmla="*/ 3558540 h 3680460"/>
                  <a:gd name="connsiteX79" fmla="*/ 137160 w 3025140"/>
                  <a:gd name="connsiteY79" fmla="*/ 3535680 h 3680460"/>
                  <a:gd name="connsiteX80" fmla="*/ 99060 w 3025140"/>
                  <a:gd name="connsiteY80" fmla="*/ 3520440 h 3680460"/>
                  <a:gd name="connsiteX81" fmla="*/ 83820 w 3025140"/>
                  <a:gd name="connsiteY81" fmla="*/ 3489960 h 3680460"/>
                  <a:gd name="connsiteX82" fmla="*/ 45720 w 3025140"/>
                  <a:gd name="connsiteY82" fmla="*/ 3436620 h 3680460"/>
                  <a:gd name="connsiteX83" fmla="*/ 0 w 3025140"/>
                  <a:gd name="connsiteY83" fmla="*/ 3352800 h 3680460"/>
                  <a:gd name="connsiteX84" fmla="*/ 30480 w 3025140"/>
                  <a:gd name="connsiteY84" fmla="*/ 3345180 h 3680460"/>
                  <a:gd name="connsiteX85" fmla="*/ 137160 w 3025140"/>
                  <a:gd name="connsiteY85" fmla="*/ 3360420 h 3680460"/>
                  <a:gd name="connsiteX86" fmla="*/ 167640 w 3025140"/>
                  <a:gd name="connsiteY86" fmla="*/ 3390900 h 3680460"/>
                  <a:gd name="connsiteX87" fmla="*/ 198120 w 3025140"/>
                  <a:gd name="connsiteY87" fmla="*/ 3406140 h 3680460"/>
                  <a:gd name="connsiteX88" fmla="*/ 350520 w 3025140"/>
                  <a:gd name="connsiteY88" fmla="*/ 3436620 h 3680460"/>
                  <a:gd name="connsiteX89" fmla="*/ 381000 w 3025140"/>
                  <a:gd name="connsiteY89" fmla="*/ 3451860 h 3680460"/>
                  <a:gd name="connsiteX90" fmla="*/ 449580 w 3025140"/>
                  <a:gd name="connsiteY90" fmla="*/ 3489960 h 3680460"/>
                  <a:gd name="connsiteX91" fmla="*/ 495300 w 3025140"/>
                  <a:gd name="connsiteY91" fmla="*/ 3520440 h 3680460"/>
                  <a:gd name="connsiteX92" fmla="*/ 525780 w 3025140"/>
                  <a:gd name="connsiteY92" fmla="*/ 3535680 h 3680460"/>
                  <a:gd name="connsiteX93" fmla="*/ 731520 w 3025140"/>
                  <a:gd name="connsiteY93" fmla="*/ 3558540 h 3680460"/>
                  <a:gd name="connsiteX94" fmla="*/ 1341120 w 3025140"/>
                  <a:gd name="connsiteY94" fmla="*/ 3550920 h 3680460"/>
                  <a:gd name="connsiteX95" fmla="*/ 1440180 w 3025140"/>
                  <a:gd name="connsiteY95" fmla="*/ 3528060 h 3680460"/>
                  <a:gd name="connsiteX96" fmla="*/ 1539240 w 3025140"/>
                  <a:gd name="connsiteY96" fmla="*/ 3520440 h 3680460"/>
                  <a:gd name="connsiteX97" fmla="*/ 1562100 w 3025140"/>
                  <a:gd name="connsiteY97" fmla="*/ 3512820 h 3680460"/>
                  <a:gd name="connsiteX98" fmla="*/ 1630680 w 3025140"/>
                  <a:gd name="connsiteY98" fmla="*/ 3497580 h 3680460"/>
                  <a:gd name="connsiteX99" fmla="*/ 1699260 w 3025140"/>
                  <a:gd name="connsiteY99" fmla="*/ 3474720 h 3680460"/>
                  <a:gd name="connsiteX100" fmla="*/ 1790700 w 3025140"/>
                  <a:gd name="connsiteY100" fmla="*/ 3451860 h 3680460"/>
                  <a:gd name="connsiteX101" fmla="*/ 1821180 w 3025140"/>
                  <a:gd name="connsiteY101" fmla="*/ 3444240 h 3680460"/>
                  <a:gd name="connsiteX102" fmla="*/ 1844040 w 3025140"/>
                  <a:gd name="connsiteY102" fmla="*/ 3429000 h 3680460"/>
                  <a:gd name="connsiteX103" fmla="*/ 1874520 w 3025140"/>
                  <a:gd name="connsiteY103" fmla="*/ 3421380 h 3680460"/>
                  <a:gd name="connsiteX104" fmla="*/ 1927860 w 3025140"/>
                  <a:gd name="connsiteY104" fmla="*/ 3398520 h 3680460"/>
                  <a:gd name="connsiteX105" fmla="*/ 1950720 w 3025140"/>
                  <a:gd name="connsiteY105" fmla="*/ 3390900 h 3680460"/>
                  <a:gd name="connsiteX106" fmla="*/ 2004060 w 3025140"/>
                  <a:gd name="connsiteY106" fmla="*/ 3360420 h 3680460"/>
                  <a:gd name="connsiteX107" fmla="*/ 2042160 w 3025140"/>
                  <a:gd name="connsiteY107" fmla="*/ 3352800 h 3680460"/>
                  <a:gd name="connsiteX108" fmla="*/ 2080260 w 3025140"/>
                  <a:gd name="connsiteY108" fmla="*/ 3337560 h 3680460"/>
                  <a:gd name="connsiteX109" fmla="*/ 2156460 w 3025140"/>
                  <a:gd name="connsiteY109" fmla="*/ 3299460 h 3680460"/>
                  <a:gd name="connsiteX110" fmla="*/ 2179320 w 3025140"/>
                  <a:gd name="connsiteY110" fmla="*/ 3284220 h 3680460"/>
                  <a:gd name="connsiteX111" fmla="*/ 2209800 w 3025140"/>
                  <a:gd name="connsiteY111" fmla="*/ 3276600 h 3680460"/>
                  <a:gd name="connsiteX112" fmla="*/ 2263140 w 3025140"/>
                  <a:gd name="connsiteY112" fmla="*/ 3230880 h 3680460"/>
                  <a:gd name="connsiteX113" fmla="*/ 2346960 w 3025140"/>
                  <a:gd name="connsiteY113" fmla="*/ 3154680 h 3680460"/>
                  <a:gd name="connsiteX114" fmla="*/ 2400300 w 3025140"/>
                  <a:gd name="connsiteY114" fmla="*/ 3070860 h 3680460"/>
                  <a:gd name="connsiteX115" fmla="*/ 2415540 w 3025140"/>
                  <a:gd name="connsiteY115" fmla="*/ 3048000 h 3680460"/>
                  <a:gd name="connsiteX116" fmla="*/ 2446020 w 3025140"/>
                  <a:gd name="connsiteY116" fmla="*/ 3032760 h 3680460"/>
                  <a:gd name="connsiteX117" fmla="*/ 2468880 w 3025140"/>
                  <a:gd name="connsiteY117" fmla="*/ 3009900 h 3680460"/>
                  <a:gd name="connsiteX118" fmla="*/ 2537460 w 3025140"/>
                  <a:gd name="connsiteY118" fmla="*/ 2926080 h 3680460"/>
                  <a:gd name="connsiteX119" fmla="*/ 2575560 w 3025140"/>
                  <a:gd name="connsiteY119" fmla="*/ 2880360 h 3680460"/>
                  <a:gd name="connsiteX120" fmla="*/ 2628900 w 3025140"/>
                  <a:gd name="connsiteY120" fmla="*/ 2811780 h 3680460"/>
                  <a:gd name="connsiteX121" fmla="*/ 2644140 w 3025140"/>
                  <a:gd name="connsiteY121" fmla="*/ 2773680 h 3680460"/>
                  <a:gd name="connsiteX122" fmla="*/ 2674620 w 3025140"/>
                  <a:gd name="connsiteY122" fmla="*/ 2727960 h 3680460"/>
                  <a:gd name="connsiteX123" fmla="*/ 2689860 w 3025140"/>
                  <a:gd name="connsiteY123" fmla="*/ 2705100 h 3680460"/>
                  <a:gd name="connsiteX124" fmla="*/ 2705100 w 3025140"/>
                  <a:gd name="connsiteY124" fmla="*/ 2667000 h 3680460"/>
                  <a:gd name="connsiteX125" fmla="*/ 2727960 w 3025140"/>
                  <a:gd name="connsiteY125" fmla="*/ 2621280 h 3680460"/>
                  <a:gd name="connsiteX126" fmla="*/ 2735580 w 3025140"/>
                  <a:gd name="connsiteY126" fmla="*/ 2590800 h 3680460"/>
                  <a:gd name="connsiteX127" fmla="*/ 2758440 w 3025140"/>
                  <a:gd name="connsiteY127" fmla="*/ 2545080 h 3680460"/>
                  <a:gd name="connsiteX128" fmla="*/ 2788920 w 3025140"/>
                  <a:gd name="connsiteY128" fmla="*/ 2484120 h 3680460"/>
                  <a:gd name="connsiteX129" fmla="*/ 2811780 w 3025140"/>
                  <a:gd name="connsiteY129" fmla="*/ 2407920 h 3680460"/>
                  <a:gd name="connsiteX130" fmla="*/ 2842260 w 3025140"/>
                  <a:gd name="connsiteY130" fmla="*/ 2324100 h 3680460"/>
                  <a:gd name="connsiteX131" fmla="*/ 2857500 w 3025140"/>
                  <a:gd name="connsiteY131" fmla="*/ 2247900 h 3680460"/>
                  <a:gd name="connsiteX132" fmla="*/ 2872740 w 3025140"/>
                  <a:gd name="connsiteY132" fmla="*/ 2194560 h 3680460"/>
                  <a:gd name="connsiteX133" fmla="*/ 2887980 w 3025140"/>
                  <a:gd name="connsiteY133" fmla="*/ 2148840 h 3680460"/>
                  <a:gd name="connsiteX134" fmla="*/ 2910840 w 3025140"/>
                  <a:gd name="connsiteY134" fmla="*/ 2087880 h 3680460"/>
                  <a:gd name="connsiteX135" fmla="*/ 2918460 w 3025140"/>
                  <a:gd name="connsiteY135" fmla="*/ 2049780 h 3680460"/>
                  <a:gd name="connsiteX136" fmla="*/ 2933700 w 3025140"/>
                  <a:gd name="connsiteY136" fmla="*/ 1844040 h 3680460"/>
                  <a:gd name="connsiteX137" fmla="*/ 2918460 w 3025140"/>
                  <a:gd name="connsiteY137" fmla="*/ 1470660 h 3680460"/>
                  <a:gd name="connsiteX138" fmla="*/ 2895600 w 3025140"/>
                  <a:gd name="connsiteY138" fmla="*/ 1371600 h 3680460"/>
                  <a:gd name="connsiteX139" fmla="*/ 2880360 w 3025140"/>
                  <a:gd name="connsiteY139" fmla="*/ 1341120 h 3680460"/>
                  <a:gd name="connsiteX140" fmla="*/ 2857500 w 3025140"/>
                  <a:gd name="connsiteY140" fmla="*/ 1272540 h 3680460"/>
                  <a:gd name="connsiteX141" fmla="*/ 2849880 w 3025140"/>
                  <a:gd name="connsiteY141" fmla="*/ 1234440 h 3680460"/>
                  <a:gd name="connsiteX142" fmla="*/ 2827020 w 3025140"/>
                  <a:gd name="connsiteY142" fmla="*/ 1196340 h 3680460"/>
                  <a:gd name="connsiteX143" fmla="*/ 2811780 w 3025140"/>
                  <a:gd name="connsiteY143" fmla="*/ 1165860 h 3680460"/>
                  <a:gd name="connsiteX144" fmla="*/ 2781300 w 3025140"/>
                  <a:gd name="connsiteY144" fmla="*/ 1127760 h 3680460"/>
                  <a:gd name="connsiteX145" fmla="*/ 2766060 w 3025140"/>
                  <a:gd name="connsiteY145" fmla="*/ 1089660 h 3680460"/>
                  <a:gd name="connsiteX146" fmla="*/ 2735580 w 3025140"/>
                  <a:gd name="connsiteY146" fmla="*/ 1043940 h 3680460"/>
                  <a:gd name="connsiteX147" fmla="*/ 2727960 w 3025140"/>
                  <a:gd name="connsiteY147" fmla="*/ 1021080 h 3680460"/>
                  <a:gd name="connsiteX148" fmla="*/ 2682240 w 3025140"/>
                  <a:gd name="connsiteY148" fmla="*/ 937260 h 3680460"/>
                  <a:gd name="connsiteX149" fmla="*/ 2659380 w 3025140"/>
                  <a:gd name="connsiteY149" fmla="*/ 876300 h 3680460"/>
                  <a:gd name="connsiteX150" fmla="*/ 2644140 w 3025140"/>
                  <a:gd name="connsiteY150" fmla="*/ 845820 h 3680460"/>
                  <a:gd name="connsiteX151" fmla="*/ 2636520 w 3025140"/>
                  <a:gd name="connsiteY151" fmla="*/ 822960 h 3680460"/>
                  <a:gd name="connsiteX152" fmla="*/ 2621280 w 3025140"/>
                  <a:gd name="connsiteY152" fmla="*/ 800100 h 3680460"/>
                  <a:gd name="connsiteX153" fmla="*/ 2598420 w 3025140"/>
                  <a:gd name="connsiteY153" fmla="*/ 739140 h 3680460"/>
                  <a:gd name="connsiteX154" fmla="*/ 2458403 w 3025140"/>
                  <a:gd name="connsiteY154" fmla="*/ 621983 h 3680460"/>
                  <a:gd name="connsiteX155" fmla="*/ 2301240 w 3025140"/>
                  <a:gd name="connsiteY155" fmla="*/ 458152 h 3680460"/>
                  <a:gd name="connsiteX156" fmla="*/ 2237423 w 3025140"/>
                  <a:gd name="connsiteY156" fmla="*/ 406717 h 3680460"/>
                  <a:gd name="connsiteX157" fmla="*/ 2103120 w 3025140"/>
                  <a:gd name="connsiteY157" fmla="*/ 312420 h 3680460"/>
                  <a:gd name="connsiteX158" fmla="*/ 2042160 w 3025140"/>
                  <a:gd name="connsiteY158" fmla="*/ 266700 h 3680460"/>
                  <a:gd name="connsiteX159" fmla="*/ 2004060 w 3025140"/>
                  <a:gd name="connsiteY159" fmla="*/ 251460 h 3680460"/>
                  <a:gd name="connsiteX160" fmla="*/ 1958340 w 3025140"/>
                  <a:gd name="connsiteY160" fmla="*/ 220980 h 3680460"/>
                  <a:gd name="connsiteX161" fmla="*/ 1897380 w 3025140"/>
                  <a:gd name="connsiteY16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64180 w 3025140"/>
                  <a:gd name="connsiteY24" fmla="*/ 1203960 h 3680460"/>
                  <a:gd name="connsiteX25" fmla="*/ 2979420 w 3025140"/>
                  <a:gd name="connsiteY25" fmla="*/ 1264920 h 3680460"/>
                  <a:gd name="connsiteX26" fmla="*/ 2987040 w 3025140"/>
                  <a:gd name="connsiteY26" fmla="*/ 1318260 h 3680460"/>
                  <a:gd name="connsiteX27" fmla="*/ 2994660 w 3025140"/>
                  <a:gd name="connsiteY27" fmla="*/ 1348740 h 3680460"/>
                  <a:gd name="connsiteX28" fmla="*/ 3009900 w 3025140"/>
                  <a:gd name="connsiteY28" fmla="*/ 1432560 h 3680460"/>
                  <a:gd name="connsiteX29" fmla="*/ 3017520 w 3025140"/>
                  <a:gd name="connsiteY29" fmla="*/ 1684020 h 3680460"/>
                  <a:gd name="connsiteX30" fmla="*/ 3025140 w 3025140"/>
                  <a:gd name="connsiteY30" fmla="*/ 1744980 h 3680460"/>
                  <a:gd name="connsiteX31" fmla="*/ 3017520 w 3025140"/>
                  <a:gd name="connsiteY31" fmla="*/ 2095500 h 3680460"/>
                  <a:gd name="connsiteX32" fmla="*/ 3009900 w 3025140"/>
                  <a:gd name="connsiteY32" fmla="*/ 2125980 h 3680460"/>
                  <a:gd name="connsiteX33" fmla="*/ 2979420 w 3025140"/>
                  <a:gd name="connsiteY33" fmla="*/ 2194560 h 3680460"/>
                  <a:gd name="connsiteX34" fmla="*/ 2956560 w 3025140"/>
                  <a:gd name="connsiteY34" fmla="*/ 2247900 h 3680460"/>
                  <a:gd name="connsiteX35" fmla="*/ 2941320 w 3025140"/>
                  <a:gd name="connsiteY35" fmla="*/ 2324100 h 3680460"/>
                  <a:gd name="connsiteX36" fmla="*/ 2926080 w 3025140"/>
                  <a:gd name="connsiteY36" fmla="*/ 2392680 h 3680460"/>
                  <a:gd name="connsiteX37" fmla="*/ 2918460 w 3025140"/>
                  <a:gd name="connsiteY37" fmla="*/ 2415540 h 3680460"/>
                  <a:gd name="connsiteX38" fmla="*/ 2895600 w 3025140"/>
                  <a:gd name="connsiteY38" fmla="*/ 2484120 h 3680460"/>
                  <a:gd name="connsiteX39" fmla="*/ 2872740 w 3025140"/>
                  <a:gd name="connsiteY39" fmla="*/ 2583180 h 3680460"/>
                  <a:gd name="connsiteX40" fmla="*/ 2857500 w 3025140"/>
                  <a:gd name="connsiteY40" fmla="*/ 2606040 h 3680460"/>
                  <a:gd name="connsiteX41" fmla="*/ 2834640 w 3025140"/>
                  <a:gd name="connsiteY41" fmla="*/ 2689860 h 3680460"/>
                  <a:gd name="connsiteX42" fmla="*/ 2811780 w 3025140"/>
                  <a:gd name="connsiteY42" fmla="*/ 2750820 h 3680460"/>
                  <a:gd name="connsiteX43" fmla="*/ 2788920 w 3025140"/>
                  <a:gd name="connsiteY43" fmla="*/ 2781300 h 3680460"/>
                  <a:gd name="connsiteX44" fmla="*/ 2781300 w 3025140"/>
                  <a:gd name="connsiteY44" fmla="*/ 2804160 h 3680460"/>
                  <a:gd name="connsiteX45" fmla="*/ 2743200 w 3025140"/>
                  <a:gd name="connsiteY45" fmla="*/ 2865120 h 3680460"/>
                  <a:gd name="connsiteX46" fmla="*/ 2712720 w 3025140"/>
                  <a:gd name="connsiteY46" fmla="*/ 2903220 h 3680460"/>
                  <a:gd name="connsiteX47" fmla="*/ 2697480 w 3025140"/>
                  <a:gd name="connsiteY47" fmla="*/ 2933700 h 3680460"/>
                  <a:gd name="connsiteX48" fmla="*/ 2674620 w 3025140"/>
                  <a:gd name="connsiteY48" fmla="*/ 2964180 h 3680460"/>
                  <a:gd name="connsiteX49" fmla="*/ 2644140 w 3025140"/>
                  <a:gd name="connsiteY49" fmla="*/ 3009900 h 3680460"/>
                  <a:gd name="connsiteX50" fmla="*/ 2598420 w 3025140"/>
                  <a:gd name="connsiteY50" fmla="*/ 3055620 h 3680460"/>
                  <a:gd name="connsiteX51" fmla="*/ 2575560 w 3025140"/>
                  <a:gd name="connsiteY51" fmla="*/ 3078480 h 3680460"/>
                  <a:gd name="connsiteX52" fmla="*/ 2476500 w 3025140"/>
                  <a:gd name="connsiteY52" fmla="*/ 3169920 h 3680460"/>
                  <a:gd name="connsiteX53" fmla="*/ 2377440 w 3025140"/>
                  <a:gd name="connsiteY53" fmla="*/ 3223260 h 3680460"/>
                  <a:gd name="connsiteX54" fmla="*/ 2293620 w 3025140"/>
                  <a:gd name="connsiteY54" fmla="*/ 3284220 h 3680460"/>
                  <a:gd name="connsiteX55" fmla="*/ 2240280 w 3025140"/>
                  <a:gd name="connsiteY55" fmla="*/ 3314700 h 3680460"/>
                  <a:gd name="connsiteX56" fmla="*/ 2225040 w 3025140"/>
                  <a:gd name="connsiteY56" fmla="*/ 3337560 h 3680460"/>
                  <a:gd name="connsiteX57" fmla="*/ 2141220 w 3025140"/>
                  <a:gd name="connsiteY57" fmla="*/ 3390900 h 3680460"/>
                  <a:gd name="connsiteX58" fmla="*/ 2110740 w 3025140"/>
                  <a:gd name="connsiteY58" fmla="*/ 3413760 h 3680460"/>
                  <a:gd name="connsiteX59" fmla="*/ 2072640 w 3025140"/>
                  <a:gd name="connsiteY59" fmla="*/ 3451860 h 3680460"/>
                  <a:gd name="connsiteX60" fmla="*/ 2019300 w 3025140"/>
                  <a:gd name="connsiteY60" fmla="*/ 3467100 h 3680460"/>
                  <a:gd name="connsiteX61" fmla="*/ 1874520 w 3025140"/>
                  <a:gd name="connsiteY61" fmla="*/ 3512820 h 3680460"/>
                  <a:gd name="connsiteX62" fmla="*/ 1828800 w 3025140"/>
                  <a:gd name="connsiteY62" fmla="*/ 3520440 h 3680460"/>
                  <a:gd name="connsiteX63" fmla="*/ 1722120 w 3025140"/>
                  <a:gd name="connsiteY63" fmla="*/ 3550920 h 3680460"/>
                  <a:gd name="connsiteX64" fmla="*/ 1600200 w 3025140"/>
                  <a:gd name="connsiteY64" fmla="*/ 3589020 h 3680460"/>
                  <a:gd name="connsiteX65" fmla="*/ 1569720 w 3025140"/>
                  <a:gd name="connsiteY65" fmla="*/ 3596640 h 3680460"/>
                  <a:gd name="connsiteX66" fmla="*/ 1546860 w 3025140"/>
                  <a:gd name="connsiteY66" fmla="*/ 3611880 h 3680460"/>
                  <a:gd name="connsiteX67" fmla="*/ 1463040 w 3025140"/>
                  <a:gd name="connsiteY67" fmla="*/ 3627120 h 3680460"/>
                  <a:gd name="connsiteX68" fmla="*/ 1333500 w 3025140"/>
                  <a:gd name="connsiteY68" fmla="*/ 3657600 h 3680460"/>
                  <a:gd name="connsiteX69" fmla="*/ 1203960 w 3025140"/>
                  <a:gd name="connsiteY69" fmla="*/ 3672840 h 3680460"/>
                  <a:gd name="connsiteX70" fmla="*/ 1165860 w 3025140"/>
                  <a:gd name="connsiteY70" fmla="*/ 3680460 h 3680460"/>
                  <a:gd name="connsiteX71" fmla="*/ 449580 w 3025140"/>
                  <a:gd name="connsiteY71" fmla="*/ 3672840 h 3680460"/>
                  <a:gd name="connsiteX72" fmla="*/ 426720 w 3025140"/>
                  <a:gd name="connsiteY72" fmla="*/ 3665220 h 3680460"/>
                  <a:gd name="connsiteX73" fmla="*/ 388620 w 3025140"/>
                  <a:gd name="connsiteY73" fmla="*/ 3657600 h 3680460"/>
                  <a:gd name="connsiteX74" fmla="*/ 335280 w 3025140"/>
                  <a:gd name="connsiteY74" fmla="*/ 3627120 h 3680460"/>
                  <a:gd name="connsiteX75" fmla="*/ 266700 w 3025140"/>
                  <a:gd name="connsiteY75" fmla="*/ 3604260 h 3680460"/>
                  <a:gd name="connsiteX76" fmla="*/ 243840 w 3025140"/>
                  <a:gd name="connsiteY76" fmla="*/ 3589020 h 3680460"/>
                  <a:gd name="connsiteX77" fmla="*/ 160020 w 3025140"/>
                  <a:gd name="connsiteY77" fmla="*/ 3558540 h 3680460"/>
                  <a:gd name="connsiteX78" fmla="*/ 137160 w 3025140"/>
                  <a:gd name="connsiteY78" fmla="*/ 3535680 h 3680460"/>
                  <a:gd name="connsiteX79" fmla="*/ 99060 w 3025140"/>
                  <a:gd name="connsiteY79" fmla="*/ 3520440 h 3680460"/>
                  <a:gd name="connsiteX80" fmla="*/ 83820 w 3025140"/>
                  <a:gd name="connsiteY80" fmla="*/ 3489960 h 3680460"/>
                  <a:gd name="connsiteX81" fmla="*/ 45720 w 3025140"/>
                  <a:gd name="connsiteY81" fmla="*/ 3436620 h 3680460"/>
                  <a:gd name="connsiteX82" fmla="*/ 0 w 3025140"/>
                  <a:gd name="connsiteY82" fmla="*/ 3352800 h 3680460"/>
                  <a:gd name="connsiteX83" fmla="*/ 30480 w 3025140"/>
                  <a:gd name="connsiteY83" fmla="*/ 3345180 h 3680460"/>
                  <a:gd name="connsiteX84" fmla="*/ 137160 w 3025140"/>
                  <a:gd name="connsiteY84" fmla="*/ 3360420 h 3680460"/>
                  <a:gd name="connsiteX85" fmla="*/ 167640 w 3025140"/>
                  <a:gd name="connsiteY85" fmla="*/ 3390900 h 3680460"/>
                  <a:gd name="connsiteX86" fmla="*/ 198120 w 3025140"/>
                  <a:gd name="connsiteY86" fmla="*/ 3406140 h 3680460"/>
                  <a:gd name="connsiteX87" fmla="*/ 350520 w 3025140"/>
                  <a:gd name="connsiteY87" fmla="*/ 3436620 h 3680460"/>
                  <a:gd name="connsiteX88" fmla="*/ 381000 w 3025140"/>
                  <a:gd name="connsiteY88" fmla="*/ 3451860 h 3680460"/>
                  <a:gd name="connsiteX89" fmla="*/ 449580 w 3025140"/>
                  <a:gd name="connsiteY89" fmla="*/ 3489960 h 3680460"/>
                  <a:gd name="connsiteX90" fmla="*/ 495300 w 3025140"/>
                  <a:gd name="connsiteY90" fmla="*/ 3520440 h 3680460"/>
                  <a:gd name="connsiteX91" fmla="*/ 525780 w 3025140"/>
                  <a:gd name="connsiteY91" fmla="*/ 3535680 h 3680460"/>
                  <a:gd name="connsiteX92" fmla="*/ 731520 w 3025140"/>
                  <a:gd name="connsiteY92" fmla="*/ 3558540 h 3680460"/>
                  <a:gd name="connsiteX93" fmla="*/ 1341120 w 3025140"/>
                  <a:gd name="connsiteY93" fmla="*/ 3550920 h 3680460"/>
                  <a:gd name="connsiteX94" fmla="*/ 1440180 w 3025140"/>
                  <a:gd name="connsiteY94" fmla="*/ 3528060 h 3680460"/>
                  <a:gd name="connsiteX95" fmla="*/ 1539240 w 3025140"/>
                  <a:gd name="connsiteY95" fmla="*/ 3520440 h 3680460"/>
                  <a:gd name="connsiteX96" fmla="*/ 1562100 w 3025140"/>
                  <a:gd name="connsiteY96" fmla="*/ 3512820 h 3680460"/>
                  <a:gd name="connsiteX97" fmla="*/ 1630680 w 3025140"/>
                  <a:gd name="connsiteY97" fmla="*/ 3497580 h 3680460"/>
                  <a:gd name="connsiteX98" fmla="*/ 1699260 w 3025140"/>
                  <a:gd name="connsiteY98" fmla="*/ 3474720 h 3680460"/>
                  <a:gd name="connsiteX99" fmla="*/ 1790700 w 3025140"/>
                  <a:gd name="connsiteY99" fmla="*/ 3451860 h 3680460"/>
                  <a:gd name="connsiteX100" fmla="*/ 1821180 w 3025140"/>
                  <a:gd name="connsiteY100" fmla="*/ 3444240 h 3680460"/>
                  <a:gd name="connsiteX101" fmla="*/ 1844040 w 3025140"/>
                  <a:gd name="connsiteY101" fmla="*/ 3429000 h 3680460"/>
                  <a:gd name="connsiteX102" fmla="*/ 1874520 w 3025140"/>
                  <a:gd name="connsiteY102" fmla="*/ 3421380 h 3680460"/>
                  <a:gd name="connsiteX103" fmla="*/ 1927860 w 3025140"/>
                  <a:gd name="connsiteY103" fmla="*/ 3398520 h 3680460"/>
                  <a:gd name="connsiteX104" fmla="*/ 1950720 w 3025140"/>
                  <a:gd name="connsiteY104" fmla="*/ 3390900 h 3680460"/>
                  <a:gd name="connsiteX105" fmla="*/ 2004060 w 3025140"/>
                  <a:gd name="connsiteY105" fmla="*/ 3360420 h 3680460"/>
                  <a:gd name="connsiteX106" fmla="*/ 2042160 w 3025140"/>
                  <a:gd name="connsiteY106" fmla="*/ 3352800 h 3680460"/>
                  <a:gd name="connsiteX107" fmla="*/ 2080260 w 3025140"/>
                  <a:gd name="connsiteY107" fmla="*/ 3337560 h 3680460"/>
                  <a:gd name="connsiteX108" fmla="*/ 2156460 w 3025140"/>
                  <a:gd name="connsiteY108" fmla="*/ 3299460 h 3680460"/>
                  <a:gd name="connsiteX109" fmla="*/ 2179320 w 3025140"/>
                  <a:gd name="connsiteY109" fmla="*/ 3284220 h 3680460"/>
                  <a:gd name="connsiteX110" fmla="*/ 2209800 w 3025140"/>
                  <a:gd name="connsiteY110" fmla="*/ 3276600 h 3680460"/>
                  <a:gd name="connsiteX111" fmla="*/ 2263140 w 3025140"/>
                  <a:gd name="connsiteY111" fmla="*/ 3230880 h 3680460"/>
                  <a:gd name="connsiteX112" fmla="*/ 2346960 w 3025140"/>
                  <a:gd name="connsiteY112" fmla="*/ 3154680 h 3680460"/>
                  <a:gd name="connsiteX113" fmla="*/ 2400300 w 3025140"/>
                  <a:gd name="connsiteY113" fmla="*/ 3070860 h 3680460"/>
                  <a:gd name="connsiteX114" fmla="*/ 2415540 w 3025140"/>
                  <a:gd name="connsiteY114" fmla="*/ 3048000 h 3680460"/>
                  <a:gd name="connsiteX115" fmla="*/ 2446020 w 3025140"/>
                  <a:gd name="connsiteY115" fmla="*/ 3032760 h 3680460"/>
                  <a:gd name="connsiteX116" fmla="*/ 2468880 w 3025140"/>
                  <a:gd name="connsiteY116" fmla="*/ 3009900 h 3680460"/>
                  <a:gd name="connsiteX117" fmla="*/ 2537460 w 3025140"/>
                  <a:gd name="connsiteY117" fmla="*/ 2926080 h 3680460"/>
                  <a:gd name="connsiteX118" fmla="*/ 2575560 w 3025140"/>
                  <a:gd name="connsiteY118" fmla="*/ 2880360 h 3680460"/>
                  <a:gd name="connsiteX119" fmla="*/ 2628900 w 3025140"/>
                  <a:gd name="connsiteY119" fmla="*/ 2811780 h 3680460"/>
                  <a:gd name="connsiteX120" fmla="*/ 2644140 w 3025140"/>
                  <a:gd name="connsiteY120" fmla="*/ 2773680 h 3680460"/>
                  <a:gd name="connsiteX121" fmla="*/ 2674620 w 3025140"/>
                  <a:gd name="connsiteY121" fmla="*/ 2727960 h 3680460"/>
                  <a:gd name="connsiteX122" fmla="*/ 2689860 w 3025140"/>
                  <a:gd name="connsiteY122" fmla="*/ 2705100 h 3680460"/>
                  <a:gd name="connsiteX123" fmla="*/ 2705100 w 3025140"/>
                  <a:gd name="connsiteY123" fmla="*/ 2667000 h 3680460"/>
                  <a:gd name="connsiteX124" fmla="*/ 2727960 w 3025140"/>
                  <a:gd name="connsiteY124" fmla="*/ 2621280 h 3680460"/>
                  <a:gd name="connsiteX125" fmla="*/ 2735580 w 3025140"/>
                  <a:gd name="connsiteY125" fmla="*/ 2590800 h 3680460"/>
                  <a:gd name="connsiteX126" fmla="*/ 2758440 w 3025140"/>
                  <a:gd name="connsiteY126" fmla="*/ 2545080 h 3680460"/>
                  <a:gd name="connsiteX127" fmla="*/ 2788920 w 3025140"/>
                  <a:gd name="connsiteY127" fmla="*/ 2484120 h 3680460"/>
                  <a:gd name="connsiteX128" fmla="*/ 2811780 w 3025140"/>
                  <a:gd name="connsiteY128" fmla="*/ 2407920 h 3680460"/>
                  <a:gd name="connsiteX129" fmla="*/ 2842260 w 3025140"/>
                  <a:gd name="connsiteY129" fmla="*/ 2324100 h 3680460"/>
                  <a:gd name="connsiteX130" fmla="*/ 2857500 w 3025140"/>
                  <a:gd name="connsiteY130" fmla="*/ 2247900 h 3680460"/>
                  <a:gd name="connsiteX131" fmla="*/ 2872740 w 3025140"/>
                  <a:gd name="connsiteY131" fmla="*/ 2194560 h 3680460"/>
                  <a:gd name="connsiteX132" fmla="*/ 2887980 w 3025140"/>
                  <a:gd name="connsiteY132" fmla="*/ 2148840 h 3680460"/>
                  <a:gd name="connsiteX133" fmla="*/ 2910840 w 3025140"/>
                  <a:gd name="connsiteY133" fmla="*/ 2087880 h 3680460"/>
                  <a:gd name="connsiteX134" fmla="*/ 2918460 w 3025140"/>
                  <a:gd name="connsiteY134" fmla="*/ 2049780 h 3680460"/>
                  <a:gd name="connsiteX135" fmla="*/ 2933700 w 3025140"/>
                  <a:gd name="connsiteY135" fmla="*/ 1844040 h 3680460"/>
                  <a:gd name="connsiteX136" fmla="*/ 2918460 w 3025140"/>
                  <a:gd name="connsiteY136" fmla="*/ 1470660 h 3680460"/>
                  <a:gd name="connsiteX137" fmla="*/ 2895600 w 3025140"/>
                  <a:gd name="connsiteY137" fmla="*/ 1371600 h 3680460"/>
                  <a:gd name="connsiteX138" fmla="*/ 2880360 w 3025140"/>
                  <a:gd name="connsiteY138" fmla="*/ 1341120 h 3680460"/>
                  <a:gd name="connsiteX139" fmla="*/ 2857500 w 3025140"/>
                  <a:gd name="connsiteY139" fmla="*/ 1272540 h 3680460"/>
                  <a:gd name="connsiteX140" fmla="*/ 2849880 w 3025140"/>
                  <a:gd name="connsiteY140" fmla="*/ 1234440 h 3680460"/>
                  <a:gd name="connsiteX141" fmla="*/ 2827020 w 3025140"/>
                  <a:gd name="connsiteY141" fmla="*/ 1196340 h 3680460"/>
                  <a:gd name="connsiteX142" fmla="*/ 2811780 w 3025140"/>
                  <a:gd name="connsiteY142" fmla="*/ 1165860 h 3680460"/>
                  <a:gd name="connsiteX143" fmla="*/ 2781300 w 3025140"/>
                  <a:gd name="connsiteY143" fmla="*/ 1127760 h 3680460"/>
                  <a:gd name="connsiteX144" fmla="*/ 2766060 w 3025140"/>
                  <a:gd name="connsiteY144" fmla="*/ 1089660 h 3680460"/>
                  <a:gd name="connsiteX145" fmla="*/ 2735580 w 3025140"/>
                  <a:gd name="connsiteY145" fmla="*/ 1043940 h 3680460"/>
                  <a:gd name="connsiteX146" fmla="*/ 2727960 w 3025140"/>
                  <a:gd name="connsiteY146" fmla="*/ 1021080 h 3680460"/>
                  <a:gd name="connsiteX147" fmla="*/ 2682240 w 3025140"/>
                  <a:gd name="connsiteY147" fmla="*/ 937260 h 3680460"/>
                  <a:gd name="connsiteX148" fmla="*/ 2659380 w 3025140"/>
                  <a:gd name="connsiteY148" fmla="*/ 876300 h 3680460"/>
                  <a:gd name="connsiteX149" fmla="*/ 2644140 w 3025140"/>
                  <a:gd name="connsiteY149" fmla="*/ 845820 h 3680460"/>
                  <a:gd name="connsiteX150" fmla="*/ 2636520 w 3025140"/>
                  <a:gd name="connsiteY150" fmla="*/ 822960 h 3680460"/>
                  <a:gd name="connsiteX151" fmla="*/ 2621280 w 3025140"/>
                  <a:gd name="connsiteY151" fmla="*/ 800100 h 3680460"/>
                  <a:gd name="connsiteX152" fmla="*/ 2598420 w 3025140"/>
                  <a:gd name="connsiteY152" fmla="*/ 739140 h 3680460"/>
                  <a:gd name="connsiteX153" fmla="*/ 2458403 w 3025140"/>
                  <a:gd name="connsiteY153" fmla="*/ 621983 h 3680460"/>
                  <a:gd name="connsiteX154" fmla="*/ 2301240 w 3025140"/>
                  <a:gd name="connsiteY154" fmla="*/ 458152 h 3680460"/>
                  <a:gd name="connsiteX155" fmla="*/ 2237423 w 3025140"/>
                  <a:gd name="connsiteY155" fmla="*/ 406717 h 3680460"/>
                  <a:gd name="connsiteX156" fmla="*/ 2103120 w 3025140"/>
                  <a:gd name="connsiteY156" fmla="*/ 312420 h 3680460"/>
                  <a:gd name="connsiteX157" fmla="*/ 2042160 w 3025140"/>
                  <a:gd name="connsiteY157" fmla="*/ 266700 h 3680460"/>
                  <a:gd name="connsiteX158" fmla="*/ 2004060 w 3025140"/>
                  <a:gd name="connsiteY158" fmla="*/ 251460 h 3680460"/>
                  <a:gd name="connsiteX159" fmla="*/ 1958340 w 3025140"/>
                  <a:gd name="connsiteY159" fmla="*/ 220980 h 3680460"/>
                  <a:gd name="connsiteX160" fmla="*/ 1897380 w 3025140"/>
                  <a:gd name="connsiteY160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64180 w 3025140"/>
                  <a:gd name="connsiteY24" fmla="*/ 1203960 h 3680460"/>
                  <a:gd name="connsiteX25" fmla="*/ 2979420 w 3025140"/>
                  <a:gd name="connsiteY25" fmla="*/ 1264920 h 3680460"/>
                  <a:gd name="connsiteX26" fmla="*/ 2994660 w 3025140"/>
                  <a:gd name="connsiteY26" fmla="*/ 1348740 h 3680460"/>
                  <a:gd name="connsiteX27" fmla="*/ 3009900 w 3025140"/>
                  <a:gd name="connsiteY27" fmla="*/ 1432560 h 3680460"/>
                  <a:gd name="connsiteX28" fmla="*/ 3017520 w 3025140"/>
                  <a:gd name="connsiteY28" fmla="*/ 1684020 h 3680460"/>
                  <a:gd name="connsiteX29" fmla="*/ 3025140 w 3025140"/>
                  <a:gd name="connsiteY29" fmla="*/ 1744980 h 3680460"/>
                  <a:gd name="connsiteX30" fmla="*/ 3017520 w 3025140"/>
                  <a:gd name="connsiteY30" fmla="*/ 2095500 h 3680460"/>
                  <a:gd name="connsiteX31" fmla="*/ 3009900 w 3025140"/>
                  <a:gd name="connsiteY31" fmla="*/ 2125980 h 3680460"/>
                  <a:gd name="connsiteX32" fmla="*/ 2979420 w 3025140"/>
                  <a:gd name="connsiteY32" fmla="*/ 2194560 h 3680460"/>
                  <a:gd name="connsiteX33" fmla="*/ 2956560 w 3025140"/>
                  <a:gd name="connsiteY33" fmla="*/ 2247900 h 3680460"/>
                  <a:gd name="connsiteX34" fmla="*/ 2941320 w 3025140"/>
                  <a:gd name="connsiteY34" fmla="*/ 2324100 h 3680460"/>
                  <a:gd name="connsiteX35" fmla="*/ 2926080 w 3025140"/>
                  <a:gd name="connsiteY35" fmla="*/ 2392680 h 3680460"/>
                  <a:gd name="connsiteX36" fmla="*/ 2918460 w 3025140"/>
                  <a:gd name="connsiteY36" fmla="*/ 2415540 h 3680460"/>
                  <a:gd name="connsiteX37" fmla="*/ 2895600 w 3025140"/>
                  <a:gd name="connsiteY37" fmla="*/ 2484120 h 3680460"/>
                  <a:gd name="connsiteX38" fmla="*/ 2872740 w 3025140"/>
                  <a:gd name="connsiteY38" fmla="*/ 2583180 h 3680460"/>
                  <a:gd name="connsiteX39" fmla="*/ 2857500 w 3025140"/>
                  <a:gd name="connsiteY39" fmla="*/ 2606040 h 3680460"/>
                  <a:gd name="connsiteX40" fmla="*/ 2834640 w 3025140"/>
                  <a:gd name="connsiteY40" fmla="*/ 2689860 h 3680460"/>
                  <a:gd name="connsiteX41" fmla="*/ 2811780 w 3025140"/>
                  <a:gd name="connsiteY41" fmla="*/ 2750820 h 3680460"/>
                  <a:gd name="connsiteX42" fmla="*/ 2788920 w 3025140"/>
                  <a:gd name="connsiteY42" fmla="*/ 2781300 h 3680460"/>
                  <a:gd name="connsiteX43" fmla="*/ 2781300 w 3025140"/>
                  <a:gd name="connsiteY43" fmla="*/ 2804160 h 3680460"/>
                  <a:gd name="connsiteX44" fmla="*/ 2743200 w 3025140"/>
                  <a:gd name="connsiteY44" fmla="*/ 2865120 h 3680460"/>
                  <a:gd name="connsiteX45" fmla="*/ 2712720 w 3025140"/>
                  <a:gd name="connsiteY45" fmla="*/ 2903220 h 3680460"/>
                  <a:gd name="connsiteX46" fmla="*/ 2697480 w 3025140"/>
                  <a:gd name="connsiteY46" fmla="*/ 2933700 h 3680460"/>
                  <a:gd name="connsiteX47" fmla="*/ 2674620 w 3025140"/>
                  <a:gd name="connsiteY47" fmla="*/ 2964180 h 3680460"/>
                  <a:gd name="connsiteX48" fmla="*/ 2644140 w 3025140"/>
                  <a:gd name="connsiteY48" fmla="*/ 3009900 h 3680460"/>
                  <a:gd name="connsiteX49" fmla="*/ 2598420 w 3025140"/>
                  <a:gd name="connsiteY49" fmla="*/ 3055620 h 3680460"/>
                  <a:gd name="connsiteX50" fmla="*/ 2575560 w 3025140"/>
                  <a:gd name="connsiteY50" fmla="*/ 3078480 h 3680460"/>
                  <a:gd name="connsiteX51" fmla="*/ 2476500 w 3025140"/>
                  <a:gd name="connsiteY51" fmla="*/ 3169920 h 3680460"/>
                  <a:gd name="connsiteX52" fmla="*/ 2377440 w 3025140"/>
                  <a:gd name="connsiteY52" fmla="*/ 3223260 h 3680460"/>
                  <a:gd name="connsiteX53" fmla="*/ 2293620 w 3025140"/>
                  <a:gd name="connsiteY53" fmla="*/ 3284220 h 3680460"/>
                  <a:gd name="connsiteX54" fmla="*/ 2240280 w 3025140"/>
                  <a:gd name="connsiteY54" fmla="*/ 3314700 h 3680460"/>
                  <a:gd name="connsiteX55" fmla="*/ 2225040 w 3025140"/>
                  <a:gd name="connsiteY55" fmla="*/ 3337560 h 3680460"/>
                  <a:gd name="connsiteX56" fmla="*/ 2141220 w 3025140"/>
                  <a:gd name="connsiteY56" fmla="*/ 3390900 h 3680460"/>
                  <a:gd name="connsiteX57" fmla="*/ 2110740 w 3025140"/>
                  <a:gd name="connsiteY57" fmla="*/ 3413760 h 3680460"/>
                  <a:gd name="connsiteX58" fmla="*/ 2072640 w 3025140"/>
                  <a:gd name="connsiteY58" fmla="*/ 3451860 h 3680460"/>
                  <a:gd name="connsiteX59" fmla="*/ 2019300 w 3025140"/>
                  <a:gd name="connsiteY59" fmla="*/ 3467100 h 3680460"/>
                  <a:gd name="connsiteX60" fmla="*/ 1874520 w 3025140"/>
                  <a:gd name="connsiteY60" fmla="*/ 3512820 h 3680460"/>
                  <a:gd name="connsiteX61" fmla="*/ 1828800 w 3025140"/>
                  <a:gd name="connsiteY61" fmla="*/ 3520440 h 3680460"/>
                  <a:gd name="connsiteX62" fmla="*/ 1722120 w 3025140"/>
                  <a:gd name="connsiteY62" fmla="*/ 3550920 h 3680460"/>
                  <a:gd name="connsiteX63" fmla="*/ 1600200 w 3025140"/>
                  <a:gd name="connsiteY63" fmla="*/ 3589020 h 3680460"/>
                  <a:gd name="connsiteX64" fmla="*/ 1569720 w 3025140"/>
                  <a:gd name="connsiteY64" fmla="*/ 3596640 h 3680460"/>
                  <a:gd name="connsiteX65" fmla="*/ 1546860 w 3025140"/>
                  <a:gd name="connsiteY65" fmla="*/ 3611880 h 3680460"/>
                  <a:gd name="connsiteX66" fmla="*/ 1463040 w 3025140"/>
                  <a:gd name="connsiteY66" fmla="*/ 3627120 h 3680460"/>
                  <a:gd name="connsiteX67" fmla="*/ 1333500 w 3025140"/>
                  <a:gd name="connsiteY67" fmla="*/ 3657600 h 3680460"/>
                  <a:gd name="connsiteX68" fmla="*/ 1203960 w 3025140"/>
                  <a:gd name="connsiteY68" fmla="*/ 3672840 h 3680460"/>
                  <a:gd name="connsiteX69" fmla="*/ 1165860 w 3025140"/>
                  <a:gd name="connsiteY69" fmla="*/ 3680460 h 3680460"/>
                  <a:gd name="connsiteX70" fmla="*/ 449580 w 3025140"/>
                  <a:gd name="connsiteY70" fmla="*/ 3672840 h 3680460"/>
                  <a:gd name="connsiteX71" fmla="*/ 426720 w 3025140"/>
                  <a:gd name="connsiteY71" fmla="*/ 3665220 h 3680460"/>
                  <a:gd name="connsiteX72" fmla="*/ 388620 w 3025140"/>
                  <a:gd name="connsiteY72" fmla="*/ 3657600 h 3680460"/>
                  <a:gd name="connsiteX73" fmla="*/ 335280 w 3025140"/>
                  <a:gd name="connsiteY73" fmla="*/ 3627120 h 3680460"/>
                  <a:gd name="connsiteX74" fmla="*/ 266700 w 3025140"/>
                  <a:gd name="connsiteY74" fmla="*/ 3604260 h 3680460"/>
                  <a:gd name="connsiteX75" fmla="*/ 243840 w 3025140"/>
                  <a:gd name="connsiteY75" fmla="*/ 3589020 h 3680460"/>
                  <a:gd name="connsiteX76" fmla="*/ 160020 w 3025140"/>
                  <a:gd name="connsiteY76" fmla="*/ 3558540 h 3680460"/>
                  <a:gd name="connsiteX77" fmla="*/ 137160 w 3025140"/>
                  <a:gd name="connsiteY77" fmla="*/ 3535680 h 3680460"/>
                  <a:gd name="connsiteX78" fmla="*/ 99060 w 3025140"/>
                  <a:gd name="connsiteY78" fmla="*/ 3520440 h 3680460"/>
                  <a:gd name="connsiteX79" fmla="*/ 83820 w 3025140"/>
                  <a:gd name="connsiteY79" fmla="*/ 3489960 h 3680460"/>
                  <a:gd name="connsiteX80" fmla="*/ 45720 w 3025140"/>
                  <a:gd name="connsiteY80" fmla="*/ 3436620 h 3680460"/>
                  <a:gd name="connsiteX81" fmla="*/ 0 w 3025140"/>
                  <a:gd name="connsiteY81" fmla="*/ 3352800 h 3680460"/>
                  <a:gd name="connsiteX82" fmla="*/ 30480 w 3025140"/>
                  <a:gd name="connsiteY82" fmla="*/ 3345180 h 3680460"/>
                  <a:gd name="connsiteX83" fmla="*/ 137160 w 3025140"/>
                  <a:gd name="connsiteY83" fmla="*/ 3360420 h 3680460"/>
                  <a:gd name="connsiteX84" fmla="*/ 167640 w 3025140"/>
                  <a:gd name="connsiteY84" fmla="*/ 3390900 h 3680460"/>
                  <a:gd name="connsiteX85" fmla="*/ 198120 w 3025140"/>
                  <a:gd name="connsiteY85" fmla="*/ 3406140 h 3680460"/>
                  <a:gd name="connsiteX86" fmla="*/ 350520 w 3025140"/>
                  <a:gd name="connsiteY86" fmla="*/ 3436620 h 3680460"/>
                  <a:gd name="connsiteX87" fmla="*/ 381000 w 3025140"/>
                  <a:gd name="connsiteY87" fmla="*/ 3451860 h 3680460"/>
                  <a:gd name="connsiteX88" fmla="*/ 449580 w 3025140"/>
                  <a:gd name="connsiteY88" fmla="*/ 3489960 h 3680460"/>
                  <a:gd name="connsiteX89" fmla="*/ 495300 w 3025140"/>
                  <a:gd name="connsiteY89" fmla="*/ 3520440 h 3680460"/>
                  <a:gd name="connsiteX90" fmla="*/ 525780 w 3025140"/>
                  <a:gd name="connsiteY90" fmla="*/ 3535680 h 3680460"/>
                  <a:gd name="connsiteX91" fmla="*/ 731520 w 3025140"/>
                  <a:gd name="connsiteY91" fmla="*/ 3558540 h 3680460"/>
                  <a:gd name="connsiteX92" fmla="*/ 1341120 w 3025140"/>
                  <a:gd name="connsiteY92" fmla="*/ 3550920 h 3680460"/>
                  <a:gd name="connsiteX93" fmla="*/ 1440180 w 3025140"/>
                  <a:gd name="connsiteY93" fmla="*/ 3528060 h 3680460"/>
                  <a:gd name="connsiteX94" fmla="*/ 1539240 w 3025140"/>
                  <a:gd name="connsiteY94" fmla="*/ 3520440 h 3680460"/>
                  <a:gd name="connsiteX95" fmla="*/ 1562100 w 3025140"/>
                  <a:gd name="connsiteY95" fmla="*/ 3512820 h 3680460"/>
                  <a:gd name="connsiteX96" fmla="*/ 1630680 w 3025140"/>
                  <a:gd name="connsiteY96" fmla="*/ 3497580 h 3680460"/>
                  <a:gd name="connsiteX97" fmla="*/ 1699260 w 3025140"/>
                  <a:gd name="connsiteY97" fmla="*/ 3474720 h 3680460"/>
                  <a:gd name="connsiteX98" fmla="*/ 1790700 w 3025140"/>
                  <a:gd name="connsiteY98" fmla="*/ 3451860 h 3680460"/>
                  <a:gd name="connsiteX99" fmla="*/ 1821180 w 3025140"/>
                  <a:gd name="connsiteY99" fmla="*/ 3444240 h 3680460"/>
                  <a:gd name="connsiteX100" fmla="*/ 1844040 w 3025140"/>
                  <a:gd name="connsiteY100" fmla="*/ 3429000 h 3680460"/>
                  <a:gd name="connsiteX101" fmla="*/ 1874520 w 3025140"/>
                  <a:gd name="connsiteY101" fmla="*/ 3421380 h 3680460"/>
                  <a:gd name="connsiteX102" fmla="*/ 1927860 w 3025140"/>
                  <a:gd name="connsiteY102" fmla="*/ 3398520 h 3680460"/>
                  <a:gd name="connsiteX103" fmla="*/ 1950720 w 3025140"/>
                  <a:gd name="connsiteY103" fmla="*/ 3390900 h 3680460"/>
                  <a:gd name="connsiteX104" fmla="*/ 2004060 w 3025140"/>
                  <a:gd name="connsiteY104" fmla="*/ 3360420 h 3680460"/>
                  <a:gd name="connsiteX105" fmla="*/ 2042160 w 3025140"/>
                  <a:gd name="connsiteY105" fmla="*/ 3352800 h 3680460"/>
                  <a:gd name="connsiteX106" fmla="*/ 2080260 w 3025140"/>
                  <a:gd name="connsiteY106" fmla="*/ 3337560 h 3680460"/>
                  <a:gd name="connsiteX107" fmla="*/ 2156460 w 3025140"/>
                  <a:gd name="connsiteY107" fmla="*/ 3299460 h 3680460"/>
                  <a:gd name="connsiteX108" fmla="*/ 2179320 w 3025140"/>
                  <a:gd name="connsiteY108" fmla="*/ 3284220 h 3680460"/>
                  <a:gd name="connsiteX109" fmla="*/ 2209800 w 3025140"/>
                  <a:gd name="connsiteY109" fmla="*/ 3276600 h 3680460"/>
                  <a:gd name="connsiteX110" fmla="*/ 2263140 w 3025140"/>
                  <a:gd name="connsiteY110" fmla="*/ 3230880 h 3680460"/>
                  <a:gd name="connsiteX111" fmla="*/ 2346960 w 3025140"/>
                  <a:gd name="connsiteY111" fmla="*/ 3154680 h 3680460"/>
                  <a:gd name="connsiteX112" fmla="*/ 2400300 w 3025140"/>
                  <a:gd name="connsiteY112" fmla="*/ 3070860 h 3680460"/>
                  <a:gd name="connsiteX113" fmla="*/ 2415540 w 3025140"/>
                  <a:gd name="connsiteY113" fmla="*/ 3048000 h 3680460"/>
                  <a:gd name="connsiteX114" fmla="*/ 2446020 w 3025140"/>
                  <a:gd name="connsiteY114" fmla="*/ 3032760 h 3680460"/>
                  <a:gd name="connsiteX115" fmla="*/ 2468880 w 3025140"/>
                  <a:gd name="connsiteY115" fmla="*/ 3009900 h 3680460"/>
                  <a:gd name="connsiteX116" fmla="*/ 2537460 w 3025140"/>
                  <a:gd name="connsiteY116" fmla="*/ 2926080 h 3680460"/>
                  <a:gd name="connsiteX117" fmla="*/ 2575560 w 3025140"/>
                  <a:gd name="connsiteY117" fmla="*/ 2880360 h 3680460"/>
                  <a:gd name="connsiteX118" fmla="*/ 2628900 w 3025140"/>
                  <a:gd name="connsiteY118" fmla="*/ 2811780 h 3680460"/>
                  <a:gd name="connsiteX119" fmla="*/ 2644140 w 3025140"/>
                  <a:gd name="connsiteY119" fmla="*/ 2773680 h 3680460"/>
                  <a:gd name="connsiteX120" fmla="*/ 2674620 w 3025140"/>
                  <a:gd name="connsiteY120" fmla="*/ 2727960 h 3680460"/>
                  <a:gd name="connsiteX121" fmla="*/ 2689860 w 3025140"/>
                  <a:gd name="connsiteY121" fmla="*/ 2705100 h 3680460"/>
                  <a:gd name="connsiteX122" fmla="*/ 2705100 w 3025140"/>
                  <a:gd name="connsiteY122" fmla="*/ 2667000 h 3680460"/>
                  <a:gd name="connsiteX123" fmla="*/ 2727960 w 3025140"/>
                  <a:gd name="connsiteY123" fmla="*/ 2621280 h 3680460"/>
                  <a:gd name="connsiteX124" fmla="*/ 2735580 w 3025140"/>
                  <a:gd name="connsiteY124" fmla="*/ 2590800 h 3680460"/>
                  <a:gd name="connsiteX125" fmla="*/ 2758440 w 3025140"/>
                  <a:gd name="connsiteY125" fmla="*/ 2545080 h 3680460"/>
                  <a:gd name="connsiteX126" fmla="*/ 2788920 w 3025140"/>
                  <a:gd name="connsiteY126" fmla="*/ 2484120 h 3680460"/>
                  <a:gd name="connsiteX127" fmla="*/ 2811780 w 3025140"/>
                  <a:gd name="connsiteY127" fmla="*/ 2407920 h 3680460"/>
                  <a:gd name="connsiteX128" fmla="*/ 2842260 w 3025140"/>
                  <a:gd name="connsiteY128" fmla="*/ 2324100 h 3680460"/>
                  <a:gd name="connsiteX129" fmla="*/ 2857500 w 3025140"/>
                  <a:gd name="connsiteY129" fmla="*/ 2247900 h 3680460"/>
                  <a:gd name="connsiteX130" fmla="*/ 2872740 w 3025140"/>
                  <a:gd name="connsiteY130" fmla="*/ 2194560 h 3680460"/>
                  <a:gd name="connsiteX131" fmla="*/ 2887980 w 3025140"/>
                  <a:gd name="connsiteY131" fmla="*/ 2148840 h 3680460"/>
                  <a:gd name="connsiteX132" fmla="*/ 2910840 w 3025140"/>
                  <a:gd name="connsiteY132" fmla="*/ 2087880 h 3680460"/>
                  <a:gd name="connsiteX133" fmla="*/ 2918460 w 3025140"/>
                  <a:gd name="connsiteY133" fmla="*/ 2049780 h 3680460"/>
                  <a:gd name="connsiteX134" fmla="*/ 2933700 w 3025140"/>
                  <a:gd name="connsiteY134" fmla="*/ 1844040 h 3680460"/>
                  <a:gd name="connsiteX135" fmla="*/ 2918460 w 3025140"/>
                  <a:gd name="connsiteY135" fmla="*/ 1470660 h 3680460"/>
                  <a:gd name="connsiteX136" fmla="*/ 2895600 w 3025140"/>
                  <a:gd name="connsiteY136" fmla="*/ 1371600 h 3680460"/>
                  <a:gd name="connsiteX137" fmla="*/ 2880360 w 3025140"/>
                  <a:gd name="connsiteY137" fmla="*/ 1341120 h 3680460"/>
                  <a:gd name="connsiteX138" fmla="*/ 2857500 w 3025140"/>
                  <a:gd name="connsiteY138" fmla="*/ 1272540 h 3680460"/>
                  <a:gd name="connsiteX139" fmla="*/ 2849880 w 3025140"/>
                  <a:gd name="connsiteY139" fmla="*/ 1234440 h 3680460"/>
                  <a:gd name="connsiteX140" fmla="*/ 2827020 w 3025140"/>
                  <a:gd name="connsiteY140" fmla="*/ 1196340 h 3680460"/>
                  <a:gd name="connsiteX141" fmla="*/ 2811780 w 3025140"/>
                  <a:gd name="connsiteY141" fmla="*/ 1165860 h 3680460"/>
                  <a:gd name="connsiteX142" fmla="*/ 2781300 w 3025140"/>
                  <a:gd name="connsiteY142" fmla="*/ 1127760 h 3680460"/>
                  <a:gd name="connsiteX143" fmla="*/ 2766060 w 3025140"/>
                  <a:gd name="connsiteY143" fmla="*/ 1089660 h 3680460"/>
                  <a:gd name="connsiteX144" fmla="*/ 2735580 w 3025140"/>
                  <a:gd name="connsiteY144" fmla="*/ 1043940 h 3680460"/>
                  <a:gd name="connsiteX145" fmla="*/ 2727960 w 3025140"/>
                  <a:gd name="connsiteY145" fmla="*/ 1021080 h 3680460"/>
                  <a:gd name="connsiteX146" fmla="*/ 2682240 w 3025140"/>
                  <a:gd name="connsiteY146" fmla="*/ 937260 h 3680460"/>
                  <a:gd name="connsiteX147" fmla="*/ 2659380 w 3025140"/>
                  <a:gd name="connsiteY147" fmla="*/ 876300 h 3680460"/>
                  <a:gd name="connsiteX148" fmla="*/ 2644140 w 3025140"/>
                  <a:gd name="connsiteY148" fmla="*/ 845820 h 3680460"/>
                  <a:gd name="connsiteX149" fmla="*/ 2636520 w 3025140"/>
                  <a:gd name="connsiteY149" fmla="*/ 822960 h 3680460"/>
                  <a:gd name="connsiteX150" fmla="*/ 2621280 w 3025140"/>
                  <a:gd name="connsiteY150" fmla="*/ 800100 h 3680460"/>
                  <a:gd name="connsiteX151" fmla="*/ 2598420 w 3025140"/>
                  <a:gd name="connsiteY151" fmla="*/ 739140 h 3680460"/>
                  <a:gd name="connsiteX152" fmla="*/ 2458403 w 3025140"/>
                  <a:gd name="connsiteY152" fmla="*/ 621983 h 3680460"/>
                  <a:gd name="connsiteX153" fmla="*/ 2301240 w 3025140"/>
                  <a:gd name="connsiteY153" fmla="*/ 458152 h 3680460"/>
                  <a:gd name="connsiteX154" fmla="*/ 2237423 w 3025140"/>
                  <a:gd name="connsiteY154" fmla="*/ 406717 h 3680460"/>
                  <a:gd name="connsiteX155" fmla="*/ 2103120 w 3025140"/>
                  <a:gd name="connsiteY155" fmla="*/ 312420 h 3680460"/>
                  <a:gd name="connsiteX156" fmla="*/ 2042160 w 3025140"/>
                  <a:gd name="connsiteY156" fmla="*/ 266700 h 3680460"/>
                  <a:gd name="connsiteX157" fmla="*/ 2004060 w 3025140"/>
                  <a:gd name="connsiteY157" fmla="*/ 251460 h 3680460"/>
                  <a:gd name="connsiteX158" fmla="*/ 1958340 w 3025140"/>
                  <a:gd name="connsiteY158" fmla="*/ 220980 h 3680460"/>
                  <a:gd name="connsiteX159" fmla="*/ 1897380 w 3025140"/>
                  <a:gd name="connsiteY159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3009900 w 3018472"/>
                  <a:gd name="connsiteY30" fmla="*/ 2125980 h 3680460"/>
                  <a:gd name="connsiteX31" fmla="*/ 2979420 w 3018472"/>
                  <a:gd name="connsiteY31" fmla="*/ 2194560 h 3680460"/>
                  <a:gd name="connsiteX32" fmla="*/ 2956560 w 3018472"/>
                  <a:gd name="connsiteY32" fmla="*/ 2247900 h 3680460"/>
                  <a:gd name="connsiteX33" fmla="*/ 2941320 w 3018472"/>
                  <a:gd name="connsiteY33" fmla="*/ 2324100 h 3680460"/>
                  <a:gd name="connsiteX34" fmla="*/ 2926080 w 3018472"/>
                  <a:gd name="connsiteY34" fmla="*/ 2392680 h 3680460"/>
                  <a:gd name="connsiteX35" fmla="*/ 2918460 w 3018472"/>
                  <a:gd name="connsiteY35" fmla="*/ 2415540 h 3680460"/>
                  <a:gd name="connsiteX36" fmla="*/ 2895600 w 3018472"/>
                  <a:gd name="connsiteY36" fmla="*/ 2484120 h 3680460"/>
                  <a:gd name="connsiteX37" fmla="*/ 2872740 w 3018472"/>
                  <a:gd name="connsiteY37" fmla="*/ 2583180 h 3680460"/>
                  <a:gd name="connsiteX38" fmla="*/ 2857500 w 3018472"/>
                  <a:gd name="connsiteY38" fmla="*/ 2606040 h 3680460"/>
                  <a:gd name="connsiteX39" fmla="*/ 2834640 w 3018472"/>
                  <a:gd name="connsiteY39" fmla="*/ 2689860 h 3680460"/>
                  <a:gd name="connsiteX40" fmla="*/ 2811780 w 3018472"/>
                  <a:gd name="connsiteY40" fmla="*/ 2750820 h 3680460"/>
                  <a:gd name="connsiteX41" fmla="*/ 2788920 w 3018472"/>
                  <a:gd name="connsiteY41" fmla="*/ 2781300 h 3680460"/>
                  <a:gd name="connsiteX42" fmla="*/ 2781300 w 3018472"/>
                  <a:gd name="connsiteY42" fmla="*/ 2804160 h 3680460"/>
                  <a:gd name="connsiteX43" fmla="*/ 2743200 w 3018472"/>
                  <a:gd name="connsiteY43" fmla="*/ 2865120 h 3680460"/>
                  <a:gd name="connsiteX44" fmla="*/ 2712720 w 3018472"/>
                  <a:gd name="connsiteY44" fmla="*/ 2903220 h 3680460"/>
                  <a:gd name="connsiteX45" fmla="*/ 2697480 w 3018472"/>
                  <a:gd name="connsiteY45" fmla="*/ 2933700 h 3680460"/>
                  <a:gd name="connsiteX46" fmla="*/ 2674620 w 3018472"/>
                  <a:gd name="connsiteY46" fmla="*/ 2964180 h 3680460"/>
                  <a:gd name="connsiteX47" fmla="*/ 2644140 w 3018472"/>
                  <a:gd name="connsiteY47" fmla="*/ 3009900 h 3680460"/>
                  <a:gd name="connsiteX48" fmla="*/ 2598420 w 3018472"/>
                  <a:gd name="connsiteY48" fmla="*/ 3055620 h 3680460"/>
                  <a:gd name="connsiteX49" fmla="*/ 2575560 w 3018472"/>
                  <a:gd name="connsiteY49" fmla="*/ 3078480 h 3680460"/>
                  <a:gd name="connsiteX50" fmla="*/ 2476500 w 3018472"/>
                  <a:gd name="connsiteY50" fmla="*/ 3169920 h 3680460"/>
                  <a:gd name="connsiteX51" fmla="*/ 2377440 w 3018472"/>
                  <a:gd name="connsiteY51" fmla="*/ 3223260 h 3680460"/>
                  <a:gd name="connsiteX52" fmla="*/ 2293620 w 3018472"/>
                  <a:gd name="connsiteY52" fmla="*/ 3284220 h 3680460"/>
                  <a:gd name="connsiteX53" fmla="*/ 2240280 w 3018472"/>
                  <a:gd name="connsiteY53" fmla="*/ 3314700 h 3680460"/>
                  <a:gd name="connsiteX54" fmla="*/ 2225040 w 3018472"/>
                  <a:gd name="connsiteY54" fmla="*/ 3337560 h 3680460"/>
                  <a:gd name="connsiteX55" fmla="*/ 2141220 w 3018472"/>
                  <a:gd name="connsiteY55" fmla="*/ 3390900 h 3680460"/>
                  <a:gd name="connsiteX56" fmla="*/ 2110740 w 3018472"/>
                  <a:gd name="connsiteY56" fmla="*/ 3413760 h 3680460"/>
                  <a:gd name="connsiteX57" fmla="*/ 2072640 w 3018472"/>
                  <a:gd name="connsiteY57" fmla="*/ 3451860 h 3680460"/>
                  <a:gd name="connsiteX58" fmla="*/ 2019300 w 3018472"/>
                  <a:gd name="connsiteY58" fmla="*/ 3467100 h 3680460"/>
                  <a:gd name="connsiteX59" fmla="*/ 1874520 w 3018472"/>
                  <a:gd name="connsiteY59" fmla="*/ 3512820 h 3680460"/>
                  <a:gd name="connsiteX60" fmla="*/ 1828800 w 3018472"/>
                  <a:gd name="connsiteY60" fmla="*/ 3520440 h 3680460"/>
                  <a:gd name="connsiteX61" fmla="*/ 1722120 w 3018472"/>
                  <a:gd name="connsiteY61" fmla="*/ 3550920 h 3680460"/>
                  <a:gd name="connsiteX62" fmla="*/ 1600200 w 3018472"/>
                  <a:gd name="connsiteY62" fmla="*/ 3589020 h 3680460"/>
                  <a:gd name="connsiteX63" fmla="*/ 1569720 w 3018472"/>
                  <a:gd name="connsiteY63" fmla="*/ 3596640 h 3680460"/>
                  <a:gd name="connsiteX64" fmla="*/ 1546860 w 3018472"/>
                  <a:gd name="connsiteY64" fmla="*/ 3611880 h 3680460"/>
                  <a:gd name="connsiteX65" fmla="*/ 1463040 w 3018472"/>
                  <a:gd name="connsiteY65" fmla="*/ 3627120 h 3680460"/>
                  <a:gd name="connsiteX66" fmla="*/ 1333500 w 3018472"/>
                  <a:gd name="connsiteY66" fmla="*/ 3657600 h 3680460"/>
                  <a:gd name="connsiteX67" fmla="*/ 1203960 w 3018472"/>
                  <a:gd name="connsiteY67" fmla="*/ 3672840 h 3680460"/>
                  <a:gd name="connsiteX68" fmla="*/ 1165860 w 3018472"/>
                  <a:gd name="connsiteY68" fmla="*/ 3680460 h 3680460"/>
                  <a:gd name="connsiteX69" fmla="*/ 449580 w 3018472"/>
                  <a:gd name="connsiteY69" fmla="*/ 3672840 h 3680460"/>
                  <a:gd name="connsiteX70" fmla="*/ 426720 w 3018472"/>
                  <a:gd name="connsiteY70" fmla="*/ 3665220 h 3680460"/>
                  <a:gd name="connsiteX71" fmla="*/ 388620 w 3018472"/>
                  <a:gd name="connsiteY71" fmla="*/ 3657600 h 3680460"/>
                  <a:gd name="connsiteX72" fmla="*/ 335280 w 3018472"/>
                  <a:gd name="connsiteY72" fmla="*/ 3627120 h 3680460"/>
                  <a:gd name="connsiteX73" fmla="*/ 266700 w 3018472"/>
                  <a:gd name="connsiteY73" fmla="*/ 3604260 h 3680460"/>
                  <a:gd name="connsiteX74" fmla="*/ 243840 w 3018472"/>
                  <a:gd name="connsiteY74" fmla="*/ 3589020 h 3680460"/>
                  <a:gd name="connsiteX75" fmla="*/ 160020 w 3018472"/>
                  <a:gd name="connsiteY75" fmla="*/ 3558540 h 3680460"/>
                  <a:gd name="connsiteX76" fmla="*/ 137160 w 3018472"/>
                  <a:gd name="connsiteY76" fmla="*/ 3535680 h 3680460"/>
                  <a:gd name="connsiteX77" fmla="*/ 99060 w 3018472"/>
                  <a:gd name="connsiteY77" fmla="*/ 3520440 h 3680460"/>
                  <a:gd name="connsiteX78" fmla="*/ 83820 w 3018472"/>
                  <a:gd name="connsiteY78" fmla="*/ 3489960 h 3680460"/>
                  <a:gd name="connsiteX79" fmla="*/ 45720 w 3018472"/>
                  <a:gd name="connsiteY79" fmla="*/ 3436620 h 3680460"/>
                  <a:gd name="connsiteX80" fmla="*/ 0 w 3018472"/>
                  <a:gd name="connsiteY80" fmla="*/ 3352800 h 3680460"/>
                  <a:gd name="connsiteX81" fmla="*/ 30480 w 3018472"/>
                  <a:gd name="connsiteY81" fmla="*/ 3345180 h 3680460"/>
                  <a:gd name="connsiteX82" fmla="*/ 137160 w 3018472"/>
                  <a:gd name="connsiteY82" fmla="*/ 3360420 h 3680460"/>
                  <a:gd name="connsiteX83" fmla="*/ 167640 w 3018472"/>
                  <a:gd name="connsiteY83" fmla="*/ 3390900 h 3680460"/>
                  <a:gd name="connsiteX84" fmla="*/ 198120 w 3018472"/>
                  <a:gd name="connsiteY84" fmla="*/ 3406140 h 3680460"/>
                  <a:gd name="connsiteX85" fmla="*/ 350520 w 3018472"/>
                  <a:gd name="connsiteY85" fmla="*/ 3436620 h 3680460"/>
                  <a:gd name="connsiteX86" fmla="*/ 381000 w 3018472"/>
                  <a:gd name="connsiteY86" fmla="*/ 3451860 h 3680460"/>
                  <a:gd name="connsiteX87" fmla="*/ 449580 w 3018472"/>
                  <a:gd name="connsiteY87" fmla="*/ 3489960 h 3680460"/>
                  <a:gd name="connsiteX88" fmla="*/ 495300 w 3018472"/>
                  <a:gd name="connsiteY88" fmla="*/ 3520440 h 3680460"/>
                  <a:gd name="connsiteX89" fmla="*/ 525780 w 3018472"/>
                  <a:gd name="connsiteY89" fmla="*/ 3535680 h 3680460"/>
                  <a:gd name="connsiteX90" fmla="*/ 731520 w 3018472"/>
                  <a:gd name="connsiteY90" fmla="*/ 3558540 h 3680460"/>
                  <a:gd name="connsiteX91" fmla="*/ 1341120 w 3018472"/>
                  <a:gd name="connsiteY91" fmla="*/ 3550920 h 3680460"/>
                  <a:gd name="connsiteX92" fmla="*/ 1440180 w 3018472"/>
                  <a:gd name="connsiteY92" fmla="*/ 3528060 h 3680460"/>
                  <a:gd name="connsiteX93" fmla="*/ 1539240 w 3018472"/>
                  <a:gd name="connsiteY93" fmla="*/ 3520440 h 3680460"/>
                  <a:gd name="connsiteX94" fmla="*/ 1562100 w 3018472"/>
                  <a:gd name="connsiteY94" fmla="*/ 3512820 h 3680460"/>
                  <a:gd name="connsiteX95" fmla="*/ 1630680 w 3018472"/>
                  <a:gd name="connsiteY95" fmla="*/ 3497580 h 3680460"/>
                  <a:gd name="connsiteX96" fmla="*/ 1699260 w 3018472"/>
                  <a:gd name="connsiteY96" fmla="*/ 3474720 h 3680460"/>
                  <a:gd name="connsiteX97" fmla="*/ 1790700 w 3018472"/>
                  <a:gd name="connsiteY97" fmla="*/ 3451860 h 3680460"/>
                  <a:gd name="connsiteX98" fmla="*/ 1821180 w 3018472"/>
                  <a:gd name="connsiteY98" fmla="*/ 3444240 h 3680460"/>
                  <a:gd name="connsiteX99" fmla="*/ 1844040 w 3018472"/>
                  <a:gd name="connsiteY99" fmla="*/ 3429000 h 3680460"/>
                  <a:gd name="connsiteX100" fmla="*/ 1874520 w 3018472"/>
                  <a:gd name="connsiteY100" fmla="*/ 3421380 h 3680460"/>
                  <a:gd name="connsiteX101" fmla="*/ 1927860 w 3018472"/>
                  <a:gd name="connsiteY101" fmla="*/ 3398520 h 3680460"/>
                  <a:gd name="connsiteX102" fmla="*/ 1950720 w 3018472"/>
                  <a:gd name="connsiteY102" fmla="*/ 3390900 h 3680460"/>
                  <a:gd name="connsiteX103" fmla="*/ 2004060 w 3018472"/>
                  <a:gd name="connsiteY103" fmla="*/ 3360420 h 3680460"/>
                  <a:gd name="connsiteX104" fmla="*/ 2042160 w 3018472"/>
                  <a:gd name="connsiteY104" fmla="*/ 3352800 h 3680460"/>
                  <a:gd name="connsiteX105" fmla="*/ 2080260 w 3018472"/>
                  <a:gd name="connsiteY105" fmla="*/ 3337560 h 3680460"/>
                  <a:gd name="connsiteX106" fmla="*/ 2156460 w 3018472"/>
                  <a:gd name="connsiteY106" fmla="*/ 3299460 h 3680460"/>
                  <a:gd name="connsiteX107" fmla="*/ 2179320 w 3018472"/>
                  <a:gd name="connsiteY107" fmla="*/ 3284220 h 3680460"/>
                  <a:gd name="connsiteX108" fmla="*/ 2209800 w 3018472"/>
                  <a:gd name="connsiteY108" fmla="*/ 3276600 h 3680460"/>
                  <a:gd name="connsiteX109" fmla="*/ 2263140 w 3018472"/>
                  <a:gd name="connsiteY109" fmla="*/ 3230880 h 3680460"/>
                  <a:gd name="connsiteX110" fmla="*/ 2346960 w 3018472"/>
                  <a:gd name="connsiteY110" fmla="*/ 3154680 h 3680460"/>
                  <a:gd name="connsiteX111" fmla="*/ 2400300 w 3018472"/>
                  <a:gd name="connsiteY111" fmla="*/ 3070860 h 3680460"/>
                  <a:gd name="connsiteX112" fmla="*/ 2415540 w 3018472"/>
                  <a:gd name="connsiteY112" fmla="*/ 3048000 h 3680460"/>
                  <a:gd name="connsiteX113" fmla="*/ 2446020 w 3018472"/>
                  <a:gd name="connsiteY113" fmla="*/ 3032760 h 3680460"/>
                  <a:gd name="connsiteX114" fmla="*/ 2468880 w 3018472"/>
                  <a:gd name="connsiteY114" fmla="*/ 3009900 h 3680460"/>
                  <a:gd name="connsiteX115" fmla="*/ 2537460 w 3018472"/>
                  <a:gd name="connsiteY115" fmla="*/ 2926080 h 3680460"/>
                  <a:gd name="connsiteX116" fmla="*/ 2575560 w 3018472"/>
                  <a:gd name="connsiteY116" fmla="*/ 2880360 h 3680460"/>
                  <a:gd name="connsiteX117" fmla="*/ 2628900 w 3018472"/>
                  <a:gd name="connsiteY117" fmla="*/ 2811780 h 3680460"/>
                  <a:gd name="connsiteX118" fmla="*/ 2644140 w 3018472"/>
                  <a:gd name="connsiteY118" fmla="*/ 2773680 h 3680460"/>
                  <a:gd name="connsiteX119" fmla="*/ 2674620 w 3018472"/>
                  <a:gd name="connsiteY119" fmla="*/ 2727960 h 3680460"/>
                  <a:gd name="connsiteX120" fmla="*/ 2689860 w 3018472"/>
                  <a:gd name="connsiteY120" fmla="*/ 2705100 h 3680460"/>
                  <a:gd name="connsiteX121" fmla="*/ 2705100 w 3018472"/>
                  <a:gd name="connsiteY121" fmla="*/ 2667000 h 3680460"/>
                  <a:gd name="connsiteX122" fmla="*/ 2727960 w 3018472"/>
                  <a:gd name="connsiteY122" fmla="*/ 2621280 h 3680460"/>
                  <a:gd name="connsiteX123" fmla="*/ 2735580 w 3018472"/>
                  <a:gd name="connsiteY123" fmla="*/ 2590800 h 3680460"/>
                  <a:gd name="connsiteX124" fmla="*/ 2758440 w 3018472"/>
                  <a:gd name="connsiteY124" fmla="*/ 2545080 h 3680460"/>
                  <a:gd name="connsiteX125" fmla="*/ 2788920 w 3018472"/>
                  <a:gd name="connsiteY125" fmla="*/ 2484120 h 3680460"/>
                  <a:gd name="connsiteX126" fmla="*/ 2811780 w 3018472"/>
                  <a:gd name="connsiteY126" fmla="*/ 2407920 h 3680460"/>
                  <a:gd name="connsiteX127" fmla="*/ 2842260 w 3018472"/>
                  <a:gd name="connsiteY127" fmla="*/ 2324100 h 3680460"/>
                  <a:gd name="connsiteX128" fmla="*/ 2857500 w 3018472"/>
                  <a:gd name="connsiteY128" fmla="*/ 2247900 h 3680460"/>
                  <a:gd name="connsiteX129" fmla="*/ 2872740 w 3018472"/>
                  <a:gd name="connsiteY129" fmla="*/ 2194560 h 3680460"/>
                  <a:gd name="connsiteX130" fmla="*/ 2887980 w 3018472"/>
                  <a:gd name="connsiteY130" fmla="*/ 2148840 h 3680460"/>
                  <a:gd name="connsiteX131" fmla="*/ 2910840 w 3018472"/>
                  <a:gd name="connsiteY131" fmla="*/ 2087880 h 3680460"/>
                  <a:gd name="connsiteX132" fmla="*/ 2918460 w 3018472"/>
                  <a:gd name="connsiteY132" fmla="*/ 2049780 h 3680460"/>
                  <a:gd name="connsiteX133" fmla="*/ 2933700 w 3018472"/>
                  <a:gd name="connsiteY133" fmla="*/ 1844040 h 3680460"/>
                  <a:gd name="connsiteX134" fmla="*/ 2918460 w 3018472"/>
                  <a:gd name="connsiteY134" fmla="*/ 1470660 h 3680460"/>
                  <a:gd name="connsiteX135" fmla="*/ 2895600 w 3018472"/>
                  <a:gd name="connsiteY135" fmla="*/ 1371600 h 3680460"/>
                  <a:gd name="connsiteX136" fmla="*/ 2880360 w 3018472"/>
                  <a:gd name="connsiteY136" fmla="*/ 1341120 h 3680460"/>
                  <a:gd name="connsiteX137" fmla="*/ 2857500 w 3018472"/>
                  <a:gd name="connsiteY137" fmla="*/ 1272540 h 3680460"/>
                  <a:gd name="connsiteX138" fmla="*/ 2849880 w 3018472"/>
                  <a:gd name="connsiteY138" fmla="*/ 1234440 h 3680460"/>
                  <a:gd name="connsiteX139" fmla="*/ 2827020 w 3018472"/>
                  <a:gd name="connsiteY139" fmla="*/ 1196340 h 3680460"/>
                  <a:gd name="connsiteX140" fmla="*/ 2811780 w 3018472"/>
                  <a:gd name="connsiteY140" fmla="*/ 1165860 h 3680460"/>
                  <a:gd name="connsiteX141" fmla="*/ 2781300 w 3018472"/>
                  <a:gd name="connsiteY141" fmla="*/ 1127760 h 3680460"/>
                  <a:gd name="connsiteX142" fmla="*/ 2766060 w 3018472"/>
                  <a:gd name="connsiteY142" fmla="*/ 1089660 h 3680460"/>
                  <a:gd name="connsiteX143" fmla="*/ 2735580 w 3018472"/>
                  <a:gd name="connsiteY143" fmla="*/ 1043940 h 3680460"/>
                  <a:gd name="connsiteX144" fmla="*/ 2727960 w 3018472"/>
                  <a:gd name="connsiteY144" fmla="*/ 1021080 h 3680460"/>
                  <a:gd name="connsiteX145" fmla="*/ 2682240 w 3018472"/>
                  <a:gd name="connsiteY145" fmla="*/ 937260 h 3680460"/>
                  <a:gd name="connsiteX146" fmla="*/ 2659380 w 3018472"/>
                  <a:gd name="connsiteY146" fmla="*/ 876300 h 3680460"/>
                  <a:gd name="connsiteX147" fmla="*/ 2644140 w 3018472"/>
                  <a:gd name="connsiteY147" fmla="*/ 845820 h 3680460"/>
                  <a:gd name="connsiteX148" fmla="*/ 2636520 w 3018472"/>
                  <a:gd name="connsiteY148" fmla="*/ 822960 h 3680460"/>
                  <a:gd name="connsiteX149" fmla="*/ 2621280 w 3018472"/>
                  <a:gd name="connsiteY149" fmla="*/ 800100 h 3680460"/>
                  <a:gd name="connsiteX150" fmla="*/ 2598420 w 3018472"/>
                  <a:gd name="connsiteY150" fmla="*/ 739140 h 3680460"/>
                  <a:gd name="connsiteX151" fmla="*/ 2458403 w 3018472"/>
                  <a:gd name="connsiteY151" fmla="*/ 621983 h 3680460"/>
                  <a:gd name="connsiteX152" fmla="*/ 2301240 w 3018472"/>
                  <a:gd name="connsiteY152" fmla="*/ 458152 h 3680460"/>
                  <a:gd name="connsiteX153" fmla="*/ 2237423 w 3018472"/>
                  <a:gd name="connsiteY153" fmla="*/ 406717 h 3680460"/>
                  <a:gd name="connsiteX154" fmla="*/ 2103120 w 3018472"/>
                  <a:gd name="connsiteY154" fmla="*/ 312420 h 3680460"/>
                  <a:gd name="connsiteX155" fmla="*/ 2042160 w 3018472"/>
                  <a:gd name="connsiteY155" fmla="*/ 266700 h 3680460"/>
                  <a:gd name="connsiteX156" fmla="*/ 2004060 w 3018472"/>
                  <a:gd name="connsiteY156" fmla="*/ 251460 h 3680460"/>
                  <a:gd name="connsiteX157" fmla="*/ 1958340 w 3018472"/>
                  <a:gd name="connsiteY157" fmla="*/ 220980 h 3680460"/>
                  <a:gd name="connsiteX158" fmla="*/ 1897380 w 3018472"/>
                  <a:gd name="connsiteY15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56560 w 3018472"/>
                  <a:gd name="connsiteY31" fmla="*/ 2247900 h 3680460"/>
                  <a:gd name="connsiteX32" fmla="*/ 2941320 w 3018472"/>
                  <a:gd name="connsiteY32" fmla="*/ 2324100 h 3680460"/>
                  <a:gd name="connsiteX33" fmla="*/ 2926080 w 3018472"/>
                  <a:gd name="connsiteY33" fmla="*/ 2392680 h 3680460"/>
                  <a:gd name="connsiteX34" fmla="*/ 2918460 w 3018472"/>
                  <a:gd name="connsiteY34" fmla="*/ 2415540 h 3680460"/>
                  <a:gd name="connsiteX35" fmla="*/ 2895600 w 3018472"/>
                  <a:gd name="connsiteY35" fmla="*/ 2484120 h 3680460"/>
                  <a:gd name="connsiteX36" fmla="*/ 2872740 w 3018472"/>
                  <a:gd name="connsiteY36" fmla="*/ 2583180 h 3680460"/>
                  <a:gd name="connsiteX37" fmla="*/ 2857500 w 3018472"/>
                  <a:gd name="connsiteY37" fmla="*/ 2606040 h 3680460"/>
                  <a:gd name="connsiteX38" fmla="*/ 2834640 w 3018472"/>
                  <a:gd name="connsiteY38" fmla="*/ 2689860 h 3680460"/>
                  <a:gd name="connsiteX39" fmla="*/ 2811780 w 3018472"/>
                  <a:gd name="connsiteY39" fmla="*/ 2750820 h 3680460"/>
                  <a:gd name="connsiteX40" fmla="*/ 2788920 w 3018472"/>
                  <a:gd name="connsiteY40" fmla="*/ 2781300 h 3680460"/>
                  <a:gd name="connsiteX41" fmla="*/ 2781300 w 3018472"/>
                  <a:gd name="connsiteY41" fmla="*/ 2804160 h 3680460"/>
                  <a:gd name="connsiteX42" fmla="*/ 2743200 w 3018472"/>
                  <a:gd name="connsiteY42" fmla="*/ 2865120 h 3680460"/>
                  <a:gd name="connsiteX43" fmla="*/ 2712720 w 3018472"/>
                  <a:gd name="connsiteY43" fmla="*/ 2903220 h 3680460"/>
                  <a:gd name="connsiteX44" fmla="*/ 2697480 w 3018472"/>
                  <a:gd name="connsiteY44" fmla="*/ 2933700 h 3680460"/>
                  <a:gd name="connsiteX45" fmla="*/ 2674620 w 3018472"/>
                  <a:gd name="connsiteY45" fmla="*/ 2964180 h 3680460"/>
                  <a:gd name="connsiteX46" fmla="*/ 2644140 w 3018472"/>
                  <a:gd name="connsiteY46" fmla="*/ 3009900 h 3680460"/>
                  <a:gd name="connsiteX47" fmla="*/ 2598420 w 3018472"/>
                  <a:gd name="connsiteY47" fmla="*/ 3055620 h 3680460"/>
                  <a:gd name="connsiteX48" fmla="*/ 2575560 w 3018472"/>
                  <a:gd name="connsiteY48" fmla="*/ 3078480 h 3680460"/>
                  <a:gd name="connsiteX49" fmla="*/ 2476500 w 3018472"/>
                  <a:gd name="connsiteY49" fmla="*/ 3169920 h 3680460"/>
                  <a:gd name="connsiteX50" fmla="*/ 2377440 w 3018472"/>
                  <a:gd name="connsiteY50" fmla="*/ 3223260 h 3680460"/>
                  <a:gd name="connsiteX51" fmla="*/ 2293620 w 3018472"/>
                  <a:gd name="connsiteY51" fmla="*/ 3284220 h 3680460"/>
                  <a:gd name="connsiteX52" fmla="*/ 2240280 w 3018472"/>
                  <a:gd name="connsiteY52" fmla="*/ 3314700 h 3680460"/>
                  <a:gd name="connsiteX53" fmla="*/ 2225040 w 3018472"/>
                  <a:gd name="connsiteY53" fmla="*/ 3337560 h 3680460"/>
                  <a:gd name="connsiteX54" fmla="*/ 2141220 w 3018472"/>
                  <a:gd name="connsiteY54" fmla="*/ 3390900 h 3680460"/>
                  <a:gd name="connsiteX55" fmla="*/ 2110740 w 3018472"/>
                  <a:gd name="connsiteY55" fmla="*/ 3413760 h 3680460"/>
                  <a:gd name="connsiteX56" fmla="*/ 2072640 w 3018472"/>
                  <a:gd name="connsiteY56" fmla="*/ 3451860 h 3680460"/>
                  <a:gd name="connsiteX57" fmla="*/ 2019300 w 3018472"/>
                  <a:gd name="connsiteY57" fmla="*/ 3467100 h 3680460"/>
                  <a:gd name="connsiteX58" fmla="*/ 1874520 w 3018472"/>
                  <a:gd name="connsiteY58" fmla="*/ 3512820 h 3680460"/>
                  <a:gd name="connsiteX59" fmla="*/ 1828800 w 3018472"/>
                  <a:gd name="connsiteY59" fmla="*/ 3520440 h 3680460"/>
                  <a:gd name="connsiteX60" fmla="*/ 1722120 w 3018472"/>
                  <a:gd name="connsiteY60" fmla="*/ 3550920 h 3680460"/>
                  <a:gd name="connsiteX61" fmla="*/ 1600200 w 3018472"/>
                  <a:gd name="connsiteY61" fmla="*/ 3589020 h 3680460"/>
                  <a:gd name="connsiteX62" fmla="*/ 1569720 w 3018472"/>
                  <a:gd name="connsiteY62" fmla="*/ 3596640 h 3680460"/>
                  <a:gd name="connsiteX63" fmla="*/ 1546860 w 3018472"/>
                  <a:gd name="connsiteY63" fmla="*/ 3611880 h 3680460"/>
                  <a:gd name="connsiteX64" fmla="*/ 1463040 w 3018472"/>
                  <a:gd name="connsiteY64" fmla="*/ 3627120 h 3680460"/>
                  <a:gd name="connsiteX65" fmla="*/ 1333500 w 3018472"/>
                  <a:gd name="connsiteY65" fmla="*/ 3657600 h 3680460"/>
                  <a:gd name="connsiteX66" fmla="*/ 1203960 w 3018472"/>
                  <a:gd name="connsiteY66" fmla="*/ 3672840 h 3680460"/>
                  <a:gd name="connsiteX67" fmla="*/ 1165860 w 3018472"/>
                  <a:gd name="connsiteY67" fmla="*/ 3680460 h 3680460"/>
                  <a:gd name="connsiteX68" fmla="*/ 449580 w 3018472"/>
                  <a:gd name="connsiteY68" fmla="*/ 3672840 h 3680460"/>
                  <a:gd name="connsiteX69" fmla="*/ 426720 w 3018472"/>
                  <a:gd name="connsiteY69" fmla="*/ 3665220 h 3680460"/>
                  <a:gd name="connsiteX70" fmla="*/ 388620 w 3018472"/>
                  <a:gd name="connsiteY70" fmla="*/ 3657600 h 3680460"/>
                  <a:gd name="connsiteX71" fmla="*/ 335280 w 3018472"/>
                  <a:gd name="connsiteY71" fmla="*/ 3627120 h 3680460"/>
                  <a:gd name="connsiteX72" fmla="*/ 266700 w 3018472"/>
                  <a:gd name="connsiteY72" fmla="*/ 3604260 h 3680460"/>
                  <a:gd name="connsiteX73" fmla="*/ 243840 w 3018472"/>
                  <a:gd name="connsiteY73" fmla="*/ 3589020 h 3680460"/>
                  <a:gd name="connsiteX74" fmla="*/ 160020 w 3018472"/>
                  <a:gd name="connsiteY74" fmla="*/ 3558540 h 3680460"/>
                  <a:gd name="connsiteX75" fmla="*/ 137160 w 3018472"/>
                  <a:gd name="connsiteY75" fmla="*/ 3535680 h 3680460"/>
                  <a:gd name="connsiteX76" fmla="*/ 99060 w 3018472"/>
                  <a:gd name="connsiteY76" fmla="*/ 3520440 h 3680460"/>
                  <a:gd name="connsiteX77" fmla="*/ 83820 w 3018472"/>
                  <a:gd name="connsiteY77" fmla="*/ 3489960 h 3680460"/>
                  <a:gd name="connsiteX78" fmla="*/ 45720 w 3018472"/>
                  <a:gd name="connsiteY78" fmla="*/ 3436620 h 3680460"/>
                  <a:gd name="connsiteX79" fmla="*/ 0 w 3018472"/>
                  <a:gd name="connsiteY79" fmla="*/ 3352800 h 3680460"/>
                  <a:gd name="connsiteX80" fmla="*/ 30480 w 3018472"/>
                  <a:gd name="connsiteY80" fmla="*/ 3345180 h 3680460"/>
                  <a:gd name="connsiteX81" fmla="*/ 137160 w 3018472"/>
                  <a:gd name="connsiteY81" fmla="*/ 3360420 h 3680460"/>
                  <a:gd name="connsiteX82" fmla="*/ 167640 w 3018472"/>
                  <a:gd name="connsiteY82" fmla="*/ 3390900 h 3680460"/>
                  <a:gd name="connsiteX83" fmla="*/ 198120 w 3018472"/>
                  <a:gd name="connsiteY83" fmla="*/ 3406140 h 3680460"/>
                  <a:gd name="connsiteX84" fmla="*/ 350520 w 3018472"/>
                  <a:gd name="connsiteY84" fmla="*/ 3436620 h 3680460"/>
                  <a:gd name="connsiteX85" fmla="*/ 381000 w 3018472"/>
                  <a:gd name="connsiteY85" fmla="*/ 3451860 h 3680460"/>
                  <a:gd name="connsiteX86" fmla="*/ 449580 w 3018472"/>
                  <a:gd name="connsiteY86" fmla="*/ 3489960 h 3680460"/>
                  <a:gd name="connsiteX87" fmla="*/ 495300 w 3018472"/>
                  <a:gd name="connsiteY87" fmla="*/ 3520440 h 3680460"/>
                  <a:gd name="connsiteX88" fmla="*/ 525780 w 3018472"/>
                  <a:gd name="connsiteY88" fmla="*/ 3535680 h 3680460"/>
                  <a:gd name="connsiteX89" fmla="*/ 731520 w 3018472"/>
                  <a:gd name="connsiteY89" fmla="*/ 3558540 h 3680460"/>
                  <a:gd name="connsiteX90" fmla="*/ 1341120 w 3018472"/>
                  <a:gd name="connsiteY90" fmla="*/ 3550920 h 3680460"/>
                  <a:gd name="connsiteX91" fmla="*/ 1440180 w 3018472"/>
                  <a:gd name="connsiteY91" fmla="*/ 3528060 h 3680460"/>
                  <a:gd name="connsiteX92" fmla="*/ 1539240 w 3018472"/>
                  <a:gd name="connsiteY92" fmla="*/ 3520440 h 3680460"/>
                  <a:gd name="connsiteX93" fmla="*/ 1562100 w 3018472"/>
                  <a:gd name="connsiteY93" fmla="*/ 3512820 h 3680460"/>
                  <a:gd name="connsiteX94" fmla="*/ 1630680 w 3018472"/>
                  <a:gd name="connsiteY94" fmla="*/ 3497580 h 3680460"/>
                  <a:gd name="connsiteX95" fmla="*/ 1699260 w 3018472"/>
                  <a:gd name="connsiteY95" fmla="*/ 3474720 h 3680460"/>
                  <a:gd name="connsiteX96" fmla="*/ 1790700 w 3018472"/>
                  <a:gd name="connsiteY96" fmla="*/ 3451860 h 3680460"/>
                  <a:gd name="connsiteX97" fmla="*/ 1821180 w 3018472"/>
                  <a:gd name="connsiteY97" fmla="*/ 3444240 h 3680460"/>
                  <a:gd name="connsiteX98" fmla="*/ 1844040 w 3018472"/>
                  <a:gd name="connsiteY98" fmla="*/ 3429000 h 3680460"/>
                  <a:gd name="connsiteX99" fmla="*/ 1874520 w 3018472"/>
                  <a:gd name="connsiteY99" fmla="*/ 3421380 h 3680460"/>
                  <a:gd name="connsiteX100" fmla="*/ 1927860 w 3018472"/>
                  <a:gd name="connsiteY100" fmla="*/ 3398520 h 3680460"/>
                  <a:gd name="connsiteX101" fmla="*/ 1950720 w 3018472"/>
                  <a:gd name="connsiteY101" fmla="*/ 3390900 h 3680460"/>
                  <a:gd name="connsiteX102" fmla="*/ 2004060 w 3018472"/>
                  <a:gd name="connsiteY102" fmla="*/ 3360420 h 3680460"/>
                  <a:gd name="connsiteX103" fmla="*/ 2042160 w 3018472"/>
                  <a:gd name="connsiteY103" fmla="*/ 3352800 h 3680460"/>
                  <a:gd name="connsiteX104" fmla="*/ 2080260 w 3018472"/>
                  <a:gd name="connsiteY104" fmla="*/ 3337560 h 3680460"/>
                  <a:gd name="connsiteX105" fmla="*/ 2156460 w 3018472"/>
                  <a:gd name="connsiteY105" fmla="*/ 3299460 h 3680460"/>
                  <a:gd name="connsiteX106" fmla="*/ 2179320 w 3018472"/>
                  <a:gd name="connsiteY106" fmla="*/ 3284220 h 3680460"/>
                  <a:gd name="connsiteX107" fmla="*/ 2209800 w 3018472"/>
                  <a:gd name="connsiteY107" fmla="*/ 3276600 h 3680460"/>
                  <a:gd name="connsiteX108" fmla="*/ 2263140 w 3018472"/>
                  <a:gd name="connsiteY108" fmla="*/ 3230880 h 3680460"/>
                  <a:gd name="connsiteX109" fmla="*/ 2346960 w 3018472"/>
                  <a:gd name="connsiteY109" fmla="*/ 3154680 h 3680460"/>
                  <a:gd name="connsiteX110" fmla="*/ 2400300 w 3018472"/>
                  <a:gd name="connsiteY110" fmla="*/ 3070860 h 3680460"/>
                  <a:gd name="connsiteX111" fmla="*/ 2415540 w 3018472"/>
                  <a:gd name="connsiteY111" fmla="*/ 3048000 h 3680460"/>
                  <a:gd name="connsiteX112" fmla="*/ 2446020 w 3018472"/>
                  <a:gd name="connsiteY112" fmla="*/ 3032760 h 3680460"/>
                  <a:gd name="connsiteX113" fmla="*/ 2468880 w 3018472"/>
                  <a:gd name="connsiteY113" fmla="*/ 3009900 h 3680460"/>
                  <a:gd name="connsiteX114" fmla="*/ 2537460 w 3018472"/>
                  <a:gd name="connsiteY114" fmla="*/ 2926080 h 3680460"/>
                  <a:gd name="connsiteX115" fmla="*/ 2575560 w 3018472"/>
                  <a:gd name="connsiteY115" fmla="*/ 2880360 h 3680460"/>
                  <a:gd name="connsiteX116" fmla="*/ 2628900 w 3018472"/>
                  <a:gd name="connsiteY116" fmla="*/ 2811780 h 3680460"/>
                  <a:gd name="connsiteX117" fmla="*/ 2644140 w 3018472"/>
                  <a:gd name="connsiteY117" fmla="*/ 2773680 h 3680460"/>
                  <a:gd name="connsiteX118" fmla="*/ 2674620 w 3018472"/>
                  <a:gd name="connsiteY118" fmla="*/ 2727960 h 3680460"/>
                  <a:gd name="connsiteX119" fmla="*/ 2689860 w 3018472"/>
                  <a:gd name="connsiteY119" fmla="*/ 2705100 h 3680460"/>
                  <a:gd name="connsiteX120" fmla="*/ 2705100 w 3018472"/>
                  <a:gd name="connsiteY120" fmla="*/ 2667000 h 3680460"/>
                  <a:gd name="connsiteX121" fmla="*/ 2727960 w 3018472"/>
                  <a:gd name="connsiteY121" fmla="*/ 2621280 h 3680460"/>
                  <a:gd name="connsiteX122" fmla="*/ 2735580 w 3018472"/>
                  <a:gd name="connsiteY122" fmla="*/ 2590800 h 3680460"/>
                  <a:gd name="connsiteX123" fmla="*/ 2758440 w 3018472"/>
                  <a:gd name="connsiteY123" fmla="*/ 2545080 h 3680460"/>
                  <a:gd name="connsiteX124" fmla="*/ 2788920 w 3018472"/>
                  <a:gd name="connsiteY124" fmla="*/ 2484120 h 3680460"/>
                  <a:gd name="connsiteX125" fmla="*/ 2811780 w 3018472"/>
                  <a:gd name="connsiteY125" fmla="*/ 2407920 h 3680460"/>
                  <a:gd name="connsiteX126" fmla="*/ 2842260 w 3018472"/>
                  <a:gd name="connsiteY126" fmla="*/ 2324100 h 3680460"/>
                  <a:gd name="connsiteX127" fmla="*/ 2857500 w 3018472"/>
                  <a:gd name="connsiteY127" fmla="*/ 2247900 h 3680460"/>
                  <a:gd name="connsiteX128" fmla="*/ 2872740 w 3018472"/>
                  <a:gd name="connsiteY128" fmla="*/ 2194560 h 3680460"/>
                  <a:gd name="connsiteX129" fmla="*/ 2887980 w 3018472"/>
                  <a:gd name="connsiteY129" fmla="*/ 2148840 h 3680460"/>
                  <a:gd name="connsiteX130" fmla="*/ 2910840 w 3018472"/>
                  <a:gd name="connsiteY130" fmla="*/ 2087880 h 3680460"/>
                  <a:gd name="connsiteX131" fmla="*/ 2918460 w 3018472"/>
                  <a:gd name="connsiteY131" fmla="*/ 2049780 h 3680460"/>
                  <a:gd name="connsiteX132" fmla="*/ 2933700 w 3018472"/>
                  <a:gd name="connsiteY132" fmla="*/ 1844040 h 3680460"/>
                  <a:gd name="connsiteX133" fmla="*/ 2918460 w 3018472"/>
                  <a:gd name="connsiteY133" fmla="*/ 1470660 h 3680460"/>
                  <a:gd name="connsiteX134" fmla="*/ 2895600 w 3018472"/>
                  <a:gd name="connsiteY134" fmla="*/ 1371600 h 3680460"/>
                  <a:gd name="connsiteX135" fmla="*/ 2880360 w 3018472"/>
                  <a:gd name="connsiteY135" fmla="*/ 1341120 h 3680460"/>
                  <a:gd name="connsiteX136" fmla="*/ 2857500 w 3018472"/>
                  <a:gd name="connsiteY136" fmla="*/ 1272540 h 3680460"/>
                  <a:gd name="connsiteX137" fmla="*/ 2849880 w 3018472"/>
                  <a:gd name="connsiteY137" fmla="*/ 1234440 h 3680460"/>
                  <a:gd name="connsiteX138" fmla="*/ 2827020 w 3018472"/>
                  <a:gd name="connsiteY138" fmla="*/ 1196340 h 3680460"/>
                  <a:gd name="connsiteX139" fmla="*/ 2811780 w 3018472"/>
                  <a:gd name="connsiteY139" fmla="*/ 1165860 h 3680460"/>
                  <a:gd name="connsiteX140" fmla="*/ 2781300 w 3018472"/>
                  <a:gd name="connsiteY140" fmla="*/ 1127760 h 3680460"/>
                  <a:gd name="connsiteX141" fmla="*/ 2766060 w 3018472"/>
                  <a:gd name="connsiteY141" fmla="*/ 1089660 h 3680460"/>
                  <a:gd name="connsiteX142" fmla="*/ 2735580 w 3018472"/>
                  <a:gd name="connsiteY142" fmla="*/ 1043940 h 3680460"/>
                  <a:gd name="connsiteX143" fmla="*/ 2727960 w 3018472"/>
                  <a:gd name="connsiteY143" fmla="*/ 1021080 h 3680460"/>
                  <a:gd name="connsiteX144" fmla="*/ 2682240 w 3018472"/>
                  <a:gd name="connsiteY144" fmla="*/ 937260 h 3680460"/>
                  <a:gd name="connsiteX145" fmla="*/ 2659380 w 3018472"/>
                  <a:gd name="connsiteY145" fmla="*/ 876300 h 3680460"/>
                  <a:gd name="connsiteX146" fmla="*/ 2644140 w 3018472"/>
                  <a:gd name="connsiteY146" fmla="*/ 845820 h 3680460"/>
                  <a:gd name="connsiteX147" fmla="*/ 2636520 w 3018472"/>
                  <a:gd name="connsiteY147" fmla="*/ 822960 h 3680460"/>
                  <a:gd name="connsiteX148" fmla="*/ 2621280 w 3018472"/>
                  <a:gd name="connsiteY148" fmla="*/ 800100 h 3680460"/>
                  <a:gd name="connsiteX149" fmla="*/ 2598420 w 3018472"/>
                  <a:gd name="connsiteY149" fmla="*/ 739140 h 3680460"/>
                  <a:gd name="connsiteX150" fmla="*/ 2458403 w 3018472"/>
                  <a:gd name="connsiteY150" fmla="*/ 621983 h 3680460"/>
                  <a:gd name="connsiteX151" fmla="*/ 2301240 w 3018472"/>
                  <a:gd name="connsiteY151" fmla="*/ 458152 h 3680460"/>
                  <a:gd name="connsiteX152" fmla="*/ 2237423 w 3018472"/>
                  <a:gd name="connsiteY152" fmla="*/ 406717 h 3680460"/>
                  <a:gd name="connsiteX153" fmla="*/ 2103120 w 3018472"/>
                  <a:gd name="connsiteY153" fmla="*/ 312420 h 3680460"/>
                  <a:gd name="connsiteX154" fmla="*/ 2042160 w 3018472"/>
                  <a:gd name="connsiteY154" fmla="*/ 266700 h 3680460"/>
                  <a:gd name="connsiteX155" fmla="*/ 2004060 w 3018472"/>
                  <a:gd name="connsiteY155" fmla="*/ 251460 h 3680460"/>
                  <a:gd name="connsiteX156" fmla="*/ 1958340 w 3018472"/>
                  <a:gd name="connsiteY156" fmla="*/ 220980 h 3680460"/>
                  <a:gd name="connsiteX157" fmla="*/ 1897380 w 3018472"/>
                  <a:gd name="connsiteY15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95600 w 3018472"/>
                  <a:gd name="connsiteY34" fmla="*/ 2484120 h 3680460"/>
                  <a:gd name="connsiteX35" fmla="*/ 2872740 w 3018472"/>
                  <a:gd name="connsiteY35" fmla="*/ 2583180 h 3680460"/>
                  <a:gd name="connsiteX36" fmla="*/ 2857500 w 3018472"/>
                  <a:gd name="connsiteY36" fmla="*/ 2606040 h 3680460"/>
                  <a:gd name="connsiteX37" fmla="*/ 2834640 w 3018472"/>
                  <a:gd name="connsiteY37" fmla="*/ 2689860 h 3680460"/>
                  <a:gd name="connsiteX38" fmla="*/ 2811780 w 3018472"/>
                  <a:gd name="connsiteY38" fmla="*/ 2750820 h 3680460"/>
                  <a:gd name="connsiteX39" fmla="*/ 2788920 w 3018472"/>
                  <a:gd name="connsiteY39" fmla="*/ 2781300 h 3680460"/>
                  <a:gd name="connsiteX40" fmla="*/ 2781300 w 3018472"/>
                  <a:gd name="connsiteY40" fmla="*/ 2804160 h 3680460"/>
                  <a:gd name="connsiteX41" fmla="*/ 2743200 w 3018472"/>
                  <a:gd name="connsiteY41" fmla="*/ 2865120 h 3680460"/>
                  <a:gd name="connsiteX42" fmla="*/ 2712720 w 3018472"/>
                  <a:gd name="connsiteY42" fmla="*/ 2903220 h 3680460"/>
                  <a:gd name="connsiteX43" fmla="*/ 2697480 w 3018472"/>
                  <a:gd name="connsiteY43" fmla="*/ 2933700 h 3680460"/>
                  <a:gd name="connsiteX44" fmla="*/ 2674620 w 3018472"/>
                  <a:gd name="connsiteY44" fmla="*/ 2964180 h 3680460"/>
                  <a:gd name="connsiteX45" fmla="*/ 2644140 w 3018472"/>
                  <a:gd name="connsiteY45" fmla="*/ 3009900 h 3680460"/>
                  <a:gd name="connsiteX46" fmla="*/ 2598420 w 3018472"/>
                  <a:gd name="connsiteY46" fmla="*/ 3055620 h 3680460"/>
                  <a:gd name="connsiteX47" fmla="*/ 2575560 w 3018472"/>
                  <a:gd name="connsiteY47" fmla="*/ 3078480 h 3680460"/>
                  <a:gd name="connsiteX48" fmla="*/ 2476500 w 3018472"/>
                  <a:gd name="connsiteY48" fmla="*/ 3169920 h 3680460"/>
                  <a:gd name="connsiteX49" fmla="*/ 2377440 w 3018472"/>
                  <a:gd name="connsiteY49" fmla="*/ 3223260 h 3680460"/>
                  <a:gd name="connsiteX50" fmla="*/ 2293620 w 3018472"/>
                  <a:gd name="connsiteY50" fmla="*/ 3284220 h 3680460"/>
                  <a:gd name="connsiteX51" fmla="*/ 2240280 w 3018472"/>
                  <a:gd name="connsiteY51" fmla="*/ 3314700 h 3680460"/>
                  <a:gd name="connsiteX52" fmla="*/ 2225040 w 3018472"/>
                  <a:gd name="connsiteY52" fmla="*/ 3337560 h 3680460"/>
                  <a:gd name="connsiteX53" fmla="*/ 2141220 w 3018472"/>
                  <a:gd name="connsiteY53" fmla="*/ 3390900 h 3680460"/>
                  <a:gd name="connsiteX54" fmla="*/ 2110740 w 3018472"/>
                  <a:gd name="connsiteY54" fmla="*/ 3413760 h 3680460"/>
                  <a:gd name="connsiteX55" fmla="*/ 2072640 w 3018472"/>
                  <a:gd name="connsiteY55" fmla="*/ 3451860 h 3680460"/>
                  <a:gd name="connsiteX56" fmla="*/ 2019300 w 3018472"/>
                  <a:gd name="connsiteY56" fmla="*/ 3467100 h 3680460"/>
                  <a:gd name="connsiteX57" fmla="*/ 1874520 w 3018472"/>
                  <a:gd name="connsiteY57" fmla="*/ 3512820 h 3680460"/>
                  <a:gd name="connsiteX58" fmla="*/ 1828800 w 3018472"/>
                  <a:gd name="connsiteY58" fmla="*/ 3520440 h 3680460"/>
                  <a:gd name="connsiteX59" fmla="*/ 1722120 w 3018472"/>
                  <a:gd name="connsiteY59" fmla="*/ 3550920 h 3680460"/>
                  <a:gd name="connsiteX60" fmla="*/ 1600200 w 3018472"/>
                  <a:gd name="connsiteY60" fmla="*/ 3589020 h 3680460"/>
                  <a:gd name="connsiteX61" fmla="*/ 1569720 w 3018472"/>
                  <a:gd name="connsiteY61" fmla="*/ 3596640 h 3680460"/>
                  <a:gd name="connsiteX62" fmla="*/ 1546860 w 3018472"/>
                  <a:gd name="connsiteY62" fmla="*/ 3611880 h 3680460"/>
                  <a:gd name="connsiteX63" fmla="*/ 1463040 w 3018472"/>
                  <a:gd name="connsiteY63" fmla="*/ 3627120 h 3680460"/>
                  <a:gd name="connsiteX64" fmla="*/ 1333500 w 3018472"/>
                  <a:gd name="connsiteY64" fmla="*/ 3657600 h 3680460"/>
                  <a:gd name="connsiteX65" fmla="*/ 1203960 w 3018472"/>
                  <a:gd name="connsiteY65" fmla="*/ 3672840 h 3680460"/>
                  <a:gd name="connsiteX66" fmla="*/ 1165860 w 3018472"/>
                  <a:gd name="connsiteY66" fmla="*/ 3680460 h 3680460"/>
                  <a:gd name="connsiteX67" fmla="*/ 449580 w 3018472"/>
                  <a:gd name="connsiteY67" fmla="*/ 3672840 h 3680460"/>
                  <a:gd name="connsiteX68" fmla="*/ 426720 w 3018472"/>
                  <a:gd name="connsiteY68" fmla="*/ 3665220 h 3680460"/>
                  <a:gd name="connsiteX69" fmla="*/ 388620 w 3018472"/>
                  <a:gd name="connsiteY69" fmla="*/ 3657600 h 3680460"/>
                  <a:gd name="connsiteX70" fmla="*/ 335280 w 3018472"/>
                  <a:gd name="connsiteY70" fmla="*/ 3627120 h 3680460"/>
                  <a:gd name="connsiteX71" fmla="*/ 266700 w 3018472"/>
                  <a:gd name="connsiteY71" fmla="*/ 3604260 h 3680460"/>
                  <a:gd name="connsiteX72" fmla="*/ 243840 w 3018472"/>
                  <a:gd name="connsiteY72" fmla="*/ 3589020 h 3680460"/>
                  <a:gd name="connsiteX73" fmla="*/ 160020 w 3018472"/>
                  <a:gd name="connsiteY73" fmla="*/ 3558540 h 3680460"/>
                  <a:gd name="connsiteX74" fmla="*/ 137160 w 3018472"/>
                  <a:gd name="connsiteY74" fmla="*/ 3535680 h 3680460"/>
                  <a:gd name="connsiteX75" fmla="*/ 99060 w 3018472"/>
                  <a:gd name="connsiteY75" fmla="*/ 3520440 h 3680460"/>
                  <a:gd name="connsiteX76" fmla="*/ 83820 w 3018472"/>
                  <a:gd name="connsiteY76" fmla="*/ 3489960 h 3680460"/>
                  <a:gd name="connsiteX77" fmla="*/ 45720 w 3018472"/>
                  <a:gd name="connsiteY77" fmla="*/ 3436620 h 3680460"/>
                  <a:gd name="connsiteX78" fmla="*/ 0 w 3018472"/>
                  <a:gd name="connsiteY78" fmla="*/ 3352800 h 3680460"/>
                  <a:gd name="connsiteX79" fmla="*/ 30480 w 3018472"/>
                  <a:gd name="connsiteY79" fmla="*/ 3345180 h 3680460"/>
                  <a:gd name="connsiteX80" fmla="*/ 137160 w 3018472"/>
                  <a:gd name="connsiteY80" fmla="*/ 3360420 h 3680460"/>
                  <a:gd name="connsiteX81" fmla="*/ 167640 w 3018472"/>
                  <a:gd name="connsiteY81" fmla="*/ 3390900 h 3680460"/>
                  <a:gd name="connsiteX82" fmla="*/ 198120 w 3018472"/>
                  <a:gd name="connsiteY82" fmla="*/ 3406140 h 3680460"/>
                  <a:gd name="connsiteX83" fmla="*/ 350520 w 3018472"/>
                  <a:gd name="connsiteY83" fmla="*/ 3436620 h 3680460"/>
                  <a:gd name="connsiteX84" fmla="*/ 381000 w 3018472"/>
                  <a:gd name="connsiteY84" fmla="*/ 3451860 h 3680460"/>
                  <a:gd name="connsiteX85" fmla="*/ 449580 w 3018472"/>
                  <a:gd name="connsiteY85" fmla="*/ 3489960 h 3680460"/>
                  <a:gd name="connsiteX86" fmla="*/ 495300 w 3018472"/>
                  <a:gd name="connsiteY86" fmla="*/ 3520440 h 3680460"/>
                  <a:gd name="connsiteX87" fmla="*/ 525780 w 3018472"/>
                  <a:gd name="connsiteY87" fmla="*/ 3535680 h 3680460"/>
                  <a:gd name="connsiteX88" fmla="*/ 731520 w 3018472"/>
                  <a:gd name="connsiteY88" fmla="*/ 3558540 h 3680460"/>
                  <a:gd name="connsiteX89" fmla="*/ 1341120 w 3018472"/>
                  <a:gd name="connsiteY89" fmla="*/ 3550920 h 3680460"/>
                  <a:gd name="connsiteX90" fmla="*/ 1440180 w 3018472"/>
                  <a:gd name="connsiteY90" fmla="*/ 3528060 h 3680460"/>
                  <a:gd name="connsiteX91" fmla="*/ 1539240 w 3018472"/>
                  <a:gd name="connsiteY91" fmla="*/ 3520440 h 3680460"/>
                  <a:gd name="connsiteX92" fmla="*/ 1562100 w 3018472"/>
                  <a:gd name="connsiteY92" fmla="*/ 3512820 h 3680460"/>
                  <a:gd name="connsiteX93" fmla="*/ 1630680 w 3018472"/>
                  <a:gd name="connsiteY93" fmla="*/ 3497580 h 3680460"/>
                  <a:gd name="connsiteX94" fmla="*/ 1699260 w 3018472"/>
                  <a:gd name="connsiteY94" fmla="*/ 3474720 h 3680460"/>
                  <a:gd name="connsiteX95" fmla="*/ 1790700 w 3018472"/>
                  <a:gd name="connsiteY95" fmla="*/ 3451860 h 3680460"/>
                  <a:gd name="connsiteX96" fmla="*/ 1821180 w 3018472"/>
                  <a:gd name="connsiteY96" fmla="*/ 3444240 h 3680460"/>
                  <a:gd name="connsiteX97" fmla="*/ 1844040 w 3018472"/>
                  <a:gd name="connsiteY97" fmla="*/ 3429000 h 3680460"/>
                  <a:gd name="connsiteX98" fmla="*/ 1874520 w 3018472"/>
                  <a:gd name="connsiteY98" fmla="*/ 3421380 h 3680460"/>
                  <a:gd name="connsiteX99" fmla="*/ 1927860 w 3018472"/>
                  <a:gd name="connsiteY99" fmla="*/ 3398520 h 3680460"/>
                  <a:gd name="connsiteX100" fmla="*/ 1950720 w 3018472"/>
                  <a:gd name="connsiteY100" fmla="*/ 3390900 h 3680460"/>
                  <a:gd name="connsiteX101" fmla="*/ 2004060 w 3018472"/>
                  <a:gd name="connsiteY101" fmla="*/ 3360420 h 3680460"/>
                  <a:gd name="connsiteX102" fmla="*/ 2042160 w 3018472"/>
                  <a:gd name="connsiteY102" fmla="*/ 3352800 h 3680460"/>
                  <a:gd name="connsiteX103" fmla="*/ 2080260 w 3018472"/>
                  <a:gd name="connsiteY103" fmla="*/ 3337560 h 3680460"/>
                  <a:gd name="connsiteX104" fmla="*/ 2156460 w 3018472"/>
                  <a:gd name="connsiteY104" fmla="*/ 3299460 h 3680460"/>
                  <a:gd name="connsiteX105" fmla="*/ 2179320 w 3018472"/>
                  <a:gd name="connsiteY105" fmla="*/ 3284220 h 3680460"/>
                  <a:gd name="connsiteX106" fmla="*/ 2209800 w 3018472"/>
                  <a:gd name="connsiteY106" fmla="*/ 3276600 h 3680460"/>
                  <a:gd name="connsiteX107" fmla="*/ 2263140 w 3018472"/>
                  <a:gd name="connsiteY107" fmla="*/ 3230880 h 3680460"/>
                  <a:gd name="connsiteX108" fmla="*/ 2346960 w 3018472"/>
                  <a:gd name="connsiteY108" fmla="*/ 3154680 h 3680460"/>
                  <a:gd name="connsiteX109" fmla="*/ 2400300 w 3018472"/>
                  <a:gd name="connsiteY109" fmla="*/ 3070860 h 3680460"/>
                  <a:gd name="connsiteX110" fmla="*/ 2415540 w 3018472"/>
                  <a:gd name="connsiteY110" fmla="*/ 3048000 h 3680460"/>
                  <a:gd name="connsiteX111" fmla="*/ 2446020 w 3018472"/>
                  <a:gd name="connsiteY111" fmla="*/ 3032760 h 3680460"/>
                  <a:gd name="connsiteX112" fmla="*/ 2468880 w 3018472"/>
                  <a:gd name="connsiteY112" fmla="*/ 3009900 h 3680460"/>
                  <a:gd name="connsiteX113" fmla="*/ 2537460 w 3018472"/>
                  <a:gd name="connsiteY113" fmla="*/ 2926080 h 3680460"/>
                  <a:gd name="connsiteX114" fmla="*/ 2575560 w 3018472"/>
                  <a:gd name="connsiteY114" fmla="*/ 2880360 h 3680460"/>
                  <a:gd name="connsiteX115" fmla="*/ 2628900 w 3018472"/>
                  <a:gd name="connsiteY115" fmla="*/ 2811780 h 3680460"/>
                  <a:gd name="connsiteX116" fmla="*/ 2644140 w 3018472"/>
                  <a:gd name="connsiteY116" fmla="*/ 2773680 h 3680460"/>
                  <a:gd name="connsiteX117" fmla="*/ 2674620 w 3018472"/>
                  <a:gd name="connsiteY117" fmla="*/ 2727960 h 3680460"/>
                  <a:gd name="connsiteX118" fmla="*/ 2689860 w 3018472"/>
                  <a:gd name="connsiteY118" fmla="*/ 2705100 h 3680460"/>
                  <a:gd name="connsiteX119" fmla="*/ 2705100 w 3018472"/>
                  <a:gd name="connsiteY119" fmla="*/ 2667000 h 3680460"/>
                  <a:gd name="connsiteX120" fmla="*/ 2727960 w 3018472"/>
                  <a:gd name="connsiteY120" fmla="*/ 2621280 h 3680460"/>
                  <a:gd name="connsiteX121" fmla="*/ 2735580 w 3018472"/>
                  <a:gd name="connsiteY121" fmla="*/ 2590800 h 3680460"/>
                  <a:gd name="connsiteX122" fmla="*/ 2758440 w 3018472"/>
                  <a:gd name="connsiteY122" fmla="*/ 2545080 h 3680460"/>
                  <a:gd name="connsiteX123" fmla="*/ 2788920 w 3018472"/>
                  <a:gd name="connsiteY123" fmla="*/ 2484120 h 3680460"/>
                  <a:gd name="connsiteX124" fmla="*/ 2811780 w 3018472"/>
                  <a:gd name="connsiteY124" fmla="*/ 2407920 h 3680460"/>
                  <a:gd name="connsiteX125" fmla="*/ 2842260 w 3018472"/>
                  <a:gd name="connsiteY125" fmla="*/ 2324100 h 3680460"/>
                  <a:gd name="connsiteX126" fmla="*/ 2857500 w 3018472"/>
                  <a:gd name="connsiteY126" fmla="*/ 2247900 h 3680460"/>
                  <a:gd name="connsiteX127" fmla="*/ 2872740 w 3018472"/>
                  <a:gd name="connsiteY127" fmla="*/ 2194560 h 3680460"/>
                  <a:gd name="connsiteX128" fmla="*/ 2887980 w 3018472"/>
                  <a:gd name="connsiteY128" fmla="*/ 2148840 h 3680460"/>
                  <a:gd name="connsiteX129" fmla="*/ 2910840 w 3018472"/>
                  <a:gd name="connsiteY129" fmla="*/ 2087880 h 3680460"/>
                  <a:gd name="connsiteX130" fmla="*/ 2918460 w 3018472"/>
                  <a:gd name="connsiteY130" fmla="*/ 2049780 h 3680460"/>
                  <a:gd name="connsiteX131" fmla="*/ 2933700 w 3018472"/>
                  <a:gd name="connsiteY131" fmla="*/ 1844040 h 3680460"/>
                  <a:gd name="connsiteX132" fmla="*/ 2918460 w 3018472"/>
                  <a:gd name="connsiteY132" fmla="*/ 1470660 h 3680460"/>
                  <a:gd name="connsiteX133" fmla="*/ 2895600 w 3018472"/>
                  <a:gd name="connsiteY133" fmla="*/ 1371600 h 3680460"/>
                  <a:gd name="connsiteX134" fmla="*/ 2880360 w 3018472"/>
                  <a:gd name="connsiteY134" fmla="*/ 1341120 h 3680460"/>
                  <a:gd name="connsiteX135" fmla="*/ 2857500 w 3018472"/>
                  <a:gd name="connsiteY135" fmla="*/ 1272540 h 3680460"/>
                  <a:gd name="connsiteX136" fmla="*/ 2849880 w 3018472"/>
                  <a:gd name="connsiteY136" fmla="*/ 1234440 h 3680460"/>
                  <a:gd name="connsiteX137" fmla="*/ 2827020 w 3018472"/>
                  <a:gd name="connsiteY137" fmla="*/ 1196340 h 3680460"/>
                  <a:gd name="connsiteX138" fmla="*/ 2811780 w 3018472"/>
                  <a:gd name="connsiteY138" fmla="*/ 1165860 h 3680460"/>
                  <a:gd name="connsiteX139" fmla="*/ 2781300 w 3018472"/>
                  <a:gd name="connsiteY139" fmla="*/ 1127760 h 3680460"/>
                  <a:gd name="connsiteX140" fmla="*/ 2766060 w 3018472"/>
                  <a:gd name="connsiteY140" fmla="*/ 1089660 h 3680460"/>
                  <a:gd name="connsiteX141" fmla="*/ 2735580 w 3018472"/>
                  <a:gd name="connsiteY141" fmla="*/ 1043940 h 3680460"/>
                  <a:gd name="connsiteX142" fmla="*/ 2727960 w 3018472"/>
                  <a:gd name="connsiteY142" fmla="*/ 1021080 h 3680460"/>
                  <a:gd name="connsiteX143" fmla="*/ 2682240 w 3018472"/>
                  <a:gd name="connsiteY143" fmla="*/ 937260 h 3680460"/>
                  <a:gd name="connsiteX144" fmla="*/ 2659380 w 3018472"/>
                  <a:gd name="connsiteY144" fmla="*/ 876300 h 3680460"/>
                  <a:gd name="connsiteX145" fmla="*/ 2644140 w 3018472"/>
                  <a:gd name="connsiteY145" fmla="*/ 845820 h 3680460"/>
                  <a:gd name="connsiteX146" fmla="*/ 2636520 w 3018472"/>
                  <a:gd name="connsiteY146" fmla="*/ 822960 h 3680460"/>
                  <a:gd name="connsiteX147" fmla="*/ 2621280 w 3018472"/>
                  <a:gd name="connsiteY147" fmla="*/ 800100 h 3680460"/>
                  <a:gd name="connsiteX148" fmla="*/ 2598420 w 3018472"/>
                  <a:gd name="connsiteY148" fmla="*/ 739140 h 3680460"/>
                  <a:gd name="connsiteX149" fmla="*/ 2458403 w 3018472"/>
                  <a:gd name="connsiteY149" fmla="*/ 621983 h 3680460"/>
                  <a:gd name="connsiteX150" fmla="*/ 2301240 w 3018472"/>
                  <a:gd name="connsiteY150" fmla="*/ 458152 h 3680460"/>
                  <a:gd name="connsiteX151" fmla="*/ 2237423 w 3018472"/>
                  <a:gd name="connsiteY151" fmla="*/ 406717 h 3680460"/>
                  <a:gd name="connsiteX152" fmla="*/ 2103120 w 3018472"/>
                  <a:gd name="connsiteY152" fmla="*/ 312420 h 3680460"/>
                  <a:gd name="connsiteX153" fmla="*/ 2042160 w 3018472"/>
                  <a:gd name="connsiteY153" fmla="*/ 266700 h 3680460"/>
                  <a:gd name="connsiteX154" fmla="*/ 2004060 w 3018472"/>
                  <a:gd name="connsiteY154" fmla="*/ 251460 h 3680460"/>
                  <a:gd name="connsiteX155" fmla="*/ 1958340 w 3018472"/>
                  <a:gd name="connsiteY155" fmla="*/ 220980 h 3680460"/>
                  <a:gd name="connsiteX156" fmla="*/ 1897380 w 3018472"/>
                  <a:gd name="connsiteY156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43200 w 3018472"/>
                  <a:gd name="connsiteY40" fmla="*/ 2865120 h 3680460"/>
                  <a:gd name="connsiteX41" fmla="*/ 2712720 w 3018472"/>
                  <a:gd name="connsiteY41" fmla="*/ 2903220 h 3680460"/>
                  <a:gd name="connsiteX42" fmla="*/ 2697480 w 3018472"/>
                  <a:gd name="connsiteY42" fmla="*/ 2933700 h 3680460"/>
                  <a:gd name="connsiteX43" fmla="*/ 2674620 w 3018472"/>
                  <a:gd name="connsiteY43" fmla="*/ 2964180 h 3680460"/>
                  <a:gd name="connsiteX44" fmla="*/ 2644140 w 3018472"/>
                  <a:gd name="connsiteY44" fmla="*/ 3009900 h 3680460"/>
                  <a:gd name="connsiteX45" fmla="*/ 2598420 w 3018472"/>
                  <a:gd name="connsiteY45" fmla="*/ 3055620 h 3680460"/>
                  <a:gd name="connsiteX46" fmla="*/ 2575560 w 3018472"/>
                  <a:gd name="connsiteY46" fmla="*/ 3078480 h 3680460"/>
                  <a:gd name="connsiteX47" fmla="*/ 2476500 w 3018472"/>
                  <a:gd name="connsiteY47" fmla="*/ 3169920 h 3680460"/>
                  <a:gd name="connsiteX48" fmla="*/ 2377440 w 3018472"/>
                  <a:gd name="connsiteY48" fmla="*/ 3223260 h 3680460"/>
                  <a:gd name="connsiteX49" fmla="*/ 2293620 w 3018472"/>
                  <a:gd name="connsiteY49" fmla="*/ 3284220 h 3680460"/>
                  <a:gd name="connsiteX50" fmla="*/ 2240280 w 3018472"/>
                  <a:gd name="connsiteY50" fmla="*/ 3314700 h 3680460"/>
                  <a:gd name="connsiteX51" fmla="*/ 2225040 w 3018472"/>
                  <a:gd name="connsiteY51" fmla="*/ 3337560 h 3680460"/>
                  <a:gd name="connsiteX52" fmla="*/ 2141220 w 3018472"/>
                  <a:gd name="connsiteY52" fmla="*/ 3390900 h 3680460"/>
                  <a:gd name="connsiteX53" fmla="*/ 2110740 w 3018472"/>
                  <a:gd name="connsiteY53" fmla="*/ 3413760 h 3680460"/>
                  <a:gd name="connsiteX54" fmla="*/ 2072640 w 3018472"/>
                  <a:gd name="connsiteY54" fmla="*/ 3451860 h 3680460"/>
                  <a:gd name="connsiteX55" fmla="*/ 2019300 w 3018472"/>
                  <a:gd name="connsiteY55" fmla="*/ 3467100 h 3680460"/>
                  <a:gd name="connsiteX56" fmla="*/ 1874520 w 3018472"/>
                  <a:gd name="connsiteY56" fmla="*/ 3512820 h 3680460"/>
                  <a:gd name="connsiteX57" fmla="*/ 1828800 w 3018472"/>
                  <a:gd name="connsiteY57" fmla="*/ 3520440 h 3680460"/>
                  <a:gd name="connsiteX58" fmla="*/ 1722120 w 3018472"/>
                  <a:gd name="connsiteY58" fmla="*/ 3550920 h 3680460"/>
                  <a:gd name="connsiteX59" fmla="*/ 1600200 w 3018472"/>
                  <a:gd name="connsiteY59" fmla="*/ 3589020 h 3680460"/>
                  <a:gd name="connsiteX60" fmla="*/ 1569720 w 3018472"/>
                  <a:gd name="connsiteY60" fmla="*/ 3596640 h 3680460"/>
                  <a:gd name="connsiteX61" fmla="*/ 1546860 w 3018472"/>
                  <a:gd name="connsiteY61" fmla="*/ 3611880 h 3680460"/>
                  <a:gd name="connsiteX62" fmla="*/ 1463040 w 3018472"/>
                  <a:gd name="connsiteY62" fmla="*/ 3627120 h 3680460"/>
                  <a:gd name="connsiteX63" fmla="*/ 1333500 w 3018472"/>
                  <a:gd name="connsiteY63" fmla="*/ 3657600 h 3680460"/>
                  <a:gd name="connsiteX64" fmla="*/ 1203960 w 3018472"/>
                  <a:gd name="connsiteY64" fmla="*/ 3672840 h 3680460"/>
                  <a:gd name="connsiteX65" fmla="*/ 1165860 w 3018472"/>
                  <a:gd name="connsiteY65" fmla="*/ 3680460 h 3680460"/>
                  <a:gd name="connsiteX66" fmla="*/ 449580 w 3018472"/>
                  <a:gd name="connsiteY66" fmla="*/ 3672840 h 3680460"/>
                  <a:gd name="connsiteX67" fmla="*/ 426720 w 3018472"/>
                  <a:gd name="connsiteY67" fmla="*/ 3665220 h 3680460"/>
                  <a:gd name="connsiteX68" fmla="*/ 388620 w 3018472"/>
                  <a:gd name="connsiteY68" fmla="*/ 3657600 h 3680460"/>
                  <a:gd name="connsiteX69" fmla="*/ 335280 w 3018472"/>
                  <a:gd name="connsiteY69" fmla="*/ 3627120 h 3680460"/>
                  <a:gd name="connsiteX70" fmla="*/ 266700 w 3018472"/>
                  <a:gd name="connsiteY70" fmla="*/ 3604260 h 3680460"/>
                  <a:gd name="connsiteX71" fmla="*/ 243840 w 3018472"/>
                  <a:gd name="connsiteY71" fmla="*/ 3589020 h 3680460"/>
                  <a:gd name="connsiteX72" fmla="*/ 160020 w 3018472"/>
                  <a:gd name="connsiteY72" fmla="*/ 3558540 h 3680460"/>
                  <a:gd name="connsiteX73" fmla="*/ 137160 w 3018472"/>
                  <a:gd name="connsiteY73" fmla="*/ 3535680 h 3680460"/>
                  <a:gd name="connsiteX74" fmla="*/ 99060 w 3018472"/>
                  <a:gd name="connsiteY74" fmla="*/ 3520440 h 3680460"/>
                  <a:gd name="connsiteX75" fmla="*/ 83820 w 3018472"/>
                  <a:gd name="connsiteY75" fmla="*/ 3489960 h 3680460"/>
                  <a:gd name="connsiteX76" fmla="*/ 45720 w 3018472"/>
                  <a:gd name="connsiteY76" fmla="*/ 3436620 h 3680460"/>
                  <a:gd name="connsiteX77" fmla="*/ 0 w 3018472"/>
                  <a:gd name="connsiteY77" fmla="*/ 3352800 h 3680460"/>
                  <a:gd name="connsiteX78" fmla="*/ 30480 w 3018472"/>
                  <a:gd name="connsiteY78" fmla="*/ 3345180 h 3680460"/>
                  <a:gd name="connsiteX79" fmla="*/ 137160 w 3018472"/>
                  <a:gd name="connsiteY79" fmla="*/ 3360420 h 3680460"/>
                  <a:gd name="connsiteX80" fmla="*/ 167640 w 3018472"/>
                  <a:gd name="connsiteY80" fmla="*/ 3390900 h 3680460"/>
                  <a:gd name="connsiteX81" fmla="*/ 198120 w 3018472"/>
                  <a:gd name="connsiteY81" fmla="*/ 3406140 h 3680460"/>
                  <a:gd name="connsiteX82" fmla="*/ 350520 w 3018472"/>
                  <a:gd name="connsiteY82" fmla="*/ 3436620 h 3680460"/>
                  <a:gd name="connsiteX83" fmla="*/ 381000 w 3018472"/>
                  <a:gd name="connsiteY83" fmla="*/ 3451860 h 3680460"/>
                  <a:gd name="connsiteX84" fmla="*/ 449580 w 3018472"/>
                  <a:gd name="connsiteY84" fmla="*/ 3489960 h 3680460"/>
                  <a:gd name="connsiteX85" fmla="*/ 495300 w 3018472"/>
                  <a:gd name="connsiteY85" fmla="*/ 3520440 h 3680460"/>
                  <a:gd name="connsiteX86" fmla="*/ 525780 w 3018472"/>
                  <a:gd name="connsiteY86" fmla="*/ 3535680 h 3680460"/>
                  <a:gd name="connsiteX87" fmla="*/ 731520 w 3018472"/>
                  <a:gd name="connsiteY87" fmla="*/ 3558540 h 3680460"/>
                  <a:gd name="connsiteX88" fmla="*/ 1341120 w 3018472"/>
                  <a:gd name="connsiteY88" fmla="*/ 3550920 h 3680460"/>
                  <a:gd name="connsiteX89" fmla="*/ 1440180 w 3018472"/>
                  <a:gd name="connsiteY89" fmla="*/ 3528060 h 3680460"/>
                  <a:gd name="connsiteX90" fmla="*/ 1539240 w 3018472"/>
                  <a:gd name="connsiteY90" fmla="*/ 3520440 h 3680460"/>
                  <a:gd name="connsiteX91" fmla="*/ 1562100 w 3018472"/>
                  <a:gd name="connsiteY91" fmla="*/ 3512820 h 3680460"/>
                  <a:gd name="connsiteX92" fmla="*/ 1630680 w 3018472"/>
                  <a:gd name="connsiteY92" fmla="*/ 3497580 h 3680460"/>
                  <a:gd name="connsiteX93" fmla="*/ 1699260 w 3018472"/>
                  <a:gd name="connsiteY93" fmla="*/ 3474720 h 3680460"/>
                  <a:gd name="connsiteX94" fmla="*/ 1790700 w 3018472"/>
                  <a:gd name="connsiteY94" fmla="*/ 3451860 h 3680460"/>
                  <a:gd name="connsiteX95" fmla="*/ 1821180 w 3018472"/>
                  <a:gd name="connsiteY95" fmla="*/ 3444240 h 3680460"/>
                  <a:gd name="connsiteX96" fmla="*/ 1844040 w 3018472"/>
                  <a:gd name="connsiteY96" fmla="*/ 3429000 h 3680460"/>
                  <a:gd name="connsiteX97" fmla="*/ 1874520 w 3018472"/>
                  <a:gd name="connsiteY97" fmla="*/ 3421380 h 3680460"/>
                  <a:gd name="connsiteX98" fmla="*/ 1927860 w 3018472"/>
                  <a:gd name="connsiteY98" fmla="*/ 3398520 h 3680460"/>
                  <a:gd name="connsiteX99" fmla="*/ 1950720 w 3018472"/>
                  <a:gd name="connsiteY99" fmla="*/ 3390900 h 3680460"/>
                  <a:gd name="connsiteX100" fmla="*/ 2004060 w 3018472"/>
                  <a:gd name="connsiteY100" fmla="*/ 3360420 h 3680460"/>
                  <a:gd name="connsiteX101" fmla="*/ 2042160 w 3018472"/>
                  <a:gd name="connsiteY101" fmla="*/ 3352800 h 3680460"/>
                  <a:gd name="connsiteX102" fmla="*/ 2080260 w 3018472"/>
                  <a:gd name="connsiteY102" fmla="*/ 3337560 h 3680460"/>
                  <a:gd name="connsiteX103" fmla="*/ 2156460 w 3018472"/>
                  <a:gd name="connsiteY103" fmla="*/ 3299460 h 3680460"/>
                  <a:gd name="connsiteX104" fmla="*/ 2179320 w 3018472"/>
                  <a:gd name="connsiteY104" fmla="*/ 3284220 h 3680460"/>
                  <a:gd name="connsiteX105" fmla="*/ 2209800 w 3018472"/>
                  <a:gd name="connsiteY105" fmla="*/ 3276600 h 3680460"/>
                  <a:gd name="connsiteX106" fmla="*/ 2263140 w 3018472"/>
                  <a:gd name="connsiteY106" fmla="*/ 3230880 h 3680460"/>
                  <a:gd name="connsiteX107" fmla="*/ 2346960 w 3018472"/>
                  <a:gd name="connsiteY107" fmla="*/ 3154680 h 3680460"/>
                  <a:gd name="connsiteX108" fmla="*/ 2400300 w 3018472"/>
                  <a:gd name="connsiteY108" fmla="*/ 3070860 h 3680460"/>
                  <a:gd name="connsiteX109" fmla="*/ 2415540 w 3018472"/>
                  <a:gd name="connsiteY109" fmla="*/ 3048000 h 3680460"/>
                  <a:gd name="connsiteX110" fmla="*/ 2446020 w 3018472"/>
                  <a:gd name="connsiteY110" fmla="*/ 3032760 h 3680460"/>
                  <a:gd name="connsiteX111" fmla="*/ 2468880 w 3018472"/>
                  <a:gd name="connsiteY111" fmla="*/ 3009900 h 3680460"/>
                  <a:gd name="connsiteX112" fmla="*/ 2537460 w 3018472"/>
                  <a:gd name="connsiteY112" fmla="*/ 2926080 h 3680460"/>
                  <a:gd name="connsiteX113" fmla="*/ 2575560 w 3018472"/>
                  <a:gd name="connsiteY113" fmla="*/ 2880360 h 3680460"/>
                  <a:gd name="connsiteX114" fmla="*/ 2628900 w 3018472"/>
                  <a:gd name="connsiteY114" fmla="*/ 2811780 h 3680460"/>
                  <a:gd name="connsiteX115" fmla="*/ 2644140 w 3018472"/>
                  <a:gd name="connsiteY115" fmla="*/ 2773680 h 3680460"/>
                  <a:gd name="connsiteX116" fmla="*/ 2674620 w 3018472"/>
                  <a:gd name="connsiteY116" fmla="*/ 2727960 h 3680460"/>
                  <a:gd name="connsiteX117" fmla="*/ 2689860 w 3018472"/>
                  <a:gd name="connsiteY117" fmla="*/ 2705100 h 3680460"/>
                  <a:gd name="connsiteX118" fmla="*/ 2705100 w 3018472"/>
                  <a:gd name="connsiteY118" fmla="*/ 2667000 h 3680460"/>
                  <a:gd name="connsiteX119" fmla="*/ 2727960 w 3018472"/>
                  <a:gd name="connsiteY119" fmla="*/ 2621280 h 3680460"/>
                  <a:gd name="connsiteX120" fmla="*/ 2735580 w 3018472"/>
                  <a:gd name="connsiteY120" fmla="*/ 2590800 h 3680460"/>
                  <a:gd name="connsiteX121" fmla="*/ 2758440 w 3018472"/>
                  <a:gd name="connsiteY121" fmla="*/ 2545080 h 3680460"/>
                  <a:gd name="connsiteX122" fmla="*/ 2788920 w 3018472"/>
                  <a:gd name="connsiteY122" fmla="*/ 2484120 h 3680460"/>
                  <a:gd name="connsiteX123" fmla="*/ 2811780 w 3018472"/>
                  <a:gd name="connsiteY123" fmla="*/ 2407920 h 3680460"/>
                  <a:gd name="connsiteX124" fmla="*/ 2842260 w 3018472"/>
                  <a:gd name="connsiteY124" fmla="*/ 2324100 h 3680460"/>
                  <a:gd name="connsiteX125" fmla="*/ 2857500 w 3018472"/>
                  <a:gd name="connsiteY125" fmla="*/ 2247900 h 3680460"/>
                  <a:gd name="connsiteX126" fmla="*/ 2872740 w 3018472"/>
                  <a:gd name="connsiteY126" fmla="*/ 2194560 h 3680460"/>
                  <a:gd name="connsiteX127" fmla="*/ 2887980 w 3018472"/>
                  <a:gd name="connsiteY127" fmla="*/ 2148840 h 3680460"/>
                  <a:gd name="connsiteX128" fmla="*/ 2910840 w 3018472"/>
                  <a:gd name="connsiteY128" fmla="*/ 2087880 h 3680460"/>
                  <a:gd name="connsiteX129" fmla="*/ 2918460 w 3018472"/>
                  <a:gd name="connsiteY129" fmla="*/ 2049780 h 3680460"/>
                  <a:gd name="connsiteX130" fmla="*/ 2933700 w 3018472"/>
                  <a:gd name="connsiteY130" fmla="*/ 1844040 h 3680460"/>
                  <a:gd name="connsiteX131" fmla="*/ 2918460 w 3018472"/>
                  <a:gd name="connsiteY131" fmla="*/ 1470660 h 3680460"/>
                  <a:gd name="connsiteX132" fmla="*/ 2895600 w 3018472"/>
                  <a:gd name="connsiteY132" fmla="*/ 1371600 h 3680460"/>
                  <a:gd name="connsiteX133" fmla="*/ 2880360 w 3018472"/>
                  <a:gd name="connsiteY133" fmla="*/ 1341120 h 3680460"/>
                  <a:gd name="connsiteX134" fmla="*/ 2857500 w 3018472"/>
                  <a:gd name="connsiteY134" fmla="*/ 1272540 h 3680460"/>
                  <a:gd name="connsiteX135" fmla="*/ 2849880 w 3018472"/>
                  <a:gd name="connsiteY135" fmla="*/ 1234440 h 3680460"/>
                  <a:gd name="connsiteX136" fmla="*/ 2827020 w 3018472"/>
                  <a:gd name="connsiteY136" fmla="*/ 1196340 h 3680460"/>
                  <a:gd name="connsiteX137" fmla="*/ 2811780 w 3018472"/>
                  <a:gd name="connsiteY137" fmla="*/ 1165860 h 3680460"/>
                  <a:gd name="connsiteX138" fmla="*/ 2781300 w 3018472"/>
                  <a:gd name="connsiteY138" fmla="*/ 1127760 h 3680460"/>
                  <a:gd name="connsiteX139" fmla="*/ 2766060 w 3018472"/>
                  <a:gd name="connsiteY139" fmla="*/ 1089660 h 3680460"/>
                  <a:gd name="connsiteX140" fmla="*/ 2735580 w 3018472"/>
                  <a:gd name="connsiteY140" fmla="*/ 1043940 h 3680460"/>
                  <a:gd name="connsiteX141" fmla="*/ 2727960 w 3018472"/>
                  <a:gd name="connsiteY141" fmla="*/ 1021080 h 3680460"/>
                  <a:gd name="connsiteX142" fmla="*/ 2682240 w 3018472"/>
                  <a:gd name="connsiteY142" fmla="*/ 937260 h 3680460"/>
                  <a:gd name="connsiteX143" fmla="*/ 2659380 w 3018472"/>
                  <a:gd name="connsiteY143" fmla="*/ 876300 h 3680460"/>
                  <a:gd name="connsiteX144" fmla="*/ 2644140 w 3018472"/>
                  <a:gd name="connsiteY144" fmla="*/ 845820 h 3680460"/>
                  <a:gd name="connsiteX145" fmla="*/ 2636520 w 3018472"/>
                  <a:gd name="connsiteY145" fmla="*/ 822960 h 3680460"/>
                  <a:gd name="connsiteX146" fmla="*/ 2621280 w 3018472"/>
                  <a:gd name="connsiteY146" fmla="*/ 800100 h 3680460"/>
                  <a:gd name="connsiteX147" fmla="*/ 2598420 w 3018472"/>
                  <a:gd name="connsiteY147" fmla="*/ 739140 h 3680460"/>
                  <a:gd name="connsiteX148" fmla="*/ 2458403 w 3018472"/>
                  <a:gd name="connsiteY148" fmla="*/ 621983 h 3680460"/>
                  <a:gd name="connsiteX149" fmla="*/ 2301240 w 3018472"/>
                  <a:gd name="connsiteY149" fmla="*/ 458152 h 3680460"/>
                  <a:gd name="connsiteX150" fmla="*/ 2237423 w 3018472"/>
                  <a:gd name="connsiteY150" fmla="*/ 406717 h 3680460"/>
                  <a:gd name="connsiteX151" fmla="*/ 2103120 w 3018472"/>
                  <a:gd name="connsiteY151" fmla="*/ 312420 h 3680460"/>
                  <a:gd name="connsiteX152" fmla="*/ 2042160 w 3018472"/>
                  <a:gd name="connsiteY152" fmla="*/ 266700 h 3680460"/>
                  <a:gd name="connsiteX153" fmla="*/ 2004060 w 3018472"/>
                  <a:gd name="connsiteY153" fmla="*/ 251460 h 3680460"/>
                  <a:gd name="connsiteX154" fmla="*/ 1958340 w 3018472"/>
                  <a:gd name="connsiteY154" fmla="*/ 220980 h 3680460"/>
                  <a:gd name="connsiteX155" fmla="*/ 1897380 w 3018472"/>
                  <a:gd name="connsiteY15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97480 w 3018472"/>
                  <a:gd name="connsiteY41" fmla="*/ 2933700 h 3680460"/>
                  <a:gd name="connsiteX42" fmla="*/ 2674620 w 3018472"/>
                  <a:gd name="connsiteY42" fmla="*/ 2964180 h 3680460"/>
                  <a:gd name="connsiteX43" fmla="*/ 2644140 w 3018472"/>
                  <a:gd name="connsiteY43" fmla="*/ 3009900 h 3680460"/>
                  <a:gd name="connsiteX44" fmla="*/ 2598420 w 3018472"/>
                  <a:gd name="connsiteY44" fmla="*/ 3055620 h 3680460"/>
                  <a:gd name="connsiteX45" fmla="*/ 2575560 w 3018472"/>
                  <a:gd name="connsiteY45" fmla="*/ 3078480 h 3680460"/>
                  <a:gd name="connsiteX46" fmla="*/ 2476500 w 3018472"/>
                  <a:gd name="connsiteY46" fmla="*/ 3169920 h 3680460"/>
                  <a:gd name="connsiteX47" fmla="*/ 2377440 w 3018472"/>
                  <a:gd name="connsiteY47" fmla="*/ 3223260 h 3680460"/>
                  <a:gd name="connsiteX48" fmla="*/ 2293620 w 3018472"/>
                  <a:gd name="connsiteY48" fmla="*/ 3284220 h 3680460"/>
                  <a:gd name="connsiteX49" fmla="*/ 2240280 w 3018472"/>
                  <a:gd name="connsiteY49" fmla="*/ 3314700 h 3680460"/>
                  <a:gd name="connsiteX50" fmla="*/ 2225040 w 3018472"/>
                  <a:gd name="connsiteY50" fmla="*/ 3337560 h 3680460"/>
                  <a:gd name="connsiteX51" fmla="*/ 2141220 w 3018472"/>
                  <a:gd name="connsiteY51" fmla="*/ 3390900 h 3680460"/>
                  <a:gd name="connsiteX52" fmla="*/ 2110740 w 3018472"/>
                  <a:gd name="connsiteY52" fmla="*/ 3413760 h 3680460"/>
                  <a:gd name="connsiteX53" fmla="*/ 2072640 w 3018472"/>
                  <a:gd name="connsiteY53" fmla="*/ 3451860 h 3680460"/>
                  <a:gd name="connsiteX54" fmla="*/ 2019300 w 3018472"/>
                  <a:gd name="connsiteY54" fmla="*/ 3467100 h 3680460"/>
                  <a:gd name="connsiteX55" fmla="*/ 1874520 w 3018472"/>
                  <a:gd name="connsiteY55" fmla="*/ 3512820 h 3680460"/>
                  <a:gd name="connsiteX56" fmla="*/ 1828800 w 3018472"/>
                  <a:gd name="connsiteY56" fmla="*/ 3520440 h 3680460"/>
                  <a:gd name="connsiteX57" fmla="*/ 1722120 w 3018472"/>
                  <a:gd name="connsiteY57" fmla="*/ 3550920 h 3680460"/>
                  <a:gd name="connsiteX58" fmla="*/ 1600200 w 3018472"/>
                  <a:gd name="connsiteY58" fmla="*/ 3589020 h 3680460"/>
                  <a:gd name="connsiteX59" fmla="*/ 1569720 w 3018472"/>
                  <a:gd name="connsiteY59" fmla="*/ 3596640 h 3680460"/>
                  <a:gd name="connsiteX60" fmla="*/ 1546860 w 3018472"/>
                  <a:gd name="connsiteY60" fmla="*/ 3611880 h 3680460"/>
                  <a:gd name="connsiteX61" fmla="*/ 1463040 w 3018472"/>
                  <a:gd name="connsiteY61" fmla="*/ 3627120 h 3680460"/>
                  <a:gd name="connsiteX62" fmla="*/ 1333500 w 3018472"/>
                  <a:gd name="connsiteY62" fmla="*/ 3657600 h 3680460"/>
                  <a:gd name="connsiteX63" fmla="*/ 1203960 w 3018472"/>
                  <a:gd name="connsiteY63" fmla="*/ 3672840 h 3680460"/>
                  <a:gd name="connsiteX64" fmla="*/ 1165860 w 3018472"/>
                  <a:gd name="connsiteY64" fmla="*/ 3680460 h 3680460"/>
                  <a:gd name="connsiteX65" fmla="*/ 449580 w 3018472"/>
                  <a:gd name="connsiteY65" fmla="*/ 3672840 h 3680460"/>
                  <a:gd name="connsiteX66" fmla="*/ 426720 w 3018472"/>
                  <a:gd name="connsiteY66" fmla="*/ 3665220 h 3680460"/>
                  <a:gd name="connsiteX67" fmla="*/ 388620 w 3018472"/>
                  <a:gd name="connsiteY67" fmla="*/ 3657600 h 3680460"/>
                  <a:gd name="connsiteX68" fmla="*/ 335280 w 3018472"/>
                  <a:gd name="connsiteY68" fmla="*/ 3627120 h 3680460"/>
                  <a:gd name="connsiteX69" fmla="*/ 266700 w 3018472"/>
                  <a:gd name="connsiteY69" fmla="*/ 3604260 h 3680460"/>
                  <a:gd name="connsiteX70" fmla="*/ 243840 w 3018472"/>
                  <a:gd name="connsiteY70" fmla="*/ 3589020 h 3680460"/>
                  <a:gd name="connsiteX71" fmla="*/ 160020 w 3018472"/>
                  <a:gd name="connsiteY71" fmla="*/ 3558540 h 3680460"/>
                  <a:gd name="connsiteX72" fmla="*/ 137160 w 3018472"/>
                  <a:gd name="connsiteY72" fmla="*/ 3535680 h 3680460"/>
                  <a:gd name="connsiteX73" fmla="*/ 99060 w 3018472"/>
                  <a:gd name="connsiteY73" fmla="*/ 3520440 h 3680460"/>
                  <a:gd name="connsiteX74" fmla="*/ 83820 w 3018472"/>
                  <a:gd name="connsiteY74" fmla="*/ 3489960 h 3680460"/>
                  <a:gd name="connsiteX75" fmla="*/ 45720 w 3018472"/>
                  <a:gd name="connsiteY75" fmla="*/ 3436620 h 3680460"/>
                  <a:gd name="connsiteX76" fmla="*/ 0 w 3018472"/>
                  <a:gd name="connsiteY76" fmla="*/ 3352800 h 3680460"/>
                  <a:gd name="connsiteX77" fmla="*/ 30480 w 3018472"/>
                  <a:gd name="connsiteY77" fmla="*/ 3345180 h 3680460"/>
                  <a:gd name="connsiteX78" fmla="*/ 137160 w 3018472"/>
                  <a:gd name="connsiteY78" fmla="*/ 3360420 h 3680460"/>
                  <a:gd name="connsiteX79" fmla="*/ 167640 w 3018472"/>
                  <a:gd name="connsiteY79" fmla="*/ 3390900 h 3680460"/>
                  <a:gd name="connsiteX80" fmla="*/ 198120 w 3018472"/>
                  <a:gd name="connsiteY80" fmla="*/ 3406140 h 3680460"/>
                  <a:gd name="connsiteX81" fmla="*/ 350520 w 3018472"/>
                  <a:gd name="connsiteY81" fmla="*/ 3436620 h 3680460"/>
                  <a:gd name="connsiteX82" fmla="*/ 381000 w 3018472"/>
                  <a:gd name="connsiteY82" fmla="*/ 3451860 h 3680460"/>
                  <a:gd name="connsiteX83" fmla="*/ 449580 w 3018472"/>
                  <a:gd name="connsiteY83" fmla="*/ 3489960 h 3680460"/>
                  <a:gd name="connsiteX84" fmla="*/ 495300 w 3018472"/>
                  <a:gd name="connsiteY84" fmla="*/ 3520440 h 3680460"/>
                  <a:gd name="connsiteX85" fmla="*/ 525780 w 3018472"/>
                  <a:gd name="connsiteY85" fmla="*/ 3535680 h 3680460"/>
                  <a:gd name="connsiteX86" fmla="*/ 731520 w 3018472"/>
                  <a:gd name="connsiteY86" fmla="*/ 3558540 h 3680460"/>
                  <a:gd name="connsiteX87" fmla="*/ 1341120 w 3018472"/>
                  <a:gd name="connsiteY87" fmla="*/ 3550920 h 3680460"/>
                  <a:gd name="connsiteX88" fmla="*/ 1440180 w 3018472"/>
                  <a:gd name="connsiteY88" fmla="*/ 3528060 h 3680460"/>
                  <a:gd name="connsiteX89" fmla="*/ 1539240 w 3018472"/>
                  <a:gd name="connsiteY89" fmla="*/ 3520440 h 3680460"/>
                  <a:gd name="connsiteX90" fmla="*/ 1562100 w 3018472"/>
                  <a:gd name="connsiteY90" fmla="*/ 3512820 h 3680460"/>
                  <a:gd name="connsiteX91" fmla="*/ 1630680 w 3018472"/>
                  <a:gd name="connsiteY91" fmla="*/ 3497580 h 3680460"/>
                  <a:gd name="connsiteX92" fmla="*/ 1699260 w 3018472"/>
                  <a:gd name="connsiteY92" fmla="*/ 3474720 h 3680460"/>
                  <a:gd name="connsiteX93" fmla="*/ 1790700 w 3018472"/>
                  <a:gd name="connsiteY93" fmla="*/ 3451860 h 3680460"/>
                  <a:gd name="connsiteX94" fmla="*/ 1821180 w 3018472"/>
                  <a:gd name="connsiteY94" fmla="*/ 3444240 h 3680460"/>
                  <a:gd name="connsiteX95" fmla="*/ 1844040 w 3018472"/>
                  <a:gd name="connsiteY95" fmla="*/ 3429000 h 3680460"/>
                  <a:gd name="connsiteX96" fmla="*/ 1874520 w 3018472"/>
                  <a:gd name="connsiteY96" fmla="*/ 3421380 h 3680460"/>
                  <a:gd name="connsiteX97" fmla="*/ 1927860 w 3018472"/>
                  <a:gd name="connsiteY97" fmla="*/ 3398520 h 3680460"/>
                  <a:gd name="connsiteX98" fmla="*/ 1950720 w 3018472"/>
                  <a:gd name="connsiteY98" fmla="*/ 3390900 h 3680460"/>
                  <a:gd name="connsiteX99" fmla="*/ 2004060 w 3018472"/>
                  <a:gd name="connsiteY99" fmla="*/ 3360420 h 3680460"/>
                  <a:gd name="connsiteX100" fmla="*/ 2042160 w 3018472"/>
                  <a:gd name="connsiteY100" fmla="*/ 3352800 h 3680460"/>
                  <a:gd name="connsiteX101" fmla="*/ 2080260 w 3018472"/>
                  <a:gd name="connsiteY101" fmla="*/ 3337560 h 3680460"/>
                  <a:gd name="connsiteX102" fmla="*/ 2156460 w 3018472"/>
                  <a:gd name="connsiteY102" fmla="*/ 3299460 h 3680460"/>
                  <a:gd name="connsiteX103" fmla="*/ 2179320 w 3018472"/>
                  <a:gd name="connsiteY103" fmla="*/ 3284220 h 3680460"/>
                  <a:gd name="connsiteX104" fmla="*/ 2209800 w 3018472"/>
                  <a:gd name="connsiteY104" fmla="*/ 3276600 h 3680460"/>
                  <a:gd name="connsiteX105" fmla="*/ 2263140 w 3018472"/>
                  <a:gd name="connsiteY105" fmla="*/ 3230880 h 3680460"/>
                  <a:gd name="connsiteX106" fmla="*/ 2346960 w 3018472"/>
                  <a:gd name="connsiteY106" fmla="*/ 3154680 h 3680460"/>
                  <a:gd name="connsiteX107" fmla="*/ 2400300 w 3018472"/>
                  <a:gd name="connsiteY107" fmla="*/ 3070860 h 3680460"/>
                  <a:gd name="connsiteX108" fmla="*/ 2415540 w 3018472"/>
                  <a:gd name="connsiteY108" fmla="*/ 3048000 h 3680460"/>
                  <a:gd name="connsiteX109" fmla="*/ 2446020 w 3018472"/>
                  <a:gd name="connsiteY109" fmla="*/ 3032760 h 3680460"/>
                  <a:gd name="connsiteX110" fmla="*/ 2468880 w 3018472"/>
                  <a:gd name="connsiteY110" fmla="*/ 3009900 h 3680460"/>
                  <a:gd name="connsiteX111" fmla="*/ 2537460 w 3018472"/>
                  <a:gd name="connsiteY111" fmla="*/ 2926080 h 3680460"/>
                  <a:gd name="connsiteX112" fmla="*/ 2575560 w 3018472"/>
                  <a:gd name="connsiteY112" fmla="*/ 2880360 h 3680460"/>
                  <a:gd name="connsiteX113" fmla="*/ 2628900 w 3018472"/>
                  <a:gd name="connsiteY113" fmla="*/ 2811780 h 3680460"/>
                  <a:gd name="connsiteX114" fmla="*/ 2644140 w 3018472"/>
                  <a:gd name="connsiteY114" fmla="*/ 2773680 h 3680460"/>
                  <a:gd name="connsiteX115" fmla="*/ 2674620 w 3018472"/>
                  <a:gd name="connsiteY115" fmla="*/ 2727960 h 3680460"/>
                  <a:gd name="connsiteX116" fmla="*/ 2689860 w 3018472"/>
                  <a:gd name="connsiteY116" fmla="*/ 2705100 h 3680460"/>
                  <a:gd name="connsiteX117" fmla="*/ 2705100 w 3018472"/>
                  <a:gd name="connsiteY117" fmla="*/ 2667000 h 3680460"/>
                  <a:gd name="connsiteX118" fmla="*/ 2727960 w 3018472"/>
                  <a:gd name="connsiteY118" fmla="*/ 2621280 h 3680460"/>
                  <a:gd name="connsiteX119" fmla="*/ 2735580 w 3018472"/>
                  <a:gd name="connsiteY119" fmla="*/ 2590800 h 3680460"/>
                  <a:gd name="connsiteX120" fmla="*/ 2758440 w 3018472"/>
                  <a:gd name="connsiteY120" fmla="*/ 2545080 h 3680460"/>
                  <a:gd name="connsiteX121" fmla="*/ 2788920 w 3018472"/>
                  <a:gd name="connsiteY121" fmla="*/ 2484120 h 3680460"/>
                  <a:gd name="connsiteX122" fmla="*/ 2811780 w 3018472"/>
                  <a:gd name="connsiteY122" fmla="*/ 2407920 h 3680460"/>
                  <a:gd name="connsiteX123" fmla="*/ 2842260 w 3018472"/>
                  <a:gd name="connsiteY123" fmla="*/ 2324100 h 3680460"/>
                  <a:gd name="connsiteX124" fmla="*/ 2857500 w 3018472"/>
                  <a:gd name="connsiteY124" fmla="*/ 2247900 h 3680460"/>
                  <a:gd name="connsiteX125" fmla="*/ 2872740 w 3018472"/>
                  <a:gd name="connsiteY125" fmla="*/ 2194560 h 3680460"/>
                  <a:gd name="connsiteX126" fmla="*/ 2887980 w 3018472"/>
                  <a:gd name="connsiteY126" fmla="*/ 2148840 h 3680460"/>
                  <a:gd name="connsiteX127" fmla="*/ 2910840 w 3018472"/>
                  <a:gd name="connsiteY127" fmla="*/ 2087880 h 3680460"/>
                  <a:gd name="connsiteX128" fmla="*/ 2918460 w 3018472"/>
                  <a:gd name="connsiteY128" fmla="*/ 2049780 h 3680460"/>
                  <a:gd name="connsiteX129" fmla="*/ 2933700 w 3018472"/>
                  <a:gd name="connsiteY129" fmla="*/ 1844040 h 3680460"/>
                  <a:gd name="connsiteX130" fmla="*/ 2918460 w 3018472"/>
                  <a:gd name="connsiteY130" fmla="*/ 1470660 h 3680460"/>
                  <a:gd name="connsiteX131" fmla="*/ 2895600 w 3018472"/>
                  <a:gd name="connsiteY131" fmla="*/ 1371600 h 3680460"/>
                  <a:gd name="connsiteX132" fmla="*/ 2880360 w 3018472"/>
                  <a:gd name="connsiteY132" fmla="*/ 1341120 h 3680460"/>
                  <a:gd name="connsiteX133" fmla="*/ 2857500 w 3018472"/>
                  <a:gd name="connsiteY133" fmla="*/ 1272540 h 3680460"/>
                  <a:gd name="connsiteX134" fmla="*/ 2849880 w 3018472"/>
                  <a:gd name="connsiteY134" fmla="*/ 1234440 h 3680460"/>
                  <a:gd name="connsiteX135" fmla="*/ 2827020 w 3018472"/>
                  <a:gd name="connsiteY135" fmla="*/ 1196340 h 3680460"/>
                  <a:gd name="connsiteX136" fmla="*/ 2811780 w 3018472"/>
                  <a:gd name="connsiteY136" fmla="*/ 1165860 h 3680460"/>
                  <a:gd name="connsiteX137" fmla="*/ 2781300 w 3018472"/>
                  <a:gd name="connsiteY137" fmla="*/ 1127760 h 3680460"/>
                  <a:gd name="connsiteX138" fmla="*/ 2766060 w 3018472"/>
                  <a:gd name="connsiteY138" fmla="*/ 1089660 h 3680460"/>
                  <a:gd name="connsiteX139" fmla="*/ 2735580 w 3018472"/>
                  <a:gd name="connsiteY139" fmla="*/ 1043940 h 3680460"/>
                  <a:gd name="connsiteX140" fmla="*/ 2727960 w 3018472"/>
                  <a:gd name="connsiteY140" fmla="*/ 1021080 h 3680460"/>
                  <a:gd name="connsiteX141" fmla="*/ 2682240 w 3018472"/>
                  <a:gd name="connsiteY141" fmla="*/ 937260 h 3680460"/>
                  <a:gd name="connsiteX142" fmla="*/ 2659380 w 3018472"/>
                  <a:gd name="connsiteY142" fmla="*/ 876300 h 3680460"/>
                  <a:gd name="connsiteX143" fmla="*/ 2644140 w 3018472"/>
                  <a:gd name="connsiteY143" fmla="*/ 845820 h 3680460"/>
                  <a:gd name="connsiteX144" fmla="*/ 2636520 w 3018472"/>
                  <a:gd name="connsiteY144" fmla="*/ 822960 h 3680460"/>
                  <a:gd name="connsiteX145" fmla="*/ 2621280 w 3018472"/>
                  <a:gd name="connsiteY145" fmla="*/ 800100 h 3680460"/>
                  <a:gd name="connsiteX146" fmla="*/ 2598420 w 3018472"/>
                  <a:gd name="connsiteY146" fmla="*/ 739140 h 3680460"/>
                  <a:gd name="connsiteX147" fmla="*/ 2458403 w 3018472"/>
                  <a:gd name="connsiteY147" fmla="*/ 621983 h 3680460"/>
                  <a:gd name="connsiteX148" fmla="*/ 2301240 w 3018472"/>
                  <a:gd name="connsiteY148" fmla="*/ 458152 h 3680460"/>
                  <a:gd name="connsiteX149" fmla="*/ 2237423 w 3018472"/>
                  <a:gd name="connsiteY149" fmla="*/ 406717 h 3680460"/>
                  <a:gd name="connsiteX150" fmla="*/ 2103120 w 3018472"/>
                  <a:gd name="connsiteY150" fmla="*/ 312420 h 3680460"/>
                  <a:gd name="connsiteX151" fmla="*/ 2042160 w 3018472"/>
                  <a:gd name="connsiteY151" fmla="*/ 266700 h 3680460"/>
                  <a:gd name="connsiteX152" fmla="*/ 2004060 w 3018472"/>
                  <a:gd name="connsiteY152" fmla="*/ 251460 h 3680460"/>
                  <a:gd name="connsiteX153" fmla="*/ 1958340 w 3018472"/>
                  <a:gd name="connsiteY153" fmla="*/ 220980 h 3680460"/>
                  <a:gd name="connsiteX154" fmla="*/ 1897380 w 3018472"/>
                  <a:gd name="connsiteY154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74620 w 3018472"/>
                  <a:gd name="connsiteY41" fmla="*/ 2964180 h 3680460"/>
                  <a:gd name="connsiteX42" fmla="*/ 2644140 w 3018472"/>
                  <a:gd name="connsiteY42" fmla="*/ 3009900 h 3680460"/>
                  <a:gd name="connsiteX43" fmla="*/ 2598420 w 3018472"/>
                  <a:gd name="connsiteY43" fmla="*/ 3055620 h 3680460"/>
                  <a:gd name="connsiteX44" fmla="*/ 2575560 w 3018472"/>
                  <a:gd name="connsiteY44" fmla="*/ 3078480 h 3680460"/>
                  <a:gd name="connsiteX45" fmla="*/ 2476500 w 3018472"/>
                  <a:gd name="connsiteY45" fmla="*/ 3169920 h 3680460"/>
                  <a:gd name="connsiteX46" fmla="*/ 2377440 w 3018472"/>
                  <a:gd name="connsiteY46" fmla="*/ 3223260 h 3680460"/>
                  <a:gd name="connsiteX47" fmla="*/ 2293620 w 3018472"/>
                  <a:gd name="connsiteY47" fmla="*/ 3284220 h 3680460"/>
                  <a:gd name="connsiteX48" fmla="*/ 2240280 w 3018472"/>
                  <a:gd name="connsiteY48" fmla="*/ 3314700 h 3680460"/>
                  <a:gd name="connsiteX49" fmla="*/ 2225040 w 3018472"/>
                  <a:gd name="connsiteY49" fmla="*/ 3337560 h 3680460"/>
                  <a:gd name="connsiteX50" fmla="*/ 2141220 w 3018472"/>
                  <a:gd name="connsiteY50" fmla="*/ 3390900 h 3680460"/>
                  <a:gd name="connsiteX51" fmla="*/ 2110740 w 3018472"/>
                  <a:gd name="connsiteY51" fmla="*/ 3413760 h 3680460"/>
                  <a:gd name="connsiteX52" fmla="*/ 2072640 w 3018472"/>
                  <a:gd name="connsiteY52" fmla="*/ 3451860 h 3680460"/>
                  <a:gd name="connsiteX53" fmla="*/ 2019300 w 3018472"/>
                  <a:gd name="connsiteY53" fmla="*/ 3467100 h 3680460"/>
                  <a:gd name="connsiteX54" fmla="*/ 1874520 w 3018472"/>
                  <a:gd name="connsiteY54" fmla="*/ 3512820 h 3680460"/>
                  <a:gd name="connsiteX55" fmla="*/ 1828800 w 3018472"/>
                  <a:gd name="connsiteY55" fmla="*/ 3520440 h 3680460"/>
                  <a:gd name="connsiteX56" fmla="*/ 1722120 w 3018472"/>
                  <a:gd name="connsiteY56" fmla="*/ 3550920 h 3680460"/>
                  <a:gd name="connsiteX57" fmla="*/ 1600200 w 3018472"/>
                  <a:gd name="connsiteY57" fmla="*/ 3589020 h 3680460"/>
                  <a:gd name="connsiteX58" fmla="*/ 1569720 w 3018472"/>
                  <a:gd name="connsiteY58" fmla="*/ 3596640 h 3680460"/>
                  <a:gd name="connsiteX59" fmla="*/ 1546860 w 3018472"/>
                  <a:gd name="connsiteY59" fmla="*/ 3611880 h 3680460"/>
                  <a:gd name="connsiteX60" fmla="*/ 1463040 w 3018472"/>
                  <a:gd name="connsiteY60" fmla="*/ 3627120 h 3680460"/>
                  <a:gd name="connsiteX61" fmla="*/ 1333500 w 3018472"/>
                  <a:gd name="connsiteY61" fmla="*/ 3657600 h 3680460"/>
                  <a:gd name="connsiteX62" fmla="*/ 1203960 w 3018472"/>
                  <a:gd name="connsiteY62" fmla="*/ 3672840 h 3680460"/>
                  <a:gd name="connsiteX63" fmla="*/ 1165860 w 3018472"/>
                  <a:gd name="connsiteY63" fmla="*/ 3680460 h 3680460"/>
                  <a:gd name="connsiteX64" fmla="*/ 449580 w 3018472"/>
                  <a:gd name="connsiteY64" fmla="*/ 3672840 h 3680460"/>
                  <a:gd name="connsiteX65" fmla="*/ 426720 w 3018472"/>
                  <a:gd name="connsiteY65" fmla="*/ 3665220 h 3680460"/>
                  <a:gd name="connsiteX66" fmla="*/ 388620 w 3018472"/>
                  <a:gd name="connsiteY66" fmla="*/ 3657600 h 3680460"/>
                  <a:gd name="connsiteX67" fmla="*/ 335280 w 3018472"/>
                  <a:gd name="connsiteY67" fmla="*/ 3627120 h 3680460"/>
                  <a:gd name="connsiteX68" fmla="*/ 266700 w 3018472"/>
                  <a:gd name="connsiteY68" fmla="*/ 3604260 h 3680460"/>
                  <a:gd name="connsiteX69" fmla="*/ 243840 w 3018472"/>
                  <a:gd name="connsiteY69" fmla="*/ 3589020 h 3680460"/>
                  <a:gd name="connsiteX70" fmla="*/ 160020 w 3018472"/>
                  <a:gd name="connsiteY70" fmla="*/ 3558540 h 3680460"/>
                  <a:gd name="connsiteX71" fmla="*/ 137160 w 3018472"/>
                  <a:gd name="connsiteY71" fmla="*/ 3535680 h 3680460"/>
                  <a:gd name="connsiteX72" fmla="*/ 99060 w 3018472"/>
                  <a:gd name="connsiteY72" fmla="*/ 3520440 h 3680460"/>
                  <a:gd name="connsiteX73" fmla="*/ 83820 w 3018472"/>
                  <a:gd name="connsiteY73" fmla="*/ 3489960 h 3680460"/>
                  <a:gd name="connsiteX74" fmla="*/ 45720 w 3018472"/>
                  <a:gd name="connsiteY74" fmla="*/ 3436620 h 3680460"/>
                  <a:gd name="connsiteX75" fmla="*/ 0 w 3018472"/>
                  <a:gd name="connsiteY75" fmla="*/ 3352800 h 3680460"/>
                  <a:gd name="connsiteX76" fmla="*/ 30480 w 3018472"/>
                  <a:gd name="connsiteY76" fmla="*/ 3345180 h 3680460"/>
                  <a:gd name="connsiteX77" fmla="*/ 137160 w 3018472"/>
                  <a:gd name="connsiteY77" fmla="*/ 3360420 h 3680460"/>
                  <a:gd name="connsiteX78" fmla="*/ 167640 w 3018472"/>
                  <a:gd name="connsiteY78" fmla="*/ 3390900 h 3680460"/>
                  <a:gd name="connsiteX79" fmla="*/ 198120 w 3018472"/>
                  <a:gd name="connsiteY79" fmla="*/ 3406140 h 3680460"/>
                  <a:gd name="connsiteX80" fmla="*/ 350520 w 3018472"/>
                  <a:gd name="connsiteY80" fmla="*/ 3436620 h 3680460"/>
                  <a:gd name="connsiteX81" fmla="*/ 381000 w 3018472"/>
                  <a:gd name="connsiteY81" fmla="*/ 3451860 h 3680460"/>
                  <a:gd name="connsiteX82" fmla="*/ 449580 w 3018472"/>
                  <a:gd name="connsiteY82" fmla="*/ 3489960 h 3680460"/>
                  <a:gd name="connsiteX83" fmla="*/ 495300 w 3018472"/>
                  <a:gd name="connsiteY83" fmla="*/ 3520440 h 3680460"/>
                  <a:gd name="connsiteX84" fmla="*/ 525780 w 3018472"/>
                  <a:gd name="connsiteY84" fmla="*/ 3535680 h 3680460"/>
                  <a:gd name="connsiteX85" fmla="*/ 731520 w 3018472"/>
                  <a:gd name="connsiteY85" fmla="*/ 3558540 h 3680460"/>
                  <a:gd name="connsiteX86" fmla="*/ 1341120 w 3018472"/>
                  <a:gd name="connsiteY86" fmla="*/ 3550920 h 3680460"/>
                  <a:gd name="connsiteX87" fmla="*/ 1440180 w 3018472"/>
                  <a:gd name="connsiteY87" fmla="*/ 3528060 h 3680460"/>
                  <a:gd name="connsiteX88" fmla="*/ 1539240 w 3018472"/>
                  <a:gd name="connsiteY88" fmla="*/ 3520440 h 3680460"/>
                  <a:gd name="connsiteX89" fmla="*/ 1562100 w 3018472"/>
                  <a:gd name="connsiteY89" fmla="*/ 3512820 h 3680460"/>
                  <a:gd name="connsiteX90" fmla="*/ 1630680 w 3018472"/>
                  <a:gd name="connsiteY90" fmla="*/ 3497580 h 3680460"/>
                  <a:gd name="connsiteX91" fmla="*/ 1699260 w 3018472"/>
                  <a:gd name="connsiteY91" fmla="*/ 3474720 h 3680460"/>
                  <a:gd name="connsiteX92" fmla="*/ 1790700 w 3018472"/>
                  <a:gd name="connsiteY92" fmla="*/ 3451860 h 3680460"/>
                  <a:gd name="connsiteX93" fmla="*/ 1821180 w 3018472"/>
                  <a:gd name="connsiteY93" fmla="*/ 3444240 h 3680460"/>
                  <a:gd name="connsiteX94" fmla="*/ 1844040 w 3018472"/>
                  <a:gd name="connsiteY94" fmla="*/ 3429000 h 3680460"/>
                  <a:gd name="connsiteX95" fmla="*/ 1874520 w 3018472"/>
                  <a:gd name="connsiteY95" fmla="*/ 3421380 h 3680460"/>
                  <a:gd name="connsiteX96" fmla="*/ 1927860 w 3018472"/>
                  <a:gd name="connsiteY96" fmla="*/ 3398520 h 3680460"/>
                  <a:gd name="connsiteX97" fmla="*/ 1950720 w 3018472"/>
                  <a:gd name="connsiteY97" fmla="*/ 3390900 h 3680460"/>
                  <a:gd name="connsiteX98" fmla="*/ 2004060 w 3018472"/>
                  <a:gd name="connsiteY98" fmla="*/ 3360420 h 3680460"/>
                  <a:gd name="connsiteX99" fmla="*/ 2042160 w 3018472"/>
                  <a:gd name="connsiteY99" fmla="*/ 3352800 h 3680460"/>
                  <a:gd name="connsiteX100" fmla="*/ 2080260 w 3018472"/>
                  <a:gd name="connsiteY100" fmla="*/ 3337560 h 3680460"/>
                  <a:gd name="connsiteX101" fmla="*/ 2156460 w 3018472"/>
                  <a:gd name="connsiteY101" fmla="*/ 3299460 h 3680460"/>
                  <a:gd name="connsiteX102" fmla="*/ 2179320 w 3018472"/>
                  <a:gd name="connsiteY102" fmla="*/ 3284220 h 3680460"/>
                  <a:gd name="connsiteX103" fmla="*/ 2209800 w 3018472"/>
                  <a:gd name="connsiteY103" fmla="*/ 3276600 h 3680460"/>
                  <a:gd name="connsiteX104" fmla="*/ 2263140 w 3018472"/>
                  <a:gd name="connsiteY104" fmla="*/ 3230880 h 3680460"/>
                  <a:gd name="connsiteX105" fmla="*/ 2346960 w 3018472"/>
                  <a:gd name="connsiteY105" fmla="*/ 3154680 h 3680460"/>
                  <a:gd name="connsiteX106" fmla="*/ 2400300 w 3018472"/>
                  <a:gd name="connsiteY106" fmla="*/ 3070860 h 3680460"/>
                  <a:gd name="connsiteX107" fmla="*/ 2415540 w 3018472"/>
                  <a:gd name="connsiteY107" fmla="*/ 3048000 h 3680460"/>
                  <a:gd name="connsiteX108" fmla="*/ 2446020 w 3018472"/>
                  <a:gd name="connsiteY108" fmla="*/ 3032760 h 3680460"/>
                  <a:gd name="connsiteX109" fmla="*/ 2468880 w 3018472"/>
                  <a:gd name="connsiteY109" fmla="*/ 3009900 h 3680460"/>
                  <a:gd name="connsiteX110" fmla="*/ 2537460 w 3018472"/>
                  <a:gd name="connsiteY110" fmla="*/ 2926080 h 3680460"/>
                  <a:gd name="connsiteX111" fmla="*/ 2575560 w 3018472"/>
                  <a:gd name="connsiteY111" fmla="*/ 2880360 h 3680460"/>
                  <a:gd name="connsiteX112" fmla="*/ 2628900 w 3018472"/>
                  <a:gd name="connsiteY112" fmla="*/ 2811780 h 3680460"/>
                  <a:gd name="connsiteX113" fmla="*/ 2644140 w 3018472"/>
                  <a:gd name="connsiteY113" fmla="*/ 2773680 h 3680460"/>
                  <a:gd name="connsiteX114" fmla="*/ 2674620 w 3018472"/>
                  <a:gd name="connsiteY114" fmla="*/ 2727960 h 3680460"/>
                  <a:gd name="connsiteX115" fmla="*/ 2689860 w 3018472"/>
                  <a:gd name="connsiteY115" fmla="*/ 2705100 h 3680460"/>
                  <a:gd name="connsiteX116" fmla="*/ 2705100 w 3018472"/>
                  <a:gd name="connsiteY116" fmla="*/ 2667000 h 3680460"/>
                  <a:gd name="connsiteX117" fmla="*/ 2727960 w 3018472"/>
                  <a:gd name="connsiteY117" fmla="*/ 2621280 h 3680460"/>
                  <a:gd name="connsiteX118" fmla="*/ 2735580 w 3018472"/>
                  <a:gd name="connsiteY118" fmla="*/ 2590800 h 3680460"/>
                  <a:gd name="connsiteX119" fmla="*/ 2758440 w 3018472"/>
                  <a:gd name="connsiteY119" fmla="*/ 2545080 h 3680460"/>
                  <a:gd name="connsiteX120" fmla="*/ 2788920 w 3018472"/>
                  <a:gd name="connsiteY120" fmla="*/ 2484120 h 3680460"/>
                  <a:gd name="connsiteX121" fmla="*/ 2811780 w 3018472"/>
                  <a:gd name="connsiteY121" fmla="*/ 2407920 h 3680460"/>
                  <a:gd name="connsiteX122" fmla="*/ 2842260 w 3018472"/>
                  <a:gd name="connsiteY122" fmla="*/ 2324100 h 3680460"/>
                  <a:gd name="connsiteX123" fmla="*/ 2857500 w 3018472"/>
                  <a:gd name="connsiteY123" fmla="*/ 2247900 h 3680460"/>
                  <a:gd name="connsiteX124" fmla="*/ 2872740 w 3018472"/>
                  <a:gd name="connsiteY124" fmla="*/ 2194560 h 3680460"/>
                  <a:gd name="connsiteX125" fmla="*/ 2887980 w 3018472"/>
                  <a:gd name="connsiteY125" fmla="*/ 2148840 h 3680460"/>
                  <a:gd name="connsiteX126" fmla="*/ 2910840 w 3018472"/>
                  <a:gd name="connsiteY126" fmla="*/ 2087880 h 3680460"/>
                  <a:gd name="connsiteX127" fmla="*/ 2918460 w 3018472"/>
                  <a:gd name="connsiteY127" fmla="*/ 2049780 h 3680460"/>
                  <a:gd name="connsiteX128" fmla="*/ 2933700 w 3018472"/>
                  <a:gd name="connsiteY128" fmla="*/ 1844040 h 3680460"/>
                  <a:gd name="connsiteX129" fmla="*/ 2918460 w 3018472"/>
                  <a:gd name="connsiteY129" fmla="*/ 1470660 h 3680460"/>
                  <a:gd name="connsiteX130" fmla="*/ 2895600 w 3018472"/>
                  <a:gd name="connsiteY130" fmla="*/ 1371600 h 3680460"/>
                  <a:gd name="connsiteX131" fmla="*/ 2880360 w 3018472"/>
                  <a:gd name="connsiteY131" fmla="*/ 1341120 h 3680460"/>
                  <a:gd name="connsiteX132" fmla="*/ 2857500 w 3018472"/>
                  <a:gd name="connsiteY132" fmla="*/ 1272540 h 3680460"/>
                  <a:gd name="connsiteX133" fmla="*/ 2849880 w 3018472"/>
                  <a:gd name="connsiteY133" fmla="*/ 1234440 h 3680460"/>
                  <a:gd name="connsiteX134" fmla="*/ 2827020 w 3018472"/>
                  <a:gd name="connsiteY134" fmla="*/ 1196340 h 3680460"/>
                  <a:gd name="connsiteX135" fmla="*/ 2811780 w 3018472"/>
                  <a:gd name="connsiteY135" fmla="*/ 1165860 h 3680460"/>
                  <a:gd name="connsiteX136" fmla="*/ 2781300 w 3018472"/>
                  <a:gd name="connsiteY136" fmla="*/ 1127760 h 3680460"/>
                  <a:gd name="connsiteX137" fmla="*/ 2766060 w 3018472"/>
                  <a:gd name="connsiteY137" fmla="*/ 1089660 h 3680460"/>
                  <a:gd name="connsiteX138" fmla="*/ 2735580 w 3018472"/>
                  <a:gd name="connsiteY138" fmla="*/ 1043940 h 3680460"/>
                  <a:gd name="connsiteX139" fmla="*/ 2727960 w 3018472"/>
                  <a:gd name="connsiteY139" fmla="*/ 1021080 h 3680460"/>
                  <a:gd name="connsiteX140" fmla="*/ 2682240 w 3018472"/>
                  <a:gd name="connsiteY140" fmla="*/ 937260 h 3680460"/>
                  <a:gd name="connsiteX141" fmla="*/ 2659380 w 3018472"/>
                  <a:gd name="connsiteY141" fmla="*/ 876300 h 3680460"/>
                  <a:gd name="connsiteX142" fmla="*/ 2644140 w 3018472"/>
                  <a:gd name="connsiteY142" fmla="*/ 845820 h 3680460"/>
                  <a:gd name="connsiteX143" fmla="*/ 2636520 w 3018472"/>
                  <a:gd name="connsiteY143" fmla="*/ 822960 h 3680460"/>
                  <a:gd name="connsiteX144" fmla="*/ 2621280 w 3018472"/>
                  <a:gd name="connsiteY144" fmla="*/ 800100 h 3680460"/>
                  <a:gd name="connsiteX145" fmla="*/ 2598420 w 3018472"/>
                  <a:gd name="connsiteY145" fmla="*/ 739140 h 3680460"/>
                  <a:gd name="connsiteX146" fmla="*/ 2458403 w 3018472"/>
                  <a:gd name="connsiteY146" fmla="*/ 621983 h 3680460"/>
                  <a:gd name="connsiteX147" fmla="*/ 2301240 w 3018472"/>
                  <a:gd name="connsiteY147" fmla="*/ 458152 h 3680460"/>
                  <a:gd name="connsiteX148" fmla="*/ 2237423 w 3018472"/>
                  <a:gd name="connsiteY148" fmla="*/ 406717 h 3680460"/>
                  <a:gd name="connsiteX149" fmla="*/ 2103120 w 3018472"/>
                  <a:gd name="connsiteY149" fmla="*/ 312420 h 3680460"/>
                  <a:gd name="connsiteX150" fmla="*/ 2042160 w 3018472"/>
                  <a:gd name="connsiteY150" fmla="*/ 266700 h 3680460"/>
                  <a:gd name="connsiteX151" fmla="*/ 2004060 w 3018472"/>
                  <a:gd name="connsiteY151" fmla="*/ 251460 h 3680460"/>
                  <a:gd name="connsiteX152" fmla="*/ 1958340 w 3018472"/>
                  <a:gd name="connsiteY152" fmla="*/ 220980 h 3680460"/>
                  <a:gd name="connsiteX153" fmla="*/ 1897380 w 3018472"/>
                  <a:gd name="connsiteY153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44140 w 3018472"/>
                  <a:gd name="connsiteY41" fmla="*/ 3009900 h 3680460"/>
                  <a:gd name="connsiteX42" fmla="*/ 2598420 w 3018472"/>
                  <a:gd name="connsiteY42" fmla="*/ 3055620 h 3680460"/>
                  <a:gd name="connsiteX43" fmla="*/ 2575560 w 3018472"/>
                  <a:gd name="connsiteY43" fmla="*/ 3078480 h 3680460"/>
                  <a:gd name="connsiteX44" fmla="*/ 2476500 w 3018472"/>
                  <a:gd name="connsiteY44" fmla="*/ 3169920 h 3680460"/>
                  <a:gd name="connsiteX45" fmla="*/ 2377440 w 3018472"/>
                  <a:gd name="connsiteY45" fmla="*/ 3223260 h 3680460"/>
                  <a:gd name="connsiteX46" fmla="*/ 2293620 w 3018472"/>
                  <a:gd name="connsiteY46" fmla="*/ 3284220 h 3680460"/>
                  <a:gd name="connsiteX47" fmla="*/ 2240280 w 3018472"/>
                  <a:gd name="connsiteY47" fmla="*/ 3314700 h 3680460"/>
                  <a:gd name="connsiteX48" fmla="*/ 2225040 w 3018472"/>
                  <a:gd name="connsiteY48" fmla="*/ 3337560 h 3680460"/>
                  <a:gd name="connsiteX49" fmla="*/ 2141220 w 3018472"/>
                  <a:gd name="connsiteY49" fmla="*/ 3390900 h 3680460"/>
                  <a:gd name="connsiteX50" fmla="*/ 2110740 w 3018472"/>
                  <a:gd name="connsiteY50" fmla="*/ 3413760 h 3680460"/>
                  <a:gd name="connsiteX51" fmla="*/ 2072640 w 3018472"/>
                  <a:gd name="connsiteY51" fmla="*/ 3451860 h 3680460"/>
                  <a:gd name="connsiteX52" fmla="*/ 2019300 w 3018472"/>
                  <a:gd name="connsiteY52" fmla="*/ 3467100 h 3680460"/>
                  <a:gd name="connsiteX53" fmla="*/ 1874520 w 3018472"/>
                  <a:gd name="connsiteY53" fmla="*/ 3512820 h 3680460"/>
                  <a:gd name="connsiteX54" fmla="*/ 1828800 w 3018472"/>
                  <a:gd name="connsiteY54" fmla="*/ 3520440 h 3680460"/>
                  <a:gd name="connsiteX55" fmla="*/ 1722120 w 3018472"/>
                  <a:gd name="connsiteY55" fmla="*/ 3550920 h 3680460"/>
                  <a:gd name="connsiteX56" fmla="*/ 1600200 w 3018472"/>
                  <a:gd name="connsiteY56" fmla="*/ 3589020 h 3680460"/>
                  <a:gd name="connsiteX57" fmla="*/ 1569720 w 3018472"/>
                  <a:gd name="connsiteY57" fmla="*/ 3596640 h 3680460"/>
                  <a:gd name="connsiteX58" fmla="*/ 1546860 w 3018472"/>
                  <a:gd name="connsiteY58" fmla="*/ 3611880 h 3680460"/>
                  <a:gd name="connsiteX59" fmla="*/ 1463040 w 3018472"/>
                  <a:gd name="connsiteY59" fmla="*/ 3627120 h 3680460"/>
                  <a:gd name="connsiteX60" fmla="*/ 1333500 w 3018472"/>
                  <a:gd name="connsiteY60" fmla="*/ 3657600 h 3680460"/>
                  <a:gd name="connsiteX61" fmla="*/ 1203960 w 3018472"/>
                  <a:gd name="connsiteY61" fmla="*/ 3672840 h 3680460"/>
                  <a:gd name="connsiteX62" fmla="*/ 1165860 w 3018472"/>
                  <a:gd name="connsiteY62" fmla="*/ 3680460 h 3680460"/>
                  <a:gd name="connsiteX63" fmla="*/ 449580 w 3018472"/>
                  <a:gd name="connsiteY63" fmla="*/ 3672840 h 3680460"/>
                  <a:gd name="connsiteX64" fmla="*/ 426720 w 3018472"/>
                  <a:gd name="connsiteY64" fmla="*/ 3665220 h 3680460"/>
                  <a:gd name="connsiteX65" fmla="*/ 388620 w 3018472"/>
                  <a:gd name="connsiteY65" fmla="*/ 3657600 h 3680460"/>
                  <a:gd name="connsiteX66" fmla="*/ 335280 w 3018472"/>
                  <a:gd name="connsiteY66" fmla="*/ 3627120 h 3680460"/>
                  <a:gd name="connsiteX67" fmla="*/ 266700 w 3018472"/>
                  <a:gd name="connsiteY67" fmla="*/ 3604260 h 3680460"/>
                  <a:gd name="connsiteX68" fmla="*/ 243840 w 3018472"/>
                  <a:gd name="connsiteY68" fmla="*/ 3589020 h 3680460"/>
                  <a:gd name="connsiteX69" fmla="*/ 160020 w 3018472"/>
                  <a:gd name="connsiteY69" fmla="*/ 3558540 h 3680460"/>
                  <a:gd name="connsiteX70" fmla="*/ 137160 w 3018472"/>
                  <a:gd name="connsiteY70" fmla="*/ 3535680 h 3680460"/>
                  <a:gd name="connsiteX71" fmla="*/ 99060 w 3018472"/>
                  <a:gd name="connsiteY71" fmla="*/ 3520440 h 3680460"/>
                  <a:gd name="connsiteX72" fmla="*/ 83820 w 3018472"/>
                  <a:gd name="connsiteY72" fmla="*/ 3489960 h 3680460"/>
                  <a:gd name="connsiteX73" fmla="*/ 45720 w 3018472"/>
                  <a:gd name="connsiteY73" fmla="*/ 3436620 h 3680460"/>
                  <a:gd name="connsiteX74" fmla="*/ 0 w 3018472"/>
                  <a:gd name="connsiteY74" fmla="*/ 3352800 h 3680460"/>
                  <a:gd name="connsiteX75" fmla="*/ 30480 w 3018472"/>
                  <a:gd name="connsiteY75" fmla="*/ 3345180 h 3680460"/>
                  <a:gd name="connsiteX76" fmla="*/ 137160 w 3018472"/>
                  <a:gd name="connsiteY76" fmla="*/ 3360420 h 3680460"/>
                  <a:gd name="connsiteX77" fmla="*/ 167640 w 3018472"/>
                  <a:gd name="connsiteY77" fmla="*/ 3390900 h 3680460"/>
                  <a:gd name="connsiteX78" fmla="*/ 198120 w 3018472"/>
                  <a:gd name="connsiteY78" fmla="*/ 3406140 h 3680460"/>
                  <a:gd name="connsiteX79" fmla="*/ 350520 w 3018472"/>
                  <a:gd name="connsiteY79" fmla="*/ 3436620 h 3680460"/>
                  <a:gd name="connsiteX80" fmla="*/ 381000 w 3018472"/>
                  <a:gd name="connsiteY80" fmla="*/ 3451860 h 3680460"/>
                  <a:gd name="connsiteX81" fmla="*/ 449580 w 3018472"/>
                  <a:gd name="connsiteY81" fmla="*/ 3489960 h 3680460"/>
                  <a:gd name="connsiteX82" fmla="*/ 495300 w 3018472"/>
                  <a:gd name="connsiteY82" fmla="*/ 3520440 h 3680460"/>
                  <a:gd name="connsiteX83" fmla="*/ 525780 w 3018472"/>
                  <a:gd name="connsiteY83" fmla="*/ 3535680 h 3680460"/>
                  <a:gd name="connsiteX84" fmla="*/ 731520 w 3018472"/>
                  <a:gd name="connsiteY84" fmla="*/ 3558540 h 3680460"/>
                  <a:gd name="connsiteX85" fmla="*/ 1341120 w 3018472"/>
                  <a:gd name="connsiteY85" fmla="*/ 3550920 h 3680460"/>
                  <a:gd name="connsiteX86" fmla="*/ 1440180 w 3018472"/>
                  <a:gd name="connsiteY86" fmla="*/ 3528060 h 3680460"/>
                  <a:gd name="connsiteX87" fmla="*/ 1539240 w 3018472"/>
                  <a:gd name="connsiteY87" fmla="*/ 3520440 h 3680460"/>
                  <a:gd name="connsiteX88" fmla="*/ 1562100 w 3018472"/>
                  <a:gd name="connsiteY88" fmla="*/ 3512820 h 3680460"/>
                  <a:gd name="connsiteX89" fmla="*/ 1630680 w 3018472"/>
                  <a:gd name="connsiteY89" fmla="*/ 3497580 h 3680460"/>
                  <a:gd name="connsiteX90" fmla="*/ 1699260 w 3018472"/>
                  <a:gd name="connsiteY90" fmla="*/ 3474720 h 3680460"/>
                  <a:gd name="connsiteX91" fmla="*/ 1790700 w 3018472"/>
                  <a:gd name="connsiteY91" fmla="*/ 3451860 h 3680460"/>
                  <a:gd name="connsiteX92" fmla="*/ 1821180 w 3018472"/>
                  <a:gd name="connsiteY92" fmla="*/ 3444240 h 3680460"/>
                  <a:gd name="connsiteX93" fmla="*/ 1844040 w 3018472"/>
                  <a:gd name="connsiteY93" fmla="*/ 3429000 h 3680460"/>
                  <a:gd name="connsiteX94" fmla="*/ 1874520 w 3018472"/>
                  <a:gd name="connsiteY94" fmla="*/ 3421380 h 3680460"/>
                  <a:gd name="connsiteX95" fmla="*/ 1927860 w 3018472"/>
                  <a:gd name="connsiteY95" fmla="*/ 3398520 h 3680460"/>
                  <a:gd name="connsiteX96" fmla="*/ 1950720 w 3018472"/>
                  <a:gd name="connsiteY96" fmla="*/ 3390900 h 3680460"/>
                  <a:gd name="connsiteX97" fmla="*/ 2004060 w 3018472"/>
                  <a:gd name="connsiteY97" fmla="*/ 3360420 h 3680460"/>
                  <a:gd name="connsiteX98" fmla="*/ 2042160 w 3018472"/>
                  <a:gd name="connsiteY98" fmla="*/ 3352800 h 3680460"/>
                  <a:gd name="connsiteX99" fmla="*/ 2080260 w 3018472"/>
                  <a:gd name="connsiteY99" fmla="*/ 3337560 h 3680460"/>
                  <a:gd name="connsiteX100" fmla="*/ 2156460 w 3018472"/>
                  <a:gd name="connsiteY100" fmla="*/ 3299460 h 3680460"/>
                  <a:gd name="connsiteX101" fmla="*/ 2179320 w 3018472"/>
                  <a:gd name="connsiteY101" fmla="*/ 3284220 h 3680460"/>
                  <a:gd name="connsiteX102" fmla="*/ 2209800 w 3018472"/>
                  <a:gd name="connsiteY102" fmla="*/ 3276600 h 3680460"/>
                  <a:gd name="connsiteX103" fmla="*/ 2263140 w 3018472"/>
                  <a:gd name="connsiteY103" fmla="*/ 3230880 h 3680460"/>
                  <a:gd name="connsiteX104" fmla="*/ 2346960 w 3018472"/>
                  <a:gd name="connsiteY104" fmla="*/ 3154680 h 3680460"/>
                  <a:gd name="connsiteX105" fmla="*/ 2400300 w 3018472"/>
                  <a:gd name="connsiteY105" fmla="*/ 3070860 h 3680460"/>
                  <a:gd name="connsiteX106" fmla="*/ 2415540 w 3018472"/>
                  <a:gd name="connsiteY106" fmla="*/ 3048000 h 3680460"/>
                  <a:gd name="connsiteX107" fmla="*/ 2446020 w 3018472"/>
                  <a:gd name="connsiteY107" fmla="*/ 3032760 h 3680460"/>
                  <a:gd name="connsiteX108" fmla="*/ 2468880 w 3018472"/>
                  <a:gd name="connsiteY108" fmla="*/ 3009900 h 3680460"/>
                  <a:gd name="connsiteX109" fmla="*/ 2537460 w 3018472"/>
                  <a:gd name="connsiteY109" fmla="*/ 2926080 h 3680460"/>
                  <a:gd name="connsiteX110" fmla="*/ 2575560 w 3018472"/>
                  <a:gd name="connsiteY110" fmla="*/ 2880360 h 3680460"/>
                  <a:gd name="connsiteX111" fmla="*/ 2628900 w 3018472"/>
                  <a:gd name="connsiteY111" fmla="*/ 2811780 h 3680460"/>
                  <a:gd name="connsiteX112" fmla="*/ 2644140 w 3018472"/>
                  <a:gd name="connsiteY112" fmla="*/ 2773680 h 3680460"/>
                  <a:gd name="connsiteX113" fmla="*/ 2674620 w 3018472"/>
                  <a:gd name="connsiteY113" fmla="*/ 2727960 h 3680460"/>
                  <a:gd name="connsiteX114" fmla="*/ 2689860 w 3018472"/>
                  <a:gd name="connsiteY114" fmla="*/ 2705100 h 3680460"/>
                  <a:gd name="connsiteX115" fmla="*/ 2705100 w 3018472"/>
                  <a:gd name="connsiteY115" fmla="*/ 2667000 h 3680460"/>
                  <a:gd name="connsiteX116" fmla="*/ 2727960 w 3018472"/>
                  <a:gd name="connsiteY116" fmla="*/ 2621280 h 3680460"/>
                  <a:gd name="connsiteX117" fmla="*/ 2735580 w 3018472"/>
                  <a:gd name="connsiteY117" fmla="*/ 2590800 h 3680460"/>
                  <a:gd name="connsiteX118" fmla="*/ 2758440 w 3018472"/>
                  <a:gd name="connsiteY118" fmla="*/ 2545080 h 3680460"/>
                  <a:gd name="connsiteX119" fmla="*/ 2788920 w 3018472"/>
                  <a:gd name="connsiteY119" fmla="*/ 2484120 h 3680460"/>
                  <a:gd name="connsiteX120" fmla="*/ 2811780 w 3018472"/>
                  <a:gd name="connsiteY120" fmla="*/ 2407920 h 3680460"/>
                  <a:gd name="connsiteX121" fmla="*/ 2842260 w 3018472"/>
                  <a:gd name="connsiteY121" fmla="*/ 2324100 h 3680460"/>
                  <a:gd name="connsiteX122" fmla="*/ 2857500 w 3018472"/>
                  <a:gd name="connsiteY122" fmla="*/ 2247900 h 3680460"/>
                  <a:gd name="connsiteX123" fmla="*/ 2872740 w 3018472"/>
                  <a:gd name="connsiteY123" fmla="*/ 2194560 h 3680460"/>
                  <a:gd name="connsiteX124" fmla="*/ 2887980 w 3018472"/>
                  <a:gd name="connsiteY124" fmla="*/ 2148840 h 3680460"/>
                  <a:gd name="connsiteX125" fmla="*/ 2910840 w 3018472"/>
                  <a:gd name="connsiteY125" fmla="*/ 2087880 h 3680460"/>
                  <a:gd name="connsiteX126" fmla="*/ 2918460 w 3018472"/>
                  <a:gd name="connsiteY126" fmla="*/ 2049780 h 3680460"/>
                  <a:gd name="connsiteX127" fmla="*/ 2933700 w 3018472"/>
                  <a:gd name="connsiteY127" fmla="*/ 1844040 h 3680460"/>
                  <a:gd name="connsiteX128" fmla="*/ 2918460 w 3018472"/>
                  <a:gd name="connsiteY128" fmla="*/ 1470660 h 3680460"/>
                  <a:gd name="connsiteX129" fmla="*/ 2895600 w 3018472"/>
                  <a:gd name="connsiteY129" fmla="*/ 1371600 h 3680460"/>
                  <a:gd name="connsiteX130" fmla="*/ 2880360 w 3018472"/>
                  <a:gd name="connsiteY130" fmla="*/ 1341120 h 3680460"/>
                  <a:gd name="connsiteX131" fmla="*/ 2857500 w 3018472"/>
                  <a:gd name="connsiteY131" fmla="*/ 1272540 h 3680460"/>
                  <a:gd name="connsiteX132" fmla="*/ 2849880 w 3018472"/>
                  <a:gd name="connsiteY132" fmla="*/ 1234440 h 3680460"/>
                  <a:gd name="connsiteX133" fmla="*/ 2827020 w 3018472"/>
                  <a:gd name="connsiteY133" fmla="*/ 1196340 h 3680460"/>
                  <a:gd name="connsiteX134" fmla="*/ 2811780 w 3018472"/>
                  <a:gd name="connsiteY134" fmla="*/ 1165860 h 3680460"/>
                  <a:gd name="connsiteX135" fmla="*/ 2781300 w 3018472"/>
                  <a:gd name="connsiteY135" fmla="*/ 1127760 h 3680460"/>
                  <a:gd name="connsiteX136" fmla="*/ 2766060 w 3018472"/>
                  <a:gd name="connsiteY136" fmla="*/ 1089660 h 3680460"/>
                  <a:gd name="connsiteX137" fmla="*/ 2735580 w 3018472"/>
                  <a:gd name="connsiteY137" fmla="*/ 1043940 h 3680460"/>
                  <a:gd name="connsiteX138" fmla="*/ 2727960 w 3018472"/>
                  <a:gd name="connsiteY138" fmla="*/ 1021080 h 3680460"/>
                  <a:gd name="connsiteX139" fmla="*/ 2682240 w 3018472"/>
                  <a:gd name="connsiteY139" fmla="*/ 937260 h 3680460"/>
                  <a:gd name="connsiteX140" fmla="*/ 2659380 w 3018472"/>
                  <a:gd name="connsiteY140" fmla="*/ 876300 h 3680460"/>
                  <a:gd name="connsiteX141" fmla="*/ 2644140 w 3018472"/>
                  <a:gd name="connsiteY141" fmla="*/ 845820 h 3680460"/>
                  <a:gd name="connsiteX142" fmla="*/ 2636520 w 3018472"/>
                  <a:gd name="connsiteY142" fmla="*/ 822960 h 3680460"/>
                  <a:gd name="connsiteX143" fmla="*/ 2621280 w 3018472"/>
                  <a:gd name="connsiteY143" fmla="*/ 800100 h 3680460"/>
                  <a:gd name="connsiteX144" fmla="*/ 2598420 w 3018472"/>
                  <a:gd name="connsiteY144" fmla="*/ 739140 h 3680460"/>
                  <a:gd name="connsiteX145" fmla="*/ 2458403 w 3018472"/>
                  <a:gd name="connsiteY145" fmla="*/ 621983 h 3680460"/>
                  <a:gd name="connsiteX146" fmla="*/ 2301240 w 3018472"/>
                  <a:gd name="connsiteY146" fmla="*/ 458152 h 3680460"/>
                  <a:gd name="connsiteX147" fmla="*/ 2237423 w 3018472"/>
                  <a:gd name="connsiteY147" fmla="*/ 406717 h 3680460"/>
                  <a:gd name="connsiteX148" fmla="*/ 2103120 w 3018472"/>
                  <a:gd name="connsiteY148" fmla="*/ 312420 h 3680460"/>
                  <a:gd name="connsiteX149" fmla="*/ 2042160 w 3018472"/>
                  <a:gd name="connsiteY149" fmla="*/ 266700 h 3680460"/>
                  <a:gd name="connsiteX150" fmla="*/ 2004060 w 3018472"/>
                  <a:gd name="connsiteY150" fmla="*/ 251460 h 3680460"/>
                  <a:gd name="connsiteX151" fmla="*/ 1958340 w 3018472"/>
                  <a:gd name="connsiteY151" fmla="*/ 220980 h 3680460"/>
                  <a:gd name="connsiteX152" fmla="*/ 1897380 w 3018472"/>
                  <a:gd name="connsiteY152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598420 w 3018472"/>
                  <a:gd name="connsiteY41" fmla="*/ 3055620 h 3680460"/>
                  <a:gd name="connsiteX42" fmla="*/ 2575560 w 3018472"/>
                  <a:gd name="connsiteY42" fmla="*/ 3078480 h 3680460"/>
                  <a:gd name="connsiteX43" fmla="*/ 2476500 w 3018472"/>
                  <a:gd name="connsiteY43" fmla="*/ 3169920 h 3680460"/>
                  <a:gd name="connsiteX44" fmla="*/ 2377440 w 3018472"/>
                  <a:gd name="connsiteY44" fmla="*/ 3223260 h 3680460"/>
                  <a:gd name="connsiteX45" fmla="*/ 2293620 w 3018472"/>
                  <a:gd name="connsiteY45" fmla="*/ 3284220 h 3680460"/>
                  <a:gd name="connsiteX46" fmla="*/ 2240280 w 3018472"/>
                  <a:gd name="connsiteY46" fmla="*/ 3314700 h 3680460"/>
                  <a:gd name="connsiteX47" fmla="*/ 2225040 w 3018472"/>
                  <a:gd name="connsiteY47" fmla="*/ 3337560 h 3680460"/>
                  <a:gd name="connsiteX48" fmla="*/ 2141220 w 3018472"/>
                  <a:gd name="connsiteY48" fmla="*/ 3390900 h 3680460"/>
                  <a:gd name="connsiteX49" fmla="*/ 2110740 w 3018472"/>
                  <a:gd name="connsiteY49" fmla="*/ 3413760 h 3680460"/>
                  <a:gd name="connsiteX50" fmla="*/ 2072640 w 3018472"/>
                  <a:gd name="connsiteY50" fmla="*/ 3451860 h 3680460"/>
                  <a:gd name="connsiteX51" fmla="*/ 2019300 w 3018472"/>
                  <a:gd name="connsiteY51" fmla="*/ 3467100 h 3680460"/>
                  <a:gd name="connsiteX52" fmla="*/ 1874520 w 3018472"/>
                  <a:gd name="connsiteY52" fmla="*/ 3512820 h 3680460"/>
                  <a:gd name="connsiteX53" fmla="*/ 1828800 w 3018472"/>
                  <a:gd name="connsiteY53" fmla="*/ 3520440 h 3680460"/>
                  <a:gd name="connsiteX54" fmla="*/ 1722120 w 3018472"/>
                  <a:gd name="connsiteY54" fmla="*/ 3550920 h 3680460"/>
                  <a:gd name="connsiteX55" fmla="*/ 1600200 w 3018472"/>
                  <a:gd name="connsiteY55" fmla="*/ 3589020 h 3680460"/>
                  <a:gd name="connsiteX56" fmla="*/ 1569720 w 3018472"/>
                  <a:gd name="connsiteY56" fmla="*/ 3596640 h 3680460"/>
                  <a:gd name="connsiteX57" fmla="*/ 1546860 w 3018472"/>
                  <a:gd name="connsiteY57" fmla="*/ 3611880 h 3680460"/>
                  <a:gd name="connsiteX58" fmla="*/ 1463040 w 3018472"/>
                  <a:gd name="connsiteY58" fmla="*/ 3627120 h 3680460"/>
                  <a:gd name="connsiteX59" fmla="*/ 1333500 w 3018472"/>
                  <a:gd name="connsiteY59" fmla="*/ 3657600 h 3680460"/>
                  <a:gd name="connsiteX60" fmla="*/ 1203960 w 3018472"/>
                  <a:gd name="connsiteY60" fmla="*/ 3672840 h 3680460"/>
                  <a:gd name="connsiteX61" fmla="*/ 1165860 w 3018472"/>
                  <a:gd name="connsiteY61" fmla="*/ 3680460 h 3680460"/>
                  <a:gd name="connsiteX62" fmla="*/ 449580 w 3018472"/>
                  <a:gd name="connsiteY62" fmla="*/ 3672840 h 3680460"/>
                  <a:gd name="connsiteX63" fmla="*/ 426720 w 3018472"/>
                  <a:gd name="connsiteY63" fmla="*/ 3665220 h 3680460"/>
                  <a:gd name="connsiteX64" fmla="*/ 388620 w 3018472"/>
                  <a:gd name="connsiteY64" fmla="*/ 3657600 h 3680460"/>
                  <a:gd name="connsiteX65" fmla="*/ 335280 w 3018472"/>
                  <a:gd name="connsiteY65" fmla="*/ 3627120 h 3680460"/>
                  <a:gd name="connsiteX66" fmla="*/ 266700 w 3018472"/>
                  <a:gd name="connsiteY66" fmla="*/ 3604260 h 3680460"/>
                  <a:gd name="connsiteX67" fmla="*/ 243840 w 3018472"/>
                  <a:gd name="connsiteY67" fmla="*/ 3589020 h 3680460"/>
                  <a:gd name="connsiteX68" fmla="*/ 160020 w 3018472"/>
                  <a:gd name="connsiteY68" fmla="*/ 3558540 h 3680460"/>
                  <a:gd name="connsiteX69" fmla="*/ 137160 w 3018472"/>
                  <a:gd name="connsiteY69" fmla="*/ 3535680 h 3680460"/>
                  <a:gd name="connsiteX70" fmla="*/ 99060 w 3018472"/>
                  <a:gd name="connsiteY70" fmla="*/ 3520440 h 3680460"/>
                  <a:gd name="connsiteX71" fmla="*/ 83820 w 3018472"/>
                  <a:gd name="connsiteY71" fmla="*/ 3489960 h 3680460"/>
                  <a:gd name="connsiteX72" fmla="*/ 45720 w 3018472"/>
                  <a:gd name="connsiteY72" fmla="*/ 3436620 h 3680460"/>
                  <a:gd name="connsiteX73" fmla="*/ 0 w 3018472"/>
                  <a:gd name="connsiteY73" fmla="*/ 3352800 h 3680460"/>
                  <a:gd name="connsiteX74" fmla="*/ 30480 w 3018472"/>
                  <a:gd name="connsiteY74" fmla="*/ 3345180 h 3680460"/>
                  <a:gd name="connsiteX75" fmla="*/ 137160 w 3018472"/>
                  <a:gd name="connsiteY75" fmla="*/ 3360420 h 3680460"/>
                  <a:gd name="connsiteX76" fmla="*/ 167640 w 3018472"/>
                  <a:gd name="connsiteY76" fmla="*/ 3390900 h 3680460"/>
                  <a:gd name="connsiteX77" fmla="*/ 198120 w 3018472"/>
                  <a:gd name="connsiteY77" fmla="*/ 3406140 h 3680460"/>
                  <a:gd name="connsiteX78" fmla="*/ 350520 w 3018472"/>
                  <a:gd name="connsiteY78" fmla="*/ 3436620 h 3680460"/>
                  <a:gd name="connsiteX79" fmla="*/ 381000 w 3018472"/>
                  <a:gd name="connsiteY79" fmla="*/ 3451860 h 3680460"/>
                  <a:gd name="connsiteX80" fmla="*/ 449580 w 3018472"/>
                  <a:gd name="connsiteY80" fmla="*/ 3489960 h 3680460"/>
                  <a:gd name="connsiteX81" fmla="*/ 495300 w 3018472"/>
                  <a:gd name="connsiteY81" fmla="*/ 3520440 h 3680460"/>
                  <a:gd name="connsiteX82" fmla="*/ 525780 w 3018472"/>
                  <a:gd name="connsiteY82" fmla="*/ 3535680 h 3680460"/>
                  <a:gd name="connsiteX83" fmla="*/ 731520 w 3018472"/>
                  <a:gd name="connsiteY83" fmla="*/ 3558540 h 3680460"/>
                  <a:gd name="connsiteX84" fmla="*/ 1341120 w 3018472"/>
                  <a:gd name="connsiteY84" fmla="*/ 3550920 h 3680460"/>
                  <a:gd name="connsiteX85" fmla="*/ 1440180 w 3018472"/>
                  <a:gd name="connsiteY85" fmla="*/ 3528060 h 3680460"/>
                  <a:gd name="connsiteX86" fmla="*/ 1539240 w 3018472"/>
                  <a:gd name="connsiteY86" fmla="*/ 3520440 h 3680460"/>
                  <a:gd name="connsiteX87" fmla="*/ 1562100 w 3018472"/>
                  <a:gd name="connsiteY87" fmla="*/ 3512820 h 3680460"/>
                  <a:gd name="connsiteX88" fmla="*/ 1630680 w 3018472"/>
                  <a:gd name="connsiteY88" fmla="*/ 3497580 h 3680460"/>
                  <a:gd name="connsiteX89" fmla="*/ 1699260 w 3018472"/>
                  <a:gd name="connsiteY89" fmla="*/ 3474720 h 3680460"/>
                  <a:gd name="connsiteX90" fmla="*/ 1790700 w 3018472"/>
                  <a:gd name="connsiteY90" fmla="*/ 3451860 h 3680460"/>
                  <a:gd name="connsiteX91" fmla="*/ 1821180 w 3018472"/>
                  <a:gd name="connsiteY91" fmla="*/ 3444240 h 3680460"/>
                  <a:gd name="connsiteX92" fmla="*/ 1844040 w 3018472"/>
                  <a:gd name="connsiteY92" fmla="*/ 3429000 h 3680460"/>
                  <a:gd name="connsiteX93" fmla="*/ 1874520 w 3018472"/>
                  <a:gd name="connsiteY93" fmla="*/ 3421380 h 3680460"/>
                  <a:gd name="connsiteX94" fmla="*/ 1927860 w 3018472"/>
                  <a:gd name="connsiteY94" fmla="*/ 3398520 h 3680460"/>
                  <a:gd name="connsiteX95" fmla="*/ 1950720 w 3018472"/>
                  <a:gd name="connsiteY95" fmla="*/ 3390900 h 3680460"/>
                  <a:gd name="connsiteX96" fmla="*/ 2004060 w 3018472"/>
                  <a:gd name="connsiteY96" fmla="*/ 3360420 h 3680460"/>
                  <a:gd name="connsiteX97" fmla="*/ 2042160 w 3018472"/>
                  <a:gd name="connsiteY97" fmla="*/ 3352800 h 3680460"/>
                  <a:gd name="connsiteX98" fmla="*/ 2080260 w 3018472"/>
                  <a:gd name="connsiteY98" fmla="*/ 3337560 h 3680460"/>
                  <a:gd name="connsiteX99" fmla="*/ 2156460 w 3018472"/>
                  <a:gd name="connsiteY99" fmla="*/ 3299460 h 3680460"/>
                  <a:gd name="connsiteX100" fmla="*/ 2179320 w 3018472"/>
                  <a:gd name="connsiteY100" fmla="*/ 3284220 h 3680460"/>
                  <a:gd name="connsiteX101" fmla="*/ 2209800 w 3018472"/>
                  <a:gd name="connsiteY101" fmla="*/ 3276600 h 3680460"/>
                  <a:gd name="connsiteX102" fmla="*/ 2263140 w 3018472"/>
                  <a:gd name="connsiteY102" fmla="*/ 3230880 h 3680460"/>
                  <a:gd name="connsiteX103" fmla="*/ 2346960 w 3018472"/>
                  <a:gd name="connsiteY103" fmla="*/ 3154680 h 3680460"/>
                  <a:gd name="connsiteX104" fmla="*/ 2400300 w 3018472"/>
                  <a:gd name="connsiteY104" fmla="*/ 3070860 h 3680460"/>
                  <a:gd name="connsiteX105" fmla="*/ 2415540 w 3018472"/>
                  <a:gd name="connsiteY105" fmla="*/ 3048000 h 3680460"/>
                  <a:gd name="connsiteX106" fmla="*/ 2446020 w 3018472"/>
                  <a:gd name="connsiteY106" fmla="*/ 3032760 h 3680460"/>
                  <a:gd name="connsiteX107" fmla="*/ 2468880 w 3018472"/>
                  <a:gd name="connsiteY107" fmla="*/ 3009900 h 3680460"/>
                  <a:gd name="connsiteX108" fmla="*/ 2537460 w 3018472"/>
                  <a:gd name="connsiteY108" fmla="*/ 2926080 h 3680460"/>
                  <a:gd name="connsiteX109" fmla="*/ 2575560 w 3018472"/>
                  <a:gd name="connsiteY109" fmla="*/ 2880360 h 3680460"/>
                  <a:gd name="connsiteX110" fmla="*/ 2628900 w 3018472"/>
                  <a:gd name="connsiteY110" fmla="*/ 2811780 h 3680460"/>
                  <a:gd name="connsiteX111" fmla="*/ 2644140 w 3018472"/>
                  <a:gd name="connsiteY111" fmla="*/ 2773680 h 3680460"/>
                  <a:gd name="connsiteX112" fmla="*/ 2674620 w 3018472"/>
                  <a:gd name="connsiteY112" fmla="*/ 2727960 h 3680460"/>
                  <a:gd name="connsiteX113" fmla="*/ 2689860 w 3018472"/>
                  <a:gd name="connsiteY113" fmla="*/ 2705100 h 3680460"/>
                  <a:gd name="connsiteX114" fmla="*/ 2705100 w 3018472"/>
                  <a:gd name="connsiteY114" fmla="*/ 2667000 h 3680460"/>
                  <a:gd name="connsiteX115" fmla="*/ 2727960 w 3018472"/>
                  <a:gd name="connsiteY115" fmla="*/ 2621280 h 3680460"/>
                  <a:gd name="connsiteX116" fmla="*/ 2735580 w 3018472"/>
                  <a:gd name="connsiteY116" fmla="*/ 2590800 h 3680460"/>
                  <a:gd name="connsiteX117" fmla="*/ 2758440 w 3018472"/>
                  <a:gd name="connsiteY117" fmla="*/ 2545080 h 3680460"/>
                  <a:gd name="connsiteX118" fmla="*/ 2788920 w 3018472"/>
                  <a:gd name="connsiteY118" fmla="*/ 2484120 h 3680460"/>
                  <a:gd name="connsiteX119" fmla="*/ 2811780 w 3018472"/>
                  <a:gd name="connsiteY119" fmla="*/ 2407920 h 3680460"/>
                  <a:gd name="connsiteX120" fmla="*/ 2842260 w 3018472"/>
                  <a:gd name="connsiteY120" fmla="*/ 2324100 h 3680460"/>
                  <a:gd name="connsiteX121" fmla="*/ 2857500 w 3018472"/>
                  <a:gd name="connsiteY121" fmla="*/ 2247900 h 3680460"/>
                  <a:gd name="connsiteX122" fmla="*/ 2872740 w 3018472"/>
                  <a:gd name="connsiteY122" fmla="*/ 2194560 h 3680460"/>
                  <a:gd name="connsiteX123" fmla="*/ 2887980 w 3018472"/>
                  <a:gd name="connsiteY123" fmla="*/ 2148840 h 3680460"/>
                  <a:gd name="connsiteX124" fmla="*/ 2910840 w 3018472"/>
                  <a:gd name="connsiteY124" fmla="*/ 2087880 h 3680460"/>
                  <a:gd name="connsiteX125" fmla="*/ 2918460 w 3018472"/>
                  <a:gd name="connsiteY125" fmla="*/ 2049780 h 3680460"/>
                  <a:gd name="connsiteX126" fmla="*/ 2933700 w 3018472"/>
                  <a:gd name="connsiteY126" fmla="*/ 1844040 h 3680460"/>
                  <a:gd name="connsiteX127" fmla="*/ 2918460 w 3018472"/>
                  <a:gd name="connsiteY127" fmla="*/ 1470660 h 3680460"/>
                  <a:gd name="connsiteX128" fmla="*/ 2895600 w 3018472"/>
                  <a:gd name="connsiteY128" fmla="*/ 1371600 h 3680460"/>
                  <a:gd name="connsiteX129" fmla="*/ 2880360 w 3018472"/>
                  <a:gd name="connsiteY129" fmla="*/ 1341120 h 3680460"/>
                  <a:gd name="connsiteX130" fmla="*/ 2857500 w 3018472"/>
                  <a:gd name="connsiteY130" fmla="*/ 1272540 h 3680460"/>
                  <a:gd name="connsiteX131" fmla="*/ 2849880 w 3018472"/>
                  <a:gd name="connsiteY131" fmla="*/ 1234440 h 3680460"/>
                  <a:gd name="connsiteX132" fmla="*/ 2827020 w 3018472"/>
                  <a:gd name="connsiteY132" fmla="*/ 1196340 h 3680460"/>
                  <a:gd name="connsiteX133" fmla="*/ 2811780 w 3018472"/>
                  <a:gd name="connsiteY133" fmla="*/ 1165860 h 3680460"/>
                  <a:gd name="connsiteX134" fmla="*/ 2781300 w 3018472"/>
                  <a:gd name="connsiteY134" fmla="*/ 1127760 h 3680460"/>
                  <a:gd name="connsiteX135" fmla="*/ 2766060 w 3018472"/>
                  <a:gd name="connsiteY135" fmla="*/ 1089660 h 3680460"/>
                  <a:gd name="connsiteX136" fmla="*/ 2735580 w 3018472"/>
                  <a:gd name="connsiteY136" fmla="*/ 1043940 h 3680460"/>
                  <a:gd name="connsiteX137" fmla="*/ 2727960 w 3018472"/>
                  <a:gd name="connsiteY137" fmla="*/ 1021080 h 3680460"/>
                  <a:gd name="connsiteX138" fmla="*/ 2682240 w 3018472"/>
                  <a:gd name="connsiteY138" fmla="*/ 937260 h 3680460"/>
                  <a:gd name="connsiteX139" fmla="*/ 2659380 w 3018472"/>
                  <a:gd name="connsiteY139" fmla="*/ 876300 h 3680460"/>
                  <a:gd name="connsiteX140" fmla="*/ 2644140 w 3018472"/>
                  <a:gd name="connsiteY140" fmla="*/ 845820 h 3680460"/>
                  <a:gd name="connsiteX141" fmla="*/ 2636520 w 3018472"/>
                  <a:gd name="connsiteY141" fmla="*/ 822960 h 3680460"/>
                  <a:gd name="connsiteX142" fmla="*/ 2621280 w 3018472"/>
                  <a:gd name="connsiteY142" fmla="*/ 800100 h 3680460"/>
                  <a:gd name="connsiteX143" fmla="*/ 2598420 w 3018472"/>
                  <a:gd name="connsiteY143" fmla="*/ 739140 h 3680460"/>
                  <a:gd name="connsiteX144" fmla="*/ 2458403 w 3018472"/>
                  <a:gd name="connsiteY144" fmla="*/ 621983 h 3680460"/>
                  <a:gd name="connsiteX145" fmla="*/ 2301240 w 3018472"/>
                  <a:gd name="connsiteY145" fmla="*/ 458152 h 3680460"/>
                  <a:gd name="connsiteX146" fmla="*/ 2237423 w 3018472"/>
                  <a:gd name="connsiteY146" fmla="*/ 406717 h 3680460"/>
                  <a:gd name="connsiteX147" fmla="*/ 2103120 w 3018472"/>
                  <a:gd name="connsiteY147" fmla="*/ 312420 h 3680460"/>
                  <a:gd name="connsiteX148" fmla="*/ 2042160 w 3018472"/>
                  <a:gd name="connsiteY148" fmla="*/ 266700 h 3680460"/>
                  <a:gd name="connsiteX149" fmla="*/ 2004060 w 3018472"/>
                  <a:gd name="connsiteY149" fmla="*/ 251460 h 3680460"/>
                  <a:gd name="connsiteX150" fmla="*/ 1958340 w 3018472"/>
                  <a:gd name="connsiteY150" fmla="*/ 220980 h 3680460"/>
                  <a:gd name="connsiteX151" fmla="*/ 1897380 w 3018472"/>
                  <a:gd name="connsiteY151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575560 w 3018472"/>
                  <a:gd name="connsiteY41" fmla="*/ 3078480 h 3680460"/>
                  <a:gd name="connsiteX42" fmla="*/ 2476500 w 3018472"/>
                  <a:gd name="connsiteY42" fmla="*/ 3169920 h 3680460"/>
                  <a:gd name="connsiteX43" fmla="*/ 2377440 w 3018472"/>
                  <a:gd name="connsiteY43" fmla="*/ 3223260 h 3680460"/>
                  <a:gd name="connsiteX44" fmla="*/ 2293620 w 3018472"/>
                  <a:gd name="connsiteY44" fmla="*/ 3284220 h 3680460"/>
                  <a:gd name="connsiteX45" fmla="*/ 2240280 w 3018472"/>
                  <a:gd name="connsiteY45" fmla="*/ 3314700 h 3680460"/>
                  <a:gd name="connsiteX46" fmla="*/ 2225040 w 3018472"/>
                  <a:gd name="connsiteY46" fmla="*/ 3337560 h 3680460"/>
                  <a:gd name="connsiteX47" fmla="*/ 2141220 w 3018472"/>
                  <a:gd name="connsiteY47" fmla="*/ 3390900 h 3680460"/>
                  <a:gd name="connsiteX48" fmla="*/ 2110740 w 3018472"/>
                  <a:gd name="connsiteY48" fmla="*/ 3413760 h 3680460"/>
                  <a:gd name="connsiteX49" fmla="*/ 2072640 w 3018472"/>
                  <a:gd name="connsiteY49" fmla="*/ 3451860 h 3680460"/>
                  <a:gd name="connsiteX50" fmla="*/ 2019300 w 3018472"/>
                  <a:gd name="connsiteY50" fmla="*/ 3467100 h 3680460"/>
                  <a:gd name="connsiteX51" fmla="*/ 1874520 w 3018472"/>
                  <a:gd name="connsiteY51" fmla="*/ 3512820 h 3680460"/>
                  <a:gd name="connsiteX52" fmla="*/ 1828800 w 3018472"/>
                  <a:gd name="connsiteY52" fmla="*/ 3520440 h 3680460"/>
                  <a:gd name="connsiteX53" fmla="*/ 1722120 w 3018472"/>
                  <a:gd name="connsiteY53" fmla="*/ 3550920 h 3680460"/>
                  <a:gd name="connsiteX54" fmla="*/ 1600200 w 3018472"/>
                  <a:gd name="connsiteY54" fmla="*/ 3589020 h 3680460"/>
                  <a:gd name="connsiteX55" fmla="*/ 1569720 w 3018472"/>
                  <a:gd name="connsiteY55" fmla="*/ 3596640 h 3680460"/>
                  <a:gd name="connsiteX56" fmla="*/ 1546860 w 3018472"/>
                  <a:gd name="connsiteY56" fmla="*/ 3611880 h 3680460"/>
                  <a:gd name="connsiteX57" fmla="*/ 1463040 w 3018472"/>
                  <a:gd name="connsiteY57" fmla="*/ 3627120 h 3680460"/>
                  <a:gd name="connsiteX58" fmla="*/ 1333500 w 3018472"/>
                  <a:gd name="connsiteY58" fmla="*/ 3657600 h 3680460"/>
                  <a:gd name="connsiteX59" fmla="*/ 1203960 w 3018472"/>
                  <a:gd name="connsiteY59" fmla="*/ 3672840 h 3680460"/>
                  <a:gd name="connsiteX60" fmla="*/ 1165860 w 3018472"/>
                  <a:gd name="connsiteY60" fmla="*/ 3680460 h 3680460"/>
                  <a:gd name="connsiteX61" fmla="*/ 449580 w 3018472"/>
                  <a:gd name="connsiteY61" fmla="*/ 3672840 h 3680460"/>
                  <a:gd name="connsiteX62" fmla="*/ 426720 w 3018472"/>
                  <a:gd name="connsiteY62" fmla="*/ 3665220 h 3680460"/>
                  <a:gd name="connsiteX63" fmla="*/ 388620 w 3018472"/>
                  <a:gd name="connsiteY63" fmla="*/ 3657600 h 3680460"/>
                  <a:gd name="connsiteX64" fmla="*/ 335280 w 3018472"/>
                  <a:gd name="connsiteY64" fmla="*/ 3627120 h 3680460"/>
                  <a:gd name="connsiteX65" fmla="*/ 266700 w 3018472"/>
                  <a:gd name="connsiteY65" fmla="*/ 3604260 h 3680460"/>
                  <a:gd name="connsiteX66" fmla="*/ 243840 w 3018472"/>
                  <a:gd name="connsiteY66" fmla="*/ 3589020 h 3680460"/>
                  <a:gd name="connsiteX67" fmla="*/ 160020 w 3018472"/>
                  <a:gd name="connsiteY67" fmla="*/ 3558540 h 3680460"/>
                  <a:gd name="connsiteX68" fmla="*/ 137160 w 3018472"/>
                  <a:gd name="connsiteY68" fmla="*/ 3535680 h 3680460"/>
                  <a:gd name="connsiteX69" fmla="*/ 99060 w 3018472"/>
                  <a:gd name="connsiteY69" fmla="*/ 3520440 h 3680460"/>
                  <a:gd name="connsiteX70" fmla="*/ 83820 w 3018472"/>
                  <a:gd name="connsiteY70" fmla="*/ 3489960 h 3680460"/>
                  <a:gd name="connsiteX71" fmla="*/ 45720 w 3018472"/>
                  <a:gd name="connsiteY71" fmla="*/ 3436620 h 3680460"/>
                  <a:gd name="connsiteX72" fmla="*/ 0 w 3018472"/>
                  <a:gd name="connsiteY72" fmla="*/ 3352800 h 3680460"/>
                  <a:gd name="connsiteX73" fmla="*/ 30480 w 3018472"/>
                  <a:gd name="connsiteY73" fmla="*/ 3345180 h 3680460"/>
                  <a:gd name="connsiteX74" fmla="*/ 137160 w 3018472"/>
                  <a:gd name="connsiteY74" fmla="*/ 3360420 h 3680460"/>
                  <a:gd name="connsiteX75" fmla="*/ 167640 w 3018472"/>
                  <a:gd name="connsiteY75" fmla="*/ 3390900 h 3680460"/>
                  <a:gd name="connsiteX76" fmla="*/ 198120 w 3018472"/>
                  <a:gd name="connsiteY76" fmla="*/ 3406140 h 3680460"/>
                  <a:gd name="connsiteX77" fmla="*/ 350520 w 3018472"/>
                  <a:gd name="connsiteY77" fmla="*/ 3436620 h 3680460"/>
                  <a:gd name="connsiteX78" fmla="*/ 381000 w 3018472"/>
                  <a:gd name="connsiteY78" fmla="*/ 3451860 h 3680460"/>
                  <a:gd name="connsiteX79" fmla="*/ 449580 w 3018472"/>
                  <a:gd name="connsiteY79" fmla="*/ 3489960 h 3680460"/>
                  <a:gd name="connsiteX80" fmla="*/ 495300 w 3018472"/>
                  <a:gd name="connsiteY80" fmla="*/ 3520440 h 3680460"/>
                  <a:gd name="connsiteX81" fmla="*/ 525780 w 3018472"/>
                  <a:gd name="connsiteY81" fmla="*/ 3535680 h 3680460"/>
                  <a:gd name="connsiteX82" fmla="*/ 731520 w 3018472"/>
                  <a:gd name="connsiteY82" fmla="*/ 3558540 h 3680460"/>
                  <a:gd name="connsiteX83" fmla="*/ 1341120 w 3018472"/>
                  <a:gd name="connsiteY83" fmla="*/ 3550920 h 3680460"/>
                  <a:gd name="connsiteX84" fmla="*/ 1440180 w 3018472"/>
                  <a:gd name="connsiteY84" fmla="*/ 3528060 h 3680460"/>
                  <a:gd name="connsiteX85" fmla="*/ 1539240 w 3018472"/>
                  <a:gd name="connsiteY85" fmla="*/ 3520440 h 3680460"/>
                  <a:gd name="connsiteX86" fmla="*/ 1562100 w 3018472"/>
                  <a:gd name="connsiteY86" fmla="*/ 3512820 h 3680460"/>
                  <a:gd name="connsiteX87" fmla="*/ 1630680 w 3018472"/>
                  <a:gd name="connsiteY87" fmla="*/ 3497580 h 3680460"/>
                  <a:gd name="connsiteX88" fmla="*/ 1699260 w 3018472"/>
                  <a:gd name="connsiteY88" fmla="*/ 3474720 h 3680460"/>
                  <a:gd name="connsiteX89" fmla="*/ 1790700 w 3018472"/>
                  <a:gd name="connsiteY89" fmla="*/ 3451860 h 3680460"/>
                  <a:gd name="connsiteX90" fmla="*/ 1821180 w 3018472"/>
                  <a:gd name="connsiteY90" fmla="*/ 3444240 h 3680460"/>
                  <a:gd name="connsiteX91" fmla="*/ 1844040 w 3018472"/>
                  <a:gd name="connsiteY91" fmla="*/ 3429000 h 3680460"/>
                  <a:gd name="connsiteX92" fmla="*/ 1874520 w 3018472"/>
                  <a:gd name="connsiteY92" fmla="*/ 3421380 h 3680460"/>
                  <a:gd name="connsiteX93" fmla="*/ 1927860 w 3018472"/>
                  <a:gd name="connsiteY93" fmla="*/ 3398520 h 3680460"/>
                  <a:gd name="connsiteX94" fmla="*/ 1950720 w 3018472"/>
                  <a:gd name="connsiteY94" fmla="*/ 3390900 h 3680460"/>
                  <a:gd name="connsiteX95" fmla="*/ 2004060 w 3018472"/>
                  <a:gd name="connsiteY95" fmla="*/ 3360420 h 3680460"/>
                  <a:gd name="connsiteX96" fmla="*/ 2042160 w 3018472"/>
                  <a:gd name="connsiteY96" fmla="*/ 3352800 h 3680460"/>
                  <a:gd name="connsiteX97" fmla="*/ 2080260 w 3018472"/>
                  <a:gd name="connsiteY97" fmla="*/ 3337560 h 3680460"/>
                  <a:gd name="connsiteX98" fmla="*/ 2156460 w 3018472"/>
                  <a:gd name="connsiteY98" fmla="*/ 3299460 h 3680460"/>
                  <a:gd name="connsiteX99" fmla="*/ 2179320 w 3018472"/>
                  <a:gd name="connsiteY99" fmla="*/ 3284220 h 3680460"/>
                  <a:gd name="connsiteX100" fmla="*/ 2209800 w 3018472"/>
                  <a:gd name="connsiteY100" fmla="*/ 3276600 h 3680460"/>
                  <a:gd name="connsiteX101" fmla="*/ 2263140 w 3018472"/>
                  <a:gd name="connsiteY101" fmla="*/ 3230880 h 3680460"/>
                  <a:gd name="connsiteX102" fmla="*/ 2346960 w 3018472"/>
                  <a:gd name="connsiteY102" fmla="*/ 3154680 h 3680460"/>
                  <a:gd name="connsiteX103" fmla="*/ 2400300 w 3018472"/>
                  <a:gd name="connsiteY103" fmla="*/ 3070860 h 3680460"/>
                  <a:gd name="connsiteX104" fmla="*/ 2415540 w 3018472"/>
                  <a:gd name="connsiteY104" fmla="*/ 3048000 h 3680460"/>
                  <a:gd name="connsiteX105" fmla="*/ 2446020 w 3018472"/>
                  <a:gd name="connsiteY105" fmla="*/ 3032760 h 3680460"/>
                  <a:gd name="connsiteX106" fmla="*/ 2468880 w 3018472"/>
                  <a:gd name="connsiteY106" fmla="*/ 3009900 h 3680460"/>
                  <a:gd name="connsiteX107" fmla="*/ 2537460 w 3018472"/>
                  <a:gd name="connsiteY107" fmla="*/ 2926080 h 3680460"/>
                  <a:gd name="connsiteX108" fmla="*/ 2575560 w 3018472"/>
                  <a:gd name="connsiteY108" fmla="*/ 2880360 h 3680460"/>
                  <a:gd name="connsiteX109" fmla="*/ 2628900 w 3018472"/>
                  <a:gd name="connsiteY109" fmla="*/ 2811780 h 3680460"/>
                  <a:gd name="connsiteX110" fmla="*/ 2644140 w 3018472"/>
                  <a:gd name="connsiteY110" fmla="*/ 2773680 h 3680460"/>
                  <a:gd name="connsiteX111" fmla="*/ 2674620 w 3018472"/>
                  <a:gd name="connsiteY111" fmla="*/ 2727960 h 3680460"/>
                  <a:gd name="connsiteX112" fmla="*/ 2689860 w 3018472"/>
                  <a:gd name="connsiteY112" fmla="*/ 2705100 h 3680460"/>
                  <a:gd name="connsiteX113" fmla="*/ 2705100 w 3018472"/>
                  <a:gd name="connsiteY113" fmla="*/ 2667000 h 3680460"/>
                  <a:gd name="connsiteX114" fmla="*/ 2727960 w 3018472"/>
                  <a:gd name="connsiteY114" fmla="*/ 2621280 h 3680460"/>
                  <a:gd name="connsiteX115" fmla="*/ 2735580 w 3018472"/>
                  <a:gd name="connsiteY115" fmla="*/ 2590800 h 3680460"/>
                  <a:gd name="connsiteX116" fmla="*/ 2758440 w 3018472"/>
                  <a:gd name="connsiteY116" fmla="*/ 2545080 h 3680460"/>
                  <a:gd name="connsiteX117" fmla="*/ 2788920 w 3018472"/>
                  <a:gd name="connsiteY117" fmla="*/ 2484120 h 3680460"/>
                  <a:gd name="connsiteX118" fmla="*/ 2811780 w 3018472"/>
                  <a:gd name="connsiteY118" fmla="*/ 2407920 h 3680460"/>
                  <a:gd name="connsiteX119" fmla="*/ 2842260 w 3018472"/>
                  <a:gd name="connsiteY119" fmla="*/ 2324100 h 3680460"/>
                  <a:gd name="connsiteX120" fmla="*/ 2857500 w 3018472"/>
                  <a:gd name="connsiteY120" fmla="*/ 2247900 h 3680460"/>
                  <a:gd name="connsiteX121" fmla="*/ 2872740 w 3018472"/>
                  <a:gd name="connsiteY121" fmla="*/ 2194560 h 3680460"/>
                  <a:gd name="connsiteX122" fmla="*/ 2887980 w 3018472"/>
                  <a:gd name="connsiteY122" fmla="*/ 2148840 h 3680460"/>
                  <a:gd name="connsiteX123" fmla="*/ 2910840 w 3018472"/>
                  <a:gd name="connsiteY123" fmla="*/ 2087880 h 3680460"/>
                  <a:gd name="connsiteX124" fmla="*/ 2918460 w 3018472"/>
                  <a:gd name="connsiteY124" fmla="*/ 2049780 h 3680460"/>
                  <a:gd name="connsiteX125" fmla="*/ 2933700 w 3018472"/>
                  <a:gd name="connsiteY125" fmla="*/ 1844040 h 3680460"/>
                  <a:gd name="connsiteX126" fmla="*/ 2918460 w 3018472"/>
                  <a:gd name="connsiteY126" fmla="*/ 1470660 h 3680460"/>
                  <a:gd name="connsiteX127" fmla="*/ 2895600 w 3018472"/>
                  <a:gd name="connsiteY127" fmla="*/ 1371600 h 3680460"/>
                  <a:gd name="connsiteX128" fmla="*/ 2880360 w 3018472"/>
                  <a:gd name="connsiteY128" fmla="*/ 1341120 h 3680460"/>
                  <a:gd name="connsiteX129" fmla="*/ 2857500 w 3018472"/>
                  <a:gd name="connsiteY129" fmla="*/ 1272540 h 3680460"/>
                  <a:gd name="connsiteX130" fmla="*/ 2849880 w 3018472"/>
                  <a:gd name="connsiteY130" fmla="*/ 1234440 h 3680460"/>
                  <a:gd name="connsiteX131" fmla="*/ 2827020 w 3018472"/>
                  <a:gd name="connsiteY131" fmla="*/ 1196340 h 3680460"/>
                  <a:gd name="connsiteX132" fmla="*/ 2811780 w 3018472"/>
                  <a:gd name="connsiteY132" fmla="*/ 1165860 h 3680460"/>
                  <a:gd name="connsiteX133" fmla="*/ 2781300 w 3018472"/>
                  <a:gd name="connsiteY133" fmla="*/ 1127760 h 3680460"/>
                  <a:gd name="connsiteX134" fmla="*/ 2766060 w 3018472"/>
                  <a:gd name="connsiteY134" fmla="*/ 1089660 h 3680460"/>
                  <a:gd name="connsiteX135" fmla="*/ 2735580 w 3018472"/>
                  <a:gd name="connsiteY135" fmla="*/ 1043940 h 3680460"/>
                  <a:gd name="connsiteX136" fmla="*/ 2727960 w 3018472"/>
                  <a:gd name="connsiteY136" fmla="*/ 1021080 h 3680460"/>
                  <a:gd name="connsiteX137" fmla="*/ 2682240 w 3018472"/>
                  <a:gd name="connsiteY137" fmla="*/ 937260 h 3680460"/>
                  <a:gd name="connsiteX138" fmla="*/ 2659380 w 3018472"/>
                  <a:gd name="connsiteY138" fmla="*/ 876300 h 3680460"/>
                  <a:gd name="connsiteX139" fmla="*/ 2644140 w 3018472"/>
                  <a:gd name="connsiteY139" fmla="*/ 845820 h 3680460"/>
                  <a:gd name="connsiteX140" fmla="*/ 2636520 w 3018472"/>
                  <a:gd name="connsiteY140" fmla="*/ 822960 h 3680460"/>
                  <a:gd name="connsiteX141" fmla="*/ 2621280 w 3018472"/>
                  <a:gd name="connsiteY141" fmla="*/ 800100 h 3680460"/>
                  <a:gd name="connsiteX142" fmla="*/ 2598420 w 3018472"/>
                  <a:gd name="connsiteY142" fmla="*/ 739140 h 3680460"/>
                  <a:gd name="connsiteX143" fmla="*/ 2458403 w 3018472"/>
                  <a:gd name="connsiteY143" fmla="*/ 621983 h 3680460"/>
                  <a:gd name="connsiteX144" fmla="*/ 2301240 w 3018472"/>
                  <a:gd name="connsiteY144" fmla="*/ 458152 h 3680460"/>
                  <a:gd name="connsiteX145" fmla="*/ 2237423 w 3018472"/>
                  <a:gd name="connsiteY145" fmla="*/ 406717 h 3680460"/>
                  <a:gd name="connsiteX146" fmla="*/ 2103120 w 3018472"/>
                  <a:gd name="connsiteY146" fmla="*/ 312420 h 3680460"/>
                  <a:gd name="connsiteX147" fmla="*/ 2042160 w 3018472"/>
                  <a:gd name="connsiteY147" fmla="*/ 266700 h 3680460"/>
                  <a:gd name="connsiteX148" fmla="*/ 2004060 w 3018472"/>
                  <a:gd name="connsiteY148" fmla="*/ 251460 h 3680460"/>
                  <a:gd name="connsiteX149" fmla="*/ 1958340 w 3018472"/>
                  <a:gd name="connsiteY149" fmla="*/ 220980 h 3680460"/>
                  <a:gd name="connsiteX150" fmla="*/ 1897380 w 3018472"/>
                  <a:gd name="connsiteY150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476500 w 3018472"/>
                  <a:gd name="connsiteY41" fmla="*/ 3169920 h 3680460"/>
                  <a:gd name="connsiteX42" fmla="*/ 2377440 w 3018472"/>
                  <a:gd name="connsiteY42" fmla="*/ 3223260 h 3680460"/>
                  <a:gd name="connsiteX43" fmla="*/ 2293620 w 3018472"/>
                  <a:gd name="connsiteY43" fmla="*/ 3284220 h 3680460"/>
                  <a:gd name="connsiteX44" fmla="*/ 2240280 w 3018472"/>
                  <a:gd name="connsiteY44" fmla="*/ 3314700 h 3680460"/>
                  <a:gd name="connsiteX45" fmla="*/ 2225040 w 3018472"/>
                  <a:gd name="connsiteY45" fmla="*/ 3337560 h 3680460"/>
                  <a:gd name="connsiteX46" fmla="*/ 2141220 w 3018472"/>
                  <a:gd name="connsiteY46" fmla="*/ 3390900 h 3680460"/>
                  <a:gd name="connsiteX47" fmla="*/ 2110740 w 3018472"/>
                  <a:gd name="connsiteY47" fmla="*/ 3413760 h 3680460"/>
                  <a:gd name="connsiteX48" fmla="*/ 2072640 w 3018472"/>
                  <a:gd name="connsiteY48" fmla="*/ 3451860 h 3680460"/>
                  <a:gd name="connsiteX49" fmla="*/ 2019300 w 3018472"/>
                  <a:gd name="connsiteY49" fmla="*/ 3467100 h 3680460"/>
                  <a:gd name="connsiteX50" fmla="*/ 1874520 w 3018472"/>
                  <a:gd name="connsiteY50" fmla="*/ 3512820 h 3680460"/>
                  <a:gd name="connsiteX51" fmla="*/ 1828800 w 3018472"/>
                  <a:gd name="connsiteY51" fmla="*/ 3520440 h 3680460"/>
                  <a:gd name="connsiteX52" fmla="*/ 1722120 w 3018472"/>
                  <a:gd name="connsiteY52" fmla="*/ 3550920 h 3680460"/>
                  <a:gd name="connsiteX53" fmla="*/ 1600200 w 3018472"/>
                  <a:gd name="connsiteY53" fmla="*/ 3589020 h 3680460"/>
                  <a:gd name="connsiteX54" fmla="*/ 1569720 w 3018472"/>
                  <a:gd name="connsiteY54" fmla="*/ 3596640 h 3680460"/>
                  <a:gd name="connsiteX55" fmla="*/ 1546860 w 3018472"/>
                  <a:gd name="connsiteY55" fmla="*/ 3611880 h 3680460"/>
                  <a:gd name="connsiteX56" fmla="*/ 1463040 w 3018472"/>
                  <a:gd name="connsiteY56" fmla="*/ 3627120 h 3680460"/>
                  <a:gd name="connsiteX57" fmla="*/ 1333500 w 3018472"/>
                  <a:gd name="connsiteY57" fmla="*/ 3657600 h 3680460"/>
                  <a:gd name="connsiteX58" fmla="*/ 1203960 w 3018472"/>
                  <a:gd name="connsiteY58" fmla="*/ 3672840 h 3680460"/>
                  <a:gd name="connsiteX59" fmla="*/ 1165860 w 3018472"/>
                  <a:gd name="connsiteY59" fmla="*/ 3680460 h 3680460"/>
                  <a:gd name="connsiteX60" fmla="*/ 449580 w 3018472"/>
                  <a:gd name="connsiteY60" fmla="*/ 3672840 h 3680460"/>
                  <a:gd name="connsiteX61" fmla="*/ 426720 w 3018472"/>
                  <a:gd name="connsiteY61" fmla="*/ 3665220 h 3680460"/>
                  <a:gd name="connsiteX62" fmla="*/ 388620 w 3018472"/>
                  <a:gd name="connsiteY62" fmla="*/ 3657600 h 3680460"/>
                  <a:gd name="connsiteX63" fmla="*/ 335280 w 3018472"/>
                  <a:gd name="connsiteY63" fmla="*/ 3627120 h 3680460"/>
                  <a:gd name="connsiteX64" fmla="*/ 266700 w 3018472"/>
                  <a:gd name="connsiteY64" fmla="*/ 3604260 h 3680460"/>
                  <a:gd name="connsiteX65" fmla="*/ 243840 w 3018472"/>
                  <a:gd name="connsiteY65" fmla="*/ 3589020 h 3680460"/>
                  <a:gd name="connsiteX66" fmla="*/ 160020 w 3018472"/>
                  <a:gd name="connsiteY66" fmla="*/ 3558540 h 3680460"/>
                  <a:gd name="connsiteX67" fmla="*/ 137160 w 3018472"/>
                  <a:gd name="connsiteY67" fmla="*/ 3535680 h 3680460"/>
                  <a:gd name="connsiteX68" fmla="*/ 99060 w 3018472"/>
                  <a:gd name="connsiteY68" fmla="*/ 3520440 h 3680460"/>
                  <a:gd name="connsiteX69" fmla="*/ 83820 w 3018472"/>
                  <a:gd name="connsiteY69" fmla="*/ 3489960 h 3680460"/>
                  <a:gd name="connsiteX70" fmla="*/ 45720 w 3018472"/>
                  <a:gd name="connsiteY70" fmla="*/ 3436620 h 3680460"/>
                  <a:gd name="connsiteX71" fmla="*/ 0 w 3018472"/>
                  <a:gd name="connsiteY71" fmla="*/ 3352800 h 3680460"/>
                  <a:gd name="connsiteX72" fmla="*/ 30480 w 3018472"/>
                  <a:gd name="connsiteY72" fmla="*/ 3345180 h 3680460"/>
                  <a:gd name="connsiteX73" fmla="*/ 137160 w 3018472"/>
                  <a:gd name="connsiteY73" fmla="*/ 3360420 h 3680460"/>
                  <a:gd name="connsiteX74" fmla="*/ 167640 w 3018472"/>
                  <a:gd name="connsiteY74" fmla="*/ 3390900 h 3680460"/>
                  <a:gd name="connsiteX75" fmla="*/ 198120 w 3018472"/>
                  <a:gd name="connsiteY75" fmla="*/ 3406140 h 3680460"/>
                  <a:gd name="connsiteX76" fmla="*/ 350520 w 3018472"/>
                  <a:gd name="connsiteY76" fmla="*/ 3436620 h 3680460"/>
                  <a:gd name="connsiteX77" fmla="*/ 381000 w 3018472"/>
                  <a:gd name="connsiteY77" fmla="*/ 3451860 h 3680460"/>
                  <a:gd name="connsiteX78" fmla="*/ 449580 w 3018472"/>
                  <a:gd name="connsiteY78" fmla="*/ 3489960 h 3680460"/>
                  <a:gd name="connsiteX79" fmla="*/ 495300 w 3018472"/>
                  <a:gd name="connsiteY79" fmla="*/ 3520440 h 3680460"/>
                  <a:gd name="connsiteX80" fmla="*/ 525780 w 3018472"/>
                  <a:gd name="connsiteY80" fmla="*/ 3535680 h 3680460"/>
                  <a:gd name="connsiteX81" fmla="*/ 731520 w 3018472"/>
                  <a:gd name="connsiteY81" fmla="*/ 3558540 h 3680460"/>
                  <a:gd name="connsiteX82" fmla="*/ 1341120 w 3018472"/>
                  <a:gd name="connsiteY82" fmla="*/ 3550920 h 3680460"/>
                  <a:gd name="connsiteX83" fmla="*/ 1440180 w 3018472"/>
                  <a:gd name="connsiteY83" fmla="*/ 3528060 h 3680460"/>
                  <a:gd name="connsiteX84" fmla="*/ 1539240 w 3018472"/>
                  <a:gd name="connsiteY84" fmla="*/ 3520440 h 3680460"/>
                  <a:gd name="connsiteX85" fmla="*/ 1562100 w 3018472"/>
                  <a:gd name="connsiteY85" fmla="*/ 3512820 h 3680460"/>
                  <a:gd name="connsiteX86" fmla="*/ 1630680 w 3018472"/>
                  <a:gd name="connsiteY86" fmla="*/ 3497580 h 3680460"/>
                  <a:gd name="connsiteX87" fmla="*/ 1699260 w 3018472"/>
                  <a:gd name="connsiteY87" fmla="*/ 3474720 h 3680460"/>
                  <a:gd name="connsiteX88" fmla="*/ 1790700 w 3018472"/>
                  <a:gd name="connsiteY88" fmla="*/ 3451860 h 3680460"/>
                  <a:gd name="connsiteX89" fmla="*/ 1821180 w 3018472"/>
                  <a:gd name="connsiteY89" fmla="*/ 3444240 h 3680460"/>
                  <a:gd name="connsiteX90" fmla="*/ 1844040 w 3018472"/>
                  <a:gd name="connsiteY90" fmla="*/ 3429000 h 3680460"/>
                  <a:gd name="connsiteX91" fmla="*/ 1874520 w 3018472"/>
                  <a:gd name="connsiteY91" fmla="*/ 3421380 h 3680460"/>
                  <a:gd name="connsiteX92" fmla="*/ 1927860 w 3018472"/>
                  <a:gd name="connsiteY92" fmla="*/ 3398520 h 3680460"/>
                  <a:gd name="connsiteX93" fmla="*/ 1950720 w 3018472"/>
                  <a:gd name="connsiteY93" fmla="*/ 3390900 h 3680460"/>
                  <a:gd name="connsiteX94" fmla="*/ 2004060 w 3018472"/>
                  <a:gd name="connsiteY94" fmla="*/ 3360420 h 3680460"/>
                  <a:gd name="connsiteX95" fmla="*/ 2042160 w 3018472"/>
                  <a:gd name="connsiteY95" fmla="*/ 3352800 h 3680460"/>
                  <a:gd name="connsiteX96" fmla="*/ 2080260 w 3018472"/>
                  <a:gd name="connsiteY96" fmla="*/ 3337560 h 3680460"/>
                  <a:gd name="connsiteX97" fmla="*/ 2156460 w 3018472"/>
                  <a:gd name="connsiteY97" fmla="*/ 3299460 h 3680460"/>
                  <a:gd name="connsiteX98" fmla="*/ 2179320 w 3018472"/>
                  <a:gd name="connsiteY98" fmla="*/ 3284220 h 3680460"/>
                  <a:gd name="connsiteX99" fmla="*/ 2209800 w 3018472"/>
                  <a:gd name="connsiteY99" fmla="*/ 3276600 h 3680460"/>
                  <a:gd name="connsiteX100" fmla="*/ 2263140 w 3018472"/>
                  <a:gd name="connsiteY100" fmla="*/ 3230880 h 3680460"/>
                  <a:gd name="connsiteX101" fmla="*/ 2346960 w 3018472"/>
                  <a:gd name="connsiteY101" fmla="*/ 3154680 h 3680460"/>
                  <a:gd name="connsiteX102" fmla="*/ 2400300 w 3018472"/>
                  <a:gd name="connsiteY102" fmla="*/ 3070860 h 3680460"/>
                  <a:gd name="connsiteX103" fmla="*/ 2415540 w 3018472"/>
                  <a:gd name="connsiteY103" fmla="*/ 3048000 h 3680460"/>
                  <a:gd name="connsiteX104" fmla="*/ 2446020 w 3018472"/>
                  <a:gd name="connsiteY104" fmla="*/ 3032760 h 3680460"/>
                  <a:gd name="connsiteX105" fmla="*/ 2468880 w 3018472"/>
                  <a:gd name="connsiteY105" fmla="*/ 3009900 h 3680460"/>
                  <a:gd name="connsiteX106" fmla="*/ 2537460 w 3018472"/>
                  <a:gd name="connsiteY106" fmla="*/ 2926080 h 3680460"/>
                  <a:gd name="connsiteX107" fmla="*/ 2575560 w 3018472"/>
                  <a:gd name="connsiteY107" fmla="*/ 2880360 h 3680460"/>
                  <a:gd name="connsiteX108" fmla="*/ 2628900 w 3018472"/>
                  <a:gd name="connsiteY108" fmla="*/ 2811780 h 3680460"/>
                  <a:gd name="connsiteX109" fmla="*/ 2644140 w 3018472"/>
                  <a:gd name="connsiteY109" fmla="*/ 2773680 h 3680460"/>
                  <a:gd name="connsiteX110" fmla="*/ 2674620 w 3018472"/>
                  <a:gd name="connsiteY110" fmla="*/ 2727960 h 3680460"/>
                  <a:gd name="connsiteX111" fmla="*/ 2689860 w 3018472"/>
                  <a:gd name="connsiteY111" fmla="*/ 2705100 h 3680460"/>
                  <a:gd name="connsiteX112" fmla="*/ 2705100 w 3018472"/>
                  <a:gd name="connsiteY112" fmla="*/ 2667000 h 3680460"/>
                  <a:gd name="connsiteX113" fmla="*/ 2727960 w 3018472"/>
                  <a:gd name="connsiteY113" fmla="*/ 2621280 h 3680460"/>
                  <a:gd name="connsiteX114" fmla="*/ 2735580 w 3018472"/>
                  <a:gd name="connsiteY114" fmla="*/ 2590800 h 3680460"/>
                  <a:gd name="connsiteX115" fmla="*/ 2758440 w 3018472"/>
                  <a:gd name="connsiteY115" fmla="*/ 2545080 h 3680460"/>
                  <a:gd name="connsiteX116" fmla="*/ 2788920 w 3018472"/>
                  <a:gd name="connsiteY116" fmla="*/ 2484120 h 3680460"/>
                  <a:gd name="connsiteX117" fmla="*/ 2811780 w 3018472"/>
                  <a:gd name="connsiteY117" fmla="*/ 2407920 h 3680460"/>
                  <a:gd name="connsiteX118" fmla="*/ 2842260 w 3018472"/>
                  <a:gd name="connsiteY118" fmla="*/ 2324100 h 3680460"/>
                  <a:gd name="connsiteX119" fmla="*/ 2857500 w 3018472"/>
                  <a:gd name="connsiteY119" fmla="*/ 2247900 h 3680460"/>
                  <a:gd name="connsiteX120" fmla="*/ 2872740 w 3018472"/>
                  <a:gd name="connsiteY120" fmla="*/ 2194560 h 3680460"/>
                  <a:gd name="connsiteX121" fmla="*/ 2887980 w 3018472"/>
                  <a:gd name="connsiteY121" fmla="*/ 2148840 h 3680460"/>
                  <a:gd name="connsiteX122" fmla="*/ 2910840 w 3018472"/>
                  <a:gd name="connsiteY122" fmla="*/ 2087880 h 3680460"/>
                  <a:gd name="connsiteX123" fmla="*/ 2918460 w 3018472"/>
                  <a:gd name="connsiteY123" fmla="*/ 2049780 h 3680460"/>
                  <a:gd name="connsiteX124" fmla="*/ 2933700 w 3018472"/>
                  <a:gd name="connsiteY124" fmla="*/ 1844040 h 3680460"/>
                  <a:gd name="connsiteX125" fmla="*/ 2918460 w 3018472"/>
                  <a:gd name="connsiteY125" fmla="*/ 1470660 h 3680460"/>
                  <a:gd name="connsiteX126" fmla="*/ 2895600 w 3018472"/>
                  <a:gd name="connsiteY126" fmla="*/ 1371600 h 3680460"/>
                  <a:gd name="connsiteX127" fmla="*/ 2880360 w 3018472"/>
                  <a:gd name="connsiteY127" fmla="*/ 1341120 h 3680460"/>
                  <a:gd name="connsiteX128" fmla="*/ 2857500 w 3018472"/>
                  <a:gd name="connsiteY128" fmla="*/ 1272540 h 3680460"/>
                  <a:gd name="connsiteX129" fmla="*/ 2849880 w 3018472"/>
                  <a:gd name="connsiteY129" fmla="*/ 1234440 h 3680460"/>
                  <a:gd name="connsiteX130" fmla="*/ 2827020 w 3018472"/>
                  <a:gd name="connsiteY130" fmla="*/ 1196340 h 3680460"/>
                  <a:gd name="connsiteX131" fmla="*/ 2811780 w 3018472"/>
                  <a:gd name="connsiteY131" fmla="*/ 1165860 h 3680460"/>
                  <a:gd name="connsiteX132" fmla="*/ 2781300 w 3018472"/>
                  <a:gd name="connsiteY132" fmla="*/ 1127760 h 3680460"/>
                  <a:gd name="connsiteX133" fmla="*/ 2766060 w 3018472"/>
                  <a:gd name="connsiteY133" fmla="*/ 1089660 h 3680460"/>
                  <a:gd name="connsiteX134" fmla="*/ 2735580 w 3018472"/>
                  <a:gd name="connsiteY134" fmla="*/ 1043940 h 3680460"/>
                  <a:gd name="connsiteX135" fmla="*/ 2727960 w 3018472"/>
                  <a:gd name="connsiteY135" fmla="*/ 1021080 h 3680460"/>
                  <a:gd name="connsiteX136" fmla="*/ 2682240 w 3018472"/>
                  <a:gd name="connsiteY136" fmla="*/ 937260 h 3680460"/>
                  <a:gd name="connsiteX137" fmla="*/ 2659380 w 3018472"/>
                  <a:gd name="connsiteY137" fmla="*/ 876300 h 3680460"/>
                  <a:gd name="connsiteX138" fmla="*/ 2644140 w 3018472"/>
                  <a:gd name="connsiteY138" fmla="*/ 845820 h 3680460"/>
                  <a:gd name="connsiteX139" fmla="*/ 2636520 w 3018472"/>
                  <a:gd name="connsiteY139" fmla="*/ 822960 h 3680460"/>
                  <a:gd name="connsiteX140" fmla="*/ 2621280 w 3018472"/>
                  <a:gd name="connsiteY140" fmla="*/ 800100 h 3680460"/>
                  <a:gd name="connsiteX141" fmla="*/ 2598420 w 3018472"/>
                  <a:gd name="connsiteY141" fmla="*/ 739140 h 3680460"/>
                  <a:gd name="connsiteX142" fmla="*/ 2458403 w 3018472"/>
                  <a:gd name="connsiteY142" fmla="*/ 621983 h 3680460"/>
                  <a:gd name="connsiteX143" fmla="*/ 2301240 w 3018472"/>
                  <a:gd name="connsiteY143" fmla="*/ 458152 h 3680460"/>
                  <a:gd name="connsiteX144" fmla="*/ 2237423 w 3018472"/>
                  <a:gd name="connsiteY144" fmla="*/ 406717 h 3680460"/>
                  <a:gd name="connsiteX145" fmla="*/ 2103120 w 3018472"/>
                  <a:gd name="connsiteY145" fmla="*/ 312420 h 3680460"/>
                  <a:gd name="connsiteX146" fmla="*/ 2042160 w 3018472"/>
                  <a:gd name="connsiteY146" fmla="*/ 266700 h 3680460"/>
                  <a:gd name="connsiteX147" fmla="*/ 2004060 w 3018472"/>
                  <a:gd name="connsiteY147" fmla="*/ 251460 h 3680460"/>
                  <a:gd name="connsiteX148" fmla="*/ 1958340 w 3018472"/>
                  <a:gd name="connsiteY148" fmla="*/ 220980 h 3680460"/>
                  <a:gd name="connsiteX149" fmla="*/ 1897380 w 3018472"/>
                  <a:gd name="connsiteY149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476500 w 3018472"/>
                  <a:gd name="connsiteY40" fmla="*/ 3169920 h 3680460"/>
                  <a:gd name="connsiteX41" fmla="*/ 2377440 w 3018472"/>
                  <a:gd name="connsiteY41" fmla="*/ 3223260 h 3680460"/>
                  <a:gd name="connsiteX42" fmla="*/ 2293620 w 3018472"/>
                  <a:gd name="connsiteY42" fmla="*/ 3284220 h 3680460"/>
                  <a:gd name="connsiteX43" fmla="*/ 2240280 w 3018472"/>
                  <a:gd name="connsiteY43" fmla="*/ 3314700 h 3680460"/>
                  <a:gd name="connsiteX44" fmla="*/ 2225040 w 3018472"/>
                  <a:gd name="connsiteY44" fmla="*/ 3337560 h 3680460"/>
                  <a:gd name="connsiteX45" fmla="*/ 2141220 w 3018472"/>
                  <a:gd name="connsiteY45" fmla="*/ 3390900 h 3680460"/>
                  <a:gd name="connsiteX46" fmla="*/ 2110740 w 3018472"/>
                  <a:gd name="connsiteY46" fmla="*/ 3413760 h 3680460"/>
                  <a:gd name="connsiteX47" fmla="*/ 2072640 w 3018472"/>
                  <a:gd name="connsiteY47" fmla="*/ 3451860 h 3680460"/>
                  <a:gd name="connsiteX48" fmla="*/ 2019300 w 3018472"/>
                  <a:gd name="connsiteY48" fmla="*/ 3467100 h 3680460"/>
                  <a:gd name="connsiteX49" fmla="*/ 1874520 w 3018472"/>
                  <a:gd name="connsiteY49" fmla="*/ 3512820 h 3680460"/>
                  <a:gd name="connsiteX50" fmla="*/ 1828800 w 3018472"/>
                  <a:gd name="connsiteY50" fmla="*/ 3520440 h 3680460"/>
                  <a:gd name="connsiteX51" fmla="*/ 1722120 w 3018472"/>
                  <a:gd name="connsiteY51" fmla="*/ 3550920 h 3680460"/>
                  <a:gd name="connsiteX52" fmla="*/ 1600200 w 3018472"/>
                  <a:gd name="connsiteY52" fmla="*/ 3589020 h 3680460"/>
                  <a:gd name="connsiteX53" fmla="*/ 1569720 w 3018472"/>
                  <a:gd name="connsiteY53" fmla="*/ 3596640 h 3680460"/>
                  <a:gd name="connsiteX54" fmla="*/ 1546860 w 3018472"/>
                  <a:gd name="connsiteY54" fmla="*/ 3611880 h 3680460"/>
                  <a:gd name="connsiteX55" fmla="*/ 1463040 w 3018472"/>
                  <a:gd name="connsiteY55" fmla="*/ 3627120 h 3680460"/>
                  <a:gd name="connsiteX56" fmla="*/ 1333500 w 3018472"/>
                  <a:gd name="connsiteY56" fmla="*/ 3657600 h 3680460"/>
                  <a:gd name="connsiteX57" fmla="*/ 1203960 w 3018472"/>
                  <a:gd name="connsiteY57" fmla="*/ 3672840 h 3680460"/>
                  <a:gd name="connsiteX58" fmla="*/ 1165860 w 3018472"/>
                  <a:gd name="connsiteY58" fmla="*/ 3680460 h 3680460"/>
                  <a:gd name="connsiteX59" fmla="*/ 449580 w 3018472"/>
                  <a:gd name="connsiteY59" fmla="*/ 3672840 h 3680460"/>
                  <a:gd name="connsiteX60" fmla="*/ 426720 w 3018472"/>
                  <a:gd name="connsiteY60" fmla="*/ 3665220 h 3680460"/>
                  <a:gd name="connsiteX61" fmla="*/ 388620 w 3018472"/>
                  <a:gd name="connsiteY61" fmla="*/ 3657600 h 3680460"/>
                  <a:gd name="connsiteX62" fmla="*/ 335280 w 3018472"/>
                  <a:gd name="connsiteY62" fmla="*/ 3627120 h 3680460"/>
                  <a:gd name="connsiteX63" fmla="*/ 266700 w 3018472"/>
                  <a:gd name="connsiteY63" fmla="*/ 3604260 h 3680460"/>
                  <a:gd name="connsiteX64" fmla="*/ 243840 w 3018472"/>
                  <a:gd name="connsiteY64" fmla="*/ 3589020 h 3680460"/>
                  <a:gd name="connsiteX65" fmla="*/ 160020 w 3018472"/>
                  <a:gd name="connsiteY65" fmla="*/ 3558540 h 3680460"/>
                  <a:gd name="connsiteX66" fmla="*/ 137160 w 3018472"/>
                  <a:gd name="connsiteY66" fmla="*/ 3535680 h 3680460"/>
                  <a:gd name="connsiteX67" fmla="*/ 99060 w 3018472"/>
                  <a:gd name="connsiteY67" fmla="*/ 3520440 h 3680460"/>
                  <a:gd name="connsiteX68" fmla="*/ 83820 w 3018472"/>
                  <a:gd name="connsiteY68" fmla="*/ 3489960 h 3680460"/>
                  <a:gd name="connsiteX69" fmla="*/ 45720 w 3018472"/>
                  <a:gd name="connsiteY69" fmla="*/ 3436620 h 3680460"/>
                  <a:gd name="connsiteX70" fmla="*/ 0 w 3018472"/>
                  <a:gd name="connsiteY70" fmla="*/ 3352800 h 3680460"/>
                  <a:gd name="connsiteX71" fmla="*/ 30480 w 3018472"/>
                  <a:gd name="connsiteY71" fmla="*/ 3345180 h 3680460"/>
                  <a:gd name="connsiteX72" fmla="*/ 137160 w 3018472"/>
                  <a:gd name="connsiteY72" fmla="*/ 3360420 h 3680460"/>
                  <a:gd name="connsiteX73" fmla="*/ 167640 w 3018472"/>
                  <a:gd name="connsiteY73" fmla="*/ 3390900 h 3680460"/>
                  <a:gd name="connsiteX74" fmla="*/ 198120 w 3018472"/>
                  <a:gd name="connsiteY74" fmla="*/ 3406140 h 3680460"/>
                  <a:gd name="connsiteX75" fmla="*/ 350520 w 3018472"/>
                  <a:gd name="connsiteY75" fmla="*/ 3436620 h 3680460"/>
                  <a:gd name="connsiteX76" fmla="*/ 381000 w 3018472"/>
                  <a:gd name="connsiteY76" fmla="*/ 3451860 h 3680460"/>
                  <a:gd name="connsiteX77" fmla="*/ 449580 w 3018472"/>
                  <a:gd name="connsiteY77" fmla="*/ 3489960 h 3680460"/>
                  <a:gd name="connsiteX78" fmla="*/ 495300 w 3018472"/>
                  <a:gd name="connsiteY78" fmla="*/ 3520440 h 3680460"/>
                  <a:gd name="connsiteX79" fmla="*/ 525780 w 3018472"/>
                  <a:gd name="connsiteY79" fmla="*/ 3535680 h 3680460"/>
                  <a:gd name="connsiteX80" fmla="*/ 731520 w 3018472"/>
                  <a:gd name="connsiteY80" fmla="*/ 3558540 h 3680460"/>
                  <a:gd name="connsiteX81" fmla="*/ 1341120 w 3018472"/>
                  <a:gd name="connsiteY81" fmla="*/ 3550920 h 3680460"/>
                  <a:gd name="connsiteX82" fmla="*/ 1440180 w 3018472"/>
                  <a:gd name="connsiteY82" fmla="*/ 3528060 h 3680460"/>
                  <a:gd name="connsiteX83" fmla="*/ 1539240 w 3018472"/>
                  <a:gd name="connsiteY83" fmla="*/ 3520440 h 3680460"/>
                  <a:gd name="connsiteX84" fmla="*/ 1562100 w 3018472"/>
                  <a:gd name="connsiteY84" fmla="*/ 3512820 h 3680460"/>
                  <a:gd name="connsiteX85" fmla="*/ 1630680 w 3018472"/>
                  <a:gd name="connsiteY85" fmla="*/ 3497580 h 3680460"/>
                  <a:gd name="connsiteX86" fmla="*/ 1699260 w 3018472"/>
                  <a:gd name="connsiteY86" fmla="*/ 3474720 h 3680460"/>
                  <a:gd name="connsiteX87" fmla="*/ 1790700 w 3018472"/>
                  <a:gd name="connsiteY87" fmla="*/ 3451860 h 3680460"/>
                  <a:gd name="connsiteX88" fmla="*/ 1821180 w 3018472"/>
                  <a:gd name="connsiteY88" fmla="*/ 3444240 h 3680460"/>
                  <a:gd name="connsiteX89" fmla="*/ 1844040 w 3018472"/>
                  <a:gd name="connsiteY89" fmla="*/ 3429000 h 3680460"/>
                  <a:gd name="connsiteX90" fmla="*/ 1874520 w 3018472"/>
                  <a:gd name="connsiteY90" fmla="*/ 3421380 h 3680460"/>
                  <a:gd name="connsiteX91" fmla="*/ 1927860 w 3018472"/>
                  <a:gd name="connsiteY91" fmla="*/ 3398520 h 3680460"/>
                  <a:gd name="connsiteX92" fmla="*/ 1950720 w 3018472"/>
                  <a:gd name="connsiteY92" fmla="*/ 3390900 h 3680460"/>
                  <a:gd name="connsiteX93" fmla="*/ 2004060 w 3018472"/>
                  <a:gd name="connsiteY93" fmla="*/ 3360420 h 3680460"/>
                  <a:gd name="connsiteX94" fmla="*/ 2042160 w 3018472"/>
                  <a:gd name="connsiteY94" fmla="*/ 3352800 h 3680460"/>
                  <a:gd name="connsiteX95" fmla="*/ 2080260 w 3018472"/>
                  <a:gd name="connsiteY95" fmla="*/ 3337560 h 3680460"/>
                  <a:gd name="connsiteX96" fmla="*/ 2156460 w 3018472"/>
                  <a:gd name="connsiteY96" fmla="*/ 3299460 h 3680460"/>
                  <a:gd name="connsiteX97" fmla="*/ 2179320 w 3018472"/>
                  <a:gd name="connsiteY97" fmla="*/ 3284220 h 3680460"/>
                  <a:gd name="connsiteX98" fmla="*/ 2209800 w 3018472"/>
                  <a:gd name="connsiteY98" fmla="*/ 3276600 h 3680460"/>
                  <a:gd name="connsiteX99" fmla="*/ 2263140 w 3018472"/>
                  <a:gd name="connsiteY99" fmla="*/ 3230880 h 3680460"/>
                  <a:gd name="connsiteX100" fmla="*/ 2346960 w 3018472"/>
                  <a:gd name="connsiteY100" fmla="*/ 3154680 h 3680460"/>
                  <a:gd name="connsiteX101" fmla="*/ 2400300 w 3018472"/>
                  <a:gd name="connsiteY101" fmla="*/ 3070860 h 3680460"/>
                  <a:gd name="connsiteX102" fmla="*/ 2415540 w 3018472"/>
                  <a:gd name="connsiteY102" fmla="*/ 3048000 h 3680460"/>
                  <a:gd name="connsiteX103" fmla="*/ 2446020 w 3018472"/>
                  <a:gd name="connsiteY103" fmla="*/ 3032760 h 3680460"/>
                  <a:gd name="connsiteX104" fmla="*/ 2468880 w 3018472"/>
                  <a:gd name="connsiteY104" fmla="*/ 3009900 h 3680460"/>
                  <a:gd name="connsiteX105" fmla="*/ 2537460 w 3018472"/>
                  <a:gd name="connsiteY105" fmla="*/ 2926080 h 3680460"/>
                  <a:gd name="connsiteX106" fmla="*/ 2575560 w 3018472"/>
                  <a:gd name="connsiteY106" fmla="*/ 2880360 h 3680460"/>
                  <a:gd name="connsiteX107" fmla="*/ 2628900 w 3018472"/>
                  <a:gd name="connsiteY107" fmla="*/ 2811780 h 3680460"/>
                  <a:gd name="connsiteX108" fmla="*/ 2644140 w 3018472"/>
                  <a:gd name="connsiteY108" fmla="*/ 2773680 h 3680460"/>
                  <a:gd name="connsiteX109" fmla="*/ 2674620 w 3018472"/>
                  <a:gd name="connsiteY109" fmla="*/ 2727960 h 3680460"/>
                  <a:gd name="connsiteX110" fmla="*/ 2689860 w 3018472"/>
                  <a:gd name="connsiteY110" fmla="*/ 2705100 h 3680460"/>
                  <a:gd name="connsiteX111" fmla="*/ 2705100 w 3018472"/>
                  <a:gd name="connsiteY111" fmla="*/ 2667000 h 3680460"/>
                  <a:gd name="connsiteX112" fmla="*/ 2727960 w 3018472"/>
                  <a:gd name="connsiteY112" fmla="*/ 2621280 h 3680460"/>
                  <a:gd name="connsiteX113" fmla="*/ 2735580 w 3018472"/>
                  <a:gd name="connsiteY113" fmla="*/ 2590800 h 3680460"/>
                  <a:gd name="connsiteX114" fmla="*/ 2758440 w 3018472"/>
                  <a:gd name="connsiteY114" fmla="*/ 2545080 h 3680460"/>
                  <a:gd name="connsiteX115" fmla="*/ 2788920 w 3018472"/>
                  <a:gd name="connsiteY115" fmla="*/ 2484120 h 3680460"/>
                  <a:gd name="connsiteX116" fmla="*/ 2811780 w 3018472"/>
                  <a:gd name="connsiteY116" fmla="*/ 2407920 h 3680460"/>
                  <a:gd name="connsiteX117" fmla="*/ 2842260 w 3018472"/>
                  <a:gd name="connsiteY117" fmla="*/ 2324100 h 3680460"/>
                  <a:gd name="connsiteX118" fmla="*/ 2857500 w 3018472"/>
                  <a:gd name="connsiteY118" fmla="*/ 2247900 h 3680460"/>
                  <a:gd name="connsiteX119" fmla="*/ 2872740 w 3018472"/>
                  <a:gd name="connsiteY119" fmla="*/ 2194560 h 3680460"/>
                  <a:gd name="connsiteX120" fmla="*/ 2887980 w 3018472"/>
                  <a:gd name="connsiteY120" fmla="*/ 2148840 h 3680460"/>
                  <a:gd name="connsiteX121" fmla="*/ 2910840 w 3018472"/>
                  <a:gd name="connsiteY121" fmla="*/ 2087880 h 3680460"/>
                  <a:gd name="connsiteX122" fmla="*/ 2918460 w 3018472"/>
                  <a:gd name="connsiteY122" fmla="*/ 2049780 h 3680460"/>
                  <a:gd name="connsiteX123" fmla="*/ 2933700 w 3018472"/>
                  <a:gd name="connsiteY123" fmla="*/ 1844040 h 3680460"/>
                  <a:gd name="connsiteX124" fmla="*/ 2918460 w 3018472"/>
                  <a:gd name="connsiteY124" fmla="*/ 1470660 h 3680460"/>
                  <a:gd name="connsiteX125" fmla="*/ 2895600 w 3018472"/>
                  <a:gd name="connsiteY125" fmla="*/ 1371600 h 3680460"/>
                  <a:gd name="connsiteX126" fmla="*/ 2880360 w 3018472"/>
                  <a:gd name="connsiteY126" fmla="*/ 1341120 h 3680460"/>
                  <a:gd name="connsiteX127" fmla="*/ 2857500 w 3018472"/>
                  <a:gd name="connsiteY127" fmla="*/ 1272540 h 3680460"/>
                  <a:gd name="connsiteX128" fmla="*/ 2849880 w 3018472"/>
                  <a:gd name="connsiteY128" fmla="*/ 1234440 h 3680460"/>
                  <a:gd name="connsiteX129" fmla="*/ 2827020 w 3018472"/>
                  <a:gd name="connsiteY129" fmla="*/ 1196340 h 3680460"/>
                  <a:gd name="connsiteX130" fmla="*/ 2811780 w 3018472"/>
                  <a:gd name="connsiteY130" fmla="*/ 1165860 h 3680460"/>
                  <a:gd name="connsiteX131" fmla="*/ 2781300 w 3018472"/>
                  <a:gd name="connsiteY131" fmla="*/ 1127760 h 3680460"/>
                  <a:gd name="connsiteX132" fmla="*/ 2766060 w 3018472"/>
                  <a:gd name="connsiteY132" fmla="*/ 1089660 h 3680460"/>
                  <a:gd name="connsiteX133" fmla="*/ 2735580 w 3018472"/>
                  <a:gd name="connsiteY133" fmla="*/ 1043940 h 3680460"/>
                  <a:gd name="connsiteX134" fmla="*/ 2727960 w 3018472"/>
                  <a:gd name="connsiteY134" fmla="*/ 1021080 h 3680460"/>
                  <a:gd name="connsiteX135" fmla="*/ 2682240 w 3018472"/>
                  <a:gd name="connsiteY135" fmla="*/ 937260 h 3680460"/>
                  <a:gd name="connsiteX136" fmla="*/ 2659380 w 3018472"/>
                  <a:gd name="connsiteY136" fmla="*/ 876300 h 3680460"/>
                  <a:gd name="connsiteX137" fmla="*/ 2644140 w 3018472"/>
                  <a:gd name="connsiteY137" fmla="*/ 845820 h 3680460"/>
                  <a:gd name="connsiteX138" fmla="*/ 2636520 w 3018472"/>
                  <a:gd name="connsiteY138" fmla="*/ 822960 h 3680460"/>
                  <a:gd name="connsiteX139" fmla="*/ 2621280 w 3018472"/>
                  <a:gd name="connsiteY139" fmla="*/ 800100 h 3680460"/>
                  <a:gd name="connsiteX140" fmla="*/ 2598420 w 3018472"/>
                  <a:gd name="connsiteY140" fmla="*/ 739140 h 3680460"/>
                  <a:gd name="connsiteX141" fmla="*/ 2458403 w 3018472"/>
                  <a:gd name="connsiteY141" fmla="*/ 621983 h 3680460"/>
                  <a:gd name="connsiteX142" fmla="*/ 2301240 w 3018472"/>
                  <a:gd name="connsiteY142" fmla="*/ 458152 h 3680460"/>
                  <a:gd name="connsiteX143" fmla="*/ 2237423 w 3018472"/>
                  <a:gd name="connsiteY143" fmla="*/ 406717 h 3680460"/>
                  <a:gd name="connsiteX144" fmla="*/ 2103120 w 3018472"/>
                  <a:gd name="connsiteY144" fmla="*/ 312420 h 3680460"/>
                  <a:gd name="connsiteX145" fmla="*/ 2042160 w 3018472"/>
                  <a:gd name="connsiteY145" fmla="*/ 266700 h 3680460"/>
                  <a:gd name="connsiteX146" fmla="*/ 2004060 w 3018472"/>
                  <a:gd name="connsiteY146" fmla="*/ 251460 h 3680460"/>
                  <a:gd name="connsiteX147" fmla="*/ 1958340 w 3018472"/>
                  <a:gd name="connsiteY147" fmla="*/ 220980 h 3680460"/>
                  <a:gd name="connsiteX148" fmla="*/ 1897380 w 3018472"/>
                  <a:gd name="connsiteY14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505075 w 3018472"/>
                  <a:gd name="connsiteY40" fmla="*/ 3084195 h 3680460"/>
                  <a:gd name="connsiteX41" fmla="*/ 2377440 w 3018472"/>
                  <a:gd name="connsiteY41" fmla="*/ 3223260 h 3680460"/>
                  <a:gd name="connsiteX42" fmla="*/ 2293620 w 3018472"/>
                  <a:gd name="connsiteY42" fmla="*/ 3284220 h 3680460"/>
                  <a:gd name="connsiteX43" fmla="*/ 2240280 w 3018472"/>
                  <a:gd name="connsiteY43" fmla="*/ 3314700 h 3680460"/>
                  <a:gd name="connsiteX44" fmla="*/ 2225040 w 3018472"/>
                  <a:gd name="connsiteY44" fmla="*/ 3337560 h 3680460"/>
                  <a:gd name="connsiteX45" fmla="*/ 2141220 w 3018472"/>
                  <a:gd name="connsiteY45" fmla="*/ 3390900 h 3680460"/>
                  <a:gd name="connsiteX46" fmla="*/ 2110740 w 3018472"/>
                  <a:gd name="connsiteY46" fmla="*/ 3413760 h 3680460"/>
                  <a:gd name="connsiteX47" fmla="*/ 2072640 w 3018472"/>
                  <a:gd name="connsiteY47" fmla="*/ 3451860 h 3680460"/>
                  <a:gd name="connsiteX48" fmla="*/ 2019300 w 3018472"/>
                  <a:gd name="connsiteY48" fmla="*/ 3467100 h 3680460"/>
                  <a:gd name="connsiteX49" fmla="*/ 1874520 w 3018472"/>
                  <a:gd name="connsiteY49" fmla="*/ 3512820 h 3680460"/>
                  <a:gd name="connsiteX50" fmla="*/ 1828800 w 3018472"/>
                  <a:gd name="connsiteY50" fmla="*/ 3520440 h 3680460"/>
                  <a:gd name="connsiteX51" fmla="*/ 1722120 w 3018472"/>
                  <a:gd name="connsiteY51" fmla="*/ 3550920 h 3680460"/>
                  <a:gd name="connsiteX52" fmla="*/ 1600200 w 3018472"/>
                  <a:gd name="connsiteY52" fmla="*/ 3589020 h 3680460"/>
                  <a:gd name="connsiteX53" fmla="*/ 1569720 w 3018472"/>
                  <a:gd name="connsiteY53" fmla="*/ 3596640 h 3680460"/>
                  <a:gd name="connsiteX54" fmla="*/ 1546860 w 3018472"/>
                  <a:gd name="connsiteY54" fmla="*/ 3611880 h 3680460"/>
                  <a:gd name="connsiteX55" fmla="*/ 1463040 w 3018472"/>
                  <a:gd name="connsiteY55" fmla="*/ 3627120 h 3680460"/>
                  <a:gd name="connsiteX56" fmla="*/ 1333500 w 3018472"/>
                  <a:gd name="connsiteY56" fmla="*/ 3657600 h 3680460"/>
                  <a:gd name="connsiteX57" fmla="*/ 1203960 w 3018472"/>
                  <a:gd name="connsiteY57" fmla="*/ 3672840 h 3680460"/>
                  <a:gd name="connsiteX58" fmla="*/ 1165860 w 3018472"/>
                  <a:gd name="connsiteY58" fmla="*/ 3680460 h 3680460"/>
                  <a:gd name="connsiteX59" fmla="*/ 449580 w 3018472"/>
                  <a:gd name="connsiteY59" fmla="*/ 3672840 h 3680460"/>
                  <a:gd name="connsiteX60" fmla="*/ 426720 w 3018472"/>
                  <a:gd name="connsiteY60" fmla="*/ 3665220 h 3680460"/>
                  <a:gd name="connsiteX61" fmla="*/ 388620 w 3018472"/>
                  <a:gd name="connsiteY61" fmla="*/ 3657600 h 3680460"/>
                  <a:gd name="connsiteX62" fmla="*/ 335280 w 3018472"/>
                  <a:gd name="connsiteY62" fmla="*/ 3627120 h 3680460"/>
                  <a:gd name="connsiteX63" fmla="*/ 266700 w 3018472"/>
                  <a:gd name="connsiteY63" fmla="*/ 3604260 h 3680460"/>
                  <a:gd name="connsiteX64" fmla="*/ 243840 w 3018472"/>
                  <a:gd name="connsiteY64" fmla="*/ 3589020 h 3680460"/>
                  <a:gd name="connsiteX65" fmla="*/ 160020 w 3018472"/>
                  <a:gd name="connsiteY65" fmla="*/ 3558540 h 3680460"/>
                  <a:gd name="connsiteX66" fmla="*/ 137160 w 3018472"/>
                  <a:gd name="connsiteY66" fmla="*/ 3535680 h 3680460"/>
                  <a:gd name="connsiteX67" fmla="*/ 99060 w 3018472"/>
                  <a:gd name="connsiteY67" fmla="*/ 3520440 h 3680460"/>
                  <a:gd name="connsiteX68" fmla="*/ 83820 w 3018472"/>
                  <a:gd name="connsiteY68" fmla="*/ 3489960 h 3680460"/>
                  <a:gd name="connsiteX69" fmla="*/ 45720 w 3018472"/>
                  <a:gd name="connsiteY69" fmla="*/ 3436620 h 3680460"/>
                  <a:gd name="connsiteX70" fmla="*/ 0 w 3018472"/>
                  <a:gd name="connsiteY70" fmla="*/ 3352800 h 3680460"/>
                  <a:gd name="connsiteX71" fmla="*/ 30480 w 3018472"/>
                  <a:gd name="connsiteY71" fmla="*/ 3345180 h 3680460"/>
                  <a:gd name="connsiteX72" fmla="*/ 137160 w 3018472"/>
                  <a:gd name="connsiteY72" fmla="*/ 3360420 h 3680460"/>
                  <a:gd name="connsiteX73" fmla="*/ 167640 w 3018472"/>
                  <a:gd name="connsiteY73" fmla="*/ 3390900 h 3680460"/>
                  <a:gd name="connsiteX74" fmla="*/ 198120 w 3018472"/>
                  <a:gd name="connsiteY74" fmla="*/ 3406140 h 3680460"/>
                  <a:gd name="connsiteX75" fmla="*/ 350520 w 3018472"/>
                  <a:gd name="connsiteY75" fmla="*/ 3436620 h 3680460"/>
                  <a:gd name="connsiteX76" fmla="*/ 381000 w 3018472"/>
                  <a:gd name="connsiteY76" fmla="*/ 3451860 h 3680460"/>
                  <a:gd name="connsiteX77" fmla="*/ 449580 w 3018472"/>
                  <a:gd name="connsiteY77" fmla="*/ 3489960 h 3680460"/>
                  <a:gd name="connsiteX78" fmla="*/ 495300 w 3018472"/>
                  <a:gd name="connsiteY78" fmla="*/ 3520440 h 3680460"/>
                  <a:gd name="connsiteX79" fmla="*/ 525780 w 3018472"/>
                  <a:gd name="connsiteY79" fmla="*/ 3535680 h 3680460"/>
                  <a:gd name="connsiteX80" fmla="*/ 731520 w 3018472"/>
                  <a:gd name="connsiteY80" fmla="*/ 3558540 h 3680460"/>
                  <a:gd name="connsiteX81" fmla="*/ 1341120 w 3018472"/>
                  <a:gd name="connsiteY81" fmla="*/ 3550920 h 3680460"/>
                  <a:gd name="connsiteX82" fmla="*/ 1440180 w 3018472"/>
                  <a:gd name="connsiteY82" fmla="*/ 3528060 h 3680460"/>
                  <a:gd name="connsiteX83" fmla="*/ 1539240 w 3018472"/>
                  <a:gd name="connsiteY83" fmla="*/ 3520440 h 3680460"/>
                  <a:gd name="connsiteX84" fmla="*/ 1562100 w 3018472"/>
                  <a:gd name="connsiteY84" fmla="*/ 3512820 h 3680460"/>
                  <a:gd name="connsiteX85" fmla="*/ 1630680 w 3018472"/>
                  <a:gd name="connsiteY85" fmla="*/ 3497580 h 3680460"/>
                  <a:gd name="connsiteX86" fmla="*/ 1699260 w 3018472"/>
                  <a:gd name="connsiteY86" fmla="*/ 3474720 h 3680460"/>
                  <a:gd name="connsiteX87" fmla="*/ 1790700 w 3018472"/>
                  <a:gd name="connsiteY87" fmla="*/ 3451860 h 3680460"/>
                  <a:gd name="connsiteX88" fmla="*/ 1821180 w 3018472"/>
                  <a:gd name="connsiteY88" fmla="*/ 3444240 h 3680460"/>
                  <a:gd name="connsiteX89" fmla="*/ 1844040 w 3018472"/>
                  <a:gd name="connsiteY89" fmla="*/ 3429000 h 3680460"/>
                  <a:gd name="connsiteX90" fmla="*/ 1874520 w 3018472"/>
                  <a:gd name="connsiteY90" fmla="*/ 3421380 h 3680460"/>
                  <a:gd name="connsiteX91" fmla="*/ 1927860 w 3018472"/>
                  <a:gd name="connsiteY91" fmla="*/ 3398520 h 3680460"/>
                  <a:gd name="connsiteX92" fmla="*/ 1950720 w 3018472"/>
                  <a:gd name="connsiteY92" fmla="*/ 3390900 h 3680460"/>
                  <a:gd name="connsiteX93" fmla="*/ 2004060 w 3018472"/>
                  <a:gd name="connsiteY93" fmla="*/ 3360420 h 3680460"/>
                  <a:gd name="connsiteX94" fmla="*/ 2042160 w 3018472"/>
                  <a:gd name="connsiteY94" fmla="*/ 3352800 h 3680460"/>
                  <a:gd name="connsiteX95" fmla="*/ 2080260 w 3018472"/>
                  <a:gd name="connsiteY95" fmla="*/ 3337560 h 3680460"/>
                  <a:gd name="connsiteX96" fmla="*/ 2156460 w 3018472"/>
                  <a:gd name="connsiteY96" fmla="*/ 3299460 h 3680460"/>
                  <a:gd name="connsiteX97" fmla="*/ 2179320 w 3018472"/>
                  <a:gd name="connsiteY97" fmla="*/ 3284220 h 3680460"/>
                  <a:gd name="connsiteX98" fmla="*/ 2209800 w 3018472"/>
                  <a:gd name="connsiteY98" fmla="*/ 3276600 h 3680460"/>
                  <a:gd name="connsiteX99" fmla="*/ 2263140 w 3018472"/>
                  <a:gd name="connsiteY99" fmla="*/ 3230880 h 3680460"/>
                  <a:gd name="connsiteX100" fmla="*/ 2346960 w 3018472"/>
                  <a:gd name="connsiteY100" fmla="*/ 3154680 h 3680460"/>
                  <a:gd name="connsiteX101" fmla="*/ 2400300 w 3018472"/>
                  <a:gd name="connsiteY101" fmla="*/ 3070860 h 3680460"/>
                  <a:gd name="connsiteX102" fmla="*/ 2415540 w 3018472"/>
                  <a:gd name="connsiteY102" fmla="*/ 3048000 h 3680460"/>
                  <a:gd name="connsiteX103" fmla="*/ 2446020 w 3018472"/>
                  <a:gd name="connsiteY103" fmla="*/ 3032760 h 3680460"/>
                  <a:gd name="connsiteX104" fmla="*/ 2468880 w 3018472"/>
                  <a:gd name="connsiteY104" fmla="*/ 3009900 h 3680460"/>
                  <a:gd name="connsiteX105" fmla="*/ 2537460 w 3018472"/>
                  <a:gd name="connsiteY105" fmla="*/ 2926080 h 3680460"/>
                  <a:gd name="connsiteX106" fmla="*/ 2575560 w 3018472"/>
                  <a:gd name="connsiteY106" fmla="*/ 2880360 h 3680460"/>
                  <a:gd name="connsiteX107" fmla="*/ 2628900 w 3018472"/>
                  <a:gd name="connsiteY107" fmla="*/ 2811780 h 3680460"/>
                  <a:gd name="connsiteX108" fmla="*/ 2644140 w 3018472"/>
                  <a:gd name="connsiteY108" fmla="*/ 2773680 h 3680460"/>
                  <a:gd name="connsiteX109" fmla="*/ 2674620 w 3018472"/>
                  <a:gd name="connsiteY109" fmla="*/ 2727960 h 3680460"/>
                  <a:gd name="connsiteX110" fmla="*/ 2689860 w 3018472"/>
                  <a:gd name="connsiteY110" fmla="*/ 2705100 h 3680460"/>
                  <a:gd name="connsiteX111" fmla="*/ 2705100 w 3018472"/>
                  <a:gd name="connsiteY111" fmla="*/ 2667000 h 3680460"/>
                  <a:gd name="connsiteX112" fmla="*/ 2727960 w 3018472"/>
                  <a:gd name="connsiteY112" fmla="*/ 2621280 h 3680460"/>
                  <a:gd name="connsiteX113" fmla="*/ 2735580 w 3018472"/>
                  <a:gd name="connsiteY113" fmla="*/ 2590800 h 3680460"/>
                  <a:gd name="connsiteX114" fmla="*/ 2758440 w 3018472"/>
                  <a:gd name="connsiteY114" fmla="*/ 2545080 h 3680460"/>
                  <a:gd name="connsiteX115" fmla="*/ 2788920 w 3018472"/>
                  <a:gd name="connsiteY115" fmla="*/ 2484120 h 3680460"/>
                  <a:gd name="connsiteX116" fmla="*/ 2811780 w 3018472"/>
                  <a:gd name="connsiteY116" fmla="*/ 2407920 h 3680460"/>
                  <a:gd name="connsiteX117" fmla="*/ 2842260 w 3018472"/>
                  <a:gd name="connsiteY117" fmla="*/ 2324100 h 3680460"/>
                  <a:gd name="connsiteX118" fmla="*/ 2857500 w 3018472"/>
                  <a:gd name="connsiteY118" fmla="*/ 2247900 h 3680460"/>
                  <a:gd name="connsiteX119" fmla="*/ 2872740 w 3018472"/>
                  <a:gd name="connsiteY119" fmla="*/ 2194560 h 3680460"/>
                  <a:gd name="connsiteX120" fmla="*/ 2887980 w 3018472"/>
                  <a:gd name="connsiteY120" fmla="*/ 2148840 h 3680460"/>
                  <a:gd name="connsiteX121" fmla="*/ 2910840 w 3018472"/>
                  <a:gd name="connsiteY121" fmla="*/ 2087880 h 3680460"/>
                  <a:gd name="connsiteX122" fmla="*/ 2918460 w 3018472"/>
                  <a:gd name="connsiteY122" fmla="*/ 2049780 h 3680460"/>
                  <a:gd name="connsiteX123" fmla="*/ 2933700 w 3018472"/>
                  <a:gd name="connsiteY123" fmla="*/ 1844040 h 3680460"/>
                  <a:gd name="connsiteX124" fmla="*/ 2918460 w 3018472"/>
                  <a:gd name="connsiteY124" fmla="*/ 1470660 h 3680460"/>
                  <a:gd name="connsiteX125" fmla="*/ 2895600 w 3018472"/>
                  <a:gd name="connsiteY125" fmla="*/ 1371600 h 3680460"/>
                  <a:gd name="connsiteX126" fmla="*/ 2880360 w 3018472"/>
                  <a:gd name="connsiteY126" fmla="*/ 1341120 h 3680460"/>
                  <a:gd name="connsiteX127" fmla="*/ 2857500 w 3018472"/>
                  <a:gd name="connsiteY127" fmla="*/ 1272540 h 3680460"/>
                  <a:gd name="connsiteX128" fmla="*/ 2849880 w 3018472"/>
                  <a:gd name="connsiteY128" fmla="*/ 1234440 h 3680460"/>
                  <a:gd name="connsiteX129" fmla="*/ 2827020 w 3018472"/>
                  <a:gd name="connsiteY129" fmla="*/ 1196340 h 3680460"/>
                  <a:gd name="connsiteX130" fmla="*/ 2811780 w 3018472"/>
                  <a:gd name="connsiteY130" fmla="*/ 1165860 h 3680460"/>
                  <a:gd name="connsiteX131" fmla="*/ 2781300 w 3018472"/>
                  <a:gd name="connsiteY131" fmla="*/ 1127760 h 3680460"/>
                  <a:gd name="connsiteX132" fmla="*/ 2766060 w 3018472"/>
                  <a:gd name="connsiteY132" fmla="*/ 1089660 h 3680460"/>
                  <a:gd name="connsiteX133" fmla="*/ 2735580 w 3018472"/>
                  <a:gd name="connsiteY133" fmla="*/ 1043940 h 3680460"/>
                  <a:gd name="connsiteX134" fmla="*/ 2727960 w 3018472"/>
                  <a:gd name="connsiteY134" fmla="*/ 1021080 h 3680460"/>
                  <a:gd name="connsiteX135" fmla="*/ 2682240 w 3018472"/>
                  <a:gd name="connsiteY135" fmla="*/ 937260 h 3680460"/>
                  <a:gd name="connsiteX136" fmla="*/ 2659380 w 3018472"/>
                  <a:gd name="connsiteY136" fmla="*/ 876300 h 3680460"/>
                  <a:gd name="connsiteX137" fmla="*/ 2644140 w 3018472"/>
                  <a:gd name="connsiteY137" fmla="*/ 845820 h 3680460"/>
                  <a:gd name="connsiteX138" fmla="*/ 2636520 w 3018472"/>
                  <a:gd name="connsiteY138" fmla="*/ 822960 h 3680460"/>
                  <a:gd name="connsiteX139" fmla="*/ 2621280 w 3018472"/>
                  <a:gd name="connsiteY139" fmla="*/ 800100 h 3680460"/>
                  <a:gd name="connsiteX140" fmla="*/ 2598420 w 3018472"/>
                  <a:gd name="connsiteY140" fmla="*/ 739140 h 3680460"/>
                  <a:gd name="connsiteX141" fmla="*/ 2458403 w 3018472"/>
                  <a:gd name="connsiteY141" fmla="*/ 621983 h 3680460"/>
                  <a:gd name="connsiteX142" fmla="*/ 2301240 w 3018472"/>
                  <a:gd name="connsiteY142" fmla="*/ 458152 h 3680460"/>
                  <a:gd name="connsiteX143" fmla="*/ 2237423 w 3018472"/>
                  <a:gd name="connsiteY143" fmla="*/ 406717 h 3680460"/>
                  <a:gd name="connsiteX144" fmla="*/ 2103120 w 3018472"/>
                  <a:gd name="connsiteY144" fmla="*/ 312420 h 3680460"/>
                  <a:gd name="connsiteX145" fmla="*/ 2042160 w 3018472"/>
                  <a:gd name="connsiteY145" fmla="*/ 266700 h 3680460"/>
                  <a:gd name="connsiteX146" fmla="*/ 2004060 w 3018472"/>
                  <a:gd name="connsiteY146" fmla="*/ 251460 h 3680460"/>
                  <a:gd name="connsiteX147" fmla="*/ 1958340 w 3018472"/>
                  <a:gd name="connsiteY147" fmla="*/ 220980 h 3680460"/>
                  <a:gd name="connsiteX148" fmla="*/ 1897380 w 3018472"/>
                  <a:gd name="connsiteY14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1300 w 3018472"/>
                  <a:gd name="connsiteY38" fmla="*/ 2804160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52725 w 3018472"/>
                  <a:gd name="connsiteY38" fmla="*/ 2789872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10828 w 3018472"/>
                  <a:gd name="connsiteY36" fmla="*/ 2656523 h 3680460"/>
                  <a:gd name="connsiteX37" fmla="*/ 2811780 w 3018472"/>
                  <a:gd name="connsiteY37" fmla="*/ 2750820 h 3680460"/>
                  <a:gd name="connsiteX38" fmla="*/ 2752725 w 3018472"/>
                  <a:gd name="connsiteY38" fmla="*/ 2789872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10828 w 3018472"/>
                  <a:gd name="connsiteY36" fmla="*/ 2656523 h 3680460"/>
                  <a:gd name="connsiteX37" fmla="*/ 2752725 w 3018472"/>
                  <a:gd name="connsiteY37" fmla="*/ 2789872 h 3680460"/>
                  <a:gd name="connsiteX38" fmla="*/ 2505075 w 3018472"/>
                  <a:gd name="connsiteY38" fmla="*/ 3084195 h 3680460"/>
                  <a:gd name="connsiteX39" fmla="*/ 2377440 w 3018472"/>
                  <a:gd name="connsiteY39" fmla="*/ 3223260 h 3680460"/>
                  <a:gd name="connsiteX40" fmla="*/ 2293620 w 3018472"/>
                  <a:gd name="connsiteY40" fmla="*/ 3284220 h 3680460"/>
                  <a:gd name="connsiteX41" fmla="*/ 2240280 w 3018472"/>
                  <a:gd name="connsiteY41" fmla="*/ 3314700 h 3680460"/>
                  <a:gd name="connsiteX42" fmla="*/ 2225040 w 3018472"/>
                  <a:gd name="connsiteY42" fmla="*/ 3337560 h 3680460"/>
                  <a:gd name="connsiteX43" fmla="*/ 2141220 w 3018472"/>
                  <a:gd name="connsiteY43" fmla="*/ 3390900 h 3680460"/>
                  <a:gd name="connsiteX44" fmla="*/ 2110740 w 3018472"/>
                  <a:gd name="connsiteY44" fmla="*/ 3413760 h 3680460"/>
                  <a:gd name="connsiteX45" fmla="*/ 2072640 w 3018472"/>
                  <a:gd name="connsiteY45" fmla="*/ 3451860 h 3680460"/>
                  <a:gd name="connsiteX46" fmla="*/ 2019300 w 3018472"/>
                  <a:gd name="connsiteY46" fmla="*/ 3467100 h 3680460"/>
                  <a:gd name="connsiteX47" fmla="*/ 1874520 w 3018472"/>
                  <a:gd name="connsiteY47" fmla="*/ 3512820 h 3680460"/>
                  <a:gd name="connsiteX48" fmla="*/ 1828800 w 3018472"/>
                  <a:gd name="connsiteY48" fmla="*/ 3520440 h 3680460"/>
                  <a:gd name="connsiteX49" fmla="*/ 1722120 w 3018472"/>
                  <a:gd name="connsiteY49" fmla="*/ 3550920 h 3680460"/>
                  <a:gd name="connsiteX50" fmla="*/ 1600200 w 3018472"/>
                  <a:gd name="connsiteY50" fmla="*/ 3589020 h 3680460"/>
                  <a:gd name="connsiteX51" fmla="*/ 1569720 w 3018472"/>
                  <a:gd name="connsiteY51" fmla="*/ 3596640 h 3680460"/>
                  <a:gd name="connsiteX52" fmla="*/ 1546860 w 3018472"/>
                  <a:gd name="connsiteY52" fmla="*/ 3611880 h 3680460"/>
                  <a:gd name="connsiteX53" fmla="*/ 1463040 w 3018472"/>
                  <a:gd name="connsiteY53" fmla="*/ 3627120 h 3680460"/>
                  <a:gd name="connsiteX54" fmla="*/ 1333500 w 3018472"/>
                  <a:gd name="connsiteY54" fmla="*/ 3657600 h 3680460"/>
                  <a:gd name="connsiteX55" fmla="*/ 1203960 w 3018472"/>
                  <a:gd name="connsiteY55" fmla="*/ 3672840 h 3680460"/>
                  <a:gd name="connsiteX56" fmla="*/ 1165860 w 3018472"/>
                  <a:gd name="connsiteY56" fmla="*/ 3680460 h 3680460"/>
                  <a:gd name="connsiteX57" fmla="*/ 449580 w 3018472"/>
                  <a:gd name="connsiteY57" fmla="*/ 3672840 h 3680460"/>
                  <a:gd name="connsiteX58" fmla="*/ 426720 w 3018472"/>
                  <a:gd name="connsiteY58" fmla="*/ 3665220 h 3680460"/>
                  <a:gd name="connsiteX59" fmla="*/ 388620 w 3018472"/>
                  <a:gd name="connsiteY59" fmla="*/ 3657600 h 3680460"/>
                  <a:gd name="connsiteX60" fmla="*/ 335280 w 3018472"/>
                  <a:gd name="connsiteY60" fmla="*/ 3627120 h 3680460"/>
                  <a:gd name="connsiteX61" fmla="*/ 266700 w 3018472"/>
                  <a:gd name="connsiteY61" fmla="*/ 3604260 h 3680460"/>
                  <a:gd name="connsiteX62" fmla="*/ 243840 w 3018472"/>
                  <a:gd name="connsiteY62" fmla="*/ 3589020 h 3680460"/>
                  <a:gd name="connsiteX63" fmla="*/ 160020 w 3018472"/>
                  <a:gd name="connsiteY63" fmla="*/ 3558540 h 3680460"/>
                  <a:gd name="connsiteX64" fmla="*/ 137160 w 3018472"/>
                  <a:gd name="connsiteY64" fmla="*/ 3535680 h 3680460"/>
                  <a:gd name="connsiteX65" fmla="*/ 99060 w 3018472"/>
                  <a:gd name="connsiteY65" fmla="*/ 3520440 h 3680460"/>
                  <a:gd name="connsiteX66" fmla="*/ 83820 w 3018472"/>
                  <a:gd name="connsiteY66" fmla="*/ 3489960 h 3680460"/>
                  <a:gd name="connsiteX67" fmla="*/ 45720 w 3018472"/>
                  <a:gd name="connsiteY67" fmla="*/ 3436620 h 3680460"/>
                  <a:gd name="connsiteX68" fmla="*/ 0 w 3018472"/>
                  <a:gd name="connsiteY68" fmla="*/ 3352800 h 3680460"/>
                  <a:gd name="connsiteX69" fmla="*/ 30480 w 3018472"/>
                  <a:gd name="connsiteY69" fmla="*/ 3345180 h 3680460"/>
                  <a:gd name="connsiteX70" fmla="*/ 137160 w 3018472"/>
                  <a:gd name="connsiteY70" fmla="*/ 3360420 h 3680460"/>
                  <a:gd name="connsiteX71" fmla="*/ 167640 w 3018472"/>
                  <a:gd name="connsiteY71" fmla="*/ 3390900 h 3680460"/>
                  <a:gd name="connsiteX72" fmla="*/ 198120 w 3018472"/>
                  <a:gd name="connsiteY72" fmla="*/ 3406140 h 3680460"/>
                  <a:gd name="connsiteX73" fmla="*/ 350520 w 3018472"/>
                  <a:gd name="connsiteY73" fmla="*/ 3436620 h 3680460"/>
                  <a:gd name="connsiteX74" fmla="*/ 381000 w 3018472"/>
                  <a:gd name="connsiteY74" fmla="*/ 3451860 h 3680460"/>
                  <a:gd name="connsiteX75" fmla="*/ 449580 w 3018472"/>
                  <a:gd name="connsiteY75" fmla="*/ 3489960 h 3680460"/>
                  <a:gd name="connsiteX76" fmla="*/ 495300 w 3018472"/>
                  <a:gd name="connsiteY76" fmla="*/ 3520440 h 3680460"/>
                  <a:gd name="connsiteX77" fmla="*/ 525780 w 3018472"/>
                  <a:gd name="connsiteY77" fmla="*/ 3535680 h 3680460"/>
                  <a:gd name="connsiteX78" fmla="*/ 731520 w 3018472"/>
                  <a:gd name="connsiteY78" fmla="*/ 3558540 h 3680460"/>
                  <a:gd name="connsiteX79" fmla="*/ 1341120 w 3018472"/>
                  <a:gd name="connsiteY79" fmla="*/ 3550920 h 3680460"/>
                  <a:gd name="connsiteX80" fmla="*/ 1440180 w 3018472"/>
                  <a:gd name="connsiteY80" fmla="*/ 3528060 h 3680460"/>
                  <a:gd name="connsiteX81" fmla="*/ 1539240 w 3018472"/>
                  <a:gd name="connsiteY81" fmla="*/ 3520440 h 3680460"/>
                  <a:gd name="connsiteX82" fmla="*/ 1562100 w 3018472"/>
                  <a:gd name="connsiteY82" fmla="*/ 3512820 h 3680460"/>
                  <a:gd name="connsiteX83" fmla="*/ 1630680 w 3018472"/>
                  <a:gd name="connsiteY83" fmla="*/ 3497580 h 3680460"/>
                  <a:gd name="connsiteX84" fmla="*/ 1699260 w 3018472"/>
                  <a:gd name="connsiteY84" fmla="*/ 3474720 h 3680460"/>
                  <a:gd name="connsiteX85" fmla="*/ 1790700 w 3018472"/>
                  <a:gd name="connsiteY85" fmla="*/ 3451860 h 3680460"/>
                  <a:gd name="connsiteX86" fmla="*/ 1821180 w 3018472"/>
                  <a:gd name="connsiteY86" fmla="*/ 3444240 h 3680460"/>
                  <a:gd name="connsiteX87" fmla="*/ 1844040 w 3018472"/>
                  <a:gd name="connsiteY87" fmla="*/ 3429000 h 3680460"/>
                  <a:gd name="connsiteX88" fmla="*/ 1874520 w 3018472"/>
                  <a:gd name="connsiteY88" fmla="*/ 3421380 h 3680460"/>
                  <a:gd name="connsiteX89" fmla="*/ 1927860 w 3018472"/>
                  <a:gd name="connsiteY89" fmla="*/ 3398520 h 3680460"/>
                  <a:gd name="connsiteX90" fmla="*/ 1950720 w 3018472"/>
                  <a:gd name="connsiteY90" fmla="*/ 3390900 h 3680460"/>
                  <a:gd name="connsiteX91" fmla="*/ 2004060 w 3018472"/>
                  <a:gd name="connsiteY91" fmla="*/ 3360420 h 3680460"/>
                  <a:gd name="connsiteX92" fmla="*/ 2042160 w 3018472"/>
                  <a:gd name="connsiteY92" fmla="*/ 3352800 h 3680460"/>
                  <a:gd name="connsiteX93" fmla="*/ 2080260 w 3018472"/>
                  <a:gd name="connsiteY93" fmla="*/ 3337560 h 3680460"/>
                  <a:gd name="connsiteX94" fmla="*/ 2156460 w 3018472"/>
                  <a:gd name="connsiteY94" fmla="*/ 3299460 h 3680460"/>
                  <a:gd name="connsiteX95" fmla="*/ 2179320 w 3018472"/>
                  <a:gd name="connsiteY95" fmla="*/ 3284220 h 3680460"/>
                  <a:gd name="connsiteX96" fmla="*/ 2209800 w 3018472"/>
                  <a:gd name="connsiteY96" fmla="*/ 3276600 h 3680460"/>
                  <a:gd name="connsiteX97" fmla="*/ 2263140 w 3018472"/>
                  <a:gd name="connsiteY97" fmla="*/ 3230880 h 3680460"/>
                  <a:gd name="connsiteX98" fmla="*/ 2346960 w 3018472"/>
                  <a:gd name="connsiteY98" fmla="*/ 3154680 h 3680460"/>
                  <a:gd name="connsiteX99" fmla="*/ 2400300 w 3018472"/>
                  <a:gd name="connsiteY99" fmla="*/ 3070860 h 3680460"/>
                  <a:gd name="connsiteX100" fmla="*/ 2415540 w 3018472"/>
                  <a:gd name="connsiteY100" fmla="*/ 3048000 h 3680460"/>
                  <a:gd name="connsiteX101" fmla="*/ 2446020 w 3018472"/>
                  <a:gd name="connsiteY101" fmla="*/ 3032760 h 3680460"/>
                  <a:gd name="connsiteX102" fmla="*/ 2468880 w 3018472"/>
                  <a:gd name="connsiteY102" fmla="*/ 3009900 h 3680460"/>
                  <a:gd name="connsiteX103" fmla="*/ 2537460 w 3018472"/>
                  <a:gd name="connsiteY103" fmla="*/ 2926080 h 3680460"/>
                  <a:gd name="connsiteX104" fmla="*/ 2575560 w 3018472"/>
                  <a:gd name="connsiteY104" fmla="*/ 2880360 h 3680460"/>
                  <a:gd name="connsiteX105" fmla="*/ 2628900 w 3018472"/>
                  <a:gd name="connsiteY105" fmla="*/ 2811780 h 3680460"/>
                  <a:gd name="connsiteX106" fmla="*/ 2644140 w 3018472"/>
                  <a:gd name="connsiteY106" fmla="*/ 2773680 h 3680460"/>
                  <a:gd name="connsiteX107" fmla="*/ 2674620 w 3018472"/>
                  <a:gd name="connsiteY107" fmla="*/ 2727960 h 3680460"/>
                  <a:gd name="connsiteX108" fmla="*/ 2689860 w 3018472"/>
                  <a:gd name="connsiteY108" fmla="*/ 2705100 h 3680460"/>
                  <a:gd name="connsiteX109" fmla="*/ 2705100 w 3018472"/>
                  <a:gd name="connsiteY109" fmla="*/ 2667000 h 3680460"/>
                  <a:gd name="connsiteX110" fmla="*/ 2727960 w 3018472"/>
                  <a:gd name="connsiteY110" fmla="*/ 2621280 h 3680460"/>
                  <a:gd name="connsiteX111" fmla="*/ 2735580 w 3018472"/>
                  <a:gd name="connsiteY111" fmla="*/ 2590800 h 3680460"/>
                  <a:gd name="connsiteX112" fmla="*/ 2758440 w 3018472"/>
                  <a:gd name="connsiteY112" fmla="*/ 2545080 h 3680460"/>
                  <a:gd name="connsiteX113" fmla="*/ 2788920 w 3018472"/>
                  <a:gd name="connsiteY113" fmla="*/ 2484120 h 3680460"/>
                  <a:gd name="connsiteX114" fmla="*/ 2811780 w 3018472"/>
                  <a:gd name="connsiteY114" fmla="*/ 2407920 h 3680460"/>
                  <a:gd name="connsiteX115" fmla="*/ 2842260 w 3018472"/>
                  <a:gd name="connsiteY115" fmla="*/ 2324100 h 3680460"/>
                  <a:gd name="connsiteX116" fmla="*/ 2857500 w 3018472"/>
                  <a:gd name="connsiteY116" fmla="*/ 2247900 h 3680460"/>
                  <a:gd name="connsiteX117" fmla="*/ 2872740 w 3018472"/>
                  <a:gd name="connsiteY117" fmla="*/ 2194560 h 3680460"/>
                  <a:gd name="connsiteX118" fmla="*/ 2887980 w 3018472"/>
                  <a:gd name="connsiteY118" fmla="*/ 2148840 h 3680460"/>
                  <a:gd name="connsiteX119" fmla="*/ 2910840 w 3018472"/>
                  <a:gd name="connsiteY119" fmla="*/ 2087880 h 3680460"/>
                  <a:gd name="connsiteX120" fmla="*/ 2918460 w 3018472"/>
                  <a:gd name="connsiteY120" fmla="*/ 2049780 h 3680460"/>
                  <a:gd name="connsiteX121" fmla="*/ 2933700 w 3018472"/>
                  <a:gd name="connsiteY121" fmla="*/ 1844040 h 3680460"/>
                  <a:gd name="connsiteX122" fmla="*/ 2918460 w 3018472"/>
                  <a:gd name="connsiteY122" fmla="*/ 1470660 h 3680460"/>
                  <a:gd name="connsiteX123" fmla="*/ 2895600 w 3018472"/>
                  <a:gd name="connsiteY123" fmla="*/ 1371600 h 3680460"/>
                  <a:gd name="connsiteX124" fmla="*/ 2880360 w 3018472"/>
                  <a:gd name="connsiteY124" fmla="*/ 1341120 h 3680460"/>
                  <a:gd name="connsiteX125" fmla="*/ 2857500 w 3018472"/>
                  <a:gd name="connsiteY125" fmla="*/ 1272540 h 3680460"/>
                  <a:gd name="connsiteX126" fmla="*/ 2849880 w 3018472"/>
                  <a:gd name="connsiteY126" fmla="*/ 1234440 h 3680460"/>
                  <a:gd name="connsiteX127" fmla="*/ 2827020 w 3018472"/>
                  <a:gd name="connsiteY127" fmla="*/ 1196340 h 3680460"/>
                  <a:gd name="connsiteX128" fmla="*/ 2811780 w 3018472"/>
                  <a:gd name="connsiteY128" fmla="*/ 1165860 h 3680460"/>
                  <a:gd name="connsiteX129" fmla="*/ 2781300 w 3018472"/>
                  <a:gd name="connsiteY129" fmla="*/ 1127760 h 3680460"/>
                  <a:gd name="connsiteX130" fmla="*/ 2766060 w 3018472"/>
                  <a:gd name="connsiteY130" fmla="*/ 1089660 h 3680460"/>
                  <a:gd name="connsiteX131" fmla="*/ 2735580 w 3018472"/>
                  <a:gd name="connsiteY131" fmla="*/ 1043940 h 3680460"/>
                  <a:gd name="connsiteX132" fmla="*/ 2727960 w 3018472"/>
                  <a:gd name="connsiteY132" fmla="*/ 1021080 h 3680460"/>
                  <a:gd name="connsiteX133" fmla="*/ 2682240 w 3018472"/>
                  <a:gd name="connsiteY133" fmla="*/ 937260 h 3680460"/>
                  <a:gd name="connsiteX134" fmla="*/ 2659380 w 3018472"/>
                  <a:gd name="connsiteY134" fmla="*/ 876300 h 3680460"/>
                  <a:gd name="connsiteX135" fmla="*/ 2644140 w 3018472"/>
                  <a:gd name="connsiteY135" fmla="*/ 845820 h 3680460"/>
                  <a:gd name="connsiteX136" fmla="*/ 2636520 w 3018472"/>
                  <a:gd name="connsiteY136" fmla="*/ 822960 h 3680460"/>
                  <a:gd name="connsiteX137" fmla="*/ 2621280 w 3018472"/>
                  <a:gd name="connsiteY137" fmla="*/ 800100 h 3680460"/>
                  <a:gd name="connsiteX138" fmla="*/ 2598420 w 3018472"/>
                  <a:gd name="connsiteY138" fmla="*/ 739140 h 3680460"/>
                  <a:gd name="connsiteX139" fmla="*/ 2458403 w 3018472"/>
                  <a:gd name="connsiteY139" fmla="*/ 621983 h 3680460"/>
                  <a:gd name="connsiteX140" fmla="*/ 2301240 w 3018472"/>
                  <a:gd name="connsiteY140" fmla="*/ 458152 h 3680460"/>
                  <a:gd name="connsiteX141" fmla="*/ 2237423 w 3018472"/>
                  <a:gd name="connsiteY141" fmla="*/ 406717 h 3680460"/>
                  <a:gd name="connsiteX142" fmla="*/ 2103120 w 3018472"/>
                  <a:gd name="connsiteY142" fmla="*/ 312420 h 3680460"/>
                  <a:gd name="connsiteX143" fmla="*/ 2042160 w 3018472"/>
                  <a:gd name="connsiteY143" fmla="*/ 266700 h 3680460"/>
                  <a:gd name="connsiteX144" fmla="*/ 2004060 w 3018472"/>
                  <a:gd name="connsiteY144" fmla="*/ 251460 h 3680460"/>
                  <a:gd name="connsiteX145" fmla="*/ 1958340 w 3018472"/>
                  <a:gd name="connsiteY145" fmla="*/ 220980 h 3680460"/>
                  <a:gd name="connsiteX146" fmla="*/ 1897380 w 3018472"/>
                  <a:gd name="connsiteY146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7503 w 3018472"/>
                  <a:gd name="connsiteY34" fmla="*/ 2540317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7503 w 3018472"/>
                  <a:gd name="connsiteY34" fmla="*/ 2521267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877503 w 3018472"/>
                  <a:gd name="connsiteY33" fmla="*/ 2521267 h 3680460"/>
                  <a:gd name="connsiteX34" fmla="*/ 2810828 w 3018472"/>
                  <a:gd name="connsiteY34" fmla="*/ 2656523 h 3680460"/>
                  <a:gd name="connsiteX35" fmla="*/ 2752725 w 3018472"/>
                  <a:gd name="connsiteY35" fmla="*/ 2789872 h 3680460"/>
                  <a:gd name="connsiteX36" fmla="*/ 2505075 w 3018472"/>
                  <a:gd name="connsiteY36" fmla="*/ 3084195 h 3680460"/>
                  <a:gd name="connsiteX37" fmla="*/ 2377440 w 3018472"/>
                  <a:gd name="connsiteY37" fmla="*/ 3223260 h 3680460"/>
                  <a:gd name="connsiteX38" fmla="*/ 2293620 w 3018472"/>
                  <a:gd name="connsiteY38" fmla="*/ 3284220 h 3680460"/>
                  <a:gd name="connsiteX39" fmla="*/ 2240280 w 3018472"/>
                  <a:gd name="connsiteY39" fmla="*/ 3314700 h 3680460"/>
                  <a:gd name="connsiteX40" fmla="*/ 2225040 w 3018472"/>
                  <a:gd name="connsiteY40" fmla="*/ 3337560 h 3680460"/>
                  <a:gd name="connsiteX41" fmla="*/ 2141220 w 3018472"/>
                  <a:gd name="connsiteY41" fmla="*/ 3390900 h 3680460"/>
                  <a:gd name="connsiteX42" fmla="*/ 2110740 w 3018472"/>
                  <a:gd name="connsiteY42" fmla="*/ 3413760 h 3680460"/>
                  <a:gd name="connsiteX43" fmla="*/ 2072640 w 3018472"/>
                  <a:gd name="connsiteY43" fmla="*/ 3451860 h 3680460"/>
                  <a:gd name="connsiteX44" fmla="*/ 2019300 w 3018472"/>
                  <a:gd name="connsiteY44" fmla="*/ 3467100 h 3680460"/>
                  <a:gd name="connsiteX45" fmla="*/ 1874520 w 3018472"/>
                  <a:gd name="connsiteY45" fmla="*/ 3512820 h 3680460"/>
                  <a:gd name="connsiteX46" fmla="*/ 1828800 w 3018472"/>
                  <a:gd name="connsiteY46" fmla="*/ 3520440 h 3680460"/>
                  <a:gd name="connsiteX47" fmla="*/ 1722120 w 3018472"/>
                  <a:gd name="connsiteY47" fmla="*/ 3550920 h 3680460"/>
                  <a:gd name="connsiteX48" fmla="*/ 1600200 w 3018472"/>
                  <a:gd name="connsiteY48" fmla="*/ 3589020 h 3680460"/>
                  <a:gd name="connsiteX49" fmla="*/ 1569720 w 3018472"/>
                  <a:gd name="connsiteY49" fmla="*/ 3596640 h 3680460"/>
                  <a:gd name="connsiteX50" fmla="*/ 1546860 w 3018472"/>
                  <a:gd name="connsiteY50" fmla="*/ 3611880 h 3680460"/>
                  <a:gd name="connsiteX51" fmla="*/ 1463040 w 3018472"/>
                  <a:gd name="connsiteY51" fmla="*/ 3627120 h 3680460"/>
                  <a:gd name="connsiteX52" fmla="*/ 1333500 w 3018472"/>
                  <a:gd name="connsiteY52" fmla="*/ 3657600 h 3680460"/>
                  <a:gd name="connsiteX53" fmla="*/ 1203960 w 3018472"/>
                  <a:gd name="connsiteY53" fmla="*/ 3672840 h 3680460"/>
                  <a:gd name="connsiteX54" fmla="*/ 1165860 w 3018472"/>
                  <a:gd name="connsiteY54" fmla="*/ 3680460 h 3680460"/>
                  <a:gd name="connsiteX55" fmla="*/ 449580 w 3018472"/>
                  <a:gd name="connsiteY55" fmla="*/ 3672840 h 3680460"/>
                  <a:gd name="connsiteX56" fmla="*/ 426720 w 3018472"/>
                  <a:gd name="connsiteY56" fmla="*/ 3665220 h 3680460"/>
                  <a:gd name="connsiteX57" fmla="*/ 388620 w 3018472"/>
                  <a:gd name="connsiteY57" fmla="*/ 3657600 h 3680460"/>
                  <a:gd name="connsiteX58" fmla="*/ 335280 w 3018472"/>
                  <a:gd name="connsiteY58" fmla="*/ 3627120 h 3680460"/>
                  <a:gd name="connsiteX59" fmla="*/ 266700 w 3018472"/>
                  <a:gd name="connsiteY59" fmla="*/ 3604260 h 3680460"/>
                  <a:gd name="connsiteX60" fmla="*/ 243840 w 3018472"/>
                  <a:gd name="connsiteY60" fmla="*/ 3589020 h 3680460"/>
                  <a:gd name="connsiteX61" fmla="*/ 160020 w 3018472"/>
                  <a:gd name="connsiteY61" fmla="*/ 3558540 h 3680460"/>
                  <a:gd name="connsiteX62" fmla="*/ 137160 w 3018472"/>
                  <a:gd name="connsiteY62" fmla="*/ 3535680 h 3680460"/>
                  <a:gd name="connsiteX63" fmla="*/ 99060 w 3018472"/>
                  <a:gd name="connsiteY63" fmla="*/ 3520440 h 3680460"/>
                  <a:gd name="connsiteX64" fmla="*/ 83820 w 3018472"/>
                  <a:gd name="connsiteY64" fmla="*/ 3489960 h 3680460"/>
                  <a:gd name="connsiteX65" fmla="*/ 45720 w 3018472"/>
                  <a:gd name="connsiteY65" fmla="*/ 3436620 h 3680460"/>
                  <a:gd name="connsiteX66" fmla="*/ 0 w 3018472"/>
                  <a:gd name="connsiteY66" fmla="*/ 3352800 h 3680460"/>
                  <a:gd name="connsiteX67" fmla="*/ 30480 w 3018472"/>
                  <a:gd name="connsiteY67" fmla="*/ 3345180 h 3680460"/>
                  <a:gd name="connsiteX68" fmla="*/ 137160 w 3018472"/>
                  <a:gd name="connsiteY68" fmla="*/ 3360420 h 3680460"/>
                  <a:gd name="connsiteX69" fmla="*/ 167640 w 3018472"/>
                  <a:gd name="connsiteY69" fmla="*/ 3390900 h 3680460"/>
                  <a:gd name="connsiteX70" fmla="*/ 198120 w 3018472"/>
                  <a:gd name="connsiteY70" fmla="*/ 3406140 h 3680460"/>
                  <a:gd name="connsiteX71" fmla="*/ 350520 w 3018472"/>
                  <a:gd name="connsiteY71" fmla="*/ 3436620 h 3680460"/>
                  <a:gd name="connsiteX72" fmla="*/ 381000 w 3018472"/>
                  <a:gd name="connsiteY72" fmla="*/ 3451860 h 3680460"/>
                  <a:gd name="connsiteX73" fmla="*/ 449580 w 3018472"/>
                  <a:gd name="connsiteY73" fmla="*/ 3489960 h 3680460"/>
                  <a:gd name="connsiteX74" fmla="*/ 495300 w 3018472"/>
                  <a:gd name="connsiteY74" fmla="*/ 3520440 h 3680460"/>
                  <a:gd name="connsiteX75" fmla="*/ 525780 w 3018472"/>
                  <a:gd name="connsiteY75" fmla="*/ 3535680 h 3680460"/>
                  <a:gd name="connsiteX76" fmla="*/ 731520 w 3018472"/>
                  <a:gd name="connsiteY76" fmla="*/ 3558540 h 3680460"/>
                  <a:gd name="connsiteX77" fmla="*/ 1341120 w 3018472"/>
                  <a:gd name="connsiteY77" fmla="*/ 3550920 h 3680460"/>
                  <a:gd name="connsiteX78" fmla="*/ 1440180 w 3018472"/>
                  <a:gd name="connsiteY78" fmla="*/ 3528060 h 3680460"/>
                  <a:gd name="connsiteX79" fmla="*/ 1539240 w 3018472"/>
                  <a:gd name="connsiteY79" fmla="*/ 3520440 h 3680460"/>
                  <a:gd name="connsiteX80" fmla="*/ 1562100 w 3018472"/>
                  <a:gd name="connsiteY80" fmla="*/ 3512820 h 3680460"/>
                  <a:gd name="connsiteX81" fmla="*/ 1630680 w 3018472"/>
                  <a:gd name="connsiteY81" fmla="*/ 3497580 h 3680460"/>
                  <a:gd name="connsiteX82" fmla="*/ 1699260 w 3018472"/>
                  <a:gd name="connsiteY82" fmla="*/ 3474720 h 3680460"/>
                  <a:gd name="connsiteX83" fmla="*/ 1790700 w 3018472"/>
                  <a:gd name="connsiteY83" fmla="*/ 3451860 h 3680460"/>
                  <a:gd name="connsiteX84" fmla="*/ 1821180 w 3018472"/>
                  <a:gd name="connsiteY84" fmla="*/ 3444240 h 3680460"/>
                  <a:gd name="connsiteX85" fmla="*/ 1844040 w 3018472"/>
                  <a:gd name="connsiteY85" fmla="*/ 3429000 h 3680460"/>
                  <a:gd name="connsiteX86" fmla="*/ 1874520 w 3018472"/>
                  <a:gd name="connsiteY86" fmla="*/ 3421380 h 3680460"/>
                  <a:gd name="connsiteX87" fmla="*/ 1927860 w 3018472"/>
                  <a:gd name="connsiteY87" fmla="*/ 3398520 h 3680460"/>
                  <a:gd name="connsiteX88" fmla="*/ 1950720 w 3018472"/>
                  <a:gd name="connsiteY88" fmla="*/ 3390900 h 3680460"/>
                  <a:gd name="connsiteX89" fmla="*/ 2004060 w 3018472"/>
                  <a:gd name="connsiteY89" fmla="*/ 3360420 h 3680460"/>
                  <a:gd name="connsiteX90" fmla="*/ 2042160 w 3018472"/>
                  <a:gd name="connsiteY90" fmla="*/ 3352800 h 3680460"/>
                  <a:gd name="connsiteX91" fmla="*/ 2080260 w 3018472"/>
                  <a:gd name="connsiteY91" fmla="*/ 3337560 h 3680460"/>
                  <a:gd name="connsiteX92" fmla="*/ 2156460 w 3018472"/>
                  <a:gd name="connsiteY92" fmla="*/ 3299460 h 3680460"/>
                  <a:gd name="connsiteX93" fmla="*/ 2179320 w 3018472"/>
                  <a:gd name="connsiteY93" fmla="*/ 3284220 h 3680460"/>
                  <a:gd name="connsiteX94" fmla="*/ 2209800 w 3018472"/>
                  <a:gd name="connsiteY94" fmla="*/ 3276600 h 3680460"/>
                  <a:gd name="connsiteX95" fmla="*/ 2263140 w 3018472"/>
                  <a:gd name="connsiteY95" fmla="*/ 3230880 h 3680460"/>
                  <a:gd name="connsiteX96" fmla="*/ 2346960 w 3018472"/>
                  <a:gd name="connsiteY96" fmla="*/ 3154680 h 3680460"/>
                  <a:gd name="connsiteX97" fmla="*/ 2400300 w 3018472"/>
                  <a:gd name="connsiteY97" fmla="*/ 3070860 h 3680460"/>
                  <a:gd name="connsiteX98" fmla="*/ 2415540 w 3018472"/>
                  <a:gd name="connsiteY98" fmla="*/ 3048000 h 3680460"/>
                  <a:gd name="connsiteX99" fmla="*/ 2446020 w 3018472"/>
                  <a:gd name="connsiteY99" fmla="*/ 3032760 h 3680460"/>
                  <a:gd name="connsiteX100" fmla="*/ 2468880 w 3018472"/>
                  <a:gd name="connsiteY100" fmla="*/ 3009900 h 3680460"/>
                  <a:gd name="connsiteX101" fmla="*/ 2537460 w 3018472"/>
                  <a:gd name="connsiteY101" fmla="*/ 2926080 h 3680460"/>
                  <a:gd name="connsiteX102" fmla="*/ 2575560 w 3018472"/>
                  <a:gd name="connsiteY102" fmla="*/ 2880360 h 3680460"/>
                  <a:gd name="connsiteX103" fmla="*/ 2628900 w 3018472"/>
                  <a:gd name="connsiteY103" fmla="*/ 2811780 h 3680460"/>
                  <a:gd name="connsiteX104" fmla="*/ 2644140 w 3018472"/>
                  <a:gd name="connsiteY104" fmla="*/ 2773680 h 3680460"/>
                  <a:gd name="connsiteX105" fmla="*/ 2674620 w 3018472"/>
                  <a:gd name="connsiteY105" fmla="*/ 2727960 h 3680460"/>
                  <a:gd name="connsiteX106" fmla="*/ 2689860 w 3018472"/>
                  <a:gd name="connsiteY106" fmla="*/ 2705100 h 3680460"/>
                  <a:gd name="connsiteX107" fmla="*/ 2705100 w 3018472"/>
                  <a:gd name="connsiteY107" fmla="*/ 2667000 h 3680460"/>
                  <a:gd name="connsiteX108" fmla="*/ 2727960 w 3018472"/>
                  <a:gd name="connsiteY108" fmla="*/ 2621280 h 3680460"/>
                  <a:gd name="connsiteX109" fmla="*/ 2735580 w 3018472"/>
                  <a:gd name="connsiteY109" fmla="*/ 2590800 h 3680460"/>
                  <a:gd name="connsiteX110" fmla="*/ 2758440 w 3018472"/>
                  <a:gd name="connsiteY110" fmla="*/ 2545080 h 3680460"/>
                  <a:gd name="connsiteX111" fmla="*/ 2788920 w 3018472"/>
                  <a:gd name="connsiteY111" fmla="*/ 2484120 h 3680460"/>
                  <a:gd name="connsiteX112" fmla="*/ 2811780 w 3018472"/>
                  <a:gd name="connsiteY112" fmla="*/ 2407920 h 3680460"/>
                  <a:gd name="connsiteX113" fmla="*/ 2842260 w 3018472"/>
                  <a:gd name="connsiteY113" fmla="*/ 2324100 h 3680460"/>
                  <a:gd name="connsiteX114" fmla="*/ 2857500 w 3018472"/>
                  <a:gd name="connsiteY114" fmla="*/ 2247900 h 3680460"/>
                  <a:gd name="connsiteX115" fmla="*/ 2872740 w 3018472"/>
                  <a:gd name="connsiteY115" fmla="*/ 2194560 h 3680460"/>
                  <a:gd name="connsiteX116" fmla="*/ 2887980 w 3018472"/>
                  <a:gd name="connsiteY116" fmla="*/ 2148840 h 3680460"/>
                  <a:gd name="connsiteX117" fmla="*/ 2910840 w 3018472"/>
                  <a:gd name="connsiteY117" fmla="*/ 2087880 h 3680460"/>
                  <a:gd name="connsiteX118" fmla="*/ 2918460 w 3018472"/>
                  <a:gd name="connsiteY118" fmla="*/ 2049780 h 3680460"/>
                  <a:gd name="connsiteX119" fmla="*/ 2933700 w 3018472"/>
                  <a:gd name="connsiteY119" fmla="*/ 1844040 h 3680460"/>
                  <a:gd name="connsiteX120" fmla="*/ 2918460 w 3018472"/>
                  <a:gd name="connsiteY120" fmla="*/ 1470660 h 3680460"/>
                  <a:gd name="connsiteX121" fmla="*/ 2895600 w 3018472"/>
                  <a:gd name="connsiteY121" fmla="*/ 1371600 h 3680460"/>
                  <a:gd name="connsiteX122" fmla="*/ 2880360 w 3018472"/>
                  <a:gd name="connsiteY122" fmla="*/ 1341120 h 3680460"/>
                  <a:gd name="connsiteX123" fmla="*/ 2857500 w 3018472"/>
                  <a:gd name="connsiteY123" fmla="*/ 1272540 h 3680460"/>
                  <a:gd name="connsiteX124" fmla="*/ 2849880 w 3018472"/>
                  <a:gd name="connsiteY124" fmla="*/ 1234440 h 3680460"/>
                  <a:gd name="connsiteX125" fmla="*/ 2827020 w 3018472"/>
                  <a:gd name="connsiteY125" fmla="*/ 1196340 h 3680460"/>
                  <a:gd name="connsiteX126" fmla="*/ 2811780 w 3018472"/>
                  <a:gd name="connsiteY126" fmla="*/ 1165860 h 3680460"/>
                  <a:gd name="connsiteX127" fmla="*/ 2781300 w 3018472"/>
                  <a:gd name="connsiteY127" fmla="*/ 1127760 h 3680460"/>
                  <a:gd name="connsiteX128" fmla="*/ 2766060 w 3018472"/>
                  <a:gd name="connsiteY128" fmla="*/ 1089660 h 3680460"/>
                  <a:gd name="connsiteX129" fmla="*/ 2735580 w 3018472"/>
                  <a:gd name="connsiteY129" fmla="*/ 1043940 h 3680460"/>
                  <a:gd name="connsiteX130" fmla="*/ 2727960 w 3018472"/>
                  <a:gd name="connsiteY130" fmla="*/ 1021080 h 3680460"/>
                  <a:gd name="connsiteX131" fmla="*/ 2682240 w 3018472"/>
                  <a:gd name="connsiteY131" fmla="*/ 937260 h 3680460"/>
                  <a:gd name="connsiteX132" fmla="*/ 2659380 w 3018472"/>
                  <a:gd name="connsiteY132" fmla="*/ 876300 h 3680460"/>
                  <a:gd name="connsiteX133" fmla="*/ 2644140 w 3018472"/>
                  <a:gd name="connsiteY133" fmla="*/ 845820 h 3680460"/>
                  <a:gd name="connsiteX134" fmla="*/ 2636520 w 3018472"/>
                  <a:gd name="connsiteY134" fmla="*/ 822960 h 3680460"/>
                  <a:gd name="connsiteX135" fmla="*/ 2621280 w 3018472"/>
                  <a:gd name="connsiteY135" fmla="*/ 800100 h 3680460"/>
                  <a:gd name="connsiteX136" fmla="*/ 2598420 w 3018472"/>
                  <a:gd name="connsiteY136" fmla="*/ 739140 h 3680460"/>
                  <a:gd name="connsiteX137" fmla="*/ 2458403 w 3018472"/>
                  <a:gd name="connsiteY137" fmla="*/ 621983 h 3680460"/>
                  <a:gd name="connsiteX138" fmla="*/ 2301240 w 3018472"/>
                  <a:gd name="connsiteY138" fmla="*/ 458152 h 3680460"/>
                  <a:gd name="connsiteX139" fmla="*/ 2237423 w 3018472"/>
                  <a:gd name="connsiteY139" fmla="*/ 406717 h 3680460"/>
                  <a:gd name="connsiteX140" fmla="*/ 2103120 w 3018472"/>
                  <a:gd name="connsiteY140" fmla="*/ 312420 h 3680460"/>
                  <a:gd name="connsiteX141" fmla="*/ 2042160 w 3018472"/>
                  <a:gd name="connsiteY141" fmla="*/ 266700 h 3680460"/>
                  <a:gd name="connsiteX142" fmla="*/ 2004060 w 3018472"/>
                  <a:gd name="connsiteY142" fmla="*/ 251460 h 3680460"/>
                  <a:gd name="connsiteX143" fmla="*/ 1958340 w 3018472"/>
                  <a:gd name="connsiteY143" fmla="*/ 220980 h 3680460"/>
                  <a:gd name="connsiteX144" fmla="*/ 1897380 w 3018472"/>
                  <a:gd name="connsiteY144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877503 w 3018472"/>
                  <a:gd name="connsiteY33" fmla="*/ 2521267 h 3680460"/>
                  <a:gd name="connsiteX34" fmla="*/ 2810828 w 3018472"/>
                  <a:gd name="connsiteY34" fmla="*/ 2656523 h 3680460"/>
                  <a:gd name="connsiteX35" fmla="*/ 2728912 w 3018472"/>
                  <a:gd name="connsiteY35" fmla="*/ 2818447 h 3680460"/>
                  <a:gd name="connsiteX36" fmla="*/ 2505075 w 3018472"/>
                  <a:gd name="connsiteY36" fmla="*/ 3084195 h 3680460"/>
                  <a:gd name="connsiteX37" fmla="*/ 2377440 w 3018472"/>
                  <a:gd name="connsiteY37" fmla="*/ 3223260 h 3680460"/>
                  <a:gd name="connsiteX38" fmla="*/ 2293620 w 3018472"/>
                  <a:gd name="connsiteY38" fmla="*/ 3284220 h 3680460"/>
                  <a:gd name="connsiteX39" fmla="*/ 2240280 w 3018472"/>
                  <a:gd name="connsiteY39" fmla="*/ 3314700 h 3680460"/>
                  <a:gd name="connsiteX40" fmla="*/ 2225040 w 3018472"/>
                  <a:gd name="connsiteY40" fmla="*/ 3337560 h 3680460"/>
                  <a:gd name="connsiteX41" fmla="*/ 2141220 w 3018472"/>
                  <a:gd name="connsiteY41" fmla="*/ 3390900 h 3680460"/>
                  <a:gd name="connsiteX42" fmla="*/ 2110740 w 3018472"/>
                  <a:gd name="connsiteY42" fmla="*/ 3413760 h 3680460"/>
                  <a:gd name="connsiteX43" fmla="*/ 2072640 w 3018472"/>
                  <a:gd name="connsiteY43" fmla="*/ 3451860 h 3680460"/>
                  <a:gd name="connsiteX44" fmla="*/ 2019300 w 3018472"/>
                  <a:gd name="connsiteY44" fmla="*/ 3467100 h 3680460"/>
                  <a:gd name="connsiteX45" fmla="*/ 1874520 w 3018472"/>
                  <a:gd name="connsiteY45" fmla="*/ 3512820 h 3680460"/>
                  <a:gd name="connsiteX46" fmla="*/ 1828800 w 3018472"/>
                  <a:gd name="connsiteY46" fmla="*/ 3520440 h 3680460"/>
                  <a:gd name="connsiteX47" fmla="*/ 1722120 w 3018472"/>
                  <a:gd name="connsiteY47" fmla="*/ 3550920 h 3680460"/>
                  <a:gd name="connsiteX48" fmla="*/ 1600200 w 3018472"/>
                  <a:gd name="connsiteY48" fmla="*/ 3589020 h 3680460"/>
                  <a:gd name="connsiteX49" fmla="*/ 1569720 w 3018472"/>
                  <a:gd name="connsiteY49" fmla="*/ 3596640 h 3680460"/>
                  <a:gd name="connsiteX50" fmla="*/ 1546860 w 3018472"/>
                  <a:gd name="connsiteY50" fmla="*/ 3611880 h 3680460"/>
                  <a:gd name="connsiteX51" fmla="*/ 1463040 w 3018472"/>
                  <a:gd name="connsiteY51" fmla="*/ 3627120 h 3680460"/>
                  <a:gd name="connsiteX52" fmla="*/ 1333500 w 3018472"/>
                  <a:gd name="connsiteY52" fmla="*/ 3657600 h 3680460"/>
                  <a:gd name="connsiteX53" fmla="*/ 1203960 w 3018472"/>
                  <a:gd name="connsiteY53" fmla="*/ 3672840 h 3680460"/>
                  <a:gd name="connsiteX54" fmla="*/ 1165860 w 3018472"/>
                  <a:gd name="connsiteY54" fmla="*/ 3680460 h 3680460"/>
                  <a:gd name="connsiteX55" fmla="*/ 449580 w 3018472"/>
                  <a:gd name="connsiteY55" fmla="*/ 3672840 h 3680460"/>
                  <a:gd name="connsiteX56" fmla="*/ 426720 w 3018472"/>
                  <a:gd name="connsiteY56" fmla="*/ 3665220 h 3680460"/>
                  <a:gd name="connsiteX57" fmla="*/ 388620 w 3018472"/>
                  <a:gd name="connsiteY57" fmla="*/ 3657600 h 3680460"/>
                  <a:gd name="connsiteX58" fmla="*/ 335280 w 3018472"/>
                  <a:gd name="connsiteY58" fmla="*/ 3627120 h 3680460"/>
                  <a:gd name="connsiteX59" fmla="*/ 266700 w 3018472"/>
                  <a:gd name="connsiteY59" fmla="*/ 3604260 h 3680460"/>
                  <a:gd name="connsiteX60" fmla="*/ 243840 w 3018472"/>
                  <a:gd name="connsiteY60" fmla="*/ 3589020 h 3680460"/>
                  <a:gd name="connsiteX61" fmla="*/ 160020 w 3018472"/>
                  <a:gd name="connsiteY61" fmla="*/ 3558540 h 3680460"/>
                  <a:gd name="connsiteX62" fmla="*/ 137160 w 3018472"/>
                  <a:gd name="connsiteY62" fmla="*/ 3535680 h 3680460"/>
                  <a:gd name="connsiteX63" fmla="*/ 99060 w 3018472"/>
                  <a:gd name="connsiteY63" fmla="*/ 3520440 h 3680460"/>
                  <a:gd name="connsiteX64" fmla="*/ 83820 w 3018472"/>
                  <a:gd name="connsiteY64" fmla="*/ 3489960 h 3680460"/>
                  <a:gd name="connsiteX65" fmla="*/ 45720 w 3018472"/>
                  <a:gd name="connsiteY65" fmla="*/ 3436620 h 3680460"/>
                  <a:gd name="connsiteX66" fmla="*/ 0 w 3018472"/>
                  <a:gd name="connsiteY66" fmla="*/ 3352800 h 3680460"/>
                  <a:gd name="connsiteX67" fmla="*/ 30480 w 3018472"/>
                  <a:gd name="connsiteY67" fmla="*/ 3345180 h 3680460"/>
                  <a:gd name="connsiteX68" fmla="*/ 137160 w 3018472"/>
                  <a:gd name="connsiteY68" fmla="*/ 3360420 h 3680460"/>
                  <a:gd name="connsiteX69" fmla="*/ 167640 w 3018472"/>
                  <a:gd name="connsiteY69" fmla="*/ 3390900 h 3680460"/>
                  <a:gd name="connsiteX70" fmla="*/ 198120 w 3018472"/>
                  <a:gd name="connsiteY70" fmla="*/ 3406140 h 3680460"/>
                  <a:gd name="connsiteX71" fmla="*/ 350520 w 3018472"/>
                  <a:gd name="connsiteY71" fmla="*/ 3436620 h 3680460"/>
                  <a:gd name="connsiteX72" fmla="*/ 381000 w 3018472"/>
                  <a:gd name="connsiteY72" fmla="*/ 3451860 h 3680460"/>
                  <a:gd name="connsiteX73" fmla="*/ 449580 w 3018472"/>
                  <a:gd name="connsiteY73" fmla="*/ 3489960 h 3680460"/>
                  <a:gd name="connsiteX74" fmla="*/ 495300 w 3018472"/>
                  <a:gd name="connsiteY74" fmla="*/ 3520440 h 3680460"/>
                  <a:gd name="connsiteX75" fmla="*/ 525780 w 3018472"/>
                  <a:gd name="connsiteY75" fmla="*/ 3535680 h 3680460"/>
                  <a:gd name="connsiteX76" fmla="*/ 731520 w 3018472"/>
                  <a:gd name="connsiteY76" fmla="*/ 3558540 h 3680460"/>
                  <a:gd name="connsiteX77" fmla="*/ 1341120 w 3018472"/>
                  <a:gd name="connsiteY77" fmla="*/ 3550920 h 3680460"/>
                  <a:gd name="connsiteX78" fmla="*/ 1440180 w 3018472"/>
                  <a:gd name="connsiteY78" fmla="*/ 3528060 h 3680460"/>
                  <a:gd name="connsiteX79" fmla="*/ 1539240 w 3018472"/>
                  <a:gd name="connsiteY79" fmla="*/ 3520440 h 3680460"/>
                  <a:gd name="connsiteX80" fmla="*/ 1562100 w 3018472"/>
                  <a:gd name="connsiteY80" fmla="*/ 3512820 h 3680460"/>
                  <a:gd name="connsiteX81" fmla="*/ 1630680 w 3018472"/>
                  <a:gd name="connsiteY81" fmla="*/ 3497580 h 3680460"/>
                  <a:gd name="connsiteX82" fmla="*/ 1699260 w 3018472"/>
                  <a:gd name="connsiteY82" fmla="*/ 3474720 h 3680460"/>
                  <a:gd name="connsiteX83" fmla="*/ 1790700 w 3018472"/>
                  <a:gd name="connsiteY83" fmla="*/ 3451860 h 3680460"/>
                  <a:gd name="connsiteX84" fmla="*/ 1821180 w 3018472"/>
                  <a:gd name="connsiteY84" fmla="*/ 3444240 h 3680460"/>
                  <a:gd name="connsiteX85" fmla="*/ 1844040 w 3018472"/>
                  <a:gd name="connsiteY85" fmla="*/ 3429000 h 3680460"/>
                  <a:gd name="connsiteX86" fmla="*/ 1874520 w 3018472"/>
                  <a:gd name="connsiteY86" fmla="*/ 3421380 h 3680460"/>
                  <a:gd name="connsiteX87" fmla="*/ 1927860 w 3018472"/>
                  <a:gd name="connsiteY87" fmla="*/ 3398520 h 3680460"/>
                  <a:gd name="connsiteX88" fmla="*/ 1950720 w 3018472"/>
                  <a:gd name="connsiteY88" fmla="*/ 3390900 h 3680460"/>
                  <a:gd name="connsiteX89" fmla="*/ 2004060 w 3018472"/>
                  <a:gd name="connsiteY89" fmla="*/ 3360420 h 3680460"/>
                  <a:gd name="connsiteX90" fmla="*/ 2042160 w 3018472"/>
                  <a:gd name="connsiteY90" fmla="*/ 3352800 h 3680460"/>
                  <a:gd name="connsiteX91" fmla="*/ 2080260 w 3018472"/>
                  <a:gd name="connsiteY91" fmla="*/ 3337560 h 3680460"/>
                  <a:gd name="connsiteX92" fmla="*/ 2156460 w 3018472"/>
                  <a:gd name="connsiteY92" fmla="*/ 3299460 h 3680460"/>
                  <a:gd name="connsiteX93" fmla="*/ 2179320 w 3018472"/>
                  <a:gd name="connsiteY93" fmla="*/ 3284220 h 3680460"/>
                  <a:gd name="connsiteX94" fmla="*/ 2209800 w 3018472"/>
                  <a:gd name="connsiteY94" fmla="*/ 3276600 h 3680460"/>
                  <a:gd name="connsiteX95" fmla="*/ 2263140 w 3018472"/>
                  <a:gd name="connsiteY95" fmla="*/ 3230880 h 3680460"/>
                  <a:gd name="connsiteX96" fmla="*/ 2346960 w 3018472"/>
                  <a:gd name="connsiteY96" fmla="*/ 3154680 h 3680460"/>
                  <a:gd name="connsiteX97" fmla="*/ 2400300 w 3018472"/>
                  <a:gd name="connsiteY97" fmla="*/ 3070860 h 3680460"/>
                  <a:gd name="connsiteX98" fmla="*/ 2415540 w 3018472"/>
                  <a:gd name="connsiteY98" fmla="*/ 3048000 h 3680460"/>
                  <a:gd name="connsiteX99" fmla="*/ 2446020 w 3018472"/>
                  <a:gd name="connsiteY99" fmla="*/ 3032760 h 3680460"/>
                  <a:gd name="connsiteX100" fmla="*/ 2468880 w 3018472"/>
                  <a:gd name="connsiteY100" fmla="*/ 3009900 h 3680460"/>
                  <a:gd name="connsiteX101" fmla="*/ 2537460 w 3018472"/>
                  <a:gd name="connsiteY101" fmla="*/ 2926080 h 3680460"/>
                  <a:gd name="connsiteX102" fmla="*/ 2575560 w 3018472"/>
                  <a:gd name="connsiteY102" fmla="*/ 2880360 h 3680460"/>
                  <a:gd name="connsiteX103" fmla="*/ 2628900 w 3018472"/>
                  <a:gd name="connsiteY103" fmla="*/ 2811780 h 3680460"/>
                  <a:gd name="connsiteX104" fmla="*/ 2644140 w 3018472"/>
                  <a:gd name="connsiteY104" fmla="*/ 2773680 h 3680460"/>
                  <a:gd name="connsiteX105" fmla="*/ 2674620 w 3018472"/>
                  <a:gd name="connsiteY105" fmla="*/ 2727960 h 3680460"/>
                  <a:gd name="connsiteX106" fmla="*/ 2689860 w 3018472"/>
                  <a:gd name="connsiteY106" fmla="*/ 2705100 h 3680460"/>
                  <a:gd name="connsiteX107" fmla="*/ 2705100 w 3018472"/>
                  <a:gd name="connsiteY107" fmla="*/ 2667000 h 3680460"/>
                  <a:gd name="connsiteX108" fmla="*/ 2727960 w 3018472"/>
                  <a:gd name="connsiteY108" fmla="*/ 2621280 h 3680460"/>
                  <a:gd name="connsiteX109" fmla="*/ 2735580 w 3018472"/>
                  <a:gd name="connsiteY109" fmla="*/ 2590800 h 3680460"/>
                  <a:gd name="connsiteX110" fmla="*/ 2758440 w 3018472"/>
                  <a:gd name="connsiteY110" fmla="*/ 2545080 h 3680460"/>
                  <a:gd name="connsiteX111" fmla="*/ 2788920 w 3018472"/>
                  <a:gd name="connsiteY111" fmla="*/ 2484120 h 3680460"/>
                  <a:gd name="connsiteX112" fmla="*/ 2811780 w 3018472"/>
                  <a:gd name="connsiteY112" fmla="*/ 2407920 h 3680460"/>
                  <a:gd name="connsiteX113" fmla="*/ 2842260 w 3018472"/>
                  <a:gd name="connsiteY113" fmla="*/ 2324100 h 3680460"/>
                  <a:gd name="connsiteX114" fmla="*/ 2857500 w 3018472"/>
                  <a:gd name="connsiteY114" fmla="*/ 2247900 h 3680460"/>
                  <a:gd name="connsiteX115" fmla="*/ 2872740 w 3018472"/>
                  <a:gd name="connsiteY115" fmla="*/ 2194560 h 3680460"/>
                  <a:gd name="connsiteX116" fmla="*/ 2887980 w 3018472"/>
                  <a:gd name="connsiteY116" fmla="*/ 2148840 h 3680460"/>
                  <a:gd name="connsiteX117" fmla="*/ 2910840 w 3018472"/>
                  <a:gd name="connsiteY117" fmla="*/ 2087880 h 3680460"/>
                  <a:gd name="connsiteX118" fmla="*/ 2918460 w 3018472"/>
                  <a:gd name="connsiteY118" fmla="*/ 2049780 h 3680460"/>
                  <a:gd name="connsiteX119" fmla="*/ 2933700 w 3018472"/>
                  <a:gd name="connsiteY119" fmla="*/ 1844040 h 3680460"/>
                  <a:gd name="connsiteX120" fmla="*/ 2918460 w 3018472"/>
                  <a:gd name="connsiteY120" fmla="*/ 1470660 h 3680460"/>
                  <a:gd name="connsiteX121" fmla="*/ 2895600 w 3018472"/>
                  <a:gd name="connsiteY121" fmla="*/ 1371600 h 3680460"/>
                  <a:gd name="connsiteX122" fmla="*/ 2880360 w 3018472"/>
                  <a:gd name="connsiteY122" fmla="*/ 1341120 h 3680460"/>
                  <a:gd name="connsiteX123" fmla="*/ 2857500 w 3018472"/>
                  <a:gd name="connsiteY123" fmla="*/ 1272540 h 3680460"/>
                  <a:gd name="connsiteX124" fmla="*/ 2849880 w 3018472"/>
                  <a:gd name="connsiteY124" fmla="*/ 1234440 h 3680460"/>
                  <a:gd name="connsiteX125" fmla="*/ 2827020 w 3018472"/>
                  <a:gd name="connsiteY125" fmla="*/ 1196340 h 3680460"/>
                  <a:gd name="connsiteX126" fmla="*/ 2811780 w 3018472"/>
                  <a:gd name="connsiteY126" fmla="*/ 1165860 h 3680460"/>
                  <a:gd name="connsiteX127" fmla="*/ 2781300 w 3018472"/>
                  <a:gd name="connsiteY127" fmla="*/ 1127760 h 3680460"/>
                  <a:gd name="connsiteX128" fmla="*/ 2766060 w 3018472"/>
                  <a:gd name="connsiteY128" fmla="*/ 1089660 h 3680460"/>
                  <a:gd name="connsiteX129" fmla="*/ 2735580 w 3018472"/>
                  <a:gd name="connsiteY129" fmla="*/ 1043940 h 3680460"/>
                  <a:gd name="connsiteX130" fmla="*/ 2727960 w 3018472"/>
                  <a:gd name="connsiteY130" fmla="*/ 1021080 h 3680460"/>
                  <a:gd name="connsiteX131" fmla="*/ 2682240 w 3018472"/>
                  <a:gd name="connsiteY131" fmla="*/ 937260 h 3680460"/>
                  <a:gd name="connsiteX132" fmla="*/ 2659380 w 3018472"/>
                  <a:gd name="connsiteY132" fmla="*/ 876300 h 3680460"/>
                  <a:gd name="connsiteX133" fmla="*/ 2644140 w 3018472"/>
                  <a:gd name="connsiteY133" fmla="*/ 845820 h 3680460"/>
                  <a:gd name="connsiteX134" fmla="*/ 2636520 w 3018472"/>
                  <a:gd name="connsiteY134" fmla="*/ 822960 h 3680460"/>
                  <a:gd name="connsiteX135" fmla="*/ 2621280 w 3018472"/>
                  <a:gd name="connsiteY135" fmla="*/ 800100 h 3680460"/>
                  <a:gd name="connsiteX136" fmla="*/ 2598420 w 3018472"/>
                  <a:gd name="connsiteY136" fmla="*/ 739140 h 3680460"/>
                  <a:gd name="connsiteX137" fmla="*/ 2458403 w 3018472"/>
                  <a:gd name="connsiteY137" fmla="*/ 621983 h 3680460"/>
                  <a:gd name="connsiteX138" fmla="*/ 2301240 w 3018472"/>
                  <a:gd name="connsiteY138" fmla="*/ 458152 h 3680460"/>
                  <a:gd name="connsiteX139" fmla="*/ 2237423 w 3018472"/>
                  <a:gd name="connsiteY139" fmla="*/ 406717 h 3680460"/>
                  <a:gd name="connsiteX140" fmla="*/ 2103120 w 3018472"/>
                  <a:gd name="connsiteY140" fmla="*/ 312420 h 3680460"/>
                  <a:gd name="connsiteX141" fmla="*/ 2042160 w 3018472"/>
                  <a:gd name="connsiteY141" fmla="*/ 266700 h 3680460"/>
                  <a:gd name="connsiteX142" fmla="*/ 2004060 w 3018472"/>
                  <a:gd name="connsiteY142" fmla="*/ 251460 h 3680460"/>
                  <a:gd name="connsiteX143" fmla="*/ 1958340 w 3018472"/>
                  <a:gd name="connsiteY143" fmla="*/ 220980 h 3680460"/>
                  <a:gd name="connsiteX144" fmla="*/ 1897380 w 3018472"/>
                  <a:gd name="connsiteY14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110740 w 3017559"/>
                  <a:gd name="connsiteY42" fmla="*/ 3413760 h 3680460"/>
                  <a:gd name="connsiteX43" fmla="*/ 2072640 w 3017559"/>
                  <a:gd name="connsiteY43" fmla="*/ 3451860 h 3680460"/>
                  <a:gd name="connsiteX44" fmla="*/ 2019300 w 3017559"/>
                  <a:gd name="connsiteY44" fmla="*/ 3467100 h 3680460"/>
                  <a:gd name="connsiteX45" fmla="*/ 1874520 w 3017559"/>
                  <a:gd name="connsiteY45" fmla="*/ 3512820 h 3680460"/>
                  <a:gd name="connsiteX46" fmla="*/ 1828800 w 3017559"/>
                  <a:gd name="connsiteY46" fmla="*/ 3520440 h 3680460"/>
                  <a:gd name="connsiteX47" fmla="*/ 1722120 w 3017559"/>
                  <a:gd name="connsiteY47" fmla="*/ 3550920 h 3680460"/>
                  <a:gd name="connsiteX48" fmla="*/ 1600200 w 3017559"/>
                  <a:gd name="connsiteY48" fmla="*/ 3589020 h 3680460"/>
                  <a:gd name="connsiteX49" fmla="*/ 1569720 w 3017559"/>
                  <a:gd name="connsiteY49" fmla="*/ 3596640 h 3680460"/>
                  <a:gd name="connsiteX50" fmla="*/ 1546860 w 3017559"/>
                  <a:gd name="connsiteY50" fmla="*/ 3611880 h 3680460"/>
                  <a:gd name="connsiteX51" fmla="*/ 1463040 w 3017559"/>
                  <a:gd name="connsiteY51" fmla="*/ 3627120 h 3680460"/>
                  <a:gd name="connsiteX52" fmla="*/ 1333500 w 3017559"/>
                  <a:gd name="connsiteY52" fmla="*/ 3657600 h 3680460"/>
                  <a:gd name="connsiteX53" fmla="*/ 1203960 w 3017559"/>
                  <a:gd name="connsiteY53" fmla="*/ 3672840 h 3680460"/>
                  <a:gd name="connsiteX54" fmla="*/ 1165860 w 3017559"/>
                  <a:gd name="connsiteY54" fmla="*/ 3680460 h 3680460"/>
                  <a:gd name="connsiteX55" fmla="*/ 449580 w 3017559"/>
                  <a:gd name="connsiteY55" fmla="*/ 3672840 h 3680460"/>
                  <a:gd name="connsiteX56" fmla="*/ 426720 w 3017559"/>
                  <a:gd name="connsiteY56" fmla="*/ 3665220 h 3680460"/>
                  <a:gd name="connsiteX57" fmla="*/ 388620 w 3017559"/>
                  <a:gd name="connsiteY57" fmla="*/ 3657600 h 3680460"/>
                  <a:gd name="connsiteX58" fmla="*/ 335280 w 3017559"/>
                  <a:gd name="connsiteY58" fmla="*/ 3627120 h 3680460"/>
                  <a:gd name="connsiteX59" fmla="*/ 266700 w 3017559"/>
                  <a:gd name="connsiteY59" fmla="*/ 3604260 h 3680460"/>
                  <a:gd name="connsiteX60" fmla="*/ 243840 w 3017559"/>
                  <a:gd name="connsiteY60" fmla="*/ 3589020 h 3680460"/>
                  <a:gd name="connsiteX61" fmla="*/ 160020 w 3017559"/>
                  <a:gd name="connsiteY61" fmla="*/ 3558540 h 3680460"/>
                  <a:gd name="connsiteX62" fmla="*/ 137160 w 3017559"/>
                  <a:gd name="connsiteY62" fmla="*/ 3535680 h 3680460"/>
                  <a:gd name="connsiteX63" fmla="*/ 99060 w 3017559"/>
                  <a:gd name="connsiteY63" fmla="*/ 3520440 h 3680460"/>
                  <a:gd name="connsiteX64" fmla="*/ 83820 w 3017559"/>
                  <a:gd name="connsiteY64" fmla="*/ 3489960 h 3680460"/>
                  <a:gd name="connsiteX65" fmla="*/ 45720 w 3017559"/>
                  <a:gd name="connsiteY65" fmla="*/ 3436620 h 3680460"/>
                  <a:gd name="connsiteX66" fmla="*/ 0 w 3017559"/>
                  <a:gd name="connsiteY66" fmla="*/ 3352800 h 3680460"/>
                  <a:gd name="connsiteX67" fmla="*/ 30480 w 3017559"/>
                  <a:gd name="connsiteY67" fmla="*/ 3345180 h 3680460"/>
                  <a:gd name="connsiteX68" fmla="*/ 137160 w 3017559"/>
                  <a:gd name="connsiteY68" fmla="*/ 3360420 h 3680460"/>
                  <a:gd name="connsiteX69" fmla="*/ 167640 w 3017559"/>
                  <a:gd name="connsiteY69" fmla="*/ 3390900 h 3680460"/>
                  <a:gd name="connsiteX70" fmla="*/ 198120 w 3017559"/>
                  <a:gd name="connsiteY70" fmla="*/ 3406140 h 3680460"/>
                  <a:gd name="connsiteX71" fmla="*/ 350520 w 3017559"/>
                  <a:gd name="connsiteY71" fmla="*/ 3436620 h 3680460"/>
                  <a:gd name="connsiteX72" fmla="*/ 381000 w 3017559"/>
                  <a:gd name="connsiteY72" fmla="*/ 3451860 h 3680460"/>
                  <a:gd name="connsiteX73" fmla="*/ 449580 w 3017559"/>
                  <a:gd name="connsiteY73" fmla="*/ 3489960 h 3680460"/>
                  <a:gd name="connsiteX74" fmla="*/ 495300 w 3017559"/>
                  <a:gd name="connsiteY74" fmla="*/ 3520440 h 3680460"/>
                  <a:gd name="connsiteX75" fmla="*/ 525780 w 3017559"/>
                  <a:gd name="connsiteY75" fmla="*/ 3535680 h 3680460"/>
                  <a:gd name="connsiteX76" fmla="*/ 731520 w 3017559"/>
                  <a:gd name="connsiteY76" fmla="*/ 3558540 h 3680460"/>
                  <a:gd name="connsiteX77" fmla="*/ 1341120 w 3017559"/>
                  <a:gd name="connsiteY77" fmla="*/ 3550920 h 3680460"/>
                  <a:gd name="connsiteX78" fmla="*/ 1440180 w 3017559"/>
                  <a:gd name="connsiteY78" fmla="*/ 3528060 h 3680460"/>
                  <a:gd name="connsiteX79" fmla="*/ 1539240 w 3017559"/>
                  <a:gd name="connsiteY79" fmla="*/ 3520440 h 3680460"/>
                  <a:gd name="connsiteX80" fmla="*/ 1562100 w 3017559"/>
                  <a:gd name="connsiteY80" fmla="*/ 3512820 h 3680460"/>
                  <a:gd name="connsiteX81" fmla="*/ 1630680 w 3017559"/>
                  <a:gd name="connsiteY81" fmla="*/ 3497580 h 3680460"/>
                  <a:gd name="connsiteX82" fmla="*/ 1699260 w 3017559"/>
                  <a:gd name="connsiteY82" fmla="*/ 3474720 h 3680460"/>
                  <a:gd name="connsiteX83" fmla="*/ 1790700 w 3017559"/>
                  <a:gd name="connsiteY83" fmla="*/ 3451860 h 3680460"/>
                  <a:gd name="connsiteX84" fmla="*/ 1821180 w 3017559"/>
                  <a:gd name="connsiteY84" fmla="*/ 3444240 h 3680460"/>
                  <a:gd name="connsiteX85" fmla="*/ 1844040 w 3017559"/>
                  <a:gd name="connsiteY85" fmla="*/ 3429000 h 3680460"/>
                  <a:gd name="connsiteX86" fmla="*/ 1874520 w 3017559"/>
                  <a:gd name="connsiteY86" fmla="*/ 3421380 h 3680460"/>
                  <a:gd name="connsiteX87" fmla="*/ 1927860 w 3017559"/>
                  <a:gd name="connsiteY87" fmla="*/ 3398520 h 3680460"/>
                  <a:gd name="connsiteX88" fmla="*/ 1950720 w 3017559"/>
                  <a:gd name="connsiteY88" fmla="*/ 3390900 h 3680460"/>
                  <a:gd name="connsiteX89" fmla="*/ 2004060 w 3017559"/>
                  <a:gd name="connsiteY89" fmla="*/ 3360420 h 3680460"/>
                  <a:gd name="connsiteX90" fmla="*/ 2042160 w 3017559"/>
                  <a:gd name="connsiteY90" fmla="*/ 3352800 h 3680460"/>
                  <a:gd name="connsiteX91" fmla="*/ 2080260 w 3017559"/>
                  <a:gd name="connsiteY91" fmla="*/ 3337560 h 3680460"/>
                  <a:gd name="connsiteX92" fmla="*/ 2156460 w 3017559"/>
                  <a:gd name="connsiteY92" fmla="*/ 3299460 h 3680460"/>
                  <a:gd name="connsiteX93" fmla="*/ 2179320 w 3017559"/>
                  <a:gd name="connsiteY93" fmla="*/ 3284220 h 3680460"/>
                  <a:gd name="connsiteX94" fmla="*/ 2209800 w 3017559"/>
                  <a:gd name="connsiteY94" fmla="*/ 3276600 h 3680460"/>
                  <a:gd name="connsiteX95" fmla="*/ 2263140 w 3017559"/>
                  <a:gd name="connsiteY95" fmla="*/ 3230880 h 3680460"/>
                  <a:gd name="connsiteX96" fmla="*/ 2346960 w 3017559"/>
                  <a:gd name="connsiteY96" fmla="*/ 3154680 h 3680460"/>
                  <a:gd name="connsiteX97" fmla="*/ 2400300 w 3017559"/>
                  <a:gd name="connsiteY97" fmla="*/ 3070860 h 3680460"/>
                  <a:gd name="connsiteX98" fmla="*/ 2415540 w 3017559"/>
                  <a:gd name="connsiteY98" fmla="*/ 3048000 h 3680460"/>
                  <a:gd name="connsiteX99" fmla="*/ 2446020 w 3017559"/>
                  <a:gd name="connsiteY99" fmla="*/ 3032760 h 3680460"/>
                  <a:gd name="connsiteX100" fmla="*/ 2468880 w 3017559"/>
                  <a:gd name="connsiteY100" fmla="*/ 3009900 h 3680460"/>
                  <a:gd name="connsiteX101" fmla="*/ 2537460 w 3017559"/>
                  <a:gd name="connsiteY101" fmla="*/ 2926080 h 3680460"/>
                  <a:gd name="connsiteX102" fmla="*/ 2575560 w 3017559"/>
                  <a:gd name="connsiteY102" fmla="*/ 2880360 h 3680460"/>
                  <a:gd name="connsiteX103" fmla="*/ 2628900 w 3017559"/>
                  <a:gd name="connsiteY103" fmla="*/ 2811780 h 3680460"/>
                  <a:gd name="connsiteX104" fmla="*/ 2644140 w 3017559"/>
                  <a:gd name="connsiteY104" fmla="*/ 2773680 h 3680460"/>
                  <a:gd name="connsiteX105" fmla="*/ 2674620 w 3017559"/>
                  <a:gd name="connsiteY105" fmla="*/ 2727960 h 3680460"/>
                  <a:gd name="connsiteX106" fmla="*/ 2689860 w 3017559"/>
                  <a:gd name="connsiteY106" fmla="*/ 2705100 h 3680460"/>
                  <a:gd name="connsiteX107" fmla="*/ 2705100 w 3017559"/>
                  <a:gd name="connsiteY107" fmla="*/ 2667000 h 3680460"/>
                  <a:gd name="connsiteX108" fmla="*/ 2727960 w 3017559"/>
                  <a:gd name="connsiteY108" fmla="*/ 2621280 h 3680460"/>
                  <a:gd name="connsiteX109" fmla="*/ 2735580 w 3017559"/>
                  <a:gd name="connsiteY109" fmla="*/ 2590800 h 3680460"/>
                  <a:gd name="connsiteX110" fmla="*/ 2758440 w 3017559"/>
                  <a:gd name="connsiteY110" fmla="*/ 2545080 h 3680460"/>
                  <a:gd name="connsiteX111" fmla="*/ 2788920 w 3017559"/>
                  <a:gd name="connsiteY111" fmla="*/ 2484120 h 3680460"/>
                  <a:gd name="connsiteX112" fmla="*/ 2811780 w 3017559"/>
                  <a:gd name="connsiteY112" fmla="*/ 2407920 h 3680460"/>
                  <a:gd name="connsiteX113" fmla="*/ 2842260 w 3017559"/>
                  <a:gd name="connsiteY113" fmla="*/ 2324100 h 3680460"/>
                  <a:gd name="connsiteX114" fmla="*/ 2857500 w 3017559"/>
                  <a:gd name="connsiteY114" fmla="*/ 2247900 h 3680460"/>
                  <a:gd name="connsiteX115" fmla="*/ 2872740 w 3017559"/>
                  <a:gd name="connsiteY115" fmla="*/ 2194560 h 3680460"/>
                  <a:gd name="connsiteX116" fmla="*/ 2887980 w 3017559"/>
                  <a:gd name="connsiteY116" fmla="*/ 2148840 h 3680460"/>
                  <a:gd name="connsiteX117" fmla="*/ 2910840 w 3017559"/>
                  <a:gd name="connsiteY117" fmla="*/ 2087880 h 3680460"/>
                  <a:gd name="connsiteX118" fmla="*/ 2918460 w 3017559"/>
                  <a:gd name="connsiteY118" fmla="*/ 2049780 h 3680460"/>
                  <a:gd name="connsiteX119" fmla="*/ 2933700 w 3017559"/>
                  <a:gd name="connsiteY119" fmla="*/ 1844040 h 3680460"/>
                  <a:gd name="connsiteX120" fmla="*/ 2918460 w 3017559"/>
                  <a:gd name="connsiteY120" fmla="*/ 1470660 h 3680460"/>
                  <a:gd name="connsiteX121" fmla="*/ 2895600 w 3017559"/>
                  <a:gd name="connsiteY121" fmla="*/ 1371600 h 3680460"/>
                  <a:gd name="connsiteX122" fmla="*/ 2880360 w 3017559"/>
                  <a:gd name="connsiteY122" fmla="*/ 1341120 h 3680460"/>
                  <a:gd name="connsiteX123" fmla="*/ 2857500 w 3017559"/>
                  <a:gd name="connsiteY123" fmla="*/ 1272540 h 3680460"/>
                  <a:gd name="connsiteX124" fmla="*/ 2849880 w 3017559"/>
                  <a:gd name="connsiteY124" fmla="*/ 1234440 h 3680460"/>
                  <a:gd name="connsiteX125" fmla="*/ 2827020 w 3017559"/>
                  <a:gd name="connsiteY125" fmla="*/ 1196340 h 3680460"/>
                  <a:gd name="connsiteX126" fmla="*/ 2811780 w 3017559"/>
                  <a:gd name="connsiteY126" fmla="*/ 1165860 h 3680460"/>
                  <a:gd name="connsiteX127" fmla="*/ 2781300 w 3017559"/>
                  <a:gd name="connsiteY127" fmla="*/ 1127760 h 3680460"/>
                  <a:gd name="connsiteX128" fmla="*/ 2766060 w 3017559"/>
                  <a:gd name="connsiteY128" fmla="*/ 1089660 h 3680460"/>
                  <a:gd name="connsiteX129" fmla="*/ 2735580 w 3017559"/>
                  <a:gd name="connsiteY129" fmla="*/ 1043940 h 3680460"/>
                  <a:gd name="connsiteX130" fmla="*/ 2727960 w 3017559"/>
                  <a:gd name="connsiteY130" fmla="*/ 1021080 h 3680460"/>
                  <a:gd name="connsiteX131" fmla="*/ 2682240 w 3017559"/>
                  <a:gd name="connsiteY131" fmla="*/ 937260 h 3680460"/>
                  <a:gd name="connsiteX132" fmla="*/ 2659380 w 3017559"/>
                  <a:gd name="connsiteY132" fmla="*/ 876300 h 3680460"/>
                  <a:gd name="connsiteX133" fmla="*/ 2644140 w 3017559"/>
                  <a:gd name="connsiteY133" fmla="*/ 845820 h 3680460"/>
                  <a:gd name="connsiteX134" fmla="*/ 2636520 w 3017559"/>
                  <a:gd name="connsiteY134" fmla="*/ 822960 h 3680460"/>
                  <a:gd name="connsiteX135" fmla="*/ 2621280 w 3017559"/>
                  <a:gd name="connsiteY135" fmla="*/ 800100 h 3680460"/>
                  <a:gd name="connsiteX136" fmla="*/ 2598420 w 3017559"/>
                  <a:gd name="connsiteY136" fmla="*/ 739140 h 3680460"/>
                  <a:gd name="connsiteX137" fmla="*/ 2458403 w 3017559"/>
                  <a:gd name="connsiteY137" fmla="*/ 621983 h 3680460"/>
                  <a:gd name="connsiteX138" fmla="*/ 2301240 w 3017559"/>
                  <a:gd name="connsiteY138" fmla="*/ 458152 h 3680460"/>
                  <a:gd name="connsiteX139" fmla="*/ 2237423 w 3017559"/>
                  <a:gd name="connsiteY139" fmla="*/ 406717 h 3680460"/>
                  <a:gd name="connsiteX140" fmla="*/ 2103120 w 3017559"/>
                  <a:gd name="connsiteY140" fmla="*/ 312420 h 3680460"/>
                  <a:gd name="connsiteX141" fmla="*/ 2042160 w 3017559"/>
                  <a:gd name="connsiteY141" fmla="*/ 266700 h 3680460"/>
                  <a:gd name="connsiteX142" fmla="*/ 2004060 w 3017559"/>
                  <a:gd name="connsiteY142" fmla="*/ 251460 h 3680460"/>
                  <a:gd name="connsiteX143" fmla="*/ 1958340 w 3017559"/>
                  <a:gd name="connsiteY143" fmla="*/ 220980 h 3680460"/>
                  <a:gd name="connsiteX144" fmla="*/ 1897380 w 3017559"/>
                  <a:gd name="connsiteY14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110740 w 3017559"/>
                  <a:gd name="connsiteY42" fmla="*/ 3413760 h 3680460"/>
                  <a:gd name="connsiteX43" fmla="*/ 2019300 w 3017559"/>
                  <a:gd name="connsiteY43" fmla="*/ 3467100 h 3680460"/>
                  <a:gd name="connsiteX44" fmla="*/ 1874520 w 3017559"/>
                  <a:gd name="connsiteY44" fmla="*/ 3512820 h 3680460"/>
                  <a:gd name="connsiteX45" fmla="*/ 1828800 w 3017559"/>
                  <a:gd name="connsiteY45" fmla="*/ 3520440 h 3680460"/>
                  <a:gd name="connsiteX46" fmla="*/ 1722120 w 3017559"/>
                  <a:gd name="connsiteY46" fmla="*/ 3550920 h 3680460"/>
                  <a:gd name="connsiteX47" fmla="*/ 1600200 w 3017559"/>
                  <a:gd name="connsiteY47" fmla="*/ 3589020 h 3680460"/>
                  <a:gd name="connsiteX48" fmla="*/ 1569720 w 3017559"/>
                  <a:gd name="connsiteY48" fmla="*/ 3596640 h 3680460"/>
                  <a:gd name="connsiteX49" fmla="*/ 1546860 w 3017559"/>
                  <a:gd name="connsiteY49" fmla="*/ 3611880 h 3680460"/>
                  <a:gd name="connsiteX50" fmla="*/ 1463040 w 3017559"/>
                  <a:gd name="connsiteY50" fmla="*/ 3627120 h 3680460"/>
                  <a:gd name="connsiteX51" fmla="*/ 1333500 w 3017559"/>
                  <a:gd name="connsiteY51" fmla="*/ 3657600 h 3680460"/>
                  <a:gd name="connsiteX52" fmla="*/ 1203960 w 3017559"/>
                  <a:gd name="connsiteY52" fmla="*/ 3672840 h 3680460"/>
                  <a:gd name="connsiteX53" fmla="*/ 1165860 w 3017559"/>
                  <a:gd name="connsiteY53" fmla="*/ 3680460 h 3680460"/>
                  <a:gd name="connsiteX54" fmla="*/ 449580 w 3017559"/>
                  <a:gd name="connsiteY54" fmla="*/ 3672840 h 3680460"/>
                  <a:gd name="connsiteX55" fmla="*/ 426720 w 3017559"/>
                  <a:gd name="connsiteY55" fmla="*/ 3665220 h 3680460"/>
                  <a:gd name="connsiteX56" fmla="*/ 388620 w 3017559"/>
                  <a:gd name="connsiteY56" fmla="*/ 3657600 h 3680460"/>
                  <a:gd name="connsiteX57" fmla="*/ 335280 w 3017559"/>
                  <a:gd name="connsiteY57" fmla="*/ 3627120 h 3680460"/>
                  <a:gd name="connsiteX58" fmla="*/ 266700 w 3017559"/>
                  <a:gd name="connsiteY58" fmla="*/ 3604260 h 3680460"/>
                  <a:gd name="connsiteX59" fmla="*/ 243840 w 3017559"/>
                  <a:gd name="connsiteY59" fmla="*/ 3589020 h 3680460"/>
                  <a:gd name="connsiteX60" fmla="*/ 160020 w 3017559"/>
                  <a:gd name="connsiteY60" fmla="*/ 3558540 h 3680460"/>
                  <a:gd name="connsiteX61" fmla="*/ 137160 w 3017559"/>
                  <a:gd name="connsiteY61" fmla="*/ 3535680 h 3680460"/>
                  <a:gd name="connsiteX62" fmla="*/ 99060 w 3017559"/>
                  <a:gd name="connsiteY62" fmla="*/ 3520440 h 3680460"/>
                  <a:gd name="connsiteX63" fmla="*/ 83820 w 3017559"/>
                  <a:gd name="connsiteY63" fmla="*/ 3489960 h 3680460"/>
                  <a:gd name="connsiteX64" fmla="*/ 45720 w 3017559"/>
                  <a:gd name="connsiteY64" fmla="*/ 3436620 h 3680460"/>
                  <a:gd name="connsiteX65" fmla="*/ 0 w 3017559"/>
                  <a:gd name="connsiteY65" fmla="*/ 3352800 h 3680460"/>
                  <a:gd name="connsiteX66" fmla="*/ 30480 w 3017559"/>
                  <a:gd name="connsiteY66" fmla="*/ 3345180 h 3680460"/>
                  <a:gd name="connsiteX67" fmla="*/ 137160 w 3017559"/>
                  <a:gd name="connsiteY67" fmla="*/ 3360420 h 3680460"/>
                  <a:gd name="connsiteX68" fmla="*/ 167640 w 3017559"/>
                  <a:gd name="connsiteY68" fmla="*/ 3390900 h 3680460"/>
                  <a:gd name="connsiteX69" fmla="*/ 198120 w 3017559"/>
                  <a:gd name="connsiteY69" fmla="*/ 3406140 h 3680460"/>
                  <a:gd name="connsiteX70" fmla="*/ 350520 w 3017559"/>
                  <a:gd name="connsiteY70" fmla="*/ 3436620 h 3680460"/>
                  <a:gd name="connsiteX71" fmla="*/ 381000 w 3017559"/>
                  <a:gd name="connsiteY71" fmla="*/ 3451860 h 3680460"/>
                  <a:gd name="connsiteX72" fmla="*/ 449580 w 3017559"/>
                  <a:gd name="connsiteY72" fmla="*/ 3489960 h 3680460"/>
                  <a:gd name="connsiteX73" fmla="*/ 495300 w 3017559"/>
                  <a:gd name="connsiteY73" fmla="*/ 3520440 h 3680460"/>
                  <a:gd name="connsiteX74" fmla="*/ 525780 w 3017559"/>
                  <a:gd name="connsiteY74" fmla="*/ 3535680 h 3680460"/>
                  <a:gd name="connsiteX75" fmla="*/ 731520 w 3017559"/>
                  <a:gd name="connsiteY75" fmla="*/ 3558540 h 3680460"/>
                  <a:gd name="connsiteX76" fmla="*/ 1341120 w 3017559"/>
                  <a:gd name="connsiteY76" fmla="*/ 3550920 h 3680460"/>
                  <a:gd name="connsiteX77" fmla="*/ 1440180 w 3017559"/>
                  <a:gd name="connsiteY77" fmla="*/ 3528060 h 3680460"/>
                  <a:gd name="connsiteX78" fmla="*/ 1539240 w 3017559"/>
                  <a:gd name="connsiteY78" fmla="*/ 3520440 h 3680460"/>
                  <a:gd name="connsiteX79" fmla="*/ 1562100 w 3017559"/>
                  <a:gd name="connsiteY79" fmla="*/ 3512820 h 3680460"/>
                  <a:gd name="connsiteX80" fmla="*/ 1630680 w 3017559"/>
                  <a:gd name="connsiteY80" fmla="*/ 3497580 h 3680460"/>
                  <a:gd name="connsiteX81" fmla="*/ 1699260 w 3017559"/>
                  <a:gd name="connsiteY81" fmla="*/ 3474720 h 3680460"/>
                  <a:gd name="connsiteX82" fmla="*/ 1790700 w 3017559"/>
                  <a:gd name="connsiteY82" fmla="*/ 3451860 h 3680460"/>
                  <a:gd name="connsiteX83" fmla="*/ 1821180 w 3017559"/>
                  <a:gd name="connsiteY83" fmla="*/ 3444240 h 3680460"/>
                  <a:gd name="connsiteX84" fmla="*/ 1844040 w 3017559"/>
                  <a:gd name="connsiteY84" fmla="*/ 3429000 h 3680460"/>
                  <a:gd name="connsiteX85" fmla="*/ 1874520 w 3017559"/>
                  <a:gd name="connsiteY85" fmla="*/ 3421380 h 3680460"/>
                  <a:gd name="connsiteX86" fmla="*/ 1927860 w 3017559"/>
                  <a:gd name="connsiteY86" fmla="*/ 3398520 h 3680460"/>
                  <a:gd name="connsiteX87" fmla="*/ 1950720 w 3017559"/>
                  <a:gd name="connsiteY87" fmla="*/ 3390900 h 3680460"/>
                  <a:gd name="connsiteX88" fmla="*/ 2004060 w 3017559"/>
                  <a:gd name="connsiteY88" fmla="*/ 3360420 h 3680460"/>
                  <a:gd name="connsiteX89" fmla="*/ 2042160 w 3017559"/>
                  <a:gd name="connsiteY89" fmla="*/ 3352800 h 3680460"/>
                  <a:gd name="connsiteX90" fmla="*/ 2080260 w 3017559"/>
                  <a:gd name="connsiteY90" fmla="*/ 3337560 h 3680460"/>
                  <a:gd name="connsiteX91" fmla="*/ 2156460 w 3017559"/>
                  <a:gd name="connsiteY91" fmla="*/ 3299460 h 3680460"/>
                  <a:gd name="connsiteX92" fmla="*/ 2179320 w 3017559"/>
                  <a:gd name="connsiteY92" fmla="*/ 3284220 h 3680460"/>
                  <a:gd name="connsiteX93" fmla="*/ 2209800 w 3017559"/>
                  <a:gd name="connsiteY93" fmla="*/ 3276600 h 3680460"/>
                  <a:gd name="connsiteX94" fmla="*/ 2263140 w 3017559"/>
                  <a:gd name="connsiteY94" fmla="*/ 3230880 h 3680460"/>
                  <a:gd name="connsiteX95" fmla="*/ 2346960 w 3017559"/>
                  <a:gd name="connsiteY95" fmla="*/ 3154680 h 3680460"/>
                  <a:gd name="connsiteX96" fmla="*/ 2400300 w 3017559"/>
                  <a:gd name="connsiteY96" fmla="*/ 3070860 h 3680460"/>
                  <a:gd name="connsiteX97" fmla="*/ 2415540 w 3017559"/>
                  <a:gd name="connsiteY97" fmla="*/ 3048000 h 3680460"/>
                  <a:gd name="connsiteX98" fmla="*/ 2446020 w 3017559"/>
                  <a:gd name="connsiteY98" fmla="*/ 3032760 h 3680460"/>
                  <a:gd name="connsiteX99" fmla="*/ 2468880 w 3017559"/>
                  <a:gd name="connsiteY99" fmla="*/ 3009900 h 3680460"/>
                  <a:gd name="connsiteX100" fmla="*/ 2537460 w 3017559"/>
                  <a:gd name="connsiteY100" fmla="*/ 2926080 h 3680460"/>
                  <a:gd name="connsiteX101" fmla="*/ 2575560 w 3017559"/>
                  <a:gd name="connsiteY101" fmla="*/ 2880360 h 3680460"/>
                  <a:gd name="connsiteX102" fmla="*/ 2628900 w 3017559"/>
                  <a:gd name="connsiteY102" fmla="*/ 2811780 h 3680460"/>
                  <a:gd name="connsiteX103" fmla="*/ 2644140 w 3017559"/>
                  <a:gd name="connsiteY103" fmla="*/ 2773680 h 3680460"/>
                  <a:gd name="connsiteX104" fmla="*/ 2674620 w 3017559"/>
                  <a:gd name="connsiteY104" fmla="*/ 2727960 h 3680460"/>
                  <a:gd name="connsiteX105" fmla="*/ 2689860 w 3017559"/>
                  <a:gd name="connsiteY105" fmla="*/ 2705100 h 3680460"/>
                  <a:gd name="connsiteX106" fmla="*/ 2705100 w 3017559"/>
                  <a:gd name="connsiteY106" fmla="*/ 2667000 h 3680460"/>
                  <a:gd name="connsiteX107" fmla="*/ 2727960 w 3017559"/>
                  <a:gd name="connsiteY107" fmla="*/ 2621280 h 3680460"/>
                  <a:gd name="connsiteX108" fmla="*/ 2735580 w 3017559"/>
                  <a:gd name="connsiteY108" fmla="*/ 2590800 h 3680460"/>
                  <a:gd name="connsiteX109" fmla="*/ 2758440 w 3017559"/>
                  <a:gd name="connsiteY109" fmla="*/ 2545080 h 3680460"/>
                  <a:gd name="connsiteX110" fmla="*/ 2788920 w 3017559"/>
                  <a:gd name="connsiteY110" fmla="*/ 2484120 h 3680460"/>
                  <a:gd name="connsiteX111" fmla="*/ 2811780 w 3017559"/>
                  <a:gd name="connsiteY111" fmla="*/ 2407920 h 3680460"/>
                  <a:gd name="connsiteX112" fmla="*/ 2842260 w 3017559"/>
                  <a:gd name="connsiteY112" fmla="*/ 2324100 h 3680460"/>
                  <a:gd name="connsiteX113" fmla="*/ 2857500 w 3017559"/>
                  <a:gd name="connsiteY113" fmla="*/ 2247900 h 3680460"/>
                  <a:gd name="connsiteX114" fmla="*/ 2872740 w 3017559"/>
                  <a:gd name="connsiteY114" fmla="*/ 2194560 h 3680460"/>
                  <a:gd name="connsiteX115" fmla="*/ 2887980 w 3017559"/>
                  <a:gd name="connsiteY115" fmla="*/ 2148840 h 3680460"/>
                  <a:gd name="connsiteX116" fmla="*/ 2910840 w 3017559"/>
                  <a:gd name="connsiteY116" fmla="*/ 2087880 h 3680460"/>
                  <a:gd name="connsiteX117" fmla="*/ 2918460 w 3017559"/>
                  <a:gd name="connsiteY117" fmla="*/ 2049780 h 3680460"/>
                  <a:gd name="connsiteX118" fmla="*/ 2933700 w 3017559"/>
                  <a:gd name="connsiteY118" fmla="*/ 1844040 h 3680460"/>
                  <a:gd name="connsiteX119" fmla="*/ 2918460 w 3017559"/>
                  <a:gd name="connsiteY119" fmla="*/ 1470660 h 3680460"/>
                  <a:gd name="connsiteX120" fmla="*/ 2895600 w 3017559"/>
                  <a:gd name="connsiteY120" fmla="*/ 1371600 h 3680460"/>
                  <a:gd name="connsiteX121" fmla="*/ 2880360 w 3017559"/>
                  <a:gd name="connsiteY121" fmla="*/ 1341120 h 3680460"/>
                  <a:gd name="connsiteX122" fmla="*/ 2857500 w 3017559"/>
                  <a:gd name="connsiteY122" fmla="*/ 1272540 h 3680460"/>
                  <a:gd name="connsiteX123" fmla="*/ 2849880 w 3017559"/>
                  <a:gd name="connsiteY123" fmla="*/ 1234440 h 3680460"/>
                  <a:gd name="connsiteX124" fmla="*/ 2827020 w 3017559"/>
                  <a:gd name="connsiteY124" fmla="*/ 1196340 h 3680460"/>
                  <a:gd name="connsiteX125" fmla="*/ 2811780 w 3017559"/>
                  <a:gd name="connsiteY125" fmla="*/ 1165860 h 3680460"/>
                  <a:gd name="connsiteX126" fmla="*/ 2781300 w 3017559"/>
                  <a:gd name="connsiteY126" fmla="*/ 1127760 h 3680460"/>
                  <a:gd name="connsiteX127" fmla="*/ 2766060 w 3017559"/>
                  <a:gd name="connsiteY127" fmla="*/ 1089660 h 3680460"/>
                  <a:gd name="connsiteX128" fmla="*/ 2735580 w 3017559"/>
                  <a:gd name="connsiteY128" fmla="*/ 1043940 h 3680460"/>
                  <a:gd name="connsiteX129" fmla="*/ 2727960 w 3017559"/>
                  <a:gd name="connsiteY129" fmla="*/ 1021080 h 3680460"/>
                  <a:gd name="connsiteX130" fmla="*/ 2682240 w 3017559"/>
                  <a:gd name="connsiteY130" fmla="*/ 937260 h 3680460"/>
                  <a:gd name="connsiteX131" fmla="*/ 2659380 w 3017559"/>
                  <a:gd name="connsiteY131" fmla="*/ 876300 h 3680460"/>
                  <a:gd name="connsiteX132" fmla="*/ 2644140 w 3017559"/>
                  <a:gd name="connsiteY132" fmla="*/ 845820 h 3680460"/>
                  <a:gd name="connsiteX133" fmla="*/ 2636520 w 3017559"/>
                  <a:gd name="connsiteY133" fmla="*/ 822960 h 3680460"/>
                  <a:gd name="connsiteX134" fmla="*/ 2621280 w 3017559"/>
                  <a:gd name="connsiteY134" fmla="*/ 800100 h 3680460"/>
                  <a:gd name="connsiteX135" fmla="*/ 2598420 w 3017559"/>
                  <a:gd name="connsiteY135" fmla="*/ 739140 h 3680460"/>
                  <a:gd name="connsiteX136" fmla="*/ 2458403 w 3017559"/>
                  <a:gd name="connsiteY136" fmla="*/ 621983 h 3680460"/>
                  <a:gd name="connsiteX137" fmla="*/ 2301240 w 3017559"/>
                  <a:gd name="connsiteY137" fmla="*/ 458152 h 3680460"/>
                  <a:gd name="connsiteX138" fmla="*/ 2237423 w 3017559"/>
                  <a:gd name="connsiteY138" fmla="*/ 406717 h 3680460"/>
                  <a:gd name="connsiteX139" fmla="*/ 2103120 w 3017559"/>
                  <a:gd name="connsiteY139" fmla="*/ 312420 h 3680460"/>
                  <a:gd name="connsiteX140" fmla="*/ 2042160 w 3017559"/>
                  <a:gd name="connsiteY140" fmla="*/ 266700 h 3680460"/>
                  <a:gd name="connsiteX141" fmla="*/ 2004060 w 3017559"/>
                  <a:gd name="connsiteY141" fmla="*/ 251460 h 3680460"/>
                  <a:gd name="connsiteX142" fmla="*/ 1958340 w 3017559"/>
                  <a:gd name="connsiteY142" fmla="*/ 220980 h 3680460"/>
                  <a:gd name="connsiteX143" fmla="*/ 1897380 w 3017559"/>
                  <a:gd name="connsiteY143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019300 w 3017559"/>
                  <a:gd name="connsiteY42" fmla="*/ 3467100 h 3680460"/>
                  <a:gd name="connsiteX43" fmla="*/ 1874520 w 3017559"/>
                  <a:gd name="connsiteY43" fmla="*/ 3512820 h 3680460"/>
                  <a:gd name="connsiteX44" fmla="*/ 1828800 w 3017559"/>
                  <a:gd name="connsiteY44" fmla="*/ 3520440 h 3680460"/>
                  <a:gd name="connsiteX45" fmla="*/ 1722120 w 3017559"/>
                  <a:gd name="connsiteY45" fmla="*/ 3550920 h 3680460"/>
                  <a:gd name="connsiteX46" fmla="*/ 1600200 w 3017559"/>
                  <a:gd name="connsiteY46" fmla="*/ 3589020 h 3680460"/>
                  <a:gd name="connsiteX47" fmla="*/ 1569720 w 3017559"/>
                  <a:gd name="connsiteY47" fmla="*/ 3596640 h 3680460"/>
                  <a:gd name="connsiteX48" fmla="*/ 1546860 w 3017559"/>
                  <a:gd name="connsiteY48" fmla="*/ 3611880 h 3680460"/>
                  <a:gd name="connsiteX49" fmla="*/ 1463040 w 3017559"/>
                  <a:gd name="connsiteY49" fmla="*/ 3627120 h 3680460"/>
                  <a:gd name="connsiteX50" fmla="*/ 1333500 w 3017559"/>
                  <a:gd name="connsiteY50" fmla="*/ 3657600 h 3680460"/>
                  <a:gd name="connsiteX51" fmla="*/ 1203960 w 3017559"/>
                  <a:gd name="connsiteY51" fmla="*/ 3672840 h 3680460"/>
                  <a:gd name="connsiteX52" fmla="*/ 1165860 w 3017559"/>
                  <a:gd name="connsiteY52" fmla="*/ 3680460 h 3680460"/>
                  <a:gd name="connsiteX53" fmla="*/ 449580 w 3017559"/>
                  <a:gd name="connsiteY53" fmla="*/ 3672840 h 3680460"/>
                  <a:gd name="connsiteX54" fmla="*/ 426720 w 3017559"/>
                  <a:gd name="connsiteY54" fmla="*/ 3665220 h 3680460"/>
                  <a:gd name="connsiteX55" fmla="*/ 388620 w 3017559"/>
                  <a:gd name="connsiteY55" fmla="*/ 3657600 h 3680460"/>
                  <a:gd name="connsiteX56" fmla="*/ 335280 w 3017559"/>
                  <a:gd name="connsiteY56" fmla="*/ 3627120 h 3680460"/>
                  <a:gd name="connsiteX57" fmla="*/ 266700 w 3017559"/>
                  <a:gd name="connsiteY57" fmla="*/ 3604260 h 3680460"/>
                  <a:gd name="connsiteX58" fmla="*/ 243840 w 3017559"/>
                  <a:gd name="connsiteY58" fmla="*/ 3589020 h 3680460"/>
                  <a:gd name="connsiteX59" fmla="*/ 160020 w 3017559"/>
                  <a:gd name="connsiteY59" fmla="*/ 3558540 h 3680460"/>
                  <a:gd name="connsiteX60" fmla="*/ 137160 w 3017559"/>
                  <a:gd name="connsiteY60" fmla="*/ 3535680 h 3680460"/>
                  <a:gd name="connsiteX61" fmla="*/ 99060 w 3017559"/>
                  <a:gd name="connsiteY61" fmla="*/ 3520440 h 3680460"/>
                  <a:gd name="connsiteX62" fmla="*/ 83820 w 3017559"/>
                  <a:gd name="connsiteY62" fmla="*/ 3489960 h 3680460"/>
                  <a:gd name="connsiteX63" fmla="*/ 45720 w 3017559"/>
                  <a:gd name="connsiteY63" fmla="*/ 3436620 h 3680460"/>
                  <a:gd name="connsiteX64" fmla="*/ 0 w 3017559"/>
                  <a:gd name="connsiteY64" fmla="*/ 3352800 h 3680460"/>
                  <a:gd name="connsiteX65" fmla="*/ 30480 w 3017559"/>
                  <a:gd name="connsiteY65" fmla="*/ 3345180 h 3680460"/>
                  <a:gd name="connsiteX66" fmla="*/ 137160 w 3017559"/>
                  <a:gd name="connsiteY66" fmla="*/ 3360420 h 3680460"/>
                  <a:gd name="connsiteX67" fmla="*/ 167640 w 3017559"/>
                  <a:gd name="connsiteY67" fmla="*/ 3390900 h 3680460"/>
                  <a:gd name="connsiteX68" fmla="*/ 198120 w 3017559"/>
                  <a:gd name="connsiteY68" fmla="*/ 3406140 h 3680460"/>
                  <a:gd name="connsiteX69" fmla="*/ 350520 w 3017559"/>
                  <a:gd name="connsiteY69" fmla="*/ 3436620 h 3680460"/>
                  <a:gd name="connsiteX70" fmla="*/ 381000 w 3017559"/>
                  <a:gd name="connsiteY70" fmla="*/ 3451860 h 3680460"/>
                  <a:gd name="connsiteX71" fmla="*/ 449580 w 3017559"/>
                  <a:gd name="connsiteY71" fmla="*/ 3489960 h 3680460"/>
                  <a:gd name="connsiteX72" fmla="*/ 495300 w 3017559"/>
                  <a:gd name="connsiteY72" fmla="*/ 3520440 h 3680460"/>
                  <a:gd name="connsiteX73" fmla="*/ 525780 w 3017559"/>
                  <a:gd name="connsiteY73" fmla="*/ 3535680 h 3680460"/>
                  <a:gd name="connsiteX74" fmla="*/ 731520 w 3017559"/>
                  <a:gd name="connsiteY74" fmla="*/ 3558540 h 3680460"/>
                  <a:gd name="connsiteX75" fmla="*/ 1341120 w 3017559"/>
                  <a:gd name="connsiteY75" fmla="*/ 3550920 h 3680460"/>
                  <a:gd name="connsiteX76" fmla="*/ 1440180 w 3017559"/>
                  <a:gd name="connsiteY76" fmla="*/ 3528060 h 3680460"/>
                  <a:gd name="connsiteX77" fmla="*/ 1539240 w 3017559"/>
                  <a:gd name="connsiteY77" fmla="*/ 3520440 h 3680460"/>
                  <a:gd name="connsiteX78" fmla="*/ 1562100 w 3017559"/>
                  <a:gd name="connsiteY78" fmla="*/ 3512820 h 3680460"/>
                  <a:gd name="connsiteX79" fmla="*/ 1630680 w 3017559"/>
                  <a:gd name="connsiteY79" fmla="*/ 3497580 h 3680460"/>
                  <a:gd name="connsiteX80" fmla="*/ 1699260 w 3017559"/>
                  <a:gd name="connsiteY80" fmla="*/ 3474720 h 3680460"/>
                  <a:gd name="connsiteX81" fmla="*/ 1790700 w 3017559"/>
                  <a:gd name="connsiteY81" fmla="*/ 3451860 h 3680460"/>
                  <a:gd name="connsiteX82" fmla="*/ 1821180 w 3017559"/>
                  <a:gd name="connsiteY82" fmla="*/ 3444240 h 3680460"/>
                  <a:gd name="connsiteX83" fmla="*/ 1844040 w 3017559"/>
                  <a:gd name="connsiteY83" fmla="*/ 3429000 h 3680460"/>
                  <a:gd name="connsiteX84" fmla="*/ 1874520 w 3017559"/>
                  <a:gd name="connsiteY84" fmla="*/ 3421380 h 3680460"/>
                  <a:gd name="connsiteX85" fmla="*/ 1927860 w 3017559"/>
                  <a:gd name="connsiteY85" fmla="*/ 3398520 h 3680460"/>
                  <a:gd name="connsiteX86" fmla="*/ 1950720 w 3017559"/>
                  <a:gd name="connsiteY86" fmla="*/ 3390900 h 3680460"/>
                  <a:gd name="connsiteX87" fmla="*/ 2004060 w 3017559"/>
                  <a:gd name="connsiteY87" fmla="*/ 3360420 h 3680460"/>
                  <a:gd name="connsiteX88" fmla="*/ 2042160 w 3017559"/>
                  <a:gd name="connsiteY88" fmla="*/ 3352800 h 3680460"/>
                  <a:gd name="connsiteX89" fmla="*/ 2080260 w 3017559"/>
                  <a:gd name="connsiteY89" fmla="*/ 3337560 h 3680460"/>
                  <a:gd name="connsiteX90" fmla="*/ 2156460 w 3017559"/>
                  <a:gd name="connsiteY90" fmla="*/ 3299460 h 3680460"/>
                  <a:gd name="connsiteX91" fmla="*/ 2179320 w 3017559"/>
                  <a:gd name="connsiteY91" fmla="*/ 3284220 h 3680460"/>
                  <a:gd name="connsiteX92" fmla="*/ 2209800 w 3017559"/>
                  <a:gd name="connsiteY92" fmla="*/ 3276600 h 3680460"/>
                  <a:gd name="connsiteX93" fmla="*/ 2263140 w 3017559"/>
                  <a:gd name="connsiteY93" fmla="*/ 3230880 h 3680460"/>
                  <a:gd name="connsiteX94" fmla="*/ 2346960 w 3017559"/>
                  <a:gd name="connsiteY94" fmla="*/ 3154680 h 3680460"/>
                  <a:gd name="connsiteX95" fmla="*/ 2400300 w 3017559"/>
                  <a:gd name="connsiteY95" fmla="*/ 3070860 h 3680460"/>
                  <a:gd name="connsiteX96" fmla="*/ 2415540 w 3017559"/>
                  <a:gd name="connsiteY96" fmla="*/ 3048000 h 3680460"/>
                  <a:gd name="connsiteX97" fmla="*/ 2446020 w 3017559"/>
                  <a:gd name="connsiteY97" fmla="*/ 3032760 h 3680460"/>
                  <a:gd name="connsiteX98" fmla="*/ 2468880 w 3017559"/>
                  <a:gd name="connsiteY98" fmla="*/ 3009900 h 3680460"/>
                  <a:gd name="connsiteX99" fmla="*/ 2537460 w 3017559"/>
                  <a:gd name="connsiteY99" fmla="*/ 2926080 h 3680460"/>
                  <a:gd name="connsiteX100" fmla="*/ 2575560 w 3017559"/>
                  <a:gd name="connsiteY100" fmla="*/ 2880360 h 3680460"/>
                  <a:gd name="connsiteX101" fmla="*/ 2628900 w 3017559"/>
                  <a:gd name="connsiteY101" fmla="*/ 2811780 h 3680460"/>
                  <a:gd name="connsiteX102" fmla="*/ 2644140 w 3017559"/>
                  <a:gd name="connsiteY102" fmla="*/ 2773680 h 3680460"/>
                  <a:gd name="connsiteX103" fmla="*/ 2674620 w 3017559"/>
                  <a:gd name="connsiteY103" fmla="*/ 2727960 h 3680460"/>
                  <a:gd name="connsiteX104" fmla="*/ 2689860 w 3017559"/>
                  <a:gd name="connsiteY104" fmla="*/ 2705100 h 3680460"/>
                  <a:gd name="connsiteX105" fmla="*/ 2705100 w 3017559"/>
                  <a:gd name="connsiteY105" fmla="*/ 2667000 h 3680460"/>
                  <a:gd name="connsiteX106" fmla="*/ 2727960 w 3017559"/>
                  <a:gd name="connsiteY106" fmla="*/ 2621280 h 3680460"/>
                  <a:gd name="connsiteX107" fmla="*/ 2735580 w 3017559"/>
                  <a:gd name="connsiteY107" fmla="*/ 2590800 h 3680460"/>
                  <a:gd name="connsiteX108" fmla="*/ 2758440 w 3017559"/>
                  <a:gd name="connsiteY108" fmla="*/ 2545080 h 3680460"/>
                  <a:gd name="connsiteX109" fmla="*/ 2788920 w 3017559"/>
                  <a:gd name="connsiteY109" fmla="*/ 2484120 h 3680460"/>
                  <a:gd name="connsiteX110" fmla="*/ 2811780 w 3017559"/>
                  <a:gd name="connsiteY110" fmla="*/ 2407920 h 3680460"/>
                  <a:gd name="connsiteX111" fmla="*/ 2842260 w 3017559"/>
                  <a:gd name="connsiteY111" fmla="*/ 2324100 h 3680460"/>
                  <a:gd name="connsiteX112" fmla="*/ 2857500 w 3017559"/>
                  <a:gd name="connsiteY112" fmla="*/ 2247900 h 3680460"/>
                  <a:gd name="connsiteX113" fmla="*/ 2872740 w 3017559"/>
                  <a:gd name="connsiteY113" fmla="*/ 2194560 h 3680460"/>
                  <a:gd name="connsiteX114" fmla="*/ 2887980 w 3017559"/>
                  <a:gd name="connsiteY114" fmla="*/ 2148840 h 3680460"/>
                  <a:gd name="connsiteX115" fmla="*/ 2910840 w 3017559"/>
                  <a:gd name="connsiteY115" fmla="*/ 2087880 h 3680460"/>
                  <a:gd name="connsiteX116" fmla="*/ 2918460 w 3017559"/>
                  <a:gd name="connsiteY116" fmla="*/ 2049780 h 3680460"/>
                  <a:gd name="connsiteX117" fmla="*/ 2933700 w 3017559"/>
                  <a:gd name="connsiteY117" fmla="*/ 1844040 h 3680460"/>
                  <a:gd name="connsiteX118" fmla="*/ 2918460 w 3017559"/>
                  <a:gd name="connsiteY118" fmla="*/ 1470660 h 3680460"/>
                  <a:gd name="connsiteX119" fmla="*/ 2895600 w 3017559"/>
                  <a:gd name="connsiteY119" fmla="*/ 1371600 h 3680460"/>
                  <a:gd name="connsiteX120" fmla="*/ 2880360 w 3017559"/>
                  <a:gd name="connsiteY120" fmla="*/ 1341120 h 3680460"/>
                  <a:gd name="connsiteX121" fmla="*/ 2857500 w 3017559"/>
                  <a:gd name="connsiteY121" fmla="*/ 1272540 h 3680460"/>
                  <a:gd name="connsiteX122" fmla="*/ 2849880 w 3017559"/>
                  <a:gd name="connsiteY122" fmla="*/ 1234440 h 3680460"/>
                  <a:gd name="connsiteX123" fmla="*/ 2827020 w 3017559"/>
                  <a:gd name="connsiteY123" fmla="*/ 1196340 h 3680460"/>
                  <a:gd name="connsiteX124" fmla="*/ 2811780 w 3017559"/>
                  <a:gd name="connsiteY124" fmla="*/ 1165860 h 3680460"/>
                  <a:gd name="connsiteX125" fmla="*/ 2781300 w 3017559"/>
                  <a:gd name="connsiteY125" fmla="*/ 1127760 h 3680460"/>
                  <a:gd name="connsiteX126" fmla="*/ 2766060 w 3017559"/>
                  <a:gd name="connsiteY126" fmla="*/ 1089660 h 3680460"/>
                  <a:gd name="connsiteX127" fmla="*/ 2735580 w 3017559"/>
                  <a:gd name="connsiteY127" fmla="*/ 1043940 h 3680460"/>
                  <a:gd name="connsiteX128" fmla="*/ 2727960 w 3017559"/>
                  <a:gd name="connsiteY128" fmla="*/ 1021080 h 3680460"/>
                  <a:gd name="connsiteX129" fmla="*/ 2682240 w 3017559"/>
                  <a:gd name="connsiteY129" fmla="*/ 937260 h 3680460"/>
                  <a:gd name="connsiteX130" fmla="*/ 2659380 w 3017559"/>
                  <a:gd name="connsiteY130" fmla="*/ 876300 h 3680460"/>
                  <a:gd name="connsiteX131" fmla="*/ 2644140 w 3017559"/>
                  <a:gd name="connsiteY131" fmla="*/ 845820 h 3680460"/>
                  <a:gd name="connsiteX132" fmla="*/ 2636520 w 3017559"/>
                  <a:gd name="connsiteY132" fmla="*/ 822960 h 3680460"/>
                  <a:gd name="connsiteX133" fmla="*/ 2621280 w 3017559"/>
                  <a:gd name="connsiteY133" fmla="*/ 800100 h 3680460"/>
                  <a:gd name="connsiteX134" fmla="*/ 2598420 w 3017559"/>
                  <a:gd name="connsiteY134" fmla="*/ 739140 h 3680460"/>
                  <a:gd name="connsiteX135" fmla="*/ 2458403 w 3017559"/>
                  <a:gd name="connsiteY135" fmla="*/ 621983 h 3680460"/>
                  <a:gd name="connsiteX136" fmla="*/ 2301240 w 3017559"/>
                  <a:gd name="connsiteY136" fmla="*/ 458152 h 3680460"/>
                  <a:gd name="connsiteX137" fmla="*/ 2237423 w 3017559"/>
                  <a:gd name="connsiteY137" fmla="*/ 406717 h 3680460"/>
                  <a:gd name="connsiteX138" fmla="*/ 2103120 w 3017559"/>
                  <a:gd name="connsiteY138" fmla="*/ 312420 h 3680460"/>
                  <a:gd name="connsiteX139" fmla="*/ 2042160 w 3017559"/>
                  <a:gd name="connsiteY139" fmla="*/ 266700 h 3680460"/>
                  <a:gd name="connsiteX140" fmla="*/ 2004060 w 3017559"/>
                  <a:gd name="connsiteY140" fmla="*/ 251460 h 3680460"/>
                  <a:gd name="connsiteX141" fmla="*/ 1958340 w 3017559"/>
                  <a:gd name="connsiteY141" fmla="*/ 220980 h 3680460"/>
                  <a:gd name="connsiteX142" fmla="*/ 1897380 w 3017559"/>
                  <a:gd name="connsiteY142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009775 w 3017559"/>
                  <a:gd name="connsiteY42" fmla="*/ 3448050 h 3680460"/>
                  <a:gd name="connsiteX43" fmla="*/ 1874520 w 3017559"/>
                  <a:gd name="connsiteY43" fmla="*/ 3512820 h 3680460"/>
                  <a:gd name="connsiteX44" fmla="*/ 1828800 w 3017559"/>
                  <a:gd name="connsiteY44" fmla="*/ 3520440 h 3680460"/>
                  <a:gd name="connsiteX45" fmla="*/ 1722120 w 3017559"/>
                  <a:gd name="connsiteY45" fmla="*/ 3550920 h 3680460"/>
                  <a:gd name="connsiteX46" fmla="*/ 1600200 w 3017559"/>
                  <a:gd name="connsiteY46" fmla="*/ 3589020 h 3680460"/>
                  <a:gd name="connsiteX47" fmla="*/ 1569720 w 3017559"/>
                  <a:gd name="connsiteY47" fmla="*/ 3596640 h 3680460"/>
                  <a:gd name="connsiteX48" fmla="*/ 1546860 w 3017559"/>
                  <a:gd name="connsiteY48" fmla="*/ 3611880 h 3680460"/>
                  <a:gd name="connsiteX49" fmla="*/ 1463040 w 3017559"/>
                  <a:gd name="connsiteY49" fmla="*/ 3627120 h 3680460"/>
                  <a:gd name="connsiteX50" fmla="*/ 1333500 w 3017559"/>
                  <a:gd name="connsiteY50" fmla="*/ 3657600 h 3680460"/>
                  <a:gd name="connsiteX51" fmla="*/ 1203960 w 3017559"/>
                  <a:gd name="connsiteY51" fmla="*/ 3672840 h 3680460"/>
                  <a:gd name="connsiteX52" fmla="*/ 1165860 w 3017559"/>
                  <a:gd name="connsiteY52" fmla="*/ 3680460 h 3680460"/>
                  <a:gd name="connsiteX53" fmla="*/ 449580 w 3017559"/>
                  <a:gd name="connsiteY53" fmla="*/ 3672840 h 3680460"/>
                  <a:gd name="connsiteX54" fmla="*/ 426720 w 3017559"/>
                  <a:gd name="connsiteY54" fmla="*/ 3665220 h 3680460"/>
                  <a:gd name="connsiteX55" fmla="*/ 388620 w 3017559"/>
                  <a:gd name="connsiteY55" fmla="*/ 3657600 h 3680460"/>
                  <a:gd name="connsiteX56" fmla="*/ 335280 w 3017559"/>
                  <a:gd name="connsiteY56" fmla="*/ 3627120 h 3680460"/>
                  <a:gd name="connsiteX57" fmla="*/ 266700 w 3017559"/>
                  <a:gd name="connsiteY57" fmla="*/ 3604260 h 3680460"/>
                  <a:gd name="connsiteX58" fmla="*/ 243840 w 3017559"/>
                  <a:gd name="connsiteY58" fmla="*/ 3589020 h 3680460"/>
                  <a:gd name="connsiteX59" fmla="*/ 160020 w 3017559"/>
                  <a:gd name="connsiteY59" fmla="*/ 3558540 h 3680460"/>
                  <a:gd name="connsiteX60" fmla="*/ 137160 w 3017559"/>
                  <a:gd name="connsiteY60" fmla="*/ 3535680 h 3680460"/>
                  <a:gd name="connsiteX61" fmla="*/ 99060 w 3017559"/>
                  <a:gd name="connsiteY61" fmla="*/ 3520440 h 3680460"/>
                  <a:gd name="connsiteX62" fmla="*/ 83820 w 3017559"/>
                  <a:gd name="connsiteY62" fmla="*/ 3489960 h 3680460"/>
                  <a:gd name="connsiteX63" fmla="*/ 45720 w 3017559"/>
                  <a:gd name="connsiteY63" fmla="*/ 3436620 h 3680460"/>
                  <a:gd name="connsiteX64" fmla="*/ 0 w 3017559"/>
                  <a:gd name="connsiteY64" fmla="*/ 3352800 h 3680460"/>
                  <a:gd name="connsiteX65" fmla="*/ 30480 w 3017559"/>
                  <a:gd name="connsiteY65" fmla="*/ 3345180 h 3680460"/>
                  <a:gd name="connsiteX66" fmla="*/ 137160 w 3017559"/>
                  <a:gd name="connsiteY66" fmla="*/ 3360420 h 3680460"/>
                  <a:gd name="connsiteX67" fmla="*/ 167640 w 3017559"/>
                  <a:gd name="connsiteY67" fmla="*/ 3390900 h 3680460"/>
                  <a:gd name="connsiteX68" fmla="*/ 198120 w 3017559"/>
                  <a:gd name="connsiteY68" fmla="*/ 3406140 h 3680460"/>
                  <a:gd name="connsiteX69" fmla="*/ 350520 w 3017559"/>
                  <a:gd name="connsiteY69" fmla="*/ 3436620 h 3680460"/>
                  <a:gd name="connsiteX70" fmla="*/ 381000 w 3017559"/>
                  <a:gd name="connsiteY70" fmla="*/ 3451860 h 3680460"/>
                  <a:gd name="connsiteX71" fmla="*/ 449580 w 3017559"/>
                  <a:gd name="connsiteY71" fmla="*/ 3489960 h 3680460"/>
                  <a:gd name="connsiteX72" fmla="*/ 495300 w 3017559"/>
                  <a:gd name="connsiteY72" fmla="*/ 3520440 h 3680460"/>
                  <a:gd name="connsiteX73" fmla="*/ 525780 w 3017559"/>
                  <a:gd name="connsiteY73" fmla="*/ 3535680 h 3680460"/>
                  <a:gd name="connsiteX74" fmla="*/ 731520 w 3017559"/>
                  <a:gd name="connsiteY74" fmla="*/ 3558540 h 3680460"/>
                  <a:gd name="connsiteX75" fmla="*/ 1341120 w 3017559"/>
                  <a:gd name="connsiteY75" fmla="*/ 3550920 h 3680460"/>
                  <a:gd name="connsiteX76" fmla="*/ 1440180 w 3017559"/>
                  <a:gd name="connsiteY76" fmla="*/ 3528060 h 3680460"/>
                  <a:gd name="connsiteX77" fmla="*/ 1539240 w 3017559"/>
                  <a:gd name="connsiteY77" fmla="*/ 3520440 h 3680460"/>
                  <a:gd name="connsiteX78" fmla="*/ 1562100 w 3017559"/>
                  <a:gd name="connsiteY78" fmla="*/ 3512820 h 3680460"/>
                  <a:gd name="connsiteX79" fmla="*/ 1630680 w 3017559"/>
                  <a:gd name="connsiteY79" fmla="*/ 3497580 h 3680460"/>
                  <a:gd name="connsiteX80" fmla="*/ 1699260 w 3017559"/>
                  <a:gd name="connsiteY80" fmla="*/ 3474720 h 3680460"/>
                  <a:gd name="connsiteX81" fmla="*/ 1790700 w 3017559"/>
                  <a:gd name="connsiteY81" fmla="*/ 3451860 h 3680460"/>
                  <a:gd name="connsiteX82" fmla="*/ 1821180 w 3017559"/>
                  <a:gd name="connsiteY82" fmla="*/ 3444240 h 3680460"/>
                  <a:gd name="connsiteX83" fmla="*/ 1844040 w 3017559"/>
                  <a:gd name="connsiteY83" fmla="*/ 3429000 h 3680460"/>
                  <a:gd name="connsiteX84" fmla="*/ 1874520 w 3017559"/>
                  <a:gd name="connsiteY84" fmla="*/ 3421380 h 3680460"/>
                  <a:gd name="connsiteX85" fmla="*/ 1927860 w 3017559"/>
                  <a:gd name="connsiteY85" fmla="*/ 3398520 h 3680460"/>
                  <a:gd name="connsiteX86" fmla="*/ 1950720 w 3017559"/>
                  <a:gd name="connsiteY86" fmla="*/ 3390900 h 3680460"/>
                  <a:gd name="connsiteX87" fmla="*/ 2004060 w 3017559"/>
                  <a:gd name="connsiteY87" fmla="*/ 3360420 h 3680460"/>
                  <a:gd name="connsiteX88" fmla="*/ 2042160 w 3017559"/>
                  <a:gd name="connsiteY88" fmla="*/ 3352800 h 3680460"/>
                  <a:gd name="connsiteX89" fmla="*/ 2080260 w 3017559"/>
                  <a:gd name="connsiteY89" fmla="*/ 3337560 h 3680460"/>
                  <a:gd name="connsiteX90" fmla="*/ 2156460 w 3017559"/>
                  <a:gd name="connsiteY90" fmla="*/ 3299460 h 3680460"/>
                  <a:gd name="connsiteX91" fmla="*/ 2179320 w 3017559"/>
                  <a:gd name="connsiteY91" fmla="*/ 3284220 h 3680460"/>
                  <a:gd name="connsiteX92" fmla="*/ 2209800 w 3017559"/>
                  <a:gd name="connsiteY92" fmla="*/ 3276600 h 3680460"/>
                  <a:gd name="connsiteX93" fmla="*/ 2263140 w 3017559"/>
                  <a:gd name="connsiteY93" fmla="*/ 3230880 h 3680460"/>
                  <a:gd name="connsiteX94" fmla="*/ 2346960 w 3017559"/>
                  <a:gd name="connsiteY94" fmla="*/ 3154680 h 3680460"/>
                  <a:gd name="connsiteX95" fmla="*/ 2400300 w 3017559"/>
                  <a:gd name="connsiteY95" fmla="*/ 3070860 h 3680460"/>
                  <a:gd name="connsiteX96" fmla="*/ 2415540 w 3017559"/>
                  <a:gd name="connsiteY96" fmla="*/ 3048000 h 3680460"/>
                  <a:gd name="connsiteX97" fmla="*/ 2446020 w 3017559"/>
                  <a:gd name="connsiteY97" fmla="*/ 3032760 h 3680460"/>
                  <a:gd name="connsiteX98" fmla="*/ 2468880 w 3017559"/>
                  <a:gd name="connsiteY98" fmla="*/ 3009900 h 3680460"/>
                  <a:gd name="connsiteX99" fmla="*/ 2537460 w 3017559"/>
                  <a:gd name="connsiteY99" fmla="*/ 2926080 h 3680460"/>
                  <a:gd name="connsiteX100" fmla="*/ 2575560 w 3017559"/>
                  <a:gd name="connsiteY100" fmla="*/ 2880360 h 3680460"/>
                  <a:gd name="connsiteX101" fmla="*/ 2628900 w 3017559"/>
                  <a:gd name="connsiteY101" fmla="*/ 2811780 h 3680460"/>
                  <a:gd name="connsiteX102" fmla="*/ 2644140 w 3017559"/>
                  <a:gd name="connsiteY102" fmla="*/ 2773680 h 3680460"/>
                  <a:gd name="connsiteX103" fmla="*/ 2674620 w 3017559"/>
                  <a:gd name="connsiteY103" fmla="*/ 2727960 h 3680460"/>
                  <a:gd name="connsiteX104" fmla="*/ 2689860 w 3017559"/>
                  <a:gd name="connsiteY104" fmla="*/ 2705100 h 3680460"/>
                  <a:gd name="connsiteX105" fmla="*/ 2705100 w 3017559"/>
                  <a:gd name="connsiteY105" fmla="*/ 2667000 h 3680460"/>
                  <a:gd name="connsiteX106" fmla="*/ 2727960 w 3017559"/>
                  <a:gd name="connsiteY106" fmla="*/ 2621280 h 3680460"/>
                  <a:gd name="connsiteX107" fmla="*/ 2735580 w 3017559"/>
                  <a:gd name="connsiteY107" fmla="*/ 2590800 h 3680460"/>
                  <a:gd name="connsiteX108" fmla="*/ 2758440 w 3017559"/>
                  <a:gd name="connsiteY108" fmla="*/ 2545080 h 3680460"/>
                  <a:gd name="connsiteX109" fmla="*/ 2788920 w 3017559"/>
                  <a:gd name="connsiteY109" fmla="*/ 2484120 h 3680460"/>
                  <a:gd name="connsiteX110" fmla="*/ 2811780 w 3017559"/>
                  <a:gd name="connsiteY110" fmla="*/ 2407920 h 3680460"/>
                  <a:gd name="connsiteX111" fmla="*/ 2842260 w 3017559"/>
                  <a:gd name="connsiteY111" fmla="*/ 2324100 h 3680460"/>
                  <a:gd name="connsiteX112" fmla="*/ 2857500 w 3017559"/>
                  <a:gd name="connsiteY112" fmla="*/ 2247900 h 3680460"/>
                  <a:gd name="connsiteX113" fmla="*/ 2872740 w 3017559"/>
                  <a:gd name="connsiteY113" fmla="*/ 2194560 h 3680460"/>
                  <a:gd name="connsiteX114" fmla="*/ 2887980 w 3017559"/>
                  <a:gd name="connsiteY114" fmla="*/ 2148840 h 3680460"/>
                  <a:gd name="connsiteX115" fmla="*/ 2910840 w 3017559"/>
                  <a:gd name="connsiteY115" fmla="*/ 2087880 h 3680460"/>
                  <a:gd name="connsiteX116" fmla="*/ 2918460 w 3017559"/>
                  <a:gd name="connsiteY116" fmla="*/ 2049780 h 3680460"/>
                  <a:gd name="connsiteX117" fmla="*/ 2933700 w 3017559"/>
                  <a:gd name="connsiteY117" fmla="*/ 1844040 h 3680460"/>
                  <a:gd name="connsiteX118" fmla="*/ 2918460 w 3017559"/>
                  <a:gd name="connsiteY118" fmla="*/ 1470660 h 3680460"/>
                  <a:gd name="connsiteX119" fmla="*/ 2895600 w 3017559"/>
                  <a:gd name="connsiteY119" fmla="*/ 1371600 h 3680460"/>
                  <a:gd name="connsiteX120" fmla="*/ 2880360 w 3017559"/>
                  <a:gd name="connsiteY120" fmla="*/ 1341120 h 3680460"/>
                  <a:gd name="connsiteX121" fmla="*/ 2857500 w 3017559"/>
                  <a:gd name="connsiteY121" fmla="*/ 1272540 h 3680460"/>
                  <a:gd name="connsiteX122" fmla="*/ 2849880 w 3017559"/>
                  <a:gd name="connsiteY122" fmla="*/ 1234440 h 3680460"/>
                  <a:gd name="connsiteX123" fmla="*/ 2827020 w 3017559"/>
                  <a:gd name="connsiteY123" fmla="*/ 1196340 h 3680460"/>
                  <a:gd name="connsiteX124" fmla="*/ 2811780 w 3017559"/>
                  <a:gd name="connsiteY124" fmla="*/ 1165860 h 3680460"/>
                  <a:gd name="connsiteX125" fmla="*/ 2781300 w 3017559"/>
                  <a:gd name="connsiteY125" fmla="*/ 1127760 h 3680460"/>
                  <a:gd name="connsiteX126" fmla="*/ 2766060 w 3017559"/>
                  <a:gd name="connsiteY126" fmla="*/ 1089660 h 3680460"/>
                  <a:gd name="connsiteX127" fmla="*/ 2735580 w 3017559"/>
                  <a:gd name="connsiteY127" fmla="*/ 1043940 h 3680460"/>
                  <a:gd name="connsiteX128" fmla="*/ 2727960 w 3017559"/>
                  <a:gd name="connsiteY128" fmla="*/ 1021080 h 3680460"/>
                  <a:gd name="connsiteX129" fmla="*/ 2682240 w 3017559"/>
                  <a:gd name="connsiteY129" fmla="*/ 937260 h 3680460"/>
                  <a:gd name="connsiteX130" fmla="*/ 2659380 w 3017559"/>
                  <a:gd name="connsiteY130" fmla="*/ 876300 h 3680460"/>
                  <a:gd name="connsiteX131" fmla="*/ 2644140 w 3017559"/>
                  <a:gd name="connsiteY131" fmla="*/ 845820 h 3680460"/>
                  <a:gd name="connsiteX132" fmla="*/ 2636520 w 3017559"/>
                  <a:gd name="connsiteY132" fmla="*/ 822960 h 3680460"/>
                  <a:gd name="connsiteX133" fmla="*/ 2621280 w 3017559"/>
                  <a:gd name="connsiteY133" fmla="*/ 800100 h 3680460"/>
                  <a:gd name="connsiteX134" fmla="*/ 2598420 w 3017559"/>
                  <a:gd name="connsiteY134" fmla="*/ 739140 h 3680460"/>
                  <a:gd name="connsiteX135" fmla="*/ 2458403 w 3017559"/>
                  <a:gd name="connsiteY135" fmla="*/ 621983 h 3680460"/>
                  <a:gd name="connsiteX136" fmla="*/ 2301240 w 3017559"/>
                  <a:gd name="connsiteY136" fmla="*/ 458152 h 3680460"/>
                  <a:gd name="connsiteX137" fmla="*/ 2237423 w 3017559"/>
                  <a:gd name="connsiteY137" fmla="*/ 406717 h 3680460"/>
                  <a:gd name="connsiteX138" fmla="*/ 2103120 w 3017559"/>
                  <a:gd name="connsiteY138" fmla="*/ 312420 h 3680460"/>
                  <a:gd name="connsiteX139" fmla="*/ 2042160 w 3017559"/>
                  <a:gd name="connsiteY139" fmla="*/ 266700 h 3680460"/>
                  <a:gd name="connsiteX140" fmla="*/ 2004060 w 3017559"/>
                  <a:gd name="connsiteY140" fmla="*/ 251460 h 3680460"/>
                  <a:gd name="connsiteX141" fmla="*/ 1958340 w 3017559"/>
                  <a:gd name="connsiteY141" fmla="*/ 220980 h 3680460"/>
                  <a:gd name="connsiteX142" fmla="*/ 1897380 w 3017559"/>
                  <a:gd name="connsiteY142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141220 w 3017559"/>
                  <a:gd name="connsiteY40" fmla="*/ 3390900 h 3680460"/>
                  <a:gd name="connsiteX41" fmla="*/ 2009775 w 3017559"/>
                  <a:gd name="connsiteY41" fmla="*/ 3448050 h 3680460"/>
                  <a:gd name="connsiteX42" fmla="*/ 1874520 w 3017559"/>
                  <a:gd name="connsiteY42" fmla="*/ 3512820 h 3680460"/>
                  <a:gd name="connsiteX43" fmla="*/ 1828800 w 3017559"/>
                  <a:gd name="connsiteY43" fmla="*/ 3520440 h 3680460"/>
                  <a:gd name="connsiteX44" fmla="*/ 1722120 w 3017559"/>
                  <a:gd name="connsiteY44" fmla="*/ 3550920 h 3680460"/>
                  <a:gd name="connsiteX45" fmla="*/ 1600200 w 3017559"/>
                  <a:gd name="connsiteY45" fmla="*/ 3589020 h 3680460"/>
                  <a:gd name="connsiteX46" fmla="*/ 1569720 w 3017559"/>
                  <a:gd name="connsiteY46" fmla="*/ 3596640 h 3680460"/>
                  <a:gd name="connsiteX47" fmla="*/ 1546860 w 3017559"/>
                  <a:gd name="connsiteY47" fmla="*/ 3611880 h 3680460"/>
                  <a:gd name="connsiteX48" fmla="*/ 1463040 w 3017559"/>
                  <a:gd name="connsiteY48" fmla="*/ 3627120 h 3680460"/>
                  <a:gd name="connsiteX49" fmla="*/ 1333500 w 3017559"/>
                  <a:gd name="connsiteY49" fmla="*/ 3657600 h 3680460"/>
                  <a:gd name="connsiteX50" fmla="*/ 1203960 w 3017559"/>
                  <a:gd name="connsiteY50" fmla="*/ 3672840 h 3680460"/>
                  <a:gd name="connsiteX51" fmla="*/ 1165860 w 3017559"/>
                  <a:gd name="connsiteY51" fmla="*/ 3680460 h 3680460"/>
                  <a:gd name="connsiteX52" fmla="*/ 449580 w 3017559"/>
                  <a:gd name="connsiteY52" fmla="*/ 3672840 h 3680460"/>
                  <a:gd name="connsiteX53" fmla="*/ 426720 w 3017559"/>
                  <a:gd name="connsiteY53" fmla="*/ 3665220 h 3680460"/>
                  <a:gd name="connsiteX54" fmla="*/ 388620 w 3017559"/>
                  <a:gd name="connsiteY54" fmla="*/ 3657600 h 3680460"/>
                  <a:gd name="connsiteX55" fmla="*/ 335280 w 3017559"/>
                  <a:gd name="connsiteY55" fmla="*/ 3627120 h 3680460"/>
                  <a:gd name="connsiteX56" fmla="*/ 266700 w 3017559"/>
                  <a:gd name="connsiteY56" fmla="*/ 3604260 h 3680460"/>
                  <a:gd name="connsiteX57" fmla="*/ 243840 w 3017559"/>
                  <a:gd name="connsiteY57" fmla="*/ 3589020 h 3680460"/>
                  <a:gd name="connsiteX58" fmla="*/ 160020 w 3017559"/>
                  <a:gd name="connsiteY58" fmla="*/ 3558540 h 3680460"/>
                  <a:gd name="connsiteX59" fmla="*/ 137160 w 3017559"/>
                  <a:gd name="connsiteY59" fmla="*/ 3535680 h 3680460"/>
                  <a:gd name="connsiteX60" fmla="*/ 99060 w 3017559"/>
                  <a:gd name="connsiteY60" fmla="*/ 3520440 h 3680460"/>
                  <a:gd name="connsiteX61" fmla="*/ 83820 w 3017559"/>
                  <a:gd name="connsiteY61" fmla="*/ 3489960 h 3680460"/>
                  <a:gd name="connsiteX62" fmla="*/ 45720 w 3017559"/>
                  <a:gd name="connsiteY62" fmla="*/ 3436620 h 3680460"/>
                  <a:gd name="connsiteX63" fmla="*/ 0 w 3017559"/>
                  <a:gd name="connsiteY63" fmla="*/ 3352800 h 3680460"/>
                  <a:gd name="connsiteX64" fmla="*/ 30480 w 3017559"/>
                  <a:gd name="connsiteY64" fmla="*/ 3345180 h 3680460"/>
                  <a:gd name="connsiteX65" fmla="*/ 137160 w 3017559"/>
                  <a:gd name="connsiteY65" fmla="*/ 3360420 h 3680460"/>
                  <a:gd name="connsiteX66" fmla="*/ 167640 w 3017559"/>
                  <a:gd name="connsiteY66" fmla="*/ 3390900 h 3680460"/>
                  <a:gd name="connsiteX67" fmla="*/ 198120 w 3017559"/>
                  <a:gd name="connsiteY67" fmla="*/ 3406140 h 3680460"/>
                  <a:gd name="connsiteX68" fmla="*/ 350520 w 3017559"/>
                  <a:gd name="connsiteY68" fmla="*/ 3436620 h 3680460"/>
                  <a:gd name="connsiteX69" fmla="*/ 381000 w 3017559"/>
                  <a:gd name="connsiteY69" fmla="*/ 3451860 h 3680460"/>
                  <a:gd name="connsiteX70" fmla="*/ 449580 w 3017559"/>
                  <a:gd name="connsiteY70" fmla="*/ 3489960 h 3680460"/>
                  <a:gd name="connsiteX71" fmla="*/ 495300 w 3017559"/>
                  <a:gd name="connsiteY71" fmla="*/ 3520440 h 3680460"/>
                  <a:gd name="connsiteX72" fmla="*/ 525780 w 3017559"/>
                  <a:gd name="connsiteY72" fmla="*/ 3535680 h 3680460"/>
                  <a:gd name="connsiteX73" fmla="*/ 731520 w 3017559"/>
                  <a:gd name="connsiteY73" fmla="*/ 3558540 h 3680460"/>
                  <a:gd name="connsiteX74" fmla="*/ 1341120 w 3017559"/>
                  <a:gd name="connsiteY74" fmla="*/ 3550920 h 3680460"/>
                  <a:gd name="connsiteX75" fmla="*/ 1440180 w 3017559"/>
                  <a:gd name="connsiteY75" fmla="*/ 3528060 h 3680460"/>
                  <a:gd name="connsiteX76" fmla="*/ 1539240 w 3017559"/>
                  <a:gd name="connsiteY76" fmla="*/ 3520440 h 3680460"/>
                  <a:gd name="connsiteX77" fmla="*/ 1562100 w 3017559"/>
                  <a:gd name="connsiteY77" fmla="*/ 3512820 h 3680460"/>
                  <a:gd name="connsiteX78" fmla="*/ 1630680 w 3017559"/>
                  <a:gd name="connsiteY78" fmla="*/ 3497580 h 3680460"/>
                  <a:gd name="connsiteX79" fmla="*/ 1699260 w 3017559"/>
                  <a:gd name="connsiteY79" fmla="*/ 3474720 h 3680460"/>
                  <a:gd name="connsiteX80" fmla="*/ 1790700 w 3017559"/>
                  <a:gd name="connsiteY80" fmla="*/ 3451860 h 3680460"/>
                  <a:gd name="connsiteX81" fmla="*/ 1821180 w 3017559"/>
                  <a:gd name="connsiteY81" fmla="*/ 3444240 h 3680460"/>
                  <a:gd name="connsiteX82" fmla="*/ 1844040 w 3017559"/>
                  <a:gd name="connsiteY82" fmla="*/ 3429000 h 3680460"/>
                  <a:gd name="connsiteX83" fmla="*/ 1874520 w 3017559"/>
                  <a:gd name="connsiteY83" fmla="*/ 3421380 h 3680460"/>
                  <a:gd name="connsiteX84" fmla="*/ 1927860 w 3017559"/>
                  <a:gd name="connsiteY84" fmla="*/ 3398520 h 3680460"/>
                  <a:gd name="connsiteX85" fmla="*/ 1950720 w 3017559"/>
                  <a:gd name="connsiteY85" fmla="*/ 3390900 h 3680460"/>
                  <a:gd name="connsiteX86" fmla="*/ 2004060 w 3017559"/>
                  <a:gd name="connsiteY86" fmla="*/ 3360420 h 3680460"/>
                  <a:gd name="connsiteX87" fmla="*/ 2042160 w 3017559"/>
                  <a:gd name="connsiteY87" fmla="*/ 3352800 h 3680460"/>
                  <a:gd name="connsiteX88" fmla="*/ 2080260 w 3017559"/>
                  <a:gd name="connsiteY88" fmla="*/ 3337560 h 3680460"/>
                  <a:gd name="connsiteX89" fmla="*/ 2156460 w 3017559"/>
                  <a:gd name="connsiteY89" fmla="*/ 3299460 h 3680460"/>
                  <a:gd name="connsiteX90" fmla="*/ 2179320 w 3017559"/>
                  <a:gd name="connsiteY90" fmla="*/ 3284220 h 3680460"/>
                  <a:gd name="connsiteX91" fmla="*/ 2209800 w 3017559"/>
                  <a:gd name="connsiteY91" fmla="*/ 3276600 h 3680460"/>
                  <a:gd name="connsiteX92" fmla="*/ 2263140 w 3017559"/>
                  <a:gd name="connsiteY92" fmla="*/ 3230880 h 3680460"/>
                  <a:gd name="connsiteX93" fmla="*/ 2346960 w 3017559"/>
                  <a:gd name="connsiteY93" fmla="*/ 3154680 h 3680460"/>
                  <a:gd name="connsiteX94" fmla="*/ 2400300 w 3017559"/>
                  <a:gd name="connsiteY94" fmla="*/ 3070860 h 3680460"/>
                  <a:gd name="connsiteX95" fmla="*/ 2415540 w 3017559"/>
                  <a:gd name="connsiteY95" fmla="*/ 3048000 h 3680460"/>
                  <a:gd name="connsiteX96" fmla="*/ 2446020 w 3017559"/>
                  <a:gd name="connsiteY96" fmla="*/ 3032760 h 3680460"/>
                  <a:gd name="connsiteX97" fmla="*/ 2468880 w 3017559"/>
                  <a:gd name="connsiteY97" fmla="*/ 3009900 h 3680460"/>
                  <a:gd name="connsiteX98" fmla="*/ 2537460 w 3017559"/>
                  <a:gd name="connsiteY98" fmla="*/ 2926080 h 3680460"/>
                  <a:gd name="connsiteX99" fmla="*/ 2575560 w 3017559"/>
                  <a:gd name="connsiteY99" fmla="*/ 2880360 h 3680460"/>
                  <a:gd name="connsiteX100" fmla="*/ 2628900 w 3017559"/>
                  <a:gd name="connsiteY100" fmla="*/ 2811780 h 3680460"/>
                  <a:gd name="connsiteX101" fmla="*/ 2644140 w 3017559"/>
                  <a:gd name="connsiteY101" fmla="*/ 2773680 h 3680460"/>
                  <a:gd name="connsiteX102" fmla="*/ 2674620 w 3017559"/>
                  <a:gd name="connsiteY102" fmla="*/ 2727960 h 3680460"/>
                  <a:gd name="connsiteX103" fmla="*/ 2689860 w 3017559"/>
                  <a:gd name="connsiteY103" fmla="*/ 2705100 h 3680460"/>
                  <a:gd name="connsiteX104" fmla="*/ 2705100 w 3017559"/>
                  <a:gd name="connsiteY104" fmla="*/ 2667000 h 3680460"/>
                  <a:gd name="connsiteX105" fmla="*/ 2727960 w 3017559"/>
                  <a:gd name="connsiteY105" fmla="*/ 2621280 h 3680460"/>
                  <a:gd name="connsiteX106" fmla="*/ 2735580 w 3017559"/>
                  <a:gd name="connsiteY106" fmla="*/ 2590800 h 3680460"/>
                  <a:gd name="connsiteX107" fmla="*/ 2758440 w 3017559"/>
                  <a:gd name="connsiteY107" fmla="*/ 2545080 h 3680460"/>
                  <a:gd name="connsiteX108" fmla="*/ 2788920 w 3017559"/>
                  <a:gd name="connsiteY108" fmla="*/ 2484120 h 3680460"/>
                  <a:gd name="connsiteX109" fmla="*/ 2811780 w 3017559"/>
                  <a:gd name="connsiteY109" fmla="*/ 2407920 h 3680460"/>
                  <a:gd name="connsiteX110" fmla="*/ 2842260 w 3017559"/>
                  <a:gd name="connsiteY110" fmla="*/ 2324100 h 3680460"/>
                  <a:gd name="connsiteX111" fmla="*/ 2857500 w 3017559"/>
                  <a:gd name="connsiteY111" fmla="*/ 2247900 h 3680460"/>
                  <a:gd name="connsiteX112" fmla="*/ 2872740 w 3017559"/>
                  <a:gd name="connsiteY112" fmla="*/ 2194560 h 3680460"/>
                  <a:gd name="connsiteX113" fmla="*/ 2887980 w 3017559"/>
                  <a:gd name="connsiteY113" fmla="*/ 2148840 h 3680460"/>
                  <a:gd name="connsiteX114" fmla="*/ 2910840 w 3017559"/>
                  <a:gd name="connsiteY114" fmla="*/ 2087880 h 3680460"/>
                  <a:gd name="connsiteX115" fmla="*/ 2918460 w 3017559"/>
                  <a:gd name="connsiteY115" fmla="*/ 2049780 h 3680460"/>
                  <a:gd name="connsiteX116" fmla="*/ 2933700 w 3017559"/>
                  <a:gd name="connsiteY116" fmla="*/ 1844040 h 3680460"/>
                  <a:gd name="connsiteX117" fmla="*/ 2918460 w 3017559"/>
                  <a:gd name="connsiteY117" fmla="*/ 1470660 h 3680460"/>
                  <a:gd name="connsiteX118" fmla="*/ 2895600 w 3017559"/>
                  <a:gd name="connsiteY118" fmla="*/ 1371600 h 3680460"/>
                  <a:gd name="connsiteX119" fmla="*/ 2880360 w 3017559"/>
                  <a:gd name="connsiteY119" fmla="*/ 1341120 h 3680460"/>
                  <a:gd name="connsiteX120" fmla="*/ 2857500 w 3017559"/>
                  <a:gd name="connsiteY120" fmla="*/ 1272540 h 3680460"/>
                  <a:gd name="connsiteX121" fmla="*/ 2849880 w 3017559"/>
                  <a:gd name="connsiteY121" fmla="*/ 1234440 h 3680460"/>
                  <a:gd name="connsiteX122" fmla="*/ 2827020 w 3017559"/>
                  <a:gd name="connsiteY122" fmla="*/ 1196340 h 3680460"/>
                  <a:gd name="connsiteX123" fmla="*/ 2811780 w 3017559"/>
                  <a:gd name="connsiteY123" fmla="*/ 1165860 h 3680460"/>
                  <a:gd name="connsiteX124" fmla="*/ 2781300 w 3017559"/>
                  <a:gd name="connsiteY124" fmla="*/ 1127760 h 3680460"/>
                  <a:gd name="connsiteX125" fmla="*/ 2766060 w 3017559"/>
                  <a:gd name="connsiteY125" fmla="*/ 1089660 h 3680460"/>
                  <a:gd name="connsiteX126" fmla="*/ 2735580 w 3017559"/>
                  <a:gd name="connsiteY126" fmla="*/ 1043940 h 3680460"/>
                  <a:gd name="connsiteX127" fmla="*/ 2727960 w 3017559"/>
                  <a:gd name="connsiteY127" fmla="*/ 1021080 h 3680460"/>
                  <a:gd name="connsiteX128" fmla="*/ 2682240 w 3017559"/>
                  <a:gd name="connsiteY128" fmla="*/ 937260 h 3680460"/>
                  <a:gd name="connsiteX129" fmla="*/ 2659380 w 3017559"/>
                  <a:gd name="connsiteY129" fmla="*/ 876300 h 3680460"/>
                  <a:gd name="connsiteX130" fmla="*/ 2644140 w 3017559"/>
                  <a:gd name="connsiteY130" fmla="*/ 845820 h 3680460"/>
                  <a:gd name="connsiteX131" fmla="*/ 2636520 w 3017559"/>
                  <a:gd name="connsiteY131" fmla="*/ 822960 h 3680460"/>
                  <a:gd name="connsiteX132" fmla="*/ 2621280 w 3017559"/>
                  <a:gd name="connsiteY132" fmla="*/ 800100 h 3680460"/>
                  <a:gd name="connsiteX133" fmla="*/ 2598420 w 3017559"/>
                  <a:gd name="connsiteY133" fmla="*/ 739140 h 3680460"/>
                  <a:gd name="connsiteX134" fmla="*/ 2458403 w 3017559"/>
                  <a:gd name="connsiteY134" fmla="*/ 621983 h 3680460"/>
                  <a:gd name="connsiteX135" fmla="*/ 2301240 w 3017559"/>
                  <a:gd name="connsiteY135" fmla="*/ 458152 h 3680460"/>
                  <a:gd name="connsiteX136" fmla="*/ 2237423 w 3017559"/>
                  <a:gd name="connsiteY136" fmla="*/ 406717 h 3680460"/>
                  <a:gd name="connsiteX137" fmla="*/ 2103120 w 3017559"/>
                  <a:gd name="connsiteY137" fmla="*/ 312420 h 3680460"/>
                  <a:gd name="connsiteX138" fmla="*/ 2042160 w 3017559"/>
                  <a:gd name="connsiteY138" fmla="*/ 266700 h 3680460"/>
                  <a:gd name="connsiteX139" fmla="*/ 2004060 w 3017559"/>
                  <a:gd name="connsiteY139" fmla="*/ 251460 h 3680460"/>
                  <a:gd name="connsiteX140" fmla="*/ 1958340 w 3017559"/>
                  <a:gd name="connsiteY140" fmla="*/ 220980 h 3680460"/>
                  <a:gd name="connsiteX141" fmla="*/ 1897380 w 3017559"/>
                  <a:gd name="connsiteY141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243840 w 3017559"/>
                  <a:gd name="connsiteY56" fmla="*/ 3589020 h 3680460"/>
                  <a:gd name="connsiteX57" fmla="*/ 160020 w 3017559"/>
                  <a:gd name="connsiteY57" fmla="*/ 3558540 h 3680460"/>
                  <a:gd name="connsiteX58" fmla="*/ 137160 w 3017559"/>
                  <a:gd name="connsiteY58" fmla="*/ 3535680 h 3680460"/>
                  <a:gd name="connsiteX59" fmla="*/ 99060 w 3017559"/>
                  <a:gd name="connsiteY59" fmla="*/ 3520440 h 3680460"/>
                  <a:gd name="connsiteX60" fmla="*/ 83820 w 3017559"/>
                  <a:gd name="connsiteY60" fmla="*/ 3489960 h 3680460"/>
                  <a:gd name="connsiteX61" fmla="*/ 45720 w 3017559"/>
                  <a:gd name="connsiteY61" fmla="*/ 3436620 h 3680460"/>
                  <a:gd name="connsiteX62" fmla="*/ 0 w 3017559"/>
                  <a:gd name="connsiteY62" fmla="*/ 3352800 h 3680460"/>
                  <a:gd name="connsiteX63" fmla="*/ 30480 w 3017559"/>
                  <a:gd name="connsiteY63" fmla="*/ 3345180 h 3680460"/>
                  <a:gd name="connsiteX64" fmla="*/ 137160 w 3017559"/>
                  <a:gd name="connsiteY64" fmla="*/ 3360420 h 3680460"/>
                  <a:gd name="connsiteX65" fmla="*/ 167640 w 3017559"/>
                  <a:gd name="connsiteY65" fmla="*/ 3390900 h 3680460"/>
                  <a:gd name="connsiteX66" fmla="*/ 198120 w 3017559"/>
                  <a:gd name="connsiteY66" fmla="*/ 3406140 h 3680460"/>
                  <a:gd name="connsiteX67" fmla="*/ 350520 w 3017559"/>
                  <a:gd name="connsiteY67" fmla="*/ 3436620 h 3680460"/>
                  <a:gd name="connsiteX68" fmla="*/ 381000 w 3017559"/>
                  <a:gd name="connsiteY68" fmla="*/ 3451860 h 3680460"/>
                  <a:gd name="connsiteX69" fmla="*/ 449580 w 3017559"/>
                  <a:gd name="connsiteY69" fmla="*/ 3489960 h 3680460"/>
                  <a:gd name="connsiteX70" fmla="*/ 495300 w 3017559"/>
                  <a:gd name="connsiteY70" fmla="*/ 3520440 h 3680460"/>
                  <a:gd name="connsiteX71" fmla="*/ 525780 w 3017559"/>
                  <a:gd name="connsiteY71" fmla="*/ 3535680 h 3680460"/>
                  <a:gd name="connsiteX72" fmla="*/ 731520 w 3017559"/>
                  <a:gd name="connsiteY72" fmla="*/ 3558540 h 3680460"/>
                  <a:gd name="connsiteX73" fmla="*/ 1341120 w 3017559"/>
                  <a:gd name="connsiteY73" fmla="*/ 3550920 h 3680460"/>
                  <a:gd name="connsiteX74" fmla="*/ 1440180 w 3017559"/>
                  <a:gd name="connsiteY74" fmla="*/ 3528060 h 3680460"/>
                  <a:gd name="connsiteX75" fmla="*/ 1539240 w 3017559"/>
                  <a:gd name="connsiteY75" fmla="*/ 3520440 h 3680460"/>
                  <a:gd name="connsiteX76" fmla="*/ 1562100 w 3017559"/>
                  <a:gd name="connsiteY76" fmla="*/ 3512820 h 3680460"/>
                  <a:gd name="connsiteX77" fmla="*/ 1630680 w 3017559"/>
                  <a:gd name="connsiteY77" fmla="*/ 3497580 h 3680460"/>
                  <a:gd name="connsiteX78" fmla="*/ 1699260 w 3017559"/>
                  <a:gd name="connsiteY78" fmla="*/ 3474720 h 3680460"/>
                  <a:gd name="connsiteX79" fmla="*/ 1790700 w 3017559"/>
                  <a:gd name="connsiteY79" fmla="*/ 3451860 h 3680460"/>
                  <a:gd name="connsiteX80" fmla="*/ 1821180 w 3017559"/>
                  <a:gd name="connsiteY80" fmla="*/ 3444240 h 3680460"/>
                  <a:gd name="connsiteX81" fmla="*/ 1844040 w 3017559"/>
                  <a:gd name="connsiteY81" fmla="*/ 3429000 h 3680460"/>
                  <a:gd name="connsiteX82" fmla="*/ 1874520 w 3017559"/>
                  <a:gd name="connsiteY82" fmla="*/ 3421380 h 3680460"/>
                  <a:gd name="connsiteX83" fmla="*/ 1927860 w 3017559"/>
                  <a:gd name="connsiteY83" fmla="*/ 3398520 h 3680460"/>
                  <a:gd name="connsiteX84" fmla="*/ 1950720 w 3017559"/>
                  <a:gd name="connsiteY84" fmla="*/ 3390900 h 3680460"/>
                  <a:gd name="connsiteX85" fmla="*/ 2004060 w 3017559"/>
                  <a:gd name="connsiteY85" fmla="*/ 3360420 h 3680460"/>
                  <a:gd name="connsiteX86" fmla="*/ 2042160 w 3017559"/>
                  <a:gd name="connsiteY86" fmla="*/ 3352800 h 3680460"/>
                  <a:gd name="connsiteX87" fmla="*/ 2080260 w 3017559"/>
                  <a:gd name="connsiteY87" fmla="*/ 3337560 h 3680460"/>
                  <a:gd name="connsiteX88" fmla="*/ 2156460 w 3017559"/>
                  <a:gd name="connsiteY88" fmla="*/ 3299460 h 3680460"/>
                  <a:gd name="connsiteX89" fmla="*/ 2179320 w 3017559"/>
                  <a:gd name="connsiteY89" fmla="*/ 3284220 h 3680460"/>
                  <a:gd name="connsiteX90" fmla="*/ 2209800 w 3017559"/>
                  <a:gd name="connsiteY90" fmla="*/ 3276600 h 3680460"/>
                  <a:gd name="connsiteX91" fmla="*/ 2263140 w 3017559"/>
                  <a:gd name="connsiteY91" fmla="*/ 3230880 h 3680460"/>
                  <a:gd name="connsiteX92" fmla="*/ 2346960 w 3017559"/>
                  <a:gd name="connsiteY92" fmla="*/ 3154680 h 3680460"/>
                  <a:gd name="connsiteX93" fmla="*/ 2400300 w 3017559"/>
                  <a:gd name="connsiteY93" fmla="*/ 3070860 h 3680460"/>
                  <a:gd name="connsiteX94" fmla="*/ 2415540 w 3017559"/>
                  <a:gd name="connsiteY94" fmla="*/ 3048000 h 3680460"/>
                  <a:gd name="connsiteX95" fmla="*/ 2446020 w 3017559"/>
                  <a:gd name="connsiteY95" fmla="*/ 3032760 h 3680460"/>
                  <a:gd name="connsiteX96" fmla="*/ 2468880 w 3017559"/>
                  <a:gd name="connsiteY96" fmla="*/ 3009900 h 3680460"/>
                  <a:gd name="connsiteX97" fmla="*/ 2537460 w 3017559"/>
                  <a:gd name="connsiteY97" fmla="*/ 2926080 h 3680460"/>
                  <a:gd name="connsiteX98" fmla="*/ 2575560 w 3017559"/>
                  <a:gd name="connsiteY98" fmla="*/ 2880360 h 3680460"/>
                  <a:gd name="connsiteX99" fmla="*/ 2628900 w 3017559"/>
                  <a:gd name="connsiteY99" fmla="*/ 2811780 h 3680460"/>
                  <a:gd name="connsiteX100" fmla="*/ 2644140 w 3017559"/>
                  <a:gd name="connsiteY100" fmla="*/ 2773680 h 3680460"/>
                  <a:gd name="connsiteX101" fmla="*/ 2674620 w 3017559"/>
                  <a:gd name="connsiteY101" fmla="*/ 2727960 h 3680460"/>
                  <a:gd name="connsiteX102" fmla="*/ 2689860 w 3017559"/>
                  <a:gd name="connsiteY102" fmla="*/ 2705100 h 3680460"/>
                  <a:gd name="connsiteX103" fmla="*/ 2705100 w 3017559"/>
                  <a:gd name="connsiteY103" fmla="*/ 2667000 h 3680460"/>
                  <a:gd name="connsiteX104" fmla="*/ 2727960 w 3017559"/>
                  <a:gd name="connsiteY104" fmla="*/ 2621280 h 3680460"/>
                  <a:gd name="connsiteX105" fmla="*/ 2735580 w 3017559"/>
                  <a:gd name="connsiteY105" fmla="*/ 2590800 h 3680460"/>
                  <a:gd name="connsiteX106" fmla="*/ 2758440 w 3017559"/>
                  <a:gd name="connsiteY106" fmla="*/ 2545080 h 3680460"/>
                  <a:gd name="connsiteX107" fmla="*/ 2788920 w 3017559"/>
                  <a:gd name="connsiteY107" fmla="*/ 2484120 h 3680460"/>
                  <a:gd name="connsiteX108" fmla="*/ 2811780 w 3017559"/>
                  <a:gd name="connsiteY108" fmla="*/ 2407920 h 3680460"/>
                  <a:gd name="connsiteX109" fmla="*/ 2842260 w 3017559"/>
                  <a:gd name="connsiteY109" fmla="*/ 2324100 h 3680460"/>
                  <a:gd name="connsiteX110" fmla="*/ 2857500 w 3017559"/>
                  <a:gd name="connsiteY110" fmla="*/ 2247900 h 3680460"/>
                  <a:gd name="connsiteX111" fmla="*/ 2872740 w 3017559"/>
                  <a:gd name="connsiteY111" fmla="*/ 2194560 h 3680460"/>
                  <a:gd name="connsiteX112" fmla="*/ 2887980 w 3017559"/>
                  <a:gd name="connsiteY112" fmla="*/ 2148840 h 3680460"/>
                  <a:gd name="connsiteX113" fmla="*/ 2910840 w 3017559"/>
                  <a:gd name="connsiteY113" fmla="*/ 2087880 h 3680460"/>
                  <a:gd name="connsiteX114" fmla="*/ 2918460 w 3017559"/>
                  <a:gd name="connsiteY114" fmla="*/ 2049780 h 3680460"/>
                  <a:gd name="connsiteX115" fmla="*/ 2933700 w 3017559"/>
                  <a:gd name="connsiteY115" fmla="*/ 1844040 h 3680460"/>
                  <a:gd name="connsiteX116" fmla="*/ 2918460 w 3017559"/>
                  <a:gd name="connsiteY116" fmla="*/ 1470660 h 3680460"/>
                  <a:gd name="connsiteX117" fmla="*/ 2895600 w 3017559"/>
                  <a:gd name="connsiteY117" fmla="*/ 1371600 h 3680460"/>
                  <a:gd name="connsiteX118" fmla="*/ 2880360 w 3017559"/>
                  <a:gd name="connsiteY118" fmla="*/ 1341120 h 3680460"/>
                  <a:gd name="connsiteX119" fmla="*/ 2857500 w 3017559"/>
                  <a:gd name="connsiteY119" fmla="*/ 1272540 h 3680460"/>
                  <a:gd name="connsiteX120" fmla="*/ 2849880 w 3017559"/>
                  <a:gd name="connsiteY120" fmla="*/ 1234440 h 3680460"/>
                  <a:gd name="connsiteX121" fmla="*/ 2827020 w 3017559"/>
                  <a:gd name="connsiteY121" fmla="*/ 1196340 h 3680460"/>
                  <a:gd name="connsiteX122" fmla="*/ 2811780 w 3017559"/>
                  <a:gd name="connsiteY122" fmla="*/ 1165860 h 3680460"/>
                  <a:gd name="connsiteX123" fmla="*/ 2781300 w 3017559"/>
                  <a:gd name="connsiteY123" fmla="*/ 1127760 h 3680460"/>
                  <a:gd name="connsiteX124" fmla="*/ 2766060 w 3017559"/>
                  <a:gd name="connsiteY124" fmla="*/ 1089660 h 3680460"/>
                  <a:gd name="connsiteX125" fmla="*/ 2735580 w 3017559"/>
                  <a:gd name="connsiteY125" fmla="*/ 1043940 h 3680460"/>
                  <a:gd name="connsiteX126" fmla="*/ 2727960 w 3017559"/>
                  <a:gd name="connsiteY126" fmla="*/ 1021080 h 3680460"/>
                  <a:gd name="connsiteX127" fmla="*/ 2682240 w 3017559"/>
                  <a:gd name="connsiteY127" fmla="*/ 937260 h 3680460"/>
                  <a:gd name="connsiteX128" fmla="*/ 2659380 w 3017559"/>
                  <a:gd name="connsiteY128" fmla="*/ 876300 h 3680460"/>
                  <a:gd name="connsiteX129" fmla="*/ 2644140 w 3017559"/>
                  <a:gd name="connsiteY129" fmla="*/ 845820 h 3680460"/>
                  <a:gd name="connsiteX130" fmla="*/ 2636520 w 3017559"/>
                  <a:gd name="connsiteY130" fmla="*/ 822960 h 3680460"/>
                  <a:gd name="connsiteX131" fmla="*/ 2621280 w 3017559"/>
                  <a:gd name="connsiteY131" fmla="*/ 800100 h 3680460"/>
                  <a:gd name="connsiteX132" fmla="*/ 2598420 w 3017559"/>
                  <a:gd name="connsiteY132" fmla="*/ 739140 h 3680460"/>
                  <a:gd name="connsiteX133" fmla="*/ 2458403 w 3017559"/>
                  <a:gd name="connsiteY133" fmla="*/ 621983 h 3680460"/>
                  <a:gd name="connsiteX134" fmla="*/ 2301240 w 3017559"/>
                  <a:gd name="connsiteY134" fmla="*/ 458152 h 3680460"/>
                  <a:gd name="connsiteX135" fmla="*/ 2237423 w 3017559"/>
                  <a:gd name="connsiteY135" fmla="*/ 406717 h 3680460"/>
                  <a:gd name="connsiteX136" fmla="*/ 2103120 w 3017559"/>
                  <a:gd name="connsiteY136" fmla="*/ 312420 h 3680460"/>
                  <a:gd name="connsiteX137" fmla="*/ 2042160 w 3017559"/>
                  <a:gd name="connsiteY137" fmla="*/ 266700 h 3680460"/>
                  <a:gd name="connsiteX138" fmla="*/ 2004060 w 3017559"/>
                  <a:gd name="connsiteY138" fmla="*/ 251460 h 3680460"/>
                  <a:gd name="connsiteX139" fmla="*/ 1958340 w 3017559"/>
                  <a:gd name="connsiteY139" fmla="*/ 220980 h 3680460"/>
                  <a:gd name="connsiteX140" fmla="*/ 1897380 w 3017559"/>
                  <a:gd name="connsiteY140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243840 w 3017559"/>
                  <a:gd name="connsiteY56" fmla="*/ 3589020 h 3680460"/>
                  <a:gd name="connsiteX57" fmla="*/ 160020 w 3017559"/>
                  <a:gd name="connsiteY57" fmla="*/ 3558540 h 3680460"/>
                  <a:gd name="connsiteX58" fmla="*/ 137160 w 3017559"/>
                  <a:gd name="connsiteY58" fmla="*/ 3535680 h 3680460"/>
                  <a:gd name="connsiteX59" fmla="*/ 99060 w 3017559"/>
                  <a:gd name="connsiteY59" fmla="*/ 3520440 h 3680460"/>
                  <a:gd name="connsiteX60" fmla="*/ 83820 w 3017559"/>
                  <a:gd name="connsiteY60" fmla="*/ 3489960 h 3680460"/>
                  <a:gd name="connsiteX61" fmla="*/ 45720 w 3017559"/>
                  <a:gd name="connsiteY61" fmla="*/ 3436620 h 3680460"/>
                  <a:gd name="connsiteX62" fmla="*/ 0 w 3017559"/>
                  <a:gd name="connsiteY62" fmla="*/ 3352800 h 3680460"/>
                  <a:gd name="connsiteX63" fmla="*/ 30480 w 3017559"/>
                  <a:gd name="connsiteY63" fmla="*/ 3345180 h 3680460"/>
                  <a:gd name="connsiteX64" fmla="*/ 137160 w 3017559"/>
                  <a:gd name="connsiteY64" fmla="*/ 3360420 h 3680460"/>
                  <a:gd name="connsiteX65" fmla="*/ 167640 w 3017559"/>
                  <a:gd name="connsiteY65" fmla="*/ 3390900 h 3680460"/>
                  <a:gd name="connsiteX66" fmla="*/ 198120 w 3017559"/>
                  <a:gd name="connsiteY66" fmla="*/ 3406140 h 3680460"/>
                  <a:gd name="connsiteX67" fmla="*/ 350520 w 3017559"/>
                  <a:gd name="connsiteY67" fmla="*/ 3436620 h 3680460"/>
                  <a:gd name="connsiteX68" fmla="*/ 381000 w 3017559"/>
                  <a:gd name="connsiteY68" fmla="*/ 3451860 h 3680460"/>
                  <a:gd name="connsiteX69" fmla="*/ 449580 w 3017559"/>
                  <a:gd name="connsiteY69" fmla="*/ 3489960 h 3680460"/>
                  <a:gd name="connsiteX70" fmla="*/ 495300 w 3017559"/>
                  <a:gd name="connsiteY70" fmla="*/ 3520440 h 3680460"/>
                  <a:gd name="connsiteX71" fmla="*/ 525780 w 3017559"/>
                  <a:gd name="connsiteY71" fmla="*/ 3535680 h 3680460"/>
                  <a:gd name="connsiteX72" fmla="*/ 731520 w 3017559"/>
                  <a:gd name="connsiteY72" fmla="*/ 3558540 h 3680460"/>
                  <a:gd name="connsiteX73" fmla="*/ 1341120 w 3017559"/>
                  <a:gd name="connsiteY73" fmla="*/ 3550920 h 3680460"/>
                  <a:gd name="connsiteX74" fmla="*/ 1440180 w 3017559"/>
                  <a:gd name="connsiteY74" fmla="*/ 3528060 h 3680460"/>
                  <a:gd name="connsiteX75" fmla="*/ 1539240 w 3017559"/>
                  <a:gd name="connsiteY75" fmla="*/ 3520440 h 3680460"/>
                  <a:gd name="connsiteX76" fmla="*/ 1562100 w 3017559"/>
                  <a:gd name="connsiteY76" fmla="*/ 3512820 h 3680460"/>
                  <a:gd name="connsiteX77" fmla="*/ 1630680 w 3017559"/>
                  <a:gd name="connsiteY77" fmla="*/ 3497580 h 3680460"/>
                  <a:gd name="connsiteX78" fmla="*/ 1699260 w 3017559"/>
                  <a:gd name="connsiteY78" fmla="*/ 3474720 h 3680460"/>
                  <a:gd name="connsiteX79" fmla="*/ 1790700 w 3017559"/>
                  <a:gd name="connsiteY79" fmla="*/ 3451860 h 3680460"/>
                  <a:gd name="connsiteX80" fmla="*/ 1821180 w 3017559"/>
                  <a:gd name="connsiteY80" fmla="*/ 3444240 h 3680460"/>
                  <a:gd name="connsiteX81" fmla="*/ 1844040 w 3017559"/>
                  <a:gd name="connsiteY81" fmla="*/ 3429000 h 3680460"/>
                  <a:gd name="connsiteX82" fmla="*/ 1874520 w 3017559"/>
                  <a:gd name="connsiteY82" fmla="*/ 3421380 h 3680460"/>
                  <a:gd name="connsiteX83" fmla="*/ 1927860 w 3017559"/>
                  <a:gd name="connsiteY83" fmla="*/ 3398520 h 3680460"/>
                  <a:gd name="connsiteX84" fmla="*/ 1950720 w 3017559"/>
                  <a:gd name="connsiteY84" fmla="*/ 3390900 h 3680460"/>
                  <a:gd name="connsiteX85" fmla="*/ 2004060 w 3017559"/>
                  <a:gd name="connsiteY85" fmla="*/ 3360420 h 3680460"/>
                  <a:gd name="connsiteX86" fmla="*/ 2042160 w 3017559"/>
                  <a:gd name="connsiteY86" fmla="*/ 3352800 h 3680460"/>
                  <a:gd name="connsiteX87" fmla="*/ 2080260 w 3017559"/>
                  <a:gd name="connsiteY87" fmla="*/ 3337560 h 3680460"/>
                  <a:gd name="connsiteX88" fmla="*/ 2156460 w 3017559"/>
                  <a:gd name="connsiteY88" fmla="*/ 3299460 h 3680460"/>
                  <a:gd name="connsiteX89" fmla="*/ 2179320 w 3017559"/>
                  <a:gd name="connsiteY89" fmla="*/ 3284220 h 3680460"/>
                  <a:gd name="connsiteX90" fmla="*/ 2209800 w 3017559"/>
                  <a:gd name="connsiteY90" fmla="*/ 3276600 h 3680460"/>
                  <a:gd name="connsiteX91" fmla="*/ 2263140 w 3017559"/>
                  <a:gd name="connsiteY91" fmla="*/ 3230880 h 3680460"/>
                  <a:gd name="connsiteX92" fmla="*/ 2346960 w 3017559"/>
                  <a:gd name="connsiteY92" fmla="*/ 3154680 h 3680460"/>
                  <a:gd name="connsiteX93" fmla="*/ 2400300 w 3017559"/>
                  <a:gd name="connsiteY93" fmla="*/ 3070860 h 3680460"/>
                  <a:gd name="connsiteX94" fmla="*/ 2415540 w 3017559"/>
                  <a:gd name="connsiteY94" fmla="*/ 3048000 h 3680460"/>
                  <a:gd name="connsiteX95" fmla="*/ 2446020 w 3017559"/>
                  <a:gd name="connsiteY95" fmla="*/ 3032760 h 3680460"/>
                  <a:gd name="connsiteX96" fmla="*/ 2468880 w 3017559"/>
                  <a:gd name="connsiteY96" fmla="*/ 3009900 h 3680460"/>
                  <a:gd name="connsiteX97" fmla="*/ 2537460 w 3017559"/>
                  <a:gd name="connsiteY97" fmla="*/ 2926080 h 3680460"/>
                  <a:gd name="connsiteX98" fmla="*/ 2575560 w 3017559"/>
                  <a:gd name="connsiteY98" fmla="*/ 2880360 h 3680460"/>
                  <a:gd name="connsiteX99" fmla="*/ 2628900 w 3017559"/>
                  <a:gd name="connsiteY99" fmla="*/ 2811780 h 3680460"/>
                  <a:gd name="connsiteX100" fmla="*/ 2644140 w 3017559"/>
                  <a:gd name="connsiteY100" fmla="*/ 2773680 h 3680460"/>
                  <a:gd name="connsiteX101" fmla="*/ 2674620 w 3017559"/>
                  <a:gd name="connsiteY101" fmla="*/ 2727960 h 3680460"/>
                  <a:gd name="connsiteX102" fmla="*/ 2689860 w 3017559"/>
                  <a:gd name="connsiteY102" fmla="*/ 2705100 h 3680460"/>
                  <a:gd name="connsiteX103" fmla="*/ 2705100 w 3017559"/>
                  <a:gd name="connsiteY103" fmla="*/ 2667000 h 3680460"/>
                  <a:gd name="connsiteX104" fmla="*/ 2727960 w 3017559"/>
                  <a:gd name="connsiteY104" fmla="*/ 2621280 h 3680460"/>
                  <a:gd name="connsiteX105" fmla="*/ 2735580 w 3017559"/>
                  <a:gd name="connsiteY105" fmla="*/ 2590800 h 3680460"/>
                  <a:gd name="connsiteX106" fmla="*/ 2758440 w 3017559"/>
                  <a:gd name="connsiteY106" fmla="*/ 2545080 h 3680460"/>
                  <a:gd name="connsiteX107" fmla="*/ 2788920 w 3017559"/>
                  <a:gd name="connsiteY107" fmla="*/ 2484120 h 3680460"/>
                  <a:gd name="connsiteX108" fmla="*/ 2811780 w 3017559"/>
                  <a:gd name="connsiteY108" fmla="*/ 2407920 h 3680460"/>
                  <a:gd name="connsiteX109" fmla="*/ 2842260 w 3017559"/>
                  <a:gd name="connsiteY109" fmla="*/ 2324100 h 3680460"/>
                  <a:gd name="connsiteX110" fmla="*/ 2857500 w 3017559"/>
                  <a:gd name="connsiteY110" fmla="*/ 2247900 h 3680460"/>
                  <a:gd name="connsiteX111" fmla="*/ 2872740 w 3017559"/>
                  <a:gd name="connsiteY111" fmla="*/ 2194560 h 3680460"/>
                  <a:gd name="connsiteX112" fmla="*/ 2887980 w 3017559"/>
                  <a:gd name="connsiteY112" fmla="*/ 2148840 h 3680460"/>
                  <a:gd name="connsiteX113" fmla="*/ 2910840 w 3017559"/>
                  <a:gd name="connsiteY113" fmla="*/ 2087880 h 3680460"/>
                  <a:gd name="connsiteX114" fmla="*/ 2918460 w 3017559"/>
                  <a:gd name="connsiteY114" fmla="*/ 2049780 h 3680460"/>
                  <a:gd name="connsiteX115" fmla="*/ 2933700 w 3017559"/>
                  <a:gd name="connsiteY115" fmla="*/ 1844040 h 3680460"/>
                  <a:gd name="connsiteX116" fmla="*/ 2918460 w 3017559"/>
                  <a:gd name="connsiteY116" fmla="*/ 1470660 h 3680460"/>
                  <a:gd name="connsiteX117" fmla="*/ 2895600 w 3017559"/>
                  <a:gd name="connsiteY117" fmla="*/ 1371600 h 3680460"/>
                  <a:gd name="connsiteX118" fmla="*/ 2880360 w 3017559"/>
                  <a:gd name="connsiteY118" fmla="*/ 1341120 h 3680460"/>
                  <a:gd name="connsiteX119" fmla="*/ 2857500 w 3017559"/>
                  <a:gd name="connsiteY119" fmla="*/ 1272540 h 3680460"/>
                  <a:gd name="connsiteX120" fmla="*/ 2849880 w 3017559"/>
                  <a:gd name="connsiteY120" fmla="*/ 1234440 h 3680460"/>
                  <a:gd name="connsiteX121" fmla="*/ 2827020 w 3017559"/>
                  <a:gd name="connsiteY121" fmla="*/ 1196340 h 3680460"/>
                  <a:gd name="connsiteX122" fmla="*/ 2811780 w 3017559"/>
                  <a:gd name="connsiteY122" fmla="*/ 1165860 h 3680460"/>
                  <a:gd name="connsiteX123" fmla="*/ 2781300 w 3017559"/>
                  <a:gd name="connsiteY123" fmla="*/ 1127760 h 3680460"/>
                  <a:gd name="connsiteX124" fmla="*/ 2766060 w 3017559"/>
                  <a:gd name="connsiteY124" fmla="*/ 1089660 h 3680460"/>
                  <a:gd name="connsiteX125" fmla="*/ 2735580 w 3017559"/>
                  <a:gd name="connsiteY125" fmla="*/ 1043940 h 3680460"/>
                  <a:gd name="connsiteX126" fmla="*/ 2727960 w 3017559"/>
                  <a:gd name="connsiteY126" fmla="*/ 1021080 h 3680460"/>
                  <a:gd name="connsiteX127" fmla="*/ 2682240 w 3017559"/>
                  <a:gd name="connsiteY127" fmla="*/ 937260 h 3680460"/>
                  <a:gd name="connsiteX128" fmla="*/ 2659380 w 3017559"/>
                  <a:gd name="connsiteY128" fmla="*/ 876300 h 3680460"/>
                  <a:gd name="connsiteX129" fmla="*/ 2644140 w 3017559"/>
                  <a:gd name="connsiteY129" fmla="*/ 845820 h 3680460"/>
                  <a:gd name="connsiteX130" fmla="*/ 2636520 w 3017559"/>
                  <a:gd name="connsiteY130" fmla="*/ 822960 h 3680460"/>
                  <a:gd name="connsiteX131" fmla="*/ 2621280 w 3017559"/>
                  <a:gd name="connsiteY131" fmla="*/ 800100 h 3680460"/>
                  <a:gd name="connsiteX132" fmla="*/ 2598420 w 3017559"/>
                  <a:gd name="connsiteY132" fmla="*/ 739140 h 3680460"/>
                  <a:gd name="connsiteX133" fmla="*/ 2458403 w 3017559"/>
                  <a:gd name="connsiteY133" fmla="*/ 621983 h 3680460"/>
                  <a:gd name="connsiteX134" fmla="*/ 2301240 w 3017559"/>
                  <a:gd name="connsiteY134" fmla="*/ 458152 h 3680460"/>
                  <a:gd name="connsiteX135" fmla="*/ 2237423 w 3017559"/>
                  <a:gd name="connsiteY135" fmla="*/ 406717 h 3680460"/>
                  <a:gd name="connsiteX136" fmla="*/ 2103120 w 3017559"/>
                  <a:gd name="connsiteY136" fmla="*/ 312420 h 3680460"/>
                  <a:gd name="connsiteX137" fmla="*/ 2042160 w 3017559"/>
                  <a:gd name="connsiteY137" fmla="*/ 266700 h 3680460"/>
                  <a:gd name="connsiteX138" fmla="*/ 2004060 w 3017559"/>
                  <a:gd name="connsiteY138" fmla="*/ 251460 h 3680460"/>
                  <a:gd name="connsiteX139" fmla="*/ 1958340 w 3017559"/>
                  <a:gd name="connsiteY139" fmla="*/ 220980 h 3680460"/>
                  <a:gd name="connsiteX140" fmla="*/ 1897380 w 3017559"/>
                  <a:gd name="connsiteY140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99060 w 3017559"/>
                  <a:gd name="connsiteY58" fmla="*/ 3520440 h 3680460"/>
                  <a:gd name="connsiteX59" fmla="*/ 83820 w 3017559"/>
                  <a:gd name="connsiteY59" fmla="*/ 3489960 h 3680460"/>
                  <a:gd name="connsiteX60" fmla="*/ 45720 w 3017559"/>
                  <a:gd name="connsiteY60" fmla="*/ 3436620 h 3680460"/>
                  <a:gd name="connsiteX61" fmla="*/ 0 w 3017559"/>
                  <a:gd name="connsiteY61" fmla="*/ 3352800 h 3680460"/>
                  <a:gd name="connsiteX62" fmla="*/ 30480 w 3017559"/>
                  <a:gd name="connsiteY62" fmla="*/ 3345180 h 3680460"/>
                  <a:gd name="connsiteX63" fmla="*/ 137160 w 3017559"/>
                  <a:gd name="connsiteY63" fmla="*/ 3360420 h 3680460"/>
                  <a:gd name="connsiteX64" fmla="*/ 167640 w 3017559"/>
                  <a:gd name="connsiteY64" fmla="*/ 3390900 h 3680460"/>
                  <a:gd name="connsiteX65" fmla="*/ 198120 w 3017559"/>
                  <a:gd name="connsiteY65" fmla="*/ 3406140 h 3680460"/>
                  <a:gd name="connsiteX66" fmla="*/ 350520 w 3017559"/>
                  <a:gd name="connsiteY66" fmla="*/ 3436620 h 3680460"/>
                  <a:gd name="connsiteX67" fmla="*/ 381000 w 3017559"/>
                  <a:gd name="connsiteY67" fmla="*/ 3451860 h 3680460"/>
                  <a:gd name="connsiteX68" fmla="*/ 449580 w 3017559"/>
                  <a:gd name="connsiteY68" fmla="*/ 3489960 h 3680460"/>
                  <a:gd name="connsiteX69" fmla="*/ 495300 w 3017559"/>
                  <a:gd name="connsiteY69" fmla="*/ 3520440 h 3680460"/>
                  <a:gd name="connsiteX70" fmla="*/ 525780 w 3017559"/>
                  <a:gd name="connsiteY70" fmla="*/ 3535680 h 3680460"/>
                  <a:gd name="connsiteX71" fmla="*/ 731520 w 3017559"/>
                  <a:gd name="connsiteY71" fmla="*/ 3558540 h 3680460"/>
                  <a:gd name="connsiteX72" fmla="*/ 1341120 w 3017559"/>
                  <a:gd name="connsiteY72" fmla="*/ 3550920 h 3680460"/>
                  <a:gd name="connsiteX73" fmla="*/ 1440180 w 3017559"/>
                  <a:gd name="connsiteY73" fmla="*/ 3528060 h 3680460"/>
                  <a:gd name="connsiteX74" fmla="*/ 1539240 w 3017559"/>
                  <a:gd name="connsiteY74" fmla="*/ 3520440 h 3680460"/>
                  <a:gd name="connsiteX75" fmla="*/ 1562100 w 3017559"/>
                  <a:gd name="connsiteY75" fmla="*/ 3512820 h 3680460"/>
                  <a:gd name="connsiteX76" fmla="*/ 1630680 w 3017559"/>
                  <a:gd name="connsiteY76" fmla="*/ 3497580 h 3680460"/>
                  <a:gd name="connsiteX77" fmla="*/ 1699260 w 3017559"/>
                  <a:gd name="connsiteY77" fmla="*/ 3474720 h 3680460"/>
                  <a:gd name="connsiteX78" fmla="*/ 1790700 w 3017559"/>
                  <a:gd name="connsiteY78" fmla="*/ 3451860 h 3680460"/>
                  <a:gd name="connsiteX79" fmla="*/ 1821180 w 3017559"/>
                  <a:gd name="connsiteY79" fmla="*/ 3444240 h 3680460"/>
                  <a:gd name="connsiteX80" fmla="*/ 1844040 w 3017559"/>
                  <a:gd name="connsiteY80" fmla="*/ 3429000 h 3680460"/>
                  <a:gd name="connsiteX81" fmla="*/ 1874520 w 3017559"/>
                  <a:gd name="connsiteY81" fmla="*/ 3421380 h 3680460"/>
                  <a:gd name="connsiteX82" fmla="*/ 1927860 w 3017559"/>
                  <a:gd name="connsiteY82" fmla="*/ 3398520 h 3680460"/>
                  <a:gd name="connsiteX83" fmla="*/ 1950720 w 3017559"/>
                  <a:gd name="connsiteY83" fmla="*/ 3390900 h 3680460"/>
                  <a:gd name="connsiteX84" fmla="*/ 2004060 w 3017559"/>
                  <a:gd name="connsiteY84" fmla="*/ 3360420 h 3680460"/>
                  <a:gd name="connsiteX85" fmla="*/ 2042160 w 3017559"/>
                  <a:gd name="connsiteY85" fmla="*/ 3352800 h 3680460"/>
                  <a:gd name="connsiteX86" fmla="*/ 2080260 w 3017559"/>
                  <a:gd name="connsiteY86" fmla="*/ 3337560 h 3680460"/>
                  <a:gd name="connsiteX87" fmla="*/ 2156460 w 3017559"/>
                  <a:gd name="connsiteY87" fmla="*/ 3299460 h 3680460"/>
                  <a:gd name="connsiteX88" fmla="*/ 2179320 w 3017559"/>
                  <a:gd name="connsiteY88" fmla="*/ 3284220 h 3680460"/>
                  <a:gd name="connsiteX89" fmla="*/ 2209800 w 3017559"/>
                  <a:gd name="connsiteY89" fmla="*/ 3276600 h 3680460"/>
                  <a:gd name="connsiteX90" fmla="*/ 2263140 w 3017559"/>
                  <a:gd name="connsiteY90" fmla="*/ 3230880 h 3680460"/>
                  <a:gd name="connsiteX91" fmla="*/ 2346960 w 3017559"/>
                  <a:gd name="connsiteY91" fmla="*/ 3154680 h 3680460"/>
                  <a:gd name="connsiteX92" fmla="*/ 2400300 w 3017559"/>
                  <a:gd name="connsiteY92" fmla="*/ 3070860 h 3680460"/>
                  <a:gd name="connsiteX93" fmla="*/ 2415540 w 3017559"/>
                  <a:gd name="connsiteY93" fmla="*/ 3048000 h 3680460"/>
                  <a:gd name="connsiteX94" fmla="*/ 2446020 w 3017559"/>
                  <a:gd name="connsiteY94" fmla="*/ 3032760 h 3680460"/>
                  <a:gd name="connsiteX95" fmla="*/ 2468880 w 3017559"/>
                  <a:gd name="connsiteY95" fmla="*/ 3009900 h 3680460"/>
                  <a:gd name="connsiteX96" fmla="*/ 2537460 w 3017559"/>
                  <a:gd name="connsiteY96" fmla="*/ 2926080 h 3680460"/>
                  <a:gd name="connsiteX97" fmla="*/ 2575560 w 3017559"/>
                  <a:gd name="connsiteY97" fmla="*/ 2880360 h 3680460"/>
                  <a:gd name="connsiteX98" fmla="*/ 2628900 w 3017559"/>
                  <a:gd name="connsiteY98" fmla="*/ 2811780 h 3680460"/>
                  <a:gd name="connsiteX99" fmla="*/ 2644140 w 3017559"/>
                  <a:gd name="connsiteY99" fmla="*/ 2773680 h 3680460"/>
                  <a:gd name="connsiteX100" fmla="*/ 2674620 w 3017559"/>
                  <a:gd name="connsiteY100" fmla="*/ 2727960 h 3680460"/>
                  <a:gd name="connsiteX101" fmla="*/ 2689860 w 3017559"/>
                  <a:gd name="connsiteY101" fmla="*/ 2705100 h 3680460"/>
                  <a:gd name="connsiteX102" fmla="*/ 2705100 w 3017559"/>
                  <a:gd name="connsiteY102" fmla="*/ 2667000 h 3680460"/>
                  <a:gd name="connsiteX103" fmla="*/ 2727960 w 3017559"/>
                  <a:gd name="connsiteY103" fmla="*/ 2621280 h 3680460"/>
                  <a:gd name="connsiteX104" fmla="*/ 2735580 w 3017559"/>
                  <a:gd name="connsiteY104" fmla="*/ 2590800 h 3680460"/>
                  <a:gd name="connsiteX105" fmla="*/ 2758440 w 3017559"/>
                  <a:gd name="connsiteY105" fmla="*/ 2545080 h 3680460"/>
                  <a:gd name="connsiteX106" fmla="*/ 2788920 w 3017559"/>
                  <a:gd name="connsiteY106" fmla="*/ 2484120 h 3680460"/>
                  <a:gd name="connsiteX107" fmla="*/ 2811780 w 3017559"/>
                  <a:gd name="connsiteY107" fmla="*/ 2407920 h 3680460"/>
                  <a:gd name="connsiteX108" fmla="*/ 2842260 w 3017559"/>
                  <a:gd name="connsiteY108" fmla="*/ 2324100 h 3680460"/>
                  <a:gd name="connsiteX109" fmla="*/ 2857500 w 3017559"/>
                  <a:gd name="connsiteY109" fmla="*/ 2247900 h 3680460"/>
                  <a:gd name="connsiteX110" fmla="*/ 2872740 w 3017559"/>
                  <a:gd name="connsiteY110" fmla="*/ 2194560 h 3680460"/>
                  <a:gd name="connsiteX111" fmla="*/ 2887980 w 3017559"/>
                  <a:gd name="connsiteY111" fmla="*/ 2148840 h 3680460"/>
                  <a:gd name="connsiteX112" fmla="*/ 2910840 w 3017559"/>
                  <a:gd name="connsiteY112" fmla="*/ 2087880 h 3680460"/>
                  <a:gd name="connsiteX113" fmla="*/ 2918460 w 3017559"/>
                  <a:gd name="connsiteY113" fmla="*/ 2049780 h 3680460"/>
                  <a:gd name="connsiteX114" fmla="*/ 2933700 w 3017559"/>
                  <a:gd name="connsiteY114" fmla="*/ 1844040 h 3680460"/>
                  <a:gd name="connsiteX115" fmla="*/ 2918460 w 3017559"/>
                  <a:gd name="connsiteY115" fmla="*/ 1470660 h 3680460"/>
                  <a:gd name="connsiteX116" fmla="*/ 2895600 w 3017559"/>
                  <a:gd name="connsiteY116" fmla="*/ 1371600 h 3680460"/>
                  <a:gd name="connsiteX117" fmla="*/ 2880360 w 3017559"/>
                  <a:gd name="connsiteY117" fmla="*/ 1341120 h 3680460"/>
                  <a:gd name="connsiteX118" fmla="*/ 2857500 w 3017559"/>
                  <a:gd name="connsiteY118" fmla="*/ 1272540 h 3680460"/>
                  <a:gd name="connsiteX119" fmla="*/ 2849880 w 3017559"/>
                  <a:gd name="connsiteY119" fmla="*/ 1234440 h 3680460"/>
                  <a:gd name="connsiteX120" fmla="*/ 2827020 w 3017559"/>
                  <a:gd name="connsiteY120" fmla="*/ 1196340 h 3680460"/>
                  <a:gd name="connsiteX121" fmla="*/ 2811780 w 3017559"/>
                  <a:gd name="connsiteY121" fmla="*/ 1165860 h 3680460"/>
                  <a:gd name="connsiteX122" fmla="*/ 2781300 w 3017559"/>
                  <a:gd name="connsiteY122" fmla="*/ 1127760 h 3680460"/>
                  <a:gd name="connsiteX123" fmla="*/ 2766060 w 3017559"/>
                  <a:gd name="connsiteY123" fmla="*/ 1089660 h 3680460"/>
                  <a:gd name="connsiteX124" fmla="*/ 2735580 w 3017559"/>
                  <a:gd name="connsiteY124" fmla="*/ 1043940 h 3680460"/>
                  <a:gd name="connsiteX125" fmla="*/ 2727960 w 3017559"/>
                  <a:gd name="connsiteY125" fmla="*/ 1021080 h 3680460"/>
                  <a:gd name="connsiteX126" fmla="*/ 2682240 w 3017559"/>
                  <a:gd name="connsiteY126" fmla="*/ 937260 h 3680460"/>
                  <a:gd name="connsiteX127" fmla="*/ 2659380 w 3017559"/>
                  <a:gd name="connsiteY127" fmla="*/ 876300 h 3680460"/>
                  <a:gd name="connsiteX128" fmla="*/ 2644140 w 3017559"/>
                  <a:gd name="connsiteY128" fmla="*/ 845820 h 3680460"/>
                  <a:gd name="connsiteX129" fmla="*/ 2636520 w 3017559"/>
                  <a:gd name="connsiteY129" fmla="*/ 822960 h 3680460"/>
                  <a:gd name="connsiteX130" fmla="*/ 2621280 w 3017559"/>
                  <a:gd name="connsiteY130" fmla="*/ 800100 h 3680460"/>
                  <a:gd name="connsiteX131" fmla="*/ 2598420 w 3017559"/>
                  <a:gd name="connsiteY131" fmla="*/ 739140 h 3680460"/>
                  <a:gd name="connsiteX132" fmla="*/ 2458403 w 3017559"/>
                  <a:gd name="connsiteY132" fmla="*/ 621983 h 3680460"/>
                  <a:gd name="connsiteX133" fmla="*/ 2301240 w 3017559"/>
                  <a:gd name="connsiteY133" fmla="*/ 458152 h 3680460"/>
                  <a:gd name="connsiteX134" fmla="*/ 2237423 w 3017559"/>
                  <a:gd name="connsiteY134" fmla="*/ 406717 h 3680460"/>
                  <a:gd name="connsiteX135" fmla="*/ 2103120 w 3017559"/>
                  <a:gd name="connsiteY135" fmla="*/ 312420 h 3680460"/>
                  <a:gd name="connsiteX136" fmla="*/ 2042160 w 3017559"/>
                  <a:gd name="connsiteY136" fmla="*/ 266700 h 3680460"/>
                  <a:gd name="connsiteX137" fmla="*/ 2004060 w 3017559"/>
                  <a:gd name="connsiteY137" fmla="*/ 251460 h 3680460"/>
                  <a:gd name="connsiteX138" fmla="*/ 1958340 w 3017559"/>
                  <a:gd name="connsiteY138" fmla="*/ 220980 h 3680460"/>
                  <a:gd name="connsiteX139" fmla="*/ 1897380 w 3017559"/>
                  <a:gd name="connsiteY139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83820 w 3017559"/>
                  <a:gd name="connsiteY58" fmla="*/ 3489960 h 3680460"/>
                  <a:gd name="connsiteX59" fmla="*/ 45720 w 3017559"/>
                  <a:gd name="connsiteY59" fmla="*/ 3436620 h 3680460"/>
                  <a:gd name="connsiteX60" fmla="*/ 0 w 3017559"/>
                  <a:gd name="connsiteY60" fmla="*/ 3352800 h 3680460"/>
                  <a:gd name="connsiteX61" fmla="*/ 30480 w 3017559"/>
                  <a:gd name="connsiteY61" fmla="*/ 3345180 h 3680460"/>
                  <a:gd name="connsiteX62" fmla="*/ 137160 w 3017559"/>
                  <a:gd name="connsiteY62" fmla="*/ 3360420 h 3680460"/>
                  <a:gd name="connsiteX63" fmla="*/ 167640 w 3017559"/>
                  <a:gd name="connsiteY63" fmla="*/ 3390900 h 3680460"/>
                  <a:gd name="connsiteX64" fmla="*/ 198120 w 3017559"/>
                  <a:gd name="connsiteY64" fmla="*/ 3406140 h 3680460"/>
                  <a:gd name="connsiteX65" fmla="*/ 350520 w 3017559"/>
                  <a:gd name="connsiteY65" fmla="*/ 3436620 h 3680460"/>
                  <a:gd name="connsiteX66" fmla="*/ 381000 w 3017559"/>
                  <a:gd name="connsiteY66" fmla="*/ 3451860 h 3680460"/>
                  <a:gd name="connsiteX67" fmla="*/ 449580 w 3017559"/>
                  <a:gd name="connsiteY67" fmla="*/ 3489960 h 3680460"/>
                  <a:gd name="connsiteX68" fmla="*/ 495300 w 3017559"/>
                  <a:gd name="connsiteY68" fmla="*/ 3520440 h 3680460"/>
                  <a:gd name="connsiteX69" fmla="*/ 525780 w 3017559"/>
                  <a:gd name="connsiteY69" fmla="*/ 3535680 h 3680460"/>
                  <a:gd name="connsiteX70" fmla="*/ 731520 w 3017559"/>
                  <a:gd name="connsiteY70" fmla="*/ 3558540 h 3680460"/>
                  <a:gd name="connsiteX71" fmla="*/ 1341120 w 3017559"/>
                  <a:gd name="connsiteY71" fmla="*/ 3550920 h 3680460"/>
                  <a:gd name="connsiteX72" fmla="*/ 1440180 w 3017559"/>
                  <a:gd name="connsiteY72" fmla="*/ 3528060 h 3680460"/>
                  <a:gd name="connsiteX73" fmla="*/ 1539240 w 3017559"/>
                  <a:gd name="connsiteY73" fmla="*/ 3520440 h 3680460"/>
                  <a:gd name="connsiteX74" fmla="*/ 1562100 w 3017559"/>
                  <a:gd name="connsiteY74" fmla="*/ 3512820 h 3680460"/>
                  <a:gd name="connsiteX75" fmla="*/ 1630680 w 3017559"/>
                  <a:gd name="connsiteY75" fmla="*/ 3497580 h 3680460"/>
                  <a:gd name="connsiteX76" fmla="*/ 1699260 w 3017559"/>
                  <a:gd name="connsiteY76" fmla="*/ 3474720 h 3680460"/>
                  <a:gd name="connsiteX77" fmla="*/ 1790700 w 3017559"/>
                  <a:gd name="connsiteY77" fmla="*/ 3451860 h 3680460"/>
                  <a:gd name="connsiteX78" fmla="*/ 1821180 w 3017559"/>
                  <a:gd name="connsiteY78" fmla="*/ 3444240 h 3680460"/>
                  <a:gd name="connsiteX79" fmla="*/ 1844040 w 3017559"/>
                  <a:gd name="connsiteY79" fmla="*/ 3429000 h 3680460"/>
                  <a:gd name="connsiteX80" fmla="*/ 1874520 w 3017559"/>
                  <a:gd name="connsiteY80" fmla="*/ 3421380 h 3680460"/>
                  <a:gd name="connsiteX81" fmla="*/ 1927860 w 3017559"/>
                  <a:gd name="connsiteY81" fmla="*/ 3398520 h 3680460"/>
                  <a:gd name="connsiteX82" fmla="*/ 1950720 w 3017559"/>
                  <a:gd name="connsiteY82" fmla="*/ 3390900 h 3680460"/>
                  <a:gd name="connsiteX83" fmla="*/ 2004060 w 3017559"/>
                  <a:gd name="connsiteY83" fmla="*/ 3360420 h 3680460"/>
                  <a:gd name="connsiteX84" fmla="*/ 2042160 w 3017559"/>
                  <a:gd name="connsiteY84" fmla="*/ 3352800 h 3680460"/>
                  <a:gd name="connsiteX85" fmla="*/ 2080260 w 3017559"/>
                  <a:gd name="connsiteY85" fmla="*/ 3337560 h 3680460"/>
                  <a:gd name="connsiteX86" fmla="*/ 2156460 w 3017559"/>
                  <a:gd name="connsiteY86" fmla="*/ 3299460 h 3680460"/>
                  <a:gd name="connsiteX87" fmla="*/ 2179320 w 3017559"/>
                  <a:gd name="connsiteY87" fmla="*/ 3284220 h 3680460"/>
                  <a:gd name="connsiteX88" fmla="*/ 2209800 w 3017559"/>
                  <a:gd name="connsiteY88" fmla="*/ 3276600 h 3680460"/>
                  <a:gd name="connsiteX89" fmla="*/ 2263140 w 3017559"/>
                  <a:gd name="connsiteY89" fmla="*/ 3230880 h 3680460"/>
                  <a:gd name="connsiteX90" fmla="*/ 2346960 w 3017559"/>
                  <a:gd name="connsiteY90" fmla="*/ 3154680 h 3680460"/>
                  <a:gd name="connsiteX91" fmla="*/ 2400300 w 3017559"/>
                  <a:gd name="connsiteY91" fmla="*/ 3070860 h 3680460"/>
                  <a:gd name="connsiteX92" fmla="*/ 2415540 w 3017559"/>
                  <a:gd name="connsiteY92" fmla="*/ 3048000 h 3680460"/>
                  <a:gd name="connsiteX93" fmla="*/ 2446020 w 3017559"/>
                  <a:gd name="connsiteY93" fmla="*/ 3032760 h 3680460"/>
                  <a:gd name="connsiteX94" fmla="*/ 2468880 w 3017559"/>
                  <a:gd name="connsiteY94" fmla="*/ 3009900 h 3680460"/>
                  <a:gd name="connsiteX95" fmla="*/ 2537460 w 3017559"/>
                  <a:gd name="connsiteY95" fmla="*/ 2926080 h 3680460"/>
                  <a:gd name="connsiteX96" fmla="*/ 2575560 w 3017559"/>
                  <a:gd name="connsiteY96" fmla="*/ 2880360 h 3680460"/>
                  <a:gd name="connsiteX97" fmla="*/ 2628900 w 3017559"/>
                  <a:gd name="connsiteY97" fmla="*/ 2811780 h 3680460"/>
                  <a:gd name="connsiteX98" fmla="*/ 2644140 w 3017559"/>
                  <a:gd name="connsiteY98" fmla="*/ 2773680 h 3680460"/>
                  <a:gd name="connsiteX99" fmla="*/ 2674620 w 3017559"/>
                  <a:gd name="connsiteY99" fmla="*/ 2727960 h 3680460"/>
                  <a:gd name="connsiteX100" fmla="*/ 2689860 w 3017559"/>
                  <a:gd name="connsiteY100" fmla="*/ 2705100 h 3680460"/>
                  <a:gd name="connsiteX101" fmla="*/ 2705100 w 3017559"/>
                  <a:gd name="connsiteY101" fmla="*/ 2667000 h 3680460"/>
                  <a:gd name="connsiteX102" fmla="*/ 2727960 w 3017559"/>
                  <a:gd name="connsiteY102" fmla="*/ 2621280 h 3680460"/>
                  <a:gd name="connsiteX103" fmla="*/ 2735580 w 3017559"/>
                  <a:gd name="connsiteY103" fmla="*/ 2590800 h 3680460"/>
                  <a:gd name="connsiteX104" fmla="*/ 2758440 w 3017559"/>
                  <a:gd name="connsiteY104" fmla="*/ 2545080 h 3680460"/>
                  <a:gd name="connsiteX105" fmla="*/ 2788920 w 3017559"/>
                  <a:gd name="connsiteY105" fmla="*/ 2484120 h 3680460"/>
                  <a:gd name="connsiteX106" fmla="*/ 2811780 w 3017559"/>
                  <a:gd name="connsiteY106" fmla="*/ 2407920 h 3680460"/>
                  <a:gd name="connsiteX107" fmla="*/ 2842260 w 3017559"/>
                  <a:gd name="connsiteY107" fmla="*/ 2324100 h 3680460"/>
                  <a:gd name="connsiteX108" fmla="*/ 2857500 w 3017559"/>
                  <a:gd name="connsiteY108" fmla="*/ 2247900 h 3680460"/>
                  <a:gd name="connsiteX109" fmla="*/ 2872740 w 3017559"/>
                  <a:gd name="connsiteY109" fmla="*/ 2194560 h 3680460"/>
                  <a:gd name="connsiteX110" fmla="*/ 2887980 w 3017559"/>
                  <a:gd name="connsiteY110" fmla="*/ 2148840 h 3680460"/>
                  <a:gd name="connsiteX111" fmla="*/ 2910840 w 3017559"/>
                  <a:gd name="connsiteY111" fmla="*/ 2087880 h 3680460"/>
                  <a:gd name="connsiteX112" fmla="*/ 2918460 w 3017559"/>
                  <a:gd name="connsiteY112" fmla="*/ 2049780 h 3680460"/>
                  <a:gd name="connsiteX113" fmla="*/ 2933700 w 3017559"/>
                  <a:gd name="connsiteY113" fmla="*/ 1844040 h 3680460"/>
                  <a:gd name="connsiteX114" fmla="*/ 2918460 w 3017559"/>
                  <a:gd name="connsiteY114" fmla="*/ 1470660 h 3680460"/>
                  <a:gd name="connsiteX115" fmla="*/ 2895600 w 3017559"/>
                  <a:gd name="connsiteY115" fmla="*/ 1371600 h 3680460"/>
                  <a:gd name="connsiteX116" fmla="*/ 2880360 w 3017559"/>
                  <a:gd name="connsiteY116" fmla="*/ 1341120 h 3680460"/>
                  <a:gd name="connsiteX117" fmla="*/ 2857500 w 3017559"/>
                  <a:gd name="connsiteY117" fmla="*/ 1272540 h 3680460"/>
                  <a:gd name="connsiteX118" fmla="*/ 2849880 w 3017559"/>
                  <a:gd name="connsiteY118" fmla="*/ 1234440 h 3680460"/>
                  <a:gd name="connsiteX119" fmla="*/ 2827020 w 3017559"/>
                  <a:gd name="connsiteY119" fmla="*/ 1196340 h 3680460"/>
                  <a:gd name="connsiteX120" fmla="*/ 2811780 w 3017559"/>
                  <a:gd name="connsiteY120" fmla="*/ 1165860 h 3680460"/>
                  <a:gd name="connsiteX121" fmla="*/ 2781300 w 3017559"/>
                  <a:gd name="connsiteY121" fmla="*/ 1127760 h 3680460"/>
                  <a:gd name="connsiteX122" fmla="*/ 2766060 w 3017559"/>
                  <a:gd name="connsiteY122" fmla="*/ 1089660 h 3680460"/>
                  <a:gd name="connsiteX123" fmla="*/ 2735580 w 3017559"/>
                  <a:gd name="connsiteY123" fmla="*/ 1043940 h 3680460"/>
                  <a:gd name="connsiteX124" fmla="*/ 2727960 w 3017559"/>
                  <a:gd name="connsiteY124" fmla="*/ 1021080 h 3680460"/>
                  <a:gd name="connsiteX125" fmla="*/ 2682240 w 3017559"/>
                  <a:gd name="connsiteY125" fmla="*/ 937260 h 3680460"/>
                  <a:gd name="connsiteX126" fmla="*/ 2659380 w 3017559"/>
                  <a:gd name="connsiteY126" fmla="*/ 876300 h 3680460"/>
                  <a:gd name="connsiteX127" fmla="*/ 2644140 w 3017559"/>
                  <a:gd name="connsiteY127" fmla="*/ 845820 h 3680460"/>
                  <a:gd name="connsiteX128" fmla="*/ 2636520 w 3017559"/>
                  <a:gd name="connsiteY128" fmla="*/ 822960 h 3680460"/>
                  <a:gd name="connsiteX129" fmla="*/ 2621280 w 3017559"/>
                  <a:gd name="connsiteY129" fmla="*/ 800100 h 3680460"/>
                  <a:gd name="connsiteX130" fmla="*/ 2598420 w 3017559"/>
                  <a:gd name="connsiteY130" fmla="*/ 739140 h 3680460"/>
                  <a:gd name="connsiteX131" fmla="*/ 2458403 w 3017559"/>
                  <a:gd name="connsiteY131" fmla="*/ 621983 h 3680460"/>
                  <a:gd name="connsiteX132" fmla="*/ 2301240 w 3017559"/>
                  <a:gd name="connsiteY132" fmla="*/ 458152 h 3680460"/>
                  <a:gd name="connsiteX133" fmla="*/ 2237423 w 3017559"/>
                  <a:gd name="connsiteY133" fmla="*/ 406717 h 3680460"/>
                  <a:gd name="connsiteX134" fmla="*/ 2103120 w 3017559"/>
                  <a:gd name="connsiteY134" fmla="*/ 312420 h 3680460"/>
                  <a:gd name="connsiteX135" fmla="*/ 2042160 w 3017559"/>
                  <a:gd name="connsiteY135" fmla="*/ 266700 h 3680460"/>
                  <a:gd name="connsiteX136" fmla="*/ 2004060 w 3017559"/>
                  <a:gd name="connsiteY136" fmla="*/ 251460 h 3680460"/>
                  <a:gd name="connsiteX137" fmla="*/ 1958340 w 3017559"/>
                  <a:gd name="connsiteY137" fmla="*/ 220980 h 3680460"/>
                  <a:gd name="connsiteX138" fmla="*/ 1897380 w 3017559"/>
                  <a:gd name="connsiteY138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45720 w 3017559"/>
                  <a:gd name="connsiteY58" fmla="*/ 3436620 h 3680460"/>
                  <a:gd name="connsiteX59" fmla="*/ 0 w 3017559"/>
                  <a:gd name="connsiteY59" fmla="*/ 3352800 h 3680460"/>
                  <a:gd name="connsiteX60" fmla="*/ 30480 w 3017559"/>
                  <a:gd name="connsiteY60" fmla="*/ 3345180 h 3680460"/>
                  <a:gd name="connsiteX61" fmla="*/ 137160 w 3017559"/>
                  <a:gd name="connsiteY61" fmla="*/ 3360420 h 3680460"/>
                  <a:gd name="connsiteX62" fmla="*/ 167640 w 3017559"/>
                  <a:gd name="connsiteY62" fmla="*/ 3390900 h 3680460"/>
                  <a:gd name="connsiteX63" fmla="*/ 198120 w 3017559"/>
                  <a:gd name="connsiteY63" fmla="*/ 3406140 h 3680460"/>
                  <a:gd name="connsiteX64" fmla="*/ 350520 w 3017559"/>
                  <a:gd name="connsiteY64" fmla="*/ 3436620 h 3680460"/>
                  <a:gd name="connsiteX65" fmla="*/ 381000 w 3017559"/>
                  <a:gd name="connsiteY65" fmla="*/ 3451860 h 3680460"/>
                  <a:gd name="connsiteX66" fmla="*/ 449580 w 3017559"/>
                  <a:gd name="connsiteY66" fmla="*/ 3489960 h 3680460"/>
                  <a:gd name="connsiteX67" fmla="*/ 495300 w 3017559"/>
                  <a:gd name="connsiteY67" fmla="*/ 3520440 h 3680460"/>
                  <a:gd name="connsiteX68" fmla="*/ 525780 w 3017559"/>
                  <a:gd name="connsiteY68" fmla="*/ 3535680 h 3680460"/>
                  <a:gd name="connsiteX69" fmla="*/ 731520 w 3017559"/>
                  <a:gd name="connsiteY69" fmla="*/ 3558540 h 3680460"/>
                  <a:gd name="connsiteX70" fmla="*/ 1341120 w 3017559"/>
                  <a:gd name="connsiteY70" fmla="*/ 3550920 h 3680460"/>
                  <a:gd name="connsiteX71" fmla="*/ 1440180 w 3017559"/>
                  <a:gd name="connsiteY71" fmla="*/ 3528060 h 3680460"/>
                  <a:gd name="connsiteX72" fmla="*/ 1539240 w 3017559"/>
                  <a:gd name="connsiteY72" fmla="*/ 3520440 h 3680460"/>
                  <a:gd name="connsiteX73" fmla="*/ 1562100 w 3017559"/>
                  <a:gd name="connsiteY73" fmla="*/ 3512820 h 3680460"/>
                  <a:gd name="connsiteX74" fmla="*/ 1630680 w 3017559"/>
                  <a:gd name="connsiteY74" fmla="*/ 3497580 h 3680460"/>
                  <a:gd name="connsiteX75" fmla="*/ 1699260 w 3017559"/>
                  <a:gd name="connsiteY75" fmla="*/ 3474720 h 3680460"/>
                  <a:gd name="connsiteX76" fmla="*/ 1790700 w 3017559"/>
                  <a:gd name="connsiteY76" fmla="*/ 3451860 h 3680460"/>
                  <a:gd name="connsiteX77" fmla="*/ 1821180 w 3017559"/>
                  <a:gd name="connsiteY77" fmla="*/ 3444240 h 3680460"/>
                  <a:gd name="connsiteX78" fmla="*/ 1844040 w 3017559"/>
                  <a:gd name="connsiteY78" fmla="*/ 3429000 h 3680460"/>
                  <a:gd name="connsiteX79" fmla="*/ 1874520 w 3017559"/>
                  <a:gd name="connsiteY79" fmla="*/ 3421380 h 3680460"/>
                  <a:gd name="connsiteX80" fmla="*/ 1927860 w 3017559"/>
                  <a:gd name="connsiteY80" fmla="*/ 3398520 h 3680460"/>
                  <a:gd name="connsiteX81" fmla="*/ 1950720 w 3017559"/>
                  <a:gd name="connsiteY81" fmla="*/ 3390900 h 3680460"/>
                  <a:gd name="connsiteX82" fmla="*/ 2004060 w 3017559"/>
                  <a:gd name="connsiteY82" fmla="*/ 3360420 h 3680460"/>
                  <a:gd name="connsiteX83" fmla="*/ 2042160 w 3017559"/>
                  <a:gd name="connsiteY83" fmla="*/ 3352800 h 3680460"/>
                  <a:gd name="connsiteX84" fmla="*/ 2080260 w 3017559"/>
                  <a:gd name="connsiteY84" fmla="*/ 3337560 h 3680460"/>
                  <a:gd name="connsiteX85" fmla="*/ 2156460 w 3017559"/>
                  <a:gd name="connsiteY85" fmla="*/ 3299460 h 3680460"/>
                  <a:gd name="connsiteX86" fmla="*/ 2179320 w 3017559"/>
                  <a:gd name="connsiteY86" fmla="*/ 3284220 h 3680460"/>
                  <a:gd name="connsiteX87" fmla="*/ 2209800 w 3017559"/>
                  <a:gd name="connsiteY87" fmla="*/ 3276600 h 3680460"/>
                  <a:gd name="connsiteX88" fmla="*/ 2263140 w 3017559"/>
                  <a:gd name="connsiteY88" fmla="*/ 3230880 h 3680460"/>
                  <a:gd name="connsiteX89" fmla="*/ 2346960 w 3017559"/>
                  <a:gd name="connsiteY89" fmla="*/ 3154680 h 3680460"/>
                  <a:gd name="connsiteX90" fmla="*/ 2400300 w 3017559"/>
                  <a:gd name="connsiteY90" fmla="*/ 3070860 h 3680460"/>
                  <a:gd name="connsiteX91" fmla="*/ 2415540 w 3017559"/>
                  <a:gd name="connsiteY91" fmla="*/ 3048000 h 3680460"/>
                  <a:gd name="connsiteX92" fmla="*/ 2446020 w 3017559"/>
                  <a:gd name="connsiteY92" fmla="*/ 3032760 h 3680460"/>
                  <a:gd name="connsiteX93" fmla="*/ 2468880 w 3017559"/>
                  <a:gd name="connsiteY93" fmla="*/ 3009900 h 3680460"/>
                  <a:gd name="connsiteX94" fmla="*/ 2537460 w 3017559"/>
                  <a:gd name="connsiteY94" fmla="*/ 2926080 h 3680460"/>
                  <a:gd name="connsiteX95" fmla="*/ 2575560 w 3017559"/>
                  <a:gd name="connsiteY95" fmla="*/ 2880360 h 3680460"/>
                  <a:gd name="connsiteX96" fmla="*/ 2628900 w 3017559"/>
                  <a:gd name="connsiteY96" fmla="*/ 2811780 h 3680460"/>
                  <a:gd name="connsiteX97" fmla="*/ 2644140 w 3017559"/>
                  <a:gd name="connsiteY97" fmla="*/ 2773680 h 3680460"/>
                  <a:gd name="connsiteX98" fmla="*/ 2674620 w 3017559"/>
                  <a:gd name="connsiteY98" fmla="*/ 2727960 h 3680460"/>
                  <a:gd name="connsiteX99" fmla="*/ 2689860 w 3017559"/>
                  <a:gd name="connsiteY99" fmla="*/ 2705100 h 3680460"/>
                  <a:gd name="connsiteX100" fmla="*/ 2705100 w 3017559"/>
                  <a:gd name="connsiteY100" fmla="*/ 2667000 h 3680460"/>
                  <a:gd name="connsiteX101" fmla="*/ 2727960 w 3017559"/>
                  <a:gd name="connsiteY101" fmla="*/ 2621280 h 3680460"/>
                  <a:gd name="connsiteX102" fmla="*/ 2735580 w 3017559"/>
                  <a:gd name="connsiteY102" fmla="*/ 2590800 h 3680460"/>
                  <a:gd name="connsiteX103" fmla="*/ 2758440 w 3017559"/>
                  <a:gd name="connsiteY103" fmla="*/ 2545080 h 3680460"/>
                  <a:gd name="connsiteX104" fmla="*/ 2788920 w 3017559"/>
                  <a:gd name="connsiteY104" fmla="*/ 2484120 h 3680460"/>
                  <a:gd name="connsiteX105" fmla="*/ 2811780 w 3017559"/>
                  <a:gd name="connsiteY105" fmla="*/ 2407920 h 3680460"/>
                  <a:gd name="connsiteX106" fmla="*/ 2842260 w 3017559"/>
                  <a:gd name="connsiteY106" fmla="*/ 2324100 h 3680460"/>
                  <a:gd name="connsiteX107" fmla="*/ 2857500 w 3017559"/>
                  <a:gd name="connsiteY107" fmla="*/ 2247900 h 3680460"/>
                  <a:gd name="connsiteX108" fmla="*/ 2872740 w 3017559"/>
                  <a:gd name="connsiteY108" fmla="*/ 2194560 h 3680460"/>
                  <a:gd name="connsiteX109" fmla="*/ 2887980 w 3017559"/>
                  <a:gd name="connsiteY109" fmla="*/ 2148840 h 3680460"/>
                  <a:gd name="connsiteX110" fmla="*/ 2910840 w 3017559"/>
                  <a:gd name="connsiteY110" fmla="*/ 2087880 h 3680460"/>
                  <a:gd name="connsiteX111" fmla="*/ 2918460 w 3017559"/>
                  <a:gd name="connsiteY111" fmla="*/ 2049780 h 3680460"/>
                  <a:gd name="connsiteX112" fmla="*/ 2933700 w 3017559"/>
                  <a:gd name="connsiteY112" fmla="*/ 1844040 h 3680460"/>
                  <a:gd name="connsiteX113" fmla="*/ 2918460 w 3017559"/>
                  <a:gd name="connsiteY113" fmla="*/ 1470660 h 3680460"/>
                  <a:gd name="connsiteX114" fmla="*/ 2895600 w 3017559"/>
                  <a:gd name="connsiteY114" fmla="*/ 1371600 h 3680460"/>
                  <a:gd name="connsiteX115" fmla="*/ 2880360 w 3017559"/>
                  <a:gd name="connsiteY115" fmla="*/ 1341120 h 3680460"/>
                  <a:gd name="connsiteX116" fmla="*/ 2857500 w 3017559"/>
                  <a:gd name="connsiteY116" fmla="*/ 1272540 h 3680460"/>
                  <a:gd name="connsiteX117" fmla="*/ 2849880 w 3017559"/>
                  <a:gd name="connsiteY117" fmla="*/ 1234440 h 3680460"/>
                  <a:gd name="connsiteX118" fmla="*/ 2827020 w 3017559"/>
                  <a:gd name="connsiteY118" fmla="*/ 1196340 h 3680460"/>
                  <a:gd name="connsiteX119" fmla="*/ 2811780 w 3017559"/>
                  <a:gd name="connsiteY119" fmla="*/ 1165860 h 3680460"/>
                  <a:gd name="connsiteX120" fmla="*/ 2781300 w 3017559"/>
                  <a:gd name="connsiteY120" fmla="*/ 1127760 h 3680460"/>
                  <a:gd name="connsiteX121" fmla="*/ 2766060 w 3017559"/>
                  <a:gd name="connsiteY121" fmla="*/ 1089660 h 3680460"/>
                  <a:gd name="connsiteX122" fmla="*/ 2735580 w 3017559"/>
                  <a:gd name="connsiteY122" fmla="*/ 1043940 h 3680460"/>
                  <a:gd name="connsiteX123" fmla="*/ 2727960 w 3017559"/>
                  <a:gd name="connsiteY123" fmla="*/ 1021080 h 3680460"/>
                  <a:gd name="connsiteX124" fmla="*/ 2682240 w 3017559"/>
                  <a:gd name="connsiteY124" fmla="*/ 937260 h 3680460"/>
                  <a:gd name="connsiteX125" fmla="*/ 2659380 w 3017559"/>
                  <a:gd name="connsiteY125" fmla="*/ 876300 h 3680460"/>
                  <a:gd name="connsiteX126" fmla="*/ 2644140 w 3017559"/>
                  <a:gd name="connsiteY126" fmla="*/ 845820 h 3680460"/>
                  <a:gd name="connsiteX127" fmla="*/ 2636520 w 3017559"/>
                  <a:gd name="connsiteY127" fmla="*/ 822960 h 3680460"/>
                  <a:gd name="connsiteX128" fmla="*/ 2621280 w 3017559"/>
                  <a:gd name="connsiteY128" fmla="*/ 800100 h 3680460"/>
                  <a:gd name="connsiteX129" fmla="*/ 2598420 w 3017559"/>
                  <a:gd name="connsiteY129" fmla="*/ 739140 h 3680460"/>
                  <a:gd name="connsiteX130" fmla="*/ 2458403 w 3017559"/>
                  <a:gd name="connsiteY130" fmla="*/ 621983 h 3680460"/>
                  <a:gd name="connsiteX131" fmla="*/ 2301240 w 3017559"/>
                  <a:gd name="connsiteY131" fmla="*/ 458152 h 3680460"/>
                  <a:gd name="connsiteX132" fmla="*/ 2237423 w 3017559"/>
                  <a:gd name="connsiteY132" fmla="*/ 406717 h 3680460"/>
                  <a:gd name="connsiteX133" fmla="*/ 2103120 w 3017559"/>
                  <a:gd name="connsiteY133" fmla="*/ 312420 h 3680460"/>
                  <a:gd name="connsiteX134" fmla="*/ 2042160 w 3017559"/>
                  <a:gd name="connsiteY134" fmla="*/ 266700 h 3680460"/>
                  <a:gd name="connsiteX135" fmla="*/ 2004060 w 3017559"/>
                  <a:gd name="connsiteY135" fmla="*/ 251460 h 3680460"/>
                  <a:gd name="connsiteX136" fmla="*/ 1958340 w 3017559"/>
                  <a:gd name="connsiteY136" fmla="*/ 220980 h 3680460"/>
                  <a:gd name="connsiteX137" fmla="*/ 1897380 w 3017559"/>
                  <a:gd name="connsiteY137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45720 w 3017559"/>
                  <a:gd name="connsiteY57" fmla="*/ 3436620 h 3680460"/>
                  <a:gd name="connsiteX58" fmla="*/ 0 w 3017559"/>
                  <a:gd name="connsiteY58" fmla="*/ 3352800 h 3680460"/>
                  <a:gd name="connsiteX59" fmla="*/ 30480 w 3017559"/>
                  <a:gd name="connsiteY59" fmla="*/ 3345180 h 3680460"/>
                  <a:gd name="connsiteX60" fmla="*/ 137160 w 3017559"/>
                  <a:gd name="connsiteY60" fmla="*/ 3360420 h 3680460"/>
                  <a:gd name="connsiteX61" fmla="*/ 167640 w 3017559"/>
                  <a:gd name="connsiteY61" fmla="*/ 3390900 h 3680460"/>
                  <a:gd name="connsiteX62" fmla="*/ 198120 w 3017559"/>
                  <a:gd name="connsiteY62" fmla="*/ 3406140 h 3680460"/>
                  <a:gd name="connsiteX63" fmla="*/ 350520 w 3017559"/>
                  <a:gd name="connsiteY63" fmla="*/ 3436620 h 3680460"/>
                  <a:gd name="connsiteX64" fmla="*/ 381000 w 3017559"/>
                  <a:gd name="connsiteY64" fmla="*/ 3451860 h 3680460"/>
                  <a:gd name="connsiteX65" fmla="*/ 449580 w 3017559"/>
                  <a:gd name="connsiteY65" fmla="*/ 3489960 h 3680460"/>
                  <a:gd name="connsiteX66" fmla="*/ 495300 w 3017559"/>
                  <a:gd name="connsiteY66" fmla="*/ 3520440 h 3680460"/>
                  <a:gd name="connsiteX67" fmla="*/ 525780 w 3017559"/>
                  <a:gd name="connsiteY67" fmla="*/ 3535680 h 3680460"/>
                  <a:gd name="connsiteX68" fmla="*/ 731520 w 3017559"/>
                  <a:gd name="connsiteY68" fmla="*/ 3558540 h 3680460"/>
                  <a:gd name="connsiteX69" fmla="*/ 1341120 w 3017559"/>
                  <a:gd name="connsiteY69" fmla="*/ 3550920 h 3680460"/>
                  <a:gd name="connsiteX70" fmla="*/ 1440180 w 3017559"/>
                  <a:gd name="connsiteY70" fmla="*/ 3528060 h 3680460"/>
                  <a:gd name="connsiteX71" fmla="*/ 1539240 w 3017559"/>
                  <a:gd name="connsiteY71" fmla="*/ 3520440 h 3680460"/>
                  <a:gd name="connsiteX72" fmla="*/ 1562100 w 3017559"/>
                  <a:gd name="connsiteY72" fmla="*/ 3512820 h 3680460"/>
                  <a:gd name="connsiteX73" fmla="*/ 1630680 w 3017559"/>
                  <a:gd name="connsiteY73" fmla="*/ 3497580 h 3680460"/>
                  <a:gd name="connsiteX74" fmla="*/ 1699260 w 3017559"/>
                  <a:gd name="connsiteY74" fmla="*/ 3474720 h 3680460"/>
                  <a:gd name="connsiteX75" fmla="*/ 1790700 w 3017559"/>
                  <a:gd name="connsiteY75" fmla="*/ 3451860 h 3680460"/>
                  <a:gd name="connsiteX76" fmla="*/ 1821180 w 3017559"/>
                  <a:gd name="connsiteY76" fmla="*/ 3444240 h 3680460"/>
                  <a:gd name="connsiteX77" fmla="*/ 1844040 w 3017559"/>
                  <a:gd name="connsiteY77" fmla="*/ 3429000 h 3680460"/>
                  <a:gd name="connsiteX78" fmla="*/ 1874520 w 3017559"/>
                  <a:gd name="connsiteY78" fmla="*/ 3421380 h 3680460"/>
                  <a:gd name="connsiteX79" fmla="*/ 1927860 w 3017559"/>
                  <a:gd name="connsiteY79" fmla="*/ 3398520 h 3680460"/>
                  <a:gd name="connsiteX80" fmla="*/ 1950720 w 3017559"/>
                  <a:gd name="connsiteY80" fmla="*/ 3390900 h 3680460"/>
                  <a:gd name="connsiteX81" fmla="*/ 2004060 w 3017559"/>
                  <a:gd name="connsiteY81" fmla="*/ 3360420 h 3680460"/>
                  <a:gd name="connsiteX82" fmla="*/ 2042160 w 3017559"/>
                  <a:gd name="connsiteY82" fmla="*/ 3352800 h 3680460"/>
                  <a:gd name="connsiteX83" fmla="*/ 2080260 w 3017559"/>
                  <a:gd name="connsiteY83" fmla="*/ 3337560 h 3680460"/>
                  <a:gd name="connsiteX84" fmla="*/ 2156460 w 3017559"/>
                  <a:gd name="connsiteY84" fmla="*/ 3299460 h 3680460"/>
                  <a:gd name="connsiteX85" fmla="*/ 2179320 w 3017559"/>
                  <a:gd name="connsiteY85" fmla="*/ 3284220 h 3680460"/>
                  <a:gd name="connsiteX86" fmla="*/ 2209800 w 3017559"/>
                  <a:gd name="connsiteY86" fmla="*/ 3276600 h 3680460"/>
                  <a:gd name="connsiteX87" fmla="*/ 2263140 w 3017559"/>
                  <a:gd name="connsiteY87" fmla="*/ 3230880 h 3680460"/>
                  <a:gd name="connsiteX88" fmla="*/ 2346960 w 3017559"/>
                  <a:gd name="connsiteY88" fmla="*/ 3154680 h 3680460"/>
                  <a:gd name="connsiteX89" fmla="*/ 2400300 w 3017559"/>
                  <a:gd name="connsiteY89" fmla="*/ 3070860 h 3680460"/>
                  <a:gd name="connsiteX90" fmla="*/ 2415540 w 3017559"/>
                  <a:gd name="connsiteY90" fmla="*/ 3048000 h 3680460"/>
                  <a:gd name="connsiteX91" fmla="*/ 2446020 w 3017559"/>
                  <a:gd name="connsiteY91" fmla="*/ 3032760 h 3680460"/>
                  <a:gd name="connsiteX92" fmla="*/ 2468880 w 3017559"/>
                  <a:gd name="connsiteY92" fmla="*/ 3009900 h 3680460"/>
                  <a:gd name="connsiteX93" fmla="*/ 2537460 w 3017559"/>
                  <a:gd name="connsiteY93" fmla="*/ 2926080 h 3680460"/>
                  <a:gd name="connsiteX94" fmla="*/ 2575560 w 3017559"/>
                  <a:gd name="connsiteY94" fmla="*/ 2880360 h 3680460"/>
                  <a:gd name="connsiteX95" fmla="*/ 2628900 w 3017559"/>
                  <a:gd name="connsiteY95" fmla="*/ 2811780 h 3680460"/>
                  <a:gd name="connsiteX96" fmla="*/ 2644140 w 3017559"/>
                  <a:gd name="connsiteY96" fmla="*/ 2773680 h 3680460"/>
                  <a:gd name="connsiteX97" fmla="*/ 2674620 w 3017559"/>
                  <a:gd name="connsiteY97" fmla="*/ 2727960 h 3680460"/>
                  <a:gd name="connsiteX98" fmla="*/ 2689860 w 3017559"/>
                  <a:gd name="connsiteY98" fmla="*/ 2705100 h 3680460"/>
                  <a:gd name="connsiteX99" fmla="*/ 2705100 w 3017559"/>
                  <a:gd name="connsiteY99" fmla="*/ 2667000 h 3680460"/>
                  <a:gd name="connsiteX100" fmla="*/ 2727960 w 3017559"/>
                  <a:gd name="connsiteY100" fmla="*/ 2621280 h 3680460"/>
                  <a:gd name="connsiteX101" fmla="*/ 2735580 w 3017559"/>
                  <a:gd name="connsiteY101" fmla="*/ 2590800 h 3680460"/>
                  <a:gd name="connsiteX102" fmla="*/ 2758440 w 3017559"/>
                  <a:gd name="connsiteY102" fmla="*/ 2545080 h 3680460"/>
                  <a:gd name="connsiteX103" fmla="*/ 2788920 w 3017559"/>
                  <a:gd name="connsiteY103" fmla="*/ 2484120 h 3680460"/>
                  <a:gd name="connsiteX104" fmla="*/ 2811780 w 3017559"/>
                  <a:gd name="connsiteY104" fmla="*/ 2407920 h 3680460"/>
                  <a:gd name="connsiteX105" fmla="*/ 2842260 w 3017559"/>
                  <a:gd name="connsiteY105" fmla="*/ 2324100 h 3680460"/>
                  <a:gd name="connsiteX106" fmla="*/ 2857500 w 3017559"/>
                  <a:gd name="connsiteY106" fmla="*/ 2247900 h 3680460"/>
                  <a:gd name="connsiteX107" fmla="*/ 2872740 w 3017559"/>
                  <a:gd name="connsiteY107" fmla="*/ 2194560 h 3680460"/>
                  <a:gd name="connsiteX108" fmla="*/ 2887980 w 3017559"/>
                  <a:gd name="connsiteY108" fmla="*/ 2148840 h 3680460"/>
                  <a:gd name="connsiteX109" fmla="*/ 2910840 w 3017559"/>
                  <a:gd name="connsiteY109" fmla="*/ 2087880 h 3680460"/>
                  <a:gd name="connsiteX110" fmla="*/ 2918460 w 3017559"/>
                  <a:gd name="connsiteY110" fmla="*/ 2049780 h 3680460"/>
                  <a:gd name="connsiteX111" fmla="*/ 2933700 w 3017559"/>
                  <a:gd name="connsiteY111" fmla="*/ 1844040 h 3680460"/>
                  <a:gd name="connsiteX112" fmla="*/ 2918460 w 3017559"/>
                  <a:gd name="connsiteY112" fmla="*/ 1470660 h 3680460"/>
                  <a:gd name="connsiteX113" fmla="*/ 2895600 w 3017559"/>
                  <a:gd name="connsiteY113" fmla="*/ 1371600 h 3680460"/>
                  <a:gd name="connsiteX114" fmla="*/ 2880360 w 3017559"/>
                  <a:gd name="connsiteY114" fmla="*/ 1341120 h 3680460"/>
                  <a:gd name="connsiteX115" fmla="*/ 2857500 w 3017559"/>
                  <a:gd name="connsiteY115" fmla="*/ 1272540 h 3680460"/>
                  <a:gd name="connsiteX116" fmla="*/ 2849880 w 3017559"/>
                  <a:gd name="connsiteY116" fmla="*/ 1234440 h 3680460"/>
                  <a:gd name="connsiteX117" fmla="*/ 2827020 w 3017559"/>
                  <a:gd name="connsiteY117" fmla="*/ 1196340 h 3680460"/>
                  <a:gd name="connsiteX118" fmla="*/ 2811780 w 3017559"/>
                  <a:gd name="connsiteY118" fmla="*/ 1165860 h 3680460"/>
                  <a:gd name="connsiteX119" fmla="*/ 2781300 w 3017559"/>
                  <a:gd name="connsiteY119" fmla="*/ 1127760 h 3680460"/>
                  <a:gd name="connsiteX120" fmla="*/ 2766060 w 3017559"/>
                  <a:gd name="connsiteY120" fmla="*/ 1089660 h 3680460"/>
                  <a:gd name="connsiteX121" fmla="*/ 2735580 w 3017559"/>
                  <a:gd name="connsiteY121" fmla="*/ 1043940 h 3680460"/>
                  <a:gd name="connsiteX122" fmla="*/ 2727960 w 3017559"/>
                  <a:gd name="connsiteY122" fmla="*/ 1021080 h 3680460"/>
                  <a:gd name="connsiteX123" fmla="*/ 2682240 w 3017559"/>
                  <a:gd name="connsiteY123" fmla="*/ 937260 h 3680460"/>
                  <a:gd name="connsiteX124" fmla="*/ 2659380 w 3017559"/>
                  <a:gd name="connsiteY124" fmla="*/ 876300 h 3680460"/>
                  <a:gd name="connsiteX125" fmla="*/ 2644140 w 3017559"/>
                  <a:gd name="connsiteY125" fmla="*/ 845820 h 3680460"/>
                  <a:gd name="connsiteX126" fmla="*/ 2636520 w 3017559"/>
                  <a:gd name="connsiteY126" fmla="*/ 822960 h 3680460"/>
                  <a:gd name="connsiteX127" fmla="*/ 2621280 w 3017559"/>
                  <a:gd name="connsiteY127" fmla="*/ 800100 h 3680460"/>
                  <a:gd name="connsiteX128" fmla="*/ 2598420 w 3017559"/>
                  <a:gd name="connsiteY128" fmla="*/ 739140 h 3680460"/>
                  <a:gd name="connsiteX129" fmla="*/ 2458403 w 3017559"/>
                  <a:gd name="connsiteY129" fmla="*/ 621983 h 3680460"/>
                  <a:gd name="connsiteX130" fmla="*/ 2301240 w 3017559"/>
                  <a:gd name="connsiteY130" fmla="*/ 458152 h 3680460"/>
                  <a:gd name="connsiteX131" fmla="*/ 2237423 w 3017559"/>
                  <a:gd name="connsiteY131" fmla="*/ 406717 h 3680460"/>
                  <a:gd name="connsiteX132" fmla="*/ 2103120 w 3017559"/>
                  <a:gd name="connsiteY132" fmla="*/ 312420 h 3680460"/>
                  <a:gd name="connsiteX133" fmla="*/ 2042160 w 3017559"/>
                  <a:gd name="connsiteY133" fmla="*/ 266700 h 3680460"/>
                  <a:gd name="connsiteX134" fmla="*/ 2004060 w 3017559"/>
                  <a:gd name="connsiteY134" fmla="*/ 251460 h 3680460"/>
                  <a:gd name="connsiteX135" fmla="*/ 1958340 w 3017559"/>
                  <a:gd name="connsiteY135" fmla="*/ 220980 h 3680460"/>
                  <a:gd name="connsiteX136" fmla="*/ 1897380 w 3017559"/>
                  <a:gd name="connsiteY136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266700 w 3017559"/>
                  <a:gd name="connsiteY54" fmla="*/ 3604260 h 3680460"/>
                  <a:gd name="connsiteX55" fmla="*/ 160020 w 3017559"/>
                  <a:gd name="connsiteY55" fmla="*/ 3558540 h 3680460"/>
                  <a:gd name="connsiteX56" fmla="*/ 45720 w 3017559"/>
                  <a:gd name="connsiteY56" fmla="*/ 3436620 h 3680460"/>
                  <a:gd name="connsiteX57" fmla="*/ 0 w 3017559"/>
                  <a:gd name="connsiteY57" fmla="*/ 3352800 h 3680460"/>
                  <a:gd name="connsiteX58" fmla="*/ 30480 w 3017559"/>
                  <a:gd name="connsiteY58" fmla="*/ 3345180 h 3680460"/>
                  <a:gd name="connsiteX59" fmla="*/ 137160 w 3017559"/>
                  <a:gd name="connsiteY59" fmla="*/ 3360420 h 3680460"/>
                  <a:gd name="connsiteX60" fmla="*/ 167640 w 3017559"/>
                  <a:gd name="connsiteY60" fmla="*/ 3390900 h 3680460"/>
                  <a:gd name="connsiteX61" fmla="*/ 198120 w 3017559"/>
                  <a:gd name="connsiteY61" fmla="*/ 3406140 h 3680460"/>
                  <a:gd name="connsiteX62" fmla="*/ 350520 w 3017559"/>
                  <a:gd name="connsiteY62" fmla="*/ 3436620 h 3680460"/>
                  <a:gd name="connsiteX63" fmla="*/ 381000 w 3017559"/>
                  <a:gd name="connsiteY63" fmla="*/ 3451860 h 3680460"/>
                  <a:gd name="connsiteX64" fmla="*/ 449580 w 3017559"/>
                  <a:gd name="connsiteY64" fmla="*/ 3489960 h 3680460"/>
                  <a:gd name="connsiteX65" fmla="*/ 495300 w 3017559"/>
                  <a:gd name="connsiteY65" fmla="*/ 3520440 h 3680460"/>
                  <a:gd name="connsiteX66" fmla="*/ 525780 w 3017559"/>
                  <a:gd name="connsiteY66" fmla="*/ 3535680 h 3680460"/>
                  <a:gd name="connsiteX67" fmla="*/ 731520 w 3017559"/>
                  <a:gd name="connsiteY67" fmla="*/ 3558540 h 3680460"/>
                  <a:gd name="connsiteX68" fmla="*/ 1341120 w 3017559"/>
                  <a:gd name="connsiteY68" fmla="*/ 3550920 h 3680460"/>
                  <a:gd name="connsiteX69" fmla="*/ 1440180 w 3017559"/>
                  <a:gd name="connsiteY69" fmla="*/ 3528060 h 3680460"/>
                  <a:gd name="connsiteX70" fmla="*/ 1539240 w 3017559"/>
                  <a:gd name="connsiteY70" fmla="*/ 3520440 h 3680460"/>
                  <a:gd name="connsiteX71" fmla="*/ 1562100 w 3017559"/>
                  <a:gd name="connsiteY71" fmla="*/ 3512820 h 3680460"/>
                  <a:gd name="connsiteX72" fmla="*/ 1630680 w 3017559"/>
                  <a:gd name="connsiteY72" fmla="*/ 3497580 h 3680460"/>
                  <a:gd name="connsiteX73" fmla="*/ 1699260 w 3017559"/>
                  <a:gd name="connsiteY73" fmla="*/ 3474720 h 3680460"/>
                  <a:gd name="connsiteX74" fmla="*/ 1790700 w 3017559"/>
                  <a:gd name="connsiteY74" fmla="*/ 3451860 h 3680460"/>
                  <a:gd name="connsiteX75" fmla="*/ 1821180 w 3017559"/>
                  <a:gd name="connsiteY75" fmla="*/ 3444240 h 3680460"/>
                  <a:gd name="connsiteX76" fmla="*/ 1844040 w 3017559"/>
                  <a:gd name="connsiteY76" fmla="*/ 3429000 h 3680460"/>
                  <a:gd name="connsiteX77" fmla="*/ 1874520 w 3017559"/>
                  <a:gd name="connsiteY77" fmla="*/ 3421380 h 3680460"/>
                  <a:gd name="connsiteX78" fmla="*/ 1927860 w 3017559"/>
                  <a:gd name="connsiteY78" fmla="*/ 3398520 h 3680460"/>
                  <a:gd name="connsiteX79" fmla="*/ 1950720 w 3017559"/>
                  <a:gd name="connsiteY79" fmla="*/ 3390900 h 3680460"/>
                  <a:gd name="connsiteX80" fmla="*/ 2004060 w 3017559"/>
                  <a:gd name="connsiteY80" fmla="*/ 3360420 h 3680460"/>
                  <a:gd name="connsiteX81" fmla="*/ 2042160 w 3017559"/>
                  <a:gd name="connsiteY81" fmla="*/ 3352800 h 3680460"/>
                  <a:gd name="connsiteX82" fmla="*/ 2080260 w 3017559"/>
                  <a:gd name="connsiteY82" fmla="*/ 3337560 h 3680460"/>
                  <a:gd name="connsiteX83" fmla="*/ 2156460 w 3017559"/>
                  <a:gd name="connsiteY83" fmla="*/ 3299460 h 3680460"/>
                  <a:gd name="connsiteX84" fmla="*/ 2179320 w 3017559"/>
                  <a:gd name="connsiteY84" fmla="*/ 3284220 h 3680460"/>
                  <a:gd name="connsiteX85" fmla="*/ 2209800 w 3017559"/>
                  <a:gd name="connsiteY85" fmla="*/ 3276600 h 3680460"/>
                  <a:gd name="connsiteX86" fmla="*/ 2263140 w 3017559"/>
                  <a:gd name="connsiteY86" fmla="*/ 3230880 h 3680460"/>
                  <a:gd name="connsiteX87" fmla="*/ 2346960 w 3017559"/>
                  <a:gd name="connsiteY87" fmla="*/ 3154680 h 3680460"/>
                  <a:gd name="connsiteX88" fmla="*/ 2400300 w 3017559"/>
                  <a:gd name="connsiteY88" fmla="*/ 3070860 h 3680460"/>
                  <a:gd name="connsiteX89" fmla="*/ 2415540 w 3017559"/>
                  <a:gd name="connsiteY89" fmla="*/ 3048000 h 3680460"/>
                  <a:gd name="connsiteX90" fmla="*/ 2446020 w 3017559"/>
                  <a:gd name="connsiteY90" fmla="*/ 3032760 h 3680460"/>
                  <a:gd name="connsiteX91" fmla="*/ 2468880 w 3017559"/>
                  <a:gd name="connsiteY91" fmla="*/ 3009900 h 3680460"/>
                  <a:gd name="connsiteX92" fmla="*/ 2537460 w 3017559"/>
                  <a:gd name="connsiteY92" fmla="*/ 2926080 h 3680460"/>
                  <a:gd name="connsiteX93" fmla="*/ 2575560 w 3017559"/>
                  <a:gd name="connsiteY93" fmla="*/ 2880360 h 3680460"/>
                  <a:gd name="connsiteX94" fmla="*/ 2628900 w 3017559"/>
                  <a:gd name="connsiteY94" fmla="*/ 2811780 h 3680460"/>
                  <a:gd name="connsiteX95" fmla="*/ 2644140 w 3017559"/>
                  <a:gd name="connsiteY95" fmla="*/ 2773680 h 3680460"/>
                  <a:gd name="connsiteX96" fmla="*/ 2674620 w 3017559"/>
                  <a:gd name="connsiteY96" fmla="*/ 2727960 h 3680460"/>
                  <a:gd name="connsiteX97" fmla="*/ 2689860 w 3017559"/>
                  <a:gd name="connsiteY97" fmla="*/ 2705100 h 3680460"/>
                  <a:gd name="connsiteX98" fmla="*/ 2705100 w 3017559"/>
                  <a:gd name="connsiteY98" fmla="*/ 2667000 h 3680460"/>
                  <a:gd name="connsiteX99" fmla="*/ 2727960 w 3017559"/>
                  <a:gd name="connsiteY99" fmla="*/ 2621280 h 3680460"/>
                  <a:gd name="connsiteX100" fmla="*/ 2735580 w 3017559"/>
                  <a:gd name="connsiteY100" fmla="*/ 2590800 h 3680460"/>
                  <a:gd name="connsiteX101" fmla="*/ 2758440 w 3017559"/>
                  <a:gd name="connsiteY101" fmla="*/ 2545080 h 3680460"/>
                  <a:gd name="connsiteX102" fmla="*/ 2788920 w 3017559"/>
                  <a:gd name="connsiteY102" fmla="*/ 2484120 h 3680460"/>
                  <a:gd name="connsiteX103" fmla="*/ 2811780 w 3017559"/>
                  <a:gd name="connsiteY103" fmla="*/ 2407920 h 3680460"/>
                  <a:gd name="connsiteX104" fmla="*/ 2842260 w 3017559"/>
                  <a:gd name="connsiteY104" fmla="*/ 2324100 h 3680460"/>
                  <a:gd name="connsiteX105" fmla="*/ 2857500 w 3017559"/>
                  <a:gd name="connsiteY105" fmla="*/ 2247900 h 3680460"/>
                  <a:gd name="connsiteX106" fmla="*/ 2872740 w 3017559"/>
                  <a:gd name="connsiteY106" fmla="*/ 2194560 h 3680460"/>
                  <a:gd name="connsiteX107" fmla="*/ 2887980 w 3017559"/>
                  <a:gd name="connsiteY107" fmla="*/ 2148840 h 3680460"/>
                  <a:gd name="connsiteX108" fmla="*/ 2910840 w 3017559"/>
                  <a:gd name="connsiteY108" fmla="*/ 2087880 h 3680460"/>
                  <a:gd name="connsiteX109" fmla="*/ 2918460 w 3017559"/>
                  <a:gd name="connsiteY109" fmla="*/ 2049780 h 3680460"/>
                  <a:gd name="connsiteX110" fmla="*/ 2933700 w 3017559"/>
                  <a:gd name="connsiteY110" fmla="*/ 1844040 h 3680460"/>
                  <a:gd name="connsiteX111" fmla="*/ 2918460 w 3017559"/>
                  <a:gd name="connsiteY111" fmla="*/ 1470660 h 3680460"/>
                  <a:gd name="connsiteX112" fmla="*/ 2895600 w 3017559"/>
                  <a:gd name="connsiteY112" fmla="*/ 1371600 h 3680460"/>
                  <a:gd name="connsiteX113" fmla="*/ 2880360 w 3017559"/>
                  <a:gd name="connsiteY113" fmla="*/ 1341120 h 3680460"/>
                  <a:gd name="connsiteX114" fmla="*/ 2857500 w 3017559"/>
                  <a:gd name="connsiteY114" fmla="*/ 1272540 h 3680460"/>
                  <a:gd name="connsiteX115" fmla="*/ 2849880 w 3017559"/>
                  <a:gd name="connsiteY115" fmla="*/ 1234440 h 3680460"/>
                  <a:gd name="connsiteX116" fmla="*/ 2827020 w 3017559"/>
                  <a:gd name="connsiteY116" fmla="*/ 1196340 h 3680460"/>
                  <a:gd name="connsiteX117" fmla="*/ 2811780 w 3017559"/>
                  <a:gd name="connsiteY117" fmla="*/ 1165860 h 3680460"/>
                  <a:gd name="connsiteX118" fmla="*/ 2781300 w 3017559"/>
                  <a:gd name="connsiteY118" fmla="*/ 1127760 h 3680460"/>
                  <a:gd name="connsiteX119" fmla="*/ 2766060 w 3017559"/>
                  <a:gd name="connsiteY119" fmla="*/ 1089660 h 3680460"/>
                  <a:gd name="connsiteX120" fmla="*/ 2735580 w 3017559"/>
                  <a:gd name="connsiteY120" fmla="*/ 1043940 h 3680460"/>
                  <a:gd name="connsiteX121" fmla="*/ 2727960 w 3017559"/>
                  <a:gd name="connsiteY121" fmla="*/ 1021080 h 3680460"/>
                  <a:gd name="connsiteX122" fmla="*/ 2682240 w 3017559"/>
                  <a:gd name="connsiteY122" fmla="*/ 937260 h 3680460"/>
                  <a:gd name="connsiteX123" fmla="*/ 2659380 w 3017559"/>
                  <a:gd name="connsiteY123" fmla="*/ 876300 h 3680460"/>
                  <a:gd name="connsiteX124" fmla="*/ 2644140 w 3017559"/>
                  <a:gd name="connsiteY124" fmla="*/ 845820 h 3680460"/>
                  <a:gd name="connsiteX125" fmla="*/ 2636520 w 3017559"/>
                  <a:gd name="connsiteY125" fmla="*/ 822960 h 3680460"/>
                  <a:gd name="connsiteX126" fmla="*/ 2621280 w 3017559"/>
                  <a:gd name="connsiteY126" fmla="*/ 800100 h 3680460"/>
                  <a:gd name="connsiteX127" fmla="*/ 2598420 w 3017559"/>
                  <a:gd name="connsiteY127" fmla="*/ 739140 h 3680460"/>
                  <a:gd name="connsiteX128" fmla="*/ 2458403 w 3017559"/>
                  <a:gd name="connsiteY128" fmla="*/ 621983 h 3680460"/>
                  <a:gd name="connsiteX129" fmla="*/ 2301240 w 3017559"/>
                  <a:gd name="connsiteY129" fmla="*/ 458152 h 3680460"/>
                  <a:gd name="connsiteX130" fmla="*/ 2237423 w 3017559"/>
                  <a:gd name="connsiteY130" fmla="*/ 406717 h 3680460"/>
                  <a:gd name="connsiteX131" fmla="*/ 2103120 w 3017559"/>
                  <a:gd name="connsiteY131" fmla="*/ 312420 h 3680460"/>
                  <a:gd name="connsiteX132" fmla="*/ 2042160 w 3017559"/>
                  <a:gd name="connsiteY132" fmla="*/ 266700 h 3680460"/>
                  <a:gd name="connsiteX133" fmla="*/ 2004060 w 3017559"/>
                  <a:gd name="connsiteY133" fmla="*/ 251460 h 3680460"/>
                  <a:gd name="connsiteX134" fmla="*/ 1958340 w 3017559"/>
                  <a:gd name="connsiteY134" fmla="*/ 220980 h 3680460"/>
                  <a:gd name="connsiteX135" fmla="*/ 1897380 w 3017559"/>
                  <a:gd name="connsiteY135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388620 w 3017559"/>
                  <a:gd name="connsiteY52" fmla="*/ 3657600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578167 w 3017559"/>
                  <a:gd name="connsiteY51" fmla="*/ 3672840 h 3680460"/>
                  <a:gd name="connsiteX52" fmla="*/ 388620 w 3017559"/>
                  <a:gd name="connsiteY52" fmla="*/ 3657600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578167 w 3017559"/>
                  <a:gd name="connsiteY51" fmla="*/ 3672840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0958 w 3017559"/>
                  <a:gd name="connsiteY55" fmla="*/ 3422333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0958 w 3017559"/>
                  <a:gd name="connsiteY55" fmla="*/ 3422333 h 3680460"/>
                  <a:gd name="connsiteX56" fmla="*/ 0 w 3017559"/>
                  <a:gd name="connsiteY56" fmla="*/ 3352800 h 3680460"/>
                  <a:gd name="connsiteX57" fmla="*/ 137160 w 3017559"/>
                  <a:gd name="connsiteY57" fmla="*/ 3360420 h 3680460"/>
                  <a:gd name="connsiteX58" fmla="*/ 167640 w 3017559"/>
                  <a:gd name="connsiteY58" fmla="*/ 3390900 h 3680460"/>
                  <a:gd name="connsiteX59" fmla="*/ 198120 w 3017559"/>
                  <a:gd name="connsiteY59" fmla="*/ 3406140 h 3680460"/>
                  <a:gd name="connsiteX60" fmla="*/ 350520 w 3017559"/>
                  <a:gd name="connsiteY60" fmla="*/ 3436620 h 3680460"/>
                  <a:gd name="connsiteX61" fmla="*/ 381000 w 3017559"/>
                  <a:gd name="connsiteY61" fmla="*/ 3451860 h 3680460"/>
                  <a:gd name="connsiteX62" fmla="*/ 449580 w 3017559"/>
                  <a:gd name="connsiteY62" fmla="*/ 3489960 h 3680460"/>
                  <a:gd name="connsiteX63" fmla="*/ 495300 w 3017559"/>
                  <a:gd name="connsiteY63" fmla="*/ 3520440 h 3680460"/>
                  <a:gd name="connsiteX64" fmla="*/ 525780 w 3017559"/>
                  <a:gd name="connsiteY64" fmla="*/ 3535680 h 3680460"/>
                  <a:gd name="connsiteX65" fmla="*/ 731520 w 3017559"/>
                  <a:gd name="connsiteY65" fmla="*/ 3558540 h 3680460"/>
                  <a:gd name="connsiteX66" fmla="*/ 1341120 w 3017559"/>
                  <a:gd name="connsiteY66" fmla="*/ 3550920 h 3680460"/>
                  <a:gd name="connsiteX67" fmla="*/ 1440180 w 3017559"/>
                  <a:gd name="connsiteY67" fmla="*/ 3528060 h 3680460"/>
                  <a:gd name="connsiteX68" fmla="*/ 1539240 w 3017559"/>
                  <a:gd name="connsiteY68" fmla="*/ 3520440 h 3680460"/>
                  <a:gd name="connsiteX69" fmla="*/ 1562100 w 3017559"/>
                  <a:gd name="connsiteY69" fmla="*/ 3512820 h 3680460"/>
                  <a:gd name="connsiteX70" fmla="*/ 1630680 w 3017559"/>
                  <a:gd name="connsiteY70" fmla="*/ 3497580 h 3680460"/>
                  <a:gd name="connsiteX71" fmla="*/ 1699260 w 3017559"/>
                  <a:gd name="connsiteY71" fmla="*/ 3474720 h 3680460"/>
                  <a:gd name="connsiteX72" fmla="*/ 1790700 w 3017559"/>
                  <a:gd name="connsiteY72" fmla="*/ 3451860 h 3680460"/>
                  <a:gd name="connsiteX73" fmla="*/ 1821180 w 3017559"/>
                  <a:gd name="connsiteY73" fmla="*/ 3444240 h 3680460"/>
                  <a:gd name="connsiteX74" fmla="*/ 1844040 w 3017559"/>
                  <a:gd name="connsiteY74" fmla="*/ 3429000 h 3680460"/>
                  <a:gd name="connsiteX75" fmla="*/ 1874520 w 3017559"/>
                  <a:gd name="connsiteY75" fmla="*/ 3421380 h 3680460"/>
                  <a:gd name="connsiteX76" fmla="*/ 1927860 w 3017559"/>
                  <a:gd name="connsiteY76" fmla="*/ 3398520 h 3680460"/>
                  <a:gd name="connsiteX77" fmla="*/ 1950720 w 3017559"/>
                  <a:gd name="connsiteY77" fmla="*/ 3390900 h 3680460"/>
                  <a:gd name="connsiteX78" fmla="*/ 2004060 w 3017559"/>
                  <a:gd name="connsiteY78" fmla="*/ 3360420 h 3680460"/>
                  <a:gd name="connsiteX79" fmla="*/ 2042160 w 3017559"/>
                  <a:gd name="connsiteY79" fmla="*/ 3352800 h 3680460"/>
                  <a:gd name="connsiteX80" fmla="*/ 2080260 w 3017559"/>
                  <a:gd name="connsiteY80" fmla="*/ 3337560 h 3680460"/>
                  <a:gd name="connsiteX81" fmla="*/ 2156460 w 3017559"/>
                  <a:gd name="connsiteY81" fmla="*/ 3299460 h 3680460"/>
                  <a:gd name="connsiteX82" fmla="*/ 2179320 w 3017559"/>
                  <a:gd name="connsiteY82" fmla="*/ 3284220 h 3680460"/>
                  <a:gd name="connsiteX83" fmla="*/ 2209800 w 3017559"/>
                  <a:gd name="connsiteY83" fmla="*/ 3276600 h 3680460"/>
                  <a:gd name="connsiteX84" fmla="*/ 2263140 w 3017559"/>
                  <a:gd name="connsiteY84" fmla="*/ 3230880 h 3680460"/>
                  <a:gd name="connsiteX85" fmla="*/ 2346960 w 3017559"/>
                  <a:gd name="connsiteY85" fmla="*/ 3154680 h 3680460"/>
                  <a:gd name="connsiteX86" fmla="*/ 2400300 w 3017559"/>
                  <a:gd name="connsiteY86" fmla="*/ 3070860 h 3680460"/>
                  <a:gd name="connsiteX87" fmla="*/ 2415540 w 3017559"/>
                  <a:gd name="connsiteY87" fmla="*/ 3048000 h 3680460"/>
                  <a:gd name="connsiteX88" fmla="*/ 2446020 w 3017559"/>
                  <a:gd name="connsiteY88" fmla="*/ 3032760 h 3680460"/>
                  <a:gd name="connsiteX89" fmla="*/ 2468880 w 3017559"/>
                  <a:gd name="connsiteY89" fmla="*/ 3009900 h 3680460"/>
                  <a:gd name="connsiteX90" fmla="*/ 2537460 w 3017559"/>
                  <a:gd name="connsiteY90" fmla="*/ 2926080 h 3680460"/>
                  <a:gd name="connsiteX91" fmla="*/ 2575560 w 3017559"/>
                  <a:gd name="connsiteY91" fmla="*/ 2880360 h 3680460"/>
                  <a:gd name="connsiteX92" fmla="*/ 2628900 w 3017559"/>
                  <a:gd name="connsiteY92" fmla="*/ 2811780 h 3680460"/>
                  <a:gd name="connsiteX93" fmla="*/ 2644140 w 3017559"/>
                  <a:gd name="connsiteY93" fmla="*/ 2773680 h 3680460"/>
                  <a:gd name="connsiteX94" fmla="*/ 2674620 w 3017559"/>
                  <a:gd name="connsiteY94" fmla="*/ 2727960 h 3680460"/>
                  <a:gd name="connsiteX95" fmla="*/ 2689860 w 3017559"/>
                  <a:gd name="connsiteY95" fmla="*/ 2705100 h 3680460"/>
                  <a:gd name="connsiteX96" fmla="*/ 2705100 w 3017559"/>
                  <a:gd name="connsiteY96" fmla="*/ 2667000 h 3680460"/>
                  <a:gd name="connsiteX97" fmla="*/ 2727960 w 3017559"/>
                  <a:gd name="connsiteY97" fmla="*/ 2621280 h 3680460"/>
                  <a:gd name="connsiteX98" fmla="*/ 2735580 w 3017559"/>
                  <a:gd name="connsiteY98" fmla="*/ 2590800 h 3680460"/>
                  <a:gd name="connsiteX99" fmla="*/ 2758440 w 3017559"/>
                  <a:gd name="connsiteY99" fmla="*/ 2545080 h 3680460"/>
                  <a:gd name="connsiteX100" fmla="*/ 2788920 w 3017559"/>
                  <a:gd name="connsiteY100" fmla="*/ 2484120 h 3680460"/>
                  <a:gd name="connsiteX101" fmla="*/ 2811780 w 3017559"/>
                  <a:gd name="connsiteY101" fmla="*/ 2407920 h 3680460"/>
                  <a:gd name="connsiteX102" fmla="*/ 2842260 w 3017559"/>
                  <a:gd name="connsiteY102" fmla="*/ 2324100 h 3680460"/>
                  <a:gd name="connsiteX103" fmla="*/ 2857500 w 3017559"/>
                  <a:gd name="connsiteY103" fmla="*/ 2247900 h 3680460"/>
                  <a:gd name="connsiteX104" fmla="*/ 2872740 w 3017559"/>
                  <a:gd name="connsiteY104" fmla="*/ 2194560 h 3680460"/>
                  <a:gd name="connsiteX105" fmla="*/ 2887980 w 3017559"/>
                  <a:gd name="connsiteY105" fmla="*/ 2148840 h 3680460"/>
                  <a:gd name="connsiteX106" fmla="*/ 2910840 w 3017559"/>
                  <a:gd name="connsiteY106" fmla="*/ 2087880 h 3680460"/>
                  <a:gd name="connsiteX107" fmla="*/ 2918460 w 3017559"/>
                  <a:gd name="connsiteY107" fmla="*/ 2049780 h 3680460"/>
                  <a:gd name="connsiteX108" fmla="*/ 2933700 w 3017559"/>
                  <a:gd name="connsiteY108" fmla="*/ 1844040 h 3680460"/>
                  <a:gd name="connsiteX109" fmla="*/ 2918460 w 3017559"/>
                  <a:gd name="connsiteY109" fmla="*/ 1470660 h 3680460"/>
                  <a:gd name="connsiteX110" fmla="*/ 2895600 w 3017559"/>
                  <a:gd name="connsiteY110" fmla="*/ 1371600 h 3680460"/>
                  <a:gd name="connsiteX111" fmla="*/ 2880360 w 3017559"/>
                  <a:gd name="connsiteY111" fmla="*/ 1341120 h 3680460"/>
                  <a:gd name="connsiteX112" fmla="*/ 2857500 w 3017559"/>
                  <a:gd name="connsiteY112" fmla="*/ 1272540 h 3680460"/>
                  <a:gd name="connsiteX113" fmla="*/ 2849880 w 3017559"/>
                  <a:gd name="connsiteY113" fmla="*/ 1234440 h 3680460"/>
                  <a:gd name="connsiteX114" fmla="*/ 2827020 w 3017559"/>
                  <a:gd name="connsiteY114" fmla="*/ 1196340 h 3680460"/>
                  <a:gd name="connsiteX115" fmla="*/ 2811780 w 3017559"/>
                  <a:gd name="connsiteY115" fmla="*/ 1165860 h 3680460"/>
                  <a:gd name="connsiteX116" fmla="*/ 2781300 w 3017559"/>
                  <a:gd name="connsiteY116" fmla="*/ 1127760 h 3680460"/>
                  <a:gd name="connsiteX117" fmla="*/ 2766060 w 3017559"/>
                  <a:gd name="connsiteY117" fmla="*/ 1089660 h 3680460"/>
                  <a:gd name="connsiteX118" fmla="*/ 2735580 w 3017559"/>
                  <a:gd name="connsiteY118" fmla="*/ 1043940 h 3680460"/>
                  <a:gd name="connsiteX119" fmla="*/ 2727960 w 3017559"/>
                  <a:gd name="connsiteY119" fmla="*/ 1021080 h 3680460"/>
                  <a:gd name="connsiteX120" fmla="*/ 2682240 w 3017559"/>
                  <a:gd name="connsiteY120" fmla="*/ 937260 h 3680460"/>
                  <a:gd name="connsiteX121" fmla="*/ 2659380 w 3017559"/>
                  <a:gd name="connsiteY121" fmla="*/ 876300 h 3680460"/>
                  <a:gd name="connsiteX122" fmla="*/ 2644140 w 3017559"/>
                  <a:gd name="connsiteY122" fmla="*/ 845820 h 3680460"/>
                  <a:gd name="connsiteX123" fmla="*/ 2636520 w 3017559"/>
                  <a:gd name="connsiteY123" fmla="*/ 822960 h 3680460"/>
                  <a:gd name="connsiteX124" fmla="*/ 2621280 w 3017559"/>
                  <a:gd name="connsiteY124" fmla="*/ 800100 h 3680460"/>
                  <a:gd name="connsiteX125" fmla="*/ 2598420 w 3017559"/>
                  <a:gd name="connsiteY125" fmla="*/ 739140 h 3680460"/>
                  <a:gd name="connsiteX126" fmla="*/ 2458403 w 3017559"/>
                  <a:gd name="connsiteY126" fmla="*/ 621983 h 3680460"/>
                  <a:gd name="connsiteX127" fmla="*/ 2301240 w 3017559"/>
                  <a:gd name="connsiteY127" fmla="*/ 458152 h 3680460"/>
                  <a:gd name="connsiteX128" fmla="*/ 2237423 w 3017559"/>
                  <a:gd name="connsiteY128" fmla="*/ 406717 h 3680460"/>
                  <a:gd name="connsiteX129" fmla="*/ 2103120 w 3017559"/>
                  <a:gd name="connsiteY129" fmla="*/ 312420 h 3680460"/>
                  <a:gd name="connsiteX130" fmla="*/ 2042160 w 3017559"/>
                  <a:gd name="connsiteY130" fmla="*/ 266700 h 3680460"/>
                  <a:gd name="connsiteX131" fmla="*/ 2004060 w 3017559"/>
                  <a:gd name="connsiteY131" fmla="*/ 251460 h 3680460"/>
                  <a:gd name="connsiteX132" fmla="*/ 1958340 w 3017559"/>
                  <a:gd name="connsiteY132" fmla="*/ 220980 h 3680460"/>
                  <a:gd name="connsiteX133" fmla="*/ 1897380 w 3017559"/>
                  <a:gd name="connsiteY13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188595 w 3008034"/>
                  <a:gd name="connsiteY59" fmla="*/ 3406140 h 3680460"/>
                  <a:gd name="connsiteX60" fmla="*/ 340995 w 3008034"/>
                  <a:gd name="connsiteY60" fmla="*/ 3436620 h 3680460"/>
                  <a:gd name="connsiteX61" fmla="*/ 371475 w 3008034"/>
                  <a:gd name="connsiteY61" fmla="*/ 3451860 h 3680460"/>
                  <a:gd name="connsiteX62" fmla="*/ 440055 w 3008034"/>
                  <a:gd name="connsiteY62" fmla="*/ 3489960 h 3680460"/>
                  <a:gd name="connsiteX63" fmla="*/ 485775 w 3008034"/>
                  <a:gd name="connsiteY63" fmla="*/ 3520440 h 3680460"/>
                  <a:gd name="connsiteX64" fmla="*/ 516255 w 3008034"/>
                  <a:gd name="connsiteY64" fmla="*/ 3535680 h 3680460"/>
                  <a:gd name="connsiteX65" fmla="*/ 721995 w 3008034"/>
                  <a:gd name="connsiteY65" fmla="*/ 3558540 h 3680460"/>
                  <a:gd name="connsiteX66" fmla="*/ 1331595 w 3008034"/>
                  <a:gd name="connsiteY66" fmla="*/ 3550920 h 3680460"/>
                  <a:gd name="connsiteX67" fmla="*/ 1430655 w 3008034"/>
                  <a:gd name="connsiteY67" fmla="*/ 3528060 h 3680460"/>
                  <a:gd name="connsiteX68" fmla="*/ 1529715 w 3008034"/>
                  <a:gd name="connsiteY68" fmla="*/ 3520440 h 3680460"/>
                  <a:gd name="connsiteX69" fmla="*/ 1552575 w 3008034"/>
                  <a:gd name="connsiteY69" fmla="*/ 3512820 h 3680460"/>
                  <a:gd name="connsiteX70" fmla="*/ 1621155 w 3008034"/>
                  <a:gd name="connsiteY70" fmla="*/ 3497580 h 3680460"/>
                  <a:gd name="connsiteX71" fmla="*/ 1689735 w 3008034"/>
                  <a:gd name="connsiteY71" fmla="*/ 3474720 h 3680460"/>
                  <a:gd name="connsiteX72" fmla="*/ 1781175 w 3008034"/>
                  <a:gd name="connsiteY72" fmla="*/ 3451860 h 3680460"/>
                  <a:gd name="connsiteX73" fmla="*/ 1811655 w 3008034"/>
                  <a:gd name="connsiteY73" fmla="*/ 3444240 h 3680460"/>
                  <a:gd name="connsiteX74" fmla="*/ 1834515 w 3008034"/>
                  <a:gd name="connsiteY74" fmla="*/ 3429000 h 3680460"/>
                  <a:gd name="connsiteX75" fmla="*/ 1864995 w 3008034"/>
                  <a:gd name="connsiteY75" fmla="*/ 3421380 h 3680460"/>
                  <a:gd name="connsiteX76" fmla="*/ 1918335 w 3008034"/>
                  <a:gd name="connsiteY76" fmla="*/ 3398520 h 3680460"/>
                  <a:gd name="connsiteX77" fmla="*/ 1941195 w 3008034"/>
                  <a:gd name="connsiteY77" fmla="*/ 3390900 h 3680460"/>
                  <a:gd name="connsiteX78" fmla="*/ 1994535 w 3008034"/>
                  <a:gd name="connsiteY78" fmla="*/ 3360420 h 3680460"/>
                  <a:gd name="connsiteX79" fmla="*/ 2032635 w 3008034"/>
                  <a:gd name="connsiteY79" fmla="*/ 3352800 h 3680460"/>
                  <a:gd name="connsiteX80" fmla="*/ 2070735 w 3008034"/>
                  <a:gd name="connsiteY80" fmla="*/ 3337560 h 3680460"/>
                  <a:gd name="connsiteX81" fmla="*/ 2146935 w 3008034"/>
                  <a:gd name="connsiteY81" fmla="*/ 3299460 h 3680460"/>
                  <a:gd name="connsiteX82" fmla="*/ 2169795 w 3008034"/>
                  <a:gd name="connsiteY82" fmla="*/ 3284220 h 3680460"/>
                  <a:gd name="connsiteX83" fmla="*/ 2200275 w 3008034"/>
                  <a:gd name="connsiteY83" fmla="*/ 3276600 h 3680460"/>
                  <a:gd name="connsiteX84" fmla="*/ 2253615 w 3008034"/>
                  <a:gd name="connsiteY84" fmla="*/ 3230880 h 3680460"/>
                  <a:gd name="connsiteX85" fmla="*/ 2337435 w 3008034"/>
                  <a:gd name="connsiteY85" fmla="*/ 3154680 h 3680460"/>
                  <a:gd name="connsiteX86" fmla="*/ 2390775 w 3008034"/>
                  <a:gd name="connsiteY86" fmla="*/ 3070860 h 3680460"/>
                  <a:gd name="connsiteX87" fmla="*/ 2406015 w 3008034"/>
                  <a:gd name="connsiteY87" fmla="*/ 3048000 h 3680460"/>
                  <a:gd name="connsiteX88" fmla="*/ 2436495 w 3008034"/>
                  <a:gd name="connsiteY88" fmla="*/ 3032760 h 3680460"/>
                  <a:gd name="connsiteX89" fmla="*/ 2459355 w 3008034"/>
                  <a:gd name="connsiteY89" fmla="*/ 3009900 h 3680460"/>
                  <a:gd name="connsiteX90" fmla="*/ 2527935 w 3008034"/>
                  <a:gd name="connsiteY90" fmla="*/ 2926080 h 3680460"/>
                  <a:gd name="connsiteX91" fmla="*/ 2566035 w 3008034"/>
                  <a:gd name="connsiteY91" fmla="*/ 2880360 h 3680460"/>
                  <a:gd name="connsiteX92" fmla="*/ 2619375 w 3008034"/>
                  <a:gd name="connsiteY92" fmla="*/ 2811780 h 3680460"/>
                  <a:gd name="connsiteX93" fmla="*/ 2634615 w 3008034"/>
                  <a:gd name="connsiteY93" fmla="*/ 2773680 h 3680460"/>
                  <a:gd name="connsiteX94" fmla="*/ 2665095 w 3008034"/>
                  <a:gd name="connsiteY94" fmla="*/ 2727960 h 3680460"/>
                  <a:gd name="connsiteX95" fmla="*/ 2680335 w 3008034"/>
                  <a:gd name="connsiteY95" fmla="*/ 2705100 h 3680460"/>
                  <a:gd name="connsiteX96" fmla="*/ 2695575 w 3008034"/>
                  <a:gd name="connsiteY96" fmla="*/ 2667000 h 3680460"/>
                  <a:gd name="connsiteX97" fmla="*/ 2718435 w 3008034"/>
                  <a:gd name="connsiteY97" fmla="*/ 2621280 h 3680460"/>
                  <a:gd name="connsiteX98" fmla="*/ 2726055 w 3008034"/>
                  <a:gd name="connsiteY98" fmla="*/ 2590800 h 3680460"/>
                  <a:gd name="connsiteX99" fmla="*/ 2748915 w 3008034"/>
                  <a:gd name="connsiteY99" fmla="*/ 2545080 h 3680460"/>
                  <a:gd name="connsiteX100" fmla="*/ 2779395 w 3008034"/>
                  <a:gd name="connsiteY100" fmla="*/ 2484120 h 3680460"/>
                  <a:gd name="connsiteX101" fmla="*/ 2802255 w 3008034"/>
                  <a:gd name="connsiteY101" fmla="*/ 2407920 h 3680460"/>
                  <a:gd name="connsiteX102" fmla="*/ 2832735 w 3008034"/>
                  <a:gd name="connsiteY102" fmla="*/ 2324100 h 3680460"/>
                  <a:gd name="connsiteX103" fmla="*/ 2847975 w 3008034"/>
                  <a:gd name="connsiteY103" fmla="*/ 2247900 h 3680460"/>
                  <a:gd name="connsiteX104" fmla="*/ 2863215 w 3008034"/>
                  <a:gd name="connsiteY104" fmla="*/ 2194560 h 3680460"/>
                  <a:gd name="connsiteX105" fmla="*/ 2878455 w 3008034"/>
                  <a:gd name="connsiteY105" fmla="*/ 2148840 h 3680460"/>
                  <a:gd name="connsiteX106" fmla="*/ 2901315 w 3008034"/>
                  <a:gd name="connsiteY106" fmla="*/ 2087880 h 3680460"/>
                  <a:gd name="connsiteX107" fmla="*/ 2908935 w 3008034"/>
                  <a:gd name="connsiteY107" fmla="*/ 2049780 h 3680460"/>
                  <a:gd name="connsiteX108" fmla="*/ 2924175 w 3008034"/>
                  <a:gd name="connsiteY108" fmla="*/ 1844040 h 3680460"/>
                  <a:gd name="connsiteX109" fmla="*/ 2908935 w 3008034"/>
                  <a:gd name="connsiteY109" fmla="*/ 1470660 h 3680460"/>
                  <a:gd name="connsiteX110" fmla="*/ 2886075 w 3008034"/>
                  <a:gd name="connsiteY110" fmla="*/ 1371600 h 3680460"/>
                  <a:gd name="connsiteX111" fmla="*/ 2870835 w 3008034"/>
                  <a:gd name="connsiteY111" fmla="*/ 1341120 h 3680460"/>
                  <a:gd name="connsiteX112" fmla="*/ 2847975 w 3008034"/>
                  <a:gd name="connsiteY112" fmla="*/ 1272540 h 3680460"/>
                  <a:gd name="connsiteX113" fmla="*/ 2840355 w 3008034"/>
                  <a:gd name="connsiteY113" fmla="*/ 1234440 h 3680460"/>
                  <a:gd name="connsiteX114" fmla="*/ 2817495 w 3008034"/>
                  <a:gd name="connsiteY114" fmla="*/ 1196340 h 3680460"/>
                  <a:gd name="connsiteX115" fmla="*/ 2802255 w 3008034"/>
                  <a:gd name="connsiteY115" fmla="*/ 1165860 h 3680460"/>
                  <a:gd name="connsiteX116" fmla="*/ 2771775 w 3008034"/>
                  <a:gd name="connsiteY116" fmla="*/ 1127760 h 3680460"/>
                  <a:gd name="connsiteX117" fmla="*/ 2756535 w 3008034"/>
                  <a:gd name="connsiteY117" fmla="*/ 1089660 h 3680460"/>
                  <a:gd name="connsiteX118" fmla="*/ 2726055 w 3008034"/>
                  <a:gd name="connsiteY118" fmla="*/ 1043940 h 3680460"/>
                  <a:gd name="connsiteX119" fmla="*/ 2718435 w 3008034"/>
                  <a:gd name="connsiteY119" fmla="*/ 1021080 h 3680460"/>
                  <a:gd name="connsiteX120" fmla="*/ 2672715 w 3008034"/>
                  <a:gd name="connsiteY120" fmla="*/ 937260 h 3680460"/>
                  <a:gd name="connsiteX121" fmla="*/ 2649855 w 3008034"/>
                  <a:gd name="connsiteY121" fmla="*/ 876300 h 3680460"/>
                  <a:gd name="connsiteX122" fmla="*/ 2634615 w 3008034"/>
                  <a:gd name="connsiteY122" fmla="*/ 845820 h 3680460"/>
                  <a:gd name="connsiteX123" fmla="*/ 2626995 w 3008034"/>
                  <a:gd name="connsiteY123" fmla="*/ 822960 h 3680460"/>
                  <a:gd name="connsiteX124" fmla="*/ 2611755 w 3008034"/>
                  <a:gd name="connsiteY124" fmla="*/ 800100 h 3680460"/>
                  <a:gd name="connsiteX125" fmla="*/ 2588895 w 3008034"/>
                  <a:gd name="connsiteY125" fmla="*/ 739140 h 3680460"/>
                  <a:gd name="connsiteX126" fmla="*/ 2448878 w 3008034"/>
                  <a:gd name="connsiteY126" fmla="*/ 621983 h 3680460"/>
                  <a:gd name="connsiteX127" fmla="*/ 2291715 w 3008034"/>
                  <a:gd name="connsiteY127" fmla="*/ 458152 h 3680460"/>
                  <a:gd name="connsiteX128" fmla="*/ 2227898 w 3008034"/>
                  <a:gd name="connsiteY128" fmla="*/ 406717 h 3680460"/>
                  <a:gd name="connsiteX129" fmla="*/ 2093595 w 3008034"/>
                  <a:gd name="connsiteY129" fmla="*/ 312420 h 3680460"/>
                  <a:gd name="connsiteX130" fmla="*/ 2032635 w 3008034"/>
                  <a:gd name="connsiteY130" fmla="*/ 266700 h 3680460"/>
                  <a:gd name="connsiteX131" fmla="*/ 1994535 w 3008034"/>
                  <a:gd name="connsiteY131" fmla="*/ 251460 h 3680460"/>
                  <a:gd name="connsiteX132" fmla="*/ 1948815 w 3008034"/>
                  <a:gd name="connsiteY132" fmla="*/ 220980 h 3680460"/>
                  <a:gd name="connsiteX133" fmla="*/ 1887855 w 3008034"/>
                  <a:gd name="connsiteY13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40995 w 3008034"/>
                  <a:gd name="connsiteY59" fmla="*/ 3436620 h 3680460"/>
                  <a:gd name="connsiteX60" fmla="*/ 371475 w 3008034"/>
                  <a:gd name="connsiteY60" fmla="*/ 3451860 h 3680460"/>
                  <a:gd name="connsiteX61" fmla="*/ 440055 w 3008034"/>
                  <a:gd name="connsiteY61" fmla="*/ 3489960 h 3680460"/>
                  <a:gd name="connsiteX62" fmla="*/ 485775 w 3008034"/>
                  <a:gd name="connsiteY62" fmla="*/ 3520440 h 3680460"/>
                  <a:gd name="connsiteX63" fmla="*/ 516255 w 3008034"/>
                  <a:gd name="connsiteY63" fmla="*/ 3535680 h 3680460"/>
                  <a:gd name="connsiteX64" fmla="*/ 721995 w 3008034"/>
                  <a:gd name="connsiteY64" fmla="*/ 3558540 h 3680460"/>
                  <a:gd name="connsiteX65" fmla="*/ 1331595 w 3008034"/>
                  <a:gd name="connsiteY65" fmla="*/ 3550920 h 3680460"/>
                  <a:gd name="connsiteX66" fmla="*/ 1430655 w 3008034"/>
                  <a:gd name="connsiteY66" fmla="*/ 3528060 h 3680460"/>
                  <a:gd name="connsiteX67" fmla="*/ 1529715 w 3008034"/>
                  <a:gd name="connsiteY67" fmla="*/ 3520440 h 3680460"/>
                  <a:gd name="connsiteX68" fmla="*/ 1552575 w 3008034"/>
                  <a:gd name="connsiteY68" fmla="*/ 3512820 h 3680460"/>
                  <a:gd name="connsiteX69" fmla="*/ 1621155 w 3008034"/>
                  <a:gd name="connsiteY69" fmla="*/ 3497580 h 3680460"/>
                  <a:gd name="connsiteX70" fmla="*/ 1689735 w 3008034"/>
                  <a:gd name="connsiteY70" fmla="*/ 3474720 h 3680460"/>
                  <a:gd name="connsiteX71" fmla="*/ 1781175 w 3008034"/>
                  <a:gd name="connsiteY71" fmla="*/ 3451860 h 3680460"/>
                  <a:gd name="connsiteX72" fmla="*/ 1811655 w 3008034"/>
                  <a:gd name="connsiteY72" fmla="*/ 3444240 h 3680460"/>
                  <a:gd name="connsiteX73" fmla="*/ 1834515 w 3008034"/>
                  <a:gd name="connsiteY73" fmla="*/ 3429000 h 3680460"/>
                  <a:gd name="connsiteX74" fmla="*/ 1864995 w 3008034"/>
                  <a:gd name="connsiteY74" fmla="*/ 3421380 h 3680460"/>
                  <a:gd name="connsiteX75" fmla="*/ 1918335 w 3008034"/>
                  <a:gd name="connsiteY75" fmla="*/ 3398520 h 3680460"/>
                  <a:gd name="connsiteX76" fmla="*/ 1941195 w 3008034"/>
                  <a:gd name="connsiteY76" fmla="*/ 3390900 h 3680460"/>
                  <a:gd name="connsiteX77" fmla="*/ 1994535 w 3008034"/>
                  <a:gd name="connsiteY77" fmla="*/ 3360420 h 3680460"/>
                  <a:gd name="connsiteX78" fmla="*/ 2032635 w 3008034"/>
                  <a:gd name="connsiteY78" fmla="*/ 3352800 h 3680460"/>
                  <a:gd name="connsiteX79" fmla="*/ 2070735 w 3008034"/>
                  <a:gd name="connsiteY79" fmla="*/ 3337560 h 3680460"/>
                  <a:gd name="connsiteX80" fmla="*/ 2146935 w 3008034"/>
                  <a:gd name="connsiteY80" fmla="*/ 3299460 h 3680460"/>
                  <a:gd name="connsiteX81" fmla="*/ 2169795 w 3008034"/>
                  <a:gd name="connsiteY81" fmla="*/ 3284220 h 3680460"/>
                  <a:gd name="connsiteX82" fmla="*/ 2200275 w 3008034"/>
                  <a:gd name="connsiteY82" fmla="*/ 3276600 h 3680460"/>
                  <a:gd name="connsiteX83" fmla="*/ 2253615 w 3008034"/>
                  <a:gd name="connsiteY83" fmla="*/ 3230880 h 3680460"/>
                  <a:gd name="connsiteX84" fmla="*/ 2337435 w 3008034"/>
                  <a:gd name="connsiteY84" fmla="*/ 3154680 h 3680460"/>
                  <a:gd name="connsiteX85" fmla="*/ 2390775 w 3008034"/>
                  <a:gd name="connsiteY85" fmla="*/ 3070860 h 3680460"/>
                  <a:gd name="connsiteX86" fmla="*/ 2406015 w 3008034"/>
                  <a:gd name="connsiteY86" fmla="*/ 3048000 h 3680460"/>
                  <a:gd name="connsiteX87" fmla="*/ 2436495 w 3008034"/>
                  <a:gd name="connsiteY87" fmla="*/ 3032760 h 3680460"/>
                  <a:gd name="connsiteX88" fmla="*/ 2459355 w 3008034"/>
                  <a:gd name="connsiteY88" fmla="*/ 3009900 h 3680460"/>
                  <a:gd name="connsiteX89" fmla="*/ 2527935 w 3008034"/>
                  <a:gd name="connsiteY89" fmla="*/ 2926080 h 3680460"/>
                  <a:gd name="connsiteX90" fmla="*/ 2566035 w 3008034"/>
                  <a:gd name="connsiteY90" fmla="*/ 2880360 h 3680460"/>
                  <a:gd name="connsiteX91" fmla="*/ 2619375 w 3008034"/>
                  <a:gd name="connsiteY91" fmla="*/ 2811780 h 3680460"/>
                  <a:gd name="connsiteX92" fmla="*/ 2634615 w 3008034"/>
                  <a:gd name="connsiteY92" fmla="*/ 2773680 h 3680460"/>
                  <a:gd name="connsiteX93" fmla="*/ 2665095 w 3008034"/>
                  <a:gd name="connsiteY93" fmla="*/ 2727960 h 3680460"/>
                  <a:gd name="connsiteX94" fmla="*/ 2680335 w 3008034"/>
                  <a:gd name="connsiteY94" fmla="*/ 2705100 h 3680460"/>
                  <a:gd name="connsiteX95" fmla="*/ 2695575 w 3008034"/>
                  <a:gd name="connsiteY95" fmla="*/ 2667000 h 3680460"/>
                  <a:gd name="connsiteX96" fmla="*/ 2718435 w 3008034"/>
                  <a:gd name="connsiteY96" fmla="*/ 2621280 h 3680460"/>
                  <a:gd name="connsiteX97" fmla="*/ 2726055 w 3008034"/>
                  <a:gd name="connsiteY97" fmla="*/ 2590800 h 3680460"/>
                  <a:gd name="connsiteX98" fmla="*/ 2748915 w 3008034"/>
                  <a:gd name="connsiteY98" fmla="*/ 2545080 h 3680460"/>
                  <a:gd name="connsiteX99" fmla="*/ 2779395 w 3008034"/>
                  <a:gd name="connsiteY99" fmla="*/ 2484120 h 3680460"/>
                  <a:gd name="connsiteX100" fmla="*/ 2802255 w 3008034"/>
                  <a:gd name="connsiteY100" fmla="*/ 2407920 h 3680460"/>
                  <a:gd name="connsiteX101" fmla="*/ 2832735 w 3008034"/>
                  <a:gd name="connsiteY101" fmla="*/ 2324100 h 3680460"/>
                  <a:gd name="connsiteX102" fmla="*/ 2847975 w 3008034"/>
                  <a:gd name="connsiteY102" fmla="*/ 2247900 h 3680460"/>
                  <a:gd name="connsiteX103" fmla="*/ 2863215 w 3008034"/>
                  <a:gd name="connsiteY103" fmla="*/ 2194560 h 3680460"/>
                  <a:gd name="connsiteX104" fmla="*/ 2878455 w 3008034"/>
                  <a:gd name="connsiteY104" fmla="*/ 2148840 h 3680460"/>
                  <a:gd name="connsiteX105" fmla="*/ 2901315 w 3008034"/>
                  <a:gd name="connsiteY105" fmla="*/ 2087880 h 3680460"/>
                  <a:gd name="connsiteX106" fmla="*/ 2908935 w 3008034"/>
                  <a:gd name="connsiteY106" fmla="*/ 2049780 h 3680460"/>
                  <a:gd name="connsiteX107" fmla="*/ 2924175 w 3008034"/>
                  <a:gd name="connsiteY107" fmla="*/ 1844040 h 3680460"/>
                  <a:gd name="connsiteX108" fmla="*/ 2908935 w 3008034"/>
                  <a:gd name="connsiteY108" fmla="*/ 1470660 h 3680460"/>
                  <a:gd name="connsiteX109" fmla="*/ 2886075 w 3008034"/>
                  <a:gd name="connsiteY109" fmla="*/ 1371600 h 3680460"/>
                  <a:gd name="connsiteX110" fmla="*/ 2870835 w 3008034"/>
                  <a:gd name="connsiteY110" fmla="*/ 1341120 h 3680460"/>
                  <a:gd name="connsiteX111" fmla="*/ 2847975 w 3008034"/>
                  <a:gd name="connsiteY111" fmla="*/ 1272540 h 3680460"/>
                  <a:gd name="connsiteX112" fmla="*/ 2840355 w 3008034"/>
                  <a:gd name="connsiteY112" fmla="*/ 1234440 h 3680460"/>
                  <a:gd name="connsiteX113" fmla="*/ 2817495 w 3008034"/>
                  <a:gd name="connsiteY113" fmla="*/ 1196340 h 3680460"/>
                  <a:gd name="connsiteX114" fmla="*/ 2802255 w 3008034"/>
                  <a:gd name="connsiteY114" fmla="*/ 1165860 h 3680460"/>
                  <a:gd name="connsiteX115" fmla="*/ 2771775 w 3008034"/>
                  <a:gd name="connsiteY115" fmla="*/ 1127760 h 3680460"/>
                  <a:gd name="connsiteX116" fmla="*/ 2756535 w 3008034"/>
                  <a:gd name="connsiteY116" fmla="*/ 1089660 h 3680460"/>
                  <a:gd name="connsiteX117" fmla="*/ 2726055 w 3008034"/>
                  <a:gd name="connsiteY117" fmla="*/ 1043940 h 3680460"/>
                  <a:gd name="connsiteX118" fmla="*/ 2718435 w 3008034"/>
                  <a:gd name="connsiteY118" fmla="*/ 1021080 h 3680460"/>
                  <a:gd name="connsiteX119" fmla="*/ 2672715 w 3008034"/>
                  <a:gd name="connsiteY119" fmla="*/ 937260 h 3680460"/>
                  <a:gd name="connsiteX120" fmla="*/ 2649855 w 3008034"/>
                  <a:gd name="connsiteY120" fmla="*/ 876300 h 3680460"/>
                  <a:gd name="connsiteX121" fmla="*/ 2634615 w 3008034"/>
                  <a:gd name="connsiteY121" fmla="*/ 845820 h 3680460"/>
                  <a:gd name="connsiteX122" fmla="*/ 2626995 w 3008034"/>
                  <a:gd name="connsiteY122" fmla="*/ 822960 h 3680460"/>
                  <a:gd name="connsiteX123" fmla="*/ 2611755 w 3008034"/>
                  <a:gd name="connsiteY123" fmla="*/ 800100 h 3680460"/>
                  <a:gd name="connsiteX124" fmla="*/ 2588895 w 3008034"/>
                  <a:gd name="connsiteY124" fmla="*/ 739140 h 3680460"/>
                  <a:gd name="connsiteX125" fmla="*/ 2448878 w 3008034"/>
                  <a:gd name="connsiteY125" fmla="*/ 621983 h 3680460"/>
                  <a:gd name="connsiteX126" fmla="*/ 2291715 w 3008034"/>
                  <a:gd name="connsiteY126" fmla="*/ 458152 h 3680460"/>
                  <a:gd name="connsiteX127" fmla="*/ 2227898 w 3008034"/>
                  <a:gd name="connsiteY127" fmla="*/ 406717 h 3680460"/>
                  <a:gd name="connsiteX128" fmla="*/ 2093595 w 3008034"/>
                  <a:gd name="connsiteY128" fmla="*/ 312420 h 3680460"/>
                  <a:gd name="connsiteX129" fmla="*/ 2032635 w 3008034"/>
                  <a:gd name="connsiteY129" fmla="*/ 266700 h 3680460"/>
                  <a:gd name="connsiteX130" fmla="*/ 1994535 w 3008034"/>
                  <a:gd name="connsiteY130" fmla="*/ 251460 h 3680460"/>
                  <a:gd name="connsiteX131" fmla="*/ 1948815 w 3008034"/>
                  <a:gd name="connsiteY131" fmla="*/ 220980 h 3680460"/>
                  <a:gd name="connsiteX132" fmla="*/ 1887855 w 3008034"/>
                  <a:gd name="connsiteY13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40995 w 3008034"/>
                  <a:gd name="connsiteY59" fmla="*/ 3436620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516255 w 3008034"/>
                  <a:gd name="connsiteY62" fmla="*/ 3535680 h 3680460"/>
                  <a:gd name="connsiteX63" fmla="*/ 721995 w 3008034"/>
                  <a:gd name="connsiteY63" fmla="*/ 3558540 h 3680460"/>
                  <a:gd name="connsiteX64" fmla="*/ 1331595 w 3008034"/>
                  <a:gd name="connsiteY64" fmla="*/ 3550920 h 3680460"/>
                  <a:gd name="connsiteX65" fmla="*/ 1430655 w 3008034"/>
                  <a:gd name="connsiteY65" fmla="*/ 3528060 h 3680460"/>
                  <a:gd name="connsiteX66" fmla="*/ 1529715 w 3008034"/>
                  <a:gd name="connsiteY66" fmla="*/ 3520440 h 3680460"/>
                  <a:gd name="connsiteX67" fmla="*/ 1552575 w 3008034"/>
                  <a:gd name="connsiteY67" fmla="*/ 3512820 h 3680460"/>
                  <a:gd name="connsiteX68" fmla="*/ 1621155 w 3008034"/>
                  <a:gd name="connsiteY68" fmla="*/ 3497580 h 3680460"/>
                  <a:gd name="connsiteX69" fmla="*/ 1689735 w 3008034"/>
                  <a:gd name="connsiteY69" fmla="*/ 3474720 h 3680460"/>
                  <a:gd name="connsiteX70" fmla="*/ 1781175 w 3008034"/>
                  <a:gd name="connsiteY70" fmla="*/ 3451860 h 3680460"/>
                  <a:gd name="connsiteX71" fmla="*/ 1811655 w 3008034"/>
                  <a:gd name="connsiteY71" fmla="*/ 3444240 h 3680460"/>
                  <a:gd name="connsiteX72" fmla="*/ 1834515 w 3008034"/>
                  <a:gd name="connsiteY72" fmla="*/ 3429000 h 3680460"/>
                  <a:gd name="connsiteX73" fmla="*/ 1864995 w 3008034"/>
                  <a:gd name="connsiteY73" fmla="*/ 3421380 h 3680460"/>
                  <a:gd name="connsiteX74" fmla="*/ 1918335 w 3008034"/>
                  <a:gd name="connsiteY74" fmla="*/ 3398520 h 3680460"/>
                  <a:gd name="connsiteX75" fmla="*/ 1941195 w 3008034"/>
                  <a:gd name="connsiteY75" fmla="*/ 3390900 h 3680460"/>
                  <a:gd name="connsiteX76" fmla="*/ 1994535 w 3008034"/>
                  <a:gd name="connsiteY76" fmla="*/ 3360420 h 3680460"/>
                  <a:gd name="connsiteX77" fmla="*/ 2032635 w 3008034"/>
                  <a:gd name="connsiteY77" fmla="*/ 3352800 h 3680460"/>
                  <a:gd name="connsiteX78" fmla="*/ 2070735 w 3008034"/>
                  <a:gd name="connsiteY78" fmla="*/ 3337560 h 3680460"/>
                  <a:gd name="connsiteX79" fmla="*/ 2146935 w 3008034"/>
                  <a:gd name="connsiteY79" fmla="*/ 3299460 h 3680460"/>
                  <a:gd name="connsiteX80" fmla="*/ 2169795 w 3008034"/>
                  <a:gd name="connsiteY80" fmla="*/ 3284220 h 3680460"/>
                  <a:gd name="connsiteX81" fmla="*/ 2200275 w 3008034"/>
                  <a:gd name="connsiteY81" fmla="*/ 3276600 h 3680460"/>
                  <a:gd name="connsiteX82" fmla="*/ 2253615 w 3008034"/>
                  <a:gd name="connsiteY82" fmla="*/ 3230880 h 3680460"/>
                  <a:gd name="connsiteX83" fmla="*/ 2337435 w 3008034"/>
                  <a:gd name="connsiteY83" fmla="*/ 3154680 h 3680460"/>
                  <a:gd name="connsiteX84" fmla="*/ 2390775 w 3008034"/>
                  <a:gd name="connsiteY84" fmla="*/ 3070860 h 3680460"/>
                  <a:gd name="connsiteX85" fmla="*/ 2406015 w 3008034"/>
                  <a:gd name="connsiteY85" fmla="*/ 3048000 h 3680460"/>
                  <a:gd name="connsiteX86" fmla="*/ 2436495 w 3008034"/>
                  <a:gd name="connsiteY86" fmla="*/ 3032760 h 3680460"/>
                  <a:gd name="connsiteX87" fmla="*/ 2459355 w 3008034"/>
                  <a:gd name="connsiteY87" fmla="*/ 3009900 h 3680460"/>
                  <a:gd name="connsiteX88" fmla="*/ 2527935 w 3008034"/>
                  <a:gd name="connsiteY88" fmla="*/ 2926080 h 3680460"/>
                  <a:gd name="connsiteX89" fmla="*/ 2566035 w 3008034"/>
                  <a:gd name="connsiteY89" fmla="*/ 2880360 h 3680460"/>
                  <a:gd name="connsiteX90" fmla="*/ 2619375 w 3008034"/>
                  <a:gd name="connsiteY90" fmla="*/ 2811780 h 3680460"/>
                  <a:gd name="connsiteX91" fmla="*/ 2634615 w 3008034"/>
                  <a:gd name="connsiteY91" fmla="*/ 2773680 h 3680460"/>
                  <a:gd name="connsiteX92" fmla="*/ 2665095 w 3008034"/>
                  <a:gd name="connsiteY92" fmla="*/ 2727960 h 3680460"/>
                  <a:gd name="connsiteX93" fmla="*/ 2680335 w 3008034"/>
                  <a:gd name="connsiteY93" fmla="*/ 2705100 h 3680460"/>
                  <a:gd name="connsiteX94" fmla="*/ 2695575 w 3008034"/>
                  <a:gd name="connsiteY94" fmla="*/ 2667000 h 3680460"/>
                  <a:gd name="connsiteX95" fmla="*/ 2718435 w 3008034"/>
                  <a:gd name="connsiteY95" fmla="*/ 2621280 h 3680460"/>
                  <a:gd name="connsiteX96" fmla="*/ 2726055 w 3008034"/>
                  <a:gd name="connsiteY96" fmla="*/ 2590800 h 3680460"/>
                  <a:gd name="connsiteX97" fmla="*/ 2748915 w 3008034"/>
                  <a:gd name="connsiteY97" fmla="*/ 2545080 h 3680460"/>
                  <a:gd name="connsiteX98" fmla="*/ 2779395 w 3008034"/>
                  <a:gd name="connsiteY98" fmla="*/ 2484120 h 3680460"/>
                  <a:gd name="connsiteX99" fmla="*/ 2802255 w 3008034"/>
                  <a:gd name="connsiteY99" fmla="*/ 2407920 h 3680460"/>
                  <a:gd name="connsiteX100" fmla="*/ 2832735 w 3008034"/>
                  <a:gd name="connsiteY100" fmla="*/ 2324100 h 3680460"/>
                  <a:gd name="connsiteX101" fmla="*/ 2847975 w 3008034"/>
                  <a:gd name="connsiteY101" fmla="*/ 2247900 h 3680460"/>
                  <a:gd name="connsiteX102" fmla="*/ 2863215 w 3008034"/>
                  <a:gd name="connsiteY102" fmla="*/ 2194560 h 3680460"/>
                  <a:gd name="connsiteX103" fmla="*/ 2878455 w 3008034"/>
                  <a:gd name="connsiteY103" fmla="*/ 2148840 h 3680460"/>
                  <a:gd name="connsiteX104" fmla="*/ 2901315 w 3008034"/>
                  <a:gd name="connsiteY104" fmla="*/ 2087880 h 3680460"/>
                  <a:gd name="connsiteX105" fmla="*/ 2908935 w 3008034"/>
                  <a:gd name="connsiteY105" fmla="*/ 2049780 h 3680460"/>
                  <a:gd name="connsiteX106" fmla="*/ 2924175 w 3008034"/>
                  <a:gd name="connsiteY106" fmla="*/ 1844040 h 3680460"/>
                  <a:gd name="connsiteX107" fmla="*/ 2908935 w 3008034"/>
                  <a:gd name="connsiteY107" fmla="*/ 1470660 h 3680460"/>
                  <a:gd name="connsiteX108" fmla="*/ 2886075 w 3008034"/>
                  <a:gd name="connsiteY108" fmla="*/ 1371600 h 3680460"/>
                  <a:gd name="connsiteX109" fmla="*/ 2870835 w 3008034"/>
                  <a:gd name="connsiteY109" fmla="*/ 1341120 h 3680460"/>
                  <a:gd name="connsiteX110" fmla="*/ 2847975 w 3008034"/>
                  <a:gd name="connsiteY110" fmla="*/ 1272540 h 3680460"/>
                  <a:gd name="connsiteX111" fmla="*/ 2840355 w 3008034"/>
                  <a:gd name="connsiteY111" fmla="*/ 1234440 h 3680460"/>
                  <a:gd name="connsiteX112" fmla="*/ 2817495 w 3008034"/>
                  <a:gd name="connsiteY112" fmla="*/ 1196340 h 3680460"/>
                  <a:gd name="connsiteX113" fmla="*/ 2802255 w 3008034"/>
                  <a:gd name="connsiteY113" fmla="*/ 1165860 h 3680460"/>
                  <a:gd name="connsiteX114" fmla="*/ 2771775 w 3008034"/>
                  <a:gd name="connsiteY114" fmla="*/ 1127760 h 3680460"/>
                  <a:gd name="connsiteX115" fmla="*/ 2756535 w 3008034"/>
                  <a:gd name="connsiteY115" fmla="*/ 1089660 h 3680460"/>
                  <a:gd name="connsiteX116" fmla="*/ 2726055 w 3008034"/>
                  <a:gd name="connsiteY116" fmla="*/ 1043940 h 3680460"/>
                  <a:gd name="connsiteX117" fmla="*/ 2718435 w 3008034"/>
                  <a:gd name="connsiteY117" fmla="*/ 1021080 h 3680460"/>
                  <a:gd name="connsiteX118" fmla="*/ 2672715 w 3008034"/>
                  <a:gd name="connsiteY118" fmla="*/ 937260 h 3680460"/>
                  <a:gd name="connsiteX119" fmla="*/ 2649855 w 3008034"/>
                  <a:gd name="connsiteY119" fmla="*/ 876300 h 3680460"/>
                  <a:gd name="connsiteX120" fmla="*/ 2634615 w 3008034"/>
                  <a:gd name="connsiteY120" fmla="*/ 845820 h 3680460"/>
                  <a:gd name="connsiteX121" fmla="*/ 2626995 w 3008034"/>
                  <a:gd name="connsiteY121" fmla="*/ 822960 h 3680460"/>
                  <a:gd name="connsiteX122" fmla="*/ 2611755 w 3008034"/>
                  <a:gd name="connsiteY122" fmla="*/ 800100 h 3680460"/>
                  <a:gd name="connsiteX123" fmla="*/ 2588895 w 3008034"/>
                  <a:gd name="connsiteY123" fmla="*/ 739140 h 3680460"/>
                  <a:gd name="connsiteX124" fmla="*/ 2448878 w 3008034"/>
                  <a:gd name="connsiteY124" fmla="*/ 621983 h 3680460"/>
                  <a:gd name="connsiteX125" fmla="*/ 2291715 w 3008034"/>
                  <a:gd name="connsiteY125" fmla="*/ 458152 h 3680460"/>
                  <a:gd name="connsiteX126" fmla="*/ 2227898 w 3008034"/>
                  <a:gd name="connsiteY126" fmla="*/ 406717 h 3680460"/>
                  <a:gd name="connsiteX127" fmla="*/ 2093595 w 3008034"/>
                  <a:gd name="connsiteY127" fmla="*/ 312420 h 3680460"/>
                  <a:gd name="connsiteX128" fmla="*/ 2032635 w 3008034"/>
                  <a:gd name="connsiteY128" fmla="*/ 266700 h 3680460"/>
                  <a:gd name="connsiteX129" fmla="*/ 1994535 w 3008034"/>
                  <a:gd name="connsiteY129" fmla="*/ 251460 h 3680460"/>
                  <a:gd name="connsiteX130" fmla="*/ 1948815 w 3008034"/>
                  <a:gd name="connsiteY130" fmla="*/ 220980 h 3680460"/>
                  <a:gd name="connsiteX131" fmla="*/ 1887855 w 3008034"/>
                  <a:gd name="connsiteY13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516255 w 3008034"/>
                  <a:gd name="connsiteY62" fmla="*/ 3535680 h 3680460"/>
                  <a:gd name="connsiteX63" fmla="*/ 721995 w 3008034"/>
                  <a:gd name="connsiteY63" fmla="*/ 3558540 h 3680460"/>
                  <a:gd name="connsiteX64" fmla="*/ 1331595 w 3008034"/>
                  <a:gd name="connsiteY64" fmla="*/ 3550920 h 3680460"/>
                  <a:gd name="connsiteX65" fmla="*/ 1430655 w 3008034"/>
                  <a:gd name="connsiteY65" fmla="*/ 3528060 h 3680460"/>
                  <a:gd name="connsiteX66" fmla="*/ 1529715 w 3008034"/>
                  <a:gd name="connsiteY66" fmla="*/ 3520440 h 3680460"/>
                  <a:gd name="connsiteX67" fmla="*/ 1552575 w 3008034"/>
                  <a:gd name="connsiteY67" fmla="*/ 3512820 h 3680460"/>
                  <a:gd name="connsiteX68" fmla="*/ 1621155 w 3008034"/>
                  <a:gd name="connsiteY68" fmla="*/ 3497580 h 3680460"/>
                  <a:gd name="connsiteX69" fmla="*/ 1689735 w 3008034"/>
                  <a:gd name="connsiteY69" fmla="*/ 3474720 h 3680460"/>
                  <a:gd name="connsiteX70" fmla="*/ 1781175 w 3008034"/>
                  <a:gd name="connsiteY70" fmla="*/ 3451860 h 3680460"/>
                  <a:gd name="connsiteX71" fmla="*/ 1811655 w 3008034"/>
                  <a:gd name="connsiteY71" fmla="*/ 3444240 h 3680460"/>
                  <a:gd name="connsiteX72" fmla="*/ 1834515 w 3008034"/>
                  <a:gd name="connsiteY72" fmla="*/ 3429000 h 3680460"/>
                  <a:gd name="connsiteX73" fmla="*/ 1864995 w 3008034"/>
                  <a:gd name="connsiteY73" fmla="*/ 3421380 h 3680460"/>
                  <a:gd name="connsiteX74" fmla="*/ 1918335 w 3008034"/>
                  <a:gd name="connsiteY74" fmla="*/ 3398520 h 3680460"/>
                  <a:gd name="connsiteX75" fmla="*/ 1941195 w 3008034"/>
                  <a:gd name="connsiteY75" fmla="*/ 3390900 h 3680460"/>
                  <a:gd name="connsiteX76" fmla="*/ 1994535 w 3008034"/>
                  <a:gd name="connsiteY76" fmla="*/ 3360420 h 3680460"/>
                  <a:gd name="connsiteX77" fmla="*/ 2032635 w 3008034"/>
                  <a:gd name="connsiteY77" fmla="*/ 3352800 h 3680460"/>
                  <a:gd name="connsiteX78" fmla="*/ 2070735 w 3008034"/>
                  <a:gd name="connsiteY78" fmla="*/ 3337560 h 3680460"/>
                  <a:gd name="connsiteX79" fmla="*/ 2146935 w 3008034"/>
                  <a:gd name="connsiteY79" fmla="*/ 3299460 h 3680460"/>
                  <a:gd name="connsiteX80" fmla="*/ 2169795 w 3008034"/>
                  <a:gd name="connsiteY80" fmla="*/ 3284220 h 3680460"/>
                  <a:gd name="connsiteX81" fmla="*/ 2200275 w 3008034"/>
                  <a:gd name="connsiteY81" fmla="*/ 3276600 h 3680460"/>
                  <a:gd name="connsiteX82" fmla="*/ 2253615 w 3008034"/>
                  <a:gd name="connsiteY82" fmla="*/ 3230880 h 3680460"/>
                  <a:gd name="connsiteX83" fmla="*/ 2337435 w 3008034"/>
                  <a:gd name="connsiteY83" fmla="*/ 3154680 h 3680460"/>
                  <a:gd name="connsiteX84" fmla="*/ 2390775 w 3008034"/>
                  <a:gd name="connsiteY84" fmla="*/ 3070860 h 3680460"/>
                  <a:gd name="connsiteX85" fmla="*/ 2406015 w 3008034"/>
                  <a:gd name="connsiteY85" fmla="*/ 3048000 h 3680460"/>
                  <a:gd name="connsiteX86" fmla="*/ 2436495 w 3008034"/>
                  <a:gd name="connsiteY86" fmla="*/ 3032760 h 3680460"/>
                  <a:gd name="connsiteX87" fmla="*/ 2459355 w 3008034"/>
                  <a:gd name="connsiteY87" fmla="*/ 3009900 h 3680460"/>
                  <a:gd name="connsiteX88" fmla="*/ 2527935 w 3008034"/>
                  <a:gd name="connsiteY88" fmla="*/ 2926080 h 3680460"/>
                  <a:gd name="connsiteX89" fmla="*/ 2566035 w 3008034"/>
                  <a:gd name="connsiteY89" fmla="*/ 2880360 h 3680460"/>
                  <a:gd name="connsiteX90" fmla="*/ 2619375 w 3008034"/>
                  <a:gd name="connsiteY90" fmla="*/ 2811780 h 3680460"/>
                  <a:gd name="connsiteX91" fmla="*/ 2634615 w 3008034"/>
                  <a:gd name="connsiteY91" fmla="*/ 2773680 h 3680460"/>
                  <a:gd name="connsiteX92" fmla="*/ 2665095 w 3008034"/>
                  <a:gd name="connsiteY92" fmla="*/ 2727960 h 3680460"/>
                  <a:gd name="connsiteX93" fmla="*/ 2680335 w 3008034"/>
                  <a:gd name="connsiteY93" fmla="*/ 2705100 h 3680460"/>
                  <a:gd name="connsiteX94" fmla="*/ 2695575 w 3008034"/>
                  <a:gd name="connsiteY94" fmla="*/ 2667000 h 3680460"/>
                  <a:gd name="connsiteX95" fmla="*/ 2718435 w 3008034"/>
                  <a:gd name="connsiteY95" fmla="*/ 2621280 h 3680460"/>
                  <a:gd name="connsiteX96" fmla="*/ 2726055 w 3008034"/>
                  <a:gd name="connsiteY96" fmla="*/ 2590800 h 3680460"/>
                  <a:gd name="connsiteX97" fmla="*/ 2748915 w 3008034"/>
                  <a:gd name="connsiteY97" fmla="*/ 2545080 h 3680460"/>
                  <a:gd name="connsiteX98" fmla="*/ 2779395 w 3008034"/>
                  <a:gd name="connsiteY98" fmla="*/ 2484120 h 3680460"/>
                  <a:gd name="connsiteX99" fmla="*/ 2802255 w 3008034"/>
                  <a:gd name="connsiteY99" fmla="*/ 2407920 h 3680460"/>
                  <a:gd name="connsiteX100" fmla="*/ 2832735 w 3008034"/>
                  <a:gd name="connsiteY100" fmla="*/ 2324100 h 3680460"/>
                  <a:gd name="connsiteX101" fmla="*/ 2847975 w 3008034"/>
                  <a:gd name="connsiteY101" fmla="*/ 2247900 h 3680460"/>
                  <a:gd name="connsiteX102" fmla="*/ 2863215 w 3008034"/>
                  <a:gd name="connsiteY102" fmla="*/ 2194560 h 3680460"/>
                  <a:gd name="connsiteX103" fmla="*/ 2878455 w 3008034"/>
                  <a:gd name="connsiteY103" fmla="*/ 2148840 h 3680460"/>
                  <a:gd name="connsiteX104" fmla="*/ 2901315 w 3008034"/>
                  <a:gd name="connsiteY104" fmla="*/ 2087880 h 3680460"/>
                  <a:gd name="connsiteX105" fmla="*/ 2908935 w 3008034"/>
                  <a:gd name="connsiteY105" fmla="*/ 2049780 h 3680460"/>
                  <a:gd name="connsiteX106" fmla="*/ 2924175 w 3008034"/>
                  <a:gd name="connsiteY106" fmla="*/ 1844040 h 3680460"/>
                  <a:gd name="connsiteX107" fmla="*/ 2908935 w 3008034"/>
                  <a:gd name="connsiteY107" fmla="*/ 1470660 h 3680460"/>
                  <a:gd name="connsiteX108" fmla="*/ 2886075 w 3008034"/>
                  <a:gd name="connsiteY108" fmla="*/ 1371600 h 3680460"/>
                  <a:gd name="connsiteX109" fmla="*/ 2870835 w 3008034"/>
                  <a:gd name="connsiteY109" fmla="*/ 1341120 h 3680460"/>
                  <a:gd name="connsiteX110" fmla="*/ 2847975 w 3008034"/>
                  <a:gd name="connsiteY110" fmla="*/ 1272540 h 3680460"/>
                  <a:gd name="connsiteX111" fmla="*/ 2840355 w 3008034"/>
                  <a:gd name="connsiteY111" fmla="*/ 1234440 h 3680460"/>
                  <a:gd name="connsiteX112" fmla="*/ 2817495 w 3008034"/>
                  <a:gd name="connsiteY112" fmla="*/ 1196340 h 3680460"/>
                  <a:gd name="connsiteX113" fmla="*/ 2802255 w 3008034"/>
                  <a:gd name="connsiteY113" fmla="*/ 1165860 h 3680460"/>
                  <a:gd name="connsiteX114" fmla="*/ 2771775 w 3008034"/>
                  <a:gd name="connsiteY114" fmla="*/ 1127760 h 3680460"/>
                  <a:gd name="connsiteX115" fmla="*/ 2756535 w 3008034"/>
                  <a:gd name="connsiteY115" fmla="*/ 1089660 h 3680460"/>
                  <a:gd name="connsiteX116" fmla="*/ 2726055 w 3008034"/>
                  <a:gd name="connsiteY116" fmla="*/ 1043940 h 3680460"/>
                  <a:gd name="connsiteX117" fmla="*/ 2718435 w 3008034"/>
                  <a:gd name="connsiteY117" fmla="*/ 1021080 h 3680460"/>
                  <a:gd name="connsiteX118" fmla="*/ 2672715 w 3008034"/>
                  <a:gd name="connsiteY118" fmla="*/ 937260 h 3680460"/>
                  <a:gd name="connsiteX119" fmla="*/ 2649855 w 3008034"/>
                  <a:gd name="connsiteY119" fmla="*/ 876300 h 3680460"/>
                  <a:gd name="connsiteX120" fmla="*/ 2634615 w 3008034"/>
                  <a:gd name="connsiteY120" fmla="*/ 845820 h 3680460"/>
                  <a:gd name="connsiteX121" fmla="*/ 2626995 w 3008034"/>
                  <a:gd name="connsiteY121" fmla="*/ 822960 h 3680460"/>
                  <a:gd name="connsiteX122" fmla="*/ 2611755 w 3008034"/>
                  <a:gd name="connsiteY122" fmla="*/ 800100 h 3680460"/>
                  <a:gd name="connsiteX123" fmla="*/ 2588895 w 3008034"/>
                  <a:gd name="connsiteY123" fmla="*/ 739140 h 3680460"/>
                  <a:gd name="connsiteX124" fmla="*/ 2448878 w 3008034"/>
                  <a:gd name="connsiteY124" fmla="*/ 621983 h 3680460"/>
                  <a:gd name="connsiteX125" fmla="*/ 2291715 w 3008034"/>
                  <a:gd name="connsiteY125" fmla="*/ 458152 h 3680460"/>
                  <a:gd name="connsiteX126" fmla="*/ 2227898 w 3008034"/>
                  <a:gd name="connsiteY126" fmla="*/ 406717 h 3680460"/>
                  <a:gd name="connsiteX127" fmla="*/ 2093595 w 3008034"/>
                  <a:gd name="connsiteY127" fmla="*/ 312420 h 3680460"/>
                  <a:gd name="connsiteX128" fmla="*/ 2032635 w 3008034"/>
                  <a:gd name="connsiteY128" fmla="*/ 266700 h 3680460"/>
                  <a:gd name="connsiteX129" fmla="*/ 1994535 w 3008034"/>
                  <a:gd name="connsiteY129" fmla="*/ 251460 h 3680460"/>
                  <a:gd name="connsiteX130" fmla="*/ 1948815 w 3008034"/>
                  <a:gd name="connsiteY130" fmla="*/ 220980 h 3680460"/>
                  <a:gd name="connsiteX131" fmla="*/ 1887855 w 3008034"/>
                  <a:gd name="connsiteY13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721995 w 3008034"/>
                  <a:gd name="connsiteY62" fmla="*/ 3558540 h 3680460"/>
                  <a:gd name="connsiteX63" fmla="*/ 1331595 w 3008034"/>
                  <a:gd name="connsiteY63" fmla="*/ 3550920 h 3680460"/>
                  <a:gd name="connsiteX64" fmla="*/ 1430655 w 3008034"/>
                  <a:gd name="connsiteY64" fmla="*/ 3528060 h 3680460"/>
                  <a:gd name="connsiteX65" fmla="*/ 1529715 w 3008034"/>
                  <a:gd name="connsiteY65" fmla="*/ 3520440 h 3680460"/>
                  <a:gd name="connsiteX66" fmla="*/ 1552575 w 3008034"/>
                  <a:gd name="connsiteY66" fmla="*/ 3512820 h 3680460"/>
                  <a:gd name="connsiteX67" fmla="*/ 1621155 w 3008034"/>
                  <a:gd name="connsiteY67" fmla="*/ 3497580 h 3680460"/>
                  <a:gd name="connsiteX68" fmla="*/ 1689735 w 3008034"/>
                  <a:gd name="connsiteY68" fmla="*/ 3474720 h 3680460"/>
                  <a:gd name="connsiteX69" fmla="*/ 1781175 w 3008034"/>
                  <a:gd name="connsiteY69" fmla="*/ 3451860 h 3680460"/>
                  <a:gd name="connsiteX70" fmla="*/ 1811655 w 3008034"/>
                  <a:gd name="connsiteY70" fmla="*/ 3444240 h 3680460"/>
                  <a:gd name="connsiteX71" fmla="*/ 1834515 w 3008034"/>
                  <a:gd name="connsiteY71" fmla="*/ 3429000 h 3680460"/>
                  <a:gd name="connsiteX72" fmla="*/ 1864995 w 3008034"/>
                  <a:gd name="connsiteY72" fmla="*/ 3421380 h 3680460"/>
                  <a:gd name="connsiteX73" fmla="*/ 1918335 w 3008034"/>
                  <a:gd name="connsiteY73" fmla="*/ 3398520 h 3680460"/>
                  <a:gd name="connsiteX74" fmla="*/ 1941195 w 3008034"/>
                  <a:gd name="connsiteY74" fmla="*/ 3390900 h 3680460"/>
                  <a:gd name="connsiteX75" fmla="*/ 1994535 w 3008034"/>
                  <a:gd name="connsiteY75" fmla="*/ 3360420 h 3680460"/>
                  <a:gd name="connsiteX76" fmla="*/ 2032635 w 3008034"/>
                  <a:gd name="connsiteY76" fmla="*/ 3352800 h 3680460"/>
                  <a:gd name="connsiteX77" fmla="*/ 2070735 w 3008034"/>
                  <a:gd name="connsiteY77" fmla="*/ 3337560 h 3680460"/>
                  <a:gd name="connsiteX78" fmla="*/ 2146935 w 3008034"/>
                  <a:gd name="connsiteY78" fmla="*/ 3299460 h 3680460"/>
                  <a:gd name="connsiteX79" fmla="*/ 2169795 w 3008034"/>
                  <a:gd name="connsiteY79" fmla="*/ 3284220 h 3680460"/>
                  <a:gd name="connsiteX80" fmla="*/ 2200275 w 3008034"/>
                  <a:gd name="connsiteY80" fmla="*/ 3276600 h 3680460"/>
                  <a:gd name="connsiteX81" fmla="*/ 2253615 w 3008034"/>
                  <a:gd name="connsiteY81" fmla="*/ 3230880 h 3680460"/>
                  <a:gd name="connsiteX82" fmla="*/ 2337435 w 3008034"/>
                  <a:gd name="connsiteY82" fmla="*/ 3154680 h 3680460"/>
                  <a:gd name="connsiteX83" fmla="*/ 2390775 w 3008034"/>
                  <a:gd name="connsiteY83" fmla="*/ 3070860 h 3680460"/>
                  <a:gd name="connsiteX84" fmla="*/ 2406015 w 3008034"/>
                  <a:gd name="connsiteY84" fmla="*/ 3048000 h 3680460"/>
                  <a:gd name="connsiteX85" fmla="*/ 2436495 w 3008034"/>
                  <a:gd name="connsiteY85" fmla="*/ 3032760 h 3680460"/>
                  <a:gd name="connsiteX86" fmla="*/ 2459355 w 3008034"/>
                  <a:gd name="connsiteY86" fmla="*/ 3009900 h 3680460"/>
                  <a:gd name="connsiteX87" fmla="*/ 2527935 w 3008034"/>
                  <a:gd name="connsiteY87" fmla="*/ 2926080 h 3680460"/>
                  <a:gd name="connsiteX88" fmla="*/ 2566035 w 3008034"/>
                  <a:gd name="connsiteY88" fmla="*/ 2880360 h 3680460"/>
                  <a:gd name="connsiteX89" fmla="*/ 2619375 w 3008034"/>
                  <a:gd name="connsiteY89" fmla="*/ 2811780 h 3680460"/>
                  <a:gd name="connsiteX90" fmla="*/ 2634615 w 3008034"/>
                  <a:gd name="connsiteY90" fmla="*/ 2773680 h 3680460"/>
                  <a:gd name="connsiteX91" fmla="*/ 2665095 w 3008034"/>
                  <a:gd name="connsiteY91" fmla="*/ 2727960 h 3680460"/>
                  <a:gd name="connsiteX92" fmla="*/ 2680335 w 3008034"/>
                  <a:gd name="connsiteY92" fmla="*/ 2705100 h 3680460"/>
                  <a:gd name="connsiteX93" fmla="*/ 2695575 w 3008034"/>
                  <a:gd name="connsiteY93" fmla="*/ 2667000 h 3680460"/>
                  <a:gd name="connsiteX94" fmla="*/ 2718435 w 3008034"/>
                  <a:gd name="connsiteY94" fmla="*/ 2621280 h 3680460"/>
                  <a:gd name="connsiteX95" fmla="*/ 2726055 w 3008034"/>
                  <a:gd name="connsiteY95" fmla="*/ 2590800 h 3680460"/>
                  <a:gd name="connsiteX96" fmla="*/ 2748915 w 3008034"/>
                  <a:gd name="connsiteY96" fmla="*/ 2545080 h 3680460"/>
                  <a:gd name="connsiteX97" fmla="*/ 2779395 w 3008034"/>
                  <a:gd name="connsiteY97" fmla="*/ 2484120 h 3680460"/>
                  <a:gd name="connsiteX98" fmla="*/ 2802255 w 3008034"/>
                  <a:gd name="connsiteY98" fmla="*/ 2407920 h 3680460"/>
                  <a:gd name="connsiteX99" fmla="*/ 2832735 w 3008034"/>
                  <a:gd name="connsiteY99" fmla="*/ 2324100 h 3680460"/>
                  <a:gd name="connsiteX100" fmla="*/ 2847975 w 3008034"/>
                  <a:gd name="connsiteY100" fmla="*/ 2247900 h 3680460"/>
                  <a:gd name="connsiteX101" fmla="*/ 2863215 w 3008034"/>
                  <a:gd name="connsiteY101" fmla="*/ 2194560 h 3680460"/>
                  <a:gd name="connsiteX102" fmla="*/ 2878455 w 3008034"/>
                  <a:gd name="connsiteY102" fmla="*/ 2148840 h 3680460"/>
                  <a:gd name="connsiteX103" fmla="*/ 2901315 w 3008034"/>
                  <a:gd name="connsiteY103" fmla="*/ 2087880 h 3680460"/>
                  <a:gd name="connsiteX104" fmla="*/ 2908935 w 3008034"/>
                  <a:gd name="connsiteY104" fmla="*/ 2049780 h 3680460"/>
                  <a:gd name="connsiteX105" fmla="*/ 2924175 w 3008034"/>
                  <a:gd name="connsiteY105" fmla="*/ 1844040 h 3680460"/>
                  <a:gd name="connsiteX106" fmla="*/ 2908935 w 3008034"/>
                  <a:gd name="connsiteY106" fmla="*/ 1470660 h 3680460"/>
                  <a:gd name="connsiteX107" fmla="*/ 2886075 w 3008034"/>
                  <a:gd name="connsiteY107" fmla="*/ 1371600 h 3680460"/>
                  <a:gd name="connsiteX108" fmla="*/ 2870835 w 3008034"/>
                  <a:gd name="connsiteY108" fmla="*/ 1341120 h 3680460"/>
                  <a:gd name="connsiteX109" fmla="*/ 2847975 w 3008034"/>
                  <a:gd name="connsiteY109" fmla="*/ 1272540 h 3680460"/>
                  <a:gd name="connsiteX110" fmla="*/ 2840355 w 3008034"/>
                  <a:gd name="connsiteY110" fmla="*/ 1234440 h 3680460"/>
                  <a:gd name="connsiteX111" fmla="*/ 2817495 w 3008034"/>
                  <a:gd name="connsiteY111" fmla="*/ 1196340 h 3680460"/>
                  <a:gd name="connsiteX112" fmla="*/ 2802255 w 3008034"/>
                  <a:gd name="connsiteY112" fmla="*/ 1165860 h 3680460"/>
                  <a:gd name="connsiteX113" fmla="*/ 2771775 w 3008034"/>
                  <a:gd name="connsiteY113" fmla="*/ 1127760 h 3680460"/>
                  <a:gd name="connsiteX114" fmla="*/ 2756535 w 3008034"/>
                  <a:gd name="connsiteY114" fmla="*/ 1089660 h 3680460"/>
                  <a:gd name="connsiteX115" fmla="*/ 2726055 w 3008034"/>
                  <a:gd name="connsiteY115" fmla="*/ 1043940 h 3680460"/>
                  <a:gd name="connsiteX116" fmla="*/ 2718435 w 3008034"/>
                  <a:gd name="connsiteY116" fmla="*/ 1021080 h 3680460"/>
                  <a:gd name="connsiteX117" fmla="*/ 2672715 w 3008034"/>
                  <a:gd name="connsiteY117" fmla="*/ 937260 h 3680460"/>
                  <a:gd name="connsiteX118" fmla="*/ 2649855 w 3008034"/>
                  <a:gd name="connsiteY118" fmla="*/ 876300 h 3680460"/>
                  <a:gd name="connsiteX119" fmla="*/ 2634615 w 3008034"/>
                  <a:gd name="connsiteY119" fmla="*/ 845820 h 3680460"/>
                  <a:gd name="connsiteX120" fmla="*/ 2626995 w 3008034"/>
                  <a:gd name="connsiteY120" fmla="*/ 822960 h 3680460"/>
                  <a:gd name="connsiteX121" fmla="*/ 2611755 w 3008034"/>
                  <a:gd name="connsiteY121" fmla="*/ 800100 h 3680460"/>
                  <a:gd name="connsiteX122" fmla="*/ 2588895 w 3008034"/>
                  <a:gd name="connsiteY122" fmla="*/ 739140 h 3680460"/>
                  <a:gd name="connsiteX123" fmla="*/ 2448878 w 3008034"/>
                  <a:gd name="connsiteY123" fmla="*/ 621983 h 3680460"/>
                  <a:gd name="connsiteX124" fmla="*/ 2291715 w 3008034"/>
                  <a:gd name="connsiteY124" fmla="*/ 458152 h 3680460"/>
                  <a:gd name="connsiteX125" fmla="*/ 2227898 w 3008034"/>
                  <a:gd name="connsiteY125" fmla="*/ 406717 h 3680460"/>
                  <a:gd name="connsiteX126" fmla="*/ 2093595 w 3008034"/>
                  <a:gd name="connsiteY126" fmla="*/ 312420 h 3680460"/>
                  <a:gd name="connsiteX127" fmla="*/ 2032635 w 3008034"/>
                  <a:gd name="connsiteY127" fmla="*/ 266700 h 3680460"/>
                  <a:gd name="connsiteX128" fmla="*/ 1994535 w 3008034"/>
                  <a:gd name="connsiteY128" fmla="*/ 251460 h 3680460"/>
                  <a:gd name="connsiteX129" fmla="*/ 1948815 w 3008034"/>
                  <a:gd name="connsiteY129" fmla="*/ 220980 h 3680460"/>
                  <a:gd name="connsiteX130" fmla="*/ 1887855 w 3008034"/>
                  <a:gd name="connsiteY13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430655 w 3008034"/>
                  <a:gd name="connsiteY63" fmla="*/ 3528060 h 3680460"/>
                  <a:gd name="connsiteX64" fmla="*/ 1529715 w 3008034"/>
                  <a:gd name="connsiteY64" fmla="*/ 3520440 h 3680460"/>
                  <a:gd name="connsiteX65" fmla="*/ 1552575 w 3008034"/>
                  <a:gd name="connsiteY65" fmla="*/ 3512820 h 3680460"/>
                  <a:gd name="connsiteX66" fmla="*/ 1621155 w 3008034"/>
                  <a:gd name="connsiteY66" fmla="*/ 3497580 h 3680460"/>
                  <a:gd name="connsiteX67" fmla="*/ 1689735 w 3008034"/>
                  <a:gd name="connsiteY67" fmla="*/ 3474720 h 3680460"/>
                  <a:gd name="connsiteX68" fmla="*/ 1781175 w 3008034"/>
                  <a:gd name="connsiteY68" fmla="*/ 3451860 h 3680460"/>
                  <a:gd name="connsiteX69" fmla="*/ 1811655 w 3008034"/>
                  <a:gd name="connsiteY69" fmla="*/ 3444240 h 3680460"/>
                  <a:gd name="connsiteX70" fmla="*/ 1834515 w 3008034"/>
                  <a:gd name="connsiteY70" fmla="*/ 3429000 h 3680460"/>
                  <a:gd name="connsiteX71" fmla="*/ 1864995 w 3008034"/>
                  <a:gd name="connsiteY71" fmla="*/ 3421380 h 3680460"/>
                  <a:gd name="connsiteX72" fmla="*/ 1918335 w 3008034"/>
                  <a:gd name="connsiteY72" fmla="*/ 3398520 h 3680460"/>
                  <a:gd name="connsiteX73" fmla="*/ 1941195 w 3008034"/>
                  <a:gd name="connsiteY73" fmla="*/ 3390900 h 3680460"/>
                  <a:gd name="connsiteX74" fmla="*/ 1994535 w 3008034"/>
                  <a:gd name="connsiteY74" fmla="*/ 3360420 h 3680460"/>
                  <a:gd name="connsiteX75" fmla="*/ 2032635 w 3008034"/>
                  <a:gd name="connsiteY75" fmla="*/ 3352800 h 3680460"/>
                  <a:gd name="connsiteX76" fmla="*/ 2070735 w 3008034"/>
                  <a:gd name="connsiteY76" fmla="*/ 3337560 h 3680460"/>
                  <a:gd name="connsiteX77" fmla="*/ 2146935 w 3008034"/>
                  <a:gd name="connsiteY77" fmla="*/ 3299460 h 3680460"/>
                  <a:gd name="connsiteX78" fmla="*/ 2169795 w 3008034"/>
                  <a:gd name="connsiteY78" fmla="*/ 3284220 h 3680460"/>
                  <a:gd name="connsiteX79" fmla="*/ 2200275 w 3008034"/>
                  <a:gd name="connsiteY79" fmla="*/ 3276600 h 3680460"/>
                  <a:gd name="connsiteX80" fmla="*/ 2253615 w 3008034"/>
                  <a:gd name="connsiteY80" fmla="*/ 3230880 h 3680460"/>
                  <a:gd name="connsiteX81" fmla="*/ 2337435 w 3008034"/>
                  <a:gd name="connsiteY81" fmla="*/ 3154680 h 3680460"/>
                  <a:gd name="connsiteX82" fmla="*/ 2390775 w 3008034"/>
                  <a:gd name="connsiteY82" fmla="*/ 3070860 h 3680460"/>
                  <a:gd name="connsiteX83" fmla="*/ 2406015 w 3008034"/>
                  <a:gd name="connsiteY83" fmla="*/ 3048000 h 3680460"/>
                  <a:gd name="connsiteX84" fmla="*/ 2436495 w 3008034"/>
                  <a:gd name="connsiteY84" fmla="*/ 3032760 h 3680460"/>
                  <a:gd name="connsiteX85" fmla="*/ 2459355 w 3008034"/>
                  <a:gd name="connsiteY85" fmla="*/ 3009900 h 3680460"/>
                  <a:gd name="connsiteX86" fmla="*/ 2527935 w 3008034"/>
                  <a:gd name="connsiteY86" fmla="*/ 2926080 h 3680460"/>
                  <a:gd name="connsiteX87" fmla="*/ 2566035 w 3008034"/>
                  <a:gd name="connsiteY87" fmla="*/ 2880360 h 3680460"/>
                  <a:gd name="connsiteX88" fmla="*/ 2619375 w 3008034"/>
                  <a:gd name="connsiteY88" fmla="*/ 2811780 h 3680460"/>
                  <a:gd name="connsiteX89" fmla="*/ 2634615 w 3008034"/>
                  <a:gd name="connsiteY89" fmla="*/ 2773680 h 3680460"/>
                  <a:gd name="connsiteX90" fmla="*/ 2665095 w 3008034"/>
                  <a:gd name="connsiteY90" fmla="*/ 2727960 h 3680460"/>
                  <a:gd name="connsiteX91" fmla="*/ 2680335 w 3008034"/>
                  <a:gd name="connsiteY91" fmla="*/ 2705100 h 3680460"/>
                  <a:gd name="connsiteX92" fmla="*/ 2695575 w 3008034"/>
                  <a:gd name="connsiteY92" fmla="*/ 2667000 h 3680460"/>
                  <a:gd name="connsiteX93" fmla="*/ 2718435 w 3008034"/>
                  <a:gd name="connsiteY93" fmla="*/ 2621280 h 3680460"/>
                  <a:gd name="connsiteX94" fmla="*/ 2726055 w 3008034"/>
                  <a:gd name="connsiteY94" fmla="*/ 2590800 h 3680460"/>
                  <a:gd name="connsiteX95" fmla="*/ 2748915 w 3008034"/>
                  <a:gd name="connsiteY95" fmla="*/ 2545080 h 3680460"/>
                  <a:gd name="connsiteX96" fmla="*/ 2779395 w 3008034"/>
                  <a:gd name="connsiteY96" fmla="*/ 2484120 h 3680460"/>
                  <a:gd name="connsiteX97" fmla="*/ 2802255 w 3008034"/>
                  <a:gd name="connsiteY97" fmla="*/ 2407920 h 3680460"/>
                  <a:gd name="connsiteX98" fmla="*/ 2832735 w 3008034"/>
                  <a:gd name="connsiteY98" fmla="*/ 2324100 h 3680460"/>
                  <a:gd name="connsiteX99" fmla="*/ 2847975 w 3008034"/>
                  <a:gd name="connsiteY99" fmla="*/ 2247900 h 3680460"/>
                  <a:gd name="connsiteX100" fmla="*/ 2863215 w 3008034"/>
                  <a:gd name="connsiteY100" fmla="*/ 2194560 h 3680460"/>
                  <a:gd name="connsiteX101" fmla="*/ 2878455 w 3008034"/>
                  <a:gd name="connsiteY101" fmla="*/ 2148840 h 3680460"/>
                  <a:gd name="connsiteX102" fmla="*/ 2901315 w 3008034"/>
                  <a:gd name="connsiteY102" fmla="*/ 2087880 h 3680460"/>
                  <a:gd name="connsiteX103" fmla="*/ 2908935 w 3008034"/>
                  <a:gd name="connsiteY103" fmla="*/ 2049780 h 3680460"/>
                  <a:gd name="connsiteX104" fmla="*/ 2924175 w 3008034"/>
                  <a:gd name="connsiteY104" fmla="*/ 1844040 h 3680460"/>
                  <a:gd name="connsiteX105" fmla="*/ 2908935 w 3008034"/>
                  <a:gd name="connsiteY105" fmla="*/ 1470660 h 3680460"/>
                  <a:gd name="connsiteX106" fmla="*/ 2886075 w 3008034"/>
                  <a:gd name="connsiteY106" fmla="*/ 1371600 h 3680460"/>
                  <a:gd name="connsiteX107" fmla="*/ 2870835 w 3008034"/>
                  <a:gd name="connsiteY107" fmla="*/ 1341120 h 3680460"/>
                  <a:gd name="connsiteX108" fmla="*/ 2847975 w 3008034"/>
                  <a:gd name="connsiteY108" fmla="*/ 1272540 h 3680460"/>
                  <a:gd name="connsiteX109" fmla="*/ 2840355 w 3008034"/>
                  <a:gd name="connsiteY109" fmla="*/ 1234440 h 3680460"/>
                  <a:gd name="connsiteX110" fmla="*/ 2817495 w 3008034"/>
                  <a:gd name="connsiteY110" fmla="*/ 1196340 h 3680460"/>
                  <a:gd name="connsiteX111" fmla="*/ 2802255 w 3008034"/>
                  <a:gd name="connsiteY111" fmla="*/ 1165860 h 3680460"/>
                  <a:gd name="connsiteX112" fmla="*/ 2771775 w 3008034"/>
                  <a:gd name="connsiteY112" fmla="*/ 1127760 h 3680460"/>
                  <a:gd name="connsiteX113" fmla="*/ 2756535 w 3008034"/>
                  <a:gd name="connsiteY113" fmla="*/ 1089660 h 3680460"/>
                  <a:gd name="connsiteX114" fmla="*/ 2726055 w 3008034"/>
                  <a:gd name="connsiteY114" fmla="*/ 1043940 h 3680460"/>
                  <a:gd name="connsiteX115" fmla="*/ 2718435 w 3008034"/>
                  <a:gd name="connsiteY115" fmla="*/ 1021080 h 3680460"/>
                  <a:gd name="connsiteX116" fmla="*/ 2672715 w 3008034"/>
                  <a:gd name="connsiteY116" fmla="*/ 937260 h 3680460"/>
                  <a:gd name="connsiteX117" fmla="*/ 2649855 w 3008034"/>
                  <a:gd name="connsiteY117" fmla="*/ 876300 h 3680460"/>
                  <a:gd name="connsiteX118" fmla="*/ 2634615 w 3008034"/>
                  <a:gd name="connsiteY118" fmla="*/ 845820 h 3680460"/>
                  <a:gd name="connsiteX119" fmla="*/ 2626995 w 3008034"/>
                  <a:gd name="connsiteY119" fmla="*/ 822960 h 3680460"/>
                  <a:gd name="connsiteX120" fmla="*/ 2611755 w 3008034"/>
                  <a:gd name="connsiteY120" fmla="*/ 800100 h 3680460"/>
                  <a:gd name="connsiteX121" fmla="*/ 2588895 w 3008034"/>
                  <a:gd name="connsiteY121" fmla="*/ 739140 h 3680460"/>
                  <a:gd name="connsiteX122" fmla="*/ 2448878 w 3008034"/>
                  <a:gd name="connsiteY122" fmla="*/ 621983 h 3680460"/>
                  <a:gd name="connsiteX123" fmla="*/ 2291715 w 3008034"/>
                  <a:gd name="connsiteY123" fmla="*/ 458152 h 3680460"/>
                  <a:gd name="connsiteX124" fmla="*/ 2227898 w 3008034"/>
                  <a:gd name="connsiteY124" fmla="*/ 406717 h 3680460"/>
                  <a:gd name="connsiteX125" fmla="*/ 2093595 w 3008034"/>
                  <a:gd name="connsiteY125" fmla="*/ 312420 h 3680460"/>
                  <a:gd name="connsiteX126" fmla="*/ 2032635 w 3008034"/>
                  <a:gd name="connsiteY126" fmla="*/ 266700 h 3680460"/>
                  <a:gd name="connsiteX127" fmla="*/ 1994535 w 3008034"/>
                  <a:gd name="connsiteY127" fmla="*/ 251460 h 3680460"/>
                  <a:gd name="connsiteX128" fmla="*/ 1948815 w 3008034"/>
                  <a:gd name="connsiteY128" fmla="*/ 220980 h 3680460"/>
                  <a:gd name="connsiteX129" fmla="*/ 1887855 w 3008034"/>
                  <a:gd name="connsiteY12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430655 w 3008034"/>
                  <a:gd name="connsiteY63" fmla="*/ 3528060 h 3680460"/>
                  <a:gd name="connsiteX64" fmla="*/ 1529715 w 3008034"/>
                  <a:gd name="connsiteY64" fmla="*/ 3520440 h 3680460"/>
                  <a:gd name="connsiteX65" fmla="*/ 1552575 w 3008034"/>
                  <a:gd name="connsiteY65" fmla="*/ 3512820 h 3680460"/>
                  <a:gd name="connsiteX66" fmla="*/ 1621155 w 3008034"/>
                  <a:gd name="connsiteY66" fmla="*/ 3497580 h 3680460"/>
                  <a:gd name="connsiteX67" fmla="*/ 1689735 w 3008034"/>
                  <a:gd name="connsiteY67" fmla="*/ 3474720 h 3680460"/>
                  <a:gd name="connsiteX68" fmla="*/ 1781175 w 3008034"/>
                  <a:gd name="connsiteY68" fmla="*/ 3451860 h 3680460"/>
                  <a:gd name="connsiteX69" fmla="*/ 1811655 w 3008034"/>
                  <a:gd name="connsiteY69" fmla="*/ 3444240 h 3680460"/>
                  <a:gd name="connsiteX70" fmla="*/ 1834515 w 3008034"/>
                  <a:gd name="connsiteY70" fmla="*/ 3429000 h 3680460"/>
                  <a:gd name="connsiteX71" fmla="*/ 1864995 w 3008034"/>
                  <a:gd name="connsiteY71" fmla="*/ 3421380 h 3680460"/>
                  <a:gd name="connsiteX72" fmla="*/ 1918335 w 3008034"/>
                  <a:gd name="connsiteY72" fmla="*/ 3398520 h 3680460"/>
                  <a:gd name="connsiteX73" fmla="*/ 1941195 w 3008034"/>
                  <a:gd name="connsiteY73" fmla="*/ 3390900 h 3680460"/>
                  <a:gd name="connsiteX74" fmla="*/ 1994535 w 3008034"/>
                  <a:gd name="connsiteY74" fmla="*/ 3360420 h 3680460"/>
                  <a:gd name="connsiteX75" fmla="*/ 2032635 w 3008034"/>
                  <a:gd name="connsiteY75" fmla="*/ 3352800 h 3680460"/>
                  <a:gd name="connsiteX76" fmla="*/ 2070735 w 3008034"/>
                  <a:gd name="connsiteY76" fmla="*/ 3337560 h 3680460"/>
                  <a:gd name="connsiteX77" fmla="*/ 2146935 w 3008034"/>
                  <a:gd name="connsiteY77" fmla="*/ 3299460 h 3680460"/>
                  <a:gd name="connsiteX78" fmla="*/ 2169795 w 3008034"/>
                  <a:gd name="connsiteY78" fmla="*/ 3284220 h 3680460"/>
                  <a:gd name="connsiteX79" fmla="*/ 2200275 w 3008034"/>
                  <a:gd name="connsiteY79" fmla="*/ 3276600 h 3680460"/>
                  <a:gd name="connsiteX80" fmla="*/ 2253615 w 3008034"/>
                  <a:gd name="connsiteY80" fmla="*/ 3230880 h 3680460"/>
                  <a:gd name="connsiteX81" fmla="*/ 2337435 w 3008034"/>
                  <a:gd name="connsiteY81" fmla="*/ 3154680 h 3680460"/>
                  <a:gd name="connsiteX82" fmla="*/ 2390775 w 3008034"/>
                  <a:gd name="connsiteY82" fmla="*/ 3070860 h 3680460"/>
                  <a:gd name="connsiteX83" fmla="*/ 2406015 w 3008034"/>
                  <a:gd name="connsiteY83" fmla="*/ 3048000 h 3680460"/>
                  <a:gd name="connsiteX84" fmla="*/ 2436495 w 3008034"/>
                  <a:gd name="connsiteY84" fmla="*/ 3032760 h 3680460"/>
                  <a:gd name="connsiteX85" fmla="*/ 2459355 w 3008034"/>
                  <a:gd name="connsiteY85" fmla="*/ 3009900 h 3680460"/>
                  <a:gd name="connsiteX86" fmla="*/ 2527935 w 3008034"/>
                  <a:gd name="connsiteY86" fmla="*/ 2926080 h 3680460"/>
                  <a:gd name="connsiteX87" fmla="*/ 2566035 w 3008034"/>
                  <a:gd name="connsiteY87" fmla="*/ 2880360 h 3680460"/>
                  <a:gd name="connsiteX88" fmla="*/ 2619375 w 3008034"/>
                  <a:gd name="connsiteY88" fmla="*/ 2811780 h 3680460"/>
                  <a:gd name="connsiteX89" fmla="*/ 2634615 w 3008034"/>
                  <a:gd name="connsiteY89" fmla="*/ 2773680 h 3680460"/>
                  <a:gd name="connsiteX90" fmla="*/ 2665095 w 3008034"/>
                  <a:gd name="connsiteY90" fmla="*/ 2727960 h 3680460"/>
                  <a:gd name="connsiteX91" fmla="*/ 2680335 w 3008034"/>
                  <a:gd name="connsiteY91" fmla="*/ 2705100 h 3680460"/>
                  <a:gd name="connsiteX92" fmla="*/ 2695575 w 3008034"/>
                  <a:gd name="connsiteY92" fmla="*/ 2667000 h 3680460"/>
                  <a:gd name="connsiteX93" fmla="*/ 2718435 w 3008034"/>
                  <a:gd name="connsiteY93" fmla="*/ 2621280 h 3680460"/>
                  <a:gd name="connsiteX94" fmla="*/ 2726055 w 3008034"/>
                  <a:gd name="connsiteY94" fmla="*/ 2590800 h 3680460"/>
                  <a:gd name="connsiteX95" fmla="*/ 2748915 w 3008034"/>
                  <a:gd name="connsiteY95" fmla="*/ 2545080 h 3680460"/>
                  <a:gd name="connsiteX96" fmla="*/ 2779395 w 3008034"/>
                  <a:gd name="connsiteY96" fmla="*/ 2484120 h 3680460"/>
                  <a:gd name="connsiteX97" fmla="*/ 2802255 w 3008034"/>
                  <a:gd name="connsiteY97" fmla="*/ 2407920 h 3680460"/>
                  <a:gd name="connsiteX98" fmla="*/ 2832735 w 3008034"/>
                  <a:gd name="connsiteY98" fmla="*/ 2324100 h 3680460"/>
                  <a:gd name="connsiteX99" fmla="*/ 2847975 w 3008034"/>
                  <a:gd name="connsiteY99" fmla="*/ 2247900 h 3680460"/>
                  <a:gd name="connsiteX100" fmla="*/ 2863215 w 3008034"/>
                  <a:gd name="connsiteY100" fmla="*/ 2194560 h 3680460"/>
                  <a:gd name="connsiteX101" fmla="*/ 2878455 w 3008034"/>
                  <a:gd name="connsiteY101" fmla="*/ 2148840 h 3680460"/>
                  <a:gd name="connsiteX102" fmla="*/ 2901315 w 3008034"/>
                  <a:gd name="connsiteY102" fmla="*/ 2087880 h 3680460"/>
                  <a:gd name="connsiteX103" fmla="*/ 2908935 w 3008034"/>
                  <a:gd name="connsiteY103" fmla="*/ 2049780 h 3680460"/>
                  <a:gd name="connsiteX104" fmla="*/ 2924175 w 3008034"/>
                  <a:gd name="connsiteY104" fmla="*/ 1844040 h 3680460"/>
                  <a:gd name="connsiteX105" fmla="*/ 2908935 w 3008034"/>
                  <a:gd name="connsiteY105" fmla="*/ 1470660 h 3680460"/>
                  <a:gd name="connsiteX106" fmla="*/ 2886075 w 3008034"/>
                  <a:gd name="connsiteY106" fmla="*/ 1371600 h 3680460"/>
                  <a:gd name="connsiteX107" fmla="*/ 2870835 w 3008034"/>
                  <a:gd name="connsiteY107" fmla="*/ 1341120 h 3680460"/>
                  <a:gd name="connsiteX108" fmla="*/ 2847975 w 3008034"/>
                  <a:gd name="connsiteY108" fmla="*/ 1272540 h 3680460"/>
                  <a:gd name="connsiteX109" fmla="*/ 2840355 w 3008034"/>
                  <a:gd name="connsiteY109" fmla="*/ 1234440 h 3680460"/>
                  <a:gd name="connsiteX110" fmla="*/ 2817495 w 3008034"/>
                  <a:gd name="connsiteY110" fmla="*/ 1196340 h 3680460"/>
                  <a:gd name="connsiteX111" fmla="*/ 2802255 w 3008034"/>
                  <a:gd name="connsiteY111" fmla="*/ 1165860 h 3680460"/>
                  <a:gd name="connsiteX112" fmla="*/ 2771775 w 3008034"/>
                  <a:gd name="connsiteY112" fmla="*/ 1127760 h 3680460"/>
                  <a:gd name="connsiteX113" fmla="*/ 2756535 w 3008034"/>
                  <a:gd name="connsiteY113" fmla="*/ 1089660 h 3680460"/>
                  <a:gd name="connsiteX114" fmla="*/ 2726055 w 3008034"/>
                  <a:gd name="connsiteY114" fmla="*/ 1043940 h 3680460"/>
                  <a:gd name="connsiteX115" fmla="*/ 2718435 w 3008034"/>
                  <a:gd name="connsiteY115" fmla="*/ 1021080 h 3680460"/>
                  <a:gd name="connsiteX116" fmla="*/ 2672715 w 3008034"/>
                  <a:gd name="connsiteY116" fmla="*/ 937260 h 3680460"/>
                  <a:gd name="connsiteX117" fmla="*/ 2649855 w 3008034"/>
                  <a:gd name="connsiteY117" fmla="*/ 876300 h 3680460"/>
                  <a:gd name="connsiteX118" fmla="*/ 2634615 w 3008034"/>
                  <a:gd name="connsiteY118" fmla="*/ 845820 h 3680460"/>
                  <a:gd name="connsiteX119" fmla="*/ 2626995 w 3008034"/>
                  <a:gd name="connsiteY119" fmla="*/ 822960 h 3680460"/>
                  <a:gd name="connsiteX120" fmla="*/ 2611755 w 3008034"/>
                  <a:gd name="connsiteY120" fmla="*/ 800100 h 3680460"/>
                  <a:gd name="connsiteX121" fmla="*/ 2588895 w 3008034"/>
                  <a:gd name="connsiteY121" fmla="*/ 739140 h 3680460"/>
                  <a:gd name="connsiteX122" fmla="*/ 2448878 w 3008034"/>
                  <a:gd name="connsiteY122" fmla="*/ 621983 h 3680460"/>
                  <a:gd name="connsiteX123" fmla="*/ 2291715 w 3008034"/>
                  <a:gd name="connsiteY123" fmla="*/ 458152 h 3680460"/>
                  <a:gd name="connsiteX124" fmla="*/ 2227898 w 3008034"/>
                  <a:gd name="connsiteY124" fmla="*/ 406717 h 3680460"/>
                  <a:gd name="connsiteX125" fmla="*/ 2093595 w 3008034"/>
                  <a:gd name="connsiteY125" fmla="*/ 312420 h 3680460"/>
                  <a:gd name="connsiteX126" fmla="*/ 2032635 w 3008034"/>
                  <a:gd name="connsiteY126" fmla="*/ 266700 h 3680460"/>
                  <a:gd name="connsiteX127" fmla="*/ 1994535 w 3008034"/>
                  <a:gd name="connsiteY127" fmla="*/ 251460 h 3680460"/>
                  <a:gd name="connsiteX128" fmla="*/ 1948815 w 3008034"/>
                  <a:gd name="connsiteY128" fmla="*/ 220980 h 3680460"/>
                  <a:gd name="connsiteX129" fmla="*/ 1887855 w 3008034"/>
                  <a:gd name="connsiteY12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552575 w 3008034"/>
                  <a:gd name="connsiteY64" fmla="*/ 3512820 h 3680460"/>
                  <a:gd name="connsiteX65" fmla="*/ 1621155 w 3008034"/>
                  <a:gd name="connsiteY65" fmla="*/ 3497580 h 3680460"/>
                  <a:gd name="connsiteX66" fmla="*/ 1689735 w 3008034"/>
                  <a:gd name="connsiteY66" fmla="*/ 3474720 h 3680460"/>
                  <a:gd name="connsiteX67" fmla="*/ 1781175 w 3008034"/>
                  <a:gd name="connsiteY67" fmla="*/ 3451860 h 3680460"/>
                  <a:gd name="connsiteX68" fmla="*/ 1811655 w 3008034"/>
                  <a:gd name="connsiteY68" fmla="*/ 3444240 h 3680460"/>
                  <a:gd name="connsiteX69" fmla="*/ 1834515 w 3008034"/>
                  <a:gd name="connsiteY69" fmla="*/ 3429000 h 3680460"/>
                  <a:gd name="connsiteX70" fmla="*/ 1864995 w 3008034"/>
                  <a:gd name="connsiteY70" fmla="*/ 3421380 h 3680460"/>
                  <a:gd name="connsiteX71" fmla="*/ 1918335 w 3008034"/>
                  <a:gd name="connsiteY71" fmla="*/ 3398520 h 3680460"/>
                  <a:gd name="connsiteX72" fmla="*/ 1941195 w 3008034"/>
                  <a:gd name="connsiteY72" fmla="*/ 3390900 h 3680460"/>
                  <a:gd name="connsiteX73" fmla="*/ 1994535 w 3008034"/>
                  <a:gd name="connsiteY73" fmla="*/ 3360420 h 3680460"/>
                  <a:gd name="connsiteX74" fmla="*/ 2032635 w 3008034"/>
                  <a:gd name="connsiteY74" fmla="*/ 3352800 h 3680460"/>
                  <a:gd name="connsiteX75" fmla="*/ 2070735 w 3008034"/>
                  <a:gd name="connsiteY75" fmla="*/ 3337560 h 3680460"/>
                  <a:gd name="connsiteX76" fmla="*/ 2146935 w 3008034"/>
                  <a:gd name="connsiteY76" fmla="*/ 3299460 h 3680460"/>
                  <a:gd name="connsiteX77" fmla="*/ 2169795 w 3008034"/>
                  <a:gd name="connsiteY77" fmla="*/ 3284220 h 3680460"/>
                  <a:gd name="connsiteX78" fmla="*/ 2200275 w 3008034"/>
                  <a:gd name="connsiteY78" fmla="*/ 3276600 h 3680460"/>
                  <a:gd name="connsiteX79" fmla="*/ 2253615 w 3008034"/>
                  <a:gd name="connsiteY79" fmla="*/ 3230880 h 3680460"/>
                  <a:gd name="connsiteX80" fmla="*/ 2337435 w 3008034"/>
                  <a:gd name="connsiteY80" fmla="*/ 3154680 h 3680460"/>
                  <a:gd name="connsiteX81" fmla="*/ 2390775 w 3008034"/>
                  <a:gd name="connsiteY81" fmla="*/ 3070860 h 3680460"/>
                  <a:gd name="connsiteX82" fmla="*/ 2406015 w 3008034"/>
                  <a:gd name="connsiteY82" fmla="*/ 3048000 h 3680460"/>
                  <a:gd name="connsiteX83" fmla="*/ 2436495 w 3008034"/>
                  <a:gd name="connsiteY83" fmla="*/ 3032760 h 3680460"/>
                  <a:gd name="connsiteX84" fmla="*/ 2459355 w 3008034"/>
                  <a:gd name="connsiteY84" fmla="*/ 3009900 h 3680460"/>
                  <a:gd name="connsiteX85" fmla="*/ 2527935 w 3008034"/>
                  <a:gd name="connsiteY85" fmla="*/ 2926080 h 3680460"/>
                  <a:gd name="connsiteX86" fmla="*/ 2566035 w 3008034"/>
                  <a:gd name="connsiteY86" fmla="*/ 2880360 h 3680460"/>
                  <a:gd name="connsiteX87" fmla="*/ 2619375 w 3008034"/>
                  <a:gd name="connsiteY87" fmla="*/ 2811780 h 3680460"/>
                  <a:gd name="connsiteX88" fmla="*/ 2634615 w 3008034"/>
                  <a:gd name="connsiteY88" fmla="*/ 2773680 h 3680460"/>
                  <a:gd name="connsiteX89" fmla="*/ 2665095 w 3008034"/>
                  <a:gd name="connsiteY89" fmla="*/ 2727960 h 3680460"/>
                  <a:gd name="connsiteX90" fmla="*/ 2680335 w 3008034"/>
                  <a:gd name="connsiteY90" fmla="*/ 2705100 h 3680460"/>
                  <a:gd name="connsiteX91" fmla="*/ 2695575 w 3008034"/>
                  <a:gd name="connsiteY91" fmla="*/ 2667000 h 3680460"/>
                  <a:gd name="connsiteX92" fmla="*/ 2718435 w 3008034"/>
                  <a:gd name="connsiteY92" fmla="*/ 2621280 h 3680460"/>
                  <a:gd name="connsiteX93" fmla="*/ 2726055 w 3008034"/>
                  <a:gd name="connsiteY93" fmla="*/ 2590800 h 3680460"/>
                  <a:gd name="connsiteX94" fmla="*/ 2748915 w 3008034"/>
                  <a:gd name="connsiteY94" fmla="*/ 2545080 h 3680460"/>
                  <a:gd name="connsiteX95" fmla="*/ 2779395 w 3008034"/>
                  <a:gd name="connsiteY95" fmla="*/ 2484120 h 3680460"/>
                  <a:gd name="connsiteX96" fmla="*/ 2802255 w 3008034"/>
                  <a:gd name="connsiteY96" fmla="*/ 2407920 h 3680460"/>
                  <a:gd name="connsiteX97" fmla="*/ 2832735 w 3008034"/>
                  <a:gd name="connsiteY97" fmla="*/ 2324100 h 3680460"/>
                  <a:gd name="connsiteX98" fmla="*/ 2847975 w 3008034"/>
                  <a:gd name="connsiteY98" fmla="*/ 2247900 h 3680460"/>
                  <a:gd name="connsiteX99" fmla="*/ 2863215 w 3008034"/>
                  <a:gd name="connsiteY99" fmla="*/ 2194560 h 3680460"/>
                  <a:gd name="connsiteX100" fmla="*/ 2878455 w 3008034"/>
                  <a:gd name="connsiteY100" fmla="*/ 2148840 h 3680460"/>
                  <a:gd name="connsiteX101" fmla="*/ 2901315 w 3008034"/>
                  <a:gd name="connsiteY101" fmla="*/ 2087880 h 3680460"/>
                  <a:gd name="connsiteX102" fmla="*/ 2908935 w 3008034"/>
                  <a:gd name="connsiteY102" fmla="*/ 2049780 h 3680460"/>
                  <a:gd name="connsiteX103" fmla="*/ 2924175 w 3008034"/>
                  <a:gd name="connsiteY103" fmla="*/ 1844040 h 3680460"/>
                  <a:gd name="connsiteX104" fmla="*/ 2908935 w 3008034"/>
                  <a:gd name="connsiteY104" fmla="*/ 1470660 h 3680460"/>
                  <a:gd name="connsiteX105" fmla="*/ 2886075 w 3008034"/>
                  <a:gd name="connsiteY105" fmla="*/ 1371600 h 3680460"/>
                  <a:gd name="connsiteX106" fmla="*/ 2870835 w 3008034"/>
                  <a:gd name="connsiteY106" fmla="*/ 1341120 h 3680460"/>
                  <a:gd name="connsiteX107" fmla="*/ 2847975 w 3008034"/>
                  <a:gd name="connsiteY107" fmla="*/ 1272540 h 3680460"/>
                  <a:gd name="connsiteX108" fmla="*/ 2840355 w 3008034"/>
                  <a:gd name="connsiteY108" fmla="*/ 1234440 h 3680460"/>
                  <a:gd name="connsiteX109" fmla="*/ 2817495 w 3008034"/>
                  <a:gd name="connsiteY109" fmla="*/ 1196340 h 3680460"/>
                  <a:gd name="connsiteX110" fmla="*/ 2802255 w 3008034"/>
                  <a:gd name="connsiteY110" fmla="*/ 1165860 h 3680460"/>
                  <a:gd name="connsiteX111" fmla="*/ 2771775 w 3008034"/>
                  <a:gd name="connsiteY111" fmla="*/ 1127760 h 3680460"/>
                  <a:gd name="connsiteX112" fmla="*/ 2756535 w 3008034"/>
                  <a:gd name="connsiteY112" fmla="*/ 1089660 h 3680460"/>
                  <a:gd name="connsiteX113" fmla="*/ 2726055 w 3008034"/>
                  <a:gd name="connsiteY113" fmla="*/ 1043940 h 3680460"/>
                  <a:gd name="connsiteX114" fmla="*/ 2718435 w 3008034"/>
                  <a:gd name="connsiteY114" fmla="*/ 1021080 h 3680460"/>
                  <a:gd name="connsiteX115" fmla="*/ 2672715 w 3008034"/>
                  <a:gd name="connsiteY115" fmla="*/ 937260 h 3680460"/>
                  <a:gd name="connsiteX116" fmla="*/ 2649855 w 3008034"/>
                  <a:gd name="connsiteY116" fmla="*/ 876300 h 3680460"/>
                  <a:gd name="connsiteX117" fmla="*/ 2634615 w 3008034"/>
                  <a:gd name="connsiteY117" fmla="*/ 845820 h 3680460"/>
                  <a:gd name="connsiteX118" fmla="*/ 2626995 w 3008034"/>
                  <a:gd name="connsiteY118" fmla="*/ 822960 h 3680460"/>
                  <a:gd name="connsiteX119" fmla="*/ 2611755 w 3008034"/>
                  <a:gd name="connsiteY119" fmla="*/ 800100 h 3680460"/>
                  <a:gd name="connsiteX120" fmla="*/ 2588895 w 3008034"/>
                  <a:gd name="connsiteY120" fmla="*/ 739140 h 3680460"/>
                  <a:gd name="connsiteX121" fmla="*/ 2448878 w 3008034"/>
                  <a:gd name="connsiteY121" fmla="*/ 621983 h 3680460"/>
                  <a:gd name="connsiteX122" fmla="*/ 2291715 w 3008034"/>
                  <a:gd name="connsiteY122" fmla="*/ 458152 h 3680460"/>
                  <a:gd name="connsiteX123" fmla="*/ 2227898 w 3008034"/>
                  <a:gd name="connsiteY123" fmla="*/ 406717 h 3680460"/>
                  <a:gd name="connsiteX124" fmla="*/ 2093595 w 3008034"/>
                  <a:gd name="connsiteY124" fmla="*/ 312420 h 3680460"/>
                  <a:gd name="connsiteX125" fmla="*/ 2032635 w 3008034"/>
                  <a:gd name="connsiteY125" fmla="*/ 266700 h 3680460"/>
                  <a:gd name="connsiteX126" fmla="*/ 1994535 w 3008034"/>
                  <a:gd name="connsiteY126" fmla="*/ 251460 h 3680460"/>
                  <a:gd name="connsiteX127" fmla="*/ 1948815 w 3008034"/>
                  <a:gd name="connsiteY127" fmla="*/ 220980 h 3680460"/>
                  <a:gd name="connsiteX128" fmla="*/ 1887855 w 3008034"/>
                  <a:gd name="connsiteY12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34515 w 3008034"/>
                  <a:gd name="connsiteY68" fmla="*/ 3429000 h 3680460"/>
                  <a:gd name="connsiteX69" fmla="*/ 1864995 w 3008034"/>
                  <a:gd name="connsiteY69" fmla="*/ 3421380 h 3680460"/>
                  <a:gd name="connsiteX70" fmla="*/ 1918335 w 3008034"/>
                  <a:gd name="connsiteY70" fmla="*/ 3398520 h 3680460"/>
                  <a:gd name="connsiteX71" fmla="*/ 1941195 w 3008034"/>
                  <a:gd name="connsiteY71" fmla="*/ 3390900 h 3680460"/>
                  <a:gd name="connsiteX72" fmla="*/ 1994535 w 3008034"/>
                  <a:gd name="connsiteY72" fmla="*/ 3360420 h 3680460"/>
                  <a:gd name="connsiteX73" fmla="*/ 2032635 w 3008034"/>
                  <a:gd name="connsiteY73" fmla="*/ 3352800 h 3680460"/>
                  <a:gd name="connsiteX74" fmla="*/ 2070735 w 3008034"/>
                  <a:gd name="connsiteY74" fmla="*/ 3337560 h 3680460"/>
                  <a:gd name="connsiteX75" fmla="*/ 2146935 w 3008034"/>
                  <a:gd name="connsiteY75" fmla="*/ 3299460 h 3680460"/>
                  <a:gd name="connsiteX76" fmla="*/ 2169795 w 3008034"/>
                  <a:gd name="connsiteY76" fmla="*/ 3284220 h 3680460"/>
                  <a:gd name="connsiteX77" fmla="*/ 2200275 w 3008034"/>
                  <a:gd name="connsiteY77" fmla="*/ 3276600 h 3680460"/>
                  <a:gd name="connsiteX78" fmla="*/ 2253615 w 3008034"/>
                  <a:gd name="connsiteY78" fmla="*/ 3230880 h 3680460"/>
                  <a:gd name="connsiteX79" fmla="*/ 2337435 w 3008034"/>
                  <a:gd name="connsiteY79" fmla="*/ 3154680 h 3680460"/>
                  <a:gd name="connsiteX80" fmla="*/ 2390775 w 3008034"/>
                  <a:gd name="connsiteY80" fmla="*/ 3070860 h 3680460"/>
                  <a:gd name="connsiteX81" fmla="*/ 2406015 w 3008034"/>
                  <a:gd name="connsiteY81" fmla="*/ 3048000 h 3680460"/>
                  <a:gd name="connsiteX82" fmla="*/ 2436495 w 3008034"/>
                  <a:gd name="connsiteY82" fmla="*/ 3032760 h 3680460"/>
                  <a:gd name="connsiteX83" fmla="*/ 2459355 w 3008034"/>
                  <a:gd name="connsiteY83" fmla="*/ 3009900 h 3680460"/>
                  <a:gd name="connsiteX84" fmla="*/ 2527935 w 3008034"/>
                  <a:gd name="connsiteY84" fmla="*/ 2926080 h 3680460"/>
                  <a:gd name="connsiteX85" fmla="*/ 2566035 w 3008034"/>
                  <a:gd name="connsiteY85" fmla="*/ 2880360 h 3680460"/>
                  <a:gd name="connsiteX86" fmla="*/ 2619375 w 3008034"/>
                  <a:gd name="connsiteY86" fmla="*/ 2811780 h 3680460"/>
                  <a:gd name="connsiteX87" fmla="*/ 2634615 w 3008034"/>
                  <a:gd name="connsiteY87" fmla="*/ 2773680 h 3680460"/>
                  <a:gd name="connsiteX88" fmla="*/ 2665095 w 3008034"/>
                  <a:gd name="connsiteY88" fmla="*/ 2727960 h 3680460"/>
                  <a:gd name="connsiteX89" fmla="*/ 2680335 w 3008034"/>
                  <a:gd name="connsiteY89" fmla="*/ 2705100 h 3680460"/>
                  <a:gd name="connsiteX90" fmla="*/ 2695575 w 3008034"/>
                  <a:gd name="connsiteY90" fmla="*/ 2667000 h 3680460"/>
                  <a:gd name="connsiteX91" fmla="*/ 2718435 w 3008034"/>
                  <a:gd name="connsiteY91" fmla="*/ 2621280 h 3680460"/>
                  <a:gd name="connsiteX92" fmla="*/ 2726055 w 3008034"/>
                  <a:gd name="connsiteY92" fmla="*/ 2590800 h 3680460"/>
                  <a:gd name="connsiteX93" fmla="*/ 2748915 w 3008034"/>
                  <a:gd name="connsiteY93" fmla="*/ 2545080 h 3680460"/>
                  <a:gd name="connsiteX94" fmla="*/ 2779395 w 3008034"/>
                  <a:gd name="connsiteY94" fmla="*/ 2484120 h 3680460"/>
                  <a:gd name="connsiteX95" fmla="*/ 2802255 w 3008034"/>
                  <a:gd name="connsiteY95" fmla="*/ 2407920 h 3680460"/>
                  <a:gd name="connsiteX96" fmla="*/ 2832735 w 3008034"/>
                  <a:gd name="connsiteY96" fmla="*/ 2324100 h 3680460"/>
                  <a:gd name="connsiteX97" fmla="*/ 2847975 w 3008034"/>
                  <a:gd name="connsiteY97" fmla="*/ 2247900 h 3680460"/>
                  <a:gd name="connsiteX98" fmla="*/ 2863215 w 3008034"/>
                  <a:gd name="connsiteY98" fmla="*/ 2194560 h 3680460"/>
                  <a:gd name="connsiteX99" fmla="*/ 2878455 w 3008034"/>
                  <a:gd name="connsiteY99" fmla="*/ 2148840 h 3680460"/>
                  <a:gd name="connsiteX100" fmla="*/ 2901315 w 3008034"/>
                  <a:gd name="connsiteY100" fmla="*/ 2087880 h 3680460"/>
                  <a:gd name="connsiteX101" fmla="*/ 2908935 w 3008034"/>
                  <a:gd name="connsiteY101" fmla="*/ 2049780 h 3680460"/>
                  <a:gd name="connsiteX102" fmla="*/ 2924175 w 3008034"/>
                  <a:gd name="connsiteY102" fmla="*/ 1844040 h 3680460"/>
                  <a:gd name="connsiteX103" fmla="*/ 2908935 w 3008034"/>
                  <a:gd name="connsiteY103" fmla="*/ 1470660 h 3680460"/>
                  <a:gd name="connsiteX104" fmla="*/ 2886075 w 3008034"/>
                  <a:gd name="connsiteY104" fmla="*/ 1371600 h 3680460"/>
                  <a:gd name="connsiteX105" fmla="*/ 2870835 w 3008034"/>
                  <a:gd name="connsiteY105" fmla="*/ 1341120 h 3680460"/>
                  <a:gd name="connsiteX106" fmla="*/ 2847975 w 3008034"/>
                  <a:gd name="connsiteY106" fmla="*/ 1272540 h 3680460"/>
                  <a:gd name="connsiteX107" fmla="*/ 2840355 w 3008034"/>
                  <a:gd name="connsiteY107" fmla="*/ 1234440 h 3680460"/>
                  <a:gd name="connsiteX108" fmla="*/ 2817495 w 3008034"/>
                  <a:gd name="connsiteY108" fmla="*/ 1196340 h 3680460"/>
                  <a:gd name="connsiteX109" fmla="*/ 2802255 w 3008034"/>
                  <a:gd name="connsiteY109" fmla="*/ 1165860 h 3680460"/>
                  <a:gd name="connsiteX110" fmla="*/ 2771775 w 3008034"/>
                  <a:gd name="connsiteY110" fmla="*/ 1127760 h 3680460"/>
                  <a:gd name="connsiteX111" fmla="*/ 2756535 w 3008034"/>
                  <a:gd name="connsiteY111" fmla="*/ 1089660 h 3680460"/>
                  <a:gd name="connsiteX112" fmla="*/ 2726055 w 3008034"/>
                  <a:gd name="connsiteY112" fmla="*/ 1043940 h 3680460"/>
                  <a:gd name="connsiteX113" fmla="*/ 2718435 w 3008034"/>
                  <a:gd name="connsiteY113" fmla="*/ 1021080 h 3680460"/>
                  <a:gd name="connsiteX114" fmla="*/ 2672715 w 3008034"/>
                  <a:gd name="connsiteY114" fmla="*/ 937260 h 3680460"/>
                  <a:gd name="connsiteX115" fmla="*/ 2649855 w 3008034"/>
                  <a:gd name="connsiteY115" fmla="*/ 876300 h 3680460"/>
                  <a:gd name="connsiteX116" fmla="*/ 2634615 w 3008034"/>
                  <a:gd name="connsiteY116" fmla="*/ 845820 h 3680460"/>
                  <a:gd name="connsiteX117" fmla="*/ 2626995 w 3008034"/>
                  <a:gd name="connsiteY117" fmla="*/ 822960 h 3680460"/>
                  <a:gd name="connsiteX118" fmla="*/ 2611755 w 3008034"/>
                  <a:gd name="connsiteY118" fmla="*/ 800100 h 3680460"/>
                  <a:gd name="connsiteX119" fmla="*/ 2588895 w 3008034"/>
                  <a:gd name="connsiteY119" fmla="*/ 739140 h 3680460"/>
                  <a:gd name="connsiteX120" fmla="*/ 2448878 w 3008034"/>
                  <a:gd name="connsiteY120" fmla="*/ 621983 h 3680460"/>
                  <a:gd name="connsiteX121" fmla="*/ 2291715 w 3008034"/>
                  <a:gd name="connsiteY121" fmla="*/ 458152 h 3680460"/>
                  <a:gd name="connsiteX122" fmla="*/ 2227898 w 3008034"/>
                  <a:gd name="connsiteY122" fmla="*/ 406717 h 3680460"/>
                  <a:gd name="connsiteX123" fmla="*/ 2093595 w 3008034"/>
                  <a:gd name="connsiteY123" fmla="*/ 312420 h 3680460"/>
                  <a:gd name="connsiteX124" fmla="*/ 2032635 w 3008034"/>
                  <a:gd name="connsiteY124" fmla="*/ 266700 h 3680460"/>
                  <a:gd name="connsiteX125" fmla="*/ 1994535 w 3008034"/>
                  <a:gd name="connsiteY125" fmla="*/ 251460 h 3680460"/>
                  <a:gd name="connsiteX126" fmla="*/ 1948815 w 3008034"/>
                  <a:gd name="connsiteY126" fmla="*/ 220980 h 3680460"/>
                  <a:gd name="connsiteX127" fmla="*/ 1887855 w 3008034"/>
                  <a:gd name="connsiteY12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200275 w 3008034"/>
                  <a:gd name="connsiteY76" fmla="*/ 3276600 h 3680460"/>
                  <a:gd name="connsiteX77" fmla="*/ 2253615 w 3008034"/>
                  <a:gd name="connsiteY77" fmla="*/ 3230880 h 3680460"/>
                  <a:gd name="connsiteX78" fmla="*/ 2337435 w 3008034"/>
                  <a:gd name="connsiteY78" fmla="*/ 3154680 h 3680460"/>
                  <a:gd name="connsiteX79" fmla="*/ 2390775 w 3008034"/>
                  <a:gd name="connsiteY79" fmla="*/ 3070860 h 3680460"/>
                  <a:gd name="connsiteX80" fmla="*/ 2406015 w 3008034"/>
                  <a:gd name="connsiteY80" fmla="*/ 3048000 h 3680460"/>
                  <a:gd name="connsiteX81" fmla="*/ 2436495 w 3008034"/>
                  <a:gd name="connsiteY81" fmla="*/ 3032760 h 3680460"/>
                  <a:gd name="connsiteX82" fmla="*/ 2459355 w 3008034"/>
                  <a:gd name="connsiteY82" fmla="*/ 3009900 h 3680460"/>
                  <a:gd name="connsiteX83" fmla="*/ 2527935 w 3008034"/>
                  <a:gd name="connsiteY83" fmla="*/ 2926080 h 3680460"/>
                  <a:gd name="connsiteX84" fmla="*/ 2566035 w 3008034"/>
                  <a:gd name="connsiteY84" fmla="*/ 2880360 h 3680460"/>
                  <a:gd name="connsiteX85" fmla="*/ 2619375 w 3008034"/>
                  <a:gd name="connsiteY85" fmla="*/ 2811780 h 3680460"/>
                  <a:gd name="connsiteX86" fmla="*/ 2634615 w 3008034"/>
                  <a:gd name="connsiteY86" fmla="*/ 2773680 h 3680460"/>
                  <a:gd name="connsiteX87" fmla="*/ 2665095 w 3008034"/>
                  <a:gd name="connsiteY87" fmla="*/ 2727960 h 3680460"/>
                  <a:gd name="connsiteX88" fmla="*/ 2680335 w 3008034"/>
                  <a:gd name="connsiteY88" fmla="*/ 2705100 h 3680460"/>
                  <a:gd name="connsiteX89" fmla="*/ 2695575 w 3008034"/>
                  <a:gd name="connsiteY89" fmla="*/ 2667000 h 3680460"/>
                  <a:gd name="connsiteX90" fmla="*/ 2718435 w 3008034"/>
                  <a:gd name="connsiteY90" fmla="*/ 2621280 h 3680460"/>
                  <a:gd name="connsiteX91" fmla="*/ 2726055 w 3008034"/>
                  <a:gd name="connsiteY91" fmla="*/ 2590800 h 3680460"/>
                  <a:gd name="connsiteX92" fmla="*/ 2748915 w 3008034"/>
                  <a:gd name="connsiteY92" fmla="*/ 2545080 h 3680460"/>
                  <a:gd name="connsiteX93" fmla="*/ 2779395 w 3008034"/>
                  <a:gd name="connsiteY93" fmla="*/ 2484120 h 3680460"/>
                  <a:gd name="connsiteX94" fmla="*/ 2802255 w 3008034"/>
                  <a:gd name="connsiteY94" fmla="*/ 2407920 h 3680460"/>
                  <a:gd name="connsiteX95" fmla="*/ 2832735 w 3008034"/>
                  <a:gd name="connsiteY95" fmla="*/ 2324100 h 3680460"/>
                  <a:gd name="connsiteX96" fmla="*/ 2847975 w 3008034"/>
                  <a:gd name="connsiteY96" fmla="*/ 2247900 h 3680460"/>
                  <a:gd name="connsiteX97" fmla="*/ 2863215 w 3008034"/>
                  <a:gd name="connsiteY97" fmla="*/ 2194560 h 3680460"/>
                  <a:gd name="connsiteX98" fmla="*/ 2878455 w 3008034"/>
                  <a:gd name="connsiteY98" fmla="*/ 2148840 h 3680460"/>
                  <a:gd name="connsiteX99" fmla="*/ 2901315 w 3008034"/>
                  <a:gd name="connsiteY99" fmla="*/ 2087880 h 3680460"/>
                  <a:gd name="connsiteX100" fmla="*/ 2908935 w 3008034"/>
                  <a:gd name="connsiteY100" fmla="*/ 2049780 h 3680460"/>
                  <a:gd name="connsiteX101" fmla="*/ 2924175 w 3008034"/>
                  <a:gd name="connsiteY101" fmla="*/ 1844040 h 3680460"/>
                  <a:gd name="connsiteX102" fmla="*/ 2908935 w 3008034"/>
                  <a:gd name="connsiteY102" fmla="*/ 1470660 h 3680460"/>
                  <a:gd name="connsiteX103" fmla="*/ 2886075 w 3008034"/>
                  <a:gd name="connsiteY103" fmla="*/ 1371600 h 3680460"/>
                  <a:gd name="connsiteX104" fmla="*/ 2870835 w 3008034"/>
                  <a:gd name="connsiteY104" fmla="*/ 1341120 h 3680460"/>
                  <a:gd name="connsiteX105" fmla="*/ 2847975 w 3008034"/>
                  <a:gd name="connsiteY105" fmla="*/ 1272540 h 3680460"/>
                  <a:gd name="connsiteX106" fmla="*/ 2840355 w 3008034"/>
                  <a:gd name="connsiteY106" fmla="*/ 1234440 h 3680460"/>
                  <a:gd name="connsiteX107" fmla="*/ 2817495 w 3008034"/>
                  <a:gd name="connsiteY107" fmla="*/ 1196340 h 3680460"/>
                  <a:gd name="connsiteX108" fmla="*/ 2802255 w 3008034"/>
                  <a:gd name="connsiteY108" fmla="*/ 1165860 h 3680460"/>
                  <a:gd name="connsiteX109" fmla="*/ 2771775 w 3008034"/>
                  <a:gd name="connsiteY109" fmla="*/ 1127760 h 3680460"/>
                  <a:gd name="connsiteX110" fmla="*/ 2756535 w 3008034"/>
                  <a:gd name="connsiteY110" fmla="*/ 1089660 h 3680460"/>
                  <a:gd name="connsiteX111" fmla="*/ 2726055 w 3008034"/>
                  <a:gd name="connsiteY111" fmla="*/ 1043940 h 3680460"/>
                  <a:gd name="connsiteX112" fmla="*/ 2718435 w 3008034"/>
                  <a:gd name="connsiteY112" fmla="*/ 1021080 h 3680460"/>
                  <a:gd name="connsiteX113" fmla="*/ 2672715 w 3008034"/>
                  <a:gd name="connsiteY113" fmla="*/ 937260 h 3680460"/>
                  <a:gd name="connsiteX114" fmla="*/ 2649855 w 3008034"/>
                  <a:gd name="connsiteY114" fmla="*/ 876300 h 3680460"/>
                  <a:gd name="connsiteX115" fmla="*/ 2634615 w 3008034"/>
                  <a:gd name="connsiteY115" fmla="*/ 845820 h 3680460"/>
                  <a:gd name="connsiteX116" fmla="*/ 2626995 w 3008034"/>
                  <a:gd name="connsiteY116" fmla="*/ 822960 h 3680460"/>
                  <a:gd name="connsiteX117" fmla="*/ 2611755 w 3008034"/>
                  <a:gd name="connsiteY117" fmla="*/ 800100 h 3680460"/>
                  <a:gd name="connsiteX118" fmla="*/ 2588895 w 3008034"/>
                  <a:gd name="connsiteY118" fmla="*/ 739140 h 3680460"/>
                  <a:gd name="connsiteX119" fmla="*/ 2448878 w 3008034"/>
                  <a:gd name="connsiteY119" fmla="*/ 621983 h 3680460"/>
                  <a:gd name="connsiteX120" fmla="*/ 2291715 w 3008034"/>
                  <a:gd name="connsiteY120" fmla="*/ 458152 h 3680460"/>
                  <a:gd name="connsiteX121" fmla="*/ 2227898 w 3008034"/>
                  <a:gd name="connsiteY121" fmla="*/ 406717 h 3680460"/>
                  <a:gd name="connsiteX122" fmla="*/ 2093595 w 3008034"/>
                  <a:gd name="connsiteY122" fmla="*/ 312420 h 3680460"/>
                  <a:gd name="connsiteX123" fmla="*/ 2032635 w 3008034"/>
                  <a:gd name="connsiteY123" fmla="*/ 266700 h 3680460"/>
                  <a:gd name="connsiteX124" fmla="*/ 1994535 w 3008034"/>
                  <a:gd name="connsiteY124" fmla="*/ 251460 h 3680460"/>
                  <a:gd name="connsiteX125" fmla="*/ 1948815 w 3008034"/>
                  <a:gd name="connsiteY125" fmla="*/ 220980 h 3680460"/>
                  <a:gd name="connsiteX126" fmla="*/ 1887855 w 3008034"/>
                  <a:gd name="connsiteY12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200275 w 3008034"/>
                  <a:gd name="connsiteY76" fmla="*/ 3276600 h 3680460"/>
                  <a:gd name="connsiteX77" fmla="*/ 2337435 w 3008034"/>
                  <a:gd name="connsiteY77" fmla="*/ 3154680 h 3680460"/>
                  <a:gd name="connsiteX78" fmla="*/ 2390775 w 3008034"/>
                  <a:gd name="connsiteY78" fmla="*/ 3070860 h 3680460"/>
                  <a:gd name="connsiteX79" fmla="*/ 2406015 w 3008034"/>
                  <a:gd name="connsiteY79" fmla="*/ 3048000 h 3680460"/>
                  <a:gd name="connsiteX80" fmla="*/ 2436495 w 3008034"/>
                  <a:gd name="connsiteY80" fmla="*/ 3032760 h 3680460"/>
                  <a:gd name="connsiteX81" fmla="*/ 2459355 w 3008034"/>
                  <a:gd name="connsiteY81" fmla="*/ 3009900 h 3680460"/>
                  <a:gd name="connsiteX82" fmla="*/ 2527935 w 3008034"/>
                  <a:gd name="connsiteY82" fmla="*/ 2926080 h 3680460"/>
                  <a:gd name="connsiteX83" fmla="*/ 2566035 w 3008034"/>
                  <a:gd name="connsiteY83" fmla="*/ 2880360 h 3680460"/>
                  <a:gd name="connsiteX84" fmla="*/ 2619375 w 3008034"/>
                  <a:gd name="connsiteY84" fmla="*/ 2811780 h 3680460"/>
                  <a:gd name="connsiteX85" fmla="*/ 2634615 w 3008034"/>
                  <a:gd name="connsiteY85" fmla="*/ 2773680 h 3680460"/>
                  <a:gd name="connsiteX86" fmla="*/ 2665095 w 3008034"/>
                  <a:gd name="connsiteY86" fmla="*/ 2727960 h 3680460"/>
                  <a:gd name="connsiteX87" fmla="*/ 2680335 w 3008034"/>
                  <a:gd name="connsiteY87" fmla="*/ 2705100 h 3680460"/>
                  <a:gd name="connsiteX88" fmla="*/ 2695575 w 3008034"/>
                  <a:gd name="connsiteY88" fmla="*/ 2667000 h 3680460"/>
                  <a:gd name="connsiteX89" fmla="*/ 2718435 w 3008034"/>
                  <a:gd name="connsiteY89" fmla="*/ 2621280 h 3680460"/>
                  <a:gd name="connsiteX90" fmla="*/ 2726055 w 3008034"/>
                  <a:gd name="connsiteY90" fmla="*/ 2590800 h 3680460"/>
                  <a:gd name="connsiteX91" fmla="*/ 2748915 w 3008034"/>
                  <a:gd name="connsiteY91" fmla="*/ 2545080 h 3680460"/>
                  <a:gd name="connsiteX92" fmla="*/ 2779395 w 3008034"/>
                  <a:gd name="connsiteY92" fmla="*/ 2484120 h 3680460"/>
                  <a:gd name="connsiteX93" fmla="*/ 2802255 w 3008034"/>
                  <a:gd name="connsiteY93" fmla="*/ 2407920 h 3680460"/>
                  <a:gd name="connsiteX94" fmla="*/ 2832735 w 3008034"/>
                  <a:gd name="connsiteY94" fmla="*/ 2324100 h 3680460"/>
                  <a:gd name="connsiteX95" fmla="*/ 2847975 w 3008034"/>
                  <a:gd name="connsiteY95" fmla="*/ 2247900 h 3680460"/>
                  <a:gd name="connsiteX96" fmla="*/ 2863215 w 3008034"/>
                  <a:gd name="connsiteY96" fmla="*/ 2194560 h 3680460"/>
                  <a:gd name="connsiteX97" fmla="*/ 2878455 w 3008034"/>
                  <a:gd name="connsiteY97" fmla="*/ 2148840 h 3680460"/>
                  <a:gd name="connsiteX98" fmla="*/ 2901315 w 3008034"/>
                  <a:gd name="connsiteY98" fmla="*/ 2087880 h 3680460"/>
                  <a:gd name="connsiteX99" fmla="*/ 2908935 w 3008034"/>
                  <a:gd name="connsiteY99" fmla="*/ 2049780 h 3680460"/>
                  <a:gd name="connsiteX100" fmla="*/ 2924175 w 3008034"/>
                  <a:gd name="connsiteY100" fmla="*/ 1844040 h 3680460"/>
                  <a:gd name="connsiteX101" fmla="*/ 2908935 w 3008034"/>
                  <a:gd name="connsiteY101" fmla="*/ 1470660 h 3680460"/>
                  <a:gd name="connsiteX102" fmla="*/ 2886075 w 3008034"/>
                  <a:gd name="connsiteY102" fmla="*/ 1371600 h 3680460"/>
                  <a:gd name="connsiteX103" fmla="*/ 2870835 w 3008034"/>
                  <a:gd name="connsiteY103" fmla="*/ 1341120 h 3680460"/>
                  <a:gd name="connsiteX104" fmla="*/ 2847975 w 3008034"/>
                  <a:gd name="connsiteY104" fmla="*/ 1272540 h 3680460"/>
                  <a:gd name="connsiteX105" fmla="*/ 2840355 w 3008034"/>
                  <a:gd name="connsiteY105" fmla="*/ 1234440 h 3680460"/>
                  <a:gd name="connsiteX106" fmla="*/ 2817495 w 3008034"/>
                  <a:gd name="connsiteY106" fmla="*/ 1196340 h 3680460"/>
                  <a:gd name="connsiteX107" fmla="*/ 2802255 w 3008034"/>
                  <a:gd name="connsiteY107" fmla="*/ 1165860 h 3680460"/>
                  <a:gd name="connsiteX108" fmla="*/ 2771775 w 3008034"/>
                  <a:gd name="connsiteY108" fmla="*/ 1127760 h 3680460"/>
                  <a:gd name="connsiteX109" fmla="*/ 2756535 w 3008034"/>
                  <a:gd name="connsiteY109" fmla="*/ 1089660 h 3680460"/>
                  <a:gd name="connsiteX110" fmla="*/ 2726055 w 3008034"/>
                  <a:gd name="connsiteY110" fmla="*/ 1043940 h 3680460"/>
                  <a:gd name="connsiteX111" fmla="*/ 2718435 w 3008034"/>
                  <a:gd name="connsiteY111" fmla="*/ 1021080 h 3680460"/>
                  <a:gd name="connsiteX112" fmla="*/ 2672715 w 3008034"/>
                  <a:gd name="connsiteY112" fmla="*/ 937260 h 3680460"/>
                  <a:gd name="connsiteX113" fmla="*/ 2649855 w 3008034"/>
                  <a:gd name="connsiteY113" fmla="*/ 876300 h 3680460"/>
                  <a:gd name="connsiteX114" fmla="*/ 2634615 w 3008034"/>
                  <a:gd name="connsiteY114" fmla="*/ 845820 h 3680460"/>
                  <a:gd name="connsiteX115" fmla="*/ 2626995 w 3008034"/>
                  <a:gd name="connsiteY115" fmla="*/ 822960 h 3680460"/>
                  <a:gd name="connsiteX116" fmla="*/ 2611755 w 3008034"/>
                  <a:gd name="connsiteY116" fmla="*/ 800100 h 3680460"/>
                  <a:gd name="connsiteX117" fmla="*/ 2588895 w 3008034"/>
                  <a:gd name="connsiteY117" fmla="*/ 739140 h 3680460"/>
                  <a:gd name="connsiteX118" fmla="*/ 2448878 w 3008034"/>
                  <a:gd name="connsiteY118" fmla="*/ 621983 h 3680460"/>
                  <a:gd name="connsiteX119" fmla="*/ 2291715 w 3008034"/>
                  <a:gd name="connsiteY119" fmla="*/ 458152 h 3680460"/>
                  <a:gd name="connsiteX120" fmla="*/ 2227898 w 3008034"/>
                  <a:gd name="connsiteY120" fmla="*/ 406717 h 3680460"/>
                  <a:gd name="connsiteX121" fmla="*/ 2093595 w 3008034"/>
                  <a:gd name="connsiteY121" fmla="*/ 312420 h 3680460"/>
                  <a:gd name="connsiteX122" fmla="*/ 2032635 w 3008034"/>
                  <a:gd name="connsiteY122" fmla="*/ 266700 h 3680460"/>
                  <a:gd name="connsiteX123" fmla="*/ 1994535 w 3008034"/>
                  <a:gd name="connsiteY123" fmla="*/ 251460 h 3680460"/>
                  <a:gd name="connsiteX124" fmla="*/ 1948815 w 3008034"/>
                  <a:gd name="connsiteY124" fmla="*/ 220980 h 3680460"/>
                  <a:gd name="connsiteX125" fmla="*/ 1887855 w 3008034"/>
                  <a:gd name="connsiteY12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337435 w 3008034"/>
                  <a:gd name="connsiteY76" fmla="*/ 3154680 h 3680460"/>
                  <a:gd name="connsiteX77" fmla="*/ 2390775 w 3008034"/>
                  <a:gd name="connsiteY77" fmla="*/ 3070860 h 3680460"/>
                  <a:gd name="connsiteX78" fmla="*/ 2406015 w 3008034"/>
                  <a:gd name="connsiteY78" fmla="*/ 3048000 h 3680460"/>
                  <a:gd name="connsiteX79" fmla="*/ 2436495 w 3008034"/>
                  <a:gd name="connsiteY79" fmla="*/ 3032760 h 3680460"/>
                  <a:gd name="connsiteX80" fmla="*/ 2459355 w 3008034"/>
                  <a:gd name="connsiteY80" fmla="*/ 3009900 h 3680460"/>
                  <a:gd name="connsiteX81" fmla="*/ 2527935 w 3008034"/>
                  <a:gd name="connsiteY81" fmla="*/ 2926080 h 3680460"/>
                  <a:gd name="connsiteX82" fmla="*/ 2566035 w 3008034"/>
                  <a:gd name="connsiteY82" fmla="*/ 2880360 h 3680460"/>
                  <a:gd name="connsiteX83" fmla="*/ 2619375 w 3008034"/>
                  <a:gd name="connsiteY83" fmla="*/ 2811780 h 3680460"/>
                  <a:gd name="connsiteX84" fmla="*/ 2634615 w 3008034"/>
                  <a:gd name="connsiteY84" fmla="*/ 2773680 h 3680460"/>
                  <a:gd name="connsiteX85" fmla="*/ 2665095 w 3008034"/>
                  <a:gd name="connsiteY85" fmla="*/ 2727960 h 3680460"/>
                  <a:gd name="connsiteX86" fmla="*/ 2680335 w 3008034"/>
                  <a:gd name="connsiteY86" fmla="*/ 2705100 h 3680460"/>
                  <a:gd name="connsiteX87" fmla="*/ 2695575 w 3008034"/>
                  <a:gd name="connsiteY87" fmla="*/ 2667000 h 3680460"/>
                  <a:gd name="connsiteX88" fmla="*/ 2718435 w 3008034"/>
                  <a:gd name="connsiteY88" fmla="*/ 2621280 h 3680460"/>
                  <a:gd name="connsiteX89" fmla="*/ 2726055 w 3008034"/>
                  <a:gd name="connsiteY89" fmla="*/ 2590800 h 3680460"/>
                  <a:gd name="connsiteX90" fmla="*/ 2748915 w 3008034"/>
                  <a:gd name="connsiteY90" fmla="*/ 2545080 h 3680460"/>
                  <a:gd name="connsiteX91" fmla="*/ 2779395 w 3008034"/>
                  <a:gd name="connsiteY91" fmla="*/ 2484120 h 3680460"/>
                  <a:gd name="connsiteX92" fmla="*/ 2802255 w 3008034"/>
                  <a:gd name="connsiteY92" fmla="*/ 2407920 h 3680460"/>
                  <a:gd name="connsiteX93" fmla="*/ 2832735 w 3008034"/>
                  <a:gd name="connsiteY93" fmla="*/ 2324100 h 3680460"/>
                  <a:gd name="connsiteX94" fmla="*/ 2847975 w 3008034"/>
                  <a:gd name="connsiteY94" fmla="*/ 2247900 h 3680460"/>
                  <a:gd name="connsiteX95" fmla="*/ 2863215 w 3008034"/>
                  <a:gd name="connsiteY95" fmla="*/ 2194560 h 3680460"/>
                  <a:gd name="connsiteX96" fmla="*/ 2878455 w 3008034"/>
                  <a:gd name="connsiteY96" fmla="*/ 2148840 h 3680460"/>
                  <a:gd name="connsiteX97" fmla="*/ 2901315 w 3008034"/>
                  <a:gd name="connsiteY97" fmla="*/ 2087880 h 3680460"/>
                  <a:gd name="connsiteX98" fmla="*/ 2908935 w 3008034"/>
                  <a:gd name="connsiteY98" fmla="*/ 2049780 h 3680460"/>
                  <a:gd name="connsiteX99" fmla="*/ 2924175 w 3008034"/>
                  <a:gd name="connsiteY99" fmla="*/ 1844040 h 3680460"/>
                  <a:gd name="connsiteX100" fmla="*/ 2908935 w 3008034"/>
                  <a:gd name="connsiteY100" fmla="*/ 1470660 h 3680460"/>
                  <a:gd name="connsiteX101" fmla="*/ 2886075 w 3008034"/>
                  <a:gd name="connsiteY101" fmla="*/ 1371600 h 3680460"/>
                  <a:gd name="connsiteX102" fmla="*/ 2870835 w 3008034"/>
                  <a:gd name="connsiteY102" fmla="*/ 1341120 h 3680460"/>
                  <a:gd name="connsiteX103" fmla="*/ 2847975 w 3008034"/>
                  <a:gd name="connsiteY103" fmla="*/ 1272540 h 3680460"/>
                  <a:gd name="connsiteX104" fmla="*/ 2840355 w 3008034"/>
                  <a:gd name="connsiteY104" fmla="*/ 1234440 h 3680460"/>
                  <a:gd name="connsiteX105" fmla="*/ 2817495 w 3008034"/>
                  <a:gd name="connsiteY105" fmla="*/ 1196340 h 3680460"/>
                  <a:gd name="connsiteX106" fmla="*/ 2802255 w 3008034"/>
                  <a:gd name="connsiteY106" fmla="*/ 1165860 h 3680460"/>
                  <a:gd name="connsiteX107" fmla="*/ 2771775 w 3008034"/>
                  <a:gd name="connsiteY107" fmla="*/ 1127760 h 3680460"/>
                  <a:gd name="connsiteX108" fmla="*/ 2756535 w 3008034"/>
                  <a:gd name="connsiteY108" fmla="*/ 1089660 h 3680460"/>
                  <a:gd name="connsiteX109" fmla="*/ 2726055 w 3008034"/>
                  <a:gd name="connsiteY109" fmla="*/ 1043940 h 3680460"/>
                  <a:gd name="connsiteX110" fmla="*/ 2718435 w 3008034"/>
                  <a:gd name="connsiteY110" fmla="*/ 1021080 h 3680460"/>
                  <a:gd name="connsiteX111" fmla="*/ 2672715 w 3008034"/>
                  <a:gd name="connsiteY111" fmla="*/ 937260 h 3680460"/>
                  <a:gd name="connsiteX112" fmla="*/ 2649855 w 3008034"/>
                  <a:gd name="connsiteY112" fmla="*/ 876300 h 3680460"/>
                  <a:gd name="connsiteX113" fmla="*/ 2634615 w 3008034"/>
                  <a:gd name="connsiteY113" fmla="*/ 845820 h 3680460"/>
                  <a:gd name="connsiteX114" fmla="*/ 2626995 w 3008034"/>
                  <a:gd name="connsiteY114" fmla="*/ 822960 h 3680460"/>
                  <a:gd name="connsiteX115" fmla="*/ 2611755 w 3008034"/>
                  <a:gd name="connsiteY115" fmla="*/ 800100 h 3680460"/>
                  <a:gd name="connsiteX116" fmla="*/ 2588895 w 3008034"/>
                  <a:gd name="connsiteY116" fmla="*/ 739140 h 3680460"/>
                  <a:gd name="connsiteX117" fmla="*/ 2448878 w 3008034"/>
                  <a:gd name="connsiteY117" fmla="*/ 621983 h 3680460"/>
                  <a:gd name="connsiteX118" fmla="*/ 2291715 w 3008034"/>
                  <a:gd name="connsiteY118" fmla="*/ 458152 h 3680460"/>
                  <a:gd name="connsiteX119" fmla="*/ 2227898 w 3008034"/>
                  <a:gd name="connsiteY119" fmla="*/ 406717 h 3680460"/>
                  <a:gd name="connsiteX120" fmla="*/ 2093595 w 3008034"/>
                  <a:gd name="connsiteY120" fmla="*/ 312420 h 3680460"/>
                  <a:gd name="connsiteX121" fmla="*/ 2032635 w 3008034"/>
                  <a:gd name="connsiteY121" fmla="*/ 266700 h 3680460"/>
                  <a:gd name="connsiteX122" fmla="*/ 1994535 w 3008034"/>
                  <a:gd name="connsiteY122" fmla="*/ 251460 h 3680460"/>
                  <a:gd name="connsiteX123" fmla="*/ 1948815 w 3008034"/>
                  <a:gd name="connsiteY123" fmla="*/ 220980 h 3680460"/>
                  <a:gd name="connsiteX124" fmla="*/ 1887855 w 3008034"/>
                  <a:gd name="connsiteY12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06015 w 3008034"/>
                  <a:gd name="connsiteY77" fmla="*/ 3048000 h 3680460"/>
                  <a:gd name="connsiteX78" fmla="*/ 2436495 w 3008034"/>
                  <a:gd name="connsiteY78" fmla="*/ 3032760 h 3680460"/>
                  <a:gd name="connsiteX79" fmla="*/ 2459355 w 3008034"/>
                  <a:gd name="connsiteY79" fmla="*/ 3009900 h 3680460"/>
                  <a:gd name="connsiteX80" fmla="*/ 2527935 w 3008034"/>
                  <a:gd name="connsiteY80" fmla="*/ 2926080 h 3680460"/>
                  <a:gd name="connsiteX81" fmla="*/ 2566035 w 3008034"/>
                  <a:gd name="connsiteY81" fmla="*/ 2880360 h 3680460"/>
                  <a:gd name="connsiteX82" fmla="*/ 2619375 w 3008034"/>
                  <a:gd name="connsiteY82" fmla="*/ 2811780 h 3680460"/>
                  <a:gd name="connsiteX83" fmla="*/ 2634615 w 3008034"/>
                  <a:gd name="connsiteY83" fmla="*/ 2773680 h 3680460"/>
                  <a:gd name="connsiteX84" fmla="*/ 2665095 w 3008034"/>
                  <a:gd name="connsiteY84" fmla="*/ 2727960 h 3680460"/>
                  <a:gd name="connsiteX85" fmla="*/ 2680335 w 3008034"/>
                  <a:gd name="connsiteY85" fmla="*/ 2705100 h 3680460"/>
                  <a:gd name="connsiteX86" fmla="*/ 2695575 w 3008034"/>
                  <a:gd name="connsiteY86" fmla="*/ 2667000 h 3680460"/>
                  <a:gd name="connsiteX87" fmla="*/ 2718435 w 3008034"/>
                  <a:gd name="connsiteY87" fmla="*/ 2621280 h 3680460"/>
                  <a:gd name="connsiteX88" fmla="*/ 2726055 w 3008034"/>
                  <a:gd name="connsiteY88" fmla="*/ 2590800 h 3680460"/>
                  <a:gd name="connsiteX89" fmla="*/ 2748915 w 3008034"/>
                  <a:gd name="connsiteY89" fmla="*/ 2545080 h 3680460"/>
                  <a:gd name="connsiteX90" fmla="*/ 2779395 w 3008034"/>
                  <a:gd name="connsiteY90" fmla="*/ 2484120 h 3680460"/>
                  <a:gd name="connsiteX91" fmla="*/ 2802255 w 3008034"/>
                  <a:gd name="connsiteY91" fmla="*/ 2407920 h 3680460"/>
                  <a:gd name="connsiteX92" fmla="*/ 2832735 w 3008034"/>
                  <a:gd name="connsiteY92" fmla="*/ 2324100 h 3680460"/>
                  <a:gd name="connsiteX93" fmla="*/ 2847975 w 3008034"/>
                  <a:gd name="connsiteY93" fmla="*/ 2247900 h 3680460"/>
                  <a:gd name="connsiteX94" fmla="*/ 2863215 w 3008034"/>
                  <a:gd name="connsiteY94" fmla="*/ 2194560 h 3680460"/>
                  <a:gd name="connsiteX95" fmla="*/ 2878455 w 3008034"/>
                  <a:gd name="connsiteY95" fmla="*/ 2148840 h 3680460"/>
                  <a:gd name="connsiteX96" fmla="*/ 2901315 w 3008034"/>
                  <a:gd name="connsiteY96" fmla="*/ 2087880 h 3680460"/>
                  <a:gd name="connsiteX97" fmla="*/ 2908935 w 3008034"/>
                  <a:gd name="connsiteY97" fmla="*/ 2049780 h 3680460"/>
                  <a:gd name="connsiteX98" fmla="*/ 2924175 w 3008034"/>
                  <a:gd name="connsiteY98" fmla="*/ 1844040 h 3680460"/>
                  <a:gd name="connsiteX99" fmla="*/ 2908935 w 3008034"/>
                  <a:gd name="connsiteY99" fmla="*/ 1470660 h 3680460"/>
                  <a:gd name="connsiteX100" fmla="*/ 2886075 w 3008034"/>
                  <a:gd name="connsiteY100" fmla="*/ 1371600 h 3680460"/>
                  <a:gd name="connsiteX101" fmla="*/ 2870835 w 3008034"/>
                  <a:gd name="connsiteY101" fmla="*/ 1341120 h 3680460"/>
                  <a:gd name="connsiteX102" fmla="*/ 2847975 w 3008034"/>
                  <a:gd name="connsiteY102" fmla="*/ 1272540 h 3680460"/>
                  <a:gd name="connsiteX103" fmla="*/ 2840355 w 3008034"/>
                  <a:gd name="connsiteY103" fmla="*/ 1234440 h 3680460"/>
                  <a:gd name="connsiteX104" fmla="*/ 2817495 w 3008034"/>
                  <a:gd name="connsiteY104" fmla="*/ 1196340 h 3680460"/>
                  <a:gd name="connsiteX105" fmla="*/ 2802255 w 3008034"/>
                  <a:gd name="connsiteY105" fmla="*/ 1165860 h 3680460"/>
                  <a:gd name="connsiteX106" fmla="*/ 2771775 w 3008034"/>
                  <a:gd name="connsiteY106" fmla="*/ 1127760 h 3680460"/>
                  <a:gd name="connsiteX107" fmla="*/ 2756535 w 3008034"/>
                  <a:gd name="connsiteY107" fmla="*/ 1089660 h 3680460"/>
                  <a:gd name="connsiteX108" fmla="*/ 2726055 w 3008034"/>
                  <a:gd name="connsiteY108" fmla="*/ 1043940 h 3680460"/>
                  <a:gd name="connsiteX109" fmla="*/ 2718435 w 3008034"/>
                  <a:gd name="connsiteY109" fmla="*/ 1021080 h 3680460"/>
                  <a:gd name="connsiteX110" fmla="*/ 2672715 w 3008034"/>
                  <a:gd name="connsiteY110" fmla="*/ 937260 h 3680460"/>
                  <a:gd name="connsiteX111" fmla="*/ 2649855 w 3008034"/>
                  <a:gd name="connsiteY111" fmla="*/ 876300 h 3680460"/>
                  <a:gd name="connsiteX112" fmla="*/ 2634615 w 3008034"/>
                  <a:gd name="connsiteY112" fmla="*/ 845820 h 3680460"/>
                  <a:gd name="connsiteX113" fmla="*/ 2626995 w 3008034"/>
                  <a:gd name="connsiteY113" fmla="*/ 822960 h 3680460"/>
                  <a:gd name="connsiteX114" fmla="*/ 2611755 w 3008034"/>
                  <a:gd name="connsiteY114" fmla="*/ 800100 h 3680460"/>
                  <a:gd name="connsiteX115" fmla="*/ 2588895 w 3008034"/>
                  <a:gd name="connsiteY115" fmla="*/ 739140 h 3680460"/>
                  <a:gd name="connsiteX116" fmla="*/ 2448878 w 3008034"/>
                  <a:gd name="connsiteY116" fmla="*/ 621983 h 3680460"/>
                  <a:gd name="connsiteX117" fmla="*/ 2291715 w 3008034"/>
                  <a:gd name="connsiteY117" fmla="*/ 458152 h 3680460"/>
                  <a:gd name="connsiteX118" fmla="*/ 2227898 w 3008034"/>
                  <a:gd name="connsiteY118" fmla="*/ 406717 h 3680460"/>
                  <a:gd name="connsiteX119" fmla="*/ 2093595 w 3008034"/>
                  <a:gd name="connsiteY119" fmla="*/ 312420 h 3680460"/>
                  <a:gd name="connsiteX120" fmla="*/ 2032635 w 3008034"/>
                  <a:gd name="connsiteY120" fmla="*/ 266700 h 3680460"/>
                  <a:gd name="connsiteX121" fmla="*/ 1994535 w 3008034"/>
                  <a:gd name="connsiteY121" fmla="*/ 251460 h 3680460"/>
                  <a:gd name="connsiteX122" fmla="*/ 1948815 w 3008034"/>
                  <a:gd name="connsiteY122" fmla="*/ 220980 h 3680460"/>
                  <a:gd name="connsiteX123" fmla="*/ 1887855 w 3008034"/>
                  <a:gd name="connsiteY12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06015 w 3008034"/>
                  <a:gd name="connsiteY77" fmla="*/ 3048000 h 3680460"/>
                  <a:gd name="connsiteX78" fmla="*/ 2436495 w 3008034"/>
                  <a:gd name="connsiteY78" fmla="*/ 3032760 h 3680460"/>
                  <a:gd name="connsiteX79" fmla="*/ 2459355 w 3008034"/>
                  <a:gd name="connsiteY79" fmla="*/ 3009900 h 3680460"/>
                  <a:gd name="connsiteX80" fmla="*/ 2527935 w 3008034"/>
                  <a:gd name="connsiteY80" fmla="*/ 2926080 h 3680460"/>
                  <a:gd name="connsiteX81" fmla="*/ 2566035 w 3008034"/>
                  <a:gd name="connsiteY81" fmla="*/ 2880360 h 3680460"/>
                  <a:gd name="connsiteX82" fmla="*/ 2619375 w 3008034"/>
                  <a:gd name="connsiteY82" fmla="*/ 2811780 h 3680460"/>
                  <a:gd name="connsiteX83" fmla="*/ 2634615 w 3008034"/>
                  <a:gd name="connsiteY83" fmla="*/ 2773680 h 3680460"/>
                  <a:gd name="connsiteX84" fmla="*/ 2665095 w 3008034"/>
                  <a:gd name="connsiteY84" fmla="*/ 2727960 h 3680460"/>
                  <a:gd name="connsiteX85" fmla="*/ 2680335 w 3008034"/>
                  <a:gd name="connsiteY85" fmla="*/ 2705100 h 3680460"/>
                  <a:gd name="connsiteX86" fmla="*/ 2695575 w 3008034"/>
                  <a:gd name="connsiteY86" fmla="*/ 2667000 h 3680460"/>
                  <a:gd name="connsiteX87" fmla="*/ 2718435 w 3008034"/>
                  <a:gd name="connsiteY87" fmla="*/ 2621280 h 3680460"/>
                  <a:gd name="connsiteX88" fmla="*/ 2726055 w 3008034"/>
                  <a:gd name="connsiteY88" fmla="*/ 2590800 h 3680460"/>
                  <a:gd name="connsiteX89" fmla="*/ 2748915 w 3008034"/>
                  <a:gd name="connsiteY89" fmla="*/ 2545080 h 3680460"/>
                  <a:gd name="connsiteX90" fmla="*/ 2779395 w 3008034"/>
                  <a:gd name="connsiteY90" fmla="*/ 2484120 h 3680460"/>
                  <a:gd name="connsiteX91" fmla="*/ 2802255 w 3008034"/>
                  <a:gd name="connsiteY91" fmla="*/ 2407920 h 3680460"/>
                  <a:gd name="connsiteX92" fmla="*/ 2832735 w 3008034"/>
                  <a:gd name="connsiteY92" fmla="*/ 2324100 h 3680460"/>
                  <a:gd name="connsiteX93" fmla="*/ 2847975 w 3008034"/>
                  <a:gd name="connsiteY93" fmla="*/ 2247900 h 3680460"/>
                  <a:gd name="connsiteX94" fmla="*/ 2863215 w 3008034"/>
                  <a:gd name="connsiteY94" fmla="*/ 2194560 h 3680460"/>
                  <a:gd name="connsiteX95" fmla="*/ 2878455 w 3008034"/>
                  <a:gd name="connsiteY95" fmla="*/ 2148840 h 3680460"/>
                  <a:gd name="connsiteX96" fmla="*/ 2901315 w 3008034"/>
                  <a:gd name="connsiteY96" fmla="*/ 2087880 h 3680460"/>
                  <a:gd name="connsiteX97" fmla="*/ 2908935 w 3008034"/>
                  <a:gd name="connsiteY97" fmla="*/ 2049780 h 3680460"/>
                  <a:gd name="connsiteX98" fmla="*/ 2924175 w 3008034"/>
                  <a:gd name="connsiteY98" fmla="*/ 1844040 h 3680460"/>
                  <a:gd name="connsiteX99" fmla="*/ 2908935 w 3008034"/>
                  <a:gd name="connsiteY99" fmla="*/ 1470660 h 3680460"/>
                  <a:gd name="connsiteX100" fmla="*/ 2886075 w 3008034"/>
                  <a:gd name="connsiteY100" fmla="*/ 1371600 h 3680460"/>
                  <a:gd name="connsiteX101" fmla="*/ 2870835 w 3008034"/>
                  <a:gd name="connsiteY101" fmla="*/ 1341120 h 3680460"/>
                  <a:gd name="connsiteX102" fmla="*/ 2847975 w 3008034"/>
                  <a:gd name="connsiteY102" fmla="*/ 1272540 h 3680460"/>
                  <a:gd name="connsiteX103" fmla="*/ 2840355 w 3008034"/>
                  <a:gd name="connsiteY103" fmla="*/ 1234440 h 3680460"/>
                  <a:gd name="connsiteX104" fmla="*/ 2817495 w 3008034"/>
                  <a:gd name="connsiteY104" fmla="*/ 1196340 h 3680460"/>
                  <a:gd name="connsiteX105" fmla="*/ 2802255 w 3008034"/>
                  <a:gd name="connsiteY105" fmla="*/ 1165860 h 3680460"/>
                  <a:gd name="connsiteX106" fmla="*/ 2771775 w 3008034"/>
                  <a:gd name="connsiteY106" fmla="*/ 1127760 h 3680460"/>
                  <a:gd name="connsiteX107" fmla="*/ 2756535 w 3008034"/>
                  <a:gd name="connsiteY107" fmla="*/ 1089660 h 3680460"/>
                  <a:gd name="connsiteX108" fmla="*/ 2726055 w 3008034"/>
                  <a:gd name="connsiteY108" fmla="*/ 1043940 h 3680460"/>
                  <a:gd name="connsiteX109" fmla="*/ 2718435 w 3008034"/>
                  <a:gd name="connsiteY109" fmla="*/ 1021080 h 3680460"/>
                  <a:gd name="connsiteX110" fmla="*/ 2672715 w 3008034"/>
                  <a:gd name="connsiteY110" fmla="*/ 937260 h 3680460"/>
                  <a:gd name="connsiteX111" fmla="*/ 2649855 w 3008034"/>
                  <a:gd name="connsiteY111" fmla="*/ 876300 h 3680460"/>
                  <a:gd name="connsiteX112" fmla="*/ 2634615 w 3008034"/>
                  <a:gd name="connsiteY112" fmla="*/ 845820 h 3680460"/>
                  <a:gd name="connsiteX113" fmla="*/ 2626995 w 3008034"/>
                  <a:gd name="connsiteY113" fmla="*/ 822960 h 3680460"/>
                  <a:gd name="connsiteX114" fmla="*/ 2611755 w 3008034"/>
                  <a:gd name="connsiteY114" fmla="*/ 800100 h 3680460"/>
                  <a:gd name="connsiteX115" fmla="*/ 2588895 w 3008034"/>
                  <a:gd name="connsiteY115" fmla="*/ 739140 h 3680460"/>
                  <a:gd name="connsiteX116" fmla="*/ 2448878 w 3008034"/>
                  <a:gd name="connsiteY116" fmla="*/ 621983 h 3680460"/>
                  <a:gd name="connsiteX117" fmla="*/ 2291715 w 3008034"/>
                  <a:gd name="connsiteY117" fmla="*/ 458152 h 3680460"/>
                  <a:gd name="connsiteX118" fmla="*/ 2227898 w 3008034"/>
                  <a:gd name="connsiteY118" fmla="*/ 406717 h 3680460"/>
                  <a:gd name="connsiteX119" fmla="*/ 2093595 w 3008034"/>
                  <a:gd name="connsiteY119" fmla="*/ 312420 h 3680460"/>
                  <a:gd name="connsiteX120" fmla="*/ 2032635 w 3008034"/>
                  <a:gd name="connsiteY120" fmla="*/ 266700 h 3680460"/>
                  <a:gd name="connsiteX121" fmla="*/ 1994535 w 3008034"/>
                  <a:gd name="connsiteY121" fmla="*/ 251460 h 3680460"/>
                  <a:gd name="connsiteX122" fmla="*/ 1948815 w 3008034"/>
                  <a:gd name="connsiteY122" fmla="*/ 220980 h 3680460"/>
                  <a:gd name="connsiteX123" fmla="*/ 1887855 w 3008034"/>
                  <a:gd name="connsiteY12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36495 w 3008034"/>
                  <a:gd name="connsiteY77" fmla="*/ 3032760 h 3680460"/>
                  <a:gd name="connsiteX78" fmla="*/ 2459355 w 3008034"/>
                  <a:gd name="connsiteY78" fmla="*/ 3009900 h 3680460"/>
                  <a:gd name="connsiteX79" fmla="*/ 2527935 w 3008034"/>
                  <a:gd name="connsiteY79" fmla="*/ 2926080 h 3680460"/>
                  <a:gd name="connsiteX80" fmla="*/ 2566035 w 3008034"/>
                  <a:gd name="connsiteY80" fmla="*/ 2880360 h 3680460"/>
                  <a:gd name="connsiteX81" fmla="*/ 2619375 w 3008034"/>
                  <a:gd name="connsiteY81" fmla="*/ 2811780 h 3680460"/>
                  <a:gd name="connsiteX82" fmla="*/ 2634615 w 3008034"/>
                  <a:gd name="connsiteY82" fmla="*/ 2773680 h 3680460"/>
                  <a:gd name="connsiteX83" fmla="*/ 2665095 w 3008034"/>
                  <a:gd name="connsiteY83" fmla="*/ 2727960 h 3680460"/>
                  <a:gd name="connsiteX84" fmla="*/ 2680335 w 3008034"/>
                  <a:gd name="connsiteY84" fmla="*/ 2705100 h 3680460"/>
                  <a:gd name="connsiteX85" fmla="*/ 2695575 w 3008034"/>
                  <a:gd name="connsiteY85" fmla="*/ 2667000 h 3680460"/>
                  <a:gd name="connsiteX86" fmla="*/ 2718435 w 3008034"/>
                  <a:gd name="connsiteY86" fmla="*/ 2621280 h 3680460"/>
                  <a:gd name="connsiteX87" fmla="*/ 2726055 w 3008034"/>
                  <a:gd name="connsiteY87" fmla="*/ 2590800 h 3680460"/>
                  <a:gd name="connsiteX88" fmla="*/ 2748915 w 3008034"/>
                  <a:gd name="connsiteY88" fmla="*/ 2545080 h 3680460"/>
                  <a:gd name="connsiteX89" fmla="*/ 2779395 w 3008034"/>
                  <a:gd name="connsiteY89" fmla="*/ 2484120 h 3680460"/>
                  <a:gd name="connsiteX90" fmla="*/ 2802255 w 3008034"/>
                  <a:gd name="connsiteY90" fmla="*/ 2407920 h 3680460"/>
                  <a:gd name="connsiteX91" fmla="*/ 2832735 w 3008034"/>
                  <a:gd name="connsiteY91" fmla="*/ 2324100 h 3680460"/>
                  <a:gd name="connsiteX92" fmla="*/ 2847975 w 3008034"/>
                  <a:gd name="connsiteY92" fmla="*/ 2247900 h 3680460"/>
                  <a:gd name="connsiteX93" fmla="*/ 2863215 w 3008034"/>
                  <a:gd name="connsiteY93" fmla="*/ 2194560 h 3680460"/>
                  <a:gd name="connsiteX94" fmla="*/ 2878455 w 3008034"/>
                  <a:gd name="connsiteY94" fmla="*/ 2148840 h 3680460"/>
                  <a:gd name="connsiteX95" fmla="*/ 2901315 w 3008034"/>
                  <a:gd name="connsiteY95" fmla="*/ 2087880 h 3680460"/>
                  <a:gd name="connsiteX96" fmla="*/ 2908935 w 3008034"/>
                  <a:gd name="connsiteY96" fmla="*/ 2049780 h 3680460"/>
                  <a:gd name="connsiteX97" fmla="*/ 2924175 w 3008034"/>
                  <a:gd name="connsiteY97" fmla="*/ 1844040 h 3680460"/>
                  <a:gd name="connsiteX98" fmla="*/ 2908935 w 3008034"/>
                  <a:gd name="connsiteY98" fmla="*/ 1470660 h 3680460"/>
                  <a:gd name="connsiteX99" fmla="*/ 2886075 w 3008034"/>
                  <a:gd name="connsiteY99" fmla="*/ 1371600 h 3680460"/>
                  <a:gd name="connsiteX100" fmla="*/ 2870835 w 3008034"/>
                  <a:gd name="connsiteY100" fmla="*/ 1341120 h 3680460"/>
                  <a:gd name="connsiteX101" fmla="*/ 2847975 w 3008034"/>
                  <a:gd name="connsiteY101" fmla="*/ 1272540 h 3680460"/>
                  <a:gd name="connsiteX102" fmla="*/ 2840355 w 3008034"/>
                  <a:gd name="connsiteY102" fmla="*/ 1234440 h 3680460"/>
                  <a:gd name="connsiteX103" fmla="*/ 2817495 w 3008034"/>
                  <a:gd name="connsiteY103" fmla="*/ 1196340 h 3680460"/>
                  <a:gd name="connsiteX104" fmla="*/ 2802255 w 3008034"/>
                  <a:gd name="connsiteY104" fmla="*/ 1165860 h 3680460"/>
                  <a:gd name="connsiteX105" fmla="*/ 2771775 w 3008034"/>
                  <a:gd name="connsiteY105" fmla="*/ 1127760 h 3680460"/>
                  <a:gd name="connsiteX106" fmla="*/ 2756535 w 3008034"/>
                  <a:gd name="connsiteY106" fmla="*/ 1089660 h 3680460"/>
                  <a:gd name="connsiteX107" fmla="*/ 2726055 w 3008034"/>
                  <a:gd name="connsiteY107" fmla="*/ 1043940 h 3680460"/>
                  <a:gd name="connsiteX108" fmla="*/ 2718435 w 3008034"/>
                  <a:gd name="connsiteY108" fmla="*/ 1021080 h 3680460"/>
                  <a:gd name="connsiteX109" fmla="*/ 2672715 w 3008034"/>
                  <a:gd name="connsiteY109" fmla="*/ 937260 h 3680460"/>
                  <a:gd name="connsiteX110" fmla="*/ 2649855 w 3008034"/>
                  <a:gd name="connsiteY110" fmla="*/ 876300 h 3680460"/>
                  <a:gd name="connsiteX111" fmla="*/ 2634615 w 3008034"/>
                  <a:gd name="connsiteY111" fmla="*/ 845820 h 3680460"/>
                  <a:gd name="connsiteX112" fmla="*/ 2626995 w 3008034"/>
                  <a:gd name="connsiteY112" fmla="*/ 822960 h 3680460"/>
                  <a:gd name="connsiteX113" fmla="*/ 2611755 w 3008034"/>
                  <a:gd name="connsiteY113" fmla="*/ 800100 h 3680460"/>
                  <a:gd name="connsiteX114" fmla="*/ 2588895 w 3008034"/>
                  <a:gd name="connsiteY114" fmla="*/ 739140 h 3680460"/>
                  <a:gd name="connsiteX115" fmla="*/ 2448878 w 3008034"/>
                  <a:gd name="connsiteY115" fmla="*/ 621983 h 3680460"/>
                  <a:gd name="connsiteX116" fmla="*/ 2291715 w 3008034"/>
                  <a:gd name="connsiteY116" fmla="*/ 458152 h 3680460"/>
                  <a:gd name="connsiteX117" fmla="*/ 2227898 w 3008034"/>
                  <a:gd name="connsiteY117" fmla="*/ 406717 h 3680460"/>
                  <a:gd name="connsiteX118" fmla="*/ 2093595 w 3008034"/>
                  <a:gd name="connsiteY118" fmla="*/ 312420 h 3680460"/>
                  <a:gd name="connsiteX119" fmla="*/ 2032635 w 3008034"/>
                  <a:gd name="connsiteY119" fmla="*/ 266700 h 3680460"/>
                  <a:gd name="connsiteX120" fmla="*/ 1994535 w 3008034"/>
                  <a:gd name="connsiteY120" fmla="*/ 251460 h 3680460"/>
                  <a:gd name="connsiteX121" fmla="*/ 1948815 w 3008034"/>
                  <a:gd name="connsiteY121" fmla="*/ 220980 h 3680460"/>
                  <a:gd name="connsiteX122" fmla="*/ 1887855 w 3008034"/>
                  <a:gd name="connsiteY12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566035 w 3008034"/>
                  <a:gd name="connsiteY79" fmla="*/ 2880360 h 3680460"/>
                  <a:gd name="connsiteX80" fmla="*/ 2619375 w 3008034"/>
                  <a:gd name="connsiteY80" fmla="*/ 2811780 h 3680460"/>
                  <a:gd name="connsiteX81" fmla="*/ 2634615 w 3008034"/>
                  <a:gd name="connsiteY81" fmla="*/ 2773680 h 3680460"/>
                  <a:gd name="connsiteX82" fmla="*/ 2665095 w 3008034"/>
                  <a:gd name="connsiteY82" fmla="*/ 2727960 h 3680460"/>
                  <a:gd name="connsiteX83" fmla="*/ 2680335 w 3008034"/>
                  <a:gd name="connsiteY83" fmla="*/ 2705100 h 3680460"/>
                  <a:gd name="connsiteX84" fmla="*/ 2695575 w 3008034"/>
                  <a:gd name="connsiteY84" fmla="*/ 2667000 h 3680460"/>
                  <a:gd name="connsiteX85" fmla="*/ 2718435 w 3008034"/>
                  <a:gd name="connsiteY85" fmla="*/ 2621280 h 3680460"/>
                  <a:gd name="connsiteX86" fmla="*/ 2726055 w 3008034"/>
                  <a:gd name="connsiteY86" fmla="*/ 2590800 h 3680460"/>
                  <a:gd name="connsiteX87" fmla="*/ 2748915 w 3008034"/>
                  <a:gd name="connsiteY87" fmla="*/ 2545080 h 3680460"/>
                  <a:gd name="connsiteX88" fmla="*/ 2779395 w 3008034"/>
                  <a:gd name="connsiteY88" fmla="*/ 2484120 h 3680460"/>
                  <a:gd name="connsiteX89" fmla="*/ 2802255 w 3008034"/>
                  <a:gd name="connsiteY89" fmla="*/ 2407920 h 3680460"/>
                  <a:gd name="connsiteX90" fmla="*/ 2832735 w 3008034"/>
                  <a:gd name="connsiteY90" fmla="*/ 2324100 h 3680460"/>
                  <a:gd name="connsiteX91" fmla="*/ 2847975 w 3008034"/>
                  <a:gd name="connsiteY91" fmla="*/ 2247900 h 3680460"/>
                  <a:gd name="connsiteX92" fmla="*/ 2863215 w 3008034"/>
                  <a:gd name="connsiteY92" fmla="*/ 2194560 h 3680460"/>
                  <a:gd name="connsiteX93" fmla="*/ 2878455 w 3008034"/>
                  <a:gd name="connsiteY93" fmla="*/ 2148840 h 3680460"/>
                  <a:gd name="connsiteX94" fmla="*/ 2901315 w 3008034"/>
                  <a:gd name="connsiteY94" fmla="*/ 2087880 h 3680460"/>
                  <a:gd name="connsiteX95" fmla="*/ 2908935 w 3008034"/>
                  <a:gd name="connsiteY95" fmla="*/ 2049780 h 3680460"/>
                  <a:gd name="connsiteX96" fmla="*/ 2924175 w 3008034"/>
                  <a:gd name="connsiteY96" fmla="*/ 1844040 h 3680460"/>
                  <a:gd name="connsiteX97" fmla="*/ 2908935 w 3008034"/>
                  <a:gd name="connsiteY97" fmla="*/ 1470660 h 3680460"/>
                  <a:gd name="connsiteX98" fmla="*/ 2886075 w 3008034"/>
                  <a:gd name="connsiteY98" fmla="*/ 1371600 h 3680460"/>
                  <a:gd name="connsiteX99" fmla="*/ 2870835 w 3008034"/>
                  <a:gd name="connsiteY99" fmla="*/ 1341120 h 3680460"/>
                  <a:gd name="connsiteX100" fmla="*/ 2847975 w 3008034"/>
                  <a:gd name="connsiteY100" fmla="*/ 1272540 h 3680460"/>
                  <a:gd name="connsiteX101" fmla="*/ 2840355 w 3008034"/>
                  <a:gd name="connsiteY101" fmla="*/ 1234440 h 3680460"/>
                  <a:gd name="connsiteX102" fmla="*/ 2817495 w 3008034"/>
                  <a:gd name="connsiteY102" fmla="*/ 1196340 h 3680460"/>
                  <a:gd name="connsiteX103" fmla="*/ 2802255 w 3008034"/>
                  <a:gd name="connsiteY103" fmla="*/ 1165860 h 3680460"/>
                  <a:gd name="connsiteX104" fmla="*/ 2771775 w 3008034"/>
                  <a:gd name="connsiteY104" fmla="*/ 1127760 h 3680460"/>
                  <a:gd name="connsiteX105" fmla="*/ 2756535 w 3008034"/>
                  <a:gd name="connsiteY105" fmla="*/ 1089660 h 3680460"/>
                  <a:gd name="connsiteX106" fmla="*/ 2726055 w 3008034"/>
                  <a:gd name="connsiteY106" fmla="*/ 1043940 h 3680460"/>
                  <a:gd name="connsiteX107" fmla="*/ 2718435 w 3008034"/>
                  <a:gd name="connsiteY107" fmla="*/ 1021080 h 3680460"/>
                  <a:gd name="connsiteX108" fmla="*/ 2672715 w 3008034"/>
                  <a:gd name="connsiteY108" fmla="*/ 937260 h 3680460"/>
                  <a:gd name="connsiteX109" fmla="*/ 2649855 w 3008034"/>
                  <a:gd name="connsiteY109" fmla="*/ 876300 h 3680460"/>
                  <a:gd name="connsiteX110" fmla="*/ 2634615 w 3008034"/>
                  <a:gd name="connsiteY110" fmla="*/ 845820 h 3680460"/>
                  <a:gd name="connsiteX111" fmla="*/ 2626995 w 3008034"/>
                  <a:gd name="connsiteY111" fmla="*/ 822960 h 3680460"/>
                  <a:gd name="connsiteX112" fmla="*/ 2611755 w 3008034"/>
                  <a:gd name="connsiteY112" fmla="*/ 800100 h 3680460"/>
                  <a:gd name="connsiteX113" fmla="*/ 2588895 w 3008034"/>
                  <a:gd name="connsiteY113" fmla="*/ 739140 h 3680460"/>
                  <a:gd name="connsiteX114" fmla="*/ 2448878 w 3008034"/>
                  <a:gd name="connsiteY114" fmla="*/ 621983 h 3680460"/>
                  <a:gd name="connsiteX115" fmla="*/ 2291715 w 3008034"/>
                  <a:gd name="connsiteY115" fmla="*/ 458152 h 3680460"/>
                  <a:gd name="connsiteX116" fmla="*/ 2227898 w 3008034"/>
                  <a:gd name="connsiteY116" fmla="*/ 406717 h 3680460"/>
                  <a:gd name="connsiteX117" fmla="*/ 2093595 w 3008034"/>
                  <a:gd name="connsiteY117" fmla="*/ 312420 h 3680460"/>
                  <a:gd name="connsiteX118" fmla="*/ 2032635 w 3008034"/>
                  <a:gd name="connsiteY118" fmla="*/ 266700 h 3680460"/>
                  <a:gd name="connsiteX119" fmla="*/ 1994535 w 3008034"/>
                  <a:gd name="connsiteY119" fmla="*/ 251460 h 3680460"/>
                  <a:gd name="connsiteX120" fmla="*/ 1948815 w 3008034"/>
                  <a:gd name="connsiteY120" fmla="*/ 220980 h 3680460"/>
                  <a:gd name="connsiteX121" fmla="*/ 1887855 w 3008034"/>
                  <a:gd name="connsiteY12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26055 w 3008034"/>
                  <a:gd name="connsiteY85" fmla="*/ 2590800 h 3680460"/>
                  <a:gd name="connsiteX86" fmla="*/ 2748915 w 3008034"/>
                  <a:gd name="connsiteY86" fmla="*/ 2545080 h 3680460"/>
                  <a:gd name="connsiteX87" fmla="*/ 2779395 w 3008034"/>
                  <a:gd name="connsiteY87" fmla="*/ 2484120 h 3680460"/>
                  <a:gd name="connsiteX88" fmla="*/ 2802255 w 3008034"/>
                  <a:gd name="connsiteY88" fmla="*/ 2407920 h 3680460"/>
                  <a:gd name="connsiteX89" fmla="*/ 2832735 w 3008034"/>
                  <a:gd name="connsiteY89" fmla="*/ 2324100 h 3680460"/>
                  <a:gd name="connsiteX90" fmla="*/ 2847975 w 3008034"/>
                  <a:gd name="connsiteY90" fmla="*/ 2247900 h 3680460"/>
                  <a:gd name="connsiteX91" fmla="*/ 2863215 w 3008034"/>
                  <a:gd name="connsiteY91" fmla="*/ 2194560 h 3680460"/>
                  <a:gd name="connsiteX92" fmla="*/ 2878455 w 3008034"/>
                  <a:gd name="connsiteY92" fmla="*/ 2148840 h 3680460"/>
                  <a:gd name="connsiteX93" fmla="*/ 2901315 w 3008034"/>
                  <a:gd name="connsiteY93" fmla="*/ 2087880 h 3680460"/>
                  <a:gd name="connsiteX94" fmla="*/ 2908935 w 3008034"/>
                  <a:gd name="connsiteY94" fmla="*/ 2049780 h 3680460"/>
                  <a:gd name="connsiteX95" fmla="*/ 2924175 w 3008034"/>
                  <a:gd name="connsiteY95" fmla="*/ 1844040 h 3680460"/>
                  <a:gd name="connsiteX96" fmla="*/ 2908935 w 3008034"/>
                  <a:gd name="connsiteY96" fmla="*/ 1470660 h 3680460"/>
                  <a:gd name="connsiteX97" fmla="*/ 2886075 w 3008034"/>
                  <a:gd name="connsiteY97" fmla="*/ 1371600 h 3680460"/>
                  <a:gd name="connsiteX98" fmla="*/ 2870835 w 3008034"/>
                  <a:gd name="connsiteY98" fmla="*/ 1341120 h 3680460"/>
                  <a:gd name="connsiteX99" fmla="*/ 2847975 w 3008034"/>
                  <a:gd name="connsiteY99" fmla="*/ 1272540 h 3680460"/>
                  <a:gd name="connsiteX100" fmla="*/ 2840355 w 3008034"/>
                  <a:gd name="connsiteY100" fmla="*/ 1234440 h 3680460"/>
                  <a:gd name="connsiteX101" fmla="*/ 2817495 w 3008034"/>
                  <a:gd name="connsiteY101" fmla="*/ 1196340 h 3680460"/>
                  <a:gd name="connsiteX102" fmla="*/ 2802255 w 3008034"/>
                  <a:gd name="connsiteY102" fmla="*/ 1165860 h 3680460"/>
                  <a:gd name="connsiteX103" fmla="*/ 2771775 w 3008034"/>
                  <a:gd name="connsiteY103" fmla="*/ 1127760 h 3680460"/>
                  <a:gd name="connsiteX104" fmla="*/ 2756535 w 3008034"/>
                  <a:gd name="connsiteY104" fmla="*/ 1089660 h 3680460"/>
                  <a:gd name="connsiteX105" fmla="*/ 2726055 w 3008034"/>
                  <a:gd name="connsiteY105" fmla="*/ 1043940 h 3680460"/>
                  <a:gd name="connsiteX106" fmla="*/ 2718435 w 3008034"/>
                  <a:gd name="connsiteY106" fmla="*/ 1021080 h 3680460"/>
                  <a:gd name="connsiteX107" fmla="*/ 2672715 w 3008034"/>
                  <a:gd name="connsiteY107" fmla="*/ 937260 h 3680460"/>
                  <a:gd name="connsiteX108" fmla="*/ 2649855 w 3008034"/>
                  <a:gd name="connsiteY108" fmla="*/ 876300 h 3680460"/>
                  <a:gd name="connsiteX109" fmla="*/ 2634615 w 3008034"/>
                  <a:gd name="connsiteY109" fmla="*/ 845820 h 3680460"/>
                  <a:gd name="connsiteX110" fmla="*/ 2626995 w 3008034"/>
                  <a:gd name="connsiteY110" fmla="*/ 822960 h 3680460"/>
                  <a:gd name="connsiteX111" fmla="*/ 2611755 w 3008034"/>
                  <a:gd name="connsiteY111" fmla="*/ 800100 h 3680460"/>
                  <a:gd name="connsiteX112" fmla="*/ 2588895 w 3008034"/>
                  <a:gd name="connsiteY112" fmla="*/ 739140 h 3680460"/>
                  <a:gd name="connsiteX113" fmla="*/ 2448878 w 3008034"/>
                  <a:gd name="connsiteY113" fmla="*/ 621983 h 3680460"/>
                  <a:gd name="connsiteX114" fmla="*/ 2291715 w 3008034"/>
                  <a:gd name="connsiteY114" fmla="*/ 458152 h 3680460"/>
                  <a:gd name="connsiteX115" fmla="*/ 2227898 w 3008034"/>
                  <a:gd name="connsiteY115" fmla="*/ 406717 h 3680460"/>
                  <a:gd name="connsiteX116" fmla="*/ 2093595 w 3008034"/>
                  <a:gd name="connsiteY116" fmla="*/ 312420 h 3680460"/>
                  <a:gd name="connsiteX117" fmla="*/ 2032635 w 3008034"/>
                  <a:gd name="connsiteY117" fmla="*/ 266700 h 3680460"/>
                  <a:gd name="connsiteX118" fmla="*/ 1994535 w 3008034"/>
                  <a:gd name="connsiteY118" fmla="*/ 251460 h 3680460"/>
                  <a:gd name="connsiteX119" fmla="*/ 1948815 w 3008034"/>
                  <a:gd name="connsiteY119" fmla="*/ 220980 h 3680460"/>
                  <a:gd name="connsiteX120" fmla="*/ 1887855 w 3008034"/>
                  <a:gd name="connsiteY12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26055 w 3008034"/>
                  <a:gd name="connsiteY85" fmla="*/ 2590800 h 3680460"/>
                  <a:gd name="connsiteX86" fmla="*/ 2779395 w 3008034"/>
                  <a:gd name="connsiteY86" fmla="*/ 2484120 h 3680460"/>
                  <a:gd name="connsiteX87" fmla="*/ 2802255 w 3008034"/>
                  <a:gd name="connsiteY87" fmla="*/ 2407920 h 3680460"/>
                  <a:gd name="connsiteX88" fmla="*/ 2832735 w 3008034"/>
                  <a:gd name="connsiteY88" fmla="*/ 2324100 h 3680460"/>
                  <a:gd name="connsiteX89" fmla="*/ 2847975 w 3008034"/>
                  <a:gd name="connsiteY89" fmla="*/ 2247900 h 3680460"/>
                  <a:gd name="connsiteX90" fmla="*/ 2863215 w 3008034"/>
                  <a:gd name="connsiteY90" fmla="*/ 2194560 h 3680460"/>
                  <a:gd name="connsiteX91" fmla="*/ 2878455 w 3008034"/>
                  <a:gd name="connsiteY91" fmla="*/ 2148840 h 3680460"/>
                  <a:gd name="connsiteX92" fmla="*/ 2901315 w 3008034"/>
                  <a:gd name="connsiteY92" fmla="*/ 2087880 h 3680460"/>
                  <a:gd name="connsiteX93" fmla="*/ 2908935 w 3008034"/>
                  <a:gd name="connsiteY93" fmla="*/ 2049780 h 3680460"/>
                  <a:gd name="connsiteX94" fmla="*/ 2924175 w 3008034"/>
                  <a:gd name="connsiteY94" fmla="*/ 1844040 h 3680460"/>
                  <a:gd name="connsiteX95" fmla="*/ 2908935 w 3008034"/>
                  <a:gd name="connsiteY95" fmla="*/ 1470660 h 3680460"/>
                  <a:gd name="connsiteX96" fmla="*/ 2886075 w 3008034"/>
                  <a:gd name="connsiteY96" fmla="*/ 1371600 h 3680460"/>
                  <a:gd name="connsiteX97" fmla="*/ 2870835 w 3008034"/>
                  <a:gd name="connsiteY97" fmla="*/ 1341120 h 3680460"/>
                  <a:gd name="connsiteX98" fmla="*/ 2847975 w 3008034"/>
                  <a:gd name="connsiteY98" fmla="*/ 1272540 h 3680460"/>
                  <a:gd name="connsiteX99" fmla="*/ 2840355 w 3008034"/>
                  <a:gd name="connsiteY99" fmla="*/ 1234440 h 3680460"/>
                  <a:gd name="connsiteX100" fmla="*/ 2817495 w 3008034"/>
                  <a:gd name="connsiteY100" fmla="*/ 1196340 h 3680460"/>
                  <a:gd name="connsiteX101" fmla="*/ 2802255 w 3008034"/>
                  <a:gd name="connsiteY101" fmla="*/ 1165860 h 3680460"/>
                  <a:gd name="connsiteX102" fmla="*/ 2771775 w 3008034"/>
                  <a:gd name="connsiteY102" fmla="*/ 1127760 h 3680460"/>
                  <a:gd name="connsiteX103" fmla="*/ 2756535 w 3008034"/>
                  <a:gd name="connsiteY103" fmla="*/ 1089660 h 3680460"/>
                  <a:gd name="connsiteX104" fmla="*/ 2726055 w 3008034"/>
                  <a:gd name="connsiteY104" fmla="*/ 1043940 h 3680460"/>
                  <a:gd name="connsiteX105" fmla="*/ 2718435 w 3008034"/>
                  <a:gd name="connsiteY105" fmla="*/ 1021080 h 3680460"/>
                  <a:gd name="connsiteX106" fmla="*/ 2672715 w 3008034"/>
                  <a:gd name="connsiteY106" fmla="*/ 937260 h 3680460"/>
                  <a:gd name="connsiteX107" fmla="*/ 2649855 w 3008034"/>
                  <a:gd name="connsiteY107" fmla="*/ 876300 h 3680460"/>
                  <a:gd name="connsiteX108" fmla="*/ 2634615 w 3008034"/>
                  <a:gd name="connsiteY108" fmla="*/ 845820 h 3680460"/>
                  <a:gd name="connsiteX109" fmla="*/ 2626995 w 3008034"/>
                  <a:gd name="connsiteY109" fmla="*/ 822960 h 3680460"/>
                  <a:gd name="connsiteX110" fmla="*/ 2611755 w 3008034"/>
                  <a:gd name="connsiteY110" fmla="*/ 800100 h 3680460"/>
                  <a:gd name="connsiteX111" fmla="*/ 2588895 w 3008034"/>
                  <a:gd name="connsiteY111" fmla="*/ 739140 h 3680460"/>
                  <a:gd name="connsiteX112" fmla="*/ 2448878 w 3008034"/>
                  <a:gd name="connsiteY112" fmla="*/ 621983 h 3680460"/>
                  <a:gd name="connsiteX113" fmla="*/ 2291715 w 3008034"/>
                  <a:gd name="connsiteY113" fmla="*/ 458152 h 3680460"/>
                  <a:gd name="connsiteX114" fmla="*/ 2227898 w 3008034"/>
                  <a:gd name="connsiteY114" fmla="*/ 406717 h 3680460"/>
                  <a:gd name="connsiteX115" fmla="*/ 2093595 w 3008034"/>
                  <a:gd name="connsiteY115" fmla="*/ 312420 h 3680460"/>
                  <a:gd name="connsiteX116" fmla="*/ 2032635 w 3008034"/>
                  <a:gd name="connsiteY116" fmla="*/ 266700 h 3680460"/>
                  <a:gd name="connsiteX117" fmla="*/ 1994535 w 3008034"/>
                  <a:gd name="connsiteY117" fmla="*/ 251460 h 3680460"/>
                  <a:gd name="connsiteX118" fmla="*/ 1948815 w 3008034"/>
                  <a:gd name="connsiteY118" fmla="*/ 220980 h 3680460"/>
                  <a:gd name="connsiteX119" fmla="*/ 1887855 w 3008034"/>
                  <a:gd name="connsiteY11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79395 w 3008034"/>
                  <a:gd name="connsiteY85" fmla="*/ 2484120 h 3680460"/>
                  <a:gd name="connsiteX86" fmla="*/ 2802255 w 3008034"/>
                  <a:gd name="connsiteY86" fmla="*/ 2407920 h 3680460"/>
                  <a:gd name="connsiteX87" fmla="*/ 2832735 w 3008034"/>
                  <a:gd name="connsiteY87" fmla="*/ 2324100 h 3680460"/>
                  <a:gd name="connsiteX88" fmla="*/ 2847975 w 3008034"/>
                  <a:gd name="connsiteY88" fmla="*/ 2247900 h 3680460"/>
                  <a:gd name="connsiteX89" fmla="*/ 2863215 w 3008034"/>
                  <a:gd name="connsiteY89" fmla="*/ 2194560 h 3680460"/>
                  <a:gd name="connsiteX90" fmla="*/ 2878455 w 3008034"/>
                  <a:gd name="connsiteY90" fmla="*/ 2148840 h 3680460"/>
                  <a:gd name="connsiteX91" fmla="*/ 2901315 w 3008034"/>
                  <a:gd name="connsiteY91" fmla="*/ 2087880 h 3680460"/>
                  <a:gd name="connsiteX92" fmla="*/ 2908935 w 3008034"/>
                  <a:gd name="connsiteY92" fmla="*/ 2049780 h 3680460"/>
                  <a:gd name="connsiteX93" fmla="*/ 2924175 w 3008034"/>
                  <a:gd name="connsiteY93" fmla="*/ 1844040 h 3680460"/>
                  <a:gd name="connsiteX94" fmla="*/ 2908935 w 3008034"/>
                  <a:gd name="connsiteY94" fmla="*/ 1470660 h 3680460"/>
                  <a:gd name="connsiteX95" fmla="*/ 2886075 w 3008034"/>
                  <a:gd name="connsiteY95" fmla="*/ 1371600 h 3680460"/>
                  <a:gd name="connsiteX96" fmla="*/ 2870835 w 3008034"/>
                  <a:gd name="connsiteY96" fmla="*/ 1341120 h 3680460"/>
                  <a:gd name="connsiteX97" fmla="*/ 2847975 w 3008034"/>
                  <a:gd name="connsiteY97" fmla="*/ 1272540 h 3680460"/>
                  <a:gd name="connsiteX98" fmla="*/ 2840355 w 3008034"/>
                  <a:gd name="connsiteY98" fmla="*/ 1234440 h 3680460"/>
                  <a:gd name="connsiteX99" fmla="*/ 2817495 w 3008034"/>
                  <a:gd name="connsiteY99" fmla="*/ 1196340 h 3680460"/>
                  <a:gd name="connsiteX100" fmla="*/ 2802255 w 3008034"/>
                  <a:gd name="connsiteY100" fmla="*/ 1165860 h 3680460"/>
                  <a:gd name="connsiteX101" fmla="*/ 2771775 w 3008034"/>
                  <a:gd name="connsiteY101" fmla="*/ 1127760 h 3680460"/>
                  <a:gd name="connsiteX102" fmla="*/ 2756535 w 3008034"/>
                  <a:gd name="connsiteY102" fmla="*/ 1089660 h 3680460"/>
                  <a:gd name="connsiteX103" fmla="*/ 2726055 w 3008034"/>
                  <a:gd name="connsiteY103" fmla="*/ 1043940 h 3680460"/>
                  <a:gd name="connsiteX104" fmla="*/ 2718435 w 3008034"/>
                  <a:gd name="connsiteY104" fmla="*/ 1021080 h 3680460"/>
                  <a:gd name="connsiteX105" fmla="*/ 2672715 w 3008034"/>
                  <a:gd name="connsiteY105" fmla="*/ 937260 h 3680460"/>
                  <a:gd name="connsiteX106" fmla="*/ 2649855 w 3008034"/>
                  <a:gd name="connsiteY106" fmla="*/ 876300 h 3680460"/>
                  <a:gd name="connsiteX107" fmla="*/ 2634615 w 3008034"/>
                  <a:gd name="connsiteY107" fmla="*/ 845820 h 3680460"/>
                  <a:gd name="connsiteX108" fmla="*/ 2626995 w 3008034"/>
                  <a:gd name="connsiteY108" fmla="*/ 822960 h 3680460"/>
                  <a:gd name="connsiteX109" fmla="*/ 2611755 w 3008034"/>
                  <a:gd name="connsiteY109" fmla="*/ 800100 h 3680460"/>
                  <a:gd name="connsiteX110" fmla="*/ 2588895 w 3008034"/>
                  <a:gd name="connsiteY110" fmla="*/ 739140 h 3680460"/>
                  <a:gd name="connsiteX111" fmla="*/ 2448878 w 3008034"/>
                  <a:gd name="connsiteY111" fmla="*/ 621983 h 3680460"/>
                  <a:gd name="connsiteX112" fmla="*/ 2291715 w 3008034"/>
                  <a:gd name="connsiteY112" fmla="*/ 458152 h 3680460"/>
                  <a:gd name="connsiteX113" fmla="*/ 2227898 w 3008034"/>
                  <a:gd name="connsiteY113" fmla="*/ 406717 h 3680460"/>
                  <a:gd name="connsiteX114" fmla="*/ 2093595 w 3008034"/>
                  <a:gd name="connsiteY114" fmla="*/ 312420 h 3680460"/>
                  <a:gd name="connsiteX115" fmla="*/ 2032635 w 3008034"/>
                  <a:gd name="connsiteY115" fmla="*/ 266700 h 3680460"/>
                  <a:gd name="connsiteX116" fmla="*/ 1994535 w 3008034"/>
                  <a:gd name="connsiteY116" fmla="*/ 251460 h 3680460"/>
                  <a:gd name="connsiteX117" fmla="*/ 1948815 w 3008034"/>
                  <a:gd name="connsiteY117" fmla="*/ 220980 h 3680460"/>
                  <a:gd name="connsiteX118" fmla="*/ 1887855 w 3008034"/>
                  <a:gd name="connsiteY11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79395 w 3008034"/>
                  <a:gd name="connsiteY84" fmla="*/ 2484120 h 3680460"/>
                  <a:gd name="connsiteX85" fmla="*/ 2802255 w 3008034"/>
                  <a:gd name="connsiteY85" fmla="*/ 2407920 h 3680460"/>
                  <a:gd name="connsiteX86" fmla="*/ 2832735 w 3008034"/>
                  <a:gd name="connsiteY86" fmla="*/ 2324100 h 3680460"/>
                  <a:gd name="connsiteX87" fmla="*/ 2847975 w 3008034"/>
                  <a:gd name="connsiteY87" fmla="*/ 2247900 h 3680460"/>
                  <a:gd name="connsiteX88" fmla="*/ 2863215 w 3008034"/>
                  <a:gd name="connsiteY88" fmla="*/ 2194560 h 3680460"/>
                  <a:gd name="connsiteX89" fmla="*/ 2878455 w 3008034"/>
                  <a:gd name="connsiteY89" fmla="*/ 2148840 h 3680460"/>
                  <a:gd name="connsiteX90" fmla="*/ 2901315 w 3008034"/>
                  <a:gd name="connsiteY90" fmla="*/ 2087880 h 3680460"/>
                  <a:gd name="connsiteX91" fmla="*/ 2908935 w 3008034"/>
                  <a:gd name="connsiteY91" fmla="*/ 2049780 h 3680460"/>
                  <a:gd name="connsiteX92" fmla="*/ 2924175 w 3008034"/>
                  <a:gd name="connsiteY92" fmla="*/ 1844040 h 3680460"/>
                  <a:gd name="connsiteX93" fmla="*/ 2908935 w 3008034"/>
                  <a:gd name="connsiteY93" fmla="*/ 1470660 h 3680460"/>
                  <a:gd name="connsiteX94" fmla="*/ 2886075 w 3008034"/>
                  <a:gd name="connsiteY94" fmla="*/ 1371600 h 3680460"/>
                  <a:gd name="connsiteX95" fmla="*/ 2870835 w 3008034"/>
                  <a:gd name="connsiteY95" fmla="*/ 1341120 h 3680460"/>
                  <a:gd name="connsiteX96" fmla="*/ 2847975 w 3008034"/>
                  <a:gd name="connsiteY96" fmla="*/ 1272540 h 3680460"/>
                  <a:gd name="connsiteX97" fmla="*/ 2840355 w 3008034"/>
                  <a:gd name="connsiteY97" fmla="*/ 1234440 h 3680460"/>
                  <a:gd name="connsiteX98" fmla="*/ 2817495 w 3008034"/>
                  <a:gd name="connsiteY98" fmla="*/ 1196340 h 3680460"/>
                  <a:gd name="connsiteX99" fmla="*/ 2802255 w 3008034"/>
                  <a:gd name="connsiteY99" fmla="*/ 1165860 h 3680460"/>
                  <a:gd name="connsiteX100" fmla="*/ 2771775 w 3008034"/>
                  <a:gd name="connsiteY100" fmla="*/ 1127760 h 3680460"/>
                  <a:gd name="connsiteX101" fmla="*/ 2756535 w 3008034"/>
                  <a:gd name="connsiteY101" fmla="*/ 1089660 h 3680460"/>
                  <a:gd name="connsiteX102" fmla="*/ 2726055 w 3008034"/>
                  <a:gd name="connsiteY102" fmla="*/ 1043940 h 3680460"/>
                  <a:gd name="connsiteX103" fmla="*/ 2718435 w 3008034"/>
                  <a:gd name="connsiteY103" fmla="*/ 1021080 h 3680460"/>
                  <a:gd name="connsiteX104" fmla="*/ 2672715 w 3008034"/>
                  <a:gd name="connsiteY104" fmla="*/ 937260 h 3680460"/>
                  <a:gd name="connsiteX105" fmla="*/ 2649855 w 3008034"/>
                  <a:gd name="connsiteY105" fmla="*/ 876300 h 3680460"/>
                  <a:gd name="connsiteX106" fmla="*/ 2634615 w 3008034"/>
                  <a:gd name="connsiteY106" fmla="*/ 845820 h 3680460"/>
                  <a:gd name="connsiteX107" fmla="*/ 2626995 w 3008034"/>
                  <a:gd name="connsiteY107" fmla="*/ 822960 h 3680460"/>
                  <a:gd name="connsiteX108" fmla="*/ 2611755 w 3008034"/>
                  <a:gd name="connsiteY108" fmla="*/ 800100 h 3680460"/>
                  <a:gd name="connsiteX109" fmla="*/ 2588895 w 3008034"/>
                  <a:gd name="connsiteY109" fmla="*/ 739140 h 3680460"/>
                  <a:gd name="connsiteX110" fmla="*/ 2448878 w 3008034"/>
                  <a:gd name="connsiteY110" fmla="*/ 621983 h 3680460"/>
                  <a:gd name="connsiteX111" fmla="*/ 2291715 w 3008034"/>
                  <a:gd name="connsiteY111" fmla="*/ 458152 h 3680460"/>
                  <a:gd name="connsiteX112" fmla="*/ 2227898 w 3008034"/>
                  <a:gd name="connsiteY112" fmla="*/ 406717 h 3680460"/>
                  <a:gd name="connsiteX113" fmla="*/ 2093595 w 3008034"/>
                  <a:gd name="connsiteY113" fmla="*/ 312420 h 3680460"/>
                  <a:gd name="connsiteX114" fmla="*/ 2032635 w 3008034"/>
                  <a:gd name="connsiteY114" fmla="*/ 266700 h 3680460"/>
                  <a:gd name="connsiteX115" fmla="*/ 1994535 w 3008034"/>
                  <a:gd name="connsiteY115" fmla="*/ 251460 h 3680460"/>
                  <a:gd name="connsiteX116" fmla="*/ 1948815 w 3008034"/>
                  <a:gd name="connsiteY116" fmla="*/ 220980 h 3680460"/>
                  <a:gd name="connsiteX117" fmla="*/ 1887855 w 3008034"/>
                  <a:gd name="connsiteY11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32735 w 3008034"/>
                  <a:gd name="connsiteY85" fmla="*/ 2324100 h 3680460"/>
                  <a:gd name="connsiteX86" fmla="*/ 2847975 w 3008034"/>
                  <a:gd name="connsiteY86" fmla="*/ 2247900 h 3680460"/>
                  <a:gd name="connsiteX87" fmla="*/ 2863215 w 3008034"/>
                  <a:gd name="connsiteY87" fmla="*/ 2194560 h 3680460"/>
                  <a:gd name="connsiteX88" fmla="*/ 2878455 w 3008034"/>
                  <a:gd name="connsiteY88" fmla="*/ 2148840 h 3680460"/>
                  <a:gd name="connsiteX89" fmla="*/ 2901315 w 3008034"/>
                  <a:gd name="connsiteY89" fmla="*/ 2087880 h 3680460"/>
                  <a:gd name="connsiteX90" fmla="*/ 2908935 w 3008034"/>
                  <a:gd name="connsiteY90" fmla="*/ 2049780 h 3680460"/>
                  <a:gd name="connsiteX91" fmla="*/ 2924175 w 3008034"/>
                  <a:gd name="connsiteY91" fmla="*/ 1844040 h 3680460"/>
                  <a:gd name="connsiteX92" fmla="*/ 2908935 w 3008034"/>
                  <a:gd name="connsiteY92" fmla="*/ 1470660 h 3680460"/>
                  <a:gd name="connsiteX93" fmla="*/ 2886075 w 3008034"/>
                  <a:gd name="connsiteY93" fmla="*/ 1371600 h 3680460"/>
                  <a:gd name="connsiteX94" fmla="*/ 2870835 w 3008034"/>
                  <a:gd name="connsiteY94" fmla="*/ 1341120 h 3680460"/>
                  <a:gd name="connsiteX95" fmla="*/ 2847975 w 3008034"/>
                  <a:gd name="connsiteY95" fmla="*/ 1272540 h 3680460"/>
                  <a:gd name="connsiteX96" fmla="*/ 2840355 w 3008034"/>
                  <a:gd name="connsiteY96" fmla="*/ 1234440 h 3680460"/>
                  <a:gd name="connsiteX97" fmla="*/ 2817495 w 3008034"/>
                  <a:gd name="connsiteY97" fmla="*/ 1196340 h 3680460"/>
                  <a:gd name="connsiteX98" fmla="*/ 2802255 w 3008034"/>
                  <a:gd name="connsiteY98" fmla="*/ 1165860 h 3680460"/>
                  <a:gd name="connsiteX99" fmla="*/ 2771775 w 3008034"/>
                  <a:gd name="connsiteY99" fmla="*/ 1127760 h 3680460"/>
                  <a:gd name="connsiteX100" fmla="*/ 2756535 w 3008034"/>
                  <a:gd name="connsiteY100" fmla="*/ 1089660 h 3680460"/>
                  <a:gd name="connsiteX101" fmla="*/ 2726055 w 3008034"/>
                  <a:gd name="connsiteY101" fmla="*/ 1043940 h 3680460"/>
                  <a:gd name="connsiteX102" fmla="*/ 2718435 w 3008034"/>
                  <a:gd name="connsiteY102" fmla="*/ 1021080 h 3680460"/>
                  <a:gd name="connsiteX103" fmla="*/ 2672715 w 3008034"/>
                  <a:gd name="connsiteY103" fmla="*/ 937260 h 3680460"/>
                  <a:gd name="connsiteX104" fmla="*/ 2649855 w 3008034"/>
                  <a:gd name="connsiteY104" fmla="*/ 876300 h 3680460"/>
                  <a:gd name="connsiteX105" fmla="*/ 2634615 w 3008034"/>
                  <a:gd name="connsiteY105" fmla="*/ 845820 h 3680460"/>
                  <a:gd name="connsiteX106" fmla="*/ 2626995 w 3008034"/>
                  <a:gd name="connsiteY106" fmla="*/ 822960 h 3680460"/>
                  <a:gd name="connsiteX107" fmla="*/ 2611755 w 3008034"/>
                  <a:gd name="connsiteY107" fmla="*/ 800100 h 3680460"/>
                  <a:gd name="connsiteX108" fmla="*/ 2588895 w 3008034"/>
                  <a:gd name="connsiteY108" fmla="*/ 739140 h 3680460"/>
                  <a:gd name="connsiteX109" fmla="*/ 2448878 w 3008034"/>
                  <a:gd name="connsiteY109" fmla="*/ 621983 h 3680460"/>
                  <a:gd name="connsiteX110" fmla="*/ 2291715 w 3008034"/>
                  <a:gd name="connsiteY110" fmla="*/ 458152 h 3680460"/>
                  <a:gd name="connsiteX111" fmla="*/ 2227898 w 3008034"/>
                  <a:gd name="connsiteY111" fmla="*/ 406717 h 3680460"/>
                  <a:gd name="connsiteX112" fmla="*/ 2093595 w 3008034"/>
                  <a:gd name="connsiteY112" fmla="*/ 312420 h 3680460"/>
                  <a:gd name="connsiteX113" fmla="*/ 2032635 w 3008034"/>
                  <a:gd name="connsiteY113" fmla="*/ 266700 h 3680460"/>
                  <a:gd name="connsiteX114" fmla="*/ 1994535 w 3008034"/>
                  <a:gd name="connsiteY114" fmla="*/ 251460 h 3680460"/>
                  <a:gd name="connsiteX115" fmla="*/ 1948815 w 3008034"/>
                  <a:gd name="connsiteY115" fmla="*/ 220980 h 3680460"/>
                  <a:gd name="connsiteX116" fmla="*/ 1887855 w 3008034"/>
                  <a:gd name="connsiteY11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47975 w 3008034"/>
                  <a:gd name="connsiteY85" fmla="*/ 2247900 h 3680460"/>
                  <a:gd name="connsiteX86" fmla="*/ 2863215 w 3008034"/>
                  <a:gd name="connsiteY86" fmla="*/ 2194560 h 3680460"/>
                  <a:gd name="connsiteX87" fmla="*/ 2878455 w 3008034"/>
                  <a:gd name="connsiteY87" fmla="*/ 2148840 h 3680460"/>
                  <a:gd name="connsiteX88" fmla="*/ 2901315 w 3008034"/>
                  <a:gd name="connsiteY88" fmla="*/ 2087880 h 3680460"/>
                  <a:gd name="connsiteX89" fmla="*/ 2908935 w 3008034"/>
                  <a:gd name="connsiteY89" fmla="*/ 2049780 h 3680460"/>
                  <a:gd name="connsiteX90" fmla="*/ 2924175 w 3008034"/>
                  <a:gd name="connsiteY90" fmla="*/ 1844040 h 3680460"/>
                  <a:gd name="connsiteX91" fmla="*/ 2908935 w 3008034"/>
                  <a:gd name="connsiteY91" fmla="*/ 1470660 h 3680460"/>
                  <a:gd name="connsiteX92" fmla="*/ 2886075 w 3008034"/>
                  <a:gd name="connsiteY92" fmla="*/ 1371600 h 3680460"/>
                  <a:gd name="connsiteX93" fmla="*/ 2870835 w 3008034"/>
                  <a:gd name="connsiteY93" fmla="*/ 1341120 h 3680460"/>
                  <a:gd name="connsiteX94" fmla="*/ 2847975 w 3008034"/>
                  <a:gd name="connsiteY94" fmla="*/ 1272540 h 3680460"/>
                  <a:gd name="connsiteX95" fmla="*/ 2840355 w 3008034"/>
                  <a:gd name="connsiteY95" fmla="*/ 1234440 h 3680460"/>
                  <a:gd name="connsiteX96" fmla="*/ 2817495 w 3008034"/>
                  <a:gd name="connsiteY96" fmla="*/ 1196340 h 3680460"/>
                  <a:gd name="connsiteX97" fmla="*/ 2802255 w 3008034"/>
                  <a:gd name="connsiteY97" fmla="*/ 1165860 h 3680460"/>
                  <a:gd name="connsiteX98" fmla="*/ 2771775 w 3008034"/>
                  <a:gd name="connsiteY98" fmla="*/ 1127760 h 3680460"/>
                  <a:gd name="connsiteX99" fmla="*/ 2756535 w 3008034"/>
                  <a:gd name="connsiteY99" fmla="*/ 1089660 h 3680460"/>
                  <a:gd name="connsiteX100" fmla="*/ 2726055 w 3008034"/>
                  <a:gd name="connsiteY100" fmla="*/ 1043940 h 3680460"/>
                  <a:gd name="connsiteX101" fmla="*/ 2718435 w 3008034"/>
                  <a:gd name="connsiteY101" fmla="*/ 1021080 h 3680460"/>
                  <a:gd name="connsiteX102" fmla="*/ 2672715 w 3008034"/>
                  <a:gd name="connsiteY102" fmla="*/ 937260 h 3680460"/>
                  <a:gd name="connsiteX103" fmla="*/ 2649855 w 3008034"/>
                  <a:gd name="connsiteY103" fmla="*/ 876300 h 3680460"/>
                  <a:gd name="connsiteX104" fmla="*/ 2634615 w 3008034"/>
                  <a:gd name="connsiteY104" fmla="*/ 845820 h 3680460"/>
                  <a:gd name="connsiteX105" fmla="*/ 2626995 w 3008034"/>
                  <a:gd name="connsiteY105" fmla="*/ 822960 h 3680460"/>
                  <a:gd name="connsiteX106" fmla="*/ 2611755 w 3008034"/>
                  <a:gd name="connsiteY106" fmla="*/ 800100 h 3680460"/>
                  <a:gd name="connsiteX107" fmla="*/ 2588895 w 3008034"/>
                  <a:gd name="connsiteY107" fmla="*/ 739140 h 3680460"/>
                  <a:gd name="connsiteX108" fmla="*/ 2448878 w 3008034"/>
                  <a:gd name="connsiteY108" fmla="*/ 621983 h 3680460"/>
                  <a:gd name="connsiteX109" fmla="*/ 2291715 w 3008034"/>
                  <a:gd name="connsiteY109" fmla="*/ 458152 h 3680460"/>
                  <a:gd name="connsiteX110" fmla="*/ 2227898 w 3008034"/>
                  <a:gd name="connsiteY110" fmla="*/ 406717 h 3680460"/>
                  <a:gd name="connsiteX111" fmla="*/ 2093595 w 3008034"/>
                  <a:gd name="connsiteY111" fmla="*/ 312420 h 3680460"/>
                  <a:gd name="connsiteX112" fmla="*/ 2032635 w 3008034"/>
                  <a:gd name="connsiteY112" fmla="*/ 266700 h 3680460"/>
                  <a:gd name="connsiteX113" fmla="*/ 1994535 w 3008034"/>
                  <a:gd name="connsiteY113" fmla="*/ 251460 h 3680460"/>
                  <a:gd name="connsiteX114" fmla="*/ 1948815 w 3008034"/>
                  <a:gd name="connsiteY114" fmla="*/ 220980 h 3680460"/>
                  <a:gd name="connsiteX115" fmla="*/ 1887855 w 3008034"/>
                  <a:gd name="connsiteY11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63215 w 3008034"/>
                  <a:gd name="connsiteY85" fmla="*/ 2194560 h 3680460"/>
                  <a:gd name="connsiteX86" fmla="*/ 2878455 w 3008034"/>
                  <a:gd name="connsiteY86" fmla="*/ 2148840 h 3680460"/>
                  <a:gd name="connsiteX87" fmla="*/ 2901315 w 3008034"/>
                  <a:gd name="connsiteY87" fmla="*/ 2087880 h 3680460"/>
                  <a:gd name="connsiteX88" fmla="*/ 2908935 w 3008034"/>
                  <a:gd name="connsiteY88" fmla="*/ 2049780 h 3680460"/>
                  <a:gd name="connsiteX89" fmla="*/ 2924175 w 3008034"/>
                  <a:gd name="connsiteY89" fmla="*/ 1844040 h 3680460"/>
                  <a:gd name="connsiteX90" fmla="*/ 2908935 w 3008034"/>
                  <a:gd name="connsiteY90" fmla="*/ 1470660 h 3680460"/>
                  <a:gd name="connsiteX91" fmla="*/ 2886075 w 3008034"/>
                  <a:gd name="connsiteY91" fmla="*/ 1371600 h 3680460"/>
                  <a:gd name="connsiteX92" fmla="*/ 2870835 w 3008034"/>
                  <a:gd name="connsiteY92" fmla="*/ 1341120 h 3680460"/>
                  <a:gd name="connsiteX93" fmla="*/ 2847975 w 3008034"/>
                  <a:gd name="connsiteY93" fmla="*/ 1272540 h 3680460"/>
                  <a:gd name="connsiteX94" fmla="*/ 2840355 w 3008034"/>
                  <a:gd name="connsiteY94" fmla="*/ 1234440 h 3680460"/>
                  <a:gd name="connsiteX95" fmla="*/ 2817495 w 3008034"/>
                  <a:gd name="connsiteY95" fmla="*/ 1196340 h 3680460"/>
                  <a:gd name="connsiteX96" fmla="*/ 2802255 w 3008034"/>
                  <a:gd name="connsiteY96" fmla="*/ 1165860 h 3680460"/>
                  <a:gd name="connsiteX97" fmla="*/ 2771775 w 3008034"/>
                  <a:gd name="connsiteY97" fmla="*/ 1127760 h 3680460"/>
                  <a:gd name="connsiteX98" fmla="*/ 2756535 w 3008034"/>
                  <a:gd name="connsiteY98" fmla="*/ 1089660 h 3680460"/>
                  <a:gd name="connsiteX99" fmla="*/ 2726055 w 3008034"/>
                  <a:gd name="connsiteY99" fmla="*/ 1043940 h 3680460"/>
                  <a:gd name="connsiteX100" fmla="*/ 2718435 w 3008034"/>
                  <a:gd name="connsiteY100" fmla="*/ 1021080 h 3680460"/>
                  <a:gd name="connsiteX101" fmla="*/ 2672715 w 3008034"/>
                  <a:gd name="connsiteY101" fmla="*/ 937260 h 3680460"/>
                  <a:gd name="connsiteX102" fmla="*/ 2649855 w 3008034"/>
                  <a:gd name="connsiteY102" fmla="*/ 876300 h 3680460"/>
                  <a:gd name="connsiteX103" fmla="*/ 2634615 w 3008034"/>
                  <a:gd name="connsiteY103" fmla="*/ 845820 h 3680460"/>
                  <a:gd name="connsiteX104" fmla="*/ 2626995 w 3008034"/>
                  <a:gd name="connsiteY104" fmla="*/ 822960 h 3680460"/>
                  <a:gd name="connsiteX105" fmla="*/ 2611755 w 3008034"/>
                  <a:gd name="connsiteY105" fmla="*/ 800100 h 3680460"/>
                  <a:gd name="connsiteX106" fmla="*/ 2588895 w 3008034"/>
                  <a:gd name="connsiteY106" fmla="*/ 739140 h 3680460"/>
                  <a:gd name="connsiteX107" fmla="*/ 2448878 w 3008034"/>
                  <a:gd name="connsiteY107" fmla="*/ 621983 h 3680460"/>
                  <a:gd name="connsiteX108" fmla="*/ 2291715 w 3008034"/>
                  <a:gd name="connsiteY108" fmla="*/ 458152 h 3680460"/>
                  <a:gd name="connsiteX109" fmla="*/ 2227898 w 3008034"/>
                  <a:gd name="connsiteY109" fmla="*/ 406717 h 3680460"/>
                  <a:gd name="connsiteX110" fmla="*/ 2093595 w 3008034"/>
                  <a:gd name="connsiteY110" fmla="*/ 312420 h 3680460"/>
                  <a:gd name="connsiteX111" fmla="*/ 2032635 w 3008034"/>
                  <a:gd name="connsiteY111" fmla="*/ 266700 h 3680460"/>
                  <a:gd name="connsiteX112" fmla="*/ 1994535 w 3008034"/>
                  <a:gd name="connsiteY112" fmla="*/ 251460 h 3680460"/>
                  <a:gd name="connsiteX113" fmla="*/ 1948815 w 3008034"/>
                  <a:gd name="connsiteY113" fmla="*/ 220980 h 3680460"/>
                  <a:gd name="connsiteX114" fmla="*/ 1887855 w 3008034"/>
                  <a:gd name="connsiteY11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78455 w 3008034"/>
                  <a:gd name="connsiteY85" fmla="*/ 2148840 h 3680460"/>
                  <a:gd name="connsiteX86" fmla="*/ 2901315 w 3008034"/>
                  <a:gd name="connsiteY86" fmla="*/ 2087880 h 3680460"/>
                  <a:gd name="connsiteX87" fmla="*/ 2908935 w 3008034"/>
                  <a:gd name="connsiteY87" fmla="*/ 2049780 h 3680460"/>
                  <a:gd name="connsiteX88" fmla="*/ 2924175 w 3008034"/>
                  <a:gd name="connsiteY88" fmla="*/ 1844040 h 3680460"/>
                  <a:gd name="connsiteX89" fmla="*/ 2908935 w 3008034"/>
                  <a:gd name="connsiteY89" fmla="*/ 1470660 h 3680460"/>
                  <a:gd name="connsiteX90" fmla="*/ 2886075 w 3008034"/>
                  <a:gd name="connsiteY90" fmla="*/ 1371600 h 3680460"/>
                  <a:gd name="connsiteX91" fmla="*/ 2870835 w 3008034"/>
                  <a:gd name="connsiteY91" fmla="*/ 1341120 h 3680460"/>
                  <a:gd name="connsiteX92" fmla="*/ 2847975 w 3008034"/>
                  <a:gd name="connsiteY92" fmla="*/ 1272540 h 3680460"/>
                  <a:gd name="connsiteX93" fmla="*/ 2840355 w 3008034"/>
                  <a:gd name="connsiteY93" fmla="*/ 1234440 h 3680460"/>
                  <a:gd name="connsiteX94" fmla="*/ 2817495 w 3008034"/>
                  <a:gd name="connsiteY94" fmla="*/ 1196340 h 3680460"/>
                  <a:gd name="connsiteX95" fmla="*/ 2802255 w 3008034"/>
                  <a:gd name="connsiteY95" fmla="*/ 1165860 h 3680460"/>
                  <a:gd name="connsiteX96" fmla="*/ 2771775 w 3008034"/>
                  <a:gd name="connsiteY96" fmla="*/ 1127760 h 3680460"/>
                  <a:gd name="connsiteX97" fmla="*/ 2756535 w 3008034"/>
                  <a:gd name="connsiteY97" fmla="*/ 1089660 h 3680460"/>
                  <a:gd name="connsiteX98" fmla="*/ 2726055 w 3008034"/>
                  <a:gd name="connsiteY98" fmla="*/ 1043940 h 3680460"/>
                  <a:gd name="connsiteX99" fmla="*/ 2718435 w 3008034"/>
                  <a:gd name="connsiteY99" fmla="*/ 1021080 h 3680460"/>
                  <a:gd name="connsiteX100" fmla="*/ 2672715 w 3008034"/>
                  <a:gd name="connsiteY100" fmla="*/ 937260 h 3680460"/>
                  <a:gd name="connsiteX101" fmla="*/ 2649855 w 3008034"/>
                  <a:gd name="connsiteY101" fmla="*/ 876300 h 3680460"/>
                  <a:gd name="connsiteX102" fmla="*/ 2634615 w 3008034"/>
                  <a:gd name="connsiteY102" fmla="*/ 845820 h 3680460"/>
                  <a:gd name="connsiteX103" fmla="*/ 2626995 w 3008034"/>
                  <a:gd name="connsiteY103" fmla="*/ 822960 h 3680460"/>
                  <a:gd name="connsiteX104" fmla="*/ 2611755 w 3008034"/>
                  <a:gd name="connsiteY104" fmla="*/ 800100 h 3680460"/>
                  <a:gd name="connsiteX105" fmla="*/ 2588895 w 3008034"/>
                  <a:gd name="connsiteY105" fmla="*/ 739140 h 3680460"/>
                  <a:gd name="connsiteX106" fmla="*/ 2448878 w 3008034"/>
                  <a:gd name="connsiteY106" fmla="*/ 621983 h 3680460"/>
                  <a:gd name="connsiteX107" fmla="*/ 2291715 w 3008034"/>
                  <a:gd name="connsiteY107" fmla="*/ 458152 h 3680460"/>
                  <a:gd name="connsiteX108" fmla="*/ 2227898 w 3008034"/>
                  <a:gd name="connsiteY108" fmla="*/ 406717 h 3680460"/>
                  <a:gd name="connsiteX109" fmla="*/ 2093595 w 3008034"/>
                  <a:gd name="connsiteY109" fmla="*/ 312420 h 3680460"/>
                  <a:gd name="connsiteX110" fmla="*/ 2032635 w 3008034"/>
                  <a:gd name="connsiteY110" fmla="*/ 266700 h 3680460"/>
                  <a:gd name="connsiteX111" fmla="*/ 1994535 w 3008034"/>
                  <a:gd name="connsiteY111" fmla="*/ 251460 h 3680460"/>
                  <a:gd name="connsiteX112" fmla="*/ 1948815 w 3008034"/>
                  <a:gd name="connsiteY112" fmla="*/ 220980 h 3680460"/>
                  <a:gd name="connsiteX113" fmla="*/ 1887855 w 3008034"/>
                  <a:gd name="connsiteY11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1315 w 3008034"/>
                  <a:gd name="connsiteY85" fmla="*/ 2087880 h 3680460"/>
                  <a:gd name="connsiteX86" fmla="*/ 2908935 w 3008034"/>
                  <a:gd name="connsiteY86" fmla="*/ 2049780 h 3680460"/>
                  <a:gd name="connsiteX87" fmla="*/ 2924175 w 3008034"/>
                  <a:gd name="connsiteY87" fmla="*/ 1844040 h 3680460"/>
                  <a:gd name="connsiteX88" fmla="*/ 2908935 w 3008034"/>
                  <a:gd name="connsiteY88" fmla="*/ 1470660 h 3680460"/>
                  <a:gd name="connsiteX89" fmla="*/ 2886075 w 3008034"/>
                  <a:gd name="connsiteY89" fmla="*/ 1371600 h 3680460"/>
                  <a:gd name="connsiteX90" fmla="*/ 2870835 w 3008034"/>
                  <a:gd name="connsiteY90" fmla="*/ 1341120 h 3680460"/>
                  <a:gd name="connsiteX91" fmla="*/ 2847975 w 3008034"/>
                  <a:gd name="connsiteY91" fmla="*/ 1272540 h 3680460"/>
                  <a:gd name="connsiteX92" fmla="*/ 2840355 w 3008034"/>
                  <a:gd name="connsiteY92" fmla="*/ 1234440 h 3680460"/>
                  <a:gd name="connsiteX93" fmla="*/ 2817495 w 3008034"/>
                  <a:gd name="connsiteY93" fmla="*/ 1196340 h 3680460"/>
                  <a:gd name="connsiteX94" fmla="*/ 2802255 w 3008034"/>
                  <a:gd name="connsiteY94" fmla="*/ 1165860 h 3680460"/>
                  <a:gd name="connsiteX95" fmla="*/ 2771775 w 3008034"/>
                  <a:gd name="connsiteY95" fmla="*/ 1127760 h 3680460"/>
                  <a:gd name="connsiteX96" fmla="*/ 2756535 w 3008034"/>
                  <a:gd name="connsiteY96" fmla="*/ 1089660 h 3680460"/>
                  <a:gd name="connsiteX97" fmla="*/ 2726055 w 3008034"/>
                  <a:gd name="connsiteY97" fmla="*/ 1043940 h 3680460"/>
                  <a:gd name="connsiteX98" fmla="*/ 2718435 w 3008034"/>
                  <a:gd name="connsiteY98" fmla="*/ 1021080 h 3680460"/>
                  <a:gd name="connsiteX99" fmla="*/ 2672715 w 3008034"/>
                  <a:gd name="connsiteY99" fmla="*/ 937260 h 3680460"/>
                  <a:gd name="connsiteX100" fmla="*/ 2649855 w 3008034"/>
                  <a:gd name="connsiteY100" fmla="*/ 876300 h 3680460"/>
                  <a:gd name="connsiteX101" fmla="*/ 2634615 w 3008034"/>
                  <a:gd name="connsiteY101" fmla="*/ 845820 h 3680460"/>
                  <a:gd name="connsiteX102" fmla="*/ 2626995 w 3008034"/>
                  <a:gd name="connsiteY102" fmla="*/ 822960 h 3680460"/>
                  <a:gd name="connsiteX103" fmla="*/ 2611755 w 3008034"/>
                  <a:gd name="connsiteY103" fmla="*/ 800100 h 3680460"/>
                  <a:gd name="connsiteX104" fmla="*/ 2588895 w 3008034"/>
                  <a:gd name="connsiteY104" fmla="*/ 739140 h 3680460"/>
                  <a:gd name="connsiteX105" fmla="*/ 2448878 w 3008034"/>
                  <a:gd name="connsiteY105" fmla="*/ 621983 h 3680460"/>
                  <a:gd name="connsiteX106" fmla="*/ 2291715 w 3008034"/>
                  <a:gd name="connsiteY106" fmla="*/ 458152 h 3680460"/>
                  <a:gd name="connsiteX107" fmla="*/ 2227898 w 3008034"/>
                  <a:gd name="connsiteY107" fmla="*/ 406717 h 3680460"/>
                  <a:gd name="connsiteX108" fmla="*/ 2093595 w 3008034"/>
                  <a:gd name="connsiteY108" fmla="*/ 312420 h 3680460"/>
                  <a:gd name="connsiteX109" fmla="*/ 2032635 w 3008034"/>
                  <a:gd name="connsiteY109" fmla="*/ 266700 h 3680460"/>
                  <a:gd name="connsiteX110" fmla="*/ 1994535 w 3008034"/>
                  <a:gd name="connsiteY110" fmla="*/ 251460 h 3680460"/>
                  <a:gd name="connsiteX111" fmla="*/ 1948815 w 3008034"/>
                  <a:gd name="connsiteY111" fmla="*/ 220980 h 3680460"/>
                  <a:gd name="connsiteX112" fmla="*/ 1887855 w 3008034"/>
                  <a:gd name="connsiteY11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817495 w 3008034"/>
                  <a:gd name="connsiteY92" fmla="*/ 1196340 h 3680460"/>
                  <a:gd name="connsiteX93" fmla="*/ 2802255 w 3008034"/>
                  <a:gd name="connsiteY93" fmla="*/ 1165860 h 3680460"/>
                  <a:gd name="connsiteX94" fmla="*/ 2771775 w 3008034"/>
                  <a:gd name="connsiteY94" fmla="*/ 1127760 h 3680460"/>
                  <a:gd name="connsiteX95" fmla="*/ 2756535 w 3008034"/>
                  <a:gd name="connsiteY95" fmla="*/ 1089660 h 3680460"/>
                  <a:gd name="connsiteX96" fmla="*/ 2726055 w 3008034"/>
                  <a:gd name="connsiteY96" fmla="*/ 1043940 h 3680460"/>
                  <a:gd name="connsiteX97" fmla="*/ 2718435 w 3008034"/>
                  <a:gd name="connsiteY97" fmla="*/ 1021080 h 3680460"/>
                  <a:gd name="connsiteX98" fmla="*/ 2672715 w 3008034"/>
                  <a:gd name="connsiteY98" fmla="*/ 937260 h 3680460"/>
                  <a:gd name="connsiteX99" fmla="*/ 2649855 w 3008034"/>
                  <a:gd name="connsiteY99" fmla="*/ 876300 h 3680460"/>
                  <a:gd name="connsiteX100" fmla="*/ 2634615 w 3008034"/>
                  <a:gd name="connsiteY100" fmla="*/ 845820 h 3680460"/>
                  <a:gd name="connsiteX101" fmla="*/ 2626995 w 3008034"/>
                  <a:gd name="connsiteY101" fmla="*/ 822960 h 3680460"/>
                  <a:gd name="connsiteX102" fmla="*/ 2611755 w 3008034"/>
                  <a:gd name="connsiteY102" fmla="*/ 800100 h 3680460"/>
                  <a:gd name="connsiteX103" fmla="*/ 2588895 w 3008034"/>
                  <a:gd name="connsiteY103" fmla="*/ 739140 h 3680460"/>
                  <a:gd name="connsiteX104" fmla="*/ 2448878 w 3008034"/>
                  <a:gd name="connsiteY104" fmla="*/ 621983 h 3680460"/>
                  <a:gd name="connsiteX105" fmla="*/ 2291715 w 3008034"/>
                  <a:gd name="connsiteY105" fmla="*/ 458152 h 3680460"/>
                  <a:gd name="connsiteX106" fmla="*/ 2227898 w 3008034"/>
                  <a:gd name="connsiteY106" fmla="*/ 406717 h 3680460"/>
                  <a:gd name="connsiteX107" fmla="*/ 2093595 w 3008034"/>
                  <a:gd name="connsiteY107" fmla="*/ 312420 h 3680460"/>
                  <a:gd name="connsiteX108" fmla="*/ 2032635 w 3008034"/>
                  <a:gd name="connsiteY108" fmla="*/ 266700 h 3680460"/>
                  <a:gd name="connsiteX109" fmla="*/ 1994535 w 3008034"/>
                  <a:gd name="connsiteY109" fmla="*/ 251460 h 3680460"/>
                  <a:gd name="connsiteX110" fmla="*/ 1948815 w 3008034"/>
                  <a:gd name="connsiteY110" fmla="*/ 220980 h 3680460"/>
                  <a:gd name="connsiteX111" fmla="*/ 1887855 w 3008034"/>
                  <a:gd name="connsiteY11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802255 w 3008034"/>
                  <a:gd name="connsiteY92" fmla="*/ 1165860 h 3680460"/>
                  <a:gd name="connsiteX93" fmla="*/ 2771775 w 3008034"/>
                  <a:gd name="connsiteY93" fmla="*/ 1127760 h 3680460"/>
                  <a:gd name="connsiteX94" fmla="*/ 2756535 w 3008034"/>
                  <a:gd name="connsiteY94" fmla="*/ 1089660 h 3680460"/>
                  <a:gd name="connsiteX95" fmla="*/ 2726055 w 3008034"/>
                  <a:gd name="connsiteY95" fmla="*/ 1043940 h 3680460"/>
                  <a:gd name="connsiteX96" fmla="*/ 2718435 w 3008034"/>
                  <a:gd name="connsiteY96" fmla="*/ 1021080 h 3680460"/>
                  <a:gd name="connsiteX97" fmla="*/ 2672715 w 3008034"/>
                  <a:gd name="connsiteY97" fmla="*/ 937260 h 3680460"/>
                  <a:gd name="connsiteX98" fmla="*/ 2649855 w 3008034"/>
                  <a:gd name="connsiteY98" fmla="*/ 876300 h 3680460"/>
                  <a:gd name="connsiteX99" fmla="*/ 2634615 w 3008034"/>
                  <a:gd name="connsiteY99" fmla="*/ 845820 h 3680460"/>
                  <a:gd name="connsiteX100" fmla="*/ 2626995 w 3008034"/>
                  <a:gd name="connsiteY100" fmla="*/ 822960 h 3680460"/>
                  <a:gd name="connsiteX101" fmla="*/ 2611755 w 3008034"/>
                  <a:gd name="connsiteY101" fmla="*/ 800100 h 3680460"/>
                  <a:gd name="connsiteX102" fmla="*/ 2588895 w 3008034"/>
                  <a:gd name="connsiteY102" fmla="*/ 739140 h 3680460"/>
                  <a:gd name="connsiteX103" fmla="*/ 2448878 w 3008034"/>
                  <a:gd name="connsiteY103" fmla="*/ 621983 h 3680460"/>
                  <a:gd name="connsiteX104" fmla="*/ 2291715 w 3008034"/>
                  <a:gd name="connsiteY104" fmla="*/ 458152 h 3680460"/>
                  <a:gd name="connsiteX105" fmla="*/ 2227898 w 3008034"/>
                  <a:gd name="connsiteY105" fmla="*/ 406717 h 3680460"/>
                  <a:gd name="connsiteX106" fmla="*/ 2093595 w 3008034"/>
                  <a:gd name="connsiteY106" fmla="*/ 312420 h 3680460"/>
                  <a:gd name="connsiteX107" fmla="*/ 2032635 w 3008034"/>
                  <a:gd name="connsiteY107" fmla="*/ 266700 h 3680460"/>
                  <a:gd name="connsiteX108" fmla="*/ 1994535 w 3008034"/>
                  <a:gd name="connsiteY108" fmla="*/ 251460 h 3680460"/>
                  <a:gd name="connsiteX109" fmla="*/ 1948815 w 3008034"/>
                  <a:gd name="connsiteY109" fmla="*/ 220980 h 3680460"/>
                  <a:gd name="connsiteX110" fmla="*/ 1887855 w 3008034"/>
                  <a:gd name="connsiteY11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71775 w 3008034"/>
                  <a:gd name="connsiteY92" fmla="*/ 1127760 h 3680460"/>
                  <a:gd name="connsiteX93" fmla="*/ 2756535 w 3008034"/>
                  <a:gd name="connsiteY93" fmla="*/ 1089660 h 3680460"/>
                  <a:gd name="connsiteX94" fmla="*/ 2726055 w 3008034"/>
                  <a:gd name="connsiteY94" fmla="*/ 1043940 h 3680460"/>
                  <a:gd name="connsiteX95" fmla="*/ 2718435 w 3008034"/>
                  <a:gd name="connsiteY95" fmla="*/ 1021080 h 3680460"/>
                  <a:gd name="connsiteX96" fmla="*/ 2672715 w 3008034"/>
                  <a:gd name="connsiteY96" fmla="*/ 937260 h 3680460"/>
                  <a:gd name="connsiteX97" fmla="*/ 2649855 w 3008034"/>
                  <a:gd name="connsiteY97" fmla="*/ 876300 h 3680460"/>
                  <a:gd name="connsiteX98" fmla="*/ 2634615 w 3008034"/>
                  <a:gd name="connsiteY98" fmla="*/ 845820 h 3680460"/>
                  <a:gd name="connsiteX99" fmla="*/ 2626995 w 3008034"/>
                  <a:gd name="connsiteY99" fmla="*/ 822960 h 3680460"/>
                  <a:gd name="connsiteX100" fmla="*/ 2611755 w 3008034"/>
                  <a:gd name="connsiteY100" fmla="*/ 800100 h 3680460"/>
                  <a:gd name="connsiteX101" fmla="*/ 2588895 w 3008034"/>
                  <a:gd name="connsiteY101" fmla="*/ 739140 h 3680460"/>
                  <a:gd name="connsiteX102" fmla="*/ 2448878 w 3008034"/>
                  <a:gd name="connsiteY102" fmla="*/ 621983 h 3680460"/>
                  <a:gd name="connsiteX103" fmla="*/ 2291715 w 3008034"/>
                  <a:gd name="connsiteY103" fmla="*/ 458152 h 3680460"/>
                  <a:gd name="connsiteX104" fmla="*/ 2227898 w 3008034"/>
                  <a:gd name="connsiteY104" fmla="*/ 406717 h 3680460"/>
                  <a:gd name="connsiteX105" fmla="*/ 2093595 w 3008034"/>
                  <a:gd name="connsiteY105" fmla="*/ 312420 h 3680460"/>
                  <a:gd name="connsiteX106" fmla="*/ 2032635 w 3008034"/>
                  <a:gd name="connsiteY106" fmla="*/ 266700 h 3680460"/>
                  <a:gd name="connsiteX107" fmla="*/ 1994535 w 3008034"/>
                  <a:gd name="connsiteY107" fmla="*/ 251460 h 3680460"/>
                  <a:gd name="connsiteX108" fmla="*/ 1948815 w 3008034"/>
                  <a:gd name="connsiteY108" fmla="*/ 220980 h 3680460"/>
                  <a:gd name="connsiteX109" fmla="*/ 1887855 w 3008034"/>
                  <a:gd name="connsiteY10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26995 w 3008034"/>
                  <a:gd name="connsiteY98" fmla="*/ 822960 h 3680460"/>
                  <a:gd name="connsiteX99" fmla="*/ 2611755 w 3008034"/>
                  <a:gd name="connsiteY99" fmla="*/ 800100 h 3680460"/>
                  <a:gd name="connsiteX100" fmla="*/ 2588895 w 3008034"/>
                  <a:gd name="connsiteY100" fmla="*/ 739140 h 3680460"/>
                  <a:gd name="connsiteX101" fmla="*/ 2448878 w 3008034"/>
                  <a:gd name="connsiteY101" fmla="*/ 621983 h 3680460"/>
                  <a:gd name="connsiteX102" fmla="*/ 2291715 w 3008034"/>
                  <a:gd name="connsiteY102" fmla="*/ 458152 h 3680460"/>
                  <a:gd name="connsiteX103" fmla="*/ 2227898 w 3008034"/>
                  <a:gd name="connsiteY103" fmla="*/ 406717 h 3680460"/>
                  <a:gd name="connsiteX104" fmla="*/ 2093595 w 3008034"/>
                  <a:gd name="connsiteY104" fmla="*/ 312420 h 3680460"/>
                  <a:gd name="connsiteX105" fmla="*/ 2032635 w 3008034"/>
                  <a:gd name="connsiteY105" fmla="*/ 266700 h 3680460"/>
                  <a:gd name="connsiteX106" fmla="*/ 1994535 w 3008034"/>
                  <a:gd name="connsiteY106" fmla="*/ 251460 h 3680460"/>
                  <a:gd name="connsiteX107" fmla="*/ 1948815 w 3008034"/>
                  <a:gd name="connsiteY107" fmla="*/ 220980 h 3680460"/>
                  <a:gd name="connsiteX108" fmla="*/ 1887855 w 3008034"/>
                  <a:gd name="connsiteY10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11755 w 3008034"/>
                  <a:gd name="connsiteY98" fmla="*/ 800100 h 3680460"/>
                  <a:gd name="connsiteX99" fmla="*/ 2588895 w 3008034"/>
                  <a:gd name="connsiteY99" fmla="*/ 739140 h 3680460"/>
                  <a:gd name="connsiteX100" fmla="*/ 2448878 w 3008034"/>
                  <a:gd name="connsiteY100" fmla="*/ 621983 h 3680460"/>
                  <a:gd name="connsiteX101" fmla="*/ 2291715 w 3008034"/>
                  <a:gd name="connsiteY101" fmla="*/ 458152 h 3680460"/>
                  <a:gd name="connsiteX102" fmla="*/ 2227898 w 3008034"/>
                  <a:gd name="connsiteY102" fmla="*/ 406717 h 3680460"/>
                  <a:gd name="connsiteX103" fmla="*/ 2093595 w 3008034"/>
                  <a:gd name="connsiteY103" fmla="*/ 312420 h 3680460"/>
                  <a:gd name="connsiteX104" fmla="*/ 2032635 w 3008034"/>
                  <a:gd name="connsiteY104" fmla="*/ 266700 h 3680460"/>
                  <a:gd name="connsiteX105" fmla="*/ 1994535 w 3008034"/>
                  <a:gd name="connsiteY105" fmla="*/ 251460 h 3680460"/>
                  <a:gd name="connsiteX106" fmla="*/ 1948815 w 3008034"/>
                  <a:gd name="connsiteY106" fmla="*/ 220980 h 3680460"/>
                  <a:gd name="connsiteX107" fmla="*/ 1887855 w 3008034"/>
                  <a:gd name="connsiteY10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11755 w 3008034"/>
                  <a:gd name="connsiteY98" fmla="*/ 800100 h 3680460"/>
                  <a:gd name="connsiteX99" fmla="*/ 2448878 w 3008034"/>
                  <a:gd name="connsiteY99" fmla="*/ 621983 h 3680460"/>
                  <a:gd name="connsiteX100" fmla="*/ 2291715 w 3008034"/>
                  <a:gd name="connsiteY100" fmla="*/ 458152 h 3680460"/>
                  <a:gd name="connsiteX101" fmla="*/ 2227898 w 3008034"/>
                  <a:gd name="connsiteY101" fmla="*/ 406717 h 3680460"/>
                  <a:gd name="connsiteX102" fmla="*/ 2093595 w 3008034"/>
                  <a:gd name="connsiteY102" fmla="*/ 312420 h 3680460"/>
                  <a:gd name="connsiteX103" fmla="*/ 2032635 w 3008034"/>
                  <a:gd name="connsiteY103" fmla="*/ 266700 h 3680460"/>
                  <a:gd name="connsiteX104" fmla="*/ 1994535 w 3008034"/>
                  <a:gd name="connsiteY104" fmla="*/ 251460 h 3680460"/>
                  <a:gd name="connsiteX105" fmla="*/ 1948815 w 3008034"/>
                  <a:gd name="connsiteY105" fmla="*/ 220980 h 3680460"/>
                  <a:gd name="connsiteX106" fmla="*/ 1887855 w 3008034"/>
                  <a:gd name="connsiteY10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18435 w 3008034"/>
                  <a:gd name="connsiteY17" fmla="*/ 678180 h 3680460"/>
                  <a:gd name="connsiteX18" fmla="*/ 2718435 w 3008034"/>
                  <a:gd name="connsiteY18" fmla="*/ 678180 h 3680460"/>
                  <a:gd name="connsiteX19" fmla="*/ 2756535 w 3008034"/>
                  <a:gd name="connsiteY19" fmla="*/ 754380 h 3680460"/>
                  <a:gd name="connsiteX20" fmla="*/ 2809875 w 3008034"/>
                  <a:gd name="connsiteY20" fmla="*/ 830580 h 3680460"/>
                  <a:gd name="connsiteX21" fmla="*/ 2908935 w 3008034"/>
                  <a:gd name="connsiteY21" fmla="*/ 1036320 h 3680460"/>
                  <a:gd name="connsiteX22" fmla="*/ 2924175 w 3008034"/>
                  <a:gd name="connsiteY22" fmla="*/ 1074420 h 3680460"/>
                  <a:gd name="connsiteX23" fmla="*/ 2954655 w 3008034"/>
                  <a:gd name="connsiteY23" fmla="*/ 1203960 h 3680460"/>
                  <a:gd name="connsiteX24" fmla="*/ 2969895 w 3008034"/>
                  <a:gd name="connsiteY24" fmla="*/ 1264920 h 3680460"/>
                  <a:gd name="connsiteX25" fmla="*/ 2985135 w 3008034"/>
                  <a:gd name="connsiteY25" fmla="*/ 1348740 h 3680460"/>
                  <a:gd name="connsiteX26" fmla="*/ 3000375 w 3008034"/>
                  <a:gd name="connsiteY26" fmla="*/ 1432560 h 3680460"/>
                  <a:gd name="connsiteX27" fmla="*/ 3007995 w 3008034"/>
                  <a:gd name="connsiteY27" fmla="*/ 1684020 h 3680460"/>
                  <a:gd name="connsiteX28" fmla="*/ 3003233 w 3008034"/>
                  <a:gd name="connsiteY28" fmla="*/ 1990725 h 3680460"/>
                  <a:gd name="connsiteX29" fmla="*/ 2969895 w 3008034"/>
                  <a:gd name="connsiteY29" fmla="*/ 2194560 h 3680460"/>
                  <a:gd name="connsiteX30" fmla="*/ 2931795 w 3008034"/>
                  <a:gd name="connsiteY30" fmla="*/ 2324100 h 3680460"/>
                  <a:gd name="connsiteX31" fmla="*/ 2916555 w 3008034"/>
                  <a:gd name="connsiteY31" fmla="*/ 2392680 h 3680460"/>
                  <a:gd name="connsiteX32" fmla="*/ 2867978 w 3008034"/>
                  <a:gd name="connsiteY32" fmla="*/ 2521267 h 3680460"/>
                  <a:gd name="connsiteX33" fmla="*/ 2801303 w 3008034"/>
                  <a:gd name="connsiteY33" fmla="*/ 2656523 h 3680460"/>
                  <a:gd name="connsiteX34" fmla="*/ 2719387 w 3008034"/>
                  <a:gd name="connsiteY34" fmla="*/ 2818447 h 3680460"/>
                  <a:gd name="connsiteX35" fmla="*/ 2495550 w 3008034"/>
                  <a:gd name="connsiteY35" fmla="*/ 3084195 h 3680460"/>
                  <a:gd name="connsiteX36" fmla="*/ 2396490 w 3008034"/>
                  <a:gd name="connsiteY36" fmla="*/ 3185160 h 3680460"/>
                  <a:gd name="connsiteX37" fmla="*/ 2284095 w 3008034"/>
                  <a:gd name="connsiteY37" fmla="*/ 3284220 h 3680460"/>
                  <a:gd name="connsiteX38" fmla="*/ 2131695 w 3008034"/>
                  <a:gd name="connsiteY38" fmla="*/ 3390900 h 3680460"/>
                  <a:gd name="connsiteX39" fmla="*/ 2000250 w 3008034"/>
                  <a:gd name="connsiteY39" fmla="*/ 3448050 h 3680460"/>
                  <a:gd name="connsiteX40" fmla="*/ 1864995 w 3008034"/>
                  <a:gd name="connsiteY40" fmla="*/ 3512820 h 3680460"/>
                  <a:gd name="connsiteX41" fmla="*/ 1819275 w 3008034"/>
                  <a:gd name="connsiteY41" fmla="*/ 3520440 h 3680460"/>
                  <a:gd name="connsiteX42" fmla="*/ 1712595 w 3008034"/>
                  <a:gd name="connsiteY42" fmla="*/ 3550920 h 3680460"/>
                  <a:gd name="connsiteX43" fmla="*/ 1590675 w 3008034"/>
                  <a:gd name="connsiteY43" fmla="*/ 3589020 h 3680460"/>
                  <a:gd name="connsiteX44" fmla="*/ 1560195 w 3008034"/>
                  <a:gd name="connsiteY44" fmla="*/ 3596640 h 3680460"/>
                  <a:gd name="connsiteX45" fmla="*/ 1537335 w 3008034"/>
                  <a:gd name="connsiteY45" fmla="*/ 3611880 h 3680460"/>
                  <a:gd name="connsiteX46" fmla="*/ 1453515 w 3008034"/>
                  <a:gd name="connsiteY46" fmla="*/ 3627120 h 3680460"/>
                  <a:gd name="connsiteX47" fmla="*/ 1323975 w 3008034"/>
                  <a:gd name="connsiteY47" fmla="*/ 3657600 h 3680460"/>
                  <a:gd name="connsiteX48" fmla="*/ 1194435 w 3008034"/>
                  <a:gd name="connsiteY48" fmla="*/ 3672840 h 3680460"/>
                  <a:gd name="connsiteX49" fmla="*/ 1156335 w 3008034"/>
                  <a:gd name="connsiteY49" fmla="*/ 3680460 h 3680460"/>
                  <a:gd name="connsiteX50" fmla="*/ 625792 w 3008034"/>
                  <a:gd name="connsiteY50" fmla="*/ 3668078 h 3680460"/>
                  <a:gd name="connsiteX51" fmla="*/ 402908 w 3008034"/>
                  <a:gd name="connsiteY51" fmla="*/ 3614738 h 3680460"/>
                  <a:gd name="connsiteX52" fmla="*/ 266700 w 3008034"/>
                  <a:gd name="connsiteY52" fmla="*/ 3570922 h 3680460"/>
                  <a:gd name="connsiteX53" fmla="*/ 164782 w 3008034"/>
                  <a:gd name="connsiteY53" fmla="*/ 3515678 h 3680460"/>
                  <a:gd name="connsiteX54" fmla="*/ 31433 w 3008034"/>
                  <a:gd name="connsiteY54" fmla="*/ 3422333 h 3680460"/>
                  <a:gd name="connsiteX55" fmla="*/ 0 w 3008034"/>
                  <a:gd name="connsiteY55" fmla="*/ 3376613 h 3680460"/>
                  <a:gd name="connsiteX56" fmla="*/ 127635 w 3008034"/>
                  <a:gd name="connsiteY56" fmla="*/ 3360420 h 3680460"/>
                  <a:gd name="connsiteX57" fmla="*/ 158115 w 3008034"/>
                  <a:gd name="connsiteY57" fmla="*/ 3390900 h 3680460"/>
                  <a:gd name="connsiteX58" fmla="*/ 317183 w 3008034"/>
                  <a:gd name="connsiteY58" fmla="*/ 3450907 h 3680460"/>
                  <a:gd name="connsiteX59" fmla="*/ 485775 w 3008034"/>
                  <a:gd name="connsiteY59" fmla="*/ 3520440 h 3680460"/>
                  <a:gd name="connsiteX60" fmla="*/ 721995 w 3008034"/>
                  <a:gd name="connsiteY60" fmla="*/ 3558540 h 3680460"/>
                  <a:gd name="connsiteX61" fmla="*/ 1331595 w 3008034"/>
                  <a:gd name="connsiteY61" fmla="*/ 3550920 h 3680460"/>
                  <a:gd name="connsiteX62" fmla="*/ 1529715 w 3008034"/>
                  <a:gd name="connsiteY62" fmla="*/ 3520440 h 3680460"/>
                  <a:gd name="connsiteX63" fmla="*/ 1621155 w 3008034"/>
                  <a:gd name="connsiteY63" fmla="*/ 3497580 h 3680460"/>
                  <a:gd name="connsiteX64" fmla="*/ 1689735 w 3008034"/>
                  <a:gd name="connsiteY64" fmla="*/ 3474720 h 3680460"/>
                  <a:gd name="connsiteX65" fmla="*/ 1781175 w 3008034"/>
                  <a:gd name="connsiteY65" fmla="*/ 3451860 h 3680460"/>
                  <a:gd name="connsiteX66" fmla="*/ 1811655 w 3008034"/>
                  <a:gd name="connsiteY66" fmla="*/ 3444240 h 3680460"/>
                  <a:gd name="connsiteX67" fmla="*/ 1864995 w 3008034"/>
                  <a:gd name="connsiteY67" fmla="*/ 3421380 h 3680460"/>
                  <a:gd name="connsiteX68" fmla="*/ 1918335 w 3008034"/>
                  <a:gd name="connsiteY68" fmla="*/ 3398520 h 3680460"/>
                  <a:gd name="connsiteX69" fmla="*/ 1941195 w 3008034"/>
                  <a:gd name="connsiteY69" fmla="*/ 3390900 h 3680460"/>
                  <a:gd name="connsiteX70" fmla="*/ 1994535 w 3008034"/>
                  <a:gd name="connsiteY70" fmla="*/ 3360420 h 3680460"/>
                  <a:gd name="connsiteX71" fmla="*/ 2032635 w 3008034"/>
                  <a:gd name="connsiteY71" fmla="*/ 3352800 h 3680460"/>
                  <a:gd name="connsiteX72" fmla="*/ 2070735 w 3008034"/>
                  <a:gd name="connsiteY72" fmla="*/ 3337560 h 3680460"/>
                  <a:gd name="connsiteX73" fmla="*/ 2189797 w 3008034"/>
                  <a:gd name="connsiteY73" fmla="*/ 3251835 h 3680460"/>
                  <a:gd name="connsiteX74" fmla="*/ 2337435 w 3008034"/>
                  <a:gd name="connsiteY74" fmla="*/ 3154680 h 3680460"/>
                  <a:gd name="connsiteX75" fmla="*/ 2436495 w 3008034"/>
                  <a:gd name="connsiteY75" fmla="*/ 3032760 h 3680460"/>
                  <a:gd name="connsiteX76" fmla="*/ 2459355 w 3008034"/>
                  <a:gd name="connsiteY76" fmla="*/ 3009900 h 3680460"/>
                  <a:gd name="connsiteX77" fmla="*/ 2527935 w 3008034"/>
                  <a:gd name="connsiteY77" fmla="*/ 2926080 h 3680460"/>
                  <a:gd name="connsiteX78" fmla="*/ 2619375 w 3008034"/>
                  <a:gd name="connsiteY78" fmla="*/ 2811780 h 3680460"/>
                  <a:gd name="connsiteX79" fmla="*/ 2634615 w 3008034"/>
                  <a:gd name="connsiteY79" fmla="*/ 2773680 h 3680460"/>
                  <a:gd name="connsiteX80" fmla="*/ 2665095 w 3008034"/>
                  <a:gd name="connsiteY80" fmla="*/ 2727960 h 3680460"/>
                  <a:gd name="connsiteX81" fmla="*/ 2695575 w 3008034"/>
                  <a:gd name="connsiteY81" fmla="*/ 2667000 h 3680460"/>
                  <a:gd name="connsiteX82" fmla="*/ 2779395 w 3008034"/>
                  <a:gd name="connsiteY82" fmla="*/ 2484120 h 3680460"/>
                  <a:gd name="connsiteX83" fmla="*/ 2802255 w 3008034"/>
                  <a:gd name="connsiteY83" fmla="*/ 2407920 h 3680460"/>
                  <a:gd name="connsiteX84" fmla="*/ 2908935 w 3008034"/>
                  <a:gd name="connsiteY84" fmla="*/ 2049780 h 3680460"/>
                  <a:gd name="connsiteX85" fmla="*/ 2924175 w 3008034"/>
                  <a:gd name="connsiteY85" fmla="*/ 1844040 h 3680460"/>
                  <a:gd name="connsiteX86" fmla="*/ 2908935 w 3008034"/>
                  <a:gd name="connsiteY86" fmla="*/ 1470660 h 3680460"/>
                  <a:gd name="connsiteX87" fmla="*/ 2886075 w 3008034"/>
                  <a:gd name="connsiteY87" fmla="*/ 1371600 h 3680460"/>
                  <a:gd name="connsiteX88" fmla="*/ 2870835 w 3008034"/>
                  <a:gd name="connsiteY88" fmla="*/ 1341120 h 3680460"/>
                  <a:gd name="connsiteX89" fmla="*/ 2847975 w 3008034"/>
                  <a:gd name="connsiteY89" fmla="*/ 1272540 h 3680460"/>
                  <a:gd name="connsiteX90" fmla="*/ 2840355 w 3008034"/>
                  <a:gd name="connsiteY90" fmla="*/ 1234440 h 3680460"/>
                  <a:gd name="connsiteX91" fmla="*/ 2756535 w 3008034"/>
                  <a:gd name="connsiteY91" fmla="*/ 1089660 h 3680460"/>
                  <a:gd name="connsiteX92" fmla="*/ 2726055 w 3008034"/>
                  <a:gd name="connsiteY92" fmla="*/ 1043940 h 3680460"/>
                  <a:gd name="connsiteX93" fmla="*/ 2718435 w 3008034"/>
                  <a:gd name="connsiteY93" fmla="*/ 1021080 h 3680460"/>
                  <a:gd name="connsiteX94" fmla="*/ 2672715 w 3008034"/>
                  <a:gd name="connsiteY94" fmla="*/ 937260 h 3680460"/>
                  <a:gd name="connsiteX95" fmla="*/ 2649855 w 3008034"/>
                  <a:gd name="connsiteY95" fmla="*/ 876300 h 3680460"/>
                  <a:gd name="connsiteX96" fmla="*/ 2634615 w 3008034"/>
                  <a:gd name="connsiteY96" fmla="*/ 845820 h 3680460"/>
                  <a:gd name="connsiteX97" fmla="*/ 2611755 w 3008034"/>
                  <a:gd name="connsiteY97" fmla="*/ 800100 h 3680460"/>
                  <a:gd name="connsiteX98" fmla="*/ 2448878 w 3008034"/>
                  <a:gd name="connsiteY98" fmla="*/ 621983 h 3680460"/>
                  <a:gd name="connsiteX99" fmla="*/ 2291715 w 3008034"/>
                  <a:gd name="connsiteY99" fmla="*/ 458152 h 3680460"/>
                  <a:gd name="connsiteX100" fmla="*/ 2227898 w 3008034"/>
                  <a:gd name="connsiteY100" fmla="*/ 406717 h 3680460"/>
                  <a:gd name="connsiteX101" fmla="*/ 2093595 w 3008034"/>
                  <a:gd name="connsiteY101" fmla="*/ 312420 h 3680460"/>
                  <a:gd name="connsiteX102" fmla="*/ 2032635 w 3008034"/>
                  <a:gd name="connsiteY102" fmla="*/ 266700 h 3680460"/>
                  <a:gd name="connsiteX103" fmla="*/ 1994535 w 3008034"/>
                  <a:gd name="connsiteY103" fmla="*/ 251460 h 3680460"/>
                  <a:gd name="connsiteX104" fmla="*/ 1948815 w 3008034"/>
                  <a:gd name="connsiteY104" fmla="*/ 220980 h 3680460"/>
                  <a:gd name="connsiteX105" fmla="*/ 1887855 w 3008034"/>
                  <a:gd name="connsiteY10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18435 w 3008034"/>
                  <a:gd name="connsiteY17" fmla="*/ 678180 h 3680460"/>
                  <a:gd name="connsiteX18" fmla="*/ 2756535 w 3008034"/>
                  <a:gd name="connsiteY18" fmla="*/ 754380 h 3680460"/>
                  <a:gd name="connsiteX19" fmla="*/ 2809875 w 3008034"/>
                  <a:gd name="connsiteY19" fmla="*/ 830580 h 3680460"/>
                  <a:gd name="connsiteX20" fmla="*/ 2908935 w 3008034"/>
                  <a:gd name="connsiteY20" fmla="*/ 1036320 h 3680460"/>
                  <a:gd name="connsiteX21" fmla="*/ 2924175 w 3008034"/>
                  <a:gd name="connsiteY21" fmla="*/ 1074420 h 3680460"/>
                  <a:gd name="connsiteX22" fmla="*/ 2954655 w 3008034"/>
                  <a:gd name="connsiteY22" fmla="*/ 1203960 h 3680460"/>
                  <a:gd name="connsiteX23" fmla="*/ 2969895 w 3008034"/>
                  <a:gd name="connsiteY23" fmla="*/ 1264920 h 3680460"/>
                  <a:gd name="connsiteX24" fmla="*/ 2985135 w 3008034"/>
                  <a:gd name="connsiteY24" fmla="*/ 1348740 h 3680460"/>
                  <a:gd name="connsiteX25" fmla="*/ 3000375 w 3008034"/>
                  <a:gd name="connsiteY25" fmla="*/ 1432560 h 3680460"/>
                  <a:gd name="connsiteX26" fmla="*/ 3007995 w 3008034"/>
                  <a:gd name="connsiteY26" fmla="*/ 1684020 h 3680460"/>
                  <a:gd name="connsiteX27" fmla="*/ 3003233 w 3008034"/>
                  <a:gd name="connsiteY27" fmla="*/ 1990725 h 3680460"/>
                  <a:gd name="connsiteX28" fmla="*/ 2969895 w 3008034"/>
                  <a:gd name="connsiteY28" fmla="*/ 2194560 h 3680460"/>
                  <a:gd name="connsiteX29" fmla="*/ 2931795 w 3008034"/>
                  <a:gd name="connsiteY29" fmla="*/ 2324100 h 3680460"/>
                  <a:gd name="connsiteX30" fmla="*/ 2916555 w 3008034"/>
                  <a:gd name="connsiteY30" fmla="*/ 2392680 h 3680460"/>
                  <a:gd name="connsiteX31" fmla="*/ 2867978 w 3008034"/>
                  <a:gd name="connsiteY31" fmla="*/ 2521267 h 3680460"/>
                  <a:gd name="connsiteX32" fmla="*/ 2801303 w 3008034"/>
                  <a:gd name="connsiteY32" fmla="*/ 2656523 h 3680460"/>
                  <a:gd name="connsiteX33" fmla="*/ 2719387 w 3008034"/>
                  <a:gd name="connsiteY33" fmla="*/ 2818447 h 3680460"/>
                  <a:gd name="connsiteX34" fmla="*/ 2495550 w 3008034"/>
                  <a:gd name="connsiteY34" fmla="*/ 3084195 h 3680460"/>
                  <a:gd name="connsiteX35" fmla="*/ 2396490 w 3008034"/>
                  <a:gd name="connsiteY35" fmla="*/ 3185160 h 3680460"/>
                  <a:gd name="connsiteX36" fmla="*/ 2284095 w 3008034"/>
                  <a:gd name="connsiteY36" fmla="*/ 3284220 h 3680460"/>
                  <a:gd name="connsiteX37" fmla="*/ 2131695 w 3008034"/>
                  <a:gd name="connsiteY37" fmla="*/ 3390900 h 3680460"/>
                  <a:gd name="connsiteX38" fmla="*/ 2000250 w 3008034"/>
                  <a:gd name="connsiteY38" fmla="*/ 3448050 h 3680460"/>
                  <a:gd name="connsiteX39" fmla="*/ 1864995 w 3008034"/>
                  <a:gd name="connsiteY39" fmla="*/ 3512820 h 3680460"/>
                  <a:gd name="connsiteX40" fmla="*/ 1819275 w 3008034"/>
                  <a:gd name="connsiteY40" fmla="*/ 3520440 h 3680460"/>
                  <a:gd name="connsiteX41" fmla="*/ 1712595 w 3008034"/>
                  <a:gd name="connsiteY41" fmla="*/ 3550920 h 3680460"/>
                  <a:gd name="connsiteX42" fmla="*/ 1590675 w 3008034"/>
                  <a:gd name="connsiteY42" fmla="*/ 3589020 h 3680460"/>
                  <a:gd name="connsiteX43" fmla="*/ 1560195 w 3008034"/>
                  <a:gd name="connsiteY43" fmla="*/ 3596640 h 3680460"/>
                  <a:gd name="connsiteX44" fmla="*/ 1537335 w 3008034"/>
                  <a:gd name="connsiteY44" fmla="*/ 3611880 h 3680460"/>
                  <a:gd name="connsiteX45" fmla="*/ 1453515 w 3008034"/>
                  <a:gd name="connsiteY45" fmla="*/ 3627120 h 3680460"/>
                  <a:gd name="connsiteX46" fmla="*/ 1323975 w 3008034"/>
                  <a:gd name="connsiteY46" fmla="*/ 3657600 h 3680460"/>
                  <a:gd name="connsiteX47" fmla="*/ 1194435 w 3008034"/>
                  <a:gd name="connsiteY47" fmla="*/ 3672840 h 3680460"/>
                  <a:gd name="connsiteX48" fmla="*/ 1156335 w 3008034"/>
                  <a:gd name="connsiteY48" fmla="*/ 3680460 h 3680460"/>
                  <a:gd name="connsiteX49" fmla="*/ 625792 w 3008034"/>
                  <a:gd name="connsiteY49" fmla="*/ 3668078 h 3680460"/>
                  <a:gd name="connsiteX50" fmla="*/ 402908 w 3008034"/>
                  <a:gd name="connsiteY50" fmla="*/ 3614738 h 3680460"/>
                  <a:gd name="connsiteX51" fmla="*/ 266700 w 3008034"/>
                  <a:gd name="connsiteY51" fmla="*/ 3570922 h 3680460"/>
                  <a:gd name="connsiteX52" fmla="*/ 164782 w 3008034"/>
                  <a:gd name="connsiteY52" fmla="*/ 3515678 h 3680460"/>
                  <a:gd name="connsiteX53" fmla="*/ 31433 w 3008034"/>
                  <a:gd name="connsiteY53" fmla="*/ 3422333 h 3680460"/>
                  <a:gd name="connsiteX54" fmla="*/ 0 w 3008034"/>
                  <a:gd name="connsiteY54" fmla="*/ 3376613 h 3680460"/>
                  <a:gd name="connsiteX55" fmla="*/ 127635 w 3008034"/>
                  <a:gd name="connsiteY55" fmla="*/ 3360420 h 3680460"/>
                  <a:gd name="connsiteX56" fmla="*/ 158115 w 3008034"/>
                  <a:gd name="connsiteY56" fmla="*/ 3390900 h 3680460"/>
                  <a:gd name="connsiteX57" fmla="*/ 317183 w 3008034"/>
                  <a:gd name="connsiteY57" fmla="*/ 3450907 h 3680460"/>
                  <a:gd name="connsiteX58" fmla="*/ 485775 w 3008034"/>
                  <a:gd name="connsiteY58" fmla="*/ 3520440 h 3680460"/>
                  <a:gd name="connsiteX59" fmla="*/ 721995 w 3008034"/>
                  <a:gd name="connsiteY59" fmla="*/ 3558540 h 3680460"/>
                  <a:gd name="connsiteX60" fmla="*/ 1331595 w 3008034"/>
                  <a:gd name="connsiteY60" fmla="*/ 3550920 h 3680460"/>
                  <a:gd name="connsiteX61" fmla="*/ 1529715 w 3008034"/>
                  <a:gd name="connsiteY61" fmla="*/ 3520440 h 3680460"/>
                  <a:gd name="connsiteX62" fmla="*/ 1621155 w 3008034"/>
                  <a:gd name="connsiteY62" fmla="*/ 3497580 h 3680460"/>
                  <a:gd name="connsiteX63" fmla="*/ 1689735 w 3008034"/>
                  <a:gd name="connsiteY63" fmla="*/ 3474720 h 3680460"/>
                  <a:gd name="connsiteX64" fmla="*/ 1781175 w 3008034"/>
                  <a:gd name="connsiteY64" fmla="*/ 3451860 h 3680460"/>
                  <a:gd name="connsiteX65" fmla="*/ 1811655 w 3008034"/>
                  <a:gd name="connsiteY65" fmla="*/ 3444240 h 3680460"/>
                  <a:gd name="connsiteX66" fmla="*/ 1864995 w 3008034"/>
                  <a:gd name="connsiteY66" fmla="*/ 3421380 h 3680460"/>
                  <a:gd name="connsiteX67" fmla="*/ 1918335 w 3008034"/>
                  <a:gd name="connsiteY67" fmla="*/ 3398520 h 3680460"/>
                  <a:gd name="connsiteX68" fmla="*/ 1941195 w 3008034"/>
                  <a:gd name="connsiteY68" fmla="*/ 3390900 h 3680460"/>
                  <a:gd name="connsiteX69" fmla="*/ 1994535 w 3008034"/>
                  <a:gd name="connsiteY69" fmla="*/ 3360420 h 3680460"/>
                  <a:gd name="connsiteX70" fmla="*/ 2032635 w 3008034"/>
                  <a:gd name="connsiteY70" fmla="*/ 3352800 h 3680460"/>
                  <a:gd name="connsiteX71" fmla="*/ 2070735 w 3008034"/>
                  <a:gd name="connsiteY71" fmla="*/ 3337560 h 3680460"/>
                  <a:gd name="connsiteX72" fmla="*/ 2189797 w 3008034"/>
                  <a:gd name="connsiteY72" fmla="*/ 3251835 h 3680460"/>
                  <a:gd name="connsiteX73" fmla="*/ 2337435 w 3008034"/>
                  <a:gd name="connsiteY73" fmla="*/ 3154680 h 3680460"/>
                  <a:gd name="connsiteX74" fmla="*/ 2436495 w 3008034"/>
                  <a:gd name="connsiteY74" fmla="*/ 3032760 h 3680460"/>
                  <a:gd name="connsiteX75" fmla="*/ 2459355 w 3008034"/>
                  <a:gd name="connsiteY75" fmla="*/ 3009900 h 3680460"/>
                  <a:gd name="connsiteX76" fmla="*/ 2527935 w 3008034"/>
                  <a:gd name="connsiteY76" fmla="*/ 2926080 h 3680460"/>
                  <a:gd name="connsiteX77" fmla="*/ 2619375 w 3008034"/>
                  <a:gd name="connsiteY77" fmla="*/ 2811780 h 3680460"/>
                  <a:gd name="connsiteX78" fmla="*/ 2634615 w 3008034"/>
                  <a:gd name="connsiteY78" fmla="*/ 2773680 h 3680460"/>
                  <a:gd name="connsiteX79" fmla="*/ 2665095 w 3008034"/>
                  <a:gd name="connsiteY79" fmla="*/ 2727960 h 3680460"/>
                  <a:gd name="connsiteX80" fmla="*/ 2695575 w 3008034"/>
                  <a:gd name="connsiteY80" fmla="*/ 2667000 h 3680460"/>
                  <a:gd name="connsiteX81" fmla="*/ 2779395 w 3008034"/>
                  <a:gd name="connsiteY81" fmla="*/ 2484120 h 3680460"/>
                  <a:gd name="connsiteX82" fmla="*/ 2802255 w 3008034"/>
                  <a:gd name="connsiteY82" fmla="*/ 2407920 h 3680460"/>
                  <a:gd name="connsiteX83" fmla="*/ 2908935 w 3008034"/>
                  <a:gd name="connsiteY83" fmla="*/ 2049780 h 3680460"/>
                  <a:gd name="connsiteX84" fmla="*/ 2924175 w 3008034"/>
                  <a:gd name="connsiteY84" fmla="*/ 1844040 h 3680460"/>
                  <a:gd name="connsiteX85" fmla="*/ 2908935 w 3008034"/>
                  <a:gd name="connsiteY85" fmla="*/ 1470660 h 3680460"/>
                  <a:gd name="connsiteX86" fmla="*/ 2886075 w 3008034"/>
                  <a:gd name="connsiteY86" fmla="*/ 1371600 h 3680460"/>
                  <a:gd name="connsiteX87" fmla="*/ 2870835 w 3008034"/>
                  <a:gd name="connsiteY87" fmla="*/ 1341120 h 3680460"/>
                  <a:gd name="connsiteX88" fmla="*/ 2847975 w 3008034"/>
                  <a:gd name="connsiteY88" fmla="*/ 1272540 h 3680460"/>
                  <a:gd name="connsiteX89" fmla="*/ 2840355 w 3008034"/>
                  <a:gd name="connsiteY89" fmla="*/ 1234440 h 3680460"/>
                  <a:gd name="connsiteX90" fmla="*/ 2756535 w 3008034"/>
                  <a:gd name="connsiteY90" fmla="*/ 1089660 h 3680460"/>
                  <a:gd name="connsiteX91" fmla="*/ 2726055 w 3008034"/>
                  <a:gd name="connsiteY91" fmla="*/ 1043940 h 3680460"/>
                  <a:gd name="connsiteX92" fmla="*/ 2718435 w 3008034"/>
                  <a:gd name="connsiteY92" fmla="*/ 1021080 h 3680460"/>
                  <a:gd name="connsiteX93" fmla="*/ 2672715 w 3008034"/>
                  <a:gd name="connsiteY93" fmla="*/ 937260 h 3680460"/>
                  <a:gd name="connsiteX94" fmla="*/ 2649855 w 3008034"/>
                  <a:gd name="connsiteY94" fmla="*/ 876300 h 3680460"/>
                  <a:gd name="connsiteX95" fmla="*/ 2634615 w 3008034"/>
                  <a:gd name="connsiteY95" fmla="*/ 845820 h 3680460"/>
                  <a:gd name="connsiteX96" fmla="*/ 2611755 w 3008034"/>
                  <a:gd name="connsiteY96" fmla="*/ 800100 h 3680460"/>
                  <a:gd name="connsiteX97" fmla="*/ 2448878 w 3008034"/>
                  <a:gd name="connsiteY97" fmla="*/ 621983 h 3680460"/>
                  <a:gd name="connsiteX98" fmla="*/ 2291715 w 3008034"/>
                  <a:gd name="connsiteY98" fmla="*/ 458152 h 3680460"/>
                  <a:gd name="connsiteX99" fmla="*/ 2227898 w 3008034"/>
                  <a:gd name="connsiteY99" fmla="*/ 406717 h 3680460"/>
                  <a:gd name="connsiteX100" fmla="*/ 2093595 w 3008034"/>
                  <a:gd name="connsiteY100" fmla="*/ 312420 h 3680460"/>
                  <a:gd name="connsiteX101" fmla="*/ 2032635 w 3008034"/>
                  <a:gd name="connsiteY101" fmla="*/ 266700 h 3680460"/>
                  <a:gd name="connsiteX102" fmla="*/ 1994535 w 3008034"/>
                  <a:gd name="connsiteY102" fmla="*/ 251460 h 3680460"/>
                  <a:gd name="connsiteX103" fmla="*/ 1948815 w 3008034"/>
                  <a:gd name="connsiteY103" fmla="*/ 220980 h 3680460"/>
                  <a:gd name="connsiteX104" fmla="*/ 1887855 w 3008034"/>
                  <a:gd name="connsiteY10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56535 w 3008034"/>
                  <a:gd name="connsiteY17" fmla="*/ 754380 h 3680460"/>
                  <a:gd name="connsiteX18" fmla="*/ 2809875 w 3008034"/>
                  <a:gd name="connsiteY18" fmla="*/ 830580 h 3680460"/>
                  <a:gd name="connsiteX19" fmla="*/ 2908935 w 3008034"/>
                  <a:gd name="connsiteY19" fmla="*/ 1036320 h 3680460"/>
                  <a:gd name="connsiteX20" fmla="*/ 2924175 w 3008034"/>
                  <a:gd name="connsiteY20" fmla="*/ 1074420 h 3680460"/>
                  <a:gd name="connsiteX21" fmla="*/ 2954655 w 3008034"/>
                  <a:gd name="connsiteY21" fmla="*/ 1203960 h 3680460"/>
                  <a:gd name="connsiteX22" fmla="*/ 2969895 w 3008034"/>
                  <a:gd name="connsiteY22" fmla="*/ 1264920 h 3680460"/>
                  <a:gd name="connsiteX23" fmla="*/ 2985135 w 3008034"/>
                  <a:gd name="connsiteY23" fmla="*/ 1348740 h 3680460"/>
                  <a:gd name="connsiteX24" fmla="*/ 3000375 w 3008034"/>
                  <a:gd name="connsiteY24" fmla="*/ 1432560 h 3680460"/>
                  <a:gd name="connsiteX25" fmla="*/ 3007995 w 3008034"/>
                  <a:gd name="connsiteY25" fmla="*/ 1684020 h 3680460"/>
                  <a:gd name="connsiteX26" fmla="*/ 3003233 w 3008034"/>
                  <a:gd name="connsiteY26" fmla="*/ 1990725 h 3680460"/>
                  <a:gd name="connsiteX27" fmla="*/ 2969895 w 3008034"/>
                  <a:gd name="connsiteY27" fmla="*/ 2194560 h 3680460"/>
                  <a:gd name="connsiteX28" fmla="*/ 2931795 w 3008034"/>
                  <a:gd name="connsiteY28" fmla="*/ 2324100 h 3680460"/>
                  <a:gd name="connsiteX29" fmla="*/ 2916555 w 3008034"/>
                  <a:gd name="connsiteY29" fmla="*/ 2392680 h 3680460"/>
                  <a:gd name="connsiteX30" fmla="*/ 2867978 w 3008034"/>
                  <a:gd name="connsiteY30" fmla="*/ 2521267 h 3680460"/>
                  <a:gd name="connsiteX31" fmla="*/ 2801303 w 3008034"/>
                  <a:gd name="connsiteY31" fmla="*/ 2656523 h 3680460"/>
                  <a:gd name="connsiteX32" fmla="*/ 2719387 w 3008034"/>
                  <a:gd name="connsiteY32" fmla="*/ 2818447 h 3680460"/>
                  <a:gd name="connsiteX33" fmla="*/ 2495550 w 3008034"/>
                  <a:gd name="connsiteY33" fmla="*/ 3084195 h 3680460"/>
                  <a:gd name="connsiteX34" fmla="*/ 2396490 w 3008034"/>
                  <a:gd name="connsiteY34" fmla="*/ 3185160 h 3680460"/>
                  <a:gd name="connsiteX35" fmla="*/ 2284095 w 3008034"/>
                  <a:gd name="connsiteY35" fmla="*/ 3284220 h 3680460"/>
                  <a:gd name="connsiteX36" fmla="*/ 2131695 w 3008034"/>
                  <a:gd name="connsiteY36" fmla="*/ 3390900 h 3680460"/>
                  <a:gd name="connsiteX37" fmla="*/ 2000250 w 3008034"/>
                  <a:gd name="connsiteY37" fmla="*/ 3448050 h 3680460"/>
                  <a:gd name="connsiteX38" fmla="*/ 1864995 w 3008034"/>
                  <a:gd name="connsiteY38" fmla="*/ 3512820 h 3680460"/>
                  <a:gd name="connsiteX39" fmla="*/ 1819275 w 3008034"/>
                  <a:gd name="connsiteY39" fmla="*/ 3520440 h 3680460"/>
                  <a:gd name="connsiteX40" fmla="*/ 1712595 w 3008034"/>
                  <a:gd name="connsiteY40" fmla="*/ 3550920 h 3680460"/>
                  <a:gd name="connsiteX41" fmla="*/ 1590675 w 3008034"/>
                  <a:gd name="connsiteY41" fmla="*/ 3589020 h 3680460"/>
                  <a:gd name="connsiteX42" fmla="*/ 1560195 w 3008034"/>
                  <a:gd name="connsiteY42" fmla="*/ 3596640 h 3680460"/>
                  <a:gd name="connsiteX43" fmla="*/ 1537335 w 3008034"/>
                  <a:gd name="connsiteY43" fmla="*/ 3611880 h 3680460"/>
                  <a:gd name="connsiteX44" fmla="*/ 1453515 w 3008034"/>
                  <a:gd name="connsiteY44" fmla="*/ 3627120 h 3680460"/>
                  <a:gd name="connsiteX45" fmla="*/ 1323975 w 3008034"/>
                  <a:gd name="connsiteY45" fmla="*/ 3657600 h 3680460"/>
                  <a:gd name="connsiteX46" fmla="*/ 1194435 w 3008034"/>
                  <a:gd name="connsiteY46" fmla="*/ 3672840 h 3680460"/>
                  <a:gd name="connsiteX47" fmla="*/ 1156335 w 3008034"/>
                  <a:gd name="connsiteY47" fmla="*/ 3680460 h 3680460"/>
                  <a:gd name="connsiteX48" fmla="*/ 625792 w 3008034"/>
                  <a:gd name="connsiteY48" fmla="*/ 3668078 h 3680460"/>
                  <a:gd name="connsiteX49" fmla="*/ 402908 w 3008034"/>
                  <a:gd name="connsiteY49" fmla="*/ 3614738 h 3680460"/>
                  <a:gd name="connsiteX50" fmla="*/ 266700 w 3008034"/>
                  <a:gd name="connsiteY50" fmla="*/ 3570922 h 3680460"/>
                  <a:gd name="connsiteX51" fmla="*/ 164782 w 3008034"/>
                  <a:gd name="connsiteY51" fmla="*/ 3515678 h 3680460"/>
                  <a:gd name="connsiteX52" fmla="*/ 31433 w 3008034"/>
                  <a:gd name="connsiteY52" fmla="*/ 3422333 h 3680460"/>
                  <a:gd name="connsiteX53" fmla="*/ 0 w 3008034"/>
                  <a:gd name="connsiteY53" fmla="*/ 3376613 h 3680460"/>
                  <a:gd name="connsiteX54" fmla="*/ 127635 w 3008034"/>
                  <a:gd name="connsiteY54" fmla="*/ 3360420 h 3680460"/>
                  <a:gd name="connsiteX55" fmla="*/ 158115 w 3008034"/>
                  <a:gd name="connsiteY55" fmla="*/ 3390900 h 3680460"/>
                  <a:gd name="connsiteX56" fmla="*/ 317183 w 3008034"/>
                  <a:gd name="connsiteY56" fmla="*/ 3450907 h 3680460"/>
                  <a:gd name="connsiteX57" fmla="*/ 485775 w 3008034"/>
                  <a:gd name="connsiteY57" fmla="*/ 3520440 h 3680460"/>
                  <a:gd name="connsiteX58" fmla="*/ 721995 w 3008034"/>
                  <a:gd name="connsiteY58" fmla="*/ 3558540 h 3680460"/>
                  <a:gd name="connsiteX59" fmla="*/ 1331595 w 3008034"/>
                  <a:gd name="connsiteY59" fmla="*/ 3550920 h 3680460"/>
                  <a:gd name="connsiteX60" fmla="*/ 1529715 w 3008034"/>
                  <a:gd name="connsiteY60" fmla="*/ 3520440 h 3680460"/>
                  <a:gd name="connsiteX61" fmla="*/ 1621155 w 3008034"/>
                  <a:gd name="connsiteY61" fmla="*/ 3497580 h 3680460"/>
                  <a:gd name="connsiteX62" fmla="*/ 1689735 w 3008034"/>
                  <a:gd name="connsiteY62" fmla="*/ 3474720 h 3680460"/>
                  <a:gd name="connsiteX63" fmla="*/ 1781175 w 3008034"/>
                  <a:gd name="connsiteY63" fmla="*/ 3451860 h 3680460"/>
                  <a:gd name="connsiteX64" fmla="*/ 1811655 w 3008034"/>
                  <a:gd name="connsiteY64" fmla="*/ 3444240 h 3680460"/>
                  <a:gd name="connsiteX65" fmla="*/ 1864995 w 3008034"/>
                  <a:gd name="connsiteY65" fmla="*/ 3421380 h 3680460"/>
                  <a:gd name="connsiteX66" fmla="*/ 1918335 w 3008034"/>
                  <a:gd name="connsiteY66" fmla="*/ 3398520 h 3680460"/>
                  <a:gd name="connsiteX67" fmla="*/ 1941195 w 3008034"/>
                  <a:gd name="connsiteY67" fmla="*/ 3390900 h 3680460"/>
                  <a:gd name="connsiteX68" fmla="*/ 1994535 w 3008034"/>
                  <a:gd name="connsiteY68" fmla="*/ 3360420 h 3680460"/>
                  <a:gd name="connsiteX69" fmla="*/ 2032635 w 3008034"/>
                  <a:gd name="connsiteY69" fmla="*/ 3352800 h 3680460"/>
                  <a:gd name="connsiteX70" fmla="*/ 2070735 w 3008034"/>
                  <a:gd name="connsiteY70" fmla="*/ 3337560 h 3680460"/>
                  <a:gd name="connsiteX71" fmla="*/ 2189797 w 3008034"/>
                  <a:gd name="connsiteY71" fmla="*/ 3251835 h 3680460"/>
                  <a:gd name="connsiteX72" fmla="*/ 2337435 w 3008034"/>
                  <a:gd name="connsiteY72" fmla="*/ 3154680 h 3680460"/>
                  <a:gd name="connsiteX73" fmla="*/ 2436495 w 3008034"/>
                  <a:gd name="connsiteY73" fmla="*/ 3032760 h 3680460"/>
                  <a:gd name="connsiteX74" fmla="*/ 2459355 w 3008034"/>
                  <a:gd name="connsiteY74" fmla="*/ 3009900 h 3680460"/>
                  <a:gd name="connsiteX75" fmla="*/ 2527935 w 3008034"/>
                  <a:gd name="connsiteY75" fmla="*/ 2926080 h 3680460"/>
                  <a:gd name="connsiteX76" fmla="*/ 2619375 w 3008034"/>
                  <a:gd name="connsiteY76" fmla="*/ 2811780 h 3680460"/>
                  <a:gd name="connsiteX77" fmla="*/ 2634615 w 3008034"/>
                  <a:gd name="connsiteY77" fmla="*/ 2773680 h 3680460"/>
                  <a:gd name="connsiteX78" fmla="*/ 2665095 w 3008034"/>
                  <a:gd name="connsiteY78" fmla="*/ 2727960 h 3680460"/>
                  <a:gd name="connsiteX79" fmla="*/ 2695575 w 3008034"/>
                  <a:gd name="connsiteY79" fmla="*/ 2667000 h 3680460"/>
                  <a:gd name="connsiteX80" fmla="*/ 2779395 w 3008034"/>
                  <a:gd name="connsiteY80" fmla="*/ 2484120 h 3680460"/>
                  <a:gd name="connsiteX81" fmla="*/ 2802255 w 3008034"/>
                  <a:gd name="connsiteY81" fmla="*/ 2407920 h 3680460"/>
                  <a:gd name="connsiteX82" fmla="*/ 2908935 w 3008034"/>
                  <a:gd name="connsiteY82" fmla="*/ 2049780 h 3680460"/>
                  <a:gd name="connsiteX83" fmla="*/ 2924175 w 3008034"/>
                  <a:gd name="connsiteY83" fmla="*/ 1844040 h 3680460"/>
                  <a:gd name="connsiteX84" fmla="*/ 2908935 w 3008034"/>
                  <a:gd name="connsiteY84" fmla="*/ 1470660 h 3680460"/>
                  <a:gd name="connsiteX85" fmla="*/ 2886075 w 3008034"/>
                  <a:gd name="connsiteY85" fmla="*/ 1371600 h 3680460"/>
                  <a:gd name="connsiteX86" fmla="*/ 2870835 w 3008034"/>
                  <a:gd name="connsiteY86" fmla="*/ 1341120 h 3680460"/>
                  <a:gd name="connsiteX87" fmla="*/ 2847975 w 3008034"/>
                  <a:gd name="connsiteY87" fmla="*/ 1272540 h 3680460"/>
                  <a:gd name="connsiteX88" fmla="*/ 2840355 w 3008034"/>
                  <a:gd name="connsiteY88" fmla="*/ 1234440 h 3680460"/>
                  <a:gd name="connsiteX89" fmla="*/ 2756535 w 3008034"/>
                  <a:gd name="connsiteY89" fmla="*/ 1089660 h 3680460"/>
                  <a:gd name="connsiteX90" fmla="*/ 2726055 w 3008034"/>
                  <a:gd name="connsiteY90" fmla="*/ 1043940 h 3680460"/>
                  <a:gd name="connsiteX91" fmla="*/ 2718435 w 3008034"/>
                  <a:gd name="connsiteY91" fmla="*/ 1021080 h 3680460"/>
                  <a:gd name="connsiteX92" fmla="*/ 2672715 w 3008034"/>
                  <a:gd name="connsiteY92" fmla="*/ 937260 h 3680460"/>
                  <a:gd name="connsiteX93" fmla="*/ 2649855 w 3008034"/>
                  <a:gd name="connsiteY93" fmla="*/ 876300 h 3680460"/>
                  <a:gd name="connsiteX94" fmla="*/ 2634615 w 3008034"/>
                  <a:gd name="connsiteY94" fmla="*/ 845820 h 3680460"/>
                  <a:gd name="connsiteX95" fmla="*/ 2611755 w 3008034"/>
                  <a:gd name="connsiteY95" fmla="*/ 800100 h 3680460"/>
                  <a:gd name="connsiteX96" fmla="*/ 2448878 w 3008034"/>
                  <a:gd name="connsiteY96" fmla="*/ 621983 h 3680460"/>
                  <a:gd name="connsiteX97" fmla="*/ 2291715 w 3008034"/>
                  <a:gd name="connsiteY97" fmla="*/ 458152 h 3680460"/>
                  <a:gd name="connsiteX98" fmla="*/ 2227898 w 3008034"/>
                  <a:gd name="connsiteY98" fmla="*/ 406717 h 3680460"/>
                  <a:gd name="connsiteX99" fmla="*/ 2093595 w 3008034"/>
                  <a:gd name="connsiteY99" fmla="*/ 312420 h 3680460"/>
                  <a:gd name="connsiteX100" fmla="*/ 2032635 w 3008034"/>
                  <a:gd name="connsiteY100" fmla="*/ 266700 h 3680460"/>
                  <a:gd name="connsiteX101" fmla="*/ 1994535 w 3008034"/>
                  <a:gd name="connsiteY101" fmla="*/ 251460 h 3680460"/>
                  <a:gd name="connsiteX102" fmla="*/ 1948815 w 3008034"/>
                  <a:gd name="connsiteY102" fmla="*/ 220980 h 3680460"/>
                  <a:gd name="connsiteX103" fmla="*/ 1887855 w 3008034"/>
                  <a:gd name="connsiteY10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11655 w 3008034"/>
                  <a:gd name="connsiteY63" fmla="*/ 3444240 h 3680460"/>
                  <a:gd name="connsiteX64" fmla="*/ 1864995 w 3008034"/>
                  <a:gd name="connsiteY64" fmla="*/ 3421380 h 3680460"/>
                  <a:gd name="connsiteX65" fmla="*/ 1918335 w 3008034"/>
                  <a:gd name="connsiteY65" fmla="*/ 3398520 h 3680460"/>
                  <a:gd name="connsiteX66" fmla="*/ 1941195 w 3008034"/>
                  <a:gd name="connsiteY66" fmla="*/ 3390900 h 3680460"/>
                  <a:gd name="connsiteX67" fmla="*/ 1994535 w 3008034"/>
                  <a:gd name="connsiteY67" fmla="*/ 3360420 h 3680460"/>
                  <a:gd name="connsiteX68" fmla="*/ 2032635 w 3008034"/>
                  <a:gd name="connsiteY68" fmla="*/ 3352800 h 3680460"/>
                  <a:gd name="connsiteX69" fmla="*/ 2070735 w 3008034"/>
                  <a:gd name="connsiteY69" fmla="*/ 3337560 h 3680460"/>
                  <a:gd name="connsiteX70" fmla="*/ 2189797 w 3008034"/>
                  <a:gd name="connsiteY70" fmla="*/ 3251835 h 3680460"/>
                  <a:gd name="connsiteX71" fmla="*/ 2337435 w 3008034"/>
                  <a:gd name="connsiteY71" fmla="*/ 3154680 h 3680460"/>
                  <a:gd name="connsiteX72" fmla="*/ 2436495 w 3008034"/>
                  <a:gd name="connsiteY72" fmla="*/ 3032760 h 3680460"/>
                  <a:gd name="connsiteX73" fmla="*/ 2459355 w 3008034"/>
                  <a:gd name="connsiteY73" fmla="*/ 3009900 h 3680460"/>
                  <a:gd name="connsiteX74" fmla="*/ 2527935 w 3008034"/>
                  <a:gd name="connsiteY74" fmla="*/ 2926080 h 3680460"/>
                  <a:gd name="connsiteX75" fmla="*/ 2619375 w 3008034"/>
                  <a:gd name="connsiteY75" fmla="*/ 2811780 h 3680460"/>
                  <a:gd name="connsiteX76" fmla="*/ 2634615 w 3008034"/>
                  <a:gd name="connsiteY76" fmla="*/ 2773680 h 3680460"/>
                  <a:gd name="connsiteX77" fmla="*/ 2665095 w 3008034"/>
                  <a:gd name="connsiteY77" fmla="*/ 2727960 h 3680460"/>
                  <a:gd name="connsiteX78" fmla="*/ 2695575 w 3008034"/>
                  <a:gd name="connsiteY78" fmla="*/ 2667000 h 3680460"/>
                  <a:gd name="connsiteX79" fmla="*/ 2779395 w 3008034"/>
                  <a:gd name="connsiteY79" fmla="*/ 2484120 h 3680460"/>
                  <a:gd name="connsiteX80" fmla="*/ 2802255 w 3008034"/>
                  <a:gd name="connsiteY80" fmla="*/ 2407920 h 3680460"/>
                  <a:gd name="connsiteX81" fmla="*/ 2908935 w 3008034"/>
                  <a:gd name="connsiteY81" fmla="*/ 2049780 h 3680460"/>
                  <a:gd name="connsiteX82" fmla="*/ 2924175 w 3008034"/>
                  <a:gd name="connsiteY82" fmla="*/ 1844040 h 3680460"/>
                  <a:gd name="connsiteX83" fmla="*/ 2908935 w 3008034"/>
                  <a:gd name="connsiteY83" fmla="*/ 1470660 h 3680460"/>
                  <a:gd name="connsiteX84" fmla="*/ 2886075 w 3008034"/>
                  <a:gd name="connsiteY84" fmla="*/ 1371600 h 3680460"/>
                  <a:gd name="connsiteX85" fmla="*/ 2870835 w 3008034"/>
                  <a:gd name="connsiteY85" fmla="*/ 1341120 h 3680460"/>
                  <a:gd name="connsiteX86" fmla="*/ 2847975 w 3008034"/>
                  <a:gd name="connsiteY86" fmla="*/ 1272540 h 3680460"/>
                  <a:gd name="connsiteX87" fmla="*/ 2840355 w 3008034"/>
                  <a:gd name="connsiteY87" fmla="*/ 1234440 h 3680460"/>
                  <a:gd name="connsiteX88" fmla="*/ 2756535 w 3008034"/>
                  <a:gd name="connsiteY88" fmla="*/ 1089660 h 3680460"/>
                  <a:gd name="connsiteX89" fmla="*/ 2726055 w 3008034"/>
                  <a:gd name="connsiteY89" fmla="*/ 1043940 h 3680460"/>
                  <a:gd name="connsiteX90" fmla="*/ 2718435 w 3008034"/>
                  <a:gd name="connsiteY90" fmla="*/ 1021080 h 3680460"/>
                  <a:gd name="connsiteX91" fmla="*/ 2672715 w 3008034"/>
                  <a:gd name="connsiteY91" fmla="*/ 937260 h 3680460"/>
                  <a:gd name="connsiteX92" fmla="*/ 2649855 w 3008034"/>
                  <a:gd name="connsiteY92" fmla="*/ 876300 h 3680460"/>
                  <a:gd name="connsiteX93" fmla="*/ 2634615 w 3008034"/>
                  <a:gd name="connsiteY93" fmla="*/ 845820 h 3680460"/>
                  <a:gd name="connsiteX94" fmla="*/ 2611755 w 3008034"/>
                  <a:gd name="connsiteY94" fmla="*/ 800100 h 3680460"/>
                  <a:gd name="connsiteX95" fmla="*/ 2448878 w 3008034"/>
                  <a:gd name="connsiteY95" fmla="*/ 621983 h 3680460"/>
                  <a:gd name="connsiteX96" fmla="*/ 2291715 w 3008034"/>
                  <a:gd name="connsiteY96" fmla="*/ 458152 h 3680460"/>
                  <a:gd name="connsiteX97" fmla="*/ 2227898 w 3008034"/>
                  <a:gd name="connsiteY97" fmla="*/ 406717 h 3680460"/>
                  <a:gd name="connsiteX98" fmla="*/ 2093595 w 3008034"/>
                  <a:gd name="connsiteY98" fmla="*/ 312420 h 3680460"/>
                  <a:gd name="connsiteX99" fmla="*/ 2032635 w 3008034"/>
                  <a:gd name="connsiteY99" fmla="*/ 266700 h 3680460"/>
                  <a:gd name="connsiteX100" fmla="*/ 1994535 w 3008034"/>
                  <a:gd name="connsiteY100" fmla="*/ 251460 h 3680460"/>
                  <a:gd name="connsiteX101" fmla="*/ 1948815 w 3008034"/>
                  <a:gd name="connsiteY101" fmla="*/ 220980 h 3680460"/>
                  <a:gd name="connsiteX102" fmla="*/ 1887855 w 3008034"/>
                  <a:gd name="connsiteY10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1994535 w 3008034"/>
                  <a:gd name="connsiteY66" fmla="*/ 3360420 h 3680460"/>
                  <a:gd name="connsiteX67" fmla="*/ 2032635 w 3008034"/>
                  <a:gd name="connsiteY67" fmla="*/ 3352800 h 3680460"/>
                  <a:gd name="connsiteX68" fmla="*/ 2070735 w 3008034"/>
                  <a:gd name="connsiteY68" fmla="*/ 3337560 h 3680460"/>
                  <a:gd name="connsiteX69" fmla="*/ 2189797 w 3008034"/>
                  <a:gd name="connsiteY69" fmla="*/ 3251835 h 3680460"/>
                  <a:gd name="connsiteX70" fmla="*/ 2337435 w 3008034"/>
                  <a:gd name="connsiteY70" fmla="*/ 3154680 h 3680460"/>
                  <a:gd name="connsiteX71" fmla="*/ 2436495 w 3008034"/>
                  <a:gd name="connsiteY71" fmla="*/ 3032760 h 3680460"/>
                  <a:gd name="connsiteX72" fmla="*/ 2459355 w 3008034"/>
                  <a:gd name="connsiteY72" fmla="*/ 3009900 h 3680460"/>
                  <a:gd name="connsiteX73" fmla="*/ 2527935 w 3008034"/>
                  <a:gd name="connsiteY73" fmla="*/ 2926080 h 3680460"/>
                  <a:gd name="connsiteX74" fmla="*/ 2619375 w 3008034"/>
                  <a:gd name="connsiteY74" fmla="*/ 2811780 h 3680460"/>
                  <a:gd name="connsiteX75" fmla="*/ 2634615 w 3008034"/>
                  <a:gd name="connsiteY75" fmla="*/ 2773680 h 3680460"/>
                  <a:gd name="connsiteX76" fmla="*/ 2665095 w 3008034"/>
                  <a:gd name="connsiteY76" fmla="*/ 2727960 h 3680460"/>
                  <a:gd name="connsiteX77" fmla="*/ 2695575 w 3008034"/>
                  <a:gd name="connsiteY77" fmla="*/ 2667000 h 3680460"/>
                  <a:gd name="connsiteX78" fmla="*/ 2779395 w 3008034"/>
                  <a:gd name="connsiteY78" fmla="*/ 2484120 h 3680460"/>
                  <a:gd name="connsiteX79" fmla="*/ 2802255 w 3008034"/>
                  <a:gd name="connsiteY79" fmla="*/ 2407920 h 3680460"/>
                  <a:gd name="connsiteX80" fmla="*/ 2908935 w 3008034"/>
                  <a:gd name="connsiteY80" fmla="*/ 2049780 h 3680460"/>
                  <a:gd name="connsiteX81" fmla="*/ 2924175 w 3008034"/>
                  <a:gd name="connsiteY81" fmla="*/ 1844040 h 3680460"/>
                  <a:gd name="connsiteX82" fmla="*/ 2908935 w 3008034"/>
                  <a:gd name="connsiteY82" fmla="*/ 1470660 h 3680460"/>
                  <a:gd name="connsiteX83" fmla="*/ 2886075 w 3008034"/>
                  <a:gd name="connsiteY83" fmla="*/ 1371600 h 3680460"/>
                  <a:gd name="connsiteX84" fmla="*/ 2870835 w 3008034"/>
                  <a:gd name="connsiteY84" fmla="*/ 1341120 h 3680460"/>
                  <a:gd name="connsiteX85" fmla="*/ 2847975 w 3008034"/>
                  <a:gd name="connsiteY85" fmla="*/ 1272540 h 3680460"/>
                  <a:gd name="connsiteX86" fmla="*/ 2840355 w 3008034"/>
                  <a:gd name="connsiteY86" fmla="*/ 1234440 h 3680460"/>
                  <a:gd name="connsiteX87" fmla="*/ 2756535 w 3008034"/>
                  <a:gd name="connsiteY87" fmla="*/ 1089660 h 3680460"/>
                  <a:gd name="connsiteX88" fmla="*/ 2726055 w 3008034"/>
                  <a:gd name="connsiteY88" fmla="*/ 1043940 h 3680460"/>
                  <a:gd name="connsiteX89" fmla="*/ 2718435 w 3008034"/>
                  <a:gd name="connsiteY89" fmla="*/ 1021080 h 3680460"/>
                  <a:gd name="connsiteX90" fmla="*/ 2672715 w 3008034"/>
                  <a:gd name="connsiteY90" fmla="*/ 937260 h 3680460"/>
                  <a:gd name="connsiteX91" fmla="*/ 2649855 w 3008034"/>
                  <a:gd name="connsiteY91" fmla="*/ 876300 h 3680460"/>
                  <a:gd name="connsiteX92" fmla="*/ 2634615 w 3008034"/>
                  <a:gd name="connsiteY92" fmla="*/ 845820 h 3680460"/>
                  <a:gd name="connsiteX93" fmla="*/ 2611755 w 3008034"/>
                  <a:gd name="connsiteY93" fmla="*/ 800100 h 3680460"/>
                  <a:gd name="connsiteX94" fmla="*/ 2448878 w 3008034"/>
                  <a:gd name="connsiteY94" fmla="*/ 621983 h 3680460"/>
                  <a:gd name="connsiteX95" fmla="*/ 2291715 w 3008034"/>
                  <a:gd name="connsiteY95" fmla="*/ 458152 h 3680460"/>
                  <a:gd name="connsiteX96" fmla="*/ 2227898 w 3008034"/>
                  <a:gd name="connsiteY96" fmla="*/ 406717 h 3680460"/>
                  <a:gd name="connsiteX97" fmla="*/ 2093595 w 3008034"/>
                  <a:gd name="connsiteY97" fmla="*/ 312420 h 3680460"/>
                  <a:gd name="connsiteX98" fmla="*/ 2032635 w 3008034"/>
                  <a:gd name="connsiteY98" fmla="*/ 266700 h 3680460"/>
                  <a:gd name="connsiteX99" fmla="*/ 1994535 w 3008034"/>
                  <a:gd name="connsiteY99" fmla="*/ 251460 h 3680460"/>
                  <a:gd name="connsiteX100" fmla="*/ 1948815 w 3008034"/>
                  <a:gd name="connsiteY100" fmla="*/ 220980 h 3680460"/>
                  <a:gd name="connsiteX101" fmla="*/ 1887855 w 3008034"/>
                  <a:gd name="connsiteY10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32635 w 3008034"/>
                  <a:gd name="connsiteY66" fmla="*/ 3352800 h 3680460"/>
                  <a:gd name="connsiteX67" fmla="*/ 2070735 w 3008034"/>
                  <a:gd name="connsiteY67" fmla="*/ 3337560 h 3680460"/>
                  <a:gd name="connsiteX68" fmla="*/ 2189797 w 3008034"/>
                  <a:gd name="connsiteY68" fmla="*/ 3251835 h 3680460"/>
                  <a:gd name="connsiteX69" fmla="*/ 2337435 w 3008034"/>
                  <a:gd name="connsiteY69" fmla="*/ 3154680 h 3680460"/>
                  <a:gd name="connsiteX70" fmla="*/ 2436495 w 3008034"/>
                  <a:gd name="connsiteY70" fmla="*/ 3032760 h 3680460"/>
                  <a:gd name="connsiteX71" fmla="*/ 2459355 w 3008034"/>
                  <a:gd name="connsiteY71" fmla="*/ 3009900 h 3680460"/>
                  <a:gd name="connsiteX72" fmla="*/ 2527935 w 3008034"/>
                  <a:gd name="connsiteY72" fmla="*/ 2926080 h 3680460"/>
                  <a:gd name="connsiteX73" fmla="*/ 2619375 w 3008034"/>
                  <a:gd name="connsiteY73" fmla="*/ 2811780 h 3680460"/>
                  <a:gd name="connsiteX74" fmla="*/ 2634615 w 3008034"/>
                  <a:gd name="connsiteY74" fmla="*/ 2773680 h 3680460"/>
                  <a:gd name="connsiteX75" fmla="*/ 2665095 w 3008034"/>
                  <a:gd name="connsiteY75" fmla="*/ 2727960 h 3680460"/>
                  <a:gd name="connsiteX76" fmla="*/ 2695575 w 3008034"/>
                  <a:gd name="connsiteY76" fmla="*/ 2667000 h 3680460"/>
                  <a:gd name="connsiteX77" fmla="*/ 2779395 w 3008034"/>
                  <a:gd name="connsiteY77" fmla="*/ 2484120 h 3680460"/>
                  <a:gd name="connsiteX78" fmla="*/ 2802255 w 3008034"/>
                  <a:gd name="connsiteY78" fmla="*/ 2407920 h 3680460"/>
                  <a:gd name="connsiteX79" fmla="*/ 2908935 w 3008034"/>
                  <a:gd name="connsiteY79" fmla="*/ 2049780 h 3680460"/>
                  <a:gd name="connsiteX80" fmla="*/ 2924175 w 3008034"/>
                  <a:gd name="connsiteY80" fmla="*/ 1844040 h 3680460"/>
                  <a:gd name="connsiteX81" fmla="*/ 2908935 w 3008034"/>
                  <a:gd name="connsiteY81" fmla="*/ 1470660 h 3680460"/>
                  <a:gd name="connsiteX82" fmla="*/ 2886075 w 3008034"/>
                  <a:gd name="connsiteY82" fmla="*/ 1371600 h 3680460"/>
                  <a:gd name="connsiteX83" fmla="*/ 2870835 w 3008034"/>
                  <a:gd name="connsiteY83" fmla="*/ 1341120 h 3680460"/>
                  <a:gd name="connsiteX84" fmla="*/ 2847975 w 3008034"/>
                  <a:gd name="connsiteY84" fmla="*/ 1272540 h 3680460"/>
                  <a:gd name="connsiteX85" fmla="*/ 2840355 w 3008034"/>
                  <a:gd name="connsiteY85" fmla="*/ 1234440 h 3680460"/>
                  <a:gd name="connsiteX86" fmla="*/ 2756535 w 3008034"/>
                  <a:gd name="connsiteY86" fmla="*/ 1089660 h 3680460"/>
                  <a:gd name="connsiteX87" fmla="*/ 2726055 w 3008034"/>
                  <a:gd name="connsiteY87" fmla="*/ 1043940 h 3680460"/>
                  <a:gd name="connsiteX88" fmla="*/ 2718435 w 3008034"/>
                  <a:gd name="connsiteY88" fmla="*/ 1021080 h 3680460"/>
                  <a:gd name="connsiteX89" fmla="*/ 2672715 w 3008034"/>
                  <a:gd name="connsiteY89" fmla="*/ 937260 h 3680460"/>
                  <a:gd name="connsiteX90" fmla="*/ 2649855 w 3008034"/>
                  <a:gd name="connsiteY90" fmla="*/ 876300 h 3680460"/>
                  <a:gd name="connsiteX91" fmla="*/ 2634615 w 3008034"/>
                  <a:gd name="connsiteY91" fmla="*/ 845820 h 3680460"/>
                  <a:gd name="connsiteX92" fmla="*/ 2611755 w 3008034"/>
                  <a:gd name="connsiteY92" fmla="*/ 800100 h 3680460"/>
                  <a:gd name="connsiteX93" fmla="*/ 2448878 w 3008034"/>
                  <a:gd name="connsiteY93" fmla="*/ 621983 h 3680460"/>
                  <a:gd name="connsiteX94" fmla="*/ 2291715 w 3008034"/>
                  <a:gd name="connsiteY94" fmla="*/ 458152 h 3680460"/>
                  <a:gd name="connsiteX95" fmla="*/ 2227898 w 3008034"/>
                  <a:gd name="connsiteY95" fmla="*/ 406717 h 3680460"/>
                  <a:gd name="connsiteX96" fmla="*/ 2093595 w 3008034"/>
                  <a:gd name="connsiteY96" fmla="*/ 312420 h 3680460"/>
                  <a:gd name="connsiteX97" fmla="*/ 2032635 w 3008034"/>
                  <a:gd name="connsiteY97" fmla="*/ 266700 h 3680460"/>
                  <a:gd name="connsiteX98" fmla="*/ 1994535 w 3008034"/>
                  <a:gd name="connsiteY98" fmla="*/ 251460 h 3680460"/>
                  <a:gd name="connsiteX99" fmla="*/ 1948815 w 3008034"/>
                  <a:gd name="connsiteY99" fmla="*/ 220980 h 3680460"/>
                  <a:gd name="connsiteX100" fmla="*/ 1887855 w 3008034"/>
                  <a:gd name="connsiteY10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70735 w 3008034"/>
                  <a:gd name="connsiteY66" fmla="*/ 3337560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34615 w 3008034"/>
                  <a:gd name="connsiteY73" fmla="*/ 2773680 h 3680460"/>
                  <a:gd name="connsiteX74" fmla="*/ 2665095 w 3008034"/>
                  <a:gd name="connsiteY74" fmla="*/ 2727960 h 3680460"/>
                  <a:gd name="connsiteX75" fmla="*/ 2695575 w 3008034"/>
                  <a:gd name="connsiteY75" fmla="*/ 2667000 h 3680460"/>
                  <a:gd name="connsiteX76" fmla="*/ 2779395 w 3008034"/>
                  <a:gd name="connsiteY76" fmla="*/ 2484120 h 3680460"/>
                  <a:gd name="connsiteX77" fmla="*/ 2802255 w 3008034"/>
                  <a:gd name="connsiteY77" fmla="*/ 2407920 h 3680460"/>
                  <a:gd name="connsiteX78" fmla="*/ 2908935 w 3008034"/>
                  <a:gd name="connsiteY78" fmla="*/ 2049780 h 3680460"/>
                  <a:gd name="connsiteX79" fmla="*/ 2924175 w 3008034"/>
                  <a:gd name="connsiteY79" fmla="*/ 1844040 h 3680460"/>
                  <a:gd name="connsiteX80" fmla="*/ 2908935 w 3008034"/>
                  <a:gd name="connsiteY80" fmla="*/ 1470660 h 3680460"/>
                  <a:gd name="connsiteX81" fmla="*/ 2886075 w 3008034"/>
                  <a:gd name="connsiteY81" fmla="*/ 1371600 h 3680460"/>
                  <a:gd name="connsiteX82" fmla="*/ 2870835 w 3008034"/>
                  <a:gd name="connsiteY82" fmla="*/ 1341120 h 3680460"/>
                  <a:gd name="connsiteX83" fmla="*/ 2847975 w 3008034"/>
                  <a:gd name="connsiteY83" fmla="*/ 1272540 h 3680460"/>
                  <a:gd name="connsiteX84" fmla="*/ 2840355 w 3008034"/>
                  <a:gd name="connsiteY84" fmla="*/ 1234440 h 3680460"/>
                  <a:gd name="connsiteX85" fmla="*/ 2756535 w 3008034"/>
                  <a:gd name="connsiteY85" fmla="*/ 1089660 h 3680460"/>
                  <a:gd name="connsiteX86" fmla="*/ 2726055 w 3008034"/>
                  <a:gd name="connsiteY86" fmla="*/ 1043940 h 3680460"/>
                  <a:gd name="connsiteX87" fmla="*/ 2718435 w 3008034"/>
                  <a:gd name="connsiteY87" fmla="*/ 1021080 h 3680460"/>
                  <a:gd name="connsiteX88" fmla="*/ 2672715 w 3008034"/>
                  <a:gd name="connsiteY88" fmla="*/ 937260 h 3680460"/>
                  <a:gd name="connsiteX89" fmla="*/ 2649855 w 3008034"/>
                  <a:gd name="connsiteY89" fmla="*/ 876300 h 3680460"/>
                  <a:gd name="connsiteX90" fmla="*/ 2634615 w 3008034"/>
                  <a:gd name="connsiteY90" fmla="*/ 845820 h 3680460"/>
                  <a:gd name="connsiteX91" fmla="*/ 2611755 w 3008034"/>
                  <a:gd name="connsiteY91" fmla="*/ 800100 h 3680460"/>
                  <a:gd name="connsiteX92" fmla="*/ 2448878 w 3008034"/>
                  <a:gd name="connsiteY92" fmla="*/ 621983 h 3680460"/>
                  <a:gd name="connsiteX93" fmla="*/ 2291715 w 3008034"/>
                  <a:gd name="connsiteY93" fmla="*/ 458152 h 3680460"/>
                  <a:gd name="connsiteX94" fmla="*/ 2227898 w 3008034"/>
                  <a:gd name="connsiteY94" fmla="*/ 406717 h 3680460"/>
                  <a:gd name="connsiteX95" fmla="*/ 2093595 w 3008034"/>
                  <a:gd name="connsiteY95" fmla="*/ 312420 h 3680460"/>
                  <a:gd name="connsiteX96" fmla="*/ 2032635 w 3008034"/>
                  <a:gd name="connsiteY96" fmla="*/ 266700 h 3680460"/>
                  <a:gd name="connsiteX97" fmla="*/ 1994535 w 3008034"/>
                  <a:gd name="connsiteY97" fmla="*/ 251460 h 3680460"/>
                  <a:gd name="connsiteX98" fmla="*/ 1948815 w 3008034"/>
                  <a:gd name="connsiteY98" fmla="*/ 220980 h 3680460"/>
                  <a:gd name="connsiteX99" fmla="*/ 1887855 w 3008034"/>
                  <a:gd name="connsiteY9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34615 w 3008034"/>
                  <a:gd name="connsiteY73" fmla="*/ 2773680 h 3680460"/>
                  <a:gd name="connsiteX74" fmla="*/ 2665095 w 3008034"/>
                  <a:gd name="connsiteY74" fmla="*/ 2727960 h 3680460"/>
                  <a:gd name="connsiteX75" fmla="*/ 2695575 w 3008034"/>
                  <a:gd name="connsiteY75" fmla="*/ 2667000 h 3680460"/>
                  <a:gd name="connsiteX76" fmla="*/ 2779395 w 3008034"/>
                  <a:gd name="connsiteY76" fmla="*/ 2484120 h 3680460"/>
                  <a:gd name="connsiteX77" fmla="*/ 2802255 w 3008034"/>
                  <a:gd name="connsiteY77" fmla="*/ 2407920 h 3680460"/>
                  <a:gd name="connsiteX78" fmla="*/ 2908935 w 3008034"/>
                  <a:gd name="connsiteY78" fmla="*/ 2049780 h 3680460"/>
                  <a:gd name="connsiteX79" fmla="*/ 2924175 w 3008034"/>
                  <a:gd name="connsiteY79" fmla="*/ 1844040 h 3680460"/>
                  <a:gd name="connsiteX80" fmla="*/ 2908935 w 3008034"/>
                  <a:gd name="connsiteY80" fmla="*/ 1470660 h 3680460"/>
                  <a:gd name="connsiteX81" fmla="*/ 2886075 w 3008034"/>
                  <a:gd name="connsiteY81" fmla="*/ 1371600 h 3680460"/>
                  <a:gd name="connsiteX82" fmla="*/ 2870835 w 3008034"/>
                  <a:gd name="connsiteY82" fmla="*/ 1341120 h 3680460"/>
                  <a:gd name="connsiteX83" fmla="*/ 2847975 w 3008034"/>
                  <a:gd name="connsiteY83" fmla="*/ 1272540 h 3680460"/>
                  <a:gd name="connsiteX84" fmla="*/ 2840355 w 3008034"/>
                  <a:gd name="connsiteY84" fmla="*/ 1234440 h 3680460"/>
                  <a:gd name="connsiteX85" fmla="*/ 2756535 w 3008034"/>
                  <a:gd name="connsiteY85" fmla="*/ 1089660 h 3680460"/>
                  <a:gd name="connsiteX86" fmla="*/ 2726055 w 3008034"/>
                  <a:gd name="connsiteY86" fmla="*/ 1043940 h 3680460"/>
                  <a:gd name="connsiteX87" fmla="*/ 2718435 w 3008034"/>
                  <a:gd name="connsiteY87" fmla="*/ 1021080 h 3680460"/>
                  <a:gd name="connsiteX88" fmla="*/ 2672715 w 3008034"/>
                  <a:gd name="connsiteY88" fmla="*/ 937260 h 3680460"/>
                  <a:gd name="connsiteX89" fmla="*/ 2649855 w 3008034"/>
                  <a:gd name="connsiteY89" fmla="*/ 876300 h 3680460"/>
                  <a:gd name="connsiteX90" fmla="*/ 2634615 w 3008034"/>
                  <a:gd name="connsiteY90" fmla="*/ 845820 h 3680460"/>
                  <a:gd name="connsiteX91" fmla="*/ 2611755 w 3008034"/>
                  <a:gd name="connsiteY91" fmla="*/ 800100 h 3680460"/>
                  <a:gd name="connsiteX92" fmla="*/ 2448878 w 3008034"/>
                  <a:gd name="connsiteY92" fmla="*/ 621983 h 3680460"/>
                  <a:gd name="connsiteX93" fmla="*/ 2291715 w 3008034"/>
                  <a:gd name="connsiteY93" fmla="*/ 458152 h 3680460"/>
                  <a:gd name="connsiteX94" fmla="*/ 2227898 w 3008034"/>
                  <a:gd name="connsiteY94" fmla="*/ 406717 h 3680460"/>
                  <a:gd name="connsiteX95" fmla="*/ 2093595 w 3008034"/>
                  <a:gd name="connsiteY95" fmla="*/ 312420 h 3680460"/>
                  <a:gd name="connsiteX96" fmla="*/ 2032635 w 3008034"/>
                  <a:gd name="connsiteY96" fmla="*/ 266700 h 3680460"/>
                  <a:gd name="connsiteX97" fmla="*/ 1994535 w 3008034"/>
                  <a:gd name="connsiteY97" fmla="*/ 251460 h 3680460"/>
                  <a:gd name="connsiteX98" fmla="*/ 1948815 w 3008034"/>
                  <a:gd name="connsiteY98" fmla="*/ 220980 h 3680460"/>
                  <a:gd name="connsiteX99" fmla="*/ 1887855 w 3008034"/>
                  <a:gd name="connsiteY9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65095 w 3008034"/>
                  <a:gd name="connsiteY73" fmla="*/ 2727960 h 3680460"/>
                  <a:gd name="connsiteX74" fmla="*/ 2695575 w 3008034"/>
                  <a:gd name="connsiteY74" fmla="*/ 2667000 h 3680460"/>
                  <a:gd name="connsiteX75" fmla="*/ 2779395 w 3008034"/>
                  <a:gd name="connsiteY75" fmla="*/ 2484120 h 3680460"/>
                  <a:gd name="connsiteX76" fmla="*/ 2802255 w 3008034"/>
                  <a:gd name="connsiteY76" fmla="*/ 2407920 h 3680460"/>
                  <a:gd name="connsiteX77" fmla="*/ 2908935 w 3008034"/>
                  <a:gd name="connsiteY77" fmla="*/ 2049780 h 3680460"/>
                  <a:gd name="connsiteX78" fmla="*/ 2924175 w 3008034"/>
                  <a:gd name="connsiteY78" fmla="*/ 1844040 h 3680460"/>
                  <a:gd name="connsiteX79" fmla="*/ 2908935 w 3008034"/>
                  <a:gd name="connsiteY79" fmla="*/ 1470660 h 3680460"/>
                  <a:gd name="connsiteX80" fmla="*/ 2886075 w 3008034"/>
                  <a:gd name="connsiteY80" fmla="*/ 1371600 h 3680460"/>
                  <a:gd name="connsiteX81" fmla="*/ 2870835 w 3008034"/>
                  <a:gd name="connsiteY81" fmla="*/ 1341120 h 3680460"/>
                  <a:gd name="connsiteX82" fmla="*/ 2847975 w 3008034"/>
                  <a:gd name="connsiteY82" fmla="*/ 1272540 h 3680460"/>
                  <a:gd name="connsiteX83" fmla="*/ 2840355 w 3008034"/>
                  <a:gd name="connsiteY83" fmla="*/ 1234440 h 3680460"/>
                  <a:gd name="connsiteX84" fmla="*/ 2756535 w 3008034"/>
                  <a:gd name="connsiteY84" fmla="*/ 1089660 h 3680460"/>
                  <a:gd name="connsiteX85" fmla="*/ 2726055 w 3008034"/>
                  <a:gd name="connsiteY85" fmla="*/ 1043940 h 3680460"/>
                  <a:gd name="connsiteX86" fmla="*/ 2718435 w 3008034"/>
                  <a:gd name="connsiteY86" fmla="*/ 1021080 h 3680460"/>
                  <a:gd name="connsiteX87" fmla="*/ 2672715 w 3008034"/>
                  <a:gd name="connsiteY87" fmla="*/ 937260 h 3680460"/>
                  <a:gd name="connsiteX88" fmla="*/ 2649855 w 3008034"/>
                  <a:gd name="connsiteY88" fmla="*/ 876300 h 3680460"/>
                  <a:gd name="connsiteX89" fmla="*/ 2634615 w 3008034"/>
                  <a:gd name="connsiteY89" fmla="*/ 845820 h 3680460"/>
                  <a:gd name="connsiteX90" fmla="*/ 2611755 w 3008034"/>
                  <a:gd name="connsiteY90" fmla="*/ 800100 h 3680460"/>
                  <a:gd name="connsiteX91" fmla="*/ 2448878 w 3008034"/>
                  <a:gd name="connsiteY91" fmla="*/ 621983 h 3680460"/>
                  <a:gd name="connsiteX92" fmla="*/ 2291715 w 3008034"/>
                  <a:gd name="connsiteY92" fmla="*/ 458152 h 3680460"/>
                  <a:gd name="connsiteX93" fmla="*/ 2227898 w 3008034"/>
                  <a:gd name="connsiteY93" fmla="*/ 406717 h 3680460"/>
                  <a:gd name="connsiteX94" fmla="*/ 2093595 w 3008034"/>
                  <a:gd name="connsiteY94" fmla="*/ 312420 h 3680460"/>
                  <a:gd name="connsiteX95" fmla="*/ 2032635 w 3008034"/>
                  <a:gd name="connsiteY95" fmla="*/ 266700 h 3680460"/>
                  <a:gd name="connsiteX96" fmla="*/ 1994535 w 3008034"/>
                  <a:gd name="connsiteY96" fmla="*/ 251460 h 3680460"/>
                  <a:gd name="connsiteX97" fmla="*/ 1948815 w 3008034"/>
                  <a:gd name="connsiteY97" fmla="*/ 220980 h 3680460"/>
                  <a:gd name="connsiteX98" fmla="*/ 1887855 w 3008034"/>
                  <a:gd name="connsiteY9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59355 w 3008034"/>
                  <a:gd name="connsiteY69" fmla="*/ 3009900 h 3680460"/>
                  <a:gd name="connsiteX70" fmla="*/ 2527935 w 3008034"/>
                  <a:gd name="connsiteY70" fmla="*/ 2926080 h 3680460"/>
                  <a:gd name="connsiteX71" fmla="*/ 2619375 w 3008034"/>
                  <a:gd name="connsiteY71" fmla="*/ 2811780 h 3680460"/>
                  <a:gd name="connsiteX72" fmla="*/ 2665095 w 3008034"/>
                  <a:gd name="connsiteY72" fmla="*/ 2727960 h 3680460"/>
                  <a:gd name="connsiteX73" fmla="*/ 2695575 w 3008034"/>
                  <a:gd name="connsiteY73" fmla="*/ 2667000 h 3680460"/>
                  <a:gd name="connsiteX74" fmla="*/ 2779395 w 3008034"/>
                  <a:gd name="connsiteY74" fmla="*/ 2484120 h 3680460"/>
                  <a:gd name="connsiteX75" fmla="*/ 2802255 w 3008034"/>
                  <a:gd name="connsiteY75" fmla="*/ 2407920 h 3680460"/>
                  <a:gd name="connsiteX76" fmla="*/ 2908935 w 3008034"/>
                  <a:gd name="connsiteY76" fmla="*/ 2049780 h 3680460"/>
                  <a:gd name="connsiteX77" fmla="*/ 2924175 w 3008034"/>
                  <a:gd name="connsiteY77" fmla="*/ 1844040 h 3680460"/>
                  <a:gd name="connsiteX78" fmla="*/ 2908935 w 3008034"/>
                  <a:gd name="connsiteY78" fmla="*/ 1470660 h 3680460"/>
                  <a:gd name="connsiteX79" fmla="*/ 2886075 w 3008034"/>
                  <a:gd name="connsiteY79" fmla="*/ 1371600 h 3680460"/>
                  <a:gd name="connsiteX80" fmla="*/ 2870835 w 3008034"/>
                  <a:gd name="connsiteY80" fmla="*/ 1341120 h 3680460"/>
                  <a:gd name="connsiteX81" fmla="*/ 2847975 w 3008034"/>
                  <a:gd name="connsiteY81" fmla="*/ 1272540 h 3680460"/>
                  <a:gd name="connsiteX82" fmla="*/ 2840355 w 3008034"/>
                  <a:gd name="connsiteY82" fmla="*/ 1234440 h 3680460"/>
                  <a:gd name="connsiteX83" fmla="*/ 2756535 w 3008034"/>
                  <a:gd name="connsiteY83" fmla="*/ 1089660 h 3680460"/>
                  <a:gd name="connsiteX84" fmla="*/ 2726055 w 3008034"/>
                  <a:gd name="connsiteY84" fmla="*/ 1043940 h 3680460"/>
                  <a:gd name="connsiteX85" fmla="*/ 2718435 w 3008034"/>
                  <a:gd name="connsiteY85" fmla="*/ 1021080 h 3680460"/>
                  <a:gd name="connsiteX86" fmla="*/ 2672715 w 3008034"/>
                  <a:gd name="connsiteY86" fmla="*/ 937260 h 3680460"/>
                  <a:gd name="connsiteX87" fmla="*/ 2649855 w 3008034"/>
                  <a:gd name="connsiteY87" fmla="*/ 876300 h 3680460"/>
                  <a:gd name="connsiteX88" fmla="*/ 2634615 w 3008034"/>
                  <a:gd name="connsiteY88" fmla="*/ 845820 h 3680460"/>
                  <a:gd name="connsiteX89" fmla="*/ 2611755 w 3008034"/>
                  <a:gd name="connsiteY89" fmla="*/ 800100 h 3680460"/>
                  <a:gd name="connsiteX90" fmla="*/ 2448878 w 3008034"/>
                  <a:gd name="connsiteY90" fmla="*/ 621983 h 3680460"/>
                  <a:gd name="connsiteX91" fmla="*/ 2291715 w 3008034"/>
                  <a:gd name="connsiteY91" fmla="*/ 458152 h 3680460"/>
                  <a:gd name="connsiteX92" fmla="*/ 2227898 w 3008034"/>
                  <a:gd name="connsiteY92" fmla="*/ 406717 h 3680460"/>
                  <a:gd name="connsiteX93" fmla="*/ 2093595 w 3008034"/>
                  <a:gd name="connsiteY93" fmla="*/ 312420 h 3680460"/>
                  <a:gd name="connsiteX94" fmla="*/ 2032635 w 3008034"/>
                  <a:gd name="connsiteY94" fmla="*/ 266700 h 3680460"/>
                  <a:gd name="connsiteX95" fmla="*/ 1994535 w 3008034"/>
                  <a:gd name="connsiteY95" fmla="*/ 251460 h 3680460"/>
                  <a:gd name="connsiteX96" fmla="*/ 1948815 w 3008034"/>
                  <a:gd name="connsiteY96" fmla="*/ 220980 h 3680460"/>
                  <a:gd name="connsiteX97" fmla="*/ 1887855 w 3008034"/>
                  <a:gd name="connsiteY9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781175 w 3008034"/>
                  <a:gd name="connsiteY61" fmla="*/ 3451860 h 3680460"/>
                  <a:gd name="connsiteX62" fmla="*/ 1864995 w 3008034"/>
                  <a:gd name="connsiteY62" fmla="*/ 3421380 h 3680460"/>
                  <a:gd name="connsiteX63" fmla="*/ 1918335 w 3008034"/>
                  <a:gd name="connsiteY63" fmla="*/ 3398520 h 3680460"/>
                  <a:gd name="connsiteX64" fmla="*/ 1941195 w 3008034"/>
                  <a:gd name="connsiteY64" fmla="*/ 3390900 h 3680460"/>
                  <a:gd name="connsiteX65" fmla="*/ 2089785 w 3008034"/>
                  <a:gd name="connsiteY65" fmla="*/ 3308985 h 3680460"/>
                  <a:gd name="connsiteX66" fmla="*/ 2189797 w 3008034"/>
                  <a:gd name="connsiteY66" fmla="*/ 3251835 h 3680460"/>
                  <a:gd name="connsiteX67" fmla="*/ 2337435 w 3008034"/>
                  <a:gd name="connsiteY67" fmla="*/ 3154680 h 3680460"/>
                  <a:gd name="connsiteX68" fmla="*/ 2459355 w 3008034"/>
                  <a:gd name="connsiteY68" fmla="*/ 3009900 h 3680460"/>
                  <a:gd name="connsiteX69" fmla="*/ 2527935 w 3008034"/>
                  <a:gd name="connsiteY69" fmla="*/ 2926080 h 3680460"/>
                  <a:gd name="connsiteX70" fmla="*/ 2619375 w 3008034"/>
                  <a:gd name="connsiteY70" fmla="*/ 2811780 h 3680460"/>
                  <a:gd name="connsiteX71" fmla="*/ 2665095 w 3008034"/>
                  <a:gd name="connsiteY71" fmla="*/ 2727960 h 3680460"/>
                  <a:gd name="connsiteX72" fmla="*/ 2695575 w 3008034"/>
                  <a:gd name="connsiteY72" fmla="*/ 2667000 h 3680460"/>
                  <a:gd name="connsiteX73" fmla="*/ 2779395 w 3008034"/>
                  <a:gd name="connsiteY73" fmla="*/ 2484120 h 3680460"/>
                  <a:gd name="connsiteX74" fmla="*/ 2802255 w 3008034"/>
                  <a:gd name="connsiteY74" fmla="*/ 2407920 h 3680460"/>
                  <a:gd name="connsiteX75" fmla="*/ 2908935 w 3008034"/>
                  <a:gd name="connsiteY75" fmla="*/ 2049780 h 3680460"/>
                  <a:gd name="connsiteX76" fmla="*/ 2924175 w 3008034"/>
                  <a:gd name="connsiteY76" fmla="*/ 1844040 h 3680460"/>
                  <a:gd name="connsiteX77" fmla="*/ 2908935 w 3008034"/>
                  <a:gd name="connsiteY77" fmla="*/ 1470660 h 3680460"/>
                  <a:gd name="connsiteX78" fmla="*/ 2886075 w 3008034"/>
                  <a:gd name="connsiteY78" fmla="*/ 1371600 h 3680460"/>
                  <a:gd name="connsiteX79" fmla="*/ 2870835 w 3008034"/>
                  <a:gd name="connsiteY79" fmla="*/ 1341120 h 3680460"/>
                  <a:gd name="connsiteX80" fmla="*/ 2847975 w 3008034"/>
                  <a:gd name="connsiteY80" fmla="*/ 1272540 h 3680460"/>
                  <a:gd name="connsiteX81" fmla="*/ 2840355 w 3008034"/>
                  <a:gd name="connsiteY81" fmla="*/ 1234440 h 3680460"/>
                  <a:gd name="connsiteX82" fmla="*/ 2756535 w 3008034"/>
                  <a:gd name="connsiteY82" fmla="*/ 1089660 h 3680460"/>
                  <a:gd name="connsiteX83" fmla="*/ 2726055 w 3008034"/>
                  <a:gd name="connsiteY83" fmla="*/ 1043940 h 3680460"/>
                  <a:gd name="connsiteX84" fmla="*/ 2718435 w 3008034"/>
                  <a:gd name="connsiteY84" fmla="*/ 1021080 h 3680460"/>
                  <a:gd name="connsiteX85" fmla="*/ 2672715 w 3008034"/>
                  <a:gd name="connsiteY85" fmla="*/ 937260 h 3680460"/>
                  <a:gd name="connsiteX86" fmla="*/ 2649855 w 3008034"/>
                  <a:gd name="connsiteY86" fmla="*/ 876300 h 3680460"/>
                  <a:gd name="connsiteX87" fmla="*/ 2634615 w 3008034"/>
                  <a:gd name="connsiteY87" fmla="*/ 845820 h 3680460"/>
                  <a:gd name="connsiteX88" fmla="*/ 2611755 w 3008034"/>
                  <a:gd name="connsiteY88" fmla="*/ 800100 h 3680460"/>
                  <a:gd name="connsiteX89" fmla="*/ 2448878 w 3008034"/>
                  <a:gd name="connsiteY89" fmla="*/ 621983 h 3680460"/>
                  <a:gd name="connsiteX90" fmla="*/ 2291715 w 3008034"/>
                  <a:gd name="connsiteY90" fmla="*/ 458152 h 3680460"/>
                  <a:gd name="connsiteX91" fmla="*/ 2227898 w 3008034"/>
                  <a:gd name="connsiteY91" fmla="*/ 406717 h 3680460"/>
                  <a:gd name="connsiteX92" fmla="*/ 2093595 w 3008034"/>
                  <a:gd name="connsiteY92" fmla="*/ 312420 h 3680460"/>
                  <a:gd name="connsiteX93" fmla="*/ 2032635 w 3008034"/>
                  <a:gd name="connsiteY93" fmla="*/ 266700 h 3680460"/>
                  <a:gd name="connsiteX94" fmla="*/ 1994535 w 3008034"/>
                  <a:gd name="connsiteY94" fmla="*/ 251460 h 3680460"/>
                  <a:gd name="connsiteX95" fmla="*/ 1948815 w 3008034"/>
                  <a:gd name="connsiteY95" fmla="*/ 220980 h 3680460"/>
                  <a:gd name="connsiteX96" fmla="*/ 1887855 w 3008034"/>
                  <a:gd name="connsiteY9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781175 w 3008034"/>
                  <a:gd name="connsiteY61" fmla="*/ 3451860 h 3680460"/>
                  <a:gd name="connsiteX62" fmla="*/ 1864995 w 3008034"/>
                  <a:gd name="connsiteY62" fmla="*/ 3421380 h 3680460"/>
                  <a:gd name="connsiteX63" fmla="*/ 1941195 w 3008034"/>
                  <a:gd name="connsiteY63" fmla="*/ 3390900 h 3680460"/>
                  <a:gd name="connsiteX64" fmla="*/ 2089785 w 3008034"/>
                  <a:gd name="connsiteY64" fmla="*/ 3308985 h 3680460"/>
                  <a:gd name="connsiteX65" fmla="*/ 2189797 w 3008034"/>
                  <a:gd name="connsiteY65" fmla="*/ 3251835 h 3680460"/>
                  <a:gd name="connsiteX66" fmla="*/ 2337435 w 3008034"/>
                  <a:gd name="connsiteY66" fmla="*/ 3154680 h 3680460"/>
                  <a:gd name="connsiteX67" fmla="*/ 2459355 w 3008034"/>
                  <a:gd name="connsiteY67" fmla="*/ 3009900 h 3680460"/>
                  <a:gd name="connsiteX68" fmla="*/ 2527935 w 3008034"/>
                  <a:gd name="connsiteY68" fmla="*/ 2926080 h 3680460"/>
                  <a:gd name="connsiteX69" fmla="*/ 2619375 w 3008034"/>
                  <a:gd name="connsiteY69" fmla="*/ 2811780 h 3680460"/>
                  <a:gd name="connsiteX70" fmla="*/ 2665095 w 3008034"/>
                  <a:gd name="connsiteY70" fmla="*/ 2727960 h 3680460"/>
                  <a:gd name="connsiteX71" fmla="*/ 2695575 w 3008034"/>
                  <a:gd name="connsiteY71" fmla="*/ 2667000 h 3680460"/>
                  <a:gd name="connsiteX72" fmla="*/ 2779395 w 3008034"/>
                  <a:gd name="connsiteY72" fmla="*/ 2484120 h 3680460"/>
                  <a:gd name="connsiteX73" fmla="*/ 2802255 w 3008034"/>
                  <a:gd name="connsiteY73" fmla="*/ 2407920 h 3680460"/>
                  <a:gd name="connsiteX74" fmla="*/ 2908935 w 3008034"/>
                  <a:gd name="connsiteY74" fmla="*/ 2049780 h 3680460"/>
                  <a:gd name="connsiteX75" fmla="*/ 2924175 w 3008034"/>
                  <a:gd name="connsiteY75" fmla="*/ 1844040 h 3680460"/>
                  <a:gd name="connsiteX76" fmla="*/ 2908935 w 3008034"/>
                  <a:gd name="connsiteY76" fmla="*/ 1470660 h 3680460"/>
                  <a:gd name="connsiteX77" fmla="*/ 2886075 w 3008034"/>
                  <a:gd name="connsiteY77" fmla="*/ 1371600 h 3680460"/>
                  <a:gd name="connsiteX78" fmla="*/ 2870835 w 3008034"/>
                  <a:gd name="connsiteY78" fmla="*/ 1341120 h 3680460"/>
                  <a:gd name="connsiteX79" fmla="*/ 2847975 w 3008034"/>
                  <a:gd name="connsiteY79" fmla="*/ 1272540 h 3680460"/>
                  <a:gd name="connsiteX80" fmla="*/ 2840355 w 3008034"/>
                  <a:gd name="connsiteY80" fmla="*/ 1234440 h 3680460"/>
                  <a:gd name="connsiteX81" fmla="*/ 2756535 w 3008034"/>
                  <a:gd name="connsiteY81" fmla="*/ 1089660 h 3680460"/>
                  <a:gd name="connsiteX82" fmla="*/ 2726055 w 3008034"/>
                  <a:gd name="connsiteY82" fmla="*/ 1043940 h 3680460"/>
                  <a:gd name="connsiteX83" fmla="*/ 2718435 w 3008034"/>
                  <a:gd name="connsiteY83" fmla="*/ 1021080 h 3680460"/>
                  <a:gd name="connsiteX84" fmla="*/ 2672715 w 3008034"/>
                  <a:gd name="connsiteY84" fmla="*/ 937260 h 3680460"/>
                  <a:gd name="connsiteX85" fmla="*/ 2649855 w 3008034"/>
                  <a:gd name="connsiteY85" fmla="*/ 876300 h 3680460"/>
                  <a:gd name="connsiteX86" fmla="*/ 2634615 w 3008034"/>
                  <a:gd name="connsiteY86" fmla="*/ 845820 h 3680460"/>
                  <a:gd name="connsiteX87" fmla="*/ 2611755 w 3008034"/>
                  <a:gd name="connsiteY87" fmla="*/ 800100 h 3680460"/>
                  <a:gd name="connsiteX88" fmla="*/ 2448878 w 3008034"/>
                  <a:gd name="connsiteY88" fmla="*/ 621983 h 3680460"/>
                  <a:gd name="connsiteX89" fmla="*/ 2291715 w 3008034"/>
                  <a:gd name="connsiteY89" fmla="*/ 458152 h 3680460"/>
                  <a:gd name="connsiteX90" fmla="*/ 2227898 w 3008034"/>
                  <a:gd name="connsiteY90" fmla="*/ 406717 h 3680460"/>
                  <a:gd name="connsiteX91" fmla="*/ 2093595 w 3008034"/>
                  <a:gd name="connsiteY91" fmla="*/ 312420 h 3680460"/>
                  <a:gd name="connsiteX92" fmla="*/ 2032635 w 3008034"/>
                  <a:gd name="connsiteY92" fmla="*/ 266700 h 3680460"/>
                  <a:gd name="connsiteX93" fmla="*/ 1994535 w 3008034"/>
                  <a:gd name="connsiteY93" fmla="*/ 251460 h 3680460"/>
                  <a:gd name="connsiteX94" fmla="*/ 1948815 w 3008034"/>
                  <a:gd name="connsiteY94" fmla="*/ 220980 h 3680460"/>
                  <a:gd name="connsiteX95" fmla="*/ 1887855 w 3008034"/>
                  <a:gd name="connsiteY9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37335 w 3008034"/>
                  <a:gd name="connsiteY41" fmla="*/ 3611880 h 3680460"/>
                  <a:gd name="connsiteX42" fmla="*/ 1453515 w 3008034"/>
                  <a:gd name="connsiteY42" fmla="*/ 3627120 h 3680460"/>
                  <a:gd name="connsiteX43" fmla="*/ 1323975 w 3008034"/>
                  <a:gd name="connsiteY43" fmla="*/ 3657600 h 3680460"/>
                  <a:gd name="connsiteX44" fmla="*/ 1194435 w 3008034"/>
                  <a:gd name="connsiteY44" fmla="*/ 3672840 h 3680460"/>
                  <a:gd name="connsiteX45" fmla="*/ 1156335 w 3008034"/>
                  <a:gd name="connsiteY45" fmla="*/ 3680460 h 3680460"/>
                  <a:gd name="connsiteX46" fmla="*/ 625792 w 3008034"/>
                  <a:gd name="connsiteY46" fmla="*/ 3668078 h 3680460"/>
                  <a:gd name="connsiteX47" fmla="*/ 402908 w 3008034"/>
                  <a:gd name="connsiteY47" fmla="*/ 3614738 h 3680460"/>
                  <a:gd name="connsiteX48" fmla="*/ 266700 w 3008034"/>
                  <a:gd name="connsiteY48" fmla="*/ 3570922 h 3680460"/>
                  <a:gd name="connsiteX49" fmla="*/ 164782 w 3008034"/>
                  <a:gd name="connsiteY49" fmla="*/ 3515678 h 3680460"/>
                  <a:gd name="connsiteX50" fmla="*/ 31433 w 3008034"/>
                  <a:gd name="connsiteY50" fmla="*/ 3422333 h 3680460"/>
                  <a:gd name="connsiteX51" fmla="*/ 0 w 3008034"/>
                  <a:gd name="connsiteY51" fmla="*/ 3376613 h 3680460"/>
                  <a:gd name="connsiteX52" fmla="*/ 127635 w 3008034"/>
                  <a:gd name="connsiteY52" fmla="*/ 3360420 h 3680460"/>
                  <a:gd name="connsiteX53" fmla="*/ 158115 w 3008034"/>
                  <a:gd name="connsiteY53" fmla="*/ 3390900 h 3680460"/>
                  <a:gd name="connsiteX54" fmla="*/ 317183 w 3008034"/>
                  <a:gd name="connsiteY54" fmla="*/ 3450907 h 3680460"/>
                  <a:gd name="connsiteX55" fmla="*/ 485775 w 3008034"/>
                  <a:gd name="connsiteY55" fmla="*/ 3520440 h 3680460"/>
                  <a:gd name="connsiteX56" fmla="*/ 721995 w 3008034"/>
                  <a:gd name="connsiteY56" fmla="*/ 3558540 h 3680460"/>
                  <a:gd name="connsiteX57" fmla="*/ 1331595 w 3008034"/>
                  <a:gd name="connsiteY57" fmla="*/ 3550920 h 3680460"/>
                  <a:gd name="connsiteX58" fmla="*/ 1529715 w 3008034"/>
                  <a:gd name="connsiteY58" fmla="*/ 3520440 h 3680460"/>
                  <a:gd name="connsiteX59" fmla="*/ 1621155 w 3008034"/>
                  <a:gd name="connsiteY59" fmla="*/ 3497580 h 3680460"/>
                  <a:gd name="connsiteX60" fmla="*/ 1781175 w 3008034"/>
                  <a:gd name="connsiteY60" fmla="*/ 3451860 h 3680460"/>
                  <a:gd name="connsiteX61" fmla="*/ 1864995 w 3008034"/>
                  <a:gd name="connsiteY61" fmla="*/ 3421380 h 3680460"/>
                  <a:gd name="connsiteX62" fmla="*/ 1941195 w 3008034"/>
                  <a:gd name="connsiteY62" fmla="*/ 3390900 h 3680460"/>
                  <a:gd name="connsiteX63" fmla="*/ 2089785 w 3008034"/>
                  <a:gd name="connsiteY63" fmla="*/ 3308985 h 3680460"/>
                  <a:gd name="connsiteX64" fmla="*/ 2189797 w 3008034"/>
                  <a:gd name="connsiteY64" fmla="*/ 3251835 h 3680460"/>
                  <a:gd name="connsiteX65" fmla="*/ 2337435 w 3008034"/>
                  <a:gd name="connsiteY65" fmla="*/ 3154680 h 3680460"/>
                  <a:gd name="connsiteX66" fmla="*/ 2459355 w 3008034"/>
                  <a:gd name="connsiteY66" fmla="*/ 3009900 h 3680460"/>
                  <a:gd name="connsiteX67" fmla="*/ 2527935 w 3008034"/>
                  <a:gd name="connsiteY67" fmla="*/ 2926080 h 3680460"/>
                  <a:gd name="connsiteX68" fmla="*/ 2619375 w 3008034"/>
                  <a:gd name="connsiteY68" fmla="*/ 2811780 h 3680460"/>
                  <a:gd name="connsiteX69" fmla="*/ 2665095 w 3008034"/>
                  <a:gd name="connsiteY69" fmla="*/ 2727960 h 3680460"/>
                  <a:gd name="connsiteX70" fmla="*/ 2695575 w 3008034"/>
                  <a:gd name="connsiteY70" fmla="*/ 2667000 h 3680460"/>
                  <a:gd name="connsiteX71" fmla="*/ 2779395 w 3008034"/>
                  <a:gd name="connsiteY71" fmla="*/ 2484120 h 3680460"/>
                  <a:gd name="connsiteX72" fmla="*/ 2802255 w 3008034"/>
                  <a:gd name="connsiteY72" fmla="*/ 2407920 h 3680460"/>
                  <a:gd name="connsiteX73" fmla="*/ 2908935 w 3008034"/>
                  <a:gd name="connsiteY73" fmla="*/ 2049780 h 3680460"/>
                  <a:gd name="connsiteX74" fmla="*/ 2924175 w 3008034"/>
                  <a:gd name="connsiteY74" fmla="*/ 1844040 h 3680460"/>
                  <a:gd name="connsiteX75" fmla="*/ 2908935 w 3008034"/>
                  <a:gd name="connsiteY75" fmla="*/ 1470660 h 3680460"/>
                  <a:gd name="connsiteX76" fmla="*/ 2886075 w 3008034"/>
                  <a:gd name="connsiteY76" fmla="*/ 1371600 h 3680460"/>
                  <a:gd name="connsiteX77" fmla="*/ 2870835 w 3008034"/>
                  <a:gd name="connsiteY77" fmla="*/ 1341120 h 3680460"/>
                  <a:gd name="connsiteX78" fmla="*/ 2847975 w 3008034"/>
                  <a:gd name="connsiteY78" fmla="*/ 1272540 h 3680460"/>
                  <a:gd name="connsiteX79" fmla="*/ 2840355 w 3008034"/>
                  <a:gd name="connsiteY79" fmla="*/ 1234440 h 3680460"/>
                  <a:gd name="connsiteX80" fmla="*/ 2756535 w 3008034"/>
                  <a:gd name="connsiteY80" fmla="*/ 1089660 h 3680460"/>
                  <a:gd name="connsiteX81" fmla="*/ 2726055 w 3008034"/>
                  <a:gd name="connsiteY81" fmla="*/ 1043940 h 3680460"/>
                  <a:gd name="connsiteX82" fmla="*/ 2718435 w 3008034"/>
                  <a:gd name="connsiteY82" fmla="*/ 1021080 h 3680460"/>
                  <a:gd name="connsiteX83" fmla="*/ 2672715 w 3008034"/>
                  <a:gd name="connsiteY83" fmla="*/ 937260 h 3680460"/>
                  <a:gd name="connsiteX84" fmla="*/ 2649855 w 3008034"/>
                  <a:gd name="connsiteY84" fmla="*/ 876300 h 3680460"/>
                  <a:gd name="connsiteX85" fmla="*/ 2634615 w 3008034"/>
                  <a:gd name="connsiteY85" fmla="*/ 845820 h 3680460"/>
                  <a:gd name="connsiteX86" fmla="*/ 2611755 w 3008034"/>
                  <a:gd name="connsiteY86" fmla="*/ 800100 h 3680460"/>
                  <a:gd name="connsiteX87" fmla="*/ 2448878 w 3008034"/>
                  <a:gd name="connsiteY87" fmla="*/ 621983 h 3680460"/>
                  <a:gd name="connsiteX88" fmla="*/ 2291715 w 3008034"/>
                  <a:gd name="connsiteY88" fmla="*/ 458152 h 3680460"/>
                  <a:gd name="connsiteX89" fmla="*/ 2227898 w 3008034"/>
                  <a:gd name="connsiteY89" fmla="*/ 406717 h 3680460"/>
                  <a:gd name="connsiteX90" fmla="*/ 2093595 w 3008034"/>
                  <a:gd name="connsiteY90" fmla="*/ 312420 h 3680460"/>
                  <a:gd name="connsiteX91" fmla="*/ 2032635 w 3008034"/>
                  <a:gd name="connsiteY91" fmla="*/ 266700 h 3680460"/>
                  <a:gd name="connsiteX92" fmla="*/ 1994535 w 3008034"/>
                  <a:gd name="connsiteY92" fmla="*/ 251460 h 3680460"/>
                  <a:gd name="connsiteX93" fmla="*/ 1948815 w 3008034"/>
                  <a:gd name="connsiteY93" fmla="*/ 220980 h 3680460"/>
                  <a:gd name="connsiteX94" fmla="*/ 1887855 w 3008034"/>
                  <a:gd name="connsiteY9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611755 w 3008034"/>
                  <a:gd name="connsiteY13" fmla="*/ 548640 h 3680460"/>
                  <a:gd name="connsiteX14" fmla="*/ 2665095 w 3008034"/>
                  <a:gd name="connsiteY14" fmla="*/ 609600 h 3680460"/>
                  <a:gd name="connsiteX15" fmla="*/ 2756535 w 3008034"/>
                  <a:gd name="connsiteY15" fmla="*/ 754380 h 3680460"/>
                  <a:gd name="connsiteX16" fmla="*/ 2809875 w 3008034"/>
                  <a:gd name="connsiteY16" fmla="*/ 830580 h 3680460"/>
                  <a:gd name="connsiteX17" fmla="*/ 2908935 w 3008034"/>
                  <a:gd name="connsiteY17" fmla="*/ 1036320 h 3680460"/>
                  <a:gd name="connsiteX18" fmla="*/ 2924175 w 3008034"/>
                  <a:gd name="connsiteY18" fmla="*/ 1074420 h 3680460"/>
                  <a:gd name="connsiteX19" fmla="*/ 2954655 w 3008034"/>
                  <a:gd name="connsiteY19" fmla="*/ 1203960 h 3680460"/>
                  <a:gd name="connsiteX20" fmla="*/ 2969895 w 3008034"/>
                  <a:gd name="connsiteY20" fmla="*/ 1264920 h 3680460"/>
                  <a:gd name="connsiteX21" fmla="*/ 2985135 w 3008034"/>
                  <a:gd name="connsiteY21" fmla="*/ 1348740 h 3680460"/>
                  <a:gd name="connsiteX22" fmla="*/ 3000375 w 3008034"/>
                  <a:gd name="connsiteY22" fmla="*/ 1432560 h 3680460"/>
                  <a:gd name="connsiteX23" fmla="*/ 3007995 w 3008034"/>
                  <a:gd name="connsiteY23" fmla="*/ 1684020 h 3680460"/>
                  <a:gd name="connsiteX24" fmla="*/ 3003233 w 3008034"/>
                  <a:gd name="connsiteY24" fmla="*/ 1990725 h 3680460"/>
                  <a:gd name="connsiteX25" fmla="*/ 2969895 w 3008034"/>
                  <a:gd name="connsiteY25" fmla="*/ 2194560 h 3680460"/>
                  <a:gd name="connsiteX26" fmla="*/ 2931795 w 3008034"/>
                  <a:gd name="connsiteY26" fmla="*/ 2324100 h 3680460"/>
                  <a:gd name="connsiteX27" fmla="*/ 2916555 w 3008034"/>
                  <a:gd name="connsiteY27" fmla="*/ 2392680 h 3680460"/>
                  <a:gd name="connsiteX28" fmla="*/ 2867978 w 3008034"/>
                  <a:gd name="connsiteY28" fmla="*/ 2521267 h 3680460"/>
                  <a:gd name="connsiteX29" fmla="*/ 2801303 w 3008034"/>
                  <a:gd name="connsiteY29" fmla="*/ 2656523 h 3680460"/>
                  <a:gd name="connsiteX30" fmla="*/ 2719387 w 3008034"/>
                  <a:gd name="connsiteY30" fmla="*/ 2818447 h 3680460"/>
                  <a:gd name="connsiteX31" fmla="*/ 2495550 w 3008034"/>
                  <a:gd name="connsiteY31" fmla="*/ 3084195 h 3680460"/>
                  <a:gd name="connsiteX32" fmla="*/ 2396490 w 3008034"/>
                  <a:gd name="connsiteY32" fmla="*/ 3185160 h 3680460"/>
                  <a:gd name="connsiteX33" fmla="*/ 2284095 w 3008034"/>
                  <a:gd name="connsiteY33" fmla="*/ 3284220 h 3680460"/>
                  <a:gd name="connsiteX34" fmla="*/ 2131695 w 3008034"/>
                  <a:gd name="connsiteY34" fmla="*/ 3390900 h 3680460"/>
                  <a:gd name="connsiteX35" fmla="*/ 2000250 w 3008034"/>
                  <a:gd name="connsiteY35" fmla="*/ 3448050 h 3680460"/>
                  <a:gd name="connsiteX36" fmla="*/ 1864995 w 3008034"/>
                  <a:gd name="connsiteY36" fmla="*/ 3512820 h 3680460"/>
                  <a:gd name="connsiteX37" fmla="*/ 1819275 w 3008034"/>
                  <a:gd name="connsiteY37" fmla="*/ 3520440 h 3680460"/>
                  <a:gd name="connsiteX38" fmla="*/ 1712595 w 3008034"/>
                  <a:gd name="connsiteY38" fmla="*/ 3550920 h 3680460"/>
                  <a:gd name="connsiteX39" fmla="*/ 1590675 w 3008034"/>
                  <a:gd name="connsiteY39" fmla="*/ 3589020 h 3680460"/>
                  <a:gd name="connsiteX40" fmla="*/ 1537335 w 3008034"/>
                  <a:gd name="connsiteY40" fmla="*/ 3611880 h 3680460"/>
                  <a:gd name="connsiteX41" fmla="*/ 1453515 w 3008034"/>
                  <a:gd name="connsiteY41" fmla="*/ 3627120 h 3680460"/>
                  <a:gd name="connsiteX42" fmla="*/ 1323975 w 3008034"/>
                  <a:gd name="connsiteY42" fmla="*/ 3657600 h 3680460"/>
                  <a:gd name="connsiteX43" fmla="*/ 1194435 w 3008034"/>
                  <a:gd name="connsiteY43" fmla="*/ 3672840 h 3680460"/>
                  <a:gd name="connsiteX44" fmla="*/ 1156335 w 3008034"/>
                  <a:gd name="connsiteY44" fmla="*/ 3680460 h 3680460"/>
                  <a:gd name="connsiteX45" fmla="*/ 625792 w 3008034"/>
                  <a:gd name="connsiteY45" fmla="*/ 3668078 h 3680460"/>
                  <a:gd name="connsiteX46" fmla="*/ 402908 w 3008034"/>
                  <a:gd name="connsiteY46" fmla="*/ 3614738 h 3680460"/>
                  <a:gd name="connsiteX47" fmla="*/ 266700 w 3008034"/>
                  <a:gd name="connsiteY47" fmla="*/ 3570922 h 3680460"/>
                  <a:gd name="connsiteX48" fmla="*/ 164782 w 3008034"/>
                  <a:gd name="connsiteY48" fmla="*/ 3515678 h 3680460"/>
                  <a:gd name="connsiteX49" fmla="*/ 31433 w 3008034"/>
                  <a:gd name="connsiteY49" fmla="*/ 3422333 h 3680460"/>
                  <a:gd name="connsiteX50" fmla="*/ 0 w 3008034"/>
                  <a:gd name="connsiteY50" fmla="*/ 3376613 h 3680460"/>
                  <a:gd name="connsiteX51" fmla="*/ 127635 w 3008034"/>
                  <a:gd name="connsiteY51" fmla="*/ 3360420 h 3680460"/>
                  <a:gd name="connsiteX52" fmla="*/ 158115 w 3008034"/>
                  <a:gd name="connsiteY52" fmla="*/ 3390900 h 3680460"/>
                  <a:gd name="connsiteX53" fmla="*/ 317183 w 3008034"/>
                  <a:gd name="connsiteY53" fmla="*/ 3450907 h 3680460"/>
                  <a:gd name="connsiteX54" fmla="*/ 485775 w 3008034"/>
                  <a:gd name="connsiteY54" fmla="*/ 3520440 h 3680460"/>
                  <a:gd name="connsiteX55" fmla="*/ 721995 w 3008034"/>
                  <a:gd name="connsiteY55" fmla="*/ 3558540 h 3680460"/>
                  <a:gd name="connsiteX56" fmla="*/ 1331595 w 3008034"/>
                  <a:gd name="connsiteY56" fmla="*/ 3550920 h 3680460"/>
                  <a:gd name="connsiteX57" fmla="*/ 1529715 w 3008034"/>
                  <a:gd name="connsiteY57" fmla="*/ 3520440 h 3680460"/>
                  <a:gd name="connsiteX58" fmla="*/ 1621155 w 3008034"/>
                  <a:gd name="connsiteY58" fmla="*/ 3497580 h 3680460"/>
                  <a:gd name="connsiteX59" fmla="*/ 1781175 w 3008034"/>
                  <a:gd name="connsiteY59" fmla="*/ 3451860 h 3680460"/>
                  <a:gd name="connsiteX60" fmla="*/ 1864995 w 3008034"/>
                  <a:gd name="connsiteY60" fmla="*/ 3421380 h 3680460"/>
                  <a:gd name="connsiteX61" fmla="*/ 1941195 w 3008034"/>
                  <a:gd name="connsiteY61" fmla="*/ 3390900 h 3680460"/>
                  <a:gd name="connsiteX62" fmla="*/ 2089785 w 3008034"/>
                  <a:gd name="connsiteY62" fmla="*/ 3308985 h 3680460"/>
                  <a:gd name="connsiteX63" fmla="*/ 2189797 w 3008034"/>
                  <a:gd name="connsiteY63" fmla="*/ 3251835 h 3680460"/>
                  <a:gd name="connsiteX64" fmla="*/ 2337435 w 3008034"/>
                  <a:gd name="connsiteY64" fmla="*/ 3154680 h 3680460"/>
                  <a:gd name="connsiteX65" fmla="*/ 2459355 w 3008034"/>
                  <a:gd name="connsiteY65" fmla="*/ 3009900 h 3680460"/>
                  <a:gd name="connsiteX66" fmla="*/ 2527935 w 3008034"/>
                  <a:gd name="connsiteY66" fmla="*/ 2926080 h 3680460"/>
                  <a:gd name="connsiteX67" fmla="*/ 2619375 w 3008034"/>
                  <a:gd name="connsiteY67" fmla="*/ 2811780 h 3680460"/>
                  <a:gd name="connsiteX68" fmla="*/ 2665095 w 3008034"/>
                  <a:gd name="connsiteY68" fmla="*/ 2727960 h 3680460"/>
                  <a:gd name="connsiteX69" fmla="*/ 2695575 w 3008034"/>
                  <a:gd name="connsiteY69" fmla="*/ 2667000 h 3680460"/>
                  <a:gd name="connsiteX70" fmla="*/ 2779395 w 3008034"/>
                  <a:gd name="connsiteY70" fmla="*/ 2484120 h 3680460"/>
                  <a:gd name="connsiteX71" fmla="*/ 2802255 w 3008034"/>
                  <a:gd name="connsiteY71" fmla="*/ 2407920 h 3680460"/>
                  <a:gd name="connsiteX72" fmla="*/ 2908935 w 3008034"/>
                  <a:gd name="connsiteY72" fmla="*/ 2049780 h 3680460"/>
                  <a:gd name="connsiteX73" fmla="*/ 2924175 w 3008034"/>
                  <a:gd name="connsiteY73" fmla="*/ 1844040 h 3680460"/>
                  <a:gd name="connsiteX74" fmla="*/ 2908935 w 3008034"/>
                  <a:gd name="connsiteY74" fmla="*/ 1470660 h 3680460"/>
                  <a:gd name="connsiteX75" fmla="*/ 2886075 w 3008034"/>
                  <a:gd name="connsiteY75" fmla="*/ 1371600 h 3680460"/>
                  <a:gd name="connsiteX76" fmla="*/ 2870835 w 3008034"/>
                  <a:gd name="connsiteY76" fmla="*/ 1341120 h 3680460"/>
                  <a:gd name="connsiteX77" fmla="*/ 2847975 w 3008034"/>
                  <a:gd name="connsiteY77" fmla="*/ 1272540 h 3680460"/>
                  <a:gd name="connsiteX78" fmla="*/ 2840355 w 3008034"/>
                  <a:gd name="connsiteY78" fmla="*/ 1234440 h 3680460"/>
                  <a:gd name="connsiteX79" fmla="*/ 2756535 w 3008034"/>
                  <a:gd name="connsiteY79" fmla="*/ 1089660 h 3680460"/>
                  <a:gd name="connsiteX80" fmla="*/ 2726055 w 3008034"/>
                  <a:gd name="connsiteY80" fmla="*/ 1043940 h 3680460"/>
                  <a:gd name="connsiteX81" fmla="*/ 2718435 w 3008034"/>
                  <a:gd name="connsiteY81" fmla="*/ 1021080 h 3680460"/>
                  <a:gd name="connsiteX82" fmla="*/ 2672715 w 3008034"/>
                  <a:gd name="connsiteY82" fmla="*/ 937260 h 3680460"/>
                  <a:gd name="connsiteX83" fmla="*/ 2649855 w 3008034"/>
                  <a:gd name="connsiteY83" fmla="*/ 876300 h 3680460"/>
                  <a:gd name="connsiteX84" fmla="*/ 2634615 w 3008034"/>
                  <a:gd name="connsiteY84" fmla="*/ 845820 h 3680460"/>
                  <a:gd name="connsiteX85" fmla="*/ 2611755 w 3008034"/>
                  <a:gd name="connsiteY85" fmla="*/ 800100 h 3680460"/>
                  <a:gd name="connsiteX86" fmla="*/ 2448878 w 3008034"/>
                  <a:gd name="connsiteY86" fmla="*/ 621983 h 3680460"/>
                  <a:gd name="connsiteX87" fmla="*/ 2291715 w 3008034"/>
                  <a:gd name="connsiteY87" fmla="*/ 458152 h 3680460"/>
                  <a:gd name="connsiteX88" fmla="*/ 2227898 w 3008034"/>
                  <a:gd name="connsiteY88" fmla="*/ 406717 h 3680460"/>
                  <a:gd name="connsiteX89" fmla="*/ 2093595 w 3008034"/>
                  <a:gd name="connsiteY89" fmla="*/ 312420 h 3680460"/>
                  <a:gd name="connsiteX90" fmla="*/ 2032635 w 3008034"/>
                  <a:gd name="connsiteY90" fmla="*/ 266700 h 3680460"/>
                  <a:gd name="connsiteX91" fmla="*/ 1994535 w 3008034"/>
                  <a:gd name="connsiteY91" fmla="*/ 251460 h 3680460"/>
                  <a:gd name="connsiteX92" fmla="*/ 1948815 w 3008034"/>
                  <a:gd name="connsiteY92" fmla="*/ 220980 h 3680460"/>
                  <a:gd name="connsiteX93" fmla="*/ 1887855 w 3008034"/>
                  <a:gd name="connsiteY9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765935 w 3008034"/>
                  <a:gd name="connsiteY3" fmla="*/ 91440 h 3680460"/>
                  <a:gd name="connsiteX4" fmla="*/ 1750695 w 3008034"/>
                  <a:gd name="connsiteY4" fmla="*/ 68580 h 3680460"/>
                  <a:gd name="connsiteX5" fmla="*/ 1727835 w 3008034"/>
                  <a:gd name="connsiteY5" fmla="*/ 53340 h 3680460"/>
                  <a:gd name="connsiteX6" fmla="*/ 1720215 w 3008034"/>
                  <a:gd name="connsiteY6" fmla="*/ 16193 h 3680460"/>
                  <a:gd name="connsiteX7" fmla="*/ 1971675 w 3008034"/>
                  <a:gd name="connsiteY7" fmla="*/ 0 h 3680460"/>
                  <a:gd name="connsiteX8" fmla="*/ 2162175 w 3008034"/>
                  <a:gd name="connsiteY8" fmla="*/ 114300 h 3680460"/>
                  <a:gd name="connsiteX9" fmla="*/ 2276475 w 3008034"/>
                  <a:gd name="connsiteY9" fmla="*/ 190500 h 3680460"/>
                  <a:gd name="connsiteX10" fmla="*/ 2527935 w 3008034"/>
                  <a:gd name="connsiteY10" fmla="*/ 426720 h 3680460"/>
                  <a:gd name="connsiteX11" fmla="*/ 2543175 w 3008034"/>
                  <a:gd name="connsiteY11" fmla="*/ 449580 h 3680460"/>
                  <a:gd name="connsiteX12" fmla="*/ 2611755 w 3008034"/>
                  <a:gd name="connsiteY12" fmla="*/ 548640 h 3680460"/>
                  <a:gd name="connsiteX13" fmla="*/ 2665095 w 3008034"/>
                  <a:gd name="connsiteY13" fmla="*/ 609600 h 3680460"/>
                  <a:gd name="connsiteX14" fmla="*/ 2756535 w 3008034"/>
                  <a:gd name="connsiteY14" fmla="*/ 754380 h 3680460"/>
                  <a:gd name="connsiteX15" fmla="*/ 2809875 w 3008034"/>
                  <a:gd name="connsiteY15" fmla="*/ 830580 h 3680460"/>
                  <a:gd name="connsiteX16" fmla="*/ 2908935 w 3008034"/>
                  <a:gd name="connsiteY16" fmla="*/ 1036320 h 3680460"/>
                  <a:gd name="connsiteX17" fmla="*/ 2924175 w 3008034"/>
                  <a:gd name="connsiteY17" fmla="*/ 1074420 h 3680460"/>
                  <a:gd name="connsiteX18" fmla="*/ 2954655 w 3008034"/>
                  <a:gd name="connsiteY18" fmla="*/ 1203960 h 3680460"/>
                  <a:gd name="connsiteX19" fmla="*/ 2969895 w 3008034"/>
                  <a:gd name="connsiteY19" fmla="*/ 1264920 h 3680460"/>
                  <a:gd name="connsiteX20" fmla="*/ 2985135 w 3008034"/>
                  <a:gd name="connsiteY20" fmla="*/ 1348740 h 3680460"/>
                  <a:gd name="connsiteX21" fmla="*/ 3000375 w 3008034"/>
                  <a:gd name="connsiteY21" fmla="*/ 1432560 h 3680460"/>
                  <a:gd name="connsiteX22" fmla="*/ 3007995 w 3008034"/>
                  <a:gd name="connsiteY22" fmla="*/ 1684020 h 3680460"/>
                  <a:gd name="connsiteX23" fmla="*/ 3003233 w 3008034"/>
                  <a:gd name="connsiteY23" fmla="*/ 1990725 h 3680460"/>
                  <a:gd name="connsiteX24" fmla="*/ 2969895 w 3008034"/>
                  <a:gd name="connsiteY24" fmla="*/ 2194560 h 3680460"/>
                  <a:gd name="connsiteX25" fmla="*/ 2931795 w 3008034"/>
                  <a:gd name="connsiteY25" fmla="*/ 2324100 h 3680460"/>
                  <a:gd name="connsiteX26" fmla="*/ 2916555 w 3008034"/>
                  <a:gd name="connsiteY26" fmla="*/ 2392680 h 3680460"/>
                  <a:gd name="connsiteX27" fmla="*/ 2867978 w 3008034"/>
                  <a:gd name="connsiteY27" fmla="*/ 2521267 h 3680460"/>
                  <a:gd name="connsiteX28" fmla="*/ 2801303 w 3008034"/>
                  <a:gd name="connsiteY28" fmla="*/ 2656523 h 3680460"/>
                  <a:gd name="connsiteX29" fmla="*/ 2719387 w 3008034"/>
                  <a:gd name="connsiteY29" fmla="*/ 2818447 h 3680460"/>
                  <a:gd name="connsiteX30" fmla="*/ 2495550 w 3008034"/>
                  <a:gd name="connsiteY30" fmla="*/ 3084195 h 3680460"/>
                  <a:gd name="connsiteX31" fmla="*/ 2396490 w 3008034"/>
                  <a:gd name="connsiteY31" fmla="*/ 3185160 h 3680460"/>
                  <a:gd name="connsiteX32" fmla="*/ 2284095 w 3008034"/>
                  <a:gd name="connsiteY32" fmla="*/ 3284220 h 3680460"/>
                  <a:gd name="connsiteX33" fmla="*/ 2131695 w 3008034"/>
                  <a:gd name="connsiteY33" fmla="*/ 3390900 h 3680460"/>
                  <a:gd name="connsiteX34" fmla="*/ 2000250 w 3008034"/>
                  <a:gd name="connsiteY34" fmla="*/ 3448050 h 3680460"/>
                  <a:gd name="connsiteX35" fmla="*/ 1864995 w 3008034"/>
                  <a:gd name="connsiteY35" fmla="*/ 3512820 h 3680460"/>
                  <a:gd name="connsiteX36" fmla="*/ 1819275 w 3008034"/>
                  <a:gd name="connsiteY36" fmla="*/ 3520440 h 3680460"/>
                  <a:gd name="connsiteX37" fmla="*/ 1712595 w 3008034"/>
                  <a:gd name="connsiteY37" fmla="*/ 3550920 h 3680460"/>
                  <a:gd name="connsiteX38" fmla="*/ 1590675 w 3008034"/>
                  <a:gd name="connsiteY38" fmla="*/ 3589020 h 3680460"/>
                  <a:gd name="connsiteX39" fmla="*/ 1537335 w 3008034"/>
                  <a:gd name="connsiteY39" fmla="*/ 3611880 h 3680460"/>
                  <a:gd name="connsiteX40" fmla="*/ 1453515 w 3008034"/>
                  <a:gd name="connsiteY40" fmla="*/ 3627120 h 3680460"/>
                  <a:gd name="connsiteX41" fmla="*/ 1323975 w 3008034"/>
                  <a:gd name="connsiteY41" fmla="*/ 3657600 h 3680460"/>
                  <a:gd name="connsiteX42" fmla="*/ 1194435 w 3008034"/>
                  <a:gd name="connsiteY42" fmla="*/ 3672840 h 3680460"/>
                  <a:gd name="connsiteX43" fmla="*/ 1156335 w 3008034"/>
                  <a:gd name="connsiteY43" fmla="*/ 3680460 h 3680460"/>
                  <a:gd name="connsiteX44" fmla="*/ 625792 w 3008034"/>
                  <a:gd name="connsiteY44" fmla="*/ 3668078 h 3680460"/>
                  <a:gd name="connsiteX45" fmla="*/ 402908 w 3008034"/>
                  <a:gd name="connsiteY45" fmla="*/ 3614738 h 3680460"/>
                  <a:gd name="connsiteX46" fmla="*/ 266700 w 3008034"/>
                  <a:gd name="connsiteY46" fmla="*/ 3570922 h 3680460"/>
                  <a:gd name="connsiteX47" fmla="*/ 164782 w 3008034"/>
                  <a:gd name="connsiteY47" fmla="*/ 3515678 h 3680460"/>
                  <a:gd name="connsiteX48" fmla="*/ 31433 w 3008034"/>
                  <a:gd name="connsiteY48" fmla="*/ 3422333 h 3680460"/>
                  <a:gd name="connsiteX49" fmla="*/ 0 w 3008034"/>
                  <a:gd name="connsiteY49" fmla="*/ 3376613 h 3680460"/>
                  <a:gd name="connsiteX50" fmla="*/ 127635 w 3008034"/>
                  <a:gd name="connsiteY50" fmla="*/ 3360420 h 3680460"/>
                  <a:gd name="connsiteX51" fmla="*/ 158115 w 3008034"/>
                  <a:gd name="connsiteY51" fmla="*/ 3390900 h 3680460"/>
                  <a:gd name="connsiteX52" fmla="*/ 317183 w 3008034"/>
                  <a:gd name="connsiteY52" fmla="*/ 3450907 h 3680460"/>
                  <a:gd name="connsiteX53" fmla="*/ 485775 w 3008034"/>
                  <a:gd name="connsiteY53" fmla="*/ 3520440 h 3680460"/>
                  <a:gd name="connsiteX54" fmla="*/ 721995 w 3008034"/>
                  <a:gd name="connsiteY54" fmla="*/ 3558540 h 3680460"/>
                  <a:gd name="connsiteX55" fmla="*/ 1331595 w 3008034"/>
                  <a:gd name="connsiteY55" fmla="*/ 3550920 h 3680460"/>
                  <a:gd name="connsiteX56" fmla="*/ 1529715 w 3008034"/>
                  <a:gd name="connsiteY56" fmla="*/ 3520440 h 3680460"/>
                  <a:gd name="connsiteX57" fmla="*/ 1621155 w 3008034"/>
                  <a:gd name="connsiteY57" fmla="*/ 3497580 h 3680460"/>
                  <a:gd name="connsiteX58" fmla="*/ 1781175 w 3008034"/>
                  <a:gd name="connsiteY58" fmla="*/ 3451860 h 3680460"/>
                  <a:gd name="connsiteX59" fmla="*/ 1864995 w 3008034"/>
                  <a:gd name="connsiteY59" fmla="*/ 3421380 h 3680460"/>
                  <a:gd name="connsiteX60" fmla="*/ 1941195 w 3008034"/>
                  <a:gd name="connsiteY60" fmla="*/ 3390900 h 3680460"/>
                  <a:gd name="connsiteX61" fmla="*/ 2089785 w 3008034"/>
                  <a:gd name="connsiteY61" fmla="*/ 3308985 h 3680460"/>
                  <a:gd name="connsiteX62" fmla="*/ 2189797 w 3008034"/>
                  <a:gd name="connsiteY62" fmla="*/ 3251835 h 3680460"/>
                  <a:gd name="connsiteX63" fmla="*/ 2337435 w 3008034"/>
                  <a:gd name="connsiteY63" fmla="*/ 3154680 h 3680460"/>
                  <a:gd name="connsiteX64" fmla="*/ 2459355 w 3008034"/>
                  <a:gd name="connsiteY64" fmla="*/ 3009900 h 3680460"/>
                  <a:gd name="connsiteX65" fmla="*/ 2527935 w 3008034"/>
                  <a:gd name="connsiteY65" fmla="*/ 2926080 h 3680460"/>
                  <a:gd name="connsiteX66" fmla="*/ 2619375 w 3008034"/>
                  <a:gd name="connsiteY66" fmla="*/ 2811780 h 3680460"/>
                  <a:gd name="connsiteX67" fmla="*/ 2665095 w 3008034"/>
                  <a:gd name="connsiteY67" fmla="*/ 2727960 h 3680460"/>
                  <a:gd name="connsiteX68" fmla="*/ 2695575 w 3008034"/>
                  <a:gd name="connsiteY68" fmla="*/ 2667000 h 3680460"/>
                  <a:gd name="connsiteX69" fmla="*/ 2779395 w 3008034"/>
                  <a:gd name="connsiteY69" fmla="*/ 2484120 h 3680460"/>
                  <a:gd name="connsiteX70" fmla="*/ 2802255 w 3008034"/>
                  <a:gd name="connsiteY70" fmla="*/ 2407920 h 3680460"/>
                  <a:gd name="connsiteX71" fmla="*/ 2908935 w 3008034"/>
                  <a:gd name="connsiteY71" fmla="*/ 2049780 h 3680460"/>
                  <a:gd name="connsiteX72" fmla="*/ 2924175 w 3008034"/>
                  <a:gd name="connsiteY72" fmla="*/ 1844040 h 3680460"/>
                  <a:gd name="connsiteX73" fmla="*/ 2908935 w 3008034"/>
                  <a:gd name="connsiteY73" fmla="*/ 1470660 h 3680460"/>
                  <a:gd name="connsiteX74" fmla="*/ 2886075 w 3008034"/>
                  <a:gd name="connsiteY74" fmla="*/ 1371600 h 3680460"/>
                  <a:gd name="connsiteX75" fmla="*/ 2870835 w 3008034"/>
                  <a:gd name="connsiteY75" fmla="*/ 1341120 h 3680460"/>
                  <a:gd name="connsiteX76" fmla="*/ 2847975 w 3008034"/>
                  <a:gd name="connsiteY76" fmla="*/ 1272540 h 3680460"/>
                  <a:gd name="connsiteX77" fmla="*/ 2840355 w 3008034"/>
                  <a:gd name="connsiteY77" fmla="*/ 1234440 h 3680460"/>
                  <a:gd name="connsiteX78" fmla="*/ 2756535 w 3008034"/>
                  <a:gd name="connsiteY78" fmla="*/ 1089660 h 3680460"/>
                  <a:gd name="connsiteX79" fmla="*/ 2726055 w 3008034"/>
                  <a:gd name="connsiteY79" fmla="*/ 1043940 h 3680460"/>
                  <a:gd name="connsiteX80" fmla="*/ 2718435 w 3008034"/>
                  <a:gd name="connsiteY80" fmla="*/ 1021080 h 3680460"/>
                  <a:gd name="connsiteX81" fmla="*/ 2672715 w 3008034"/>
                  <a:gd name="connsiteY81" fmla="*/ 937260 h 3680460"/>
                  <a:gd name="connsiteX82" fmla="*/ 2649855 w 3008034"/>
                  <a:gd name="connsiteY82" fmla="*/ 876300 h 3680460"/>
                  <a:gd name="connsiteX83" fmla="*/ 2634615 w 3008034"/>
                  <a:gd name="connsiteY83" fmla="*/ 845820 h 3680460"/>
                  <a:gd name="connsiteX84" fmla="*/ 2611755 w 3008034"/>
                  <a:gd name="connsiteY84" fmla="*/ 800100 h 3680460"/>
                  <a:gd name="connsiteX85" fmla="*/ 2448878 w 3008034"/>
                  <a:gd name="connsiteY85" fmla="*/ 621983 h 3680460"/>
                  <a:gd name="connsiteX86" fmla="*/ 2291715 w 3008034"/>
                  <a:gd name="connsiteY86" fmla="*/ 458152 h 3680460"/>
                  <a:gd name="connsiteX87" fmla="*/ 2227898 w 3008034"/>
                  <a:gd name="connsiteY87" fmla="*/ 406717 h 3680460"/>
                  <a:gd name="connsiteX88" fmla="*/ 2093595 w 3008034"/>
                  <a:gd name="connsiteY88" fmla="*/ 312420 h 3680460"/>
                  <a:gd name="connsiteX89" fmla="*/ 2032635 w 3008034"/>
                  <a:gd name="connsiteY89" fmla="*/ 266700 h 3680460"/>
                  <a:gd name="connsiteX90" fmla="*/ 1994535 w 3008034"/>
                  <a:gd name="connsiteY90" fmla="*/ 251460 h 3680460"/>
                  <a:gd name="connsiteX91" fmla="*/ 1948815 w 3008034"/>
                  <a:gd name="connsiteY91" fmla="*/ 220980 h 3680460"/>
                  <a:gd name="connsiteX92" fmla="*/ 1887855 w 3008034"/>
                  <a:gd name="connsiteY9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7835 w 3008034"/>
                  <a:gd name="connsiteY4" fmla="*/ 53340 h 3680460"/>
                  <a:gd name="connsiteX5" fmla="*/ 1720215 w 3008034"/>
                  <a:gd name="connsiteY5" fmla="*/ 16193 h 3680460"/>
                  <a:gd name="connsiteX6" fmla="*/ 1971675 w 3008034"/>
                  <a:gd name="connsiteY6" fmla="*/ 0 h 3680460"/>
                  <a:gd name="connsiteX7" fmla="*/ 2162175 w 3008034"/>
                  <a:gd name="connsiteY7" fmla="*/ 114300 h 3680460"/>
                  <a:gd name="connsiteX8" fmla="*/ 2276475 w 3008034"/>
                  <a:gd name="connsiteY8" fmla="*/ 190500 h 3680460"/>
                  <a:gd name="connsiteX9" fmla="*/ 2527935 w 3008034"/>
                  <a:gd name="connsiteY9" fmla="*/ 426720 h 3680460"/>
                  <a:gd name="connsiteX10" fmla="*/ 2543175 w 3008034"/>
                  <a:gd name="connsiteY10" fmla="*/ 449580 h 3680460"/>
                  <a:gd name="connsiteX11" fmla="*/ 2611755 w 3008034"/>
                  <a:gd name="connsiteY11" fmla="*/ 548640 h 3680460"/>
                  <a:gd name="connsiteX12" fmla="*/ 2665095 w 3008034"/>
                  <a:gd name="connsiteY12" fmla="*/ 609600 h 3680460"/>
                  <a:gd name="connsiteX13" fmla="*/ 2756535 w 3008034"/>
                  <a:gd name="connsiteY13" fmla="*/ 754380 h 3680460"/>
                  <a:gd name="connsiteX14" fmla="*/ 2809875 w 3008034"/>
                  <a:gd name="connsiteY14" fmla="*/ 830580 h 3680460"/>
                  <a:gd name="connsiteX15" fmla="*/ 2908935 w 3008034"/>
                  <a:gd name="connsiteY15" fmla="*/ 1036320 h 3680460"/>
                  <a:gd name="connsiteX16" fmla="*/ 2924175 w 3008034"/>
                  <a:gd name="connsiteY16" fmla="*/ 1074420 h 3680460"/>
                  <a:gd name="connsiteX17" fmla="*/ 2954655 w 3008034"/>
                  <a:gd name="connsiteY17" fmla="*/ 1203960 h 3680460"/>
                  <a:gd name="connsiteX18" fmla="*/ 2969895 w 3008034"/>
                  <a:gd name="connsiteY18" fmla="*/ 1264920 h 3680460"/>
                  <a:gd name="connsiteX19" fmla="*/ 2985135 w 3008034"/>
                  <a:gd name="connsiteY19" fmla="*/ 1348740 h 3680460"/>
                  <a:gd name="connsiteX20" fmla="*/ 3000375 w 3008034"/>
                  <a:gd name="connsiteY20" fmla="*/ 1432560 h 3680460"/>
                  <a:gd name="connsiteX21" fmla="*/ 3007995 w 3008034"/>
                  <a:gd name="connsiteY21" fmla="*/ 1684020 h 3680460"/>
                  <a:gd name="connsiteX22" fmla="*/ 3003233 w 3008034"/>
                  <a:gd name="connsiteY22" fmla="*/ 1990725 h 3680460"/>
                  <a:gd name="connsiteX23" fmla="*/ 2969895 w 3008034"/>
                  <a:gd name="connsiteY23" fmla="*/ 2194560 h 3680460"/>
                  <a:gd name="connsiteX24" fmla="*/ 2931795 w 3008034"/>
                  <a:gd name="connsiteY24" fmla="*/ 2324100 h 3680460"/>
                  <a:gd name="connsiteX25" fmla="*/ 2916555 w 3008034"/>
                  <a:gd name="connsiteY25" fmla="*/ 2392680 h 3680460"/>
                  <a:gd name="connsiteX26" fmla="*/ 2867978 w 3008034"/>
                  <a:gd name="connsiteY26" fmla="*/ 2521267 h 3680460"/>
                  <a:gd name="connsiteX27" fmla="*/ 2801303 w 3008034"/>
                  <a:gd name="connsiteY27" fmla="*/ 2656523 h 3680460"/>
                  <a:gd name="connsiteX28" fmla="*/ 2719387 w 3008034"/>
                  <a:gd name="connsiteY28" fmla="*/ 2818447 h 3680460"/>
                  <a:gd name="connsiteX29" fmla="*/ 2495550 w 3008034"/>
                  <a:gd name="connsiteY29" fmla="*/ 3084195 h 3680460"/>
                  <a:gd name="connsiteX30" fmla="*/ 2396490 w 3008034"/>
                  <a:gd name="connsiteY30" fmla="*/ 3185160 h 3680460"/>
                  <a:gd name="connsiteX31" fmla="*/ 2284095 w 3008034"/>
                  <a:gd name="connsiteY31" fmla="*/ 3284220 h 3680460"/>
                  <a:gd name="connsiteX32" fmla="*/ 2131695 w 3008034"/>
                  <a:gd name="connsiteY32" fmla="*/ 3390900 h 3680460"/>
                  <a:gd name="connsiteX33" fmla="*/ 2000250 w 3008034"/>
                  <a:gd name="connsiteY33" fmla="*/ 3448050 h 3680460"/>
                  <a:gd name="connsiteX34" fmla="*/ 1864995 w 3008034"/>
                  <a:gd name="connsiteY34" fmla="*/ 3512820 h 3680460"/>
                  <a:gd name="connsiteX35" fmla="*/ 1819275 w 3008034"/>
                  <a:gd name="connsiteY35" fmla="*/ 3520440 h 3680460"/>
                  <a:gd name="connsiteX36" fmla="*/ 1712595 w 3008034"/>
                  <a:gd name="connsiteY36" fmla="*/ 3550920 h 3680460"/>
                  <a:gd name="connsiteX37" fmla="*/ 1590675 w 3008034"/>
                  <a:gd name="connsiteY37" fmla="*/ 3589020 h 3680460"/>
                  <a:gd name="connsiteX38" fmla="*/ 1537335 w 3008034"/>
                  <a:gd name="connsiteY38" fmla="*/ 3611880 h 3680460"/>
                  <a:gd name="connsiteX39" fmla="*/ 1453515 w 3008034"/>
                  <a:gd name="connsiteY39" fmla="*/ 3627120 h 3680460"/>
                  <a:gd name="connsiteX40" fmla="*/ 1323975 w 3008034"/>
                  <a:gd name="connsiteY40" fmla="*/ 3657600 h 3680460"/>
                  <a:gd name="connsiteX41" fmla="*/ 1194435 w 3008034"/>
                  <a:gd name="connsiteY41" fmla="*/ 3672840 h 3680460"/>
                  <a:gd name="connsiteX42" fmla="*/ 1156335 w 3008034"/>
                  <a:gd name="connsiteY42" fmla="*/ 3680460 h 3680460"/>
                  <a:gd name="connsiteX43" fmla="*/ 625792 w 3008034"/>
                  <a:gd name="connsiteY43" fmla="*/ 3668078 h 3680460"/>
                  <a:gd name="connsiteX44" fmla="*/ 402908 w 3008034"/>
                  <a:gd name="connsiteY44" fmla="*/ 3614738 h 3680460"/>
                  <a:gd name="connsiteX45" fmla="*/ 266700 w 3008034"/>
                  <a:gd name="connsiteY45" fmla="*/ 3570922 h 3680460"/>
                  <a:gd name="connsiteX46" fmla="*/ 164782 w 3008034"/>
                  <a:gd name="connsiteY46" fmla="*/ 3515678 h 3680460"/>
                  <a:gd name="connsiteX47" fmla="*/ 31433 w 3008034"/>
                  <a:gd name="connsiteY47" fmla="*/ 3422333 h 3680460"/>
                  <a:gd name="connsiteX48" fmla="*/ 0 w 3008034"/>
                  <a:gd name="connsiteY48" fmla="*/ 3376613 h 3680460"/>
                  <a:gd name="connsiteX49" fmla="*/ 127635 w 3008034"/>
                  <a:gd name="connsiteY49" fmla="*/ 3360420 h 3680460"/>
                  <a:gd name="connsiteX50" fmla="*/ 158115 w 3008034"/>
                  <a:gd name="connsiteY50" fmla="*/ 3390900 h 3680460"/>
                  <a:gd name="connsiteX51" fmla="*/ 317183 w 3008034"/>
                  <a:gd name="connsiteY51" fmla="*/ 3450907 h 3680460"/>
                  <a:gd name="connsiteX52" fmla="*/ 485775 w 3008034"/>
                  <a:gd name="connsiteY52" fmla="*/ 3520440 h 3680460"/>
                  <a:gd name="connsiteX53" fmla="*/ 721995 w 3008034"/>
                  <a:gd name="connsiteY53" fmla="*/ 3558540 h 3680460"/>
                  <a:gd name="connsiteX54" fmla="*/ 1331595 w 3008034"/>
                  <a:gd name="connsiteY54" fmla="*/ 3550920 h 3680460"/>
                  <a:gd name="connsiteX55" fmla="*/ 1529715 w 3008034"/>
                  <a:gd name="connsiteY55" fmla="*/ 3520440 h 3680460"/>
                  <a:gd name="connsiteX56" fmla="*/ 1621155 w 3008034"/>
                  <a:gd name="connsiteY56" fmla="*/ 3497580 h 3680460"/>
                  <a:gd name="connsiteX57" fmla="*/ 1781175 w 3008034"/>
                  <a:gd name="connsiteY57" fmla="*/ 3451860 h 3680460"/>
                  <a:gd name="connsiteX58" fmla="*/ 1864995 w 3008034"/>
                  <a:gd name="connsiteY58" fmla="*/ 3421380 h 3680460"/>
                  <a:gd name="connsiteX59" fmla="*/ 1941195 w 3008034"/>
                  <a:gd name="connsiteY59" fmla="*/ 3390900 h 3680460"/>
                  <a:gd name="connsiteX60" fmla="*/ 2089785 w 3008034"/>
                  <a:gd name="connsiteY60" fmla="*/ 3308985 h 3680460"/>
                  <a:gd name="connsiteX61" fmla="*/ 2189797 w 3008034"/>
                  <a:gd name="connsiteY61" fmla="*/ 3251835 h 3680460"/>
                  <a:gd name="connsiteX62" fmla="*/ 2337435 w 3008034"/>
                  <a:gd name="connsiteY62" fmla="*/ 3154680 h 3680460"/>
                  <a:gd name="connsiteX63" fmla="*/ 2459355 w 3008034"/>
                  <a:gd name="connsiteY63" fmla="*/ 3009900 h 3680460"/>
                  <a:gd name="connsiteX64" fmla="*/ 2527935 w 3008034"/>
                  <a:gd name="connsiteY64" fmla="*/ 2926080 h 3680460"/>
                  <a:gd name="connsiteX65" fmla="*/ 2619375 w 3008034"/>
                  <a:gd name="connsiteY65" fmla="*/ 2811780 h 3680460"/>
                  <a:gd name="connsiteX66" fmla="*/ 2665095 w 3008034"/>
                  <a:gd name="connsiteY66" fmla="*/ 2727960 h 3680460"/>
                  <a:gd name="connsiteX67" fmla="*/ 2695575 w 3008034"/>
                  <a:gd name="connsiteY67" fmla="*/ 2667000 h 3680460"/>
                  <a:gd name="connsiteX68" fmla="*/ 2779395 w 3008034"/>
                  <a:gd name="connsiteY68" fmla="*/ 2484120 h 3680460"/>
                  <a:gd name="connsiteX69" fmla="*/ 2802255 w 3008034"/>
                  <a:gd name="connsiteY69" fmla="*/ 2407920 h 3680460"/>
                  <a:gd name="connsiteX70" fmla="*/ 2908935 w 3008034"/>
                  <a:gd name="connsiteY70" fmla="*/ 2049780 h 3680460"/>
                  <a:gd name="connsiteX71" fmla="*/ 2924175 w 3008034"/>
                  <a:gd name="connsiteY71" fmla="*/ 1844040 h 3680460"/>
                  <a:gd name="connsiteX72" fmla="*/ 2908935 w 3008034"/>
                  <a:gd name="connsiteY72" fmla="*/ 1470660 h 3680460"/>
                  <a:gd name="connsiteX73" fmla="*/ 2886075 w 3008034"/>
                  <a:gd name="connsiteY73" fmla="*/ 1371600 h 3680460"/>
                  <a:gd name="connsiteX74" fmla="*/ 2870835 w 3008034"/>
                  <a:gd name="connsiteY74" fmla="*/ 1341120 h 3680460"/>
                  <a:gd name="connsiteX75" fmla="*/ 2847975 w 3008034"/>
                  <a:gd name="connsiteY75" fmla="*/ 1272540 h 3680460"/>
                  <a:gd name="connsiteX76" fmla="*/ 2840355 w 3008034"/>
                  <a:gd name="connsiteY76" fmla="*/ 1234440 h 3680460"/>
                  <a:gd name="connsiteX77" fmla="*/ 2756535 w 3008034"/>
                  <a:gd name="connsiteY77" fmla="*/ 1089660 h 3680460"/>
                  <a:gd name="connsiteX78" fmla="*/ 2726055 w 3008034"/>
                  <a:gd name="connsiteY78" fmla="*/ 1043940 h 3680460"/>
                  <a:gd name="connsiteX79" fmla="*/ 2718435 w 3008034"/>
                  <a:gd name="connsiteY79" fmla="*/ 1021080 h 3680460"/>
                  <a:gd name="connsiteX80" fmla="*/ 2672715 w 3008034"/>
                  <a:gd name="connsiteY80" fmla="*/ 937260 h 3680460"/>
                  <a:gd name="connsiteX81" fmla="*/ 2649855 w 3008034"/>
                  <a:gd name="connsiteY81" fmla="*/ 876300 h 3680460"/>
                  <a:gd name="connsiteX82" fmla="*/ 2634615 w 3008034"/>
                  <a:gd name="connsiteY82" fmla="*/ 845820 h 3680460"/>
                  <a:gd name="connsiteX83" fmla="*/ 2611755 w 3008034"/>
                  <a:gd name="connsiteY83" fmla="*/ 800100 h 3680460"/>
                  <a:gd name="connsiteX84" fmla="*/ 2448878 w 3008034"/>
                  <a:gd name="connsiteY84" fmla="*/ 621983 h 3680460"/>
                  <a:gd name="connsiteX85" fmla="*/ 2291715 w 3008034"/>
                  <a:gd name="connsiteY85" fmla="*/ 458152 h 3680460"/>
                  <a:gd name="connsiteX86" fmla="*/ 2227898 w 3008034"/>
                  <a:gd name="connsiteY86" fmla="*/ 406717 h 3680460"/>
                  <a:gd name="connsiteX87" fmla="*/ 2093595 w 3008034"/>
                  <a:gd name="connsiteY87" fmla="*/ 312420 h 3680460"/>
                  <a:gd name="connsiteX88" fmla="*/ 2032635 w 3008034"/>
                  <a:gd name="connsiteY88" fmla="*/ 266700 h 3680460"/>
                  <a:gd name="connsiteX89" fmla="*/ 1994535 w 3008034"/>
                  <a:gd name="connsiteY89" fmla="*/ 251460 h 3680460"/>
                  <a:gd name="connsiteX90" fmla="*/ 1948815 w 3008034"/>
                  <a:gd name="connsiteY90" fmla="*/ 220980 h 3680460"/>
                  <a:gd name="connsiteX91" fmla="*/ 1887855 w 3008034"/>
                  <a:gd name="connsiteY9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7835 w 3008034"/>
                  <a:gd name="connsiteY4" fmla="*/ 53340 h 3680460"/>
                  <a:gd name="connsiteX5" fmla="*/ 1720215 w 3008034"/>
                  <a:gd name="connsiteY5" fmla="*/ 16193 h 3680460"/>
                  <a:gd name="connsiteX6" fmla="*/ 1971675 w 3008034"/>
                  <a:gd name="connsiteY6" fmla="*/ 0 h 3680460"/>
                  <a:gd name="connsiteX7" fmla="*/ 2162175 w 3008034"/>
                  <a:gd name="connsiteY7" fmla="*/ 114300 h 3680460"/>
                  <a:gd name="connsiteX8" fmla="*/ 2276475 w 3008034"/>
                  <a:gd name="connsiteY8" fmla="*/ 190500 h 3680460"/>
                  <a:gd name="connsiteX9" fmla="*/ 2527935 w 3008034"/>
                  <a:gd name="connsiteY9" fmla="*/ 426720 h 3680460"/>
                  <a:gd name="connsiteX10" fmla="*/ 2543175 w 3008034"/>
                  <a:gd name="connsiteY10" fmla="*/ 449580 h 3680460"/>
                  <a:gd name="connsiteX11" fmla="*/ 2611755 w 3008034"/>
                  <a:gd name="connsiteY11" fmla="*/ 548640 h 3680460"/>
                  <a:gd name="connsiteX12" fmla="*/ 2665095 w 3008034"/>
                  <a:gd name="connsiteY12" fmla="*/ 609600 h 3680460"/>
                  <a:gd name="connsiteX13" fmla="*/ 2756535 w 3008034"/>
                  <a:gd name="connsiteY13" fmla="*/ 754380 h 3680460"/>
                  <a:gd name="connsiteX14" fmla="*/ 2809875 w 3008034"/>
                  <a:gd name="connsiteY14" fmla="*/ 830580 h 3680460"/>
                  <a:gd name="connsiteX15" fmla="*/ 2908935 w 3008034"/>
                  <a:gd name="connsiteY15" fmla="*/ 1036320 h 3680460"/>
                  <a:gd name="connsiteX16" fmla="*/ 2924175 w 3008034"/>
                  <a:gd name="connsiteY16" fmla="*/ 1074420 h 3680460"/>
                  <a:gd name="connsiteX17" fmla="*/ 2954655 w 3008034"/>
                  <a:gd name="connsiteY17" fmla="*/ 1203960 h 3680460"/>
                  <a:gd name="connsiteX18" fmla="*/ 2969895 w 3008034"/>
                  <a:gd name="connsiteY18" fmla="*/ 1264920 h 3680460"/>
                  <a:gd name="connsiteX19" fmla="*/ 2985135 w 3008034"/>
                  <a:gd name="connsiteY19" fmla="*/ 1348740 h 3680460"/>
                  <a:gd name="connsiteX20" fmla="*/ 3000375 w 3008034"/>
                  <a:gd name="connsiteY20" fmla="*/ 1432560 h 3680460"/>
                  <a:gd name="connsiteX21" fmla="*/ 3007995 w 3008034"/>
                  <a:gd name="connsiteY21" fmla="*/ 1684020 h 3680460"/>
                  <a:gd name="connsiteX22" fmla="*/ 3003233 w 3008034"/>
                  <a:gd name="connsiteY22" fmla="*/ 1990725 h 3680460"/>
                  <a:gd name="connsiteX23" fmla="*/ 2969895 w 3008034"/>
                  <a:gd name="connsiteY23" fmla="*/ 2194560 h 3680460"/>
                  <a:gd name="connsiteX24" fmla="*/ 2931795 w 3008034"/>
                  <a:gd name="connsiteY24" fmla="*/ 2324100 h 3680460"/>
                  <a:gd name="connsiteX25" fmla="*/ 2916555 w 3008034"/>
                  <a:gd name="connsiteY25" fmla="*/ 2392680 h 3680460"/>
                  <a:gd name="connsiteX26" fmla="*/ 2867978 w 3008034"/>
                  <a:gd name="connsiteY26" fmla="*/ 2521267 h 3680460"/>
                  <a:gd name="connsiteX27" fmla="*/ 2801303 w 3008034"/>
                  <a:gd name="connsiteY27" fmla="*/ 2656523 h 3680460"/>
                  <a:gd name="connsiteX28" fmla="*/ 2719387 w 3008034"/>
                  <a:gd name="connsiteY28" fmla="*/ 2818447 h 3680460"/>
                  <a:gd name="connsiteX29" fmla="*/ 2495550 w 3008034"/>
                  <a:gd name="connsiteY29" fmla="*/ 3084195 h 3680460"/>
                  <a:gd name="connsiteX30" fmla="*/ 2396490 w 3008034"/>
                  <a:gd name="connsiteY30" fmla="*/ 3185160 h 3680460"/>
                  <a:gd name="connsiteX31" fmla="*/ 2284095 w 3008034"/>
                  <a:gd name="connsiteY31" fmla="*/ 3284220 h 3680460"/>
                  <a:gd name="connsiteX32" fmla="*/ 2131695 w 3008034"/>
                  <a:gd name="connsiteY32" fmla="*/ 3390900 h 3680460"/>
                  <a:gd name="connsiteX33" fmla="*/ 2000250 w 3008034"/>
                  <a:gd name="connsiteY33" fmla="*/ 3448050 h 3680460"/>
                  <a:gd name="connsiteX34" fmla="*/ 1864995 w 3008034"/>
                  <a:gd name="connsiteY34" fmla="*/ 3512820 h 3680460"/>
                  <a:gd name="connsiteX35" fmla="*/ 1819275 w 3008034"/>
                  <a:gd name="connsiteY35" fmla="*/ 3520440 h 3680460"/>
                  <a:gd name="connsiteX36" fmla="*/ 1712595 w 3008034"/>
                  <a:gd name="connsiteY36" fmla="*/ 3550920 h 3680460"/>
                  <a:gd name="connsiteX37" fmla="*/ 1590675 w 3008034"/>
                  <a:gd name="connsiteY37" fmla="*/ 3589020 h 3680460"/>
                  <a:gd name="connsiteX38" fmla="*/ 1537335 w 3008034"/>
                  <a:gd name="connsiteY38" fmla="*/ 3611880 h 3680460"/>
                  <a:gd name="connsiteX39" fmla="*/ 1453515 w 3008034"/>
                  <a:gd name="connsiteY39" fmla="*/ 3627120 h 3680460"/>
                  <a:gd name="connsiteX40" fmla="*/ 1323975 w 3008034"/>
                  <a:gd name="connsiteY40" fmla="*/ 3657600 h 3680460"/>
                  <a:gd name="connsiteX41" fmla="*/ 1194435 w 3008034"/>
                  <a:gd name="connsiteY41" fmla="*/ 3672840 h 3680460"/>
                  <a:gd name="connsiteX42" fmla="*/ 1156335 w 3008034"/>
                  <a:gd name="connsiteY42" fmla="*/ 3680460 h 3680460"/>
                  <a:gd name="connsiteX43" fmla="*/ 625792 w 3008034"/>
                  <a:gd name="connsiteY43" fmla="*/ 3668078 h 3680460"/>
                  <a:gd name="connsiteX44" fmla="*/ 402908 w 3008034"/>
                  <a:gd name="connsiteY44" fmla="*/ 3614738 h 3680460"/>
                  <a:gd name="connsiteX45" fmla="*/ 266700 w 3008034"/>
                  <a:gd name="connsiteY45" fmla="*/ 3570922 h 3680460"/>
                  <a:gd name="connsiteX46" fmla="*/ 164782 w 3008034"/>
                  <a:gd name="connsiteY46" fmla="*/ 3515678 h 3680460"/>
                  <a:gd name="connsiteX47" fmla="*/ 31433 w 3008034"/>
                  <a:gd name="connsiteY47" fmla="*/ 3422333 h 3680460"/>
                  <a:gd name="connsiteX48" fmla="*/ 0 w 3008034"/>
                  <a:gd name="connsiteY48" fmla="*/ 3376613 h 3680460"/>
                  <a:gd name="connsiteX49" fmla="*/ 127635 w 3008034"/>
                  <a:gd name="connsiteY49" fmla="*/ 3360420 h 3680460"/>
                  <a:gd name="connsiteX50" fmla="*/ 158115 w 3008034"/>
                  <a:gd name="connsiteY50" fmla="*/ 3390900 h 3680460"/>
                  <a:gd name="connsiteX51" fmla="*/ 317183 w 3008034"/>
                  <a:gd name="connsiteY51" fmla="*/ 3450907 h 3680460"/>
                  <a:gd name="connsiteX52" fmla="*/ 485775 w 3008034"/>
                  <a:gd name="connsiteY52" fmla="*/ 3520440 h 3680460"/>
                  <a:gd name="connsiteX53" fmla="*/ 721995 w 3008034"/>
                  <a:gd name="connsiteY53" fmla="*/ 3558540 h 3680460"/>
                  <a:gd name="connsiteX54" fmla="*/ 1331595 w 3008034"/>
                  <a:gd name="connsiteY54" fmla="*/ 3550920 h 3680460"/>
                  <a:gd name="connsiteX55" fmla="*/ 1529715 w 3008034"/>
                  <a:gd name="connsiteY55" fmla="*/ 3520440 h 3680460"/>
                  <a:gd name="connsiteX56" fmla="*/ 1621155 w 3008034"/>
                  <a:gd name="connsiteY56" fmla="*/ 3497580 h 3680460"/>
                  <a:gd name="connsiteX57" fmla="*/ 1781175 w 3008034"/>
                  <a:gd name="connsiteY57" fmla="*/ 3451860 h 3680460"/>
                  <a:gd name="connsiteX58" fmla="*/ 1864995 w 3008034"/>
                  <a:gd name="connsiteY58" fmla="*/ 3421380 h 3680460"/>
                  <a:gd name="connsiteX59" fmla="*/ 1941195 w 3008034"/>
                  <a:gd name="connsiteY59" fmla="*/ 3390900 h 3680460"/>
                  <a:gd name="connsiteX60" fmla="*/ 2089785 w 3008034"/>
                  <a:gd name="connsiteY60" fmla="*/ 3308985 h 3680460"/>
                  <a:gd name="connsiteX61" fmla="*/ 2189797 w 3008034"/>
                  <a:gd name="connsiteY61" fmla="*/ 3251835 h 3680460"/>
                  <a:gd name="connsiteX62" fmla="*/ 2337435 w 3008034"/>
                  <a:gd name="connsiteY62" fmla="*/ 3154680 h 3680460"/>
                  <a:gd name="connsiteX63" fmla="*/ 2459355 w 3008034"/>
                  <a:gd name="connsiteY63" fmla="*/ 3009900 h 3680460"/>
                  <a:gd name="connsiteX64" fmla="*/ 2527935 w 3008034"/>
                  <a:gd name="connsiteY64" fmla="*/ 2926080 h 3680460"/>
                  <a:gd name="connsiteX65" fmla="*/ 2619375 w 3008034"/>
                  <a:gd name="connsiteY65" fmla="*/ 2811780 h 3680460"/>
                  <a:gd name="connsiteX66" fmla="*/ 2665095 w 3008034"/>
                  <a:gd name="connsiteY66" fmla="*/ 2727960 h 3680460"/>
                  <a:gd name="connsiteX67" fmla="*/ 2695575 w 3008034"/>
                  <a:gd name="connsiteY67" fmla="*/ 2667000 h 3680460"/>
                  <a:gd name="connsiteX68" fmla="*/ 2779395 w 3008034"/>
                  <a:gd name="connsiteY68" fmla="*/ 2484120 h 3680460"/>
                  <a:gd name="connsiteX69" fmla="*/ 2802255 w 3008034"/>
                  <a:gd name="connsiteY69" fmla="*/ 2407920 h 3680460"/>
                  <a:gd name="connsiteX70" fmla="*/ 2908935 w 3008034"/>
                  <a:gd name="connsiteY70" fmla="*/ 2049780 h 3680460"/>
                  <a:gd name="connsiteX71" fmla="*/ 2924175 w 3008034"/>
                  <a:gd name="connsiteY71" fmla="*/ 1844040 h 3680460"/>
                  <a:gd name="connsiteX72" fmla="*/ 2908935 w 3008034"/>
                  <a:gd name="connsiteY72" fmla="*/ 1470660 h 3680460"/>
                  <a:gd name="connsiteX73" fmla="*/ 2886075 w 3008034"/>
                  <a:gd name="connsiteY73" fmla="*/ 1371600 h 3680460"/>
                  <a:gd name="connsiteX74" fmla="*/ 2870835 w 3008034"/>
                  <a:gd name="connsiteY74" fmla="*/ 1341120 h 3680460"/>
                  <a:gd name="connsiteX75" fmla="*/ 2847975 w 3008034"/>
                  <a:gd name="connsiteY75" fmla="*/ 1272540 h 3680460"/>
                  <a:gd name="connsiteX76" fmla="*/ 2840355 w 3008034"/>
                  <a:gd name="connsiteY76" fmla="*/ 1234440 h 3680460"/>
                  <a:gd name="connsiteX77" fmla="*/ 2756535 w 3008034"/>
                  <a:gd name="connsiteY77" fmla="*/ 1089660 h 3680460"/>
                  <a:gd name="connsiteX78" fmla="*/ 2726055 w 3008034"/>
                  <a:gd name="connsiteY78" fmla="*/ 1043940 h 3680460"/>
                  <a:gd name="connsiteX79" fmla="*/ 2718435 w 3008034"/>
                  <a:gd name="connsiteY79" fmla="*/ 1021080 h 3680460"/>
                  <a:gd name="connsiteX80" fmla="*/ 2672715 w 3008034"/>
                  <a:gd name="connsiteY80" fmla="*/ 937260 h 3680460"/>
                  <a:gd name="connsiteX81" fmla="*/ 2649855 w 3008034"/>
                  <a:gd name="connsiteY81" fmla="*/ 876300 h 3680460"/>
                  <a:gd name="connsiteX82" fmla="*/ 2634615 w 3008034"/>
                  <a:gd name="connsiteY82" fmla="*/ 845820 h 3680460"/>
                  <a:gd name="connsiteX83" fmla="*/ 2611755 w 3008034"/>
                  <a:gd name="connsiteY83" fmla="*/ 800100 h 3680460"/>
                  <a:gd name="connsiteX84" fmla="*/ 2448878 w 3008034"/>
                  <a:gd name="connsiteY84" fmla="*/ 621983 h 3680460"/>
                  <a:gd name="connsiteX85" fmla="*/ 2291715 w 3008034"/>
                  <a:gd name="connsiteY85" fmla="*/ 458152 h 3680460"/>
                  <a:gd name="connsiteX86" fmla="*/ 2227898 w 3008034"/>
                  <a:gd name="connsiteY86" fmla="*/ 406717 h 3680460"/>
                  <a:gd name="connsiteX87" fmla="*/ 2093595 w 3008034"/>
                  <a:gd name="connsiteY87" fmla="*/ 312420 h 3680460"/>
                  <a:gd name="connsiteX88" fmla="*/ 2032635 w 3008034"/>
                  <a:gd name="connsiteY88" fmla="*/ 266700 h 3680460"/>
                  <a:gd name="connsiteX89" fmla="*/ 1994535 w 3008034"/>
                  <a:gd name="connsiteY89" fmla="*/ 251460 h 3680460"/>
                  <a:gd name="connsiteX90" fmla="*/ 1887855 w 3008034"/>
                  <a:gd name="connsiteY9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49855 w 3008034"/>
                  <a:gd name="connsiteY80" fmla="*/ 876300 h 3680460"/>
                  <a:gd name="connsiteX81" fmla="*/ 2634615 w 3008034"/>
                  <a:gd name="connsiteY81" fmla="*/ 845820 h 3680460"/>
                  <a:gd name="connsiteX82" fmla="*/ 2611755 w 3008034"/>
                  <a:gd name="connsiteY82" fmla="*/ 800100 h 3680460"/>
                  <a:gd name="connsiteX83" fmla="*/ 2448878 w 3008034"/>
                  <a:gd name="connsiteY83" fmla="*/ 621983 h 3680460"/>
                  <a:gd name="connsiteX84" fmla="*/ 2291715 w 3008034"/>
                  <a:gd name="connsiteY84" fmla="*/ 458152 h 3680460"/>
                  <a:gd name="connsiteX85" fmla="*/ 2227898 w 3008034"/>
                  <a:gd name="connsiteY85" fmla="*/ 406717 h 3680460"/>
                  <a:gd name="connsiteX86" fmla="*/ 2093595 w 3008034"/>
                  <a:gd name="connsiteY86" fmla="*/ 312420 h 3680460"/>
                  <a:gd name="connsiteX87" fmla="*/ 2032635 w 3008034"/>
                  <a:gd name="connsiteY87" fmla="*/ 266700 h 3680460"/>
                  <a:gd name="connsiteX88" fmla="*/ 1994535 w 3008034"/>
                  <a:gd name="connsiteY88" fmla="*/ 251460 h 3680460"/>
                  <a:gd name="connsiteX89" fmla="*/ 1887855 w 3008034"/>
                  <a:gd name="connsiteY8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49855 w 3008034"/>
                  <a:gd name="connsiteY80" fmla="*/ 876300 h 3680460"/>
                  <a:gd name="connsiteX81" fmla="*/ 2611755 w 3008034"/>
                  <a:gd name="connsiteY81" fmla="*/ 800100 h 3680460"/>
                  <a:gd name="connsiteX82" fmla="*/ 2448878 w 3008034"/>
                  <a:gd name="connsiteY82" fmla="*/ 621983 h 3680460"/>
                  <a:gd name="connsiteX83" fmla="*/ 2291715 w 3008034"/>
                  <a:gd name="connsiteY83" fmla="*/ 458152 h 3680460"/>
                  <a:gd name="connsiteX84" fmla="*/ 2227898 w 3008034"/>
                  <a:gd name="connsiteY84" fmla="*/ 406717 h 3680460"/>
                  <a:gd name="connsiteX85" fmla="*/ 2093595 w 3008034"/>
                  <a:gd name="connsiteY85" fmla="*/ 312420 h 3680460"/>
                  <a:gd name="connsiteX86" fmla="*/ 2032635 w 3008034"/>
                  <a:gd name="connsiteY86" fmla="*/ 266700 h 3680460"/>
                  <a:gd name="connsiteX87" fmla="*/ 1994535 w 3008034"/>
                  <a:gd name="connsiteY87" fmla="*/ 251460 h 3680460"/>
                  <a:gd name="connsiteX88" fmla="*/ 1887855 w 3008034"/>
                  <a:gd name="connsiteY8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11755 w 3008034"/>
                  <a:gd name="connsiteY80" fmla="*/ 800100 h 3680460"/>
                  <a:gd name="connsiteX81" fmla="*/ 2448878 w 3008034"/>
                  <a:gd name="connsiteY81" fmla="*/ 621983 h 3680460"/>
                  <a:gd name="connsiteX82" fmla="*/ 2291715 w 3008034"/>
                  <a:gd name="connsiteY82" fmla="*/ 458152 h 3680460"/>
                  <a:gd name="connsiteX83" fmla="*/ 2227898 w 3008034"/>
                  <a:gd name="connsiteY83" fmla="*/ 406717 h 3680460"/>
                  <a:gd name="connsiteX84" fmla="*/ 2093595 w 3008034"/>
                  <a:gd name="connsiteY84" fmla="*/ 312420 h 3680460"/>
                  <a:gd name="connsiteX85" fmla="*/ 2032635 w 3008034"/>
                  <a:gd name="connsiteY85" fmla="*/ 266700 h 3680460"/>
                  <a:gd name="connsiteX86" fmla="*/ 1994535 w 3008034"/>
                  <a:gd name="connsiteY86" fmla="*/ 251460 h 3680460"/>
                  <a:gd name="connsiteX87" fmla="*/ 1887855 w 3008034"/>
                  <a:gd name="connsiteY8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47975 w 3008034"/>
                  <a:gd name="connsiteY73" fmla="*/ 1272540 h 3680460"/>
                  <a:gd name="connsiteX74" fmla="*/ 2840355 w 3008034"/>
                  <a:gd name="connsiteY74" fmla="*/ 1234440 h 3680460"/>
                  <a:gd name="connsiteX75" fmla="*/ 2756535 w 3008034"/>
                  <a:gd name="connsiteY75" fmla="*/ 1089660 h 3680460"/>
                  <a:gd name="connsiteX76" fmla="*/ 2726055 w 3008034"/>
                  <a:gd name="connsiteY76" fmla="*/ 1043940 h 3680460"/>
                  <a:gd name="connsiteX77" fmla="*/ 2718435 w 3008034"/>
                  <a:gd name="connsiteY77" fmla="*/ 1021080 h 3680460"/>
                  <a:gd name="connsiteX78" fmla="*/ 2672715 w 3008034"/>
                  <a:gd name="connsiteY78" fmla="*/ 937260 h 3680460"/>
                  <a:gd name="connsiteX79" fmla="*/ 2611755 w 3008034"/>
                  <a:gd name="connsiteY79" fmla="*/ 800100 h 3680460"/>
                  <a:gd name="connsiteX80" fmla="*/ 2448878 w 3008034"/>
                  <a:gd name="connsiteY80" fmla="*/ 621983 h 3680460"/>
                  <a:gd name="connsiteX81" fmla="*/ 2291715 w 3008034"/>
                  <a:gd name="connsiteY81" fmla="*/ 458152 h 3680460"/>
                  <a:gd name="connsiteX82" fmla="*/ 2227898 w 3008034"/>
                  <a:gd name="connsiteY82" fmla="*/ 406717 h 3680460"/>
                  <a:gd name="connsiteX83" fmla="*/ 2093595 w 3008034"/>
                  <a:gd name="connsiteY83" fmla="*/ 312420 h 3680460"/>
                  <a:gd name="connsiteX84" fmla="*/ 2032635 w 3008034"/>
                  <a:gd name="connsiteY84" fmla="*/ 266700 h 3680460"/>
                  <a:gd name="connsiteX85" fmla="*/ 1994535 w 3008034"/>
                  <a:gd name="connsiteY85" fmla="*/ 251460 h 3680460"/>
                  <a:gd name="connsiteX86" fmla="*/ 1887855 w 3008034"/>
                  <a:gd name="connsiteY8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85135 w 3008034"/>
                  <a:gd name="connsiteY17" fmla="*/ 1348740 h 3680460"/>
                  <a:gd name="connsiteX18" fmla="*/ 3000375 w 3008034"/>
                  <a:gd name="connsiteY18" fmla="*/ 1432560 h 3680460"/>
                  <a:gd name="connsiteX19" fmla="*/ 3007995 w 3008034"/>
                  <a:gd name="connsiteY19" fmla="*/ 1684020 h 3680460"/>
                  <a:gd name="connsiteX20" fmla="*/ 3003233 w 3008034"/>
                  <a:gd name="connsiteY20" fmla="*/ 1990725 h 3680460"/>
                  <a:gd name="connsiteX21" fmla="*/ 2969895 w 3008034"/>
                  <a:gd name="connsiteY21" fmla="*/ 2194560 h 3680460"/>
                  <a:gd name="connsiteX22" fmla="*/ 2931795 w 3008034"/>
                  <a:gd name="connsiteY22" fmla="*/ 2324100 h 3680460"/>
                  <a:gd name="connsiteX23" fmla="*/ 2916555 w 3008034"/>
                  <a:gd name="connsiteY23" fmla="*/ 2392680 h 3680460"/>
                  <a:gd name="connsiteX24" fmla="*/ 2867978 w 3008034"/>
                  <a:gd name="connsiteY24" fmla="*/ 2521267 h 3680460"/>
                  <a:gd name="connsiteX25" fmla="*/ 2801303 w 3008034"/>
                  <a:gd name="connsiteY25" fmla="*/ 2656523 h 3680460"/>
                  <a:gd name="connsiteX26" fmla="*/ 2719387 w 3008034"/>
                  <a:gd name="connsiteY26" fmla="*/ 2818447 h 3680460"/>
                  <a:gd name="connsiteX27" fmla="*/ 2495550 w 3008034"/>
                  <a:gd name="connsiteY27" fmla="*/ 3084195 h 3680460"/>
                  <a:gd name="connsiteX28" fmla="*/ 2396490 w 3008034"/>
                  <a:gd name="connsiteY28" fmla="*/ 3185160 h 3680460"/>
                  <a:gd name="connsiteX29" fmla="*/ 2284095 w 3008034"/>
                  <a:gd name="connsiteY29" fmla="*/ 3284220 h 3680460"/>
                  <a:gd name="connsiteX30" fmla="*/ 2131695 w 3008034"/>
                  <a:gd name="connsiteY30" fmla="*/ 3390900 h 3680460"/>
                  <a:gd name="connsiteX31" fmla="*/ 2000250 w 3008034"/>
                  <a:gd name="connsiteY31" fmla="*/ 3448050 h 3680460"/>
                  <a:gd name="connsiteX32" fmla="*/ 1864995 w 3008034"/>
                  <a:gd name="connsiteY32" fmla="*/ 3512820 h 3680460"/>
                  <a:gd name="connsiteX33" fmla="*/ 1819275 w 3008034"/>
                  <a:gd name="connsiteY33" fmla="*/ 3520440 h 3680460"/>
                  <a:gd name="connsiteX34" fmla="*/ 1712595 w 3008034"/>
                  <a:gd name="connsiteY34" fmla="*/ 3550920 h 3680460"/>
                  <a:gd name="connsiteX35" fmla="*/ 1590675 w 3008034"/>
                  <a:gd name="connsiteY35" fmla="*/ 3589020 h 3680460"/>
                  <a:gd name="connsiteX36" fmla="*/ 1537335 w 3008034"/>
                  <a:gd name="connsiteY36" fmla="*/ 3611880 h 3680460"/>
                  <a:gd name="connsiteX37" fmla="*/ 1453515 w 3008034"/>
                  <a:gd name="connsiteY37" fmla="*/ 3627120 h 3680460"/>
                  <a:gd name="connsiteX38" fmla="*/ 1323975 w 3008034"/>
                  <a:gd name="connsiteY38" fmla="*/ 3657600 h 3680460"/>
                  <a:gd name="connsiteX39" fmla="*/ 1194435 w 3008034"/>
                  <a:gd name="connsiteY39" fmla="*/ 3672840 h 3680460"/>
                  <a:gd name="connsiteX40" fmla="*/ 1156335 w 3008034"/>
                  <a:gd name="connsiteY40" fmla="*/ 3680460 h 3680460"/>
                  <a:gd name="connsiteX41" fmla="*/ 625792 w 3008034"/>
                  <a:gd name="connsiteY41" fmla="*/ 3668078 h 3680460"/>
                  <a:gd name="connsiteX42" fmla="*/ 402908 w 3008034"/>
                  <a:gd name="connsiteY42" fmla="*/ 3614738 h 3680460"/>
                  <a:gd name="connsiteX43" fmla="*/ 266700 w 3008034"/>
                  <a:gd name="connsiteY43" fmla="*/ 3570922 h 3680460"/>
                  <a:gd name="connsiteX44" fmla="*/ 164782 w 3008034"/>
                  <a:gd name="connsiteY44" fmla="*/ 3515678 h 3680460"/>
                  <a:gd name="connsiteX45" fmla="*/ 31433 w 3008034"/>
                  <a:gd name="connsiteY45" fmla="*/ 3422333 h 3680460"/>
                  <a:gd name="connsiteX46" fmla="*/ 0 w 3008034"/>
                  <a:gd name="connsiteY46" fmla="*/ 3376613 h 3680460"/>
                  <a:gd name="connsiteX47" fmla="*/ 127635 w 3008034"/>
                  <a:gd name="connsiteY47" fmla="*/ 3360420 h 3680460"/>
                  <a:gd name="connsiteX48" fmla="*/ 158115 w 3008034"/>
                  <a:gd name="connsiteY48" fmla="*/ 3390900 h 3680460"/>
                  <a:gd name="connsiteX49" fmla="*/ 317183 w 3008034"/>
                  <a:gd name="connsiteY49" fmla="*/ 3450907 h 3680460"/>
                  <a:gd name="connsiteX50" fmla="*/ 485775 w 3008034"/>
                  <a:gd name="connsiteY50" fmla="*/ 3520440 h 3680460"/>
                  <a:gd name="connsiteX51" fmla="*/ 721995 w 3008034"/>
                  <a:gd name="connsiteY51" fmla="*/ 3558540 h 3680460"/>
                  <a:gd name="connsiteX52" fmla="*/ 1331595 w 3008034"/>
                  <a:gd name="connsiteY52" fmla="*/ 3550920 h 3680460"/>
                  <a:gd name="connsiteX53" fmla="*/ 1529715 w 3008034"/>
                  <a:gd name="connsiteY53" fmla="*/ 3520440 h 3680460"/>
                  <a:gd name="connsiteX54" fmla="*/ 1621155 w 3008034"/>
                  <a:gd name="connsiteY54" fmla="*/ 3497580 h 3680460"/>
                  <a:gd name="connsiteX55" fmla="*/ 1781175 w 3008034"/>
                  <a:gd name="connsiteY55" fmla="*/ 3451860 h 3680460"/>
                  <a:gd name="connsiteX56" fmla="*/ 1864995 w 3008034"/>
                  <a:gd name="connsiteY56" fmla="*/ 3421380 h 3680460"/>
                  <a:gd name="connsiteX57" fmla="*/ 1941195 w 3008034"/>
                  <a:gd name="connsiteY57" fmla="*/ 3390900 h 3680460"/>
                  <a:gd name="connsiteX58" fmla="*/ 2089785 w 3008034"/>
                  <a:gd name="connsiteY58" fmla="*/ 3308985 h 3680460"/>
                  <a:gd name="connsiteX59" fmla="*/ 2189797 w 3008034"/>
                  <a:gd name="connsiteY59" fmla="*/ 3251835 h 3680460"/>
                  <a:gd name="connsiteX60" fmla="*/ 2337435 w 3008034"/>
                  <a:gd name="connsiteY60" fmla="*/ 3154680 h 3680460"/>
                  <a:gd name="connsiteX61" fmla="*/ 2459355 w 3008034"/>
                  <a:gd name="connsiteY61" fmla="*/ 3009900 h 3680460"/>
                  <a:gd name="connsiteX62" fmla="*/ 2527935 w 3008034"/>
                  <a:gd name="connsiteY62" fmla="*/ 2926080 h 3680460"/>
                  <a:gd name="connsiteX63" fmla="*/ 2619375 w 3008034"/>
                  <a:gd name="connsiteY63" fmla="*/ 2811780 h 3680460"/>
                  <a:gd name="connsiteX64" fmla="*/ 2665095 w 3008034"/>
                  <a:gd name="connsiteY64" fmla="*/ 2727960 h 3680460"/>
                  <a:gd name="connsiteX65" fmla="*/ 2695575 w 3008034"/>
                  <a:gd name="connsiteY65" fmla="*/ 2667000 h 3680460"/>
                  <a:gd name="connsiteX66" fmla="*/ 2779395 w 3008034"/>
                  <a:gd name="connsiteY66" fmla="*/ 2484120 h 3680460"/>
                  <a:gd name="connsiteX67" fmla="*/ 2802255 w 3008034"/>
                  <a:gd name="connsiteY67" fmla="*/ 2407920 h 3680460"/>
                  <a:gd name="connsiteX68" fmla="*/ 2908935 w 3008034"/>
                  <a:gd name="connsiteY68" fmla="*/ 2049780 h 3680460"/>
                  <a:gd name="connsiteX69" fmla="*/ 2924175 w 3008034"/>
                  <a:gd name="connsiteY69" fmla="*/ 1844040 h 3680460"/>
                  <a:gd name="connsiteX70" fmla="*/ 2908935 w 3008034"/>
                  <a:gd name="connsiteY70" fmla="*/ 1470660 h 3680460"/>
                  <a:gd name="connsiteX71" fmla="*/ 2886075 w 3008034"/>
                  <a:gd name="connsiteY71" fmla="*/ 1371600 h 3680460"/>
                  <a:gd name="connsiteX72" fmla="*/ 2847975 w 3008034"/>
                  <a:gd name="connsiteY72" fmla="*/ 1272540 h 3680460"/>
                  <a:gd name="connsiteX73" fmla="*/ 2840355 w 3008034"/>
                  <a:gd name="connsiteY73" fmla="*/ 1234440 h 3680460"/>
                  <a:gd name="connsiteX74" fmla="*/ 2756535 w 3008034"/>
                  <a:gd name="connsiteY74" fmla="*/ 1089660 h 3680460"/>
                  <a:gd name="connsiteX75" fmla="*/ 2726055 w 3008034"/>
                  <a:gd name="connsiteY75" fmla="*/ 1043940 h 3680460"/>
                  <a:gd name="connsiteX76" fmla="*/ 2718435 w 3008034"/>
                  <a:gd name="connsiteY76" fmla="*/ 1021080 h 3680460"/>
                  <a:gd name="connsiteX77" fmla="*/ 2672715 w 3008034"/>
                  <a:gd name="connsiteY77" fmla="*/ 937260 h 3680460"/>
                  <a:gd name="connsiteX78" fmla="*/ 2611755 w 3008034"/>
                  <a:gd name="connsiteY78" fmla="*/ 800100 h 3680460"/>
                  <a:gd name="connsiteX79" fmla="*/ 2448878 w 3008034"/>
                  <a:gd name="connsiteY79" fmla="*/ 621983 h 3680460"/>
                  <a:gd name="connsiteX80" fmla="*/ 2291715 w 3008034"/>
                  <a:gd name="connsiteY80" fmla="*/ 458152 h 3680460"/>
                  <a:gd name="connsiteX81" fmla="*/ 2227898 w 3008034"/>
                  <a:gd name="connsiteY81" fmla="*/ 406717 h 3680460"/>
                  <a:gd name="connsiteX82" fmla="*/ 2093595 w 3008034"/>
                  <a:gd name="connsiteY82" fmla="*/ 312420 h 3680460"/>
                  <a:gd name="connsiteX83" fmla="*/ 2032635 w 3008034"/>
                  <a:gd name="connsiteY83" fmla="*/ 266700 h 3680460"/>
                  <a:gd name="connsiteX84" fmla="*/ 1994535 w 3008034"/>
                  <a:gd name="connsiteY84" fmla="*/ 251460 h 3680460"/>
                  <a:gd name="connsiteX85" fmla="*/ 1887855 w 3008034"/>
                  <a:gd name="connsiteY8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323975 w 3008034"/>
                  <a:gd name="connsiteY37" fmla="*/ 365760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</a:cxnLst>
                <a:rect l="l" t="t" r="r" b="b"/>
                <a:pathLst>
                  <a:path w="3008034" h="3680460">
                    <a:moveTo>
                      <a:pt x="1887855" y="182880"/>
                    </a:moveTo>
                    <a:cubicBezTo>
                      <a:pt x="1863725" y="167640"/>
                      <a:pt x="1870075" y="175260"/>
                      <a:pt x="1849755" y="160020"/>
                    </a:cubicBezTo>
                    <a:cubicBezTo>
                      <a:pt x="1829435" y="144780"/>
                      <a:pt x="1782445" y="106680"/>
                      <a:pt x="1765935" y="91440"/>
                    </a:cubicBezTo>
                    <a:cubicBezTo>
                      <a:pt x="1749425" y="76200"/>
                      <a:pt x="1758315" y="81121"/>
                      <a:pt x="1750695" y="68580"/>
                    </a:cubicBezTo>
                    <a:cubicBezTo>
                      <a:pt x="1743075" y="56039"/>
                      <a:pt x="1683385" y="27623"/>
                      <a:pt x="1720215" y="16193"/>
                    </a:cubicBezTo>
                    <a:cubicBezTo>
                      <a:pt x="1760855" y="7303"/>
                      <a:pt x="1922145" y="0"/>
                      <a:pt x="1971675" y="0"/>
                    </a:cubicBezTo>
                    <a:cubicBezTo>
                      <a:pt x="2045335" y="16351"/>
                      <a:pt x="2111375" y="82550"/>
                      <a:pt x="2162175" y="114300"/>
                    </a:cubicBezTo>
                    <a:cubicBezTo>
                      <a:pt x="2212975" y="146050"/>
                      <a:pt x="2215515" y="138430"/>
                      <a:pt x="2276475" y="190500"/>
                    </a:cubicBezTo>
                    <a:cubicBezTo>
                      <a:pt x="2337435" y="242570"/>
                      <a:pt x="2483485" y="383540"/>
                      <a:pt x="2527935" y="426720"/>
                    </a:cubicBezTo>
                    <a:cubicBezTo>
                      <a:pt x="2572385" y="469900"/>
                      <a:pt x="2529205" y="429260"/>
                      <a:pt x="2543175" y="449580"/>
                    </a:cubicBezTo>
                    <a:cubicBezTo>
                      <a:pt x="2557145" y="469900"/>
                      <a:pt x="2591435" y="521970"/>
                      <a:pt x="2611755" y="548640"/>
                    </a:cubicBezTo>
                    <a:cubicBezTo>
                      <a:pt x="2632075" y="575310"/>
                      <a:pt x="2622767" y="577854"/>
                      <a:pt x="2665095" y="609600"/>
                    </a:cubicBezTo>
                    <a:cubicBezTo>
                      <a:pt x="2689225" y="643890"/>
                      <a:pt x="2732405" y="717550"/>
                      <a:pt x="2756535" y="754380"/>
                    </a:cubicBezTo>
                    <a:cubicBezTo>
                      <a:pt x="2780665" y="791210"/>
                      <a:pt x="2784475" y="783590"/>
                      <a:pt x="2809875" y="830580"/>
                    </a:cubicBezTo>
                    <a:cubicBezTo>
                      <a:pt x="2835275" y="877570"/>
                      <a:pt x="2884805" y="974090"/>
                      <a:pt x="2908935" y="1036320"/>
                    </a:cubicBezTo>
                    <a:cubicBezTo>
                      <a:pt x="2933065" y="1098550"/>
                      <a:pt x="2941955" y="1151890"/>
                      <a:pt x="2954655" y="1203960"/>
                    </a:cubicBezTo>
                    <a:cubicBezTo>
                      <a:pt x="2967355" y="1256030"/>
                      <a:pt x="2977515" y="1310640"/>
                      <a:pt x="2985135" y="1348740"/>
                    </a:cubicBezTo>
                    <a:cubicBezTo>
                      <a:pt x="2992755" y="1386840"/>
                      <a:pt x="2994861" y="1399474"/>
                      <a:pt x="3000375" y="1432560"/>
                    </a:cubicBezTo>
                    <a:cubicBezTo>
                      <a:pt x="3002915" y="1516380"/>
                      <a:pt x="3007519" y="1590993"/>
                      <a:pt x="3007995" y="1684020"/>
                    </a:cubicBezTo>
                    <a:cubicBezTo>
                      <a:pt x="3008471" y="1777047"/>
                      <a:pt x="3004503" y="1917065"/>
                      <a:pt x="3003233" y="1990725"/>
                    </a:cubicBezTo>
                    <a:cubicBezTo>
                      <a:pt x="2996883" y="2075815"/>
                      <a:pt x="2981801" y="2138998"/>
                      <a:pt x="2969895" y="2194560"/>
                    </a:cubicBezTo>
                    <a:cubicBezTo>
                      <a:pt x="2957989" y="2250123"/>
                      <a:pt x="2940685" y="2291080"/>
                      <a:pt x="2931795" y="2324100"/>
                    </a:cubicBezTo>
                    <a:cubicBezTo>
                      <a:pt x="2922905" y="2357120"/>
                      <a:pt x="2927191" y="2359819"/>
                      <a:pt x="2916555" y="2392680"/>
                    </a:cubicBezTo>
                    <a:cubicBezTo>
                      <a:pt x="2905919" y="2425541"/>
                      <a:pt x="2887187" y="2477293"/>
                      <a:pt x="2867978" y="2521267"/>
                    </a:cubicBezTo>
                    <a:cubicBezTo>
                      <a:pt x="2848769" y="2565241"/>
                      <a:pt x="2826068" y="2606993"/>
                      <a:pt x="2801303" y="2656523"/>
                    </a:cubicBezTo>
                    <a:cubicBezTo>
                      <a:pt x="2776538" y="2706053"/>
                      <a:pt x="2770346" y="2747168"/>
                      <a:pt x="2719387" y="2818447"/>
                    </a:cubicBezTo>
                    <a:cubicBezTo>
                      <a:pt x="2668428" y="2889726"/>
                      <a:pt x="2549366" y="3023076"/>
                      <a:pt x="2495550" y="3084195"/>
                    </a:cubicBezTo>
                    <a:cubicBezTo>
                      <a:pt x="2441734" y="3145314"/>
                      <a:pt x="2453624" y="3142302"/>
                      <a:pt x="2396490" y="3185160"/>
                    </a:cubicBezTo>
                    <a:cubicBezTo>
                      <a:pt x="2340924" y="3240726"/>
                      <a:pt x="2328228" y="3249930"/>
                      <a:pt x="2284095" y="3284220"/>
                    </a:cubicBezTo>
                    <a:cubicBezTo>
                      <a:pt x="2239962" y="3318510"/>
                      <a:pt x="2179003" y="3363595"/>
                      <a:pt x="2131695" y="3390900"/>
                    </a:cubicBezTo>
                    <a:cubicBezTo>
                      <a:pt x="2084388" y="3418205"/>
                      <a:pt x="2044700" y="3427730"/>
                      <a:pt x="2000250" y="3448050"/>
                    </a:cubicBezTo>
                    <a:cubicBezTo>
                      <a:pt x="1955800" y="3468370"/>
                      <a:pt x="1895157" y="3500755"/>
                      <a:pt x="1864995" y="3512820"/>
                    </a:cubicBezTo>
                    <a:cubicBezTo>
                      <a:pt x="1834833" y="3524885"/>
                      <a:pt x="1834204" y="3516459"/>
                      <a:pt x="1819275" y="3520440"/>
                    </a:cubicBezTo>
                    <a:cubicBezTo>
                      <a:pt x="1657541" y="3563569"/>
                      <a:pt x="1817788" y="3529881"/>
                      <a:pt x="1712595" y="3550920"/>
                    </a:cubicBezTo>
                    <a:cubicBezTo>
                      <a:pt x="1654014" y="3580211"/>
                      <a:pt x="1693135" y="3563405"/>
                      <a:pt x="1590675" y="3589020"/>
                    </a:cubicBezTo>
                    <a:lnTo>
                      <a:pt x="1537335" y="3611880"/>
                    </a:lnTo>
                    <a:cubicBezTo>
                      <a:pt x="1528815" y="3615075"/>
                      <a:pt x="1458650" y="3626264"/>
                      <a:pt x="1453515" y="3627120"/>
                    </a:cubicBezTo>
                    <a:cubicBezTo>
                      <a:pt x="1398276" y="3639605"/>
                      <a:pt x="1376715" y="3649202"/>
                      <a:pt x="1263650" y="3663950"/>
                    </a:cubicBezTo>
                    <a:lnTo>
                      <a:pt x="1194435" y="3672840"/>
                    </a:lnTo>
                    <a:cubicBezTo>
                      <a:pt x="1176549" y="3675592"/>
                      <a:pt x="1169035" y="3677920"/>
                      <a:pt x="1156335" y="3680460"/>
                    </a:cubicBezTo>
                    <a:lnTo>
                      <a:pt x="625792" y="3668078"/>
                    </a:lnTo>
                    <a:cubicBezTo>
                      <a:pt x="496252" y="3664268"/>
                      <a:pt x="481013" y="3621405"/>
                      <a:pt x="402908" y="3614738"/>
                    </a:cubicBezTo>
                    <a:cubicBezTo>
                      <a:pt x="372428" y="3603308"/>
                      <a:pt x="306388" y="3587432"/>
                      <a:pt x="266700" y="3570922"/>
                    </a:cubicBezTo>
                    <a:cubicBezTo>
                      <a:pt x="227012" y="3554412"/>
                      <a:pt x="186372" y="3527108"/>
                      <a:pt x="164782" y="3515678"/>
                    </a:cubicBezTo>
                    <a:cubicBezTo>
                      <a:pt x="127952" y="3487738"/>
                      <a:pt x="58897" y="3445510"/>
                      <a:pt x="31433" y="3422333"/>
                    </a:cubicBezTo>
                    <a:cubicBezTo>
                      <a:pt x="3969" y="3399156"/>
                      <a:pt x="34811" y="3428829"/>
                      <a:pt x="0" y="3376613"/>
                    </a:cubicBezTo>
                    <a:cubicBezTo>
                      <a:pt x="16034" y="3366294"/>
                      <a:pt x="99695" y="3354070"/>
                      <a:pt x="127635" y="3360420"/>
                    </a:cubicBezTo>
                    <a:cubicBezTo>
                      <a:pt x="137795" y="3370580"/>
                      <a:pt x="126524" y="3375819"/>
                      <a:pt x="158115" y="3390900"/>
                    </a:cubicBezTo>
                    <a:cubicBezTo>
                      <a:pt x="189706" y="3405981"/>
                      <a:pt x="281623" y="3440747"/>
                      <a:pt x="317183" y="3450907"/>
                    </a:cubicBezTo>
                    <a:cubicBezTo>
                      <a:pt x="371793" y="3472497"/>
                      <a:pt x="418306" y="3502501"/>
                      <a:pt x="485775" y="3520440"/>
                    </a:cubicBezTo>
                    <a:cubicBezTo>
                      <a:pt x="553244" y="3538379"/>
                      <a:pt x="581025" y="3553460"/>
                      <a:pt x="721995" y="3558540"/>
                    </a:cubicBezTo>
                    <a:cubicBezTo>
                      <a:pt x="949007" y="3594100"/>
                      <a:pt x="1128395" y="3553460"/>
                      <a:pt x="1331595" y="3550920"/>
                    </a:cubicBezTo>
                    <a:cubicBezTo>
                      <a:pt x="1466215" y="3544570"/>
                      <a:pt x="1492885" y="3526790"/>
                      <a:pt x="1529715" y="3520440"/>
                    </a:cubicBezTo>
                    <a:cubicBezTo>
                      <a:pt x="1577975" y="3511550"/>
                      <a:pt x="1579245" y="3509010"/>
                      <a:pt x="1621155" y="3497580"/>
                    </a:cubicBezTo>
                    <a:cubicBezTo>
                      <a:pt x="1663065" y="3486150"/>
                      <a:pt x="1740535" y="3464560"/>
                      <a:pt x="1781175" y="3451860"/>
                    </a:cubicBezTo>
                    <a:lnTo>
                      <a:pt x="1864995" y="3421380"/>
                    </a:lnTo>
                    <a:cubicBezTo>
                      <a:pt x="1891665" y="3411220"/>
                      <a:pt x="1903730" y="3409632"/>
                      <a:pt x="1941195" y="3390900"/>
                    </a:cubicBezTo>
                    <a:cubicBezTo>
                      <a:pt x="1978660" y="3372168"/>
                      <a:pt x="2048351" y="3332162"/>
                      <a:pt x="2089785" y="3308985"/>
                    </a:cubicBezTo>
                    <a:cubicBezTo>
                      <a:pt x="2131219" y="3285808"/>
                      <a:pt x="2148522" y="3277552"/>
                      <a:pt x="2189797" y="3251835"/>
                    </a:cubicBezTo>
                    <a:cubicBezTo>
                      <a:pt x="2231072" y="3226118"/>
                      <a:pt x="2292509" y="3195002"/>
                      <a:pt x="2337435" y="3154680"/>
                    </a:cubicBezTo>
                    <a:cubicBezTo>
                      <a:pt x="2382361" y="3114358"/>
                      <a:pt x="2427605" y="3048000"/>
                      <a:pt x="2459355" y="3009900"/>
                    </a:cubicBezTo>
                    <a:cubicBezTo>
                      <a:pt x="2491105" y="2971800"/>
                      <a:pt x="2501265" y="2959100"/>
                      <a:pt x="2527935" y="2926080"/>
                    </a:cubicBezTo>
                    <a:cubicBezTo>
                      <a:pt x="2554605" y="2893060"/>
                      <a:pt x="2596515" y="2844800"/>
                      <a:pt x="2619375" y="2811780"/>
                    </a:cubicBezTo>
                    <a:cubicBezTo>
                      <a:pt x="2642235" y="2778760"/>
                      <a:pt x="2652395" y="2752090"/>
                      <a:pt x="2665095" y="2727960"/>
                    </a:cubicBezTo>
                    <a:cubicBezTo>
                      <a:pt x="2677795" y="2703830"/>
                      <a:pt x="2676525" y="2707640"/>
                      <a:pt x="2695575" y="2667000"/>
                    </a:cubicBezTo>
                    <a:cubicBezTo>
                      <a:pt x="2714625" y="2626360"/>
                      <a:pt x="2761615" y="2527300"/>
                      <a:pt x="2779395" y="2484120"/>
                    </a:cubicBezTo>
                    <a:cubicBezTo>
                      <a:pt x="2797834" y="2391926"/>
                      <a:pt x="2780665" y="2480310"/>
                      <a:pt x="2802255" y="2407920"/>
                    </a:cubicBezTo>
                    <a:cubicBezTo>
                      <a:pt x="2823845" y="2335530"/>
                      <a:pt x="2888615" y="2143760"/>
                      <a:pt x="2908935" y="2049780"/>
                    </a:cubicBezTo>
                    <a:cubicBezTo>
                      <a:pt x="2929255" y="1955800"/>
                      <a:pt x="2901071" y="1936456"/>
                      <a:pt x="2924175" y="1844040"/>
                    </a:cubicBezTo>
                    <a:cubicBezTo>
                      <a:pt x="2919095" y="1719580"/>
                      <a:pt x="2915719" y="1595039"/>
                      <a:pt x="2908935" y="1470660"/>
                    </a:cubicBezTo>
                    <a:cubicBezTo>
                      <a:pt x="2907495" y="1444266"/>
                      <a:pt x="2896235" y="1404620"/>
                      <a:pt x="2886075" y="1371600"/>
                    </a:cubicBezTo>
                    <a:cubicBezTo>
                      <a:pt x="2875915" y="1338580"/>
                      <a:pt x="2855595" y="1295400"/>
                      <a:pt x="2847975" y="1272540"/>
                    </a:cubicBezTo>
                    <a:cubicBezTo>
                      <a:pt x="2840355" y="1249680"/>
                      <a:pt x="2855595" y="1264920"/>
                      <a:pt x="2840355" y="1234440"/>
                    </a:cubicBezTo>
                    <a:cubicBezTo>
                      <a:pt x="2825115" y="1203960"/>
                      <a:pt x="2775585" y="1121410"/>
                      <a:pt x="2756535" y="1089660"/>
                    </a:cubicBezTo>
                    <a:cubicBezTo>
                      <a:pt x="2737485" y="1057910"/>
                      <a:pt x="2731847" y="1061316"/>
                      <a:pt x="2726055" y="1043940"/>
                    </a:cubicBezTo>
                    <a:cubicBezTo>
                      <a:pt x="2723515" y="1036320"/>
                      <a:pt x="2722027" y="1028264"/>
                      <a:pt x="2718435" y="1021080"/>
                    </a:cubicBezTo>
                    <a:cubicBezTo>
                      <a:pt x="2680810" y="945830"/>
                      <a:pt x="2690495" y="974090"/>
                      <a:pt x="2672715" y="937260"/>
                    </a:cubicBezTo>
                    <a:cubicBezTo>
                      <a:pt x="2654935" y="900430"/>
                      <a:pt x="2649061" y="852646"/>
                      <a:pt x="2611755" y="800100"/>
                    </a:cubicBezTo>
                    <a:cubicBezTo>
                      <a:pt x="2574449" y="747554"/>
                      <a:pt x="2502218" y="678974"/>
                      <a:pt x="2448878" y="621983"/>
                    </a:cubicBezTo>
                    <a:cubicBezTo>
                      <a:pt x="2395538" y="564992"/>
                      <a:pt x="2328545" y="494030"/>
                      <a:pt x="2291715" y="458152"/>
                    </a:cubicBezTo>
                    <a:cubicBezTo>
                      <a:pt x="2254885" y="422274"/>
                      <a:pt x="2260918" y="431006"/>
                      <a:pt x="2227898" y="406717"/>
                    </a:cubicBezTo>
                    <a:cubicBezTo>
                      <a:pt x="2194878" y="382428"/>
                      <a:pt x="2126139" y="335756"/>
                      <a:pt x="2093595" y="312420"/>
                    </a:cubicBezTo>
                    <a:cubicBezTo>
                      <a:pt x="2061051" y="289084"/>
                      <a:pt x="2054267" y="280012"/>
                      <a:pt x="2032635" y="266700"/>
                    </a:cubicBezTo>
                    <a:cubicBezTo>
                      <a:pt x="2020986" y="259531"/>
                      <a:pt x="2006543" y="258010"/>
                      <a:pt x="1994535" y="251460"/>
                    </a:cubicBezTo>
                    <a:cubicBezTo>
                      <a:pt x="1970405" y="237490"/>
                      <a:pt x="1911985" y="198120"/>
                      <a:pt x="1887855" y="182880"/>
                    </a:cubicBezTo>
                    <a:close/>
                  </a:path>
                </a:pathLst>
              </a:custGeom>
              <a:solidFill>
                <a:srgbClr val="FBCCD0"/>
              </a:solidFill>
              <a:ln w="5406" cap="rnd">
                <a:noFill/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15B66489-A73E-08E1-2A80-2807B173FEA9}"/>
                  </a:ext>
                </a:extLst>
              </p:cNvPr>
              <p:cNvSpPr/>
              <p:nvPr/>
            </p:nvSpPr>
            <p:spPr>
              <a:xfrm>
                <a:off x="3948704" y="5798370"/>
                <a:ext cx="2383532" cy="648150"/>
              </a:xfrm>
              <a:custGeom>
                <a:avLst/>
                <a:gdLst>
                  <a:gd name="connsiteX0" fmla="*/ 1028711 w 2392706"/>
                  <a:gd name="connsiteY0" fmla="*/ 30480 h 655320"/>
                  <a:gd name="connsiteX1" fmla="*/ 1074431 w 2392706"/>
                  <a:gd name="connsiteY1" fmla="*/ 15240 h 655320"/>
                  <a:gd name="connsiteX2" fmla="*/ 1219211 w 2392706"/>
                  <a:gd name="connsiteY2" fmla="*/ 0 h 655320"/>
                  <a:gd name="connsiteX3" fmla="*/ 1539251 w 2392706"/>
                  <a:gd name="connsiteY3" fmla="*/ 7620 h 655320"/>
                  <a:gd name="connsiteX4" fmla="*/ 1592591 w 2392706"/>
                  <a:gd name="connsiteY4" fmla="*/ 22860 h 655320"/>
                  <a:gd name="connsiteX5" fmla="*/ 1668791 w 2392706"/>
                  <a:gd name="connsiteY5" fmla="*/ 30480 h 655320"/>
                  <a:gd name="connsiteX6" fmla="*/ 1752611 w 2392706"/>
                  <a:gd name="connsiteY6" fmla="*/ 53340 h 655320"/>
                  <a:gd name="connsiteX7" fmla="*/ 1783091 w 2392706"/>
                  <a:gd name="connsiteY7" fmla="*/ 68580 h 655320"/>
                  <a:gd name="connsiteX8" fmla="*/ 1866911 w 2392706"/>
                  <a:gd name="connsiteY8" fmla="*/ 76200 h 655320"/>
                  <a:gd name="connsiteX9" fmla="*/ 2049791 w 2392706"/>
                  <a:gd name="connsiteY9" fmla="*/ 99060 h 655320"/>
                  <a:gd name="connsiteX10" fmla="*/ 2125991 w 2392706"/>
                  <a:gd name="connsiteY10" fmla="*/ 129540 h 655320"/>
                  <a:gd name="connsiteX11" fmla="*/ 2186951 w 2392706"/>
                  <a:gd name="connsiteY11" fmla="*/ 152400 h 655320"/>
                  <a:gd name="connsiteX12" fmla="*/ 2225051 w 2392706"/>
                  <a:gd name="connsiteY12" fmla="*/ 175260 h 655320"/>
                  <a:gd name="connsiteX13" fmla="*/ 2263151 w 2392706"/>
                  <a:gd name="connsiteY13" fmla="*/ 190500 h 655320"/>
                  <a:gd name="connsiteX14" fmla="*/ 2293631 w 2392706"/>
                  <a:gd name="connsiteY14" fmla="*/ 205740 h 655320"/>
                  <a:gd name="connsiteX15" fmla="*/ 2369831 w 2392706"/>
                  <a:gd name="connsiteY15" fmla="*/ 243840 h 655320"/>
                  <a:gd name="connsiteX16" fmla="*/ 2392691 w 2392706"/>
                  <a:gd name="connsiteY16" fmla="*/ 289560 h 655320"/>
                  <a:gd name="connsiteX17" fmla="*/ 2369831 w 2392706"/>
                  <a:gd name="connsiteY17" fmla="*/ 403860 h 655320"/>
                  <a:gd name="connsiteX18" fmla="*/ 2286011 w 2392706"/>
                  <a:gd name="connsiteY18" fmla="*/ 457200 h 655320"/>
                  <a:gd name="connsiteX19" fmla="*/ 2247911 w 2392706"/>
                  <a:gd name="connsiteY19" fmla="*/ 480060 h 655320"/>
                  <a:gd name="connsiteX20" fmla="*/ 2217431 w 2392706"/>
                  <a:gd name="connsiteY20" fmla="*/ 487680 h 655320"/>
                  <a:gd name="connsiteX21" fmla="*/ 2171711 w 2392706"/>
                  <a:gd name="connsiteY21" fmla="*/ 510540 h 655320"/>
                  <a:gd name="connsiteX22" fmla="*/ 2141231 w 2392706"/>
                  <a:gd name="connsiteY22" fmla="*/ 518160 h 655320"/>
                  <a:gd name="connsiteX23" fmla="*/ 2110751 w 2392706"/>
                  <a:gd name="connsiteY23" fmla="*/ 533400 h 655320"/>
                  <a:gd name="connsiteX24" fmla="*/ 2087891 w 2392706"/>
                  <a:gd name="connsiteY24" fmla="*/ 548640 h 655320"/>
                  <a:gd name="connsiteX25" fmla="*/ 2034551 w 2392706"/>
                  <a:gd name="connsiteY25" fmla="*/ 563880 h 655320"/>
                  <a:gd name="connsiteX26" fmla="*/ 2011691 w 2392706"/>
                  <a:gd name="connsiteY26" fmla="*/ 579120 h 655320"/>
                  <a:gd name="connsiteX27" fmla="*/ 1882151 w 2392706"/>
                  <a:gd name="connsiteY27" fmla="*/ 609600 h 655320"/>
                  <a:gd name="connsiteX28" fmla="*/ 1805951 w 2392706"/>
                  <a:gd name="connsiteY28" fmla="*/ 624840 h 655320"/>
                  <a:gd name="connsiteX29" fmla="*/ 1386851 w 2392706"/>
                  <a:gd name="connsiteY29" fmla="*/ 647700 h 655320"/>
                  <a:gd name="connsiteX30" fmla="*/ 1272551 w 2392706"/>
                  <a:gd name="connsiteY30" fmla="*/ 655320 h 655320"/>
                  <a:gd name="connsiteX31" fmla="*/ 937271 w 2392706"/>
                  <a:gd name="connsiteY31" fmla="*/ 640080 h 655320"/>
                  <a:gd name="connsiteX32" fmla="*/ 868691 w 2392706"/>
                  <a:gd name="connsiteY32" fmla="*/ 624840 h 655320"/>
                  <a:gd name="connsiteX33" fmla="*/ 845831 w 2392706"/>
                  <a:gd name="connsiteY33" fmla="*/ 617220 h 655320"/>
                  <a:gd name="connsiteX34" fmla="*/ 510551 w 2392706"/>
                  <a:gd name="connsiteY34" fmla="*/ 594360 h 655320"/>
                  <a:gd name="connsiteX35" fmla="*/ 373391 w 2392706"/>
                  <a:gd name="connsiteY35" fmla="*/ 571500 h 655320"/>
                  <a:gd name="connsiteX36" fmla="*/ 274331 w 2392706"/>
                  <a:gd name="connsiteY36" fmla="*/ 548640 h 655320"/>
                  <a:gd name="connsiteX37" fmla="*/ 213371 w 2392706"/>
                  <a:gd name="connsiteY37" fmla="*/ 525780 h 655320"/>
                  <a:gd name="connsiteX38" fmla="*/ 190511 w 2392706"/>
                  <a:gd name="connsiteY38" fmla="*/ 518160 h 655320"/>
                  <a:gd name="connsiteX39" fmla="*/ 167651 w 2392706"/>
                  <a:gd name="connsiteY39" fmla="*/ 502920 h 655320"/>
                  <a:gd name="connsiteX40" fmla="*/ 129551 w 2392706"/>
                  <a:gd name="connsiteY40" fmla="*/ 487680 h 655320"/>
                  <a:gd name="connsiteX41" fmla="*/ 106691 w 2392706"/>
                  <a:gd name="connsiteY41" fmla="*/ 480060 h 655320"/>
                  <a:gd name="connsiteX42" fmla="*/ 68591 w 2392706"/>
                  <a:gd name="connsiteY42" fmla="*/ 457200 h 655320"/>
                  <a:gd name="connsiteX43" fmla="*/ 15251 w 2392706"/>
                  <a:gd name="connsiteY43" fmla="*/ 403860 h 655320"/>
                  <a:gd name="connsiteX44" fmla="*/ 11 w 2392706"/>
                  <a:gd name="connsiteY44" fmla="*/ 327660 h 655320"/>
                  <a:gd name="connsiteX45" fmla="*/ 7631 w 2392706"/>
                  <a:gd name="connsiteY45" fmla="*/ 259080 h 655320"/>
                  <a:gd name="connsiteX46" fmla="*/ 60971 w 2392706"/>
                  <a:gd name="connsiteY46" fmla="*/ 213360 h 655320"/>
                  <a:gd name="connsiteX47" fmla="*/ 129551 w 2392706"/>
                  <a:gd name="connsiteY47" fmla="*/ 167640 h 655320"/>
                  <a:gd name="connsiteX48" fmla="*/ 152411 w 2392706"/>
                  <a:gd name="connsiteY48" fmla="*/ 160020 h 655320"/>
                  <a:gd name="connsiteX49" fmla="*/ 182891 w 2392706"/>
                  <a:gd name="connsiteY49" fmla="*/ 144780 h 655320"/>
                  <a:gd name="connsiteX50" fmla="*/ 220991 w 2392706"/>
                  <a:gd name="connsiteY50" fmla="*/ 129540 h 655320"/>
                  <a:gd name="connsiteX51" fmla="*/ 281951 w 2392706"/>
                  <a:gd name="connsiteY51" fmla="*/ 99060 h 655320"/>
                  <a:gd name="connsiteX52" fmla="*/ 358151 w 2392706"/>
                  <a:gd name="connsiteY52" fmla="*/ 68580 h 655320"/>
                  <a:gd name="connsiteX53" fmla="*/ 441971 w 2392706"/>
                  <a:gd name="connsiteY53" fmla="*/ 60960 h 655320"/>
                  <a:gd name="connsiteX54" fmla="*/ 487691 w 2392706"/>
                  <a:gd name="connsiteY54" fmla="*/ 53340 h 655320"/>
                  <a:gd name="connsiteX55" fmla="*/ 624851 w 2392706"/>
                  <a:gd name="connsiteY55" fmla="*/ 45720 h 655320"/>
                  <a:gd name="connsiteX56" fmla="*/ 708671 w 2392706"/>
                  <a:gd name="connsiteY56" fmla="*/ 30480 h 655320"/>
                  <a:gd name="connsiteX57" fmla="*/ 746771 w 2392706"/>
                  <a:gd name="connsiteY57" fmla="*/ 22860 h 655320"/>
                  <a:gd name="connsiteX58" fmla="*/ 1028711 w 2392706"/>
                  <a:gd name="connsiteY58" fmla="*/ 30480 h 655320"/>
                  <a:gd name="connsiteX0" fmla="*/ 1033145 w 2397140"/>
                  <a:gd name="connsiteY0" fmla="*/ 30480 h 655320"/>
                  <a:gd name="connsiteX1" fmla="*/ 1078865 w 2397140"/>
                  <a:gd name="connsiteY1" fmla="*/ 15240 h 655320"/>
                  <a:gd name="connsiteX2" fmla="*/ 1223645 w 2397140"/>
                  <a:gd name="connsiteY2" fmla="*/ 0 h 655320"/>
                  <a:gd name="connsiteX3" fmla="*/ 1543685 w 2397140"/>
                  <a:gd name="connsiteY3" fmla="*/ 7620 h 655320"/>
                  <a:gd name="connsiteX4" fmla="*/ 1597025 w 2397140"/>
                  <a:gd name="connsiteY4" fmla="*/ 22860 h 655320"/>
                  <a:gd name="connsiteX5" fmla="*/ 1673225 w 2397140"/>
                  <a:gd name="connsiteY5" fmla="*/ 30480 h 655320"/>
                  <a:gd name="connsiteX6" fmla="*/ 1757045 w 2397140"/>
                  <a:gd name="connsiteY6" fmla="*/ 53340 h 655320"/>
                  <a:gd name="connsiteX7" fmla="*/ 1787525 w 2397140"/>
                  <a:gd name="connsiteY7" fmla="*/ 68580 h 655320"/>
                  <a:gd name="connsiteX8" fmla="*/ 1871345 w 2397140"/>
                  <a:gd name="connsiteY8" fmla="*/ 76200 h 655320"/>
                  <a:gd name="connsiteX9" fmla="*/ 2054225 w 2397140"/>
                  <a:gd name="connsiteY9" fmla="*/ 99060 h 655320"/>
                  <a:gd name="connsiteX10" fmla="*/ 2130425 w 2397140"/>
                  <a:gd name="connsiteY10" fmla="*/ 129540 h 655320"/>
                  <a:gd name="connsiteX11" fmla="*/ 2191385 w 2397140"/>
                  <a:gd name="connsiteY11" fmla="*/ 152400 h 655320"/>
                  <a:gd name="connsiteX12" fmla="*/ 2229485 w 2397140"/>
                  <a:gd name="connsiteY12" fmla="*/ 175260 h 655320"/>
                  <a:gd name="connsiteX13" fmla="*/ 2267585 w 2397140"/>
                  <a:gd name="connsiteY13" fmla="*/ 190500 h 655320"/>
                  <a:gd name="connsiteX14" fmla="*/ 2298065 w 2397140"/>
                  <a:gd name="connsiteY14" fmla="*/ 205740 h 655320"/>
                  <a:gd name="connsiteX15" fmla="*/ 2374265 w 2397140"/>
                  <a:gd name="connsiteY15" fmla="*/ 243840 h 655320"/>
                  <a:gd name="connsiteX16" fmla="*/ 2397125 w 2397140"/>
                  <a:gd name="connsiteY16" fmla="*/ 289560 h 655320"/>
                  <a:gd name="connsiteX17" fmla="*/ 2374265 w 2397140"/>
                  <a:gd name="connsiteY17" fmla="*/ 403860 h 655320"/>
                  <a:gd name="connsiteX18" fmla="*/ 2290445 w 2397140"/>
                  <a:gd name="connsiteY18" fmla="*/ 457200 h 655320"/>
                  <a:gd name="connsiteX19" fmla="*/ 2252345 w 2397140"/>
                  <a:gd name="connsiteY19" fmla="*/ 480060 h 655320"/>
                  <a:gd name="connsiteX20" fmla="*/ 2221865 w 2397140"/>
                  <a:gd name="connsiteY20" fmla="*/ 487680 h 655320"/>
                  <a:gd name="connsiteX21" fmla="*/ 2176145 w 2397140"/>
                  <a:gd name="connsiteY21" fmla="*/ 510540 h 655320"/>
                  <a:gd name="connsiteX22" fmla="*/ 2145665 w 2397140"/>
                  <a:gd name="connsiteY22" fmla="*/ 518160 h 655320"/>
                  <a:gd name="connsiteX23" fmla="*/ 2115185 w 2397140"/>
                  <a:gd name="connsiteY23" fmla="*/ 533400 h 655320"/>
                  <a:gd name="connsiteX24" fmla="*/ 2092325 w 2397140"/>
                  <a:gd name="connsiteY24" fmla="*/ 548640 h 655320"/>
                  <a:gd name="connsiteX25" fmla="*/ 2038985 w 2397140"/>
                  <a:gd name="connsiteY25" fmla="*/ 563880 h 655320"/>
                  <a:gd name="connsiteX26" fmla="*/ 2016125 w 2397140"/>
                  <a:gd name="connsiteY26" fmla="*/ 579120 h 655320"/>
                  <a:gd name="connsiteX27" fmla="*/ 1886585 w 2397140"/>
                  <a:gd name="connsiteY27" fmla="*/ 609600 h 655320"/>
                  <a:gd name="connsiteX28" fmla="*/ 1810385 w 2397140"/>
                  <a:gd name="connsiteY28" fmla="*/ 624840 h 655320"/>
                  <a:gd name="connsiteX29" fmla="*/ 1391285 w 2397140"/>
                  <a:gd name="connsiteY29" fmla="*/ 647700 h 655320"/>
                  <a:gd name="connsiteX30" fmla="*/ 1276985 w 2397140"/>
                  <a:gd name="connsiteY30" fmla="*/ 655320 h 655320"/>
                  <a:gd name="connsiteX31" fmla="*/ 941705 w 2397140"/>
                  <a:gd name="connsiteY31" fmla="*/ 640080 h 655320"/>
                  <a:gd name="connsiteX32" fmla="*/ 873125 w 2397140"/>
                  <a:gd name="connsiteY32" fmla="*/ 624840 h 655320"/>
                  <a:gd name="connsiteX33" fmla="*/ 850265 w 2397140"/>
                  <a:gd name="connsiteY33" fmla="*/ 617220 h 655320"/>
                  <a:gd name="connsiteX34" fmla="*/ 514985 w 2397140"/>
                  <a:gd name="connsiteY34" fmla="*/ 594360 h 655320"/>
                  <a:gd name="connsiteX35" fmla="*/ 377825 w 2397140"/>
                  <a:gd name="connsiteY35" fmla="*/ 571500 h 655320"/>
                  <a:gd name="connsiteX36" fmla="*/ 278765 w 2397140"/>
                  <a:gd name="connsiteY36" fmla="*/ 548640 h 655320"/>
                  <a:gd name="connsiteX37" fmla="*/ 217805 w 2397140"/>
                  <a:gd name="connsiteY37" fmla="*/ 525780 h 655320"/>
                  <a:gd name="connsiteX38" fmla="*/ 194945 w 2397140"/>
                  <a:gd name="connsiteY38" fmla="*/ 518160 h 655320"/>
                  <a:gd name="connsiteX39" fmla="*/ 172085 w 2397140"/>
                  <a:gd name="connsiteY39" fmla="*/ 502920 h 655320"/>
                  <a:gd name="connsiteX40" fmla="*/ 133985 w 2397140"/>
                  <a:gd name="connsiteY40" fmla="*/ 487680 h 655320"/>
                  <a:gd name="connsiteX41" fmla="*/ 111125 w 2397140"/>
                  <a:gd name="connsiteY41" fmla="*/ 480060 h 655320"/>
                  <a:gd name="connsiteX42" fmla="*/ 73025 w 2397140"/>
                  <a:gd name="connsiteY42" fmla="*/ 457200 h 655320"/>
                  <a:gd name="connsiteX43" fmla="*/ 19685 w 2397140"/>
                  <a:gd name="connsiteY43" fmla="*/ 403860 h 655320"/>
                  <a:gd name="connsiteX44" fmla="*/ 4445 w 2397140"/>
                  <a:gd name="connsiteY44" fmla="*/ 327660 h 655320"/>
                  <a:gd name="connsiteX45" fmla="*/ 12065 w 2397140"/>
                  <a:gd name="connsiteY45" fmla="*/ 259080 h 655320"/>
                  <a:gd name="connsiteX46" fmla="*/ 133985 w 2397140"/>
                  <a:gd name="connsiteY46" fmla="*/ 167640 h 655320"/>
                  <a:gd name="connsiteX47" fmla="*/ 156845 w 2397140"/>
                  <a:gd name="connsiteY47" fmla="*/ 160020 h 655320"/>
                  <a:gd name="connsiteX48" fmla="*/ 187325 w 2397140"/>
                  <a:gd name="connsiteY48" fmla="*/ 144780 h 655320"/>
                  <a:gd name="connsiteX49" fmla="*/ 225425 w 2397140"/>
                  <a:gd name="connsiteY49" fmla="*/ 129540 h 655320"/>
                  <a:gd name="connsiteX50" fmla="*/ 286385 w 2397140"/>
                  <a:gd name="connsiteY50" fmla="*/ 99060 h 655320"/>
                  <a:gd name="connsiteX51" fmla="*/ 362585 w 2397140"/>
                  <a:gd name="connsiteY51" fmla="*/ 68580 h 655320"/>
                  <a:gd name="connsiteX52" fmla="*/ 446405 w 2397140"/>
                  <a:gd name="connsiteY52" fmla="*/ 60960 h 655320"/>
                  <a:gd name="connsiteX53" fmla="*/ 492125 w 2397140"/>
                  <a:gd name="connsiteY53" fmla="*/ 53340 h 655320"/>
                  <a:gd name="connsiteX54" fmla="*/ 629285 w 2397140"/>
                  <a:gd name="connsiteY54" fmla="*/ 45720 h 655320"/>
                  <a:gd name="connsiteX55" fmla="*/ 713105 w 2397140"/>
                  <a:gd name="connsiteY55" fmla="*/ 30480 h 655320"/>
                  <a:gd name="connsiteX56" fmla="*/ 751205 w 2397140"/>
                  <a:gd name="connsiteY56" fmla="*/ 22860 h 655320"/>
                  <a:gd name="connsiteX57" fmla="*/ 1033145 w 2397140"/>
                  <a:gd name="connsiteY57" fmla="*/ 30480 h 655320"/>
                  <a:gd name="connsiteX0" fmla="*/ 1029264 w 2393259"/>
                  <a:gd name="connsiteY0" fmla="*/ 30480 h 655320"/>
                  <a:gd name="connsiteX1" fmla="*/ 1074984 w 2393259"/>
                  <a:gd name="connsiteY1" fmla="*/ 15240 h 655320"/>
                  <a:gd name="connsiteX2" fmla="*/ 1219764 w 2393259"/>
                  <a:gd name="connsiteY2" fmla="*/ 0 h 655320"/>
                  <a:gd name="connsiteX3" fmla="*/ 1539804 w 2393259"/>
                  <a:gd name="connsiteY3" fmla="*/ 7620 h 655320"/>
                  <a:gd name="connsiteX4" fmla="*/ 1593144 w 2393259"/>
                  <a:gd name="connsiteY4" fmla="*/ 22860 h 655320"/>
                  <a:gd name="connsiteX5" fmla="*/ 1669344 w 2393259"/>
                  <a:gd name="connsiteY5" fmla="*/ 30480 h 655320"/>
                  <a:gd name="connsiteX6" fmla="*/ 1753164 w 2393259"/>
                  <a:gd name="connsiteY6" fmla="*/ 53340 h 655320"/>
                  <a:gd name="connsiteX7" fmla="*/ 1783644 w 2393259"/>
                  <a:gd name="connsiteY7" fmla="*/ 68580 h 655320"/>
                  <a:gd name="connsiteX8" fmla="*/ 1867464 w 2393259"/>
                  <a:gd name="connsiteY8" fmla="*/ 76200 h 655320"/>
                  <a:gd name="connsiteX9" fmla="*/ 2050344 w 2393259"/>
                  <a:gd name="connsiteY9" fmla="*/ 99060 h 655320"/>
                  <a:gd name="connsiteX10" fmla="*/ 2126544 w 2393259"/>
                  <a:gd name="connsiteY10" fmla="*/ 129540 h 655320"/>
                  <a:gd name="connsiteX11" fmla="*/ 2187504 w 2393259"/>
                  <a:gd name="connsiteY11" fmla="*/ 152400 h 655320"/>
                  <a:gd name="connsiteX12" fmla="*/ 2225604 w 2393259"/>
                  <a:gd name="connsiteY12" fmla="*/ 175260 h 655320"/>
                  <a:gd name="connsiteX13" fmla="*/ 2263704 w 2393259"/>
                  <a:gd name="connsiteY13" fmla="*/ 190500 h 655320"/>
                  <a:gd name="connsiteX14" fmla="*/ 2294184 w 2393259"/>
                  <a:gd name="connsiteY14" fmla="*/ 205740 h 655320"/>
                  <a:gd name="connsiteX15" fmla="*/ 2370384 w 2393259"/>
                  <a:gd name="connsiteY15" fmla="*/ 243840 h 655320"/>
                  <a:gd name="connsiteX16" fmla="*/ 2393244 w 2393259"/>
                  <a:gd name="connsiteY16" fmla="*/ 289560 h 655320"/>
                  <a:gd name="connsiteX17" fmla="*/ 2370384 w 2393259"/>
                  <a:gd name="connsiteY17" fmla="*/ 403860 h 655320"/>
                  <a:gd name="connsiteX18" fmla="*/ 2286564 w 2393259"/>
                  <a:gd name="connsiteY18" fmla="*/ 457200 h 655320"/>
                  <a:gd name="connsiteX19" fmla="*/ 2248464 w 2393259"/>
                  <a:gd name="connsiteY19" fmla="*/ 480060 h 655320"/>
                  <a:gd name="connsiteX20" fmla="*/ 2217984 w 2393259"/>
                  <a:gd name="connsiteY20" fmla="*/ 487680 h 655320"/>
                  <a:gd name="connsiteX21" fmla="*/ 2172264 w 2393259"/>
                  <a:gd name="connsiteY21" fmla="*/ 510540 h 655320"/>
                  <a:gd name="connsiteX22" fmla="*/ 2141784 w 2393259"/>
                  <a:gd name="connsiteY22" fmla="*/ 518160 h 655320"/>
                  <a:gd name="connsiteX23" fmla="*/ 2111304 w 2393259"/>
                  <a:gd name="connsiteY23" fmla="*/ 533400 h 655320"/>
                  <a:gd name="connsiteX24" fmla="*/ 2088444 w 2393259"/>
                  <a:gd name="connsiteY24" fmla="*/ 548640 h 655320"/>
                  <a:gd name="connsiteX25" fmla="*/ 2035104 w 2393259"/>
                  <a:gd name="connsiteY25" fmla="*/ 563880 h 655320"/>
                  <a:gd name="connsiteX26" fmla="*/ 2012244 w 2393259"/>
                  <a:gd name="connsiteY26" fmla="*/ 579120 h 655320"/>
                  <a:gd name="connsiteX27" fmla="*/ 1882704 w 2393259"/>
                  <a:gd name="connsiteY27" fmla="*/ 609600 h 655320"/>
                  <a:gd name="connsiteX28" fmla="*/ 1806504 w 2393259"/>
                  <a:gd name="connsiteY28" fmla="*/ 624840 h 655320"/>
                  <a:gd name="connsiteX29" fmla="*/ 1387404 w 2393259"/>
                  <a:gd name="connsiteY29" fmla="*/ 647700 h 655320"/>
                  <a:gd name="connsiteX30" fmla="*/ 1273104 w 2393259"/>
                  <a:gd name="connsiteY30" fmla="*/ 655320 h 655320"/>
                  <a:gd name="connsiteX31" fmla="*/ 937824 w 2393259"/>
                  <a:gd name="connsiteY31" fmla="*/ 640080 h 655320"/>
                  <a:gd name="connsiteX32" fmla="*/ 869244 w 2393259"/>
                  <a:gd name="connsiteY32" fmla="*/ 624840 h 655320"/>
                  <a:gd name="connsiteX33" fmla="*/ 846384 w 2393259"/>
                  <a:gd name="connsiteY33" fmla="*/ 617220 h 655320"/>
                  <a:gd name="connsiteX34" fmla="*/ 511104 w 2393259"/>
                  <a:gd name="connsiteY34" fmla="*/ 594360 h 655320"/>
                  <a:gd name="connsiteX35" fmla="*/ 373944 w 2393259"/>
                  <a:gd name="connsiteY35" fmla="*/ 571500 h 655320"/>
                  <a:gd name="connsiteX36" fmla="*/ 274884 w 2393259"/>
                  <a:gd name="connsiteY36" fmla="*/ 548640 h 655320"/>
                  <a:gd name="connsiteX37" fmla="*/ 213924 w 2393259"/>
                  <a:gd name="connsiteY37" fmla="*/ 525780 h 655320"/>
                  <a:gd name="connsiteX38" fmla="*/ 191064 w 2393259"/>
                  <a:gd name="connsiteY38" fmla="*/ 518160 h 655320"/>
                  <a:gd name="connsiteX39" fmla="*/ 168204 w 2393259"/>
                  <a:gd name="connsiteY39" fmla="*/ 502920 h 655320"/>
                  <a:gd name="connsiteX40" fmla="*/ 130104 w 2393259"/>
                  <a:gd name="connsiteY40" fmla="*/ 487680 h 655320"/>
                  <a:gd name="connsiteX41" fmla="*/ 107244 w 2393259"/>
                  <a:gd name="connsiteY41" fmla="*/ 480060 h 655320"/>
                  <a:gd name="connsiteX42" fmla="*/ 69144 w 2393259"/>
                  <a:gd name="connsiteY42" fmla="*/ 457200 h 655320"/>
                  <a:gd name="connsiteX43" fmla="*/ 15804 w 2393259"/>
                  <a:gd name="connsiteY43" fmla="*/ 403860 h 655320"/>
                  <a:gd name="connsiteX44" fmla="*/ 564 w 2393259"/>
                  <a:gd name="connsiteY44" fmla="*/ 327660 h 655320"/>
                  <a:gd name="connsiteX45" fmla="*/ 36759 w 2393259"/>
                  <a:gd name="connsiteY45" fmla="*/ 259080 h 655320"/>
                  <a:gd name="connsiteX46" fmla="*/ 130104 w 2393259"/>
                  <a:gd name="connsiteY46" fmla="*/ 167640 h 655320"/>
                  <a:gd name="connsiteX47" fmla="*/ 152964 w 2393259"/>
                  <a:gd name="connsiteY47" fmla="*/ 160020 h 655320"/>
                  <a:gd name="connsiteX48" fmla="*/ 183444 w 2393259"/>
                  <a:gd name="connsiteY48" fmla="*/ 144780 h 655320"/>
                  <a:gd name="connsiteX49" fmla="*/ 221544 w 2393259"/>
                  <a:gd name="connsiteY49" fmla="*/ 129540 h 655320"/>
                  <a:gd name="connsiteX50" fmla="*/ 282504 w 2393259"/>
                  <a:gd name="connsiteY50" fmla="*/ 99060 h 655320"/>
                  <a:gd name="connsiteX51" fmla="*/ 358704 w 2393259"/>
                  <a:gd name="connsiteY51" fmla="*/ 68580 h 655320"/>
                  <a:gd name="connsiteX52" fmla="*/ 442524 w 2393259"/>
                  <a:gd name="connsiteY52" fmla="*/ 60960 h 655320"/>
                  <a:gd name="connsiteX53" fmla="*/ 488244 w 2393259"/>
                  <a:gd name="connsiteY53" fmla="*/ 53340 h 655320"/>
                  <a:gd name="connsiteX54" fmla="*/ 625404 w 2393259"/>
                  <a:gd name="connsiteY54" fmla="*/ 45720 h 655320"/>
                  <a:gd name="connsiteX55" fmla="*/ 709224 w 2393259"/>
                  <a:gd name="connsiteY55" fmla="*/ 30480 h 655320"/>
                  <a:gd name="connsiteX56" fmla="*/ 747324 w 2393259"/>
                  <a:gd name="connsiteY56" fmla="*/ 22860 h 655320"/>
                  <a:gd name="connsiteX57" fmla="*/ 1029264 w 2393259"/>
                  <a:gd name="connsiteY57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836657 w 2383532"/>
                  <a:gd name="connsiteY33" fmla="*/ 617220 h 655320"/>
                  <a:gd name="connsiteX34" fmla="*/ 501377 w 2383532"/>
                  <a:gd name="connsiteY34" fmla="*/ 594360 h 655320"/>
                  <a:gd name="connsiteX35" fmla="*/ 364217 w 2383532"/>
                  <a:gd name="connsiteY35" fmla="*/ 571500 h 655320"/>
                  <a:gd name="connsiteX36" fmla="*/ 265157 w 2383532"/>
                  <a:gd name="connsiteY36" fmla="*/ 548640 h 655320"/>
                  <a:gd name="connsiteX37" fmla="*/ 204197 w 2383532"/>
                  <a:gd name="connsiteY37" fmla="*/ 525780 h 655320"/>
                  <a:gd name="connsiteX38" fmla="*/ 181337 w 2383532"/>
                  <a:gd name="connsiteY38" fmla="*/ 518160 h 655320"/>
                  <a:gd name="connsiteX39" fmla="*/ 158477 w 2383532"/>
                  <a:gd name="connsiteY39" fmla="*/ 502920 h 655320"/>
                  <a:gd name="connsiteX40" fmla="*/ 120377 w 2383532"/>
                  <a:gd name="connsiteY40" fmla="*/ 487680 h 655320"/>
                  <a:gd name="connsiteX41" fmla="*/ 97517 w 2383532"/>
                  <a:gd name="connsiteY41" fmla="*/ 480060 h 655320"/>
                  <a:gd name="connsiteX42" fmla="*/ 59417 w 2383532"/>
                  <a:gd name="connsiteY42" fmla="*/ 457200 h 655320"/>
                  <a:gd name="connsiteX43" fmla="*/ 6077 w 2383532"/>
                  <a:gd name="connsiteY43" fmla="*/ 403860 h 655320"/>
                  <a:gd name="connsiteX44" fmla="*/ 3537 w 2383532"/>
                  <a:gd name="connsiteY44" fmla="*/ 353060 h 655320"/>
                  <a:gd name="connsiteX45" fmla="*/ 27032 w 2383532"/>
                  <a:gd name="connsiteY45" fmla="*/ 259080 h 655320"/>
                  <a:gd name="connsiteX46" fmla="*/ 120377 w 2383532"/>
                  <a:gd name="connsiteY46" fmla="*/ 167640 h 655320"/>
                  <a:gd name="connsiteX47" fmla="*/ 143237 w 2383532"/>
                  <a:gd name="connsiteY47" fmla="*/ 160020 h 655320"/>
                  <a:gd name="connsiteX48" fmla="*/ 173717 w 2383532"/>
                  <a:gd name="connsiteY48" fmla="*/ 144780 h 655320"/>
                  <a:gd name="connsiteX49" fmla="*/ 211817 w 2383532"/>
                  <a:gd name="connsiteY49" fmla="*/ 129540 h 655320"/>
                  <a:gd name="connsiteX50" fmla="*/ 272777 w 2383532"/>
                  <a:gd name="connsiteY50" fmla="*/ 99060 h 655320"/>
                  <a:gd name="connsiteX51" fmla="*/ 348977 w 2383532"/>
                  <a:gd name="connsiteY51" fmla="*/ 68580 h 655320"/>
                  <a:gd name="connsiteX52" fmla="*/ 432797 w 2383532"/>
                  <a:gd name="connsiteY52" fmla="*/ 60960 h 655320"/>
                  <a:gd name="connsiteX53" fmla="*/ 478517 w 2383532"/>
                  <a:gd name="connsiteY53" fmla="*/ 53340 h 655320"/>
                  <a:gd name="connsiteX54" fmla="*/ 615677 w 2383532"/>
                  <a:gd name="connsiteY54" fmla="*/ 45720 h 655320"/>
                  <a:gd name="connsiteX55" fmla="*/ 699497 w 2383532"/>
                  <a:gd name="connsiteY55" fmla="*/ 30480 h 655320"/>
                  <a:gd name="connsiteX56" fmla="*/ 737597 w 2383532"/>
                  <a:gd name="connsiteY56" fmla="*/ 22860 h 655320"/>
                  <a:gd name="connsiteX57" fmla="*/ 1019537 w 2383532"/>
                  <a:gd name="connsiteY57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836657 w 2383532"/>
                  <a:gd name="connsiteY33" fmla="*/ 617220 h 655320"/>
                  <a:gd name="connsiteX34" fmla="*/ 501377 w 2383532"/>
                  <a:gd name="connsiteY34" fmla="*/ 594360 h 655320"/>
                  <a:gd name="connsiteX35" fmla="*/ 364217 w 2383532"/>
                  <a:gd name="connsiteY35" fmla="*/ 571500 h 655320"/>
                  <a:gd name="connsiteX36" fmla="*/ 265157 w 2383532"/>
                  <a:gd name="connsiteY36" fmla="*/ 548640 h 655320"/>
                  <a:gd name="connsiteX37" fmla="*/ 204197 w 2383532"/>
                  <a:gd name="connsiteY37" fmla="*/ 525780 h 655320"/>
                  <a:gd name="connsiteX38" fmla="*/ 181337 w 2383532"/>
                  <a:gd name="connsiteY38" fmla="*/ 518160 h 655320"/>
                  <a:gd name="connsiteX39" fmla="*/ 158477 w 2383532"/>
                  <a:gd name="connsiteY39" fmla="*/ 502920 h 655320"/>
                  <a:gd name="connsiteX40" fmla="*/ 97517 w 2383532"/>
                  <a:gd name="connsiteY40" fmla="*/ 480060 h 655320"/>
                  <a:gd name="connsiteX41" fmla="*/ 59417 w 2383532"/>
                  <a:gd name="connsiteY41" fmla="*/ 457200 h 655320"/>
                  <a:gd name="connsiteX42" fmla="*/ 6077 w 2383532"/>
                  <a:gd name="connsiteY42" fmla="*/ 403860 h 655320"/>
                  <a:gd name="connsiteX43" fmla="*/ 3537 w 2383532"/>
                  <a:gd name="connsiteY43" fmla="*/ 353060 h 655320"/>
                  <a:gd name="connsiteX44" fmla="*/ 27032 w 2383532"/>
                  <a:gd name="connsiteY44" fmla="*/ 259080 h 655320"/>
                  <a:gd name="connsiteX45" fmla="*/ 120377 w 2383532"/>
                  <a:gd name="connsiteY45" fmla="*/ 167640 h 655320"/>
                  <a:gd name="connsiteX46" fmla="*/ 143237 w 2383532"/>
                  <a:gd name="connsiteY46" fmla="*/ 160020 h 655320"/>
                  <a:gd name="connsiteX47" fmla="*/ 173717 w 2383532"/>
                  <a:gd name="connsiteY47" fmla="*/ 144780 h 655320"/>
                  <a:gd name="connsiteX48" fmla="*/ 211817 w 2383532"/>
                  <a:gd name="connsiteY48" fmla="*/ 129540 h 655320"/>
                  <a:gd name="connsiteX49" fmla="*/ 272777 w 2383532"/>
                  <a:gd name="connsiteY49" fmla="*/ 99060 h 655320"/>
                  <a:gd name="connsiteX50" fmla="*/ 348977 w 2383532"/>
                  <a:gd name="connsiteY50" fmla="*/ 68580 h 655320"/>
                  <a:gd name="connsiteX51" fmla="*/ 432797 w 2383532"/>
                  <a:gd name="connsiteY51" fmla="*/ 60960 h 655320"/>
                  <a:gd name="connsiteX52" fmla="*/ 478517 w 2383532"/>
                  <a:gd name="connsiteY52" fmla="*/ 53340 h 655320"/>
                  <a:gd name="connsiteX53" fmla="*/ 615677 w 2383532"/>
                  <a:gd name="connsiteY53" fmla="*/ 45720 h 655320"/>
                  <a:gd name="connsiteX54" fmla="*/ 699497 w 2383532"/>
                  <a:gd name="connsiteY54" fmla="*/ 30480 h 655320"/>
                  <a:gd name="connsiteX55" fmla="*/ 737597 w 2383532"/>
                  <a:gd name="connsiteY55" fmla="*/ 22860 h 655320"/>
                  <a:gd name="connsiteX56" fmla="*/ 1019537 w 2383532"/>
                  <a:gd name="connsiteY56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836657 w 2383532"/>
                  <a:gd name="connsiteY33" fmla="*/ 617220 h 655320"/>
                  <a:gd name="connsiteX34" fmla="*/ 501377 w 2383532"/>
                  <a:gd name="connsiteY34" fmla="*/ 594360 h 655320"/>
                  <a:gd name="connsiteX35" fmla="*/ 364217 w 2383532"/>
                  <a:gd name="connsiteY35" fmla="*/ 571500 h 655320"/>
                  <a:gd name="connsiteX36" fmla="*/ 265157 w 2383532"/>
                  <a:gd name="connsiteY36" fmla="*/ 548640 h 655320"/>
                  <a:gd name="connsiteX37" fmla="*/ 204197 w 2383532"/>
                  <a:gd name="connsiteY37" fmla="*/ 525780 h 655320"/>
                  <a:gd name="connsiteX38" fmla="*/ 181337 w 2383532"/>
                  <a:gd name="connsiteY38" fmla="*/ 518160 h 655320"/>
                  <a:gd name="connsiteX39" fmla="*/ 97517 w 2383532"/>
                  <a:gd name="connsiteY39" fmla="*/ 480060 h 655320"/>
                  <a:gd name="connsiteX40" fmla="*/ 59417 w 2383532"/>
                  <a:gd name="connsiteY40" fmla="*/ 457200 h 655320"/>
                  <a:gd name="connsiteX41" fmla="*/ 6077 w 2383532"/>
                  <a:gd name="connsiteY41" fmla="*/ 403860 h 655320"/>
                  <a:gd name="connsiteX42" fmla="*/ 3537 w 2383532"/>
                  <a:gd name="connsiteY42" fmla="*/ 353060 h 655320"/>
                  <a:gd name="connsiteX43" fmla="*/ 27032 w 2383532"/>
                  <a:gd name="connsiteY43" fmla="*/ 259080 h 655320"/>
                  <a:gd name="connsiteX44" fmla="*/ 120377 w 2383532"/>
                  <a:gd name="connsiteY44" fmla="*/ 167640 h 655320"/>
                  <a:gd name="connsiteX45" fmla="*/ 143237 w 2383532"/>
                  <a:gd name="connsiteY45" fmla="*/ 160020 h 655320"/>
                  <a:gd name="connsiteX46" fmla="*/ 173717 w 2383532"/>
                  <a:gd name="connsiteY46" fmla="*/ 144780 h 655320"/>
                  <a:gd name="connsiteX47" fmla="*/ 211817 w 2383532"/>
                  <a:gd name="connsiteY47" fmla="*/ 129540 h 655320"/>
                  <a:gd name="connsiteX48" fmla="*/ 272777 w 2383532"/>
                  <a:gd name="connsiteY48" fmla="*/ 99060 h 655320"/>
                  <a:gd name="connsiteX49" fmla="*/ 348977 w 2383532"/>
                  <a:gd name="connsiteY49" fmla="*/ 68580 h 655320"/>
                  <a:gd name="connsiteX50" fmla="*/ 432797 w 2383532"/>
                  <a:gd name="connsiteY50" fmla="*/ 60960 h 655320"/>
                  <a:gd name="connsiteX51" fmla="*/ 478517 w 2383532"/>
                  <a:gd name="connsiteY51" fmla="*/ 53340 h 655320"/>
                  <a:gd name="connsiteX52" fmla="*/ 615677 w 2383532"/>
                  <a:gd name="connsiteY52" fmla="*/ 45720 h 655320"/>
                  <a:gd name="connsiteX53" fmla="*/ 699497 w 2383532"/>
                  <a:gd name="connsiteY53" fmla="*/ 30480 h 655320"/>
                  <a:gd name="connsiteX54" fmla="*/ 737597 w 2383532"/>
                  <a:gd name="connsiteY54" fmla="*/ 22860 h 655320"/>
                  <a:gd name="connsiteX55" fmla="*/ 1019537 w 2383532"/>
                  <a:gd name="connsiteY55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836657 w 2383532"/>
                  <a:gd name="connsiteY33" fmla="*/ 617220 h 655320"/>
                  <a:gd name="connsiteX34" fmla="*/ 501377 w 2383532"/>
                  <a:gd name="connsiteY34" fmla="*/ 594360 h 655320"/>
                  <a:gd name="connsiteX35" fmla="*/ 364217 w 2383532"/>
                  <a:gd name="connsiteY35" fmla="*/ 571500 h 655320"/>
                  <a:gd name="connsiteX36" fmla="*/ 265157 w 2383532"/>
                  <a:gd name="connsiteY36" fmla="*/ 548640 h 655320"/>
                  <a:gd name="connsiteX37" fmla="*/ 204197 w 2383532"/>
                  <a:gd name="connsiteY37" fmla="*/ 525780 h 655320"/>
                  <a:gd name="connsiteX38" fmla="*/ 97517 w 2383532"/>
                  <a:gd name="connsiteY38" fmla="*/ 480060 h 655320"/>
                  <a:gd name="connsiteX39" fmla="*/ 59417 w 2383532"/>
                  <a:gd name="connsiteY39" fmla="*/ 457200 h 655320"/>
                  <a:gd name="connsiteX40" fmla="*/ 6077 w 2383532"/>
                  <a:gd name="connsiteY40" fmla="*/ 403860 h 655320"/>
                  <a:gd name="connsiteX41" fmla="*/ 3537 w 2383532"/>
                  <a:gd name="connsiteY41" fmla="*/ 353060 h 655320"/>
                  <a:gd name="connsiteX42" fmla="*/ 27032 w 2383532"/>
                  <a:gd name="connsiteY42" fmla="*/ 259080 h 655320"/>
                  <a:gd name="connsiteX43" fmla="*/ 120377 w 2383532"/>
                  <a:gd name="connsiteY43" fmla="*/ 167640 h 655320"/>
                  <a:gd name="connsiteX44" fmla="*/ 143237 w 2383532"/>
                  <a:gd name="connsiteY44" fmla="*/ 160020 h 655320"/>
                  <a:gd name="connsiteX45" fmla="*/ 173717 w 2383532"/>
                  <a:gd name="connsiteY45" fmla="*/ 144780 h 655320"/>
                  <a:gd name="connsiteX46" fmla="*/ 211817 w 2383532"/>
                  <a:gd name="connsiteY46" fmla="*/ 129540 h 655320"/>
                  <a:gd name="connsiteX47" fmla="*/ 272777 w 2383532"/>
                  <a:gd name="connsiteY47" fmla="*/ 99060 h 655320"/>
                  <a:gd name="connsiteX48" fmla="*/ 348977 w 2383532"/>
                  <a:gd name="connsiteY48" fmla="*/ 68580 h 655320"/>
                  <a:gd name="connsiteX49" fmla="*/ 432797 w 2383532"/>
                  <a:gd name="connsiteY49" fmla="*/ 60960 h 655320"/>
                  <a:gd name="connsiteX50" fmla="*/ 478517 w 2383532"/>
                  <a:gd name="connsiteY50" fmla="*/ 53340 h 655320"/>
                  <a:gd name="connsiteX51" fmla="*/ 615677 w 2383532"/>
                  <a:gd name="connsiteY51" fmla="*/ 45720 h 655320"/>
                  <a:gd name="connsiteX52" fmla="*/ 699497 w 2383532"/>
                  <a:gd name="connsiteY52" fmla="*/ 30480 h 655320"/>
                  <a:gd name="connsiteX53" fmla="*/ 737597 w 2383532"/>
                  <a:gd name="connsiteY53" fmla="*/ 22860 h 655320"/>
                  <a:gd name="connsiteX54" fmla="*/ 1019537 w 2383532"/>
                  <a:gd name="connsiteY54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501377 w 2383532"/>
                  <a:gd name="connsiteY33" fmla="*/ 594360 h 655320"/>
                  <a:gd name="connsiteX34" fmla="*/ 364217 w 2383532"/>
                  <a:gd name="connsiteY34" fmla="*/ 571500 h 655320"/>
                  <a:gd name="connsiteX35" fmla="*/ 265157 w 2383532"/>
                  <a:gd name="connsiteY35" fmla="*/ 548640 h 655320"/>
                  <a:gd name="connsiteX36" fmla="*/ 204197 w 2383532"/>
                  <a:gd name="connsiteY36" fmla="*/ 525780 h 655320"/>
                  <a:gd name="connsiteX37" fmla="*/ 97517 w 2383532"/>
                  <a:gd name="connsiteY37" fmla="*/ 480060 h 655320"/>
                  <a:gd name="connsiteX38" fmla="*/ 59417 w 2383532"/>
                  <a:gd name="connsiteY38" fmla="*/ 457200 h 655320"/>
                  <a:gd name="connsiteX39" fmla="*/ 6077 w 2383532"/>
                  <a:gd name="connsiteY39" fmla="*/ 403860 h 655320"/>
                  <a:gd name="connsiteX40" fmla="*/ 3537 w 2383532"/>
                  <a:gd name="connsiteY40" fmla="*/ 353060 h 655320"/>
                  <a:gd name="connsiteX41" fmla="*/ 27032 w 2383532"/>
                  <a:gd name="connsiteY41" fmla="*/ 259080 h 655320"/>
                  <a:gd name="connsiteX42" fmla="*/ 120377 w 2383532"/>
                  <a:gd name="connsiteY42" fmla="*/ 167640 h 655320"/>
                  <a:gd name="connsiteX43" fmla="*/ 143237 w 2383532"/>
                  <a:gd name="connsiteY43" fmla="*/ 160020 h 655320"/>
                  <a:gd name="connsiteX44" fmla="*/ 173717 w 2383532"/>
                  <a:gd name="connsiteY44" fmla="*/ 144780 h 655320"/>
                  <a:gd name="connsiteX45" fmla="*/ 211817 w 2383532"/>
                  <a:gd name="connsiteY45" fmla="*/ 129540 h 655320"/>
                  <a:gd name="connsiteX46" fmla="*/ 272777 w 2383532"/>
                  <a:gd name="connsiteY46" fmla="*/ 99060 h 655320"/>
                  <a:gd name="connsiteX47" fmla="*/ 348977 w 2383532"/>
                  <a:gd name="connsiteY47" fmla="*/ 68580 h 655320"/>
                  <a:gd name="connsiteX48" fmla="*/ 432797 w 2383532"/>
                  <a:gd name="connsiteY48" fmla="*/ 60960 h 655320"/>
                  <a:gd name="connsiteX49" fmla="*/ 478517 w 2383532"/>
                  <a:gd name="connsiteY49" fmla="*/ 53340 h 655320"/>
                  <a:gd name="connsiteX50" fmla="*/ 615677 w 2383532"/>
                  <a:gd name="connsiteY50" fmla="*/ 45720 h 655320"/>
                  <a:gd name="connsiteX51" fmla="*/ 699497 w 2383532"/>
                  <a:gd name="connsiteY51" fmla="*/ 30480 h 655320"/>
                  <a:gd name="connsiteX52" fmla="*/ 737597 w 2383532"/>
                  <a:gd name="connsiteY52" fmla="*/ 22860 h 655320"/>
                  <a:gd name="connsiteX53" fmla="*/ 1019537 w 2383532"/>
                  <a:gd name="connsiteY53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25377 w 2383532"/>
                  <a:gd name="connsiteY25" fmla="*/ 563880 h 655320"/>
                  <a:gd name="connsiteX26" fmla="*/ 2002517 w 2383532"/>
                  <a:gd name="connsiteY26" fmla="*/ 579120 h 655320"/>
                  <a:gd name="connsiteX27" fmla="*/ 1872977 w 2383532"/>
                  <a:gd name="connsiteY27" fmla="*/ 609600 h 655320"/>
                  <a:gd name="connsiteX28" fmla="*/ 1796777 w 2383532"/>
                  <a:gd name="connsiteY28" fmla="*/ 624840 h 655320"/>
                  <a:gd name="connsiteX29" fmla="*/ 1377677 w 2383532"/>
                  <a:gd name="connsiteY29" fmla="*/ 647700 h 655320"/>
                  <a:gd name="connsiteX30" fmla="*/ 1263377 w 2383532"/>
                  <a:gd name="connsiteY30" fmla="*/ 655320 h 655320"/>
                  <a:gd name="connsiteX31" fmla="*/ 928097 w 2383532"/>
                  <a:gd name="connsiteY31" fmla="*/ 640080 h 655320"/>
                  <a:gd name="connsiteX32" fmla="*/ 859517 w 2383532"/>
                  <a:gd name="connsiteY32" fmla="*/ 624840 h 655320"/>
                  <a:gd name="connsiteX33" fmla="*/ 501377 w 2383532"/>
                  <a:gd name="connsiteY33" fmla="*/ 594360 h 655320"/>
                  <a:gd name="connsiteX34" fmla="*/ 265157 w 2383532"/>
                  <a:gd name="connsiteY34" fmla="*/ 548640 h 655320"/>
                  <a:gd name="connsiteX35" fmla="*/ 204197 w 2383532"/>
                  <a:gd name="connsiteY35" fmla="*/ 525780 h 655320"/>
                  <a:gd name="connsiteX36" fmla="*/ 97517 w 2383532"/>
                  <a:gd name="connsiteY36" fmla="*/ 480060 h 655320"/>
                  <a:gd name="connsiteX37" fmla="*/ 59417 w 2383532"/>
                  <a:gd name="connsiteY37" fmla="*/ 457200 h 655320"/>
                  <a:gd name="connsiteX38" fmla="*/ 6077 w 2383532"/>
                  <a:gd name="connsiteY38" fmla="*/ 403860 h 655320"/>
                  <a:gd name="connsiteX39" fmla="*/ 3537 w 2383532"/>
                  <a:gd name="connsiteY39" fmla="*/ 353060 h 655320"/>
                  <a:gd name="connsiteX40" fmla="*/ 27032 w 2383532"/>
                  <a:gd name="connsiteY40" fmla="*/ 259080 h 655320"/>
                  <a:gd name="connsiteX41" fmla="*/ 120377 w 2383532"/>
                  <a:gd name="connsiteY41" fmla="*/ 167640 h 655320"/>
                  <a:gd name="connsiteX42" fmla="*/ 143237 w 2383532"/>
                  <a:gd name="connsiteY42" fmla="*/ 160020 h 655320"/>
                  <a:gd name="connsiteX43" fmla="*/ 173717 w 2383532"/>
                  <a:gd name="connsiteY43" fmla="*/ 144780 h 655320"/>
                  <a:gd name="connsiteX44" fmla="*/ 211817 w 2383532"/>
                  <a:gd name="connsiteY44" fmla="*/ 129540 h 655320"/>
                  <a:gd name="connsiteX45" fmla="*/ 272777 w 2383532"/>
                  <a:gd name="connsiteY45" fmla="*/ 99060 h 655320"/>
                  <a:gd name="connsiteX46" fmla="*/ 348977 w 2383532"/>
                  <a:gd name="connsiteY46" fmla="*/ 68580 h 655320"/>
                  <a:gd name="connsiteX47" fmla="*/ 432797 w 2383532"/>
                  <a:gd name="connsiteY47" fmla="*/ 60960 h 655320"/>
                  <a:gd name="connsiteX48" fmla="*/ 478517 w 2383532"/>
                  <a:gd name="connsiteY48" fmla="*/ 53340 h 655320"/>
                  <a:gd name="connsiteX49" fmla="*/ 615677 w 2383532"/>
                  <a:gd name="connsiteY49" fmla="*/ 45720 h 655320"/>
                  <a:gd name="connsiteX50" fmla="*/ 699497 w 2383532"/>
                  <a:gd name="connsiteY50" fmla="*/ 30480 h 655320"/>
                  <a:gd name="connsiteX51" fmla="*/ 737597 w 2383532"/>
                  <a:gd name="connsiteY51" fmla="*/ 22860 h 655320"/>
                  <a:gd name="connsiteX52" fmla="*/ 1019537 w 2383532"/>
                  <a:gd name="connsiteY52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101577 w 2383532"/>
                  <a:gd name="connsiteY23" fmla="*/ 533400 h 655320"/>
                  <a:gd name="connsiteX24" fmla="*/ 2078717 w 2383532"/>
                  <a:gd name="connsiteY24" fmla="*/ 548640 h 655320"/>
                  <a:gd name="connsiteX25" fmla="*/ 2002517 w 2383532"/>
                  <a:gd name="connsiteY25" fmla="*/ 579120 h 655320"/>
                  <a:gd name="connsiteX26" fmla="*/ 1872977 w 2383532"/>
                  <a:gd name="connsiteY26" fmla="*/ 609600 h 655320"/>
                  <a:gd name="connsiteX27" fmla="*/ 1796777 w 2383532"/>
                  <a:gd name="connsiteY27" fmla="*/ 624840 h 655320"/>
                  <a:gd name="connsiteX28" fmla="*/ 1377677 w 2383532"/>
                  <a:gd name="connsiteY28" fmla="*/ 647700 h 655320"/>
                  <a:gd name="connsiteX29" fmla="*/ 1263377 w 2383532"/>
                  <a:gd name="connsiteY29" fmla="*/ 655320 h 655320"/>
                  <a:gd name="connsiteX30" fmla="*/ 928097 w 2383532"/>
                  <a:gd name="connsiteY30" fmla="*/ 640080 h 655320"/>
                  <a:gd name="connsiteX31" fmla="*/ 859517 w 2383532"/>
                  <a:gd name="connsiteY31" fmla="*/ 624840 h 655320"/>
                  <a:gd name="connsiteX32" fmla="*/ 501377 w 2383532"/>
                  <a:gd name="connsiteY32" fmla="*/ 594360 h 655320"/>
                  <a:gd name="connsiteX33" fmla="*/ 265157 w 2383532"/>
                  <a:gd name="connsiteY33" fmla="*/ 548640 h 655320"/>
                  <a:gd name="connsiteX34" fmla="*/ 204197 w 2383532"/>
                  <a:gd name="connsiteY34" fmla="*/ 525780 h 655320"/>
                  <a:gd name="connsiteX35" fmla="*/ 97517 w 2383532"/>
                  <a:gd name="connsiteY35" fmla="*/ 480060 h 655320"/>
                  <a:gd name="connsiteX36" fmla="*/ 59417 w 2383532"/>
                  <a:gd name="connsiteY36" fmla="*/ 457200 h 655320"/>
                  <a:gd name="connsiteX37" fmla="*/ 6077 w 2383532"/>
                  <a:gd name="connsiteY37" fmla="*/ 403860 h 655320"/>
                  <a:gd name="connsiteX38" fmla="*/ 3537 w 2383532"/>
                  <a:gd name="connsiteY38" fmla="*/ 353060 h 655320"/>
                  <a:gd name="connsiteX39" fmla="*/ 27032 w 2383532"/>
                  <a:gd name="connsiteY39" fmla="*/ 259080 h 655320"/>
                  <a:gd name="connsiteX40" fmla="*/ 120377 w 2383532"/>
                  <a:gd name="connsiteY40" fmla="*/ 167640 h 655320"/>
                  <a:gd name="connsiteX41" fmla="*/ 143237 w 2383532"/>
                  <a:gd name="connsiteY41" fmla="*/ 160020 h 655320"/>
                  <a:gd name="connsiteX42" fmla="*/ 173717 w 2383532"/>
                  <a:gd name="connsiteY42" fmla="*/ 144780 h 655320"/>
                  <a:gd name="connsiteX43" fmla="*/ 211817 w 2383532"/>
                  <a:gd name="connsiteY43" fmla="*/ 129540 h 655320"/>
                  <a:gd name="connsiteX44" fmla="*/ 272777 w 2383532"/>
                  <a:gd name="connsiteY44" fmla="*/ 99060 h 655320"/>
                  <a:gd name="connsiteX45" fmla="*/ 348977 w 2383532"/>
                  <a:gd name="connsiteY45" fmla="*/ 68580 h 655320"/>
                  <a:gd name="connsiteX46" fmla="*/ 432797 w 2383532"/>
                  <a:gd name="connsiteY46" fmla="*/ 60960 h 655320"/>
                  <a:gd name="connsiteX47" fmla="*/ 478517 w 2383532"/>
                  <a:gd name="connsiteY47" fmla="*/ 53340 h 655320"/>
                  <a:gd name="connsiteX48" fmla="*/ 615677 w 2383532"/>
                  <a:gd name="connsiteY48" fmla="*/ 45720 h 655320"/>
                  <a:gd name="connsiteX49" fmla="*/ 699497 w 2383532"/>
                  <a:gd name="connsiteY49" fmla="*/ 30480 h 655320"/>
                  <a:gd name="connsiteX50" fmla="*/ 737597 w 2383532"/>
                  <a:gd name="connsiteY50" fmla="*/ 22860 h 655320"/>
                  <a:gd name="connsiteX51" fmla="*/ 1019537 w 2383532"/>
                  <a:gd name="connsiteY51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132057 w 2383532"/>
                  <a:gd name="connsiteY22" fmla="*/ 518160 h 655320"/>
                  <a:gd name="connsiteX23" fmla="*/ 2078717 w 2383532"/>
                  <a:gd name="connsiteY23" fmla="*/ 548640 h 655320"/>
                  <a:gd name="connsiteX24" fmla="*/ 2002517 w 2383532"/>
                  <a:gd name="connsiteY24" fmla="*/ 579120 h 655320"/>
                  <a:gd name="connsiteX25" fmla="*/ 1872977 w 2383532"/>
                  <a:gd name="connsiteY25" fmla="*/ 609600 h 655320"/>
                  <a:gd name="connsiteX26" fmla="*/ 1796777 w 2383532"/>
                  <a:gd name="connsiteY26" fmla="*/ 624840 h 655320"/>
                  <a:gd name="connsiteX27" fmla="*/ 1377677 w 2383532"/>
                  <a:gd name="connsiteY27" fmla="*/ 647700 h 655320"/>
                  <a:gd name="connsiteX28" fmla="*/ 1263377 w 2383532"/>
                  <a:gd name="connsiteY28" fmla="*/ 655320 h 655320"/>
                  <a:gd name="connsiteX29" fmla="*/ 928097 w 2383532"/>
                  <a:gd name="connsiteY29" fmla="*/ 640080 h 655320"/>
                  <a:gd name="connsiteX30" fmla="*/ 859517 w 2383532"/>
                  <a:gd name="connsiteY30" fmla="*/ 624840 h 655320"/>
                  <a:gd name="connsiteX31" fmla="*/ 501377 w 2383532"/>
                  <a:gd name="connsiteY31" fmla="*/ 594360 h 655320"/>
                  <a:gd name="connsiteX32" fmla="*/ 265157 w 2383532"/>
                  <a:gd name="connsiteY32" fmla="*/ 548640 h 655320"/>
                  <a:gd name="connsiteX33" fmla="*/ 204197 w 2383532"/>
                  <a:gd name="connsiteY33" fmla="*/ 525780 h 655320"/>
                  <a:gd name="connsiteX34" fmla="*/ 97517 w 2383532"/>
                  <a:gd name="connsiteY34" fmla="*/ 480060 h 655320"/>
                  <a:gd name="connsiteX35" fmla="*/ 59417 w 2383532"/>
                  <a:gd name="connsiteY35" fmla="*/ 457200 h 655320"/>
                  <a:gd name="connsiteX36" fmla="*/ 6077 w 2383532"/>
                  <a:gd name="connsiteY36" fmla="*/ 403860 h 655320"/>
                  <a:gd name="connsiteX37" fmla="*/ 3537 w 2383532"/>
                  <a:gd name="connsiteY37" fmla="*/ 353060 h 655320"/>
                  <a:gd name="connsiteX38" fmla="*/ 27032 w 2383532"/>
                  <a:gd name="connsiteY38" fmla="*/ 259080 h 655320"/>
                  <a:gd name="connsiteX39" fmla="*/ 120377 w 2383532"/>
                  <a:gd name="connsiteY39" fmla="*/ 167640 h 655320"/>
                  <a:gd name="connsiteX40" fmla="*/ 143237 w 2383532"/>
                  <a:gd name="connsiteY40" fmla="*/ 160020 h 655320"/>
                  <a:gd name="connsiteX41" fmla="*/ 173717 w 2383532"/>
                  <a:gd name="connsiteY41" fmla="*/ 144780 h 655320"/>
                  <a:gd name="connsiteX42" fmla="*/ 211817 w 2383532"/>
                  <a:gd name="connsiteY42" fmla="*/ 129540 h 655320"/>
                  <a:gd name="connsiteX43" fmla="*/ 272777 w 2383532"/>
                  <a:gd name="connsiteY43" fmla="*/ 99060 h 655320"/>
                  <a:gd name="connsiteX44" fmla="*/ 348977 w 2383532"/>
                  <a:gd name="connsiteY44" fmla="*/ 68580 h 655320"/>
                  <a:gd name="connsiteX45" fmla="*/ 432797 w 2383532"/>
                  <a:gd name="connsiteY45" fmla="*/ 60960 h 655320"/>
                  <a:gd name="connsiteX46" fmla="*/ 478517 w 2383532"/>
                  <a:gd name="connsiteY46" fmla="*/ 53340 h 655320"/>
                  <a:gd name="connsiteX47" fmla="*/ 615677 w 2383532"/>
                  <a:gd name="connsiteY47" fmla="*/ 45720 h 655320"/>
                  <a:gd name="connsiteX48" fmla="*/ 699497 w 2383532"/>
                  <a:gd name="connsiteY48" fmla="*/ 30480 h 655320"/>
                  <a:gd name="connsiteX49" fmla="*/ 737597 w 2383532"/>
                  <a:gd name="connsiteY49" fmla="*/ 22860 h 655320"/>
                  <a:gd name="connsiteX50" fmla="*/ 1019537 w 2383532"/>
                  <a:gd name="connsiteY5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208257 w 2383532"/>
                  <a:gd name="connsiteY20" fmla="*/ 487680 h 655320"/>
                  <a:gd name="connsiteX21" fmla="*/ 2162537 w 2383532"/>
                  <a:gd name="connsiteY21" fmla="*/ 510540 h 655320"/>
                  <a:gd name="connsiteX22" fmla="*/ 2078717 w 2383532"/>
                  <a:gd name="connsiteY22" fmla="*/ 548640 h 655320"/>
                  <a:gd name="connsiteX23" fmla="*/ 2002517 w 2383532"/>
                  <a:gd name="connsiteY23" fmla="*/ 579120 h 655320"/>
                  <a:gd name="connsiteX24" fmla="*/ 1872977 w 2383532"/>
                  <a:gd name="connsiteY24" fmla="*/ 609600 h 655320"/>
                  <a:gd name="connsiteX25" fmla="*/ 1796777 w 2383532"/>
                  <a:gd name="connsiteY25" fmla="*/ 624840 h 655320"/>
                  <a:gd name="connsiteX26" fmla="*/ 1377677 w 2383532"/>
                  <a:gd name="connsiteY26" fmla="*/ 647700 h 655320"/>
                  <a:gd name="connsiteX27" fmla="*/ 1263377 w 2383532"/>
                  <a:gd name="connsiteY27" fmla="*/ 655320 h 655320"/>
                  <a:gd name="connsiteX28" fmla="*/ 928097 w 2383532"/>
                  <a:gd name="connsiteY28" fmla="*/ 640080 h 655320"/>
                  <a:gd name="connsiteX29" fmla="*/ 859517 w 2383532"/>
                  <a:gd name="connsiteY29" fmla="*/ 624840 h 655320"/>
                  <a:gd name="connsiteX30" fmla="*/ 501377 w 2383532"/>
                  <a:gd name="connsiteY30" fmla="*/ 594360 h 655320"/>
                  <a:gd name="connsiteX31" fmla="*/ 265157 w 2383532"/>
                  <a:gd name="connsiteY31" fmla="*/ 548640 h 655320"/>
                  <a:gd name="connsiteX32" fmla="*/ 204197 w 2383532"/>
                  <a:gd name="connsiteY32" fmla="*/ 525780 h 655320"/>
                  <a:gd name="connsiteX33" fmla="*/ 97517 w 2383532"/>
                  <a:gd name="connsiteY33" fmla="*/ 480060 h 655320"/>
                  <a:gd name="connsiteX34" fmla="*/ 59417 w 2383532"/>
                  <a:gd name="connsiteY34" fmla="*/ 457200 h 655320"/>
                  <a:gd name="connsiteX35" fmla="*/ 6077 w 2383532"/>
                  <a:gd name="connsiteY35" fmla="*/ 403860 h 655320"/>
                  <a:gd name="connsiteX36" fmla="*/ 3537 w 2383532"/>
                  <a:gd name="connsiteY36" fmla="*/ 353060 h 655320"/>
                  <a:gd name="connsiteX37" fmla="*/ 27032 w 2383532"/>
                  <a:gd name="connsiteY37" fmla="*/ 259080 h 655320"/>
                  <a:gd name="connsiteX38" fmla="*/ 120377 w 2383532"/>
                  <a:gd name="connsiteY38" fmla="*/ 167640 h 655320"/>
                  <a:gd name="connsiteX39" fmla="*/ 143237 w 2383532"/>
                  <a:gd name="connsiteY39" fmla="*/ 160020 h 655320"/>
                  <a:gd name="connsiteX40" fmla="*/ 173717 w 2383532"/>
                  <a:gd name="connsiteY40" fmla="*/ 144780 h 655320"/>
                  <a:gd name="connsiteX41" fmla="*/ 211817 w 2383532"/>
                  <a:gd name="connsiteY41" fmla="*/ 129540 h 655320"/>
                  <a:gd name="connsiteX42" fmla="*/ 272777 w 2383532"/>
                  <a:gd name="connsiteY42" fmla="*/ 99060 h 655320"/>
                  <a:gd name="connsiteX43" fmla="*/ 348977 w 2383532"/>
                  <a:gd name="connsiteY43" fmla="*/ 68580 h 655320"/>
                  <a:gd name="connsiteX44" fmla="*/ 432797 w 2383532"/>
                  <a:gd name="connsiteY44" fmla="*/ 60960 h 655320"/>
                  <a:gd name="connsiteX45" fmla="*/ 478517 w 2383532"/>
                  <a:gd name="connsiteY45" fmla="*/ 53340 h 655320"/>
                  <a:gd name="connsiteX46" fmla="*/ 615677 w 2383532"/>
                  <a:gd name="connsiteY46" fmla="*/ 45720 h 655320"/>
                  <a:gd name="connsiteX47" fmla="*/ 699497 w 2383532"/>
                  <a:gd name="connsiteY47" fmla="*/ 30480 h 655320"/>
                  <a:gd name="connsiteX48" fmla="*/ 737597 w 2383532"/>
                  <a:gd name="connsiteY48" fmla="*/ 22860 h 655320"/>
                  <a:gd name="connsiteX49" fmla="*/ 1019537 w 2383532"/>
                  <a:gd name="connsiteY4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284457 w 2383532"/>
                  <a:gd name="connsiteY14" fmla="*/ 205740 h 655320"/>
                  <a:gd name="connsiteX15" fmla="*/ 2360657 w 2383532"/>
                  <a:gd name="connsiteY15" fmla="*/ 243840 h 655320"/>
                  <a:gd name="connsiteX16" fmla="*/ 2383517 w 2383532"/>
                  <a:gd name="connsiteY16" fmla="*/ 289560 h 655320"/>
                  <a:gd name="connsiteX17" fmla="*/ 2360657 w 2383532"/>
                  <a:gd name="connsiteY17" fmla="*/ 403860 h 655320"/>
                  <a:gd name="connsiteX18" fmla="*/ 2276837 w 2383532"/>
                  <a:gd name="connsiteY18" fmla="*/ 457200 h 655320"/>
                  <a:gd name="connsiteX19" fmla="*/ 2238737 w 2383532"/>
                  <a:gd name="connsiteY19" fmla="*/ 480060 h 655320"/>
                  <a:gd name="connsiteX20" fmla="*/ 2162537 w 2383532"/>
                  <a:gd name="connsiteY20" fmla="*/ 510540 h 655320"/>
                  <a:gd name="connsiteX21" fmla="*/ 2078717 w 2383532"/>
                  <a:gd name="connsiteY21" fmla="*/ 548640 h 655320"/>
                  <a:gd name="connsiteX22" fmla="*/ 2002517 w 2383532"/>
                  <a:gd name="connsiteY22" fmla="*/ 579120 h 655320"/>
                  <a:gd name="connsiteX23" fmla="*/ 1872977 w 2383532"/>
                  <a:gd name="connsiteY23" fmla="*/ 609600 h 655320"/>
                  <a:gd name="connsiteX24" fmla="*/ 1796777 w 2383532"/>
                  <a:gd name="connsiteY24" fmla="*/ 624840 h 655320"/>
                  <a:gd name="connsiteX25" fmla="*/ 1377677 w 2383532"/>
                  <a:gd name="connsiteY25" fmla="*/ 647700 h 655320"/>
                  <a:gd name="connsiteX26" fmla="*/ 1263377 w 2383532"/>
                  <a:gd name="connsiteY26" fmla="*/ 655320 h 655320"/>
                  <a:gd name="connsiteX27" fmla="*/ 928097 w 2383532"/>
                  <a:gd name="connsiteY27" fmla="*/ 640080 h 655320"/>
                  <a:gd name="connsiteX28" fmla="*/ 859517 w 2383532"/>
                  <a:gd name="connsiteY28" fmla="*/ 624840 h 655320"/>
                  <a:gd name="connsiteX29" fmla="*/ 501377 w 2383532"/>
                  <a:gd name="connsiteY29" fmla="*/ 594360 h 655320"/>
                  <a:gd name="connsiteX30" fmla="*/ 265157 w 2383532"/>
                  <a:gd name="connsiteY30" fmla="*/ 548640 h 655320"/>
                  <a:gd name="connsiteX31" fmla="*/ 204197 w 2383532"/>
                  <a:gd name="connsiteY31" fmla="*/ 525780 h 655320"/>
                  <a:gd name="connsiteX32" fmla="*/ 97517 w 2383532"/>
                  <a:gd name="connsiteY32" fmla="*/ 480060 h 655320"/>
                  <a:gd name="connsiteX33" fmla="*/ 59417 w 2383532"/>
                  <a:gd name="connsiteY33" fmla="*/ 457200 h 655320"/>
                  <a:gd name="connsiteX34" fmla="*/ 6077 w 2383532"/>
                  <a:gd name="connsiteY34" fmla="*/ 403860 h 655320"/>
                  <a:gd name="connsiteX35" fmla="*/ 3537 w 2383532"/>
                  <a:gd name="connsiteY35" fmla="*/ 353060 h 655320"/>
                  <a:gd name="connsiteX36" fmla="*/ 27032 w 2383532"/>
                  <a:gd name="connsiteY36" fmla="*/ 259080 h 655320"/>
                  <a:gd name="connsiteX37" fmla="*/ 120377 w 2383532"/>
                  <a:gd name="connsiteY37" fmla="*/ 167640 h 655320"/>
                  <a:gd name="connsiteX38" fmla="*/ 143237 w 2383532"/>
                  <a:gd name="connsiteY38" fmla="*/ 160020 h 655320"/>
                  <a:gd name="connsiteX39" fmla="*/ 173717 w 2383532"/>
                  <a:gd name="connsiteY39" fmla="*/ 144780 h 655320"/>
                  <a:gd name="connsiteX40" fmla="*/ 211817 w 2383532"/>
                  <a:gd name="connsiteY40" fmla="*/ 129540 h 655320"/>
                  <a:gd name="connsiteX41" fmla="*/ 272777 w 2383532"/>
                  <a:gd name="connsiteY41" fmla="*/ 99060 h 655320"/>
                  <a:gd name="connsiteX42" fmla="*/ 348977 w 2383532"/>
                  <a:gd name="connsiteY42" fmla="*/ 68580 h 655320"/>
                  <a:gd name="connsiteX43" fmla="*/ 432797 w 2383532"/>
                  <a:gd name="connsiteY43" fmla="*/ 60960 h 655320"/>
                  <a:gd name="connsiteX44" fmla="*/ 478517 w 2383532"/>
                  <a:gd name="connsiteY44" fmla="*/ 53340 h 655320"/>
                  <a:gd name="connsiteX45" fmla="*/ 615677 w 2383532"/>
                  <a:gd name="connsiteY45" fmla="*/ 45720 h 655320"/>
                  <a:gd name="connsiteX46" fmla="*/ 699497 w 2383532"/>
                  <a:gd name="connsiteY46" fmla="*/ 30480 h 655320"/>
                  <a:gd name="connsiteX47" fmla="*/ 737597 w 2383532"/>
                  <a:gd name="connsiteY47" fmla="*/ 22860 h 655320"/>
                  <a:gd name="connsiteX48" fmla="*/ 1019537 w 2383532"/>
                  <a:gd name="connsiteY48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15877 w 2383532"/>
                  <a:gd name="connsiteY12" fmla="*/ 175260 h 655320"/>
                  <a:gd name="connsiteX13" fmla="*/ 2253977 w 2383532"/>
                  <a:gd name="connsiteY13" fmla="*/ 190500 h 655320"/>
                  <a:gd name="connsiteX14" fmla="*/ 2360657 w 2383532"/>
                  <a:gd name="connsiteY14" fmla="*/ 243840 h 655320"/>
                  <a:gd name="connsiteX15" fmla="*/ 2383517 w 2383532"/>
                  <a:gd name="connsiteY15" fmla="*/ 289560 h 655320"/>
                  <a:gd name="connsiteX16" fmla="*/ 2360657 w 2383532"/>
                  <a:gd name="connsiteY16" fmla="*/ 403860 h 655320"/>
                  <a:gd name="connsiteX17" fmla="*/ 2276837 w 2383532"/>
                  <a:gd name="connsiteY17" fmla="*/ 457200 h 655320"/>
                  <a:gd name="connsiteX18" fmla="*/ 2238737 w 2383532"/>
                  <a:gd name="connsiteY18" fmla="*/ 480060 h 655320"/>
                  <a:gd name="connsiteX19" fmla="*/ 2162537 w 2383532"/>
                  <a:gd name="connsiteY19" fmla="*/ 510540 h 655320"/>
                  <a:gd name="connsiteX20" fmla="*/ 2078717 w 2383532"/>
                  <a:gd name="connsiteY20" fmla="*/ 548640 h 655320"/>
                  <a:gd name="connsiteX21" fmla="*/ 2002517 w 2383532"/>
                  <a:gd name="connsiteY21" fmla="*/ 579120 h 655320"/>
                  <a:gd name="connsiteX22" fmla="*/ 1872977 w 2383532"/>
                  <a:gd name="connsiteY22" fmla="*/ 609600 h 655320"/>
                  <a:gd name="connsiteX23" fmla="*/ 1796777 w 2383532"/>
                  <a:gd name="connsiteY23" fmla="*/ 624840 h 655320"/>
                  <a:gd name="connsiteX24" fmla="*/ 1377677 w 2383532"/>
                  <a:gd name="connsiteY24" fmla="*/ 647700 h 655320"/>
                  <a:gd name="connsiteX25" fmla="*/ 1263377 w 2383532"/>
                  <a:gd name="connsiteY25" fmla="*/ 655320 h 655320"/>
                  <a:gd name="connsiteX26" fmla="*/ 928097 w 2383532"/>
                  <a:gd name="connsiteY26" fmla="*/ 640080 h 655320"/>
                  <a:gd name="connsiteX27" fmla="*/ 859517 w 2383532"/>
                  <a:gd name="connsiteY27" fmla="*/ 624840 h 655320"/>
                  <a:gd name="connsiteX28" fmla="*/ 501377 w 2383532"/>
                  <a:gd name="connsiteY28" fmla="*/ 594360 h 655320"/>
                  <a:gd name="connsiteX29" fmla="*/ 265157 w 2383532"/>
                  <a:gd name="connsiteY29" fmla="*/ 548640 h 655320"/>
                  <a:gd name="connsiteX30" fmla="*/ 204197 w 2383532"/>
                  <a:gd name="connsiteY30" fmla="*/ 525780 h 655320"/>
                  <a:gd name="connsiteX31" fmla="*/ 97517 w 2383532"/>
                  <a:gd name="connsiteY31" fmla="*/ 480060 h 655320"/>
                  <a:gd name="connsiteX32" fmla="*/ 59417 w 2383532"/>
                  <a:gd name="connsiteY32" fmla="*/ 457200 h 655320"/>
                  <a:gd name="connsiteX33" fmla="*/ 6077 w 2383532"/>
                  <a:gd name="connsiteY33" fmla="*/ 403860 h 655320"/>
                  <a:gd name="connsiteX34" fmla="*/ 3537 w 2383532"/>
                  <a:gd name="connsiteY34" fmla="*/ 353060 h 655320"/>
                  <a:gd name="connsiteX35" fmla="*/ 27032 w 2383532"/>
                  <a:gd name="connsiteY35" fmla="*/ 259080 h 655320"/>
                  <a:gd name="connsiteX36" fmla="*/ 120377 w 2383532"/>
                  <a:gd name="connsiteY36" fmla="*/ 167640 h 655320"/>
                  <a:gd name="connsiteX37" fmla="*/ 143237 w 2383532"/>
                  <a:gd name="connsiteY37" fmla="*/ 160020 h 655320"/>
                  <a:gd name="connsiteX38" fmla="*/ 173717 w 2383532"/>
                  <a:gd name="connsiteY38" fmla="*/ 144780 h 655320"/>
                  <a:gd name="connsiteX39" fmla="*/ 211817 w 2383532"/>
                  <a:gd name="connsiteY39" fmla="*/ 129540 h 655320"/>
                  <a:gd name="connsiteX40" fmla="*/ 272777 w 2383532"/>
                  <a:gd name="connsiteY40" fmla="*/ 99060 h 655320"/>
                  <a:gd name="connsiteX41" fmla="*/ 348977 w 2383532"/>
                  <a:gd name="connsiteY41" fmla="*/ 68580 h 655320"/>
                  <a:gd name="connsiteX42" fmla="*/ 432797 w 2383532"/>
                  <a:gd name="connsiteY42" fmla="*/ 60960 h 655320"/>
                  <a:gd name="connsiteX43" fmla="*/ 478517 w 2383532"/>
                  <a:gd name="connsiteY43" fmla="*/ 53340 h 655320"/>
                  <a:gd name="connsiteX44" fmla="*/ 615677 w 2383532"/>
                  <a:gd name="connsiteY44" fmla="*/ 45720 h 655320"/>
                  <a:gd name="connsiteX45" fmla="*/ 699497 w 2383532"/>
                  <a:gd name="connsiteY45" fmla="*/ 30480 h 655320"/>
                  <a:gd name="connsiteX46" fmla="*/ 737597 w 2383532"/>
                  <a:gd name="connsiteY46" fmla="*/ 22860 h 655320"/>
                  <a:gd name="connsiteX47" fmla="*/ 1019537 w 2383532"/>
                  <a:gd name="connsiteY47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773917 w 2383532"/>
                  <a:gd name="connsiteY7" fmla="*/ 68580 h 655320"/>
                  <a:gd name="connsiteX8" fmla="*/ 1857737 w 2383532"/>
                  <a:gd name="connsiteY8" fmla="*/ 76200 h 655320"/>
                  <a:gd name="connsiteX9" fmla="*/ 2040617 w 2383532"/>
                  <a:gd name="connsiteY9" fmla="*/ 99060 h 655320"/>
                  <a:gd name="connsiteX10" fmla="*/ 2116817 w 2383532"/>
                  <a:gd name="connsiteY10" fmla="*/ 129540 h 655320"/>
                  <a:gd name="connsiteX11" fmla="*/ 2177777 w 2383532"/>
                  <a:gd name="connsiteY11" fmla="*/ 152400 h 655320"/>
                  <a:gd name="connsiteX12" fmla="*/ 2253977 w 2383532"/>
                  <a:gd name="connsiteY12" fmla="*/ 190500 h 655320"/>
                  <a:gd name="connsiteX13" fmla="*/ 2360657 w 2383532"/>
                  <a:gd name="connsiteY13" fmla="*/ 243840 h 655320"/>
                  <a:gd name="connsiteX14" fmla="*/ 2383517 w 2383532"/>
                  <a:gd name="connsiteY14" fmla="*/ 289560 h 655320"/>
                  <a:gd name="connsiteX15" fmla="*/ 2360657 w 2383532"/>
                  <a:gd name="connsiteY15" fmla="*/ 403860 h 655320"/>
                  <a:gd name="connsiteX16" fmla="*/ 2276837 w 2383532"/>
                  <a:gd name="connsiteY16" fmla="*/ 457200 h 655320"/>
                  <a:gd name="connsiteX17" fmla="*/ 2238737 w 2383532"/>
                  <a:gd name="connsiteY17" fmla="*/ 480060 h 655320"/>
                  <a:gd name="connsiteX18" fmla="*/ 2162537 w 2383532"/>
                  <a:gd name="connsiteY18" fmla="*/ 510540 h 655320"/>
                  <a:gd name="connsiteX19" fmla="*/ 2078717 w 2383532"/>
                  <a:gd name="connsiteY19" fmla="*/ 548640 h 655320"/>
                  <a:gd name="connsiteX20" fmla="*/ 2002517 w 2383532"/>
                  <a:gd name="connsiteY20" fmla="*/ 579120 h 655320"/>
                  <a:gd name="connsiteX21" fmla="*/ 1872977 w 2383532"/>
                  <a:gd name="connsiteY21" fmla="*/ 609600 h 655320"/>
                  <a:gd name="connsiteX22" fmla="*/ 1796777 w 2383532"/>
                  <a:gd name="connsiteY22" fmla="*/ 624840 h 655320"/>
                  <a:gd name="connsiteX23" fmla="*/ 1377677 w 2383532"/>
                  <a:gd name="connsiteY23" fmla="*/ 647700 h 655320"/>
                  <a:gd name="connsiteX24" fmla="*/ 1263377 w 2383532"/>
                  <a:gd name="connsiteY24" fmla="*/ 655320 h 655320"/>
                  <a:gd name="connsiteX25" fmla="*/ 928097 w 2383532"/>
                  <a:gd name="connsiteY25" fmla="*/ 640080 h 655320"/>
                  <a:gd name="connsiteX26" fmla="*/ 859517 w 2383532"/>
                  <a:gd name="connsiteY26" fmla="*/ 624840 h 655320"/>
                  <a:gd name="connsiteX27" fmla="*/ 501377 w 2383532"/>
                  <a:gd name="connsiteY27" fmla="*/ 594360 h 655320"/>
                  <a:gd name="connsiteX28" fmla="*/ 265157 w 2383532"/>
                  <a:gd name="connsiteY28" fmla="*/ 548640 h 655320"/>
                  <a:gd name="connsiteX29" fmla="*/ 204197 w 2383532"/>
                  <a:gd name="connsiteY29" fmla="*/ 525780 h 655320"/>
                  <a:gd name="connsiteX30" fmla="*/ 97517 w 2383532"/>
                  <a:gd name="connsiteY30" fmla="*/ 480060 h 655320"/>
                  <a:gd name="connsiteX31" fmla="*/ 59417 w 2383532"/>
                  <a:gd name="connsiteY31" fmla="*/ 457200 h 655320"/>
                  <a:gd name="connsiteX32" fmla="*/ 6077 w 2383532"/>
                  <a:gd name="connsiteY32" fmla="*/ 403860 h 655320"/>
                  <a:gd name="connsiteX33" fmla="*/ 3537 w 2383532"/>
                  <a:gd name="connsiteY33" fmla="*/ 353060 h 655320"/>
                  <a:gd name="connsiteX34" fmla="*/ 27032 w 2383532"/>
                  <a:gd name="connsiteY34" fmla="*/ 259080 h 655320"/>
                  <a:gd name="connsiteX35" fmla="*/ 120377 w 2383532"/>
                  <a:gd name="connsiteY35" fmla="*/ 167640 h 655320"/>
                  <a:gd name="connsiteX36" fmla="*/ 143237 w 2383532"/>
                  <a:gd name="connsiteY36" fmla="*/ 160020 h 655320"/>
                  <a:gd name="connsiteX37" fmla="*/ 173717 w 2383532"/>
                  <a:gd name="connsiteY37" fmla="*/ 144780 h 655320"/>
                  <a:gd name="connsiteX38" fmla="*/ 211817 w 2383532"/>
                  <a:gd name="connsiteY38" fmla="*/ 129540 h 655320"/>
                  <a:gd name="connsiteX39" fmla="*/ 272777 w 2383532"/>
                  <a:gd name="connsiteY39" fmla="*/ 99060 h 655320"/>
                  <a:gd name="connsiteX40" fmla="*/ 348977 w 2383532"/>
                  <a:gd name="connsiteY40" fmla="*/ 68580 h 655320"/>
                  <a:gd name="connsiteX41" fmla="*/ 432797 w 2383532"/>
                  <a:gd name="connsiteY41" fmla="*/ 60960 h 655320"/>
                  <a:gd name="connsiteX42" fmla="*/ 478517 w 2383532"/>
                  <a:gd name="connsiteY42" fmla="*/ 53340 h 655320"/>
                  <a:gd name="connsiteX43" fmla="*/ 615677 w 2383532"/>
                  <a:gd name="connsiteY43" fmla="*/ 45720 h 655320"/>
                  <a:gd name="connsiteX44" fmla="*/ 699497 w 2383532"/>
                  <a:gd name="connsiteY44" fmla="*/ 30480 h 655320"/>
                  <a:gd name="connsiteX45" fmla="*/ 737597 w 2383532"/>
                  <a:gd name="connsiteY45" fmla="*/ 22860 h 655320"/>
                  <a:gd name="connsiteX46" fmla="*/ 1019537 w 2383532"/>
                  <a:gd name="connsiteY46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583417 w 2383532"/>
                  <a:gd name="connsiteY4" fmla="*/ 22860 h 655320"/>
                  <a:gd name="connsiteX5" fmla="*/ 1659617 w 2383532"/>
                  <a:gd name="connsiteY5" fmla="*/ 30480 h 655320"/>
                  <a:gd name="connsiteX6" fmla="*/ 1743437 w 2383532"/>
                  <a:gd name="connsiteY6" fmla="*/ 53340 h 655320"/>
                  <a:gd name="connsiteX7" fmla="*/ 1857737 w 2383532"/>
                  <a:gd name="connsiteY7" fmla="*/ 76200 h 655320"/>
                  <a:gd name="connsiteX8" fmla="*/ 2040617 w 2383532"/>
                  <a:gd name="connsiteY8" fmla="*/ 99060 h 655320"/>
                  <a:gd name="connsiteX9" fmla="*/ 2116817 w 2383532"/>
                  <a:gd name="connsiteY9" fmla="*/ 129540 h 655320"/>
                  <a:gd name="connsiteX10" fmla="*/ 2177777 w 2383532"/>
                  <a:gd name="connsiteY10" fmla="*/ 152400 h 655320"/>
                  <a:gd name="connsiteX11" fmla="*/ 2253977 w 2383532"/>
                  <a:gd name="connsiteY11" fmla="*/ 190500 h 655320"/>
                  <a:gd name="connsiteX12" fmla="*/ 2360657 w 2383532"/>
                  <a:gd name="connsiteY12" fmla="*/ 243840 h 655320"/>
                  <a:gd name="connsiteX13" fmla="*/ 2383517 w 2383532"/>
                  <a:gd name="connsiteY13" fmla="*/ 289560 h 655320"/>
                  <a:gd name="connsiteX14" fmla="*/ 2360657 w 2383532"/>
                  <a:gd name="connsiteY14" fmla="*/ 403860 h 655320"/>
                  <a:gd name="connsiteX15" fmla="*/ 2276837 w 2383532"/>
                  <a:gd name="connsiteY15" fmla="*/ 457200 h 655320"/>
                  <a:gd name="connsiteX16" fmla="*/ 2238737 w 2383532"/>
                  <a:gd name="connsiteY16" fmla="*/ 480060 h 655320"/>
                  <a:gd name="connsiteX17" fmla="*/ 2162537 w 2383532"/>
                  <a:gd name="connsiteY17" fmla="*/ 510540 h 655320"/>
                  <a:gd name="connsiteX18" fmla="*/ 2078717 w 2383532"/>
                  <a:gd name="connsiteY18" fmla="*/ 548640 h 655320"/>
                  <a:gd name="connsiteX19" fmla="*/ 2002517 w 2383532"/>
                  <a:gd name="connsiteY19" fmla="*/ 579120 h 655320"/>
                  <a:gd name="connsiteX20" fmla="*/ 1872977 w 2383532"/>
                  <a:gd name="connsiteY20" fmla="*/ 609600 h 655320"/>
                  <a:gd name="connsiteX21" fmla="*/ 1796777 w 2383532"/>
                  <a:gd name="connsiteY21" fmla="*/ 624840 h 655320"/>
                  <a:gd name="connsiteX22" fmla="*/ 1377677 w 2383532"/>
                  <a:gd name="connsiteY22" fmla="*/ 647700 h 655320"/>
                  <a:gd name="connsiteX23" fmla="*/ 1263377 w 2383532"/>
                  <a:gd name="connsiteY23" fmla="*/ 655320 h 655320"/>
                  <a:gd name="connsiteX24" fmla="*/ 928097 w 2383532"/>
                  <a:gd name="connsiteY24" fmla="*/ 640080 h 655320"/>
                  <a:gd name="connsiteX25" fmla="*/ 859517 w 2383532"/>
                  <a:gd name="connsiteY25" fmla="*/ 624840 h 655320"/>
                  <a:gd name="connsiteX26" fmla="*/ 501377 w 2383532"/>
                  <a:gd name="connsiteY26" fmla="*/ 594360 h 655320"/>
                  <a:gd name="connsiteX27" fmla="*/ 265157 w 2383532"/>
                  <a:gd name="connsiteY27" fmla="*/ 548640 h 655320"/>
                  <a:gd name="connsiteX28" fmla="*/ 204197 w 2383532"/>
                  <a:gd name="connsiteY28" fmla="*/ 525780 h 655320"/>
                  <a:gd name="connsiteX29" fmla="*/ 97517 w 2383532"/>
                  <a:gd name="connsiteY29" fmla="*/ 480060 h 655320"/>
                  <a:gd name="connsiteX30" fmla="*/ 59417 w 2383532"/>
                  <a:gd name="connsiteY30" fmla="*/ 457200 h 655320"/>
                  <a:gd name="connsiteX31" fmla="*/ 6077 w 2383532"/>
                  <a:gd name="connsiteY31" fmla="*/ 403860 h 655320"/>
                  <a:gd name="connsiteX32" fmla="*/ 3537 w 2383532"/>
                  <a:gd name="connsiteY32" fmla="*/ 353060 h 655320"/>
                  <a:gd name="connsiteX33" fmla="*/ 27032 w 2383532"/>
                  <a:gd name="connsiteY33" fmla="*/ 259080 h 655320"/>
                  <a:gd name="connsiteX34" fmla="*/ 120377 w 2383532"/>
                  <a:gd name="connsiteY34" fmla="*/ 167640 h 655320"/>
                  <a:gd name="connsiteX35" fmla="*/ 143237 w 2383532"/>
                  <a:gd name="connsiteY35" fmla="*/ 160020 h 655320"/>
                  <a:gd name="connsiteX36" fmla="*/ 173717 w 2383532"/>
                  <a:gd name="connsiteY36" fmla="*/ 144780 h 655320"/>
                  <a:gd name="connsiteX37" fmla="*/ 211817 w 2383532"/>
                  <a:gd name="connsiteY37" fmla="*/ 129540 h 655320"/>
                  <a:gd name="connsiteX38" fmla="*/ 272777 w 2383532"/>
                  <a:gd name="connsiteY38" fmla="*/ 99060 h 655320"/>
                  <a:gd name="connsiteX39" fmla="*/ 348977 w 2383532"/>
                  <a:gd name="connsiteY39" fmla="*/ 68580 h 655320"/>
                  <a:gd name="connsiteX40" fmla="*/ 432797 w 2383532"/>
                  <a:gd name="connsiteY40" fmla="*/ 60960 h 655320"/>
                  <a:gd name="connsiteX41" fmla="*/ 478517 w 2383532"/>
                  <a:gd name="connsiteY41" fmla="*/ 53340 h 655320"/>
                  <a:gd name="connsiteX42" fmla="*/ 615677 w 2383532"/>
                  <a:gd name="connsiteY42" fmla="*/ 45720 h 655320"/>
                  <a:gd name="connsiteX43" fmla="*/ 699497 w 2383532"/>
                  <a:gd name="connsiteY43" fmla="*/ 30480 h 655320"/>
                  <a:gd name="connsiteX44" fmla="*/ 737597 w 2383532"/>
                  <a:gd name="connsiteY44" fmla="*/ 22860 h 655320"/>
                  <a:gd name="connsiteX45" fmla="*/ 1019537 w 2383532"/>
                  <a:gd name="connsiteY45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43237 w 2383532"/>
                  <a:gd name="connsiteY34" fmla="*/ 160020 h 655320"/>
                  <a:gd name="connsiteX35" fmla="*/ 173717 w 2383532"/>
                  <a:gd name="connsiteY35" fmla="*/ 144780 h 655320"/>
                  <a:gd name="connsiteX36" fmla="*/ 211817 w 2383532"/>
                  <a:gd name="connsiteY36" fmla="*/ 129540 h 655320"/>
                  <a:gd name="connsiteX37" fmla="*/ 272777 w 2383532"/>
                  <a:gd name="connsiteY37" fmla="*/ 99060 h 655320"/>
                  <a:gd name="connsiteX38" fmla="*/ 348977 w 2383532"/>
                  <a:gd name="connsiteY38" fmla="*/ 68580 h 655320"/>
                  <a:gd name="connsiteX39" fmla="*/ 432797 w 2383532"/>
                  <a:gd name="connsiteY39" fmla="*/ 60960 h 655320"/>
                  <a:gd name="connsiteX40" fmla="*/ 478517 w 2383532"/>
                  <a:gd name="connsiteY40" fmla="*/ 53340 h 655320"/>
                  <a:gd name="connsiteX41" fmla="*/ 615677 w 2383532"/>
                  <a:gd name="connsiteY41" fmla="*/ 45720 h 655320"/>
                  <a:gd name="connsiteX42" fmla="*/ 699497 w 2383532"/>
                  <a:gd name="connsiteY42" fmla="*/ 30480 h 655320"/>
                  <a:gd name="connsiteX43" fmla="*/ 737597 w 2383532"/>
                  <a:gd name="connsiteY43" fmla="*/ 22860 h 655320"/>
                  <a:gd name="connsiteX44" fmla="*/ 1019537 w 2383532"/>
                  <a:gd name="connsiteY44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43237 w 2383532"/>
                  <a:gd name="connsiteY34" fmla="*/ 160020 h 655320"/>
                  <a:gd name="connsiteX35" fmla="*/ 173717 w 2383532"/>
                  <a:gd name="connsiteY35" fmla="*/ 144780 h 655320"/>
                  <a:gd name="connsiteX36" fmla="*/ 211817 w 2383532"/>
                  <a:gd name="connsiteY36" fmla="*/ 129540 h 655320"/>
                  <a:gd name="connsiteX37" fmla="*/ 272777 w 2383532"/>
                  <a:gd name="connsiteY37" fmla="*/ 99060 h 655320"/>
                  <a:gd name="connsiteX38" fmla="*/ 348977 w 2383532"/>
                  <a:gd name="connsiteY38" fmla="*/ 68580 h 655320"/>
                  <a:gd name="connsiteX39" fmla="*/ 432797 w 2383532"/>
                  <a:gd name="connsiteY39" fmla="*/ 60960 h 655320"/>
                  <a:gd name="connsiteX40" fmla="*/ 478517 w 2383532"/>
                  <a:gd name="connsiteY40" fmla="*/ 53340 h 655320"/>
                  <a:gd name="connsiteX41" fmla="*/ 615677 w 2383532"/>
                  <a:gd name="connsiteY41" fmla="*/ 45720 h 655320"/>
                  <a:gd name="connsiteX42" fmla="*/ 737597 w 2383532"/>
                  <a:gd name="connsiteY42" fmla="*/ 22860 h 655320"/>
                  <a:gd name="connsiteX43" fmla="*/ 1019537 w 2383532"/>
                  <a:gd name="connsiteY43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43237 w 2383532"/>
                  <a:gd name="connsiteY34" fmla="*/ 160020 h 655320"/>
                  <a:gd name="connsiteX35" fmla="*/ 173717 w 2383532"/>
                  <a:gd name="connsiteY35" fmla="*/ 144780 h 655320"/>
                  <a:gd name="connsiteX36" fmla="*/ 211817 w 2383532"/>
                  <a:gd name="connsiteY36" fmla="*/ 129540 h 655320"/>
                  <a:gd name="connsiteX37" fmla="*/ 272777 w 2383532"/>
                  <a:gd name="connsiteY37" fmla="*/ 99060 h 655320"/>
                  <a:gd name="connsiteX38" fmla="*/ 432797 w 2383532"/>
                  <a:gd name="connsiteY38" fmla="*/ 60960 h 655320"/>
                  <a:gd name="connsiteX39" fmla="*/ 478517 w 2383532"/>
                  <a:gd name="connsiteY39" fmla="*/ 53340 h 655320"/>
                  <a:gd name="connsiteX40" fmla="*/ 615677 w 2383532"/>
                  <a:gd name="connsiteY40" fmla="*/ 45720 h 655320"/>
                  <a:gd name="connsiteX41" fmla="*/ 737597 w 2383532"/>
                  <a:gd name="connsiteY41" fmla="*/ 22860 h 655320"/>
                  <a:gd name="connsiteX42" fmla="*/ 1019537 w 2383532"/>
                  <a:gd name="connsiteY42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43237 w 2383532"/>
                  <a:gd name="connsiteY34" fmla="*/ 160020 h 655320"/>
                  <a:gd name="connsiteX35" fmla="*/ 173717 w 2383532"/>
                  <a:gd name="connsiteY35" fmla="*/ 144780 h 655320"/>
                  <a:gd name="connsiteX36" fmla="*/ 211817 w 2383532"/>
                  <a:gd name="connsiteY36" fmla="*/ 129540 h 655320"/>
                  <a:gd name="connsiteX37" fmla="*/ 432797 w 2383532"/>
                  <a:gd name="connsiteY37" fmla="*/ 60960 h 655320"/>
                  <a:gd name="connsiteX38" fmla="*/ 478517 w 2383532"/>
                  <a:gd name="connsiteY38" fmla="*/ 53340 h 655320"/>
                  <a:gd name="connsiteX39" fmla="*/ 615677 w 2383532"/>
                  <a:gd name="connsiteY39" fmla="*/ 45720 h 655320"/>
                  <a:gd name="connsiteX40" fmla="*/ 737597 w 2383532"/>
                  <a:gd name="connsiteY40" fmla="*/ 22860 h 655320"/>
                  <a:gd name="connsiteX41" fmla="*/ 1019537 w 2383532"/>
                  <a:gd name="connsiteY41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120377 w 2383532"/>
                  <a:gd name="connsiteY33" fmla="*/ 167640 h 655320"/>
                  <a:gd name="connsiteX34" fmla="*/ 173717 w 2383532"/>
                  <a:gd name="connsiteY34" fmla="*/ 144780 h 655320"/>
                  <a:gd name="connsiteX35" fmla="*/ 211817 w 2383532"/>
                  <a:gd name="connsiteY35" fmla="*/ 129540 h 655320"/>
                  <a:gd name="connsiteX36" fmla="*/ 432797 w 2383532"/>
                  <a:gd name="connsiteY36" fmla="*/ 60960 h 655320"/>
                  <a:gd name="connsiteX37" fmla="*/ 478517 w 2383532"/>
                  <a:gd name="connsiteY37" fmla="*/ 53340 h 655320"/>
                  <a:gd name="connsiteX38" fmla="*/ 615677 w 2383532"/>
                  <a:gd name="connsiteY38" fmla="*/ 45720 h 655320"/>
                  <a:gd name="connsiteX39" fmla="*/ 737597 w 2383532"/>
                  <a:gd name="connsiteY39" fmla="*/ 22860 h 655320"/>
                  <a:gd name="connsiteX40" fmla="*/ 1019537 w 2383532"/>
                  <a:gd name="connsiteY4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79102 w 2383532"/>
                  <a:gd name="connsiteY33" fmla="*/ 199390 h 655320"/>
                  <a:gd name="connsiteX34" fmla="*/ 173717 w 2383532"/>
                  <a:gd name="connsiteY34" fmla="*/ 144780 h 655320"/>
                  <a:gd name="connsiteX35" fmla="*/ 211817 w 2383532"/>
                  <a:gd name="connsiteY35" fmla="*/ 129540 h 655320"/>
                  <a:gd name="connsiteX36" fmla="*/ 432797 w 2383532"/>
                  <a:gd name="connsiteY36" fmla="*/ 60960 h 655320"/>
                  <a:gd name="connsiteX37" fmla="*/ 478517 w 2383532"/>
                  <a:gd name="connsiteY37" fmla="*/ 53340 h 655320"/>
                  <a:gd name="connsiteX38" fmla="*/ 615677 w 2383532"/>
                  <a:gd name="connsiteY38" fmla="*/ 45720 h 655320"/>
                  <a:gd name="connsiteX39" fmla="*/ 737597 w 2383532"/>
                  <a:gd name="connsiteY39" fmla="*/ 22860 h 655320"/>
                  <a:gd name="connsiteX40" fmla="*/ 1019537 w 2383532"/>
                  <a:gd name="connsiteY4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57737 w 2383532"/>
                  <a:gd name="connsiteY6" fmla="*/ 7620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79102 w 2383532"/>
                  <a:gd name="connsiteY33" fmla="*/ 199390 h 655320"/>
                  <a:gd name="connsiteX34" fmla="*/ 173717 w 2383532"/>
                  <a:gd name="connsiteY34" fmla="*/ 144780 h 655320"/>
                  <a:gd name="connsiteX35" fmla="*/ 211817 w 2383532"/>
                  <a:gd name="connsiteY35" fmla="*/ 129540 h 655320"/>
                  <a:gd name="connsiteX36" fmla="*/ 394697 w 2383532"/>
                  <a:gd name="connsiteY36" fmla="*/ 73660 h 655320"/>
                  <a:gd name="connsiteX37" fmla="*/ 478517 w 2383532"/>
                  <a:gd name="connsiteY37" fmla="*/ 53340 h 655320"/>
                  <a:gd name="connsiteX38" fmla="*/ 615677 w 2383532"/>
                  <a:gd name="connsiteY38" fmla="*/ 45720 h 655320"/>
                  <a:gd name="connsiteX39" fmla="*/ 737597 w 2383532"/>
                  <a:gd name="connsiteY39" fmla="*/ 22860 h 655320"/>
                  <a:gd name="connsiteX40" fmla="*/ 1019537 w 2383532"/>
                  <a:gd name="connsiteY4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1892662 w 2383532"/>
                  <a:gd name="connsiteY6" fmla="*/ 57150 h 655320"/>
                  <a:gd name="connsiteX7" fmla="*/ 2040617 w 2383532"/>
                  <a:gd name="connsiteY7" fmla="*/ 99060 h 655320"/>
                  <a:gd name="connsiteX8" fmla="*/ 2116817 w 2383532"/>
                  <a:gd name="connsiteY8" fmla="*/ 129540 h 655320"/>
                  <a:gd name="connsiteX9" fmla="*/ 2177777 w 2383532"/>
                  <a:gd name="connsiteY9" fmla="*/ 152400 h 655320"/>
                  <a:gd name="connsiteX10" fmla="*/ 2253977 w 2383532"/>
                  <a:gd name="connsiteY10" fmla="*/ 190500 h 655320"/>
                  <a:gd name="connsiteX11" fmla="*/ 2360657 w 2383532"/>
                  <a:gd name="connsiteY11" fmla="*/ 243840 h 655320"/>
                  <a:gd name="connsiteX12" fmla="*/ 2383517 w 2383532"/>
                  <a:gd name="connsiteY12" fmla="*/ 289560 h 655320"/>
                  <a:gd name="connsiteX13" fmla="*/ 2360657 w 2383532"/>
                  <a:gd name="connsiteY13" fmla="*/ 403860 h 655320"/>
                  <a:gd name="connsiteX14" fmla="*/ 2276837 w 2383532"/>
                  <a:gd name="connsiteY14" fmla="*/ 457200 h 655320"/>
                  <a:gd name="connsiteX15" fmla="*/ 2238737 w 2383532"/>
                  <a:gd name="connsiteY15" fmla="*/ 480060 h 655320"/>
                  <a:gd name="connsiteX16" fmla="*/ 2162537 w 2383532"/>
                  <a:gd name="connsiteY16" fmla="*/ 510540 h 655320"/>
                  <a:gd name="connsiteX17" fmla="*/ 2078717 w 2383532"/>
                  <a:gd name="connsiteY17" fmla="*/ 548640 h 655320"/>
                  <a:gd name="connsiteX18" fmla="*/ 2002517 w 2383532"/>
                  <a:gd name="connsiteY18" fmla="*/ 579120 h 655320"/>
                  <a:gd name="connsiteX19" fmla="*/ 1872977 w 2383532"/>
                  <a:gd name="connsiteY19" fmla="*/ 609600 h 655320"/>
                  <a:gd name="connsiteX20" fmla="*/ 1796777 w 2383532"/>
                  <a:gd name="connsiteY20" fmla="*/ 624840 h 655320"/>
                  <a:gd name="connsiteX21" fmla="*/ 1377677 w 2383532"/>
                  <a:gd name="connsiteY21" fmla="*/ 647700 h 655320"/>
                  <a:gd name="connsiteX22" fmla="*/ 1263377 w 2383532"/>
                  <a:gd name="connsiteY22" fmla="*/ 655320 h 655320"/>
                  <a:gd name="connsiteX23" fmla="*/ 928097 w 2383532"/>
                  <a:gd name="connsiteY23" fmla="*/ 640080 h 655320"/>
                  <a:gd name="connsiteX24" fmla="*/ 859517 w 2383532"/>
                  <a:gd name="connsiteY24" fmla="*/ 624840 h 655320"/>
                  <a:gd name="connsiteX25" fmla="*/ 501377 w 2383532"/>
                  <a:gd name="connsiteY25" fmla="*/ 594360 h 655320"/>
                  <a:gd name="connsiteX26" fmla="*/ 265157 w 2383532"/>
                  <a:gd name="connsiteY26" fmla="*/ 548640 h 655320"/>
                  <a:gd name="connsiteX27" fmla="*/ 204197 w 2383532"/>
                  <a:gd name="connsiteY27" fmla="*/ 525780 h 655320"/>
                  <a:gd name="connsiteX28" fmla="*/ 97517 w 2383532"/>
                  <a:gd name="connsiteY28" fmla="*/ 480060 h 655320"/>
                  <a:gd name="connsiteX29" fmla="*/ 59417 w 2383532"/>
                  <a:gd name="connsiteY29" fmla="*/ 457200 h 655320"/>
                  <a:gd name="connsiteX30" fmla="*/ 6077 w 2383532"/>
                  <a:gd name="connsiteY30" fmla="*/ 403860 h 655320"/>
                  <a:gd name="connsiteX31" fmla="*/ 3537 w 2383532"/>
                  <a:gd name="connsiteY31" fmla="*/ 353060 h 655320"/>
                  <a:gd name="connsiteX32" fmla="*/ 27032 w 2383532"/>
                  <a:gd name="connsiteY32" fmla="*/ 259080 h 655320"/>
                  <a:gd name="connsiteX33" fmla="*/ 79102 w 2383532"/>
                  <a:gd name="connsiteY33" fmla="*/ 199390 h 655320"/>
                  <a:gd name="connsiteX34" fmla="*/ 173717 w 2383532"/>
                  <a:gd name="connsiteY34" fmla="*/ 144780 h 655320"/>
                  <a:gd name="connsiteX35" fmla="*/ 211817 w 2383532"/>
                  <a:gd name="connsiteY35" fmla="*/ 129540 h 655320"/>
                  <a:gd name="connsiteX36" fmla="*/ 394697 w 2383532"/>
                  <a:gd name="connsiteY36" fmla="*/ 73660 h 655320"/>
                  <a:gd name="connsiteX37" fmla="*/ 478517 w 2383532"/>
                  <a:gd name="connsiteY37" fmla="*/ 53340 h 655320"/>
                  <a:gd name="connsiteX38" fmla="*/ 615677 w 2383532"/>
                  <a:gd name="connsiteY38" fmla="*/ 45720 h 655320"/>
                  <a:gd name="connsiteX39" fmla="*/ 737597 w 2383532"/>
                  <a:gd name="connsiteY39" fmla="*/ 22860 h 655320"/>
                  <a:gd name="connsiteX40" fmla="*/ 1019537 w 2383532"/>
                  <a:gd name="connsiteY40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177777 w 2383532"/>
                  <a:gd name="connsiteY8" fmla="*/ 152400 h 655320"/>
                  <a:gd name="connsiteX9" fmla="*/ 2253977 w 2383532"/>
                  <a:gd name="connsiteY9" fmla="*/ 190500 h 655320"/>
                  <a:gd name="connsiteX10" fmla="*/ 2360657 w 2383532"/>
                  <a:gd name="connsiteY10" fmla="*/ 243840 h 655320"/>
                  <a:gd name="connsiteX11" fmla="*/ 2383517 w 2383532"/>
                  <a:gd name="connsiteY11" fmla="*/ 289560 h 655320"/>
                  <a:gd name="connsiteX12" fmla="*/ 2360657 w 2383532"/>
                  <a:gd name="connsiteY12" fmla="*/ 403860 h 655320"/>
                  <a:gd name="connsiteX13" fmla="*/ 2276837 w 2383532"/>
                  <a:gd name="connsiteY13" fmla="*/ 457200 h 655320"/>
                  <a:gd name="connsiteX14" fmla="*/ 2238737 w 2383532"/>
                  <a:gd name="connsiteY14" fmla="*/ 480060 h 655320"/>
                  <a:gd name="connsiteX15" fmla="*/ 2162537 w 2383532"/>
                  <a:gd name="connsiteY15" fmla="*/ 510540 h 655320"/>
                  <a:gd name="connsiteX16" fmla="*/ 2078717 w 2383532"/>
                  <a:gd name="connsiteY16" fmla="*/ 548640 h 655320"/>
                  <a:gd name="connsiteX17" fmla="*/ 2002517 w 2383532"/>
                  <a:gd name="connsiteY17" fmla="*/ 579120 h 655320"/>
                  <a:gd name="connsiteX18" fmla="*/ 1872977 w 2383532"/>
                  <a:gd name="connsiteY18" fmla="*/ 609600 h 655320"/>
                  <a:gd name="connsiteX19" fmla="*/ 1796777 w 2383532"/>
                  <a:gd name="connsiteY19" fmla="*/ 624840 h 655320"/>
                  <a:gd name="connsiteX20" fmla="*/ 1377677 w 2383532"/>
                  <a:gd name="connsiteY20" fmla="*/ 647700 h 655320"/>
                  <a:gd name="connsiteX21" fmla="*/ 1263377 w 2383532"/>
                  <a:gd name="connsiteY21" fmla="*/ 655320 h 655320"/>
                  <a:gd name="connsiteX22" fmla="*/ 928097 w 2383532"/>
                  <a:gd name="connsiteY22" fmla="*/ 640080 h 655320"/>
                  <a:gd name="connsiteX23" fmla="*/ 859517 w 2383532"/>
                  <a:gd name="connsiteY23" fmla="*/ 624840 h 655320"/>
                  <a:gd name="connsiteX24" fmla="*/ 501377 w 2383532"/>
                  <a:gd name="connsiteY24" fmla="*/ 594360 h 655320"/>
                  <a:gd name="connsiteX25" fmla="*/ 265157 w 2383532"/>
                  <a:gd name="connsiteY25" fmla="*/ 548640 h 655320"/>
                  <a:gd name="connsiteX26" fmla="*/ 204197 w 2383532"/>
                  <a:gd name="connsiteY26" fmla="*/ 525780 h 655320"/>
                  <a:gd name="connsiteX27" fmla="*/ 97517 w 2383532"/>
                  <a:gd name="connsiteY27" fmla="*/ 480060 h 655320"/>
                  <a:gd name="connsiteX28" fmla="*/ 59417 w 2383532"/>
                  <a:gd name="connsiteY28" fmla="*/ 457200 h 655320"/>
                  <a:gd name="connsiteX29" fmla="*/ 6077 w 2383532"/>
                  <a:gd name="connsiteY29" fmla="*/ 403860 h 655320"/>
                  <a:gd name="connsiteX30" fmla="*/ 3537 w 2383532"/>
                  <a:gd name="connsiteY30" fmla="*/ 353060 h 655320"/>
                  <a:gd name="connsiteX31" fmla="*/ 27032 w 2383532"/>
                  <a:gd name="connsiteY31" fmla="*/ 259080 h 655320"/>
                  <a:gd name="connsiteX32" fmla="*/ 79102 w 2383532"/>
                  <a:gd name="connsiteY32" fmla="*/ 199390 h 655320"/>
                  <a:gd name="connsiteX33" fmla="*/ 173717 w 2383532"/>
                  <a:gd name="connsiteY33" fmla="*/ 144780 h 655320"/>
                  <a:gd name="connsiteX34" fmla="*/ 211817 w 2383532"/>
                  <a:gd name="connsiteY34" fmla="*/ 129540 h 655320"/>
                  <a:gd name="connsiteX35" fmla="*/ 394697 w 2383532"/>
                  <a:gd name="connsiteY35" fmla="*/ 73660 h 655320"/>
                  <a:gd name="connsiteX36" fmla="*/ 478517 w 2383532"/>
                  <a:gd name="connsiteY36" fmla="*/ 53340 h 655320"/>
                  <a:gd name="connsiteX37" fmla="*/ 615677 w 2383532"/>
                  <a:gd name="connsiteY37" fmla="*/ 45720 h 655320"/>
                  <a:gd name="connsiteX38" fmla="*/ 737597 w 2383532"/>
                  <a:gd name="connsiteY38" fmla="*/ 22860 h 655320"/>
                  <a:gd name="connsiteX39" fmla="*/ 1019537 w 2383532"/>
                  <a:gd name="connsiteY3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43437 w 2383532"/>
                  <a:gd name="connsiteY5" fmla="*/ 533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177777 w 2383532"/>
                  <a:gd name="connsiteY8" fmla="*/ 152400 h 655320"/>
                  <a:gd name="connsiteX9" fmla="*/ 2253977 w 2383532"/>
                  <a:gd name="connsiteY9" fmla="*/ 190500 h 655320"/>
                  <a:gd name="connsiteX10" fmla="*/ 2360657 w 2383532"/>
                  <a:gd name="connsiteY10" fmla="*/ 243840 h 655320"/>
                  <a:gd name="connsiteX11" fmla="*/ 2383517 w 2383532"/>
                  <a:gd name="connsiteY11" fmla="*/ 289560 h 655320"/>
                  <a:gd name="connsiteX12" fmla="*/ 2360657 w 2383532"/>
                  <a:gd name="connsiteY12" fmla="*/ 403860 h 655320"/>
                  <a:gd name="connsiteX13" fmla="*/ 2276837 w 2383532"/>
                  <a:gd name="connsiteY13" fmla="*/ 457200 h 655320"/>
                  <a:gd name="connsiteX14" fmla="*/ 2238737 w 2383532"/>
                  <a:gd name="connsiteY14" fmla="*/ 480060 h 655320"/>
                  <a:gd name="connsiteX15" fmla="*/ 2162537 w 2383532"/>
                  <a:gd name="connsiteY15" fmla="*/ 510540 h 655320"/>
                  <a:gd name="connsiteX16" fmla="*/ 2078717 w 2383532"/>
                  <a:gd name="connsiteY16" fmla="*/ 548640 h 655320"/>
                  <a:gd name="connsiteX17" fmla="*/ 2002517 w 2383532"/>
                  <a:gd name="connsiteY17" fmla="*/ 579120 h 655320"/>
                  <a:gd name="connsiteX18" fmla="*/ 1872977 w 2383532"/>
                  <a:gd name="connsiteY18" fmla="*/ 609600 h 655320"/>
                  <a:gd name="connsiteX19" fmla="*/ 1796777 w 2383532"/>
                  <a:gd name="connsiteY19" fmla="*/ 624840 h 655320"/>
                  <a:gd name="connsiteX20" fmla="*/ 1377677 w 2383532"/>
                  <a:gd name="connsiteY20" fmla="*/ 647700 h 655320"/>
                  <a:gd name="connsiteX21" fmla="*/ 1263377 w 2383532"/>
                  <a:gd name="connsiteY21" fmla="*/ 655320 h 655320"/>
                  <a:gd name="connsiteX22" fmla="*/ 928097 w 2383532"/>
                  <a:gd name="connsiteY22" fmla="*/ 640080 h 655320"/>
                  <a:gd name="connsiteX23" fmla="*/ 859517 w 2383532"/>
                  <a:gd name="connsiteY23" fmla="*/ 624840 h 655320"/>
                  <a:gd name="connsiteX24" fmla="*/ 501377 w 2383532"/>
                  <a:gd name="connsiteY24" fmla="*/ 594360 h 655320"/>
                  <a:gd name="connsiteX25" fmla="*/ 265157 w 2383532"/>
                  <a:gd name="connsiteY25" fmla="*/ 548640 h 655320"/>
                  <a:gd name="connsiteX26" fmla="*/ 204197 w 2383532"/>
                  <a:gd name="connsiteY26" fmla="*/ 525780 h 655320"/>
                  <a:gd name="connsiteX27" fmla="*/ 97517 w 2383532"/>
                  <a:gd name="connsiteY27" fmla="*/ 480060 h 655320"/>
                  <a:gd name="connsiteX28" fmla="*/ 59417 w 2383532"/>
                  <a:gd name="connsiteY28" fmla="*/ 457200 h 655320"/>
                  <a:gd name="connsiteX29" fmla="*/ 6077 w 2383532"/>
                  <a:gd name="connsiteY29" fmla="*/ 403860 h 655320"/>
                  <a:gd name="connsiteX30" fmla="*/ 3537 w 2383532"/>
                  <a:gd name="connsiteY30" fmla="*/ 353060 h 655320"/>
                  <a:gd name="connsiteX31" fmla="*/ 27032 w 2383532"/>
                  <a:gd name="connsiteY31" fmla="*/ 259080 h 655320"/>
                  <a:gd name="connsiteX32" fmla="*/ 79102 w 2383532"/>
                  <a:gd name="connsiteY32" fmla="*/ 199390 h 655320"/>
                  <a:gd name="connsiteX33" fmla="*/ 173717 w 2383532"/>
                  <a:gd name="connsiteY33" fmla="*/ 144780 h 655320"/>
                  <a:gd name="connsiteX34" fmla="*/ 211817 w 2383532"/>
                  <a:gd name="connsiteY34" fmla="*/ 129540 h 655320"/>
                  <a:gd name="connsiteX35" fmla="*/ 394697 w 2383532"/>
                  <a:gd name="connsiteY35" fmla="*/ 73660 h 655320"/>
                  <a:gd name="connsiteX36" fmla="*/ 478517 w 2383532"/>
                  <a:gd name="connsiteY36" fmla="*/ 53340 h 655320"/>
                  <a:gd name="connsiteX37" fmla="*/ 615677 w 2383532"/>
                  <a:gd name="connsiteY37" fmla="*/ 45720 h 655320"/>
                  <a:gd name="connsiteX38" fmla="*/ 737597 w 2383532"/>
                  <a:gd name="connsiteY38" fmla="*/ 22860 h 655320"/>
                  <a:gd name="connsiteX39" fmla="*/ 1019537 w 2383532"/>
                  <a:gd name="connsiteY3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177777 w 2383532"/>
                  <a:gd name="connsiteY8" fmla="*/ 152400 h 655320"/>
                  <a:gd name="connsiteX9" fmla="*/ 2253977 w 2383532"/>
                  <a:gd name="connsiteY9" fmla="*/ 190500 h 655320"/>
                  <a:gd name="connsiteX10" fmla="*/ 2360657 w 2383532"/>
                  <a:gd name="connsiteY10" fmla="*/ 243840 h 655320"/>
                  <a:gd name="connsiteX11" fmla="*/ 2383517 w 2383532"/>
                  <a:gd name="connsiteY11" fmla="*/ 289560 h 655320"/>
                  <a:gd name="connsiteX12" fmla="*/ 2360657 w 2383532"/>
                  <a:gd name="connsiteY12" fmla="*/ 403860 h 655320"/>
                  <a:gd name="connsiteX13" fmla="*/ 2276837 w 2383532"/>
                  <a:gd name="connsiteY13" fmla="*/ 457200 h 655320"/>
                  <a:gd name="connsiteX14" fmla="*/ 2238737 w 2383532"/>
                  <a:gd name="connsiteY14" fmla="*/ 480060 h 655320"/>
                  <a:gd name="connsiteX15" fmla="*/ 2162537 w 2383532"/>
                  <a:gd name="connsiteY15" fmla="*/ 510540 h 655320"/>
                  <a:gd name="connsiteX16" fmla="*/ 2078717 w 2383532"/>
                  <a:gd name="connsiteY16" fmla="*/ 548640 h 655320"/>
                  <a:gd name="connsiteX17" fmla="*/ 2002517 w 2383532"/>
                  <a:gd name="connsiteY17" fmla="*/ 579120 h 655320"/>
                  <a:gd name="connsiteX18" fmla="*/ 1872977 w 2383532"/>
                  <a:gd name="connsiteY18" fmla="*/ 609600 h 655320"/>
                  <a:gd name="connsiteX19" fmla="*/ 1796777 w 2383532"/>
                  <a:gd name="connsiteY19" fmla="*/ 624840 h 655320"/>
                  <a:gd name="connsiteX20" fmla="*/ 1377677 w 2383532"/>
                  <a:gd name="connsiteY20" fmla="*/ 647700 h 655320"/>
                  <a:gd name="connsiteX21" fmla="*/ 1263377 w 2383532"/>
                  <a:gd name="connsiteY21" fmla="*/ 655320 h 655320"/>
                  <a:gd name="connsiteX22" fmla="*/ 928097 w 2383532"/>
                  <a:gd name="connsiteY22" fmla="*/ 640080 h 655320"/>
                  <a:gd name="connsiteX23" fmla="*/ 859517 w 2383532"/>
                  <a:gd name="connsiteY23" fmla="*/ 624840 h 655320"/>
                  <a:gd name="connsiteX24" fmla="*/ 501377 w 2383532"/>
                  <a:gd name="connsiteY24" fmla="*/ 594360 h 655320"/>
                  <a:gd name="connsiteX25" fmla="*/ 265157 w 2383532"/>
                  <a:gd name="connsiteY25" fmla="*/ 548640 h 655320"/>
                  <a:gd name="connsiteX26" fmla="*/ 204197 w 2383532"/>
                  <a:gd name="connsiteY26" fmla="*/ 525780 h 655320"/>
                  <a:gd name="connsiteX27" fmla="*/ 97517 w 2383532"/>
                  <a:gd name="connsiteY27" fmla="*/ 480060 h 655320"/>
                  <a:gd name="connsiteX28" fmla="*/ 59417 w 2383532"/>
                  <a:gd name="connsiteY28" fmla="*/ 457200 h 655320"/>
                  <a:gd name="connsiteX29" fmla="*/ 6077 w 2383532"/>
                  <a:gd name="connsiteY29" fmla="*/ 403860 h 655320"/>
                  <a:gd name="connsiteX30" fmla="*/ 3537 w 2383532"/>
                  <a:gd name="connsiteY30" fmla="*/ 353060 h 655320"/>
                  <a:gd name="connsiteX31" fmla="*/ 27032 w 2383532"/>
                  <a:gd name="connsiteY31" fmla="*/ 259080 h 655320"/>
                  <a:gd name="connsiteX32" fmla="*/ 79102 w 2383532"/>
                  <a:gd name="connsiteY32" fmla="*/ 199390 h 655320"/>
                  <a:gd name="connsiteX33" fmla="*/ 173717 w 2383532"/>
                  <a:gd name="connsiteY33" fmla="*/ 144780 h 655320"/>
                  <a:gd name="connsiteX34" fmla="*/ 211817 w 2383532"/>
                  <a:gd name="connsiteY34" fmla="*/ 129540 h 655320"/>
                  <a:gd name="connsiteX35" fmla="*/ 394697 w 2383532"/>
                  <a:gd name="connsiteY35" fmla="*/ 73660 h 655320"/>
                  <a:gd name="connsiteX36" fmla="*/ 478517 w 2383532"/>
                  <a:gd name="connsiteY36" fmla="*/ 53340 h 655320"/>
                  <a:gd name="connsiteX37" fmla="*/ 615677 w 2383532"/>
                  <a:gd name="connsiteY37" fmla="*/ 45720 h 655320"/>
                  <a:gd name="connsiteX38" fmla="*/ 737597 w 2383532"/>
                  <a:gd name="connsiteY38" fmla="*/ 22860 h 655320"/>
                  <a:gd name="connsiteX39" fmla="*/ 1019537 w 2383532"/>
                  <a:gd name="connsiteY3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177777 w 2383532"/>
                  <a:gd name="connsiteY8" fmla="*/ 152400 h 655320"/>
                  <a:gd name="connsiteX9" fmla="*/ 2273027 w 2383532"/>
                  <a:gd name="connsiteY9" fmla="*/ 180975 h 655320"/>
                  <a:gd name="connsiteX10" fmla="*/ 2360657 w 2383532"/>
                  <a:gd name="connsiteY10" fmla="*/ 243840 h 655320"/>
                  <a:gd name="connsiteX11" fmla="*/ 2383517 w 2383532"/>
                  <a:gd name="connsiteY11" fmla="*/ 289560 h 655320"/>
                  <a:gd name="connsiteX12" fmla="*/ 2360657 w 2383532"/>
                  <a:gd name="connsiteY12" fmla="*/ 403860 h 655320"/>
                  <a:gd name="connsiteX13" fmla="*/ 2276837 w 2383532"/>
                  <a:gd name="connsiteY13" fmla="*/ 457200 h 655320"/>
                  <a:gd name="connsiteX14" fmla="*/ 2238737 w 2383532"/>
                  <a:gd name="connsiteY14" fmla="*/ 480060 h 655320"/>
                  <a:gd name="connsiteX15" fmla="*/ 2162537 w 2383532"/>
                  <a:gd name="connsiteY15" fmla="*/ 510540 h 655320"/>
                  <a:gd name="connsiteX16" fmla="*/ 2078717 w 2383532"/>
                  <a:gd name="connsiteY16" fmla="*/ 548640 h 655320"/>
                  <a:gd name="connsiteX17" fmla="*/ 2002517 w 2383532"/>
                  <a:gd name="connsiteY17" fmla="*/ 579120 h 655320"/>
                  <a:gd name="connsiteX18" fmla="*/ 1872977 w 2383532"/>
                  <a:gd name="connsiteY18" fmla="*/ 609600 h 655320"/>
                  <a:gd name="connsiteX19" fmla="*/ 1796777 w 2383532"/>
                  <a:gd name="connsiteY19" fmla="*/ 624840 h 655320"/>
                  <a:gd name="connsiteX20" fmla="*/ 1377677 w 2383532"/>
                  <a:gd name="connsiteY20" fmla="*/ 647700 h 655320"/>
                  <a:gd name="connsiteX21" fmla="*/ 1263377 w 2383532"/>
                  <a:gd name="connsiteY21" fmla="*/ 655320 h 655320"/>
                  <a:gd name="connsiteX22" fmla="*/ 928097 w 2383532"/>
                  <a:gd name="connsiteY22" fmla="*/ 640080 h 655320"/>
                  <a:gd name="connsiteX23" fmla="*/ 859517 w 2383532"/>
                  <a:gd name="connsiteY23" fmla="*/ 624840 h 655320"/>
                  <a:gd name="connsiteX24" fmla="*/ 501377 w 2383532"/>
                  <a:gd name="connsiteY24" fmla="*/ 594360 h 655320"/>
                  <a:gd name="connsiteX25" fmla="*/ 265157 w 2383532"/>
                  <a:gd name="connsiteY25" fmla="*/ 548640 h 655320"/>
                  <a:gd name="connsiteX26" fmla="*/ 204197 w 2383532"/>
                  <a:gd name="connsiteY26" fmla="*/ 525780 h 655320"/>
                  <a:gd name="connsiteX27" fmla="*/ 97517 w 2383532"/>
                  <a:gd name="connsiteY27" fmla="*/ 480060 h 655320"/>
                  <a:gd name="connsiteX28" fmla="*/ 59417 w 2383532"/>
                  <a:gd name="connsiteY28" fmla="*/ 457200 h 655320"/>
                  <a:gd name="connsiteX29" fmla="*/ 6077 w 2383532"/>
                  <a:gd name="connsiteY29" fmla="*/ 403860 h 655320"/>
                  <a:gd name="connsiteX30" fmla="*/ 3537 w 2383532"/>
                  <a:gd name="connsiteY30" fmla="*/ 353060 h 655320"/>
                  <a:gd name="connsiteX31" fmla="*/ 27032 w 2383532"/>
                  <a:gd name="connsiteY31" fmla="*/ 259080 h 655320"/>
                  <a:gd name="connsiteX32" fmla="*/ 79102 w 2383532"/>
                  <a:gd name="connsiteY32" fmla="*/ 199390 h 655320"/>
                  <a:gd name="connsiteX33" fmla="*/ 173717 w 2383532"/>
                  <a:gd name="connsiteY33" fmla="*/ 144780 h 655320"/>
                  <a:gd name="connsiteX34" fmla="*/ 211817 w 2383532"/>
                  <a:gd name="connsiteY34" fmla="*/ 129540 h 655320"/>
                  <a:gd name="connsiteX35" fmla="*/ 394697 w 2383532"/>
                  <a:gd name="connsiteY35" fmla="*/ 73660 h 655320"/>
                  <a:gd name="connsiteX36" fmla="*/ 478517 w 2383532"/>
                  <a:gd name="connsiteY36" fmla="*/ 53340 h 655320"/>
                  <a:gd name="connsiteX37" fmla="*/ 615677 w 2383532"/>
                  <a:gd name="connsiteY37" fmla="*/ 45720 h 655320"/>
                  <a:gd name="connsiteX38" fmla="*/ 737597 w 2383532"/>
                  <a:gd name="connsiteY38" fmla="*/ 22860 h 655320"/>
                  <a:gd name="connsiteX39" fmla="*/ 1019537 w 2383532"/>
                  <a:gd name="connsiteY39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6817 w 2383532"/>
                  <a:gd name="connsiteY7" fmla="*/ 129540 h 655320"/>
                  <a:gd name="connsiteX8" fmla="*/ 2273027 w 2383532"/>
                  <a:gd name="connsiteY8" fmla="*/ 180975 h 655320"/>
                  <a:gd name="connsiteX9" fmla="*/ 2360657 w 2383532"/>
                  <a:gd name="connsiteY9" fmla="*/ 243840 h 655320"/>
                  <a:gd name="connsiteX10" fmla="*/ 2383517 w 2383532"/>
                  <a:gd name="connsiteY10" fmla="*/ 289560 h 655320"/>
                  <a:gd name="connsiteX11" fmla="*/ 2360657 w 2383532"/>
                  <a:gd name="connsiteY11" fmla="*/ 403860 h 655320"/>
                  <a:gd name="connsiteX12" fmla="*/ 2276837 w 2383532"/>
                  <a:gd name="connsiteY12" fmla="*/ 457200 h 655320"/>
                  <a:gd name="connsiteX13" fmla="*/ 2238737 w 2383532"/>
                  <a:gd name="connsiteY13" fmla="*/ 480060 h 655320"/>
                  <a:gd name="connsiteX14" fmla="*/ 2162537 w 2383532"/>
                  <a:gd name="connsiteY14" fmla="*/ 510540 h 655320"/>
                  <a:gd name="connsiteX15" fmla="*/ 2078717 w 2383532"/>
                  <a:gd name="connsiteY15" fmla="*/ 548640 h 655320"/>
                  <a:gd name="connsiteX16" fmla="*/ 2002517 w 2383532"/>
                  <a:gd name="connsiteY16" fmla="*/ 579120 h 655320"/>
                  <a:gd name="connsiteX17" fmla="*/ 1872977 w 2383532"/>
                  <a:gd name="connsiteY17" fmla="*/ 609600 h 655320"/>
                  <a:gd name="connsiteX18" fmla="*/ 1796777 w 2383532"/>
                  <a:gd name="connsiteY18" fmla="*/ 624840 h 655320"/>
                  <a:gd name="connsiteX19" fmla="*/ 1377677 w 2383532"/>
                  <a:gd name="connsiteY19" fmla="*/ 647700 h 655320"/>
                  <a:gd name="connsiteX20" fmla="*/ 1263377 w 2383532"/>
                  <a:gd name="connsiteY20" fmla="*/ 655320 h 655320"/>
                  <a:gd name="connsiteX21" fmla="*/ 928097 w 2383532"/>
                  <a:gd name="connsiteY21" fmla="*/ 640080 h 655320"/>
                  <a:gd name="connsiteX22" fmla="*/ 859517 w 2383532"/>
                  <a:gd name="connsiteY22" fmla="*/ 624840 h 655320"/>
                  <a:gd name="connsiteX23" fmla="*/ 501377 w 2383532"/>
                  <a:gd name="connsiteY23" fmla="*/ 594360 h 655320"/>
                  <a:gd name="connsiteX24" fmla="*/ 265157 w 2383532"/>
                  <a:gd name="connsiteY24" fmla="*/ 548640 h 655320"/>
                  <a:gd name="connsiteX25" fmla="*/ 204197 w 2383532"/>
                  <a:gd name="connsiteY25" fmla="*/ 525780 h 655320"/>
                  <a:gd name="connsiteX26" fmla="*/ 97517 w 2383532"/>
                  <a:gd name="connsiteY26" fmla="*/ 480060 h 655320"/>
                  <a:gd name="connsiteX27" fmla="*/ 59417 w 2383532"/>
                  <a:gd name="connsiteY27" fmla="*/ 457200 h 655320"/>
                  <a:gd name="connsiteX28" fmla="*/ 6077 w 2383532"/>
                  <a:gd name="connsiteY28" fmla="*/ 403860 h 655320"/>
                  <a:gd name="connsiteX29" fmla="*/ 3537 w 2383532"/>
                  <a:gd name="connsiteY29" fmla="*/ 353060 h 655320"/>
                  <a:gd name="connsiteX30" fmla="*/ 27032 w 2383532"/>
                  <a:gd name="connsiteY30" fmla="*/ 259080 h 655320"/>
                  <a:gd name="connsiteX31" fmla="*/ 79102 w 2383532"/>
                  <a:gd name="connsiteY31" fmla="*/ 199390 h 655320"/>
                  <a:gd name="connsiteX32" fmla="*/ 173717 w 2383532"/>
                  <a:gd name="connsiteY32" fmla="*/ 144780 h 655320"/>
                  <a:gd name="connsiteX33" fmla="*/ 211817 w 2383532"/>
                  <a:gd name="connsiteY33" fmla="*/ 129540 h 655320"/>
                  <a:gd name="connsiteX34" fmla="*/ 394697 w 2383532"/>
                  <a:gd name="connsiteY34" fmla="*/ 73660 h 655320"/>
                  <a:gd name="connsiteX35" fmla="*/ 478517 w 2383532"/>
                  <a:gd name="connsiteY35" fmla="*/ 53340 h 655320"/>
                  <a:gd name="connsiteX36" fmla="*/ 615677 w 2383532"/>
                  <a:gd name="connsiteY36" fmla="*/ 45720 h 655320"/>
                  <a:gd name="connsiteX37" fmla="*/ 737597 w 2383532"/>
                  <a:gd name="connsiteY37" fmla="*/ 22860 h 655320"/>
                  <a:gd name="connsiteX38" fmla="*/ 1019537 w 2383532"/>
                  <a:gd name="connsiteY38" fmla="*/ 30480 h 655320"/>
                  <a:gd name="connsiteX0" fmla="*/ 1019537 w 2383532"/>
                  <a:gd name="connsiteY0" fmla="*/ 30480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9992 w 2383532"/>
                  <a:gd name="connsiteY7" fmla="*/ 116840 h 655320"/>
                  <a:gd name="connsiteX8" fmla="*/ 2273027 w 2383532"/>
                  <a:gd name="connsiteY8" fmla="*/ 180975 h 655320"/>
                  <a:gd name="connsiteX9" fmla="*/ 2360657 w 2383532"/>
                  <a:gd name="connsiteY9" fmla="*/ 243840 h 655320"/>
                  <a:gd name="connsiteX10" fmla="*/ 2383517 w 2383532"/>
                  <a:gd name="connsiteY10" fmla="*/ 289560 h 655320"/>
                  <a:gd name="connsiteX11" fmla="*/ 2360657 w 2383532"/>
                  <a:gd name="connsiteY11" fmla="*/ 403860 h 655320"/>
                  <a:gd name="connsiteX12" fmla="*/ 2276837 w 2383532"/>
                  <a:gd name="connsiteY12" fmla="*/ 457200 h 655320"/>
                  <a:gd name="connsiteX13" fmla="*/ 2238737 w 2383532"/>
                  <a:gd name="connsiteY13" fmla="*/ 480060 h 655320"/>
                  <a:gd name="connsiteX14" fmla="*/ 2162537 w 2383532"/>
                  <a:gd name="connsiteY14" fmla="*/ 510540 h 655320"/>
                  <a:gd name="connsiteX15" fmla="*/ 2078717 w 2383532"/>
                  <a:gd name="connsiteY15" fmla="*/ 548640 h 655320"/>
                  <a:gd name="connsiteX16" fmla="*/ 2002517 w 2383532"/>
                  <a:gd name="connsiteY16" fmla="*/ 579120 h 655320"/>
                  <a:gd name="connsiteX17" fmla="*/ 1872977 w 2383532"/>
                  <a:gd name="connsiteY17" fmla="*/ 609600 h 655320"/>
                  <a:gd name="connsiteX18" fmla="*/ 1796777 w 2383532"/>
                  <a:gd name="connsiteY18" fmla="*/ 624840 h 655320"/>
                  <a:gd name="connsiteX19" fmla="*/ 1377677 w 2383532"/>
                  <a:gd name="connsiteY19" fmla="*/ 647700 h 655320"/>
                  <a:gd name="connsiteX20" fmla="*/ 1263377 w 2383532"/>
                  <a:gd name="connsiteY20" fmla="*/ 655320 h 655320"/>
                  <a:gd name="connsiteX21" fmla="*/ 928097 w 2383532"/>
                  <a:gd name="connsiteY21" fmla="*/ 640080 h 655320"/>
                  <a:gd name="connsiteX22" fmla="*/ 859517 w 2383532"/>
                  <a:gd name="connsiteY22" fmla="*/ 624840 h 655320"/>
                  <a:gd name="connsiteX23" fmla="*/ 501377 w 2383532"/>
                  <a:gd name="connsiteY23" fmla="*/ 594360 h 655320"/>
                  <a:gd name="connsiteX24" fmla="*/ 265157 w 2383532"/>
                  <a:gd name="connsiteY24" fmla="*/ 548640 h 655320"/>
                  <a:gd name="connsiteX25" fmla="*/ 204197 w 2383532"/>
                  <a:gd name="connsiteY25" fmla="*/ 525780 h 655320"/>
                  <a:gd name="connsiteX26" fmla="*/ 97517 w 2383532"/>
                  <a:gd name="connsiteY26" fmla="*/ 480060 h 655320"/>
                  <a:gd name="connsiteX27" fmla="*/ 59417 w 2383532"/>
                  <a:gd name="connsiteY27" fmla="*/ 457200 h 655320"/>
                  <a:gd name="connsiteX28" fmla="*/ 6077 w 2383532"/>
                  <a:gd name="connsiteY28" fmla="*/ 403860 h 655320"/>
                  <a:gd name="connsiteX29" fmla="*/ 3537 w 2383532"/>
                  <a:gd name="connsiteY29" fmla="*/ 353060 h 655320"/>
                  <a:gd name="connsiteX30" fmla="*/ 27032 w 2383532"/>
                  <a:gd name="connsiteY30" fmla="*/ 259080 h 655320"/>
                  <a:gd name="connsiteX31" fmla="*/ 79102 w 2383532"/>
                  <a:gd name="connsiteY31" fmla="*/ 199390 h 655320"/>
                  <a:gd name="connsiteX32" fmla="*/ 173717 w 2383532"/>
                  <a:gd name="connsiteY32" fmla="*/ 144780 h 655320"/>
                  <a:gd name="connsiteX33" fmla="*/ 211817 w 2383532"/>
                  <a:gd name="connsiteY33" fmla="*/ 129540 h 655320"/>
                  <a:gd name="connsiteX34" fmla="*/ 394697 w 2383532"/>
                  <a:gd name="connsiteY34" fmla="*/ 73660 h 655320"/>
                  <a:gd name="connsiteX35" fmla="*/ 478517 w 2383532"/>
                  <a:gd name="connsiteY35" fmla="*/ 53340 h 655320"/>
                  <a:gd name="connsiteX36" fmla="*/ 615677 w 2383532"/>
                  <a:gd name="connsiteY36" fmla="*/ 45720 h 655320"/>
                  <a:gd name="connsiteX37" fmla="*/ 737597 w 2383532"/>
                  <a:gd name="connsiteY37" fmla="*/ 22860 h 655320"/>
                  <a:gd name="connsiteX38" fmla="*/ 1019537 w 2383532"/>
                  <a:gd name="connsiteY38" fmla="*/ 30480 h 655320"/>
                  <a:gd name="connsiteX0" fmla="*/ 1019537 w 2383532"/>
                  <a:gd name="connsiteY0" fmla="*/ 14605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9992 w 2383532"/>
                  <a:gd name="connsiteY7" fmla="*/ 116840 h 655320"/>
                  <a:gd name="connsiteX8" fmla="*/ 2273027 w 2383532"/>
                  <a:gd name="connsiteY8" fmla="*/ 180975 h 655320"/>
                  <a:gd name="connsiteX9" fmla="*/ 2360657 w 2383532"/>
                  <a:gd name="connsiteY9" fmla="*/ 243840 h 655320"/>
                  <a:gd name="connsiteX10" fmla="*/ 2383517 w 2383532"/>
                  <a:gd name="connsiteY10" fmla="*/ 289560 h 655320"/>
                  <a:gd name="connsiteX11" fmla="*/ 2360657 w 2383532"/>
                  <a:gd name="connsiteY11" fmla="*/ 403860 h 655320"/>
                  <a:gd name="connsiteX12" fmla="*/ 2276837 w 2383532"/>
                  <a:gd name="connsiteY12" fmla="*/ 457200 h 655320"/>
                  <a:gd name="connsiteX13" fmla="*/ 2238737 w 2383532"/>
                  <a:gd name="connsiteY13" fmla="*/ 480060 h 655320"/>
                  <a:gd name="connsiteX14" fmla="*/ 2162537 w 2383532"/>
                  <a:gd name="connsiteY14" fmla="*/ 510540 h 655320"/>
                  <a:gd name="connsiteX15" fmla="*/ 2078717 w 2383532"/>
                  <a:gd name="connsiteY15" fmla="*/ 548640 h 655320"/>
                  <a:gd name="connsiteX16" fmla="*/ 2002517 w 2383532"/>
                  <a:gd name="connsiteY16" fmla="*/ 579120 h 655320"/>
                  <a:gd name="connsiteX17" fmla="*/ 1872977 w 2383532"/>
                  <a:gd name="connsiteY17" fmla="*/ 609600 h 655320"/>
                  <a:gd name="connsiteX18" fmla="*/ 1796777 w 2383532"/>
                  <a:gd name="connsiteY18" fmla="*/ 624840 h 655320"/>
                  <a:gd name="connsiteX19" fmla="*/ 1377677 w 2383532"/>
                  <a:gd name="connsiteY19" fmla="*/ 647700 h 655320"/>
                  <a:gd name="connsiteX20" fmla="*/ 1263377 w 2383532"/>
                  <a:gd name="connsiteY20" fmla="*/ 655320 h 655320"/>
                  <a:gd name="connsiteX21" fmla="*/ 928097 w 2383532"/>
                  <a:gd name="connsiteY21" fmla="*/ 640080 h 655320"/>
                  <a:gd name="connsiteX22" fmla="*/ 859517 w 2383532"/>
                  <a:gd name="connsiteY22" fmla="*/ 624840 h 655320"/>
                  <a:gd name="connsiteX23" fmla="*/ 501377 w 2383532"/>
                  <a:gd name="connsiteY23" fmla="*/ 594360 h 655320"/>
                  <a:gd name="connsiteX24" fmla="*/ 265157 w 2383532"/>
                  <a:gd name="connsiteY24" fmla="*/ 548640 h 655320"/>
                  <a:gd name="connsiteX25" fmla="*/ 204197 w 2383532"/>
                  <a:gd name="connsiteY25" fmla="*/ 525780 h 655320"/>
                  <a:gd name="connsiteX26" fmla="*/ 97517 w 2383532"/>
                  <a:gd name="connsiteY26" fmla="*/ 480060 h 655320"/>
                  <a:gd name="connsiteX27" fmla="*/ 59417 w 2383532"/>
                  <a:gd name="connsiteY27" fmla="*/ 457200 h 655320"/>
                  <a:gd name="connsiteX28" fmla="*/ 6077 w 2383532"/>
                  <a:gd name="connsiteY28" fmla="*/ 403860 h 655320"/>
                  <a:gd name="connsiteX29" fmla="*/ 3537 w 2383532"/>
                  <a:gd name="connsiteY29" fmla="*/ 353060 h 655320"/>
                  <a:gd name="connsiteX30" fmla="*/ 27032 w 2383532"/>
                  <a:gd name="connsiteY30" fmla="*/ 259080 h 655320"/>
                  <a:gd name="connsiteX31" fmla="*/ 79102 w 2383532"/>
                  <a:gd name="connsiteY31" fmla="*/ 199390 h 655320"/>
                  <a:gd name="connsiteX32" fmla="*/ 173717 w 2383532"/>
                  <a:gd name="connsiteY32" fmla="*/ 144780 h 655320"/>
                  <a:gd name="connsiteX33" fmla="*/ 211817 w 2383532"/>
                  <a:gd name="connsiteY33" fmla="*/ 129540 h 655320"/>
                  <a:gd name="connsiteX34" fmla="*/ 394697 w 2383532"/>
                  <a:gd name="connsiteY34" fmla="*/ 73660 h 655320"/>
                  <a:gd name="connsiteX35" fmla="*/ 478517 w 2383532"/>
                  <a:gd name="connsiteY35" fmla="*/ 53340 h 655320"/>
                  <a:gd name="connsiteX36" fmla="*/ 615677 w 2383532"/>
                  <a:gd name="connsiteY36" fmla="*/ 45720 h 655320"/>
                  <a:gd name="connsiteX37" fmla="*/ 737597 w 2383532"/>
                  <a:gd name="connsiteY37" fmla="*/ 22860 h 655320"/>
                  <a:gd name="connsiteX38" fmla="*/ 1019537 w 2383532"/>
                  <a:gd name="connsiteY38" fmla="*/ 14605 h 655320"/>
                  <a:gd name="connsiteX0" fmla="*/ 1019537 w 2383532"/>
                  <a:gd name="connsiteY0" fmla="*/ 14605 h 655320"/>
                  <a:gd name="connsiteX1" fmla="*/ 1065257 w 2383532"/>
                  <a:gd name="connsiteY1" fmla="*/ 15240 h 655320"/>
                  <a:gd name="connsiteX2" fmla="*/ 1210037 w 2383532"/>
                  <a:gd name="connsiteY2" fmla="*/ 0 h 655320"/>
                  <a:gd name="connsiteX3" fmla="*/ 1530077 w 2383532"/>
                  <a:gd name="connsiteY3" fmla="*/ 7620 h 655320"/>
                  <a:gd name="connsiteX4" fmla="*/ 1659617 w 2383532"/>
                  <a:gd name="connsiteY4" fmla="*/ 30480 h 655320"/>
                  <a:gd name="connsiteX5" fmla="*/ 1762487 w 2383532"/>
                  <a:gd name="connsiteY5" fmla="*/ 40640 h 655320"/>
                  <a:gd name="connsiteX6" fmla="*/ 2040617 w 2383532"/>
                  <a:gd name="connsiteY6" fmla="*/ 99060 h 655320"/>
                  <a:gd name="connsiteX7" fmla="*/ 2119992 w 2383532"/>
                  <a:gd name="connsiteY7" fmla="*/ 116840 h 655320"/>
                  <a:gd name="connsiteX8" fmla="*/ 2273027 w 2383532"/>
                  <a:gd name="connsiteY8" fmla="*/ 180975 h 655320"/>
                  <a:gd name="connsiteX9" fmla="*/ 2360657 w 2383532"/>
                  <a:gd name="connsiteY9" fmla="*/ 243840 h 655320"/>
                  <a:gd name="connsiteX10" fmla="*/ 2383517 w 2383532"/>
                  <a:gd name="connsiteY10" fmla="*/ 289560 h 655320"/>
                  <a:gd name="connsiteX11" fmla="*/ 2360657 w 2383532"/>
                  <a:gd name="connsiteY11" fmla="*/ 403860 h 655320"/>
                  <a:gd name="connsiteX12" fmla="*/ 2276837 w 2383532"/>
                  <a:gd name="connsiteY12" fmla="*/ 457200 h 655320"/>
                  <a:gd name="connsiteX13" fmla="*/ 2238737 w 2383532"/>
                  <a:gd name="connsiteY13" fmla="*/ 480060 h 655320"/>
                  <a:gd name="connsiteX14" fmla="*/ 2162537 w 2383532"/>
                  <a:gd name="connsiteY14" fmla="*/ 510540 h 655320"/>
                  <a:gd name="connsiteX15" fmla="*/ 2078717 w 2383532"/>
                  <a:gd name="connsiteY15" fmla="*/ 548640 h 655320"/>
                  <a:gd name="connsiteX16" fmla="*/ 2002517 w 2383532"/>
                  <a:gd name="connsiteY16" fmla="*/ 579120 h 655320"/>
                  <a:gd name="connsiteX17" fmla="*/ 1872977 w 2383532"/>
                  <a:gd name="connsiteY17" fmla="*/ 609600 h 655320"/>
                  <a:gd name="connsiteX18" fmla="*/ 1796777 w 2383532"/>
                  <a:gd name="connsiteY18" fmla="*/ 624840 h 655320"/>
                  <a:gd name="connsiteX19" fmla="*/ 1377677 w 2383532"/>
                  <a:gd name="connsiteY19" fmla="*/ 647700 h 655320"/>
                  <a:gd name="connsiteX20" fmla="*/ 1263377 w 2383532"/>
                  <a:gd name="connsiteY20" fmla="*/ 655320 h 655320"/>
                  <a:gd name="connsiteX21" fmla="*/ 928097 w 2383532"/>
                  <a:gd name="connsiteY21" fmla="*/ 640080 h 655320"/>
                  <a:gd name="connsiteX22" fmla="*/ 859517 w 2383532"/>
                  <a:gd name="connsiteY22" fmla="*/ 624840 h 655320"/>
                  <a:gd name="connsiteX23" fmla="*/ 501377 w 2383532"/>
                  <a:gd name="connsiteY23" fmla="*/ 594360 h 655320"/>
                  <a:gd name="connsiteX24" fmla="*/ 265157 w 2383532"/>
                  <a:gd name="connsiteY24" fmla="*/ 548640 h 655320"/>
                  <a:gd name="connsiteX25" fmla="*/ 204197 w 2383532"/>
                  <a:gd name="connsiteY25" fmla="*/ 525780 h 655320"/>
                  <a:gd name="connsiteX26" fmla="*/ 97517 w 2383532"/>
                  <a:gd name="connsiteY26" fmla="*/ 480060 h 655320"/>
                  <a:gd name="connsiteX27" fmla="*/ 59417 w 2383532"/>
                  <a:gd name="connsiteY27" fmla="*/ 457200 h 655320"/>
                  <a:gd name="connsiteX28" fmla="*/ 6077 w 2383532"/>
                  <a:gd name="connsiteY28" fmla="*/ 403860 h 655320"/>
                  <a:gd name="connsiteX29" fmla="*/ 3537 w 2383532"/>
                  <a:gd name="connsiteY29" fmla="*/ 353060 h 655320"/>
                  <a:gd name="connsiteX30" fmla="*/ 27032 w 2383532"/>
                  <a:gd name="connsiteY30" fmla="*/ 259080 h 655320"/>
                  <a:gd name="connsiteX31" fmla="*/ 79102 w 2383532"/>
                  <a:gd name="connsiteY31" fmla="*/ 199390 h 655320"/>
                  <a:gd name="connsiteX32" fmla="*/ 173717 w 2383532"/>
                  <a:gd name="connsiteY32" fmla="*/ 144780 h 655320"/>
                  <a:gd name="connsiteX33" fmla="*/ 211817 w 2383532"/>
                  <a:gd name="connsiteY33" fmla="*/ 129540 h 655320"/>
                  <a:gd name="connsiteX34" fmla="*/ 394697 w 2383532"/>
                  <a:gd name="connsiteY34" fmla="*/ 73660 h 655320"/>
                  <a:gd name="connsiteX35" fmla="*/ 615677 w 2383532"/>
                  <a:gd name="connsiteY35" fmla="*/ 45720 h 655320"/>
                  <a:gd name="connsiteX36" fmla="*/ 737597 w 2383532"/>
                  <a:gd name="connsiteY36" fmla="*/ 22860 h 655320"/>
                  <a:gd name="connsiteX37" fmla="*/ 1019537 w 2383532"/>
                  <a:gd name="connsiteY37" fmla="*/ 14605 h 655320"/>
                  <a:gd name="connsiteX0" fmla="*/ 1019537 w 2383532"/>
                  <a:gd name="connsiteY0" fmla="*/ 7435 h 648150"/>
                  <a:gd name="connsiteX1" fmla="*/ 1065257 w 2383532"/>
                  <a:gd name="connsiteY1" fmla="*/ 8070 h 648150"/>
                  <a:gd name="connsiteX2" fmla="*/ 1530077 w 2383532"/>
                  <a:gd name="connsiteY2" fmla="*/ 450 h 648150"/>
                  <a:gd name="connsiteX3" fmla="*/ 1659617 w 2383532"/>
                  <a:gd name="connsiteY3" fmla="*/ 23310 h 648150"/>
                  <a:gd name="connsiteX4" fmla="*/ 1762487 w 2383532"/>
                  <a:gd name="connsiteY4" fmla="*/ 33470 h 648150"/>
                  <a:gd name="connsiteX5" fmla="*/ 2040617 w 2383532"/>
                  <a:gd name="connsiteY5" fmla="*/ 91890 h 648150"/>
                  <a:gd name="connsiteX6" fmla="*/ 2119992 w 2383532"/>
                  <a:gd name="connsiteY6" fmla="*/ 109670 h 648150"/>
                  <a:gd name="connsiteX7" fmla="*/ 2273027 w 2383532"/>
                  <a:gd name="connsiteY7" fmla="*/ 173805 h 648150"/>
                  <a:gd name="connsiteX8" fmla="*/ 2360657 w 2383532"/>
                  <a:gd name="connsiteY8" fmla="*/ 236670 h 648150"/>
                  <a:gd name="connsiteX9" fmla="*/ 2383517 w 2383532"/>
                  <a:gd name="connsiteY9" fmla="*/ 282390 h 648150"/>
                  <a:gd name="connsiteX10" fmla="*/ 2360657 w 2383532"/>
                  <a:gd name="connsiteY10" fmla="*/ 396690 h 648150"/>
                  <a:gd name="connsiteX11" fmla="*/ 2276837 w 2383532"/>
                  <a:gd name="connsiteY11" fmla="*/ 450030 h 648150"/>
                  <a:gd name="connsiteX12" fmla="*/ 2238737 w 2383532"/>
                  <a:gd name="connsiteY12" fmla="*/ 472890 h 648150"/>
                  <a:gd name="connsiteX13" fmla="*/ 2162537 w 2383532"/>
                  <a:gd name="connsiteY13" fmla="*/ 503370 h 648150"/>
                  <a:gd name="connsiteX14" fmla="*/ 2078717 w 2383532"/>
                  <a:gd name="connsiteY14" fmla="*/ 541470 h 648150"/>
                  <a:gd name="connsiteX15" fmla="*/ 2002517 w 2383532"/>
                  <a:gd name="connsiteY15" fmla="*/ 571950 h 648150"/>
                  <a:gd name="connsiteX16" fmla="*/ 1872977 w 2383532"/>
                  <a:gd name="connsiteY16" fmla="*/ 602430 h 648150"/>
                  <a:gd name="connsiteX17" fmla="*/ 1796777 w 2383532"/>
                  <a:gd name="connsiteY17" fmla="*/ 617670 h 648150"/>
                  <a:gd name="connsiteX18" fmla="*/ 1377677 w 2383532"/>
                  <a:gd name="connsiteY18" fmla="*/ 640530 h 648150"/>
                  <a:gd name="connsiteX19" fmla="*/ 1263377 w 2383532"/>
                  <a:gd name="connsiteY19" fmla="*/ 648150 h 648150"/>
                  <a:gd name="connsiteX20" fmla="*/ 928097 w 2383532"/>
                  <a:gd name="connsiteY20" fmla="*/ 632910 h 648150"/>
                  <a:gd name="connsiteX21" fmla="*/ 859517 w 2383532"/>
                  <a:gd name="connsiteY21" fmla="*/ 617670 h 648150"/>
                  <a:gd name="connsiteX22" fmla="*/ 501377 w 2383532"/>
                  <a:gd name="connsiteY22" fmla="*/ 587190 h 648150"/>
                  <a:gd name="connsiteX23" fmla="*/ 265157 w 2383532"/>
                  <a:gd name="connsiteY23" fmla="*/ 541470 h 648150"/>
                  <a:gd name="connsiteX24" fmla="*/ 204197 w 2383532"/>
                  <a:gd name="connsiteY24" fmla="*/ 518610 h 648150"/>
                  <a:gd name="connsiteX25" fmla="*/ 97517 w 2383532"/>
                  <a:gd name="connsiteY25" fmla="*/ 472890 h 648150"/>
                  <a:gd name="connsiteX26" fmla="*/ 59417 w 2383532"/>
                  <a:gd name="connsiteY26" fmla="*/ 450030 h 648150"/>
                  <a:gd name="connsiteX27" fmla="*/ 6077 w 2383532"/>
                  <a:gd name="connsiteY27" fmla="*/ 396690 h 648150"/>
                  <a:gd name="connsiteX28" fmla="*/ 3537 w 2383532"/>
                  <a:gd name="connsiteY28" fmla="*/ 345890 h 648150"/>
                  <a:gd name="connsiteX29" fmla="*/ 27032 w 2383532"/>
                  <a:gd name="connsiteY29" fmla="*/ 251910 h 648150"/>
                  <a:gd name="connsiteX30" fmla="*/ 79102 w 2383532"/>
                  <a:gd name="connsiteY30" fmla="*/ 192220 h 648150"/>
                  <a:gd name="connsiteX31" fmla="*/ 173717 w 2383532"/>
                  <a:gd name="connsiteY31" fmla="*/ 137610 h 648150"/>
                  <a:gd name="connsiteX32" fmla="*/ 211817 w 2383532"/>
                  <a:gd name="connsiteY32" fmla="*/ 122370 h 648150"/>
                  <a:gd name="connsiteX33" fmla="*/ 394697 w 2383532"/>
                  <a:gd name="connsiteY33" fmla="*/ 66490 h 648150"/>
                  <a:gd name="connsiteX34" fmla="*/ 615677 w 2383532"/>
                  <a:gd name="connsiteY34" fmla="*/ 38550 h 648150"/>
                  <a:gd name="connsiteX35" fmla="*/ 737597 w 2383532"/>
                  <a:gd name="connsiteY35" fmla="*/ 15690 h 648150"/>
                  <a:gd name="connsiteX36" fmla="*/ 1019537 w 2383532"/>
                  <a:gd name="connsiteY36" fmla="*/ 7435 h 648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2383532" h="648150">
                    <a:moveTo>
                      <a:pt x="1019537" y="7435"/>
                    </a:moveTo>
                    <a:cubicBezTo>
                      <a:pt x="1074147" y="6165"/>
                      <a:pt x="980167" y="9234"/>
                      <a:pt x="1065257" y="8070"/>
                    </a:cubicBezTo>
                    <a:cubicBezTo>
                      <a:pt x="1150347" y="6906"/>
                      <a:pt x="1431017" y="-2090"/>
                      <a:pt x="1530077" y="450"/>
                    </a:cubicBezTo>
                    <a:cubicBezTo>
                      <a:pt x="1629137" y="2990"/>
                      <a:pt x="1624057" y="15690"/>
                      <a:pt x="1659617" y="23310"/>
                    </a:cubicBezTo>
                    <a:cubicBezTo>
                      <a:pt x="1695177" y="30930"/>
                      <a:pt x="1698987" y="22040"/>
                      <a:pt x="1762487" y="33470"/>
                    </a:cubicBezTo>
                    <a:cubicBezTo>
                      <a:pt x="1825987" y="44900"/>
                      <a:pt x="1962512" y="53790"/>
                      <a:pt x="2040617" y="91890"/>
                    </a:cubicBezTo>
                    <a:cubicBezTo>
                      <a:pt x="2066017" y="102050"/>
                      <a:pt x="2081257" y="96018"/>
                      <a:pt x="2119992" y="109670"/>
                    </a:cubicBezTo>
                    <a:cubicBezTo>
                      <a:pt x="2158727" y="123323"/>
                      <a:pt x="2232916" y="152638"/>
                      <a:pt x="2273027" y="173805"/>
                    </a:cubicBezTo>
                    <a:cubicBezTo>
                      <a:pt x="2313138" y="194972"/>
                      <a:pt x="2339067" y="220160"/>
                      <a:pt x="2360657" y="236670"/>
                    </a:cubicBezTo>
                    <a:cubicBezTo>
                      <a:pt x="2368362" y="248228"/>
                      <a:pt x="2383517" y="266616"/>
                      <a:pt x="2383517" y="282390"/>
                    </a:cubicBezTo>
                    <a:cubicBezTo>
                      <a:pt x="2383517" y="308815"/>
                      <a:pt x="2384942" y="368936"/>
                      <a:pt x="2360657" y="396690"/>
                    </a:cubicBezTo>
                    <a:cubicBezTo>
                      <a:pt x="2334377" y="426724"/>
                      <a:pt x="2310782" y="431515"/>
                      <a:pt x="2276837" y="450030"/>
                    </a:cubicBezTo>
                    <a:cubicBezTo>
                      <a:pt x="2263835" y="457122"/>
                      <a:pt x="2257787" y="464000"/>
                      <a:pt x="2238737" y="472890"/>
                    </a:cubicBezTo>
                    <a:cubicBezTo>
                      <a:pt x="2219687" y="481780"/>
                      <a:pt x="2189207" y="491940"/>
                      <a:pt x="2162537" y="503370"/>
                    </a:cubicBezTo>
                    <a:cubicBezTo>
                      <a:pt x="2135867" y="514800"/>
                      <a:pt x="2105387" y="530040"/>
                      <a:pt x="2078717" y="541470"/>
                    </a:cubicBezTo>
                    <a:cubicBezTo>
                      <a:pt x="2052047" y="552900"/>
                      <a:pt x="2036807" y="561790"/>
                      <a:pt x="2002517" y="571950"/>
                    </a:cubicBezTo>
                    <a:cubicBezTo>
                      <a:pt x="1968227" y="582110"/>
                      <a:pt x="1919803" y="593511"/>
                      <a:pt x="1872977" y="602430"/>
                    </a:cubicBezTo>
                    <a:cubicBezTo>
                      <a:pt x="1847531" y="607277"/>
                      <a:pt x="1822503" y="614643"/>
                      <a:pt x="1796777" y="617670"/>
                    </a:cubicBezTo>
                    <a:cubicBezTo>
                      <a:pt x="1640428" y="636064"/>
                      <a:pt x="1539759" y="635302"/>
                      <a:pt x="1377677" y="640530"/>
                    </a:cubicBezTo>
                    <a:cubicBezTo>
                      <a:pt x="1339577" y="643070"/>
                      <a:pt x="1301562" y="648150"/>
                      <a:pt x="1263377" y="648150"/>
                    </a:cubicBezTo>
                    <a:cubicBezTo>
                      <a:pt x="1154497" y="648150"/>
                      <a:pt x="1037979" y="639778"/>
                      <a:pt x="928097" y="632910"/>
                    </a:cubicBezTo>
                    <a:cubicBezTo>
                      <a:pt x="905237" y="627830"/>
                      <a:pt x="930637" y="625290"/>
                      <a:pt x="859517" y="617670"/>
                    </a:cubicBezTo>
                    <a:cubicBezTo>
                      <a:pt x="788397" y="610050"/>
                      <a:pt x="583927" y="596080"/>
                      <a:pt x="501377" y="587190"/>
                    </a:cubicBezTo>
                    <a:cubicBezTo>
                      <a:pt x="402317" y="574490"/>
                      <a:pt x="314687" y="552900"/>
                      <a:pt x="265157" y="541470"/>
                    </a:cubicBezTo>
                    <a:cubicBezTo>
                      <a:pt x="215627" y="530040"/>
                      <a:pt x="232137" y="530040"/>
                      <a:pt x="204197" y="518610"/>
                    </a:cubicBezTo>
                    <a:cubicBezTo>
                      <a:pt x="176257" y="507180"/>
                      <a:pt x="121647" y="484320"/>
                      <a:pt x="97517" y="472890"/>
                    </a:cubicBezTo>
                    <a:cubicBezTo>
                      <a:pt x="73387" y="461460"/>
                      <a:pt x="70795" y="459512"/>
                      <a:pt x="59417" y="450030"/>
                    </a:cubicBezTo>
                    <a:cubicBezTo>
                      <a:pt x="40100" y="433933"/>
                      <a:pt x="15390" y="414047"/>
                      <a:pt x="6077" y="396690"/>
                    </a:cubicBezTo>
                    <a:cubicBezTo>
                      <a:pt x="-3236" y="379333"/>
                      <a:pt x="44" y="370020"/>
                      <a:pt x="3537" y="345890"/>
                    </a:cubicBezTo>
                    <a:cubicBezTo>
                      <a:pt x="7030" y="321760"/>
                      <a:pt x="14438" y="277522"/>
                      <a:pt x="27032" y="251910"/>
                    </a:cubicBezTo>
                    <a:cubicBezTo>
                      <a:pt x="39626" y="226298"/>
                      <a:pt x="54655" y="211270"/>
                      <a:pt x="79102" y="192220"/>
                    </a:cubicBezTo>
                    <a:cubicBezTo>
                      <a:pt x="103550" y="173170"/>
                      <a:pt x="151598" y="149252"/>
                      <a:pt x="173717" y="137610"/>
                    </a:cubicBezTo>
                    <a:cubicBezTo>
                      <a:pt x="195836" y="125968"/>
                      <a:pt x="199117" y="127450"/>
                      <a:pt x="211817" y="122370"/>
                    </a:cubicBezTo>
                    <a:cubicBezTo>
                      <a:pt x="254997" y="108400"/>
                      <a:pt x="327387" y="80460"/>
                      <a:pt x="394697" y="66490"/>
                    </a:cubicBezTo>
                    <a:cubicBezTo>
                      <a:pt x="462007" y="52520"/>
                      <a:pt x="558527" y="47017"/>
                      <a:pt x="615677" y="38550"/>
                    </a:cubicBezTo>
                    <a:cubicBezTo>
                      <a:pt x="658857" y="33470"/>
                      <a:pt x="670287" y="18230"/>
                      <a:pt x="737597" y="15690"/>
                    </a:cubicBezTo>
                    <a:lnTo>
                      <a:pt x="1019537" y="7435"/>
                    </a:lnTo>
                    <a:close/>
                  </a:path>
                </a:pathLst>
              </a:custGeom>
              <a:solidFill>
                <a:srgbClr val="E1EBE5"/>
              </a:solidFill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C654AB54-61B4-6DC3-B3B7-6AE5E5A262CB}"/>
                  </a:ext>
                </a:extLst>
              </p:cNvPr>
              <p:cNvSpPr/>
              <p:nvPr/>
            </p:nvSpPr>
            <p:spPr>
              <a:xfrm>
                <a:off x="3913673" y="6116953"/>
                <a:ext cx="2481692" cy="433201"/>
              </a:xfrm>
              <a:custGeom>
                <a:avLst/>
                <a:gdLst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29540 w 2461364"/>
                  <a:gd name="connsiteY4" fmla="*/ 266700 h 419100"/>
                  <a:gd name="connsiteX5" fmla="*/ 152400 w 2461364"/>
                  <a:gd name="connsiteY5" fmla="*/ 274320 h 419100"/>
                  <a:gd name="connsiteX6" fmla="*/ 259080 w 2461364"/>
                  <a:gd name="connsiteY6" fmla="*/ 312420 h 419100"/>
                  <a:gd name="connsiteX7" fmla="*/ 365760 w 2461364"/>
                  <a:gd name="connsiteY7" fmla="*/ 327660 h 419100"/>
                  <a:gd name="connsiteX8" fmla="*/ 464820 w 2461364"/>
                  <a:gd name="connsiteY8" fmla="*/ 350520 h 419100"/>
                  <a:gd name="connsiteX9" fmla="*/ 495300 w 2461364"/>
                  <a:gd name="connsiteY9" fmla="*/ 358140 h 419100"/>
                  <a:gd name="connsiteX10" fmla="*/ 579120 w 2461364"/>
                  <a:gd name="connsiteY10" fmla="*/ 365760 h 419100"/>
                  <a:gd name="connsiteX11" fmla="*/ 601980 w 2461364"/>
                  <a:gd name="connsiteY11" fmla="*/ 373380 h 419100"/>
                  <a:gd name="connsiteX12" fmla="*/ 640080 w 2461364"/>
                  <a:gd name="connsiteY12" fmla="*/ 388620 h 419100"/>
                  <a:gd name="connsiteX13" fmla="*/ 723900 w 2461364"/>
                  <a:gd name="connsiteY13" fmla="*/ 403860 h 419100"/>
                  <a:gd name="connsiteX14" fmla="*/ 822960 w 2461364"/>
                  <a:gd name="connsiteY14" fmla="*/ 419100 h 419100"/>
                  <a:gd name="connsiteX15" fmla="*/ 1661160 w 2461364"/>
                  <a:gd name="connsiteY15" fmla="*/ 411480 h 419100"/>
                  <a:gd name="connsiteX16" fmla="*/ 1699260 w 2461364"/>
                  <a:gd name="connsiteY16" fmla="*/ 396240 h 419100"/>
                  <a:gd name="connsiteX17" fmla="*/ 1744980 w 2461364"/>
                  <a:gd name="connsiteY17" fmla="*/ 388620 h 419100"/>
                  <a:gd name="connsiteX18" fmla="*/ 1844040 w 2461364"/>
                  <a:gd name="connsiteY18" fmla="*/ 365760 h 419100"/>
                  <a:gd name="connsiteX19" fmla="*/ 1905000 w 2461364"/>
                  <a:gd name="connsiteY19" fmla="*/ 350520 h 419100"/>
                  <a:gd name="connsiteX20" fmla="*/ 2049780 w 2461364"/>
                  <a:gd name="connsiteY20" fmla="*/ 342900 h 419100"/>
                  <a:gd name="connsiteX21" fmla="*/ 2072640 w 2461364"/>
                  <a:gd name="connsiteY21" fmla="*/ 335280 h 419100"/>
                  <a:gd name="connsiteX22" fmla="*/ 2164080 w 2461364"/>
                  <a:gd name="connsiteY22" fmla="*/ 320040 h 419100"/>
                  <a:gd name="connsiteX23" fmla="*/ 2308860 w 2461364"/>
                  <a:gd name="connsiteY23" fmla="*/ 266700 h 419100"/>
                  <a:gd name="connsiteX24" fmla="*/ 2369820 w 2461364"/>
                  <a:gd name="connsiteY24" fmla="*/ 228600 h 419100"/>
                  <a:gd name="connsiteX25" fmla="*/ 2423160 w 2461364"/>
                  <a:gd name="connsiteY25" fmla="*/ 190500 h 419100"/>
                  <a:gd name="connsiteX26" fmla="*/ 2446020 w 2461364"/>
                  <a:gd name="connsiteY26" fmla="*/ 160020 h 419100"/>
                  <a:gd name="connsiteX27" fmla="*/ 2461260 w 2461364"/>
                  <a:gd name="connsiteY27" fmla="*/ 99060 h 419100"/>
                  <a:gd name="connsiteX28" fmla="*/ 2446020 w 2461364"/>
                  <a:gd name="connsiteY28" fmla="*/ 53340 h 419100"/>
                  <a:gd name="connsiteX29" fmla="*/ 2423160 w 2461364"/>
                  <a:gd name="connsiteY29" fmla="*/ 22860 h 419100"/>
                  <a:gd name="connsiteX30" fmla="*/ 2400300 w 2461364"/>
                  <a:gd name="connsiteY30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259080 w 2461364"/>
                  <a:gd name="connsiteY5" fmla="*/ 312420 h 419100"/>
                  <a:gd name="connsiteX6" fmla="*/ 365760 w 2461364"/>
                  <a:gd name="connsiteY6" fmla="*/ 327660 h 419100"/>
                  <a:gd name="connsiteX7" fmla="*/ 464820 w 2461364"/>
                  <a:gd name="connsiteY7" fmla="*/ 350520 h 419100"/>
                  <a:gd name="connsiteX8" fmla="*/ 495300 w 2461364"/>
                  <a:gd name="connsiteY8" fmla="*/ 358140 h 419100"/>
                  <a:gd name="connsiteX9" fmla="*/ 579120 w 2461364"/>
                  <a:gd name="connsiteY9" fmla="*/ 365760 h 419100"/>
                  <a:gd name="connsiteX10" fmla="*/ 601980 w 2461364"/>
                  <a:gd name="connsiteY10" fmla="*/ 373380 h 419100"/>
                  <a:gd name="connsiteX11" fmla="*/ 640080 w 2461364"/>
                  <a:gd name="connsiteY11" fmla="*/ 388620 h 419100"/>
                  <a:gd name="connsiteX12" fmla="*/ 723900 w 2461364"/>
                  <a:gd name="connsiteY12" fmla="*/ 403860 h 419100"/>
                  <a:gd name="connsiteX13" fmla="*/ 822960 w 2461364"/>
                  <a:gd name="connsiteY13" fmla="*/ 419100 h 419100"/>
                  <a:gd name="connsiteX14" fmla="*/ 1661160 w 2461364"/>
                  <a:gd name="connsiteY14" fmla="*/ 411480 h 419100"/>
                  <a:gd name="connsiteX15" fmla="*/ 1699260 w 2461364"/>
                  <a:gd name="connsiteY15" fmla="*/ 396240 h 419100"/>
                  <a:gd name="connsiteX16" fmla="*/ 1744980 w 2461364"/>
                  <a:gd name="connsiteY16" fmla="*/ 388620 h 419100"/>
                  <a:gd name="connsiteX17" fmla="*/ 1844040 w 2461364"/>
                  <a:gd name="connsiteY17" fmla="*/ 365760 h 419100"/>
                  <a:gd name="connsiteX18" fmla="*/ 1905000 w 2461364"/>
                  <a:gd name="connsiteY18" fmla="*/ 350520 h 419100"/>
                  <a:gd name="connsiteX19" fmla="*/ 2049780 w 2461364"/>
                  <a:gd name="connsiteY19" fmla="*/ 342900 h 419100"/>
                  <a:gd name="connsiteX20" fmla="*/ 2072640 w 2461364"/>
                  <a:gd name="connsiteY20" fmla="*/ 335280 h 419100"/>
                  <a:gd name="connsiteX21" fmla="*/ 2164080 w 2461364"/>
                  <a:gd name="connsiteY21" fmla="*/ 320040 h 419100"/>
                  <a:gd name="connsiteX22" fmla="*/ 2308860 w 2461364"/>
                  <a:gd name="connsiteY22" fmla="*/ 266700 h 419100"/>
                  <a:gd name="connsiteX23" fmla="*/ 2369820 w 2461364"/>
                  <a:gd name="connsiteY23" fmla="*/ 228600 h 419100"/>
                  <a:gd name="connsiteX24" fmla="*/ 2423160 w 2461364"/>
                  <a:gd name="connsiteY24" fmla="*/ 190500 h 419100"/>
                  <a:gd name="connsiteX25" fmla="*/ 2446020 w 2461364"/>
                  <a:gd name="connsiteY25" fmla="*/ 160020 h 419100"/>
                  <a:gd name="connsiteX26" fmla="*/ 2461260 w 2461364"/>
                  <a:gd name="connsiteY26" fmla="*/ 99060 h 419100"/>
                  <a:gd name="connsiteX27" fmla="*/ 2446020 w 2461364"/>
                  <a:gd name="connsiteY27" fmla="*/ 53340 h 419100"/>
                  <a:gd name="connsiteX28" fmla="*/ 2423160 w 2461364"/>
                  <a:gd name="connsiteY28" fmla="*/ 22860 h 419100"/>
                  <a:gd name="connsiteX29" fmla="*/ 2400300 w 2461364"/>
                  <a:gd name="connsiteY29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365760 w 2461364"/>
                  <a:gd name="connsiteY5" fmla="*/ 327660 h 419100"/>
                  <a:gd name="connsiteX6" fmla="*/ 464820 w 2461364"/>
                  <a:gd name="connsiteY6" fmla="*/ 350520 h 419100"/>
                  <a:gd name="connsiteX7" fmla="*/ 495300 w 2461364"/>
                  <a:gd name="connsiteY7" fmla="*/ 358140 h 419100"/>
                  <a:gd name="connsiteX8" fmla="*/ 579120 w 2461364"/>
                  <a:gd name="connsiteY8" fmla="*/ 365760 h 419100"/>
                  <a:gd name="connsiteX9" fmla="*/ 601980 w 2461364"/>
                  <a:gd name="connsiteY9" fmla="*/ 373380 h 419100"/>
                  <a:gd name="connsiteX10" fmla="*/ 640080 w 2461364"/>
                  <a:gd name="connsiteY10" fmla="*/ 388620 h 419100"/>
                  <a:gd name="connsiteX11" fmla="*/ 723900 w 2461364"/>
                  <a:gd name="connsiteY11" fmla="*/ 403860 h 419100"/>
                  <a:gd name="connsiteX12" fmla="*/ 822960 w 2461364"/>
                  <a:gd name="connsiteY12" fmla="*/ 419100 h 419100"/>
                  <a:gd name="connsiteX13" fmla="*/ 1661160 w 2461364"/>
                  <a:gd name="connsiteY13" fmla="*/ 411480 h 419100"/>
                  <a:gd name="connsiteX14" fmla="*/ 1699260 w 2461364"/>
                  <a:gd name="connsiteY14" fmla="*/ 396240 h 419100"/>
                  <a:gd name="connsiteX15" fmla="*/ 1744980 w 2461364"/>
                  <a:gd name="connsiteY15" fmla="*/ 388620 h 419100"/>
                  <a:gd name="connsiteX16" fmla="*/ 1844040 w 2461364"/>
                  <a:gd name="connsiteY16" fmla="*/ 365760 h 419100"/>
                  <a:gd name="connsiteX17" fmla="*/ 1905000 w 2461364"/>
                  <a:gd name="connsiteY17" fmla="*/ 350520 h 419100"/>
                  <a:gd name="connsiteX18" fmla="*/ 2049780 w 2461364"/>
                  <a:gd name="connsiteY18" fmla="*/ 342900 h 419100"/>
                  <a:gd name="connsiteX19" fmla="*/ 2072640 w 2461364"/>
                  <a:gd name="connsiteY19" fmla="*/ 335280 h 419100"/>
                  <a:gd name="connsiteX20" fmla="*/ 2164080 w 2461364"/>
                  <a:gd name="connsiteY20" fmla="*/ 320040 h 419100"/>
                  <a:gd name="connsiteX21" fmla="*/ 2308860 w 2461364"/>
                  <a:gd name="connsiteY21" fmla="*/ 266700 h 419100"/>
                  <a:gd name="connsiteX22" fmla="*/ 2369820 w 2461364"/>
                  <a:gd name="connsiteY22" fmla="*/ 228600 h 419100"/>
                  <a:gd name="connsiteX23" fmla="*/ 2423160 w 2461364"/>
                  <a:gd name="connsiteY23" fmla="*/ 190500 h 419100"/>
                  <a:gd name="connsiteX24" fmla="*/ 2446020 w 2461364"/>
                  <a:gd name="connsiteY24" fmla="*/ 160020 h 419100"/>
                  <a:gd name="connsiteX25" fmla="*/ 2461260 w 2461364"/>
                  <a:gd name="connsiteY25" fmla="*/ 99060 h 419100"/>
                  <a:gd name="connsiteX26" fmla="*/ 2446020 w 2461364"/>
                  <a:gd name="connsiteY26" fmla="*/ 53340 h 419100"/>
                  <a:gd name="connsiteX27" fmla="*/ 2423160 w 2461364"/>
                  <a:gd name="connsiteY27" fmla="*/ 22860 h 419100"/>
                  <a:gd name="connsiteX28" fmla="*/ 2400300 w 2461364"/>
                  <a:gd name="connsiteY28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365760 w 2461364"/>
                  <a:gd name="connsiteY5" fmla="*/ 327660 h 419100"/>
                  <a:gd name="connsiteX6" fmla="*/ 464820 w 2461364"/>
                  <a:gd name="connsiteY6" fmla="*/ 350520 h 419100"/>
                  <a:gd name="connsiteX7" fmla="*/ 579120 w 2461364"/>
                  <a:gd name="connsiteY7" fmla="*/ 365760 h 419100"/>
                  <a:gd name="connsiteX8" fmla="*/ 601980 w 2461364"/>
                  <a:gd name="connsiteY8" fmla="*/ 373380 h 419100"/>
                  <a:gd name="connsiteX9" fmla="*/ 640080 w 2461364"/>
                  <a:gd name="connsiteY9" fmla="*/ 388620 h 419100"/>
                  <a:gd name="connsiteX10" fmla="*/ 723900 w 2461364"/>
                  <a:gd name="connsiteY10" fmla="*/ 403860 h 419100"/>
                  <a:gd name="connsiteX11" fmla="*/ 822960 w 2461364"/>
                  <a:gd name="connsiteY11" fmla="*/ 419100 h 419100"/>
                  <a:gd name="connsiteX12" fmla="*/ 1661160 w 2461364"/>
                  <a:gd name="connsiteY12" fmla="*/ 411480 h 419100"/>
                  <a:gd name="connsiteX13" fmla="*/ 1699260 w 2461364"/>
                  <a:gd name="connsiteY13" fmla="*/ 396240 h 419100"/>
                  <a:gd name="connsiteX14" fmla="*/ 1744980 w 2461364"/>
                  <a:gd name="connsiteY14" fmla="*/ 388620 h 419100"/>
                  <a:gd name="connsiteX15" fmla="*/ 1844040 w 2461364"/>
                  <a:gd name="connsiteY15" fmla="*/ 365760 h 419100"/>
                  <a:gd name="connsiteX16" fmla="*/ 1905000 w 2461364"/>
                  <a:gd name="connsiteY16" fmla="*/ 350520 h 419100"/>
                  <a:gd name="connsiteX17" fmla="*/ 2049780 w 2461364"/>
                  <a:gd name="connsiteY17" fmla="*/ 342900 h 419100"/>
                  <a:gd name="connsiteX18" fmla="*/ 2072640 w 2461364"/>
                  <a:gd name="connsiteY18" fmla="*/ 335280 h 419100"/>
                  <a:gd name="connsiteX19" fmla="*/ 2164080 w 2461364"/>
                  <a:gd name="connsiteY19" fmla="*/ 320040 h 419100"/>
                  <a:gd name="connsiteX20" fmla="*/ 2308860 w 2461364"/>
                  <a:gd name="connsiteY20" fmla="*/ 266700 h 419100"/>
                  <a:gd name="connsiteX21" fmla="*/ 2369820 w 2461364"/>
                  <a:gd name="connsiteY21" fmla="*/ 228600 h 419100"/>
                  <a:gd name="connsiteX22" fmla="*/ 2423160 w 2461364"/>
                  <a:gd name="connsiteY22" fmla="*/ 190500 h 419100"/>
                  <a:gd name="connsiteX23" fmla="*/ 2446020 w 2461364"/>
                  <a:gd name="connsiteY23" fmla="*/ 160020 h 419100"/>
                  <a:gd name="connsiteX24" fmla="*/ 2461260 w 2461364"/>
                  <a:gd name="connsiteY24" fmla="*/ 99060 h 419100"/>
                  <a:gd name="connsiteX25" fmla="*/ 2446020 w 2461364"/>
                  <a:gd name="connsiteY25" fmla="*/ 53340 h 419100"/>
                  <a:gd name="connsiteX26" fmla="*/ 2423160 w 2461364"/>
                  <a:gd name="connsiteY26" fmla="*/ 22860 h 419100"/>
                  <a:gd name="connsiteX27" fmla="*/ 2400300 w 2461364"/>
                  <a:gd name="connsiteY27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365760 w 2461364"/>
                  <a:gd name="connsiteY5" fmla="*/ 327660 h 419100"/>
                  <a:gd name="connsiteX6" fmla="*/ 464820 w 2461364"/>
                  <a:gd name="connsiteY6" fmla="*/ 350520 h 419100"/>
                  <a:gd name="connsiteX7" fmla="*/ 579120 w 2461364"/>
                  <a:gd name="connsiteY7" fmla="*/ 365760 h 419100"/>
                  <a:gd name="connsiteX8" fmla="*/ 601980 w 2461364"/>
                  <a:gd name="connsiteY8" fmla="*/ 373380 h 419100"/>
                  <a:gd name="connsiteX9" fmla="*/ 723900 w 2461364"/>
                  <a:gd name="connsiteY9" fmla="*/ 403860 h 419100"/>
                  <a:gd name="connsiteX10" fmla="*/ 822960 w 2461364"/>
                  <a:gd name="connsiteY10" fmla="*/ 419100 h 419100"/>
                  <a:gd name="connsiteX11" fmla="*/ 1661160 w 2461364"/>
                  <a:gd name="connsiteY11" fmla="*/ 411480 h 419100"/>
                  <a:gd name="connsiteX12" fmla="*/ 1699260 w 2461364"/>
                  <a:gd name="connsiteY12" fmla="*/ 396240 h 419100"/>
                  <a:gd name="connsiteX13" fmla="*/ 1744980 w 2461364"/>
                  <a:gd name="connsiteY13" fmla="*/ 388620 h 419100"/>
                  <a:gd name="connsiteX14" fmla="*/ 1844040 w 2461364"/>
                  <a:gd name="connsiteY14" fmla="*/ 365760 h 419100"/>
                  <a:gd name="connsiteX15" fmla="*/ 1905000 w 2461364"/>
                  <a:gd name="connsiteY15" fmla="*/ 350520 h 419100"/>
                  <a:gd name="connsiteX16" fmla="*/ 2049780 w 2461364"/>
                  <a:gd name="connsiteY16" fmla="*/ 342900 h 419100"/>
                  <a:gd name="connsiteX17" fmla="*/ 2072640 w 2461364"/>
                  <a:gd name="connsiteY17" fmla="*/ 335280 h 419100"/>
                  <a:gd name="connsiteX18" fmla="*/ 2164080 w 2461364"/>
                  <a:gd name="connsiteY18" fmla="*/ 320040 h 419100"/>
                  <a:gd name="connsiteX19" fmla="*/ 2308860 w 2461364"/>
                  <a:gd name="connsiteY19" fmla="*/ 266700 h 419100"/>
                  <a:gd name="connsiteX20" fmla="*/ 2369820 w 2461364"/>
                  <a:gd name="connsiteY20" fmla="*/ 228600 h 419100"/>
                  <a:gd name="connsiteX21" fmla="*/ 2423160 w 2461364"/>
                  <a:gd name="connsiteY21" fmla="*/ 190500 h 419100"/>
                  <a:gd name="connsiteX22" fmla="*/ 2446020 w 2461364"/>
                  <a:gd name="connsiteY22" fmla="*/ 160020 h 419100"/>
                  <a:gd name="connsiteX23" fmla="*/ 2461260 w 2461364"/>
                  <a:gd name="connsiteY23" fmla="*/ 99060 h 419100"/>
                  <a:gd name="connsiteX24" fmla="*/ 2446020 w 2461364"/>
                  <a:gd name="connsiteY24" fmla="*/ 53340 h 419100"/>
                  <a:gd name="connsiteX25" fmla="*/ 2423160 w 2461364"/>
                  <a:gd name="connsiteY25" fmla="*/ 22860 h 419100"/>
                  <a:gd name="connsiteX26" fmla="*/ 2400300 w 2461364"/>
                  <a:gd name="connsiteY26" fmla="*/ 0 h 419100"/>
                  <a:gd name="connsiteX0" fmla="*/ 0 w 2461364"/>
                  <a:gd name="connsiteY0" fmla="*/ 7620 h 419100"/>
                  <a:gd name="connsiteX1" fmla="*/ 7620 w 2461364"/>
                  <a:gd name="connsiteY1" fmla="*/ 45720 h 419100"/>
                  <a:gd name="connsiteX2" fmla="*/ 15240 w 2461364"/>
                  <a:gd name="connsiteY2" fmla="*/ 152400 h 419100"/>
                  <a:gd name="connsiteX3" fmla="*/ 60960 w 2461364"/>
                  <a:gd name="connsiteY3" fmla="*/ 205740 h 419100"/>
                  <a:gd name="connsiteX4" fmla="*/ 152400 w 2461364"/>
                  <a:gd name="connsiteY4" fmla="*/ 274320 h 419100"/>
                  <a:gd name="connsiteX5" fmla="*/ 365760 w 2461364"/>
                  <a:gd name="connsiteY5" fmla="*/ 327660 h 419100"/>
                  <a:gd name="connsiteX6" fmla="*/ 464820 w 2461364"/>
                  <a:gd name="connsiteY6" fmla="*/ 350520 h 419100"/>
                  <a:gd name="connsiteX7" fmla="*/ 579120 w 2461364"/>
                  <a:gd name="connsiteY7" fmla="*/ 365760 h 419100"/>
                  <a:gd name="connsiteX8" fmla="*/ 723900 w 2461364"/>
                  <a:gd name="connsiteY8" fmla="*/ 403860 h 419100"/>
                  <a:gd name="connsiteX9" fmla="*/ 822960 w 2461364"/>
                  <a:gd name="connsiteY9" fmla="*/ 419100 h 419100"/>
                  <a:gd name="connsiteX10" fmla="*/ 1661160 w 2461364"/>
                  <a:gd name="connsiteY10" fmla="*/ 411480 h 419100"/>
                  <a:gd name="connsiteX11" fmla="*/ 1699260 w 2461364"/>
                  <a:gd name="connsiteY11" fmla="*/ 396240 h 419100"/>
                  <a:gd name="connsiteX12" fmla="*/ 1744980 w 2461364"/>
                  <a:gd name="connsiteY12" fmla="*/ 388620 h 419100"/>
                  <a:gd name="connsiteX13" fmla="*/ 1844040 w 2461364"/>
                  <a:gd name="connsiteY13" fmla="*/ 365760 h 419100"/>
                  <a:gd name="connsiteX14" fmla="*/ 1905000 w 2461364"/>
                  <a:gd name="connsiteY14" fmla="*/ 350520 h 419100"/>
                  <a:gd name="connsiteX15" fmla="*/ 2049780 w 2461364"/>
                  <a:gd name="connsiteY15" fmla="*/ 342900 h 419100"/>
                  <a:gd name="connsiteX16" fmla="*/ 2072640 w 2461364"/>
                  <a:gd name="connsiteY16" fmla="*/ 335280 h 419100"/>
                  <a:gd name="connsiteX17" fmla="*/ 2164080 w 2461364"/>
                  <a:gd name="connsiteY17" fmla="*/ 320040 h 419100"/>
                  <a:gd name="connsiteX18" fmla="*/ 2308860 w 2461364"/>
                  <a:gd name="connsiteY18" fmla="*/ 266700 h 419100"/>
                  <a:gd name="connsiteX19" fmla="*/ 2369820 w 2461364"/>
                  <a:gd name="connsiteY19" fmla="*/ 228600 h 419100"/>
                  <a:gd name="connsiteX20" fmla="*/ 2423160 w 2461364"/>
                  <a:gd name="connsiteY20" fmla="*/ 190500 h 419100"/>
                  <a:gd name="connsiteX21" fmla="*/ 2446020 w 2461364"/>
                  <a:gd name="connsiteY21" fmla="*/ 160020 h 419100"/>
                  <a:gd name="connsiteX22" fmla="*/ 2461260 w 2461364"/>
                  <a:gd name="connsiteY22" fmla="*/ 99060 h 419100"/>
                  <a:gd name="connsiteX23" fmla="*/ 2446020 w 2461364"/>
                  <a:gd name="connsiteY23" fmla="*/ 53340 h 419100"/>
                  <a:gd name="connsiteX24" fmla="*/ 2423160 w 2461364"/>
                  <a:gd name="connsiteY24" fmla="*/ 22860 h 419100"/>
                  <a:gd name="connsiteX25" fmla="*/ 2400300 w 2461364"/>
                  <a:gd name="connsiteY25" fmla="*/ 0 h 419100"/>
                  <a:gd name="connsiteX0" fmla="*/ 0 w 2461364"/>
                  <a:gd name="connsiteY0" fmla="*/ 7620 h 411909"/>
                  <a:gd name="connsiteX1" fmla="*/ 7620 w 2461364"/>
                  <a:gd name="connsiteY1" fmla="*/ 45720 h 411909"/>
                  <a:gd name="connsiteX2" fmla="*/ 15240 w 2461364"/>
                  <a:gd name="connsiteY2" fmla="*/ 152400 h 411909"/>
                  <a:gd name="connsiteX3" fmla="*/ 60960 w 2461364"/>
                  <a:gd name="connsiteY3" fmla="*/ 205740 h 411909"/>
                  <a:gd name="connsiteX4" fmla="*/ 152400 w 2461364"/>
                  <a:gd name="connsiteY4" fmla="*/ 274320 h 411909"/>
                  <a:gd name="connsiteX5" fmla="*/ 365760 w 2461364"/>
                  <a:gd name="connsiteY5" fmla="*/ 327660 h 411909"/>
                  <a:gd name="connsiteX6" fmla="*/ 464820 w 2461364"/>
                  <a:gd name="connsiteY6" fmla="*/ 350520 h 411909"/>
                  <a:gd name="connsiteX7" fmla="*/ 579120 w 2461364"/>
                  <a:gd name="connsiteY7" fmla="*/ 365760 h 411909"/>
                  <a:gd name="connsiteX8" fmla="*/ 723900 w 2461364"/>
                  <a:gd name="connsiteY8" fmla="*/ 403860 h 411909"/>
                  <a:gd name="connsiteX9" fmla="*/ 1661160 w 2461364"/>
                  <a:gd name="connsiteY9" fmla="*/ 411480 h 411909"/>
                  <a:gd name="connsiteX10" fmla="*/ 1699260 w 2461364"/>
                  <a:gd name="connsiteY10" fmla="*/ 396240 h 411909"/>
                  <a:gd name="connsiteX11" fmla="*/ 1744980 w 2461364"/>
                  <a:gd name="connsiteY11" fmla="*/ 388620 h 411909"/>
                  <a:gd name="connsiteX12" fmla="*/ 1844040 w 2461364"/>
                  <a:gd name="connsiteY12" fmla="*/ 365760 h 411909"/>
                  <a:gd name="connsiteX13" fmla="*/ 1905000 w 2461364"/>
                  <a:gd name="connsiteY13" fmla="*/ 350520 h 411909"/>
                  <a:gd name="connsiteX14" fmla="*/ 2049780 w 2461364"/>
                  <a:gd name="connsiteY14" fmla="*/ 342900 h 411909"/>
                  <a:gd name="connsiteX15" fmla="*/ 2072640 w 2461364"/>
                  <a:gd name="connsiteY15" fmla="*/ 335280 h 411909"/>
                  <a:gd name="connsiteX16" fmla="*/ 2164080 w 2461364"/>
                  <a:gd name="connsiteY16" fmla="*/ 320040 h 411909"/>
                  <a:gd name="connsiteX17" fmla="*/ 2308860 w 2461364"/>
                  <a:gd name="connsiteY17" fmla="*/ 266700 h 411909"/>
                  <a:gd name="connsiteX18" fmla="*/ 2369820 w 2461364"/>
                  <a:gd name="connsiteY18" fmla="*/ 228600 h 411909"/>
                  <a:gd name="connsiteX19" fmla="*/ 2423160 w 2461364"/>
                  <a:gd name="connsiteY19" fmla="*/ 190500 h 411909"/>
                  <a:gd name="connsiteX20" fmla="*/ 2446020 w 2461364"/>
                  <a:gd name="connsiteY20" fmla="*/ 160020 h 411909"/>
                  <a:gd name="connsiteX21" fmla="*/ 2461260 w 2461364"/>
                  <a:gd name="connsiteY21" fmla="*/ 99060 h 411909"/>
                  <a:gd name="connsiteX22" fmla="*/ 2446020 w 2461364"/>
                  <a:gd name="connsiteY22" fmla="*/ 53340 h 411909"/>
                  <a:gd name="connsiteX23" fmla="*/ 2423160 w 2461364"/>
                  <a:gd name="connsiteY23" fmla="*/ 22860 h 411909"/>
                  <a:gd name="connsiteX24" fmla="*/ 2400300 w 2461364"/>
                  <a:gd name="connsiteY24" fmla="*/ 0 h 411909"/>
                  <a:gd name="connsiteX0" fmla="*/ 0 w 2461364"/>
                  <a:gd name="connsiteY0" fmla="*/ 7620 h 411582"/>
                  <a:gd name="connsiteX1" fmla="*/ 7620 w 2461364"/>
                  <a:gd name="connsiteY1" fmla="*/ 45720 h 411582"/>
                  <a:gd name="connsiteX2" fmla="*/ 15240 w 2461364"/>
                  <a:gd name="connsiteY2" fmla="*/ 152400 h 411582"/>
                  <a:gd name="connsiteX3" fmla="*/ 60960 w 2461364"/>
                  <a:gd name="connsiteY3" fmla="*/ 205740 h 411582"/>
                  <a:gd name="connsiteX4" fmla="*/ 152400 w 2461364"/>
                  <a:gd name="connsiteY4" fmla="*/ 274320 h 411582"/>
                  <a:gd name="connsiteX5" fmla="*/ 365760 w 2461364"/>
                  <a:gd name="connsiteY5" fmla="*/ 327660 h 411582"/>
                  <a:gd name="connsiteX6" fmla="*/ 464820 w 2461364"/>
                  <a:gd name="connsiteY6" fmla="*/ 350520 h 411582"/>
                  <a:gd name="connsiteX7" fmla="*/ 579120 w 2461364"/>
                  <a:gd name="connsiteY7" fmla="*/ 365760 h 411582"/>
                  <a:gd name="connsiteX8" fmla="*/ 850900 w 2461364"/>
                  <a:gd name="connsiteY8" fmla="*/ 394335 h 411582"/>
                  <a:gd name="connsiteX9" fmla="*/ 1661160 w 2461364"/>
                  <a:gd name="connsiteY9" fmla="*/ 411480 h 411582"/>
                  <a:gd name="connsiteX10" fmla="*/ 1699260 w 2461364"/>
                  <a:gd name="connsiteY10" fmla="*/ 396240 h 411582"/>
                  <a:gd name="connsiteX11" fmla="*/ 1744980 w 2461364"/>
                  <a:gd name="connsiteY11" fmla="*/ 388620 h 411582"/>
                  <a:gd name="connsiteX12" fmla="*/ 1844040 w 2461364"/>
                  <a:gd name="connsiteY12" fmla="*/ 365760 h 411582"/>
                  <a:gd name="connsiteX13" fmla="*/ 1905000 w 2461364"/>
                  <a:gd name="connsiteY13" fmla="*/ 350520 h 411582"/>
                  <a:gd name="connsiteX14" fmla="*/ 2049780 w 2461364"/>
                  <a:gd name="connsiteY14" fmla="*/ 342900 h 411582"/>
                  <a:gd name="connsiteX15" fmla="*/ 2072640 w 2461364"/>
                  <a:gd name="connsiteY15" fmla="*/ 335280 h 411582"/>
                  <a:gd name="connsiteX16" fmla="*/ 2164080 w 2461364"/>
                  <a:gd name="connsiteY16" fmla="*/ 320040 h 411582"/>
                  <a:gd name="connsiteX17" fmla="*/ 2308860 w 2461364"/>
                  <a:gd name="connsiteY17" fmla="*/ 266700 h 411582"/>
                  <a:gd name="connsiteX18" fmla="*/ 2369820 w 2461364"/>
                  <a:gd name="connsiteY18" fmla="*/ 228600 h 411582"/>
                  <a:gd name="connsiteX19" fmla="*/ 2423160 w 2461364"/>
                  <a:gd name="connsiteY19" fmla="*/ 190500 h 411582"/>
                  <a:gd name="connsiteX20" fmla="*/ 2446020 w 2461364"/>
                  <a:gd name="connsiteY20" fmla="*/ 160020 h 411582"/>
                  <a:gd name="connsiteX21" fmla="*/ 2461260 w 2461364"/>
                  <a:gd name="connsiteY21" fmla="*/ 99060 h 411582"/>
                  <a:gd name="connsiteX22" fmla="*/ 2446020 w 2461364"/>
                  <a:gd name="connsiteY22" fmla="*/ 53340 h 411582"/>
                  <a:gd name="connsiteX23" fmla="*/ 2423160 w 2461364"/>
                  <a:gd name="connsiteY23" fmla="*/ 22860 h 411582"/>
                  <a:gd name="connsiteX24" fmla="*/ 2400300 w 2461364"/>
                  <a:gd name="connsiteY24" fmla="*/ 0 h 411582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99260 w 2461364"/>
                  <a:gd name="connsiteY10" fmla="*/ 396240 h 408436"/>
                  <a:gd name="connsiteX11" fmla="*/ 1744980 w 2461364"/>
                  <a:gd name="connsiteY11" fmla="*/ 388620 h 408436"/>
                  <a:gd name="connsiteX12" fmla="*/ 1844040 w 2461364"/>
                  <a:gd name="connsiteY12" fmla="*/ 365760 h 408436"/>
                  <a:gd name="connsiteX13" fmla="*/ 1905000 w 2461364"/>
                  <a:gd name="connsiteY13" fmla="*/ 350520 h 408436"/>
                  <a:gd name="connsiteX14" fmla="*/ 2049780 w 2461364"/>
                  <a:gd name="connsiteY14" fmla="*/ 342900 h 408436"/>
                  <a:gd name="connsiteX15" fmla="*/ 2072640 w 2461364"/>
                  <a:gd name="connsiteY15" fmla="*/ 335280 h 408436"/>
                  <a:gd name="connsiteX16" fmla="*/ 2164080 w 2461364"/>
                  <a:gd name="connsiteY16" fmla="*/ 320040 h 408436"/>
                  <a:gd name="connsiteX17" fmla="*/ 2308860 w 2461364"/>
                  <a:gd name="connsiteY17" fmla="*/ 266700 h 408436"/>
                  <a:gd name="connsiteX18" fmla="*/ 2369820 w 2461364"/>
                  <a:gd name="connsiteY18" fmla="*/ 228600 h 408436"/>
                  <a:gd name="connsiteX19" fmla="*/ 2423160 w 2461364"/>
                  <a:gd name="connsiteY19" fmla="*/ 190500 h 408436"/>
                  <a:gd name="connsiteX20" fmla="*/ 2446020 w 2461364"/>
                  <a:gd name="connsiteY20" fmla="*/ 160020 h 408436"/>
                  <a:gd name="connsiteX21" fmla="*/ 2461260 w 2461364"/>
                  <a:gd name="connsiteY21" fmla="*/ 99060 h 408436"/>
                  <a:gd name="connsiteX22" fmla="*/ 2446020 w 2461364"/>
                  <a:gd name="connsiteY22" fmla="*/ 53340 h 408436"/>
                  <a:gd name="connsiteX23" fmla="*/ 2423160 w 2461364"/>
                  <a:gd name="connsiteY23" fmla="*/ 22860 h 408436"/>
                  <a:gd name="connsiteX24" fmla="*/ 2400300 w 2461364"/>
                  <a:gd name="connsiteY24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744980 w 2461364"/>
                  <a:gd name="connsiteY11" fmla="*/ 388620 h 408436"/>
                  <a:gd name="connsiteX12" fmla="*/ 1844040 w 2461364"/>
                  <a:gd name="connsiteY12" fmla="*/ 365760 h 408436"/>
                  <a:gd name="connsiteX13" fmla="*/ 1905000 w 2461364"/>
                  <a:gd name="connsiteY13" fmla="*/ 350520 h 408436"/>
                  <a:gd name="connsiteX14" fmla="*/ 2049780 w 2461364"/>
                  <a:gd name="connsiteY14" fmla="*/ 342900 h 408436"/>
                  <a:gd name="connsiteX15" fmla="*/ 2072640 w 2461364"/>
                  <a:gd name="connsiteY15" fmla="*/ 335280 h 408436"/>
                  <a:gd name="connsiteX16" fmla="*/ 2164080 w 2461364"/>
                  <a:gd name="connsiteY16" fmla="*/ 320040 h 408436"/>
                  <a:gd name="connsiteX17" fmla="*/ 2308860 w 2461364"/>
                  <a:gd name="connsiteY17" fmla="*/ 266700 h 408436"/>
                  <a:gd name="connsiteX18" fmla="*/ 2369820 w 2461364"/>
                  <a:gd name="connsiteY18" fmla="*/ 228600 h 408436"/>
                  <a:gd name="connsiteX19" fmla="*/ 2423160 w 2461364"/>
                  <a:gd name="connsiteY19" fmla="*/ 190500 h 408436"/>
                  <a:gd name="connsiteX20" fmla="*/ 2446020 w 2461364"/>
                  <a:gd name="connsiteY20" fmla="*/ 160020 h 408436"/>
                  <a:gd name="connsiteX21" fmla="*/ 2461260 w 2461364"/>
                  <a:gd name="connsiteY21" fmla="*/ 99060 h 408436"/>
                  <a:gd name="connsiteX22" fmla="*/ 2446020 w 2461364"/>
                  <a:gd name="connsiteY22" fmla="*/ 53340 h 408436"/>
                  <a:gd name="connsiteX23" fmla="*/ 2423160 w 2461364"/>
                  <a:gd name="connsiteY23" fmla="*/ 22860 h 408436"/>
                  <a:gd name="connsiteX24" fmla="*/ 2400300 w 2461364"/>
                  <a:gd name="connsiteY24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744980 w 2461364"/>
                  <a:gd name="connsiteY11" fmla="*/ 388620 h 408436"/>
                  <a:gd name="connsiteX12" fmla="*/ 1905000 w 2461364"/>
                  <a:gd name="connsiteY12" fmla="*/ 350520 h 408436"/>
                  <a:gd name="connsiteX13" fmla="*/ 2049780 w 2461364"/>
                  <a:gd name="connsiteY13" fmla="*/ 342900 h 408436"/>
                  <a:gd name="connsiteX14" fmla="*/ 2072640 w 2461364"/>
                  <a:gd name="connsiteY14" fmla="*/ 335280 h 408436"/>
                  <a:gd name="connsiteX15" fmla="*/ 2164080 w 2461364"/>
                  <a:gd name="connsiteY15" fmla="*/ 320040 h 408436"/>
                  <a:gd name="connsiteX16" fmla="*/ 2308860 w 2461364"/>
                  <a:gd name="connsiteY16" fmla="*/ 266700 h 408436"/>
                  <a:gd name="connsiteX17" fmla="*/ 2369820 w 2461364"/>
                  <a:gd name="connsiteY17" fmla="*/ 228600 h 408436"/>
                  <a:gd name="connsiteX18" fmla="*/ 2423160 w 2461364"/>
                  <a:gd name="connsiteY18" fmla="*/ 190500 h 408436"/>
                  <a:gd name="connsiteX19" fmla="*/ 2446020 w 2461364"/>
                  <a:gd name="connsiteY19" fmla="*/ 160020 h 408436"/>
                  <a:gd name="connsiteX20" fmla="*/ 2461260 w 2461364"/>
                  <a:gd name="connsiteY20" fmla="*/ 99060 h 408436"/>
                  <a:gd name="connsiteX21" fmla="*/ 2446020 w 2461364"/>
                  <a:gd name="connsiteY21" fmla="*/ 53340 h 408436"/>
                  <a:gd name="connsiteX22" fmla="*/ 2423160 w 2461364"/>
                  <a:gd name="connsiteY22" fmla="*/ 22860 h 408436"/>
                  <a:gd name="connsiteX23" fmla="*/ 2400300 w 2461364"/>
                  <a:gd name="connsiteY23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05000 w 2461364"/>
                  <a:gd name="connsiteY12" fmla="*/ 350520 h 408436"/>
                  <a:gd name="connsiteX13" fmla="*/ 2049780 w 2461364"/>
                  <a:gd name="connsiteY13" fmla="*/ 342900 h 408436"/>
                  <a:gd name="connsiteX14" fmla="*/ 2072640 w 2461364"/>
                  <a:gd name="connsiteY14" fmla="*/ 335280 h 408436"/>
                  <a:gd name="connsiteX15" fmla="*/ 2164080 w 2461364"/>
                  <a:gd name="connsiteY15" fmla="*/ 320040 h 408436"/>
                  <a:gd name="connsiteX16" fmla="*/ 2308860 w 2461364"/>
                  <a:gd name="connsiteY16" fmla="*/ 266700 h 408436"/>
                  <a:gd name="connsiteX17" fmla="*/ 2369820 w 2461364"/>
                  <a:gd name="connsiteY17" fmla="*/ 228600 h 408436"/>
                  <a:gd name="connsiteX18" fmla="*/ 2423160 w 2461364"/>
                  <a:gd name="connsiteY18" fmla="*/ 190500 h 408436"/>
                  <a:gd name="connsiteX19" fmla="*/ 2446020 w 2461364"/>
                  <a:gd name="connsiteY19" fmla="*/ 160020 h 408436"/>
                  <a:gd name="connsiteX20" fmla="*/ 2461260 w 2461364"/>
                  <a:gd name="connsiteY20" fmla="*/ 99060 h 408436"/>
                  <a:gd name="connsiteX21" fmla="*/ 2446020 w 2461364"/>
                  <a:gd name="connsiteY21" fmla="*/ 53340 h 408436"/>
                  <a:gd name="connsiteX22" fmla="*/ 2423160 w 2461364"/>
                  <a:gd name="connsiteY22" fmla="*/ 22860 h 408436"/>
                  <a:gd name="connsiteX23" fmla="*/ 2400300 w 2461364"/>
                  <a:gd name="connsiteY23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05000 w 2461364"/>
                  <a:gd name="connsiteY12" fmla="*/ 350520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20040 h 408436"/>
                  <a:gd name="connsiteX15" fmla="*/ 2308860 w 2461364"/>
                  <a:gd name="connsiteY15" fmla="*/ 266700 h 408436"/>
                  <a:gd name="connsiteX16" fmla="*/ 2369820 w 2461364"/>
                  <a:gd name="connsiteY16" fmla="*/ 228600 h 408436"/>
                  <a:gd name="connsiteX17" fmla="*/ 2423160 w 2461364"/>
                  <a:gd name="connsiteY17" fmla="*/ 190500 h 408436"/>
                  <a:gd name="connsiteX18" fmla="*/ 2446020 w 2461364"/>
                  <a:gd name="connsiteY18" fmla="*/ 160020 h 408436"/>
                  <a:gd name="connsiteX19" fmla="*/ 2461260 w 2461364"/>
                  <a:gd name="connsiteY19" fmla="*/ 99060 h 408436"/>
                  <a:gd name="connsiteX20" fmla="*/ 2446020 w 2461364"/>
                  <a:gd name="connsiteY20" fmla="*/ 53340 h 408436"/>
                  <a:gd name="connsiteX21" fmla="*/ 2423160 w 2461364"/>
                  <a:gd name="connsiteY21" fmla="*/ 22860 h 408436"/>
                  <a:gd name="connsiteX22" fmla="*/ 2400300 w 2461364"/>
                  <a:gd name="connsiteY22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20040 h 408436"/>
                  <a:gd name="connsiteX15" fmla="*/ 2308860 w 2461364"/>
                  <a:gd name="connsiteY15" fmla="*/ 266700 h 408436"/>
                  <a:gd name="connsiteX16" fmla="*/ 2369820 w 2461364"/>
                  <a:gd name="connsiteY16" fmla="*/ 228600 h 408436"/>
                  <a:gd name="connsiteX17" fmla="*/ 2423160 w 2461364"/>
                  <a:gd name="connsiteY17" fmla="*/ 190500 h 408436"/>
                  <a:gd name="connsiteX18" fmla="*/ 2446020 w 2461364"/>
                  <a:gd name="connsiteY18" fmla="*/ 160020 h 408436"/>
                  <a:gd name="connsiteX19" fmla="*/ 2461260 w 2461364"/>
                  <a:gd name="connsiteY19" fmla="*/ 99060 h 408436"/>
                  <a:gd name="connsiteX20" fmla="*/ 2446020 w 2461364"/>
                  <a:gd name="connsiteY20" fmla="*/ 53340 h 408436"/>
                  <a:gd name="connsiteX21" fmla="*/ 2423160 w 2461364"/>
                  <a:gd name="connsiteY21" fmla="*/ 22860 h 408436"/>
                  <a:gd name="connsiteX22" fmla="*/ 2400300 w 2461364"/>
                  <a:gd name="connsiteY22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10515 h 408436"/>
                  <a:gd name="connsiteX15" fmla="*/ 2308860 w 2461364"/>
                  <a:gd name="connsiteY15" fmla="*/ 266700 h 408436"/>
                  <a:gd name="connsiteX16" fmla="*/ 2369820 w 2461364"/>
                  <a:gd name="connsiteY16" fmla="*/ 228600 h 408436"/>
                  <a:gd name="connsiteX17" fmla="*/ 2423160 w 2461364"/>
                  <a:gd name="connsiteY17" fmla="*/ 190500 h 408436"/>
                  <a:gd name="connsiteX18" fmla="*/ 2446020 w 2461364"/>
                  <a:gd name="connsiteY18" fmla="*/ 160020 h 408436"/>
                  <a:gd name="connsiteX19" fmla="*/ 2461260 w 2461364"/>
                  <a:gd name="connsiteY19" fmla="*/ 99060 h 408436"/>
                  <a:gd name="connsiteX20" fmla="*/ 2446020 w 2461364"/>
                  <a:gd name="connsiteY20" fmla="*/ 53340 h 408436"/>
                  <a:gd name="connsiteX21" fmla="*/ 2423160 w 2461364"/>
                  <a:gd name="connsiteY21" fmla="*/ 22860 h 408436"/>
                  <a:gd name="connsiteX22" fmla="*/ 2400300 w 2461364"/>
                  <a:gd name="connsiteY22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10515 h 408436"/>
                  <a:gd name="connsiteX15" fmla="*/ 2308860 w 2461364"/>
                  <a:gd name="connsiteY15" fmla="*/ 247650 h 408436"/>
                  <a:gd name="connsiteX16" fmla="*/ 2369820 w 2461364"/>
                  <a:gd name="connsiteY16" fmla="*/ 228600 h 408436"/>
                  <a:gd name="connsiteX17" fmla="*/ 2423160 w 2461364"/>
                  <a:gd name="connsiteY17" fmla="*/ 190500 h 408436"/>
                  <a:gd name="connsiteX18" fmla="*/ 2446020 w 2461364"/>
                  <a:gd name="connsiteY18" fmla="*/ 160020 h 408436"/>
                  <a:gd name="connsiteX19" fmla="*/ 2461260 w 2461364"/>
                  <a:gd name="connsiteY19" fmla="*/ 99060 h 408436"/>
                  <a:gd name="connsiteX20" fmla="*/ 2446020 w 2461364"/>
                  <a:gd name="connsiteY20" fmla="*/ 53340 h 408436"/>
                  <a:gd name="connsiteX21" fmla="*/ 2423160 w 2461364"/>
                  <a:gd name="connsiteY21" fmla="*/ 22860 h 408436"/>
                  <a:gd name="connsiteX22" fmla="*/ 2400300 w 2461364"/>
                  <a:gd name="connsiteY22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10515 h 408436"/>
                  <a:gd name="connsiteX15" fmla="*/ 2308860 w 2461364"/>
                  <a:gd name="connsiteY15" fmla="*/ 247650 h 408436"/>
                  <a:gd name="connsiteX16" fmla="*/ 2423160 w 2461364"/>
                  <a:gd name="connsiteY16" fmla="*/ 190500 h 408436"/>
                  <a:gd name="connsiteX17" fmla="*/ 2446020 w 2461364"/>
                  <a:gd name="connsiteY17" fmla="*/ 160020 h 408436"/>
                  <a:gd name="connsiteX18" fmla="*/ 2461260 w 2461364"/>
                  <a:gd name="connsiteY18" fmla="*/ 99060 h 408436"/>
                  <a:gd name="connsiteX19" fmla="*/ 2446020 w 2461364"/>
                  <a:gd name="connsiteY19" fmla="*/ 53340 h 408436"/>
                  <a:gd name="connsiteX20" fmla="*/ 2423160 w 2461364"/>
                  <a:gd name="connsiteY20" fmla="*/ 22860 h 408436"/>
                  <a:gd name="connsiteX21" fmla="*/ 2400300 w 2461364"/>
                  <a:gd name="connsiteY21" fmla="*/ 0 h 408436"/>
                  <a:gd name="connsiteX0" fmla="*/ 0 w 2461364"/>
                  <a:gd name="connsiteY0" fmla="*/ 7620 h 408436"/>
                  <a:gd name="connsiteX1" fmla="*/ 7620 w 2461364"/>
                  <a:gd name="connsiteY1" fmla="*/ 45720 h 408436"/>
                  <a:gd name="connsiteX2" fmla="*/ 15240 w 2461364"/>
                  <a:gd name="connsiteY2" fmla="*/ 152400 h 408436"/>
                  <a:gd name="connsiteX3" fmla="*/ 60960 w 2461364"/>
                  <a:gd name="connsiteY3" fmla="*/ 205740 h 408436"/>
                  <a:gd name="connsiteX4" fmla="*/ 152400 w 2461364"/>
                  <a:gd name="connsiteY4" fmla="*/ 274320 h 408436"/>
                  <a:gd name="connsiteX5" fmla="*/ 365760 w 2461364"/>
                  <a:gd name="connsiteY5" fmla="*/ 327660 h 408436"/>
                  <a:gd name="connsiteX6" fmla="*/ 464820 w 2461364"/>
                  <a:gd name="connsiteY6" fmla="*/ 350520 h 408436"/>
                  <a:gd name="connsiteX7" fmla="*/ 579120 w 2461364"/>
                  <a:gd name="connsiteY7" fmla="*/ 365760 h 408436"/>
                  <a:gd name="connsiteX8" fmla="*/ 850900 w 2461364"/>
                  <a:gd name="connsiteY8" fmla="*/ 394335 h 408436"/>
                  <a:gd name="connsiteX9" fmla="*/ 1565910 w 2461364"/>
                  <a:gd name="connsiteY9" fmla="*/ 408305 h 408436"/>
                  <a:gd name="connsiteX10" fmla="*/ 1667510 w 2461364"/>
                  <a:gd name="connsiteY10" fmla="*/ 399415 h 408436"/>
                  <a:gd name="connsiteX11" fmla="*/ 1811655 w 2461364"/>
                  <a:gd name="connsiteY11" fmla="*/ 375920 h 408436"/>
                  <a:gd name="connsiteX12" fmla="*/ 1927225 w 2461364"/>
                  <a:gd name="connsiteY12" fmla="*/ 360045 h 408436"/>
                  <a:gd name="connsiteX13" fmla="*/ 2072640 w 2461364"/>
                  <a:gd name="connsiteY13" fmla="*/ 335280 h 408436"/>
                  <a:gd name="connsiteX14" fmla="*/ 2164080 w 2461364"/>
                  <a:gd name="connsiteY14" fmla="*/ 310515 h 408436"/>
                  <a:gd name="connsiteX15" fmla="*/ 2308860 w 2461364"/>
                  <a:gd name="connsiteY15" fmla="*/ 247650 h 408436"/>
                  <a:gd name="connsiteX16" fmla="*/ 2410460 w 2461364"/>
                  <a:gd name="connsiteY16" fmla="*/ 187325 h 408436"/>
                  <a:gd name="connsiteX17" fmla="*/ 2446020 w 2461364"/>
                  <a:gd name="connsiteY17" fmla="*/ 160020 h 408436"/>
                  <a:gd name="connsiteX18" fmla="*/ 2461260 w 2461364"/>
                  <a:gd name="connsiteY18" fmla="*/ 99060 h 408436"/>
                  <a:gd name="connsiteX19" fmla="*/ 2446020 w 2461364"/>
                  <a:gd name="connsiteY19" fmla="*/ 53340 h 408436"/>
                  <a:gd name="connsiteX20" fmla="*/ 2423160 w 2461364"/>
                  <a:gd name="connsiteY20" fmla="*/ 22860 h 408436"/>
                  <a:gd name="connsiteX21" fmla="*/ 2400300 w 2461364"/>
                  <a:gd name="connsiteY21" fmla="*/ 0 h 408436"/>
                  <a:gd name="connsiteX0" fmla="*/ 0 w 2462688"/>
                  <a:gd name="connsiteY0" fmla="*/ 7620 h 408436"/>
                  <a:gd name="connsiteX1" fmla="*/ 7620 w 2462688"/>
                  <a:gd name="connsiteY1" fmla="*/ 45720 h 408436"/>
                  <a:gd name="connsiteX2" fmla="*/ 15240 w 2462688"/>
                  <a:gd name="connsiteY2" fmla="*/ 152400 h 408436"/>
                  <a:gd name="connsiteX3" fmla="*/ 60960 w 2462688"/>
                  <a:gd name="connsiteY3" fmla="*/ 205740 h 408436"/>
                  <a:gd name="connsiteX4" fmla="*/ 152400 w 2462688"/>
                  <a:gd name="connsiteY4" fmla="*/ 274320 h 408436"/>
                  <a:gd name="connsiteX5" fmla="*/ 365760 w 2462688"/>
                  <a:gd name="connsiteY5" fmla="*/ 327660 h 408436"/>
                  <a:gd name="connsiteX6" fmla="*/ 464820 w 2462688"/>
                  <a:gd name="connsiteY6" fmla="*/ 350520 h 408436"/>
                  <a:gd name="connsiteX7" fmla="*/ 579120 w 2462688"/>
                  <a:gd name="connsiteY7" fmla="*/ 365760 h 408436"/>
                  <a:gd name="connsiteX8" fmla="*/ 850900 w 2462688"/>
                  <a:gd name="connsiteY8" fmla="*/ 394335 h 408436"/>
                  <a:gd name="connsiteX9" fmla="*/ 1565910 w 2462688"/>
                  <a:gd name="connsiteY9" fmla="*/ 408305 h 408436"/>
                  <a:gd name="connsiteX10" fmla="*/ 1667510 w 2462688"/>
                  <a:gd name="connsiteY10" fmla="*/ 399415 h 408436"/>
                  <a:gd name="connsiteX11" fmla="*/ 1811655 w 2462688"/>
                  <a:gd name="connsiteY11" fmla="*/ 375920 h 408436"/>
                  <a:gd name="connsiteX12" fmla="*/ 1927225 w 2462688"/>
                  <a:gd name="connsiteY12" fmla="*/ 360045 h 408436"/>
                  <a:gd name="connsiteX13" fmla="*/ 2072640 w 2462688"/>
                  <a:gd name="connsiteY13" fmla="*/ 335280 h 408436"/>
                  <a:gd name="connsiteX14" fmla="*/ 2164080 w 2462688"/>
                  <a:gd name="connsiteY14" fmla="*/ 310515 h 408436"/>
                  <a:gd name="connsiteX15" fmla="*/ 2308860 w 2462688"/>
                  <a:gd name="connsiteY15" fmla="*/ 247650 h 408436"/>
                  <a:gd name="connsiteX16" fmla="*/ 2410460 w 2462688"/>
                  <a:gd name="connsiteY16" fmla="*/ 187325 h 408436"/>
                  <a:gd name="connsiteX17" fmla="*/ 2461260 w 2462688"/>
                  <a:gd name="connsiteY17" fmla="*/ 99060 h 408436"/>
                  <a:gd name="connsiteX18" fmla="*/ 2446020 w 2462688"/>
                  <a:gd name="connsiteY18" fmla="*/ 53340 h 408436"/>
                  <a:gd name="connsiteX19" fmla="*/ 2423160 w 2462688"/>
                  <a:gd name="connsiteY19" fmla="*/ 22860 h 408436"/>
                  <a:gd name="connsiteX20" fmla="*/ 2400300 w 2462688"/>
                  <a:gd name="connsiteY20" fmla="*/ 0 h 408436"/>
                  <a:gd name="connsiteX0" fmla="*/ 0 w 2462688"/>
                  <a:gd name="connsiteY0" fmla="*/ 0 h 400816"/>
                  <a:gd name="connsiteX1" fmla="*/ 7620 w 2462688"/>
                  <a:gd name="connsiteY1" fmla="*/ 38100 h 400816"/>
                  <a:gd name="connsiteX2" fmla="*/ 15240 w 2462688"/>
                  <a:gd name="connsiteY2" fmla="*/ 144780 h 400816"/>
                  <a:gd name="connsiteX3" fmla="*/ 60960 w 2462688"/>
                  <a:gd name="connsiteY3" fmla="*/ 198120 h 400816"/>
                  <a:gd name="connsiteX4" fmla="*/ 152400 w 2462688"/>
                  <a:gd name="connsiteY4" fmla="*/ 266700 h 400816"/>
                  <a:gd name="connsiteX5" fmla="*/ 365760 w 2462688"/>
                  <a:gd name="connsiteY5" fmla="*/ 320040 h 400816"/>
                  <a:gd name="connsiteX6" fmla="*/ 464820 w 2462688"/>
                  <a:gd name="connsiteY6" fmla="*/ 342900 h 400816"/>
                  <a:gd name="connsiteX7" fmla="*/ 579120 w 2462688"/>
                  <a:gd name="connsiteY7" fmla="*/ 358140 h 400816"/>
                  <a:gd name="connsiteX8" fmla="*/ 850900 w 2462688"/>
                  <a:gd name="connsiteY8" fmla="*/ 386715 h 400816"/>
                  <a:gd name="connsiteX9" fmla="*/ 1565910 w 2462688"/>
                  <a:gd name="connsiteY9" fmla="*/ 400685 h 400816"/>
                  <a:gd name="connsiteX10" fmla="*/ 1667510 w 2462688"/>
                  <a:gd name="connsiteY10" fmla="*/ 391795 h 400816"/>
                  <a:gd name="connsiteX11" fmla="*/ 1811655 w 2462688"/>
                  <a:gd name="connsiteY11" fmla="*/ 368300 h 400816"/>
                  <a:gd name="connsiteX12" fmla="*/ 1927225 w 2462688"/>
                  <a:gd name="connsiteY12" fmla="*/ 352425 h 400816"/>
                  <a:gd name="connsiteX13" fmla="*/ 2072640 w 2462688"/>
                  <a:gd name="connsiteY13" fmla="*/ 327660 h 400816"/>
                  <a:gd name="connsiteX14" fmla="*/ 2164080 w 2462688"/>
                  <a:gd name="connsiteY14" fmla="*/ 302895 h 400816"/>
                  <a:gd name="connsiteX15" fmla="*/ 2308860 w 2462688"/>
                  <a:gd name="connsiteY15" fmla="*/ 240030 h 400816"/>
                  <a:gd name="connsiteX16" fmla="*/ 2410460 w 2462688"/>
                  <a:gd name="connsiteY16" fmla="*/ 179705 h 400816"/>
                  <a:gd name="connsiteX17" fmla="*/ 2461260 w 2462688"/>
                  <a:gd name="connsiteY17" fmla="*/ 91440 h 400816"/>
                  <a:gd name="connsiteX18" fmla="*/ 2446020 w 2462688"/>
                  <a:gd name="connsiteY18" fmla="*/ 45720 h 400816"/>
                  <a:gd name="connsiteX19" fmla="*/ 2423160 w 2462688"/>
                  <a:gd name="connsiteY19" fmla="*/ 15240 h 400816"/>
                  <a:gd name="connsiteX0" fmla="*/ 0 w 2462742"/>
                  <a:gd name="connsiteY0" fmla="*/ 13335 h 414151"/>
                  <a:gd name="connsiteX1" fmla="*/ 7620 w 2462742"/>
                  <a:gd name="connsiteY1" fmla="*/ 51435 h 414151"/>
                  <a:gd name="connsiteX2" fmla="*/ 15240 w 2462742"/>
                  <a:gd name="connsiteY2" fmla="*/ 158115 h 414151"/>
                  <a:gd name="connsiteX3" fmla="*/ 60960 w 2462742"/>
                  <a:gd name="connsiteY3" fmla="*/ 211455 h 414151"/>
                  <a:gd name="connsiteX4" fmla="*/ 152400 w 2462742"/>
                  <a:gd name="connsiteY4" fmla="*/ 280035 h 414151"/>
                  <a:gd name="connsiteX5" fmla="*/ 365760 w 2462742"/>
                  <a:gd name="connsiteY5" fmla="*/ 333375 h 414151"/>
                  <a:gd name="connsiteX6" fmla="*/ 464820 w 2462742"/>
                  <a:gd name="connsiteY6" fmla="*/ 356235 h 414151"/>
                  <a:gd name="connsiteX7" fmla="*/ 579120 w 2462742"/>
                  <a:gd name="connsiteY7" fmla="*/ 371475 h 414151"/>
                  <a:gd name="connsiteX8" fmla="*/ 850900 w 2462742"/>
                  <a:gd name="connsiteY8" fmla="*/ 400050 h 414151"/>
                  <a:gd name="connsiteX9" fmla="*/ 1565910 w 2462742"/>
                  <a:gd name="connsiteY9" fmla="*/ 414020 h 414151"/>
                  <a:gd name="connsiteX10" fmla="*/ 1667510 w 2462742"/>
                  <a:gd name="connsiteY10" fmla="*/ 405130 h 414151"/>
                  <a:gd name="connsiteX11" fmla="*/ 1811655 w 2462742"/>
                  <a:gd name="connsiteY11" fmla="*/ 381635 h 414151"/>
                  <a:gd name="connsiteX12" fmla="*/ 1927225 w 2462742"/>
                  <a:gd name="connsiteY12" fmla="*/ 365760 h 414151"/>
                  <a:gd name="connsiteX13" fmla="*/ 2072640 w 2462742"/>
                  <a:gd name="connsiteY13" fmla="*/ 340995 h 414151"/>
                  <a:gd name="connsiteX14" fmla="*/ 2164080 w 2462742"/>
                  <a:gd name="connsiteY14" fmla="*/ 316230 h 414151"/>
                  <a:gd name="connsiteX15" fmla="*/ 2308860 w 2462742"/>
                  <a:gd name="connsiteY15" fmla="*/ 253365 h 414151"/>
                  <a:gd name="connsiteX16" fmla="*/ 2410460 w 2462742"/>
                  <a:gd name="connsiteY16" fmla="*/ 193040 h 414151"/>
                  <a:gd name="connsiteX17" fmla="*/ 2461260 w 2462742"/>
                  <a:gd name="connsiteY17" fmla="*/ 104775 h 414151"/>
                  <a:gd name="connsiteX18" fmla="*/ 2446020 w 2462742"/>
                  <a:gd name="connsiteY18" fmla="*/ 59055 h 414151"/>
                  <a:gd name="connsiteX19" fmla="*/ 2413635 w 2462742"/>
                  <a:gd name="connsiteY19" fmla="*/ 0 h 414151"/>
                  <a:gd name="connsiteX0" fmla="*/ 0 w 2463256"/>
                  <a:gd name="connsiteY0" fmla="*/ 13335 h 414151"/>
                  <a:gd name="connsiteX1" fmla="*/ 7620 w 2463256"/>
                  <a:gd name="connsiteY1" fmla="*/ 51435 h 414151"/>
                  <a:gd name="connsiteX2" fmla="*/ 15240 w 2463256"/>
                  <a:gd name="connsiteY2" fmla="*/ 158115 h 414151"/>
                  <a:gd name="connsiteX3" fmla="*/ 60960 w 2463256"/>
                  <a:gd name="connsiteY3" fmla="*/ 211455 h 414151"/>
                  <a:gd name="connsiteX4" fmla="*/ 152400 w 2463256"/>
                  <a:gd name="connsiteY4" fmla="*/ 280035 h 414151"/>
                  <a:gd name="connsiteX5" fmla="*/ 365760 w 2463256"/>
                  <a:gd name="connsiteY5" fmla="*/ 333375 h 414151"/>
                  <a:gd name="connsiteX6" fmla="*/ 464820 w 2463256"/>
                  <a:gd name="connsiteY6" fmla="*/ 356235 h 414151"/>
                  <a:gd name="connsiteX7" fmla="*/ 579120 w 2463256"/>
                  <a:gd name="connsiteY7" fmla="*/ 371475 h 414151"/>
                  <a:gd name="connsiteX8" fmla="*/ 850900 w 2463256"/>
                  <a:gd name="connsiteY8" fmla="*/ 400050 h 414151"/>
                  <a:gd name="connsiteX9" fmla="*/ 1565910 w 2463256"/>
                  <a:gd name="connsiteY9" fmla="*/ 414020 h 414151"/>
                  <a:gd name="connsiteX10" fmla="*/ 1667510 w 2463256"/>
                  <a:gd name="connsiteY10" fmla="*/ 405130 h 414151"/>
                  <a:gd name="connsiteX11" fmla="*/ 1811655 w 2463256"/>
                  <a:gd name="connsiteY11" fmla="*/ 381635 h 414151"/>
                  <a:gd name="connsiteX12" fmla="*/ 1927225 w 2463256"/>
                  <a:gd name="connsiteY12" fmla="*/ 365760 h 414151"/>
                  <a:gd name="connsiteX13" fmla="*/ 2072640 w 2463256"/>
                  <a:gd name="connsiteY13" fmla="*/ 340995 h 414151"/>
                  <a:gd name="connsiteX14" fmla="*/ 2164080 w 2463256"/>
                  <a:gd name="connsiteY14" fmla="*/ 316230 h 414151"/>
                  <a:gd name="connsiteX15" fmla="*/ 2308860 w 2463256"/>
                  <a:gd name="connsiteY15" fmla="*/ 253365 h 414151"/>
                  <a:gd name="connsiteX16" fmla="*/ 2410460 w 2463256"/>
                  <a:gd name="connsiteY16" fmla="*/ 193040 h 414151"/>
                  <a:gd name="connsiteX17" fmla="*/ 2461260 w 2463256"/>
                  <a:gd name="connsiteY17" fmla="*/ 104775 h 414151"/>
                  <a:gd name="connsiteX18" fmla="*/ 2449195 w 2463256"/>
                  <a:gd name="connsiteY18" fmla="*/ 46355 h 414151"/>
                  <a:gd name="connsiteX19" fmla="*/ 2413635 w 2463256"/>
                  <a:gd name="connsiteY19" fmla="*/ 0 h 414151"/>
                  <a:gd name="connsiteX0" fmla="*/ 0 w 2463256"/>
                  <a:gd name="connsiteY0" fmla="*/ 13335 h 414151"/>
                  <a:gd name="connsiteX1" fmla="*/ 7620 w 2463256"/>
                  <a:gd name="connsiteY1" fmla="*/ 51435 h 414151"/>
                  <a:gd name="connsiteX2" fmla="*/ 15240 w 2463256"/>
                  <a:gd name="connsiteY2" fmla="*/ 158115 h 414151"/>
                  <a:gd name="connsiteX3" fmla="*/ 60960 w 2463256"/>
                  <a:gd name="connsiteY3" fmla="*/ 211455 h 414151"/>
                  <a:gd name="connsiteX4" fmla="*/ 152400 w 2463256"/>
                  <a:gd name="connsiteY4" fmla="*/ 280035 h 414151"/>
                  <a:gd name="connsiteX5" fmla="*/ 365760 w 2463256"/>
                  <a:gd name="connsiteY5" fmla="*/ 333375 h 414151"/>
                  <a:gd name="connsiteX6" fmla="*/ 464820 w 2463256"/>
                  <a:gd name="connsiteY6" fmla="*/ 356235 h 414151"/>
                  <a:gd name="connsiteX7" fmla="*/ 579120 w 2463256"/>
                  <a:gd name="connsiteY7" fmla="*/ 371475 h 414151"/>
                  <a:gd name="connsiteX8" fmla="*/ 850900 w 2463256"/>
                  <a:gd name="connsiteY8" fmla="*/ 400050 h 414151"/>
                  <a:gd name="connsiteX9" fmla="*/ 1565910 w 2463256"/>
                  <a:gd name="connsiteY9" fmla="*/ 414020 h 414151"/>
                  <a:gd name="connsiteX10" fmla="*/ 1667510 w 2463256"/>
                  <a:gd name="connsiteY10" fmla="*/ 405130 h 414151"/>
                  <a:gd name="connsiteX11" fmla="*/ 1811655 w 2463256"/>
                  <a:gd name="connsiteY11" fmla="*/ 381635 h 414151"/>
                  <a:gd name="connsiteX12" fmla="*/ 1927225 w 2463256"/>
                  <a:gd name="connsiteY12" fmla="*/ 365760 h 414151"/>
                  <a:gd name="connsiteX13" fmla="*/ 2072640 w 2463256"/>
                  <a:gd name="connsiteY13" fmla="*/ 340995 h 414151"/>
                  <a:gd name="connsiteX14" fmla="*/ 2164080 w 2463256"/>
                  <a:gd name="connsiteY14" fmla="*/ 316230 h 414151"/>
                  <a:gd name="connsiteX15" fmla="*/ 2308860 w 2463256"/>
                  <a:gd name="connsiteY15" fmla="*/ 253365 h 414151"/>
                  <a:gd name="connsiteX16" fmla="*/ 2410460 w 2463256"/>
                  <a:gd name="connsiteY16" fmla="*/ 183515 h 414151"/>
                  <a:gd name="connsiteX17" fmla="*/ 2461260 w 2463256"/>
                  <a:gd name="connsiteY17" fmla="*/ 104775 h 414151"/>
                  <a:gd name="connsiteX18" fmla="*/ 2449195 w 2463256"/>
                  <a:gd name="connsiteY18" fmla="*/ 46355 h 414151"/>
                  <a:gd name="connsiteX19" fmla="*/ 2413635 w 2463256"/>
                  <a:gd name="connsiteY19" fmla="*/ 0 h 414151"/>
                  <a:gd name="connsiteX0" fmla="*/ 11515 w 2474771"/>
                  <a:gd name="connsiteY0" fmla="*/ 13335 h 414151"/>
                  <a:gd name="connsiteX1" fmla="*/ 85 w 2474771"/>
                  <a:gd name="connsiteY1" fmla="*/ 48260 h 414151"/>
                  <a:gd name="connsiteX2" fmla="*/ 26755 w 2474771"/>
                  <a:gd name="connsiteY2" fmla="*/ 158115 h 414151"/>
                  <a:gd name="connsiteX3" fmla="*/ 72475 w 2474771"/>
                  <a:gd name="connsiteY3" fmla="*/ 211455 h 414151"/>
                  <a:gd name="connsiteX4" fmla="*/ 163915 w 2474771"/>
                  <a:gd name="connsiteY4" fmla="*/ 280035 h 414151"/>
                  <a:gd name="connsiteX5" fmla="*/ 377275 w 2474771"/>
                  <a:gd name="connsiteY5" fmla="*/ 333375 h 414151"/>
                  <a:gd name="connsiteX6" fmla="*/ 476335 w 2474771"/>
                  <a:gd name="connsiteY6" fmla="*/ 356235 h 414151"/>
                  <a:gd name="connsiteX7" fmla="*/ 590635 w 2474771"/>
                  <a:gd name="connsiteY7" fmla="*/ 371475 h 414151"/>
                  <a:gd name="connsiteX8" fmla="*/ 862415 w 2474771"/>
                  <a:gd name="connsiteY8" fmla="*/ 400050 h 414151"/>
                  <a:gd name="connsiteX9" fmla="*/ 1577425 w 2474771"/>
                  <a:gd name="connsiteY9" fmla="*/ 414020 h 414151"/>
                  <a:gd name="connsiteX10" fmla="*/ 1679025 w 2474771"/>
                  <a:gd name="connsiteY10" fmla="*/ 405130 h 414151"/>
                  <a:gd name="connsiteX11" fmla="*/ 1823170 w 2474771"/>
                  <a:gd name="connsiteY11" fmla="*/ 381635 h 414151"/>
                  <a:gd name="connsiteX12" fmla="*/ 1938740 w 2474771"/>
                  <a:gd name="connsiteY12" fmla="*/ 365760 h 414151"/>
                  <a:gd name="connsiteX13" fmla="*/ 2084155 w 2474771"/>
                  <a:gd name="connsiteY13" fmla="*/ 340995 h 414151"/>
                  <a:gd name="connsiteX14" fmla="*/ 2175595 w 2474771"/>
                  <a:gd name="connsiteY14" fmla="*/ 316230 h 414151"/>
                  <a:gd name="connsiteX15" fmla="*/ 2320375 w 2474771"/>
                  <a:gd name="connsiteY15" fmla="*/ 253365 h 414151"/>
                  <a:gd name="connsiteX16" fmla="*/ 2421975 w 2474771"/>
                  <a:gd name="connsiteY16" fmla="*/ 183515 h 414151"/>
                  <a:gd name="connsiteX17" fmla="*/ 2472775 w 2474771"/>
                  <a:gd name="connsiteY17" fmla="*/ 104775 h 414151"/>
                  <a:gd name="connsiteX18" fmla="*/ 2460710 w 2474771"/>
                  <a:gd name="connsiteY18" fmla="*/ 46355 h 414151"/>
                  <a:gd name="connsiteX19" fmla="*/ 2425150 w 2474771"/>
                  <a:gd name="connsiteY19" fmla="*/ 0 h 414151"/>
                  <a:gd name="connsiteX0" fmla="*/ 11515 w 2474771"/>
                  <a:gd name="connsiteY0" fmla="*/ 13335 h 414151"/>
                  <a:gd name="connsiteX1" fmla="*/ 85 w 2474771"/>
                  <a:gd name="connsiteY1" fmla="*/ 48260 h 414151"/>
                  <a:gd name="connsiteX2" fmla="*/ 26755 w 2474771"/>
                  <a:gd name="connsiteY2" fmla="*/ 158115 h 414151"/>
                  <a:gd name="connsiteX3" fmla="*/ 72475 w 2474771"/>
                  <a:gd name="connsiteY3" fmla="*/ 211455 h 414151"/>
                  <a:gd name="connsiteX4" fmla="*/ 182965 w 2474771"/>
                  <a:gd name="connsiteY4" fmla="*/ 270510 h 414151"/>
                  <a:gd name="connsiteX5" fmla="*/ 377275 w 2474771"/>
                  <a:gd name="connsiteY5" fmla="*/ 333375 h 414151"/>
                  <a:gd name="connsiteX6" fmla="*/ 476335 w 2474771"/>
                  <a:gd name="connsiteY6" fmla="*/ 356235 h 414151"/>
                  <a:gd name="connsiteX7" fmla="*/ 590635 w 2474771"/>
                  <a:gd name="connsiteY7" fmla="*/ 371475 h 414151"/>
                  <a:gd name="connsiteX8" fmla="*/ 862415 w 2474771"/>
                  <a:gd name="connsiteY8" fmla="*/ 400050 h 414151"/>
                  <a:gd name="connsiteX9" fmla="*/ 1577425 w 2474771"/>
                  <a:gd name="connsiteY9" fmla="*/ 414020 h 414151"/>
                  <a:gd name="connsiteX10" fmla="*/ 1679025 w 2474771"/>
                  <a:gd name="connsiteY10" fmla="*/ 405130 h 414151"/>
                  <a:gd name="connsiteX11" fmla="*/ 1823170 w 2474771"/>
                  <a:gd name="connsiteY11" fmla="*/ 381635 h 414151"/>
                  <a:gd name="connsiteX12" fmla="*/ 1938740 w 2474771"/>
                  <a:gd name="connsiteY12" fmla="*/ 365760 h 414151"/>
                  <a:gd name="connsiteX13" fmla="*/ 2084155 w 2474771"/>
                  <a:gd name="connsiteY13" fmla="*/ 340995 h 414151"/>
                  <a:gd name="connsiteX14" fmla="*/ 2175595 w 2474771"/>
                  <a:gd name="connsiteY14" fmla="*/ 316230 h 414151"/>
                  <a:gd name="connsiteX15" fmla="*/ 2320375 w 2474771"/>
                  <a:gd name="connsiteY15" fmla="*/ 253365 h 414151"/>
                  <a:gd name="connsiteX16" fmla="*/ 2421975 w 2474771"/>
                  <a:gd name="connsiteY16" fmla="*/ 183515 h 414151"/>
                  <a:gd name="connsiteX17" fmla="*/ 2472775 w 2474771"/>
                  <a:gd name="connsiteY17" fmla="*/ 104775 h 414151"/>
                  <a:gd name="connsiteX18" fmla="*/ 2460710 w 2474771"/>
                  <a:gd name="connsiteY18" fmla="*/ 46355 h 414151"/>
                  <a:gd name="connsiteX19" fmla="*/ 2425150 w 2474771"/>
                  <a:gd name="connsiteY19" fmla="*/ 0 h 414151"/>
                  <a:gd name="connsiteX0" fmla="*/ 11515 w 2474960"/>
                  <a:gd name="connsiteY0" fmla="*/ 32385 h 433201"/>
                  <a:gd name="connsiteX1" fmla="*/ 85 w 2474960"/>
                  <a:gd name="connsiteY1" fmla="*/ 67310 h 433201"/>
                  <a:gd name="connsiteX2" fmla="*/ 26755 w 2474960"/>
                  <a:gd name="connsiteY2" fmla="*/ 177165 h 433201"/>
                  <a:gd name="connsiteX3" fmla="*/ 72475 w 2474960"/>
                  <a:gd name="connsiteY3" fmla="*/ 230505 h 433201"/>
                  <a:gd name="connsiteX4" fmla="*/ 182965 w 2474960"/>
                  <a:gd name="connsiteY4" fmla="*/ 289560 h 433201"/>
                  <a:gd name="connsiteX5" fmla="*/ 377275 w 2474960"/>
                  <a:gd name="connsiteY5" fmla="*/ 352425 h 433201"/>
                  <a:gd name="connsiteX6" fmla="*/ 476335 w 2474960"/>
                  <a:gd name="connsiteY6" fmla="*/ 375285 h 433201"/>
                  <a:gd name="connsiteX7" fmla="*/ 590635 w 2474960"/>
                  <a:gd name="connsiteY7" fmla="*/ 390525 h 433201"/>
                  <a:gd name="connsiteX8" fmla="*/ 862415 w 2474960"/>
                  <a:gd name="connsiteY8" fmla="*/ 419100 h 433201"/>
                  <a:gd name="connsiteX9" fmla="*/ 1577425 w 2474960"/>
                  <a:gd name="connsiteY9" fmla="*/ 433070 h 433201"/>
                  <a:gd name="connsiteX10" fmla="*/ 1679025 w 2474960"/>
                  <a:gd name="connsiteY10" fmla="*/ 424180 h 433201"/>
                  <a:gd name="connsiteX11" fmla="*/ 1823170 w 2474960"/>
                  <a:gd name="connsiteY11" fmla="*/ 400685 h 433201"/>
                  <a:gd name="connsiteX12" fmla="*/ 1938740 w 2474960"/>
                  <a:gd name="connsiteY12" fmla="*/ 384810 h 433201"/>
                  <a:gd name="connsiteX13" fmla="*/ 2084155 w 2474960"/>
                  <a:gd name="connsiteY13" fmla="*/ 360045 h 433201"/>
                  <a:gd name="connsiteX14" fmla="*/ 2175595 w 2474960"/>
                  <a:gd name="connsiteY14" fmla="*/ 335280 h 433201"/>
                  <a:gd name="connsiteX15" fmla="*/ 2320375 w 2474960"/>
                  <a:gd name="connsiteY15" fmla="*/ 272415 h 433201"/>
                  <a:gd name="connsiteX16" fmla="*/ 2421975 w 2474960"/>
                  <a:gd name="connsiteY16" fmla="*/ 202565 h 433201"/>
                  <a:gd name="connsiteX17" fmla="*/ 2472775 w 2474960"/>
                  <a:gd name="connsiteY17" fmla="*/ 123825 h 433201"/>
                  <a:gd name="connsiteX18" fmla="*/ 2460710 w 2474960"/>
                  <a:gd name="connsiteY18" fmla="*/ 65405 h 433201"/>
                  <a:gd name="connsiteX19" fmla="*/ 2415625 w 2474960"/>
                  <a:gd name="connsiteY19" fmla="*/ 0 h 433201"/>
                  <a:gd name="connsiteX0" fmla="*/ 24135 w 2474880"/>
                  <a:gd name="connsiteY0" fmla="*/ 16510 h 433201"/>
                  <a:gd name="connsiteX1" fmla="*/ 5 w 2474880"/>
                  <a:gd name="connsiteY1" fmla="*/ 67310 h 433201"/>
                  <a:gd name="connsiteX2" fmla="*/ 26675 w 2474880"/>
                  <a:gd name="connsiteY2" fmla="*/ 177165 h 433201"/>
                  <a:gd name="connsiteX3" fmla="*/ 72395 w 2474880"/>
                  <a:gd name="connsiteY3" fmla="*/ 230505 h 433201"/>
                  <a:gd name="connsiteX4" fmla="*/ 182885 w 2474880"/>
                  <a:gd name="connsiteY4" fmla="*/ 289560 h 433201"/>
                  <a:gd name="connsiteX5" fmla="*/ 377195 w 2474880"/>
                  <a:gd name="connsiteY5" fmla="*/ 352425 h 433201"/>
                  <a:gd name="connsiteX6" fmla="*/ 476255 w 2474880"/>
                  <a:gd name="connsiteY6" fmla="*/ 375285 h 433201"/>
                  <a:gd name="connsiteX7" fmla="*/ 590555 w 2474880"/>
                  <a:gd name="connsiteY7" fmla="*/ 390525 h 433201"/>
                  <a:gd name="connsiteX8" fmla="*/ 862335 w 2474880"/>
                  <a:gd name="connsiteY8" fmla="*/ 419100 h 433201"/>
                  <a:gd name="connsiteX9" fmla="*/ 1577345 w 2474880"/>
                  <a:gd name="connsiteY9" fmla="*/ 433070 h 433201"/>
                  <a:gd name="connsiteX10" fmla="*/ 1678945 w 2474880"/>
                  <a:gd name="connsiteY10" fmla="*/ 424180 h 433201"/>
                  <a:gd name="connsiteX11" fmla="*/ 1823090 w 2474880"/>
                  <a:gd name="connsiteY11" fmla="*/ 400685 h 433201"/>
                  <a:gd name="connsiteX12" fmla="*/ 1938660 w 2474880"/>
                  <a:gd name="connsiteY12" fmla="*/ 384810 h 433201"/>
                  <a:gd name="connsiteX13" fmla="*/ 2084075 w 2474880"/>
                  <a:gd name="connsiteY13" fmla="*/ 360045 h 433201"/>
                  <a:gd name="connsiteX14" fmla="*/ 2175515 w 2474880"/>
                  <a:gd name="connsiteY14" fmla="*/ 335280 h 433201"/>
                  <a:gd name="connsiteX15" fmla="*/ 2320295 w 2474880"/>
                  <a:gd name="connsiteY15" fmla="*/ 272415 h 433201"/>
                  <a:gd name="connsiteX16" fmla="*/ 2421895 w 2474880"/>
                  <a:gd name="connsiteY16" fmla="*/ 202565 h 433201"/>
                  <a:gd name="connsiteX17" fmla="*/ 2472695 w 2474880"/>
                  <a:gd name="connsiteY17" fmla="*/ 123825 h 433201"/>
                  <a:gd name="connsiteX18" fmla="*/ 2460630 w 2474880"/>
                  <a:gd name="connsiteY18" fmla="*/ 65405 h 433201"/>
                  <a:gd name="connsiteX19" fmla="*/ 2415545 w 2474880"/>
                  <a:gd name="connsiteY19" fmla="*/ 0 h 433201"/>
                  <a:gd name="connsiteX0" fmla="*/ 30947 w 2481692"/>
                  <a:gd name="connsiteY0" fmla="*/ 16510 h 433201"/>
                  <a:gd name="connsiteX1" fmla="*/ 6817 w 2481692"/>
                  <a:gd name="connsiteY1" fmla="*/ 67310 h 433201"/>
                  <a:gd name="connsiteX2" fmla="*/ 33487 w 2481692"/>
                  <a:gd name="connsiteY2" fmla="*/ 177165 h 433201"/>
                  <a:gd name="connsiteX3" fmla="*/ 79207 w 2481692"/>
                  <a:gd name="connsiteY3" fmla="*/ 230505 h 433201"/>
                  <a:gd name="connsiteX4" fmla="*/ 189697 w 2481692"/>
                  <a:gd name="connsiteY4" fmla="*/ 289560 h 433201"/>
                  <a:gd name="connsiteX5" fmla="*/ 384007 w 2481692"/>
                  <a:gd name="connsiteY5" fmla="*/ 352425 h 433201"/>
                  <a:gd name="connsiteX6" fmla="*/ 483067 w 2481692"/>
                  <a:gd name="connsiteY6" fmla="*/ 375285 h 433201"/>
                  <a:gd name="connsiteX7" fmla="*/ 597367 w 2481692"/>
                  <a:gd name="connsiteY7" fmla="*/ 390525 h 433201"/>
                  <a:gd name="connsiteX8" fmla="*/ 869147 w 2481692"/>
                  <a:gd name="connsiteY8" fmla="*/ 419100 h 433201"/>
                  <a:gd name="connsiteX9" fmla="*/ 1584157 w 2481692"/>
                  <a:gd name="connsiteY9" fmla="*/ 433070 h 433201"/>
                  <a:gd name="connsiteX10" fmla="*/ 1685757 w 2481692"/>
                  <a:gd name="connsiteY10" fmla="*/ 424180 h 433201"/>
                  <a:gd name="connsiteX11" fmla="*/ 1829902 w 2481692"/>
                  <a:gd name="connsiteY11" fmla="*/ 400685 h 433201"/>
                  <a:gd name="connsiteX12" fmla="*/ 1945472 w 2481692"/>
                  <a:gd name="connsiteY12" fmla="*/ 384810 h 433201"/>
                  <a:gd name="connsiteX13" fmla="*/ 2090887 w 2481692"/>
                  <a:gd name="connsiteY13" fmla="*/ 360045 h 433201"/>
                  <a:gd name="connsiteX14" fmla="*/ 2182327 w 2481692"/>
                  <a:gd name="connsiteY14" fmla="*/ 335280 h 433201"/>
                  <a:gd name="connsiteX15" fmla="*/ 2327107 w 2481692"/>
                  <a:gd name="connsiteY15" fmla="*/ 272415 h 433201"/>
                  <a:gd name="connsiteX16" fmla="*/ 2428707 w 2481692"/>
                  <a:gd name="connsiteY16" fmla="*/ 202565 h 433201"/>
                  <a:gd name="connsiteX17" fmla="*/ 2479507 w 2481692"/>
                  <a:gd name="connsiteY17" fmla="*/ 123825 h 433201"/>
                  <a:gd name="connsiteX18" fmla="*/ 2467442 w 2481692"/>
                  <a:gd name="connsiteY18" fmla="*/ 65405 h 433201"/>
                  <a:gd name="connsiteX19" fmla="*/ 2422357 w 2481692"/>
                  <a:gd name="connsiteY19" fmla="*/ 0 h 433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81692" h="433201">
                    <a:moveTo>
                      <a:pt x="30947" y="16510"/>
                    </a:moveTo>
                    <a:cubicBezTo>
                      <a:pt x="33487" y="29210"/>
                      <a:pt x="14987" y="41808"/>
                      <a:pt x="6817" y="67310"/>
                    </a:cubicBezTo>
                    <a:cubicBezTo>
                      <a:pt x="-14985" y="135361"/>
                      <a:pt x="21422" y="149966"/>
                      <a:pt x="33487" y="177165"/>
                    </a:cubicBezTo>
                    <a:cubicBezTo>
                      <a:pt x="45552" y="204364"/>
                      <a:pt x="53172" y="211773"/>
                      <a:pt x="79207" y="230505"/>
                    </a:cubicBezTo>
                    <a:cubicBezTo>
                      <a:pt x="105242" y="249237"/>
                      <a:pt x="138897" y="269240"/>
                      <a:pt x="189697" y="289560"/>
                    </a:cubicBezTo>
                    <a:cubicBezTo>
                      <a:pt x="240497" y="309880"/>
                      <a:pt x="335112" y="338138"/>
                      <a:pt x="384007" y="352425"/>
                    </a:cubicBezTo>
                    <a:cubicBezTo>
                      <a:pt x="432902" y="366713"/>
                      <a:pt x="447507" y="368935"/>
                      <a:pt x="483067" y="375285"/>
                    </a:cubicBezTo>
                    <a:cubicBezTo>
                      <a:pt x="518627" y="381635"/>
                      <a:pt x="574507" y="386715"/>
                      <a:pt x="597367" y="390525"/>
                    </a:cubicBezTo>
                    <a:cubicBezTo>
                      <a:pt x="640547" y="399415"/>
                      <a:pt x="704682" y="412009"/>
                      <a:pt x="869147" y="419100"/>
                    </a:cubicBezTo>
                    <a:cubicBezTo>
                      <a:pt x="1033612" y="426191"/>
                      <a:pt x="1421597" y="434340"/>
                      <a:pt x="1584157" y="433070"/>
                    </a:cubicBezTo>
                    <a:cubicBezTo>
                      <a:pt x="1597831" y="432713"/>
                      <a:pt x="1644800" y="429577"/>
                      <a:pt x="1685757" y="424180"/>
                    </a:cubicBezTo>
                    <a:cubicBezTo>
                      <a:pt x="1726714" y="418783"/>
                      <a:pt x="1814662" y="403225"/>
                      <a:pt x="1829902" y="400685"/>
                    </a:cubicBezTo>
                    <a:cubicBezTo>
                      <a:pt x="1869484" y="392536"/>
                      <a:pt x="1901975" y="391583"/>
                      <a:pt x="1945472" y="384810"/>
                    </a:cubicBezTo>
                    <a:cubicBezTo>
                      <a:pt x="1988970" y="378037"/>
                      <a:pt x="2051411" y="368300"/>
                      <a:pt x="2090887" y="360045"/>
                    </a:cubicBezTo>
                    <a:cubicBezTo>
                      <a:pt x="2130363" y="351790"/>
                      <a:pt x="2152220" y="339581"/>
                      <a:pt x="2182327" y="335280"/>
                    </a:cubicBezTo>
                    <a:cubicBezTo>
                      <a:pt x="2209880" y="326096"/>
                      <a:pt x="2286044" y="294534"/>
                      <a:pt x="2327107" y="272415"/>
                    </a:cubicBezTo>
                    <a:cubicBezTo>
                      <a:pt x="2368170" y="250296"/>
                      <a:pt x="2403307" y="227330"/>
                      <a:pt x="2428707" y="202565"/>
                    </a:cubicBezTo>
                    <a:cubicBezTo>
                      <a:pt x="2454107" y="177800"/>
                      <a:pt x="2473051" y="146685"/>
                      <a:pt x="2479507" y="123825"/>
                    </a:cubicBezTo>
                    <a:cubicBezTo>
                      <a:pt x="2485963" y="100965"/>
                      <a:pt x="2476967" y="86042"/>
                      <a:pt x="2467442" y="65405"/>
                    </a:cubicBezTo>
                    <a:cubicBezTo>
                      <a:pt x="2457917" y="44768"/>
                      <a:pt x="2430622" y="9643"/>
                      <a:pt x="2422357" y="0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49325098-7B31-23BE-701A-500F51002ED2}"/>
                  </a:ext>
                </a:extLst>
              </p:cNvPr>
              <p:cNvSpPr/>
              <p:nvPr/>
            </p:nvSpPr>
            <p:spPr>
              <a:xfrm>
                <a:off x="3771600" y="3990677"/>
                <a:ext cx="2262487" cy="970709"/>
              </a:xfrm>
              <a:custGeom>
                <a:avLst/>
                <a:gdLst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04775 w 2262188"/>
                  <a:gd name="connsiteY2" fmla="*/ 157163 h 982971"/>
                  <a:gd name="connsiteX3" fmla="*/ 138113 w 2262188"/>
                  <a:gd name="connsiteY3" fmla="*/ 185738 h 982971"/>
                  <a:gd name="connsiteX4" fmla="*/ 157163 w 2262188"/>
                  <a:gd name="connsiteY4" fmla="*/ 195263 h 982971"/>
                  <a:gd name="connsiteX5" fmla="*/ 195263 w 2262188"/>
                  <a:gd name="connsiteY5" fmla="*/ 242888 h 982971"/>
                  <a:gd name="connsiteX6" fmla="*/ 223838 w 2262188"/>
                  <a:gd name="connsiteY6" fmla="*/ 285750 h 982971"/>
                  <a:gd name="connsiteX7" fmla="*/ 252413 w 2262188"/>
                  <a:gd name="connsiteY7" fmla="*/ 319088 h 982971"/>
                  <a:gd name="connsiteX8" fmla="*/ 271463 w 2262188"/>
                  <a:gd name="connsiteY8" fmla="*/ 347663 h 982971"/>
                  <a:gd name="connsiteX9" fmla="*/ 290513 w 2262188"/>
                  <a:gd name="connsiteY9" fmla="*/ 366713 h 982971"/>
                  <a:gd name="connsiteX10" fmla="*/ 338138 w 2262188"/>
                  <a:gd name="connsiteY10" fmla="*/ 419100 h 982971"/>
                  <a:gd name="connsiteX11" fmla="*/ 371475 w 2262188"/>
                  <a:gd name="connsiteY11" fmla="*/ 438150 h 982971"/>
                  <a:gd name="connsiteX12" fmla="*/ 395288 w 2262188"/>
                  <a:gd name="connsiteY12" fmla="*/ 457200 h 982971"/>
                  <a:gd name="connsiteX13" fmla="*/ 433388 w 2262188"/>
                  <a:gd name="connsiteY13" fmla="*/ 476250 h 982971"/>
                  <a:gd name="connsiteX14" fmla="*/ 476250 w 2262188"/>
                  <a:gd name="connsiteY14" fmla="*/ 509588 h 982971"/>
                  <a:gd name="connsiteX15" fmla="*/ 542925 w 2262188"/>
                  <a:gd name="connsiteY15" fmla="*/ 557213 h 982971"/>
                  <a:gd name="connsiteX16" fmla="*/ 600075 w 2262188"/>
                  <a:gd name="connsiteY16" fmla="*/ 614363 h 982971"/>
                  <a:gd name="connsiteX17" fmla="*/ 633413 w 2262188"/>
                  <a:gd name="connsiteY17" fmla="*/ 633413 h 982971"/>
                  <a:gd name="connsiteX18" fmla="*/ 690563 w 2262188"/>
                  <a:gd name="connsiteY18" fmla="*/ 676275 h 982971"/>
                  <a:gd name="connsiteX19" fmla="*/ 757238 w 2262188"/>
                  <a:gd name="connsiteY19" fmla="*/ 714375 h 982971"/>
                  <a:gd name="connsiteX20" fmla="*/ 776288 w 2262188"/>
                  <a:gd name="connsiteY20" fmla="*/ 728663 h 982971"/>
                  <a:gd name="connsiteX21" fmla="*/ 828675 w 2262188"/>
                  <a:gd name="connsiteY21" fmla="*/ 752475 h 982971"/>
                  <a:gd name="connsiteX22" fmla="*/ 847725 w 2262188"/>
                  <a:gd name="connsiteY22" fmla="*/ 766763 h 982971"/>
                  <a:gd name="connsiteX23" fmla="*/ 914400 w 2262188"/>
                  <a:gd name="connsiteY23" fmla="*/ 790575 h 982971"/>
                  <a:gd name="connsiteX24" fmla="*/ 947738 w 2262188"/>
                  <a:gd name="connsiteY24" fmla="*/ 809625 h 982971"/>
                  <a:gd name="connsiteX25" fmla="*/ 966788 w 2262188"/>
                  <a:gd name="connsiteY25" fmla="*/ 823913 h 982971"/>
                  <a:gd name="connsiteX26" fmla="*/ 981075 w 2262188"/>
                  <a:gd name="connsiteY26" fmla="*/ 828675 h 982971"/>
                  <a:gd name="connsiteX27" fmla="*/ 1000125 w 2262188"/>
                  <a:gd name="connsiteY27" fmla="*/ 838200 h 982971"/>
                  <a:gd name="connsiteX28" fmla="*/ 1033463 w 2262188"/>
                  <a:gd name="connsiteY28" fmla="*/ 852488 h 982971"/>
                  <a:gd name="connsiteX29" fmla="*/ 1100138 w 2262188"/>
                  <a:gd name="connsiteY29" fmla="*/ 881063 h 982971"/>
                  <a:gd name="connsiteX30" fmla="*/ 1128713 w 2262188"/>
                  <a:gd name="connsiteY30" fmla="*/ 885825 h 982971"/>
                  <a:gd name="connsiteX31" fmla="*/ 1204913 w 2262188"/>
                  <a:gd name="connsiteY31" fmla="*/ 909638 h 982971"/>
                  <a:gd name="connsiteX32" fmla="*/ 1233488 w 2262188"/>
                  <a:gd name="connsiteY32" fmla="*/ 914400 h 982971"/>
                  <a:gd name="connsiteX33" fmla="*/ 1281113 w 2262188"/>
                  <a:gd name="connsiteY33" fmla="*/ 928688 h 982971"/>
                  <a:gd name="connsiteX34" fmla="*/ 1343025 w 2262188"/>
                  <a:gd name="connsiteY34" fmla="*/ 933450 h 982971"/>
                  <a:gd name="connsiteX35" fmla="*/ 1409700 w 2262188"/>
                  <a:gd name="connsiteY35" fmla="*/ 942975 h 982971"/>
                  <a:gd name="connsiteX36" fmla="*/ 1485900 w 2262188"/>
                  <a:gd name="connsiteY36" fmla="*/ 952500 h 982971"/>
                  <a:gd name="connsiteX37" fmla="*/ 1538288 w 2262188"/>
                  <a:gd name="connsiteY37" fmla="*/ 962025 h 982971"/>
                  <a:gd name="connsiteX38" fmla="*/ 1919288 w 2262188"/>
                  <a:gd name="connsiteY38" fmla="*/ 966788 h 982971"/>
                  <a:gd name="connsiteX39" fmla="*/ 2262188 w 2262188"/>
                  <a:gd name="connsiteY39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04775 w 2262188"/>
                  <a:gd name="connsiteY2" fmla="*/ 157163 h 982971"/>
                  <a:gd name="connsiteX3" fmla="*/ 138113 w 2262188"/>
                  <a:gd name="connsiteY3" fmla="*/ 185738 h 982971"/>
                  <a:gd name="connsiteX4" fmla="*/ 157163 w 2262188"/>
                  <a:gd name="connsiteY4" fmla="*/ 195263 h 982971"/>
                  <a:gd name="connsiteX5" fmla="*/ 195263 w 2262188"/>
                  <a:gd name="connsiteY5" fmla="*/ 242888 h 982971"/>
                  <a:gd name="connsiteX6" fmla="*/ 223838 w 2262188"/>
                  <a:gd name="connsiteY6" fmla="*/ 285750 h 982971"/>
                  <a:gd name="connsiteX7" fmla="*/ 252413 w 2262188"/>
                  <a:gd name="connsiteY7" fmla="*/ 319088 h 982971"/>
                  <a:gd name="connsiteX8" fmla="*/ 271463 w 2262188"/>
                  <a:gd name="connsiteY8" fmla="*/ 347663 h 982971"/>
                  <a:gd name="connsiteX9" fmla="*/ 290513 w 2262188"/>
                  <a:gd name="connsiteY9" fmla="*/ 366713 h 982971"/>
                  <a:gd name="connsiteX10" fmla="*/ 338138 w 2262188"/>
                  <a:gd name="connsiteY10" fmla="*/ 419100 h 982971"/>
                  <a:gd name="connsiteX11" fmla="*/ 371475 w 2262188"/>
                  <a:gd name="connsiteY11" fmla="*/ 438150 h 982971"/>
                  <a:gd name="connsiteX12" fmla="*/ 395288 w 2262188"/>
                  <a:gd name="connsiteY12" fmla="*/ 457200 h 982971"/>
                  <a:gd name="connsiteX13" fmla="*/ 433388 w 2262188"/>
                  <a:gd name="connsiteY13" fmla="*/ 476250 h 982971"/>
                  <a:gd name="connsiteX14" fmla="*/ 542925 w 2262188"/>
                  <a:gd name="connsiteY14" fmla="*/ 557213 h 982971"/>
                  <a:gd name="connsiteX15" fmla="*/ 600075 w 2262188"/>
                  <a:gd name="connsiteY15" fmla="*/ 614363 h 982971"/>
                  <a:gd name="connsiteX16" fmla="*/ 633413 w 2262188"/>
                  <a:gd name="connsiteY16" fmla="*/ 633413 h 982971"/>
                  <a:gd name="connsiteX17" fmla="*/ 690563 w 2262188"/>
                  <a:gd name="connsiteY17" fmla="*/ 676275 h 982971"/>
                  <a:gd name="connsiteX18" fmla="*/ 757238 w 2262188"/>
                  <a:gd name="connsiteY18" fmla="*/ 714375 h 982971"/>
                  <a:gd name="connsiteX19" fmla="*/ 776288 w 2262188"/>
                  <a:gd name="connsiteY19" fmla="*/ 728663 h 982971"/>
                  <a:gd name="connsiteX20" fmla="*/ 828675 w 2262188"/>
                  <a:gd name="connsiteY20" fmla="*/ 752475 h 982971"/>
                  <a:gd name="connsiteX21" fmla="*/ 847725 w 2262188"/>
                  <a:gd name="connsiteY21" fmla="*/ 766763 h 982971"/>
                  <a:gd name="connsiteX22" fmla="*/ 914400 w 2262188"/>
                  <a:gd name="connsiteY22" fmla="*/ 790575 h 982971"/>
                  <a:gd name="connsiteX23" fmla="*/ 947738 w 2262188"/>
                  <a:gd name="connsiteY23" fmla="*/ 809625 h 982971"/>
                  <a:gd name="connsiteX24" fmla="*/ 966788 w 2262188"/>
                  <a:gd name="connsiteY24" fmla="*/ 823913 h 982971"/>
                  <a:gd name="connsiteX25" fmla="*/ 981075 w 2262188"/>
                  <a:gd name="connsiteY25" fmla="*/ 828675 h 982971"/>
                  <a:gd name="connsiteX26" fmla="*/ 1000125 w 2262188"/>
                  <a:gd name="connsiteY26" fmla="*/ 838200 h 982971"/>
                  <a:gd name="connsiteX27" fmla="*/ 1033463 w 2262188"/>
                  <a:gd name="connsiteY27" fmla="*/ 852488 h 982971"/>
                  <a:gd name="connsiteX28" fmla="*/ 1100138 w 2262188"/>
                  <a:gd name="connsiteY28" fmla="*/ 881063 h 982971"/>
                  <a:gd name="connsiteX29" fmla="*/ 1128713 w 2262188"/>
                  <a:gd name="connsiteY29" fmla="*/ 885825 h 982971"/>
                  <a:gd name="connsiteX30" fmla="*/ 1204913 w 2262188"/>
                  <a:gd name="connsiteY30" fmla="*/ 909638 h 982971"/>
                  <a:gd name="connsiteX31" fmla="*/ 1233488 w 2262188"/>
                  <a:gd name="connsiteY31" fmla="*/ 914400 h 982971"/>
                  <a:gd name="connsiteX32" fmla="*/ 1281113 w 2262188"/>
                  <a:gd name="connsiteY32" fmla="*/ 928688 h 982971"/>
                  <a:gd name="connsiteX33" fmla="*/ 1343025 w 2262188"/>
                  <a:gd name="connsiteY33" fmla="*/ 933450 h 982971"/>
                  <a:gd name="connsiteX34" fmla="*/ 1409700 w 2262188"/>
                  <a:gd name="connsiteY34" fmla="*/ 942975 h 982971"/>
                  <a:gd name="connsiteX35" fmla="*/ 1485900 w 2262188"/>
                  <a:gd name="connsiteY35" fmla="*/ 952500 h 982971"/>
                  <a:gd name="connsiteX36" fmla="*/ 1538288 w 2262188"/>
                  <a:gd name="connsiteY36" fmla="*/ 962025 h 982971"/>
                  <a:gd name="connsiteX37" fmla="*/ 1919288 w 2262188"/>
                  <a:gd name="connsiteY37" fmla="*/ 966788 h 982971"/>
                  <a:gd name="connsiteX38" fmla="*/ 2262188 w 2262188"/>
                  <a:gd name="connsiteY38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04775 w 2262188"/>
                  <a:gd name="connsiteY2" fmla="*/ 157163 h 982971"/>
                  <a:gd name="connsiteX3" fmla="*/ 138113 w 2262188"/>
                  <a:gd name="connsiteY3" fmla="*/ 185738 h 982971"/>
                  <a:gd name="connsiteX4" fmla="*/ 157163 w 2262188"/>
                  <a:gd name="connsiteY4" fmla="*/ 195263 h 982971"/>
                  <a:gd name="connsiteX5" fmla="*/ 195263 w 2262188"/>
                  <a:gd name="connsiteY5" fmla="*/ 242888 h 982971"/>
                  <a:gd name="connsiteX6" fmla="*/ 223838 w 2262188"/>
                  <a:gd name="connsiteY6" fmla="*/ 285750 h 982971"/>
                  <a:gd name="connsiteX7" fmla="*/ 252413 w 2262188"/>
                  <a:gd name="connsiteY7" fmla="*/ 319088 h 982971"/>
                  <a:gd name="connsiteX8" fmla="*/ 271463 w 2262188"/>
                  <a:gd name="connsiteY8" fmla="*/ 347663 h 982971"/>
                  <a:gd name="connsiteX9" fmla="*/ 290513 w 2262188"/>
                  <a:gd name="connsiteY9" fmla="*/ 366713 h 982971"/>
                  <a:gd name="connsiteX10" fmla="*/ 338138 w 2262188"/>
                  <a:gd name="connsiteY10" fmla="*/ 419100 h 982971"/>
                  <a:gd name="connsiteX11" fmla="*/ 371475 w 2262188"/>
                  <a:gd name="connsiteY11" fmla="*/ 438150 h 982971"/>
                  <a:gd name="connsiteX12" fmla="*/ 395288 w 2262188"/>
                  <a:gd name="connsiteY12" fmla="*/ 457200 h 982971"/>
                  <a:gd name="connsiteX13" fmla="*/ 542925 w 2262188"/>
                  <a:gd name="connsiteY13" fmla="*/ 557213 h 982971"/>
                  <a:gd name="connsiteX14" fmla="*/ 600075 w 2262188"/>
                  <a:gd name="connsiteY14" fmla="*/ 614363 h 982971"/>
                  <a:gd name="connsiteX15" fmla="*/ 633413 w 2262188"/>
                  <a:gd name="connsiteY15" fmla="*/ 633413 h 982971"/>
                  <a:gd name="connsiteX16" fmla="*/ 690563 w 2262188"/>
                  <a:gd name="connsiteY16" fmla="*/ 676275 h 982971"/>
                  <a:gd name="connsiteX17" fmla="*/ 757238 w 2262188"/>
                  <a:gd name="connsiteY17" fmla="*/ 714375 h 982971"/>
                  <a:gd name="connsiteX18" fmla="*/ 776288 w 2262188"/>
                  <a:gd name="connsiteY18" fmla="*/ 728663 h 982971"/>
                  <a:gd name="connsiteX19" fmla="*/ 828675 w 2262188"/>
                  <a:gd name="connsiteY19" fmla="*/ 752475 h 982971"/>
                  <a:gd name="connsiteX20" fmla="*/ 847725 w 2262188"/>
                  <a:gd name="connsiteY20" fmla="*/ 766763 h 982971"/>
                  <a:gd name="connsiteX21" fmla="*/ 914400 w 2262188"/>
                  <a:gd name="connsiteY21" fmla="*/ 790575 h 982971"/>
                  <a:gd name="connsiteX22" fmla="*/ 947738 w 2262188"/>
                  <a:gd name="connsiteY22" fmla="*/ 809625 h 982971"/>
                  <a:gd name="connsiteX23" fmla="*/ 966788 w 2262188"/>
                  <a:gd name="connsiteY23" fmla="*/ 823913 h 982971"/>
                  <a:gd name="connsiteX24" fmla="*/ 981075 w 2262188"/>
                  <a:gd name="connsiteY24" fmla="*/ 828675 h 982971"/>
                  <a:gd name="connsiteX25" fmla="*/ 1000125 w 2262188"/>
                  <a:gd name="connsiteY25" fmla="*/ 838200 h 982971"/>
                  <a:gd name="connsiteX26" fmla="*/ 1033463 w 2262188"/>
                  <a:gd name="connsiteY26" fmla="*/ 852488 h 982971"/>
                  <a:gd name="connsiteX27" fmla="*/ 1100138 w 2262188"/>
                  <a:gd name="connsiteY27" fmla="*/ 881063 h 982971"/>
                  <a:gd name="connsiteX28" fmla="*/ 1128713 w 2262188"/>
                  <a:gd name="connsiteY28" fmla="*/ 885825 h 982971"/>
                  <a:gd name="connsiteX29" fmla="*/ 1204913 w 2262188"/>
                  <a:gd name="connsiteY29" fmla="*/ 909638 h 982971"/>
                  <a:gd name="connsiteX30" fmla="*/ 1233488 w 2262188"/>
                  <a:gd name="connsiteY30" fmla="*/ 914400 h 982971"/>
                  <a:gd name="connsiteX31" fmla="*/ 1281113 w 2262188"/>
                  <a:gd name="connsiteY31" fmla="*/ 928688 h 982971"/>
                  <a:gd name="connsiteX32" fmla="*/ 1343025 w 2262188"/>
                  <a:gd name="connsiteY32" fmla="*/ 933450 h 982971"/>
                  <a:gd name="connsiteX33" fmla="*/ 1409700 w 2262188"/>
                  <a:gd name="connsiteY33" fmla="*/ 942975 h 982971"/>
                  <a:gd name="connsiteX34" fmla="*/ 1485900 w 2262188"/>
                  <a:gd name="connsiteY34" fmla="*/ 952500 h 982971"/>
                  <a:gd name="connsiteX35" fmla="*/ 1538288 w 2262188"/>
                  <a:gd name="connsiteY35" fmla="*/ 962025 h 982971"/>
                  <a:gd name="connsiteX36" fmla="*/ 1919288 w 2262188"/>
                  <a:gd name="connsiteY36" fmla="*/ 966788 h 982971"/>
                  <a:gd name="connsiteX37" fmla="*/ 2262188 w 2262188"/>
                  <a:gd name="connsiteY37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04775 w 2262188"/>
                  <a:gd name="connsiteY2" fmla="*/ 157163 h 982971"/>
                  <a:gd name="connsiteX3" fmla="*/ 138113 w 2262188"/>
                  <a:gd name="connsiteY3" fmla="*/ 185738 h 982971"/>
                  <a:gd name="connsiteX4" fmla="*/ 157163 w 2262188"/>
                  <a:gd name="connsiteY4" fmla="*/ 195263 h 982971"/>
                  <a:gd name="connsiteX5" fmla="*/ 195263 w 2262188"/>
                  <a:gd name="connsiteY5" fmla="*/ 242888 h 982971"/>
                  <a:gd name="connsiteX6" fmla="*/ 223838 w 2262188"/>
                  <a:gd name="connsiteY6" fmla="*/ 285750 h 982971"/>
                  <a:gd name="connsiteX7" fmla="*/ 271463 w 2262188"/>
                  <a:gd name="connsiteY7" fmla="*/ 347663 h 982971"/>
                  <a:gd name="connsiteX8" fmla="*/ 290513 w 2262188"/>
                  <a:gd name="connsiteY8" fmla="*/ 366713 h 982971"/>
                  <a:gd name="connsiteX9" fmla="*/ 338138 w 2262188"/>
                  <a:gd name="connsiteY9" fmla="*/ 419100 h 982971"/>
                  <a:gd name="connsiteX10" fmla="*/ 371475 w 2262188"/>
                  <a:gd name="connsiteY10" fmla="*/ 438150 h 982971"/>
                  <a:gd name="connsiteX11" fmla="*/ 395288 w 2262188"/>
                  <a:gd name="connsiteY11" fmla="*/ 457200 h 982971"/>
                  <a:gd name="connsiteX12" fmla="*/ 542925 w 2262188"/>
                  <a:gd name="connsiteY12" fmla="*/ 557213 h 982971"/>
                  <a:gd name="connsiteX13" fmla="*/ 600075 w 2262188"/>
                  <a:gd name="connsiteY13" fmla="*/ 614363 h 982971"/>
                  <a:gd name="connsiteX14" fmla="*/ 633413 w 2262188"/>
                  <a:gd name="connsiteY14" fmla="*/ 633413 h 982971"/>
                  <a:gd name="connsiteX15" fmla="*/ 690563 w 2262188"/>
                  <a:gd name="connsiteY15" fmla="*/ 676275 h 982971"/>
                  <a:gd name="connsiteX16" fmla="*/ 757238 w 2262188"/>
                  <a:gd name="connsiteY16" fmla="*/ 714375 h 982971"/>
                  <a:gd name="connsiteX17" fmla="*/ 776288 w 2262188"/>
                  <a:gd name="connsiteY17" fmla="*/ 728663 h 982971"/>
                  <a:gd name="connsiteX18" fmla="*/ 828675 w 2262188"/>
                  <a:gd name="connsiteY18" fmla="*/ 752475 h 982971"/>
                  <a:gd name="connsiteX19" fmla="*/ 847725 w 2262188"/>
                  <a:gd name="connsiteY19" fmla="*/ 766763 h 982971"/>
                  <a:gd name="connsiteX20" fmla="*/ 914400 w 2262188"/>
                  <a:gd name="connsiteY20" fmla="*/ 790575 h 982971"/>
                  <a:gd name="connsiteX21" fmla="*/ 947738 w 2262188"/>
                  <a:gd name="connsiteY21" fmla="*/ 809625 h 982971"/>
                  <a:gd name="connsiteX22" fmla="*/ 966788 w 2262188"/>
                  <a:gd name="connsiteY22" fmla="*/ 823913 h 982971"/>
                  <a:gd name="connsiteX23" fmla="*/ 981075 w 2262188"/>
                  <a:gd name="connsiteY23" fmla="*/ 828675 h 982971"/>
                  <a:gd name="connsiteX24" fmla="*/ 1000125 w 2262188"/>
                  <a:gd name="connsiteY24" fmla="*/ 838200 h 982971"/>
                  <a:gd name="connsiteX25" fmla="*/ 1033463 w 2262188"/>
                  <a:gd name="connsiteY25" fmla="*/ 852488 h 982971"/>
                  <a:gd name="connsiteX26" fmla="*/ 1100138 w 2262188"/>
                  <a:gd name="connsiteY26" fmla="*/ 881063 h 982971"/>
                  <a:gd name="connsiteX27" fmla="*/ 1128713 w 2262188"/>
                  <a:gd name="connsiteY27" fmla="*/ 885825 h 982971"/>
                  <a:gd name="connsiteX28" fmla="*/ 1204913 w 2262188"/>
                  <a:gd name="connsiteY28" fmla="*/ 909638 h 982971"/>
                  <a:gd name="connsiteX29" fmla="*/ 1233488 w 2262188"/>
                  <a:gd name="connsiteY29" fmla="*/ 914400 h 982971"/>
                  <a:gd name="connsiteX30" fmla="*/ 1281113 w 2262188"/>
                  <a:gd name="connsiteY30" fmla="*/ 928688 h 982971"/>
                  <a:gd name="connsiteX31" fmla="*/ 1343025 w 2262188"/>
                  <a:gd name="connsiteY31" fmla="*/ 933450 h 982971"/>
                  <a:gd name="connsiteX32" fmla="*/ 1409700 w 2262188"/>
                  <a:gd name="connsiteY32" fmla="*/ 942975 h 982971"/>
                  <a:gd name="connsiteX33" fmla="*/ 1485900 w 2262188"/>
                  <a:gd name="connsiteY33" fmla="*/ 952500 h 982971"/>
                  <a:gd name="connsiteX34" fmla="*/ 1538288 w 2262188"/>
                  <a:gd name="connsiteY34" fmla="*/ 962025 h 982971"/>
                  <a:gd name="connsiteX35" fmla="*/ 1919288 w 2262188"/>
                  <a:gd name="connsiteY35" fmla="*/ 966788 h 982971"/>
                  <a:gd name="connsiteX36" fmla="*/ 2262188 w 2262188"/>
                  <a:gd name="connsiteY36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23838 w 2262188"/>
                  <a:gd name="connsiteY5" fmla="*/ 285750 h 982971"/>
                  <a:gd name="connsiteX6" fmla="*/ 271463 w 2262188"/>
                  <a:gd name="connsiteY6" fmla="*/ 347663 h 982971"/>
                  <a:gd name="connsiteX7" fmla="*/ 290513 w 2262188"/>
                  <a:gd name="connsiteY7" fmla="*/ 366713 h 982971"/>
                  <a:gd name="connsiteX8" fmla="*/ 338138 w 2262188"/>
                  <a:gd name="connsiteY8" fmla="*/ 419100 h 982971"/>
                  <a:gd name="connsiteX9" fmla="*/ 371475 w 2262188"/>
                  <a:gd name="connsiteY9" fmla="*/ 438150 h 982971"/>
                  <a:gd name="connsiteX10" fmla="*/ 395288 w 2262188"/>
                  <a:gd name="connsiteY10" fmla="*/ 457200 h 982971"/>
                  <a:gd name="connsiteX11" fmla="*/ 542925 w 2262188"/>
                  <a:gd name="connsiteY11" fmla="*/ 557213 h 982971"/>
                  <a:gd name="connsiteX12" fmla="*/ 600075 w 2262188"/>
                  <a:gd name="connsiteY12" fmla="*/ 614363 h 982971"/>
                  <a:gd name="connsiteX13" fmla="*/ 633413 w 2262188"/>
                  <a:gd name="connsiteY13" fmla="*/ 633413 h 982971"/>
                  <a:gd name="connsiteX14" fmla="*/ 690563 w 2262188"/>
                  <a:gd name="connsiteY14" fmla="*/ 676275 h 982971"/>
                  <a:gd name="connsiteX15" fmla="*/ 757238 w 2262188"/>
                  <a:gd name="connsiteY15" fmla="*/ 714375 h 982971"/>
                  <a:gd name="connsiteX16" fmla="*/ 776288 w 2262188"/>
                  <a:gd name="connsiteY16" fmla="*/ 728663 h 982971"/>
                  <a:gd name="connsiteX17" fmla="*/ 828675 w 2262188"/>
                  <a:gd name="connsiteY17" fmla="*/ 752475 h 982971"/>
                  <a:gd name="connsiteX18" fmla="*/ 847725 w 2262188"/>
                  <a:gd name="connsiteY18" fmla="*/ 766763 h 982971"/>
                  <a:gd name="connsiteX19" fmla="*/ 914400 w 2262188"/>
                  <a:gd name="connsiteY19" fmla="*/ 790575 h 982971"/>
                  <a:gd name="connsiteX20" fmla="*/ 947738 w 2262188"/>
                  <a:gd name="connsiteY20" fmla="*/ 809625 h 982971"/>
                  <a:gd name="connsiteX21" fmla="*/ 966788 w 2262188"/>
                  <a:gd name="connsiteY21" fmla="*/ 823913 h 982971"/>
                  <a:gd name="connsiteX22" fmla="*/ 981075 w 2262188"/>
                  <a:gd name="connsiteY22" fmla="*/ 828675 h 982971"/>
                  <a:gd name="connsiteX23" fmla="*/ 1000125 w 2262188"/>
                  <a:gd name="connsiteY23" fmla="*/ 838200 h 982971"/>
                  <a:gd name="connsiteX24" fmla="*/ 1033463 w 2262188"/>
                  <a:gd name="connsiteY24" fmla="*/ 852488 h 982971"/>
                  <a:gd name="connsiteX25" fmla="*/ 1100138 w 2262188"/>
                  <a:gd name="connsiteY25" fmla="*/ 881063 h 982971"/>
                  <a:gd name="connsiteX26" fmla="*/ 1128713 w 2262188"/>
                  <a:gd name="connsiteY26" fmla="*/ 885825 h 982971"/>
                  <a:gd name="connsiteX27" fmla="*/ 1204913 w 2262188"/>
                  <a:gd name="connsiteY27" fmla="*/ 909638 h 982971"/>
                  <a:gd name="connsiteX28" fmla="*/ 1233488 w 2262188"/>
                  <a:gd name="connsiteY28" fmla="*/ 914400 h 982971"/>
                  <a:gd name="connsiteX29" fmla="*/ 1281113 w 2262188"/>
                  <a:gd name="connsiteY29" fmla="*/ 928688 h 982971"/>
                  <a:gd name="connsiteX30" fmla="*/ 1343025 w 2262188"/>
                  <a:gd name="connsiteY30" fmla="*/ 933450 h 982971"/>
                  <a:gd name="connsiteX31" fmla="*/ 1409700 w 2262188"/>
                  <a:gd name="connsiteY31" fmla="*/ 942975 h 982971"/>
                  <a:gd name="connsiteX32" fmla="*/ 1485900 w 2262188"/>
                  <a:gd name="connsiteY32" fmla="*/ 952500 h 982971"/>
                  <a:gd name="connsiteX33" fmla="*/ 1538288 w 2262188"/>
                  <a:gd name="connsiteY33" fmla="*/ 962025 h 982971"/>
                  <a:gd name="connsiteX34" fmla="*/ 1919288 w 2262188"/>
                  <a:gd name="connsiteY34" fmla="*/ 966788 h 982971"/>
                  <a:gd name="connsiteX35" fmla="*/ 2262188 w 2262188"/>
                  <a:gd name="connsiteY35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23838 w 2262188"/>
                  <a:gd name="connsiteY5" fmla="*/ 285750 h 982971"/>
                  <a:gd name="connsiteX6" fmla="*/ 271463 w 2262188"/>
                  <a:gd name="connsiteY6" fmla="*/ 347663 h 982971"/>
                  <a:gd name="connsiteX7" fmla="*/ 338138 w 2262188"/>
                  <a:gd name="connsiteY7" fmla="*/ 419100 h 982971"/>
                  <a:gd name="connsiteX8" fmla="*/ 371475 w 2262188"/>
                  <a:gd name="connsiteY8" fmla="*/ 438150 h 982971"/>
                  <a:gd name="connsiteX9" fmla="*/ 395288 w 2262188"/>
                  <a:gd name="connsiteY9" fmla="*/ 457200 h 982971"/>
                  <a:gd name="connsiteX10" fmla="*/ 542925 w 2262188"/>
                  <a:gd name="connsiteY10" fmla="*/ 557213 h 982971"/>
                  <a:gd name="connsiteX11" fmla="*/ 600075 w 2262188"/>
                  <a:gd name="connsiteY11" fmla="*/ 614363 h 982971"/>
                  <a:gd name="connsiteX12" fmla="*/ 633413 w 2262188"/>
                  <a:gd name="connsiteY12" fmla="*/ 633413 h 982971"/>
                  <a:gd name="connsiteX13" fmla="*/ 690563 w 2262188"/>
                  <a:gd name="connsiteY13" fmla="*/ 676275 h 982971"/>
                  <a:gd name="connsiteX14" fmla="*/ 757238 w 2262188"/>
                  <a:gd name="connsiteY14" fmla="*/ 714375 h 982971"/>
                  <a:gd name="connsiteX15" fmla="*/ 776288 w 2262188"/>
                  <a:gd name="connsiteY15" fmla="*/ 728663 h 982971"/>
                  <a:gd name="connsiteX16" fmla="*/ 828675 w 2262188"/>
                  <a:gd name="connsiteY16" fmla="*/ 752475 h 982971"/>
                  <a:gd name="connsiteX17" fmla="*/ 847725 w 2262188"/>
                  <a:gd name="connsiteY17" fmla="*/ 766763 h 982971"/>
                  <a:gd name="connsiteX18" fmla="*/ 914400 w 2262188"/>
                  <a:gd name="connsiteY18" fmla="*/ 790575 h 982971"/>
                  <a:gd name="connsiteX19" fmla="*/ 947738 w 2262188"/>
                  <a:gd name="connsiteY19" fmla="*/ 809625 h 982971"/>
                  <a:gd name="connsiteX20" fmla="*/ 966788 w 2262188"/>
                  <a:gd name="connsiteY20" fmla="*/ 823913 h 982971"/>
                  <a:gd name="connsiteX21" fmla="*/ 981075 w 2262188"/>
                  <a:gd name="connsiteY21" fmla="*/ 828675 h 982971"/>
                  <a:gd name="connsiteX22" fmla="*/ 1000125 w 2262188"/>
                  <a:gd name="connsiteY22" fmla="*/ 838200 h 982971"/>
                  <a:gd name="connsiteX23" fmla="*/ 1033463 w 2262188"/>
                  <a:gd name="connsiteY23" fmla="*/ 852488 h 982971"/>
                  <a:gd name="connsiteX24" fmla="*/ 1100138 w 2262188"/>
                  <a:gd name="connsiteY24" fmla="*/ 881063 h 982971"/>
                  <a:gd name="connsiteX25" fmla="*/ 1128713 w 2262188"/>
                  <a:gd name="connsiteY25" fmla="*/ 885825 h 982971"/>
                  <a:gd name="connsiteX26" fmla="*/ 1204913 w 2262188"/>
                  <a:gd name="connsiteY26" fmla="*/ 909638 h 982971"/>
                  <a:gd name="connsiteX27" fmla="*/ 1233488 w 2262188"/>
                  <a:gd name="connsiteY27" fmla="*/ 914400 h 982971"/>
                  <a:gd name="connsiteX28" fmla="*/ 1281113 w 2262188"/>
                  <a:gd name="connsiteY28" fmla="*/ 928688 h 982971"/>
                  <a:gd name="connsiteX29" fmla="*/ 1343025 w 2262188"/>
                  <a:gd name="connsiteY29" fmla="*/ 933450 h 982971"/>
                  <a:gd name="connsiteX30" fmla="*/ 1409700 w 2262188"/>
                  <a:gd name="connsiteY30" fmla="*/ 942975 h 982971"/>
                  <a:gd name="connsiteX31" fmla="*/ 1485900 w 2262188"/>
                  <a:gd name="connsiteY31" fmla="*/ 952500 h 982971"/>
                  <a:gd name="connsiteX32" fmla="*/ 1538288 w 2262188"/>
                  <a:gd name="connsiteY32" fmla="*/ 962025 h 982971"/>
                  <a:gd name="connsiteX33" fmla="*/ 1919288 w 2262188"/>
                  <a:gd name="connsiteY33" fmla="*/ 966788 h 982971"/>
                  <a:gd name="connsiteX34" fmla="*/ 2262188 w 2262188"/>
                  <a:gd name="connsiteY34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542925 w 2262188"/>
                  <a:gd name="connsiteY9" fmla="*/ 557213 h 982971"/>
                  <a:gd name="connsiteX10" fmla="*/ 600075 w 2262188"/>
                  <a:gd name="connsiteY10" fmla="*/ 614363 h 982971"/>
                  <a:gd name="connsiteX11" fmla="*/ 633413 w 2262188"/>
                  <a:gd name="connsiteY11" fmla="*/ 633413 h 982971"/>
                  <a:gd name="connsiteX12" fmla="*/ 690563 w 2262188"/>
                  <a:gd name="connsiteY12" fmla="*/ 676275 h 982971"/>
                  <a:gd name="connsiteX13" fmla="*/ 757238 w 2262188"/>
                  <a:gd name="connsiteY13" fmla="*/ 714375 h 982971"/>
                  <a:gd name="connsiteX14" fmla="*/ 776288 w 2262188"/>
                  <a:gd name="connsiteY14" fmla="*/ 728663 h 982971"/>
                  <a:gd name="connsiteX15" fmla="*/ 828675 w 2262188"/>
                  <a:gd name="connsiteY15" fmla="*/ 752475 h 982971"/>
                  <a:gd name="connsiteX16" fmla="*/ 847725 w 2262188"/>
                  <a:gd name="connsiteY16" fmla="*/ 766763 h 982971"/>
                  <a:gd name="connsiteX17" fmla="*/ 914400 w 2262188"/>
                  <a:gd name="connsiteY17" fmla="*/ 790575 h 982971"/>
                  <a:gd name="connsiteX18" fmla="*/ 947738 w 2262188"/>
                  <a:gd name="connsiteY18" fmla="*/ 809625 h 982971"/>
                  <a:gd name="connsiteX19" fmla="*/ 966788 w 2262188"/>
                  <a:gd name="connsiteY19" fmla="*/ 823913 h 982971"/>
                  <a:gd name="connsiteX20" fmla="*/ 981075 w 2262188"/>
                  <a:gd name="connsiteY20" fmla="*/ 828675 h 982971"/>
                  <a:gd name="connsiteX21" fmla="*/ 1000125 w 2262188"/>
                  <a:gd name="connsiteY21" fmla="*/ 838200 h 982971"/>
                  <a:gd name="connsiteX22" fmla="*/ 1033463 w 2262188"/>
                  <a:gd name="connsiteY22" fmla="*/ 852488 h 982971"/>
                  <a:gd name="connsiteX23" fmla="*/ 1100138 w 2262188"/>
                  <a:gd name="connsiteY23" fmla="*/ 881063 h 982971"/>
                  <a:gd name="connsiteX24" fmla="*/ 1128713 w 2262188"/>
                  <a:gd name="connsiteY24" fmla="*/ 885825 h 982971"/>
                  <a:gd name="connsiteX25" fmla="*/ 1204913 w 2262188"/>
                  <a:gd name="connsiteY25" fmla="*/ 909638 h 982971"/>
                  <a:gd name="connsiteX26" fmla="*/ 1233488 w 2262188"/>
                  <a:gd name="connsiteY26" fmla="*/ 914400 h 982971"/>
                  <a:gd name="connsiteX27" fmla="*/ 1281113 w 2262188"/>
                  <a:gd name="connsiteY27" fmla="*/ 928688 h 982971"/>
                  <a:gd name="connsiteX28" fmla="*/ 1343025 w 2262188"/>
                  <a:gd name="connsiteY28" fmla="*/ 933450 h 982971"/>
                  <a:gd name="connsiteX29" fmla="*/ 1409700 w 2262188"/>
                  <a:gd name="connsiteY29" fmla="*/ 942975 h 982971"/>
                  <a:gd name="connsiteX30" fmla="*/ 1485900 w 2262188"/>
                  <a:gd name="connsiteY30" fmla="*/ 952500 h 982971"/>
                  <a:gd name="connsiteX31" fmla="*/ 1538288 w 2262188"/>
                  <a:gd name="connsiteY31" fmla="*/ 962025 h 982971"/>
                  <a:gd name="connsiteX32" fmla="*/ 1919288 w 2262188"/>
                  <a:gd name="connsiteY32" fmla="*/ 966788 h 982971"/>
                  <a:gd name="connsiteX33" fmla="*/ 2262188 w 2262188"/>
                  <a:gd name="connsiteY33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542925 w 2262188"/>
                  <a:gd name="connsiteY9" fmla="*/ 557213 h 982971"/>
                  <a:gd name="connsiteX10" fmla="*/ 600075 w 2262188"/>
                  <a:gd name="connsiteY10" fmla="*/ 614363 h 982971"/>
                  <a:gd name="connsiteX11" fmla="*/ 633413 w 2262188"/>
                  <a:gd name="connsiteY11" fmla="*/ 633413 h 982971"/>
                  <a:gd name="connsiteX12" fmla="*/ 690563 w 2262188"/>
                  <a:gd name="connsiteY12" fmla="*/ 676275 h 982971"/>
                  <a:gd name="connsiteX13" fmla="*/ 757238 w 2262188"/>
                  <a:gd name="connsiteY13" fmla="*/ 714375 h 982971"/>
                  <a:gd name="connsiteX14" fmla="*/ 776288 w 2262188"/>
                  <a:gd name="connsiteY14" fmla="*/ 728663 h 982971"/>
                  <a:gd name="connsiteX15" fmla="*/ 828675 w 2262188"/>
                  <a:gd name="connsiteY15" fmla="*/ 752475 h 982971"/>
                  <a:gd name="connsiteX16" fmla="*/ 847725 w 2262188"/>
                  <a:gd name="connsiteY16" fmla="*/ 766763 h 982971"/>
                  <a:gd name="connsiteX17" fmla="*/ 914400 w 2262188"/>
                  <a:gd name="connsiteY17" fmla="*/ 790575 h 982971"/>
                  <a:gd name="connsiteX18" fmla="*/ 947738 w 2262188"/>
                  <a:gd name="connsiteY18" fmla="*/ 809625 h 982971"/>
                  <a:gd name="connsiteX19" fmla="*/ 966788 w 2262188"/>
                  <a:gd name="connsiteY19" fmla="*/ 823913 h 982971"/>
                  <a:gd name="connsiteX20" fmla="*/ 981075 w 2262188"/>
                  <a:gd name="connsiteY20" fmla="*/ 828675 h 982971"/>
                  <a:gd name="connsiteX21" fmla="*/ 1000125 w 2262188"/>
                  <a:gd name="connsiteY21" fmla="*/ 838200 h 982971"/>
                  <a:gd name="connsiteX22" fmla="*/ 1033463 w 2262188"/>
                  <a:gd name="connsiteY22" fmla="*/ 852488 h 982971"/>
                  <a:gd name="connsiteX23" fmla="*/ 1100138 w 2262188"/>
                  <a:gd name="connsiteY23" fmla="*/ 881063 h 982971"/>
                  <a:gd name="connsiteX24" fmla="*/ 1204913 w 2262188"/>
                  <a:gd name="connsiteY24" fmla="*/ 909638 h 982971"/>
                  <a:gd name="connsiteX25" fmla="*/ 1233488 w 2262188"/>
                  <a:gd name="connsiteY25" fmla="*/ 914400 h 982971"/>
                  <a:gd name="connsiteX26" fmla="*/ 1281113 w 2262188"/>
                  <a:gd name="connsiteY26" fmla="*/ 928688 h 982971"/>
                  <a:gd name="connsiteX27" fmla="*/ 1343025 w 2262188"/>
                  <a:gd name="connsiteY27" fmla="*/ 933450 h 982971"/>
                  <a:gd name="connsiteX28" fmla="*/ 1409700 w 2262188"/>
                  <a:gd name="connsiteY28" fmla="*/ 942975 h 982971"/>
                  <a:gd name="connsiteX29" fmla="*/ 1485900 w 2262188"/>
                  <a:gd name="connsiteY29" fmla="*/ 952500 h 982971"/>
                  <a:gd name="connsiteX30" fmla="*/ 1538288 w 2262188"/>
                  <a:gd name="connsiteY30" fmla="*/ 962025 h 982971"/>
                  <a:gd name="connsiteX31" fmla="*/ 1919288 w 2262188"/>
                  <a:gd name="connsiteY31" fmla="*/ 966788 h 982971"/>
                  <a:gd name="connsiteX32" fmla="*/ 2262188 w 2262188"/>
                  <a:gd name="connsiteY32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542925 w 2262188"/>
                  <a:gd name="connsiteY9" fmla="*/ 557213 h 982971"/>
                  <a:gd name="connsiteX10" fmla="*/ 600075 w 2262188"/>
                  <a:gd name="connsiteY10" fmla="*/ 614363 h 982971"/>
                  <a:gd name="connsiteX11" fmla="*/ 633413 w 2262188"/>
                  <a:gd name="connsiteY11" fmla="*/ 633413 h 982971"/>
                  <a:gd name="connsiteX12" fmla="*/ 690563 w 2262188"/>
                  <a:gd name="connsiteY12" fmla="*/ 676275 h 982971"/>
                  <a:gd name="connsiteX13" fmla="*/ 757238 w 2262188"/>
                  <a:gd name="connsiteY13" fmla="*/ 714375 h 982971"/>
                  <a:gd name="connsiteX14" fmla="*/ 776288 w 2262188"/>
                  <a:gd name="connsiteY14" fmla="*/ 728663 h 982971"/>
                  <a:gd name="connsiteX15" fmla="*/ 828675 w 2262188"/>
                  <a:gd name="connsiteY15" fmla="*/ 752475 h 982971"/>
                  <a:gd name="connsiteX16" fmla="*/ 847725 w 2262188"/>
                  <a:gd name="connsiteY16" fmla="*/ 766763 h 982971"/>
                  <a:gd name="connsiteX17" fmla="*/ 914400 w 2262188"/>
                  <a:gd name="connsiteY17" fmla="*/ 790575 h 982971"/>
                  <a:gd name="connsiteX18" fmla="*/ 947738 w 2262188"/>
                  <a:gd name="connsiteY18" fmla="*/ 809625 h 982971"/>
                  <a:gd name="connsiteX19" fmla="*/ 966788 w 2262188"/>
                  <a:gd name="connsiteY19" fmla="*/ 823913 h 982971"/>
                  <a:gd name="connsiteX20" fmla="*/ 981075 w 2262188"/>
                  <a:gd name="connsiteY20" fmla="*/ 828675 h 982971"/>
                  <a:gd name="connsiteX21" fmla="*/ 1000125 w 2262188"/>
                  <a:gd name="connsiteY21" fmla="*/ 838200 h 982971"/>
                  <a:gd name="connsiteX22" fmla="*/ 1033463 w 2262188"/>
                  <a:gd name="connsiteY22" fmla="*/ 852488 h 982971"/>
                  <a:gd name="connsiteX23" fmla="*/ 1204913 w 2262188"/>
                  <a:gd name="connsiteY23" fmla="*/ 909638 h 982971"/>
                  <a:gd name="connsiteX24" fmla="*/ 1233488 w 2262188"/>
                  <a:gd name="connsiteY24" fmla="*/ 914400 h 982971"/>
                  <a:gd name="connsiteX25" fmla="*/ 1281113 w 2262188"/>
                  <a:gd name="connsiteY25" fmla="*/ 928688 h 982971"/>
                  <a:gd name="connsiteX26" fmla="*/ 1343025 w 2262188"/>
                  <a:gd name="connsiteY26" fmla="*/ 933450 h 982971"/>
                  <a:gd name="connsiteX27" fmla="*/ 1409700 w 2262188"/>
                  <a:gd name="connsiteY27" fmla="*/ 942975 h 982971"/>
                  <a:gd name="connsiteX28" fmla="*/ 1485900 w 2262188"/>
                  <a:gd name="connsiteY28" fmla="*/ 952500 h 982971"/>
                  <a:gd name="connsiteX29" fmla="*/ 1538288 w 2262188"/>
                  <a:gd name="connsiteY29" fmla="*/ 962025 h 982971"/>
                  <a:gd name="connsiteX30" fmla="*/ 1919288 w 2262188"/>
                  <a:gd name="connsiteY30" fmla="*/ 966788 h 982971"/>
                  <a:gd name="connsiteX31" fmla="*/ 2262188 w 2262188"/>
                  <a:gd name="connsiteY31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0075 w 2262188"/>
                  <a:gd name="connsiteY9" fmla="*/ 614363 h 982971"/>
                  <a:gd name="connsiteX10" fmla="*/ 633413 w 2262188"/>
                  <a:gd name="connsiteY10" fmla="*/ 633413 h 982971"/>
                  <a:gd name="connsiteX11" fmla="*/ 690563 w 2262188"/>
                  <a:gd name="connsiteY11" fmla="*/ 676275 h 982971"/>
                  <a:gd name="connsiteX12" fmla="*/ 757238 w 2262188"/>
                  <a:gd name="connsiteY12" fmla="*/ 714375 h 982971"/>
                  <a:gd name="connsiteX13" fmla="*/ 776288 w 2262188"/>
                  <a:gd name="connsiteY13" fmla="*/ 728663 h 982971"/>
                  <a:gd name="connsiteX14" fmla="*/ 828675 w 2262188"/>
                  <a:gd name="connsiteY14" fmla="*/ 752475 h 982971"/>
                  <a:gd name="connsiteX15" fmla="*/ 847725 w 2262188"/>
                  <a:gd name="connsiteY15" fmla="*/ 766763 h 982971"/>
                  <a:gd name="connsiteX16" fmla="*/ 914400 w 2262188"/>
                  <a:gd name="connsiteY16" fmla="*/ 790575 h 982971"/>
                  <a:gd name="connsiteX17" fmla="*/ 947738 w 2262188"/>
                  <a:gd name="connsiteY17" fmla="*/ 809625 h 982971"/>
                  <a:gd name="connsiteX18" fmla="*/ 966788 w 2262188"/>
                  <a:gd name="connsiteY18" fmla="*/ 823913 h 982971"/>
                  <a:gd name="connsiteX19" fmla="*/ 981075 w 2262188"/>
                  <a:gd name="connsiteY19" fmla="*/ 828675 h 982971"/>
                  <a:gd name="connsiteX20" fmla="*/ 1000125 w 2262188"/>
                  <a:gd name="connsiteY20" fmla="*/ 838200 h 982971"/>
                  <a:gd name="connsiteX21" fmla="*/ 1033463 w 2262188"/>
                  <a:gd name="connsiteY21" fmla="*/ 852488 h 982971"/>
                  <a:gd name="connsiteX22" fmla="*/ 1204913 w 2262188"/>
                  <a:gd name="connsiteY22" fmla="*/ 909638 h 982971"/>
                  <a:gd name="connsiteX23" fmla="*/ 1233488 w 2262188"/>
                  <a:gd name="connsiteY23" fmla="*/ 914400 h 982971"/>
                  <a:gd name="connsiteX24" fmla="*/ 1281113 w 2262188"/>
                  <a:gd name="connsiteY24" fmla="*/ 928688 h 982971"/>
                  <a:gd name="connsiteX25" fmla="*/ 1343025 w 2262188"/>
                  <a:gd name="connsiteY25" fmla="*/ 933450 h 982971"/>
                  <a:gd name="connsiteX26" fmla="*/ 1409700 w 2262188"/>
                  <a:gd name="connsiteY26" fmla="*/ 942975 h 982971"/>
                  <a:gd name="connsiteX27" fmla="*/ 1485900 w 2262188"/>
                  <a:gd name="connsiteY27" fmla="*/ 952500 h 982971"/>
                  <a:gd name="connsiteX28" fmla="*/ 1538288 w 2262188"/>
                  <a:gd name="connsiteY28" fmla="*/ 962025 h 982971"/>
                  <a:gd name="connsiteX29" fmla="*/ 1919288 w 2262188"/>
                  <a:gd name="connsiteY29" fmla="*/ 966788 h 982971"/>
                  <a:gd name="connsiteX30" fmla="*/ 2262188 w 2262188"/>
                  <a:gd name="connsiteY30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33413 w 2262188"/>
                  <a:gd name="connsiteY9" fmla="*/ 633413 h 982971"/>
                  <a:gd name="connsiteX10" fmla="*/ 690563 w 2262188"/>
                  <a:gd name="connsiteY10" fmla="*/ 676275 h 982971"/>
                  <a:gd name="connsiteX11" fmla="*/ 757238 w 2262188"/>
                  <a:gd name="connsiteY11" fmla="*/ 714375 h 982971"/>
                  <a:gd name="connsiteX12" fmla="*/ 776288 w 2262188"/>
                  <a:gd name="connsiteY12" fmla="*/ 728663 h 982971"/>
                  <a:gd name="connsiteX13" fmla="*/ 828675 w 2262188"/>
                  <a:gd name="connsiteY13" fmla="*/ 752475 h 982971"/>
                  <a:gd name="connsiteX14" fmla="*/ 847725 w 2262188"/>
                  <a:gd name="connsiteY14" fmla="*/ 766763 h 982971"/>
                  <a:gd name="connsiteX15" fmla="*/ 914400 w 2262188"/>
                  <a:gd name="connsiteY15" fmla="*/ 790575 h 982971"/>
                  <a:gd name="connsiteX16" fmla="*/ 947738 w 2262188"/>
                  <a:gd name="connsiteY16" fmla="*/ 809625 h 982971"/>
                  <a:gd name="connsiteX17" fmla="*/ 966788 w 2262188"/>
                  <a:gd name="connsiteY17" fmla="*/ 823913 h 982971"/>
                  <a:gd name="connsiteX18" fmla="*/ 981075 w 2262188"/>
                  <a:gd name="connsiteY18" fmla="*/ 828675 h 982971"/>
                  <a:gd name="connsiteX19" fmla="*/ 1000125 w 2262188"/>
                  <a:gd name="connsiteY19" fmla="*/ 838200 h 982971"/>
                  <a:gd name="connsiteX20" fmla="*/ 1033463 w 2262188"/>
                  <a:gd name="connsiteY20" fmla="*/ 852488 h 982971"/>
                  <a:gd name="connsiteX21" fmla="*/ 1204913 w 2262188"/>
                  <a:gd name="connsiteY21" fmla="*/ 909638 h 982971"/>
                  <a:gd name="connsiteX22" fmla="*/ 1233488 w 2262188"/>
                  <a:gd name="connsiteY22" fmla="*/ 914400 h 982971"/>
                  <a:gd name="connsiteX23" fmla="*/ 1281113 w 2262188"/>
                  <a:gd name="connsiteY23" fmla="*/ 928688 h 982971"/>
                  <a:gd name="connsiteX24" fmla="*/ 1343025 w 2262188"/>
                  <a:gd name="connsiteY24" fmla="*/ 933450 h 982971"/>
                  <a:gd name="connsiteX25" fmla="*/ 1409700 w 2262188"/>
                  <a:gd name="connsiteY25" fmla="*/ 942975 h 982971"/>
                  <a:gd name="connsiteX26" fmla="*/ 1485900 w 2262188"/>
                  <a:gd name="connsiteY26" fmla="*/ 952500 h 982971"/>
                  <a:gd name="connsiteX27" fmla="*/ 1538288 w 2262188"/>
                  <a:gd name="connsiteY27" fmla="*/ 962025 h 982971"/>
                  <a:gd name="connsiteX28" fmla="*/ 1919288 w 2262188"/>
                  <a:gd name="connsiteY28" fmla="*/ 966788 h 982971"/>
                  <a:gd name="connsiteX29" fmla="*/ 2262188 w 2262188"/>
                  <a:gd name="connsiteY29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33413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47738 w 2262188"/>
                  <a:gd name="connsiteY15" fmla="*/ 809625 h 982971"/>
                  <a:gd name="connsiteX16" fmla="*/ 966788 w 2262188"/>
                  <a:gd name="connsiteY16" fmla="*/ 823913 h 982971"/>
                  <a:gd name="connsiteX17" fmla="*/ 981075 w 2262188"/>
                  <a:gd name="connsiteY17" fmla="*/ 828675 h 982971"/>
                  <a:gd name="connsiteX18" fmla="*/ 1000125 w 2262188"/>
                  <a:gd name="connsiteY18" fmla="*/ 838200 h 982971"/>
                  <a:gd name="connsiteX19" fmla="*/ 1033463 w 2262188"/>
                  <a:gd name="connsiteY19" fmla="*/ 852488 h 982971"/>
                  <a:gd name="connsiteX20" fmla="*/ 1204913 w 2262188"/>
                  <a:gd name="connsiteY20" fmla="*/ 909638 h 982971"/>
                  <a:gd name="connsiteX21" fmla="*/ 1233488 w 2262188"/>
                  <a:gd name="connsiteY21" fmla="*/ 914400 h 982971"/>
                  <a:gd name="connsiteX22" fmla="*/ 1281113 w 2262188"/>
                  <a:gd name="connsiteY22" fmla="*/ 928688 h 982971"/>
                  <a:gd name="connsiteX23" fmla="*/ 1343025 w 2262188"/>
                  <a:gd name="connsiteY23" fmla="*/ 933450 h 982971"/>
                  <a:gd name="connsiteX24" fmla="*/ 1409700 w 2262188"/>
                  <a:gd name="connsiteY24" fmla="*/ 942975 h 982971"/>
                  <a:gd name="connsiteX25" fmla="*/ 1485900 w 2262188"/>
                  <a:gd name="connsiteY25" fmla="*/ 952500 h 982971"/>
                  <a:gd name="connsiteX26" fmla="*/ 1538288 w 2262188"/>
                  <a:gd name="connsiteY26" fmla="*/ 962025 h 982971"/>
                  <a:gd name="connsiteX27" fmla="*/ 1919288 w 2262188"/>
                  <a:gd name="connsiteY27" fmla="*/ 966788 h 982971"/>
                  <a:gd name="connsiteX28" fmla="*/ 2262188 w 2262188"/>
                  <a:gd name="connsiteY28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47738 w 2262188"/>
                  <a:gd name="connsiteY15" fmla="*/ 809625 h 982971"/>
                  <a:gd name="connsiteX16" fmla="*/ 966788 w 2262188"/>
                  <a:gd name="connsiteY16" fmla="*/ 823913 h 982971"/>
                  <a:gd name="connsiteX17" fmla="*/ 981075 w 2262188"/>
                  <a:gd name="connsiteY17" fmla="*/ 828675 h 982971"/>
                  <a:gd name="connsiteX18" fmla="*/ 1000125 w 2262188"/>
                  <a:gd name="connsiteY18" fmla="*/ 838200 h 982971"/>
                  <a:gd name="connsiteX19" fmla="*/ 1033463 w 2262188"/>
                  <a:gd name="connsiteY19" fmla="*/ 852488 h 982971"/>
                  <a:gd name="connsiteX20" fmla="*/ 1204913 w 2262188"/>
                  <a:gd name="connsiteY20" fmla="*/ 909638 h 982971"/>
                  <a:gd name="connsiteX21" fmla="*/ 1233488 w 2262188"/>
                  <a:gd name="connsiteY21" fmla="*/ 914400 h 982971"/>
                  <a:gd name="connsiteX22" fmla="*/ 1281113 w 2262188"/>
                  <a:gd name="connsiteY22" fmla="*/ 928688 h 982971"/>
                  <a:gd name="connsiteX23" fmla="*/ 1343025 w 2262188"/>
                  <a:gd name="connsiteY23" fmla="*/ 933450 h 982971"/>
                  <a:gd name="connsiteX24" fmla="*/ 1409700 w 2262188"/>
                  <a:gd name="connsiteY24" fmla="*/ 942975 h 982971"/>
                  <a:gd name="connsiteX25" fmla="*/ 1485900 w 2262188"/>
                  <a:gd name="connsiteY25" fmla="*/ 952500 h 982971"/>
                  <a:gd name="connsiteX26" fmla="*/ 1538288 w 2262188"/>
                  <a:gd name="connsiteY26" fmla="*/ 962025 h 982971"/>
                  <a:gd name="connsiteX27" fmla="*/ 1919288 w 2262188"/>
                  <a:gd name="connsiteY27" fmla="*/ 966788 h 982971"/>
                  <a:gd name="connsiteX28" fmla="*/ 2262188 w 2262188"/>
                  <a:gd name="connsiteY28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66788 w 2262188"/>
                  <a:gd name="connsiteY15" fmla="*/ 823913 h 982971"/>
                  <a:gd name="connsiteX16" fmla="*/ 981075 w 2262188"/>
                  <a:gd name="connsiteY16" fmla="*/ 828675 h 982971"/>
                  <a:gd name="connsiteX17" fmla="*/ 1000125 w 2262188"/>
                  <a:gd name="connsiteY17" fmla="*/ 838200 h 982971"/>
                  <a:gd name="connsiteX18" fmla="*/ 1033463 w 2262188"/>
                  <a:gd name="connsiteY18" fmla="*/ 852488 h 982971"/>
                  <a:gd name="connsiteX19" fmla="*/ 1204913 w 2262188"/>
                  <a:gd name="connsiteY19" fmla="*/ 909638 h 982971"/>
                  <a:gd name="connsiteX20" fmla="*/ 1233488 w 2262188"/>
                  <a:gd name="connsiteY20" fmla="*/ 914400 h 982971"/>
                  <a:gd name="connsiteX21" fmla="*/ 1281113 w 2262188"/>
                  <a:gd name="connsiteY21" fmla="*/ 928688 h 982971"/>
                  <a:gd name="connsiteX22" fmla="*/ 1343025 w 2262188"/>
                  <a:gd name="connsiteY22" fmla="*/ 933450 h 982971"/>
                  <a:gd name="connsiteX23" fmla="*/ 1409700 w 2262188"/>
                  <a:gd name="connsiteY23" fmla="*/ 942975 h 982971"/>
                  <a:gd name="connsiteX24" fmla="*/ 1485900 w 2262188"/>
                  <a:gd name="connsiteY24" fmla="*/ 952500 h 982971"/>
                  <a:gd name="connsiteX25" fmla="*/ 1538288 w 2262188"/>
                  <a:gd name="connsiteY25" fmla="*/ 962025 h 982971"/>
                  <a:gd name="connsiteX26" fmla="*/ 1919288 w 2262188"/>
                  <a:gd name="connsiteY26" fmla="*/ 966788 h 982971"/>
                  <a:gd name="connsiteX27" fmla="*/ 2262188 w 2262188"/>
                  <a:gd name="connsiteY27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66788 w 2262188"/>
                  <a:gd name="connsiteY15" fmla="*/ 823913 h 982971"/>
                  <a:gd name="connsiteX16" fmla="*/ 981075 w 2262188"/>
                  <a:gd name="connsiteY16" fmla="*/ 828675 h 982971"/>
                  <a:gd name="connsiteX17" fmla="*/ 1000125 w 2262188"/>
                  <a:gd name="connsiteY17" fmla="*/ 838200 h 982971"/>
                  <a:gd name="connsiteX18" fmla="*/ 1204913 w 2262188"/>
                  <a:gd name="connsiteY18" fmla="*/ 909638 h 982971"/>
                  <a:gd name="connsiteX19" fmla="*/ 1233488 w 2262188"/>
                  <a:gd name="connsiteY19" fmla="*/ 914400 h 982971"/>
                  <a:gd name="connsiteX20" fmla="*/ 1281113 w 2262188"/>
                  <a:gd name="connsiteY20" fmla="*/ 928688 h 982971"/>
                  <a:gd name="connsiteX21" fmla="*/ 1343025 w 2262188"/>
                  <a:gd name="connsiteY21" fmla="*/ 933450 h 982971"/>
                  <a:gd name="connsiteX22" fmla="*/ 1409700 w 2262188"/>
                  <a:gd name="connsiteY22" fmla="*/ 942975 h 982971"/>
                  <a:gd name="connsiteX23" fmla="*/ 1485900 w 2262188"/>
                  <a:gd name="connsiteY23" fmla="*/ 952500 h 982971"/>
                  <a:gd name="connsiteX24" fmla="*/ 1538288 w 2262188"/>
                  <a:gd name="connsiteY24" fmla="*/ 962025 h 982971"/>
                  <a:gd name="connsiteX25" fmla="*/ 1919288 w 2262188"/>
                  <a:gd name="connsiteY25" fmla="*/ 966788 h 982971"/>
                  <a:gd name="connsiteX26" fmla="*/ 2262188 w 2262188"/>
                  <a:gd name="connsiteY26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14400 w 2262188"/>
                  <a:gd name="connsiteY14" fmla="*/ 790575 h 982971"/>
                  <a:gd name="connsiteX15" fmla="*/ 966788 w 2262188"/>
                  <a:gd name="connsiteY15" fmla="*/ 823913 h 982971"/>
                  <a:gd name="connsiteX16" fmla="*/ 1000125 w 2262188"/>
                  <a:gd name="connsiteY16" fmla="*/ 838200 h 982971"/>
                  <a:gd name="connsiteX17" fmla="*/ 1204913 w 2262188"/>
                  <a:gd name="connsiteY17" fmla="*/ 909638 h 982971"/>
                  <a:gd name="connsiteX18" fmla="*/ 1233488 w 2262188"/>
                  <a:gd name="connsiteY18" fmla="*/ 914400 h 982971"/>
                  <a:gd name="connsiteX19" fmla="*/ 1281113 w 2262188"/>
                  <a:gd name="connsiteY19" fmla="*/ 928688 h 982971"/>
                  <a:gd name="connsiteX20" fmla="*/ 1343025 w 2262188"/>
                  <a:gd name="connsiteY20" fmla="*/ 933450 h 982971"/>
                  <a:gd name="connsiteX21" fmla="*/ 1409700 w 2262188"/>
                  <a:gd name="connsiteY21" fmla="*/ 942975 h 982971"/>
                  <a:gd name="connsiteX22" fmla="*/ 1485900 w 2262188"/>
                  <a:gd name="connsiteY22" fmla="*/ 952500 h 982971"/>
                  <a:gd name="connsiteX23" fmla="*/ 1538288 w 2262188"/>
                  <a:gd name="connsiteY23" fmla="*/ 962025 h 982971"/>
                  <a:gd name="connsiteX24" fmla="*/ 1919288 w 2262188"/>
                  <a:gd name="connsiteY24" fmla="*/ 966788 h 982971"/>
                  <a:gd name="connsiteX25" fmla="*/ 2262188 w 2262188"/>
                  <a:gd name="connsiteY25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847725 w 2262188"/>
                  <a:gd name="connsiteY13" fmla="*/ 766763 h 982971"/>
                  <a:gd name="connsiteX14" fmla="*/ 966788 w 2262188"/>
                  <a:gd name="connsiteY14" fmla="*/ 823913 h 982971"/>
                  <a:gd name="connsiteX15" fmla="*/ 1000125 w 2262188"/>
                  <a:gd name="connsiteY15" fmla="*/ 838200 h 982971"/>
                  <a:gd name="connsiteX16" fmla="*/ 1204913 w 2262188"/>
                  <a:gd name="connsiteY16" fmla="*/ 909638 h 982971"/>
                  <a:gd name="connsiteX17" fmla="*/ 1233488 w 2262188"/>
                  <a:gd name="connsiteY17" fmla="*/ 914400 h 982971"/>
                  <a:gd name="connsiteX18" fmla="*/ 1281113 w 2262188"/>
                  <a:gd name="connsiteY18" fmla="*/ 928688 h 982971"/>
                  <a:gd name="connsiteX19" fmla="*/ 1343025 w 2262188"/>
                  <a:gd name="connsiteY19" fmla="*/ 933450 h 982971"/>
                  <a:gd name="connsiteX20" fmla="*/ 1409700 w 2262188"/>
                  <a:gd name="connsiteY20" fmla="*/ 942975 h 982971"/>
                  <a:gd name="connsiteX21" fmla="*/ 1485900 w 2262188"/>
                  <a:gd name="connsiteY21" fmla="*/ 952500 h 982971"/>
                  <a:gd name="connsiteX22" fmla="*/ 1538288 w 2262188"/>
                  <a:gd name="connsiteY22" fmla="*/ 962025 h 982971"/>
                  <a:gd name="connsiteX23" fmla="*/ 1919288 w 2262188"/>
                  <a:gd name="connsiteY23" fmla="*/ 966788 h 982971"/>
                  <a:gd name="connsiteX24" fmla="*/ 2262188 w 2262188"/>
                  <a:gd name="connsiteY24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33488 w 2262188"/>
                  <a:gd name="connsiteY16" fmla="*/ 914400 h 982971"/>
                  <a:gd name="connsiteX17" fmla="*/ 1281113 w 2262188"/>
                  <a:gd name="connsiteY17" fmla="*/ 928688 h 982971"/>
                  <a:gd name="connsiteX18" fmla="*/ 1343025 w 2262188"/>
                  <a:gd name="connsiteY18" fmla="*/ 933450 h 982971"/>
                  <a:gd name="connsiteX19" fmla="*/ 1409700 w 2262188"/>
                  <a:gd name="connsiteY19" fmla="*/ 942975 h 982971"/>
                  <a:gd name="connsiteX20" fmla="*/ 1485900 w 2262188"/>
                  <a:gd name="connsiteY20" fmla="*/ 952500 h 982971"/>
                  <a:gd name="connsiteX21" fmla="*/ 1538288 w 2262188"/>
                  <a:gd name="connsiteY21" fmla="*/ 962025 h 982971"/>
                  <a:gd name="connsiteX22" fmla="*/ 1919288 w 2262188"/>
                  <a:gd name="connsiteY22" fmla="*/ 966788 h 982971"/>
                  <a:gd name="connsiteX23" fmla="*/ 2262188 w 2262188"/>
                  <a:gd name="connsiteY23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33488 w 2262188"/>
                  <a:gd name="connsiteY16" fmla="*/ 914400 h 982971"/>
                  <a:gd name="connsiteX17" fmla="*/ 1281113 w 2262188"/>
                  <a:gd name="connsiteY17" fmla="*/ 928688 h 982971"/>
                  <a:gd name="connsiteX18" fmla="*/ 1409700 w 2262188"/>
                  <a:gd name="connsiteY18" fmla="*/ 942975 h 982971"/>
                  <a:gd name="connsiteX19" fmla="*/ 1485900 w 2262188"/>
                  <a:gd name="connsiteY19" fmla="*/ 952500 h 982971"/>
                  <a:gd name="connsiteX20" fmla="*/ 1538288 w 2262188"/>
                  <a:gd name="connsiteY20" fmla="*/ 962025 h 982971"/>
                  <a:gd name="connsiteX21" fmla="*/ 1919288 w 2262188"/>
                  <a:gd name="connsiteY21" fmla="*/ 966788 h 982971"/>
                  <a:gd name="connsiteX22" fmla="*/ 2262188 w 2262188"/>
                  <a:gd name="connsiteY22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33488 w 2262188"/>
                  <a:gd name="connsiteY16" fmla="*/ 914400 h 982971"/>
                  <a:gd name="connsiteX17" fmla="*/ 1281113 w 2262188"/>
                  <a:gd name="connsiteY17" fmla="*/ 928688 h 982971"/>
                  <a:gd name="connsiteX18" fmla="*/ 1485900 w 2262188"/>
                  <a:gd name="connsiteY18" fmla="*/ 952500 h 982971"/>
                  <a:gd name="connsiteX19" fmla="*/ 1538288 w 2262188"/>
                  <a:gd name="connsiteY19" fmla="*/ 962025 h 982971"/>
                  <a:gd name="connsiteX20" fmla="*/ 1919288 w 2262188"/>
                  <a:gd name="connsiteY20" fmla="*/ 966788 h 982971"/>
                  <a:gd name="connsiteX21" fmla="*/ 2262188 w 2262188"/>
                  <a:gd name="connsiteY21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33488 w 2262188"/>
                  <a:gd name="connsiteY16" fmla="*/ 914400 h 982971"/>
                  <a:gd name="connsiteX17" fmla="*/ 1281113 w 2262188"/>
                  <a:gd name="connsiteY17" fmla="*/ 928688 h 982971"/>
                  <a:gd name="connsiteX18" fmla="*/ 1538288 w 2262188"/>
                  <a:gd name="connsiteY18" fmla="*/ 962025 h 982971"/>
                  <a:gd name="connsiteX19" fmla="*/ 1919288 w 2262188"/>
                  <a:gd name="connsiteY19" fmla="*/ 966788 h 982971"/>
                  <a:gd name="connsiteX20" fmla="*/ 2262188 w 2262188"/>
                  <a:gd name="connsiteY20" fmla="*/ 957263 h 982971"/>
                  <a:gd name="connsiteX0" fmla="*/ 0 w 2262188"/>
                  <a:gd name="connsiteY0" fmla="*/ 0 h 982971"/>
                  <a:gd name="connsiteX1" fmla="*/ 19050 w 2262188"/>
                  <a:gd name="connsiteY1" fmla="*/ 23813 h 982971"/>
                  <a:gd name="connsiteX2" fmla="*/ 138113 w 2262188"/>
                  <a:gd name="connsiteY2" fmla="*/ 185738 h 982971"/>
                  <a:gd name="connsiteX3" fmla="*/ 157163 w 2262188"/>
                  <a:gd name="connsiteY3" fmla="*/ 195263 h 982971"/>
                  <a:gd name="connsiteX4" fmla="*/ 195263 w 2262188"/>
                  <a:gd name="connsiteY4" fmla="*/ 242888 h 982971"/>
                  <a:gd name="connsiteX5" fmla="*/ 271463 w 2262188"/>
                  <a:gd name="connsiteY5" fmla="*/ 347663 h 982971"/>
                  <a:gd name="connsiteX6" fmla="*/ 338138 w 2262188"/>
                  <a:gd name="connsiteY6" fmla="*/ 419100 h 982971"/>
                  <a:gd name="connsiteX7" fmla="*/ 371475 w 2262188"/>
                  <a:gd name="connsiteY7" fmla="*/ 438150 h 982971"/>
                  <a:gd name="connsiteX8" fmla="*/ 395288 w 2262188"/>
                  <a:gd name="connsiteY8" fmla="*/ 457200 h 982971"/>
                  <a:gd name="connsiteX9" fmla="*/ 604838 w 2262188"/>
                  <a:gd name="connsiteY9" fmla="*/ 633413 h 982971"/>
                  <a:gd name="connsiteX10" fmla="*/ 757238 w 2262188"/>
                  <a:gd name="connsiteY10" fmla="*/ 714375 h 982971"/>
                  <a:gd name="connsiteX11" fmla="*/ 776288 w 2262188"/>
                  <a:gd name="connsiteY11" fmla="*/ 728663 h 982971"/>
                  <a:gd name="connsiteX12" fmla="*/ 828675 w 2262188"/>
                  <a:gd name="connsiteY12" fmla="*/ 752475 h 982971"/>
                  <a:gd name="connsiteX13" fmla="*/ 966788 w 2262188"/>
                  <a:gd name="connsiteY13" fmla="*/ 823913 h 982971"/>
                  <a:gd name="connsiteX14" fmla="*/ 1000125 w 2262188"/>
                  <a:gd name="connsiteY14" fmla="*/ 838200 h 982971"/>
                  <a:gd name="connsiteX15" fmla="*/ 1204913 w 2262188"/>
                  <a:gd name="connsiteY15" fmla="*/ 909638 h 982971"/>
                  <a:gd name="connsiteX16" fmla="*/ 1281113 w 2262188"/>
                  <a:gd name="connsiteY16" fmla="*/ 928688 h 982971"/>
                  <a:gd name="connsiteX17" fmla="*/ 1538288 w 2262188"/>
                  <a:gd name="connsiteY17" fmla="*/ 962025 h 982971"/>
                  <a:gd name="connsiteX18" fmla="*/ 1919288 w 2262188"/>
                  <a:gd name="connsiteY18" fmla="*/ 966788 h 982971"/>
                  <a:gd name="connsiteX19" fmla="*/ 2262188 w 2262188"/>
                  <a:gd name="connsiteY19" fmla="*/ 957263 h 982971"/>
                  <a:gd name="connsiteX0" fmla="*/ 0 w 2262188"/>
                  <a:gd name="connsiteY0" fmla="*/ 0 h 970411"/>
                  <a:gd name="connsiteX1" fmla="*/ 19050 w 2262188"/>
                  <a:gd name="connsiteY1" fmla="*/ 23813 h 970411"/>
                  <a:gd name="connsiteX2" fmla="*/ 138113 w 2262188"/>
                  <a:gd name="connsiteY2" fmla="*/ 185738 h 970411"/>
                  <a:gd name="connsiteX3" fmla="*/ 157163 w 2262188"/>
                  <a:gd name="connsiteY3" fmla="*/ 195263 h 970411"/>
                  <a:gd name="connsiteX4" fmla="*/ 195263 w 2262188"/>
                  <a:gd name="connsiteY4" fmla="*/ 242888 h 970411"/>
                  <a:gd name="connsiteX5" fmla="*/ 271463 w 2262188"/>
                  <a:gd name="connsiteY5" fmla="*/ 347663 h 970411"/>
                  <a:gd name="connsiteX6" fmla="*/ 338138 w 2262188"/>
                  <a:gd name="connsiteY6" fmla="*/ 419100 h 970411"/>
                  <a:gd name="connsiteX7" fmla="*/ 371475 w 2262188"/>
                  <a:gd name="connsiteY7" fmla="*/ 438150 h 970411"/>
                  <a:gd name="connsiteX8" fmla="*/ 395288 w 2262188"/>
                  <a:gd name="connsiteY8" fmla="*/ 457200 h 970411"/>
                  <a:gd name="connsiteX9" fmla="*/ 604838 w 2262188"/>
                  <a:gd name="connsiteY9" fmla="*/ 633413 h 970411"/>
                  <a:gd name="connsiteX10" fmla="*/ 757238 w 2262188"/>
                  <a:gd name="connsiteY10" fmla="*/ 714375 h 970411"/>
                  <a:gd name="connsiteX11" fmla="*/ 776288 w 2262188"/>
                  <a:gd name="connsiteY11" fmla="*/ 728663 h 970411"/>
                  <a:gd name="connsiteX12" fmla="*/ 828675 w 2262188"/>
                  <a:gd name="connsiteY12" fmla="*/ 752475 h 970411"/>
                  <a:gd name="connsiteX13" fmla="*/ 966788 w 2262188"/>
                  <a:gd name="connsiteY13" fmla="*/ 823913 h 970411"/>
                  <a:gd name="connsiteX14" fmla="*/ 1000125 w 2262188"/>
                  <a:gd name="connsiteY14" fmla="*/ 838200 h 970411"/>
                  <a:gd name="connsiteX15" fmla="*/ 1204913 w 2262188"/>
                  <a:gd name="connsiteY15" fmla="*/ 909638 h 970411"/>
                  <a:gd name="connsiteX16" fmla="*/ 1281113 w 2262188"/>
                  <a:gd name="connsiteY16" fmla="*/ 928688 h 970411"/>
                  <a:gd name="connsiteX17" fmla="*/ 1538288 w 2262188"/>
                  <a:gd name="connsiteY17" fmla="*/ 962025 h 970411"/>
                  <a:gd name="connsiteX18" fmla="*/ 1919288 w 2262188"/>
                  <a:gd name="connsiteY18" fmla="*/ 966788 h 970411"/>
                  <a:gd name="connsiteX19" fmla="*/ 2262188 w 2262188"/>
                  <a:gd name="connsiteY19" fmla="*/ 957263 h 970411"/>
                  <a:gd name="connsiteX0" fmla="*/ 0 w 2262188"/>
                  <a:gd name="connsiteY0" fmla="*/ 0 h 970411"/>
                  <a:gd name="connsiteX1" fmla="*/ 19050 w 2262188"/>
                  <a:gd name="connsiteY1" fmla="*/ 23813 h 970411"/>
                  <a:gd name="connsiteX2" fmla="*/ 138113 w 2262188"/>
                  <a:gd name="connsiteY2" fmla="*/ 185738 h 970411"/>
                  <a:gd name="connsiteX3" fmla="*/ 195263 w 2262188"/>
                  <a:gd name="connsiteY3" fmla="*/ 242888 h 970411"/>
                  <a:gd name="connsiteX4" fmla="*/ 271463 w 2262188"/>
                  <a:gd name="connsiteY4" fmla="*/ 347663 h 970411"/>
                  <a:gd name="connsiteX5" fmla="*/ 338138 w 2262188"/>
                  <a:gd name="connsiteY5" fmla="*/ 419100 h 970411"/>
                  <a:gd name="connsiteX6" fmla="*/ 371475 w 2262188"/>
                  <a:gd name="connsiteY6" fmla="*/ 438150 h 970411"/>
                  <a:gd name="connsiteX7" fmla="*/ 395288 w 2262188"/>
                  <a:gd name="connsiteY7" fmla="*/ 457200 h 970411"/>
                  <a:gd name="connsiteX8" fmla="*/ 604838 w 2262188"/>
                  <a:gd name="connsiteY8" fmla="*/ 633413 h 970411"/>
                  <a:gd name="connsiteX9" fmla="*/ 757238 w 2262188"/>
                  <a:gd name="connsiteY9" fmla="*/ 714375 h 970411"/>
                  <a:gd name="connsiteX10" fmla="*/ 776288 w 2262188"/>
                  <a:gd name="connsiteY10" fmla="*/ 728663 h 970411"/>
                  <a:gd name="connsiteX11" fmla="*/ 828675 w 2262188"/>
                  <a:gd name="connsiteY11" fmla="*/ 752475 h 970411"/>
                  <a:gd name="connsiteX12" fmla="*/ 966788 w 2262188"/>
                  <a:gd name="connsiteY12" fmla="*/ 823913 h 970411"/>
                  <a:gd name="connsiteX13" fmla="*/ 1000125 w 2262188"/>
                  <a:gd name="connsiteY13" fmla="*/ 838200 h 970411"/>
                  <a:gd name="connsiteX14" fmla="*/ 1204913 w 2262188"/>
                  <a:gd name="connsiteY14" fmla="*/ 909638 h 970411"/>
                  <a:gd name="connsiteX15" fmla="*/ 1281113 w 2262188"/>
                  <a:gd name="connsiteY15" fmla="*/ 928688 h 970411"/>
                  <a:gd name="connsiteX16" fmla="*/ 1538288 w 2262188"/>
                  <a:gd name="connsiteY16" fmla="*/ 962025 h 970411"/>
                  <a:gd name="connsiteX17" fmla="*/ 1919288 w 2262188"/>
                  <a:gd name="connsiteY17" fmla="*/ 966788 h 970411"/>
                  <a:gd name="connsiteX18" fmla="*/ 2262188 w 2262188"/>
                  <a:gd name="connsiteY18" fmla="*/ 957263 h 970411"/>
                  <a:gd name="connsiteX0" fmla="*/ 299 w 2262487"/>
                  <a:gd name="connsiteY0" fmla="*/ 298 h 970709"/>
                  <a:gd name="connsiteX1" fmla="*/ 19349 w 2262487"/>
                  <a:gd name="connsiteY1" fmla="*/ 24111 h 970709"/>
                  <a:gd name="connsiteX2" fmla="*/ 195562 w 2262487"/>
                  <a:gd name="connsiteY2" fmla="*/ 243186 h 970709"/>
                  <a:gd name="connsiteX3" fmla="*/ 271762 w 2262487"/>
                  <a:gd name="connsiteY3" fmla="*/ 347961 h 970709"/>
                  <a:gd name="connsiteX4" fmla="*/ 338437 w 2262487"/>
                  <a:gd name="connsiteY4" fmla="*/ 419398 h 970709"/>
                  <a:gd name="connsiteX5" fmla="*/ 371774 w 2262487"/>
                  <a:gd name="connsiteY5" fmla="*/ 438448 h 970709"/>
                  <a:gd name="connsiteX6" fmla="*/ 395587 w 2262487"/>
                  <a:gd name="connsiteY6" fmla="*/ 457498 h 970709"/>
                  <a:gd name="connsiteX7" fmla="*/ 605137 w 2262487"/>
                  <a:gd name="connsiteY7" fmla="*/ 633711 h 970709"/>
                  <a:gd name="connsiteX8" fmla="*/ 757537 w 2262487"/>
                  <a:gd name="connsiteY8" fmla="*/ 714673 h 970709"/>
                  <a:gd name="connsiteX9" fmla="*/ 776587 w 2262487"/>
                  <a:gd name="connsiteY9" fmla="*/ 728961 h 970709"/>
                  <a:gd name="connsiteX10" fmla="*/ 828974 w 2262487"/>
                  <a:gd name="connsiteY10" fmla="*/ 752773 h 970709"/>
                  <a:gd name="connsiteX11" fmla="*/ 967087 w 2262487"/>
                  <a:gd name="connsiteY11" fmla="*/ 824211 h 970709"/>
                  <a:gd name="connsiteX12" fmla="*/ 1000424 w 2262487"/>
                  <a:gd name="connsiteY12" fmla="*/ 838498 h 970709"/>
                  <a:gd name="connsiteX13" fmla="*/ 1205212 w 2262487"/>
                  <a:gd name="connsiteY13" fmla="*/ 909936 h 970709"/>
                  <a:gd name="connsiteX14" fmla="*/ 1281412 w 2262487"/>
                  <a:gd name="connsiteY14" fmla="*/ 928986 h 970709"/>
                  <a:gd name="connsiteX15" fmla="*/ 1538587 w 2262487"/>
                  <a:gd name="connsiteY15" fmla="*/ 962323 h 970709"/>
                  <a:gd name="connsiteX16" fmla="*/ 1919587 w 2262487"/>
                  <a:gd name="connsiteY16" fmla="*/ 967086 h 970709"/>
                  <a:gd name="connsiteX17" fmla="*/ 2262487 w 2262487"/>
                  <a:gd name="connsiteY17" fmla="*/ 957561 h 9707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262487" h="970709">
                    <a:moveTo>
                      <a:pt x="299" y="298"/>
                    </a:moveTo>
                    <a:cubicBezTo>
                      <a:pt x="6649" y="8236"/>
                      <a:pt x="-13195" y="-16370"/>
                      <a:pt x="19349" y="24111"/>
                    </a:cubicBezTo>
                    <a:cubicBezTo>
                      <a:pt x="51893" y="64592"/>
                      <a:pt x="153493" y="189211"/>
                      <a:pt x="195562" y="243186"/>
                    </a:cubicBezTo>
                    <a:cubicBezTo>
                      <a:pt x="237631" y="297161"/>
                      <a:pt x="247950" y="318592"/>
                      <a:pt x="271762" y="347961"/>
                    </a:cubicBezTo>
                    <a:cubicBezTo>
                      <a:pt x="295574" y="377330"/>
                      <a:pt x="321768" y="404317"/>
                      <a:pt x="338437" y="419398"/>
                    </a:cubicBezTo>
                    <a:cubicBezTo>
                      <a:pt x="355106" y="434479"/>
                      <a:pt x="361125" y="431349"/>
                      <a:pt x="371774" y="438448"/>
                    </a:cubicBezTo>
                    <a:cubicBezTo>
                      <a:pt x="380232" y="444087"/>
                      <a:pt x="356693" y="424954"/>
                      <a:pt x="395587" y="457498"/>
                    </a:cubicBezTo>
                    <a:cubicBezTo>
                      <a:pt x="434481" y="490042"/>
                      <a:pt x="544812" y="590849"/>
                      <a:pt x="605137" y="633711"/>
                    </a:cubicBezTo>
                    <a:cubicBezTo>
                      <a:pt x="665462" y="676573"/>
                      <a:pt x="728962" y="698798"/>
                      <a:pt x="757537" y="714673"/>
                    </a:cubicBezTo>
                    <a:cubicBezTo>
                      <a:pt x="786112" y="730548"/>
                      <a:pt x="769781" y="724877"/>
                      <a:pt x="776587" y="728961"/>
                    </a:cubicBezTo>
                    <a:cubicBezTo>
                      <a:pt x="878260" y="789965"/>
                      <a:pt x="797224" y="736898"/>
                      <a:pt x="828974" y="752773"/>
                    </a:cubicBezTo>
                    <a:cubicBezTo>
                      <a:pt x="860724" y="768648"/>
                      <a:pt x="938512" y="809924"/>
                      <a:pt x="967087" y="824211"/>
                    </a:cubicBezTo>
                    <a:cubicBezTo>
                      <a:pt x="995662" y="838498"/>
                      <a:pt x="960737" y="824211"/>
                      <a:pt x="1000424" y="838498"/>
                    </a:cubicBezTo>
                    <a:cubicBezTo>
                      <a:pt x="1040111" y="852785"/>
                      <a:pt x="1158381" y="894855"/>
                      <a:pt x="1205212" y="909936"/>
                    </a:cubicBezTo>
                    <a:cubicBezTo>
                      <a:pt x="1252043" y="925017"/>
                      <a:pt x="1225850" y="920255"/>
                      <a:pt x="1281412" y="928986"/>
                    </a:cubicBezTo>
                    <a:cubicBezTo>
                      <a:pt x="1336975" y="937717"/>
                      <a:pt x="1432225" y="955973"/>
                      <a:pt x="1538587" y="962323"/>
                    </a:cubicBezTo>
                    <a:cubicBezTo>
                      <a:pt x="1644949" y="968673"/>
                      <a:pt x="1792587" y="965498"/>
                      <a:pt x="1919587" y="967086"/>
                    </a:cubicBezTo>
                    <a:cubicBezTo>
                      <a:pt x="2256511" y="962272"/>
                      <a:pt x="2158319" y="983446"/>
                      <a:pt x="2262487" y="957561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75D2E4A3-69EC-4DD4-C92C-0EF70D2D5336}"/>
                  </a:ext>
                </a:extLst>
              </p:cNvPr>
              <p:cNvSpPr/>
              <p:nvPr/>
            </p:nvSpPr>
            <p:spPr>
              <a:xfrm>
                <a:off x="4109085" y="1790700"/>
                <a:ext cx="3008034" cy="3680460"/>
              </a:xfrm>
              <a:custGeom>
                <a:avLst/>
                <a:gdLst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453640 w 3025140"/>
                  <a:gd name="connsiteY169" fmla="*/ 533400 h 3680460"/>
                  <a:gd name="connsiteX170" fmla="*/ 2377440 w 3025140"/>
                  <a:gd name="connsiteY170" fmla="*/ 464820 h 3680460"/>
                  <a:gd name="connsiteX171" fmla="*/ 2301240 w 3025140"/>
                  <a:gd name="connsiteY171" fmla="*/ 434340 h 3680460"/>
                  <a:gd name="connsiteX172" fmla="*/ 2270760 w 3025140"/>
                  <a:gd name="connsiteY172" fmla="*/ 411480 h 3680460"/>
                  <a:gd name="connsiteX173" fmla="*/ 2103120 w 3025140"/>
                  <a:gd name="connsiteY173" fmla="*/ 312420 h 3680460"/>
                  <a:gd name="connsiteX174" fmla="*/ 2042160 w 3025140"/>
                  <a:gd name="connsiteY174" fmla="*/ 266700 h 3680460"/>
                  <a:gd name="connsiteX175" fmla="*/ 2004060 w 3025140"/>
                  <a:gd name="connsiteY175" fmla="*/ 251460 h 3680460"/>
                  <a:gd name="connsiteX176" fmla="*/ 1958340 w 3025140"/>
                  <a:gd name="connsiteY176" fmla="*/ 220980 h 3680460"/>
                  <a:gd name="connsiteX177" fmla="*/ 1897380 w 3025140"/>
                  <a:gd name="connsiteY177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453640 w 3025140"/>
                  <a:gd name="connsiteY169" fmla="*/ 533400 h 3680460"/>
                  <a:gd name="connsiteX170" fmla="*/ 2301240 w 3025140"/>
                  <a:gd name="connsiteY170" fmla="*/ 434340 h 3680460"/>
                  <a:gd name="connsiteX171" fmla="*/ 2270760 w 3025140"/>
                  <a:gd name="connsiteY171" fmla="*/ 411480 h 3680460"/>
                  <a:gd name="connsiteX172" fmla="*/ 2103120 w 3025140"/>
                  <a:gd name="connsiteY172" fmla="*/ 312420 h 3680460"/>
                  <a:gd name="connsiteX173" fmla="*/ 2042160 w 3025140"/>
                  <a:gd name="connsiteY173" fmla="*/ 266700 h 3680460"/>
                  <a:gd name="connsiteX174" fmla="*/ 2004060 w 3025140"/>
                  <a:gd name="connsiteY174" fmla="*/ 251460 h 3680460"/>
                  <a:gd name="connsiteX175" fmla="*/ 1958340 w 3025140"/>
                  <a:gd name="connsiteY175" fmla="*/ 220980 h 3680460"/>
                  <a:gd name="connsiteX176" fmla="*/ 1897380 w 3025140"/>
                  <a:gd name="connsiteY176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476500 w 3025140"/>
                  <a:gd name="connsiteY168" fmla="*/ 548640 h 3680460"/>
                  <a:gd name="connsiteX169" fmla="*/ 2301240 w 3025140"/>
                  <a:gd name="connsiteY169" fmla="*/ 434340 h 3680460"/>
                  <a:gd name="connsiteX170" fmla="*/ 2270760 w 3025140"/>
                  <a:gd name="connsiteY170" fmla="*/ 411480 h 3680460"/>
                  <a:gd name="connsiteX171" fmla="*/ 2103120 w 3025140"/>
                  <a:gd name="connsiteY171" fmla="*/ 312420 h 3680460"/>
                  <a:gd name="connsiteX172" fmla="*/ 2042160 w 3025140"/>
                  <a:gd name="connsiteY172" fmla="*/ 266700 h 3680460"/>
                  <a:gd name="connsiteX173" fmla="*/ 2004060 w 3025140"/>
                  <a:gd name="connsiteY173" fmla="*/ 251460 h 3680460"/>
                  <a:gd name="connsiteX174" fmla="*/ 1958340 w 3025140"/>
                  <a:gd name="connsiteY174" fmla="*/ 220980 h 3680460"/>
                  <a:gd name="connsiteX175" fmla="*/ 1897380 w 3025140"/>
                  <a:gd name="connsiteY175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499360 w 3025140"/>
                  <a:gd name="connsiteY167" fmla="*/ 579120 h 3680460"/>
                  <a:gd name="connsiteX168" fmla="*/ 2301240 w 3025140"/>
                  <a:gd name="connsiteY168" fmla="*/ 434340 h 3680460"/>
                  <a:gd name="connsiteX169" fmla="*/ 2270760 w 3025140"/>
                  <a:gd name="connsiteY169" fmla="*/ 411480 h 3680460"/>
                  <a:gd name="connsiteX170" fmla="*/ 2103120 w 3025140"/>
                  <a:gd name="connsiteY170" fmla="*/ 312420 h 3680460"/>
                  <a:gd name="connsiteX171" fmla="*/ 2042160 w 3025140"/>
                  <a:gd name="connsiteY171" fmla="*/ 266700 h 3680460"/>
                  <a:gd name="connsiteX172" fmla="*/ 2004060 w 3025140"/>
                  <a:gd name="connsiteY172" fmla="*/ 251460 h 3680460"/>
                  <a:gd name="connsiteX173" fmla="*/ 1958340 w 3025140"/>
                  <a:gd name="connsiteY173" fmla="*/ 220980 h 3680460"/>
                  <a:gd name="connsiteX174" fmla="*/ 1897380 w 3025140"/>
                  <a:gd name="connsiteY174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567940 w 3025140"/>
                  <a:gd name="connsiteY166" fmla="*/ 693420 h 3680460"/>
                  <a:gd name="connsiteX167" fmla="*/ 2301240 w 3025140"/>
                  <a:gd name="connsiteY167" fmla="*/ 434340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34340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58152 h 3680460"/>
                  <a:gd name="connsiteX168" fmla="*/ 2270760 w 3025140"/>
                  <a:gd name="connsiteY168" fmla="*/ 411480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775460 w 3025140"/>
                  <a:gd name="connsiteY8" fmla="*/ 15240 h 3680460"/>
                  <a:gd name="connsiteX9" fmla="*/ 1912620 w 3025140"/>
                  <a:gd name="connsiteY9" fmla="*/ 7620 h 3680460"/>
                  <a:gd name="connsiteX10" fmla="*/ 1981200 w 3025140"/>
                  <a:gd name="connsiteY10" fmla="*/ 0 h 3680460"/>
                  <a:gd name="connsiteX11" fmla="*/ 2026920 w 3025140"/>
                  <a:gd name="connsiteY11" fmla="*/ 30480 h 3680460"/>
                  <a:gd name="connsiteX12" fmla="*/ 2065020 w 3025140"/>
                  <a:gd name="connsiteY12" fmla="*/ 76200 h 3680460"/>
                  <a:gd name="connsiteX13" fmla="*/ 2171700 w 3025140"/>
                  <a:gd name="connsiteY13" fmla="*/ 114300 h 3680460"/>
                  <a:gd name="connsiteX14" fmla="*/ 2225040 w 3025140"/>
                  <a:gd name="connsiteY14" fmla="*/ 160020 h 3680460"/>
                  <a:gd name="connsiteX15" fmla="*/ 2286000 w 3025140"/>
                  <a:gd name="connsiteY15" fmla="*/ 190500 h 3680460"/>
                  <a:gd name="connsiteX16" fmla="*/ 2331720 w 3025140"/>
                  <a:gd name="connsiteY16" fmla="*/ 220980 h 3680460"/>
                  <a:gd name="connsiteX17" fmla="*/ 2385060 w 3025140"/>
                  <a:gd name="connsiteY17" fmla="*/ 266700 h 3680460"/>
                  <a:gd name="connsiteX18" fmla="*/ 2415540 w 3025140"/>
                  <a:gd name="connsiteY18" fmla="*/ 289560 h 3680460"/>
                  <a:gd name="connsiteX19" fmla="*/ 2461260 w 3025140"/>
                  <a:gd name="connsiteY19" fmla="*/ 320040 h 3680460"/>
                  <a:gd name="connsiteX20" fmla="*/ 2537460 w 3025140"/>
                  <a:gd name="connsiteY20" fmla="*/ 426720 h 3680460"/>
                  <a:gd name="connsiteX21" fmla="*/ 2552700 w 3025140"/>
                  <a:gd name="connsiteY21" fmla="*/ 449580 h 3680460"/>
                  <a:gd name="connsiteX22" fmla="*/ 2575560 w 3025140"/>
                  <a:gd name="connsiteY22" fmla="*/ 487680 h 3680460"/>
                  <a:gd name="connsiteX23" fmla="*/ 2621280 w 3025140"/>
                  <a:gd name="connsiteY23" fmla="*/ 548640 h 3680460"/>
                  <a:gd name="connsiteX24" fmla="*/ 2674620 w 3025140"/>
                  <a:gd name="connsiteY24" fmla="*/ 609600 h 3680460"/>
                  <a:gd name="connsiteX25" fmla="*/ 2727960 w 3025140"/>
                  <a:gd name="connsiteY25" fmla="*/ 678180 h 3680460"/>
                  <a:gd name="connsiteX26" fmla="*/ 2727960 w 3025140"/>
                  <a:gd name="connsiteY26" fmla="*/ 678180 h 3680460"/>
                  <a:gd name="connsiteX27" fmla="*/ 2766060 w 3025140"/>
                  <a:gd name="connsiteY27" fmla="*/ 754380 h 3680460"/>
                  <a:gd name="connsiteX28" fmla="*/ 2819400 w 3025140"/>
                  <a:gd name="connsiteY28" fmla="*/ 830580 h 3680460"/>
                  <a:gd name="connsiteX29" fmla="*/ 2834640 w 3025140"/>
                  <a:gd name="connsiteY29" fmla="*/ 853440 h 3680460"/>
                  <a:gd name="connsiteX30" fmla="*/ 2849880 w 3025140"/>
                  <a:gd name="connsiteY30" fmla="*/ 883920 h 3680460"/>
                  <a:gd name="connsiteX31" fmla="*/ 2880360 w 3025140"/>
                  <a:gd name="connsiteY31" fmla="*/ 922020 h 3680460"/>
                  <a:gd name="connsiteX32" fmla="*/ 2887980 w 3025140"/>
                  <a:gd name="connsiteY32" fmla="*/ 944880 h 3680460"/>
                  <a:gd name="connsiteX33" fmla="*/ 2903220 w 3025140"/>
                  <a:gd name="connsiteY33" fmla="*/ 967740 h 3680460"/>
                  <a:gd name="connsiteX34" fmla="*/ 2918460 w 3025140"/>
                  <a:gd name="connsiteY34" fmla="*/ 1036320 h 3680460"/>
                  <a:gd name="connsiteX35" fmla="*/ 2933700 w 3025140"/>
                  <a:gd name="connsiteY35" fmla="*/ 1074420 h 3680460"/>
                  <a:gd name="connsiteX36" fmla="*/ 2948940 w 3025140"/>
                  <a:gd name="connsiteY36" fmla="*/ 1120140 h 3680460"/>
                  <a:gd name="connsiteX37" fmla="*/ 2964180 w 3025140"/>
                  <a:gd name="connsiteY37" fmla="*/ 1203960 h 3680460"/>
                  <a:gd name="connsiteX38" fmla="*/ 2979420 w 3025140"/>
                  <a:gd name="connsiteY38" fmla="*/ 1264920 h 3680460"/>
                  <a:gd name="connsiteX39" fmla="*/ 2987040 w 3025140"/>
                  <a:gd name="connsiteY39" fmla="*/ 1318260 h 3680460"/>
                  <a:gd name="connsiteX40" fmla="*/ 2994660 w 3025140"/>
                  <a:gd name="connsiteY40" fmla="*/ 1348740 h 3680460"/>
                  <a:gd name="connsiteX41" fmla="*/ 3009900 w 3025140"/>
                  <a:gd name="connsiteY41" fmla="*/ 1432560 h 3680460"/>
                  <a:gd name="connsiteX42" fmla="*/ 3017520 w 3025140"/>
                  <a:gd name="connsiteY42" fmla="*/ 1684020 h 3680460"/>
                  <a:gd name="connsiteX43" fmla="*/ 3025140 w 3025140"/>
                  <a:gd name="connsiteY43" fmla="*/ 1744980 h 3680460"/>
                  <a:gd name="connsiteX44" fmla="*/ 3017520 w 3025140"/>
                  <a:gd name="connsiteY44" fmla="*/ 2095500 h 3680460"/>
                  <a:gd name="connsiteX45" fmla="*/ 3009900 w 3025140"/>
                  <a:gd name="connsiteY45" fmla="*/ 2125980 h 3680460"/>
                  <a:gd name="connsiteX46" fmla="*/ 2979420 w 3025140"/>
                  <a:gd name="connsiteY46" fmla="*/ 2194560 h 3680460"/>
                  <a:gd name="connsiteX47" fmla="*/ 2956560 w 3025140"/>
                  <a:gd name="connsiteY47" fmla="*/ 2247900 h 3680460"/>
                  <a:gd name="connsiteX48" fmla="*/ 2941320 w 3025140"/>
                  <a:gd name="connsiteY48" fmla="*/ 2324100 h 3680460"/>
                  <a:gd name="connsiteX49" fmla="*/ 2926080 w 3025140"/>
                  <a:gd name="connsiteY49" fmla="*/ 2392680 h 3680460"/>
                  <a:gd name="connsiteX50" fmla="*/ 2918460 w 3025140"/>
                  <a:gd name="connsiteY50" fmla="*/ 2415540 h 3680460"/>
                  <a:gd name="connsiteX51" fmla="*/ 2895600 w 3025140"/>
                  <a:gd name="connsiteY51" fmla="*/ 2484120 h 3680460"/>
                  <a:gd name="connsiteX52" fmla="*/ 2872740 w 3025140"/>
                  <a:gd name="connsiteY52" fmla="*/ 2583180 h 3680460"/>
                  <a:gd name="connsiteX53" fmla="*/ 2857500 w 3025140"/>
                  <a:gd name="connsiteY53" fmla="*/ 2606040 h 3680460"/>
                  <a:gd name="connsiteX54" fmla="*/ 2834640 w 3025140"/>
                  <a:gd name="connsiteY54" fmla="*/ 2689860 h 3680460"/>
                  <a:gd name="connsiteX55" fmla="*/ 2811780 w 3025140"/>
                  <a:gd name="connsiteY55" fmla="*/ 2750820 h 3680460"/>
                  <a:gd name="connsiteX56" fmla="*/ 2788920 w 3025140"/>
                  <a:gd name="connsiteY56" fmla="*/ 2781300 h 3680460"/>
                  <a:gd name="connsiteX57" fmla="*/ 2781300 w 3025140"/>
                  <a:gd name="connsiteY57" fmla="*/ 2804160 h 3680460"/>
                  <a:gd name="connsiteX58" fmla="*/ 2743200 w 3025140"/>
                  <a:gd name="connsiteY58" fmla="*/ 2865120 h 3680460"/>
                  <a:gd name="connsiteX59" fmla="*/ 2712720 w 3025140"/>
                  <a:gd name="connsiteY59" fmla="*/ 2903220 h 3680460"/>
                  <a:gd name="connsiteX60" fmla="*/ 2697480 w 3025140"/>
                  <a:gd name="connsiteY60" fmla="*/ 2933700 h 3680460"/>
                  <a:gd name="connsiteX61" fmla="*/ 2674620 w 3025140"/>
                  <a:gd name="connsiteY61" fmla="*/ 2964180 h 3680460"/>
                  <a:gd name="connsiteX62" fmla="*/ 2644140 w 3025140"/>
                  <a:gd name="connsiteY62" fmla="*/ 3009900 h 3680460"/>
                  <a:gd name="connsiteX63" fmla="*/ 2598420 w 3025140"/>
                  <a:gd name="connsiteY63" fmla="*/ 3055620 h 3680460"/>
                  <a:gd name="connsiteX64" fmla="*/ 2575560 w 3025140"/>
                  <a:gd name="connsiteY64" fmla="*/ 3078480 h 3680460"/>
                  <a:gd name="connsiteX65" fmla="*/ 2476500 w 3025140"/>
                  <a:gd name="connsiteY65" fmla="*/ 3169920 h 3680460"/>
                  <a:gd name="connsiteX66" fmla="*/ 2377440 w 3025140"/>
                  <a:gd name="connsiteY66" fmla="*/ 3223260 h 3680460"/>
                  <a:gd name="connsiteX67" fmla="*/ 2293620 w 3025140"/>
                  <a:gd name="connsiteY67" fmla="*/ 3284220 h 3680460"/>
                  <a:gd name="connsiteX68" fmla="*/ 2240280 w 3025140"/>
                  <a:gd name="connsiteY68" fmla="*/ 3314700 h 3680460"/>
                  <a:gd name="connsiteX69" fmla="*/ 2225040 w 3025140"/>
                  <a:gd name="connsiteY69" fmla="*/ 3337560 h 3680460"/>
                  <a:gd name="connsiteX70" fmla="*/ 2141220 w 3025140"/>
                  <a:gd name="connsiteY70" fmla="*/ 3390900 h 3680460"/>
                  <a:gd name="connsiteX71" fmla="*/ 2110740 w 3025140"/>
                  <a:gd name="connsiteY71" fmla="*/ 3413760 h 3680460"/>
                  <a:gd name="connsiteX72" fmla="*/ 2072640 w 3025140"/>
                  <a:gd name="connsiteY72" fmla="*/ 3451860 h 3680460"/>
                  <a:gd name="connsiteX73" fmla="*/ 2019300 w 3025140"/>
                  <a:gd name="connsiteY73" fmla="*/ 3467100 h 3680460"/>
                  <a:gd name="connsiteX74" fmla="*/ 1874520 w 3025140"/>
                  <a:gd name="connsiteY74" fmla="*/ 3512820 h 3680460"/>
                  <a:gd name="connsiteX75" fmla="*/ 1828800 w 3025140"/>
                  <a:gd name="connsiteY75" fmla="*/ 3520440 h 3680460"/>
                  <a:gd name="connsiteX76" fmla="*/ 1722120 w 3025140"/>
                  <a:gd name="connsiteY76" fmla="*/ 3550920 h 3680460"/>
                  <a:gd name="connsiteX77" fmla="*/ 1600200 w 3025140"/>
                  <a:gd name="connsiteY77" fmla="*/ 3589020 h 3680460"/>
                  <a:gd name="connsiteX78" fmla="*/ 1569720 w 3025140"/>
                  <a:gd name="connsiteY78" fmla="*/ 3596640 h 3680460"/>
                  <a:gd name="connsiteX79" fmla="*/ 1546860 w 3025140"/>
                  <a:gd name="connsiteY79" fmla="*/ 3611880 h 3680460"/>
                  <a:gd name="connsiteX80" fmla="*/ 1463040 w 3025140"/>
                  <a:gd name="connsiteY80" fmla="*/ 3627120 h 3680460"/>
                  <a:gd name="connsiteX81" fmla="*/ 1333500 w 3025140"/>
                  <a:gd name="connsiteY81" fmla="*/ 3657600 h 3680460"/>
                  <a:gd name="connsiteX82" fmla="*/ 1203960 w 3025140"/>
                  <a:gd name="connsiteY82" fmla="*/ 3672840 h 3680460"/>
                  <a:gd name="connsiteX83" fmla="*/ 1165860 w 3025140"/>
                  <a:gd name="connsiteY83" fmla="*/ 3680460 h 3680460"/>
                  <a:gd name="connsiteX84" fmla="*/ 449580 w 3025140"/>
                  <a:gd name="connsiteY84" fmla="*/ 3672840 h 3680460"/>
                  <a:gd name="connsiteX85" fmla="*/ 426720 w 3025140"/>
                  <a:gd name="connsiteY85" fmla="*/ 3665220 h 3680460"/>
                  <a:gd name="connsiteX86" fmla="*/ 388620 w 3025140"/>
                  <a:gd name="connsiteY86" fmla="*/ 3657600 h 3680460"/>
                  <a:gd name="connsiteX87" fmla="*/ 335280 w 3025140"/>
                  <a:gd name="connsiteY87" fmla="*/ 3627120 h 3680460"/>
                  <a:gd name="connsiteX88" fmla="*/ 266700 w 3025140"/>
                  <a:gd name="connsiteY88" fmla="*/ 3604260 h 3680460"/>
                  <a:gd name="connsiteX89" fmla="*/ 243840 w 3025140"/>
                  <a:gd name="connsiteY89" fmla="*/ 3589020 h 3680460"/>
                  <a:gd name="connsiteX90" fmla="*/ 160020 w 3025140"/>
                  <a:gd name="connsiteY90" fmla="*/ 3558540 h 3680460"/>
                  <a:gd name="connsiteX91" fmla="*/ 137160 w 3025140"/>
                  <a:gd name="connsiteY91" fmla="*/ 3535680 h 3680460"/>
                  <a:gd name="connsiteX92" fmla="*/ 99060 w 3025140"/>
                  <a:gd name="connsiteY92" fmla="*/ 3520440 h 3680460"/>
                  <a:gd name="connsiteX93" fmla="*/ 83820 w 3025140"/>
                  <a:gd name="connsiteY93" fmla="*/ 3489960 h 3680460"/>
                  <a:gd name="connsiteX94" fmla="*/ 45720 w 3025140"/>
                  <a:gd name="connsiteY94" fmla="*/ 3436620 h 3680460"/>
                  <a:gd name="connsiteX95" fmla="*/ 0 w 3025140"/>
                  <a:gd name="connsiteY95" fmla="*/ 3352800 h 3680460"/>
                  <a:gd name="connsiteX96" fmla="*/ 30480 w 3025140"/>
                  <a:gd name="connsiteY96" fmla="*/ 3345180 h 3680460"/>
                  <a:gd name="connsiteX97" fmla="*/ 137160 w 3025140"/>
                  <a:gd name="connsiteY97" fmla="*/ 3360420 h 3680460"/>
                  <a:gd name="connsiteX98" fmla="*/ 167640 w 3025140"/>
                  <a:gd name="connsiteY98" fmla="*/ 3390900 h 3680460"/>
                  <a:gd name="connsiteX99" fmla="*/ 198120 w 3025140"/>
                  <a:gd name="connsiteY99" fmla="*/ 3406140 h 3680460"/>
                  <a:gd name="connsiteX100" fmla="*/ 350520 w 3025140"/>
                  <a:gd name="connsiteY100" fmla="*/ 3436620 h 3680460"/>
                  <a:gd name="connsiteX101" fmla="*/ 381000 w 3025140"/>
                  <a:gd name="connsiteY101" fmla="*/ 3451860 h 3680460"/>
                  <a:gd name="connsiteX102" fmla="*/ 449580 w 3025140"/>
                  <a:gd name="connsiteY102" fmla="*/ 3489960 h 3680460"/>
                  <a:gd name="connsiteX103" fmla="*/ 495300 w 3025140"/>
                  <a:gd name="connsiteY103" fmla="*/ 3520440 h 3680460"/>
                  <a:gd name="connsiteX104" fmla="*/ 525780 w 3025140"/>
                  <a:gd name="connsiteY104" fmla="*/ 3535680 h 3680460"/>
                  <a:gd name="connsiteX105" fmla="*/ 731520 w 3025140"/>
                  <a:gd name="connsiteY105" fmla="*/ 3558540 h 3680460"/>
                  <a:gd name="connsiteX106" fmla="*/ 1341120 w 3025140"/>
                  <a:gd name="connsiteY106" fmla="*/ 3550920 h 3680460"/>
                  <a:gd name="connsiteX107" fmla="*/ 1440180 w 3025140"/>
                  <a:gd name="connsiteY107" fmla="*/ 3528060 h 3680460"/>
                  <a:gd name="connsiteX108" fmla="*/ 1539240 w 3025140"/>
                  <a:gd name="connsiteY108" fmla="*/ 3520440 h 3680460"/>
                  <a:gd name="connsiteX109" fmla="*/ 1562100 w 3025140"/>
                  <a:gd name="connsiteY109" fmla="*/ 3512820 h 3680460"/>
                  <a:gd name="connsiteX110" fmla="*/ 1630680 w 3025140"/>
                  <a:gd name="connsiteY110" fmla="*/ 3497580 h 3680460"/>
                  <a:gd name="connsiteX111" fmla="*/ 1699260 w 3025140"/>
                  <a:gd name="connsiteY111" fmla="*/ 3474720 h 3680460"/>
                  <a:gd name="connsiteX112" fmla="*/ 1790700 w 3025140"/>
                  <a:gd name="connsiteY112" fmla="*/ 3451860 h 3680460"/>
                  <a:gd name="connsiteX113" fmla="*/ 1821180 w 3025140"/>
                  <a:gd name="connsiteY113" fmla="*/ 3444240 h 3680460"/>
                  <a:gd name="connsiteX114" fmla="*/ 1844040 w 3025140"/>
                  <a:gd name="connsiteY114" fmla="*/ 3429000 h 3680460"/>
                  <a:gd name="connsiteX115" fmla="*/ 1874520 w 3025140"/>
                  <a:gd name="connsiteY115" fmla="*/ 3421380 h 3680460"/>
                  <a:gd name="connsiteX116" fmla="*/ 1927860 w 3025140"/>
                  <a:gd name="connsiteY116" fmla="*/ 3398520 h 3680460"/>
                  <a:gd name="connsiteX117" fmla="*/ 1950720 w 3025140"/>
                  <a:gd name="connsiteY117" fmla="*/ 3390900 h 3680460"/>
                  <a:gd name="connsiteX118" fmla="*/ 2004060 w 3025140"/>
                  <a:gd name="connsiteY118" fmla="*/ 3360420 h 3680460"/>
                  <a:gd name="connsiteX119" fmla="*/ 2042160 w 3025140"/>
                  <a:gd name="connsiteY119" fmla="*/ 3352800 h 3680460"/>
                  <a:gd name="connsiteX120" fmla="*/ 2080260 w 3025140"/>
                  <a:gd name="connsiteY120" fmla="*/ 3337560 h 3680460"/>
                  <a:gd name="connsiteX121" fmla="*/ 2156460 w 3025140"/>
                  <a:gd name="connsiteY121" fmla="*/ 3299460 h 3680460"/>
                  <a:gd name="connsiteX122" fmla="*/ 2179320 w 3025140"/>
                  <a:gd name="connsiteY122" fmla="*/ 3284220 h 3680460"/>
                  <a:gd name="connsiteX123" fmla="*/ 2209800 w 3025140"/>
                  <a:gd name="connsiteY123" fmla="*/ 3276600 h 3680460"/>
                  <a:gd name="connsiteX124" fmla="*/ 2263140 w 3025140"/>
                  <a:gd name="connsiteY124" fmla="*/ 3230880 h 3680460"/>
                  <a:gd name="connsiteX125" fmla="*/ 2346960 w 3025140"/>
                  <a:gd name="connsiteY125" fmla="*/ 3154680 h 3680460"/>
                  <a:gd name="connsiteX126" fmla="*/ 2400300 w 3025140"/>
                  <a:gd name="connsiteY126" fmla="*/ 3070860 h 3680460"/>
                  <a:gd name="connsiteX127" fmla="*/ 2415540 w 3025140"/>
                  <a:gd name="connsiteY127" fmla="*/ 3048000 h 3680460"/>
                  <a:gd name="connsiteX128" fmla="*/ 2446020 w 3025140"/>
                  <a:gd name="connsiteY128" fmla="*/ 3032760 h 3680460"/>
                  <a:gd name="connsiteX129" fmla="*/ 2468880 w 3025140"/>
                  <a:gd name="connsiteY129" fmla="*/ 3009900 h 3680460"/>
                  <a:gd name="connsiteX130" fmla="*/ 2537460 w 3025140"/>
                  <a:gd name="connsiteY130" fmla="*/ 2926080 h 3680460"/>
                  <a:gd name="connsiteX131" fmla="*/ 2575560 w 3025140"/>
                  <a:gd name="connsiteY131" fmla="*/ 2880360 h 3680460"/>
                  <a:gd name="connsiteX132" fmla="*/ 2628900 w 3025140"/>
                  <a:gd name="connsiteY132" fmla="*/ 2811780 h 3680460"/>
                  <a:gd name="connsiteX133" fmla="*/ 2644140 w 3025140"/>
                  <a:gd name="connsiteY133" fmla="*/ 2773680 h 3680460"/>
                  <a:gd name="connsiteX134" fmla="*/ 2674620 w 3025140"/>
                  <a:gd name="connsiteY134" fmla="*/ 2727960 h 3680460"/>
                  <a:gd name="connsiteX135" fmla="*/ 2689860 w 3025140"/>
                  <a:gd name="connsiteY135" fmla="*/ 2705100 h 3680460"/>
                  <a:gd name="connsiteX136" fmla="*/ 2705100 w 3025140"/>
                  <a:gd name="connsiteY136" fmla="*/ 2667000 h 3680460"/>
                  <a:gd name="connsiteX137" fmla="*/ 2727960 w 3025140"/>
                  <a:gd name="connsiteY137" fmla="*/ 2621280 h 3680460"/>
                  <a:gd name="connsiteX138" fmla="*/ 2735580 w 3025140"/>
                  <a:gd name="connsiteY138" fmla="*/ 2590800 h 3680460"/>
                  <a:gd name="connsiteX139" fmla="*/ 2758440 w 3025140"/>
                  <a:gd name="connsiteY139" fmla="*/ 2545080 h 3680460"/>
                  <a:gd name="connsiteX140" fmla="*/ 2788920 w 3025140"/>
                  <a:gd name="connsiteY140" fmla="*/ 2484120 h 3680460"/>
                  <a:gd name="connsiteX141" fmla="*/ 2811780 w 3025140"/>
                  <a:gd name="connsiteY141" fmla="*/ 2407920 h 3680460"/>
                  <a:gd name="connsiteX142" fmla="*/ 2842260 w 3025140"/>
                  <a:gd name="connsiteY142" fmla="*/ 2324100 h 3680460"/>
                  <a:gd name="connsiteX143" fmla="*/ 2857500 w 3025140"/>
                  <a:gd name="connsiteY143" fmla="*/ 2247900 h 3680460"/>
                  <a:gd name="connsiteX144" fmla="*/ 2872740 w 3025140"/>
                  <a:gd name="connsiteY144" fmla="*/ 2194560 h 3680460"/>
                  <a:gd name="connsiteX145" fmla="*/ 2887980 w 3025140"/>
                  <a:gd name="connsiteY145" fmla="*/ 2148840 h 3680460"/>
                  <a:gd name="connsiteX146" fmla="*/ 2910840 w 3025140"/>
                  <a:gd name="connsiteY146" fmla="*/ 2087880 h 3680460"/>
                  <a:gd name="connsiteX147" fmla="*/ 2918460 w 3025140"/>
                  <a:gd name="connsiteY147" fmla="*/ 2049780 h 3680460"/>
                  <a:gd name="connsiteX148" fmla="*/ 2933700 w 3025140"/>
                  <a:gd name="connsiteY148" fmla="*/ 1844040 h 3680460"/>
                  <a:gd name="connsiteX149" fmla="*/ 2918460 w 3025140"/>
                  <a:gd name="connsiteY149" fmla="*/ 1470660 h 3680460"/>
                  <a:gd name="connsiteX150" fmla="*/ 2895600 w 3025140"/>
                  <a:gd name="connsiteY150" fmla="*/ 1371600 h 3680460"/>
                  <a:gd name="connsiteX151" fmla="*/ 2880360 w 3025140"/>
                  <a:gd name="connsiteY151" fmla="*/ 1341120 h 3680460"/>
                  <a:gd name="connsiteX152" fmla="*/ 2857500 w 3025140"/>
                  <a:gd name="connsiteY152" fmla="*/ 1272540 h 3680460"/>
                  <a:gd name="connsiteX153" fmla="*/ 2849880 w 3025140"/>
                  <a:gd name="connsiteY153" fmla="*/ 1234440 h 3680460"/>
                  <a:gd name="connsiteX154" fmla="*/ 2827020 w 3025140"/>
                  <a:gd name="connsiteY154" fmla="*/ 1196340 h 3680460"/>
                  <a:gd name="connsiteX155" fmla="*/ 2811780 w 3025140"/>
                  <a:gd name="connsiteY155" fmla="*/ 1165860 h 3680460"/>
                  <a:gd name="connsiteX156" fmla="*/ 2781300 w 3025140"/>
                  <a:gd name="connsiteY156" fmla="*/ 1127760 h 3680460"/>
                  <a:gd name="connsiteX157" fmla="*/ 2766060 w 3025140"/>
                  <a:gd name="connsiteY157" fmla="*/ 1089660 h 3680460"/>
                  <a:gd name="connsiteX158" fmla="*/ 2735580 w 3025140"/>
                  <a:gd name="connsiteY158" fmla="*/ 1043940 h 3680460"/>
                  <a:gd name="connsiteX159" fmla="*/ 2727960 w 3025140"/>
                  <a:gd name="connsiteY159" fmla="*/ 1021080 h 3680460"/>
                  <a:gd name="connsiteX160" fmla="*/ 2682240 w 3025140"/>
                  <a:gd name="connsiteY160" fmla="*/ 937260 h 3680460"/>
                  <a:gd name="connsiteX161" fmla="*/ 2659380 w 3025140"/>
                  <a:gd name="connsiteY161" fmla="*/ 876300 h 3680460"/>
                  <a:gd name="connsiteX162" fmla="*/ 2644140 w 3025140"/>
                  <a:gd name="connsiteY162" fmla="*/ 845820 h 3680460"/>
                  <a:gd name="connsiteX163" fmla="*/ 2636520 w 3025140"/>
                  <a:gd name="connsiteY163" fmla="*/ 822960 h 3680460"/>
                  <a:gd name="connsiteX164" fmla="*/ 2621280 w 3025140"/>
                  <a:gd name="connsiteY164" fmla="*/ 800100 h 3680460"/>
                  <a:gd name="connsiteX165" fmla="*/ 2598420 w 3025140"/>
                  <a:gd name="connsiteY165" fmla="*/ 739140 h 3680460"/>
                  <a:gd name="connsiteX166" fmla="*/ 2458403 w 3025140"/>
                  <a:gd name="connsiteY166" fmla="*/ 621983 h 3680460"/>
                  <a:gd name="connsiteX167" fmla="*/ 2301240 w 3025140"/>
                  <a:gd name="connsiteY167" fmla="*/ 458152 h 3680460"/>
                  <a:gd name="connsiteX168" fmla="*/ 2237423 w 3025140"/>
                  <a:gd name="connsiteY168" fmla="*/ 406717 h 3680460"/>
                  <a:gd name="connsiteX169" fmla="*/ 2103120 w 3025140"/>
                  <a:gd name="connsiteY169" fmla="*/ 312420 h 3680460"/>
                  <a:gd name="connsiteX170" fmla="*/ 2042160 w 3025140"/>
                  <a:gd name="connsiteY170" fmla="*/ 266700 h 3680460"/>
                  <a:gd name="connsiteX171" fmla="*/ 2004060 w 3025140"/>
                  <a:gd name="connsiteY171" fmla="*/ 251460 h 3680460"/>
                  <a:gd name="connsiteX172" fmla="*/ 1958340 w 3025140"/>
                  <a:gd name="connsiteY172" fmla="*/ 220980 h 3680460"/>
                  <a:gd name="connsiteX173" fmla="*/ 1897380 w 3025140"/>
                  <a:gd name="connsiteY17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912620 w 3025140"/>
                  <a:gd name="connsiteY8" fmla="*/ 7620 h 3680460"/>
                  <a:gd name="connsiteX9" fmla="*/ 1981200 w 3025140"/>
                  <a:gd name="connsiteY9" fmla="*/ 0 h 3680460"/>
                  <a:gd name="connsiteX10" fmla="*/ 2026920 w 3025140"/>
                  <a:gd name="connsiteY10" fmla="*/ 30480 h 3680460"/>
                  <a:gd name="connsiteX11" fmla="*/ 2065020 w 3025140"/>
                  <a:gd name="connsiteY11" fmla="*/ 76200 h 3680460"/>
                  <a:gd name="connsiteX12" fmla="*/ 2171700 w 3025140"/>
                  <a:gd name="connsiteY12" fmla="*/ 114300 h 3680460"/>
                  <a:gd name="connsiteX13" fmla="*/ 2225040 w 3025140"/>
                  <a:gd name="connsiteY13" fmla="*/ 160020 h 3680460"/>
                  <a:gd name="connsiteX14" fmla="*/ 2286000 w 3025140"/>
                  <a:gd name="connsiteY14" fmla="*/ 190500 h 3680460"/>
                  <a:gd name="connsiteX15" fmla="*/ 2331720 w 3025140"/>
                  <a:gd name="connsiteY15" fmla="*/ 220980 h 3680460"/>
                  <a:gd name="connsiteX16" fmla="*/ 2385060 w 3025140"/>
                  <a:gd name="connsiteY16" fmla="*/ 266700 h 3680460"/>
                  <a:gd name="connsiteX17" fmla="*/ 2415540 w 3025140"/>
                  <a:gd name="connsiteY17" fmla="*/ 289560 h 3680460"/>
                  <a:gd name="connsiteX18" fmla="*/ 2461260 w 3025140"/>
                  <a:gd name="connsiteY18" fmla="*/ 320040 h 3680460"/>
                  <a:gd name="connsiteX19" fmla="*/ 2537460 w 3025140"/>
                  <a:gd name="connsiteY19" fmla="*/ 426720 h 3680460"/>
                  <a:gd name="connsiteX20" fmla="*/ 2552700 w 3025140"/>
                  <a:gd name="connsiteY20" fmla="*/ 449580 h 3680460"/>
                  <a:gd name="connsiteX21" fmla="*/ 2575560 w 3025140"/>
                  <a:gd name="connsiteY21" fmla="*/ 487680 h 3680460"/>
                  <a:gd name="connsiteX22" fmla="*/ 2621280 w 3025140"/>
                  <a:gd name="connsiteY22" fmla="*/ 548640 h 3680460"/>
                  <a:gd name="connsiteX23" fmla="*/ 2674620 w 3025140"/>
                  <a:gd name="connsiteY23" fmla="*/ 609600 h 3680460"/>
                  <a:gd name="connsiteX24" fmla="*/ 2727960 w 3025140"/>
                  <a:gd name="connsiteY24" fmla="*/ 678180 h 3680460"/>
                  <a:gd name="connsiteX25" fmla="*/ 2727960 w 3025140"/>
                  <a:gd name="connsiteY25" fmla="*/ 678180 h 3680460"/>
                  <a:gd name="connsiteX26" fmla="*/ 2766060 w 3025140"/>
                  <a:gd name="connsiteY26" fmla="*/ 754380 h 3680460"/>
                  <a:gd name="connsiteX27" fmla="*/ 2819400 w 3025140"/>
                  <a:gd name="connsiteY27" fmla="*/ 830580 h 3680460"/>
                  <a:gd name="connsiteX28" fmla="*/ 2834640 w 3025140"/>
                  <a:gd name="connsiteY28" fmla="*/ 853440 h 3680460"/>
                  <a:gd name="connsiteX29" fmla="*/ 2849880 w 3025140"/>
                  <a:gd name="connsiteY29" fmla="*/ 883920 h 3680460"/>
                  <a:gd name="connsiteX30" fmla="*/ 2880360 w 3025140"/>
                  <a:gd name="connsiteY30" fmla="*/ 922020 h 3680460"/>
                  <a:gd name="connsiteX31" fmla="*/ 2887980 w 3025140"/>
                  <a:gd name="connsiteY31" fmla="*/ 944880 h 3680460"/>
                  <a:gd name="connsiteX32" fmla="*/ 2903220 w 3025140"/>
                  <a:gd name="connsiteY32" fmla="*/ 967740 h 3680460"/>
                  <a:gd name="connsiteX33" fmla="*/ 2918460 w 3025140"/>
                  <a:gd name="connsiteY33" fmla="*/ 1036320 h 3680460"/>
                  <a:gd name="connsiteX34" fmla="*/ 2933700 w 3025140"/>
                  <a:gd name="connsiteY34" fmla="*/ 1074420 h 3680460"/>
                  <a:gd name="connsiteX35" fmla="*/ 2948940 w 3025140"/>
                  <a:gd name="connsiteY35" fmla="*/ 1120140 h 3680460"/>
                  <a:gd name="connsiteX36" fmla="*/ 2964180 w 3025140"/>
                  <a:gd name="connsiteY36" fmla="*/ 1203960 h 3680460"/>
                  <a:gd name="connsiteX37" fmla="*/ 2979420 w 3025140"/>
                  <a:gd name="connsiteY37" fmla="*/ 1264920 h 3680460"/>
                  <a:gd name="connsiteX38" fmla="*/ 2987040 w 3025140"/>
                  <a:gd name="connsiteY38" fmla="*/ 1318260 h 3680460"/>
                  <a:gd name="connsiteX39" fmla="*/ 2994660 w 3025140"/>
                  <a:gd name="connsiteY39" fmla="*/ 1348740 h 3680460"/>
                  <a:gd name="connsiteX40" fmla="*/ 3009900 w 3025140"/>
                  <a:gd name="connsiteY40" fmla="*/ 1432560 h 3680460"/>
                  <a:gd name="connsiteX41" fmla="*/ 3017520 w 3025140"/>
                  <a:gd name="connsiteY41" fmla="*/ 1684020 h 3680460"/>
                  <a:gd name="connsiteX42" fmla="*/ 3025140 w 3025140"/>
                  <a:gd name="connsiteY42" fmla="*/ 1744980 h 3680460"/>
                  <a:gd name="connsiteX43" fmla="*/ 3017520 w 3025140"/>
                  <a:gd name="connsiteY43" fmla="*/ 2095500 h 3680460"/>
                  <a:gd name="connsiteX44" fmla="*/ 3009900 w 3025140"/>
                  <a:gd name="connsiteY44" fmla="*/ 2125980 h 3680460"/>
                  <a:gd name="connsiteX45" fmla="*/ 2979420 w 3025140"/>
                  <a:gd name="connsiteY45" fmla="*/ 2194560 h 3680460"/>
                  <a:gd name="connsiteX46" fmla="*/ 2956560 w 3025140"/>
                  <a:gd name="connsiteY46" fmla="*/ 2247900 h 3680460"/>
                  <a:gd name="connsiteX47" fmla="*/ 2941320 w 3025140"/>
                  <a:gd name="connsiteY47" fmla="*/ 2324100 h 3680460"/>
                  <a:gd name="connsiteX48" fmla="*/ 2926080 w 3025140"/>
                  <a:gd name="connsiteY48" fmla="*/ 2392680 h 3680460"/>
                  <a:gd name="connsiteX49" fmla="*/ 2918460 w 3025140"/>
                  <a:gd name="connsiteY49" fmla="*/ 2415540 h 3680460"/>
                  <a:gd name="connsiteX50" fmla="*/ 2895600 w 3025140"/>
                  <a:gd name="connsiteY50" fmla="*/ 2484120 h 3680460"/>
                  <a:gd name="connsiteX51" fmla="*/ 2872740 w 3025140"/>
                  <a:gd name="connsiteY51" fmla="*/ 2583180 h 3680460"/>
                  <a:gd name="connsiteX52" fmla="*/ 2857500 w 3025140"/>
                  <a:gd name="connsiteY52" fmla="*/ 2606040 h 3680460"/>
                  <a:gd name="connsiteX53" fmla="*/ 2834640 w 3025140"/>
                  <a:gd name="connsiteY53" fmla="*/ 2689860 h 3680460"/>
                  <a:gd name="connsiteX54" fmla="*/ 2811780 w 3025140"/>
                  <a:gd name="connsiteY54" fmla="*/ 2750820 h 3680460"/>
                  <a:gd name="connsiteX55" fmla="*/ 2788920 w 3025140"/>
                  <a:gd name="connsiteY55" fmla="*/ 2781300 h 3680460"/>
                  <a:gd name="connsiteX56" fmla="*/ 2781300 w 3025140"/>
                  <a:gd name="connsiteY56" fmla="*/ 2804160 h 3680460"/>
                  <a:gd name="connsiteX57" fmla="*/ 2743200 w 3025140"/>
                  <a:gd name="connsiteY57" fmla="*/ 2865120 h 3680460"/>
                  <a:gd name="connsiteX58" fmla="*/ 2712720 w 3025140"/>
                  <a:gd name="connsiteY58" fmla="*/ 2903220 h 3680460"/>
                  <a:gd name="connsiteX59" fmla="*/ 2697480 w 3025140"/>
                  <a:gd name="connsiteY59" fmla="*/ 2933700 h 3680460"/>
                  <a:gd name="connsiteX60" fmla="*/ 2674620 w 3025140"/>
                  <a:gd name="connsiteY60" fmla="*/ 2964180 h 3680460"/>
                  <a:gd name="connsiteX61" fmla="*/ 2644140 w 3025140"/>
                  <a:gd name="connsiteY61" fmla="*/ 3009900 h 3680460"/>
                  <a:gd name="connsiteX62" fmla="*/ 2598420 w 3025140"/>
                  <a:gd name="connsiteY62" fmla="*/ 3055620 h 3680460"/>
                  <a:gd name="connsiteX63" fmla="*/ 2575560 w 3025140"/>
                  <a:gd name="connsiteY63" fmla="*/ 3078480 h 3680460"/>
                  <a:gd name="connsiteX64" fmla="*/ 2476500 w 3025140"/>
                  <a:gd name="connsiteY64" fmla="*/ 3169920 h 3680460"/>
                  <a:gd name="connsiteX65" fmla="*/ 2377440 w 3025140"/>
                  <a:gd name="connsiteY65" fmla="*/ 3223260 h 3680460"/>
                  <a:gd name="connsiteX66" fmla="*/ 2293620 w 3025140"/>
                  <a:gd name="connsiteY66" fmla="*/ 3284220 h 3680460"/>
                  <a:gd name="connsiteX67" fmla="*/ 2240280 w 3025140"/>
                  <a:gd name="connsiteY67" fmla="*/ 3314700 h 3680460"/>
                  <a:gd name="connsiteX68" fmla="*/ 2225040 w 3025140"/>
                  <a:gd name="connsiteY68" fmla="*/ 3337560 h 3680460"/>
                  <a:gd name="connsiteX69" fmla="*/ 2141220 w 3025140"/>
                  <a:gd name="connsiteY69" fmla="*/ 3390900 h 3680460"/>
                  <a:gd name="connsiteX70" fmla="*/ 2110740 w 3025140"/>
                  <a:gd name="connsiteY70" fmla="*/ 3413760 h 3680460"/>
                  <a:gd name="connsiteX71" fmla="*/ 2072640 w 3025140"/>
                  <a:gd name="connsiteY71" fmla="*/ 3451860 h 3680460"/>
                  <a:gd name="connsiteX72" fmla="*/ 2019300 w 3025140"/>
                  <a:gd name="connsiteY72" fmla="*/ 3467100 h 3680460"/>
                  <a:gd name="connsiteX73" fmla="*/ 1874520 w 3025140"/>
                  <a:gd name="connsiteY73" fmla="*/ 3512820 h 3680460"/>
                  <a:gd name="connsiteX74" fmla="*/ 1828800 w 3025140"/>
                  <a:gd name="connsiteY74" fmla="*/ 3520440 h 3680460"/>
                  <a:gd name="connsiteX75" fmla="*/ 1722120 w 3025140"/>
                  <a:gd name="connsiteY75" fmla="*/ 3550920 h 3680460"/>
                  <a:gd name="connsiteX76" fmla="*/ 1600200 w 3025140"/>
                  <a:gd name="connsiteY76" fmla="*/ 3589020 h 3680460"/>
                  <a:gd name="connsiteX77" fmla="*/ 1569720 w 3025140"/>
                  <a:gd name="connsiteY77" fmla="*/ 3596640 h 3680460"/>
                  <a:gd name="connsiteX78" fmla="*/ 1546860 w 3025140"/>
                  <a:gd name="connsiteY78" fmla="*/ 3611880 h 3680460"/>
                  <a:gd name="connsiteX79" fmla="*/ 1463040 w 3025140"/>
                  <a:gd name="connsiteY79" fmla="*/ 3627120 h 3680460"/>
                  <a:gd name="connsiteX80" fmla="*/ 1333500 w 3025140"/>
                  <a:gd name="connsiteY80" fmla="*/ 3657600 h 3680460"/>
                  <a:gd name="connsiteX81" fmla="*/ 1203960 w 3025140"/>
                  <a:gd name="connsiteY81" fmla="*/ 3672840 h 3680460"/>
                  <a:gd name="connsiteX82" fmla="*/ 1165860 w 3025140"/>
                  <a:gd name="connsiteY82" fmla="*/ 3680460 h 3680460"/>
                  <a:gd name="connsiteX83" fmla="*/ 449580 w 3025140"/>
                  <a:gd name="connsiteY83" fmla="*/ 3672840 h 3680460"/>
                  <a:gd name="connsiteX84" fmla="*/ 426720 w 3025140"/>
                  <a:gd name="connsiteY84" fmla="*/ 3665220 h 3680460"/>
                  <a:gd name="connsiteX85" fmla="*/ 388620 w 3025140"/>
                  <a:gd name="connsiteY85" fmla="*/ 3657600 h 3680460"/>
                  <a:gd name="connsiteX86" fmla="*/ 335280 w 3025140"/>
                  <a:gd name="connsiteY86" fmla="*/ 3627120 h 3680460"/>
                  <a:gd name="connsiteX87" fmla="*/ 266700 w 3025140"/>
                  <a:gd name="connsiteY87" fmla="*/ 3604260 h 3680460"/>
                  <a:gd name="connsiteX88" fmla="*/ 243840 w 3025140"/>
                  <a:gd name="connsiteY88" fmla="*/ 3589020 h 3680460"/>
                  <a:gd name="connsiteX89" fmla="*/ 160020 w 3025140"/>
                  <a:gd name="connsiteY89" fmla="*/ 3558540 h 3680460"/>
                  <a:gd name="connsiteX90" fmla="*/ 137160 w 3025140"/>
                  <a:gd name="connsiteY90" fmla="*/ 3535680 h 3680460"/>
                  <a:gd name="connsiteX91" fmla="*/ 99060 w 3025140"/>
                  <a:gd name="connsiteY91" fmla="*/ 3520440 h 3680460"/>
                  <a:gd name="connsiteX92" fmla="*/ 83820 w 3025140"/>
                  <a:gd name="connsiteY92" fmla="*/ 3489960 h 3680460"/>
                  <a:gd name="connsiteX93" fmla="*/ 45720 w 3025140"/>
                  <a:gd name="connsiteY93" fmla="*/ 3436620 h 3680460"/>
                  <a:gd name="connsiteX94" fmla="*/ 0 w 3025140"/>
                  <a:gd name="connsiteY94" fmla="*/ 3352800 h 3680460"/>
                  <a:gd name="connsiteX95" fmla="*/ 30480 w 3025140"/>
                  <a:gd name="connsiteY95" fmla="*/ 3345180 h 3680460"/>
                  <a:gd name="connsiteX96" fmla="*/ 137160 w 3025140"/>
                  <a:gd name="connsiteY96" fmla="*/ 3360420 h 3680460"/>
                  <a:gd name="connsiteX97" fmla="*/ 167640 w 3025140"/>
                  <a:gd name="connsiteY97" fmla="*/ 3390900 h 3680460"/>
                  <a:gd name="connsiteX98" fmla="*/ 198120 w 3025140"/>
                  <a:gd name="connsiteY98" fmla="*/ 3406140 h 3680460"/>
                  <a:gd name="connsiteX99" fmla="*/ 350520 w 3025140"/>
                  <a:gd name="connsiteY99" fmla="*/ 3436620 h 3680460"/>
                  <a:gd name="connsiteX100" fmla="*/ 381000 w 3025140"/>
                  <a:gd name="connsiteY100" fmla="*/ 3451860 h 3680460"/>
                  <a:gd name="connsiteX101" fmla="*/ 449580 w 3025140"/>
                  <a:gd name="connsiteY101" fmla="*/ 3489960 h 3680460"/>
                  <a:gd name="connsiteX102" fmla="*/ 495300 w 3025140"/>
                  <a:gd name="connsiteY102" fmla="*/ 3520440 h 3680460"/>
                  <a:gd name="connsiteX103" fmla="*/ 525780 w 3025140"/>
                  <a:gd name="connsiteY103" fmla="*/ 3535680 h 3680460"/>
                  <a:gd name="connsiteX104" fmla="*/ 731520 w 3025140"/>
                  <a:gd name="connsiteY104" fmla="*/ 3558540 h 3680460"/>
                  <a:gd name="connsiteX105" fmla="*/ 1341120 w 3025140"/>
                  <a:gd name="connsiteY105" fmla="*/ 3550920 h 3680460"/>
                  <a:gd name="connsiteX106" fmla="*/ 1440180 w 3025140"/>
                  <a:gd name="connsiteY106" fmla="*/ 3528060 h 3680460"/>
                  <a:gd name="connsiteX107" fmla="*/ 1539240 w 3025140"/>
                  <a:gd name="connsiteY107" fmla="*/ 3520440 h 3680460"/>
                  <a:gd name="connsiteX108" fmla="*/ 1562100 w 3025140"/>
                  <a:gd name="connsiteY108" fmla="*/ 3512820 h 3680460"/>
                  <a:gd name="connsiteX109" fmla="*/ 1630680 w 3025140"/>
                  <a:gd name="connsiteY109" fmla="*/ 3497580 h 3680460"/>
                  <a:gd name="connsiteX110" fmla="*/ 1699260 w 3025140"/>
                  <a:gd name="connsiteY110" fmla="*/ 3474720 h 3680460"/>
                  <a:gd name="connsiteX111" fmla="*/ 1790700 w 3025140"/>
                  <a:gd name="connsiteY111" fmla="*/ 3451860 h 3680460"/>
                  <a:gd name="connsiteX112" fmla="*/ 1821180 w 3025140"/>
                  <a:gd name="connsiteY112" fmla="*/ 3444240 h 3680460"/>
                  <a:gd name="connsiteX113" fmla="*/ 1844040 w 3025140"/>
                  <a:gd name="connsiteY113" fmla="*/ 3429000 h 3680460"/>
                  <a:gd name="connsiteX114" fmla="*/ 1874520 w 3025140"/>
                  <a:gd name="connsiteY114" fmla="*/ 3421380 h 3680460"/>
                  <a:gd name="connsiteX115" fmla="*/ 1927860 w 3025140"/>
                  <a:gd name="connsiteY115" fmla="*/ 3398520 h 3680460"/>
                  <a:gd name="connsiteX116" fmla="*/ 1950720 w 3025140"/>
                  <a:gd name="connsiteY116" fmla="*/ 3390900 h 3680460"/>
                  <a:gd name="connsiteX117" fmla="*/ 2004060 w 3025140"/>
                  <a:gd name="connsiteY117" fmla="*/ 3360420 h 3680460"/>
                  <a:gd name="connsiteX118" fmla="*/ 2042160 w 3025140"/>
                  <a:gd name="connsiteY118" fmla="*/ 3352800 h 3680460"/>
                  <a:gd name="connsiteX119" fmla="*/ 2080260 w 3025140"/>
                  <a:gd name="connsiteY119" fmla="*/ 3337560 h 3680460"/>
                  <a:gd name="connsiteX120" fmla="*/ 2156460 w 3025140"/>
                  <a:gd name="connsiteY120" fmla="*/ 3299460 h 3680460"/>
                  <a:gd name="connsiteX121" fmla="*/ 2179320 w 3025140"/>
                  <a:gd name="connsiteY121" fmla="*/ 3284220 h 3680460"/>
                  <a:gd name="connsiteX122" fmla="*/ 2209800 w 3025140"/>
                  <a:gd name="connsiteY122" fmla="*/ 3276600 h 3680460"/>
                  <a:gd name="connsiteX123" fmla="*/ 2263140 w 3025140"/>
                  <a:gd name="connsiteY123" fmla="*/ 3230880 h 3680460"/>
                  <a:gd name="connsiteX124" fmla="*/ 2346960 w 3025140"/>
                  <a:gd name="connsiteY124" fmla="*/ 3154680 h 3680460"/>
                  <a:gd name="connsiteX125" fmla="*/ 2400300 w 3025140"/>
                  <a:gd name="connsiteY125" fmla="*/ 3070860 h 3680460"/>
                  <a:gd name="connsiteX126" fmla="*/ 2415540 w 3025140"/>
                  <a:gd name="connsiteY126" fmla="*/ 3048000 h 3680460"/>
                  <a:gd name="connsiteX127" fmla="*/ 2446020 w 3025140"/>
                  <a:gd name="connsiteY127" fmla="*/ 3032760 h 3680460"/>
                  <a:gd name="connsiteX128" fmla="*/ 2468880 w 3025140"/>
                  <a:gd name="connsiteY128" fmla="*/ 3009900 h 3680460"/>
                  <a:gd name="connsiteX129" fmla="*/ 2537460 w 3025140"/>
                  <a:gd name="connsiteY129" fmla="*/ 2926080 h 3680460"/>
                  <a:gd name="connsiteX130" fmla="*/ 2575560 w 3025140"/>
                  <a:gd name="connsiteY130" fmla="*/ 2880360 h 3680460"/>
                  <a:gd name="connsiteX131" fmla="*/ 2628900 w 3025140"/>
                  <a:gd name="connsiteY131" fmla="*/ 2811780 h 3680460"/>
                  <a:gd name="connsiteX132" fmla="*/ 2644140 w 3025140"/>
                  <a:gd name="connsiteY132" fmla="*/ 2773680 h 3680460"/>
                  <a:gd name="connsiteX133" fmla="*/ 2674620 w 3025140"/>
                  <a:gd name="connsiteY133" fmla="*/ 2727960 h 3680460"/>
                  <a:gd name="connsiteX134" fmla="*/ 2689860 w 3025140"/>
                  <a:gd name="connsiteY134" fmla="*/ 2705100 h 3680460"/>
                  <a:gd name="connsiteX135" fmla="*/ 2705100 w 3025140"/>
                  <a:gd name="connsiteY135" fmla="*/ 2667000 h 3680460"/>
                  <a:gd name="connsiteX136" fmla="*/ 2727960 w 3025140"/>
                  <a:gd name="connsiteY136" fmla="*/ 2621280 h 3680460"/>
                  <a:gd name="connsiteX137" fmla="*/ 2735580 w 3025140"/>
                  <a:gd name="connsiteY137" fmla="*/ 2590800 h 3680460"/>
                  <a:gd name="connsiteX138" fmla="*/ 2758440 w 3025140"/>
                  <a:gd name="connsiteY138" fmla="*/ 2545080 h 3680460"/>
                  <a:gd name="connsiteX139" fmla="*/ 2788920 w 3025140"/>
                  <a:gd name="connsiteY139" fmla="*/ 2484120 h 3680460"/>
                  <a:gd name="connsiteX140" fmla="*/ 2811780 w 3025140"/>
                  <a:gd name="connsiteY140" fmla="*/ 2407920 h 3680460"/>
                  <a:gd name="connsiteX141" fmla="*/ 2842260 w 3025140"/>
                  <a:gd name="connsiteY141" fmla="*/ 2324100 h 3680460"/>
                  <a:gd name="connsiteX142" fmla="*/ 2857500 w 3025140"/>
                  <a:gd name="connsiteY142" fmla="*/ 2247900 h 3680460"/>
                  <a:gd name="connsiteX143" fmla="*/ 2872740 w 3025140"/>
                  <a:gd name="connsiteY143" fmla="*/ 2194560 h 3680460"/>
                  <a:gd name="connsiteX144" fmla="*/ 2887980 w 3025140"/>
                  <a:gd name="connsiteY144" fmla="*/ 2148840 h 3680460"/>
                  <a:gd name="connsiteX145" fmla="*/ 2910840 w 3025140"/>
                  <a:gd name="connsiteY145" fmla="*/ 2087880 h 3680460"/>
                  <a:gd name="connsiteX146" fmla="*/ 2918460 w 3025140"/>
                  <a:gd name="connsiteY146" fmla="*/ 2049780 h 3680460"/>
                  <a:gd name="connsiteX147" fmla="*/ 2933700 w 3025140"/>
                  <a:gd name="connsiteY147" fmla="*/ 1844040 h 3680460"/>
                  <a:gd name="connsiteX148" fmla="*/ 2918460 w 3025140"/>
                  <a:gd name="connsiteY148" fmla="*/ 1470660 h 3680460"/>
                  <a:gd name="connsiteX149" fmla="*/ 2895600 w 3025140"/>
                  <a:gd name="connsiteY149" fmla="*/ 1371600 h 3680460"/>
                  <a:gd name="connsiteX150" fmla="*/ 2880360 w 3025140"/>
                  <a:gd name="connsiteY150" fmla="*/ 1341120 h 3680460"/>
                  <a:gd name="connsiteX151" fmla="*/ 2857500 w 3025140"/>
                  <a:gd name="connsiteY151" fmla="*/ 1272540 h 3680460"/>
                  <a:gd name="connsiteX152" fmla="*/ 2849880 w 3025140"/>
                  <a:gd name="connsiteY152" fmla="*/ 1234440 h 3680460"/>
                  <a:gd name="connsiteX153" fmla="*/ 2827020 w 3025140"/>
                  <a:gd name="connsiteY153" fmla="*/ 1196340 h 3680460"/>
                  <a:gd name="connsiteX154" fmla="*/ 2811780 w 3025140"/>
                  <a:gd name="connsiteY154" fmla="*/ 1165860 h 3680460"/>
                  <a:gd name="connsiteX155" fmla="*/ 2781300 w 3025140"/>
                  <a:gd name="connsiteY155" fmla="*/ 1127760 h 3680460"/>
                  <a:gd name="connsiteX156" fmla="*/ 2766060 w 3025140"/>
                  <a:gd name="connsiteY156" fmla="*/ 1089660 h 3680460"/>
                  <a:gd name="connsiteX157" fmla="*/ 2735580 w 3025140"/>
                  <a:gd name="connsiteY157" fmla="*/ 1043940 h 3680460"/>
                  <a:gd name="connsiteX158" fmla="*/ 2727960 w 3025140"/>
                  <a:gd name="connsiteY158" fmla="*/ 1021080 h 3680460"/>
                  <a:gd name="connsiteX159" fmla="*/ 2682240 w 3025140"/>
                  <a:gd name="connsiteY159" fmla="*/ 937260 h 3680460"/>
                  <a:gd name="connsiteX160" fmla="*/ 2659380 w 3025140"/>
                  <a:gd name="connsiteY160" fmla="*/ 876300 h 3680460"/>
                  <a:gd name="connsiteX161" fmla="*/ 2644140 w 3025140"/>
                  <a:gd name="connsiteY161" fmla="*/ 845820 h 3680460"/>
                  <a:gd name="connsiteX162" fmla="*/ 2636520 w 3025140"/>
                  <a:gd name="connsiteY162" fmla="*/ 822960 h 3680460"/>
                  <a:gd name="connsiteX163" fmla="*/ 2621280 w 3025140"/>
                  <a:gd name="connsiteY163" fmla="*/ 800100 h 3680460"/>
                  <a:gd name="connsiteX164" fmla="*/ 2598420 w 3025140"/>
                  <a:gd name="connsiteY164" fmla="*/ 739140 h 3680460"/>
                  <a:gd name="connsiteX165" fmla="*/ 2458403 w 3025140"/>
                  <a:gd name="connsiteY165" fmla="*/ 621983 h 3680460"/>
                  <a:gd name="connsiteX166" fmla="*/ 2301240 w 3025140"/>
                  <a:gd name="connsiteY166" fmla="*/ 458152 h 3680460"/>
                  <a:gd name="connsiteX167" fmla="*/ 2237423 w 3025140"/>
                  <a:gd name="connsiteY167" fmla="*/ 406717 h 3680460"/>
                  <a:gd name="connsiteX168" fmla="*/ 2103120 w 3025140"/>
                  <a:gd name="connsiteY168" fmla="*/ 312420 h 3680460"/>
                  <a:gd name="connsiteX169" fmla="*/ 2042160 w 3025140"/>
                  <a:gd name="connsiteY169" fmla="*/ 266700 h 3680460"/>
                  <a:gd name="connsiteX170" fmla="*/ 2004060 w 3025140"/>
                  <a:gd name="connsiteY170" fmla="*/ 251460 h 3680460"/>
                  <a:gd name="connsiteX171" fmla="*/ 1958340 w 3025140"/>
                  <a:gd name="connsiteY171" fmla="*/ 220980 h 3680460"/>
                  <a:gd name="connsiteX172" fmla="*/ 1897380 w 3025140"/>
                  <a:gd name="connsiteY172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30480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065020 w 3025140"/>
                  <a:gd name="connsiteY10" fmla="*/ 76200 h 3680460"/>
                  <a:gd name="connsiteX11" fmla="*/ 2171700 w 3025140"/>
                  <a:gd name="connsiteY11" fmla="*/ 114300 h 3680460"/>
                  <a:gd name="connsiteX12" fmla="*/ 2225040 w 3025140"/>
                  <a:gd name="connsiteY12" fmla="*/ 160020 h 3680460"/>
                  <a:gd name="connsiteX13" fmla="*/ 2286000 w 3025140"/>
                  <a:gd name="connsiteY13" fmla="*/ 190500 h 3680460"/>
                  <a:gd name="connsiteX14" fmla="*/ 2331720 w 3025140"/>
                  <a:gd name="connsiteY14" fmla="*/ 220980 h 3680460"/>
                  <a:gd name="connsiteX15" fmla="*/ 2385060 w 3025140"/>
                  <a:gd name="connsiteY15" fmla="*/ 266700 h 3680460"/>
                  <a:gd name="connsiteX16" fmla="*/ 2415540 w 3025140"/>
                  <a:gd name="connsiteY16" fmla="*/ 289560 h 3680460"/>
                  <a:gd name="connsiteX17" fmla="*/ 2461260 w 3025140"/>
                  <a:gd name="connsiteY17" fmla="*/ 320040 h 3680460"/>
                  <a:gd name="connsiteX18" fmla="*/ 2537460 w 3025140"/>
                  <a:gd name="connsiteY18" fmla="*/ 426720 h 3680460"/>
                  <a:gd name="connsiteX19" fmla="*/ 2552700 w 3025140"/>
                  <a:gd name="connsiteY19" fmla="*/ 449580 h 3680460"/>
                  <a:gd name="connsiteX20" fmla="*/ 2575560 w 3025140"/>
                  <a:gd name="connsiteY20" fmla="*/ 487680 h 3680460"/>
                  <a:gd name="connsiteX21" fmla="*/ 2621280 w 3025140"/>
                  <a:gd name="connsiteY21" fmla="*/ 548640 h 3680460"/>
                  <a:gd name="connsiteX22" fmla="*/ 2674620 w 3025140"/>
                  <a:gd name="connsiteY22" fmla="*/ 609600 h 3680460"/>
                  <a:gd name="connsiteX23" fmla="*/ 2727960 w 3025140"/>
                  <a:gd name="connsiteY23" fmla="*/ 678180 h 3680460"/>
                  <a:gd name="connsiteX24" fmla="*/ 2727960 w 3025140"/>
                  <a:gd name="connsiteY24" fmla="*/ 678180 h 3680460"/>
                  <a:gd name="connsiteX25" fmla="*/ 2766060 w 3025140"/>
                  <a:gd name="connsiteY25" fmla="*/ 754380 h 3680460"/>
                  <a:gd name="connsiteX26" fmla="*/ 2819400 w 3025140"/>
                  <a:gd name="connsiteY26" fmla="*/ 830580 h 3680460"/>
                  <a:gd name="connsiteX27" fmla="*/ 2834640 w 3025140"/>
                  <a:gd name="connsiteY27" fmla="*/ 853440 h 3680460"/>
                  <a:gd name="connsiteX28" fmla="*/ 2849880 w 3025140"/>
                  <a:gd name="connsiteY28" fmla="*/ 883920 h 3680460"/>
                  <a:gd name="connsiteX29" fmla="*/ 2880360 w 3025140"/>
                  <a:gd name="connsiteY29" fmla="*/ 922020 h 3680460"/>
                  <a:gd name="connsiteX30" fmla="*/ 2887980 w 3025140"/>
                  <a:gd name="connsiteY30" fmla="*/ 944880 h 3680460"/>
                  <a:gd name="connsiteX31" fmla="*/ 2903220 w 3025140"/>
                  <a:gd name="connsiteY31" fmla="*/ 967740 h 3680460"/>
                  <a:gd name="connsiteX32" fmla="*/ 2918460 w 3025140"/>
                  <a:gd name="connsiteY32" fmla="*/ 1036320 h 3680460"/>
                  <a:gd name="connsiteX33" fmla="*/ 2933700 w 3025140"/>
                  <a:gd name="connsiteY33" fmla="*/ 1074420 h 3680460"/>
                  <a:gd name="connsiteX34" fmla="*/ 2948940 w 3025140"/>
                  <a:gd name="connsiteY34" fmla="*/ 1120140 h 3680460"/>
                  <a:gd name="connsiteX35" fmla="*/ 2964180 w 3025140"/>
                  <a:gd name="connsiteY35" fmla="*/ 1203960 h 3680460"/>
                  <a:gd name="connsiteX36" fmla="*/ 2979420 w 3025140"/>
                  <a:gd name="connsiteY36" fmla="*/ 1264920 h 3680460"/>
                  <a:gd name="connsiteX37" fmla="*/ 2987040 w 3025140"/>
                  <a:gd name="connsiteY37" fmla="*/ 1318260 h 3680460"/>
                  <a:gd name="connsiteX38" fmla="*/ 2994660 w 3025140"/>
                  <a:gd name="connsiteY38" fmla="*/ 1348740 h 3680460"/>
                  <a:gd name="connsiteX39" fmla="*/ 3009900 w 3025140"/>
                  <a:gd name="connsiteY39" fmla="*/ 1432560 h 3680460"/>
                  <a:gd name="connsiteX40" fmla="*/ 3017520 w 3025140"/>
                  <a:gd name="connsiteY40" fmla="*/ 1684020 h 3680460"/>
                  <a:gd name="connsiteX41" fmla="*/ 3025140 w 3025140"/>
                  <a:gd name="connsiteY41" fmla="*/ 1744980 h 3680460"/>
                  <a:gd name="connsiteX42" fmla="*/ 3017520 w 3025140"/>
                  <a:gd name="connsiteY42" fmla="*/ 2095500 h 3680460"/>
                  <a:gd name="connsiteX43" fmla="*/ 3009900 w 3025140"/>
                  <a:gd name="connsiteY43" fmla="*/ 2125980 h 3680460"/>
                  <a:gd name="connsiteX44" fmla="*/ 2979420 w 3025140"/>
                  <a:gd name="connsiteY44" fmla="*/ 2194560 h 3680460"/>
                  <a:gd name="connsiteX45" fmla="*/ 2956560 w 3025140"/>
                  <a:gd name="connsiteY45" fmla="*/ 2247900 h 3680460"/>
                  <a:gd name="connsiteX46" fmla="*/ 2941320 w 3025140"/>
                  <a:gd name="connsiteY46" fmla="*/ 2324100 h 3680460"/>
                  <a:gd name="connsiteX47" fmla="*/ 2926080 w 3025140"/>
                  <a:gd name="connsiteY47" fmla="*/ 2392680 h 3680460"/>
                  <a:gd name="connsiteX48" fmla="*/ 2918460 w 3025140"/>
                  <a:gd name="connsiteY48" fmla="*/ 2415540 h 3680460"/>
                  <a:gd name="connsiteX49" fmla="*/ 2895600 w 3025140"/>
                  <a:gd name="connsiteY49" fmla="*/ 2484120 h 3680460"/>
                  <a:gd name="connsiteX50" fmla="*/ 2872740 w 3025140"/>
                  <a:gd name="connsiteY50" fmla="*/ 2583180 h 3680460"/>
                  <a:gd name="connsiteX51" fmla="*/ 2857500 w 3025140"/>
                  <a:gd name="connsiteY51" fmla="*/ 2606040 h 3680460"/>
                  <a:gd name="connsiteX52" fmla="*/ 2834640 w 3025140"/>
                  <a:gd name="connsiteY52" fmla="*/ 2689860 h 3680460"/>
                  <a:gd name="connsiteX53" fmla="*/ 2811780 w 3025140"/>
                  <a:gd name="connsiteY53" fmla="*/ 2750820 h 3680460"/>
                  <a:gd name="connsiteX54" fmla="*/ 2788920 w 3025140"/>
                  <a:gd name="connsiteY54" fmla="*/ 2781300 h 3680460"/>
                  <a:gd name="connsiteX55" fmla="*/ 2781300 w 3025140"/>
                  <a:gd name="connsiteY55" fmla="*/ 2804160 h 3680460"/>
                  <a:gd name="connsiteX56" fmla="*/ 2743200 w 3025140"/>
                  <a:gd name="connsiteY56" fmla="*/ 2865120 h 3680460"/>
                  <a:gd name="connsiteX57" fmla="*/ 2712720 w 3025140"/>
                  <a:gd name="connsiteY57" fmla="*/ 2903220 h 3680460"/>
                  <a:gd name="connsiteX58" fmla="*/ 2697480 w 3025140"/>
                  <a:gd name="connsiteY58" fmla="*/ 2933700 h 3680460"/>
                  <a:gd name="connsiteX59" fmla="*/ 2674620 w 3025140"/>
                  <a:gd name="connsiteY59" fmla="*/ 2964180 h 3680460"/>
                  <a:gd name="connsiteX60" fmla="*/ 2644140 w 3025140"/>
                  <a:gd name="connsiteY60" fmla="*/ 3009900 h 3680460"/>
                  <a:gd name="connsiteX61" fmla="*/ 2598420 w 3025140"/>
                  <a:gd name="connsiteY61" fmla="*/ 3055620 h 3680460"/>
                  <a:gd name="connsiteX62" fmla="*/ 2575560 w 3025140"/>
                  <a:gd name="connsiteY62" fmla="*/ 3078480 h 3680460"/>
                  <a:gd name="connsiteX63" fmla="*/ 2476500 w 3025140"/>
                  <a:gd name="connsiteY63" fmla="*/ 3169920 h 3680460"/>
                  <a:gd name="connsiteX64" fmla="*/ 2377440 w 3025140"/>
                  <a:gd name="connsiteY64" fmla="*/ 3223260 h 3680460"/>
                  <a:gd name="connsiteX65" fmla="*/ 2293620 w 3025140"/>
                  <a:gd name="connsiteY65" fmla="*/ 3284220 h 3680460"/>
                  <a:gd name="connsiteX66" fmla="*/ 2240280 w 3025140"/>
                  <a:gd name="connsiteY66" fmla="*/ 3314700 h 3680460"/>
                  <a:gd name="connsiteX67" fmla="*/ 2225040 w 3025140"/>
                  <a:gd name="connsiteY67" fmla="*/ 3337560 h 3680460"/>
                  <a:gd name="connsiteX68" fmla="*/ 2141220 w 3025140"/>
                  <a:gd name="connsiteY68" fmla="*/ 3390900 h 3680460"/>
                  <a:gd name="connsiteX69" fmla="*/ 2110740 w 3025140"/>
                  <a:gd name="connsiteY69" fmla="*/ 3413760 h 3680460"/>
                  <a:gd name="connsiteX70" fmla="*/ 2072640 w 3025140"/>
                  <a:gd name="connsiteY70" fmla="*/ 3451860 h 3680460"/>
                  <a:gd name="connsiteX71" fmla="*/ 2019300 w 3025140"/>
                  <a:gd name="connsiteY71" fmla="*/ 3467100 h 3680460"/>
                  <a:gd name="connsiteX72" fmla="*/ 1874520 w 3025140"/>
                  <a:gd name="connsiteY72" fmla="*/ 3512820 h 3680460"/>
                  <a:gd name="connsiteX73" fmla="*/ 1828800 w 3025140"/>
                  <a:gd name="connsiteY73" fmla="*/ 3520440 h 3680460"/>
                  <a:gd name="connsiteX74" fmla="*/ 1722120 w 3025140"/>
                  <a:gd name="connsiteY74" fmla="*/ 3550920 h 3680460"/>
                  <a:gd name="connsiteX75" fmla="*/ 1600200 w 3025140"/>
                  <a:gd name="connsiteY75" fmla="*/ 3589020 h 3680460"/>
                  <a:gd name="connsiteX76" fmla="*/ 1569720 w 3025140"/>
                  <a:gd name="connsiteY76" fmla="*/ 3596640 h 3680460"/>
                  <a:gd name="connsiteX77" fmla="*/ 1546860 w 3025140"/>
                  <a:gd name="connsiteY77" fmla="*/ 3611880 h 3680460"/>
                  <a:gd name="connsiteX78" fmla="*/ 1463040 w 3025140"/>
                  <a:gd name="connsiteY78" fmla="*/ 3627120 h 3680460"/>
                  <a:gd name="connsiteX79" fmla="*/ 1333500 w 3025140"/>
                  <a:gd name="connsiteY79" fmla="*/ 3657600 h 3680460"/>
                  <a:gd name="connsiteX80" fmla="*/ 1203960 w 3025140"/>
                  <a:gd name="connsiteY80" fmla="*/ 3672840 h 3680460"/>
                  <a:gd name="connsiteX81" fmla="*/ 1165860 w 3025140"/>
                  <a:gd name="connsiteY81" fmla="*/ 3680460 h 3680460"/>
                  <a:gd name="connsiteX82" fmla="*/ 449580 w 3025140"/>
                  <a:gd name="connsiteY82" fmla="*/ 3672840 h 3680460"/>
                  <a:gd name="connsiteX83" fmla="*/ 426720 w 3025140"/>
                  <a:gd name="connsiteY83" fmla="*/ 3665220 h 3680460"/>
                  <a:gd name="connsiteX84" fmla="*/ 388620 w 3025140"/>
                  <a:gd name="connsiteY84" fmla="*/ 3657600 h 3680460"/>
                  <a:gd name="connsiteX85" fmla="*/ 335280 w 3025140"/>
                  <a:gd name="connsiteY85" fmla="*/ 3627120 h 3680460"/>
                  <a:gd name="connsiteX86" fmla="*/ 266700 w 3025140"/>
                  <a:gd name="connsiteY86" fmla="*/ 3604260 h 3680460"/>
                  <a:gd name="connsiteX87" fmla="*/ 243840 w 3025140"/>
                  <a:gd name="connsiteY87" fmla="*/ 3589020 h 3680460"/>
                  <a:gd name="connsiteX88" fmla="*/ 160020 w 3025140"/>
                  <a:gd name="connsiteY88" fmla="*/ 3558540 h 3680460"/>
                  <a:gd name="connsiteX89" fmla="*/ 137160 w 3025140"/>
                  <a:gd name="connsiteY89" fmla="*/ 3535680 h 3680460"/>
                  <a:gd name="connsiteX90" fmla="*/ 99060 w 3025140"/>
                  <a:gd name="connsiteY90" fmla="*/ 3520440 h 3680460"/>
                  <a:gd name="connsiteX91" fmla="*/ 83820 w 3025140"/>
                  <a:gd name="connsiteY91" fmla="*/ 3489960 h 3680460"/>
                  <a:gd name="connsiteX92" fmla="*/ 45720 w 3025140"/>
                  <a:gd name="connsiteY92" fmla="*/ 3436620 h 3680460"/>
                  <a:gd name="connsiteX93" fmla="*/ 0 w 3025140"/>
                  <a:gd name="connsiteY93" fmla="*/ 3352800 h 3680460"/>
                  <a:gd name="connsiteX94" fmla="*/ 30480 w 3025140"/>
                  <a:gd name="connsiteY94" fmla="*/ 3345180 h 3680460"/>
                  <a:gd name="connsiteX95" fmla="*/ 137160 w 3025140"/>
                  <a:gd name="connsiteY95" fmla="*/ 3360420 h 3680460"/>
                  <a:gd name="connsiteX96" fmla="*/ 167640 w 3025140"/>
                  <a:gd name="connsiteY96" fmla="*/ 3390900 h 3680460"/>
                  <a:gd name="connsiteX97" fmla="*/ 198120 w 3025140"/>
                  <a:gd name="connsiteY97" fmla="*/ 3406140 h 3680460"/>
                  <a:gd name="connsiteX98" fmla="*/ 350520 w 3025140"/>
                  <a:gd name="connsiteY98" fmla="*/ 3436620 h 3680460"/>
                  <a:gd name="connsiteX99" fmla="*/ 381000 w 3025140"/>
                  <a:gd name="connsiteY99" fmla="*/ 3451860 h 3680460"/>
                  <a:gd name="connsiteX100" fmla="*/ 449580 w 3025140"/>
                  <a:gd name="connsiteY100" fmla="*/ 3489960 h 3680460"/>
                  <a:gd name="connsiteX101" fmla="*/ 495300 w 3025140"/>
                  <a:gd name="connsiteY101" fmla="*/ 3520440 h 3680460"/>
                  <a:gd name="connsiteX102" fmla="*/ 525780 w 3025140"/>
                  <a:gd name="connsiteY102" fmla="*/ 3535680 h 3680460"/>
                  <a:gd name="connsiteX103" fmla="*/ 731520 w 3025140"/>
                  <a:gd name="connsiteY103" fmla="*/ 3558540 h 3680460"/>
                  <a:gd name="connsiteX104" fmla="*/ 1341120 w 3025140"/>
                  <a:gd name="connsiteY104" fmla="*/ 3550920 h 3680460"/>
                  <a:gd name="connsiteX105" fmla="*/ 1440180 w 3025140"/>
                  <a:gd name="connsiteY105" fmla="*/ 3528060 h 3680460"/>
                  <a:gd name="connsiteX106" fmla="*/ 1539240 w 3025140"/>
                  <a:gd name="connsiteY106" fmla="*/ 3520440 h 3680460"/>
                  <a:gd name="connsiteX107" fmla="*/ 1562100 w 3025140"/>
                  <a:gd name="connsiteY107" fmla="*/ 3512820 h 3680460"/>
                  <a:gd name="connsiteX108" fmla="*/ 1630680 w 3025140"/>
                  <a:gd name="connsiteY108" fmla="*/ 3497580 h 3680460"/>
                  <a:gd name="connsiteX109" fmla="*/ 1699260 w 3025140"/>
                  <a:gd name="connsiteY109" fmla="*/ 3474720 h 3680460"/>
                  <a:gd name="connsiteX110" fmla="*/ 1790700 w 3025140"/>
                  <a:gd name="connsiteY110" fmla="*/ 3451860 h 3680460"/>
                  <a:gd name="connsiteX111" fmla="*/ 1821180 w 3025140"/>
                  <a:gd name="connsiteY111" fmla="*/ 3444240 h 3680460"/>
                  <a:gd name="connsiteX112" fmla="*/ 1844040 w 3025140"/>
                  <a:gd name="connsiteY112" fmla="*/ 3429000 h 3680460"/>
                  <a:gd name="connsiteX113" fmla="*/ 1874520 w 3025140"/>
                  <a:gd name="connsiteY113" fmla="*/ 3421380 h 3680460"/>
                  <a:gd name="connsiteX114" fmla="*/ 1927860 w 3025140"/>
                  <a:gd name="connsiteY114" fmla="*/ 3398520 h 3680460"/>
                  <a:gd name="connsiteX115" fmla="*/ 1950720 w 3025140"/>
                  <a:gd name="connsiteY115" fmla="*/ 3390900 h 3680460"/>
                  <a:gd name="connsiteX116" fmla="*/ 2004060 w 3025140"/>
                  <a:gd name="connsiteY116" fmla="*/ 3360420 h 3680460"/>
                  <a:gd name="connsiteX117" fmla="*/ 2042160 w 3025140"/>
                  <a:gd name="connsiteY117" fmla="*/ 3352800 h 3680460"/>
                  <a:gd name="connsiteX118" fmla="*/ 2080260 w 3025140"/>
                  <a:gd name="connsiteY118" fmla="*/ 3337560 h 3680460"/>
                  <a:gd name="connsiteX119" fmla="*/ 2156460 w 3025140"/>
                  <a:gd name="connsiteY119" fmla="*/ 3299460 h 3680460"/>
                  <a:gd name="connsiteX120" fmla="*/ 2179320 w 3025140"/>
                  <a:gd name="connsiteY120" fmla="*/ 3284220 h 3680460"/>
                  <a:gd name="connsiteX121" fmla="*/ 2209800 w 3025140"/>
                  <a:gd name="connsiteY121" fmla="*/ 3276600 h 3680460"/>
                  <a:gd name="connsiteX122" fmla="*/ 2263140 w 3025140"/>
                  <a:gd name="connsiteY122" fmla="*/ 3230880 h 3680460"/>
                  <a:gd name="connsiteX123" fmla="*/ 2346960 w 3025140"/>
                  <a:gd name="connsiteY123" fmla="*/ 3154680 h 3680460"/>
                  <a:gd name="connsiteX124" fmla="*/ 2400300 w 3025140"/>
                  <a:gd name="connsiteY124" fmla="*/ 3070860 h 3680460"/>
                  <a:gd name="connsiteX125" fmla="*/ 2415540 w 3025140"/>
                  <a:gd name="connsiteY125" fmla="*/ 3048000 h 3680460"/>
                  <a:gd name="connsiteX126" fmla="*/ 2446020 w 3025140"/>
                  <a:gd name="connsiteY126" fmla="*/ 3032760 h 3680460"/>
                  <a:gd name="connsiteX127" fmla="*/ 2468880 w 3025140"/>
                  <a:gd name="connsiteY127" fmla="*/ 3009900 h 3680460"/>
                  <a:gd name="connsiteX128" fmla="*/ 2537460 w 3025140"/>
                  <a:gd name="connsiteY128" fmla="*/ 2926080 h 3680460"/>
                  <a:gd name="connsiteX129" fmla="*/ 2575560 w 3025140"/>
                  <a:gd name="connsiteY129" fmla="*/ 2880360 h 3680460"/>
                  <a:gd name="connsiteX130" fmla="*/ 2628900 w 3025140"/>
                  <a:gd name="connsiteY130" fmla="*/ 2811780 h 3680460"/>
                  <a:gd name="connsiteX131" fmla="*/ 2644140 w 3025140"/>
                  <a:gd name="connsiteY131" fmla="*/ 2773680 h 3680460"/>
                  <a:gd name="connsiteX132" fmla="*/ 2674620 w 3025140"/>
                  <a:gd name="connsiteY132" fmla="*/ 2727960 h 3680460"/>
                  <a:gd name="connsiteX133" fmla="*/ 2689860 w 3025140"/>
                  <a:gd name="connsiteY133" fmla="*/ 2705100 h 3680460"/>
                  <a:gd name="connsiteX134" fmla="*/ 2705100 w 3025140"/>
                  <a:gd name="connsiteY134" fmla="*/ 2667000 h 3680460"/>
                  <a:gd name="connsiteX135" fmla="*/ 2727960 w 3025140"/>
                  <a:gd name="connsiteY135" fmla="*/ 2621280 h 3680460"/>
                  <a:gd name="connsiteX136" fmla="*/ 2735580 w 3025140"/>
                  <a:gd name="connsiteY136" fmla="*/ 2590800 h 3680460"/>
                  <a:gd name="connsiteX137" fmla="*/ 2758440 w 3025140"/>
                  <a:gd name="connsiteY137" fmla="*/ 2545080 h 3680460"/>
                  <a:gd name="connsiteX138" fmla="*/ 2788920 w 3025140"/>
                  <a:gd name="connsiteY138" fmla="*/ 2484120 h 3680460"/>
                  <a:gd name="connsiteX139" fmla="*/ 2811780 w 3025140"/>
                  <a:gd name="connsiteY139" fmla="*/ 2407920 h 3680460"/>
                  <a:gd name="connsiteX140" fmla="*/ 2842260 w 3025140"/>
                  <a:gd name="connsiteY140" fmla="*/ 2324100 h 3680460"/>
                  <a:gd name="connsiteX141" fmla="*/ 2857500 w 3025140"/>
                  <a:gd name="connsiteY141" fmla="*/ 2247900 h 3680460"/>
                  <a:gd name="connsiteX142" fmla="*/ 2872740 w 3025140"/>
                  <a:gd name="connsiteY142" fmla="*/ 2194560 h 3680460"/>
                  <a:gd name="connsiteX143" fmla="*/ 2887980 w 3025140"/>
                  <a:gd name="connsiteY143" fmla="*/ 2148840 h 3680460"/>
                  <a:gd name="connsiteX144" fmla="*/ 2910840 w 3025140"/>
                  <a:gd name="connsiteY144" fmla="*/ 2087880 h 3680460"/>
                  <a:gd name="connsiteX145" fmla="*/ 2918460 w 3025140"/>
                  <a:gd name="connsiteY145" fmla="*/ 2049780 h 3680460"/>
                  <a:gd name="connsiteX146" fmla="*/ 2933700 w 3025140"/>
                  <a:gd name="connsiteY146" fmla="*/ 1844040 h 3680460"/>
                  <a:gd name="connsiteX147" fmla="*/ 2918460 w 3025140"/>
                  <a:gd name="connsiteY147" fmla="*/ 1470660 h 3680460"/>
                  <a:gd name="connsiteX148" fmla="*/ 2895600 w 3025140"/>
                  <a:gd name="connsiteY148" fmla="*/ 1371600 h 3680460"/>
                  <a:gd name="connsiteX149" fmla="*/ 2880360 w 3025140"/>
                  <a:gd name="connsiteY149" fmla="*/ 1341120 h 3680460"/>
                  <a:gd name="connsiteX150" fmla="*/ 2857500 w 3025140"/>
                  <a:gd name="connsiteY150" fmla="*/ 1272540 h 3680460"/>
                  <a:gd name="connsiteX151" fmla="*/ 2849880 w 3025140"/>
                  <a:gd name="connsiteY151" fmla="*/ 1234440 h 3680460"/>
                  <a:gd name="connsiteX152" fmla="*/ 2827020 w 3025140"/>
                  <a:gd name="connsiteY152" fmla="*/ 1196340 h 3680460"/>
                  <a:gd name="connsiteX153" fmla="*/ 2811780 w 3025140"/>
                  <a:gd name="connsiteY153" fmla="*/ 1165860 h 3680460"/>
                  <a:gd name="connsiteX154" fmla="*/ 2781300 w 3025140"/>
                  <a:gd name="connsiteY154" fmla="*/ 1127760 h 3680460"/>
                  <a:gd name="connsiteX155" fmla="*/ 2766060 w 3025140"/>
                  <a:gd name="connsiteY155" fmla="*/ 1089660 h 3680460"/>
                  <a:gd name="connsiteX156" fmla="*/ 2735580 w 3025140"/>
                  <a:gd name="connsiteY156" fmla="*/ 1043940 h 3680460"/>
                  <a:gd name="connsiteX157" fmla="*/ 2727960 w 3025140"/>
                  <a:gd name="connsiteY157" fmla="*/ 1021080 h 3680460"/>
                  <a:gd name="connsiteX158" fmla="*/ 2682240 w 3025140"/>
                  <a:gd name="connsiteY158" fmla="*/ 937260 h 3680460"/>
                  <a:gd name="connsiteX159" fmla="*/ 2659380 w 3025140"/>
                  <a:gd name="connsiteY159" fmla="*/ 876300 h 3680460"/>
                  <a:gd name="connsiteX160" fmla="*/ 2644140 w 3025140"/>
                  <a:gd name="connsiteY160" fmla="*/ 845820 h 3680460"/>
                  <a:gd name="connsiteX161" fmla="*/ 2636520 w 3025140"/>
                  <a:gd name="connsiteY161" fmla="*/ 822960 h 3680460"/>
                  <a:gd name="connsiteX162" fmla="*/ 2621280 w 3025140"/>
                  <a:gd name="connsiteY162" fmla="*/ 800100 h 3680460"/>
                  <a:gd name="connsiteX163" fmla="*/ 2598420 w 3025140"/>
                  <a:gd name="connsiteY163" fmla="*/ 739140 h 3680460"/>
                  <a:gd name="connsiteX164" fmla="*/ 2458403 w 3025140"/>
                  <a:gd name="connsiteY164" fmla="*/ 621983 h 3680460"/>
                  <a:gd name="connsiteX165" fmla="*/ 2301240 w 3025140"/>
                  <a:gd name="connsiteY165" fmla="*/ 458152 h 3680460"/>
                  <a:gd name="connsiteX166" fmla="*/ 2237423 w 3025140"/>
                  <a:gd name="connsiteY166" fmla="*/ 406717 h 3680460"/>
                  <a:gd name="connsiteX167" fmla="*/ 2103120 w 3025140"/>
                  <a:gd name="connsiteY167" fmla="*/ 312420 h 3680460"/>
                  <a:gd name="connsiteX168" fmla="*/ 2042160 w 3025140"/>
                  <a:gd name="connsiteY168" fmla="*/ 266700 h 3680460"/>
                  <a:gd name="connsiteX169" fmla="*/ 2004060 w 3025140"/>
                  <a:gd name="connsiteY169" fmla="*/ 251460 h 3680460"/>
                  <a:gd name="connsiteX170" fmla="*/ 1958340 w 3025140"/>
                  <a:gd name="connsiteY170" fmla="*/ 220980 h 3680460"/>
                  <a:gd name="connsiteX171" fmla="*/ 1897380 w 3025140"/>
                  <a:gd name="connsiteY17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065020 w 3025140"/>
                  <a:gd name="connsiteY10" fmla="*/ 76200 h 3680460"/>
                  <a:gd name="connsiteX11" fmla="*/ 2171700 w 3025140"/>
                  <a:gd name="connsiteY11" fmla="*/ 114300 h 3680460"/>
                  <a:gd name="connsiteX12" fmla="*/ 2225040 w 3025140"/>
                  <a:gd name="connsiteY12" fmla="*/ 160020 h 3680460"/>
                  <a:gd name="connsiteX13" fmla="*/ 2286000 w 3025140"/>
                  <a:gd name="connsiteY13" fmla="*/ 190500 h 3680460"/>
                  <a:gd name="connsiteX14" fmla="*/ 2331720 w 3025140"/>
                  <a:gd name="connsiteY14" fmla="*/ 220980 h 3680460"/>
                  <a:gd name="connsiteX15" fmla="*/ 2385060 w 3025140"/>
                  <a:gd name="connsiteY15" fmla="*/ 266700 h 3680460"/>
                  <a:gd name="connsiteX16" fmla="*/ 2415540 w 3025140"/>
                  <a:gd name="connsiteY16" fmla="*/ 289560 h 3680460"/>
                  <a:gd name="connsiteX17" fmla="*/ 2461260 w 3025140"/>
                  <a:gd name="connsiteY17" fmla="*/ 320040 h 3680460"/>
                  <a:gd name="connsiteX18" fmla="*/ 2537460 w 3025140"/>
                  <a:gd name="connsiteY18" fmla="*/ 426720 h 3680460"/>
                  <a:gd name="connsiteX19" fmla="*/ 2552700 w 3025140"/>
                  <a:gd name="connsiteY19" fmla="*/ 449580 h 3680460"/>
                  <a:gd name="connsiteX20" fmla="*/ 2575560 w 3025140"/>
                  <a:gd name="connsiteY20" fmla="*/ 487680 h 3680460"/>
                  <a:gd name="connsiteX21" fmla="*/ 2621280 w 3025140"/>
                  <a:gd name="connsiteY21" fmla="*/ 548640 h 3680460"/>
                  <a:gd name="connsiteX22" fmla="*/ 2674620 w 3025140"/>
                  <a:gd name="connsiteY22" fmla="*/ 609600 h 3680460"/>
                  <a:gd name="connsiteX23" fmla="*/ 2727960 w 3025140"/>
                  <a:gd name="connsiteY23" fmla="*/ 678180 h 3680460"/>
                  <a:gd name="connsiteX24" fmla="*/ 2727960 w 3025140"/>
                  <a:gd name="connsiteY24" fmla="*/ 678180 h 3680460"/>
                  <a:gd name="connsiteX25" fmla="*/ 2766060 w 3025140"/>
                  <a:gd name="connsiteY25" fmla="*/ 754380 h 3680460"/>
                  <a:gd name="connsiteX26" fmla="*/ 2819400 w 3025140"/>
                  <a:gd name="connsiteY26" fmla="*/ 830580 h 3680460"/>
                  <a:gd name="connsiteX27" fmla="*/ 2834640 w 3025140"/>
                  <a:gd name="connsiteY27" fmla="*/ 853440 h 3680460"/>
                  <a:gd name="connsiteX28" fmla="*/ 2849880 w 3025140"/>
                  <a:gd name="connsiteY28" fmla="*/ 883920 h 3680460"/>
                  <a:gd name="connsiteX29" fmla="*/ 2880360 w 3025140"/>
                  <a:gd name="connsiteY29" fmla="*/ 922020 h 3680460"/>
                  <a:gd name="connsiteX30" fmla="*/ 2887980 w 3025140"/>
                  <a:gd name="connsiteY30" fmla="*/ 944880 h 3680460"/>
                  <a:gd name="connsiteX31" fmla="*/ 2903220 w 3025140"/>
                  <a:gd name="connsiteY31" fmla="*/ 967740 h 3680460"/>
                  <a:gd name="connsiteX32" fmla="*/ 2918460 w 3025140"/>
                  <a:gd name="connsiteY32" fmla="*/ 1036320 h 3680460"/>
                  <a:gd name="connsiteX33" fmla="*/ 2933700 w 3025140"/>
                  <a:gd name="connsiteY33" fmla="*/ 1074420 h 3680460"/>
                  <a:gd name="connsiteX34" fmla="*/ 2948940 w 3025140"/>
                  <a:gd name="connsiteY34" fmla="*/ 1120140 h 3680460"/>
                  <a:gd name="connsiteX35" fmla="*/ 2964180 w 3025140"/>
                  <a:gd name="connsiteY35" fmla="*/ 1203960 h 3680460"/>
                  <a:gd name="connsiteX36" fmla="*/ 2979420 w 3025140"/>
                  <a:gd name="connsiteY36" fmla="*/ 1264920 h 3680460"/>
                  <a:gd name="connsiteX37" fmla="*/ 2987040 w 3025140"/>
                  <a:gd name="connsiteY37" fmla="*/ 1318260 h 3680460"/>
                  <a:gd name="connsiteX38" fmla="*/ 2994660 w 3025140"/>
                  <a:gd name="connsiteY38" fmla="*/ 1348740 h 3680460"/>
                  <a:gd name="connsiteX39" fmla="*/ 3009900 w 3025140"/>
                  <a:gd name="connsiteY39" fmla="*/ 1432560 h 3680460"/>
                  <a:gd name="connsiteX40" fmla="*/ 3017520 w 3025140"/>
                  <a:gd name="connsiteY40" fmla="*/ 1684020 h 3680460"/>
                  <a:gd name="connsiteX41" fmla="*/ 3025140 w 3025140"/>
                  <a:gd name="connsiteY41" fmla="*/ 1744980 h 3680460"/>
                  <a:gd name="connsiteX42" fmla="*/ 3017520 w 3025140"/>
                  <a:gd name="connsiteY42" fmla="*/ 2095500 h 3680460"/>
                  <a:gd name="connsiteX43" fmla="*/ 3009900 w 3025140"/>
                  <a:gd name="connsiteY43" fmla="*/ 2125980 h 3680460"/>
                  <a:gd name="connsiteX44" fmla="*/ 2979420 w 3025140"/>
                  <a:gd name="connsiteY44" fmla="*/ 2194560 h 3680460"/>
                  <a:gd name="connsiteX45" fmla="*/ 2956560 w 3025140"/>
                  <a:gd name="connsiteY45" fmla="*/ 2247900 h 3680460"/>
                  <a:gd name="connsiteX46" fmla="*/ 2941320 w 3025140"/>
                  <a:gd name="connsiteY46" fmla="*/ 2324100 h 3680460"/>
                  <a:gd name="connsiteX47" fmla="*/ 2926080 w 3025140"/>
                  <a:gd name="connsiteY47" fmla="*/ 2392680 h 3680460"/>
                  <a:gd name="connsiteX48" fmla="*/ 2918460 w 3025140"/>
                  <a:gd name="connsiteY48" fmla="*/ 2415540 h 3680460"/>
                  <a:gd name="connsiteX49" fmla="*/ 2895600 w 3025140"/>
                  <a:gd name="connsiteY49" fmla="*/ 2484120 h 3680460"/>
                  <a:gd name="connsiteX50" fmla="*/ 2872740 w 3025140"/>
                  <a:gd name="connsiteY50" fmla="*/ 2583180 h 3680460"/>
                  <a:gd name="connsiteX51" fmla="*/ 2857500 w 3025140"/>
                  <a:gd name="connsiteY51" fmla="*/ 2606040 h 3680460"/>
                  <a:gd name="connsiteX52" fmla="*/ 2834640 w 3025140"/>
                  <a:gd name="connsiteY52" fmla="*/ 2689860 h 3680460"/>
                  <a:gd name="connsiteX53" fmla="*/ 2811780 w 3025140"/>
                  <a:gd name="connsiteY53" fmla="*/ 2750820 h 3680460"/>
                  <a:gd name="connsiteX54" fmla="*/ 2788920 w 3025140"/>
                  <a:gd name="connsiteY54" fmla="*/ 2781300 h 3680460"/>
                  <a:gd name="connsiteX55" fmla="*/ 2781300 w 3025140"/>
                  <a:gd name="connsiteY55" fmla="*/ 2804160 h 3680460"/>
                  <a:gd name="connsiteX56" fmla="*/ 2743200 w 3025140"/>
                  <a:gd name="connsiteY56" fmla="*/ 2865120 h 3680460"/>
                  <a:gd name="connsiteX57" fmla="*/ 2712720 w 3025140"/>
                  <a:gd name="connsiteY57" fmla="*/ 2903220 h 3680460"/>
                  <a:gd name="connsiteX58" fmla="*/ 2697480 w 3025140"/>
                  <a:gd name="connsiteY58" fmla="*/ 2933700 h 3680460"/>
                  <a:gd name="connsiteX59" fmla="*/ 2674620 w 3025140"/>
                  <a:gd name="connsiteY59" fmla="*/ 2964180 h 3680460"/>
                  <a:gd name="connsiteX60" fmla="*/ 2644140 w 3025140"/>
                  <a:gd name="connsiteY60" fmla="*/ 3009900 h 3680460"/>
                  <a:gd name="connsiteX61" fmla="*/ 2598420 w 3025140"/>
                  <a:gd name="connsiteY61" fmla="*/ 3055620 h 3680460"/>
                  <a:gd name="connsiteX62" fmla="*/ 2575560 w 3025140"/>
                  <a:gd name="connsiteY62" fmla="*/ 3078480 h 3680460"/>
                  <a:gd name="connsiteX63" fmla="*/ 2476500 w 3025140"/>
                  <a:gd name="connsiteY63" fmla="*/ 3169920 h 3680460"/>
                  <a:gd name="connsiteX64" fmla="*/ 2377440 w 3025140"/>
                  <a:gd name="connsiteY64" fmla="*/ 3223260 h 3680460"/>
                  <a:gd name="connsiteX65" fmla="*/ 2293620 w 3025140"/>
                  <a:gd name="connsiteY65" fmla="*/ 3284220 h 3680460"/>
                  <a:gd name="connsiteX66" fmla="*/ 2240280 w 3025140"/>
                  <a:gd name="connsiteY66" fmla="*/ 3314700 h 3680460"/>
                  <a:gd name="connsiteX67" fmla="*/ 2225040 w 3025140"/>
                  <a:gd name="connsiteY67" fmla="*/ 3337560 h 3680460"/>
                  <a:gd name="connsiteX68" fmla="*/ 2141220 w 3025140"/>
                  <a:gd name="connsiteY68" fmla="*/ 3390900 h 3680460"/>
                  <a:gd name="connsiteX69" fmla="*/ 2110740 w 3025140"/>
                  <a:gd name="connsiteY69" fmla="*/ 3413760 h 3680460"/>
                  <a:gd name="connsiteX70" fmla="*/ 2072640 w 3025140"/>
                  <a:gd name="connsiteY70" fmla="*/ 3451860 h 3680460"/>
                  <a:gd name="connsiteX71" fmla="*/ 2019300 w 3025140"/>
                  <a:gd name="connsiteY71" fmla="*/ 3467100 h 3680460"/>
                  <a:gd name="connsiteX72" fmla="*/ 1874520 w 3025140"/>
                  <a:gd name="connsiteY72" fmla="*/ 3512820 h 3680460"/>
                  <a:gd name="connsiteX73" fmla="*/ 1828800 w 3025140"/>
                  <a:gd name="connsiteY73" fmla="*/ 3520440 h 3680460"/>
                  <a:gd name="connsiteX74" fmla="*/ 1722120 w 3025140"/>
                  <a:gd name="connsiteY74" fmla="*/ 3550920 h 3680460"/>
                  <a:gd name="connsiteX75" fmla="*/ 1600200 w 3025140"/>
                  <a:gd name="connsiteY75" fmla="*/ 3589020 h 3680460"/>
                  <a:gd name="connsiteX76" fmla="*/ 1569720 w 3025140"/>
                  <a:gd name="connsiteY76" fmla="*/ 3596640 h 3680460"/>
                  <a:gd name="connsiteX77" fmla="*/ 1546860 w 3025140"/>
                  <a:gd name="connsiteY77" fmla="*/ 3611880 h 3680460"/>
                  <a:gd name="connsiteX78" fmla="*/ 1463040 w 3025140"/>
                  <a:gd name="connsiteY78" fmla="*/ 3627120 h 3680460"/>
                  <a:gd name="connsiteX79" fmla="*/ 1333500 w 3025140"/>
                  <a:gd name="connsiteY79" fmla="*/ 3657600 h 3680460"/>
                  <a:gd name="connsiteX80" fmla="*/ 1203960 w 3025140"/>
                  <a:gd name="connsiteY80" fmla="*/ 3672840 h 3680460"/>
                  <a:gd name="connsiteX81" fmla="*/ 1165860 w 3025140"/>
                  <a:gd name="connsiteY81" fmla="*/ 3680460 h 3680460"/>
                  <a:gd name="connsiteX82" fmla="*/ 449580 w 3025140"/>
                  <a:gd name="connsiteY82" fmla="*/ 3672840 h 3680460"/>
                  <a:gd name="connsiteX83" fmla="*/ 426720 w 3025140"/>
                  <a:gd name="connsiteY83" fmla="*/ 3665220 h 3680460"/>
                  <a:gd name="connsiteX84" fmla="*/ 388620 w 3025140"/>
                  <a:gd name="connsiteY84" fmla="*/ 3657600 h 3680460"/>
                  <a:gd name="connsiteX85" fmla="*/ 335280 w 3025140"/>
                  <a:gd name="connsiteY85" fmla="*/ 3627120 h 3680460"/>
                  <a:gd name="connsiteX86" fmla="*/ 266700 w 3025140"/>
                  <a:gd name="connsiteY86" fmla="*/ 3604260 h 3680460"/>
                  <a:gd name="connsiteX87" fmla="*/ 243840 w 3025140"/>
                  <a:gd name="connsiteY87" fmla="*/ 3589020 h 3680460"/>
                  <a:gd name="connsiteX88" fmla="*/ 160020 w 3025140"/>
                  <a:gd name="connsiteY88" fmla="*/ 3558540 h 3680460"/>
                  <a:gd name="connsiteX89" fmla="*/ 137160 w 3025140"/>
                  <a:gd name="connsiteY89" fmla="*/ 3535680 h 3680460"/>
                  <a:gd name="connsiteX90" fmla="*/ 99060 w 3025140"/>
                  <a:gd name="connsiteY90" fmla="*/ 3520440 h 3680460"/>
                  <a:gd name="connsiteX91" fmla="*/ 83820 w 3025140"/>
                  <a:gd name="connsiteY91" fmla="*/ 3489960 h 3680460"/>
                  <a:gd name="connsiteX92" fmla="*/ 45720 w 3025140"/>
                  <a:gd name="connsiteY92" fmla="*/ 3436620 h 3680460"/>
                  <a:gd name="connsiteX93" fmla="*/ 0 w 3025140"/>
                  <a:gd name="connsiteY93" fmla="*/ 3352800 h 3680460"/>
                  <a:gd name="connsiteX94" fmla="*/ 30480 w 3025140"/>
                  <a:gd name="connsiteY94" fmla="*/ 3345180 h 3680460"/>
                  <a:gd name="connsiteX95" fmla="*/ 137160 w 3025140"/>
                  <a:gd name="connsiteY95" fmla="*/ 3360420 h 3680460"/>
                  <a:gd name="connsiteX96" fmla="*/ 167640 w 3025140"/>
                  <a:gd name="connsiteY96" fmla="*/ 3390900 h 3680460"/>
                  <a:gd name="connsiteX97" fmla="*/ 198120 w 3025140"/>
                  <a:gd name="connsiteY97" fmla="*/ 3406140 h 3680460"/>
                  <a:gd name="connsiteX98" fmla="*/ 350520 w 3025140"/>
                  <a:gd name="connsiteY98" fmla="*/ 3436620 h 3680460"/>
                  <a:gd name="connsiteX99" fmla="*/ 381000 w 3025140"/>
                  <a:gd name="connsiteY99" fmla="*/ 3451860 h 3680460"/>
                  <a:gd name="connsiteX100" fmla="*/ 449580 w 3025140"/>
                  <a:gd name="connsiteY100" fmla="*/ 3489960 h 3680460"/>
                  <a:gd name="connsiteX101" fmla="*/ 495300 w 3025140"/>
                  <a:gd name="connsiteY101" fmla="*/ 3520440 h 3680460"/>
                  <a:gd name="connsiteX102" fmla="*/ 525780 w 3025140"/>
                  <a:gd name="connsiteY102" fmla="*/ 3535680 h 3680460"/>
                  <a:gd name="connsiteX103" fmla="*/ 731520 w 3025140"/>
                  <a:gd name="connsiteY103" fmla="*/ 3558540 h 3680460"/>
                  <a:gd name="connsiteX104" fmla="*/ 1341120 w 3025140"/>
                  <a:gd name="connsiteY104" fmla="*/ 3550920 h 3680460"/>
                  <a:gd name="connsiteX105" fmla="*/ 1440180 w 3025140"/>
                  <a:gd name="connsiteY105" fmla="*/ 3528060 h 3680460"/>
                  <a:gd name="connsiteX106" fmla="*/ 1539240 w 3025140"/>
                  <a:gd name="connsiteY106" fmla="*/ 3520440 h 3680460"/>
                  <a:gd name="connsiteX107" fmla="*/ 1562100 w 3025140"/>
                  <a:gd name="connsiteY107" fmla="*/ 3512820 h 3680460"/>
                  <a:gd name="connsiteX108" fmla="*/ 1630680 w 3025140"/>
                  <a:gd name="connsiteY108" fmla="*/ 3497580 h 3680460"/>
                  <a:gd name="connsiteX109" fmla="*/ 1699260 w 3025140"/>
                  <a:gd name="connsiteY109" fmla="*/ 3474720 h 3680460"/>
                  <a:gd name="connsiteX110" fmla="*/ 1790700 w 3025140"/>
                  <a:gd name="connsiteY110" fmla="*/ 3451860 h 3680460"/>
                  <a:gd name="connsiteX111" fmla="*/ 1821180 w 3025140"/>
                  <a:gd name="connsiteY111" fmla="*/ 3444240 h 3680460"/>
                  <a:gd name="connsiteX112" fmla="*/ 1844040 w 3025140"/>
                  <a:gd name="connsiteY112" fmla="*/ 3429000 h 3680460"/>
                  <a:gd name="connsiteX113" fmla="*/ 1874520 w 3025140"/>
                  <a:gd name="connsiteY113" fmla="*/ 3421380 h 3680460"/>
                  <a:gd name="connsiteX114" fmla="*/ 1927860 w 3025140"/>
                  <a:gd name="connsiteY114" fmla="*/ 3398520 h 3680460"/>
                  <a:gd name="connsiteX115" fmla="*/ 1950720 w 3025140"/>
                  <a:gd name="connsiteY115" fmla="*/ 3390900 h 3680460"/>
                  <a:gd name="connsiteX116" fmla="*/ 2004060 w 3025140"/>
                  <a:gd name="connsiteY116" fmla="*/ 3360420 h 3680460"/>
                  <a:gd name="connsiteX117" fmla="*/ 2042160 w 3025140"/>
                  <a:gd name="connsiteY117" fmla="*/ 3352800 h 3680460"/>
                  <a:gd name="connsiteX118" fmla="*/ 2080260 w 3025140"/>
                  <a:gd name="connsiteY118" fmla="*/ 3337560 h 3680460"/>
                  <a:gd name="connsiteX119" fmla="*/ 2156460 w 3025140"/>
                  <a:gd name="connsiteY119" fmla="*/ 3299460 h 3680460"/>
                  <a:gd name="connsiteX120" fmla="*/ 2179320 w 3025140"/>
                  <a:gd name="connsiteY120" fmla="*/ 3284220 h 3680460"/>
                  <a:gd name="connsiteX121" fmla="*/ 2209800 w 3025140"/>
                  <a:gd name="connsiteY121" fmla="*/ 3276600 h 3680460"/>
                  <a:gd name="connsiteX122" fmla="*/ 2263140 w 3025140"/>
                  <a:gd name="connsiteY122" fmla="*/ 3230880 h 3680460"/>
                  <a:gd name="connsiteX123" fmla="*/ 2346960 w 3025140"/>
                  <a:gd name="connsiteY123" fmla="*/ 3154680 h 3680460"/>
                  <a:gd name="connsiteX124" fmla="*/ 2400300 w 3025140"/>
                  <a:gd name="connsiteY124" fmla="*/ 3070860 h 3680460"/>
                  <a:gd name="connsiteX125" fmla="*/ 2415540 w 3025140"/>
                  <a:gd name="connsiteY125" fmla="*/ 3048000 h 3680460"/>
                  <a:gd name="connsiteX126" fmla="*/ 2446020 w 3025140"/>
                  <a:gd name="connsiteY126" fmla="*/ 3032760 h 3680460"/>
                  <a:gd name="connsiteX127" fmla="*/ 2468880 w 3025140"/>
                  <a:gd name="connsiteY127" fmla="*/ 3009900 h 3680460"/>
                  <a:gd name="connsiteX128" fmla="*/ 2537460 w 3025140"/>
                  <a:gd name="connsiteY128" fmla="*/ 2926080 h 3680460"/>
                  <a:gd name="connsiteX129" fmla="*/ 2575560 w 3025140"/>
                  <a:gd name="connsiteY129" fmla="*/ 2880360 h 3680460"/>
                  <a:gd name="connsiteX130" fmla="*/ 2628900 w 3025140"/>
                  <a:gd name="connsiteY130" fmla="*/ 2811780 h 3680460"/>
                  <a:gd name="connsiteX131" fmla="*/ 2644140 w 3025140"/>
                  <a:gd name="connsiteY131" fmla="*/ 2773680 h 3680460"/>
                  <a:gd name="connsiteX132" fmla="*/ 2674620 w 3025140"/>
                  <a:gd name="connsiteY132" fmla="*/ 2727960 h 3680460"/>
                  <a:gd name="connsiteX133" fmla="*/ 2689860 w 3025140"/>
                  <a:gd name="connsiteY133" fmla="*/ 2705100 h 3680460"/>
                  <a:gd name="connsiteX134" fmla="*/ 2705100 w 3025140"/>
                  <a:gd name="connsiteY134" fmla="*/ 2667000 h 3680460"/>
                  <a:gd name="connsiteX135" fmla="*/ 2727960 w 3025140"/>
                  <a:gd name="connsiteY135" fmla="*/ 2621280 h 3680460"/>
                  <a:gd name="connsiteX136" fmla="*/ 2735580 w 3025140"/>
                  <a:gd name="connsiteY136" fmla="*/ 2590800 h 3680460"/>
                  <a:gd name="connsiteX137" fmla="*/ 2758440 w 3025140"/>
                  <a:gd name="connsiteY137" fmla="*/ 2545080 h 3680460"/>
                  <a:gd name="connsiteX138" fmla="*/ 2788920 w 3025140"/>
                  <a:gd name="connsiteY138" fmla="*/ 2484120 h 3680460"/>
                  <a:gd name="connsiteX139" fmla="*/ 2811780 w 3025140"/>
                  <a:gd name="connsiteY139" fmla="*/ 2407920 h 3680460"/>
                  <a:gd name="connsiteX140" fmla="*/ 2842260 w 3025140"/>
                  <a:gd name="connsiteY140" fmla="*/ 2324100 h 3680460"/>
                  <a:gd name="connsiteX141" fmla="*/ 2857500 w 3025140"/>
                  <a:gd name="connsiteY141" fmla="*/ 2247900 h 3680460"/>
                  <a:gd name="connsiteX142" fmla="*/ 2872740 w 3025140"/>
                  <a:gd name="connsiteY142" fmla="*/ 2194560 h 3680460"/>
                  <a:gd name="connsiteX143" fmla="*/ 2887980 w 3025140"/>
                  <a:gd name="connsiteY143" fmla="*/ 2148840 h 3680460"/>
                  <a:gd name="connsiteX144" fmla="*/ 2910840 w 3025140"/>
                  <a:gd name="connsiteY144" fmla="*/ 2087880 h 3680460"/>
                  <a:gd name="connsiteX145" fmla="*/ 2918460 w 3025140"/>
                  <a:gd name="connsiteY145" fmla="*/ 2049780 h 3680460"/>
                  <a:gd name="connsiteX146" fmla="*/ 2933700 w 3025140"/>
                  <a:gd name="connsiteY146" fmla="*/ 1844040 h 3680460"/>
                  <a:gd name="connsiteX147" fmla="*/ 2918460 w 3025140"/>
                  <a:gd name="connsiteY147" fmla="*/ 1470660 h 3680460"/>
                  <a:gd name="connsiteX148" fmla="*/ 2895600 w 3025140"/>
                  <a:gd name="connsiteY148" fmla="*/ 1371600 h 3680460"/>
                  <a:gd name="connsiteX149" fmla="*/ 2880360 w 3025140"/>
                  <a:gd name="connsiteY149" fmla="*/ 1341120 h 3680460"/>
                  <a:gd name="connsiteX150" fmla="*/ 2857500 w 3025140"/>
                  <a:gd name="connsiteY150" fmla="*/ 1272540 h 3680460"/>
                  <a:gd name="connsiteX151" fmla="*/ 2849880 w 3025140"/>
                  <a:gd name="connsiteY151" fmla="*/ 1234440 h 3680460"/>
                  <a:gd name="connsiteX152" fmla="*/ 2827020 w 3025140"/>
                  <a:gd name="connsiteY152" fmla="*/ 1196340 h 3680460"/>
                  <a:gd name="connsiteX153" fmla="*/ 2811780 w 3025140"/>
                  <a:gd name="connsiteY153" fmla="*/ 1165860 h 3680460"/>
                  <a:gd name="connsiteX154" fmla="*/ 2781300 w 3025140"/>
                  <a:gd name="connsiteY154" fmla="*/ 1127760 h 3680460"/>
                  <a:gd name="connsiteX155" fmla="*/ 2766060 w 3025140"/>
                  <a:gd name="connsiteY155" fmla="*/ 1089660 h 3680460"/>
                  <a:gd name="connsiteX156" fmla="*/ 2735580 w 3025140"/>
                  <a:gd name="connsiteY156" fmla="*/ 1043940 h 3680460"/>
                  <a:gd name="connsiteX157" fmla="*/ 2727960 w 3025140"/>
                  <a:gd name="connsiteY157" fmla="*/ 1021080 h 3680460"/>
                  <a:gd name="connsiteX158" fmla="*/ 2682240 w 3025140"/>
                  <a:gd name="connsiteY158" fmla="*/ 937260 h 3680460"/>
                  <a:gd name="connsiteX159" fmla="*/ 2659380 w 3025140"/>
                  <a:gd name="connsiteY159" fmla="*/ 876300 h 3680460"/>
                  <a:gd name="connsiteX160" fmla="*/ 2644140 w 3025140"/>
                  <a:gd name="connsiteY160" fmla="*/ 845820 h 3680460"/>
                  <a:gd name="connsiteX161" fmla="*/ 2636520 w 3025140"/>
                  <a:gd name="connsiteY161" fmla="*/ 822960 h 3680460"/>
                  <a:gd name="connsiteX162" fmla="*/ 2621280 w 3025140"/>
                  <a:gd name="connsiteY162" fmla="*/ 800100 h 3680460"/>
                  <a:gd name="connsiteX163" fmla="*/ 2598420 w 3025140"/>
                  <a:gd name="connsiteY163" fmla="*/ 739140 h 3680460"/>
                  <a:gd name="connsiteX164" fmla="*/ 2458403 w 3025140"/>
                  <a:gd name="connsiteY164" fmla="*/ 621983 h 3680460"/>
                  <a:gd name="connsiteX165" fmla="*/ 2301240 w 3025140"/>
                  <a:gd name="connsiteY165" fmla="*/ 458152 h 3680460"/>
                  <a:gd name="connsiteX166" fmla="*/ 2237423 w 3025140"/>
                  <a:gd name="connsiteY166" fmla="*/ 406717 h 3680460"/>
                  <a:gd name="connsiteX167" fmla="*/ 2103120 w 3025140"/>
                  <a:gd name="connsiteY167" fmla="*/ 312420 h 3680460"/>
                  <a:gd name="connsiteX168" fmla="*/ 2042160 w 3025140"/>
                  <a:gd name="connsiteY168" fmla="*/ 266700 h 3680460"/>
                  <a:gd name="connsiteX169" fmla="*/ 2004060 w 3025140"/>
                  <a:gd name="connsiteY169" fmla="*/ 251460 h 3680460"/>
                  <a:gd name="connsiteX170" fmla="*/ 1958340 w 3025140"/>
                  <a:gd name="connsiteY170" fmla="*/ 220980 h 3680460"/>
                  <a:gd name="connsiteX171" fmla="*/ 1897380 w 3025140"/>
                  <a:gd name="connsiteY17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026920 w 3025140"/>
                  <a:gd name="connsiteY9" fmla="*/ 30480 h 3680460"/>
                  <a:gd name="connsiteX10" fmla="*/ 2171700 w 3025140"/>
                  <a:gd name="connsiteY10" fmla="*/ 114300 h 3680460"/>
                  <a:gd name="connsiteX11" fmla="*/ 2225040 w 3025140"/>
                  <a:gd name="connsiteY11" fmla="*/ 160020 h 3680460"/>
                  <a:gd name="connsiteX12" fmla="*/ 2286000 w 3025140"/>
                  <a:gd name="connsiteY12" fmla="*/ 190500 h 3680460"/>
                  <a:gd name="connsiteX13" fmla="*/ 2331720 w 3025140"/>
                  <a:gd name="connsiteY13" fmla="*/ 220980 h 3680460"/>
                  <a:gd name="connsiteX14" fmla="*/ 2385060 w 3025140"/>
                  <a:gd name="connsiteY14" fmla="*/ 266700 h 3680460"/>
                  <a:gd name="connsiteX15" fmla="*/ 2415540 w 3025140"/>
                  <a:gd name="connsiteY15" fmla="*/ 289560 h 3680460"/>
                  <a:gd name="connsiteX16" fmla="*/ 2461260 w 3025140"/>
                  <a:gd name="connsiteY16" fmla="*/ 320040 h 3680460"/>
                  <a:gd name="connsiteX17" fmla="*/ 2537460 w 3025140"/>
                  <a:gd name="connsiteY17" fmla="*/ 426720 h 3680460"/>
                  <a:gd name="connsiteX18" fmla="*/ 2552700 w 3025140"/>
                  <a:gd name="connsiteY18" fmla="*/ 449580 h 3680460"/>
                  <a:gd name="connsiteX19" fmla="*/ 2575560 w 3025140"/>
                  <a:gd name="connsiteY19" fmla="*/ 487680 h 3680460"/>
                  <a:gd name="connsiteX20" fmla="*/ 2621280 w 3025140"/>
                  <a:gd name="connsiteY20" fmla="*/ 548640 h 3680460"/>
                  <a:gd name="connsiteX21" fmla="*/ 2674620 w 3025140"/>
                  <a:gd name="connsiteY21" fmla="*/ 609600 h 3680460"/>
                  <a:gd name="connsiteX22" fmla="*/ 2727960 w 3025140"/>
                  <a:gd name="connsiteY22" fmla="*/ 678180 h 3680460"/>
                  <a:gd name="connsiteX23" fmla="*/ 2727960 w 3025140"/>
                  <a:gd name="connsiteY23" fmla="*/ 678180 h 3680460"/>
                  <a:gd name="connsiteX24" fmla="*/ 2766060 w 3025140"/>
                  <a:gd name="connsiteY24" fmla="*/ 754380 h 3680460"/>
                  <a:gd name="connsiteX25" fmla="*/ 2819400 w 3025140"/>
                  <a:gd name="connsiteY25" fmla="*/ 830580 h 3680460"/>
                  <a:gd name="connsiteX26" fmla="*/ 2834640 w 3025140"/>
                  <a:gd name="connsiteY26" fmla="*/ 853440 h 3680460"/>
                  <a:gd name="connsiteX27" fmla="*/ 2849880 w 3025140"/>
                  <a:gd name="connsiteY27" fmla="*/ 883920 h 3680460"/>
                  <a:gd name="connsiteX28" fmla="*/ 2880360 w 3025140"/>
                  <a:gd name="connsiteY28" fmla="*/ 922020 h 3680460"/>
                  <a:gd name="connsiteX29" fmla="*/ 2887980 w 3025140"/>
                  <a:gd name="connsiteY29" fmla="*/ 944880 h 3680460"/>
                  <a:gd name="connsiteX30" fmla="*/ 2903220 w 3025140"/>
                  <a:gd name="connsiteY30" fmla="*/ 967740 h 3680460"/>
                  <a:gd name="connsiteX31" fmla="*/ 2918460 w 3025140"/>
                  <a:gd name="connsiteY31" fmla="*/ 1036320 h 3680460"/>
                  <a:gd name="connsiteX32" fmla="*/ 2933700 w 3025140"/>
                  <a:gd name="connsiteY32" fmla="*/ 1074420 h 3680460"/>
                  <a:gd name="connsiteX33" fmla="*/ 2948940 w 3025140"/>
                  <a:gd name="connsiteY33" fmla="*/ 1120140 h 3680460"/>
                  <a:gd name="connsiteX34" fmla="*/ 2964180 w 3025140"/>
                  <a:gd name="connsiteY34" fmla="*/ 1203960 h 3680460"/>
                  <a:gd name="connsiteX35" fmla="*/ 2979420 w 3025140"/>
                  <a:gd name="connsiteY35" fmla="*/ 1264920 h 3680460"/>
                  <a:gd name="connsiteX36" fmla="*/ 2987040 w 3025140"/>
                  <a:gd name="connsiteY36" fmla="*/ 1318260 h 3680460"/>
                  <a:gd name="connsiteX37" fmla="*/ 2994660 w 3025140"/>
                  <a:gd name="connsiteY37" fmla="*/ 1348740 h 3680460"/>
                  <a:gd name="connsiteX38" fmla="*/ 3009900 w 3025140"/>
                  <a:gd name="connsiteY38" fmla="*/ 1432560 h 3680460"/>
                  <a:gd name="connsiteX39" fmla="*/ 3017520 w 3025140"/>
                  <a:gd name="connsiteY39" fmla="*/ 1684020 h 3680460"/>
                  <a:gd name="connsiteX40" fmla="*/ 3025140 w 3025140"/>
                  <a:gd name="connsiteY40" fmla="*/ 1744980 h 3680460"/>
                  <a:gd name="connsiteX41" fmla="*/ 3017520 w 3025140"/>
                  <a:gd name="connsiteY41" fmla="*/ 2095500 h 3680460"/>
                  <a:gd name="connsiteX42" fmla="*/ 3009900 w 3025140"/>
                  <a:gd name="connsiteY42" fmla="*/ 2125980 h 3680460"/>
                  <a:gd name="connsiteX43" fmla="*/ 2979420 w 3025140"/>
                  <a:gd name="connsiteY43" fmla="*/ 2194560 h 3680460"/>
                  <a:gd name="connsiteX44" fmla="*/ 2956560 w 3025140"/>
                  <a:gd name="connsiteY44" fmla="*/ 2247900 h 3680460"/>
                  <a:gd name="connsiteX45" fmla="*/ 2941320 w 3025140"/>
                  <a:gd name="connsiteY45" fmla="*/ 2324100 h 3680460"/>
                  <a:gd name="connsiteX46" fmla="*/ 2926080 w 3025140"/>
                  <a:gd name="connsiteY46" fmla="*/ 2392680 h 3680460"/>
                  <a:gd name="connsiteX47" fmla="*/ 2918460 w 3025140"/>
                  <a:gd name="connsiteY47" fmla="*/ 2415540 h 3680460"/>
                  <a:gd name="connsiteX48" fmla="*/ 2895600 w 3025140"/>
                  <a:gd name="connsiteY48" fmla="*/ 2484120 h 3680460"/>
                  <a:gd name="connsiteX49" fmla="*/ 2872740 w 3025140"/>
                  <a:gd name="connsiteY49" fmla="*/ 2583180 h 3680460"/>
                  <a:gd name="connsiteX50" fmla="*/ 2857500 w 3025140"/>
                  <a:gd name="connsiteY50" fmla="*/ 2606040 h 3680460"/>
                  <a:gd name="connsiteX51" fmla="*/ 2834640 w 3025140"/>
                  <a:gd name="connsiteY51" fmla="*/ 2689860 h 3680460"/>
                  <a:gd name="connsiteX52" fmla="*/ 2811780 w 3025140"/>
                  <a:gd name="connsiteY52" fmla="*/ 2750820 h 3680460"/>
                  <a:gd name="connsiteX53" fmla="*/ 2788920 w 3025140"/>
                  <a:gd name="connsiteY53" fmla="*/ 2781300 h 3680460"/>
                  <a:gd name="connsiteX54" fmla="*/ 2781300 w 3025140"/>
                  <a:gd name="connsiteY54" fmla="*/ 2804160 h 3680460"/>
                  <a:gd name="connsiteX55" fmla="*/ 2743200 w 3025140"/>
                  <a:gd name="connsiteY55" fmla="*/ 2865120 h 3680460"/>
                  <a:gd name="connsiteX56" fmla="*/ 2712720 w 3025140"/>
                  <a:gd name="connsiteY56" fmla="*/ 2903220 h 3680460"/>
                  <a:gd name="connsiteX57" fmla="*/ 2697480 w 3025140"/>
                  <a:gd name="connsiteY57" fmla="*/ 2933700 h 3680460"/>
                  <a:gd name="connsiteX58" fmla="*/ 2674620 w 3025140"/>
                  <a:gd name="connsiteY58" fmla="*/ 2964180 h 3680460"/>
                  <a:gd name="connsiteX59" fmla="*/ 2644140 w 3025140"/>
                  <a:gd name="connsiteY59" fmla="*/ 3009900 h 3680460"/>
                  <a:gd name="connsiteX60" fmla="*/ 2598420 w 3025140"/>
                  <a:gd name="connsiteY60" fmla="*/ 3055620 h 3680460"/>
                  <a:gd name="connsiteX61" fmla="*/ 2575560 w 3025140"/>
                  <a:gd name="connsiteY61" fmla="*/ 3078480 h 3680460"/>
                  <a:gd name="connsiteX62" fmla="*/ 2476500 w 3025140"/>
                  <a:gd name="connsiteY62" fmla="*/ 3169920 h 3680460"/>
                  <a:gd name="connsiteX63" fmla="*/ 2377440 w 3025140"/>
                  <a:gd name="connsiteY63" fmla="*/ 3223260 h 3680460"/>
                  <a:gd name="connsiteX64" fmla="*/ 2293620 w 3025140"/>
                  <a:gd name="connsiteY64" fmla="*/ 3284220 h 3680460"/>
                  <a:gd name="connsiteX65" fmla="*/ 2240280 w 3025140"/>
                  <a:gd name="connsiteY65" fmla="*/ 3314700 h 3680460"/>
                  <a:gd name="connsiteX66" fmla="*/ 2225040 w 3025140"/>
                  <a:gd name="connsiteY66" fmla="*/ 3337560 h 3680460"/>
                  <a:gd name="connsiteX67" fmla="*/ 2141220 w 3025140"/>
                  <a:gd name="connsiteY67" fmla="*/ 3390900 h 3680460"/>
                  <a:gd name="connsiteX68" fmla="*/ 2110740 w 3025140"/>
                  <a:gd name="connsiteY68" fmla="*/ 3413760 h 3680460"/>
                  <a:gd name="connsiteX69" fmla="*/ 2072640 w 3025140"/>
                  <a:gd name="connsiteY69" fmla="*/ 3451860 h 3680460"/>
                  <a:gd name="connsiteX70" fmla="*/ 2019300 w 3025140"/>
                  <a:gd name="connsiteY70" fmla="*/ 3467100 h 3680460"/>
                  <a:gd name="connsiteX71" fmla="*/ 1874520 w 3025140"/>
                  <a:gd name="connsiteY71" fmla="*/ 3512820 h 3680460"/>
                  <a:gd name="connsiteX72" fmla="*/ 1828800 w 3025140"/>
                  <a:gd name="connsiteY72" fmla="*/ 3520440 h 3680460"/>
                  <a:gd name="connsiteX73" fmla="*/ 1722120 w 3025140"/>
                  <a:gd name="connsiteY73" fmla="*/ 3550920 h 3680460"/>
                  <a:gd name="connsiteX74" fmla="*/ 1600200 w 3025140"/>
                  <a:gd name="connsiteY74" fmla="*/ 3589020 h 3680460"/>
                  <a:gd name="connsiteX75" fmla="*/ 1569720 w 3025140"/>
                  <a:gd name="connsiteY75" fmla="*/ 3596640 h 3680460"/>
                  <a:gd name="connsiteX76" fmla="*/ 1546860 w 3025140"/>
                  <a:gd name="connsiteY76" fmla="*/ 3611880 h 3680460"/>
                  <a:gd name="connsiteX77" fmla="*/ 1463040 w 3025140"/>
                  <a:gd name="connsiteY77" fmla="*/ 3627120 h 3680460"/>
                  <a:gd name="connsiteX78" fmla="*/ 1333500 w 3025140"/>
                  <a:gd name="connsiteY78" fmla="*/ 3657600 h 3680460"/>
                  <a:gd name="connsiteX79" fmla="*/ 1203960 w 3025140"/>
                  <a:gd name="connsiteY79" fmla="*/ 3672840 h 3680460"/>
                  <a:gd name="connsiteX80" fmla="*/ 1165860 w 3025140"/>
                  <a:gd name="connsiteY80" fmla="*/ 3680460 h 3680460"/>
                  <a:gd name="connsiteX81" fmla="*/ 449580 w 3025140"/>
                  <a:gd name="connsiteY81" fmla="*/ 3672840 h 3680460"/>
                  <a:gd name="connsiteX82" fmla="*/ 426720 w 3025140"/>
                  <a:gd name="connsiteY82" fmla="*/ 3665220 h 3680460"/>
                  <a:gd name="connsiteX83" fmla="*/ 388620 w 3025140"/>
                  <a:gd name="connsiteY83" fmla="*/ 3657600 h 3680460"/>
                  <a:gd name="connsiteX84" fmla="*/ 335280 w 3025140"/>
                  <a:gd name="connsiteY84" fmla="*/ 3627120 h 3680460"/>
                  <a:gd name="connsiteX85" fmla="*/ 266700 w 3025140"/>
                  <a:gd name="connsiteY85" fmla="*/ 3604260 h 3680460"/>
                  <a:gd name="connsiteX86" fmla="*/ 243840 w 3025140"/>
                  <a:gd name="connsiteY86" fmla="*/ 3589020 h 3680460"/>
                  <a:gd name="connsiteX87" fmla="*/ 160020 w 3025140"/>
                  <a:gd name="connsiteY87" fmla="*/ 3558540 h 3680460"/>
                  <a:gd name="connsiteX88" fmla="*/ 137160 w 3025140"/>
                  <a:gd name="connsiteY88" fmla="*/ 3535680 h 3680460"/>
                  <a:gd name="connsiteX89" fmla="*/ 99060 w 3025140"/>
                  <a:gd name="connsiteY89" fmla="*/ 3520440 h 3680460"/>
                  <a:gd name="connsiteX90" fmla="*/ 83820 w 3025140"/>
                  <a:gd name="connsiteY90" fmla="*/ 3489960 h 3680460"/>
                  <a:gd name="connsiteX91" fmla="*/ 45720 w 3025140"/>
                  <a:gd name="connsiteY91" fmla="*/ 3436620 h 3680460"/>
                  <a:gd name="connsiteX92" fmla="*/ 0 w 3025140"/>
                  <a:gd name="connsiteY92" fmla="*/ 3352800 h 3680460"/>
                  <a:gd name="connsiteX93" fmla="*/ 30480 w 3025140"/>
                  <a:gd name="connsiteY93" fmla="*/ 3345180 h 3680460"/>
                  <a:gd name="connsiteX94" fmla="*/ 137160 w 3025140"/>
                  <a:gd name="connsiteY94" fmla="*/ 3360420 h 3680460"/>
                  <a:gd name="connsiteX95" fmla="*/ 167640 w 3025140"/>
                  <a:gd name="connsiteY95" fmla="*/ 3390900 h 3680460"/>
                  <a:gd name="connsiteX96" fmla="*/ 198120 w 3025140"/>
                  <a:gd name="connsiteY96" fmla="*/ 3406140 h 3680460"/>
                  <a:gd name="connsiteX97" fmla="*/ 350520 w 3025140"/>
                  <a:gd name="connsiteY97" fmla="*/ 3436620 h 3680460"/>
                  <a:gd name="connsiteX98" fmla="*/ 381000 w 3025140"/>
                  <a:gd name="connsiteY98" fmla="*/ 3451860 h 3680460"/>
                  <a:gd name="connsiteX99" fmla="*/ 449580 w 3025140"/>
                  <a:gd name="connsiteY99" fmla="*/ 3489960 h 3680460"/>
                  <a:gd name="connsiteX100" fmla="*/ 495300 w 3025140"/>
                  <a:gd name="connsiteY100" fmla="*/ 3520440 h 3680460"/>
                  <a:gd name="connsiteX101" fmla="*/ 525780 w 3025140"/>
                  <a:gd name="connsiteY101" fmla="*/ 3535680 h 3680460"/>
                  <a:gd name="connsiteX102" fmla="*/ 731520 w 3025140"/>
                  <a:gd name="connsiteY102" fmla="*/ 3558540 h 3680460"/>
                  <a:gd name="connsiteX103" fmla="*/ 1341120 w 3025140"/>
                  <a:gd name="connsiteY103" fmla="*/ 3550920 h 3680460"/>
                  <a:gd name="connsiteX104" fmla="*/ 1440180 w 3025140"/>
                  <a:gd name="connsiteY104" fmla="*/ 3528060 h 3680460"/>
                  <a:gd name="connsiteX105" fmla="*/ 1539240 w 3025140"/>
                  <a:gd name="connsiteY105" fmla="*/ 3520440 h 3680460"/>
                  <a:gd name="connsiteX106" fmla="*/ 1562100 w 3025140"/>
                  <a:gd name="connsiteY106" fmla="*/ 3512820 h 3680460"/>
                  <a:gd name="connsiteX107" fmla="*/ 1630680 w 3025140"/>
                  <a:gd name="connsiteY107" fmla="*/ 3497580 h 3680460"/>
                  <a:gd name="connsiteX108" fmla="*/ 1699260 w 3025140"/>
                  <a:gd name="connsiteY108" fmla="*/ 3474720 h 3680460"/>
                  <a:gd name="connsiteX109" fmla="*/ 1790700 w 3025140"/>
                  <a:gd name="connsiteY109" fmla="*/ 3451860 h 3680460"/>
                  <a:gd name="connsiteX110" fmla="*/ 1821180 w 3025140"/>
                  <a:gd name="connsiteY110" fmla="*/ 3444240 h 3680460"/>
                  <a:gd name="connsiteX111" fmla="*/ 1844040 w 3025140"/>
                  <a:gd name="connsiteY111" fmla="*/ 3429000 h 3680460"/>
                  <a:gd name="connsiteX112" fmla="*/ 1874520 w 3025140"/>
                  <a:gd name="connsiteY112" fmla="*/ 3421380 h 3680460"/>
                  <a:gd name="connsiteX113" fmla="*/ 1927860 w 3025140"/>
                  <a:gd name="connsiteY113" fmla="*/ 3398520 h 3680460"/>
                  <a:gd name="connsiteX114" fmla="*/ 1950720 w 3025140"/>
                  <a:gd name="connsiteY114" fmla="*/ 3390900 h 3680460"/>
                  <a:gd name="connsiteX115" fmla="*/ 2004060 w 3025140"/>
                  <a:gd name="connsiteY115" fmla="*/ 3360420 h 3680460"/>
                  <a:gd name="connsiteX116" fmla="*/ 2042160 w 3025140"/>
                  <a:gd name="connsiteY116" fmla="*/ 3352800 h 3680460"/>
                  <a:gd name="connsiteX117" fmla="*/ 2080260 w 3025140"/>
                  <a:gd name="connsiteY117" fmla="*/ 3337560 h 3680460"/>
                  <a:gd name="connsiteX118" fmla="*/ 2156460 w 3025140"/>
                  <a:gd name="connsiteY118" fmla="*/ 3299460 h 3680460"/>
                  <a:gd name="connsiteX119" fmla="*/ 2179320 w 3025140"/>
                  <a:gd name="connsiteY119" fmla="*/ 3284220 h 3680460"/>
                  <a:gd name="connsiteX120" fmla="*/ 2209800 w 3025140"/>
                  <a:gd name="connsiteY120" fmla="*/ 3276600 h 3680460"/>
                  <a:gd name="connsiteX121" fmla="*/ 2263140 w 3025140"/>
                  <a:gd name="connsiteY121" fmla="*/ 3230880 h 3680460"/>
                  <a:gd name="connsiteX122" fmla="*/ 2346960 w 3025140"/>
                  <a:gd name="connsiteY122" fmla="*/ 3154680 h 3680460"/>
                  <a:gd name="connsiteX123" fmla="*/ 2400300 w 3025140"/>
                  <a:gd name="connsiteY123" fmla="*/ 3070860 h 3680460"/>
                  <a:gd name="connsiteX124" fmla="*/ 2415540 w 3025140"/>
                  <a:gd name="connsiteY124" fmla="*/ 3048000 h 3680460"/>
                  <a:gd name="connsiteX125" fmla="*/ 2446020 w 3025140"/>
                  <a:gd name="connsiteY125" fmla="*/ 3032760 h 3680460"/>
                  <a:gd name="connsiteX126" fmla="*/ 2468880 w 3025140"/>
                  <a:gd name="connsiteY126" fmla="*/ 3009900 h 3680460"/>
                  <a:gd name="connsiteX127" fmla="*/ 2537460 w 3025140"/>
                  <a:gd name="connsiteY127" fmla="*/ 2926080 h 3680460"/>
                  <a:gd name="connsiteX128" fmla="*/ 2575560 w 3025140"/>
                  <a:gd name="connsiteY128" fmla="*/ 2880360 h 3680460"/>
                  <a:gd name="connsiteX129" fmla="*/ 2628900 w 3025140"/>
                  <a:gd name="connsiteY129" fmla="*/ 2811780 h 3680460"/>
                  <a:gd name="connsiteX130" fmla="*/ 2644140 w 3025140"/>
                  <a:gd name="connsiteY130" fmla="*/ 2773680 h 3680460"/>
                  <a:gd name="connsiteX131" fmla="*/ 2674620 w 3025140"/>
                  <a:gd name="connsiteY131" fmla="*/ 2727960 h 3680460"/>
                  <a:gd name="connsiteX132" fmla="*/ 2689860 w 3025140"/>
                  <a:gd name="connsiteY132" fmla="*/ 2705100 h 3680460"/>
                  <a:gd name="connsiteX133" fmla="*/ 2705100 w 3025140"/>
                  <a:gd name="connsiteY133" fmla="*/ 2667000 h 3680460"/>
                  <a:gd name="connsiteX134" fmla="*/ 2727960 w 3025140"/>
                  <a:gd name="connsiteY134" fmla="*/ 2621280 h 3680460"/>
                  <a:gd name="connsiteX135" fmla="*/ 2735580 w 3025140"/>
                  <a:gd name="connsiteY135" fmla="*/ 2590800 h 3680460"/>
                  <a:gd name="connsiteX136" fmla="*/ 2758440 w 3025140"/>
                  <a:gd name="connsiteY136" fmla="*/ 2545080 h 3680460"/>
                  <a:gd name="connsiteX137" fmla="*/ 2788920 w 3025140"/>
                  <a:gd name="connsiteY137" fmla="*/ 2484120 h 3680460"/>
                  <a:gd name="connsiteX138" fmla="*/ 2811780 w 3025140"/>
                  <a:gd name="connsiteY138" fmla="*/ 2407920 h 3680460"/>
                  <a:gd name="connsiteX139" fmla="*/ 2842260 w 3025140"/>
                  <a:gd name="connsiteY139" fmla="*/ 2324100 h 3680460"/>
                  <a:gd name="connsiteX140" fmla="*/ 2857500 w 3025140"/>
                  <a:gd name="connsiteY140" fmla="*/ 2247900 h 3680460"/>
                  <a:gd name="connsiteX141" fmla="*/ 2872740 w 3025140"/>
                  <a:gd name="connsiteY141" fmla="*/ 2194560 h 3680460"/>
                  <a:gd name="connsiteX142" fmla="*/ 2887980 w 3025140"/>
                  <a:gd name="connsiteY142" fmla="*/ 2148840 h 3680460"/>
                  <a:gd name="connsiteX143" fmla="*/ 2910840 w 3025140"/>
                  <a:gd name="connsiteY143" fmla="*/ 2087880 h 3680460"/>
                  <a:gd name="connsiteX144" fmla="*/ 2918460 w 3025140"/>
                  <a:gd name="connsiteY144" fmla="*/ 2049780 h 3680460"/>
                  <a:gd name="connsiteX145" fmla="*/ 2933700 w 3025140"/>
                  <a:gd name="connsiteY145" fmla="*/ 1844040 h 3680460"/>
                  <a:gd name="connsiteX146" fmla="*/ 2918460 w 3025140"/>
                  <a:gd name="connsiteY146" fmla="*/ 1470660 h 3680460"/>
                  <a:gd name="connsiteX147" fmla="*/ 2895600 w 3025140"/>
                  <a:gd name="connsiteY147" fmla="*/ 1371600 h 3680460"/>
                  <a:gd name="connsiteX148" fmla="*/ 2880360 w 3025140"/>
                  <a:gd name="connsiteY148" fmla="*/ 1341120 h 3680460"/>
                  <a:gd name="connsiteX149" fmla="*/ 2857500 w 3025140"/>
                  <a:gd name="connsiteY149" fmla="*/ 1272540 h 3680460"/>
                  <a:gd name="connsiteX150" fmla="*/ 2849880 w 3025140"/>
                  <a:gd name="connsiteY150" fmla="*/ 1234440 h 3680460"/>
                  <a:gd name="connsiteX151" fmla="*/ 2827020 w 3025140"/>
                  <a:gd name="connsiteY151" fmla="*/ 1196340 h 3680460"/>
                  <a:gd name="connsiteX152" fmla="*/ 2811780 w 3025140"/>
                  <a:gd name="connsiteY152" fmla="*/ 1165860 h 3680460"/>
                  <a:gd name="connsiteX153" fmla="*/ 2781300 w 3025140"/>
                  <a:gd name="connsiteY153" fmla="*/ 1127760 h 3680460"/>
                  <a:gd name="connsiteX154" fmla="*/ 2766060 w 3025140"/>
                  <a:gd name="connsiteY154" fmla="*/ 1089660 h 3680460"/>
                  <a:gd name="connsiteX155" fmla="*/ 2735580 w 3025140"/>
                  <a:gd name="connsiteY155" fmla="*/ 1043940 h 3680460"/>
                  <a:gd name="connsiteX156" fmla="*/ 2727960 w 3025140"/>
                  <a:gd name="connsiteY156" fmla="*/ 1021080 h 3680460"/>
                  <a:gd name="connsiteX157" fmla="*/ 2682240 w 3025140"/>
                  <a:gd name="connsiteY157" fmla="*/ 937260 h 3680460"/>
                  <a:gd name="connsiteX158" fmla="*/ 2659380 w 3025140"/>
                  <a:gd name="connsiteY158" fmla="*/ 876300 h 3680460"/>
                  <a:gd name="connsiteX159" fmla="*/ 2644140 w 3025140"/>
                  <a:gd name="connsiteY159" fmla="*/ 845820 h 3680460"/>
                  <a:gd name="connsiteX160" fmla="*/ 2636520 w 3025140"/>
                  <a:gd name="connsiteY160" fmla="*/ 822960 h 3680460"/>
                  <a:gd name="connsiteX161" fmla="*/ 2621280 w 3025140"/>
                  <a:gd name="connsiteY161" fmla="*/ 800100 h 3680460"/>
                  <a:gd name="connsiteX162" fmla="*/ 2598420 w 3025140"/>
                  <a:gd name="connsiteY162" fmla="*/ 739140 h 3680460"/>
                  <a:gd name="connsiteX163" fmla="*/ 2458403 w 3025140"/>
                  <a:gd name="connsiteY163" fmla="*/ 621983 h 3680460"/>
                  <a:gd name="connsiteX164" fmla="*/ 2301240 w 3025140"/>
                  <a:gd name="connsiteY164" fmla="*/ 458152 h 3680460"/>
                  <a:gd name="connsiteX165" fmla="*/ 2237423 w 3025140"/>
                  <a:gd name="connsiteY165" fmla="*/ 406717 h 3680460"/>
                  <a:gd name="connsiteX166" fmla="*/ 2103120 w 3025140"/>
                  <a:gd name="connsiteY166" fmla="*/ 312420 h 3680460"/>
                  <a:gd name="connsiteX167" fmla="*/ 2042160 w 3025140"/>
                  <a:gd name="connsiteY167" fmla="*/ 266700 h 3680460"/>
                  <a:gd name="connsiteX168" fmla="*/ 2004060 w 3025140"/>
                  <a:gd name="connsiteY168" fmla="*/ 251460 h 3680460"/>
                  <a:gd name="connsiteX169" fmla="*/ 1958340 w 3025140"/>
                  <a:gd name="connsiteY169" fmla="*/ 220980 h 3680460"/>
                  <a:gd name="connsiteX170" fmla="*/ 1897380 w 3025140"/>
                  <a:gd name="connsiteY170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25040 w 3025140"/>
                  <a:gd name="connsiteY10" fmla="*/ 160020 h 3680460"/>
                  <a:gd name="connsiteX11" fmla="*/ 2286000 w 3025140"/>
                  <a:gd name="connsiteY11" fmla="*/ 190500 h 3680460"/>
                  <a:gd name="connsiteX12" fmla="*/ 2331720 w 3025140"/>
                  <a:gd name="connsiteY12" fmla="*/ 220980 h 3680460"/>
                  <a:gd name="connsiteX13" fmla="*/ 2385060 w 3025140"/>
                  <a:gd name="connsiteY13" fmla="*/ 266700 h 3680460"/>
                  <a:gd name="connsiteX14" fmla="*/ 2415540 w 3025140"/>
                  <a:gd name="connsiteY14" fmla="*/ 289560 h 3680460"/>
                  <a:gd name="connsiteX15" fmla="*/ 2461260 w 3025140"/>
                  <a:gd name="connsiteY15" fmla="*/ 320040 h 3680460"/>
                  <a:gd name="connsiteX16" fmla="*/ 2537460 w 3025140"/>
                  <a:gd name="connsiteY16" fmla="*/ 426720 h 3680460"/>
                  <a:gd name="connsiteX17" fmla="*/ 2552700 w 3025140"/>
                  <a:gd name="connsiteY17" fmla="*/ 449580 h 3680460"/>
                  <a:gd name="connsiteX18" fmla="*/ 2575560 w 3025140"/>
                  <a:gd name="connsiteY18" fmla="*/ 487680 h 3680460"/>
                  <a:gd name="connsiteX19" fmla="*/ 2621280 w 3025140"/>
                  <a:gd name="connsiteY19" fmla="*/ 548640 h 3680460"/>
                  <a:gd name="connsiteX20" fmla="*/ 2674620 w 3025140"/>
                  <a:gd name="connsiteY20" fmla="*/ 609600 h 3680460"/>
                  <a:gd name="connsiteX21" fmla="*/ 2727960 w 3025140"/>
                  <a:gd name="connsiteY21" fmla="*/ 678180 h 3680460"/>
                  <a:gd name="connsiteX22" fmla="*/ 2727960 w 3025140"/>
                  <a:gd name="connsiteY22" fmla="*/ 678180 h 3680460"/>
                  <a:gd name="connsiteX23" fmla="*/ 2766060 w 3025140"/>
                  <a:gd name="connsiteY23" fmla="*/ 754380 h 3680460"/>
                  <a:gd name="connsiteX24" fmla="*/ 2819400 w 3025140"/>
                  <a:gd name="connsiteY24" fmla="*/ 830580 h 3680460"/>
                  <a:gd name="connsiteX25" fmla="*/ 2834640 w 3025140"/>
                  <a:gd name="connsiteY25" fmla="*/ 853440 h 3680460"/>
                  <a:gd name="connsiteX26" fmla="*/ 2849880 w 3025140"/>
                  <a:gd name="connsiteY26" fmla="*/ 883920 h 3680460"/>
                  <a:gd name="connsiteX27" fmla="*/ 2880360 w 3025140"/>
                  <a:gd name="connsiteY27" fmla="*/ 922020 h 3680460"/>
                  <a:gd name="connsiteX28" fmla="*/ 2887980 w 3025140"/>
                  <a:gd name="connsiteY28" fmla="*/ 944880 h 3680460"/>
                  <a:gd name="connsiteX29" fmla="*/ 2903220 w 3025140"/>
                  <a:gd name="connsiteY29" fmla="*/ 967740 h 3680460"/>
                  <a:gd name="connsiteX30" fmla="*/ 2918460 w 3025140"/>
                  <a:gd name="connsiteY30" fmla="*/ 1036320 h 3680460"/>
                  <a:gd name="connsiteX31" fmla="*/ 2933700 w 3025140"/>
                  <a:gd name="connsiteY31" fmla="*/ 1074420 h 3680460"/>
                  <a:gd name="connsiteX32" fmla="*/ 2948940 w 3025140"/>
                  <a:gd name="connsiteY32" fmla="*/ 1120140 h 3680460"/>
                  <a:gd name="connsiteX33" fmla="*/ 2964180 w 3025140"/>
                  <a:gd name="connsiteY33" fmla="*/ 1203960 h 3680460"/>
                  <a:gd name="connsiteX34" fmla="*/ 2979420 w 3025140"/>
                  <a:gd name="connsiteY34" fmla="*/ 1264920 h 3680460"/>
                  <a:gd name="connsiteX35" fmla="*/ 2987040 w 3025140"/>
                  <a:gd name="connsiteY35" fmla="*/ 1318260 h 3680460"/>
                  <a:gd name="connsiteX36" fmla="*/ 2994660 w 3025140"/>
                  <a:gd name="connsiteY36" fmla="*/ 1348740 h 3680460"/>
                  <a:gd name="connsiteX37" fmla="*/ 3009900 w 3025140"/>
                  <a:gd name="connsiteY37" fmla="*/ 1432560 h 3680460"/>
                  <a:gd name="connsiteX38" fmla="*/ 3017520 w 3025140"/>
                  <a:gd name="connsiteY38" fmla="*/ 1684020 h 3680460"/>
                  <a:gd name="connsiteX39" fmla="*/ 3025140 w 3025140"/>
                  <a:gd name="connsiteY39" fmla="*/ 1744980 h 3680460"/>
                  <a:gd name="connsiteX40" fmla="*/ 3017520 w 3025140"/>
                  <a:gd name="connsiteY40" fmla="*/ 2095500 h 3680460"/>
                  <a:gd name="connsiteX41" fmla="*/ 3009900 w 3025140"/>
                  <a:gd name="connsiteY41" fmla="*/ 2125980 h 3680460"/>
                  <a:gd name="connsiteX42" fmla="*/ 2979420 w 3025140"/>
                  <a:gd name="connsiteY42" fmla="*/ 2194560 h 3680460"/>
                  <a:gd name="connsiteX43" fmla="*/ 2956560 w 3025140"/>
                  <a:gd name="connsiteY43" fmla="*/ 2247900 h 3680460"/>
                  <a:gd name="connsiteX44" fmla="*/ 2941320 w 3025140"/>
                  <a:gd name="connsiteY44" fmla="*/ 2324100 h 3680460"/>
                  <a:gd name="connsiteX45" fmla="*/ 2926080 w 3025140"/>
                  <a:gd name="connsiteY45" fmla="*/ 2392680 h 3680460"/>
                  <a:gd name="connsiteX46" fmla="*/ 2918460 w 3025140"/>
                  <a:gd name="connsiteY46" fmla="*/ 2415540 h 3680460"/>
                  <a:gd name="connsiteX47" fmla="*/ 2895600 w 3025140"/>
                  <a:gd name="connsiteY47" fmla="*/ 2484120 h 3680460"/>
                  <a:gd name="connsiteX48" fmla="*/ 2872740 w 3025140"/>
                  <a:gd name="connsiteY48" fmla="*/ 2583180 h 3680460"/>
                  <a:gd name="connsiteX49" fmla="*/ 2857500 w 3025140"/>
                  <a:gd name="connsiteY49" fmla="*/ 2606040 h 3680460"/>
                  <a:gd name="connsiteX50" fmla="*/ 2834640 w 3025140"/>
                  <a:gd name="connsiteY50" fmla="*/ 2689860 h 3680460"/>
                  <a:gd name="connsiteX51" fmla="*/ 2811780 w 3025140"/>
                  <a:gd name="connsiteY51" fmla="*/ 2750820 h 3680460"/>
                  <a:gd name="connsiteX52" fmla="*/ 2788920 w 3025140"/>
                  <a:gd name="connsiteY52" fmla="*/ 2781300 h 3680460"/>
                  <a:gd name="connsiteX53" fmla="*/ 2781300 w 3025140"/>
                  <a:gd name="connsiteY53" fmla="*/ 2804160 h 3680460"/>
                  <a:gd name="connsiteX54" fmla="*/ 2743200 w 3025140"/>
                  <a:gd name="connsiteY54" fmla="*/ 2865120 h 3680460"/>
                  <a:gd name="connsiteX55" fmla="*/ 2712720 w 3025140"/>
                  <a:gd name="connsiteY55" fmla="*/ 2903220 h 3680460"/>
                  <a:gd name="connsiteX56" fmla="*/ 2697480 w 3025140"/>
                  <a:gd name="connsiteY56" fmla="*/ 2933700 h 3680460"/>
                  <a:gd name="connsiteX57" fmla="*/ 2674620 w 3025140"/>
                  <a:gd name="connsiteY57" fmla="*/ 2964180 h 3680460"/>
                  <a:gd name="connsiteX58" fmla="*/ 2644140 w 3025140"/>
                  <a:gd name="connsiteY58" fmla="*/ 3009900 h 3680460"/>
                  <a:gd name="connsiteX59" fmla="*/ 2598420 w 3025140"/>
                  <a:gd name="connsiteY59" fmla="*/ 3055620 h 3680460"/>
                  <a:gd name="connsiteX60" fmla="*/ 2575560 w 3025140"/>
                  <a:gd name="connsiteY60" fmla="*/ 3078480 h 3680460"/>
                  <a:gd name="connsiteX61" fmla="*/ 2476500 w 3025140"/>
                  <a:gd name="connsiteY61" fmla="*/ 3169920 h 3680460"/>
                  <a:gd name="connsiteX62" fmla="*/ 2377440 w 3025140"/>
                  <a:gd name="connsiteY62" fmla="*/ 3223260 h 3680460"/>
                  <a:gd name="connsiteX63" fmla="*/ 2293620 w 3025140"/>
                  <a:gd name="connsiteY63" fmla="*/ 3284220 h 3680460"/>
                  <a:gd name="connsiteX64" fmla="*/ 2240280 w 3025140"/>
                  <a:gd name="connsiteY64" fmla="*/ 3314700 h 3680460"/>
                  <a:gd name="connsiteX65" fmla="*/ 2225040 w 3025140"/>
                  <a:gd name="connsiteY65" fmla="*/ 3337560 h 3680460"/>
                  <a:gd name="connsiteX66" fmla="*/ 2141220 w 3025140"/>
                  <a:gd name="connsiteY66" fmla="*/ 3390900 h 3680460"/>
                  <a:gd name="connsiteX67" fmla="*/ 2110740 w 3025140"/>
                  <a:gd name="connsiteY67" fmla="*/ 3413760 h 3680460"/>
                  <a:gd name="connsiteX68" fmla="*/ 2072640 w 3025140"/>
                  <a:gd name="connsiteY68" fmla="*/ 3451860 h 3680460"/>
                  <a:gd name="connsiteX69" fmla="*/ 2019300 w 3025140"/>
                  <a:gd name="connsiteY69" fmla="*/ 3467100 h 3680460"/>
                  <a:gd name="connsiteX70" fmla="*/ 1874520 w 3025140"/>
                  <a:gd name="connsiteY70" fmla="*/ 3512820 h 3680460"/>
                  <a:gd name="connsiteX71" fmla="*/ 1828800 w 3025140"/>
                  <a:gd name="connsiteY71" fmla="*/ 3520440 h 3680460"/>
                  <a:gd name="connsiteX72" fmla="*/ 1722120 w 3025140"/>
                  <a:gd name="connsiteY72" fmla="*/ 3550920 h 3680460"/>
                  <a:gd name="connsiteX73" fmla="*/ 1600200 w 3025140"/>
                  <a:gd name="connsiteY73" fmla="*/ 3589020 h 3680460"/>
                  <a:gd name="connsiteX74" fmla="*/ 1569720 w 3025140"/>
                  <a:gd name="connsiteY74" fmla="*/ 3596640 h 3680460"/>
                  <a:gd name="connsiteX75" fmla="*/ 1546860 w 3025140"/>
                  <a:gd name="connsiteY75" fmla="*/ 3611880 h 3680460"/>
                  <a:gd name="connsiteX76" fmla="*/ 1463040 w 3025140"/>
                  <a:gd name="connsiteY76" fmla="*/ 3627120 h 3680460"/>
                  <a:gd name="connsiteX77" fmla="*/ 1333500 w 3025140"/>
                  <a:gd name="connsiteY77" fmla="*/ 3657600 h 3680460"/>
                  <a:gd name="connsiteX78" fmla="*/ 1203960 w 3025140"/>
                  <a:gd name="connsiteY78" fmla="*/ 3672840 h 3680460"/>
                  <a:gd name="connsiteX79" fmla="*/ 1165860 w 3025140"/>
                  <a:gd name="connsiteY79" fmla="*/ 3680460 h 3680460"/>
                  <a:gd name="connsiteX80" fmla="*/ 449580 w 3025140"/>
                  <a:gd name="connsiteY80" fmla="*/ 3672840 h 3680460"/>
                  <a:gd name="connsiteX81" fmla="*/ 426720 w 3025140"/>
                  <a:gd name="connsiteY81" fmla="*/ 3665220 h 3680460"/>
                  <a:gd name="connsiteX82" fmla="*/ 388620 w 3025140"/>
                  <a:gd name="connsiteY82" fmla="*/ 3657600 h 3680460"/>
                  <a:gd name="connsiteX83" fmla="*/ 335280 w 3025140"/>
                  <a:gd name="connsiteY83" fmla="*/ 3627120 h 3680460"/>
                  <a:gd name="connsiteX84" fmla="*/ 266700 w 3025140"/>
                  <a:gd name="connsiteY84" fmla="*/ 3604260 h 3680460"/>
                  <a:gd name="connsiteX85" fmla="*/ 243840 w 3025140"/>
                  <a:gd name="connsiteY85" fmla="*/ 3589020 h 3680460"/>
                  <a:gd name="connsiteX86" fmla="*/ 160020 w 3025140"/>
                  <a:gd name="connsiteY86" fmla="*/ 3558540 h 3680460"/>
                  <a:gd name="connsiteX87" fmla="*/ 137160 w 3025140"/>
                  <a:gd name="connsiteY87" fmla="*/ 3535680 h 3680460"/>
                  <a:gd name="connsiteX88" fmla="*/ 99060 w 3025140"/>
                  <a:gd name="connsiteY88" fmla="*/ 3520440 h 3680460"/>
                  <a:gd name="connsiteX89" fmla="*/ 83820 w 3025140"/>
                  <a:gd name="connsiteY89" fmla="*/ 3489960 h 3680460"/>
                  <a:gd name="connsiteX90" fmla="*/ 45720 w 3025140"/>
                  <a:gd name="connsiteY90" fmla="*/ 3436620 h 3680460"/>
                  <a:gd name="connsiteX91" fmla="*/ 0 w 3025140"/>
                  <a:gd name="connsiteY91" fmla="*/ 3352800 h 3680460"/>
                  <a:gd name="connsiteX92" fmla="*/ 30480 w 3025140"/>
                  <a:gd name="connsiteY92" fmla="*/ 3345180 h 3680460"/>
                  <a:gd name="connsiteX93" fmla="*/ 137160 w 3025140"/>
                  <a:gd name="connsiteY93" fmla="*/ 3360420 h 3680460"/>
                  <a:gd name="connsiteX94" fmla="*/ 167640 w 3025140"/>
                  <a:gd name="connsiteY94" fmla="*/ 3390900 h 3680460"/>
                  <a:gd name="connsiteX95" fmla="*/ 198120 w 3025140"/>
                  <a:gd name="connsiteY95" fmla="*/ 3406140 h 3680460"/>
                  <a:gd name="connsiteX96" fmla="*/ 350520 w 3025140"/>
                  <a:gd name="connsiteY96" fmla="*/ 3436620 h 3680460"/>
                  <a:gd name="connsiteX97" fmla="*/ 381000 w 3025140"/>
                  <a:gd name="connsiteY97" fmla="*/ 3451860 h 3680460"/>
                  <a:gd name="connsiteX98" fmla="*/ 449580 w 3025140"/>
                  <a:gd name="connsiteY98" fmla="*/ 3489960 h 3680460"/>
                  <a:gd name="connsiteX99" fmla="*/ 495300 w 3025140"/>
                  <a:gd name="connsiteY99" fmla="*/ 3520440 h 3680460"/>
                  <a:gd name="connsiteX100" fmla="*/ 525780 w 3025140"/>
                  <a:gd name="connsiteY100" fmla="*/ 3535680 h 3680460"/>
                  <a:gd name="connsiteX101" fmla="*/ 731520 w 3025140"/>
                  <a:gd name="connsiteY101" fmla="*/ 3558540 h 3680460"/>
                  <a:gd name="connsiteX102" fmla="*/ 1341120 w 3025140"/>
                  <a:gd name="connsiteY102" fmla="*/ 3550920 h 3680460"/>
                  <a:gd name="connsiteX103" fmla="*/ 1440180 w 3025140"/>
                  <a:gd name="connsiteY103" fmla="*/ 3528060 h 3680460"/>
                  <a:gd name="connsiteX104" fmla="*/ 1539240 w 3025140"/>
                  <a:gd name="connsiteY104" fmla="*/ 3520440 h 3680460"/>
                  <a:gd name="connsiteX105" fmla="*/ 1562100 w 3025140"/>
                  <a:gd name="connsiteY105" fmla="*/ 3512820 h 3680460"/>
                  <a:gd name="connsiteX106" fmla="*/ 1630680 w 3025140"/>
                  <a:gd name="connsiteY106" fmla="*/ 3497580 h 3680460"/>
                  <a:gd name="connsiteX107" fmla="*/ 1699260 w 3025140"/>
                  <a:gd name="connsiteY107" fmla="*/ 3474720 h 3680460"/>
                  <a:gd name="connsiteX108" fmla="*/ 1790700 w 3025140"/>
                  <a:gd name="connsiteY108" fmla="*/ 3451860 h 3680460"/>
                  <a:gd name="connsiteX109" fmla="*/ 1821180 w 3025140"/>
                  <a:gd name="connsiteY109" fmla="*/ 3444240 h 3680460"/>
                  <a:gd name="connsiteX110" fmla="*/ 1844040 w 3025140"/>
                  <a:gd name="connsiteY110" fmla="*/ 3429000 h 3680460"/>
                  <a:gd name="connsiteX111" fmla="*/ 1874520 w 3025140"/>
                  <a:gd name="connsiteY111" fmla="*/ 3421380 h 3680460"/>
                  <a:gd name="connsiteX112" fmla="*/ 1927860 w 3025140"/>
                  <a:gd name="connsiteY112" fmla="*/ 3398520 h 3680460"/>
                  <a:gd name="connsiteX113" fmla="*/ 1950720 w 3025140"/>
                  <a:gd name="connsiteY113" fmla="*/ 3390900 h 3680460"/>
                  <a:gd name="connsiteX114" fmla="*/ 2004060 w 3025140"/>
                  <a:gd name="connsiteY114" fmla="*/ 3360420 h 3680460"/>
                  <a:gd name="connsiteX115" fmla="*/ 2042160 w 3025140"/>
                  <a:gd name="connsiteY115" fmla="*/ 3352800 h 3680460"/>
                  <a:gd name="connsiteX116" fmla="*/ 2080260 w 3025140"/>
                  <a:gd name="connsiteY116" fmla="*/ 3337560 h 3680460"/>
                  <a:gd name="connsiteX117" fmla="*/ 2156460 w 3025140"/>
                  <a:gd name="connsiteY117" fmla="*/ 3299460 h 3680460"/>
                  <a:gd name="connsiteX118" fmla="*/ 2179320 w 3025140"/>
                  <a:gd name="connsiteY118" fmla="*/ 3284220 h 3680460"/>
                  <a:gd name="connsiteX119" fmla="*/ 2209800 w 3025140"/>
                  <a:gd name="connsiteY119" fmla="*/ 3276600 h 3680460"/>
                  <a:gd name="connsiteX120" fmla="*/ 2263140 w 3025140"/>
                  <a:gd name="connsiteY120" fmla="*/ 3230880 h 3680460"/>
                  <a:gd name="connsiteX121" fmla="*/ 2346960 w 3025140"/>
                  <a:gd name="connsiteY121" fmla="*/ 3154680 h 3680460"/>
                  <a:gd name="connsiteX122" fmla="*/ 2400300 w 3025140"/>
                  <a:gd name="connsiteY122" fmla="*/ 3070860 h 3680460"/>
                  <a:gd name="connsiteX123" fmla="*/ 2415540 w 3025140"/>
                  <a:gd name="connsiteY123" fmla="*/ 3048000 h 3680460"/>
                  <a:gd name="connsiteX124" fmla="*/ 2446020 w 3025140"/>
                  <a:gd name="connsiteY124" fmla="*/ 3032760 h 3680460"/>
                  <a:gd name="connsiteX125" fmla="*/ 2468880 w 3025140"/>
                  <a:gd name="connsiteY125" fmla="*/ 3009900 h 3680460"/>
                  <a:gd name="connsiteX126" fmla="*/ 2537460 w 3025140"/>
                  <a:gd name="connsiteY126" fmla="*/ 2926080 h 3680460"/>
                  <a:gd name="connsiteX127" fmla="*/ 2575560 w 3025140"/>
                  <a:gd name="connsiteY127" fmla="*/ 2880360 h 3680460"/>
                  <a:gd name="connsiteX128" fmla="*/ 2628900 w 3025140"/>
                  <a:gd name="connsiteY128" fmla="*/ 2811780 h 3680460"/>
                  <a:gd name="connsiteX129" fmla="*/ 2644140 w 3025140"/>
                  <a:gd name="connsiteY129" fmla="*/ 2773680 h 3680460"/>
                  <a:gd name="connsiteX130" fmla="*/ 2674620 w 3025140"/>
                  <a:gd name="connsiteY130" fmla="*/ 2727960 h 3680460"/>
                  <a:gd name="connsiteX131" fmla="*/ 2689860 w 3025140"/>
                  <a:gd name="connsiteY131" fmla="*/ 2705100 h 3680460"/>
                  <a:gd name="connsiteX132" fmla="*/ 2705100 w 3025140"/>
                  <a:gd name="connsiteY132" fmla="*/ 2667000 h 3680460"/>
                  <a:gd name="connsiteX133" fmla="*/ 2727960 w 3025140"/>
                  <a:gd name="connsiteY133" fmla="*/ 2621280 h 3680460"/>
                  <a:gd name="connsiteX134" fmla="*/ 2735580 w 3025140"/>
                  <a:gd name="connsiteY134" fmla="*/ 2590800 h 3680460"/>
                  <a:gd name="connsiteX135" fmla="*/ 2758440 w 3025140"/>
                  <a:gd name="connsiteY135" fmla="*/ 2545080 h 3680460"/>
                  <a:gd name="connsiteX136" fmla="*/ 2788920 w 3025140"/>
                  <a:gd name="connsiteY136" fmla="*/ 2484120 h 3680460"/>
                  <a:gd name="connsiteX137" fmla="*/ 2811780 w 3025140"/>
                  <a:gd name="connsiteY137" fmla="*/ 2407920 h 3680460"/>
                  <a:gd name="connsiteX138" fmla="*/ 2842260 w 3025140"/>
                  <a:gd name="connsiteY138" fmla="*/ 2324100 h 3680460"/>
                  <a:gd name="connsiteX139" fmla="*/ 2857500 w 3025140"/>
                  <a:gd name="connsiteY139" fmla="*/ 2247900 h 3680460"/>
                  <a:gd name="connsiteX140" fmla="*/ 2872740 w 3025140"/>
                  <a:gd name="connsiteY140" fmla="*/ 2194560 h 3680460"/>
                  <a:gd name="connsiteX141" fmla="*/ 2887980 w 3025140"/>
                  <a:gd name="connsiteY141" fmla="*/ 2148840 h 3680460"/>
                  <a:gd name="connsiteX142" fmla="*/ 2910840 w 3025140"/>
                  <a:gd name="connsiteY142" fmla="*/ 2087880 h 3680460"/>
                  <a:gd name="connsiteX143" fmla="*/ 2918460 w 3025140"/>
                  <a:gd name="connsiteY143" fmla="*/ 2049780 h 3680460"/>
                  <a:gd name="connsiteX144" fmla="*/ 2933700 w 3025140"/>
                  <a:gd name="connsiteY144" fmla="*/ 1844040 h 3680460"/>
                  <a:gd name="connsiteX145" fmla="*/ 2918460 w 3025140"/>
                  <a:gd name="connsiteY145" fmla="*/ 1470660 h 3680460"/>
                  <a:gd name="connsiteX146" fmla="*/ 2895600 w 3025140"/>
                  <a:gd name="connsiteY146" fmla="*/ 1371600 h 3680460"/>
                  <a:gd name="connsiteX147" fmla="*/ 2880360 w 3025140"/>
                  <a:gd name="connsiteY147" fmla="*/ 1341120 h 3680460"/>
                  <a:gd name="connsiteX148" fmla="*/ 2857500 w 3025140"/>
                  <a:gd name="connsiteY148" fmla="*/ 1272540 h 3680460"/>
                  <a:gd name="connsiteX149" fmla="*/ 2849880 w 3025140"/>
                  <a:gd name="connsiteY149" fmla="*/ 1234440 h 3680460"/>
                  <a:gd name="connsiteX150" fmla="*/ 2827020 w 3025140"/>
                  <a:gd name="connsiteY150" fmla="*/ 1196340 h 3680460"/>
                  <a:gd name="connsiteX151" fmla="*/ 2811780 w 3025140"/>
                  <a:gd name="connsiteY151" fmla="*/ 1165860 h 3680460"/>
                  <a:gd name="connsiteX152" fmla="*/ 2781300 w 3025140"/>
                  <a:gd name="connsiteY152" fmla="*/ 1127760 h 3680460"/>
                  <a:gd name="connsiteX153" fmla="*/ 2766060 w 3025140"/>
                  <a:gd name="connsiteY153" fmla="*/ 1089660 h 3680460"/>
                  <a:gd name="connsiteX154" fmla="*/ 2735580 w 3025140"/>
                  <a:gd name="connsiteY154" fmla="*/ 1043940 h 3680460"/>
                  <a:gd name="connsiteX155" fmla="*/ 2727960 w 3025140"/>
                  <a:gd name="connsiteY155" fmla="*/ 1021080 h 3680460"/>
                  <a:gd name="connsiteX156" fmla="*/ 2682240 w 3025140"/>
                  <a:gd name="connsiteY156" fmla="*/ 937260 h 3680460"/>
                  <a:gd name="connsiteX157" fmla="*/ 2659380 w 3025140"/>
                  <a:gd name="connsiteY157" fmla="*/ 876300 h 3680460"/>
                  <a:gd name="connsiteX158" fmla="*/ 2644140 w 3025140"/>
                  <a:gd name="connsiteY158" fmla="*/ 845820 h 3680460"/>
                  <a:gd name="connsiteX159" fmla="*/ 2636520 w 3025140"/>
                  <a:gd name="connsiteY159" fmla="*/ 822960 h 3680460"/>
                  <a:gd name="connsiteX160" fmla="*/ 2621280 w 3025140"/>
                  <a:gd name="connsiteY160" fmla="*/ 800100 h 3680460"/>
                  <a:gd name="connsiteX161" fmla="*/ 2598420 w 3025140"/>
                  <a:gd name="connsiteY161" fmla="*/ 739140 h 3680460"/>
                  <a:gd name="connsiteX162" fmla="*/ 2458403 w 3025140"/>
                  <a:gd name="connsiteY162" fmla="*/ 621983 h 3680460"/>
                  <a:gd name="connsiteX163" fmla="*/ 2301240 w 3025140"/>
                  <a:gd name="connsiteY163" fmla="*/ 458152 h 3680460"/>
                  <a:gd name="connsiteX164" fmla="*/ 2237423 w 3025140"/>
                  <a:gd name="connsiteY164" fmla="*/ 406717 h 3680460"/>
                  <a:gd name="connsiteX165" fmla="*/ 2103120 w 3025140"/>
                  <a:gd name="connsiteY165" fmla="*/ 312420 h 3680460"/>
                  <a:gd name="connsiteX166" fmla="*/ 2042160 w 3025140"/>
                  <a:gd name="connsiteY166" fmla="*/ 266700 h 3680460"/>
                  <a:gd name="connsiteX167" fmla="*/ 2004060 w 3025140"/>
                  <a:gd name="connsiteY167" fmla="*/ 251460 h 3680460"/>
                  <a:gd name="connsiteX168" fmla="*/ 1958340 w 3025140"/>
                  <a:gd name="connsiteY168" fmla="*/ 220980 h 3680460"/>
                  <a:gd name="connsiteX169" fmla="*/ 1897380 w 3025140"/>
                  <a:gd name="connsiteY169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415540 w 3025140"/>
                  <a:gd name="connsiteY13" fmla="*/ 289560 h 3680460"/>
                  <a:gd name="connsiteX14" fmla="*/ 2461260 w 3025140"/>
                  <a:gd name="connsiteY14" fmla="*/ 320040 h 3680460"/>
                  <a:gd name="connsiteX15" fmla="*/ 2537460 w 3025140"/>
                  <a:gd name="connsiteY15" fmla="*/ 426720 h 3680460"/>
                  <a:gd name="connsiteX16" fmla="*/ 2552700 w 3025140"/>
                  <a:gd name="connsiteY16" fmla="*/ 449580 h 3680460"/>
                  <a:gd name="connsiteX17" fmla="*/ 2575560 w 3025140"/>
                  <a:gd name="connsiteY17" fmla="*/ 487680 h 3680460"/>
                  <a:gd name="connsiteX18" fmla="*/ 2621280 w 3025140"/>
                  <a:gd name="connsiteY18" fmla="*/ 548640 h 3680460"/>
                  <a:gd name="connsiteX19" fmla="*/ 2674620 w 3025140"/>
                  <a:gd name="connsiteY19" fmla="*/ 609600 h 3680460"/>
                  <a:gd name="connsiteX20" fmla="*/ 2727960 w 3025140"/>
                  <a:gd name="connsiteY20" fmla="*/ 678180 h 3680460"/>
                  <a:gd name="connsiteX21" fmla="*/ 2727960 w 3025140"/>
                  <a:gd name="connsiteY21" fmla="*/ 678180 h 3680460"/>
                  <a:gd name="connsiteX22" fmla="*/ 2766060 w 3025140"/>
                  <a:gd name="connsiteY22" fmla="*/ 754380 h 3680460"/>
                  <a:gd name="connsiteX23" fmla="*/ 2819400 w 3025140"/>
                  <a:gd name="connsiteY23" fmla="*/ 830580 h 3680460"/>
                  <a:gd name="connsiteX24" fmla="*/ 2834640 w 3025140"/>
                  <a:gd name="connsiteY24" fmla="*/ 853440 h 3680460"/>
                  <a:gd name="connsiteX25" fmla="*/ 2849880 w 3025140"/>
                  <a:gd name="connsiteY25" fmla="*/ 883920 h 3680460"/>
                  <a:gd name="connsiteX26" fmla="*/ 2880360 w 3025140"/>
                  <a:gd name="connsiteY26" fmla="*/ 922020 h 3680460"/>
                  <a:gd name="connsiteX27" fmla="*/ 2887980 w 3025140"/>
                  <a:gd name="connsiteY27" fmla="*/ 944880 h 3680460"/>
                  <a:gd name="connsiteX28" fmla="*/ 2903220 w 3025140"/>
                  <a:gd name="connsiteY28" fmla="*/ 967740 h 3680460"/>
                  <a:gd name="connsiteX29" fmla="*/ 2918460 w 3025140"/>
                  <a:gd name="connsiteY29" fmla="*/ 1036320 h 3680460"/>
                  <a:gd name="connsiteX30" fmla="*/ 2933700 w 3025140"/>
                  <a:gd name="connsiteY30" fmla="*/ 1074420 h 3680460"/>
                  <a:gd name="connsiteX31" fmla="*/ 2948940 w 3025140"/>
                  <a:gd name="connsiteY31" fmla="*/ 1120140 h 3680460"/>
                  <a:gd name="connsiteX32" fmla="*/ 2964180 w 3025140"/>
                  <a:gd name="connsiteY32" fmla="*/ 1203960 h 3680460"/>
                  <a:gd name="connsiteX33" fmla="*/ 2979420 w 3025140"/>
                  <a:gd name="connsiteY33" fmla="*/ 1264920 h 3680460"/>
                  <a:gd name="connsiteX34" fmla="*/ 2987040 w 3025140"/>
                  <a:gd name="connsiteY34" fmla="*/ 1318260 h 3680460"/>
                  <a:gd name="connsiteX35" fmla="*/ 2994660 w 3025140"/>
                  <a:gd name="connsiteY35" fmla="*/ 1348740 h 3680460"/>
                  <a:gd name="connsiteX36" fmla="*/ 3009900 w 3025140"/>
                  <a:gd name="connsiteY36" fmla="*/ 1432560 h 3680460"/>
                  <a:gd name="connsiteX37" fmla="*/ 3017520 w 3025140"/>
                  <a:gd name="connsiteY37" fmla="*/ 1684020 h 3680460"/>
                  <a:gd name="connsiteX38" fmla="*/ 3025140 w 3025140"/>
                  <a:gd name="connsiteY38" fmla="*/ 1744980 h 3680460"/>
                  <a:gd name="connsiteX39" fmla="*/ 3017520 w 3025140"/>
                  <a:gd name="connsiteY39" fmla="*/ 2095500 h 3680460"/>
                  <a:gd name="connsiteX40" fmla="*/ 3009900 w 3025140"/>
                  <a:gd name="connsiteY40" fmla="*/ 2125980 h 3680460"/>
                  <a:gd name="connsiteX41" fmla="*/ 2979420 w 3025140"/>
                  <a:gd name="connsiteY41" fmla="*/ 2194560 h 3680460"/>
                  <a:gd name="connsiteX42" fmla="*/ 2956560 w 3025140"/>
                  <a:gd name="connsiteY42" fmla="*/ 2247900 h 3680460"/>
                  <a:gd name="connsiteX43" fmla="*/ 2941320 w 3025140"/>
                  <a:gd name="connsiteY43" fmla="*/ 2324100 h 3680460"/>
                  <a:gd name="connsiteX44" fmla="*/ 2926080 w 3025140"/>
                  <a:gd name="connsiteY44" fmla="*/ 2392680 h 3680460"/>
                  <a:gd name="connsiteX45" fmla="*/ 2918460 w 3025140"/>
                  <a:gd name="connsiteY45" fmla="*/ 2415540 h 3680460"/>
                  <a:gd name="connsiteX46" fmla="*/ 2895600 w 3025140"/>
                  <a:gd name="connsiteY46" fmla="*/ 2484120 h 3680460"/>
                  <a:gd name="connsiteX47" fmla="*/ 2872740 w 3025140"/>
                  <a:gd name="connsiteY47" fmla="*/ 2583180 h 3680460"/>
                  <a:gd name="connsiteX48" fmla="*/ 2857500 w 3025140"/>
                  <a:gd name="connsiteY48" fmla="*/ 2606040 h 3680460"/>
                  <a:gd name="connsiteX49" fmla="*/ 2834640 w 3025140"/>
                  <a:gd name="connsiteY49" fmla="*/ 2689860 h 3680460"/>
                  <a:gd name="connsiteX50" fmla="*/ 2811780 w 3025140"/>
                  <a:gd name="connsiteY50" fmla="*/ 2750820 h 3680460"/>
                  <a:gd name="connsiteX51" fmla="*/ 2788920 w 3025140"/>
                  <a:gd name="connsiteY51" fmla="*/ 2781300 h 3680460"/>
                  <a:gd name="connsiteX52" fmla="*/ 2781300 w 3025140"/>
                  <a:gd name="connsiteY52" fmla="*/ 2804160 h 3680460"/>
                  <a:gd name="connsiteX53" fmla="*/ 2743200 w 3025140"/>
                  <a:gd name="connsiteY53" fmla="*/ 2865120 h 3680460"/>
                  <a:gd name="connsiteX54" fmla="*/ 2712720 w 3025140"/>
                  <a:gd name="connsiteY54" fmla="*/ 2903220 h 3680460"/>
                  <a:gd name="connsiteX55" fmla="*/ 2697480 w 3025140"/>
                  <a:gd name="connsiteY55" fmla="*/ 2933700 h 3680460"/>
                  <a:gd name="connsiteX56" fmla="*/ 2674620 w 3025140"/>
                  <a:gd name="connsiteY56" fmla="*/ 2964180 h 3680460"/>
                  <a:gd name="connsiteX57" fmla="*/ 2644140 w 3025140"/>
                  <a:gd name="connsiteY57" fmla="*/ 3009900 h 3680460"/>
                  <a:gd name="connsiteX58" fmla="*/ 2598420 w 3025140"/>
                  <a:gd name="connsiteY58" fmla="*/ 3055620 h 3680460"/>
                  <a:gd name="connsiteX59" fmla="*/ 2575560 w 3025140"/>
                  <a:gd name="connsiteY59" fmla="*/ 3078480 h 3680460"/>
                  <a:gd name="connsiteX60" fmla="*/ 2476500 w 3025140"/>
                  <a:gd name="connsiteY60" fmla="*/ 3169920 h 3680460"/>
                  <a:gd name="connsiteX61" fmla="*/ 2377440 w 3025140"/>
                  <a:gd name="connsiteY61" fmla="*/ 3223260 h 3680460"/>
                  <a:gd name="connsiteX62" fmla="*/ 2293620 w 3025140"/>
                  <a:gd name="connsiteY62" fmla="*/ 3284220 h 3680460"/>
                  <a:gd name="connsiteX63" fmla="*/ 2240280 w 3025140"/>
                  <a:gd name="connsiteY63" fmla="*/ 3314700 h 3680460"/>
                  <a:gd name="connsiteX64" fmla="*/ 2225040 w 3025140"/>
                  <a:gd name="connsiteY64" fmla="*/ 3337560 h 3680460"/>
                  <a:gd name="connsiteX65" fmla="*/ 2141220 w 3025140"/>
                  <a:gd name="connsiteY65" fmla="*/ 3390900 h 3680460"/>
                  <a:gd name="connsiteX66" fmla="*/ 2110740 w 3025140"/>
                  <a:gd name="connsiteY66" fmla="*/ 3413760 h 3680460"/>
                  <a:gd name="connsiteX67" fmla="*/ 2072640 w 3025140"/>
                  <a:gd name="connsiteY67" fmla="*/ 3451860 h 3680460"/>
                  <a:gd name="connsiteX68" fmla="*/ 2019300 w 3025140"/>
                  <a:gd name="connsiteY68" fmla="*/ 3467100 h 3680460"/>
                  <a:gd name="connsiteX69" fmla="*/ 1874520 w 3025140"/>
                  <a:gd name="connsiteY69" fmla="*/ 3512820 h 3680460"/>
                  <a:gd name="connsiteX70" fmla="*/ 1828800 w 3025140"/>
                  <a:gd name="connsiteY70" fmla="*/ 3520440 h 3680460"/>
                  <a:gd name="connsiteX71" fmla="*/ 1722120 w 3025140"/>
                  <a:gd name="connsiteY71" fmla="*/ 3550920 h 3680460"/>
                  <a:gd name="connsiteX72" fmla="*/ 1600200 w 3025140"/>
                  <a:gd name="connsiteY72" fmla="*/ 3589020 h 3680460"/>
                  <a:gd name="connsiteX73" fmla="*/ 1569720 w 3025140"/>
                  <a:gd name="connsiteY73" fmla="*/ 3596640 h 3680460"/>
                  <a:gd name="connsiteX74" fmla="*/ 1546860 w 3025140"/>
                  <a:gd name="connsiteY74" fmla="*/ 3611880 h 3680460"/>
                  <a:gd name="connsiteX75" fmla="*/ 1463040 w 3025140"/>
                  <a:gd name="connsiteY75" fmla="*/ 3627120 h 3680460"/>
                  <a:gd name="connsiteX76" fmla="*/ 1333500 w 3025140"/>
                  <a:gd name="connsiteY76" fmla="*/ 3657600 h 3680460"/>
                  <a:gd name="connsiteX77" fmla="*/ 1203960 w 3025140"/>
                  <a:gd name="connsiteY77" fmla="*/ 3672840 h 3680460"/>
                  <a:gd name="connsiteX78" fmla="*/ 1165860 w 3025140"/>
                  <a:gd name="connsiteY78" fmla="*/ 3680460 h 3680460"/>
                  <a:gd name="connsiteX79" fmla="*/ 449580 w 3025140"/>
                  <a:gd name="connsiteY79" fmla="*/ 3672840 h 3680460"/>
                  <a:gd name="connsiteX80" fmla="*/ 426720 w 3025140"/>
                  <a:gd name="connsiteY80" fmla="*/ 3665220 h 3680460"/>
                  <a:gd name="connsiteX81" fmla="*/ 388620 w 3025140"/>
                  <a:gd name="connsiteY81" fmla="*/ 3657600 h 3680460"/>
                  <a:gd name="connsiteX82" fmla="*/ 335280 w 3025140"/>
                  <a:gd name="connsiteY82" fmla="*/ 3627120 h 3680460"/>
                  <a:gd name="connsiteX83" fmla="*/ 266700 w 3025140"/>
                  <a:gd name="connsiteY83" fmla="*/ 3604260 h 3680460"/>
                  <a:gd name="connsiteX84" fmla="*/ 243840 w 3025140"/>
                  <a:gd name="connsiteY84" fmla="*/ 3589020 h 3680460"/>
                  <a:gd name="connsiteX85" fmla="*/ 160020 w 3025140"/>
                  <a:gd name="connsiteY85" fmla="*/ 3558540 h 3680460"/>
                  <a:gd name="connsiteX86" fmla="*/ 137160 w 3025140"/>
                  <a:gd name="connsiteY86" fmla="*/ 3535680 h 3680460"/>
                  <a:gd name="connsiteX87" fmla="*/ 99060 w 3025140"/>
                  <a:gd name="connsiteY87" fmla="*/ 3520440 h 3680460"/>
                  <a:gd name="connsiteX88" fmla="*/ 83820 w 3025140"/>
                  <a:gd name="connsiteY88" fmla="*/ 3489960 h 3680460"/>
                  <a:gd name="connsiteX89" fmla="*/ 45720 w 3025140"/>
                  <a:gd name="connsiteY89" fmla="*/ 3436620 h 3680460"/>
                  <a:gd name="connsiteX90" fmla="*/ 0 w 3025140"/>
                  <a:gd name="connsiteY90" fmla="*/ 3352800 h 3680460"/>
                  <a:gd name="connsiteX91" fmla="*/ 30480 w 3025140"/>
                  <a:gd name="connsiteY91" fmla="*/ 3345180 h 3680460"/>
                  <a:gd name="connsiteX92" fmla="*/ 137160 w 3025140"/>
                  <a:gd name="connsiteY92" fmla="*/ 3360420 h 3680460"/>
                  <a:gd name="connsiteX93" fmla="*/ 167640 w 3025140"/>
                  <a:gd name="connsiteY93" fmla="*/ 3390900 h 3680460"/>
                  <a:gd name="connsiteX94" fmla="*/ 198120 w 3025140"/>
                  <a:gd name="connsiteY94" fmla="*/ 3406140 h 3680460"/>
                  <a:gd name="connsiteX95" fmla="*/ 350520 w 3025140"/>
                  <a:gd name="connsiteY95" fmla="*/ 3436620 h 3680460"/>
                  <a:gd name="connsiteX96" fmla="*/ 381000 w 3025140"/>
                  <a:gd name="connsiteY96" fmla="*/ 3451860 h 3680460"/>
                  <a:gd name="connsiteX97" fmla="*/ 449580 w 3025140"/>
                  <a:gd name="connsiteY97" fmla="*/ 3489960 h 3680460"/>
                  <a:gd name="connsiteX98" fmla="*/ 495300 w 3025140"/>
                  <a:gd name="connsiteY98" fmla="*/ 3520440 h 3680460"/>
                  <a:gd name="connsiteX99" fmla="*/ 525780 w 3025140"/>
                  <a:gd name="connsiteY99" fmla="*/ 3535680 h 3680460"/>
                  <a:gd name="connsiteX100" fmla="*/ 731520 w 3025140"/>
                  <a:gd name="connsiteY100" fmla="*/ 3558540 h 3680460"/>
                  <a:gd name="connsiteX101" fmla="*/ 1341120 w 3025140"/>
                  <a:gd name="connsiteY101" fmla="*/ 3550920 h 3680460"/>
                  <a:gd name="connsiteX102" fmla="*/ 1440180 w 3025140"/>
                  <a:gd name="connsiteY102" fmla="*/ 3528060 h 3680460"/>
                  <a:gd name="connsiteX103" fmla="*/ 1539240 w 3025140"/>
                  <a:gd name="connsiteY103" fmla="*/ 3520440 h 3680460"/>
                  <a:gd name="connsiteX104" fmla="*/ 1562100 w 3025140"/>
                  <a:gd name="connsiteY104" fmla="*/ 3512820 h 3680460"/>
                  <a:gd name="connsiteX105" fmla="*/ 1630680 w 3025140"/>
                  <a:gd name="connsiteY105" fmla="*/ 3497580 h 3680460"/>
                  <a:gd name="connsiteX106" fmla="*/ 1699260 w 3025140"/>
                  <a:gd name="connsiteY106" fmla="*/ 3474720 h 3680460"/>
                  <a:gd name="connsiteX107" fmla="*/ 1790700 w 3025140"/>
                  <a:gd name="connsiteY107" fmla="*/ 3451860 h 3680460"/>
                  <a:gd name="connsiteX108" fmla="*/ 1821180 w 3025140"/>
                  <a:gd name="connsiteY108" fmla="*/ 3444240 h 3680460"/>
                  <a:gd name="connsiteX109" fmla="*/ 1844040 w 3025140"/>
                  <a:gd name="connsiteY109" fmla="*/ 3429000 h 3680460"/>
                  <a:gd name="connsiteX110" fmla="*/ 1874520 w 3025140"/>
                  <a:gd name="connsiteY110" fmla="*/ 3421380 h 3680460"/>
                  <a:gd name="connsiteX111" fmla="*/ 1927860 w 3025140"/>
                  <a:gd name="connsiteY111" fmla="*/ 3398520 h 3680460"/>
                  <a:gd name="connsiteX112" fmla="*/ 1950720 w 3025140"/>
                  <a:gd name="connsiteY112" fmla="*/ 3390900 h 3680460"/>
                  <a:gd name="connsiteX113" fmla="*/ 2004060 w 3025140"/>
                  <a:gd name="connsiteY113" fmla="*/ 3360420 h 3680460"/>
                  <a:gd name="connsiteX114" fmla="*/ 2042160 w 3025140"/>
                  <a:gd name="connsiteY114" fmla="*/ 3352800 h 3680460"/>
                  <a:gd name="connsiteX115" fmla="*/ 2080260 w 3025140"/>
                  <a:gd name="connsiteY115" fmla="*/ 3337560 h 3680460"/>
                  <a:gd name="connsiteX116" fmla="*/ 2156460 w 3025140"/>
                  <a:gd name="connsiteY116" fmla="*/ 3299460 h 3680460"/>
                  <a:gd name="connsiteX117" fmla="*/ 2179320 w 3025140"/>
                  <a:gd name="connsiteY117" fmla="*/ 3284220 h 3680460"/>
                  <a:gd name="connsiteX118" fmla="*/ 2209800 w 3025140"/>
                  <a:gd name="connsiteY118" fmla="*/ 3276600 h 3680460"/>
                  <a:gd name="connsiteX119" fmla="*/ 2263140 w 3025140"/>
                  <a:gd name="connsiteY119" fmla="*/ 3230880 h 3680460"/>
                  <a:gd name="connsiteX120" fmla="*/ 2346960 w 3025140"/>
                  <a:gd name="connsiteY120" fmla="*/ 3154680 h 3680460"/>
                  <a:gd name="connsiteX121" fmla="*/ 2400300 w 3025140"/>
                  <a:gd name="connsiteY121" fmla="*/ 3070860 h 3680460"/>
                  <a:gd name="connsiteX122" fmla="*/ 2415540 w 3025140"/>
                  <a:gd name="connsiteY122" fmla="*/ 3048000 h 3680460"/>
                  <a:gd name="connsiteX123" fmla="*/ 2446020 w 3025140"/>
                  <a:gd name="connsiteY123" fmla="*/ 3032760 h 3680460"/>
                  <a:gd name="connsiteX124" fmla="*/ 2468880 w 3025140"/>
                  <a:gd name="connsiteY124" fmla="*/ 3009900 h 3680460"/>
                  <a:gd name="connsiteX125" fmla="*/ 2537460 w 3025140"/>
                  <a:gd name="connsiteY125" fmla="*/ 2926080 h 3680460"/>
                  <a:gd name="connsiteX126" fmla="*/ 2575560 w 3025140"/>
                  <a:gd name="connsiteY126" fmla="*/ 2880360 h 3680460"/>
                  <a:gd name="connsiteX127" fmla="*/ 2628900 w 3025140"/>
                  <a:gd name="connsiteY127" fmla="*/ 2811780 h 3680460"/>
                  <a:gd name="connsiteX128" fmla="*/ 2644140 w 3025140"/>
                  <a:gd name="connsiteY128" fmla="*/ 2773680 h 3680460"/>
                  <a:gd name="connsiteX129" fmla="*/ 2674620 w 3025140"/>
                  <a:gd name="connsiteY129" fmla="*/ 2727960 h 3680460"/>
                  <a:gd name="connsiteX130" fmla="*/ 2689860 w 3025140"/>
                  <a:gd name="connsiteY130" fmla="*/ 2705100 h 3680460"/>
                  <a:gd name="connsiteX131" fmla="*/ 2705100 w 3025140"/>
                  <a:gd name="connsiteY131" fmla="*/ 2667000 h 3680460"/>
                  <a:gd name="connsiteX132" fmla="*/ 2727960 w 3025140"/>
                  <a:gd name="connsiteY132" fmla="*/ 2621280 h 3680460"/>
                  <a:gd name="connsiteX133" fmla="*/ 2735580 w 3025140"/>
                  <a:gd name="connsiteY133" fmla="*/ 2590800 h 3680460"/>
                  <a:gd name="connsiteX134" fmla="*/ 2758440 w 3025140"/>
                  <a:gd name="connsiteY134" fmla="*/ 2545080 h 3680460"/>
                  <a:gd name="connsiteX135" fmla="*/ 2788920 w 3025140"/>
                  <a:gd name="connsiteY135" fmla="*/ 2484120 h 3680460"/>
                  <a:gd name="connsiteX136" fmla="*/ 2811780 w 3025140"/>
                  <a:gd name="connsiteY136" fmla="*/ 2407920 h 3680460"/>
                  <a:gd name="connsiteX137" fmla="*/ 2842260 w 3025140"/>
                  <a:gd name="connsiteY137" fmla="*/ 2324100 h 3680460"/>
                  <a:gd name="connsiteX138" fmla="*/ 2857500 w 3025140"/>
                  <a:gd name="connsiteY138" fmla="*/ 2247900 h 3680460"/>
                  <a:gd name="connsiteX139" fmla="*/ 2872740 w 3025140"/>
                  <a:gd name="connsiteY139" fmla="*/ 2194560 h 3680460"/>
                  <a:gd name="connsiteX140" fmla="*/ 2887980 w 3025140"/>
                  <a:gd name="connsiteY140" fmla="*/ 2148840 h 3680460"/>
                  <a:gd name="connsiteX141" fmla="*/ 2910840 w 3025140"/>
                  <a:gd name="connsiteY141" fmla="*/ 2087880 h 3680460"/>
                  <a:gd name="connsiteX142" fmla="*/ 2918460 w 3025140"/>
                  <a:gd name="connsiteY142" fmla="*/ 2049780 h 3680460"/>
                  <a:gd name="connsiteX143" fmla="*/ 2933700 w 3025140"/>
                  <a:gd name="connsiteY143" fmla="*/ 1844040 h 3680460"/>
                  <a:gd name="connsiteX144" fmla="*/ 2918460 w 3025140"/>
                  <a:gd name="connsiteY144" fmla="*/ 1470660 h 3680460"/>
                  <a:gd name="connsiteX145" fmla="*/ 2895600 w 3025140"/>
                  <a:gd name="connsiteY145" fmla="*/ 1371600 h 3680460"/>
                  <a:gd name="connsiteX146" fmla="*/ 2880360 w 3025140"/>
                  <a:gd name="connsiteY146" fmla="*/ 1341120 h 3680460"/>
                  <a:gd name="connsiteX147" fmla="*/ 2857500 w 3025140"/>
                  <a:gd name="connsiteY147" fmla="*/ 1272540 h 3680460"/>
                  <a:gd name="connsiteX148" fmla="*/ 2849880 w 3025140"/>
                  <a:gd name="connsiteY148" fmla="*/ 1234440 h 3680460"/>
                  <a:gd name="connsiteX149" fmla="*/ 2827020 w 3025140"/>
                  <a:gd name="connsiteY149" fmla="*/ 1196340 h 3680460"/>
                  <a:gd name="connsiteX150" fmla="*/ 2811780 w 3025140"/>
                  <a:gd name="connsiteY150" fmla="*/ 1165860 h 3680460"/>
                  <a:gd name="connsiteX151" fmla="*/ 2781300 w 3025140"/>
                  <a:gd name="connsiteY151" fmla="*/ 1127760 h 3680460"/>
                  <a:gd name="connsiteX152" fmla="*/ 2766060 w 3025140"/>
                  <a:gd name="connsiteY152" fmla="*/ 1089660 h 3680460"/>
                  <a:gd name="connsiteX153" fmla="*/ 2735580 w 3025140"/>
                  <a:gd name="connsiteY153" fmla="*/ 1043940 h 3680460"/>
                  <a:gd name="connsiteX154" fmla="*/ 2727960 w 3025140"/>
                  <a:gd name="connsiteY154" fmla="*/ 1021080 h 3680460"/>
                  <a:gd name="connsiteX155" fmla="*/ 2682240 w 3025140"/>
                  <a:gd name="connsiteY155" fmla="*/ 937260 h 3680460"/>
                  <a:gd name="connsiteX156" fmla="*/ 2659380 w 3025140"/>
                  <a:gd name="connsiteY156" fmla="*/ 876300 h 3680460"/>
                  <a:gd name="connsiteX157" fmla="*/ 2644140 w 3025140"/>
                  <a:gd name="connsiteY157" fmla="*/ 845820 h 3680460"/>
                  <a:gd name="connsiteX158" fmla="*/ 2636520 w 3025140"/>
                  <a:gd name="connsiteY158" fmla="*/ 822960 h 3680460"/>
                  <a:gd name="connsiteX159" fmla="*/ 2621280 w 3025140"/>
                  <a:gd name="connsiteY159" fmla="*/ 800100 h 3680460"/>
                  <a:gd name="connsiteX160" fmla="*/ 2598420 w 3025140"/>
                  <a:gd name="connsiteY160" fmla="*/ 739140 h 3680460"/>
                  <a:gd name="connsiteX161" fmla="*/ 2458403 w 3025140"/>
                  <a:gd name="connsiteY161" fmla="*/ 621983 h 3680460"/>
                  <a:gd name="connsiteX162" fmla="*/ 2301240 w 3025140"/>
                  <a:gd name="connsiteY162" fmla="*/ 458152 h 3680460"/>
                  <a:gd name="connsiteX163" fmla="*/ 2237423 w 3025140"/>
                  <a:gd name="connsiteY163" fmla="*/ 406717 h 3680460"/>
                  <a:gd name="connsiteX164" fmla="*/ 2103120 w 3025140"/>
                  <a:gd name="connsiteY164" fmla="*/ 312420 h 3680460"/>
                  <a:gd name="connsiteX165" fmla="*/ 2042160 w 3025140"/>
                  <a:gd name="connsiteY165" fmla="*/ 266700 h 3680460"/>
                  <a:gd name="connsiteX166" fmla="*/ 2004060 w 3025140"/>
                  <a:gd name="connsiteY166" fmla="*/ 251460 h 3680460"/>
                  <a:gd name="connsiteX167" fmla="*/ 1958340 w 3025140"/>
                  <a:gd name="connsiteY167" fmla="*/ 220980 h 3680460"/>
                  <a:gd name="connsiteX168" fmla="*/ 1897380 w 3025140"/>
                  <a:gd name="connsiteY168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461260 w 3025140"/>
                  <a:gd name="connsiteY13" fmla="*/ 320040 h 3680460"/>
                  <a:gd name="connsiteX14" fmla="*/ 2537460 w 3025140"/>
                  <a:gd name="connsiteY14" fmla="*/ 426720 h 3680460"/>
                  <a:gd name="connsiteX15" fmla="*/ 2552700 w 3025140"/>
                  <a:gd name="connsiteY15" fmla="*/ 449580 h 3680460"/>
                  <a:gd name="connsiteX16" fmla="*/ 2575560 w 3025140"/>
                  <a:gd name="connsiteY16" fmla="*/ 487680 h 3680460"/>
                  <a:gd name="connsiteX17" fmla="*/ 2621280 w 3025140"/>
                  <a:gd name="connsiteY17" fmla="*/ 548640 h 3680460"/>
                  <a:gd name="connsiteX18" fmla="*/ 2674620 w 3025140"/>
                  <a:gd name="connsiteY18" fmla="*/ 609600 h 3680460"/>
                  <a:gd name="connsiteX19" fmla="*/ 2727960 w 3025140"/>
                  <a:gd name="connsiteY19" fmla="*/ 678180 h 3680460"/>
                  <a:gd name="connsiteX20" fmla="*/ 2727960 w 3025140"/>
                  <a:gd name="connsiteY20" fmla="*/ 678180 h 3680460"/>
                  <a:gd name="connsiteX21" fmla="*/ 2766060 w 3025140"/>
                  <a:gd name="connsiteY21" fmla="*/ 754380 h 3680460"/>
                  <a:gd name="connsiteX22" fmla="*/ 2819400 w 3025140"/>
                  <a:gd name="connsiteY22" fmla="*/ 830580 h 3680460"/>
                  <a:gd name="connsiteX23" fmla="*/ 2834640 w 3025140"/>
                  <a:gd name="connsiteY23" fmla="*/ 853440 h 3680460"/>
                  <a:gd name="connsiteX24" fmla="*/ 2849880 w 3025140"/>
                  <a:gd name="connsiteY24" fmla="*/ 883920 h 3680460"/>
                  <a:gd name="connsiteX25" fmla="*/ 2880360 w 3025140"/>
                  <a:gd name="connsiteY25" fmla="*/ 922020 h 3680460"/>
                  <a:gd name="connsiteX26" fmla="*/ 2887980 w 3025140"/>
                  <a:gd name="connsiteY26" fmla="*/ 944880 h 3680460"/>
                  <a:gd name="connsiteX27" fmla="*/ 2903220 w 3025140"/>
                  <a:gd name="connsiteY27" fmla="*/ 967740 h 3680460"/>
                  <a:gd name="connsiteX28" fmla="*/ 2918460 w 3025140"/>
                  <a:gd name="connsiteY28" fmla="*/ 1036320 h 3680460"/>
                  <a:gd name="connsiteX29" fmla="*/ 2933700 w 3025140"/>
                  <a:gd name="connsiteY29" fmla="*/ 1074420 h 3680460"/>
                  <a:gd name="connsiteX30" fmla="*/ 2948940 w 3025140"/>
                  <a:gd name="connsiteY30" fmla="*/ 1120140 h 3680460"/>
                  <a:gd name="connsiteX31" fmla="*/ 2964180 w 3025140"/>
                  <a:gd name="connsiteY31" fmla="*/ 1203960 h 3680460"/>
                  <a:gd name="connsiteX32" fmla="*/ 2979420 w 3025140"/>
                  <a:gd name="connsiteY32" fmla="*/ 1264920 h 3680460"/>
                  <a:gd name="connsiteX33" fmla="*/ 2987040 w 3025140"/>
                  <a:gd name="connsiteY33" fmla="*/ 1318260 h 3680460"/>
                  <a:gd name="connsiteX34" fmla="*/ 2994660 w 3025140"/>
                  <a:gd name="connsiteY34" fmla="*/ 1348740 h 3680460"/>
                  <a:gd name="connsiteX35" fmla="*/ 3009900 w 3025140"/>
                  <a:gd name="connsiteY35" fmla="*/ 1432560 h 3680460"/>
                  <a:gd name="connsiteX36" fmla="*/ 3017520 w 3025140"/>
                  <a:gd name="connsiteY36" fmla="*/ 1684020 h 3680460"/>
                  <a:gd name="connsiteX37" fmla="*/ 3025140 w 3025140"/>
                  <a:gd name="connsiteY37" fmla="*/ 1744980 h 3680460"/>
                  <a:gd name="connsiteX38" fmla="*/ 3017520 w 3025140"/>
                  <a:gd name="connsiteY38" fmla="*/ 2095500 h 3680460"/>
                  <a:gd name="connsiteX39" fmla="*/ 3009900 w 3025140"/>
                  <a:gd name="connsiteY39" fmla="*/ 2125980 h 3680460"/>
                  <a:gd name="connsiteX40" fmla="*/ 2979420 w 3025140"/>
                  <a:gd name="connsiteY40" fmla="*/ 2194560 h 3680460"/>
                  <a:gd name="connsiteX41" fmla="*/ 2956560 w 3025140"/>
                  <a:gd name="connsiteY41" fmla="*/ 2247900 h 3680460"/>
                  <a:gd name="connsiteX42" fmla="*/ 2941320 w 3025140"/>
                  <a:gd name="connsiteY42" fmla="*/ 2324100 h 3680460"/>
                  <a:gd name="connsiteX43" fmla="*/ 2926080 w 3025140"/>
                  <a:gd name="connsiteY43" fmla="*/ 2392680 h 3680460"/>
                  <a:gd name="connsiteX44" fmla="*/ 2918460 w 3025140"/>
                  <a:gd name="connsiteY44" fmla="*/ 2415540 h 3680460"/>
                  <a:gd name="connsiteX45" fmla="*/ 2895600 w 3025140"/>
                  <a:gd name="connsiteY45" fmla="*/ 2484120 h 3680460"/>
                  <a:gd name="connsiteX46" fmla="*/ 2872740 w 3025140"/>
                  <a:gd name="connsiteY46" fmla="*/ 2583180 h 3680460"/>
                  <a:gd name="connsiteX47" fmla="*/ 2857500 w 3025140"/>
                  <a:gd name="connsiteY47" fmla="*/ 2606040 h 3680460"/>
                  <a:gd name="connsiteX48" fmla="*/ 2834640 w 3025140"/>
                  <a:gd name="connsiteY48" fmla="*/ 2689860 h 3680460"/>
                  <a:gd name="connsiteX49" fmla="*/ 2811780 w 3025140"/>
                  <a:gd name="connsiteY49" fmla="*/ 2750820 h 3680460"/>
                  <a:gd name="connsiteX50" fmla="*/ 2788920 w 3025140"/>
                  <a:gd name="connsiteY50" fmla="*/ 2781300 h 3680460"/>
                  <a:gd name="connsiteX51" fmla="*/ 2781300 w 3025140"/>
                  <a:gd name="connsiteY51" fmla="*/ 2804160 h 3680460"/>
                  <a:gd name="connsiteX52" fmla="*/ 2743200 w 3025140"/>
                  <a:gd name="connsiteY52" fmla="*/ 2865120 h 3680460"/>
                  <a:gd name="connsiteX53" fmla="*/ 2712720 w 3025140"/>
                  <a:gd name="connsiteY53" fmla="*/ 2903220 h 3680460"/>
                  <a:gd name="connsiteX54" fmla="*/ 2697480 w 3025140"/>
                  <a:gd name="connsiteY54" fmla="*/ 2933700 h 3680460"/>
                  <a:gd name="connsiteX55" fmla="*/ 2674620 w 3025140"/>
                  <a:gd name="connsiteY55" fmla="*/ 2964180 h 3680460"/>
                  <a:gd name="connsiteX56" fmla="*/ 2644140 w 3025140"/>
                  <a:gd name="connsiteY56" fmla="*/ 3009900 h 3680460"/>
                  <a:gd name="connsiteX57" fmla="*/ 2598420 w 3025140"/>
                  <a:gd name="connsiteY57" fmla="*/ 3055620 h 3680460"/>
                  <a:gd name="connsiteX58" fmla="*/ 2575560 w 3025140"/>
                  <a:gd name="connsiteY58" fmla="*/ 3078480 h 3680460"/>
                  <a:gd name="connsiteX59" fmla="*/ 2476500 w 3025140"/>
                  <a:gd name="connsiteY59" fmla="*/ 3169920 h 3680460"/>
                  <a:gd name="connsiteX60" fmla="*/ 2377440 w 3025140"/>
                  <a:gd name="connsiteY60" fmla="*/ 3223260 h 3680460"/>
                  <a:gd name="connsiteX61" fmla="*/ 2293620 w 3025140"/>
                  <a:gd name="connsiteY61" fmla="*/ 3284220 h 3680460"/>
                  <a:gd name="connsiteX62" fmla="*/ 2240280 w 3025140"/>
                  <a:gd name="connsiteY62" fmla="*/ 3314700 h 3680460"/>
                  <a:gd name="connsiteX63" fmla="*/ 2225040 w 3025140"/>
                  <a:gd name="connsiteY63" fmla="*/ 3337560 h 3680460"/>
                  <a:gd name="connsiteX64" fmla="*/ 2141220 w 3025140"/>
                  <a:gd name="connsiteY64" fmla="*/ 3390900 h 3680460"/>
                  <a:gd name="connsiteX65" fmla="*/ 2110740 w 3025140"/>
                  <a:gd name="connsiteY65" fmla="*/ 3413760 h 3680460"/>
                  <a:gd name="connsiteX66" fmla="*/ 2072640 w 3025140"/>
                  <a:gd name="connsiteY66" fmla="*/ 3451860 h 3680460"/>
                  <a:gd name="connsiteX67" fmla="*/ 2019300 w 3025140"/>
                  <a:gd name="connsiteY67" fmla="*/ 3467100 h 3680460"/>
                  <a:gd name="connsiteX68" fmla="*/ 1874520 w 3025140"/>
                  <a:gd name="connsiteY68" fmla="*/ 3512820 h 3680460"/>
                  <a:gd name="connsiteX69" fmla="*/ 1828800 w 3025140"/>
                  <a:gd name="connsiteY69" fmla="*/ 3520440 h 3680460"/>
                  <a:gd name="connsiteX70" fmla="*/ 1722120 w 3025140"/>
                  <a:gd name="connsiteY70" fmla="*/ 3550920 h 3680460"/>
                  <a:gd name="connsiteX71" fmla="*/ 1600200 w 3025140"/>
                  <a:gd name="connsiteY71" fmla="*/ 3589020 h 3680460"/>
                  <a:gd name="connsiteX72" fmla="*/ 1569720 w 3025140"/>
                  <a:gd name="connsiteY72" fmla="*/ 3596640 h 3680460"/>
                  <a:gd name="connsiteX73" fmla="*/ 1546860 w 3025140"/>
                  <a:gd name="connsiteY73" fmla="*/ 3611880 h 3680460"/>
                  <a:gd name="connsiteX74" fmla="*/ 1463040 w 3025140"/>
                  <a:gd name="connsiteY74" fmla="*/ 3627120 h 3680460"/>
                  <a:gd name="connsiteX75" fmla="*/ 1333500 w 3025140"/>
                  <a:gd name="connsiteY75" fmla="*/ 3657600 h 3680460"/>
                  <a:gd name="connsiteX76" fmla="*/ 1203960 w 3025140"/>
                  <a:gd name="connsiteY76" fmla="*/ 3672840 h 3680460"/>
                  <a:gd name="connsiteX77" fmla="*/ 1165860 w 3025140"/>
                  <a:gd name="connsiteY77" fmla="*/ 3680460 h 3680460"/>
                  <a:gd name="connsiteX78" fmla="*/ 449580 w 3025140"/>
                  <a:gd name="connsiteY78" fmla="*/ 3672840 h 3680460"/>
                  <a:gd name="connsiteX79" fmla="*/ 426720 w 3025140"/>
                  <a:gd name="connsiteY79" fmla="*/ 3665220 h 3680460"/>
                  <a:gd name="connsiteX80" fmla="*/ 388620 w 3025140"/>
                  <a:gd name="connsiteY80" fmla="*/ 3657600 h 3680460"/>
                  <a:gd name="connsiteX81" fmla="*/ 335280 w 3025140"/>
                  <a:gd name="connsiteY81" fmla="*/ 3627120 h 3680460"/>
                  <a:gd name="connsiteX82" fmla="*/ 266700 w 3025140"/>
                  <a:gd name="connsiteY82" fmla="*/ 3604260 h 3680460"/>
                  <a:gd name="connsiteX83" fmla="*/ 243840 w 3025140"/>
                  <a:gd name="connsiteY83" fmla="*/ 3589020 h 3680460"/>
                  <a:gd name="connsiteX84" fmla="*/ 160020 w 3025140"/>
                  <a:gd name="connsiteY84" fmla="*/ 3558540 h 3680460"/>
                  <a:gd name="connsiteX85" fmla="*/ 137160 w 3025140"/>
                  <a:gd name="connsiteY85" fmla="*/ 3535680 h 3680460"/>
                  <a:gd name="connsiteX86" fmla="*/ 99060 w 3025140"/>
                  <a:gd name="connsiteY86" fmla="*/ 3520440 h 3680460"/>
                  <a:gd name="connsiteX87" fmla="*/ 83820 w 3025140"/>
                  <a:gd name="connsiteY87" fmla="*/ 3489960 h 3680460"/>
                  <a:gd name="connsiteX88" fmla="*/ 45720 w 3025140"/>
                  <a:gd name="connsiteY88" fmla="*/ 3436620 h 3680460"/>
                  <a:gd name="connsiteX89" fmla="*/ 0 w 3025140"/>
                  <a:gd name="connsiteY89" fmla="*/ 3352800 h 3680460"/>
                  <a:gd name="connsiteX90" fmla="*/ 30480 w 3025140"/>
                  <a:gd name="connsiteY90" fmla="*/ 3345180 h 3680460"/>
                  <a:gd name="connsiteX91" fmla="*/ 137160 w 3025140"/>
                  <a:gd name="connsiteY91" fmla="*/ 3360420 h 3680460"/>
                  <a:gd name="connsiteX92" fmla="*/ 167640 w 3025140"/>
                  <a:gd name="connsiteY92" fmla="*/ 3390900 h 3680460"/>
                  <a:gd name="connsiteX93" fmla="*/ 198120 w 3025140"/>
                  <a:gd name="connsiteY93" fmla="*/ 3406140 h 3680460"/>
                  <a:gd name="connsiteX94" fmla="*/ 350520 w 3025140"/>
                  <a:gd name="connsiteY94" fmla="*/ 3436620 h 3680460"/>
                  <a:gd name="connsiteX95" fmla="*/ 381000 w 3025140"/>
                  <a:gd name="connsiteY95" fmla="*/ 3451860 h 3680460"/>
                  <a:gd name="connsiteX96" fmla="*/ 449580 w 3025140"/>
                  <a:gd name="connsiteY96" fmla="*/ 3489960 h 3680460"/>
                  <a:gd name="connsiteX97" fmla="*/ 495300 w 3025140"/>
                  <a:gd name="connsiteY97" fmla="*/ 3520440 h 3680460"/>
                  <a:gd name="connsiteX98" fmla="*/ 525780 w 3025140"/>
                  <a:gd name="connsiteY98" fmla="*/ 3535680 h 3680460"/>
                  <a:gd name="connsiteX99" fmla="*/ 731520 w 3025140"/>
                  <a:gd name="connsiteY99" fmla="*/ 3558540 h 3680460"/>
                  <a:gd name="connsiteX100" fmla="*/ 1341120 w 3025140"/>
                  <a:gd name="connsiteY100" fmla="*/ 3550920 h 3680460"/>
                  <a:gd name="connsiteX101" fmla="*/ 1440180 w 3025140"/>
                  <a:gd name="connsiteY101" fmla="*/ 3528060 h 3680460"/>
                  <a:gd name="connsiteX102" fmla="*/ 1539240 w 3025140"/>
                  <a:gd name="connsiteY102" fmla="*/ 3520440 h 3680460"/>
                  <a:gd name="connsiteX103" fmla="*/ 1562100 w 3025140"/>
                  <a:gd name="connsiteY103" fmla="*/ 3512820 h 3680460"/>
                  <a:gd name="connsiteX104" fmla="*/ 1630680 w 3025140"/>
                  <a:gd name="connsiteY104" fmla="*/ 3497580 h 3680460"/>
                  <a:gd name="connsiteX105" fmla="*/ 1699260 w 3025140"/>
                  <a:gd name="connsiteY105" fmla="*/ 3474720 h 3680460"/>
                  <a:gd name="connsiteX106" fmla="*/ 1790700 w 3025140"/>
                  <a:gd name="connsiteY106" fmla="*/ 3451860 h 3680460"/>
                  <a:gd name="connsiteX107" fmla="*/ 1821180 w 3025140"/>
                  <a:gd name="connsiteY107" fmla="*/ 3444240 h 3680460"/>
                  <a:gd name="connsiteX108" fmla="*/ 1844040 w 3025140"/>
                  <a:gd name="connsiteY108" fmla="*/ 3429000 h 3680460"/>
                  <a:gd name="connsiteX109" fmla="*/ 1874520 w 3025140"/>
                  <a:gd name="connsiteY109" fmla="*/ 3421380 h 3680460"/>
                  <a:gd name="connsiteX110" fmla="*/ 1927860 w 3025140"/>
                  <a:gd name="connsiteY110" fmla="*/ 3398520 h 3680460"/>
                  <a:gd name="connsiteX111" fmla="*/ 1950720 w 3025140"/>
                  <a:gd name="connsiteY111" fmla="*/ 3390900 h 3680460"/>
                  <a:gd name="connsiteX112" fmla="*/ 2004060 w 3025140"/>
                  <a:gd name="connsiteY112" fmla="*/ 3360420 h 3680460"/>
                  <a:gd name="connsiteX113" fmla="*/ 2042160 w 3025140"/>
                  <a:gd name="connsiteY113" fmla="*/ 3352800 h 3680460"/>
                  <a:gd name="connsiteX114" fmla="*/ 2080260 w 3025140"/>
                  <a:gd name="connsiteY114" fmla="*/ 3337560 h 3680460"/>
                  <a:gd name="connsiteX115" fmla="*/ 2156460 w 3025140"/>
                  <a:gd name="connsiteY115" fmla="*/ 3299460 h 3680460"/>
                  <a:gd name="connsiteX116" fmla="*/ 2179320 w 3025140"/>
                  <a:gd name="connsiteY116" fmla="*/ 3284220 h 3680460"/>
                  <a:gd name="connsiteX117" fmla="*/ 2209800 w 3025140"/>
                  <a:gd name="connsiteY117" fmla="*/ 3276600 h 3680460"/>
                  <a:gd name="connsiteX118" fmla="*/ 2263140 w 3025140"/>
                  <a:gd name="connsiteY118" fmla="*/ 3230880 h 3680460"/>
                  <a:gd name="connsiteX119" fmla="*/ 2346960 w 3025140"/>
                  <a:gd name="connsiteY119" fmla="*/ 3154680 h 3680460"/>
                  <a:gd name="connsiteX120" fmla="*/ 2400300 w 3025140"/>
                  <a:gd name="connsiteY120" fmla="*/ 3070860 h 3680460"/>
                  <a:gd name="connsiteX121" fmla="*/ 2415540 w 3025140"/>
                  <a:gd name="connsiteY121" fmla="*/ 3048000 h 3680460"/>
                  <a:gd name="connsiteX122" fmla="*/ 2446020 w 3025140"/>
                  <a:gd name="connsiteY122" fmla="*/ 3032760 h 3680460"/>
                  <a:gd name="connsiteX123" fmla="*/ 2468880 w 3025140"/>
                  <a:gd name="connsiteY123" fmla="*/ 3009900 h 3680460"/>
                  <a:gd name="connsiteX124" fmla="*/ 2537460 w 3025140"/>
                  <a:gd name="connsiteY124" fmla="*/ 2926080 h 3680460"/>
                  <a:gd name="connsiteX125" fmla="*/ 2575560 w 3025140"/>
                  <a:gd name="connsiteY125" fmla="*/ 2880360 h 3680460"/>
                  <a:gd name="connsiteX126" fmla="*/ 2628900 w 3025140"/>
                  <a:gd name="connsiteY126" fmla="*/ 2811780 h 3680460"/>
                  <a:gd name="connsiteX127" fmla="*/ 2644140 w 3025140"/>
                  <a:gd name="connsiteY127" fmla="*/ 2773680 h 3680460"/>
                  <a:gd name="connsiteX128" fmla="*/ 2674620 w 3025140"/>
                  <a:gd name="connsiteY128" fmla="*/ 2727960 h 3680460"/>
                  <a:gd name="connsiteX129" fmla="*/ 2689860 w 3025140"/>
                  <a:gd name="connsiteY129" fmla="*/ 2705100 h 3680460"/>
                  <a:gd name="connsiteX130" fmla="*/ 2705100 w 3025140"/>
                  <a:gd name="connsiteY130" fmla="*/ 2667000 h 3680460"/>
                  <a:gd name="connsiteX131" fmla="*/ 2727960 w 3025140"/>
                  <a:gd name="connsiteY131" fmla="*/ 2621280 h 3680460"/>
                  <a:gd name="connsiteX132" fmla="*/ 2735580 w 3025140"/>
                  <a:gd name="connsiteY132" fmla="*/ 2590800 h 3680460"/>
                  <a:gd name="connsiteX133" fmla="*/ 2758440 w 3025140"/>
                  <a:gd name="connsiteY133" fmla="*/ 2545080 h 3680460"/>
                  <a:gd name="connsiteX134" fmla="*/ 2788920 w 3025140"/>
                  <a:gd name="connsiteY134" fmla="*/ 2484120 h 3680460"/>
                  <a:gd name="connsiteX135" fmla="*/ 2811780 w 3025140"/>
                  <a:gd name="connsiteY135" fmla="*/ 2407920 h 3680460"/>
                  <a:gd name="connsiteX136" fmla="*/ 2842260 w 3025140"/>
                  <a:gd name="connsiteY136" fmla="*/ 2324100 h 3680460"/>
                  <a:gd name="connsiteX137" fmla="*/ 2857500 w 3025140"/>
                  <a:gd name="connsiteY137" fmla="*/ 2247900 h 3680460"/>
                  <a:gd name="connsiteX138" fmla="*/ 2872740 w 3025140"/>
                  <a:gd name="connsiteY138" fmla="*/ 2194560 h 3680460"/>
                  <a:gd name="connsiteX139" fmla="*/ 2887980 w 3025140"/>
                  <a:gd name="connsiteY139" fmla="*/ 2148840 h 3680460"/>
                  <a:gd name="connsiteX140" fmla="*/ 2910840 w 3025140"/>
                  <a:gd name="connsiteY140" fmla="*/ 2087880 h 3680460"/>
                  <a:gd name="connsiteX141" fmla="*/ 2918460 w 3025140"/>
                  <a:gd name="connsiteY141" fmla="*/ 2049780 h 3680460"/>
                  <a:gd name="connsiteX142" fmla="*/ 2933700 w 3025140"/>
                  <a:gd name="connsiteY142" fmla="*/ 1844040 h 3680460"/>
                  <a:gd name="connsiteX143" fmla="*/ 2918460 w 3025140"/>
                  <a:gd name="connsiteY143" fmla="*/ 1470660 h 3680460"/>
                  <a:gd name="connsiteX144" fmla="*/ 2895600 w 3025140"/>
                  <a:gd name="connsiteY144" fmla="*/ 1371600 h 3680460"/>
                  <a:gd name="connsiteX145" fmla="*/ 2880360 w 3025140"/>
                  <a:gd name="connsiteY145" fmla="*/ 1341120 h 3680460"/>
                  <a:gd name="connsiteX146" fmla="*/ 2857500 w 3025140"/>
                  <a:gd name="connsiteY146" fmla="*/ 1272540 h 3680460"/>
                  <a:gd name="connsiteX147" fmla="*/ 2849880 w 3025140"/>
                  <a:gd name="connsiteY147" fmla="*/ 1234440 h 3680460"/>
                  <a:gd name="connsiteX148" fmla="*/ 2827020 w 3025140"/>
                  <a:gd name="connsiteY148" fmla="*/ 1196340 h 3680460"/>
                  <a:gd name="connsiteX149" fmla="*/ 2811780 w 3025140"/>
                  <a:gd name="connsiteY149" fmla="*/ 1165860 h 3680460"/>
                  <a:gd name="connsiteX150" fmla="*/ 2781300 w 3025140"/>
                  <a:gd name="connsiteY150" fmla="*/ 1127760 h 3680460"/>
                  <a:gd name="connsiteX151" fmla="*/ 2766060 w 3025140"/>
                  <a:gd name="connsiteY151" fmla="*/ 1089660 h 3680460"/>
                  <a:gd name="connsiteX152" fmla="*/ 2735580 w 3025140"/>
                  <a:gd name="connsiteY152" fmla="*/ 1043940 h 3680460"/>
                  <a:gd name="connsiteX153" fmla="*/ 2727960 w 3025140"/>
                  <a:gd name="connsiteY153" fmla="*/ 1021080 h 3680460"/>
                  <a:gd name="connsiteX154" fmla="*/ 2682240 w 3025140"/>
                  <a:gd name="connsiteY154" fmla="*/ 937260 h 3680460"/>
                  <a:gd name="connsiteX155" fmla="*/ 2659380 w 3025140"/>
                  <a:gd name="connsiteY155" fmla="*/ 876300 h 3680460"/>
                  <a:gd name="connsiteX156" fmla="*/ 2644140 w 3025140"/>
                  <a:gd name="connsiteY156" fmla="*/ 845820 h 3680460"/>
                  <a:gd name="connsiteX157" fmla="*/ 2636520 w 3025140"/>
                  <a:gd name="connsiteY157" fmla="*/ 822960 h 3680460"/>
                  <a:gd name="connsiteX158" fmla="*/ 2621280 w 3025140"/>
                  <a:gd name="connsiteY158" fmla="*/ 800100 h 3680460"/>
                  <a:gd name="connsiteX159" fmla="*/ 2598420 w 3025140"/>
                  <a:gd name="connsiteY159" fmla="*/ 739140 h 3680460"/>
                  <a:gd name="connsiteX160" fmla="*/ 2458403 w 3025140"/>
                  <a:gd name="connsiteY160" fmla="*/ 621983 h 3680460"/>
                  <a:gd name="connsiteX161" fmla="*/ 2301240 w 3025140"/>
                  <a:gd name="connsiteY161" fmla="*/ 458152 h 3680460"/>
                  <a:gd name="connsiteX162" fmla="*/ 2237423 w 3025140"/>
                  <a:gd name="connsiteY162" fmla="*/ 406717 h 3680460"/>
                  <a:gd name="connsiteX163" fmla="*/ 2103120 w 3025140"/>
                  <a:gd name="connsiteY163" fmla="*/ 312420 h 3680460"/>
                  <a:gd name="connsiteX164" fmla="*/ 2042160 w 3025140"/>
                  <a:gd name="connsiteY164" fmla="*/ 266700 h 3680460"/>
                  <a:gd name="connsiteX165" fmla="*/ 2004060 w 3025140"/>
                  <a:gd name="connsiteY165" fmla="*/ 251460 h 3680460"/>
                  <a:gd name="connsiteX166" fmla="*/ 1958340 w 3025140"/>
                  <a:gd name="connsiteY166" fmla="*/ 220980 h 3680460"/>
                  <a:gd name="connsiteX167" fmla="*/ 1897380 w 3025140"/>
                  <a:gd name="connsiteY167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34640 w 3025140"/>
                  <a:gd name="connsiteY22" fmla="*/ 853440 h 3680460"/>
                  <a:gd name="connsiteX23" fmla="*/ 2849880 w 3025140"/>
                  <a:gd name="connsiteY23" fmla="*/ 883920 h 3680460"/>
                  <a:gd name="connsiteX24" fmla="*/ 2880360 w 3025140"/>
                  <a:gd name="connsiteY24" fmla="*/ 922020 h 3680460"/>
                  <a:gd name="connsiteX25" fmla="*/ 2887980 w 3025140"/>
                  <a:gd name="connsiteY25" fmla="*/ 944880 h 3680460"/>
                  <a:gd name="connsiteX26" fmla="*/ 2903220 w 3025140"/>
                  <a:gd name="connsiteY26" fmla="*/ 967740 h 3680460"/>
                  <a:gd name="connsiteX27" fmla="*/ 2918460 w 3025140"/>
                  <a:gd name="connsiteY27" fmla="*/ 1036320 h 3680460"/>
                  <a:gd name="connsiteX28" fmla="*/ 2933700 w 3025140"/>
                  <a:gd name="connsiteY28" fmla="*/ 1074420 h 3680460"/>
                  <a:gd name="connsiteX29" fmla="*/ 2948940 w 3025140"/>
                  <a:gd name="connsiteY29" fmla="*/ 1120140 h 3680460"/>
                  <a:gd name="connsiteX30" fmla="*/ 2964180 w 3025140"/>
                  <a:gd name="connsiteY30" fmla="*/ 1203960 h 3680460"/>
                  <a:gd name="connsiteX31" fmla="*/ 2979420 w 3025140"/>
                  <a:gd name="connsiteY31" fmla="*/ 1264920 h 3680460"/>
                  <a:gd name="connsiteX32" fmla="*/ 2987040 w 3025140"/>
                  <a:gd name="connsiteY32" fmla="*/ 1318260 h 3680460"/>
                  <a:gd name="connsiteX33" fmla="*/ 2994660 w 3025140"/>
                  <a:gd name="connsiteY33" fmla="*/ 1348740 h 3680460"/>
                  <a:gd name="connsiteX34" fmla="*/ 3009900 w 3025140"/>
                  <a:gd name="connsiteY34" fmla="*/ 1432560 h 3680460"/>
                  <a:gd name="connsiteX35" fmla="*/ 3017520 w 3025140"/>
                  <a:gd name="connsiteY35" fmla="*/ 1684020 h 3680460"/>
                  <a:gd name="connsiteX36" fmla="*/ 3025140 w 3025140"/>
                  <a:gd name="connsiteY36" fmla="*/ 1744980 h 3680460"/>
                  <a:gd name="connsiteX37" fmla="*/ 3017520 w 3025140"/>
                  <a:gd name="connsiteY37" fmla="*/ 2095500 h 3680460"/>
                  <a:gd name="connsiteX38" fmla="*/ 3009900 w 3025140"/>
                  <a:gd name="connsiteY38" fmla="*/ 2125980 h 3680460"/>
                  <a:gd name="connsiteX39" fmla="*/ 2979420 w 3025140"/>
                  <a:gd name="connsiteY39" fmla="*/ 2194560 h 3680460"/>
                  <a:gd name="connsiteX40" fmla="*/ 2956560 w 3025140"/>
                  <a:gd name="connsiteY40" fmla="*/ 2247900 h 3680460"/>
                  <a:gd name="connsiteX41" fmla="*/ 2941320 w 3025140"/>
                  <a:gd name="connsiteY41" fmla="*/ 2324100 h 3680460"/>
                  <a:gd name="connsiteX42" fmla="*/ 2926080 w 3025140"/>
                  <a:gd name="connsiteY42" fmla="*/ 2392680 h 3680460"/>
                  <a:gd name="connsiteX43" fmla="*/ 2918460 w 3025140"/>
                  <a:gd name="connsiteY43" fmla="*/ 2415540 h 3680460"/>
                  <a:gd name="connsiteX44" fmla="*/ 2895600 w 3025140"/>
                  <a:gd name="connsiteY44" fmla="*/ 2484120 h 3680460"/>
                  <a:gd name="connsiteX45" fmla="*/ 2872740 w 3025140"/>
                  <a:gd name="connsiteY45" fmla="*/ 2583180 h 3680460"/>
                  <a:gd name="connsiteX46" fmla="*/ 2857500 w 3025140"/>
                  <a:gd name="connsiteY46" fmla="*/ 2606040 h 3680460"/>
                  <a:gd name="connsiteX47" fmla="*/ 2834640 w 3025140"/>
                  <a:gd name="connsiteY47" fmla="*/ 2689860 h 3680460"/>
                  <a:gd name="connsiteX48" fmla="*/ 2811780 w 3025140"/>
                  <a:gd name="connsiteY48" fmla="*/ 2750820 h 3680460"/>
                  <a:gd name="connsiteX49" fmla="*/ 2788920 w 3025140"/>
                  <a:gd name="connsiteY49" fmla="*/ 2781300 h 3680460"/>
                  <a:gd name="connsiteX50" fmla="*/ 2781300 w 3025140"/>
                  <a:gd name="connsiteY50" fmla="*/ 2804160 h 3680460"/>
                  <a:gd name="connsiteX51" fmla="*/ 2743200 w 3025140"/>
                  <a:gd name="connsiteY51" fmla="*/ 2865120 h 3680460"/>
                  <a:gd name="connsiteX52" fmla="*/ 2712720 w 3025140"/>
                  <a:gd name="connsiteY52" fmla="*/ 2903220 h 3680460"/>
                  <a:gd name="connsiteX53" fmla="*/ 2697480 w 3025140"/>
                  <a:gd name="connsiteY53" fmla="*/ 2933700 h 3680460"/>
                  <a:gd name="connsiteX54" fmla="*/ 2674620 w 3025140"/>
                  <a:gd name="connsiteY54" fmla="*/ 2964180 h 3680460"/>
                  <a:gd name="connsiteX55" fmla="*/ 2644140 w 3025140"/>
                  <a:gd name="connsiteY55" fmla="*/ 3009900 h 3680460"/>
                  <a:gd name="connsiteX56" fmla="*/ 2598420 w 3025140"/>
                  <a:gd name="connsiteY56" fmla="*/ 3055620 h 3680460"/>
                  <a:gd name="connsiteX57" fmla="*/ 2575560 w 3025140"/>
                  <a:gd name="connsiteY57" fmla="*/ 3078480 h 3680460"/>
                  <a:gd name="connsiteX58" fmla="*/ 2476500 w 3025140"/>
                  <a:gd name="connsiteY58" fmla="*/ 3169920 h 3680460"/>
                  <a:gd name="connsiteX59" fmla="*/ 2377440 w 3025140"/>
                  <a:gd name="connsiteY59" fmla="*/ 3223260 h 3680460"/>
                  <a:gd name="connsiteX60" fmla="*/ 2293620 w 3025140"/>
                  <a:gd name="connsiteY60" fmla="*/ 3284220 h 3680460"/>
                  <a:gd name="connsiteX61" fmla="*/ 2240280 w 3025140"/>
                  <a:gd name="connsiteY61" fmla="*/ 3314700 h 3680460"/>
                  <a:gd name="connsiteX62" fmla="*/ 2225040 w 3025140"/>
                  <a:gd name="connsiteY62" fmla="*/ 3337560 h 3680460"/>
                  <a:gd name="connsiteX63" fmla="*/ 2141220 w 3025140"/>
                  <a:gd name="connsiteY63" fmla="*/ 3390900 h 3680460"/>
                  <a:gd name="connsiteX64" fmla="*/ 2110740 w 3025140"/>
                  <a:gd name="connsiteY64" fmla="*/ 3413760 h 3680460"/>
                  <a:gd name="connsiteX65" fmla="*/ 2072640 w 3025140"/>
                  <a:gd name="connsiteY65" fmla="*/ 3451860 h 3680460"/>
                  <a:gd name="connsiteX66" fmla="*/ 2019300 w 3025140"/>
                  <a:gd name="connsiteY66" fmla="*/ 3467100 h 3680460"/>
                  <a:gd name="connsiteX67" fmla="*/ 1874520 w 3025140"/>
                  <a:gd name="connsiteY67" fmla="*/ 3512820 h 3680460"/>
                  <a:gd name="connsiteX68" fmla="*/ 1828800 w 3025140"/>
                  <a:gd name="connsiteY68" fmla="*/ 3520440 h 3680460"/>
                  <a:gd name="connsiteX69" fmla="*/ 1722120 w 3025140"/>
                  <a:gd name="connsiteY69" fmla="*/ 3550920 h 3680460"/>
                  <a:gd name="connsiteX70" fmla="*/ 1600200 w 3025140"/>
                  <a:gd name="connsiteY70" fmla="*/ 3589020 h 3680460"/>
                  <a:gd name="connsiteX71" fmla="*/ 1569720 w 3025140"/>
                  <a:gd name="connsiteY71" fmla="*/ 3596640 h 3680460"/>
                  <a:gd name="connsiteX72" fmla="*/ 1546860 w 3025140"/>
                  <a:gd name="connsiteY72" fmla="*/ 3611880 h 3680460"/>
                  <a:gd name="connsiteX73" fmla="*/ 1463040 w 3025140"/>
                  <a:gd name="connsiteY73" fmla="*/ 3627120 h 3680460"/>
                  <a:gd name="connsiteX74" fmla="*/ 1333500 w 3025140"/>
                  <a:gd name="connsiteY74" fmla="*/ 3657600 h 3680460"/>
                  <a:gd name="connsiteX75" fmla="*/ 1203960 w 3025140"/>
                  <a:gd name="connsiteY75" fmla="*/ 3672840 h 3680460"/>
                  <a:gd name="connsiteX76" fmla="*/ 1165860 w 3025140"/>
                  <a:gd name="connsiteY76" fmla="*/ 3680460 h 3680460"/>
                  <a:gd name="connsiteX77" fmla="*/ 449580 w 3025140"/>
                  <a:gd name="connsiteY77" fmla="*/ 3672840 h 3680460"/>
                  <a:gd name="connsiteX78" fmla="*/ 426720 w 3025140"/>
                  <a:gd name="connsiteY78" fmla="*/ 3665220 h 3680460"/>
                  <a:gd name="connsiteX79" fmla="*/ 388620 w 3025140"/>
                  <a:gd name="connsiteY79" fmla="*/ 3657600 h 3680460"/>
                  <a:gd name="connsiteX80" fmla="*/ 335280 w 3025140"/>
                  <a:gd name="connsiteY80" fmla="*/ 3627120 h 3680460"/>
                  <a:gd name="connsiteX81" fmla="*/ 266700 w 3025140"/>
                  <a:gd name="connsiteY81" fmla="*/ 3604260 h 3680460"/>
                  <a:gd name="connsiteX82" fmla="*/ 243840 w 3025140"/>
                  <a:gd name="connsiteY82" fmla="*/ 3589020 h 3680460"/>
                  <a:gd name="connsiteX83" fmla="*/ 160020 w 3025140"/>
                  <a:gd name="connsiteY83" fmla="*/ 3558540 h 3680460"/>
                  <a:gd name="connsiteX84" fmla="*/ 137160 w 3025140"/>
                  <a:gd name="connsiteY84" fmla="*/ 3535680 h 3680460"/>
                  <a:gd name="connsiteX85" fmla="*/ 99060 w 3025140"/>
                  <a:gd name="connsiteY85" fmla="*/ 3520440 h 3680460"/>
                  <a:gd name="connsiteX86" fmla="*/ 83820 w 3025140"/>
                  <a:gd name="connsiteY86" fmla="*/ 3489960 h 3680460"/>
                  <a:gd name="connsiteX87" fmla="*/ 45720 w 3025140"/>
                  <a:gd name="connsiteY87" fmla="*/ 3436620 h 3680460"/>
                  <a:gd name="connsiteX88" fmla="*/ 0 w 3025140"/>
                  <a:gd name="connsiteY88" fmla="*/ 3352800 h 3680460"/>
                  <a:gd name="connsiteX89" fmla="*/ 30480 w 3025140"/>
                  <a:gd name="connsiteY89" fmla="*/ 3345180 h 3680460"/>
                  <a:gd name="connsiteX90" fmla="*/ 137160 w 3025140"/>
                  <a:gd name="connsiteY90" fmla="*/ 3360420 h 3680460"/>
                  <a:gd name="connsiteX91" fmla="*/ 167640 w 3025140"/>
                  <a:gd name="connsiteY91" fmla="*/ 3390900 h 3680460"/>
                  <a:gd name="connsiteX92" fmla="*/ 198120 w 3025140"/>
                  <a:gd name="connsiteY92" fmla="*/ 3406140 h 3680460"/>
                  <a:gd name="connsiteX93" fmla="*/ 350520 w 3025140"/>
                  <a:gd name="connsiteY93" fmla="*/ 3436620 h 3680460"/>
                  <a:gd name="connsiteX94" fmla="*/ 381000 w 3025140"/>
                  <a:gd name="connsiteY94" fmla="*/ 3451860 h 3680460"/>
                  <a:gd name="connsiteX95" fmla="*/ 449580 w 3025140"/>
                  <a:gd name="connsiteY95" fmla="*/ 3489960 h 3680460"/>
                  <a:gd name="connsiteX96" fmla="*/ 495300 w 3025140"/>
                  <a:gd name="connsiteY96" fmla="*/ 3520440 h 3680460"/>
                  <a:gd name="connsiteX97" fmla="*/ 525780 w 3025140"/>
                  <a:gd name="connsiteY97" fmla="*/ 3535680 h 3680460"/>
                  <a:gd name="connsiteX98" fmla="*/ 731520 w 3025140"/>
                  <a:gd name="connsiteY98" fmla="*/ 3558540 h 3680460"/>
                  <a:gd name="connsiteX99" fmla="*/ 1341120 w 3025140"/>
                  <a:gd name="connsiteY99" fmla="*/ 3550920 h 3680460"/>
                  <a:gd name="connsiteX100" fmla="*/ 1440180 w 3025140"/>
                  <a:gd name="connsiteY100" fmla="*/ 3528060 h 3680460"/>
                  <a:gd name="connsiteX101" fmla="*/ 1539240 w 3025140"/>
                  <a:gd name="connsiteY101" fmla="*/ 3520440 h 3680460"/>
                  <a:gd name="connsiteX102" fmla="*/ 1562100 w 3025140"/>
                  <a:gd name="connsiteY102" fmla="*/ 3512820 h 3680460"/>
                  <a:gd name="connsiteX103" fmla="*/ 1630680 w 3025140"/>
                  <a:gd name="connsiteY103" fmla="*/ 3497580 h 3680460"/>
                  <a:gd name="connsiteX104" fmla="*/ 1699260 w 3025140"/>
                  <a:gd name="connsiteY104" fmla="*/ 3474720 h 3680460"/>
                  <a:gd name="connsiteX105" fmla="*/ 1790700 w 3025140"/>
                  <a:gd name="connsiteY105" fmla="*/ 3451860 h 3680460"/>
                  <a:gd name="connsiteX106" fmla="*/ 1821180 w 3025140"/>
                  <a:gd name="connsiteY106" fmla="*/ 3444240 h 3680460"/>
                  <a:gd name="connsiteX107" fmla="*/ 1844040 w 3025140"/>
                  <a:gd name="connsiteY107" fmla="*/ 3429000 h 3680460"/>
                  <a:gd name="connsiteX108" fmla="*/ 1874520 w 3025140"/>
                  <a:gd name="connsiteY108" fmla="*/ 3421380 h 3680460"/>
                  <a:gd name="connsiteX109" fmla="*/ 1927860 w 3025140"/>
                  <a:gd name="connsiteY109" fmla="*/ 3398520 h 3680460"/>
                  <a:gd name="connsiteX110" fmla="*/ 1950720 w 3025140"/>
                  <a:gd name="connsiteY110" fmla="*/ 3390900 h 3680460"/>
                  <a:gd name="connsiteX111" fmla="*/ 2004060 w 3025140"/>
                  <a:gd name="connsiteY111" fmla="*/ 3360420 h 3680460"/>
                  <a:gd name="connsiteX112" fmla="*/ 2042160 w 3025140"/>
                  <a:gd name="connsiteY112" fmla="*/ 3352800 h 3680460"/>
                  <a:gd name="connsiteX113" fmla="*/ 2080260 w 3025140"/>
                  <a:gd name="connsiteY113" fmla="*/ 3337560 h 3680460"/>
                  <a:gd name="connsiteX114" fmla="*/ 2156460 w 3025140"/>
                  <a:gd name="connsiteY114" fmla="*/ 3299460 h 3680460"/>
                  <a:gd name="connsiteX115" fmla="*/ 2179320 w 3025140"/>
                  <a:gd name="connsiteY115" fmla="*/ 3284220 h 3680460"/>
                  <a:gd name="connsiteX116" fmla="*/ 2209800 w 3025140"/>
                  <a:gd name="connsiteY116" fmla="*/ 3276600 h 3680460"/>
                  <a:gd name="connsiteX117" fmla="*/ 2263140 w 3025140"/>
                  <a:gd name="connsiteY117" fmla="*/ 3230880 h 3680460"/>
                  <a:gd name="connsiteX118" fmla="*/ 2346960 w 3025140"/>
                  <a:gd name="connsiteY118" fmla="*/ 3154680 h 3680460"/>
                  <a:gd name="connsiteX119" fmla="*/ 2400300 w 3025140"/>
                  <a:gd name="connsiteY119" fmla="*/ 3070860 h 3680460"/>
                  <a:gd name="connsiteX120" fmla="*/ 2415540 w 3025140"/>
                  <a:gd name="connsiteY120" fmla="*/ 3048000 h 3680460"/>
                  <a:gd name="connsiteX121" fmla="*/ 2446020 w 3025140"/>
                  <a:gd name="connsiteY121" fmla="*/ 3032760 h 3680460"/>
                  <a:gd name="connsiteX122" fmla="*/ 2468880 w 3025140"/>
                  <a:gd name="connsiteY122" fmla="*/ 3009900 h 3680460"/>
                  <a:gd name="connsiteX123" fmla="*/ 2537460 w 3025140"/>
                  <a:gd name="connsiteY123" fmla="*/ 2926080 h 3680460"/>
                  <a:gd name="connsiteX124" fmla="*/ 2575560 w 3025140"/>
                  <a:gd name="connsiteY124" fmla="*/ 2880360 h 3680460"/>
                  <a:gd name="connsiteX125" fmla="*/ 2628900 w 3025140"/>
                  <a:gd name="connsiteY125" fmla="*/ 2811780 h 3680460"/>
                  <a:gd name="connsiteX126" fmla="*/ 2644140 w 3025140"/>
                  <a:gd name="connsiteY126" fmla="*/ 2773680 h 3680460"/>
                  <a:gd name="connsiteX127" fmla="*/ 2674620 w 3025140"/>
                  <a:gd name="connsiteY127" fmla="*/ 2727960 h 3680460"/>
                  <a:gd name="connsiteX128" fmla="*/ 2689860 w 3025140"/>
                  <a:gd name="connsiteY128" fmla="*/ 2705100 h 3680460"/>
                  <a:gd name="connsiteX129" fmla="*/ 2705100 w 3025140"/>
                  <a:gd name="connsiteY129" fmla="*/ 2667000 h 3680460"/>
                  <a:gd name="connsiteX130" fmla="*/ 2727960 w 3025140"/>
                  <a:gd name="connsiteY130" fmla="*/ 2621280 h 3680460"/>
                  <a:gd name="connsiteX131" fmla="*/ 2735580 w 3025140"/>
                  <a:gd name="connsiteY131" fmla="*/ 2590800 h 3680460"/>
                  <a:gd name="connsiteX132" fmla="*/ 2758440 w 3025140"/>
                  <a:gd name="connsiteY132" fmla="*/ 2545080 h 3680460"/>
                  <a:gd name="connsiteX133" fmla="*/ 2788920 w 3025140"/>
                  <a:gd name="connsiteY133" fmla="*/ 2484120 h 3680460"/>
                  <a:gd name="connsiteX134" fmla="*/ 2811780 w 3025140"/>
                  <a:gd name="connsiteY134" fmla="*/ 2407920 h 3680460"/>
                  <a:gd name="connsiteX135" fmla="*/ 2842260 w 3025140"/>
                  <a:gd name="connsiteY135" fmla="*/ 2324100 h 3680460"/>
                  <a:gd name="connsiteX136" fmla="*/ 2857500 w 3025140"/>
                  <a:gd name="connsiteY136" fmla="*/ 2247900 h 3680460"/>
                  <a:gd name="connsiteX137" fmla="*/ 2872740 w 3025140"/>
                  <a:gd name="connsiteY137" fmla="*/ 2194560 h 3680460"/>
                  <a:gd name="connsiteX138" fmla="*/ 2887980 w 3025140"/>
                  <a:gd name="connsiteY138" fmla="*/ 2148840 h 3680460"/>
                  <a:gd name="connsiteX139" fmla="*/ 2910840 w 3025140"/>
                  <a:gd name="connsiteY139" fmla="*/ 2087880 h 3680460"/>
                  <a:gd name="connsiteX140" fmla="*/ 2918460 w 3025140"/>
                  <a:gd name="connsiteY140" fmla="*/ 2049780 h 3680460"/>
                  <a:gd name="connsiteX141" fmla="*/ 2933700 w 3025140"/>
                  <a:gd name="connsiteY141" fmla="*/ 1844040 h 3680460"/>
                  <a:gd name="connsiteX142" fmla="*/ 2918460 w 3025140"/>
                  <a:gd name="connsiteY142" fmla="*/ 1470660 h 3680460"/>
                  <a:gd name="connsiteX143" fmla="*/ 2895600 w 3025140"/>
                  <a:gd name="connsiteY143" fmla="*/ 1371600 h 3680460"/>
                  <a:gd name="connsiteX144" fmla="*/ 2880360 w 3025140"/>
                  <a:gd name="connsiteY144" fmla="*/ 1341120 h 3680460"/>
                  <a:gd name="connsiteX145" fmla="*/ 2857500 w 3025140"/>
                  <a:gd name="connsiteY145" fmla="*/ 1272540 h 3680460"/>
                  <a:gd name="connsiteX146" fmla="*/ 2849880 w 3025140"/>
                  <a:gd name="connsiteY146" fmla="*/ 1234440 h 3680460"/>
                  <a:gd name="connsiteX147" fmla="*/ 2827020 w 3025140"/>
                  <a:gd name="connsiteY147" fmla="*/ 1196340 h 3680460"/>
                  <a:gd name="connsiteX148" fmla="*/ 2811780 w 3025140"/>
                  <a:gd name="connsiteY148" fmla="*/ 1165860 h 3680460"/>
                  <a:gd name="connsiteX149" fmla="*/ 2781300 w 3025140"/>
                  <a:gd name="connsiteY149" fmla="*/ 1127760 h 3680460"/>
                  <a:gd name="connsiteX150" fmla="*/ 2766060 w 3025140"/>
                  <a:gd name="connsiteY150" fmla="*/ 1089660 h 3680460"/>
                  <a:gd name="connsiteX151" fmla="*/ 2735580 w 3025140"/>
                  <a:gd name="connsiteY151" fmla="*/ 1043940 h 3680460"/>
                  <a:gd name="connsiteX152" fmla="*/ 2727960 w 3025140"/>
                  <a:gd name="connsiteY152" fmla="*/ 1021080 h 3680460"/>
                  <a:gd name="connsiteX153" fmla="*/ 2682240 w 3025140"/>
                  <a:gd name="connsiteY153" fmla="*/ 937260 h 3680460"/>
                  <a:gd name="connsiteX154" fmla="*/ 2659380 w 3025140"/>
                  <a:gd name="connsiteY154" fmla="*/ 876300 h 3680460"/>
                  <a:gd name="connsiteX155" fmla="*/ 2644140 w 3025140"/>
                  <a:gd name="connsiteY155" fmla="*/ 845820 h 3680460"/>
                  <a:gd name="connsiteX156" fmla="*/ 2636520 w 3025140"/>
                  <a:gd name="connsiteY156" fmla="*/ 822960 h 3680460"/>
                  <a:gd name="connsiteX157" fmla="*/ 2621280 w 3025140"/>
                  <a:gd name="connsiteY157" fmla="*/ 800100 h 3680460"/>
                  <a:gd name="connsiteX158" fmla="*/ 2598420 w 3025140"/>
                  <a:gd name="connsiteY158" fmla="*/ 739140 h 3680460"/>
                  <a:gd name="connsiteX159" fmla="*/ 2458403 w 3025140"/>
                  <a:gd name="connsiteY159" fmla="*/ 621983 h 3680460"/>
                  <a:gd name="connsiteX160" fmla="*/ 2301240 w 3025140"/>
                  <a:gd name="connsiteY160" fmla="*/ 458152 h 3680460"/>
                  <a:gd name="connsiteX161" fmla="*/ 2237423 w 3025140"/>
                  <a:gd name="connsiteY161" fmla="*/ 406717 h 3680460"/>
                  <a:gd name="connsiteX162" fmla="*/ 2103120 w 3025140"/>
                  <a:gd name="connsiteY162" fmla="*/ 312420 h 3680460"/>
                  <a:gd name="connsiteX163" fmla="*/ 2042160 w 3025140"/>
                  <a:gd name="connsiteY163" fmla="*/ 266700 h 3680460"/>
                  <a:gd name="connsiteX164" fmla="*/ 2004060 w 3025140"/>
                  <a:gd name="connsiteY164" fmla="*/ 251460 h 3680460"/>
                  <a:gd name="connsiteX165" fmla="*/ 1958340 w 3025140"/>
                  <a:gd name="connsiteY165" fmla="*/ 220980 h 3680460"/>
                  <a:gd name="connsiteX166" fmla="*/ 1897380 w 3025140"/>
                  <a:gd name="connsiteY166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34640 w 3025140"/>
                  <a:gd name="connsiteY22" fmla="*/ 853440 h 3680460"/>
                  <a:gd name="connsiteX23" fmla="*/ 2880360 w 3025140"/>
                  <a:gd name="connsiteY23" fmla="*/ 922020 h 3680460"/>
                  <a:gd name="connsiteX24" fmla="*/ 2887980 w 3025140"/>
                  <a:gd name="connsiteY24" fmla="*/ 944880 h 3680460"/>
                  <a:gd name="connsiteX25" fmla="*/ 2903220 w 3025140"/>
                  <a:gd name="connsiteY25" fmla="*/ 967740 h 3680460"/>
                  <a:gd name="connsiteX26" fmla="*/ 2918460 w 3025140"/>
                  <a:gd name="connsiteY26" fmla="*/ 1036320 h 3680460"/>
                  <a:gd name="connsiteX27" fmla="*/ 2933700 w 3025140"/>
                  <a:gd name="connsiteY27" fmla="*/ 1074420 h 3680460"/>
                  <a:gd name="connsiteX28" fmla="*/ 2948940 w 3025140"/>
                  <a:gd name="connsiteY28" fmla="*/ 1120140 h 3680460"/>
                  <a:gd name="connsiteX29" fmla="*/ 2964180 w 3025140"/>
                  <a:gd name="connsiteY29" fmla="*/ 1203960 h 3680460"/>
                  <a:gd name="connsiteX30" fmla="*/ 2979420 w 3025140"/>
                  <a:gd name="connsiteY30" fmla="*/ 1264920 h 3680460"/>
                  <a:gd name="connsiteX31" fmla="*/ 2987040 w 3025140"/>
                  <a:gd name="connsiteY31" fmla="*/ 1318260 h 3680460"/>
                  <a:gd name="connsiteX32" fmla="*/ 2994660 w 3025140"/>
                  <a:gd name="connsiteY32" fmla="*/ 1348740 h 3680460"/>
                  <a:gd name="connsiteX33" fmla="*/ 3009900 w 3025140"/>
                  <a:gd name="connsiteY33" fmla="*/ 1432560 h 3680460"/>
                  <a:gd name="connsiteX34" fmla="*/ 3017520 w 3025140"/>
                  <a:gd name="connsiteY34" fmla="*/ 1684020 h 3680460"/>
                  <a:gd name="connsiteX35" fmla="*/ 3025140 w 3025140"/>
                  <a:gd name="connsiteY35" fmla="*/ 1744980 h 3680460"/>
                  <a:gd name="connsiteX36" fmla="*/ 3017520 w 3025140"/>
                  <a:gd name="connsiteY36" fmla="*/ 2095500 h 3680460"/>
                  <a:gd name="connsiteX37" fmla="*/ 3009900 w 3025140"/>
                  <a:gd name="connsiteY37" fmla="*/ 2125980 h 3680460"/>
                  <a:gd name="connsiteX38" fmla="*/ 2979420 w 3025140"/>
                  <a:gd name="connsiteY38" fmla="*/ 2194560 h 3680460"/>
                  <a:gd name="connsiteX39" fmla="*/ 2956560 w 3025140"/>
                  <a:gd name="connsiteY39" fmla="*/ 2247900 h 3680460"/>
                  <a:gd name="connsiteX40" fmla="*/ 2941320 w 3025140"/>
                  <a:gd name="connsiteY40" fmla="*/ 2324100 h 3680460"/>
                  <a:gd name="connsiteX41" fmla="*/ 2926080 w 3025140"/>
                  <a:gd name="connsiteY41" fmla="*/ 2392680 h 3680460"/>
                  <a:gd name="connsiteX42" fmla="*/ 2918460 w 3025140"/>
                  <a:gd name="connsiteY42" fmla="*/ 2415540 h 3680460"/>
                  <a:gd name="connsiteX43" fmla="*/ 2895600 w 3025140"/>
                  <a:gd name="connsiteY43" fmla="*/ 2484120 h 3680460"/>
                  <a:gd name="connsiteX44" fmla="*/ 2872740 w 3025140"/>
                  <a:gd name="connsiteY44" fmla="*/ 2583180 h 3680460"/>
                  <a:gd name="connsiteX45" fmla="*/ 2857500 w 3025140"/>
                  <a:gd name="connsiteY45" fmla="*/ 2606040 h 3680460"/>
                  <a:gd name="connsiteX46" fmla="*/ 2834640 w 3025140"/>
                  <a:gd name="connsiteY46" fmla="*/ 2689860 h 3680460"/>
                  <a:gd name="connsiteX47" fmla="*/ 2811780 w 3025140"/>
                  <a:gd name="connsiteY47" fmla="*/ 2750820 h 3680460"/>
                  <a:gd name="connsiteX48" fmla="*/ 2788920 w 3025140"/>
                  <a:gd name="connsiteY48" fmla="*/ 2781300 h 3680460"/>
                  <a:gd name="connsiteX49" fmla="*/ 2781300 w 3025140"/>
                  <a:gd name="connsiteY49" fmla="*/ 2804160 h 3680460"/>
                  <a:gd name="connsiteX50" fmla="*/ 2743200 w 3025140"/>
                  <a:gd name="connsiteY50" fmla="*/ 2865120 h 3680460"/>
                  <a:gd name="connsiteX51" fmla="*/ 2712720 w 3025140"/>
                  <a:gd name="connsiteY51" fmla="*/ 2903220 h 3680460"/>
                  <a:gd name="connsiteX52" fmla="*/ 2697480 w 3025140"/>
                  <a:gd name="connsiteY52" fmla="*/ 2933700 h 3680460"/>
                  <a:gd name="connsiteX53" fmla="*/ 2674620 w 3025140"/>
                  <a:gd name="connsiteY53" fmla="*/ 2964180 h 3680460"/>
                  <a:gd name="connsiteX54" fmla="*/ 2644140 w 3025140"/>
                  <a:gd name="connsiteY54" fmla="*/ 3009900 h 3680460"/>
                  <a:gd name="connsiteX55" fmla="*/ 2598420 w 3025140"/>
                  <a:gd name="connsiteY55" fmla="*/ 3055620 h 3680460"/>
                  <a:gd name="connsiteX56" fmla="*/ 2575560 w 3025140"/>
                  <a:gd name="connsiteY56" fmla="*/ 3078480 h 3680460"/>
                  <a:gd name="connsiteX57" fmla="*/ 2476500 w 3025140"/>
                  <a:gd name="connsiteY57" fmla="*/ 3169920 h 3680460"/>
                  <a:gd name="connsiteX58" fmla="*/ 2377440 w 3025140"/>
                  <a:gd name="connsiteY58" fmla="*/ 3223260 h 3680460"/>
                  <a:gd name="connsiteX59" fmla="*/ 2293620 w 3025140"/>
                  <a:gd name="connsiteY59" fmla="*/ 3284220 h 3680460"/>
                  <a:gd name="connsiteX60" fmla="*/ 2240280 w 3025140"/>
                  <a:gd name="connsiteY60" fmla="*/ 3314700 h 3680460"/>
                  <a:gd name="connsiteX61" fmla="*/ 2225040 w 3025140"/>
                  <a:gd name="connsiteY61" fmla="*/ 3337560 h 3680460"/>
                  <a:gd name="connsiteX62" fmla="*/ 2141220 w 3025140"/>
                  <a:gd name="connsiteY62" fmla="*/ 3390900 h 3680460"/>
                  <a:gd name="connsiteX63" fmla="*/ 2110740 w 3025140"/>
                  <a:gd name="connsiteY63" fmla="*/ 3413760 h 3680460"/>
                  <a:gd name="connsiteX64" fmla="*/ 2072640 w 3025140"/>
                  <a:gd name="connsiteY64" fmla="*/ 3451860 h 3680460"/>
                  <a:gd name="connsiteX65" fmla="*/ 2019300 w 3025140"/>
                  <a:gd name="connsiteY65" fmla="*/ 3467100 h 3680460"/>
                  <a:gd name="connsiteX66" fmla="*/ 1874520 w 3025140"/>
                  <a:gd name="connsiteY66" fmla="*/ 3512820 h 3680460"/>
                  <a:gd name="connsiteX67" fmla="*/ 1828800 w 3025140"/>
                  <a:gd name="connsiteY67" fmla="*/ 3520440 h 3680460"/>
                  <a:gd name="connsiteX68" fmla="*/ 1722120 w 3025140"/>
                  <a:gd name="connsiteY68" fmla="*/ 3550920 h 3680460"/>
                  <a:gd name="connsiteX69" fmla="*/ 1600200 w 3025140"/>
                  <a:gd name="connsiteY69" fmla="*/ 3589020 h 3680460"/>
                  <a:gd name="connsiteX70" fmla="*/ 1569720 w 3025140"/>
                  <a:gd name="connsiteY70" fmla="*/ 3596640 h 3680460"/>
                  <a:gd name="connsiteX71" fmla="*/ 1546860 w 3025140"/>
                  <a:gd name="connsiteY71" fmla="*/ 3611880 h 3680460"/>
                  <a:gd name="connsiteX72" fmla="*/ 1463040 w 3025140"/>
                  <a:gd name="connsiteY72" fmla="*/ 3627120 h 3680460"/>
                  <a:gd name="connsiteX73" fmla="*/ 1333500 w 3025140"/>
                  <a:gd name="connsiteY73" fmla="*/ 3657600 h 3680460"/>
                  <a:gd name="connsiteX74" fmla="*/ 1203960 w 3025140"/>
                  <a:gd name="connsiteY74" fmla="*/ 3672840 h 3680460"/>
                  <a:gd name="connsiteX75" fmla="*/ 1165860 w 3025140"/>
                  <a:gd name="connsiteY75" fmla="*/ 3680460 h 3680460"/>
                  <a:gd name="connsiteX76" fmla="*/ 449580 w 3025140"/>
                  <a:gd name="connsiteY76" fmla="*/ 3672840 h 3680460"/>
                  <a:gd name="connsiteX77" fmla="*/ 426720 w 3025140"/>
                  <a:gd name="connsiteY77" fmla="*/ 3665220 h 3680460"/>
                  <a:gd name="connsiteX78" fmla="*/ 388620 w 3025140"/>
                  <a:gd name="connsiteY78" fmla="*/ 3657600 h 3680460"/>
                  <a:gd name="connsiteX79" fmla="*/ 335280 w 3025140"/>
                  <a:gd name="connsiteY79" fmla="*/ 3627120 h 3680460"/>
                  <a:gd name="connsiteX80" fmla="*/ 266700 w 3025140"/>
                  <a:gd name="connsiteY80" fmla="*/ 3604260 h 3680460"/>
                  <a:gd name="connsiteX81" fmla="*/ 243840 w 3025140"/>
                  <a:gd name="connsiteY81" fmla="*/ 3589020 h 3680460"/>
                  <a:gd name="connsiteX82" fmla="*/ 160020 w 3025140"/>
                  <a:gd name="connsiteY82" fmla="*/ 3558540 h 3680460"/>
                  <a:gd name="connsiteX83" fmla="*/ 137160 w 3025140"/>
                  <a:gd name="connsiteY83" fmla="*/ 3535680 h 3680460"/>
                  <a:gd name="connsiteX84" fmla="*/ 99060 w 3025140"/>
                  <a:gd name="connsiteY84" fmla="*/ 3520440 h 3680460"/>
                  <a:gd name="connsiteX85" fmla="*/ 83820 w 3025140"/>
                  <a:gd name="connsiteY85" fmla="*/ 3489960 h 3680460"/>
                  <a:gd name="connsiteX86" fmla="*/ 45720 w 3025140"/>
                  <a:gd name="connsiteY86" fmla="*/ 3436620 h 3680460"/>
                  <a:gd name="connsiteX87" fmla="*/ 0 w 3025140"/>
                  <a:gd name="connsiteY87" fmla="*/ 3352800 h 3680460"/>
                  <a:gd name="connsiteX88" fmla="*/ 30480 w 3025140"/>
                  <a:gd name="connsiteY88" fmla="*/ 3345180 h 3680460"/>
                  <a:gd name="connsiteX89" fmla="*/ 137160 w 3025140"/>
                  <a:gd name="connsiteY89" fmla="*/ 3360420 h 3680460"/>
                  <a:gd name="connsiteX90" fmla="*/ 167640 w 3025140"/>
                  <a:gd name="connsiteY90" fmla="*/ 3390900 h 3680460"/>
                  <a:gd name="connsiteX91" fmla="*/ 198120 w 3025140"/>
                  <a:gd name="connsiteY91" fmla="*/ 3406140 h 3680460"/>
                  <a:gd name="connsiteX92" fmla="*/ 350520 w 3025140"/>
                  <a:gd name="connsiteY92" fmla="*/ 3436620 h 3680460"/>
                  <a:gd name="connsiteX93" fmla="*/ 381000 w 3025140"/>
                  <a:gd name="connsiteY93" fmla="*/ 3451860 h 3680460"/>
                  <a:gd name="connsiteX94" fmla="*/ 449580 w 3025140"/>
                  <a:gd name="connsiteY94" fmla="*/ 3489960 h 3680460"/>
                  <a:gd name="connsiteX95" fmla="*/ 495300 w 3025140"/>
                  <a:gd name="connsiteY95" fmla="*/ 3520440 h 3680460"/>
                  <a:gd name="connsiteX96" fmla="*/ 525780 w 3025140"/>
                  <a:gd name="connsiteY96" fmla="*/ 3535680 h 3680460"/>
                  <a:gd name="connsiteX97" fmla="*/ 731520 w 3025140"/>
                  <a:gd name="connsiteY97" fmla="*/ 3558540 h 3680460"/>
                  <a:gd name="connsiteX98" fmla="*/ 1341120 w 3025140"/>
                  <a:gd name="connsiteY98" fmla="*/ 3550920 h 3680460"/>
                  <a:gd name="connsiteX99" fmla="*/ 1440180 w 3025140"/>
                  <a:gd name="connsiteY99" fmla="*/ 3528060 h 3680460"/>
                  <a:gd name="connsiteX100" fmla="*/ 1539240 w 3025140"/>
                  <a:gd name="connsiteY100" fmla="*/ 3520440 h 3680460"/>
                  <a:gd name="connsiteX101" fmla="*/ 1562100 w 3025140"/>
                  <a:gd name="connsiteY101" fmla="*/ 3512820 h 3680460"/>
                  <a:gd name="connsiteX102" fmla="*/ 1630680 w 3025140"/>
                  <a:gd name="connsiteY102" fmla="*/ 3497580 h 3680460"/>
                  <a:gd name="connsiteX103" fmla="*/ 1699260 w 3025140"/>
                  <a:gd name="connsiteY103" fmla="*/ 3474720 h 3680460"/>
                  <a:gd name="connsiteX104" fmla="*/ 1790700 w 3025140"/>
                  <a:gd name="connsiteY104" fmla="*/ 3451860 h 3680460"/>
                  <a:gd name="connsiteX105" fmla="*/ 1821180 w 3025140"/>
                  <a:gd name="connsiteY105" fmla="*/ 3444240 h 3680460"/>
                  <a:gd name="connsiteX106" fmla="*/ 1844040 w 3025140"/>
                  <a:gd name="connsiteY106" fmla="*/ 3429000 h 3680460"/>
                  <a:gd name="connsiteX107" fmla="*/ 1874520 w 3025140"/>
                  <a:gd name="connsiteY107" fmla="*/ 3421380 h 3680460"/>
                  <a:gd name="connsiteX108" fmla="*/ 1927860 w 3025140"/>
                  <a:gd name="connsiteY108" fmla="*/ 3398520 h 3680460"/>
                  <a:gd name="connsiteX109" fmla="*/ 1950720 w 3025140"/>
                  <a:gd name="connsiteY109" fmla="*/ 3390900 h 3680460"/>
                  <a:gd name="connsiteX110" fmla="*/ 2004060 w 3025140"/>
                  <a:gd name="connsiteY110" fmla="*/ 3360420 h 3680460"/>
                  <a:gd name="connsiteX111" fmla="*/ 2042160 w 3025140"/>
                  <a:gd name="connsiteY111" fmla="*/ 3352800 h 3680460"/>
                  <a:gd name="connsiteX112" fmla="*/ 2080260 w 3025140"/>
                  <a:gd name="connsiteY112" fmla="*/ 3337560 h 3680460"/>
                  <a:gd name="connsiteX113" fmla="*/ 2156460 w 3025140"/>
                  <a:gd name="connsiteY113" fmla="*/ 3299460 h 3680460"/>
                  <a:gd name="connsiteX114" fmla="*/ 2179320 w 3025140"/>
                  <a:gd name="connsiteY114" fmla="*/ 3284220 h 3680460"/>
                  <a:gd name="connsiteX115" fmla="*/ 2209800 w 3025140"/>
                  <a:gd name="connsiteY115" fmla="*/ 3276600 h 3680460"/>
                  <a:gd name="connsiteX116" fmla="*/ 2263140 w 3025140"/>
                  <a:gd name="connsiteY116" fmla="*/ 3230880 h 3680460"/>
                  <a:gd name="connsiteX117" fmla="*/ 2346960 w 3025140"/>
                  <a:gd name="connsiteY117" fmla="*/ 3154680 h 3680460"/>
                  <a:gd name="connsiteX118" fmla="*/ 2400300 w 3025140"/>
                  <a:gd name="connsiteY118" fmla="*/ 3070860 h 3680460"/>
                  <a:gd name="connsiteX119" fmla="*/ 2415540 w 3025140"/>
                  <a:gd name="connsiteY119" fmla="*/ 3048000 h 3680460"/>
                  <a:gd name="connsiteX120" fmla="*/ 2446020 w 3025140"/>
                  <a:gd name="connsiteY120" fmla="*/ 3032760 h 3680460"/>
                  <a:gd name="connsiteX121" fmla="*/ 2468880 w 3025140"/>
                  <a:gd name="connsiteY121" fmla="*/ 3009900 h 3680460"/>
                  <a:gd name="connsiteX122" fmla="*/ 2537460 w 3025140"/>
                  <a:gd name="connsiteY122" fmla="*/ 2926080 h 3680460"/>
                  <a:gd name="connsiteX123" fmla="*/ 2575560 w 3025140"/>
                  <a:gd name="connsiteY123" fmla="*/ 2880360 h 3680460"/>
                  <a:gd name="connsiteX124" fmla="*/ 2628900 w 3025140"/>
                  <a:gd name="connsiteY124" fmla="*/ 2811780 h 3680460"/>
                  <a:gd name="connsiteX125" fmla="*/ 2644140 w 3025140"/>
                  <a:gd name="connsiteY125" fmla="*/ 2773680 h 3680460"/>
                  <a:gd name="connsiteX126" fmla="*/ 2674620 w 3025140"/>
                  <a:gd name="connsiteY126" fmla="*/ 2727960 h 3680460"/>
                  <a:gd name="connsiteX127" fmla="*/ 2689860 w 3025140"/>
                  <a:gd name="connsiteY127" fmla="*/ 2705100 h 3680460"/>
                  <a:gd name="connsiteX128" fmla="*/ 2705100 w 3025140"/>
                  <a:gd name="connsiteY128" fmla="*/ 2667000 h 3680460"/>
                  <a:gd name="connsiteX129" fmla="*/ 2727960 w 3025140"/>
                  <a:gd name="connsiteY129" fmla="*/ 2621280 h 3680460"/>
                  <a:gd name="connsiteX130" fmla="*/ 2735580 w 3025140"/>
                  <a:gd name="connsiteY130" fmla="*/ 2590800 h 3680460"/>
                  <a:gd name="connsiteX131" fmla="*/ 2758440 w 3025140"/>
                  <a:gd name="connsiteY131" fmla="*/ 2545080 h 3680460"/>
                  <a:gd name="connsiteX132" fmla="*/ 2788920 w 3025140"/>
                  <a:gd name="connsiteY132" fmla="*/ 2484120 h 3680460"/>
                  <a:gd name="connsiteX133" fmla="*/ 2811780 w 3025140"/>
                  <a:gd name="connsiteY133" fmla="*/ 2407920 h 3680460"/>
                  <a:gd name="connsiteX134" fmla="*/ 2842260 w 3025140"/>
                  <a:gd name="connsiteY134" fmla="*/ 2324100 h 3680460"/>
                  <a:gd name="connsiteX135" fmla="*/ 2857500 w 3025140"/>
                  <a:gd name="connsiteY135" fmla="*/ 2247900 h 3680460"/>
                  <a:gd name="connsiteX136" fmla="*/ 2872740 w 3025140"/>
                  <a:gd name="connsiteY136" fmla="*/ 2194560 h 3680460"/>
                  <a:gd name="connsiteX137" fmla="*/ 2887980 w 3025140"/>
                  <a:gd name="connsiteY137" fmla="*/ 2148840 h 3680460"/>
                  <a:gd name="connsiteX138" fmla="*/ 2910840 w 3025140"/>
                  <a:gd name="connsiteY138" fmla="*/ 2087880 h 3680460"/>
                  <a:gd name="connsiteX139" fmla="*/ 2918460 w 3025140"/>
                  <a:gd name="connsiteY139" fmla="*/ 2049780 h 3680460"/>
                  <a:gd name="connsiteX140" fmla="*/ 2933700 w 3025140"/>
                  <a:gd name="connsiteY140" fmla="*/ 1844040 h 3680460"/>
                  <a:gd name="connsiteX141" fmla="*/ 2918460 w 3025140"/>
                  <a:gd name="connsiteY141" fmla="*/ 1470660 h 3680460"/>
                  <a:gd name="connsiteX142" fmla="*/ 2895600 w 3025140"/>
                  <a:gd name="connsiteY142" fmla="*/ 1371600 h 3680460"/>
                  <a:gd name="connsiteX143" fmla="*/ 2880360 w 3025140"/>
                  <a:gd name="connsiteY143" fmla="*/ 1341120 h 3680460"/>
                  <a:gd name="connsiteX144" fmla="*/ 2857500 w 3025140"/>
                  <a:gd name="connsiteY144" fmla="*/ 1272540 h 3680460"/>
                  <a:gd name="connsiteX145" fmla="*/ 2849880 w 3025140"/>
                  <a:gd name="connsiteY145" fmla="*/ 1234440 h 3680460"/>
                  <a:gd name="connsiteX146" fmla="*/ 2827020 w 3025140"/>
                  <a:gd name="connsiteY146" fmla="*/ 1196340 h 3680460"/>
                  <a:gd name="connsiteX147" fmla="*/ 2811780 w 3025140"/>
                  <a:gd name="connsiteY147" fmla="*/ 1165860 h 3680460"/>
                  <a:gd name="connsiteX148" fmla="*/ 2781300 w 3025140"/>
                  <a:gd name="connsiteY148" fmla="*/ 1127760 h 3680460"/>
                  <a:gd name="connsiteX149" fmla="*/ 2766060 w 3025140"/>
                  <a:gd name="connsiteY149" fmla="*/ 1089660 h 3680460"/>
                  <a:gd name="connsiteX150" fmla="*/ 2735580 w 3025140"/>
                  <a:gd name="connsiteY150" fmla="*/ 1043940 h 3680460"/>
                  <a:gd name="connsiteX151" fmla="*/ 2727960 w 3025140"/>
                  <a:gd name="connsiteY151" fmla="*/ 1021080 h 3680460"/>
                  <a:gd name="connsiteX152" fmla="*/ 2682240 w 3025140"/>
                  <a:gd name="connsiteY152" fmla="*/ 937260 h 3680460"/>
                  <a:gd name="connsiteX153" fmla="*/ 2659380 w 3025140"/>
                  <a:gd name="connsiteY153" fmla="*/ 876300 h 3680460"/>
                  <a:gd name="connsiteX154" fmla="*/ 2644140 w 3025140"/>
                  <a:gd name="connsiteY154" fmla="*/ 845820 h 3680460"/>
                  <a:gd name="connsiteX155" fmla="*/ 2636520 w 3025140"/>
                  <a:gd name="connsiteY155" fmla="*/ 822960 h 3680460"/>
                  <a:gd name="connsiteX156" fmla="*/ 2621280 w 3025140"/>
                  <a:gd name="connsiteY156" fmla="*/ 800100 h 3680460"/>
                  <a:gd name="connsiteX157" fmla="*/ 2598420 w 3025140"/>
                  <a:gd name="connsiteY157" fmla="*/ 739140 h 3680460"/>
                  <a:gd name="connsiteX158" fmla="*/ 2458403 w 3025140"/>
                  <a:gd name="connsiteY158" fmla="*/ 621983 h 3680460"/>
                  <a:gd name="connsiteX159" fmla="*/ 2301240 w 3025140"/>
                  <a:gd name="connsiteY159" fmla="*/ 458152 h 3680460"/>
                  <a:gd name="connsiteX160" fmla="*/ 2237423 w 3025140"/>
                  <a:gd name="connsiteY160" fmla="*/ 406717 h 3680460"/>
                  <a:gd name="connsiteX161" fmla="*/ 2103120 w 3025140"/>
                  <a:gd name="connsiteY161" fmla="*/ 312420 h 3680460"/>
                  <a:gd name="connsiteX162" fmla="*/ 2042160 w 3025140"/>
                  <a:gd name="connsiteY162" fmla="*/ 266700 h 3680460"/>
                  <a:gd name="connsiteX163" fmla="*/ 2004060 w 3025140"/>
                  <a:gd name="connsiteY163" fmla="*/ 251460 h 3680460"/>
                  <a:gd name="connsiteX164" fmla="*/ 1958340 w 3025140"/>
                  <a:gd name="connsiteY164" fmla="*/ 220980 h 3680460"/>
                  <a:gd name="connsiteX165" fmla="*/ 1897380 w 3025140"/>
                  <a:gd name="connsiteY165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887980 w 3025140"/>
                  <a:gd name="connsiteY23" fmla="*/ 944880 h 3680460"/>
                  <a:gd name="connsiteX24" fmla="*/ 2903220 w 3025140"/>
                  <a:gd name="connsiteY24" fmla="*/ 967740 h 3680460"/>
                  <a:gd name="connsiteX25" fmla="*/ 2918460 w 3025140"/>
                  <a:gd name="connsiteY25" fmla="*/ 1036320 h 3680460"/>
                  <a:gd name="connsiteX26" fmla="*/ 2933700 w 3025140"/>
                  <a:gd name="connsiteY26" fmla="*/ 1074420 h 3680460"/>
                  <a:gd name="connsiteX27" fmla="*/ 2948940 w 3025140"/>
                  <a:gd name="connsiteY27" fmla="*/ 1120140 h 3680460"/>
                  <a:gd name="connsiteX28" fmla="*/ 2964180 w 3025140"/>
                  <a:gd name="connsiteY28" fmla="*/ 1203960 h 3680460"/>
                  <a:gd name="connsiteX29" fmla="*/ 2979420 w 3025140"/>
                  <a:gd name="connsiteY29" fmla="*/ 1264920 h 3680460"/>
                  <a:gd name="connsiteX30" fmla="*/ 2987040 w 3025140"/>
                  <a:gd name="connsiteY30" fmla="*/ 1318260 h 3680460"/>
                  <a:gd name="connsiteX31" fmla="*/ 2994660 w 3025140"/>
                  <a:gd name="connsiteY31" fmla="*/ 1348740 h 3680460"/>
                  <a:gd name="connsiteX32" fmla="*/ 3009900 w 3025140"/>
                  <a:gd name="connsiteY32" fmla="*/ 1432560 h 3680460"/>
                  <a:gd name="connsiteX33" fmla="*/ 3017520 w 3025140"/>
                  <a:gd name="connsiteY33" fmla="*/ 1684020 h 3680460"/>
                  <a:gd name="connsiteX34" fmla="*/ 3025140 w 3025140"/>
                  <a:gd name="connsiteY34" fmla="*/ 1744980 h 3680460"/>
                  <a:gd name="connsiteX35" fmla="*/ 3017520 w 3025140"/>
                  <a:gd name="connsiteY35" fmla="*/ 2095500 h 3680460"/>
                  <a:gd name="connsiteX36" fmla="*/ 3009900 w 3025140"/>
                  <a:gd name="connsiteY36" fmla="*/ 2125980 h 3680460"/>
                  <a:gd name="connsiteX37" fmla="*/ 2979420 w 3025140"/>
                  <a:gd name="connsiteY37" fmla="*/ 2194560 h 3680460"/>
                  <a:gd name="connsiteX38" fmla="*/ 2956560 w 3025140"/>
                  <a:gd name="connsiteY38" fmla="*/ 2247900 h 3680460"/>
                  <a:gd name="connsiteX39" fmla="*/ 2941320 w 3025140"/>
                  <a:gd name="connsiteY39" fmla="*/ 2324100 h 3680460"/>
                  <a:gd name="connsiteX40" fmla="*/ 2926080 w 3025140"/>
                  <a:gd name="connsiteY40" fmla="*/ 2392680 h 3680460"/>
                  <a:gd name="connsiteX41" fmla="*/ 2918460 w 3025140"/>
                  <a:gd name="connsiteY41" fmla="*/ 2415540 h 3680460"/>
                  <a:gd name="connsiteX42" fmla="*/ 2895600 w 3025140"/>
                  <a:gd name="connsiteY42" fmla="*/ 2484120 h 3680460"/>
                  <a:gd name="connsiteX43" fmla="*/ 2872740 w 3025140"/>
                  <a:gd name="connsiteY43" fmla="*/ 2583180 h 3680460"/>
                  <a:gd name="connsiteX44" fmla="*/ 2857500 w 3025140"/>
                  <a:gd name="connsiteY44" fmla="*/ 2606040 h 3680460"/>
                  <a:gd name="connsiteX45" fmla="*/ 2834640 w 3025140"/>
                  <a:gd name="connsiteY45" fmla="*/ 2689860 h 3680460"/>
                  <a:gd name="connsiteX46" fmla="*/ 2811780 w 3025140"/>
                  <a:gd name="connsiteY46" fmla="*/ 2750820 h 3680460"/>
                  <a:gd name="connsiteX47" fmla="*/ 2788920 w 3025140"/>
                  <a:gd name="connsiteY47" fmla="*/ 2781300 h 3680460"/>
                  <a:gd name="connsiteX48" fmla="*/ 2781300 w 3025140"/>
                  <a:gd name="connsiteY48" fmla="*/ 2804160 h 3680460"/>
                  <a:gd name="connsiteX49" fmla="*/ 2743200 w 3025140"/>
                  <a:gd name="connsiteY49" fmla="*/ 2865120 h 3680460"/>
                  <a:gd name="connsiteX50" fmla="*/ 2712720 w 3025140"/>
                  <a:gd name="connsiteY50" fmla="*/ 2903220 h 3680460"/>
                  <a:gd name="connsiteX51" fmla="*/ 2697480 w 3025140"/>
                  <a:gd name="connsiteY51" fmla="*/ 2933700 h 3680460"/>
                  <a:gd name="connsiteX52" fmla="*/ 2674620 w 3025140"/>
                  <a:gd name="connsiteY52" fmla="*/ 2964180 h 3680460"/>
                  <a:gd name="connsiteX53" fmla="*/ 2644140 w 3025140"/>
                  <a:gd name="connsiteY53" fmla="*/ 3009900 h 3680460"/>
                  <a:gd name="connsiteX54" fmla="*/ 2598420 w 3025140"/>
                  <a:gd name="connsiteY54" fmla="*/ 3055620 h 3680460"/>
                  <a:gd name="connsiteX55" fmla="*/ 2575560 w 3025140"/>
                  <a:gd name="connsiteY55" fmla="*/ 3078480 h 3680460"/>
                  <a:gd name="connsiteX56" fmla="*/ 2476500 w 3025140"/>
                  <a:gd name="connsiteY56" fmla="*/ 3169920 h 3680460"/>
                  <a:gd name="connsiteX57" fmla="*/ 2377440 w 3025140"/>
                  <a:gd name="connsiteY57" fmla="*/ 3223260 h 3680460"/>
                  <a:gd name="connsiteX58" fmla="*/ 2293620 w 3025140"/>
                  <a:gd name="connsiteY58" fmla="*/ 3284220 h 3680460"/>
                  <a:gd name="connsiteX59" fmla="*/ 2240280 w 3025140"/>
                  <a:gd name="connsiteY59" fmla="*/ 3314700 h 3680460"/>
                  <a:gd name="connsiteX60" fmla="*/ 2225040 w 3025140"/>
                  <a:gd name="connsiteY60" fmla="*/ 3337560 h 3680460"/>
                  <a:gd name="connsiteX61" fmla="*/ 2141220 w 3025140"/>
                  <a:gd name="connsiteY61" fmla="*/ 3390900 h 3680460"/>
                  <a:gd name="connsiteX62" fmla="*/ 2110740 w 3025140"/>
                  <a:gd name="connsiteY62" fmla="*/ 3413760 h 3680460"/>
                  <a:gd name="connsiteX63" fmla="*/ 2072640 w 3025140"/>
                  <a:gd name="connsiteY63" fmla="*/ 3451860 h 3680460"/>
                  <a:gd name="connsiteX64" fmla="*/ 2019300 w 3025140"/>
                  <a:gd name="connsiteY64" fmla="*/ 3467100 h 3680460"/>
                  <a:gd name="connsiteX65" fmla="*/ 1874520 w 3025140"/>
                  <a:gd name="connsiteY65" fmla="*/ 3512820 h 3680460"/>
                  <a:gd name="connsiteX66" fmla="*/ 1828800 w 3025140"/>
                  <a:gd name="connsiteY66" fmla="*/ 3520440 h 3680460"/>
                  <a:gd name="connsiteX67" fmla="*/ 1722120 w 3025140"/>
                  <a:gd name="connsiteY67" fmla="*/ 3550920 h 3680460"/>
                  <a:gd name="connsiteX68" fmla="*/ 1600200 w 3025140"/>
                  <a:gd name="connsiteY68" fmla="*/ 3589020 h 3680460"/>
                  <a:gd name="connsiteX69" fmla="*/ 1569720 w 3025140"/>
                  <a:gd name="connsiteY69" fmla="*/ 3596640 h 3680460"/>
                  <a:gd name="connsiteX70" fmla="*/ 1546860 w 3025140"/>
                  <a:gd name="connsiteY70" fmla="*/ 3611880 h 3680460"/>
                  <a:gd name="connsiteX71" fmla="*/ 1463040 w 3025140"/>
                  <a:gd name="connsiteY71" fmla="*/ 3627120 h 3680460"/>
                  <a:gd name="connsiteX72" fmla="*/ 1333500 w 3025140"/>
                  <a:gd name="connsiteY72" fmla="*/ 3657600 h 3680460"/>
                  <a:gd name="connsiteX73" fmla="*/ 1203960 w 3025140"/>
                  <a:gd name="connsiteY73" fmla="*/ 3672840 h 3680460"/>
                  <a:gd name="connsiteX74" fmla="*/ 1165860 w 3025140"/>
                  <a:gd name="connsiteY74" fmla="*/ 3680460 h 3680460"/>
                  <a:gd name="connsiteX75" fmla="*/ 449580 w 3025140"/>
                  <a:gd name="connsiteY75" fmla="*/ 3672840 h 3680460"/>
                  <a:gd name="connsiteX76" fmla="*/ 426720 w 3025140"/>
                  <a:gd name="connsiteY76" fmla="*/ 3665220 h 3680460"/>
                  <a:gd name="connsiteX77" fmla="*/ 388620 w 3025140"/>
                  <a:gd name="connsiteY77" fmla="*/ 3657600 h 3680460"/>
                  <a:gd name="connsiteX78" fmla="*/ 335280 w 3025140"/>
                  <a:gd name="connsiteY78" fmla="*/ 3627120 h 3680460"/>
                  <a:gd name="connsiteX79" fmla="*/ 266700 w 3025140"/>
                  <a:gd name="connsiteY79" fmla="*/ 3604260 h 3680460"/>
                  <a:gd name="connsiteX80" fmla="*/ 243840 w 3025140"/>
                  <a:gd name="connsiteY80" fmla="*/ 3589020 h 3680460"/>
                  <a:gd name="connsiteX81" fmla="*/ 160020 w 3025140"/>
                  <a:gd name="connsiteY81" fmla="*/ 3558540 h 3680460"/>
                  <a:gd name="connsiteX82" fmla="*/ 137160 w 3025140"/>
                  <a:gd name="connsiteY82" fmla="*/ 3535680 h 3680460"/>
                  <a:gd name="connsiteX83" fmla="*/ 99060 w 3025140"/>
                  <a:gd name="connsiteY83" fmla="*/ 3520440 h 3680460"/>
                  <a:gd name="connsiteX84" fmla="*/ 83820 w 3025140"/>
                  <a:gd name="connsiteY84" fmla="*/ 3489960 h 3680460"/>
                  <a:gd name="connsiteX85" fmla="*/ 45720 w 3025140"/>
                  <a:gd name="connsiteY85" fmla="*/ 3436620 h 3680460"/>
                  <a:gd name="connsiteX86" fmla="*/ 0 w 3025140"/>
                  <a:gd name="connsiteY86" fmla="*/ 3352800 h 3680460"/>
                  <a:gd name="connsiteX87" fmla="*/ 30480 w 3025140"/>
                  <a:gd name="connsiteY87" fmla="*/ 3345180 h 3680460"/>
                  <a:gd name="connsiteX88" fmla="*/ 137160 w 3025140"/>
                  <a:gd name="connsiteY88" fmla="*/ 3360420 h 3680460"/>
                  <a:gd name="connsiteX89" fmla="*/ 167640 w 3025140"/>
                  <a:gd name="connsiteY89" fmla="*/ 3390900 h 3680460"/>
                  <a:gd name="connsiteX90" fmla="*/ 198120 w 3025140"/>
                  <a:gd name="connsiteY90" fmla="*/ 3406140 h 3680460"/>
                  <a:gd name="connsiteX91" fmla="*/ 350520 w 3025140"/>
                  <a:gd name="connsiteY91" fmla="*/ 3436620 h 3680460"/>
                  <a:gd name="connsiteX92" fmla="*/ 381000 w 3025140"/>
                  <a:gd name="connsiteY92" fmla="*/ 3451860 h 3680460"/>
                  <a:gd name="connsiteX93" fmla="*/ 449580 w 3025140"/>
                  <a:gd name="connsiteY93" fmla="*/ 3489960 h 3680460"/>
                  <a:gd name="connsiteX94" fmla="*/ 495300 w 3025140"/>
                  <a:gd name="connsiteY94" fmla="*/ 3520440 h 3680460"/>
                  <a:gd name="connsiteX95" fmla="*/ 525780 w 3025140"/>
                  <a:gd name="connsiteY95" fmla="*/ 3535680 h 3680460"/>
                  <a:gd name="connsiteX96" fmla="*/ 731520 w 3025140"/>
                  <a:gd name="connsiteY96" fmla="*/ 3558540 h 3680460"/>
                  <a:gd name="connsiteX97" fmla="*/ 1341120 w 3025140"/>
                  <a:gd name="connsiteY97" fmla="*/ 3550920 h 3680460"/>
                  <a:gd name="connsiteX98" fmla="*/ 1440180 w 3025140"/>
                  <a:gd name="connsiteY98" fmla="*/ 3528060 h 3680460"/>
                  <a:gd name="connsiteX99" fmla="*/ 1539240 w 3025140"/>
                  <a:gd name="connsiteY99" fmla="*/ 3520440 h 3680460"/>
                  <a:gd name="connsiteX100" fmla="*/ 1562100 w 3025140"/>
                  <a:gd name="connsiteY100" fmla="*/ 3512820 h 3680460"/>
                  <a:gd name="connsiteX101" fmla="*/ 1630680 w 3025140"/>
                  <a:gd name="connsiteY101" fmla="*/ 3497580 h 3680460"/>
                  <a:gd name="connsiteX102" fmla="*/ 1699260 w 3025140"/>
                  <a:gd name="connsiteY102" fmla="*/ 3474720 h 3680460"/>
                  <a:gd name="connsiteX103" fmla="*/ 1790700 w 3025140"/>
                  <a:gd name="connsiteY103" fmla="*/ 3451860 h 3680460"/>
                  <a:gd name="connsiteX104" fmla="*/ 1821180 w 3025140"/>
                  <a:gd name="connsiteY104" fmla="*/ 3444240 h 3680460"/>
                  <a:gd name="connsiteX105" fmla="*/ 1844040 w 3025140"/>
                  <a:gd name="connsiteY105" fmla="*/ 3429000 h 3680460"/>
                  <a:gd name="connsiteX106" fmla="*/ 1874520 w 3025140"/>
                  <a:gd name="connsiteY106" fmla="*/ 3421380 h 3680460"/>
                  <a:gd name="connsiteX107" fmla="*/ 1927860 w 3025140"/>
                  <a:gd name="connsiteY107" fmla="*/ 3398520 h 3680460"/>
                  <a:gd name="connsiteX108" fmla="*/ 1950720 w 3025140"/>
                  <a:gd name="connsiteY108" fmla="*/ 3390900 h 3680460"/>
                  <a:gd name="connsiteX109" fmla="*/ 2004060 w 3025140"/>
                  <a:gd name="connsiteY109" fmla="*/ 3360420 h 3680460"/>
                  <a:gd name="connsiteX110" fmla="*/ 2042160 w 3025140"/>
                  <a:gd name="connsiteY110" fmla="*/ 3352800 h 3680460"/>
                  <a:gd name="connsiteX111" fmla="*/ 2080260 w 3025140"/>
                  <a:gd name="connsiteY111" fmla="*/ 3337560 h 3680460"/>
                  <a:gd name="connsiteX112" fmla="*/ 2156460 w 3025140"/>
                  <a:gd name="connsiteY112" fmla="*/ 3299460 h 3680460"/>
                  <a:gd name="connsiteX113" fmla="*/ 2179320 w 3025140"/>
                  <a:gd name="connsiteY113" fmla="*/ 3284220 h 3680460"/>
                  <a:gd name="connsiteX114" fmla="*/ 2209800 w 3025140"/>
                  <a:gd name="connsiteY114" fmla="*/ 3276600 h 3680460"/>
                  <a:gd name="connsiteX115" fmla="*/ 2263140 w 3025140"/>
                  <a:gd name="connsiteY115" fmla="*/ 3230880 h 3680460"/>
                  <a:gd name="connsiteX116" fmla="*/ 2346960 w 3025140"/>
                  <a:gd name="connsiteY116" fmla="*/ 3154680 h 3680460"/>
                  <a:gd name="connsiteX117" fmla="*/ 2400300 w 3025140"/>
                  <a:gd name="connsiteY117" fmla="*/ 3070860 h 3680460"/>
                  <a:gd name="connsiteX118" fmla="*/ 2415540 w 3025140"/>
                  <a:gd name="connsiteY118" fmla="*/ 3048000 h 3680460"/>
                  <a:gd name="connsiteX119" fmla="*/ 2446020 w 3025140"/>
                  <a:gd name="connsiteY119" fmla="*/ 3032760 h 3680460"/>
                  <a:gd name="connsiteX120" fmla="*/ 2468880 w 3025140"/>
                  <a:gd name="connsiteY120" fmla="*/ 3009900 h 3680460"/>
                  <a:gd name="connsiteX121" fmla="*/ 2537460 w 3025140"/>
                  <a:gd name="connsiteY121" fmla="*/ 2926080 h 3680460"/>
                  <a:gd name="connsiteX122" fmla="*/ 2575560 w 3025140"/>
                  <a:gd name="connsiteY122" fmla="*/ 2880360 h 3680460"/>
                  <a:gd name="connsiteX123" fmla="*/ 2628900 w 3025140"/>
                  <a:gd name="connsiteY123" fmla="*/ 2811780 h 3680460"/>
                  <a:gd name="connsiteX124" fmla="*/ 2644140 w 3025140"/>
                  <a:gd name="connsiteY124" fmla="*/ 2773680 h 3680460"/>
                  <a:gd name="connsiteX125" fmla="*/ 2674620 w 3025140"/>
                  <a:gd name="connsiteY125" fmla="*/ 2727960 h 3680460"/>
                  <a:gd name="connsiteX126" fmla="*/ 2689860 w 3025140"/>
                  <a:gd name="connsiteY126" fmla="*/ 2705100 h 3680460"/>
                  <a:gd name="connsiteX127" fmla="*/ 2705100 w 3025140"/>
                  <a:gd name="connsiteY127" fmla="*/ 2667000 h 3680460"/>
                  <a:gd name="connsiteX128" fmla="*/ 2727960 w 3025140"/>
                  <a:gd name="connsiteY128" fmla="*/ 2621280 h 3680460"/>
                  <a:gd name="connsiteX129" fmla="*/ 2735580 w 3025140"/>
                  <a:gd name="connsiteY129" fmla="*/ 2590800 h 3680460"/>
                  <a:gd name="connsiteX130" fmla="*/ 2758440 w 3025140"/>
                  <a:gd name="connsiteY130" fmla="*/ 2545080 h 3680460"/>
                  <a:gd name="connsiteX131" fmla="*/ 2788920 w 3025140"/>
                  <a:gd name="connsiteY131" fmla="*/ 2484120 h 3680460"/>
                  <a:gd name="connsiteX132" fmla="*/ 2811780 w 3025140"/>
                  <a:gd name="connsiteY132" fmla="*/ 2407920 h 3680460"/>
                  <a:gd name="connsiteX133" fmla="*/ 2842260 w 3025140"/>
                  <a:gd name="connsiteY133" fmla="*/ 2324100 h 3680460"/>
                  <a:gd name="connsiteX134" fmla="*/ 2857500 w 3025140"/>
                  <a:gd name="connsiteY134" fmla="*/ 2247900 h 3680460"/>
                  <a:gd name="connsiteX135" fmla="*/ 2872740 w 3025140"/>
                  <a:gd name="connsiteY135" fmla="*/ 2194560 h 3680460"/>
                  <a:gd name="connsiteX136" fmla="*/ 2887980 w 3025140"/>
                  <a:gd name="connsiteY136" fmla="*/ 2148840 h 3680460"/>
                  <a:gd name="connsiteX137" fmla="*/ 2910840 w 3025140"/>
                  <a:gd name="connsiteY137" fmla="*/ 2087880 h 3680460"/>
                  <a:gd name="connsiteX138" fmla="*/ 2918460 w 3025140"/>
                  <a:gd name="connsiteY138" fmla="*/ 2049780 h 3680460"/>
                  <a:gd name="connsiteX139" fmla="*/ 2933700 w 3025140"/>
                  <a:gd name="connsiteY139" fmla="*/ 1844040 h 3680460"/>
                  <a:gd name="connsiteX140" fmla="*/ 2918460 w 3025140"/>
                  <a:gd name="connsiteY140" fmla="*/ 1470660 h 3680460"/>
                  <a:gd name="connsiteX141" fmla="*/ 2895600 w 3025140"/>
                  <a:gd name="connsiteY141" fmla="*/ 1371600 h 3680460"/>
                  <a:gd name="connsiteX142" fmla="*/ 2880360 w 3025140"/>
                  <a:gd name="connsiteY142" fmla="*/ 1341120 h 3680460"/>
                  <a:gd name="connsiteX143" fmla="*/ 2857500 w 3025140"/>
                  <a:gd name="connsiteY143" fmla="*/ 1272540 h 3680460"/>
                  <a:gd name="connsiteX144" fmla="*/ 2849880 w 3025140"/>
                  <a:gd name="connsiteY144" fmla="*/ 1234440 h 3680460"/>
                  <a:gd name="connsiteX145" fmla="*/ 2827020 w 3025140"/>
                  <a:gd name="connsiteY145" fmla="*/ 1196340 h 3680460"/>
                  <a:gd name="connsiteX146" fmla="*/ 2811780 w 3025140"/>
                  <a:gd name="connsiteY146" fmla="*/ 1165860 h 3680460"/>
                  <a:gd name="connsiteX147" fmla="*/ 2781300 w 3025140"/>
                  <a:gd name="connsiteY147" fmla="*/ 1127760 h 3680460"/>
                  <a:gd name="connsiteX148" fmla="*/ 2766060 w 3025140"/>
                  <a:gd name="connsiteY148" fmla="*/ 1089660 h 3680460"/>
                  <a:gd name="connsiteX149" fmla="*/ 2735580 w 3025140"/>
                  <a:gd name="connsiteY149" fmla="*/ 1043940 h 3680460"/>
                  <a:gd name="connsiteX150" fmla="*/ 2727960 w 3025140"/>
                  <a:gd name="connsiteY150" fmla="*/ 1021080 h 3680460"/>
                  <a:gd name="connsiteX151" fmla="*/ 2682240 w 3025140"/>
                  <a:gd name="connsiteY151" fmla="*/ 937260 h 3680460"/>
                  <a:gd name="connsiteX152" fmla="*/ 2659380 w 3025140"/>
                  <a:gd name="connsiteY152" fmla="*/ 876300 h 3680460"/>
                  <a:gd name="connsiteX153" fmla="*/ 2644140 w 3025140"/>
                  <a:gd name="connsiteY153" fmla="*/ 845820 h 3680460"/>
                  <a:gd name="connsiteX154" fmla="*/ 2636520 w 3025140"/>
                  <a:gd name="connsiteY154" fmla="*/ 822960 h 3680460"/>
                  <a:gd name="connsiteX155" fmla="*/ 2621280 w 3025140"/>
                  <a:gd name="connsiteY155" fmla="*/ 800100 h 3680460"/>
                  <a:gd name="connsiteX156" fmla="*/ 2598420 w 3025140"/>
                  <a:gd name="connsiteY156" fmla="*/ 739140 h 3680460"/>
                  <a:gd name="connsiteX157" fmla="*/ 2458403 w 3025140"/>
                  <a:gd name="connsiteY157" fmla="*/ 621983 h 3680460"/>
                  <a:gd name="connsiteX158" fmla="*/ 2301240 w 3025140"/>
                  <a:gd name="connsiteY158" fmla="*/ 458152 h 3680460"/>
                  <a:gd name="connsiteX159" fmla="*/ 2237423 w 3025140"/>
                  <a:gd name="connsiteY159" fmla="*/ 406717 h 3680460"/>
                  <a:gd name="connsiteX160" fmla="*/ 2103120 w 3025140"/>
                  <a:gd name="connsiteY160" fmla="*/ 312420 h 3680460"/>
                  <a:gd name="connsiteX161" fmla="*/ 2042160 w 3025140"/>
                  <a:gd name="connsiteY161" fmla="*/ 266700 h 3680460"/>
                  <a:gd name="connsiteX162" fmla="*/ 2004060 w 3025140"/>
                  <a:gd name="connsiteY162" fmla="*/ 251460 h 3680460"/>
                  <a:gd name="connsiteX163" fmla="*/ 1958340 w 3025140"/>
                  <a:gd name="connsiteY163" fmla="*/ 220980 h 3680460"/>
                  <a:gd name="connsiteX164" fmla="*/ 1897380 w 3025140"/>
                  <a:gd name="connsiteY164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887980 w 3025140"/>
                  <a:gd name="connsiteY23" fmla="*/ 944880 h 3680460"/>
                  <a:gd name="connsiteX24" fmla="*/ 2918460 w 3025140"/>
                  <a:gd name="connsiteY24" fmla="*/ 1036320 h 3680460"/>
                  <a:gd name="connsiteX25" fmla="*/ 2933700 w 3025140"/>
                  <a:gd name="connsiteY25" fmla="*/ 1074420 h 3680460"/>
                  <a:gd name="connsiteX26" fmla="*/ 2948940 w 3025140"/>
                  <a:gd name="connsiteY26" fmla="*/ 1120140 h 3680460"/>
                  <a:gd name="connsiteX27" fmla="*/ 2964180 w 3025140"/>
                  <a:gd name="connsiteY27" fmla="*/ 1203960 h 3680460"/>
                  <a:gd name="connsiteX28" fmla="*/ 2979420 w 3025140"/>
                  <a:gd name="connsiteY28" fmla="*/ 1264920 h 3680460"/>
                  <a:gd name="connsiteX29" fmla="*/ 2987040 w 3025140"/>
                  <a:gd name="connsiteY29" fmla="*/ 1318260 h 3680460"/>
                  <a:gd name="connsiteX30" fmla="*/ 2994660 w 3025140"/>
                  <a:gd name="connsiteY30" fmla="*/ 1348740 h 3680460"/>
                  <a:gd name="connsiteX31" fmla="*/ 3009900 w 3025140"/>
                  <a:gd name="connsiteY31" fmla="*/ 1432560 h 3680460"/>
                  <a:gd name="connsiteX32" fmla="*/ 3017520 w 3025140"/>
                  <a:gd name="connsiteY32" fmla="*/ 1684020 h 3680460"/>
                  <a:gd name="connsiteX33" fmla="*/ 3025140 w 3025140"/>
                  <a:gd name="connsiteY33" fmla="*/ 1744980 h 3680460"/>
                  <a:gd name="connsiteX34" fmla="*/ 3017520 w 3025140"/>
                  <a:gd name="connsiteY34" fmla="*/ 2095500 h 3680460"/>
                  <a:gd name="connsiteX35" fmla="*/ 3009900 w 3025140"/>
                  <a:gd name="connsiteY35" fmla="*/ 2125980 h 3680460"/>
                  <a:gd name="connsiteX36" fmla="*/ 2979420 w 3025140"/>
                  <a:gd name="connsiteY36" fmla="*/ 2194560 h 3680460"/>
                  <a:gd name="connsiteX37" fmla="*/ 2956560 w 3025140"/>
                  <a:gd name="connsiteY37" fmla="*/ 2247900 h 3680460"/>
                  <a:gd name="connsiteX38" fmla="*/ 2941320 w 3025140"/>
                  <a:gd name="connsiteY38" fmla="*/ 2324100 h 3680460"/>
                  <a:gd name="connsiteX39" fmla="*/ 2926080 w 3025140"/>
                  <a:gd name="connsiteY39" fmla="*/ 2392680 h 3680460"/>
                  <a:gd name="connsiteX40" fmla="*/ 2918460 w 3025140"/>
                  <a:gd name="connsiteY40" fmla="*/ 2415540 h 3680460"/>
                  <a:gd name="connsiteX41" fmla="*/ 2895600 w 3025140"/>
                  <a:gd name="connsiteY41" fmla="*/ 2484120 h 3680460"/>
                  <a:gd name="connsiteX42" fmla="*/ 2872740 w 3025140"/>
                  <a:gd name="connsiteY42" fmla="*/ 2583180 h 3680460"/>
                  <a:gd name="connsiteX43" fmla="*/ 2857500 w 3025140"/>
                  <a:gd name="connsiteY43" fmla="*/ 2606040 h 3680460"/>
                  <a:gd name="connsiteX44" fmla="*/ 2834640 w 3025140"/>
                  <a:gd name="connsiteY44" fmla="*/ 2689860 h 3680460"/>
                  <a:gd name="connsiteX45" fmla="*/ 2811780 w 3025140"/>
                  <a:gd name="connsiteY45" fmla="*/ 2750820 h 3680460"/>
                  <a:gd name="connsiteX46" fmla="*/ 2788920 w 3025140"/>
                  <a:gd name="connsiteY46" fmla="*/ 2781300 h 3680460"/>
                  <a:gd name="connsiteX47" fmla="*/ 2781300 w 3025140"/>
                  <a:gd name="connsiteY47" fmla="*/ 2804160 h 3680460"/>
                  <a:gd name="connsiteX48" fmla="*/ 2743200 w 3025140"/>
                  <a:gd name="connsiteY48" fmla="*/ 2865120 h 3680460"/>
                  <a:gd name="connsiteX49" fmla="*/ 2712720 w 3025140"/>
                  <a:gd name="connsiteY49" fmla="*/ 2903220 h 3680460"/>
                  <a:gd name="connsiteX50" fmla="*/ 2697480 w 3025140"/>
                  <a:gd name="connsiteY50" fmla="*/ 2933700 h 3680460"/>
                  <a:gd name="connsiteX51" fmla="*/ 2674620 w 3025140"/>
                  <a:gd name="connsiteY51" fmla="*/ 2964180 h 3680460"/>
                  <a:gd name="connsiteX52" fmla="*/ 2644140 w 3025140"/>
                  <a:gd name="connsiteY52" fmla="*/ 3009900 h 3680460"/>
                  <a:gd name="connsiteX53" fmla="*/ 2598420 w 3025140"/>
                  <a:gd name="connsiteY53" fmla="*/ 3055620 h 3680460"/>
                  <a:gd name="connsiteX54" fmla="*/ 2575560 w 3025140"/>
                  <a:gd name="connsiteY54" fmla="*/ 3078480 h 3680460"/>
                  <a:gd name="connsiteX55" fmla="*/ 2476500 w 3025140"/>
                  <a:gd name="connsiteY55" fmla="*/ 3169920 h 3680460"/>
                  <a:gd name="connsiteX56" fmla="*/ 2377440 w 3025140"/>
                  <a:gd name="connsiteY56" fmla="*/ 3223260 h 3680460"/>
                  <a:gd name="connsiteX57" fmla="*/ 2293620 w 3025140"/>
                  <a:gd name="connsiteY57" fmla="*/ 3284220 h 3680460"/>
                  <a:gd name="connsiteX58" fmla="*/ 2240280 w 3025140"/>
                  <a:gd name="connsiteY58" fmla="*/ 3314700 h 3680460"/>
                  <a:gd name="connsiteX59" fmla="*/ 2225040 w 3025140"/>
                  <a:gd name="connsiteY59" fmla="*/ 3337560 h 3680460"/>
                  <a:gd name="connsiteX60" fmla="*/ 2141220 w 3025140"/>
                  <a:gd name="connsiteY60" fmla="*/ 3390900 h 3680460"/>
                  <a:gd name="connsiteX61" fmla="*/ 2110740 w 3025140"/>
                  <a:gd name="connsiteY61" fmla="*/ 3413760 h 3680460"/>
                  <a:gd name="connsiteX62" fmla="*/ 2072640 w 3025140"/>
                  <a:gd name="connsiteY62" fmla="*/ 3451860 h 3680460"/>
                  <a:gd name="connsiteX63" fmla="*/ 2019300 w 3025140"/>
                  <a:gd name="connsiteY63" fmla="*/ 3467100 h 3680460"/>
                  <a:gd name="connsiteX64" fmla="*/ 1874520 w 3025140"/>
                  <a:gd name="connsiteY64" fmla="*/ 3512820 h 3680460"/>
                  <a:gd name="connsiteX65" fmla="*/ 1828800 w 3025140"/>
                  <a:gd name="connsiteY65" fmla="*/ 3520440 h 3680460"/>
                  <a:gd name="connsiteX66" fmla="*/ 1722120 w 3025140"/>
                  <a:gd name="connsiteY66" fmla="*/ 3550920 h 3680460"/>
                  <a:gd name="connsiteX67" fmla="*/ 1600200 w 3025140"/>
                  <a:gd name="connsiteY67" fmla="*/ 3589020 h 3680460"/>
                  <a:gd name="connsiteX68" fmla="*/ 1569720 w 3025140"/>
                  <a:gd name="connsiteY68" fmla="*/ 3596640 h 3680460"/>
                  <a:gd name="connsiteX69" fmla="*/ 1546860 w 3025140"/>
                  <a:gd name="connsiteY69" fmla="*/ 3611880 h 3680460"/>
                  <a:gd name="connsiteX70" fmla="*/ 1463040 w 3025140"/>
                  <a:gd name="connsiteY70" fmla="*/ 3627120 h 3680460"/>
                  <a:gd name="connsiteX71" fmla="*/ 1333500 w 3025140"/>
                  <a:gd name="connsiteY71" fmla="*/ 3657600 h 3680460"/>
                  <a:gd name="connsiteX72" fmla="*/ 1203960 w 3025140"/>
                  <a:gd name="connsiteY72" fmla="*/ 3672840 h 3680460"/>
                  <a:gd name="connsiteX73" fmla="*/ 1165860 w 3025140"/>
                  <a:gd name="connsiteY73" fmla="*/ 3680460 h 3680460"/>
                  <a:gd name="connsiteX74" fmla="*/ 449580 w 3025140"/>
                  <a:gd name="connsiteY74" fmla="*/ 3672840 h 3680460"/>
                  <a:gd name="connsiteX75" fmla="*/ 426720 w 3025140"/>
                  <a:gd name="connsiteY75" fmla="*/ 3665220 h 3680460"/>
                  <a:gd name="connsiteX76" fmla="*/ 388620 w 3025140"/>
                  <a:gd name="connsiteY76" fmla="*/ 3657600 h 3680460"/>
                  <a:gd name="connsiteX77" fmla="*/ 335280 w 3025140"/>
                  <a:gd name="connsiteY77" fmla="*/ 3627120 h 3680460"/>
                  <a:gd name="connsiteX78" fmla="*/ 266700 w 3025140"/>
                  <a:gd name="connsiteY78" fmla="*/ 3604260 h 3680460"/>
                  <a:gd name="connsiteX79" fmla="*/ 243840 w 3025140"/>
                  <a:gd name="connsiteY79" fmla="*/ 3589020 h 3680460"/>
                  <a:gd name="connsiteX80" fmla="*/ 160020 w 3025140"/>
                  <a:gd name="connsiteY80" fmla="*/ 3558540 h 3680460"/>
                  <a:gd name="connsiteX81" fmla="*/ 137160 w 3025140"/>
                  <a:gd name="connsiteY81" fmla="*/ 3535680 h 3680460"/>
                  <a:gd name="connsiteX82" fmla="*/ 99060 w 3025140"/>
                  <a:gd name="connsiteY82" fmla="*/ 3520440 h 3680460"/>
                  <a:gd name="connsiteX83" fmla="*/ 83820 w 3025140"/>
                  <a:gd name="connsiteY83" fmla="*/ 3489960 h 3680460"/>
                  <a:gd name="connsiteX84" fmla="*/ 45720 w 3025140"/>
                  <a:gd name="connsiteY84" fmla="*/ 3436620 h 3680460"/>
                  <a:gd name="connsiteX85" fmla="*/ 0 w 3025140"/>
                  <a:gd name="connsiteY85" fmla="*/ 3352800 h 3680460"/>
                  <a:gd name="connsiteX86" fmla="*/ 30480 w 3025140"/>
                  <a:gd name="connsiteY86" fmla="*/ 3345180 h 3680460"/>
                  <a:gd name="connsiteX87" fmla="*/ 137160 w 3025140"/>
                  <a:gd name="connsiteY87" fmla="*/ 3360420 h 3680460"/>
                  <a:gd name="connsiteX88" fmla="*/ 167640 w 3025140"/>
                  <a:gd name="connsiteY88" fmla="*/ 3390900 h 3680460"/>
                  <a:gd name="connsiteX89" fmla="*/ 198120 w 3025140"/>
                  <a:gd name="connsiteY89" fmla="*/ 3406140 h 3680460"/>
                  <a:gd name="connsiteX90" fmla="*/ 350520 w 3025140"/>
                  <a:gd name="connsiteY90" fmla="*/ 3436620 h 3680460"/>
                  <a:gd name="connsiteX91" fmla="*/ 381000 w 3025140"/>
                  <a:gd name="connsiteY91" fmla="*/ 3451860 h 3680460"/>
                  <a:gd name="connsiteX92" fmla="*/ 449580 w 3025140"/>
                  <a:gd name="connsiteY92" fmla="*/ 3489960 h 3680460"/>
                  <a:gd name="connsiteX93" fmla="*/ 495300 w 3025140"/>
                  <a:gd name="connsiteY93" fmla="*/ 3520440 h 3680460"/>
                  <a:gd name="connsiteX94" fmla="*/ 525780 w 3025140"/>
                  <a:gd name="connsiteY94" fmla="*/ 3535680 h 3680460"/>
                  <a:gd name="connsiteX95" fmla="*/ 731520 w 3025140"/>
                  <a:gd name="connsiteY95" fmla="*/ 3558540 h 3680460"/>
                  <a:gd name="connsiteX96" fmla="*/ 1341120 w 3025140"/>
                  <a:gd name="connsiteY96" fmla="*/ 3550920 h 3680460"/>
                  <a:gd name="connsiteX97" fmla="*/ 1440180 w 3025140"/>
                  <a:gd name="connsiteY97" fmla="*/ 3528060 h 3680460"/>
                  <a:gd name="connsiteX98" fmla="*/ 1539240 w 3025140"/>
                  <a:gd name="connsiteY98" fmla="*/ 3520440 h 3680460"/>
                  <a:gd name="connsiteX99" fmla="*/ 1562100 w 3025140"/>
                  <a:gd name="connsiteY99" fmla="*/ 3512820 h 3680460"/>
                  <a:gd name="connsiteX100" fmla="*/ 1630680 w 3025140"/>
                  <a:gd name="connsiteY100" fmla="*/ 3497580 h 3680460"/>
                  <a:gd name="connsiteX101" fmla="*/ 1699260 w 3025140"/>
                  <a:gd name="connsiteY101" fmla="*/ 3474720 h 3680460"/>
                  <a:gd name="connsiteX102" fmla="*/ 1790700 w 3025140"/>
                  <a:gd name="connsiteY102" fmla="*/ 3451860 h 3680460"/>
                  <a:gd name="connsiteX103" fmla="*/ 1821180 w 3025140"/>
                  <a:gd name="connsiteY103" fmla="*/ 3444240 h 3680460"/>
                  <a:gd name="connsiteX104" fmla="*/ 1844040 w 3025140"/>
                  <a:gd name="connsiteY104" fmla="*/ 3429000 h 3680460"/>
                  <a:gd name="connsiteX105" fmla="*/ 1874520 w 3025140"/>
                  <a:gd name="connsiteY105" fmla="*/ 3421380 h 3680460"/>
                  <a:gd name="connsiteX106" fmla="*/ 1927860 w 3025140"/>
                  <a:gd name="connsiteY106" fmla="*/ 3398520 h 3680460"/>
                  <a:gd name="connsiteX107" fmla="*/ 1950720 w 3025140"/>
                  <a:gd name="connsiteY107" fmla="*/ 3390900 h 3680460"/>
                  <a:gd name="connsiteX108" fmla="*/ 2004060 w 3025140"/>
                  <a:gd name="connsiteY108" fmla="*/ 3360420 h 3680460"/>
                  <a:gd name="connsiteX109" fmla="*/ 2042160 w 3025140"/>
                  <a:gd name="connsiteY109" fmla="*/ 3352800 h 3680460"/>
                  <a:gd name="connsiteX110" fmla="*/ 2080260 w 3025140"/>
                  <a:gd name="connsiteY110" fmla="*/ 3337560 h 3680460"/>
                  <a:gd name="connsiteX111" fmla="*/ 2156460 w 3025140"/>
                  <a:gd name="connsiteY111" fmla="*/ 3299460 h 3680460"/>
                  <a:gd name="connsiteX112" fmla="*/ 2179320 w 3025140"/>
                  <a:gd name="connsiteY112" fmla="*/ 3284220 h 3680460"/>
                  <a:gd name="connsiteX113" fmla="*/ 2209800 w 3025140"/>
                  <a:gd name="connsiteY113" fmla="*/ 3276600 h 3680460"/>
                  <a:gd name="connsiteX114" fmla="*/ 2263140 w 3025140"/>
                  <a:gd name="connsiteY114" fmla="*/ 3230880 h 3680460"/>
                  <a:gd name="connsiteX115" fmla="*/ 2346960 w 3025140"/>
                  <a:gd name="connsiteY115" fmla="*/ 3154680 h 3680460"/>
                  <a:gd name="connsiteX116" fmla="*/ 2400300 w 3025140"/>
                  <a:gd name="connsiteY116" fmla="*/ 3070860 h 3680460"/>
                  <a:gd name="connsiteX117" fmla="*/ 2415540 w 3025140"/>
                  <a:gd name="connsiteY117" fmla="*/ 3048000 h 3680460"/>
                  <a:gd name="connsiteX118" fmla="*/ 2446020 w 3025140"/>
                  <a:gd name="connsiteY118" fmla="*/ 3032760 h 3680460"/>
                  <a:gd name="connsiteX119" fmla="*/ 2468880 w 3025140"/>
                  <a:gd name="connsiteY119" fmla="*/ 3009900 h 3680460"/>
                  <a:gd name="connsiteX120" fmla="*/ 2537460 w 3025140"/>
                  <a:gd name="connsiteY120" fmla="*/ 2926080 h 3680460"/>
                  <a:gd name="connsiteX121" fmla="*/ 2575560 w 3025140"/>
                  <a:gd name="connsiteY121" fmla="*/ 2880360 h 3680460"/>
                  <a:gd name="connsiteX122" fmla="*/ 2628900 w 3025140"/>
                  <a:gd name="connsiteY122" fmla="*/ 2811780 h 3680460"/>
                  <a:gd name="connsiteX123" fmla="*/ 2644140 w 3025140"/>
                  <a:gd name="connsiteY123" fmla="*/ 2773680 h 3680460"/>
                  <a:gd name="connsiteX124" fmla="*/ 2674620 w 3025140"/>
                  <a:gd name="connsiteY124" fmla="*/ 2727960 h 3680460"/>
                  <a:gd name="connsiteX125" fmla="*/ 2689860 w 3025140"/>
                  <a:gd name="connsiteY125" fmla="*/ 2705100 h 3680460"/>
                  <a:gd name="connsiteX126" fmla="*/ 2705100 w 3025140"/>
                  <a:gd name="connsiteY126" fmla="*/ 2667000 h 3680460"/>
                  <a:gd name="connsiteX127" fmla="*/ 2727960 w 3025140"/>
                  <a:gd name="connsiteY127" fmla="*/ 2621280 h 3680460"/>
                  <a:gd name="connsiteX128" fmla="*/ 2735580 w 3025140"/>
                  <a:gd name="connsiteY128" fmla="*/ 2590800 h 3680460"/>
                  <a:gd name="connsiteX129" fmla="*/ 2758440 w 3025140"/>
                  <a:gd name="connsiteY129" fmla="*/ 2545080 h 3680460"/>
                  <a:gd name="connsiteX130" fmla="*/ 2788920 w 3025140"/>
                  <a:gd name="connsiteY130" fmla="*/ 2484120 h 3680460"/>
                  <a:gd name="connsiteX131" fmla="*/ 2811780 w 3025140"/>
                  <a:gd name="connsiteY131" fmla="*/ 2407920 h 3680460"/>
                  <a:gd name="connsiteX132" fmla="*/ 2842260 w 3025140"/>
                  <a:gd name="connsiteY132" fmla="*/ 2324100 h 3680460"/>
                  <a:gd name="connsiteX133" fmla="*/ 2857500 w 3025140"/>
                  <a:gd name="connsiteY133" fmla="*/ 2247900 h 3680460"/>
                  <a:gd name="connsiteX134" fmla="*/ 2872740 w 3025140"/>
                  <a:gd name="connsiteY134" fmla="*/ 2194560 h 3680460"/>
                  <a:gd name="connsiteX135" fmla="*/ 2887980 w 3025140"/>
                  <a:gd name="connsiteY135" fmla="*/ 2148840 h 3680460"/>
                  <a:gd name="connsiteX136" fmla="*/ 2910840 w 3025140"/>
                  <a:gd name="connsiteY136" fmla="*/ 2087880 h 3680460"/>
                  <a:gd name="connsiteX137" fmla="*/ 2918460 w 3025140"/>
                  <a:gd name="connsiteY137" fmla="*/ 2049780 h 3680460"/>
                  <a:gd name="connsiteX138" fmla="*/ 2933700 w 3025140"/>
                  <a:gd name="connsiteY138" fmla="*/ 1844040 h 3680460"/>
                  <a:gd name="connsiteX139" fmla="*/ 2918460 w 3025140"/>
                  <a:gd name="connsiteY139" fmla="*/ 1470660 h 3680460"/>
                  <a:gd name="connsiteX140" fmla="*/ 2895600 w 3025140"/>
                  <a:gd name="connsiteY140" fmla="*/ 1371600 h 3680460"/>
                  <a:gd name="connsiteX141" fmla="*/ 2880360 w 3025140"/>
                  <a:gd name="connsiteY141" fmla="*/ 1341120 h 3680460"/>
                  <a:gd name="connsiteX142" fmla="*/ 2857500 w 3025140"/>
                  <a:gd name="connsiteY142" fmla="*/ 1272540 h 3680460"/>
                  <a:gd name="connsiteX143" fmla="*/ 2849880 w 3025140"/>
                  <a:gd name="connsiteY143" fmla="*/ 1234440 h 3680460"/>
                  <a:gd name="connsiteX144" fmla="*/ 2827020 w 3025140"/>
                  <a:gd name="connsiteY144" fmla="*/ 1196340 h 3680460"/>
                  <a:gd name="connsiteX145" fmla="*/ 2811780 w 3025140"/>
                  <a:gd name="connsiteY145" fmla="*/ 1165860 h 3680460"/>
                  <a:gd name="connsiteX146" fmla="*/ 2781300 w 3025140"/>
                  <a:gd name="connsiteY146" fmla="*/ 1127760 h 3680460"/>
                  <a:gd name="connsiteX147" fmla="*/ 2766060 w 3025140"/>
                  <a:gd name="connsiteY147" fmla="*/ 1089660 h 3680460"/>
                  <a:gd name="connsiteX148" fmla="*/ 2735580 w 3025140"/>
                  <a:gd name="connsiteY148" fmla="*/ 1043940 h 3680460"/>
                  <a:gd name="connsiteX149" fmla="*/ 2727960 w 3025140"/>
                  <a:gd name="connsiteY149" fmla="*/ 1021080 h 3680460"/>
                  <a:gd name="connsiteX150" fmla="*/ 2682240 w 3025140"/>
                  <a:gd name="connsiteY150" fmla="*/ 937260 h 3680460"/>
                  <a:gd name="connsiteX151" fmla="*/ 2659380 w 3025140"/>
                  <a:gd name="connsiteY151" fmla="*/ 876300 h 3680460"/>
                  <a:gd name="connsiteX152" fmla="*/ 2644140 w 3025140"/>
                  <a:gd name="connsiteY152" fmla="*/ 845820 h 3680460"/>
                  <a:gd name="connsiteX153" fmla="*/ 2636520 w 3025140"/>
                  <a:gd name="connsiteY153" fmla="*/ 822960 h 3680460"/>
                  <a:gd name="connsiteX154" fmla="*/ 2621280 w 3025140"/>
                  <a:gd name="connsiteY154" fmla="*/ 800100 h 3680460"/>
                  <a:gd name="connsiteX155" fmla="*/ 2598420 w 3025140"/>
                  <a:gd name="connsiteY155" fmla="*/ 739140 h 3680460"/>
                  <a:gd name="connsiteX156" fmla="*/ 2458403 w 3025140"/>
                  <a:gd name="connsiteY156" fmla="*/ 621983 h 3680460"/>
                  <a:gd name="connsiteX157" fmla="*/ 2301240 w 3025140"/>
                  <a:gd name="connsiteY157" fmla="*/ 458152 h 3680460"/>
                  <a:gd name="connsiteX158" fmla="*/ 2237423 w 3025140"/>
                  <a:gd name="connsiteY158" fmla="*/ 406717 h 3680460"/>
                  <a:gd name="connsiteX159" fmla="*/ 2103120 w 3025140"/>
                  <a:gd name="connsiteY159" fmla="*/ 312420 h 3680460"/>
                  <a:gd name="connsiteX160" fmla="*/ 2042160 w 3025140"/>
                  <a:gd name="connsiteY160" fmla="*/ 266700 h 3680460"/>
                  <a:gd name="connsiteX161" fmla="*/ 2004060 w 3025140"/>
                  <a:gd name="connsiteY161" fmla="*/ 251460 h 3680460"/>
                  <a:gd name="connsiteX162" fmla="*/ 1958340 w 3025140"/>
                  <a:gd name="connsiteY162" fmla="*/ 220980 h 3680460"/>
                  <a:gd name="connsiteX163" fmla="*/ 1897380 w 3025140"/>
                  <a:gd name="connsiteY163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880360 w 3025140"/>
                  <a:gd name="connsiteY22" fmla="*/ 922020 h 3680460"/>
                  <a:gd name="connsiteX23" fmla="*/ 2918460 w 3025140"/>
                  <a:gd name="connsiteY23" fmla="*/ 1036320 h 3680460"/>
                  <a:gd name="connsiteX24" fmla="*/ 2933700 w 3025140"/>
                  <a:gd name="connsiteY24" fmla="*/ 1074420 h 3680460"/>
                  <a:gd name="connsiteX25" fmla="*/ 2948940 w 3025140"/>
                  <a:gd name="connsiteY25" fmla="*/ 1120140 h 3680460"/>
                  <a:gd name="connsiteX26" fmla="*/ 2964180 w 3025140"/>
                  <a:gd name="connsiteY26" fmla="*/ 1203960 h 3680460"/>
                  <a:gd name="connsiteX27" fmla="*/ 2979420 w 3025140"/>
                  <a:gd name="connsiteY27" fmla="*/ 1264920 h 3680460"/>
                  <a:gd name="connsiteX28" fmla="*/ 2987040 w 3025140"/>
                  <a:gd name="connsiteY28" fmla="*/ 1318260 h 3680460"/>
                  <a:gd name="connsiteX29" fmla="*/ 2994660 w 3025140"/>
                  <a:gd name="connsiteY29" fmla="*/ 1348740 h 3680460"/>
                  <a:gd name="connsiteX30" fmla="*/ 3009900 w 3025140"/>
                  <a:gd name="connsiteY30" fmla="*/ 1432560 h 3680460"/>
                  <a:gd name="connsiteX31" fmla="*/ 3017520 w 3025140"/>
                  <a:gd name="connsiteY31" fmla="*/ 1684020 h 3680460"/>
                  <a:gd name="connsiteX32" fmla="*/ 3025140 w 3025140"/>
                  <a:gd name="connsiteY32" fmla="*/ 1744980 h 3680460"/>
                  <a:gd name="connsiteX33" fmla="*/ 3017520 w 3025140"/>
                  <a:gd name="connsiteY33" fmla="*/ 2095500 h 3680460"/>
                  <a:gd name="connsiteX34" fmla="*/ 3009900 w 3025140"/>
                  <a:gd name="connsiteY34" fmla="*/ 2125980 h 3680460"/>
                  <a:gd name="connsiteX35" fmla="*/ 2979420 w 3025140"/>
                  <a:gd name="connsiteY35" fmla="*/ 2194560 h 3680460"/>
                  <a:gd name="connsiteX36" fmla="*/ 2956560 w 3025140"/>
                  <a:gd name="connsiteY36" fmla="*/ 2247900 h 3680460"/>
                  <a:gd name="connsiteX37" fmla="*/ 2941320 w 3025140"/>
                  <a:gd name="connsiteY37" fmla="*/ 2324100 h 3680460"/>
                  <a:gd name="connsiteX38" fmla="*/ 2926080 w 3025140"/>
                  <a:gd name="connsiteY38" fmla="*/ 2392680 h 3680460"/>
                  <a:gd name="connsiteX39" fmla="*/ 2918460 w 3025140"/>
                  <a:gd name="connsiteY39" fmla="*/ 2415540 h 3680460"/>
                  <a:gd name="connsiteX40" fmla="*/ 2895600 w 3025140"/>
                  <a:gd name="connsiteY40" fmla="*/ 2484120 h 3680460"/>
                  <a:gd name="connsiteX41" fmla="*/ 2872740 w 3025140"/>
                  <a:gd name="connsiteY41" fmla="*/ 2583180 h 3680460"/>
                  <a:gd name="connsiteX42" fmla="*/ 2857500 w 3025140"/>
                  <a:gd name="connsiteY42" fmla="*/ 2606040 h 3680460"/>
                  <a:gd name="connsiteX43" fmla="*/ 2834640 w 3025140"/>
                  <a:gd name="connsiteY43" fmla="*/ 2689860 h 3680460"/>
                  <a:gd name="connsiteX44" fmla="*/ 2811780 w 3025140"/>
                  <a:gd name="connsiteY44" fmla="*/ 2750820 h 3680460"/>
                  <a:gd name="connsiteX45" fmla="*/ 2788920 w 3025140"/>
                  <a:gd name="connsiteY45" fmla="*/ 2781300 h 3680460"/>
                  <a:gd name="connsiteX46" fmla="*/ 2781300 w 3025140"/>
                  <a:gd name="connsiteY46" fmla="*/ 2804160 h 3680460"/>
                  <a:gd name="connsiteX47" fmla="*/ 2743200 w 3025140"/>
                  <a:gd name="connsiteY47" fmla="*/ 2865120 h 3680460"/>
                  <a:gd name="connsiteX48" fmla="*/ 2712720 w 3025140"/>
                  <a:gd name="connsiteY48" fmla="*/ 2903220 h 3680460"/>
                  <a:gd name="connsiteX49" fmla="*/ 2697480 w 3025140"/>
                  <a:gd name="connsiteY49" fmla="*/ 2933700 h 3680460"/>
                  <a:gd name="connsiteX50" fmla="*/ 2674620 w 3025140"/>
                  <a:gd name="connsiteY50" fmla="*/ 2964180 h 3680460"/>
                  <a:gd name="connsiteX51" fmla="*/ 2644140 w 3025140"/>
                  <a:gd name="connsiteY51" fmla="*/ 3009900 h 3680460"/>
                  <a:gd name="connsiteX52" fmla="*/ 2598420 w 3025140"/>
                  <a:gd name="connsiteY52" fmla="*/ 3055620 h 3680460"/>
                  <a:gd name="connsiteX53" fmla="*/ 2575560 w 3025140"/>
                  <a:gd name="connsiteY53" fmla="*/ 3078480 h 3680460"/>
                  <a:gd name="connsiteX54" fmla="*/ 2476500 w 3025140"/>
                  <a:gd name="connsiteY54" fmla="*/ 3169920 h 3680460"/>
                  <a:gd name="connsiteX55" fmla="*/ 2377440 w 3025140"/>
                  <a:gd name="connsiteY55" fmla="*/ 3223260 h 3680460"/>
                  <a:gd name="connsiteX56" fmla="*/ 2293620 w 3025140"/>
                  <a:gd name="connsiteY56" fmla="*/ 3284220 h 3680460"/>
                  <a:gd name="connsiteX57" fmla="*/ 2240280 w 3025140"/>
                  <a:gd name="connsiteY57" fmla="*/ 3314700 h 3680460"/>
                  <a:gd name="connsiteX58" fmla="*/ 2225040 w 3025140"/>
                  <a:gd name="connsiteY58" fmla="*/ 3337560 h 3680460"/>
                  <a:gd name="connsiteX59" fmla="*/ 2141220 w 3025140"/>
                  <a:gd name="connsiteY59" fmla="*/ 3390900 h 3680460"/>
                  <a:gd name="connsiteX60" fmla="*/ 2110740 w 3025140"/>
                  <a:gd name="connsiteY60" fmla="*/ 3413760 h 3680460"/>
                  <a:gd name="connsiteX61" fmla="*/ 2072640 w 3025140"/>
                  <a:gd name="connsiteY61" fmla="*/ 3451860 h 3680460"/>
                  <a:gd name="connsiteX62" fmla="*/ 2019300 w 3025140"/>
                  <a:gd name="connsiteY62" fmla="*/ 3467100 h 3680460"/>
                  <a:gd name="connsiteX63" fmla="*/ 1874520 w 3025140"/>
                  <a:gd name="connsiteY63" fmla="*/ 3512820 h 3680460"/>
                  <a:gd name="connsiteX64" fmla="*/ 1828800 w 3025140"/>
                  <a:gd name="connsiteY64" fmla="*/ 3520440 h 3680460"/>
                  <a:gd name="connsiteX65" fmla="*/ 1722120 w 3025140"/>
                  <a:gd name="connsiteY65" fmla="*/ 3550920 h 3680460"/>
                  <a:gd name="connsiteX66" fmla="*/ 1600200 w 3025140"/>
                  <a:gd name="connsiteY66" fmla="*/ 3589020 h 3680460"/>
                  <a:gd name="connsiteX67" fmla="*/ 1569720 w 3025140"/>
                  <a:gd name="connsiteY67" fmla="*/ 3596640 h 3680460"/>
                  <a:gd name="connsiteX68" fmla="*/ 1546860 w 3025140"/>
                  <a:gd name="connsiteY68" fmla="*/ 3611880 h 3680460"/>
                  <a:gd name="connsiteX69" fmla="*/ 1463040 w 3025140"/>
                  <a:gd name="connsiteY69" fmla="*/ 3627120 h 3680460"/>
                  <a:gd name="connsiteX70" fmla="*/ 1333500 w 3025140"/>
                  <a:gd name="connsiteY70" fmla="*/ 3657600 h 3680460"/>
                  <a:gd name="connsiteX71" fmla="*/ 1203960 w 3025140"/>
                  <a:gd name="connsiteY71" fmla="*/ 3672840 h 3680460"/>
                  <a:gd name="connsiteX72" fmla="*/ 1165860 w 3025140"/>
                  <a:gd name="connsiteY72" fmla="*/ 3680460 h 3680460"/>
                  <a:gd name="connsiteX73" fmla="*/ 449580 w 3025140"/>
                  <a:gd name="connsiteY73" fmla="*/ 3672840 h 3680460"/>
                  <a:gd name="connsiteX74" fmla="*/ 426720 w 3025140"/>
                  <a:gd name="connsiteY74" fmla="*/ 3665220 h 3680460"/>
                  <a:gd name="connsiteX75" fmla="*/ 388620 w 3025140"/>
                  <a:gd name="connsiteY75" fmla="*/ 3657600 h 3680460"/>
                  <a:gd name="connsiteX76" fmla="*/ 335280 w 3025140"/>
                  <a:gd name="connsiteY76" fmla="*/ 3627120 h 3680460"/>
                  <a:gd name="connsiteX77" fmla="*/ 266700 w 3025140"/>
                  <a:gd name="connsiteY77" fmla="*/ 3604260 h 3680460"/>
                  <a:gd name="connsiteX78" fmla="*/ 243840 w 3025140"/>
                  <a:gd name="connsiteY78" fmla="*/ 3589020 h 3680460"/>
                  <a:gd name="connsiteX79" fmla="*/ 160020 w 3025140"/>
                  <a:gd name="connsiteY79" fmla="*/ 3558540 h 3680460"/>
                  <a:gd name="connsiteX80" fmla="*/ 137160 w 3025140"/>
                  <a:gd name="connsiteY80" fmla="*/ 3535680 h 3680460"/>
                  <a:gd name="connsiteX81" fmla="*/ 99060 w 3025140"/>
                  <a:gd name="connsiteY81" fmla="*/ 3520440 h 3680460"/>
                  <a:gd name="connsiteX82" fmla="*/ 83820 w 3025140"/>
                  <a:gd name="connsiteY82" fmla="*/ 3489960 h 3680460"/>
                  <a:gd name="connsiteX83" fmla="*/ 45720 w 3025140"/>
                  <a:gd name="connsiteY83" fmla="*/ 3436620 h 3680460"/>
                  <a:gd name="connsiteX84" fmla="*/ 0 w 3025140"/>
                  <a:gd name="connsiteY84" fmla="*/ 3352800 h 3680460"/>
                  <a:gd name="connsiteX85" fmla="*/ 30480 w 3025140"/>
                  <a:gd name="connsiteY85" fmla="*/ 3345180 h 3680460"/>
                  <a:gd name="connsiteX86" fmla="*/ 137160 w 3025140"/>
                  <a:gd name="connsiteY86" fmla="*/ 3360420 h 3680460"/>
                  <a:gd name="connsiteX87" fmla="*/ 167640 w 3025140"/>
                  <a:gd name="connsiteY87" fmla="*/ 3390900 h 3680460"/>
                  <a:gd name="connsiteX88" fmla="*/ 198120 w 3025140"/>
                  <a:gd name="connsiteY88" fmla="*/ 3406140 h 3680460"/>
                  <a:gd name="connsiteX89" fmla="*/ 350520 w 3025140"/>
                  <a:gd name="connsiteY89" fmla="*/ 3436620 h 3680460"/>
                  <a:gd name="connsiteX90" fmla="*/ 381000 w 3025140"/>
                  <a:gd name="connsiteY90" fmla="*/ 3451860 h 3680460"/>
                  <a:gd name="connsiteX91" fmla="*/ 449580 w 3025140"/>
                  <a:gd name="connsiteY91" fmla="*/ 3489960 h 3680460"/>
                  <a:gd name="connsiteX92" fmla="*/ 495300 w 3025140"/>
                  <a:gd name="connsiteY92" fmla="*/ 3520440 h 3680460"/>
                  <a:gd name="connsiteX93" fmla="*/ 525780 w 3025140"/>
                  <a:gd name="connsiteY93" fmla="*/ 3535680 h 3680460"/>
                  <a:gd name="connsiteX94" fmla="*/ 731520 w 3025140"/>
                  <a:gd name="connsiteY94" fmla="*/ 3558540 h 3680460"/>
                  <a:gd name="connsiteX95" fmla="*/ 1341120 w 3025140"/>
                  <a:gd name="connsiteY95" fmla="*/ 3550920 h 3680460"/>
                  <a:gd name="connsiteX96" fmla="*/ 1440180 w 3025140"/>
                  <a:gd name="connsiteY96" fmla="*/ 3528060 h 3680460"/>
                  <a:gd name="connsiteX97" fmla="*/ 1539240 w 3025140"/>
                  <a:gd name="connsiteY97" fmla="*/ 3520440 h 3680460"/>
                  <a:gd name="connsiteX98" fmla="*/ 1562100 w 3025140"/>
                  <a:gd name="connsiteY98" fmla="*/ 3512820 h 3680460"/>
                  <a:gd name="connsiteX99" fmla="*/ 1630680 w 3025140"/>
                  <a:gd name="connsiteY99" fmla="*/ 3497580 h 3680460"/>
                  <a:gd name="connsiteX100" fmla="*/ 1699260 w 3025140"/>
                  <a:gd name="connsiteY100" fmla="*/ 3474720 h 3680460"/>
                  <a:gd name="connsiteX101" fmla="*/ 1790700 w 3025140"/>
                  <a:gd name="connsiteY101" fmla="*/ 3451860 h 3680460"/>
                  <a:gd name="connsiteX102" fmla="*/ 1821180 w 3025140"/>
                  <a:gd name="connsiteY102" fmla="*/ 3444240 h 3680460"/>
                  <a:gd name="connsiteX103" fmla="*/ 1844040 w 3025140"/>
                  <a:gd name="connsiteY103" fmla="*/ 3429000 h 3680460"/>
                  <a:gd name="connsiteX104" fmla="*/ 1874520 w 3025140"/>
                  <a:gd name="connsiteY104" fmla="*/ 3421380 h 3680460"/>
                  <a:gd name="connsiteX105" fmla="*/ 1927860 w 3025140"/>
                  <a:gd name="connsiteY105" fmla="*/ 3398520 h 3680460"/>
                  <a:gd name="connsiteX106" fmla="*/ 1950720 w 3025140"/>
                  <a:gd name="connsiteY106" fmla="*/ 3390900 h 3680460"/>
                  <a:gd name="connsiteX107" fmla="*/ 2004060 w 3025140"/>
                  <a:gd name="connsiteY107" fmla="*/ 3360420 h 3680460"/>
                  <a:gd name="connsiteX108" fmla="*/ 2042160 w 3025140"/>
                  <a:gd name="connsiteY108" fmla="*/ 3352800 h 3680460"/>
                  <a:gd name="connsiteX109" fmla="*/ 2080260 w 3025140"/>
                  <a:gd name="connsiteY109" fmla="*/ 3337560 h 3680460"/>
                  <a:gd name="connsiteX110" fmla="*/ 2156460 w 3025140"/>
                  <a:gd name="connsiteY110" fmla="*/ 3299460 h 3680460"/>
                  <a:gd name="connsiteX111" fmla="*/ 2179320 w 3025140"/>
                  <a:gd name="connsiteY111" fmla="*/ 3284220 h 3680460"/>
                  <a:gd name="connsiteX112" fmla="*/ 2209800 w 3025140"/>
                  <a:gd name="connsiteY112" fmla="*/ 3276600 h 3680460"/>
                  <a:gd name="connsiteX113" fmla="*/ 2263140 w 3025140"/>
                  <a:gd name="connsiteY113" fmla="*/ 3230880 h 3680460"/>
                  <a:gd name="connsiteX114" fmla="*/ 2346960 w 3025140"/>
                  <a:gd name="connsiteY114" fmla="*/ 3154680 h 3680460"/>
                  <a:gd name="connsiteX115" fmla="*/ 2400300 w 3025140"/>
                  <a:gd name="connsiteY115" fmla="*/ 3070860 h 3680460"/>
                  <a:gd name="connsiteX116" fmla="*/ 2415540 w 3025140"/>
                  <a:gd name="connsiteY116" fmla="*/ 3048000 h 3680460"/>
                  <a:gd name="connsiteX117" fmla="*/ 2446020 w 3025140"/>
                  <a:gd name="connsiteY117" fmla="*/ 3032760 h 3680460"/>
                  <a:gd name="connsiteX118" fmla="*/ 2468880 w 3025140"/>
                  <a:gd name="connsiteY118" fmla="*/ 3009900 h 3680460"/>
                  <a:gd name="connsiteX119" fmla="*/ 2537460 w 3025140"/>
                  <a:gd name="connsiteY119" fmla="*/ 2926080 h 3680460"/>
                  <a:gd name="connsiteX120" fmla="*/ 2575560 w 3025140"/>
                  <a:gd name="connsiteY120" fmla="*/ 2880360 h 3680460"/>
                  <a:gd name="connsiteX121" fmla="*/ 2628900 w 3025140"/>
                  <a:gd name="connsiteY121" fmla="*/ 2811780 h 3680460"/>
                  <a:gd name="connsiteX122" fmla="*/ 2644140 w 3025140"/>
                  <a:gd name="connsiteY122" fmla="*/ 2773680 h 3680460"/>
                  <a:gd name="connsiteX123" fmla="*/ 2674620 w 3025140"/>
                  <a:gd name="connsiteY123" fmla="*/ 2727960 h 3680460"/>
                  <a:gd name="connsiteX124" fmla="*/ 2689860 w 3025140"/>
                  <a:gd name="connsiteY124" fmla="*/ 2705100 h 3680460"/>
                  <a:gd name="connsiteX125" fmla="*/ 2705100 w 3025140"/>
                  <a:gd name="connsiteY125" fmla="*/ 2667000 h 3680460"/>
                  <a:gd name="connsiteX126" fmla="*/ 2727960 w 3025140"/>
                  <a:gd name="connsiteY126" fmla="*/ 2621280 h 3680460"/>
                  <a:gd name="connsiteX127" fmla="*/ 2735580 w 3025140"/>
                  <a:gd name="connsiteY127" fmla="*/ 2590800 h 3680460"/>
                  <a:gd name="connsiteX128" fmla="*/ 2758440 w 3025140"/>
                  <a:gd name="connsiteY128" fmla="*/ 2545080 h 3680460"/>
                  <a:gd name="connsiteX129" fmla="*/ 2788920 w 3025140"/>
                  <a:gd name="connsiteY129" fmla="*/ 2484120 h 3680460"/>
                  <a:gd name="connsiteX130" fmla="*/ 2811780 w 3025140"/>
                  <a:gd name="connsiteY130" fmla="*/ 2407920 h 3680460"/>
                  <a:gd name="connsiteX131" fmla="*/ 2842260 w 3025140"/>
                  <a:gd name="connsiteY131" fmla="*/ 2324100 h 3680460"/>
                  <a:gd name="connsiteX132" fmla="*/ 2857500 w 3025140"/>
                  <a:gd name="connsiteY132" fmla="*/ 2247900 h 3680460"/>
                  <a:gd name="connsiteX133" fmla="*/ 2872740 w 3025140"/>
                  <a:gd name="connsiteY133" fmla="*/ 2194560 h 3680460"/>
                  <a:gd name="connsiteX134" fmla="*/ 2887980 w 3025140"/>
                  <a:gd name="connsiteY134" fmla="*/ 2148840 h 3680460"/>
                  <a:gd name="connsiteX135" fmla="*/ 2910840 w 3025140"/>
                  <a:gd name="connsiteY135" fmla="*/ 2087880 h 3680460"/>
                  <a:gd name="connsiteX136" fmla="*/ 2918460 w 3025140"/>
                  <a:gd name="connsiteY136" fmla="*/ 2049780 h 3680460"/>
                  <a:gd name="connsiteX137" fmla="*/ 2933700 w 3025140"/>
                  <a:gd name="connsiteY137" fmla="*/ 1844040 h 3680460"/>
                  <a:gd name="connsiteX138" fmla="*/ 2918460 w 3025140"/>
                  <a:gd name="connsiteY138" fmla="*/ 1470660 h 3680460"/>
                  <a:gd name="connsiteX139" fmla="*/ 2895600 w 3025140"/>
                  <a:gd name="connsiteY139" fmla="*/ 1371600 h 3680460"/>
                  <a:gd name="connsiteX140" fmla="*/ 2880360 w 3025140"/>
                  <a:gd name="connsiteY140" fmla="*/ 1341120 h 3680460"/>
                  <a:gd name="connsiteX141" fmla="*/ 2857500 w 3025140"/>
                  <a:gd name="connsiteY141" fmla="*/ 1272540 h 3680460"/>
                  <a:gd name="connsiteX142" fmla="*/ 2849880 w 3025140"/>
                  <a:gd name="connsiteY142" fmla="*/ 1234440 h 3680460"/>
                  <a:gd name="connsiteX143" fmla="*/ 2827020 w 3025140"/>
                  <a:gd name="connsiteY143" fmla="*/ 1196340 h 3680460"/>
                  <a:gd name="connsiteX144" fmla="*/ 2811780 w 3025140"/>
                  <a:gd name="connsiteY144" fmla="*/ 1165860 h 3680460"/>
                  <a:gd name="connsiteX145" fmla="*/ 2781300 w 3025140"/>
                  <a:gd name="connsiteY145" fmla="*/ 1127760 h 3680460"/>
                  <a:gd name="connsiteX146" fmla="*/ 2766060 w 3025140"/>
                  <a:gd name="connsiteY146" fmla="*/ 1089660 h 3680460"/>
                  <a:gd name="connsiteX147" fmla="*/ 2735580 w 3025140"/>
                  <a:gd name="connsiteY147" fmla="*/ 1043940 h 3680460"/>
                  <a:gd name="connsiteX148" fmla="*/ 2727960 w 3025140"/>
                  <a:gd name="connsiteY148" fmla="*/ 1021080 h 3680460"/>
                  <a:gd name="connsiteX149" fmla="*/ 2682240 w 3025140"/>
                  <a:gd name="connsiteY149" fmla="*/ 937260 h 3680460"/>
                  <a:gd name="connsiteX150" fmla="*/ 2659380 w 3025140"/>
                  <a:gd name="connsiteY150" fmla="*/ 876300 h 3680460"/>
                  <a:gd name="connsiteX151" fmla="*/ 2644140 w 3025140"/>
                  <a:gd name="connsiteY151" fmla="*/ 845820 h 3680460"/>
                  <a:gd name="connsiteX152" fmla="*/ 2636520 w 3025140"/>
                  <a:gd name="connsiteY152" fmla="*/ 822960 h 3680460"/>
                  <a:gd name="connsiteX153" fmla="*/ 2621280 w 3025140"/>
                  <a:gd name="connsiteY153" fmla="*/ 800100 h 3680460"/>
                  <a:gd name="connsiteX154" fmla="*/ 2598420 w 3025140"/>
                  <a:gd name="connsiteY154" fmla="*/ 739140 h 3680460"/>
                  <a:gd name="connsiteX155" fmla="*/ 2458403 w 3025140"/>
                  <a:gd name="connsiteY155" fmla="*/ 621983 h 3680460"/>
                  <a:gd name="connsiteX156" fmla="*/ 2301240 w 3025140"/>
                  <a:gd name="connsiteY156" fmla="*/ 458152 h 3680460"/>
                  <a:gd name="connsiteX157" fmla="*/ 2237423 w 3025140"/>
                  <a:gd name="connsiteY157" fmla="*/ 406717 h 3680460"/>
                  <a:gd name="connsiteX158" fmla="*/ 2103120 w 3025140"/>
                  <a:gd name="connsiteY158" fmla="*/ 312420 h 3680460"/>
                  <a:gd name="connsiteX159" fmla="*/ 2042160 w 3025140"/>
                  <a:gd name="connsiteY159" fmla="*/ 266700 h 3680460"/>
                  <a:gd name="connsiteX160" fmla="*/ 2004060 w 3025140"/>
                  <a:gd name="connsiteY160" fmla="*/ 251460 h 3680460"/>
                  <a:gd name="connsiteX161" fmla="*/ 1958340 w 3025140"/>
                  <a:gd name="connsiteY161" fmla="*/ 220980 h 3680460"/>
                  <a:gd name="connsiteX162" fmla="*/ 1897380 w 3025140"/>
                  <a:gd name="connsiteY162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48940 w 3025140"/>
                  <a:gd name="connsiteY24" fmla="*/ 1120140 h 3680460"/>
                  <a:gd name="connsiteX25" fmla="*/ 2964180 w 3025140"/>
                  <a:gd name="connsiteY25" fmla="*/ 1203960 h 3680460"/>
                  <a:gd name="connsiteX26" fmla="*/ 2979420 w 3025140"/>
                  <a:gd name="connsiteY26" fmla="*/ 1264920 h 3680460"/>
                  <a:gd name="connsiteX27" fmla="*/ 2987040 w 3025140"/>
                  <a:gd name="connsiteY27" fmla="*/ 1318260 h 3680460"/>
                  <a:gd name="connsiteX28" fmla="*/ 2994660 w 3025140"/>
                  <a:gd name="connsiteY28" fmla="*/ 1348740 h 3680460"/>
                  <a:gd name="connsiteX29" fmla="*/ 3009900 w 3025140"/>
                  <a:gd name="connsiteY29" fmla="*/ 1432560 h 3680460"/>
                  <a:gd name="connsiteX30" fmla="*/ 3017520 w 3025140"/>
                  <a:gd name="connsiteY30" fmla="*/ 1684020 h 3680460"/>
                  <a:gd name="connsiteX31" fmla="*/ 3025140 w 3025140"/>
                  <a:gd name="connsiteY31" fmla="*/ 1744980 h 3680460"/>
                  <a:gd name="connsiteX32" fmla="*/ 3017520 w 3025140"/>
                  <a:gd name="connsiteY32" fmla="*/ 2095500 h 3680460"/>
                  <a:gd name="connsiteX33" fmla="*/ 3009900 w 3025140"/>
                  <a:gd name="connsiteY33" fmla="*/ 2125980 h 3680460"/>
                  <a:gd name="connsiteX34" fmla="*/ 2979420 w 3025140"/>
                  <a:gd name="connsiteY34" fmla="*/ 2194560 h 3680460"/>
                  <a:gd name="connsiteX35" fmla="*/ 2956560 w 3025140"/>
                  <a:gd name="connsiteY35" fmla="*/ 2247900 h 3680460"/>
                  <a:gd name="connsiteX36" fmla="*/ 2941320 w 3025140"/>
                  <a:gd name="connsiteY36" fmla="*/ 2324100 h 3680460"/>
                  <a:gd name="connsiteX37" fmla="*/ 2926080 w 3025140"/>
                  <a:gd name="connsiteY37" fmla="*/ 2392680 h 3680460"/>
                  <a:gd name="connsiteX38" fmla="*/ 2918460 w 3025140"/>
                  <a:gd name="connsiteY38" fmla="*/ 2415540 h 3680460"/>
                  <a:gd name="connsiteX39" fmla="*/ 2895600 w 3025140"/>
                  <a:gd name="connsiteY39" fmla="*/ 2484120 h 3680460"/>
                  <a:gd name="connsiteX40" fmla="*/ 2872740 w 3025140"/>
                  <a:gd name="connsiteY40" fmla="*/ 2583180 h 3680460"/>
                  <a:gd name="connsiteX41" fmla="*/ 2857500 w 3025140"/>
                  <a:gd name="connsiteY41" fmla="*/ 2606040 h 3680460"/>
                  <a:gd name="connsiteX42" fmla="*/ 2834640 w 3025140"/>
                  <a:gd name="connsiteY42" fmla="*/ 2689860 h 3680460"/>
                  <a:gd name="connsiteX43" fmla="*/ 2811780 w 3025140"/>
                  <a:gd name="connsiteY43" fmla="*/ 2750820 h 3680460"/>
                  <a:gd name="connsiteX44" fmla="*/ 2788920 w 3025140"/>
                  <a:gd name="connsiteY44" fmla="*/ 2781300 h 3680460"/>
                  <a:gd name="connsiteX45" fmla="*/ 2781300 w 3025140"/>
                  <a:gd name="connsiteY45" fmla="*/ 2804160 h 3680460"/>
                  <a:gd name="connsiteX46" fmla="*/ 2743200 w 3025140"/>
                  <a:gd name="connsiteY46" fmla="*/ 2865120 h 3680460"/>
                  <a:gd name="connsiteX47" fmla="*/ 2712720 w 3025140"/>
                  <a:gd name="connsiteY47" fmla="*/ 2903220 h 3680460"/>
                  <a:gd name="connsiteX48" fmla="*/ 2697480 w 3025140"/>
                  <a:gd name="connsiteY48" fmla="*/ 2933700 h 3680460"/>
                  <a:gd name="connsiteX49" fmla="*/ 2674620 w 3025140"/>
                  <a:gd name="connsiteY49" fmla="*/ 2964180 h 3680460"/>
                  <a:gd name="connsiteX50" fmla="*/ 2644140 w 3025140"/>
                  <a:gd name="connsiteY50" fmla="*/ 3009900 h 3680460"/>
                  <a:gd name="connsiteX51" fmla="*/ 2598420 w 3025140"/>
                  <a:gd name="connsiteY51" fmla="*/ 3055620 h 3680460"/>
                  <a:gd name="connsiteX52" fmla="*/ 2575560 w 3025140"/>
                  <a:gd name="connsiteY52" fmla="*/ 3078480 h 3680460"/>
                  <a:gd name="connsiteX53" fmla="*/ 2476500 w 3025140"/>
                  <a:gd name="connsiteY53" fmla="*/ 3169920 h 3680460"/>
                  <a:gd name="connsiteX54" fmla="*/ 2377440 w 3025140"/>
                  <a:gd name="connsiteY54" fmla="*/ 3223260 h 3680460"/>
                  <a:gd name="connsiteX55" fmla="*/ 2293620 w 3025140"/>
                  <a:gd name="connsiteY55" fmla="*/ 3284220 h 3680460"/>
                  <a:gd name="connsiteX56" fmla="*/ 2240280 w 3025140"/>
                  <a:gd name="connsiteY56" fmla="*/ 3314700 h 3680460"/>
                  <a:gd name="connsiteX57" fmla="*/ 2225040 w 3025140"/>
                  <a:gd name="connsiteY57" fmla="*/ 3337560 h 3680460"/>
                  <a:gd name="connsiteX58" fmla="*/ 2141220 w 3025140"/>
                  <a:gd name="connsiteY58" fmla="*/ 3390900 h 3680460"/>
                  <a:gd name="connsiteX59" fmla="*/ 2110740 w 3025140"/>
                  <a:gd name="connsiteY59" fmla="*/ 3413760 h 3680460"/>
                  <a:gd name="connsiteX60" fmla="*/ 2072640 w 3025140"/>
                  <a:gd name="connsiteY60" fmla="*/ 3451860 h 3680460"/>
                  <a:gd name="connsiteX61" fmla="*/ 2019300 w 3025140"/>
                  <a:gd name="connsiteY61" fmla="*/ 3467100 h 3680460"/>
                  <a:gd name="connsiteX62" fmla="*/ 1874520 w 3025140"/>
                  <a:gd name="connsiteY62" fmla="*/ 3512820 h 3680460"/>
                  <a:gd name="connsiteX63" fmla="*/ 1828800 w 3025140"/>
                  <a:gd name="connsiteY63" fmla="*/ 3520440 h 3680460"/>
                  <a:gd name="connsiteX64" fmla="*/ 1722120 w 3025140"/>
                  <a:gd name="connsiteY64" fmla="*/ 3550920 h 3680460"/>
                  <a:gd name="connsiteX65" fmla="*/ 1600200 w 3025140"/>
                  <a:gd name="connsiteY65" fmla="*/ 3589020 h 3680460"/>
                  <a:gd name="connsiteX66" fmla="*/ 1569720 w 3025140"/>
                  <a:gd name="connsiteY66" fmla="*/ 3596640 h 3680460"/>
                  <a:gd name="connsiteX67" fmla="*/ 1546860 w 3025140"/>
                  <a:gd name="connsiteY67" fmla="*/ 3611880 h 3680460"/>
                  <a:gd name="connsiteX68" fmla="*/ 1463040 w 3025140"/>
                  <a:gd name="connsiteY68" fmla="*/ 3627120 h 3680460"/>
                  <a:gd name="connsiteX69" fmla="*/ 1333500 w 3025140"/>
                  <a:gd name="connsiteY69" fmla="*/ 3657600 h 3680460"/>
                  <a:gd name="connsiteX70" fmla="*/ 1203960 w 3025140"/>
                  <a:gd name="connsiteY70" fmla="*/ 3672840 h 3680460"/>
                  <a:gd name="connsiteX71" fmla="*/ 1165860 w 3025140"/>
                  <a:gd name="connsiteY71" fmla="*/ 3680460 h 3680460"/>
                  <a:gd name="connsiteX72" fmla="*/ 449580 w 3025140"/>
                  <a:gd name="connsiteY72" fmla="*/ 3672840 h 3680460"/>
                  <a:gd name="connsiteX73" fmla="*/ 426720 w 3025140"/>
                  <a:gd name="connsiteY73" fmla="*/ 3665220 h 3680460"/>
                  <a:gd name="connsiteX74" fmla="*/ 388620 w 3025140"/>
                  <a:gd name="connsiteY74" fmla="*/ 3657600 h 3680460"/>
                  <a:gd name="connsiteX75" fmla="*/ 335280 w 3025140"/>
                  <a:gd name="connsiteY75" fmla="*/ 3627120 h 3680460"/>
                  <a:gd name="connsiteX76" fmla="*/ 266700 w 3025140"/>
                  <a:gd name="connsiteY76" fmla="*/ 3604260 h 3680460"/>
                  <a:gd name="connsiteX77" fmla="*/ 243840 w 3025140"/>
                  <a:gd name="connsiteY77" fmla="*/ 3589020 h 3680460"/>
                  <a:gd name="connsiteX78" fmla="*/ 160020 w 3025140"/>
                  <a:gd name="connsiteY78" fmla="*/ 3558540 h 3680460"/>
                  <a:gd name="connsiteX79" fmla="*/ 137160 w 3025140"/>
                  <a:gd name="connsiteY79" fmla="*/ 3535680 h 3680460"/>
                  <a:gd name="connsiteX80" fmla="*/ 99060 w 3025140"/>
                  <a:gd name="connsiteY80" fmla="*/ 3520440 h 3680460"/>
                  <a:gd name="connsiteX81" fmla="*/ 83820 w 3025140"/>
                  <a:gd name="connsiteY81" fmla="*/ 3489960 h 3680460"/>
                  <a:gd name="connsiteX82" fmla="*/ 45720 w 3025140"/>
                  <a:gd name="connsiteY82" fmla="*/ 3436620 h 3680460"/>
                  <a:gd name="connsiteX83" fmla="*/ 0 w 3025140"/>
                  <a:gd name="connsiteY83" fmla="*/ 3352800 h 3680460"/>
                  <a:gd name="connsiteX84" fmla="*/ 30480 w 3025140"/>
                  <a:gd name="connsiteY84" fmla="*/ 3345180 h 3680460"/>
                  <a:gd name="connsiteX85" fmla="*/ 137160 w 3025140"/>
                  <a:gd name="connsiteY85" fmla="*/ 3360420 h 3680460"/>
                  <a:gd name="connsiteX86" fmla="*/ 167640 w 3025140"/>
                  <a:gd name="connsiteY86" fmla="*/ 3390900 h 3680460"/>
                  <a:gd name="connsiteX87" fmla="*/ 198120 w 3025140"/>
                  <a:gd name="connsiteY87" fmla="*/ 3406140 h 3680460"/>
                  <a:gd name="connsiteX88" fmla="*/ 350520 w 3025140"/>
                  <a:gd name="connsiteY88" fmla="*/ 3436620 h 3680460"/>
                  <a:gd name="connsiteX89" fmla="*/ 381000 w 3025140"/>
                  <a:gd name="connsiteY89" fmla="*/ 3451860 h 3680460"/>
                  <a:gd name="connsiteX90" fmla="*/ 449580 w 3025140"/>
                  <a:gd name="connsiteY90" fmla="*/ 3489960 h 3680460"/>
                  <a:gd name="connsiteX91" fmla="*/ 495300 w 3025140"/>
                  <a:gd name="connsiteY91" fmla="*/ 3520440 h 3680460"/>
                  <a:gd name="connsiteX92" fmla="*/ 525780 w 3025140"/>
                  <a:gd name="connsiteY92" fmla="*/ 3535680 h 3680460"/>
                  <a:gd name="connsiteX93" fmla="*/ 731520 w 3025140"/>
                  <a:gd name="connsiteY93" fmla="*/ 3558540 h 3680460"/>
                  <a:gd name="connsiteX94" fmla="*/ 1341120 w 3025140"/>
                  <a:gd name="connsiteY94" fmla="*/ 3550920 h 3680460"/>
                  <a:gd name="connsiteX95" fmla="*/ 1440180 w 3025140"/>
                  <a:gd name="connsiteY95" fmla="*/ 3528060 h 3680460"/>
                  <a:gd name="connsiteX96" fmla="*/ 1539240 w 3025140"/>
                  <a:gd name="connsiteY96" fmla="*/ 3520440 h 3680460"/>
                  <a:gd name="connsiteX97" fmla="*/ 1562100 w 3025140"/>
                  <a:gd name="connsiteY97" fmla="*/ 3512820 h 3680460"/>
                  <a:gd name="connsiteX98" fmla="*/ 1630680 w 3025140"/>
                  <a:gd name="connsiteY98" fmla="*/ 3497580 h 3680460"/>
                  <a:gd name="connsiteX99" fmla="*/ 1699260 w 3025140"/>
                  <a:gd name="connsiteY99" fmla="*/ 3474720 h 3680460"/>
                  <a:gd name="connsiteX100" fmla="*/ 1790700 w 3025140"/>
                  <a:gd name="connsiteY100" fmla="*/ 3451860 h 3680460"/>
                  <a:gd name="connsiteX101" fmla="*/ 1821180 w 3025140"/>
                  <a:gd name="connsiteY101" fmla="*/ 3444240 h 3680460"/>
                  <a:gd name="connsiteX102" fmla="*/ 1844040 w 3025140"/>
                  <a:gd name="connsiteY102" fmla="*/ 3429000 h 3680460"/>
                  <a:gd name="connsiteX103" fmla="*/ 1874520 w 3025140"/>
                  <a:gd name="connsiteY103" fmla="*/ 3421380 h 3680460"/>
                  <a:gd name="connsiteX104" fmla="*/ 1927860 w 3025140"/>
                  <a:gd name="connsiteY104" fmla="*/ 3398520 h 3680460"/>
                  <a:gd name="connsiteX105" fmla="*/ 1950720 w 3025140"/>
                  <a:gd name="connsiteY105" fmla="*/ 3390900 h 3680460"/>
                  <a:gd name="connsiteX106" fmla="*/ 2004060 w 3025140"/>
                  <a:gd name="connsiteY106" fmla="*/ 3360420 h 3680460"/>
                  <a:gd name="connsiteX107" fmla="*/ 2042160 w 3025140"/>
                  <a:gd name="connsiteY107" fmla="*/ 3352800 h 3680460"/>
                  <a:gd name="connsiteX108" fmla="*/ 2080260 w 3025140"/>
                  <a:gd name="connsiteY108" fmla="*/ 3337560 h 3680460"/>
                  <a:gd name="connsiteX109" fmla="*/ 2156460 w 3025140"/>
                  <a:gd name="connsiteY109" fmla="*/ 3299460 h 3680460"/>
                  <a:gd name="connsiteX110" fmla="*/ 2179320 w 3025140"/>
                  <a:gd name="connsiteY110" fmla="*/ 3284220 h 3680460"/>
                  <a:gd name="connsiteX111" fmla="*/ 2209800 w 3025140"/>
                  <a:gd name="connsiteY111" fmla="*/ 3276600 h 3680460"/>
                  <a:gd name="connsiteX112" fmla="*/ 2263140 w 3025140"/>
                  <a:gd name="connsiteY112" fmla="*/ 3230880 h 3680460"/>
                  <a:gd name="connsiteX113" fmla="*/ 2346960 w 3025140"/>
                  <a:gd name="connsiteY113" fmla="*/ 3154680 h 3680460"/>
                  <a:gd name="connsiteX114" fmla="*/ 2400300 w 3025140"/>
                  <a:gd name="connsiteY114" fmla="*/ 3070860 h 3680460"/>
                  <a:gd name="connsiteX115" fmla="*/ 2415540 w 3025140"/>
                  <a:gd name="connsiteY115" fmla="*/ 3048000 h 3680460"/>
                  <a:gd name="connsiteX116" fmla="*/ 2446020 w 3025140"/>
                  <a:gd name="connsiteY116" fmla="*/ 3032760 h 3680460"/>
                  <a:gd name="connsiteX117" fmla="*/ 2468880 w 3025140"/>
                  <a:gd name="connsiteY117" fmla="*/ 3009900 h 3680460"/>
                  <a:gd name="connsiteX118" fmla="*/ 2537460 w 3025140"/>
                  <a:gd name="connsiteY118" fmla="*/ 2926080 h 3680460"/>
                  <a:gd name="connsiteX119" fmla="*/ 2575560 w 3025140"/>
                  <a:gd name="connsiteY119" fmla="*/ 2880360 h 3680460"/>
                  <a:gd name="connsiteX120" fmla="*/ 2628900 w 3025140"/>
                  <a:gd name="connsiteY120" fmla="*/ 2811780 h 3680460"/>
                  <a:gd name="connsiteX121" fmla="*/ 2644140 w 3025140"/>
                  <a:gd name="connsiteY121" fmla="*/ 2773680 h 3680460"/>
                  <a:gd name="connsiteX122" fmla="*/ 2674620 w 3025140"/>
                  <a:gd name="connsiteY122" fmla="*/ 2727960 h 3680460"/>
                  <a:gd name="connsiteX123" fmla="*/ 2689860 w 3025140"/>
                  <a:gd name="connsiteY123" fmla="*/ 2705100 h 3680460"/>
                  <a:gd name="connsiteX124" fmla="*/ 2705100 w 3025140"/>
                  <a:gd name="connsiteY124" fmla="*/ 2667000 h 3680460"/>
                  <a:gd name="connsiteX125" fmla="*/ 2727960 w 3025140"/>
                  <a:gd name="connsiteY125" fmla="*/ 2621280 h 3680460"/>
                  <a:gd name="connsiteX126" fmla="*/ 2735580 w 3025140"/>
                  <a:gd name="connsiteY126" fmla="*/ 2590800 h 3680460"/>
                  <a:gd name="connsiteX127" fmla="*/ 2758440 w 3025140"/>
                  <a:gd name="connsiteY127" fmla="*/ 2545080 h 3680460"/>
                  <a:gd name="connsiteX128" fmla="*/ 2788920 w 3025140"/>
                  <a:gd name="connsiteY128" fmla="*/ 2484120 h 3680460"/>
                  <a:gd name="connsiteX129" fmla="*/ 2811780 w 3025140"/>
                  <a:gd name="connsiteY129" fmla="*/ 2407920 h 3680460"/>
                  <a:gd name="connsiteX130" fmla="*/ 2842260 w 3025140"/>
                  <a:gd name="connsiteY130" fmla="*/ 2324100 h 3680460"/>
                  <a:gd name="connsiteX131" fmla="*/ 2857500 w 3025140"/>
                  <a:gd name="connsiteY131" fmla="*/ 2247900 h 3680460"/>
                  <a:gd name="connsiteX132" fmla="*/ 2872740 w 3025140"/>
                  <a:gd name="connsiteY132" fmla="*/ 2194560 h 3680460"/>
                  <a:gd name="connsiteX133" fmla="*/ 2887980 w 3025140"/>
                  <a:gd name="connsiteY133" fmla="*/ 2148840 h 3680460"/>
                  <a:gd name="connsiteX134" fmla="*/ 2910840 w 3025140"/>
                  <a:gd name="connsiteY134" fmla="*/ 2087880 h 3680460"/>
                  <a:gd name="connsiteX135" fmla="*/ 2918460 w 3025140"/>
                  <a:gd name="connsiteY135" fmla="*/ 2049780 h 3680460"/>
                  <a:gd name="connsiteX136" fmla="*/ 2933700 w 3025140"/>
                  <a:gd name="connsiteY136" fmla="*/ 1844040 h 3680460"/>
                  <a:gd name="connsiteX137" fmla="*/ 2918460 w 3025140"/>
                  <a:gd name="connsiteY137" fmla="*/ 1470660 h 3680460"/>
                  <a:gd name="connsiteX138" fmla="*/ 2895600 w 3025140"/>
                  <a:gd name="connsiteY138" fmla="*/ 1371600 h 3680460"/>
                  <a:gd name="connsiteX139" fmla="*/ 2880360 w 3025140"/>
                  <a:gd name="connsiteY139" fmla="*/ 1341120 h 3680460"/>
                  <a:gd name="connsiteX140" fmla="*/ 2857500 w 3025140"/>
                  <a:gd name="connsiteY140" fmla="*/ 1272540 h 3680460"/>
                  <a:gd name="connsiteX141" fmla="*/ 2849880 w 3025140"/>
                  <a:gd name="connsiteY141" fmla="*/ 1234440 h 3680460"/>
                  <a:gd name="connsiteX142" fmla="*/ 2827020 w 3025140"/>
                  <a:gd name="connsiteY142" fmla="*/ 1196340 h 3680460"/>
                  <a:gd name="connsiteX143" fmla="*/ 2811780 w 3025140"/>
                  <a:gd name="connsiteY143" fmla="*/ 1165860 h 3680460"/>
                  <a:gd name="connsiteX144" fmla="*/ 2781300 w 3025140"/>
                  <a:gd name="connsiteY144" fmla="*/ 1127760 h 3680460"/>
                  <a:gd name="connsiteX145" fmla="*/ 2766060 w 3025140"/>
                  <a:gd name="connsiteY145" fmla="*/ 1089660 h 3680460"/>
                  <a:gd name="connsiteX146" fmla="*/ 2735580 w 3025140"/>
                  <a:gd name="connsiteY146" fmla="*/ 1043940 h 3680460"/>
                  <a:gd name="connsiteX147" fmla="*/ 2727960 w 3025140"/>
                  <a:gd name="connsiteY147" fmla="*/ 1021080 h 3680460"/>
                  <a:gd name="connsiteX148" fmla="*/ 2682240 w 3025140"/>
                  <a:gd name="connsiteY148" fmla="*/ 937260 h 3680460"/>
                  <a:gd name="connsiteX149" fmla="*/ 2659380 w 3025140"/>
                  <a:gd name="connsiteY149" fmla="*/ 876300 h 3680460"/>
                  <a:gd name="connsiteX150" fmla="*/ 2644140 w 3025140"/>
                  <a:gd name="connsiteY150" fmla="*/ 845820 h 3680460"/>
                  <a:gd name="connsiteX151" fmla="*/ 2636520 w 3025140"/>
                  <a:gd name="connsiteY151" fmla="*/ 822960 h 3680460"/>
                  <a:gd name="connsiteX152" fmla="*/ 2621280 w 3025140"/>
                  <a:gd name="connsiteY152" fmla="*/ 800100 h 3680460"/>
                  <a:gd name="connsiteX153" fmla="*/ 2598420 w 3025140"/>
                  <a:gd name="connsiteY153" fmla="*/ 739140 h 3680460"/>
                  <a:gd name="connsiteX154" fmla="*/ 2458403 w 3025140"/>
                  <a:gd name="connsiteY154" fmla="*/ 621983 h 3680460"/>
                  <a:gd name="connsiteX155" fmla="*/ 2301240 w 3025140"/>
                  <a:gd name="connsiteY155" fmla="*/ 458152 h 3680460"/>
                  <a:gd name="connsiteX156" fmla="*/ 2237423 w 3025140"/>
                  <a:gd name="connsiteY156" fmla="*/ 406717 h 3680460"/>
                  <a:gd name="connsiteX157" fmla="*/ 2103120 w 3025140"/>
                  <a:gd name="connsiteY157" fmla="*/ 312420 h 3680460"/>
                  <a:gd name="connsiteX158" fmla="*/ 2042160 w 3025140"/>
                  <a:gd name="connsiteY158" fmla="*/ 266700 h 3680460"/>
                  <a:gd name="connsiteX159" fmla="*/ 2004060 w 3025140"/>
                  <a:gd name="connsiteY159" fmla="*/ 251460 h 3680460"/>
                  <a:gd name="connsiteX160" fmla="*/ 1958340 w 3025140"/>
                  <a:gd name="connsiteY160" fmla="*/ 220980 h 3680460"/>
                  <a:gd name="connsiteX161" fmla="*/ 1897380 w 3025140"/>
                  <a:gd name="connsiteY161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64180 w 3025140"/>
                  <a:gd name="connsiteY24" fmla="*/ 1203960 h 3680460"/>
                  <a:gd name="connsiteX25" fmla="*/ 2979420 w 3025140"/>
                  <a:gd name="connsiteY25" fmla="*/ 1264920 h 3680460"/>
                  <a:gd name="connsiteX26" fmla="*/ 2987040 w 3025140"/>
                  <a:gd name="connsiteY26" fmla="*/ 1318260 h 3680460"/>
                  <a:gd name="connsiteX27" fmla="*/ 2994660 w 3025140"/>
                  <a:gd name="connsiteY27" fmla="*/ 1348740 h 3680460"/>
                  <a:gd name="connsiteX28" fmla="*/ 3009900 w 3025140"/>
                  <a:gd name="connsiteY28" fmla="*/ 1432560 h 3680460"/>
                  <a:gd name="connsiteX29" fmla="*/ 3017520 w 3025140"/>
                  <a:gd name="connsiteY29" fmla="*/ 1684020 h 3680460"/>
                  <a:gd name="connsiteX30" fmla="*/ 3025140 w 3025140"/>
                  <a:gd name="connsiteY30" fmla="*/ 1744980 h 3680460"/>
                  <a:gd name="connsiteX31" fmla="*/ 3017520 w 3025140"/>
                  <a:gd name="connsiteY31" fmla="*/ 2095500 h 3680460"/>
                  <a:gd name="connsiteX32" fmla="*/ 3009900 w 3025140"/>
                  <a:gd name="connsiteY32" fmla="*/ 2125980 h 3680460"/>
                  <a:gd name="connsiteX33" fmla="*/ 2979420 w 3025140"/>
                  <a:gd name="connsiteY33" fmla="*/ 2194560 h 3680460"/>
                  <a:gd name="connsiteX34" fmla="*/ 2956560 w 3025140"/>
                  <a:gd name="connsiteY34" fmla="*/ 2247900 h 3680460"/>
                  <a:gd name="connsiteX35" fmla="*/ 2941320 w 3025140"/>
                  <a:gd name="connsiteY35" fmla="*/ 2324100 h 3680460"/>
                  <a:gd name="connsiteX36" fmla="*/ 2926080 w 3025140"/>
                  <a:gd name="connsiteY36" fmla="*/ 2392680 h 3680460"/>
                  <a:gd name="connsiteX37" fmla="*/ 2918460 w 3025140"/>
                  <a:gd name="connsiteY37" fmla="*/ 2415540 h 3680460"/>
                  <a:gd name="connsiteX38" fmla="*/ 2895600 w 3025140"/>
                  <a:gd name="connsiteY38" fmla="*/ 2484120 h 3680460"/>
                  <a:gd name="connsiteX39" fmla="*/ 2872740 w 3025140"/>
                  <a:gd name="connsiteY39" fmla="*/ 2583180 h 3680460"/>
                  <a:gd name="connsiteX40" fmla="*/ 2857500 w 3025140"/>
                  <a:gd name="connsiteY40" fmla="*/ 2606040 h 3680460"/>
                  <a:gd name="connsiteX41" fmla="*/ 2834640 w 3025140"/>
                  <a:gd name="connsiteY41" fmla="*/ 2689860 h 3680460"/>
                  <a:gd name="connsiteX42" fmla="*/ 2811780 w 3025140"/>
                  <a:gd name="connsiteY42" fmla="*/ 2750820 h 3680460"/>
                  <a:gd name="connsiteX43" fmla="*/ 2788920 w 3025140"/>
                  <a:gd name="connsiteY43" fmla="*/ 2781300 h 3680460"/>
                  <a:gd name="connsiteX44" fmla="*/ 2781300 w 3025140"/>
                  <a:gd name="connsiteY44" fmla="*/ 2804160 h 3680460"/>
                  <a:gd name="connsiteX45" fmla="*/ 2743200 w 3025140"/>
                  <a:gd name="connsiteY45" fmla="*/ 2865120 h 3680460"/>
                  <a:gd name="connsiteX46" fmla="*/ 2712720 w 3025140"/>
                  <a:gd name="connsiteY46" fmla="*/ 2903220 h 3680460"/>
                  <a:gd name="connsiteX47" fmla="*/ 2697480 w 3025140"/>
                  <a:gd name="connsiteY47" fmla="*/ 2933700 h 3680460"/>
                  <a:gd name="connsiteX48" fmla="*/ 2674620 w 3025140"/>
                  <a:gd name="connsiteY48" fmla="*/ 2964180 h 3680460"/>
                  <a:gd name="connsiteX49" fmla="*/ 2644140 w 3025140"/>
                  <a:gd name="connsiteY49" fmla="*/ 3009900 h 3680460"/>
                  <a:gd name="connsiteX50" fmla="*/ 2598420 w 3025140"/>
                  <a:gd name="connsiteY50" fmla="*/ 3055620 h 3680460"/>
                  <a:gd name="connsiteX51" fmla="*/ 2575560 w 3025140"/>
                  <a:gd name="connsiteY51" fmla="*/ 3078480 h 3680460"/>
                  <a:gd name="connsiteX52" fmla="*/ 2476500 w 3025140"/>
                  <a:gd name="connsiteY52" fmla="*/ 3169920 h 3680460"/>
                  <a:gd name="connsiteX53" fmla="*/ 2377440 w 3025140"/>
                  <a:gd name="connsiteY53" fmla="*/ 3223260 h 3680460"/>
                  <a:gd name="connsiteX54" fmla="*/ 2293620 w 3025140"/>
                  <a:gd name="connsiteY54" fmla="*/ 3284220 h 3680460"/>
                  <a:gd name="connsiteX55" fmla="*/ 2240280 w 3025140"/>
                  <a:gd name="connsiteY55" fmla="*/ 3314700 h 3680460"/>
                  <a:gd name="connsiteX56" fmla="*/ 2225040 w 3025140"/>
                  <a:gd name="connsiteY56" fmla="*/ 3337560 h 3680460"/>
                  <a:gd name="connsiteX57" fmla="*/ 2141220 w 3025140"/>
                  <a:gd name="connsiteY57" fmla="*/ 3390900 h 3680460"/>
                  <a:gd name="connsiteX58" fmla="*/ 2110740 w 3025140"/>
                  <a:gd name="connsiteY58" fmla="*/ 3413760 h 3680460"/>
                  <a:gd name="connsiteX59" fmla="*/ 2072640 w 3025140"/>
                  <a:gd name="connsiteY59" fmla="*/ 3451860 h 3680460"/>
                  <a:gd name="connsiteX60" fmla="*/ 2019300 w 3025140"/>
                  <a:gd name="connsiteY60" fmla="*/ 3467100 h 3680460"/>
                  <a:gd name="connsiteX61" fmla="*/ 1874520 w 3025140"/>
                  <a:gd name="connsiteY61" fmla="*/ 3512820 h 3680460"/>
                  <a:gd name="connsiteX62" fmla="*/ 1828800 w 3025140"/>
                  <a:gd name="connsiteY62" fmla="*/ 3520440 h 3680460"/>
                  <a:gd name="connsiteX63" fmla="*/ 1722120 w 3025140"/>
                  <a:gd name="connsiteY63" fmla="*/ 3550920 h 3680460"/>
                  <a:gd name="connsiteX64" fmla="*/ 1600200 w 3025140"/>
                  <a:gd name="connsiteY64" fmla="*/ 3589020 h 3680460"/>
                  <a:gd name="connsiteX65" fmla="*/ 1569720 w 3025140"/>
                  <a:gd name="connsiteY65" fmla="*/ 3596640 h 3680460"/>
                  <a:gd name="connsiteX66" fmla="*/ 1546860 w 3025140"/>
                  <a:gd name="connsiteY66" fmla="*/ 3611880 h 3680460"/>
                  <a:gd name="connsiteX67" fmla="*/ 1463040 w 3025140"/>
                  <a:gd name="connsiteY67" fmla="*/ 3627120 h 3680460"/>
                  <a:gd name="connsiteX68" fmla="*/ 1333500 w 3025140"/>
                  <a:gd name="connsiteY68" fmla="*/ 3657600 h 3680460"/>
                  <a:gd name="connsiteX69" fmla="*/ 1203960 w 3025140"/>
                  <a:gd name="connsiteY69" fmla="*/ 3672840 h 3680460"/>
                  <a:gd name="connsiteX70" fmla="*/ 1165860 w 3025140"/>
                  <a:gd name="connsiteY70" fmla="*/ 3680460 h 3680460"/>
                  <a:gd name="connsiteX71" fmla="*/ 449580 w 3025140"/>
                  <a:gd name="connsiteY71" fmla="*/ 3672840 h 3680460"/>
                  <a:gd name="connsiteX72" fmla="*/ 426720 w 3025140"/>
                  <a:gd name="connsiteY72" fmla="*/ 3665220 h 3680460"/>
                  <a:gd name="connsiteX73" fmla="*/ 388620 w 3025140"/>
                  <a:gd name="connsiteY73" fmla="*/ 3657600 h 3680460"/>
                  <a:gd name="connsiteX74" fmla="*/ 335280 w 3025140"/>
                  <a:gd name="connsiteY74" fmla="*/ 3627120 h 3680460"/>
                  <a:gd name="connsiteX75" fmla="*/ 266700 w 3025140"/>
                  <a:gd name="connsiteY75" fmla="*/ 3604260 h 3680460"/>
                  <a:gd name="connsiteX76" fmla="*/ 243840 w 3025140"/>
                  <a:gd name="connsiteY76" fmla="*/ 3589020 h 3680460"/>
                  <a:gd name="connsiteX77" fmla="*/ 160020 w 3025140"/>
                  <a:gd name="connsiteY77" fmla="*/ 3558540 h 3680460"/>
                  <a:gd name="connsiteX78" fmla="*/ 137160 w 3025140"/>
                  <a:gd name="connsiteY78" fmla="*/ 3535680 h 3680460"/>
                  <a:gd name="connsiteX79" fmla="*/ 99060 w 3025140"/>
                  <a:gd name="connsiteY79" fmla="*/ 3520440 h 3680460"/>
                  <a:gd name="connsiteX80" fmla="*/ 83820 w 3025140"/>
                  <a:gd name="connsiteY80" fmla="*/ 3489960 h 3680460"/>
                  <a:gd name="connsiteX81" fmla="*/ 45720 w 3025140"/>
                  <a:gd name="connsiteY81" fmla="*/ 3436620 h 3680460"/>
                  <a:gd name="connsiteX82" fmla="*/ 0 w 3025140"/>
                  <a:gd name="connsiteY82" fmla="*/ 3352800 h 3680460"/>
                  <a:gd name="connsiteX83" fmla="*/ 30480 w 3025140"/>
                  <a:gd name="connsiteY83" fmla="*/ 3345180 h 3680460"/>
                  <a:gd name="connsiteX84" fmla="*/ 137160 w 3025140"/>
                  <a:gd name="connsiteY84" fmla="*/ 3360420 h 3680460"/>
                  <a:gd name="connsiteX85" fmla="*/ 167640 w 3025140"/>
                  <a:gd name="connsiteY85" fmla="*/ 3390900 h 3680460"/>
                  <a:gd name="connsiteX86" fmla="*/ 198120 w 3025140"/>
                  <a:gd name="connsiteY86" fmla="*/ 3406140 h 3680460"/>
                  <a:gd name="connsiteX87" fmla="*/ 350520 w 3025140"/>
                  <a:gd name="connsiteY87" fmla="*/ 3436620 h 3680460"/>
                  <a:gd name="connsiteX88" fmla="*/ 381000 w 3025140"/>
                  <a:gd name="connsiteY88" fmla="*/ 3451860 h 3680460"/>
                  <a:gd name="connsiteX89" fmla="*/ 449580 w 3025140"/>
                  <a:gd name="connsiteY89" fmla="*/ 3489960 h 3680460"/>
                  <a:gd name="connsiteX90" fmla="*/ 495300 w 3025140"/>
                  <a:gd name="connsiteY90" fmla="*/ 3520440 h 3680460"/>
                  <a:gd name="connsiteX91" fmla="*/ 525780 w 3025140"/>
                  <a:gd name="connsiteY91" fmla="*/ 3535680 h 3680460"/>
                  <a:gd name="connsiteX92" fmla="*/ 731520 w 3025140"/>
                  <a:gd name="connsiteY92" fmla="*/ 3558540 h 3680460"/>
                  <a:gd name="connsiteX93" fmla="*/ 1341120 w 3025140"/>
                  <a:gd name="connsiteY93" fmla="*/ 3550920 h 3680460"/>
                  <a:gd name="connsiteX94" fmla="*/ 1440180 w 3025140"/>
                  <a:gd name="connsiteY94" fmla="*/ 3528060 h 3680460"/>
                  <a:gd name="connsiteX95" fmla="*/ 1539240 w 3025140"/>
                  <a:gd name="connsiteY95" fmla="*/ 3520440 h 3680460"/>
                  <a:gd name="connsiteX96" fmla="*/ 1562100 w 3025140"/>
                  <a:gd name="connsiteY96" fmla="*/ 3512820 h 3680460"/>
                  <a:gd name="connsiteX97" fmla="*/ 1630680 w 3025140"/>
                  <a:gd name="connsiteY97" fmla="*/ 3497580 h 3680460"/>
                  <a:gd name="connsiteX98" fmla="*/ 1699260 w 3025140"/>
                  <a:gd name="connsiteY98" fmla="*/ 3474720 h 3680460"/>
                  <a:gd name="connsiteX99" fmla="*/ 1790700 w 3025140"/>
                  <a:gd name="connsiteY99" fmla="*/ 3451860 h 3680460"/>
                  <a:gd name="connsiteX100" fmla="*/ 1821180 w 3025140"/>
                  <a:gd name="connsiteY100" fmla="*/ 3444240 h 3680460"/>
                  <a:gd name="connsiteX101" fmla="*/ 1844040 w 3025140"/>
                  <a:gd name="connsiteY101" fmla="*/ 3429000 h 3680460"/>
                  <a:gd name="connsiteX102" fmla="*/ 1874520 w 3025140"/>
                  <a:gd name="connsiteY102" fmla="*/ 3421380 h 3680460"/>
                  <a:gd name="connsiteX103" fmla="*/ 1927860 w 3025140"/>
                  <a:gd name="connsiteY103" fmla="*/ 3398520 h 3680460"/>
                  <a:gd name="connsiteX104" fmla="*/ 1950720 w 3025140"/>
                  <a:gd name="connsiteY104" fmla="*/ 3390900 h 3680460"/>
                  <a:gd name="connsiteX105" fmla="*/ 2004060 w 3025140"/>
                  <a:gd name="connsiteY105" fmla="*/ 3360420 h 3680460"/>
                  <a:gd name="connsiteX106" fmla="*/ 2042160 w 3025140"/>
                  <a:gd name="connsiteY106" fmla="*/ 3352800 h 3680460"/>
                  <a:gd name="connsiteX107" fmla="*/ 2080260 w 3025140"/>
                  <a:gd name="connsiteY107" fmla="*/ 3337560 h 3680460"/>
                  <a:gd name="connsiteX108" fmla="*/ 2156460 w 3025140"/>
                  <a:gd name="connsiteY108" fmla="*/ 3299460 h 3680460"/>
                  <a:gd name="connsiteX109" fmla="*/ 2179320 w 3025140"/>
                  <a:gd name="connsiteY109" fmla="*/ 3284220 h 3680460"/>
                  <a:gd name="connsiteX110" fmla="*/ 2209800 w 3025140"/>
                  <a:gd name="connsiteY110" fmla="*/ 3276600 h 3680460"/>
                  <a:gd name="connsiteX111" fmla="*/ 2263140 w 3025140"/>
                  <a:gd name="connsiteY111" fmla="*/ 3230880 h 3680460"/>
                  <a:gd name="connsiteX112" fmla="*/ 2346960 w 3025140"/>
                  <a:gd name="connsiteY112" fmla="*/ 3154680 h 3680460"/>
                  <a:gd name="connsiteX113" fmla="*/ 2400300 w 3025140"/>
                  <a:gd name="connsiteY113" fmla="*/ 3070860 h 3680460"/>
                  <a:gd name="connsiteX114" fmla="*/ 2415540 w 3025140"/>
                  <a:gd name="connsiteY114" fmla="*/ 3048000 h 3680460"/>
                  <a:gd name="connsiteX115" fmla="*/ 2446020 w 3025140"/>
                  <a:gd name="connsiteY115" fmla="*/ 3032760 h 3680460"/>
                  <a:gd name="connsiteX116" fmla="*/ 2468880 w 3025140"/>
                  <a:gd name="connsiteY116" fmla="*/ 3009900 h 3680460"/>
                  <a:gd name="connsiteX117" fmla="*/ 2537460 w 3025140"/>
                  <a:gd name="connsiteY117" fmla="*/ 2926080 h 3680460"/>
                  <a:gd name="connsiteX118" fmla="*/ 2575560 w 3025140"/>
                  <a:gd name="connsiteY118" fmla="*/ 2880360 h 3680460"/>
                  <a:gd name="connsiteX119" fmla="*/ 2628900 w 3025140"/>
                  <a:gd name="connsiteY119" fmla="*/ 2811780 h 3680460"/>
                  <a:gd name="connsiteX120" fmla="*/ 2644140 w 3025140"/>
                  <a:gd name="connsiteY120" fmla="*/ 2773680 h 3680460"/>
                  <a:gd name="connsiteX121" fmla="*/ 2674620 w 3025140"/>
                  <a:gd name="connsiteY121" fmla="*/ 2727960 h 3680460"/>
                  <a:gd name="connsiteX122" fmla="*/ 2689860 w 3025140"/>
                  <a:gd name="connsiteY122" fmla="*/ 2705100 h 3680460"/>
                  <a:gd name="connsiteX123" fmla="*/ 2705100 w 3025140"/>
                  <a:gd name="connsiteY123" fmla="*/ 2667000 h 3680460"/>
                  <a:gd name="connsiteX124" fmla="*/ 2727960 w 3025140"/>
                  <a:gd name="connsiteY124" fmla="*/ 2621280 h 3680460"/>
                  <a:gd name="connsiteX125" fmla="*/ 2735580 w 3025140"/>
                  <a:gd name="connsiteY125" fmla="*/ 2590800 h 3680460"/>
                  <a:gd name="connsiteX126" fmla="*/ 2758440 w 3025140"/>
                  <a:gd name="connsiteY126" fmla="*/ 2545080 h 3680460"/>
                  <a:gd name="connsiteX127" fmla="*/ 2788920 w 3025140"/>
                  <a:gd name="connsiteY127" fmla="*/ 2484120 h 3680460"/>
                  <a:gd name="connsiteX128" fmla="*/ 2811780 w 3025140"/>
                  <a:gd name="connsiteY128" fmla="*/ 2407920 h 3680460"/>
                  <a:gd name="connsiteX129" fmla="*/ 2842260 w 3025140"/>
                  <a:gd name="connsiteY129" fmla="*/ 2324100 h 3680460"/>
                  <a:gd name="connsiteX130" fmla="*/ 2857500 w 3025140"/>
                  <a:gd name="connsiteY130" fmla="*/ 2247900 h 3680460"/>
                  <a:gd name="connsiteX131" fmla="*/ 2872740 w 3025140"/>
                  <a:gd name="connsiteY131" fmla="*/ 2194560 h 3680460"/>
                  <a:gd name="connsiteX132" fmla="*/ 2887980 w 3025140"/>
                  <a:gd name="connsiteY132" fmla="*/ 2148840 h 3680460"/>
                  <a:gd name="connsiteX133" fmla="*/ 2910840 w 3025140"/>
                  <a:gd name="connsiteY133" fmla="*/ 2087880 h 3680460"/>
                  <a:gd name="connsiteX134" fmla="*/ 2918460 w 3025140"/>
                  <a:gd name="connsiteY134" fmla="*/ 2049780 h 3680460"/>
                  <a:gd name="connsiteX135" fmla="*/ 2933700 w 3025140"/>
                  <a:gd name="connsiteY135" fmla="*/ 1844040 h 3680460"/>
                  <a:gd name="connsiteX136" fmla="*/ 2918460 w 3025140"/>
                  <a:gd name="connsiteY136" fmla="*/ 1470660 h 3680460"/>
                  <a:gd name="connsiteX137" fmla="*/ 2895600 w 3025140"/>
                  <a:gd name="connsiteY137" fmla="*/ 1371600 h 3680460"/>
                  <a:gd name="connsiteX138" fmla="*/ 2880360 w 3025140"/>
                  <a:gd name="connsiteY138" fmla="*/ 1341120 h 3680460"/>
                  <a:gd name="connsiteX139" fmla="*/ 2857500 w 3025140"/>
                  <a:gd name="connsiteY139" fmla="*/ 1272540 h 3680460"/>
                  <a:gd name="connsiteX140" fmla="*/ 2849880 w 3025140"/>
                  <a:gd name="connsiteY140" fmla="*/ 1234440 h 3680460"/>
                  <a:gd name="connsiteX141" fmla="*/ 2827020 w 3025140"/>
                  <a:gd name="connsiteY141" fmla="*/ 1196340 h 3680460"/>
                  <a:gd name="connsiteX142" fmla="*/ 2811780 w 3025140"/>
                  <a:gd name="connsiteY142" fmla="*/ 1165860 h 3680460"/>
                  <a:gd name="connsiteX143" fmla="*/ 2781300 w 3025140"/>
                  <a:gd name="connsiteY143" fmla="*/ 1127760 h 3680460"/>
                  <a:gd name="connsiteX144" fmla="*/ 2766060 w 3025140"/>
                  <a:gd name="connsiteY144" fmla="*/ 1089660 h 3680460"/>
                  <a:gd name="connsiteX145" fmla="*/ 2735580 w 3025140"/>
                  <a:gd name="connsiteY145" fmla="*/ 1043940 h 3680460"/>
                  <a:gd name="connsiteX146" fmla="*/ 2727960 w 3025140"/>
                  <a:gd name="connsiteY146" fmla="*/ 1021080 h 3680460"/>
                  <a:gd name="connsiteX147" fmla="*/ 2682240 w 3025140"/>
                  <a:gd name="connsiteY147" fmla="*/ 937260 h 3680460"/>
                  <a:gd name="connsiteX148" fmla="*/ 2659380 w 3025140"/>
                  <a:gd name="connsiteY148" fmla="*/ 876300 h 3680460"/>
                  <a:gd name="connsiteX149" fmla="*/ 2644140 w 3025140"/>
                  <a:gd name="connsiteY149" fmla="*/ 845820 h 3680460"/>
                  <a:gd name="connsiteX150" fmla="*/ 2636520 w 3025140"/>
                  <a:gd name="connsiteY150" fmla="*/ 822960 h 3680460"/>
                  <a:gd name="connsiteX151" fmla="*/ 2621280 w 3025140"/>
                  <a:gd name="connsiteY151" fmla="*/ 800100 h 3680460"/>
                  <a:gd name="connsiteX152" fmla="*/ 2598420 w 3025140"/>
                  <a:gd name="connsiteY152" fmla="*/ 739140 h 3680460"/>
                  <a:gd name="connsiteX153" fmla="*/ 2458403 w 3025140"/>
                  <a:gd name="connsiteY153" fmla="*/ 621983 h 3680460"/>
                  <a:gd name="connsiteX154" fmla="*/ 2301240 w 3025140"/>
                  <a:gd name="connsiteY154" fmla="*/ 458152 h 3680460"/>
                  <a:gd name="connsiteX155" fmla="*/ 2237423 w 3025140"/>
                  <a:gd name="connsiteY155" fmla="*/ 406717 h 3680460"/>
                  <a:gd name="connsiteX156" fmla="*/ 2103120 w 3025140"/>
                  <a:gd name="connsiteY156" fmla="*/ 312420 h 3680460"/>
                  <a:gd name="connsiteX157" fmla="*/ 2042160 w 3025140"/>
                  <a:gd name="connsiteY157" fmla="*/ 266700 h 3680460"/>
                  <a:gd name="connsiteX158" fmla="*/ 2004060 w 3025140"/>
                  <a:gd name="connsiteY158" fmla="*/ 251460 h 3680460"/>
                  <a:gd name="connsiteX159" fmla="*/ 1958340 w 3025140"/>
                  <a:gd name="connsiteY159" fmla="*/ 220980 h 3680460"/>
                  <a:gd name="connsiteX160" fmla="*/ 1897380 w 3025140"/>
                  <a:gd name="connsiteY160" fmla="*/ 182880 h 3680460"/>
                  <a:gd name="connsiteX0" fmla="*/ 1897380 w 3025140"/>
                  <a:gd name="connsiteY0" fmla="*/ 182880 h 3680460"/>
                  <a:gd name="connsiteX1" fmla="*/ 1859280 w 3025140"/>
                  <a:gd name="connsiteY1" fmla="*/ 160020 h 3680460"/>
                  <a:gd name="connsiteX2" fmla="*/ 1844040 w 3025140"/>
                  <a:gd name="connsiteY2" fmla="*/ 137160 h 3680460"/>
                  <a:gd name="connsiteX3" fmla="*/ 1821180 w 3025140"/>
                  <a:gd name="connsiteY3" fmla="*/ 121920 h 3680460"/>
                  <a:gd name="connsiteX4" fmla="*/ 1775460 w 3025140"/>
                  <a:gd name="connsiteY4" fmla="*/ 91440 h 3680460"/>
                  <a:gd name="connsiteX5" fmla="*/ 1760220 w 3025140"/>
                  <a:gd name="connsiteY5" fmla="*/ 68580 h 3680460"/>
                  <a:gd name="connsiteX6" fmla="*/ 1737360 w 3025140"/>
                  <a:gd name="connsiteY6" fmla="*/ 53340 h 3680460"/>
                  <a:gd name="connsiteX7" fmla="*/ 1729740 w 3025140"/>
                  <a:gd name="connsiteY7" fmla="*/ 16193 h 3680460"/>
                  <a:gd name="connsiteX8" fmla="*/ 1981200 w 3025140"/>
                  <a:gd name="connsiteY8" fmla="*/ 0 h 3680460"/>
                  <a:gd name="connsiteX9" fmla="*/ 2171700 w 3025140"/>
                  <a:gd name="connsiteY9" fmla="*/ 114300 h 3680460"/>
                  <a:gd name="connsiteX10" fmla="*/ 2286000 w 3025140"/>
                  <a:gd name="connsiteY10" fmla="*/ 190500 h 3680460"/>
                  <a:gd name="connsiteX11" fmla="*/ 2331720 w 3025140"/>
                  <a:gd name="connsiteY11" fmla="*/ 220980 h 3680460"/>
                  <a:gd name="connsiteX12" fmla="*/ 2385060 w 3025140"/>
                  <a:gd name="connsiteY12" fmla="*/ 266700 h 3680460"/>
                  <a:gd name="connsiteX13" fmla="*/ 2537460 w 3025140"/>
                  <a:gd name="connsiteY13" fmla="*/ 426720 h 3680460"/>
                  <a:gd name="connsiteX14" fmla="*/ 2552700 w 3025140"/>
                  <a:gd name="connsiteY14" fmla="*/ 449580 h 3680460"/>
                  <a:gd name="connsiteX15" fmla="*/ 2575560 w 3025140"/>
                  <a:gd name="connsiteY15" fmla="*/ 487680 h 3680460"/>
                  <a:gd name="connsiteX16" fmla="*/ 2621280 w 3025140"/>
                  <a:gd name="connsiteY16" fmla="*/ 548640 h 3680460"/>
                  <a:gd name="connsiteX17" fmla="*/ 2674620 w 3025140"/>
                  <a:gd name="connsiteY17" fmla="*/ 609600 h 3680460"/>
                  <a:gd name="connsiteX18" fmla="*/ 2727960 w 3025140"/>
                  <a:gd name="connsiteY18" fmla="*/ 678180 h 3680460"/>
                  <a:gd name="connsiteX19" fmla="*/ 2727960 w 3025140"/>
                  <a:gd name="connsiteY19" fmla="*/ 678180 h 3680460"/>
                  <a:gd name="connsiteX20" fmla="*/ 2766060 w 3025140"/>
                  <a:gd name="connsiteY20" fmla="*/ 754380 h 3680460"/>
                  <a:gd name="connsiteX21" fmla="*/ 2819400 w 3025140"/>
                  <a:gd name="connsiteY21" fmla="*/ 830580 h 3680460"/>
                  <a:gd name="connsiteX22" fmla="*/ 2918460 w 3025140"/>
                  <a:gd name="connsiteY22" fmla="*/ 1036320 h 3680460"/>
                  <a:gd name="connsiteX23" fmla="*/ 2933700 w 3025140"/>
                  <a:gd name="connsiteY23" fmla="*/ 1074420 h 3680460"/>
                  <a:gd name="connsiteX24" fmla="*/ 2964180 w 3025140"/>
                  <a:gd name="connsiteY24" fmla="*/ 1203960 h 3680460"/>
                  <a:gd name="connsiteX25" fmla="*/ 2979420 w 3025140"/>
                  <a:gd name="connsiteY25" fmla="*/ 1264920 h 3680460"/>
                  <a:gd name="connsiteX26" fmla="*/ 2994660 w 3025140"/>
                  <a:gd name="connsiteY26" fmla="*/ 1348740 h 3680460"/>
                  <a:gd name="connsiteX27" fmla="*/ 3009900 w 3025140"/>
                  <a:gd name="connsiteY27" fmla="*/ 1432560 h 3680460"/>
                  <a:gd name="connsiteX28" fmla="*/ 3017520 w 3025140"/>
                  <a:gd name="connsiteY28" fmla="*/ 1684020 h 3680460"/>
                  <a:gd name="connsiteX29" fmla="*/ 3025140 w 3025140"/>
                  <a:gd name="connsiteY29" fmla="*/ 1744980 h 3680460"/>
                  <a:gd name="connsiteX30" fmla="*/ 3017520 w 3025140"/>
                  <a:gd name="connsiteY30" fmla="*/ 2095500 h 3680460"/>
                  <a:gd name="connsiteX31" fmla="*/ 3009900 w 3025140"/>
                  <a:gd name="connsiteY31" fmla="*/ 2125980 h 3680460"/>
                  <a:gd name="connsiteX32" fmla="*/ 2979420 w 3025140"/>
                  <a:gd name="connsiteY32" fmla="*/ 2194560 h 3680460"/>
                  <a:gd name="connsiteX33" fmla="*/ 2956560 w 3025140"/>
                  <a:gd name="connsiteY33" fmla="*/ 2247900 h 3680460"/>
                  <a:gd name="connsiteX34" fmla="*/ 2941320 w 3025140"/>
                  <a:gd name="connsiteY34" fmla="*/ 2324100 h 3680460"/>
                  <a:gd name="connsiteX35" fmla="*/ 2926080 w 3025140"/>
                  <a:gd name="connsiteY35" fmla="*/ 2392680 h 3680460"/>
                  <a:gd name="connsiteX36" fmla="*/ 2918460 w 3025140"/>
                  <a:gd name="connsiteY36" fmla="*/ 2415540 h 3680460"/>
                  <a:gd name="connsiteX37" fmla="*/ 2895600 w 3025140"/>
                  <a:gd name="connsiteY37" fmla="*/ 2484120 h 3680460"/>
                  <a:gd name="connsiteX38" fmla="*/ 2872740 w 3025140"/>
                  <a:gd name="connsiteY38" fmla="*/ 2583180 h 3680460"/>
                  <a:gd name="connsiteX39" fmla="*/ 2857500 w 3025140"/>
                  <a:gd name="connsiteY39" fmla="*/ 2606040 h 3680460"/>
                  <a:gd name="connsiteX40" fmla="*/ 2834640 w 3025140"/>
                  <a:gd name="connsiteY40" fmla="*/ 2689860 h 3680460"/>
                  <a:gd name="connsiteX41" fmla="*/ 2811780 w 3025140"/>
                  <a:gd name="connsiteY41" fmla="*/ 2750820 h 3680460"/>
                  <a:gd name="connsiteX42" fmla="*/ 2788920 w 3025140"/>
                  <a:gd name="connsiteY42" fmla="*/ 2781300 h 3680460"/>
                  <a:gd name="connsiteX43" fmla="*/ 2781300 w 3025140"/>
                  <a:gd name="connsiteY43" fmla="*/ 2804160 h 3680460"/>
                  <a:gd name="connsiteX44" fmla="*/ 2743200 w 3025140"/>
                  <a:gd name="connsiteY44" fmla="*/ 2865120 h 3680460"/>
                  <a:gd name="connsiteX45" fmla="*/ 2712720 w 3025140"/>
                  <a:gd name="connsiteY45" fmla="*/ 2903220 h 3680460"/>
                  <a:gd name="connsiteX46" fmla="*/ 2697480 w 3025140"/>
                  <a:gd name="connsiteY46" fmla="*/ 2933700 h 3680460"/>
                  <a:gd name="connsiteX47" fmla="*/ 2674620 w 3025140"/>
                  <a:gd name="connsiteY47" fmla="*/ 2964180 h 3680460"/>
                  <a:gd name="connsiteX48" fmla="*/ 2644140 w 3025140"/>
                  <a:gd name="connsiteY48" fmla="*/ 3009900 h 3680460"/>
                  <a:gd name="connsiteX49" fmla="*/ 2598420 w 3025140"/>
                  <a:gd name="connsiteY49" fmla="*/ 3055620 h 3680460"/>
                  <a:gd name="connsiteX50" fmla="*/ 2575560 w 3025140"/>
                  <a:gd name="connsiteY50" fmla="*/ 3078480 h 3680460"/>
                  <a:gd name="connsiteX51" fmla="*/ 2476500 w 3025140"/>
                  <a:gd name="connsiteY51" fmla="*/ 3169920 h 3680460"/>
                  <a:gd name="connsiteX52" fmla="*/ 2377440 w 3025140"/>
                  <a:gd name="connsiteY52" fmla="*/ 3223260 h 3680460"/>
                  <a:gd name="connsiteX53" fmla="*/ 2293620 w 3025140"/>
                  <a:gd name="connsiteY53" fmla="*/ 3284220 h 3680460"/>
                  <a:gd name="connsiteX54" fmla="*/ 2240280 w 3025140"/>
                  <a:gd name="connsiteY54" fmla="*/ 3314700 h 3680460"/>
                  <a:gd name="connsiteX55" fmla="*/ 2225040 w 3025140"/>
                  <a:gd name="connsiteY55" fmla="*/ 3337560 h 3680460"/>
                  <a:gd name="connsiteX56" fmla="*/ 2141220 w 3025140"/>
                  <a:gd name="connsiteY56" fmla="*/ 3390900 h 3680460"/>
                  <a:gd name="connsiteX57" fmla="*/ 2110740 w 3025140"/>
                  <a:gd name="connsiteY57" fmla="*/ 3413760 h 3680460"/>
                  <a:gd name="connsiteX58" fmla="*/ 2072640 w 3025140"/>
                  <a:gd name="connsiteY58" fmla="*/ 3451860 h 3680460"/>
                  <a:gd name="connsiteX59" fmla="*/ 2019300 w 3025140"/>
                  <a:gd name="connsiteY59" fmla="*/ 3467100 h 3680460"/>
                  <a:gd name="connsiteX60" fmla="*/ 1874520 w 3025140"/>
                  <a:gd name="connsiteY60" fmla="*/ 3512820 h 3680460"/>
                  <a:gd name="connsiteX61" fmla="*/ 1828800 w 3025140"/>
                  <a:gd name="connsiteY61" fmla="*/ 3520440 h 3680460"/>
                  <a:gd name="connsiteX62" fmla="*/ 1722120 w 3025140"/>
                  <a:gd name="connsiteY62" fmla="*/ 3550920 h 3680460"/>
                  <a:gd name="connsiteX63" fmla="*/ 1600200 w 3025140"/>
                  <a:gd name="connsiteY63" fmla="*/ 3589020 h 3680460"/>
                  <a:gd name="connsiteX64" fmla="*/ 1569720 w 3025140"/>
                  <a:gd name="connsiteY64" fmla="*/ 3596640 h 3680460"/>
                  <a:gd name="connsiteX65" fmla="*/ 1546860 w 3025140"/>
                  <a:gd name="connsiteY65" fmla="*/ 3611880 h 3680460"/>
                  <a:gd name="connsiteX66" fmla="*/ 1463040 w 3025140"/>
                  <a:gd name="connsiteY66" fmla="*/ 3627120 h 3680460"/>
                  <a:gd name="connsiteX67" fmla="*/ 1333500 w 3025140"/>
                  <a:gd name="connsiteY67" fmla="*/ 3657600 h 3680460"/>
                  <a:gd name="connsiteX68" fmla="*/ 1203960 w 3025140"/>
                  <a:gd name="connsiteY68" fmla="*/ 3672840 h 3680460"/>
                  <a:gd name="connsiteX69" fmla="*/ 1165860 w 3025140"/>
                  <a:gd name="connsiteY69" fmla="*/ 3680460 h 3680460"/>
                  <a:gd name="connsiteX70" fmla="*/ 449580 w 3025140"/>
                  <a:gd name="connsiteY70" fmla="*/ 3672840 h 3680460"/>
                  <a:gd name="connsiteX71" fmla="*/ 426720 w 3025140"/>
                  <a:gd name="connsiteY71" fmla="*/ 3665220 h 3680460"/>
                  <a:gd name="connsiteX72" fmla="*/ 388620 w 3025140"/>
                  <a:gd name="connsiteY72" fmla="*/ 3657600 h 3680460"/>
                  <a:gd name="connsiteX73" fmla="*/ 335280 w 3025140"/>
                  <a:gd name="connsiteY73" fmla="*/ 3627120 h 3680460"/>
                  <a:gd name="connsiteX74" fmla="*/ 266700 w 3025140"/>
                  <a:gd name="connsiteY74" fmla="*/ 3604260 h 3680460"/>
                  <a:gd name="connsiteX75" fmla="*/ 243840 w 3025140"/>
                  <a:gd name="connsiteY75" fmla="*/ 3589020 h 3680460"/>
                  <a:gd name="connsiteX76" fmla="*/ 160020 w 3025140"/>
                  <a:gd name="connsiteY76" fmla="*/ 3558540 h 3680460"/>
                  <a:gd name="connsiteX77" fmla="*/ 137160 w 3025140"/>
                  <a:gd name="connsiteY77" fmla="*/ 3535680 h 3680460"/>
                  <a:gd name="connsiteX78" fmla="*/ 99060 w 3025140"/>
                  <a:gd name="connsiteY78" fmla="*/ 3520440 h 3680460"/>
                  <a:gd name="connsiteX79" fmla="*/ 83820 w 3025140"/>
                  <a:gd name="connsiteY79" fmla="*/ 3489960 h 3680460"/>
                  <a:gd name="connsiteX80" fmla="*/ 45720 w 3025140"/>
                  <a:gd name="connsiteY80" fmla="*/ 3436620 h 3680460"/>
                  <a:gd name="connsiteX81" fmla="*/ 0 w 3025140"/>
                  <a:gd name="connsiteY81" fmla="*/ 3352800 h 3680460"/>
                  <a:gd name="connsiteX82" fmla="*/ 30480 w 3025140"/>
                  <a:gd name="connsiteY82" fmla="*/ 3345180 h 3680460"/>
                  <a:gd name="connsiteX83" fmla="*/ 137160 w 3025140"/>
                  <a:gd name="connsiteY83" fmla="*/ 3360420 h 3680460"/>
                  <a:gd name="connsiteX84" fmla="*/ 167640 w 3025140"/>
                  <a:gd name="connsiteY84" fmla="*/ 3390900 h 3680460"/>
                  <a:gd name="connsiteX85" fmla="*/ 198120 w 3025140"/>
                  <a:gd name="connsiteY85" fmla="*/ 3406140 h 3680460"/>
                  <a:gd name="connsiteX86" fmla="*/ 350520 w 3025140"/>
                  <a:gd name="connsiteY86" fmla="*/ 3436620 h 3680460"/>
                  <a:gd name="connsiteX87" fmla="*/ 381000 w 3025140"/>
                  <a:gd name="connsiteY87" fmla="*/ 3451860 h 3680460"/>
                  <a:gd name="connsiteX88" fmla="*/ 449580 w 3025140"/>
                  <a:gd name="connsiteY88" fmla="*/ 3489960 h 3680460"/>
                  <a:gd name="connsiteX89" fmla="*/ 495300 w 3025140"/>
                  <a:gd name="connsiteY89" fmla="*/ 3520440 h 3680460"/>
                  <a:gd name="connsiteX90" fmla="*/ 525780 w 3025140"/>
                  <a:gd name="connsiteY90" fmla="*/ 3535680 h 3680460"/>
                  <a:gd name="connsiteX91" fmla="*/ 731520 w 3025140"/>
                  <a:gd name="connsiteY91" fmla="*/ 3558540 h 3680460"/>
                  <a:gd name="connsiteX92" fmla="*/ 1341120 w 3025140"/>
                  <a:gd name="connsiteY92" fmla="*/ 3550920 h 3680460"/>
                  <a:gd name="connsiteX93" fmla="*/ 1440180 w 3025140"/>
                  <a:gd name="connsiteY93" fmla="*/ 3528060 h 3680460"/>
                  <a:gd name="connsiteX94" fmla="*/ 1539240 w 3025140"/>
                  <a:gd name="connsiteY94" fmla="*/ 3520440 h 3680460"/>
                  <a:gd name="connsiteX95" fmla="*/ 1562100 w 3025140"/>
                  <a:gd name="connsiteY95" fmla="*/ 3512820 h 3680460"/>
                  <a:gd name="connsiteX96" fmla="*/ 1630680 w 3025140"/>
                  <a:gd name="connsiteY96" fmla="*/ 3497580 h 3680460"/>
                  <a:gd name="connsiteX97" fmla="*/ 1699260 w 3025140"/>
                  <a:gd name="connsiteY97" fmla="*/ 3474720 h 3680460"/>
                  <a:gd name="connsiteX98" fmla="*/ 1790700 w 3025140"/>
                  <a:gd name="connsiteY98" fmla="*/ 3451860 h 3680460"/>
                  <a:gd name="connsiteX99" fmla="*/ 1821180 w 3025140"/>
                  <a:gd name="connsiteY99" fmla="*/ 3444240 h 3680460"/>
                  <a:gd name="connsiteX100" fmla="*/ 1844040 w 3025140"/>
                  <a:gd name="connsiteY100" fmla="*/ 3429000 h 3680460"/>
                  <a:gd name="connsiteX101" fmla="*/ 1874520 w 3025140"/>
                  <a:gd name="connsiteY101" fmla="*/ 3421380 h 3680460"/>
                  <a:gd name="connsiteX102" fmla="*/ 1927860 w 3025140"/>
                  <a:gd name="connsiteY102" fmla="*/ 3398520 h 3680460"/>
                  <a:gd name="connsiteX103" fmla="*/ 1950720 w 3025140"/>
                  <a:gd name="connsiteY103" fmla="*/ 3390900 h 3680460"/>
                  <a:gd name="connsiteX104" fmla="*/ 2004060 w 3025140"/>
                  <a:gd name="connsiteY104" fmla="*/ 3360420 h 3680460"/>
                  <a:gd name="connsiteX105" fmla="*/ 2042160 w 3025140"/>
                  <a:gd name="connsiteY105" fmla="*/ 3352800 h 3680460"/>
                  <a:gd name="connsiteX106" fmla="*/ 2080260 w 3025140"/>
                  <a:gd name="connsiteY106" fmla="*/ 3337560 h 3680460"/>
                  <a:gd name="connsiteX107" fmla="*/ 2156460 w 3025140"/>
                  <a:gd name="connsiteY107" fmla="*/ 3299460 h 3680460"/>
                  <a:gd name="connsiteX108" fmla="*/ 2179320 w 3025140"/>
                  <a:gd name="connsiteY108" fmla="*/ 3284220 h 3680460"/>
                  <a:gd name="connsiteX109" fmla="*/ 2209800 w 3025140"/>
                  <a:gd name="connsiteY109" fmla="*/ 3276600 h 3680460"/>
                  <a:gd name="connsiteX110" fmla="*/ 2263140 w 3025140"/>
                  <a:gd name="connsiteY110" fmla="*/ 3230880 h 3680460"/>
                  <a:gd name="connsiteX111" fmla="*/ 2346960 w 3025140"/>
                  <a:gd name="connsiteY111" fmla="*/ 3154680 h 3680460"/>
                  <a:gd name="connsiteX112" fmla="*/ 2400300 w 3025140"/>
                  <a:gd name="connsiteY112" fmla="*/ 3070860 h 3680460"/>
                  <a:gd name="connsiteX113" fmla="*/ 2415540 w 3025140"/>
                  <a:gd name="connsiteY113" fmla="*/ 3048000 h 3680460"/>
                  <a:gd name="connsiteX114" fmla="*/ 2446020 w 3025140"/>
                  <a:gd name="connsiteY114" fmla="*/ 3032760 h 3680460"/>
                  <a:gd name="connsiteX115" fmla="*/ 2468880 w 3025140"/>
                  <a:gd name="connsiteY115" fmla="*/ 3009900 h 3680460"/>
                  <a:gd name="connsiteX116" fmla="*/ 2537460 w 3025140"/>
                  <a:gd name="connsiteY116" fmla="*/ 2926080 h 3680460"/>
                  <a:gd name="connsiteX117" fmla="*/ 2575560 w 3025140"/>
                  <a:gd name="connsiteY117" fmla="*/ 2880360 h 3680460"/>
                  <a:gd name="connsiteX118" fmla="*/ 2628900 w 3025140"/>
                  <a:gd name="connsiteY118" fmla="*/ 2811780 h 3680460"/>
                  <a:gd name="connsiteX119" fmla="*/ 2644140 w 3025140"/>
                  <a:gd name="connsiteY119" fmla="*/ 2773680 h 3680460"/>
                  <a:gd name="connsiteX120" fmla="*/ 2674620 w 3025140"/>
                  <a:gd name="connsiteY120" fmla="*/ 2727960 h 3680460"/>
                  <a:gd name="connsiteX121" fmla="*/ 2689860 w 3025140"/>
                  <a:gd name="connsiteY121" fmla="*/ 2705100 h 3680460"/>
                  <a:gd name="connsiteX122" fmla="*/ 2705100 w 3025140"/>
                  <a:gd name="connsiteY122" fmla="*/ 2667000 h 3680460"/>
                  <a:gd name="connsiteX123" fmla="*/ 2727960 w 3025140"/>
                  <a:gd name="connsiteY123" fmla="*/ 2621280 h 3680460"/>
                  <a:gd name="connsiteX124" fmla="*/ 2735580 w 3025140"/>
                  <a:gd name="connsiteY124" fmla="*/ 2590800 h 3680460"/>
                  <a:gd name="connsiteX125" fmla="*/ 2758440 w 3025140"/>
                  <a:gd name="connsiteY125" fmla="*/ 2545080 h 3680460"/>
                  <a:gd name="connsiteX126" fmla="*/ 2788920 w 3025140"/>
                  <a:gd name="connsiteY126" fmla="*/ 2484120 h 3680460"/>
                  <a:gd name="connsiteX127" fmla="*/ 2811780 w 3025140"/>
                  <a:gd name="connsiteY127" fmla="*/ 2407920 h 3680460"/>
                  <a:gd name="connsiteX128" fmla="*/ 2842260 w 3025140"/>
                  <a:gd name="connsiteY128" fmla="*/ 2324100 h 3680460"/>
                  <a:gd name="connsiteX129" fmla="*/ 2857500 w 3025140"/>
                  <a:gd name="connsiteY129" fmla="*/ 2247900 h 3680460"/>
                  <a:gd name="connsiteX130" fmla="*/ 2872740 w 3025140"/>
                  <a:gd name="connsiteY130" fmla="*/ 2194560 h 3680460"/>
                  <a:gd name="connsiteX131" fmla="*/ 2887980 w 3025140"/>
                  <a:gd name="connsiteY131" fmla="*/ 2148840 h 3680460"/>
                  <a:gd name="connsiteX132" fmla="*/ 2910840 w 3025140"/>
                  <a:gd name="connsiteY132" fmla="*/ 2087880 h 3680460"/>
                  <a:gd name="connsiteX133" fmla="*/ 2918460 w 3025140"/>
                  <a:gd name="connsiteY133" fmla="*/ 2049780 h 3680460"/>
                  <a:gd name="connsiteX134" fmla="*/ 2933700 w 3025140"/>
                  <a:gd name="connsiteY134" fmla="*/ 1844040 h 3680460"/>
                  <a:gd name="connsiteX135" fmla="*/ 2918460 w 3025140"/>
                  <a:gd name="connsiteY135" fmla="*/ 1470660 h 3680460"/>
                  <a:gd name="connsiteX136" fmla="*/ 2895600 w 3025140"/>
                  <a:gd name="connsiteY136" fmla="*/ 1371600 h 3680460"/>
                  <a:gd name="connsiteX137" fmla="*/ 2880360 w 3025140"/>
                  <a:gd name="connsiteY137" fmla="*/ 1341120 h 3680460"/>
                  <a:gd name="connsiteX138" fmla="*/ 2857500 w 3025140"/>
                  <a:gd name="connsiteY138" fmla="*/ 1272540 h 3680460"/>
                  <a:gd name="connsiteX139" fmla="*/ 2849880 w 3025140"/>
                  <a:gd name="connsiteY139" fmla="*/ 1234440 h 3680460"/>
                  <a:gd name="connsiteX140" fmla="*/ 2827020 w 3025140"/>
                  <a:gd name="connsiteY140" fmla="*/ 1196340 h 3680460"/>
                  <a:gd name="connsiteX141" fmla="*/ 2811780 w 3025140"/>
                  <a:gd name="connsiteY141" fmla="*/ 1165860 h 3680460"/>
                  <a:gd name="connsiteX142" fmla="*/ 2781300 w 3025140"/>
                  <a:gd name="connsiteY142" fmla="*/ 1127760 h 3680460"/>
                  <a:gd name="connsiteX143" fmla="*/ 2766060 w 3025140"/>
                  <a:gd name="connsiteY143" fmla="*/ 1089660 h 3680460"/>
                  <a:gd name="connsiteX144" fmla="*/ 2735580 w 3025140"/>
                  <a:gd name="connsiteY144" fmla="*/ 1043940 h 3680460"/>
                  <a:gd name="connsiteX145" fmla="*/ 2727960 w 3025140"/>
                  <a:gd name="connsiteY145" fmla="*/ 1021080 h 3680460"/>
                  <a:gd name="connsiteX146" fmla="*/ 2682240 w 3025140"/>
                  <a:gd name="connsiteY146" fmla="*/ 937260 h 3680460"/>
                  <a:gd name="connsiteX147" fmla="*/ 2659380 w 3025140"/>
                  <a:gd name="connsiteY147" fmla="*/ 876300 h 3680460"/>
                  <a:gd name="connsiteX148" fmla="*/ 2644140 w 3025140"/>
                  <a:gd name="connsiteY148" fmla="*/ 845820 h 3680460"/>
                  <a:gd name="connsiteX149" fmla="*/ 2636520 w 3025140"/>
                  <a:gd name="connsiteY149" fmla="*/ 822960 h 3680460"/>
                  <a:gd name="connsiteX150" fmla="*/ 2621280 w 3025140"/>
                  <a:gd name="connsiteY150" fmla="*/ 800100 h 3680460"/>
                  <a:gd name="connsiteX151" fmla="*/ 2598420 w 3025140"/>
                  <a:gd name="connsiteY151" fmla="*/ 739140 h 3680460"/>
                  <a:gd name="connsiteX152" fmla="*/ 2458403 w 3025140"/>
                  <a:gd name="connsiteY152" fmla="*/ 621983 h 3680460"/>
                  <a:gd name="connsiteX153" fmla="*/ 2301240 w 3025140"/>
                  <a:gd name="connsiteY153" fmla="*/ 458152 h 3680460"/>
                  <a:gd name="connsiteX154" fmla="*/ 2237423 w 3025140"/>
                  <a:gd name="connsiteY154" fmla="*/ 406717 h 3680460"/>
                  <a:gd name="connsiteX155" fmla="*/ 2103120 w 3025140"/>
                  <a:gd name="connsiteY155" fmla="*/ 312420 h 3680460"/>
                  <a:gd name="connsiteX156" fmla="*/ 2042160 w 3025140"/>
                  <a:gd name="connsiteY156" fmla="*/ 266700 h 3680460"/>
                  <a:gd name="connsiteX157" fmla="*/ 2004060 w 3025140"/>
                  <a:gd name="connsiteY157" fmla="*/ 251460 h 3680460"/>
                  <a:gd name="connsiteX158" fmla="*/ 1958340 w 3025140"/>
                  <a:gd name="connsiteY158" fmla="*/ 220980 h 3680460"/>
                  <a:gd name="connsiteX159" fmla="*/ 1897380 w 3025140"/>
                  <a:gd name="connsiteY159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3009900 w 3018472"/>
                  <a:gd name="connsiteY30" fmla="*/ 2125980 h 3680460"/>
                  <a:gd name="connsiteX31" fmla="*/ 2979420 w 3018472"/>
                  <a:gd name="connsiteY31" fmla="*/ 2194560 h 3680460"/>
                  <a:gd name="connsiteX32" fmla="*/ 2956560 w 3018472"/>
                  <a:gd name="connsiteY32" fmla="*/ 2247900 h 3680460"/>
                  <a:gd name="connsiteX33" fmla="*/ 2941320 w 3018472"/>
                  <a:gd name="connsiteY33" fmla="*/ 2324100 h 3680460"/>
                  <a:gd name="connsiteX34" fmla="*/ 2926080 w 3018472"/>
                  <a:gd name="connsiteY34" fmla="*/ 2392680 h 3680460"/>
                  <a:gd name="connsiteX35" fmla="*/ 2918460 w 3018472"/>
                  <a:gd name="connsiteY35" fmla="*/ 2415540 h 3680460"/>
                  <a:gd name="connsiteX36" fmla="*/ 2895600 w 3018472"/>
                  <a:gd name="connsiteY36" fmla="*/ 2484120 h 3680460"/>
                  <a:gd name="connsiteX37" fmla="*/ 2872740 w 3018472"/>
                  <a:gd name="connsiteY37" fmla="*/ 2583180 h 3680460"/>
                  <a:gd name="connsiteX38" fmla="*/ 2857500 w 3018472"/>
                  <a:gd name="connsiteY38" fmla="*/ 2606040 h 3680460"/>
                  <a:gd name="connsiteX39" fmla="*/ 2834640 w 3018472"/>
                  <a:gd name="connsiteY39" fmla="*/ 2689860 h 3680460"/>
                  <a:gd name="connsiteX40" fmla="*/ 2811780 w 3018472"/>
                  <a:gd name="connsiteY40" fmla="*/ 2750820 h 3680460"/>
                  <a:gd name="connsiteX41" fmla="*/ 2788920 w 3018472"/>
                  <a:gd name="connsiteY41" fmla="*/ 2781300 h 3680460"/>
                  <a:gd name="connsiteX42" fmla="*/ 2781300 w 3018472"/>
                  <a:gd name="connsiteY42" fmla="*/ 2804160 h 3680460"/>
                  <a:gd name="connsiteX43" fmla="*/ 2743200 w 3018472"/>
                  <a:gd name="connsiteY43" fmla="*/ 2865120 h 3680460"/>
                  <a:gd name="connsiteX44" fmla="*/ 2712720 w 3018472"/>
                  <a:gd name="connsiteY44" fmla="*/ 2903220 h 3680460"/>
                  <a:gd name="connsiteX45" fmla="*/ 2697480 w 3018472"/>
                  <a:gd name="connsiteY45" fmla="*/ 2933700 h 3680460"/>
                  <a:gd name="connsiteX46" fmla="*/ 2674620 w 3018472"/>
                  <a:gd name="connsiteY46" fmla="*/ 2964180 h 3680460"/>
                  <a:gd name="connsiteX47" fmla="*/ 2644140 w 3018472"/>
                  <a:gd name="connsiteY47" fmla="*/ 3009900 h 3680460"/>
                  <a:gd name="connsiteX48" fmla="*/ 2598420 w 3018472"/>
                  <a:gd name="connsiteY48" fmla="*/ 3055620 h 3680460"/>
                  <a:gd name="connsiteX49" fmla="*/ 2575560 w 3018472"/>
                  <a:gd name="connsiteY49" fmla="*/ 3078480 h 3680460"/>
                  <a:gd name="connsiteX50" fmla="*/ 2476500 w 3018472"/>
                  <a:gd name="connsiteY50" fmla="*/ 3169920 h 3680460"/>
                  <a:gd name="connsiteX51" fmla="*/ 2377440 w 3018472"/>
                  <a:gd name="connsiteY51" fmla="*/ 3223260 h 3680460"/>
                  <a:gd name="connsiteX52" fmla="*/ 2293620 w 3018472"/>
                  <a:gd name="connsiteY52" fmla="*/ 3284220 h 3680460"/>
                  <a:gd name="connsiteX53" fmla="*/ 2240280 w 3018472"/>
                  <a:gd name="connsiteY53" fmla="*/ 3314700 h 3680460"/>
                  <a:gd name="connsiteX54" fmla="*/ 2225040 w 3018472"/>
                  <a:gd name="connsiteY54" fmla="*/ 3337560 h 3680460"/>
                  <a:gd name="connsiteX55" fmla="*/ 2141220 w 3018472"/>
                  <a:gd name="connsiteY55" fmla="*/ 3390900 h 3680460"/>
                  <a:gd name="connsiteX56" fmla="*/ 2110740 w 3018472"/>
                  <a:gd name="connsiteY56" fmla="*/ 3413760 h 3680460"/>
                  <a:gd name="connsiteX57" fmla="*/ 2072640 w 3018472"/>
                  <a:gd name="connsiteY57" fmla="*/ 3451860 h 3680460"/>
                  <a:gd name="connsiteX58" fmla="*/ 2019300 w 3018472"/>
                  <a:gd name="connsiteY58" fmla="*/ 3467100 h 3680460"/>
                  <a:gd name="connsiteX59" fmla="*/ 1874520 w 3018472"/>
                  <a:gd name="connsiteY59" fmla="*/ 3512820 h 3680460"/>
                  <a:gd name="connsiteX60" fmla="*/ 1828800 w 3018472"/>
                  <a:gd name="connsiteY60" fmla="*/ 3520440 h 3680460"/>
                  <a:gd name="connsiteX61" fmla="*/ 1722120 w 3018472"/>
                  <a:gd name="connsiteY61" fmla="*/ 3550920 h 3680460"/>
                  <a:gd name="connsiteX62" fmla="*/ 1600200 w 3018472"/>
                  <a:gd name="connsiteY62" fmla="*/ 3589020 h 3680460"/>
                  <a:gd name="connsiteX63" fmla="*/ 1569720 w 3018472"/>
                  <a:gd name="connsiteY63" fmla="*/ 3596640 h 3680460"/>
                  <a:gd name="connsiteX64" fmla="*/ 1546860 w 3018472"/>
                  <a:gd name="connsiteY64" fmla="*/ 3611880 h 3680460"/>
                  <a:gd name="connsiteX65" fmla="*/ 1463040 w 3018472"/>
                  <a:gd name="connsiteY65" fmla="*/ 3627120 h 3680460"/>
                  <a:gd name="connsiteX66" fmla="*/ 1333500 w 3018472"/>
                  <a:gd name="connsiteY66" fmla="*/ 3657600 h 3680460"/>
                  <a:gd name="connsiteX67" fmla="*/ 1203960 w 3018472"/>
                  <a:gd name="connsiteY67" fmla="*/ 3672840 h 3680460"/>
                  <a:gd name="connsiteX68" fmla="*/ 1165860 w 3018472"/>
                  <a:gd name="connsiteY68" fmla="*/ 3680460 h 3680460"/>
                  <a:gd name="connsiteX69" fmla="*/ 449580 w 3018472"/>
                  <a:gd name="connsiteY69" fmla="*/ 3672840 h 3680460"/>
                  <a:gd name="connsiteX70" fmla="*/ 426720 w 3018472"/>
                  <a:gd name="connsiteY70" fmla="*/ 3665220 h 3680460"/>
                  <a:gd name="connsiteX71" fmla="*/ 388620 w 3018472"/>
                  <a:gd name="connsiteY71" fmla="*/ 3657600 h 3680460"/>
                  <a:gd name="connsiteX72" fmla="*/ 335280 w 3018472"/>
                  <a:gd name="connsiteY72" fmla="*/ 3627120 h 3680460"/>
                  <a:gd name="connsiteX73" fmla="*/ 266700 w 3018472"/>
                  <a:gd name="connsiteY73" fmla="*/ 3604260 h 3680460"/>
                  <a:gd name="connsiteX74" fmla="*/ 243840 w 3018472"/>
                  <a:gd name="connsiteY74" fmla="*/ 3589020 h 3680460"/>
                  <a:gd name="connsiteX75" fmla="*/ 160020 w 3018472"/>
                  <a:gd name="connsiteY75" fmla="*/ 3558540 h 3680460"/>
                  <a:gd name="connsiteX76" fmla="*/ 137160 w 3018472"/>
                  <a:gd name="connsiteY76" fmla="*/ 3535680 h 3680460"/>
                  <a:gd name="connsiteX77" fmla="*/ 99060 w 3018472"/>
                  <a:gd name="connsiteY77" fmla="*/ 3520440 h 3680460"/>
                  <a:gd name="connsiteX78" fmla="*/ 83820 w 3018472"/>
                  <a:gd name="connsiteY78" fmla="*/ 3489960 h 3680460"/>
                  <a:gd name="connsiteX79" fmla="*/ 45720 w 3018472"/>
                  <a:gd name="connsiteY79" fmla="*/ 3436620 h 3680460"/>
                  <a:gd name="connsiteX80" fmla="*/ 0 w 3018472"/>
                  <a:gd name="connsiteY80" fmla="*/ 3352800 h 3680460"/>
                  <a:gd name="connsiteX81" fmla="*/ 30480 w 3018472"/>
                  <a:gd name="connsiteY81" fmla="*/ 3345180 h 3680460"/>
                  <a:gd name="connsiteX82" fmla="*/ 137160 w 3018472"/>
                  <a:gd name="connsiteY82" fmla="*/ 3360420 h 3680460"/>
                  <a:gd name="connsiteX83" fmla="*/ 167640 w 3018472"/>
                  <a:gd name="connsiteY83" fmla="*/ 3390900 h 3680460"/>
                  <a:gd name="connsiteX84" fmla="*/ 198120 w 3018472"/>
                  <a:gd name="connsiteY84" fmla="*/ 3406140 h 3680460"/>
                  <a:gd name="connsiteX85" fmla="*/ 350520 w 3018472"/>
                  <a:gd name="connsiteY85" fmla="*/ 3436620 h 3680460"/>
                  <a:gd name="connsiteX86" fmla="*/ 381000 w 3018472"/>
                  <a:gd name="connsiteY86" fmla="*/ 3451860 h 3680460"/>
                  <a:gd name="connsiteX87" fmla="*/ 449580 w 3018472"/>
                  <a:gd name="connsiteY87" fmla="*/ 3489960 h 3680460"/>
                  <a:gd name="connsiteX88" fmla="*/ 495300 w 3018472"/>
                  <a:gd name="connsiteY88" fmla="*/ 3520440 h 3680460"/>
                  <a:gd name="connsiteX89" fmla="*/ 525780 w 3018472"/>
                  <a:gd name="connsiteY89" fmla="*/ 3535680 h 3680460"/>
                  <a:gd name="connsiteX90" fmla="*/ 731520 w 3018472"/>
                  <a:gd name="connsiteY90" fmla="*/ 3558540 h 3680460"/>
                  <a:gd name="connsiteX91" fmla="*/ 1341120 w 3018472"/>
                  <a:gd name="connsiteY91" fmla="*/ 3550920 h 3680460"/>
                  <a:gd name="connsiteX92" fmla="*/ 1440180 w 3018472"/>
                  <a:gd name="connsiteY92" fmla="*/ 3528060 h 3680460"/>
                  <a:gd name="connsiteX93" fmla="*/ 1539240 w 3018472"/>
                  <a:gd name="connsiteY93" fmla="*/ 3520440 h 3680460"/>
                  <a:gd name="connsiteX94" fmla="*/ 1562100 w 3018472"/>
                  <a:gd name="connsiteY94" fmla="*/ 3512820 h 3680460"/>
                  <a:gd name="connsiteX95" fmla="*/ 1630680 w 3018472"/>
                  <a:gd name="connsiteY95" fmla="*/ 3497580 h 3680460"/>
                  <a:gd name="connsiteX96" fmla="*/ 1699260 w 3018472"/>
                  <a:gd name="connsiteY96" fmla="*/ 3474720 h 3680460"/>
                  <a:gd name="connsiteX97" fmla="*/ 1790700 w 3018472"/>
                  <a:gd name="connsiteY97" fmla="*/ 3451860 h 3680460"/>
                  <a:gd name="connsiteX98" fmla="*/ 1821180 w 3018472"/>
                  <a:gd name="connsiteY98" fmla="*/ 3444240 h 3680460"/>
                  <a:gd name="connsiteX99" fmla="*/ 1844040 w 3018472"/>
                  <a:gd name="connsiteY99" fmla="*/ 3429000 h 3680460"/>
                  <a:gd name="connsiteX100" fmla="*/ 1874520 w 3018472"/>
                  <a:gd name="connsiteY100" fmla="*/ 3421380 h 3680460"/>
                  <a:gd name="connsiteX101" fmla="*/ 1927860 w 3018472"/>
                  <a:gd name="connsiteY101" fmla="*/ 3398520 h 3680460"/>
                  <a:gd name="connsiteX102" fmla="*/ 1950720 w 3018472"/>
                  <a:gd name="connsiteY102" fmla="*/ 3390900 h 3680460"/>
                  <a:gd name="connsiteX103" fmla="*/ 2004060 w 3018472"/>
                  <a:gd name="connsiteY103" fmla="*/ 3360420 h 3680460"/>
                  <a:gd name="connsiteX104" fmla="*/ 2042160 w 3018472"/>
                  <a:gd name="connsiteY104" fmla="*/ 3352800 h 3680460"/>
                  <a:gd name="connsiteX105" fmla="*/ 2080260 w 3018472"/>
                  <a:gd name="connsiteY105" fmla="*/ 3337560 h 3680460"/>
                  <a:gd name="connsiteX106" fmla="*/ 2156460 w 3018472"/>
                  <a:gd name="connsiteY106" fmla="*/ 3299460 h 3680460"/>
                  <a:gd name="connsiteX107" fmla="*/ 2179320 w 3018472"/>
                  <a:gd name="connsiteY107" fmla="*/ 3284220 h 3680460"/>
                  <a:gd name="connsiteX108" fmla="*/ 2209800 w 3018472"/>
                  <a:gd name="connsiteY108" fmla="*/ 3276600 h 3680460"/>
                  <a:gd name="connsiteX109" fmla="*/ 2263140 w 3018472"/>
                  <a:gd name="connsiteY109" fmla="*/ 3230880 h 3680460"/>
                  <a:gd name="connsiteX110" fmla="*/ 2346960 w 3018472"/>
                  <a:gd name="connsiteY110" fmla="*/ 3154680 h 3680460"/>
                  <a:gd name="connsiteX111" fmla="*/ 2400300 w 3018472"/>
                  <a:gd name="connsiteY111" fmla="*/ 3070860 h 3680460"/>
                  <a:gd name="connsiteX112" fmla="*/ 2415540 w 3018472"/>
                  <a:gd name="connsiteY112" fmla="*/ 3048000 h 3680460"/>
                  <a:gd name="connsiteX113" fmla="*/ 2446020 w 3018472"/>
                  <a:gd name="connsiteY113" fmla="*/ 3032760 h 3680460"/>
                  <a:gd name="connsiteX114" fmla="*/ 2468880 w 3018472"/>
                  <a:gd name="connsiteY114" fmla="*/ 3009900 h 3680460"/>
                  <a:gd name="connsiteX115" fmla="*/ 2537460 w 3018472"/>
                  <a:gd name="connsiteY115" fmla="*/ 2926080 h 3680460"/>
                  <a:gd name="connsiteX116" fmla="*/ 2575560 w 3018472"/>
                  <a:gd name="connsiteY116" fmla="*/ 2880360 h 3680460"/>
                  <a:gd name="connsiteX117" fmla="*/ 2628900 w 3018472"/>
                  <a:gd name="connsiteY117" fmla="*/ 2811780 h 3680460"/>
                  <a:gd name="connsiteX118" fmla="*/ 2644140 w 3018472"/>
                  <a:gd name="connsiteY118" fmla="*/ 2773680 h 3680460"/>
                  <a:gd name="connsiteX119" fmla="*/ 2674620 w 3018472"/>
                  <a:gd name="connsiteY119" fmla="*/ 2727960 h 3680460"/>
                  <a:gd name="connsiteX120" fmla="*/ 2689860 w 3018472"/>
                  <a:gd name="connsiteY120" fmla="*/ 2705100 h 3680460"/>
                  <a:gd name="connsiteX121" fmla="*/ 2705100 w 3018472"/>
                  <a:gd name="connsiteY121" fmla="*/ 2667000 h 3680460"/>
                  <a:gd name="connsiteX122" fmla="*/ 2727960 w 3018472"/>
                  <a:gd name="connsiteY122" fmla="*/ 2621280 h 3680460"/>
                  <a:gd name="connsiteX123" fmla="*/ 2735580 w 3018472"/>
                  <a:gd name="connsiteY123" fmla="*/ 2590800 h 3680460"/>
                  <a:gd name="connsiteX124" fmla="*/ 2758440 w 3018472"/>
                  <a:gd name="connsiteY124" fmla="*/ 2545080 h 3680460"/>
                  <a:gd name="connsiteX125" fmla="*/ 2788920 w 3018472"/>
                  <a:gd name="connsiteY125" fmla="*/ 2484120 h 3680460"/>
                  <a:gd name="connsiteX126" fmla="*/ 2811780 w 3018472"/>
                  <a:gd name="connsiteY126" fmla="*/ 2407920 h 3680460"/>
                  <a:gd name="connsiteX127" fmla="*/ 2842260 w 3018472"/>
                  <a:gd name="connsiteY127" fmla="*/ 2324100 h 3680460"/>
                  <a:gd name="connsiteX128" fmla="*/ 2857500 w 3018472"/>
                  <a:gd name="connsiteY128" fmla="*/ 2247900 h 3680460"/>
                  <a:gd name="connsiteX129" fmla="*/ 2872740 w 3018472"/>
                  <a:gd name="connsiteY129" fmla="*/ 2194560 h 3680460"/>
                  <a:gd name="connsiteX130" fmla="*/ 2887980 w 3018472"/>
                  <a:gd name="connsiteY130" fmla="*/ 2148840 h 3680460"/>
                  <a:gd name="connsiteX131" fmla="*/ 2910840 w 3018472"/>
                  <a:gd name="connsiteY131" fmla="*/ 2087880 h 3680460"/>
                  <a:gd name="connsiteX132" fmla="*/ 2918460 w 3018472"/>
                  <a:gd name="connsiteY132" fmla="*/ 2049780 h 3680460"/>
                  <a:gd name="connsiteX133" fmla="*/ 2933700 w 3018472"/>
                  <a:gd name="connsiteY133" fmla="*/ 1844040 h 3680460"/>
                  <a:gd name="connsiteX134" fmla="*/ 2918460 w 3018472"/>
                  <a:gd name="connsiteY134" fmla="*/ 1470660 h 3680460"/>
                  <a:gd name="connsiteX135" fmla="*/ 2895600 w 3018472"/>
                  <a:gd name="connsiteY135" fmla="*/ 1371600 h 3680460"/>
                  <a:gd name="connsiteX136" fmla="*/ 2880360 w 3018472"/>
                  <a:gd name="connsiteY136" fmla="*/ 1341120 h 3680460"/>
                  <a:gd name="connsiteX137" fmla="*/ 2857500 w 3018472"/>
                  <a:gd name="connsiteY137" fmla="*/ 1272540 h 3680460"/>
                  <a:gd name="connsiteX138" fmla="*/ 2849880 w 3018472"/>
                  <a:gd name="connsiteY138" fmla="*/ 1234440 h 3680460"/>
                  <a:gd name="connsiteX139" fmla="*/ 2827020 w 3018472"/>
                  <a:gd name="connsiteY139" fmla="*/ 1196340 h 3680460"/>
                  <a:gd name="connsiteX140" fmla="*/ 2811780 w 3018472"/>
                  <a:gd name="connsiteY140" fmla="*/ 1165860 h 3680460"/>
                  <a:gd name="connsiteX141" fmla="*/ 2781300 w 3018472"/>
                  <a:gd name="connsiteY141" fmla="*/ 1127760 h 3680460"/>
                  <a:gd name="connsiteX142" fmla="*/ 2766060 w 3018472"/>
                  <a:gd name="connsiteY142" fmla="*/ 1089660 h 3680460"/>
                  <a:gd name="connsiteX143" fmla="*/ 2735580 w 3018472"/>
                  <a:gd name="connsiteY143" fmla="*/ 1043940 h 3680460"/>
                  <a:gd name="connsiteX144" fmla="*/ 2727960 w 3018472"/>
                  <a:gd name="connsiteY144" fmla="*/ 1021080 h 3680460"/>
                  <a:gd name="connsiteX145" fmla="*/ 2682240 w 3018472"/>
                  <a:gd name="connsiteY145" fmla="*/ 937260 h 3680460"/>
                  <a:gd name="connsiteX146" fmla="*/ 2659380 w 3018472"/>
                  <a:gd name="connsiteY146" fmla="*/ 876300 h 3680460"/>
                  <a:gd name="connsiteX147" fmla="*/ 2644140 w 3018472"/>
                  <a:gd name="connsiteY147" fmla="*/ 845820 h 3680460"/>
                  <a:gd name="connsiteX148" fmla="*/ 2636520 w 3018472"/>
                  <a:gd name="connsiteY148" fmla="*/ 822960 h 3680460"/>
                  <a:gd name="connsiteX149" fmla="*/ 2621280 w 3018472"/>
                  <a:gd name="connsiteY149" fmla="*/ 800100 h 3680460"/>
                  <a:gd name="connsiteX150" fmla="*/ 2598420 w 3018472"/>
                  <a:gd name="connsiteY150" fmla="*/ 739140 h 3680460"/>
                  <a:gd name="connsiteX151" fmla="*/ 2458403 w 3018472"/>
                  <a:gd name="connsiteY151" fmla="*/ 621983 h 3680460"/>
                  <a:gd name="connsiteX152" fmla="*/ 2301240 w 3018472"/>
                  <a:gd name="connsiteY152" fmla="*/ 458152 h 3680460"/>
                  <a:gd name="connsiteX153" fmla="*/ 2237423 w 3018472"/>
                  <a:gd name="connsiteY153" fmla="*/ 406717 h 3680460"/>
                  <a:gd name="connsiteX154" fmla="*/ 2103120 w 3018472"/>
                  <a:gd name="connsiteY154" fmla="*/ 312420 h 3680460"/>
                  <a:gd name="connsiteX155" fmla="*/ 2042160 w 3018472"/>
                  <a:gd name="connsiteY155" fmla="*/ 266700 h 3680460"/>
                  <a:gd name="connsiteX156" fmla="*/ 2004060 w 3018472"/>
                  <a:gd name="connsiteY156" fmla="*/ 251460 h 3680460"/>
                  <a:gd name="connsiteX157" fmla="*/ 1958340 w 3018472"/>
                  <a:gd name="connsiteY157" fmla="*/ 220980 h 3680460"/>
                  <a:gd name="connsiteX158" fmla="*/ 1897380 w 3018472"/>
                  <a:gd name="connsiteY15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56560 w 3018472"/>
                  <a:gd name="connsiteY31" fmla="*/ 2247900 h 3680460"/>
                  <a:gd name="connsiteX32" fmla="*/ 2941320 w 3018472"/>
                  <a:gd name="connsiteY32" fmla="*/ 2324100 h 3680460"/>
                  <a:gd name="connsiteX33" fmla="*/ 2926080 w 3018472"/>
                  <a:gd name="connsiteY33" fmla="*/ 2392680 h 3680460"/>
                  <a:gd name="connsiteX34" fmla="*/ 2918460 w 3018472"/>
                  <a:gd name="connsiteY34" fmla="*/ 2415540 h 3680460"/>
                  <a:gd name="connsiteX35" fmla="*/ 2895600 w 3018472"/>
                  <a:gd name="connsiteY35" fmla="*/ 2484120 h 3680460"/>
                  <a:gd name="connsiteX36" fmla="*/ 2872740 w 3018472"/>
                  <a:gd name="connsiteY36" fmla="*/ 2583180 h 3680460"/>
                  <a:gd name="connsiteX37" fmla="*/ 2857500 w 3018472"/>
                  <a:gd name="connsiteY37" fmla="*/ 2606040 h 3680460"/>
                  <a:gd name="connsiteX38" fmla="*/ 2834640 w 3018472"/>
                  <a:gd name="connsiteY38" fmla="*/ 2689860 h 3680460"/>
                  <a:gd name="connsiteX39" fmla="*/ 2811780 w 3018472"/>
                  <a:gd name="connsiteY39" fmla="*/ 2750820 h 3680460"/>
                  <a:gd name="connsiteX40" fmla="*/ 2788920 w 3018472"/>
                  <a:gd name="connsiteY40" fmla="*/ 2781300 h 3680460"/>
                  <a:gd name="connsiteX41" fmla="*/ 2781300 w 3018472"/>
                  <a:gd name="connsiteY41" fmla="*/ 2804160 h 3680460"/>
                  <a:gd name="connsiteX42" fmla="*/ 2743200 w 3018472"/>
                  <a:gd name="connsiteY42" fmla="*/ 2865120 h 3680460"/>
                  <a:gd name="connsiteX43" fmla="*/ 2712720 w 3018472"/>
                  <a:gd name="connsiteY43" fmla="*/ 2903220 h 3680460"/>
                  <a:gd name="connsiteX44" fmla="*/ 2697480 w 3018472"/>
                  <a:gd name="connsiteY44" fmla="*/ 2933700 h 3680460"/>
                  <a:gd name="connsiteX45" fmla="*/ 2674620 w 3018472"/>
                  <a:gd name="connsiteY45" fmla="*/ 2964180 h 3680460"/>
                  <a:gd name="connsiteX46" fmla="*/ 2644140 w 3018472"/>
                  <a:gd name="connsiteY46" fmla="*/ 3009900 h 3680460"/>
                  <a:gd name="connsiteX47" fmla="*/ 2598420 w 3018472"/>
                  <a:gd name="connsiteY47" fmla="*/ 3055620 h 3680460"/>
                  <a:gd name="connsiteX48" fmla="*/ 2575560 w 3018472"/>
                  <a:gd name="connsiteY48" fmla="*/ 3078480 h 3680460"/>
                  <a:gd name="connsiteX49" fmla="*/ 2476500 w 3018472"/>
                  <a:gd name="connsiteY49" fmla="*/ 3169920 h 3680460"/>
                  <a:gd name="connsiteX50" fmla="*/ 2377440 w 3018472"/>
                  <a:gd name="connsiteY50" fmla="*/ 3223260 h 3680460"/>
                  <a:gd name="connsiteX51" fmla="*/ 2293620 w 3018472"/>
                  <a:gd name="connsiteY51" fmla="*/ 3284220 h 3680460"/>
                  <a:gd name="connsiteX52" fmla="*/ 2240280 w 3018472"/>
                  <a:gd name="connsiteY52" fmla="*/ 3314700 h 3680460"/>
                  <a:gd name="connsiteX53" fmla="*/ 2225040 w 3018472"/>
                  <a:gd name="connsiteY53" fmla="*/ 3337560 h 3680460"/>
                  <a:gd name="connsiteX54" fmla="*/ 2141220 w 3018472"/>
                  <a:gd name="connsiteY54" fmla="*/ 3390900 h 3680460"/>
                  <a:gd name="connsiteX55" fmla="*/ 2110740 w 3018472"/>
                  <a:gd name="connsiteY55" fmla="*/ 3413760 h 3680460"/>
                  <a:gd name="connsiteX56" fmla="*/ 2072640 w 3018472"/>
                  <a:gd name="connsiteY56" fmla="*/ 3451860 h 3680460"/>
                  <a:gd name="connsiteX57" fmla="*/ 2019300 w 3018472"/>
                  <a:gd name="connsiteY57" fmla="*/ 3467100 h 3680460"/>
                  <a:gd name="connsiteX58" fmla="*/ 1874520 w 3018472"/>
                  <a:gd name="connsiteY58" fmla="*/ 3512820 h 3680460"/>
                  <a:gd name="connsiteX59" fmla="*/ 1828800 w 3018472"/>
                  <a:gd name="connsiteY59" fmla="*/ 3520440 h 3680460"/>
                  <a:gd name="connsiteX60" fmla="*/ 1722120 w 3018472"/>
                  <a:gd name="connsiteY60" fmla="*/ 3550920 h 3680460"/>
                  <a:gd name="connsiteX61" fmla="*/ 1600200 w 3018472"/>
                  <a:gd name="connsiteY61" fmla="*/ 3589020 h 3680460"/>
                  <a:gd name="connsiteX62" fmla="*/ 1569720 w 3018472"/>
                  <a:gd name="connsiteY62" fmla="*/ 3596640 h 3680460"/>
                  <a:gd name="connsiteX63" fmla="*/ 1546860 w 3018472"/>
                  <a:gd name="connsiteY63" fmla="*/ 3611880 h 3680460"/>
                  <a:gd name="connsiteX64" fmla="*/ 1463040 w 3018472"/>
                  <a:gd name="connsiteY64" fmla="*/ 3627120 h 3680460"/>
                  <a:gd name="connsiteX65" fmla="*/ 1333500 w 3018472"/>
                  <a:gd name="connsiteY65" fmla="*/ 3657600 h 3680460"/>
                  <a:gd name="connsiteX66" fmla="*/ 1203960 w 3018472"/>
                  <a:gd name="connsiteY66" fmla="*/ 3672840 h 3680460"/>
                  <a:gd name="connsiteX67" fmla="*/ 1165860 w 3018472"/>
                  <a:gd name="connsiteY67" fmla="*/ 3680460 h 3680460"/>
                  <a:gd name="connsiteX68" fmla="*/ 449580 w 3018472"/>
                  <a:gd name="connsiteY68" fmla="*/ 3672840 h 3680460"/>
                  <a:gd name="connsiteX69" fmla="*/ 426720 w 3018472"/>
                  <a:gd name="connsiteY69" fmla="*/ 3665220 h 3680460"/>
                  <a:gd name="connsiteX70" fmla="*/ 388620 w 3018472"/>
                  <a:gd name="connsiteY70" fmla="*/ 3657600 h 3680460"/>
                  <a:gd name="connsiteX71" fmla="*/ 335280 w 3018472"/>
                  <a:gd name="connsiteY71" fmla="*/ 3627120 h 3680460"/>
                  <a:gd name="connsiteX72" fmla="*/ 266700 w 3018472"/>
                  <a:gd name="connsiteY72" fmla="*/ 3604260 h 3680460"/>
                  <a:gd name="connsiteX73" fmla="*/ 243840 w 3018472"/>
                  <a:gd name="connsiteY73" fmla="*/ 3589020 h 3680460"/>
                  <a:gd name="connsiteX74" fmla="*/ 160020 w 3018472"/>
                  <a:gd name="connsiteY74" fmla="*/ 3558540 h 3680460"/>
                  <a:gd name="connsiteX75" fmla="*/ 137160 w 3018472"/>
                  <a:gd name="connsiteY75" fmla="*/ 3535680 h 3680460"/>
                  <a:gd name="connsiteX76" fmla="*/ 99060 w 3018472"/>
                  <a:gd name="connsiteY76" fmla="*/ 3520440 h 3680460"/>
                  <a:gd name="connsiteX77" fmla="*/ 83820 w 3018472"/>
                  <a:gd name="connsiteY77" fmla="*/ 3489960 h 3680460"/>
                  <a:gd name="connsiteX78" fmla="*/ 45720 w 3018472"/>
                  <a:gd name="connsiteY78" fmla="*/ 3436620 h 3680460"/>
                  <a:gd name="connsiteX79" fmla="*/ 0 w 3018472"/>
                  <a:gd name="connsiteY79" fmla="*/ 3352800 h 3680460"/>
                  <a:gd name="connsiteX80" fmla="*/ 30480 w 3018472"/>
                  <a:gd name="connsiteY80" fmla="*/ 3345180 h 3680460"/>
                  <a:gd name="connsiteX81" fmla="*/ 137160 w 3018472"/>
                  <a:gd name="connsiteY81" fmla="*/ 3360420 h 3680460"/>
                  <a:gd name="connsiteX82" fmla="*/ 167640 w 3018472"/>
                  <a:gd name="connsiteY82" fmla="*/ 3390900 h 3680460"/>
                  <a:gd name="connsiteX83" fmla="*/ 198120 w 3018472"/>
                  <a:gd name="connsiteY83" fmla="*/ 3406140 h 3680460"/>
                  <a:gd name="connsiteX84" fmla="*/ 350520 w 3018472"/>
                  <a:gd name="connsiteY84" fmla="*/ 3436620 h 3680460"/>
                  <a:gd name="connsiteX85" fmla="*/ 381000 w 3018472"/>
                  <a:gd name="connsiteY85" fmla="*/ 3451860 h 3680460"/>
                  <a:gd name="connsiteX86" fmla="*/ 449580 w 3018472"/>
                  <a:gd name="connsiteY86" fmla="*/ 3489960 h 3680460"/>
                  <a:gd name="connsiteX87" fmla="*/ 495300 w 3018472"/>
                  <a:gd name="connsiteY87" fmla="*/ 3520440 h 3680460"/>
                  <a:gd name="connsiteX88" fmla="*/ 525780 w 3018472"/>
                  <a:gd name="connsiteY88" fmla="*/ 3535680 h 3680460"/>
                  <a:gd name="connsiteX89" fmla="*/ 731520 w 3018472"/>
                  <a:gd name="connsiteY89" fmla="*/ 3558540 h 3680460"/>
                  <a:gd name="connsiteX90" fmla="*/ 1341120 w 3018472"/>
                  <a:gd name="connsiteY90" fmla="*/ 3550920 h 3680460"/>
                  <a:gd name="connsiteX91" fmla="*/ 1440180 w 3018472"/>
                  <a:gd name="connsiteY91" fmla="*/ 3528060 h 3680460"/>
                  <a:gd name="connsiteX92" fmla="*/ 1539240 w 3018472"/>
                  <a:gd name="connsiteY92" fmla="*/ 3520440 h 3680460"/>
                  <a:gd name="connsiteX93" fmla="*/ 1562100 w 3018472"/>
                  <a:gd name="connsiteY93" fmla="*/ 3512820 h 3680460"/>
                  <a:gd name="connsiteX94" fmla="*/ 1630680 w 3018472"/>
                  <a:gd name="connsiteY94" fmla="*/ 3497580 h 3680460"/>
                  <a:gd name="connsiteX95" fmla="*/ 1699260 w 3018472"/>
                  <a:gd name="connsiteY95" fmla="*/ 3474720 h 3680460"/>
                  <a:gd name="connsiteX96" fmla="*/ 1790700 w 3018472"/>
                  <a:gd name="connsiteY96" fmla="*/ 3451860 h 3680460"/>
                  <a:gd name="connsiteX97" fmla="*/ 1821180 w 3018472"/>
                  <a:gd name="connsiteY97" fmla="*/ 3444240 h 3680460"/>
                  <a:gd name="connsiteX98" fmla="*/ 1844040 w 3018472"/>
                  <a:gd name="connsiteY98" fmla="*/ 3429000 h 3680460"/>
                  <a:gd name="connsiteX99" fmla="*/ 1874520 w 3018472"/>
                  <a:gd name="connsiteY99" fmla="*/ 3421380 h 3680460"/>
                  <a:gd name="connsiteX100" fmla="*/ 1927860 w 3018472"/>
                  <a:gd name="connsiteY100" fmla="*/ 3398520 h 3680460"/>
                  <a:gd name="connsiteX101" fmla="*/ 1950720 w 3018472"/>
                  <a:gd name="connsiteY101" fmla="*/ 3390900 h 3680460"/>
                  <a:gd name="connsiteX102" fmla="*/ 2004060 w 3018472"/>
                  <a:gd name="connsiteY102" fmla="*/ 3360420 h 3680460"/>
                  <a:gd name="connsiteX103" fmla="*/ 2042160 w 3018472"/>
                  <a:gd name="connsiteY103" fmla="*/ 3352800 h 3680460"/>
                  <a:gd name="connsiteX104" fmla="*/ 2080260 w 3018472"/>
                  <a:gd name="connsiteY104" fmla="*/ 3337560 h 3680460"/>
                  <a:gd name="connsiteX105" fmla="*/ 2156460 w 3018472"/>
                  <a:gd name="connsiteY105" fmla="*/ 3299460 h 3680460"/>
                  <a:gd name="connsiteX106" fmla="*/ 2179320 w 3018472"/>
                  <a:gd name="connsiteY106" fmla="*/ 3284220 h 3680460"/>
                  <a:gd name="connsiteX107" fmla="*/ 2209800 w 3018472"/>
                  <a:gd name="connsiteY107" fmla="*/ 3276600 h 3680460"/>
                  <a:gd name="connsiteX108" fmla="*/ 2263140 w 3018472"/>
                  <a:gd name="connsiteY108" fmla="*/ 3230880 h 3680460"/>
                  <a:gd name="connsiteX109" fmla="*/ 2346960 w 3018472"/>
                  <a:gd name="connsiteY109" fmla="*/ 3154680 h 3680460"/>
                  <a:gd name="connsiteX110" fmla="*/ 2400300 w 3018472"/>
                  <a:gd name="connsiteY110" fmla="*/ 3070860 h 3680460"/>
                  <a:gd name="connsiteX111" fmla="*/ 2415540 w 3018472"/>
                  <a:gd name="connsiteY111" fmla="*/ 3048000 h 3680460"/>
                  <a:gd name="connsiteX112" fmla="*/ 2446020 w 3018472"/>
                  <a:gd name="connsiteY112" fmla="*/ 3032760 h 3680460"/>
                  <a:gd name="connsiteX113" fmla="*/ 2468880 w 3018472"/>
                  <a:gd name="connsiteY113" fmla="*/ 3009900 h 3680460"/>
                  <a:gd name="connsiteX114" fmla="*/ 2537460 w 3018472"/>
                  <a:gd name="connsiteY114" fmla="*/ 2926080 h 3680460"/>
                  <a:gd name="connsiteX115" fmla="*/ 2575560 w 3018472"/>
                  <a:gd name="connsiteY115" fmla="*/ 2880360 h 3680460"/>
                  <a:gd name="connsiteX116" fmla="*/ 2628900 w 3018472"/>
                  <a:gd name="connsiteY116" fmla="*/ 2811780 h 3680460"/>
                  <a:gd name="connsiteX117" fmla="*/ 2644140 w 3018472"/>
                  <a:gd name="connsiteY117" fmla="*/ 2773680 h 3680460"/>
                  <a:gd name="connsiteX118" fmla="*/ 2674620 w 3018472"/>
                  <a:gd name="connsiteY118" fmla="*/ 2727960 h 3680460"/>
                  <a:gd name="connsiteX119" fmla="*/ 2689860 w 3018472"/>
                  <a:gd name="connsiteY119" fmla="*/ 2705100 h 3680460"/>
                  <a:gd name="connsiteX120" fmla="*/ 2705100 w 3018472"/>
                  <a:gd name="connsiteY120" fmla="*/ 2667000 h 3680460"/>
                  <a:gd name="connsiteX121" fmla="*/ 2727960 w 3018472"/>
                  <a:gd name="connsiteY121" fmla="*/ 2621280 h 3680460"/>
                  <a:gd name="connsiteX122" fmla="*/ 2735580 w 3018472"/>
                  <a:gd name="connsiteY122" fmla="*/ 2590800 h 3680460"/>
                  <a:gd name="connsiteX123" fmla="*/ 2758440 w 3018472"/>
                  <a:gd name="connsiteY123" fmla="*/ 2545080 h 3680460"/>
                  <a:gd name="connsiteX124" fmla="*/ 2788920 w 3018472"/>
                  <a:gd name="connsiteY124" fmla="*/ 2484120 h 3680460"/>
                  <a:gd name="connsiteX125" fmla="*/ 2811780 w 3018472"/>
                  <a:gd name="connsiteY125" fmla="*/ 2407920 h 3680460"/>
                  <a:gd name="connsiteX126" fmla="*/ 2842260 w 3018472"/>
                  <a:gd name="connsiteY126" fmla="*/ 2324100 h 3680460"/>
                  <a:gd name="connsiteX127" fmla="*/ 2857500 w 3018472"/>
                  <a:gd name="connsiteY127" fmla="*/ 2247900 h 3680460"/>
                  <a:gd name="connsiteX128" fmla="*/ 2872740 w 3018472"/>
                  <a:gd name="connsiteY128" fmla="*/ 2194560 h 3680460"/>
                  <a:gd name="connsiteX129" fmla="*/ 2887980 w 3018472"/>
                  <a:gd name="connsiteY129" fmla="*/ 2148840 h 3680460"/>
                  <a:gd name="connsiteX130" fmla="*/ 2910840 w 3018472"/>
                  <a:gd name="connsiteY130" fmla="*/ 2087880 h 3680460"/>
                  <a:gd name="connsiteX131" fmla="*/ 2918460 w 3018472"/>
                  <a:gd name="connsiteY131" fmla="*/ 2049780 h 3680460"/>
                  <a:gd name="connsiteX132" fmla="*/ 2933700 w 3018472"/>
                  <a:gd name="connsiteY132" fmla="*/ 1844040 h 3680460"/>
                  <a:gd name="connsiteX133" fmla="*/ 2918460 w 3018472"/>
                  <a:gd name="connsiteY133" fmla="*/ 1470660 h 3680460"/>
                  <a:gd name="connsiteX134" fmla="*/ 2895600 w 3018472"/>
                  <a:gd name="connsiteY134" fmla="*/ 1371600 h 3680460"/>
                  <a:gd name="connsiteX135" fmla="*/ 2880360 w 3018472"/>
                  <a:gd name="connsiteY135" fmla="*/ 1341120 h 3680460"/>
                  <a:gd name="connsiteX136" fmla="*/ 2857500 w 3018472"/>
                  <a:gd name="connsiteY136" fmla="*/ 1272540 h 3680460"/>
                  <a:gd name="connsiteX137" fmla="*/ 2849880 w 3018472"/>
                  <a:gd name="connsiteY137" fmla="*/ 1234440 h 3680460"/>
                  <a:gd name="connsiteX138" fmla="*/ 2827020 w 3018472"/>
                  <a:gd name="connsiteY138" fmla="*/ 1196340 h 3680460"/>
                  <a:gd name="connsiteX139" fmla="*/ 2811780 w 3018472"/>
                  <a:gd name="connsiteY139" fmla="*/ 1165860 h 3680460"/>
                  <a:gd name="connsiteX140" fmla="*/ 2781300 w 3018472"/>
                  <a:gd name="connsiteY140" fmla="*/ 1127760 h 3680460"/>
                  <a:gd name="connsiteX141" fmla="*/ 2766060 w 3018472"/>
                  <a:gd name="connsiteY141" fmla="*/ 1089660 h 3680460"/>
                  <a:gd name="connsiteX142" fmla="*/ 2735580 w 3018472"/>
                  <a:gd name="connsiteY142" fmla="*/ 1043940 h 3680460"/>
                  <a:gd name="connsiteX143" fmla="*/ 2727960 w 3018472"/>
                  <a:gd name="connsiteY143" fmla="*/ 1021080 h 3680460"/>
                  <a:gd name="connsiteX144" fmla="*/ 2682240 w 3018472"/>
                  <a:gd name="connsiteY144" fmla="*/ 937260 h 3680460"/>
                  <a:gd name="connsiteX145" fmla="*/ 2659380 w 3018472"/>
                  <a:gd name="connsiteY145" fmla="*/ 876300 h 3680460"/>
                  <a:gd name="connsiteX146" fmla="*/ 2644140 w 3018472"/>
                  <a:gd name="connsiteY146" fmla="*/ 845820 h 3680460"/>
                  <a:gd name="connsiteX147" fmla="*/ 2636520 w 3018472"/>
                  <a:gd name="connsiteY147" fmla="*/ 822960 h 3680460"/>
                  <a:gd name="connsiteX148" fmla="*/ 2621280 w 3018472"/>
                  <a:gd name="connsiteY148" fmla="*/ 800100 h 3680460"/>
                  <a:gd name="connsiteX149" fmla="*/ 2598420 w 3018472"/>
                  <a:gd name="connsiteY149" fmla="*/ 739140 h 3680460"/>
                  <a:gd name="connsiteX150" fmla="*/ 2458403 w 3018472"/>
                  <a:gd name="connsiteY150" fmla="*/ 621983 h 3680460"/>
                  <a:gd name="connsiteX151" fmla="*/ 2301240 w 3018472"/>
                  <a:gd name="connsiteY151" fmla="*/ 458152 h 3680460"/>
                  <a:gd name="connsiteX152" fmla="*/ 2237423 w 3018472"/>
                  <a:gd name="connsiteY152" fmla="*/ 406717 h 3680460"/>
                  <a:gd name="connsiteX153" fmla="*/ 2103120 w 3018472"/>
                  <a:gd name="connsiteY153" fmla="*/ 312420 h 3680460"/>
                  <a:gd name="connsiteX154" fmla="*/ 2042160 w 3018472"/>
                  <a:gd name="connsiteY154" fmla="*/ 266700 h 3680460"/>
                  <a:gd name="connsiteX155" fmla="*/ 2004060 w 3018472"/>
                  <a:gd name="connsiteY155" fmla="*/ 251460 h 3680460"/>
                  <a:gd name="connsiteX156" fmla="*/ 1958340 w 3018472"/>
                  <a:gd name="connsiteY156" fmla="*/ 220980 h 3680460"/>
                  <a:gd name="connsiteX157" fmla="*/ 1897380 w 3018472"/>
                  <a:gd name="connsiteY15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95600 w 3018472"/>
                  <a:gd name="connsiteY34" fmla="*/ 2484120 h 3680460"/>
                  <a:gd name="connsiteX35" fmla="*/ 2872740 w 3018472"/>
                  <a:gd name="connsiteY35" fmla="*/ 2583180 h 3680460"/>
                  <a:gd name="connsiteX36" fmla="*/ 2857500 w 3018472"/>
                  <a:gd name="connsiteY36" fmla="*/ 2606040 h 3680460"/>
                  <a:gd name="connsiteX37" fmla="*/ 2834640 w 3018472"/>
                  <a:gd name="connsiteY37" fmla="*/ 2689860 h 3680460"/>
                  <a:gd name="connsiteX38" fmla="*/ 2811780 w 3018472"/>
                  <a:gd name="connsiteY38" fmla="*/ 2750820 h 3680460"/>
                  <a:gd name="connsiteX39" fmla="*/ 2788920 w 3018472"/>
                  <a:gd name="connsiteY39" fmla="*/ 2781300 h 3680460"/>
                  <a:gd name="connsiteX40" fmla="*/ 2781300 w 3018472"/>
                  <a:gd name="connsiteY40" fmla="*/ 2804160 h 3680460"/>
                  <a:gd name="connsiteX41" fmla="*/ 2743200 w 3018472"/>
                  <a:gd name="connsiteY41" fmla="*/ 2865120 h 3680460"/>
                  <a:gd name="connsiteX42" fmla="*/ 2712720 w 3018472"/>
                  <a:gd name="connsiteY42" fmla="*/ 2903220 h 3680460"/>
                  <a:gd name="connsiteX43" fmla="*/ 2697480 w 3018472"/>
                  <a:gd name="connsiteY43" fmla="*/ 2933700 h 3680460"/>
                  <a:gd name="connsiteX44" fmla="*/ 2674620 w 3018472"/>
                  <a:gd name="connsiteY44" fmla="*/ 2964180 h 3680460"/>
                  <a:gd name="connsiteX45" fmla="*/ 2644140 w 3018472"/>
                  <a:gd name="connsiteY45" fmla="*/ 3009900 h 3680460"/>
                  <a:gd name="connsiteX46" fmla="*/ 2598420 w 3018472"/>
                  <a:gd name="connsiteY46" fmla="*/ 3055620 h 3680460"/>
                  <a:gd name="connsiteX47" fmla="*/ 2575560 w 3018472"/>
                  <a:gd name="connsiteY47" fmla="*/ 3078480 h 3680460"/>
                  <a:gd name="connsiteX48" fmla="*/ 2476500 w 3018472"/>
                  <a:gd name="connsiteY48" fmla="*/ 3169920 h 3680460"/>
                  <a:gd name="connsiteX49" fmla="*/ 2377440 w 3018472"/>
                  <a:gd name="connsiteY49" fmla="*/ 3223260 h 3680460"/>
                  <a:gd name="connsiteX50" fmla="*/ 2293620 w 3018472"/>
                  <a:gd name="connsiteY50" fmla="*/ 3284220 h 3680460"/>
                  <a:gd name="connsiteX51" fmla="*/ 2240280 w 3018472"/>
                  <a:gd name="connsiteY51" fmla="*/ 3314700 h 3680460"/>
                  <a:gd name="connsiteX52" fmla="*/ 2225040 w 3018472"/>
                  <a:gd name="connsiteY52" fmla="*/ 3337560 h 3680460"/>
                  <a:gd name="connsiteX53" fmla="*/ 2141220 w 3018472"/>
                  <a:gd name="connsiteY53" fmla="*/ 3390900 h 3680460"/>
                  <a:gd name="connsiteX54" fmla="*/ 2110740 w 3018472"/>
                  <a:gd name="connsiteY54" fmla="*/ 3413760 h 3680460"/>
                  <a:gd name="connsiteX55" fmla="*/ 2072640 w 3018472"/>
                  <a:gd name="connsiteY55" fmla="*/ 3451860 h 3680460"/>
                  <a:gd name="connsiteX56" fmla="*/ 2019300 w 3018472"/>
                  <a:gd name="connsiteY56" fmla="*/ 3467100 h 3680460"/>
                  <a:gd name="connsiteX57" fmla="*/ 1874520 w 3018472"/>
                  <a:gd name="connsiteY57" fmla="*/ 3512820 h 3680460"/>
                  <a:gd name="connsiteX58" fmla="*/ 1828800 w 3018472"/>
                  <a:gd name="connsiteY58" fmla="*/ 3520440 h 3680460"/>
                  <a:gd name="connsiteX59" fmla="*/ 1722120 w 3018472"/>
                  <a:gd name="connsiteY59" fmla="*/ 3550920 h 3680460"/>
                  <a:gd name="connsiteX60" fmla="*/ 1600200 w 3018472"/>
                  <a:gd name="connsiteY60" fmla="*/ 3589020 h 3680460"/>
                  <a:gd name="connsiteX61" fmla="*/ 1569720 w 3018472"/>
                  <a:gd name="connsiteY61" fmla="*/ 3596640 h 3680460"/>
                  <a:gd name="connsiteX62" fmla="*/ 1546860 w 3018472"/>
                  <a:gd name="connsiteY62" fmla="*/ 3611880 h 3680460"/>
                  <a:gd name="connsiteX63" fmla="*/ 1463040 w 3018472"/>
                  <a:gd name="connsiteY63" fmla="*/ 3627120 h 3680460"/>
                  <a:gd name="connsiteX64" fmla="*/ 1333500 w 3018472"/>
                  <a:gd name="connsiteY64" fmla="*/ 3657600 h 3680460"/>
                  <a:gd name="connsiteX65" fmla="*/ 1203960 w 3018472"/>
                  <a:gd name="connsiteY65" fmla="*/ 3672840 h 3680460"/>
                  <a:gd name="connsiteX66" fmla="*/ 1165860 w 3018472"/>
                  <a:gd name="connsiteY66" fmla="*/ 3680460 h 3680460"/>
                  <a:gd name="connsiteX67" fmla="*/ 449580 w 3018472"/>
                  <a:gd name="connsiteY67" fmla="*/ 3672840 h 3680460"/>
                  <a:gd name="connsiteX68" fmla="*/ 426720 w 3018472"/>
                  <a:gd name="connsiteY68" fmla="*/ 3665220 h 3680460"/>
                  <a:gd name="connsiteX69" fmla="*/ 388620 w 3018472"/>
                  <a:gd name="connsiteY69" fmla="*/ 3657600 h 3680460"/>
                  <a:gd name="connsiteX70" fmla="*/ 335280 w 3018472"/>
                  <a:gd name="connsiteY70" fmla="*/ 3627120 h 3680460"/>
                  <a:gd name="connsiteX71" fmla="*/ 266700 w 3018472"/>
                  <a:gd name="connsiteY71" fmla="*/ 3604260 h 3680460"/>
                  <a:gd name="connsiteX72" fmla="*/ 243840 w 3018472"/>
                  <a:gd name="connsiteY72" fmla="*/ 3589020 h 3680460"/>
                  <a:gd name="connsiteX73" fmla="*/ 160020 w 3018472"/>
                  <a:gd name="connsiteY73" fmla="*/ 3558540 h 3680460"/>
                  <a:gd name="connsiteX74" fmla="*/ 137160 w 3018472"/>
                  <a:gd name="connsiteY74" fmla="*/ 3535680 h 3680460"/>
                  <a:gd name="connsiteX75" fmla="*/ 99060 w 3018472"/>
                  <a:gd name="connsiteY75" fmla="*/ 3520440 h 3680460"/>
                  <a:gd name="connsiteX76" fmla="*/ 83820 w 3018472"/>
                  <a:gd name="connsiteY76" fmla="*/ 3489960 h 3680460"/>
                  <a:gd name="connsiteX77" fmla="*/ 45720 w 3018472"/>
                  <a:gd name="connsiteY77" fmla="*/ 3436620 h 3680460"/>
                  <a:gd name="connsiteX78" fmla="*/ 0 w 3018472"/>
                  <a:gd name="connsiteY78" fmla="*/ 3352800 h 3680460"/>
                  <a:gd name="connsiteX79" fmla="*/ 30480 w 3018472"/>
                  <a:gd name="connsiteY79" fmla="*/ 3345180 h 3680460"/>
                  <a:gd name="connsiteX80" fmla="*/ 137160 w 3018472"/>
                  <a:gd name="connsiteY80" fmla="*/ 3360420 h 3680460"/>
                  <a:gd name="connsiteX81" fmla="*/ 167640 w 3018472"/>
                  <a:gd name="connsiteY81" fmla="*/ 3390900 h 3680460"/>
                  <a:gd name="connsiteX82" fmla="*/ 198120 w 3018472"/>
                  <a:gd name="connsiteY82" fmla="*/ 3406140 h 3680460"/>
                  <a:gd name="connsiteX83" fmla="*/ 350520 w 3018472"/>
                  <a:gd name="connsiteY83" fmla="*/ 3436620 h 3680460"/>
                  <a:gd name="connsiteX84" fmla="*/ 381000 w 3018472"/>
                  <a:gd name="connsiteY84" fmla="*/ 3451860 h 3680460"/>
                  <a:gd name="connsiteX85" fmla="*/ 449580 w 3018472"/>
                  <a:gd name="connsiteY85" fmla="*/ 3489960 h 3680460"/>
                  <a:gd name="connsiteX86" fmla="*/ 495300 w 3018472"/>
                  <a:gd name="connsiteY86" fmla="*/ 3520440 h 3680460"/>
                  <a:gd name="connsiteX87" fmla="*/ 525780 w 3018472"/>
                  <a:gd name="connsiteY87" fmla="*/ 3535680 h 3680460"/>
                  <a:gd name="connsiteX88" fmla="*/ 731520 w 3018472"/>
                  <a:gd name="connsiteY88" fmla="*/ 3558540 h 3680460"/>
                  <a:gd name="connsiteX89" fmla="*/ 1341120 w 3018472"/>
                  <a:gd name="connsiteY89" fmla="*/ 3550920 h 3680460"/>
                  <a:gd name="connsiteX90" fmla="*/ 1440180 w 3018472"/>
                  <a:gd name="connsiteY90" fmla="*/ 3528060 h 3680460"/>
                  <a:gd name="connsiteX91" fmla="*/ 1539240 w 3018472"/>
                  <a:gd name="connsiteY91" fmla="*/ 3520440 h 3680460"/>
                  <a:gd name="connsiteX92" fmla="*/ 1562100 w 3018472"/>
                  <a:gd name="connsiteY92" fmla="*/ 3512820 h 3680460"/>
                  <a:gd name="connsiteX93" fmla="*/ 1630680 w 3018472"/>
                  <a:gd name="connsiteY93" fmla="*/ 3497580 h 3680460"/>
                  <a:gd name="connsiteX94" fmla="*/ 1699260 w 3018472"/>
                  <a:gd name="connsiteY94" fmla="*/ 3474720 h 3680460"/>
                  <a:gd name="connsiteX95" fmla="*/ 1790700 w 3018472"/>
                  <a:gd name="connsiteY95" fmla="*/ 3451860 h 3680460"/>
                  <a:gd name="connsiteX96" fmla="*/ 1821180 w 3018472"/>
                  <a:gd name="connsiteY96" fmla="*/ 3444240 h 3680460"/>
                  <a:gd name="connsiteX97" fmla="*/ 1844040 w 3018472"/>
                  <a:gd name="connsiteY97" fmla="*/ 3429000 h 3680460"/>
                  <a:gd name="connsiteX98" fmla="*/ 1874520 w 3018472"/>
                  <a:gd name="connsiteY98" fmla="*/ 3421380 h 3680460"/>
                  <a:gd name="connsiteX99" fmla="*/ 1927860 w 3018472"/>
                  <a:gd name="connsiteY99" fmla="*/ 3398520 h 3680460"/>
                  <a:gd name="connsiteX100" fmla="*/ 1950720 w 3018472"/>
                  <a:gd name="connsiteY100" fmla="*/ 3390900 h 3680460"/>
                  <a:gd name="connsiteX101" fmla="*/ 2004060 w 3018472"/>
                  <a:gd name="connsiteY101" fmla="*/ 3360420 h 3680460"/>
                  <a:gd name="connsiteX102" fmla="*/ 2042160 w 3018472"/>
                  <a:gd name="connsiteY102" fmla="*/ 3352800 h 3680460"/>
                  <a:gd name="connsiteX103" fmla="*/ 2080260 w 3018472"/>
                  <a:gd name="connsiteY103" fmla="*/ 3337560 h 3680460"/>
                  <a:gd name="connsiteX104" fmla="*/ 2156460 w 3018472"/>
                  <a:gd name="connsiteY104" fmla="*/ 3299460 h 3680460"/>
                  <a:gd name="connsiteX105" fmla="*/ 2179320 w 3018472"/>
                  <a:gd name="connsiteY105" fmla="*/ 3284220 h 3680460"/>
                  <a:gd name="connsiteX106" fmla="*/ 2209800 w 3018472"/>
                  <a:gd name="connsiteY106" fmla="*/ 3276600 h 3680460"/>
                  <a:gd name="connsiteX107" fmla="*/ 2263140 w 3018472"/>
                  <a:gd name="connsiteY107" fmla="*/ 3230880 h 3680460"/>
                  <a:gd name="connsiteX108" fmla="*/ 2346960 w 3018472"/>
                  <a:gd name="connsiteY108" fmla="*/ 3154680 h 3680460"/>
                  <a:gd name="connsiteX109" fmla="*/ 2400300 w 3018472"/>
                  <a:gd name="connsiteY109" fmla="*/ 3070860 h 3680460"/>
                  <a:gd name="connsiteX110" fmla="*/ 2415540 w 3018472"/>
                  <a:gd name="connsiteY110" fmla="*/ 3048000 h 3680460"/>
                  <a:gd name="connsiteX111" fmla="*/ 2446020 w 3018472"/>
                  <a:gd name="connsiteY111" fmla="*/ 3032760 h 3680460"/>
                  <a:gd name="connsiteX112" fmla="*/ 2468880 w 3018472"/>
                  <a:gd name="connsiteY112" fmla="*/ 3009900 h 3680460"/>
                  <a:gd name="connsiteX113" fmla="*/ 2537460 w 3018472"/>
                  <a:gd name="connsiteY113" fmla="*/ 2926080 h 3680460"/>
                  <a:gd name="connsiteX114" fmla="*/ 2575560 w 3018472"/>
                  <a:gd name="connsiteY114" fmla="*/ 2880360 h 3680460"/>
                  <a:gd name="connsiteX115" fmla="*/ 2628900 w 3018472"/>
                  <a:gd name="connsiteY115" fmla="*/ 2811780 h 3680460"/>
                  <a:gd name="connsiteX116" fmla="*/ 2644140 w 3018472"/>
                  <a:gd name="connsiteY116" fmla="*/ 2773680 h 3680460"/>
                  <a:gd name="connsiteX117" fmla="*/ 2674620 w 3018472"/>
                  <a:gd name="connsiteY117" fmla="*/ 2727960 h 3680460"/>
                  <a:gd name="connsiteX118" fmla="*/ 2689860 w 3018472"/>
                  <a:gd name="connsiteY118" fmla="*/ 2705100 h 3680460"/>
                  <a:gd name="connsiteX119" fmla="*/ 2705100 w 3018472"/>
                  <a:gd name="connsiteY119" fmla="*/ 2667000 h 3680460"/>
                  <a:gd name="connsiteX120" fmla="*/ 2727960 w 3018472"/>
                  <a:gd name="connsiteY120" fmla="*/ 2621280 h 3680460"/>
                  <a:gd name="connsiteX121" fmla="*/ 2735580 w 3018472"/>
                  <a:gd name="connsiteY121" fmla="*/ 2590800 h 3680460"/>
                  <a:gd name="connsiteX122" fmla="*/ 2758440 w 3018472"/>
                  <a:gd name="connsiteY122" fmla="*/ 2545080 h 3680460"/>
                  <a:gd name="connsiteX123" fmla="*/ 2788920 w 3018472"/>
                  <a:gd name="connsiteY123" fmla="*/ 2484120 h 3680460"/>
                  <a:gd name="connsiteX124" fmla="*/ 2811780 w 3018472"/>
                  <a:gd name="connsiteY124" fmla="*/ 2407920 h 3680460"/>
                  <a:gd name="connsiteX125" fmla="*/ 2842260 w 3018472"/>
                  <a:gd name="connsiteY125" fmla="*/ 2324100 h 3680460"/>
                  <a:gd name="connsiteX126" fmla="*/ 2857500 w 3018472"/>
                  <a:gd name="connsiteY126" fmla="*/ 2247900 h 3680460"/>
                  <a:gd name="connsiteX127" fmla="*/ 2872740 w 3018472"/>
                  <a:gd name="connsiteY127" fmla="*/ 2194560 h 3680460"/>
                  <a:gd name="connsiteX128" fmla="*/ 2887980 w 3018472"/>
                  <a:gd name="connsiteY128" fmla="*/ 2148840 h 3680460"/>
                  <a:gd name="connsiteX129" fmla="*/ 2910840 w 3018472"/>
                  <a:gd name="connsiteY129" fmla="*/ 2087880 h 3680460"/>
                  <a:gd name="connsiteX130" fmla="*/ 2918460 w 3018472"/>
                  <a:gd name="connsiteY130" fmla="*/ 2049780 h 3680460"/>
                  <a:gd name="connsiteX131" fmla="*/ 2933700 w 3018472"/>
                  <a:gd name="connsiteY131" fmla="*/ 1844040 h 3680460"/>
                  <a:gd name="connsiteX132" fmla="*/ 2918460 w 3018472"/>
                  <a:gd name="connsiteY132" fmla="*/ 1470660 h 3680460"/>
                  <a:gd name="connsiteX133" fmla="*/ 2895600 w 3018472"/>
                  <a:gd name="connsiteY133" fmla="*/ 1371600 h 3680460"/>
                  <a:gd name="connsiteX134" fmla="*/ 2880360 w 3018472"/>
                  <a:gd name="connsiteY134" fmla="*/ 1341120 h 3680460"/>
                  <a:gd name="connsiteX135" fmla="*/ 2857500 w 3018472"/>
                  <a:gd name="connsiteY135" fmla="*/ 1272540 h 3680460"/>
                  <a:gd name="connsiteX136" fmla="*/ 2849880 w 3018472"/>
                  <a:gd name="connsiteY136" fmla="*/ 1234440 h 3680460"/>
                  <a:gd name="connsiteX137" fmla="*/ 2827020 w 3018472"/>
                  <a:gd name="connsiteY137" fmla="*/ 1196340 h 3680460"/>
                  <a:gd name="connsiteX138" fmla="*/ 2811780 w 3018472"/>
                  <a:gd name="connsiteY138" fmla="*/ 1165860 h 3680460"/>
                  <a:gd name="connsiteX139" fmla="*/ 2781300 w 3018472"/>
                  <a:gd name="connsiteY139" fmla="*/ 1127760 h 3680460"/>
                  <a:gd name="connsiteX140" fmla="*/ 2766060 w 3018472"/>
                  <a:gd name="connsiteY140" fmla="*/ 1089660 h 3680460"/>
                  <a:gd name="connsiteX141" fmla="*/ 2735580 w 3018472"/>
                  <a:gd name="connsiteY141" fmla="*/ 1043940 h 3680460"/>
                  <a:gd name="connsiteX142" fmla="*/ 2727960 w 3018472"/>
                  <a:gd name="connsiteY142" fmla="*/ 1021080 h 3680460"/>
                  <a:gd name="connsiteX143" fmla="*/ 2682240 w 3018472"/>
                  <a:gd name="connsiteY143" fmla="*/ 937260 h 3680460"/>
                  <a:gd name="connsiteX144" fmla="*/ 2659380 w 3018472"/>
                  <a:gd name="connsiteY144" fmla="*/ 876300 h 3680460"/>
                  <a:gd name="connsiteX145" fmla="*/ 2644140 w 3018472"/>
                  <a:gd name="connsiteY145" fmla="*/ 845820 h 3680460"/>
                  <a:gd name="connsiteX146" fmla="*/ 2636520 w 3018472"/>
                  <a:gd name="connsiteY146" fmla="*/ 822960 h 3680460"/>
                  <a:gd name="connsiteX147" fmla="*/ 2621280 w 3018472"/>
                  <a:gd name="connsiteY147" fmla="*/ 800100 h 3680460"/>
                  <a:gd name="connsiteX148" fmla="*/ 2598420 w 3018472"/>
                  <a:gd name="connsiteY148" fmla="*/ 739140 h 3680460"/>
                  <a:gd name="connsiteX149" fmla="*/ 2458403 w 3018472"/>
                  <a:gd name="connsiteY149" fmla="*/ 621983 h 3680460"/>
                  <a:gd name="connsiteX150" fmla="*/ 2301240 w 3018472"/>
                  <a:gd name="connsiteY150" fmla="*/ 458152 h 3680460"/>
                  <a:gd name="connsiteX151" fmla="*/ 2237423 w 3018472"/>
                  <a:gd name="connsiteY151" fmla="*/ 406717 h 3680460"/>
                  <a:gd name="connsiteX152" fmla="*/ 2103120 w 3018472"/>
                  <a:gd name="connsiteY152" fmla="*/ 312420 h 3680460"/>
                  <a:gd name="connsiteX153" fmla="*/ 2042160 w 3018472"/>
                  <a:gd name="connsiteY153" fmla="*/ 266700 h 3680460"/>
                  <a:gd name="connsiteX154" fmla="*/ 2004060 w 3018472"/>
                  <a:gd name="connsiteY154" fmla="*/ 251460 h 3680460"/>
                  <a:gd name="connsiteX155" fmla="*/ 1958340 w 3018472"/>
                  <a:gd name="connsiteY155" fmla="*/ 220980 h 3680460"/>
                  <a:gd name="connsiteX156" fmla="*/ 1897380 w 3018472"/>
                  <a:gd name="connsiteY156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43200 w 3018472"/>
                  <a:gd name="connsiteY40" fmla="*/ 2865120 h 3680460"/>
                  <a:gd name="connsiteX41" fmla="*/ 2712720 w 3018472"/>
                  <a:gd name="connsiteY41" fmla="*/ 2903220 h 3680460"/>
                  <a:gd name="connsiteX42" fmla="*/ 2697480 w 3018472"/>
                  <a:gd name="connsiteY42" fmla="*/ 2933700 h 3680460"/>
                  <a:gd name="connsiteX43" fmla="*/ 2674620 w 3018472"/>
                  <a:gd name="connsiteY43" fmla="*/ 2964180 h 3680460"/>
                  <a:gd name="connsiteX44" fmla="*/ 2644140 w 3018472"/>
                  <a:gd name="connsiteY44" fmla="*/ 3009900 h 3680460"/>
                  <a:gd name="connsiteX45" fmla="*/ 2598420 w 3018472"/>
                  <a:gd name="connsiteY45" fmla="*/ 3055620 h 3680460"/>
                  <a:gd name="connsiteX46" fmla="*/ 2575560 w 3018472"/>
                  <a:gd name="connsiteY46" fmla="*/ 3078480 h 3680460"/>
                  <a:gd name="connsiteX47" fmla="*/ 2476500 w 3018472"/>
                  <a:gd name="connsiteY47" fmla="*/ 3169920 h 3680460"/>
                  <a:gd name="connsiteX48" fmla="*/ 2377440 w 3018472"/>
                  <a:gd name="connsiteY48" fmla="*/ 3223260 h 3680460"/>
                  <a:gd name="connsiteX49" fmla="*/ 2293620 w 3018472"/>
                  <a:gd name="connsiteY49" fmla="*/ 3284220 h 3680460"/>
                  <a:gd name="connsiteX50" fmla="*/ 2240280 w 3018472"/>
                  <a:gd name="connsiteY50" fmla="*/ 3314700 h 3680460"/>
                  <a:gd name="connsiteX51" fmla="*/ 2225040 w 3018472"/>
                  <a:gd name="connsiteY51" fmla="*/ 3337560 h 3680460"/>
                  <a:gd name="connsiteX52" fmla="*/ 2141220 w 3018472"/>
                  <a:gd name="connsiteY52" fmla="*/ 3390900 h 3680460"/>
                  <a:gd name="connsiteX53" fmla="*/ 2110740 w 3018472"/>
                  <a:gd name="connsiteY53" fmla="*/ 3413760 h 3680460"/>
                  <a:gd name="connsiteX54" fmla="*/ 2072640 w 3018472"/>
                  <a:gd name="connsiteY54" fmla="*/ 3451860 h 3680460"/>
                  <a:gd name="connsiteX55" fmla="*/ 2019300 w 3018472"/>
                  <a:gd name="connsiteY55" fmla="*/ 3467100 h 3680460"/>
                  <a:gd name="connsiteX56" fmla="*/ 1874520 w 3018472"/>
                  <a:gd name="connsiteY56" fmla="*/ 3512820 h 3680460"/>
                  <a:gd name="connsiteX57" fmla="*/ 1828800 w 3018472"/>
                  <a:gd name="connsiteY57" fmla="*/ 3520440 h 3680460"/>
                  <a:gd name="connsiteX58" fmla="*/ 1722120 w 3018472"/>
                  <a:gd name="connsiteY58" fmla="*/ 3550920 h 3680460"/>
                  <a:gd name="connsiteX59" fmla="*/ 1600200 w 3018472"/>
                  <a:gd name="connsiteY59" fmla="*/ 3589020 h 3680460"/>
                  <a:gd name="connsiteX60" fmla="*/ 1569720 w 3018472"/>
                  <a:gd name="connsiteY60" fmla="*/ 3596640 h 3680460"/>
                  <a:gd name="connsiteX61" fmla="*/ 1546860 w 3018472"/>
                  <a:gd name="connsiteY61" fmla="*/ 3611880 h 3680460"/>
                  <a:gd name="connsiteX62" fmla="*/ 1463040 w 3018472"/>
                  <a:gd name="connsiteY62" fmla="*/ 3627120 h 3680460"/>
                  <a:gd name="connsiteX63" fmla="*/ 1333500 w 3018472"/>
                  <a:gd name="connsiteY63" fmla="*/ 3657600 h 3680460"/>
                  <a:gd name="connsiteX64" fmla="*/ 1203960 w 3018472"/>
                  <a:gd name="connsiteY64" fmla="*/ 3672840 h 3680460"/>
                  <a:gd name="connsiteX65" fmla="*/ 1165860 w 3018472"/>
                  <a:gd name="connsiteY65" fmla="*/ 3680460 h 3680460"/>
                  <a:gd name="connsiteX66" fmla="*/ 449580 w 3018472"/>
                  <a:gd name="connsiteY66" fmla="*/ 3672840 h 3680460"/>
                  <a:gd name="connsiteX67" fmla="*/ 426720 w 3018472"/>
                  <a:gd name="connsiteY67" fmla="*/ 3665220 h 3680460"/>
                  <a:gd name="connsiteX68" fmla="*/ 388620 w 3018472"/>
                  <a:gd name="connsiteY68" fmla="*/ 3657600 h 3680460"/>
                  <a:gd name="connsiteX69" fmla="*/ 335280 w 3018472"/>
                  <a:gd name="connsiteY69" fmla="*/ 3627120 h 3680460"/>
                  <a:gd name="connsiteX70" fmla="*/ 266700 w 3018472"/>
                  <a:gd name="connsiteY70" fmla="*/ 3604260 h 3680460"/>
                  <a:gd name="connsiteX71" fmla="*/ 243840 w 3018472"/>
                  <a:gd name="connsiteY71" fmla="*/ 3589020 h 3680460"/>
                  <a:gd name="connsiteX72" fmla="*/ 160020 w 3018472"/>
                  <a:gd name="connsiteY72" fmla="*/ 3558540 h 3680460"/>
                  <a:gd name="connsiteX73" fmla="*/ 137160 w 3018472"/>
                  <a:gd name="connsiteY73" fmla="*/ 3535680 h 3680460"/>
                  <a:gd name="connsiteX74" fmla="*/ 99060 w 3018472"/>
                  <a:gd name="connsiteY74" fmla="*/ 3520440 h 3680460"/>
                  <a:gd name="connsiteX75" fmla="*/ 83820 w 3018472"/>
                  <a:gd name="connsiteY75" fmla="*/ 3489960 h 3680460"/>
                  <a:gd name="connsiteX76" fmla="*/ 45720 w 3018472"/>
                  <a:gd name="connsiteY76" fmla="*/ 3436620 h 3680460"/>
                  <a:gd name="connsiteX77" fmla="*/ 0 w 3018472"/>
                  <a:gd name="connsiteY77" fmla="*/ 3352800 h 3680460"/>
                  <a:gd name="connsiteX78" fmla="*/ 30480 w 3018472"/>
                  <a:gd name="connsiteY78" fmla="*/ 3345180 h 3680460"/>
                  <a:gd name="connsiteX79" fmla="*/ 137160 w 3018472"/>
                  <a:gd name="connsiteY79" fmla="*/ 3360420 h 3680460"/>
                  <a:gd name="connsiteX80" fmla="*/ 167640 w 3018472"/>
                  <a:gd name="connsiteY80" fmla="*/ 3390900 h 3680460"/>
                  <a:gd name="connsiteX81" fmla="*/ 198120 w 3018472"/>
                  <a:gd name="connsiteY81" fmla="*/ 3406140 h 3680460"/>
                  <a:gd name="connsiteX82" fmla="*/ 350520 w 3018472"/>
                  <a:gd name="connsiteY82" fmla="*/ 3436620 h 3680460"/>
                  <a:gd name="connsiteX83" fmla="*/ 381000 w 3018472"/>
                  <a:gd name="connsiteY83" fmla="*/ 3451860 h 3680460"/>
                  <a:gd name="connsiteX84" fmla="*/ 449580 w 3018472"/>
                  <a:gd name="connsiteY84" fmla="*/ 3489960 h 3680460"/>
                  <a:gd name="connsiteX85" fmla="*/ 495300 w 3018472"/>
                  <a:gd name="connsiteY85" fmla="*/ 3520440 h 3680460"/>
                  <a:gd name="connsiteX86" fmla="*/ 525780 w 3018472"/>
                  <a:gd name="connsiteY86" fmla="*/ 3535680 h 3680460"/>
                  <a:gd name="connsiteX87" fmla="*/ 731520 w 3018472"/>
                  <a:gd name="connsiteY87" fmla="*/ 3558540 h 3680460"/>
                  <a:gd name="connsiteX88" fmla="*/ 1341120 w 3018472"/>
                  <a:gd name="connsiteY88" fmla="*/ 3550920 h 3680460"/>
                  <a:gd name="connsiteX89" fmla="*/ 1440180 w 3018472"/>
                  <a:gd name="connsiteY89" fmla="*/ 3528060 h 3680460"/>
                  <a:gd name="connsiteX90" fmla="*/ 1539240 w 3018472"/>
                  <a:gd name="connsiteY90" fmla="*/ 3520440 h 3680460"/>
                  <a:gd name="connsiteX91" fmla="*/ 1562100 w 3018472"/>
                  <a:gd name="connsiteY91" fmla="*/ 3512820 h 3680460"/>
                  <a:gd name="connsiteX92" fmla="*/ 1630680 w 3018472"/>
                  <a:gd name="connsiteY92" fmla="*/ 3497580 h 3680460"/>
                  <a:gd name="connsiteX93" fmla="*/ 1699260 w 3018472"/>
                  <a:gd name="connsiteY93" fmla="*/ 3474720 h 3680460"/>
                  <a:gd name="connsiteX94" fmla="*/ 1790700 w 3018472"/>
                  <a:gd name="connsiteY94" fmla="*/ 3451860 h 3680460"/>
                  <a:gd name="connsiteX95" fmla="*/ 1821180 w 3018472"/>
                  <a:gd name="connsiteY95" fmla="*/ 3444240 h 3680460"/>
                  <a:gd name="connsiteX96" fmla="*/ 1844040 w 3018472"/>
                  <a:gd name="connsiteY96" fmla="*/ 3429000 h 3680460"/>
                  <a:gd name="connsiteX97" fmla="*/ 1874520 w 3018472"/>
                  <a:gd name="connsiteY97" fmla="*/ 3421380 h 3680460"/>
                  <a:gd name="connsiteX98" fmla="*/ 1927860 w 3018472"/>
                  <a:gd name="connsiteY98" fmla="*/ 3398520 h 3680460"/>
                  <a:gd name="connsiteX99" fmla="*/ 1950720 w 3018472"/>
                  <a:gd name="connsiteY99" fmla="*/ 3390900 h 3680460"/>
                  <a:gd name="connsiteX100" fmla="*/ 2004060 w 3018472"/>
                  <a:gd name="connsiteY100" fmla="*/ 3360420 h 3680460"/>
                  <a:gd name="connsiteX101" fmla="*/ 2042160 w 3018472"/>
                  <a:gd name="connsiteY101" fmla="*/ 3352800 h 3680460"/>
                  <a:gd name="connsiteX102" fmla="*/ 2080260 w 3018472"/>
                  <a:gd name="connsiteY102" fmla="*/ 3337560 h 3680460"/>
                  <a:gd name="connsiteX103" fmla="*/ 2156460 w 3018472"/>
                  <a:gd name="connsiteY103" fmla="*/ 3299460 h 3680460"/>
                  <a:gd name="connsiteX104" fmla="*/ 2179320 w 3018472"/>
                  <a:gd name="connsiteY104" fmla="*/ 3284220 h 3680460"/>
                  <a:gd name="connsiteX105" fmla="*/ 2209800 w 3018472"/>
                  <a:gd name="connsiteY105" fmla="*/ 3276600 h 3680460"/>
                  <a:gd name="connsiteX106" fmla="*/ 2263140 w 3018472"/>
                  <a:gd name="connsiteY106" fmla="*/ 3230880 h 3680460"/>
                  <a:gd name="connsiteX107" fmla="*/ 2346960 w 3018472"/>
                  <a:gd name="connsiteY107" fmla="*/ 3154680 h 3680460"/>
                  <a:gd name="connsiteX108" fmla="*/ 2400300 w 3018472"/>
                  <a:gd name="connsiteY108" fmla="*/ 3070860 h 3680460"/>
                  <a:gd name="connsiteX109" fmla="*/ 2415540 w 3018472"/>
                  <a:gd name="connsiteY109" fmla="*/ 3048000 h 3680460"/>
                  <a:gd name="connsiteX110" fmla="*/ 2446020 w 3018472"/>
                  <a:gd name="connsiteY110" fmla="*/ 3032760 h 3680460"/>
                  <a:gd name="connsiteX111" fmla="*/ 2468880 w 3018472"/>
                  <a:gd name="connsiteY111" fmla="*/ 3009900 h 3680460"/>
                  <a:gd name="connsiteX112" fmla="*/ 2537460 w 3018472"/>
                  <a:gd name="connsiteY112" fmla="*/ 2926080 h 3680460"/>
                  <a:gd name="connsiteX113" fmla="*/ 2575560 w 3018472"/>
                  <a:gd name="connsiteY113" fmla="*/ 2880360 h 3680460"/>
                  <a:gd name="connsiteX114" fmla="*/ 2628900 w 3018472"/>
                  <a:gd name="connsiteY114" fmla="*/ 2811780 h 3680460"/>
                  <a:gd name="connsiteX115" fmla="*/ 2644140 w 3018472"/>
                  <a:gd name="connsiteY115" fmla="*/ 2773680 h 3680460"/>
                  <a:gd name="connsiteX116" fmla="*/ 2674620 w 3018472"/>
                  <a:gd name="connsiteY116" fmla="*/ 2727960 h 3680460"/>
                  <a:gd name="connsiteX117" fmla="*/ 2689860 w 3018472"/>
                  <a:gd name="connsiteY117" fmla="*/ 2705100 h 3680460"/>
                  <a:gd name="connsiteX118" fmla="*/ 2705100 w 3018472"/>
                  <a:gd name="connsiteY118" fmla="*/ 2667000 h 3680460"/>
                  <a:gd name="connsiteX119" fmla="*/ 2727960 w 3018472"/>
                  <a:gd name="connsiteY119" fmla="*/ 2621280 h 3680460"/>
                  <a:gd name="connsiteX120" fmla="*/ 2735580 w 3018472"/>
                  <a:gd name="connsiteY120" fmla="*/ 2590800 h 3680460"/>
                  <a:gd name="connsiteX121" fmla="*/ 2758440 w 3018472"/>
                  <a:gd name="connsiteY121" fmla="*/ 2545080 h 3680460"/>
                  <a:gd name="connsiteX122" fmla="*/ 2788920 w 3018472"/>
                  <a:gd name="connsiteY122" fmla="*/ 2484120 h 3680460"/>
                  <a:gd name="connsiteX123" fmla="*/ 2811780 w 3018472"/>
                  <a:gd name="connsiteY123" fmla="*/ 2407920 h 3680460"/>
                  <a:gd name="connsiteX124" fmla="*/ 2842260 w 3018472"/>
                  <a:gd name="connsiteY124" fmla="*/ 2324100 h 3680460"/>
                  <a:gd name="connsiteX125" fmla="*/ 2857500 w 3018472"/>
                  <a:gd name="connsiteY125" fmla="*/ 2247900 h 3680460"/>
                  <a:gd name="connsiteX126" fmla="*/ 2872740 w 3018472"/>
                  <a:gd name="connsiteY126" fmla="*/ 2194560 h 3680460"/>
                  <a:gd name="connsiteX127" fmla="*/ 2887980 w 3018472"/>
                  <a:gd name="connsiteY127" fmla="*/ 2148840 h 3680460"/>
                  <a:gd name="connsiteX128" fmla="*/ 2910840 w 3018472"/>
                  <a:gd name="connsiteY128" fmla="*/ 2087880 h 3680460"/>
                  <a:gd name="connsiteX129" fmla="*/ 2918460 w 3018472"/>
                  <a:gd name="connsiteY129" fmla="*/ 2049780 h 3680460"/>
                  <a:gd name="connsiteX130" fmla="*/ 2933700 w 3018472"/>
                  <a:gd name="connsiteY130" fmla="*/ 1844040 h 3680460"/>
                  <a:gd name="connsiteX131" fmla="*/ 2918460 w 3018472"/>
                  <a:gd name="connsiteY131" fmla="*/ 1470660 h 3680460"/>
                  <a:gd name="connsiteX132" fmla="*/ 2895600 w 3018472"/>
                  <a:gd name="connsiteY132" fmla="*/ 1371600 h 3680460"/>
                  <a:gd name="connsiteX133" fmla="*/ 2880360 w 3018472"/>
                  <a:gd name="connsiteY133" fmla="*/ 1341120 h 3680460"/>
                  <a:gd name="connsiteX134" fmla="*/ 2857500 w 3018472"/>
                  <a:gd name="connsiteY134" fmla="*/ 1272540 h 3680460"/>
                  <a:gd name="connsiteX135" fmla="*/ 2849880 w 3018472"/>
                  <a:gd name="connsiteY135" fmla="*/ 1234440 h 3680460"/>
                  <a:gd name="connsiteX136" fmla="*/ 2827020 w 3018472"/>
                  <a:gd name="connsiteY136" fmla="*/ 1196340 h 3680460"/>
                  <a:gd name="connsiteX137" fmla="*/ 2811780 w 3018472"/>
                  <a:gd name="connsiteY137" fmla="*/ 1165860 h 3680460"/>
                  <a:gd name="connsiteX138" fmla="*/ 2781300 w 3018472"/>
                  <a:gd name="connsiteY138" fmla="*/ 1127760 h 3680460"/>
                  <a:gd name="connsiteX139" fmla="*/ 2766060 w 3018472"/>
                  <a:gd name="connsiteY139" fmla="*/ 1089660 h 3680460"/>
                  <a:gd name="connsiteX140" fmla="*/ 2735580 w 3018472"/>
                  <a:gd name="connsiteY140" fmla="*/ 1043940 h 3680460"/>
                  <a:gd name="connsiteX141" fmla="*/ 2727960 w 3018472"/>
                  <a:gd name="connsiteY141" fmla="*/ 1021080 h 3680460"/>
                  <a:gd name="connsiteX142" fmla="*/ 2682240 w 3018472"/>
                  <a:gd name="connsiteY142" fmla="*/ 937260 h 3680460"/>
                  <a:gd name="connsiteX143" fmla="*/ 2659380 w 3018472"/>
                  <a:gd name="connsiteY143" fmla="*/ 876300 h 3680460"/>
                  <a:gd name="connsiteX144" fmla="*/ 2644140 w 3018472"/>
                  <a:gd name="connsiteY144" fmla="*/ 845820 h 3680460"/>
                  <a:gd name="connsiteX145" fmla="*/ 2636520 w 3018472"/>
                  <a:gd name="connsiteY145" fmla="*/ 822960 h 3680460"/>
                  <a:gd name="connsiteX146" fmla="*/ 2621280 w 3018472"/>
                  <a:gd name="connsiteY146" fmla="*/ 800100 h 3680460"/>
                  <a:gd name="connsiteX147" fmla="*/ 2598420 w 3018472"/>
                  <a:gd name="connsiteY147" fmla="*/ 739140 h 3680460"/>
                  <a:gd name="connsiteX148" fmla="*/ 2458403 w 3018472"/>
                  <a:gd name="connsiteY148" fmla="*/ 621983 h 3680460"/>
                  <a:gd name="connsiteX149" fmla="*/ 2301240 w 3018472"/>
                  <a:gd name="connsiteY149" fmla="*/ 458152 h 3680460"/>
                  <a:gd name="connsiteX150" fmla="*/ 2237423 w 3018472"/>
                  <a:gd name="connsiteY150" fmla="*/ 406717 h 3680460"/>
                  <a:gd name="connsiteX151" fmla="*/ 2103120 w 3018472"/>
                  <a:gd name="connsiteY151" fmla="*/ 312420 h 3680460"/>
                  <a:gd name="connsiteX152" fmla="*/ 2042160 w 3018472"/>
                  <a:gd name="connsiteY152" fmla="*/ 266700 h 3680460"/>
                  <a:gd name="connsiteX153" fmla="*/ 2004060 w 3018472"/>
                  <a:gd name="connsiteY153" fmla="*/ 251460 h 3680460"/>
                  <a:gd name="connsiteX154" fmla="*/ 1958340 w 3018472"/>
                  <a:gd name="connsiteY154" fmla="*/ 220980 h 3680460"/>
                  <a:gd name="connsiteX155" fmla="*/ 1897380 w 3018472"/>
                  <a:gd name="connsiteY15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97480 w 3018472"/>
                  <a:gd name="connsiteY41" fmla="*/ 2933700 h 3680460"/>
                  <a:gd name="connsiteX42" fmla="*/ 2674620 w 3018472"/>
                  <a:gd name="connsiteY42" fmla="*/ 2964180 h 3680460"/>
                  <a:gd name="connsiteX43" fmla="*/ 2644140 w 3018472"/>
                  <a:gd name="connsiteY43" fmla="*/ 3009900 h 3680460"/>
                  <a:gd name="connsiteX44" fmla="*/ 2598420 w 3018472"/>
                  <a:gd name="connsiteY44" fmla="*/ 3055620 h 3680460"/>
                  <a:gd name="connsiteX45" fmla="*/ 2575560 w 3018472"/>
                  <a:gd name="connsiteY45" fmla="*/ 3078480 h 3680460"/>
                  <a:gd name="connsiteX46" fmla="*/ 2476500 w 3018472"/>
                  <a:gd name="connsiteY46" fmla="*/ 3169920 h 3680460"/>
                  <a:gd name="connsiteX47" fmla="*/ 2377440 w 3018472"/>
                  <a:gd name="connsiteY47" fmla="*/ 3223260 h 3680460"/>
                  <a:gd name="connsiteX48" fmla="*/ 2293620 w 3018472"/>
                  <a:gd name="connsiteY48" fmla="*/ 3284220 h 3680460"/>
                  <a:gd name="connsiteX49" fmla="*/ 2240280 w 3018472"/>
                  <a:gd name="connsiteY49" fmla="*/ 3314700 h 3680460"/>
                  <a:gd name="connsiteX50" fmla="*/ 2225040 w 3018472"/>
                  <a:gd name="connsiteY50" fmla="*/ 3337560 h 3680460"/>
                  <a:gd name="connsiteX51" fmla="*/ 2141220 w 3018472"/>
                  <a:gd name="connsiteY51" fmla="*/ 3390900 h 3680460"/>
                  <a:gd name="connsiteX52" fmla="*/ 2110740 w 3018472"/>
                  <a:gd name="connsiteY52" fmla="*/ 3413760 h 3680460"/>
                  <a:gd name="connsiteX53" fmla="*/ 2072640 w 3018472"/>
                  <a:gd name="connsiteY53" fmla="*/ 3451860 h 3680460"/>
                  <a:gd name="connsiteX54" fmla="*/ 2019300 w 3018472"/>
                  <a:gd name="connsiteY54" fmla="*/ 3467100 h 3680460"/>
                  <a:gd name="connsiteX55" fmla="*/ 1874520 w 3018472"/>
                  <a:gd name="connsiteY55" fmla="*/ 3512820 h 3680460"/>
                  <a:gd name="connsiteX56" fmla="*/ 1828800 w 3018472"/>
                  <a:gd name="connsiteY56" fmla="*/ 3520440 h 3680460"/>
                  <a:gd name="connsiteX57" fmla="*/ 1722120 w 3018472"/>
                  <a:gd name="connsiteY57" fmla="*/ 3550920 h 3680460"/>
                  <a:gd name="connsiteX58" fmla="*/ 1600200 w 3018472"/>
                  <a:gd name="connsiteY58" fmla="*/ 3589020 h 3680460"/>
                  <a:gd name="connsiteX59" fmla="*/ 1569720 w 3018472"/>
                  <a:gd name="connsiteY59" fmla="*/ 3596640 h 3680460"/>
                  <a:gd name="connsiteX60" fmla="*/ 1546860 w 3018472"/>
                  <a:gd name="connsiteY60" fmla="*/ 3611880 h 3680460"/>
                  <a:gd name="connsiteX61" fmla="*/ 1463040 w 3018472"/>
                  <a:gd name="connsiteY61" fmla="*/ 3627120 h 3680460"/>
                  <a:gd name="connsiteX62" fmla="*/ 1333500 w 3018472"/>
                  <a:gd name="connsiteY62" fmla="*/ 3657600 h 3680460"/>
                  <a:gd name="connsiteX63" fmla="*/ 1203960 w 3018472"/>
                  <a:gd name="connsiteY63" fmla="*/ 3672840 h 3680460"/>
                  <a:gd name="connsiteX64" fmla="*/ 1165860 w 3018472"/>
                  <a:gd name="connsiteY64" fmla="*/ 3680460 h 3680460"/>
                  <a:gd name="connsiteX65" fmla="*/ 449580 w 3018472"/>
                  <a:gd name="connsiteY65" fmla="*/ 3672840 h 3680460"/>
                  <a:gd name="connsiteX66" fmla="*/ 426720 w 3018472"/>
                  <a:gd name="connsiteY66" fmla="*/ 3665220 h 3680460"/>
                  <a:gd name="connsiteX67" fmla="*/ 388620 w 3018472"/>
                  <a:gd name="connsiteY67" fmla="*/ 3657600 h 3680460"/>
                  <a:gd name="connsiteX68" fmla="*/ 335280 w 3018472"/>
                  <a:gd name="connsiteY68" fmla="*/ 3627120 h 3680460"/>
                  <a:gd name="connsiteX69" fmla="*/ 266700 w 3018472"/>
                  <a:gd name="connsiteY69" fmla="*/ 3604260 h 3680460"/>
                  <a:gd name="connsiteX70" fmla="*/ 243840 w 3018472"/>
                  <a:gd name="connsiteY70" fmla="*/ 3589020 h 3680460"/>
                  <a:gd name="connsiteX71" fmla="*/ 160020 w 3018472"/>
                  <a:gd name="connsiteY71" fmla="*/ 3558540 h 3680460"/>
                  <a:gd name="connsiteX72" fmla="*/ 137160 w 3018472"/>
                  <a:gd name="connsiteY72" fmla="*/ 3535680 h 3680460"/>
                  <a:gd name="connsiteX73" fmla="*/ 99060 w 3018472"/>
                  <a:gd name="connsiteY73" fmla="*/ 3520440 h 3680460"/>
                  <a:gd name="connsiteX74" fmla="*/ 83820 w 3018472"/>
                  <a:gd name="connsiteY74" fmla="*/ 3489960 h 3680460"/>
                  <a:gd name="connsiteX75" fmla="*/ 45720 w 3018472"/>
                  <a:gd name="connsiteY75" fmla="*/ 3436620 h 3680460"/>
                  <a:gd name="connsiteX76" fmla="*/ 0 w 3018472"/>
                  <a:gd name="connsiteY76" fmla="*/ 3352800 h 3680460"/>
                  <a:gd name="connsiteX77" fmla="*/ 30480 w 3018472"/>
                  <a:gd name="connsiteY77" fmla="*/ 3345180 h 3680460"/>
                  <a:gd name="connsiteX78" fmla="*/ 137160 w 3018472"/>
                  <a:gd name="connsiteY78" fmla="*/ 3360420 h 3680460"/>
                  <a:gd name="connsiteX79" fmla="*/ 167640 w 3018472"/>
                  <a:gd name="connsiteY79" fmla="*/ 3390900 h 3680460"/>
                  <a:gd name="connsiteX80" fmla="*/ 198120 w 3018472"/>
                  <a:gd name="connsiteY80" fmla="*/ 3406140 h 3680460"/>
                  <a:gd name="connsiteX81" fmla="*/ 350520 w 3018472"/>
                  <a:gd name="connsiteY81" fmla="*/ 3436620 h 3680460"/>
                  <a:gd name="connsiteX82" fmla="*/ 381000 w 3018472"/>
                  <a:gd name="connsiteY82" fmla="*/ 3451860 h 3680460"/>
                  <a:gd name="connsiteX83" fmla="*/ 449580 w 3018472"/>
                  <a:gd name="connsiteY83" fmla="*/ 3489960 h 3680460"/>
                  <a:gd name="connsiteX84" fmla="*/ 495300 w 3018472"/>
                  <a:gd name="connsiteY84" fmla="*/ 3520440 h 3680460"/>
                  <a:gd name="connsiteX85" fmla="*/ 525780 w 3018472"/>
                  <a:gd name="connsiteY85" fmla="*/ 3535680 h 3680460"/>
                  <a:gd name="connsiteX86" fmla="*/ 731520 w 3018472"/>
                  <a:gd name="connsiteY86" fmla="*/ 3558540 h 3680460"/>
                  <a:gd name="connsiteX87" fmla="*/ 1341120 w 3018472"/>
                  <a:gd name="connsiteY87" fmla="*/ 3550920 h 3680460"/>
                  <a:gd name="connsiteX88" fmla="*/ 1440180 w 3018472"/>
                  <a:gd name="connsiteY88" fmla="*/ 3528060 h 3680460"/>
                  <a:gd name="connsiteX89" fmla="*/ 1539240 w 3018472"/>
                  <a:gd name="connsiteY89" fmla="*/ 3520440 h 3680460"/>
                  <a:gd name="connsiteX90" fmla="*/ 1562100 w 3018472"/>
                  <a:gd name="connsiteY90" fmla="*/ 3512820 h 3680460"/>
                  <a:gd name="connsiteX91" fmla="*/ 1630680 w 3018472"/>
                  <a:gd name="connsiteY91" fmla="*/ 3497580 h 3680460"/>
                  <a:gd name="connsiteX92" fmla="*/ 1699260 w 3018472"/>
                  <a:gd name="connsiteY92" fmla="*/ 3474720 h 3680460"/>
                  <a:gd name="connsiteX93" fmla="*/ 1790700 w 3018472"/>
                  <a:gd name="connsiteY93" fmla="*/ 3451860 h 3680460"/>
                  <a:gd name="connsiteX94" fmla="*/ 1821180 w 3018472"/>
                  <a:gd name="connsiteY94" fmla="*/ 3444240 h 3680460"/>
                  <a:gd name="connsiteX95" fmla="*/ 1844040 w 3018472"/>
                  <a:gd name="connsiteY95" fmla="*/ 3429000 h 3680460"/>
                  <a:gd name="connsiteX96" fmla="*/ 1874520 w 3018472"/>
                  <a:gd name="connsiteY96" fmla="*/ 3421380 h 3680460"/>
                  <a:gd name="connsiteX97" fmla="*/ 1927860 w 3018472"/>
                  <a:gd name="connsiteY97" fmla="*/ 3398520 h 3680460"/>
                  <a:gd name="connsiteX98" fmla="*/ 1950720 w 3018472"/>
                  <a:gd name="connsiteY98" fmla="*/ 3390900 h 3680460"/>
                  <a:gd name="connsiteX99" fmla="*/ 2004060 w 3018472"/>
                  <a:gd name="connsiteY99" fmla="*/ 3360420 h 3680460"/>
                  <a:gd name="connsiteX100" fmla="*/ 2042160 w 3018472"/>
                  <a:gd name="connsiteY100" fmla="*/ 3352800 h 3680460"/>
                  <a:gd name="connsiteX101" fmla="*/ 2080260 w 3018472"/>
                  <a:gd name="connsiteY101" fmla="*/ 3337560 h 3680460"/>
                  <a:gd name="connsiteX102" fmla="*/ 2156460 w 3018472"/>
                  <a:gd name="connsiteY102" fmla="*/ 3299460 h 3680460"/>
                  <a:gd name="connsiteX103" fmla="*/ 2179320 w 3018472"/>
                  <a:gd name="connsiteY103" fmla="*/ 3284220 h 3680460"/>
                  <a:gd name="connsiteX104" fmla="*/ 2209800 w 3018472"/>
                  <a:gd name="connsiteY104" fmla="*/ 3276600 h 3680460"/>
                  <a:gd name="connsiteX105" fmla="*/ 2263140 w 3018472"/>
                  <a:gd name="connsiteY105" fmla="*/ 3230880 h 3680460"/>
                  <a:gd name="connsiteX106" fmla="*/ 2346960 w 3018472"/>
                  <a:gd name="connsiteY106" fmla="*/ 3154680 h 3680460"/>
                  <a:gd name="connsiteX107" fmla="*/ 2400300 w 3018472"/>
                  <a:gd name="connsiteY107" fmla="*/ 3070860 h 3680460"/>
                  <a:gd name="connsiteX108" fmla="*/ 2415540 w 3018472"/>
                  <a:gd name="connsiteY108" fmla="*/ 3048000 h 3680460"/>
                  <a:gd name="connsiteX109" fmla="*/ 2446020 w 3018472"/>
                  <a:gd name="connsiteY109" fmla="*/ 3032760 h 3680460"/>
                  <a:gd name="connsiteX110" fmla="*/ 2468880 w 3018472"/>
                  <a:gd name="connsiteY110" fmla="*/ 3009900 h 3680460"/>
                  <a:gd name="connsiteX111" fmla="*/ 2537460 w 3018472"/>
                  <a:gd name="connsiteY111" fmla="*/ 2926080 h 3680460"/>
                  <a:gd name="connsiteX112" fmla="*/ 2575560 w 3018472"/>
                  <a:gd name="connsiteY112" fmla="*/ 2880360 h 3680460"/>
                  <a:gd name="connsiteX113" fmla="*/ 2628900 w 3018472"/>
                  <a:gd name="connsiteY113" fmla="*/ 2811780 h 3680460"/>
                  <a:gd name="connsiteX114" fmla="*/ 2644140 w 3018472"/>
                  <a:gd name="connsiteY114" fmla="*/ 2773680 h 3680460"/>
                  <a:gd name="connsiteX115" fmla="*/ 2674620 w 3018472"/>
                  <a:gd name="connsiteY115" fmla="*/ 2727960 h 3680460"/>
                  <a:gd name="connsiteX116" fmla="*/ 2689860 w 3018472"/>
                  <a:gd name="connsiteY116" fmla="*/ 2705100 h 3680460"/>
                  <a:gd name="connsiteX117" fmla="*/ 2705100 w 3018472"/>
                  <a:gd name="connsiteY117" fmla="*/ 2667000 h 3680460"/>
                  <a:gd name="connsiteX118" fmla="*/ 2727960 w 3018472"/>
                  <a:gd name="connsiteY118" fmla="*/ 2621280 h 3680460"/>
                  <a:gd name="connsiteX119" fmla="*/ 2735580 w 3018472"/>
                  <a:gd name="connsiteY119" fmla="*/ 2590800 h 3680460"/>
                  <a:gd name="connsiteX120" fmla="*/ 2758440 w 3018472"/>
                  <a:gd name="connsiteY120" fmla="*/ 2545080 h 3680460"/>
                  <a:gd name="connsiteX121" fmla="*/ 2788920 w 3018472"/>
                  <a:gd name="connsiteY121" fmla="*/ 2484120 h 3680460"/>
                  <a:gd name="connsiteX122" fmla="*/ 2811780 w 3018472"/>
                  <a:gd name="connsiteY122" fmla="*/ 2407920 h 3680460"/>
                  <a:gd name="connsiteX123" fmla="*/ 2842260 w 3018472"/>
                  <a:gd name="connsiteY123" fmla="*/ 2324100 h 3680460"/>
                  <a:gd name="connsiteX124" fmla="*/ 2857500 w 3018472"/>
                  <a:gd name="connsiteY124" fmla="*/ 2247900 h 3680460"/>
                  <a:gd name="connsiteX125" fmla="*/ 2872740 w 3018472"/>
                  <a:gd name="connsiteY125" fmla="*/ 2194560 h 3680460"/>
                  <a:gd name="connsiteX126" fmla="*/ 2887980 w 3018472"/>
                  <a:gd name="connsiteY126" fmla="*/ 2148840 h 3680460"/>
                  <a:gd name="connsiteX127" fmla="*/ 2910840 w 3018472"/>
                  <a:gd name="connsiteY127" fmla="*/ 2087880 h 3680460"/>
                  <a:gd name="connsiteX128" fmla="*/ 2918460 w 3018472"/>
                  <a:gd name="connsiteY128" fmla="*/ 2049780 h 3680460"/>
                  <a:gd name="connsiteX129" fmla="*/ 2933700 w 3018472"/>
                  <a:gd name="connsiteY129" fmla="*/ 1844040 h 3680460"/>
                  <a:gd name="connsiteX130" fmla="*/ 2918460 w 3018472"/>
                  <a:gd name="connsiteY130" fmla="*/ 1470660 h 3680460"/>
                  <a:gd name="connsiteX131" fmla="*/ 2895600 w 3018472"/>
                  <a:gd name="connsiteY131" fmla="*/ 1371600 h 3680460"/>
                  <a:gd name="connsiteX132" fmla="*/ 2880360 w 3018472"/>
                  <a:gd name="connsiteY132" fmla="*/ 1341120 h 3680460"/>
                  <a:gd name="connsiteX133" fmla="*/ 2857500 w 3018472"/>
                  <a:gd name="connsiteY133" fmla="*/ 1272540 h 3680460"/>
                  <a:gd name="connsiteX134" fmla="*/ 2849880 w 3018472"/>
                  <a:gd name="connsiteY134" fmla="*/ 1234440 h 3680460"/>
                  <a:gd name="connsiteX135" fmla="*/ 2827020 w 3018472"/>
                  <a:gd name="connsiteY135" fmla="*/ 1196340 h 3680460"/>
                  <a:gd name="connsiteX136" fmla="*/ 2811780 w 3018472"/>
                  <a:gd name="connsiteY136" fmla="*/ 1165860 h 3680460"/>
                  <a:gd name="connsiteX137" fmla="*/ 2781300 w 3018472"/>
                  <a:gd name="connsiteY137" fmla="*/ 1127760 h 3680460"/>
                  <a:gd name="connsiteX138" fmla="*/ 2766060 w 3018472"/>
                  <a:gd name="connsiteY138" fmla="*/ 1089660 h 3680460"/>
                  <a:gd name="connsiteX139" fmla="*/ 2735580 w 3018472"/>
                  <a:gd name="connsiteY139" fmla="*/ 1043940 h 3680460"/>
                  <a:gd name="connsiteX140" fmla="*/ 2727960 w 3018472"/>
                  <a:gd name="connsiteY140" fmla="*/ 1021080 h 3680460"/>
                  <a:gd name="connsiteX141" fmla="*/ 2682240 w 3018472"/>
                  <a:gd name="connsiteY141" fmla="*/ 937260 h 3680460"/>
                  <a:gd name="connsiteX142" fmla="*/ 2659380 w 3018472"/>
                  <a:gd name="connsiteY142" fmla="*/ 876300 h 3680460"/>
                  <a:gd name="connsiteX143" fmla="*/ 2644140 w 3018472"/>
                  <a:gd name="connsiteY143" fmla="*/ 845820 h 3680460"/>
                  <a:gd name="connsiteX144" fmla="*/ 2636520 w 3018472"/>
                  <a:gd name="connsiteY144" fmla="*/ 822960 h 3680460"/>
                  <a:gd name="connsiteX145" fmla="*/ 2621280 w 3018472"/>
                  <a:gd name="connsiteY145" fmla="*/ 800100 h 3680460"/>
                  <a:gd name="connsiteX146" fmla="*/ 2598420 w 3018472"/>
                  <a:gd name="connsiteY146" fmla="*/ 739140 h 3680460"/>
                  <a:gd name="connsiteX147" fmla="*/ 2458403 w 3018472"/>
                  <a:gd name="connsiteY147" fmla="*/ 621983 h 3680460"/>
                  <a:gd name="connsiteX148" fmla="*/ 2301240 w 3018472"/>
                  <a:gd name="connsiteY148" fmla="*/ 458152 h 3680460"/>
                  <a:gd name="connsiteX149" fmla="*/ 2237423 w 3018472"/>
                  <a:gd name="connsiteY149" fmla="*/ 406717 h 3680460"/>
                  <a:gd name="connsiteX150" fmla="*/ 2103120 w 3018472"/>
                  <a:gd name="connsiteY150" fmla="*/ 312420 h 3680460"/>
                  <a:gd name="connsiteX151" fmla="*/ 2042160 w 3018472"/>
                  <a:gd name="connsiteY151" fmla="*/ 266700 h 3680460"/>
                  <a:gd name="connsiteX152" fmla="*/ 2004060 w 3018472"/>
                  <a:gd name="connsiteY152" fmla="*/ 251460 h 3680460"/>
                  <a:gd name="connsiteX153" fmla="*/ 1958340 w 3018472"/>
                  <a:gd name="connsiteY153" fmla="*/ 220980 h 3680460"/>
                  <a:gd name="connsiteX154" fmla="*/ 1897380 w 3018472"/>
                  <a:gd name="connsiteY154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74620 w 3018472"/>
                  <a:gd name="connsiteY41" fmla="*/ 2964180 h 3680460"/>
                  <a:gd name="connsiteX42" fmla="*/ 2644140 w 3018472"/>
                  <a:gd name="connsiteY42" fmla="*/ 3009900 h 3680460"/>
                  <a:gd name="connsiteX43" fmla="*/ 2598420 w 3018472"/>
                  <a:gd name="connsiteY43" fmla="*/ 3055620 h 3680460"/>
                  <a:gd name="connsiteX44" fmla="*/ 2575560 w 3018472"/>
                  <a:gd name="connsiteY44" fmla="*/ 3078480 h 3680460"/>
                  <a:gd name="connsiteX45" fmla="*/ 2476500 w 3018472"/>
                  <a:gd name="connsiteY45" fmla="*/ 3169920 h 3680460"/>
                  <a:gd name="connsiteX46" fmla="*/ 2377440 w 3018472"/>
                  <a:gd name="connsiteY46" fmla="*/ 3223260 h 3680460"/>
                  <a:gd name="connsiteX47" fmla="*/ 2293620 w 3018472"/>
                  <a:gd name="connsiteY47" fmla="*/ 3284220 h 3680460"/>
                  <a:gd name="connsiteX48" fmla="*/ 2240280 w 3018472"/>
                  <a:gd name="connsiteY48" fmla="*/ 3314700 h 3680460"/>
                  <a:gd name="connsiteX49" fmla="*/ 2225040 w 3018472"/>
                  <a:gd name="connsiteY49" fmla="*/ 3337560 h 3680460"/>
                  <a:gd name="connsiteX50" fmla="*/ 2141220 w 3018472"/>
                  <a:gd name="connsiteY50" fmla="*/ 3390900 h 3680460"/>
                  <a:gd name="connsiteX51" fmla="*/ 2110740 w 3018472"/>
                  <a:gd name="connsiteY51" fmla="*/ 3413760 h 3680460"/>
                  <a:gd name="connsiteX52" fmla="*/ 2072640 w 3018472"/>
                  <a:gd name="connsiteY52" fmla="*/ 3451860 h 3680460"/>
                  <a:gd name="connsiteX53" fmla="*/ 2019300 w 3018472"/>
                  <a:gd name="connsiteY53" fmla="*/ 3467100 h 3680460"/>
                  <a:gd name="connsiteX54" fmla="*/ 1874520 w 3018472"/>
                  <a:gd name="connsiteY54" fmla="*/ 3512820 h 3680460"/>
                  <a:gd name="connsiteX55" fmla="*/ 1828800 w 3018472"/>
                  <a:gd name="connsiteY55" fmla="*/ 3520440 h 3680460"/>
                  <a:gd name="connsiteX56" fmla="*/ 1722120 w 3018472"/>
                  <a:gd name="connsiteY56" fmla="*/ 3550920 h 3680460"/>
                  <a:gd name="connsiteX57" fmla="*/ 1600200 w 3018472"/>
                  <a:gd name="connsiteY57" fmla="*/ 3589020 h 3680460"/>
                  <a:gd name="connsiteX58" fmla="*/ 1569720 w 3018472"/>
                  <a:gd name="connsiteY58" fmla="*/ 3596640 h 3680460"/>
                  <a:gd name="connsiteX59" fmla="*/ 1546860 w 3018472"/>
                  <a:gd name="connsiteY59" fmla="*/ 3611880 h 3680460"/>
                  <a:gd name="connsiteX60" fmla="*/ 1463040 w 3018472"/>
                  <a:gd name="connsiteY60" fmla="*/ 3627120 h 3680460"/>
                  <a:gd name="connsiteX61" fmla="*/ 1333500 w 3018472"/>
                  <a:gd name="connsiteY61" fmla="*/ 3657600 h 3680460"/>
                  <a:gd name="connsiteX62" fmla="*/ 1203960 w 3018472"/>
                  <a:gd name="connsiteY62" fmla="*/ 3672840 h 3680460"/>
                  <a:gd name="connsiteX63" fmla="*/ 1165860 w 3018472"/>
                  <a:gd name="connsiteY63" fmla="*/ 3680460 h 3680460"/>
                  <a:gd name="connsiteX64" fmla="*/ 449580 w 3018472"/>
                  <a:gd name="connsiteY64" fmla="*/ 3672840 h 3680460"/>
                  <a:gd name="connsiteX65" fmla="*/ 426720 w 3018472"/>
                  <a:gd name="connsiteY65" fmla="*/ 3665220 h 3680460"/>
                  <a:gd name="connsiteX66" fmla="*/ 388620 w 3018472"/>
                  <a:gd name="connsiteY66" fmla="*/ 3657600 h 3680460"/>
                  <a:gd name="connsiteX67" fmla="*/ 335280 w 3018472"/>
                  <a:gd name="connsiteY67" fmla="*/ 3627120 h 3680460"/>
                  <a:gd name="connsiteX68" fmla="*/ 266700 w 3018472"/>
                  <a:gd name="connsiteY68" fmla="*/ 3604260 h 3680460"/>
                  <a:gd name="connsiteX69" fmla="*/ 243840 w 3018472"/>
                  <a:gd name="connsiteY69" fmla="*/ 3589020 h 3680460"/>
                  <a:gd name="connsiteX70" fmla="*/ 160020 w 3018472"/>
                  <a:gd name="connsiteY70" fmla="*/ 3558540 h 3680460"/>
                  <a:gd name="connsiteX71" fmla="*/ 137160 w 3018472"/>
                  <a:gd name="connsiteY71" fmla="*/ 3535680 h 3680460"/>
                  <a:gd name="connsiteX72" fmla="*/ 99060 w 3018472"/>
                  <a:gd name="connsiteY72" fmla="*/ 3520440 h 3680460"/>
                  <a:gd name="connsiteX73" fmla="*/ 83820 w 3018472"/>
                  <a:gd name="connsiteY73" fmla="*/ 3489960 h 3680460"/>
                  <a:gd name="connsiteX74" fmla="*/ 45720 w 3018472"/>
                  <a:gd name="connsiteY74" fmla="*/ 3436620 h 3680460"/>
                  <a:gd name="connsiteX75" fmla="*/ 0 w 3018472"/>
                  <a:gd name="connsiteY75" fmla="*/ 3352800 h 3680460"/>
                  <a:gd name="connsiteX76" fmla="*/ 30480 w 3018472"/>
                  <a:gd name="connsiteY76" fmla="*/ 3345180 h 3680460"/>
                  <a:gd name="connsiteX77" fmla="*/ 137160 w 3018472"/>
                  <a:gd name="connsiteY77" fmla="*/ 3360420 h 3680460"/>
                  <a:gd name="connsiteX78" fmla="*/ 167640 w 3018472"/>
                  <a:gd name="connsiteY78" fmla="*/ 3390900 h 3680460"/>
                  <a:gd name="connsiteX79" fmla="*/ 198120 w 3018472"/>
                  <a:gd name="connsiteY79" fmla="*/ 3406140 h 3680460"/>
                  <a:gd name="connsiteX80" fmla="*/ 350520 w 3018472"/>
                  <a:gd name="connsiteY80" fmla="*/ 3436620 h 3680460"/>
                  <a:gd name="connsiteX81" fmla="*/ 381000 w 3018472"/>
                  <a:gd name="connsiteY81" fmla="*/ 3451860 h 3680460"/>
                  <a:gd name="connsiteX82" fmla="*/ 449580 w 3018472"/>
                  <a:gd name="connsiteY82" fmla="*/ 3489960 h 3680460"/>
                  <a:gd name="connsiteX83" fmla="*/ 495300 w 3018472"/>
                  <a:gd name="connsiteY83" fmla="*/ 3520440 h 3680460"/>
                  <a:gd name="connsiteX84" fmla="*/ 525780 w 3018472"/>
                  <a:gd name="connsiteY84" fmla="*/ 3535680 h 3680460"/>
                  <a:gd name="connsiteX85" fmla="*/ 731520 w 3018472"/>
                  <a:gd name="connsiteY85" fmla="*/ 3558540 h 3680460"/>
                  <a:gd name="connsiteX86" fmla="*/ 1341120 w 3018472"/>
                  <a:gd name="connsiteY86" fmla="*/ 3550920 h 3680460"/>
                  <a:gd name="connsiteX87" fmla="*/ 1440180 w 3018472"/>
                  <a:gd name="connsiteY87" fmla="*/ 3528060 h 3680460"/>
                  <a:gd name="connsiteX88" fmla="*/ 1539240 w 3018472"/>
                  <a:gd name="connsiteY88" fmla="*/ 3520440 h 3680460"/>
                  <a:gd name="connsiteX89" fmla="*/ 1562100 w 3018472"/>
                  <a:gd name="connsiteY89" fmla="*/ 3512820 h 3680460"/>
                  <a:gd name="connsiteX90" fmla="*/ 1630680 w 3018472"/>
                  <a:gd name="connsiteY90" fmla="*/ 3497580 h 3680460"/>
                  <a:gd name="connsiteX91" fmla="*/ 1699260 w 3018472"/>
                  <a:gd name="connsiteY91" fmla="*/ 3474720 h 3680460"/>
                  <a:gd name="connsiteX92" fmla="*/ 1790700 w 3018472"/>
                  <a:gd name="connsiteY92" fmla="*/ 3451860 h 3680460"/>
                  <a:gd name="connsiteX93" fmla="*/ 1821180 w 3018472"/>
                  <a:gd name="connsiteY93" fmla="*/ 3444240 h 3680460"/>
                  <a:gd name="connsiteX94" fmla="*/ 1844040 w 3018472"/>
                  <a:gd name="connsiteY94" fmla="*/ 3429000 h 3680460"/>
                  <a:gd name="connsiteX95" fmla="*/ 1874520 w 3018472"/>
                  <a:gd name="connsiteY95" fmla="*/ 3421380 h 3680460"/>
                  <a:gd name="connsiteX96" fmla="*/ 1927860 w 3018472"/>
                  <a:gd name="connsiteY96" fmla="*/ 3398520 h 3680460"/>
                  <a:gd name="connsiteX97" fmla="*/ 1950720 w 3018472"/>
                  <a:gd name="connsiteY97" fmla="*/ 3390900 h 3680460"/>
                  <a:gd name="connsiteX98" fmla="*/ 2004060 w 3018472"/>
                  <a:gd name="connsiteY98" fmla="*/ 3360420 h 3680460"/>
                  <a:gd name="connsiteX99" fmla="*/ 2042160 w 3018472"/>
                  <a:gd name="connsiteY99" fmla="*/ 3352800 h 3680460"/>
                  <a:gd name="connsiteX100" fmla="*/ 2080260 w 3018472"/>
                  <a:gd name="connsiteY100" fmla="*/ 3337560 h 3680460"/>
                  <a:gd name="connsiteX101" fmla="*/ 2156460 w 3018472"/>
                  <a:gd name="connsiteY101" fmla="*/ 3299460 h 3680460"/>
                  <a:gd name="connsiteX102" fmla="*/ 2179320 w 3018472"/>
                  <a:gd name="connsiteY102" fmla="*/ 3284220 h 3680460"/>
                  <a:gd name="connsiteX103" fmla="*/ 2209800 w 3018472"/>
                  <a:gd name="connsiteY103" fmla="*/ 3276600 h 3680460"/>
                  <a:gd name="connsiteX104" fmla="*/ 2263140 w 3018472"/>
                  <a:gd name="connsiteY104" fmla="*/ 3230880 h 3680460"/>
                  <a:gd name="connsiteX105" fmla="*/ 2346960 w 3018472"/>
                  <a:gd name="connsiteY105" fmla="*/ 3154680 h 3680460"/>
                  <a:gd name="connsiteX106" fmla="*/ 2400300 w 3018472"/>
                  <a:gd name="connsiteY106" fmla="*/ 3070860 h 3680460"/>
                  <a:gd name="connsiteX107" fmla="*/ 2415540 w 3018472"/>
                  <a:gd name="connsiteY107" fmla="*/ 3048000 h 3680460"/>
                  <a:gd name="connsiteX108" fmla="*/ 2446020 w 3018472"/>
                  <a:gd name="connsiteY108" fmla="*/ 3032760 h 3680460"/>
                  <a:gd name="connsiteX109" fmla="*/ 2468880 w 3018472"/>
                  <a:gd name="connsiteY109" fmla="*/ 3009900 h 3680460"/>
                  <a:gd name="connsiteX110" fmla="*/ 2537460 w 3018472"/>
                  <a:gd name="connsiteY110" fmla="*/ 2926080 h 3680460"/>
                  <a:gd name="connsiteX111" fmla="*/ 2575560 w 3018472"/>
                  <a:gd name="connsiteY111" fmla="*/ 2880360 h 3680460"/>
                  <a:gd name="connsiteX112" fmla="*/ 2628900 w 3018472"/>
                  <a:gd name="connsiteY112" fmla="*/ 2811780 h 3680460"/>
                  <a:gd name="connsiteX113" fmla="*/ 2644140 w 3018472"/>
                  <a:gd name="connsiteY113" fmla="*/ 2773680 h 3680460"/>
                  <a:gd name="connsiteX114" fmla="*/ 2674620 w 3018472"/>
                  <a:gd name="connsiteY114" fmla="*/ 2727960 h 3680460"/>
                  <a:gd name="connsiteX115" fmla="*/ 2689860 w 3018472"/>
                  <a:gd name="connsiteY115" fmla="*/ 2705100 h 3680460"/>
                  <a:gd name="connsiteX116" fmla="*/ 2705100 w 3018472"/>
                  <a:gd name="connsiteY116" fmla="*/ 2667000 h 3680460"/>
                  <a:gd name="connsiteX117" fmla="*/ 2727960 w 3018472"/>
                  <a:gd name="connsiteY117" fmla="*/ 2621280 h 3680460"/>
                  <a:gd name="connsiteX118" fmla="*/ 2735580 w 3018472"/>
                  <a:gd name="connsiteY118" fmla="*/ 2590800 h 3680460"/>
                  <a:gd name="connsiteX119" fmla="*/ 2758440 w 3018472"/>
                  <a:gd name="connsiteY119" fmla="*/ 2545080 h 3680460"/>
                  <a:gd name="connsiteX120" fmla="*/ 2788920 w 3018472"/>
                  <a:gd name="connsiteY120" fmla="*/ 2484120 h 3680460"/>
                  <a:gd name="connsiteX121" fmla="*/ 2811780 w 3018472"/>
                  <a:gd name="connsiteY121" fmla="*/ 2407920 h 3680460"/>
                  <a:gd name="connsiteX122" fmla="*/ 2842260 w 3018472"/>
                  <a:gd name="connsiteY122" fmla="*/ 2324100 h 3680460"/>
                  <a:gd name="connsiteX123" fmla="*/ 2857500 w 3018472"/>
                  <a:gd name="connsiteY123" fmla="*/ 2247900 h 3680460"/>
                  <a:gd name="connsiteX124" fmla="*/ 2872740 w 3018472"/>
                  <a:gd name="connsiteY124" fmla="*/ 2194560 h 3680460"/>
                  <a:gd name="connsiteX125" fmla="*/ 2887980 w 3018472"/>
                  <a:gd name="connsiteY125" fmla="*/ 2148840 h 3680460"/>
                  <a:gd name="connsiteX126" fmla="*/ 2910840 w 3018472"/>
                  <a:gd name="connsiteY126" fmla="*/ 2087880 h 3680460"/>
                  <a:gd name="connsiteX127" fmla="*/ 2918460 w 3018472"/>
                  <a:gd name="connsiteY127" fmla="*/ 2049780 h 3680460"/>
                  <a:gd name="connsiteX128" fmla="*/ 2933700 w 3018472"/>
                  <a:gd name="connsiteY128" fmla="*/ 1844040 h 3680460"/>
                  <a:gd name="connsiteX129" fmla="*/ 2918460 w 3018472"/>
                  <a:gd name="connsiteY129" fmla="*/ 1470660 h 3680460"/>
                  <a:gd name="connsiteX130" fmla="*/ 2895600 w 3018472"/>
                  <a:gd name="connsiteY130" fmla="*/ 1371600 h 3680460"/>
                  <a:gd name="connsiteX131" fmla="*/ 2880360 w 3018472"/>
                  <a:gd name="connsiteY131" fmla="*/ 1341120 h 3680460"/>
                  <a:gd name="connsiteX132" fmla="*/ 2857500 w 3018472"/>
                  <a:gd name="connsiteY132" fmla="*/ 1272540 h 3680460"/>
                  <a:gd name="connsiteX133" fmla="*/ 2849880 w 3018472"/>
                  <a:gd name="connsiteY133" fmla="*/ 1234440 h 3680460"/>
                  <a:gd name="connsiteX134" fmla="*/ 2827020 w 3018472"/>
                  <a:gd name="connsiteY134" fmla="*/ 1196340 h 3680460"/>
                  <a:gd name="connsiteX135" fmla="*/ 2811780 w 3018472"/>
                  <a:gd name="connsiteY135" fmla="*/ 1165860 h 3680460"/>
                  <a:gd name="connsiteX136" fmla="*/ 2781300 w 3018472"/>
                  <a:gd name="connsiteY136" fmla="*/ 1127760 h 3680460"/>
                  <a:gd name="connsiteX137" fmla="*/ 2766060 w 3018472"/>
                  <a:gd name="connsiteY137" fmla="*/ 1089660 h 3680460"/>
                  <a:gd name="connsiteX138" fmla="*/ 2735580 w 3018472"/>
                  <a:gd name="connsiteY138" fmla="*/ 1043940 h 3680460"/>
                  <a:gd name="connsiteX139" fmla="*/ 2727960 w 3018472"/>
                  <a:gd name="connsiteY139" fmla="*/ 1021080 h 3680460"/>
                  <a:gd name="connsiteX140" fmla="*/ 2682240 w 3018472"/>
                  <a:gd name="connsiteY140" fmla="*/ 937260 h 3680460"/>
                  <a:gd name="connsiteX141" fmla="*/ 2659380 w 3018472"/>
                  <a:gd name="connsiteY141" fmla="*/ 876300 h 3680460"/>
                  <a:gd name="connsiteX142" fmla="*/ 2644140 w 3018472"/>
                  <a:gd name="connsiteY142" fmla="*/ 845820 h 3680460"/>
                  <a:gd name="connsiteX143" fmla="*/ 2636520 w 3018472"/>
                  <a:gd name="connsiteY143" fmla="*/ 822960 h 3680460"/>
                  <a:gd name="connsiteX144" fmla="*/ 2621280 w 3018472"/>
                  <a:gd name="connsiteY144" fmla="*/ 800100 h 3680460"/>
                  <a:gd name="connsiteX145" fmla="*/ 2598420 w 3018472"/>
                  <a:gd name="connsiteY145" fmla="*/ 739140 h 3680460"/>
                  <a:gd name="connsiteX146" fmla="*/ 2458403 w 3018472"/>
                  <a:gd name="connsiteY146" fmla="*/ 621983 h 3680460"/>
                  <a:gd name="connsiteX147" fmla="*/ 2301240 w 3018472"/>
                  <a:gd name="connsiteY147" fmla="*/ 458152 h 3680460"/>
                  <a:gd name="connsiteX148" fmla="*/ 2237423 w 3018472"/>
                  <a:gd name="connsiteY148" fmla="*/ 406717 h 3680460"/>
                  <a:gd name="connsiteX149" fmla="*/ 2103120 w 3018472"/>
                  <a:gd name="connsiteY149" fmla="*/ 312420 h 3680460"/>
                  <a:gd name="connsiteX150" fmla="*/ 2042160 w 3018472"/>
                  <a:gd name="connsiteY150" fmla="*/ 266700 h 3680460"/>
                  <a:gd name="connsiteX151" fmla="*/ 2004060 w 3018472"/>
                  <a:gd name="connsiteY151" fmla="*/ 251460 h 3680460"/>
                  <a:gd name="connsiteX152" fmla="*/ 1958340 w 3018472"/>
                  <a:gd name="connsiteY152" fmla="*/ 220980 h 3680460"/>
                  <a:gd name="connsiteX153" fmla="*/ 1897380 w 3018472"/>
                  <a:gd name="connsiteY153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644140 w 3018472"/>
                  <a:gd name="connsiteY41" fmla="*/ 3009900 h 3680460"/>
                  <a:gd name="connsiteX42" fmla="*/ 2598420 w 3018472"/>
                  <a:gd name="connsiteY42" fmla="*/ 3055620 h 3680460"/>
                  <a:gd name="connsiteX43" fmla="*/ 2575560 w 3018472"/>
                  <a:gd name="connsiteY43" fmla="*/ 3078480 h 3680460"/>
                  <a:gd name="connsiteX44" fmla="*/ 2476500 w 3018472"/>
                  <a:gd name="connsiteY44" fmla="*/ 3169920 h 3680460"/>
                  <a:gd name="connsiteX45" fmla="*/ 2377440 w 3018472"/>
                  <a:gd name="connsiteY45" fmla="*/ 3223260 h 3680460"/>
                  <a:gd name="connsiteX46" fmla="*/ 2293620 w 3018472"/>
                  <a:gd name="connsiteY46" fmla="*/ 3284220 h 3680460"/>
                  <a:gd name="connsiteX47" fmla="*/ 2240280 w 3018472"/>
                  <a:gd name="connsiteY47" fmla="*/ 3314700 h 3680460"/>
                  <a:gd name="connsiteX48" fmla="*/ 2225040 w 3018472"/>
                  <a:gd name="connsiteY48" fmla="*/ 3337560 h 3680460"/>
                  <a:gd name="connsiteX49" fmla="*/ 2141220 w 3018472"/>
                  <a:gd name="connsiteY49" fmla="*/ 3390900 h 3680460"/>
                  <a:gd name="connsiteX50" fmla="*/ 2110740 w 3018472"/>
                  <a:gd name="connsiteY50" fmla="*/ 3413760 h 3680460"/>
                  <a:gd name="connsiteX51" fmla="*/ 2072640 w 3018472"/>
                  <a:gd name="connsiteY51" fmla="*/ 3451860 h 3680460"/>
                  <a:gd name="connsiteX52" fmla="*/ 2019300 w 3018472"/>
                  <a:gd name="connsiteY52" fmla="*/ 3467100 h 3680460"/>
                  <a:gd name="connsiteX53" fmla="*/ 1874520 w 3018472"/>
                  <a:gd name="connsiteY53" fmla="*/ 3512820 h 3680460"/>
                  <a:gd name="connsiteX54" fmla="*/ 1828800 w 3018472"/>
                  <a:gd name="connsiteY54" fmla="*/ 3520440 h 3680460"/>
                  <a:gd name="connsiteX55" fmla="*/ 1722120 w 3018472"/>
                  <a:gd name="connsiteY55" fmla="*/ 3550920 h 3680460"/>
                  <a:gd name="connsiteX56" fmla="*/ 1600200 w 3018472"/>
                  <a:gd name="connsiteY56" fmla="*/ 3589020 h 3680460"/>
                  <a:gd name="connsiteX57" fmla="*/ 1569720 w 3018472"/>
                  <a:gd name="connsiteY57" fmla="*/ 3596640 h 3680460"/>
                  <a:gd name="connsiteX58" fmla="*/ 1546860 w 3018472"/>
                  <a:gd name="connsiteY58" fmla="*/ 3611880 h 3680460"/>
                  <a:gd name="connsiteX59" fmla="*/ 1463040 w 3018472"/>
                  <a:gd name="connsiteY59" fmla="*/ 3627120 h 3680460"/>
                  <a:gd name="connsiteX60" fmla="*/ 1333500 w 3018472"/>
                  <a:gd name="connsiteY60" fmla="*/ 3657600 h 3680460"/>
                  <a:gd name="connsiteX61" fmla="*/ 1203960 w 3018472"/>
                  <a:gd name="connsiteY61" fmla="*/ 3672840 h 3680460"/>
                  <a:gd name="connsiteX62" fmla="*/ 1165860 w 3018472"/>
                  <a:gd name="connsiteY62" fmla="*/ 3680460 h 3680460"/>
                  <a:gd name="connsiteX63" fmla="*/ 449580 w 3018472"/>
                  <a:gd name="connsiteY63" fmla="*/ 3672840 h 3680460"/>
                  <a:gd name="connsiteX64" fmla="*/ 426720 w 3018472"/>
                  <a:gd name="connsiteY64" fmla="*/ 3665220 h 3680460"/>
                  <a:gd name="connsiteX65" fmla="*/ 388620 w 3018472"/>
                  <a:gd name="connsiteY65" fmla="*/ 3657600 h 3680460"/>
                  <a:gd name="connsiteX66" fmla="*/ 335280 w 3018472"/>
                  <a:gd name="connsiteY66" fmla="*/ 3627120 h 3680460"/>
                  <a:gd name="connsiteX67" fmla="*/ 266700 w 3018472"/>
                  <a:gd name="connsiteY67" fmla="*/ 3604260 h 3680460"/>
                  <a:gd name="connsiteX68" fmla="*/ 243840 w 3018472"/>
                  <a:gd name="connsiteY68" fmla="*/ 3589020 h 3680460"/>
                  <a:gd name="connsiteX69" fmla="*/ 160020 w 3018472"/>
                  <a:gd name="connsiteY69" fmla="*/ 3558540 h 3680460"/>
                  <a:gd name="connsiteX70" fmla="*/ 137160 w 3018472"/>
                  <a:gd name="connsiteY70" fmla="*/ 3535680 h 3680460"/>
                  <a:gd name="connsiteX71" fmla="*/ 99060 w 3018472"/>
                  <a:gd name="connsiteY71" fmla="*/ 3520440 h 3680460"/>
                  <a:gd name="connsiteX72" fmla="*/ 83820 w 3018472"/>
                  <a:gd name="connsiteY72" fmla="*/ 3489960 h 3680460"/>
                  <a:gd name="connsiteX73" fmla="*/ 45720 w 3018472"/>
                  <a:gd name="connsiteY73" fmla="*/ 3436620 h 3680460"/>
                  <a:gd name="connsiteX74" fmla="*/ 0 w 3018472"/>
                  <a:gd name="connsiteY74" fmla="*/ 3352800 h 3680460"/>
                  <a:gd name="connsiteX75" fmla="*/ 30480 w 3018472"/>
                  <a:gd name="connsiteY75" fmla="*/ 3345180 h 3680460"/>
                  <a:gd name="connsiteX76" fmla="*/ 137160 w 3018472"/>
                  <a:gd name="connsiteY76" fmla="*/ 3360420 h 3680460"/>
                  <a:gd name="connsiteX77" fmla="*/ 167640 w 3018472"/>
                  <a:gd name="connsiteY77" fmla="*/ 3390900 h 3680460"/>
                  <a:gd name="connsiteX78" fmla="*/ 198120 w 3018472"/>
                  <a:gd name="connsiteY78" fmla="*/ 3406140 h 3680460"/>
                  <a:gd name="connsiteX79" fmla="*/ 350520 w 3018472"/>
                  <a:gd name="connsiteY79" fmla="*/ 3436620 h 3680460"/>
                  <a:gd name="connsiteX80" fmla="*/ 381000 w 3018472"/>
                  <a:gd name="connsiteY80" fmla="*/ 3451860 h 3680460"/>
                  <a:gd name="connsiteX81" fmla="*/ 449580 w 3018472"/>
                  <a:gd name="connsiteY81" fmla="*/ 3489960 h 3680460"/>
                  <a:gd name="connsiteX82" fmla="*/ 495300 w 3018472"/>
                  <a:gd name="connsiteY82" fmla="*/ 3520440 h 3680460"/>
                  <a:gd name="connsiteX83" fmla="*/ 525780 w 3018472"/>
                  <a:gd name="connsiteY83" fmla="*/ 3535680 h 3680460"/>
                  <a:gd name="connsiteX84" fmla="*/ 731520 w 3018472"/>
                  <a:gd name="connsiteY84" fmla="*/ 3558540 h 3680460"/>
                  <a:gd name="connsiteX85" fmla="*/ 1341120 w 3018472"/>
                  <a:gd name="connsiteY85" fmla="*/ 3550920 h 3680460"/>
                  <a:gd name="connsiteX86" fmla="*/ 1440180 w 3018472"/>
                  <a:gd name="connsiteY86" fmla="*/ 3528060 h 3680460"/>
                  <a:gd name="connsiteX87" fmla="*/ 1539240 w 3018472"/>
                  <a:gd name="connsiteY87" fmla="*/ 3520440 h 3680460"/>
                  <a:gd name="connsiteX88" fmla="*/ 1562100 w 3018472"/>
                  <a:gd name="connsiteY88" fmla="*/ 3512820 h 3680460"/>
                  <a:gd name="connsiteX89" fmla="*/ 1630680 w 3018472"/>
                  <a:gd name="connsiteY89" fmla="*/ 3497580 h 3680460"/>
                  <a:gd name="connsiteX90" fmla="*/ 1699260 w 3018472"/>
                  <a:gd name="connsiteY90" fmla="*/ 3474720 h 3680460"/>
                  <a:gd name="connsiteX91" fmla="*/ 1790700 w 3018472"/>
                  <a:gd name="connsiteY91" fmla="*/ 3451860 h 3680460"/>
                  <a:gd name="connsiteX92" fmla="*/ 1821180 w 3018472"/>
                  <a:gd name="connsiteY92" fmla="*/ 3444240 h 3680460"/>
                  <a:gd name="connsiteX93" fmla="*/ 1844040 w 3018472"/>
                  <a:gd name="connsiteY93" fmla="*/ 3429000 h 3680460"/>
                  <a:gd name="connsiteX94" fmla="*/ 1874520 w 3018472"/>
                  <a:gd name="connsiteY94" fmla="*/ 3421380 h 3680460"/>
                  <a:gd name="connsiteX95" fmla="*/ 1927860 w 3018472"/>
                  <a:gd name="connsiteY95" fmla="*/ 3398520 h 3680460"/>
                  <a:gd name="connsiteX96" fmla="*/ 1950720 w 3018472"/>
                  <a:gd name="connsiteY96" fmla="*/ 3390900 h 3680460"/>
                  <a:gd name="connsiteX97" fmla="*/ 2004060 w 3018472"/>
                  <a:gd name="connsiteY97" fmla="*/ 3360420 h 3680460"/>
                  <a:gd name="connsiteX98" fmla="*/ 2042160 w 3018472"/>
                  <a:gd name="connsiteY98" fmla="*/ 3352800 h 3680460"/>
                  <a:gd name="connsiteX99" fmla="*/ 2080260 w 3018472"/>
                  <a:gd name="connsiteY99" fmla="*/ 3337560 h 3680460"/>
                  <a:gd name="connsiteX100" fmla="*/ 2156460 w 3018472"/>
                  <a:gd name="connsiteY100" fmla="*/ 3299460 h 3680460"/>
                  <a:gd name="connsiteX101" fmla="*/ 2179320 w 3018472"/>
                  <a:gd name="connsiteY101" fmla="*/ 3284220 h 3680460"/>
                  <a:gd name="connsiteX102" fmla="*/ 2209800 w 3018472"/>
                  <a:gd name="connsiteY102" fmla="*/ 3276600 h 3680460"/>
                  <a:gd name="connsiteX103" fmla="*/ 2263140 w 3018472"/>
                  <a:gd name="connsiteY103" fmla="*/ 3230880 h 3680460"/>
                  <a:gd name="connsiteX104" fmla="*/ 2346960 w 3018472"/>
                  <a:gd name="connsiteY104" fmla="*/ 3154680 h 3680460"/>
                  <a:gd name="connsiteX105" fmla="*/ 2400300 w 3018472"/>
                  <a:gd name="connsiteY105" fmla="*/ 3070860 h 3680460"/>
                  <a:gd name="connsiteX106" fmla="*/ 2415540 w 3018472"/>
                  <a:gd name="connsiteY106" fmla="*/ 3048000 h 3680460"/>
                  <a:gd name="connsiteX107" fmla="*/ 2446020 w 3018472"/>
                  <a:gd name="connsiteY107" fmla="*/ 3032760 h 3680460"/>
                  <a:gd name="connsiteX108" fmla="*/ 2468880 w 3018472"/>
                  <a:gd name="connsiteY108" fmla="*/ 3009900 h 3680460"/>
                  <a:gd name="connsiteX109" fmla="*/ 2537460 w 3018472"/>
                  <a:gd name="connsiteY109" fmla="*/ 2926080 h 3680460"/>
                  <a:gd name="connsiteX110" fmla="*/ 2575560 w 3018472"/>
                  <a:gd name="connsiteY110" fmla="*/ 2880360 h 3680460"/>
                  <a:gd name="connsiteX111" fmla="*/ 2628900 w 3018472"/>
                  <a:gd name="connsiteY111" fmla="*/ 2811780 h 3680460"/>
                  <a:gd name="connsiteX112" fmla="*/ 2644140 w 3018472"/>
                  <a:gd name="connsiteY112" fmla="*/ 2773680 h 3680460"/>
                  <a:gd name="connsiteX113" fmla="*/ 2674620 w 3018472"/>
                  <a:gd name="connsiteY113" fmla="*/ 2727960 h 3680460"/>
                  <a:gd name="connsiteX114" fmla="*/ 2689860 w 3018472"/>
                  <a:gd name="connsiteY114" fmla="*/ 2705100 h 3680460"/>
                  <a:gd name="connsiteX115" fmla="*/ 2705100 w 3018472"/>
                  <a:gd name="connsiteY115" fmla="*/ 2667000 h 3680460"/>
                  <a:gd name="connsiteX116" fmla="*/ 2727960 w 3018472"/>
                  <a:gd name="connsiteY116" fmla="*/ 2621280 h 3680460"/>
                  <a:gd name="connsiteX117" fmla="*/ 2735580 w 3018472"/>
                  <a:gd name="connsiteY117" fmla="*/ 2590800 h 3680460"/>
                  <a:gd name="connsiteX118" fmla="*/ 2758440 w 3018472"/>
                  <a:gd name="connsiteY118" fmla="*/ 2545080 h 3680460"/>
                  <a:gd name="connsiteX119" fmla="*/ 2788920 w 3018472"/>
                  <a:gd name="connsiteY119" fmla="*/ 2484120 h 3680460"/>
                  <a:gd name="connsiteX120" fmla="*/ 2811780 w 3018472"/>
                  <a:gd name="connsiteY120" fmla="*/ 2407920 h 3680460"/>
                  <a:gd name="connsiteX121" fmla="*/ 2842260 w 3018472"/>
                  <a:gd name="connsiteY121" fmla="*/ 2324100 h 3680460"/>
                  <a:gd name="connsiteX122" fmla="*/ 2857500 w 3018472"/>
                  <a:gd name="connsiteY122" fmla="*/ 2247900 h 3680460"/>
                  <a:gd name="connsiteX123" fmla="*/ 2872740 w 3018472"/>
                  <a:gd name="connsiteY123" fmla="*/ 2194560 h 3680460"/>
                  <a:gd name="connsiteX124" fmla="*/ 2887980 w 3018472"/>
                  <a:gd name="connsiteY124" fmla="*/ 2148840 h 3680460"/>
                  <a:gd name="connsiteX125" fmla="*/ 2910840 w 3018472"/>
                  <a:gd name="connsiteY125" fmla="*/ 2087880 h 3680460"/>
                  <a:gd name="connsiteX126" fmla="*/ 2918460 w 3018472"/>
                  <a:gd name="connsiteY126" fmla="*/ 2049780 h 3680460"/>
                  <a:gd name="connsiteX127" fmla="*/ 2933700 w 3018472"/>
                  <a:gd name="connsiteY127" fmla="*/ 1844040 h 3680460"/>
                  <a:gd name="connsiteX128" fmla="*/ 2918460 w 3018472"/>
                  <a:gd name="connsiteY128" fmla="*/ 1470660 h 3680460"/>
                  <a:gd name="connsiteX129" fmla="*/ 2895600 w 3018472"/>
                  <a:gd name="connsiteY129" fmla="*/ 1371600 h 3680460"/>
                  <a:gd name="connsiteX130" fmla="*/ 2880360 w 3018472"/>
                  <a:gd name="connsiteY130" fmla="*/ 1341120 h 3680460"/>
                  <a:gd name="connsiteX131" fmla="*/ 2857500 w 3018472"/>
                  <a:gd name="connsiteY131" fmla="*/ 1272540 h 3680460"/>
                  <a:gd name="connsiteX132" fmla="*/ 2849880 w 3018472"/>
                  <a:gd name="connsiteY132" fmla="*/ 1234440 h 3680460"/>
                  <a:gd name="connsiteX133" fmla="*/ 2827020 w 3018472"/>
                  <a:gd name="connsiteY133" fmla="*/ 1196340 h 3680460"/>
                  <a:gd name="connsiteX134" fmla="*/ 2811780 w 3018472"/>
                  <a:gd name="connsiteY134" fmla="*/ 1165860 h 3680460"/>
                  <a:gd name="connsiteX135" fmla="*/ 2781300 w 3018472"/>
                  <a:gd name="connsiteY135" fmla="*/ 1127760 h 3680460"/>
                  <a:gd name="connsiteX136" fmla="*/ 2766060 w 3018472"/>
                  <a:gd name="connsiteY136" fmla="*/ 1089660 h 3680460"/>
                  <a:gd name="connsiteX137" fmla="*/ 2735580 w 3018472"/>
                  <a:gd name="connsiteY137" fmla="*/ 1043940 h 3680460"/>
                  <a:gd name="connsiteX138" fmla="*/ 2727960 w 3018472"/>
                  <a:gd name="connsiteY138" fmla="*/ 1021080 h 3680460"/>
                  <a:gd name="connsiteX139" fmla="*/ 2682240 w 3018472"/>
                  <a:gd name="connsiteY139" fmla="*/ 937260 h 3680460"/>
                  <a:gd name="connsiteX140" fmla="*/ 2659380 w 3018472"/>
                  <a:gd name="connsiteY140" fmla="*/ 876300 h 3680460"/>
                  <a:gd name="connsiteX141" fmla="*/ 2644140 w 3018472"/>
                  <a:gd name="connsiteY141" fmla="*/ 845820 h 3680460"/>
                  <a:gd name="connsiteX142" fmla="*/ 2636520 w 3018472"/>
                  <a:gd name="connsiteY142" fmla="*/ 822960 h 3680460"/>
                  <a:gd name="connsiteX143" fmla="*/ 2621280 w 3018472"/>
                  <a:gd name="connsiteY143" fmla="*/ 800100 h 3680460"/>
                  <a:gd name="connsiteX144" fmla="*/ 2598420 w 3018472"/>
                  <a:gd name="connsiteY144" fmla="*/ 739140 h 3680460"/>
                  <a:gd name="connsiteX145" fmla="*/ 2458403 w 3018472"/>
                  <a:gd name="connsiteY145" fmla="*/ 621983 h 3680460"/>
                  <a:gd name="connsiteX146" fmla="*/ 2301240 w 3018472"/>
                  <a:gd name="connsiteY146" fmla="*/ 458152 h 3680460"/>
                  <a:gd name="connsiteX147" fmla="*/ 2237423 w 3018472"/>
                  <a:gd name="connsiteY147" fmla="*/ 406717 h 3680460"/>
                  <a:gd name="connsiteX148" fmla="*/ 2103120 w 3018472"/>
                  <a:gd name="connsiteY148" fmla="*/ 312420 h 3680460"/>
                  <a:gd name="connsiteX149" fmla="*/ 2042160 w 3018472"/>
                  <a:gd name="connsiteY149" fmla="*/ 266700 h 3680460"/>
                  <a:gd name="connsiteX150" fmla="*/ 2004060 w 3018472"/>
                  <a:gd name="connsiteY150" fmla="*/ 251460 h 3680460"/>
                  <a:gd name="connsiteX151" fmla="*/ 1958340 w 3018472"/>
                  <a:gd name="connsiteY151" fmla="*/ 220980 h 3680460"/>
                  <a:gd name="connsiteX152" fmla="*/ 1897380 w 3018472"/>
                  <a:gd name="connsiteY152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598420 w 3018472"/>
                  <a:gd name="connsiteY41" fmla="*/ 3055620 h 3680460"/>
                  <a:gd name="connsiteX42" fmla="*/ 2575560 w 3018472"/>
                  <a:gd name="connsiteY42" fmla="*/ 3078480 h 3680460"/>
                  <a:gd name="connsiteX43" fmla="*/ 2476500 w 3018472"/>
                  <a:gd name="connsiteY43" fmla="*/ 3169920 h 3680460"/>
                  <a:gd name="connsiteX44" fmla="*/ 2377440 w 3018472"/>
                  <a:gd name="connsiteY44" fmla="*/ 3223260 h 3680460"/>
                  <a:gd name="connsiteX45" fmla="*/ 2293620 w 3018472"/>
                  <a:gd name="connsiteY45" fmla="*/ 3284220 h 3680460"/>
                  <a:gd name="connsiteX46" fmla="*/ 2240280 w 3018472"/>
                  <a:gd name="connsiteY46" fmla="*/ 3314700 h 3680460"/>
                  <a:gd name="connsiteX47" fmla="*/ 2225040 w 3018472"/>
                  <a:gd name="connsiteY47" fmla="*/ 3337560 h 3680460"/>
                  <a:gd name="connsiteX48" fmla="*/ 2141220 w 3018472"/>
                  <a:gd name="connsiteY48" fmla="*/ 3390900 h 3680460"/>
                  <a:gd name="connsiteX49" fmla="*/ 2110740 w 3018472"/>
                  <a:gd name="connsiteY49" fmla="*/ 3413760 h 3680460"/>
                  <a:gd name="connsiteX50" fmla="*/ 2072640 w 3018472"/>
                  <a:gd name="connsiteY50" fmla="*/ 3451860 h 3680460"/>
                  <a:gd name="connsiteX51" fmla="*/ 2019300 w 3018472"/>
                  <a:gd name="connsiteY51" fmla="*/ 3467100 h 3680460"/>
                  <a:gd name="connsiteX52" fmla="*/ 1874520 w 3018472"/>
                  <a:gd name="connsiteY52" fmla="*/ 3512820 h 3680460"/>
                  <a:gd name="connsiteX53" fmla="*/ 1828800 w 3018472"/>
                  <a:gd name="connsiteY53" fmla="*/ 3520440 h 3680460"/>
                  <a:gd name="connsiteX54" fmla="*/ 1722120 w 3018472"/>
                  <a:gd name="connsiteY54" fmla="*/ 3550920 h 3680460"/>
                  <a:gd name="connsiteX55" fmla="*/ 1600200 w 3018472"/>
                  <a:gd name="connsiteY55" fmla="*/ 3589020 h 3680460"/>
                  <a:gd name="connsiteX56" fmla="*/ 1569720 w 3018472"/>
                  <a:gd name="connsiteY56" fmla="*/ 3596640 h 3680460"/>
                  <a:gd name="connsiteX57" fmla="*/ 1546860 w 3018472"/>
                  <a:gd name="connsiteY57" fmla="*/ 3611880 h 3680460"/>
                  <a:gd name="connsiteX58" fmla="*/ 1463040 w 3018472"/>
                  <a:gd name="connsiteY58" fmla="*/ 3627120 h 3680460"/>
                  <a:gd name="connsiteX59" fmla="*/ 1333500 w 3018472"/>
                  <a:gd name="connsiteY59" fmla="*/ 3657600 h 3680460"/>
                  <a:gd name="connsiteX60" fmla="*/ 1203960 w 3018472"/>
                  <a:gd name="connsiteY60" fmla="*/ 3672840 h 3680460"/>
                  <a:gd name="connsiteX61" fmla="*/ 1165860 w 3018472"/>
                  <a:gd name="connsiteY61" fmla="*/ 3680460 h 3680460"/>
                  <a:gd name="connsiteX62" fmla="*/ 449580 w 3018472"/>
                  <a:gd name="connsiteY62" fmla="*/ 3672840 h 3680460"/>
                  <a:gd name="connsiteX63" fmla="*/ 426720 w 3018472"/>
                  <a:gd name="connsiteY63" fmla="*/ 3665220 h 3680460"/>
                  <a:gd name="connsiteX64" fmla="*/ 388620 w 3018472"/>
                  <a:gd name="connsiteY64" fmla="*/ 3657600 h 3680460"/>
                  <a:gd name="connsiteX65" fmla="*/ 335280 w 3018472"/>
                  <a:gd name="connsiteY65" fmla="*/ 3627120 h 3680460"/>
                  <a:gd name="connsiteX66" fmla="*/ 266700 w 3018472"/>
                  <a:gd name="connsiteY66" fmla="*/ 3604260 h 3680460"/>
                  <a:gd name="connsiteX67" fmla="*/ 243840 w 3018472"/>
                  <a:gd name="connsiteY67" fmla="*/ 3589020 h 3680460"/>
                  <a:gd name="connsiteX68" fmla="*/ 160020 w 3018472"/>
                  <a:gd name="connsiteY68" fmla="*/ 3558540 h 3680460"/>
                  <a:gd name="connsiteX69" fmla="*/ 137160 w 3018472"/>
                  <a:gd name="connsiteY69" fmla="*/ 3535680 h 3680460"/>
                  <a:gd name="connsiteX70" fmla="*/ 99060 w 3018472"/>
                  <a:gd name="connsiteY70" fmla="*/ 3520440 h 3680460"/>
                  <a:gd name="connsiteX71" fmla="*/ 83820 w 3018472"/>
                  <a:gd name="connsiteY71" fmla="*/ 3489960 h 3680460"/>
                  <a:gd name="connsiteX72" fmla="*/ 45720 w 3018472"/>
                  <a:gd name="connsiteY72" fmla="*/ 3436620 h 3680460"/>
                  <a:gd name="connsiteX73" fmla="*/ 0 w 3018472"/>
                  <a:gd name="connsiteY73" fmla="*/ 3352800 h 3680460"/>
                  <a:gd name="connsiteX74" fmla="*/ 30480 w 3018472"/>
                  <a:gd name="connsiteY74" fmla="*/ 3345180 h 3680460"/>
                  <a:gd name="connsiteX75" fmla="*/ 137160 w 3018472"/>
                  <a:gd name="connsiteY75" fmla="*/ 3360420 h 3680460"/>
                  <a:gd name="connsiteX76" fmla="*/ 167640 w 3018472"/>
                  <a:gd name="connsiteY76" fmla="*/ 3390900 h 3680460"/>
                  <a:gd name="connsiteX77" fmla="*/ 198120 w 3018472"/>
                  <a:gd name="connsiteY77" fmla="*/ 3406140 h 3680460"/>
                  <a:gd name="connsiteX78" fmla="*/ 350520 w 3018472"/>
                  <a:gd name="connsiteY78" fmla="*/ 3436620 h 3680460"/>
                  <a:gd name="connsiteX79" fmla="*/ 381000 w 3018472"/>
                  <a:gd name="connsiteY79" fmla="*/ 3451860 h 3680460"/>
                  <a:gd name="connsiteX80" fmla="*/ 449580 w 3018472"/>
                  <a:gd name="connsiteY80" fmla="*/ 3489960 h 3680460"/>
                  <a:gd name="connsiteX81" fmla="*/ 495300 w 3018472"/>
                  <a:gd name="connsiteY81" fmla="*/ 3520440 h 3680460"/>
                  <a:gd name="connsiteX82" fmla="*/ 525780 w 3018472"/>
                  <a:gd name="connsiteY82" fmla="*/ 3535680 h 3680460"/>
                  <a:gd name="connsiteX83" fmla="*/ 731520 w 3018472"/>
                  <a:gd name="connsiteY83" fmla="*/ 3558540 h 3680460"/>
                  <a:gd name="connsiteX84" fmla="*/ 1341120 w 3018472"/>
                  <a:gd name="connsiteY84" fmla="*/ 3550920 h 3680460"/>
                  <a:gd name="connsiteX85" fmla="*/ 1440180 w 3018472"/>
                  <a:gd name="connsiteY85" fmla="*/ 3528060 h 3680460"/>
                  <a:gd name="connsiteX86" fmla="*/ 1539240 w 3018472"/>
                  <a:gd name="connsiteY86" fmla="*/ 3520440 h 3680460"/>
                  <a:gd name="connsiteX87" fmla="*/ 1562100 w 3018472"/>
                  <a:gd name="connsiteY87" fmla="*/ 3512820 h 3680460"/>
                  <a:gd name="connsiteX88" fmla="*/ 1630680 w 3018472"/>
                  <a:gd name="connsiteY88" fmla="*/ 3497580 h 3680460"/>
                  <a:gd name="connsiteX89" fmla="*/ 1699260 w 3018472"/>
                  <a:gd name="connsiteY89" fmla="*/ 3474720 h 3680460"/>
                  <a:gd name="connsiteX90" fmla="*/ 1790700 w 3018472"/>
                  <a:gd name="connsiteY90" fmla="*/ 3451860 h 3680460"/>
                  <a:gd name="connsiteX91" fmla="*/ 1821180 w 3018472"/>
                  <a:gd name="connsiteY91" fmla="*/ 3444240 h 3680460"/>
                  <a:gd name="connsiteX92" fmla="*/ 1844040 w 3018472"/>
                  <a:gd name="connsiteY92" fmla="*/ 3429000 h 3680460"/>
                  <a:gd name="connsiteX93" fmla="*/ 1874520 w 3018472"/>
                  <a:gd name="connsiteY93" fmla="*/ 3421380 h 3680460"/>
                  <a:gd name="connsiteX94" fmla="*/ 1927860 w 3018472"/>
                  <a:gd name="connsiteY94" fmla="*/ 3398520 h 3680460"/>
                  <a:gd name="connsiteX95" fmla="*/ 1950720 w 3018472"/>
                  <a:gd name="connsiteY95" fmla="*/ 3390900 h 3680460"/>
                  <a:gd name="connsiteX96" fmla="*/ 2004060 w 3018472"/>
                  <a:gd name="connsiteY96" fmla="*/ 3360420 h 3680460"/>
                  <a:gd name="connsiteX97" fmla="*/ 2042160 w 3018472"/>
                  <a:gd name="connsiteY97" fmla="*/ 3352800 h 3680460"/>
                  <a:gd name="connsiteX98" fmla="*/ 2080260 w 3018472"/>
                  <a:gd name="connsiteY98" fmla="*/ 3337560 h 3680460"/>
                  <a:gd name="connsiteX99" fmla="*/ 2156460 w 3018472"/>
                  <a:gd name="connsiteY99" fmla="*/ 3299460 h 3680460"/>
                  <a:gd name="connsiteX100" fmla="*/ 2179320 w 3018472"/>
                  <a:gd name="connsiteY100" fmla="*/ 3284220 h 3680460"/>
                  <a:gd name="connsiteX101" fmla="*/ 2209800 w 3018472"/>
                  <a:gd name="connsiteY101" fmla="*/ 3276600 h 3680460"/>
                  <a:gd name="connsiteX102" fmla="*/ 2263140 w 3018472"/>
                  <a:gd name="connsiteY102" fmla="*/ 3230880 h 3680460"/>
                  <a:gd name="connsiteX103" fmla="*/ 2346960 w 3018472"/>
                  <a:gd name="connsiteY103" fmla="*/ 3154680 h 3680460"/>
                  <a:gd name="connsiteX104" fmla="*/ 2400300 w 3018472"/>
                  <a:gd name="connsiteY104" fmla="*/ 3070860 h 3680460"/>
                  <a:gd name="connsiteX105" fmla="*/ 2415540 w 3018472"/>
                  <a:gd name="connsiteY105" fmla="*/ 3048000 h 3680460"/>
                  <a:gd name="connsiteX106" fmla="*/ 2446020 w 3018472"/>
                  <a:gd name="connsiteY106" fmla="*/ 3032760 h 3680460"/>
                  <a:gd name="connsiteX107" fmla="*/ 2468880 w 3018472"/>
                  <a:gd name="connsiteY107" fmla="*/ 3009900 h 3680460"/>
                  <a:gd name="connsiteX108" fmla="*/ 2537460 w 3018472"/>
                  <a:gd name="connsiteY108" fmla="*/ 2926080 h 3680460"/>
                  <a:gd name="connsiteX109" fmla="*/ 2575560 w 3018472"/>
                  <a:gd name="connsiteY109" fmla="*/ 2880360 h 3680460"/>
                  <a:gd name="connsiteX110" fmla="*/ 2628900 w 3018472"/>
                  <a:gd name="connsiteY110" fmla="*/ 2811780 h 3680460"/>
                  <a:gd name="connsiteX111" fmla="*/ 2644140 w 3018472"/>
                  <a:gd name="connsiteY111" fmla="*/ 2773680 h 3680460"/>
                  <a:gd name="connsiteX112" fmla="*/ 2674620 w 3018472"/>
                  <a:gd name="connsiteY112" fmla="*/ 2727960 h 3680460"/>
                  <a:gd name="connsiteX113" fmla="*/ 2689860 w 3018472"/>
                  <a:gd name="connsiteY113" fmla="*/ 2705100 h 3680460"/>
                  <a:gd name="connsiteX114" fmla="*/ 2705100 w 3018472"/>
                  <a:gd name="connsiteY114" fmla="*/ 2667000 h 3680460"/>
                  <a:gd name="connsiteX115" fmla="*/ 2727960 w 3018472"/>
                  <a:gd name="connsiteY115" fmla="*/ 2621280 h 3680460"/>
                  <a:gd name="connsiteX116" fmla="*/ 2735580 w 3018472"/>
                  <a:gd name="connsiteY116" fmla="*/ 2590800 h 3680460"/>
                  <a:gd name="connsiteX117" fmla="*/ 2758440 w 3018472"/>
                  <a:gd name="connsiteY117" fmla="*/ 2545080 h 3680460"/>
                  <a:gd name="connsiteX118" fmla="*/ 2788920 w 3018472"/>
                  <a:gd name="connsiteY118" fmla="*/ 2484120 h 3680460"/>
                  <a:gd name="connsiteX119" fmla="*/ 2811780 w 3018472"/>
                  <a:gd name="connsiteY119" fmla="*/ 2407920 h 3680460"/>
                  <a:gd name="connsiteX120" fmla="*/ 2842260 w 3018472"/>
                  <a:gd name="connsiteY120" fmla="*/ 2324100 h 3680460"/>
                  <a:gd name="connsiteX121" fmla="*/ 2857500 w 3018472"/>
                  <a:gd name="connsiteY121" fmla="*/ 2247900 h 3680460"/>
                  <a:gd name="connsiteX122" fmla="*/ 2872740 w 3018472"/>
                  <a:gd name="connsiteY122" fmla="*/ 2194560 h 3680460"/>
                  <a:gd name="connsiteX123" fmla="*/ 2887980 w 3018472"/>
                  <a:gd name="connsiteY123" fmla="*/ 2148840 h 3680460"/>
                  <a:gd name="connsiteX124" fmla="*/ 2910840 w 3018472"/>
                  <a:gd name="connsiteY124" fmla="*/ 2087880 h 3680460"/>
                  <a:gd name="connsiteX125" fmla="*/ 2918460 w 3018472"/>
                  <a:gd name="connsiteY125" fmla="*/ 2049780 h 3680460"/>
                  <a:gd name="connsiteX126" fmla="*/ 2933700 w 3018472"/>
                  <a:gd name="connsiteY126" fmla="*/ 1844040 h 3680460"/>
                  <a:gd name="connsiteX127" fmla="*/ 2918460 w 3018472"/>
                  <a:gd name="connsiteY127" fmla="*/ 1470660 h 3680460"/>
                  <a:gd name="connsiteX128" fmla="*/ 2895600 w 3018472"/>
                  <a:gd name="connsiteY128" fmla="*/ 1371600 h 3680460"/>
                  <a:gd name="connsiteX129" fmla="*/ 2880360 w 3018472"/>
                  <a:gd name="connsiteY129" fmla="*/ 1341120 h 3680460"/>
                  <a:gd name="connsiteX130" fmla="*/ 2857500 w 3018472"/>
                  <a:gd name="connsiteY130" fmla="*/ 1272540 h 3680460"/>
                  <a:gd name="connsiteX131" fmla="*/ 2849880 w 3018472"/>
                  <a:gd name="connsiteY131" fmla="*/ 1234440 h 3680460"/>
                  <a:gd name="connsiteX132" fmla="*/ 2827020 w 3018472"/>
                  <a:gd name="connsiteY132" fmla="*/ 1196340 h 3680460"/>
                  <a:gd name="connsiteX133" fmla="*/ 2811780 w 3018472"/>
                  <a:gd name="connsiteY133" fmla="*/ 1165860 h 3680460"/>
                  <a:gd name="connsiteX134" fmla="*/ 2781300 w 3018472"/>
                  <a:gd name="connsiteY134" fmla="*/ 1127760 h 3680460"/>
                  <a:gd name="connsiteX135" fmla="*/ 2766060 w 3018472"/>
                  <a:gd name="connsiteY135" fmla="*/ 1089660 h 3680460"/>
                  <a:gd name="connsiteX136" fmla="*/ 2735580 w 3018472"/>
                  <a:gd name="connsiteY136" fmla="*/ 1043940 h 3680460"/>
                  <a:gd name="connsiteX137" fmla="*/ 2727960 w 3018472"/>
                  <a:gd name="connsiteY137" fmla="*/ 1021080 h 3680460"/>
                  <a:gd name="connsiteX138" fmla="*/ 2682240 w 3018472"/>
                  <a:gd name="connsiteY138" fmla="*/ 937260 h 3680460"/>
                  <a:gd name="connsiteX139" fmla="*/ 2659380 w 3018472"/>
                  <a:gd name="connsiteY139" fmla="*/ 876300 h 3680460"/>
                  <a:gd name="connsiteX140" fmla="*/ 2644140 w 3018472"/>
                  <a:gd name="connsiteY140" fmla="*/ 845820 h 3680460"/>
                  <a:gd name="connsiteX141" fmla="*/ 2636520 w 3018472"/>
                  <a:gd name="connsiteY141" fmla="*/ 822960 h 3680460"/>
                  <a:gd name="connsiteX142" fmla="*/ 2621280 w 3018472"/>
                  <a:gd name="connsiteY142" fmla="*/ 800100 h 3680460"/>
                  <a:gd name="connsiteX143" fmla="*/ 2598420 w 3018472"/>
                  <a:gd name="connsiteY143" fmla="*/ 739140 h 3680460"/>
                  <a:gd name="connsiteX144" fmla="*/ 2458403 w 3018472"/>
                  <a:gd name="connsiteY144" fmla="*/ 621983 h 3680460"/>
                  <a:gd name="connsiteX145" fmla="*/ 2301240 w 3018472"/>
                  <a:gd name="connsiteY145" fmla="*/ 458152 h 3680460"/>
                  <a:gd name="connsiteX146" fmla="*/ 2237423 w 3018472"/>
                  <a:gd name="connsiteY146" fmla="*/ 406717 h 3680460"/>
                  <a:gd name="connsiteX147" fmla="*/ 2103120 w 3018472"/>
                  <a:gd name="connsiteY147" fmla="*/ 312420 h 3680460"/>
                  <a:gd name="connsiteX148" fmla="*/ 2042160 w 3018472"/>
                  <a:gd name="connsiteY148" fmla="*/ 266700 h 3680460"/>
                  <a:gd name="connsiteX149" fmla="*/ 2004060 w 3018472"/>
                  <a:gd name="connsiteY149" fmla="*/ 251460 h 3680460"/>
                  <a:gd name="connsiteX150" fmla="*/ 1958340 w 3018472"/>
                  <a:gd name="connsiteY150" fmla="*/ 220980 h 3680460"/>
                  <a:gd name="connsiteX151" fmla="*/ 1897380 w 3018472"/>
                  <a:gd name="connsiteY151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575560 w 3018472"/>
                  <a:gd name="connsiteY41" fmla="*/ 3078480 h 3680460"/>
                  <a:gd name="connsiteX42" fmla="*/ 2476500 w 3018472"/>
                  <a:gd name="connsiteY42" fmla="*/ 3169920 h 3680460"/>
                  <a:gd name="connsiteX43" fmla="*/ 2377440 w 3018472"/>
                  <a:gd name="connsiteY43" fmla="*/ 3223260 h 3680460"/>
                  <a:gd name="connsiteX44" fmla="*/ 2293620 w 3018472"/>
                  <a:gd name="connsiteY44" fmla="*/ 3284220 h 3680460"/>
                  <a:gd name="connsiteX45" fmla="*/ 2240280 w 3018472"/>
                  <a:gd name="connsiteY45" fmla="*/ 3314700 h 3680460"/>
                  <a:gd name="connsiteX46" fmla="*/ 2225040 w 3018472"/>
                  <a:gd name="connsiteY46" fmla="*/ 3337560 h 3680460"/>
                  <a:gd name="connsiteX47" fmla="*/ 2141220 w 3018472"/>
                  <a:gd name="connsiteY47" fmla="*/ 3390900 h 3680460"/>
                  <a:gd name="connsiteX48" fmla="*/ 2110740 w 3018472"/>
                  <a:gd name="connsiteY48" fmla="*/ 3413760 h 3680460"/>
                  <a:gd name="connsiteX49" fmla="*/ 2072640 w 3018472"/>
                  <a:gd name="connsiteY49" fmla="*/ 3451860 h 3680460"/>
                  <a:gd name="connsiteX50" fmla="*/ 2019300 w 3018472"/>
                  <a:gd name="connsiteY50" fmla="*/ 3467100 h 3680460"/>
                  <a:gd name="connsiteX51" fmla="*/ 1874520 w 3018472"/>
                  <a:gd name="connsiteY51" fmla="*/ 3512820 h 3680460"/>
                  <a:gd name="connsiteX52" fmla="*/ 1828800 w 3018472"/>
                  <a:gd name="connsiteY52" fmla="*/ 3520440 h 3680460"/>
                  <a:gd name="connsiteX53" fmla="*/ 1722120 w 3018472"/>
                  <a:gd name="connsiteY53" fmla="*/ 3550920 h 3680460"/>
                  <a:gd name="connsiteX54" fmla="*/ 1600200 w 3018472"/>
                  <a:gd name="connsiteY54" fmla="*/ 3589020 h 3680460"/>
                  <a:gd name="connsiteX55" fmla="*/ 1569720 w 3018472"/>
                  <a:gd name="connsiteY55" fmla="*/ 3596640 h 3680460"/>
                  <a:gd name="connsiteX56" fmla="*/ 1546860 w 3018472"/>
                  <a:gd name="connsiteY56" fmla="*/ 3611880 h 3680460"/>
                  <a:gd name="connsiteX57" fmla="*/ 1463040 w 3018472"/>
                  <a:gd name="connsiteY57" fmla="*/ 3627120 h 3680460"/>
                  <a:gd name="connsiteX58" fmla="*/ 1333500 w 3018472"/>
                  <a:gd name="connsiteY58" fmla="*/ 3657600 h 3680460"/>
                  <a:gd name="connsiteX59" fmla="*/ 1203960 w 3018472"/>
                  <a:gd name="connsiteY59" fmla="*/ 3672840 h 3680460"/>
                  <a:gd name="connsiteX60" fmla="*/ 1165860 w 3018472"/>
                  <a:gd name="connsiteY60" fmla="*/ 3680460 h 3680460"/>
                  <a:gd name="connsiteX61" fmla="*/ 449580 w 3018472"/>
                  <a:gd name="connsiteY61" fmla="*/ 3672840 h 3680460"/>
                  <a:gd name="connsiteX62" fmla="*/ 426720 w 3018472"/>
                  <a:gd name="connsiteY62" fmla="*/ 3665220 h 3680460"/>
                  <a:gd name="connsiteX63" fmla="*/ 388620 w 3018472"/>
                  <a:gd name="connsiteY63" fmla="*/ 3657600 h 3680460"/>
                  <a:gd name="connsiteX64" fmla="*/ 335280 w 3018472"/>
                  <a:gd name="connsiteY64" fmla="*/ 3627120 h 3680460"/>
                  <a:gd name="connsiteX65" fmla="*/ 266700 w 3018472"/>
                  <a:gd name="connsiteY65" fmla="*/ 3604260 h 3680460"/>
                  <a:gd name="connsiteX66" fmla="*/ 243840 w 3018472"/>
                  <a:gd name="connsiteY66" fmla="*/ 3589020 h 3680460"/>
                  <a:gd name="connsiteX67" fmla="*/ 160020 w 3018472"/>
                  <a:gd name="connsiteY67" fmla="*/ 3558540 h 3680460"/>
                  <a:gd name="connsiteX68" fmla="*/ 137160 w 3018472"/>
                  <a:gd name="connsiteY68" fmla="*/ 3535680 h 3680460"/>
                  <a:gd name="connsiteX69" fmla="*/ 99060 w 3018472"/>
                  <a:gd name="connsiteY69" fmla="*/ 3520440 h 3680460"/>
                  <a:gd name="connsiteX70" fmla="*/ 83820 w 3018472"/>
                  <a:gd name="connsiteY70" fmla="*/ 3489960 h 3680460"/>
                  <a:gd name="connsiteX71" fmla="*/ 45720 w 3018472"/>
                  <a:gd name="connsiteY71" fmla="*/ 3436620 h 3680460"/>
                  <a:gd name="connsiteX72" fmla="*/ 0 w 3018472"/>
                  <a:gd name="connsiteY72" fmla="*/ 3352800 h 3680460"/>
                  <a:gd name="connsiteX73" fmla="*/ 30480 w 3018472"/>
                  <a:gd name="connsiteY73" fmla="*/ 3345180 h 3680460"/>
                  <a:gd name="connsiteX74" fmla="*/ 137160 w 3018472"/>
                  <a:gd name="connsiteY74" fmla="*/ 3360420 h 3680460"/>
                  <a:gd name="connsiteX75" fmla="*/ 167640 w 3018472"/>
                  <a:gd name="connsiteY75" fmla="*/ 3390900 h 3680460"/>
                  <a:gd name="connsiteX76" fmla="*/ 198120 w 3018472"/>
                  <a:gd name="connsiteY76" fmla="*/ 3406140 h 3680460"/>
                  <a:gd name="connsiteX77" fmla="*/ 350520 w 3018472"/>
                  <a:gd name="connsiteY77" fmla="*/ 3436620 h 3680460"/>
                  <a:gd name="connsiteX78" fmla="*/ 381000 w 3018472"/>
                  <a:gd name="connsiteY78" fmla="*/ 3451860 h 3680460"/>
                  <a:gd name="connsiteX79" fmla="*/ 449580 w 3018472"/>
                  <a:gd name="connsiteY79" fmla="*/ 3489960 h 3680460"/>
                  <a:gd name="connsiteX80" fmla="*/ 495300 w 3018472"/>
                  <a:gd name="connsiteY80" fmla="*/ 3520440 h 3680460"/>
                  <a:gd name="connsiteX81" fmla="*/ 525780 w 3018472"/>
                  <a:gd name="connsiteY81" fmla="*/ 3535680 h 3680460"/>
                  <a:gd name="connsiteX82" fmla="*/ 731520 w 3018472"/>
                  <a:gd name="connsiteY82" fmla="*/ 3558540 h 3680460"/>
                  <a:gd name="connsiteX83" fmla="*/ 1341120 w 3018472"/>
                  <a:gd name="connsiteY83" fmla="*/ 3550920 h 3680460"/>
                  <a:gd name="connsiteX84" fmla="*/ 1440180 w 3018472"/>
                  <a:gd name="connsiteY84" fmla="*/ 3528060 h 3680460"/>
                  <a:gd name="connsiteX85" fmla="*/ 1539240 w 3018472"/>
                  <a:gd name="connsiteY85" fmla="*/ 3520440 h 3680460"/>
                  <a:gd name="connsiteX86" fmla="*/ 1562100 w 3018472"/>
                  <a:gd name="connsiteY86" fmla="*/ 3512820 h 3680460"/>
                  <a:gd name="connsiteX87" fmla="*/ 1630680 w 3018472"/>
                  <a:gd name="connsiteY87" fmla="*/ 3497580 h 3680460"/>
                  <a:gd name="connsiteX88" fmla="*/ 1699260 w 3018472"/>
                  <a:gd name="connsiteY88" fmla="*/ 3474720 h 3680460"/>
                  <a:gd name="connsiteX89" fmla="*/ 1790700 w 3018472"/>
                  <a:gd name="connsiteY89" fmla="*/ 3451860 h 3680460"/>
                  <a:gd name="connsiteX90" fmla="*/ 1821180 w 3018472"/>
                  <a:gd name="connsiteY90" fmla="*/ 3444240 h 3680460"/>
                  <a:gd name="connsiteX91" fmla="*/ 1844040 w 3018472"/>
                  <a:gd name="connsiteY91" fmla="*/ 3429000 h 3680460"/>
                  <a:gd name="connsiteX92" fmla="*/ 1874520 w 3018472"/>
                  <a:gd name="connsiteY92" fmla="*/ 3421380 h 3680460"/>
                  <a:gd name="connsiteX93" fmla="*/ 1927860 w 3018472"/>
                  <a:gd name="connsiteY93" fmla="*/ 3398520 h 3680460"/>
                  <a:gd name="connsiteX94" fmla="*/ 1950720 w 3018472"/>
                  <a:gd name="connsiteY94" fmla="*/ 3390900 h 3680460"/>
                  <a:gd name="connsiteX95" fmla="*/ 2004060 w 3018472"/>
                  <a:gd name="connsiteY95" fmla="*/ 3360420 h 3680460"/>
                  <a:gd name="connsiteX96" fmla="*/ 2042160 w 3018472"/>
                  <a:gd name="connsiteY96" fmla="*/ 3352800 h 3680460"/>
                  <a:gd name="connsiteX97" fmla="*/ 2080260 w 3018472"/>
                  <a:gd name="connsiteY97" fmla="*/ 3337560 h 3680460"/>
                  <a:gd name="connsiteX98" fmla="*/ 2156460 w 3018472"/>
                  <a:gd name="connsiteY98" fmla="*/ 3299460 h 3680460"/>
                  <a:gd name="connsiteX99" fmla="*/ 2179320 w 3018472"/>
                  <a:gd name="connsiteY99" fmla="*/ 3284220 h 3680460"/>
                  <a:gd name="connsiteX100" fmla="*/ 2209800 w 3018472"/>
                  <a:gd name="connsiteY100" fmla="*/ 3276600 h 3680460"/>
                  <a:gd name="connsiteX101" fmla="*/ 2263140 w 3018472"/>
                  <a:gd name="connsiteY101" fmla="*/ 3230880 h 3680460"/>
                  <a:gd name="connsiteX102" fmla="*/ 2346960 w 3018472"/>
                  <a:gd name="connsiteY102" fmla="*/ 3154680 h 3680460"/>
                  <a:gd name="connsiteX103" fmla="*/ 2400300 w 3018472"/>
                  <a:gd name="connsiteY103" fmla="*/ 3070860 h 3680460"/>
                  <a:gd name="connsiteX104" fmla="*/ 2415540 w 3018472"/>
                  <a:gd name="connsiteY104" fmla="*/ 3048000 h 3680460"/>
                  <a:gd name="connsiteX105" fmla="*/ 2446020 w 3018472"/>
                  <a:gd name="connsiteY105" fmla="*/ 3032760 h 3680460"/>
                  <a:gd name="connsiteX106" fmla="*/ 2468880 w 3018472"/>
                  <a:gd name="connsiteY106" fmla="*/ 3009900 h 3680460"/>
                  <a:gd name="connsiteX107" fmla="*/ 2537460 w 3018472"/>
                  <a:gd name="connsiteY107" fmla="*/ 2926080 h 3680460"/>
                  <a:gd name="connsiteX108" fmla="*/ 2575560 w 3018472"/>
                  <a:gd name="connsiteY108" fmla="*/ 2880360 h 3680460"/>
                  <a:gd name="connsiteX109" fmla="*/ 2628900 w 3018472"/>
                  <a:gd name="connsiteY109" fmla="*/ 2811780 h 3680460"/>
                  <a:gd name="connsiteX110" fmla="*/ 2644140 w 3018472"/>
                  <a:gd name="connsiteY110" fmla="*/ 2773680 h 3680460"/>
                  <a:gd name="connsiteX111" fmla="*/ 2674620 w 3018472"/>
                  <a:gd name="connsiteY111" fmla="*/ 2727960 h 3680460"/>
                  <a:gd name="connsiteX112" fmla="*/ 2689860 w 3018472"/>
                  <a:gd name="connsiteY112" fmla="*/ 2705100 h 3680460"/>
                  <a:gd name="connsiteX113" fmla="*/ 2705100 w 3018472"/>
                  <a:gd name="connsiteY113" fmla="*/ 2667000 h 3680460"/>
                  <a:gd name="connsiteX114" fmla="*/ 2727960 w 3018472"/>
                  <a:gd name="connsiteY114" fmla="*/ 2621280 h 3680460"/>
                  <a:gd name="connsiteX115" fmla="*/ 2735580 w 3018472"/>
                  <a:gd name="connsiteY115" fmla="*/ 2590800 h 3680460"/>
                  <a:gd name="connsiteX116" fmla="*/ 2758440 w 3018472"/>
                  <a:gd name="connsiteY116" fmla="*/ 2545080 h 3680460"/>
                  <a:gd name="connsiteX117" fmla="*/ 2788920 w 3018472"/>
                  <a:gd name="connsiteY117" fmla="*/ 2484120 h 3680460"/>
                  <a:gd name="connsiteX118" fmla="*/ 2811780 w 3018472"/>
                  <a:gd name="connsiteY118" fmla="*/ 2407920 h 3680460"/>
                  <a:gd name="connsiteX119" fmla="*/ 2842260 w 3018472"/>
                  <a:gd name="connsiteY119" fmla="*/ 2324100 h 3680460"/>
                  <a:gd name="connsiteX120" fmla="*/ 2857500 w 3018472"/>
                  <a:gd name="connsiteY120" fmla="*/ 2247900 h 3680460"/>
                  <a:gd name="connsiteX121" fmla="*/ 2872740 w 3018472"/>
                  <a:gd name="connsiteY121" fmla="*/ 2194560 h 3680460"/>
                  <a:gd name="connsiteX122" fmla="*/ 2887980 w 3018472"/>
                  <a:gd name="connsiteY122" fmla="*/ 2148840 h 3680460"/>
                  <a:gd name="connsiteX123" fmla="*/ 2910840 w 3018472"/>
                  <a:gd name="connsiteY123" fmla="*/ 2087880 h 3680460"/>
                  <a:gd name="connsiteX124" fmla="*/ 2918460 w 3018472"/>
                  <a:gd name="connsiteY124" fmla="*/ 2049780 h 3680460"/>
                  <a:gd name="connsiteX125" fmla="*/ 2933700 w 3018472"/>
                  <a:gd name="connsiteY125" fmla="*/ 1844040 h 3680460"/>
                  <a:gd name="connsiteX126" fmla="*/ 2918460 w 3018472"/>
                  <a:gd name="connsiteY126" fmla="*/ 1470660 h 3680460"/>
                  <a:gd name="connsiteX127" fmla="*/ 2895600 w 3018472"/>
                  <a:gd name="connsiteY127" fmla="*/ 1371600 h 3680460"/>
                  <a:gd name="connsiteX128" fmla="*/ 2880360 w 3018472"/>
                  <a:gd name="connsiteY128" fmla="*/ 1341120 h 3680460"/>
                  <a:gd name="connsiteX129" fmla="*/ 2857500 w 3018472"/>
                  <a:gd name="connsiteY129" fmla="*/ 1272540 h 3680460"/>
                  <a:gd name="connsiteX130" fmla="*/ 2849880 w 3018472"/>
                  <a:gd name="connsiteY130" fmla="*/ 1234440 h 3680460"/>
                  <a:gd name="connsiteX131" fmla="*/ 2827020 w 3018472"/>
                  <a:gd name="connsiteY131" fmla="*/ 1196340 h 3680460"/>
                  <a:gd name="connsiteX132" fmla="*/ 2811780 w 3018472"/>
                  <a:gd name="connsiteY132" fmla="*/ 1165860 h 3680460"/>
                  <a:gd name="connsiteX133" fmla="*/ 2781300 w 3018472"/>
                  <a:gd name="connsiteY133" fmla="*/ 1127760 h 3680460"/>
                  <a:gd name="connsiteX134" fmla="*/ 2766060 w 3018472"/>
                  <a:gd name="connsiteY134" fmla="*/ 1089660 h 3680460"/>
                  <a:gd name="connsiteX135" fmla="*/ 2735580 w 3018472"/>
                  <a:gd name="connsiteY135" fmla="*/ 1043940 h 3680460"/>
                  <a:gd name="connsiteX136" fmla="*/ 2727960 w 3018472"/>
                  <a:gd name="connsiteY136" fmla="*/ 1021080 h 3680460"/>
                  <a:gd name="connsiteX137" fmla="*/ 2682240 w 3018472"/>
                  <a:gd name="connsiteY137" fmla="*/ 937260 h 3680460"/>
                  <a:gd name="connsiteX138" fmla="*/ 2659380 w 3018472"/>
                  <a:gd name="connsiteY138" fmla="*/ 876300 h 3680460"/>
                  <a:gd name="connsiteX139" fmla="*/ 2644140 w 3018472"/>
                  <a:gd name="connsiteY139" fmla="*/ 845820 h 3680460"/>
                  <a:gd name="connsiteX140" fmla="*/ 2636520 w 3018472"/>
                  <a:gd name="connsiteY140" fmla="*/ 822960 h 3680460"/>
                  <a:gd name="connsiteX141" fmla="*/ 2621280 w 3018472"/>
                  <a:gd name="connsiteY141" fmla="*/ 800100 h 3680460"/>
                  <a:gd name="connsiteX142" fmla="*/ 2598420 w 3018472"/>
                  <a:gd name="connsiteY142" fmla="*/ 739140 h 3680460"/>
                  <a:gd name="connsiteX143" fmla="*/ 2458403 w 3018472"/>
                  <a:gd name="connsiteY143" fmla="*/ 621983 h 3680460"/>
                  <a:gd name="connsiteX144" fmla="*/ 2301240 w 3018472"/>
                  <a:gd name="connsiteY144" fmla="*/ 458152 h 3680460"/>
                  <a:gd name="connsiteX145" fmla="*/ 2237423 w 3018472"/>
                  <a:gd name="connsiteY145" fmla="*/ 406717 h 3680460"/>
                  <a:gd name="connsiteX146" fmla="*/ 2103120 w 3018472"/>
                  <a:gd name="connsiteY146" fmla="*/ 312420 h 3680460"/>
                  <a:gd name="connsiteX147" fmla="*/ 2042160 w 3018472"/>
                  <a:gd name="connsiteY147" fmla="*/ 266700 h 3680460"/>
                  <a:gd name="connsiteX148" fmla="*/ 2004060 w 3018472"/>
                  <a:gd name="connsiteY148" fmla="*/ 251460 h 3680460"/>
                  <a:gd name="connsiteX149" fmla="*/ 1958340 w 3018472"/>
                  <a:gd name="connsiteY149" fmla="*/ 220980 h 3680460"/>
                  <a:gd name="connsiteX150" fmla="*/ 1897380 w 3018472"/>
                  <a:gd name="connsiteY150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712720 w 3018472"/>
                  <a:gd name="connsiteY40" fmla="*/ 2903220 h 3680460"/>
                  <a:gd name="connsiteX41" fmla="*/ 2476500 w 3018472"/>
                  <a:gd name="connsiteY41" fmla="*/ 3169920 h 3680460"/>
                  <a:gd name="connsiteX42" fmla="*/ 2377440 w 3018472"/>
                  <a:gd name="connsiteY42" fmla="*/ 3223260 h 3680460"/>
                  <a:gd name="connsiteX43" fmla="*/ 2293620 w 3018472"/>
                  <a:gd name="connsiteY43" fmla="*/ 3284220 h 3680460"/>
                  <a:gd name="connsiteX44" fmla="*/ 2240280 w 3018472"/>
                  <a:gd name="connsiteY44" fmla="*/ 3314700 h 3680460"/>
                  <a:gd name="connsiteX45" fmla="*/ 2225040 w 3018472"/>
                  <a:gd name="connsiteY45" fmla="*/ 3337560 h 3680460"/>
                  <a:gd name="connsiteX46" fmla="*/ 2141220 w 3018472"/>
                  <a:gd name="connsiteY46" fmla="*/ 3390900 h 3680460"/>
                  <a:gd name="connsiteX47" fmla="*/ 2110740 w 3018472"/>
                  <a:gd name="connsiteY47" fmla="*/ 3413760 h 3680460"/>
                  <a:gd name="connsiteX48" fmla="*/ 2072640 w 3018472"/>
                  <a:gd name="connsiteY48" fmla="*/ 3451860 h 3680460"/>
                  <a:gd name="connsiteX49" fmla="*/ 2019300 w 3018472"/>
                  <a:gd name="connsiteY49" fmla="*/ 3467100 h 3680460"/>
                  <a:gd name="connsiteX50" fmla="*/ 1874520 w 3018472"/>
                  <a:gd name="connsiteY50" fmla="*/ 3512820 h 3680460"/>
                  <a:gd name="connsiteX51" fmla="*/ 1828800 w 3018472"/>
                  <a:gd name="connsiteY51" fmla="*/ 3520440 h 3680460"/>
                  <a:gd name="connsiteX52" fmla="*/ 1722120 w 3018472"/>
                  <a:gd name="connsiteY52" fmla="*/ 3550920 h 3680460"/>
                  <a:gd name="connsiteX53" fmla="*/ 1600200 w 3018472"/>
                  <a:gd name="connsiteY53" fmla="*/ 3589020 h 3680460"/>
                  <a:gd name="connsiteX54" fmla="*/ 1569720 w 3018472"/>
                  <a:gd name="connsiteY54" fmla="*/ 3596640 h 3680460"/>
                  <a:gd name="connsiteX55" fmla="*/ 1546860 w 3018472"/>
                  <a:gd name="connsiteY55" fmla="*/ 3611880 h 3680460"/>
                  <a:gd name="connsiteX56" fmla="*/ 1463040 w 3018472"/>
                  <a:gd name="connsiteY56" fmla="*/ 3627120 h 3680460"/>
                  <a:gd name="connsiteX57" fmla="*/ 1333500 w 3018472"/>
                  <a:gd name="connsiteY57" fmla="*/ 3657600 h 3680460"/>
                  <a:gd name="connsiteX58" fmla="*/ 1203960 w 3018472"/>
                  <a:gd name="connsiteY58" fmla="*/ 3672840 h 3680460"/>
                  <a:gd name="connsiteX59" fmla="*/ 1165860 w 3018472"/>
                  <a:gd name="connsiteY59" fmla="*/ 3680460 h 3680460"/>
                  <a:gd name="connsiteX60" fmla="*/ 449580 w 3018472"/>
                  <a:gd name="connsiteY60" fmla="*/ 3672840 h 3680460"/>
                  <a:gd name="connsiteX61" fmla="*/ 426720 w 3018472"/>
                  <a:gd name="connsiteY61" fmla="*/ 3665220 h 3680460"/>
                  <a:gd name="connsiteX62" fmla="*/ 388620 w 3018472"/>
                  <a:gd name="connsiteY62" fmla="*/ 3657600 h 3680460"/>
                  <a:gd name="connsiteX63" fmla="*/ 335280 w 3018472"/>
                  <a:gd name="connsiteY63" fmla="*/ 3627120 h 3680460"/>
                  <a:gd name="connsiteX64" fmla="*/ 266700 w 3018472"/>
                  <a:gd name="connsiteY64" fmla="*/ 3604260 h 3680460"/>
                  <a:gd name="connsiteX65" fmla="*/ 243840 w 3018472"/>
                  <a:gd name="connsiteY65" fmla="*/ 3589020 h 3680460"/>
                  <a:gd name="connsiteX66" fmla="*/ 160020 w 3018472"/>
                  <a:gd name="connsiteY66" fmla="*/ 3558540 h 3680460"/>
                  <a:gd name="connsiteX67" fmla="*/ 137160 w 3018472"/>
                  <a:gd name="connsiteY67" fmla="*/ 3535680 h 3680460"/>
                  <a:gd name="connsiteX68" fmla="*/ 99060 w 3018472"/>
                  <a:gd name="connsiteY68" fmla="*/ 3520440 h 3680460"/>
                  <a:gd name="connsiteX69" fmla="*/ 83820 w 3018472"/>
                  <a:gd name="connsiteY69" fmla="*/ 3489960 h 3680460"/>
                  <a:gd name="connsiteX70" fmla="*/ 45720 w 3018472"/>
                  <a:gd name="connsiteY70" fmla="*/ 3436620 h 3680460"/>
                  <a:gd name="connsiteX71" fmla="*/ 0 w 3018472"/>
                  <a:gd name="connsiteY71" fmla="*/ 3352800 h 3680460"/>
                  <a:gd name="connsiteX72" fmla="*/ 30480 w 3018472"/>
                  <a:gd name="connsiteY72" fmla="*/ 3345180 h 3680460"/>
                  <a:gd name="connsiteX73" fmla="*/ 137160 w 3018472"/>
                  <a:gd name="connsiteY73" fmla="*/ 3360420 h 3680460"/>
                  <a:gd name="connsiteX74" fmla="*/ 167640 w 3018472"/>
                  <a:gd name="connsiteY74" fmla="*/ 3390900 h 3680460"/>
                  <a:gd name="connsiteX75" fmla="*/ 198120 w 3018472"/>
                  <a:gd name="connsiteY75" fmla="*/ 3406140 h 3680460"/>
                  <a:gd name="connsiteX76" fmla="*/ 350520 w 3018472"/>
                  <a:gd name="connsiteY76" fmla="*/ 3436620 h 3680460"/>
                  <a:gd name="connsiteX77" fmla="*/ 381000 w 3018472"/>
                  <a:gd name="connsiteY77" fmla="*/ 3451860 h 3680460"/>
                  <a:gd name="connsiteX78" fmla="*/ 449580 w 3018472"/>
                  <a:gd name="connsiteY78" fmla="*/ 3489960 h 3680460"/>
                  <a:gd name="connsiteX79" fmla="*/ 495300 w 3018472"/>
                  <a:gd name="connsiteY79" fmla="*/ 3520440 h 3680460"/>
                  <a:gd name="connsiteX80" fmla="*/ 525780 w 3018472"/>
                  <a:gd name="connsiteY80" fmla="*/ 3535680 h 3680460"/>
                  <a:gd name="connsiteX81" fmla="*/ 731520 w 3018472"/>
                  <a:gd name="connsiteY81" fmla="*/ 3558540 h 3680460"/>
                  <a:gd name="connsiteX82" fmla="*/ 1341120 w 3018472"/>
                  <a:gd name="connsiteY82" fmla="*/ 3550920 h 3680460"/>
                  <a:gd name="connsiteX83" fmla="*/ 1440180 w 3018472"/>
                  <a:gd name="connsiteY83" fmla="*/ 3528060 h 3680460"/>
                  <a:gd name="connsiteX84" fmla="*/ 1539240 w 3018472"/>
                  <a:gd name="connsiteY84" fmla="*/ 3520440 h 3680460"/>
                  <a:gd name="connsiteX85" fmla="*/ 1562100 w 3018472"/>
                  <a:gd name="connsiteY85" fmla="*/ 3512820 h 3680460"/>
                  <a:gd name="connsiteX86" fmla="*/ 1630680 w 3018472"/>
                  <a:gd name="connsiteY86" fmla="*/ 3497580 h 3680460"/>
                  <a:gd name="connsiteX87" fmla="*/ 1699260 w 3018472"/>
                  <a:gd name="connsiteY87" fmla="*/ 3474720 h 3680460"/>
                  <a:gd name="connsiteX88" fmla="*/ 1790700 w 3018472"/>
                  <a:gd name="connsiteY88" fmla="*/ 3451860 h 3680460"/>
                  <a:gd name="connsiteX89" fmla="*/ 1821180 w 3018472"/>
                  <a:gd name="connsiteY89" fmla="*/ 3444240 h 3680460"/>
                  <a:gd name="connsiteX90" fmla="*/ 1844040 w 3018472"/>
                  <a:gd name="connsiteY90" fmla="*/ 3429000 h 3680460"/>
                  <a:gd name="connsiteX91" fmla="*/ 1874520 w 3018472"/>
                  <a:gd name="connsiteY91" fmla="*/ 3421380 h 3680460"/>
                  <a:gd name="connsiteX92" fmla="*/ 1927860 w 3018472"/>
                  <a:gd name="connsiteY92" fmla="*/ 3398520 h 3680460"/>
                  <a:gd name="connsiteX93" fmla="*/ 1950720 w 3018472"/>
                  <a:gd name="connsiteY93" fmla="*/ 3390900 h 3680460"/>
                  <a:gd name="connsiteX94" fmla="*/ 2004060 w 3018472"/>
                  <a:gd name="connsiteY94" fmla="*/ 3360420 h 3680460"/>
                  <a:gd name="connsiteX95" fmla="*/ 2042160 w 3018472"/>
                  <a:gd name="connsiteY95" fmla="*/ 3352800 h 3680460"/>
                  <a:gd name="connsiteX96" fmla="*/ 2080260 w 3018472"/>
                  <a:gd name="connsiteY96" fmla="*/ 3337560 h 3680460"/>
                  <a:gd name="connsiteX97" fmla="*/ 2156460 w 3018472"/>
                  <a:gd name="connsiteY97" fmla="*/ 3299460 h 3680460"/>
                  <a:gd name="connsiteX98" fmla="*/ 2179320 w 3018472"/>
                  <a:gd name="connsiteY98" fmla="*/ 3284220 h 3680460"/>
                  <a:gd name="connsiteX99" fmla="*/ 2209800 w 3018472"/>
                  <a:gd name="connsiteY99" fmla="*/ 3276600 h 3680460"/>
                  <a:gd name="connsiteX100" fmla="*/ 2263140 w 3018472"/>
                  <a:gd name="connsiteY100" fmla="*/ 3230880 h 3680460"/>
                  <a:gd name="connsiteX101" fmla="*/ 2346960 w 3018472"/>
                  <a:gd name="connsiteY101" fmla="*/ 3154680 h 3680460"/>
                  <a:gd name="connsiteX102" fmla="*/ 2400300 w 3018472"/>
                  <a:gd name="connsiteY102" fmla="*/ 3070860 h 3680460"/>
                  <a:gd name="connsiteX103" fmla="*/ 2415540 w 3018472"/>
                  <a:gd name="connsiteY103" fmla="*/ 3048000 h 3680460"/>
                  <a:gd name="connsiteX104" fmla="*/ 2446020 w 3018472"/>
                  <a:gd name="connsiteY104" fmla="*/ 3032760 h 3680460"/>
                  <a:gd name="connsiteX105" fmla="*/ 2468880 w 3018472"/>
                  <a:gd name="connsiteY105" fmla="*/ 3009900 h 3680460"/>
                  <a:gd name="connsiteX106" fmla="*/ 2537460 w 3018472"/>
                  <a:gd name="connsiteY106" fmla="*/ 2926080 h 3680460"/>
                  <a:gd name="connsiteX107" fmla="*/ 2575560 w 3018472"/>
                  <a:gd name="connsiteY107" fmla="*/ 2880360 h 3680460"/>
                  <a:gd name="connsiteX108" fmla="*/ 2628900 w 3018472"/>
                  <a:gd name="connsiteY108" fmla="*/ 2811780 h 3680460"/>
                  <a:gd name="connsiteX109" fmla="*/ 2644140 w 3018472"/>
                  <a:gd name="connsiteY109" fmla="*/ 2773680 h 3680460"/>
                  <a:gd name="connsiteX110" fmla="*/ 2674620 w 3018472"/>
                  <a:gd name="connsiteY110" fmla="*/ 2727960 h 3680460"/>
                  <a:gd name="connsiteX111" fmla="*/ 2689860 w 3018472"/>
                  <a:gd name="connsiteY111" fmla="*/ 2705100 h 3680460"/>
                  <a:gd name="connsiteX112" fmla="*/ 2705100 w 3018472"/>
                  <a:gd name="connsiteY112" fmla="*/ 2667000 h 3680460"/>
                  <a:gd name="connsiteX113" fmla="*/ 2727960 w 3018472"/>
                  <a:gd name="connsiteY113" fmla="*/ 2621280 h 3680460"/>
                  <a:gd name="connsiteX114" fmla="*/ 2735580 w 3018472"/>
                  <a:gd name="connsiteY114" fmla="*/ 2590800 h 3680460"/>
                  <a:gd name="connsiteX115" fmla="*/ 2758440 w 3018472"/>
                  <a:gd name="connsiteY115" fmla="*/ 2545080 h 3680460"/>
                  <a:gd name="connsiteX116" fmla="*/ 2788920 w 3018472"/>
                  <a:gd name="connsiteY116" fmla="*/ 2484120 h 3680460"/>
                  <a:gd name="connsiteX117" fmla="*/ 2811780 w 3018472"/>
                  <a:gd name="connsiteY117" fmla="*/ 2407920 h 3680460"/>
                  <a:gd name="connsiteX118" fmla="*/ 2842260 w 3018472"/>
                  <a:gd name="connsiteY118" fmla="*/ 2324100 h 3680460"/>
                  <a:gd name="connsiteX119" fmla="*/ 2857500 w 3018472"/>
                  <a:gd name="connsiteY119" fmla="*/ 2247900 h 3680460"/>
                  <a:gd name="connsiteX120" fmla="*/ 2872740 w 3018472"/>
                  <a:gd name="connsiteY120" fmla="*/ 2194560 h 3680460"/>
                  <a:gd name="connsiteX121" fmla="*/ 2887980 w 3018472"/>
                  <a:gd name="connsiteY121" fmla="*/ 2148840 h 3680460"/>
                  <a:gd name="connsiteX122" fmla="*/ 2910840 w 3018472"/>
                  <a:gd name="connsiteY122" fmla="*/ 2087880 h 3680460"/>
                  <a:gd name="connsiteX123" fmla="*/ 2918460 w 3018472"/>
                  <a:gd name="connsiteY123" fmla="*/ 2049780 h 3680460"/>
                  <a:gd name="connsiteX124" fmla="*/ 2933700 w 3018472"/>
                  <a:gd name="connsiteY124" fmla="*/ 1844040 h 3680460"/>
                  <a:gd name="connsiteX125" fmla="*/ 2918460 w 3018472"/>
                  <a:gd name="connsiteY125" fmla="*/ 1470660 h 3680460"/>
                  <a:gd name="connsiteX126" fmla="*/ 2895600 w 3018472"/>
                  <a:gd name="connsiteY126" fmla="*/ 1371600 h 3680460"/>
                  <a:gd name="connsiteX127" fmla="*/ 2880360 w 3018472"/>
                  <a:gd name="connsiteY127" fmla="*/ 1341120 h 3680460"/>
                  <a:gd name="connsiteX128" fmla="*/ 2857500 w 3018472"/>
                  <a:gd name="connsiteY128" fmla="*/ 1272540 h 3680460"/>
                  <a:gd name="connsiteX129" fmla="*/ 2849880 w 3018472"/>
                  <a:gd name="connsiteY129" fmla="*/ 1234440 h 3680460"/>
                  <a:gd name="connsiteX130" fmla="*/ 2827020 w 3018472"/>
                  <a:gd name="connsiteY130" fmla="*/ 1196340 h 3680460"/>
                  <a:gd name="connsiteX131" fmla="*/ 2811780 w 3018472"/>
                  <a:gd name="connsiteY131" fmla="*/ 1165860 h 3680460"/>
                  <a:gd name="connsiteX132" fmla="*/ 2781300 w 3018472"/>
                  <a:gd name="connsiteY132" fmla="*/ 1127760 h 3680460"/>
                  <a:gd name="connsiteX133" fmla="*/ 2766060 w 3018472"/>
                  <a:gd name="connsiteY133" fmla="*/ 1089660 h 3680460"/>
                  <a:gd name="connsiteX134" fmla="*/ 2735580 w 3018472"/>
                  <a:gd name="connsiteY134" fmla="*/ 1043940 h 3680460"/>
                  <a:gd name="connsiteX135" fmla="*/ 2727960 w 3018472"/>
                  <a:gd name="connsiteY135" fmla="*/ 1021080 h 3680460"/>
                  <a:gd name="connsiteX136" fmla="*/ 2682240 w 3018472"/>
                  <a:gd name="connsiteY136" fmla="*/ 937260 h 3680460"/>
                  <a:gd name="connsiteX137" fmla="*/ 2659380 w 3018472"/>
                  <a:gd name="connsiteY137" fmla="*/ 876300 h 3680460"/>
                  <a:gd name="connsiteX138" fmla="*/ 2644140 w 3018472"/>
                  <a:gd name="connsiteY138" fmla="*/ 845820 h 3680460"/>
                  <a:gd name="connsiteX139" fmla="*/ 2636520 w 3018472"/>
                  <a:gd name="connsiteY139" fmla="*/ 822960 h 3680460"/>
                  <a:gd name="connsiteX140" fmla="*/ 2621280 w 3018472"/>
                  <a:gd name="connsiteY140" fmla="*/ 800100 h 3680460"/>
                  <a:gd name="connsiteX141" fmla="*/ 2598420 w 3018472"/>
                  <a:gd name="connsiteY141" fmla="*/ 739140 h 3680460"/>
                  <a:gd name="connsiteX142" fmla="*/ 2458403 w 3018472"/>
                  <a:gd name="connsiteY142" fmla="*/ 621983 h 3680460"/>
                  <a:gd name="connsiteX143" fmla="*/ 2301240 w 3018472"/>
                  <a:gd name="connsiteY143" fmla="*/ 458152 h 3680460"/>
                  <a:gd name="connsiteX144" fmla="*/ 2237423 w 3018472"/>
                  <a:gd name="connsiteY144" fmla="*/ 406717 h 3680460"/>
                  <a:gd name="connsiteX145" fmla="*/ 2103120 w 3018472"/>
                  <a:gd name="connsiteY145" fmla="*/ 312420 h 3680460"/>
                  <a:gd name="connsiteX146" fmla="*/ 2042160 w 3018472"/>
                  <a:gd name="connsiteY146" fmla="*/ 266700 h 3680460"/>
                  <a:gd name="connsiteX147" fmla="*/ 2004060 w 3018472"/>
                  <a:gd name="connsiteY147" fmla="*/ 251460 h 3680460"/>
                  <a:gd name="connsiteX148" fmla="*/ 1958340 w 3018472"/>
                  <a:gd name="connsiteY148" fmla="*/ 220980 h 3680460"/>
                  <a:gd name="connsiteX149" fmla="*/ 1897380 w 3018472"/>
                  <a:gd name="connsiteY149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476500 w 3018472"/>
                  <a:gd name="connsiteY40" fmla="*/ 3169920 h 3680460"/>
                  <a:gd name="connsiteX41" fmla="*/ 2377440 w 3018472"/>
                  <a:gd name="connsiteY41" fmla="*/ 3223260 h 3680460"/>
                  <a:gd name="connsiteX42" fmla="*/ 2293620 w 3018472"/>
                  <a:gd name="connsiteY42" fmla="*/ 3284220 h 3680460"/>
                  <a:gd name="connsiteX43" fmla="*/ 2240280 w 3018472"/>
                  <a:gd name="connsiteY43" fmla="*/ 3314700 h 3680460"/>
                  <a:gd name="connsiteX44" fmla="*/ 2225040 w 3018472"/>
                  <a:gd name="connsiteY44" fmla="*/ 3337560 h 3680460"/>
                  <a:gd name="connsiteX45" fmla="*/ 2141220 w 3018472"/>
                  <a:gd name="connsiteY45" fmla="*/ 3390900 h 3680460"/>
                  <a:gd name="connsiteX46" fmla="*/ 2110740 w 3018472"/>
                  <a:gd name="connsiteY46" fmla="*/ 3413760 h 3680460"/>
                  <a:gd name="connsiteX47" fmla="*/ 2072640 w 3018472"/>
                  <a:gd name="connsiteY47" fmla="*/ 3451860 h 3680460"/>
                  <a:gd name="connsiteX48" fmla="*/ 2019300 w 3018472"/>
                  <a:gd name="connsiteY48" fmla="*/ 3467100 h 3680460"/>
                  <a:gd name="connsiteX49" fmla="*/ 1874520 w 3018472"/>
                  <a:gd name="connsiteY49" fmla="*/ 3512820 h 3680460"/>
                  <a:gd name="connsiteX50" fmla="*/ 1828800 w 3018472"/>
                  <a:gd name="connsiteY50" fmla="*/ 3520440 h 3680460"/>
                  <a:gd name="connsiteX51" fmla="*/ 1722120 w 3018472"/>
                  <a:gd name="connsiteY51" fmla="*/ 3550920 h 3680460"/>
                  <a:gd name="connsiteX52" fmla="*/ 1600200 w 3018472"/>
                  <a:gd name="connsiteY52" fmla="*/ 3589020 h 3680460"/>
                  <a:gd name="connsiteX53" fmla="*/ 1569720 w 3018472"/>
                  <a:gd name="connsiteY53" fmla="*/ 3596640 h 3680460"/>
                  <a:gd name="connsiteX54" fmla="*/ 1546860 w 3018472"/>
                  <a:gd name="connsiteY54" fmla="*/ 3611880 h 3680460"/>
                  <a:gd name="connsiteX55" fmla="*/ 1463040 w 3018472"/>
                  <a:gd name="connsiteY55" fmla="*/ 3627120 h 3680460"/>
                  <a:gd name="connsiteX56" fmla="*/ 1333500 w 3018472"/>
                  <a:gd name="connsiteY56" fmla="*/ 3657600 h 3680460"/>
                  <a:gd name="connsiteX57" fmla="*/ 1203960 w 3018472"/>
                  <a:gd name="connsiteY57" fmla="*/ 3672840 h 3680460"/>
                  <a:gd name="connsiteX58" fmla="*/ 1165860 w 3018472"/>
                  <a:gd name="connsiteY58" fmla="*/ 3680460 h 3680460"/>
                  <a:gd name="connsiteX59" fmla="*/ 449580 w 3018472"/>
                  <a:gd name="connsiteY59" fmla="*/ 3672840 h 3680460"/>
                  <a:gd name="connsiteX60" fmla="*/ 426720 w 3018472"/>
                  <a:gd name="connsiteY60" fmla="*/ 3665220 h 3680460"/>
                  <a:gd name="connsiteX61" fmla="*/ 388620 w 3018472"/>
                  <a:gd name="connsiteY61" fmla="*/ 3657600 h 3680460"/>
                  <a:gd name="connsiteX62" fmla="*/ 335280 w 3018472"/>
                  <a:gd name="connsiteY62" fmla="*/ 3627120 h 3680460"/>
                  <a:gd name="connsiteX63" fmla="*/ 266700 w 3018472"/>
                  <a:gd name="connsiteY63" fmla="*/ 3604260 h 3680460"/>
                  <a:gd name="connsiteX64" fmla="*/ 243840 w 3018472"/>
                  <a:gd name="connsiteY64" fmla="*/ 3589020 h 3680460"/>
                  <a:gd name="connsiteX65" fmla="*/ 160020 w 3018472"/>
                  <a:gd name="connsiteY65" fmla="*/ 3558540 h 3680460"/>
                  <a:gd name="connsiteX66" fmla="*/ 137160 w 3018472"/>
                  <a:gd name="connsiteY66" fmla="*/ 3535680 h 3680460"/>
                  <a:gd name="connsiteX67" fmla="*/ 99060 w 3018472"/>
                  <a:gd name="connsiteY67" fmla="*/ 3520440 h 3680460"/>
                  <a:gd name="connsiteX68" fmla="*/ 83820 w 3018472"/>
                  <a:gd name="connsiteY68" fmla="*/ 3489960 h 3680460"/>
                  <a:gd name="connsiteX69" fmla="*/ 45720 w 3018472"/>
                  <a:gd name="connsiteY69" fmla="*/ 3436620 h 3680460"/>
                  <a:gd name="connsiteX70" fmla="*/ 0 w 3018472"/>
                  <a:gd name="connsiteY70" fmla="*/ 3352800 h 3680460"/>
                  <a:gd name="connsiteX71" fmla="*/ 30480 w 3018472"/>
                  <a:gd name="connsiteY71" fmla="*/ 3345180 h 3680460"/>
                  <a:gd name="connsiteX72" fmla="*/ 137160 w 3018472"/>
                  <a:gd name="connsiteY72" fmla="*/ 3360420 h 3680460"/>
                  <a:gd name="connsiteX73" fmla="*/ 167640 w 3018472"/>
                  <a:gd name="connsiteY73" fmla="*/ 3390900 h 3680460"/>
                  <a:gd name="connsiteX74" fmla="*/ 198120 w 3018472"/>
                  <a:gd name="connsiteY74" fmla="*/ 3406140 h 3680460"/>
                  <a:gd name="connsiteX75" fmla="*/ 350520 w 3018472"/>
                  <a:gd name="connsiteY75" fmla="*/ 3436620 h 3680460"/>
                  <a:gd name="connsiteX76" fmla="*/ 381000 w 3018472"/>
                  <a:gd name="connsiteY76" fmla="*/ 3451860 h 3680460"/>
                  <a:gd name="connsiteX77" fmla="*/ 449580 w 3018472"/>
                  <a:gd name="connsiteY77" fmla="*/ 3489960 h 3680460"/>
                  <a:gd name="connsiteX78" fmla="*/ 495300 w 3018472"/>
                  <a:gd name="connsiteY78" fmla="*/ 3520440 h 3680460"/>
                  <a:gd name="connsiteX79" fmla="*/ 525780 w 3018472"/>
                  <a:gd name="connsiteY79" fmla="*/ 3535680 h 3680460"/>
                  <a:gd name="connsiteX80" fmla="*/ 731520 w 3018472"/>
                  <a:gd name="connsiteY80" fmla="*/ 3558540 h 3680460"/>
                  <a:gd name="connsiteX81" fmla="*/ 1341120 w 3018472"/>
                  <a:gd name="connsiteY81" fmla="*/ 3550920 h 3680460"/>
                  <a:gd name="connsiteX82" fmla="*/ 1440180 w 3018472"/>
                  <a:gd name="connsiteY82" fmla="*/ 3528060 h 3680460"/>
                  <a:gd name="connsiteX83" fmla="*/ 1539240 w 3018472"/>
                  <a:gd name="connsiteY83" fmla="*/ 3520440 h 3680460"/>
                  <a:gd name="connsiteX84" fmla="*/ 1562100 w 3018472"/>
                  <a:gd name="connsiteY84" fmla="*/ 3512820 h 3680460"/>
                  <a:gd name="connsiteX85" fmla="*/ 1630680 w 3018472"/>
                  <a:gd name="connsiteY85" fmla="*/ 3497580 h 3680460"/>
                  <a:gd name="connsiteX86" fmla="*/ 1699260 w 3018472"/>
                  <a:gd name="connsiteY86" fmla="*/ 3474720 h 3680460"/>
                  <a:gd name="connsiteX87" fmla="*/ 1790700 w 3018472"/>
                  <a:gd name="connsiteY87" fmla="*/ 3451860 h 3680460"/>
                  <a:gd name="connsiteX88" fmla="*/ 1821180 w 3018472"/>
                  <a:gd name="connsiteY88" fmla="*/ 3444240 h 3680460"/>
                  <a:gd name="connsiteX89" fmla="*/ 1844040 w 3018472"/>
                  <a:gd name="connsiteY89" fmla="*/ 3429000 h 3680460"/>
                  <a:gd name="connsiteX90" fmla="*/ 1874520 w 3018472"/>
                  <a:gd name="connsiteY90" fmla="*/ 3421380 h 3680460"/>
                  <a:gd name="connsiteX91" fmla="*/ 1927860 w 3018472"/>
                  <a:gd name="connsiteY91" fmla="*/ 3398520 h 3680460"/>
                  <a:gd name="connsiteX92" fmla="*/ 1950720 w 3018472"/>
                  <a:gd name="connsiteY92" fmla="*/ 3390900 h 3680460"/>
                  <a:gd name="connsiteX93" fmla="*/ 2004060 w 3018472"/>
                  <a:gd name="connsiteY93" fmla="*/ 3360420 h 3680460"/>
                  <a:gd name="connsiteX94" fmla="*/ 2042160 w 3018472"/>
                  <a:gd name="connsiteY94" fmla="*/ 3352800 h 3680460"/>
                  <a:gd name="connsiteX95" fmla="*/ 2080260 w 3018472"/>
                  <a:gd name="connsiteY95" fmla="*/ 3337560 h 3680460"/>
                  <a:gd name="connsiteX96" fmla="*/ 2156460 w 3018472"/>
                  <a:gd name="connsiteY96" fmla="*/ 3299460 h 3680460"/>
                  <a:gd name="connsiteX97" fmla="*/ 2179320 w 3018472"/>
                  <a:gd name="connsiteY97" fmla="*/ 3284220 h 3680460"/>
                  <a:gd name="connsiteX98" fmla="*/ 2209800 w 3018472"/>
                  <a:gd name="connsiteY98" fmla="*/ 3276600 h 3680460"/>
                  <a:gd name="connsiteX99" fmla="*/ 2263140 w 3018472"/>
                  <a:gd name="connsiteY99" fmla="*/ 3230880 h 3680460"/>
                  <a:gd name="connsiteX100" fmla="*/ 2346960 w 3018472"/>
                  <a:gd name="connsiteY100" fmla="*/ 3154680 h 3680460"/>
                  <a:gd name="connsiteX101" fmla="*/ 2400300 w 3018472"/>
                  <a:gd name="connsiteY101" fmla="*/ 3070860 h 3680460"/>
                  <a:gd name="connsiteX102" fmla="*/ 2415540 w 3018472"/>
                  <a:gd name="connsiteY102" fmla="*/ 3048000 h 3680460"/>
                  <a:gd name="connsiteX103" fmla="*/ 2446020 w 3018472"/>
                  <a:gd name="connsiteY103" fmla="*/ 3032760 h 3680460"/>
                  <a:gd name="connsiteX104" fmla="*/ 2468880 w 3018472"/>
                  <a:gd name="connsiteY104" fmla="*/ 3009900 h 3680460"/>
                  <a:gd name="connsiteX105" fmla="*/ 2537460 w 3018472"/>
                  <a:gd name="connsiteY105" fmla="*/ 2926080 h 3680460"/>
                  <a:gd name="connsiteX106" fmla="*/ 2575560 w 3018472"/>
                  <a:gd name="connsiteY106" fmla="*/ 2880360 h 3680460"/>
                  <a:gd name="connsiteX107" fmla="*/ 2628900 w 3018472"/>
                  <a:gd name="connsiteY107" fmla="*/ 2811780 h 3680460"/>
                  <a:gd name="connsiteX108" fmla="*/ 2644140 w 3018472"/>
                  <a:gd name="connsiteY108" fmla="*/ 2773680 h 3680460"/>
                  <a:gd name="connsiteX109" fmla="*/ 2674620 w 3018472"/>
                  <a:gd name="connsiteY109" fmla="*/ 2727960 h 3680460"/>
                  <a:gd name="connsiteX110" fmla="*/ 2689860 w 3018472"/>
                  <a:gd name="connsiteY110" fmla="*/ 2705100 h 3680460"/>
                  <a:gd name="connsiteX111" fmla="*/ 2705100 w 3018472"/>
                  <a:gd name="connsiteY111" fmla="*/ 2667000 h 3680460"/>
                  <a:gd name="connsiteX112" fmla="*/ 2727960 w 3018472"/>
                  <a:gd name="connsiteY112" fmla="*/ 2621280 h 3680460"/>
                  <a:gd name="connsiteX113" fmla="*/ 2735580 w 3018472"/>
                  <a:gd name="connsiteY113" fmla="*/ 2590800 h 3680460"/>
                  <a:gd name="connsiteX114" fmla="*/ 2758440 w 3018472"/>
                  <a:gd name="connsiteY114" fmla="*/ 2545080 h 3680460"/>
                  <a:gd name="connsiteX115" fmla="*/ 2788920 w 3018472"/>
                  <a:gd name="connsiteY115" fmla="*/ 2484120 h 3680460"/>
                  <a:gd name="connsiteX116" fmla="*/ 2811780 w 3018472"/>
                  <a:gd name="connsiteY116" fmla="*/ 2407920 h 3680460"/>
                  <a:gd name="connsiteX117" fmla="*/ 2842260 w 3018472"/>
                  <a:gd name="connsiteY117" fmla="*/ 2324100 h 3680460"/>
                  <a:gd name="connsiteX118" fmla="*/ 2857500 w 3018472"/>
                  <a:gd name="connsiteY118" fmla="*/ 2247900 h 3680460"/>
                  <a:gd name="connsiteX119" fmla="*/ 2872740 w 3018472"/>
                  <a:gd name="connsiteY119" fmla="*/ 2194560 h 3680460"/>
                  <a:gd name="connsiteX120" fmla="*/ 2887980 w 3018472"/>
                  <a:gd name="connsiteY120" fmla="*/ 2148840 h 3680460"/>
                  <a:gd name="connsiteX121" fmla="*/ 2910840 w 3018472"/>
                  <a:gd name="connsiteY121" fmla="*/ 2087880 h 3680460"/>
                  <a:gd name="connsiteX122" fmla="*/ 2918460 w 3018472"/>
                  <a:gd name="connsiteY122" fmla="*/ 2049780 h 3680460"/>
                  <a:gd name="connsiteX123" fmla="*/ 2933700 w 3018472"/>
                  <a:gd name="connsiteY123" fmla="*/ 1844040 h 3680460"/>
                  <a:gd name="connsiteX124" fmla="*/ 2918460 w 3018472"/>
                  <a:gd name="connsiteY124" fmla="*/ 1470660 h 3680460"/>
                  <a:gd name="connsiteX125" fmla="*/ 2895600 w 3018472"/>
                  <a:gd name="connsiteY125" fmla="*/ 1371600 h 3680460"/>
                  <a:gd name="connsiteX126" fmla="*/ 2880360 w 3018472"/>
                  <a:gd name="connsiteY126" fmla="*/ 1341120 h 3680460"/>
                  <a:gd name="connsiteX127" fmla="*/ 2857500 w 3018472"/>
                  <a:gd name="connsiteY127" fmla="*/ 1272540 h 3680460"/>
                  <a:gd name="connsiteX128" fmla="*/ 2849880 w 3018472"/>
                  <a:gd name="connsiteY128" fmla="*/ 1234440 h 3680460"/>
                  <a:gd name="connsiteX129" fmla="*/ 2827020 w 3018472"/>
                  <a:gd name="connsiteY129" fmla="*/ 1196340 h 3680460"/>
                  <a:gd name="connsiteX130" fmla="*/ 2811780 w 3018472"/>
                  <a:gd name="connsiteY130" fmla="*/ 1165860 h 3680460"/>
                  <a:gd name="connsiteX131" fmla="*/ 2781300 w 3018472"/>
                  <a:gd name="connsiteY131" fmla="*/ 1127760 h 3680460"/>
                  <a:gd name="connsiteX132" fmla="*/ 2766060 w 3018472"/>
                  <a:gd name="connsiteY132" fmla="*/ 1089660 h 3680460"/>
                  <a:gd name="connsiteX133" fmla="*/ 2735580 w 3018472"/>
                  <a:gd name="connsiteY133" fmla="*/ 1043940 h 3680460"/>
                  <a:gd name="connsiteX134" fmla="*/ 2727960 w 3018472"/>
                  <a:gd name="connsiteY134" fmla="*/ 1021080 h 3680460"/>
                  <a:gd name="connsiteX135" fmla="*/ 2682240 w 3018472"/>
                  <a:gd name="connsiteY135" fmla="*/ 937260 h 3680460"/>
                  <a:gd name="connsiteX136" fmla="*/ 2659380 w 3018472"/>
                  <a:gd name="connsiteY136" fmla="*/ 876300 h 3680460"/>
                  <a:gd name="connsiteX137" fmla="*/ 2644140 w 3018472"/>
                  <a:gd name="connsiteY137" fmla="*/ 845820 h 3680460"/>
                  <a:gd name="connsiteX138" fmla="*/ 2636520 w 3018472"/>
                  <a:gd name="connsiteY138" fmla="*/ 822960 h 3680460"/>
                  <a:gd name="connsiteX139" fmla="*/ 2621280 w 3018472"/>
                  <a:gd name="connsiteY139" fmla="*/ 800100 h 3680460"/>
                  <a:gd name="connsiteX140" fmla="*/ 2598420 w 3018472"/>
                  <a:gd name="connsiteY140" fmla="*/ 739140 h 3680460"/>
                  <a:gd name="connsiteX141" fmla="*/ 2458403 w 3018472"/>
                  <a:gd name="connsiteY141" fmla="*/ 621983 h 3680460"/>
                  <a:gd name="connsiteX142" fmla="*/ 2301240 w 3018472"/>
                  <a:gd name="connsiteY142" fmla="*/ 458152 h 3680460"/>
                  <a:gd name="connsiteX143" fmla="*/ 2237423 w 3018472"/>
                  <a:gd name="connsiteY143" fmla="*/ 406717 h 3680460"/>
                  <a:gd name="connsiteX144" fmla="*/ 2103120 w 3018472"/>
                  <a:gd name="connsiteY144" fmla="*/ 312420 h 3680460"/>
                  <a:gd name="connsiteX145" fmla="*/ 2042160 w 3018472"/>
                  <a:gd name="connsiteY145" fmla="*/ 266700 h 3680460"/>
                  <a:gd name="connsiteX146" fmla="*/ 2004060 w 3018472"/>
                  <a:gd name="connsiteY146" fmla="*/ 251460 h 3680460"/>
                  <a:gd name="connsiteX147" fmla="*/ 1958340 w 3018472"/>
                  <a:gd name="connsiteY147" fmla="*/ 220980 h 3680460"/>
                  <a:gd name="connsiteX148" fmla="*/ 1897380 w 3018472"/>
                  <a:gd name="connsiteY14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8920 w 3018472"/>
                  <a:gd name="connsiteY38" fmla="*/ 2781300 h 3680460"/>
                  <a:gd name="connsiteX39" fmla="*/ 2781300 w 3018472"/>
                  <a:gd name="connsiteY39" fmla="*/ 2804160 h 3680460"/>
                  <a:gd name="connsiteX40" fmla="*/ 2505075 w 3018472"/>
                  <a:gd name="connsiteY40" fmla="*/ 3084195 h 3680460"/>
                  <a:gd name="connsiteX41" fmla="*/ 2377440 w 3018472"/>
                  <a:gd name="connsiteY41" fmla="*/ 3223260 h 3680460"/>
                  <a:gd name="connsiteX42" fmla="*/ 2293620 w 3018472"/>
                  <a:gd name="connsiteY42" fmla="*/ 3284220 h 3680460"/>
                  <a:gd name="connsiteX43" fmla="*/ 2240280 w 3018472"/>
                  <a:gd name="connsiteY43" fmla="*/ 3314700 h 3680460"/>
                  <a:gd name="connsiteX44" fmla="*/ 2225040 w 3018472"/>
                  <a:gd name="connsiteY44" fmla="*/ 3337560 h 3680460"/>
                  <a:gd name="connsiteX45" fmla="*/ 2141220 w 3018472"/>
                  <a:gd name="connsiteY45" fmla="*/ 3390900 h 3680460"/>
                  <a:gd name="connsiteX46" fmla="*/ 2110740 w 3018472"/>
                  <a:gd name="connsiteY46" fmla="*/ 3413760 h 3680460"/>
                  <a:gd name="connsiteX47" fmla="*/ 2072640 w 3018472"/>
                  <a:gd name="connsiteY47" fmla="*/ 3451860 h 3680460"/>
                  <a:gd name="connsiteX48" fmla="*/ 2019300 w 3018472"/>
                  <a:gd name="connsiteY48" fmla="*/ 3467100 h 3680460"/>
                  <a:gd name="connsiteX49" fmla="*/ 1874520 w 3018472"/>
                  <a:gd name="connsiteY49" fmla="*/ 3512820 h 3680460"/>
                  <a:gd name="connsiteX50" fmla="*/ 1828800 w 3018472"/>
                  <a:gd name="connsiteY50" fmla="*/ 3520440 h 3680460"/>
                  <a:gd name="connsiteX51" fmla="*/ 1722120 w 3018472"/>
                  <a:gd name="connsiteY51" fmla="*/ 3550920 h 3680460"/>
                  <a:gd name="connsiteX52" fmla="*/ 1600200 w 3018472"/>
                  <a:gd name="connsiteY52" fmla="*/ 3589020 h 3680460"/>
                  <a:gd name="connsiteX53" fmla="*/ 1569720 w 3018472"/>
                  <a:gd name="connsiteY53" fmla="*/ 3596640 h 3680460"/>
                  <a:gd name="connsiteX54" fmla="*/ 1546860 w 3018472"/>
                  <a:gd name="connsiteY54" fmla="*/ 3611880 h 3680460"/>
                  <a:gd name="connsiteX55" fmla="*/ 1463040 w 3018472"/>
                  <a:gd name="connsiteY55" fmla="*/ 3627120 h 3680460"/>
                  <a:gd name="connsiteX56" fmla="*/ 1333500 w 3018472"/>
                  <a:gd name="connsiteY56" fmla="*/ 3657600 h 3680460"/>
                  <a:gd name="connsiteX57" fmla="*/ 1203960 w 3018472"/>
                  <a:gd name="connsiteY57" fmla="*/ 3672840 h 3680460"/>
                  <a:gd name="connsiteX58" fmla="*/ 1165860 w 3018472"/>
                  <a:gd name="connsiteY58" fmla="*/ 3680460 h 3680460"/>
                  <a:gd name="connsiteX59" fmla="*/ 449580 w 3018472"/>
                  <a:gd name="connsiteY59" fmla="*/ 3672840 h 3680460"/>
                  <a:gd name="connsiteX60" fmla="*/ 426720 w 3018472"/>
                  <a:gd name="connsiteY60" fmla="*/ 3665220 h 3680460"/>
                  <a:gd name="connsiteX61" fmla="*/ 388620 w 3018472"/>
                  <a:gd name="connsiteY61" fmla="*/ 3657600 h 3680460"/>
                  <a:gd name="connsiteX62" fmla="*/ 335280 w 3018472"/>
                  <a:gd name="connsiteY62" fmla="*/ 3627120 h 3680460"/>
                  <a:gd name="connsiteX63" fmla="*/ 266700 w 3018472"/>
                  <a:gd name="connsiteY63" fmla="*/ 3604260 h 3680460"/>
                  <a:gd name="connsiteX64" fmla="*/ 243840 w 3018472"/>
                  <a:gd name="connsiteY64" fmla="*/ 3589020 h 3680460"/>
                  <a:gd name="connsiteX65" fmla="*/ 160020 w 3018472"/>
                  <a:gd name="connsiteY65" fmla="*/ 3558540 h 3680460"/>
                  <a:gd name="connsiteX66" fmla="*/ 137160 w 3018472"/>
                  <a:gd name="connsiteY66" fmla="*/ 3535680 h 3680460"/>
                  <a:gd name="connsiteX67" fmla="*/ 99060 w 3018472"/>
                  <a:gd name="connsiteY67" fmla="*/ 3520440 h 3680460"/>
                  <a:gd name="connsiteX68" fmla="*/ 83820 w 3018472"/>
                  <a:gd name="connsiteY68" fmla="*/ 3489960 h 3680460"/>
                  <a:gd name="connsiteX69" fmla="*/ 45720 w 3018472"/>
                  <a:gd name="connsiteY69" fmla="*/ 3436620 h 3680460"/>
                  <a:gd name="connsiteX70" fmla="*/ 0 w 3018472"/>
                  <a:gd name="connsiteY70" fmla="*/ 3352800 h 3680460"/>
                  <a:gd name="connsiteX71" fmla="*/ 30480 w 3018472"/>
                  <a:gd name="connsiteY71" fmla="*/ 3345180 h 3680460"/>
                  <a:gd name="connsiteX72" fmla="*/ 137160 w 3018472"/>
                  <a:gd name="connsiteY72" fmla="*/ 3360420 h 3680460"/>
                  <a:gd name="connsiteX73" fmla="*/ 167640 w 3018472"/>
                  <a:gd name="connsiteY73" fmla="*/ 3390900 h 3680460"/>
                  <a:gd name="connsiteX74" fmla="*/ 198120 w 3018472"/>
                  <a:gd name="connsiteY74" fmla="*/ 3406140 h 3680460"/>
                  <a:gd name="connsiteX75" fmla="*/ 350520 w 3018472"/>
                  <a:gd name="connsiteY75" fmla="*/ 3436620 h 3680460"/>
                  <a:gd name="connsiteX76" fmla="*/ 381000 w 3018472"/>
                  <a:gd name="connsiteY76" fmla="*/ 3451860 h 3680460"/>
                  <a:gd name="connsiteX77" fmla="*/ 449580 w 3018472"/>
                  <a:gd name="connsiteY77" fmla="*/ 3489960 h 3680460"/>
                  <a:gd name="connsiteX78" fmla="*/ 495300 w 3018472"/>
                  <a:gd name="connsiteY78" fmla="*/ 3520440 h 3680460"/>
                  <a:gd name="connsiteX79" fmla="*/ 525780 w 3018472"/>
                  <a:gd name="connsiteY79" fmla="*/ 3535680 h 3680460"/>
                  <a:gd name="connsiteX80" fmla="*/ 731520 w 3018472"/>
                  <a:gd name="connsiteY80" fmla="*/ 3558540 h 3680460"/>
                  <a:gd name="connsiteX81" fmla="*/ 1341120 w 3018472"/>
                  <a:gd name="connsiteY81" fmla="*/ 3550920 h 3680460"/>
                  <a:gd name="connsiteX82" fmla="*/ 1440180 w 3018472"/>
                  <a:gd name="connsiteY82" fmla="*/ 3528060 h 3680460"/>
                  <a:gd name="connsiteX83" fmla="*/ 1539240 w 3018472"/>
                  <a:gd name="connsiteY83" fmla="*/ 3520440 h 3680460"/>
                  <a:gd name="connsiteX84" fmla="*/ 1562100 w 3018472"/>
                  <a:gd name="connsiteY84" fmla="*/ 3512820 h 3680460"/>
                  <a:gd name="connsiteX85" fmla="*/ 1630680 w 3018472"/>
                  <a:gd name="connsiteY85" fmla="*/ 3497580 h 3680460"/>
                  <a:gd name="connsiteX86" fmla="*/ 1699260 w 3018472"/>
                  <a:gd name="connsiteY86" fmla="*/ 3474720 h 3680460"/>
                  <a:gd name="connsiteX87" fmla="*/ 1790700 w 3018472"/>
                  <a:gd name="connsiteY87" fmla="*/ 3451860 h 3680460"/>
                  <a:gd name="connsiteX88" fmla="*/ 1821180 w 3018472"/>
                  <a:gd name="connsiteY88" fmla="*/ 3444240 h 3680460"/>
                  <a:gd name="connsiteX89" fmla="*/ 1844040 w 3018472"/>
                  <a:gd name="connsiteY89" fmla="*/ 3429000 h 3680460"/>
                  <a:gd name="connsiteX90" fmla="*/ 1874520 w 3018472"/>
                  <a:gd name="connsiteY90" fmla="*/ 3421380 h 3680460"/>
                  <a:gd name="connsiteX91" fmla="*/ 1927860 w 3018472"/>
                  <a:gd name="connsiteY91" fmla="*/ 3398520 h 3680460"/>
                  <a:gd name="connsiteX92" fmla="*/ 1950720 w 3018472"/>
                  <a:gd name="connsiteY92" fmla="*/ 3390900 h 3680460"/>
                  <a:gd name="connsiteX93" fmla="*/ 2004060 w 3018472"/>
                  <a:gd name="connsiteY93" fmla="*/ 3360420 h 3680460"/>
                  <a:gd name="connsiteX94" fmla="*/ 2042160 w 3018472"/>
                  <a:gd name="connsiteY94" fmla="*/ 3352800 h 3680460"/>
                  <a:gd name="connsiteX95" fmla="*/ 2080260 w 3018472"/>
                  <a:gd name="connsiteY95" fmla="*/ 3337560 h 3680460"/>
                  <a:gd name="connsiteX96" fmla="*/ 2156460 w 3018472"/>
                  <a:gd name="connsiteY96" fmla="*/ 3299460 h 3680460"/>
                  <a:gd name="connsiteX97" fmla="*/ 2179320 w 3018472"/>
                  <a:gd name="connsiteY97" fmla="*/ 3284220 h 3680460"/>
                  <a:gd name="connsiteX98" fmla="*/ 2209800 w 3018472"/>
                  <a:gd name="connsiteY98" fmla="*/ 3276600 h 3680460"/>
                  <a:gd name="connsiteX99" fmla="*/ 2263140 w 3018472"/>
                  <a:gd name="connsiteY99" fmla="*/ 3230880 h 3680460"/>
                  <a:gd name="connsiteX100" fmla="*/ 2346960 w 3018472"/>
                  <a:gd name="connsiteY100" fmla="*/ 3154680 h 3680460"/>
                  <a:gd name="connsiteX101" fmla="*/ 2400300 w 3018472"/>
                  <a:gd name="connsiteY101" fmla="*/ 3070860 h 3680460"/>
                  <a:gd name="connsiteX102" fmla="*/ 2415540 w 3018472"/>
                  <a:gd name="connsiteY102" fmla="*/ 3048000 h 3680460"/>
                  <a:gd name="connsiteX103" fmla="*/ 2446020 w 3018472"/>
                  <a:gd name="connsiteY103" fmla="*/ 3032760 h 3680460"/>
                  <a:gd name="connsiteX104" fmla="*/ 2468880 w 3018472"/>
                  <a:gd name="connsiteY104" fmla="*/ 3009900 h 3680460"/>
                  <a:gd name="connsiteX105" fmla="*/ 2537460 w 3018472"/>
                  <a:gd name="connsiteY105" fmla="*/ 2926080 h 3680460"/>
                  <a:gd name="connsiteX106" fmla="*/ 2575560 w 3018472"/>
                  <a:gd name="connsiteY106" fmla="*/ 2880360 h 3680460"/>
                  <a:gd name="connsiteX107" fmla="*/ 2628900 w 3018472"/>
                  <a:gd name="connsiteY107" fmla="*/ 2811780 h 3680460"/>
                  <a:gd name="connsiteX108" fmla="*/ 2644140 w 3018472"/>
                  <a:gd name="connsiteY108" fmla="*/ 2773680 h 3680460"/>
                  <a:gd name="connsiteX109" fmla="*/ 2674620 w 3018472"/>
                  <a:gd name="connsiteY109" fmla="*/ 2727960 h 3680460"/>
                  <a:gd name="connsiteX110" fmla="*/ 2689860 w 3018472"/>
                  <a:gd name="connsiteY110" fmla="*/ 2705100 h 3680460"/>
                  <a:gd name="connsiteX111" fmla="*/ 2705100 w 3018472"/>
                  <a:gd name="connsiteY111" fmla="*/ 2667000 h 3680460"/>
                  <a:gd name="connsiteX112" fmla="*/ 2727960 w 3018472"/>
                  <a:gd name="connsiteY112" fmla="*/ 2621280 h 3680460"/>
                  <a:gd name="connsiteX113" fmla="*/ 2735580 w 3018472"/>
                  <a:gd name="connsiteY113" fmla="*/ 2590800 h 3680460"/>
                  <a:gd name="connsiteX114" fmla="*/ 2758440 w 3018472"/>
                  <a:gd name="connsiteY114" fmla="*/ 2545080 h 3680460"/>
                  <a:gd name="connsiteX115" fmla="*/ 2788920 w 3018472"/>
                  <a:gd name="connsiteY115" fmla="*/ 2484120 h 3680460"/>
                  <a:gd name="connsiteX116" fmla="*/ 2811780 w 3018472"/>
                  <a:gd name="connsiteY116" fmla="*/ 2407920 h 3680460"/>
                  <a:gd name="connsiteX117" fmla="*/ 2842260 w 3018472"/>
                  <a:gd name="connsiteY117" fmla="*/ 2324100 h 3680460"/>
                  <a:gd name="connsiteX118" fmla="*/ 2857500 w 3018472"/>
                  <a:gd name="connsiteY118" fmla="*/ 2247900 h 3680460"/>
                  <a:gd name="connsiteX119" fmla="*/ 2872740 w 3018472"/>
                  <a:gd name="connsiteY119" fmla="*/ 2194560 h 3680460"/>
                  <a:gd name="connsiteX120" fmla="*/ 2887980 w 3018472"/>
                  <a:gd name="connsiteY120" fmla="*/ 2148840 h 3680460"/>
                  <a:gd name="connsiteX121" fmla="*/ 2910840 w 3018472"/>
                  <a:gd name="connsiteY121" fmla="*/ 2087880 h 3680460"/>
                  <a:gd name="connsiteX122" fmla="*/ 2918460 w 3018472"/>
                  <a:gd name="connsiteY122" fmla="*/ 2049780 h 3680460"/>
                  <a:gd name="connsiteX123" fmla="*/ 2933700 w 3018472"/>
                  <a:gd name="connsiteY123" fmla="*/ 1844040 h 3680460"/>
                  <a:gd name="connsiteX124" fmla="*/ 2918460 w 3018472"/>
                  <a:gd name="connsiteY124" fmla="*/ 1470660 h 3680460"/>
                  <a:gd name="connsiteX125" fmla="*/ 2895600 w 3018472"/>
                  <a:gd name="connsiteY125" fmla="*/ 1371600 h 3680460"/>
                  <a:gd name="connsiteX126" fmla="*/ 2880360 w 3018472"/>
                  <a:gd name="connsiteY126" fmla="*/ 1341120 h 3680460"/>
                  <a:gd name="connsiteX127" fmla="*/ 2857500 w 3018472"/>
                  <a:gd name="connsiteY127" fmla="*/ 1272540 h 3680460"/>
                  <a:gd name="connsiteX128" fmla="*/ 2849880 w 3018472"/>
                  <a:gd name="connsiteY128" fmla="*/ 1234440 h 3680460"/>
                  <a:gd name="connsiteX129" fmla="*/ 2827020 w 3018472"/>
                  <a:gd name="connsiteY129" fmla="*/ 1196340 h 3680460"/>
                  <a:gd name="connsiteX130" fmla="*/ 2811780 w 3018472"/>
                  <a:gd name="connsiteY130" fmla="*/ 1165860 h 3680460"/>
                  <a:gd name="connsiteX131" fmla="*/ 2781300 w 3018472"/>
                  <a:gd name="connsiteY131" fmla="*/ 1127760 h 3680460"/>
                  <a:gd name="connsiteX132" fmla="*/ 2766060 w 3018472"/>
                  <a:gd name="connsiteY132" fmla="*/ 1089660 h 3680460"/>
                  <a:gd name="connsiteX133" fmla="*/ 2735580 w 3018472"/>
                  <a:gd name="connsiteY133" fmla="*/ 1043940 h 3680460"/>
                  <a:gd name="connsiteX134" fmla="*/ 2727960 w 3018472"/>
                  <a:gd name="connsiteY134" fmla="*/ 1021080 h 3680460"/>
                  <a:gd name="connsiteX135" fmla="*/ 2682240 w 3018472"/>
                  <a:gd name="connsiteY135" fmla="*/ 937260 h 3680460"/>
                  <a:gd name="connsiteX136" fmla="*/ 2659380 w 3018472"/>
                  <a:gd name="connsiteY136" fmla="*/ 876300 h 3680460"/>
                  <a:gd name="connsiteX137" fmla="*/ 2644140 w 3018472"/>
                  <a:gd name="connsiteY137" fmla="*/ 845820 h 3680460"/>
                  <a:gd name="connsiteX138" fmla="*/ 2636520 w 3018472"/>
                  <a:gd name="connsiteY138" fmla="*/ 822960 h 3680460"/>
                  <a:gd name="connsiteX139" fmla="*/ 2621280 w 3018472"/>
                  <a:gd name="connsiteY139" fmla="*/ 800100 h 3680460"/>
                  <a:gd name="connsiteX140" fmla="*/ 2598420 w 3018472"/>
                  <a:gd name="connsiteY140" fmla="*/ 739140 h 3680460"/>
                  <a:gd name="connsiteX141" fmla="*/ 2458403 w 3018472"/>
                  <a:gd name="connsiteY141" fmla="*/ 621983 h 3680460"/>
                  <a:gd name="connsiteX142" fmla="*/ 2301240 w 3018472"/>
                  <a:gd name="connsiteY142" fmla="*/ 458152 h 3680460"/>
                  <a:gd name="connsiteX143" fmla="*/ 2237423 w 3018472"/>
                  <a:gd name="connsiteY143" fmla="*/ 406717 h 3680460"/>
                  <a:gd name="connsiteX144" fmla="*/ 2103120 w 3018472"/>
                  <a:gd name="connsiteY144" fmla="*/ 312420 h 3680460"/>
                  <a:gd name="connsiteX145" fmla="*/ 2042160 w 3018472"/>
                  <a:gd name="connsiteY145" fmla="*/ 266700 h 3680460"/>
                  <a:gd name="connsiteX146" fmla="*/ 2004060 w 3018472"/>
                  <a:gd name="connsiteY146" fmla="*/ 251460 h 3680460"/>
                  <a:gd name="connsiteX147" fmla="*/ 1958340 w 3018472"/>
                  <a:gd name="connsiteY147" fmla="*/ 220980 h 3680460"/>
                  <a:gd name="connsiteX148" fmla="*/ 1897380 w 3018472"/>
                  <a:gd name="connsiteY148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81300 w 3018472"/>
                  <a:gd name="connsiteY38" fmla="*/ 2804160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34640 w 3018472"/>
                  <a:gd name="connsiteY36" fmla="*/ 2689860 h 3680460"/>
                  <a:gd name="connsiteX37" fmla="*/ 2811780 w 3018472"/>
                  <a:gd name="connsiteY37" fmla="*/ 2750820 h 3680460"/>
                  <a:gd name="connsiteX38" fmla="*/ 2752725 w 3018472"/>
                  <a:gd name="connsiteY38" fmla="*/ 2789872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10828 w 3018472"/>
                  <a:gd name="connsiteY36" fmla="*/ 2656523 h 3680460"/>
                  <a:gd name="connsiteX37" fmla="*/ 2811780 w 3018472"/>
                  <a:gd name="connsiteY37" fmla="*/ 2750820 h 3680460"/>
                  <a:gd name="connsiteX38" fmla="*/ 2752725 w 3018472"/>
                  <a:gd name="connsiteY38" fmla="*/ 2789872 h 3680460"/>
                  <a:gd name="connsiteX39" fmla="*/ 2505075 w 3018472"/>
                  <a:gd name="connsiteY39" fmla="*/ 3084195 h 3680460"/>
                  <a:gd name="connsiteX40" fmla="*/ 2377440 w 3018472"/>
                  <a:gd name="connsiteY40" fmla="*/ 3223260 h 3680460"/>
                  <a:gd name="connsiteX41" fmla="*/ 2293620 w 3018472"/>
                  <a:gd name="connsiteY41" fmla="*/ 3284220 h 3680460"/>
                  <a:gd name="connsiteX42" fmla="*/ 2240280 w 3018472"/>
                  <a:gd name="connsiteY42" fmla="*/ 3314700 h 3680460"/>
                  <a:gd name="connsiteX43" fmla="*/ 2225040 w 3018472"/>
                  <a:gd name="connsiteY43" fmla="*/ 3337560 h 3680460"/>
                  <a:gd name="connsiteX44" fmla="*/ 2141220 w 3018472"/>
                  <a:gd name="connsiteY44" fmla="*/ 3390900 h 3680460"/>
                  <a:gd name="connsiteX45" fmla="*/ 2110740 w 3018472"/>
                  <a:gd name="connsiteY45" fmla="*/ 3413760 h 3680460"/>
                  <a:gd name="connsiteX46" fmla="*/ 2072640 w 3018472"/>
                  <a:gd name="connsiteY46" fmla="*/ 3451860 h 3680460"/>
                  <a:gd name="connsiteX47" fmla="*/ 2019300 w 3018472"/>
                  <a:gd name="connsiteY47" fmla="*/ 3467100 h 3680460"/>
                  <a:gd name="connsiteX48" fmla="*/ 1874520 w 3018472"/>
                  <a:gd name="connsiteY48" fmla="*/ 3512820 h 3680460"/>
                  <a:gd name="connsiteX49" fmla="*/ 1828800 w 3018472"/>
                  <a:gd name="connsiteY49" fmla="*/ 3520440 h 3680460"/>
                  <a:gd name="connsiteX50" fmla="*/ 1722120 w 3018472"/>
                  <a:gd name="connsiteY50" fmla="*/ 3550920 h 3680460"/>
                  <a:gd name="connsiteX51" fmla="*/ 1600200 w 3018472"/>
                  <a:gd name="connsiteY51" fmla="*/ 3589020 h 3680460"/>
                  <a:gd name="connsiteX52" fmla="*/ 1569720 w 3018472"/>
                  <a:gd name="connsiteY52" fmla="*/ 3596640 h 3680460"/>
                  <a:gd name="connsiteX53" fmla="*/ 1546860 w 3018472"/>
                  <a:gd name="connsiteY53" fmla="*/ 3611880 h 3680460"/>
                  <a:gd name="connsiteX54" fmla="*/ 1463040 w 3018472"/>
                  <a:gd name="connsiteY54" fmla="*/ 3627120 h 3680460"/>
                  <a:gd name="connsiteX55" fmla="*/ 1333500 w 3018472"/>
                  <a:gd name="connsiteY55" fmla="*/ 3657600 h 3680460"/>
                  <a:gd name="connsiteX56" fmla="*/ 1203960 w 3018472"/>
                  <a:gd name="connsiteY56" fmla="*/ 3672840 h 3680460"/>
                  <a:gd name="connsiteX57" fmla="*/ 1165860 w 3018472"/>
                  <a:gd name="connsiteY57" fmla="*/ 3680460 h 3680460"/>
                  <a:gd name="connsiteX58" fmla="*/ 449580 w 3018472"/>
                  <a:gd name="connsiteY58" fmla="*/ 3672840 h 3680460"/>
                  <a:gd name="connsiteX59" fmla="*/ 426720 w 3018472"/>
                  <a:gd name="connsiteY59" fmla="*/ 3665220 h 3680460"/>
                  <a:gd name="connsiteX60" fmla="*/ 388620 w 3018472"/>
                  <a:gd name="connsiteY60" fmla="*/ 3657600 h 3680460"/>
                  <a:gd name="connsiteX61" fmla="*/ 335280 w 3018472"/>
                  <a:gd name="connsiteY61" fmla="*/ 3627120 h 3680460"/>
                  <a:gd name="connsiteX62" fmla="*/ 266700 w 3018472"/>
                  <a:gd name="connsiteY62" fmla="*/ 3604260 h 3680460"/>
                  <a:gd name="connsiteX63" fmla="*/ 243840 w 3018472"/>
                  <a:gd name="connsiteY63" fmla="*/ 3589020 h 3680460"/>
                  <a:gd name="connsiteX64" fmla="*/ 160020 w 3018472"/>
                  <a:gd name="connsiteY64" fmla="*/ 3558540 h 3680460"/>
                  <a:gd name="connsiteX65" fmla="*/ 137160 w 3018472"/>
                  <a:gd name="connsiteY65" fmla="*/ 3535680 h 3680460"/>
                  <a:gd name="connsiteX66" fmla="*/ 99060 w 3018472"/>
                  <a:gd name="connsiteY66" fmla="*/ 3520440 h 3680460"/>
                  <a:gd name="connsiteX67" fmla="*/ 83820 w 3018472"/>
                  <a:gd name="connsiteY67" fmla="*/ 3489960 h 3680460"/>
                  <a:gd name="connsiteX68" fmla="*/ 45720 w 3018472"/>
                  <a:gd name="connsiteY68" fmla="*/ 3436620 h 3680460"/>
                  <a:gd name="connsiteX69" fmla="*/ 0 w 3018472"/>
                  <a:gd name="connsiteY69" fmla="*/ 3352800 h 3680460"/>
                  <a:gd name="connsiteX70" fmla="*/ 30480 w 3018472"/>
                  <a:gd name="connsiteY70" fmla="*/ 3345180 h 3680460"/>
                  <a:gd name="connsiteX71" fmla="*/ 137160 w 3018472"/>
                  <a:gd name="connsiteY71" fmla="*/ 3360420 h 3680460"/>
                  <a:gd name="connsiteX72" fmla="*/ 167640 w 3018472"/>
                  <a:gd name="connsiteY72" fmla="*/ 3390900 h 3680460"/>
                  <a:gd name="connsiteX73" fmla="*/ 198120 w 3018472"/>
                  <a:gd name="connsiteY73" fmla="*/ 3406140 h 3680460"/>
                  <a:gd name="connsiteX74" fmla="*/ 350520 w 3018472"/>
                  <a:gd name="connsiteY74" fmla="*/ 3436620 h 3680460"/>
                  <a:gd name="connsiteX75" fmla="*/ 381000 w 3018472"/>
                  <a:gd name="connsiteY75" fmla="*/ 3451860 h 3680460"/>
                  <a:gd name="connsiteX76" fmla="*/ 449580 w 3018472"/>
                  <a:gd name="connsiteY76" fmla="*/ 3489960 h 3680460"/>
                  <a:gd name="connsiteX77" fmla="*/ 495300 w 3018472"/>
                  <a:gd name="connsiteY77" fmla="*/ 3520440 h 3680460"/>
                  <a:gd name="connsiteX78" fmla="*/ 525780 w 3018472"/>
                  <a:gd name="connsiteY78" fmla="*/ 3535680 h 3680460"/>
                  <a:gd name="connsiteX79" fmla="*/ 731520 w 3018472"/>
                  <a:gd name="connsiteY79" fmla="*/ 3558540 h 3680460"/>
                  <a:gd name="connsiteX80" fmla="*/ 1341120 w 3018472"/>
                  <a:gd name="connsiteY80" fmla="*/ 3550920 h 3680460"/>
                  <a:gd name="connsiteX81" fmla="*/ 1440180 w 3018472"/>
                  <a:gd name="connsiteY81" fmla="*/ 3528060 h 3680460"/>
                  <a:gd name="connsiteX82" fmla="*/ 1539240 w 3018472"/>
                  <a:gd name="connsiteY82" fmla="*/ 3520440 h 3680460"/>
                  <a:gd name="connsiteX83" fmla="*/ 1562100 w 3018472"/>
                  <a:gd name="connsiteY83" fmla="*/ 3512820 h 3680460"/>
                  <a:gd name="connsiteX84" fmla="*/ 1630680 w 3018472"/>
                  <a:gd name="connsiteY84" fmla="*/ 3497580 h 3680460"/>
                  <a:gd name="connsiteX85" fmla="*/ 1699260 w 3018472"/>
                  <a:gd name="connsiteY85" fmla="*/ 3474720 h 3680460"/>
                  <a:gd name="connsiteX86" fmla="*/ 1790700 w 3018472"/>
                  <a:gd name="connsiteY86" fmla="*/ 3451860 h 3680460"/>
                  <a:gd name="connsiteX87" fmla="*/ 1821180 w 3018472"/>
                  <a:gd name="connsiteY87" fmla="*/ 3444240 h 3680460"/>
                  <a:gd name="connsiteX88" fmla="*/ 1844040 w 3018472"/>
                  <a:gd name="connsiteY88" fmla="*/ 3429000 h 3680460"/>
                  <a:gd name="connsiteX89" fmla="*/ 1874520 w 3018472"/>
                  <a:gd name="connsiteY89" fmla="*/ 3421380 h 3680460"/>
                  <a:gd name="connsiteX90" fmla="*/ 1927860 w 3018472"/>
                  <a:gd name="connsiteY90" fmla="*/ 3398520 h 3680460"/>
                  <a:gd name="connsiteX91" fmla="*/ 1950720 w 3018472"/>
                  <a:gd name="connsiteY91" fmla="*/ 3390900 h 3680460"/>
                  <a:gd name="connsiteX92" fmla="*/ 2004060 w 3018472"/>
                  <a:gd name="connsiteY92" fmla="*/ 3360420 h 3680460"/>
                  <a:gd name="connsiteX93" fmla="*/ 2042160 w 3018472"/>
                  <a:gd name="connsiteY93" fmla="*/ 3352800 h 3680460"/>
                  <a:gd name="connsiteX94" fmla="*/ 2080260 w 3018472"/>
                  <a:gd name="connsiteY94" fmla="*/ 3337560 h 3680460"/>
                  <a:gd name="connsiteX95" fmla="*/ 2156460 w 3018472"/>
                  <a:gd name="connsiteY95" fmla="*/ 3299460 h 3680460"/>
                  <a:gd name="connsiteX96" fmla="*/ 2179320 w 3018472"/>
                  <a:gd name="connsiteY96" fmla="*/ 3284220 h 3680460"/>
                  <a:gd name="connsiteX97" fmla="*/ 2209800 w 3018472"/>
                  <a:gd name="connsiteY97" fmla="*/ 3276600 h 3680460"/>
                  <a:gd name="connsiteX98" fmla="*/ 2263140 w 3018472"/>
                  <a:gd name="connsiteY98" fmla="*/ 3230880 h 3680460"/>
                  <a:gd name="connsiteX99" fmla="*/ 2346960 w 3018472"/>
                  <a:gd name="connsiteY99" fmla="*/ 3154680 h 3680460"/>
                  <a:gd name="connsiteX100" fmla="*/ 2400300 w 3018472"/>
                  <a:gd name="connsiteY100" fmla="*/ 3070860 h 3680460"/>
                  <a:gd name="connsiteX101" fmla="*/ 2415540 w 3018472"/>
                  <a:gd name="connsiteY101" fmla="*/ 3048000 h 3680460"/>
                  <a:gd name="connsiteX102" fmla="*/ 2446020 w 3018472"/>
                  <a:gd name="connsiteY102" fmla="*/ 3032760 h 3680460"/>
                  <a:gd name="connsiteX103" fmla="*/ 2468880 w 3018472"/>
                  <a:gd name="connsiteY103" fmla="*/ 3009900 h 3680460"/>
                  <a:gd name="connsiteX104" fmla="*/ 2537460 w 3018472"/>
                  <a:gd name="connsiteY104" fmla="*/ 2926080 h 3680460"/>
                  <a:gd name="connsiteX105" fmla="*/ 2575560 w 3018472"/>
                  <a:gd name="connsiteY105" fmla="*/ 2880360 h 3680460"/>
                  <a:gd name="connsiteX106" fmla="*/ 2628900 w 3018472"/>
                  <a:gd name="connsiteY106" fmla="*/ 2811780 h 3680460"/>
                  <a:gd name="connsiteX107" fmla="*/ 2644140 w 3018472"/>
                  <a:gd name="connsiteY107" fmla="*/ 2773680 h 3680460"/>
                  <a:gd name="connsiteX108" fmla="*/ 2674620 w 3018472"/>
                  <a:gd name="connsiteY108" fmla="*/ 2727960 h 3680460"/>
                  <a:gd name="connsiteX109" fmla="*/ 2689860 w 3018472"/>
                  <a:gd name="connsiteY109" fmla="*/ 2705100 h 3680460"/>
                  <a:gd name="connsiteX110" fmla="*/ 2705100 w 3018472"/>
                  <a:gd name="connsiteY110" fmla="*/ 2667000 h 3680460"/>
                  <a:gd name="connsiteX111" fmla="*/ 2727960 w 3018472"/>
                  <a:gd name="connsiteY111" fmla="*/ 2621280 h 3680460"/>
                  <a:gd name="connsiteX112" fmla="*/ 2735580 w 3018472"/>
                  <a:gd name="connsiteY112" fmla="*/ 2590800 h 3680460"/>
                  <a:gd name="connsiteX113" fmla="*/ 2758440 w 3018472"/>
                  <a:gd name="connsiteY113" fmla="*/ 2545080 h 3680460"/>
                  <a:gd name="connsiteX114" fmla="*/ 2788920 w 3018472"/>
                  <a:gd name="connsiteY114" fmla="*/ 2484120 h 3680460"/>
                  <a:gd name="connsiteX115" fmla="*/ 2811780 w 3018472"/>
                  <a:gd name="connsiteY115" fmla="*/ 2407920 h 3680460"/>
                  <a:gd name="connsiteX116" fmla="*/ 2842260 w 3018472"/>
                  <a:gd name="connsiteY116" fmla="*/ 2324100 h 3680460"/>
                  <a:gd name="connsiteX117" fmla="*/ 2857500 w 3018472"/>
                  <a:gd name="connsiteY117" fmla="*/ 2247900 h 3680460"/>
                  <a:gd name="connsiteX118" fmla="*/ 2872740 w 3018472"/>
                  <a:gd name="connsiteY118" fmla="*/ 2194560 h 3680460"/>
                  <a:gd name="connsiteX119" fmla="*/ 2887980 w 3018472"/>
                  <a:gd name="connsiteY119" fmla="*/ 2148840 h 3680460"/>
                  <a:gd name="connsiteX120" fmla="*/ 2910840 w 3018472"/>
                  <a:gd name="connsiteY120" fmla="*/ 2087880 h 3680460"/>
                  <a:gd name="connsiteX121" fmla="*/ 2918460 w 3018472"/>
                  <a:gd name="connsiteY121" fmla="*/ 2049780 h 3680460"/>
                  <a:gd name="connsiteX122" fmla="*/ 2933700 w 3018472"/>
                  <a:gd name="connsiteY122" fmla="*/ 1844040 h 3680460"/>
                  <a:gd name="connsiteX123" fmla="*/ 2918460 w 3018472"/>
                  <a:gd name="connsiteY123" fmla="*/ 1470660 h 3680460"/>
                  <a:gd name="connsiteX124" fmla="*/ 2895600 w 3018472"/>
                  <a:gd name="connsiteY124" fmla="*/ 1371600 h 3680460"/>
                  <a:gd name="connsiteX125" fmla="*/ 2880360 w 3018472"/>
                  <a:gd name="connsiteY125" fmla="*/ 1341120 h 3680460"/>
                  <a:gd name="connsiteX126" fmla="*/ 2857500 w 3018472"/>
                  <a:gd name="connsiteY126" fmla="*/ 1272540 h 3680460"/>
                  <a:gd name="connsiteX127" fmla="*/ 2849880 w 3018472"/>
                  <a:gd name="connsiteY127" fmla="*/ 1234440 h 3680460"/>
                  <a:gd name="connsiteX128" fmla="*/ 2827020 w 3018472"/>
                  <a:gd name="connsiteY128" fmla="*/ 1196340 h 3680460"/>
                  <a:gd name="connsiteX129" fmla="*/ 2811780 w 3018472"/>
                  <a:gd name="connsiteY129" fmla="*/ 1165860 h 3680460"/>
                  <a:gd name="connsiteX130" fmla="*/ 2781300 w 3018472"/>
                  <a:gd name="connsiteY130" fmla="*/ 1127760 h 3680460"/>
                  <a:gd name="connsiteX131" fmla="*/ 2766060 w 3018472"/>
                  <a:gd name="connsiteY131" fmla="*/ 1089660 h 3680460"/>
                  <a:gd name="connsiteX132" fmla="*/ 2735580 w 3018472"/>
                  <a:gd name="connsiteY132" fmla="*/ 1043940 h 3680460"/>
                  <a:gd name="connsiteX133" fmla="*/ 2727960 w 3018472"/>
                  <a:gd name="connsiteY133" fmla="*/ 1021080 h 3680460"/>
                  <a:gd name="connsiteX134" fmla="*/ 2682240 w 3018472"/>
                  <a:gd name="connsiteY134" fmla="*/ 937260 h 3680460"/>
                  <a:gd name="connsiteX135" fmla="*/ 2659380 w 3018472"/>
                  <a:gd name="connsiteY135" fmla="*/ 876300 h 3680460"/>
                  <a:gd name="connsiteX136" fmla="*/ 2644140 w 3018472"/>
                  <a:gd name="connsiteY136" fmla="*/ 845820 h 3680460"/>
                  <a:gd name="connsiteX137" fmla="*/ 2636520 w 3018472"/>
                  <a:gd name="connsiteY137" fmla="*/ 822960 h 3680460"/>
                  <a:gd name="connsiteX138" fmla="*/ 2621280 w 3018472"/>
                  <a:gd name="connsiteY138" fmla="*/ 800100 h 3680460"/>
                  <a:gd name="connsiteX139" fmla="*/ 2598420 w 3018472"/>
                  <a:gd name="connsiteY139" fmla="*/ 739140 h 3680460"/>
                  <a:gd name="connsiteX140" fmla="*/ 2458403 w 3018472"/>
                  <a:gd name="connsiteY140" fmla="*/ 621983 h 3680460"/>
                  <a:gd name="connsiteX141" fmla="*/ 2301240 w 3018472"/>
                  <a:gd name="connsiteY141" fmla="*/ 458152 h 3680460"/>
                  <a:gd name="connsiteX142" fmla="*/ 2237423 w 3018472"/>
                  <a:gd name="connsiteY142" fmla="*/ 406717 h 3680460"/>
                  <a:gd name="connsiteX143" fmla="*/ 2103120 w 3018472"/>
                  <a:gd name="connsiteY143" fmla="*/ 312420 h 3680460"/>
                  <a:gd name="connsiteX144" fmla="*/ 2042160 w 3018472"/>
                  <a:gd name="connsiteY144" fmla="*/ 266700 h 3680460"/>
                  <a:gd name="connsiteX145" fmla="*/ 2004060 w 3018472"/>
                  <a:gd name="connsiteY145" fmla="*/ 251460 h 3680460"/>
                  <a:gd name="connsiteX146" fmla="*/ 1958340 w 3018472"/>
                  <a:gd name="connsiteY146" fmla="*/ 220980 h 3680460"/>
                  <a:gd name="connsiteX147" fmla="*/ 1897380 w 3018472"/>
                  <a:gd name="connsiteY147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57500 w 3018472"/>
                  <a:gd name="connsiteY35" fmla="*/ 2606040 h 3680460"/>
                  <a:gd name="connsiteX36" fmla="*/ 2810828 w 3018472"/>
                  <a:gd name="connsiteY36" fmla="*/ 2656523 h 3680460"/>
                  <a:gd name="connsiteX37" fmla="*/ 2752725 w 3018472"/>
                  <a:gd name="connsiteY37" fmla="*/ 2789872 h 3680460"/>
                  <a:gd name="connsiteX38" fmla="*/ 2505075 w 3018472"/>
                  <a:gd name="connsiteY38" fmla="*/ 3084195 h 3680460"/>
                  <a:gd name="connsiteX39" fmla="*/ 2377440 w 3018472"/>
                  <a:gd name="connsiteY39" fmla="*/ 3223260 h 3680460"/>
                  <a:gd name="connsiteX40" fmla="*/ 2293620 w 3018472"/>
                  <a:gd name="connsiteY40" fmla="*/ 3284220 h 3680460"/>
                  <a:gd name="connsiteX41" fmla="*/ 2240280 w 3018472"/>
                  <a:gd name="connsiteY41" fmla="*/ 3314700 h 3680460"/>
                  <a:gd name="connsiteX42" fmla="*/ 2225040 w 3018472"/>
                  <a:gd name="connsiteY42" fmla="*/ 3337560 h 3680460"/>
                  <a:gd name="connsiteX43" fmla="*/ 2141220 w 3018472"/>
                  <a:gd name="connsiteY43" fmla="*/ 3390900 h 3680460"/>
                  <a:gd name="connsiteX44" fmla="*/ 2110740 w 3018472"/>
                  <a:gd name="connsiteY44" fmla="*/ 3413760 h 3680460"/>
                  <a:gd name="connsiteX45" fmla="*/ 2072640 w 3018472"/>
                  <a:gd name="connsiteY45" fmla="*/ 3451860 h 3680460"/>
                  <a:gd name="connsiteX46" fmla="*/ 2019300 w 3018472"/>
                  <a:gd name="connsiteY46" fmla="*/ 3467100 h 3680460"/>
                  <a:gd name="connsiteX47" fmla="*/ 1874520 w 3018472"/>
                  <a:gd name="connsiteY47" fmla="*/ 3512820 h 3680460"/>
                  <a:gd name="connsiteX48" fmla="*/ 1828800 w 3018472"/>
                  <a:gd name="connsiteY48" fmla="*/ 3520440 h 3680460"/>
                  <a:gd name="connsiteX49" fmla="*/ 1722120 w 3018472"/>
                  <a:gd name="connsiteY49" fmla="*/ 3550920 h 3680460"/>
                  <a:gd name="connsiteX50" fmla="*/ 1600200 w 3018472"/>
                  <a:gd name="connsiteY50" fmla="*/ 3589020 h 3680460"/>
                  <a:gd name="connsiteX51" fmla="*/ 1569720 w 3018472"/>
                  <a:gd name="connsiteY51" fmla="*/ 3596640 h 3680460"/>
                  <a:gd name="connsiteX52" fmla="*/ 1546860 w 3018472"/>
                  <a:gd name="connsiteY52" fmla="*/ 3611880 h 3680460"/>
                  <a:gd name="connsiteX53" fmla="*/ 1463040 w 3018472"/>
                  <a:gd name="connsiteY53" fmla="*/ 3627120 h 3680460"/>
                  <a:gd name="connsiteX54" fmla="*/ 1333500 w 3018472"/>
                  <a:gd name="connsiteY54" fmla="*/ 3657600 h 3680460"/>
                  <a:gd name="connsiteX55" fmla="*/ 1203960 w 3018472"/>
                  <a:gd name="connsiteY55" fmla="*/ 3672840 h 3680460"/>
                  <a:gd name="connsiteX56" fmla="*/ 1165860 w 3018472"/>
                  <a:gd name="connsiteY56" fmla="*/ 3680460 h 3680460"/>
                  <a:gd name="connsiteX57" fmla="*/ 449580 w 3018472"/>
                  <a:gd name="connsiteY57" fmla="*/ 3672840 h 3680460"/>
                  <a:gd name="connsiteX58" fmla="*/ 426720 w 3018472"/>
                  <a:gd name="connsiteY58" fmla="*/ 3665220 h 3680460"/>
                  <a:gd name="connsiteX59" fmla="*/ 388620 w 3018472"/>
                  <a:gd name="connsiteY59" fmla="*/ 3657600 h 3680460"/>
                  <a:gd name="connsiteX60" fmla="*/ 335280 w 3018472"/>
                  <a:gd name="connsiteY60" fmla="*/ 3627120 h 3680460"/>
                  <a:gd name="connsiteX61" fmla="*/ 266700 w 3018472"/>
                  <a:gd name="connsiteY61" fmla="*/ 3604260 h 3680460"/>
                  <a:gd name="connsiteX62" fmla="*/ 243840 w 3018472"/>
                  <a:gd name="connsiteY62" fmla="*/ 3589020 h 3680460"/>
                  <a:gd name="connsiteX63" fmla="*/ 160020 w 3018472"/>
                  <a:gd name="connsiteY63" fmla="*/ 3558540 h 3680460"/>
                  <a:gd name="connsiteX64" fmla="*/ 137160 w 3018472"/>
                  <a:gd name="connsiteY64" fmla="*/ 3535680 h 3680460"/>
                  <a:gd name="connsiteX65" fmla="*/ 99060 w 3018472"/>
                  <a:gd name="connsiteY65" fmla="*/ 3520440 h 3680460"/>
                  <a:gd name="connsiteX66" fmla="*/ 83820 w 3018472"/>
                  <a:gd name="connsiteY66" fmla="*/ 3489960 h 3680460"/>
                  <a:gd name="connsiteX67" fmla="*/ 45720 w 3018472"/>
                  <a:gd name="connsiteY67" fmla="*/ 3436620 h 3680460"/>
                  <a:gd name="connsiteX68" fmla="*/ 0 w 3018472"/>
                  <a:gd name="connsiteY68" fmla="*/ 3352800 h 3680460"/>
                  <a:gd name="connsiteX69" fmla="*/ 30480 w 3018472"/>
                  <a:gd name="connsiteY69" fmla="*/ 3345180 h 3680460"/>
                  <a:gd name="connsiteX70" fmla="*/ 137160 w 3018472"/>
                  <a:gd name="connsiteY70" fmla="*/ 3360420 h 3680460"/>
                  <a:gd name="connsiteX71" fmla="*/ 167640 w 3018472"/>
                  <a:gd name="connsiteY71" fmla="*/ 3390900 h 3680460"/>
                  <a:gd name="connsiteX72" fmla="*/ 198120 w 3018472"/>
                  <a:gd name="connsiteY72" fmla="*/ 3406140 h 3680460"/>
                  <a:gd name="connsiteX73" fmla="*/ 350520 w 3018472"/>
                  <a:gd name="connsiteY73" fmla="*/ 3436620 h 3680460"/>
                  <a:gd name="connsiteX74" fmla="*/ 381000 w 3018472"/>
                  <a:gd name="connsiteY74" fmla="*/ 3451860 h 3680460"/>
                  <a:gd name="connsiteX75" fmla="*/ 449580 w 3018472"/>
                  <a:gd name="connsiteY75" fmla="*/ 3489960 h 3680460"/>
                  <a:gd name="connsiteX76" fmla="*/ 495300 w 3018472"/>
                  <a:gd name="connsiteY76" fmla="*/ 3520440 h 3680460"/>
                  <a:gd name="connsiteX77" fmla="*/ 525780 w 3018472"/>
                  <a:gd name="connsiteY77" fmla="*/ 3535680 h 3680460"/>
                  <a:gd name="connsiteX78" fmla="*/ 731520 w 3018472"/>
                  <a:gd name="connsiteY78" fmla="*/ 3558540 h 3680460"/>
                  <a:gd name="connsiteX79" fmla="*/ 1341120 w 3018472"/>
                  <a:gd name="connsiteY79" fmla="*/ 3550920 h 3680460"/>
                  <a:gd name="connsiteX80" fmla="*/ 1440180 w 3018472"/>
                  <a:gd name="connsiteY80" fmla="*/ 3528060 h 3680460"/>
                  <a:gd name="connsiteX81" fmla="*/ 1539240 w 3018472"/>
                  <a:gd name="connsiteY81" fmla="*/ 3520440 h 3680460"/>
                  <a:gd name="connsiteX82" fmla="*/ 1562100 w 3018472"/>
                  <a:gd name="connsiteY82" fmla="*/ 3512820 h 3680460"/>
                  <a:gd name="connsiteX83" fmla="*/ 1630680 w 3018472"/>
                  <a:gd name="connsiteY83" fmla="*/ 3497580 h 3680460"/>
                  <a:gd name="connsiteX84" fmla="*/ 1699260 w 3018472"/>
                  <a:gd name="connsiteY84" fmla="*/ 3474720 h 3680460"/>
                  <a:gd name="connsiteX85" fmla="*/ 1790700 w 3018472"/>
                  <a:gd name="connsiteY85" fmla="*/ 3451860 h 3680460"/>
                  <a:gd name="connsiteX86" fmla="*/ 1821180 w 3018472"/>
                  <a:gd name="connsiteY86" fmla="*/ 3444240 h 3680460"/>
                  <a:gd name="connsiteX87" fmla="*/ 1844040 w 3018472"/>
                  <a:gd name="connsiteY87" fmla="*/ 3429000 h 3680460"/>
                  <a:gd name="connsiteX88" fmla="*/ 1874520 w 3018472"/>
                  <a:gd name="connsiteY88" fmla="*/ 3421380 h 3680460"/>
                  <a:gd name="connsiteX89" fmla="*/ 1927860 w 3018472"/>
                  <a:gd name="connsiteY89" fmla="*/ 3398520 h 3680460"/>
                  <a:gd name="connsiteX90" fmla="*/ 1950720 w 3018472"/>
                  <a:gd name="connsiteY90" fmla="*/ 3390900 h 3680460"/>
                  <a:gd name="connsiteX91" fmla="*/ 2004060 w 3018472"/>
                  <a:gd name="connsiteY91" fmla="*/ 3360420 h 3680460"/>
                  <a:gd name="connsiteX92" fmla="*/ 2042160 w 3018472"/>
                  <a:gd name="connsiteY92" fmla="*/ 3352800 h 3680460"/>
                  <a:gd name="connsiteX93" fmla="*/ 2080260 w 3018472"/>
                  <a:gd name="connsiteY93" fmla="*/ 3337560 h 3680460"/>
                  <a:gd name="connsiteX94" fmla="*/ 2156460 w 3018472"/>
                  <a:gd name="connsiteY94" fmla="*/ 3299460 h 3680460"/>
                  <a:gd name="connsiteX95" fmla="*/ 2179320 w 3018472"/>
                  <a:gd name="connsiteY95" fmla="*/ 3284220 h 3680460"/>
                  <a:gd name="connsiteX96" fmla="*/ 2209800 w 3018472"/>
                  <a:gd name="connsiteY96" fmla="*/ 3276600 h 3680460"/>
                  <a:gd name="connsiteX97" fmla="*/ 2263140 w 3018472"/>
                  <a:gd name="connsiteY97" fmla="*/ 3230880 h 3680460"/>
                  <a:gd name="connsiteX98" fmla="*/ 2346960 w 3018472"/>
                  <a:gd name="connsiteY98" fmla="*/ 3154680 h 3680460"/>
                  <a:gd name="connsiteX99" fmla="*/ 2400300 w 3018472"/>
                  <a:gd name="connsiteY99" fmla="*/ 3070860 h 3680460"/>
                  <a:gd name="connsiteX100" fmla="*/ 2415540 w 3018472"/>
                  <a:gd name="connsiteY100" fmla="*/ 3048000 h 3680460"/>
                  <a:gd name="connsiteX101" fmla="*/ 2446020 w 3018472"/>
                  <a:gd name="connsiteY101" fmla="*/ 3032760 h 3680460"/>
                  <a:gd name="connsiteX102" fmla="*/ 2468880 w 3018472"/>
                  <a:gd name="connsiteY102" fmla="*/ 3009900 h 3680460"/>
                  <a:gd name="connsiteX103" fmla="*/ 2537460 w 3018472"/>
                  <a:gd name="connsiteY103" fmla="*/ 2926080 h 3680460"/>
                  <a:gd name="connsiteX104" fmla="*/ 2575560 w 3018472"/>
                  <a:gd name="connsiteY104" fmla="*/ 2880360 h 3680460"/>
                  <a:gd name="connsiteX105" fmla="*/ 2628900 w 3018472"/>
                  <a:gd name="connsiteY105" fmla="*/ 2811780 h 3680460"/>
                  <a:gd name="connsiteX106" fmla="*/ 2644140 w 3018472"/>
                  <a:gd name="connsiteY106" fmla="*/ 2773680 h 3680460"/>
                  <a:gd name="connsiteX107" fmla="*/ 2674620 w 3018472"/>
                  <a:gd name="connsiteY107" fmla="*/ 2727960 h 3680460"/>
                  <a:gd name="connsiteX108" fmla="*/ 2689860 w 3018472"/>
                  <a:gd name="connsiteY108" fmla="*/ 2705100 h 3680460"/>
                  <a:gd name="connsiteX109" fmla="*/ 2705100 w 3018472"/>
                  <a:gd name="connsiteY109" fmla="*/ 2667000 h 3680460"/>
                  <a:gd name="connsiteX110" fmla="*/ 2727960 w 3018472"/>
                  <a:gd name="connsiteY110" fmla="*/ 2621280 h 3680460"/>
                  <a:gd name="connsiteX111" fmla="*/ 2735580 w 3018472"/>
                  <a:gd name="connsiteY111" fmla="*/ 2590800 h 3680460"/>
                  <a:gd name="connsiteX112" fmla="*/ 2758440 w 3018472"/>
                  <a:gd name="connsiteY112" fmla="*/ 2545080 h 3680460"/>
                  <a:gd name="connsiteX113" fmla="*/ 2788920 w 3018472"/>
                  <a:gd name="connsiteY113" fmla="*/ 2484120 h 3680460"/>
                  <a:gd name="connsiteX114" fmla="*/ 2811780 w 3018472"/>
                  <a:gd name="connsiteY114" fmla="*/ 2407920 h 3680460"/>
                  <a:gd name="connsiteX115" fmla="*/ 2842260 w 3018472"/>
                  <a:gd name="connsiteY115" fmla="*/ 2324100 h 3680460"/>
                  <a:gd name="connsiteX116" fmla="*/ 2857500 w 3018472"/>
                  <a:gd name="connsiteY116" fmla="*/ 2247900 h 3680460"/>
                  <a:gd name="connsiteX117" fmla="*/ 2872740 w 3018472"/>
                  <a:gd name="connsiteY117" fmla="*/ 2194560 h 3680460"/>
                  <a:gd name="connsiteX118" fmla="*/ 2887980 w 3018472"/>
                  <a:gd name="connsiteY118" fmla="*/ 2148840 h 3680460"/>
                  <a:gd name="connsiteX119" fmla="*/ 2910840 w 3018472"/>
                  <a:gd name="connsiteY119" fmla="*/ 2087880 h 3680460"/>
                  <a:gd name="connsiteX120" fmla="*/ 2918460 w 3018472"/>
                  <a:gd name="connsiteY120" fmla="*/ 2049780 h 3680460"/>
                  <a:gd name="connsiteX121" fmla="*/ 2933700 w 3018472"/>
                  <a:gd name="connsiteY121" fmla="*/ 1844040 h 3680460"/>
                  <a:gd name="connsiteX122" fmla="*/ 2918460 w 3018472"/>
                  <a:gd name="connsiteY122" fmla="*/ 1470660 h 3680460"/>
                  <a:gd name="connsiteX123" fmla="*/ 2895600 w 3018472"/>
                  <a:gd name="connsiteY123" fmla="*/ 1371600 h 3680460"/>
                  <a:gd name="connsiteX124" fmla="*/ 2880360 w 3018472"/>
                  <a:gd name="connsiteY124" fmla="*/ 1341120 h 3680460"/>
                  <a:gd name="connsiteX125" fmla="*/ 2857500 w 3018472"/>
                  <a:gd name="connsiteY125" fmla="*/ 1272540 h 3680460"/>
                  <a:gd name="connsiteX126" fmla="*/ 2849880 w 3018472"/>
                  <a:gd name="connsiteY126" fmla="*/ 1234440 h 3680460"/>
                  <a:gd name="connsiteX127" fmla="*/ 2827020 w 3018472"/>
                  <a:gd name="connsiteY127" fmla="*/ 1196340 h 3680460"/>
                  <a:gd name="connsiteX128" fmla="*/ 2811780 w 3018472"/>
                  <a:gd name="connsiteY128" fmla="*/ 1165860 h 3680460"/>
                  <a:gd name="connsiteX129" fmla="*/ 2781300 w 3018472"/>
                  <a:gd name="connsiteY129" fmla="*/ 1127760 h 3680460"/>
                  <a:gd name="connsiteX130" fmla="*/ 2766060 w 3018472"/>
                  <a:gd name="connsiteY130" fmla="*/ 1089660 h 3680460"/>
                  <a:gd name="connsiteX131" fmla="*/ 2735580 w 3018472"/>
                  <a:gd name="connsiteY131" fmla="*/ 1043940 h 3680460"/>
                  <a:gd name="connsiteX132" fmla="*/ 2727960 w 3018472"/>
                  <a:gd name="connsiteY132" fmla="*/ 1021080 h 3680460"/>
                  <a:gd name="connsiteX133" fmla="*/ 2682240 w 3018472"/>
                  <a:gd name="connsiteY133" fmla="*/ 937260 h 3680460"/>
                  <a:gd name="connsiteX134" fmla="*/ 2659380 w 3018472"/>
                  <a:gd name="connsiteY134" fmla="*/ 876300 h 3680460"/>
                  <a:gd name="connsiteX135" fmla="*/ 2644140 w 3018472"/>
                  <a:gd name="connsiteY135" fmla="*/ 845820 h 3680460"/>
                  <a:gd name="connsiteX136" fmla="*/ 2636520 w 3018472"/>
                  <a:gd name="connsiteY136" fmla="*/ 822960 h 3680460"/>
                  <a:gd name="connsiteX137" fmla="*/ 2621280 w 3018472"/>
                  <a:gd name="connsiteY137" fmla="*/ 800100 h 3680460"/>
                  <a:gd name="connsiteX138" fmla="*/ 2598420 w 3018472"/>
                  <a:gd name="connsiteY138" fmla="*/ 739140 h 3680460"/>
                  <a:gd name="connsiteX139" fmla="*/ 2458403 w 3018472"/>
                  <a:gd name="connsiteY139" fmla="*/ 621983 h 3680460"/>
                  <a:gd name="connsiteX140" fmla="*/ 2301240 w 3018472"/>
                  <a:gd name="connsiteY140" fmla="*/ 458152 h 3680460"/>
                  <a:gd name="connsiteX141" fmla="*/ 2237423 w 3018472"/>
                  <a:gd name="connsiteY141" fmla="*/ 406717 h 3680460"/>
                  <a:gd name="connsiteX142" fmla="*/ 2103120 w 3018472"/>
                  <a:gd name="connsiteY142" fmla="*/ 312420 h 3680460"/>
                  <a:gd name="connsiteX143" fmla="*/ 2042160 w 3018472"/>
                  <a:gd name="connsiteY143" fmla="*/ 266700 h 3680460"/>
                  <a:gd name="connsiteX144" fmla="*/ 2004060 w 3018472"/>
                  <a:gd name="connsiteY144" fmla="*/ 251460 h 3680460"/>
                  <a:gd name="connsiteX145" fmla="*/ 1958340 w 3018472"/>
                  <a:gd name="connsiteY145" fmla="*/ 220980 h 3680460"/>
                  <a:gd name="connsiteX146" fmla="*/ 1897380 w 3018472"/>
                  <a:gd name="connsiteY146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2740 w 3018472"/>
                  <a:gd name="connsiteY34" fmla="*/ 2583180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7503 w 3018472"/>
                  <a:gd name="connsiteY34" fmla="*/ 2540317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918460 w 3018472"/>
                  <a:gd name="connsiteY33" fmla="*/ 2415540 h 3680460"/>
                  <a:gd name="connsiteX34" fmla="*/ 2877503 w 3018472"/>
                  <a:gd name="connsiteY34" fmla="*/ 2521267 h 3680460"/>
                  <a:gd name="connsiteX35" fmla="*/ 2810828 w 3018472"/>
                  <a:gd name="connsiteY35" fmla="*/ 2656523 h 3680460"/>
                  <a:gd name="connsiteX36" fmla="*/ 2752725 w 3018472"/>
                  <a:gd name="connsiteY36" fmla="*/ 2789872 h 3680460"/>
                  <a:gd name="connsiteX37" fmla="*/ 2505075 w 3018472"/>
                  <a:gd name="connsiteY37" fmla="*/ 3084195 h 3680460"/>
                  <a:gd name="connsiteX38" fmla="*/ 2377440 w 3018472"/>
                  <a:gd name="connsiteY38" fmla="*/ 3223260 h 3680460"/>
                  <a:gd name="connsiteX39" fmla="*/ 2293620 w 3018472"/>
                  <a:gd name="connsiteY39" fmla="*/ 3284220 h 3680460"/>
                  <a:gd name="connsiteX40" fmla="*/ 2240280 w 3018472"/>
                  <a:gd name="connsiteY40" fmla="*/ 3314700 h 3680460"/>
                  <a:gd name="connsiteX41" fmla="*/ 2225040 w 3018472"/>
                  <a:gd name="connsiteY41" fmla="*/ 3337560 h 3680460"/>
                  <a:gd name="connsiteX42" fmla="*/ 2141220 w 3018472"/>
                  <a:gd name="connsiteY42" fmla="*/ 3390900 h 3680460"/>
                  <a:gd name="connsiteX43" fmla="*/ 2110740 w 3018472"/>
                  <a:gd name="connsiteY43" fmla="*/ 3413760 h 3680460"/>
                  <a:gd name="connsiteX44" fmla="*/ 2072640 w 3018472"/>
                  <a:gd name="connsiteY44" fmla="*/ 3451860 h 3680460"/>
                  <a:gd name="connsiteX45" fmla="*/ 2019300 w 3018472"/>
                  <a:gd name="connsiteY45" fmla="*/ 3467100 h 3680460"/>
                  <a:gd name="connsiteX46" fmla="*/ 1874520 w 3018472"/>
                  <a:gd name="connsiteY46" fmla="*/ 3512820 h 3680460"/>
                  <a:gd name="connsiteX47" fmla="*/ 1828800 w 3018472"/>
                  <a:gd name="connsiteY47" fmla="*/ 3520440 h 3680460"/>
                  <a:gd name="connsiteX48" fmla="*/ 1722120 w 3018472"/>
                  <a:gd name="connsiteY48" fmla="*/ 3550920 h 3680460"/>
                  <a:gd name="connsiteX49" fmla="*/ 1600200 w 3018472"/>
                  <a:gd name="connsiteY49" fmla="*/ 3589020 h 3680460"/>
                  <a:gd name="connsiteX50" fmla="*/ 1569720 w 3018472"/>
                  <a:gd name="connsiteY50" fmla="*/ 3596640 h 3680460"/>
                  <a:gd name="connsiteX51" fmla="*/ 1546860 w 3018472"/>
                  <a:gd name="connsiteY51" fmla="*/ 3611880 h 3680460"/>
                  <a:gd name="connsiteX52" fmla="*/ 1463040 w 3018472"/>
                  <a:gd name="connsiteY52" fmla="*/ 3627120 h 3680460"/>
                  <a:gd name="connsiteX53" fmla="*/ 1333500 w 3018472"/>
                  <a:gd name="connsiteY53" fmla="*/ 3657600 h 3680460"/>
                  <a:gd name="connsiteX54" fmla="*/ 1203960 w 3018472"/>
                  <a:gd name="connsiteY54" fmla="*/ 3672840 h 3680460"/>
                  <a:gd name="connsiteX55" fmla="*/ 1165860 w 3018472"/>
                  <a:gd name="connsiteY55" fmla="*/ 3680460 h 3680460"/>
                  <a:gd name="connsiteX56" fmla="*/ 449580 w 3018472"/>
                  <a:gd name="connsiteY56" fmla="*/ 3672840 h 3680460"/>
                  <a:gd name="connsiteX57" fmla="*/ 426720 w 3018472"/>
                  <a:gd name="connsiteY57" fmla="*/ 3665220 h 3680460"/>
                  <a:gd name="connsiteX58" fmla="*/ 388620 w 3018472"/>
                  <a:gd name="connsiteY58" fmla="*/ 3657600 h 3680460"/>
                  <a:gd name="connsiteX59" fmla="*/ 335280 w 3018472"/>
                  <a:gd name="connsiteY59" fmla="*/ 3627120 h 3680460"/>
                  <a:gd name="connsiteX60" fmla="*/ 266700 w 3018472"/>
                  <a:gd name="connsiteY60" fmla="*/ 3604260 h 3680460"/>
                  <a:gd name="connsiteX61" fmla="*/ 243840 w 3018472"/>
                  <a:gd name="connsiteY61" fmla="*/ 3589020 h 3680460"/>
                  <a:gd name="connsiteX62" fmla="*/ 160020 w 3018472"/>
                  <a:gd name="connsiteY62" fmla="*/ 3558540 h 3680460"/>
                  <a:gd name="connsiteX63" fmla="*/ 137160 w 3018472"/>
                  <a:gd name="connsiteY63" fmla="*/ 3535680 h 3680460"/>
                  <a:gd name="connsiteX64" fmla="*/ 99060 w 3018472"/>
                  <a:gd name="connsiteY64" fmla="*/ 3520440 h 3680460"/>
                  <a:gd name="connsiteX65" fmla="*/ 83820 w 3018472"/>
                  <a:gd name="connsiteY65" fmla="*/ 3489960 h 3680460"/>
                  <a:gd name="connsiteX66" fmla="*/ 45720 w 3018472"/>
                  <a:gd name="connsiteY66" fmla="*/ 3436620 h 3680460"/>
                  <a:gd name="connsiteX67" fmla="*/ 0 w 3018472"/>
                  <a:gd name="connsiteY67" fmla="*/ 3352800 h 3680460"/>
                  <a:gd name="connsiteX68" fmla="*/ 30480 w 3018472"/>
                  <a:gd name="connsiteY68" fmla="*/ 3345180 h 3680460"/>
                  <a:gd name="connsiteX69" fmla="*/ 137160 w 3018472"/>
                  <a:gd name="connsiteY69" fmla="*/ 3360420 h 3680460"/>
                  <a:gd name="connsiteX70" fmla="*/ 167640 w 3018472"/>
                  <a:gd name="connsiteY70" fmla="*/ 3390900 h 3680460"/>
                  <a:gd name="connsiteX71" fmla="*/ 198120 w 3018472"/>
                  <a:gd name="connsiteY71" fmla="*/ 3406140 h 3680460"/>
                  <a:gd name="connsiteX72" fmla="*/ 350520 w 3018472"/>
                  <a:gd name="connsiteY72" fmla="*/ 3436620 h 3680460"/>
                  <a:gd name="connsiteX73" fmla="*/ 381000 w 3018472"/>
                  <a:gd name="connsiteY73" fmla="*/ 3451860 h 3680460"/>
                  <a:gd name="connsiteX74" fmla="*/ 449580 w 3018472"/>
                  <a:gd name="connsiteY74" fmla="*/ 3489960 h 3680460"/>
                  <a:gd name="connsiteX75" fmla="*/ 495300 w 3018472"/>
                  <a:gd name="connsiteY75" fmla="*/ 3520440 h 3680460"/>
                  <a:gd name="connsiteX76" fmla="*/ 525780 w 3018472"/>
                  <a:gd name="connsiteY76" fmla="*/ 3535680 h 3680460"/>
                  <a:gd name="connsiteX77" fmla="*/ 731520 w 3018472"/>
                  <a:gd name="connsiteY77" fmla="*/ 3558540 h 3680460"/>
                  <a:gd name="connsiteX78" fmla="*/ 1341120 w 3018472"/>
                  <a:gd name="connsiteY78" fmla="*/ 3550920 h 3680460"/>
                  <a:gd name="connsiteX79" fmla="*/ 1440180 w 3018472"/>
                  <a:gd name="connsiteY79" fmla="*/ 3528060 h 3680460"/>
                  <a:gd name="connsiteX80" fmla="*/ 1539240 w 3018472"/>
                  <a:gd name="connsiteY80" fmla="*/ 3520440 h 3680460"/>
                  <a:gd name="connsiteX81" fmla="*/ 1562100 w 3018472"/>
                  <a:gd name="connsiteY81" fmla="*/ 3512820 h 3680460"/>
                  <a:gd name="connsiteX82" fmla="*/ 1630680 w 3018472"/>
                  <a:gd name="connsiteY82" fmla="*/ 3497580 h 3680460"/>
                  <a:gd name="connsiteX83" fmla="*/ 1699260 w 3018472"/>
                  <a:gd name="connsiteY83" fmla="*/ 3474720 h 3680460"/>
                  <a:gd name="connsiteX84" fmla="*/ 1790700 w 3018472"/>
                  <a:gd name="connsiteY84" fmla="*/ 3451860 h 3680460"/>
                  <a:gd name="connsiteX85" fmla="*/ 1821180 w 3018472"/>
                  <a:gd name="connsiteY85" fmla="*/ 3444240 h 3680460"/>
                  <a:gd name="connsiteX86" fmla="*/ 1844040 w 3018472"/>
                  <a:gd name="connsiteY86" fmla="*/ 3429000 h 3680460"/>
                  <a:gd name="connsiteX87" fmla="*/ 1874520 w 3018472"/>
                  <a:gd name="connsiteY87" fmla="*/ 3421380 h 3680460"/>
                  <a:gd name="connsiteX88" fmla="*/ 1927860 w 3018472"/>
                  <a:gd name="connsiteY88" fmla="*/ 3398520 h 3680460"/>
                  <a:gd name="connsiteX89" fmla="*/ 1950720 w 3018472"/>
                  <a:gd name="connsiteY89" fmla="*/ 3390900 h 3680460"/>
                  <a:gd name="connsiteX90" fmla="*/ 2004060 w 3018472"/>
                  <a:gd name="connsiteY90" fmla="*/ 3360420 h 3680460"/>
                  <a:gd name="connsiteX91" fmla="*/ 2042160 w 3018472"/>
                  <a:gd name="connsiteY91" fmla="*/ 3352800 h 3680460"/>
                  <a:gd name="connsiteX92" fmla="*/ 2080260 w 3018472"/>
                  <a:gd name="connsiteY92" fmla="*/ 3337560 h 3680460"/>
                  <a:gd name="connsiteX93" fmla="*/ 2156460 w 3018472"/>
                  <a:gd name="connsiteY93" fmla="*/ 3299460 h 3680460"/>
                  <a:gd name="connsiteX94" fmla="*/ 2179320 w 3018472"/>
                  <a:gd name="connsiteY94" fmla="*/ 3284220 h 3680460"/>
                  <a:gd name="connsiteX95" fmla="*/ 2209800 w 3018472"/>
                  <a:gd name="connsiteY95" fmla="*/ 3276600 h 3680460"/>
                  <a:gd name="connsiteX96" fmla="*/ 2263140 w 3018472"/>
                  <a:gd name="connsiteY96" fmla="*/ 3230880 h 3680460"/>
                  <a:gd name="connsiteX97" fmla="*/ 2346960 w 3018472"/>
                  <a:gd name="connsiteY97" fmla="*/ 3154680 h 3680460"/>
                  <a:gd name="connsiteX98" fmla="*/ 2400300 w 3018472"/>
                  <a:gd name="connsiteY98" fmla="*/ 3070860 h 3680460"/>
                  <a:gd name="connsiteX99" fmla="*/ 2415540 w 3018472"/>
                  <a:gd name="connsiteY99" fmla="*/ 3048000 h 3680460"/>
                  <a:gd name="connsiteX100" fmla="*/ 2446020 w 3018472"/>
                  <a:gd name="connsiteY100" fmla="*/ 3032760 h 3680460"/>
                  <a:gd name="connsiteX101" fmla="*/ 2468880 w 3018472"/>
                  <a:gd name="connsiteY101" fmla="*/ 3009900 h 3680460"/>
                  <a:gd name="connsiteX102" fmla="*/ 2537460 w 3018472"/>
                  <a:gd name="connsiteY102" fmla="*/ 2926080 h 3680460"/>
                  <a:gd name="connsiteX103" fmla="*/ 2575560 w 3018472"/>
                  <a:gd name="connsiteY103" fmla="*/ 2880360 h 3680460"/>
                  <a:gd name="connsiteX104" fmla="*/ 2628900 w 3018472"/>
                  <a:gd name="connsiteY104" fmla="*/ 2811780 h 3680460"/>
                  <a:gd name="connsiteX105" fmla="*/ 2644140 w 3018472"/>
                  <a:gd name="connsiteY105" fmla="*/ 2773680 h 3680460"/>
                  <a:gd name="connsiteX106" fmla="*/ 2674620 w 3018472"/>
                  <a:gd name="connsiteY106" fmla="*/ 2727960 h 3680460"/>
                  <a:gd name="connsiteX107" fmla="*/ 2689860 w 3018472"/>
                  <a:gd name="connsiteY107" fmla="*/ 2705100 h 3680460"/>
                  <a:gd name="connsiteX108" fmla="*/ 2705100 w 3018472"/>
                  <a:gd name="connsiteY108" fmla="*/ 2667000 h 3680460"/>
                  <a:gd name="connsiteX109" fmla="*/ 2727960 w 3018472"/>
                  <a:gd name="connsiteY109" fmla="*/ 2621280 h 3680460"/>
                  <a:gd name="connsiteX110" fmla="*/ 2735580 w 3018472"/>
                  <a:gd name="connsiteY110" fmla="*/ 2590800 h 3680460"/>
                  <a:gd name="connsiteX111" fmla="*/ 2758440 w 3018472"/>
                  <a:gd name="connsiteY111" fmla="*/ 2545080 h 3680460"/>
                  <a:gd name="connsiteX112" fmla="*/ 2788920 w 3018472"/>
                  <a:gd name="connsiteY112" fmla="*/ 2484120 h 3680460"/>
                  <a:gd name="connsiteX113" fmla="*/ 2811780 w 3018472"/>
                  <a:gd name="connsiteY113" fmla="*/ 2407920 h 3680460"/>
                  <a:gd name="connsiteX114" fmla="*/ 2842260 w 3018472"/>
                  <a:gd name="connsiteY114" fmla="*/ 2324100 h 3680460"/>
                  <a:gd name="connsiteX115" fmla="*/ 2857500 w 3018472"/>
                  <a:gd name="connsiteY115" fmla="*/ 2247900 h 3680460"/>
                  <a:gd name="connsiteX116" fmla="*/ 2872740 w 3018472"/>
                  <a:gd name="connsiteY116" fmla="*/ 2194560 h 3680460"/>
                  <a:gd name="connsiteX117" fmla="*/ 2887980 w 3018472"/>
                  <a:gd name="connsiteY117" fmla="*/ 2148840 h 3680460"/>
                  <a:gd name="connsiteX118" fmla="*/ 2910840 w 3018472"/>
                  <a:gd name="connsiteY118" fmla="*/ 2087880 h 3680460"/>
                  <a:gd name="connsiteX119" fmla="*/ 2918460 w 3018472"/>
                  <a:gd name="connsiteY119" fmla="*/ 2049780 h 3680460"/>
                  <a:gd name="connsiteX120" fmla="*/ 2933700 w 3018472"/>
                  <a:gd name="connsiteY120" fmla="*/ 1844040 h 3680460"/>
                  <a:gd name="connsiteX121" fmla="*/ 2918460 w 3018472"/>
                  <a:gd name="connsiteY121" fmla="*/ 1470660 h 3680460"/>
                  <a:gd name="connsiteX122" fmla="*/ 2895600 w 3018472"/>
                  <a:gd name="connsiteY122" fmla="*/ 1371600 h 3680460"/>
                  <a:gd name="connsiteX123" fmla="*/ 2880360 w 3018472"/>
                  <a:gd name="connsiteY123" fmla="*/ 1341120 h 3680460"/>
                  <a:gd name="connsiteX124" fmla="*/ 2857500 w 3018472"/>
                  <a:gd name="connsiteY124" fmla="*/ 1272540 h 3680460"/>
                  <a:gd name="connsiteX125" fmla="*/ 2849880 w 3018472"/>
                  <a:gd name="connsiteY125" fmla="*/ 1234440 h 3680460"/>
                  <a:gd name="connsiteX126" fmla="*/ 2827020 w 3018472"/>
                  <a:gd name="connsiteY126" fmla="*/ 1196340 h 3680460"/>
                  <a:gd name="connsiteX127" fmla="*/ 2811780 w 3018472"/>
                  <a:gd name="connsiteY127" fmla="*/ 1165860 h 3680460"/>
                  <a:gd name="connsiteX128" fmla="*/ 2781300 w 3018472"/>
                  <a:gd name="connsiteY128" fmla="*/ 1127760 h 3680460"/>
                  <a:gd name="connsiteX129" fmla="*/ 2766060 w 3018472"/>
                  <a:gd name="connsiteY129" fmla="*/ 1089660 h 3680460"/>
                  <a:gd name="connsiteX130" fmla="*/ 2735580 w 3018472"/>
                  <a:gd name="connsiteY130" fmla="*/ 1043940 h 3680460"/>
                  <a:gd name="connsiteX131" fmla="*/ 2727960 w 3018472"/>
                  <a:gd name="connsiteY131" fmla="*/ 1021080 h 3680460"/>
                  <a:gd name="connsiteX132" fmla="*/ 2682240 w 3018472"/>
                  <a:gd name="connsiteY132" fmla="*/ 937260 h 3680460"/>
                  <a:gd name="connsiteX133" fmla="*/ 2659380 w 3018472"/>
                  <a:gd name="connsiteY133" fmla="*/ 876300 h 3680460"/>
                  <a:gd name="connsiteX134" fmla="*/ 2644140 w 3018472"/>
                  <a:gd name="connsiteY134" fmla="*/ 845820 h 3680460"/>
                  <a:gd name="connsiteX135" fmla="*/ 2636520 w 3018472"/>
                  <a:gd name="connsiteY135" fmla="*/ 822960 h 3680460"/>
                  <a:gd name="connsiteX136" fmla="*/ 2621280 w 3018472"/>
                  <a:gd name="connsiteY136" fmla="*/ 800100 h 3680460"/>
                  <a:gd name="connsiteX137" fmla="*/ 2598420 w 3018472"/>
                  <a:gd name="connsiteY137" fmla="*/ 739140 h 3680460"/>
                  <a:gd name="connsiteX138" fmla="*/ 2458403 w 3018472"/>
                  <a:gd name="connsiteY138" fmla="*/ 621983 h 3680460"/>
                  <a:gd name="connsiteX139" fmla="*/ 2301240 w 3018472"/>
                  <a:gd name="connsiteY139" fmla="*/ 458152 h 3680460"/>
                  <a:gd name="connsiteX140" fmla="*/ 2237423 w 3018472"/>
                  <a:gd name="connsiteY140" fmla="*/ 406717 h 3680460"/>
                  <a:gd name="connsiteX141" fmla="*/ 2103120 w 3018472"/>
                  <a:gd name="connsiteY141" fmla="*/ 312420 h 3680460"/>
                  <a:gd name="connsiteX142" fmla="*/ 2042160 w 3018472"/>
                  <a:gd name="connsiteY142" fmla="*/ 266700 h 3680460"/>
                  <a:gd name="connsiteX143" fmla="*/ 2004060 w 3018472"/>
                  <a:gd name="connsiteY143" fmla="*/ 251460 h 3680460"/>
                  <a:gd name="connsiteX144" fmla="*/ 1958340 w 3018472"/>
                  <a:gd name="connsiteY144" fmla="*/ 220980 h 3680460"/>
                  <a:gd name="connsiteX145" fmla="*/ 1897380 w 3018472"/>
                  <a:gd name="connsiteY145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877503 w 3018472"/>
                  <a:gd name="connsiteY33" fmla="*/ 2521267 h 3680460"/>
                  <a:gd name="connsiteX34" fmla="*/ 2810828 w 3018472"/>
                  <a:gd name="connsiteY34" fmla="*/ 2656523 h 3680460"/>
                  <a:gd name="connsiteX35" fmla="*/ 2752725 w 3018472"/>
                  <a:gd name="connsiteY35" fmla="*/ 2789872 h 3680460"/>
                  <a:gd name="connsiteX36" fmla="*/ 2505075 w 3018472"/>
                  <a:gd name="connsiteY36" fmla="*/ 3084195 h 3680460"/>
                  <a:gd name="connsiteX37" fmla="*/ 2377440 w 3018472"/>
                  <a:gd name="connsiteY37" fmla="*/ 3223260 h 3680460"/>
                  <a:gd name="connsiteX38" fmla="*/ 2293620 w 3018472"/>
                  <a:gd name="connsiteY38" fmla="*/ 3284220 h 3680460"/>
                  <a:gd name="connsiteX39" fmla="*/ 2240280 w 3018472"/>
                  <a:gd name="connsiteY39" fmla="*/ 3314700 h 3680460"/>
                  <a:gd name="connsiteX40" fmla="*/ 2225040 w 3018472"/>
                  <a:gd name="connsiteY40" fmla="*/ 3337560 h 3680460"/>
                  <a:gd name="connsiteX41" fmla="*/ 2141220 w 3018472"/>
                  <a:gd name="connsiteY41" fmla="*/ 3390900 h 3680460"/>
                  <a:gd name="connsiteX42" fmla="*/ 2110740 w 3018472"/>
                  <a:gd name="connsiteY42" fmla="*/ 3413760 h 3680460"/>
                  <a:gd name="connsiteX43" fmla="*/ 2072640 w 3018472"/>
                  <a:gd name="connsiteY43" fmla="*/ 3451860 h 3680460"/>
                  <a:gd name="connsiteX44" fmla="*/ 2019300 w 3018472"/>
                  <a:gd name="connsiteY44" fmla="*/ 3467100 h 3680460"/>
                  <a:gd name="connsiteX45" fmla="*/ 1874520 w 3018472"/>
                  <a:gd name="connsiteY45" fmla="*/ 3512820 h 3680460"/>
                  <a:gd name="connsiteX46" fmla="*/ 1828800 w 3018472"/>
                  <a:gd name="connsiteY46" fmla="*/ 3520440 h 3680460"/>
                  <a:gd name="connsiteX47" fmla="*/ 1722120 w 3018472"/>
                  <a:gd name="connsiteY47" fmla="*/ 3550920 h 3680460"/>
                  <a:gd name="connsiteX48" fmla="*/ 1600200 w 3018472"/>
                  <a:gd name="connsiteY48" fmla="*/ 3589020 h 3680460"/>
                  <a:gd name="connsiteX49" fmla="*/ 1569720 w 3018472"/>
                  <a:gd name="connsiteY49" fmla="*/ 3596640 h 3680460"/>
                  <a:gd name="connsiteX50" fmla="*/ 1546860 w 3018472"/>
                  <a:gd name="connsiteY50" fmla="*/ 3611880 h 3680460"/>
                  <a:gd name="connsiteX51" fmla="*/ 1463040 w 3018472"/>
                  <a:gd name="connsiteY51" fmla="*/ 3627120 h 3680460"/>
                  <a:gd name="connsiteX52" fmla="*/ 1333500 w 3018472"/>
                  <a:gd name="connsiteY52" fmla="*/ 3657600 h 3680460"/>
                  <a:gd name="connsiteX53" fmla="*/ 1203960 w 3018472"/>
                  <a:gd name="connsiteY53" fmla="*/ 3672840 h 3680460"/>
                  <a:gd name="connsiteX54" fmla="*/ 1165860 w 3018472"/>
                  <a:gd name="connsiteY54" fmla="*/ 3680460 h 3680460"/>
                  <a:gd name="connsiteX55" fmla="*/ 449580 w 3018472"/>
                  <a:gd name="connsiteY55" fmla="*/ 3672840 h 3680460"/>
                  <a:gd name="connsiteX56" fmla="*/ 426720 w 3018472"/>
                  <a:gd name="connsiteY56" fmla="*/ 3665220 h 3680460"/>
                  <a:gd name="connsiteX57" fmla="*/ 388620 w 3018472"/>
                  <a:gd name="connsiteY57" fmla="*/ 3657600 h 3680460"/>
                  <a:gd name="connsiteX58" fmla="*/ 335280 w 3018472"/>
                  <a:gd name="connsiteY58" fmla="*/ 3627120 h 3680460"/>
                  <a:gd name="connsiteX59" fmla="*/ 266700 w 3018472"/>
                  <a:gd name="connsiteY59" fmla="*/ 3604260 h 3680460"/>
                  <a:gd name="connsiteX60" fmla="*/ 243840 w 3018472"/>
                  <a:gd name="connsiteY60" fmla="*/ 3589020 h 3680460"/>
                  <a:gd name="connsiteX61" fmla="*/ 160020 w 3018472"/>
                  <a:gd name="connsiteY61" fmla="*/ 3558540 h 3680460"/>
                  <a:gd name="connsiteX62" fmla="*/ 137160 w 3018472"/>
                  <a:gd name="connsiteY62" fmla="*/ 3535680 h 3680460"/>
                  <a:gd name="connsiteX63" fmla="*/ 99060 w 3018472"/>
                  <a:gd name="connsiteY63" fmla="*/ 3520440 h 3680460"/>
                  <a:gd name="connsiteX64" fmla="*/ 83820 w 3018472"/>
                  <a:gd name="connsiteY64" fmla="*/ 3489960 h 3680460"/>
                  <a:gd name="connsiteX65" fmla="*/ 45720 w 3018472"/>
                  <a:gd name="connsiteY65" fmla="*/ 3436620 h 3680460"/>
                  <a:gd name="connsiteX66" fmla="*/ 0 w 3018472"/>
                  <a:gd name="connsiteY66" fmla="*/ 3352800 h 3680460"/>
                  <a:gd name="connsiteX67" fmla="*/ 30480 w 3018472"/>
                  <a:gd name="connsiteY67" fmla="*/ 3345180 h 3680460"/>
                  <a:gd name="connsiteX68" fmla="*/ 137160 w 3018472"/>
                  <a:gd name="connsiteY68" fmla="*/ 3360420 h 3680460"/>
                  <a:gd name="connsiteX69" fmla="*/ 167640 w 3018472"/>
                  <a:gd name="connsiteY69" fmla="*/ 3390900 h 3680460"/>
                  <a:gd name="connsiteX70" fmla="*/ 198120 w 3018472"/>
                  <a:gd name="connsiteY70" fmla="*/ 3406140 h 3680460"/>
                  <a:gd name="connsiteX71" fmla="*/ 350520 w 3018472"/>
                  <a:gd name="connsiteY71" fmla="*/ 3436620 h 3680460"/>
                  <a:gd name="connsiteX72" fmla="*/ 381000 w 3018472"/>
                  <a:gd name="connsiteY72" fmla="*/ 3451860 h 3680460"/>
                  <a:gd name="connsiteX73" fmla="*/ 449580 w 3018472"/>
                  <a:gd name="connsiteY73" fmla="*/ 3489960 h 3680460"/>
                  <a:gd name="connsiteX74" fmla="*/ 495300 w 3018472"/>
                  <a:gd name="connsiteY74" fmla="*/ 3520440 h 3680460"/>
                  <a:gd name="connsiteX75" fmla="*/ 525780 w 3018472"/>
                  <a:gd name="connsiteY75" fmla="*/ 3535680 h 3680460"/>
                  <a:gd name="connsiteX76" fmla="*/ 731520 w 3018472"/>
                  <a:gd name="connsiteY76" fmla="*/ 3558540 h 3680460"/>
                  <a:gd name="connsiteX77" fmla="*/ 1341120 w 3018472"/>
                  <a:gd name="connsiteY77" fmla="*/ 3550920 h 3680460"/>
                  <a:gd name="connsiteX78" fmla="*/ 1440180 w 3018472"/>
                  <a:gd name="connsiteY78" fmla="*/ 3528060 h 3680460"/>
                  <a:gd name="connsiteX79" fmla="*/ 1539240 w 3018472"/>
                  <a:gd name="connsiteY79" fmla="*/ 3520440 h 3680460"/>
                  <a:gd name="connsiteX80" fmla="*/ 1562100 w 3018472"/>
                  <a:gd name="connsiteY80" fmla="*/ 3512820 h 3680460"/>
                  <a:gd name="connsiteX81" fmla="*/ 1630680 w 3018472"/>
                  <a:gd name="connsiteY81" fmla="*/ 3497580 h 3680460"/>
                  <a:gd name="connsiteX82" fmla="*/ 1699260 w 3018472"/>
                  <a:gd name="connsiteY82" fmla="*/ 3474720 h 3680460"/>
                  <a:gd name="connsiteX83" fmla="*/ 1790700 w 3018472"/>
                  <a:gd name="connsiteY83" fmla="*/ 3451860 h 3680460"/>
                  <a:gd name="connsiteX84" fmla="*/ 1821180 w 3018472"/>
                  <a:gd name="connsiteY84" fmla="*/ 3444240 h 3680460"/>
                  <a:gd name="connsiteX85" fmla="*/ 1844040 w 3018472"/>
                  <a:gd name="connsiteY85" fmla="*/ 3429000 h 3680460"/>
                  <a:gd name="connsiteX86" fmla="*/ 1874520 w 3018472"/>
                  <a:gd name="connsiteY86" fmla="*/ 3421380 h 3680460"/>
                  <a:gd name="connsiteX87" fmla="*/ 1927860 w 3018472"/>
                  <a:gd name="connsiteY87" fmla="*/ 3398520 h 3680460"/>
                  <a:gd name="connsiteX88" fmla="*/ 1950720 w 3018472"/>
                  <a:gd name="connsiteY88" fmla="*/ 3390900 h 3680460"/>
                  <a:gd name="connsiteX89" fmla="*/ 2004060 w 3018472"/>
                  <a:gd name="connsiteY89" fmla="*/ 3360420 h 3680460"/>
                  <a:gd name="connsiteX90" fmla="*/ 2042160 w 3018472"/>
                  <a:gd name="connsiteY90" fmla="*/ 3352800 h 3680460"/>
                  <a:gd name="connsiteX91" fmla="*/ 2080260 w 3018472"/>
                  <a:gd name="connsiteY91" fmla="*/ 3337560 h 3680460"/>
                  <a:gd name="connsiteX92" fmla="*/ 2156460 w 3018472"/>
                  <a:gd name="connsiteY92" fmla="*/ 3299460 h 3680460"/>
                  <a:gd name="connsiteX93" fmla="*/ 2179320 w 3018472"/>
                  <a:gd name="connsiteY93" fmla="*/ 3284220 h 3680460"/>
                  <a:gd name="connsiteX94" fmla="*/ 2209800 w 3018472"/>
                  <a:gd name="connsiteY94" fmla="*/ 3276600 h 3680460"/>
                  <a:gd name="connsiteX95" fmla="*/ 2263140 w 3018472"/>
                  <a:gd name="connsiteY95" fmla="*/ 3230880 h 3680460"/>
                  <a:gd name="connsiteX96" fmla="*/ 2346960 w 3018472"/>
                  <a:gd name="connsiteY96" fmla="*/ 3154680 h 3680460"/>
                  <a:gd name="connsiteX97" fmla="*/ 2400300 w 3018472"/>
                  <a:gd name="connsiteY97" fmla="*/ 3070860 h 3680460"/>
                  <a:gd name="connsiteX98" fmla="*/ 2415540 w 3018472"/>
                  <a:gd name="connsiteY98" fmla="*/ 3048000 h 3680460"/>
                  <a:gd name="connsiteX99" fmla="*/ 2446020 w 3018472"/>
                  <a:gd name="connsiteY99" fmla="*/ 3032760 h 3680460"/>
                  <a:gd name="connsiteX100" fmla="*/ 2468880 w 3018472"/>
                  <a:gd name="connsiteY100" fmla="*/ 3009900 h 3680460"/>
                  <a:gd name="connsiteX101" fmla="*/ 2537460 w 3018472"/>
                  <a:gd name="connsiteY101" fmla="*/ 2926080 h 3680460"/>
                  <a:gd name="connsiteX102" fmla="*/ 2575560 w 3018472"/>
                  <a:gd name="connsiteY102" fmla="*/ 2880360 h 3680460"/>
                  <a:gd name="connsiteX103" fmla="*/ 2628900 w 3018472"/>
                  <a:gd name="connsiteY103" fmla="*/ 2811780 h 3680460"/>
                  <a:gd name="connsiteX104" fmla="*/ 2644140 w 3018472"/>
                  <a:gd name="connsiteY104" fmla="*/ 2773680 h 3680460"/>
                  <a:gd name="connsiteX105" fmla="*/ 2674620 w 3018472"/>
                  <a:gd name="connsiteY105" fmla="*/ 2727960 h 3680460"/>
                  <a:gd name="connsiteX106" fmla="*/ 2689860 w 3018472"/>
                  <a:gd name="connsiteY106" fmla="*/ 2705100 h 3680460"/>
                  <a:gd name="connsiteX107" fmla="*/ 2705100 w 3018472"/>
                  <a:gd name="connsiteY107" fmla="*/ 2667000 h 3680460"/>
                  <a:gd name="connsiteX108" fmla="*/ 2727960 w 3018472"/>
                  <a:gd name="connsiteY108" fmla="*/ 2621280 h 3680460"/>
                  <a:gd name="connsiteX109" fmla="*/ 2735580 w 3018472"/>
                  <a:gd name="connsiteY109" fmla="*/ 2590800 h 3680460"/>
                  <a:gd name="connsiteX110" fmla="*/ 2758440 w 3018472"/>
                  <a:gd name="connsiteY110" fmla="*/ 2545080 h 3680460"/>
                  <a:gd name="connsiteX111" fmla="*/ 2788920 w 3018472"/>
                  <a:gd name="connsiteY111" fmla="*/ 2484120 h 3680460"/>
                  <a:gd name="connsiteX112" fmla="*/ 2811780 w 3018472"/>
                  <a:gd name="connsiteY112" fmla="*/ 2407920 h 3680460"/>
                  <a:gd name="connsiteX113" fmla="*/ 2842260 w 3018472"/>
                  <a:gd name="connsiteY113" fmla="*/ 2324100 h 3680460"/>
                  <a:gd name="connsiteX114" fmla="*/ 2857500 w 3018472"/>
                  <a:gd name="connsiteY114" fmla="*/ 2247900 h 3680460"/>
                  <a:gd name="connsiteX115" fmla="*/ 2872740 w 3018472"/>
                  <a:gd name="connsiteY115" fmla="*/ 2194560 h 3680460"/>
                  <a:gd name="connsiteX116" fmla="*/ 2887980 w 3018472"/>
                  <a:gd name="connsiteY116" fmla="*/ 2148840 h 3680460"/>
                  <a:gd name="connsiteX117" fmla="*/ 2910840 w 3018472"/>
                  <a:gd name="connsiteY117" fmla="*/ 2087880 h 3680460"/>
                  <a:gd name="connsiteX118" fmla="*/ 2918460 w 3018472"/>
                  <a:gd name="connsiteY118" fmla="*/ 2049780 h 3680460"/>
                  <a:gd name="connsiteX119" fmla="*/ 2933700 w 3018472"/>
                  <a:gd name="connsiteY119" fmla="*/ 1844040 h 3680460"/>
                  <a:gd name="connsiteX120" fmla="*/ 2918460 w 3018472"/>
                  <a:gd name="connsiteY120" fmla="*/ 1470660 h 3680460"/>
                  <a:gd name="connsiteX121" fmla="*/ 2895600 w 3018472"/>
                  <a:gd name="connsiteY121" fmla="*/ 1371600 h 3680460"/>
                  <a:gd name="connsiteX122" fmla="*/ 2880360 w 3018472"/>
                  <a:gd name="connsiteY122" fmla="*/ 1341120 h 3680460"/>
                  <a:gd name="connsiteX123" fmla="*/ 2857500 w 3018472"/>
                  <a:gd name="connsiteY123" fmla="*/ 1272540 h 3680460"/>
                  <a:gd name="connsiteX124" fmla="*/ 2849880 w 3018472"/>
                  <a:gd name="connsiteY124" fmla="*/ 1234440 h 3680460"/>
                  <a:gd name="connsiteX125" fmla="*/ 2827020 w 3018472"/>
                  <a:gd name="connsiteY125" fmla="*/ 1196340 h 3680460"/>
                  <a:gd name="connsiteX126" fmla="*/ 2811780 w 3018472"/>
                  <a:gd name="connsiteY126" fmla="*/ 1165860 h 3680460"/>
                  <a:gd name="connsiteX127" fmla="*/ 2781300 w 3018472"/>
                  <a:gd name="connsiteY127" fmla="*/ 1127760 h 3680460"/>
                  <a:gd name="connsiteX128" fmla="*/ 2766060 w 3018472"/>
                  <a:gd name="connsiteY128" fmla="*/ 1089660 h 3680460"/>
                  <a:gd name="connsiteX129" fmla="*/ 2735580 w 3018472"/>
                  <a:gd name="connsiteY129" fmla="*/ 1043940 h 3680460"/>
                  <a:gd name="connsiteX130" fmla="*/ 2727960 w 3018472"/>
                  <a:gd name="connsiteY130" fmla="*/ 1021080 h 3680460"/>
                  <a:gd name="connsiteX131" fmla="*/ 2682240 w 3018472"/>
                  <a:gd name="connsiteY131" fmla="*/ 937260 h 3680460"/>
                  <a:gd name="connsiteX132" fmla="*/ 2659380 w 3018472"/>
                  <a:gd name="connsiteY132" fmla="*/ 876300 h 3680460"/>
                  <a:gd name="connsiteX133" fmla="*/ 2644140 w 3018472"/>
                  <a:gd name="connsiteY133" fmla="*/ 845820 h 3680460"/>
                  <a:gd name="connsiteX134" fmla="*/ 2636520 w 3018472"/>
                  <a:gd name="connsiteY134" fmla="*/ 822960 h 3680460"/>
                  <a:gd name="connsiteX135" fmla="*/ 2621280 w 3018472"/>
                  <a:gd name="connsiteY135" fmla="*/ 800100 h 3680460"/>
                  <a:gd name="connsiteX136" fmla="*/ 2598420 w 3018472"/>
                  <a:gd name="connsiteY136" fmla="*/ 739140 h 3680460"/>
                  <a:gd name="connsiteX137" fmla="*/ 2458403 w 3018472"/>
                  <a:gd name="connsiteY137" fmla="*/ 621983 h 3680460"/>
                  <a:gd name="connsiteX138" fmla="*/ 2301240 w 3018472"/>
                  <a:gd name="connsiteY138" fmla="*/ 458152 h 3680460"/>
                  <a:gd name="connsiteX139" fmla="*/ 2237423 w 3018472"/>
                  <a:gd name="connsiteY139" fmla="*/ 406717 h 3680460"/>
                  <a:gd name="connsiteX140" fmla="*/ 2103120 w 3018472"/>
                  <a:gd name="connsiteY140" fmla="*/ 312420 h 3680460"/>
                  <a:gd name="connsiteX141" fmla="*/ 2042160 w 3018472"/>
                  <a:gd name="connsiteY141" fmla="*/ 266700 h 3680460"/>
                  <a:gd name="connsiteX142" fmla="*/ 2004060 w 3018472"/>
                  <a:gd name="connsiteY142" fmla="*/ 251460 h 3680460"/>
                  <a:gd name="connsiteX143" fmla="*/ 1958340 w 3018472"/>
                  <a:gd name="connsiteY143" fmla="*/ 220980 h 3680460"/>
                  <a:gd name="connsiteX144" fmla="*/ 1897380 w 3018472"/>
                  <a:gd name="connsiteY144" fmla="*/ 182880 h 3680460"/>
                  <a:gd name="connsiteX0" fmla="*/ 1897380 w 3018472"/>
                  <a:gd name="connsiteY0" fmla="*/ 182880 h 3680460"/>
                  <a:gd name="connsiteX1" fmla="*/ 1859280 w 3018472"/>
                  <a:gd name="connsiteY1" fmla="*/ 160020 h 3680460"/>
                  <a:gd name="connsiteX2" fmla="*/ 1844040 w 3018472"/>
                  <a:gd name="connsiteY2" fmla="*/ 137160 h 3680460"/>
                  <a:gd name="connsiteX3" fmla="*/ 1821180 w 3018472"/>
                  <a:gd name="connsiteY3" fmla="*/ 121920 h 3680460"/>
                  <a:gd name="connsiteX4" fmla="*/ 1775460 w 3018472"/>
                  <a:gd name="connsiteY4" fmla="*/ 91440 h 3680460"/>
                  <a:gd name="connsiteX5" fmla="*/ 1760220 w 3018472"/>
                  <a:gd name="connsiteY5" fmla="*/ 68580 h 3680460"/>
                  <a:gd name="connsiteX6" fmla="*/ 1737360 w 3018472"/>
                  <a:gd name="connsiteY6" fmla="*/ 53340 h 3680460"/>
                  <a:gd name="connsiteX7" fmla="*/ 1729740 w 3018472"/>
                  <a:gd name="connsiteY7" fmla="*/ 16193 h 3680460"/>
                  <a:gd name="connsiteX8" fmla="*/ 1981200 w 3018472"/>
                  <a:gd name="connsiteY8" fmla="*/ 0 h 3680460"/>
                  <a:gd name="connsiteX9" fmla="*/ 2171700 w 3018472"/>
                  <a:gd name="connsiteY9" fmla="*/ 114300 h 3680460"/>
                  <a:gd name="connsiteX10" fmla="*/ 2286000 w 3018472"/>
                  <a:gd name="connsiteY10" fmla="*/ 190500 h 3680460"/>
                  <a:gd name="connsiteX11" fmla="*/ 2331720 w 3018472"/>
                  <a:gd name="connsiteY11" fmla="*/ 220980 h 3680460"/>
                  <a:gd name="connsiteX12" fmla="*/ 2385060 w 3018472"/>
                  <a:gd name="connsiteY12" fmla="*/ 266700 h 3680460"/>
                  <a:gd name="connsiteX13" fmla="*/ 2537460 w 3018472"/>
                  <a:gd name="connsiteY13" fmla="*/ 426720 h 3680460"/>
                  <a:gd name="connsiteX14" fmla="*/ 2552700 w 3018472"/>
                  <a:gd name="connsiteY14" fmla="*/ 449580 h 3680460"/>
                  <a:gd name="connsiteX15" fmla="*/ 2575560 w 3018472"/>
                  <a:gd name="connsiteY15" fmla="*/ 487680 h 3680460"/>
                  <a:gd name="connsiteX16" fmla="*/ 2621280 w 3018472"/>
                  <a:gd name="connsiteY16" fmla="*/ 548640 h 3680460"/>
                  <a:gd name="connsiteX17" fmla="*/ 2674620 w 3018472"/>
                  <a:gd name="connsiteY17" fmla="*/ 609600 h 3680460"/>
                  <a:gd name="connsiteX18" fmla="*/ 2727960 w 3018472"/>
                  <a:gd name="connsiteY18" fmla="*/ 678180 h 3680460"/>
                  <a:gd name="connsiteX19" fmla="*/ 2727960 w 3018472"/>
                  <a:gd name="connsiteY19" fmla="*/ 678180 h 3680460"/>
                  <a:gd name="connsiteX20" fmla="*/ 2766060 w 3018472"/>
                  <a:gd name="connsiteY20" fmla="*/ 754380 h 3680460"/>
                  <a:gd name="connsiteX21" fmla="*/ 2819400 w 3018472"/>
                  <a:gd name="connsiteY21" fmla="*/ 830580 h 3680460"/>
                  <a:gd name="connsiteX22" fmla="*/ 2918460 w 3018472"/>
                  <a:gd name="connsiteY22" fmla="*/ 1036320 h 3680460"/>
                  <a:gd name="connsiteX23" fmla="*/ 2933700 w 3018472"/>
                  <a:gd name="connsiteY23" fmla="*/ 1074420 h 3680460"/>
                  <a:gd name="connsiteX24" fmla="*/ 2964180 w 3018472"/>
                  <a:gd name="connsiteY24" fmla="*/ 1203960 h 3680460"/>
                  <a:gd name="connsiteX25" fmla="*/ 2979420 w 3018472"/>
                  <a:gd name="connsiteY25" fmla="*/ 1264920 h 3680460"/>
                  <a:gd name="connsiteX26" fmla="*/ 2994660 w 3018472"/>
                  <a:gd name="connsiteY26" fmla="*/ 1348740 h 3680460"/>
                  <a:gd name="connsiteX27" fmla="*/ 3009900 w 3018472"/>
                  <a:gd name="connsiteY27" fmla="*/ 1432560 h 3680460"/>
                  <a:gd name="connsiteX28" fmla="*/ 3017520 w 3018472"/>
                  <a:gd name="connsiteY28" fmla="*/ 1684020 h 3680460"/>
                  <a:gd name="connsiteX29" fmla="*/ 3017520 w 3018472"/>
                  <a:gd name="connsiteY29" fmla="*/ 2095500 h 3680460"/>
                  <a:gd name="connsiteX30" fmla="*/ 2979420 w 3018472"/>
                  <a:gd name="connsiteY30" fmla="*/ 2194560 h 3680460"/>
                  <a:gd name="connsiteX31" fmla="*/ 2941320 w 3018472"/>
                  <a:gd name="connsiteY31" fmla="*/ 2324100 h 3680460"/>
                  <a:gd name="connsiteX32" fmla="*/ 2926080 w 3018472"/>
                  <a:gd name="connsiteY32" fmla="*/ 2392680 h 3680460"/>
                  <a:gd name="connsiteX33" fmla="*/ 2877503 w 3018472"/>
                  <a:gd name="connsiteY33" fmla="*/ 2521267 h 3680460"/>
                  <a:gd name="connsiteX34" fmla="*/ 2810828 w 3018472"/>
                  <a:gd name="connsiteY34" fmla="*/ 2656523 h 3680460"/>
                  <a:gd name="connsiteX35" fmla="*/ 2728912 w 3018472"/>
                  <a:gd name="connsiteY35" fmla="*/ 2818447 h 3680460"/>
                  <a:gd name="connsiteX36" fmla="*/ 2505075 w 3018472"/>
                  <a:gd name="connsiteY36" fmla="*/ 3084195 h 3680460"/>
                  <a:gd name="connsiteX37" fmla="*/ 2377440 w 3018472"/>
                  <a:gd name="connsiteY37" fmla="*/ 3223260 h 3680460"/>
                  <a:gd name="connsiteX38" fmla="*/ 2293620 w 3018472"/>
                  <a:gd name="connsiteY38" fmla="*/ 3284220 h 3680460"/>
                  <a:gd name="connsiteX39" fmla="*/ 2240280 w 3018472"/>
                  <a:gd name="connsiteY39" fmla="*/ 3314700 h 3680460"/>
                  <a:gd name="connsiteX40" fmla="*/ 2225040 w 3018472"/>
                  <a:gd name="connsiteY40" fmla="*/ 3337560 h 3680460"/>
                  <a:gd name="connsiteX41" fmla="*/ 2141220 w 3018472"/>
                  <a:gd name="connsiteY41" fmla="*/ 3390900 h 3680460"/>
                  <a:gd name="connsiteX42" fmla="*/ 2110740 w 3018472"/>
                  <a:gd name="connsiteY42" fmla="*/ 3413760 h 3680460"/>
                  <a:gd name="connsiteX43" fmla="*/ 2072640 w 3018472"/>
                  <a:gd name="connsiteY43" fmla="*/ 3451860 h 3680460"/>
                  <a:gd name="connsiteX44" fmla="*/ 2019300 w 3018472"/>
                  <a:gd name="connsiteY44" fmla="*/ 3467100 h 3680460"/>
                  <a:gd name="connsiteX45" fmla="*/ 1874520 w 3018472"/>
                  <a:gd name="connsiteY45" fmla="*/ 3512820 h 3680460"/>
                  <a:gd name="connsiteX46" fmla="*/ 1828800 w 3018472"/>
                  <a:gd name="connsiteY46" fmla="*/ 3520440 h 3680460"/>
                  <a:gd name="connsiteX47" fmla="*/ 1722120 w 3018472"/>
                  <a:gd name="connsiteY47" fmla="*/ 3550920 h 3680460"/>
                  <a:gd name="connsiteX48" fmla="*/ 1600200 w 3018472"/>
                  <a:gd name="connsiteY48" fmla="*/ 3589020 h 3680460"/>
                  <a:gd name="connsiteX49" fmla="*/ 1569720 w 3018472"/>
                  <a:gd name="connsiteY49" fmla="*/ 3596640 h 3680460"/>
                  <a:gd name="connsiteX50" fmla="*/ 1546860 w 3018472"/>
                  <a:gd name="connsiteY50" fmla="*/ 3611880 h 3680460"/>
                  <a:gd name="connsiteX51" fmla="*/ 1463040 w 3018472"/>
                  <a:gd name="connsiteY51" fmla="*/ 3627120 h 3680460"/>
                  <a:gd name="connsiteX52" fmla="*/ 1333500 w 3018472"/>
                  <a:gd name="connsiteY52" fmla="*/ 3657600 h 3680460"/>
                  <a:gd name="connsiteX53" fmla="*/ 1203960 w 3018472"/>
                  <a:gd name="connsiteY53" fmla="*/ 3672840 h 3680460"/>
                  <a:gd name="connsiteX54" fmla="*/ 1165860 w 3018472"/>
                  <a:gd name="connsiteY54" fmla="*/ 3680460 h 3680460"/>
                  <a:gd name="connsiteX55" fmla="*/ 449580 w 3018472"/>
                  <a:gd name="connsiteY55" fmla="*/ 3672840 h 3680460"/>
                  <a:gd name="connsiteX56" fmla="*/ 426720 w 3018472"/>
                  <a:gd name="connsiteY56" fmla="*/ 3665220 h 3680460"/>
                  <a:gd name="connsiteX57" fmla="*/ 388620 w 3018472"/>
                  <a:gd name="connsiteY57" fmla="*/ 3657600 h 3680460"/>
                  <a:gd name="connsiteX58" fmla="*/ 335280 w 3018472"/>
                  <a:gd name="connsiteY58" fmla="*/ 3627120 h 3680460"/>
                  <a:gd name="connsiteX59" fmla="*/ 266700 w 3018472"/>
                  <a:gd name="connsiteY59" fmla="*/ 3604260 h 3680460"/>
                  <a:gd name="connsiteX60" fmla="*/ 243840 w 3018472"/>
                  <a:gd name="connsiteY60" fmla="*/ 3589020 h 3680460"/>
                  <a:gd name="connsiteX61" fmla="*/ 160020 w 3018472"/>
                  <a:gd name="connsiteY61" fmla="*/ 3558540 h 3680460"/>
                  <a:gd name="connsiteX62" fmla="*/ 137160 w 3018472"/>
                  <a:gd name="connsiteY62" fmla="*/ 3535680 h 3680460"/>
                  <a:gd name="connsiteX63" fmla="*/ 99060 w 3018472"/>
                  <a:gd name="connsiteY63" fmla="*/ 3520440 h 3680460"/>
                  <a:gd name="connsiteX64" fmla="*/ 83820 w 3018472"/>
                  <a:gd name="connsiteY64" fmla="*/ 3489960 h 3680460"/>
                  <a:gd name="connsiteX65" fmla="*/ 45720 w 3018472"/>
                  <a:gd name="connsiteY65" fmla="*/ 3436620 h 3680460"/>
                  <a:gd name="connsiteX66" fmla="*/ 0 w 3018472"/>
                  <a:gd name="connsiteY66" fmla="*/ 3352800 h 3680460"/>
                  <a:gd name="connsiteX67" fmla="*/ 30480 w 3018472"/>
                  <a:gd name="connsiteY67" fmla="*/ 3345180 h 3680460"/>
                  <a:gd name="connsiteX68" fmla="*/ 137160 w 3018472"/>
                  <a:gd name="connsiteY68" fmla="*/ 3360420 h 3680460"/>
                  <a:gd name="connsiteX69" fmla="*/ 167640 w 3018472"/>
                  <a:gd name="connsiteY69" fmla="*/ 3390900 h 3680460"/>
                  <a:gd name="connsiteX70" fmla="*/ 198120 w 3018472"/>
                  <a:gd name="connsiteY70" fmla="*/ 3406140 h 3680460"/>
                  <a:gd name="connsiteX71" fmla="*/ 350520 w 3018472"/>
                  <a:gd name="connsiteY71" fmla="*/ 3436620 h 3680460"/>
                  <a:gd name="connsiteX72" fmla="*/ 381000 w 3018472"/>
                  <a:gd name="connsiteY72" fmla="*/ 3451860 h 3680460"/>
                  <a:gd name="connsiteX73" fmla="*/ 449580 w 3018472"/>
                  <a:gd name="connsiteY73" fmla="*/ 3489960 h 3680460"/>
                  <a:gd name="connsiteX74" fmla="*/ 495300 w 3018472"/>
                  <a:gd name="connsiteY74" fmla="*/ 3520440 h 3680460"/>
                  <a:gd name="connsiteX75" fmla="*/ 525780 w 3018472"/>
                  <a:gd name="connsiteY75" fmla="*/ 3535680 h 3680460"/>
                  <a:gd name="connsiteX76" fmla="*/ 731520 w 3018472"/>
                  <a:gd name="connsiteY76" fmla="*/ 3558540 h 3680460"/>
                  <a:gd name="connsiteX77" fmla="*/ 1341120 w 3018472"/>
                  <a:gd name="connsiteY77" fmla="*/ 3550920 h 3680460"/>
                  <a:gd name="connsiteX78" fmla="*/ 1440180 w 3018472"/>
                  <a:gd name="connsiteY78" fmla="*/ 3528060 h 3680460"/>
                  <a:gd name="connsiteX79" fmla="*/ 1539240 w 3018472"/>
                  <a:gd name="connsiteY79" fmla="*/ 3520440 h 3680460"/>
                  <a:gd name="connsiteX80" fmla="*/ 1562100 w 3018472"/>
                  <a:gd name="connsiteY80" fmla="*/ 3512820 h 3680460"/>
                  <a:gd name="connsiteX81" fmla="*/ 1630680 w 3018472"/>
                  <a:gd name="connsiteY81" fmla="*/ 3497580 h 3680460"/>
                  <a:gd name="connsiteX82" fmla="*/ 1699260 w 3018472"/>
                  <a:gd name="connsiteY82" fmla="*/ 3474720 h 3680460"/>
                  <a:gd name="connsiteX83" fmla="*/ 1790700 w 3018472"/>
                  <a:gd name="connsiteY83" fmla="*/ 3451860 h 3680460"/>
                  <a:gd name="connsiteX84" fmla="*/ 1821180 w 3018472"/>
                  <a:gd name="connsiteY84" fmla="*/ 3444240 h 3680460"/>
                  <a:gd name="connsiteX85" fmla="*/ 1844040 w 3018472"/>
                  <a:gd name="connsiteY85" fmla="*/ 3429000 h 3680460"/>
                  <a:gd name="connsiteX86" fmla="*/ 1874520 w 3018472"/>
                  <a:gd name="connsiteY86" fmla="*/ 3421380 h 3680460"/>
                  <a:gd name="connsiteX87" fmla="*/ 1927860 w 3018472"/>
                  <a:gd name="connsiteY87" fmla="*/ 3398520 h 3680460"/>
                  <a:gd name="connsiteX88" fmla="*/ 1950720 w 3018472"/>
                  <a:gd name="connsiteY88" fmla="*/ 3390900 h 3680460"/>
                  <a:gd name="connsiteX89" fmla="*/ 2004060 w 3018472"/>
                  <a:gd name="connsiteY89" fmla="*/ 3360420 h 3680460"/>
                  <a:gd name="connsiteX90" fmla="*/ 2042160 w 3018472"/>
                  <a:gd name="connsiteY90" fmla="*/ 3352800 h 3680460"/>
                  <a:gd name="connsiteX91" fmla="*/ 2080260 w 3018472"/>
                  <a:gd name="connsiteY91" fmla="*/ 3337560 h 3680460"/>
                  <a:gd name="connsiteX92" fmla="*/ 2156460 w 3018472"/>
                  <a:gd name="connsiteY92" fmla="*/ 3299460 h 3680460"/>
                  <a:gd name="connsiteX93" fmla="*/ 2179320 w 3018472"/>
                  <a:gd name="connsiteY93" fmla="*/ 3284220 h 3680460"/>
                  <a:gd name="connsiteX94" fmla="*/ 2209800 w 3018472"/>
                  <a:gd name="connsiteY94" fmla="*/ 3276600 h 3680460"/>
                  <a:gd name="connsiteX95" fmla="*/ 2263140 w 3018472"/>
                  <a:gd name="connsiteY95" fmla="*/ 3230880 h 3680460"/>
                  <a:gd name="connsiteX96" fmla="*/ 2346960 w 3018472"/>
                  <a:gd name="connsiteY96" fmla="*/ 3154680 h 3680460"/>
                  <a:gd name="connsiteX97" fmla="*/ 2400300 w 3018472"/>
                  <a:gd name="connsiteY97" fmla="*/ 3070860 h 3680460"/>
                  <a:gd name="connsiteX98" fmla="*/ 2415540 w 3018472"/>
                  <a:gd name="connsiteY98" fmla="*/ 3048000 h 3680460"/>
                  <a:gd name="connsiteX99" fmla="*/ 2446020 w 3018472"/>
                  <a:gd name="connsiteY99" fmla="*/ 3032760 h 3680460"/>
                  <a:gd name="connsiteX100" fmla="*/ 2468880 w 3018472"/>
                  <a:gd name="connsiteY100" fmla="*/ 3009900 h 3680460"/>
                  <a:gd name="connsiteX101" fmla="*/ 2537460 w 3018472"/>
                  <a:gd name="connsiteY101" fmla="*/ 2926080 h 3680460"/>
                  <a:gd name="connsiteX102" fmla="*/ 2575560 w 3018472"/>
                  <a:gd name="connsiteY102" fmla="*/ 2880360 h 3680460"/>
                  <a:gd name="connsiteX103" fmla="*/ 2628900 w 3018472"/>
                  <a:gd name="connsiteY103" fmla="*/ 2811780 h 3680460"/>
                  <a:gd name="connsiteX104" fmla="*/ 2644140 w 3018472"/>
                  <a:gd name="connsiteY104" fmla="*/ 2773680 h 3680460"/>
                  <a:gd name="connsiteX105" fmla="*/ 2674620 w 3018472"/>
                  <a:gd name="connsiteY105" fmla="*/ 2727960 h 3680460"/>
                  <a:gd name="connsiteX106" fmla="*/ 2689860 w 3018472"/>
                  <a:gd name="connsiteY106" fmla="*/ 2705100 h 3680460"/>
                  <a:gd name="connsiteX107" fmla="*/ 2705100 w 3018472"/>
                  <a:gd name="connsiteY107" fmla="*/ 2667000 h 3680460"/>
                  <a:gd name="connsiteX108" fmla="*/ 2727960 w 3018472"/>
                  <a:gd name="connsiteY108" fmla="*/ 2621280 h 3680460"/>
                  <a:gd name="connsiteX109" fmla="*/ 2735580 w 3018472"/>
                  <a:gd name="connsiteY109" fmla="*/ 2590800 h 3680460"/>
                  <a:gd name="connsiteX110" fmla="*/ 2758440 w 3018472"/>
                  <a:gd name="connsiteY110" fmla="*/ 2545080 h 3680460"/>
                  <a:gd name="connsiteX111" fmla="*/ 2788920 w 3018472"/>
                  <a:gd name="connsiteY111" fmla="*/ 2484120 h 3680460"/>
                  <a:gd name="connsiteX112" fmla="*/ 2811780 w 3018472"/>
                  <a:gd name="connsiteY112" fmla="*/ 2407920 h 3680460"/>
                  <a:gd name="connsiteX113" fmla="*/ 2842260 w 3018472"/>
                  <a:gd name="connsiteY113" fmla="*/ 2324100 h 3680460"/>
                  <a:gd name="connsiteX114" fmla="*/ 2857500 w 3018472"/>
                  <a:gd name="connsiteY114" fmla="*/ 2247900 h 3680460"/>
                  <a:gd name="connsiteX115" fmla="*/ 2872740 w 3018472"/>
                  <a:gd name="connsiteY115" fmla="*/ 2194560 h 3680460"/>
                  <a:gd name="connsiteX116" fmla="*/ 2887980 w 3018472"/>
                  <a:gd name="connsiteY116" fmla="*/ 2148840 h 3680460"/>
                  <a:gd name="connsiteX117" fmla="*/ 2910840 w 3018472"/>
                  <a:gd name="connsiteY117" fmla="*/ 2087880 h 3680460"/>
                  <a:gd name="connsiteX118" fmla="*/ 2918460 w 3018472"/>
                  <a:gd name="connsiteY118" fmla="*/ 2049780 h 3680460"/>
                  <a:gd name="connsiteX119" fmla="*/ 2933700 w 3018472"/>
                  <a:gd name="connsiteY119" fmla="*/ 1844040 h 3680460"/>
                  <a:gd name="connsiteX120" fmla="*/ 2918460 w 3018472"/>
                  <a:gd name="connsiteY120" fmla="*/ 1470660 h 3680460"/>
                  <a:gd name="connsiteX121" fmla="*/ 2895600 w 3018472"/>
                  <a:gd name="connsiteY121" fmla="*/ 1371600 h 3680460"/>
                  <a:gd name="connsiteX122" fmla="*/ 2880360 w 3018472"/>
                  <a:gd name="connsiteY122" fmla="*/ 1341120 h 3680460"/>
                  <a:gd name="connsiteX123" fmla="*/ 2857500 w 3018472"/>
                  <a:gd name="connsiteY123" fmla="*/ 1272540 h 3680460"/>
                  <a:gd name="connsiteX124" fmla="*/ 2849880 w 3018472"/>
                  <a:gd name="connsiteY124" fmla="*/ 1234440 h 3680460"/>
                  <a:gd name="connsiteX125" fmla="*/ 2827020 w 3018472"/>
                  <a:gd name="connsiteY125" fmla="*/ 1196340 h 3680460"/>
                  <a:gd name="connsiteX126" fmla="*/ 2811780 w 3018472"/>
                  <a:gd name="connsiteY126" fmla="*/ 1165860 h 3680460"/>
                  <a:gd name="connsiteX127" fmla="*/ 2781300 w 3018472"/>
                  <a:gd name="connsiteY127" fmla="*/ 1127760 h 3680460"/>
                  <a:gd name="connsiteX128" fmla="*/ 2766060 w 3018472"/>
                  <a:gd name="connsiteY128" fmla="*/ 1089660 h 3680460"/>
                  <a:gd name="connsiteX129" fmla="*/ 2735580 w 3018472"/>
                  <a:gd name="connsiteY129" fmla="*/ 1043940 h 3680460"/>
                  <a:gd name="connsiteX130" fmla="*/ 2727960 w 3018472"/>
                  <a:gd name="connsiteY130" fmla="*/ 1021080 h 3680460"/>
                  <a:gd name="connsiteX131" fmla="*/ 2682240 w 3018472"/>
                  <a:gd name="connsiteY131" fmla="*/ 937260 h 3680460"/>
                  <a:gd name="connsiteX132" fmla="*/ 2659380 w 3018472"/>
                  <a:gd name="connsiteY132" fmla="*/ 876300 h 3680460"/>
                  <a:gd name="connsiteX133" fmla="*/ 2644140 w 3018472"/>
                  <a:gd name="connsiteY133" fmla="*/ 845820 h 3680460"/>
                  <a:gd name="connsiteX134" fmla="*/ 2636520 w 3018472"/>
                  <a:gd name="connsiteY134" fmla="*/ 822960 h 3680460"/>
                  <a:gd name="connsiteX135" fmla="*/ 2621280 w 3018472"/>
                  <a:gd name="connsiteY135" fmla="*/ 800100 h 3680460"/>
                  <a:gd name="connsiteX136" fmla="*/ 2598420 w 3018472"/>
                  <a:gd name="connsiteY136" fmla="*/ 739140 h 3680460"/>
                  <a:gd name="connsiteX137" fmla="*/ 2458403 w 3018472"/>
                  <a:gd name="connsiteY137" fmla="*/ 621983 h 3680460"/>
                  <a:gd name="connsiteX138" fmla="*/ 2301240 w 3018472"/>
                  <a:gd name="connsiteY138" fmla="*/ 458152 h 3680460"/>
                  <a:gd name="connsiteX139" fmla="*/ 2237423 w 3018472"/>
                  <a:gd name="connsiteY139" fmla="*/ 406717 h 3680460"/>
                  <a:gd name="connsiteX140" fmla="*/ 2103120 w 3018472"/>
                  <a:gd name="connsiteY140" fmla="*/ 312420 h 3680460"/>
                  <a:gd name="connsiteX141" fmla="*/ 2042160 w 3018472"/>
                  <a:gd name="connsiteY141" fmla="*/ 266700 h 3680460"/>
                  <a:gd name="connsiteX142" fmla="*/ 2004060 w 3018472"/>
                  <a:gd name="connsiteY142" fmla="*/ 251460 h 3680460"/>
                  <a:gd name="connsiteX143" fmla="*/ 1958340 w 3018472"/>
                  <a:gd name="connsiteY143" fmla="*/ 220980 h 3680460"/>
                  <a:gd name="connsiteX144" fmla="*/ 1897380 w 3018472"/>
                  <a:gd name="connsiteY14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110740 w 3017559"/>
                  <a:gd name="connsiteY42" fmla="*/ 3413760 h 3680460"/>
                  <a:gd name="connsiteX43" fmla="*/ 2072640 w 3017559"/>
                  <a:gd name="connsiteY43" fmla="*/ 3451860 h 3680460"/>
                  <a:gd name="connsiteX44" fmla="*/ 2019300 w 3017559"/>
                  <a:gd name="connsiteY44" fmla="*/ 3467100 h 3680460"/>
                  <a:gd name="connsiteX45" fmla="*/ 1874520 w 3017559"/>
                  <a:gd name="connsiteY45" fmla="*/ 3512820 h 3680460"/>
                  <a:gd name="connsiteX46" fmla="*/ 1828800 w 3017559"/>
                  <a:gd name="connsiteY46" fmla="*/ 3520440 h 3680460"/>
                  <a:gd name="connsiteX47" fmla="*/ 1722120 w 3017559"/>
                  <a:gd name="connsiteY47" fmla="*/ 3550920 h 3680460"/>
                  <a:gd name="connsiteX48" fmla="*/ 1600200 w 3017559"/>
                  <a:gd name="connsiteY48" fmla="*/ 3589020 h 3680460"/>
                  <a:gd name="connsiteX49" fmla="*/ 1569720 w 3017559"/>
                  <a:gd name="connsiteY49" fmla="*/ 3596640 h 3680460"/>
                  <a:gd name="connsiteX50" fmla="*/ 1546860 w 3017559"/>
                  <a:gd name="connsiteY50" fmla="*/ 3611880 h 3680460"/>
                  <a:gd name="connsiteX51" fmla="*/ 1463040 w 3017559"/>
                  <a:gd name="connsiteY51" fmla="*/ 3627120 h 3680460"/>
                  <a:gd name="connsiteX52" fmla="*/ 1333500 w 3017559"/>
                  <a:gd name="connsiteY52" fmla="*/ 3657600 h 3680460"/>
                  <a:gd name="connsiteX53" fmla="*/ 1203960 w 3017559"/>
                  <a:gd name="connsiteY53" fmla="*/ 3672840 h 3680460"/>
                  <a:gd name="connsiteX54" fmla="*/ 1165860 w 3017559"/>
                  <a:gd name="connsiteY54" fmla="*/ 3680460 h 3680460"/>
                  <a:gd name="connsiteX55" fmla="*/ 449580 w 3017559"/>
                  <a:gd name="connsiteY55" fmla="*/ 3672840 h 3680460"/>
                  <a:gd name="connsiteX56" fmla="*/ 426720 w 3017559"/>
                  <a:gd name="connsiteY56" fmla="*/ 3665220 h 3680460"/>
                  <a:gd name="connsiteX57" fmla="*/ 388620 w 3017559"/>
                  <a:gd name="connsiteY57" fmla="*/ 3657600 h 3680460"/>
                  <a:gd name="connsiteX58" fmla="*/ 335280 w 3017559"/>
                  <a:gd name="connsiteY58" fmla="*/ 3627120 h 3680460"/>
                  <a:gd name="connsiteX59" fmla="*/ 266700 w 3017559"/>
                  <a:gd name="connsiteY59" fmla="*/ 3604260 h 3680460"/>
                  <a:gd name="connsiteX60" fmla="*/ 243840 w 3017559"/>
                  <a:gd name="connsiteY60" fmla="*/ 3589020 h 3680460"/>
                  <a:gd name="connsiteX61" fmla="*/ 160020 w 3017559"/>
                  <a:gd name="connsiteY61" fmla="*/ 3558540 h 3680460"/>
                  <a:gd name="connsiteX62" fmla="*/ 137160 w 3017559"/>
                  <a:gd name="connsiteY62" fmla="*/ 3535680 h 3680460"/>
                  <a:gd name="connsiteX63" fmla="*/ 99060 w 3017559"/>
                  <a:gd name="connsiteY63" fmla="*/ 3520440 h 3680460"/>
                  <a:gd name="connsiteX64" fmla="*/ 83820 w 3017559"/>
                  <a:gd name="connsiteY64" fmla="*/ 3489960 h 3680460"/>
                  <a:gd name="connsiteX65" fmla="*/ 45720 w 3017559"/>
                  <a:gd name="connsiteY65" fmla="*/ 3436620 h 3680460"/>
                  <a:gd name="connsiteX66" fmla="*/ 0 w 3017559"/>
                  <a:gd name="connsiteY66" fmla="*/ 3352800 h 3680460"/>
                  <a:gd name="connsiteX67" fmla="*/ 30480 w 3017559"/>
                  <a:gd name="connsiteY67" fmla="*/ 3345180 h 3680460"/>
                  <a:gd name="connsiteX68" fmla="*/ 137160 w 3017559"/>
                  <a:gd name="connsiteY68" fmla="*/ 3360420 h 3680460"/>
                  <a:gd name="connsiteX69" fmla="*/ 167640 w 3017559"/>
                  <a:gd name="connsiteY69" fmla="*/ 3390900 h 3680460"/>
                  <a:gd name="connsiteX70" fmla="*/ 198120 w 3017559"/>
                  <a:gd name="connsiteY70" fmla="*/ 3406140 h 3680460"/>
                  <a:gd name="connsiteX71" fmla="*/ 350520 w 3017559"/>
                  <a:gd name="connsiteY71" fmla="*/ 3436620 h 3680460"/>
                  <a:gd name="connsiteX72" fmla="*/ 381000 w 3017559"/>
                  <a:gd name="connsiteY72" fmla="*/ 3451860 h 3680460"/>
                  <a:gd name="connsiteX73" fmla="*/ 449580 w 3017559"/>
                  <a:gd name="connsiteY73" fmla="*/ 3489960 h 3680460"/>
                  <a:gd name="connsiteX74" fmla="*/ 495300 w 3017559"/>
                  <a:gd name="connsiteY74" fmla="*/ 3520440 h 3680460"/>
                  <a:gd name="connsiteX75" fmla="*/ 525780 w 3017559"/>
                  <a:gd name="connsiteY75" fmla="*/ 3535680 h 3680460"/>
                  <a:gd name="connsiteX76" fmla="*/ 731520 w 3017559"/>
                  <a:gd name="connsiteY76" fmla="*/ 3558540 h 3680460"/>
                  <a:gd name="connsiteX77" fmla="*/ 1341120 w 3017559"/>
                  <a:gd name="connsiteY77" fmla="*/ 3550920 h 3680460"/>
                  <a:gd name="connsiteX78" fmla="*/ 1440180 w 3017559"/>
                  <a:gd name="connsiteY78" fmla="*/ 3528060 h 3680460"/>
                  <a:gd name="connsiteX79" fmla="*/ 1539240 w 3017559"/>
                  <a:gd name="connsiteY79" fmla="*/ 3520440 h 3680460"/>
                  <a:gd name="connsiteX80" fmla="*/ 1562100 w 3017559"/>
                  <a:gd name="connsiteY80" fmla="*/ 3512820 h 3680460"/>
                  <a:gd name="connsiteX81" fmla="*/ 1630680 w 3017559"/>
                  <a:gd name="connsiteY81" fmla="*/ 3497580 h 3680460"/>
                  <a:gd name="connsiteX82" fmla="*/ 1699260 w 3017559"/>
                  <a:gd name="connsiteY82" fmla="*/ 3474720 h 3680460"/>
                  <a:gd name="connsiteX83" fmla="*/ 1790700 w 3017559"/>
                  <a:gd name="connsiteY83" fmla="*/ 3451860 h 3680460"/>
                  <a:gd name="connsiteX84" fmla="*/ 1821180 w 3017559"/>
                  <a:gd name="connsiteY84" fmla="*/ 3444240 h 3680460"/>
                  <a:gd name="connsiteX85" fmla="*/ 1844040 w 3017559"/>
                  <a:gd name="connsiteY85" fmla="*/ 3429000 h 3680460"/>
                  <a:gd name="connsiteX86" fmla="*/ 1874520 w 3017559"/>
                  <a:gd name="connsiteY86" fmla="*/ 3421380 h 3680460"/>
                  <a:gd name="connsiteX87" fmla="*/ 1927860 w 3017559"/>
                  <a:gd name="connsiteY87" fmla="*/ 3398520 h 3680460"/>
                  <a:gd name="connsiteX88" fmla="*/ 1950720 w 3017559"/>
                  <a:gd name="connsiteY88" fmla="*/ 3390900 h 3680460"/>
                  <a:gd name="connsiteX89" fmla="*/ 2004060 w 3017559"/>
                  <a:gd name="connsiteY89" fmla="*/ 3360420 h 3680460"/>
                  <a:gd name="connsiteX90" fmla="*/ 2042160 w 3017559"/>
                  <a:gd name="connsiteY90" fmla="*/ 3352800 h 3680460"/>
                  <a:gd name="connsiteX91" fmla="*/ 2080260 w 3017559"/>
                  <a:gd name="connsiteY91" fmla="*/ 3337560 h 3680460"/>
                  <a:gd name="connsiteX92" fmla="*/ 2156460 w 3017559"/>
                  <a:gd name="connsiteY92" fmla="*/ 3299460 h 3680460"/>
                  <a:gd name="connsiteX93" fmla="*/ 2179320 w 3017559"/>
                  <a:gd name="connsiteY93" fmla="*/ 3284220 h 3680460"/>
                  <a:gd name="connsiteX94" fmla="*/ 2209800 w 3017559"/>
                  <a:gd name="connsiteY94" fmla="*/ 3276600 h 3680460"/>
                  <a:gd name="connsiteX95" fmla="*/ 2263140 w 3017559"/>
                  <a:gd name="connsiteY95" fmla="*/ 3230880 h 3680460"/>
                  <a:gd name="connsiteX96" fmla="*/ 2346960 w 3017559"/>
                  <a:gd name="connsiteY96" fmla="*/ 3154680 h 3680460"/>
                  <a:gd name="connsiteX97" fmla="*/ 2400300 w 3017559"/>
                  <a:gd name="connsiteY97" fmla="*/ 3070860 h 3680460"/>
                  <a:gd name="connsiteX98" fmla="*/ 2415540 w 3017559"/>
                  <a:gd name="connsiteY98" fmla="*/ 3048000 h 3680460"/>
                  <a:gd name="connsiteX99" fmla="*/ 2446020 w 3017559"/>
                  <a:gd name="connsiteY99" fmla="*/ 3032760 h 3680460"/>
                  <a:gd name="connsiteX100" fmla="*/ 2468880 w 3017559"/>
                  <a:gd name="connsiteY100" fmla="*/ 3009900 h 3680460"/>
                  <a:gd name="connsiteX101" fmla="*/ 2537460 w 3017559"/>
                  <a:gd name="connsiteY101" fmla="*/ 2926080 h 3680460"/>
                  <a:gd name="connsiteX102" fmla="*/ 2575560 w 3017559"/>
                  <a:gd name="connsiteY102" fmla="*/ 2880360 h 3680460"/>
                  <a:gd name="connsiteX103" fmla="*/ 2628900 w 3017559"/>
                  <a:gd name="connsiteY103" fmla="*/ 2811780 h 3680460"/>
                  <a:gd name="connsiteX104" fmla="*/ 2644140 w 3017559"/>
                  <a:gd name="connsiteY104" fmla="*/ 2773680 h 3680460"/>
                  <a:gd name="connsiteX105" fmla="*/ 2674620 w 3017559"/>
                  <a:gd name="connsiteY105" fmla="*/ 2727960 h 3680460"/>
                  <a:gd name="connsiteX106" fmla="*/ 2689860 w 3017559"/>
                  <a:gd name="connsiteY106" fmla="*/ 2705100 h 3680460"/>
                  <a:gd name="connsiteX107" fmla="*/ 2705100 w 3017559"/>
                  <a:gd name="connsiteY107" fmla="*/ 2667000 h 3680460"/>
                  <a:gd name="connsiteX108" fmla="*/ 2727960 w 3017559"/>
                  <a:gd name="connsiteY108" fmla="*/ 2621280 h 3680460"/>
                  <a:gd name="connsiteX109" fmla="*/ 2735580 w 3017559"/>
                  <a:gd name="connsiteY109" fmla="*/ 2590800 h 3680460"/>
                  <a:gd name="connsiteX110" fmla="*/ 2758440 w 3017559"/>
                  <a:gd name="connsiteY110" fmla="*/ 2545080 h 3680460"/>
                  <a:gd name="connsiteX111" fmla="*/ 2788920 w 3017559"/>
                  <a:gd name="connsiteY111" fmla="*/ 2484120 h 3680460"/>
                  <a:gd name="connsiteX112" fmla="*/ 2811780 w 3017559"/>
                  <a:gd name="connsiteY112" fmla="*/ 2407920 h 3680460"/>
                  <a:gd name="connsiteX113" fmla="*/ 2842260 w 3017559"/>
                  <a:gd name="connsiteY113" fmla="*/ 2324100 h 3680460"/>
                  <a:gd name="connsiteX114" fmla="*/ 2857500 w 3017559"/>
                  <a:gd name="connsiteY114" fmla="*/ 2247900 h 3680460"/>
                  <a:gd name="connsiteX115" fmla="*/ 2872740 w 3017559"/>
                  <a:gd name="connsiteY115" fmla="*/ 2194560 h 3680460"/>
                  <a:gd name="connsiteX116" fmla="*/ 2887980 w 3017559"/>
                  <a:gd name="connsiteY116" fmla="*/ 2148840 h 3680460"/>
                  <a:gd name="connsiteX117" fmla="*/ 2910840 w 3017559"/>
                  <a:gd name="connsiteY117" fmla="*/ 2087880 h 3680460"/>
                  <a:gd name="connsiteX118" fmla="*/ 2918460 w 3017559"/>
                  <a:gd name="connsiteY118" fmla="*/ 2049780 h 3680460"/>
                  <a:gd name="connsiteX119" fmla="*/ 2933700 w 3017559"/>
                  <a:gd name="connsiteY119" fmla="*/ 1844040 h 3680460"/>
                  <a:gd name="connsiteX120" fmla="*/ 2918460 w 3017559"/>
                  <a:gd name="connsiteY120" fmla="*/ 1470660 h 3680460"/>
                  <a:gd name="connsiteX121" fmla="*/ 2895600 w 3017559"/>
                  <a:gd name="connsiteY121" fmla="*/ 1371600 h 3680460"/>
                  <a:gd name="connsiteX122" fmla="*/ 2880360 w 3017559"/>
                  <a:gd name="connsiteY122" fmla="*/ 1341120 h 3680460"/>
                  <a:gd name="connsiteX123" fmla="*/ 2857500 w 3017559"/>
                  <a:gd name="connsiteY123" fmla="*/ 1272540 h 3680460"/>
                  <a:gd name="connsiteX124" fmla="*/ 2849880 w 3017559"/>
                  <a:gd name="connsiteY124" fmla="*/ 1234440 h 3680460"/>
                  <a:gd name="connsiteX125" fmla="*/ 2827020 w 3017559"/>
                  <a:gd name="connsiteY125" fmla="*/ 1196340 h 3680460"/>
                  <a:gd name="connsiteX126" fmla="*/ 2811780 w 3017559"/>
                  <a:gd name="connsiteY126" fmla="*/ 1165860 h 3680460"/>
                  <a:gd name="connsiteX127" fmla="*/ 2781300 w 3017559"/>
                  <a:gd name="connsiteY127" fmla="*/ 1127760 h 3680460"/>
                  <a:gd name="connsiteX128" fmla="*/ 2766060 w 3017559"/>
                  <a:gd name="connsiteY128" fmla="*/ 1089660 h 3680460"/>
                  <a:gd name="connsiteX129" fmla="*/ 2735580 w 3017559"/>
                  <a:gd name="connsiteY129" fmla="*/ 1043940 h 3680460"/>
                  <a:gd name="connsiteX130" fmla="*/ 2727960 w 3017559"/>
                  <a:gd name="connsiteY130" fmla="*/ 1021080 h 3680460"/>
                  <a:gd name="connsiteX131" fmla="*/ 2682240 w 3017559"/>
                  <a:gd name="connsiteY131" fmla="*/ 937260 h 3680460"/>
                  <a:gd name="connsiteX132" fmla="*/ 2659380 w 3017559"/>
                  <a:gd name="connsiteY132" fmla="*/ 876300 h 3680460"/>
                  <a:gd name="connsiteX133" fmla="*/ 2644140 w 3017559"/>
                  <a:gd name="connsiteY133" fmla="*/ 845820 h 3680460"/>
                  <a:gd name="connsiteX134" fmla="*/ 2636520 w 3017559"/>
                  <a:gd name="connsiteY134" fmla="*/ 822960 h 3680460"/>
                  <a:gd name="connsiteX135" fmla="*/ 2621280 w 3017559"/>
                  <a:gd name="connsiteY135" fmla="*/ 800100 h 3680460"/>
                  <a:gd name="connsiteX136" fmla="*/ 2598420 w 3017559"/>
                  <a:gd name="connsiteY136" fmla="*/ 739140 h 3680460"/>
                  <a:gd name="connsiteX137" fmla="*/ 2458403 w 3017559"/>
                  <a:gd name="connsiteY137" fmla="*/ 621983 h 3680460"/>
                  <a:gd name="connsiteX138" fmla="*/ 2301240 w 3017559"/>
                  <a:gd name="connsiteY138" fmla="*/ 458152 h 3680460"/>
                  <a:gd name="connsiteX139" fmla="*/ 2237423 w 3017559"/>
                  <a:gd name="connsiteY139" fmla="*/ 406717 h 3680460"/>
                  <a:gd name="connsiteX140" fmla="*/ 2103120 w 3017559"/>
                  <a:gd name="connsiteY140" fmla="*/ 312420 h 3680460"/>
                  <a:gd name="connsiteX141" fmla="*/ 2042160 w 3017559"/>
                  <a:gd name="connsiteY141" fmla="*/ 266700 h 3680460"/>
                  <a:gd name="connsiteX142" fmla="*/ 2004060 w 3017559"/>
                  <a:gd name="connsiteY142" fmla="*/ 251460 h 3680460"/>
                  <a:gd name="connsiteX143" fmla="*/ 1958340 w 3017559"/>
                  <a:gd name="connsiteY143" fmla="*/ 220980 h 3680460"/>
                  <a:gd name="connsiteX144" fmla="*/ 1897380 w 3017559"/>
                  <a:gd name="connsiteY14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110740 w 3017559"/>
                  <a:gd name="connsiteY42" fmla="*/ 3413760 h 3680460"/>
                  <a:gd name="connsiteX43" fmla="*/ 2019300 w 3017559"/>
                  <a:gd name="connsiteY43" fmla="*/ 3467100 h 3680460"/>
                  <a:gd name="connsiteX44" fmla="*/ 1874520 w 3017559"/>
                  <a:gd name="connsiteY44" fmla="*/ 3512820 h 3680460"/>
                  <a:gd name="connsiteX45" fmla="*/ 1828800 w 3017559"/>
                  <a:gd name="connsiteY45" fmla="*/ 3520440 h 3680460"/>
                  <a:gd name="connsiteX46" fmla="*/ 1722120 w 3017559"/>
                  <a:gd name="connsiteY46" fmla="*/ 3550920 h 3680460"/>
                  <a:gd name="connsiteX47" fmla="*/ 1600200 w 3017559"/>
                  <a:gd name="connsiteY47" fmla="*/ 3589020 h 3680460"/>
                  <a:gd name="connsiteX48" fmla="*/ 1569720 w 3017559"/>
                  <a:gd name="connsiteY48" fmla="*/ 3596640 h 3680460"/>
                  <a:gd name="connsiteX49" fmla="*/ 1546860 w 3017559"/>
                  <a:gd name="connsiteY49" fmla="*/ 3611880 h 3680460"/>
                  <a:gd name="connsiteX50" fmla="*/ 1463040 w 3017559"/>
                  <a:gd name="connsiteY50" fmla="*/ 3627120 h 3680460"/>
                  <a:gd name="connsiteX51" fmla="*/ 1333500 w 3017559"/>
                  <a:gd name="connsiteY51" fmla="*/ 3657600 h 3680460"/>
                  <a:gd name="connsiteX52" fmla="*/ 1203960 w 3017559"/>
                  <a:gd name="connsiteY52" fmla="*/ 3672840 h 3680460"/>
                  <a:gd name="connsiteX53" fmla="*/ 1165860 w 3017559"/>
                  <a:gd name="connsiteY53" fmla="*/ 3680460 h 3680460"/>
                  <a:gd name="connsiteX54" fmla="*/ 449580 w 3017559"/>
                  <a:gd name="connsiteY54" fmla="*/ 3672840 h 3680460"/>
                  <a:gd name="connsiteX55" fmla="*/ 426720 w 3017559"/>
                  <a:gd name="connsiteY55" fmla="*/ 3665220 h 3680460"/>
                  <a:gd name="connsiteX56" fmla="*/ 388620 w 3017559"/>
                  <a:gd name="connsiteY56" fmla="*/ 3657600 h 3680460"/>
                  <a:gd name="connsiteX57" fmla="*/ 335280 w 3017559"/>
                  <a:gd name="connsiteY57" fmla="*/ 3627120 h 3680460"/>
                  <a:gd name="connsiteX58" fmla="*/ 266700 w 3017559"/>
                  <a:gd name="connsiteY58" fmla="*/ 3604260 h 3680460"/>
                  <a:gd name="connsiteX59" fmla="*/ 243840 w 3017559"/>
                  <a:gd name="connsiteY59" fmla="*/ 3589020 h 3680460"/>
                  <a:gd name="connsiteX60" fmla="*/ 160020 w 3017559"/>
                  <a:gd name="connsiteY60" fmla="*/ 3558540 h 3680460"/>
                  <a:gd name="connsiteX61" fmla="*/ 137160 w 3017559"/>
                  <a:gd name="connsiteY61" fmla="*/ 3535680 h 3680460"/>
                  <a:gd name="connsiteX62" fmla="*/ 99060 w 3017559"/>
                  <a:gd name="connsiteY62" fmla="*/ 3520440 h 3680460"/>
                  <a:gd name="connsiteX63" fmla="*/ 83820 w 3017559"/>
                  <a:gd name="connsiteY63" fmla="*/ 3489960 h 3680460"/>
                  <a:gd name="connsiteX64" fmla="*/ 45720 w 3017559"/>
                  <a:gd name="connsiteY64" fmla="*/ 3436620 h 3680460"/>
                  <a:gd name="connsiteX65" fmla="*/ 0 w 3017559"/>
                  <a:gd name="connsiteY65" fmla="*/ 3352800 h 3680460"/>
                  <a:gd name="connsiteX66" fmla="*/ 30480 w 3017559"/>
                  <a:gd name="connsiteY66" fmla="*/ 3345180 h 3680460"/>
                  <a:gd name="connsiteX67" fmla="*/ 137160 w 3017559"/>
                  <a:gd name="connsiteY67" fmla="*/ 3360420 h 3680460"/>
                  <a:gd name="connsiteX68" fmla="*/ 167640 w 3017559"/>
                  <a:gd name="connsiteY68" fmla="*/ 3390900 h 3680460"/>
                  <a:gd name="connsiteX69" fmla="*/ 198120 w 3017559"/>
                  <a:gd name="connsiteY69" fmla="*/ 3406140 h 3680460"/>
                  <a:gd name="connsiteX70" fmla="*/ 350520 w 3017559"/>
                  <a:gd name="connsiteY70" fmla="*/ 3436620 h 3680460"/>
                  <a:gd name="connsiteX71" fmla="*/ 381000 w 3017559"/>
                  <a:gd name="connsiteY71" fmla="*/ 3451860 h 3680460"/>
                  <a:gd name="connsiteX72" fmla="*/ 449580 w 3017559"/>
                  <a:gd name="connsiteY72" fmla="*/ 3489960 h 3680460"/>
                  <a:gd name="connsiteX73" fmla="*/ 495300 w 3017559"/>
                  <a:gd name="connsiteY73" fmla="*/ 3520440 h 3680460"/>
                  <a:gd name="connsiteX74" fmla="*/ 525780 w 3017559"/>
                  <a:gd name="connsiteY74" fmla="*/ 3535680 h 3680460"/>
                  <a:gd name="connsiteX75" fmla="*/ 731520 w 3017559"/>
                  <a:gd name="connsiteY75" fmla="*/ 3558540 h 3680460"/>
                  <a:gd name="connsiteX76" fmla="*/ 1341120 w 3017559"/>
                  <a:gd name="connsiteY76" fmla="*/ 3550920 h 3680460"/>
                  <a:gd name="connsiteX77" fmla="*/ 1440180 w 3017559"/>
                  <a:gd name="connsiteY77" fmla="*/ 3528060 h 3680460"/>
                  <a:gd name="connsiteX78" fmla="*/ 1539240 w 3017559"/>
                  <a:gd name="connsiteY78" fmla="*/ 3520440 h 3680460"/>
                  <a:gd name="connsiteX79" fmla="*/ 1562100 w 3017559"/>
                  <a:gd name="connsiteY79" fmla="*/ 3512820 h 3680460"/>
                  <a:gd name="connsiteX80" fmla="*/ 1630680 w 3017559"/>
                  <a:gd name="connsiteY80" fmla="*/ 3497580 h 3680460"/>
                  <a:gd name="connsiteX81" fmla="*/ 1699260 w 3017559"/>
                  <a:gd name="connsiteY81" fmla="*/ 3474720 h 3680460"/>
                  <a:gd name="connsiteX82" fmla="*/ 1790700 w 3017559"/>
                  <a:gd name="connsiteY82" fmla="*/ 3451860 h 3680460"/>
                  <a:gd name="connsiteX83" fmla="*/ 1821180 w 3017559"/>
                  <a:gd name="connsiteY83" fmla="*/ 3444240 h 3680460"/>
                  <a:gd name="connsiteX84" fmla="*/ 1844040 w 3017559"/>
                  <a:gd name="connsiteY84" fmla="*/ 3429000 h 3680460"/>
                  <a:gd name="connsiteX85" fmla="*/ 1874520 w 3017559"/>
                  <a:gd name="connsiteY85" fmla="*/ 3421380 h 3680460"/>
                  <a:gd name="connsiteX86" fmla="*/ 1927860 w 3017559"/>
                  <a:gd name="connsiteY86" fmla="*/ 3398520 h 3680460"/>
                  <a:gd name="connsiteX87" fmla="*/ 1950720 w 3017559"/>
                  <a:gd name="connsiteY87" fmla="*/ 3390900 h 3680460"/>
                  <a:gd name="connsiteX88" fmla="*/ 2004060 w 3017559"/>
                  <a:gd name="connsiteY88" fmla="*/ 3360420 h 3680460"/>
                  <a:gd name="connsiteX89" fmla="*/ 2042160 w 3017559"/>
                  <a:gd name="connsiteY89" fmla="*/ 3352800 h 3680460"/>
                  <a:gd name="connsiteX90" fmla="*/ 2080260 w 3017559"/>
                  <a:gd name="connsiteY90" fmla="*/ 3337560 h 3680460"/>
                  <a:gd name="connsiteX91" fmla="*/ 2156460 w 3017559"/>
                  <a:gd name="connsiteY91" fmla="*/ 3299460 h 3680460"/>
                  <a:gd name="connsiteX92" fmla="*/ 2179320 w 3017559"/>
                  <a:gd name="connsiteY92" fmla="*/ 3284220 h 3680460"/>
                  <a:gd name="connsiteX93" fmla="*/ 2209800 w 3017559"/>
                  <a:gd name="connsiteY93" fmla="*/ 3276600 h 3680460"/>
                  <a:gd name="connsiteX94" fmla="*/ 2263140 w 3017559"/>
                  <a:gd name="connsiteY94" fmla="*/ 3230880 h 3680460"/>
                  <a:gd name="connsiteX95" fmla="*/ 2346960 w 3017559"/>
                  <a:gd name="connsiteY95" fmla="*/ 3154680 h 3680460"/>
                  <a:gd name="connsiteX96" fmla="*/ 2400300 w 3017559"/>
                  <a:gd name="connsiteY96" fmla="*/ 3070860 h 3680460"/>
                  <a:gd name="connsiteX97" fmla="*/ 2415540 w 3017559"/>
                  <a:gd name="connsiteY97" fmla="*/ 3048000 h 3680460"/>
                  <a:gd name="connsiteX98" fmla="*/ 2446020 w 3017559"/>
                  <a:gd name="connsiteY98" fmla="*/ 3032760 h 3680460"/>
                  <a:gd name="connsiteX99" fmla="*/ 2468880 w 3017559"/>
                  <a:gd name="connsiteY99" fmla="*/ 3009900 h 3680460"/>
                  <a:gd name="connsiteX100" fmla="*/ 2537460 w 3017559"/>
                  <a:gd name="connsiteY100" fmla="*/ 2926080 h 3680460"/>
                  <a:gd name="connsiteX101" fmla="*/ 2575560 w 3017559"/>
                  <a:gd name="connsiteY101" fmla="*/ 2880360 h 3680460"/>
                  <a:gd name="connsiteX102" fmla="*/ 2628900 w 3017559"/>
                  <a:gd name="connsiteY102" fmla="*/ 2811780 h 3680460"/>
                  <a:gd name="connsiteX103" fmla="*/ 2644140 w 3017559"/>
                  <a:gd name="connsiteY103" fmla="*/ 2773680 h 3680460"/>
                  <a:gd name="connsiteX104" fmla="*/ 2674620 w 3017559"/>
                  <a:gd name="connsiteY104" fmla="*/ 2727960 h 3680460"/>
                  <a:gd name="connsiteX105" fmla="*/ 2689860 w 3017559"/>
                  <a:gd name="connsiteY105" fmla="*/ 2705100 h 3680460"/>
                  <a:gd name="connsiteX106" fmla="*/ 2705100 w 3017559"/>
                  <a:gd name="connsiteY106" fmla="*/ 2667000 h 3680460"/>
                  <a:gd name="connsiteX107" fmla="*/ 2727960 w 3017559"/>
                  <a:gd name="connsiteY107" fmla="*/ 2621280 h 3680460"/>
                  <a:gd name="connsiteX108" fmla="*/ 2735580 w 3017559"/>
                  <a:gd name="connsiteY108" fmla="*/ 2590800 h 3680460"/>
                  <a:gd name="connsiteX109" fmla="*/ 2758440 w 3017559"/>
                  <a:gd name="connsiteY109" fmla="*/ 2545080 h 3680460"/>
                  <a:gd name="connsiteX110" fmla="*/ 2788920 w 3017559"/>
                  <a:gd name="connsiteY110" fmla="*/ 2484120 h 3680460"/>
                  <a:gd name="connsiteX111" fmla="*/ 2811780 w 3017559"/>
                  <a:gd name="connsiteY111" fmla="*/ 2407920 h 3680460"/>
                  <a:gd name="connsiteX112" fmla="*/ 2842260 w 3017559"/>
                  <a:gd name="connsiteY112" fmla="*/ 2324100 h 3680460"/>
                  <a:gd name="connsiteX113" fmla="*/ 2857500 w 3017559"/>
                  <a:gd name="connsiteY113" fmla="*/ 2247900 h 3680460"/>
                  <a:gd name="connsiteX114" fmla="*/ 2872740 w 3017559"/>
                  <a:gd name="connsiteY114" fmla="*/ 2194560 h 3680460"/>
                  <a:gd name="connsiteX115" fmla="*/ 2887980 w 3017559"/>
                  <a:gd name="connsiteY115" fmla="*/ 2148840 h 3680460"/>
                  <a:gd name="connsiteX116" fmla="*/ 2910840 w 3017559"/>
                  <a:gd name="connsiteY116" fmla="*/ 2087880 h 3680460"/>
                  <a:gd name="connsiteX117" fmla="*/ 2918460 w 3017559"/>
                  <a:gd name="connsiteY117" fmla="*/ 2049780 h 3680460"/>
                  <a:gd name="connsiteX118" fmla="*/ 2933700 w 3017559"/>
                  <a:gd name="connsiteY118" fmla="*/ 1844040 h 3680460"/>
                  <a:gd name="connsiteX119" fmla="*/ 2918460 w 3017559"/>
                  <a:gd name="connsiteY119" fmla="*/ 1470660 h 3680460"/>
                  <a:gd name="connsiteX120" fmla="*/ 2895600 w 3017559"/>
                  <a:gd name="connsiteY120" fmla="*/ 1371600 h 3680460"/>
                  <a:gd name="connsiteX121" fmla="*/ 2880360 w 3017559"/>
                  <a:gd name="connsiteY121" fmla="*/ 1341120 h 3680460"/>
                  <a:gd name="connsiteX122" fmla="*/ 2857500 w 3017559"/>
                  <a:gd name="connsiteY122" fmla="*/ 1272540 h 3680460"/>
                  <a:gd name="connsiteX123" fmla="*/ 2849880 w 3017559"/>
                  <a:gd name="connsiteY123" fmla="*/ 1234440 h 3680460"/>
                  <a:gd name="connsiteX124" fmla="*/ 2827020 w 3017559"/>
                  <a:gd name="connsiteY124" fmla="*/ 1196340 h 3680460"/>
                  <a:gd name="connsiteX125" fmla="*/ 2811780 w 3017559"/>
                  <a:gd name="connsiteY125" fmla="*/ 1165860 h 3680460"/>
                  <a:gd name="connsiteX126" fmla="*/ 2781300 w 3017559"/>
                  <a:gd name="connsiteY126" fmla="*/ 1127760 h 3680460"/>
                  <a:gd name="connsiteX127" fmla="*/ 2766060 w 3017559"/>
                  <a:gd name="connsiteY127" fmla="*/ 1089660 h 3680460"/>
                  <a:gd name="connsiteX128" fmla="*/ 2735580 w 3017559"/>
                  <a:gd name="connsiteY128" fmla="*/ 1043940 h 3680460"/>
                  <a:gd name="connsiteX129" fmla="*/ 2727960 w 3017559"/>
                  <a:gd name="connsiteY129" fmla="*/ 1021080 h 3680460"/>
                  <a:gd name="connsiteX130" fmla="*/ 2682240 w 3017559"/>
                  <a:gd name="connsiteY130" fmla="*/ 937260 h 3680460"/>
                  <a:gd name="connsiteX131" fmla="*/ 2659380 w 3017559"/>
                  <a:gd name="connsiteY131" fmla="*/ 876300 h 3680460"/>
                  <a:gd name="connsiteX132" fmla="*/ 2644140 w 3017559"/>
                  <a:gd name="connsiteY132" fmla="*/ 845820 h 3680460"/>
                  <a:gd name="connsiteX133" fmla="*/ 2636520 w 3017559"/>
                  <a:gd name="connsiteY133" fmla="*/ 822960 h 3680460"/>
                  <a:gd name="connsiteX134" fmla="*/ 2621280 w 3017559"/>
                  <a:gd name="connsiteY134" fmla="*/ 800100 h 3680460"/>
                  <a:gd name="connsiteX135" fmla="*/ 2598420 w 3017559"/>
                  <a:gd name="connsiteY135" fmla="*/ 739140 h 3680460"/>
                  <a:gd name="connsiteX136" fmla="*/ 2458403 w 3017559"/>
                  <a:gd name="connsiteY136" fmla="*/ 621983 h 3680460"/>
                  <a:gd name="connsiteX137" fmla="*/ 2301240 w 3017559"/>
                  <a:gd name="connsiteY137" fmla="*/ 458152 h 3680460"/>
                  <a:gd name="connsiteX138" fmla="*/ 2237423 w 3017559"/>
                  <a:gd name="connsiteY138" fmla="*/ 406717 h 3680460"/>
                  <a:gd name="connsiteX139" fmla="*/ 2103120 w 3017559"/>
                  <a:gd name="connsiteY139" fmla="*/ 312420 h 3680460"/>
                  <a:gd name="connsiteX140" fmla="*/ 2042160 w 3017559"/>
                  <a:gd name="connsiteY140" fmla="*/ 266700 h 3680460"/>
                  <a:gd name="connsiteX141" fmla="*/ 2004060 w 3017559"/>
                  <a:gd name="connsiteY141" fmla="*/ 251460 h 3680460"/>
                  <a:gd name="connsiteX142" fmla="*/ 1958340 w 3017559"/>
                  <a:gd name="connsiteY142" fmla="*/ 220980 h 3680460"/>
                  <a:gd name="connsiteX143" fmla="*/ 1897380 w 3017559"/>
                  <a:gd name="connsiteY143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019300 w 3017559"/>
                  <a:gd name="connsiteY42" fmla="*/ 3467100 h 3680460"/>
                  <a:gd name="connsiteX43" fmla="*/ 1874520 w 3017559"/>
                  <a:gd name="connsiteY43" fmla="*/ 3512820 h 3680460"/>
                  <a:gd name="connsiteX44" fmla="*/ 1828800 w 3017559"/>
                  <a:gd name="connsiteY44" fmla="*/ 3520440 h 3680460"/>
                  <a:gd name="connsiteX45" fmla="*/ 1722120 w 3017559"/>
                  <a:gd name="connsiteY45" fmla="*/ 3550920 h 3680460"/>
                  <a:gd name="connsiteX46" fmla="*/ 1600200 w 3017559"/>
                  <a:gd name="connsiteY46" fmla="*/ 3589020 h 3680460"/>
                  <a:gd name="connsiteX47" fmla="*/ 1569720 w 3017559"/>
                  <a:gd name="connsiteY47" fmla="*/ 3596640 h 3680460"/>
                  <a:gd name="connsiteX48" fmla="*/ 1546860 w 3017559"/>
                  <a:gd name="connsiteY48" fmla="*/ 3611880 h 3680460"/>
                  <a:gd name="connsiteX49" fmla="*/ 1463040 w 3017559"/>
                  <a:gd name="connsiteY49" fmla="*/ 3627120 h 3680460"/>
                  <a:gd name="connsiteX50" fmla="*/ 1333500 w 3017559"/>
                  <a:gd name="connsiteY50" fmla="*/ 3657600 h 3680460"/>
                  <a:gd name="connsiteX51" fmla="*/ 1203960 w 3017559"/>
                  <a:gd name="connsiteY51" fmla="*/ 3672840 h 3680460"/>
                  <a:gd name="connsiteX52" fmla="*/ 1165860 w 3017559"/>
                  <a:gd name="connsiteY52" fmla="*/ 3680460 h 3680460"/>
                  <a:gd name="connsiteX53" fmla="*/ 449580 w 3017559"/>
                  <a:gd name="connsiteY53" fmla="*/ 3672840 h 3680460"/>
                  <a:gd name="connsiteX54" fmla="*/ 426720 w 3017559"/>
                  <a:gd name="connsiteY54" fmla="*/ 3665220 h 3680460"/>
                  <a:gd name="connsiteX55" fmla="*/ 388620 w 3017559"/>
                  <a:gd name="connsiteY55" fmla="*/ 3657600 h 3680460"/>
                  <a:gd name="connsiteX56" fmla="*/ 335280 w 3017559"/>
                  <a:gd name="connsiteY56" fmla="*/ 3627120 h 3680460"/>
                  <a:gd name="connsiteX57" fmla="*/ 266700 w 3017559"/>
                  <a:gd name="connsiteY57" fmla="*/ 3604260 h 3680460"/>
                  <a:gd name="connsiteX58" fmla="*/ 243840 w 3017559"/>
                  <a:gd name="connsiteY58" fmla="*/ 3589020 h 3680460"/>
                  <a:gd name="connsiteX59" fmla="*/ 160020 w 3017559"/>
                  <a:gd name="connsiteY59" fmla="*/ 3558540 h 3680460"/>
                  <a:gd name="connsiteX60" fmla="*/ 137160 w 3017559"/>
                  <a:gd name="connsiteY60" fmla="*/ 3535680 h 3680460"/>
                  <a:gd name="connsiteX61" fmla="*/ 99060 w 3017559"/>
                  <a:gd name="connsiteY61" fmla="*/ 3520440 h 3680460"/>
                  <a:gd name="connsiteX62" fmla="*/ 83820 w 3017559"/>
                  <a:gd name="connsiteY62" fmla="*/ 3489960 h 3680460"/>
                  <a:gd name="connsiteX63" fmla="*/ 45720 w 3017559"/>
                  <a:gd name="connsiteY63" fmla="*/ 3436620 h 3680460"/>
                  <a:gd name="connsiteX64" fmla="*/ 0 w 3017559"/>
                  <a:gd name="connsiteY64" fmla="*/ 3352800 h 3680460"/>
                  <a:gd name="connsiteX65" fmla="*/ 30480 w 3017559"/>
                  <a:gd name="connsiteY65" fmla="*/ 3345180 h 3680460"/>
                  <a:gd name="connsiteX66" fmla="*/ 137160 w 3017559"/>
                  <a:gd name="connsiteY66" fmla="*/ 3360420 h 3680460"/>
                  <a:gd name="connsiteX67" fmla="*/ 167640 w 3017559"/>
                  <a:gd name="connsiteY67" fmla="*/ 3390900 h 3680460"/>
                  <a:gd name="connsiteX68" fmla="*/ 198120 w 3017559"/>
                  <a:gd name="connsiteY68" fmla="*/ 3406140 h 3680460"/>
                  <a:gd name="connsiteX69" fmla="*/ 350520 w 3017559"/>
                  <a:gd name="connsiteY69" fmla="*/ 3436620 h 3680460"/>
                  <a:gd name="connsiteX70" fmla="*/ 381000 w 3017559"/>
                  <a:gd name="connsiteY70" fmla="*/ 3451860 h 3680460"/>
                  <a:gd name="connsiteX71" fmla="*/ 449580 w 3017559"/>
                  <a:gd name="connsiteY71" fmla="*/ 3489960 h 3680460"/>
                  <a:gd name="connsiteX72" fmla="*/ 495300 w 3017559"/>
                  <a:gd name="connsiteY72" fmla="*/ 3520440 h 3680460"/>
                  <a:gd name="connsiteX73" fmla="*/ 525780 w 3017559"/>
                  <a:gd name="connsiteY73" fmla="*/ 3535680 h 3680460"/>
                  <a:gd name="connsiteX74" fmla="*/ 731520 w 3017559"/>
                  <a:gd name="connsiteY74" fmla="*/ 3558540 h 3680460"/>
                  <a:gd name="connsiteX75" fmla="*/ 1341120 w 3017559"/>
                  <a:gd name="connsiteY75" fmla="*/ 3550920 h 3680460"/>
                  <a:gd name="connsiteX76" fmla="*/ 1440180 w 3017559"/>
                  <a:gd name="connsiteY76" fmla="*/ 3528060 h 3680460"/>
                  <a:gd name="connsiteX77" fmla="*/ 1539240 w 3017559"/>
                  <a:gd name="connsiteY77" fmla="*/ 3520440 h 3680460"/>
                  <a:gd name="connsiteX78" fmla="*/ 1562100 w 3017559"/>
                  <a:gd name="connsiteY78" fmla="*/ 3512820 h 3680460"/>
                  <a:gd name="connsiteX79" fmla="*/ 1630680 w 3017559"/>
                  <a:gd name="connsiteY79" fmla="*/ 3497580 h 3680460"/>
                  <a:gd name="connsiteX80" fmla="*/ 1699260 w 3017559"/>
                  <a:gd name="connsiteY80" fmla="*/ 3474720 h 3680460"/>
                  <a:gd name="connsiteX81" fmla="*/ 1790700 w 3017559"/>
                  <a:gd name="connsiteY81" fmla="*/ 3451860 h 3680460"/>
                  <a:gd name="connsiteX82" fmla="*/ 1821180 w 3017559"/>
                  <a:gd name="connsiteY82" fmla="*/ 3444240 h 3680460"/>
                  <a:gd name="connsiteX83" fmla="*/ 1844040 w 3017559"/>
                  <a:gd name="connsiteY83" fmla="*/ 3429000 h 3680460"/>
                  <a:gd name="connsiteX84" fmla="*/ 1874520 w 3017559"/>
                  <a:gd name="connsiteY84" fmla="*/ 3421380 h 3680460"/>
                  <a:gd name="connsiteX85" fmla="*/ 1927860 w 3017559"/>
                  <a:gd name="connsiteY85" fmla="*/ 3398520 h 3680460"/>
                  <a:gd name="connsiteX86" fmla="*/ 1950720 w 3017559"/>
                  <a:gd name="connsiteY86" fmla="*/ 3390900 h 3680460"/>
                  <a:gd name="connsiteX87" fmla="*/ 2004060 w 3017559"/>
                  <a:gd name="connsiteY87" fmla="*/ 3360420 h 3680460"/>
                  <a:gd name="connsiteX88" fmla="*/ 2042160 w 3017559"/>
                  <a:gd name="connsiteY88" fmla="*/ 3352800 h 3680460"/>
                  <a:gd name="connsiteX89" fmla="*/ 2080260 w 3017559"/>
                  <a:gd name="connsiteY89" fmla="*/ 3337560 h 3680460"/>
                  <a:gd name="connsiteX90" fmla="*/ 2156460 w 3017559"/>
                  <a:gd name="connsiteY90" fmla="*/ 3299460 h 3680460"/>
                  <a:gd name="connsiteX91" fmla="*/ 2179320 w 3017559"/>
                  <a:gd name="connsiteY91" fmla="*/ 3284220 h 3680460"/>
                  <a:gd name="connsiteX92" fmla="*/ 2209800 w 3017559"/>
                  <a:gd name="connsiteY92" fmla="*/ 3276600 h 3680460"/>
                  <a:gd name="connsiteX93" fmla="*/ 2263140 w 3017559"/>
                  <a:gd name="connsiteY93" fmla="*/ 3230880 h 3680460"/>
                  <a:gd name="connsiteX94" fmla="*/ 2346960 w 3017559"/>
                  <a:gd name="connsiteY94" fmla="*/ 3154680 h 3680460"/>
                  <a:gd name="connsiteX95" fmla="*/ 2400300 w 3017559"/>
                  <a:gd name="connsiteY95" fmla="*/ 3070860 h 3680460"/>
                  <a:gd name="connsiteX96" fmla="*/ 2415540 w 3017559"/>
                  <a:gd name="connsiteY96" fmla="*/ 3048000 h 3680460"/>
                  <a:gd name="connsiteX97" fmla="*/ 2446020 w 3017559"/>
                  <a:gd name="connsiteY97" fmla="*/ 3032760 h 3680460"/>
                  <a:gd name="connsiteX98" fmla="*/ 2468880 w 3017559"/>
                  <a:gd name="connsiteY98" fmla="*/ 3009900 h 3680460"/>
                  <a:gd name="connsiteX99" fmla="*/ 2537460 w 3017559"/>
                  <a:gd name="connsiteY99" fmla="*/ 2926080 h 3680460"/>
                  <a:gd name="connsiteX100" fmla="*/ 2575560 w 3017559"/>
                  <a:gd name="connsiteY100" fmla="*/ 2880360 h 3680460"/>
                  <a:gd name="connsiteX101" fmla="*/ 2628900 w 3017559"/>
                  <a:gd name="connsiteY101" fmla="*/ 2811780 h 3680460"/>
                  <a:gd name="connsiteX102" fmla="*/ 2644140 w 3017559"/>
                  <a:gd name="connsiteY102" fmla="*/ 2773680 h 3680460"/>
                  <a:gd name="connsiteX103" fmla="*/ 2674620 w 3017559"/>
                  <a:gd name="connsiteY103" fmla="*/ 2727960 h 3680460"/>
                  <a:gd name="connsiteX104" fmla="*/ 2689860 w 3017559"/>
                  <a:gd name="connsiteY104" fmla="*/ 2705100 h 3680460"/>
                  <a:gd name="connsiteX105" fmla="*/ 2705100 w 3017559"/>
                  <a:gd name="connsiteY105" fmla="*/ 2667000 h 3680460"/>
                  <a:gd name="connsiteX106" fmla="*/ 2727960 w 3017559"/>
                  <a:gd name="connsiteY106" fmla="*/ 2621280 h 3680460"/>
                  <a:gd name="connsiteX107" fmla="*/ 2735580 w 3017559"/>
                  <a:gd name="connsiteY107" fmla="*/ 2590800 h 3680460"/>
                  <a:gd name="connsiteX108" fmla="*/ 2758440 w 3017559"/>
                  <a:gd name="connsiteY108" fmla="*/ 2545080 h 3680460"/>
                  <a:gd name="connsiteX109" fmla="*/ 2788920 w 3017559"/>
                  <a:gd name="connsiteY109" fmla="*/ 2484120 h 3680460"/>
                  <a:gd name="connsiteX110" fmla="*/ 2811780 w 3017559"/>
                  <a:gd name="connsiteY110" fmla="*/ 2407920 h 3680460"/>
                  <a:gd name="connsiteX111" fmla="*/ 2842260 w 3017559"/>
                  <a:gd name="connsiteY111" fmla="*/ 2324100 h 3680460"/>
                  <a:gd name="connsiteX112" fmla="*/ 2857500 w 3017559"/>
                  <a:gd name="connsiteY112" fmla="*/ 2247900 h 3680460"/>
                  <a:gd name="connsiteX113" fmla="*/ 2872740 w 3017559"/>
                  <a:gd name="connsiteY113" fmla="*/ 2194560 h 3680460"/>
                  <a:gd name="connsiteX114" fmla="*/ 2887980 w 3017559"/>
                  <a:gd name="connsiteY114" fmla="*/ 2148840 h 3680460"/>
                  <a:gd name="connsiteX115" fmla="*/ 2910840 w 3017559"/>
                  <a:gd name="connsiteY115" fmla="*/ 2087880 h 3680460"/>
                  <a:gd name="connsiteX116" fmla="*/ 2918460 w 3017559"/>
                  <a:gd name="connsiteY116" fmla="*/ 2049780 h 3680460"/>
                  <a:gd name="connsiteX117" fmla="*/ 2933700 w 3017559"/>
                  <a:gd name="connsiteY117" fmla="*/ 1844040 h 3680460"/>
                  <a:gd name="connsiteX118" fmla="*/ 2918460 w 3017559"/>
                  <a:gd name="connsiteY118" fmla="*/ 1470660 h 3680460"/>
                  <a:gd name="connsiteX119" fmla="*/ 2895600 w 3017559"/>
                  <a:gd name="connsiteY119" fmla="*/ 1371600 h 3680460"/>
                  <a:gd name="connsiteX120" fmla="*/ 2880360 w 3017559"/>
                  <a:gd name="connsiteY120" fmla="*/ 1341120 h 3680460"/>
                  <a:gd name="connsiteX121" fmla="*/ 2857500 w 3017559"/>
                  <a:gd name="connsiteY121" fmla="*/ 1272540 h 3680460"/>
                  <a:gd name="connsiteX122" fmla="*/ 2849880 w 3017559"/>
                  <a:gd name="connsiteY122" fmla="*/ 1234440 h 3680460"/>
                  <a:gd name="connsiteX123" fmla="*/ 2827020 w 3017559"/>
                  <a:gd name="connsiteY123" fmla="*/ 1196340 h 3680460"/>
                  <a:gd name="connsiteX124" fmla="*/ 2811780 w 3017559"/>
                  <a:gd name="connsiteY124" fmla="*/ 1165860 h 3680460"/>
                  <a:gd name="connsiteX125" fmla="*/ 2781300 w 3017559"/>
                  <a:gd name="connsiteY125" fmla="*/ 1127760 h 3680460"/>
                  <a:gd name="connsiteX126" fmla="*/ 2766060 w 3017559"/>
                  <a:gd name="connsiteY126" fmla="*/ 1089660 h 3680460"/>
                  <a:gd name="connsiteX127" fmla="*/ 2735580 w 3017559"/>
                  <a:gd name="connsiteY127" fmla="*/ 1043940 h 3680460"/>
                  <a:gd name="connsiteX128" fmla="*/ 2727960 w 3017559"/>
                  <a:gd name="connsiteY128" fmla="*/ 1021080 h 3680460"/>
                  <a:gd name="connsiteX129" fmla="*/ 2682240 w 3017559"/>
                  <a:gd name="connsiteY129" fmla="*/ 937260 h 3680460"/>
                  <a:gd name="connsiteX130" fmla="*/ 2659380 w 3017559"/>
                  <a:gd name="connsiteY130" fmla="*/ 876300 h 3680460"/>
                  <a:gd name="connsiteX131" fmla="*/ 2644140 w 3017559"/>
                  <a:gd name="connsiteY131" fmla="*/ 845820 h 3680460"/>
                  <a:gd name="connsiteX132" fmla="*/ 2636520 w 3017559"/>
                  <a:gd name="connsiteY132" fmla="*/ 822960 h 3680460"/>
                  <a:gd name="connsiteX133" fmla="*/ 2621280 w 3017559"/>
                  <a:gd name="connsiteY133" fmla="*/ 800100 h 3680460"/>
                  <a:gd name="connsiteX134" fmla="*/ 2598420 w 3017559"/>
                  <a:gd name="connsiteY134" fmla="*/ 739140 h 3680460"/>
                  <a:gd name="connsiteX135" fmla="*/ 2458403 w 3017559"/>
                  <a:gd name="connsiteY135" fmla="*/ 621983 h 3680460"/>
                  <a:gd name="connsiteX136" fmla="*/ 2301240 w 3017559"/>
                  <a:gd name="connsiteY136" fmla="*/ 458152 h 3680460"/>
                  <a:gd name="connsiteX137" fmla="*/ 2237423 w 3017559"/>
                  <a:gd name="connsiteY137" fmla="*/ 406717 h 3680460"/>
                  <a:gd name="connsiteX138" fmla="*/ 2103120 w 3017559"/>
                  <a:gd name="connsiteY138" fmla="*/ 312420 h 3680460"/>
                  <a:gd name="connsiteX139" fmla="*/ 2042160 w 3017559"/>
                  <a:gd name="connsiteY139" fmla="*/ 266700 h 3680460"/>
                  <a:gd name="connsiteX140" fmla="*/ 2004060 w 3017559"/>
                  <a:gd name="connsiteY140" fmla="*/ 251460 h 3680460"/>
                  <a:gd name="connsiteX141" fmla="*/ 1958340 w 3017559"/>
                  <a:gd name="connsiteY141" fmla="*/ 220980 h 3680460"/>
                  <a:gd name="connsiteX142" fmla="*/ 1897380 w 3017559"/>
                  <a:gd name="connsiteY142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225040 w 3017559"/>
                  <a:gd name="connsiteY40" fmla="*/ 3337560 h 3680460"/>
                  <a:gd name="connsiteX41" fmla="*/ 2141220 w 3017559"/>
                  <a:gd name="connsiteY41" fmla="*/ 3390900 h 3680460"/>
                  <a:gd name="connsiteX42" fmla="*/ 2009775 w 3017559"/>
                  <a:gd name="connsiteY42" fmla="*/ 3448050 h 3680460"/>
                  <a:gd name="connsiteX43" fmla="*/ 1874520 w 3017559"/>
                  <a:gd name="connsiteY43" fmla="*/ 3512820 h 3680460"/>
                  <a:gd name="connsiteX44" fmla="*/ 1828800 w 3017559"/>
                  <a:gd name="connsiteY44" fmla="*/ 3520440 h 3680460"/>
                  <a:gd name="connsiteX45" fmla="*/ 1722120 w 3017559"/>
                  <a:gd name="connsiteY45" fmla="*/ 3550920 h 3680460"/>
                  <a:gd name="connsiteX46" fmla="*/ 1600200 w 3017559"/>
                  <a:gd name="connsiteY46" fmla="*/ 3589020 h 3680460"/>
                  <a:gd name="connsiteX47" fmla="*/ 1569720 w 3017559"/>
                  <a:gd name="connsiteY47" fmla="*/ 3596640 h 3680460"/>
                  <a:gd name="connsiteX48" fmla="*/ 1546860 w 3017559"/>
                  <a:gd name="connsiteY48" fmla="*/ 3611880 h 3680460"/>
                  <a:gd name="connsiteX49" fmla="*/ 1463040 w 3017559"/>
                  <a:gd name="connsiteY49" fmla="*/ 3627120 h 3680460"/>
                  <a:gd name="connsiteX50" fmla="*/ 1333500 w 3017559"/>
                  <a:gd name="connsiteY50" fmla="*/ 3657600 h 3680460"/>
                  <a:gd name="connsiteX51" fmla="*/ 1203960 w 3017559"/>
                  <a:gd name="connsiteY51" fmla="*/ 3672840 h 3680460"/>
                  <a:gd name="connsiteX52" fmla="*/ 1165860 w 3017559"/>
                  <a:gd name="connsiteY52" fmla="*/ 3680460 h 3680460"/>
                  <a:gd name="connsiteX53" fmla="*/ 449580 w 3017559"/>
                  <a:gd name="connsiteY53" fmla="*/ 3672840 h 3680460"/>
                  <a:gd name="connsiteX54" fmla="*/ 426720 w 3017559"/>
                  <a:gd name="connsiteY54" fmla="*/ 3665220 h 3680460"/>
                  <a:gd name="connsiteX55" fmla="*/ 388620 w 3017559"/>
                  <a:gd name="connsiteY55" fmla="*/ 3657600 h 3680460"/>
                  <a:gd name="connsiteX56" fmla="*/ 335280 w 3017559"/>
                  <a:gd name="connsiteY56" fmla="*/ 3627120 h 3680460"/>
                  <a:gd name="connsiteX57" fmla="*/ 266700 w 3017559"/>
                  <a:gd name="connsiteY57" fmla="*/ 3604260 h 3680460"/>
                  <a:gd name="connsiteX58" fmla="*/ 243840 w 3017559"/>
                  <a:gd name="connsiteY58" fmla="*/ 3589020 h 3680460"/>
                  <a:gd name="connsiteX59" fmla="*/ 160020 w 3017559"/>
                  <a:gd name="connsiteY59" fmla="*/ 3558540 h 3680460"/>
                  <a:gd name="connsiteX60" fmla="*/ 137160 w 3017559"/>
                  <a:gd name="connsiteY60" fmla="*/ 3535680 h 3680460"/>
                  <a:gd name="connsiteX61" fmla="*/ 99060 w 3017559"/>
                  <a:gd name="connsiteY61" fmla="*/ 3520440 h 3680460"/>
                  <a:gd name="connsiteX62" fmla="*/ 83820 w 3017559"/>
                  <a:gd name="connsiteY62" fmla="*/ 3489960 h 3680460"/>
                  <a:gd name="connsiteX63" fmla="*/ 45720 w 3017559"/>
                  <a:gd name="connsiteY63" fmla="*/ 3436620 h 3680460"/>
                  <a:gd name="connsiteX64" fmla="*/ 0 w 3017559"/>
                  <a:gd name="connsiteY64" fmla="*/ 3352800 h 3680460"/>
                  <a:gd name="connsiteX65" fmla="*/ 30480 w 3017559"/>
                  <a:gd name="connsiteY65" fmla="*/ 3345180 h 3680460"/>
                  <a:gd name="connsiteX66" fmla="*/ 137160 w 3017559"/>
                  <a:gd name="connsiteY66" fmla="*/ 3360420 h 3680460"/>
                  <a:gd name="connsiteX67" fmla="*/ 167640 w 3017559"/>
                  <a:gd name="connsiteY67" fmla="*/ 3390900 h 3680460"/>
                  <a:gd name="connsiteX68" fmla="*/ 198120 w 3017559"/>
                  <a:gd name="connsiteY68" fmla="*/ 3406140 h 3680460"/>
                  <a:gd name="connsiteX69" fmla="*/ 350520 w 3017559"/>
                  <a:gd name="connsiteY69" fmla="*/ 3436620 h 3680460"/>
                  <a:gd name="connsiteX70" fmla="*/ 381000 w 3017559"/>
                  <a:gd name="connsiteY70" fmla="*/ 3451860 h 3680460"/>
                  <a:gd name="connsiteX71" fmla="*/ 449580 w 3017559"/>
                  <a:gd name="connsiteY71" fmla="*/ 3489960 h 3680460"/>
                  <a:gd name="connsiteX72" fmla="*/ 495300 w 3017559"/>
                  <a:gd name="connsiteY72" fmla="*/ 3520440 h 3680460"/>
                  <a:gd name="connsiteX73" fmla="*/ 525780 w 3017559"/>
                  <a:gd name="connsiteY73" fmla="*/ 3535680 h 3680460"/>
                  <a:gd name="connsiteX74" fmla="*/ 731520 w 3017559"/>
                  <a:gd name="connsiteY74" fmla="*/ 3558540 h 3680460"/>
                  <a:gd name="connsiteX75" fmla="*/ 1341120 w 3017559"/>
                  <a:gd name="connsiteY75" fmla="*/ 3550920 h 3680460"/>
                  <a:gd name="connsiteX76" fmla="*/ 1440180 w 3017559"/>
                  <a:gd name="connsiteY76" fmla="*/ 3528060 h 3680460"/>
                  <a:gd name="connsiteX77" fmla="*/ 1539240 w 3017559"/>
                  <a:gd name="connsiteY77" fmla="*/ 3520440 h 3680460"/>
                  <a:gd name="connsiteX78" fmla="*/ 1562100 w 3017559"/>
                  <a:gd name="connsiteY78" fmla="*/ 3512820 h 3680460"/>
                  <a:gd name="connsiteX79" fmla="*/ 1630680 w 3017559"/>
                  <a:gd name="connsiteY79" fmla="*/ 3497580 h 3680460"/>
                  <a:gd name="connsiteX80" fmla="*/ 1699260 w 3017559"/>
                  <a:gd name="connsiteY80" fmla="*/ 3474720 h 3680460"/>
                  <a:gd name="connsiteX81" fmla="*/ 1790700 w 3017559"/>
                  <a:gd name="connsiteY81" fmla="*/ 3451860 h 3680460"/>
                  <a:gd name="connsiteX82" fmla="*/ 1821180 w 3017559"/>
                  <a:gd name="connsiteY82" fmla="*/ 3444240 h 3680460"/>
                  <a:gd name="connsiteX83" fmla="*/ 1844040 w 3017559"/>
                  <a:gd name="connsiteY83" fmla="*/ 3429000 h 3680460"/>
                  <a:gd name="connsiteX84" fmla="*/ 1874520 w 3017559"/>
                  <a:gd name="connsiteY84" fmla="*/ 3421380 h 3680460"/>
                  <a:gd name="connsiteX85" fmla="*/ 1927860 w 3017559"/>
                  <a:gd name="connsiteY85" fmla="*/ 3398520 h 3680460"/>
                  <a:gd name="connsiteX86" fmla="*/ 1950720 w 3017559"/>
                  <a:gd name="connsiteY86" fmla="*/ 3390900 h 3680460"/>
                  <a:gd name="connsiteX87" fmla="*/ 2004060 w 3017559"/>
                  <a:gd name="connsiteY87" fmla="*/ 3360420 h 3680460"/>
                  <a:gd name="connsiteX88" fmla="*/ 2042160 w 3017559"/>
                  <a:gd name="connsiteY88" fmla="*/ 3352800 h 3680460"/>
                  <a:gd name="connsiteX89" fmla="*/ 2080260 w 3017559"/>
                  <a:gd name="connsiteY89" fmla="*/ 3337560 h 3680460"/>
                  <a:gd name="connsiteX90" fmla="*/ 2156460 w 3017559"/>
                  <a:gd name="connsiteY90" fmla="*/ 3299460 h 3680460"/>
                  <a:gd name="connsiteX91" fmla="*/ 2179320 w 3017559"/>
                  <a:gd name="connsiteY91" fmla="*/ 3284220 h 3680460"/>
                  <a:gd name="connsiteX92" fmla="*/ 2209800 w 3017559"/>
                  <a:gd name="connsiteY92" fmla="*/ 3276600 h 3680460"/>
                  <a:gd name="connsiteX93" fmla="*/ 2263140 w 3017559"/>
                  <a:gd name="connsiteY93" fmla="*/ 3230880 h 3680460"/>
                  <a:gd name="connsiteX94" fmla="*/ 2346960 w 3017559"/>
                  <a:gd name="connsiteY94" fmla="*/ 3154680 h 3680460"/>
                  <a:gd name="connsiteX95" fmla="*/ 2400300 w 3017559"/>
                  <a:gd name="connsiteY95" fmla="*/ 3070860 h 3680460"/>
                  <a:gd name="connsiteX96" fmla="*/ 2415540 w 3017559"/>
                  <a:gd name="connsiteY96" fmla="*/ 3048000 h 3680460"/>
                  <a:gd name="connsiteX97" fmla="*/ 2446020 w 3017559"/>
                  <a:gd name="connsiteY97" fmla="*/ 3032760 h 3680460"/>
                  <a:gd name="connsiteX98" fmla="*/ 2468880 w 3017559"/>
                  <a:gd name="connsiteY98" fmla="*/ 3009900 h 3680460"/>
                  <a:gd name="connsiteX99" fmla="*/ 2537460 w 3017559"/>
                  <a:gd name="connsiteY99" fmla="*/ 2926080 h 3680460"/>
                  <a:gd name="connsiteX100" fmla="*/ 2575560 w 3017559"/>
                  <a:gd name="connsiteY100" fmla="*/ 2880360 h 3680460"/>
                  <a:gd name="connsiteX101" fmla="*/ 2628900 w 3017559"/>
                  <a:gd name="connsiteY101" fmla="*/ 2811780 h 3680460"/>
                  <a:gd name="connsiteX102" fmla="*/ 2644140 w 3017559"/>
                  <a:gd name="connsiteY102" fmla="*/ 2773680 h 3680460"/>
                  <a:gd name="connsiteX103" fmla="*/ 2674620 w 3017559"/>
                  <a:gd name="connsiteY103" fmla="*/ 2727960 h 3680460"/>
                  <a:gd name="connsiteX104" fmla="*/ 2689860 w 3017559"/>
                  <a:gd name="connsiteY104" fmla="*/ 2705100 h 3680460"/>
                  <a:gd name="connsiteX105" fmla="*/ 2705100 w 3017559"/>
                  <a:gd name="connsiteY105" fmla="*/ 2667000 h 3680460"/>
                  <a:gd name="connsiteX106" fmla="*/ 2727960 w 3017559"/>
                  <a:gd name="connsiteY106" fmla="*/ 2621280 h 3680460"/>
                  <a:gd name="connsiteX107" fmla="*/ 2735580 w 3017559"/>
                  <a:gd name="connsiteY107" fmla="*/ 2590800 h 3680460"/>
                  <a:gd name="connsiteX108" fmla="*/ 2758440 w 3017559"/>
                  <a:gd name="connsiteY108" fmla="*/ 2545080 h 3680460"/>
                  <a:gd name="connsiteX109" fmla="*/ 2788920 w 3017559"/>
                  <a:gd name="connsiteY109" fmla="*/ 2484120 h 3680460"/>
                  <a:gd name="connsiteX110" fmla="*/ 2811780 w 3017559"/>
                  <a:gd name="connsiteY110" fmla="*/ 2407920 h 3680460"/>
                  <a:gd name="connsiteX111" fmla="*/ 2842260 w 3017559"/>
                  <a:gd name="connsiteY111" fmla="*/ 2324100 h 3680460"/>
                  <a:gd name="connsiteX112" fmla="*/ 2857500 w 3017559"/>
                  <a:gd name="connsiteY112" fmla="*/ 2247900 h 3680460"/>
                  <a:gd name="connsiteX113" fmla="*/ 2872740 w 3017559"/>
                  <a:gd name="connsiteY113" fmla="*/ 2194560 h 3680460"/>
                  <a:gd name="connsiteX114" fmla="*/ 2887980 w 3017559"/>
                  <a:gd name="connsiteY114" fmla="*/ 2148840 h 3680460"/>
                  <a:gd name="connsiteX115" fmla="*/ 2910840 w 3017559"/>
                  <a:gd name="connsiteY115" fmla="*/ 2087880 h 3680460"/>
                  <a:gd name="connsiteX116" fmla="*/ 2918460 w 3017559"/>
                  <a:gd name="connsiteY116" fmla="*/ 2049780 h 3680460"/>
                  <a:gd name="connsiteX117" fmla="*/ 2933700 w 3017559"/>
                  <a:gd name="connsiteY117" fmla="*/ 1844040 h 3680460"/>
                  <a:gd name="connsiteX118" fmla="*/ 2918460 w 3017559"/>
                  <a:gd name="connsiteY118" fmla="*/ 1470660 h 3680460"/>
                  <a:gd name="connsiteX119" fmla="*/ 2895600 w 3017559"/>
                  <a:gd name="connsiteY119" fmla="*/ 1371600 h 3680460"/>
                  <a:gd name="connsiteX120" fmla="*/ 2880360 w 3017559"/>
                  <a:gd name="connsiteY120" fmla="*/ 1341120 h 3680460"/>
                  <a:gd name="connsiteX121" fmla="*/ 2857500 w 3017559"/>
                  <a:gd name="connsiteY121" fmla="*/ 1272540 h 3680460"/>
                  <a:gd name="connsiteX122" fmla="*/ 2849880 w 3017559"/>
                  <a:gd name="connsiteY122" fmla="*/ 1234440 h 3680460"/>
                  <a:gd name="connsiteX123" fmla="*/ 2827020 w 3017559"/>
                  <a:gd name="connsiteY123" fmla="*/ 1196340 h 3680460"/>
                  <a:gd name="connsiteX124" fmla="*/ 2811780 w 3017559"/>
                  <a:gd name="connsiteY124" fmla="*/ 1165860 h 3680460"/>
                  <a:gd name="connsiteX125" fmla="*/ 2781300 w 3017559"/>
                  <a:gd name="connsiteY125" fmla="*/ 1127760 h 3680460"/>
                  <a:gd name="connsiteX126" fmla="*/ 2766060 w 3017559"/>
                  <a:gd name="connsiteY126" fmla="*/ 1089660 h 3680460"/>
                  <a:gd name="connsiteX127" fmla="*/ 2735580 w 3017559"/>
                  <a:gd name="connsiteY127" fmla="*/ 1043940 h 3680460"/>
                  <a:gd name="connsiteX128" fmla="*/ 2727960 w 3017559"/>
                  <a:gd name="connsiteY128" fmla="*/ 1021080 h 3680460"/>
                  <a:gd name="connsiteX129" fmla="*/ 2682240 w 3017559"/>
                  <a:gd name="connsiteY129" fmla="*/ 937260 h 3680460"/>
                  <a:gd name="connsiteX130" fmla="*/ 2659380 w 3017559"/>
                  <a:gd name="connsiteY130" fmla="*/ 876300 h 3680460"/>
                  <a:gd name="connsiteX131" fmla="*/ 2644140 w 3017559"/>
                  <a:gd name="connsiteY131" fmla="*/ 845820 h 3680460"/>
                  <a:gd name="connsiteX132" fmla="*/ 2636520 w 3017559"/>
                  <a:gd name="connsiteY132" fmla="*/ 822960 h 3680460"/>
                  <a:gd name="connsiteX133" fmla="*/ 2621280 w 3017559"/>
                  <a:gd name="connsiteY133" fmla="*/ 800100 h 3680460"/>
                  <a:gd name="connsiteX134" fmla="*/ 2598420 w 3017559"/>
                  <a:gd name="connsiteY134" fmla="*/ 739140 h 3680460"/>
                  <a:gd name="connsiteX135" fmla="*/ 2458403 w 3017559"/>
                  <a:gd name="connsiteY135" fmla="*/ 621983 h 3680460"/>
                  <a:gd name="connsiteX136" fmla="*/ 2301240 w 3017559"/>
                  <a:gd name="connsiteY136" fmla="*/ 458152 h 3680460"/>
                  <a:gd name="connsiteX137" fmla="*/ 2237423 w 3017559"/>
                  <a:gd name="connsiteY137" fmla="*/ 406717 h 3680460"/>
                  <a:gd name="connsiteX138" fmla="*/ 2103120 w 3017559"/>
                  <a:gd name="connsiteY138" fmla="*/ 312420 h 3680460"/>
                  <a:gd name="connsiteX139" fmla="*/ 2042160 w 3017559"/>
                  <a:gd name="connsiteY139" fmla="*/ 266700 h 3680460"/>
                  <a:gd name="connsiteX140" fmla="*/ 2004060 w 3017559"/>
                  <a:gd name="connsiteY140" fmla="*/ 251460 h 3680460"/>
                  <a:gd name="connsiteX141" fmla="*/ 1958340 w 3017559"/>
                  <a:gd name="connsiteY141" fmla="*/ 220980 h 3680460"/>
                  <a:gd name="connsiteX142" fmla="*/ 1897380 w 3017559"/>
                  <a:gd name="connsiteY142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240280 w 3017559"/>
                  <a:gd name="connsiteY39" fmla="*/ 3314700 h 3680460"/>
                  <a:gd name="connsiteX40" fmla="*/ 2141220 w 3017559"/>
                  <a:gd name="connsiteY40" fmla="*/ 3390900 h 3680460"/>
                  <a:gd name="connsiteX41" fmla="*/ 2009775 w 3017559"/>
                  <a:gd name="connsiteY41" fmla="*/ 3448050 h 3680460"/>
                  <a:gd name="connsiteX42" fmla="*/ 1874520 w 3017559"/>
                  <a:gd name="connsiteY42" fmla="*/ 3512820 h 3680460"/>
                  <a:gd name="connsiteX43" fmla="*/ 1828800 w 3017559"/>
                  <a:gd name="connsiteY43" fmla="*/ 3520440 h 3680460"/>
                  <a:gd name="connsiteX44" fmla="*/ 1722120 w 3017559"/>
                  <a:gd name="connsiteY44" fmla="*/ 3550920 h 3680460"/>
                  <a:gd name="connsiteX45" fmla="*/ 1600200 w 3017559"/>
                  <a:gd name="connsiteY45" fmla="*/ 3589020 h 3680460"/>
                  <a:gd name="connsiteX46" fmla="*/ 1569720 w 3017559"/>
                  <a:gd name="connsiteY46" fmla="*/ 3596640 h 3680460"/>
                  <a:gd name="connsiteX47" fmla="*/ 1546860 w 3017559"/>
                  <a:gd name="connsiteY47" fmla="*/ 3611880 h 3680460"/>
                  <a:gd name="connsiteX48" fmla="*/ 1463040 w 3017559"/>
                  <a:gd name="connsiteY48" fmla="*/ 3627120 h 3680460"/>
                  <a:gd name="connsiteX49" fmla="*/ 1333500 w 3017559"/>
                  <a:gd name="connsiteY49" fmla="*/ 3657600 h 3680460"/>
                  <a:gd name="connsiteX50" fmla="*/ 1203960 w 3017559"/>
                  <a:gd name="connsiteY50" fmla="*/ 3672840 h 3680460"/>
                  <a:gd name="connsiteX51" fmla="*/ 1165860 w 3017559"/>
                  <a:gd name="connsiteY51" fmla="*/ 3680460 h 3680460"/>
                  <a:gd name="connsiteX52" fmla="*/ 449580 w 3017559"/>
                  <a:gd name="connsiteY52" fmla="*/ 3672840 h 3680460"/>
                  <a:gd name="connsiteX53" fmla="*/ 426720 w 3017559"/>
                  <a:gd name="connsiteY53" fmla="*/ 3665220 h 3680460"/>
                  <a:gd name="connsiteX54" fmla="*/ 388620 w 3017559"/>
                  <a:gd name="connsiteY54" fmla="*/ 3657600 h 3680460"/>
                  <a:gd name="connsiteX55" fmla="*/ 335280 w 3017559"/>
                  <a:gd name="connsiteY55" fmla="*/ 3627120 h 3680460"/>
                  <a:gd name="connsiteX56" fmla="*/ 266700 w 3017559"/>
                  <a:gd name="connsiteY56" fmla="*/ 3604260 h 3680460"/>
                  <a:gd name="connsiteX57" fmla="*/ 243840 w 3017559"/>
                  <a:gd name="connsiteY57" fmla="*/ 3589020 h 3680460"/>
                  <a:gd name="connsiteX58" fmla="*/ 160020 w 3017559"/>
                  <a:gd name="connsiteY58" fmla="*/ 3558540 h 3680460"/>
                  <a:gd name="connsiteX59" fmla="*/ 137160 w 3017559"/>
                  <a:gd name="connsiteY59" fmla="*/ 3535680 h 3680460"/>
                  <a:gd name="connsiteX60" fmla="*/ 99060 w 3017559"/>
                  <a:gd name="connsiteY60" fmla="*/ 3520440 h 3680460"/>
                  <a:gd name="connsiteX61" fmla="*/ 83820 w 3017559"/>
                  <a:gd name="connsiteY61" fmla="*/ 3489960 h 3680460"/>
                  <a:gd name="connsiteX62" fmla="*/ 45720 w 3017559"/>
                  <a:gd name="connsiteY62" fmla="*/ 3436620 h 3680460"/>
                  <a:gd name="connsiteX63" fmla="*/ 0 w 3017559"/>
                  <a:gd name="connsiteY63" fmla="*/ 3352800 h 3680460"/>
                  <a:gd name="connsiteX64" fmla="*/ 30480 w 3017559"/>
                  <a:gd name="connsiteY64" fmla="*/ 3345180 h 3680460"/>
                  <a:gd name="connsiteX65" fmla="*/ 137160 w 3017559"/>
                  <a:gd name="connsiteY65" fmla="*/ 3360420 h 3680460"/>
                  <a:gd name="connsiteX66" fmla="*/ 167640 w 3017559"/>
                  <a:gd name="connsiteY66" fmla="*/ 3390900 h 3680460"/>
                  <a:gd name="connsiteX67" fmla="*/ 198120 w 3017559"/>
                  <a:gd name="connsiteY67" fmla="*/ 3406140 h 3680460"/>
                  <a:gd name="connsiteX68" fmla="*/ 350520 w 3017559"/>
                  <a:gd name="connsiteY68" fmla="*/ 3436620 h 3680460"/>
                  <a:gd name="connsiteX69" fmla="*/ 381000 w 3017559"/>
                  <a:gd name="connsiteY69" fmla="*/ 3451860 h 3680460"/>
                  <a:gd name="connsiteX70" fmla="*/ 449580 w 3017559"/>
                  <a:gd name="connsiteY70" fmla="*/ 3489960 h 3680460"/>
                  <a:gd name="connsiteX71" fmla="*/ 495300 w 3017559"/>
                  <a:gd name="connsiteY71" fmla="*/ 3520440 h 3680460"/>
                  <a:gd name="connsiteX72" fmla="*/ 525780 w 3017559"/>
                  <a:gd name="connsiteY72" fmla="*/ 3535680 h 3680460"/>
                  <a:gd name="connsiteX73" fmla="*/ 731520 w 3017559"/>
                  <a:gd name="connsiteY73" fmla="*/ 3558540 h 3680460"/>
                  <a:gd name="connsiteX74" fmla="*/ 1341120 w 3017559"/>
                  <a:gd name="connsiteY74" fmla="*/ 3550920 h 3680460"/>
                  <a:gd name="connsiteX75" fmla="*/ 1440180 w 3017559"/>
                  <a:gd name="connsiteY75" fmla="*/ 3528060 h 3680460"/>
                  <a:gd name="connsiteX76" fmla="*/ 1539240 w 3017559"/>
                  <a:gd name="connsiteY76" fmla="*/ 3520440 h 3680460"/>
                  <a:gd name="connsiteX77" fmla="*/ 1562100 w 3017559"/>
                  <a:gd name="connsiteY77" fmla="*/ 3512820 h 3680460"/>
                  <a:gd name="connsiteX78" fmla="*/ 1630680 w 3017559"/>
                  <a:gd name="connsiteY78" fmla="*/ 3497580 h 3680460"/>
                  <a:gd name="connsiteX79" fmla="*/ 1699260 w 3017559"/>
                  <a:gd name="connsiteY79" fmla="*/ 3474720 h 3680460"/>
                  <a:gd name="connsiteX80" fmla="*/ 1790700 w 3017559"/>
                  <a:gd name="connsiteY80" fmla="*/ 3451860 h 3680460"/>
                  <a:gd name="connsiteX81" fmla="*/ 1821180 w 3017559"/>
                  <a:gd name="connsiteY81" fmla="*/ 3444240 h 3680460"/>
                  <a:gd name="connsiteX82" fmla="*/ 1844040 w 3017559"/>
                  <a:gd name="connsiteY82" fmla="*/ 3429000 h 3680460"/>
                  <a:gd name="connsiteX83" fmla="*/ 1874520 w 3017559"/>
                  <a:gd name="connsiteY83" fmla="*/ 3421380 h 3680460"/>
                  <a:gd name="connsiteX84" fmla="*/ 1927860 w 3017559"/>
                  <a:gd name="connsiteY84" fmla="*/ 3398520 h 3680460"/>
                  <a:gd name="connsiteX85" fmla="*/ 1950720 w 3017559"/>
                  <a:gd name="connsiteY85" fmla="*/ 3390900 h 3680460"/>
                  <a:gd name="connsiteX86" fmla="*/ 2004060 w 3017559"/>
                  <a:gd name="connsiteY86" fmla="*/ 3360420 h 3680460"/>
                  <a:gd name="connsiteX87" fmla="*/ 2042160 w 3017559"/>
                  <a:gd name="connsiteY87" fmla="*/ 3352800 h 3680460"/>
                  <a:gd name="connsiteX88" fmla="*/ 2080260 w 3017559"/>
                  <a:gd name="connsiteY88" fmla="*/ 3337560 h 3680460"/>
                  <a:gd name="connsiteX89" fmla="*/ 2156460 w 3017559"/>
                  <a:gd name="connsiteY89" fmla="*/ 3299460 h 3680460"/>
                  <a:gd name="connsiteX90" fmla="*/ 2179320 w 3017559"/>
                  <a:gd name="connsiteY90" fmla="*/ 3284220 h 3680460"/>
                  <a:gd name="connsiteX91" fmla="*/ 2209800 w 3017559"/>
                  <a:gd name="connsiteY91" fmla="*/ 3276600 h 3680460"/>
                  <a:gd name="connsiteX92" fmla="*/ 2263140 w 3017559"/>
                  <a:gd name="connsiteY92" fmla="*/ 3230880 h 3680460"/>
                  <a:gd name="connsiteX93" fmla="*/ 2346960 w 3017559"/>
                  <a:gd name="connsiteY93" fmla="*/ 3154680 h 3680460"/>
                  <a:gd name="connsiteX94" fmla="*/ 2400300 w 3017559"/>
                  <a:gd name="connsiteY94" fmla="*/ 3070860 h 3680460"/>
                  <a:gd name="connsiteX95" fmla="*/ 2415540 w 3017559"/>
                  <a:gd name="connsiteY95" fmla="*/ 3048000 h 3680460"/>
                  <a:gd name="connsiteX96" fmla="*/ 2446020 w 3017559"/>
                  <a:gd name="connsiteY96" fmla="*/ 3032760 h 3680460"/>
                  <a:gd name="connsiteX97" fmla="*/ 2468880 w 3017559"/>
                  <a:gd name="connsiteY97" fmla="*/ 3009900 h 3680460"/>
                  <a:gd name="connsiteX98" fmla="*/ 2537460 w 3017559"/>
                  <a:gd name="connsiteY98" fmla="*/ 2926080 h 3680460"/>
                  <a:gd name="connsiteX99" fmla="*/ 2575560 w 3017559"/>
                  <a:gd name="connsiteY99" fmla="*/ 2880360 h 3680460"/>
                  <a:gd name="connsiteX100" fmla="*/ 2628900 w 3017559"/>
                  <a:gd name="connsiteY100" fmla="*/ 2811780 h 3680460"/>
                  <a:gd name="connsiteX101" fmla="*/ 2644140 w 3017559"/>
                  <a:gd name="connsiteY101" fmla="*/ 2773680 h 3680460"/>
                  <a:gd name="connsiteX102" fmla="*/ 2674620 w 3017559"/>
                  <a:gd name="connsiteY102" fmla="*/ 2727960 h 3680460"/>
                  <a:gd name="connsiteX103" fmla="*/ 2689860 w 3017559"/>
                  <a:gd name="connsiteY103" fmla="*/ 2705100 h 3680460"/>
                  <a:gd name="connsiteX104" fmla="*/ 2705100 w 3017559"/>
                  <a:gd name="connsiteY104" fmla="*/ 2667000 h 3680460"/>
                  <a:gd name="connsiteX105" fmla="*/ 2727960 w 3017559"/>
                  <a:gd name="connsiteY105" fmla="*/ 2621280 h 3680460"/>
                  <a:gd name="connsiteX106" fmla="*/ 2735580 w 3017559"/>
                  <a:gd name="connsiteY106" fmla="*/ 2590800 h 3680460"/>
                  <a:gd name="connsiteX107" fmla="*/ 2758440 w 3017559"/>
                  <a:gd name="connsiteY107" fmla="*/ 2545080 h 3680460"/>
                  <a:gd name="connsiteX108" fmla="*/ 2788920 w 3017559"/>
                  <a:gd name="connsiteY108" fmla="*/ 2484120 h 3680460"/>
                  <a:gd name="connsiteX109" fmla="*/ 2811780 w 3017559"/>
                  <a:gd name="connsiteY109" fmla="*/ 2407920 h 3680460"/>
                  <a:gd name="connsiteX110" fmla="*/ 2842260 w 3017559"/>
                  <a:gd name="connsiteY110" fmla="*/ 2324100 h 3680460"/>
                  <a:gd name="connsiteX111" fmla="*/ 2857500 w 3017559"/>
                  <a:gd name="connsiteY111" fmla="*/ 2247900 h 3680460"/>
                  <a:gd name="connsiteX112" fmla="*/ 2872740 w 3017559"/>
                  <a:gd name="connsiteY112" fmla="*/ 2194560 h 3680460"/>
                  <a:gd name="connsiteX113" fmla="*/ 2887980 w 3017559"/>
                  <a:gd name="connsiteY113" fmla="*/ 2148840 h 3680460"/>
                  <a:gd name="connsiteX114" fmla="*/ 2910840 w 3017559"/>
                  <a:gd name="connsiteY114" fmla="*/ 2087880 h 3680460"/>
                  <a:gd name="connsiteX115" fmla="*/ 2918460 w 3017559"/>
                  <a:gd name="connsiteY115" fmla="*/ 2049780 h 3680460"/>
                  <a:gd name="connsiteX116" fmla="*/ 2933700 w 3017559"/>
                  <a:gd name="connsiteY116" fmla="*/ 1844040 h 3680460"/>
                  <a:gd name="connsiteX117" fmla="*/ 2918460 w 3017559"/>
                  <a:gd name="connsiteY117" fmla="*/ 1470660 h 3680460"/>
                  <a:gd name="connsiteX118" fmla="*/ 2895600 w 3017559"/>
                  <a:gd name="connsiteY118" fmla="*/ 1371600 h 3680460"/>
                  <a:gd name="connsiteX119" fmla="*/ 2880360 w 3017559"/>
                  <a:gd name="connsiteY119" fmla="*/ 1341120 h 3680460"/>
                  <a:gd name="connsiteX120" fmla="*/ 2857500 w 3017559"/>
                  <a:gd name="connsiteY120" fmla="*/ 1272540 h 3680460"/>
                  <a:gd name="connsiteX121" fmla="*/ 2849880 w 3017559"/>
                  <a:gd name="connsiteY121" fmla="*/ 1234440 h 3680460"/>
                  <a:gd name="connsiteX122" fmla="*/ 2827020 w 3017559"/>
                  <a:gd name="connsiteY122" fmla="*/ 1196340 h 3680460"/>
                  <a:gd name="connsiteX123" fmla="*/ 2811780 w 3017559"/>
                  <a:gd name="connsiteY123" fmla="*/ 1165860 h 3680460"/>
                  <a:gd name="connsiteX124" fmla="*/ 2781300 w 3017559"/>
                  <a:gd name="connsiteY124" fmla="*/ 1127760 h 3680460"/>
                  <a:gd name="connsiteX125" fmla="*/ 2766060 w 3017559"/>
                  <a:gd name="connsiteY125" fmla="*/ 1089660 h 3680460"/>
                  <a:gd name="connsiteX126" fmla="*/ 2735580 w 3017559"/>
                  <a:gd name="connsiteY126" fmla="*/ 1043940 h 3680460"/>
                  <a:gd name="connsiteX127" fmla="*/ 2727960 w 3017559"/>
                  <a:gd name="connsiteY127" fmla="*/ 1021080 h 3680460"/>
                  <a:gd name="connsiteX128" fmla="*/ 2682240 w 3017559"/>
                  <a:gd name="connsiteY128" fmla="*/ 937260 h 3680460"/>
                  <a:gd name="connsiteX129" fmla="*/ 2659380 w 3017559"/>
                  <a:gd name="connsiteY129" fmla="*/ 876300 h 3680460"/>
                  <a:gd name="connsiteX130" fmla="*/ 2644140 w 3017559"/>
                  <a:gd name="connsiteY130" fmla="*/ 845820 h 3680460"/>
                  <a:gd name="connsiteX131" fmla="*/ 2636520 w 3017559"/>
                  <a:gd name="connsiteY131" fmla="*/ 822960 h 3680460"/>
                  <a:gd name="connsiteX132" fmla="*/ 2621280 w 3017559"/>
                  <a:gd name="connsiteY132" fmla="*/ 800100 h 3680460"/>
                  <a:gd name="connsiteX133" fmla="*/ 2598420 w 3017559"/>
                  <a:gd name="connsiteY133" fmla="*/ 739140 h 3680460"/>
                  <a:gd name="connsiteX134" fmla="*/ 2458403 w 3017559"/>
                  <a:gd name="connsiteY134" fmla="*/ 621983 h 3680460"/>
                  <a:gd name="connsiteX135" fmla="*/ 2301240 w 3017559"/>
                  <a:gd name="connsiteY135" fmla="*/ 458152 h 3680460"/>
                  <a:gd name="connsiteX136" fmla="*/ 2237423 w 3017559"/>
                  <a:gd name="connsiteY136" fmla="*/ 406717 h 3680460"/>
                  <a:gd name="connsiteX137" fmla="*/ 2103120 w 3017559"/>
                  <a:gd name="connsiteY137" fmla="*/ 312420 h 3680460"/>
                  <a:gd name="connsiteX138" fmla="*/ 2042160 w 3017559"/>
                  <a:gd name="connsiteY138" fmla="*/ 266700 h 3680460"/>
                  <a:gd name="connsiteX139" fmla="*/ 2004060 w 3017559"/>
                  <a:gd name="connsiteY139" fmla="*/ 251460 h 3680460"/>
                  <a:gd name="connsiteX140" fmla="*/ 1958340 w 3017559"/>
                  <a:gd name="connsiteY140" fmla="*/ 220980 h 3680460"/>
                  <a:gd name="connsiteX141" fmla="*/ 1897380 w 3017559"/>
                  <a:gd name="connsiteY141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377440 w 3017559"/>
                  <a:gd name="connsiteY37" fmla="*/ 32232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243840 w 3017559"/>
                  <a:gd name="connsiteY56" fmla="*/ 3589020 h 3680460"/>
                  <a:gd name="connsiteX57" fmla="*/ 160020 w 3017559"/>
                  <a:gd name="connsiteY57" fmla="*/ 3558540 h 3680460"/>
                  <a:gd name="connsiteX58" fmla="*/ 137160 w 3017559"/>
                  <a:gd name="connsiteY58" fmla="*/ 3535680 h 3680460"/>
                  <a:gd name="connsiteX59" fmla="*/ 99060 w 3017559"/>
                  <a:gd name="connsiteY59" fmla="*/ 3520440 h 3680460"/>
                  <a:gd name="connsiteX60" fmla="*/ 83820 w 3017559"/>
                  <a:gd name="connsiteY60" fmla="*/ 3489960 h 3680460"/>
                  <a:gd name="connsiteX61" fmla="*/ 45720 w 3017559"/>
                  <a:gd name="connsiteY61" fmla="*/ 3436620 h 3680460"/>
                  <a:gd name="connsiteX62" fmla="*/ 0 w 3017559"/>
                  <a:gd name="connsiteY62" fmla="*/ 3352800 h 3680460"/>
                  <a:gd name="connsiteX63" fmla="*/ 30480 w 3017559"/>
                  <a:gd name="connsiteY63" fmla="*/ 3345180 h 3680460"/>
                  <a:gd name="connsiteX64" fmla="*/ 137160 w 3017559"/>
                  <a:gd name="connsiteY64" fmla="*/ 3360420 h 3680460"/>
                  <a:gd name="connsiteX65" fmla="*/ 167640 w 3017559"/>
                  <a:gd name="connsiteY65" fmla="*/ 3390900 h 3680460"/>
                  <a:gd name="connsiteX66" fmla="*/ 198120 w 3017559"/>
                  <a:gd name="connsiteY66" fmla="*/ 3406140 h 3680460"/>
                  <a:gd name="connsiteX67" fmla="*/ 350520 w 3017559"/>
                  <a:gd name="connsiteY67" fmla="*/ 3436620 h 3680460"/>
                  <a:gd name="connsiteX68" fmla="*/ 381000 w 3017559"/>
                  <a:gd name="connsiteY68" fmla="*/ 3451860 h 3680460"/>
                  <a:gd name="connsiteX69" fmla="*/ 449580 w 3017559"/>
                  <a:gd name="connsiteY69" fmla="*/ 3489960 h 3680460"/>
                  <a:gd name="connsiteX70" fmla="*/ 495300 w 3017559"/>
                  <a:gd name="connsiteY70" fmla="*/ 3520440 h 3680460"/>
                  <a:gd name="connsiteX71" fmla="*/ 525780 w 3017559"/>
                  <a:gd name="connsiteY71" fmla="*/ 3535680 h 3680460"/>
                  <a:gd name="connsiteX72" fmla="*/ 731520 w 3017559"/>
                  <a:gd name="connsiteY72" fmla="*/ 3558540 h 3680460"/>
                  <a:gd name="connsiteX73" fmla="*/ 1341120 w 3017559"/>
                  <a:gd name="connsiteY73" fmla="*/ 3550920 h 3680460"/>
                  <a:gd name="connsiteX74" fmla="*/ 1440180 w 3017559"/>
                  <a:gd name="connsiteY74" fmla="*/ 3528060 h 3680460"/>
                  <a:gd name="connsiteX75" fmla="*/ 1539240 w 3017559"/>
                  <a:gd name="connsiteY75" fmla="*/ 3520440 h 3680460"/>
                  <a:gd name="connsiteX76" fmla="*/ 1562100 w 3017559"/>
                  <a:gd name="connsiteY76" fmla="*/ 3512820 h 3680460"/>
                  <a:gd name="connsiteX77" fmla="*/ 1630680 w 3017559"/>
                  <a:gd name="connsiteY77" fmla="*/ 3497580 h 3680460"/>
                  <a:gd name="connsiteX78" fmla="*/ 1699260 w 3017559"/>
                  <a:gd name="connsiteY78" fmla="*/ 3474720 h 3680460"/>
                  <a:gd name="connsiteX79" fmla="*/ 1790700 w 3017559"/>
                  <a:gd name="connsiteY79" fmla="*/ 3451860 h 3680460"/>
                  <a:gd name="connsiteX80" fmla="*/ 1821180 w 3017559"/>
                  <a:gd name="connsiteY80" fmla="*/ 3444240 h 3680460"/>
                  <a:gd name="connsiteX81" fmla="*/ 1844040 w 3017559"/>
                  <a:gd name="connsiteY81" fmla="*/ 3429000 h 3680460"/>
                  <a:gd name="connsiteX82" fmla="*/ 1874520 w 3017559"/>
                  <a:gd name="connsiteY82" fmla="*/ 3421380 h 3680460"/>
                  <a:gd name="connsiteX83" fmla="*/ 1927860 w 3017559"/>
                  <a:gd name="connsiteY83" fmla="*/ 3398520 h 3680460"/>
                  <a:gd name="connsiteX84" fmla="*/ 1950720 w 3017559"/>
                  <a:gd name="connsiteY84" fmla="*/ 3390900 h 3680460"/>
                  <a:gd name="connsiteX85" fmla="*/ 2004060 w 3017559"/>
                  <a:gd name="connsiteY85" fmla="*/ 3360420 h 3680460"/>
                  <a:gd name="connsiteX86" fmla="*/ 2042160 w 3017559"/>
                  <a:gd name="connsiteY86" fmla="*/ 3352800 h 3680460"/>
                  <a:gd name="connsiteX87" fmla="*/ 2080260 w 3017559"/>
                  <a:gd name="connsiteY87" fmla="*/ 3337560 h 3680460"/>
                  <a:gd name="connsiteX88" fmla="*/ 2156460 w 3017559"/>
                  <a:gd name="connsiteY88" fmla="*/ 3299460 h 3680460"/>
                  <a:gd name="connsiteX89" fmla="*/ 2179320 w 3017559"/>
                  <a:gd name="connsiteY89" fmla="*/ 3284220 h 3680460"/>
                  <a:gd name="connsiteX90" fmla="*/ 2209800 w 3017559"/>
                  <a:gd name="connsiteY90" fmla="*/ 3276600 h 3680460"/>
                  <a:gd name="connsiteX91" fmla="*/ 2263140 w 3017559"/>
                  <a:gd name="connsiteY91" fmla="*/ 3230880 h 3680460"/>
                  <a:gd name="connsiteX92" fmla="*/ 2346960 w 3017559"/>
                  <a:gd name="connsiteY92" fmla="*/ 3154680 h 3680460"/>
                  <a:gd name="connsiteX93" fmla="*/ 2400300 w 3017559"/>
                  <a:gd name="connsiteY93" fmla="*/ 3070860 h 3680460"/>
                  <a:gd name="connsiteX94" fmla="*/ 2415540 w 3017559"/>
                  <a:gd name="connsiteY94" fmla="*/ 3048000 h 3680460"/>
                  <a:gd name="connsiteX95" fmla="*/ 2446020 w 3017559"/>
                  <a:gd name="connsiteY95" fmla="*/ 3032760 h 3680460"/>
                  <a:gd name="connsiteX96" fmla="*/ 2468880 w 3017559"/>
                  <a:gd name="connsiteY96" fmla="*/ 3009900 h 3680460"/>
                  <a:gd name="connsiteX97" fmla="*/ 2537460 w 3017559"/>
                  <a:gd name="connsiteY97" fmla="*/ 2926080 h 3680460"/>
                  <a:gd name="connsiteX98" fmla="*/ 2575560 w 3017559"/>
                  <a:gd name="connsiteY98" fmla="*/ 2880360 h 3680460"/>
                  <a:gd name="connsiteX99" fmla="*/ 2628900 w 3017559"/>
                  <a:gd name="connsiteY99" fmla="*/ 2811780 h 3680460"/>
                  <a:gd name="connsiteX100" fmla="*/ 2644140 w 3017559"/>
                  <a:gd name="connsiteY100" fmla="*/ 2773680 h 3680460"/>
                  <a:gd name="connsiteX101" fmla="*/ 2674620 w 3017559"/>
                  <a:gd name="connsiteY101" fmla="*/ 2727960 h 3680460"/>
                  <a:gd name="connsiteX102" fmla="*/ 2689860 w 3017559"/>
                  <a:gd name="connsiteY102" fmla="*/ 2705100 h 3680460"/>
                  <a:gd name="connsiteX103" fmla="*/ 2705100 w 3017559"/>
                  <a:gd name="connsiteY103" fmla="*/ 2667000 h 3680460"/>
                  <a:gd name="connsiteX104" fmla="*/ 2727960 w 3017559"/>
                  <a:gd name="connsiteY104" fmla="*/ 2621280 h 3680460"/>
                  <a:gd name="connsiteX105" fmla="*/ 2735580 w 3017559"/>
                  <a:gd name="connsiteY105" fmla="*/ 2590800 h 3680460"/>
                  <a:gd name="connsiteX106" fmla="*/ 2758440 w 3017559"/>
                  <a:gd name="connsiteY106" fmla="*/ 2545080 h 3680460"/>
                  <a:gd name="connsiteX107" fmla="*/ 2788920 w 3017559"/>
                  <a:gd name="connsiteY107" fmla="*/ 2484120 h 3680460"/>
                  <a:gd name="connsiteX108" fmla="*/ 2811780 w 3017559"/>
                  <a:gd name="connsiteY108" fmla="*/ 2407920 h 3680460"/>
                  <a:gd name="connsiteX109" fmla="*/ 2842260 w 3017559"/>
                  <a:gd name="connsiteY109" fmla="*/ 2324100 h 3680460"/>
                  <a:gd name="connsiteX110" fmla="*/ 2857500 w 3017559"/>
                  <a:gd name="connsiteY110" fmla="*/ 2247900 h 3680460"/>
                  <a:gd name="connsiteX111" fmla="*/ 2872740 w 3017559"/>
                  <a:gd name="connsiteY111" fmla="*/ 2194560 h 3680460"/>
                  <a:gd name="connsiteX112" fmla="*/ 2887980 w 3017559"/>
                  <a:gd name="connsiteY112" fmla="*/ 2148840 h 3680460"/>
                  <a:gd name="connsiteX113" fmla="*/ 2910840 w 3017559"/>
                  <a:gd name="connsiteY113" fmla="*/ 2087880 h 3680460"/>
                  <a:gd name="connsiteX114" fmla="*/ 2918460 w 3017559"/>
                  <a:gd name="connsiteY114" fmla="*/ 2049780 h 3680460"/>
                  <a:gd name="connsiteX115" fmla="*/ 2933700 w 3017559"/>
                  <a:gd name="connsiteY115" fmla="*/ 1844040 h 3680460"/>
                  <a:gd name="connsiteX116" fmla="*/ 2918460 w 3017559"/>
                  <a:gd name="connsiteY116" fmla="*/ 1470660 h 3680460"/>
                  <a:gd name="connsiteX117" fmla="*/ 2895600 w 3017559"/>
                  <a:gd name="connsiteY117" fmla="*/ 1371600 h 3680460"/>
                  <a:gd name="connsiteX118" fmla="*/ 2880360 w 3017559"/>
                  <a:gd name="connsiteY118" fmla="*/ 1341120 h 3680460"/>
                  <a:gd name="connsiteX119" fmla="*/ 2857500 w 3017559"/>
                  <a:gd name="connsiteY119" fmla="*/ 1272540 h 3680460"/>
                  <a:gd name="connsiteX120" fmla="*/ 2849880 w 3017559"/>
                  <a:gd name="connsiteY120" fmla="*/ 1234440 h 3680460"/>
                  <a:gd name="connsiteX121" fmla="*/ 2827020 w 3017559"/>
                  <a:gd name="connsiteY121" fmla="*/ 1196340 h 3680460"/>
                  <a:gd name="connsiteX122" fmla="*/ 2811780 w 3017559"/>
                  <a:gd name="connsiteY122" fmla="*/ 1165860 h 3680460"/>
                  <a:gd name="connsiteX123" fmla="*/ 2781300 w 3017559"/>
                  <a:gd name="connsiteY123" fmla="*/ 1127760 h 3680460"/>
                  <a:gd name="connsiteX124" fmla="*/ 2766060 w 3017559"/>
                  <a:gd name="connsiteY124" fmla="*/ 1089660 h 3680460"/>
                  <a:gd name="connsiteX125" fmla="*/ 2735580 w 3017559"/>
                  <a:gd name="connsiteY125" fmla="*/ 1043940 h 3680460"/>
                  <a:gd name="connsiteX126" fmla="*/ 2727960 w 3017559"/>
                  <a:gd name="connsiteY126" fmla="*/ 1021080 h 3680460"/>
                  <a:gd name="connsiteX127" fmla="*/ 2682240 w 3017559"/>
                  <a:gd name="connsiteY127" fmla="*/ 937260 h 3680460"/>
                  <a:gd name="connsiteX128" fmla="*/ 2659380 w 3017559"/>
                  <a:gd name="connsiteY128" fmla="*/ 876300 h 3680460"/>
                  <a:gd name="connsiteX129" fmla="*/ 2644140 w 3017559"/>
                  <a:gd name="connsiteY129" fmla="*/ 845820 h 3680460"/>
                  <a:gd name="connsiteX130" fmla="*/ 2636520 w 3017559"/>
                  <a:gd name="connsiteY130" fmla="*/ 822960 h 3680460"/>
                  <a:gd name="connsiteX131" fmla="*/ 2621280 w 3017559"/>
                  <a:gd name="connsiteY131" fmla="*/ 800100 h 3680460"/>
                  <a:gd name="connsiteX132" fmla="*/ 2598420 w 3017559"/>
                  <a:gd name="connsiteY132" fmla="*/ 739140 h 3680460"/>
                  <a:gd name="connsiteX133" fmla="*/ 2458403 w 3017559"/>
                  <a:gd name="connsiteY133" fmla="*/ 621983 h 3680460"/>
                  <a:gd name="connsiteX134" fmla="*/ 2301240 w 3017559"/>
                  <a:gd name="connsiteY134" fmla="*/ 458152 h 3680460"/>
                  <a:gd name="connsiteX135" fmla="*/ 2237423 w 3017559"/>
                  <a:gd name="connsiteY135" fmla="*/ 406717 h 3680460"/>
                  <a:gd name="connsiteX136" fmla="*/ 2103120 w 3017559"/>
                  <a:gd name="connsiteY136" fmla="*/ 312420 h 3680460"/>
                  <a:gd name="connsiteX137" fmla="*/ 2042160 w 3017559"/>
                  <a:gd name="connsiteY137" fmla="*/ 266700 h 3680460"/>
                  <a:gd name="connsiteX138" fmla="*/ 2004060 w 3017559"/>
                  <a:gd name="connsiteY138" fmla="*/ 251460 h 3680460"/>
                  <a:gd name="connsiteX139" fmla="*/ 1958340 w 3017559"/>
                  <a:gd name="connsiteY139" fmla="*/ 220980 h 3680460"/>
                  <a:gd name="connsiteX140" fmla="*/ 1897380 w 3017559"/>
                  <a:gd name="connsiteY140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243840 w 3017559"/>
                  <a:gd name="connsiteY56" fmla="*/ 3589020 h 3680460"/>
                  <a:gd name="connsiteX57" fmla="*/ 160020 w 3017559"/>
                  <a:gd name="connsiteY57" fmla="*/ 3558540 h 3680460"/>
                  <a:gd name="connsiteX58" fmla="*/ 137160 w 3017559"/>
                  <a:gd name="connsiteY58" fmla="*/ 3535680 h 3680460"/>
                  <a:gd name="connsiteX59" fmla="*/ 99060 w 3017559"/>
                  <a:gd name="connsiteY59" fmla="*/ 3520440 h 3680460"/>
                  <a:gd name="connsiteX60" fmla="*/ 83820 w 3017559"/>
                  <a:gd name="connsiteY60" fmla="*/ 3489960 h 3680460"/>
                  <a:gd name="connsiteX61" fmla="*/ 45720 w 3017559"/>
                  <a:gd name="connsiteY61" fmla="*/ 3436620 h 3680460"/>
                  <a:gd name="connsiteX62" fmla="*/ 0 w 3017559"/>
                  <a:gd name="connsiteY62" fmla="*/ 3352800 h 3680460"/>
                  <a:gd name="connsiteX63" fmla="*/ 30480 w 3017559"/>
                  <a:gd name="connsiteY63" fmla="*/ 3345180 h 3680460"/>
                  <a:gd name="connsiteX64" fmla="*/ 137160 w 3017559"/>
                  <a:gd name="connsiteY64" fmla="*/ 3360420 h 3680460"/>
                  <a:gd name="connsiteX65" fmla="*/ 167640 w 3017559"/>
                  <a:gd name="connsiteY65" fmla="*/ 3390900 h 3680460"/>
                  <a:gd name="connsiteX66" fmla="*/ 198120 w 3017559"/>
                  <a:gd name="connsiteY66" fmla="*/ 3406140 h 3680460"/>
                  <a:gd name="connsiteX67" fmla="*/ 350520 w 3017559"/>
                  <a:gd name="connsiteY67" fmla="*/ 3436620 h 3680460"/>
                  <a:gd name="connsiteX68" fmla="*/ 381000 w 3017559"/>
                  <a:gd name="connsiteY68" fmla="*/ 3451860 h 3680460"/>
                  <a:gd name="connsiteX69" fmla="*/ 449580 w 3017559"/>
                  <a:gd name="connsiteY69" fmla="*/ 3489960 h 3680460"/>
                  <a:gd name="connsiteX70" fmla="*/ 495300 w 3017559"/>
                  <a:gd name="connsiteY70" fmla="*/ 3520440 h 3680460"/>
                  <a:gd name="connsiteX71" fmla="*/ 525780 w 3017559"/>
                  <a:gd name="connsiteY71" fmla="*/ 3535680 h 3680460"/>
                  <a:gd name="connsiteX72" fmla="*/ 731520 w 3017559"/>
                  <a:gd name="connsiteY72" fmla="*/ 3558540 h 3680460"/>
                  <a:gd name="connsiteX73" fmla="*/ 1341120 w 3017559"/>
                  <a:gd name="connsiteY73" fmla="*/ 3550920 h 3680460"/>
                  <a:gd name="connsiteX74" fmla="*/ 1440180 w 3017559"/>
                  <a:gd name="connsiteY74" fmla="*/ 3528060 h 3680460"/>
                  <a:gd name="connsiteX75" fmla="*/ 1539240 w 3017559"/>
                  <a:gd name="connsiteY75" fmla="*/ 3520440 h 3680460"/>
                  <a:gd name="connsiteX76" fmla="*/ 1562100 w 3017559"/>
                  <a:gd name="connsiteY76" fmla="*/ 3512820 h 3680460"/>
                  <a:gd name="connsiteX77" fmla="*/ 1630680 w 3017559"/>
                  <a:gd name="connsiteY77" fmla="*/ 3497580 h 3680460"/>
                  <a:gd name="connsiteX78" fmla="*/ 1699260 w 3017559"/>
                  <a:gd name="connsiteY78" fmla="*/ 3474720 h 3680460"/>
                  <a:gd name="connsiteX79" fmla="*/ 1790700 w 3017559"/>
                  <a:gd name="connsiteY79" fmla="*/ 3451860 h 3680460"/>
                  <a:gd name="connsiteX80" fmla="*/ 1821180 w 3017559"/>
                  <a:gd name="connsiteY80" fmla="*/ 3444240 h 3680460"/>
                  <a:gd name="connsiteX81" fmla="*/ 1844040 w 3017559"/>
                  <a:gd name="connsiteY81" fmla="*/ 3429000 h 3680460"/>
                  <a:gd name="connsiteX82" fmla="*/ 1874520 w 3017559"/>
                  <a:gd name="connsiteY82" fmla="*/ 3421380 h 3680460"/>
                  <a:gd name="connsiteX83" fmla="*/ 1927860 w 3017559"/>
                  <a:gd name="connsiteY83" fmla="*/ 3398520 h 3680460"/>
                  <a:gd name="connsiteX84" fmla="*/ 1950720 w 3017559"/>
                  <a:gd name="connsiteY84" fmla="*/ 3390900 h 3680460"/>
                  <a:gd name="connsiteX85" fmla="*/ 2004060 w 3017559"/>
                  <a:gd name="connsiteY85" fmla="*/ 3360420 h 3680460"/>
                  <a:gd name="connsiteX86" fmla="*/ 2042160 w 3017559"/>
                  <a:gd name="connsiteY86" fmla="*/ 3352800 h 3680460"/>
                  <a:gd name="connsiteX87" fmla="*/ 2080260 w 3017559"/>
                  <a:gd name="connsiteY87" fmla="*/ 3337560 h 3680460"/>
                  <a:gd name="connsiteX88" fmla="*/ 2156460 w 3017559"/>
                  <a:gd name="connsiteY88" fmla="*/ 3299460 h 3680460"/>
                  <a:gd name="connsiteX89" fmla="*/ 2179320 w 3017559"/>
                  <a:gd name="connsiteY89" fmla="*/ 3284220 h 3680460"/>
                  <a:gd name="connsiteX90" fmla="*/ 2209800 w 3017559"/>
                  <a:gd name="connsiteY90" fmla="*/ 3276600 h 3680460"/>
                  <a:gd name="connsiteX91" fmla="*/ 2263140 w 3017559"/>
                  <a:gd name="connsiteY91" fmla="*/ 3230880 h 3680460"/>
                  <a:gd name="connsiteX92" fmla="*/ 2346960 w 3017559"/>
                  <a:gd name="connsiteY92" fmla="*/ 3154680 h 3680460"/>
                  <a:gd name="connsiteX93" fmla="*/ 2400300 w 3017559"/>
                  <a:gd name="connsiteY93" fmla="*/ 3070860 h 3680460"/>
                  <a:gd name="connsiteX94" fmla="*/ 2415540 w 3017559"/>
                  <a:gd name="connsiteY94" fmla="*/ 3048000 h 3680460"/>
                  <a:gd name="connsiteX95" fmla="*/ 2446020 w 3017559"/>
                  <a:gd name="connsiteY95" fmla="*/ 3032760 h 3680460"/>
                  <a:gd name="connsiteX96" fmla="*/ 2468880 w 3017559"/>
                  <a:gd name="connsiteY96" fmla="*/ 3009900 h 3680460"/>
                  <a:gd name="connsiteX97" fmla="*/ 2537460 w 3017559"/>
                  <a:gd name="connsiteY97" fmla="*/ 2926080 h 3680460"/>
                  <a:gd name="connsiteX98" fmla="*/ 2575560 w 3017559"/>
                  <a:gd name="connsiteY98" fmla="*/ 2880360 h 3680460"/>
                  <a:gd name="connsiteX99" fmla="*/ 2628900 w 3017559"/>
                  <a:gd name="connsiteY99" fmla="*/ 2811780 h 3680460"/>
                  <a:gd name="connsiteX100" fmla="*/ 2644140 w 3017559"/>
                  <a:gd name="connsiteY100" fmla="*/ 2773680 h 3680460"/>
                  <a:gd name="connsiteX101" fmla="*/ 2674620 w 3017559"/>
                  <a:gd name="connsiteY101" fmla="*/ 2727960 h 3680460"/>
                  <a:gd name="connsiteX102" fmla="*/ 2689860 w 3017559"/>
                  <a:gd name="connsiteY102" fmla="*/ 2705100 h 3680460"/>
                  <a:gd name="connsiteX103" fmla="*/ 2705100 w 3017559"/>
                  <a:gd name="connsiteY103" fmla="*/ 2667000 h 3680460"/>
                  <a:gd name="connsiteX104" fmla="*/ 2727960 w 3017559"/>
                  <a:gd name="connsiteY104" fmla="*/ 2621280 h 3680460"/>
                  <a:gd name="connsiteX105" fmla="*/ 2735580 w 3017559"/>
                  <a:gd name="connsiteY105" fmla="*/ 2590800 h 3680460"/>
                  <a:gd name="connsiteX106" fmla="*/ 2758440 w 3017559"/>
                  <a:gd name="connsiteY106" fmla="*/ 2545080 h 3680460"/>
                  <a:gd name="connsiteX107" fmla="*/ 2788920 w 3017559"/>
                  <a:gd name="connsiteY107" fmla="*/ 2484120 h 3680460"/>
                  <a:gd name="connsiteX108" fmla="*/ 2811780 w 3017559"/>
                  <a:gd name="connsiteY108" fmla="*/ 2407920 h 3680460"/>
                  <a:gd name="connsiteX109" fmla="*/ 2842260 w 3017559"/>
                  <a:gd name="connsiteY109" fmla="*/ 2324100 h 3680460"/>
                  <a:gd name="connsiteX110" fmla="*/ 2857500 w 3017559"/>
                  <a:gd name="connsiteY110" fmla="*/ 2247900 h 3680460"/>
                  <a:gd name="connsiteX111" fmla="*/ 2872740 w 3017559"/>
                  <a:gd name="connsiteY111" fmla="*/ 2194560 h 3680460"/>
                  <a:gd name="connsiteX112" fmla="*/ 2887980 w 3017559"/>
                  <a:gd name="connsiteY112" fmla="*/ 2148840 h 3680460"/>
                  <a:gd name="connsiteX113" fmla="*/ 2910840 w 3017559"/>
                  <a:gd name="connsiteY113" fmla="*/ 2087880 h 3680460"/>
                  <a:gd name="connsiteX114" fmla="*/ 2918460 w 3017559"/>
                  <a:gd name="connsiteY114" fmla="*/ 2049780 h 3680460"/>
                  <a:gd name="connsiteX115" fmla="*/ 2933700 w 3017559"/>
                  <a:gd name="connsiteY115" fmla="*/ 1844040 h 3680460"/>
                  <a:gd name="connsiteX116" fmla="*/ 2918460 w 3017559"/>
                  <a:gd name="connsiteY116" fmla="*/ 1470660 h 3680460"/>
                  <a:gd name="connsiteX117" fmla="*/ 2895600 w 3017559"/>
                  <a:gd name="connsiteY117" fmla="*/ 1371600 h 3680460"/>
                  <a:gd name="connsiteX118" fmla="*/ 2880360 w 3017559"/>
                  <a:gd name="connsiteY118" fmla="*/ 1341120 h 3680460"/>
                  <a:gd name="connsiteX119" fmla="*/ 2857500 w 3017559"/>
                  <a:gd name="connsiteY119" fmla="*/ 1272540 h 3680460"/>
                  <a:gd name="connsiteX120" fmla="*/ 2849880 w 3017559"/>
                  <a:gd name="connsiteY120" fmla="*/ 1234440 h 3680460"/>
                  <a:gd name="connsiteX121" fmla="*/ 2827020 w 3017559"/>
                  <a:gd name="connsiteY121" fmla="*/ 1196340 h 3680460"/>
                  <a:gd name="connsiteX122" fmla="*/ 2811780 w 3017559"/>
                  <a:gd name="connsiteY122" fmla="*/ 1165860 h 3680460"/>
                  <a:gd name="connsiteX123" fmla="*/ 2781300 w 3017559"/>
                  <a:gd name="connsiteY123" fmla="*/ 1127760 h 3680460"/>
                  <a:gd name="connsiteX124" fmla="*/ 2766060 w 3017559"/>
                  <a:gd name="connsiteY124" fmla="*/ 1089660 h 3680460"/>
                  <a:gd name="connsiteX125" fmla="*/ 2735580 w 3017559"/>
                  <a:gd name="connsiteY125" fmla="*/ 1043940 h 3680460"/>
                  <a:gd name="connsiteX126" fmla="*/ 2727960 w 3017559"/>
                  <a:gd name="connsiteY126" fmla="*/ 1021080 h 3680460"/>
                  <a:gd name="connsiteX127" fmla="*/ 2682240 w 3017559"/>
                  <a:gd name="connsiteY127" fmla="*/ 937260 h 3680460"/>
                  <a:gd name="connsiteX128" fmla="*/ 2659380 w 3017559"/>
                  <a:gd name="connsiteY128" fmla="*/ 876300 h 3680460"/>
                  <a:gd name="connsiteX129" fmla="*/ 2644140 w 3017559"/>
                  <a:gd name="connsiteY129" fmla="*/ 845820 h 3680460"/>
                  <a:gd name="connsiteX130" fmla="*/ 2636520 w 3017559"/>
                  <a:gd name="connsiteY130" fmla="*/ 822960 h 3680460"/>
                  <a:gd name="connsiteX131" fmla="*/ 2621280 w 3017559"/>
                  <a:gd name="connsiteY131" fmla="*/ 800100 h 3680460"/>
                  <a:gd name="connsiteX132" fmla="*/ 2598420 w 3017559"/>
                  <a:gd name="connsiteY132" fmla="*/ 739140 h 3680460"/>
                  <a:gd name="connsiteX133" fmla="*/ 2458403 w 3017559"/>
                  <a:gd name="connsiteY133" fmla="*/ 621983 h 3680460"/>
                  <a:gd name="connsiteX134" fmla="*/ 2301240 w 3017559"/>
                  <a:gd name="connsiteY134" fmla="*/ 458152 h 3680460"/>
                  <a:gd name="connsiteX135" fmla="*/ 2237423 w 3017559"/>
                  <a:gd name="connsiteY135" fmla="*/ 406717 h 3680460"/>
                  <a:gd name="connsiteX136" fmla="*/ 2103120 w 3017559"/>
                  <a:gd name="connsiteY136" fmla="*/ 312420 h 3680460"/>
                  <a:gd name="connsiteX137" fmla="*/ 2042160 w 3017559"/>
                  <a:gd name="connsiteY137" fmla="*/ 266700 h 3680460"/>
                  <a:gd name="connsiteX138" fmla="*/ 2004060 w 3017559"/>
                  <a:gd name="connsiteY138" fmla="*/ 251460 h 3680460"/>
                  <a:gd name="connsiteX139" fmla="*/ 1958340 w 3017559"/>
                  <a:gd name="connsiteY139" fmla="*/ 220980 h 3680460"/>
                  <a:gd name="connsiteX140" fmla="*/ 1897380 w 3017559"/>
                  <a:gd name="connsiteY140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99060 w 3017559"/>
                  <a:gd name="connsiteY58" fmla="*/ 3520440 h 3680460"/>
                  <a:gd name="connsiteX59" fmla="*/ 83820 w 3017559"/>
                  <a:gd name="connsiteY59" fmla="*/ 3489960 h 3680460"/>
                  <a:gd name="connsiteX60" fmla="*/ 45720 w 3017559"/>
                  <a:gd name="connsiteY60" fmla="*/ 3436620 h 3680460"/>
                  <a:gd name="connsiteX61" fmla="*/ 0 w 3017559"/>
                  <a:gd name="connsiteY61" fmla="*/ 3352800 h 3680460"/>
                  <a:gd name="connsiteX62" fmla="*/ 30480 w 3017559"/>
                  <a:gd name="connsiteY62" fmla="*/ 3345180 h 3680460"/>
                  <a:gd name="connsiteX63" fmla="*/ 137160 w 3017559"/>
                  <a:gd name="connsiteY63" fmla="*/ 3360420 h 3680460"/>
                  <a:gd name="connsiteX64" fmla="*/ 167640 w 3017559"/>
                  <a:gd name="connsiteY64" fmla="*/ 3390900 h 3680460"/>
                  <a:gd name="connsiteX65" fmla="*/ 198120 w 3017559"/>
                  <a:gd name="connsiteY65" fmla="*/ 3406140 h 3680460"/>
                  <a:gd name="connsiteX66" fmla="*/ 350520 w 3017559"/>
                  <a:gd name="connsiteY66" fmla="*/ 3436620 h 3680460"/>
                  <a:gd name="connsiteX67" fmla="*/ 381000 w 3017559"/>
                  <a:gd name="connsiteY67" fmla="*/ 3451860 h 3680460"/>
                  <a:gd name="connsiteX68" fmla="*/ 449580 w 3017559"/>
                  <a:gd name="connsiteY68" fmla="*/ 3489960 h 3680460"/>
                  <a:gd name="connsiteX69" fmla="*/ 495300 w 3017559"/>
                  <a:gd name="connsiteY69" fmla="*/ 3520440 h 3680460"/>
                  <a:gd name="connsiteX70" fmla="*/ 525780 w 3017559"/>
                  <a:gd name="connsiteY70" fmla="*/ 3535680 h 3680460"/>
                  <a:gd name="connsiteX71" fmla="*/ 731520 w 3017559"/>
                  <a:gd name="connsiteY71" fmla="*/ 3558540 h 3680460"/>
                  <a:gd name="connsiteX72" fmla="*/ 1341120 w 3017559"/>
                  <a:gd name="connsiteY72" fmla="*/ 3550920 h 3680460"/>
                  <a:gd name="connsiteX73" fmla="*/ 1440180 w 3017559"/>
                  <a:gd name="connsiteY73" fmla="*/ 3528060 h 3680460"/>
                  <a:gd name="connsiteX74" fmla="*/ 1539240 w 3017559"/>
                  <a:gd name="connsiteY74" fmla="*/ 3520440 h 3680460"/>
                  <a:gd name="connsiteX75" fmla="*/ 1562100 w 3017559"/>
                  <a:gd name="connsiteY75" fmla="*/ 3512820 h 3680460"/>
                  <a:gd name="connsiteX76" fmla="*/ 1630680 w 3017559"/>
                  <a:gd name="connsiteY76" fmla="*/ 3497580 h 3680460"/>
                  <a:gd name="connsiteX77" fmla="*/ 1699260 w 3017559"/>
                  <a:gd name="connsiteY77" fmla="*/ 3474720 h 3680460"/>
                  <a:gd name="connsiteX78" fmla="*/ 1790700 w 3017559"/>
                  <a:gd name="connsiteY78" fmla="*/ 3451860 h 3680460"/>
                  <a:gd name="connsiteX79" fmla="*/ 1821180 w 3017559"/>
                  <a:gd name="connsiteY79" fmla="*/ 3444240 h 3680460"/>
                  <a:gd name="connsiteX80" fmla="*/ 1844040 w 3017559"/>
                  <a:gd name="connsiteY80" fmla="*/ 3429000 h 3680460"/>
                  <a:gd name="connsiteX81" fmla="*/ 1874520 w 3017559"/>
                  <a:gd name="connsiteY81" fmla="*/ 3421380 h 3680460"/>
                  <a:gd name="connsiteX82" fmla="*/ 1927860 w 3017559"/>
                  <a:gd name="connsiteY82" fmla="*/ 3398520 h 3680460"/>
                  <a:gd name="connsiteX83" fmla="*/ 1950720 w 3017559"/>
                  <a:gd name="connsiteY83" fmla="*/ 3390900 h 3680460"/>
                  <a:gd name="connsiteX84" fmla="*/ 2004060 w 3017559"/>
                  <a:gd name="connsiteY84" fmla="*/ 3360420 h 3680460"/>
                  <a:gd name="connsiteX85" fmla="*/ 2042160 w 3017559"/>
                  <a:gd name="connsiteY85" fmla="*/ 3352800 h 3680460"/>
                  <a:gd name="connsiteX86" fmla="*/ 2080260 w 3017559"/>
                  <a:gd name="connsiteY86" fmla="*/ 3337560 h 3680460"/>
                  <a:gd name="connsiteX87" fmla="*/ 2156460 w 3017559"/>
                  <a:gd name="connsiteY87" fmla="*/ 3299460 h 3680460"/>
                  <a:gd name="connsiteX88" fmla="*/ 2179320 w 3017559"/>
                  <a:gd name="connsiteY88" fmla="*/ 3284220 h 3680460"/>
                  <a:gd name="connsiteX89" fmla="*/ 2209800 w 3017559"/>
                  <a:gd name="connsiteY89" fmla="*/ 3276600 h 3680460"/>
                  <a:gd name="connsiteX90" fmla="*/ 2263140 w 3017559"/>
                  <a:gd name="connsiteY90" fmla="*/ 3230880 h 3680460"/>
                  <a:gd name="connsiteX91" fmla="*/ 2346960 w 3017559"/>
                  <a:gd name="connsiteY91" fmla="*/ 3154680 h 3680460"/>
                  <a:gd name="connsiteX92" fmla="*/ 2400300 w 3017559"/>
                  <a:gd name="connsiteY92" fmla="*/ 3070860 h 3680460"/>
                  <a:gd name="connsiteX93" fmla="*/ 2415540 w 3017559"/>
                  <a:gd name="connsiteY93" fmla="*/ 3048000 h 3680460"/>
                  <a:gd name="connsiteX94" fmla="*/ 2446020 w 3017559"/>
                  <a:gd name="connsiteY94" fmla="*/ 3032760 h 3680460"/>
                  <a:gd name="connsiteX95" fmla="*/ 2468880 w 3017559"/>
                  <a:gd name="connsiteY95" fmla="*/ 3009900 h 3680460"/>
                  <a:gd name="connsiteX96" fmla="*/ 2537460 w 3017559"/>
                  <a:gd name="connsiteY96" fmla="*/ 2926080 h 3680460"/>
                  <a:gd name="connsiteX97" fmla="*/ 2575560 w 3017559"/>
                  <a:gd name="connsiteY97" fmla="*/ 2880360 h 3680460"/>
                  <a:gd name="connsiteX98" fmla="*/ 2628900 w 3017559"/>
                  <a:gd name="connsiteY98" fmla="*/ 2811780 h 3680460"/>
                  <a:gd name="connsiteX99" fmla="*/ 2644140 w 3017559"/>
                  <a:gd name="connsiteY99" fmla="*/ 2773680 h 3680460"/>
                  <a:gd name="connsiteX100" fmla="*/ 2674620 w 3017559"/>
                  <a:gd name="connsiteY100" fmla="*/ 2727960 h 3680460"/>
                  <a:gd name="connsiteX101" fmla="*/ 2689860 w 3017559"/>
                  <a:gd name="connsiteY101" fmla="*/ 2705100 h 3680460"/>
                  <a:gd name="connsiteX102" fmla="*/ 2705100 w 3017559"/>
                  <a:gd name="connsiteY102" fmla="*/ 2667000 h 3680460"/>
                  <a:gd name="connsiteX103" fmla="*/ 2727960 w 3017559"/>
                  <a:gd name="connsiteY103" fmla="*/ 2621280 h 3680460"/>
                  <a:gd name="connsiteX104" fmla="*/ 2735580 w 3017559"/>
                  <a:gd name="connsiteY104" fmla="*/ 2590800 h 3680460"/>
                  <a:gd name="connsiteX105" fmla="*/ 2758440 w 3017559"/>
                  <a:gd name="connsiteY105" fmla="*/ 2545080 h 3680460"/>
                  <a:gd name="connsiteX106" fmla="*/ 2788920 w 3017559"/>
                  <a:gd name="connsiteY106" fmla="*/ 2484120 h 3680460"/>
                  <a:gd name="connsiteX107" fmla="*/ 2811780 w 3017559"/>
                  <a:gd name="connsiteY107" fmla="*/ 2407920 h 3680460"/>
                  <a:gd name="connsiteX108" fmla="*/ 2842260 w 3017559"/>
                  <a:gd name="connsiteY108" fmla="*/ 2324100 h 3680460"/>
                  <a:gd name="connsiteX109" fmla="*/ 2857500 w 3017559"/>
                  <a:gd name="connsiteY109" fmla="*/ 2247900 h 3680460"/>
                  <a:gd name="connsiteX110" fmla="*/ 2872740 w 3017559"/>
                  <a:gd name="connsiteY110" fmla="*/ 2194560 h 3680460"/>
                  <a:gd name="connsiteX111" fmla="*/ 2887980 w 3017559"/>
                  <a:gd name="connsiteY111" fmla="*/ 2148840 h 3680460"/>
                  <a:gd name="connsiteX112" fmla="*/ 2910840 w 3017559"/>
                  <a:gd name="connsiteY112" fmla="*/ 2087880 h 3680460"/>
                  <a:gd name="connsiteX113" fmla="*/ 2918460 w 3017559"/>
                  <a:gd name="connsiteY113" fmla="*/ 2049780 h 3680460"/>
                  <a:gd name="connsiteX114" fmla="*/ 2933700 w 3017559"/>
                  <a:gd name="connsiteY114" fmla="*/ 1844040 h 3680460"/>
                  <a:gd name="connsiteX115" fmla="*/ 2918460 w 3017559"/>
                  <a:gd name="connsiteY115" fmla="*/ 1470660 h 3680460"/>
                  <a:gd name="connsiteX116" fmla="*/ 2895600 w 3017559"/>
                  <a:gd name="connsiteY116" fmla="*/ 1371600 h 3680460"/>
                  <a:gd name="connsiteX117" fmla="*/ 2880360 w 3017559"/>
                  <a:gd name="connsiteY117" fmla="*/ 1341120 h 3680460"/>
                  <a:gd name="connsiteX118" fmla="*/ 2857500 w 3017559"/>
                  <a:gd name="connsiteY118" fmla="*/ 1272540 h 3680460"/>
                  <a:gd name="connsiteX119" fmla="*/ 2849880 w 3017559"/>
                  <a:gd name="connsiteY119" fmla="*/ 1234440 h 3680460"/>
                  <a:gd name="connsiteX120" fmla="*/ 2827020 w 3017559"/>
                  <a:gd name="connsiteY120" fmla="*/ 1196340 h 3680460"/>
                  <a:gd name="connsiteX121" fmla="*/ 2811780 w 3017559"/>
                  <a:gd name="connsiteY121" fmla="*/ 1165860 h 3680460"/>
                  <a:gd name="connsiteX122" fmla="*/ 2781300 w 3017559"/>
                  <a:gd name="connsiteY122" fmla="*/ 1127760 h 3680460"/>
                  <a:gd name="connsiteX123" fmla="*/ 2766060 w 3017559"/>
                  <a:gd name="connsiteY123" fmla="*/ 1089660 h 3680460"/>
                  <a:gd name="connsiteX124" fmla="*/ 2735580 w 3017559"/>
                  <a:gd name="connsiteY124" fmla="*/ 1043940 h 3680460"/>
                  <a:gd name="connsiteX125" fmla="*/ 2727960 w 3017559"/>
                  <a:gd name="connsiteY125" fmla="*/ 1021080 h 3680460"/>
                  <a:gd name="connsiteX126" fmla="*/ 2682240 w 3017559"/>
                  <a:gd name="connsiteY126" fmla="*/ 937260 h 3680460"/>
                  <a:gd name="connsiteX127" fmla="*/ 2659380 w 3017559"/>
                  <a:gd name="connsiteY127" fmla="*/ 876300 h 3680460"/>
                  <a:gd name="connsiteX128" fmla="*/ 2644140 w 3017559"/>
                  <a:gd name="connsiteY128" fmla="*/ 845820 h 3680460"/>
                  <a:gd name="connsiteX129" fmla="*/ 2636520 w 3017559"/>
                  <a:gd name="connsiteY129" fmla="*/ 822960 h 3680460"/>
                  <a:gd name="connsiteX130" fmla="*/ 2621280 w 3017559"/>
                  <a:gd name="connsiteY130" fmla="*/ 800100 h 3680460"/>
                  <a:gd name="connsiteX131" fmla="*/ 2598420 w 3017559"/>
                  <a:gd name="connsiteY131" fmla="*/ 739140 h 3680460"/>
                  <a:gd name="connsiteX132" fmla="*/ 2458403 w 3017559"/>
                  <a:gd name="connsiteY132" fmla="*/ 621983 h 3680460"/>
                  <a:gd name="connsiteX133" fmla="*/ 2301240 w 3017559"/>
                  <a:gd name="connsiteY133" fmla="*/ 458152 h 3680460"/>
                  <a:gd name="connsiteX134" fmla="*/ 2237423 w 3017559"/>
                  <a:gd name="connsiteY134" fmla="*/ 406717 h 3680460"/>
                  <a:gd name="connsiteX135" fmla="*/ 2103120 w 3017559"/>
                  <a:gd name="connsiteY135" fmla="*/ 312420 h 3680460"/>
                  <a:gd name="connsiteX136" fmla="*/ 2042160 w 3017559"/>
                  <a:gd name="connsiteY136" fmla="*/ 266700 h 3680460"/>
                  <a:gd name="connsiteX137" fmla="*/ 2004060 w 3017559"/>
                  <a:gd name="connsiteY137" fmla="*/ 251460 h 3680460"/>
                  <a:gd name="connsiteX138" fmla="*/ 1958340 w 3017559"/>
                  <a:gd name="connsiteY138" fmla="*/ 220980 h 3680460"/>
                  <a:gd name="connsiteX139" fmla="*/ 1897380 w 3017559"/>
                  <a:gd name="connsiteY139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83820 w 3017559"/>
                  <a:gd name="connsiteY58" fmla="*/ 3489960 h 3680460"/>
                  <a:gd name="connsiteX59" fmla="*/ 45720 w 3017559"/>
                  <a:gd name="connsiteY59" fmla="*/ 3436620 h 3680460"/>
                  <a:gd name="connsiteX60" fmla="*/ 0 w 3017559"/>
                  <a:gd name="connsiteY60" fmla="*/ 3352800 h 3680460"/>
                  <a:gd name="connsiteX61" fmla="*/ 30480 w 3017559"/>
                  <a:gd name="connsiteY61" fmla="*/ 3345180 h 3680460"/>
                  <a:gd name="connsiteX62" fmla="*/ 137160 w 3017559"/>
                  <a:gd name="connsiteY62" fmla="*/ 3360420 h 3680460"/>
                  <a:gd name="connsiteX63" fmla="*/ 167640 w 3017559"/>
                  <a:gd name="connsiteY63" fmla="*/ 3390900 h 3680460"/>
                  <a:gd name="connsiteX64" fmla="*/ 198120 w 3017559"/>
                  <a:gd name="connsiteY64" fmla="*/ 3406140 h 3680460"/>
                  <a:gd name="connsiteX65" fmla="*/ 350520 w 3017559"/>
                  <a:gd name="connsiteY65" fmla="*/ 3436620 h 3680460"/>
                  <a:gd name="connsiteX66" fmla="*/ 381000 w 3017559"/>
                  <a:gd name="connsiteY66" fmla="*/ 3451860 h 3680460"/>
                  <a:gd name="connsiteX67" fmla="*/ 449580 w 3017559"/>
                  <a:gd name="connsiteY67" fmla="*/ 3489960 h 3680460"/>
                  <a:gd name="connsiteX68" fmla="*/ 495300 w 3017559"/>
                  <a:gd name="connsiteY68" fmla="*/ 3520440 h 3680460"/>
                  <a:gd name="connsiteX69" fmla="*/ 525780 w 3017559"/>
                  <a:gd name="connsiteY69" fmla="*/ 3535680 h 3680460"/>
                  <a:gd name="connsiteX70" fmla="*/ 731520 w 3017559"/>
                  <a:gd name="connsiteY70" fmla="*/ 3558540 h 3680460"/>
                  <a:gd name="connsiteX71" fmla="*/ 1341120 w 3017559"/>
                  <a:gd name="connsiteY71" fmla="*/ 3550920 h 3680460"/>
                  <a:gd name="connsiteX72" fmla="*/ 1440180 w 3017559"/>
                  <a:gd name="connsiteY72" fmla="*/ 3528060 h 3680460"/>
                  <a:gd name="connsiteX73" fmla="*/ 1539240 w 3017559"/>
                  <a:gd name="connsiteY73" fmla="*/ 3520440 h 3680460"/>
                  <a:gd name="connsiteX74" fmla="*/ 1562100 w 3017559"/>
                  <a:gd name="connsiteY74" fmla="*/ 3512820 h 3680460"/>
                  <a:gd name="connsiteX75" fmla="*/ 1630680 w 3017559"/>
                  <a:gd name="connsiteY75" fmla="*/ 3497580 h 3680460"/>
                  <a:gd name="connsiteX76" fmla="*/ 1699260 w 3017559"/>
                  <a:gd name="connsiteY76" fmla="*/ 3474720 h 3680460"/>
                  <a:gd name="connsiteX77" fmla="*/ 1790700 w 3017559"/>
                  <a:gd name="connsiteY77" fmla="*/ 3451860 h 3680460"/>
                  <a:gd name="connsiteX78" fmla="*/ 1821180 w 3017559"/>
                  <a:gd name="connsiteY78" fmla="*/ 3444240 h 3680460"/>
                  <a:gd name="connsiteX79" fmla="*/ 1844040 w 3017559"/>
                  <a:gd name="connsiteY79" fmla="*/ 3429000 h 3680460"/>
                  <a:gd name="connsiteX80" fmla="*/ 1874520 w 3017559"/>
                  <a:gd name="connsiteY80" fmla="*/ 3421380 h 3680460"/>
                  <a:gd name="connsiteX81" fmla="*/ 1927860 w 3017559"/>
                  <a:gd name="connsiteY81" fmla="*/ 3398520 h 3680460"/>
                  <a:gd name="connsiteX82" fmla="*/ 1950720 w 3017559"/>
                  <a:gd name="connsiteY82" fmla="*/ 3390900 h 3680460"/>
                  <a:gd name="connsiteX83" fmla="*/ 2004060 w 3017559"/>
                  <a:gd name="connsiteY83" fmla="*/ 3360420 h 3680460"/>
                  <a:gd name="connsiteX84" fmla="*/ 2042160 w 3017559"/>
                  <a:gd name="connsiteY84" fmla="*/ 3352800 h 3680460"/>
                  <a:gd name="connsiteX85" fmla="*/ 2080260 w 3017559"/>
                  <a:gd name="connsiteY85" fmla="*/ 3337560 h 3680460"/>
                  <a:gd name="connsiteX86" fmla="*/ 2156460 w 3017559"/>
                  <a:gd name="connsiteY86" fmla="*/ 3299460 h 3680460"/>
                  <a:gd name="connsiteX87" fmla="*/ 2179320 w 3017559"/>
                  <a:gd name="connsiteY87" fmla="*/ 3284220 h 3680460"/>
                  <a:gd name="connsiteX88" fmla="*/ 2209800 w 3017559"/>
                  <a:gd name="connsiteY88" fmla="*/ 3276600 h 3680460"/>
                  <a:gd name="connsiteX89" fmla="*/ 2263140 w 3017559"/>
                  <a:gd name="connsiteY89" fmla="*/ 3230880 h 3680460"/>
                  <a:gd name="connsiteX90" fmla="*/ 2346960 w 3017559"/>
                  <a:gd name="connsiteY90" fmla="*/ 3154680 h 3680460"/>
                  <a:gd name="connsiteX91" fmla="*/ 2400300 w 3017559"/>
                  <a:gd name="connsiteY91" fmla="*/ 3070860 h 3680460"/>
                  <a:gd name="connsiteX92" fmla="*/ 2415540 w 3017559"/>
                  <a:gd name="connsiteY92" fmla="*/ 3048000 h 3680460"/>
                  <a:gd name="connsiteX93" fmla="*/ 2446020 w 3017559"/>
                  <a:gd name="connsiteY93" fmla="*/ 3032760 h 3680460"/>
                  <a:gd name="connsiteX94" fmla="*/ 2468880 w 3017559"/>
                  <a:gd name="connsiteY94" fmla="*/ 3009900 h 3680460"/>
                  <a:gd name="connsiteX95" fmla="*/ 2537460 w 3017559"/>
                  <a:gd name="connsiteY95" fmla="*/ 2926080 h 3680460"/>
                  <a:gd name="connsiteX96" fmla="*/ 2575560 w 3017559"/>
                  <a:gd name="connsiteY96" fmla="*/ 2880360 h 3680460"/>
                  <a:gd name="connsiteX97" fmla="*/ 2628900 w 3017559"/>
                  <a:gd name="connsiteY97" fmla="*/ 2811780 h 3680460"/>
                  <a:gd name="connsiteX98" fmla="*/ 2644140 w 3017559"/>
                  <a:gd name="connsiteY98" fmla="*/ 2773680 h 3680460"/>
                  <a:gd name="connsiteX99" fmla="*/ 2674620 w 3017559"/>
                  <a:gd name="connsiteY99" fmla="*/ 2727960 h 3680460"/>
                  <a:gd name="connsiteX100" fmla="*/ 2689860 w 3017559"/>
                  <a:gd name="connsiteY100" fmla="*/ 2705100 h 3680460"/>
                  <a:gd name="connsiteX101" fmla="*/ 2705100 w 3017559"/>
                  <a:gd name="connsiteY101" fmla="*/ 2667000 h 3680460"/>
                  <a:gd name="connsiteX102" fmla="*/ 2727960 w 3017559"/>
                  <a:gd name="connsiteY102" fmla="*/ 2621280 h 3680460"/>
                  <a:gd name="connsiteX103" fmla="*/ 2735580 w 3017559"/>
                  <a:gd name="connsiteY103" fmla="*/ 2590800 h 3680460"/>
                  <a:gd name="connsiteX104" fmla="*/ 2758440 w 3017559"/>
                  <a:gd name="connsiteY104" fmla="*/ 2545080 h 3680460"/>
                  <a:gd name="connsiteX105" fmla="*/ 2788920 w 3017559"/>
                  <a:gd name="connsiteY105" fmla="*/ 2484120 h 3680460"/>
                  <a:gd name="connsiteX106" fmla="*/ 2811780 w 3017559"/>
                  <a:gd name="connsiteY106" fmla="*/ 2407920 h 3680460"/>
                  <a:gd name="connsiteX107" fmla="*/ 2842260 w 3017559"/>
                  <a:gd name="connsiteY107" fmla="*/ 2324100 h 3680460"/>
                  <a:gd name="connsiteX108" fmla="*/ 2857500 w 3017559"/>
                  <a:gd name="connsiteY108" fmla="*/ 2247900 h 3680460"/>
                  <a:gd name="connsiteX109" fmla="*/ 2872740 w 3017559"/>
                  <a:gd name="connsiteY109" fmla="*/ 2194560 h 3680460"/>
                  <a:gd name="connsiteX110" fmla="*/ 2887980 w 3017559"/>
                  <a:gd name="connsiteY110" fmla="*/ 2148840 h 3680460"/>
                  <a:gd name="connsiteX111" fmla="*/ 2910840 w 3017559"/>
                  <a:gd name="connsiteY111" fmla="*/ 2087880 h 3680460"/>
                  <a:gd name="connsiteX112" fmla="*/ 2918460 w 3017559"/>
                  <a:gd name="connsiteY112" fmla="*/ 2049780 h 3680460"/>
                  <a:gd name="connsiteX113" fmla="*/ 2933700 w 3017559"/>
                  <a:gd name="connsiteY113" fmla="*/ 1844040 h 3680460"/>
                  <a:gd name="connsiteX114" fmla="*/ 2918460 w 3017559"/>
                  <a:gd name="connsiteY114" fmla="*/ 1470660 h 3680460"/>
                  <a:gd name="connsiteX115" fmla="*/ 2895600 w 3017559"/>
                  <a:gd name="connsiteY115" fmla="*/ 1371600 h 3680460"/>
                  <a:gd name="connsiteX116" fmla="*/ 2880360 w 3017559"/>
                  <a:gd name="connsiteY116" fmla="*/ 1341120 h 3680460"/>
                  <a:gd name="connsiteX117" fmla="*/ 2857500 w 3017559"/>
                  <a:gd name="connsiteY117" fmla="*/ 1272540 h 3680460"/>
                  <a:gd name="connsiteX118" fmla="*/ 2849880 w 3017559"/>
                  <a:gd name="connsiteY118" fmla="*/ 1234440 h 3680460"/>
                  <a:gd name="connsiteX119" fmla="*/ 2827020 w 3017559"/>
                  <a:gd name="connsiteY119" fmla="*/ 1196340 h 3680460"/>
                  <a:gd name="connsiteX120" fmla="*/ 2811780 w 3017559"/>
                  <a:gd name="connsiteY120" fmla="*/ 1165860 h 3680460"/>
                  <a:gd name="connsiteX121" fmla="*/ 2781300 w 3017559"/>
                  <a:gd name="connsiteY121" fmla="*/ 1127760 h 3680460"/>
                  <a:gd name="connsiteX122" fmla="*/ 2766060 w 3017559"/>
                  <a:gd name="connsiteY122" fmla="*/ 1089660 h 3680460"/>
                  <a:gd name="connsiteX123" fmla="*/ 2735580 w 3017559"/>
                  <a:gd name="connsiteY123" fmla="*/ 1043940 h 3680460"/>
                  <a:gd name="connsiteX124" fmla="*/ 2727960 w 3017559"/>
                  <a:gd name="connsiteY124" fmla="*/ 1021080 h 3680460"/>
                  <a:gd name="connsiteX125" fmla="*/ 2682240 w 3017559"/>
                  <a:gd name="connsiteY125" fmla="*/ 937260 h 3680460"/>
                  <a:gd name="connsiteX126" fmla="*/ 2659380 w 3017559"/>
                  <a:gd name="connsiteY126" fmla="*/ 876300 h 3680460"/>
                  <a:gd name="connsiteX127" fmla="*/ 2644140 w 3017559"/>
                  <a:gd name="connsiteY127" fmla="*/ 845820 h 3680460"/>
                  <a:gd name="connsiteX128" fmla="*/ 2636520 w 3017559"/>
                  <a:gd name="connsiteY128" fmla="*/ 822960 h 3680460"/>
                  <a:gd name="connsiteX129" fmla="*/ 2621280 w 3017559"/>
                  <a:gd name="connsiteY129" fmla="*/ 800100 h 3680460"/>
                  <a:gd name="connsiteX130" fmla="*/ 2598420 w 3017559"/>
                  <a:gd name="connsiteY130" fmla="*/ 739140 h 3680460"/>
                  <a:gd name="connsiteX131" fmla="*/ 2458403 w 3017559"/>
                  <a:gd name="connsiteY131" fmla="*/ 621983 h 3680460"/>
                  <a:gd name="connsiteX132" fmla="*/ 2301240 w 3017559"/>
                  <a:gd name="connsiteY132" fmla="*/ 458152 h 3680460"/>
                  <a:gd name="connsiteX133" fmla="*/ 2237423 w 3017559"/>
                  <a:gd name="connsiteY133" fmla="*/ 406717 h 3680460"/>
                  <a:gd name="connsiteX134" fmla="*/ 2103120 w 3017559"/>
                  <a:gd name="connsiteY134" fmla="*/ 312420 h 3680460"/>
                  <a:gd name="connsiteX135" fmla="*/ 2042160 w 3017559"/>
                  <a:gd name="connsiteY135" fmla="*/ 266700 h 3680460"/>
                  <a:gd name="connsiteX136" fmla="*/ 2004060 w 3017559"/>
                  <a:gd name="connsiteY136" fmla="*/ 251460 h 3680460"/>
                  <a:gd name="connsiteX137" fmla="*/ 1958340 w 3017559"/>
                  <a:gd name="connsiteY137" fmla="*/ 220980 h 3680460"/>
                  <a:gd name="connsiteX138" fmla="*/ 1897380 w 3017559"/>
                  <a:gd name="connsiteY138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137160 w 3017559"/>
                  <a:gd name="connsiteY57" fmla="*/ 3535680 h 3680460"/>
                  <a:gd name="connsiteX58" fmla="*/ 45720 w 3017559"/>
                  <a:gd name="connsiteY58" fmla="*/ 3436620 h 3680460"/>
                  <a:gd name="connsiteX59" fmla="*/ 0 w 3017559"/>
                  <a:gd name="connsiteY59" fmla="*/ 3352800 h 3680460"/>
                  <a:gd name="connsiteX60" fmla="*/ 30480 w 3017559"/>
                  <a:gd name="connsiteY60" fmla="*/ 3345180 h 3680460"/>
                  <a:gd name="connsiteX61" fmla="*/ 137160 w 3017559"/>
                  <a:gd name="connsiteY61" fmla="*/ 3360420 h 3680460"/>
                  <a:gd name="connsiteX62" fmla="*/ 167640 w 3017559"/>
                  <a:gd name="connsiteY62" fmla="*/ 3390900 h 3680460"/>
                  <a:gd name="connsiteX63" fmla="*/ 198120 w 3017559"/>
                  <a:gd name="connsiteY63" fmla="*/ 3406140 h 3680460"/>
                  <a:gd name="connsiteX64" fmla="*/ 350520 w 3017559"/>
                  <a:gd name="connsiteY64" fmla="*/ 3436620 h 3680460"/>
                  <a:gd name="connsiteX65" fmla="*/ 381000 w 3017559"/>
                  <a:gd name="connsiteY65" fmla="*/ 3451860 h 3680460"/>
                  <a:gd name="connsiteX66" fmla="*/ 449580 w 3017559"/>
                  <a:gd name="connsiteY66" fmla="*/ 3489960 h 3680460"/>
                  <a:gd name="connsiteX67" fmla="*/ 495300 w 3017559"/>
                  <a:gd name="connsiteY67" fmla="*/ 3520440 h 3680460"/>
                  <a:gd name="connsiteX68" fmla="*/ 525780 w 3017559"/>
                  <a:gd name="connsiteY68" fmla="*/ 3535680 h 3680460"/>
                  <a:gd name="connsiteX69" fmla="*/ 731520 w 3017559"/>
                  <a:gd name="connsiteY69" fmla="*/ 3558540 h 3680460"/>
                  <a:gd name="connsiteX70" fmla="*/ 1341120 w 3017559"/>
                  <a:gd name="connsiteY70" fmla="*/ 3550920 h 3680460"/>
                  <a:gd name="connsiteX71" fmla="*/ 1440180 w 3017559"/>
                  <a:gd name="connsiteY71" fmla="*/ 3528060 h 3680460"/>
                  <a:gd name="connsiteX72" fmla="*/ 1539240 w 3017559"/>
                  <a:gd name="connsiteY72" fmla="*/ 3520440 h 3680460"/>
                  <a:gd name="connsiteX73" fmla="*/ 1562100 w 3017559"/>
                  <a:gd name="connsiteY73" fmla="*/ 3512820 h 3680460"/>
                  <a:gd name="connsiteX74" fmla="*/ 1630680 w 3017559"/>
                  <a:gd name="connsiteY74" fmla="*/ 3497580 h 3680460"/>
                  <a:gd name="connsiteX75" fmla="*/ 1699260 w 3017559"/>
                  <a:gd name="connsiteY75" fmla="*/ 3474720 h 3680460"/>
                  <a:gd name="connsiteX76" fmla="*/ 1790700 w 3017559"/>
                  <a:gd name="connsiteY76" fmla="*/ 3451860 h 3680460"/>
                  <a:gd name="connsiteX77" fmla="*/ 1821180 w 3017559"/>
                  <a:gd name="connsiteY77" fmla="*/ 3444240 h 3680460"/>
                  <a:gd name="connsiteX78" fmla="*/ 1844040 w 3017559"/>
                  <a:gd name="connsiteY78" fmla="*/ 3429000 h 3680460"/>
                  <a:gd name="connsiteX79" fmla="*/ 1874520 w 3017559"/>
                  <a:gd name="connsiteY79" fmla="*/ 3421380 h 3680460"/>
                  <a:gd name="connsiteX80" fmla="*/ 1927860 w 3017559"/>
                  <a:gd name="connsiteY80" fmla="*/ 3398520 h 3680460"/>
                  <a:gd name="connsiteX81" fmla="*/ 1950720 w 3017559"/>
                  <a:gd name="connsiteY81" fmla="*/ 3390900 h 3680460"/>
                  <a:gd name="connsiteX82" fmla="*/ 2004060 w 3017559"/>
                  <a:gd name="connsiteY82" fmla="*/ 3360420 h 3680460"/>
                  <a:gd name="connsiteX83" fmla="*/ 2042160 w 3017559"/>
                  <a:gd name="connsiteY83" fmla="*/ 3352800 h 3680460"/>
                  <a:gd name="connsiteX84" fmla="*/ 2080260 w 3017559"/>
                  <a:gd name="connsiteY84" fmla="*/ 3337560 h 3680460"/>
                  <a:gd name="connsiteX85" fmla="*/ 2156460 w 3017559"/>
                  <a:gd name="connsiteY85" fmla="*/ 3299460 h 3680460"/>
                  <a:gd name="connsiteX86" fmla="*/ 2179320 w 3017559"/>
                  <a:gd name="connsiteY86" fmla="*/ 3284220 h 3680460"/>
                  <a:gd name="connsiteX87" fmla="*/ 2209800 w 3017559"/>
                  <a:gd name="connsiteY87" fmla="*/ 3276600 h 3680460"/>
                  <a:gd name="connsiteX88" fmla="*/ 2263140 w 3017559"/>
                  <a:gd name="connsiteY88" fmla="*/ 3230880 h 3680460"/>
                  <a:gd name="connsiteX89" fmla="*/ 2346960 w 3017559"/>
                  <a:gd name="connsiteY89" fmla="*/ 3154680 h 3680460"/>
                  <a:gd name="connsiteX90" fmla="*/ 2400300 w 3017559"/>
                  <a:gd name="connsiteY90" fmla="*/ 3070860 h 3680460"/>
                  <a:gd name="connsiteX91" fmla="*/ 2415540 w 3017559"/>
                  <a:gd name="connsiteY91" fmla="*/ 3048000 h 3680460"/>
                  <a:gd name="connsiteX92" fmla="*/ 2446020 w 3017559"/>
                  <a:gd name="connsiteY92" fmla="*/ 3032760 h 3680460"/>
                  <a:gd name="connsiteX93" fmla="*/ 2468880 w 3017559"/>
                  <a:gd name="connsiteY93" fmla="*/ 3009900 h 3680460"/>
                  <a:gd name="connsiteX94" fmla="*/ 2537460 w 3017559"/>
                  <a:gd name="connsiteY94" fmla="*/ 2926080 h 3680460"/>
                  <a:gd name="connsiteX95" fmla="*/ 2575560 w 3017559"/>
                  <a:gd name="connsiteY95" fmla="*/ 2880360 h 3680460"/>
                  <a:gd name="connsiteX96" fmla="*/ 2628900 w 3017559"/>
                  <a:gd name="connsiteY96" fmla="*/ 2811780 h 3680460"/>
                  <a:gd name="connsiteX97" fmla="*/ 2644140 w 3017559"/>
                  <a:gd name="connsiteY97" fmla="*/ 2773680 h 3680460"/>
                  <a:gd name="connsiteX98" fmla="*/ 2674620 w 3017559"/>
                  <a:gd name="connsiteY98" fmla="*/ 2727960 h 3680460"/>
                  <a:gd name="connsiteX99" fmla="*/ 2689860 w 3017559"/>
                  <a:gd name="connsiteY99" fmla="*/ 2705100 h 3680460"/>
                  <a:gd name="connsiteX100" fmla="*/ 2705100 w 3017559"/>
                  <a:gd name="connsiteY100" fmla="*/ 2667000 h 3680460"/>
                  <a:gd name="connsiteX101" fmla="*/ 2727960 w 3017559"/>
                  <a:gd name="connsiteY101" fmla="*/ 2621280 h 3680460"/>
                  <a:gd name="connsiteX102" fmla="*/ 2735580 w 3017559"/>
                  <a:gd name="connsiteY102" fmla="*/ 2590800 h 3680460"/>
                  <a:gd name="connsiteX103" fmla="*/ 2758440 w 3017559"/>
                  <a:gd name="connsiteY103" fmla="*/ 2545080 h 3680460"/>
                  <a:gd name="connsiteX104" fmla="*/ 2788920 w 3017559"/>
                  <a:gd name="connsiteY104" fmla="*/ 2484120 h 3680460"/>
                  <a:gd name="connsiteX105" fmla="*/ 2811780 w 3017559"/>
                  <a:gd name="connsiteY105" fmla="*/ 2407920 h 3680460"/>
                  <a:gd name="connsiteX106" fmla="*/ 2842260 w 3017559"/>
                  <a:gd name="connsiteY106" fmla="*/ 2324100 h 3680460"/>
                  <a:gd name="connsiteX107" fmla="*/ 2857500 w 3017559"/>
                  <a:gd name="connsiteY107" fmla="*/ 2247900 h 3680460"/>
                  <a:gd name="connsiteX108" fmla="*/ 2872740 w 3017559"/>
                  <a:gd name="connsiteY108" fmla="*/ 2194560 h 3680460"/>
                  <a:gd name="connsiteX109" fmla="*/ 2887980 w 3017559"/>
                  <a:gd name="connsiteY109" fmla="*/ 2148840 h 3680460"/>
                  <a:gd name="connsiteX110" fmla="*/ 2910840 w 3017559"/>
                  <a:gd name="connsiteY110" fmla="*/ 2087880 h 3680460"/>
                  <a:gd name="connsiteX111" fmla="*/ 2918460 w 3017559"/>
                  <a:gd name="connsiteY111" fmla="*/ 2049780 h 3680460"/>
                  <a:gd name="connsiteX112" fmla="*/ 2933700 w 3017559"/>
                  <a:gd name="connsiteY112" fmla="*/ 1844040 h 3680460"/>
                  <a:gd name="connsiteX113" fmla="*/ 2918460 w 3017559"/>
                  <a:gd name="connsiteY113" fmla="*/ 1470660 h 3680460"/>
                  <a:gd name="connsiteX114" fmla="*/ 2895600 w 3017559"/>
                  <a:gd name="connsiteY114" fmla="*/ 1371600 h 3680460"/>
                  <a:gd name="connsiteX115" fmla="*/ 2880360 w 3017559"/>
                  <a:gd name="connsiteY115" fmla="*/ 1341120 h 3680460"/>
                  <a:gd name="connsiteX116" fmla="*/ 2857500 w 3017559"/>
                  <a:gd name="connsiteY116" fmla="*/ 1272540 h 3680460"/>
                  <a:gd name="connsiteX117" fmla="*/ 2849880 w 3017559"/>
                  <a:gd name="connsiteY117" fmla="*/ 1234440 h 3680460"/>
                  <a:gd name="connsiteX118" fmla="*/ 2827020 w 3017559"/>
                  <a:gd name="connsiteY118" fmla="*/ 1196340 h 3680460"/>
                  <a:gd name="connsiteX119" fmla="*/ 2811780 w 3017559"/>
                  <a:gd name="connsiteY119" fmla="*/ 1165860 h 3680460"/>
                  <a:gd name="connsiteX120" fmla="*/ 2781300 w 3017559"/>
                  <a:gd name="connsiteY120" fmla="*/ 1127760 h 3680460"/>
                  <a:gd name="connsiteX121" fmla="*/ 2766060 w 3017559"/>
                  <a:gd name="connsiteY121" fmla="*/ 1089660 h 3680460"/>
                  <a:gd name="connsiteX122" fmla="*/ 2735580 w 3017559"/>
                  <a:gd name="connsiteY122" fmla="*/ 1043940 h 3680460"/>
                  <a:gd name="connsiteX123" fmla="*/ 2727960 w 3017559"/>
                  <a:gd name="connsiteY123" fmla="*/ 1021080 h 3680460"/>
                  <a:gd name="connsiteX124" fmla="*/ 2682240 w 3017559"/>
                  <a:gd name="connsiteY124" fmla="*/ 937260 h 3680460"/>
                  <a:gd name="connsiteX125" fmla="*/ 2659380 w 3017559"/>
                  <a:gd name="connsiteY125" fmla="*/ 876300 h 3680460"/>
                  <a:gd name="connsiteX126" fmla="*/ 2644140 w 3017559"/>
                  <a:gd name="connsiteY126" fmla="*/ 845820 h 3680460"/>
                  <a:gd name="connsiteX127" fmla="*/ 2636520 w 3017559"/>
                  <a:gd name="connsiteY127" fmla="*/ 822960 h 3680460"/>
                  <a:gd name="connsiteX128" fmla="*/ 2621280 w 3017559"/>
                  <a:gd name="connsiteY128" fmla="*/ 800100 h 3680460"/>
                  <a:gd name="connsiteX129" fmla="*/ 2598420 w 3017559"/>
                  <a:gd name="connsiteY129" fmla="*/ 739140 h 3680460"/>
                  <a:gd name="connsiteX130" fmla="*/ 2458403 w 3017559"/>
                  <a:gd name="connsiteY130" fmla="*/ 621983 h 3680460"/>
                  <a:gd name="connsiteX131" fmla="*/ 2301240 w 3017559"/>
                  <a:gd name="connsiteY131" fmla="*/ 458152 h 3680460"/>
                  <a:gd name="connsiteX132" fmla="*/ 2237423 w 3017559"/>
                  <a:gd name="connsiteY132" fmla="*/ 406717 h 3680460"/>
                  <a:gd name="connsiteX133" fmla="*/ 2103120 w 3017559"/>
                  <a:gd name="connsiteY133" fmla="*/ 312420 h 3680460"/>
                  <a:gd name="connsiteX134" fmla="*/ 2042160 w 3017559"/>
                  <a:gd name="connsiteY134" fmla="*/ 266700 h 3680460"/>
                  <a:gd name="connsiteX135" fmla="*/ 2004060 w 3017559"/>
                  <a:gd name="connsiteY135" fmla="*/ 251460 h 3680460"/>
                  <a:gd name="connsiteX136" fmla="*/ 1958340 w 3017559"/>
                  <a:gd name="connsiteY136" fmla="*/ 220980 h 3680460"/>
                  <a:gd name="connsiteX137" fmla="*/ 1897380 w 3017559"/>
                  <a:gd name="connsiteY137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335280 w 3017559"/>
                  <a:gd name="connsiteY54" fmla="*/ 3627120 h 3680460"/>
                  <a:gd name="connsiteX55" fmla="*/ 266700 w 3017559"/>
                  <a:gd name="connsiteY55" fmla="*/ 3604260 h 3680460"/>
                  <a:gd name="connsiteX56" fmla="*/ 160020 w 3017559"/>
                  <a:gd name="connsiteY56" fmla="*/ 3558540 h 3680460"/>
                  <a:gd name="connsiteX57" fmla="*/ 45720 w 3017559"/>
                  <a:gd name="connsiteY57" fmla="*/ 3436620 h 3680460"/>
                  <a:gd name="connsiteX58" fmla="*/ 0 w 3017559"/>
                  <a:gd name="connsiteY58" fmla="*/ 3352800 h 3680460"/>
                  <a:gd name="connsiteX59" fmla="*/ 30480 w 3017559"/>
                  <a:gd name="connsiteY59" fmla="*/ 3345180 h 3680460"/>
                  <a:gd name="connsiteX60" fmla="*/ 137160 w 3017559"/>
                  <a:gd name="connsiteY60" fmla="*/ 3360420 h 3680460"/>
                  <a:gd name="connsiteX61" fmla="*/ 167640 w 3017559"/>
                  <a:gd name="connsiteY61" fmla="*/ 3390900 h 3680460"/>
                  <a:gd name="connsiteX62" fmla="*/ 198120 w 3017559"/>
                  <a:gd name="connsiteY62" fmla="*/ 3406140 h 3680460"/>
                  <a:gd name="connsiteX63" fmla="*/ 350520 w 3017559"/>
                  <a:gd name="connsiteY63" fmla="*/ 3436620 h 3680460"/>
                  <a:gd name="connsiteX64" fmla="*/ 381000 w 3017559"/>
                  <a:gd name="connsiteY64" fmla="*/ 3451860 h 3680460"/>
                  <a:gd name="connsiteX65" fmla="*/ 449580 w 3017559"/>
                  <a:gd name="connsiteY65" fmla="*/ 3489960 h 3680460"/>
                  <a:gd name="connsiteX66" fmla="*/ 495300 w 3017559"/>
                  <a:gd name="connsiteY66" fmla="*/ 3520440 h 3680460"/>
                  <a:gd name="connsiteX67" fmla="*/ 525780 w 3017559"/>
                  <a:gd name="connsiteY67" fmla="*/ 3535680 h 3680460"/>
                  <a:gd name="connsiteX68" fmla="*/ 731520 w 3017559"/>
                  <a:gd name="connsiteY68" fmla="*/ 3558540 h 3680460"/>
                  <a:gd name="connsiteX69" fmla="*/ 1341120 w 3017559"/>
                  <a:gd name="connsiteY69" fmla="*/ 3550920 h 3680460"/>
                  <a:gd name="connsiteX70" fmla="*/ 1440180 w 3017559"/>
                  <a:gd name="connsiteY70" fmla="*/ 3528060 h 3680460"/>
                  <a:gd name="connsiteX71" fmla="*/ 1539240 w 3017559"/>
                  <a:gd name="connsiteY71" fmla="*/ 3520440 h 3680460"/>
                  <a:gd name="connsiteX72" fmla="*/ 1562100 w 3017559"/>
                  <a:gd name="connsiteY72" fmla="*/ 3512820 h 3680460"/>
                  <a:gd name="connsiteX73" fmla="*/ 1630680 w 3017559"/>
                  <a:gd name="connsiteY73" fmla="*/ 3497580 h 3680460"/>
                  <a:gd name="connsiteX74" fmla="*/ 1699260 w 3017559"/>
                  <a:gd name="connsiteY74" fmla="*/ 3474720 h 3680460"/>
                  <a:gd name="connsiteX75" fmla="*/ 1790700 w 3017559"/>
                  <a:gd name="connsiteY75" fmla="*/ 3451860 h 3680460"/>
                  <a:gd name="connsiteX76" fmla="*/ 1821180 w 3017559"/>
                  <a:gd name="connsiteY76" fmla="*/ 3444240 h 3680460"/>
                  <a:gd name="connsiteX77" fmla="*/ 1844040 w 3017559"/>
                  <a:gd name="connsiteY77" fmla="*/ 3429000 h 3680460"/>
                  <a:gd name="connsiteX78" fmla="*/ 1874520 w 3017559"/>
                  <a:gd name="connsiteY78" fmla="*/ 3421380 h 3680460"/>
                  <a:gd name="connsiteX79" fmla="*/ 1927860 w 3017559"/>
                  <a:gd name="connsiteY79" fmla="*/ 3398520 h 3680460"/>
                  <a:gd name="connsiteX80" fmla="*/ 1950720 w 3017559"/>
                  <a:gd name="connsiteY80" fmla="*/ 3390900 h 3680460"/>
                  <a:gd name="connsiteX81" fmla="*/ 2004060 w 3017559"/>
                  <a:gd name="connsiteY81" fmla="*/ 3360420 h 3680460"/>
                  <a:gd name="connsiteX82" fmla="*/ 2042160 w 3017559"/>
                  <a:gd name="connsiteY82" fmla="*/ 3352800 h 3680460"/>
                  <a:gd name="connsiteX83" fmla="*/ 2080260 w 3017559"/>
                  <a:gd name="connsiteY83" fmla="*/ 3337560 h 3680460"/>
                  <a:gd name="connsiteX84" fmla="*/ 2156460 w 3017559"/>
                  <a:gd name="connsiteY84" fmla="*/ 3299460 h 3680460"/>
                  <a:gd name="connsiteX85" fmla="*/ 2179320 w 3017559"/>
                  <a:gd name="connsiteY85" fmla="*/ 3284220 h 3680460"/>
                  <a:gd name="connsiteX86" fmla="*/ 2209800 w 3017559"/>
                  <a:gd name="connsiteY86" fmla="*/ 3276600 h 3680460"/>
                  <a:gd name="connsiteX87" fmla="*/ 2263140 w 3017559"/>
                  <a:gd name="connsiteY87" fmla="*/ 3230880 h 3680460"/>
                  <a:gd name="connsiteX88" fmla="*/ 2346960 w 3017559"/>
                  <a:gd name="connsiteY88" fmla="*/ 3154680 h 3680460"/>
                  <a:gd name="connsiteX89" fmla="*/ 2400300 w 3017559"/>
                  <a:gd name="connsiteY89" fmla="*/ 3070860 h 3680460"/>
                  <a:gd name="connsiteX90" fmla="*/ 2415540 w 3017559"/>
                  <a:gd name="connsiteY90" fmla="*/ 3048000 h 3680460"/>
                  <a:gd name="connsiteX91" fmla="*/ 2446020 w 3017559"/>
                  <a:gd name="connsiteY91" fmla="*/ 3032760 h 3680460"/>
                  <a:gd name="connsiteX92" fmla="*/ 2468880 w 3017559"/>
                  <a:gd name="connsiteY92" fmla="*/ 3009900 h 3680460"/>
                  <a:gd name="connsiteX93" fmla="*/ 2537460 w 3017559"/>
                  <a:gd name="connsiteY93" fmla="*/ 2926080 h 3680460"/>
                  <a:gd name="connsiteX94" fmla="*/ 2575560 w 3017559"/>
                  <a:gd name="connsiteY94" fmla="*/ 2880360 h 3680460"/>
                  <a:gd name="connsiteX95" fmla="*/ 2628900 w 3017559"/>
                  <a:gd name="connsiteY95" fmla="*/ 2811780 h 3680460"/>
                  <a:gd name="connsiteX96" fmla="*/ 2644140 w 3017559"/>
                  <a:gd name="connsiteY96" fmla="*/ 2773680 h 3680460"/>
                  <a:gd name="connsiteX97" fmla="*/ 2674620 w 3017559"/>
                  <a:gd name="connsiteY97" fmla="*/ 2727960 h 3680460"/>
                  <a:gd name="connsiteX98" fmla="*/ 2689860 w 3017559"/>
                  <a:gd name="connsiteY98" fmla="*/ 2705100 h 3680460"/>
                  <a:gd name="connsiteX99" fmla="*/ 2705100 w 3017559"/>
                  <a:gd name="connsiteY99" fmla="*/ 2667000 h 3680460"/>
                  <a:gd name="connsiteX100" fmla="*/ 2727960 w 3017559"/>
                  <a:gd name="connsiteY100" fmla="*/ 2621280 h 3680460"/>
                  <a:gd name="connsiteX101" fmla="*/ 2735580 w 3017559"/>
                  <a:gd name="connsiteY101" fmla="*/ 2590800 h 3680460"/>
                  <a:gd name="connsiteX102" fmla="*/ 2758440 w 3017559"/>
                  <a:gd name="connsiteY102" fmla="*/ 2545080 h 3680460"/>
                  <a:gd name="connsiteX103" fmla="*/ 2788920 w 3017559"/>
                  <a:gd name="connsiteY103" fmla="*/ 2484120 h 3680460"/>
                  <a:gd name="connsiteX104" fmla="*/ 2811780 w 3017559"/>
                  <a:gd name="connsiteY104" fmla="*/ 2407920 h 3680460"/>
                  <a:gd name="connsiteX105" fmla="*/ 2842260 w 3017559"/>
                  <a:gd name="connsiteY105" fmla="*/ 2324100 h 3680460"/>
                  <a:gd name="connsiteX106" fmla="*/ 2857500 w 3017559"/>
                  <a:gd name="connsiteY106" fmla="*/ 2247900 h 3680460"/>
                  <a:gd name="connsiteX107" fmla="*/ 2872740 w 3017559"/>
                  <a:gd name="connsiteY107" fmla="*/ 2194560 h 3680460"/>
                  <a:gd name="connsiteX108" fmla="*/ 2887980 w 3017559"/>
                  <a:gd name="connsiteY108" fmla="*/ 2148840 h 3680460"/>
                  <a:gd name="connsiteX109" fmla="*/ 2910840 w 3017559"/>
                  <a:gd name="connsiteY109" fmla="*/ 2087880 h 3680460"/>
                  <a:gd name="connsiteX110" fmla="*/ 2918460 w 3017559"/>
                  <a:gd name="connsiteY110" fmla="*/ 2049780 h 3680460"/>
                  <a:gd name="connsiteX111" fmla="*/ 2933700 w 3017559"/>
                  <a:gd name="connsiteY111" fmla="*/ 1844040 h 3680460"/>
                  <a:gd name="connsiteX112" fmla="*/ 2918460 w 3017559"/>
                  <a:gd name="connsiteY112" fmla="*/ 1470660 h 3680460"/>
                  <a:gd name="connsiteX113" fmla="*/ 2895600 w 3017559"/>
                  <a:gd name="connsiteY113" fmla="*/ 1371600 h 3680460"/>
                  <a:gd name="connsiteX114" fmla="*/ 2880360 w 3017559"/>
                  <a:gd name="connsiteY114" fmla="*/ 1341120 h 3680460"/>
                  <a:gd name="connsiteX115" fmla="*/ 2857500 w 3017559"/>
                  <a:gd name="connsiteY115" fmla="*/ 1272540 h 3680460"/>
                  <a:gd name="connsiteX116" fmla="*/ 2849880 w 3017559"/>
                  <a:gd name="connsiteY116" fmla="*/ 1234440 h 3680460"/>
                  <a:gd name="connsiteX117" fmla="*/ 2827020 w 3017559"/>
                  <a:gd name="connsiteY117" fmla="*/ 1196340 h 3680460"/>
                  <a:gd name="connsiteX118" fmla="*/ 2811780 w 3017559"/>
                  <a:gd name="connsiteY118" fmla="*/ 1165860 h 3680460"/>
                  <a:gd name="connsiteX119" fmla="*/ 2781300 w 3017559"/>
                  <a:gd name="connsiteY119" fmla="*/ 1127760 h 3680460"/>
                  <a:gd name="connsiteX120" fmla="*/ 2766060 w 3017559"/>
                  <a:gd name="connsiteY120" fmla="*/ 1089660 h 3680460"/>
                  <a:gd name="connsiteX121" fmla="*/ 2735580 w 3017559"/>
                  <a:gd name="connsiteY121" fmla="*/ 1043940 h 3680460"/>
                  <a:gd name="connsiteX122" fmla="*/ 2727960 w 3017559"/>
                  <a:gd name="connsiteY122" fmla="*/ 1021080 h 3680460"/>
                  <a:gd name="connsiteX123" fmla="*/ 2682240 w 3017559"/>
                  <a:gd name="connsiteY123" fmla="*/ 937260 h 3680460"/>
                  <a:gd name="connsiteX124" fmla="*/ 2659380 w 3017559"/>
                  <a:gd name="connsiteY124" fmla="*/ 876300 h 3680460"/>
                  <a:gd name="connsiteX125" fmla="*/ 2644140 w 3017559"/>
                  <a:gd name="connsiteY125" fmla="*/ 845820 h 3680460"/>
                  <a:gd name="connsiteX126" fmla="*/ 2636520 w 3017559"/>
                  <a:gd name="connsiteY126" fmla="*/ 822960 h 3680460"/>
                  <a:gd name="connsiteX127" fmla="*/ 2621280 w 3017559"/>
                  <a:gd name="connsiteY127" fmla="*/ 800100 h 3680460"/>
                  <a:gd name="connsiteX128" fmla="*/ 2598420 w 3017559"/>
                  <a:gd name="connsiteY128" fmla="*/ 739140 h 3680460"/>
                  <a:gd name="connsiteX129" fmla="*/ 2458403 w 3017559"/>
                  <a:gd name="connsiteY129" fmla="*/ 621983 h 3680460"/>
                  <a:gd name="connsiteX130" fmla="*/ 2301240 w 3017559"/>
                  <a:gd name="connsiteY130" fmla="*/ 458152 h 3680460"/>
                  <a:gd name="connsiteX131" fmla="*/ 2237423 w 3017559"/>
                  <a:gd name="connsiteY131" fmla="*/ 406717 h 3680460"/>
                  <a:gd name="connsiteX132" fmla="*/ 2103120 w 3017559"/>
                  <a:gd name="connsiteY132" fmla="*/ 312420 h 3680460"/>
                  <a:gd name="connsiteX133" fmla="*/ 2042160 w 3017559"/>
                  <a:gd name="connsiteY133" fmla="*/ 266700 h 3680460"/>
                  <a:gd name="connsiteX134" fmla="*/ 2004060 w 3017559"/>
                  <a:gd name="connsiteY134" fmla="*/ 251460 h 3680460"/>
                  <a:gd name="connsiteX135" fmla="*/ 1958340 w 3017559"/>
                  <a:gd name="connsiteY135" fmla="*/ 220980 h 3680460"/>
                  <a:gd name="connsiteX136" fmla="*/ 1897380 w 3017559"/>
                  <a:gd name="connsiteY136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426720 w 3017559"/>
                  <a:gd name="connsiteY52" fmla="*/ 3665220 h 3680460"/>
                  <a:gd name="connsiteX53" fmla="*/ 388620 w 3017559"/>
                  <a:gd name="connsiteY53" fmla="*/ 3657600 h 3680460"/>
                  <a:gd name="connsiteX54" fmla="*/ 266700 w 3017559"/>
                  <a:gd name="connsiteY54" fmla="*/ 3604260 h 3680460"/>
                  <a:gd name="connsiteX55" fmla="*/ 160020 w 3017559"/>
                  <a:gd name="connsiteY55" fmla="*/ 3558540 h 3680460"/>
                  <a:gd name="connsiteX56" fmla="*/ 45720 w 3017559"/>
                  <a:gd name="connsiteY56" fmla="*/ 3436620 h 3680460"/>
                  <a:gd name="connsiteX57" fmla="*/ 0 w 3017559"/>
                  <a:gd name="connsiteY57" fmla="*/ 3352800 h 3680460"/>
                  <a:gd name="connsiteX58" fmla="*/ 30480 w 3017559"/>
                  <a:gd name="connsiteY58" fmla="*/ 3345180 h 3680460"/>
                  <a:gd name="connsiteX59" fmla="*/ 137160 w 3017559"/>
                  <a:gd name="connsiteY59" fmla="*/ 3360420 h 3680460"/>
                  <a:gd name="connsiteX60" fmla="*/ 167640 w 3017559"/>
                  <a:gd name="connsiteY60" fmla="*/ 3390900 h 3680460"/>
                  <a:gd name="connsiteX61" fmla="*/ 198120 w 3017559"/>
                  <a:gd name="connsiteY61" fmla="*/ 3406140 h 3680460"/>
                  <a:gd name="connsiteX62" fmla="*/ 350520 w 3017559"/>
                  <a:gd name="connsiteY62" fmla="*/ 3436620 h 3680460"/>
                  <a:gd name="connsiteX63" fmla="*/ 381000 w 3017559"/>
                  <a:gd name="connsiteY63" fmla="*/ 3451860 h 3680460"/>
                  <a:gd name="connsiteX64" fmla="*/ 449580 w 3017559"/>
                  <a:gd name="connsiteY64" fmla="*/ 3489960 h 3680460"/>
                  <a:gd name="connsiteX65" fmla="*/ 495300 w 3017559"/>
                  <a:gd name="connsiteY65" fmla="*/ 3520440 h 3680460"/>
                  <a:gd name="connsiteX66" fmla="*/ 525780 w 3017559"/>
                  <a:gd name="connsiteY66" fmla="*/ 3535680 h 3680460"/>
                  <a:gd name="connsiteX67" fmla="*/ 731520 w 3017559"/>
                  <a:gd name="connsiteY67" fmla="*/ 3558540 h 3680460"/>
                  <a:gd name="connsiteX68" fmla="*/ 1341120 w 3017559"/>
                  <a:gd name="connsiteY68" fmla="*/ 3550920 h 3680460"/>
                  <a:gd name="connsiteX69" fmla="*/ 1440180 w 3017559"/>
                  <a:gd name="connsiteY69" fmla="*/ 3528060 h 3680460"/>
                  <a:gd name="connsiteX70" fmla="*/ 1539240 w 3017559"/>
                  <a:gd name="connsiteY70" fmla="*/ 3520440 h 3680460"/>
                  <a:gd name="connsiteX71" fmla="*/ 1562100 w 3017559"/>
                  <a:gd name="connsiteY71" fmla="*/ 3512820 h 3680460"/>
                  <a:gd name="connsiteX72" fmla="*/ 1630680 w 3017559"/>
                  <a:gd name="connsiteY72" fmla="*/ 3497580 h 3680460"/>
                  <a:gd name="connsiteX73" fmla="*/ 1699260 w 3017559"/>
                  <a:gd name="connsiteY73" fmla="*/ 3474720 h 3680460"/>
                  <a:gd name="connsiteX74" fmla="*/ 1790700 w 3017559"/>
                  <a:gd name="connsiteY74" fmla="*/ 3451860 h 3680460"/>
                  <a:gd name="connsiteX75" fmla="*/ 1821180 w 3017559"/>
                  <a:gd name="connsiteY75" fmla="*/ 3444240 h 3680460"/>
                  <a:gd name="connsiteX76" fmla="*/ 1844040 w 3017559"/>
                  <a:gd name="connsiteY76" fmla="*/ 3429000 h 3680460"/>
                  <a:gd name="connsiteX77" fmla="*/ 1874520 w 3017559"/>
                  <a:gd name="connsiteY77" fmla="*/ 3421380 h 3680460"/>
                  <a:gd name="connsiteX78" fmla="*/ 1927860 w 3017559"/>
                  <a:gd name="connsiteY78" fmla="*/ 3398520 h 3680460"/>
                  <a:gd name="connsiteX79" fmla="*/ 1950720 w 3017559"/>
                  <a:gd name="connsiteY79" fmla="*/ 3390900 h 3680460"/>
                  <a:gd name="connsiteX80" fmla="*/ 2004060 w 3017559"/>
                  <a:gd name="connsiteY80" fmla="*/ 3360420 h 3680460"/>
                  <a:gd name="connsiteX81" fmla="*/ 2042160 w 3017559"/>
                  <a:gd name="connsiteY81" fmla="*/ 3352800 h 3680460"/>
                  <a:gd name="connsiteX82" fmla="*/ 2080260 w 3017559"/>
                  <a:gd name="connsiteY82" fmla="*/ 3337560 h 3680460"/>
                  <a:gd name="connsiteX83" fmla="*/ 2156460 w 3017559"/>
                  <a:gd name="connsiteY83" fmla="*/ 3299460 h 3680460"/>
                  <a:gd name="connsiteX84" fmla="*/ 2179320 w 3017559"/>
                  <a:gd name="connsiteY84" fmla="*/ 3284220 h 3680460"/>
                  <a:gd name="connsiteX85" fmla="*/ 2209800 w 3017559"/>
                  <a:gd name="connsiteY85" fmla="*/ 3276600 h 3680460"/>
                  <a:gd name="connsiteX86" fmla="*/ 2263140 w 3017559"/>
                  <a:gd name="connsiteY86" fmla="*/ 3230880 h 3680460"/>
                  <a:gd name="connsiteX87" fmla="*/ 2346960 w 3017559"/>
                  <a:gd name="connsiteY87" fmla="*/ 3154680 h 3680460"/>
                  <a:gd name="connsiteX88" fmla="*/ 2400300 w 3017559"/>
                  <a:gd name="connsiteY88" fmla="*/ 3070860 h 3680460"/>
                  <a:gd name="connsiteX89" fmla="*/ 2415540 w 3017559"/>
                  <a:gd name="connsiteY89" fmla="*/ 3048000 h 3680460"/>
                  <a:gd name="connsiteX90" fmla="*/ 2446020 w 3017559"/>
                  <a:gd name="connsiteY90" fmla="*/ 3032760 h 3680460"/>
                  <a:gd name="connsiteX91" fmla="*/ 2468880 w 3017559"/>
                  <a:gd name="connsiteY91" fmla="*/ 3009900 h 3680460"/>
                  <a:gd name="connsiteX92" fmla="*/ 2537460 w 3017559"/>
                  <a:gd name="connsiteY92" fmla="*/ 2926080 h 3680460"/>
                  <a:gd name="connsiteX93" fmla="*/ 2575560 w 3017559"/>
                  <a:gd name="connsiteY93" fmla="*/ 2880360 h 3680460"/>
                  <a:gd name="connsiteX94" fmla="*/ 2628900 w 3017559"/>
                  <a:gd name="connsiteY94" fmla="*/ 2811780 h 3680460"/>
                  <a:gd name="connsiteX95" fmla="*/ 2644140 w 3017559"/>
                  <a:gd name="connsiteY95" fmla="*/ 2773680 h 3680460"/>
                  <a:gd name="connsiteX96" fmla="*/ 2674620 w 3017559"/>
                  <a:gd name="connsiteY96" fmla="*/ 2727960 h 3680460"/>
                  <a:gd name="connsiteX97" fmla="*/ 2689860 w 3017559"/>
                  <a:gd name="connsiteY97" fmla="*/ 2705100 h 3680460"/>
                  <a:gd name="connsiteX98" fmla="*/ 2705100 w 3017559"/>
                  <a:gd name="connsiteY98" fmla="*/ 2667000 h 3680460"/>
                  <a:gd name="connsiteX99" fmla="*/ 2727960 w 3017559"/>
                  <a:gd name="connsiteY99" fmla="*/ 2621280 h 3680460"/>
                  <a:gd name="connsiteX100" fmla="*/ 2735580 w 3017559"/>
                  <a:gd name="connsiteY100" fmla="*/ 2590800 h 3680460"/>
                  <a:gd name="connsiteX101" fmla="*/ 2758440 w 3017559"/>
                  <a:gd name="connsiteY101" fmla="*/ 2545080 h 3680460"/>
                  <a:gd name="connsiteX102" fmla="*/ 2788920 w 3017559"/>
                  <a:gd name="connsiteY102" fmla="*/ 2484120 h 3680460"/>
                  <a:gd name="connsiteX103" fmla="*/ 2811780 w 3017559"/>
                  <a:gd name="connsiteY103" fmla="*/ 2407920 h 3680460"/>
                  <a:gd name="connsiteX104" fmla="*/ 2842260 w 3017559"/>
                  <a:gd name="connsiteY104" fmla="*/ 2324100 h 3680460"/>
                  <a:gd name="connsiteX105" fmla="*/ 2857500 w 3017559"/>
                  <a:gd name="connsiteY105" fmla="*/ 2247900 h 3680460"/>
                  <a:gd name="connsiteX106" fmla="*/ 2872740 w 3017559"/>
                  <a:gd name="connsiteY106" fmla="*/ 2194560 h 3680460"/>
                  <a:gd name="connsiteX107" fmla="*/ 2887980 w 3017559"/>
                  <a:gd name="connsiteY107" fmla="*/ 2148840 h 3680460"/>
                  <a:gd name="connsiteX108" fmla="*/ 2910840 w 3017559"/>
                  <a:gd name="connsiteY108" fmla="*/ 2087880 h 3680460"/>
                  <a:gd name="connsiteX109" fmla="*/ 2918460 w 3017559"/>
                  <a:gd name="connsiteY109" fmla="*/ 2049780 h 3680460"/>
                  <a:gd name="connsiteX110" fmla="*/ 2933700 w 3017559"/>
                  <a:gd name="connsiteY110" fmla="*/ 1844040 h 3680460"/>
                  <a:gd name="connsiteX111" fmla="*/ 2918460 w 3017559"/>
                  <a:gd name="connsiteY111" fmla="*/ 1470660 h 3680460"/>
                  <a:gd name="connsiteX112" fmla="*/ 2895600 w 3017559"/>
                  <a:gd name="connsiteY112" fmla="*/ 1371600 h 3680460"/>
                  <a:gd name="connsiteX113" fmla="*/ 2880360 w 3017559"/>
                  <a:gd name="connsiteY113" fmla="*/ 1341120 h 3680460"/>
                  <a:gd name="connsiteX114" fmla="*/ 2857500 w 3017559"/>
                  <a:gd name="connsiteY114" fmla="*/ 1272540 h 3680460"/>
                  <a:gd name="connsiteX115" fmla="*/ 2849880 w 3017559"/>
                  <a:gd name="connsiteY115" fmla="*/ 1234440 h 3680460"/>
                  <a:gd name="connsiteX116" fmla="*/ 2827020 w 3017559"/>
                  <a:gd name="connsiteY116" fmla="*/ 1196340 h 3680460"/>
                  <a:gd name="connsiteX117" fmla="*/ 2811780 w 3017559"/>
                  <a:gd name="connsiteY117" fmla="*/ 1165860 h 3680460"/>
                  <a:gd name="connsiteX118" fmla="*/ 2781300 w 3017559"/>
                  <a:gd name="connsiteY118" fmla="*/ 1127760 h 3680460"/>
                  <a:gd name="connsiteX119" fmla="*/ 2766060 w 3017559"/>
                  <a:gd name="connsiteY119" fmla="*/ 1089660 h 3680460"/>
                  <a:gd name="connsiteX120" fmla="*/ 2735580 w 3017559"/>
                  <a:gd name="connsiteY120" fmla="*/ 1043940 h 3680460"/>
                  <a:gd name="connsiteX121" fmla="*/ 2727960 w 3017559"/>
                  <a:gd name="connsiteY121" fmla="*/ 1021080 h 3680460"/>
                  <a:gd name="connsiteX122" fmla="*/ 2682240 w 3017559"/>
                  <a:gd name="connsiteY122" fmla="*/ 937260 h 3680460"/>
                  <a:gd name="connsiteX123" fmla="*/ 2659380 w 3017559"/>
                  <a:gd name="connsiteY123" fmla="*/ 876300 h 3680460"/>
                  <a:gd name="connsiteX124" fmla="*/ 2644140 w 3017559"/>
                  <a:gd name="connsiteY124" fmla="*/ 845820 h 3680460"/>
                  <a:gd name="connsiteX125" fmla="*/ 2636520 w 3017559"/>
                  <a:gd name="connsiteY125" fmla="*/ 822960 h 3680460"/>
                  <a:gd name="connsiteX126" fmla="*/ 2621280 w 3017559"/>
                  <a:gd name="connsiteY126" fmla="*/ 800100 h 3680460"/>
                  <a:gd name="connsiteX127" fmla="*/ 2598420 w 3017559"/>
                  <a:gd name="connsiteY127" fmla="*/ 739140 h 3680460"/>
                  <a:gd name="connsiteX128" fmla="*/ 2458403 w 3017559"/>
                  <a:gd name="connsiteY128" fmla="*/ 621983 h 3680460"/>
                  <a:gd name="connsiteX129" fmla="*/ 2301240 w 3017559"/>
                  <a:gd name="connsiteY129" fmla="*/ 458152 h 3680460"/>
                  <a:gd name="connsiteX130" fmla="*/ 2237423 w 3017559"/>
                  <a:gd name="connsiteY130" fmla="*/ 406717 h 3680460"/>
                  <a:gd name="connsiteX131" fmla="*/ 2103120 w 3017559"/>
                  <a:gd name="connsiteY131" fmla="*/ 312420 h 3680460"/>
                  <a:gd name="connsiteX132" fmla="*/ 2042160 w 3017559"/>
                  <a:gd name="connsiteY132" fmla="*/ 266700 h 3680460"/>
                  <a:gd name="connsiteX133" fmla="*/ 2004060 w 3017559"/>
                  <a:gd name="connsiteY133" fmla="*/ 251460 h 3680460"/>
                  <a:gd name="connsiteX134" fmla="*/ 1958340 w 3017559"/>
                  <a:gd name="connsiteY134" fmla="*/ 220980 h 3680460"/>
                  <a:gd name="connsiteX135" fmla="*/ 1897380 w 3017559"/>
                  <a:gd name="connsiteY135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449580 w 3017559"/>
                  <a:gd name="connsiteY51" fmla="*/ 3672840 h 3680460"/>
                  <a:gd name="connsiteX52" fmla="*/ 388620 w 3017559"/>
                  <a:gd name="connsiteY52" fmla="*/ 3657600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578167 w 3017559"/>
                  <a:gd name="connsiteY51" fmla="*/ 3672840 h 3680460"/>
                  <a:gd name="connsiteX52" fmla="*/ 388620 w 3017559"/>
                  <a:gd name="connsiteY52" fmla="*/ 3657600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578167 w 3017559"/>
                  <a:gd name="connsiteY51" fmla="*/ 3672840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66700 w 3017559"/>
                  <a:gd name="connsiteY53" fmla="*/ 3604260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60020 w 3017559"/>
                  <a:gd name="connsiteY54" fmla="*/ 3558540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5720 w 3017559"/>
                  <a:gd name="connsiteY55" fmla="*/ 3436620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0958 w 3017559"/>
                  <a:gd name="connsiteY55" fmla="*/ 3422333 h 3680460"/>
                  <a:gd name="connsiteX56" fmla="*/ 0 w 3017559"/>
                  <a:gd name="connsiteY56" fmla="*/ 3352800 h 3680460"/>
                  <a:gd name="connsiteX57" fmla="*/ 30480 w 3017559"/>
                  <a:gd name="connsiteY57" fmla="*/ 3345180 h 3680460"/>
                  <a:gd name="connsiteX58" fmla="*/ 137160 w 3017559"/>
                  <a:gd name="connsiteY58" fmla="*/ 3360420 h 3680460"/>
                  <a:gd name="connsiteX59" fmla="*/ 167640 w 3017559"/>
                  <a:gd name="connsiteY59" fmla="*/ 3390900 h 3680460"/>
                  <a:gd name="connsiteX60" fmla="*/ 198120 w 3017559"/>
                  <a:gd name="connsiteY60" fmla="*/ 3406140 h 3680460"/>
                  <a:gd name="connsiteX61" fmla="*/ 350520 w 3017559"/>
                  <a:gd name="connsiteY61" fmla="*/ 3436620 h 3680460"/>
                  <a:gd name="connsiteX62" fmla="*/ 381000 w 3017559"/>
                  <a:gd name="connsiteY62" fmla="*/ 3451860 h 3680460"/>
                  <a:gd name="connsiteX63" fmla="*/ 449580 w 3017559"/>
                  <a:gd name="connsiteY63" fmla="*/ 3489960 h 3680460"/>
                  <a:gd name="connsiteX64" fmla="*/ 495300 w 3017559"/>
                  <a:gd name="connsiteY64" fmla="*/ 3520440 h 3680460"/>
                  <a:gd name="connsiteX65" fmla="*/ 525780 w 3017559"/>
                  <a:gd name="connsiteY65" fmla="*/ 3535680 h 3680460"/>
                  <a:gd name="connsiteX66" fmla="*/ 731520 w 3017559"/>
                  <a:gd name="connsiteY66" fmla="*/ 3558540 h 3680460"/>
                  <a:gd name="connsiteX67" fmla="*/ 1341120 w 3017559"/>
                  <a:gd name="connsiteY67" fmla="*/ 3550920 h 3680460"/>
                  <a:gd name="connsiteX68" fmla="*/ 1440180 w 3017559"/>
                  <a:gd name="connsiteY68" fmla="*/ 3528060 h 3680460"/>
                  <a:gd name="connsiteX69" fmla="*/ 1539240 w 3017559"/>
                  <a:gd name="connsiteY69" fmla="*/ 3520440 h 3680460"/>
                  <a:gd name="connsiteX70" fmla="*/ 1562100 w 3017559"/>
                  <a:gd name="connsiteY70" fmla="*/ 3512820 h 3680460"/>
                  <a:gd name="connsiteX71" fmla="*/ 1630680 w 3017559"/>
                  <a:gd name="connsiteY71" fmla="*/ 3497580 h 3680460"/>
                  <a:gd name="connsiteX72" fmla="*/ 1699260 w 3017559"/>
                  <a:gd name="connsiteY72" fmla="*/ 3474720 h 3680460"/>
                  <a:gd name="connsiteX73" fmla="*/ 1790700 w 3017559"/>
                  <a:gd name="connsiteY73" fmla="*/ 3451860 h 3680460"/>
                  <a:gd name="connsiteX74" fmla="*/ 1821180 w 3017559"/>
                  <a:gd name="connsiteY74" fmla="*/ 3444240 h 3680460"/>
                  <a:gd name="connsiteX75" fmla="*/ 1844040 w 3017559"/>
                  <a:gd name="connsiteY75" fmla="*/ 3429000 h 3680460"/>
                  <a:gd name="connsiteX76" fmla="*/ 1874520 w 3017559"/>
                  <a:gd name="connsiteY76" fmla="*/ 3421380 h 3680460"/>
                  <a:gd name="connsiteX77" fmla="*/ 1927860 w 3017559"/>
                  <a:gd name="connsiteY77" fmla="*/ 3398520 h 3680460"/>
                  <a:gd name="connsiteX78" fmla="*/ 1950720 w 3017559"/>
                  <a:gd name="connsiteY78" fmla="*/ 3390900 h 3680460"/>
                  <a:gd name="connsiteX79" fmla="*/ 2004060 w 3017559"/>
                  <a:gd name="connsiteY79" fmla="*/ 3360420 h 3680460"/>
                  <a:gd name="connsiteX80" fmla="*/ 2042160 w 3017559"/>
                  <a:gd name="connsiteY80" fmla="*/ 3352800 h 3680460"/>
                  <a:gd name="connsiteX81" fmla="*/ 2080260 w 3017559"/>
                  <a:gd name="connsiteY81" fmla="*/ 3337560 h 3680460"/>
                  <a:gd name="connsiteX82" fmla="*/ 2156460 w 3017559"/>
                  <a:gd name="connsiteY82" fmla="*/ 3299460 h 3680460"/>
                  <a:gd name="connsiteX83" fmla="*/ 2179320 w 3017559"/>
                  <a:gd name="connsiteY83" fmla="*/ 3284220 h 3680460"/>
                  <a:gd name="connsiteX84" fmla="*/ 2209800 w 3017559"/>
                  <a:gd name="connsiteY84" fmla="*/ 3276600 h 3680460"/>
                  <a:gd name="connsiteX85" fmla="*/ 2263140 w 3017559"/>
                  <a:gd name="connsiteY85" fmla="*/ 3230880 h 3680460"/>
                  <a:gd name="connsiteX86" fmla="*/ 2346960 w 3017559"/>
                  <a:gd name="connsiteY86" fmla="*/ 3154680 h 3680460"/>
                  <a:gd name="connsiteX87" fmla="*/ 2400300 w 3017559"/>
                  <a:gd name="connsiteY87" fmla="*/ 3070860 h 3680460"/>
                  <a:gd name="connsiteX88" fmla="*/ 2415540 w 3017559"/>
                  <a:gd name="connsiteY88" fmla="*/ 3048000 h 3680460"/>
                  <a:gd name="connsiteX89" fmla="*/ 2446020 w 3017559"/>
                  <a:gd name="connsiteY89" fmla="*/ 3032760 h 3680460"/>
                  <a:gd name="connsiteX90" fmla="*/ 2468880 w 3017559"/>
                  <a:gd name="connsiteY90" fmla="*/ 3009900 h 3680460"/>
                  <a:gd name="connsiteX91" fmla="*/ 2537460 w 3017559"/>
                  <a:gd name="connsiteY91" fmla="*/ 2926080 h 3680460"/>
                  <a:gd name="connsiteX92" fmla="*/ 2575560 w 3017559"/>
                  <a:gd name="connsiteY92" fmla="*/ 2880360 h 3680460"/>
                  <a:gd name="connsiteX93" fmla="*/ 2628900 w 3017559"/>
                  <a:gd name="connsiteY93" fmla="*/ 2811780 h 3680460"/>
                  <a:gd name="connsiteX94" fmla="*/ 2644140 w 3017559"/>
                  <a:gd name="connsiteY94" fmla="*/ 2773680 h 3680460"/>
                  <a:gd name="connsiteX95" fmla="*/ 2674620 w 3017559"/>
                  <a:gd name="connsiteY95" fmla="*/ 2727960 h 3680460"/>
                  <a:gd name="connsiteX96" fmla="*/ 2689860 w 3017559"/>
                  <a:gd name="connsiteY96" fmla="*/ 2705100 h 3680460"/>
                  <a:gd name="connsiteX97" fmla="*/ 2705100 w 3017559"/>
                  <a:gd name="connsiteY97" fmla="*/ 2667000 h 3680460"/>
                  <a:gd name="connsiteX98" fmla="*/ 2727960 w 3017559"/>
                  <a:gd name="connsiteY98" fmla="*/ 2621280 h 3680460"/>
                  <a:gd name="connsiteX99" fmla="*/ 2735580 w 3017559"/>
                  <a:gd name="connsiteY99" fmla="*/ 2590800 h 3680460"/>
                  <a:gd name="connsiteX100" fmla="*/ 2758440 w 3017559"/>
                  <a:gd name="connsiteY100" fmla="*/ 2545080 h 3680460"/>
                  <a:gd name="connsiteX101" fmla="*/ 2788920 w 3017559"/>
                  <a:gd name="connsiteY101" fmla="*/ 2484120 h 3680460"/>
                  <a:gd name="connsiteX102" fmla="*/ 2811780 w 3017559"/>
                  <a:gd name="connsiteY102" fmla="*/ 2407920 h 3680460"/>
                  <a:gd name="connsiteX103" fmla="*/ 2842260 w 3017559"/>
                  <a:gd name="connsiteY103" fmla="*/ 2324100 h 3680460"/>
                  <a:gd name="connsiteX104" fmla="*/ 2857500 w 3017559"/>
                  <a:gd name="connsiteY104" fmla="*/ 2247900 h 3680460"/>
                  <a:gd name="connsiteX105" fmla="*/ 2872740 w 3017559"/>
                  <a:gd name="connsiteY105" fmla="*/ 2194560 h 3680460"/>
                  <a:gd name="connsiteX106" fmla="*/ 2887980 w 3017559"/>
                  <a:gd name="connsiteY106" fmla="*/ 2148840 h 3680460"/>
                  <a:gd name="connsiteX107" fmla="*/ 2910840 w 3017559"/>
                  <a:gd name="connsiteY107" fmla="*/ 2087880 h 3680460"/>
                  <a:gd name="connsiteX108" fmla="*/ 2918460 w 3017559"/>
                  <a:gd name="connsiteY108" fmla="*/ 2049780 h 3680460"/>
                  <a:gd name="connsiteX109" fmla="*/ 2933700 w 3017559"/>
                  <a:gd name="connsiteY109" fmla="*/ 1844040 h 3680460"/>
                  <a:gd name="connsiteX110" fmla="*/ 2918460 w 3017559"/>
                  <a:gd name="connsiteY110" fmla="*/ 1470660 h 3680460"/>
                  <a:gd name="connsiteX111" fmla="*/ 2895600 w 3017559"/>
                  <a:gd name="connsiteY111" fmla="*/ 1371600 h 3680460"/>
                  <a:gd name="connsiteX112" fmla="*/ 2880360 w 3017559"/>
                  <a:gd name="connsiteY112" fmla="*/ 1341120 h 3680460"/>
                  <a:gd name="connsiteX113" fmla="*/ 2857500 w 3017559"/>
                  <a:gd name="connsiteY113" fmla="*/ 1272540 h 3680460"/>
                  <a:gd name="connsiteX114" fmla="*/ 2849880 w 3017559"/>
                  <a:gd name="connsiteY114" fmla="*/ 1234440 h 3680460"/>
                  <a:gd name="connsiteX115" fmla="*/ 2827020 w 3017559"/>
                  <a:gd name="connsiteY115" fmla="*/ 1196340 h 3680460"/>
                  <a:gd name="connsiteX116" fmla="*/ 2811780 w 3017559"/>
                  <a:gd name="connsiteY116" fmla="*/ 1165860 h 3680460"/>
                  <a:gd name="connsiteX117" fmla="*/ 2781300 w 3017559"/>
                  <a:gd name="connsiteY117" fmla="*/ 1127760 h 3680460"/>
                  <a:gd name="connsiteX118" fmla="*/ 2766060 w 3017559"/>
                  <a:gd name="connsiteY118" fmla="*/ 1089660 h 3680460"/>
                  <a:gd name="connsiteX119" fmla="*/ 2735580 w 3017559"/>
                  <a:gd name="connsiteY119" fmla="*/ 1043940 h 3680460"/>
                  <a:gd name="connsiteX120" fmla="*/ 2727960 w 3017559"/>
                  <a:gd name="connsiteY120" fmla="*/ 1021080 h 3680460"/>
                  <a:gd name="connsiteX121" fmla="*/ 2682240 w 3017559"/>
                  <a:gd name="connsiteY121" fmla="*/ 937260 h 3680460"/>
                  <a:gd name="connsiteX122" fmla="*/ 2659380 w 3017559"/>
                  <a:gd name="connsiteY122" fmla="*/ 876300 h 3680460"/>
                  <a:gd name="connsiteX123" fmla="*/ 2644140 w 3017559"/>
                  <a:gd name="connsiteY123" fmla="*/ 845820 h 3680460"/>
                  <a:gd name="connsiteX124" fmla="*/ 2636520 w 3017559"/>
                  <a:gd name="connsiteY124" fmla="*/ 822960 h 3680460"/>
                  <a:gd name="connsiteX125" fmla="*/ 2621280 w 3017559"/>
                  <a:gd name="connsiteY125" fmla="*/ 800100 h 3680460"/>
                  <a:gd name="connsiteX126" fmla="*/ 2598420 w 3017559"/>
                  <a:gd name="connsiteY126" fmla="*/ 739140 h 3680460"/>
                  <a:gd name="connsiteX127" fmla="*/ 2458403 w 3017559"/>
                  <a:gd name="connsiteY127" fmla="*/ 621983 h 3680460"/>
                  <a:gd name="connsiteX128" fmla="*/ 2301240 w 3017559"/>
                  <a:gd name="connsiteY128" fmla="*/ 458152 h 3680460"/>
                  <a:gd name="connsiteX129" fmla="*/ 2237423 w 3017559"/>
                  <a:gd name="connsiteY129" fmla="*/ 406717 h 3680460"/>
                  <a:gd name="connsiteX130" fmla="*/ 2103120 w 3017559"/>
                  <a:gd name="connsiteY130" fmla="*/ 312420 h 3680460"/>
                  <a:gd name="connsiteX131" fmla="*/ 2042160 w 3017559"/>
                  <a:gd name="connsiteY131" fmla="*/ 266700 h 3680460"/>
                  <a:gd name="connsiteX132" fmla="*/ 2004060 w 3017559"/>
                  <a:gd name="connsiteY132" fmla="*/ 251460 h 3680460"/>
                  <a:gd name="connsiteX133" fmla="*/ 1958340 w 3017559"/>
                  <a:gd name="connsiteY133" fmla="*/ 220980 h 3680460"/>
                  <a:gd name="connsiteX134" fmla="*/ 1897380 w 3017559"/>
                  <a:gd name="connsiteY134" fmla="*/ 182880 h 3680460"/>
                  <a:gd name="connsiteX0" fmla="*/ 1897380 w 3017559"/>
                  <a:gd name="connsiteY0" fmla="*/ 182880 h 3680460"/>
                  <a:gd name="connsiteX1" fmla="*/ 1859280 w 3017559"/>
                  <a:gd name="connsiteY1" fmla="*/ 160020 h 3680460"/>
                  <a:gd name="connsiteX2" fmla="*/ 1844040 w 3017559"/>
                  <a:gd name="connsiteY2" fmla="*/ 137160 h 3680460"/>
                  <a:gd name="connsiteX3" fmla="*/ 1821180 w 3017559"/>
                  <a:gd name="connsiteY3" fmla="*/ 121920 h 3680460"/>
                  <a:gd name="connsiteX4" fmla="*/ 1775460 w 3017559"/>
                  <a:gd name="connsiteY4" fmla="*/ 91440 h 3680460"/>
                  <a:gd name="connsiteX5" fmla="*/ 1760220 w 3017559"/>
                  <a:gd name="connsiteY5" fmla="*/ 68580 h 3680460"/>
                  <a:gd name="connsiteX6" fmla="*/ 1737360 w 3017559"/>
                  <a:gd name="connsiteY6" fmla="*/ 53340 h 3680460"/>
                  <a:gd name="connsiteX7" fmla="*/ 1729740 w 3017559"/>
                  <a:gd name="connsiteY7" fmla="*/ 16193 h 3680460"/>
                  <a:gd name="connsiteX8" fmla="*/ 1981200 w 3017559"/>
                  <a:gd name="connsiteY8" fmla="*/ 0 h 3680460"/>
                  <a:gd name="connsiteX9" fmla="*/ 2171700 w 3017559"/>
                  <a:gd name="connsiteY9" fmla="*/ 114300 h 3680460"/>
                  <a:gd name="connsiteX10" fmla="*/ 2286000 w 3017559"/>
                  <a:gd name="connsiteY10" fmla="*/ 190500 h 3680460"/>
                  <a:gd name="connsiteX11" fmla="*/ 2331720 w 3017559"/>
                  <a:gd name="connsiteY11" fmla="*/ 220980 h 3680460"/>
                  <a:gd name="connsiteX12" fmla="*/ 2385060 w 3017559"/>
                  <a:gd name="connsiteY12" fmla="*/ 266700 h 3680460"/>
                  <a:gd name="connsiteX13" fmla="*/ 2537460 w 3017559"/>
                  <a:gd name="connsiteY13" fmla="*/ 426720 h 3680460"/>
                  <a:gd name="connsiteX14" fmla="*/ 2552700 w 3017559"/>
                  <a:gd name="connsiteY14" fmla="*/ 449580 h 3680460"/>
                  <a:gd name="connsiteX15" fmla="*/ 2575560 w 3017559"/>
                  <a:gd name="connsiteY15" fmla="*/ 487680 h 3680460"/>
                  <a:gd name="connsiteX16" fmla="*/ 2621280 w 3017559"/>
                  <a:gd name="connsiteY16" fmla="*/ 548640 h 3680460"/>
                  <a:gd name="connsiteX17" fmla="*/ 2674620 w 3017559"/>
                  <a:gd name="connsiteY17" fmla="*/ 609600 h 3680460"/>
                  <a:gd name="connsiteX18" fmla="*/ 2727960 w 3017559"/>
                  <a:gd name="connsiteY18" fmla="*/ 678180 h 3680460"/>
                  <a:gd name="connsiteX19" fmla="*/ 2727960 w 3017559"/>
                  <a:gd name="connsiteY19" fmla="*/ 678180 h 3680460"/>
                  <a:gd name="connsiteX20" fmla="*/ 2766060 w 3017559"/>
                  <a:gd name="connsiteY20" fmla="*/ 754380 h 3680460"/>
                  <a:gd name="connsiteX21" fmla="*/ 2819400 w 3017559"/>
                  <a:gd name="connsiteY21" fmla="*/ 830580 h 3680460"/>
                  <a:gd name="connsiteX22" fmla="*/ 2918460 w 3017559"/>
                  <a:gd name="connsiteY22" fmla="*/ 1036320 h 3680460"/>
                  <a:gd name="connsiteX23" fmla="*/ 2933700 w 3017559"/>
                  <a:gd name="connsiteY23" fmla="*/ 1074420 h 3680460"/>
                  <a:gd name="connsiteX24" fmla="*/ 2964180 w 3017559"/>
                  <a:gd name="connsiteY24" fmla="*/ 1203960 h 3680460"/>
                  <a:gd name="connsiteX25" fmla="*/ 2979420 w 3017559"/>
                  <a:gd name="connsiteY25" fmla="*/ 1264920 h 3680460"/>
                  <a:gd name="connsiteX26" fmla="*/ 2994660 w 3017559"/>
                  <a:gd name="connsiteY26" fmla="*/ 1348740 h 3680460"/>
                  <a:gd name="connsiteX27" fmla="*/ 3009900 w 3017559"/>
                  <a:gd name="connsiteY27" fmla="*/ 1432560 h 3680460"/>
                  <a:gd name="connsiteX28" fmla="*/ 3017520 w 3017559"/>
                  <a:gd name="connsiteY28" fmla="*/ 1684020 h 3680460"/>
                  <a:gd name="connsiteX29" fmla="*/ 3012758 w 3017559"/>
                  <a:gd name="connsiteY29" fmla="*/ 1990725 h 3680460"/>
                  <a:gd name="connsiteX30" fmla="*/ 2979420 w 3017559"/>
                  <a:gd name="connsiteY30" fmla="*/ 2194560 h 3680460"/>
                  <a:gd name="connsiteX31" fmla="*/ 2941320 w 3017559"/>
                  <a:gd name="connsiteY31" fmla="*/ 2324100 h 3680460"/>
                  <a:gd name="connsiteX32" fmla="*/ 2926080 w 3017559"/>
                  <a:gd name="connsiteY32" fmla="*/ 2392680 h 3680460"/>
                  <a:gd name="connsiteX33" fmla="*/ 2877503 w 3017559"/>
                  <a:gd name="connsiteY33" fmla="*/ 2521267 h 3680460"/>
                  <a:gd name="connsiteX34" fmla="*/ 2810828 w 3017559"/>
                  <a:gd name="connsiteY34" fmla="*/ 2656523 h 3680460"/>
                  <a:gd name="connsiteX35" fmla="*/ 2728912 w 3017559"/>
                  <a:gd name="connsiteY35" fmla="*/ 2818447 h 3680460"/>
                  <a:gd name="connsiteX36" fmla="*/ 2505075 w 3017559"/>
                  <a:gd name="connsiteY36" fmla="*/ 3084195 h 3680460"/>
                  <a:gd name="connsiteX37" fmla="*/ 2406015 w 3017559"/>
                  <a:gd name="connsiteY37" fmla="*/ 3185160 h 3680460"/>
                  <a:gd name="connsiteX38" fmla="*/ 2293620 w 3017559"/>
                  <a:gd name="connsiteY38" fmla="*/ 3284220 h 3680460"/>
                  <a:gd name="connsiteX39" fmla="*/ 2141220 w 3017559"/>
                  <a:gd name="connsiteY39" fmla="*/ 3390900 h 3680460"/>
                  <a:gd name="connsiteX40" fmla="*/ 2009775 w 3017559"/>
                  <a:gd name="connsiteY40" fmla="*/ 3448050 h 3680460"/>
                  <a:gd name="connsiteX41" fmla="*/ 1874520 w 3017559"/>
                  <a:gd name="connsiteY41" fmla="*/ 3512820 h 3680460"/>
                  <a:gd name="connsiteX42" fmla="*/ 1828800 w 3017559"/>
                  <a:gd name="connsiteY42" fmla="*/ 3520440 h 3680460"/>
                  <a:gd name="connsiteX43" fmla="*/ 1722120 w 3017559"/>
                  <a:gd name="connsiteY43" fmla="*/ 3550920 h 3680460"/>
                  <a:gd name="connsiteX44" fmla="*/ 1600200 w 3017559"/>
                  <a:gd name="connsiteY44" fmla="*/ 3589020 h 3680460"/>
                  <a:gd name="connsiteX45" fmla="*/ 1569720 w 3017559"/>
                  <a:gd name="connsiteY45" fmla="*/ 3596640 h 3680460"/>
                  <a:gd name="connsiteX46" fmla="*/ 1546860 w 3017559"/>
                  <a:gd name="connsiteY46" fmla="*/ 3611880 h 3680460"/>
                  <a:gd name="connsiteX47" fmla="*/ 1463040 w 3017559"/>
                  <a:gd name="connsiteY47" fmla="*/ 3627120 h 3680460"/>
                  <a:gd name="connsiteX48" fmla="*/ 1333500 w 3017559"/>
                  <a:gd name="connsiteY48" fmla="*/ 3657600 h 3680460"/>
                  <a:gd name="connsiteX49" fmla="*/ 1203960 w 3017559"/>
                  <a:gd name="connsiteY49" fmla="*/ 3672840 h 3680460"/>
                  <a:gd name="connsiteX50" fmla="*/ 1165860 w 3017559"/>
                  <a:gd name="connsiteY50" fmla="*/ 3680460 h 3680460"/>
                  <a:gd name="connsiteX51" fmla="*/ 635317 w 3017559"/>
                  <a:gd name="connsiteY51" fmla="*/ 3668078 h 3680460"/>
                  <a:gd name="connsiteX52" fmla="*/ 412433 w 3017559"/>
                  <a:gd name="connsiteY52" fmla="*/ 3614738 h 3680460"/>
                  <a:gd name="connsiteX53" fmla="*/ 276225 w 3017559"/>
                  <a:gd name="connsiteY53" fmla="*/ 3570922 h 3680460"/>
                  <a:gd name="connsiteX54" fmla="*/ 174307 w 3017559"/>
                  <a:gd name="connsiteY54" fmla="*/ 3515678 h 3680460"/>
                  <a:gd name="connsiteX55" fmla="*/ 40958 w 3017559"/>
                  <a:gd name="connsiteY55" fmla="*/ 3422333 h 3680460"/>
                  <a:gd name="connsiteX56" fmla="*/ 0 w 3017559"/>
                  <a:gd name="connsiteY56" fmla="*/ 3352800 h 3680460"/>
                  <a:gd name="connsiteX57" fmla="*/ 137160 w 3017559"/>
                  <a:gd name="connsiteY57" fmla="*/ 3360420 h 3680460"/>
                  <a:gd name="connsiteX58" fmla="*/ 167640 w 3017559"/>
                  <a:gd name="connsiteY58" fmla="*/ 3390900 h 3680460"/>
                  <a:gd name="connsiteX59" fmla="*/ 198120 w 3017559"/>
                  <a:gd name="connsiteY59" fmla="*/ 3406140 h 3680460"/>
                  <a:gd name="connsiteX60" fmla="*/ 350520 w 3017559"/>
                  <a:gd name="connsiteY60" fmla="*/ 3436620 h 3680460"/>
                  <a:gd name="connsiteX61" fmla="*/ 381000 w 3017559"/>
                  <a:gd name="connsiteY61" fmla="*/ 3451860 h 3680460"/>
                  <a:gd name="connsiteX62" fmla="*/ 449580 w 3017559"/>
                  <a:gd name="connsiteY62" fmla="*/ 3489960 h 3680460"/>
                  <a:gd name="connsiteX63" fmla="*/ 495300 w 3017559"/>
                  <a:gd name="connsiteY63" fmla="*/ 3520440 h 3680460"/>
                  <a:gd name="connsiteX64" fmla="*/ 525780 w 3017559"/>
                  <a:gd name="connsiteY64" fmla="*/ 3535680 h 3680460"/>
                  <a:gd name="connsiteX65" fmla="*/ 731520 w 3017559"/>
                  <a:gd name="connsiteY65" fmla="*/ 3558540 h 3680460"/>
                  <a:gd name="connsiteX66" fmla="*/ 1341120 w 3017559"/>
                  <a:gd name="connsiteY66" fmla="*/ 3550920 h 3680460"/>
                  <a:gd name="connsiteX67" fmla="*/ 1440180 w 3017559"/>
                  <a:gd name="connsiteY67" fmla="*/ 3528060 h 3680460"/>
                  <a:gd name="connsiteX68" fmla="*/ 1539240 w 3017559"/>
                  <a:gd name="connsiteY68" fmla="*/ 3520440 h 3680460"/>
                  <a:gd name="connsiteX69" fmla="*/ 1562100 w 3017559"/>
                  <a:gd name="connsiteY69" fmla="*/ 3512820 h 3680460"/>
                  <a:gd name="connsiteX70" fmla="*/ 1630680 w 3017559"/>
                  <a:gd name="connsiteY70" fmla="*/ 3497580 h 3680460"/>
                  <a:gd name="connsiteX71" fmla="*/ 1699260 w 3017559"/>
                  <a:gd name="connsiteY71" fmla="*/ 3474720 h 3680460"/>
                  <a:gd name="connsiteX72" fmla="*/ 1790700 w 3017559"/>
                  <a:gd name="connsiteY72" fmla="*/ 3451860 h 3680460"/>
                  <a:gd name="connsiteX73" fmla="*/ 1821180 w 3017559"/>
                  <a:gd name="connsiteY73" fmla="*/ 3444240 h 3680460"/>
                  <a:gd name="connsiteX74" fmla="*/ 1844040 w 3017559"/>
                  <a:gd name="connsiteY74" fmla="*/ 3429000 h 3680460"/>
                  <a:gd name="connsiteX75" fmla="*/ 1874520 w 3017559"/>
                  <a:gd name="connsiteY75" fmla="*/ 3421380 h 3680460"/>
                  <a:gd name="connsiteX76" fmla="*/ 1927860 w 3017559"/>
                  <a:gd name="connsiteY76" fmla="*/ 3398520 h 3680460"/>
                  <a:gd name="connsiteX77" fmla="*/ 1950720 w 3017559"/>
                  <a:gd name="connsiteY77" fmla="*/ 3390900 h 3680460"/>
                  <a:gd name="connsiteX78" fmla="*/ 2004060 w 3017559"/>
                  <a:gd name="connsiteY78" fmla="*/ 3360420 h 3680460"/>
                  <a:gd name="connsiteX79" fmla="*/ 2042160 w 3017559"/>
                  <a:gd name="connsiteY79" fmla="*/ 3352800 h 3680460"/>
                  <a:gd name="connsiteX80" fmla="*/ 2080260 w 3017559"/>
                  <a:gd name="connsiteY80" fmla="*/ 3337560 h 3680460"/>
                  <a:gd name="connsiteX81" fmla="*/ 2156460 w 3017559"/>
                  <a:gd name="connsiteY81" fmla="*/ 3299460 h 3680460"/>
                  <a:gd name="connsiteX82" fmla="*/ 2179320 w 3017559"/>
                  <a:gd name="connsiteY82" fmla="*/ 3284220 h 3680460"/>
                  <a:gd name="connsiteX83" fmla="*/ 2209800 w 3017559"/>
                  <a:gd name="connsiteY83" fmla="*/ 3276600 h 3680460"/>
                  <a:gd name="connsiteX84" fmla="*/ 2263140 w 3017559"/>
                  <a:gd name="connsiteY84" fmla="*/ 3230880 h 3680460"/>
                  <a:gd name="connsiteX85" fmla="*/ 2346960 w 3017559"/>
                  <a:gd name="connsiteY85" fmla="*/ 3154680 h 3680460"/>
                  <a:gd name="connsiteX86" fmla="*/ 2400300 w 3017559"/>
                  <a:gd name="connsiteY86" fmla="*/ 3070860 h 3680460"/>
                  <a:gd name="connsiteX87" fmla="*/ 2415540 w 3017559"/>
                  <a:gd name="connsiteY87" fmla="*/ 3048000 h 3680460"/>
                  <a:gd name="connsiteX88" fmla="*/ 2446020 w 3017559"/>
                  <a:gd name="connsiteY88" fmla="*/ 3032760 h 3680460"/>
                  <a:gd name="connsiteX89" fmla="*/ 2468880 w 3017559"/>
                  <a:gd name="connsiteY89" fmla="*/ 3009900 h 3680460"/>
                  <a:gd name="connsiteX90" fmla="*/ 2537460 w 3017559"/>
                  <a:gd name="connsiteY90" fmla="*/ 2926080 h 3680460"/>
                  <a:gd name="connsiteX91" fmla="*/ 2575560 w 3017559"/>
                  <a:gd name="connsiteY91" fmla="*/ 2880360 h 3680460"/>
                  <a:gd name="connsiteX92" fmla="*/ 2628900 w 3017559"/>
                  <a:gd name="connsiteY92" fmla="*/ 2811780 h 3680460"/>
                  <a:gd name="connsiteX93" fmla="*/ 2644140 w 3017559"/>
                  <a:gd name="connsiteY93" fmla="*/ 2773680 h 3680460"/>
                  <a:gd name="connsiteX94" fmla="*/ 2674620 w 3017559"/>
                  <a:gd name="connsiteY94" fmla="*/ 2727960 h 3680460"/>
                  <a:gd name="connsiteX95" fmla="*/ 2689860 w 3017559"/>
                  <a:gd name="connsiteY95" fmla="*/ 2705100 h 3680460"/>
                  <a:gd name="connsiteX96" fmla="*/ 2705100 w 3017559"/>
                  <a:gd name="connsiteY96" fmla="*/ 2667000 h 3680460"/>
                  <a:gd name="connsiteX97" fmla="*/ 2727960 w 3017559"/>
                  <a:gd name="connsiteY97" fmla="*/ 2621280 h 3680460"/>
                  <a:gd name="connsiteX98" fmla="*/ 2735580 w 3017559"/>
                  <a:gd name="connsiteY98" fmla="*/ 2590800 h 3680460"/>
                  <a:gd name="connsiteX99" fmla="*/ 2758440 w 3017559"/>
                  <a:gd name="connsiteY99" fmla="*/ 2545080 h 3680460"/>
                  <a:gd name="connsiteX100" fmla="*/ 2788920 w 3017559"/>
                  <a:gd name="connsiteY100" fmla="*/ 2484120 h 3680460"/>
                  <a:gd name="connsiteX101" fmla="*/ 2811780 w 3017559"/>
                  <a:gd name="connsiteY101" fmla="*/ 2407920 h 3680460"/>
                  <a:gd name="connsiteX102" fmla="*/ 2842260 w 3017559"/>
                  <a:gd name="connsiteY102" fmla="*/ 2324100 h 3680460"/>
                  <a:gd name="connsiteX103" fmla="*/ 2857500 w 3017559"/>
                  <a:gd name="connsiteY103" fmla="*/ 2247900 h 3680460"/>
                  <a:gd name="connsiteX104" fmla="*/ 2872740 w 3017559"/>
                  <a:gd name="connsiteY104" fmla="*/ 2194560 h 3680460"/>
                  <a:gd name="connsiteX105" fmla="*/ 2887980 w 3017559"/>
                  <a:gd name="connsiteY105" fmla="*/ 2148840 h 3680460"/>
                  <a:gd name="connsiteX106" fmla="*/ 2910840 w 3017559"/>
                  <a:gd name="connsiteY106" fmla="*/ 2087880 h 3680460"/>
                  <a:gd name="connsiteX107" fmla="*/ 2918460 w 3017559"/>
                  <a:gd name="connsiteY107" fmla="*/ 2049780 h 3680460"/>
                  <a:gd name="connsiteX108" fmla="*/ 2933700 w 3017559"/>
                  <a:gd name="connsiteY108" fmla="*/ 1844040 h 3680460"/>
                  <a:gd name="connsiteX109" fmla="*/ 2918460 w 3017559"/>
                  <a:gd name="connsiteY109" fmla="*/ 1470660 h 3680460"/>
                  <a:gd name="connsiteX110" fmla="*/ 2895600 w 3017559"/>
                  <a:gd name="connsiteY110" fmla="*/ 1371600 h 3680460"/>
                  <a:gd name="connsiteX111" fmla="*/ 2880360 w 3017559"/>
                  <a:gd name="connsiteY111" fmla="*/ 1341120 h 3680460"/>
                  <a:gd name="connsiteX112" fmla="*/ 2857500 w 3017559"/>
                  <a:gd name="connsiteY112" fmla="*/ 1272540 h 3680460"/>
                  <a:gd name="connsiteX113" fmla="*/ 2849880 w 3017559"/>
                  <a:gd name="connsiteY113" fmla="*/ 1234440 h 3680460"/>
                  <a:gd name="connsiteX114" fmla="*/ 2827020 w 3017559"/>
                  <a:gd name="connsiteY114" fmla="*/ 1196340 h 3680460"/>
                  <a:gd name="connsiteX115" fmla="*/ 2811780 w 3017559"/>
                  <a:gd name="connsiteY115" fmla="*/ 1165860 h 3680460"/>
                  <a:gd name="connsiteX116" fmla="*/ 2781300 w 3017559"/>
                  <a:gd name="connsiteY116" fmla="*/ 1127760 h 3680460"/>
                  <a:gd name="connsiteX117" fmla="*/ 2766060 w 3017559"/>
                  <a:gd name="connsiteY117" fmla="*/ 1089660 h 3680460"/>
                  <a:gd name="connsiteX118" fmla="*/ 2735580 w 3017559"/>
                  <a:gd name="connsiteY118" fmla="*/ 1043940 h 3680460"/>
                  <a:gd name="connsiteX119" fmla="*/ 2727960 w 3017559"/>
                  <a:gd name="connsiteY119" fmla="*/ 1021080 h 3680460"/>
                  <a:gd name="connsiteX120" fmla="*/ 2682240 w 3017559"/>
                  <a:gd name="connsiteY120" fmla="*/ 937260 h 3680460"/>
                  <a:gd name="connsiteX121" fmla="*/ 2659380 w 3017559"/>
                  <a:gd name="connsiteY121" fmla="*/ 876300 h 3680460"/>
                  <a:gd name="connsiteX122" fmla="*/ 2644140 w 3017559"/>
                  <a:gd name="connsiteY122" fmla="*/ 845820 h 3680460"/>
                  <a:gd name="connsiteX123" fmla="*/ 2636520 w 3017559"/>
                  <a:gd name="connsiteY123" fmla="*/ 822960 h 3680460"/>
                  <a:gd name="connsiteX124" fmla="*/ 2621280 w 3017559"/>
                  <a:gd name="connsiteY124" fmla="*/ 800100 h 3680460"/>
                  <a:gd name="connsiteX125" fmla="*/ 2598420 w 3017559"/>
                  <a:gd name="connsiteY125" fmla="*/ 739140 h 3680460"/>
                  <a:gd name="connsiteX126" fmla="*/ 2458403 w 3017559"/>
                  <a:gd name="connsiteY126" fmla="*/ 621983 h 3680460"/>
                  <a:gd name="connsiteX127" fmla="*/ 2301240 w 3017559"/>
                  <a:gd name="connsiteY127" fmla="*/ 458152 h 3680460"/>
                  <a:gd name="connsiteX128" fmla="*/ 2237423 w 3017559"/>
                  <a:gd name="connsiteY128" fmla="*/ 406717 h 3680460"/>
                  <a:gd name="connsiteX129" fmla="*/ 2103120 w 3017559"/>
                  <a:gd name="connsiteY129" fmla="*/ 312420 h 3680460"/>
                  <a:gd name="connsiteX130" fmla="*/ 2042160 w 3017559"/>
                  <a:gd name="connsiteY130" fmla="*/ 266700 h 3680460"/>
                  <a:gd name="connsiteX131" fmla="*/ 2004060 w 3017559"/>
                  <a:gd name="connsiteY131" fmla="*/ 251460 h 3680460"/>
                  <a:gd name="connsiteX132" fmla="*/ 1958340 w 3017559"/>
                  <a:gd name="connsiteY132" fmla="*/ 220980 h 3680460"/>
                  <a:gd name="connsiteX133" fmla="*/ 1897380 w 3017559"/>
                  <a:gd name="connsiteY13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188595 w 3008034"/>
                  <a:gd name="connsiteY59" fmla="*/ 3406140 h 3680460"/>
                  <a:gd name="connsiteX60" fmla="*/ 340995 w 3008034"/>
                  <a:gd name="connsiteY60" fmla="*/ 3436620 h 3680460"/>
                  <a:gd name="connsiteX61" fmla="*/ 371475 w 3008034"/>
                  <a:gd name="connsiteY61" fmla="*/ 3451860 h 3680460"/>
                  <a:gd name="connsiteX62" fmla="*/ 440055 w 3008034"/>
                  <a:gd name="connsiteY62" fmla="*/ 3489960 h 3680460"/>
                  <a:gd name="connsiteX63" fmla="*/ 485775 w 3008034"/>
                  <a:gd name="connsiteY63" fmla="*/ 3520440 h 3680460"/>
                  <a:gd name="connsiteX64" fmla="*/ 516255 w 3008034"/>
                  <a:gd name="connsiteY64" fmla="*/ 3535680 h 3680460"/>
                  <a:gd name="connsiteX65" fmla="*/ 721995 w 3008034"/>
                  <a:gd name="connsiteY65" fmla="*/ 3558540 h 3680460"/>
                  <a:gd name="connsiteX66" fmla="*/ 1331595 w 3008034"/>
                  <a:gd name="connsiteY66" fmla="*/ 3550920 h 3680460"/>
                  <a:gd name="connsiteX67" fmla="*/ 1430655 w 3008034"/>
                  <a:gd name="connsiteY67" fmla="*/ 3528060 h 3680460"/>
                  <a:gd name="connsiteX68" fmla="*/ 1529715 w 3008034"/>
                  <a:gd name="connsiteY68" fmla="*/ 3520440 h 3680460"/>
                  <a:gd name="connsiteX69" fmla="*/ 1552575 w 3008034"/>
                  <a:gd name="connsiteY69" fmla="*/ 3512820 h 3680460"/>
                  <a:gd name="connsiteX70" fmla="*/ 1621155 w 3008034"/>
                  <a:gd name="connsiteY70" fmla="*/ 3497580 h 3680460"/>
                  <a:gd name="connsiteX71" fmla="*/ 1689735 w 3008034"/>
                  <a:gd name="connsiteY71" fmla="*/ 3474720 h 3680460"/>
                  <a:gd name="connsiteX72" fmla="*/ 1781175 w 3008034"/>
                  <a:gd name="connsiteY72" fmla="*/ 3451860 h 3680460"/>
                  <a:gd name="connsiteX73" fmla="*/ 1811655 w 3008034"/>
                  <a:gd name="connsiteY73" fmla="*/ 3444240 h 3680460"/>
                  <a:gd name="connsiteX74" fmla="*/ 1834515 w 3008034"/>
                  <a:gd name="connsiteY74" fmla="*/ 3429000 h 3680460"/>
                  <a:gd name="connsiteX75" fmla="*/ 1864995 w 3008034"/>
                  <a:gd name="connsiteY75" fmla="*/ 3421380 h 3680460"/>
                  <a:gd name="connsiteX76" fmla="*/ 1918335 w 3008034"/>
                  <a:gd name="connsiteY76" fmla="*/ 3398520 h 3680460"/>
                  <a:gd name="connsiteX77" fmla="*/ 1941195 w 3008034"/>
                  <a:gd name="connsiteY77" fmla="*/ 3390900 h 3680460"/>
                  <a:gd name="connsiteX78" fmla="*/ 1994535 w 3008034"/>
                  <a:gd name="connsiteY78" fmla="*/ 3360420 h 3680460"/>
                  <a:gd name="connsiteX79" fmla="*/ 2032635 w 3008034"/>
                  <a:gd name="connsiteY79" fmla="*/ 3352800 h 3680460"/>
                  <a:gd name="connsiteX80" fmla="*/ 2070735 w 3008034"/>
                  <a:gd name="connsiteY80" fmla="*/ 3337560 h 3680460"/>
                  <a:gd name="connsiteX81" fmla="*/ 2146935 w 3008034"/>
                  <a:gd name="connsiteY81" fmla="*/ 3299460 h 3680460"/>
                  <a:gd name="connsiteX82" fmla="*/ 2169795 w 3008034"/>
                  <a:gd name="connsiteY82" fmla="*/ 3284220 h 3680460"/>
                  <a:gd name="connsiteX83" fmla="*/ 2200275 w 3008034"/>
                  <a:gd name="connsiteY83" fmla="*/ 3276600 h 3680460"/>
                  <a:gd name="connsiteX84" fmla="*/ 2253615 w 3008034"/>
                  <a:gd name="connsiteY84" fmla="*/ 3230880 h 3680460"/>
                  <a:gd name="connsiteX85" fmla="*/ 2337435 w 3008034"/>
                  <a:gd name="connsiteY85" fmla="*/ 3154680 h 3680460"/>
                  <a:gd name="connsiteX86" fmla="*/ 2390775 w 3008034"/>
                  <a:gd name="connsiteY86" fmla="*/ 3070860 h 3680460"/>
                  <a:gd name="connsiteX87" fmla="*/ 2406015 w 3008034"/>
                  <a:gd name="connsiteY87" fmla="*/ 3048000 h 3680460"/>
                  <a:gd name="connsiteX88" fmla="*/ 2436495 w 3008034"/>
                  <a:gd name="connsiteY88" fmla="*/ 3032760 h 3680460"/>
                  <a:gd name="connsiteX89" fmla="*/ 2459355 w 3008034"/>
                  <a:gd name="connsiteY89" fmla="*/ 3009900 h 3680460"/>
                  <a:gd name="connsiteX90" fmla="*/ 2527935 w 3008034"/>
                  <a:gd name="connsiteY90" fmla="*/ 2926080 h 3680460"/>
                  <a:gd name="connsiteX91" fmla="*/ 2566035 w 3008034"/>
                  <a:gd name="connsiteY91" fmla="*/ 2880360 h 3680460"/>
                  <a:gd name="connsiteX92" fmla="*/ 2619375 w 3008034"/>
                  <a:gd name="connsiteY92" fmla="*/ 2811780 h 3680460"/>
                  <a:gd name="connsiteX93" fmla="*/ 2634615 w 3008034"/>
                  <a:gd name="connsiteY93" fmla="*/ 2773680 h 3680460"/>
                  <a:gd name="connsiteX94" fmla="*/ 2665095 w 3008034"/>
                  <a:gd name="connsiteY94" fmla="*/ 2727960 h 3680460"/>
                  <a:gd name="connsiteX95" fmla="*/ 2680335 w 3008034"/>
                  <a:gd name="connsiteY95" fmla="*/ 2705100 h 3680460"/>
                  <a:gd name="connsiteX96" fmla="*/ 2695575 w 3008034"/>
                  <a:gd name="connsiteY96" fmla="*/ 2667000 h 3680460"/>
                  <a:gd name="connsiteX97" fmla="*/ 2718435 w 3008034"/>
                  <a:gd name="connsiteY97" fmla="*/ 2621280 h 3680460"/>
                  <a:gd name="connsiteX98" fmla="*/ 2726055 w 3008034"/>
                  <a:gd name="connsiteY98" fmla="*/ 2590800 h 3680460"/>
                  <a:gd name="connsiteX99" fmla="*/ 2748915 w 3008034"/>
                  <a:gd name="connsiteY99" fmla="*/ 2545080 h 3680460"/>
                  <a:gd name="connsiteX100" fmla="*/ 2779395 w 3008034"/>
                  <a:gd name="connsiteY100" fmla="*/ 2484120 h 3680460"/>
                  <a:gd name="connsiteX101" fmla="*/ 2802255 w 3008034"/>
                  <a:gd name="connsiteY101" fmla="*/ 2407920 h 3680460"/>
                  <a:gd name="connsiteX102" fmla="*/ 2832735 w 3008034"/>
                  <a:gd name="connsiteY102" fmla="*/ 2324100 h 3680460"/>
                  <a:gd name="connsiteX103" fmla="*/ 2847975 w 3008034"/>
                  <a:gd name="connsiteY103" fmla="*/ 2247900 h 3680460"/>
                  <a:gd name="connsiteX104" fmla="*/ 2863215 w 3008034"/>
                  <a:gd name="connsiteY104" fmla="*/ 2194560 h 3680460"/>
                  <a:gd name="connsiteX105" fmla="*/ 2878455 w 3008034"/>
                  <a:gd name="connsiteY105" fmla="*/ 2148840 h 3680460"/>
                  <a:gd name="connsiteX106" fmla="*/ 2901315 w 3008034"/>
                  <a:gd name="connsiteY106" fmla="*/ 2087880 h 3680460"/>
                  <a:gd name="connsiteX107" fmla="*/ 2908935 w 3008034"/>
                  <a:gd name="connsiteY107" fmla="*/ 2049780 h 3680460"/>
                  <a:gd name="connsiteX108" fmla="*/ 2924175 w 3008034"/>
                  <a:gd name="connsiteY108" fmla="*/ 1844040 h 3680460"/>
                  <a:gd name="connsiteX109" fmla="*/ 2908935 w 3008034"/>
                  <a:gd name="connsiteY109" fmla="*/ 1470660 h 3680460"/>
                  <a:gd name="connsiteX110" fmla="*/ 2886075 w 3008034"/>
                  <a:gd name="connsiteY110" fmla="*/ 1371600 h 3680460"/>
                  <a:gd name="connsiteX111" fmla="*/ 2870835 w 3008034"/>
                  <a:gd name="connsiteY111" fmla="*/ 1341120 h 3680460"/>
                  <a:gd name="connsiteX112" fmla="*/ 2847975 w 3008034"/>
                  <a:gd name="connsiteY112" fmla="*/ 1272540 h 3680460"/>
                  <a:gd name="connsiteX113" fmla="*/ 2840355 w 3008034"/>
                  <a:gd name="connsiteY113" fmla="*/ 1234440 h 3680460"/>
                  <a:gd name="connsiteX114" fmla="*/ 2817495 w 3008034"/>
                  <a:gd name="connsiteY114" fmla="*/ 1196340 h 3680460"/>
                  <a:gd name="connsiteX115" fmla="*/ 2802255 w 3008034"/>
                  <a:gd name="connsiteY115" fmla="*/ 1165860 h 3680460"/>
                  <a:gd name="connsiteX116" fmla="*/ 2771775 w 3008034"/>
                  <a:gd name="connsiteY116" fmla="*/ 1127760 h 3680460"/>
                  <a:gd name="connsiteX117" fmla="*/ 2756535 w 3008034"/>
                  <a:gd name="connsiteY117" fmla="*/ 1089660 h 3680460"/>
                  <a:gd name="connsiteX118" fmla="*/ 2726055 w 3008034"/>
                  <a:gd name="connsiteY118" fmla="*/ 1043940 h 3680460"/>
                  <a:gd name="connsiteX119" fmla="*/ 2718435 w 3008034"/>
                  <a:gd name="connsiteY119" fmla="*/ 1021080 h 3680460"/>
                  <a:gd name="connsiteX120" fmla="*/ 2672715 w 3008034"/>
                  <a:gd name="connsiteY120" fmla="*/ 937260 h 3680460"/>
                  <a:gd name="connsiteX121" fmla="*/ 2649855 w 3008034"/>
                  <a:gd name="connsiteY121" fmla="*/ 876300 h 3680460"/>
                  <a:gd name="connsiteX122" fmla="*/ 2634615 w 3008034"/>
                  <a:gd name="connsiteY122" fmla="*/ 845820 h 3680460"/>
                  <a:gd name="connsiteX123" fmla="*/ 2626995 w 3008034"/>
                  <a:gd name="connsiteY123" fmla="*/ 822960 h 3680460"/>
                  <a:gd name="connsiteX124" fmla="*/ 2611755 w 3008034"/>
                  <a:gd name="connsiteY124" fmla="*/ 800100 h 3680460"/>
                  <a:gd name="connsiteX125" fmla="*/ 2588895 w 3008034"/>
                  <a:gd name="connsiteY125" fmla="*/ 739140 h 3680460"/>
                  <a:gd name="connsiteX126" fmla="*/ 2448878 w 3008034"/>
                  <a:gd name="connsiteY126" fmla="*/ 621983 h 3680460"/>
                  <a:gd name="connsiteX127" fmla="*/ 2291715 w 3008034"/>
                  <a:gd name="connsiteY127" fmla="*/ 458152 h 3680460"/>
                  <a:gd name="connsiteX128" fmla="*/ 2227898 w 3008034"/>
                  <a:gd name="connsiteY128" fmla="*/ 406717 h 3680460"/>
                  <a:gd name="connsiteX129" fmla="*/ 2093595 w 3008034"/>
                  <a:gd name="connsiteY129" fmla="*/ 312420 h 3680460"/>
                  <a:gd name="connsiteX130" fmla="*/ 2032635 w 3008034"/>
                  <a:gd name="connsiteY130" fmla="*/ 266700 h 3680460"/>
                  <a:gd name="connsiteX131" fmla="*/ 1994535 w 3008034"/>
                  <a:gd name="connsiteY131" fmla="*/ 251460 h 3680460"/>
                  <a:gd name="connsiteX132" fmla="*/ 1948815 w 3008034"/>
                  <a:gd name="connsiteY132" fmla="*/ 220980 h 3680460"/>
                  <a:gd name="connsiteX133" fmla="*/ 1887855 w 3008034"/>
                  <a:gd name="connsiteY13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40995 w 3008034"/>
                  <a:gd name="connsiteY59" fmla="*/ 3436620 h 3680460"/>
                  <a:gd name="connsiteX60" fmla="*/ 371475 w 3008034"/>
                  <a:gd name="connsiteY60" fmla="*/ 3451860 h 3680460"/>
                  <a:gd name="connsiteX61" fmla="*/ 440055 w 3008034"/>
                  <a:gd name="connsiteY61" fmla="*/ 3489960 h 3680460"/>
                  <a:gd name="connsiteX62" fmla="*/ 485775 w 3008034"/>
                  <a:gd name="connsiteY62" fmla="*/ 3520440 h 3680460"/>
                  <a:gd name="connsiteX63" fmla="*/ 516255 w 3008034"/>
                  <a:gd name="connsiteY63" fmla="*/ 3535680 h 3680460"/>
                  <a:gd name="connsiteX64" fmla="*/ 721995 w 3008034"/>
                  <a:gd name="connsiteY64" fmla="*/ 3558540 h 3680460"/>
                  <a:gd name="connsiteX65" fmla="*/ 1331595 w 3008034"/>
                  <a:gd name="connsiteY65" fmla="*/ 3550920 h 3680460"/>
                  <a:gd name="connsiteX66" fmla="*/ 1430655 w 3008034"/>
                  <a:gd name="connsiteY66" fmla="*/ 3528060 h 3680460"/>
                  <a:gd name="connsiteX67" fmla="*/ 1529715 w 3008034"/>
                  <a:gd name="connsiteY67" fmla="*/ 3520440 h 3680460"/>
                  <a:gd name="connsiteX68" fmla="*/ 1552575 w 3008034"/>
                  <a:gd name="connsiteY68" fmla="*/ 3512820 h 3680460"/>
                  <a:gd name="connsiteX69" fmla="*/ 1621155 w 3008034"/>
                  <a:gd name="connsiteY69" fmla="*/ 3497580 h 3680460"/>
                  <a:gd name="connsiteX70" fmla="*/ 1689735 w 3008034"/>
                  <a:gd name="connsiteY70" fmla="*/ 3474720 h 3680460"/>
                  <a:gd name="connsiteX71" fmla="*/ 1781175 w 3008034"/>
                  <a:gd name="connsiteY71" fmla="*/ 3451860 h 3680460"/>
                  <a:gd name="connsiteX72" fmla="*/ 1811655 w 3008034"/>
                  <a:gd name="connsiteY72" fmla="*/ 3444240 h 3680460"/>
                  <a:gd name="connsiteX73" fmla="*/ 1834515 w 3008034"/>
                  <a:gd name="connsiteY73" fmla="*/ 3429000 h 3680460"/>
                  <a:gd name="connsiteX74" fmla="*/ 1864995 w 3008034"/>
                  <a:gd name="connsiteY74" fmla="*/ 3421380 h 3680460"/>
                  <a:gd name="connsiteX75" fmla="*/ 1918335 w 3008034"/>
                  <a:gd name="connsiteY75" fmla="*/ 3398520 h 3680460"/>
                  <a:gd name="connsiteX76" fmla="*/ 1941195 w 3008034"/>
                  <a:gd name="connsiteY76" fmla="*/ 3390900 h 3680460"/>
                  <a:gd name="connsiteX77" fmla="*/ 1994535 w 3008034"/>
                  <a:gd name="connsiteY77" fmla="*/ 3360420 h 3680460"/>
                  <a:gd name="connsiteX78" fmla="*/ 2032635 w 3008034"/>
                  <a:gd name="connsiteY78" fmla="*/ 3352800 h 3680460"/>
                  <a:gd name="connsiteX79" fmla="*/ 2070735 w 3008034"/>
                  <a:gd name="connsiteY79" fmla="*/ 3337560 h 3680460"/>
                  <a:gd name="connsiteX80" fmla="*/ 2146935 w 3008034"/>
                  <a:gd name="connsiteY80" fmla="*/ 3299460 h 3680460"/>
                  <a:gd name="connsiteX81" fmla="*/ 2169795 w 3008034"/>
                  <a:gd name="connsiteY81" fmla="*/ 3284220 h 3680460"/>
                  <a:gd name="connsiteX82" fmla="*/ 2200275 w 3008034"/>
                  <a:gd name="connsiteY82" fmla="*/ 3276600 h 3680460"/>
                  <a:gd name="connsiteX83" fmla="*/ 2253615 w 3008034"/>
                  <a:gd name="connsiteY83" fmla="*/ 3230880 h 3680460"/>
                  <a:gd name="connsiteX84" fmla="*/ 2337435 w 3008034"/>
                  <a:gd name="connsiteY84" fmla="*/ 3154680 h 3680460"/>
                  <a:gd name="connsiteX85" fmla="*/ 2390775 w 3008034"/>
                  <a:gd name="connsiteY85" fmla="*/ 3070860 h 3680460"/>
                  <a:gd name="connsiteX86" fmla="*/ 2406015 w 3008034"/>
                  <a:gd name="connsiteY86" fmla="*/ 3048000 h 3680460"/>
                  <a:gd name="connsiteX87" fmla="*/ 2436495 w 3008034"/>
                  <a:gd name="connsiteY87" fmla="*/ 3032760 h 3680460"/>
                  <a:gd name="connsiteX88" fmla="*/ 2459355 w 3008034"/>
                  <a:gd name="connsiteY88" fmla="*/ 3009900 h 3680460"/>
                  <a:gd name="connsiteX89" fmla="*/ 2527935 w 3008034"/>
                  <a:gd name="connsiteY89" fmla="*/ 2926080 h 3680460"/>
                  <a:gd name="connsiteX90" fmla="*/ 2566035 w 3008034"/>
                  <a:gd name="connsiteY90" fmla="*/ 2880360 h 3680460"/>
                  <a:gd name="connsiteX91" fmla="*/ 2619375 w 3008034"/>
                  <a:gd name="connsiteY91" fmla="*/ 2811780 h 3680460"/>
                  <a:gd name="connsiteX92" fmla="*/ 2634615 w 3008034"/>
                  <a:gd name="connsiteY92" fmla="*/ 2773680 h 3680460"/>
                  <a:gd name="connsiteX93" fmla="*/ 2665095 w 3008034"/>
                  <a:gd name="connsiteY93" fmla="*/ 2727960 h 3680460"/>
                  <a:gd name="connsiteX94" fmla="*/ 2680335 w 3008034"/>
                  <a:gd name="connsiteY94" fmla="*/ 2705100 h 3680460"/>
                  <a:gd name="connsiteX95" fmla="*/ 2695575 w 3008034"/>
                  <a:gd name="connsiteY95" fmla="*/ 2667000 h 3680460"/>
                  <a:gd name="connsiteX96" fmla="*/ 2718435 w 3008034"/>
                  <a:gd name="connsiteY96" fmla="*/ 2621280 h 3680460"/>
                  <a:gd name="connsiteX97" fmla="*/ 2726055 w 3008034"/>
                  <a:gd name="connsiteY97" fmla="*/ 2590800 h 3680460"/>
                  <a:gd name="connsiteX98" fmla="*/ 2748915 w 3008034"/>
                  <a:gd name="connsiteY98" fmla="*/ 2545080 h 3680460"/>
                  <a:gd name="connsiteX99" fmla="*/ 2779395 w 3008034"/>
                  <a:gd name="connsiteY99" fmla="*/ 2484120 h 3680460"/>
                  <a:gd name="connsiteX100" fmla="*/ 2802255 w 3008034"/>
                  <a:gd name="connsiteY100" fmla="*/ 2407920 h 3680460"/>
                  <a:gd name="connsiteX101" fmla="*/ 2832735 w 3008034"/>
                  <a:gd name="connsiteY101" fmla="*/ 2324100 h 3680460"/>
                  <a:gd name="connsiteX102" fmla="*/ 2847975 w 3008034"/>
                  <a:gd name="connsiteY102" fmla="*/ 2247900 h 3680460"/>
                  <a:gd name="connsiteX103" fmla="*/ 2863215 w 3008034"/>
                  <a:gd name="connsiteY103" fmla="*/ 2194560 h 3680460"/>
                  <a:gd name="connsiteX104" fmla="*/ 2878455 w 3008034"/>
                  <a:gd name="connsiteY104" fmla="*/ 2148840 h 3680460"/>
                  <a:gd name="connsiteX105" fmla="*/ 2901315 w 3008034"/>
                  <a:gd name="connsiteY105" fmla="*/ 2087880 h 3680460"/>
                  <a:gd name="connsiteX106" fmla="*/ 2908935 w 3008034"/>
                  <a:gd name="connsiteY106" fmla="*/ 2049780 h 3680460"/>
                  <a:gd name="connsiteX107" fmla="*/ 2924175 w 3008034"/>
                  <a:gd name="connsiteY107" fmla="*/ 1844040 h 3680460"/>
                  <a:gd name="connsiteX108" fmla="*/ 2908935 w 3008034"/>
                  <a:gd name="connsiteY108" fmla="*/ 1470660 h 3680460"/>
                  <a:gd name="connsiteX109" fmla="*/ 2886075 w 3008034"/>
                  <a:gd name="connsiteY109" fmla="*/ 1371600 h 3680460"/>
                  <a:gd name="connsiteX110" fmla="*/ 2870835 w 3008034"/>
                  <a:gd name="connsiteY110" fmla="*/ 1341120 h 3680460"/>
                  <a:gd name="connsiteX111" fmla="*/ 2847975 w 3008034"/>
                  <a:gd name="connsiteY111" fmla="*/ 1272540 h 3680460"/>
                  <a:gd name="connsiteX112" fmla="*/ 2840355 w 3008034"/>
                  <a:gd name="connsiteY112" fmla="*/ 1234440 h 3680460"/>
                  <a:gd name="connsiteX113" fmla="*/ 2817495 w 3008034"/>
                  <a:gd name="connsiteY113" fmla="*/ 1196340 h 3680460"/>
                  <a:gd name="connsiteX114" fmla="*/ 2802255 w 3008034"/>
                  <a:gd name="connsiteY114" fmla="*/ 1165860 h 3680460"/>
                  <a:gd name="connsiteX115" fmla="*/ 2771775 w 3008034"/>
                  <a:gd name="connsiteY115" fmla="*/ 1127760 h 3680460"/>
                  <a:gd name="connsiteX116" fmla="*/ 2756535 w 3008034"/>
                  <a:gd name="connsiteY116" fmla="*/ 1089660 h 3680460"/>
                  <a:gd name="connsiteX117" fmla="*/ 2726055 w 3008034"/>
                  <a:gd name="connsiteY117" fmla="*/ 1043940 h 3680460"/>
                  <a:gd name="connsiteX118" fmla="*/ 2718435 w 3008034"/>
                  <a:gd name="connsiteY118" fmla="*/ 1021080 h 3680460"/>
                  <a:gd name="connsiteX119" fmla="*/ 2672715 w 3008034"/>
                  <a:gd name="connsiteY119" fmla="*/ 937260 h 3680460"/>
                  <a:gd name="connsiteX120" fmla="*/ 2649855 w 3008034"/>
                  <a:gd name="connsiteY120" fmla="*/ 876300 h 3680460"/>
                  <a:gd name="connsiteX121" fmla="*/ 2634615 w 3008034"/>
                  <a:gd name="connsiteY121" fmla="*/ 845820 h 3680460"/>
                  <a:gd name="connsiteX122" fmla="*/ 2626995 w 3008034"/>
                  <a:gd name="connsiteY122" fmla="*/ 822960 h 3680460"/>
                  <a:gd name="connsiteX123" fmla="*/ 2611755 w 3008034"/>
                  <a:gd name="connsiteY123" fmla="*/ 800100 h 3680460"/>
                  <a:gd name="connsiteX124" fmla="*/ 2588895 w 3008034"/>
                  <a:gd name="connsiteY124" fmla="*/ 739140 h 3680460"/>
                  <a:gd name="connsiteX125" fmla="*/ 2448878 w 3008034"/>
                  <a:gd name="connsiteY125" fmla="*/ 621983 h 3680460"/>
                  <a:gd name="connsiteX126" fmla="*/ 2291715 w 3008034"/>
                  <a:gd name="connsiteY126" fmla="*/ 458152 h 3680460"/>
                  <a:gd name="connsiteX127" fmla="*/ 2227898 w 3008034"/>
                  <a:gd name="connsiteY127" fmla="*/ 406717 h 3680460"/>
                  <a:gd name="connsiteX128" fmla="*/ 2093595 w 3008034"/>
                  <a:gd name="connsiteY128" fmla="*/ 312420 h 3680460"/>
                  <a:gd name="connsiteX129" fmla="*/ 2032635 w 3008034"/>
                  <a:gd name="connsiteY129" fmla="*/ 266700 h 3680460"/>
                  <a:gd name="connsiteX130" fmla="*/ 1994535 w 3008034"/>
                  <a:gd name="connsiteY130" fmla="*/ 251460 h 3680460"/>
                  <a:gd name="connsiteX131" fmla="*/ 1948815 w 3008034"/>
                  <a:gd name="connsiteY131" fmla="*/ 220980 h 3680460"/>
                  <a:gd name="connsiteX132" fmla="*/ 1887855 w 3008034"/>
                  <a:gd name="connsiteY13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40995 w 3008034"/>
                  <a:gd name="connsiteY59" fmla="*/ 3436620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516255 w 3008034"/>
                  <a:gd name="connsiteY62" fmla="*/ 3535680 h 3680460"/>
                  <a:gd name="connsiteX63" fmla="*/ 721995 w 3008034"/>
                  <a:gd name="connsiteY63" fmla="*/ 3558540 h 3680460"/>
                  <a:gd name="connsiteX64" fmla="*/ 1331595 w 3008034"/>
                  <a:gd name="connsiteY64" fmla="*/ 3550920 h 3680460"/>
                  <a:gd name="connsiteX65" fmla="*/ 1430655 w 3008034"/>
                  <a:gd name="connsiteY65" fmla="*/ 3528060 h 3680460"/>
                  <a:gd name="connsiteX66" fmla="*/ 1529715 w 3008034"/>
                  <a:gd name="connsiteY66" fmla="*/ 3520440 h 3680460"/>
                  <a:gd name="connsiteX67" fmla="*/ 1552575 w 3008034"/>
                  <a:gd name="connsiteY67" fmla="*/ 3512820 h 3680460"/>
                  <a:gd name="connsiteX68" fmla="*/ 1621155 w 3008034"/>
                  <a:gd name="connsiteY68" fmla="*/ 3497580 h 3680460"/>
                  <a:gd name="connsiteX69" fmla="*/ 1689735 w 3008034"/>
                  <a:gd name="connsiteY69" fmla="*/ 3474720 h 3680460"/>
                  <a:gd name="connsiteX70" fmla="*/ 1781175 w 3008034"/>
                  <a:gd name="connsiteY70" fmla="*/ 3451860 h 3680460"/>
                  <a:gd name="connsiteX71" fmla="*/ 1811655 w 3008034"/>
                  <a:gd name="connsiteY71" fmla="*/ 3444240 h 3680460"/>
                  <a:gd name="connsiteX72" fmla="*/ 1834515 w 3008034"/>
                  <a:gd name="connsiteY72" fmla="*/ 3429000 h 3680460"/>
                  <a:gd name="connsiteX73" fmla="*/ 1864995 w 3008034"/>
                  <a:gd name="connsiteY73" fmla="*/ 3421380 h 3680460"/>
                  <a:gd name="connsiteX74" fmla="*/ 1918335 w 3008034"/>
                  <a:gd name="connsiteY74" fmla="*/ 3398520 h 3680460"/>
                  <a:gd name="connsiteX75" fmla="*/ 1941195 w 3008034"/>
                  <a:gd name="connsiteY75" fmla="*/ 3390900 h 3680460"/>
                  <a:gd name="connsiteX76" fmla="*/ 1994535 w 3008034"/>
                  <a:gd name="connsiteY76" fmla="*/ 3360420 h 3680460"/>
                  <a:gd name="connsiteX77" fmla="*/ 2032635 w 3008034"/>
                  <a:gd name="connsiteY77" fmla="*/ 3352800 h 3680460"/>
                  <a:gd name="connsiteX78" fmla="*/ 2070735 w 3008034"/>
                  <a:gd name="connsiteY78" fmla="*/ 3337560 h 3680460"/>
                  <a:gd name="connsiteX79" fmla="*/ 2146935 w 3008034"/>
                  <a:gd name="connsiteY79" fmla="*/ 3299460 h 3680460"/>
                  <a:gd name="connsiteX80" fmla="*/ 2169795 w 3008034"/>
                  <a:gd name="connsiteY80" fmla="*/ 3284220 h 3680460"/>
                  <a:gd name="connsiteX81" fmla="*/ 2200275 w 3008034"/>
                  <a:gd name="connsiteY81" fmla="*/ 3276600 h 3680460"/>
                  <a:gd name="connsiteX82" fmla="*/ 2253615 w 3008034"/>
                  <a:gd name="connsiteY82" fmla="*/ 3230880 h 3680460"/>
                  <a:gd name="connsiteX83" fmla="*/ 2337435 w 3008034"/>
                  <a:gd name="connsiteY83" fmla="*/ 3154680 h 3680460"/>
                  <a:gd name="connsiteX84" fmla="*/ 2390775 w 3008034"/>
                  <a:gd name="connsiteY84" fmla="*/ 3070860 h 3680460"/>
                  <a:gd name="connsiteX85" fmla="*/ 2406015 w 3008034"/>
                  <a:gd name="connsiteY85" fmla="*/ 3048000 h 3680460"/>
                  <a:gd name="connsiteX86" fmla="*/ 2436495 w 3008034"/>
                  <a:gd name="connsiteY86" fmla="*/ 3032760 h 3680460"/>
                  <a:gd name="connsiteX87" fmla="*/ 2459355 w 3008034"/>
                  <a:gd name="connsiteY87" fmla="*/ 3009900 h 3680460"/>
                  <a:gd name="connsiteX88" fmla="*/ 2527935 w 3008034"/>
                  <a:gd name="connsiteY88" fmla="*/ 2926080 h 3680460"/>
                  <a:gd name="connsiteX89" fmla="*/ 2566035 w 3008034"/>
                  <a:gd name="connsiteY89" fmla="*/ 2880360 h 3680460"/>
                  <a:gd name="connsiteX90" fmla="*/ 2619375 w 3008034"/>
                  <a:gd name="connsiteY90" fmla="*/ 2811780 h 3680460"/>
                  <a:gd name="connsiteX91" fmla="*/ 2634615 w 3008034"/>
                  <a:gd name="connsiteY91" fmla="*/ 2773680 h 3680460"/>
                  <a:gd name="connsiteX92" fmla="*/ 2665095 w 3008034"/>
                  <a:gd name="connsiteY92" fmla="*/ 2727960 h 3680460"/>
                  <a:gd name="connsiteX93" fmla="*/ 2680335 w 3008034"/>
                  <a:gd name="connsiteY93" fmla="*/ 2705100 h 3680460"/>
                  <a:gd name="connsiteX94" fmla="*/ 2695575 w 3008034"/>
                  <a:gd name="connsiteY94" fmla="*/ 2667000 h 3680460"/>
                  <a:gd name="connsiteX95" fmla="*/ 2718435 w 3008034"/>
                  <a:gd name="connsiteY95" fmla="*/ 2621280 h 3680460"/>
                  <a:gd name="connsiteX96" fmla="*/ 2726055 w 3008034"/>
                  <a:gd name="connsiteY96" fmla="*/ 2590800 h 3680460"/>
                  <a:gd name="connsiteX97" fmla="*/ 2748915 w 3008034"/>
                  <a:gd name="connsiteY97" fmla="*/ 2545080 h 3680460"/>
                  <a:gd name="connsiteX98" fmla="*/ 2779395 w 3008034"/>
                  <a:gd name="connsiteY98" fmla="*/ 2484120 h 3680460"/>
                  <a:gd name="connsiteX99" fmla="*/ 2802255 w 3008034"/>
                  <a:gd name="connsiteY99" fmla="*/ 2407920 h 3680460"/>
                  <a:gd name="connsiteX100" fmla="*/ 2832735 w 3008034"/>
                  <a:gd name="connsiteY100" fmla="*/ 2324100 h 3680460"/>
                  <a:gd name="connsiteX101" fmla="*/ 2847975 w 3008034"/>
                  <a:gd name="connsiteY101" fmla="*/ 2247900 h 3680460"/>
                  <a:gd name="connsiteX102" fmla="*/ 2863215 w 3008034"/>
                  <a:gd name="connsiteY102" fmla="*/ 2194560 h 3680460"/>
                  <a:gd name="connsiteX103" fmla="*/ 2878455 w 3008034"/>
                  <a:gd name="connsiteY103" fmla="*/ 2148840 h 3680460"/>
                  <a:gd name="connsiteX104" fmla="*/ 2901315 w 3008034"/>
                  <a:gd name="connsiteY104" fmla="*/ 2087880 h 3680460"/>
                  <a:gd name="connsiteX105" fmla="*/ 2908935 w 3008034"/>
                  <a:gd name="connsiteY105" fmla="*/ 2049780 h 3680460"/>
                  <a:gd name="connsiteX106" fmla="*/ 2924175 w 3008034"/>
                  <a:gd name="connsiteY106" fmla="*/ 1844040 h 3680460"/>
                  <a:gd name="connsiteX107" fmla="*/ 2908935 w 3008034"/>
                  <a:gd name="connsiteY107" fmla="*/ 1470660 h 3680460"/>
                  <a:gd name="connsiteX108" fmla="*/ 2886075 w 3008034"/>
                  <a:gd name="connsiteY108" fmla="*/ 1371600 h 3680460"/>
                  <a:gd name="connsiteX109" fmla="*/ 2870835 w 3008034"/>
                  <a:gd name="connsiteY109" fmla="*/ 1341120 h 3680460"/>
                  <a:gd name="connsiteX110" fmla="*/ 2847975 w 3008034"/>
                  <a:gd name="connsiteY110" fmla="*/ 1272540 h 3680460"/>
                  <a:gd name="connsiteX111" fmla="*/ 2840355 w 3008034"/>
                  <a:gd name="connsiteY111" fmla="*/ 1234440 h 3680460"/>
                  <a:gd name="connsiteX112" fmla="*/ 2817495 w 3008034"/>
                  <a:gd name="connsiteY112" fmla="*/ 1196340 h 3680460"/>
                  <a:gd name="connsiteX113" fmla="*/ 2802255 w 3008034"/>
                  <a:gd name="connsiteY113" fmla="*/ 1165860 h 3680460"/>
                  <a:gd name="connsiteX114" fmla="*/ 2771775 w 3008034"/>
                  <a:gd name="connsiteY114" fmla="*/ 1127760 h 3680460"/>
                  <a:gd name="connsiteX115" fmla="*/ 2756535 w 3008034"/>
                  <a:gd name="connsiteY115" fmla="*/ 1089660 h 3680460"/>
                  <a:gd name="connsiteX116" fmla="*/ 2726055 w 3008034"/>
                  <a:gd name="connsiteY116" fmla="*/ 1043940 h 3680460"/>
                  <a:gd name="connsiteX117" fmla="*/ 2718435 w 3008034"/>
                  <a:gd name="connsiteY117" fmla="*/ 1021080 h 3680460"/>
                  <a:gd name="connsiteX118" fmla="*/ 2672715 w 3008034"/>
                  <a:gd name="connsiteY118" fmla="*/ 937260 h 3680460"/>
                  <a:gd name="connsiteX119" fmla="*/ 2649855 w 3008034"/>
                  <a:gd name="connsiteY119" fmla="*/ 876300 h 3680460"/>
                  <a:gd name="connsiteX120" fmla="*/ 2634615 w 3008034"/>
                  <a:gd name="connsiteY120" fmla="*/ 845820 h 3680460"/>
                  <a:gd name="connsiteX121" fmla="*/ 2626995 w 3008034"/>
                  <a:gd name="connsiteY121" fmla="*/ 822960 h 3680460"/>
                  <a:gd name="connsiteX122" fmla="*/ 2611755 w 3008034"/>
                  <a:gd name="connsiteY122" fmla="*/ 800100 h 3680460"/>
                  <a:gd name="connsiteX123" fmla="*/ 2588895 w 3008034"/>
                  <a:gd name="connsiteY123" fmla="*/ 739140 h 3680460"/>
                  <a:gd name="connsiteX124" fmla="*/ 2448878 w 3008034"/>
                  <a:gd name="connsiteY124" fmla="*/ 621983 h 3680460"/>
                  <a:gd name="connsiteX125" fmla="*/ 2291715 w 3008034"/>
                  <a:gd name="connsiteY125" fmla="*/ 458152 h 3680460"/>
                  <a:gd name="connsiteX126" fmla="*/ 2227898 w 3008034"/>
                  <a:gd name="connsiteY126" fmla="*/ 406717 h 3680460"/>
                  <a:gd name="connsiteX127" fmla="*/ 2093595 w 3008034"/>
                  <a:gd name="connsiteY127" fmla="*/ 312420 h 3680460"/>
                  <a:gd name="connsiteX128" fmla="*/ 2032635 w 3008034"/>
                  <a:gd name="connsiteY128" fmla="*/ 266700 h 3680460"/>
                  <a:gd name="connsiteX129" fmla="*/ 1994535 w 3008034"/>
                  <a:gd name="connsiteY129" fmla="*/ 251460 h 3680460"/>
                  <a:gd name="connsiteX130" fmla="*/ 1948815 w 3008034"/>
                  <a:gd name="connsiteY130" fmla="*/ 220980 h 3680460"/>
                  <a:gd name="connsiteX131" fmla="*/ 1887855 w 3008034"/>
                  <a:gd name="connsiteY13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516255 w 3008034"/>
                  <a:gd name="connsiteY62" fmla="*/ 3535680 h 3680460"/>
                  <a:gd name="connsiteX63" fmla="*/ 721995 w 3008034"/>
                  <a:gd name="connsiteY63" fmla="*/ 3558540 h 3680460"/>
                  <a:gd name="connsiteX64" fmla="*/ 1331595 w 3008034"/>
                  <a:gd name="connsiteY64" fmla="*/ 3550920 h 3680460"/>
                  <a:gd name="connsiteX65" fmla="*/ 1430655 w 3008034"/>
                  <a:gd name="connsiteY65" fmla="*/ 3528060 h 3680460"/>
                  <a:gd name="connsiteX66" fmla="*/ 1529715 w 3008034"/>
                  <a:gd name="connsiteY66" fmla="*/ 3520440 h 3680460"/>
                  <a:gd name="connsiteX67" fmla="*/ 1552575 w 3008034"/>
                  <a:gd name="connsiteY67" fmla="*/ 3512820 h 3680460"/>
                  <a:gd name="connsiteX68" fmla="*/ 1621155 w 3008034"/>
                  <a:gd name="connsiteY68" fmla="*/ 3497580 h 3680460"/>
                  <a:gd name="connsiteX69" fmla="*/ 1689735 w 3008034"/>
                  <a:gd name="connsiteY69" fmla="*/ 3474720 h 3680460"/>
                  <a:gd name="connsiteX70" fmla="*/ 1781175 w 3008034"/>
                  <a:gd name="connsiteY70" fmla="*/ 3451860 h 3680460"/>
                  <a:gd name="connsiteX71" fmla="*/ 1811655 w 3008034"/>
                  <a:gd name="connsiteY71" fmla="*/ 3444240 h 3680460"/>
                  <a:gd name="connsiteX72" fmla="*/ 1834515 w 3008034"/>
                  <a:gd name="connsiteY72" fmla="*/ 3429000 h 3680460"/>
                  <a:gd name="connsiteX73" fmla="*/ 1864995 w 3008034"/>
                  <a:gd name="connsiteY73" fmla="*/ 3421380 h 3680460"/>
                  <a:gd name="connsiteX74" fmla="*/ 1918335 w 3008034"/>
                  <a:gd name="connsiteY74" fmla="*/ 3398520 h 3680460"/>
                  <a:gd name="connsiteX75" fmla="*/ 1941195 w 3008034"/>
                  <a:gd name="connsiteY75" fmla="*/ 3390900 h 3680460"/>
                  <a:gd name="connsiteX76" fmla="*/ 1994535 w 3008034"/>
                  <a:gd name="connsiteY76" fmla="*/ 3360420 h 3680460"/>
                  <a:gd name="connsiteX77" fmla="*/ 2032635 w 3008034"/>
                  <a:gd name="connsiteY77" fmla="*/ 3352800 h 3680460"/>
                  <a:gd name="connsiteX78" fmla="*/ 2070735 w 3008034"/>
                  <a:gd name="connsiteY78" fmla="*/ 3337560 h 3680460"/>
                  <a:gd name="connsiteX79" fmla="*/ 2146935 w 3008034"/>
                  <a:gd name="connsiteY79" fmla="*/ 3299460 h 3680460"/>
                  <a:gd name="connsiteX80" fmla="*/ 2169795 w 3008034"/>
                  <a:gd name="connsiteY80" fmla="*/ 3284220 h 3680460"/>
                  <a:gd name="connsiteX81" fmla="*/ 2200275 w 3008034"/>
                  <a:gd name="connsiteY81" fmla="*/ 3276600 h 3680460"/>
                  <a:gd name="connsiteX82" fmla="*/ 2253615 w 3008034"/>
                  <a:gd name="connsiteY82" fmla="*/ 3230880 h 3680460"/>
                  <a:gd name="connsiteX83" fmla="*/ 2337435 w 3008034"/>
                  <a:gd name="connsiteY83" fmla="*/ 3154680 h 3680460"/>
                  <a:gd name="connsiteX84" fmla="*/ 2390775 w 3008034"/>
                  <a:gd name="connsiteY84" fmla="*/ 3070860 h 3680460"/>
                  <a:gd name="connsiteX85" fmla="*/ 2406015 w 3008034"/>
                  <a:gd name="connsiteY85" fmla="*/ 3048000 h 3680460"/>
                  <a:gd name="connsiteX86" fmla="*/ 2436495 w 3008034"/>
                  <a:gd name="connsiteY86" fmla="*/ 3032760 h 3680460"/>
                  <a:gd name="connsiteX87" fmla="*/ 2459355 w 3008034"/>
                  <a:gd name="connsiteY87" fmla="*/ 3009900 h 3680460"/>
                  <a:gd name="connsiteX88" fmla="*/ 2527935 w 3008034"/>
                  <a:gd name="connsiteY88" fmla="*/ 2926080 h 3680460"/>
                  <a:gd name="connsiteX89" fmla="*/ 2566035 w 3008034"/>
                  <a:gd name="connsiteY89" fmla="*/ 2880360 h 3680460"/>
                  <a:gd name="connsiteX90" fmla="*/ 2619375 w 3008034"/>
                  <a:gd name="connsiteY90" fmla="*/ 2811780 h 3680460"/>
                  <a:gd name="connsiteX91" fmla="*/ 2634615 w 3008034"/>
                  <a:gd name="connsiteY91" fmla="*/ 2773680 h 3680460"/>
                  <a:gd name="connsiteX92" fmla="*/ 2665095 w 3008034"/>
                  <a:gd name="connsiteY92" fmla="*/ 2727960 h 3680460"/>
                  <a:gd name="connsiteX93" fmla="*/ 2680335 w 3008034"/>
                  <a:gd name="connsiteY93" fmla="*/ 2705100 h 3680460"/>
                  <a:gd name="connsiteX94" fmla="*/ 2695575 w 3008034"/>
                  <a:gd name="connsiteY94" fmla="*/ 2667000 h 3680460"/>
                  <a:gd name="connsiteX95" fmla="*/ 2718435 w 3008034"/>
                  <a:gd name="connsiteY95" fmla="*/ 2621280 h 3680460"/>
                  <a:gd name="connsiteX96" fmla="*/ 2726055 w 3008034"/>
                  <a:gd name="connsiteY96" fmla="*/ 2590800 h 3680460"/>
                  <a:gd name="connsiteX97" fmla="*/ 2748915 w 3008034"/>
                  <a:gd name="connsiteY97" fmla="*/ 2545080 h 3680460"/>
                  <a:gd name="connsiteX98" fmla="*/ 2779395 w 3008034"/>
                  <a:gd name="connsiteY98" fmla="*/ 2484120 h 3680460"/>
                  <a:gd name="connsiteX99" fmla="*/ 2802255 w 3008034"/>
                  <a:gd name="connsiteY99" fmla="*/ 2407920 h 3680460"/>
                  <a:gd name="connsiteX100" fmla="*/ 2832735 w 3008034"/>
                  <a:gd name="connsiteY100" fmla="*/ 2324100 h 3680460"/>
                  <a:gd name="connsiteX101" fmla="*/ 2847975 w 3008034"/>
                  <a:gd name="connsiteY101" fmla="*/ 2247900 h 3680460"/>
                  <a:gd name="connsiteX102" fmla="*/ 2863215 w 3008034"/>
                  <a:gd name="connsiteY102" fmla="*/ 2194560 h 3680460"/>
                  <a:gd name="connsiteX103" fmla="*/ 2878455 w 3008034"/>
                  <a:gd name="connsiteY103" fmla="*/ 2148840 h 3680460"/>
                  <a:gd name="connsiteX104" fmla="*/ 2901315 w 3008034"/>
                  <a:gd name="connsiteY104" fmla="*/ 2087880 h 3680460"/>
                  <a:gd name="connsiteX105" fmla="*/ 2908935 w 3008034"/>
                  <a:gd name="connsiteY105" fmla="*/ 2049780 h 3680460"/>
                  <a:gd name="connsiteX106" fmla="*/ 2924175 w 3008034"/>
                  <a:gd name="connsiteY106" fmla="*/ 1844040 h 3680460"/>
                  <a:gd name="connsiteX107" fmla="*/ 2908935 w 3008034"/>
                  <a:gd name="connsiteY107" fmla="*/ 1470660 h 3680460"/>
                  <a:gd name="connsiteX108" fmla="*/ 2886075 w 3008034"/>
                  <a:gd name="connsiteY108" fmla="*/ 1371600 h 3680460"/>
                  <a:gd name="connsiteX109" fmla="*/ 2870835 w 3008034"/>
                  <a:gd name="connsiteY109" fmla="*/ 1341120 h 3680460"/>
                  <a:gd name="connsiteX110" fmla="*/ 2847975 w 3008034"/>
                  <a:gd name="connsiteY110" fmla="*/ 1272540 h 3680460"/>
                  <a:gd name="connsiteX111" fmla="*/ 2840355 w 3008034"/>
                  <a:gd name="connsiteY111" fmla="*/ 1234440 h 3680460"/>
                  <a:gd name="connsiteX112" fmla="*/ 2817495 w 3008034"/>
                  <a:gd name="connsiteY112" fmla="*/ 1196340 h 3680460"/>
                  <a:gd name="connsiteX113" fmla="*/ 2802255 w 3008034"/>
                  <a:gd name="connsiteY113" fmla="*/ 1165860 h 3680460"/>
                  <a:gd name="connsiteX114" fmla="*/ 2771775 w 3008034"/>
                  <a:gd name="connsiteY114" fmla="*/ 1127760 h 3680460"/>
                  <a:gd name="connsiteX115" fmla="*/ 2756535 w 3008034"/>
                  <a:gd name="connsiteY115" fmla="*/ 1089660 h 3680460"/>
                  <a:gd name="connsiteX116" fmla="*/ 2726055 w 3008034"/>
                  <a:gd name="connsiteY116" fmla="*/ 1043940 h 3680460"/>
                  <a:gd name="connsiteX117" fmla="*/ 2718435 w 3008034"/>
                  <a:gd name="connsiteY117" fmla="*/ 1021080 h 3680460"/>
                  <a:gd name="connsiteX118" fmla="*/ 2672715 w 3008034"/>
                  <a:gd name="connsiteY118" fmla="*/ 937260 h 3680460"/>
                  <a:gd name="connsiteX119" fmla="*/ 2649855 w 3008034"/>
                  <a:gd name="connsiteY119" fmla="*/ 876300 h 3680460"/>
                  <a:gd name="connsiteX120" fmla="*/ 2634615 w 3008034"/>
                  <a:gd name="connsiteY120" fmla="*/ 845820 h 3680460"/>
                  <a:gd name="connsiteX121" fmla="*/ 2626995 w 3008034"/>
                  <a:gd name="connsiteY121" fmla="*/ 822960 h 3680460"/>
                  <a:gd name="connsiteX122" fmla="*/ 2611755 w 3008034"/>
                  <a:gd name="connsiteY122" fmla="*/ 800100 h 3680460"/>
                  <a:gd name="connsiteX123" fmla="*/ 2588895 w 3008034"/>
                  <a:gd name="connsiteY123" fmla="*/ 739140 h 3680460"/>
                  <a:gd name="connsiteX124" fmla="*/ 2448878 w 3008034"/>
                  <a:gd name="connsiteY124" fmla="*/ 621983 h 3680460"/>
                  <a:gd name="connsiteX125" fmla="*/ 2291715 w 3008034"/>
                  <a:gd name="connsiteY125" fmla="*/ 458152 h 3680460"/>
                  <a:gd name="connsiteX126" fmla="*/ 2227898 w 3008034"/>
                  <a:gd name="connsiteY126" fmla="*/ 406717 h 3680460"/>
                  <a:gd name="connsiteX127" fmla="*/ 2093595 w 3008034"/>
                  <a:gd name="connsiteY127" fmla="*/ 312420 h 3680460"/>
                  <a:gd name="connsiteX128" fmla="*/ 2032635 w 3008034"/>
                  <a:gd name="connsiteY128" fmla="*/ 266700 h 3680460"/>
                  <a:gd name="connsiteX129" fmla="*/ 1994535 w 3008034"/>
                  <a:gd name="connsiteY129" fmla="*/ 251460 h 3680460"/>
                  <a:gd name="connsiteX130" fmla="*/ 1948815 w 3008034"/>
                  <a:gd name="connsiteY130" fmla="*/ 220980 h 3680460"/>
                  <a:gd name="connsiteX131" fmla="*/ 1887855 w 3008034"/>
                  <a:gd name="connsiteY13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40055 w 3008034"/>
                  <a:gd name="connsiteY60" fmla="*/ 3489960 h 3680460"/>
                  <a:gd name="connsiteX61" fmla="*/ 485775 w 3008034"/>
                  <a:gd name="connsiteY61" fmla="*/ 3520440 h 3680460"/>
                  <a:gd name="connsiteX62" fmla="*/ 721995 w 3008034"/>
                  <a:gd name="connsiteY62" fmla="*/ 3558540 h 3680460"/>
                  <a:gd name="connsiteX63" fmla="*/ 1331595 w 3008034"/>
                  <a:gd name="connsiteY63" fmla="*/ 3550920 h 3680460"/>
                  <a:gd name="connsiteX64" fmla="*/ 1430655 w 3008034"/>
                  <a:gd name="connsiteY64" fmla="*/ 3528060 h 3680460"/>
                  <a:gd name="connsiteX65" fmla="*/ 1529715 w 3008034"/>
                  <a:gd name="connsiteY65" fmla="*/ 3520440 h 3680460"/>
                  <a:gd name="connsiteX66" fmla="*/ 1552575 w 3008034"/>
                  <a:gd name="connsiteY66" fmla="*/ 3512820 h 3680460"/>
                  <a:gd name="connsiteX67" fmla="*/ 1621155 w 3008034"/>
                  <a:gd name="connsiteY67" fmla="*/ 3497580 h 3680460"/>
                  <a:gd name="connsiteX68" fmla="*/ 1689735 w 3008034"/>
                  <a:gd name="connsiteY68" fmla="*/ 3474720 h 3680460"/>
                  <a:gd name="connsiteX69" fmla="*/ 1781175 w 3008034"/>
                  <a:gd name="connsiteY69" fmla="*/ 3451860 h 3680460"/>
                  <a:gd name="connsiteX70" fmla="*/ 1811655 w 3008034"/>
                  <a:gd name="connsiteY70" fmla="*/ 3444240 h 3680460"/>
                  <a:gd name="connsiteX71" fmla="*/ 1834515 w 3008034"/>
                  <a:gd name="connsiteY71" fmla="*/ 3429000 h 3680460"/>
                  <a:gd name="connsiteX72" fmla="*/ 1864995 w 3008034"/>
                  <a:gd name="connsiteY72" fmla="*/ 3421380 h 3680460"/>
                  <a:gd name="connsiteX73" fmla="*/ 1918335 w 3008034"/>
                  <a:gd name="connsiteY73" fmla="*/ 3398520 h 3680460"/>
                  <a:gd name="connsiteX74" fmla="*/ 1941195 w 3008034"/>
                  <a:gd name="connsiteY74" fmla="*/ 3390900 h 3680460"/>
                  <a:gd name="connsiteX75" fmla="*/ 1994535 w 3008034"/>
                  <a:gd name="connsiteY75" fmla="*/ 3360420 h 3680460"/>
                  <a:gd name="connsiteX76" fmla="*/ 2032635 w 3008034"/>
                  <a:gd name="connsiteY76" fmla="*/ 3352800 h 3680460"/>
                  <a:gd name="connsiteX77" fmla="*/ 2070735 w 3008034"/>
                  <a:gd name="connsiteY77" fmla="*/ 3337560 h 3680460"/>
                  <a:gd name="connsiteX78" fmla="*/ 2146935 w 3008034"/>
                  <a:gd name="connsiteY78" fmla="*/ 3299460 h 3680460"/>
                  <a:gd name="connsiteX79" fmla="*/ 2169795 w 3008034"/>
                  <a:gd name="connsiteY79" fmla="*/ 3284220 h 3680460"/>
                  <a:gd name="connsiteX80" fmla="*/ 2200275 w 3008034"/>
                  <a:gd name="connsiteY80" fmla="*/ 3276600 h 3680460"/>
                  <a:gd name="connsiteX81" fmla="*/ 2253615 w 3008034"/>
                  <a:gd name="connsiteY81" fmla="*/ 3230880 h 3680460"/>
                  <a:gd name="connsiteX82" fmla="*/ 2337435 w 3008034"/>
                  <a:gd name="connsiteY82" fmla="*/ 3154680 h 3680460"/>
                  <a:gd name="connsiteX83" fmla="*/ 2390775 w 3008034"/>
                  <a:gd name="connsiteY83" fmla="*/ 3070860 h 3680460"/>
                  <a:gd name="connsiteX84" fmla="*/ 2406015 w 3008034"/>
                  <a:gd name="connsiteY84" fmla="*/ 3048000 h 3680460"/>
                  <a:gd name="connsiteX85" fmla="*/ 2436495 w 3008034"/>
                  <a:gd name="connsiteY85" fmla="*/ 3032760 h 3680460"/>
                  <a:gd name="connsiteX86" fmla="*/ 2459355 w 3008034"/>
                  <a:gd name="connsiteY86" fmla="*/ 3009900 h 3680460"/>
                  <a:gd name="connsiteX87" fmla="*/ 2527935 w 3008034"/>
                  <a:gd name="connsiteY87" fmla="*/ 2926080 h 3680460"/>
                  <a:gd name="connsiteX88" fmla="*/ 2566035 w 3008034"/>
                  <a:gd name="connsiteY88" fmla="*/ 2880360 h 3680460"/>
                  <a:gd name="connsiteX89" fmla="*/ 2619375 w 3008034"/>
                  <a:gd name="connsiteY89" fmla="*/ 2811780 h 3680460"/>
                  <a:gd name="connsiteX90" fmla="*/ 2634615 w 3008034"/>
                  <a:gd name="connsiteY90" fmla="*/ 2773680 h 3680460"/>
                  <a:gd name="connsiteX91" fmla="*/ 2665095 w 3008034"/>
                  <a:gd name="connsiteY91" fmla="*/ 2727960 h 3680460"/>
                  <a:gd name="connsiteX92" fmla="*/ 2680335 w 3008034"/>
                  <a:gd name="connsiteY92" fmla="*/ 2705100 h 3680460"/>
                  <a:gd name="connsiteX93" fmla="*/ 2695575 w 3008034"/>
                  <a:gd name="connsiteY93" fmla="*/ 2667000 h 3680460"/>
                  <a:gd name="connsiteX94" fmla="*/ 2718435 w 3008034"/>
                  <a:gd name="connsiteY94" fmla="*/ 2621280 h 3680460"/>
                  <a:gd name="connsiteX95" fmla="*/ 2726055 w 3008034"/>
                  <a:gd name="connsiteY95" fmla="*/ 2590800 h 3680460"/>
                  <a:gd name="connsiteX96" fmla="*/ 2748915 w 3008034"/>
                  <a:gd name="connsiteY96" fmla="*/ 2545080 h 3680460"/>
                  <a:gd name="connsiteX97" fmla="*/ 2779395 w 3008034"/>
                  <a:gd name="connsiteY97" fmla="*/ 2484120 h 3680460"/>
                  <a:gd name="connsiteX98" fmla="*/ 2802255 w 3008034"/>
                  <a:gd name="connsiteY98" fmla="*/ 2407920 h 3680460"/>
                  <a:gd name="connsiteX99" fmla="*/ 2832735 w 3008034"/>
                  <a:gd name="connsiteY99" fmla="*/ 2324100 h 3680460"/>
                  <a:gd name="connsiteX100" fmla="*/ 2847975 w 3008034"/>
                  <a:gd name="connsiteY100" fmla="*/ 2247900 h 3680460"/>
                  <a:gd name="connsiteX101" fmla="*/ 2863215 w 3008034"/>
                  <a:gd name="connsiteY101" fmla="*/ 2194560 h 3680460"/>
                  <a:gd name="connsiteX102" fmla="*/ 2878455 w 3008034"/>
                  <a:gd name="connsiteY102" fmla="*/ 2148840 h 3680460"/>
                  <a:gd name="connsiteX103" fmla="*/ 2901315 w 3008034"/>
                  <a:gd name="connsiteY103" fmla="*/ 2087880 h 3680460"/>
                  <a:gd name="connsiteX104" fmla="*/ 2908935 w 3008034"/>
                  <a:gd name="connsiteY104" fmla="*/ 2049780 h 3680460"/>
                  <a:gd name="connsiteX105" fmla="*/ 2924175 w 3008034"/>
                  <a:gd name="connsiteY105" fmla="*/ 1844040 h 3680460"/>
                  <a:gd name="connsiteX106" fmla="*/ 2908935 w 3008034"/>
                  <a:gd name="connsiteY106" fmla="*/ 1470660 h 3680460"/>
                  <a:gd name="connsiteX107" fmla="*/ 2886075 w 3008034"/>
                  <a:gd name="connsiteY107" fmla="*/ 1371600 h 3680460"/>
                  <a:gd name="connsiteX108" fmla="*/ 2870835 w 3008034"/>
                  <a:gd name="connsiteY108" fmla="*/ 1341120 h 3680460"/>
                  <a:gd name="connsiteX109" fmla="*/ 2847975 w 3008034"/>
                  <a:gd name="connsiteY109" fmla="*/ 1272540 h 3680460"/>
                  <a:gd name="connsiteX110" fmla="*/ 2840355 w 3008034"/>
                  <a:gd name="connsiteY110" fmla="*/ 1234440 h 3680460"/>
                  <a:gd name="connsiteX111" fmla="*/ 2817495 w 3008034"/>
                  <a:gd name="connsiteY111" fmla="*/ 1196340 h 3680460"/>
                  <a:gd name="connsiteX112" fmla="*/ 2802255 w 3008034"/>
                  <a:gd name="connsiteY112" fmla="*/ 1165860 h 3680460"/>
                  <a:gd name="connsiteX113" fmla="*/ 2771775 w 3008034"/>
                  <a:gd name="connsiteY113" fmla="*/ 1127760 h 3680460"/>
                  <a:gd name="connsiteX114" fmla="*/ 2756535 w 3008034"/>
                  <a:gd name="connsiteY114" fmla="*/ 1089660 h 3680460"/>
                  <a:gd name="connsiteX115" fmla="*/ 2726055 w 3008034"/>
                  <a:gd name="connsiteY115" fmla="*/ 1043940 h 3680460"/>
                  <a:gd name="connsiteX116" fmla="*/ 2718435 w 3008034"/>
                  <a:gd name="connsiteY116" fmla="*/ 1021080 h 3680460"/>
                  <a:gd name="connsiteX117" fmla="*/ 2672715 w 3008034"/>
                  <a:gd name="connsiteY117" fmla="*/ 937260 h 3680460"/>
                  <a:gd name="connsiteX118" fmla="*/ 2649855 w 3008034"/>
                  <a:gd name="connsiteY118" fmla="*/ 876300 h 3680460"/>
                  <a:gd name="connsiteX119" fmla="*/ 2634615 w 3008034"/>
                  <a:gd name="connsiteY119" fmla="*/ 845820 h 3680460"/>
                  <a:gd name="connsiteX120" fmla="*/ 2626995 w 3008034"/>
                  <a:gd name="connsiteY120" fmla="*/ 822960 h 3680460"/>
                  <a:gd name="connsiteX121" fmla="*/ 2611755 w 3008034"/>
                  <a:gd name="connsiteY121" fmla="*/ 800100 h 3680460"/>
                  <a:gd name="connsiteX122" fmla="*/ 2588895 w 3008034"/>
                  <a:gd name="connsiteY122" fmla="*/ 739140 h 3680460"/>
                  <a:gd name="connsiteX123" fmla="*/ 2448878 w 3008034"/>
                  <a:gd name="connsiteY123" fmla="*/ 621983 h 3680460"/>
                  <a:gd name="connsiteX124" fmla="*/ 2291715 w 3008034"/>
                  <a:gd name="connsiteY124" fmla="*/ 458152 h 3680460"/>
                  <a:gd name="connsiteX125" fmla="*/ 2227898 w 3008034"/>
                  <a:gd name="connsiteY125" fmla="*/ 406717 h 3680460"/>
                  <a:gd name="connsiteX126" fmla="*/ 2093595 w 3008034"/>
                  <a:gd name="connsiteY126" fmla="*/ 312420 h 3680460"/>
                  <a:gd name="connsiteX127" fmla="*/ 2032635 w 3008034"/>
                  <a:gd name="connsiteY127" fmla="*/ 266700 h 3680460"/>
                  <a:gd name="connsiteX128" fmla="*/ 1994535 w 3008034"/>
                  <a:gd name="connsiteY128" fmla="*/ 251460 h 3680460"/>
                  <a:gd name="connsiteX129" fmla="*/ 1948815 w 3008034"/>
                  <a:gd name="connsiteY129" fmla="*/ 220980 h 3680460"/>
                  <a:gd name="connsiteX130" fmla="*/ 1887855 w 3008034"/>
                  <a:gd name="connsiteY13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430655 w 3008034"/>
                  <a:gd name="connsiteY63" fmla="*/ 3528060 h 3680460"/>
                  <a:gd name="connsiteX64" fmla="*/ 1529715 w 3008034"/>
                  <a:gd name="connsiteY64" fmla="*/ 3520440 h 3680460"/>
                  <a:gd name="connsiteX65" fmla="*/ 1552575 w 3008034"/>
                  <a:gd name="connsiteY65" fmla="*/ 3512820 h 3680460"/>
                  <a:gd name="connsiteX66" fmla="*/ 1621155 w 3008034"/>
                  <a:gd name="connsiteY66" fmla="*/ 3497580 h 3680460"/>
                  <a:gd name="connsiteX67" fmla="*/ 1689735 w 3008034"/>
                  <a:gd name="connsiteY67" fmla="*/ 3474720 h 3680460"/>
                  <a:gd name="connsiteX68" fmla="*/ 1781175 w 3008034"/>
                  <a:gd name="connsiteY68" fmla="*/ 3451860 h 3680460"/>
                  <a:gd name="connsiteX69" fmla="*/ 1811655 w 3008034"/>
                  <a:gd name="connsiteY69" fmla="*/ 3444240 h 3680460"/>
                  <a:gd name="connsiteX70" fmla="*/ 1834515 w 3008034"/>
                  <a:gd name="connsiteY70" fmla="*/ 3429000 h 3680460"/>
                  <a:gd name="connsiteX71" fmla="*/ 1864995 w 3008034"/>
                  <a:gd name="connsiteY71" fmla="*/ 3421380 h 3680460"/>
                  <a:gd name="connsiteX72" fmla="*/ 1918335 w 3008034"/>
                  <a:gd name="connsiteY72" fmla="*/ 3398520 h 3680460"/>
                  <a:gd name="connsiteX73" fmla="*/ 1941195 w 3008034"/>
                  <a:gd name="connsiteY73" fmla="*/ 3390900 h 3680460"/>
                  <a:gd name="connsiteX74" fmla="*/ 1994535 w 3008034"/>
                  <a:gd name="connsiteY74" fmla="*/ 3360420 h 3680460"/>
                  <a:gd name="connsiteX75" fmla="*/ 2032635 w 3008034"/>
                  <a:gd name="connsiteY75" fmla="*/ 3352800 h 3680460"/>
                  <a:gd name="connsiteX76" fmla="*/ 2070735 w 3008034"/>
                  <a:gd name="connsiteY76" fmla="*/ 3337560 h 3680460"/>
                  <a:gd name="connsiteX77" fmla="*/ 2146935 w 3008034"/>
                  <a:gd name="connsiteY77" fmla="*/ 3299460 h 3680460"/>
                  <a:gd name="connsiteX78" fmla="*/ 2169795 w 3008034"/>
                  <a:gd name="connsiteY78" fmla="*/ 3284220 h 3680460"/>
                  <a:gd name="connsiteX79" fmla="*/ 2200275 w 3008034"/>
                  <a:gd name="connsiteY79" fmla="*/ 3276600 h 3680460"/>
                  <a:gd name="connsiteX80" fmla="*/ 2253615 w 3008034"/>
                  <a:gd name="connsiteY80" fmla="*/ 3230880 h 3680460"/>
                  <a:gd name="connsiteX81" fmla="*/ 2337435 w 3008034"/>
                  <a:gd name="connsiteY81" fmla="*/ 3154680 h 3680460"/>
                  <a:gd name="connsiteX82" fmla="*/ 2390775 w 3008034"/>
                  <a:gd name="connsiteY82" fmla="*/ 3070860 h 3680460"/>
                  <a:gd name="connsiteX83" fmla="*/ 2406015 w 3008034"/>
                  <a:gd name="connsiteY83" fmla="*/ 3048000 h 3680460"/>
                  <a:gd name="connsiteX84" fmla="*/ 2436495 w 3008034"/>
                  <a:gd name="connsiteY84" fmla="*/ 3032760 h 3680460"/>
                  <a:gd name="connsiteX85" fmla="*/ 2459355 w 3008034"/>
                  <a:gd name="connsiteY85" fmla="*/ 3009900 h 3680460"/>
                  <a:gd name="connsiteX86" fmla="*/ 2527935 w 3008034"/>
                  <a:gd name="connsiteY86" fmla="*/ 2926080 h 3680460"/>
                  <a:gd name="connsiteX87" fmla="*/ 2566035 w 3008034"/>
                  <a:gd name="connsiteY87" fmla="*/ 2880360 h 3680460"/>
                  <a:gd name="connsiteX88" fmla="*/ 2619375 w 3008034"/>
                  <a:gd name="connsiteY88" fmla="*/ 2811780 h 3680460"/>
                  <a:gd name="connsiteX89" fmla="*/ 2634615 w 3008034"/>
                  <a:gd name="connsiteY89" fmla="*/ 2773680 h 3680460"/>
                  <a:gd name="connsiteX90" fmla="*/ 2665095 w 3008034"/>
                  <a:gd name="connsiteY90" fmla="*/ 2727960 h 3680460"/>
                  <a:gd name="connsiteX91" fmla="*/ 2680335 w 3008034"/>
                  <a:gd name="connsiteY91" fmla="*/ 2705100 h 3680460"/>
                  <a:gd name="connsiteX92" fmla="*/ 2695575 w 3008034"/>
                  <a:gd name="connsiteY92" fmla="*/ 2667000 h 3680460"/>
                  <a:gd name="connsiteX93" fmla="*/ 2718435 w 3008034"/>
                  <a:gd name="connsiteY93" fmla="*/ 2621280 h 3680460"/>
                  <a:gd name="connsiteX94" fmla="*/ 2726055 w 3008034"/>
                  <a:gd name="connsiteY94" fmla="*/ 2590800 h 3680460"/>
                  <a:gd name="connsiteX95" fmla="*/ 2748915 w 3008034"/>
                  <a:gd name="connsiteY95" fmla="*/ 2545080 h 3680460"/>
                  <a:gd name="connsiteX96" fmla="*/ 2779395 w 3008034"/>
                  <a:gd name="connsiteY96" fmla="*/ 2484120 h 3680460"/>
                  <a:gd name="connsiteX97" fmla="*/ 2802255 w 3008034"/>
                  <a:gd name="connsiteY97" fmla="*/ 2407920 h 3680460"/>
                  <a:gd name="connsiteX98" fmla="*/ 2832735 w 3008034"/>
                  <a:gd name="connsiteY98" fmla="*/ 2324100 h 3680460"/>
                  <a:gd name="connsiteX99" fmla="*/ 2847975 w 3008034"/>
                  <a:gd name="connsiteY99" fmla="*/ 2247900 h 3680460"/>
                  <a:gd name="connsiteX100" fmla="*/ 2863215 w 3008034"/>
                  <a:gd name="connsiteY100" fmla="*/ 2194560 h 3680460"/>
                  <a:gd name="connsiteX101" fmla="*/ 2878455 w 3008034"/>
                  <a:gd name="connsiteY101" fmla="*/ 2148840 h 3680460"/>
                  <a:gd name="connsiteX102" fmla="*/ 2901315 w 3008034"/>
                  <a:gd name="connsiteY102" fmla="*/ 2087880 h 3680460"/>
                  <a:gd name="connsiteX103" fmla="*/ 2908935 w 3008034"/>
                  <a:gd name="connsiteY103" fmla="*/ 2049780 h 3680460"/>
                  <a:gd name="connsiteX104" fmla="*/ 2924175 w 3008034"/>
                  <a:gd name="connsiteY104" fmla="*/ 1844040 h 3680460"/>
                  <a:gd name="connsiteX105" fmla="*/ 2908935 w 3008034"/>
                  <a:gd name="connsiteY105" fmla="*/ 1470660 h 3680460"/>
                  <a:gd name="connsiteX106" fmla="*/ 2886075 w 3008034"/>
                  <a:gd name="connsiteY106" fmla="*/ 1371600 h 3680460"/>
                  <a:gd name="connsiteX107" fmla="*/ 2870835 w 3008034"/>
                  <a:gd name="connsiteY107" fmla="*/ 1341120 h 3680460"/>
                  <a:gd name="connsiteX108" fmla="*/ 2847975 w 3008034"/>
                  <a:gd name="connsiteY108" fmla="*/ 1272540 h 3680460"/>
                  <a:gd name="connsiteX109" fmla="*/ 2840355 w 3008034"/>
                  <a:gd name="connsiteY109" fmla="*/ 1234440 h 3680460"/>
                  <a:gd name="connsiteX110" fmla="*/ 2817495 w 3008034"/>
                  <a:gd name="connsiteY110" fmla="*/ 1196340 h 3680460"/>
                  <a:gd name="connsiteX111" fmla="*/ 2802255 w 3008034"/>
                  <a:gd name="connsiteY111" fmla="*/ 1165860 h 3680460"/>
                  <a:gd name="connsiteX112" fmla="*/ 2771775 w 3008034"/>
                  <a:gd name="connsiteY112" fmla="*/ 1127760 h 3680460"/>
                  <a:gd name="connsiteX113" fmla="*/ 2756535 w 3008034"/>
                  <a:gd name="connsiteY113" fmla="*/ 1089660 h 3680460"/>
                  <a:gd name="connsiteX114" fmla="*/ 2726055 w 3008034"/>
                  <a:gd name="connsiteY114" fmla="*/ 1043940 h 3680460"/>
                  <a:gd name="connsiteX115" fmla="*/ 2718435 w 3008034"/>
                  <a:gd name="connsiteY115" fmla="*/ 1021080 h 3680460"/>
                  <a:gd name="connsiteX116" fmla="*/ 2672715 w 3008034"/>
                  <a:gd name="connsiteY116" fmla="*/ 937260 h 3680460"/>
                  <a:gd name="connsiteX117" fmla="*/ 2649855 w 3008034"/>
                  <a:gd name="connsiteY117" fmla="*/ 876300 h 3680460"/>
                  <a:gd name="connsiteX118" fmla="*/ 2634615 w 3008034"/>
                  <a:gd name="connsiteY118" fmla="*/ 845820 h 3680460"/>
                  <a:gd name="connsiteX119" fmla="*/ 2626995 w 3008034"/>
                  <a:gd name="connsiteY119" fmla="*/ 822960 h 3680460"/>
                  <a:gd name="connsiteX120" fmla="*/ 2611755 w 3008034"/>
                  <a:gd name="connsiteY120" fmla="*/ 800100 h 3680460"/>
                  <a:gd name="connsiteX121" fmla="*/ 2588895 w 3008034"/>
                  <a:gd name="connsiteY121" fmla="*/ 739140 h 3680460"/>
                  <a:gd name="connsiteX122" fmla="*/ 2448878 w 3008034"/>
                  <a:gd name="connsiteY122" fmla="*/ 621983 h 3680460"/>
                  <a:gd name="connsiteX123" fmla="*/ 2291715 w 3008034"/>
                  <a:gd name="connsiteY123" fmla="*/ 458152 h 3680460"/>
                  <a:gd name="connsiteX124" fmla="*/ 2227898 w 3008034"/>
                  <a:gd name="connsiteY124" fmla="*/ 406717 h 3680460"/>
                  <a:gd name="connsiteX125" fmla="*/ 2093595 w 3008034"/>
                  <a:gd name="connsiteY125" fmla="*/ 312420 h 3680460"/>
                  <a:gd name="connsiteX126" fmla="*/ 2032635 w 3008034"/>
                  <a:gd name="connsiteY126" fmla="*/ 266700 h 3680460"/>
                  <a:gd name="connsiteX127" fmla="*/ 1994535 w 3008034"/>
                  <a:gd name="connsiteY127" fmla="*/ 251460 h 3680460"/>
                  <a:gd name="connsiteX128" fmla="*/ 1948815 w 3008034"/>
                  <a:gd name="connsiteY128" fmla="*/ 220980 h 3680460"/>
                  <a:gd name="connsiteX129" fmla="*/ 1887855 w 3008034"/>
                  <a:gd name="connsiteY12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430655 w 3008034"/>
                  <a:gd name="connsiteY63" fmla="*/ 3528060 h 3680460"/>
                  <a:gd name="connsiteX64" fmla="*/ 1529715 w 3008034"/>
                  <a:gd name="connsiteY64" fmla="*/ 3520440 h 3680460"/>
                  <a:gd name="connsiteX65" fmla="*/ 1552575 w 3008034"/>
                  <a:gd name="connsiteY65" fmla="*/ 3512820 h 3680460"/>
                  <a:gd name="connsiteX66" fmla="*/ 1621155 w 3008034"/>
                  <a:gd name="connsiteY66" fmla="*/ 3497580 h 3680460"/>
                  <a:gd name="connsiteX67" fmla="*/ 1689735 w 3008034"/>
                  <a:gd name="connsiteY67" fmla="*/ 3474720 h 3680460"/>
                  <a:gd name="connsiteX68" fmla="*/ 1781175 w 3008034"/>
                  <a:gd name="connsiteY68" fmla="*/ 3451860 h 3680460"/>
                  <a:gd name="connsiteX69" fmla="*/ 1811655 w 3008034"/>
                  <a:gd name="connsiteY69" fmla="*/ 3444240 h 3680460"/>
                  <a:gd name="connsiteX70" fmla="*/ 1834515 w 3008034"/>
                  <a:gd name="connsiteY70" fmla="*/ 3429000 h 3680460"/>
                  <a:gd name="connsiteX71" fmla="*/ 1864995 w 3008034"/>
                  <a:gd name="connsiteY71" fmla="*/ 3421380 h 3680460"/>
                  <a:gd name="connsiteX72" fmla="*/ 1918335 w 3008034"/>
                  <a:gd name="connsiteY72" fmla="*/ 3398520 h 3680460"/>
                  <a:gd name="connsiteX73" fmla="*/ 1941195 w 3008034"/>
                  <a:gd name="connsiteY73" fmla="*/ 3390900 h 3680460"/>
                  <a:gd name="connsiteX74" fmla="*/ 1994535 w 3008034"/>
                  <a:gd name="connsiteY74" fmla="*/ 3360420 h 3680460"/>
                  <a:gd name="connsiteX75" fmla="*/ 2032635 w 3008034"/>
                  <a:gd name="connsiteY75" fmla="*/ 3352800 h 3680460"/>
                  <a:gd name="connsiteX76" fmla="*/ 2070735 w 3008034"/>
                  <a:gd name="connsiteY76" fmla="*/ 3337560 h 3680460"/>
                  <a:gd name="connsiteX77" fmla="*/ 2146935 w 3008034"/>
                  <a:gd name="connsiteY77" fmla="*/ 3299460 h 3680460"/>
                  <a:gd name="connsiteX78" fmla="*/ 2169795 w 3008034"/>
                  <a:gd name="connsiteY78" fmla="*/ 3284220 h 3680460"/>
                  <a:gd name="connsiteX79" fmla="*/ 2200275 w 3008034"/>
                  <a:gd name="connsiteY79" fmla="*/ 3276600 h 3680460"/>
                  <a:gd name="connsiteX80" fmla="*/ 2253615 w 3008034"/>
                  <a:gd name="connsiteY80" fmla="*/ 3230880 h 3680460"/>
                  <a:gd name="connsiteX81" fmla="*/ 2337435 w 3008034"/>
                  <a:gd name="connsiteY81" fmla="*/ 3154680 h 3680460"/>
                  <a:gd name="connsiteX82" fmla="*/ 2390775 w 3008034"/>
                  <a:gd name="connsiteY82" fmla="*/ 3070860 h 3680460"/>
                  <a:gd name="connsiteX83" fmla="*/ 2406015 w 3008034"/>
                  <a:gd name="connsiteY83" fmla="*/ 3048000 h 3680460"/>
                  <a:gd name="connsiteX84" fmla="*/ 2436495 w 3008034"/>
                  <a:gd name="connsiteY84" fmla="*/ 3032760 h 3680460"/>
                  <a:gd name="connsiteX85" fmla="*/ 2459355 w 3008034"/>
                  <a:gd name="connsiteY85" fmla="*/ 3009900 h 3680460"/>
                  <a:gd name="connsiteX86" fmla="*/ 2527935 w 3008034"/>
                  <a:gd name="connsiteY86" fmla="*/ 2926080 h 3680460"/>
                  <a:gd name="connsiteX87" fmla="*/ 2566035 w 3008034"/>
                  <a:gd name="connsiteY87" fmla="*/ 2880360 h 3680460"/>
                  <a:gd name="connsiteX88" fmla="*/ 2619375 w 3008034"/>
                  <a:gd name="connsiteY88" fmla="*/ 2811780 h 3680460"/>
                  <a:gd name="connsiteX89" fmla="*/ 2634615 w 3008034"/>
                  <a:gd name="connsiteY89" fmla="*/ 2773680 h 3680460"/>
                  <a:gd name="connsiteX90" fmla="*/ 2665095 w 3008034"/>
                  <a:gd name="connsiteY90" fmla="*/ 2727960 h 3680460"/>
                  <a:gd name="connsiteX91" fmla="*/ 2680335 w 3008034"/>
                  <a:gd name="connsiteY91" fmla="*/ 2705100 h 3680460"/>
                  <a:gd name="connsiteX92" fmla="*/ 2695575 w 3008034"/>
                  <a:gd name="connsiteY92" fmla="*/ 2667000 h 3680460"/>
                  <a:gd name="connsiteX93" fmla="*/ 2718435 w 3008034"/>
                  <a:gd name="connsiteY93" fmla="*/ 2621280 h 3680460"/>
                  <a:gd name="connsiteX94" fmla="*/ 2726055 w 3008034"/>
                  <a:gd name="connsiteY94" fmla="*/ 2590800 h 3680460"/>
                  <a:gd name="connsiteX95" fmla="*/ 2748915 w 3008034"/>
                  <a:gd name="connsiteY95" fmla="*/ 2545080 h 3680460"/>
                  <a:gd name="connsiteX96" fmla="*/ 2779395 w 3008034"/>
                  <a:gd name="connsiteY96" fmla="*/ 2484120 h 3680460"/>
                  <a:gd name="connsiteX97" fmla="*/ 2802255 w 3008034"/>
                  <a:gd name="connsiteY97" fmla="*/ 2407920 h 3680460"/>
                  <a:gd name="connsiteX98" fmla="*/ 2832735 w 3008034"/>
                  <a:gd name="connsiteY98" fmla="*/ 2324100 h 3680460"/>
                  <a:gd name="connsiteX99" fmla="*/ 2847975 w 3008034"/>
                  <a:gd name="connsiteY99" fmla="*/ 2247900 h 3680460"/>
                  <a:gd name="connsiteX100" fmla="*/ 2863215 w 3008034"/>
                  <a:gd name="connsiteY100" fmla="*/ 2194560 h 3680460"/>
                  <a:gd name="connsiteX101" fmla="*/ 2878455 w 3008034"/>
                  <a:gd name="connsiteY101" fmla="*/ 2148840 h 3680460"/>
                  <a:gd name="connsiteX102" fmla="*/ 2901315 w 3008034"/>
                  <a:gd name="connsiteY102" fmla="*/ 2087880 h 3680460"/>
                  <a:gd name="connsiteX103" fmla="*/ 2908935 w 3008034"/>
                  <a:gd name="connsiteY103" fmla="*/ 2049780 h 3680460"/>
                  <a:gd name="connsiteX104" fmla="*/ 2924175 w 3008034"/>
                  <a:gd name="connsiteY104" fmla="*/ 1844040 h 3680460"/>
                  <a:gd name="connsiteX105" fmla="*/ 2908935 w 3008034"/>
                  <a:gd name="connsiteY105" fmla="*/ 1470660 h 3680460"/>
                  <a:gd name="connsiteX106" fmla="*/ 2886075 w 3008034"/>
                  <a:gd name="connsiteY106" fmla="*/ 1371600 h 3680460"/>
                  <a:gd name="connsiteX107" fmla="*/ 2870835 w 3008034"/>
                  <a:gd name="connsiteY107" fmla="*/ 1341120 h 3680460"/>
                  <a:gd name="connsiteX108" fmla="*/ 2847975 w 3008034"/>
                  <a:gd name="connsiteY108" fmla="*/ 1272540 h 3680460"/>
                  <a:gd name="connsiteX109" fmla="*/ 2840355 w 3008034"/>
                  <a:gd name="connsiteY109" fmla="*/ 1234440 h 3680460"/>
                  <a:gd name="connsiteX110" fmla="*/ 2817495 w 3008034"/>
                  <a:gd name="connsiteY110" fmla="*/ 1196340 h 3680460"/>
                  <a:gd name="connsiteX111" fmla="*/ 2802255 w 3008034"/>
                  <a:gd name="connsiteY111" fmla="*/ 1165860 h 3680460"/>
                  <a:gd name="connsiteX112" fmla="*/ 2771775 w 3008034"/>
                  <a:gd name="connsiteY112" fmla="*/ 1127760 h 3680460"/>
                  <a:gd name="connsiteX113" fmla="*/ 2756535 w 3008034"/>
                  <a:gd name="connsiteY113" fmla="*/ 1089660 h 3680460"/>
                  <a:gd name="connsiteX114" fmla="*/ 2726055 w 3008034"/>
                  <a:gd name="connsiteY114" fmla="*/ 1043940 h 3680460"/>
                  <a:gd name="connsiteX115" fmla="*/ 2718435 w 3008034"/>
                  <a:gd name="connsiteY115" fmla="*/ 1021080 h 3680460"/>
                  <a:gd name="connsiteX116" fmla="*/ 2672715 w 3008034"/>
                  <a:gd name="connsiteY116" fmla="*/ 937260 h 3680460"/>
                  <a:gd name="connsiteX117" fmla="*/ 2649855 w 3008034"/>
                  <a:gd name="connsiteY117" fmla="*/ 876300 h 3680460"/>
                  <a:gd name="connsiteX118" fmla="*/ 2634615 w 3008034"/>
                  <a:gd name="connsiteY118" fmla="*/ 845820 h 3680460"/>
                  <a:gd name="connsiteX119" fmla="*/ 2626995 w 3008034"/>
                  <a:gd name="connsiteY119" fmla="*/ 822960 h 3680460"/>
                  <a:gd name="connsiteX120" fmla="*/ 2611755 w 3008034"/>
                  <a:gd name="connsiteY120" fmla="*/ 800100 h 3680460"/>
                  <a:gd name="connsiteX121" fmla="*/ 2588895 w 3008034"/>
                  <a:gd name="connsiteY121" fmla="*/ 739140 h 3680460"/>
                  <a:gd name="connsiteX122" fmla="*/ 2448878 w 3008034"/>
                  <a:gd name="connsiteY122" fmla="*/ 621983 h 3680460"/>
                  <a:gd name="connsiteX123" fmla="*/ 2291715 w 3008034"/>
                  <a:gd name="connsiteY123" fmla="*/ 458152 h 3680460"/>
                  <a:gd name="connsiteX124" fmla="*/ 2227898 w 3008034"/>
                  <a:gd name="connsiteY124" fmla="*/ 406717 h 3680460"/>
                  <a:gd name="connsiteX125" fmla="*/ 2093595 w 3008034"/>
                  <a:gd name="connsiteY125" fmla="*/ 312420 h 3680460"/>
                  <a:gd name="connsiteX126" fmla="*/ 2032635 w 3008034"/>
                  <a:gd name="connsiteY126" fmla="*/ 266700 h 3680460"/>
                  <a:gd name="connsiteX127" fmla="*/ 1994535 w 3008034"/>
                  <a:gd name="connsiteY127" fmla="*/ 251460 h 3680460"/>
                  <a:gd name="connsiteX128" fmla="*/ 1948815 w 3008034"/>
                  <a:gd name="connsiteY128" fmla="*/ 220980 h 3680460"/>
                  <a:gd name="connsiteX129" fmla="*/ 1887855 w 3008034"/>
                  <a:gd name="connsiteY12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552575 w 3008034"/>
                  <a:gd name="connsiteY64" fmla="*/ 3512820 h 3680460"/>
                  <a:gd name="connsiteX65" fmla="*/ 1621155 w 3008034"/>
                  <a:gd name="connsiteY65" fmla="*/ 3497580 h 3680460"/>
                  <a:gd name="connsiteX66" fmla="*/ 1689735 w 3008034"/>
                  <a:gd name="connsiteY66" fmla="*/ 3474720 h 3680460"/>
                  <a:gd name="connsiteX67" fmla="*/ 1781175 w 3008034"/>
                  <a:gd name="connsiteY67" fmla="*/ 3451860 h 3680460"/>
                  <a:gd name="connsiteX68" fmla="*/ 1811655 w 3008034"/>
                  <a:gd name="connsiteY68" fmla="*/ 3444240 h 3680460"/>
                  <a:gd name="connsiteX69" fmla="*/ 1834515 w 3008034"/>
                  <a:gd name="connsiteY69" fmla="*/ 3429000 h 3680460"/>
                  <a:gd name="connsiteX70" fmla="*/ 1864995 w 3008034"/>
                  <a:gd name="connsiteY70" fmla="*/ 3421380 h 3680460"/>
                  <a:gd name="connsiteX71" fmla="*/ 1918335 w 3008034"/>
                  <a:gd name="connsiteY71" fmla="*/ 3398520 h 3680460"/>
                  <a:gd name="connsiteX72" fmla="*/ 1941195 w 3008034"/>
                  <a:gd name="connsiteY72" fmla="*/ 3390900 h 3680460"/>
                  <a:gd name="connsiteX73" fmla="*/ 1994535 w 3008034"/>
                  <a:gd name="connsiteY73" fmla="*/ 3360420 h 3680460"/>
                  <a:gd name="connsiteX74" fmla="*/ 2032635 w 3008034"/>
                  <a:gd name="connsiteY74" fmla="*/ 3352800 h 3680460"/>
                  <a:gd name="connsiteX75" fmla="*/ 2070735 w 3008034"/>
                  <a:gd name="connsiteY75" fmla="*/ 3337560 h 3680460"/>
                  <a:gd name="connsiteX76" fmla="*/ 2146935 w 3008034"/>
                  <a:gd name="connsiteY76" fmla="*/ 3299460 h 3680460"/>
                  <a:gd name="connsiteX77" fmla="*/ 2169795 w 3008034"/>
                  <a:gd name="connsiteY77" fmla="*/ 3284220 h 3680460"/>
                  <a:gd name="connsiteX78" fmla="*/ 2200275 w 3008034"/>
                  <a:gd name="connsiteY78" fmla="*/ 3276600 h 3680460"/>
                  <a:gd name="connsiteX79" fmla="*/ 2253615 w 3008034"/>
                  <a:gd name="connsiteY79" fmla="*/ 3230880 h 3680460"/>
                  <a:gd name="connsiteX80" fmla="*/ 2337435 w 3008034"/>
                  <a:gd name="connsiteY80" fmla="*/ 3154680 h 3680460"/>
                  <a:gd name="connsiteX81" fmla="*/ 2390775 w 3008034"/>
                  <a:gd name="connsiteY81" fmla="*/ 3070860 h 3680460"/>
                  <a:gd name="connsiteX82" fmla="*/ 2406015 w 3008034"/>
                  <a:gd name="connsiteY82" fmla="*/ 3048000 h 3680460"/>
                  <a:gd name="connsiteX83" fmla="*/ 2436495 w 3008034"/>
                  <a:gd name="connsiteY83" fmla="*/ 3032760 h 3680460"/>
                  <a:gd name="connsiteX84" fmla="*/ 2459355 w 3008034"/>
                  <a:gd name="connsiteY84" fmla="*/ 3009900 h 3680460"/>
                  <a:gd name="connsiteX85" fmla="*/ 2527935 w 3008034"/>
                  <a:gd name="connsiteY85" fmla="*/ 2926080 h 3680460"/>
                  <a:gd name="connsiteX86" fmla="*/ 2566035 w 3008034"/>
                  <a:gd name="connsiteY86" fmla="*/ 2880360 h 3680460"/>
                  <a:gd name="connsiteX87" fmla="*/ 2619375 w 3008034"/>
                  <a:gd name="connsiteY87" fmla="*/ 2811780 h 3680460"/>
                  <a:gd name="connsiteX88" fmla="*/ 2634615 w 3008034"/>
                  <a:gd name="connsiteY88" fmla="*/ 2773680 h 3680460"/>
                  <a:gd name="connsiteX89" fmla="*/ 2665095 w 3008034"/>
                  <a:gd name="connsiteY89" fmla="*/ 2727960 h 3680460"/>
                  <a:gd name="connsiteX90" fmla="*/ 2680335 w 3008034"/>
                  <a:gd name="connsiteY90" fmla="*/ 2705100 h 3680460"/>
                  <a:gd name="connsiteX91" fmla="*/ 2695575 w 3008034"/>
                  <a:gd name="connsiteY91" fmla="*/ 2667000 h 3680460"/>
                  <a:gd name="connsiteX92" fmla="*/ 2718435 w 3008034"/>
                  <a:gd name="connsiteY92" fmla="*/ 2621280 h 3680460"/>
                  <a:gd name="connsiteX93" fmla="*/ 2726055 w 3008034"/>
                  <a:gd name="connsiteY93" fmla="*/ 2590800 h 3680460"/>
                  <a:gd name="connsiteX94" fmla="*/ 2748915 w 3008034"/>
                  <a:gd name="connsiteY94" fmla="*/ 2545080 h 3680460"/>
                  <a:gd name="connsiteX95" fmla="*/ 2779395 w 3008034"/>
                  <a:gd name="connsiteY95" fmla="*/ 2484120 h 3680460"/>
                  <a:gd name="connsiteX96" fmla="*/ 2802255 w 3008034"/>
                  <a:gd name="connsiteY96" fmla="*/ 2407920 h 3680460"/>
                  <a:gd name="connsiteX97" fmla="*/ 2832735 w 3008034"/>
                  <a:gd name="connsiteY97" fmla="*/ 2324100 h 3680460"/>
                  <a:gd name="connsiteX98" fmla="*/ 2847975 w 3008034"/>
                  <a:gd name="connsiteY98" fmla="*/ 2247900 h 3680460"/>
                  <a:gd name="connsiteX99" fmla="*/ 2863215 w 3008034"/>
                  <a:gd name="connsiteY99" fmla="*/ 2194560 h 3680460"/>
                  <a:gd name="connsiteX100" fmla="*/ 2878455 w 3008034"/>
                  <a:gd name="connsiteY100" fmla="*/ 2148840 h 3680460"/>
                  <a:gd name="connsiteX101" fmla="*/ 2901315 w 3008034"/>
                  <a:gd name="connsiteY101" fmla="*/ 2087880 h 3680460"/>
                  <a:gd name="connsiteX102" fmla="*/ 2908935 w 3008034"/>
                  <a:gd name="connsiteY102" fmla="*/ 2049780 h 3680460"/>
                  <a:gd name="connsiteX103" fmla="*/ 2924175 w 3008034"/>
                  <a:gd name="connsiteY103" fmla="*/ 1844040 h 3680460"/>
                  <a:gd name="connsiteX104" fmla="*/ 2908935 w 3008034"/>
                  <a:gd name="connsiteY104" fmla="*/ 1470660 h 3680460"/>
                  <a:gd name="connsiteX105" fmla="*/ 2886075 w 3008034"/>
                  <a:gd name="connsiteY105" fmla="*/ 1371600 h 3680460"/>
                  <a:gd name="connsiteX106" fmla="*/ 2870835 w 3008034"/>
                  <a:gd name="connsiteY106" fmla="*/ 1341120 h 3680460"/>
                  <a:gd name="connsiteX107" fmla="*/ 2847975 w 3008034"/>
                  <a:gd name="connsiteY107" fmla="*/ 1272540 h 3680460"/>
                  <a:gd name="connsiteX108" fmla="*/ 2840355 w 3008034"/>
                  <a:gd name="connsiteY108" fmla="*/ 1234440 h 3680460"/>
                  <a:gd name="connsiteX109" fmla="*/ 2817495 w 3008034"/>
                  <a:gd name="connsiteY109" fmla="*/ 1196340 h 3680460"/>
                  <a:gd name="connsiteX110" fmla="*/ 2802255 w 3008034"/>
                  <a:gd name="connsiteY110" fmla="*/ 1165860 h 3680460"/>
                  <a:gd name="connsiteX111" fmla="*/ 2771775 w 3008034"/>
                  <a:gd name="connsiteY111" fmla="*/ 1127760 h 3680460"/>
                  <a:gd name="connsiteX112" fmla="*/ 2756535 w 3008034"/>
                  <a:gd name="connsiteY112" fmla="*/ 1089660 h 3680460"/>
                  <a:gd name="connsiteX113" fmla="*/ 2726055 w 3008034"/>
                  <a:gd name="connsiteY113" fmla="*/ 1043940 h 3680460"/>
                  <a:gd name="connsiteX114" fmla="*/ 2718435 w 3008034"/>
                  <a:gd name="connsiteY114" fmla="*/ 1021080 h 3680460"/>
                  <a:gd name="connsiteX115" fmla="*/ 2672715 w 3008034"/>
                  <a:gd name="connsiteY115" fmla="*/ 937260 h 3680460"/>
                  <a:gd name="connsiteX116" fmla="*/ 2649855 w 3008034"/>
                  <a:gd name="connsiteY116" fmla="*/ 876300 h 3680460"/>
                  <a:gd name="connsiteX117" fmla="*/ 2634615 w 3008034"/>
                  <a:gd name="connsiteY117" fmla="*/ 845820 h 3680460"/>
                  <a:gd name="connsiteX118" fmla="*/ 2626995 w 3008034"/>
                  <a:gd name="connsiteY118" fmla="*/ 822960 h 3680460"/>
                  <a:gd name="connsiteX119" fmla="*/ 2611755 w 3008034"/>
                  <a:gd name="connsiteY119" fmla="*/ 800100 h 3680460"/>
                  <a:gd name="connsiteX120" fmla="*/ 2588895 w 3008034"/>
                  <a:gd name="connsiteY120" fmla="*/ 739140 h 3680460"/>
                  <a:gd name="connsiteX121" fmla="*/ 2448878 w 3008034"/>
                  <a:gd name="connsiteY121" fmla="*/ 621983 h 3680460"/>
                  <a:gd name="connsiteX122" fmla="*/ 2291715 w 3008034"/>
                  <a:gd name="connsiteY122" fmla="*/ 458152 h 3680460"/>
                  <a:gd name="connsiteX123" fmla="*/ 2227898 w 3008034"/>
                  <a:gd name="connsiteY123" fmla="*/ 406717 h 3680460"/>
                  <a:gd name="connsiteX124" fmla="*/ 2093595 w 3008034"/>
                  <a:gd name="connsiteY124" fmla="*/ 312420 h 3680460"/>
                  <a:gd name="connsiteX125" fmla="*/ 2032635 w 3008034"/>
                  <a:gd name="connsiteY125" fmla="*/ 266700 h 3680460"/>
                  <a:gd name="connsiteX126" fmla="*/ 1994535 w 3008034"/>
                  <a:gd name="connsiteY126" fmla="*/ 251460 h 3680460"/>
                  <a:gd name="connsiteX127" fmla="*/ 1948815 w 3008034"/>
                  <a:gd name="connsiteY127" fmla="*/ 220980 h 3680460"/>
                  <a:gd name="connsiteX128" fmla="*/ 1887855 w 3008034"/>
                  <a:gd name="connsiteY12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34515 w 3008034"/>
                  <a:gd name="connsiteY68" fmla="*/ 3429000 h 3680460"/>
                  <a:gd name="connsiteX69" fmla="*/ 1864995 w 3008034"/>
                  <a:gd name="connsiteY69" fmla="*/ 3421380 h 3680460"/>
                  <a:gd name="connsiteX70" fmla="*/ 1918335 w 3008034"/>
                  <a:gd name="connsiteY70" fmla="*/ 3398520 h 3680460"/>
                  <a:gd name="connsiteX71" fmla="*/ 1941195 w 3008034"/>
                  <a:gd name="connsiteY71" fmla="*/ 3390900 h 3680460"/>
                  <a:gd name="connsiteX72" fmla="*/ 1994535 w 3008034"/>
                  <a:gd name="connsiteY72" fmla="*/ 3360420 h 3680460"/>
                  <a:gd name="connsiteX73" fmla="*/ 2032635 w 3008034"/>
                  <a:gd name="connsiteY73" fmla="*/ 3352800 h 3680460"/>
                  <a:gd name="connsiteX74" fmla="*/ 2070735 w 3008034"/>
                  <a:gd name="connsiteY74" fmla="*/ 3337560 h 3680460"/>
                  <a:gd name="connsiteX75" fmla="*/ 2146935 w 3008034"/>
                  <a:gd name="connsiteY75" fmla="*/ 3299460 h 3680460"/>
                  <a:gd name="connsiteX76" fmla="*/ 2169795 w 3008034"/>
                  <a:gd name="connsiteY76" fmla="*/ 3284220 h 3680460"/>
                  <a:gd name="connsiteX77" fmla="*/ 2200275 w 3008034"/>
                  <a:gd name="connsiteY77" fmla="*/ 3276600 h 3680460"/>
                  <a:gd name="connsiteX78" fmla="*/ 2253615 w 3008034"/>
                  <a:gd name="connsiteY78" fmla="*/ 3230880 h 3680460"/>
                  <a:gd name="connsiteX79" fmla="*/ 2337435 w 3008034"/>
                  <a:gd name="connsiteY79" fmla="*/ 3154680 h 3680460"/>
                  <a:gd name="connsiteX80" fmla="*/ 2390775 w 3008034"/>
                  <a:gd name="connsiteY80" fmla="*/ 3070860 h 3680460"/>
                  <a:gd name="connsiteX81" fmla="*/ 2406015 w 3008034"/>
                  <a:gd name="connsiteY81" fmla="*/ 3048000 h 3680460"/>
                  <a:gd name="connsiteX82" fmla="*/ 2436495 w 3008034"/>
                  <a:gd name="connsiteY82" fmla="*/ 3032760 h 3680460"/>
                  <a:gd name="connsiteX83" fmla="*/ 2459355 w 3008034"/>
                  <a:gd name="connsiteY83" fmla="*/ 3009900 h 3680460"/>
                  <a:gd name="connsiteX84" fmla="*/ 2527935 w 3008034"/>
                  <a:gd name="connsiteY84" fmla="*/ 2926080 h 3680460"/>
                  <a:gd name="connsiteX85" fmla="*/ 2566035 w 3008034"/>
                  <a:gd name="connsiteY85" fmla="*/ 2880360 h 3680460"/>
                  <a:gd name="connsiteX86" fmla="*/ 2619375 w 3008034"/>
                  <a:gd name="connsiteY86" fmla="*/ 2811780 h 3680460"/>
                  <a:gd name="connsiteX87" fmla="*/ 2634615 w 3008034"/>
                  <a:gd name="connsiteY87" fmla="*/ 2773680 h 3680460"/>
                  <a:gd name="connsiteX88" fmla="*/ 2665095 w 3008034"/>
                  <a:gd name="connsiteY88" fmla="*/ 2727960 h 3680460"/>
                  <a:gd name="connsiteX89" fmla="*/ 2680335 w 3008034"/>
                  <a:gd name="connsiteY89" fmla="*/ 2705100 h 3680460"/>
                  <a:gd name="connsiteX90" fmla="*/ 2695575 w 3008034"/>
                  <a:gd name="connsiteY90" fmla="*/ 2667000 h 3680460"/>
                  <a:gd name="connsiteX91" fmla="*/ 2718435 w 3008034"/>
                  <a:gd name="connsiteY91" fmla="*/ 2621280 h 3680460"/>
                  <a:gd name="connsiteX92" fmla="*/ 2726055 w 3008034"/>
                  <a:gd name="connsiteY92" fmla="*/ 2590800 h 3680460"/>
                  <a:gd name="connsiteX93" fmla="*/ 2748915 w 3008034"/>
                  <a:gd name="connsiteY93" fmla="*/ 2545080 h 3680460"/>
                  <a:gd name="connsiteX94" fmla="*/ 2779395 w 3008034"/>
                  <a:gd name="connsiteY94" fmla="*/ 2484120 h 3680460"/>
                  <a:gd name="connsiteX95" fmla="*/ 2802255 w 3008034"/>
                  <a:gd name="connsiteY95" fmla="*/ 2407920 h 3680460"/>
                  <a:gd name="connsiteX96" fmla="*/ 2832735 w 3008034"/>
                  <a:gd name="connsiteY96" fmla="*/ 2324100 h 3680460"/>
                  <a:gd name="connsiteX97" fmla="*/ 2847975 w 3008034"/>
                  <a:gd name="connsiteY97" fmla="*/ 2247900 h 3680460"/>
                  <a:gd name="connsiteX98" fmla="*/ 2863215 w 3008034"/>
                  <a:gd name="connsiteY98" fmla="*/ 2194560 h 3680460"/>
                  <a:gd name="connsiteX99" fmla="*/ 2878455 w 3008034"/>
                  <a:gd name="connsiteY99" fmla="*/ 2148840 h 3680460"/>
                  <a:gd name="connsiteX100" fmla="*/ 2901315 w 3008034"/>
                  <a:gd name="connsiteY100" fmla="*/ 2087880 h 3680460"/>
                  <a:gd name="connsiteX101" fmla="*/ 2908935 w 3008034"/>
                  <a:gd name="connsiteY101" fmla="*/ 2049780 h 3680460"/>
                  <a:gd name="connsiteX102" fmla="*/ 2924175 w 3008034"/>
                  <a:gd name="connsiteY102" fmla="*/ 1844040 h 3680460"/>
                  <a:gd name="connsiteX103" fmla="*/ 2908935 w 3008034"/>
                  <a:gd name="connsiteY103" fmla="*/ 1470660 h 3680460"/>
                  <a:gd name="connsiteX104" fmla="*/ 2886075 w 3008034"/>
                  <a:gd name="connsiteY104" fmla="*/ 1371600 h 3680460"/>
                  <a:gd name="connsiteX105" fmla="*/ 2870835 w 3008034"/>
                  <a:gd name="connsiteY105" fmla="*/ 1341120 h 3680460"/>
                  <a:gd name="connsiteX106" fmla="*/ 2847975 w 3008034"/>
                  <a:gd name="connsiteY106" fmla="*/ 1272540 h 3680460"/>
                  <a:gd name="connsiteX107" fmla="*/ 2840355 w 3008034"/>
                  <a:gd name="connsiteY107" fmla="*/ 1234440 h 3680460"/>
                  <a:gd name="connsiteX108" fmla="*/ 2817495 w 3008034"/>
                  <a:gd name="connsiteY108" fmla="*/ 1196340 h 3680460"/>
                  <a:gd name="connsiteX109" fmla="*/ 2802255 w 3008034"/>
                  <a:gd name="connsiteY109" fmla="*/ 1165860 h 3680460"/>
                  <a:gd name="connsiteX110" fmla="*/ 2771775 w 3008034"/>
                  <a:gd name="connsiteY110" fmla="*/ 1127760 h 3680460"/>
                  <a:gd name="connsiteX111" fmla="*/ 2756535 w 3008034"/>
                  <a:gd name="connsiteY111" fmla="*/ 1089660 h 3680460"/>
                  <a:gd name="connsiteX112" fmla="*/ 2726055 w 3008034"/>
                  <a:gd name="connsiteY112" fmla="*/ 1043940 h 3680460"/>
                  <a:gd name="connsiteX113" fmla="*/ 2718435 w 3008034"/>
                  <a:gd name="connsiteY113" fmla="*/ 1021080 h 3680460"/>
                  <a:gd name="connsiteX114" fmla="*/ 2672715 w 3008034"/>
                  <a:gd name="connsiteY114" fmla="*/ 937260 h 3680460"/>
                  <a:gd name="connsiteX115" fmla="*/ 2649855 w 3008034"/>
                  <a:gd name="connsiteY115" fmla="*/ 876300 h 3680460"/>
                  <a:gd name="connsiteX116" fmla="*/ 2634615 w 3008034"/>
                  <a:gd name="connsiteY116" fmla="*/ 845820 h 3680460"/>
                  <a:gd name="connsiteX117" fmla="*/ 2626995 w 3008034"/>
                  <a:gd name="connsiteY117" fmla="*/ 822960 h 3680460"/>
                  <a:gd name="connsiteX118" fmla="*/ 2611755 w 3008034"/>
                  <a:gd name="connsiteY118" fmla="*/ 800100 h 3680460"/>
                  <a:gd name="connsiteX119" fmla="*/ 2588895 w 3008034"/>
                  <a:gd name="connsiteY119" fmla="*/ 739140 h 3680460"/>
                  <a:gd name="connsiteX120" fmla="*/ 2448878 w 3008034"/>
                  <a:gd name="connsiteY120" fmla="*/ 621983 h 3680460"/>
                  <a:gd name="connsiteX121" fmla="*/ 2291715 w 3008034"/>
                  <a:gd name="connsiteY121" fmla="*/ 458152 h 3680460"/>
                  <a:gd name="connsiteX122" fmla="*/ 2227898 w 3008034"/>
                  <a:gd name="connsiteY122" fmla="*/ 406717 h 3680460"/>
                  <a:gd name="connsiteX123" fmla="*/ 2093595 w 3008034"/>
                  <a:gd name="connsiteY123" fmla="*/ 312420 h 3680460"/>
                  <a:gd name="connsiteX124" fmla="*/ 2032635 w 3008034"/>
                  <a:gd name="connsiteY124" fmla="*/ 266700 h 3680460"/>
                  <a:gd name="connsiteX125" fmla="*/ 1994535 w 3008034"/>
                  <a:gd name="connsiteY125" fmla="*/ 251460 h 3680460"/>
                  <a:gd name="connsiteX126" fmla="*/ 1948815 w 3008034"/>
                  <a:gd name="connsiteY126" fmla="*/ 220980 h 3680460"/>
                  <a:gd name="connsiteX127" fmla="*/ 1887855 w 3008034"/>
                  <a:gd name="connsiteY12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200275 w 3008034"/>
                  <a:gd name="connsiteY76" fmla="*/ 3276600 h 3680460"/>
                  <a:gd name="connsiteX77" fmla="*/ 2253615 w 3008034"/>
                  <a:gd name="connsiteY77" fmla="*/ 3230880 h 3680460"/>
                  <a:gd name="connsiteX78" fmla="*/ 2337435 w 3008034"/>
                  <a:gd name="connsiteY78" fmla="*/ 3154680 h 3680460"/>
                  <a:gd name="connsiteX79" fmla="*/ 2390775 w 3008034"/>
                  <a:gd name="connsiteY79" fmla="*/ 3070860 h 3680460"/>
                  <a:gd name="connsiteX80" fmla="*/ 2406015 w 3008034"/>
                  <a:gd name="connsiteY80" fmla="*/ 3048000 h 3680460"/>
                  <a:gd name="connsiteX81" fmla="*/ 2436495 w 3008034"/>
                  <a:gd name="connsiteY81" fmla="*/ 3032760 h 3680460"/>
                  <a:gd name="connsiteX82" fmla="*/ 2459355 w 3008034"/>
                  <a:gd name="connsiteY82" fmla="*/ 3009900 h 3680460"/>
                  <a:gd name="connsiteX83" fmla="*/ 2527935 w 3008034"/>
                  <a:gd name="connsiteY83" fmla="*/ 2926080 h 3680460"/>
                  <a:gd name="connsiteX84" fmla="*/ 2566035 w 3008034"/>
                  <a:gd name="connsiteY84" fmla="*/ 2880360 h 3680460"/>
                  <a:gd name="connsiteX85" fmla="*/ 2619375 w 3008034"/>
                  <a:gd name="connsiteY85" fmla="*/ 2811780 h 3680460"/>
                  <a:gd name="connsiteX86" fmla="*/ 2634615 w 3008034"/>
                  <a:gd name="connsiteY86" fmla="*/ 2773680 h 3680460"/>
                  <a:gd name="connsiteX87" fmla="*/ 2665095 w 3008034"/>
                  <a:gd name="connsiteY87" fmla="*/ 2727960 h 3680460"/>
                  <a:gd name="connsiteX88" fmla="*/ 2680335 w 3008034"/>
                  <a:gd name="connsiteY88" fmla="*/ 2705100 h 3680460"/>
                  <a:gd name="connsiteX89" fmla="*/ 2695575 w 3008034"/>
                  <a:gd name="connsiteY89" fmla="*/ 2667000 h 3680460"/>
                  <a:gd name="connsiteX90" fmla="*/ 2718435 w 3008034"/>
                  <a:gd name="connsiteY90" fmla="*/ 2621280 h 3680460"/>
                  <a:gd name="connsiteX91" fmla="*/ 2726055 w 3008034"/>
                  <a:gd name="connsiteY91" fmla="*/ 2590800 h 3680460"/>
                  <a:gd name="connsiteX92" fmla="*/ 2748915 w 3008034"/>
                  <a:gd name="connsiteY92" fmla="*/ 2545080 h 3680460"/>
                  <a:gd name="connsiteX93" fmla="*/ 2779395 w 3008034"/>
                  <a:gd name="connsiteY93" fmla="*/ 2484120 h 3680460"/>
                  <a:gd name="connsiteX94" fmla="*/ 2802255 w 3008034"/>
                  <a:gd name="connsiteY94" fmla="*/ 2407920 h 3680460"/>
                  <a:gd name="connsiteX95" fmla="*/ 2832735 w 3008034"/>
                  <a:gd name="connsiteY95" fmla="*/ 2324100 h 3680460"/>
                  <a:gd name="connsiteX96" fmla="*/ 2847975 w 3008034"/>
                  <a:gd name="connsiteY96" fmla="*/ 2247900 h 3680460"/>
                  <a:gd name="connsiteX97" fmla="*/ 2863215 w 3008034"/>
                  <a:gd name="connsiteY97" fmla="*/ 2194560 h 3680460"/>
                  <a:gd name="connsiteX98" fmla="*/ 2878455 w 3008034"/>
                  <a:gd name="connsiteY98" fmla="*/ 2148840 h 3680460"/>
                  <a:gd name="connsiteX99" fmla="*/ 2901315 w 3008034"/>
                  <a:gd name="connsiteY99" fmla="*/ 2087880 h 3680460"/>
                  <a:gd name="connsiteX100" fmla="*/ 2908935 w 3008034"/>
                  <a:gd name="connsiteY100" fmla="*/ 2049780 h 3680460"/>
                  <a:gd name="connsiteX101" fmla="*/ 2924175 w 3008034"/>
                  <a:gd name="connsiteY101" fmla="*/ 1844040 h 3680460"/>
                  <a:gd name="connsiteX102" fmla="*/ 2908935 w 3008034"/>
                  <a:gd name="connsiteY102" fmla="*/ 1470660 h 3680460"/>
                  <a:gd name="connsiteX103" fmla="*/ 2886075 w 3008034"/>
                  <a:gd name="connsiteY103" fmla="*/ 1371600 h 3680460"/>
                  <a:gd name="connsiteX104" fmla="*/ 2870835 w 3008034"/>
                  <a:gd name="connsiteY104" fmla="*/ 1341120 h 3680460"/>
                  <a:gd name="connsiteX105" fmla="*/ 2847975 w 3008034"/>
                  <a:gd name="connsiteY105" fmla="*/ 1272540 h 3680460"/>
                  <a:gd name="connsiteX106" fmla="*/ 2840355 w 3008034"/>
                  <a:gd name="connsiteY106" fmla="*/ 1234440 h 3680460"/>
                  <a:gd name="connsiteX107" fmla="*/ 2817495 w 3008034"/>
                  <a:gd name="connsiteY107" fmla="*/ 1196340 h 3680460"/>
                  <a:gd name="connsiteX108" fmla="*/ 2802255 w 3008034"/>
                  <a:gd name="connsiteY108" fmla="*/ 1165860 h 3680460"/>
                  <a:gd name="connsiteX109" fmla="*/ 2771775 w 3008034"/>
                  <a:gd name="connsiteY109" fmla="*/ 1127760 h 3680460"/>
                  <a:gd name="connsiteX110" fmla="*/ 2756535 w 3008034"/>
                  <a:gd name="connsiteY110" fmla="*/ 1089660 h 3680460"/>
                  <a:gd name="connsiteX111" fmla="*/ 2726055 w 3008034"/>
                  <a:gd name="connsiteY111" fmla="*/ 1043940 h 3680460"/>
                  <a:gd name="connsiteX112" fmla="*/ 2718435 w 3008034"/>
                  <a:gd name="connsiteY112" fmla="*/ 1021080 h 3680460"/>
                  <a:gd name="connsiteX113" fmla="*/ 2672715 w 3008034"/>
                  <a:gd name="connsiteY113" fmla="*/ 937260 h 3680460"/>
                  <a:gd name="connsiteX114" fmla="*/ 2649855 w 3008034"/>
                  <a:gd name="connsiteY114" fmla="*/ 876300 h 3680460"/>
                  <a:gd name="connsiteX115" fmla="*/ 2634615 w 3008034"/>
                  <a:gd name="connsiteY115" fmla="*/ 845820 h 3680460"/>
                  <a:gd name="connsiteX116" fmla="*/ 2626995 w 3008034"/>
                  <a:gd name="connsiteY116" fmla="*/ 822960 h 3680460"/>
                  <a:gd name="connsiteX117" fmla="*/ 2611755 w 3008034"/>
                  <a:gd name="connsiteY117" fmla="*/ 800100 h 3680460"/>
                  <a:gd name="connsiteX118" fmla="*/ 2588895 w 3008034"/>
                  <a:gd name="connsiteY118" fmla="*/ 739140 h 3680460"/>
                  <a:gd name="connsiteX119" fmla="*/ 2448878 w 3008034"/>
                  <a:gd name="connsiteY119" fmla="*/ 621983 h 3680460"/>
                  <a:gd name="connsiteX120" fmla="*/ 2291715 w 3008034"/>
                  <a:gd name="connsiteY120" fmla="*/ 458152 h 3680460"/>
                  <a:gd name="connsiteX121" fmla="*/ 2227898 w 3008034"/>
                  <a:gd name="connsiteY121" fmla="*/ 406717 h 3680460"/>
                  <a:gd name="connsiteX122" fmla="*/ 2093595 w 3008034"/>
                  <a:gd name="connsiteY122" fmla="*/ 312420 h 3680460"/>
                  <a:gd name="connsiteX123" fmla="*/ 2032635 w 3008034"/>
                  <a:gd name="connsiteY123" fmla="*/ 266700 h 3680460"/>
                  <a:gd name="connsiteX124" fmla="*/ 1994535 w 3008034"/>
                  <a:gd name="connsiteY124" fmla="*/ 251460 h 3680460"/>
                  <a:gd name="connsiteX125" fmla="*/ 1948815 w 3008034"/>
                  <a:gd name="connsiteY125" fmla="*/ 220980 h 3680460"/>
                  <a:gd name="connsiteX126" fmla="*/ 1887855 w 3008034"/>
                  <a:gd name="connsiteY12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200275 w 3008034"/>
                  <a:gd name="connsiteY76" fmla="*/ 3276600 h 3680460"/>
                  <a:gd name="connsiteX77" fmla="*/ 2337435 w 3008034"/>
                  <a:gd name="connsiteY77" fmla="*/ 3154680 h 3680460"/>
                  <a:gd name="connsiteX78" fmla="*/ 2390775 w 3008034"/>
                  <a:gd name="connsiteY78" fmla="*/ 3070860 h 3680460"/>
                  <a:gd name="connsiteX79" fmla="*/ 2406015 w 3008034"/>
                  <a:gd name="connsiteY79" fmla="*/ 3048000 h 3680460"/>
                  <a:gd name="connsiteX80" fmla="*/ 2436495 w 3008034"/>
                  <a:gd name="connsiteY80" fmla="*/ 3032760 h 3680460"/>
                  <a:gd name="connsiteX81" fmla="*/ 2459355 w 3008034"/>
                  <a:gd name="connsiteY81" fmla="*/ 3009900 h 3680460"/>
                  <a:gd name="connsiteX82" fmla="*/ 2527935 w 3008034"/>
                  <a:gd name="connsiteY82" fmla="*/ 2926080 h 3680460"/>
                  <a:gd name="connsiteX83" fmla="*/ 2566035 w 3008034"/>
                  <a:gd name="connsiteY83" fmla="*/ 2880360 h 3680460"/>
                  <a:gd name="connsiteX84" fmla="*/ 2619375 w 3008034"/>
                  <a:gd name="connsiteY84" fmla="*/ 2811780 h 3680460"/>
                  <a:gd name="connsiteX85" fmla="*/ 2634615 w 3008034"/>
                  <a:gd name="connsiteY85" fmla="*/ 2773680 h 3680460"/>
                  <a:gd name="connsiteX86" fmla="*/ 2665095 w 3008034"/>
                  <a:gd name="connsiteY86" fmla="*/ 2727960 h 3680460"/>
                  <a:gd name="connsiteX87" fmla="*/ 2680335 w 3008034"/>
                  <a:gd name="connsiteY87" fmla="*/ 2705100 h 3680460"/>
                  <a:gd name="connsiteX88" fmla="*/ 2695575 w 3008034"/>
                  <a:gd name="connsiteY88" fmla="*/ 2667000 h 3680460"/>
                  <a:gd name="connsiteX89" fmla="*/ 2718435 w 3008034"/>
                  <a:gd name="connsiteY89" fmla="*/ 2621280 h 3680460"/>
                  <a:gd name="connsiteX90" fmla="*/ 2726055 w 3008034"/>
                  <a:gd name="connsiteY90" fmla="*/ 2590800 h 3680460"/>
                  <a:gd name="connsiteX91" fmla="*/ 2748915 w 3008034"/>
                  <a:gd name="connsiteY91" fmla="*/ 2545080 h 3680460"/>
                  <a:gd name="connsiteX92" fmla="*/ 2779395 w 3008034"/>
                  <a:gd name="connsiteY92" fmla="*/ 2484120 h 3680460"/>
                  <a:gd name="connsiteX93" fmla="*/ 2802255 w 3008034"/>
                  <a:gd name="connsiteY93" fmla="*/ 2407920 h 3680460"/>
                  <a:gd name="connsiteX94" fmla="*/ 2832735 w 3008034"/>
                  <a:gd name="connsiteY94" fmla="*/ 2324100 h 3680460"/>
                  <a:gd name="connsiteX95" fmla="*/ 2847975 w 3008034"/>
                  <a:gd name="connsiteY95" fmla="*/ 2247900 h 3680460"/>
                  <a:gd name="connsiteX96" fmla="*/ 2863215 w 3008034"/>
                  <a:gd name="connsiteY96" fmla="*/ 2194560 h 3680460"/>
                  <a:gd name="connsiteX97" fmla="*/ 2878455 w 3008034"/>
                  <a:gd name="connsiteY97" fmla="*/ 2148840 h 3680460"/>
                  <a:gd name="connsiteX98" fmla="*/ 2901315 w 3008034"/>
                  <a:gd name="connsiteY98" fmla="*/ 2087880 h 3680460"/>
                  <a:gd name="connsiteX99" fmla="*/ 2908935 w 3008034"/>
                  <a:gd name="connsiteY99" fmla="*/ 2049780 h 3680460"/>
                  <a:gd name="connsiteX100" fmla="*/ 2924175 w 3008034"/>
                  <a:gd name="connsiteY100" fmla="*/ 1844040 h 3680460"/>
                  <a:gd name="connsiteX101" fmla="*/ 2908935 w 3008034"/>
                  <a:gd name="connsiteY101" fmla="*/ 1470660 h 3680460"/>
                  <a:gd name="connsiteX102" fmla="*/ 2886075 w 3008034"/>
                  <a:gd name="connsiteY102" fmla="*/ 1371600 h 3680460"/>
                  <a:gd name="connsiteX103" fmla="*/ 2870835 w 3008034"/>
                  <a:gd name="connsiteY103" fmla="*/ 1341120 h 3680460"/>
                  <a:gd name="connsiteX104" fmla="*/ 2847975 w 3008034"/>
                  <a:gd name="connsiteY104" fmla="*/ 1272540 h 3680460"/>
                  <a:gd name="connsiteX105" fmla="*/ 2840355 w 3008034"/>
                  <a:gd name="connsiteY105" fmla="*/ 1234440 h 3680460"/>
                  <a:gd name="connsiteX106" fmla="*/ 2817495 w 3008034"/>
                  <a:gd name="connsiteY106" fmla="*/ 1196340 h 3680460"/>
                  <a:gd name="connsiteX107" fmla="*/ 2802255 w 3008034"/>
                  <a:gd name="connsiteY107" fmla="*/ 1165860 h 3680460"/>
                  <a:gd name="connsiteX108" fmla="*/ 2771775 w 3008034"/>
                  <a:gd name="connsiteY108" fmla="*/ 1127760 h 3680460"/>
                  <a:gd name="connsiteX109" fmla="*/ 2756535 w 3008034"/>
                  <a:gd name="connsiteY109" fmla="*/ 1089660 h 3680460"/>
                  <a:gd name="connsiteX110" fmla="*/ 2726055 w 3008034"/>
                  <a:gd name="connsiteY110" fmla="*/ 1043940 h 3680460"/>
                  <a:gd name="connsiteX111" fmla="*/ 2718435 w 3008034"/>
                  <a:gd name="connsiteY111" fmla="*/ 1021080 h 3680460"/>
                  <a:gd name="connsiteX112" fmla="*/ 2672715 w 3008034"/>
                  <a:gd name="connsiteY112" fmla="*/ 937260 h 3680460"/>
                  <a:gd name="connsiteX113" fmla="*/ 2649855 w 3008034"/>
                  <a:gd name="connsiteY113" fmla="*/ 876300 h 3680460"/>
                  <a:gd name="connsiteX114" fmla="*/ 2634615 w 3008034"/>
                  <a:gd name="connsiteY114" fmla="*/ 845820 h 3680460"/>
                  <a:gd name="connsiteX115" fmla="*/ 2626995 w 3008034"/>
                  <a:gd name="connsiteY115" fmla="*/ 822960 h 3680460"/>
                  <a:gd name="connsiteX116" fmla="*/ 2611755 w 3008034"/>
                  <a:gd name="connsiteY116" fmla="*/ 800100 h 3680460"/>
                  <a:gd name="connsiteX117" fmla="*/ 2588895 w 3008034"/>
                  <a:gd name="connsiteY117" fmla="*/ 739140 h 3680460"/>
                  <a:gd name="connsiteX118" fmla="*/ 2448878 w 3008034"/>
                  <a:gd name="connsiteY118" fmla="*/ 621983 h 3680460"/>
                  <a:gd name="connsiteX119" fmla="*/ 2291715 w 3008034"/>
                  <a:gd name="connsiteY119" fmla="*/ 458152 h 3680460"/>
                  <a:gd name="connsiteX120" fmla="*/ 2227898 w 3008034"/>
                  <a:gd name="connsiteY120" fmla="*/ 406717 h 3680460"/>
                  <a:gd name="connsiteX121" fmla="*/ 2093595 w 3008034"/>
                  <a:gd name="connsiteY121" fmla="*/ 312420 h 3680460"/>
                  <a:gd name="connsiteX122" fmla="*/ 2032635 w 3008034"/>
                  <a:gd name="connsiteY122" fmla="*/ 266700 h 3680460"/>
                  <a:gd name="connsiteX123" fmla="*/ 1994535 w 3008034"/>
                  <a:gd name="connsiteY123" fmla="*/ 251460 h 3680460"/>
                  <a:gd name="connsiteX124" fmla="*/ 1948815 w 3008034"/>
                  <a:gd name="connsiteY124" fmla="*/ 220980 h 3680460"/>
                  <a:gd name="connsiteX125" fmla="*/ 1887855 w 3008034"/>
                  <a:gd name="connsiteY12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169795 w 3008034"/>
                  <a:gd name="connsiteY75" fmla="*/ 3284220 h 3680460"/>
                  <a:gd name="connsiteX76" fmla="*/ 2337435 w 3008034"/>
                  <a:gd name="connsiteY76" fmla="*/ 3154680 h 3680460"/>
                  <a:gd name="connsiteX77" fmla="*/ 2390775 w 3008034"/>
                  <a:gd name="connsiteY77" fmla="*/ 3070860 h 3680460"/>
                  <a:gd name="connsiteX78" fmla="*/ 2406015 w 3008034"/>
                  <a:gd name="connsiteY78" fmla="*/ 3048000 h 3680460"/>
                  <a:gd name="connsiteX79" fmla="*/ 2436495 w 3008034"/>
                  <a:gd name="connsiteY79" fmla="*/ 3032760 h 3680460"/>
                  <a:gd name="connsiteX80" fmla="*/ 2459355 w 3008034"/>
                  <a:gd name="connsiteY80" fmla="*/ 3009900 h 3680460"/>
                  <a:gd name="connsiteX81" fmla="*/ 2527935 w 3008034"/>
                  <a:gd name="connsiteY81" fmla="*/ 2926080 h 3680460"/>
                  <a:gd name="connsiteX82" fmla="*/ 2566035 w 3008034"/>
                  <a:gd name="connsiteY82" fmla="*/ 2880360 h 3680460"/>
                  <a:gd name="connsiteX83" fmla="*/ 2619375 w 3008034"/>
                  <a:gd name="connsiteY83" fmla="*/ 2811780 h 3680460"/>
                  <a:gd name="connsiteX84" fmla="*/ 2634615 w 3008034"/>
                  <a:gd name="connsiteY84" fmla="*/ 2773680 h 3680460"/>
                  <a:gd name="connsiteX85" fmla="*/ 2665095 w 3008034"/>
                  <a:gd name="connsiteY85" fmla="*/ 2727960 h 3680460"/>
                  <a:gd name="connsiteX86" fmla="*/ 2680335 w 3008034"/>
                  <a:gd name="connsiteY86" fmla="*/ 2705100 h 3680460"/>
                  <a:gd name="connsiteX87" fmla="*/ 2695575 w 3008034"/>
                  <a:gd name="connsiteY87" fmla="*/ 2667000 h 3680460"/>
                  <a:gd name="connsiteX88" fmla="*/ 2718435 w 3008034"/>
                  <a:gd name="connsiteY88" fmla="*/ 2621280 h 3680460"/>
                  <a:gd name="connsiteX89" fmla="*/ 2726055 w 3008034"/>
                  <a:gd name="connsiteY89" fmla="*/ 2590800 h 3680460"/>
                  <a:gd name="connsiteX90" fmla="*/ 2748915 w 3008034"/>
                  <a:gd name="connsiteY90" fmla="*/ 2545080 h 3680460"/>
                  <a:gd name="connsiteX91" fmla="*/ 2779395 w 3008034"/>
                  <a:gd name="connsiteY91" fmla="*/ 2484120 h 3680460"/>
                  <a:gd name="connsiteX92" fmla="*/ 2802255 w 3008034"/>
                  <a:gd name="connsiteY92" fmla="*/ 2407920 h 3680460"/>
                  <a:gd name="connsiteX93" fmla="*/ 2832735 w 3008034"/>
                  <a:gd name="connsiteY93" fmla="*/ 2324100 h 3680460"/>
                  <a:gd name="connsiteX94" fmla="*/ 2847975 w 3008034"/>
                  <a:gd name="connsiteY94" fmla="*/ 2247900 h 3680460"/>
                  <a:gd name="connsiteX95" fmla="*/ 2863215 w 3008034"/>
                  <a:gd name="connsiteY95" fmla="*/ 2194560 h 3680460"/>
                  <a:gd name="connsiteX96" fmla="*/ 2878455 w 3008034"/>
                  <a:gd name="connsiteY96" fmla="*/ 2148840 h 3680460"/>
                  <a:gd name="connsiteX97" fmla="*/ 2901315 w 3008034"/>
                  <a:gd name="connsiteY97" fmla="*/ 2087880 h 3680460"/>
                  <a:gd name="connsiteX98" fmla="*/ 2908935 w 3008034"/>
                  <a:gd name="connsiteY98" fmla="*/ 2049780 h 3680460"/>
                  <a:gd name="connsiteX99" fmla="*/ 2924175 w 3008034"/>
                  <a:gd name="connsiteY99" fmla="*/ 1844040 h 3680460"/>
                  <a:gd name="connsiteX100" fmla="*/ 2908935 w 3008034"/>
                  <a:gd name="connsiteY100" fmla="*/ 1470660 h 3680460"/>
                  <a:gd name="connsiteX101" fmla="*/ 2886075 w 3008034"/>
                  <a:gd name="connsiteY101" fmla="*/ 1371600 h 3680460"/>
                  <a:gd name="connsiteX102" fmla="*/ 2870835 w 3008034"/>
                  <a:gd name="connsiteY102" fmla="*/ 1341120 h 3680460"/>
                  <a:gd name="connsiteX103" fmla="*/ 2847975 w 3008034"/>
                  <a:gd name="connsiteY103" fmla="*/ 1272540 h 3680460"/>
                  <a:gd name="connsiteX104" fmla="*/ 2840355 w 3008034"/>
                  <a:gd name="connsiteY104" fmla="*/ 1234440 h 3680460"/>
                  <a:gd name="connsiteX105" fmla="*/ 2817495 w 3008034"/>
                  <a:gd name="connsiteY105" fmla="*/ 1196340 h 3680460"/>
                  <a:gd name="connsiteX106" fmla="*/ 2802255 w 3008034"/>
                  <a:gd name="connsiteY106" fmla="*/ 1165860 h 3680460"/>
                  <a:gd name="connsiteX107" fmla="*/ 2771775 w 3008034"/>
                  <a:gd name="connsiteY107" fmla="*/ 1127760 h 3680460"/>
                  <a:gd name="connsiteX108" fmla="*/ 2756535 w 3008034"/>
                  <a:gd name="connsiteY108" fmla="*/ 1089660 h 3680460"/>
                  <a:gd name="connsiteX109" fmla="*/ 2726055 w 3008034"/>
                  <a:gd name="connsiteY109" fmla="*/ 1043940 h 3680460"/>
                  <a:gd name="connsiteX110" fmla="*/ 2718435 w 3008034"/>
                  <a:gd name="connsiteY110" fmla="*/ 1021080 h 3680460"/>
                  <a:gd name="connsiteX111" fmla="*/ 2672715 w 3008034"/>
                  <a:gd name="connsiteY111" fmla="*/ 937260 h 3680460"/>
                  <a:gd name="connsiteX112" fmla="*/ 2649855 w 3008034"/>
                  <a:gd name="connsiteY112" fmla="*/ 876300 h 3680460"/>
                  <a:gd name="connsiteX113" fmla="*/ 2634615 w 3008034"/>
                  <a:gd name="connsiteY113" fmla="*/ 845820 h 3680460"/>
                  <a:gd name="connsiteX114" fmla="*/ 2626995 w 3008034"/>
                  <a:gd name="connsiteY114" fmla="*/ 822960 h 3680460"/>
                  <a:gd name="connsiteX115" fmla="*/ 2611755 w 3008034"/>
                  <a:gd name="connsiteY115" fmla="*/ 800100 h 3680460"/>
                  <a:gd name="connsiteX116" fmla="*/ 2588895 w 3008034"/>
                  <a:gd name="connsiteY116" fmla="*/ 739140 h 3680460"/>
                  <a:gd name="connsiteX117" fmla="*/ 2448878 w 3008034"/>
                  <a:gd name="connsiteY117" fmla="*/ 621983 h 3680460"/>
                  <a:gd name="connsiteX118" fmla="*/ 2291715 w 3008034"/>
                  <a:gd name="connsiteY118" fmla="*/ 458152 h 3680460"/>
                  <a:gd name="connsiteX119" fmla="*/ 2227898 w 3008034"/>
                  <a:gd name="connsiteY119" fmla="*/ 406717 h 3680460"/>
                  <a:gd name="connsiteX120" fmla="*/ 2093595 w 3008034"/>
                  <a:gd name="connsiteY120" fmla="*/ 312420 h 3680460"/>
                  <a:gd name="connsiteX121" fmla="*/ 2032635 w 3008034"/>
                  <a:gd name="connsiteY121" fmla="*/ 266700 h 3680460"/>
                  <a:gd name="connsiteX122" fmla="*/ 1994535 w 3008034"/>
                  <a:gd name="connsiteY122" fmla="*/ 251460 h 3680460"/>
                  <a:gd name="connsiteX123" fmla="*/ 1948815 w 3008034"/>
                  <a:gd name="connsiteY123" fmla="*/ 220980 h 3680460"/>
                  <a:gd name="connsiteX124" fmla="*/ 1887855 w 3008034"/>
                  <a:gd name="connsiteY12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46935 w 3008034"/>
                  <a:gd name="connsiteY74" fmla="*/ 3299460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06015 w 3008034"/>
                  <a:gd name="connsiteY77" fmla="*/ 3048000 h 3680460"/>
                  <a:gd name="connsiteX78" fmla="*/ 2436495 w 3008034"/>
                  <a:gd name="connsiteY78" fmla="*/ 3032760 h 3680460"/>
                  <a:gd name="connsiteX79" fmla="*/ 2459355 w 3008034"/>
                  <a:gd name="connsiteY79" fmla="*/ 3009900 h 3680460"/>
                  <a:gd name="connsiteX80" fmla="*/ 2527935 w 3008034"/>
                  <a:gd name="connsiteY80" fmla="*/ 2926080 h 3680460"/>
                  <a:gd name="connsiteX81" fmla="*/ 2566035 w 3008034"/>
                  <a:gd name="connsiteY81" fmla="*/ 2880360 h 3680460"/>
                  <a:gd name="connsiteX82" fmla="*/ 2619375 w 3008034"/>
                  <a:gd name="connsiteY82" fmla="*/ 2811780 h 3680460"/>
                  <a:gd name="connsiteX83" fmla="*/ 2634615 w 3008034"/>
                  <a:gd name="connsiteY83" fmla="*/ 2773680 h 3680460"/>
                  <a:gd name="connsiteX84" fmla="*/ 2665095 w 3008034"/>
                  <a:gd name="connsiteY84" fmla="*/ 2727960 h 3680460"/>
                  <a:gd name="connsiteX85" fmla="*/ 2680335 w 3008034"/>
                  <a:gd name="connsiteY85" fmla="*/ 2705100 h 3680460"/>
                  <a:gd name="connsiteX86" fmla="*/ 2695575 w 3008034"/>
                  <a:gd name="connsiteY86" fmla="*/ 2667000 h 3680460"/>
                  <a:gd name="connsiteX87" fmla="*/ 2718435 w 3008034"/>
                  <a:gd name="connsiteY87" fmla="*/ 2621280 h 3680460"/>
                  <a:gd name="connsiteX88" fmla="*/ 2726055 w 3008034"/>
                  <a:gd name="connsiteY88" fmla="*/ 2590800 h 3680460"/>
                  <a:gd name="connsiteX89" fmla="*/ 2748915 w 3008034"/>
                  <a:gd name="connsiteY89" fmla="*/ 2545080 h 3680460"/>
                  <a:gd name="connsiteX90" fmla="*/ 2779395 w 3008034"/>
                  <a:gd name="connsiteY90" fmla="*/ 2484120 h 3680460"/>
                  <a:gd name="connsiteX91" fmla="*/ 2802255 w 3008034"/>
                  <a:gd name="connsiteY91" fmla="*/ 2407920 h 3680460"/>
                  <a:gd name="connsiteX92" fmla="*/ 2832735 w 3008034"/>
                  <a:gd name="connsiteY92" fmla="*/ 2324100 h 3680460"/>
                  <a:gd name="connsiteX93" fmla="*/ 2847975 w 3008034"/>
                  <a:gd name="connsiteY93" fmla="*/ 2247900 h 3680460"/>
                  <a:gd name="connsiteX94" fmla="*/ 2863215 w 3008034"/>
                  <a:gd name="connsiteY94" fmla="*/ 2194560 h 3680460"/>
                  <a:gd name="connsiteX95" fmla="*/ 2878455 w 3008034"/>
                  <a:gd name="connsiteY95" fmla="*/ 2148840 h 3680460"/>
                  <a:gd name="connsiteX96" fmla="*/ 2901315 w 3008034"/>
                  <a:gd name="connsiteY96" fmla="*/ 2087880 h 3680460"/>
                  <a:gd name="connsiteX97" fmla="*/ 2908935 w 3008034"/>
                  <a:gd name="connsiteY97" fmla="*/ 2049780 h 3680460"/>
                  <a:gd name="connsiteX98" fmla="*/ 2924175 w 3008034"/>
                  <a:gd name="connsiteY98" fmla="*/ 1844040 h 3680460"/>
                  <a:gd name="connsiteX99" fmla="*/ 2908935 w 3008034"/>
                  <a:gd name="connsiteY99" fmla="*/ 1470660 h 3680460"/>
                  <a:gd name="connsiteX100" fmla="*/ 2886075 w 3008034"/>
                  <a:gd name="connsiteY100" fmla="*/ 1371600 h 3680460"/>
                  <a:gd name="connsiteX101" fmla="*/ 2870835 w 3008034"/>
                  <a:gd name="connsiteY101" fmla="*/ 1341120 h 3680460"/>
                  <a:gd name="connsiteX102" fmla="*/ 2847975 w 3008034"/>
                  <a:gd name="connsiteY102" fmla="*/ 1272540 h 3680460"/>
                  <a:gd name="connsiteX103" fmla="*/ 2840355 w 3008034"/>
                  <a:gd name="connsiteY103" fmla="*/ 1234440 h 3680460"/>
                  <a:gd name="connsiteX104" fmla="*/ 2817495 w 3008034"/>
                  <a:gd name="connsiteY104" fmla="*/ 1196340 h 3680460"/>
                  <a:gd name="connsiteX105" fmla="*/ 2802255 w 3008034"/>
                  <a:gd name="connsiteY105" fmla="*/ 1165860 h 3680460"/>
                  <a:gd name="connsiteX106" fmla="*/ 2771775 w 3008034"/>
                  <a:gd name="connsiteY106" fmla="*/ 1127760 h 3680460"/>
                  <a:gd name="connsiteX107" fmla="*/ 2756535 w 3008034"/>
                  <a:gd name="connsiteY107" fmla="*/ 1089660 h 3680460"/>
                  <a:gd name="connsiteX108" fmla="*/ 2726055 w 3008034"/>
                  <a:gd name="connsiteY108" fmla="*/ 1043940 h 3680460"/>
                  <a:gd name="connsiteX109" fmla="*/ 2718435 w 3008034"/>
                  <a:gd name="connsiteY109" fmla="*/ 1021080 h 3680460"/>
                  <a:gd name="connsiteX110" fmla="*/ 2672715 w 3008034"/>
                  <a:gd name="connsiteY110" fmla="*/ 937260 h 3680460"/>
                  <a:gd name="connsiteX111" fmla="*/ 2649855 w 3008034"/>
                  <a:gd name="connsiteY111" fmla="*/ 876300 h 3680460"/>
                  <a:gd name="connsiteX112" fmla="*/ 2634615 w 3008034"/>
                  <a:gd name="connsiteY112" fmla="*/ 845820 h 3680460"/>
                  <a:gd name="connsiteX113" fmla="*/ 2626995 w 3008034"/>
                  <a:gd name="connsiteY113" fmla="*/ 822960 h 3680460"/>
                  <a:gd name="connsiteX114" fmla="*/ 2611755 w 3008034"/>
                  <a:gd name="connsiteY114" fmla="*/ 800100 h 3680460"/>
                  <a:gd name="connsiteX115" fmla="*/ 2588895 w 3008034"/>
                  <a:gd name="connsiteY115" fmla="*/ 739140 h 3680460"/>
                  <a:gd name="connsiteX116" fmla="*/ 2448878 w 3008034"/>
                  <a:gd name="connsiteY116" fmla="*/ 621983 h 3680460"/>
                  <a:gd name="connsiteX117" fmla="*/ 2291715 w 3008034"/>
                  <a:gd name="connsiteY117" fmla="*/ 458152 h 3680460"/>
                  <a:gd name="connsiteX118" fmla="*/ 2227898 w 3008034"/>
                  <a:gd name="connsiteY118" fmla="*/ 406717 h 3680460"/>
                  <a:gd name="connsiteX119" fmla="*/ 2093595 w 3008034"/>
                  <a:gd name="connsiteY119" fmla="*/ 312420 h 3680460"/>
                  <a:gd name="connsiteX120" fmla="*/ 2032635 w 3008034"/>
                  <a:gd name="connsiteY120" fmla="*/ 266700 h 3680460"/>
                  <a:gd name="connsiteX121" fmla="*/ 1994535 w 3008034"/>
                  <a:gd name="connsiteY121" fmla="*/ 251460 h 3680460"/>
                  <a:gd name="connsiteX122" fmla="*/ 1948815 w 3008034"/>
                  <a:gd name="connsiteY122" fmla="*/ 220980 h 3680460"/>
                  <a:gd name="connsiteX123" fmla="*/ 1887855 w 3008034"/>
                  <a:gd name="connsiteY12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06015 w 3008034"/>
                  <a:gd name="connsiteY77" fmla="*/ 3048000 h 3680460"/>
                  <a:gd name="connsiteX78" fmla="*/ 2436495 w 3008034"/>
                  <a:gd name="connsiteY78" fmla="*/ 3032760 h 3680460"/>
                  <a:gd name="connsiteX79" fmla="*/ 2459355 w 3008034"/>
                  <a:gd name="connsiteY79" fmla="*/ 3009900 h 3680460"/>
                  <a:gd name="connsiteX80" fmla="*/ 2527935 w 3008034"/>
                  <a:gd name="connsiteY80" fmla="*/ 2926080 h 3680460"/>
                  <a:gd name="connsiteX81" fmla="*/ 2566035 w 3008034"/>
                  <a:gd name="connsiteY81" fmla="*/ 2880360 h 3680460"/>
                  <a:gd name="connsiteX82" fmla="*/ 2619375 w 3008034"/>
                  <a:gd name="connsiteY82" fmla="*/ 2811780 h 3680460"/>
                  <a:gd name="connsiteX83" fmla="*/ 2634615 w 3008034"/>
                  <a:gd name="connsiteY83" fmla="*/ 2773680 h 3680460"/>
                  <a:gd name="connsiteX84" fmla="*/ 2665095 w 3008034"/>
                  <a:gd name="connsiteY84" fmla="*/ 2727960 h 3680460"/>
                  <a:gd name="connsiteX85" fmla="*/ 2680335 w 3008034"/>
                  <a:gd name="connsiteY85" fmla="*/ 2705100 h 3680460"/>
                  <a:gd name="connsiteX86" fmla="*/ 2695575 w 3008034"/>
                  <a:gd name="connsiteY86" fmla="*/ 2667000 h 3680460"/>
                  <a:gd name="connsiteX87" fmla="*/ 2718435 w 3008034"/>
                  <a:gd name="connsiteY87" fmla="*/ 2621280 h 3680460"/>
                  <a:gd name="connsiteX88" fmla="*/ 2726055 w 3008034"/>
                  <a:gd name="connsiteY88" fmla="*/ 2590800 h 3680460"/>
                  <a:gd name="connsiteX89" fmla="*/ 2748915 w 3008034"/>
                  <a:gd name="connsiteY89" fmla="*/ 2545080 h 3680460"/>
                  <a:gd name="connsiteX90" fmla="*/ 2779395 w 3008034"/>
                  <a:gd name="connsiteY90" fmla="*/ 2484120 h 3680460"/>
                  <a:gd name="connsiteX91" fmla="*/ 2802255 w 3008034"/>
                  <a:gd name="connsiteY91" fmla="*/ 2407920 h 3680460"/>
                  <a:gd name="connsiteX92" fmla="*/ 2832735 w 3008034"/>
                  <a:gd name="connsiteY92" fmla="*/ 2324100 h 3680460"/>
                  <a:gd name="connsiteX93" fmla="*/ 2847975 w 3008034"/>
                  <a:gd name="connsiteY93" fmla="*/ 2247900 h 3680460"/>
                  <a:gd name="connsiteX94" fmla="*/ 2863215 w 3008034"/>
                  <a:gd name="connsiteY94" fmla="*/ 2194560 h 3680460"/>
                  <a:gd name="connsiteX95" fmla="*/ 2878455 w 3008034"/>
                  <a:gd name="connsiteY95" fmla="*/ 2148840 h 3680460"/>
                  <a:gd name="connsiteX96" fmla="*/ 2901315 w 3008034"/>
                  <a:gd name="connsiteY96" fmla="*/ 2087880 h 3680460"/>
                  <a:gd name="connsiteX97" fmla="*/ 2908935 w 3008034"/>
                  <a:gd name="connsiteY97" fmla="*/ 2049780 h 3680460"/>
                  <a:gd name="connsiteX98" fmla="*/ 2924175 w 3008034"/>
                  <a:gd name="connsiteY98" fmla="*/ 1844040 h 3680460"/>
                  <a:gd name="connsiteX99" fmla="*/ 2908935 w 3008034"/>
                  <a:gd name="connsiteY99" fmla="*/ 1470660 h 3680460"/>
                  <a:gd name="connsiteX100" fmla="*/ 2886075 w 3008034"/>
                  <a:gd name="connsiteY100" fmla="*/ 1371600 h 3680460"/>
                  <a:gd name="connsiteX101" fmla="*/ 2870835 w 3008034"/>
                  <a:gd name="connsiteY101" fmla="*/ 1341120 h 3680460"/>
                  <a:gd name="connsiteX102" fmla="*/ 2847975 w 3008034"/>
                  <a:gd name="connsiteY102" fmla="*/ 1272540 h 3680460"/>
                  <a:gd name="connsiteX103" fmla="*/ 2840355 w 3008034"/>
                  <a:gd name="connsiteY103" fmla="*/ 1234440 h 3680460"/>
                  <a:gd name="connsiteX104" fmla="*/ 2817495 w 3008034"/>
                  <a:gd name="connsiteY104" fmla="*/ 1196340 h 3680460"/>
                  <a:gd name="connsiteX105" fmla="*/ 2802255 w 3008034"/>
                  <a:gd name="connsiteY105" fmla="*/ 1165860 h 3680460"/>
                  <a:gd name="connsiteX106" fmla="*/ 2771775 w 3008034"/>
                  <a:gd name="connsiteY106" fmla="*/ 1127760 h 3680460"/>
                  <a:gd name="connsiteX107" fmla="*/ 2756535 w 3008034"/>
                  <a:gd name="connsiteY107" fmla="*/ 1089660 h 3680460"/>
                  <a:gd name="connsiteX108" fmla="*/ 2726055 w 3008034"/>
                  <a:gd name="connsiteY108" fmla="*/ 1043940 h 3680460"/>
                  <a:gd name="connsiteX109" fmla="*/ 2718435 w 3008034"/>
                  <a:gd name="connsiteY109" fmla="*/ 1021080 h 3680460"/>
                  <a:gd name="connsiteX110" fmla="*/ 2672715 w 3008034"/>
                  <a:gd name="connsiteY110" fmla="*/ 937260 h 3680460"/>
                  <a:gd name="connsiteX111" fmla="*/ 2649855 w 3008034"/>
                  <a:gd name="connsiteY111" fmla="*/ 876300 h 3680460"/>
                  <a:gd name="connsiteX112" fmla="*/ 2634615 w 3008034"/>
                  <a:gd name="connsiteY112" fmla="*/ 845820 h 3680460"/>
                  <a:gd name="connsiteX113" fmla="*/ 2626995 w 3008034"/>
                  <a:gd name="connsiteY113" fmla="*/ 822960 h 3680460"/>
                  <a:gd name="connsiteX114" fmla="*/ 2611755 w 3008034"/>
                  <a:gd name="connsiteY114" fmla="*/ 800100 h 3680460"/>
                  <a:gd name="connsiteX115" fmla="*/ 2588895 w 3008034"/>
                  <a:gd name="connsiteY115" fmla="*/ 739140 h 3680460"/>
                  <a:gd name="connsiteX116" fmla="*/ 2448878 w 3008034"/>
                  <a:gd name="connsiteY116" fmla="*/ 621983 h 3680460"/>
                  <a:gd name="connsiteX117" fmla="*/ 2291715 w 3008034"/>
                  <a:gd name="connsiteY117" fmla="*/ 458152 h 3680460"/>
                  <a:gd name="connsiteX118" fmla="*/ 2227898 w 3008034"/>
                  <a:gd name="connsiteY118" fmla="*/ 406717 h 3680460"/>
                  <a:gd name="connsiteX119" fmla="*/ 2093595 w 3008034"/>
                  <a:gd name="connsiteY119" fmla="*/ 312420 h 3680460"/>
                  <a:gd name="connsiteX120" fmla="*/ 2032635 w 3008034"/>
                  <a:gd name="connsiteY120" fmla="*/ 266700 h 3680460"/>
                  <a:gd name="connsiteX121" fmla="*/ 1994535 w 3008034"/>
                  <a:gd name="connsiteY121" fmla="*/ 251460 h 3680460"/>
                  <a:gd name="connsiteX122" fmla="*/ 1948815 w 3008034"/>
                  <a:gd name="connsiteY122" fmla="*/ 220980 h 3680460"/>
                  <a:gd name="connsiteX123" fmla="*/ 1887855 w 3008034"/>
                  <a:gd name="connsiteY12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390775 w 3008034"/>
                  <a:gd name="connsiteY76" fmla="*/ 3070860 h 3680460"/>
                  <a:gd name="connsiteX77" fmla="*/ 2436495 w 3008034"/>
                  <a:gd name="connsiteY77" fmla="*/ 3032760 h 3680460"/>
                  <a:gd name="connsiteX78" fmla="*/ 2459355 w 3008034"/>
                  <a:gd name="connsiteY78" fmla="*/ 3009900 h 3680460"/>
                  <a:gd name="connsiteX79" fmla="*/ 2527935 w 3008034"/>
                  <a:gd name="connsiteY79" fmla="*/ 2926080 h 3680460"/>
                  <a:gd name="connsiteX80" fmla="*/ 2566035 w 3008034"/>
                  <a:gd name="connsiteY80" fmla="*/ 2880360 h 3680460"/>
                  <a:gd name="connsiteX81" fmla="*/ 2619375 w 3008034"/>
                  <a:gd name="connsiteY81" fmla="*/ 2811780 h 3680460"/>
                  <a:gd name="connsiteX82" fmla="*/ 2634615 w 3008034"/>
                  <a:gd name="connsiteY82" fmla="*/ 2773680 h 3680460"/>
                  <a:gd name="connsiteX83" fmla="*/ 2665095 w 3008034"/>
                  <a:gd name="connsiteY83" fmla="*/ 2727960 h 3680460"/>
                  <a:gd name="connsiteX84" fmla="*/ 2680335 w 3008034"/>
                  <a:gd name="connsiteY84" fmla="*/ 2705100 h 3680460"/>
                  <a:gd name="connsiteX85" fmla="*/ 2695575 w 3008034"/>
                  <a:gd name="connsiteY85" fmla="*/ 2667000 h 3680460"/>
                  <a:gd name="connsiteX86" fmla="*/ 2718435 w 3008034"/>
                  <a:gd name="connsiteY86" fmla="*/ 2621280 h 3680460"/>
                  <a:gd name="connsiteX87" fmla="*/ 2726055 w 3008034"/>
                  <a:gd name="connsiteY87" fmla="*/ 2590800 h 3680460"/>
                  <a:gd name="connsiteX88" fmla="*/ 2748915 w 3008034"/>
                  <a:gd name="connsiteY88" fmla="*/ 2545080 h 3680460"/>
                  <a:gd name="connsiteX89" fmla="*/ 2779395 w 3008034"/>
                  <a:gd name="connsiteY89" fmla="*/ 2484120 h 3680460"/>
                  <a:gd name="connsiteX90" fmla="*/ 2802255 w 3008034"/>
                  <a:gd name="connsiteY90" fmla="*/ 2407920 h 3680460"/>
                  <a:gd name="connsiteX91" fmla="*/ 2832735 w 3008034"/>
                  <a:gd name="connsiteY91" fmla="*/ 2324100 h 3680460"/>
                  <a:gd name="connsiteX92" fmla="*/ 2847975 w 3008034"/>
                  <a:gd name="connsiteY92" fmla="*/ 2247900 h 3680460"/>
                  <a:gd name="connsiteX93" fmla="*/ 2863215 w 3008034"/>
                  <a:gd name="connsiteY93" fmla="*/ 2194560 h 3680460"/>
                  <a:gd name="connsiteX94" fmla="*/ 2878455 w 3008034"/>
                  <a:gd name="connsiteY94" fmla="*/ 2148840 h 3680460"/>
                  <a:gd name="connsiteX95" fmla="*/ 2901315 w 3008034"/>
                  <a:gd name="connsiteY95" fmla="*/ 2087880 h 3680460"/>
                  <a:gd name="connsiteX96" fmla="*/ 2908935 w 3008034"/>
                  <a:gd name="connsiteY96" fmla="*/ 2049780 h 3680460"/>
                  <a:gd name="connsiteX97" fmla="*/ 2924175 w 3008034"/>
                  <a:gd name="connsiteY97" fmla="*/ 1844040 h 3680460"/>
                  <a:gd name="connsiteX98" fmla="*/ 2908935 w 3008034"/>
                  <a:gd name="connsiteY98" fmla="*/ 1470660 h 3680460"/>
                  <a:gd name="connsiteX99" fmla="*/ 2886075 w 3008034"/>
                  <a:gd name="connsiteY99" fmla="*/ 1371600 h 3680460"/>
                  <a:gd name="connsiteX100" fmla="*/ 2870835 w 3008034"/>
                  <a:gd name="connsiteY100" fmla="*/ 1341120 h 3680460"/>
                  <a:gd name="connsiteX101" fmla="*/ 2847975 w 3008034"/>
                  <a:gd name="connsiteY101" fmla="*/ 1272540 h 3680460"/>
                  <a:gd name="connsiteX102" fmla="*/ 2840355 w 3008034"/>
                  <a:gd name="connsiteY102" fmla="*/ 1234440 h 3680460"/>
                  <a:gd name="connsiteX103" fmla="*/ 2817495 w 3008034"/>
                  <a:gd name="connsiteY103" fmla="*/ 1196340 h 3680460"/>
                  <a:gd name="connsiteX104" fmla="*/ 2802255 w 3008034"/>
                  <a:gd name="connsiteY104" fmla="*/ 1165860 h 3680460"/>
                  <a:gd name="connsiteX105" fmla="*/ 2771775 w 3008034"/>
                  <a:gd name="connsiteY105" fmla="*/ 1127760 h 3680460"/>
                  <a:gd name="connsiteX106" fmla="*/ 2756535 w 3008034"/>
                  <a:gd name="connsiteY106" fmla="*/ 1089660 h 3680460"/>
                  <a:gd name="connsiteX107" fmla="*/ 2726055 w 3008034"/>
                  <a:gd name="connsiteY107" fmla="*/ 1043940 h 3680460"/>
                  <a:gd name="connsiteX108" fmla="*/ 2718435 w 3008034"/>
                  <a:gd name="connsiteY108" fmla="*/ 1021080 h 3680460"/>
                  <a:gd name="connsiteX109" fmla="*/ 2672715 w 3008034"/>
                  <a:gd name="connsiteY109" fmla="*/ 937260 h 3680460"/>
                  <a:gd name="connsiteX110" fmla="*/ 2649855 w 3008034"/>
                  <a:gd name="connsiteY110" fmla="*/ 876300 h 3680460"/>
                  <a:gd name="connsiteX111" fmla="*/ 2634615 w 3008034"/>
                  <a:gd name="connsiteY111" fmla="*/ 845820 h 3680460"/>
                  <a:gd name="connsiteX112" fmla="*/ 2626995 w 3008034"/>
                  <a:gd name="connsiteY112" fmla="*/ 822960 h 3680460"/>
                  <a:gd name="connsiteX113" fmla="*/ 2611755 w 3008034"/>
                  <a:gd name="connsiteY113" fmla="*/ 800100 h 3680460"/>
                  <a:gd name="connsiteX114" fmla="*/ 2588895 w 3008034"/>
                  <a:gd name="connsiteY114" fmla="*/ 739140 h 3680460"/>
                  <a:gd name="connsiteX115" fmla="*/ 2448878 w 3008034"/>
                  <a:gd name="connsiteY115" fmla="*/ 621983 h 3680460"/>
                  <a:gd name="connsiteX116" fmla="*/ 2291715 w 3008034"/>
                  <a:gd name="connsiteY116" fmla="*/ 458152 h 3680460"/>
                  <a:gd name="connsiteX117" fmla="*/ 2227898 w 3008034"/>
                  <a:gd name="connsiteY117" fmla="*/ 406717 h 3680460"/>
                  <a:gd name="connsiteX118" fmla="*/ 2093595 w 3008034"/>
                  <a:gd name="connsiteY118" fmla="*/ 312420 h 3680460"/>
                  <a:gd name="connsiteX119" fmla="*/ 2032635 w 3008034"/>
                  <a:gd name="connsiteY119" fmla="*/ 266700 h 3680460"/>
                  <a:gd name="connsiteX120" fmla="*/ 1994535 w 3008034"/>
                  <a:gd name="connsiteY120" fmla="*/ 251460 h 3680460"/>
                  <a:gd name="connsiteX121" fmla="*/ 1948815 w 3008034"/>
                  <a:gd name="connsiteY121" fmla="*/ 220980 h 3680460"/>
                  <a:gd name="connsiteX122" fmla="*/ 1887855 w 3008034"/>
                  <a:gd name="connsiteY12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566035 w 3008034"/>
                  <a:gd name="connsiteY79" fmla="*/ 2880360 h 3680460"/>
                  <a:gd name="connsiteX80" fmla="*/ 2619375 w 3008034"/>
                  <a:gd name="connsiteY80" fmla="*/ 2811780 h 3680460"/>
                  <a:gd name="connsiteX81" fmla="*/ 2634615 w 3008034"/>
                  <a:gd name="connsiteY81" fmla="*/ 2773680 h 3680460"/>
                  <a:gd name="connsiteX82" fmla="*/ 2665095 w 3008034"/>
                  <a:gd name="connsiteY82" fmla="*/ 2727960 h 3680460"/>
                  <a:gd name="connsiteX83" fmla="*/ 2680335 w 3008034"/>
                  <a:gd name="connsiteY83" fmla="*/ 2705100 h 3680460"/>
                  <a:gd name="connsiteX84" fmla="*/ 2695575 w 3008034"/>
                  <a:gd name="connsiteY84" fmla="*/ 2667000 h 3680460"/>
                  <a:gd name="connsiteX85" fmla="*/ 2718435 w 3008034"/>
                  <a:gd name="connsiteY85" fmla="*/ 2621280 h 3680460"/>
                  <a:gd name="connsiteX86" fmla="*/ 2726055 w 3008034"/>
                  <a:gd name="connsiteY86" fmla="*/ 2590800 h 3680460"/>
                  <a:gd name="connsiteX87" fmla="*/ 2748915 w 3008034"/>
                  <a:gd name="connsiteY87" fmla="*/ 2545080 h 3680460"/>
                  <a:gd name="connsiteX88" fmla="*/ 2779395 w 3008034"/>
                  <a:gd name="connsiteY88" fmla="*/ 2484120 h 3680460"/>
                  <a:gd name="connsiteX89" fmla="*/ 2802255 w 3008034"/>
                  <a:gd name="connsiteY89" fmla="*/ 2407920 h 3680460"/>
                  <a:gd name="connsiteX90" fmla="*/ 2832735 w 3008034"/>
                  <a:gd name="connsiteY90" fmla="*/ 2324100 h 3680460"/>
                  <a:gd name="connsiteX91" fmla="*/ 2847975 w 3008034"/>
                  <a:gd name="connsiteY91" fmla="*/ 2247900 h 3680460"/>
                  <a:gd name="connsiteX92" fmla="*/ 2863215 w 3008034"/>
                  <a:gd name="connsiteY92" fmla="*/ 2194560 h 3680460"/>
                  <a:gd name="connsiteX93" fmla="*/ 2878455 w 3008034"/>
                  <a:gd name="connsiteY93" fmla="*/ 2148840 h 3680460"/>
                  <a:gd name="connsiteX94" fmla="*/ 2901315 w 3008034"/>
                  <a:gd name="connsiteY94" fmla="*/ 2087880 h 3680460"/>
                  <a:gd name="connsiteX95" fmla="*/ 2908935 w 3008034"/>
                  <a:gd name="connsiteY95" fmla="*/ 2049780 h 3680460"/>
                  <a:gd name="connsiteX96" fmla="*/ 2924175 w 3008034"/>
                  <a:gd name="connsiteY96" fmla="*/ 1844040 h 3680460"/>
                  <a:gd name="connsiteX97" fmla="*/ 2908935 w 3008034"/>
                  <a:gd name="connsiteY97" fmla="*/ 1470660 h 3680460"/>
                  <a:gd name="connsiteX98" fmla="*/ 2886075 w 3008034"/>
                  <a:gd name="connsiteY98" fmla="*/ 1371600 h 3680460"/>
                  <a:gd name="connsiteX99" fmla="*/ 2870835 w 3008034"/>
                  <a:gd name="connsiteY99" fmla="*/ 1341120 h 3680460"/>
                  <a:gd name="connsiteX100" fmla="*/ 2847975 w 3008034"/>
                  <a:gd name="connsiteY100" fmla="*/ 1272540 h 3680460"/>
                  <a:gd name="connsiteX101" fmla="*/ 2840355 w 3008034"/>
                  <a:gd name="connsiteY101" fmla="*/ 1234440 h 3680460"/>
                  <a:gd name="connsiteX102" fmla="*/ 2817495 w 3008034"/>
                  <a:gd name="connsiteY102" fmla="*/ 1196340 h 3680460"/>
                  <a:gd name="connsiteX103" fmla="*/ 2802255 w 3008034"/>
                  <a:gd name="connsiteY103" fmla="*/ 1165860 h 3680460"/>
                  <a:gd name="connsiteX104" fmla="*/ 2771775 w 3008034"/>
                  <a:gd name="connsiteY104" fmla="*/ 1127760 h 3680460"/>
                  <a:gd name="connsiteX105" fmla="*/ 2756535 w 3008034"/>
                  <a:gd name="connsiteY105" fmla="*/ 1089660 h 3680460"/>
                  <a:gd name="connsiteX106" fmla="*/ 2726055 w 3008034"/>
                  <a:gd name="connsiteY106" fmla="*/ 1043940 h 3680460"/>
                  <a:gd name="connsiteX107" fmla="*/ 2718435 w 3008034"/>
                  <a:gd name="connsiteY107" fmla="*/ 1021080 h 3680460"/>
                  <a:gd name="connsiteX108" fmla="*/ 2672715 w 3008034"/>
                  <a:gd name="connsiteY108" fmla="*/ 937260 h 3680460"/>
                  <a:gd name="connsiteX109" fmla="*/ 2649855 w 3008034"/>
                  <a:gd name="connsiteY109" fmla="*/ 876300 h 3680460"/>
                  <a:gd name="connsiteX110" fmla="*/ 2634615 w 3008034"/>
                  <a:gd name="connsiteY110" fmla="*/ 845820 h 3680460"/>
                  <a:gd name="connsiteX111" fmla="*/ 2626995 w 3008034"/>
                  <a:gd name="connsiteY111" fmla="*/ 822960 h 3680460"/>
                  <a:gd name="connsiteX112" fmla="*/ 2611755 w 3008034"/>
                  <a:gd name="connsiteY112" fmla="*/ 800100 h 3680460"/>
                  <a:gd name="connsiteX113" fmla="*/ 2588895 w 3008034"/>
                  <a:gd name="connsiteY113" fmla="*/ 739140 h 3680460"/>
                  <a:gd name="connsiteX114" fmla="*/ 2448878 w 3008034"/>
                  <a:gd name="connsiteY114" fmla="*/ 621983 h 3680460"/>
                  <a:gd name="connsiteX115" fmla="*/ 2291715 w 3008034"/>
                  <a:gd name="connsiteY115" fmla="*/ 458152 h 3680460"/>
                  <a:gd name="connsiteX116" fmla="*/ 2227898 w 3008034"/>
                  <a:gd name="connsiteY116" fmla="*/ 406717 h 3680460"/>
                  <a:gd name="connsiteX117" fmla="*/ 2093595 w 3008034"/>
                  <a:gd name="connsiteY117" fmla="*/ 312420 h 3680460"/>
                  <a:gd name="connsiteX118" fmla="*/ 2032635 w 3008034"/>
                  <a:gd name="connsiteY118" fmla="*/ 266700 h 3680460"/>
                  <a:gd name="connsiteX119" fmla="*/ 1994535 w 3008034"/>
                  <a:gd name="connsiteY119" fmla="*/ 251460 h 3680460"/>
                  <a:gd name="connsiteX120" fmla="*/ 1948815 w 3008034"/>
                  <a:gd name="connsiteY120" fmla="*/ 220980 h 3680460"/>
                  <a:gd name="connsiteX121" fmla="*/ 1887855 w 3008034"/>
                  <a:gd name="connsiteY12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26055 w 3008034"/>
                  <a:gd name="connsiteY85" fmla="*/ 2590800 h 3680460"/>
                  <a:gd name="connsiteX86" fmla="*/ 2748915 w 3008034"/>
                  <a:gd name="connsiteY86" fmla="*/ 2545080 h 3680460"/>
                  <a:gd name="connsiteX87" fmla="*/ 2779395 w 3008034"/>
                  <a:gd name="connsiteY87" fmla="*/ 2484120 h 3680460"/>
                  <a:gd name="connsiteX88" fmla="*/ 2802255 w 3008034"/>
                  <a:gd name="connsiteY88" fmla="*/ 2407920 h 3680460"/>
                  <a:gd name="connsiteX89" fmla="*/ 2832735 w 3008034"/>
                  <a:gd name="connsiteY89" fmla="*/ 2324100 h 3680460"/>
                  <a:gd name="connsiteX90" fmla="*/ 2847975 w 3008034"/>
                  <a:gd name="connsiteY90" fmla="*/ 2247900 h 3680460"/>
                  <a:gd name="connsiteX91" fmla="*/ 2863215 w 3008034"/>
                  <a:gd name="connsiteY91" fmla="*/ 2194560 h 3680460"/>
                  <a:gd name="connsiteX92" fmla="*/ 2878455 w 3008034"/>
                  <a:gd name="connsiteY92" fmla="*/ 2148840 h 3680460"/>
                  <a:gd name="connsiteX93" fmla="*/ 2901315 w 3008034"/>
                  <a:gd name="connsiteY93" fmla="*/ 2087880 h 3680460"/>
                  <a:gd name="connsiteX94" fmla="*/ 2908935 w 3008034"/>
                  <a:gd name="connsiteY94" fmla="*/ 2049780 h 3680460"/>
                  <a:gd name="connsiteX95" fmla="*/ 2924175 w 3008034"/>
                  <a:gd name="connsiteY95" fmla="*/ 1844040 h 3680460"/>
                  <a:gd name="connsiteX96" fmla="*/ 2908935 w 3008034"/>
                  <a:gd name="connsiteY96" fmla="*/ 1470660 h 3680460"/>
                  <a:gd name="connsiteX97" fmla="*/ 2886075 w 3008034"/>
                  <a:gd name="connsiteY97" fmla="*/ 1371600 h 3680460"/>
                  <a:gd name="connsiteX98" fmla="*/ 2870835 w 3008034"/>
                  <a:gd name="connsiteY98" fmla="*/ 1341120 h 3680460"/>
                  <a:gd name="connsiteX99" fmla="*/ 2847975 w 3008034"/>
                  <a:gd name="connsiteY99" fmla="*/ 1272540 h 3680460"/>
                  <a:gd name="connsiteX100" fmla="*/ 2840355 w 3008034"/>
                  <a:gd name="connsiteY100" fmla="*/ 1234440 h 3680460"/>
                  <a:gd name="connsiteX101" fmla="*/ 2817495 w 3008034"/>
                  <a:gd name="connsiteY101" fmla="*/ 1196340 h 3680460"/>
                  <a:gd name="connsiteX102" fmla="*/ 2802255 w 3008034"/>
                  <a:gd name="connsiteY102" fmla="*/ 1165860 h 3680460"/>
                  <a:gd name="connsiteX103" fmla="*/ 2771775 w 3008034"/>
                  <a:gd name="connsiteY103" fmla="*/ 1127760 h 3680460"/>
                  <a:gd name="connsiteX104" fmla="*/ 2756535 w 3008034"/>
                  <a:gd name="connsiteY104" fmla="*/ 1089660 h 3680460"/>
                  <a:gd name="connsiteX105" fmla="*/ 2726055 w 3008034"/>
                  <a:gd name="connsiteY105" fmla="*/ 1043940 h 3680460"/>
                  <a:gd name="connsiteX106" fmla="*/ 2718435 w 3008034"/>
                  <a:gd name="connsiteY106" fmla="*/ 1021080 h 3680460"/>
                  <a:gd name="connsiteX107" fmla="*/ 2672715 w 3008034"/>
                  <a:gd name="connsiteY107" fmla="*/ 937260 h 3680460"/>
                  <a:gd name="connsiteX108" fmla="*/ 2649855 w 3008034"/>
                  <a:gd name="connsiteY108" fmla="*/ 876300 h 3680460"/>
                  <a:gd name="connsiteX109" fmla="*/ 2634615 w 3008034"/>
                  <a:gd name="connsiteY109" fmla="*/ 845820 h 3680460"/>
                  <a:gd name="connsiteX110" fmla="*/ 2626995 w 3008034"/>
                  <a:gd name="connsiteY110" fmla="*/ 822960 h 3680460"/>
                  <a:gd name="connsiteX111" fmla="*/ 2611755 w 3008034"/>
                  <a:gd name="connsiteY111" fmla="*/ 800100 h 3680460"/>
                  <a:gd name="connsiteX112" fmla="*/ 2588895 w 3008034"/>
                  <a:gd name="connsiteY112" fmla="*/ 739140 h 3680460"/>
                  <a:gd name="connsiteX113" fmla="*/ 2448878 w 3008034"/>
                  <a:gd name="connsiteY113" fmla="*/ 621983 h 3680460"/>
                  <a:gd name="connsiteX114" fmla="*/ 2291715 w 3008034"/>
                  <a:gd name="connsiteY114" fmla="*/ 458152 h 3680460"/>
                  <a:gd name="connsiteX115" fmla="*/ 2227898 w 3008034"/>
                  <a:gd name="connsiteY115" fmla="*/ 406717 h 3680460"/>
                  <a:gd name="connsiteX116" fmla="*/ 2093595 w 3008034"/>
                  <a:gd name="connsiteY116" fmla="*/ 312420 h 3680460"/>
                  <a:gd name="connsiteX117" fmla="*/ 2032635 w 3008034"/>
                  <a:gd name="connsiteY117" fmla="*/ 266700 h 3680460"/>
                  <a:gd name="connsiteX118" fmla="*/ 1994535 w 3008034"/>
                  <a:gd name="connsiteY118" fmla="*/ 251460 h 3680460"/>
                  <a:gd name="connsiteX119" fmla="*/ 1948815 w 3008034"/>
                  <a:gd name="connsiteY119" fmla="*/ 220980 h 3680460"/>
                  <a:gd name="connsiteX120" fmla="*/ 1887855 w 3008034"/>
                  <a:gd name="connsiteY12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26055 w 3008034"/>
                  <a:gd name="connsiteY85" fmla="*/ 2590800 h 3680460"/>
                  <a:gd name="connsiteX86" fmla="*/ 2779395 w 3008034"/>
                  <a:gd name="connsiteY86" fmla="*/ 2484120 h 3680460"/>
                  <a:gd name="connsiteX87" fmla="*/ 2802255 w 3008034"/>
                  <a:gd name="connsiteY87" fmla="*/ 2407920 h 3680460"/>
                  <a:gd name="connsiteX88" fmla="*/ 2832735 w 3008034"/>
                  <a:gd name="connsiteY88" fmla="*/ 2324100 h 3680460"/>
                  <a:gd name="connsiteX89" fmla="*/ 2847975 w 3008034"/>
                  <a:gd name="connsiteY89" fmla="*/ 2247900 h 3680460"/>
                  <a:gd name="connsiteX90" fmla="*/ 2863215 w 3008034"/>
                  <a:gd name="connsiteY90" fmla="*/ 2194560 h 3680460"/>
                  <a:gd name="connsiteX91" fmla="*/ 2878455 w 3008034"/>
                  <a:gd name="connsiteY91" fmla="*/ 2148840 h 3680460"/>
                  <a:gd name="connsiteX92" fmla="*/ 2901315 w 3008034"/>
                  <a:gd name="connsiteY92" fmla="*/ 2087880 h 3680460"/>
                  <a:gd name="connsiteX93" fmla="*/ 2908935 w 3008034"/>
                  <a:gd name="connsiteY93" fmla="*/ 2049780 h 3680460"/>
                  <a:gd name="connsiteX94" fmla="*/ 2924175 w 3008034"/>
                  <a:gd name="connsiteY94" fmla="*/ 1844040 h 3680460"/>
                  <a:gd name="connsiteX95" fmla="*/ 2908935 w 3008034"/>
                  <a:gd name="connsiteY95" fmla="*/ 1470660 h 3680460"/>
                  <a:gd name="connsiteX96" fmla="*/ 2886075 w 3008034"/>
                  <a:gd name="connsiteY96" fmla="*/ 1371600 h 3680460"/>
                  <a:gd name="connsiteX97" fmla="*/ 2870835 w 3008034"/>
                  <a:gd name="connsiteY97" fmla="*/ 1341120 h 3680460"/>
                  <a:gd name="connsiteX98" fmla="*/ 2847975 w 3008034"/>
                  <a:gd name="connsiteY98" fmla="*/ 1272540 h 3680460"/>
                  <a:gd name="connsiteX99" fmla="*/ 2840355 w 3008034"/>
                  <a:gd name="connsiteY99" fmla="*/ 1234440 h 3680460"/>
                  <a:gd name="connsiteX100" fmla="*/ 2817495 w 3008034"/>
                  <a:gd name="connsiteY100" fmla="*/ 1196340 h 3680460"/>
                  <a:gd name="connsiteX101" fmla="*/ 2802255 w 3008034"/>
                  <a:gd name="connsiteY101" fmla="*/ 1165860 h 3680460"/>
                  <a:gd name="connsiteX102" fmla="*/ 2771775 w 3008034"/>
                  <a:gd name="connsiteY102" fmla="*/ 1127760 h 3680460"/>
                  <a:gd name="connsiteX103" fmla="*/ 2756535 w 3008034"/>
                  <a:gd name="connsiteY103" fmla="*/ 1089660 h 3680460"/>
                  <a:gd name="connsiteX104" fmla="*/ 2726055 w 3008034"/>
                  <a:gd name="connsiteY104" fmla="*/ 1043940 h 3680460"/>
                  <a:gd name="connsiteX105" fmla="*/ 2718435 w 3008034"/>
                  <a:gd name="connsiteY105" fmla="*/ 1021080 h 3680460"/>
                  <a:gd name="connsiteX106" fmla="*/ 2672715 w 3008034"/>
                  <a:gd name="connsiteY106" fmla="*/ 937260 h 3680460"/>
                  <a:gd name="connsiteX107" fmla="*/ 2649855 w 3008034"/>
                  <a:gd name="connsiteY107" fmla="*/ 876300 h 3680460"/>
                  <a:gd name="connsiteX108" fmla="*/ 2634615 w 3008034"/>
                  <a:gd name="connsiteY108" fmla="*/ 845820 h 3680460"/>
                  <a:gd name="connsiteX109" fmla="*/ 2626995 w 3008034"/>
                  <a:gd name="connsiteY109" fmla="*/ 822960 h 3680460"/>
                  <a:gd name="connsiteX110" fmla="*/ 2611755 w 3008034"/>
                  <a:gd name="connsiteY110" fmla="*/ 800100 h 3680460"/>
                  <a:gd name="connsiteX111" fmla="*/ 2588895 w 3008034"/>
                  <a:gd name="connsiteY111" fmla="*/ 739140 h 3680460"/>
                  <a:gd name="connsiteX112" fmla="*/ 2448878 w 3008034"/>
                  <a:gd name="connsiteY112" fmla="*/ 621983 h 3680460"/>
                  <a:gd name="connsiteX113" fmla="*/ 2291715 w 3008034"/>
                  <a:gd name="connsiteY113" fmla="*/ 458152 h 3680460"/>
                  <a:gd name="connsiteX114" fmla="*/ 2227898 w 3008034"/>
                  <a:gd name="connsiteY114" fmla="*/ 406717 h 3680460"/>
                  <a:gd name="connsiteX115" fmla="*/ 2093595 w 3008034"/>
                  <a:gd name="connsiteY115" fmla="*/ 312420 h 3680460"/>
                  <a:gd name="connsiteX116" fmla="*/ 2032635 w 3008034"/>
                  <a:gd name="connsiteY116" fmla="*/ 266700 h 3680460"/>
                  <a:gd name="connsiteX117" fmla="*/ 1994535 w 3008034"/>
                  <a:gd name="connsiteY117" fmla="*/ 251460 h 3680460"/>
                  <a:gd name="connsiteX118" fmla="*/ 1948815 w 3008034"/>
                  <a:gd name="connsiteY118" fmla="*/ 220980 h 3680460"/>
                  <a:gd name="connsiteX119" fmla="*/ 1887855 w 3008034"/>
                  <a:gd name="connsiteY11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18435 w 3008034"/>
                  <a:gd name="connsiteY84" fmla="*/ 2621280 h 3680460"/>
                  <a:gd name="connsiteX85" fmla="*/ 2779395 w 3008034"/>
                  <a:gd name="connsiteY85" fmla="*/ 2484120 h 3680460"/>
                  <a:gd name="connsiteX86" fmla="*/ 2802255 w 3008034"/>
                  <a:gd name="connsiteY86" fmla="*/ 2407920 h 3680460"/>
                  <a:gd name="connsiteX87" fmla="*/ 2832735 w 3008034"/>
                  <a:gd name="connsiteY87" fmla="*/ 2324100 h 3680460"/>
                  <a:gd name="connsiteX88" fmla="*/ 2847975 w 3008034"/>
                  <a:gd name="connsiteY88" fmla="*/ 2247900 h 3680460"/>
                  <a:gd name="connsiteX89" fmla="*/ 2863215 w 3008034"/>
                  <a:gd name="connsiteY89" fmla="*/ 2194560 h 3680460"/>
                  <a:gd name="connsiteX90" fmla="*/ 2878455 w 3008034"/>
                  <a:gd name="connsiteY90" fmla="*/ 2148840 h 3680460"/>
                  <a:gd name="connsiteX91" fmla="*/ 2901315 w 3008034"/>
                  <a:gd name="connsiteY91" fmla="*/ 2087880 h 3680460"/>
                  <a:gd name="connsiteX92" fmla="*/ 2908935 w 3008034"/>
                  <a:gd name="connsiteY92" fmla="*/ 2049780 h 3680460"/>
                  <a:gd name="connsiteX93" fmla="*/ 2924175 w 3008034"/>
                  <a:gd name="connsiteY93" fmla="*/ 1844040 h 3680460"/>
                  <a:gd name="connsiteX94" fmla="*/ 2908935 w 3008034"/>
                  <a:gd name="connsiteY94" fmla="*/ 1470660 h 3680460"/>
                  <a:gd name="connsiteX95" fmla="*/ 2886075 w 3008034"/>
                  <a:gd name="connsiteY95" fmla="*/ 1371600 h 3680460"/>
                  <a:gd name="connsiteX96" fmla="*/ 2870835 w 3008034"/>
                  <a:gd name="connsiteY96" fmla="*/ 1341120 h 3680460"/>
                  <a:gd name="connsiteX97" fmla="*/ 2847975 w 3008034"/>
                  <a:gd name="connsiteY97" fmla="*/ 1272540 h 3680460"/>
                  <a:gd name="connsiteX98" fmla="*/ 2840355 w 3008034"/>
                  <a:gd name="connsiteY98" fmla="*/ 1234440 h 3680460"/>
                  <a:gd name="connsiteX99" fmla="*/ 2817495 w 3008034"/>
                  <a:gd name="connsiteY99" fmla="*/ 1196340 h 3680460"/>
                  <a:gd name="connsiteX100" fmla="*/ 2802255 w 3008034"/>
                  <a:gd name="connsiteY100" fmla="*/ 1165860 h 3680460"/>
                  <a:gd name="connsiteX101" fmla="*/ 2771775 w 3008034"/>
                  <a:gd name="connsiteY101" fmla="*/ 1127760 h 3680460"/>
                  <a:gd name="connsiteX102" fmla="*/ 2756535 w 3008034"/>
                  <a:gd name="connsiteY102" fmla="*/ 1089660 h 3680460"/>
                  <a:gd name="connsiteX103" fmla="*/ 2726055 w 3008034"/>
                  <a:gd name="connsiteY103" fmla="*/ 1043940 h 3680460"/>
                  <a:gd name="connsiteX104" fmla="*/ 2718435 w 3008034"/>
                  <a:gd name="connsiteY104" fmla="*/ 1021080 h 3680460"/>
                  <a:gd name="connsiteX105" fmla="*/ 2672715 w 3008034"/>
                  <a:gd name="connsiteY105" fmla="*/ 937260 h 3680460"/>
                  <a:gd name="connsiteX106" fmla="*/ 2649855 w 3008034"/>
                  <a:gd name="connsiteY106" fmla="*/ 876300 h 3680460"/>
                  <a:gd name="connsiteX107" fmla="*/ 2634615 w 3008034"/>
                  <a:gd name="connsiteY107" fmla="*/ 845820 h 3680460"/>
                  <a:gd name="connsiteX108" fmla="*/ 2626995 w 3008034"/>
                  <a:gd name="connsiteY108" fmla="*/ 822960 h 3680460"/>
                  <a:gd name="connsiteX109" fmla="*/ 2611755 w 3008034"/>
                  <a:gd name="connsiteY109" fmla="*/ 800100 h 3680460"/>
                  <a:gd name="connsiteX110" fmla="*/ 2588895 w 3008034"/>
                  <a:gd name="connsiteY110" fmla="*/ 739140 h 3680460"/>
                  <a:gd name="connsiteX111" fmla="*/ 2448878 w 3008034"/>
                  <a:gd name="connsiteY111" fmla="*/ 621983 h 3680460"/>
                  <a:gd name="connsiteX112" fmla="*/ 2291715 w 3008034"/>
                  <a:gd name="connsiteY112" fmla="*/ 458152 h 3680460"/>
                  <a:gd name="connsiteX113" fmla="*/ 2227898 w 3008034"/>
                  <a:gd name="connsiteY113" fmla="*/ 406717 h 3680460"/>
                  <a:gd name="connsiteX114" fmla="*/ 2093595 w 3008034"/>
                  <a:gd name="connsiteY114" fmla="*/ 312420 h 3680460"/>
                  <a:gd name="connsiteX115" fmla="*/ 2032635 w 3008034"/>
                  <a:gd name="connsiteY115" fmla="*/ 266700 h 3680460"/>
                  <a:gd name="connsiteX116" fmla="*/ 1994535 w 3008034"/>
                  <a:gd name="connsiteY116" fmla="*/ 251460 h 3680460"/>
                  <a:gd name="connsiteX117" fmla="*/ 1948815 w 3008034"/>
                  <a:gd name="connsiteY117" fmla="*/ 220980 h 3680460"/>
                  <a:gd name="connsiteX118" fmla="*/ 1887855 w 3008034"/>
                  <a:gd name="connsiteY11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80335 w 3008034"/>
                  <a:gd name="connsiteY82" fmla="*/ 2705100 h 3680460"/>
                  <a:gd name="connsiteX83" fmla="*/ 2695575 w 3008034"/>
                  <a:gd name="connsiteY83" fmla="*/ 2667000 h 3680460"/>
                  <a:gd name="connsiteX84" fmla="*/ 2779395 w 3008034"/>
                  <a:gd name="connsiteY84" fmla="*/ 2484120 h 3680460"/>
                  <a:gd name="connsiteX85" fmla="*/ 2802255 w 3008034"/>
                  <a:gd name="connsiteY85" fmla="*/ 2407920 h 3680460"/>
                  <a:gd name="connsiteX86" fmla="*/ 2832735 w 3008034"/>
                  <a:gd name="connsiteY86" fmla="*/ 2324100 h 3680460"/>
                  <a:gd name="connsiteX87" fmla="*/ 2847975 w 3008034"/>
                  <a:gd name="connsiteY87" fmla="*/ 2247900 h 3680460"/>
                  <a:gd name="connsiteX88" fmla="*/ 2863215 w 3008034"/>
                  <a:gd name="connsiteY88" fmla="*/ 2194560 h 3680460"/>
                  <a:gd name="connsiteX89" fmla="*/ 2878455 w 3008034"/>
                  <a:gd name="connsiteY89" fmla="*/ 2148840 h 3680460"/>
                  <a:gd name="connsiteX90" fmla="*/ 2901315 w 3008034"/>
                  <a:gd name="connsiteY90" fmla="*/ 2087880 h 3680460"/>
                  <a:gd name="connsiteX91" fmla="*/ 2908935 w 3008034"/>
                  <a:gd name="connsiteY91" fmla="*/ 2049780 h 3680460"/>
                  <a:gd name="connsiteX92" fmla="*/ 2924175 w 3008034"/>
                  <a:gd name="connsiteY92" fmla="*/ 1844040 h 3680460"/>
                  <a:gd name="connsiteX93" fmla="*/ 2908935 w 3008034"/>
                  <a:gd name="connsiteY93" fmla="*/ 1470660 h 3680460"/>
                  <a:gd name="connsiteX94" fmla="*/ 2886075 w 3008034"/>
                  <a:gd name="connsiteY94" fmla="*/ 1371600 h 3680460"/>
                  <a:gd name="connsiteX95" fmla="*/ 2870835 w 3008034"/>
                  <a:gd name="connsiteY95" fmla="*/ 1341120 h 3680460"/>
                  <a:gd name="connsiteX96" fmla="*/ 2847975 w 3008034"/>
                  <a:gd name="connsiteY96" fmla="*/ 1272540 h 3680460"/>
                  <a:gd name="connsiteX97" fmla="*/ 2840355 w 3008034"/>
                  <a:gd name="connsiteY97" fmla="*/ 1234440 h 3680460"/>
                  <a:gd name="connsiteX98" fmla="*/ 2817495 w 3008034"/>
                  <a:gd name="connsiteY98" fmla="*/ 1196340 h 3680460"/>
                  <a:gd name="connsiteX99" fmla="*/ 2802255 w 3008034"/>
                  <a:gd name="connsiteY99" fmla="*/ 1165860 h 3680460"/>
                  <a:gd name="connsiteX100" fmla="*/ 2771775 w 3008034"/>
                  <a:gd name="connsiteY100" fmla="*/ 1127760 h 3680460"/>
                  <a:gd name="connsiteX101" fmla="*/ 2756535 w 3008034"/>
                  <a:gd name="connsiteY101" fmla="*/ 1089660 h 3680460"/>
                  <a:gd name="connsiteX102" fmla="*/ 2726055 w 3008034"/>
                  <a:gd name="connsiteY102" fmla="*/ 1043940 h 3680460"/>
                  <a:gd name="connsiteX103" fmla="*/ 2718435 w 3008034"/>
                  <a:gd name="connsiteY103" fmla="*/ 1021080 h 3680460"/>
                  <a:gd name="connsiteX104" fmla="*/ 2672715 w 3008034"/>
                  <a:gd name="connsiteY104" fmla="*/ 937260 h 3680460"/>
                  <a:gd name="connsiteX105" fmla="*/ 2649855 w 3008034"/>
                  <a:gd name="connsiteY105" fmla="*/ 876300 h 3680460"/>
                  <a:gd name="connsiteX106" fmla="*/ 2634615 w 3008034"/>
                  <a:gd name="connsiteY106" fmla="*/ 845820 h 3680460"/>
                  <a:gd name="connsiteX107" fmla="*/ 2626995 w 3008034"/>
                  <a:gd name="connsiteY107" fmla="*/ 822960 h 3680460"/>
                  <a:gd name="connsiteX108" fmla="*/ 2611755 w 3008034"/>
                  <a:gd name="connsiteY108" fmla="*/ 800100 h 3680460"/>
                  <a:gd name="connsiteX109" fmla="*/ 2588895 w 3008034"/>
                  <a:gd name="connsiteY109" fmla="*/ 739140 h 3680460"/>
                  <a:gd name="connsiteX110" fmla="*/ 2448878 w 3008034"/>
                  <a:gd name="connsiteY110" fmla="*/ 621983 h 3680460"/>
                  <a:gd name="connsiteX111" fmla="*/ 2291715 w 3008034"/>
                  <a:gd name="connsiteY111" fmla="*/ 458152 h 3680460"/>
                  <a:gd name="connsiteX112" fmla="*/ 2227898 w 3008034"/>
                  <a:gd name="connsiteY112" fmla="*/ 406717 h 3680460"/>
                  <a:gd name="connsiteX113" fmla="*/ 2093595 w 3008034"/>
                  <a:gd name="connsiteY113" fmla="*/ 312420 h 3680460"/>
                  <a:gd name="connsiteX114" fmla="*/ 2032635 w 3008034"/>
                  <a:gd name="connsiteY114" fmla="*/ 266700 h 3680460"/>
                  <a:gd name="connsiteX115" fmla="*/ 1994535 w 3008034"/>
                  <a:gd name="connsiteY115" fmla="*/ 251460 h 3680460"/>
                  <a:gd name="connsiteX116" fmla="*/ 1948815 w 3008034"/>
                  <a:gd name="connsiteY116" fmla="*/ 220980 h 3680460"/>
                  <a:gd name="connsiteX117" fmla="*/ 1887855 w 3008034"/>
                  <a:gd name="connsiteY11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32735 w 3008034"/>
                  <a:gd name="connsiteY85" fmla="*/ 2324100 h 3680460"/>
                  <a:gd name="connsiteX86" fmla="*/ 2847975 w 3008034"/>
                  <a:gd name="connsiteY86" fmla="*/ 2247900 h 3680460"/>
                  <a:gd name="connsiteX87" fmla="*/ 2863215 w 3008034"/>
                  <a:gd name="connsiteY87" fmla="*/ 2194560 h 3680460"/>
                  <a:gd name="connsiteX88" fmla="*/ 2878455 w 3008034"/>
                  <a:gd name="connsiteY88" fmla="*/ 2148840 h 3680460"/>
                  <a:gd name="connsiteX89" fmla="*/ 2901315 w 3008034"/>
                  <a:gd name="connsiteY89" fmla="*/ 2087880 h 3680460"/>
                  <a:gd name="connsiteX90" fmla="*/ 2908935 w 3008034"/>
                  <a:gd name="connsiteY90" fmla="*/ 2049780 h 3680460"/>
                  <a:gd name="connsiteX91" fmla="*/ 2924175 w 3008034"/>
                  <a:gd name="connsiteY91" fmla="*/ 1844040 h 3680460"/>
                  <a:gd name="connsiteX92" fmla="*/ 2908935 w 3008034"/>
                  <a:gd name="connsiteY92" fmla="*/ 1470660 h 3680460"/>
                  <a:gd name="connsiteX93" fmla="*/ 2886075 w 3008034"/>
                  <a:gd name="connsiteY93" fmla="*/ 1371600 h 3680460"/>
                  <a:gd name="connsiteX94" fmla="*/ 2870835 w 3008034"/>
                  <a:gd name="connsiteY94" fmla="*/ 1341120 h 3680460"/>
                  <a:gd name="connsiteX95" fmla="*/ 2847975 w 3008034"/>
                  <a:gd name="connsiteY95" fmla="*/ 1272540 h 3680460"/>
                  <a:gd name="connsiteX96" fmla="*/ 2840355 w 3008034"/>
                  <a:gd name="connsiteY96" fmla="*/ 1234440 h 3680460"/>
                  <a:gd name="connsiteX97" fmla="*/ 2817495 w 3008034"/>
                  <a:gd name="connsiteY97" fmla="*/ 1196340 h 3680460"/>
                  <a:gd name="connsiteX98" fmla="*/ 2802255 w 3008034"/>
                  <a:gd name="connsiteY98" fmla="*/ 1165860 h 3680460"/>
                  <a:gd name="connsiteX99" fmla="*/ 2771775 w 3008034"/>
                  <a:gd name="connsiteY99" fmla="*/ 1127760 h 3680460"/>
                  <a:gd name="connsiteX100" fmla="*/ 2756535 w 3008034"/>
                  <a:gd name="connsiteY100" fmla="*/ 1089660 h 3680460"/>
                  <a:gd name="connsiteX101" fmla="*/ 2726055 w 3008034"/>
                  <a:gd name="connsiteY101" fmla="*/ 1043940 h 3680460"/>
                  <a:gd name="connsiteX102" fmla="*/ 2718435 w 3008034"/>
                  <a:gd name="connsiteY102" fmla="*/ 1021080 h 3680460"/>
                  <a:gd name="connsiteX103" fmla="*/ 2672715 w 3008034"/>
                  <a:gd name="connsiteY103" fmla="*/ 937260 h 3680460"/>
                  <a:gd name="connsiteX104" fmla="*/ 2649855 w 3008034"/>
                  <a:gd name="connsiteY104" fmla="*/ 876300 h 3680460"/>
                  <a:gd name="connsiteX105" fmla="*/ 2634615 w 3008034"/>
                  <a:gd name="connsiteY105" fmla="*/ 845820 h 3680460"/>
                  <a:gd name="connsiteX106" fmla="*/ 2626995 w 3008034"/>
                  <a:gd name="connsiteY106" fmla="*/ 822960 h 3680460"/>
                  <a:gd name="connsiteX107" fmla="*/ 2611755 w 3008034"/>
                  <a:gd name="connsiteY107" fmla="*/ 800100 h 3680460"/>
                  <a:gd name="connsiteX108" fmla="*/ 2588895 w 3008034"/>
                  <a:gd name="connsiteY108" fmla="*/ 739140 h 3680460"/>
                  <a:gd name="connsiteX109" fmla="*/ 2448878 w 3008034"/>
                  <a:gd name="connsiteY109" fmla="*/ 621983 h 3680460"/>
                  <a:gd name="connsiteX110" fmla="*/ 2291715 w 3008034"/>
                  <a:gd name="connsiteY110" fmla="*/ 458152 h 3680460"/>
                  <a:gd name="connsiteX111" fmla="*/ 2227898 w 3008034"/>
                  <a:gd name="connsiteY111" fmla="*/ 406717 h 3680460"/>
                  <a:gd name="connsiteX112" fmla="*/ 2093595 w 3008034"/>
                  <a:gd name="connsiteY112" fmla="*/ 312420 h 3680460"/>
                  <a:gd name="connsiteX113" fmla="*/ 2032635 w 3008034"/>
                  <a:gd name="connsiteY113" fmla="*/ 266700 h 3680460"/>
                  <a:gd name="connsiteX114" fmla="*/ 1994535 w 3008034"/>
                  <a:gd name="connsiteY114" fmla="*/ 251460 h 3680460"/>
                  <a:gd name="connsiteX115" fmla="*/ 1948815 w 3008034"/>
                  <a:gd name="connsiteY115" fmla="*/ 220980 h 3680460"/>
                  <a:gd name="connsiteX116" fmla="*/ 1887855 w 3008034"/>
                  <a:gd name="connsiteY11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47975 w 3008034"/>
                  <a:gd name="connsiteY85" fmla="*/ 2247900 h 3680460"/>
                  <a:gd name="connsiteX86" fmla="*/ 2863215 w 3008034"/>
                  <a:gd name="connsiteY86" fmla="*/ 2194560 h 3680460"/>
                  <a:gd name="connsiteX87" fmla="*/ 2878455 w 3008034"/>
                  <a:gd name="connsiteY87" fmla="*/ 2148840 h 3680460"/>
                  <a:gd name="connsiteX88" fmla="*/ 2901315 w 3008034"/>
                  <a:gd name="connsiteY88" fmla="*/ 2087880 h 3680460"/>
                  <a:gd name="connsiteX89" fmla="*/ 2908935 w 3008034"/>
                  <a:gd name="connsiteY89" fmla="*/ 2049780 h 3680460"/>
                  <a:gd name="connsiteX90" fmla="*/ 2924175 w 3008034"/>
                  <a:gd name="connsiteY90" fmla="*/ 1844040 h 3680460"/>
                  <a:gd name="connsiteX91" fmla="*/ 2908935 w 3008034"/>
                  <a:gd name="connsiteY91" fmla="*/ 1470660 h 3680460"/>
                  <a:gd name="connsiteX92" fmla="*/ 2886075 w 3008034"/>
                  <a:gd name="connsiteY92" fmla="*/ 1371600 h 3680460"/>
                  <a:gd name="connsiteX93" fmla="*/ 2870835 w 3008034"/>
                  <a:gd name="connsiteY93" fmla="*/ 1341120 h 3680460"/>
                  <a:gd name="connsiteX94" fmla="*/ 2847975 w 3008034"/>
                  <a:gd name="connsiteY94" fmla="*/ 1272540 h 3680460"/>
                  <a:gd name="connsiteX95" fmla="*/ 2840355 w 3008034"/>
                  <a:gd name="connsiteY95" fmla="*/ 1234440 h 3680460"/>
                  <a:gd name="connsiteX96" fmla="*/ 2817495 w 3008034"/>
                  <a:gd name="connsiteY96" fmla="*/ 1196340 h 3680460"/>
                  <a:gd name="connsiteX97" fmla="*/ 2802255 w 3008034"/>
                  <a:gd name="connsiteY97" fmla="*/ 1165860 h 3680460"/>
                  <a:gd name="connsiteX98" fmla="*/ 2771775 w 3008034"/>
                  <a:gd name="connsiteY98" fmla="*/ 1127760 h 3680460"/>
                  <a:gd name="connsiteX99" fmla="*/ 2756535 w 3008034"/>
                  <a:gd name="connsiteY99" fmla="*/ 1089660 h 3680460"/>
                  <a:gd name="connsiteX100" fmla="*/ 2726055 w 3008034"/>
                  <a:gd name="connsiteY100" fmla="*/ 1043940 h 3680460"/>
                  <a:gd name="connsiteX101" fmla="*/ 2718435 w 3008034"/>
                  <a:gd name="connsiteY101" fmla="*/ 1021080 h 3680460"/>
                  <a:gd name="connsiteX102" fmla="*/ 2672715 w 3008034"/>
                  <a:gd name="connsiteY102" fmla="*/ 937260 h 3680460"/>
                  <a:gd name="connsiteX103" fmla="*/ 2649855 w 3008034"/>
                  <a:gd name="connsiteY103" fmla="*/ 876300 h 3680460"/>
                  <a:gd name="connsiteX104" fmla="*/ 2634615 w 3008034"/>
                  <a:gd name="connsiteY104" fmla="*/ 845820 h 3680460"/>
                  <a:gd name="connsiteX105" fmla="*/ 2626995 w 3008034"/>
                  <a:gd name="connsiteY105" fmla="*/ 822960 h 3680460"/>
                  <a:gd name="connsiteX106" fmla="*/ 2611755 w 3008034"/>
                  <a:gd name="connsiteY106" fmla="*/ 800100 h 3680460"/>
                  <a:gd name="connsiteX107" fmla="*/ 2588895 w 3008034"/>
                  <a:gd name="connsiteY107" fmla="*/ 739140 h 3680460"/>
                  <a:gd name="connsiteX108" fmla="*/ 2448878 w 3008034"/>
                  <a:gd name="connsiteY108" fmla="*/ 621983 h 3680460"/>
                  <a:gd name="connsiteX109" fmla="*/ 2291715 w 3008034"/>
                  <a:gd name="connsiteY109" fmla="*/ 458152 h 3680460"/>
                  <a:gd name="connsiteX110" fmla="*/ 2227898 w 3008034"/>
                  <a:gd name="connsiteY110" fmla="*/ 406717 h 3680460"/>
                  <a:gd name="connsiteX111" fmla="*/ 2093595 w 3008034"/>
                  <a:gd name="connsiteY111" fmla="*/ 312420 h 3680460"/>
                  <a:gd name="connsiteX112" fmla="*/ 2032635 w 3008034"/>
                  <a:gd name="connsiteY112" fmla="*/ 266700 h 3680460"/>
                  <a:gd name="connsiteX113" fmla="*/ 1994535 w 3008034"/>
                  <a:gd name="connsiteY113" fmla="*/ 251460 h 3680460"/>
                  <a:gd name="connsiteX114" fmla="*/ 1948815 w 3008034"/>
                  <a:gd name="connsiteY114" fmla="*/ 220980 h 3680460"/>
                  <a:gd name="connsiteX115" fmla="*/ 1887855 w 3008034"/>
                  <a:gd name="connsiteY11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63215 w 3008034"/>
                  <a:gd name="connsiteY85" fmla="*/ 2194560 h 3680460"/>
                  <a:gd name="connsiteX86" fmla="*/ 2878455 w 3008034"/>
                  <a:gd name="connsiteY86" fmla="*/ 2148840 h 3680460"/>
                  <a:gd name="connsiteX87" fmla="*/ 2901315 w 3008034"/>
                  <a:gd name="connsiteY87" fmla="*/ 2087880 h 3680460"/>
                  <a:gd name="connsiteX88" fmla="*/ 2908935 w 3008034"/>
                  <a:gd name="connsiteY88" fmla="*/ 2049780 h 3680460"/>
                  <a:gd name="connsiteX89" fmla="*/ 2924175 w 3008034"/>
                  <a:gd name="connsiteY89" fmla="*/ 1844040 h 3680460"/>
                  <a:gd name="connsiteX90" fmla="*/ 2908935 w 3008034"/>
                  <a:gd name="connsiteY90" fmla="*/ 1470660 h 3680460"/>
                  <a:gd name="connsiteX91" fmla="*/ 2886075 w 3008034"/>
                  <a:gd name="connsiteY91" fmla="*/ 1371600 h 3680460"/>
                  <a:gd name="connsiteX92" fmla="*/ 2870835 w 3008034"/>
                  <a:gd name="connsiteY92" fmla="*/ 1341120 h 3680460"/>
                  <a:gd name="connsiteX93" fmla="*/ 2847975 w 3008034"/>
                  <a:gd name="connsiteY93" fmla="*/ 1272540 h 3680460"/>
                  <a:gd name="connsiteX94" fmla="*/ 2840355 w 3008034"/>
                  <a:gd name="connsiteY94" fmla="*/ 1234440 h 3680460"/>
                  <a:gd name="connsiteX95" fmla="*/ 2817495 w 3008034"/>
                  <a:gd name="connsiteY95" fmla="*/ 1196340 h 3680460"/>
                  <a:gd name="connsiteX96" fmla="*/ 2802255 w 3008034"/>
                  <a:gd name="connsiteY96" fmla="*/ 1165860 h 3680460"/>
                  <a:gd name="connsiteX97" fmla="*/ 2771775 w 3008034"/>
                  <a:gd name="connsiteY97" fmla="*/ 1127760 h 3680460"/>
                  <a:gd name="connsiteX98" fmla="*/ 2756535 w 3008034"/>
                  <a:gd name="connsiteY98" fmla="*/ 1089660 h 3680460"/>
                  <a:gd name="connsiteX99" fmla="*/ 2726055 w 3008034"/>
                  <a:gd name="connsiteY99" fmla="*/ 1043940 h 3680460"/>
                  <a:gd name="connsiteX100" fmla="*/ 2718435 w 3008034"/>
                  <a:gd name="connsiteY100" fmla="*/ 1021080 h 3680460"/>
                  <a:gd name="connsiteX101" fmla="*/ 2672715 w 3008034"/>
                  <a:gd name="connsiteY101" fmla="*/ 937260 h 3680460"/>
                  <a:gd name="connsiteX102" fmla="*/ 2649855 w 3008034"/>
                  <a:gd name="connsiteY102" fmla="*/ 876300 h 3680460"/>
                  <a:gd name="connsiteX103" fmla="*/ 2634615 w 3008034"/>
                  <a:gd name="connsiteY103" fmla="*/ 845820 h 3680460"/>
                  <a:gd name="connsiteX104" fmla="*/ 2626995 w 3008034"/>
                  <a:gd name="connsiteY104" fmla="*/ 822960 h 3680460"/>
                  <a:gd name="connsiteX105" fmla="*/ 2611755 w 3008034"/>
                  <a:gd name="connsiteY105" fmla="*/ 800100 h 3680460"/>
                  <a:gd name="connsiteX106" fmla="*/ 2588895 w 3008034"/>
                  <a:gd name="connsiteY106" fmla="*/ 739140 h 3680460"/>
                  <a:gd name="connsiteX107" fmla="*/ 2448878 w 3008034"/>
                  <a:gd name="connsiteY107" fmla="*/ 621983 h 3680460"/>
                  <a:gd name="connsiteX108" fmla="*/ 2291715 w 3008034"/>
                  <a:gd name="connsiteY108" fmla="*/ 458152 h 3680460"/>
                  <a:gd name="connsiteX109" fmla="*/ 2227898 w 3008034"/>
                  <a:gd name="connsiteY109" fmla="*/ 406717 h 3680460"/>
                  <a:gd name="connsiteX110" fmla="*/ 2093595 w 3008034"/>
                  <a:gd name="connsiteY110" fmla="*/ 312420 h 3680460"/>
                  <a:gd name="connsiteX111" fmla="*/ 2032635 w 3008034"/>
                  <a:gd name="connsiteY111" fmla="*/ 266700 h 3680460"/>
                  <a:gd name="connsiteX112" fmla="*/ 1994535 w 3008034"/>
                  <a:gd name="connsiteY112" fmla="*/ 251460 h 3680460"/>
                  <a:gd name="connsiteX113" fmla="*/ 1948815 w 3008034"/>
                  <a:gd name="connsiteY113" fmla="*/ 220980 h 3680460"/>
                  <a:gd name="connsiteX114" fmla="*/ 1887855 w 3008034"/>
                  <a:gd name="connsiteY11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878455 w 3008034"/>
                  <a:gd name="connsiteY85" fmla="*/ 2148840 h 3680460"/>
                  <a:gd name="connsiteX86" fmla="*/ 2901315 w 3008034"/>
                  <a:gd name="connsiteY86" fmla="*/ 2087880 h 3680460"/>
                  <a:gd name="connsiteX87" fmla="*/ 2908935 w 3008034"/>
                  <a:gd name="connsiteY87" fmla="*/ 2049780 h 3680460"/>
                  <a:gd name="connsiteX88" fmla="*/ 2924175 w 3008034"/>
                  <a:gd name="connsiteY88" fmla="*/ 1844040 h 3680460"/>
                  <a:gd name="connsiteX89" fmla="*/ 2908935 w 3008034"/>
                  <a:gd name="connsiteY89" fmla="*/ 1470660 h 3680460"/>
                  <a:gd name="connsiteX90" fmla="*/ 2886075 w 3008034"/>
                  <a:gd name="connsiteY90" fmla="*/ 1371600 h 3680460"/>
                  <a:gd name="connsiteX91" fmla="*/ 2870835 w 3008034"/>
                  <a:gd name="connsiteY91" fmla="*/ 1341120 h 3680460"/>
                  <a:gd name="connsiteX92" fmla="*/ 2847975 w 3008034"/>
                  <a:gd name="connsiteY92" fmla="*/ 1272540 h 3680460"/>
                  <a:gd name="connsiteX93" fmla="*/ 2840355 w 3008034"/>
                  <a:gd name="connsiteY93" fmla="*/ 1234440 h 3680460"/>
                  <a:gd name="connsiteX94" fmla="*/ 2817495 w 3008034"/>
                  <a:gd name="connsiteY94" fmla="*/ 1196340 h 3680460"/>
                  <a:gd name="connsiteX95" fmla="*/ 2802255 w 3008034"/>
                  <a:gd name="connsiteY95" fmla="*/ 1165860 h 3680460"/>
                  <a:gd name="connsiteX96" fmla="*/ 2771775 w 3008034"/>
                  <a:gd name="connsiteY96" fmla="*/ 1127760 h 3680460"/>
                  <a:gd name="connsiteX97" fmla="*/ 2756535 w 3008034"/>
                  <a:gd name="connsiteY97" fmla="*/ 1089660 h 3680460"/>
                  <a:gd name="connsiteX98" fmla="*/ 2726055 w 3008034"/>
                  <a:gd name="connsiteY98" fmla="*/ 1043940 h 3680460"/>
                  <a:gd name="connsiteX99" fmla="*/ 2718435 w 3008034"/>
                  <a:gd name="connsiteY99" fmla="*/ 1021080 h 3680460"/>
                  <a:gd name="connsiteX100" fmla="*/ 2672715 w 3008034"/>
                  <a:gd name="connsiteY100" fmla="*/ 937260 h 3680460"/>
                  <a:gd name="connsiteX101" fmla="*/ 2649855 w 3008034"/>
                  <a:gd name="connsiteY101" fmla="*/ 876300 h 3680460"/>
                  <a:gd name="connsiteX102" fmla="*/ 2634615 w 3008034"/>
                  <a:gd name="connsiteY102" fmla="*/ 845820 h 3680460"/>
                  <a:gd name="connsiteX103" fmla="*/ 2626995 w 3008034"/>
                  <a:gd name="connsiteY103" fmla="*/ 822960 h 3680460"/>
                  <a:gd name="connsiteX104" fmla="*/ 2611755 w 3008034"/>
                  <a:gd name="connsiteY104" fmla="*/ 800100 h 3680460"/>
                  <a:gd name="connsiteX105" fmla="*/ 2588895 w 3008034"/>
                  <a:gd name="connsiteY105" fmla="*/ 739140 h 3680460"/>
                  <a:gd name="connsiteX106" fmla="*/ 2448878 w 3008034"/>
                  <a:gd name="connsiteY106" fmla="*/ 621983 h 3680460"/>
                  <a:gd name="connsiteX107" fmla="*/ 2291715 w 3008034"/>
                  <a:gd name="connsiteY107" fmla="*/ 458152 h 3680460"/>
                  <a:gd name="connsiteX108" fmla="*/ 2227898 w 3008034"/>
                  <a:gd name="connsiteY108" fmla="*/ 406717 h 3680460"/>
                  <a:gd name="connsiteX109" fmla="*/ 2093595 w 3008034"/>
                  <a:gd name="connsiteY109" fmla="*/ 312420 h 3680460"/>
                  <a:gd name="connsiteX110" fmla="*/ 2032635 w 3008034"/>
                  <a:gd name="connsiteY110" fmla="*/ 266700 h 3680460"/>
                  <a:gd name="connsiteX111" fmla="*/ 1994535 w 3008034"/>
                  <a:gd name="connsiteY111" fmla="*/ 251460 h 3680460"/>
                  <a:gd name="connsiteX112" fmla="*/ 1948815 w 3008034"/>
                  <a:gd name="connsiteY112" fmla="*/ 220980 h 3680460"/>
                  <a:gd name="connsiteX113" fmla="*/ 1887855 w 3008034"/>
                  <a:gd name="connsiteY11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1315 w 3008034"/>
                  <a:gd name="connsiteY85" fmla="*/ 2087880 h 3680460"/>
                  <a:gd name="connsiteX86" fmla="*/ 2908935 w 3008034"/>
                  <a:gd name="connsiteY86" fmla="*/ 2049780 h 3680460"/>
                  <a:gd name="connsiteX87" fmla="*/ 2924175 w 3008034"/>
                  <a:gd name="connsiteY87" fmla="*/ 1844040 h 3680460"/>
                  <a:gd name="connsiteX88" fmla="*/ 2908935 w 3008034"/>
                  <a:gd name="connsiteY88" fmla="*/ 1470660 h 3680460"/>
                  <a:gd name="connsiteX89" fmla="*/ 2886075 w 3008034"/>
                  <a:gd name="connsiteY89" fmla="*/ 1371600 h 3680460"/>
                  <a:gd name="connsiteX90" fmla="*/ 2870835 w 3008034"/>
                  <a:gd name="connsiteY90" fmla="*/ 1341120 h 3680460"/>
                  <a:gd name="connsiteX91" fmla="*/ 2847975 w 3008034"/>
                  <a:gd name="connsiteY91" fmla="*/ 1272540 h 3680460"/>
                  <a:gd name="connsiteX92" fmla="*/ 2840355 w 3008034"/>
                  <a:gd name="connsiteY92" fmla="*/ 1234440 h 3680460"/>
                  <a:gd name="connsiteX93" fmla="*/ 2817495 w 3008034"/>
                  <a:gd name="connsiteY93" fmla="*/ 1196340 h 3680460"/>
                  <a:gd name="connsiteX94" fmla="*/ 2802255 w 3008034"/>
                  <a:gd name="connsiteY94" fmla="*/ 1165860 h 3680460"/>
                  <a:gd name="connsiteX95" fmla="*/ 2771775 w 3008034"/>
                  <a:gd name="connsiteY95" fmla="*/ 1127760 h 3680460"/>
                  <a:gd name="connsiteX96" fmla="*/ 2756535 w 3008034"/>
                  <a:gd name="connsiteY96" fmla="*/ 1089660 h 3680460"/>
                  <a:gd name="connsiteX97" fmla="*/ 2726055 w 3008034"/>
                  <a:gd name="connsiteY97" fmla="*/ 1043940 h 3680460"/>
                  <a:gd name="connsiteX98" fmla="*/ 2718435 w 3008034"/>
                  <a:gd name="connsiteY98" fmla="*/ 1021080 h 3680460"/>
                  <a:gd name="connsiteX99" fmla="*/ 2672715 w 3008034"/>
                  <a:gd name="connsiteY99" fmla="*/ 937260 h 3680460"/>
                  <a:gd name="connsiteX100" fmla="*/ 2649855 w 3008034"/>
                  <a:gd name="connsiteY100" fmla="*/ 876300 h 3680460"/>
                  <a:gd name="connsiteX101" fmla="*/ 2634615 w 3008034"/>
                  <a:gd name="connsiteY101" fmla="*/ 845820 h 3680460"/>
                  <a:gd name="connsiteX102" fmla="*/ 2626995 w 3008034"/>
                  <a:gd name="connsiteY102" fmla="*/ 822960 h 3680460"/>
                  <a:gd name="connsiteX103" fmla="*/ 2611755 w 3008034"/>
                  <a:gd name="connsiteY103" fmla="*/ 800100 h 3680460"/>
                  <a:gd name="connsiteX104" fmla="*/ 2588895 w 3008034"/>
                  <a:gd name="connsiteY104" fmla="*/ 739140 h 3680460"/>
                  <a:gd name="connsiteX105" fmla="*/ 2448878 w 3008034"/>
                  <a:gd name="connsiteY105" fmla="*/ 621983 h 3680460"/>
                  <a:gd name="connsiteX106" fmla="*/ 2291715 w 3008034"/>
                  <a:gd name="connsiteY106" fmla="*/ 458152 h 3680460"/>
                  <a:gd name="connsiteX107" fmla="*/ 2227898 w 3008034"/>
                  <a:gd name="connsiteY107" fmla="*/ 406717 h 3680460"/>
                  <a:gd name="connsiteX108" fmla="*/ 2093595 w 3008034"/>
                  <a:gd name="connsiteY108" fmla="*/ 312420 h 3680460"/>
                  <a:gd name="connsiteX109" fmla="*/ 2032635 w 3008034"/>
                  <a:gd name="connsiteY109" fmla="*/ 266700 h 3680460"/>
                  <a:gd name="connsiteX110" fmla="*/ 1994535 w 3008034"/>
                  <a:gd name="connsiteY110" fmla="*/ 251460 h 3680460"/>
                  <a:gd name="connsiteX111" fmla="*/ 1948815 w 3008034"/>
                  <a:gd name="connsiteY111" fmla="*/ 220980 h 3680460"/>
                  <a:gd name="connsiteX112" fmla="*/ 1887855 w 3008034"/>
                  <a:gd name="connsiteY11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817495 w 3008034"/>
                  <a:gd name="connsiteY92" fmla="*/ 1196340 h 3680460"/>
                  <a:gd name="connsiteX93" fmla="*/ 2802255 w 3008034"/>
                  <a:gd name="connsiteY93" fmla="*/ 1165860 h 3680460"/>
                  <a:gd name="connsiteX94" fmla="*/ 2771775 w 3008034"/>
                  <a:gd name="connsiteY94" fmla="*/ 1127760 h 3680460"/>
                  <a:gd name="connsiteX95" fmla="*/ 2756535 w 3008034"/>
                  <a:gd name="connsiteY95" fmla="*/ 1089660 h 3680460"/>
                  <a:gd name="connsiteX96" fmla="*/ 2726055 w 3008034"/>
                  <a:gd name="connsiteY96" fmla="*/ 1043940 h 3680460"/>
                  <a:gd name="connsiteX97" fmla="*/ 2718435 w 3008034"/>
                  <a:gd name="connsiteY97" fmla="*/ 1021080 h 3680460"/>
                  <a:gd name="connsiteX98" fmla="*/ 2672715 w 3008034"/>
                  <a:gd name="connsiteY98" fmla="*/ 937260 h 3680460"/>
                  <a:gd name="connsiteX99" fmla="*/ 2649855 w 3008034"/>
                  <a:gd name="connsiteY99" fmla="*/ 876300 h 3680460"/>
                  <a:gd name="connsiteX100" fmla="*/ 2634615 w 3008034"/>
                  <a:gd name="connsiteY100" fmla="*/ 845820 h 3680460"/>
                  <a:gd name="connsiteX101" fmla="*/ 2626995 w 3008034"/>
                  <a:gd name="connsiteY101" fmla="*/ 822960 h 3680460"/>
                  <a:gd name="connsiteX102" fmla="*/ 2611755 w 3008034"/>
                  <a:gd name="connsiteY102" fmla="*/ 800100 h 3680460"/>
                  <a:gd name="connsiteX103" fmla="*/ 2588895 w 3008034"/>
                  <a:gd name="connsiteY103" fmla="*/ 739140 h 3680460"/>
                  <a:gd name="connsiteX104" fmla="*/ 2448878 w 3008034"/>
                  <a:gd name="connsiteY104" fmla="*/ 621983 h 3680460"/>
                  <a:gd name="connsiteX105" fmla="*/ 2291715 w 3008034"/>
                  <a:gd name="connsiteY105" fmla="*/ 458152 h 3680460"/>
                  <a:gd name="connsiteX106" fmla="*/ 2227898 w 3008034"/>
                  <a:gd name="connsiteY106" fmla="*/ 406717 h 3680460"/>
                  <a:gd name="connsiteX107" fmla="*/ 2093595 w 3008034"/>
                  <a:gd name="connsiteY107" fmla="*/ 312420 h 3680460"/>
                  <a:gd name="connsiteX108" fmla="*/ 2032635 w 3008034"/>
                  <a:gd name="connsiteY108" fmla="*/ 266700 h 3680460"/>
                  <a:gd name="connsiteX109" fmla="*/ 1994535 w 3008034"/>
                  <a:gd name="connsiteY109" fmla="*/ 251460 h 3680460"/>
                  <a:gd name="connsiteX110" fmla="*/ 1948815 w 3008034"/>
                  <a:gd name="connsiteY110" fmla="*/ 220980 h 3680460"/>
                  <a:gd name="connsiteX111" fmla="*/ 1887855 w 3008034"/>
                  <a:gd name="connsiteY11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802255 w 3008034"/>
                  <a:gd name="connsiteY92" fmla="*/ 1165860 h 3680460"/>
                  <a:gd name="connsiteX93" fmla="*/ 2771775 w 3008034"/>
                  <a:gd name="connsiteY93" fmla="*/ 1127760 h 3680460"/>
                  <a:gd name="connsiteX94" fmla="*/ 2756535 w 3008034"/>
                  <a:gd name="connsiteY94" fmla="*/ 1089660 h 3680460"/>
                  <a:gd name="connsiteX95" fmla="*/ 2726055 w 3008034"/>
                  <a:gd name="connsiteY95" fmla="*/ 1043940 h 3680460"/>
                  <a:gd name="connsiteX96" fmla="*/ 2718435 w 3008034"/>
                  <a:gd name="connsiteY96" fmla="*/ 1021080 h 3680460"/>
                  <a:gd name="connsiteX97" fmla="*/ 2672715 w 3008034"/>
                  <a:gd name="connsiteY97" fmla="*/ 937260 h 3680460"/>
                  <a:gd name="connsiteX98" fmla="*/ 2649855 w 3008034"/>
                  <a:gd name="connsiteY98" fmla="*/ 876300 h 3680460"/>
                  <a:gd name="connsiteX99" fmla="*/ 2634615 w 3008034"/>
                  <a:gd name="connsiteY99" fmla="*/ 845820 h 3680460"/>
                  <a:gd name="connsiteX100" fmla="*/ 2626995 w 3008034"/>
                  <a:gd name="connsiteY100" fmla="*/ 822960 h 3680460"/>
                  <a:gd name="connsiteX101" fmla="*/ 2611755 w 3008034"/>
                  <a:gd name="connsiteY101" fmla="*/ 800100 h 3680460"/>
                  <a:gd name="connsiteX102" fmla="*/ 2588895 w 3008034"/>
                  <a:gd name="connsiteY102" fmla="*/ 739140 h 3680460"/>
                  <a:gd name="connsiteX103" fmla="*/ 2448878 w 3008034"/>
                  <a:gd name="connsiteY103" fmla="*/ 621983 h 3680460"/>
                  <a:gd name="connsiteX104" fmla="*/ 2291715 w 3008034"/>
                  <a:gd name="connsiteY104" fmla="*/ 458152 h 3680460"/>
                  <a:gd name="connsiteX105" fmla="*/ 2227898 w 3008034"/>
                  <a:gd name="connsiteY105" fmla="*/ 406717 h 3680460"/>
                  <a:gd name="connsiteX106" fmla="*/ 2093595 w 3008034"/>
                  <a:gd name="connsiteY106" fmla="*/ 312420 h 3680460"/>
                  <a:gd name="connsiteX107" fmla="*/ 2032635 w 3008034"/>
                  <a:gd name="connsiteY107" fmla="*/ 266700 h 3680460"/>
                  <a:gd name="connsiteX108" fmla="*/ 1994535 w 3008034"/>
                  <a:gd name="connsiteY108" fmla="*/ 251460 h 3680460"/>
                  <a:gd name="connsiteX109" fmla="*/ 1948815 w 3008034"/>
                  <a:gd name="connsiteY109" fmla="*/ 220980 h 3680460"/>
                  <a:gd name="connsiteX110" fmla="*/ 1887855 w 3008034"/>
                  <a:gd name="connsiteY11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71775 w 3008034"/>
                  <a:gd name="connsiteY92" fmla="*/ 1127760 h 3680460"/>
                  <a:gd name="connsiteX93" fmla="*/ 2756535 w 3008034"/>
                  <a:gd name="connsiteY93" fmla="*/ 1089660 h 3680460"/>
                  <a:gd name="connsiteX94" fmla="*/ 2726055 w 3008034"/>
                  <a:gd name="connsiteY94" fmla="*/ 1043940 h 3680460"/>
                  <a:gd name="connsiteX95" fmla="*/ 2718435 w 3008034"/>
                  <a:gd name="connsiteY95" fmla="*/ 1021080 h 3680460"/>
                  <a:gd name="connsiteX96" fmla="*/ 2672715 w 3008034"/>
                  <a:gd name="connsiteY96" fmla="*/ 937260 h 3680460"/>
                  <a:gd name="connsiteX97" fmla="*/ 2649855 w 3008034"/>
                  <a:gd name="connsiteY97" fmla="*/ 876300 h 3680460"/>
                  <a:gd name="connsiteX98" fmla="*/ 2634615 w 3008034"/>
                  <a:gd name="connsiteY98" fmla="*/ 845820 h 3680460"/>
                  <a:gd name="connsiteX99" fmla="*/ 2626995 w 3008034"/>
                  <a:gd name="connsiteY99" fmla="*/ 822960 h 3680460"/>
                  <a:gd name="connsiteX100" fmla="*/ 2611755 w 3008034"/>
                  <a:gd name="connsiteY100" fmla="*/ 800100 h 3680460"/>
                  <a:gd name="connsiteX101" fmla="*/ 2588895 w 3008034"/>
                  <a:gd name="connsiteY101" fmla="*/ 739140 h 3680460"/>
                  <a:gd name="connsiteX102" fmla="*/ 2448878 w 3008034"/>
                  <a:gd name="connsiteY102" fmla="*/ 621983 h 3680460"/>
                  <a:gd name="connsiteX103" fmla="*/ 2291715 w 3008034"/>
                  <a:gd name="connsiteY103" fmla="*/ 458152 h 3680460"/>
                  <a:gd name="connsiteX104" fmla="*/ 2227898 w 3008034"/>
                  <a:gd name="connsiteY104" fmla="*/ 406717 h 3680460"/>
                  <a:gd name="connsiteX105" fmla="*/ 2093595 w 3008034"/>
                  <a:gd name="connsiteY105" fmla="*/ 312420 h 3680460"/>
                  <a:gd name="connsiteX106" fmla="*/ 2032635 w 3008034"/>
                  <a:gd name="connsiteY106" fmla="*/ 266700 h 3680460"/>
                  <a:gd name="connsiteX107" fmla="*/ 1994535 w 3008034"/>
                  <a:gd name="connsiteY107" fmla="*/ 251460 h 3680460"/>
                  <a:gd name="connsiteX108" fmla="*/ 1948815 w 3008034"/>
                  <a:gd name="connsiteY108" fmla="*/ 220980 h 3680460"/>
                  <a:gd name="connsiteX109" fmla="*/ 1887855 w 3008034"/>
                  <a:gd name="connsiteY10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26995 w 3008034"/>
                  <a:gd name="connsiteY98" fmla="*/ 822960 h 3680460"/>
                  <a:gd name="connsiteX99" fmla="*/ 2611755 w 3008034"/>
                  <a:gd name="connsiteY99" fmla="*/ 800100 h 3680460"/>
                  <a:gd name="connsiteX100" fmla="*/ 2588895 w 3008034"/>
                  <a:gd name="connsiteY100" fmla="*/ 739140 h 3680460"/>
                  <a:gd name="connsiteX101" fmla="*/ 2448878 w 3008034"/>
                  <a:gd name="connsiteY101" fmla="*/ 621983 h 3680460"/>
                  <a:gd name="connsiteX102" fmla="*/ 2291715 w 3008034"/>
                  <a:gd name="connsiteY102" fmla="*/ 458152 h 3680460"/>
                  <a:gd name="connsiteX103" fmla="*/ 2227898 w 3008034"/>
                  <a:gd name="connsiteY103" fmla="*/ 406717 h 3680460"/>
                  <a:gd name="connsiteX104" fmla="*/ 2093595 w 3008034"/>
                  <a:gd name="connsiteY104" fmla="*/ 312420 h 3680460"/>
                  <a:gd name="connsiteX105" fmla="*/ 2032635 w 3008034"/>
                  <a:gd name="connsiteY105" fmla="*/ 266700 h 3680460"/>
                  <a:gd name="connsiteX106" fmla="*/ 1994535 w 3008034"/>
                  <a:gd name="connsiteY106" fmla="*/ 251460 h 3680460"/>
                  <a:gd name="connsiteX107" fmla="*/ 1948815 w 3008034"/>
                  <a:gd name="connsiteY107" fmla="*/ 220980 h 3680460"/>
                  <a:gd name="connsiteX108" fmla="*/ 1887855 w 3008034"/>
                  <a:gd name="connsiteY10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11755 w 3008034"/>
                  <a:gd name="connsiteY98" fmla="*/ 800100 h 3680460"/>
                  <a:gd name="connsiteX99" fmla="*/ 2588895 w 3008034"/>
                  <a:gd name="connsiteY99" fmla="*/ 739140 h 3680460"/>
                  <a:gd name="connsiteX100" fmla="*/ 2448878 w 3008034"/>
                  <a:gd name="connsiteY100" fmla="*/ 621983 h 3680460"/>
                  <a:gd name="connsiteX101" fmla="*/ 2291715 w 3008034"/>
                  <a:gd name="connsiteY101" fmla="*/ 458152 h 3680460"/>
                  <a:gd name="connsiteX102" fmla="*/ 2227898 w 3008034"/>
                  <a:gd name="connsiteY102" fmla="*/ 406717 h 3680460"/>
                  <a:gd name="connsiteX103" fmla="*/ 2093595 w 3008034"/>
                  <a:gd name="connsiteY103" fmla="*/ 312420 h 3680460"/>
                  <a:gd name="connsiteX104" fmla="*/ 2032635 w 3008034"/>
                  <a:gd name="connsiteY104" fmla="*/ 266700 h 3680460"/>
                  <a:gd name="connsiteX105" fmla="*/ 1994535 w 3008034"/>
                  <a:gd name="connsiteY105" fmla="*/ 251460 h 3680460"/>
                  <a:gd name="connsiteX106" fmla="*/ 1948815 w 3008034"/>
                  <a:gd name="connsiteY106" fmla="*/ 220980 h 3680460"/>
                  <a:gd name="connsiteX107" fmla="*/ 1887855 w 3008034"/>
                  <a:gd name="connsiteY10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22195 w 3008034"/>
                  <a:gd name="connsiteY11" fmla="*/ 220980 h 3680460"/>
                  <a:gd name="connsiteX12" fmla="*/ 2375535 w 3008034"/>
                  <a:gd name="connsiteY12" fmla="*/ 266700 h 3680460"/>
                  <a:gd name="connsiteX13" fmla="*/ 2527935 w 3008034"/>
                  <a:gd name="connsiteY13" fmla="*/ 426720 h 3680460"/>
                  <a:gd name="connsiteX14" fmla="*/ 2543175 w 3008034"/>
                  <a:gd name="connsiteY14" fmla="*/ 449580 h 3680460"/>
                  <a:gd name="connsiteX15" fmla="*/ 2566035 w 3008034"/>
                  <a:gd name="connsiteY15" fmla="*/ 487680 h 3680460"/>
                  <a:gd name="connsiteX16" fmla="*/ 2611755 w 3008034"/>
                  <a:gd name="connsiteY16" fmla="*/ 548640 h 3680460"/>
                  <a:gd name="connsiteX17" fmla="*/ 2665095 w 3008034"/>
                  <a:gd name="connsiteY17" fmla="*/ 609600 h 3680460"/>
                  <a:gd name="connsiteX18" fmla="*/ 2718435 w 3008034"/>
                  <a:gd name="connsiteY18" fmla="*/ 678180 h 3680460"/>
                  <a:gd name="connsiteX19" fmla="*/ 2718435 w 3008034"/>
                  <a:gd name="connsiteY19" fmla="*/ 678180 h 3680460"/>
                  <a:gd name="connsiteX20" fmla="*/ 2756535 w 3008034"/>
                  <a:gd name="connsiteY20" fmla="*/ 754380 h 3680460"/>
                  <a:gd name="connsiteX21" fmla="*/ 2809875 w 3008034"/>
                  <a:gd name="connsiteY21" fmla="*/ 830580 h 3680460"/>
                  <a:gd name="connsiteX22" fmla="*/ 2908935 w 3008034"/>
                  <a:gd name="connsiteY22" fmla="*/ 1036320 h 3680460"/>
                  <a:gd name="connsiteX23" fmla="*/ 2924175 w 3008034"/>
                  <a:gd name="connsiteY23" fmla="*/ 1074420 h 3680460"/>
                  <a:gd name="connsiteX24" fmla="*/ 2954655 w 3008034"/>
                  <a:gd name="connsiteY24" fmla="*/ 1203960 h 3680460"/>
                  <a:gd name="connsiteX25" fmla="*/ 2969895 w 3008034"/>
                  <a:gd name="connsiteY25" fmla="*/ 1264920 h 3680460"/>
                  <a:gd name="connsiteX26" fmla="*/ 2985135 w 3008034"/>
                  <a:gd name="connsiteY26" fmla="*/ 1348740 h 3680460"/>
                  <a:gd name="connsiteX27" fmla="*/ 3000375 w 3008034"/>
                  <a:gd name="connsiteY27" fmla="*/ 1432560 h 3680460"/>
                  <a:gd name="connsiteX28" fmla="*/ 3007995 w 3008034"/>
                  <a:gd name="connsiteY28" fmla="*/ 1684020 h 3680460"/>
                  <a:gd name="connsiteX29" fmla="*/ 3003233 w 3008034"/>
                  <a:gd name="connsiteY29" fmla="*/ 1990725 h 3680460"/>
                  <a:gd name="connsiteX30" fmla="*/ 2969895 w 3008034"/>
                  <a:gd name="connsiteY30" fmla="*/ 2194560 h 3680460"/>
                  <a:gd name="connsiteX31" fmla="*/ 2931795 w 3008034"/>
                  <a:gd name="connsiteY31" fmla="*/ 2324100 h 3680460"/>
                  <a:gd name="connsiteX32" fmla="*/ 2916555 w 3008034"/>
                  <a:gd name="connsiteY32" fmla="*/ 2392680 h 3680460"/>
                  <a:gd name="connsiteX33" fmla="*/ 2867978 w 3008034"/>
                  <a:gd name="connsiteY33" fmla="*/ 2521267 h 3680460"/>
                  <a:gd name="connsiteX34" fmla="*/ 2801303 w 3008034"/>
                  <a:gd name="connsiteY34" fmla="*/ 2656523 h 3680460"/>
                  <a:gd name="connsiteX35" fmla="*/ 2719387 w 3008034"/>
                  <a:gd name="connsiteY35" fmla="*/ 2818447 h 3680460"/>
                  <a:gd name="connsiteX36" fmla="*/ 2495550 w 3008034"/>
                  <a:gd name="connsiteY36" fmla="*/ 3084195 h 3680460"/>
                  <a:gd name="connsiteX37" fmla="*/ 2396490 w 3008034"/>
                  <a:gd name="connsiteY37" fmla="*/ 3185160 h 3680460"/>
                  <a:gd name="connsiteX38" fmla="*/ 2284095 w 3008034"/>
                  <a:gd name="connsiteY38" fmla="*/ 3284220 h 3680460"/>
                  <a:gd name="connsiteX39" fmla="*/ 2131695 w 3008034"/>
                  <a:gd name="connsiteY39" fmla="*/ 3390900 h 3680460"/>
                  <a:gd name="connsiteX40" fmla="*/ 2000250 w 3008034"/>
                  <a:gd name="connsiteY40" fmla="*/ 3448050 h 3680460"/>
                  <a:gd name="connsiteX41" fmla="*/ 1864995 w 3008034"/>
                  <a:gd name="connsiteY41" fmla="*/ 3512820 h 3680460"/>
                  <a:gd name="connsiteX42" fmla="*/ 1819275 w 3008034"/>
                  <a:gd name="connsiteY42" fmla="*/ 3520440 h 3680460"/>
                  <a:gd name="connsiteX43" fmla="*/ 1712595 w 3008034"/>
                  <a:gd name="connsiteY43" fmla="*/ 3550920 h 3680460"/>
                  <a:gd name="connsiteX44" fmla="*/ 1590675 w 3008034"/>
                  <a:gd name="connsiteY44" fmla="*/ 3589020 h 3680460"/>
                  <a:gd name="connsiteX45" fmla="*/ 1560195 w 3008034"/>
                  <a:gd name="connsiteY45" fmla="*/ 3596640 h 3680460"/>
                  <a:gd name="connsiteX46" fmla="*/ 1537335 w 3008034"/>
                  <a:gd name="connsiteY46" fmla="*/ 3611880 h 3680460"/>
                  <a:gd name="connsiteX47" fmla="*/ 1453515 w 3008034"/>
                  <a:gd name="connsiteY47" fmla="*/ 3627120 h 3680460"/>
                  <a:gd name="connsiteX48" fmla="*/ 1323975 w 3008034"/>
                  <a:gd name="connsiteY48" fmla="*/ 3657600 h 3680460"/>
                  <a:gd name="connsiteX49" fmla="*/ 1194435 w 3008034"/>
                  <a:gd name="connsiteY49" fmla="*/ 3672840 h 3680460"/>
                  <a:gd name="connsiteX50" fmla="*/ 1156335 w 3008034"/>
                  <a:gd name="connsiteY50" fmla="*/ 3680460 h 3680460"/>
                  <a:gd name="connsiteX51" fmla="*/ 625792 w 3008034"/>
                  <a:gd name="connsiteY51" fmla="*/ 3668078 h 3680460"/>
                  <a:gd name="connsiteX52" fmla="*/ 402908 w 3008034"/>
                  <a:gd name="connsiteY52" fmla="*/ 3614738 h 3680460"/>
                  <a:gd name="connsiteX53" fmla="*/ 266700 w 3008034"/>
                  <a:gd name="connsiteY53" fmla="*/ 3570922 h 3680460"/>
                  <a:gd name="connsiteX54" fmla="*/ 164782 w 3008034"/>
                  <a:gd name="connsiteY54" fmla="*/ 3515678 h 3680460"/>
                  <a:gd name="connsiteX55" fmla="*/ 31433 w 3008034"/>
                  <a:gd name="connsiteY55" fmla="*/ 3422333 h 3680460"/>
                  <a:gd name="connsiteX56" fmla="*/ 0 w 3008034"/>
                  <a:gd name="connsiteY56" fmla="*/ 3376613 h 3680460"/>
                  <a:gd name="connsiteX57" fmla="*/ 127635 w 3008034"/>
                  <a:gd name="connsiteY57" fmla="*/ 3360420 h 3680460"/>
                  <a:gd name="connsiteX58" fmla="*/ 158115 w 3008034"/>
                  <a:gd name="connsiteY58" fmla="*/ 3390900 h 3680460"/>
                  <a:gd name="connsiteX59" fmla="*/ 317183 w 3008034"/>
                  <a:gd name="connsiteY59" fmla="*/ 3450907 h 3680460"/>
                  <a:gd name="connsiteX60" fmla="*/ 485775 w 3008034"/>
                  <a:gd name="connsiteY60" fmla="*/ 3520440 h 3680460"/>
                  <a:gd name="connsiteX61" fmla="*/ 721995 w 3008034"/>
                  <a:gd name="connsiteY61" fmla="*/ 3558540 h 3680460"/>
                  <a:gd name="connsiteX62" fmla="*/ 1331595 w 3008034"/>
                  <a:gd name="connsiteY62" fmla="*/ 3550920 h 3680460"/>
                  <a:gd name="connsiteX63" fmla="*/ 1529715 w 3008034"/>
                  <a:gd name="connsiteY63" fmla="*/ 3520440 h 3680460"/>
                  <a:gd name="connsiteX64" fmla="*/ 1621155 w 3008034"/>
                  <a:gd name="connsiteY64" fmla="*/ 3497580 h 3680460"/>
                  <a:gd name="connsiteX65" fmla="*/ 1689735 w 3008034"/>
                  <a:gd name="connsiteY65" fmla="*/ 3474720 h 3680460"/>
                  <a:gd name="connsiteX66" fmla="*/ 1781175 w 3008034"/>
                  <a:gd name="connsiteY66" fmla="*/ 3451860 h 3680460"/>
                  <a:gd name="connsiteX67" fmla="*/ 1811655 w 3008034"/>
                  <a:gd name="connsiteY67" fmla="*/ 3444240 h 3680460"/>
                  <a:gd name="connsiteX68" fmla="*/ 1864995 w 3008034"/>
                  <a:gd name="connsiteY68" fmla="*/ 3421380 h 3680460"/>
                  <a:gd name="connsiteX69" fmla="*/ 1918335 w 3008034"/>
                  <a:gd name="connsiteY69" fmla="*/ 3398520 h 3680460"/>
                  <a:gd name="connsiteX70" fmla="*/ 1941195 w 3008034"/>
                  <a:gd name="connsiteY70" fmla="*/ 3390900 h 3680460"/>
                  <a:gd name="connsiteX71" fmla="*/ 1994535 w 3008034"/>
                  <a:gd name="connsiteY71" fmla="*/ 3360420 h 3680460"/>
                  <a:gd name="connsiteX72" fmla="*/ 2032635 w 3008034"/>
                  <a:gd name="connsiteY72" fmla="*/ 3352800 h 3680460"/>
                  <a:gd name="connsiteX73" fmla="*/ 2070735 w 3008034"/>
                  <a:gd name="connsiteY73" fmla="*/ 3337560 h 3680460"/>
                  <a:gd name="connsiteX74" fmla="*/ 2189797 w 3008034"/>
                  <a:gd name="connsiteY74" fmla="*/ 3251835 h 3680460"/>
                  <a:gd name="connsiteX75" fmla="*/ 2337435 w 3008034"/>
                  <a:gd name="connsiteY75" fmla="*/ 3154680 h 3680460"/>
                  <a:gd name="connsiteX76" fmla="*/ 2436495 w 3008034"/>
                  <a:gd name="connsiteY76" fmla="*/ 3032760 h 3680460"/>
                  <a:gd name="connsiteX77" fmla="*/ 2459355 w 3008034"/>
                  <a:gd name="connsiteY77" fmla="*/ 3009900 h 3680460"/>
                  <a:gd name="connsiteX78" fmla="*/ 2527935 w 3008034"/>
                  <a:gd name="connsiteY78" fmla="*/ 2926080 h 3680460"/>
                  <a:gd name="connsiteX79" fmla="*/ 2619375 w 3008034"/>
                  <a:gd name="connsiteY79" fmla="*/ 2811780 h 3680460"/>
                  <a:gd name="connsiteX80" fmla="*/ 2634615 w 3008034"/>
                  <a:gd name="connsiteY80" fmla="*/ 2773680 h 3680460"/>
                  <a:gd name="connsiteX81" fmla="*/ 2665095 w 3008034"/>
                  <a:gd name="connsiteY81" fmla="*/ 2727960 h 3680460"/>
                  <a:gd name="connsiteX82" fmla="*/ 2695575 w 3008034"/>
                  <a:gd name="connsiteY82" fmla="*/ 2667000 h 3680460"/>
                  <a:gd name="connsiteX83" fmla="*/ 2779395 w 3008034"/>
                  <a:gd name="connsiteY83" fmla="*/ 2484120 h 3680460"/>
                  <a:gd name="connsiteX84" fmla="*/ 2802255 w 3008034"/>
                  <a:gd name="connsiteY84" fmla="*/ 2407920 h 3680460"/>
                  <a:gd name="connsiteX85" fmla="*/ 2908935 w 3008034"/>
                  <a:gd name="connsiteY85" fmla="*/ 2049780 h 3680460"/>
                  <a:gd name="connsiteX86" fmla="*/ 2924175 w 3008034"/>
                  <a:gd name="connsiteY86" fmla="*/ 1844040 h 3680460"/>
                  <a:gd name="connsiteX87" fmla="*/ 2908935 w 3008034"/>
                  <a:gd name="connsiteY87" fmla="*/ 1470660 h 3680460"/>
                  <a:gd name="connsiteX88" fmla="*/ 2886075 w 3008034"/>
                  <a:gd name="connsiteY88" fmla="*/ 1371600 h 3680460"/>
                  <a:gd name="connsiteX89" fmla="*/ 2870835 w 3008034"/>
                  <a:gd name="connsiteY89" fmla="*/ 1341120 h 3680460"/>
                  <a:gd name="connsiteX90" fmla="*/ 2847975 w 3008034"/>
                  <a:gd name="connsiteY90" fmla="*/ 1272540 h 3680460"/>
                  <a:gd name="connsiteX91" fmla="*/ 2840355 w 3008034"/>
                  <a:gd name="connsiteY91" fmla="*/ 1234440 h 3680460"/>
                  <a:gd name="connsiteX92" fmla="*/ 2756535 w 3008034"/>
                  <a:gd name="connsiteY92" fmla="*/ 1089660 h 3680460"/>
                  <a:gd name="connsiteX93" fmla="*/ 2726055 w 3008034"/>
                  <a:gd name="connsiteY93" fmla="*/ 1043940 h 3680460"/>
                  <a:gd name="connsiteX94" fmla="*/ 2718435 w 3008034"/>
                  <a:gd name="connsiteY94" fmla="*/ 1021080 h 3680460"/>
                  <a:gd name="connsiteX95" fmla="*/ 2672715 w 3008034"/>
                  <a:gd name="connsiteY95" fmla="*/ 937260 h 3680460"/>
                  <a:gd name="connsiteX96" fmla="*/ 2649855 w 3008034"/>
                  <a:gd name="connsiteY96" fmla="*/ 876300 h 3680460"/>
                  <a:gd name="connsiteX97" fmla="*/ 2634615 w 3008034"/>
                  <a:gd name="connsiteY97" fmla="*/ 845820 h 3680460"/>
                  <a:gd name="connsiteX98" fmla="*/ 2611755 w 3008034"/>
                  <a:gd name="connsiteY98" fmla="*/ 800100 h 3680460"/>
                  <a:gd name="connsiteX99" fmla="*/ 2448878 w 3008034"/>
                  <a:gd name="connsiteY99" fmla="*/ 621983 h 3680460"/>
                  <a:gd name="connsiteX100" fmla="*/ 2291715 w 3008034"/>
                  <a:gd name="connsiteY100" fmla="*/ 458152 h 3680460"/>
                  <a:gd name="connsiteX101" fmla="*/ 2227898 w 3008034"/>
                  <a:gd name="connsiteY101" fmla="*/ 406717 h 3680460"/>
                  <a:gd name="connsiteX102" fmla="*/ 2093595 w 3008034"/>
                  <a:gd name="connsiteY102" fmla="*/ 312420 h 3680460"/>
                  <a:gd name="connsiteX103" fmla="*/ 2032635 w 3008034"/>
                  <a:gd name="connsiteY103" fmla="*/ 266700 h 3680460"/>
                  <a:gd name="connsiteX104" fmla="*/ 1994535 w 3008034"/>
                  <a:gd name="connsiteY104" fmla="*/ 251460 h 3680460"/>
                  <a:gd name="connsiteX105" fmla="*/ 1948815 w 3008034"/>
                  <a:gd name="connsiteY105" fmla="*/ 220980 h 3680460"/>
                  <a:gd name="connsiteX106" fmla="*/ 1887855 w 3008034"/>
                  <a:gd name="connsiteY10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18435 w 3008034"/>
                  <a:gd name="connsiteY17" fmla="*/ 678180 h 3680460"/>
                  <a:gd name="connsiteX18" fmla="*/ 2718435 w 3008034"/>
                  <a:gd name="connsiteY18" fmla="*/ 678180 h 3680460"/>
                  <a:gd name="connsiteX19" fmla="*/ 2756535 w 3008034"/>
                  <a:gd name="connsiteY19" fmla="*/ 754380 h 3680460"/>
                  <a:gd name="connsiteX20" fmla="*/ 2809875 w 3008034"/>
                  <a:gd name="connsiteY20" fmla="*/ 830580 h 3680460"/>
                  <a:gd name="connsiteX21" fmla="*/ 2908935 w 3008034"/>
                  <a:gd name="connsiteY21" fmla="*/ 1036320 h 3680460"/>
                  <a:gd name="connsiteX22" fmla="*/ 2924175 w 3008034"/>
                  <a:gd name="connsiteY22" fmla="*/ 1074420 h 3680460"/>
                  <a:gd name="connsiteX23" fmla="*/ 2954655 w 3008034"/>
                  <a:gd name="connsiteY23" fmla="*/ 1203960 h 3680460"/>
                  <a:gd name="connsiteX24" fmla="*/ 2969895 w 3008034"/>
                  <a:gd name="connsiteY24" fmla="*/ 1264920 h 3680460"/>
                  <a:gd name="connsiteX25" fmla="*/ 2985135 w 3008034"/>
                  <a:gd name="connsiteY25" fmla="*/ 1348740 h 3680460"/>
                  <a:gd name="connsiteX26" fmla="*/ 3000375 w 3008034"/>
                  <a:gd name="connsiteY26" fmla="*/ 1432560 h 3680460"/>
                  <a:gd name="connsiteX27" fmla="*/ 3007995 w 3008034"/>
                  <a:gd name="connsiteY27" fmla="*/ 1684020 h 3680460"/>
                  <a:gd name="connsiteX28" fmla="*/ 3003233 w 3008034"/>
                  <a:gd name="connsiteY28" fmla="*/ 1990725 h 3680460"/>
                  <a:gd name="connsiteX29" fmla="*/ 2969895 w 3008034"/>
                  <a:gd name="connsiteY29" fmla="*/ 2194560 h 3680460"/>
                  <a:gd name="connsiteX30" fmla="*/ 2931795 w 3008034"/>
                  <a:gd name="connsiteY30" fmla="*/ 2324100 h 3680460"/>
                  <a:gd name="connsiteX31" fmla="*/ 2916555 w 3008034"/>
                  <a:gd name="connsiteY31" fmla="*/ 2392680 h 3680460"/>
                  <a:gd name="connsiteX32" fmla="*/ 2867978 w 3008034"/>
                  <a:gd name="connsiteY32" fmla="*/ 2521267 h 3680460"/>
                  <a:gd name="connsiteX33" fmla="*/ 2801303 w 3008034"/>
                  <a:gd name="connsiteY33" fmla="*/ 2656523 h 3680460"/>
                  <a:gd name="connsiteX34" fmla="*/ 2719387 w 3008034"/>
                  <a:gd name="connsiteY34" fmla="*/ 2818447 h 3680460"/>
                  <a:gd name="connsiteX35" fmla="*/ 2495550 w 3008034"/>
                  <a:gd name="connsiteY35" fmla="*/ 3084195 h 3680460"/>
                  <a:gd name="connsiteX36" fmla="*/ 2396490 w 3008034"/>
                  <a:gd name="connsiteY36" fmla="*/ 3185160 h 3680460"/>
                  <a:gd name="connsiteX37" fmla="*/ 2284095 w 3008034"/>
                  <a:gd name="connsiteY37" fmla="*/ 3284220 h 3680460"/>
                  <a:gd name="connsiteX38" fmla="*/ 2131695 w 3008034"/>
                  <a:gd name="connsiteY38" fmla="*/ 3390900 h 3680460"/>
                  <a:gd name="connsiteX39" fmla="*/ 2000250 w 3008034"/>
                  <a:gd name="connsiteY39" fmla="*/ 3448050 h 3680460"/>
                  <a:gd name="connsiteX40" fmla="*/ 1864995 w 3008034"/>
                  <a:gd name="connsiteY40" fmla="*/ 3512820 h 3680460"/>
                  <a:gd name="connsiteX41" fmla="*/ 1819275 w 3008034"/>
                  <a:gd name="connsiteY41" fmla="*/ 3520440 h 3680460"/>
                  <a:gd name="connsiteX42" fmla="*/ 1712595 w 3008034"/>
                  <a:gd name="connsiteY42" fmla="*/ 3550920 h 3680460"/>
                  <a:gd name="connsiteX43" fmla="*/ 1590675 w 3008034"/>
                  <a:gd name="connsiteY43" fmla="*/ 3589020 h 3680460"/>
                  <a:gd name="connsiteX44" fmla="*/ 1560195 w 3008034"/>
                  <a:gd name="connsiteY44" fmla="*/ 3596640 h 3680460"/>
                  <a:gd name="connsiteX45" fmla="*/ 1537335 w 3008034"/>
                  <a:gd name="connsiteY45" fmla="*/ 3611880 h 3680460"/>
                  <a:gd name="connsiteX46" fmla="*/ 1453515 w 3008034"/>
                  <a:gd name="connsiteY46" fmla="*/ 3627120 h 3680460"/>
                  <a:gd name="connsiteX47" fmla="*/ 1323975 w 3008034"/>
                  <a:gd name="connsiteY47" fmla="*/ 3657600 h 3680460"/>
                  <a:gd name="connsiteX48" fmla="*/ 1194435 w 3008034"/>
                  <a:gd name="connsiteY48" fmla="*/ 3672840 h 3680460"/>
                  <a:gd name="connsiteX49" fmla="*/ 1156335 w 3008034"/>
                  <a:gd name="connsiteY49" fmla="*/ 3680460 h 3680460"/>
                  <a:gd name="connsiteX50" fmla="*/ 625792 w 3008034"/>
                  <a:gd name="connsiteY50" fmla="*/ 3668078 h 3680460"/>
                  <a:gd name="connsiteX51" fmla="*/ 402908 w 3008034"/>
                  <a:gd name="connsiteY51" fmla="*/ 3614738 h 3680460"/>
                  <a:gd name="connsiteX52" fmla="*/ 266700 w 3008034"/>
                  <a:gd name="connsiteY52" fmla="*/ 3570922 h 3680460"/>
                  <a:gd name="connsiteX53" fmla="*/ 164782 w 3008034"/>
                  <a:gd name="connsiteY53" fmla="*/ 3515678 h 3680460"/>
                  <a:gd name="connsiteX54" fmla="*/ 31433 w 3008034"/>
                  <a:gd name="connsiteY54" fmla="*/ 3422333 h 3680460"/>
                  <a:gd name="connsiteX55" fmla="*/ 0 w 3008034"/>
                  <a:gd name="connsiteY55" fmla="*/ 3376613 h 3680460"/>
                  <a:gd name="connsiteX56" fmla="*/ 127635 w 3008034"/>
                  <a:gd name="connsiteY56" fmla="*/ 3360420 h 3680460"/>
                  <a:gd name="connsiteX57" fmla="*/ 158115 w 3008034"/>
                  <a:gd name="connsiteY57" fmla="*/ 3390900 h 3680460"/>
                  <a:gd name="connsiteX58" fmla="*/ 317183 w 3008034"/>
                  <a:gd name="connsiteY58" fmla="*/ 3450907 h 3680460"/>
                  <a:gd name="connsiteX59" fmla="*/ 485775 w 3008034"/>
                  <a:gd name="connsiteY59" fmla="*/ 3520440 h 3680460"/>
                  <a:gd name="connsiteX60" fmla="*/ 721995 w 3008034"/>
                  <a:gd name="connsiteY60" fmla="*/ 3558540 h 3680460"/>
                  <a:gd name="connsiteX61" fmla="*/ 1331595 w 3008034"/>
                  <a:gd name="connsiteY61" fmla="*/ 3550920 h 3680460"/>
                  <a:gd name="connsiteX62" fmla="*/ 1529715 w 3008034"/>
                  <a:gd name="connsiteY62" fmla="*/ 3520440 h 3680460"/>
                  <a:gd name="connsiteX63" fmla="*/ 1621155 w 3008034"/>
                  <a:gd name="connsiteY63" fmla="*/ 3497580 h 3680460"/>
                  <a:gd name="connsiteX64" fmla="*/ 1689735 w 3008034"/>
                  <a:gd name="connsiteY64" fmla="*/ 3474720 h 3680460"/>
                  <a:gd name="connsiteX65" fmla="*/ 1781175 w 3008034"/>
                  <a:gd name="connsiteY65" fmla="*/ 3451860 h 3680460"/>
                  <a:gd name="connsiteX66" fmla="*/ 1811655 w 3008034"/>
                  <a:gd name="connsiteY66" fmla="*/ 3444240 h 3680460"/>
                  <a:gd name="connsiteX67" fmla="*/ 1864995 w 3008034"/>
                  <a:gd name="connsiteY67" fmla="*/ 3421380 h 3680460"/>
                  <a:gd name="connsiteX68" fmla="*/ 1918335 w 3008034"/>
                  <a:gd name="connsiteY68" fmla="*/ 3398520 h 3680460"/>
                  <a:gd name="connsiteX69" fmla="*/ 1941195 w 3008034"/>
                  <a:gd name="connsiteY69" fmla="*/ 3390900 h 3680460"/>
                  <a:gd name="connsiteX70" fmla="*/ 1994535 w 3008034"/>
                  <a:gd name="connsiteY70" fmla="*/ 3360420 h 3680460"/>
                  <a:gd name="connsiteX71" fmla="*/ 2032635 w 3008034"/>
                  <a:gd name="connsiteY71" fmla="*/ 3352800 h 3680460"/>
                  <a:gd name="connsiteX72" fmla="*/ 2070735 w 3008034"/>
                  <a:gd name="connsiteY72" fmla="*/ 3337560 h 3680460"/>
                  <a:gd name="connsiteX73" fmla="*/ 2189797 w 3008034"/>
                  <a:gd name="connsiteY73" fmla="*/ 3251835 h 3680460"/>
                  <a:gd name="connsiteX74" fmla="*/ 2337435 w 3008034"/>
                  <a:gd name="connsiteY74" fmla="*/ 3154680 h 3680460"/>
                  <a:gd name="connsiteX75" fmla="*/ 2436495 w 3008034"/>
                  <a:gd name="connsiteY75" fmla="*/ 3032760 h 3680460"/>
                  <a:gd name="connsiteX76" fmla="*/ 2459355 w 3008034"/>
                  <a:gd name="connsiteY76" fmla="*/ 3009900 h 3680460"/>
                  <a:gd name="connsiteX77" fmla="*/ 2527935 w 3008034"/>
                  <a:gd name="connsiteY77" fmla="*/ 2926080 h 3680460"/>
                  <a:gd name="connsiteX78" fmla="*/ 2619375 w 3008034"/>
                  <a:gd name="connsiteY78" fmla="*/ 2811780 h 3680460"/>
                  <a:gd name="connsiteX79" fmla="*/ 2634615 w 3008034"/>
                  <a:gd name="connsiteY79" fmla="*/ 2773680 h 3680460"/>
                  <a:gd name="connsiteX80" fmla="*/ 2665095 w 3008034"/>
                  <a:gd name="connsiteY80" fmla="*/ 2727960 h 3680460"/>
                  <a:gd name="connsiteX81" fmla="*/ 2695575 w 3008034"/>
                  <a:gd name="connsiteY81" fmla="*/ 2667000 h 3680460"/>
                  <a:gd name="connsiteX82" fmla="*/ 2779395 w 3008034"/>
                  <a:gd name="connsiteY82" fmla="*/ 2484120 h 3680460"/>
                  <a:gd name="connsiteX83" fmla="*/ 2802255 w 3008034"/>
                  <a:gd name="connsiteY83" fmla="*/ 2407920 h 3680460"/>
                  <a:gd name="connsiteX84" fmla="*/ 2908935 w 3008034"/>
                  <a:gd name="connsiteY84" fmla="*/ 2049780 h 3680460"/>
                  <a:gd name="connsiteX85" fmla="*/ 2924175 w 3008034"/>
                  <a:gd name="connsiteY85" fmla="*/ 1844040 h 3680460"/>
                  <a:gd name="connsiteX86" fmla="*/ 2908935 w 3008034"/>
                  <a:gd name="connsiteY86" fmla="*/ 1470660 h 3680460"/>
                  <a:gd name="connsiteX87" fmla="*/ 2886075 w 3008034"/>
                  <a:gd name="connsiteY87" fmla="*/ 1371600 h 3680460"/>
                  <a:gd name="connsiteX88" fmla="*/ 2870835 w 3008034"/>
                  <a:gd name="connsiteY88" fmla="*/ 1341120 h 3680460"/>
                  <a:gd name="connsiteX89" fmla="*/ 2847975 w 3008034"/>
                  <a:gd name="connsiteY89" fmla="*/ 1272540 h 3680460"/>
                  <a:gd name="connsiteX90" fmla="*/ 2840355 w 3008034"/>
                  <a:gd name="connsiteY90" fmla="*/ 1234440 h 3680460"/>
                  <a:gd name="connsiteX91" fmla="*/ 2756535 w 3008034"/>
                  <a:gd name="connsiteY91" fmla="*/ 1089660 h 3680460"/>
                  <a:gd name="connsiteX92" fmla="*/ 2726055 w 3008034"/>
                  <a:gd name="connsiteY92" fmla="*/ 1043940 h 3680460"/>
                  <a:gd name="connsiteX93" fmla="*/ 2718435 w 3008034"/>
                  <a:gd name="connsiteY93" fmla="*/ 1021080 h 3680460"/>
                  <a:gd name="connsiteX94" fmla="*/ 2672715 w 3008034"/>
                  <a:gd name="connsiteY94" fmla="*/ 937260 h 3680460"/>
                  <a:gd name="connsiteX95" fmla="*/ 2649855 w 3008034"/>
                  <a:gd name="connsiteY95" fmla="*/ 876300 h 3680460"/>
                  <a:gd name="connsiteX96" fmla="*/ 2634615 w 3008034"/>
                  <a:gd name="connsiteY96" fmla="*/ 845820 h 3680460"/>
                  <a:gd name="connsiteX97" fmla="*/ 2611755 w 3008034"/>
                  <a:gd name="connsiteY97" fmla="*/ 800100 h 3680460"/>
                  <a:gd name="connsiteX98" fmla="*/ 2448878 w 3008034"/>
                  <a:gd name="connsiteY98" fmla="*/ 621983 h 3680460"/>
                  <a:gd name="connsiteX99" fmla="*/ 2291715 w 3008034"/>
                  <a:gd name="connsiteY99" fmla="*/ 458152 h 3680460"/>
                  <a:gd name="connsiteX100" fmla="*/ 2227898 w 3008034"/>
                  <a:gd name="connsiteY100" fmla="*/ 406717 h 3680460"/>
                  <a:gd name="connsiteX101" fmla="*/ 2093595 w 3008034"/>
                  <a:gd name="connsiteY101" fmla="*/ 312420 h 3680460"/>
                  <a:gd name="connsiteX102" fmla="*/ 2032635 w 3008034"/>
                  <a:gd name="connsiteY102" fmla="*/ 266700 h 3680460"/>
                  <a:gd name="connsiteX103" fmla="*/ 1994535 w 3008034"/>
                  <a:gd name="connsiteY103" fmla="*/ 251460 h 3680460"/>
                  <a:gd name="connsiteX104" fmla="*/ 1948815 w 3008034"/>
                  <a:gd name="connsiteY104" fmla="*/ 220980 h 3680460"/>
                  <a:gd name="connsiteX105" fmla="*/ 1887855 w 3008034"/>
                  <a:gd name="connsiteY10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18435 w 3008034"/>
                  <a:gd name="connsiteY17" fmla="*/ 678180 h 3680460"/>
                  <a:gd name="connsiteX18" fmla="*/ 2756535 w 3008034"/>
                  <a:gd name="connsiteY18" fmla="*/ 754380 h 3680460"/>
                  <a:gd name="connsiteX19" fmla="*/ 2809875 w 3008034"/>
                  <a:gd name="connsiteY19" fmla="*/ 830580 h 3680460"/>
                  <a:gd name="connsiteX20" fmla="*/ 2908935 w 3008034"/>
                  <a:gd name="connsiteY20" fmla="*/ 1036320 h 3680460"/>
                  <a:gd name="connsiteX21" fmla="*/ 2924175 w 3008034"/>
                  <a:gd name="connsiteY21" fmla="*/ 1074420 h 3680460"/>
                  <a:gd name="connsiteX22" fmla="*/ 2954655 w 3008034"/>
                  <a:gd name="connsiteY22" fmla="*/ 1203960 h 3680460"/>
                  <a:gd name="connsiteX23" fmla="*/ 2969895 w 3008034"/>
                  <a:gd name="connsiteY23" fmla="*/ 1264920 h 3680460"/>
                  <a:gd name="connsiteX24" fmla="*/ 2985135 w 3008034"/>
                  <a:gd name="connsiteY24" fmla="*/ 1348740 h 3680460"/>
                  <a:gd name="connsiteX25" fmla="*/ 3000375 w 3008034"/>
                  <a:gd name="connsiteY25" fmla="*/ 1432560 h 3680460"/>
                  <a:gd name="connsiteX26" fmla="*/ 3007995 w 3008034"/>
                  <a:gd name="connsiteY26" fmla="*/ 1684020 h 3680460"/>
                  <a:gd name="connsiteX27" fmla="*/ 3003233 w 3008034"/>
                  <a:gd name="connsiteY27" fmla="*/ 1990725 h 3680460"/>
                  <a:gd name="connsiteX28" fmla="*/ 2969895 w 3008034"/>
                  <a:gd name="connsiteY28" fmla="*/ 2194560 h 3680460"/>
                  <a:gd name="connsiteX29" fmla="*/ 2931795 w 3008034"/>
                  <a:gd name="connsiteY29" fmla="*/ 2324100 h 3680460"/>
                  <a:gd name="connsiteX30" fmla="*/ 2916555 w 3008034"/>
                  <a:gd name="connsiteY30" fmla="*/ 2392680 h 3680460"/>
                  <a:gd name="connsiteX31" fmla="*/ 2867978 w 3008034"/>
                  <a:gd name="connsiteY31" fmla="*/ 2521267 h 3680460"/>
                  <a:gd name="connsiteX32" fmla="*/ 2801303 w 3008034"/>
                  <a:gd name="connsiteY32" fmla="*/ 2656523 h 3680460"/>
                  <a:gd name="connsiteX33" fmla="*/ 2719387 w 3008034"/>
                  <a:gd name="connsiteY33" fmla="*/ 2818447 h 3680460"/>
                  <a:gd name="connsiteX34" fmla="*/ 2495550 w 3008034"/>
                  <a:gd name="connsiteY34" fmla="*/ 3084195 h 3680460"/>
                  <a:gd name="connsiteX35" fmla="*/ 2396490 w 3008034"/>
                  <a:gd name="connsiteY35" fmla="*/ 3185160 h 3680460"/>
                  <a:gd name="connsiteX36" fmla="*/ 2284095 w 3008034"/>
                  <a:gd name="connsiteY36" fmla="*/ 3284220 h 3680460"/>
                  <a:gd name="connsiteX37" fmla="*/ 2131695 w 3008034"/>
                  <a:gd name="connsiteY37" fmla="*/ 3390900 h 3680460"/>
                  <a:gd name="connsiteX38" fmla="*/ 2000250 w 3008034"/>
                  <a:gd name="connsiteY38" fmla="*/ 3448050 h 3680460"/>
                  <a:gd name="connsiteX39" fmla="*/ 1864995 w 3008034"/>
                  <a:gd name="connsiteY39" fmla="*/ 3512820 h 3680460"/>
                  <a:gd name="connsiteX40" fmla="*/ 1819275 w 3008034"/>
                  <a:gd name="connsiteY40" fmla="*/ 3520440 h 3680460"/>
                  <a:gd name="connsiteX41" fmla="*/ 1712595 w 3008034"/>
                  <a:gd name="connsiteY41" fmla="*/ 3550920 h 3680460"/>
                  <a:gd name="connsiteX42" fmla="*/ 1590675 w 3008034"/>
                  <a:gd name="connsiteY42" fmla="*/ 3589020 h 3680460"/>
                  <a:gd name="connsiteX43" fmla="*/ 1560195 w 3008034"/>
                  <a:gd name="connsiteY43" fmla="*/ 3596640 h 3680460"/>
                  <a:gd name="connsiteX44" fmla="*/ 1537335 w 3008034"/>
                  <a:gd name="connsiteY44" fmla="*/ 3611880 h 3680460"/>
                  <a:gd name="connsiteX45" fmla="*/ 1453515 w 3008034"/>
                  <a:gd name="connsiteY45" fmla="*/ 3627120 h 3680460"/>
                  <a:gd name="connsiteX46" fmla="*/ 1323975 w 3008034"/>
                  <a:gd name="connsiteY46" fmla="*/ 3657600 h 3680460"/>
                  <a:gd name="connsiteX47" fmla="*/ 1194435 w 3008034"/>
                  <a:gd name="connsiteY47" fmla="*/ 3672840 h 3680460"/>
                  <a:gd name="connsiteX48" fmla="*/ 1156335 w 3008034"/>
                  <a:gd name="connsiteY48" fmla="*/ 3680460 h 3680460"/>
                  <a:gd name="connsiteX49" fmla="*/ 625792 w 3008034"/>
                  <a:gd name="connsiteY49" fmla="*/ 3668078 h 3680460"/>
                  <a:gd name="connsiteX50" fmla="*/ 402908 w 3008034"/>
                  <a:gd name="connsiteY50" fmla="*/ 3614738 h 3680460"/>
                  <a:gd name="connsiteX51" fmla="*/ 266700 w 3008034"/>
                  <a:gd name="connsiteY51" fmla="*/ 3570922 h 3680460"/>
                  <a:gd name="connsiteX52" fmla="*/ 164782 w 3008034"/>
                  <a:gd name="connsiteY52" fmla="*/ 3515678 h 3680460"/>
                  <a:gd name="connsiteX53" fmla="*/ 31433 w 3008034"/>
                  <a:gd name="connsiteY53" fmla="*/ 3422333 h 3680460"/>
                  <a:gd name="connsiteX54" fmla="*/ 0 w 3008034"/>
                  <a:gd name="connsiteY54" fmla="*/ 3376613 h 3680460"/>
                  <a:gd name="connsiteX55" fmla="*/ 127635 w 3008034"/>
                  <a:gd name="connsiteY55" fmla="*/ 3360420 h 3680460"/>
                  <a:gd name="connsiteX56" fmla="*/ 158115 w 3008034"/>
                  <a:gd name="connsiteY56" fmla="*/ 3390900 h 3680460"/>
                  <a:gd name="connsiteX57" fmla="*/ 317183 w 3008034"/>
                  <a:gd name="connsiteY57" fmla="*/ 3450907 h 3680460"/>
                  <a:gd name="connsiteX58" fmla="*/ 485775 w 3008034"/>
                  <a:gd name="connsiteY58" fmla="*/ 3520440 h 3680460"/>
                  <a:gd name="connsiteX59" fmla="*/ 721995 w 3008034"/>
                  <a:gd name="connsiteY59" fmla="*/ 3558540 h 3680460"/>
                  <a:gd name="connsiteX60" fmla="*/ 1331595 w 3008034"/>
                  <a:gd name="connsiteY60" fmla="*/ 3550920 h 3680460"/>
                  <a:gd name="connsiteX61" fmla="*/ 1529715 w 3008034"/>
                  <a:gd name="connsiteY61" fmla="*/ 3520440 h 3680460"/>
                  <a:gd name="connsiteX62" fmla="*/ 1621155 w 3008034"/>
                  <a:gd name="connsiteY62" fmla="*/ 3497580 h 3680460"/>
                  <a:gd name="connsiteX63" fmla="*/ 1689735 w 3008034"/>
                  <a:gd name="connsiteY63" fmla="*/ 3474720 h 3680460"/>
                  <a:gd name="connsiteX64" fmla="*/ 1781175 w 3008034"/>
                  <a:gd name="connsiteY64" fmla="*/ 3451860 h 3680460"/>
                  <a:gd name="connsiteX65" fmla="*/ 1811655 w 3008034"/>
                  <a:gd name="connsiteY65" fmla="*/ 3444240 h 3680460"/>
                  <a:gd name="connsiteX66" fmla="*/ 1864995 w 3008034"/>
                  <a:gd name="connsiteY66" fmla="*/ 3421380 h 3680460"/>
                  <a:gd name="connsiteX67" fmla="*/ 1918335 w 3008034"/>
                  <a:gd name="connsiteY67" fmla="*/ 3398520 h 3680460"/>
                  <a:gd name="connsiteX68" fmla="*/ 1941195 w 3008034"/>
                  <a:gd name="connsiteY68" fmla="*/ 3390900 h 3680460"/>
                  <a:gd name="connsiteX69" fmla="*/ 1994535 w 3008034"/>
                  <a:gd name="connsiteY69" fmla="*/ 3360420 h 3680460"/>
                  <a:gd name="connsiteX70" fmla="*/ 2032635 w 3008034"/>
                  <a:gd name="connsiteY70" fmla="*/ 3352800 h 3680460"/>
                  <a:gd name="connsiteX71" fmla="*/ 2070735 w 3008034"/>
                  <a:gd name="connsiteY71" fmla="*/ 3337560 h 3680460"/>
                  <a:gd name="connsiteX72" fmla="*/ 2189797 w 3008034"/>
                  <a:gd name="connsiteY72" fmla="*/ 3251835 h 3680460"/>
                  <a:gd name="connsiteX73" fmla="*/ 2337435 w 3008034"/>
                  <a:gd name="connsiteY73" fmla="*/ 3154680 h 3680460"/>
                  <a:gd name="connsiteX74" fmla="*/ 2436495 w 3008034"/>
                  <a:gd name="connsiteY74" fmla="*/ 3032760 h 3680460"/>
                  <a:gd name="connsiteX75" fmla="*/ 2459355 w 3008034"/>
                  <a:gd name="connsiteY75" fmla="*/ 3009900 h 3680460"/>
                  <a:gd name="connsiteX76" fmla="*/ 2527935 w 3008034"/>
                  <a:gd name="connsiteY76" fmla="*/ 2926080 h 3680460"/>
                  <a:gd name="connsiteX77" fmla="*/ 2619375 w 3008034"/>
                  <a:gd name="connsiteY77" fmla="*/ 2811780 h 3680460"/>
                  <a:gd name="connsiteX78" fmla="*/ 2634615 w 3008034"/>
                  <a:gd name="connsiteY78" fmla="*/ 2773680 h 3680460"/>
                  <a:gd name="connsiteX79" fmla="*/ 2665095 w 3008034"/>
                  <a:gd name="connsiteY79" fmla="*/ 2727960 h 3680460"/>
                  <a:gd name="connsiteX80" fmla="*/ 2695575 w 3008034"/>
                  <a:gd name="connsiteY80" fmla="*/ 2667000 h 3680460"/>
                  <a:gd name="connsiteX81" fmla="*/ 2779395 w 3008034"/>
                  <a:gd name="connsiteY81" fmla="*/ 2484120 h 3680460"/>
                  <a:gd name="connsiteX82" fmla="*/ 2802255 w 3008034"/>
                  <a:gd name="connsiteY82" fmla="*/ 2407920 h 3680460"/>
                  <a:gd name="connsiteX83" fmla="*/ 2908935 w 3008034"/>
                  <a:gd name="connsiteY83" fmla="*/ 2049780 h 3680460"/>
                  <a:gd name="connsiteX84" fmla="*/ 2924175 w 3008034"/>
                  <a:gd name="connsiteY84" fmla="*/ 1844040 h 3680460"/>
                  <a:gd name="connsiteX85" fmla="*/ 2908935 w 3008034"/>
                  <a:gd name="connsiteY85" fmla="*/ 1470660 h 3680460"/>
                  <a:gd name="connsiteX86" fmla="*/ 2886075 w 3008034"/>
                  <a:gd name="connsiteY86" fmla="*/ 1371600 h 3680460"/>
                  <a:gd name="connsiteX87" fmla="*/ 2870835 w 3008034"/>
                  <a:gd name="connsiteY87" fmla="*/ 1341120 h 3680460"/>
                  <a:gd name="connsiteX88" fmla="*/ 2847975 w 3008034"/>
                  <a:gd name="connsiteY88" fmla="*/ 1272540 h 3680460"/>
                  <a:gd name="connsiteX89" fmla="*/ 2840355 w 3008034"/>
                  <a:gd name="connsiteY89" fmla="*/ 1234440 h 3680460"/>
                  <a:gd name="connsiteX90" fmla="*/ 2756535 w 3008034"/>
                  <a:gd name="connsiteY90" fmla="*/ 1089660 h 3680460"/>
                  <a:gd name="connsiteX91" fmla="*/ 2726055 w 3008034"/>
                  <a:gd name="connsiteY91" fmla="*/ 1043940 h 3680460"/>
                  <a:gd name="connsiteX92" fmla="*/ 2718435 w 3008034"/>
                  <a:gd name="connsiteY92" fmla="*/ 1021080 h 3680460"/>
                  <a:gd name="connsiteX93" fmla="*/ 2672715 w 3008034"/>
                  <a:gd name="connsiteY93" fmla="*/ 937260 h 3680460"/>
                  <a:gd name="connsiteX94" fmla="*/ 2649855 w 3008034"/>
                  <a:gd name="connsiteY94" fmla="*/ 876300 h 3680460"/>
                  <a:gd name="connsiteX95" fmla="*/ 2634615 w 3008034"/>
                  <a:gd name="connsiteY95" fmla="*/ 845820 h 3680460"/>
                  <a:gd name="connsiteX96" fmla="*/ 2611755 w 3008034"/>
                  <a:gd name="connsiteY96" fmla="*/ 800100 h 3680460"/>
                  <a:gd name="connsiteX97" fmla="*/ 2448878 w 3008034"/>
                  <a:gd name="connsiteY97" fmla="*/ 621983 h 3680460"/>
                  <a:gd name="connsiteX98" fmla="*/ 2291715 w 3008034"/>
                  <a:gd name="connsiteY98" fmla="*/ 458152 h 3680460"/>
                  <a:gd name="connsiteX99" fmla="*/ 2227898 w 3008034"/>
                  <a:gd name="connsiteY99" fmla="*/ 406717 h 3680460"/>
                  <a:gd name="connsiteX100" fmla="*/ 2093595 w 3008034"/>
                  <a:gd name="connsiteY100" fmla="*/ 312420 h 3680460"/>
                  <a:gd name="connsiteX101" fmla="*/ 2032635 w 3008034"/>
                  <a:gd name="connsiteY101" fmla="*/ 266700 h 3680460"/>
                  <a:gd name="connsiteX102" fmla="*/ 1994535 w 3008034"/>
                  <a:gd name="connsiteY102" fmla="*/ 251460 h 3680460"/>
                  <a:gd name="connsiteX103" fmla="*/ 1948815 w 3008034"/>
                  <a:gd name="connsiteY103" fmla="*/ 220980 h 3680460"/>
                  <a:gd name="connsiteX104" fmla="*/ 1887855 w 3008034"/>
                  <a:gd name="connsiteY10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375535 w 3008034"/>
                  <a:gd name="connsiteY11" fmla="*/ 266700 h 3680460"/>
                  <a:gd name="connsiteX12" fmla="*/ 2527935 w 3008034"/>
                  <a:gd name="connsiteY12" fmla="*/ 426720 h 3680460"/>
                  <a:gd name="connsiteX13" fmla="*/ 2543175 w 3008034"/>
                  <a:gd name="connsiteY13" fmla="*/ 449580 h 3680460"/>
                  <a:gd name="connsiteX14" fmla="*/ 2566035 w 3008034"/>
                  <a:gd name="connsiteY14" fmla="*/ 487680 h 3680460"/>
                  <a:gd name="connsiteX15" fmla="*/ 2611755 w 3008034"/>
                  <a:gd name="connsiteY15" fmla="*/ 548640 h 3680460"/>
                  <a:gd name="connsiteX16" fmla="*/ 2665095 w 3008034"/>
                  <a:gd name="connsiteY16" fmla="*/ 609600 h 3680460"/>
                  <a:gd name="connsiteX17" fmla="*/ 2756535 w 3008034"/>
                  <a:gd name="connsiteY17" fmla="*/ 754380 h 3680460"/>
                  <a:gd name="connsiteX18" fmla="*/ 2809875 w 3008034"/>
                  <a:gd name="connsiteY18" fmla="*/ 830580 h 3680460"/>
                  <a:gd name="connsiteX19" fmla="*/ 2908935 w 3008034"/>
                  <a:gd name="connsiteY19" fmla="*/ 1036320 h 3680460"/>
                  <a:gd name="connsiteX20" fmla="*/ 2924175 w 3008034"/>
                  <a:gd name="connsiteY20" fmla="*/ 1074420 h 3680460"/>
                  <a:gd name="connsiteX21" fmla="*/ 2954655 w 3008034"/>
                  <a:gd name="connsiteY21" fmla="*/ 1203960 h 3680460"/>
                  <a:gd name="connsiteX22" fmla="*/ 2969895 w 3008034"/>
                  <a:gd name="connsiteY22" fmla="*/ 1264920 h 3680460"/>
                  <a:gd name="connsiteX23" fmla="*/ 2985135 w 3008034"/>
                  <a:gd name="connsiteY23" fmla="*/ 1348740 h 3680460"/>
                  <a:gd name="connsiteX24" fmla="*/ 3000375 w 3008034"/>
                  <a:gd name="connsiteY24" fmla="*/ 1432560 h 3680460"/>
                  <a:gd name="connsiteX25" fmla="*/ 3007995 w 3008034"/>
                  <a:gd name="connsiteY25" fmla="*/ 1684020 h 3680460"/>
                  <a:gd name="connsiteX26" fmla="*/ 3003233 w 3008034"/>
                  <a:gd name="connsiteY26" fmla="*/ 1990725 h 3680460"/>
                  <a:gd name="connsiteX27" fmla="*/ 2969895 w 3008034"/>
                  <a:gd name="connsiteY27" fmla="*/ 2194560 h 3680460"/>
                  <a:gd name="connsiteX28" fmla="*/ 2931795 w 3008034"/>
                  <a:gd name="connsiteY28" fmla="*/ 2324100 h 3680460"/>
                  <a:gd name="connsiteX29" fmla="*/ 2916555 w 3008034"/>
                  <a:gd name="connsiteY29" fmla="*/ 2392680 h 3680460"/>
                  <a:gd name="connsiteX30" fmla="*/ 2867978 w 3008034"/>
                  <a:gd name="connsiteY30" fmla="*/ 2521267 h 3680460"/>
                  <a:gd name="connsiteX31" fmla="*/ 2801303 w 3008034"/>
                  <a:gd name="connsiteY31" fmla="*/ 2656523 h 3680460"/>
                  <a:gd name="connsiteX32" fmla="*/ 2719387 w 3008034"/>
                  <a:gd name="connsiteY32" fmla="*/ 2818447 h 3680460"/>
                  <a:gd name="connsiteX33" fmla="*/ 2495550 w 3008034"/>
                  <a:gd name="connsiteY33" fmla="*/ 3084195 h 3680460"/>
                  <a:gd name="connsiteX34" fmla="*/ 2396490 w 3008034"/>
                  <a:gd name="connsiteY34" fmla="*/ 3185160 h 3680460"/>
                  <a:gd name="connsiteX35" fmla="*/ 2284095 w 3008034"/>
                  <a:gd name="connsiteY35" fmla="*/ 3284220 h 3680460"/>
                  <a:gd name="connsiteX36" fmla="*/ 2131695 w 3008034"/>
                  <a:gd name="connsiteY36" fmla="*/ 3390900 h 3680460"/>
                  <a:gd name="connsiteX37" fmla="*/ 2000250 w 3008034"/>
                  <a:gd name="connsiteY37" fmla="*/ 3448050 h 3680460"/>
                  <a:gd name="connsiteX38" fmla="*/ 1864995 w 3008034"/>
                  <a:gd name="connsiteY38" fmla="*/ 3512820 h 3680460"/>
                  <a:gd name="connsiteX39" fmla="*/ 1819275 w 3008034"/>
                  <a:gd name="connsiteY39" fmla="*/ 3520440 h 3680460"/>
                  <a:gd name="connsiteX40" fmla="*/ 1712595 w 3008034"/>
                  <a:gd name="connsiteY40" fmla="*/ 3550920 h 3680460"/>
                  <a:gd name="connsiteX41" fmla="*/ 1590675 w 3008034"/>
                  <a:gd name="connsiteY41" fmla="*/ 3589020 h 3680460"/>
                  <a:gd name="connsiteX42" fmla="*/ 1560195 w 3008034"/>
                  <a:gd name="connsiteY42" fmla="*/ 3596640 h 3680460"/>
                  <a:gd name="connsiteX43" fmla="*/ 1537335 w 3008034"/>
                  <a:gd name="connsiteY43" fmla="*/ 3611880 h 3680460"/>
                  <a:gd name="connsiteX44" fmla="*/ 1453515 w 3008034"/>
                  <a:gd name="connsiteY44" fmla="*/ 3627120 h 3680460"/>
                  <a:gd name="connsiteX45" fmla="*/ 1323975 w 3008034"/>
                  <a:gd name="connsiteY45" fmla="*/ 3657600 h 3680460"/>
                  <a:gd name="connsiteX46" fmla="*/ 1194435 w 3008034"/>
                  <a:gd name="connsiteY46" fmla="*/ 3672840 h 3680460"/>
                  <a:gd name="connsiteX47" fmla="*/ 1156335 w 3008034"/>
                  <a:gd name="connsiteY47" fmla="*/ 3680460 h 3680460"/>
                  <a:gd name="connsiteX48" fmla="*/ 625792 w 3008034"/>
                  <a:gd name="connsiteY48" fmla="*/ 3668078 h 3680460"/>
                  <a:gd name="connsiteX49" fmla="*/ 402908 w 3008034"/>
                  <a:gd name="connsiteY49" fmla="*/ 3614738 h 3680460"/>
                  <a:gd name="connsiteX50" fmla="*/ 266700 w 3008034"/>
                  <a:gd name="connsiteY50" fmla="*/ 3570922 h 3680460"/>
                  <a:gd name="connsiteX51" fmla="*/ 164782 w 3008034"/>
                  <a:gd name="connsiteY51" fmla="*/ 3515678 h 3680460"/>
                  <a:gd name="connsiteX52" fmla="*/ 31433 w 3008034"/>
                  <a:gd name="connsiteY52" fmla="*/ 3422333 h 3680460"/>
                  <a:gd name="connsiteX53" fmla="*/ 0 w 3008034"/>
                  <a:gd name="connsiteY53" fmla="*/ 3376613 h 3680460"/>
                  <a:gd name="connsiteX54" fmla="*/ 127635 w 3008034"/>
                  <a:gd name="connsiteY54" fmla="*/ 3360420 h 3680460"/>
                  <a:gd name="connsiteX55" fmla="*/ 158115 w 3008034"/>
                  <a:gd name="connsiteY55" fmla="*/ 3390900 h 3680460"/>
                  <a:gd name="connsiteX56" fmla="*/ 317183 w 3008034"/>
                  <a:gd name="connsiteY56" fmla="*/ 3450907 h 3680460"/>
                  <a:gd name="connsiteX57" fmla="*/ 485775 w 3008034"/>
                  <a:gd name="connsiteY57" fmla="*/ 3520440 h 3680460"/>
                  <a:gd name="connsiteX58" fmla="*/ 721995 w 3008034"/>
                  <a:gd name="connsiteY58" fmla="*/ 3558540 h 3680460"/>
                  <a:gd name="connsiteX59" fmla="*/ 1331595 w 3008034"/>
                  <a:gd name="connsiteY59" fmla="*/ 3550920 h 3680460"/>
                  <a:gd name="connsiteX60" fmla="*/ 1529715 w 3008034"/>
                  <a:gd name="connsiteY60" fmla="*/ 3520440 h 3680460"/>
                  <a:gd name="connsiteX61" fmla="*/ 1621155 w 3008034"/>
                  <a:gd name="connsiteY61" fmla="*/ 3497580 h 3680460"/>
                  <a:gd name="connsiteX62" fmla="*/ 1689735 w 3008034"/>
                  <a:gd name="connsiteY62" fmla="*/ 3474720 h 3680460"/>
                  <a:gd name="connsiteX63" fmla="*/ 1781175 w 3008034"/>
                  <a:gd name="connsiteY63" fmla="*/ 3451860 h 3680460"/>
                  <a:gd name="connsiteX64" fmla="*/ 1811655 w 3008034"/>
                  <a:gd name="connsiteY64" fmla="*/ 3444240 h 3680460"/>
                  <a:gd name="connsiteX65" fmla="*/ 1864995 w 3008034"/>
                  <a:gd name="connsiteY65" fmla="*/ 3421380 h 3680460"/>
                  <a:gd name="connsiteX66" fmla="*/ 1918335 w 3008034"/>
                  <a:gd name="connsiteY66" fmla="*/ 3398520 h 3680460"/>
                  <a:gd name="connsiteX67" fmla="*/ 1941195 w 3008034"/>
                  <a:gd name="connsiteY67" fmla="*/ 3390900 h 3680460"/>
                  <a:gd name="connsiteX68" fmla="*/ 1994535 w 3008034"/>
                  <a:gd name="connsiteY68" fmla="*/ 3360420 h 3680460"/>
                  <a:gd name="connsiteX69" fmla="*/ 2032635 w 3008034"/>
                  <a:gd name="connsiteY69" fmla="*/ 3352800 h 3680460"/>
                  <a:gd name="connsiteX70" fmla="*/ 2070735 w 3008034"/>
                  <a:gd name="connsiteY70" fmla="*/ 3337560 h 3680460"/>
                  <a:gd name="connsiteX71" fmla="*/ 2189797 w 3008034"/>
                  <a:gd name="connsiteY71" fmla="*/ 3251835 h 3680460"/>
                  <a:gd name="connsiteX72" fmla="*/ 2337435 w 3008034"/>
                  <a:gd name="connsiteY72" fmla="*/ 3154680 h 3680460"/>
                  <a:gd name="connsiteX73" fmla="*/ 2436495 w 3008034"/>
                  <a:gd name="connsiteY73" fmla="*/ 3032760 h 3680460"/>
                  <a:gd name="connsiteX74" fmla="*/ 2459355 w 3008034"/>
                  <a:gd name="connsiteY74" fmla="*/ 3009900 h 3680460"/>
                  <a:gd name="connsiteX75" fmla="*/ 2527935 w 3008034"/>
                  <a:gd name="connsiteY75" fmla="*/ 2926080 h 3680460"/>
                  <a:gd name="connsiteX76" fmla="*/ 2619375 w 3008034"/>
                  <a:gd name="connsiteY76" fmla="*/ 2811780 h 3680460"/>
                  <a:gd name="connsiteX77" fmla="*/ 2634615 w 3008034"/>
                  <a:gd name="connsiteY77" fmla="*/ 2773680 h 3680460"/>
                  <a:gd name="connsiteX78" fmla="*/ 2665095 w 3008034"/>
                  <a:gd name="connsiteY78" fmla="*/ 2727960 h 3680460"/>
                  <a:gd name="connsiteX79" fmla="*/ 2695575 w 3008034"/>
                  <a:gd name="connsiteY79" fmla="*/ 2667000 h 3680460"/>
                  <a:gd name="connsiteX80" fmla="*/ 2779395 w 3008034"/>
                  <a:gd name="connsiteY80" fmla="*/ 2484120 h 3680460"/>
                  <a:gd name="connsiteX81" fmla="*/ 2802255 w 3008034"/>
                  <a:gd name="connsiteY81" fmla="*/ 2407920 h 3680460"/>
                  <a:gd name="connsiteX82" fmla="*/ 2908935 w 3008034"/>
                  <a:gd name="connsiteY82" fmla="*/ 2049780 h 3680460"/>
                  <a:gd name="connsiteX83" fmla="*/ 2924175 w 3008034"/>
                  <a:gd name="connsiteY83" fmla="*/ 1844040 h 3680460"/>
                  <a:gd name="connsiteX84" fmla="*/ 2908935 w 3008034"/>
                  <a:gd name="connsiteY84" fmla="*/ 1470660 h 3680460"/>
                  <a:gd name="connsiteX85" fmla="*/ 2886075 w 3008034"/>
                  <a:gd name="connsiteY85" fmla="*/ 1371600 h 3680460"/>
                  <a:gd name="connsiteX86" fmla="*/ 2870835 w 3008034"/>
                  <a:gd name="connsiteY86" fmla="*/ 1341120 h 3680460"/>
                  <a:gd name="connsiteX87" fmla="*/ 2847975 w 3008034"/>
                  <a:gd name="connsiteY87" fmla="*/ 1272540 h 3680460"/>
                  <a:gd name="connsiteX88" fmla="*/ 2840355 w 3008034"/>
                  <a:gd name="connsiteY88" fmla="*/ 1234440 h 3680460"/>
                  <a:gd name="connsiteX89" fmla="*/ 2756535 w 3008034"/>
                  <a:gd name="connsiteY89" fmla="*/ 1089660 h 3680460"/>
                  <a:gd name="connsiteX90" fmla="*/ 2726055 w 3008034"/>
                  <a:gd name="connsiteY90" fmla="*/ 1043940 h 3680460"/>
                  <a:gd name="connsiteX91" fmla="*/ 2718435 w 3008034"/>
                  <a:gd name="connsiteY91" fmla="*/ 1021080 h 3680460"/>
                  <a:gd name="connsiteX92" fmla="*/ 2672715 w 3008034"/>
                  <a:gd name="connsiteY92" fmla="*/ 937260 h 3680460"/>
                  <a:gd name="connsiteX93" fmla="*/ 2649855 w 3008034"/>
                  <a:gd name="connsiteY93" fmla="*/ 876300 h 3680460"/>
                  <a:gd name="connsiteX94" fmla="*/ 2634615 w 3008034"/>
                  <a:gd name="connsiteY94" fmla="*/ 845820 h 3680460"/>
                  <a:gd name="connsiteX95" fmla="*/ 2611755 w 3008034"/>
                  <a:gd name="connsiteY95" fmla="*/ 800100 h 3680460"/>
                  <a:gd name="connsiteX96" fmla="*/ 2448878 w 3008034"/>
                  <a:gd name="connsiteY96" fmla="*/ 621983 h 3680460"/>
                  <a:gd name="connsiteX97" fmla="*/ 2291715 w 3008034"/>
                  <a:gd name="connsiteY97" fmla="*/ 458152 h 3680460"/>
                  <a:gd name="connsiteX98" fmla="*/ 2227898 w 3008034"/>
                  <a:gd name="connsiteY98" fmla="*/ 406717 h 3680460"/>
                  <a:gd name="connsiteX99" fmla="*/ 2093595 w 3008034"/>
                  <a:gd name="connsiteY99" fmla="*/ 312420 h 3680460"/>
                  <a:gd name="connsiteX100" fmla="*/ 2032635 w 3008034"/>
                  <a:gd name="connsiteY100" fmla="*/ 266700 h 3680460"/>
                  <a:gd name="connsiteX101" fmla="*/ 1994535 w 3008034"/>
                  <a:gd name="connsiteY101" fmla="*/ 251460 h 3680460"/>
                  <a:gd name="connsiteX102" fmla="*/ 1948815 w 3008034"/>
                  <a:gd name="connsiteY102" fmla="*/ 220980 h 3680460"/>
                  <a:gd name="connsiteX103" fmla="*/ 1887855 w 3008034"/>
                  <a:gd name="connsiteY10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11655 w 3008034"/>
                  <a:gd name="connsiteY63" fmla="*/ 3444240 h 3680460"/>
                  <a:gd name="connsiteX64" fmla="*/ 1864995 w 3008034"/>
                  <a:gd name="connsiteY64" fmla="*/ 3421380 h 3680460"/>
                  <a:gd name="connsiteX65" fmla="*/ 1918335 w 3008034"/>
                  <a:gd name="connsiteY65" fmla="*/ 3398520 h 3680460"/>
                  <a:gd name="connsiteX66" fmla="*/ 1941195 w 3008034"/>
                  <a:gd name="connsiteY66" fmla="*/ 3390900 h 3680460"/>
                  <a:gd name="connsiteX67" fmla="*/ 1994535 w 3008034"/>
                  <a:gd name="connsiteY67" fmla="*/ 3360420 h 3680460"/>
                  <a:gd name="connsiteX68" fmla="*/ 2032635 w 3008034"/>
                  <a:gd name="connsiteY68" fmla="*/ 3352800 h 3680460"/>
                  <a:gd name="connsiteX69" fmla="*/ 2070735 w 3008034"/>
                  <a:gd name="connsiteY69" fmla="*/ 3337560 h 3680460"/>
                  <a:gd name="connsiteX70" fmla="*/ 2189797 w 3008034"/>
                  <a:gd name="connsiteY70" fmla="*/ 3251835 h 3680460"/>
                  <a:gd name="connsiteX71" fmla="*/ 2337435 w 3008034"/>
                  <a:gd name="connsiteY71" fmla="*/ 3154680 h 3680460"/>
                  <a:gd name="connsiteX72" fmla="*/ 2436495 w 3008034"/>
                  <a:gd name="connsiteY72" fmla="*/ 3032760 h 3680460"/>
                  <a:gd name="connsiteX73" fmla="*/ 2459355 w 3008034"/>
                  <a:gd name="connsiteY73" fmla="*/ 3009900 h 3680460"/>
                  <a:gd name="connsiteX74" fmla="*/ 2527935 w 3008034"/>
                  <a:gd name="connsiteY74" fmla="*/ 2926080 h 3680460"/>
                  <a:gd name="connsiteX75" fmla="*/ 2619375 w 3008034"/>
                  <a:gd name="connsiteY75" fmla="*/ 2811780 h 3680460"/>
                  <a:gd name="connsiteX76" fmla="*/ 2634615 w 3008034"/>
                  <a:gd name="connsiteY76" fmla="*/ 2773680 h 3680460"/>
                  <a:gd name="connsiteX77" fmla="*/ 2665095 w 3008034"/>
                  <a:gd name="connsiteY77" fmla="*/ 2727960 h 3680460"/>
                  <a:gd name="connsiteX78" fmla="*/ 2695575 w 3008034"/>
                  <a:gd name="connsiteY78" fmla="*/ 2667000 h 3680460"/>
                  <a:gd name="connsiteX79" fmla="*/ 2779395 w 3008034"/>
                  <a:gd name="connsiteY79" fmla="*/ 2484120 h 3680460"/>
                  <a:gd name="connsiteX80" fmla="*/ 2802255 w 3008034"/>
                  <a:gd name="connsiteY80" fmla="*/ 2407920 h 3680460"/>
                  <a:gd name="connsiteX81" fmla="*/ 2908935 w 3008034"/>
                  <a:gd name="connsiteY81" fmla="*/ 2049780 h 3680460"/>
                  <a:gd name="connsiteX82" fmla="*/ 2924175 w 3008034"/>
                  <a:gd name="connsiteY82" fmla="*/ 1844040 h 3680460"/>
                  <a:gd name="connsiteX83" fmla="*/ 2908935 w 3008034"/>
                  <a:gd name="connsiteY83" fmla="*/ 1470660 h 3680460"/>
                  <a:gd name="connsiteX84" fmla="*/ 2886075 w 3008034"/>
                  <a:gd name="connsiteY84" fmla="*/ 1371600 h 3680460"/>
                  <a:gd name="connsiteX85" fmla="*/ 2870835 w 3008034"/>
                  <a:gd name="connsiteY85" fmla="*/ 1341120 h 3680460"/>
                  <a:gd name="connsiteX86" fmla="*/ 2847975 w 3008034"/>
                  <a:gd name="connsiteY86" fmla="*/ 1272540 h 3680460"/>
                  <a:gd name="connsiteX87" fmla="*/ 2840355 w 3008034"/>
                  <a:gd name="connsiteY87" fmla="*/ 1234440 h 3680460"/>
                  <a:gd name="connsiteX88" fmla="*/ 2756535 w 3008034"/>
                  <a:gd name="connsiteY88" fmla="*/ 1089660 h 3680460"/>
                  <a:gd name="connsiteX89" fmla="*/ 2726055 w 3008034"/>
                  <a:gd name="connsiteY89" fmla="*/ 1043940 h 3680460"/>
                  <a:gd name="connsiteX90" fmla="*/ 2718435 w 3008034"/>
                  <a:gd name="connsiteY90" fmla="*/ 1021080 h 3680460"/>
                  <a:gd name="connsiteX91" fmla="*/ 2672715 w 3008034"/>
                  <a:gd name="connsiteY91" fmla="*/ 937260 h 3680460"/>
                  <a:gd name="connsiteX92" fmla="*/ 2649855 w 3008034"/>
                  <a:gd name="connsiteY92" fmla="*/ 876300 h 3680460"/>
                  <a:gd name="connsiteX93" fmla="*/ 2634615 w 3008034"/>
                  <a:gd name="connsiteY93" fmla="*/ 845820 h 3680460"/>
                  <a:gd name="connsiteX94" fmla="*/ 2611755 w 3008034"/>
                  <a:gd name="connsiteY94" fmla="*/ 800100 h 3680460"/>
                  <a:gd name="connsiteX95" fmla="*/ 2448878 w 3008034"/>
                  <a:gd name="connsiteY95" fmla="*/ 621983 h 3680460"/>
                  <a:gd name="connsiteX96" fmla="*/ 2291715 w 3008034"/>
                  <a:gd name="connsiteY96" fmla="*/ 458152 h 3680460"/>
                  <a:gd name="connsiteX97" fmla="*/ 2227898 w 3008034"/>
                  <a:gd name="connsiteY97" fmla="*/ 406717 h 3680460"/>
                  <a:gd name="connsiteX98" fmla="*/ 2093595 w 3008034"/>
                  <a:gd name="connsiteY98" fmla="*/ 312420 h 3680460"/>
                  <a:gd name="connsiteX99" fmla="*/ 2032635 w 3008034"/>
                  <a:gd name="connsiteY99" fmla="*/ 266700 h 3680460"/>
                  <a:gd name="connsiteX100" fmla="*/ 1994535 w 3008034"/>
                  <a:gd name="connsiteY100" fmla="*/ 251460 h 3680460"/>
                  <a:gd name="connsiteX101" fmla="*/ 1948815 w 3008034"/>
                  <a:gd name="connsiteY101" fmla="*/ 220980 h 3680460"/>
                  <a:gd name="connsiteX102" fmla="*/ 1887855 w 3008034"/>
                  <a:gd name="connsiteY10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1994535 w 3008034"/>
                  <a:gd name="connsiteY66" fmla="*/ 3360420 h 3680460"/>
                  <a:gd name="connsiteX67" fmla="*/ 2032635 w 3008034"/>
                  <a:gd name="connsiteY67" fmla="*/ 3352800 h 3680460"/>
                  <a:gd name="connsiteX68" fmla="*/ 2070735 w 3008034"/>
                  <a:gd name="connsiteY68" fmla="*/ 3337560 h 3680460"/>
                  <a:gd name="connsiteX69" fmla="*/ 2189797 w 3008034"/>
                  <a:gd name="connsiteY69" fmla="*/ 3251835 h 3680460"/>
                  <a:gd name="connsiteX70" fmla="*/ 2337435 w 3008034"/>
                  <a:gd name="connsiteY70" fmla="*/ 3154680 h 3680460"/>
                  <a:gd name="connsiteX71" fmla="*/ 2436495 w 3008034"/>
                  <a:gd name="connsiteY71" fmla="*/ 3032760 h 3680460"/>
                  <a:gd name="connsiteX72" fmla="*/ 2459355 w 3008034"/>
                  <a:gd name="connsiteY72" fmla="*/ 3009900 h 3680460"/>
                  <a:gd name="connsiteX73" fmla="*/ 2527935 w 3008034"/>
                  <a:gd name="connsiteY73" fmla="*/ 2926080 h 3680460"/>
                  <a:gd name="connsiteX74" fmla="*/ 2619375 w 3008034"/>
                  <a:gd name="connsiteY74" fmla="*/ 2811780 h 3680460"/>
                  <a:gd name="connsiteX75" fmla="*/ 2634615 w 3008034"/>
                  <a:gd name="connsiteY75" fmla="*/ 2773680 h 3680460"/>
                  <a:gd name="connsiteX76" fmla="*/ 2665095 w 3008034"/>
                  <a:gd name="connsiteY76" fmla="*/ 2727960 h 3680460"/>
                  <a:gd name="connsiteX77" fmla="*/ 2695575 w 3008034"/>
                  <a:gd name="connsiteY77" fmla="*/ 2667000 h 3680460"/>
                  <a:gd name="connsiteX78" fmla="*/ 2779395 w 3008034"/>
                  <a:gd name="connsiteY78" fmla="*/ 2484120 h 3680460"/>
                  <a:gd name="connsiteX79" fmla="*/ 2802255 w 3008034"/>
                  <a:gd name="connsiteY79" fmla="*/ 2407920 h 3680460"/>
                  <a:gd name="connsiteX80" fmla="*/ 2908935 w 3008034"/>
                  <a:gd name="connsiteY80" fmla="*/ 2049780 h 3680460"/>
                  <a:gd name="connsiteX81" fmla="*/ 2924175 w 3008034"/>
                  <a:gd name="connsiteY81" fmla="*/ 1844040 h 3680460"/>
                  <a:gd name="connsiteX82" fmla="*/ 2908935 w 3008034"/>
                  <a:gd name="connsiteY82" fmla="*/ 1470660 h 3680460"/>
                  <a:gd name="connsiteX83" fmla="*/ 2886075 w 3008034"/>
                  <a:gd name="connsiteY83" fmla="*/ 1371600 h 3680460"/>
                  <a:gd name="connsiteX84" fmla="*/ 2870835 w 3008034"/>
                  <a:gd name="connsiteY84" fmla="*/ 1341120 h 3680460"/>
                  <a:gd name="connsiteX85" fmla="*/ 2847975 w 3008034"/>
                  <a:gd name="connsiteY85" fmla="*/ 1272540 h 3680460"/>
                  <a:gd name="connsiteX86" fmla="*/ 2840355 w 3008034"/>
                  <a:gd name="connsiteY86" fmla="*/ 1234440 h 3680460"/>
                  <a:gd name="connsiteX87" fmla="*/ 2756535 w 3008034"/>
                  <a:gd name="connsiteY87" fmla="*/ 1089660 h 3680460"/>
                  <a:gd name="connsiteX88" fmla="*/ 2726055 w 3008034"/>
                  <a:gd name="connsiteY88" fmla="*/ 1043940 h 3680460"/>
                  <a:gd name="connsiteX89" fmla="*/ 2718435 w 3008034"/>
                  <a:gd name="connsiteY89" fmla="*/ 1021080 h 3680460"/>
                  <a:gd name="connsiteX90" fmla="*/ 2672715 w 3008034"/>
                  <a:gd name="connsiteY90" fmla="*/ 937260 h 3680460"/>
                  <a:gd name="connsiteX91" fmla="*/ 2649855 w 3008034"/>
                  <a:gd name="connsiteY91" fmla="*/ 876300 h 3680460"/>
                  <a:gd name="connsiteX92" fmla="*/ 2634615 w 3008034"/>
                  <a:gd name="connsiteY92" fmla="*/ 845820 h 3680460"/>
                  <a:gd name="connsiteX93" fmla="*/ 2611755 w 3008034"/>
                  <a:gd name="connsiteY93" fmla="*/ 800100 h 3680460"/>
                  <a:gd name="connsiteX94" fmla="*/ 2448878 w 3008034"/>
                  <a:gd name="connsiteY94" fmla="*/ 621983 h 3680460"/>
                  <a:gd name="connsiteX95" fmla="*/ 2291715 w 3008034"/>
                  <a:gd name="connsiteY95" fmla="*/ 458152 h 3680460"/>
                  <a:gd name="connsiteX96" fmla="*/ 2227898 w 3008034"/>
                  <a:gd name="connsiteY96" fmla="*/ 406717 h 3680460"/>
                  <a:gd name="connsiteX97" fmla="*/ 2093595 w 3008034"/>
                  <a:gd name="connsiteY97" fmla="*/ 312420 h 3680460"/>
                  <a:gd name="connsiteX98" fmla="*/ 2032635 w 3008034"/>
                  <a:gd name="connsiteY98" fmla="*/ 266700 h 3680460"/>
                  <a:gd name="connsiteX99" fmla="*/ 1994535 w 3008034"/>
                  <a:gd name="connsiteY99" fmla="*/ 251460 h 3680460"/>
                  <a:gd name="connsiteX100" fmla="*/ 1948815 w 3008034"/>
                  <a:gd name="connsiteY100" fmla="*/ 220980 h 3680460"/>
                  <a:gd name="connsiteX101" fmla="*/ 1887855 w 3008034"/>
                  <a:gd name="connsiteY10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32635 w 3008034"/>
                  <a:gd name="connsiteY66" fmla="*/ 3352800 h 3680460"/>
                  <a:gd name="connsiteX67" fmla="*/ 2070735 w 3008034"/>
                  <a:gd name="connsiteY67" fmla="*/ 3337560 h 3680460"/>
                  <a:gd name="connsiteX68" fmla="*/ 2189797 w 3008034"/>
                  <a:gd name="connsiteY68" fmla="*/ 3251835 h 3680460"/>
                  <a:gd name="connsiteX69" fmla="*/ 2337435 w 3008034"/>
                  <a:gd name="connsiteY69" fmla="*/ 3154680 h 3680460"/>
                  <a:gd name="connsiteX70" fmla="*/ 2436495 w 3008034"/>
                  <a:gd name="connsiteY70" fmla="*/ 3032760 h 3680460"/>
                  <a:gd name="connsiteX71" fmla="*/ 2459355 w 3008034"/>
                  <a:gd name="connsiteY71" fmla="*/ 3009900 h 3680460"/>
                  <a:gd name="connsiteX72" fmla="*/ 2527935 w 3008034"/>
                  <a:gd name="connsiteY72" fmla="*/ 2926080 h 3680460"/>
                  <a:gd name="connsiteX73" fmla="*/ 2619375 w 3008034"/>
                  <a:gd name="connsiteY73" fmla="*/ 2811780 h 3680460"/>
                  <a:gd name="connsiteX74" fmla="*/ 2634615 w 3008034"/>
                  <a:gd name="connsiteY74" fmla="*/ 2773680 h 3680460"/>
                  <a:gd name="connsiteX75" fmla="*/ 2665095 w 3008034"/>
                  <a:gd name="connsiteY75" fmla="*/ 2727960 h 3680460"/>
                  <a:gd name="connsiteX76" fmla="*/ 2695575 w 3008034"/>
                  <a:gd name="connsiteY76" fmla="*/ 2667000 h 3680460"/>
                  <a:gd name="connsiteX77" fmla="*/ 2779395 w 3008034"/>
                  <a:gd name="connsiteY77" fmla="*/ 2484120 h 3680460"/>
                  <a:gd name="connsiteX78" fmla="*/ 2802255 w 3008034"/>
                  <a:gd name="connsiteY78" fmla="*/ 2407920 h 3680460"/>
                  <a:gd name="connsiteX79" fmla="*/ 2908935 w 3008034"/>
                  <a:gd name="connsiteY79" fmla="*/ 2049780 h 3680460"/>
                  <a:gd name="connsiteX80" fmla="*/ 2924175 w 3008034"/>
                  <a:gd name="connsiteY80" fmla="*/ 1844040 h 3680460"/>
                  <a:gd name="connsiteX81" fmla="*/ 2908935 w 3008034"/>
                  <a:gd name="connsiteY81" fmla="*/ 1470660 h 3680460"/>
                  <a:gd name="connsiteX82" fmla="*/ 2886075 w 3008034"/>
                  <a:gd name="connsiteY82" fmla="*/ 1371600 h 3680460"/>
                  <a:gd name="connsiteX83" fmla="*/ 2870835 w 3008034"/>
                  <a:gd name="connsiteY83" fmla="*/ 1341120 h 3680460"/>
                  <a:gd name="connsiteX84" fmla="*/ 2847975 w 3008034"/>
                  <a:gd name="connsiteY84" fmla="*/ 1272540 h 3680460"/>
                  <a:gd name="connsiteX85" fmla="*/ 2840355 w 3008034"/>
                  <a:gd name="connsiteY85" fmla="*/ 1234440 h 3680460"/>
                  <a:gd name="connsiteX86" fmla="*/ 2756535 w 3008034"/>
                  <a:gd name="connsiteY86" fmla="*/ 1089660 h 3680460"/>
                  <a:gd name="connsiteX87" fmla="*/ 2726055 w 3008034"/>
                  <a:gd name="connsiteY87" fmla="*/ 1043940 h 3680460"/>
                  <a:gd name="connsiteX88" fmla="*/ 2718435 w 3008034"/>
                  <a:gd name="connsiteY88" fmla="*/ 1021080 h 3680460"/>
                  <a:gd name="connsiteX89" fmla="*/ 2672715 w 3008034"/>
                  <a:gd name="connsiteY89" fmla="*/ 937260 h 3680460"/>
                  <a:gd name="connsiteX90" fmla="*/ 2649855 w 3008034"/>
                  <a:gd name="connsiteY90" fmla="*/ 876300 h 3680460"/>
                  <a:gd name="connsiteX91" fmla="*/ 2634615 w 3008034"/>
                  <a:gd name="connsiteY91" fmla="*/ 845820 h 3680460"/>
                  <a:gd name="connsiteX92" fmla="*/ 2611755 w 3008034"/>
                  <a:gd name="connsiteY92" fmla="*/ 800100 h 3680460"/>
                  <a:gd name="connsiteX93" fmla="*/ 2448878 w 3008034"/>
                  <a:gd name="connsiteY93" fmla="*/ 621983 h 3680460"/>
                  <a:gd name="connsiteX94" fmla="*/ 2291715 w 3008034"/>
                  <a:gd name="connsiteY94" fmla="*/ 458152 h 3680460"/>
                  <a:gd name="connsiteX95" fmla="*/ 2227898 w 3008034"/>
                  <a:gd name="connsiteY95" fmla="*/ 406717 h 3680460"/>
                  <a:gd name="connsiteX96" fmla="*/ 2093595 w 3008034"/>
                  <a:gd name="connsiteY96" fmla="*/ 312420 h 3680460"/>
                  <a:gd name="connsiteX97" fmla="*/ 2032635 w 3008034"/>
                  <a:gd name="connsiteY97" fmla="*/ 266700 h 3680460"/>
                  <a:gd name="connsiteX98" fmla="*/ 1994535 w 3008034"/>
                  <a:gd name="connsiteY98" fmla="*/ 251460 h 3680460"/>
                  <a:gd name="connsiteX99" fmla="*/ 1948815 w 3008034"/>
                  <a:gd name="connsiteY99" fmla="*/ 220980 h 3680460"/>
                  <a:gd name="connsiteX100" fmla="*/ 1887855 w 3008034"/>
                  <a:gd name="connsiteY10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70735 w 3008034"/>
                  <a:gd name="connsiteY66" fmla="*/ 3337560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34615 w 3008034"/>
                  <a:gd name="connsiteY73" fmla="*/ 2773680 h 3680460"/>
                  <a:gd name="connsiteX74" fmla="*/ 2665095 w 3008034"/>
                  <a:gd name="connsiteY74" fmla="*/ 2727960 h 3680460"/>
                  <a:gd name="connsiteX75" fmla="*/ 2695575 w 3008034"/>
                  <a:gd name="connsiteY75" fmla="*/ 2667000 h 3680460"/>
                  <a:gd name="connsiteX76" fmla="*/ 2779395 w 3008034"/>
                  <a:gd name="connsiteY76" fmla="*/ 2484120 h 3680460"/>
                  <a:gd name="connsiteX77" fmla="*/ 2802255 w 3008034"/>
                  <a:gd name="connsiteY77" fmla="*/ 2407920 h 3680460"/>
                  <a:gd name="connsiteX78" fmla="*/ 2908935 w 3008034"/>
                  <a:gd name="connsiteY78" fmla="*/ 2049780 h 3680460"/>
                  <a:gd name="connsiteX79" fmla="*/ 2924175 w 3008034"/>
                  <a:gd name="connsiteY79" fmla="*/ 1844040 h 3680460"/>
                  <a:gd name="connsiteX80" fmla="*/ 2908935 w 3008034"/>
                  <a:gd name="connsiteY80" fmla="*/ 1470660 h 3680460"/>
                  <a:gd name="connsiteX81" fmla="*/ 2886075 w 3008034"/>
                  <a:gd name="connsiteY81" fmla="*/ 1371600 h 3680460"/>
                  <a:gd name="connsiteX82" fmla="*/ 2870835 w 3008034"/>
                  <a:gd name="connsiteY82" fmla="*/ 1341120 h 3680460"/>
                  <a:gd name="connsiteX83" fmla="*/ 2847975 w 3008034"/>
                  <a:gd name="connsiteY83" fmla="*/ 1272540 h 3680460"/>
                  <a:gd name="connsiteX84" fmla="*/ 2840355 w 3008034"/>
                  <a:gd name="connsiteY84" fmla="*/ 1234440 h 3680460"/>
                  <a:gd name="connsiteX85" fmla="*/ 2756535 w 3008034"/>
                  <a:gd name="connsiteY85" fmla="*/ 1089660 h 3680460"/>
                  <a:gd name="connsiteX86" fmla="*/ 2726055 w 3008034"/>
                  <a:gd name="connsiteY86" fmla="*/ 1043940 h 3680460"/>
                  <a:gd name="connsiteX87" fmla="*/ 2718435 w 3008034"/>
                  <a:gd name="connsiteY87" fmla="*/ 1021080 h 3680460"/>
                  <a:gd name="connsiteX88" fmla="*/ 2672715 w 3008034"/>
                  <a:gd name="connsiteY88" fmla="*/ 937260 h 3680460"/>
                  <a:gd name="connsiteX89" fmla="*/ 2649855 w 3008034"/>
                  <a:gd name="connsiteY89" fmla="*/ 876300 h 3680460"/>
                  <a:gd name="connsiteX90" fmla="*/ 2634615 w 3008034"/>
                  <a:gd name="connsiteY90" fmla="*/ 845820 h 3680460"/>
                  <a:gd name="connsiteX91" fmla="*/ 2611755 w 3008034"/>
                  <a:gd name="connsiteY91" fmla="*/ 800100 h 3680460"/>
                  <a:gd name="connsiteX92" fmla="*/ 2448878 w 3008034"/>
                  <a:gd name="connsiteY92" fmla="*/ 621983 h 3680460"/>
                  <a:gd name="connsiteX93" fmla="*/ 2291715 w 3008034"/>
                  <a:gd name="connsiteY93" fmla="*/ 458152 h 3680460"/>
                  <a:gd name="connsiteX94" fmla="*/ 2227898 w 3008034"/>
                  <a:gd name="connsiteY94" fmla="*/ 406717 h 3680460"/>
                  <a:gd name="connsiteX95" fmla="*/ 2093595 w 3008034"/>
                  <a:gd name="connsiteY95" fmla="*/ 312420 h 3680460"/>
                  <a:gd name="connsiteX96" fmla="*/ 2032635 w 3008034"/>
                  <a:gd name="connsiteY96" fmla="*/ 266700 h 3680460"/>
                  <a:gd name="connsiteX97" fmla="*/ 1994535 w 3008034"/>
                  <a:gd name="connsiteY97" fmla="*/ 251460 h 3680460"/>
                  <a:gd name="connsiteX98" fmla="*/ 1948815 w 3008034"/>
                  <a:gd name="connsiteY98" fmla="*/ 220980 h 3680460"/>
                  <a:gd name="connsiteX99" fmla="*/ 1887855 w 3008034"/>
                  <a:gd name="connsiteY9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34615 w 3008034"/>
                  <a:gd name="connsiteY73" fmla="*/ 2773680 h 3680460"/>
                  <a:gd name="connsiteX74" fmla="*/ 2665095 w 3008034"/>
                  <a:gd name="connsiteY74" fmla="*/ 2727960 h 3680460"/>
                  <a:gd name="connsiteX75" fmla="*/ 2695575 w 3008034"/>
                  <a:gd name="connsiteY75" fmla="*/ 2667000 h 3680460"/>
                  <a:gd name="connsiteX76" fmla="*/ 2779395 w 3008034"/>
                  <a:gd name="connsiteY76" fmla="*/ 2484120 h 3680460"/>
                  <a:gd name="connsiteX77" fmla="*/ 2802255 w 3008034"/>
                  <a:gd name="connsiteY77" fmla="*/ 2407920 h 3680460"/>
                  <a:gd name="connsiteX78" fmla="*/ 2908935 w 3008034"/>
                  <a:gd name="connsiteY78" fmla="*/ 2049780 h 3680460"/>
                  <a:gd name="connsiteX79" fmla="*/ 2924175 w 3008034"/>
                  <a:gd name="connsiteY79" fmla="*/ 1844040 h 3680460"/>
                  <a:gd name="connsiteX80" fmla="*/ 2908935 w 3008034"/>
                  <a:gd name="connsiteY80" fmla="*/ 1470660 h 3680460"/>
                  <a:gd name="connsiteX81" fmla="*/ 2886075 w 3008034"/>
                  <a:gd name="connsiteY81" fmla="*/ 1371600 h 3680460"/>
                  <a:gd name="connsiteX82" fmla="*/ 2870835 w 3008034"/>
                  <a:gd name="connsiteY82" fmla="*/ 1341120 h 3680460"/>
                  <a:gd name="connsiteX83" fmla="*/ 2847975 w 3008034"/>
                  <a:gd name="connsiteY83" fmla="*/ 1272540 h 3680460"/>
                  <a:gd name="connsiteX84" fmla="*/ 2840355 w 3008034"/>
                  <a:gd name="connsiteY84" fmla="*/ 1234440 h 3680460"/>
                  <a:gd name="connsiteX85" fmla="*/ 2756535 w 3008034"/>
                  <a:gd name="connsiteY85" fmla="*/ 1089660 h 3680460"/>
                  <a:gd name="connsiteX86" fmla="*/ 2726055 w 3008034"/>
                  <a:gd name="connsiteY86" fmla="*/ 1043940 h 3680460"/>
                  <a:gd name="connsiteX87" fmla="*/ 2718435 w 3008034"/>
                  <a:gd name="connsiteY87" fmla="*/ 1021080 h 3680460"/>
                  <a:gd name="connsiteX88" fmla="*/ 2672715 w 3008034"/>
                  <a:gd name="connsiteY88" fmla="*/ 937260 h 3680460"/>
                  <a:gd name="connsiteX89" fmla="*/ 2649855 w 3008034"/>
                  <a:gd name="connsiteY89" fmla="*/ 876300 h 3680460"/>
                  <a:gd name="connsiteX90" fmla="*/ 2634615 w 3008034"/>
                  <a:gd name="connsiteY90" fmla="*/ 845820 h 3680460"/>
                  <a:gd name="connsiteX91" fmla="*/ 2611755 w 3008034"/>
                  <a:gd name="connsiteY91" fmla="*/ 800100 h 3680460"/>
                  <a:gd name="connsiteX92" fmla="*/ 2448878 w 3008034"/>
                  <a:gd name="connsiteY92" fmla="*/ 621983 h 3680460"/>
                  <a:gd name="connsiteX93" fmla="*/ 2291715 w 3008034"/>
                  <a:gd name="connsiteY93" fmla="*/ 458152 h 3680460"/>
                  <a:gd name="connsiteX94" fmla="*/ 2227898 w 3008034"/>
                  <a:gd name="connsiteY94" fmla="*/ 406717 h 3680460"/>
                  <a:gd name="connsiteX95" fmla="*/ 2093595 w 3008034"/>
                  <a:gd name="connsiteY95" fmla="*/ 312420 h 3680460"/>
                  <a:gd name="connsiteX96" fmla="*/ 2032635 w 3008034"/>
                  <a:gd name="connsiteY96" fmla="*/ 266700 h 3680460"/>
                  <a:gd name="connsiteX97" fmla="*/ 1994535 w 3008034"/>
                  <a:gd name="connsiteY97" fmla="*/ 251460 h 3680460"/>
                  <a:gd name="connsiteX98" fmla="*/ 1948815 w 3008034"/>
                  <a:gd name="connsiteY98" fmla="*/ 220980 h 3680460"/>
                  <a:gd name="connsiteX99" fmla="*/ 1887855 w 3008034"/>
                  <a:gd name="connsiteY9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36495 w 3008034"/>
                  <a:gd name="connsiteY69" fmla="*/ 3032760 h 3680460"/>
                  <a:gd name="connsiteX70" fmla="*/ 2459355 w 3008034"/>
                  <a:gd name="connsiteY70" fmla="*/ 3009900 h 3680460"/>
                  <a:gd name="connsiteX71" fmla="*/ 2527935 w 3008034"/>
                  <a:gd name="connsiteY71" fmla="*/ 2926080 h 3680460"/>
                  <a:gd name="connsiteX72" fmla="*/ 2619375 w 3008034"/>
                  <a:gd name="connsiteY72" fmla="*/ 2811780 h 3680460"/>
                  <a:gd name="connsiteX73" fmla="*/ 2665095 w 3008034"/>
                  <a:gd name="connsiteY73" fmla="*/ 2727960 h 3680460"/>
                  <a:gd name="connsiteX74" fmla="*/ 2695575 w 3008034"/>
                  <a:gd name="connsiteY74" fmla="*/ 2667000 h 3680460"/>
                  <a:gd name="connsiteX75" fmla="*/ 2779395 w 3008034"/>
                  <a:gd name="connsiteY75" fmla="*/ 2484120 h 3680460"/>
                  <a:gd name="connsiteX76" fmla="*/ 2802255 w 3008034"/>
                  <a:gd name="connsiteY76" fmla="*/ 2407920 h 3680460"/>
                  <a:gd name="connsiteX77" fmla="*/ 2908935 w 3008034"/>
                  <a:gd name="connsiteY77" fmla="*/ 2049780 h 3680460"/>
                  <a:gd name="connsiteX78" fmla="*/ 2924175 w 3008034"/>
                  <a:gd name="connsiteY78" fmla="*/ 1844040 h 3680460"/>
                  <a:gd name="connsiteX79" fmla="*/ 2908935 w 3008034"/>
                  <a:gd name="connsiteY79" fmla="*/ 1470660 h 3680460"/>
                  <a:gd name="connsiteX80" fmla="*/ 2886075 w 3008034"/>
                  <a:gd name="connsiteY80" fmla="*/ 1371600 h 3680460"/>
                  <a:gd name="connsiteX81" fmla="*/ 2870835 w 3008034"/>
                  <a:gd name="connsiteY81" fmla="*/ 1341120 h 3680460"/>
                  <a:gd name="connsiteX82" fmla="*/ 2847975 w 3008034"/>
                  <a:gd name="connsiteY82" fmla="*/ 1272540 h 3680460"/>
                  <a:gd name="connsiteX83" fmla="*/ 2840355 w 3008034"/>
                  <a:gd name="connsiteY83" fmla="*/ 1234440 h 3680460"/>
                  <a:gd name="connsiteX84" fmla="*/ 2756535 w 3008034"/>
                  <a:gd name="connsiteY84" fmla="*/ 1089660 h 3680460"/>
                  <a:gd name="connsiteX85" fmla="*/ 2726055 w 3008034"/>
                  <a:gd name="connsiteY85" fmla="*/ 1043940 h 3680460"/>
                  <a:gd name="connsiteX86" fmla="*/ 2718435 w 3008034"/>
                  <a:gd name="connsiteY86" fmla="*/ 1021080 h 3680460"/>
                  <a:gd name="connsiteX87" fmla="*/ 2672715 w 3008034"/>
                  <a:gd name="connsiteY87" fmla="*/ 937260 h 3680460"/>
                  <a:gd name="connsiteX88" fmla="*/ 2649855 w 3008034"/>
                  <a:gd name="connsiteY88" fmla="*/ 876300 h 3680460"/>
                  <a:gd name="connsiteX89" fmla="*/ 2634615 w 3008034"/>
                  <a:gd name="connsiteY89" fmla="*/ 845820 h 3680460"/>
                  <a:gd name="connsiteX90" fmla="*/ 2611755 w 3008034"/>
                  <a:gd name="connsiteY90" fmla="*/ 800100 h 3680460"/>
                  <a:gd name="connsiteX91" fmla="*/ 2448878 w 3008034"/>
                  <a:gd name="connsiteY91" fmla="*/ 621983 h 3680460"/>
                  <a:gd name="connsiteX92" fmla="*/ 2291715 w 3008034"/>
                  <a:gd name="connsiteY92" fmla="*/ 458152 h 3680460"/>
                  <a:gd name="connsiteX93" fmla="*/ 2227898 w 3008034"/>
                  <a:gd name="connsiteY93" fmla="*/ 406717 h 3680460"/>
                  <a:gd name="connsiteX94" fmla="*/ 2093595 w 3008034"/>
                  <a:gd name="connsiteY94" fmla="*/ 312420 h 3680460"/>
                  <a:gd name="connsiteX95" fmla="*/ 2032635 w 3008034"/>
                  <a:gd name="connsiteY95" fmla="*/ 266700 h 3680460"/>
                  <a:gd name="connsiteX96" fmla="*/ 1994535 w 3008034"/>
                  <a:gd name="connsiteY96" fmla="*/ 251460 h 3680460"/>
                  <a:gd name="connsiteX97" fmla="*/ 1948815 w 3008034"/>
                  <a:gd name="connsiteY97" fmla="*/ 220980 h 3680460"/>
                  <a:gd name="connsiteX98" fmla="*/ 1887855 w 3008034"/>
                  <a:gd name="connsiteY9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689735 w 3008034"/>
                  <a:gd name="connsiteY61" fmla="*/ 3474720 h 3680460"/>
                  <a:gd name="connsiteX62" fmla="*/ 1781175 w 3008034"/>
                  <a:gd name="connsiteY62" fmla="*/ 3451860 h 3680460"/>
                  <a:gd name="connsiteX63" fmla="*/ 1864995 w 3008034"/>
                  <a:gd name="connsiteY63" fmla="*/ 3421380 h 3680460"/>
                  <a:gd name="connsiteX64" fmla="*/ 1918335 w 3008034"/>
                  <a:gd name="connsiteY64" fmla="*/ 3398520 h 3680460"/>
                  <a:gd name="connsiteX65" fmla="*/ 1941195 w 3008034"/>
                  <a:gd name="connsiteY65" fmla="*/ 3390900 h 3680460"/>
                  <a:gd name="connsiteX66" fmla="*/ 2089785 w 3008034"/>
                  <a:gd name="connsiteY66" fmla="*/ 3308985 h 3680460"/>
                  <a:gd name="connsiteX67" fmla="*/ 2189797 w 3008034"/>
                  <a:gd name="connsiteY67" fmla="*/ 3251835 h 3680460"/>
                  <a:gd name="connsiteX68" fmla="*/ 2337435 w 3008034"/>
                  <a:gd name="connsiteY68" fmla="*/ 3154680 h 3680460"/>
                  <a:gd name="connsiteX69" fmla="*/ 2459355 w 3008034"/>
                  <a:gd name="connsiteY69" fmla="*/ 3009900 h 3680460"/>
                  <a:gd name="connsiteX70" fmla="*/ 2527935 w 3008034"/>
                  <a:gd name="connsiteY70" fmla="*/ 2926080 h 3680460"/>
                  <a:gd name="connsiteX71" fmla="*/ 2619375 w 3008034"/>
                  <a:gd name="connsiteY71" fmla="*/ 2811780 h 3680460"/>
                  <a:gd name="connsiteX72" fmla="*/ 2665095 w 3008034"/>
                  <a:gd name="connsiteY72" fmla="*/ 2727960 h 3680460"/>
                  <a:gd name="connsiteX73" fmla="*/ 2695575 w 3008034"/>
                  <a:gd name="connsiteY73" fmla="*/ 2667000 h 3680460"/>
                  <a:gd name="connsiteX74" fmla="*/ 2779395 w 3008034"/>
                  <a:gd name="connsiteY74" fmla="*/ 2484120 h 3680460"/>
                  <a:gd name="connsiteX75" fmla="*/ 2802255 w 3008034"/>
                  <a:gd name="connsiteY75" fmla="*/ 2407920 h 3680460"/>
                  <a:gd name="connsiteX76" fmla="*/ 2908935 w 3008034"/>
                  <a:gd name="connsiteY76" fmla="*/ 2049780 h 3680460"/>
                  <a:gd name="connsiteX77" fmla="*/ 2924175 w 3008034"/>
                  <a:gd name="connsiteY77" fmla="*/ 1844040 h 3680460"/>
                  <a:gd name="connsiteX78" fmla="*/ 2908935 w 3008034"/>
                  <a:gd name="connsiteY78" fmla="*/ 1470660 h 3680460"/>
                  <a:gd name="connsiteX79" fmla="*/ 2886075 w 3008034"/>
                  <a:gd name="connsiteY79" fmla="*/ 1371600 h 3680460"/>
                  <a:gd name="connsiteX80" fmla="*/ 2870835 w 3008034"/>
                  <a:gd name="connsiteY80" fmla="*/ 1341120 h 3680460"/>
                  <a:gd name="connsiteX81" fmla="*/ 2847975 w 3008034"/>
                  <a:gd name="connsiteY81" fmla="*/ 1272540 h 3680460"/>
                  <a:gd name="connsiteX82" fmla="*/ 2840355 w 3008034"/>
                  <a:gd name="connsiteY82" fmla="*/ 1234440 h 3680460"/>
                  <a:gd name="connsiteX83" fmla="*/ 2756535 w 3008034"/>
                  <a:gd name="connsiteY83" fmla="*/ 1089660 h 3680460"/>
                  <a:gd name="connsiteX84" fmla="*/ 2726055 w 3008034"/>
                  <a:gd name="connsiteY84" fmla="*/ 1043940 h 3680460"/>
                  <a:gd name="connsiteX85" fmla="*/ 2718435 w 3008034"/>
                  <a:gd name="connsiteY85" fmla="*/ 1021080 h 3680460"/>
                  <a:gd name="connsiteX86" fmla="*/ 2672715 w 3008034"/>
                  <a:gd name="connsiteY86" fmla="*/ 937260 h 3680460"/>
                  <a:gd name="connsiteX87" fmla="*/ 2649855 w 3008034"/>
                  <a:gd name="connsiteY87" fmla="*/ 876300 h 3680460"/>
                  <a:gd name="connsiteX88" fmla="*/ 2634615 w 3008034"/>
                  <a:gd name="connsiteY88" fmla="*/ 845820 h 3680460"/>
                  <a:gd name="connsiteX89" fmla="*/ 2611755 w 3008034"/>
                  <a:gd name="connsiteY89" fmla="*/ 800100 h 3680460"/>
                  <a:gd name="connsiteX90" fmla="*/ 2448878 w 3008034"/>
                  <a:gd name="connsiteY90" fmla="*/ 621983 h 3680460"/>
                  <a:gd name="connsiteX91" fmla="*/ 2291715 w 3008034"/>
                  <a:gd name="connsiteY91" fmla="*/ 458152 h 3680460"/>
                  <a:gd name="connsiteX92" fmla="*/ 2227898 w 3008034"/>
                  <a:gd name="connsiteY92" fmla="*/ 406717 h 3680460"/>
                  <a:gd name="connsiteX93" fmla="*/ 2093595 w 3008034"/>
                  <a:gd name="connsiteY93" fmla="*/ 312420 h 3680460"/>
                  <a:gd name="connsiteX94" fmla="*/ 2032635 w 3008034"/>
                  <a:gd name="connsiteY94" fmla="*/ 266700 h 3680460"/>
                  <a:gd name="connsiteX95" fmla="*/ 1994535 w 3008034"/>
                  <a:gd name="connsiteY95" fmla="*/ 251460 h 3680460"/>
                  <a:gd name="connsiteX96" fmla="*/ 1948815 w 3008034"/>
                  <a:gd name="connsiteY96" fmla="*/ 220980 h 3680460"/>
                  <a:gd name="connsiteX97" fmla="*/ 1887855 w 3008034"/>
                  <a:gd name="connsiteY9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781175 w 3008034"/>
                  <a:gd name="connsiteY61" fmla="*/ 3451860 h 3680460"/>
                  <a:gd name="connsiteX62" fmla="*/ 1864995 w 3008034"/>
                  <a:gd name="connsiteY62" fmla="*/ 3421380 h 3680460"/>
                  <a:gd name="connsiteX63" fmla="*/ 1918335 w 3008034"/>
                  <a:gd name="connsiteY63" fmla="*/ 3398520 h 3680460"/>
                  <a:gd name="connsiteX64" fmla="*/ 1941195 w 3008034"/>
                  <a:gd name="connsiteY64" fmla="*/ 3390900 h 3680460"/>
                  <a:gd name="connsiteX65" fmla="*/ 2089785 w 3008034"/>
                  <a:gd name="connsiteY65" fmla="*/ 3308985 h 3680460"/>
                  <a:gd name="connsiteX66" fmla="*/ 2189797 w 3008034"/>
                  <a:gd name="connsiteY66" fmla="*/ 3251835 h 3680460"/>
                  <a:gd name="connsiteX67" fmla="*/ 2337435 w 3008034"/>
                  <a:gd name="connsiteY67" fmla="*/ 3154680 h 3680460"/>
                  <a:gd name="connsiteX68" fmla="*/ 2459355 w 3008034"/>
                  <a:gd name="connsiteY68" fmla="*/ 3009900 h 3680460"/>
                  <a:gd name="connsiteX69" fmla="*/ 2527935 w 3008034"/>
                  <a:gd name="connsiteY69" fmla="*/ 2926080 h 3680460"/>
                  <a:gd name="connsiteX70" fmla="*/ 2619375 w 3008034"/>
                  <a:gd name="connsiteY70" fmla="*/ 2811780 h 3680460"/>
                  <a:gd name="connsiteX71" fmla="*/ 2665095 w 3008034"/>
                  <a:gd name="connsiteY71" fmla="*/ 2727960 h 3680460"/>
                  <a:gd name="connsiteX72" fmla="*/ 2695575 w 3008034"/>
                  <a:gd name="connsiteY72" fmla="*/ 2667000 h 3680460"/>
                  <a:gd name="connsiteX73" fmla="*/ 2779395 w 3008034"/>
                  <a:gd name="connsiteY73" fmla="*/ 2484120 h 3680460"/>
                  <a:gd name="connsiteX74" fmla="*/ 2802255 w 3008034"/>
                  <a:gd name="connsiteY74" fmla="*/ 2407920 h 3680460"/>
                  <a:gd name="connsiteX75" fmla="*/ 2908935 w 3008034"/>
                  <a:gd name="connsiteY75" fmla="*/ 2049780 h 3680460"/>
                  <a:gd name="connsiteX76" fmla="*/ 2924175 w 3008034"/>
                  <a:gd name="connsiteY76" fmla="*/ 1844040 h 3680460"/>
                  <a:gd name="connsiteX77" fmla="*/ 2908935 w 3008034"/>
                  <a:gd name="connsiteY77" fmla="*/ 1470660 h 3680460"/>
                  <a:gd name="connsiteX78" fmla="*/ 2886075 w 3008034"/>
                  <a:gd name="connsiteY78" fmla="*/ 1371600 h 3680460"/>
                  <a:gd name="connsiteX79" fmla="*/ 2870835 w 3008034"/>
                  <a:gd name="connsiteY79" fmla="*/ 1341120 h 3680460"/>
                  <a:gd name="connsiteX80" fmla="*/ 2847975 w 3008034"/>
                  <a:gd name="connsiteY80" fmla="*/ 1272540 h 3680460"/>
                  <a:gd name="connsiteX81" fmla="*/ 2840355 w 3008034"/>
                  <a:gd name="connsiteY81" fmla="*/ 1234440 h 3680460"/>
                  <a:gd name="connsiteX82" fmla="*/ 2756535 w 3008034"/>
                  <a:gd name="connsiteY82" fmla="*/ 1089660 h 3680460"/>
                  <a:gd name="connsiteX83" fmla="*/ 2726055 w 3008034"/>
                  <a:gd name="connsiteY83" fmla="*/ 1043940 h 3680460"/>
                  <a:gd name="connsiteX84" fmla="*/ 2718435 w 3008034"/>
                  <a:gd name="connsiteY84" fmla="*/ 1021080 h 3680460"/>
                  <a:gd name="connsiteX85" fmla="*/ 2672715 w 3008034"/>
                  <a:gd name="connsiteY85" fmla="*/ 937260 h 3680460"/>
                  <a:gd name="connsiteX86" fmla="*/ 2649855 w 3008034"/>
                  <a:gd name="connsiteY86" fmla="*/ 876300 h 3680460"/>
                  <a:gd name="connsiteX87" fmla="*/ 2634615 w 3008034"/>
                  <a:gd name="connsiteY87" fmla="*/ 845820 h 3680460"/>
                  <a:gd name="connsiteX88" fmla="*/ 2611755 w 3008034"/>
                  <a:gd name="connsiteY88" fmla="*/ 800100 h 3680460"/>
                  <a:gd name="connsiteX89" fmla="*/ 2448878 w 3008034"/>
                  <a:gd name="connsiteY89" fmla="*/ 621983 h 3680460"/>
                  <a:gd name="connsiteX90" fmla="*/ 2291715 w 3008034"/>
                  <a:gd name="connsiteY90" fmla="*/ 458152 h 3680460"/>
                  <a:gd name="connsiteX91" fmla="*/ 2227898 w 3008034"/>
                  <a:gd name="connsiteY91" fmla="*/ 406717 h 3680460"/>
                  <a:gd name="connsiteX92" fmla="*/ 2093595 w 3008034"/>
                  <a:gd name="connsiteY92" fmla="*/ 312420 h 3680460"/>
                  <a:gd name="connsiteX93" fmla="*/ 2032635 w 3008034"/>
                  <a:gd name="connsiteY93" fmla="*/ 266700 h 3680460"/>
                  <a:gd name="connsiteX94" fmla="*/ 1994535 w 3008034"/>
                  <a:gd name="connsiteY94" fmla="*/ 251460 h 3680460"/>
                  <a:gd name="connsiteX95" fmla="*/ 1948815 w 3008034"/>
                  <a:gd name="connsiteY95" fmla="*/ 220980 h 3680460"/>
                  <a:gd name="connsiteX96" fmla="*/ 1887855 w 3008034"/>
                  <a:gd name="connsiteY9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60195 w 3008034"/>
                  <a:gd name="connsiteY41" fmla="*/ 3596640 h 3680460"/>
                  <a:gd name="connsiteX42" fmla="*/ 1537335 w 3008034"/>
                  <a:gd name="connsiteY42" fmla="*/ 3611880 h 3680460"/>
                  <a:gd name="connsiteX43" fmla="*/ 1453515 w 3008034"/>
                  <a:gd name="connsiteY43" fmla="*/ 3627120 h 3680460"/>
                  <a:gd name="connsiteX44" fmla="*/ 1323975 w 3008034"/>
                  <a:gd name="connsiteY44" fmla="*/ 3657600 h 3680460"/>
                  <a:gd name="connsiteX45" fmla="*/ 1194435 w 3008034"/>
                  <a:gd name="connsiteY45" fmla="*/ 3672840 h 3680460"/>
                  <a:gd name="connsiteX46" fmla="*/ 1156335 w 3008034"/>
                  <a:gd name="connsiteY46" fmla="*/ 3680460 h 3680460"/>
                  <a:gd name="connsiteX47" fmla="*/ 625792 w 3008034"/>
                  <a:gd name="connsiteY47" fmla="*/ 3668078 h 3680460"/>
                  <a:gd name="connsiteX48" fmla="*/ 402908 w 3008034"/>
                  <a:gd name="connsiteY48" fmla="*/ 3614738 h 3680460"/>
                  <a:gd name="connsiteX49" fmla="*/ 266700 w 3008034"/>
                  <a:gd name="connsiteY49" fmla="*/ 3570922 h 3680460"/>
                  <a:gd name="connsiteX50" fmla="*/ 164782 w 3008034"/>
                  <a:gd name="connsiteY50" fmla="*/ 3515678 h 3680460"/>
                  <a:gd name="connsiteX51" fmla="*/ 31433 w 3008034"/>
                  <a:gd name="connsiteY51" fmla="*/ 3422333 h 3680460"/>
                  <a:gd name="connsiteX52" fmla="*/ 0 w 3008034"/>
                  <a:gd name="connsiteY52" fmla="*/ 3376613 h 3680460"/>
                  <a:gd name="connsiteX53" fmla="*/ 127635 w 3008034"/>
                  <a:gd name="connsiteY53" fmla="*/ 3360420 h 3680460"/>
                  <a:gd name="connsiteX54" fmla="*/ 158115 w 3008034"/>
                  <a:gd name="connsiteY54" fmla="*/ 3390900 h 3680460"/>
                  <a:gd name="connsiteX55" fmla="*/ 317183 w 3008034"/>
                  <a:gd name="connsiteY55" fmla="*/ 3450907 h 3680460"/>
                  <a:gd name="connsiteX56" fmla="*/ 485775 w 3008034"/>
                  <a:gd name="connsiteY56" fmla="*/ 3520440 h 3680460"/>
                  <a:gd name="connsiteX57" fmla="*/ 721995 w 3008034"/>
                  <a:gd name="connsiteY57" fmla="*/ 3558540 h 3680460"/>
                  <a:gd name="connsiteX58" fmla="*/ 1331595 w 3008034"/>
                  <a:gd name="connsiteY58" fmla="*/ 3550920 h 3680460"/>
                  <a:gd name="connsiteX59" fmla="*/ 1529715 w 3008034"/>
                  <a:gd name="connsiteY59" fmla="*/ 3520440 h 3680460"/>
                  <a:gd name="connsiteX60" fmla="*/ 1621155 w 3008034"/>
                  <a:gd name="connsiteY60" fmla="*/ 3497580 h 3680460"/>
                  <a:gd name="connsiteX61" fmla="*/ 1781175 w 3008034"/>
                  <a:gd name="connsiteY61" fmla="*/ 3451860 h 3680460"/>
                  <a:gd name="connsiteX62" fmla="*/ 1864995 w 3008034"/>
                  <a:gd name="connsiteY62" fmla="*/ 3421380 h 3680460"/>
                  <a:gd name="connsiteX63" fmla="*/ 1941195 w 3008034"/>
                  <a:gd name="connsiteY63" fmla="*/ 3390900 h 3680460"/>
                  <a:gd name="connsiteX64" fmla="*/ 2089785 w 3008034"/>
                  <a:gd name="connsiteY64" fmla="*/ 3308985 h 3680460"/>
                  <a:gd name="connsiteX65" fmla="*/ 2189797 w 3008034"/>
                  <a:gd name="connsiteY65" fmla="*/ 3251835 h 3680460"/>
                  <a:gd name="connsiteX66" fmla="*/ 2337435 w 3008034"/>
                  <a:gd name="connsiteY66" fmla="*/ 3154680 h 3680460"/>
                  <a:gd name="connsiteX67" fmla="*/ 2459355 w 3008034"/>
                  <a:gd name="connsiteY67" fmla="*/ 3009900 h 3680460"/>
                  <a:gd name="connsiteX68" fmla="*/ 2527935 w 3008034"/>
                  <a:gd name="connsiteY68" fmla="*/ 2926080 h 3680460"/>
                  <a:gd name="connsiteX69" fmla="*/ 2619375 w 3008034"/>
                  <a:gd name="connsiteY69" fmla="*/ 2811780 h 3680460"/>
                  <a:gd name="connsiteX70" fmla="*/ 2665095 w 3008034"/>
                  <a:gd name="connsiteY70" fmla="*/ 2727960 h 3680460"/>
                  <a:gd name="connsiteX71" fmla="*/ 2695575 w 3008034"/>
                  <a:gd name="connsiteY71" fmla="*/ 2667000 h 3680460"/>
                  <a:gd name="connsiteX72" fmla="*/ 2779395 w 3008034"/>
                  <a:gd name="connsiteY72" fmla="*/ 2484120 h 3680460"/>
                  <a:gd name="connsiteX73" fmla="*/ 2802255 w 3008034"/>
                  <a:gd name="connsiteY73" fmla="*/ 2407920 h 3680460"/>
                  <a:gd name="connsiteX74" fmla="*/ 2908935 w 3008034"/>
                  <a:gd name="connsiteY74" fmla="*/ 2049780 h 3680460"/>
                  <a:gd name="connsiteX75" fmla="*/ 2924175 w 3008034"/>
                  <a:gd name="connsiteY75" fmla="*/ 1844040 h 3680460"/>
                  <a:gd name="connsiteX76" fmla="*/ 2908935 w 3008034"/>
                  <a:gd name="connsiteY76" fmla="*/ 1470660 h 3680460"/>
                  <a:gd name="connsiteX77" fmla="*/ 2886075 w 3008034"/>
                  <a:gd name="connsiteY77" fmla="*/ 1371600 h 3680460"/>
                  <a:gd name="connsiteX78" fmla="*/ 2870835 w 3008034"/>
                  <a:gd name="connsiteY78" fmla="*/ 1341120 h 3680460"/>
                  <a:gd name="connsiteX79" fmla="*/ 2847975 w 3008034"/>
                  <a:gd name="connsiteY79" fmla="*/ 1272540 h 3680460"/>
                  <a:gd name="connsiteX80" fmla="*/ 2840355 w 3008034"/>
                  <a:gd name="connsiteY80" fmla="*/ 1234440 h 3680460"/>
                  <a:gd name="connsiteX81" fmla="*/ 2756535 w 3008034"/>
                  <a:gd name="connsiteY81" fmla="*/ 1089660 h 3680460"/>
                  <a:gd name="connsiteX82" fmla="*/ 2726055 w 3008034"/>
                  <a:gd name="connsiteY82" fmla="*/ 1043940 h 3680460"/>
                  <a:gd name="connsiteX83" fmla="*/ 2718435 w 3008034"/>
                  <a:gd name="connsiteY83" fmla="*/ 1021080 h 3680460"/>
                  <a:gd name="connsiteX84" fmla="*/ 2672715 w 3008034"/>
                  <a:gd name="connsiteY84" fmla="*/ 937260 h 3680460"/>
                  <a:gd name="connsiteX85" fmla="*/ 2649855 w 3008034"/>
                  <a:gd name="connsiteY85" fmla="*/ 876300 h 3680460"/>
                  <a:gd name="connsiteX86" fmla="*/ 2634615 w 3008034"/>
                  <a:gd name="connsiteY86" fmla="*/ 845820 h 3680460"/>
                  <a:gd name="connsiteX87" fmla="*/ 2611755 w 3008034"/>
                  <a:gd name="connsiteY87" fmla="*/ 800100 h 3680460"/>
                  <a:gd name="connsiteX88" fmla="*/ 2448878 w 3008034"/>
                  <a:gd name="connsiteY88" fmla="*/ 621983 h 3680460"/>
                  <a:gd name="connsiteX89" fmla="*/ 2291715 w 3008034"/>
                  <a:gd name="connsiteY89" fmla="*/ 458152 h 3680460"/>
                  <a:gd name="connsiteX90" fmla="*/ 2227898 w 3008034"/>
                  <a:gd name="connsiteY90" fmla="*/ 406717 h 3680460"/>
                  <a:gd name="connsiteX91" fmla="*/ 2093595 w 3008034"/>
                  <a:gd name="connsiteY91" fmla="*/ 312420 h 3680460"/>
                  <a:gd name="connsiteX92" fmla="*/ 2032635 w 3008034"/>
                  <a:gd name="connsiteY92" fmla="*/ 266700 h 3680460"/>
                  <a:gd name="connsiteX93" fmla="*/ 1994535 w 3008034"/>
                  <a:gd name="connsiteY93" fmla="*/ 251460 h 3680460"/>
                  <a:gd name="connsiteX94" fmla="*/ 1948815 w 3008034"/>
                  <a:gd name="connsiteY94" fmla="*/ 220980 h 3680460"/>
                  <a:gd name="connsiteX95" fmla="*/ 1887855 w 3008034"/>
                  <a:gd name="connsiteY9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566035 w 3008034"/>
                  <a:gd name="connsiteY13" fmla="*/ 487680 h 3680460"/>
                  <a:gd name="connsiteX14" fmla="*/ 2611755 w 3008034"/>
                  <a:gd name="connsiteY14" fmla="*/ 548640 h 3680460"/>
                  <a:gd name="connsiteX15" fmla="*/ 2665095 w 3008034"/>
                  <a:gd name="connsiteY15" fmla="*/ 609600 h 3680460"/>
                  <a:gd name="connsiteX16" fmla="*/ 2756535 w 3008034"/>
                  <a:gd name="connsiteY16" fmla="*/ 754380 h 3680460"/>
                  <a:gd name="connsiteX17" fmla="*/ 2809875 w 3008034"/>
                  <a:gd name="connsiteY17" fmla="*/ 830580 h 3680460"/>
                  <a:gd name="connsiteX18" fmla="*/ 2908935 w 3008034"/>
                  <a:gd name="connsiteY18" fmla="*/ 1036320 h 3680460"/>
                  <a:gd name="connsiteX19" fmla="*/ 2924175 w 3008034"/>
                  <a:gd name="connsiteY19" fmla="*/ 1074420 h 3680460"/>
                  <a:gd name="connsiteX20" fmla="*/ 2954655 w 3008034"/>
                  <a:gd name="connsiteY20" fmla="*/ 1203960 h 3680460"/>
                  <a:gd name="connsiteX21" fmla="*/ 2969895 w 3008034"/>
                  <a:gd name="connsiteY21" fmla="*/ 1264920 h 3680460"/>
                  <a:gd name="connsiteX22" fmla="*/ 2985135 w 3008034"/>
                  <a:gd name="connsiteY22" fmla="*/ 1348740 h 3680460"/>
                  <a:gd name="connsiteX23" fmla="*/ 3000375 w 3008034"/>
                  <a:gd name="connsiteY23" fmla="*/ 1432560 h 3680460"/>
                  <a:gd name="connsiteX24" fmla="*/ 3007995 w 3008034"/>
                  <a:gd name="connsiteY24" fmla="*/ 1684020 h 3680460"/>
                  <a:gd name="connsiteX25" fmla="*/ 3003233 w 3008034"/>
                  <a:gd name="connsiteY25" fmla="*/ 1990725 h 3680460"/>
                  <a:gd name="connsiteX26" fmla="*/ 2969895 w 3008034"/>
                  <a:gd name="connsiteY26" fmla="*/ 2194560 h 3680460"/>
                  <a:gd name="connsiteX27" fmla="*/ 2931795 w 3008034"/>
                  <a:gd name="connsiteY27" fmla="*/ 2324100 h 3680460"/>
                  <a:gd name="connsiteX28" fmla="*/ 2916555 w 3008034"/>
                  <a:gd name="connsiteY28" fmla="*/ 2392680 h 3680460"/>
                  <a:gd name="connsiteX29" fmla="*/ 2867978 w 3008034"/>
                  <a:gd name="connsiteY29" fmla="*/ 2521267 h 3680460"/>
                  <a:gd name="connsiteX30" fmla="*/ 2801303 w 3008034"/>
                  <a:gd name="connsiteY30" fmla="*/ 2656523 h 3680460"/>
                  <a:gd name="connsiteX31" fmla="*/ 2719387 w 3008034"/>
                  <a:gd name="connsiteY31" fmla="*/ 2818447 h 3680460"/>
                  <a:gd name="connsiteX32" fmla="*/ 2495550 w 3008034"/>
                  <a:gd name="connsiteY32" fmla="*/ 3084195 h 3680460"/>
                  <a:gd name="connsiteX33" fmla="*/ 2396490 w 3008034"/>
                  <a:gd name="connsiteY33" fmla="*/ 3185160 h 3680460"/>
                  <a:gd name="connsiteX34" fmla="*/ 2284095 w 3008034"/>
                  <a:gd name="connsiteY34" fmla="*/ 3284220 h 3680460"/>
                  <a:gd name="connsiteX35" fmla="*/ 2131695 w 3008034"/>
                  <a:gd name="connsiteY35" fmla="*/ 3390900 h 3680460"/>
                  <a:gd name="connsiteX36" fmla="*/ 2000250 w 3008034"/>
                  <a:gd name="connsiteY36" fmla="*/ 3448050 h 3680460"/>
                  <a:gd name="connsiteX37" fmla="*/ 1864995 w 3008034"/>
                  <a:gd name="connsiteY37" fmla="*/ 3512820 h 3680460"/>
                  <a:gd name="connsiteX38" fmla="*/ 1819275 w 3008034"/>
                  <a:gd name="connsiteY38" fmla="*/ 3520440 h 3680460"/>
                  <a:gd name="connsiteX39" fmla="*/ 1712595 w 3008034"/>
                  <a:gd name="connsiteY39" fmla="*/ 3550920 h 3680460"/>
                  <a:gd name="connsiteX40" fmla="*/ 1590675 w 3008034"/>
                  <a:gd name="connsiteY40" fmla="*/ 3589020 h 3680460"/>
                  <a:gd name="connsiteX41" fmla="*/ 1537335 w 3008034"/>
                  <a:gd name="connsiteY41" fmla="*/ 3611880 h 3680460"/>
                  <a:gd name="connsiteX42" fmla="*/ 1453515 w 3008034"/>
                  <a:gd name="connsiteY42" fmla="*/ 3627120 h 3680460"/>
                  <a:gd name="connsiteX43" fmla="*/ 1323975 w 3008034"/>
                  <a:gd name="connsiteY43" fmla="*/ 3657600 h 3680460"/>
                  <a:gd name="connsiteX44" fmla="*/ 1194435 w 3008034"/>
                  <a:gd name="connsiteY44" fmla="*/ 3672840 h 3680460"/>
                  <a:gd name="connsiteX45" fmla="*/ 1156335 w 3008034"/>
                  <a:gd name="connsiteY45" fmla="*/ 3680460 h 3680460"/>
                  <a:gd name="connsiteX46" fmla="*/ 625792 w 3008034"/>
                  <a:gd name="connsiteY46" fmla="*/ 3668078 h 3680460"/>
                  <a:gd name="connsiteX47" fmla="*/ 402908 w 3008034"/>
                  <a:gd name="connsiteY47" fmla="*/ 3614738 h 3680460"/>
                  <a:gd name="connsiteX48" fmla="*/ 266700 w 3008034"/>
                  <a:gd name="connsiteY48" fmla="*/ 3570922 h 3680460"/>
                  <a:gd name="connsiteX49" fmla="*/ 164782 w 3008034"/>
                  <a:gd name="connsiteY49" fmla="*/ 3515678 h 3680460"/>
                  <a:gd name="connsiteX50" fmla="*/ 31433 w 3008034"/>
                  <a:gd name="connsiteY50" fmla="*/ 3422333 h 3680460"/>
                  <a:gd name="connsiteX51" fmla="*/ 0 w 3008034"/>
                  <a:gd name="connsiteY51" fmla="*/ 3376613 h 3680460"/>
                  <a:gd name="connsiteX52" fmla="*/ 127635 w 3008034"/>
                  <a:gd name="connsiteY52" fmla="*/ 3360420 h 3680460"/>
                  <a:gd name="connsiteX53" fmla="*/ 158115 w 3008034"/>
                  <a:gd name="connsiteY53" fmla="*/ 3390900 h 3680460"/>
                  <a:gd name="connsiteX54" fmla="*/ 317183 w 3008034"/>
                  <a:gd name="connsiteY54" fmla="*/ 3450907 h 3680460"/>
                  <a:gd name="connsiteX55" fmla="*/ 485775 w 3008034"/>
                  <a:gd name="connsiteY55" fmla="*/ 3520440 h 3680460"/>
                  <a:gd name="connsiteX56" fmla="*/ 721995 w 3008034"/>
                  <a:gd name="connsiteY56" fmla="*/ 3558540 h 3680460"/>
                  <a:gd name="connsiteX57" fmla="*/ 1331595 w 3008034"/>
                  <a:gd name="connsiteY57" fmla="*/ 3550920 h 3680460"/>
                  <a:gd name="connsiteX58" fmla="*/ 1529715 w 3008034"/>
                  <a:gd name="connsiteY58" fmla="*/ 3520440 h 3680460"/>
                  <a:gd name="connsiteX59" fmla="*/ 1621155 w 3008034"/>
                  <a:gd name="connsiteY59" fmla="*/ 3497580 h 3680460"/>
                  <a:gd name="connsiteX60" fmla="*/ 1781175 w 3008034"/>
                  <a:gd name="connsiteY60" fmla="*/ 3451860 h 3680460"/>
                  <a:gd name="connsiteX61" fmla="*/ 1864995 w 3008034"/>
                  <a:gd name="connsiteY61" fmla="*/ 3421380 h 3680460"/>
                  <a:gd name="connsiteX62" fmla="*/ 1941195 w 3008034"/>
                  <a:gd name="connsiteY62" fmla="*/ 3390900 h 3680460"/>
                  <a:gd name="connsiteX63" fmla="*/ 2089785 w 3008034"/>
                  <a:gd name="connsiteY63" fmla="*/ 3308985 h 3680460"/>
                  <a:gd name="connsiteX64" fmla="*/ 2189797 w 3008034"/>
                  <a:gd name="connsiteY64" fmla="*/ 3251835 h 3680460"/>
                  <a:gd name="connsiteX65" fmla="*/ 2337435 w 3008034"/>
                  <a:gd name="connsiteY65" fmla="*/ 3154680 h 3680460"/>
                  <a:gd name="connsiteX66" fmla="*/ 2459355 w 3008034"/>
                  <a:gd name="connsiteY66" fmla="*/ 3009900 h 3680460"/>
                  <a:gd name="connsiteX67" fmla="*/ 2527935 w 3008034"/>
                  <a:gd name="connsiteY67" fmla="*/ 2926080 h 3680460"/>
                  <a:gd name="connsiteX68" fmla="*/ 2619375 w 3008034"/>
                  <a:gd name="connsiteY68" fmla="*/ 2811780 h 3680460"/>
                  <a:gd name="connsiteX69" fmla="*/ 2665095 w 3008034"/>
                  <a:gd name="connsiteY69" fmla="*/ 2727960 h 3680460"/>
                  <a:gd name="connsiteX70" fmla="*/ 2695575 w 3008034"/>
                  <a:gd name="connsiteY70" fmla="*/ 2667000 h 3680460"/>
                  <a:gd name="connsiteX71" fmla="*/ 2779395 w 3008034"/>
                  <a:gd name="connsiteY71" fmla="*/ 2484120 h 3680460"/>
                  <a:gd name="connsiteX72" fmla="*/ 2802255 w 3008034"/>
                  <a:gd name="connsiteY72" fmla="*/ 2407920 h 3680460"/>
                  <a:gd name="connsiteX73" fmla="*/ 2908935 w 3008034"/>
                  <a:gd name="connsiteY73" fmla="*/ 2049780 h 3680460"/>
                  <a:gd name="connsiteX74" fmla="*/ 2924175 w 3008034"/>
                  <a:gd name="connsiteY74" fmla="*/ 1844040 h 3680460"/>
                  <a:gd name="connsiteX75" fmla="*/ 2908935 w 3008034"/>
                  <a:gd name="connsiteY75" fmla="*/ 1470660 h 3680460"/>
                  <a:gd name="connsiteX76" fmla="*/ 2886075 w 3008034"/>
                  <a:gd name="connsiteY76" fmla="*/ 1371600 h 3680460"/>
                  <a:gd name="connsiteX77" fmla="*/ 2870835 w 3008034"/>
                  <a:gd name="connsiteY77" fmla="*/ 1341120 h 3680460"/>
                  <a:gd name="connsiteX78" fmla="*/ 2847975 w 3008034"/>
                  <a:gd name="connsiteY78" fmla="*/ 1272540 h 3680460"/>
                  <a:gd name="connsiteX79" fmla="*/ 2840355 w 3008034"/>
                  <a:gd name="connsiteY79" fmla="*/ 1234440 h 3680460"/>
                  <a:gd name="connsiteX80" fmla="*/ 2756535 w 3008034"/>
                  <a:gd name="connsiteY80" fmla="*/ 1089660 h 3680460"/>
                  <a:gd name="connsiteX81" fmla="*/ 2726055 w 3008034"/>
                  <a:gd name="connsiteY81" fmla="*/ 1043940 h 3680460"/>
                  <a:gd name="connsiteX82" fmla="*/ 2718435 w 3008034"/>
                  <a:gd name="connsiteY82" fmla="*/ 1021080 h 3680460"/>
                  <a:gd name="connsiteX83" fmla="*/ 2672715 w 3008034"/>
                  <a:gd name="connsiteY83" fmla="*/ 937260 h 3680460"/>
                  <a:gd name="connsiteX84" fmla="*/ 2649855 w 3008034"/>
                  <a:gd name="connsiteY84" fmla="*/ 876300 h 3680460"/>
                  <a:gd name="connsiteX85" fmla="*/ 2634615 w 3008034"/>
                  <a:gd name="connsiteY85" fmla="*/ 845820 h 3680460"/>
                  <a:gd name="connsiteX86" fmla="*/ 2611755 w 3008034"/>
                  <a:gd name="connsiteY86" fmla="*/ 800100 h 3680460"/>
                  <a:gd name="connsiteX87" fmla="*/ 2448878 w 3008034"/>
                  <a:gd name="connsiteY87" fmla="*/ 621983 h 3680460"/>
                  <a:gd name="connsiteX88" fmla="*/ 2291715 w 3008034"/>
                  <a:gd name="connsiteY88" fmla="*/ 458152 h 3680460"/>
                  <a:gd name="connsiteX89" fmla="*/ 2227898 w 3008034"/>
                  <a:gd name="connsiteY89" fmla="*/ 406717 h 3680460"/>
                  <a:gd name="connsiteX90" fmla="*/ 2093595 w 3008034"/>
                  <a:gd name="connsiteY90" fmla="*/ 312420 h 3680460"/>
                  <a:gd name="connsiteX91" fmla="*/ 2032635 w 3008034"/>
                  <a:gd name="connsiteY91" fmla="*/ 266700 h 3680460"/>
                  <a:gd name="connsiteX92" fmla="*/ 1994535 w 3008034"/>
                  <a:gd name="connsiteY92" fmla="*/ 251460 h 3680460"/>
                  <a:gd name="connsiteX93" fmla="*/ 1948815 w 3008034"/>
                  <a:gd name="connsiteY93" fmla="*/ 220980 h 3680460"/>
                  <a:gd name="connsiteX94" fmla="*/ 1887855 w 3008034"/>
                  <a:gd name="connsiteY9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811655 w 3008034"/>
                  <a:gd name="connsiteY3" fmla="*/ 121920 h 3680460"/>
                  <a:gd name="connsiteX4" fmla="*/ 1765935 w 3008034"/>
                  <a:gd name="connsiteY4" fmla="*/ 91440 h 3680460"/>
                  <a:gd name="connsiteX5" fmla="*/ 1750695 w 3008034"/>
                  <a:gd name="connsiteY5" fmla="*/ 68580 h 3680460"/>
                  <a:gd name="connsiteX6" fmla="*/ 1727835 w 3008034"/>
                  <a:gd name="connsiteY6" fmla="*/ 53340 h 3680460"/>
                  <a:gd name="connsiteX7" fmla="*/ 1720215 w 3008034"/>
                  <a:gd name="connsiteY7" fmla="*/ 16193 h 3680460"/>
                  <a:gd name="connsiteX8" fmla="*/ 1971675 w 3008034"/>
                  <a:gd name="connsiteY8" fmla="*/ 0 h 3680460"/>
                  <a:gd name="connsiteX9" fmla="*/ 2162175 w 3008034"/>
                  <a:gd name="connsiteY9" fmla="*/ 114300 h 3680460"/>
                  <a:gd name="connsiteX10" fmla="*/ 2276475 w 3008034"/>
                  <a:gd name="connsiteY10" fmla="*/ 190500 h 3680460"/>
                  <a:gd name="connsiteX11" fmla="*/ 2527935 w 3008034"/>
                  <a:gd name="connsiteY11" fmla="*/ 426720 h 3680460"/>
                  <a:gd name="connsiteX12" fmla="*/ 2543175 w 3008034"/>
                  <a:gd name="connsiteY12" fmla="*/ 449580 h 3680460"/>
                  <a:gd name="connsiteX13" fmla="*/ 2611755 w 3008034"/>
                  <a:gd name="connsiteY13" fmla="*/ 548640 h 3680460"/>
                  <a:gd name="connsiteX14" fmla="*/ 2665095 w 3008034"/>
                  <a:gd name="connsiteY14" fmla="*/ 609600 h 3680460"/>
                  <a:gd name="connsiteX15" fmla="*/ 2756535 w 3008034"/>
                  <a:gd name="connsiteY15" fmla="*/ 754380 h 3680460"/>
                  <a:gd name="connsiteX16" fmla="*/ 2809875 w 3008034"/>
                  <a:gd name="connsiteY16" fmla="*/ 830580 h 3680460"/>
                  <a:gd name="connsiteX17" fmla="*/ 2908935 w 3008034"/>
                  <a:gd name="connsiteY17" fmla="*/ 1036320 h 3680460"/>
                  <a:gd name="connsiteX18" fmla="*/ 2924175 w 3008034"/>
                  <a:gd name="connsiteY18" fmla="*/ 1074420 h 3680460"/>
                  <a:gd name="connsiteX19" fmla="*/ 2954655 w 3008034"/>
                  <a:gd name="connsiteY19" fmla="*/ 1203960 h 3680460"/>
                  <a:gd name="connsiteX20" fmla="*/ 2969895 w 3008034"/>
                  <a:gd name="connsiteY20" fmla="*/ 1264920 h 3680460"/>
                  <a:gd name="connsiteX21" fmla="*/ 2985135 w 3008034"/>
                  <a:gd name="connsiteY21" fmla="*/ 1348740 h 3680460"/>
                  <a:gd name="connsiteX22" fmla="*/ 3000375 w 3008034"/>
                  <a:gd name="connsiteY22" fmla="*/ 1432560 h 3680460"/>
                  <a:gd name="connsiteX23" fmla="*/ 3007995 w 3008034"/>
                  <a:gd name="connsiteY23" fmla="*/ 1684020 h 3680460"/>
                  <a:gd name="connsiteX24" fmla="*/ 3003233 w 3008034"/>
                  <a:gd name="connsiteY24" fmla="*/ 1990725 h 3680460"/>
                  <a:gd name="connsiteX25" fmla="*/ 2969895 w 3008034"/>
                  <a:gd name="connsiteY25" fmla="*/ 2194560 h 3680460"/>
                  <a:gd name="connsiteX26" fmla="*/ 2931795 w 3008034"/>
                  <a:gd name="connsiteY26" fmla="*/ 2324100 h 3680460"/>
                  <a:gd name="connsiteX27" fmla="*/ 2916555 w 3008034"/>
                  <a:gd name="connsiteY27" fmla="*/ 2392680 h 3680460"/>
                  <a:gd name="connsiteX28" fmla="*/ 2867978 w 3008034"/>
                  <a:gd name="connsiteY28" fmla="*/ 2521267 h 3680460"/>
                  <a:gd name="connsiteX29" fmla="*/ 2801303 w 3008034"/>
                  <a:gd name="connsiteY29" fmla="*/ 2656523 h 3680460"/>
                  <a:gd name="connsiteX30" fmla="*/ 2719387 w 3008034"/>
                  <a:gd name="connsiteY30" fmla="*/ 2818447 h 3680460"/>
                  <a:gd name="connsiteX31" fmla="*/ 2495550 w 3008034"/>
                  <a:gd name="connsiteY31" fmla="*/ 3084195 h 3680460"/>
                  <a:gd name="connsiteX32" fmla="*/ 2396490 w 3008034"/>
                  <a:gd name="connsiteY32" fmla="*/ 3185160 h 3680460"/>
                  <a:gd name="connsiteX33" fmla="*/ 2284095 w 3008034"/>
                  <a:gd name="connsiteY33" fmla="*/ 3284220 h 3680460"/>
                  <a:gd name="connsiteX34" fmla="*/ 2131695 w 3008034"/>
                  <a:gd name="connsiteY34" fmla="*/ 3390900 h 3680460"/>
                  <a:gd name="connsiteX35" fmla="*/ 2000250 w 3008034"/>
                  <a:gd name="connsiteY35" fmla="*/ 3448050 h 3680460"/>
                  <a:gd name="connsiteX36" fmla="*/ 1864995 w 3008034"/>
                  <a:gd name="connsiteY36" fmla="*/ 3512820 h 3680460"/>
                  <a:gd name="connsiteX37" fmla="*/ 1819275 w 3008034"/>
                  <a:gd name="connsiteY37" fmla="*/ 3520440 h 3680460"/>
                  <a:gd name="connsiteX38" fmla="*/ 1712595 w 3008034"/>
                  <a:gd name="connsiteY38" fmla="*/ 3550920 h 3680460"/>
                  <a:gd name="connsiteX39" fmla="*/ 1590675 w 3008034"/>
                  <a:gd name="connsiteY39" fmla="*/ 3589020 h 3680460"/>
                  <a:gd name="connsiteX40" fmla="*/ 1537335 w 3008034"/>
                  <a:gd name="connsiteY40" fmla="*/ 3611880 h 3680460"/>
                  <a:gd name="connsiteX41" fmla="*/ 1453515 w 3008034"/>
                  <a:gd name="connsiteY41" fmla="*/ 3627120 h 3680460"/>
                  <a:gd name="connsiteX42" fmla="*/ 1323975 w 3008034"/>
                  <a:gd name="connsiteY42" fmla="*/ 3657600 h 3680460"/>
                  <a:gd name="connsiteX43" fmla="*/ 1194435 w 3008034"/>
                  <a:gd name="connsiteY43" fmla="*/ 3672840 h 3680460"/>
                  <a:gd name="connsiteX44" fmla="*/ 1156335 w 3008034"/>
                  <a:gd name="connsiteY44" fmla="*/ 3680460 h 3680460"/>
                  <a:gd name="connsiteX45" fmla="*/ 625792 w 3008034"/>
                  <a:gd name="connsiteY45" fmla="*/ 3668078 h 3680460"/>
                  <a:gd name="connsiteX46" fmla="*/ 402908 w 3008034"/>
                  <a:gd name="connsiteY46" fmla="*/ 3614738 h 3680460"/>
                  <a:gd name="connsiteX47" fmla="*/ 266700 w 3008034"/>
                  <a:gd name="connsiteY47" fmla="*/ 3570922 h 3680460"/>
                  <a:gd name="connsiteX48" fmla="*/ 164782 w 3008034"/>
                  <a:gd name="connsiteY48" fmla="*/ 3515678 h 3680460"/>
                  <a:gd name="connsiteX49" fmla="*/ 31433 w 3008034"/>
                  <a:gd name="connsiteY49" fmla="*/ 3422333 h 3680460"/>
                  <a:gd name="connsiteX50" fmla="*/ 0 w 3008034"/>
                  <a:gd name="connsiteY50" fmla="*/ 3376613 h 3680460"/>
                  <a:gd name="connsiteX51" fmla="*/ 127635 w 3008034"/>
                  <a:gd name="connsiteY51" fmla="*/ 3360420 h 3680460"/>
                  <a:gd name="connsiteX52" fmla="*/ 158115 w 3008034"/>
                  <a:gd name="connsiteY52" fmla="*/ 3390900 h 3680460"/>
                  <a:gd name="connsiteX53" fmla="*/ 317183 w 3008034"/>
                  <a:gd name="connsiteY53" fmla="*/ 3450907 h 3680460"/>
                  <a:gd name="connsiteX54" fmla="*/ 485775 w 3008034"/>
                  <a:gd name="connsiteY54" fmla="*/ 3520440 h 3680460"/>
                  <a:gd name="connsiteX55" fmla="*/ 721995 w 3008034"/>
                  <a:gd name="connsiteY55" fmla="*/ 3558540 h 3680460"/>
                  <a:gd name="connsiteX56" fmla="*/ 1331595 w 3008034"/>
                  <a:gd name="connsiteY56" fmla="*/ 3550920 h 3680460"/>
                  <a:gd name="connsiteX57" fmla="*/ 1529715 w 3008034"/>
                  <a:gd name="connsiteY57" fmla="*/ 3520440 h 3680460"/>
                  <a:gd name="connsiteX58" fmla="*/ 1621155 w 3008034"/>
                  <a:gd name="connsiteY58" fmla="*/ 3497580 h 3680460"/>
                  <a:gd name="connsiteX59" fmla="*/ 1781175 w 3008034"/>
                  <a:gd name="connsiteY59" fmla="*/ 3451860 h 3680460"/>
                  <a:gd name="connsiteX60" fmla="*/ 1864995 w 3008034"/>
                  <a:gd name="connsiteY60" fmla="*/ 3421380 h 3680460"/>
                  <a:gd name="connsiteX61" fmla="*/ 1941195 w 3008034"/>
                  <a:gd name="connsiteY61" fmla="*/ 3390900 h 3680460"/>
                  <a:gd name="connsiteX62" fmla="*/ 2089785 w 3008034"/>
                  <a:gd name="connsiteY62" fmla="*/ 3308985 h 3680460"/>
                  <a:gd name="connsiteX63" fmla="*/ 2189797 w 3008034"/>
                  <a:gd name="connsiteY63" fmla="*/ 3251835 h 3680460"/>
                  <a:gd name="connsiteX64" fmla="*/ 2337435 w 3008034"/>
                  <a:gd name="connsiteY64" fmla="*/ 3154680 h 3680460"/>
                  <a:gd name="connsiteX65" fmla="*/ 2459355 w 3008034"/>
                  <a:gd name="connsiteY65" fmla="*/ 3009900 h 3680460"/>
                  <a:gd name="connsiteX66" fmla="*/ 2527935 w 3008034"/>
                  <a:gd name="connsiteY66" fmla="*/ 2926080 h 3680460"/>
                  <a:gd name="connsiteX67" fmla="*/ 2619375 w 3008034"/>
                  <a:gd name="connsiteY67" fmla="*/ 2811780 h 3680460"/>
                  <a:gd name="connsiteX68" fmla="*/ 2665095 w 3008034"/>
                  <a:gd name="connsiteY68" fmla="*/ 2727960 h 3680460"/>
                  <a:gd name="connsiteX69" fmla="*/ 2695575 w 3008034"/>
                  <a:gd name="connsiteY69" fmla="*/ 2667000 h 3680460"/>
                  <a:gd name="connsiteX70" fmla="*/ 2779395 w 3008034"/>
                  <a:gd name="connsiteY70" fmla="*/ 2484120 h 3680460"/>
                  <a:gd name="connsiteX71" fmla="*/ 2802255 w 3008034"/>
                  <a:gd name="connsiteY71" fmla="*/ 2407920 h 3680460"/>
                  <a:gd name="connsiteX72" fmla="*/ 2908935 w 3008034"/>
                  <a:gd name="connsiteY72" fmla="*/ 2049780 h 3680460"/>
                  <a:gd name="connsiteX73" fmla="*/ 2924175 w 3008034"/>
                  <a:gd name="connsiteY73" fmla="*/ 1844040 h 3680460"/>
                  <a:gd name="connsiteX74" fmla="*/ 2908935 w 3008034"/>
                  <a:gd name="connsiteY74" fmla="*/ 1470660 h 3680460"/>
                  <a:gd name="connsiteX75" fmla="*/ 2886075 w 3008034"/>
                  <a:gd name="connsiteY75" fmla="*/ 1371600 h 3680460"/>
                  <a:gd name="connsiteX76" fmla="*/ 2870835 w 3008034"/>
                  <a:gd name="connsiteY76" fmla="*/ 1341120 h 3680460"/>
                  <a:gd name="connsiteX77" fmla="*/ 2847975 w 3008034"/>
                  <a:gd name="connsiteY77" fmla="*/ 1272540 h 3680460"/>
                  <a:gd name="connsiteX78" fmla="*/ 2840355 w 3008034"/>
                  <a:gd name="connsiteY78" fmla="*/ 1234440 h 3680460"/>
                  <a:gd name="connsiteX79" fmla="*/ 2756535 w 3008034"/>
                  <a:gd name="connsiteY79" fmla="*/ 1089660 h 3680460"/>
                  <a:gd name="connsiteX80" fmla="*/ 2726055 w 3008034"/>
                  <a:gd name="connsiteY80" fmla="*/ 1043940 h 3680460"/>
                  <a:gd name="connsiteX81" fmla="*/ 2718435 w 3008034"/>
                  <a:gd name="connsiteY81" fmla="*/ 1021080 h 3680460"/>
                  <a:gd name="connsiteX82" fmla="*/ 2672715 w 3008034"/>
                  <a:gd name="connsiteY82" fmla="*/ 937260 h 3680460"/>
                  <a:gd name="connsiteX83" fmla="*/ 2649855 w 3008034"/>
                  <a:gd name="connsiteY83" fmla="*/ 876300 h 3680460"/>
                  <a:gd name="connsiteX84" fmla="*/ 2634615 w 3008034"/>
                  <a:gd name="connsiteY84" fmla="*/ 845820 h 3680460"/>
                  <a:gd name="connsiteX85" fmla="*/ 2611755 w 3008034"/>
                  <a:gd name="connsiteY85" fmla="*/ 800100 h 3680460"/>
                  <a:gd name="connsiteX86" fmla="*/ 2448878 w 3008034"/>
                  <a:gd name="connsiteY86" fmla="*/ 621983 h 3680460"/>
                  <a:gd name="connsiteX87" fmla="*/ 2291715 w 3008034"/>
                  <a:gd name="connsiteY87" fmla="*/ 458152 h 3680460"/>
                  <a:gd name="connsiteX88" fmla="*/ 2227898 w 3008034"/>
                  <a:gd name="connsiteY88" fmla="*/ 406717 h 3680460"/>
                  <a:gd name="connsiteX89" fmla="*/ 2093595 w 3008034"/>
                  <a:gd name="connsiteY89" fmla="*/ 312420 h 3680460"/>
                  <a:gd name="connsiteX90" fmla="*/ 2032635 w 3008034"/>
                  <a:gd name="connsiteY90" fmla="*/ 266700 h 3680460"/>
                  <a:gd name="connsiteX91" fmla="*/ 1994535 w 3008034"/>
                  <a:gd name="connsiteY91" fmla="*/ 251460 h 3680460"/>
                  <a:gd name="connsiteX92" fmla="*/ 1948815 w 3008034"/>
                  <a:gd name="connsiteY92" fmla="*/ 220980 h 3680460"/>
                  <a:gd name="connsiteX93" fmla="*/ 1887855 w 3008034"/>
                  <a:gd name="connsiteY93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834515 w 3008034"/>
                  <a:gd name="connsiteY2" fmla="*/ 137160 h 3680460"/>
                  <a:gd name="connsiteX3" fmla="*/ 1765935 w 3008034"/>
                  <a:gd name="connsiteY3" fmla="*/ 91440 h 3680460"/>
                  <a:gd name="connsiteX4" fmla="*/ 1750695 w 3008034"/>
                  <a:gd name="connsiteY4" fmla="*/ 68580 h 3680460"/>
                  <a:gd name="connsiteX5" fmla="*/ 1727835 w 3008034"/>
                  <a:gd name="connsiteY5" fmla="*/ 53340 h 3680460"/>
                  <a:gd name="connsiteX6" fmla="*/ 1720215 w 3008034"/>
                  <a:gd name="connsiteY6" fmla="*/ 16193 h 3680460"/>
                  <a:gd name="connsiteX7" fmla="*/ 1971675 w 3008034"/>
                  <a:gd name="connsiteY7" fmla="*/ 0 h 3680460"/>
                  <a:gd name="connsiteX8" fmla="*/ 2162175 w 3008034"/>
                  <a:gd name="connsiteY8" fmla="*/ 114300 h 3680460"/>
                  <a:gd name="connsiteX9" fmla="*/ 2276475 w 3008034"/>
                  <a:gd name="connsiteY9" fmla="*/ 190500 h 3680460"/>
                  <a:gd name="connsiteX10" fmla="*/ 2527935 w 3008034"/>
                  <a:gd name="connsiteY10" fmla="*/ 426720 h 3680460"/>
                  <a:gd name="connsiteX11" fmla="*/ 2543175 w 3008034"/>
                  <a:gd name="connsiteY11" fmla="*/ 449580 h 3680460"/>
                  <a:gd name="connsiteX12" fmla="*/ 2611755 w 3008034"/>
                  <a:gd name="connsiteY12" fmla="*/ 548640 h 3680460"/>
                  <a:gd name="connsiteX13" fmla="*/ 2665095 w 3008034"/>
                  <a:gd name="connsiteY13" fmla="*/ 609600 h 3680460"/>
                  <a:gd name="connsiteX14" fmla="*/ 2756535 w 3008034"/>
                  <a:gd name="connsiteY14" fmla="*/ 754380 h 3680460"/>
                  <a:gd name="connsiteX15" fmla="*/ 2809875 w 3008034"/>
                  <a:gd name="connsiteY15" fmla="*/ 830580 h 3680460"/>
                  <a:gd name="connsiteX16" fmla="*/ 2908935 w 3008034"/>
                  <a:gd name="connsiteY16" fmla="*/ 1036320 h 3680460"/>
                  <a:gd name="connsiteX17" fmla="*/ 2924175 w 3008034"/>
                  <a:gd name="connsiteY17" fmla="*/ 1074420 h 3680460"/>
                  <a:gd name="connsiteX18" fmla="*/ 2954655 w 3008034"/>
                  <a:gd name="connsiteY18" fmla="*/ 1203960 h 3680460"/>
                  <a:gd name="connsiteX19" fmla="*/ 2969895 w 3008034"/>
                  <a:gd name="connsiteY19" fmla="*/ 1264920 h 3680460"/>
                  <a:gd name="connsiteX20" fmla="*/ 2985135 w 3008034"/>
                  <a:gd name="connsiteY20" fmla="*/ 1348740 h 3680460"/>
                  <a:gd name="connsiteX21" fmla="*/ 3000375 w 3008034"/>
                  <a:gd name="connsiteY21" fmla="*/ 1432560 h 3680460"/>
                  <a:gd name="connsiteX22" fmla="*/ 3007995 w 3008034"/>
                  <a:gd name="connsiteY22" fmla="*/ 1684020 h 3680460"/>
                  <a:gd name="connsiteX23" fmla="*/ 3003233 w 3008034"/>
                  <a:gd name="connsiteY23" fmla="*/ 1990725 h 3680460"/>
                  <a:gd name="connsiteX24" fmla="*/ 2969895 w 3008034"/>
                  <a:gd name="connsiteY24" fmla="*/ 2194560 h 3680460"/>
                  <a:gd name="connsiteX25" fmla="*/ 2931795 w 3008034"/>
                  <a:gd name="connsiteY25" fmla="*/ 2324100 h 3680460"/>
                  <a:gd name="connsiteX26" fmla="*/ 2916555 w 3008034"/>
                  <a:gd name="connsiteY26" fmla="*/ 2392680 h 3680460"/>
                  <a:gd name="connsiteX27" fmla="*/ 2867978 w 3008034"/>
                  <a:gd name="connsiteY27" fmla="*/ 2521267 h 3680460"/>
                  <a:gd name="connsiteX28" fmla="*/ 2801303 w 3008034"/>
                  <a:gd name="connsiteY28" fmla="*/ 2656523 h 3680460"/>
                  <a:gd name="connsiteX29" fmla="*/ 2719387 w 3008034"/>
                  <a:gd name="connsiteY29" fmla="*/ 2818447 h 3680460"/>
                  <a:gd name="connsiteX30" fmla="*/ 2495550 w 3008034"/>
                  <a:gd name="connsiteY30" fmla="*/ 3084195 h 3680460"/>
                  <a:gd name="connsiteX31" fmla="*/ 2396490 w 3008034"/>
                  <a:gd name="connsiteY31" fmla="*/ 3185160 h 3680460"/>
                  <a:gd name="connsiteX32" fmla="*/ 2284095 w 3008034"/>
                  <a:gd name="connsiteY32" fmla="*/ 3284220 h 3680460"/>
                  <a:gd name="connsiteX33" fmla="*/ 2131695 w 3008034"/>
                  <a:gd name="connsiteY33" fmla="*/ 3390900 h 3680460"/>
                  <a:gd name="connsiteX34" fmla="*/ 2000250 w 3008034"/>
                  <a:gd name="connsiteY34" fmla="*/ 3448050 h 3680460"/>
                  <a:gd name="connsiteX35" fmla="*/ 1864995 w 3008034"/>
                  <a:gd name="connsiteY35" fmla="*/ 3512820 h 3680460"/>
                  <a:gd name="connsiteX36" fmla="*/ 1819275 w 3008034"/>
                  <a:gd name="connsiteY36" fmla="*/ 3520440 h 3680460"/>
                  <a:gd name="connsiteX37" fmla="*/ 1712595 w 3008034"/>
                  <a:gd name="connsiteY37" fmla="*/ 3550920 h 3680460"/>
                  <a:gd name="connsiteX38" fmla="*/ 1590675 w 3008034"/>
                  <a:gd name="connsiteY38" fmla="*/ 3589020 h 3680460"/>
                  <a:gd name="connsiteX39" fmla="*/ 1537335 w 3008034"/>
                  <a:gd name="connsiteY39" fmla="*/ 3611880 h 3680460"/>
                  <a:gd name="connsiteX40" fmla="*/ 1453515 w 3008034"/>
                  <a:gd name="connsiteY40" fmla="*/ 3627120 h 3680460"/>
                  <a:gd name="connsiteX41" fmla="*/ 1323975 w 3008034"/>
                  <a:gd name="connsiteY41" fmla="*/ 3657600 h 3680460"/>
                  <a:gd name="connsiteX42" fmla="*/ 1194435 w 3008034"/>
                  <a:gd name="connsiteY42" fmla="*/ 3672840 h 3680460"/>
                  <a:gd name="connsiteX43" fmla="*/ 1156335 w 3008034"/>
                  <a:gd name="connsiteY43" fmla="*/ 3680460 h 3680460"/>
                  <a:gd name="connsiteX44" fmla="*/ 625792 w 3008034"/>
                  <a:gd name="connsiteY44" fmla="*/ 3668078 h 3680460"/>
                  <a:gd name="connsiteX45" fmla="*/ 402908 w 3008034"/>
                  <a:gd name="connsiteY45" fmla="*/ 3614738 h 3680460"/>
                  <a:gd name="connsiteX46" fmla="*/ 266700 w 3008034"/>
                  <a:gd name="connsiteY46" fmla="*/ 3570922 h 3680460"/>
                  <a:gd name="connsiteX47" fmla="*/ 164782 w 3008034"/>
                  <a:gd name="connsiteY47" fmla="*/ 3515678 h 3680460"/>
                  <a:gd name="connsiteX48" fmla="*/ 31433 w 3008034"/>
                  <a:gd name="connsiteY48" fmla="*/ 3422333 h 3680460"/>
                  <a:gd name="connsiteX49" fmla="*/ 0 w 3008034"/>
                  <a:gd name="connsiteY49" fmla="*/ 3376613 h 3680460"/>
                  <a:gd name="connsiteX50" fmla="*/ 127635 w 3008034"/>
                  <a:gd name="connsiteY50" fmla="*/ 3360420 h 3680460"/>
                  <a:gd name="connsiteX51" fmla="*/ 158115 w 3008034"/>
                  <a:gd name="connsiteY51" fmla="*/ 3390900 h 3680460"/>
                  <a:gd name="connsiteX52" fmla="*/ 317183 w 3008034"/>
                  <a:gd name="connsiteY52" fmla="*/ 3450907 h 3680460"/>
                  <a:gd name="connsiteX53" fmla="*/ 485775 w 3008034"/>
                  <a:gd name="connsiteY53" fmla="*/ 3520440 h 3680460"/>
                  <a:gd name="connsiteX54" fmla="*/ 721995 w 3008034"/>
                  <a:gd name="connsiteY54" fmla="*/ 3558540 h 3680460"/>
                  <a:gd name="connsiteX55" fmla="*/ 1331595 w 3008034"/>
                  <a:gd name="connsiteY55" fmla="*/ 3550920 h 3680460"/>
                  <a:gd name="connsiteX56" fmla="*/ 1529715 w 3008034"/>
                  <a:gd name="connsiteY56" fmla="*/ 3520440 h 3680460"/>
                  <a:gd name="connsiteX57" fmla="*/ 1621155 w 3008034"/>
                  <a:gd name="connsiteY57" fmla="*/ 3497580 h 3680460"/>
                  <a:gd name="connsiteX58" fmla="*/ 1781175 w 3008034"/>
                  <a:gd name="connsiteY58" fmla="*/ 3451860 h 3680460"/>
                  <a:gd name="connsiteX59" fmla="*/ 1864995 w 3008034"/>
                  <a:gd name="connsiteY59" fmla="*/ 3421380 h 3680460"/>
                  <a:gd name="connsiteX60" fmla="*/ 1941195 w 3008034"/>
                  <a:gd name="connsiteY60" fmla="*/ 3390900 h 3680460"/>
                  <a:gd name="connsiteX61" fmla="*/ 2089785 w 3008034"/>
                  <a:gd name="connsiteY61" fmla="*/ 3308985 h 3680460"/>
                  <a:gd name="connsiteX62" fmla="*/ 2189797 w 3008034"/>
                  <a:gd name="connsiteY62" fmla="*/ 3251835 h 3680460"/>
                  <a:gd name="connsiteX63" fmla="*/ 2337435 w 3008034"/>
                  <a:gd name="connsiteY63" fmla="*/ 3154680 h 3680460"/>
                  <a:gd name="connsiteX64" fmla="*/ 2459355 w 3008034"/>
                  <a:gd name="connsiteY64" fmla="*/ 3009900 h 3680460"/>
                  <a:gd name="connsiteX65" fmla="*/ 2527935 w 3008034"/>
                  <a:gd name="connsiteY65" fmla="*/ 2926080 h 3680460"/>
                  <a:gd name="connsiteX66" fmla="*/ 2619375 w 3008034"/>
                  <a:gd name="connsiteY66" fmla="*/ 2811780 h 3680460"/>
                  <a:gd name="connsiteX67" fmla="*/ 2665095 w 3008034"/>
                  <a:gd name="connsiteY67" fmla="*/ 2727960 h 3680460"/>
                  <a:gd name="connsiteX68" fmla="*/ 2695575 w 3008034"/>
                  <a:gd name="connsiteY68" fmla="*/ 2667000 h 3680460"/>
                  <a:gd name="connsiteX69" fmla="*/ 2779395 w 3008034"/>
                  <a:gd name="connsiteY69" fmla="*/ 2484120 h 3680460"/>
                  <a:gd name="connsiteX70" fmla="*/ 2802255 w 3008034"/>
                  <a:gd name="connsiteY70" fmla="*/ 2407920 h 3680460"/>
                  <a:gd name="connsiteX71" fmla="*/ 2908935 w 3008034"/>
                  <a:gd name="connsiteY71" fmla="*/ 2049780 h 3680460"/>
                  <a:gd name="connsiteX72" fmla="*/ 2924175 w 3008034"/>
                  <a:gd name="connsiteY72" fmla="*/ 1844040 h 3680460"/>
                  <a:gd name="connsiteX73" fmla="*/ 2908935 w 3008034"/>
                  <a:gd name="connsiteY73" fmla="*/ 1470660 h 3680460"/>
                  <a:gd name="connsiteX74" fmla="*/ 2886075 w 3008034"/>
                  <a:gd name="connsiteY74" fmla="*/ 1371600 h 3680460"/>
                  <a:gd name="connsiteX75" fmla="*/ 2870835 w 3008034"/>
                  <a:gd name="connsiteY75" fmla="*/ 1341120 h 3680460"/>
                  <a:gd name="connsiteX76" fmla="*/ 2847975 w 3008034"/>
                  <a:gd name="connsiteY76" fmla="*/ 1272540 h 3680460"/>
                  <a:gd name="connsiteX77" fmla="*/ 2840355 w 3008034"/>
                  <a:gd name="connsiteY77" fmla="*/ 1234440 h 3680460"/>
                  <a:gd name="connsiteX78" fmla="*/ 2756535 w 3008034"/>
                  <a:gd name="connsiteY78" fmla="*/ 1089660 h 3680460"/>
                  <a:gd name="connsiteX79" fmla="*/ 2726055 w 3008034"/>
                  <a:gd name="connsiteY79" fmla="*/ 1043940 h 3680460"/>
                  <a:gd name="connsiteX80" fmla="*/ 2718435 w 3008034"/>
                  <a:gd name="connsiteY80" fmla="*/ 1021080 h 3680460"/>
                  <a:gd name="connsiteX81" fmla="*/ 2672715 w 3008034"/>
                  <a:gd name="connsiteY81" fmla="*/ 937260 h 3680460"/>
                  <a:gd name="connsiteX82" fmla="*/ 2649855 w 3008034"/>
                  <a:gd name="connsiteY82" fmla="*/ 876300 h 3680460"/>
                  <a:gd name="connsiteX83" fmla="*/ 2634615 w 3008034"/>
                  <a:gd name="connsiteY83" fmla="*/ 845820 h 3680460"/>
                  <a:gd name="connsiteX84" fmla="*/ 2611755 w 3008034"/>
                  <a:gd name="connsiteY84" fmla="*/ 800100 h 3680460"/>
                  <a:gd name="connsiteX85" fmla="*/ 2448878 w 3008034"/>
                  <a:gd name="connsiteY85" fmla="*/ 621983 h 3680460"/>
                  <a:gd name="connsiteX86" fmla="*/ 2291715 w 3008034"/>
                  <a:gd name="connsiteY86" fmla="*/ 458152 h 3680460"/>
                  <a:gd name="connsiteX87" fmla="*/ 2227898 w 3008034"/>
                  <a:gd name="connsiteY87" fmla="*/ 406717 h 3680460"/>
                  <a:gd name="connsiteX88" fmla="*/ 2093595 w 3008034"/>
                  <a:gd name="connsiteY88" fmla="*/ 312420 h 3680460"/>
                  <a:gd name="connsiteX89" fmla="*/ 2032635 w 3008034"/>
                  <a:gd name="connsiteY89" fmla="*/ 266700 h 3680460"/>
                  <a:gd name="connsiteX90" fmla="*/ 1994535 w 3008034"/>
                  <a:gd name="connsiteY90" fmla="*/ 251460 h 3680460"/>
                  <a:gd name="connsiteX91" fmla="*/ 1948815 w 3008034"/>
                  <a:gd name="connsiteY91" fmla="*/ 220980 h 3680460"/>
                  <a:gd name="connsiteX92" fmla="*/ 1887855 w 3008034"/>
                  <a:gd name="connsiteY92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7835 w 3008034"/>
                  <a:gd name="connsiteY4" fmla="*/ 53340 h 3680460"/>
                  <a:gd name="connsiteX5" fmla="*/ 1720215 w 3008034"/>
                  <a:gd name="connsiteY5" fmla="*/ 16193 h 3680460"/>
                  <a:gd name="connsiteX6" fmla="*/ 1971675 w 3008034"/>
                  <a:gd name="connsiteY6" fmla="*/ 0 h 3680460"/>
                  <a:gd name="connsiteX7" fmla="*/ 2162175 w 3008034"/>
                  <a:gd name="connsiteY7" fmla="*/ 114300 h 3680460"/>
                  <a:gd name="connsiteX8" fmla="*/ 2276475 w 3008034"/>
                  <a:gd name="connsiteY8" fmla="*/ 190500 h 3680460"/>
                  <a:gd name="connsiteX9" fmla="*/ 2527935 w 3008034"/>
                  <a:gd name="connsiteY9" fmla="*/ 426720 h 3680460"/>
                  <a:gd name="connsiteX10" fmla="*/ 2543175 w 3008034"/>
                  <a:gd name="connsiteY10" fmla="*/ 449580 h 3680460"/>
                  <a:gd name="connsiteX11" fmla="*/ 2611755 w 3008034"/>
                  <a:gd name="connsiteY11" fmla="*/ 548640 h 3680460"/>
                  <a:gd name="connsiteX12" fmla="*/ 2665095 w 3008034"/>
                  <a:gd name="connsiteY12" fmla="*/ 609600 h 3680460"/>
                  <a:gd name="connsiteX13" fmla="*/ 2756535 w 3008034"/>
                  <a:gd name="connsiteY13" fmla="*/ 754380 h 3680460"/>
                  <a:gd name="connsiteX14" fmla="*/ 2809875 w 3008034"/>
                  <a:gd name="connsiteY14" fmla="*/ 830580 h 3680460"/>
                  <a:gd name="connsiteX15" fmla="*/ 2908935 w 3008034"/>
                  <a:gd name="connsiteY15" fmla="*/ 1036320 h 3680460"/>
                  <a:gd name="connsiteX16" fmla="*/ 2924175 w 3008034"/>
                  <a:gd name="connsiteY16" fmla="*/ 1074420 h 3680460"/>
                  <a:gd name="connsiteX17" fmla="*/ 2954655 w 3008034"/>
                  <a:gd name="connsiteY17" fmla="*/ 1203960 h 3680460"/>
                  <a:gd name="connsiteX18" fmla="*/ 2969895 w 3008034"/>
                  <a:gd name="connsiteY18" fmla="*/ 1264920 h 3680460"/>
                  <a:gd name="connsiteX19" fmla="*/ 2985135 w 3008034"/>
                  <a:gd name="connsiteY19" fmla="*/ 1348740 h 3680460"/>
                  <a:gd name="connsiteX20" fmla="*/ 3000375 w 3008034"/>
                  <a:gd name="connsiteY20" fmla="*/ 1432560 h 3680460"/>
                  <a:gd name="connsiteX21" fmla="*/ 3007995 w 3008034"/>
                  <a:gd name="connsiteY21" fmla="*/ 1684020 h 3680460"/>
                  <a:gd name="connsiteX22" fmla="*/ 3003233 w 3008034"/>
                  <a:gd name="connsiteY22" fmla="*/ 1990725 h 3680460"/>
                  <a:gd name="connsiteX23" fmla="*/ 2969895 w 3008034"/>
                  <a:gd name="connsiteY23" fmla="*/ 2194560 h 3680460"/>
                  <a:gd name="connsiteX24" fmla="*/ 2931795 w 3008034"/>
                  <a:gd name="connsiteY24" fmla="*/ 2324100 h 3680460"/>
                  <a:gd name="connsiteX25" fmla="*/ 2916555 w 3008034"/>
                  <a:gd name="connsiteY25" fmla="*/ 2392680 h 3680460"/>
                  <a:gd name="connsiteX26" fmla="*/ 2867978 w 3008034"/>
                  <a:gd name="connsiteY26" fmla="*/ 2521267 h 3680460"/>
                  <a:gd name="connsiteX27" fmla="*/ 2801303 w 3008034"/>
                  <a:gd name="connsiteY27" fmla="*/ 2656523 h 3680460"/>
                  <a:gd name="connsiteX28" fmla="*/ 2719387 w 3008034"/>
                  <a:gd name="connsiteY28" fmla="*/ 2818447 h 3680460"/>
                  <a:gd name="connsiteX29" fmla="*/ 2495550 w 3008034"/>
                  <a:gd name="connsiteY29" fmla="*/ 3084195 h 3680460"/>
                  <a:gd name="connsiteX30" fmla="*/ 2396490 w 3008034"/>
                  <a:gd name="connsiteY30" fmla="*/ 3185160 h 3680460"/>
                  <a:gd name="connsiteX31" fmla="*/ 2284095 w 3008034"/>
                  <a:gd name="connsiteY31" fmla="*/ 3284220 h 3680460"/>
                  <a:gd name="connsiteX32" fmla="*/ 2131695 w 3008034"/>
                  <a:gd name="connsiteY32" fmla="*/ 3390900 h 3680460"/>
                  <a:gd name="connsiteX33" fmla="*/ 2000250 w 3008034"/>
                  <a:gd name="connsiteY33" fmla="*/ 3448050 h 3680460"/>
                  <a:gd name="connsiteX34" fmla="*/ 1864995 w 3008034"/>
                  <a:gd name="connsiteY34" fmla="*/ 3512820 h 3680460"/>
                  <a:gd name="connsiteX35" fmla="*/ 1819275 w 3008034"/>
                  <a:gd name="connsiteY35" fmla="*/ 3520440 h 3680460"/>
                  <a:gd name="connsiteX36" fmla="*/ 1712595 w 3008034"/>
                  <a:gd name="connsiteY36" fmla="*/ 3550920 h 3680460"/>
                  <a:gd name="connsiteX37" fmla="*/ 1590675 w 3008034"/>
                  <a:gd name="connsiteY37" fmla="*/ 3589020 h 3680460"/>
                  <a:gd name="connsiteX38" fmla="*/ 1537335 w 3008034"/>
                  <a:gd name="connsiteY38" fmla="*/ 3611880 h 3680460"/>
                  <a:gd name="connsiteX39" fmla="*/ 1453515 w 3008034"/>
                  <a:gd name="connsiteY39" fmla="*/ 3627120 h 3680460"/>
                  <a:gd name="connsiteX40" fmla="*/ 1323975 w 3008034"/>
                  <a:gd name="connsiteY40" fmla="*/ 3657600 h 3680460"/>
                  <a:gd name="connsiteX41" fmla="*/ 1194435 w 3008034"/>
                  <a:gd name="connsiteY41" fmla="*/ 3672840 h 3680460"/>
                  <a:gd name="connsiteX42" fmla="*/ 1156335 w 3008034"/>
                  <a:gd name="connsiteY42" fmla="*/ 3680460 h 3680460"/>
                  <a:gd name="connsiteX43" fmla="*/ 625792 w 3008034"/>
                  <a:gd name="connsiteY43" fmla="*/ 3668078 h 3680460"/>
                  <a:gd name="connsiteX44" fmla="*/ 402908 w 3008034"/>
                  <a:gd name="connsiteY44" fmla="*/ 3614738 h 3680460"/>
                  <a:gd name="connsiteX45" fmla="*/ 266700 w 3008034"/>
                  <a:gd name="connsiteY45" fmla="*/ 3570922 h 3680460"/>
                  <a:gd name="connsiteX46" fmla="*/ 164782 w 3008034"/>
                  <a:gd name="connsiteY46" fmla="*/ 3515678 h 3680460"/>
                  <a:gd name="connsiteX47" fmla="*/ 31433 w 3008034"/>
                  <a:gd name="connsiteY47" fmla="*/ 3422333 h 3680460"/>
                  <a:gd name="connsiteX48" fmla="*/ 0 w 3008034"/>
                  <a:gd name="connsiteY48" fmla="*/ 3376613 h 3680460"/>
                  <a:gd name="connsiteX49" fmla="*/ 127635 w 3008034"/>
                  <a:gd name="connsiteY49" fmla="*/ 3360420 h 3680460"/>
                  <a:gd name="connsiteX50" fmla="*/ 158115 w 3008034"/>
                  <a:gd name="connsiteY50" fmla="*/ 3390900 h 3680460"/>
                  <a:gd name="connsiteX51" fmla="*/ 317183 w 3008034"/>
                  <a:gd name="connsiteY51" fmla="*/ 3450907 h 3680460"/>
                  <a:gd name="connsiteX52" fmla="*/ 485775 w 3008034"/>
                  <a:gd name="connsiteY52" fmla="*/ 3520440 h 3680460"/>
                  <a:gd name="connsiteX53" fmla="*/ 721995 w 3008034"/>
                  <a:gd name="connsiteY53" fmla="*/ 3558540 h 3680460"/>
                  <a:gd name="connsiteX54" fmla="*/ 1331595 w 3008034"/>
                  <a:gd name="connsiteY54" fmla="*/ 3550920 h 3680460"/>
                  <a:gd name="connsiteX55" fmla="*/ 1529715 w 3008034"/>
                  <a:gd name="connsiteY55" fmla="*/ 3520440 h 3680460"/>
                  <a:gd name="connsiteX56" fmla="*/ 1621155 w 3008034"/>
                  <a:gd name="connsiteY56" fmla="*/ 3497580 h 3680460"/>
                  <a:gd name="connsiteX57" fmla="*/ 1781175 w 3008034"/>
                  <a:gd name="connsiteY57" fmla="*/ 3451860 h 3680460"/>
                  <a:gd name="connsiteX58" fmla="*/ 1864995 w 3008034"/>
                  <a:gd name="connsiteY58" fmla="*/ 3421380 h 3680460"/>
                  <a:gd name="connsiteX59" fmla="*/ 1941195 w 3008034"/>
                  <a:gd name="connsiteY59" fmla="*/ 3390900 h 3680460"/>
                  <a:gd name="connsiteX60" fmla="*/ 2089785 w 3008034"/>
                  <a:gd name="connsiteY60" fmla="*/ 3308985 h 3680460"/>
                  <a:gd name="connsiteX61" fmla="*/ 2189797 w 3008034"/>
                  <a:gd name="connsiteY61" fmla="*/ 3251835 h 3680460"/>
                  <a:gd name="connsiteX62" fmla="*/ 2337435 w 3008034"/>
                  <a:gd name="connsiteY62" fmla="*/ 3154680 h 3680460"/>
                  <a:gd name="connsiteX63" fmla="*/ 2459355 w 3008034"/>
                  <a:gd name="connsiteY63" fmla="*/ 3009900 h 3680460"/>
                  <a:gd name="connsiteX64" fmla="*/ 2527935 w 3008034"/>
                  <a:gd name="connsiteY64" fmla="*/ 2926080 h 3680460"/>
                  <a:gd name="connsiteX65" fmla="*/ 2619375 w 3008034"/>
                  <a:gd name="connsiteY65" fmla="*/ 2811780 h 3680460"/>
                  <a:gd name="connsiteX66" fmla="*/ 2665095 w 3008034"/>
                  <a:gd name="connsiteY66" fmla="*/ 2727960 h 3680460"/>
                  <a:gd name="connsiteX67" fmla="*/ 2695575 w 3008034"/>
                  <a:gd name="connsiteY67" fmla="*/ 2667000 h 3680460"/>
                  <a:gd name="connsiteX68" fmla="*/ 2779395 w 3008034"/>
                  <a:gd name="connsiteY68" fmla="*/ 2484120 h 3680460"/>
                  <a:gd name="connsiteX69" fmla="*/ 2802255 w 3008034"/>
                  <a:gd name="connsiteY69" fmla="*/ 2407920 h 3680460"/>
                  <a:gd name="connsiteX70" fmla="*/ 2908935 w 3008034"/>
                  <a:gd name="connsiteY70" fmla="*/ 2049780 h 3680460"/>
                  <a:gd name="connsiteX71" fmla="*/ 2924175 w 3008034"/>
                  <a:gd name="connsiteY71" fmla="*/ 1844040 h 3680460"/>
                  <a:gd name="connsiteX72" fmla="*/ 2908935 w 3008034"/>
                  <a:gd name="connsiteY72" fmla="*/ 1470660 h 3680460"/>
                  <a:gd name="connsiteX73" fmla="*/ 2886075 w 3008034"/>
                  <a:gd name="connsiteY73" fmla="*/ 1371600 h 3680460"/>
                  <a:gd name="connsiteX74" fmla="*/ 2870835 w 3008034"/>
                  <a:gd name="connsiteY74" fmla="*/ 1341120 h 3680460"/>
                  <a:gd name="connsiteX75" fmla="*/ 2847975 w 3008034"/>
                  <a:gd name="connsiteY75" fmla="*/ 1272540 h 3680460"/>
                  <a:gd name="connsiteX76" fmla="*/ 2840355 w 3008034"/>
                  <a:gd name="connsiteY76" fmla="*/ 1234440 h 3680460"/>
                  <a:gd name="connsiteX77" fmla="*/ 2756535 w 3008034"/>
                  <a:gd name="connsiteY77" fmla="*/ 1089660 h 3680460"/>
                  <a:gd name="connsiteX78" fmla="*/ 2726055 w 3008034"/>
                  <a:gd name="connsiteY78" fmla="*/ 1043940 h 3680460"/>
                  <a:gd name="connsiteX79" fmla="*/ 2718435 w 3008034"/>
                  <a:gd name="connsiteY79" fmla="*/ 1021080 h 3680460"/>
                  <a:gd name="connsiteX80" fmla="*/ 2672715 w 3008034"/>
                  <a:gd name="connsiteY80" fmla="*/ 937260 h 3680460"/>
                  <a:gd name="connsiteX81" fmla="*/ 2649855 w 3008034"/>
                  <a:gd name="connsiteY81" fmla="*/ 876300 h 3680460"/>
                  <a:gd name="connsiteX82" fmla="*/ 2634615 w 3008034"/>
                  <a:gd name="connsiteY82" fmla="*/ 845820 h 3680460"/>
                  <a:gd name="connsiteX83" fmla="*/ 2611755 w 3008034"/>
                  <a:gd name="connsiteY83" fmla="*/ 800100 h 3680460"/>
                  <a:gd name="connsiteX84" fmla="*/ 2448878 w 3008034"/>
                  <a:gd name="connsiteY84" fmla="*/ 621983 h 3680460"/>
                  <a:gd name="connsiteX85" fmla="*/ 2291715 w 3008034"/>
                  <a:gd name="connsiteY85" fmla="*/ 458152 h 3680460"/>
                  <a:gd name="connsiteX86" fmla="*/ 2227898 w 3008034"/>
                  <a:gd name="connsiteY86" fmla="*/ 406717 h 3680460"/>
                  <a:gd name="connsiteX87" fmla="*/ 2093595 w 3008034"/>
                  <a:gd name="connsiteY87" fmla="*/ 312420 h 3680460"/>
                  <a:gd name="connsiteX88" fmla="*/ 2032635 w 3008034"/>
                  <a:gd name="connsiteY88" fmla="*/ 266700 h 3680460"/>
                  <a:gd name="connsiteX89" fmla="*/ 1994535 w 3008034"/>
                  <a:gd name="connsiteY89" fmla="*/ 251460 h 3680460"/>
                  <a:gd name="connsiteX90" fmla="*/ 1948815 w 3008034"/>
                  <a:gd name="connsiteY90" fmla="*/ 220980 h 3680460"/>
                  <a:gd name="connsiteX91" fmla="*/ 1887855 w 3008034"/>
                  <a:gd name="connsiteY91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7835 w 3008034"/>
                  <a:gd name="connsiteY4" fmla="*/ 53340 h 3680460"/>
                  <a:gd name="connsiteX5" fmla="*/ 1720215 w 3008034"/>
                  <a:gd name="connsiteY5" fmla="*/ 16193 h 3680460"/>
                  <a:gd name="connsiteX6" fmla="*/ 1971675 w 3008034"/>
                  <a:gd name="connsiteY6" fmla="*/ 0 h 3680460"/>
                  <a:gd name="connsiteX7" fmla="*/ 2162175 w 3008034"/>
                  <a:gd name="connsiteY7" fmla="*/ 114300 h 3680460"/>
                  <a:gd name="connsiteX8" fmla="*/ 2276475 w 3008034"/>
                  <a:gd name="connsiteY8" fmla="*/ 190500 h 3680460"/>
                  <a:gd name="connsiteX9" fmla="*/ 2527935 w 3008034"/>
                  <a:gd name="connsiteY9" fmla="*/ 426720 h 3680460"/>
                  <a:gd name="connsiteX10" fmla="*/ 2543175 w 3008034"/>
                  <a:gd name="connsiteY10" fmla="*/ 449580 h 3680460"/>
                  <a:gd name="connsiteX11" fmla="*/ 2611755 w 3008034"/>
                  <a:gd name="connsiteY11" fmla="*/ 548640 h 3680460"/>
                  <a:gd name="connsiteX12" fmla="*/ 2665095 w 3008034"/>
                  <a:gd name="connsiteY12" fmla="*/ 609600 h 3680460"/>
                  <a:gd name="connsiteX13" fmla="*/ 2756535 w 3008034"/>
                  <a:gd name="connsiteY13" fmla="*/ 754380 h 3680460"/>
                  <a:gd name="connsiteX14" fmla="*/ 2809875 w 3008034"/>
                  <a:gd name="connsiteY14" fmla="*/ 830580 h 3680460"/>
                  <a:gd name="connsiteX15" fmla="*/ 2908935 w 3008034"/>
                  <a:gd name="connsiteY15" fmla="*/ 1036320 h 3680460"/>
                  <a:gd name="connsiteX16" fmla="*/ 2924175 w 3008034"/>
                  <a:gd name="connsiteY16" fmla="*/ 1074420 h 3680460"/>
                  <a:gd name="connsiteX17" fmla="*/ 2954655 w 3008034"/>
                  <a:gd name="connsiteY17" fmla="*/ 1203960 h 3680460"/>
                  <a:gd name="connsiteX18" fmla="*/ 2969895 w 3008034"/>
                  <a:gd name="connsiteY18" fmla="*/ 1264920 h 3680460"/>
                  <a:gd name="connsiteX19" fmla="*/ 2985135 w 3008034"/>
                  <a:gd name="connsiteY19" fmla="*/ 1348740 h 3680460"/>
                  <a:gd name="connsiteX20" fmla="*/ 3000375 w 3008034"/>
                  <a:gd name="connsiteY20" fmla="*/ 1432560 h 3680460"/>
                  <a:gd name="connsiteX21" fmla="*/ 3007995 w 3008034"/>
                  <a:gd name="connsiteY21" fmla="*/ 1684020 h 3680460"/>
                  <a:gd name="connsiteX22" fmla="*/ 3003233 w 3008034"/>
                  <a:gd name="connsiteY22" fmla="*/ 1990725 h 3680460"/>
                  <a:gd name="connsiteX23" fmla="*/ 2969895 w 3008034"/>
                  <a:gd name="connsiteY23" fmla="*/ 2194560 h 3680460"/>
                  <a:gd name="connsiteX24" fmla="*/ 2931795 w 3008034"/>
                  <a:gd name="connsiteY24" fmla="*/ 2324100 h 3680460"/>
                  <a:gd name="connsiteX25" fmla="*/ 2916555 w 3008034"/>
                  <a:gd name="connsiteY25" fmla="*/ 2392680 h 3680460"/>
                  <a:gd name="connsiteX26" fmla="*/ 2867978 w 3008034"/>
                  <a:gd name="connsiteY26" fmla="*/ 2521267 h 3680460"/>
                  <a:gd name="connsiteX27" fmla="*/ 2801303 w 3008034"/>
                  <a:gd name="connsiteY27" fmla="*/ 2656523 h 3680460"/>
                  <a:gd name="connsiteX28" fmla="*/ 2719387 w 3008034"/>
                  <a:gd name="connsiteY28" fmla="*/ 2818447 h 3680460"/>
                  <a:gd name="connsiteX29" fmla="*/ 2495550 w 3008034"/>
                  <a:gd name="connsiteY29" fmla="*/ 3084195 h 3680460"/>
                  <a:gd name="connsiteX30" fmla="*/ 2396490 w 3008034"/>
                  <a:gd name="connsiteY30" fmla="*/ 3185160 h 3680460"/>
                  <a:gd name="connsiteX31" fmla="*/ 2284095 w 3008034"/>
                  <a:gd name="connsiteY31" fmla="*/ 3284220 h 3680460"/>
                  <a:gd name="connsiteX32" fmla="*/ 2131695 w 3008034"/>
                  <a:gd name="connsiteY32" fmla="*/ 3390900 h 3680460"/>
                  <a:gd name="connsiteX33" fmla="*/ 2000250 w 3008034"/>
                  <a:gd name="connsiteY33" fmla="*/ 3448050 h 3680460"/>
                  <a:gd name="connsiteX34" fmla="*/ 1864995 w 3008034"/>
                  <a:gd name="connsiteY34" fmla="*/ 3512820 h 3680460"/>
                  <a:gd name="connsiteX35" fmla="*/ 1819275 w 3008034"/>
                  <a:gd name="connsiteY35" fmla="*/ 3520440 h 3680460"/>
                  <a:gd name="connsiteX36" fmla="*/ 1712595 w 3008034"/>
                  <a:gd name="connsiteY36" fmla="*/ 3550920 h 3680460"/>
                  <a:gd name="connsiteX37" fmla="*/ 1590675 w 3008034"/>
                  <a:gd name="connsiteY37" fmla="*/ 3589020 h 3680460"/>
                  <a:gd name="connsiteX38" fmla="*/ 1537335 w 3008034"/>
                  <a:gd name="connsiteY38" fmla="*/ 3611880 h 3680460"/>
                  <a:gd name="connsiteX39" fmla="*/ 1453515 w 3008034"/>
                  <a:gd name="connsiteY39" fmla="*/ 3627120 h 3680460"/>
                  <a:gd name="connsiteX40" fmla="*/ 1323975 w 3008034"/>
                  <a:gd name="connsiteY40" fmla="*/ 3657600 h 3680460"/>
                  <a:gd name="connsiteX41" fmla="*/ 1194435 w 3008034"/>
                  <a:gd name="connsiteY41" fmla="*/ 3672840 h 3680460"/>
                  <a:gd name="connsiteX42" fmla="*/ 1156335 w 3008034"/>
                  <a:gd name="connsiteY42" fmla="*/ 3680460 h 3680460"/>
                  <a:gd name="connsiteX43" fmla="*/ 625792 w 3008034"/>
                  <a:gd name="connsiteY43" fmla="*/ 3668078 h 3680460"/>
                  <a:gd name="connsiteX44" fmla="*/ 402908 w 3008034"/>
                  <a:gd name="connsiteY44" fmla="*/ 3614738 h 3680460"/>
                  <a:gd name="connsiteX45" fmla="*/ 266700 w 3008034"/>
                  <a:gd name="connsiteY45" fmla="*/ 3570922 h 3680460"/>
                  <a:gd name="connsiteX46" fmla="*/ 164782 w 3008034"/>
                  <a:gd name="connsiteY46" fmla="*/ 3515678 h 3680460"/>
                  <a:gd name="connsiteX47" fmla="*/ 31433 w 3008034"/>
                  <a:gd name="connsiteY47" fmla="*/ 3422333 h 3680460"/>
                  <a:gd name="connsiteX48" fmla="*/ 0 w 3008034"/>
                  <a:gd name="connsiteY48" fmla="*/ 3376613 h 3680460"/>
                  <a:gd name="connsiteX49" fmla="*/ 127635 w 3008034"/>
                  <a:gd name="connsiteY49" fmla="*/ 3360420 h 3680460"/>
                  <a:gd name="connsiteX50" fmla="*/ 158115 w 3008034"/>
                  <a:gd name="connsiteY50" fmla="*/ 3390900 h 3680460"/>
                  <a:gd name="connsiteX51" fmla="*/ 317183 w 3008034"/>
                  <a:gd name="connsiteY51" fmla="*/ 3450907 h 3680460"/>
                  <a:gd name="connsiteX52" fmla="*/ 485775 w 3008034"/>
                  <a:gd name="connsiteY52" fmla="*/ 3520440 h 3680460"/>
                  <a:gd name="connsiteX53" fmla="*/ 721995 w 3008034"/>
                  <a:gd name="connsiteY53" fmla="*/ 3558540 h 3680460"/>
                  <a:gd name="connsiteX54" fmla="*/ 1331595 w 3008034"/>
                  <a:gd name="connsiteY54" fmla="*/ 3550920 h 3680460"/>
                  <a:gd name="connsiteX55" fmla="*/ 1529715 w 3008034"/>
                  <a:gd name="connsiteY55" fmla="*/ 3520440 h 3680460"/>
                  <a:gd name="connsiteX56" fmla="*/ 1621155 w 3008034"/>
                  <a:gd name="connsiteY56" fmla="*/ 3497580 h 3680460"/>
                  <a:gd name="connsiteX57" fmla="*/ 1781175 w 3008034"/>
                  <a:gd name="connsiteY57" fmla="*/ 3451860 h 3680460"/>
                  <a:gd name="connsiteX58" fmla="*/ 1864995 w 3008034"/>
                  <a:gd name="connsiteY58" fmla="*/ 3421380 h 3680460"/>
                  <a:gd name="connsiteX59" fmla="*/ 1941195 w 3008034"/>
                  <a:gd name="connsiteY59" fmla="*/ 3390900 h 3680460"/>
                  <a:gd name="connsiteX60" fmla="*/ 2089785 w 3008034"/>
                  <a:gd name="connsiteY60" fmla="*/ 3308985 h 3680460"/>
                  <a:gd name="connsiteX61" fmla="*/ 2189797 w 3008034"/>
                  <a:gd name="connsiteY61" fmla="*/ 3251835 h 3680460"/>
                  <a:gd name="connsiteX62" fmla="*/ 2337435 w 3008034"/>
                  <a:gd name="connsiteY62" fmla="*/ 3154680 h 3680460"/>
                  <a:gd name="connsiteX63" fmla="*/ 2459355 w 3008034"/>
                  <a:gd name="connsiteY63" fmla="*/ 3009900 h 3680460"/>
                  <a:gd name="connsiteX64" fmla="*/ 2527935 w 3008034"/>
                  <a:gd name="connsiteY64" fmla="*/ 2926080 h 3680460"/>
                  <a:gd name="connsiteX65" fmla="*/ 2619375 w 3008034"/>
                  <a:gd name="connsiteY65" fmla="*/ 2811780 h 3680460"/>
                  <a:gd name="connsiteX66" fmla="*/ 2665095 w 3008034"/>
                  <a:gd name="connsiteY66" fmla="*/ 2727960 h 3680460"/>
                  <a:gd name="connsiteX67" fmla="*/ 2695575 w 3008034"/>
                  <a:gd name="connsiteY67" fmla="*/ 2667000 h 3680460"/>
                  <a:gd name="connsiteX68" fmla="*/ 2779395 w 3008034"/>
                  <a:gd name="connsiteY68" fmla="*/ 2484120 h 3680460"/>
                  <a:gd name="connsiteX69" fmla="*/ 2802255 w 3008034"/>
                  <a:gd name="connsiteY69" fmla="*/ 2407920 h 3680460"/>
                  <a:gd name="connsiteX70" fmla="*/ 2908935 w 3008034"/>
                  <a:gd name="connsiteY70" fmla="*/ 2049780 h 3680460"/>
                  <a:gd name="connsiteX71" fmla="*/ 2924175 w 3008034"/>
                  <a:gd name="connsiteY71" fmla="*/ 1844040 h 3680460"/>
                  <a:gd name="connsiteX72" fmla="*/ 2908935 w 3008034"/>
                  <a:gd name="connsiteY72" fmla="*/ 1470660 h 3680460"/>
                  <a:gd name="connsiteX73" fmla="*/ 2886075 w 3008034"/>
                  <a:gd name="connsiteY73" fmla="*/ 1371600 h 3680460"/>
                  <a:gd name="connsiteX74" fmla="*/ 2870835 w 3008034"/>
                  <a:gd name="connsiteY74" fmla="*/ 1341120 h 3680460"/>
                  <a:gd name="connsiteX75" fmla="*/ 2847975 w 3008034"/>
                  <a:gd name="connsiteY75" fmla="*/ 1272540 h 3680460"/>
                  <a:gd name="connsiteX76" fmla="*/ 2840355 w 3008034"/>
                  <a:gd name="connsiteY76" fmla="*/ 1234440 h 3680460"/>
                  <a:gd name="connsiteX77" fmla="*/ 2756535 w 3008034"/>
                  <a:gd name="connsiteY77" fmla="*/ 1089660 h 3680460"/>
                  <a:gd name="connsiteX78" fmla="*/ 2726055 w 3008034"/>
                  <a:gd name="connsiteY78" fmla="*/ 1043940 h 3680460"/>
                  <a:gd name="connsiteX79" fmla="*/ 2718435 w 3008034"/>
                  <a:gd name="connsiteY79" fmla="*/ 1021080 h 3680460"/>
                  <a:gd name="connsiteX80" fmla="*/ 2672715 w 3008034"/>
                  <a:gd name="connsiteY80" fmla="*/ 937260 h 3680460"/>
                  <a:gd name="connsiteX81" fmla="*/ 2649855 w 3008034"/>
                  <a:gd name="connsiteY81" fmla="*/ 876300 h 3680460"/>
                  <a:gd name="connsiteX82" fmla="*/ 2634615 w 3008034"/>
                  <a:gd name="connsiteY82" fmla="*/ 845820 h 3680460"/>
                  <a:gd name="connsiteX83" fmla="*/ 2611755 w 3008034"/>
                  <a:gd name="connsiteY83" fmla="*/ 800100 h 3680460"/>
                  <a:gd name="connsiteX84" fmla="*/ 2448878 w 3008034"/>
                  <a:gd name="connsiteY84" fmla="*/ 621983 h 3680460"/>
                  <a:gd name="connsiteX85" fmla="*/ 2291715 w 3008034"/>
                  <a:gd name="connsiteY85" fmla="*/ 458152 h 3680460"/>
                  <a:gd name="connsiteX86" fmla="*/ 2227898 w 3008034"/>
                  <a:gd name="connsiteY86" fmla="*/ 406717 h 3680460"/>
                  <a:gd name="connsiteX87" fmla="*/ 2093595 w 3008034"/>
                  <a:gd name="connsiteY87" fmla="*/ 312420 h 3680460"/>
                  <a:gd name="connsiteX88" fmla="*/ 2032635 w 3008034"/>
                  <a:gd name="connsiteY88" fmla="*/ 266700 h 3680460"/>
                  <a:gd name="connsiteX89" fmla="*/ 1994535 w 3008034"/>
                  <a:gd name="connsiteY89" fmla="*/ 251460 h 3680460"/>
                  <a:gd name="connsiteX90" fmla="*/ 1887855 w 3008034"/>
                  <a:gd name="connsiteY90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49855 w 3008034"/>
                  <a:gd name="connsiteY80" fmla="*/ 876300 h 3680460"/>
                  <a:gd name="connsiteX81" fmla="*/ 2634615 w 3008034"/>
                  <a:gd name="connsiteY81" fmla="*/ 845820 h 3680460"/>
                  <a:gd name="connsiteX82" fmla="*/ 2611755 w 3008034"/>
                  <a:gd name="connsiteY82" fmla="*/ 800100 h 3680460"/>
                  <a:gd name="connsiteX83" fmla="*/ 2448878 w 3008034"/>
                  <a:gd name="connsiteY83" fmla="*/ 621983 h 3680460"/>
                  <a:gd name="connsiteX84" fmla="*/ 2291715 w 3008034"/>
                  <a:gd name="connsiteY84" fmla="*/ 458152 h 3680460"/>
                  <a:gd name="connsiteX85" fmla="*/ 2227898 w 3008034"/>
                  <a:gd name="connsiteY85" fmla="*/ 406717 h 3680460"/>
                  <a:gd name="connsiteX86" fmla="*/ 2093595 w 3008034"/>
                  <a:gd name="connsiteY86" fmla="*/ 312420 h 3680460"/>
                  <a:gd name="connsiteX87" fmla="*/ 2032635 w 3008034"/>
                  <a:gd name="connsiteY87" fmla="*/ 266700 h 3680460"/>
                  <a:gd name="connsiteX88" fmla="*/ 1994535 w 3008034"/>
                  <a:gd name="connsiteY88" fmla="*/ 251460 h 3680460"/>
                  <a:gd name="connsiteX89" fmla="*/ 1887855 w 3008034"/>
                  <a:gd name="connsiteY89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49855 w 3008034"/>
                  <a:gd name="connsiteY80" fmla="*/ 876300 h 3680460"/>
                  <a:gd name="connsiteX81" fmla="*/ 2611755 w 3008034"/>
                  <a:gd name="connsiteY81" fmla="*/ 800100 h 3680460"/>
                  <a:gd name="connsiteX82" fmla="*/ 2448878 w 3008034"/>
                  <a:gd name="connsiteY82" fmla="*/ 621983 h 3680460"/>
                  <a:gd name="connsiteX83" fmla="*/ 2291715 w 3008034"/>
                  <a:gd name="connsiteY83" fmla="*/ 458152 h 3680460"/>
                  <a:gd name="connsiteX84" fmla="*/ 2227898 w 3008034"/>
                  <a:gd name="connsiteY84" fmla="*/ 406717 h 3680460"/>
                  <a:gd name="connsiteX85" fmla="*/ 2093595 w 3008034"/>
                  <a:gd name="connsiteY85" fmla="*/ 312420 h 3680460"/>
                  <a:gd name="connsiteX86" fmla="*/ 2032635 w 3008034"/>
                  <a:gd name="connsiteY86" fmla="*/ 266700 h 3680460"/>
                  <a:gd name="connsiteX87" fmla="*/ 1994535 w 3008034"/>
                  <a:gd name="connsiteY87" fmla="*/ 251460 h 3680460"/>
                  <a:gd name="connsiteX88" fmla="*/ 1887855 w 3008034"/>
                  <a:gd name="connsiteY88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70835 w 3008034"/>
                  <a:gd name="connsiteY73" fmla="*/ 1341120 h 3680460"/>
                  <a:gd name="connsiteX74" fmla="*/ 2847975 w 3008034"/>
                  <a:gd name="connsiteY74" fmla="*/ 1272540 h 3680460"/>
                  <a:gd name="connsiteX75" fmla="*/ 2840355 w 3008034"/>
                  <a:gd name="connsiteY75" fmla="*/ 1234440 h 3680460"/>
                  <a:gd name="connsiteX76" fmla="*/ 2756535 w 3008034"/>
                  <a:gd name="connsiteY76" fmla="*/ 1089660 h 3680460"/>
                  <a:gd name="connsiteX77" fmla="*/ 2726055 w 3008034"/>
                  <a:gd name="connsiteY77" fmla="*/ 1043940 h 3680460"/>
                  <a:gd name="connsiteX78" fmla="*/ 2718435 w 3008034"/>
                  <a:gd name="connsiteY78" fmla="*/ 1021080 h 3680460"/>
                  <a:gd name="connsiteX79" fmla="*/ 2672715 w 3008034"/>
                  <a:gd name="connsiteY79" fmla="*/ 937260 h 3680460"/>
                  <a:gd name="connsiteX80" fmla="*/ 2611755 w 3008034"/>
                  <a:gd name="connsiteY80" fmla="*/ 800100 h 3680460"/>
                  <a:gd name="connsiteX81" fmla="*/ 2448878 w 3008034"/>
                  <a:gd name="connsiteY81" fmla="*/ 621983 h 3680460"/>
                  <a:gd name="connsiteX82" fmla="*/ 2291715 w 3008034"/>
                  <a:gd name="connsiteY82" fmla="*/ 458152 h 3680460"/>
                  <a:gd name="connsiteX83" fmla="*/ 2227898 w 3008034"/>
                  <a:gd name="connsiteY83" fmla="*/ 406717 h 3680460"/>
                  <a:gd name="connsiteX84" fmla="*/ 2093595 w 3008034"/>
                  <a:gd name="connsiteY84" fmla="*/ 312420 h 3680460"/>
                  <a:gd name="connsiteX85" fmla="*/ 2032635 w 3008034"/>
                  <a:gd name="connsiteY85" fmla="*/ 266700 h 3680460"/>
                  <a:gd name="connsiteX86" fmla="*/ 1994535 w 3008034"/>
                  <a:gd name="connsiteY86" fmla="*/ 251460 h 3680460"/>
                  <a:gd name="connsiteX87" fmla="*/ 1887855 w 3008034"/>
                  <a:gd name="connsiteY87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69895 w 3008034"/>
                  <a:gd name="connsiteY17" fmla="*/ 1264920 h 3680460"/>
                  <a:gd name="connsiteX18" fmla="*/ 2985135 w 3008034"/>
                  <a:gd name="connsiteY18" fmla="*/ 1348740 h 3680460"/>
                  <a:gd name="connsiteX19" fmla="*/ 3000375 w 3008034"/>
                  <a:gd name="connsiteY19" fmla="*/ 1432560 h 3680460"/>
                  <a:gd name="connsiteX20" fmla="*/ 3007995 w 3008034"/>
                  <a:gd name="connsiteY20" fmla="*/ 1684020 h 3680460"/>
                  <a:gd name="connsiteX21" fmla="*/ 3003233 w 3008034"/>
                  <a:gd name="connsiteY21" fmla="*/ 1990725 h 3680460"/>
                  <a:gd name="connsiteX22" fmla="*/ 2969895 w 3008034"/>
                  <a:gd name="connsiteY22" fmla="*/ 2194560 h 3680460"/>
                  <a:gd name="connsiteX23" fmla="*/ 2931795 w 3008034"/>
                  <a:gd name="connsiteY23" fmla="*/ 2324100 h 3680460"/>
                  <a:gd name="connsiteX24" fmla="*/ 2916555 w 3008034"/>
                  <a:gd name="connsiteY24" fmla="*/ 2392680 h 3680460"/>
                  <a:gd name="connsiteX25" fmla="*/ 2867978 w 3008034"/>
                  <a:gd name="connsiteY25" fmla="*/ 2521267 h 3680460"/>
                  <a:gd name="connsiteX26" fmla="*/ 2801303 w 3008034"/>
                  <a:gd name="connsiteY26" fmla="*/ 2656523 h 3680460"/>
                  <a:gd name="connsiteX27" fmla="*/ 2719387 w 3008034"/>
                  <a:gd name="connsiteY27" fmla="*/ 2818447 h 3680460"/>
                  <a:gd name="connsiteX28" fmla="*/ 2495550 w 3008034"/>
                  <a:gd name="connsiteY28" fmla="*/ 3084195 h 3680460"/>
                  <a:gd name="connsiteX29" fmla="*/ 2396490 w 3008034"/>
                  <a:gd name="connsiteY29" fmla="*/ 3185160 h 3680460"/>
                  <a:gd name="connsiteX30" fmla="*/ 2284095 w 3008034"/>
                  <a:gd name="connsiteY30" fmla="*/ 3284220 h 3680460"/>
                  <a:gd name="connsiteX31" fmla="*/ 2131695 w 3008034"/>
                  <a:gd name="connsiteY31" fmla="*/ 3390900 h 3680460"/>
                  <a:gd name="connsiteX32" fmla="*/ 2000250 w 3008034"/>
                  <a:gd name="connsiteY32" fmla="*/ 3448050 h 3680460"/>
                  <a:gd name="connsiteX33" fmla="*/ 1864995 w 3008034"/>
                  <a:gd name="connsiteY33" fmla="*/ 3512820 h 3680460"/>
                  <a:gd name="connsiteX34" fmla="*/ 1819275 w 3008034"/>
                  <a:gd name="connsiteY34" fmla="*/ 3520440 h 3680460"/>
                  <a:gd name="connsiteX35" fmla="*/ 1712595 w 3008034"/>
                  <a:gd name="connsiteY35" fmla="*/ 3550920 h 3680460"/>
                  <a:gd name="connsiteX36" fmla="*/ 1590675 w 3008034"/>
                  <a:gd name="connsiteY36" fmla="*/ 3589020 h 3680460"/>
                  <a:gd name="connsiteX37" fmla="*/ 1537335 w 3008034"/>
                  <a:gd name="connsiteY37" fmla="*/ 3611880 h 3680460"/>
                  <a:gd name="connsiteX38" fmla="*/ 1453515 w 3008034"/>
                  <a:gd name="connsiteY38" fmla="*/ 3627120 h 3680460"/>
                  <a:gd name="connsiteX39" fmla="*/ 1323975 w 3008034"/>
                  <a:gd name="connsiteY39" fmla="*/ 3657600 h 3680460"/>
                  <a:gd name="connsiteX40" fmla="*/ 1194435 w 3008034"/>
                  <a:gd name="connsiteY40" fmla="*/ 3672840 h 3680460"/>
                  <a:gd name="connsiteX41" fmla="*/ 1156335 w 3008034"/>
                  <a:gd name="connsiteY41" fmla="*/ 3680460 h 3680460"/>
                  <a:gd name="connsiteX42" fmla="*/ 625792 w 3008034"/>
                  <a:gd name="connsiteY42" fmla="*/ 3668078 h 3680460"/>
                  <a:gd name="connsiteX43" fmla="*/ 402908 w 3008034"/>
                  <a:gd name="connsiteY43" fmla="*/ 3614738 h 3680460"/>
                  <a:gd name="connsiteX44" fmla="*/ 266700 w 3008034"/>
                  <a:gd name="connsiteY44" fmla="*/ 3570922 h 3680460"/>
                  <a:gd name="connsiteX45" fmla="*/ 164782 w 3008034"/>
                  <a:gd name="connsiteY45" fmla="*/ 3515678 h 3680460"/>
                  <a:gd name="connsiteX46" fmla="*/ 31433 w 3008034"/>
                  <a:gd name="connsiteY46" fmla="*/ 3422333 h 3680460"/>
                  <a:gd name="connsiteX47" fmla="*/ 0 w 3008034"/>
                  <a:gd name="connsiteY47" fmla="*/ 3376613 h 3680460"/>
                  <a:gd name="connsiteX48" fmla="*/ 127635 w 3008034"/>
                  <a:gd name="connsiteY48" fmla="*/ 3360420 h 3680460"/>
                  <a:gd name="connsiteX49" fmla="*/ 158115 w 3008034"/>
                  <a:gd name="connsiteY49" fmla="*/ 3390900 h 3680460"/>
                  <a:gd name="connsiteX50" fmla="*/ 317183 w 3008034"/>
                  <a:gd name="connsiteY50" fmla="*/ 3450907 h 3680460"/>
                  <a:gd name="connsiteX51" fmla="*/ 485775 w 3008034"/>
                  <a:gd name="connsiteY51" fmla="*/ 3520440 h 3680460"/>
                  <a:gd name="connsiteX52" fmla="*/ 721995 w 3008034"/>
                  <a:gd name="connsiteY52" fmla="*/ 3558540 h 3680460"/>
                  <a:gd name="connsiteX53" fmla="*/ 1331595 w 3008034"/>
                  <a:gd name="connsiteY53" fmla="*/ 3550920 h 3680460"/>
                  <a:gd name="connsiteX54" fmla="*/ 1529715 w 3008034"/>
                  <a:gd name="connsiteY54" fmla="*/ 3520440 h 3680460"/>
                  <a:gd name="connsiteX55" fmla="*/ 1621155 w 3008034"/>
                  <a:gd name="connsiteY55" fmla="*/ 3497580 h 3680460"/>
                  <a:gd name="connsiteX56" fmla="*/ 1781175 w 3008034"/>
                  <a:gd name="connsiteY56" fmla="*/ 3451860 h 3680460"/>
                  <a:gd name="connsiteX57" fmla="*/ 1864995 w 3008034"/>
                  <a:gd name="connsiteY57" fmla="*/ 3421380 h 3680460"/>
                  <a:gd name="connsiteX58" fmla="*/ 1941195 w 3008034"/>
                  <a:gd name="connsiteY58" fmla="*/ 3390900 h 3680460"/>
                  <a:gd name="connsiteX59" fmla="*/ 2089785 w 3008034"/>
                  <a:gd name="connsiteY59" fmla="*/ 3308985 h 3680460"/>
                  <a:gd name="connsiteX60" fmla="*/ 2189797 w 3008034"/>
                  <a:gd name="connsiteY60" fmla="*/ 3251835 h 3680460"/>
                  <a:gd name="connsiteX61" fmla="*/ 2337435 w 3008034"/>
                  <a:gd name="connsiteY61" fmla="*/ 3154680 h 3680460"/>
                  <a:gd name="connsiteX62" fmla="*/ 2459355 w 3008034"/>
                  <a:gd name="connsiteY62" fmla="*/ 3009900 h 3680460"/>
                  <a:gd name="connsiteX63" fmla="*/ 2527935 w 3008034"/>
                  <a:gd name="connsiteY63" fmla="*/ 2926080 h 3680460"/>
                  <a:gd name="connsiteX64" fmla="*/ 2619375 w 3008034"/>
                  <a:gd name="connsiteY64" fmla="*/ 2811780 h 3680460"/>
                  <a:gd name="connsiteX65" fmla="*/ 2665095 w 3008034"/>
                  <a:gd name="connsiteY65" fmla="*/ 2727960 h 3680460"/>
                  <a:gd name="connsiteX66" fmla="*/ 2695575 w 3008034"/>
                  <a:gd name="connsiteY66" fmla="*/ 2667000 h 3680460"/>
                  <a:gd name="connsiteX67" fmla="*/ 2779395 w 3008034"/>
                  <a:gd name="connsiteY67" fmla="*/ 2484120 h 3680460"/>
                  <a:gd name="connsiteX68" fmla="*/ 2802255 w 3008034"/>
                  <a:gd name="connsiteY68" fmla="*/ 2407920 h 3680460"/>
                  <a:gd name="connsiteX69" fmla="*/ 2908935 w 3008034"/>
                  <a:gd name="connsiteY69" fmla="*/ 2049780 h 3680460"/>
                  <a:gd name="connsiteX70" fmla="*/ 2924175 w 3008034"/>
                  <a:gd name="connsiteY70" fmla="*/ 1844040 h 3680460"/>
                  <a:gd name="connsiteX71" fmla="*/ 2908935 w 3008034"/>
                  <a:gd name="connsiteY71" fmla="*/ 1470660 h 3680460"/>
                  <a:gd name="connsiteX72" fmla="*/ 2886075 w 3008034"/>
                  <a:gd name="connsiteY72" fmla="*/ 1371600 h 3680460"/>
                  <a:gd name="connsiteX73" fmla="*/ 2847975 w 3008034"/>
                  <a:gd name="connsiteY73" fmla="*/ 1272540 h 3680460"/>
                  <a:gd name="connsiteX74" fmla="*/ 2840355 w 3008034"/>
                  <a:gd name="connsiteY74" fmla="*/ 1234440 h 3680460"/>
                  <a:gd name="connsiteX75" fmla="*/ 2756535 w 3008034"/>
                  <a:gd name="connsiteY75" fmla="*/ 1089660 h 3680460"/>
                  <a:gd name="connsiteX76" fmla="*/ 2726055 w 3008034"/>
                  <a:gd name="connsiteY76" fmla="*/ 1043940 h 3680460"/>
                  <a:gd name="connsiteX77" fmla="*/ 2718435 w 3008034"/>
                  <a:gd name="connsiteY77" fmla="*/ 1021080 h 3680460"/>
                  <a:gd name="connsiteX78" fmla="*/ 2672715 w 3008034"/>
                  <a:gd name="connsiteY78" fmla="*/ 937260 h 3680460"/>
                  <a:gd name="connsiteX79" fmla="*/ 2611755 w 3008034"/>
                  <a:gd name="connsiteY79" fmla="*/ 800100 h 3680460"/>
                  <a:gd name="connsiteX80" fmla="*/ 2448878 w 3008034"/>
                  <a:gd name="connsiteY80" fmla="*/ 621983 h 3680460"/>
                  <a:gd name="connsiteX81" fmla="*/ 2291715 w 3008034"/>
                  <a:gd name="connsiteY81" fmla="*/ 458152 h 3680460"/>
                  <a:gd name="connsiteX82" fmla="*/ 2227898 w 3008034"/>
                  <a:gd name="connsiteY82" fmla="*/ 406717 h 3680460"/>
                  <a:gd name="connsiteX83" fmla="*/ 2093595 w 3008034"/>
                  <a:gd name="connsiteY83" fmla="*/ 312420 h 3680460"/>
                  <a:gd name="connsiteX84" fmla="*/ 2032635 w 3008034"/>
                  <a:gd name="connsiteY84" fmla="*/ 266700 h 3680460"/>
                  <a:gd name="connsiteX85" fmla="*/ 1994535 w 3008034"/>
                  <a:gd name="connsiteY85" fmla="*/ 251460 h 3680460"/>
                  <a:gd name="connsiteX86" fmla="*/ 1887855 w 3008034"/>
                  <a:gd name="connsiteY86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24175 w 3008034"/>
                  <a:gd name="connsiteY15" fmla="*/ 1074420 h 3680460"/>
                  <a:gd name="connsiteX16" fmla="*/ 2954655 w 3008034"/>
                  <a:gd name="connsiteY16" fmla="*/ 1203960 h 3680460"/>
                  <a:gd name="connsiteX17" fmla="*/ 2985135 w 3008034"/>
                  <a:gd name="connsiteY17" fmla="*/ 1348740 h 3680460"/>
                  <a:gd name="connsiteX18" fmla="*/ 3000375 w 3008034"/>
                  <a:gd name="connsiteY18" fmla="*/ 1432560 h 3680460"/>
                  <a:gd name="connsiteX19" fmla="*/ 3007995 w 3008034"/>
                  <a:gd name="connsiteY19" fmla="*/ 1684020 h 3680460"/>
                  <a:gd name="connsiteX20" fmla="*/ 3003233 w 3008034"/>
                  <a:gd name="connsiteY20" fmla="*/ 1990725 h 3680460"/>
                  <a:gd name="connsiteX21" fmla="*/ 2969895 w 3008034"/>
                  <a:gd name="connsiteY21" fmla="*/ 2194560 h 3680460"/>
                  <a:gd name="connsiteX22" fmla="*/ 2931795 w 3008034"/>
                  <a:gd name="connsiteY22" fmla="*/ 2324100 h 3680460"/>
                  <a:gd name="connsiteX23" fmla="*/ 2916555 w 3008034"/>
                  <a:gd name="connsiteY23" fmla="*/ 2392680 h 3680460"/>
                  <a:gd name="connsiteX24" fmla="*/ 2867978 w 3008034"/>
                  <a:gd name="connsiteY24" fmla="*/ 2521267 h 3680460"/>
                  <a:gd name="connsiteX25" fmla="*/ 2801303 w 3008034"/>
                  <a:gd name="connsiteY25" fmla="*/ 2656523 h 3680460"/>
                  <a:gd name="connsiteX26" fmla="*/ 2719387 w 3008034"/>
                  <a:gd name="connsiteY26" fmla="*/ 2818447 h 3680460"/>
                  <a:gd name="connsiteX27" fmla="*/ 2495550 w 3008034"/>
                  <a:gd name="connsiteY27" fmla="*/ 3084195 h 3680460"/>
                  <a:gd name="connsiteX28" fmla="*/ 2396490 w 3008034"/>
                  <a:gd name="connsiteY28" fmla="*/ 3185160 h 3680460"/>
                  <a:gd name="connsiteX29" fmla="*/ 2284095 w 3008034"/>
                  <a:gd name="connsiteY29" fmla="*/ 3284220 h 3680460"/>
                  <a:gd name="connsiteX30" fmla="*/ 2131695 w 3008034"/>
                  <a:gd name="connsiteY30" fmla="*/ 3390900 h 3680460"/>
                  <a:gd name="connsiteX31" fmla="*/ 2000250 w 3008034"/>
                  <a:gd name="connsiteY31" fmla="*/ 3448050 h 3680460"/>
                  <a:gd name="connsiteX32" fmla="*/ 1864995 w 3008034"/>
                  <a:gd name="connsiteY32" fmla="*/ 3512820 h 3680460"/>
                  <a:gd name="connsiteX33" fmla="*/ 1819275 w 3008034"/>
                  <a:gd name="connsiteY33" fmla="*/ 3520440 h 3680460"/>
                  <a:gd name="connsiteX34" fmla="*/ 1712595 w 3008034"/>
                  <a:gd name="connsiteY34" fmla="*/ 3550920 h 3680460"/>
                  <a:gd name="connsiteX35" fmla="*/ 1590675 w 3008034"/>
                  <a:gd name="connsiteY35" fmla="*/ 3589020 h 3680460"/>
                  <a:gd name="connsiteX36" fmla="*/ 1537335 w 3008034"/>
                  <a:gd name="connsiteY36" fmla="*/ 3611880 h 3680460"/>
                  <a:gd name="connsiteX37" fmla="*/ 1453515 w 3008034"/>
                  <a:gd name="connsiteY37" fmla="*/ 3627120 h 3680460"/>
                  <a:gd name="connsiteX38" fmla="*/ 1323975 w 3008034"/>
                  <a:gd name="connsiteY38" fmla="*/ 3657600 h 3680460"/>
                  <a:gd name="connsiteX39" fmla="*/ 1194435 w 3008034"/>
                  <a:gd name="connsiteY39" fmla="*/ 3672840 h 3680460"/>
                  <a:gd name="connsiteX40" fmla="*/ 1156335 w 3008034"/>
                  <a:gd name="connsiteY40" fmla="*/ 3680460 h 3680460"/>
                  <a:gd name="connsiteX41" fmla="*/ 625792 w 3008034"/>
                  <a:gd name="connsiteY41" fmla="*/ 3668078 h 3680460"/>
                  <a:gd name="connsiteX42" fmla="*/ 402908 w 3008034"/>
                  <a:gd name="connsiteY42" fmla="*/ 3614738 h 3680460"/>
                  <a:gd name="connsiteX43" fmla="*/ 266700 w 3008034"/>
                  <a:gd name="connsiteY43" fmla="*/ 3570922 h 3680460"/>
                  <a:gd name="connsiteX44" fmla="*/ 164782 w 3008034"/>
                  <a:gd name="connsiteY44" fmla="*/ 3515678 h 3680460"/>
                  <a:gd name="connsiteX45" fmla="*/ 31433 w 3008034"/>
                  <a:gd name="connsiteY45" fmla="*/ 3422333 h 3680460"/>
                  <a:gd name="connsiteX46" fmla="*/ 0 w 3008034"/>
                  <a:gd name="connsiteY46" fmla="*/ 3376613 h 3680460"/>
                  <a:gd name="connsiteX47" fmla="*/ 127635 w 3008034"/>
                  <a:gd name="connsiteY47" fmla="*/ 3360420 h 3680460"/>
                  <a:gd name="connsiteX48" fmla="*/ 158115 w 3008034"/>
                  <a:gd name="connsiteY48" fmla="*/ 3390900 h 3680460"/>
                  <a:gd name="connsiteX49" fmla="*/ 317183 w 3008034"/>
                  <a:gd name="connsiteY49" fmla="*/ 3450907 h 3680460"/>
                  <a:gd name="connsiteX50" fmla="*/ 485775 w 3008034"/>
                  <a:gd name="connsiteY50" fmla="*/ 3520440 h 3680460"/>
                  <a:gd name="connsiteX51" fmla="*/ 721995 w 3008034"/>
                  <a:gd name="connsiteY51" fmla="*/ 3558540 h 3680460"/>
                  <a:gd name="connsiteX52" fmla="*/ 1331595 w 3008034"/>
                  <a:gd name="connsiteY52" fmla="*/ 3550920 h 3680460"/>
                  <a:gd name="connsiteX53" fmla="*/ 1529715 w 3008034"/>
                  <a:gd name="connsiteY53" fmla="*/ 3520440 h 3680460"/>
                  <a:gd name="connsiteX54" fmla="*/ 1621155 w 3008034"/>
                  <a:gd name="connsiteY54" fmla="*/ 3497580 h 3680460"/>
                  <a:gd name="connsiteX55" fmla="*/ 1781175 w 3008034"/>
                  <a:gd name="connsiteY55" fmla="*/ 3451860 h 3680460"/>
                  <a:gd name="connsiteX56" fmla="*/ 1864995 w 3008034"/>
                  <a:gd name="connsiteY56" fmla="*/ 3421380 h 3680460"/>
                  <a:gd name="connsiteX57" fmla="*/ 1941195 w 3008034"/>
                  <a:gd name="connsiteY57" fmla="*/ 3390900 h 3680460"/>
                  <a:gd name="connsiteX58" fmla="*/ 2089785 w 3008034"/>
                  <a:gd name="connsiteY58" fmla="*/ 3308985 h 3680460"/>
                  <a:gd name="connsiteX59" fmla="*/ 2189797 w 3008034"/>
                  <a:gd name="connsiteY59" fmla="*/ 3251835 h 3680460"/>
                  <a:gd name="connsiteX60" fmla="*/ 2337435 w 3008034"/>
                  <a:gd name="connsiteY60" fmla="*/ 3154680 h 3680460"/>
                  <a:gd name="connsiteX61" fmla="*/ 2459355 w 3008034"/>
                  <a:gd name="connsiteY61" fmla="*/ 3009900 h 3680460"/>
                  <a:gd name="connsiteX62" fmla="*/ 2527935 w 3008034"/>
                  <a:gd name="connsiteY62" fmla="*/ 2926080 h 3680460"/>
                  <a:gd name="connsiteX63" fmla="*/ 2619375 w 3008034"/>
                  <a:gd name="connsiteY63" fmla="*/ 2811780 h 3680460"/>
                  <a:gd name="connsiteX64" fmla="*/ 2665095 w 3008034"/>
                  <a:gd name="connsiteY64" fmla="*/ 2727960 h 3680460"/>
                  <a:gd name="connsiteX65" fmla="*/ 2695575 w 3008034"/>
                  <a:gd name="connsiteY65" fmla="*/ 2667000 h 3680460"/>
                  <a:gd name="connsiteX66" fmla="*/ 2779395 w 3008034"/>
                  <a:gd name="connsiteY66" fmla="*/ 2484120 h 3680460"/>
                  <a:gd name="connsiteX67" fmla="*/ 2802255 w 3008034"/>
                  <a:gd name="connsiteY67" fmla="*/ 2407920 h 3680460"/>
                  <a:gd name="connsiteX68" fmla="*/ 2908935 w 3008034"/>
                  <a:gd name="connsiteY68" fmla="*/ 2049780 h 3680460"/>
                  <a:gd name="connsiteX69" fmla="*/ 2924175 w 3008034"/>
                  <a:gd name="connsiteY69" fmla="*/ 1844040 h 3680460"/>
                  <a:gd name="connsiteX70" fmla="*/ 2908935 w 3008034"/>
                  <a:gd name="connsiteY70" fmla="*/ 1470660 h 3680460"/>
                  <a:gd name="connsiteX71" fmla="*/ 2886075 w 3008034"/>
                  <a:gd name="connsiteY71" fmla="*/ 1371600 h 3680460"/>
                  <a:gd name="connsiteX72" fmla="*/ 2847975 w 3008034"/>
                  <a:gd name="connsiteY72" fmla="*/ 1272540 h 3680460"/>
                  <a:gd name="connsiteX73" fmla="*/ 2840355 w 3008034"/>
                  <a:gd name="connsiteY73" fmla="*/ 1234440 h 3680460"/>
                  <a:gd name="connsiteX74" fmla="*/ 2756535 w 3008034"/>
                  <a:gd name="connsiteY74" fmla="*/ 1089660 h 3680460"/>
                  <a:gd name="connsiteX75" fmla="*/ 2726055 w 3008034"/>
                  <a:gd name="connsiteY75" fmla="*/ 1043940 h 3680460"/>
                  <a:gd name="connsiteX76" fmla="*/ 2718435 w 3008034"/>
                  <a:gd name="connsiteY76" fmla="*/ 1021080 h 3680460"/>
                  <a:gd name="connsiteX77" fmla="*/ 2672715 w 3008034"/>
                  <a:gd name="connsiteY77" fmla="*/ 937260 h 3680460"/>
                  <a:gd name="connsiteX78" fmla="*/ 2611755 w 3008034"/>
                  <a:gd name="connsiteY78" fmla="*/ 800100 h 3680460"/>
                  <a:gd name="connsiteX79" fmla="*/ 2448878 w 3008034"/>
                  <a:gd name="connsiteY79" fmla="*/ 621983 h 3680460"/>
                  <a:gd name="connsiteX80" fmla="*/ 2291715 w 3008034"/>
                  <a:gd name="connsiteY80" fmla="*/ 458152 h 3680460"/>
                  <a:gd name="connsiteX81" fmla="*/ 2227898 w 3008034"/>
                  <a:gd name="connsiteY81" fmla="*/ 406717 h 3680460"/>
                  <a:gd name="connsiteX82" fmla="*/ 2093595 w 3008034"/>
                  <a:gd name="connsiteY82" fmla="*/ 312420 h 3680460"/>
                  <a:gd name="connsiteX83" fmla="*/ 2032635 w 3008034"/>
                  <a:gd name="connsiteY83" fmla="*/ 266700 h 3680460"/>
                  <a:gd name="connsiteX84" fmla="*/ 1994535 w 3008034"/>
                  <a:gd name="connsiteY84" fmla="*/ 251460 h 3680460"/>
                  <a:gd name="connsiteX85" fmla="*/ 1887855 w 3008034"/>
                  <a:gd name="connsiteY85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323975 w 3008034"/>
                  <a:gd name="connsiteY37" fmla="*/ 365760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887855 w 3008034"/>
                  <a:gd name="connsiteY0" fmla="*/ 182880 h 3680460"/>
                  <a:gd name="connsiteX1" fmla="*/ 1849755 w 3008034"/>
                  <a:gd name="connsiteY1" fmla="*/ 160020 h 3680460"/>
                  <a:gd name="connsiteX2" fmla="*/ 1765935 w 3008034"/>
                  <a:gd name="connsiteY2" fmla="*/ 91440 h 3680460"/>
                  <a:gd name="connsiteX3" fmla="*/ 1750695 w 3008034"/>
                  <a:gd name="connsiteY3" fmla="*/ 68580 h 3680460"/>
                  <a:gd name="connsiteX4" fmla="*/ 1720215 w 3008034"/>
                  <a:gd name="connsiteY4" fmla="*/ 16193 h 3680460"/>
                  <a:gd name="connsiteX5" fmla="*/ 1971675 w 3008034"/>
                  <a:gd name="connsiteY5" fmla="*/ 0 h 3680460"/>
                  <a:gd name="connsiteX6" fmla="*/ 2162175 w 3008034"/>
                  <a:gd name="connsiteY6" fmla="*/ 114300 h 3680460"/>
                  <a:gd name="connsiteX7" fmla="*/ 2276475 w 3008034"/>
                  <a:gd name="connsiteY7" fmla="*/ 190500 h 3680460"/>
                  <a:gd name="connsiteX8" fmla="*/ 2527935 w 3008034"/>
                  <a:gd name="connsiteY8" fmla="*/ 426720 h 3680460"/>
                  <a:gd name="connsiteX9" fmla="*/ 2543175 w 3008034"/>
                  <a:gd name="connsiteY9" fmla="*/ 449580 h 3680460"/>
                  <a:gd name="connsiteX10" fmla="*/ 2611755 w 3008034"/>
                  <a:gd name="connsiteY10" fmla="*/ 548640 h 3680460"/>
                  <a:gd name="connsiteX11" fmla="*/ 2665095 w 3008034"/>
                  <a:gd name="connsiteY11" fmla="*/ 609600 h 3680460"/>
                  <a:gd name="connsiteX12" fmla="*/ 2756535 w 3008034"/>
                  <a:gd name="connsiteY12" fmla="*/ 754380 h 3680460"/>
                  <a:gd name="connsiteX13" fmla="*/ 2809875 w 3008034"/>
                  <a:gd name="connsiteY13" fmla="*/ 830580 h 3680460"/>
                  <a:gd name="connsiteX14" fmla="*/ 2908935 w 3008034"/>
                  <a:gd name="connsiteY14" fmla="*/ 1036320 h 3680460"/>
                  <a:gd name="connsiteX15" fmla="*/ 2954655 w 3008034"/>
                  <a:gd name="connsiteY15" fmla="*/ 1203960 h 3680460"/>
                  <a:gd name="connsiteX16" fmla="*/ 2985135 w 3008034"/>
                  <a:gd name="connsiteY16" fmla="*/ 1348740 h 3680460"/>
                  <a:gd name="connsiteX17" fmla="*/ 3000375 w 3008034"/>
                  <a:gd name="connsiteY17" fmla="*/ 1432560 h 3680460"/>
                  <a:gd name="connsiteX18" fmla="*/ 3007995 w 3008034"/>
                  <a:gd name="connsiteY18" fmla="*/ 1684020 h 3680460"/>
                  <a:gd name="connsiteX19" fmla="*/ 3003233 w 3008034"/>
                  <a:gd name="connsiteY19" fmla="*/ 1990725 h 3680460"/>
                  <a:gd name="connsiteX20" fmla="*/ 2969895 w 3008034"/>
                  <a:gd name="connsiteY20" fmla="*/ 2194560 h 3680460"/>
                  <a:gd name="connsiteX21" fmla="*/ 2931795 w 3008034"/>
                  <a:gd name="connsiteY21" fmla="*/ 2324100 h 3680460"/>
                  <a:gd name="connsiteX22" fmla="*/ 2916555 w 3008034"/>
                  <a:gd name="connsiteY22" fmla="*/ 2392680 h 3680460"/>
                  <a:gd name="connsiteX23" fmla="*/ 2867978 w 3008034"/>
                  <a:gd name="connsiteY23" fmla="*/ 2521267 h 3680460"/>
                  <a:gd name="connsiteX24" fmla="*/ 2801303 w 3008034"/>
                  <a:gd name="connsiteY24" fmla="*/ 2656523 h 3680460"/>
                  <a:gd name="connsiteX25" fmla="*/ 2719387 w 3008034"/>
                  <a:gd name="connsiteY25" fmla="*/ 2818447 h 3680460"/>
                  <a:gd name="connsiteX26" fmla="*/ 2495550 w 3008034"/>
                  <a:gd name="connsiteY26" fmla="*/ 3084195 h 3680460"/>
                  <a:gd name="connsiteX27" fmla="*/ 2396490 w 3008034"/>
                  <a:gd name="connsiteY27" fmla="*/ 3185160 h 3680460"/>
                  <a:gd name="connsiteX28" fmla="*/ 2284095 w 3008034"/>
                  <a:gd name="connsiteY28" fmla="*/ 3284220 h 3680460"/>
                  <a:gd name="connsiteX29" fmla="*/ 2131695 w 3008034"/>
                  <a:gd name="connsiteY29" fmla="*/ 3390900 h 3680460"/>
                  <a:gd name="connsiteX30" fmla="*/ 2000250 w 3008034"/>
                  <a:gd name="connsiteY30" fmla="*/ 3448050 h 3680460"/>
                  <a:gd name="connsiteX31" fmla="*/ 1864995 w 3008034"/>
                  <a:gd name="connsiteY31" fmla="*/ 3512820 h 3680460"/>
                  <a:gd name="connsiteX32" fmla="*/ 1819275 w 3008034"/>
                  <a:gd name="connsiteY32" fmla="*/ 3520440 h 3680460"/>
                  <a:gd name="connsiteX33" fmla="*/ 1712595 w 3008034"/>
                  <a:gd name="connsiteY33" fmla="*/ 3550920 h 3680460"/>
                  <a:gd name="connsiteX34" fmla="*/ 1590675 w 3008034"/>
                  <a:gd name="connsiteY34" fmla="*/ 3589020 h 3680460"/>
                  <a:gd name="connsiteX35" fmla="*/ 1537335 w 3008034"/>
                  <a:gd name="connsiteY35" fmla="*/ 3611880 h 3680460"/>
                  <a:gd name="connsiteX36" fmla="*/ 1453515 w 3008034"/>
                  <a:gd name="connsiteY36" fmla="*/ 3627120 h 3680460"/>
                  <a:gd name="connsiteX37" fmla="*/ 1263650 w 3008034"/>
                  <a:gd name="connsiteY37" fmla="*/ 3663950 h 3680460"/>
                  <a:gd name="connsiteX38" fmla="*/ 1194435 w 3008034"/>
                  <a:gd name="connsiteY38" fmla="*/ 3672840 h 3680460"/>
                  <a:gd name="connsiteX39" fmla="*/ 1156335 w 3008034"/>
                  <a:gd name="connsiteY39" fmla="*/ 3680460 h 3680460"/>
                  <a:gd name="connsiteX40" fmla="*/ 625792 w 3008034"/>
                  <a:gd name="connsiteY40" fmla="*/ 3668078 h 3680460"/>
                  <a:gd name="connsiteX41" fmla="*/ 402908 w 3008034"/>
                  <a:gd name="connsiteY41" fmla="*/ 3614738 h 3680460"/>
                  <a:gd name="connsiteX42" fmla="*/ 266700 w 3008034"/>
                  <a:gd name="connsiteY42" fmla="*/ 3570922 h 3680460"/>
                  <a:gd name="connsiteX43" fmla="*/ 164782 w 3008034"/>
                  <a:gd name="connsiteY43" fmla="*/ 3515678 h 3680460"/>
                  <a:gd name="connsiteX44" fmla="*/ 31433 w 3008034"/>
                  <a:gd name="connsiteY44" fmla="*/ 3422333 h 3680460"/>
                  <a:gd name="connsiteX45" fmla="*/ 0 w 3008034"/>
                  <a:gd name="connsiteY45" fmla="*/ 3376613 h 3680460"/>
                  <a:gd name="connsiteX46" fmla="*/ 127635 w 3008034"/>
                  <a:gd name="connsiteY46" fmla="*/ 3360420 h 3680460"/>
                  <a:gd name="connsiteX47" fmla="*/ 158115 w 3008034"/>
                  <a:gd name="connsiteY47" fmla="*/ 3390900 h 3680460"/>
                  <a:gd name="connsiteX48" fmla="*/ 317183 w 3008034"/>
                  <a:gd name="connsiteY48" fmla="*/ 3450907 h 3680460"/>
                  <a:gd name="connsiteX49" fmla="*/ 485775 w 3008034"/>
                  <a:gd name="connsiteY49" fmla="*/ 3520440 h 3680460"/>
                  <a:gd name="connsiteX50" fmla="*/ 721995 w 3008034"/>
                  <a:gd name="connsiteY50" fmla="*/ 3558540 h 3680460"/>
                  <a:gd name="connsiteX51" fmla="*/ 1331595 w 3008034"/>
                  <a:gd name="connsiteY51" fmla="*/ 3550920 h 3680460"/>
                  <a:gd name="connsiteX52" fmla="*/ 1529715 w 3008034"/>
                  <a:gd name="connsiteY52" fmla="*/ 3520440 h 3680460"/>
                  <a:gd name="connsiteX53" fmla="*/ 1621155 w 3008034"/>
                  <a:gd name="connsiteY53" fmla="*/ 3497580 h 3680460"/>
                  <a:gd name="connsiteX54" fmla="*/ 1781175 w 3008034"/>
                  <a:gd name="connsiteY54" fmla="*/ 3451860 h 3680460"/>
                  <a:gd name="connsiteX55" fmla="*/ 1864995 w 3008034"/>
                  <a:gd name="connsiteY55" fmla="*/ 3421380 h 3680460"/>
                  <a:gd name="connsiteX56" fmla="*/ 1941195 w 3008034"/>
                  <a:gd name="connsiteY56" fmla="*/ 3390900 h 3680460"/>
                  <a:gd name="connsiteX57" fmla="*/ 2089785 w 3008034"/>
                  <a:gd name="connsiteY57" fmla="*/ 3308985 h 3680460"/>
                  <a:gd name="connsiteX58" fmla="*/ 2189797 w 3008034"/>
                  <a:gd name="connsiteY58" fmla="*/ 3251835 h 3680460"/>
                  <a:gd name="connsiteX59" fmla="*/ 2337435 w 3008034"/>
                  <a:gd name="connsiteY59" fmla="*/ 3154680 h 3680460"/>
                  <a:gd name="connsiteX60" fmla="*/ 2459355 w 3008034"/>
                  <a:gd name="connsiteY60" fmla="*/ 3009900 h 3680460"/>
                  <a:gd name="connsiteX61" fmla="*/ 2527935 w 3008034"/>
                  <a:gd name="connsiteY61" fmla="*/ 2926080 h 3680460"/>
                  <a:gd name="connsiteX62" fmla="*/ 2619375 w 3008034"/>
                  <a:gd name="connsiteY62" fmla="*/ 2811780 h 3680460"/>
                  <a:gd name="connsiteX63" fmla="*/ 2665095 w 3008034"/>
                  <a:gd name="connsiteY63" fmla="*/ 2727960 h 3680460"/>
                  <a:gd name="connsiteX64" fmla="*/ 2695575 w 3008034"/>
                  <a:gd name="connsiteY64" fmla="*/ 2667000 h 3680460"/>
                  <a:gd name="connsiteX65" fmla="*/ 2779395 w 3008034"/>
                  <a:gd name="connsiteY65" fmla="*/ 2484120 h 3680460"/>
                  <a:gd name="connsiteX66" fmla="*/ 2802255 w 3008034"/>
                  <a:gd name="connsiteY66" fmla="*/ 2407920 h 3680460"/>
                  <a:gd name="connsiteX67" fmla="*/ 2908935 w 3008034"/>
                  <a:gd name="connsiteY67" fmla="*/ 2049780 h 3680460"/>
                  <a:gd name="connsiteX68" fmla="*/ 2924175 w 3008034"/>
                  <a:gd name="connsiteY68" fmla="*/ 1844040 h 3680460"/>
                  <a:gd name="connsiteX69" fmla="*/ 2908935 w 3008034"/>
                  <a:gd name="connsiteY69" fmla="*/ 1470660 h 3680460"/>
                  <a:gd name="connsiteX70" fmla="*/ 2886075 w 3008034"/>
                  <a:gd name="connsiteY70" fmla="*/ 1371600 h 3680460"/>
                  <a:gd name="connsiteX71" fmla="*/ 2847975 w 3008034"/>
                  <a:gd name="connsiteY71" fmla="*/ 1272540 h 3680460"/>
                  <a:gd name="connsiteX72" fmla="*/ 2840355 w 3008034"/>
                  <a:gd name="connsiteY72" fmla="*/ 1234440 h 3680460"/>
                  <a:gd name="connsiteX73" fmla="*/ 2756535 w 3008034"/>
                  <a:gd name="connsiteY73" fmla="*/ 1089660 h 3680460"/>
                  <a:gd name="connsiteX74" fmla="*/ 2726055 w 3008034"/>
                  <a:gd name="connsiteY74" fmla="*/ 1043940 h 3680460"/>
                  <a:gd name="connsiteX75" fmla="*/ 2718435 w 3008034"/>
                  <a:gd name="connsiteY75" fmla="*/ 1021080 h 3680460"/>
                  <a:gd name="connsiteX76" fmla="*/ 2672715 w 3008034"/>
                  <a:gd name="connsiteY76" fmla="*/ 937260 h 3680460"/>
                  <a:gd name="connsiteX77" fmla="*/ 2611755 w 3008034"/>
                  <a:gd name="connsiteY77" fmla="*/ 800100 h 3680460"/>
                  <a:gd name="connsiteX78" fmla="*/ 2448878 w 3008034"/>
                  <a:gd name="connsiteY78" fmla="*/ 621983 h 3680460"/>
                  <a:gd name="connsiteX79" fmla="*/ 2291715 w 3008034"/>
                  <a:gd name="connsiteY79" fmla="*/ 458152 h 3680460"/>
                  <a:gd name="connsiteX80" fmla="*/ 2227898 w 3008034"/>
                  <a:gd name="connsiteY80" fmla="*/ 406717 h 3680460"/>
                  <a:gd name="connsiteX81" fmla="*/ 2093595 w 3008034"/>
                  <a:gd name="connsiteY81" fmla="*/ 312420 h 3680460"/>
                  <a:gd name="connsiteX82" fmla="*/ 2032635 w 3008034"/>
                  <a:gd name="connsiteY82" fmla="*/ 266700 h 3680460"/>
                  <a:gd name="connsiteX83" fmla="*/ 1994535 w 3008034"/>
                  <a:gd name="connsiteY83" fmla="*/ 251460 h 3680460"/>
                  <a:gd name="connsiteX84" fmla="*/ 1887855 w 3008034"/>
                  <a:gd name="connsiteY84" fmla="*/ 1828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81" fmla="*/ 1849755 w 3008034"/>
                  <a:gd name="connsiteY81" fmla="*/ 160020 h 3680460"/>
                  <a:gd name="connsiteX82" fmla="*/ 1765935 w 3008034"/>
                  <a:gd name="connsiteY82" fmla="*/ 91440 h 3680460"/>
                  <a:gd name="connsiteX83" fmla="*/ 1750695 w 3008034"/>
                  <a:gd name="connsiteY83" fmla="*/ 68580 h 3680460"/>
                  <a:gd name="connsiteX84" fmla="*/ 1811655 w 3008034"/>
                  <a:gd name="connsiteY84" fmla="*/ 107633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81" fmla="*/ 1849755 w 3008034"/>
                  <a:gd name="connsiteY81" fmla="*/ 160020 h 3680460"/>
                  <a:gd name="connsiteX82" fmla="*/ 1765935 w 3008034"/>
                  <a:gd name="connsiteY82" fmla="*/ 91440 h 3680460"/>
                  <a:gd name="connsiteX83" fmla="*/ 1811655 w 3008034"/>
                  <a:gd name="connsiteY83" fmla="*/ 107633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81" fmla="*/ 1849755 w 3008034"/>
                  <a:gd name="connsiteY81" fmla="*/ 160020 h 3680460"/>
                  <a:gd name="connsiteX82" fmla="*/ 1765935 w 3008034"/>
                  <a:gd name="connsiteY82" fmla="*/ 914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81" fmla="*/ 1849755 w 3008034"/>
                  <a:gd name="connsiteY81" fmla="*/ 16002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80" fmla="*/ 1887855 w 3008034"/>
                  <a:gd name="connsiteY80" fmla="*/ 1828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79" fmla="*/ 1994535 w 3008034"/>
                  <a:gd name="connsiteY79" fmla="*/ 2514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93595 w 3008034"/>
                  <a:gd name="connsiteY77" fmla="*/ 312420 h 3680460"/>
                  <a:gd name="connsiteX78" fmla="*/ 2032635 w 3008034"/>
                  <a:gd name="connsiteY78" fmla="*/ 2667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77" fmla="*/ 2032635 w 3008034"/>
                  <a:gd name="connsiteY77" fmla="*/ 2667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76" fmla="*/ 2227898 w 3008034"/>
                  <a:gd name="connsiteY76" fmla="*/ 406717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75" fmla="*/ 2291715 w 3008034"/>
                  <a:gd name="connsiteY75" fmla="*/ 458152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74" fmla="*/ 2448878 w 3008034"/>
                  <a:gd name="connsiteY74" fmla="*/ 621983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73" fmla="*/ 2611755 w 3008034"/>
                  <a:gd name="connsiteY73" fmla="*/ 8001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72" fmla="*/ 2672715 w 3008034"/>
                  <a:gd name="connsiteY72" fmla="*/ 9372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71" fmla="*/ 2718435 w 3008034"/>
                  <a:gd name="connsiteY71" fmla="*/ 10210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70" fmla="*/ 2726055 w 3008034"/>
                  <a:gd name="connsiteY70" fmla="*/ 10439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69" fmla="*/ 2756535 w 3008034"/>
                  <a:gd name="connsiteY69" fmla="*/ 10896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68" fmla="*/ 2840355 w 3008034"/>
                  <a:gd name="connsiteY68" fmla="*/ 12344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67" fmla="*/ 2847975 w 3008034"/>
                  <a:gd name="connsiteY67" fmla="*/ 12725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66" fmla="*/ 2886075 w 3008034"/>
                  <a:gd name="connsiteY66" fmla="*/ 13716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65" fmla="*/ 2908935 w 3008034"/>
                  <a:gd name="connsiteY65" fmla="*/ 14706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64" fmla="*/ 2924175 w 3008034"/>
                  <a:gd name="connsiteY64" fmla="*/ 18440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63" fmla="*/ 2908935 w 3008034"/>
                  <a:gd name="connsiteY63" fmla="*/ 20497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62" fmla="*/ 2802255 w 3008034"/>
                  <a:gd name="connsiteY62" fmla="*/ 240792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61" fmla="*/ 2779395 w 3008034"/>
                  <a:gd name="connsiteY61" fmla="*/ 248412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60" fmla="*/ 2695575 w 3008034"/>
                  <a:gd name="connsiteY60" fmla="*/ 26670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59" fmla="*/ 2665095 w 3008034"/>
                  <a:gd name="connsiteY59" fmla="*/ 27279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58" fmla="*/ 2619375 w 3008034"/>
                  <a:gd name="connsiteY58" fmla="*/ 28117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57" fmla="*/ 2527935 w 3008034"/>
                  <a:gd name="connsiteY57" fmla="*/ 29260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56" fmla="*/ 2459355 w 3008034"/>
                  <a:gd name="connsiteY56" fmla="*/ 30099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55" fmla="*/ 2337435 w 3008034"/>
                  <a:gd name="connsiteY55" fmla="*/ 31546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54" fmla="*/ 2189797 w 3008034"/>
                  <a:gd name="connsiteY54" fmla="*/ 3251835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53" fmla="*/ 2089785 w 3008034"/>
                  <a:gd name="connsiteY53" fmla="*/ 3308985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52" fmla="*/ 1941195 w 3008034"/>
                  <a:gd name="connsiteY52" fmla="*/ 339090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51" fmla="*/ 1864995 w 3008034"/>
                  <a:gd name="connsiteY51" fmla="*/ 34213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50" fmla="*/ 1781175 w 3008034"/>
                  <a:gd name="connsiteY50" fmla="*/ 345186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49" fmla="*/ 1621155 w 3008034"/>
                  <a:gd name="connsiteY49" fmla="*/ 349758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48" fmla="*/ 1529715 w 3008034"/>
                  <a:gd name="connsiteY48" fmla="*/ 35204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47" fmla="*/ 1331595 w 3008034"/>
                  <a:gd name="connsiteY47" fmla="*/ 355092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  <a:gd name="connsiteX46" fmla="*/ 721995 w 3008034"/>
                  <a:gd name="connsiteY46" fmla="*/ 3558540 h 3680460"/>
                  <a:gd name="connsiteX0" fmla="*/ 1720215 w 3008034"/>
                  <a:gd name="connsiteY0" fmla="*/ 16193 h 3680460"/>
                  <a:gd name="connsiteX1" fmla="*/ 1971675 w 3008034"/>
                  <a:gd name="connsiteY1" fmla="*/ 0 h 3680460"/>
                  <a:gd name="connsiteX2" fmla="*/ 2162175 w 3008034"/>
                  <a:gd name="connsiteY2" fmla="*/ 114300 h 3680460"/>
                  <a:gd name="connsiteX3" fmla="*/ 2276475 w 3008034"/>
                  <a:gd name="connsiteY3" fmla="*/ 190500 h 3680460"/>
                  <a:gd name="connsiteX4" fmla="*/ 2527935 w 3008034"/>
                  <a:gd name="connsiteY4" fmla="*/ 426720 h 3680460"/>
                  <a:gd name="connsiteX5" fmla="*/ 2543175 w 3008034"/>
                  <a:gd name="connsiteY5" fmla="*/ 449580 h 3680460"/>
                  <a:gd name="connsiteX6" fmla="*/ 2611755 w 3008034"/>
                  <a:gd name="connsiteY6" fmla="*/ 548640 h 3680460"/>
                  <a:gd name="connsiteX7" fmla="*/ 2665095 w 3008034"/>
                  <a:gd name="connsiteY7" fmla="*/ 609600 h 3680460"/>
                  <a:gd name="connsiteX8" fmla="*/ 2756535 w 3008034"/>
                  <a:gd name="connsiteY8" fmla="*/ 754380 h 3680460"/>
                  <a:gd name="connsiteX9" fmla="*/ 2809875 w 3008034"/>
                  <a:gd name="connsiteY9" fmla="*/ 830580 h 3680460"/>
                  <a:gd name="connsiteX10" fmla="*/ 2908935 w 3008034"/>
                  <a:gd name="connsiteY10" fmla="*/ 1036320 h 3680460"/>
                  <a:gd name="connsiteX11" fmla="*/ 2954655 w 3008034"/>
                  <a:gd name="connsiteY11" fmla="*/ 1203960 h 3680460"/>
                  <a:gd name="connsiteX12" fmla="*/ 2985135 w 3008034"/>
                  <a:gd name="connsiteY12" fmla="*/ 1348740 h 3680460"/>
                  <a:gd name="connsiteX13" fmla="*/ 3000375 w 3008034"/>
                  <a:gd name="connsiteY13" fmla="*/ 1432560 h 3680460"/>
                  <a:gd name="connsiteX14" fmla="*/ 3007995 w 3008034"/>
                  <a:gd name="connsiteY14" fmla="*/ 1684020 h 3680460"/>
                  <a:gd name="connsiteX15" fmla="*/ 3003233 w 3008034"/>
                  <a:gd name="connsiteY15" fmla="*/ 1990725 h 3680460"/>
                  <a:gd name="connsiteX16" fmla="*/ 2969895 w 3008034"/>
                  <a:gd name="connsiteY16" fmla="*/ 2194560 h 3680460"/>
                  <a:gd name="connsiteX17" fmla="*/ 2931795 w 3008034"/>
                  <a:gd name="connsiteY17" fmla="*/ 2324100 h 3680460"/>
                  <a:gd name="connsiteX18" fmla="*/ 2916555 w 3008034"/>
                  <a:gd name="connsiteY18" fmla="*/ 2392680 h 3680460"/>
                  <a:gd name="connsiteX19" fmla="*/ 2867978 w 3008034"/>
                  <a:gd name="connsiteY19" fmla="*/ 2521267 h 3680460"/>
                  <a:gd name="connsiteX20" fmla="*/ 2801303 w 3008034"/>
                  <a:gd name="connsiteY20" fmla="*/ 2656523 h 3680460"/>
                  <a:gd name="connsiteX21" fmla="*/ 2719387 w 3008034"/>
                  <a:gd name="connsiteY21" fmla="*/ 2818447 h 3680460"/>
                  <a:gd name="connsiteX22" fmla="*/ 2495550 w 3008034"/>
                  <a:gd name="connsiteY22" fmla="*/ 3084195 h 3680460"/>
                  <a:gd name="connsiteX23" fmla="*/ 2396490 w 3008034"/>
                  <a:gd name="connsiteY23" fmla="*/ 3185160 h 3680460"/>
                  <a:gd name="connsiteX24" fmla="*/ 2284095 w 3008034"/>
                  <a:gd name="connsiteY24" fmla="*/ 3284220 h 3680460"/>
                  <a:gd name="connsiteX25" fmla="*/ 2131695 w 3008034"/>
                  <a:gd name="connsiteY25" fmla="*/ 3390900 h 3680460"/>
                  <a:gd name="connsiteX26" fmla="*/ 2000250 w 3008034"/>
                  <a:gd name="connsiteY26" fmla="*/ 3448050 h 3680460"/>
                  <a:gd name="connsiteX27" fmla="*/ 1864995 w 3008034"/>
                  <a:gd name="connsiteY27" fmla="*/ 3512820 h 3680460"/>
                  <a:gd name="connsiteX28" fmla="*/ 1819275 w 3008034"/>
                  <a:gd name="connsiteY28" fmla="*/ 3520440 h 3680460"/>
                  <a:gd name="connsiteX29" fmla="*/ 1712595 w 3008034"/>
                  <a:gd name="connsiteY29" fmla="*/ 3550920 h 3680460"/>
                  <a:gd name="connsiteX30" fmla="*/ 1590675 w 3008034"/>
                  <a:gd name="connsiteY30" fmla="*/ 3589020 h 3680460"/>
                  <a:gd name="connsiteX31" fmla="*/ 1537335 w 3008034"/>
                  <a:gd name="connsiteY31" fmla="*/ 3611880 h 3680460"/>
                  <a:gd name="connsiteX32" fmla="*/ 1453515 w 3008034"/>
                  <a:gd name="connsiteY32" fmla="*/ 3627120 h 3680460"/>
                  <a:gd name="connsiteX33" fmla="*/ 1263650 w 3008034"/>
                  <a:gd name="connsiteY33" fmla="*/ 3663950 h 3680460"/>
                  <a:gd name="connsiteX34" fmla="*/ 1194435 w 3008034"/>
                  <a:gd name="connsiteY34" fmla="*/ 3672840 h 3680460"/>
                  <a:gd name="connsiteX35" fmla="*/ 1156335 w 3008034"/>
                  <a:gd name="connsiteY35" fmla="*/ 3680460 h 3680460"/>
                  <a:gd name="connsiteX36" fmla="*/ 625792 w 3008034"/>
                  <a:gd name="connsiteY36" fmla="*/ 3668078 h 3680460"/>
                  <a:gd name="connsiteX37" fmla="*/ 402908 w 3008034"/>
                  <a:gd name="connsiteY37" fmla="*/ 3614738 h 3680460"/>
                  <a:gd name="connsiteX38" fmla="*/ 266700 w 3008034"/>
                  <a:gd name="connsiteY38" fmla="*/ 3570922 h 3680460"/>
                  <a:gd name="connsiteX39" fmla="*/ 164782 w 3008034"/>
                  <a:gd name="connsiteY39" fmla="*/ 3515678 h 3680460"/>
                  <a:gd name="connsiteX40" fmla="*/ 31433 w 3008034"/>
                  <a:gd name="connsiteY40" fmla="*/ 3422333 h 3680460"/>
                  <a:gd name="connsiteX41" fmla="*/ 0 w 3008034"/>
                  <a:gd name="connsiteY41" fmla="*/ 3376613 h 3680460"/>
                  <a:gd name="connsiteX42" fmla="*/ 127635 w 3008034"/>
                  <a:gd name="connsiteY42" fmla="*/ 3360420 h 3680460"/>
                  <a:gd name="connsiteX43" fmla="*/ 158115 w 3008034"/>
                  <a:gd name="connsiteY43" fmla="*/ 3390900 h 3680460"/>
                  <a:gd name="connsiteX44" fmla="*/ 317183 w 3008034"/>
                  <a:gd name="connsiteY44" fmla="*/ 3450907 h 3680460"/>
                  <a:gd name="connsiteX45" fmla="*/ 485775 w 3008034"/>
                  <a:gd name="connsiteY45" fmla="*/ 3520440 h 36804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</a:cxnLst>
                <a:rect l="l" t="t" r="r" b="b"/>
                <a:pathLst>
                  <a:path w="3008034" h="3680460">
                    <a:moveTo>
                      <a:pt x="1720215" y="16193"/>
                    </a:moveTo>
                    <a:cubicBezTo>
                      <a:pt x="1760855" y="7303"/>
                      <a:pt x="1922145" y="0"/>
                      <a:pt x="1971675" y="0"/>
                    </a:cubicBezTo>
                    <a:cubicBezTo>
                      <a:pt x="2045335" y="16351"/>
                      <a:pt x="2111375" y="82550"/>
                      <a:pt x="2162175" y="114300"/>
                    </a:cubicBezTo>
                    <a:cubicBezTo>
                      <a:pt x="2212975" y="146050"/>
                      <a:pt x="2215515" y="138430"/>
                      <a:pt x="2276475" y="190500"/>
                    </a:cubicBezTo>
                    <a:cubicBezTo>
                      <a:pt x="2337435" y="242570"/>
                      <a:pt x="2483485" y="383540"/>
                      <a:pt x="2527935" y="426720"/>
                    </a:cubicBezTo>
                    <a:cubicBezTo>
                      <a:pt x="2572385" y="469900"/>
                      <a:pt x="2529205" y="429260"/>
                      <a:pt x="2543175" y="449580"/>
                    </a:cubicBezTo>
                    <a:cubicBezTo>
                      <a:pt x="2557145" y="469900"/>
                      <a:pt x="2591435" y="521970"/>
                      <a:pt x="2611755" y="548640"/>
                    </a:cubicBezTo>
                    <a:cubicBezTo>
                      <a:pt x="2632075" y="575310"/>
                      <a:pt x="2622767" y="577854"/>
                      <a:pt x="2665095" y="609600"/>
                    </a:cubicBezTo>
                    <a:cubicBezTo>
                      <a:pt x="2689225" y="643890"/>
                      <a:pt x="2732405" y="717550"/>
                      <a:pt x="2756535" y="754380"/>
                    </a:cubicBezTo>
                    <a:cubicBezTo>
                      <a:pt x="2780665" y="791210"/>
                      <a:pt x="2784475" y="783590"/>
                      <a:pt x="2809875" y="830580"/>
                    </a:cubicBezTo>
                    <a:cubicBezTo>
                      <a:pt x="2835275" y="877570"/>
                      <a:pt x="2884805" y="974090"/>
                      <a:pt x="2908935" y="1036320"/>
                    </a:cubicBezTo>
                    <a:cubicBezTo>
                      <a:pt x="2933065" y="1098550"/>
                      <a:pt x="2941955" y="1151890"/>
                      <a:pt x="2954655" y="1203960"/>
                    </a:cubicBezTo>
                    <a:cubicBezTo>
                      <a:pt x="2967355" y="1256030"/>
                      <a:pt x="2977515" y="1310640"/>
                      <a:pt x="2985135" y="1348740"/>
                    </a:cubicBezTo>
                    <a:cubicBezTo>
                      <a:pt x="2992755" y="1386840"/>
                      <a:pt x="2994861" y="1399474"/>
                      <a:pt x="3000375" y="1432560"/>
                    </a:cubicBezTo>
                    <a:cubicBezTo>
                      <a:pt x="3002915" y="1516380"/>
                      <a:pt x="3007519" y="1590993"/>
                      <a:pt x="3007995" y="1684020"/>
                    </a:cubicBezTo>
                    <a:cubicBezTo>
                      <a:pt x="3008471" y="1777047"/>
                      <a:pt x="3004503" y="1917065"/>
                      <a:pt x="3003233" y="1990725"/>
                    </a:cubicBezTo>
                    <a:cubicBezTo>
                      <a:pt x="2996883" y="2075815"/>
                      <a:pt x="2981801" y="2138998"/>
                      <a:pt x="2969895" y="2194560"/>
                    </a:cubicBezTo>
                    <a:cubicBezTo>
                      <a:pt x="2957989" y="2250123"/>
                      <a:pt x="2940685" y="2291080"/>
                      <a:pt x="2931795" y="2324100"/>
                    </a:cubicBezTo>
                    <a:cubicBezTo>
                      <a:pt x="2922905" y="2357120"/>
                      <a:pt x="2927191" y="2359819"/>
                      <a:pt x="2916555" y="2392680"/>
                    </a:cubicBezTo>
                    <a:cubicBezTo>
                      <a:pt x="2905919" y="2425541"/>
                      <a:pt x="2887187" y="2477293"/>
                      <a:pt x="2867978" y="2521267"/>
                    </a:cubicBezTo>
                    <a:cubicBezTo>
                      <a:pt x="2848769" y="2565241"/>
                      <a:pt x="2826068" y="2606993"/>
                      <a:pt x="2801303" y="2656523"/>
                    </a:cubicBezTo>
                    <a:cubicBezTo>
                      <a:pt x="2776538" y="2706053"/>
                      <a:pt x="2770346" y="2747168"/>
                      <a:pt x="2719387" y="2818447"/>
                    </a:cubicBezTo>
                    <a:cubicBezTo>
                      <a:pt x="2668428" y="2889726"/>
                      <a:pt x="2549366" y="3023076"/>
                      <a:pt x="2495550" y="3084195"/>
                    </a:cubicBezTo>
                    <a:cubicBezTo>
                      <a:pt x="2441734" y="3145314"/>
                      <a:pt x="2453624" y="3142302"/>
                      <a:pt x="2396490" y="3185160"/>
                    </a:cubicBezTo>
                    <a:cubicBezTo>
                      <a:pt x="2340924" y="3240726"/>
                      <a:pt x="2328228" y="3249930"/>
                      <a:pt x="2284095" y="3284220"/>
                    </a:cubicBezTo>
                    <a:cubicBezTo>
                      <a:pt x="2239962" y="3318510"/>
                      <a:pt x="2179003" y="3363595"/>
                      <a:pt x="2131695" y="3390900"/>
                    </a:cubicBezTo>
                    <a:cubicBezTo>
                      <a:pt x="2084388" y="3418205"/>
                      <a:pt x="2044700" y="3427730"/>
                      <a:pt x="2000250" y="3448050"/>
                    </a:cubicBezTo>
                    <a:cubicBezTo>
                      <a:pt x="1955800" y="3468370"/>
                      <a:pt x="1895157" y="3500755"/>
                      <a:pt x="1864995" y="3512820"/>
                    </a:cubicBezTo>
                    <a:cubicBezTo>
                      <a:pt x="1834833" y="3524885"/>
                      <a:pt x="1834204" y="3516459"/>
                      <a:pt x="1819275" y="3520440"/>
                    </a:cubicBezTo>
                    <a:cubicBezTo>
                      <a:pt x="1657541" y="3563569"/>
                      <a:pt x="1817788" y="3529881"/>
                      <a:pt x="1712595" y="3550920"/>
                    </a:cubicBezTo>
                    <a:cubicBezTo>
                      <a:pt x="1654014" y="3580211"/>
                      <a:pt x="1693135" y="3563405"/>
                      <a:pt x="1590675" y="3589020"/>
                    </a:cubicBezTo>
                    <a:lnTo>
                      <a:pt x="1537335" y="3611880"/>
                    </a:lnTo>
                    <a:cubicBezTo>
                      <a:pt x="1528815" y="3615075"/>
                      <a:pt x="1458650" y="3626264"/>
                      <a:pt x="1453515" y="3627120"/>
                    </a:cubicBezTo>
                    <a:cubicBezTo>
                      <a:pt x="1398276" y="3639605"/>
                      <a:pt x="1376715" y="3649202"/>
                      <a:pt x="1263650" y="3663950"/>
                    </a:cubicBezTo>
                    <a:lnTo>
                      <a:pt x="1194435" y="3672840"/>
                    </a:lnTo>
                    <a:cubicBezTo>
                      <a:pt x="1176549" y="3675592"/>
                      <a:pt x="1169035" y="3677920"/>
                      <a:pt x="1156335" y="3680460"/>
                    </a:cubicBezTo>
                    <a:lnTo>
                      <a:pt x="625792" y="3668078"/>
                    </a:lnTo>
                    <a:cubicBezTo>
                      <a:pt x="496252" y="3664268"/>
                      <a:pt x="481013" y="3621405"/>
                      <a:pt x="402908" y="3614738"/>
                    </a:cubicBezTo>
                    <a:cubicBezTo>
                      <a:pt x="372428" y="3603308"/>
                      <a:pt x="306388" y="3587432"/>
                      <a:pt x="266700" y="3570922"/>
                    </a:cubicBezTo>
                    <a:cubicBezTo>
                      <a:pt x="227012" y="3554412"/>
                      <a:pt x="186372" y="3527108"/>
                      <a:pt x="164782" y="3515678"/>
                    </a:cubicBezTo>
                    <a:cubicBezTo>
                      <a:pt x="127952" y="3487738"/>
                      <a:pt x="58897" y="3445510"/>
                      <a:pt x="31433" y="3422333"/>
                    </a:cubicBezTo>
                    <a:cubicBezTo>
                      <a:pt x="3969" y="3399156"/>
                      <a:pt x="34811" y="3428829"/>
                      <a:pt x="0" y="3376613"/>
                    </a:cubicBezTo>
                    <a:cubicBezTo>
                      <a:pt x="16034" y="3366294"/>
                      <a:pt x="99695" y="3354070"/>
                      <a:pt x="127635" y="3360420"/>
                    </a:cubicBezTo>
                    <a:cubicBezTo>
                      <a:pt x="137795" y="3370580"/>
                      <a:pt x="126524" y="3375819"/>
                      <a:pt x="158115" y="3390900"/>
                    </a:cubicBezTo>
                    <a:cubicBezTo>
                      <a:pt x="189706" y="3405981"/>
                      <a:pt x="281623" y="3440747"/>
                      <a:pt x="317183" y="3450907"/>
                    </a:cubicBezTo>
                    <a:cubicBezTo>
                      <a:pt x="371793" y="3472497"/>
                      <a:pt x="418306" y="3502501"/>
                      <a:pt x="485775" y="3520440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454558F1-1E1D-B6D4-AA98-275E19ADEEBC}"/>
                  </a:ext>
                </a:extLst>
              </p:cNvPr>
              <p:cNvSpPr/>
              <p:nvPr/>
            </p:nvSpPr>
            <p:spPr>
              <a:xfrm>
                <a:off x="4966195" y="5466716"/>
                <a:ext cx="372213" cy="756362"/>
              </a:xfrm>
              <a:custGeom>
                <a:avLst/>
                <a:gdLst>
                  <a:gd name="connsiteX0" fmla="*/ 23126 w 378064"/>
                  <a:gd name="connsiteY0" fmla="*/ 7620 h 754380"/>
                  <a:gd name="connsiteX1" fmla="*/ 15506 w 378064"/>
                  <a:gd name="connsiteY1" fmla="*/ 137160 h 754380"/>
                  <a:gd name="connsiteX2" fmla="*/ 266 w 378064"/>
                  <a:gd name="connsiteY2" fmla="*/ 510540 h 754380"/>
                  <a:gd name="connsiteX3" fmla="*/ 7886 w 378064"/>
                  <a:gd name="connsiteY3" fmla="*/ 670560 h 754380"/>
                  <a:gd name="connsiteX4" fmla="*/ 84086 w 378064"/>
                  <a:gd name="connsiteY4" fmla="*/ 739140 h 754380"/>
                  <a:gd name="connsiteX5" fmla="*/ 106946 w 378064"/>
                  <a:gd name="connsiteY5" fmla="*/ 754380 h 754380"/>
                  <a:gd name="connsiteX6" fmla="*/ 312686 w 378064"/>
                  <a:gd name="connsiteY6" fmla="*/ 746760 h 754380"/>
                  <a:gd name="connsiteX7" fmla="*/ 335546 w 378064"/>
                  <a:gd name="connsiteY7" fmla="*/ 731520 h 754380"/>
                  <a:gd name="connsiteX8" fmla="*/ 366026 w 378064"/>
                  <a:gd name="connsiteY8" fmla="*/ 716280 h 754380"/>
                  <a:gd name="connsiteX9" fmla="*/ 366026 w 378064"/>
                  <a:gd name="connsiteY9" fmla="*/ 571500 h 754380"/>
                  <a:gd name="connsiteX10" fmla="*/ 335546 w 378064"/>
                  <a:gd name="connsiteY10" fmla="*/ 419100 h 754380"/>
                  <a:gd name="connsiteX11" fmla="*/ 312686 w 378064"/>
                  <a:gd name="connsiteY11" fmla="*/ 281940 h 754380"/>
                  <a:gd name="connsiteX12" fmla="*/ 297446 w 378064"/>
                  <a:gd name="connsiteY12" fmla="*/ 213360 h 754380"/>
                  <a:gd name="connsiteX13" fmla="*/ 297446 w 378064"/>
                  <a:gd name="connsiteY13" fmla="*/ 0 h 754380"/>
                  <a:gd name="connsiteX0" fmla="*/ 23126 w 378064"/>
                  <a:gd name="connsiteY0" fmla="*/ 7620 h 754380"/>
                  <a:gd name="connsiteX1" fmla="*/ 15506 w 378064"/>
                  <a:gd name="connsiteY1" fmla="*/ 137160 h 754380"/>
                  <a:gd name="connsiteX2" fmla="*/ 266 w 378064"/>
                  <a:gd name="connsiteY2" fmla="*/ 510540 h 754380"/>
                  <a:gd name="connsiteX3" fmla="*/ 7886 w 378064"/>
                  <a:gd name="connsiteY3" fmla="*/ 670560 h 754380"/>
                  <a:gd name="connsiteX4" fmla="*/ 84086 w 378064"/>
                  <a:gd name="connsiteY4" fmla="*/ 739140 h 754380"/>
                  <a:gd name="connsiteX5" fmla="*/ 106946 w 378064"/>
                  <a:gd name="connsiteY5" fmla="*/ 754380 h 754380"/>
                  <a:gd name="connsiteX6" fmla="*/ 312686 w 378064"/>
                  <a:gd name="connsiteY6" fmla="*/ 746760 h 754380"/>
                  <a:gd name="connsiteX7" fmla="*/ 335546 w 378064"/>
                  <a:gd name="connsiteY7" fmla="*/ 731520 h 754380"/>
                  <a:gd name="connsiteX8" fmla="*/ 366026 w 378064"/>
                  <a:gd name="connsiteY8" fmla="*/ 716280 h 754380"/>
                  <a:gd name="connsiteX9" fmla="*/ 366026 w 378064"/>
                  <a:gd name="connsiteY9" fmla="*/ 571500 h 754380"/>
                  <a:gd name="connsiteX10" fmla="*/ 335546 w 378064"/>
                  <a:gd name="connsiteY10" fmla="*/ 419100 h 754380"/>
                  <a:gd name="connsiteX11" fmla="*/ 312686 w 378064"/>
                  <a:gd name="connsiteY11" fmla="*/ 281940 h 754380"/>
                  <a:gd name="connsiteX12" fmla="*/ 297446 w 378064"/>
                  <a:gd name="connsiteY12" fmla="*/ 0 h 754380"/>
                  <a:gd name="connsiteX0" fmla="*/ 23126 w 378064"/>
                  <a:gd name="connsiteY0" fmla="*/ 7620 h 754380"/>
                  <a:gd name="connsiteX1" fmla="*/ 15506 w 378064"/>
                  <a:gd name="connsiteY1" fmla="*/ 137160 h 754380"/>
                  <a:gd name="connsiteX2" fmla="*/ 266 w 378064"/>
                  <a:gd name="connsiteY2" fmla="*/ 510540 h 754380"/>
                  <a:gd name="connsiteX3" fmla="*/ 7886 w 378064"/>
                  <a:gd name="connsiteY3" fmla="*/ 670560 h 754380"/>
                  <a:gd name="connsiteX4" fmla="*/ 84086 w 378064"/>
                  <a:gd name="connsiteY4" fmla="*/ 739140 h 754380"/>
                  <a:gd name="connsiteX5" fmla="*/ 106946 w 378064"/>
                  <a:gd name="connsiteY5" fmla="*/ 754380 h 754380"/>
                  <a:gd name="connsiteX6" fmla="*/ 312686 w 378064"/>
                  <a:gd name="connsiteY6" fmla="*/ 746760 h 754380"/>
                  <a:gd name="connsiteX7" fmla="*/ 335546 w 378064"/>
                  <a:gd name="connsiteY7" fmla="*/ 731520 h 754380"/>
                  <a:gd name="connsiteX8" fmla="*/ 366026 w 378064"/>
                  <a:gd name="connsiteY8" fmla="*/ 716280 h 754380"/>
                  <a:gd name="connsiteX9" fmla="*/ 366026 w 378064"/>
                  <a:gd name="connsiteY9" fmla="*/ 571500 h 754380"/>
                  <a:gd name="connsiteX10" fmla="*/ 335546 w 378064"/>
                  <a:gd name="connsiteY10" fmla="*/ 419100 h 754380"/>
                  <a:gd name="connsiteX11" fmla="*/ 325386 w 378064"/>
                  <a:gd name="connsiteY11" fmla="*/ 215265 h 754380"/>
                  <a:gd name="connsiteX12" fmla="*/ 297446 w 378064"/>
                  <a:gd name="connsiteY12" fmla="*/ 0 h 754380"/>
                  <a:gd name="connsiteX0" fmla="*/ 23126 w 378064"/>
                  <a:gd name="connsiteY0" fmla="*/ 4445 h 751205"/>
                  <a:gd name="connsiteX1" fmla="*/ 15506 w 378064"/>
                  <a:gd name="connsiteY1" fmla="*/ 133985 h 751205"/>
                  <a:gd name="connsiteX2" fmla="*/ 266 w 378064"/>
                  <a:gd name="connsiteY2" fmla="*/ 507365 h 751205"/>
                  <a:gd name="connsiteX3" fmla="*/ 7886 w 378064"/>
                  <a:gd name="connsiteY3" fmla="*/ 667385 h 751205"/>
                  <a:gd name="connsiteX4" fmla="*/ 84086 w 378064"/>
                  <a:gd name="connsiteY4" fmla="*/ 735965 h 751205"/>
                  <a:gd name="connsiteX5" fmla="*/ 106946 w 378064"/>
                  <a:gd name="connsiteY5" fmla="*/ 751205 h 751205"/>
                  <a:gd name="connsiteX6" fmla="*/ 312686 w 378064"/>
                  <a:gd name="connsiteY6" fmla="*/ 743585 h 751205"/>
                  <a:gd name="connsiteX7" fmla="*/ 335546 w 378064"/>
                  <a:gd name="connsiteY7" fmla="*/ 728345 h 751205"/>
                  <a:gd name="connsiteX8" fmla="*/ 366026 w 378064"/>
                  <a:gd name="connsiteY8" fmla="*/ 713105 h 751205"/>
                  <a:gd name="connsiteX9" fmla="*/ 366026 w 378064"/>
                  <a:gd name="connsiteY9" fmla="*/ 568325 h 751205"/>
                  <a:gd name="connsiteX10" fmla="*/ 335546 w 378064"/>
                  <a:gd name="connsiteY10" fmla="*/ 415925 h 751205"/>
                  <a:gd name="connsiteX11" fmla="*/ 325386 w 378064"/>
                  <a:gd name="connsiteY11" fmla="*/ 212090 h 751205"/>
                  <a:gd name="connsiteX12" fmla="*/ 310146 w 378064"/>
                  <a:gd name="connsiteY12" fmla="*/ 0 h 751205"/>
                  <a:gd name="connsiteX0" fmla="*/ 23126 w 375245"/>
                  <a:gd name="connsiteY0" fmla="*/ 4445 h 751205"/>
                  <a:gd name="connsiteX1" fmla="*/ 15506 w 375245"/>
                  <a:gd name="connsiteY1" fmla="*/ 133985 h 751205"/>
                  <a:gd name="connsiteX2" fmla="*/ 266 w 375245"/>
                  <a:gd name="connsiteY2" fmla="*/ 507365 h 751205"/>
                  <a:gd name="connsiteX3" fmla="*/ 7886 w 375245"/>
                  <a:gd name="connsiteY3" fmla="*/ 667385 h 751205"/>
                  <a:gd name="connsiteX4" fmla="*/ 84086 w 375245"/>
                  <a:gd name="connsiteY4" fmla="*/ 735965 h 751205"/>
                  <a:gd name="connsiteX5" fmla="*/ 106946 w 375245"/>
                  <a:gd name="connsiteY5" fmla="*/ 751205 h 751205"/>
                  <a:gd name="connsiteX6" fmla="*/ 312686 w 375245"/>
                  <a:gd name="connsiteY6" fmla="*/ 743585 h 751205"/>
                  <a:gd name="connsiteX7" fmla="*/ 335546 w 375245"/>
                  <a:gd name="connsiteY7" fmla="*/ 728345 h 751205"/>
                  <a:gd name="connsiteX8" fmla="*/ 366026 w 375245"/>
                  <a:gd name="connsiteY8" fmla="*/ 713105 h 751205"/>
                  <a:gd name="connsiteX9" fmla="*/ 366026 w 375245"/>
                  <a:gd name="connsiteY9" fmla="*/ 568325 h 751205"/>
                  <a:gd name="connsiteX10" fmla="*/ 354596 w 375245"/>
                  <a:gd name="connsiteY10" fmla="*/ 409575 h 751205"/>
                  <a:gd name="connsiteX11" fmla="*/ 325386 w 375245"/>
                  <a:gd name="connsiteY11" fmla="*/ 212090 h 751205"/>
                  <a:gd name="connsiteX12" fmla="*/ 310146 w 375245"/>
                  <a:gd name="connsiteY12" fmla="*/ 0 h 751205"/>
                  <a:gd name="connsiteX0" fmla="*/ 23126 w 370435"/>
                  <a:gd name="connsiteY0" fmla="*/ 4445 h 751205"/>
                  <a:gd name="connsiteX1" fmla="*/ 15506 w 370435"/>
                  <a:gd name="connsiteY1" fmla="*/ 133985 h 751205"/>
                  <a:gd name="connsiteX2" fmla="*/ 266 w 370435"/>
                  <a:gd name="connsiteY2" fmla="*/ 507365 h 751205"/>
                  <a:gd name="connsiteX3" fmla="*/ 7886 w 370435"/>
                  <a:gd name="connsiteY3" fmla="*/ 667385 h 751205"/>
                  <a:gd name="connsiteX4" fmla="*/ 84086 w 370435"/>
                  <a:gd name="connsiteY4" fmla="*/ 735965 h 751205"/>
                  <a:gd name="connsiteX5" fmla="*/ 106946 w 370435"/>
                  <a:gd name="connsiteY5" fmla="*/ 751205 h 751205"/>
                  <a:gd name="connsiteX6" fmla="*/ 312686 w 370435"/>
                  <a:gd name="connsiteY6" fmla="*/ 743585 h 751205"/>
                  <a:gd name="connsiteX7" fmla="*/ 366026 w 370435"/>
                  <a:gd name="connsiteY7" fmla="*/ 713105 h 751205"/>
                  <a:gd name="connsiteX8" fmla="*/ 366026 w 370435"/>
                  <a:gd name="connsiteY8" fmla="*/ 568325 h 751205"/>
                  <a:gd name="connsiteX9" fmla="*/ 354596 w 370435"/>
                  <a:gd name="connsiteY9" fmla="*/ 409575 h 751205"/>
                  <a:gd name="connsiteX10" fmla="*/ 325386 w 370435"/>
                  <a:gd name="connsiteY10" fmla="*/ 212090 h 751205"/>
                  <a:gd name="connsiteX11" fmla="*/ 310146 w 370435"/>
                  <a:gd name="connsiteY11" fmla="*/ 0 h 751205"/>
                  <a:gd name="connsiteX0" fmla="*/ 24904 w 372213"/>
                  <a:gd name="connsiteY0" fmla="*/ 4445 h 756362"/>
                  <a:gd name="connsiteX1" fmla="*/ 17284 w 372213"/>
                  <a:gd name="connsiteY1" fmla="*/ 133985 h 756362"/>
                  <a:gd name="connsiteX2" fmla="*/ 2044 w 372213"/>
                  <a:gd name="connsiteY2" fmla="*/ 507365 h 756362"/>
                  <a:gd name="connsiteX3" fmla="*/ 9664 w 372213"/>
                  <a:gd name="connsiteY3" fmla="*/ 667385 h 756362"/>
                  <a:gd name="connsiteX4" fmla="*/ 108724 w 372213"/>
                  <a:gd name="connsiteY4" fmla="*/ 751205 h 756362"/>
                  <a:gd name="connsiteX5" fmla="*/ 314464 w 372213"/>
                  <a:gd name="connsiteY5" fmla="*/ 743585 h 756362"/>
                  <a:gd name="connsiteX6" fmla="*/ 367804 w 372213"/>
                  <a:gd name="connsiteY6" fmla="*/ 713105 h 756362"/>
                  <a:gd name="connsiteX7" fmla="*/ 367804 w 372213"/>
                  <a:gd name="connsiteY7" fmla="*/ 568325 h 756362"/>
                  <a:gd name="connsiteX8" fmla="*/ 356374 w 372213"/>
                  <a:gd name="connsiteY8" fmla="*/ 409575 h 756362"/>
                  <a:gd name="connsiteX9" fmla="*/ 327164 w 372213"/>
                  <a:gd name="connsiteY9" fmla="*/ 212090 h 756362"/>
                  <a:gd name="connsiteX10" fmla="*/ 311924 w 372213"/>
                  <a:gd name="connsiteY10" fmla="*/ 0 h 756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72213" h="756362">
                    <a:moveTo>
                      <a:pt x="24904" y="4445"/>
                    </a:moveTo>
                    <a:cubicBezTo>
                      <a:pt x="22364" y="47625"/>
                      <a:pt x="18801" y="90757"/>
                      <a:pt x="17284" y="133985"/>
                    </a:cubicBezTo>
                    <a:cubicBezTo>
                      <a:pt x="4256" y="505274"/>
                      <a:pt x="21981" y="327931"/>
                      <a:pt x="2044" y="507365"/>
                    </a:cubicBezTo>
                    <a:cubicBezTo>
                      <a:pt x="4584" y="560705"/>
                      <a:pt x="-8116" y="626745"/>
                      <a:pt x="9664" y="667385"/>
                    </a:cubicBezTo>
                    <a:cubicBezTo>
                      <a:pt x="27444" y="708025"/>
                      <a:pt x="57924" y="738505"/>
                      <a:pt x="108724" y="751205"/>
                    </a:cubicBezTo>
                    <a:cubicBezTo>
                      <a:pt x="159524" y="763905"/>
                      <a:pt x="271284" y="749935"/>
                      <a:pt x="314464" y="743585"/>
                    </a:cubicBezTo>
                    <a:cubicBezTo>
                      <a:pt x="357644" y="737235"/>
                      <a:pt x="358914" y="742315"/>
                      <a:pt x="367804" y="713105"/>
                    </a:cubicBezTo>
                    <a:cubicBezTo>
                      <a:pt x="376694" y="683895"/>
                      <a:pt x="369709" y="618913"/>
                      <a:pt x="367804" y="568325"/>
                    </a:cubicBezTo>
                    <a:cubicBezTo>
                      <a:pt x="365899" y="517737"/>
                      <a:pt x="363147" y="468947"/>
                      <a:pt x="356374" y="409575"/>
                    </a:cubicBezTo>
                    <a:cubicBezTo>
                      <a:pt x="349601" y="350203"/>
                      <a:pt x="334572" y="280353"/>
                      <a:pt x="327164" y="212090"/>
                    </a:cubicBezTo>
                    <a:cubicBezTo>
                      <a:pt x="319756" y="143828"/>
                      <a:pt x="315099" y="58738"/>
                      <a:pt x="311924" y="0"/>
                    </a:cubicBezTo>
                  </a:path>
                </a:pathLst>
              </a:custGeom>
              <a:solidFill>
                <a:srgbClr val="FBCCD0"/>
              </a:solidFill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CAD03DFA-601E-1F0A-85BF-EF6AF8E97914}"/>
                </a:ext>
              </a:extLst>
            </p:cNvPr>
            <p:cNvSpPr/>
            <p:nvPr/>
          </p:nvSpPr>
          <p:spPr>
            <a:xfrm>
              <a:off x="2188411" y="2055119"/>
              <a:ext cx="1031704" cy="2174539"/>
            </a:xfrm>
            <a:custGeom>
              <a:avLst/>
              <a:gdLst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38100 w 1162050"/>
                <a:gd name="connsiteY8" fmla="*/ 1562100 h 2381250"/>
                <a:gd name="connsiteX9" fmla="*/ 47625 w 1162050"/>
                <a:gd name="connsiteY9" fmla="*/ 1533525 h 2381250"/>
                <a:gd name="connsiteX10" fmla="*/ 66675 w 1162050"/>
                <a:gd name="connsiteY10" fmla="*/ 1495425 h 2381250"/>
                <a:gd name="connsiteX11" fmla="*/ 76200 w 1162050"/>
                <a:gd name="connsiteY11" fmla="*/ 1466850 h 2381250"/>
                <a:gd name="connsiteX12" fmla="*/ 95250 w 1162050"/>
                <a:gd name="connsiteY12" fmla="*/ 1400175 h 2381250"/>
                <a:gd name="connsiteX13" fmla="*/ 104775 w 1162050"/>
                <a:gd name="connsiteY13" fmla="*/ 1352550 h 2381250"/>
                <a:gd name="connsiteX14" fmla="*/ 133350 w 1162050"/>
                <a:gd name="connsiteY14" fmla="*/ 1295400 h 2381250"/>
                <a:gd name="connsiteX15" fmla="*/ 142875 w 1162050"/>
                <a:gd name="connsiteY15" fmla="*/ 1238250 h 2381250"/>
                <a:gd name="connsiteX16" fmla="*/ 161925 w 1162050"/>
                <a:gd name="connsiteY16" fmla="*/ 1200150 h 2381250"/>
                <a:gd name="connsiteX17" fmla="*/ 200025 w 1162050"/>
                <a:gd name="connsiteY17" fmla="*/ 1095375 h 2381250"/>
                <a:gd name="connsiteX18" fmla="*/ 228600 w 1162050"/>
                <a:gd name="connsiteY18" fmla="*/ 1000125 h 2381250"/>
                <a:gd name="connsiteX19" fmla="*/ 247650 w 1162050"/>
                <a:gd name="connsiteY19" fmla="*/ 962025 h 2381250"/>
                <a:gd name="connsiteX20" fmla="*/ 257175 w 1162050"/>
                <a:gd name="connsiteY20" fmla="*/ 933450 h 2381250"/>
                <a:gd name="connsiteX21" fmla="*/ 276225 w 1162050"/>
                <a:gd name="connsiteY21" fmla="*/ 904875 h 2381250"/>
                <a:gd name="connsiteX22" fmla="*/ 285750 w 1162050"/>
                <a:gd name="connsiteY22" fmla="*/ 876300 h 2381250"/>
                <a:gd name="connsiteX23" fmla="*/ 361950 w 1162050"/>
                <a:gd name="connsiteY23" fmla="*/ 781050 h 2381250"/>
                <a:gd name="connsiteX24" fmla="*/ 419100 w 1162050"/>
                <a:gd name="connsiteY24" fmla="*/ 676275 h 2381250"/>
                <a:gd name="connsiteX25" fmla="*/ 447675 w 1162050"/>
                <a:gd name="connsiteY25" fmla="*/ 647700 h 2381250"/>
                <a:gd name="connsiteX26" fmla="*/ 457200 w 1162050"/>
                <a:gd name="connsiteY26" fmla="*/ 609600 h 2381250"/>
                <a:gd name="connsiteX27" fmla="*/ 485775 w 1162050"/>
                <a:gd name="connsiteY27" fmla="*/ 571500 h 2381250"/>
                <a:gd name="connsiteX28" fmla="*/ 523875 w 1162050"/>
                <a:gd name="connsiteY28" fmla="*/ 514350 h 2381250"/>
                <a:gd name="connsiteX29" fmla="*/ 600075 w 1162050"/>
                <a:gd name="connsiteY29" fmla="*/ 419100 h 2381250"/>
                <a:gd name="connsiteX30" fmla="*/ 638175 w 1162050"/>
                <a:gd name="connsiteY30" fmla="*/ 361950 h 2381250"/>
                <a:gd name="connsiteX31" fmla="*/ 666750 w 1162050"/>
                <a:gd name="connsiteY31" fmla="*/ 333375 h 2381250"/>
                <a:gd name="connsiteX32" fmla="*/ 704850 w 1162050"/>
                <a:gd name="connsiteY32" fmla="*/ 285750 h 2381250"/>
                <a:gd name="connsiteX33" fmla="*/ 723900 w 1162050"/>
                <a:gd name="connsiteY33" fmla="*/ 257175 h 2381250"/>
                <a:gd name="connsiteX34" fmla="*/ 771525 w 1162050"/>
                <a:gd name="connsiteY34" fmla="*/ 228600 h 2381250"/>
                <a:gd name="connsiteX35" fmla="*/ 838200 w 1162050"/>
                <a:gd name="connsiteY35" fmla="*/ 180975 h 2381250"/>
                <a:gd name="connsiteX36" fmla="*/ 914400 w 1162050"/>
                <a:gd name="connsiteY36" fmla="*/ 133350 h 2381250"/>
                <a:gd name="connsiteX37" fmla="*/ 1009650 w 1162050"/>
                <a:gd name="connsiteY37" fmla="*/ 66675 h 2381250"/>
                <a:gd name="connsiteX38" fmla="*/ 1085850 w 1162050"/>
                <a:gd name="connsiteY38" fmla="*/ 19050 h 2381250"/>
                <a:gd name="connsiteX39" fmla="*/ 1123950 w 1162050"/>
                <a:gd name="connsiteY39" fmla="*/ 9525 h 2381250"/>
                <a:gd name="connsiteX40" fmla="*/ 1162050 w 1162050"/>
                <a:gd name="connsiteY40" fmla="*/ 0 h 2381250"/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38100 w 1162050"/>
                <a:gd name="connsiteY8" fmla="*/ 1562100 h 2381250"/>
                <a:gd name="connsiteX9" fmla="*/ 66675 w 1162050"/>
                <a:gd name="connsiteY9" fmla="*/ 1495425 h 2381250"/>
                <a:gd name="connsiteX10" fmla="*/ 76200 w 1162050"/>
                <a:gd name="connsiteY10" fmla="*/ 1466850 h 2381250"/>
                <a:gd name="connsiteX11" fmla="*/ 95250 w 1162050"/>
                <a:gd name="connsiteY11" fmla="*/ 1400175 h 2381250"/>
                <a:gd name="connsiteX12" fmla="*/ 104775 w 1162050"/>
                <a:gd name="connsiteY12" fmla="*/ 1352550 h 2381250"/>
                <a:gd name="connsiteX13" fmla="*/ 133350 w 1162050"/>
                <a:gd name="connsiteY13" fmla="*/ 1295400 h 2381250"/>
                <a:gd name="connsiteX14" fmla="*/ 142875 w 1162050"/>
                <a:gd name="connsiteY14" fmla="*/ 1238250 h 2381250"/>
                <a:gd name="connsiteX15" fmla="*/ 161925 w 1162050"/>
                <a:gd name="connsiteY15" fmla="*/ 1200150 h 2381250"/>
                <a:gd name="connsiteX16" fmla="*/ 200025 w 1162050"/>
                <a:gd name="connsiteY16" fmla="*/ 1095375 h 2381250"/>
                <a:gd name="connsiteX17" fmla="*/ 228600 w 1162050"/>
                <a:gd name="connsiteY17" fmla="*/ 1000125 h 2381250"/>
                <a:gd name="connsiteX18" fmla="*/ 247650 w 1162050"/>
                <a:gd name="connsiteY18" fmla="*/ 962025 h 2381250"/>
                <a:gd name="connsiteX19" fmla="*/ 257175 w 1162050"/>
                <a:gd name="connsiteY19" fmla="*/ 933450 h 2381250"/>
                <a:gd name="connsiteX20" fmla="*/ 276225 w 1162050"/>
                <a:gd name="connsiteY20" fmla="*/ 904875 h 2381250"/>
                <a:gd name="connsiteX21" fmla="*/ 285750 w 1162050"/>
                <a:gd name="connsiteY21" fmla="*/ 876300 h 2381250"/>
                <a:gd name="connsiteX22" fmla="*/ 361950 w 1162050"/>
                <a:gd name="connsiteY22" fmla="*/ 781050 h 2381250"/>
                <a:gd name="connsiteX23" fmla="*/ 419100 w 1162050"/>
                <a:gd name="connsiteY23" fmla="*/ 676275 h 2381250"/>
                <a:gd name="connsiteX24" fmla="*/ 447675 w 1162050"/>
                <a:gd name="connsiteY24" fmla="*/ 647700 h 2381250"/>
                <a:gd name="connsiteX25" fmla="*/ 457200 w 1162050"/>
                <a:gd name="connsiteY25" fmla="*/ 609600 h 2381250"/>
                <a:gd name="connsiteX26" fmla="*/ 485775 w 1162050"/>
                <a:gd name="connsiteY26" fmla="*/ 571500 h 2381250"/>
                <a:gd name="connsiteX27" fmla="*/ 523875 w 1162050"/>
                <a:gd name="connsiteY27" fmla="*/ 514350 h 2381250"/>
                <a:gd name="connsiteX28" fmla="*/ 600075 w 1162050"/>
                <a:gd name="connsiteY28" fmla="*/ 419100 h 2381250"/>
                <a:gd name="connsiteX29" fmla="*/ 638175 w 1162050"/>
                <a:gd name="connsiteY29" fmla="*/ 361950 h 2381250"/>
                <a:gd name="connsiteX30" fmla="*/ 666750 w 1162050"/>
                <a:gd name="connsiteY30" fmla="*/ 333375 h 2381250"/>
                <a:gd name="connsiteX31" fmla="*/ 704850 w 1162050"/>
                <a:gd name="connsiteY31" fmla="*/ 285750 h 2381250"/>
                <a:gd name="connsiteX32" fmla="*/ 723900 w 1162050"/>
                <a:gd name="connsiteY32" fmla="*/ 257175 h 2381250"/>
                <a:gd name="connsiteX33" fmla="*/ 771525 w 1162050"/>
                <a:gd name="connsiteY33" fmla="*/ 228600 h 2381250"/>
                <a:gd name="connsiteX34" fmla="*/ 838200 w 1162050"/>
                <a:gd name="connsiteY34" fmla="*/ 180975 h 2381250"/>
                <a:gd name="connsiteX35" fmla="*/ 914400 w 1162050"/>
                <a:gd name="connsiteY35" fmla="*/ 133350 h 2381250"/>
                <a:gd name="connsiteX36" fmla="*/ 1009650 w 1162050"/>
                <a:gd name="connsiteY36" fmla="*/ 66675 h 2381250"/>
                <a:gd name="connsiteX37" fmla="*/ 1085850 w 1162050"/>
                <a:gd name="connsiteY37" fmla="*/ 19050 h 2381250"/>
                <a:gd name="connsiteX38" fmla="*/ 1123950 w 1162050"/>
                <a:gd name="connsiteY38" fmla="*/ 9525 h 2381250"/>
                <a:gd name="connsiteX39" fmla="*/ 1162050 w 1162050"/>
                <a:gd name="connsiteY39" fmla="*/ 0 h 2381250"/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38100 w 1162050"/>
                <a:gd name="connsiteY8" fmla="*/ 1562100 h 2381250"/>
                <a:gd name="connsiteX9" fmla="*/ 66675 w 1162050"/>
                <a:gd name="connsiteY9" fmla="*/ 1495425 h 2381250"/>
                <a:gd name="connsiteX10" fmla="*/ 95250 w 1162050"/>
                <a:gd name="connsiteY10" fmla="*/ 1400175 h 2381250"/>
                <a:gd name="connsiteX11" fmla="*/ 104775 w 1162050"/>
                <a:gd name="connsiteY11" fmla="*/ 1352550 h 2381250"/>
                <a:gd name="connsiteX12" fmla="*/ 133350 w 1162050"/>
                <a:gd name="connsiteY12" fmla="*/ 1295400 h 2381250"/>
                <a:gd name="connsiteX13" fmla="*/ 142875 w 1162050"/>
                <a:gd name="connsiteY13" fmla="*/ 1238250 h 2381250"/>
                <a:gd name="connsiteX14" fmla="*/ 161925 w 1162050"/>
                <a:gd name="connsiteY14" fmla="*/ 1200150 h 2381250"/>
                <a:gd name="connsiteX15" fmla="*/ 200025 w 1162050"/>
                <a:gd name="connsiteY15" fmla="*/ 1095375 h 2381250"/>
                <a:gd name="connsiteX16" fmla="*/ 228600 w 1162050"/>
                <a:gd name="connsiteY16" fmla="*/ 1000125 h 2381250"/>
                <a:gd name="connsiteX17" fmla="*/ 247650 w 1162050"/>
                <a:gd name="connsiteY17" fmla="*/ 962025 h 2381250"/>
                <a:gd name="connsiteX18" fmla="*/ 257175 w 1162050"/>
                <a:gd name="connsiteY18" fmla="*/ 933450 h 2381250"/>
                <a:gd name="connsiteX19" fmla="*/ 276225 w 1162050"/>
                <a:gd name="connsiteY19" fmla="*/ 904875 h 2381250"/>
                <a:gd name="connsiteX20" fmla="*/ 285750 w 1162050"/>
                <a:gd name="connsiteY20" fmla="*/ 876300 h 2381250"/>
                <a:gd name="connsiteX21" fmla="*/ 361950 w 1162050"/>
                <a:gd name="connsiteY21" fmla="*/ 781050 h 2381250"/>
                <a:gd name="connsiteX22" fmla="*/ 419100 w 1162050"/>
                <a:gd name="connsiteY22" fmla="*/ 676275 h 2381250"/>
                <a:gd name="connsiteX23" fmla="*/ 447675 w 1162050"/>
                <a:gd name="connsiteY23" fmla="*/ 647700 h 2381250"/>
                <a:gd name="connsiteX24" fmla="*/ 457200 w 1162050"/>
                <a:gd name="connsiteY24" fmla="*/ 609600 h 2381250"/>
                <a:gd name="connsiteX25" fmla="*/ 485775 w 1162050"/>
                <a:gd name="connsiteY25" fmla="*/ 571500 h 2381250"/>
                <a:gd name="connsiteX26" fmla="*/ 523875 w 1162050"/>
                <a:gd name="connsiteY26" fmla="*/ 514350 h 2381250"/>
                <a:gd name="connsiteX27" fmla="*/ 600075 w 1162050"/>
                <a:gd name="connsiteY27" fmla="*/ 419100 h 2381250"/>
                <a:gd name="connsiteX28" fmla="*/ 638175 w 1162050"/>
                <a:gd name="connsiteY28" fmla="*/ 361950 h 2381250"/>
                <a:gd name="connsiteX29" fmla="*/ 666750 w 1162050"/>
                <a:gd name="connsiteY29" fmla="*/ 333375 h 2381250"/>
                <a:gd name="connsiteX30" fmla="*/ 704850 w 1162050"/>
                <a:gd name="connsiteY30" fmla="*/ 285750 h 2381250"/>
                <a:gd name="connsiteX31" fmla="*/ 723900 w 1162050"/>
                <a:gd name="connsiteY31" fmla="*/ 257175 h 2381250"/>
                <a:gd name="connsiteX32" fmla="*/ 771525 w 1162050"/>
                <a:gd name="connsiteY32" fmla="*/ 228600 h 2381250"/>
                <a:gd name="connsiteX33" fmla="*/ 838200 w 1162050"/>
                <a:gd name="connsiteY33" fmla="*/ 180975 h 2381250"/>
                <a:gd name="connsiteX34" fmla="*/ 914400 w 1162050"/>
                <a:gd name="connsiteY34" fmla="*/ 133350 h 2381250"/>
                <a:gd name="connsiteX35" fmla="*/ 1009650 w 1162050"/>
                <a:gd name="connsiteY35" fmla="*/ 66675 h 2381250"/>
                <a:gd name="connsiteX36" fmla="*/ 1085850 w 1162050"/>
                <a:gd name="connsiteY36" fmla="*/ 19050 h 2381250"/>
                <a:gd name="connsiteX37" fmla="*/ 1123950 w 1162050"/>
                <a:gd name="connsiteY37" fmla="*/ 9525 h 2381250"/>
                <a:gd name="connsiteX38" fmla="*/ 1162050 w 1162050"/>
                <a:gd name="connsiteY38" fmla="*/ 0 h 2381250"/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38100 w 1162050"/>
                <a:gd name="connsiteY8" fmla="*/ 1562100 h 2381250"/>
                <a:gd name="connsiteX9" fmla="*/ 95250 w 1162050"/>
                <a:gd name="connsiteY9" fmla="*/ 1400175 h 2381250"/>
                <a:gd name="connsiteX10" fmla="*/ 104775 w 1162050"/>
                <a:gd name="connsiteY10" fmla="*/ 1352550 h 2381250"/>
                <a:gd name="connsiteX11" fmla="*/ 133350 w 1162050"/>
                <a:gd name="connsiteY11" fmla="*/ 1295400 h 2381250"/>
                <a:gd name="connsiteX12" fmla="*/ 142875 w 1162050"/>
                <a:gd name="connsiteY12" fmla="*/ 1238250 h 2381250"/>
                <a:gd name="connsiteX13" fmla="*/ 161925 w 1162050"/>
                <a:gd name="connsiteY13" fmla="*/ 1200150 h 2381250"/>
                <a:gd name="connsiteX14" fmla="*/ 200025 w 1162050"/>
                <a:gd name="connsiteY14" fmla="*/ 1095375 h 2381250"/>
                <a:gd name="connsiteX15" fmla="*/ 228600 w 1162050"/>
                <a:gd name="connsiteY15" fmla="*/ 1000125 h 2381250"/>
                <a:gd name="connsiteX16" fmla="*/ 247650 w 1162050"/>
                <a:gd name="connsiteY16" fmla="*/ 962025 h 2381250"/>
                <a:gd name="connsiteX17" fmla="*/ 257175 w 1162050"/>
                <a:gd name="connsiteY17" fmla="*/ 933450 h 2381250"/>
                <a:gd name="connsiteX18" fmla="*/ 276225 w 1162050"/>
                <a:gd name="connsiteY18" fmla="*/ 904875 h 2381250"/>
                <a:gd name="connsiteX19" fmla="*/ 285750 w 1162050"/>
                <a:gd name="connsiteY19" fmla="*/ 876300 h 2381250"/>
                <a:gd name="connsiteX20" fmla="*/ 361950 w 1162050"/>
                <a:gd name="connsiteY20" fmla="*/ 781050 h 2381250"/>
                <a:gd name="connsiteX21" fmla="*/ 419100 w 1162050"/>
                <a:gd name="connsiteY21" fmla="*/ 676275 h 2381250"/>
                <a:gd name="connsiteX22" fmla="*/ 447675 w 1162050"/>
                <a:gd name="connsiteY22" fmla="*/ 647700 h 2381250"/>
                <a:gd name="connsiteX23" fmla="*/ 457200 w 1162050"/>
                <a:gd name="connsiteY23" fmla="*/ 609600 h 2381250"/>
                <a:gd name="connsiteX24" fmla="*/ 485775 w 1162050"/>
                <a:gd name="connsiteY24" fmla="*/ 571500 h 2381250"/>
                <a:gd name="connsiteX25" fmla="*/ 523875 w 1162050"/>
                <a:gd name="connsiteY25" fmla="*/ 514350 h 2381250"/>
                <a:gd name="connsiteX26" fmla="*/ 600075 w 1162050"/>
                <a:gd name="connsiteY26" fmla="*/ 419100 h 2381250"/>
                <a:gd name="connsiteX27" fmla="*/ 638175 w 1162050"/>
                <a:gd name="connsiteY27" fmla="*/ 361950 h 2381250"/>
                <a:gd name="connsiteX28" fmla="*/ 666750 w 1162050"/>
                <a:gd name="connsiteY28" fmla="*/ 333375 h 2381250"/>
                <a:gd name="connsiteX29" fmla="*/ 704850 w 1162050"/>
                <a:gd name="connsiteY29" fmla="*/ 285750 h 2381250"/>
                <a:gd name="connsiteX30" fmla="*/ 723900 w 1162050"/>
                <a:gd name="connsiteY30" fmla="*/ 257175 h 2381250"/>
                <a:gd name="connsiteX31" fmla="*/ 771525 w 1162050"/>
                <a:gd name="connsiteY31" fmla="*/ 228600 h 2381250"/>
                <a:gd name="connsiteX32" fmla="*/ 838200 w 1162050"/>
                <a:gd name="connsiteY32" fmla="*/ 180975 h 2381250"/>
                <a:gd name="connsiteX33" fmla="*/ 914400 w 1162050"/>
                <a:gd name="connsiteY33" fmla="*/ 133350 h 2381250"/>
                <a:gd name="connsiteX34" fmla="*/ 1009650 w 1162050"/>
                <a:gd name="connsiteY34" fmla="*/ 66675 h 2381250"/>
                <a:gd name="connsiteX35" fmla="*/ 1085850 w 1162050"/>
                <a:gd name="connsiteY35" fmla="*/ 19050 h 2381250"/>
                <a:gd name="connsiteX36" fmla="*/ 1123950 w 1162050"/>
                <a:gd name="connsiteY36" fmla="*/ 9525 h 2381250"/>
                <a:gd name="connsiteX37" fmla="*/ 1162050 w 1162050"/>
                <a:gd name="connsiteY37" fmla="*/ 0 h 2381250"/>
                <a:gd name="connsiteX0" fmla="*/ 66675 w 1162050"/>
                <a:gd name="connsiteY0" fmla="*/ 2381250 h 2381250"/>
                <a:gd name="connsiteX1" fmla="*/ 57150 w 1162050"/>
                <a:gd name="connsiteY1" fmla="*/ 2333625 h 2381250"/>
                <a:gd name="connsiteX2" fmla="*/ 38100 w 1162050"/>
                <a:gd name="connsiteY2" fmla="*/ 2124075 h 2381250"/>
                <a:gd name="connsiteX3" fmla="*/ 28575 w 1162050"/>
                <a:gd name="connsiteY3" fmla="*/ 2095500 h 2381250"/>
                <a:gd name="connsiteX4" fmla="*/ 19050 w 1162050"/>
                <a:gd name="connsiteY4" fmla="*/ 1971675 h 2381250"/>
                <a:gd name="connsiteX5" fmla="*/ 9525 w 1162050"/>
                <a:gd name="connsiteY5" fmla="*/ 1943100 h 2381250"/>
                <a:gd name="connsiteX6" fmla="*/ 0 w 1162050"/>
                <a:gd name="connsiteY6" fmla="*/ 1905000 h 2381250"/>
                <a:gd name="connsiteX7" fmla="*/ 9525 w 1162050"/>
                <a:gd name="connsiteY7" fmla="*/ 1619250 h 2381250"/>
                <a:gd name="connsiteX8" fmla="*/ 95250 w 1162050"/>
                <a:gd name="connsiteY8" fmla="*/ 1400175 h 2381250"/>
                <a:gd name="connsiteX9" fmla="*/ 104775 w 1162050"/>
                <a:gd name="connsiteY9" fmla="*/ 1352550 h 2381250"/>
                <a:gd name="connsiteX10" fmla="*/ 133350 w 1162050"/>
                <a:gd name="connsiteY10" fmla="*/ 1295400 h 2381250"/>
                <a:gd name="connsiteX11" fmla="*/ 142875 w 1162050"/>
                <a:gd name="connsiteY11" fmla="*/ 1238250 h 2381250"/>
                <a:gd name="connsiteX12" fmla="*/ 161925 w 1162050"/>
                <a:gd name="connsiteY12" fmla="*/ 1200150 h 2381250"/>
                <a:gd name="connsiteX13" fmla="*/ 200025 w 1162050"/>
                <a:gd name="connsiteY13" fmla="*/ 1095375 h 2381250"/>
                <a:gd name="connsiteX14" fmla="*/ 228600 w 1162050"/>
                <a:gd name="connsiteY14" fmla="*/ 1000125 h 2381250"/>
                <a:gd name="connsiteX15" fmla="*/ 247650 w 1162050"/>
                <a:gd name="connsiteY15" fmla="*/ 962025 h 2381250"/>
                <a:gd name="connsiteX16" fmla="*/ 257175 w 1162050"/>
                <a:gd name="connsiteY16" fmla="*/ 933450 h 2381250"/>
                <a:gd name="connsiteX17" fmla="*/ 276225 w 1162050"/>
                <a:gd name="connsiteY17" fmla="*/ 904875 h 2381250"/>
                <a:gd name="connsiteX18" fmla="*/ 285750 w 1162050"/>
                <a:gd name="connsiteY18" fmla="*/ 876300 h 2381250"/>
                <a:gd name="connsiteX19" fmla="*/ 361950 w 1162050"/>
                <a:gd name="connsiteY19" fmla="*/ 781050 h 2381250"/>
                <a:gd name="connsiteX20" fmla="*/ 419100 w 1162050"/>
                <a:gd name="connsiteY20" fmla="*/ 676275 h 2381250"/>
                <a:gd name="connsiteX21" fmla="*/ 447675 w 1162050"/>
                <a:gd name="connsiteY21" fmla="*/ 647700 h 2381250"/>
                <a:gd name="connsiteX22" fmla="*/ 457200 w 1162050"/>
                <a:gd name="connsiteY22" fmla="*/ 609600 h 2381250"/>
                <a:gd name="connsiteX23" fmla="*/ 485775 w 1162050"/>
                <a:gd name="connsiteY23" fmla="*/ 571500 h 2381250"/>
                <a:gd name="connsiteX24" fmla="*/ 523875 w 1162050"/>
                <a:gd name="connsiteY24" fmla="*/ 514350 h 2381250"/>
                <a:gd name="connsiteX25" fmla="*/ 600075 w 1162050"/>
                <a:gd name="connsiteY25" fmla="*/ 419100 h 2381250"/>
                <a:gd name="connsiteX26" fmla="*/ 638175 w 1162050"/>
                <a:gd name="connsiteY26" fmla="*/ 361950 h 2381250"/>
                <a:gd name="connsiteX27" fmla="*/ 666750 w 1162050"/>
                <a:gd name="connsiteY27" fmla="*/ 333375 h 2381250"/>
                <a:gd name="connsiteX28" fmla="*/ 704850 w 1162050"/>
                <a:gd name="connsiteY28" fmla="*/ 285750 h 2381250"/>
                <a:gd name="connsiteX29" fmla="*/ 723900 w 1162050"/>
                <a:gd name="connsiteY29" fmla="*/ 257175 h 2381250"/>
                <a:gd name="connsiteX30" fmla="*/ 771525 w 1162050"/>
                <a:gd name="connsiteY30" fmla="*/ 228600 h 2381250"/>
                <a:gd name="connsiteX31" fmla="*/ 838200 w 1162050"/>
                <a:gd name="connsiteY31" fmla="*/ 180975 h 2381250"/>
                <a:gd name="connsiteX32" fmla="*/ 914400 w 1162050"/>
                <a:gd name="connsiteY32" fmla="*/ 133350 h 2381250"/>
                <a:gd name="connsiteX33" fmla="*/ 1009650 w 1162050"/>
                <a:gd name="connsiteY33" fmla="*/ 66675 h 2381250"/>
                <a:gd name="connsiteX34" fmla="*/ 1085850 w 1162050"/>
                <a:gd name="connsiteY34" fmla="*/ 19050 h 2381250"/>
                <a:gd name="connsiteX35" fmla="*/ 1123950 w 1162050"/>
                <a:gd name="connsiteY35" fmla="*/ 9525 h 2381250"/>
                <a:gd name="connsiteX36" fmla="*/ 1162050 w 1162050"/>
                <a:gd name="connsiteY36" fmla="*/ 0 h 2381250"/>
                <a:gd name="connsiteX0" fmla="*/ 68591 w 1163966"/>
                <a:gd name="connsiteY0" fmla="*/ 2381250 h 2381250"/>
                <a:gd name="connsiteX1" fmla="*/ 59066 w 1163966"/>
                <a:gd name="connsiteY1" fmla="*/ 2333625 h 2381250"/>
                <a:gd name="connsiteX2" fmla="*/ 40016 w 1163966"/>
                <a:gd name="connsiteY2" fmla="*/ 2124075 h 2381250"/>
                <a:gd name="connsiteX3" fmla="*/ 30491 w 1163966"/>
                <a:gd name="connsiteY3" fmla="*/ 2095500 h 2381250"/>
                <a:gd name="connsiteX4" fmla="*/ 20966 w 1163966"/>
                <a:gd name="connsiteY4" fmla="*/ 1971675 h 2381250"/>
                <a:gd name="connsiteX5" fmla="*/ 1916 w 1163966"/>
                <a:gd name="connsiteY5" fmla="*/ 1905000 h 2381250"/>
                <a:gd name="connsiteX6" fmla="*/ 11441 w 1163966"/>
                <a:gd name="connsiteY6" fmla="*/ 1619250 h 2381250"/>
                <a:gd name="connsiteX7" fmla="*/ 97166 w 1163966"/>
                <a:gd name="connsiteY7" fmla="*/ 1400175 h 2381250"/>
                <a:gd name="connsiteX8" fmla="*/ 106691 w 1163966"/>
                <a:gd name="connsiteY8" fmla="*/ 1352550 h 2381250"/>
                <a:gd name="connsiteX9" fmla="*/ 135266 w 1163966"/>
                <a:gd name="connsiteY9" fmla="*/ 1295400 h 2381250"/>
                <a:gd name="connsiteX10" fmla="*/ 144791 w 1163966"/>
                <a:gd name="connsiteY10" fmla="*/ 1238250 h 2381250"/>
                <a:gd name="connsiteX11" fmla="*/ 163841 w 1163966"/>
                <a:gd name="connsiteY11" fmla="*/ 1200150 h 2381250"/>
                <a:gd name="connsiteX12" fmla="*/ 201941 w 1163966"/>
                <a:gd name="connsiteY12" fmla="*/ 1095375 h 2381250"/>
                <a:gd name="connsiteX13" fmla="*/ 230516 w 1163966"/>
                <a:gd name="connsiteY13" fmla="*/ 1000125 h 2381250"/>
                <a:gd name="connsiteX14" fmla="*/ 249566 w 1163966"/>
                <a:gd name="connsiteY14" fmla="*/ 962025 h 2381250"/>
                <a:gd name="connsiteX15" fmla="*/ 259091 w 1163966"/>
                <a:gd name="connsiteY15" fmla="*/ 933450 h 2381250"/>
                <a:gd name="connsiteX16" fmla="*/ 278141 w 1163966"/>
                <a:gd name="connsiteY16" fmla="*/ 904875 h 2381250"/>
                <a:gd name="connsiteX17" fmla="*/ 287666 w 1163966"/>
                <a:gd name="connsiteY17" fmla="*/ 876300 h 2381250"/>
                <a:gd name="connsiteX18" fmla="*/ 363866 w 1163966"/>
                <a:gd name="connsiteY18" fmla="*/ 781050 h 2381250"/>
                <a:gd name="connsiteX19" fmla="*/ 421016 w 1163966"/>
                <a:gd name="connsiteY19" fmla="*/ 676275 h 2381250"/>
                <a:gd name="connsiteX20" fmla="*/ 449591 w 1163966"/>
                <a:gd name="connsiteY20" fmla="*/ 647700 h 2381250"/>
                <a:gd name="connsiteX21" fmla="*/ 459116 w 1163966"/>
                <a:gd name="connsiteY21" fmla="*/ 609600 h 2381250"/>
                <a:gd name="connsiteX22" fmla="*/ 487691 w 1163966"/>
                <a:gd name="connsiteY22" fmla="*/ 571500 h 2381250"/>
                <a:gd name="connsiteX23" fmla="*/ 525791 w 1163966"/>
                <a:gd name="connsiteY23" fmla="*/ 514350 h 2381250"/>
                <a:gd name="connsiteX24" fmla="*/ 601991 w 1163966"/>
                <a:gd name="connsiteY24" fmla="*/ 419100 h 2381250"/>
                <a:gd name="connsiteX25" fmla="*/ 640091 w 1163966"/>
                <a:gd name="connsiteY25" fmla="*/ 361950 h 2381250"/>
                <a:gd name="connsiteX26" fmla="*/ 668666 w 1163966"/>
                <a:gd name="connsiteY26" fmla="*/ 333375 h 2381250"/>
                <a:gd name="connsiteX27" fmla="*/ 706766 w 1163966"/>
                <a:gd name="connsiteY27" fmla="*/ 285750 h 2381250"/>
                <a:gd name="connsiteX28" fmla="*/ 725816 w 1163966"/>
                <a:gd name="connsiteY28" fmla="*/ 257175 h 2381250"/>
                <a:gd name="connsiteX29" fmla="*/ 773441 w 1163966"/>
                <a:gd name="connsiteY29" fmla="*/ 228600 h 2381250"/>
                <a:gd name="connsiteX30" fmla="*/ 840116 w 1163966"/>
                <a:gd name="connsiteY30" fmla="*/ 180975 h 2381250"/>
                <a:gd name="connsiteX31" fmla="*/ 916316 w 1163966"/>
                <a:gd name="connsiteY31" fmla="*/ 133350 h 2381250"/>
                <a:gd name="connsiteX32" fmla="*/ 1011566 w 1163966"/>
                <a:gd name="connsiteY32" fmla="*/ 66675 h 2381250"/>
                <a:gd name="connsiteX33" fmla="*/ 1087766 w 1163966"/>
                <a:gd name="connsiteY33" fmla="*/ 19050 h 2381250"/>
                <a:gd name="connsiteX34" fmla="*/ 1125866 w 1163966"/>
                <a:gd name="connsiteY34" fmla="*/ 9525 h 2381250"/>
                <a:gd name="connsiteX35" fmla="*/ 1163966 w 1163966"/>
                <a:gd name="connsiteY35" fmla="*/ 0 h 2381250"/>
                <a:gd name="connsiteX0" fmla="*/ 69267 w 1164642"/>
                <a:gd name="connsiteY0" fmla="*/ 2381250 h 2381250"/>
                <a:gd name="connsiteX1" fmla="*/ 59742 w 1164642"/>
                <a:gd name="connsiteY1" fmla="*/ 2333625 h 2381250"/>
                <a:gd name="connsiteX2" fmla="*/ 40692 w 1164642"/>
                <a:gd name="connsiteY2" fmla="*/ 2124075 h 2381250"/>
                <a:gd name="connsiteX3" fmla="*/ 31167 w 1164642"/>
                <a:gd name="connsiteY3" fmla="*/ 2095500 h 2381250"/>
                <a:gd name="connsiteX4" fmla="*/ 2592 w 1164642"/>
                <a:gd name="connsiteY4" fmla="*/ 1905000 h 2381250"/>
                <a:gd name="connsiteX5" fmla="*/ 12117 w 1164642"/>
                <a:gd name="connsiteY5" fmla="*/ 1619250 h 2381250"/>
                <a:gd name="connsiteX6" fmla="*/ 97842 w 1164642"/>
                <a:gd name="connsiteY6" fmla="*/ 1400175 h 2381250"/>
                <a:gd name="connsiteX7" fmla="*/ 107367 w 1164642"/>
                <a:gd name="connsiteY7" fmla="*/ 1352550 h 2381250"/>
                <a:gd name="connsiteX8" fmla="*/ 135942 w 1164642"/>
                <a:gd name="connsiteY8" fmla="*/ 1295400 h 2381250"/>
                <a:gd name="connsiteX9" fmla="*/ 145467 w 1164642"/>
                <a:gd name="connsiteY9" fmla="*/ 1238250 h 2381250"/>
                <a:gd name="connsiteX10" fmla="*/ 164517 w 1164642"/>
                <a:gd name="connsiteY10" fmla="*/ 1200150 h 2381250"/>
                <a:gd name="connsiteX11" fmla="*/ 202617 w 1164642"/>
                <a:gd name="connsiteY11" fmla="*/ 1095375 h 2381250"/>
                <a:gd name="connsiteX12" fmla="*/ 231192 w 1164642"/>
                <a:gd name="connsiteY12" fmla="*/ 1000125 h 2381250"/>
                <a:gd name="connsiteX13" fmla="*/ 250242 w 1164642"/>
                <a:gd name="connsiteY13" fmla="*/ 962025 h 2381250"/>
                <a:gd name="connsiteX14" fmla="*/ 259767 w 1164642"/>
                <a:gd name="connsiteY14" fmla="*/ 933450 h 2381250"/>
                <a:gd name="connsiteX15" fmla="*/ 278817 w 1164642"/>
                <a:gd name="connsiteY15" fmla="*/ 904875 h 2381250"/>
                <a:gd name="connsiteX16" fmla="*/ 288342 w 1164642"/>
                <a:gd name="connsiteY16" fmla="*/ 876300 h 2381250"/>
                <a:gd name="connsiteX17" fmla="*/ 364542 w 1164642"/>
                <a:gd name="connsiteY17" fmla="*/ 781050 h 2381250"/>
                <a:gd name="connsiteX18" fmla="*/ 421692 w 1164642"/>
                <a:gd name="connsiteY18" fmla="*/ 676275 h 2381250"/>
                <a:gd name="connsiteX19" fmla="*/ 450267 w 1164642"/>
                <a:gd name="connsiteY19" fmla="*/ 647700 h 2381250"/>
                <a:gd name="connsiteX20" fmla="*/ 459792 w 1164642"/>
                <a:gd name="connsiteY20" fmla="*/ 609600 h 2381250"/>
                <a:gd name="connsiteX21" fmla="*/ 488367 w 1164642"/>
                <a:gd name="connsiteY21" fmla="*/ 571500 h 2381250"/>
                <a:gd name="connsiteX22" fmla="*/ 526467 w 1164642"/>
                <a:gd name="connsiteY22" fmla="*/ 514350 h 2381250"/>
                <a:gd name="connsiteX23" fmla="*/ 602667 w 1164642"/>
                <a:gd name="connsiteY23" fmla="*/ 419100 h 2381250"/>
                <a:gd name="connsiteX24" fmla="*/ 640767 w 1164642"/>
                <a:gd name="connsiteY24" fmla="*/ 361950 h 2381250"/>
                <a:gd name="connsiteX25" fmla="*/ 669342 w 1164642"/>
                <a:gd name="connsiteY25" fmla="*/ 333375 h 2381250"/>
                <a:gd name="connsiteX26" fmla="*/ 707442 w 1164642"/>
                <a:gd name="connsiteY26" fmla="*/ 285750 h 2381250"/>
                <a:gd name="connsiteX27" fmla="*/ 726492 w 1164642"/>
                <a:gd name="connsiteY27" fmla="*/ 257175 h 2381250"/>
                <a:gd name="connsiteX28" fmla="*/ 774117 w 1164642"/>
                <a:gd name="connsiteY28" fmla="*/ 228600 h 2381250"/>
                <a:gd name="connsiteX29" fmla="*/ 840792 w 1164642"/>
                <a:gd name="connsiteY29" fmla="*/ 180975 h 2381250"/>
                <a:gd name="connsiteX30" fmla="*/ 916992 w 1164642"/>
                <a:gd name="connsiteY30" fmla="*/ 133350 h 2381250"/>
                <a:gd name="connsiteX31" fmla="*/ 1012242 w 1164642"/>
                <a:gd name="connsiteY31" fmla="*/ 66675 h 2381250"/>
                <a:gd name="connsiteX32" fmla="*/ 1088442 w 1164642"/>
                <a:gd name="connsiteY32" fmla="*/ 19050 h 2381250"/>
                <a:gd name="connsiteX33" fmla="*/ 1126542 w 1164642"/>
                <a:gd name="connsiteY33" fmla="*/ 9525 h 2381250"/>
                <a:gd name="connsiteX34" fmla="*/ 1164642 w 1164642"/>
                <a:gd name="connsiteY34" fmla="*/ 0 h 2381250"/>
                <a:gd name="connsiteX0" fmla="*/ 69951 w 1165326"/>
                <a:gd name="connsiteY0" fmla="*/ 2381250 h 2381250"/>
                <a:gd name="connsiteX1" fmla="*/ 60426 w 1165326"/>
                <a:gd name="connsiteY1" fmla="*/ 2333625 h 2381250"/>
                <a:gd name="connsiteX2" fmla="*/ 41376 w 1165326"/>
                <a:gd name="connsiteY2" fmla="*/ 2124075 h 2381250"/>
                <a:gd name="connsiteX3" fmla="*/ 3276 w 1165326"/>
                <a:gd name="connsiteY3" fmla="*/ 1905000 h 2381250"/>
                <a:gd name="connsiteX4" fmla="*/ 12801 w 1165326"/>
                <a:gd name="connsiteY4" fmla="*/ 1619250 h 2381250"/>
                <a:gd name="connsiteX5" fmla="*/ 98526 w 1165326"/>
                <a:gd name="connsiteY5" fmla="*/ 1400175 h 2381250"/>
                <a:gd name="connsiteX6" fmla="*/ 108051 w 1165326"/>
                <a:gd name="connsiteY6" fmla="*/ 1352550 h 2381250"/>
                <a:gd name="connsiteX7" fmla="*/ 136626 w 1165326"/>
                <a:gd name="connsiteY7" fmla="*/ 1295400 h 2381250"/>
                <a:gd name="connsiteX8" fmla="*/ 146151 w 1165326"/>
                <a:gd name="connsiteY8" fmla="*/ 1238250 h 2381250"/>
                <a:gd name="connsiteX9" fmla="*/ 165201 w 1165326"/>
                <a:gd name="connsiteY9" fmla="*/ 1200150 h 2381250"/>
                <a:gd name="connsiteX10" fmla="*/ 203301 w 1165326"/>
                <a:gd name="connsiteY10" fmla="*/ 1095375 h 2381250"/>
                <a:gd name="connsiteX11" fmla="*/ 231876 w 1165326"/>
                <a:gd name="connsiteY11" fmla="*/ 1000125 h 2381250"/>
                <a:gd name="connsiteX12" fmla="*/ 250926 w 1165326"/>
                <a:gd name="connsiteY12" fmla="*/ 962025 h 2381250"/>
                <a:gd name="connsiteX13" fmla="*/ 260451 w 1165326"/>
                <a:gd name="connsiteY13" fmla="*/ 933450 h 2381250"/>
                <a:gd name="connsiteX14" fmla="*/ 279501 w 1165326"/>
                <a:gd name="connsiteY14" fmla="*/ 904875 h 2381250"/>
                <a:gd name="connsiteX15" fmla="*/ 289026 w 1165326"/>
                <a:gd name="connsiteY15" fmla="*/ 876300 h 2381250"/>
                <a:gd name="connsiteX16" fmla="*/ 365226 w 1165326"/>
                <a:gd name="connsiteY16" fmla="*/ 781050 h 2381250"/>
                <a:gd name="connsiteX17" fmla="*/ 422376 w 1165326"/>
                <a:gd name="connsiteY17" fmla="*/ 676275 h 2381250"/>
                <a:gd name="connsiteX18" fmla="*/ 450951 w 1165326"/>
                <a:gd name="connsiteY18" fmla="*/ 647700 h 2381250"/>
                <a:gd name="connsiteX19" fmla="*/ 460476 w 1165326"/>
                <a:gd name="connsiteY19" fmla="*/ 609600 h 2381250"/>
                <a:gd name="connsiteX20" fmla="*/ 489051 w 1165326"/>
                <a:gd name="connsiteY20" fmla="*/ 571500 h 2381250"/>
                <a:gd name="connsiteX21" fmla="*/ 527151 w 1165326"/>
                <a:gd name="connsiteY21" fmla="*/ 514350 h 2381250"/>
                <a:gd name="connsiteX22" fmla="*/ 603351 w 1165326"/>
                <a:gd name="connsiteY22" fmla="*/ 419100 h 2381250"/>
                <a:gd name="connsiteX23" fmla="*/ 641451 w 1165326"/>
                <a:gd name="connsiteY23" fmla="*/ 361950 h 2381250"/>
                <a:gd name="connsiteX24" fmla="*/ 670026 w 1165326"/>
                <a:gd name="connsiteY24" fmla="*/ 333375 h 2381250"/>
                <a:gd name="connsiteX25" fmla="*/ 708126 w 1165326"/>
                <a:gd name="connsiteY25" fmla="*/ 285750 h 2381250"/>
                <a:gd name="connsiteX26" fmla="*/ 727176 w 1165326"/>
                <a:gd name="connsiteY26" fmla="*/ 257175 h 2381250"/>
                <a:gd name="connsiteX27" fmla="*/ 774801 w 1165326"/>
                <a:gd name="connsiteY27" fmla="*/ 228600 h 2381250"/>
                <a:gd name="connsiteX28" fmla="*/ 841476 w 1165326"/>
                <a:gd name="connsiteY28" fmla="*/ 180975 h 2381250"/>
                <a:gd name="connsiteX29" fmla="*/ 917676 w 1165326"/>
                <a:gd name="connsiteY29" fmla="*/ 133350 h 2381250"/>
                <a:gd name="connsiteX30" fmla="*/ 1012926 w 1165326"/>
                <a:gd name="connsiteY30" fmla="*/ 66675 h 2381250"/>
                <a:gd name="connsiteX31" fmla="*/ 1089126 w 1165326"/>
                <a:gd name="connsiteY31" fmla="*/ 19050 h 2381250"/>
                <a:gd name="connsiteX32" fmla="*/ 1127226 w 1165326"/>
                <a:gd name="connsiteY32" fmla="*/ 9525 h 2381250"/>
                <a:gd name="connsiteX33" fmla="*/ 1165326 w 1165326"/>
                <a:gd name="connsiteY33" fmla="*/ 0 h 2381250"/>
                <a:gd name="connsiteX0" fmla="*/ 71335 w 1166710"/>
                <a:gd name="connsiteY0" fmla="*/ 2381250 h 2381250"/>
                <a:gd name="connsiteX1" fmla="*/ 61810 w 1166710"/>
                <a:gd name="connsiteY1" fmla="*/ 2333625 h 2381250"/>
                <a:gd name="connsiteX2" fmla="*/ 4660 w 1166710"/>
                <a:gd name="connsiteY2" fmla="*/ 1905000 h 2381250"/>
                <a:gd name="connsiteX3" fmla="*/ 14185 w 1166710"/>
                <a:gd name="connsiteY3" fmla="*/ 1619250 h 2381250"/>
                <a:gd name="connsiteX4" fmla="*/ 99910 w 1166710"/>
                <a:gd name="connsiteY4" fmla="*/ 1400175 h 2381250"/>
                <a:gd name="connsiteX5" fmla="*/ 109435 w 1166710"/>
                <a:gd name="connsiteY5" fmla="*/ 1352550 h 2381250"/>
                <a:gd name="connsiteX6" fmla="*/ 138010 w 1166710"/>
                <a:gd name="connsiteY6" fmla="*/ 1295400 h 2381250"/>
                <a:gd name="connsiteX7" fmla="*/ 147535 w 1166710"/>
                <a:gd name="connsiteY7" fmla="*/ 1238250 h 2381250"/>
                <a:gd name="connsiteX8" fmla="*/ 166585 w 1166710"/>
                <a:gd name="connsiteY8" fmla="*/ 1200150 h 2381250"/>
                <a:gd name="connsiteX9" fmla="*/ 204685 w 1166710"/>
                <a:gd name="connsiteY9" fmla="*/ 1095375 h 2381250"/>
                <a:gd name="connsiteX10" fmla="*/ 233260 w 1166710"/>
                <a:gd name="connsiteY10" fmla="*/ 1000125 h 2381250"/>
                <a:gd name="connsiteX11" fmla="*/ 252310 w 1166710"/>
                <a:gd name="connsiteY11" fmla="*/ 962025 h 2381250"/>
                <a:gd name="connsiteX12" fmla="*/ 261835 w 1166710"/>
                <a:gd name="connsiteY12" fmla="*/ 933450 h 2381250"/>
                <a:gd name="connsiteX13" fmla="*/ 280885 w 1166710"/>
                <a:gd name="connsiteY13" fmla="*/ 904875 h 2381250"/>
                <a:gd name="connsiteX14" fmla="*/ 290410 w 1166710"/>
                <a:gd name="connsiteY14" fmla="*/ 876300 h 2381250"/>
                <a:gd name="connsiteX15" fmla="*/ 366610 w 1166710"/>
                <a:gd name="connsiteY15" fmla="*/ 781050 h 2381250"/>
                <a:gd name="connsiteX16" fmla="*/ 423760 w 1166710"/>
                <a:gd name="connsiteY16" fmla="*/ 676275 h 2381250"/>
                <a:gd name="connsiteX17" fmla="*/ 452335 w 1166710"/>
                <a:gd name="connsiteY17" fmla="*/ 647700 h 2381250"/>
                <a:gd name="connsiteX18" fmla="*/ 461860 w 1166710"/>
                <a:gd name="connsiteY18" fmla="*/ 609600 h 2381250"/>
                <a:gd name="connsiteX19" fmla="*/ 490435 w 1166710"/>
                <a:gd name="connsiteY19" fmla="*/ 571500 h 2381250"/>
                <a:gd name="connsiteX20" fmla="*/ 528535 w 1166710"/>
                <a:gd name="connsiteY20" fmla="*/ 514350 h 2381250"/>
                <a:gd name="connsiteX21" fmla="*/ 604735 w 1166710"/>
                <a:gd name="connsiteY21" fmla="*/ 419100 h 2381250"/>
                <a:gd name="connsiteX22" fmla="*/ 642835 w 1166710"/>
                <a:gd name="connsiteY22" fmla="*/ 361950 h 2381250"/>
                <a:gd name="connsiteX23" fmla="*/ 671410 w 1166710"/>
                <a:gd name="connsiteY23" fmla="*/ 333375 h 2381250"/>
                <a:gd name="connsiteX24" fmla="*/ 709510 w 1166710"/>
                <a:gd name="connsiteY24" fmla="*/ 285750 h 2381250"/>
                <a:gd name="connsiteX25" fmla="*/ 728560 w 1166710"/>
                <a:gd name="connsiteY25" fmla="*/ 257175 h 2381250"/>
                <a:gd name="connsiteX26" fmla="*/ 776185 w 1166710"/>
                <a:gd name="connsiteY26" fmla="*/ 228600 h 2381250"/>
                <a:gd name="connsiteX27" fmla="*/ 842860 w 1166710"/>
                <a:gd name="connsiteY27" fmla="*/ 180975 h 2381250"/>
                <a:gd name="connsiteX28" fmla="*/ 919060 w 1166710"/>
                <a:gd name="connsiteY28" fmla="*/ 133350 h 2381250"/>
                <a:gd name="connsiteX29" fmla="*/ 1014310 w 1166710"/>
                <a:gd name="connsiteY29" fmla="*/ 66675 h 2381250"/>
                <a:gd name="connsiteX30" fmla="*/ 1090510 w 1166710"/>
                <a:gd name="connsiteY30" fmla="*/ 19050 h 2381250"/>
                <a:gd name="connsiteX31" fmla="*/ 1128610 w 1166710"/>
                <a:gd name="connsiteY31" fmla="*/ 9525 h 2381250"/>
                <a:gd name="connsiteX32" fmla="*/ 1166710 w 1166710"/>
                <a:gd name="connsiteY32" fmla="*/ 0 h 2381250"/>
                <a:gd name="connsiteX0" fmla="*/ 71335 w 1166710"/>
                <a:gd name="connsiteY0" fmla="*/ 2381250 h 2381250"/>
                <a:gd name="connsiteX1" fmla="*/ 61810 w 1166710"/>
                <a:gd name="connsiteY1" fmla="*/ 2333625 h 2381250"/>
                <a:gd name="connsiteX2" fmla="*/ 4660 w 1166710"/>
                <a:gd name="connsiteY2" fmla="*/ 1905000 h 2381250"/>
                <a:gd name="connsiteX3" fmla="*/ 14185 w 1166710"/>
                <a:gd name="connsiteY3" fmla="*/ 1619250 h 2381250"/>
                <a:gd name="connsiteX4" fmla="*/ 99910 w 1166710"/>
                <a:gd name="connsiteY4" fmla="*/ 1400175 h 2381250"/>
                <a:gd name="connsiteX5" fmla="*/ 109435 w 1166710"/>
                <a:gd name="connsiteY5" fmla="*/ 1352550 h 2381250"/>
                <a:gd name="connsiteX6" fmla="*/ 147535 w 1166710"/>
                <a:gd name="connsiteY6" fmla="*/ 1238250 h 2381250"/>
                <a:gd name="connsiteX7" fmla="*/ 166585 w 1166710"/>
                <a:gd name="connsiteY7" fmla="*/ 1200150 h 2381250"/>
                <a:gd name="connsiteX8" fmla="*/ 204685 w 1166710"/>
                <a:gd name="connsiteY8" fmla="*/ 1095375 h 2381250"/>
                <a:gd name="connsiteX9" fmla="*/ 233260 w 1166710"/>
                <a:gd name="connsiteY9" fmla="*/ 1000125 h 2381250"/>
                <a:gd name="connsiteX10" fmla="*/ 252310 w 1166710"/>
                <a:gd name="connsiteY10" fmla="*/ 962025 h 2381250"/>
                <a:gd name="connsiteX11" fmla="*/ 261835 w 1166710"/>
                <a:gd name="connsiteY11" fmla="*/ 933450 h 2381250"/>
                <a:gd name="connsiteX12" fmla="*/ 280885 w 1166710"/>
                <a:gd name="connsiteY12" fmla="*/ 904875 h 2381250"/>
                <a:gd name="connsiteX13" fmla="*/ 290410 w 1166710"/>
                <a:gd name="connsiteY13" fmla="*/ 876300 h 2381250"/>
                <a:gd name="connsiteX14" fmla="*/ 366610 w 1166710"/>
                <a:gd name="connsiteY14" fmla="*/ 781050 h 2381250"/>
                <a:gd name="connsiteX15" fmla="*/ 423760 w 1166710"/>
                <a:gd name="connsiteY15" fmla="*/ 676275 h 2381250"/>
                <a:gd name="connsiteX16" fmla="*/ 452335 w 1166710"/>
                <a:gd name="connsiteY16" fmla="*/ 647700 h 2381250"/>
                <a:gd name="connsiteX17" fmla="*/ 461860 w 1166710"/>
                <a:gd name="connsiteY17" fmla="*/ 609600 h 2381250"/>
                <a:gd name="connsiteX18" fmla="*/ 490435 w 1166710"/>
                <a:gd name="connsiteY18" fmla="*/ 571500 h 2381250"/>
                <a:gd name="connsiteX19" fmla="*/ 528535 w 1166710"/>
                <a:gd name="connsiteY19" fmla="*/ 514350 h 2381250"/>
                <a:gd name="connsiteX20" fmla="*/ 604735 w 1166710"/>
                <a:gd name="connsiteY20" fmla="*/ 419100 h 2381250"/>
                <a:gd name="connsiteX21" fmla="*/ 642835 w 1166710"/>
                <a:gd name="connsiteY21" fmla="*/ 361950 h 2381250"/>
                <a:gd name="connsiteX22" fmla="*/ 671410 w 1166710"/>
                <a:gd name="connsiteY22" fmla="*/ 333375 h 2381250"/>
                <a:gd name="connsiteX23" fmla="*/ 709510 w 1166710"/>
                <a:gd name="connsiteY23" fmla="*/ 285750 h 2381250"/>
                <a:gd name="connsiteX24" fmla="*/ 728560 w 1166710"/>
                <a:gd name="connsiteY24" fmla="*/ 257175 h 2381250"/>
                <a:gd name="connsiteX25" fmla="*/ 776185 w 1166710"/>
                <a:gd name="connsiteY25" fmla="*/ 228600 h 2381250"/>
                <a:gd name="connsiteX26" fmla="*/ 842860 w 1166710"/>
                <a:gd name="connsiteY26" fmla="*/ 180975 h 2381250"/>
                <a:gd name="connsiteX27" fmla="*/ 919060 w 1166710"/>
                <a:gd name="connsiteY27" fmla="*/ 133350 h 2381250"/>
                <a:gd name="connsiteX28" fmla="*/ 1014310 w 1166710"/>
                <a:gd name="connsiteY28" fmla="*/ 66675 h 2381250"/>
                <a:gd name="connsiteX29" fmla="*/ 1090510 w 1166710"/>
                <a:gd name="connsiteY29" fmla="*/ 19050 h 2381250"/>
                <a:gd name="connsiteX30" fmla="*/ 1128610 w 1166710"/>
                <a:gd name="connsiteY30" fmla="*/ 9525 h 2381250"/>
                <a:gd name="connsiteX31" fmla="*/ 1166710 w 1166710"/>
                <a:gd name="connsiteY31" fmla="*/ 0 h 2381250"/>
                <a:gd name="connsiteX0" fmla="*/ 71335 w 1166710"/>
                <a:gd name="connsiteY0" fmla="*/ 2381250 h 2381250"/>
                <a:gd name="connsiteX1" fmla="*/ 61810 w 1166710"/>
                <a:gd name="connsiteY1" fmla="*/ 2333625 h 2381250"/>
                <a:gd name="connsiteX2" fmla="*/ 4660 w 1166710"/>
                <a:gd name="connsiteY2" fmla="*/ 1905000 h 2381250"/>
                <a:gd name="connsiteX3" fmla="*/ 14185 w 1166710"/>
                <a:gd name="connsiteY3" fmla="*/ 1619250 h 2381250"/>
                <a:gd name="connsiteX4" fmla="*/ 99910 w 1166710"/>
                <a:gd name="connsiteY4" fmla="*/ 1400175 h 2381250"/>
                <a:gd name="connsiteX5" fmla="*/ 147535 w 1166710"/>
                <a:gd name="connsiteY5" fmla="*/ 1238250 h 2381250"/>
                <a:gd name="connsiteX6" fmla="*/ 166585 w 1166710"/>
                <a:gd name="connsiteY6" fmla="*/ 1200150 h 2381250"/>
                <a:gd name="connsiteX7" fmla="*/ 204685 w 1166710"/>
                <a:gd name="connsiteY7" fmla="*/ 1095375 h 2381250"/>
                <a:gd name="connsiteX8" fmla="*/ 233260 w 1166710"/>
                <a:gd name="connsiteY8" fmla="*/ 1000125 h 2381250"/>
                <a:gd name="connsiteX9" fmla="*/ 252310 w 1166710"/>
                <a:gd name="connsiteY9" fmla="*/ 962025 h 2381250"/>
                <a:gd name="connsiteX10" fmla="*/ 261835 w 1166710"/>
                <a:gd name="connsiteY10" fmla="*/ 933450 h 2381250"/>
                <a:gd name="connsiteX11" fmla="*/ 280885 w 1166710"/>
                <a:gd name="connsiteY11" fmla="*/ 904875 h 2381250"/>
                <a:gd name="connsiteX12" fmla="*/ 290410 w 1166710"/>
                <a:gd name="connsiteY12" fmla="*/ 876300 h 2381250"/>
                <a:gd name="connsiteX13" fmla="*/ 366610 w 1166710"/>
                <a:gd name="connsiteY13" fmla="*/ 781050 h 2381250"/>
                <a:gd name="connsiteX14" fmla="*/ 423760 w 1166710"/>
                <a:gd name="connsiteY14" fmla="*/ 676275 h 2381250"/>
                <a:gd name="connsiteX15" fmla="*/ 452335 w 1166710"/>
                <a:gd name="connsiteY15" fmla="*/ 647700 h 2381250"/>
                <a:gd name="connsiteX16" fmla="*/ 461860 w 1166710"/>
                <a:gd name="connsiteY16" fmla="*/ 609600 h 2381250"/>
                <a:gd name="connsiteX17" fmla="*/ 490435 w 1166710"/>
                <a:gd name="connsiteY17" fmla="*/ 571500 h 2381250"/>
                <a:gd name="connsiteX18" fmla="*/ 528535 w 1166710"/>
                <a:gd name="connsiteY18" fmla="*/ 514350 h 2381250"/>
                <a:gd name="connsiteX19" fmla="*/ 604735 w 1166710"/>
                <a:gd name="connsiteY19" fmla="*/ 419100 h 2381250"/>
                <a:gd name="connsiteX20" fmla="*/ 642835 w 1166710"/>
                <a:gd name="connsiteY20" fmla="*/ 361950 h 2381250"/>
                <a:gd name="connsiteX21" fmla="*/ 671410 w 1166710"/>
                <a:gd name="connsiteY21" fmla="*/ 333375 h 2381250"/>
                <a:gd name="connsiteX22" fmla="*/ 709510 w 1166710"/>
                <a:gd name="connsiteY22" fmla="*/ 285750 h 2381250"/>
                <a:gd name="connsiteX23" fmla="*/ 728560 w 1166710"/>
                <a:gd name="connsiteY23" fmla="*/ 257175 h 2381250"/>
                <a:gd name="connsiteX24" fmla="*/ 776185 w 1166710"/>
                <a:gd name="connsiteY24" fmla="*/ 228600 h 2381250"/>
                <a:gd name="connsiteX25" fmla="*/ 842860 w 1166710"/>
                <a:gd name="connsiteY25" fmla="*/ 180975 h 2381250"/>
                <a:gd name="connsiteX26" fmla="*/ 919060 w 1166710"/>
                <a:gd name="connsiteY26" fmla="*/ 133350 h 2381250"/>
                <a:gd name="connsiteX27" fmla="*/ 1014310 w 1166710"/>
                <a:gd name="connsiteY27" fmla="*/ 66675 h 2381250"/>
                <a:gd name="connsiteX28" fmla="*/ 1090510 w 1166710"/>
                <a:gd name="connsiteY28" fmla="*/ 19050 h 2381250"/>
                <a:gd name="connsiteX29" fmla="*/ 1128610 w 1166710"/>
                <a:gd name="connsiteY29" fmla="*/ 9525 h 2381250"/>
                <a:gd name="connsiteX30" fmla="*/ 1166710 w 1166710"/>
                <a:gd name="connsiteY30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169098 w 1169223"/>
                <a:gd name="connsiteY5" fmla="*/ 1200150 h 2381250"/>
                <a:gd name="connsiteX6" fmla="*/ 207198 w 1169223"/>
                <a:gd name="connsiteY6" fmla="*/ 1095375 h 2381250"/>
                <a:gd name="connsiteX7" fmla="*/ 235773 w 1169223"/>
                <a:gd name="connsiteY7" fmla="*/ 1000125 h 2381250"/>
                <a:gd name="connsiteX8" fmla="*/ 254823 w 1169223"/>
                <a:gd name="connsiteY8" fmla="*/ 962025 h 2381250"/>
                <a:gd name="connsiteX9" fmla="*/ 264348 w 1169223"/>
                <a:gd name="connsiteY9" fmla="*/ 933450 h 2381250"/>
                <a:gd name="connsiteX10" fmla="*/ 283398 w 1169223"/>
                <a:gd name="connsiteY10" fmla="*/ 904875 h 2381250"/>
                <a:gd name="connsiteX11" fmla="*/ 292923 w 1169223"/>
                <a:gd name="connsiteY11" fmla="*/ 876300 h 2381250"/>
                <a:gd name="connsiteX12" fmla="*/ 369123 w 1169223"/>
                <a:gd name="connsiteY12" fmla="*/ 781050 h 2381250"/>
                <a:gd name="connsiteX13" fmla="*/ 426273 w 1169223"/>
                <a:gd name="connsiteY13" fmla="*/ 676275 h 2381250"/>
                <a:gd name="connsiteX14" fmla="*/ 454848 w 1169223"/>
                <a:gd name="connsiteY14" fmla="*/ 647700 h 2381250"/>
                <a:gd name="connsiteX15" fmla="*/ 464373 w 1169223"/>
                <a:gd name="connsiteY15" fmla="*/ 609600 h 2381250"/>
                <a:gd name="connsiteX16" fmla="*/ 492948 w 1169223"/>
                <a:gd name="connsiteY16" fmla="*/ 571500 h 2381250"/>
                <a:gd name="connsiteX17" fmla="*/ 531048 w 1169223"/>
                <a:gd name="connsiteY17" fmla="*/ 514350 h 2381250"/>
                <a:gd name="connsiteX18" fmla="*/ 607248 w 1169223"/>
                <a:gd name="connsiteY18" fmla="*/ 419100 h 2381250"/>
                <a:gd name="connsiteX19" fmla="*/ 645348 w 1169223"/>
                <a:gd name="connsiteY19" fmla="*/ 361950 h 2381250"/>
                <a:gd name="connsiteX20" fmla="*/ 673923 w 1169223"/>
                <a:gd name="connsiteY20" fmla="*/ 333375 h 2381250"/>
                <a:gd name="connsiteX21" fmla="*/ 712023 w 1169223"/>
                <a:gd name="connsiteY21" fmla="*/ 285750 h 2381250"/>
                <a:gd name="connsiteX22" fmla="*/ 731073 w 1169223"/>
                <a:gd name="connsiteY22" fmla="*/ 257175 h 2381250"/>
                <a:gd name="connsiteX23" fmla="*/ 778698 w 1169223"/>
                <a:gd name="connsiteY23" fmla="*/ 228600 h 2381250"/>
                <a:gd name="connsiteX24" fmla="*/ 845373 w 1169223"/>
                <a:gd name="connsiteY24" fmla="*/ 180975 h 2381250"/>
                <a:gd name="connsiteX25" fmla="*/ 921573 w 1169223"/>
                <a:gd name="connsiteY25" fmla="*/ 133350 h 2381250"/>
                <a:gd name="connsiteX26" fmla="*/ 1016823 w 1169223"/>
                <a:gd name="connsiteY26" fmla="*/ 66675 h 2381250"/>
                <a:gd name="connsiteX27" fmla="*/ 1093023 w 1169223"/>
                <a:gd name="connsiteY27" fmla="*/ 19050 h 2381250"/>
                <a:gd name="connsiteX28" fmla="*/ 1131123 w 1169223"/>
                <a:gd name="connsiteY28" fmla="*/ 9525 h 2381250"/>
                <a:gd name="connsiteX29" fmla="*/ 1169223 w 1169223"/>
                <a:gd name="connsiteY29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35773 w 1169223"/>
                <a:gd name="connsiteY6" fmla="*/ 1000125 h 2381250"/>
                <a:gd name="connsiteX7" fmla="*/ 254823 w 1169223"/>
                <a:gd name="connsiteY7" fmla="*/ 962025 h 2381250"/>
                <a:gd name="connsiteX8" fmla="*/ 264348 w 1169223"/>
                <a:gd name="connsiteY8" fmla="*/ 933450 h 2381250"/>
                <a:gd name="connsiteX9" fmla="*/ 283398 w 1169223"/>
                <a:gd name="connsiteY9" fmla="*/ 904875 h 2381250"/>
                <a:gd name="connsiteX10" fmla="*/ 292923 w 1169223"/>
                <a:gd name="connsiteY10" fmla="*/ 876300 h 2381250"/>
                <a:gd name="connsiteX11" fmla="*/ 369123 w 1169223"/>
                <a:gd name="connsiteY11" fmla="*/ 781050 h 2381250"/>
                <a:gd name="connsiteX12" fmla="*/ 426273 w 1169223"/>
                <a:gd name="connsiteY12" fmla="*/ 676275 h 2381250"/>
                <a:gd name="connsiteX13" fmla="*/ 454848 w 1169223"/>
                <a:gd name="connsiteY13" fmla="*/ 647700 h 2381250"/>
                <a:gd name="connsiteX14" fmla="*/ 464373 w 1169223"/>
                <a:gd name="connsiteY14" fmla="*/ 609600 h 2381250"/>
                <a:gd name="connsiteX15" fmla="*/ 492948 w 1169223"/>
                <a:gd name="connsiteY15" fmla="*/ 571500 h 2381250"/>
                <a:gd name="connsiteX16" fmla="*/ 531048 w 1169223"/>
                <a:gd name="connsiteY16" fmla="*/ 514350 h 2381250"/>
                <a:gd name="connsiteX17" fmla="*/ 607248 w 1169223"/>
                <a:gd name="connsiteY17" fmla="*/ 419100 h 2381250"/>
                <a:gd name="connsiteX18" fmla="*/ 645348 w 1169223"/>
                <a:gd name="connsiteY18" fmla="*/ 361950 h 2381250"/>
                <a:gd name="connsiteX19" fmla="*/ 673923 w 1169223"/>
                <a:gd name="connsiteY19" fmla="*/ 333375 h 2381250"/>
                <a:gd name="connsiteX20" fmla="*/ 712023 w 1169223"/>
                <a:gd name="connsiteY20" fmla="*/ 285750 h 2381250"/>
                <a:gd name="connsiteX21" fmla="*/ 731073 w 1169223"/>
                <a:gd name="connsiteY21" fmla="*/ 257175 h 2381250"/>
                <a:gd name="connsiteX22" fmla="*/ 778698 w 1169223"/>
                <a:gd name="connsiteY22" fmla="*/ 228600 h 2381250"/>
                <a:gd name="connsiteX23" fmla="*/ 845373 w 1169223"/>
                <a:gd name="connsiteY23" fmla="*/ 180975 h 2381250"/>
                <a:gd name="connsiteX24" fmla="*/ 921573 w 1169223"/>
                <a:gd name="connsiteY24" fmla="*/ 133350 h 2381250"/>
                <a:gd name="connsiteX25" fmla="*/ 1016823 w 1169223"/>
                <a:gd name="connsiteY25" fmla="*/ 66675 h 2381250"/>
                <a:gd name="connsiteX26" fmla="*/ 1093023 w 1169223"/>
                <a:gd name="connsiteY26" fmla="*/ 19050 h 2381250"/>
                <a:gd name="connsiteX27" fmla="*/ 1131123 w 1169223"/>
                <a:gd name="connsiteY27" fmla="*/ 9525 h 2381250"/>
                <a:gd name="connsiteX28" fmla="*/ 1169223 w 1169223"/>
                <a:gd name="connsiteY28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35773 w 1169223"/>
                <a:gd name="connsiteY6" fmla="*/ 1000125 h 2381250"/>
                <a:gd name="connsiteX7" fmla="*/ 254823 w 1169223"/>
                <a:gd name="connsiteY7" fmla="*/ 962025 h 2381250"/>
                <a:gd name="connsiteX8" fmla="*/ 264348 w 1169223"/>
                <a:gd name="connsiteY8" fmla="*/ 933450 h 2381250"/>
                <a:gd name="connsiteX9" fmla="*/ 292923 w 1169223"/>
                <a:gd name="connsiteY9" fmla="*/ 876300 h 2381250"/>
                <a:gd name="connsiteX10" fmla="*/ 369123 w 1169223"/>
                <a:gd name="connsiteY10" fmla="*/ 781050 h 2381250"/>
                <a:gd name="connsiteX11" fmla="*/ 426273 w 1169223"/>
                <a:gd name="connsiteY11" fmla="*/ 676275 h 2381250"/>
                <a:gd name="connsiteX12" fmla="*/ 454848 w 1169223"/>
                <a:gd name="connsiteY12" fmla="*/ 647700 h 2381250"/>
                <a:gd name="connsiteX13" fmla="*/ 464373 w 1169223"/>
                <a:gd name="connsiteY13" fmla="*/ 609600 h 2381250"/>
                <a:gd name="connsiteX14" fmla="*/ 492948 w 1169223"/>
                <a:gd name="connsiteY14" fmla="*/ 571500 h 2381250"/>
                <a:gd name="connsiteX15" fmla="*/ 531048 w 1169223"/>
                <a:gd name="connsiteY15" fmla="*/ 514350 h 2381250"/>
                <a:gd name="connsiteX16" fmla="*/ 607248 w 1169223"/>
                <a:gd name="connsiteY16" fmla="*/ 419100 h 2381250"/>
                <a:gd name="connsiteX17" fmla="*/ 645348 w 1169223"/>
                <a:gd name="connsiteY17" fmla="*/ 361950 h 2381250"/>
                <a:gd name="connsiteX18" fmla="*/ 673923 w 1169223"/>
                <a:gd name="connsiteY18" fmla="*/ 333375 h 2381250"/>
                <a:gd name="connsiteX19" fmla="*/ 712023 w 1169223"/>
                <a:gd name="connsiteY19" fmla="*/ 285750 h 2381250"/>
                <a:gd name="connsiteX20" fmla="*/ 731073 w 1169223"/>
                <a:gd name="connsiteY20" fmla="*/ 257175 h 2381250"/>
                <a:gd name="connsiteX21" fmla="*/ 778698 w 1169223"/>
                <a:gd name="connsiteY21" fmla="*/ 228600 h 2381250"/>
                <a:gd name="connsiteX22" fmla="*/ 845373 w 1169223"/>
                <a:gd name="connsiteY22" fmla="*/ 180975 h 2381250"/>
                <a:gd name="connsiteX23" fmla="*/ 921573 w 1169223"/>
                <a:gd name="connsiteY23" fmla="*/ 133350 h 2381250"/>
                <a:gd name="connsiteX24" fmla="*/ 1016823 w 1169223"/>
                <a:gd name="connsiteY24" fmla="*/ 66675 h 2381250"/>
                <a:gd name="connsiteX25" fmla="*/ 1093023 w 1169223"/>
                <a:gd name="connsiteY25" fmla="*/ 19050 h 2381250"/>
                <a:gd name="connsiteX26" fmla="*/ 1131123 w 1169223"/>
                <a:gd name="connsiteY26" fmla="*/ 9525 h 2381250"/>
                <a:gd name="connsiteX27" fmla="*/ 1169223 w 1169223"/>
                <a:gd name="connsiteY27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35773 w 1169223"/>
                <a:gd name="connsiteY6" fmla="*/ 1000125 h 2381250"/>
                <a:gd name="connsiteX7" fmla="*/ 254823 w 1169223"/>
                <a:gd name="connsiteY7" fmla="*/ 962025 h 2381250"/>
                <a:gd name="connsiteX8" fmla="*/ 264348 w 1169223"/>
                <a:gd name="connsiteY8" fmla="*/ 933450 h 2381250"/>
                <a:gd name="connsiteX9" fmla="*/ 369123 w 1169223"/>
                <a:gd name="connsiteY9" fmla="*/ 781050 h 2381250"/>
                <a:gd name="connsiteX10" fmla="*/ 426273 w 1169223"/>
                <a:gd name="connsiteY10" fmla="*/ 676275 h 2381250"/>
                <a:gd name="connsiteX11" fmla="*/ 454848 w 1169223"/>
                <a:gd name="connsiteY11" fmla="*/ 647700 h 2381250"/>
                <a:gd name="connsiteX12" fmla="*/ 464373 w 1169223"/>
                <a:gd name="connsiteY12" fmla="*/ 609600 h 2381250"/>
                <a:gd name="connsiteX13" fmla="*/ 492948 w 1169223"/>
                <a:gd name="connsiteY13" fmla="*/ 571500 h 2381250"/>
                <a:gd name="connsiteX14" fmla="*/ 531048 w 1169223"/>
                <a:gd name="connsiteY14" fmla="*/ 514350 h 2381250"/>
                <a:gd name="connsiteX15" fmla="*/ 607248 w 1169223"/>
                <a:gd name="connsiteY15" fmla="*/ 419100 h 2381250"/>
                <a:gd name="connsiteX16" fmla="*/ 645348 w 1169223"/>
                <a:gd name="connsiteY16" fmla="*/ 361950 h 2381250"/>
                <a:gd name="connsiteX17" fmla="*/ 673923 w 1169223"/>
                <a:gd name="connsiteY17" fmla="*/ 333375 h 2381250"/>
                <a:gd name="connsiteX18" fmla="*/ 712023 w 1169223"/>
                <a:gd name="connsiteY18" fmla="*/ 285750 h 2381250"/>
                <a:gd name="connsiteX19" fmla="*/ 731073 w 1169223"/>
                <a:gd name="connsiteY19" fmla="*/ 257175 h 2381250"/>
                <a:gd name="connsiteX20" fmla="*/ 778698 w 1169223"/>
                <a:gd name="connsiteY20" fmla="*/ 228600 h 2381250"/>
                <a:gd name="connsiteX21" fmla="*/ 845373 w 1169223"/>
                <a:gd name="connsiteY21" fmla="*/ 180975 h 2381250"/>
                <a:gd name="connsiteX22" fmla="*/ 921573 w 1169223"/>
                <a:gd name="connsiteY22" fmla="*/ 133350 h 2381250"/>
                <a:gd name="connsiteX23" fmla="*/ 1016823 w 1169223"/>
                <a:gd name="connsiteY23" fmla="*/ 66675 h 2381250"/>
                <a:gd name="connsiteX24" fmla="*/ 1093023 w 1169223"/>
                <a:gd name="connsiteY24" fmla="*/ 19050 h 2381250"/>
                <a:gd name="connsiteX25" fmla="*/ 1131123 w 1169223"/>
                <a:gd name="connsiteY25" fmla="*/ 9525 h 2381250"/>
                <a:gd name="connsiteX26" fmla="*/ 1169223 w 1169223"/>
                <a:gd name="connsiteY26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35773 w 1169223"/>
                <a:gd name="connsiteY6" fmla="*/ 1000125 h 2381250"/>
                <a:gd name="connsiteX7" fmla="*/ 254823 w 1169223"/>
                <a:gd name="connsiteY7" fmla="*/ 962025 h 2381250"/>
                <a:gd name="connsiteX8" fmla="*/ 369123 w 1169223"/>
                <a:gd name="connsiteY8" fmla="*/ 781050 h 2381250"/>
                <a:gd name="connsiteX9" fmla="*/ 426273 w 1169223"/>
                <a:gd name="connsiteY9" fmla="*/ 676275 h 2381250"/>
                <a:gd name="connsiteX10" fmla="*/ 454848 w 1169223"/>
                <a:gd name="connsiteY10" fmla="*/ 647700 h 2381250"/>
                <a:gd name="connsiteX11" fmla="*/ 464373 w 1169223"/>
                <a:gd name="connsiteY11" fmla="*/ 609600 h 2381250"/>
                <a:gd name="connsiteX12" fmla="*/ 492948 w 1169223"/>
                <a:gd name="connsiteY12" fmla="*/ 571500 h 2381250"/>
                <a:gd name="connsiteX13" fmla="*/ 531048 w 1169223"/>
                <a:gd name="connsiteY13" fmla="*/ 514350 h 2381250"/>
                <a:gd name="connsiteX14" fmla="*/ 607248 w 1169223"/>
                <a:gd name="connsiteY14" fmla="*/ 419100 h 2381250"/>
                <a:gd name="connsiteX15" fmla="*/ 645348 w 1169223"/>
                <a:gd name="connsiteY15" fmla="*/ 361950 h 2381250"/>
                <a:gd name="connsiteX16" fmla="*/ 673923 w 1169223"/>
                <a:gd name="connsiteY16" fmla="*/ 333375 h 2381250"/>
                <a:gd name="connsiteX17" fmla="*/ 712023 w 1169223"/>
                <a:gd name="connsiteY17" fmla="*/ 285750 h 2381250"/>
                <a:gd name="connsiteX18" fmla="*/ 731073 w 1169223"/>
                <a:gd name="connsiteY18" fmla="*/ 257175 h 2381250"/>
                <a:gd name="connsiteX19" fmla="*/ 778698 w 1169223"/>
                <a:gd name="connsiteY19" fmla="*/ 228600 h 2381250"/>
                <a:gd name="connsiteX20" fmla="*/ 845373 w 1169223"/>
                <a:gd name="connsiteY20" fmla="*/ 180975 h 2381250"/>
                <a:gd name="connsiteX21" fmla="*/ 921573 w 1169223"/>
                <a:gd name="connsiteY21" fmla="*/ 133350 h 2381250"/>
                <a:gd name="connsiteX22" fmla="*/ 1016823 w 1169223"/>
                <a:gd name="connsiteY22" fmla="*/ 66675 h 2381250"/>
                <a:gd name="connsiteX23" fmla="*/ 1093023 w 1169223"/>
                <a:gd name="connsiteY23" fmla="*/ 19050 h 2381250"/>
                <a:gd name="connsiteX24" fmla="*/ 1131123 w 1169223"/>
                <a:gd name="connsiteY24" fmla="*/ 9525 h 2381250"/>
                <a:gd name="connsiteX25" fmla="*/ 1169223 w 1169223"/>
                <a:gd name="connsiteY25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369123 w 1169223"/>
                <a:gd name="connsiteY7" fmla="*/ 781050 h 2381250"/>
                <a:gd name="connsiteX8" fmla="*/ 426273 w 1169223"/>
                <a:gd name="connsiteY8" fmla="*/ 676275 h 2381250"/>
                <a:gd name="connsiteX9" fmla="*/ 454848 w 1169223"/>
                <a:gd name="connsiteY9" fmla="*/ 647700 h 2381250"/>
                <a:gd name="connsiteX10" fmla="*/ 464373 w 1169223"/>
                <a:gd name="connsiteY10" fmla="*/ 609600 h 2381250"/>
                <a:gd name="connsiteX11" fmla="*/ 492948 w 1169223"/>
                <a:gd name="connsiteY11" fmla="*/ 571500 h 2381250"/>
                <a:gd name="connsiteX12" fmla="*/ 531048 w 1169223"/>
                <a:gd name="connsiteY12" fmla="*/ 514350 h 2381250"/>
                <a:gd name="connsiteX13" fmla="*/ 607248 w 1169223"/>
                <a:gd name="connsiteY13" fmla="*/ 419100 h 2381250"/>
                <a:gd name="connsiteX14" fmla="*/ 645348 w 1169223"/>
                <a:gd name="connsiteY14" fmla="*/ 361950 h 2381250"/>
                <a:gd name="connsiteX15" fmla="*/ 673923 w 1169223"/>
                <a:gd name="connsiteY15" fmla="*/ 333375 h 2381250"/>
                <a:gd name="connsiteX16" fmla="*/ 712023 w 1169223"/>
                <a:gd name="connsiteY16" fmla="*/ 285750 h 2381250"/>
                <a:gd name="connsiteX17" fmla="*/ 731073 w 1169223"/>
                <a:gd name="connsiteY17" fmla="*/ 257175 h 2381250"/>
                <a:gd name="connsiteX18" fmla="*/ 778698 w 1169223"/>
                <a:gd name="connsiteY18" fmla="*/ 228600 h 2381250"/>
                <a:gd name="connsiteX19" fmla="*/ 845373 w 1169223"/>
                <a:gd name="connsiteY19" fmla="*/ 180975 h 2381250"/>
                <a:gd name="connsiteX20" fmla="*/ 921573 w 1169223"/>
                <a:gd name="connsiteY20" fmla="*/ 133350 h 2381250"/>
                <a:gd name="connsiteX21" fmla="*/ 1016823 w 1169223"/>
                <a:gd name="connsiteY21" fmla="*/ 66675 h 2381250"/>
                <a:gd name="connsiteX22" fmla="*/ 1093023 w 1169223"/>
                <a:gd name="connsiteY22" fmla="*/ 19050 h 2381250"/>
                <a:gd name="connsiteX23" fmla="*/ 1131123 w 1169223"/>
                <a:gd name="connsiteY23" fmla="*/ 9525 h 2381250"/>
                <a:gd name="connsiteX24" fmla="*/ 1169223 w 1169223"/>
                <a:gd name="connsiteY24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464373 w 1169223"/>
                <a:gd name="connsiteY9" fmla="*/ 609600 h 2381250"/>
                <a:gd name="connsiteX10" fmla="*/ 492948 w 1169223"/>
                <a:gd name="connsiteY10" fmla="*/ 571500 h 2381250"/>
                <a:gd name="connsiteX11" fmla="*/ 531048 w 1169223"/>
                <a:gd name="connsiteY11" fmla="*/ 514350 h 2381250"/>
                <a:gd name="connsiteX12" fmla="*/ 607248 w 1169223"/>
                <a:gd name="connsiteY12" fmla="*/ 419100 h 2381250"/>
                <a:gd name="connsiteX13" fmla="*/ 645348 w 1169223"/>
                <a:gd name="connsiteY13" fmla="*/ 361950 h 2381250"/>
                <a:gd name="connsiteX14" fmla="*/ 673923 w 1169223"/>
                <a:gd name="connsiteY14" fmla="*/ 333375 h 2381250"/>
                <a:gd name="connsiteX15" fmla="*/ 712023 w 1169223"/>
                <a:gd name="connsiteY15" fmla="*/ 285750 h 2381250"/>
                <a:gd name="connsiteX16" fmla="*/ 731073 w 1169223"/>
                <a:gd name="connsiteY16" fmla="*/ 257175 h 2381250"/>
                <a:gd name="connsiteX17" fmla="*/ 778698 w 1169223"/>
                <a:gd name="connsiteY17" fmla="*/ 228600 h 2381250"/>
                <a:gd name="connsiteX18" fmla="*/ 845373 w 1169223"/>
                <a:gd name="connsiteY18" fmla="*/ 180975 h 2381250"/>
                <a:gd name="connsiteX19" fmla="*/ 921573 w 1169223"/>
                <a:gd name="connsiteY19" fmla="*/ 133350 h 2381250"/>
                <a:gd name="connsiteX20" fmla="*/ 1016823 w 1169223"/>
                <a:gd name="connsiteY20" fmla="*/ 66675 h 2381250"/>
                <a:gd name="connsiteX21" fmla="*/ 1093023 w 1169223"/>
                <a:gd name="connsiteY21" fmla="*/ 19050 h 2381250"/>
                <a:gd name="connsiteX22" fmla="*/ 1131123 w 1169223"/>
                <a:gd name="connsiteY22" fmla="*/ 9525 h 2381250"/>
                <a:gd name="connsiteX23" fmla="*/ 1169223 w 1169223"/>
                <a:gd name="connsiteY23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464373 w 1169223"/>
                <a:gd name="connsiteY9" fmla="*/ 609600 h 2381250"/>
                <a:gd name="connsiteX10" fmla="*/ 531048 w 1169223"/>
                <a:gd name="connsiteY10" fmla="*/ 514350 h 2381250"/>
                <a:gd name="connsiteX11" fmla="*/ 607248 w 1169223"/>
                <a:gd name="connsiteY11" fmla="*/ 419100 h 2381250"/>
                <a:gd name="connsiteX12" fmla="*/ 645348 w 1169223"/>
                <a:gd name="connsiteY12" fmla="*/ 361950 h 2381250"/>
                <a:gd name="connsiteX13" fmla="*/ 673923 w 1169223"/>
                <a:gd name="connsiteY13" fmla="*/ 333375 h 2381250"/>
                <a:gd name="connsiteX14" fmla="*/ 712023 w 1169223"/>
                <a:gd name="connsiteY14" fmla="*/ 285750 h 2381250"/>
                <a:gd name="connsiteX15" fmla="*/ 731073 w 1169223"/>
                <a:gd name="connsiteY15" fmla="*/ 257175 h 2381250"/>
                <a:gd name="connsiteX16" fmla="*/ 778698 w 1169223"/>
                <a:gd name="connsiteY16" fmla="*/ 228600 h 2381250"/>
                <a:gd name="connsiteX17" fmla="*/ 845373 w 1169223"/>
                <a:gd name="connsiteY17" fmla="*/ 180975 h 2381250"/>
                <a:gd name="connsiteX18" fmla="*/ 921573 w 1169223"/>
                <a:gd name="connsiteY18" fmla="*/ 133350 h 2381250"/>
                <a:gd name="connsiteX19" fmla="*/ 1016823 w 1169223"/>
                <a:gd name="connsiteY19" fmla="*/ 66675 h 2381250"/>
                <a:gd name="connsiteX20" fmla="*/ 1093023 w 1169223"/>
                <a:gd name="connsiteY20" fmla="*/ 19050 h 2381250"/>
                <a:gd name="connsiteX21" fmla="*/ 1131123 w 1169223"/>
                <a:gd name="connsiteY21" fmla="*/ 9525 h 2381250"/>
                <a:gd name="connsiteX22" fmla="*/ 1169223 w 1169223"/>
                <a:gd name="connsiteY22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464373 w 1169223"/>
                <a:gd name="connsiteY9" fmla="*/ 609600 h 2381250"/>
                <a:gd name="connsiteX10" fmla="*/ 607248 w 1169223"/>
                <a:gd name="connsiteY10" fmla="*/ 419100 h 2381250"/>
                <a:gd name="connsiteX11" fmla="*/ 645348 w 1169223"/>
                <a:gd name="connsiteY11" fmla="*/ 361950 h 2381250"/>
                <a:gd name="connsiteX12" fmla="*/ 673923 w 1169223"/>
                <a:gd name="connsiteY12" fmla="*/ 333375 h 2381250"/>
                <a:gd name="connsiteX13" fmla="*/ 712023 w 1169223"/>
                <a:gd name="connsiteY13" fmla="*/ 285750 h 2381250"/>
                <a:gd name="connsiteX14" fmla="*/ 731073 w 1169223"/>
                <a:gd name="connsiteY14" fmla="*/ 257175 h 2381250"/>
                <a:gd name="connsiteX15" fmla="*/ 778698 w 1169223"/>
                <a:gd name="connsiteY15" fmla="*/ 228600 h 2381250"/>
                <a:gd name="connsiteX16" fmla="*/ 845373 w 1169223"/>
                <a:gd name="connsiteY16" fmla="*/ 180975 h 2381250"/>
                <a:gd name="connsiteX17" fmla="*/ 921573 w 1169223"/>
                <a:gd name="connsiteY17" fmla="*/ 133350 h 2381250"/>
                <a:gd name="connsiteX18" fmla="*/ 1016823 w 1169223"/>
                <a:gd name="connsiteY18" fmla="*/ 66675 h 2381250"/>
                <a:gd name="connsiteX19" fmla="*/ 1093023 w 1169223"/>
                <a:gd name="connsiteY19" fmla="*/ 19050 h 2381250"/>
                <a:gd name="connsiteX20" fmla="*/ 1131123 w 1169223"/>
                <a:gd name="connsiteY20" fmla="*/ 9525 h 2381250"/>
                <a:gd name="connsiteX21" fmla="*/ 1169223 w 1169223"/>
                <a:gd name="connsiteY21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673923 w 1169223"/>
                <a:gd name="connsiteY11" fmla="*/ 333375 h 2381250"/>
                <a:gd name="connsiteX12" fmla="*/ 712023 w 1169223"/>
                <a:gd name="connsiteY12" fmla="*/ 285750 h 2381250"/>
                <a:gd name="connsiteX13" fmla="*/ 731073 w 1169223"/>
                <a:gd name="connsiteY13" fmla="*/ 257175 h 2381250"/>
                <a:gd name="connsiteX14" fmla="*/ 778698 w 1169223"/>
                <a:gd name="connsiteY14" fmla="*/ 228600 h 2381250"/>
                <a:gd name="connsiteX15" fmla="*/ 845373 w 1169223"/>
                <a:gd name="connsiteY15" fmla="*/ 180975 h 2381250"/>
                <a:gd name="connsiteX16" fmla="*/ 921573 w 1169223"/>
                <a:gd name="connsiteY16" fmla="*/ 133350 h 2381250"/>
                <a:gd name="connsiteX17" fmla="*/ 1016823 w 1169223"/>
                <a:gd name="connsiteY17" fmla="*/ 66675 h 2381250"/>
                <a:gd name="connsiteX18" fmla="*/ 1093023 w 1169223"/>
                <a:gd name="connsiteY18" fmla="*/ 19050 h 2381250"/>
                <a:gd name="connsiteX19" fmla="*/ 1131123 w 1169223"/>
                <a:gd name="connsiteY19" fmla="*/ 9525 h 2381250"/>
                <a:gd name="connsiteX20" fmla="*/ 1169223 w 1169223"/>
                <a:gd name="connsiteY20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778698 w 1169223"/>
                <a:gd name="connsiteY13" fmla="*/ 228600 h 2381250"/>
                <a:gd name="connsiteX14" fmla="*/ 845373 w 1169223"/>
                <a:gd name="connsiteY14" fmla="*/ 180975 h 2381250"/>
                <a:gd name="connsiteX15" fmla="*/ 921573 w 1169223"/>
                <a:gd name="connsiteY15" fmla="*/ 133350 h 2381250"/>
                <a:gd name="connsiteX16" fmla="*/ 1016823 w 1169223"/>
                <a:gd name="connsiteY16" fmla="*/ 66675 h 2381250"/>
                <a:gd name="connsiteX17" fmla="*/ 1093023 w 1169223"/>
                <a:gd name="connsiteY17" fmla="*/ 19050 h 2381250"/>
                <a:gd name="connsiteX18" fmla="*/ 1131123 w 1169223"/>
                <a:gd name="connsiteY18" fmla="*/ 9525 h 2381250"/>
                <a:gd name="connsiteX19" fmla="*/ 1169223 w 1169223"/>
                <a:gd name="connsiteY19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845373 w 1169223"/>
                <a:gd name="connsiteY13" fmla="*/ 180975 h 2381250"/>
                <a:gd name="connsiteX14" fmla="*/ 921573 w 1169223"/>
                <a:gd name="connsiteY14" fmla="*/ 133350 h 2381250"/>
                <a:gd name="connsiteX15" fmla="*/ 1016823 w 1169223"/>
                <a:gd name="connsiteY15" fmla="*/ 66675 h 2381250"/>
                <a:gd name="connsiteX16" fmla="*/ 1093023 w 1169223"/>
                <a:gd name="connsiteY16" fmla="*/ 19050 h 2381250"/>
                <a:gd name="connsiteX17" fmla="*/ 1131123 w 1169223"/>
                <a:gd name="connsiteY17" fmla="*/ 9525 h 2381250"/>
                <a:gd name="connsiteX18" fmla="*/ 1169223 w 1169223"/>
                <a:gd name="connsiteY18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921573 w 1169223"/>
                <a:gd name="connsiteY13" fmla="*/ 133350 h 2381250"/>
                <a:gd name="connsiteX14" fmla="*/ 1016823 w 1169223"/>
                <a:gd name="connsiteY14" fmla="*/ 66675 h 2381250"/>
                <a:gd name="connsiteX15" fmla="*/ 1093023 w 1169223"/>
                <a:gd name="connsiteY15" fmla="*/ 19050 h 2381250"/>
                <a:gd name="connsiteX16" fmla="*/ 1131123 w 1169223"/>
                <a:gd name="connsiteY16" fmla="*/ 9525 h 2381250"/>
                <a:gd name="connsiteX17" fmla="*/ 1169223 w 1169223"/>
                <a:gd name="connsiteY17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1016823 w 1169223"/>
                <a:gd name="connsiteY13" fmla="*/ 66675 h 2381250"/>
                <a:gd name="connsiteX14" fmla="*/ 1093023 w 1169223"/>
                <a:gd name="connsiteY14" fmla="*/ 19050 h 2381250"/>
                <a:gd name="connsiteX15" fmla="*/ 1131123 w 1169223"/>
                <a:gd name="connsiteY15" fmla="*/ 9525 h 2381250"/>
                <a:gd name="connsiteX16" fmla="*/ 1169223 w 1169223"/>
                <a:gd name="connsiteY16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645348 w 1169223"/>
                <a:gd name="connsiteY10" fmla="*/ 361950 h 2381250"/>
                <a:gd name="connsiteX11" fmla="*/ 712023 w 1169223"/>
                <a:gd name="connsiteY11" fmla="*/ 285750 h 2381250"/>
                <a:gd name="connsiteX12" fmla="*/ 731073 w 1169223"/>
                <a:gd name="connsiteY12" fmla="*/ 257175 h 2381250"/>
                <a:gd name="connsiteX13" fmla="*/ 1016823 w 1169223"/>
                <a:gd name="connsiteY13" fmla="*/ 66675 h 2381250"/>
                <a:gd name="connsiteX14" fmla="*/ 1131123 w 1169223"/>
                <a:gd name="connsiteY14" fmla="*/ 9525 h 2381250"/>
                <a:gd name="connsiteX15" fmla="*/ 1169223 w 1169223"/>
                <a:gd name="connsiteY15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712023 w 1169223"/>
                <a:gd name="connsiteY10" fmla="*/ 285750 h 2381250"/>
                <a:gd name="connsiteX11" fmla="*/ 731073 w 1169223"/>
                <a:gd name="connsiteY11" fmla="*/ 257175 h 2381250"/>
                <a:gd name="connsiteX12" fmla="*/ 1016823 w 1169223"/>
                <a:gd name="connsiteY12" fmla="*/ 66675 h 2381250"/>
                <a:gd name="connsiteX13" fmla="*/ 1131123 w 1169223"/>
                <a:gd name="connsiteY13" fmla="*/ 9525 h 2381250"/>
                <a:gd name="connsiteX14" fmla="*/ 1169223 w 1169223"/>
                <a:gd name="connsiteY14" fmla="*/ 0 h 2381250"/>
                <a:gd name="connsiteX0" fmla="*/ 73848 w 1169223"/>
                <a:gd name="connsiteY0" fmla="*/ 2381250 h 2381250"/>
                <a:gd name="connsiteX1" fmla="*/ 64323 w 1169223"/>
                <a:gd name="connsiteY1" fmla="*/ 2333625 h 2381250"/>
                <a:gd name="connsiteX2" fmla="*/ 7173 w 1169223"/>
                <a:gd name="connsiteY2" fmla="*/ 1905000 h 2381250"/>
                <a:gd name="connsiteX3" fmla="*/ 16698 w 1169223"/>
                <a:gd name="connsiteY3" fmla="*/ 1619250 h 2381250"/>
                <a:gd name="connsiteX4" fmla="*/ 150048 w 1169223"/>
                <a:gd name="connsiteY4" fmla="*/ 1238250 h 2381250"/>
                <a:gd name="connsiteX5" fmla="*/ 207198 w 1169223"/>
                <a:gd name="connsiteY5" fmla="*/ 1095375 h 2381250"/>
                <a:gd name="connsiteX6" fmla="*/ 254823 w 1169223"/>
                <a:gd name="connsiteY6" fmla="*/ 962025 h 2381250"/>
                <a:gd name="connsiteX7" fmla="*/ 426273 w 1169223"/>
                <a:gd name="connsiteY7" fmla="*/ 676275 h 2381250"/>
                <a:gd name="connsiteX8" fmla="*/ 454848 w 1169223"/>
                <a:gd name="connsiteY8" fmla="*/ 647700 h 2381250"/>
                <a:gd name="connsiteX9" fmla="*/ 607248 w 1169223"/>
                <a:gd name="connsiteY9" fmla="*/ 419100 h 2381250"/>
                <a:gd name="connsiteX10" fmla="*/ 712023 w 1169223"/>
                <a:gd name="connsiteY10" fmla="*/ 285750 h 2381250"/>
                <a:gd name="connsiteX11" fmla="*/ 1016823 w 1169223"/>
                <a:gd name="connsiteY11" fmla="*/ 66675 h 2381250"/>
                <a:gd name="connsiteX12" fmla="*/ 1131123 w 1169223"/>
                <a:gd name="connsiteY12" fmla="*/ 9525 h 2381250"/>
                <a:gd name="connsiteX13" fmla="*/ 1169223 w 1169223"/>
                <a:gd name="connsiteY13" fmla="*/ 0 h 2381250"/>
                <a:gd name="connsiteX0" fmla="*/ 73848 w 1131123"/>
                <a:gd name="connsiteY0" fmla="*/ 2371725 h 2371725"/>
                <a:gd name="connsiteX1" fmla="*/ 64323 w 1131123"/>
                <a:gd name="connsiteY1" fmla="*/ 2324100 h 2371725"/>
                <a:gd name="connsiteX2" fmla="*/ 7173 w 1131123"/>
                <a:gd name="connsiteY2" fmla="*/ 1895475 h 2371725"/>
                <a:gd name="connsiteX3" fmla="*/ 16698 w 1131123"/>
                <a:gd name="connsiteY3" fmla="*/ 1609725 h 2371725"/>
                <a:gd name="connsiteX4" fmla="*/ 150048 w 1131123"/>
                <a:gd name="connsiteY4" fmla="*/ 1228725 h 2371725"/>
                <a:gd name="connsiteX5" fmla="*/ 207198 w 1131123"/>
                <a:gd name="connsiteY5" fmla="*/ 1085850 h 2371725"/>
                <a:gd name="connsiteX6" fmla="*/ 254823 w 1131123"/>
                <a:gd name="connsiteY6" fmla="*/ 952500 h 2371725"/>
                <a:gd name="connsiteX7" fmla="*/ 426273 w 1131123"/>
                <a:gd name="connsiteY7" fmla="*/ 666750 h 2371725"/>
                <a:gd name="connsiteX8" fmla="*/ 454848 w 1131123"/>
                <a:gd name="connsiteY8" fmla="*/ 638175 h 2371725"/>
                <a:gd name="connsiteX9" fmla="*/ 607248 w 1131123"/>
                <a:gd name="connsiteY9" fmla="*/ 409575 h 2371725"/>
                <a:gd name="connsiteX10" fmla="*/ 712023 w 1131123"/>
                <a:gd name="connsiteY10" fmla="*/ 276225 h 2371725"/>
                <a:gd name="connsiteX11" fmla="*/ 1016823 w 1131123"/>
                <a:gd name="connsiteY11" fmla="*/ 57150 h 2371725"/>
                <a:gd name="connsiteX12" fmla="*/ 1131123 w 1131123"/>
                <a:gd name="connsiteY12" fmla="*/ 0 h 2371725"/>
                <a:gd name="connsiteX0" fmla="*/ 68314 w 1125589"/>
                <a:gd name="connsiteY0" fmla="*/ 2371725 h 2371725"/>
                <a:gd name="connsiteX1" fmla="*/ 58789 w 1125589"/>
                <a:gd name="connsiteY1" fmla="*/ 2324100 h 2371725"/>
                <a:gd name="connsiteX2" fmla="*/ 1639 w 1125589"/>
                <a:gd name="connsiteY2" fmla="*/ 1895475 h 2371725"/>
                <a:gd name="connsiteX3" fmla="*/ 39739 w 1125589"/>
                <a:gd name="connsiteY3" fmla="*/ 1552575 h 2371725"/>
                <a:gd name="connsiteX4" fmla="*/ 144514 w 1125589"/>
                <a:gd name="connsiteY4" fmla="*/ 1228725 h 2371725"/>
                <a:gd name="connsiteX5" fmla="*/ 201664 w 1125589"/>
                <a:gd name="connsiteY5" fmla="*/ 1085850 h 2371725"/>
                <a:gd name="connsiteX6" fmla="*/ 249289 w 1125589"/>
                <a:gd name="connsiteY6" fmla="*/ 952500 h 2371725"/>
                <a:gd name="connsiteX7" fmla="*/ 420739 w 1125589"/>
                <a:gd name="connsiteY7" fmla="*/ 666750 h 2371725"/>
                <a:gd name="connsiteX8" fmla="*/ 449314 w 1125589"/>
                <a:gd name="connsiteY8" fmla="*/ 638175 h 2371725"/>
                <a:gd name="connsiteX9" fmla="*/ 601714 w 1125589"/>
                <a:gd name="connsiteY9" fmla="*/ 409575 h 2371725"/>
                <a:gd name="connsiteX10" fmla="*/ 706489 w 1125589"/>
                <a:gd name="connsiteY10" fmla="*/ 276225 h 2371725"/>
                <a:gd name="connsiteX11" fmla="*/ 1011289 w 1125589"/>
                <a:gd name="connsiteY11" fmla="*/ 57150 h 2371725"/>
                <a:gd name="connsiteX12" fmla="*/ 1125589 w 1125589"/>
                <a:gd name="connsiteY12" fmla="*/ 0 h 2371725"/>
                <a:gd name="connsiteX0" fmla="*/ 67984 w 1125259"/>
                <a:gd name="connsiteY0" fmla="*/ 2371725 h 2371725"/>
                <a:gd name="connsiteX1" fmla="*/ 58459 w 1125259"/>
                <a:gd name="connsiteY1" fmla="*/ 2324100 h 2371725"/>
                <a:gd name="connsiteX2" fmla="*/ 1309 w 1125259"/>
                <a:gd name="connsiteY2" fmla="*/ 1895475 h 2371725"/>
                <a:gd name="connsiteX3" fmla="*/ 39409 w 1125259"/>
                <a:gd name="connsiteY3" fmla="*/ 1552575 h 2371725"/>
                <a:gd name="connsiteX4" fmla="*/ 144184 w 1125259"/>
                <a:gd name="connsiteY4" fmla="*/ 1228725 h 2371725"/>
                <a:gd name="connsiteX5" fmla="*/ 201334 w 1125259"/>
                <a:gd name="connsiteY5" fmla="*/ 1085850 h 2371725"/>
                <a:gd name="connsiteX6" fmla="*/ 248959 w 1125259"/>
                <a:gd name="connsiteY6" fmla="*/ 952500 h 2371725"/>
                <a:gd name="connsiteX7" fmla="*/ 420409 w 1125259"/>
                <a:gd name="connsiteY7" fmla="*/ 666750 h 2371725"/>
                <a:gd name="connsiteX8" fmla="*/ 448984 w 1125259"/>
                <a:gd name="connsiteY8" fmla="*/ 638175 h 2371725"/>
                <a:gd name="connsiteX9" fmla="*/ 601384 w 1125259"/>
                <a:gd name="connsiteY9" fmla="*/ 409575 h 2371725"/>
                <a:gd name="connsiteX10" fmla="*/ 706159 w 1125259"/>
                <a:gd name="connsiteY10" fmla="*/ 276225 h 2371725"/>
                <a:gd name="connsiteX11" fmla="*/ 1010959 w 1125259"/>
                <a:gd name="connsiteY11" fmla="*/ 57150 h 2371725"/>
                <a:gd name="connsiteX12" fmla="*/ 1125259 w 1125259"/>
                <a:gd name="connsiteY12" fmla="*/ 0 h 2371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25259" h="2371725">
                  <a:moveTo>
                    <a:pt x="67984" y="2371725"/>
                  </a:moveTo>
                  <a:cubicBezTo>
                    <a:pt x="64809" y="2355850"/>
                    <a:pt x="69571" y="2403475"/>
                    <a:pt x="58459" y="2324100"/>
                  </a:cubicBezTo>
                  <a:cubicBezTo>
                    <a:pt x="47347" y="2244725"/>
                    <a:pt x="9246" y="2014537"/>
                    <a:pt x="1309" y="1895475"/>
                  </a:cubicBezTo>
                  <a:cubicBezTo>
                    <a:pt x="-6628" y="1776413"/>
                    <a:pt x="23485" y="1665102"/>
                    <a:pt x="39409" y="1552575"/>
                  </a:cubicBezTo>
                  <a:cubicBezTo>
                    <a:pt x="63222" y="1384300"/>
                    <a:pt x="117197" y="1306512"/>
                    <a:pt x="144184" y="1228725"/>
                  </a:cubicBezTo>
                  <a:cubicBezTo>
                    <a:pt x="171171" y="1150938"/>
                    <a:pt x="183872" y="1131887"/>
                    <a:pt x="201334" y="1085850"/>
                  </a:cubicBezTo>
                  <a:cubicBezTo>
                    <a:pt x="218796" y="1039813"/>
                    <a:pt x="212446" y="1022350"/>
                    <a:pt x="248959" y="952500"/>
                  </a:cubicBezTo>
                  <a:cubicBezTo>
                    <a:pt x="285472" y="882650"/>
                    <a:pt x="387071" y="719138"/>
                    <a:pt x="420409" y="666750"/>
                  </a:cubicBezTo>
                  <a:cubicBezTo>
                    <a:pt x="453747" y="614362"/>
                    <a:pt x="439459" y="647700"/>
                    <a:pt x="448984" y="638175"/>
                  </a:cubicBezTo>
                  <a:cubicBezTo>
                    <a:pt x="479146" y="595313"/>
                    <a:pt x="558522" y="469900"/>
                    <a:pt x="601384" y="409575"/>
                  </a:cubicBezTo>
                  <a:cubicBezTo>
                    <a:pt x="644246" y="349250"/>
                    <a:pt x="637897" y="334963"/>
                    <a:pt x="706159" y="276225"/>
                  </a:cubicBezTo>
                  <a:cubicBezTo>
                    <a:pt x="774422" y="217488"/>
                    <a:pt x="941109" y="103187"/>
                    <a:pt x="1010959" y="57150"/>
                  </a:cubicBezTo>
                  <a:cubicBezTo>
                    <a:pt x="1080809" y="11113"/>
                    <a:pt x="1099859" y="11112"/>
                    <a:pt x="1125259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DB27B15C-1776-8977-C635-39A414D44C28}"/>
                </a:ext>
              </a:extLst>
            </p:cNvPr>
            <p:cNvSpPr/>
            <p:nvPr/>
          </p:nvSpPr>
          <p:spPr>
            <a:xfrm>
              <a:off x="2827127" y="2465574"/>
              <a:ext cx="1266298" cy="2087208"/>
            </a:xfrm>
            <a:custGeom>
              <a:avLst/>
              <a:gdLst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952500 w 1381125"/>
                <a:gd name="connsiteY22" fmla="*/ 1590675 h 2277341"/>
                <a:gd name="connsiteX23" fmla="*/ 923925 w 1381125"/>
                <a:gd name="connsiteY23" fmla="*/ 1628775 h 2277341"/>
                <a:gd name="connsiteX24" fmla="*/ 866775 w 1381125"/>
                <a:gd name="connsiteY24" fmla="*/ 1685925 h 2277341"/>
                <a:gd name="connsiteX25" fmla="*/ 819150 w 1381125"/>
                <a:gd name="connsiteY25" fmla="*/ 1733550 h 2277341"/>
                <a:gd name="connsiteX26" fmla="*/ 762000 w 1381125"/>
                <a:gd name="connsiteY26" fmla="*/ 1800225 h 2277341"/>
                <a:gd name="connsiteX27" fmla="*/ 723900 w 1381125"/>
                <a:gd name="connsiteY27" fmla="*/ 1828800 h 2277341"/>
                <a:gd name="connsiteX28" fmla="*/ 695325 w 1381125"/>
                <a:gd name="connsiteY28" fmla="*/ 1857375 h 2277341"/>
                <a:gd name="connsiteX29" fmla="*/ 657225 w 1381125"/>
                <a:gd name="connsiteY29" fmla="*/ 1885950 h 2277341"/>
                <a:gd name="connsiteX30" fmla="*/ 581025 w 1381125"/>
                <a:gd name="connsiteY30" fmla="*/ 1952625 h 2277341"/>
                <a:gd name="connsiteX31" fmla="*/ 533400 w 1381125"/>
                <a:gd name="connsiteY31" fmla="*/ 1981200 h 2277341"/>
                <a:gd name="connsiteX32" fmla="*/ 504825 w 1381125"/>
                <a:gd name="connsiteY32" fmla="*/ 2009775 h 2277341"/>
                <a:gd name="connsiteX33" fmla="*/ 476250 w 1381125"/>
                <a:gd name="connsiteY33" fmla="*/ 2028825 h 2277341"/>
                <a:gd name="connsiteX34" fmla="*/ 438150 w 1381125"/>
                <a:gd name="connsiteY34" fmla="*/ 2057400 h 2277341"/>
                <a:gd name="connsiteX35" fmla="*/ 390525 w 1381125"/>
                <a:gd name="connsiteY35" fmla="*/ 2085975 h 2277341"/>
                <a:gd name="connsiteX36" fmla="*/ 333375 w 1381125"/>
                <a:gd name="connsiteY36" fmla="*/ 2133600 h 2277341"/>
                <a:gd name="connsiteX37" fmla="*/ 276225 w 1381125"/>
                <a:gd name="connsiteY37" fmla="*/ 2171700 h 2277341"/>
                <a:gd name="connsiteX38" fmla="*/ 247650 w 1381125"/>
                <a:gd name="connsiteY38" fmla="*/ 2190750 h 2277341"/>
                <a:gd name="connsiteX39" fmla="*/ 200025 w 1381125"/>
                <a:gd name="connsiteY39" fmla="*/ 2209800 h 2277341"/>
                <a:gd name="connsiteX40" fmla="*/ 161925 w 1381125"/>
                <a:gd name="connsiteY40" fmla="*/ 2228850 h 2277341"/>
                <a:gd name="connsiteX41" fmla="*/ 66675 w 1381125"/>
                <a:gd name="connsiteY41" fmla="*/ 2257425 h 2277341"/>
                <a:gd name="connsiteX42" fmla="*/ 0 w 1381125"/>
                <a:gd name="connsiteY4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923925 w 1381125"/>
                <a:gd name="connsiteY22" fmla="*/ 1628775 h 2277341"/>
                <a:gd name="connsiteX23" fmla="*/ 866775 w 1381125"/>
                <a:gd name="connsiteY23" fmla="*/ 1685925 h 2277341"/>
                <a:gd name="connsiteX24" fmla="*/ 819150 w 1381125"/>
                <a:gd name="connsiteY24" fmla="*/ 1733550 h 2277341"/>
                <a:gd name="connsiteX25" fmla="*/ 762000 w 1381125"/>
                <a:gd name="connsiteY25" fmla="*/ 1800225 h 2277341"/>
                <a:gd name="connsiteX26" fmla="*/ 723900 w 1381125"/>
                <a:gd name="connsiteY26" fmla="*/ 1828800 h 2277341"/>
                <a:gd name="connsiteX27" fmla="*/ 695325 w 1381125"/>
                <a:gd name="connsiteY27" fmla="*/ 1857375 h 2277341"/>
                <a:gd name="connsiteX28" fmla="*/ 657225 w 1381125"/>
                <a:gd name="connsiteY28" fmla="*/ 1885950 h 2277341"/>
                <a:gd name="connsiteX29" fmla="*/ 581025 w 1381125"/>
                <a:gd name="connsiteY29" fmla="*/ 1952625 h 2277341"/>
                <a:gd name="connsiteX30" fmla="*/ 533400 w 1381125"/>
                <a:gd name="connsiteY30" fmla="*/ 1981200 h 2277341"/>
                <a:gd name="connsiteX31" fmla="*/ 504825 w 1381125"/>
                <a:gd name="connsiteY31" fmla="*/ 2009775 h 2277341"/>
                <a:gd name="connsiteX32" fmla="*/ 476250 w 1381125"/>
                <a:gd name="connsiteY32" fmla="*/ 2028825 h 2277341"/>
                <a:gd name="connsiteX33" fmla="*/ 438150 w 1381125"/>
                <a:gd name="connsiteY33" fmla="*/ 2057400 h 2277341"/>
                <a:gd name="connsiteX34" fmla="*/ 390525 w 1381125"/>
                <a:gd name="connsiteY34" fmla="*/ 2085975 h 2277341"/>
                <a:gd name="connsiteX35" fmla="*/ 333375 w 1381125"/>
                <a:gd name="connsiteY35" fmla="*/ 2133600 h 2277341"/>
                <a:gd name="connsiteX36" fmla="*/ 276225 w 1381125"/>
                <a:gd name="connsiteY36" fmla="*/ 2171700 h 2277341"/>
                <a:gd name="connsiteX37" fmla="*/ 247650 w 1381125"/>
                <a:gd name="connsiteY37" fmla="*/ 2190750 h 2277341"/>
                <a:gd name="connsiteX38" fmla="*/ 200025 w 1381125"/>
                <a:gd name="connsiteY38" fmla="*/ 2209800 h 2277341"/>
                <a:gd name="connsiteX39" fmla="*/ 161925 w 1381125"/>
                <a:gd name="connsiteY39" fmla="*/ 2228850 h 2277341"/>
                <a:gd name="connsiteX40" fmla="*/ 66675 w 1381125"/>
                <a:gd name="connsiteY40" fmla="*/ 2257425 h 2277341"/>
                <a:gd name="connsiteX41" fmla="*/ 0 w 1381125"/>
                <a:gd name="connsiteY41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866775 w 1381125"/>
                <a:gd name="connsiteY22" fmla="*/ 1685925 h 2277341"/>
                <a:gd name="connsiteX23" fmla="*/ 819150 w 1381125"/>
                <a:gd name="connsiteY23" fmla="*/ 1733550 h 2277341"/>
                <a:gd name="connsiteX24" fmla="*/ 762000 w 1381125"/>
                <a:gd name="connsiteY24" fmla="*/ 1800225 h 2277341"/>
                <a:gd name="connsiteX25" fmla="*/ 723900 w 1381125"/>
                <a:gd name="connsiteY25" fmla="*/ 1828800 h 2277341"/>
                <a:gd name="connsiteX26" fmla="*/ 695325 w 1381125"/>
                <a:gd name="connsiteY26" fmla="*/ 1857375 h 2277341"/>
                <a:gd name="connsiteX27" fmla="*/ 657225 w 1381125"/>
                <a:gd name="connsiteY27" fmla="*/ 1885950 h 2277341"/>
                <a:gd name="connsiteX28" fmla="*/ 581025 w 1381125"/>
                <a:gd name="connsiteY28" fmla="*/ 1952625 h 2277341"/>
                <a:gd name="connsiteX29" fmla="*/ 533400 w 1381125"/>
                <a:gd name="connsiteY29" fmla="*/ 1981200 h 2277341"/>
                <a:gd name="connsiteX30" fmla="*/ 504825 w 1381125"/>
                <a:gd name="connsiteY30" fmla="*/ 2009775 h 2277341"/>
                <a:gd name="connsiteX31" fmla="*/ 476250 w 1381125"/>
                <a:gd name="connsiteY31" fmla="*/ 2028825 h 2277341"/>
                <a:gd name="connsiteX32" fmla="*/ 438150 w 1381125"/>
                <a:gd name="connsiteY32" fmla="*/ 2057400 h 2277341"/>
                <a:gd name="connsiteX33" fmla="*/ 390525 w 1381125"/>
                <a:gd name="connsiteY33" fmla="*/ 2085975 h 2277341"/>
                <a:gd name="connsiteX34" fmla="*/ 333375 w 1381125"/>
                <a:gd name="connsiteY34" fmla="*/ 2133600 h 2277341"/>
                <a:gd name="connsiteX35" fmla="*/ 276225 w 1381125"/>
                <a:gd name="connsiteY35" fmla="*/ 2171700 h 2277341"/>
                <a:gd name="connsiteX36" fmla="*/ 247650 w 1381125"/>
                <a:gd name="connsiteY36" fmla="*/ 2190750 h 2277341"/>
                <a:gd name="connsiteX37" fmla="*/ 200025 w 1381125"/>
                <a:gd name="connsiteY37" fmla="*/ 2209800 h 2277341"/>
                <a:gd name="connsiteX38" fmla="*/ 161925 w 1381125"/>
                <a:gd name="connsiteY38" fmla="*/ 2228850 h 2277341"/>
                <a:gd name="connsiteX39" fmla="*/ 66675 w 1381125"/>
                <a:gd name="connsiteY39" fmla="*/ 2257425 h 2277341"/>
                <a:gd name="connsiteX40" fmla="*/ 0 w 1381125"/>
                <a:gd name="connsiteY40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866775 w 1381125"/>
                <a:gd name="connsiteY22" fmla="*/ 1685925 h 2277341"/>
                <a:gd name="connsiteX23" fmla="*/ 762000 w 1381125"/>
                <a:gd name="connsiteY23" fmla="*/ 1800225 h 2277341"/>
                <a:gd name="connsiteX24" fmla="*/ 723900 w 1381125"/>
                <a:gd name="connsiteY24" fmla="*/ 1828800 h 2277341"/>
                <a:gd name="connsiteX25" fmla="*/ 695325 w 1381125"/>
                <a:gd name="connsiteY25" fmla="*/ 1857375 h 2277341"/>
                <a:gd name="connsiteX26" fmla="*/ 657225 w 1381125"/>
                <a:gd name="connsiteY26" fmla="*/ 1885950 h 2277341"/>
                <a:gd name="connsiteX27" fmla="*/ 581025 w 1381125"/>
                <a:gd name="connsiteY27" fmla="*/ 1952625 h 2277341"/>
                <a:gd name="connsiteX28" fmla="*/ 533400 w 1381125"/>
                <a:gd name="connsiteY28" fmla="*/ 1981200 h 2277341"/>
                <a:gd name="connsiteX29" fmla="*/ 504825 w 1381125"/>
                <a:gd name="connsiteY29" fmla="*/ 2009775 h 2277341"/>
                <a:gd name="connsiteX30" fmla="*/ 476250 w 1381125"/>
                <a:gd name="connsiteY30" fmla="*/ 2028825 h 2277341"/>
                <a:gd name="connsiteX31" fmla="*/ 438150 w 1381125"/>
                <a:gd name="connsiteY31" fmla="*/ 2057400 h 2277341"/>
                <a:gd name="connsiteX32" fmla="*/ 390525 w 1381125"/>
                <a:gd name="connsiteY32" fmla="*/ 2085975 h 2277341"/>
                <a:gd name="connsiteX33" fmla="*/ 333375 w 1381125"/>
                <a:gd name="connsiteY33" fmla="*/ 2133600 h 2277341"/>
                <a:gd name="connsiteX34" fmla="*/ 276225 w 1381125"/>
                <a:gd name="connsiteY34" fmla="*/ 2171700 h 2277341"/>
                <a:gd name="connsiteX35" fmla="*/ 247650 w 1381125"/>
                <a:gd name="connsiteY35" fmla="*/ 2190750 h 2277341"/>
                <a:gd name="connsiteX36" fmla="*/ 200025 w 1381125"/>
                <a:gd name="connsiteY36" fmla="*/ 2209800 h 2277341"/>
                <a:gd name="connsiteX37" fmla="*/ 161925 w 1381125"/>
                <a:gd name="connsiteY37" fmla="*/ 2228850 h 2277341"/>
                <a:gd name="connsiteX38" fmla="*/ 66675 w 1381125"/>
                <a:gd name="connsiteY38" fmla="*/ 2257425 h 2277341"/>
                <a:gd name="connsiteX39" fmla="*/ 0 w 1381125"/>
                <a:gd name="connsiteY39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866775 w 1381125"/>
                <a:gd name="connsiteY22" fmla="*/ 1685925 h 2277341"/>
                <a:gd name="connsiteX23" fmla="*/ 723900 w 1381125"/>
                <a:gd name="connsiteY23" fmla="*/ 1828800 h 2277341"/>
                <a:gd name="connsiteX24" fmla="*/ 695325 w 1381125"/>
                <a:gd name="connsiteY24" fmla="*/ 1857375 h 2277341"/>
                <a:gd name="connsiteX25" fmla="*/ 657225 w 1381125"/>
                <a:gd name="connsiteY25" fmla="*/ 1885950 h 2277341"/>
                <a:gd name="connsiteX26" fmla="*/ 581025 w 1381125"/>
                <a:gd name="connsiteY26" fmla="*/ 1952625 h 2277341"/>
                <a:gd name="connsiteX27" fmla="*/ 533400 w 1381125"/>
                <a:gd name="connsiteY27" fmla="*/ 1981200 h 2277341"/>
                <a:gd name="connsiteX28" fmla="*/ 504825 w 1381125"/>
                <a:gd name="connsiteY28" fmla="*/ 2009775 h 2277341"/>
                <a:gd name="connsiteX29" fmla="*/ 476250 w 1381125"/>
                <a:gd name="connsiteY29" fmla="*/ 2028825 h 2277341"/>
                <a:gd name="connsiteX30" fmla="*/ 438150 w 1381125"/>
                <a:gd name="connsiteY30" fmla="*/ 2057400 h 2277341"/>
                <a:gd name="connsiteX31" fmla="*/ 390525 w 1381125"/>
                <a:gd name="connsiteY31" fmla="*/ 2085975 h 2277341"/>
                <a:gd name="connsiteX32" fmla="*/ 333375 w 1381125"/>
                <a:gd name="connsiteY32" fmla="*/ 2133600 h 2277341"/>
                <a:gd name="connsiteX33" fmla="*/ 276225 w 1381125"/>
                <a:gd name="connsiteY33" fmla="*/ 2171700 h 2277341"/>
                <a:gd name="connsiteX34" fmla="*/ 247650 w 1381125"/>
                <a:gd name="connsiteY34" fmla="*/ 2190750 h 2277341"/>
                <a:gd name="connsiteX35" fmla="*/ 200025 w 1381125"/>
                <a:gd name="connsiteY35" fmla="*/ 2209800 h 2277341"/>
                <a:gd name="connsiteX36" fmla="*/ 161925 w 1381125"/>
                <a:gd name="connsiteY36" fmla="*/ 2228850 h 2277341"/>
                <a:gd name="connsiteX37" fmla="*/ 66675 w 1381125"/>
                <a:gd name="connsiteY37" fmla="*/ 2257425 h 2277341"/>
                <a:gd name="connsiteX38" fmla="*/ 0 w 1381125"/>
                <a:gd name="connsiteY38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657225 w 1381125"/>
                <a:gd name="connsiteY24" fmla="*/ 1885950 h 2277341"/>
                <a:gd name="connsiteX25" fmla="*/ 581025 w 1381125"/>
                <a:gd name="connsiteY25" fmla="*/ 1952625 h 2277341"/>
                <a:gd name="connsiteX26" fmla="*/ 533400 w 1381125"/>
                <a:gd name="connsiteY26" fmla="*/ 1981200 h 2277341"/>
                <a:gd name="connsiteX27" fmla="*/ 504825 w 1381125"/>
                <a:gd name="connsiteY27" fmla="*/ 2009775 h 2277341"/>
                <a:gd name="connsiteX28" fmla="*/ 476250 w 1381125"/>
                <a:gd name="connsiteY28" fmla="*/ 2028825 h 2277341"/>
                <a:gd name="connsiteX29" fmla="*/ 438150 w 1381125"/>
                <a:gd name="connsiteY29" fmla="*/ 2057400 h 2277341"/>
                <a:gd name="connsiteX30" fmla="*/ 390525 w 1381125"/>
                <a:gd name="connsiteY30" fmla="*/ 2085975 h 2277341"/>
                <a:gd name="connsiteX31" fmla="*/ 333375 w 1381125"/>
                <a:gd name="connsiteY31" fmla="*/ 2133600 h 2277341"/>
                <a:gd name="connsiteX32" fmla="*/ 276225 w 1381125"/>
                <a:gd name="connsiteY32" fmla="*/ 2171700 h 2277341"/>
                <a:gd name="connsiteX33" fmla="*/ 247650 w 1381125"/>
                <a:gd name="connsiteY33" fmla="*/ 2190750 h 2277341"/>
                <a:gd name="connsiteX34" fmla="*/ 200025 w 1381125"/>
                <a:gd name="connsiteY34" fmla="*/ 2209800 h 2277341"/>
                <a:gd name="connsiteX35" fmla="*/ 161925 w 1381125"/>
                <a:gd name="connsiteY35" fmla="*/ 2228850 h 2277341"/>
                <a:gd name="connsiteX36" fmla="*/ 66675 w 1381125"/>
                <a:gd name="connsiteY36" fmla="*/ 2257425 h 2277341"/>
                <a:gd name="connsiteX37" fmla="*/ 0 w 1381125"/>
                <a:gd name="connsiteY37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438150 w 1381125"/>
                <a:gd name="connsiteY28" fmla="*/ 2057400 h 2277341"/>
                <a:gd name="connsiteX29" fmla="*/ 390525 w 1381125"/>
                <a:gd name="connsiteY29" fmla="*/ 2085975 h 2277341"/>
                <a:gd name="connsiteX30" fmla="*/ 333375 w 1381125"/>
                <a:gd name="connsiteY30" fmla="*/ 2133600 h 2277341"/>
                <a:gd name="connsiteX31" fmla="*/ 276225 w 1381125"/>
                <a:gd name="connsiteY31" fmla="*/ 2171700 h 2277341"/>
                <a:gd name="connsiteX32" fmla="*/ 247650 w 1381125"/>
                <a:gd name="connsiteY32" fmla="*/ 2190750 h 2277341"/>
                <a:gd name="connsiteX33" fmla="*/ 200025 w 1381125"/>
                <a:gd name="connsiteY33" fmla="*/ 2209800 h 2277341"/>
                <a:gd name="connsiteX34" fmla="*/ 161925 w 1381125"/>
                <a:gd name="connsiteY34" fmla="*/ 2228850 h 2277341"/>
                <a:gd name="connsiteX35" fmla="*/ 66675 w 1381125"/>
                <a:gd name="connsiteY35" fmla="*/ 2257425 h 2277341"/>
                <a:gd name="connsiteX36" fmla="*/ 0 w 1381125"/>
                <a:gd name="connsiteY36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390525 w 1381125"/>
                <a:gd name="connsiteY28" fmla="*/ 2085975 h 2277341"/>
                <a:gd name="connsiteX29" fmla="*/ 333375 w 1381125"/>
                <a:gd name="connsiteY29" fmla="*/ 2133600 h 2277341"/>
                <a:gd name="connsiteX30" fmla="*/ 276225 w 1381125"/>
                <a:gd name="connsiteY30" fmla="*/ 2171700 h 2277341"/>
                <a:gd name="connsiteX31" fmla="*/ 247650 w 1381125"/>
                <a:gd name="connsiteY31" fmla="*/ 2190750 h 2277341"/>
                <a:gd name="connsiteX32" fmla="*/ 200025 w 1381125"/>
                <a:gd name="connsiteY32" fmla="*/ 2209800 h 2277341"/>
                <a:gd name="connsiteX33" fmla="*/ 161925 w 1381125"/>
                <a:gd name="connsiteY33" fmla="*/ 2228850 h 2277341"/>
                <a:gd name="connsiteX34" fmla="*/ 66675 w 1381125"/>
                <a:gd name="connsiteY34" fmla="*/ 2257425 h 2277341"/>
                <a:gd name="connsiteX35" fmla="*/ 0 w 1381125"/>
                <a:gd name="connsiteY35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390525 w 1381125"/>
                <a:gd name="connsiteY28" fmla="*/ 2085975 h 2277341"/>
                <a:gd name="connsiteX29" fmla="*/ 276225 w 1381125"/>
                <a:gd name="connsiteY29" fmla="*/ 2171700 h 2277341"/>
                <a:gd name="connsiteX30" fmla="*/ 247650 w 1381125"/>
                <a:gd name="connsiteY30" fmla="*/ 2190750 h 2277341"/>
                <a:gd name="connsiteX31" fmla="*/ 200025 w 1381125"/>
                <a:gd name="connsiteY31" fmla="*/ 2209800 h 2277341"/>
                <a:gd name="connsiteX32" fmla="*/ 161925 w 1381125"/>
                <a:gd name="connsiteY32" fmla="*/ 2228850 h 2277341"/>
                <a:gd name="connsiteX33" fmla="*/ 66675 w 1381125"/>
                <a:gd name="connsiteY33" fmla="*/ 2257425 h 2277341"/>
                <a:gd name="connsiteX34" fmla="*/ 0 w 1381125"/>
                <a:gd name="connsiteY34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390525 w 1381125"/>
                <a:gd name="connsiteY28" fmla="*/ 2085975 h 2277341"/>
                <a:gd name="connsiteX29" fmla="*/ 276225 w 1381125"/>
                <a:gd name="connsiteY29" fmla="*/ 2171700 h 2277341"/>
                <a:gd name="connsiteX30" fmla="*/ 200025 w 1381125"/>
                <a:gd name="connsiteY30" fmla="*/ 2209800 h 2277341"/>
                <a:gd name="connsiteX31" fmla="*/ 161925 w 1381125"/>
                <a:gd name="connsiteY31" fmla="*/ 2228850 h 2277341"/>
                <a:gd name="connsiteX32" fmla="*/ 66675 w 1381125"/>
                <a:gd name="connsiteY32" fmla="*/ 2257425 h 2277341"/>
                <a:gd name="connsiteX33" fmla="*/ 0 w 1381125"/>
                <a:gd name="connsiteY33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504825 w 1381125"/>
                <a:gd name="connsiteY26" fmla="*/ 2009775 h 2277341"/>
                <a:gd name="connsiteX27" fmla="*/ 476250 w 1381125"/>
                <a:gd name="connsiteY27" fmla="*/ 2028825 h 2277341"/>
                <a:gd name="connsiteX28" fmla="*/ 390525 w 1381125"/>
                <a:gd name="connsiteY28" fmla="*/ 2085975 h 2277341"/>
                <a:gd name="connsiteX29" fmla="*/ 276225 w 1381125"/>
                <a:gd name="connsiteY29" fmla="*/ 2171700 h 2277341"/>
                <a:gd name="connsiteX30" fmla="*/ 200025 w 1381125"/>
                <a:gd name="connsiteY30" fmla="*/ 2209800 h 2277341"/>
                <a:gd name="connsiteX31" fmla="*/ 66675 w 1381125"/>
                <a:gd name="connsiteY31" fmla="*/ 2257425 h 2277341"/>
                <a:gd name="connsiteX32" fmla="*/ 0 w 1381125"/>
                <a:gd name="connsiteY3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533400 w 1381125"/>
                <a:gd name="connsiteY25" fmla="*/ 1981200 h 2277341"/>
                <a:gd name="connsiteX26" fmla="*/ 476250 w 1381125"/>
                <a:gd name="connsiteY26" fmla="*/ 2028825 h 2277341"/>
                <a:gd name="connsiteX27" fmla="*/ 390525 w 1381125"/>
                <a:gd name="connsiteY27" fmla="*/ 2085975 h 2277341"/>
                <a:gd name="connsiteX28" fmla="*/ 276225 w 1381125"/>
                <a:gd name="connsiteY28" fmla="*/ 2171700 h 2277341"/>
                <a:gd name="connsiteX29" fmla="*/ 200025 w 1381125"/>
                <a:gd name="connsiteY29" fmla="*/ 2209800 h 2277341"/>
                <a:gd name="connsiteX30" fmla="*/ 66675 w 1381125"/>
                <a:gd name="connsiteY30" fmla="*/ 2257425 h 2277341"/>
                <a:gd name="connsiteX31" fmla="*/ 0 w 1381125"/>
                <a:gd name="connsiteY31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581025 w 1381125"/>
                <a:gd name="connsiteY24" fmla="*/ 1952625 h 2277341"/>
                <a:gd name="connsiteX25" fmla="*/ 476250 w 1381125"/>
                <a:gd name="connsiteY25" fmla="*/ 2028825 h 2277341"/>
                <a:gd name="connsiteX26" fmla="*/ 390525 w 1381125"/>
                <a:gd name="connsiteY26" fmla="*/ 2085975 h 2277341"/>
                <a:gd name="connsiteX27" fmla="*/ 276225 w 1381125"/>
                <a:gd name="connsiteY27" fmla="*/ 2171700 h 2277341"/>
                <a:gd name="connsiteX28" fmla="*/ 200025 w 1381125"/>
                <a:gd name="connsiteY28" fmla="*/ 2209800 h 2277341"/>
                <a:gd name="connsiteX29" fmla="*/ 66675 w 1381125"/>
                <a:gd name="connsiteY29" fmla="*/ 2257425 h 2277341"/>
                <a:gd name="connsiteX30" fmla="*/ 0 w 1381125"/>
                <a:gd name="connsiteY30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695325 w 1381125"/>
                <a:gd name="connsiteY23" fmla="*/ 1857375 h 2277341"/>
                <a:gd name="connsiteX24" fmla="*/ 476250 w 1381125"/>
                <a:gd name="connsiteY24" fmla="*/ 2028825 h 2277341"/>
                <a:gd name="connsiteX25" fmla="*/ 390525 w 1381125"/>
                <a:gd name="connsiteY25" fmla="*/ 2085975 h 2277341"/>
                <a:gd name="connsiteX26" fmla="*/ 276225 w 1381125"/>
                <a:gd name="connsiteY26" fmla="*/ 2171700 h 2277341"/>
                <a:gd name="connsiteX27" fmla="*/ 200025 w 1381125"/>
                <a:gd name="connsiteY27" fmla="*/ 2209800 h 2277341"/>
                <a:gd name="connsiteX28" fmla="*/ 66675 w 1381125"/>
                <a:gd name="connsiteY28" fmla="*/ 2257425 h 2277341"/>
                <a:gd name="connsiteX29" fmla="*/ 0 w 1381125"/>
                <a:gd name="connsiteY29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1009650 w 1381125"/>
                <a:gd name="connsiteY21" fmla="*/ 1514475 h 2277341"/>
                <a:gd name="connsiteX22" fmla="*/ 723900 w 1381125"/>
                <a:gd name="connsiteY22" fmla="*/ 1828800 h 2277341"/>
                <a:gd name="connsiteX23" fmla="*/ 476250 w 1381125"/>
                <a:gd name="connsiteY23" fmla="*/ 2028825 h 2277341"/>
                <a:gd name="connsiteX24" fmla="*/ 390525 w 1381125"/>
                <a:gd name="connsiteY24" fmla="*/ 2085975 h 2277341"/>
                <a:gd name="connsiteX25" fmla="*/ 276225 w 1381125"/>
                <a:gd name="connsiteY25" fmla="*/ 2171700 h 2277341"/>
                <a:gd name="connsiteX26" fmla="*/ 200025 w 1381125"/>
                <a:gd name="connsiteY26" fmla="*/ 2209800 h 2277341"/>
                <a:gd name="connsiteX27" fmla="*/ 66675 w 1381125"/>
                <a:gd name="connsiteY27" fmla="*/ 2257425 h 2277341"/>
                <a:gd name="connsiteX28" fmla="*/ 0 w 1381125"/>
                <a:gd name="connsiteY28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1019175 w 1381125"/>
                <a:gd name="connsiteY20" fmla="*/ 1485900 h 2277341"/>
                <a:gd name="connsiteX21" fmla="*/ 723900 w 1381125"/>
                <a:gd name="connsiteY21" fmla="*/ 1828800 h 2277341"/>
                <a:gd name="connsiteX22" fmla="*/ 476250 w 1381125"/>
                <a:gd name="connsiteY22" fmla="*/ 2028825 h 2277341"/>
                <a:gd name="connsiteX23" fmla="*/ 390525 w 1381125"/>
                <a:gd name="connsiteY23" fmla="*/ 2085975 h 2277341"/>
                <a:gd name="connsiteX24" fmla="*/ 276225 w 1381125"/>
                <a:gd name="connsiteY24" fmla="*/ 2171700 h 2277341"/>
                <a:gd name="connsiteX25" fmla="*/ 200025 w 1381125"/>
                <a:gd name="connsiteY25" fmla="*/ 2209800 h 2277341"/>
                <a:gd name="connsiteX26" fmla="*/ 66675 w 1381125"/>
                <a:gd name="connsiteY26" fmla="*/ 2257425 h 2277341"/>
                <a:gd name="connsiteX27" fmla="*/ 0 w 1381125"/>
                <a:gd name="connsiteY27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1057275 w 1381125"/>
                <a:gd name="connsiteY19" fmla="*/ 1381125 h 2277341"/>
                <a:gd name="connsiteX20" fmla="*/ 723900 w 1381125"/>
                <a:gd name="connsiteY20" fmla="*/ 1828800 h 2277341"/>
                <a:gd name="connsiteX21" fmla="*/ 476250 w 1381125"/>
                <a:gd name="connsiteY21" fmla="*/ 2028825 h 2277341"/>
                <a:gd name="connsiteX22" fmla="*/ 390525 w 1381125"/>
                <a:gd name="connsiteY22" fmla="*/ 2085975 h 2277341"/>
                <a:gd name="connsiteX23" fmla="*/ 276225 w 1381125"/>
                <a:gd name="connsiteY23" fmla="*/ 2171700 h 2277341"/>
                <a:gd name="connsiteX24" fmla="*/ 200025 w 1381125"/>
                <a:gd name="connsiteY24" fmla="*/ 2209800 h 2277341"/>
                <a:gd name="connsiteX25" fmla="*/ 66675 w 1381125"/>
                <a:gd name="connsiteY25" fmla="*/ 2257425 h 2277341"/>
                <a:gd name="connsiteX26" fmla="*/ 0 w 1381125"/>
                <a:gd name="connsiteY26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104900 w 1381125"/>
                <a:gd name="connsiteY17" fmla="*/ 1276350 h 2277341"/>
                <a:gd name="connsiteX18" fmla="*/ 1085850 w 1381125"/>
                <a:gd name="connsiteY18" fmla="*/ 1343025 h 2277341"/>
                <a:gd name="connsiteX19" fmla="*/ 723900 w 1381125"/>
                <a:gd name="connsiteY19" fmla="*/ 1828800 h 2277341"/>
                <a:gd name="connsiteX20" fmla="*/ 476250 w 1381125"/>
                <a:gd name="connsiteY20" fmla="*/ 2028825 h 2277341"/>
                <a:gd name="connsiteX21" fmla="*/ 390525 w 1381125"/>
                <a:gd name="connsiteY21" fmla="*/ 2085975 h 2277341"/>
                <a:gd name="connsiteX22" fmla="*/ 276225 w 1381125"/>
                <a:gd name="connsiteY22" fmla="*/ 2171700 h 2277341"/>
                <a:gd name="connsiteX23" fmla="*/ 200025 w 1381125"/>
                <a:gd name="connsiteY23" fmla="*/ 2209800 h 2277341"/>
                <a:gd name="connsiteX24" fmla="*/ 66675 w 1381125"/>
                <a:gd name="connsiteY24" fmla="*/ 2257425 h 2277341"/>
                <a:gd name="connsiteX25" fmla="*/ 0 w 1381125"/>
                <a:gd name="connsiteY25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90625 w 1381125"/>
                <a:gd name="connsiteY13" fmla="*/ 1076325 h 2277341"/>
                <a:gd name="connsiteX14" fmla="*/ 1171575 w 1381125"/>
                <a:gd name="connsiteY14" fmla="*/ 1133475 h 2277341"/>
                <a:gd name="connsiteX15" fmla="*/ 1162050 w 1381125"/>
                <a:gd name="connsiteY15" fmla="*/ 1171575 h 2277341"/>
                <a:gd name="connsiteX16" fmla="*/ 1133475 w 1381125"/>
                <a:gd name="connsiteY16" fmla="*/ 1200150 h 2277341"/>
                <a:gd name="connsiteX17" fmla="*/ 1085850 w 1381125"/>
                <a:gd name="connsiteY17" fmla="*/ 1343025 h 2277341"/>
                <a:gd name="connsiteX18" fmla="*/ 723900 w 1381125"/>
                <a:gd name="connsiteY18" fmla="*/ 1828800 h 2277341"/>
                <a:gd name="connsiteX19" fmla="*/ 476250 w 1381125"/>
                <a:gd name="connsiteY19" fmla="*/ 2028825 h 2277341"/>
                <a:gd name="connsiteX20" fmla="*/ 390525 w 1381125"/>
                <a:gd name="connsiteY20" fmla="*/ 2085975 h 2277341"/>
                <a:gd name="connsiteX21" fmla="*/ 276225 w 1381125"/>
                <a:gd name="connsiteY21" fmla="*/ 2171700 h 2277341"/>
                <a:gd name="connsiteX22" fmla="*/ 200025 w 1381125"/>
                <a:gd name="connsiteY22" fmla="*/ 2209800 h 2277341"/>
                <a:gd name="connsiteX23" fmla="*/ 66675 w 1381125"/>
                <a:gd name="connsiteY23" fmla="*/ 2257425 h 2277341"/>
                <a:gd name="connsiteX24" fmla="*/ 0 w 1381125"/>
                <a:gd name="connsiteY24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71575 w 1381125"/>
                <a:gd name="connsiteY13" fmla="*/ 1133475 h 2277341"/>
                <a:gd name="connsiteX14" fmla="*/ 1162050 w 1381125"/>
                <a:gd name="connsiteY14" fmla="*/ 1171575 h 2277341"/>
                <a:gd name="connsiteX15" fmla="*/ 1133475 w 1381125"/>
                <a:gd name="connsiteY15" fmla="*/ 1200150 h 2277341"/>
                <a:gd name="connsiteX16" fmla="*/ 1085850 w 1381125"/>
                <a:gd name="connsiteY16" fmla="*/ 1343025 h 2277341"/>
                <a:gd name="connsiteX17" fmla="*/ 723900 w 1381125"/>
                <a:gd name="connsiteY17" fmla="*/ 1828800 h 2277341"/>
                <a:gd name="connsiteX18" fmla="*/ 476250 w 1381125"/>
                <a:gd name="connsiteY18" fmla="*/ 2028825 h 2277341"/>
                <a:gd name="connsiteX19" fmla="*/ 390525 w 1381125"/>
                <a:gd name="connsiteY19" fmla="*/ 2085975 h 2277341"/>
                <a:gd name="connsiteX20" fmla="*/ 276225 w 1381125"/>
                <a:gd name="connsiteY20" fmla="*/ 2171700 h 2277341"/>
                <a:gd name="connsiteX21" fmla="*/ 200025 w 1381125"/>
                <a:gd name="connsiteY21" fmla="*/ 2209800 h 2277341"/>
                <a:gd name="connsiteX22" fmla="*/ 66675 w 1381125"/>
                <a:gd name="connsiteY22" fmla="*/ 2257425 h 2277341"/>
                <a:gd name="connsiteX23" fmla="*/ 0 w 1381125"/>
                <a:gd name="connsiteY23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71575 w 1381125"/>
                <a:gd name="connsiteY13" fmla="*/ 1133475 h 2277341"/>
                <a:gd name="connsiteX14" fmla="*/ 1162050 w 1381125"/>
                <a:gd name="connsiteY14" fmla="*/ 1171575 h 2277341"/>
                <a:gd name="connsiteX15" fmla="*/ 1085850 w 1381125"/>
                <a:gd name="connsiteY15" fmla="*/ 1343025 h 2277341"/>
                <a:gd name="connsiteX16" fmla="*/ 723900 w 1381125"/>
                <a:gd name="connsiteY16" fmla="*/ 1828800 h 2277341"/>
                <a:gd name="connsiteX17" fmla="*/ 476250 w 1381125"/>
                <a:gd name="connsiteY17" fmla="*/ 2028825 h 2277341"/>
                <a:gd name="connsiteX18" fmla="*/ 390525 w 1381125"/>
                <a:gd name="connsiteY18" fmla="*/ 2085975 h 2277341"/>
                <a:gd name="connsiteX19" fmla="*/ 276225 w 1381125"/>
                <a:gd name="connsiteY19" fmla="*/ 2171700 h 2277341"/>
                <a:gd name="connsiteX20" fmla="*/ 200025 w 1381125"/>
                <a:gd name="connsiteY20" fmla="*/ 2209800 h 2277341"/>
                <a:gd name="connsiteX21" fmla="*/ 66675 w 1381125"/>
                <a:gd name="connsiteY21" fmla="*/ 2257425 h 2277341"/>
                <a:gd name="connsiteX22" fmla="*/ 0 w 1381125"/>
                <a:gd name="connsiteY2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66825 w 1381125"/>
                <a:gd name="connsiteY10" fmla="*/ 847725 h 2277341"/>
                <a:gd name="connsiteX11" fmla="*/ 1247775 w 1381125"/>
                <a:gd name="connsiteY11" fmla="*/ 895350 h 2277341"/>
                <a:gd name="connsiteX12" fmla="*/ 1238250 w 1381125"/>
                <a:gd name="connsiteY12" fmla="*/ 962025 h 2277341"/>
                <a:gd name="connsiteX13" fmla="*/ 1171575 w 1381125"/>
                <a:gd name="connsiteY13" fmla="*/ 1133475 h 2277341"/>
                <a:gd name="connsiteX14" fmla="*/ 1085850 w 1381125"/>
                <a:gd name="connsiteY14" fmla="*/ 1343025 h 2277341"/>
                <a:gd name="connsiteX15" fmla="*/ 723900 w 1381125"/>
                <a:gd name="connsiteY15" fmla="*/ 1828800 h 2277341"/>
                <a:gd name="connsiteX16" fmla="*/ 476250 w 1381125"/>
                <a:gd name="connsiteY16" fmla="*/ 2028825 h 2277341"/>
                <a:gd name="connsiteX17" fmla="*/ 390525 w 1381125"/>
                <a:gd name="connsiteY17" fmla="*/ 2085975 h 2277341"/>
                <a:gd name="connsiteX18" fmla="*/ 276225 w 1381125"/>
                <a:gd name="connsiteY18" fmla="*/ 2171700 h 2277341"/>
                <a:gd name="connsiteX19" fmla="*/ 200025 w 1381125"/>
                <a:gd name="connsiteY19" fmla="*/ 2209800 h 2277341"/>
                <a:gd name="connsiteX20" fmla="*/ 66675 w 1381125"/>
                <a:gd name="connsiteY20" fmla="*/ 2257425 h 2277341"/>
                <a:gd name="connsiteX21" fmla="*/ 0 w 1381125"/>
                <a:gd name="connsiteY21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95400 w 1381125"/>
                <a:gd name="connsiteY8" fmla="*/ 714375 h 2277341"/>
                <a:gd name="connsiteX9" fmla="*/ 1276350 w 1381125"/>
                <a:gd name="connsiteY9" fmla="*/ 771525 h 2277341"/>
                <a:gd name="connsiteX10" fmla="*/ 1247775 w 1381125"/>
                <a:gd name="connsiteY10" fmla="*/ 895350 h 2277341"/>
                <a:gd name="connsiteX11" fmla="*/ 1238250 w 1381125"/>
                <a:gd name="connsiteY11" fmla="*/ 962025 h 2277341"/>
                <a:gd name="connsiteX12" fmla="*/ 1171575 w 1381125"/>
                <a:gd name="connsiteY12" fmla="*/ 1133475 h 2277341"/>
                <a:gd name="connsiteX13" fmla="*/ 1085850 w 1381125"/>
                <a:gd name="connsiteY13" fmla="*/ 1343025 h 2277341"/>
                <a:gd name="connsiteX14" fmla="*/ 723900 w 1381125"/>
                <a:gd name="connsiteY14" fmla="*/ 1828800 h 2277341"/>
                <a:gd name="connsiteX15" fmla="*/ 476250 w 1381125"/>
                <a:gd name="connsiteY15" fmla="*/ 2028825 h 2277341"/>
                <a:gd name="connsiteX16" fmla="*/ 390525 w 1381125"/>
                <a:gd name="connsiteY16" fmla="*/ 2085975 h 2277341"/>
                <a:gd name="connsiteX17" fmla="*/ 276225 w 1381125"/>
                <a:gd name="connsiteY17" fmla="*/ 2171700 h 2277341"/>
                <a:gd name="connsiteX18" fmla="*/ 200025 w 1381125"/>
                <a:gd name="connsiteY18" fmla="*/ 2209800 h 2277341"/>
                <a:gd name="connsiteX19" fmla="*/ 66675 w 1381125"/>
                <a:gd name="connsiteY19" fmla="*/ 2257425 h 2277341"/>
                <a:gd name="connsiteX20" fmla="*/ 0 w 1381125"/>
                <a:gd name="connsiteY20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314450 w 1381125"/>
                <a:gd name="connsiteY7" fmla="*/ 666750 h 2277341"/>
                <a:gd name="connsiteX8" fmla="*/ 1276350 w 1381125"/>
                <a:gd name="connsiteY8" fmla="*/ 771525 h 2277341"/>
                <a:gd name="connsiteX9" fmla="*/ 1247775 w 1381125"/>
                <a:gd name="connsiteY9" fmla="*/ 895350 h 2277341"/>
                <a:gd name="connsiteX10" fmla="*/ 1238250 w 1381125"/>
                <a:gd name="connsiteY10" fmla="*/ 962025 h 2277341"/>
                <a:gd name="connsiteX11" fmla="*/ 1171575 w 1381125"/>
                <a:gd name="connsiteY11" fmla="*/ 1133475 h 2277341"/>
                <a:gd name="connsiteX12" fmla="*/ 1085850 w 1381125"/>
                <a:gd name="connsiteY12" fmla="*/ 1343025 h 2277341"/>
                <a:gd name="connsiteX13" fmla="*/ 723900 w 1381125"/>
                <a:gd name="connsiteY13" fmla="*/ 1828800 h 2277341"/>
                <a:gd name="connsiteX14" fmla="*/ 476250 w 1381125"/>
                <a:gd name="connsiteY14" fmla="*/ 2028825 h 2277341"/>
                <a:gd name="connsiteX15" fmla="*/ 390525 w 1381125"/>
                <a:gd name="connsiteY15" fmla="*/ 2085975 h 2277341"/>
                <a:gd name="connsiteX16" fmla="*/ 276225 w 1381125"/>
                <a:gd name="connsiteY16" fmla="*/ 2171700 h 2277341"/>
                <a:gd name="connsiteX17" fmla="*/ 200025 w 1381125"/>
                <a:gd name="connsiteY17" fmla="*/ 2209800 h 2277341"/>
                <a:gd name="connsiteX18" fmla="*/ 66675 w 1381125"/>
                <a:gd name="connsiteY18" fmla="*/ 2257425 h 2277341"/>
                <a:gd name="connsiteX19" fmla="*/ 0 w 1381125"/>
                <a:gd name="connsiteY19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276350 w 1381125"/>
                <a:gd name="connsiteY7" fmla="*/ 771525 h 2277341"/>
                <a:gd name="connsiteX8" fmla="*/ 1247775 w 1381125"/>
                <a:gd name="connsiteY8" fmla="*/ 895350 h 2277341"/>
                <a:gd name="connsiteX9" fmla="*/ 1238250 w 1381125"/>
                <a:gd name="connsiteY9" fmla="*/ 962025 h 2277341"/>
                <a:gd name="connsiteX10" fmla="*/ 1171575 w 1381125"/>
                <a:gd name="connsiteY10" fmla="*/ 1133475 h 2277341"/>
                <a:gd name="connsiteX11" fmla="*/ 1085850 w 1381125"/>
                <a:gd name="connsiteY11" fmla="*/ 1343025 h 2277341"/>
                <a:gd name="connsiteX12" fmla="*/ 723900 w 1381125"/>
                <a:gd name="connsiteY12" fmla="*/ 1828800 h 2277341"/>
                <a:gd name="connsiteX13" fmla="*/ 476250 w 1381125"/>
                <a:gd name="connsiteY13" fmla="*/ 2028825 h 2277341"/>
                <a:gd name="connsiteX14" fmla="*/ 390525 w 1381125"/>
                <a:gd name="connsiteY14" fmla="*/ 2085975 h 2277341"/>
                <a:gd name="connsiteX15" fmla="*/ 276225 w 1381125"/>
                <a:gd name="connsiteY15" fmla="*/ 2171700 h 2277341"/>
                <a:gd name="connsiteX16" fmla="*/ 200025 w 1381125"/>
                <a:gd name="connsiteY16" fmla="*/ 2209800 h 2277341"/>
                <a:gd name="connsiteX17" fmla="*/ 66675 w 1381125"/>
                <a:gd name="connsiteY17" fmla="*/ 2257425 h 2277341"/>
                <a:gd name="connsiteX18" fmla="*/ 0 w 1381125"/>
                <a:gd name="connsiteY18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33500 w 1381125"/>
                <a:gd name="connsiteY5" fmla="*/ 600075 h 2277341"/>
                <a:gd name="connsiteX6" fmla="*/ 1323975 w 1381125"/>
                <a:gd name="connsiteY6" fmla="*/ 628650 h 2277341"/>
                <a:gd name="connsiteX7" fmla="*/ 1247775 w 1381125"/>
                <a:gd name="connsiteY7" fmla="*/ 895350 h 2277341"/>
                <a:gd name="connsiteX8" fmla="*/ 1238250 w 1381125"/>
                <a:gd name="connsiteY8" fmla="*/ 962025 h 2277341"/>
                <a:gd name="connsiteX9" fmla="*/ 1171575 w 1381125"/>
                <a:gd name="connsiteY9" fmla="*/ 1133475 h 2277341"/>
                <a:gd name="connsiteX10" fmla="*/ 1085850 w 1381125"/>
                <a:gd name="connsiteY10" fmla="*/ 1343025 h 2277341"/>
                <a:gd name="connsiteX11" fmla="*/ 723900 w 1381125"/>
                <a:gd name="connsiteY11" fmla="*/ 1828800 h 2277341"/>
                <a:gd name="connsiteX12" fmla="*/ 476250 w 1381125"/>
                <a:gd name="connsiteY12" fmla="*/ 2028825 h 2277341"/>
                <a:gd name="connsiteX13" fmla="*/ 390525 w 1381125"/>
                <a:gd name="connsiteY13" fmla="*/ 2085975 h 2277341"/>
                <a:gd name="connsiteX14" fmla="*/ 276225 w 1381125"/>
                <a:gd name="connsiteY14" fmla="*/ 2171700 h 2277341"/>
                <a:gd name="connsiteX15" fmla="*/ 200025 w 1381125"/>
                <a:gd name="connsiteY15" fmla="*/ 2209800 h 2277341"/>
                <a:gd name="connsiteX16" fmla="*/ 66675 w 1381125"/>
                <a:gd name="connsiteY16" fmla="*/ 2257425 h 2277341"/>
                <a:gd name="connsiteX17" fmla="*/ 0 w 1381125"/>
                <a:gd name="connsiteY17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62075 w 1381125"/>
                <a:gd name="connsiteY2" fmla="*/ 409575 h 2277341"/>
                <a:gd name="connsiteX3" fmla="*/ 1352550 w 1381125"/>
                <a:gd name="connsiteY3" fmla="*/ 504825 h 2277341"/>
                <a:gd name="connsiteX4" fmla="*/ 1343025 w 1381125"/>
                <a:gd name="connsiteY4" fmla="*/ 542925 h 2277341"/>
                <a:gd name="connsiteX5" fmla="*/ 1323975 w 1381125"/>
                <a:gd name="connsiteY5" fmla="*/ 628650 h 2277341"/>
                <a:gd name="connsiteX6" fmla="*/ 1247775 w 1381125"/>
                <a:gd name="connsiteY6" fmla="*/ 895350 h 2277341"/>
                <a:gd name="connsiteX7" fmla="*/ 1238250 w 1381125"/>
                <a:gd name="connsiteY7" fmla="*/ 962025 h 2277341"/>
                <a:gd name="connsiteX8" fmla="*/ 1171575 w 1381125"/>
                <a:gd name="connsiteY8" fmla="*/ 1133475 h 2277341"/>
                <a:gd name="connsiteX9" fmla="*/ 1085850 w 1381125"/>
                <a:gd name="connsiteY9" fmla="*/ 1343025 h 2277341"/>
                <a:gd name="connsiteX10" fmla="*/ 723900 w 1381125"/>
                <a:gd name="connsiteY10" fmla="*/ 1828800 h 2277341"/>
                <a:gd name="connsiteX11" fmla="*/ 476250 w 1381125"/>
                <a:gd name="connsiteY11" fmla="*/ 2028825 h 2277341"/>
                <a:gd name="connsiteX12" fmla="*/ 390525 w 1381125"/>
                <a:gd name="connsiteY12" fmla="*/ 2085975 h 2277341"/>
                <a:gd name="connsiteX13" fmla="*/ 276225 w 1381125"/>
                <a:gd name="connsiteY13" fmla="*/ 2171700 h 2277341"/>
                <a:gd name="connsiteX14" fmla="*/ 200025 w 1381125"/>
                <a:gd name="connsiteY14" fmla="*/ 2209800 h 2277341"/>
                <a:gd name="connsiteX15" fmla="*/ 66675 w 1381125"/>
                <a:gd name="connsiteY15" fmla="*/ 2257425 h 2277341"/>
                <a:gd name="connsiteX16" fmla="*/ 0 w 1381125"/>
                <a:gd name="connsiteY16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343025 w 1381125"/>
                <a:gd name="connsiteY3" fmla="*/ 542925 h 2277341"/>
                <a:gd name="connsiteX4" fmla="*/ 1323975 w 1381125"/>
                <a:gd name="connsiteY4" fmla="*/ 628650 h 2277341"/>
                <a:gd name="connsiteX5" fmla="*/ 1247775 w 1381125"/>
                <a:gd name="connsiteY5" fmla="*/ 895350 h 2277341"/>
                <a:gd name="connsiteX6" fmla="*/ 1238250 w 1381125"/>
                <a:gd name="connsiteY6" fmla="*/ 962025 h 2277341"/>
                <a:gd name="connsiteX7" fmla="*/ 1171575 w 1381125"/>
                <a:gd name="connsiteY7" fmla="*/ 1133475 h 2277341"/>
                <a:gd name="connsiteX8" fmla="*/ 1085850 w 1381125"/>
                <a:gd name="connsiteY8" fmla="*/ 1343025 h 2277341"/>
                <a:gd name="connsiteX9" fmla="*/ 723900 w 1381125"/>
                <a:gd name="connsiteY9" fmla="*/ 1828800 h 2277341"/>
                <a:gd name="connsiteX10" fmla="*/ 476250 w 1381125"/>
                <a:gd name="connsiteY10" fmla="*/ 2028825 h 2277341"/>
                <a:gd name="connsiteX11" fmla="*/ 390525 w 1381125"/>
                <a:gd name="connsiteY11" fmla="*/ 2085975 h 2277341"/>
                <a:gd name="connsiteX12" fmla="*/ 276225 w 1381125"/>
                <a:gd name="connsiteY12" fmla="*/ 2171700 h 2277341"/>
                <a:gd name="connsiteX13" fmla="*/ 200025 w 1381125"/>
                <a:gd name="connsiteY13" fmla="*/ 2209800 h 2277341"/>
                <a:gd name="connsiteX14" fmla="*/ 66675 w 1381125"/>
                <a:gd name="connsiteY14" fmla="*/ 2257425 h 2277341"/>
                <a:gd name="connsiteX15" fmla="*/ 0 w 1381125"/>
                <a:gd name="connsiteY15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323975 w 1381125"/>
                <a:gd name="connsiteY3" fmla="*/ 628650 h 2277341"/>
                <a:gd name="connsiteX4" fmla="*/ 1247775 w 1381125"/>
                <a:gd name="connsiteY4" fmla="*/ 895350 h 2277341"/>
                <a:gd name="connsiteX5" fmla="*/ 1238250 w 1381125"/>
                <a:gd name="connsiteY5" fmla="*/ 962025 h 2277341"/>
                <a:gd name="connsiteX6" fmla="*/ 1171575 w 1381125"/>
                <a:gd name="connsiteY6" fmla="*/ 1133475 h 2277341"/>
                <a:gd name="connsiteX7" fmla="*/ 1085850 w 1381125"/>
                <a:gd name="connsiteY7" fmla="*/ 1343025 h 2277341"/>
                <a:gd name="connsiteX8" fmla="*/ 723900 w 1381125"/>
                <a:gd name="connsiteY8" fmla="*/ 1828800 h 2277341"/>
                <a:gd name="connsiteX9" fmla="*/ 476250 w 1381125"/>
                <a:gd name="connsiteY9" fmla="*/ 2028825 h 2277341"/>
                <a:gd name="connsiteX10" fmla="*/ 390525 w 1381125"/>
                <a:gd name="connsiteY10" fmla="*/ 2085975 h 2277341"/>
                <a:gd name="connsiteX11" fmla="*/ 276225 w 1381125"/>
                <a:gd name="connsiteY11" fmla="*/ 2171700 h 2277341"/>
                <a:gd name="connsiteX12" fmla="*/ 200025 w 1381125"/>
                <a:gd name="connsiteY12" fmla="*/ 2209800 h 2277341"/>
                <a:gd name="connsiteX13" fmla="*/ 66675 w 1381125"/>
                <a:gd name="connsiteY13" fmla="*/ 2257425 h 2277341"/>
                <a:gd name="connsiteX14" fmla="*/ 0 w 1381125"/>
                <a:gd name="connsiteY14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247775 w 1381125"/>
                <a:gd name="connsiteY3" fmla="*/ 895350 h 2277341"/>
                <a:gd name="connsiteX4" fmla="*/ 1238250 w 1381125"/>
                <a:gd name="connsiteY4" fmla="*/ 962025 h 2277341"/>
                <a:gd name="connsiteX5" fmla="*/ 1171575 w 1381125"/>
                <a:gd name="connsiteY5" fmla="*/ 1133475 h 2277341"/>
                <a:gd name="connsiteX6" fmla="*/ 1085850 w 1381125"/>
                <a:gd name="connsiteY6" fmla="*/ 1343025 h 2277341"/>
                <a:gd name="connsiteX7" fmla="*/ 723900 w 1381125"/>
                <a:gd name="connsiteY7" fmla="*/ 1828800 h 2277341"/>
                <a:gd name="connsiteX8" fmla="*/ 476250 w 1381125"/>
                <a:gd name="connsiteY8" fmla="*/ 2028825 h 2277341"/>
                <a:gd name="connsiteX9" fmla="*/ 390525 w 1381125"/>
                <a:gd name="connsiteY9" fmla="*/ 2085975 h 2277341"/>
                <a:gd name="connsiteX10" fmla="*/ 276225 w 1381125"/>
                <a:gd name="connsiteY10" fmla="*/ 2171700 h 2277341"/>
                <a:gd name="connsiteX11" fmla="*/ 200025 w 1381125"/>
                <a:gd name="connsiteY11" fmla="*/ 2209800 h 2277341"/>
                <a:gd name="connsiteX12" fmla="*/ 66675 w 1381125"/>
                <a:gd name="connsiteY12" fmla="*/ 2257425 h 2277341"/>
                <a:gd name="connsiteX13" fmla="*/ 0 w 1381125"/>
                <a:gd name="connsiteY13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247775 w 1381125"/>
                <a:gd name="connsiteY3" fmla="*/ 895350 h 2277341"/>
                <a:gd name="connsiteX4" fmla="*/ 1171575 w 1381125"/>
                <a:gd name="connsiteY4" fmla="*/ 1133475 h 2277341"/>
                <a:gd name="connsiteX5" fmla="*/ 1085850 w 1381125"/>
                <a:gd name="connsiteY5" fmla="*/ 1343025 h 2277341"/>
                <a:gd name="connsiteX6" fmla="*/ 723900 w 1381125"/>
                <a:gd name="connsiteY6" fmla="*/ 1828800 h 2277341"/>
                <a:gd name="connsiteX7" fmla="*/ 476250 w 1381125"/>
                <a:gd name="connsiteY7" fmla="*/ 2028825 h 2277341"/>
                <a:gd name="connsiteX8" fmla="*/ 390525 w 1381125"/>
                <a:gd name="connsiteY8" fmla="*/ 2085975 h 2277341"/>
                <a:gd name="connsiteX9" fmla="*/ 276225 w 1381125"/>
                <a:gd name="connsiteY9" fmla="*/ 2171700 h 2277341"/>
                <a:gd name="connsiteX10" fmla="*/ 200025 w 1381125"/>
                <a:gd name="connsiteY10" fmla="*/ 2209800 h 2277341"/>
                <a:gd name="connsiteX11" fmla="*/ 66675 w 1381125"/>
                <a:gd name="connsiteY11" fmla="*/ 2257425 h 2277341"/>
                <a:gd name="connsiteX12" fmla="*/ 0 w 1381125"/>
                <a:gd name="connsiteY1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276350 w 1381125"/>
                <a:gd name="connsiteY3" fmla="*/ 876300 h 2277341"/>
                <a:gd name="connsiteX4" fmla="*/ 1171575 w 1381125"/>
                <a:gd name="connsiteY4" fmla="*/ 1133475 h 2277341"/>
                <a:gd name="connsiteX5" fmla="*/ 1085850 w 1381125"/>
                <a:gd name="connsiteY5" fmla="*/ 1343025 h 2277341"/>
                <a:gd name="connsiteX6" fmla="*/ 723900 w 1381125"/>
                <a:gd name="connsiteY6" fmla="*/ 1828800 h 2277341"/>
                <a:gd name="connsiteX7" fmla="*/ 476250 w 1381125"/>
                <a:gd name="connsiteY7" fmla="*/ 2028825 h 2277341"/>
                <a:gd name="connsiteX8" fmla="*/ 390525 w 1381125"/>
                <a:gd name="connsiteY8" fmla="*/ 2085975 h 2277341"/>
                <a:gd name="connsiteX9" fmla="*/ 276225 w 1381125"/>
                <a:gd name="connsiteY9" fmla="*/ 2171700 h 2277341"/>
                <a:gd name="connsiteX10" fmla="*/ 200025 w 1381125"/>
                <a:gd name="connsiteY10" fmla="*/ 2209800 h 2277341"/>
                <a:gd name="connsiteX11" fmla="*/ 66675 w 1381125"/>
                <a:gd name="connsiteY11" fmla="*/ 2257425 h 2277341"/>
                <a:gd name="connsiteX12" fmla="*/ 0 w 1381125"/>
                <a:gd name="connsiteY12" fmla="*/ 2276475 h 2277341"/>
                <a:gd name="connsiteX0" fmla="*/ 1381125 w 1381125"/>
                <a:gd name="connsiteY0" fmla="*/ 0 h 2277341"/>
                <a:gd name="connsiteX1" fmla="*/ 1371600 w 1381125"/>
                <a:gd name="connsiteY1" fmla="*/ 352425 h 2277341"/>
                <a:gd name="connsiteX2" fmla="*/ 1352550 w 1381125"/>
                <a:gd name="connsiteY2" fmla="*/ 504825 h 2277341"/>
                <a:gd name="connsiteX3" fmla="*/ 1276350 w 1381125"/>
                <a:gd name="connsiteY3" fmla="*/ 876300 h 2277341"/>
                <a:gd name="connsiteX4" fmla="*/ 1171575 w 1381125"/>
                <a:gd name="connsiteY4" fmla="*/ 1133475 h 2277341"/>
                <a:gd name="connsiteX5" fmla="*/ 1085850 w 1381125"/>
                <a:gd name="connsiteY5" fmla="*/ 1343025 h 2277341"/>
                <a:gd name="connsiteX6" fmla="*/ 723900 w 1381125"/>
                <a:gd name="connsiteY6" fmla="*/ 1828800 h 2277341"/>
                <a:gd name="connsiteX7" fmla="*/ 476250 w 1381125"/>
                <a:gd name="connsiteY7" fmla="*/ 2028825 h 2277341"/>
                <a:gd name="connsiteX8" fmla="*/ 390525 w 1381125"/>
                <a:gd name="connsiteY8" fmla="*/ 2085975 h 2277341"/>
                <a:gd name="connsiteX9" fmla="*/ 276225 w 1381125"/>
                <a:gd name="connsiteY9" fmla="*/ 2171700 h 2277341"/>
                <a:gd name="connsiteX10" fmla="*/ 66675 w 1381125"/>
                <a:gd name="connsiteY10" fmla="*/ 2257425 h 2277341"/>
                <a:gd name="connsiteX11" fmla="*/ 0 w 1381125"/>
                <a:gd name="connsiteY11" fmla="*/ 2276475 h 2277341"/>
                <a:gd name="connsiteX0" fmla="*/ 1381125 w 1381125"/>
                <a:gd name="connsiteY0" fmla="*/ 0 h 2276475"/>
                <a:gd name="connsiteX1" fmla="*/ 1371600 w 1381125"/>
                <a:gd name="connsiteY1" fmla="*/ 352425 h 2276475"/>
                <a:gd name="connsiteX2" fmla="*/ 1352550 w 1381125"/>
                <a:gd name="connsiteY2" fmla="*/ 504825 h 2276475"/>
                <a:gd name="connsiteX3" fmla="*/ 1276350 w 1381125"/>
                <a:gd name="connsiteY3" fmla="*/ 876300 h 2276475"/>
                <a:gd name="connsiteX4" fmla="*/ 1171575 w 1381125"/>
                <a:gd name="connsiteY4" fmla="*/ 1133475 h 2276475"/>
                <a:gd name="connsiteX5" fmla="*/ 1085850 w 1381125"/>
                <a:gd name="connsiteY5" fmla="*/ 1343025 h 2276475"/>
                <a:gd name="connsiteX6" fmla="*/ 723900 w 1381125"/>
                <a:gd name="connsiteY6" fmla="*/ 1828800 h 2276475"/>
                <a:gd name="connsiteX7" fmla="*/ 476250 w 1381125"/>
                <a:gd name="connsiteY7" fmla="*/ 2028825 h 2276475"/>
                <a:gd name="connsiteX8" fmla="*/ 390525 w 1381125"/>
                <a:gd name="connsiteY8" fmla="*/ 2085975 h 2276475"/>
                <a:gd name="connsiteX9" fmla="*/ 276225 w 1381125"/>
                <a:gd name="connsiteY9" fmla="*/ 2171700 h 2276475"/>
                <a:gd name="connsiteX10" fmla="*/ 0 w 1381125"/>
                <a:gd name="connsiteY10" fmla="*/ 2276475 h 2276475"/>
                <a:gd name="connsiteX0" fmla="*/ 1381125 w 1381125"/>
                <a:gd name="connsiteY0" fmla="*/ 0 h 2276475"/>
                <a:gd name="connsiteX1" fmla="*/ 1371600 w 1381125"/>
                <a:gd name="connsiteY1" fmla="*/ 352425 h 2276475"/>
                <a:gd name="connsiteX2" fmla="*/ 1352550 w 1381125"/>
                <a:gd name="connsiteY2" fmla="*/ 504825 h 2276475"/>
                <a:gd name="connsiteX3" fmla="*/ 1276350 w 1381125"/>
                <a:gd name="connsiteY3" fmla="*/ 876300 h 2276475"/>
                <a:gd name="connsiteX4" fmla="*/ 1171575 w 1381125"/>
                <a:gd name="connsiteY4" fmla="*/ 1133475 h 2276475"/>
                <a:gd name="connsiteX5" fmla="*/ 1085850 w 1381125"/>
                <a:gd name="connsiteY5" fmla="*/ 1343025 h 2276475"/>
                <a:gd name="connsiteX6" fmla="*/ 723900 w 1381125"/>
                <a:gd name="connsiteY6" fmla="*/ 1828800 h 2276475"/>
                <a:gd name="connsiteX7" fmla="*/ 476250 w 1381125"/>
                <a:gd name="connsiteY7" fmla="*/ 2028825 h 2276475"/>
                <a:gd name="connsiteX8" fmla="*/ 276225 w 1381125"/>
                <a:gd name="connsiteY8" fmla="*/ 2171700 h 2276475"/>
                <a:gd name="connsiteX9" fmla="*/ 0 w 1381125"/>
                <a:gd name="connsiteY9" fmla="*/ 2276475 h 2276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81125" h="2276475">
                  <a:moveTo>
                    <a:pt x="1381125" y="0"/>
                  </a:moveTo>
                  <a:cubicBezTo>
                    <a:pt x="1377950" y="117475"/>
                    <a:pt x="1376362" y="268288"/>
                    <a:pt x="1371600" y="352425"/>
                  </a:cubicBezTo>
                  <a:cubicBezTo>
                    <a:pt x="1366838" y="436562"/>
                    <a:pt x="1368425" y="417513"/>
                    <a:pt x="1352550" y="504825"/>
                  </a:cubicBezTo>
                  <a:cubicBezTo>
                    <a:pt x="1336675" y="592137"/>
                    <a:pt x="1306512" y="771525"/>
                    <a:pt x="1276350" y="876300"/>
                  </a:cubicBezTo>
                  <a:cubicBezTo>
                    <a:pt x="1246188" y="981075"/>
                    <a:pt x="1203325" y="1055688"/>
                    <a:pt x="1171575" y="1133475"/>
                  </a:cubicBezTo>
                  <a:cubicBezTo>
                    <a:pt x="1139825" y="1211262"/>
                    <a:pt x="1160462" y="1227138"/>
                    <a:pt x="1085850" y="1343025"/>
                  </a:cubicBezTo>
                  <a:cubicBezTo>
                    <a:pt x="1011238" y="1458912"/>
                    <a:pt x="825500" y="1714500"/>
                    <a:pt x="723900" y="1828800"/>
                  </a:cubicBezTo>
                  <a:cubicBezTo>
                    <a:pt x="622300" y="1943100"/>
                    <a:pt x="550863" y="1971675"/>
                    <a:pt x="476250" y="2028825"/>
                  </a:cubicBezTo>
                  <a:cubicBezTo>
                    <a:pt x="401638" y="2085975"/>
                    <a:pt x="355600" y="2130425"/>
                    <a:pt x="276225" y="2171700"/>
                  </a:cubicBezTo>
                  <a:cubicBezTo>
                    <a:pt x="196850" y="2212975"/>
                    <a:pt x="57547" y="2254647"/>
                    <a:pt x="0" y="2276475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4C401EAE-173A-1C0C-117C-60473A35C076}"/>
                </a:ext>
              </a:extLst>
            </p:cNvPr>
            <p:cNvSpPr/>
            <p:nvPr/>
          </p:nvSpPr>
          <p:spPr>
            <a:xfrm>
              <a:off x="3397523" y="1888382"/>
              <a:ext cx="793477" cy="429608"/>
            </a:xfrm>
            <a:custGeom>
              <a:avLst/>
              <a:gdLst>
                <a:gd name="connsiteX0" fmla="*/ 272644 w 806044"/>
                <a:gd name="connsiteY0" fmla="*/ 28575 h 409575"/>
                <a:gd name="connsiteX1" fmla="*/ 110719 w 806044"/>
                <a:gd name="connsiteY1" fmla="*/ 9525 h 409575"/>
                <a:gd name="connsiteX2" fmla="*/ 24994 w 806044"/>
                <a:gd name="connsiteY2" fmla="*/ 0 h 409575"/>
                <a:gd name="connsiteX3" fmla="*/ 24994 w 806044"/>
                <a:gd name="connsiteY3" fmla="*/ 171450 h 409575"/>
                <a:gd name="connsiteX4" fmla="*/ 44044 w 806044"/>
                <a:gd name="connsiteY4" fmla="*/ 200025 h 409575"/>
                <a:gd name="connsiteX5" fmla="*/ 120244 w 806044"/>
                <a:gd name="connsiteY5" fmla="*/ 228600 h 409575"/>
                <a:gd name="connsiteX6" fmla="*/ 205969 w 806044"/>
                <a:gd name="connsiteY6" fmla="*/ 266700 h 409575"/>
                <a:gd name="connsiteX7" fmla="*/ 234544 w 806044"/>
                <a:gd name="connsiteY7" fmla="*/ 295275 h 409575"/>
                <a:gd name="connsiteX8" fmla="*/ 272644 w 806044"/>
                <a:gd name="connsiteY8" fmla="*/ 314325 h 409575"/>
                <a:gd name="connsiteX9" fmla="*/ 310744 w 806044"/>
                <a:gd name="connsiteY9" fmla="*/ 342900 h 409575"/>
                <a:gd name="connsiteX10" fmla="*/ 377419 w 806044"/>
                <a:gd name="connsiteY10" fmla="*/ 371475 h 409575"/>
                <a:gd name="connsiteX11" fmla="*/ 405994 w 806044"/>
                <a:gd name="connsiteY11" fmla="*/ 390525 h 409575"/>
                <a:gd name="connsiteX12" fmla="*/ 472669 w 806044"/>
                <a:gd name="connsiteY12" fmla="*/ 400050 h 409575"/>
                <a:gd name="connsiteX13" fmla="*/ 529819 w 806044"/>
                <a:gd name="connsiteY13" fmla="*/ 409575 h 409575"/>
                <a:gd name="connsiteX14" fmla="*/ 786994 w 806044"/>
                <a:gd name="connsiteY14" fmla="*/ 371475 h 409575"/>
                <a:gd name="connsiteX15" fmla="*/ 806044 w 806044"/>
                <a:gd name="connsiteY15" fmla="*/ 352425 h 409575"/>
                <a:gd name="connsiteX0" fmla="*/ 272644 w 806044"/>
                <a:gd name="connsiteY0" fmla="*/ 35318 h 416318"/>
                <a:gd name="connsiteX1" fmla="*/ 24994 w 806044"/>
                <a:gd name="connsiteY1" fmla="*/ 6743 h 416318"/>
                <a:gd name="connsiteX2" fmla="*/ 24994 w 806044"/>
                <a:gd name="connsiteY2" fmla="*/ 178193 h 416318"/>
                <a:gd name="connsiteX3" fmla="*/ 44044 w 806044"/>
                <a:gd name="connsiteY3" fmla="*/ 206768 h 416318"/>
                <a:gd name="connsiteX4" fmla="*/ 120244 w 806044"/>
                <a:gd name="connsiteY4" fmla="*/ 235343 h 416318"/>
                <a:gd name="connsiteX5" fmla="*/ 205969 w 806044"/>
                <a:gd name="connsiteY5" fmla="*/ 273443 h 416318"/>
                <a:gd name="connsiteX6" fmla="*/ 234544 w 806044"/>
                <a:gd name="connsiteY6" fmla="*/ 302018 h 416318"/>
                <a:gd name="connsiteX7" fmla="*/ 272644 w 806044"/>
                <a:gd name="connsiteY7" fmla="*/ 321068 h 416318"/>
                <a:gd name="connsiteX8" fmla="*/ 310744 w 806044"/>
                <a:gd name="connsiteY8" fmla="*/ 349643 h 416318"/>
                <a:gd name="connsiteX9" fmla="*/ 377419 w 806044"/>
                <a:gd name="connsiteY9" fmla="*/ 378218 h 416318"/>
                <a:gd name="connsiteX10" fmla="*/ 405994 w 806044"/>
                <a:gd name="connsiteY10" fmla="*/ 397268 h 416318"/>
                <a:gd name="connsiteX11" fmla="*/ 472669 w 806044"/>
                <a:gd name="connsiteY11" fmla="*/ 406793 h 416318"/>
                <a:gd name="connsiteX12" fmla="*/ 529819 w 806044"/>
                <a:gd name="connsiteY12" fmla="*/ 416318 h 416318"/>
                <a:gd name="connsiteX13" fmla="*/ 786994 w 806044"/>
                <a:gd name="connsiteY13" fmla="*/ 378218 h 416318"/>
                <a:gd name="connsiteX14" fmla="*/ 806044 w 806044"/>
                <a:gd name="connsiteY14" fmla="*/ 359168 h 416318"/>
                <a:gd name="connsiteX0" fmla="*/ 267874 w 801274"/>
                <a:gd name="connsiteY0" fmla="*/ 35318 h 416318"/>
                <a:gd name="connsiteX1" fmla="*/ 20224 w 801274"/>
                <a:gd name="connsiteY1" fmla="*/ 6743 h 416318"/>
                <a:gd name="connsiteX2" fmla="*/ 20224 w 801274"/>
                <a:gd name="connsiteY2" fmla="*/ 178193 h 416318"/>
                <a:gd name="connsiteX3" fmla="*/ 115474 w 801274"/>
                <a:gd name="connsiteY3" fmla="*/ 235343 h 416318"/>
                <a:gd name="connsiteX4" fmla="*/ 201199 w 801274"/>
                <a:gd name="connsiteY4" fmla="*/ 273443 h 416318"/>
                <a:gd name="connsiteX5" fmla="*/ 229774 w 801274"/>
                <a:gd name="connsiteY5" fmla="*/ 302018 h 416318"/>
                <a:gd name="connsiteX6" fmla="*/ 267874 w 801274"/>
                <a:gd name="connsiteY6" fmla="*/ 321068 h 416318"/>
                <a:gd name="connsiteX7" fmla="*/ 305974 w 801274"/>
                <a:gd name="connsiteY7" fmla="*/ 349643 h 416318"/>
                <a:gd name="connsiteX8" fmla="*/ 372649 w 801274"/>
                <a:gd name="connsiteY8" fmla="*/ 378218 h 416318"/>
                <a:gd name="connsiteX9" fmla="*/ 401224 w 801274"/>
                <a:gd name="connsiteY9" fmla="*/ 397268 h 416318"/>
                <a:gd name="connsiteX10" fmla="*/ 467899 w 801274"/>
                <a:gd name="connsiteY10" fmla="*/ 406793 h 416318"/>
                <a:gd name="connsiteX11" fmla="*/ 525049 w 801274"/>
                <a:gd name="connsiteY11" fmla="*/ 416318 h 416318"/>
                <a:gd name="connsiteX12" fmla="*/ 782224 w 801274"/>
                <a:gd name="connsiteY12" fmla="*/ 378218 h 416318"/>
                <a:gd name="connsiteX13" fmla="*/ 801274 w 801274"/>
                <a:gd name="connsiteY13" fmla="*/ 359168 h 416318"/>
                <a:gd name="connsiteX0" fmla="*/ 267874 w 801274"/>
                <a:gd name="connsiteY0" fmla="*/ 35318 h 416318"/>
                <a:gd name="connsiteX1" fmla="*/ 20224 w 801274"/>
                <a:gd name="connsiteY1" fmla="*/ 6743 h 416318"/>
                <a:gd name="connsiteX2" fmla="*/ 20224 w 801274"/>
                <a:gd name="connsiteY2" fmla="*/ 178193 h 416318"/>
                <a:gd name="connsiteX3" fmla="*/ 115474 w 801274"/>
                <a:gd name="connsiteY3" fmla="*/ 235343 h 416318"/>
                <a:gd name="connsiteX4" fmla="*/ 201199 w 801274"/>
                <a:gd name="connsiteY4" fmla="*/ 273443 h 416318"/>
                <a:gd name="connsiteX5" fmla="*/ 229774 w 801274"/>
                <a:gd name="connsiteY5" fmla="*/ 302018 h 416318"/>
                <a:gd name="connsiteX6" fmla="*/ 305974 w 801274"/>
                <a:gd name="connsiteY6" fmla="*/ 349643 h 416318"/>
                <a:gd name="connsiteX7" fmla="*/ 372649 w 801274"/>
                <a:gd name="connsiteY7" fmla="*/ 378218 h 416318"/>
                <a:gd name="connsiteX8" fmla="*/ 401224 w 801274"/>
                <a:gd name="connsiteY8" fmla="*/ 397268 h 416318"/>
                <a:gd name="connsiteX9" fmla="*/ 467899 w 801274"/>
                <a:gd name="connsiteY9" fmla="*/ 406793 h 416318"/>
                <a:gd name="connsiteX10" fmla="*/ 525049 w 801274"/>
                <a:gd name="connsiteY10" fmla="*/ 416318 h 416318"/>
                <a:gd name="connsiteX11" fmla="*/ 782224 w 801274"/>
                <a:gd name="connsiteY11" fmla="*/ 378218 h 416318"/>
                <a:gd name="connsiteX12" fmla="*/ 801274 w 801274"/>
                <a:gd name="connsiteY12" fmla="*/ 359168 h 416318"/>
                <a:gd name="connsiteX0" fmla="*/ 267874 w 801274"/>
                <a:gd name="connsiteY0" fmla="*/ 35318 h 416318"/>
                <a:gd name="connsiteX1" fmla="*/ 20224 w 801274"/>
                <a:gd name="connsiteY1" fmla="*/ 6743 h 416318"/>
                <a:gd name="connsiteX2" fmla="*/ 20224 w 801274"/>
                <a:gd name="connsiteY2" fmla="*/ 178193 h 416318"/>
                <a:gd name="connsiteX3" fmla="*/ 115474 w 801274"/>
                <a:gd name="connsiteY3" fmla="*/ 235343 h 416318"/>
                <a:gd name="connsiteX4" fmla="*/ 229774 w 801274"/>
                <a:gd name="connsiteY4" fmla="*/ 302018 h 416318"/>
                <a:gd name="connsiteX5" fmla="*/ 305974 w 801274"/>
                <a:gd name="connsiteY5" fmla="*/ 349643 h 416318"/>
                <a:gd name="connsiteX6" fmla="*/ 372649 w 801274"/>
                <a:gd name="connsiteY6" fmla="*/ 378218 h 416318"/>
                <a:gd name="connsiteX7" fmla="*/ 401224 w 801274"/>
                <a:gd name="connsiteY7" fmla="*/ 397268 h 416318"/>
                <a:gd name="connsiteX8" fmla="*/ 467899 w 801274"/>
                <a:gd name="connsiteY8" fmla="*/ 406793 h 416318"/>
                <a:gd name="connsiteX9" fmla="*/ 525049 w 801274"/>
                <a:gd name="connsiteY9" fmla="*/ 416318 h 416318"/>
                <a:gd name="connsiteX10" fmla="*/ 782224 w 801274"/>
                <a:gd name="connsiteY10" fmla="*/ 378218 h 416318"/>
                <a:gd name="connsiteX11" fmla="*/ 801274 w 801274"/>
                <a:gd name="connsiteY11" fmla="*/ 359168 h 416318"/>
                <a:gd name="connsiteX0" fmla="*/ 274324 w 807724"/>
                <a:gd name="connsiteY0" fmla="*/ 35318 h 416318"/>
                <a:gd name="connsiteX1" fmla="*/ 26674 w 807724"/>
                <a:gd name="connsiteY1" fmla="*/ 6743 h 416318"/>
                <a:gd name="connsiteX2" fmla="*/ 26674 w 807724"/>
                <a:gd name="connsiteY2" fmla="*/ 178193 h 416318"/>
                <a:gd name="connsiteX3" fmla="*/ 236224 w 807724"/>
                <a:gd name="connsiteY3" fmla="*/ 302018 h 416318"/>
                <a:gd name="connsiteX4" fmla="*/ 312424 w 807724"/>
                <a:gd name="connsiteY4" fmla="*/ 349643 h 416318"/>
                <a:gd name="connsiteX5" fmla="*/ 379099 w 807724"/>
                <a:gd name="connsiteY5" fmla="*/ 378218 h 416318"/>
                <a:gd name="connsiteX6" fmla="*/ 407674 w 807724"/>
                <a:gd name="connsiteY6" fmla="*/ 397268 h 416318"/>
                <a:gd name="connsiteX7" fmla="*/ 474349 w 807724"/>
                <a:gd name="connsiteY7" fmla="*/ 406793 h 416318"/>
                <a:gd name="connsiteX8" fmla="*/ 531499 w 807724"/>
                <a:gd name="connsiteY8" fmla="*/ 416318 h 416318"/>
                <a:gd name="connsiteX9" fmla="*/ 788674 w 807724"/>
                <a:gd name="connsiteY9" fmla="*/ 378218 h 416318"/>
                <a:gd name="connsiteX10" fmla="*/ 807724 w 807724"/>
                <a:gd name="connsiteY10" fmla="*/ 359168 h 416318"/>
                <a:gd name="connsiteX0" fmla="*/ 274324 w 807724"/>
                <a:gd name="connsiteY0" fmla="*/ 35318 h 416318"/>
                <a:gd name="connsiteX1" fmla="*/ 26674 w 807724"/>
                <a:gd name="connsiteY1" fmla="*/ 6743 h 416318"/>
                <a:gd name="connsiteX2" fmla="*/ 26674 w 807724"/>
                <a:gd name="connsiteY2" fmla="*/ 178193 h 416318"/>
                <a:gd name="connsiteX3" fmla="*/ 236224 w 807724"/>
                <a:gd name="connsiteY3" fmla="*/ 302018 h 416318"/>
                <a:gd name="connsiteX4" fmla="*/ 312424 w 807724"/>
                <a:gd name="connsiteY4" fmla="*/ 349643 h 416318"/>
                <a:gd name="connsiteX5" fmla="*/ 379099 w 807724"/>
                <a:gd name="connsiteY5" fmla="*/ 378218 h 416318"/>
                <a:gd name="connsiteX6" fmla="*/ 474349 w 807724"/>
                <a:gd name="connsiteY6" fmla="*/ 406793 h 416318"/>
                <a:gd name="connsiteX7" fmla="*/ 531499 w 807724"/>
                <a:gd name="connsiteY7" fmla="*/ 416318 h 416318"/>
                <a:gd name="connsiteX8" fmla="*/ 788674 w 807724"/>
                <a:gd name="connsiteY8" fmla="*/ 378218 h 416318"/>
                <a:gd name="connsiteX9" fmla="*/ 807724 w 807724"/>
                <a:gd name="connsiteY9" fmla="*/ 359168 h 416318"/>
                <a:gd name="connsiteX0" fmla="*/ 274324 w 807724"/>
                <a:gd name="connsiteY0" fmla="*/ 35318 h 416318"/>
                <a:gd name="connsiteX1" fmla="*/ 26674 w 807724"/>
                <a:gd name="connsiteY1" fmla="*/ 6743 h 416318"/>
                <a:gd name="connsiteX2" fmla="*/ 26674 w 807724"/>
                <a:gd name="connsiteY2" fmla="*/ 178193 h 416318"/>
                <a:gd name="connsiteX3" fmla="*/ 236224 w 807724"/>
                <a:gd name="connsiteY3" fmla="*/ 302018 h 416318"/>
                <a:gd name="connsiteX4" fmla="*/ 312424 w 807724"/>
                <a:gd name="connsiteY4" fmla="*/ 349643 h 416318"/>
                <a:gd name="connsiteX5" fmla="*/ 379099 w 807724"/>
                <a:gd name="connsiteY5" fmla="*/ 378218 h 416318"/>
                <a:gd name="connsiteX6" fmla="*/ 474349 w 807724"/>
                <a:gd name="connsiteY6" fmla="*/ 406793 h 416318"/>
                <a:gd name="connsiteX7" fmla="*/ 531499 w 807724"/>
                <a:gd name="connsiteY7" fmla="*/ 416318 h 416318"/>
                <a:gd name="connsiteX8" fmla="*/ 807724 w 807724"/>
                <a:gd name="connsiteY8" fmla="*/ 359168 h 416318"/>
                <a:gd name="connsiteX0" fmla="*/ 274324 w 807724"/>
                <a:gd name="connsiteY0" fmla="*/ 35318 h 416321"/>
                <a:gd name="connsiteX1" fmla="*/ 26674 w 807724"/>
                <a:gd name="connsiteY1" fmla="*/ 6743 h 416321"/>
                <a:gd name="connsiteX2" fmla="*/ 26674 w 807724"/>
                <a:gd name="connsiteY2" fmla="*/ 178193 h 416321"/>
                <a:gd name="connsiteX3" fmla="*/ 236224 w 807724"/>
                <a:gd name="connsiteY3" fmla="*/ 302018 h 416321"/>
                <a:gd name="connsiteX4" fmla="*/ 312424 w 807724"/>
                <a:gd name="connsiteY4" fmla="*/ 349643 h 416321"/>
                <a:gd name="connsiteX5" fmla="*/ 379099 w 807724"/>
                <a:gd name="connsiteY5" fmla="*/ 378218 h 416321"/>
                <a:gd name="connsiteX6" fmla="*/ 474349 w 807724"/>
                <a:gd name="connsiteY6" fmla="*/ 406793 h 416321"/>
                <a:gd name="connsiteX7" fmla="*/ 531499 w 807724"/>
                <a:gd name="connsiteY7" fmla="*/ 416318 h 416321"/>
                <a:gd name="connsiteX8" fmla="*/ 807724 w 807724"/>
                <a:gd name="connsiteY8" fmla="*/ 359168 h 416321"/>
                <a:gd name="connsiteX0" fmla="*/ 274324 w 807724"/>
                <a:gd name="connsiteY0" fmla="*/ 35318 h 416550"/>
                <a:gd name="connsiteX1" fmla="*/ 26674 w 807724"/>
                <a:gd name="connsiteY1" fmla="*/ 6743 h 416550"/>
                <a:gd name="connsiteX2" fmla="*/ 26674 w 807724"/>
                <a:gd name="connsiteY2" fmla="*/ 178193 h 416550"/>
                <a:gd name="connsiteX3" fmla="*/ 236224 w 807724"/>
                <a:gd name="connsiteY3" fmla="*/ 302018 h 416550"/>
                <a:gd name="connsiteX4" fmla="*/ 312424 w 807724"/>
                <a:gd name="connsiteY4" fmla="*/ 349643 h 416550"/>
                <a:gd name="connsiteX5" fmla="*/ 379099 w 807724"/>
                <a:gd name="connsiteY5" fmla="*/ 378218 h 416550"/>
                <a:gd name="connsiteX6" fmla="*/ 531499 w 807724"/>
                <a:gd name="connsiteY6" fmla="*/ 416318 h 416550"/>
                <a:gd name="connsiteX7" fmla="*/ 807724 w 807724"/>
                <a:gd name="connsiteY7" fmla="*/ 359168 h 416550"/>
                <a:gd name="connsiteX0" fmla="*/ 260902 w 794302"/>
                <a:gd name="connsiteY0" fmla="*/ 35318 h 416550"/>
                <a:gd name="connsiteX1" fmla="*/ 13252 w 794302"/>
                <a:gd name="connsiteY1" fmla="*/ 6743 h 416550"/>
                <a:gd name="connsiteX2" fmla="*/ 57702 w 794302"/>
                <a:gd name="connsiteY2" fmla="*/ 178193 h 416550"/>
                <a:gd name="connsiteX3" fmla="*/ 222802 w 794302"/>
                <a:gd name="connsiteY3" fmla="*/ 302018 h 416550"/>
                <a:gd name="connsiteX4" fmla="*/ 299002 w 794302"/>
                <a:gd name="connsiteY4" fmla="*/ 349643 h 416550"/>
                <a:gd name="connsiteX5" fmla="*/ 365677 w 794302"/>
                <a:gd name="connsiteY5" fmla="*/ 378218 h 416550"/>
                <a:gd name="connsiteX6" fmla="*/ 518077 w 794302"/>
                <a:gd name="connsiteY6" fmla="*/ 416318 h 416550"/>
                <a:gd name="connsiteX7" fmla="*/ 794302 w 794302"/>
                <a:gd name="connsiteY7" fmla="*/ 359168 h 416550"/>
                <a:gd name="connsiteX0" fmla="*/ 283127 w 794302"/>
                <a:gd name="connsiteY0" fmla="*/ 32495 h 416902"/>
                <a:gd name="connsiteX1" fmla="*/ 13252 w 794302"/>
                <a:gd name="connsiteY1" fmla="*/ 7095 h 416902"/>
                <a:gd name="connsiteX2" fmla="*/ 57702 w 794302"/>
                <a:gd name="connsiteY2" fmla="*/ 178545 h 416902"/>
                <a:gd name="connsiteX3" fmla="*/ 222802 w 794302"/>
                <a:gd name="connsiteY3" fmla="*/ 302370 h 416902"/>
                <a:gd name="connsiteX4" fmla="*/ 299002 w 794302"/>
                <a:gd name="connsiteY4" fmla="*/ 349995 h 416902"/>
                <a:gd name="connsiteX5" fmla="*/ 365677 w 794302"/>
                <a:gd name="connsiteY5" fmla="*/ 378570 h 416902"/>
                <a:gd name="connsiteX6" fmla="*/ 518077 w 794302"/>
                <a:gd name="connsiteY6" fmla="*/ 416670 h 416902"/>
                <a:gd name="connsiteX7" fmla="*/ 794302 w 794302"/>
                <a:gd name="connsiteY7" fmla="*/ 359520 h 416902"/>
                <a:gd name="connsiteX0" fmla="*/ 285241 w 796416"/>
                <a:gd name="connsiteY0" fmla="*/ 32495 h 416902"/>
                <a:gd name="connsiteX1" fmla="*/ 15366 w 796416"/>
                <a:gd name="connsiteY1" fmla="*/ 7095 h 416902"/>
                <a:gd name="connsiteX2" fmla="*/ 59816 w 796416"/>
                <a:gd name="connsiteY2" fmla="*/ 178545 h 416902"/>
                <a:gd name="connsiteX3" fmla="*/ 301116 w 796416"/>
                <a:gd name="connsiteY3" fmla="*/ 349995 h 416902"/>
                <a:gd name="connsiteX4" fmla="*/ 367791 w 796416"/>
                <a:gd name="connsiteY4" fmla="*/ 378570 h 416902"/>
                <a:gd name="connsiteX5" fmla="*/ 520191 w 796416"/>
                <a:gd name="connsiteY5" fmla="*/ 416670 h 416902"/>
                <a:gd name="connsiteX6" fmla="*/ 796416 w 796416"/>
                <a:gd name="connsiteY6" fmla="*/ 359520 h 416902"/>
                <a:gd name="connsiteX0" fmla="*/ 282302 w 793477"/>
                <a:gd name="connsiteY0" fmla="*/ 32495 h 417025"/>
                <a:gd name="connsiteX1" fmla="*/ 12427 w 793477"/>
                <a:gd name="connsiteY1" fmla="*/ 7095 h 417025"/>
                <a:gd name="connsiteX2" fmla="*/ 56877 w 793477"/>
                <a:gd name="connsiteY2" fmla="*/ 178545 h 417025"/>
                <a:gd name="connsiteX3" fmla="*/ 187052 w 793477"/>
                <a:gd name="connsiteY3" fmla="*/ 280145 h 417025"/>
                <a:gd name="connsiteX4" fmla="*/ 364852 w 793477"/>
                <a:gd name="connsiteY4" fmla="*/ 378570 h 417025"/>
                <a:gd name="connsiteX5" fmla="*/ 517252 w 793477"/>
                <a:gd name="connsiteY5" fmla="*/ 416670 h 417025"/>
                <a:gd name="connsiteX6" fmla="*/ 793477 w 793477"/>
                <a:gd name="connsiteY6" fmla="*/ 359520 h 417025"/>
                <a:gd name="connsiteX0" fmla="*/ 282302 w 793477"/>
                <a:gd name="connsiteY0" fmla="*/ 32495 h 429608"/>
                <a:gd name="connsiteX1" fmla="*/ 12427 w 793477"/>
                <a:gd name="connsiteY1" fmla="*/ 7095 h 429608"/>
                <a:gd name="connsiteX2" fmla="*/ 56877 w 793477"/>
                <a:gd name="connsiteY2" fmla="*/ 178545 h 429608"/>
                <a:gd name="connsiteX3" fmla="*/ 187052 w 793477"/>
                <a:gd name="connsiteY3" fmla="*/ 280145 h 429608"/>
                <a:gd name="connsiteX4" fmla="*/ 364852 w 793477"/>
                <a:gd name="connsiteY4" fmla="*/ 378570 h 429608"/>
                <a:gd name="connsiteX5" fmla="*/ 612502 w 793477"/>
                <a:gd name="connsiteY5" fmla="*/ 429370 h 429608"/>
                <a:gd name="connsiteX6" fmla="*/ 793477 w 793477"/>
                <a:gd name="connsiteY6" fmla="*/ 359520 h 42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3477" h="429608">
                  <a:moveTo>
                    <a:pt x="282302" y="32495"/>
                  </a:moveTo>
                  <a:cubicBezTo>
                    <a:pt x="230708" y="26542"/>
                    <a:pt x="53702" y="-16717"/>
                    <a:pt x="12427" y="7095"/>
                  </a:cubicBezTo>
                  <a:cubicBezTo>
                    <a:pt x="-23773" y="79496"/>
                    <a:pt x="27773" y="133037"/>
                    <a:pt x="56877" y="178545"/>
                  </a:cubicBezTo>
                  <a:cubicBezTo>
                    <a:pt x="85981" y="224053"/>
                    <a:pt x="135723" y="246807"/>
                    <a:pt x="187052" y="280145"/>
                  </a:cubicBezTo>
                  <a:cubicBezTo>
                    <a:pt x="238381" y="313483"/>
                    <a:pt x="293944" y="353699"/>
                    <a:pt x="364852" y="378570"/>
                  </a:cubicBezTo>
                  <a:cubicBezTo>
                    <a:pt x="435760" y="403441"/>
                    <a:pt x="541065" y="432545"/>
                    <a:pt x="612502" y="429370"/>
                  </a:cubicBezTo>
                  <a:cubicBezTo>
                    <a:pt x="668064" y="421433"/>
                    <a:pt x="761330" y="441276"/>
                    <a:pt x="793477" y="35952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>
                <a:solidFill>
                  <a:schemeClr val="tx1"/>
                </a:solidFill>
              </a:endParaRPr>
            </a:p>
          </p:txBody>
        </p:sp>
      </p:grpSp>
      <p:sp>
        <p:nvSpPr>
          <p:cNvPr id="104" name="Arc 103">
            <a:extLst>
              <a:ext uri="{FF2B5EF4-FFF2-40B4-BE49-F238E27FC236}">
                <a16:creationId xmlns:a16="http://schemas.microsoft.com/office/drawing/2014/main" id="{CA2FC8FF-F0A7-EE08-4B54-6C7B5CC93E35}"/>
              </a:ext>
            </a:extLst>
          </p:cNvPr>
          <p:cNvSpPr/>
          <p:nvPr/>
        </p:nvSpPr>
        <p:spPr>
          <a:xfrm>
            <a:off x="4475488" y="1725937"/>
            <a:ext cx="4431650" cy="4431650"/>
          </a:xfrm>
          <a:prstGeom prst="arc">
            <a:avLst>
              <a:gd name="adj1" fmla="val 17106522"/>
              <a:gd name="adj2" fmla="val 4623972"/>
            </a:avLst>
          </a:prstGeom>
          <a:ln w="12700">
            <a:prstDash val="dash"/>
            <a:headEnd type="oval"/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5" name="Arc 104">
            <a:extLst>
              <a:ext uri="{FF2B5EF4-FFF2-40B4-BE49-F238E27FC236}">
                <a16:creationId xmlns:a16="http://schemas.microsoft.com/office/drawing/2014/main" id="{10742B1C-A807-3422-55C5-795C5C9AC060}"/>
              </a:ext>
            </a:extLst>
          </p:cNvPr>
          <p:cNvSpPr/>
          <p:nvPr/>
        </p:nvSpPr>
        <p:spPr>
          <a:xfrm flipH="1">
            <a:off x="3284863" y="1725937"/>
            <a:ext cx="4431650" cy="4431650"/>
          </a:xfrm>
          <a:prstGeom prst="arc">
            <a:avLst>
              <a:gd name="adj1" fmla="val 17106522"/>
              <a:gd name="adj2" fmla="val 4623972"/>
            </a:avLst>
          </a:prstGeom>
          <a:ln w="12700">
            <a:prstDash val="dash"/>
            <a:headEnd type="oval"/>
            <a:tailEnd type="oval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BDE21419-D8F4-9C31-D592-B92BE24407BD}"/>
              </a:ext>
            </a:extLst>
          </p:cNvPr>
          <p:cNvSpPr/>
          <p:nvPr/>
        </p:nvSpPr>
        <p:spPr>
          <a:xfrm>
            <a:off x="4029075" y="2088876"/>
            <a:ext cx="219623" cy="219623"/>
          </a:xfrm>
          <a:prstGeom prst="ellipse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/>
          </a:p>
        </p:txBody>
      </p:sp>
      <p:sp>
        <p:nvSpPr>
          <p:cNvPr id="108" name="Oval 107">
            <a:extLst>
              <a:ext uri="{FF2B5EF4-FFF2-40B4-BE49-F238E27FC236}">
                <a16:creationId xmlns:a16="http://schemas.microsoft.com/office/drawing/2014/main" id="{78ABF7DC-BC4D-8CF0-BFEC-69408ED9DADC}"/>
              </a:ext>
            </a:extLst>
          </p:cNvPr>
          <p:cNvSpPr/>
          <p:nvPr/>
        </p:nvSpPr>
        <p:spPr>
          <a:xfrm>
            <a:off x="4029075" y="5575026"/>
            <a:ext cx="219623" cy="219623"/>
          </a:xfrm>
          <a:prstGeom prst="ellipse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/>
          </a:p>
        </p:txBody>
      </p:sp>
      <p:sp>
        <p:nvSpPr>
          <p:cNvPr id="109" name="Oval 108">
            <a:extLst>
              <a:ext uri="{FF2B5EF4-FFF2-40B4-BE49-F238E27FC236}">
                <a16:creationId xmlns:a16="http://schemas.microsoft.com/office/drawing/2014/main" id="{0D011189-F291-0FB9-BF58-71A4A02ED597}"/>
              </a:ext>
            </a:extLst>
          </p:cNvPr>
          <p:cNvSpPr/>
          <p:nvPr/>
        </p:nvSpPr>
        <p:spPr>
          <a:xfrm>
            <a:off x="3190875" y="3831951"/>
            <a:ext cx="219623" cy="219623"/>
          </a:xfrm>
          <a:prstGeom prst="ellipse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/>
          </a:p>
        </p:txBody>
      </p:sp>
      <p:sp>
        <p:nvSpPr>
          <p:cNvPr id="111" name="Oval 110">
            <a:extLst>
              <a:ext uri="{FF2B5EF4-FFF2-40B4-BE49-F238E27FC236}">
                <a16:creationId xmlns:a16="http://schemas.microsoft.com/office/drawing/2014/main" id="{878D4814-2766-ED2E-8BC8-F6E025788BF1}"/>
              </a:ext>
            </a:extLst>
          </p:cNvPr>
          <p:cNvSpPr/>
          <p:nvPr/>
        </p:nvSpPr>
        <p:spPr>
          <a:xfrm>
            <a:off x="7896225" y="2088876"/>
            <a:ext cx="219623" cy="219623"/>
          </a:xfrm>
          <a:prstGeom prst="ellipse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/>
          </a:p>
        </p:txBody>
      </p:sp>
      <p:sp>
        <p:nvSpPr>
          <p:cNvPr id="112" name="Oval 111">
            <a:extLst>
              <a:ext uri="{FF2B5EF4-FFF2-40B4-BE49-F238E27FC236}">
                <a16:creationId xmlns:a16="http://schemas.microsoft.com/office/drawing/2014/main" id="{41ACD847-C944-3528-6D3D-635C9F0A00FA}"/>
              </a:ext>
            </a:extLst>
          </p:cNvPr>
          <p:cNvSpPr/>
          <p:nvPr/>
        </p:nvSpPr>
        <p:spPr>
          <a:xfrm>
            <a:off x="7939767" y="5575026"/>
            <a:ext cx="219623" cy="219623"/>
          </a:xfrm>
          <a:prstGeom prst="ellipse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/>
          </a:p>
        </p:txBody>
      </p:sp>
      <p:sp>
        <p:nvSpPr>
          <p:cNvPr id="113" name="Oval 112">
            <a:extLst>
              <a:ext uri="{FF2B5EF4-FFF2-40B4-BE49-F238E27FC236}">
                <a16:creationId xmlns:a16="http://schemas.microsoft.com/office/drawing/2014/main" id="{96782FCB-890F-6347-F1A0-5C5560AFC028}"/>
              </a:ext>
            </a:extLst>
          </p:cNvPr>
          <p:cNvSpPr/>
          <p:nvPr/>
        </p:nvSpPr>
        <p:spPr>
          <a:xfrm>
            <a:off x="8792290" y="3831951"/>
            <a:ext cx="219623" cy="219623"/>
          </a:xfrm>
          <a:prstGeom prst="ellipse">
            <a:avLst/>
          </a:prstGeom>
          <a:solidFill>
            <a:schemeClr val="accent1">
              <a:lumMod val="90000"/>
              <a:lumOff val="1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/>
          </a:p>
        </p:txBody>
      </p:sp>
      <p:sp>
        <p:nvSpPr>
          <p:cNvPr id="114" name="Tekstfelt 9">
            <a:extLst>
              <a:ext uri="{FF2B5EF4-FFF2-40B4-BE49-F238E27FC236}">
                <a16:creationId xmlns:a16="http://schemas.microsoft.com/office/drawing/2014/main" id="{3668C7FA-F85B-AA5F-904F-61D1E412E36E}"/>
              </a:ext>
            </a:extLst>
          </p:cNvPr>
          <p:cNvSpPr txBox="1"/>
          <p:nvPr/>
        </p:nvSpPr>
        <p:spPr>
          <a:xfrm>
            <a:off x="8707232" y="1917170"/>
            <a:ext cx="2932439" cy="8617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a-DK" sz="1400"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Imødekomme interessenters forventninger (eksempelvis banker, fonde og kommunale tilsyn)</a:t>
            </a:r>
          </a:p>
        </p:txBody>
      </p:sp>
      <p:sp>
        <p:nvSpPr>
          <p:cNvPr id="115" name="Tekstfelt 9">
            <a:extLst>
              <a:ext uri="{FF2B5EF4-FFF2-40B4-BE49-F238E27FC236}">
                <a16:creationId xmlns:a16="http://schemas.microsoft.com/office/drawing/2014/main" id="{FE8B4159-315C-A1E3-977E-D8C1A0DB30AF}"/>
              </a:ext>
            </a:extLst>
          </p:cNvPr>
          <p:cNvSpPr txBox="1"/>
          <p:nvPr/>
        </p:nvSpPr>
        <p:spPr>
          <a:xfrm>
            <a:off x="1396347" y="1926485"/>
            <a:ext cx="2500283" cy="64633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da-DK" sz="1400"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Synliggørelse og dokumentation af vores store samfundsbidrag</a:t>
            </a:r>
            <a:endParaRPr lang="da-DK" sz="14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7" name="Tekstfelt 9">
            <a:extLst>
              <a:ext uri="{FF2B5EF4-FFF2-40B4-BE49-F238E27FC236}">
                <a16:creationId xmlns:a16="http://schemas.microsoft.com/office/drawing/2014/main" id="{A717E392-058B-E911-9B8F-0D01A21C2F88}"/>
              </a:ext>
            </a:extLst>
          </p:cNvPr>
          <p:cNvSpPr txBox="1"/>
          <p:nvPr/>
        </p:nvSpPr>
        <p:spPr>
          <a:xfrm>
            <a:off x="8592896" y="5432929"/>
            <a:ext cx="3046775" cy="6463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da-DK" sz="1400"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Struktureret og langsigtet planlægning og risikostyring og datadrevet beslutningstagen</a:t>
            </a:r>
          </a:p>
        </p:txBody>
      </p:sp>
      <p:sp>
        <p:nvSpPr>
          <p:cNvPr id="119" name="Tekstfelt 9">
            <a:extLst>
              <a:ext uri="{FF2B5EF4-FFF2-40B4-BE49-F238E27FC236}">
                <a16:creationId xmlns:a16="http://schemas.microsoft.com/office/drawing/2014/main" id="{7F33563B-24DE-A68C-A44A-598479E81EC8}"/>
              </a:ext>
            </a:extLst>
          </p:cNvPr>
          <p:cNvSpPr txBox="1"/>
          <p:nvPr/>
        </p:nvSpPr>
        <p:spPr>
          <a:xfrm>
            <a:off x="9289003" y="3594222"/>
            <a:ext cx="2562903" cy="43088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da-DK" sz="1400">
                <a:latin typeface="Verdana" panose="020B060403050404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Tiltrække og fastholde beboere og medarbejdere</a:t>
            </a:r>
          </a:p>
        </p:txBody>
      </p:sp>
      <p:sp>
        <p:nvSpPr>
          <p:cNvPr id="3" name="Tekstfelt 9">
            <a:extLst>
              <a:ext uri="{FF2B5EF4-FFF2-40B4-BE49-F238E27FC236}">
                <a16:creationId xmlns:a16="http://schemas.microsoft.com/office/drawing/2014/main" id="{E599FBE8-0173-6F5B-89A4-E756E98583FA}"/>
              </a:ext>
            </a:extLst>
          </p:cNvPr>
          <p:cNvSpPr txBox="1"/>
          <p:nvPr/>
        </p:nvSpPr>
        <p:spPr>
          <a:xfrm>
            <a:off x="1048480" y="3560917"/>
            <a:ext cx="2142092" cy="64633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da-DK" sz="1400"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Komme på forkant af kommende regulative krav til sektoren</a:t>
            </a:r>
            <a:endParaRPr lang="da-DK" sz="14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Tekstfelt 9">
            <a:extLst>
              <a:ext uri="{FF2B5EF4-FFF2-40B4-BE49-F238E27FC236}">
                <a16:creationId xmlns:a16="http://schemas.microsoft.com/office/drawing/2014/main" id="{3AACFBDF-D100-9145-7ECD-12AC46E7D564}"/>
              </a:ext>
            </a:extLst>
          </p:cNvPr>
          <p:cNvSpPr txBox="1"/>
          <p:nvPr/>
        </p:nvSpPr>
        <p:spPr>
          <a:xfrm>
            <a:off x="1661946" y="5432930"/>
            <a:ext cx="2142092" cy="64633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da-DK" sz="1400"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Arbejde mod at levere den mest bæredygtige boligform til danskerne</a:t>
            </a:r>
            <a:endParaRPr lang="da-DK" sz="14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Tekstfelt 9">
            <a:extLst>
              <a:ext uri="{FF2B5EF4-FFF2-40B4-BE49-F238E27FC236}">
                <a16:creationId xmlns:a16="http://schemas.microsoft.com/office/drawing/2014/main" id="{E123967B-AD05-6D0D-6362-6F87DF98B56E}"/>
              </a:ext>
            </a:extLst>
          </p:cNvPr>
          <p:cNvSpPr txBox="1"/>
          <p:nvPr/>
        </p:nvSpPr>
        <p:spPr>
          <a:xfrm>
            <a:off x="4847524" y="3328370"/>
            <a:ext cx="2591306" cy="24622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da-DK" sz="1600" b="1"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En bæredygtig fremtid</a:t>
            </a:r>
            <a:endParaRPr lang="da-DK" sz="1600" b="1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120005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4F908B-16E6-FA82-61C0-869BEFFDB9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9BE12D9-DC9D-7CA4-A811-A2714602C8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477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BE12D9-DC9D-7CA4-A811-A2714602C8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27C5015F-34AE-43F3-8F51-312B035FB9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/>
              <a:t>Sådan arbejder AlmenKompas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7963372-DAAE-9EE8-D869-77EB340563F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6</a:t>
            </a:fld>
            <a:endParaRPr lang="da-DK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A142F95-7D99-BB2B-9C7F-A8FF7464DC5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66FCA6-791A-7472-8B24-C1660DF8ED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/>
              <a:t>Projektet samler branchen om data, værktøjer og et fælles sprog</a:t>
            </a:r>
          </a:p>
        </p:txBody>
      </p:sp>
      <p:grpSp>
        <p:nvGrpSpPr>
          <p:cNvPr id="1068" name="Group 1067">
            <a:extLst>
              <a:ext uri="{FF2B5EF4-FFF2-40B4-BE49-F238E27FC236}">
                <a16:creationId xmlns:a16="http://schemas.microsoft.com/office/drawing/2014/main" id="{EFF23DB3-5A17-0189-2206-7A07F7B16D71}"/>
              </a:ext>
            </a:extLst>
          </p:cNvPr>
          <p:cNvGrpSpPr/>
          <p:nvPr/>
        </p:nvGrpSpPr>
        <p:grpSpPr>
          <a:xfrm>
            <a:off x="4118219" y="1968139"/>
            <a:ext cx="4227009" cy="4227009"/>
            <a:chOff x="7524568" y="2046791"/>
            <a:chExt cx="4227009" cy="4227009"/>
          </a:xfrm>
        </p:grpSpPr>
        <p:sp>
          <p:nvSpPr>
            <p:cNvPr id="1044" name="Oval 1043">
              <a:extLst>
                <a:ext uri="{FF2B5EF4-FFF2-40B4-BE49-F238E27FC236}">
                  <a16:creationId xmlns:a16="http://schemas.microsoft.com/office/drawing/2014/main" id="{E95C6F23-559B-F3D3-CB7B-1C857316F731}"/>
                </a:ext>
              </a:extLst>
            </p:cNvPr>
            <p:cNvSpPr/>
            <p:nvPr/>
          </p:nvSpPr>
          <p:spPr>
            <a:xfrm>
              <a:off x="7524568" y="2046791"/>
              <a:ext cx="4227009" cy="4227009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400"/>
            </a:p>
          </p:txBody>
        </p:sp>
        <p:sp>
          <p:nvSpPr>
            <p:cNvPr id="1050" name="Freeform: Shape 1049">
              <a:extLst>
                <a:ext uri="{FF2B5EF4-FFF2-40B4-BE49-F238E27FC236}">
                  <a16:creationId xmlns:a16="http://schemas.microsoft.com/office/drawing/2014/main" id="{16A9D233-9EFB-23A7-E037-D21F1CE9D86E}"/>
                </a:ext>
              </a:extLst>
            </p:cNvPr>
            <p:cNvSpPr/>
            <p:nvPr/>
          </p:nvSpPr>
          <p:spPr>
            <a:xfrm>
              <a:off x="11719397" y="3836525"/>
              <a:ext cx="32180" cy="679220"/>
            </a:xfrm>
            <a:custGeom>
              <a:avLst/>
              <a:gdLst>
                <a:gd name="connsiteX0" fmla="*/ 27346 w 4227010"/>
                <a:gd name="connsiteY0" fmla="*/ 0 h 679220"/>
                <a:gd name="connsiteX1" fmla="*/ 4199665 w 4227010"/>
                <a:gd name="connsiteY1" fmla="*/ 0 h 679220"/>
                <a:gd name="connsiteX2" fmla="*/ 4216098 w 4227010"/>
                <a:gd name="connsiteY2" fmla="*/ 107677 h 679220"/>
                <a:gd name="connsiteX3" fmla="*/ 4227010 w 4227010"/>
                <a:gd name="connsiteY3" fmla="*/ 323771 h 679220"/>
                <a:gd name="connsiteX4" fmla="*/ 4216098 w 4227010"/>
                <a:gd name="connsiteY4" fmla="*/ 539865 h 679220"/>
                <a:gd name="connsiteX5" fmla="*/ 4194830 w 4227010"/>
                <a:gd name="connsiteY5" fmla="*/ 679220 h 679220"/>
                <a:gd name="connsiteX6" fmla="*/ 32180 w 4227010"/>
                <a:gd name="connsiteY6" fmla="*/ 679220 h 679220"/>
                <a:gd name="connsiteX7" fmla="*/ 10912 w 4227010"/>
                <a:gd name="connsiteY7" fmla="*/ 539865 h 679220"/>
                <a:gd name="connsiteX8" fmla="*/ 0 w 4227010"/>
                <a:gd name="connsiteY8" fmla="*/ 323771 h 679220"/>
                <a:gd name="connsiteX9" fmla="*/ 10912 w 4227010"/>
                <a:gd name="connsiteY9" fmla="*/ 107677 h 679220"/>
                <a:gd name="connsiteX10" fmla="*/ 27346 w 4227010"/>
                <a:gd name="connsiteY10" fmla="*/ 0 h 679220"/>
                <a:gd name="connsiteX0" fmla="*/ 4199665 w 4291105"/>
                <a:gd name="connsiteY0" fmla="*/ 0 h 679220"/>
                <a:gd name="connsiteX1" fmla="*/ 4216098 w 4291105"/>
                <a:gd name="connsiteY1" fmla="*/ 107677 h 679220"/>
                <a:gd name="connsiteX2" fmla="*/ 4227010 w 4291105"/>
                <a:gd name="connsiteY2" fmla="*/ 323771 h 679220"/>
                <a:gd name="connsiteX3" fmla="*/ 4216098 w 4291105"/>
                <a:gd name="connsiteY3" fmla="*/ 539865 h 679220"/>
                <a:gd name="connsiteX4" fmla="*/ 4194830 w 4291105"/>
                <a:gd name="connsiteY4" fmla="*/ 679220 h 679220"/>
                <a:gd name="connsiteX5" fmla="*/ 32180 w 4291105"/>
                <a:gd name="connsiteY5" fmla="*/ 679220 h 679220"/>
                <a:gd name="connsiteX6" fmla="*/ 10912 w 4291105"/>
                <a:gd name="connsiteY6" fmla="*/ 539865 h 679220"/>
                <a:gd name="connsiteX7" fmla="*/ 0 w 4291105"/>
                <a:gd name="connsiteY7" fmla="*/ 323771 h 679220"/>
                <a:gd name="connsiteX8" fmla="*/ 10912 w 4291105"/>
                <a:gd name="connsiteY8" fmla="*/ 107677 h 679220"/>
                <a:gd name="connsiteX9" fmla="*/ 27346 w 4291105"/>
                <a:gd name="connsiteY9" fmla="*/ 0 h 679220"/>
                <a:gd name="connsiteX10" fmla="*/ 4291105 w 4291105"/>
                <a:gd name="connsiteY10" fmla="*/ 91440 h 679220"/>
                <a:gd name="connsiteX0" fmla="*/ 4199665 w 4227010"/>
                <a:gd name="connsiteY0" fmla="*/ 0 h 679220"/>
                <a:gd name="connsiteX1" fmla="*/ 4216098 w 4227010"/>
                <a:gd name="connsiteY1" fmla="*/ 107677 h 679220"/>
                <a:gd name="connsiteX2" fmla="*/ 4227010 w 4227010"/>
                <a:gd name="connsiteY2" fmla="*/ 323771 h 679220"/>
                <a:gd name="connsiteX3" fmla="*/ 4216098 w 4227010"/>
                <a:gd name="connsiteY3" fmla="*/ 539865 h 679220"/>
                <a:gd name="connsiteX4" fmla="*/ 4194830 w 4227010"/>
                <a:gd name="connsiteY4" fmla="*/ 679220 h 679220"/>
                <a:gd name="connsiteX5" fmla="*/ 32180 w 4227010"/>
                <a:gd name="connsiteY5" fmla="*/ 679220 h 679220"/>
                <a:gd name="connsiteX6" fmla="*/ 10912 w 4227010"/>
                <a:gd name="connsiteY6" fmla="*/ 539865 h 679220"/>
                <a:gd name="connsiteX7" fmla="*/ 0 w 4227010"/>
                <a:gd name="connsiteY7" fmla="*/ 323771 h 679220"/>
                <a:gd name="connsiteX8" fmla="*/ 10912 w 4227010"/>
                <a:gd name="connsiteY8" fmla="*/ 107677 h 679220"/>
                <a:gd name="connsiteX9" fmla="*/ 27346 w 4227010"/>
                <a:gd name="connsiteY9" fmla="*/ 0 h 679220"/>
                <a:gd name="connsiteX0" fmla="*/ 4199665 w 4227010"/>
                <a:gd name="connsiteY0" fmla="*/ 0 h 679220"/>
                <a:gd name="connsiteX1" fmla="*/ 4216098 w 4227010"/>
                <a:gd name="connsiteY1" fmla="*/ 107677 h 679220"/>
                <a:gd name="connsiteX2" fmla="*/ 4227010 w 4227010"/>
                <a:gd name="connsiteY2" fmla="*/ 323771 h 679220"/>
                <a:gd name="connsiteX3" fmla="*/ 4216098 w 4227010"/>
                <a:gd name="connsiteY3" fmla="*/ 539865 h 679220"/>
                <a:gd name="connsiteX4" fmla="*/ 4194830 w 4227010"/>
                <a:gd name="connsiteY4" fmla="*/ 679220 h 679220"/>
                <a:gd name="connsiteX5" fmla="*/ 32180 w 4227010"/>
                <a:gd name="connsiteY5" fmla="*/ 679220 h 679220"/>
                <a:gd name="connsiteX6" fmla="*/ 10912 w 4227010"/>
                <a:gd name="connsiteY6" fmla="*/ 539865 h 679220"/>
                <a:gd name="connsiteX7" fmla="*/ 0 w 4227010"/>
                <a:gd name="connsiteY7" fmla="*/ 323771 h 679220"/>
                <a:gd name="connsiteX8" fmla="*/ 10912 w 4227010"/>
                <a:gd name="connsiteY8" fmla="*/ 107677 h 679220"/>
                <a:gd name="connsiteX0" fmla="*/ 4199665 w 4227010"/>
                <a:gd name="connsiteY0" fmla="*/ 0 h 679220"/>
                <a:gd name="connsiteX1" fmla="*/ 4216098 w 4227010"/>
                <a:gd name="connsiteY1" fmla="*/ 107677 h 679220"/>
                <a:gd name="connsiteX2" fmla="*/ 4227010 w 4227010"/>
                <a:gd name="connsiteY2" fmla="*/ 323771 h 679220"/>
                <a:gd name="connsiteX3" fmla="*/ 4216098 w 4227010"/>
                <a:gd name="connsiteY3" fmla="*/ 539865 h 679220"/>
                <a:gd name="connsiteX4" fmla="*/ 4194830 w 4227010"/>
                <a:gd name="connsiteY4" fmla="*/ 679220 h 679220"/>
                <a:gd name="connsiteX5" fmla="*/ 32180 w 4227010"/>
                <a:gd name="connsiteY5" fmla="*/ 679220 h 679220"/>
                <a:gd name="connsiteX6" fmla="*/ 10912 w 4227010"/>
                <a:gd name="connsiteY6" fmla="*/ 539865 h 679220"/>
                <a:gd name="connsiteX7" fmla="*/ 0 w 4227010"/>
                <a:gd name="connsiteY7" fmla="*/ 323771 h 679220"/>
                <a:gd name="connsiteX0" fmla="*/ 4188753 w 4216098"/>
                <a:gd name="connsiteY0" fmla="*/ 0 h 679220"/>
                <a:gd name="connsiteX1" fmla="*/ 4205186 w 4216098"/>
                <a:gd name="connsiteY1" fmla="*/ 107677 h 679220"/>
                <a:gd name="connsiteX2" fmla="*/ 4216098 w 4216098"/>
                <a:gd name="connsiteY2" fmla="*/ 323771 h 679220"/>
                <a:gd name="connsiteX3" fmla="*/ 4205186 w 4216098"/>
                <a:gd name="connsiteY3" fmla="*/ 539865 h 679220"/>
                <a:gd name="connsiteX4" fmla="*/ 4183918 w 4216098"/>
                <a:gd name="connsiteY4" fmla="*/ 679220 h 679220"/>
                <a:gd name="connsiteX5" fmla="*/ 21268 w 4216098"/>
                <a:gd name="connsiteY5" fmla="*/ 679220 h 679220"/>
                <a:gd name="connsiteX6" fmla="*/ 0 w 4216098"/>
                <a:gd name="connsiteY6" fmla="*/ 539865 h 679220"/>
                <a:gd name="connsiteX0" fmla="*/ 4167485 w 4194830"/>
                <a:gd name="connsiteY0" fmla="*/ 0 h 679220"/>
                <a:gd name="connsiteX1" fmla="*/ 4183918 w 4194830"/>
                <a:gd name="connsiteY1" fmla="*/ 107677 h 679220"/>
                <a:gd name="connsiteX2" fmla="*/ 4194830 w 4194830"/>
                <a:gd name="connsiteY2" fmla="*/ 323771 h 679220"/>
                <a:gd name="connsiteX3" fmla="*/ 4183918 w 4194830"/>
                <a:gd name="connsiteY3" fmla="*/ 539865 h 679220"/>
                <a:gd name="connsiteX4" fmla="*/ 4162650 w 4194830"/>
                <a:gd name="connsiteY4" fmla="*/ 679220 h 679220"/>
                <a:gd name="connsiteX5" fmla="*/ 0 w 4194830"/>
                <a:gd name="connsiteY5" fmla="*/ 679220 h 679220"/>
                <a:gd name="connsiteX0" fmla="*/ 4835 w 32180"/>
                <a:gd name="connsiteY0" fmla="*/ 0 h 679220"/>
                <a:gd name="connsiteX1" fmla="*/ 21268 w 32180"/>
                <a:gd name="connsiteY1" fmla="*/ 107677 h 679220"/>
                <a:gd name="connsiteX2" fmla="*/ 32180 w 32180"/>
                <a:gd name="connsiteY2" fmla="*/ 323771 h 679220"/>
                <a:gd name="connsiteX3" fmla="*/ 21268 w 32180"/>
                <a:gd name="connsiteY3" fmla="*/ 539865 h 679220"/>
                <a:gd name="connsiteX4" fmla="*/ 0 w 32180"/>
                <a:gd name="connsiteY4" fmla="*/ 679220 h 67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180" h="679220">
                  <a:moveTo>
                    <a:pt x="4835" y="0"/>
                  </a:moveTo>
                  <a:lnTo>
                    <a:pt x="21268" y="107677"/>
                  </a:lnTo>
                  <a:cubicBezTo>
                    <a:pt x="28484" y="178727"/>
                    <a:pt x="32180" y="250818"/>
                    <a:pt x="32180" y="323771"/>
                  </a:cubicBezTo>
                  <a:cubicBezTo>
                    <a:pt x="32180" y="396725"/>
                    <a:pt x="28484" y="468815"/>
                    <a:pt x="21268" y="539865"/>
                  </a:cubicBezTo>
                  <a:lnTo>
                    <a:pt x="0" y="679220"/>
                  </a:lnTo>
                </a:path>
              </a:pathLst>
            </a:cu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400"/>
            </a:p>
          </p:txBody>
        </p:sp>
        <p:sp>
          <p:nvSpPr>
            <p:cNvPr id="1053" name="Freeform: Shape 1052">
              <a:extLst>
                <a:ext uri="{FF2B5EF4-FFF2-40B4-BE49-F238E27FC236}">
                  <a16:creationId xmlns:a16="http://schemas.microsoft.com/office/drawing/2014/main" id="{664E1FA2-028C-EB55-C76F-A6E5F0758359}"/>
                </a:ext>
              </a:extLst>
            </p:cNvPr>
            <p:cNvSpPr/>
            <p:nvPr/>
          </p:nvSpPr>
          <p:spPr>
            <a:xfrm>
              <a:off x="8555427" y="2046791"/>
              <a:ext cx="2165292" cy="300788"/>
            </a:xfrm>
            <a:custGeom>
              <a:avLst/>
              <a:gdLst>
                <a:gd name="connsiteX0" fmla="*/ 1082646 w 2165292"/>
                <a:gd name="connsiteY0" fmla="*/ 0 h 300788"/>
                <a:gd name="connsiteX1" fmla="*/ 2090068 w 2165292"/>
                <a:gd name="connsiteY1" fmla="*/ 255089 h 300788"/>
                <a:gd name="connsiteX2" fmla="*/ 2165292 w 2165292"/>
                <a:gd name="connsiteY2" fmla="*/ 300788 h 300788"/>
                <a:gd name="connsiteX3" fmla="*/ 0 w 2165292"/>
                <a:gd name="connsiteY3" fmla="*/ 300788 h 300788"/>
                <a:gd name="connsiteX4" fmla="*/ 75224 w 2165292"/>
                <a:gd name="connsiteY4" fmla="*/ 255089 h 300788"/>
                <a:gd name="connsiteX5" fmla="*/ 1082646 w 2165292"/>
                <a:gd name="connsiteY5" fmla="*/ 0 h 300788"/>
                <a:gd name="connsiteX0" fmla="*/ 0 w 2165292"/>
                <a:gd name="connsiteY0" fmla="*/ 300788 h 392228"/>
                <a:gd name="connsiteX1" fmla="*/ 75224 w 2165292"/>
                <a:gd name="connsiteY1" fmla="*/ 255089 h 392228"/>
                <a:gd name="connsiteX2" fmla="*/ 1082646 w 2165292"/>
                <a:gd name="connsiteY2" fmla="*/ 0 h 392228"/>
                <a:gd name="connsiteX3" fmla="*/ 2090068 w 2165292"/>
                <a:gd name="connsiteY3" fmla="*/ 255089 h 392228"/>
                <a:gd name="connsiteX4" fmla="*/ 2165292 w 2165292"/>
                <a:gd name="connsiteY4" fmla="*/ 300788 h 392228"/>
                <a:gd name="connsiteX5" fmla="*/ 91440 w 2165292"/>
                <a:gd name="connsiteY5" fmla="*/ 392228 h 392228"/>
                <a:gd name="connsiteX0" fmla="*/ 0 w 2165292"/>
                <a:gd name="connsiteY0" fmla="*/ 300788 h 300788"/>
                <a:gd name="connsiteX1" fmla="*/ 75224 w 2165292"/>
                <a:gd name="connsiteY1" fmla="*/ 255089 h 300788"/>
                <a:gd name="connsiteX2" fmla="*/ 1082646 w 2165292"/>
                <a:gd name="connsiteY2" fmla="*/ 0 h 300788"/>
                <a:gd name="connsiteX3" fmla="*/ 2090068 w 2165292"/>
                <a:gd name="connsiteY3" fmla="*/ 255089 h 300788"/>
                <a:gd name="connsiteX4" fmla="*/ 2165292 w 2165292"/>
                <a:gd name="connsiteY4" fmla="*/ 300788 h 300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65292" h="300788">
                  <a:moveTo>
                    <a:pt x="0" y="300788"/>
                  </a:moveTo>
                  <a:lnTo>
                    <a:pt x="75224" y="255089"/>
                  </a:lnTo>
                  <a:cubicBezTo>
                    <a:pt x="374693" y="92407"/>
                    <a:pt x="717878" y="0"/>
                    <a:pt x="1082646" y="0"/>
                  </a:cubicBezTo>
                  <a:cubicBezTo>
                    <a:pt x="1447414" y="0"/>
                    <a:pt x="1790599" y="92407"/>
                    <a:pt x="2090068" y="255089"/>
                  </a:cubicBezTo>
                  <a:lnTo>
                    <a:pt x="2165292" y="300788"/>
                  </a:lnTo>
                </a:path>
              </a:pathLst>
            </a:cu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400"/>
            </a:p>
          </p:txBody>
        </p:sp>
        <p:sp>
          <p:nvSpPr>
            <p:cNvPr id="1047" name="Freeform: Shape 1046">
              <a:extLst>
                <a:ext uri="{FF2B5EF4-FFF2-40B4-BE49-F238E27FC236}">
                  <a16:creationId xmlns:a16="http://schemas.microsoft.com/office/drawing/2014/main" id="{623DAFDC-5E96-54C3-4D02-A34232153E9B}"/>
                </a:ext>
              </a:extLst>
            </p:cNvPr>
            <p:cNvSpPr/>
            <p:nvPr/>
          </p:nvSpPr>
          <p:spPr>
            <a:xfrm>
              <a:off x="8620490" y="6000775"/>
              <a:ext cx="2038558" cy="268263"/>
            </a:xfrm>
            <a:custGeom>
              <a:avLst/>
              <a:gdLst>
                <a:gd name="connsiteX0" fmla="*/ 0 w 2061002"/>
                <a:gd name="connsiteY0" fmla="*/ 0 h 269110"/>
                <a:gd name="connsiteX1" fmla="*/ 2061002 w 2061002"/>
                <a:gd name="connsiteY1" fmla="*/ 0 h 269110"/>
                <a:gd name="connsiteX2" fmla="*/ 2037923 w 2061002"/>
                <a:gd name="connsiteY2" fmla="*/ 14021 h 269110"/>
                <a:gd name="connsiteX3" fmla="*/ 1030501 w 2061002"/>
                <a:gd name="connsiteY3" fmla="*/ 269110 h 269110"/>
                <a:gd name="connsiteX4" fmla="*/ 23079 w 2061002"/>
                <a:gd name="connsiteY4" fmla="*/ 14021 h 269110"/>
                <a:gd name="connsiteX5" fmla="*/ 0 w 2061002"/>
                <a:gd name="connsiteY5" fmla="*/ 0 h 269110"/>
                <a:gd name="connsiteX0" fmla="*/ 0 w 2061002"/>
                <a:gd name="connsiteY0" fmla="*/ 0 h 269110"/>
                <a:gd name="connsiteX1" fmla="*/ 2061002 w 2061002"/>
                <a:gd name="connsiteY1" fmla="*/ 0 h 269110"/>
                <a:gd name="connsiteX2" fmla="*/ 2037923 w 2061002"/>
                <a:gd name="connsiteY2" fmla="*/ 14021 h 269110"/>
                <a:gd name="connsiteX3" fmla="*/ 1030501 w 2061002"/>
                <a:gd name="connsiteY3" fmla="*/ 269110 h 269110"/>
                <a:gd name="connsiteX4" fmla="*/ 23079 w 2061002"/>
                <a:gd name="connsiteY4" fmla="*/ 14021 h 269110"/>
                <a:gd name="connsiteX5" fmla="*/ 91440 w 2061002"/>
                <a:gd name="connsiteY5" fmla="*/ 91440 h 269110"/>
                <a:gd name="connsiteX0" fmla="*/ 0 w 2108627"/>
                <a:gd name="connsiteY0" fmla="*/ 0 h 540572"/>
                <a:gd name="connsiteX1" fmla="*/ 2108627 w 2108627"/>
                <a:gd name="connsiteY1" fmla="*/ 271462 h 540572"/>
                <a:gd name="connsiteX2" fmla="*/ 2085548 w 2108627"/>
                <a:gd name="connsiteY2" fmla="*/ 285483 h 540572"/>
                <a:gd name="connsiteX3" fmla="*/ 1078126 w 2108627"/>
                <a:gd name="connsiteY3" fmla="*/ 540572 h 540572"/>
                <a:gd name="connsiteX4" fmla="*/ 70704 w 2108627"/>
                <a:gd name="connsiteY4" fmla="*/ 285483 h 540572"/>
                <a:gd name="connsiteX5" fmla="*/ 139065 w 2108627"/>
                <a:gd name="connsiteY5" fmla="*/ 362902 h 540572"/>
                <a:gd name="connsiteX0" fmla="*/ 2038470 w 2038470"/>
                <a:gd name="connsiteY0" fmla="*/ 0 h 269110"/>
                <a:gd name="connsiteX1" fmla="*/ 2015391 w 2038470"/>
                <a:gd name="connsiteY1" fmla="*/ 14021 h 269110"/>
                <a:gd name="connsiteX2" fmla="*/ 1007969 w 2038470"/>
                <a:gd name="connsiteY2" fmla="*/ 269110 h 269110"/>
                <a:gd name="connsiteX3" fmla="*/ 547 w 2038470"/>
                <a:gd name="connsiteY3" fmla="*/ 14021 h 269110"/>
                <a:gd name="connsiteX4" fmla="*/ 68908 w 2038470"/>
                <a:gd name="connsiteY4" fmla="*/ 91440 h 269110"/>
                <a:gd name="connsiteX0" fmla="*/ 2037923 w 2037923"/>
                <a:gd name="connsiteY0" fmla="*/ 0 h 269110"/>
                <a:gd name="connsiteX1" fmla="*/ 2014844 w 2037923"/>
                <a:gd name="connsiteY1" fmla="*/ 14021 h 269110"/>
                <a:gd name="connsiteX2" fmla="*/ 1007422 w 2037923"/>
                <a:gd name="connsiteY2" fmla="*/ 269110 h 269110"/>
                <a:gd name="connsiteX3" fmla="*/ 0 w 2037923"/>
                <a:gd name="connsiteY3" fmla="*/ 14021 h 269110"/>
                <a:gd name="connsiteX0" fmla="*/ 2047490 w 2047490"/>
                <a:gd name="connsiteY0" fmla="*/ 328 h 269438"/>
                <a:gd name="connsiteX1" fmla="*/ 2024411 w 2047490"/>
                <a:gd name="connsiteY1" fmla="*/ 14349 h 269438"/>
                <a:gd name="connsiteX2" fmla="*/ 1016989 w 2047490"/>
                <a:gd name="connsiteY2" fmla="*/ 269438 h 269438"/>
                <a:gd name="connsiteX3" fmla="*/ 0 w 2047490"/>
                <a:gd name="connsiteY3" fmla="*/ 0 h 269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47490" h="269438">
                  <a:moveTo>
                    <a:pt x="2047490" y="328"/>
                  </a:moveTo>
                  <a:lnTo>
                    <a:pt x="2024411" y="14349"/>
                  </a:lnTo>
                  <a:cubicBezTo>
                    <a:pt x="1724942" y="177031"/>
                    <a:pt x="1381757" y="269438"/>
                    <a:pt x="1016989" y="269438"/>
                  </a:cubicBezTo>
                  <a:cubicBezTo>
                    <a:pt x="652221" y="269438"/>
                    <a:pt x="299469" y="162682"/>
                    <a:pt x="0" y="0"/>
                  </a:cubicBezTo>
                </a:path>
              </a:pathLst>
            </a:cu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400"/>
            </a:p>
          </p:txBody>
        </p:sp>
        <p:sp>
          <p:nvSpPr>
            <p:cNvPr id="1056" name="Freeform: Shape 1055">
              <a:extLst>
                <a:ext uri="{FF2B5EF4-FFF2-40B4-BE49-F238E27FC236}">
                  <a16:creationId xmlns:a16="http://schemas.microsoft.com/office/drawing/2014/main" id="{ED1C8ABC-B68B-1458-95BE-C34107B40929}"/>
                </a:ext>
              </a:extLst>
            </p:cNvPr>
            <p:cNvSpPr/>
            <p:nvPr/>
          </p:nvSpPr>
          <p:spPr>
            <a:xfrm flipH="1">
              <a:off x="7524568" y="3836525"/>
              <a:ext cx="32180" cy="679220"/>
            </a:xfrm>
            <a:custGeom>
              <a:avLst/>
              <a:gdLst>
                <a:gd name="connsiteX0" fmla="*/ 27346 w 4227010"/>
                <a:gd name="connsiteY0" fmla="*/ 0 h 679220"/>
                <a:gd name="connsiteX1" fmla="*/ 4199665 w 4227010"/>
                <a:gd name="connsiteY1" fmla="*/ 0 h 679220"/>
                <a:gd name="connsiteX2" fmla="*/ 4216098 w 4227010"/>
                <a:gd name="connsiteY2" fmla="*/ 107677 h 679220"/>
                <a:gd name="connsiteX3" fmla="*/ 4227010 w 4227010"/>
                <a:gd name="connsiteY3" fmla="*/ 323771 h 679220"/>
                <a:gd name="connsiteX4" fmla="*/ 4216098 w 4227010"/>
                <a:gd name="connsiteY4" fmla="*/ 539865 h 679220"/>
                <a:gd name="connsiteX5" fmla="*/ 4194830 w 4227010"/>
                <a:gd name="connsiteY5" fmla="*/ 679220 h 679220"/>
                <a:gd name="connsiteX6" fmla="*/ 32180 w 4227010"/>
                <a:gd name="connsiteY6" fmla="*/ 679220 h 679220"/>
                <a:gd name="connsiteX7" fmla="*/ 10912 w 4227010"/>
                <a:gd name="connsiteY7" fmla="*/ 539865 h 679220"/>
                <a:gd name="connsiteX8" fmla="*/ 0 w 4227010"/>
                <a:gd name="connsiteY8" fmla="*/ 323771 h 679220"/>
                <a:gd name="connsiteX9" fmla="*/ 10912 w 4227010"/>
                <a:gd name="connsiteY9" fmla="*/ 107677 h 679220"/>
                <a:gd name="connsiteX10" fmla="*/ 27346 w 4227010"/>
                <a:gd name="connsiteY10" fmla="*/ 0 h 679220"/>
                <a:gd name="connsiteX0" fmla="*/ 4199665 w 4291105"/>
                <a:gd name="connsiteY0" fmla="*/ 0 h 679220"/>
                <a:gd name="connsiteX1" fmla="*/ 4216098 w 4291105"/>
                <a:gd name="connsiteY1" fmla="*/ 107677 h 679220"/>
                <a:gd name="connsiteX2" fmla="*/ 4227010 w 4291105"/>
                <a:gd name="connsiteY2" fmla="*/ 323771 h 679220"/>
                <a:gd name="connsiteX3" fmla="*/ 4216098 w 4291105"/>
                <a:gd name="connsiteY3" fmla="*/ 539865 h 679220"/>
                <a:gd name="connsiteX4" fmla="*/ 4194830 w 4291105"/>
                <a:gd name="connsiteY4" fmla="*/ 679220 h 679220"/>
                <a:gd name="connsiteX5" fmla="*/ 32180 w 4291105"/>
                <a:gd name="connsiteY5" fmla="*/ 679220 h 679220"/>
                <a:gd name="connsiteX6" fmla="*/ 10912 w 4291105"/>
                <a:gd name="connsiteY6" fmla="*/ 539865 h 679220"/>
                <a:gd name="connsiteX7" fmla="*/ 0 w 4291105"/>
                <a:gd name="connsiteY7" fmla="*/ 323771 h 679220"/>
                <a:gd name="connsiteX8" fmla="*/ 10912 w 4291105"/>
                <a:gd name="connsiteY8" fmla="*/ 107677 h 679220"/>
                <a:gd name="connsiteX9" fmla="*/ 27346 w 4291105"/>
                <a:gd name="connsiteY9" fmla="*/ 0 h 679220"/>
                <a:gd name="connsiteX10" fmla="*/ 4291105 w 4291105"/>
                <a:gd name="connsiteY10" fmla="*/ 91440 h 679220"/>
                <a:gd name="connsiteX0" fmla="*/ 4199665 w 4227010"/>
                <a:gd name="connsiteY0" fmla="*/ 0 h 679220"/>
                <a:gd name="connsiteX1" fmla="*/ 4216098 w 4227010"/>
                <a:gd name="connsiteY1" fmla="*/ 107677 h 679220"/>
                <a:gd name="connsiteX2" fmla="*/ 4227010 w 4227010"/>
                <a:gd name="connsiteY2" fmla="*/ 323771 h 679220"/>
                <a:gd name="connsiteX3" fmla="*/ 4216098 w 4227010"/>
                <a:gd name="connsiteY3" fmla="*/ 539865 h 679220"/>
                <a:gd name="connsiteX4" fmla="*/ 4194830 w 4227010"/>
                <a:gd name="connsiteY4" fmla="*/ 679220 h 679220"/>
                <a:gd name="connsiteX5" fmla="*/ 32180 w 4227010"/>
                <a:gd name="connsiteY5" fmla="*/ 679220 h 679220"/>
                <a:gd name="connsiteX6" fmla="*/ 10912 w 4227010"/>
                <a:gd name="connsiteY6" fmla="*/ 539865 h 679220"/>
                <a:gd name="connsiteX7" fmla="*/ 0 w 4227010"/>
                <a:gd name="connsiteY7" fmla="*/ 323771 h 679220"/>
                <a:gd name="connsiteX8" fmla="*/ 10912 w 4227010"/>
                <a:gd name="connsiteY8" fmla="*/ 107677 h 679220"/>
                <a:gd name="connsiteX9" fmla="*/ 27346 w 4227010"/>
                <a:gd name="connsiteY9" fmla="*/ 0 h 679220"/>
                <a:gd name="connsiteX0" fmla="*/ 4199665 w 4227010"/>
                <a:gd name="connsiteY0" fmla="*/ 0 h 679220"/>
                <a:gd name="connsiteX1" fmla="*/ 4216098 w 4227010"/>
                <a:gd name="connsiteY1" fmla="*/ 107677 h 679220"/>
                <a:gd name="connsiteX2" fmla="*/ 4227010 w 4227010"/>
                <a:gd name="connsiteY2" fmla="*/ 323771 h 679220"/>
                <a:gd name="connsiteX3" fmla="*/ 4216098 w 4227010"/>
                <a:gd name="connsiteY3" fmla="*/ 539865 h 679220"/>
                <a:gd name="connsiteX4" fmla="*/ 4194830 w 4227010"/>
                <a:gd name="connsiteY4" fmla="*/ 679220 h 679220"/>
                <a:gd name="connsiteX5" fmla="*/ 32180 w 4227010"/>
                <a:gd name="connsiteY5" fmla="*/ 679220 h 679220"/>
                <a:gd name="connsiteX6" fmla="*/ 10912 w 4227010"/>
                <a:gd name="connsiteY6" fmla="*/ 539865 h 679220"/>
                <a:gd name="connsiteX7" fmla="*/ 0 w 4227010"/>
                <a:gd name="connsiteY7" fmla="*/ 323771 h 679220"/>
                <a:gd name="connsiteX8" fmla="*/ 10912 w 4227010"/>
                <a:gd name="connsiteY8" fmla="*/ 107677 h 679220"/>
                <a:gd name="connsiteX0" fmla="*/ 4199665 w 4227010"/>
                <a:gd name="connsiteY0" fmla="*/ 0 h 679220"/>
                <a:gd name="connsiteX1" fmla="*/ 4216098 w 4227010"/>
                <a:gd name="connsiteY1" fmla="*/ 107677 h 679220"/>
                <a:gd name="connsiteX2" fmla="*/ 4227010 w 4227010"/>
                <a:gd name="connsiteY2" fmla="*/ 323771 h 679220"/>
                <a:gd name="connsiteX3" fmla="*/ 4216098 w 4227010"/>
                <a:gd name="connsiteY3" fmla="*/ 539865 h 679220"/>
                <a:gd name="connsiteX4" fmla="*/ 4194830 w 4227010"/>
                <a:gd name="connsiteY4" fmla="*/ 679220 h 679220"/>
                <a:gd name="connsiteX5" fmla="*/ 32180 w 4227010"/>
                <a:gd name="connsiteY5" fmla="*/ 679220 h 679220"/>
                <a:gd name="connsiteX6" fmla="*/ 10912 w 4227010"/>
                <a:gd name="connsiteY6" fmla="*/ 539865 h 679220"/>
                <a:gd name="connsiteX7" fmla="*/ 0 w 4227010"/>
                <a:gd name="connsiteY7" fmla="*/ 323771 h 679220"/>
                <a:gd name="connsiteX0" fmla="*/ 4188753 w 4216098"/>
                <a:gd name="connsiteY0" fmla="*/ 0 h 679220"/>
                <a:gd name="connsiteX1" fmla="*/ 4205186 w 4216098"/>
                <a:gd name="connsiteY1" fmla="*/ 107677 h 679220"/>
                <a:gd name="connsiteX2" fmla="*/ 4216098 w 4216098"/>
                <a:gd name="connsiteY2" fmla="*/ 323771 h 679220"/>
                <a:gd name="connsiteX3" fmla="*/ 4205186 w 4216098"/>
                <a:gd name="connsiteY3" fmla="*/ 539865 h 679220"/>
                <a:gd name="connsiteX4" fmla="*/ 4183918 w 4216098"/>
                <a:gd name="connsiteY4" fmla="*/ 679220 h 679220"/>
                <a:gd name="connsiteX5" fmla="*/ 21268 w 4216098"/>
                <a:gd name="connsiteY5" fmla="*/ 679220 h 679220"/>
                <a:gd name="connsiteX6" fmla="*/ 0 w 4216098"/>
                <a:gd name="connsiteY6" fmla="*/ 539865 h 679220"/>
                <a:gd name="connsiteX0" fmla="*/ 4167485 w 4194830"/>
                <a:gd name="connsiteY0" fmla="*/ 0 h 679220"/>
                <a:gd name="connsiteX1" fmla="*/ 4183918 w 4194830"/>
                <a:gd name="connsiteY1" fmla="*/ 107677 h 679220"/>
                <a:gd name="connsiteX2" fmla="*/ 4194830 w 4194830"/>
                <a:gd name="connsiteY2" fmla="*/ 323771 h 679220"/>
                <a:gd name="connsiteX3" fmla="*/ 4183918 w 4194830"/>
                <a:gd name="connsiteY3" fmla="*/ 539865 h 679220"/>
                <a:gd name="connsiteX4" fmla="*/ 4162650 w 4194830"/>
                <a:gd name="connsiteY4" fmla="*/ 679220 h 679220"/>
                <a:gd name="connsiteX5" fmla="*/ 0 w 4194830"/>
                <a:gd name="connsiteY5" fmla="*/ 679220 h 679220"/>
                <a:gd name="connsiteX0" fmla="*/ 4835 w 32180"/>
                <a:gd name="connsiteY0" fmla="*/ 0 h 679220"/>
                <a:gd name="connsiteX1" fmla="*/ 21268 w 32180"/>
                <a:gd name="connsiteY1" fmla="*/ 107677 h 679220"/>
                <a:gd name="connsiteX2" fmla="*/ 32180 w 32180"/>
                <a:gd name="connsiteY2" fmla="*/ 323771 h 679220"/>
                <a:gd name="connsiteX3" fmla="*/ 21268 w 32180"/>
                <a:gd name="connsiteY3" fmla="*/ 539865 h 679220"/>
                <a:gd name="connsiteX4" fmla="*/ 0 w 32180"/>
                <a:gd name="connsiteY4" fmla="*/ 679220 h 679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2180" h="679220">
                  <a:moveTo>
                    <a:pt x="4835" y="0"/>
                  </a:moveTo>
                  <a:lnTo>
                    <a:pt x="21268" y="107677"/>
                  </a:lnTo>
                  <a:cubicBezTo>
                    <a:pt x="28484" y="178727"/>
                    <a:pt x="32180" y="250818"/>
                    <a:pt x="32180" y="323771"/>
                  </a:cubicBezTo>
                  <a:cubicBezTo>
                    <a:pt x="32180" y="396725"/>
                    <a:pt x="28484" y="468815"/>
                    <a:pt x="21268" y="539865"/>
                  </a:cubicBezTo>
                  <a:lnTo>
                    <a:pt x="0" y="679220"/>
                  </a:lnTo>
                </a:path>
              </a:pathLst>
            </a:custGeom>
            <a:noFill/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 sz="1400"/>
            </a:p>
          </p:txBody>
        </p:sp>
        <p:grpSp>
          <p:nvGrpSpPr>
            <p:cNvPr id="1072" name="Group 1071">
              <a:extLst>
                <a:ext uri="{FF2B5EF4-FFF2-40B4-BE49-F238E27FC236}">
                  <a16:creationId xmlns:a16="http://schemas.microsoft.com/office/drawing/2014/main" id="{138B0212-16F6-E41A-6AEC-35B67C299F39}"/>
                </a:ext>
              </a:extLst>
            </p:cNvPr>
            <p:cNvGrpSpPr/>
            <p:nvPr/>
          </p:nvGrpSpPr>
          <p:grpSpPr>
            <a:xfrm>
              <a:off x="8037385" y="2455039"/>
              <a:ext cx="3201374" cy="3065022"/>
              <a:chOff x="6282735" y="2249376"/>
              <a:chExt cx="4203456" cy="4024424"/>
            </a:xfrm>
          </p:grpSpPr>
          <p:sp>
            <p:nvSpPr>
              <p:cNvPr id="20" name="Oval 5">
                <a:extLst>
                  <a:ext uri="{FF2B5EF4-FFF2-40B4-BE49-F238E27FC236}">
                    <a16:creationId xmlns:a16="http://schemas.microsoft.com/office/drawing/2014/main" id="{05782FBE-2985-0A91-17AB-4F313112786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82735" y="6012259"/>
                <a:ext cx="4203456" cy="26154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endParaRPr lang="da-DK" sz="1350"/>
              </a:p>
            </p:txBody>
          </p:sp>
          <p:sp>
            <p:nvSpPr>
              <p:cNvPr id="21" name="Freeform 6">
                <a:extLst>
                  <a:ext uri="{FF2B5EF4-FFF2-40B4-BE49-F238E27FC236}">
                    <a16:creationId xmlns:a16="http://schemas.microsoft.com/office/drawing/2014/main" id="{FB8EA7A2-7A63-A8E7-52D8-D3546F0DCE7C}"/>
                  </a:ext>
                </a:extLst>
              </p:cNvPr>
              <p:cNvSpPr/>
              <p:nvPr/>
            </p:nvSpPr>
            <p:spPr bwMode="auto">
              <a:xfrm>
                <a:off x="6740041" y="4212791"/>
                <a:ext cx="1028938" cy="1030505"/>
              </a:xfrm>
              <a:custGeom>
                <a:avLst/>
                <a:gdLst>
                  <a:gd name="T0" fmla="*/ 0 w 657"/>
                  <a:gd name="T1" fmla="*/ 635 h 658"/>
                  <a:gd name="T2" fmla="*/ 634 w 657"/>
                  <a:gd name="T3" fmla="*/ 0 h 658"/>
                  <a:gd name="T4" fmla="*/ 657 w 657"/>
                  <a:gd name="T5" fmla="*/ 23 h 658"/>
                  <a:gd name="T6" fmla="*/ 22 w 657"/>
                  <a:gd name="T7" fmla="*/ 658 h 658"/>
                  <a:gd name="T8" fmla="*/ 0 w 657"/>
                  <a:gd name="T9" fmla="*/ 635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7" h="658">
                    <a:moveTo>
                      <a:pt x="0" y="635"/>
                    </a:moveTo>
                    <a:lnTo>
                      <a:pt x="634" y="0"/>
                    </a:lnTo>
                    <a:lnTo>
                      <a:pt x="657" y="23"/>
                    </a:lnTo>
                    <a:lnTo>
                      <a:pt x="22" y="658"/>
                    </a:lnTo>
                    <a:lnTo>
                      <a:pt x="0" y="635"/>
                    </a:lnTo>
                    <a:close/>
                  </a:path>
                </a:pathLst>
              </a:cu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endParaRPr lang="da-DK" sz="1350"/>
              </a:p>
            </p:txBody>
          </p:sp>
          <p:sp>
            <p:nvSpPr>
              <p:cNvPr id="22" name="Freeform 7">
                <a:extLst>
                  <a:ext uri="{FF2B5EF4-FFF2-40B4-BE49-F238E27FC236}">
                    <a16:creationId xmlns:a16="http://schemas.microsoft.com/office/drawing/2014/main" id="{B113CE93-49BB-E9A2-0CAD-F1AC85409D9B}"/>
                  </a:ext>
                </a:extLst>
              </p:cNvPr>
              <p:cNvSpPr/>
              <p:nvPr/>
            </p:nvSpPr>
            <p:spPr bwMode="auto">
              <a:xfrm>
                <a:off x="8993683" y="4212791"/>
                <a:ext cx="1027373" cy="1030505"/>
              </a:xfrm>
              <a:custGeom>
                <a:avLst/>
                <a:gdLst>
                  <a:gd name="T0" fmla="*/ 656 w 656"/>
                  <a:gd name="T1" fmla="*/ 635 h 658"/>
                  <a:gd name="T2" fmla="*/ 23 w 656"/>
                  <a:gd name="T3" fmla="*/ 0 h 658"/>
                  <a:gd name="T4" fmla="*/ 0 w 656"/>
                  <a:gd name="T5" fmla="*/ 23 h 658"/>
                  <a:gd name="T6" fmla="*/ 634 w 656"/>
                  <a:gd name="T7" fmla="*/ 658 h 658"/>
                  <a:gd name="T8" fmla="*/ 656 w 656"/>
                  <a:gd name="T9" fmla="*/ 635 h 6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56" h="658">
                    <a:moveTo>
                      <a:pt x="656" y="635"/>
                    </a:moveTo>
                    <a:lnTo>
                      <a:pt x="23" y="0"/>
                    </a:lnTo>
                    <a:lnTo>
                      <a:pt x="0" y="23"/>
                    </a:lnTo>
                    <a:lnTo>
                      <a:pt x="634" y="658"/>
                    </a:lnTo>
                    <a:lnTo>
                      <a:pt x="656" y="635"/>
                    </a:lnTo>
                    <a:close/>
                  </a:path>
                </a:pathLst>
              </a:cu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endParaRPr lang="da-DK" sz="1350"/>
              </a:p>
            </p:txBody>
          </p:sp>
          <p:sp>
            <p:nvSpPr>
              <p:cNvPr id="23" name="Rectangle 8">
                <a:extLst>
                  <a:ext uri="{FF2B5EF4-FFF2-40B4-BE49-F238E27FC236}">
                    <a16:creationId xmlns:a16="http://schemas.microsoft.com/office/drawing/2014/main" id="{7A4C8949-C3C1-1A7D-25D6-265480A77FE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29080" y="4208091"/>
                <a:ext cx="51682" cy="1924758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endParaRPr lang="da-DK" sz="1350"/>
              </a:p>
            </p:txBody>
          </p:sp>
          <p:sp>
            <p:nvSpPr>
              <p:cNvPr id="24" name="Rectangle 9">
                <a:extLst>
                  <a:ext uri="{FF2B5EF4-FFF2-40B4-BE49-F238E27FC236}">
                    <a16:creationId xmlns:a16="http://schemas.microsoft.com/office/drawing/2014/main" id="{3A31E95B-BD36-7417-6317-F08E4E7CF14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5856" y="4206525"/>
                <a:ext cx="51682" cy="1926325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endParaRPr lang="da-DK" sz="1350"/>
              </a:p>
            </p:txBody>
          </p:sp>
          <p:sp>
            <p:nvSpPr>
              <p:cNvPr id="25" name="Rectangle 10">
                <a:extLst>
                  <a:ext uri="{FF2B5EF4-FFF2-40B4-BE49-F238E27FC236}">
                    <a16:creationId xmlns:a16="http://schemas.microsoft.com/office/drawing/2014/main" id="{8AA33A4A-EAA4-D87A-3BAE-AAC6767139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5854" y="4444575"/>
                <a:ext cx="338281" cy="50116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endParaRPr lang="da-DK" sz="1350"/>
              </a:p>
            </p:txBody>
          </p:sp>
          <p:sp>
            <p:nvSpPr>
              <p:cNvPr id="26" name="Rectangle 12">
                <a:extLst>
                  <a:ext uri="{FF2B5EF4-FFF2-40B4-BE49-F238E27FC236}">
                    <a16:creationId xmlns:a16="http://schemas.microsoft.com/office/drawing/2014/main" id="{B8945946-C6DF-D283-05EB-F22A91574E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5854" y="4868994"/>
                <a:ext cx="338281" cy="51682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endParaRPr lang="da-DK" sz="1350"/>
              </a:p>
            </p:txBody>
          </p:sp>
          <p:sp>
            <p:nvSpPr>
              <p:cNvPr id="27" name="Rectangle 14">
                <a:extLst>
                  <a:ext uri="{FF2B5EF4-FFF2-40B4-BE49-F238E27FC236}">
                    <a16:creationId xmlns:a16="http://schemas.microsoft.com/office/drawing/2014/main" id="{0E81C80E-AAA7-16AE-FB45-58F421B2765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5854" y="5291846"/>
                <a:ext cx="338281" cy="51682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endParaRPr lang="da-DK" sz="1350"/>
              </a:p>
            </p:txBody>
          </p:sp>
          <p:sp>
            <p:nvSpPr>
              <p:cNvPr id="28" name="Rectangle 16">
                <a:extLst>
                  <a:ext uri="{FF2B5EF4-FFF2-40B4-BE49-F238E27FC236}">
                    <a16:creationId xmlns:a16="http://schemas.microsoft.com/office/drawing/2014/main" id="{FDD40DCD-2E25-8B5D-15FB-6765AF457A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5854" y="5717829"/>
                <a:ext cx="338281" cy="51682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endParaRPr lang="da-DK" sz="1350"/>
              </a:p>
            </p:txBody>
          </p:sp>
          <p:sp>
            <p:nvSpPr>
              <p:cNvPr id="29" name="Rectangle 18">
                <a:extLst>
                  <a:ext uri="{FF2B5EF4-FFF2-40B4-BE49-F238E27FC236}">
                    <a16:creationId xmlns:a16="http://schemas.microsoft.com/office/drawing/2014/main" id="{AB6F5381-B588-D588-45CA-97296F84BA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980337" y="4206525"/>
                <a:ext cx="51682" cy="1926325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endParaRPr lang="da-DK" sz="1350"/>
              </a:p>
            </p:txBody>
          </p:sp>
          <p:sp>
            <p:nvSpPr>
              <p:cNvPr id="30" name="Rectangle 19">
                <a:extLst>
                  <a:ext uri="{FF2B5EF4-FFF2-40B4-BE49-F238E27FC236}">
                    <a16:creationId xmlns:a16="http://schemas.microsoft.com/office/drawing/2014/main" id="{2420DA4A-49D8-FFD8-5DEC-206A594282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293560" y="4206525"/>
                <a:ext cx="51682" cy="1926325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endParaRPr lang="da-DK" sz="1350"/>
              </a:p>
            </p:txBody>
          </p:sp>
          <p:sp>
            <p:nvSpPr>
              <p:cNvPr id="31" name="Rectangle 20">
                <a:extLst>
                  <a:ext uri="{FF2B5EF4-FFF2-40B4-BE49-F238E27FC236}">
                    <a16:creationId xmlns:a16="http://schemas.microsoft.com/office/drawing/2014/main" id="{E56E8D21-0E65-F489-2185-7491BF4888F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06959" y="4444575"/>
                <a:ext cx="338281" cy="50116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endParaRPr lang="da-DK" sz="1350"/>
              </a:p>
            </p:txBody>
          </p:sp>
          <p:sp>
            <p:nvSpPr>
              <p:cNvPr id="32" name="Rectangle 22">
                <a:extLst>
                  <a:ext uri="{FF2B5EF4-FFF2-40B4-BE49-F238E27FC236}">
                    <a16:creationId xmlns:a16="http://schemas.microsoft.com/office/drawing/2014/main" id="{A7F9145B-3E6F-E94C-FD67-7A9317B8DD4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06959" y="4868994"/>
                <a:ext cx="338281" cy="51682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endParaRPr lang="da-DK" sz="1350"/>
              </a:p>
            </p:txBody>
          </p:sp>
          <p:sp>
            <p:nvSpPr>
              <p:cNvPr id="33" name="Rectangle 24">
                <a:extLst>
                  <a:ext uri="{FF2B5EF4-FFF2-40B4-BE49-F238E27FC236}">
                    <a16:creationId xmlns:a16="http://schemas.microsoft.com/office/drawing/2014/main" id="{312BE8D6-1FF4-908E-3C9E-25A37E014E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06959" y="5291846"/>
                <a:ext cx="338281" cy="51682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endParaRPr lang="da-DK" sz="1350"/>
              </a:p>
            </p:txBody>
          </p:sp>
          <p:sp>
            <p:nvSpPr>
              <p:cNvPr id="34" name="Rectangle 26">
                <a:extLst>
                  <a:ext uri="{FF2B5EF4-FFF2-40B4-BE49-F238E27FC236}">
                    <a16:creationId xmlns:a16="http://schemas.microsoft.com/office/drawing/2014/main" id="{FAA0447E-0258-5961-E0BB-A1D3369FD8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006959" y="5717829"/>
                <a:ext cx="338281" cy="51682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endParaRPr lang="da-DK" sz="1350"/>
              </a:p>
            </p:txBody>
          </p:sp>
          <p:sp>
            <p:nvSpPr>
              <p:cNvPr id="35" name="Rectangle 28">
                <a:extLst>
                  <a:ext uri="{FF2B5EF4-FFF2-40B4-BE49-F238E27FC236}">
                    <a16:creationId xmlns:a16="http://schemas.microsoft.com/office/drawing/2014/main" id="{4BFA257F-A976-10EA-404A-B766F4B2C3D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415854" y="4206525"/>
                <a:ext cx="3929385" cy="50116"/>
              </a:xfrm>
              <a:prstGeom prst="rect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da-DK"/>
                </a:defPPr>
                <a:lvl1pPr marL="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ysClr val="windowText" lastClr="000000"/>
                    </a:solidFill>
                    <a:latin typeface="Calibri" panose="020F0502020204030204"/>
                  </a:defRPr>
                </a:lvl9pPr>
              </a:lstStyle>
              <a:p>
                <a:endParaRPr lang="da-DK" sz="1350"/>
              </a:p>
            </p:txBody>
          </p:sp>
          <p:grpSp>
            <p:nvGrpSpPr>
              <p:cNvPr id="1061" name="Group 1060">
                <a:extLst>
                  <a:ext uri="{FF2B5EF4-FFF2-40B4-BE49-F238E27FC236}">
                    <a16:creationId xmlns:a16="http://schemas.microsoft.com/office/drawing/2014/main" id="{A9CFA7F2-CC8F-F381-B202-F85D9F6CCC4E}"/>
                  </a:ext>
                </a:extLst>
              </p:cNvPr>
              <p:cNvGrpSpPr/>
              <p:nvPr/>
            </p:nvGrpSpPr>
            <p:grpSpPr>
              <a:xfrm>
                <a:off x="6644508" y="4682626"/>
                <a:ext cx="624879" cy="1450222"/>
                <a:chOff x="6900006" y="4682626"/>
                <a:chExt cx="624879" cy="1450222"/>
              </a:xfrm>
            </p:grpSpPr>
            <p:sp>
              <p:nvSpPr>
                <p:cNvPr id="65" name="Freeform 77">
                  <a:extLst>
                    <a:ext uri="{FF2B5EF4-FFF2-40B4-BE49-F238E27FC236}">
                      <a16:creationId xmlns:a16="http://schemas.microsoft.com/office/drawing/2014/main" id="{F4CFE6BD-E3DB-4BAE-0820-7A432CFF8A4A}"/>
                    </a:ext>
                  </a:extLst>
                </p:cNvPr>
                <p:cNvSpPr/>
                <p:nvPr/>
              </p:nvSpPr>
              <p:spPr bwMode="auto">
                <a:xfrm>
                  <a:off x="7125527" y="4726476"/>
                  <a:ext cx="397794" cy="438513"/>
                </a:xfrm>
                <a:custGeom>
                  <a:avLst/>
                  <a:gdLst>
                    <a:gd name="T0" fmla="*/ 146 w 155"/>
                    <a:gd name="T1" fmla="*/ 4 h 171"/>
                    <a:gd name="T2" fmla="*/ 141 w 155"/>
                    <a:gd name="T3" fmla="*/ 16 h 171"/>
                    <a:gd name="T4" fmla="*/ 151 w 155"/>
                    <a:gd name="T5" fmla="*/ 10 h 171"/>
                    <a:gd name="T6" fmla="*/ 154 w 155"/>
                    <a:gd name="T7" fmla="*/ 14 h 171"/>
                    <a:gd name="T8" fmla="*/ 150 w 155"/>
                    <a:gd name="T9" fmla="*/ 21 h 171"/>
                    <a:gd name="T10" fmla="*/ 146 w 155"/>
                    <a:gd name="T11" fmla="*/ 35 h 171"/>
                    <a:gd name="T12" fmla="*/ 146 w 155"/>
                    <a:gd name="T13" fmla="*/ 35 h 171"/>
                    <a:gd name="T14" fmla="*/ 19 w 155"/>
                    <a:gd name="T15" fmla="*/ 170 h 171"/>
                    <a:gd name="T16" fmla="*/ 1 w 155"/>
                    <a:gd name="T17" fmla="*/ 152 h 171"/>
                    <a:gd name="T18" fmla="*/ 13 w 155"/>
                    <a:gd name="T19" fmla="*/ 138 h 171"/>
                    <a:gd name="T20" fmla="*/ 48 w 155"/>
                    <a:gd name="T21" fmla="*/ 123 h 171"/>
                    <a:gd name="T22" fmla="*/ 115 w 155"/>
                    <a:gd name="T23" fmla="*/ 41 h 171"/>
                    <a:gd name="T24" fmla="*/ 116 w 155"/>
                    <a:gd name="T25" fmla="*/ 36 h 171"/>
                    <a:gd name="T26" fmla="*/ 108 w 155"/>
                    <a:gd name="T27" fmla="*/ 28 h 171"/>
                    <a:gd name="T28" fmla="*/ 107 w 155"/>
                    <a:gd name="T29" fmla="*/ 24 h 171"/>
                    <a:gd name="T30" fmla="*/ 108 w 155"/>
                    <a:gd name="T31" fmla="*/ 20 h 171"/>
                    <a:gd name="T32" fmla="*/ 111 w 155"/>
                    <a:gd name="T33" fmla="*/ 20 h 171"/>
                    <a:gd name="T34" fmla="*/ 116 w 155"/>
                    <a:gd name="T35" fmla="*/ 21 h 171"/>
                    <a:gd name="T36" fmla="*/ 120 w 155"/>
                    <a:gd name="T37" fmla="*/ 19 h 171"/>
                    <a:gd name="T38" fmla="*/ 121 w 155"/>
                    <a:gd name="T39" fmla="*/ 17 h 171"/>
                    <a:gd name="T40" fmla="*/ 126 w 155"/>
                    <a:gd name="T41" fmla="*/ 4 h 171"/>
                    <a:gd name="T42" fmla="*/ 130 w 155"/>
                    <a:gd name="T43" fmla="*/ 0 h 171"/>
                    <a:gd name="T44" fmla="*/ 131 w 155"/>
                    <a:gd name="T45" fmla="*/ 6 h 171"/>
                    <a:gd name="T46" fmla="*/ 130 w 155"/>
                    <a:gd name="T47" fmla="*/ 13 h 171"/>
                    <a:gd name="T48" fmla="*/ 139 w 155"/>
                    <a:gd name="T49" fmla="*/ 4 h 171"/>
                    <a:gd name="T50" fmla="*/ 142 w 155"/>
                    <a:gd name="T51" fmla="*/ 1 h 171"/>
                    <a:gd name="T52" fmla="*/ 146 w 155"/>
                    <a:gd name="T53" fmla="*/ 4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55" h="171">
                      <a:moveTo>
                        <a:pt x="146" y="4"/>
                      </a:moveTo>
                      <a:cubicBezTo>
                        <a:pt x="145" y="8"/>
                        <a:pt x="141" y="12"/>
                        <a:pt x="141" y="16"/>
                      </a:cubicBezTo>
                      <a:cubicBezTo>
                        <a:pt x="144" y="14"/>
                        <a:pt x="147" y="11"/>
                        <a:pt x="151" y="10"/>
                      </a:cubicBezTo>
                      <a:cubicBezTo>
                        <a:pt x="153" y="9"/>
                        <a:pt x="155" y="12"/>
                        <a:pt x="154" y="14"/>
                      </a:cubicBezTo>
                      <a:cubicBezTo>
                        <a:pt x="153" y="16"/>
                        <a:pt x="151" y="19"/>
                        <a:pt x="150" y="21"/>
                      </a:cubicBezTo>
                      <a:cubicBezTo>
                        <a:pt x="148" y="25"/>
                        <a:pt x="148" y="31"/>
                        <a:pt x="146" y="35"/>
                      </a:cubicBezTo>
                      <a:cubicBezTo>
                        <a:pt x="146" y="35"/>
                        <a:pt x="146" y="35"/>
                        <a:pt x="146" y="35"/>
                      </a:cubicBezTo>
                      <a:cubicBezTo>
                        <a:pt x="148" y="57"/>
                        <a:pt x="109" y="160"/>
                        <a:pt x="19" y="170"/>
                      </a:cubicBezTo>
                      <a:cubicBezTo>
                        <a:pt x="9" y="171"/>
                        <a:pt x="0" y="163"/>
                        <a:pt x="1" y="152"/>
                      </a:cubicBezTo>
                      <a:cubicBezTo>
                        <a:pt x="2" y="146"/>
                        <a:pt x="6" y="140"/>
                        <a:pt x="13" y="138"/>
                      </a:cubicBezTo>
                      <a:cubicBezTo>
                        <a:pt x="21" y="136"/>
                        <a:pt x="34" y="131"/>
                        <a:pt x="48" y="123"/>
                      </a:cubicBezTo>
                      <a:cubicBezTo>
                        <a:pt x="72" y="109"/>
                        <a:pt x="100" y="84"/>
                        <a:pt x="115" y="41"/>
                      </a:cubicBezTo>
                      <a:cubicBezTo>
                        <a:pt x="115" y="39"/>
                        <a:pt x="116" y="38"/>
                        <a:pt x="116" y="36"/>
                      </a:cubicBezTo>
                      <a:cubicBezTo>
                        <a:pt x="113" y="33"/>
                        <a:pt x="110" y="31"/>
                        <a:pt x="108" y="28"/>
                      </a:cubicBezTo>
                      <a:cubicBezTo>
                        <a:pt x="107" y="27"/>
                        <a:pt x="107" y="25"/>
                        <a:pt x="107" y="24"/>
                      </a:cubicBezTo>
                      <a:cubicBezTo>
                        <a:pt x="106" y="22"/>
                        <a:pt x="107" y="21"/>
                        <a:pt x="108" y="20"/>
                      </a:cubicBezTo>
                      <a:cubicBezTo>
                        <a:pt x="109" y="20"/>
                        <a:pt x="110" y="20"/>
                        <a:pt x="111" y="20"/>
                      </a:cubicBezTo>
                      <a:cubicBezTo>
                        <a:pt x="113" y="20"/>
                        <a:pt x="114" y="20"/>
                        <a:pt x="116" y="21"/>
                      </a:cubicBezTo>
                      <a:cubicBezTo>
                        <a:pt x="117" y="21"/>
                        <a:pt x="119" y="20"/>
                        <a:pt x="120" y="19"/>
                      </a:cubicBezTo>
                      <a:cubicBezTo>
                        <a:pt x="121" y="18"/>
                        <a:pt x="121" y="18"/>
                        <a:pt x="121" y="17"/>
                      </a:cubicBezTo>
                      <a:cubicBezTo>
                        <a:pt x="123" y="12"/>
                        <a:pt x="124" y="8"/>
                        <a:pt x="126" y="4"/>
                      </a:cubicBezTo>
                      <a:cubicBezTo>
                        <a:pt x="127" y="2"/>
                        <a:pt x="128" y="0"/>
                        <a:pt x="130" y="0"/>
                      </a:cubicBezTo>
                      <a:cubicBezTo>
                        <a:pt x="132" y="1"/>
                        <a:pt x="132" y="3"/>
                        <a:pt x="131" y="6"/>
                      </a:cubicBezTo>
                      <a:cubicBezTo>
                        <a:pt x="131" y="8"/>
                        <a:pt x="130" y="11"/>
                        <a:pt x="130" y="13"/>
                      </a:cubicBezTo>
                      <a:cubicBezTo>
                        <a:pt x="133" y="10"/>
                        <a:pt x="136" y="7"/>
                        <a:pt x="139" y="4"/>
                      </a:cubicBezTo>
                      <a:cubicBezTo>
                        <a:pt x="140" y="3"/>
                        <a:pt x="141" y="2"/>
                        <a:pt x="142" y="1"/>
                      </a:cubicBezTo>
                      <a:cubicBezTo>
                        <a:pt x="144" y="0"/>
                        <a:pt x="146" y="2"/>
                        <a:pt x="146" y="4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66" name="Freeform 78">
                  <a:extLst>
                    <a:ext uri="{FF2B5EF4-FFF2-40B4-BE49-F238E27FC236}">
                      <a16:creationId xmlns:a16="http://schemas.microsoft.com/office/drawing/2014/main" id="{C7CA2389-1AC4-C652-A02E-E1278EAF27EF}"/>
                    </a:ext>
                  </a:extLst>
                </p:cNvPr>
                <p:cNvSpPr/>
                <p:nvPr/>
              </p:nvSpPr>
              <p:spPr bwMode="auto">
                <a:xfrm>
                  <a:off x="7117696" y="5052229"/>
                  <a:ext cx="136252" cy="119024"/>
                </a:xfrm>
                <a:custGeom>
                  <a:avLst/>
                  <a:gdLst>
                    <a:gd name="T0" fmla="*/ 1 w 53"/>
                    <a:gd name="T1" fmla="*/ 24 h 47"/>
                    <a:gd name="T2" fmla="*/ 22 w 53"/>
                    <a:gd name="T3" fmla="*/ 45 h 47"/>
                    <a:gd name="T4" fmla="*/ 22 w 53"/>
                    <a:gd name="T5" fmla="*/ 45 h 47"/>
                    <a:gd name="T6" fmla="*/ 53 w 53"/>
                    <a:gd name="T7" fmla="*/ 37 h 47"/>
                    <a:gd name="T8" fmla="*/ 39 w 53"/>
                    <a:gd name="T9" fmla="*/ 0 h 47"/>
                    <a:gd name="T10" fmla="*/ 5 w 53"/>
                    <a:gd name="T11" fmla="*/ 15 h 47"/>
                    <a:gd name="T12" fmla="*/ 1 w 53"/>
                    <a:gd name="T13" fmla="*/ 24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47">
                      <a:moveTo>
                        <a:pt x="1" y="24"/>
                      </a:moveTo>
                      <a:cubicBezTo>
                        <a:pt x="0" y="36"/>
                        <a:pt x="10" y="47"/>
                        <a:pt x="22" y="45"/>
                      </a:cubicBezTo>
                      <a:cubicBezTo>
                        <a:pt x="22" y="45"/>
                        <a:pt x="22" y="45"/>
                        <a:pt x="22" y="45"/>
                      </a:cubicBezTo>
                      <a:cubicBezTo>
                        <a:pt x="37" y="44"/>
                        <a:pt x="53" y="37"/>
                        <a:pt x="53" y="37"/>
                      </a:cubicBezTo>
                      <a:cubicBezTo>
                        <a:pt x="39" y="0"/>
                        <a:pt x="39" y="0"/>
                        <a:pt x="39" y="0"/>
                      </a:cubicBezTo>
                      <a:cubicBezTo>
                        <a:pt x="39" y="0"/>
                        <a:pt x="9" y="10"/>
                        <a:pt x="5" y="15"/>
                      </a:cubicBezTo>
                      <a:cubicBezTo>
                        <a:pt x="3" y="17"/>
                        <a:pt x="2" y="21"/>
                        <a:pt x="1" y="24"/>
                      </a:cubicBezTo>
                      <a:close/>
                    </a:path>
                  </a:pathLst>
                </a:custGeom>
                <a:solidFill>
                  <a:srgbClr val="FBCCD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67" name="Freeform 79">
                  <a:extLst>
                    <a:ext uri="{FF2B5EF4-FFF2-40B4-BE49-F238E27FC236}">
                      <a16:creationId xmlns:a16="http://schemas.microsoft.com/office/drawing/2014/main" id="{53E50630-50E5-B767-C37E-DD1B2BD39411}"/>
                    </a:ext>
                  </a:extLst>
                </p:cNvPr>
                <p:cNvSpPr/>
                <p:nvPr/>
              </p:nvSpPr>
              <p:spPr bwMode="auto">
                <a:xfrm>
                  <a:off x="7247684" y="4828274"/>
                  <a:ext cx="208294" cy="241182"/>
                </a:xfrm>
                <a:custGeom>
                  <a:avLst/>
                  <a:gdLst>
                    <a:gd name="T0" fmla="*/ 74 w 81"/>
                    <a:gd name="T1" fmla="*/ 4 h 94"/>
                    <a:gd name="T2" fmla="*/ 29 w 81"/>
                    <a:gd name="T3" fmla="*/ 86 h 94"/>
                    <a:gd name="T4" fmla="*/ 0 w 81"/>
                    <a:gd name="T5" fmla="*/ 83 h 94"/>
                    <a:gd name="T6" fmla="*/ 67 w 81"/>
                    <a:gd name="T7" fmla="*/ 1 h 94"/>
                    <a:gd name="T8" fmla="*/ 74 w 81"/>
                    <a:gd name="T9" fmla="*/ 4 h 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1" h="94">
                      <a:moveTo>
                        <a:pt x="74" y="4"/>
                      </a:moveTo>
                      <a:cubicBezTo>
                        <a:pt x="81" y="20"/>
                        <a:pt x="47" y="74"/>
                        <a:pt x="29" y="86"/>
                      </a:cubicBezTo>
                      <a:cubicBezTo>
                        <a:pt x="18" y="94"/>
                        <a:pt x="6" y="88"/>
                        <a:pt x="0" y="83"/>
                      </a:cubicBezTo>
                      <a:cubicBezTo>
                        <a:pt x="24" y="69"/>
                        <a:pt x="52" y="44"/>
                        <a:pt x="67" y="1"/>
                      </a:cubicBezTo>
                      <a:cubicBezTo>
                        <a:pt x="70" y="0"/>
                        <a:pt x="73" y="1"/>
                        <a:pt x="74" y="4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68" name="Freeform 81">
                  <a:extLst>
                    <a:ext uri="{FF2B5EF4-FFF2-40B4-BE49-F238E27FC236}">
                      <a16:creationId xmlns:a16="http://schemas.microsoft.com/office/drawing/2014/main" id="{B0F9AFD2-24A1-D19B-0C5E-2BB1FE8FC092}"/>
                    </a:ext>
                  </a:extLst>
                </p:cNvPr>
                <p:cNvSpPr/>
                <p:nvPr/>
              </p:nvSpPr>
              <p:spPr bwMode="auto">
                <a:xfrm>
                  <a:off x="6912534" y="4739006"/>
                  <a:ext cx="306959" cy="379000"/>
                </a:xfrm>
                <a:custGeom>
                  <a:avLst/>
                  <a:gdLst>
                    <a:gd name="T0" fmla="*/ 105 w 120"/>
                    <a:gd name="T1" fmla="*/ 36 h 148"/>
                    <a:gd name="T2" fmla="*/ 35 w 120"/>
                    <a:gd name="T3" fmla="*/ 14 h 148"/>
                    <a:gd name="T4" fmla="*/ 15 w 120"/>
                    <a:gd name="T5" fmla="*/ 78 h 148"/>
                    <a:gd name="T6" fmla="*/ 2 w 120"/>
                    <a:gd name="T7" fmla="*/ 86 h 148"/>
                    <a:gd name="T8" fmla="*/ 33 w 120"/>
                    <a:gd name="T9" fmla="*/ 102 h 148"/>
                    <a:gd name="T10" fmla="*/ 43 w 120"/>
                    <a:gd name="T11" fmla="*/ 108 h 148"/>
                    <a:gd name="T12" fmla="*/ 46 w 120"/>
                    <a:gd name="T13" fmla="*/ 148 h 148"/>
                    <a:gd name="T14" fmla="*/ 77 w 120"/>
                    <a:gd name="T15" fmla="*/ 146 h 148"/>
                    <a:gd name="T16" fmla="*/ 76 w 120"/>
                    <a:gd name="T17" fmla="*/ 113 h 148"/>
                    <a:gd name="T18" fmla="*/ 93 w 120"/>
                    <a:gd name="T19" fmla="*/ 107 h 148"/>
                    <a:gd name="T20" fmla="*/ 105 w 120"/>
                    <a:gd name="T21" fmla="*/ 36 h 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0" h="148">
                      <a:moveTo>
                        <a:pt x="105" y="36"/>
                      </a:moveTo>
                      <a:cubicBezTo>
                        <a:pt x="90" y="10"/>
                        <a:pt x="58" y="0"/>
                        <a:pt x="35" y="14"/>
                      </a:cubicBezTo>
                      <a:cubicBezTo>
                        <a:pt x="13" y="27"/>
                        <a:pt x="5" y="54"/>
                        <a:pt x="15" y="78"/>
                      </a:cubicBezTo>
                      <a:cubicBezTo>
                        <a:pt x="10" y="78"/>
                        <a:pt x="3" y="79"/>
                        <a:pt x="2" y="86"/>
                      </a:cubicBezTo>
                      <a:cubicBezTo>
                        <a:pt x="0" y="98"/>
                        <a:pt x="19" y="106"/>
                        <a:pt x="33" y="102"/>
                      </a:cubicBezTo>
                      <a:cubicBezTo>
                        <a:pt x="36" y="104"/>
                        <a:pt x="40" y="106"/>
                        <a:pt x="43" y="108"/>
                      </a:cubicBezTo>
                      <a:cubicBezTo>
                        <a:pt x="46" y="148"/>
                        <a:pt x="46" y="148"/>
                        <a:pt x="46" y="148"/>
                      </a:cubicBezTo>
                      <a:cubicBezTo>
                        <a:pt x="77" y="146"/>
                        <a:pt x="77" y="146"/>
                        <a:pt x="77" y="146"/>
                      </a:cubicBezTo>
                      <a:cubicBezTo>
                        <a:pt x="76" y="113"/>
                        <a:pt x="76" y="113"/>
                        <a:pt x="76" y="113"/>
                      </a:cubicBezTo>
                      <a:cubicBezTo>
                        <a:pt x="82" y="112"/>
                        <a:pt x="88" y="110"/>
                        <a:pt x="93" y="107"/>
                      </a:cubicBezTo>
                      <a:cubicBezTo>
                        <a:pt x="117" y="93"/>
                        <a:pt x="120" y="62"/>
                        <a:pt x="105" y="36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69" name="Freeform 83">
                  <a:extLst>
                    <a:ext uri="{FF2B5EF4-FFF2-40B4-BE49-F238E27FC236}">
                      <a16:creationId xmlns:a16="http://schemas.microsoft.com/office/drawing/2014/main" id="{27118AC0-2655-D971-570C-C1C857F59D84}"/>
                    </a:ext>
                  </a:extLst>
                </p:cNvPr>
                <p:cNvSpPr/>
                <p:nvPr/>
              </p:nvSpPr>
              <p:spPr bwMode="auto">
                <a:xfrm>
                  <a:off x="7051920" y="5028736"/>
                  <a:ext cx="57947" cy="37586"/>
                </a:xfrm>
                <a:custGeom>
                  <a:avLst/>
                  <a:gdLst>
                    <a:gd name="T0" fmla="*/ 22 w 23"/>
                    <a:gd name="T1" fmla="*/ 0 h 15"/>
                    <a:gd name="T2" fmla="*/ 23 w 23"/>
                    <a:gd name="T3" fmla="*/ 15 h 15"/>
                    <a:gd name="T4" fmla="*/ 0 w 23"/>
                    <a:gd name="T5" fmla="*/ 0 h 15"/>
                    <a:gd name="T6" fmla="*/ 22 w 23"/>
                    <a:gd name="T7" fmla="*/ 0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3" h="15">
                      <a:moveTo>
                        <a:pt x="22" y="0"/>
                      </a:moveTo>
                      <a:cubicBezTo>
                        <a:pt x="23" y="15"/>
                        <a:pt x="23" y="15"/>
                        <a:pt x="23" y="15"/>
                      </a:cubicBezTo>
                      <a:cubicBezTo>
                        <a:pt x="23" y="15"/>
                        <a:pt x="5" y="10"/>
                        <a:pt x="0" y="0"/>
                      </a:cubicBezTo>
                      <a:cubicBezTo>
                        <a:pt x="0" y="0"/>
                        <a:pt x="16" y="5"/>
                        <a:pt x="22" y="0"/>
                      </a:cubicBez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70" name="Freeform 84">
                  <a:extLst>
                    <a:ext uri="{FF2B5EF4-FFF2-40B4-BE49-F238E27FC236}">
                      <a16:creationId xmlns:a16="http://schemas.microsoft.com/office/drawing/2014/main" id="{18B73163-3DD6-FC99-4C25-D7054117022E}"/>
                    </a:ext>
                  </a:extLst>
                </p:cNvPr>
                <p:cNvSpPr/>
                <p:nvPr/>
              </p:nvSpPr>
              <p:spPr bwMode="auto">
                <a:xfrm>
                  <a:off x="6945424" y="4997416"/>
                  <a:ext cx="78305" cy="40719"/>
                </a:xfrm>
                <a:custGeom>
                  <a:avLst/>
                  <a:gdLst>
                    <a:gd name="T0" fmla="*/ 0 w 30"/>
                    <a:gd name="T1" fmla="*/ 0 h 16"/>
                    <a:gd name="T2" fmla="*/ 30 w 30"/>
                    <a:gd name="T3" fmla="*/ 7 h 16"/>
                    <a:gd name="T4" fmla="*/ 20 w 30"/>
                    <a:gd name="T5" fmla="*/ 1 h 16"/>
                    <a:gd name="T6" fmla="*/ 0 w 30"/>
                    <a:gd name="T7" fmla="*/ 0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0" h="16">
                      <a:moveTo>
                        <a:pt x="0" y="0"/>
                      </a:moveTo>
                      <a:cubicBezTo>
                        <a:pt x="0" y="0"/>
                        <a:pt x="15" y="16"/>
                        <a:pt x="30" y="7"/>
                      </a:cubicBezTo>
                      <a:cubicBezTo>
                        <a:pt x="20" y="1"/>
                        <a:pt x="20" y="1"/>
                        <a:pt x="20" y="1"/>
                      </a:cubicBezTo>
                      <a:cubicBezTo>
                        <a:pt x="20" y="1"/>
                        <a:pt x="11" y="5"/>
                        <a:pt x="0" y="0"/>
                      </a:cubicBezTo>
                      <a:close/>
                    </a:path>
                  </a:pathLst>
                </a:custGeom>
                <a:solidFill>
                  <a:srgbClr val="4472C4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71" name="Freeform 85">
                  <a:extLst>
                    <a:ext uri="{FF2B5EF4-FFF2-40B4-BE49-F238E27FC236}">
                      <a16:creationId xmlns:a16="http://schemas.microsoft.com/office/drawing/2014/main" id="{DEE4EF08-13E7-2CB1-129C-83B3C3A77DC9}"/>
                    </a:ext>
                  </a:extLst>
                </p:cNvPr>
                <p:cNvSpPr/>
                <p:nvPr/>
              </p:nvSpPr>
              <p:spPr bwMode="auto">
                <a:xfrm>
                  <a:off x="6900007" y="4682626"/>
                  <a:ext cx="286599" cy="281901"/>
                </a:xfrm>
                <a:custGeom>
                  <a:avLst/>
                  <a:gdLst>
                    <a:gd name="T0" fmla="*/ 112 w 112"/>
                    <a:gd name="T1" fmla="*/ 62 h 110"/>
                    <a:gd name="T2" fmla="*/ 92 w 112"/>
                    <a:gd name="T3" fmla="*/ 39 h 110"/>
                    <a:gd name="T4" fmla="*/ 90 w 112"/>
                    <a:gd name="T5" fmla="*/ 43 h 110"/>
                    <a:gd name="T6" fmla="*/ 48 w 112"/>
                    <a:gd name="T7" fmla="*/ 61 h 110"/>
                    <a:gd name="T8" fmla="*/ 37 w 112"/>
                    <a:gd name="T9" fmla="*/ 78 h 110"/>
                    <a:gd name="T10" fmla="*/ 41 w 112"/>
                    <a:gd name="T11" fmla="*/ 86 h 110"/>
                    <a:gd name="T12" fmla="*/ 42 w 112"/>
                    <a:gd name="T13" fmla="*/ 103 h 110"/>
                    <a:gd name="T14" fmla="*/ 19 w 112"/>
                    <a:gd name="T15" fmla="*/ 100 h 110"/>
                    <a:gd name="T16" fmla="*/ 9 w 112"/>
                    <a:gd name="T17" fmla="*/ 103 h 110"/>
                    <a:gd name="T18" fmla="*/ 3 w 112"/>
                    <a:gd name="T19" fmla="*/ 88 h 110"/>
                    <a:gd name="T20" fmla="*/ 3 w 112"/>
                    <a:gd name="T21" fmla="*/ 88 h 110"/>
                    <a:gd name="T22" fmla="*/ 3 w 112"/>
                    <a:gd name="T23" fmla="*/ 64 h 110"/>
                    <a:gd name="T24" fmla="*/ 15 w 112"/>
                    <a:gd name="T25" fmla="*/ 45 h 110"/>
                    <a:gd name="T26" fmla="*/ 35 w 112"/>
                    <a:gd name="T27" fmla="*/ 33 h 110"/>
                    <a:gd name="T28" fmla="*/ 52 w 112"/>
                    <a:gd name="T29" fmla="*/ 27 h 110"/>
                    <a:gd name="T30" fmla="*/ 51 w 112"/>
                    <a:gd name="T31" fmla="*/ 16 h 110"/>
                    <a:gd name="T32" fmla="*/ 63 w 112"/>
                    <a:gd name="T33" fmla="*/ 24 h 110"/>
                    <a:gd name="T34" fmla="*/ 72 w 112"/>
                    <a:gd name="T35" fmla="*/ 3 h 110"/>
                    <a:gd name="T36" fmla="*/ 87 w 112"/>
                    <a:gd name="T37" fmla="*/ 20 h 110"/>
                    <a:gd name="T38" fmla="*/ 88 w 112"/>
                    <a:gd name="T39" fmla="*/ 12 h 110"/>
                    <a:gd name="T40" fmla="*/ 93 w 112"/>
                    <a:gd name="T41" fmla="*/ 14 h 110"/>
                    <a:gd name="T42" fmla="*/ 95 w 112"/>
                    <a:gd name="T43" fmla="*/ 30 h 110"/>
                    <a:gd name="T44" fmla="*/ 112 w 112"/>
                    <a:gd name="T45" fmla="*/ 62 h 1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12" h="110">
                      <a:moveTo>
                        <a:pt x="112" y="62"/>
                      </a:moveTo>
                      <a:cubicBezTo>
                        <a:pt x="106" y="50"/>
                        <a:pt x="98" y="43"/>
                        <a:pt x="92" y="39"/>
                      </a:cubicBezTo>
                      <a:cubicBezTo>
                        <a:pt x="92" y="41"/>
                        <a:pt x="91" y="42"/>
                        <a:pt x="90" y="43"/>
                      </a:cubicBezTo>
                      <a:cubicBezTo>
                        <a:pt x="80" y="66"/>
                        <a:pt x="60" y="58"/>
                        <a:pt x="48" y="61"/>
                      </a:cubicBezTo>
                      <a:cubicBezTo>
                        <a:pt x="37" y="64"/>
                        <a:pt x="34" y="69"/>
                        <a:pt x="37" y="78"/>
                      </a:cubicBezTo>
                      <a:cubicBezTo>
                        <a:pt x="38" y="80"/>
                        <a:pt x="39" y="83"/>
                        <a:pt x="41" y="86"/>
                      </a:cubicBezTo>
                      <a:cubicBezTo>
                        <a:pt x="49" y="99"/>
                        <a:pt x="42" y="103"/>
                        <a:pt x="42" y="103"/>
                      </a:cubicBezTo>
                      <a:cubicBezTo>
                        <a:pt x="32" y="110"/>
                        <a:pt x="25" y="101"/>
                        <a:pt x="19" y="100"/>
                      </a:cubicBezTo>
                      <a:cubicBezTo>
                        <a:pt x="12" y="100"/>
                        <a:pt x="9" y="103"/>
                        <a:pt x="9" y="103"/>
                      </a:cubicBezTo>
                      <a:cubicBezTo>
                        <a:pt x="6" y="98"/>
                        <a:pt x="4" y="93"/>
                        <a:pt x="3" y="88"/>
                      </a:cubicBezTo>
                      <a:cubicBezTo>
                        <a:pt x="3" y="88"/>
                        <a:pt x="3" y="88"/>
                        <a:pt x="3" y="88"/>
                      </a:cubicBezTo>
                      <a:cubicBezTo>
                        <a:pt x="0" y="78"/>
                        <a:pt x="1" y="72"/>
                        <a:pt x="3" y="64"/>
                      </a:cubicBezTo>
                      <a:cubicBezTo>
                        <a:pt x="5" y="58"/>
                        <a:pt x="9" y="51"/>
                        <a:pt x="15" y="45"/>
                      </a:cubicBezTo>
                      <a:cubicBezTo>
                        <a:pt x="20" y="40"/>
                        <a:pt x="27" y="36"/>
                        <a:pt x="35" y="33"/>
                      </a:cubicBezTo>
                      <a:cubicBezTo>
                        <a:pt x="43" y="31"/>
                        <a:pt x="52" y="27"/>
                        <a:pt x="52" y="27"/>
                      </a:cubicBezTo>
                      <a:cubicBezTo>
                        <a:pt x="52" y="27"/>
                        <a:pt x="47" y="18"/>
                        <a:pt x="51" y="16"/>
                      </a:cubicBezTo>
                      <a:cubicBezTo>
                        <a:pt x="56" y="15"/>
                        <a:pt x="63" y="24"/>
                        <a:pt x="63" y="24"/>
                      </a:cubicBezTo>
                      <a:cubicBezTo>
                        <a:pt x="59" y="13"/>
                        <a:pt x="63" y="0"/>
                        <a:pt x="72" y="3"/>
                      </a:cubicBezTo>
                      <a:cubicBezTo>
                        <a:pt x="81" y="5"/>
                        <a:pt x="87" y="20"/>
                        <a:pt x="87" y="20"/>
                      </a:cubicBezTo>
                      <a:cubicBezTo>
                        <a:pt x="86" y="18"/>
                        <a:pt x="85" y="13"/>
                        <a:pt x="88" y="12"/>
                      </a:cubicBezTo>
                      <a:cubicBezTo>
                        <a:pt x="90" y="11"/>
                        <a:pt x="93" y="13"/>
                        <a:pt x="93" y="14"/>
                      </a:cubicBezTo>
                      <a:cubicBezTo>
                        <a:pt x="95" y="20"/>
                        <a:pt x="95" y="25"/>
                        <a:pt x="95" y="30"/>
                      </a:cubicBezTo>
                      <a:cubicBezTo>
                        <a:pt x="108" y="39"/>
                        <a:pt x="112" y="62"/>
                        <a:pt x="112" y="62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72" name="Freeform 86">
                  <a:extLst>
                    <a:ext uri="{FF2B5EF4-FFF2-40B4-BE49-F238E27FC236}">
                      <a16:creationId xmlns:a16="http://schemas.microsoft.com/office/drawing/2014/main" id="{2A192803-C92C-3343-B491-6220A9CA5346}"/>
                    </a:ext>
                  </a:extLst>
                </p:cNvPr>
                <p:cNvSpPr/>
                <p:nvPr/>
              </p:nvSpPr>
              <p:spPr bwMode="auto">
                <a:xfrm>
                  <a:off x="6900006" y="4784423"/>
                  <a:ext cx="230219" cy="126856"/>
                </a:xfrm>
                <a:custGeom>
                  <a:avLst/>
                  <a:gdLst>
                    <a:gd name="T0" fmla="*/ 90 w 90"/>
                    <a:gd name="T1" fmla="*/ 3 h 49"/>
                    <a:gd name="T2" fmla="*/ 48 w 90"/>
                    <a:gd name="T3" fmla="*/ 21 h 49"/>
                    <a:gd name="T4" fmla="*/ 37 w 90"/>
                    <a:gd name="T5" fmla="*/ 38 h 49"/>
                    <a:gd name="T6" fmla="*/ 36 w 90"/>
                    <a:gd name="T7" fmla="*/ 40 h 49"/>
                    <a:gd name="T8" fmla="*/ 31 w 90"/>
                    <a:gd name="T9" fmla="*/ 44 h 49"/>
                    <a:gd name="T10" fmla="*/ 23 w 90"/>
                    <a:gd name="T11" fmla="*/ 43 h 49"/>
                    <a:gd name="T12" fmla="*/ 7 w 90"/>
                    <a:gd name="T13" fmla="*/ 49 h 49"/>
                    <a:gd name="T14" fmla="*/ 3 w 90"/>
                    <a:gd name="T15" fmla="*/ 48 h 49"/>
                    <a:gd name="T16" fmla="*/ 3 w 90"/>
                    <a:gd name="T17" fmla="*/ 48 h 49"/>
                    <a:gd name="T18" fmla="*/ 3 w 90"/>
                    <a:gd name="T19" fmla="*/ 24 h 49"/>
                    <a:gd name="T20" fmla="*/ 15 w 90"/>
                    <a:gd name="T21" fmla="*/ 5 h 49"/>
                    <a:gd name="T22" fmla="*/ 20 w 90"/>
                    <a:gd name="T23" fmla="*/ 10 h 49"/>
                    <a:gd name="T24" fmla="*/ 31 w 90"/>
                    <a:gd name="T25" fmla="*/ 12 h 49"/>
                    <a:gd name="T26" fmla="*/ 42 w 90"/>
                    <a:gd name="T27" fmla="*/ 6 h 49"/>
                    <a:gd name="T28" fmla="*/ 63 w 90"/>
                    <a:gd name="T29" fmla="*/ 1 h 49"/>
                    <a:gd name="T30" fmla="*/ 81 w 90"/>
                    <a:gd name="T31" fmla="*/ 4 h 49"/>
                    <a:gd name="T32" fmla="*/ 90 w 90"/>
                    <a:gd name="T33" fmla="*/ 3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49">
                      <a:moveTo>
                        <a:pt x="90" y="3"/>
                      </a:moveTo>
                      <a:cubicBezTo>
                        <a:pt x="80" y="26"/>
                        <a:pt x="60" y="18"/>
                        <a:pt x="48" y="21"/>
                      </a:cubicBezTo>
                      <a:cubicBezTo>
                        <a:pt x="37" y="24"/>
                        <a:pt x="34" y="29"/>
                        <a:pt x="37" y="38"/>
                      </a:cubicBezTo>
                      <a:cubicBezTo>
                        <a:pt x="37" y="39"/>
                        <a:pt x="36" y="40"/>
                        <a:pt x="36" y="40"/>
                      </a:cubicBezTo>
                      <a:cubicBezTo>
                        <a:pt x="34" y="42"/>
                        <a:pt x="33" y="44"/>
                        <a:pt x="31" y="44"/>
                      </a:cubicBezTo>
                      <a:cubicBezTo>
                        <a:pt x="28" y="45"/>
                        <a:pt x="26" y="44"/>
                        <a:pt x="23" y="43"/>
                      </a:cubicBezTo>
                      <a:cubicBezTo>
                        <a:pt x="17" y="43"/>
                        <a:pt x="13" y="49"/>
                        <a:pt x="7" y="49"/>
                      </a:cubicBezTo>
                      <a:cubicBezTo>
                        <a:pt x="6" y="49"/>
                        <a:pt x="4" y="49"/>
                        <a:pt x="3" y="48"/>
                      </a:cubicBezTo>
                      <a:cubicBezTo>
                        <a:pt x="3" y="48"/>
                        <a:pt x="3" y="48"/>
                        <a:pt x="3" y="48"/>
                      </a:cubicBezTo>
                      <a:cubicBezTo>
                        <a:pt x="0" y="38"/>
                        <a:pt x="1" y="32"/>
                        <a:pt x="3" y="24"/>
                      </a:cubicBezTo>
                      <a:cubicBezTo>
                        <a:pt x="5" y="18"/>
                        <a:pt x="9" y="11"/>
                        <a:pt x="15" y="5"/>
                      </a:cubicBezTo>
                      <a:cubicBezTo>
                        <a:pt x="17" y="6"/>
                        <a:pt x="18" y="9"/>
                        <a:pt x="20" y="10"/>
                      </a:cubicBezTo>
                      <a:cubicBezTo>
                        <a:pt x="23" y="13"/>
                        <a:pt x="27" y="13"/>
                        <a:pt x="31" y="12"/>
                      </a:cubicBezTo>
                      <a:cubicBezTo>
                        <a:pt x="35" y="10"/>
                        <a:pt x="38" y="8"/>
                        <a:pt x="42" y="6"/>
                      </a:cubicBezTo>
                      <a:cubicBezTo>
                        <a:pt x="48" y="3"/>
                        <a:pt x="56" y="0"/>
                        <a:pt x="63" y="1"/>
                      </a:cubicBezTo>
                      <a:cubicBezTo>
                        <a:pt x="69" y="2"/>
                        <a:pt x="75" y="5"/>
                        <a:pt x="81" y="4"/>
                      </a:cubicBezTo>
                      <a:cubicBezTo>
                        <a:pt x="84" y="4"/>
                        <a:pt x="87" y="2"/>
                        <a:pt x="90" y="3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73" name="Freeform 87">
                  <a:extLst>
                    <a:ext uri="{FF2B5EF4-FFF2-40B4-BE49-F238E27FC236}">
                      <a16:creationId xmlns:a16="http://schemas.microsoft.com/office/drawing/2014/main" id="{5F36FF53-B654-C2DD-F0DA-5B02B325AE70}"/>
                    </a:ext>
                  </a:extLst>
                </p:cNvPr>
                <p:cNvSpPr/>
                <p:nvPr/>
              </p:nvSpPr>
              <p:spPr bwMode="auto">
                <a:xfrm>
                  <a:off x="7109867" y="5387377"/>
                  <a:ext cx="266240" cy="700054"/>
                </a:xfrm>
                <a:custGeom>
                  <a:avLst/>
                  <a:gdLst>
                    <a:gd name="T0" fmla="*/ 54 w 104"/>
                    <a:gd name="T1" fmla="*/ 21 h 273"/>
                    <a:gd name="T2" fmla="*/ 103 w 104"/>
                    <a:gd name="T3" fmla="*/ 147 h 273"/>
                    <a:gd name="T4" fmla="*/ 55 w 104"/>
                    <a:gd name="T5" fmla="*/ 273 h 273"/>
                    <a:gd name="T6" fmla="*/ 24 w 104"/>
                    <a:gd name="T7" fmla="*/ 273 h 273"/>
                    <a:gd name="T8" fmla="*/ 47 w 104"/>
                    <a:gd name="T9" fmla="*/ 149 h 273"/>
                    <a:gd name="T10" fmla="*/ 1 w 104"/>
                    <a:gd name="T11" fmla="*/ 47 h 273"/>
                    <a:gd name="T12" fmla="*/ 54 w 104"/>
                    <a:gd name="T13" fmla="*/ 21 h 2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4" h="273">
                      <a:moveTo>
                        <a:pt x="54" y="21"/>
                      </a:moveTo>
                      <a:cubicBezTo>
                        <a:pt x="54" y="21"/>
                        <a:pt x="104" y="132"/>
                        <a:pt x="103" y="147"/>
                      </a:cubicBezTo>
                      <a:cubicBezTo>
                        <a:pt x="103" y="162"/>
                        <a:pt x="55" y="273"/>
                        <a:pt x="55" y="273"/>
                      </a:cubicBezTo>
                      <a:cubicBezTo>
                        <a:pt x="24" y="273"/>
                        <a:pt x="24" y="273"/>
                        <a:pt x="24" y="273"/>
                      </a:cubicBezTo>
                      <a:cubicBezTo>
                        <a:pt x="24" y="273"/>
                        <a:pt x="34" y="174"/>
                        <a:pt x="47" y="149"/>
                      </a:cubicBezTo>
                      <a:cubicBezTo>
                        <a:pt x="47" y="149"/>
                        <a:pt x="0" y="94"/>
                        <a:pt x="1" y="47"/>
                      </a:cubicBezTo>
                      <a:cubicBezTo>
                        <a:pt x="1" y="0"/>
                        <a:pt x="54" y="21"/>
                        <a:pt x="54" y="21"/>
                      </a:cubicBezTo>
                      <a:close/>
                    </a:path>
                  </a:pathLst>
                </a:custGeom>
                <a:solidFill>
                  <a:srgbClr val="252F5F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74" name="Freeform 89">
                  <a:extLst>
                    <a:ext uri="{FF2B5EF4-FFF2-40B4-BE49-F238E27FC236}">
                      <a16:creationId xmlns:a16="http://schemas.microsoft.com/office/drawing/2014/main" id="{2E2D8408-E6DF-5C5A-57D2-5E8EDB74C351}"/>
                    </a:ext>
                  </a:extLst>
                </p:cNvPr>
                <p:cNvSpPr/>
                <p:nvPr/>
              </p:nvSpPr>
              <p:spPr bwMode="auto">
                <a:xfrm>
                  <a:off x="7164681" y="6084299"/>
                  <a:ext cx="133119" cy="48549"/>
                </a:xfrm>
                <a:custGeom>
                  <a:avLst/>
                  <a:gdLst>
                    <a:gd name="T0" fmla="*/ 4 w 52"/>
                    <a:gd name="T1" fmla="*/ 0 h 19"/>
                    <a:gd name="T2" fmla="*/ 1 w 52"/>
                    <a:gd name="T3" fmla="*/ 18 h 19"/>
                    <a:gd name="T4" fmla="*/ 3 w 52"/>
                    <a:gd name="T5" fmla="*/ 19 h 19"/>
                    <a:gd name="T6" fmla="*/ 50 w 52"/>
                    <a:gd name="T7" fmla="*/ 19 h 19"/>
                    <a:gd name="T8" fmla="*/ 51 w 52"/>
                    <a:gd name="T9" fmla="*/ 17 h 19"/>
                    <a:gd name="T10" fmla="*/ 32 w 52"/>
                    <a:gd name="T11" fmla="*/ 0 h 19"/>
                    <a:gd name="T12" fmla="*/ 4 w 52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19">
                      <a:moveTo>
                        <a:pt x="4" y="0"/>
                      </a:moveTo>
                      <a:cubicBezTo>
                        <a:pt x="4" y="0"/>
                        <a:pt x="0" y="7"/>
                        <a:pt x="1" y="18"/>
                      </a:cubicBezTo>
                      <a:cubicBezTo>
                        <a:pt x="1" y="19"/>
                        <a:pt x="2" y="19"/>
                        <a:pt x="3" y="19"/>
                      </a:cubicBezTo>
                      <a:cubicBezTo>
                        <a:pt x="50" y="19"/>
                        <a:pt x="50" y="19"/>
                        <a:pt x="50" y="19"/>
                      </a:cubicBezTo>
                      <a:cubicBezTo>
                        <a:pt x="51" y="19"/>
                        <a:pt x="52" y="18"/>
                        <a:pt x="51" y="17"/>
                      </a:cubicBezTo>
                      <a:cubicBezTo>
                        <a:pt x="46" y="12"/>
                        <a:pt x="37" y="4"/>
                        <a:pt x="32" y="0"/>
                      </a:cubicBez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75" name="Freeform 90">
                  <a:extLst>
                    <a:ext uri="{FF2B5EF4-FFF2-40B4-BE49-F238E27FC236}">
                      <a16:creationId xmlns:a16="http://schemas.microsoft.com/office/drawing/2014/main" id="{02F6BDAC-1A4C-E60E-6C18-0C04CD5E6AA1}"/>
                    </a:ext>
                  </a:extLst>
                </p:cNvPr>
                <p:cNvSpPr/>
                <p:nvPr/>
              </p:nvSpPr>
              <p:spPr bwMode="auto">
                <a:xfrm>
                  <a:off x="6959520" y="6084299"/>
                  <a:ext cx="133119" cy="48549"/>
                </a:xfrm>
                <a:custGeom>
                  <a:avLst/>
                  <a:gdLst>
                    <a:gd name="T0" fmla="*/ 4 w 52"/>
                    <a:gd name="T1" fmla="*/ 0 h 19"/>
                    <a:gd name="T2" fmla="*/ 2 w 52"/>
                    <a:gd name="T3" fmla="*/ 18 h 19"/>
                    <a:gd name="T4" fmla="*/ 4 w 52"/>
                    <a:gd name="T5" fmla="*/ 19 h 19"/>
                    <a:gd name="T6" fmla="*/ 50 w 52"/>
                    <a:gd name="T7" fmla="*/ 19 h 19"/>
                    <a:gd name="T8" fmla="*/ 51 w 52"/>
                    <a:gd name="T9" fmla="*/ 17 h 19"/>
                    <a:gd name="T10" fmla="*/ 32 w 52"/>
                    <a:gd name="T11" fmla="*/ 0 h 19"/>
                    <a:gd name="T12" fmla="*/ 4 w 52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19">
                      <a:moveTo>
                        <a:pt x="4" y="0"/>
                      </a:moveTo>
                      <a:cubicBezTo>
                        <a:pt x="4" y="0"/>
                        <a:pt x="0" y="7"/>
                        <a:pt x="2" y="18"/>
                      </a:cubicBezTo>
                      <a:cubicBezTo>
                        <a:pt x="2" y="19"/>
                        <a:pt x="3" y="19"/>
                        <a:pt x="4" y="19"/>
                      </a:cubicBezTo>
                      <a:cubicBezTo>
                        <a:pt x="50" y="19"/>
                        <a:pt x="50" y="19"/>
                        <a:pt x="50" y="19"/>
                      </a:cubicBezTo>
                      <a:cubicBezTo>
                        <a:pt x="52" y="19"/>
                        <a:pt x="52" y="18"/>
                        <a:pt x="51" y="17"/>
                      </a:cubicBezTo>
                      <a:cubicBezTo>
                        <a:pt x="47" y="12"/>
                        <a:pt x="37" y="4"/>
                        <a:pt x="32" y="0"/>
                      </a:cubicBez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76" name="Freeform 91">
                  <a:extLst>
                    <a:ext uri="{FF2B5EF4-FFF2-40B4-BE49-F238E27FC236}">
                      <a16:creationId xmlns:a16="http://schemas.microsoft.com/office/drawing/2014/main" id="{0DA80BDD-81D9-7923-E39D-E50B2F96EFA2}"/>
                    </a:ext>
                  </a:extLst>
                </p:cNvPr>
                <p:cNvSpPr/>
                <p:nvPr/>
              </p:nvSpPr>
              <p:spPr bwMode="auto">
                <a:xfrm>
                  <a:off x="6964218" y="5327867"/>
                  <a:ext cx="314789" cy="756434"/>
                </a:xfrm>
                <a:custGeom>
                  <a:avLst/>
                  <a:gdLst>
                    <a:gd name="T0" fmla="*/ 121 w 123"/>
                    <a:gd name="T1" fmla="*/ 57 h 295"/>
                    <a:gd name="T2" fmla="*/ 103 w 123"/>
                    <a:gd name="T3" fmla="*/ 0 h 295"/>
                    <a:gd name="T4" fmla="*/ 29 w 123"/>
                    <a:gd name="T5" fmla="*/ 1 h 295"/>
                    <a:gd name="T6" fmla="*/ 33 w 123"/>
                    <a:gd name="T7" fmla="*/ 130 h 295"/>
                    <a:gd name="T8" fmla="*/ 51 w 123"/>
                    <a:gd name="T9" fmla="*/ 172 h 295"/>
                    <a:gd name="T10" fmla="*/ 13 w 123"/>
                    <a:gd name="T11" fmla="*/ 260 h 295"/>
                    <a:gd name="T12" fmla="*/ 13 w 123"/>
                    <a:gd name="T13" fmla="*/ 260 h 295"/>
                    <a:gd name="T14" fmla="*/ 13 w 123"/>
                    <a:gd name="T15" fmla="*/ 260 h 295"/>
                    <a:gd name="T16" fmla="*/ 2 w 123"/>
                    <a:gd name="T17" fmla="*/ 295 h 295"/>
                    <a:gd name="T18" fmla="*/ 32 w 123"/>
                    <a:gd name="T19" fmla="*/ 295 h 295"/>
                    <a:gd name="T20" fmla="*/ 106 w 123"/>
                    <a:gd name="T21" fmla="*/ 182 h 295"/>
                    <a:gd name="T22" fmla="*/ 90 w 123"/>
                    <a:gd name="T23" fmla="*/ 78 h 295"/>
                    <a:gd name="T24" fmla="*/ 109 w 123"/>
                    <a:gd name="T25" fmla="*/ 73 h 295"/>
                    <a:gd name="T26" fmla="*/ 121 w 123"/>
                    <a:gd name="T27" fmla="*/ 57 h 2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23" h="295">
                      <a:moveTo>
                        <a:pt x="121" y="57"/>
                      </a:moveTo>
                      <a:cubicBezTo>
                        <a:pt x="118" y="41"/>
                        <a:pt x="113" y="18"/>
                        <a:pt x="103" y="0"/>
                      </a:cubicBezTo>
                      <a:cubicBezTo>
                        <a:pt x="29" y="1"/>
                        <a:pt x="29" y="1"/>
                        <a:pt x="29" y="1"/>
                      </a:cubicBezTo>
                      <a:cubicBezTo>
                        <a:pt x="29" y="1"/>
                        <a:pt x="0" y="38"/>
                        <a:pt x="33" y="130"/>
                      </a:cubicBezTo>
                      <a:cubicBezTo>
                        <a:pt x="41" y="154"/>
                        <a:pt x="51" y="172"/>
                        <a:pt x="51" y="172"/>
                      </a:cubicBezTo>
                      <a:cubicBezTo>
                        <a:pt x="40" y="186"/>
                        <a:pt x="24" y="229"/>
                        <a:pt x="13" y="260"/>
                      </a:cubicBezTo>
                      <a:cubicBezTo>
                        <a:pt x="13" y="260"/>
                        <a:pt x="13" y="260"/>
                        <a:pt x="13" y="260"/>
                      </a:cubicBezTo>
                      <a:cubicBezTo>
                        <a:pt x="13" y="260"/>
                        <a:pt x="13" y="260"/>
                        <a:pt x="13" y="260"/>
                      </a:cubicBezTo>
                      <a:cubicBezTo>
                        <a:pt x="6" y="280"/>
                        <a:pt x="2" y="295"/>
                        <a:pt x="2" y="295"/>
                      </a:cubicBezTo>
                      <a:cubicBezTo>
                        <a:pt x="32" y="295"/>
                        <a:pt x="32" y="295"/>
                        <a:pt x="32" y="295"/>
                      </a:cubicBezTo>
                      <a:cubicBezTo>
                        <a:pt x="32" y="295"/>
                        <a:pt x="102" y="196"/>
                        <a:pt x="106" y="182"/>
                      </a:cubicBezTo>
                      <a:cubicBezTo>
                        <a:pt x="108" y="172"/>
                        <a:pt x="97" y="115"/>
                        <a:pt x="90" y="78"/>
                      </a:cubicBezTo>
                      <a:cubicBezTo>
                        <a:pt x="109" y="73"/>
                        <a:pt x="109" y="73"/>
                        <a:pt x="109" y="73"/>
                      </a:cubicBezTo>
                      <a:cubicBezTo>
                        <a:pt x="117" y="73"/>
                        <a:pt x="123" y="65"/>
                        <a:pt x="121" y="57"/>
                      </a:cubicBezTo>
                      <a:close/>
                    </a:path>
                  </a:pathLst>
                </a:custGeom>
                <a:solidFill>
                  <a:srgbClr val="252F5F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77" name="Freeform 94">
                  <a:extLst>
                    <a:ext uri="{FF2B5EF4-FFF2-40B4-BE49-F238E27FC236}">
                      <a16:creationId xmlns:a16="http://schemas.microsoft.com/office/drawing/2014/main" id="{6DDBA13E-CD99-AD08-1697-FD14570C15BC}"/>
                    </a:ext>
                  </a:extLst>
                </p:cNvPr>
                <p:cNvSpPr/>
                <p:nvPr/>
              </p:nvSpPr>
              <p:spPr bwMode="auto">
                <a:xfrm>
                  <a:off x="6973615" y="5072588"/>
                  <a:ext cx="277203" cy="311657"/>
                </a:xfrm>
                <a:custGeom>
                  <a:avLst/>
                  <a:gdLst>
                    <a:gd name="T0" fmla="*/ 33 w 108"/>
                    <a:gd name="T1" fmla="*/ 5 h 122"/>
                    <a:gd name="T2" fmla="*/ 68 w 108"/>
                    <a:gd name="T3" fmla="*/ 1 h 122"/>
                    <a:gd name="T4" fmla="*/ 105 w 108"/>
                    <a:gd name="T5" fmla="*/ 28 h 122"/>
                    <a:gd name="T6" fmla="*/ 108 w 108"/>
                    <a:gd name="T7" fmla="*/ 118 h 122"/>
                    <a:gd name="T8" fmla="*/ 16 w 108"/>
                    <a:gd name="T9" fmla="*/ 122 h 122"/>
                    <a:gd name="T10" fmla="*/ 6 w 108"/>
                    <a:gd name="T11" fmla="*/ 46 h 122"/>
                    <a:gd name="T12" fmla="*/ 33 w 108"/>
                    <a:gd name="T13" fmla="*/ 5 h 1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8" h="122">
                      <a:moveTo>
                        <a:pt x="33" y="5"/>
                      </a:moveTo>
                      <a:cubicBezTo>
                        <a:pt x="45" y="3"/>
                        <a:pt x="57" y="2"/>
                        <a:pt x="68" y="1"/>
                      </a:cubicBezTo>
                      <a:cubicBezTo>
                        <a:pt x="85" y="0"/>
                        <a:pt x="101" y="11"/>
                        <a:pt x="105" y="28"/>
                      </a:cubicBezTo>
                      <a:cubicBezTo>
                        <a:pt x="105" y="29"/>
                        <a:pt x="108" y="118"/>
                        <a:pt x="108" y="118"/>
                      </a:cubicBezTo>
                      <a:cubicBezTo>
                        <a:pt x="16" y="122"/>
                        <a:pt x="16" y="122"/>
                        <a:pt x="16" y="122"/>
                      </a:cubicBezTo>
                      <a:cubicBezTo>
                        <a:pt x="16" y="122"/>
                        <a:pt x="14" y="72"/>
                        <a:pt x="6" y="46"/>
                      </a:cubicBezTo>
                      <a:cubicBezTo>
                        <a:pt x="0" y="27"/>
                        <a:pt x="13" y="7"/>
                        <a:pt x="33" y="5"/>
                      </a:cubicBezTo>
                      <a:close/>
                    </a:path>
                  </a:pathLst>
                </a:custGeom>
                <a:solidFill>
                  <a:srgbClr val="FBCCD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78" name="Freeform 95">
                  <a:extLst>
                    <a:ext uri="{FF2B5EF4-FFF2-40B4-BE49-F238E27FC236}">
                      <a16:creationId xmlns:a16="http://schemas.microsoft.com/office/drawing/2014/main" id="{B5BF5D4D-3809-862B-7837-A05EA5D200EE}"/>
                    </a:ext>
                  </a:extLst>
                </p:cNvPr>
                <p:cNvSpPr/>
                <p:nvPr/>
              </p:nvSpPr>
              <p:spPr bwMode="auto">
                <a:xfrm>
                  <a:off x="6989274" y="4953563"/>
                  <a:ext cx="535611" cy="333583"/>
                </a:xfrm>
                <a:custGeom>
                  <a:avLst/>
                  <a:gdLst>
                    <a:gd name="T0" fmla="*/ 205 w 209"/>
                    <a:gd name="T1" fmla="*/ 13 h 130"/>
                    <a:gd name="T2" fmla="*/ 194 w 209"/>
                    <a:gd name="T3" fmla="*/ 21 h 130"/>
                    <a:gd name="T4" fmla="*/ 206 w 209"/>
                    <a:gd name="T5" fmla="*/ 21 h 130"/>
                    <a:gd name="T6" fmla="*/ 207 w 209"/>
                    <a:gd name="T7" fmla="*/ 26 h 130"/>
                    <a:gd name="T8" fmla="*/ 200 w 209"/>
                    <a:gd name="T9" fmla="*/ 29 h 130"/>
                    <a:gd name="T10" fmla="*/ 12 w 209"/>
                    <a:gd name="T11" fmla="*/ 94 h 130"/>
                    <a:gd name="T12" fmla="*/ 6 w 209"/>
                    <a:gd name="T13" fmla="*/ 69 h 130"/>
                    <a:gd name="T14" fmla="*/ 23 w 209"/>
                    <a:gd name="T15" fmla="*/ 63 h 130"/>
                    <a:gd name="T16" fmla="*/ 61 w 209"/>
                    <a:gd name="T17" fmla="*/ 67 h 130"/>
                    <a:gd name="T18" fmla="*/ 160 w 209"/>
                    <a:gd name="T19" fmla="*/ 29 h 130"/>
                    <a:gd name="T20" fmla="*/ 163 w 209"/>
                    <a:gd name="T21" fmla="*/ 26 h 130"/>
                    <a:gd name="T22" fmla="*/ 160 w 209"/>
                    <a:gd name="T23" fmla="*/ 15 h 130"/>
                    <a:gd name="T24" fmla="*/ 161 w 209"/>
                    <a:gd name="T25" fmla="*/ 11 h 130"/>
                    <a:gd name="T26" fmla="*/ 165 w 209"/>
                    <a:gd name="T27" fmla="*/ 8 h 130"/>
                    <a:gd name="T28" fmla="*/ 167 w 209"/>
                    <a:gd name="T29" fmla="*/ 9 h 130"/>
                    <a:gd name="T30" fmla="*/ 171 w 209"/>
                    <a:gd name="T31" fmla="*/ 12 h 130"/>
                    <a:gd name="T32" fmla="*/ 175 w 209"/>
                    <a:gd name="T33" fmla="*/ 13 h 130"/>
                    <a:gd name="T34" fmla="*/ 177 w 209"/>
                    <a:gd name="T35" fmla="*/ 12 h 130"/>
                    <a:gd name="T36" fmla="*/ 188 w 209"/>
                    <a:gd name="T37" fmla="*/ 3 h 130"/>
                    <a:gd name="T38" fmla="*/ 193 w 209"/>
                    <a:gd name="T39" fmla="*/ 2 h 130"/>
                    <a:gd name="T40" fmla="*/ 192 w 209"/>
                    <a:gd name="T41" fmla="*/ 7 h 130"/>
                    <a:gd name="T42" fmla="*/ 186 w 209"/>
                    <a:gd name="T43" fmla="*/ 13 h 130"/>
                    <a:gd name="T44" fmla="*/ 199 w 209"/>
                    <a:gd name="T45" fmla="*/ 9 h 130"/>
                    <a:gd name="T46" fmla="*/ 203 w 209"/>
                    <a:gd name="T47" fmla="*/ 8 h 130"/>
                    <a:gd name="T48" fmla="*/ 205 w 209"/>
                    <a:gd name="T49" fmla="*/ 13 h 1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09" h="130">
                      <a:moveTo>
                        <a:pt x="205" y="13"/>
                      </a:moveTo>
                      <a:cubicBezTo>
                        <a:pt x="202" y="16"/>
                        <a:pt x="197" y="18"/>
                        <a:pt x="194" y="21"/>
                      </a:cubicBezTo>
                      <a:cubicBezTo>
                        <a:pt x="198" y="20"/>
                        <a:pt x="202" y="20"/>
                        <a:pt x="206" y="21"/>
                      </a:cubicBezTo>
                      <a:cubicBezTo>
                        <a:pt x="209" y="21"/>
                        <a:pt x="209" y="25"/>
                        <a:pt x="207" y="26"/>
                      </a:cubicBezTo>
                      <a:cubicBezTo>
                        <a:pt x="205" y="27"/>
                        <a:pt x="202" y="28"/>
                        <a:pt x="200" y="29"/>
                      </a:cubicBezTo>
                      <a:cubicBezTo>
                        <a:pt x="196" y="32"/>
                        <a:pt x="95" y="130"/>
                        <a:pt x="12" y="94"/>
                      </a:cubicBezTo>
                      <a:cubicBezTo>
                        <a:pt x="3" y="90"/>
                        <a:pt x="0" y="78"/>
                        <a:pt x="6" y="69"/>
                      </a:cubicBezTo>
                      <a:cubicBezTo>
                        <a:pt x="9" y="64"/>
                        <a:pt x="16" y="61"/>
                        <a:pt x="23" y="63"/>
                      </a:cubicBezTo>
                      <a:cubicBezTo>
                        <a:pt x="32" y="65"/>
                        <a:pt x="45" y="67"/>
                        <a:pt x="61" y="67"/>
                      </a:cubicBezTo>
                      <a:cubicBezTo>
                        <a:pt x="89" y="67"/>
                        <a:pt x="126" y="59"/>
                        <a:pt x="160" y="29"/>
                      </a:cubicBezTo>
                      <a:cubicBezTo>
                        <a:pt x="161" y="28"/>
                        <a:pt x="162" y="27"/>
                        <a:pt x="163" y="26"/>
                      </a:cubicBezTo>
                      <a:cubicBezTo>
                        <a:pt x="162" y="22"/>
                        <a:pt x="161" y="18"/>
                        <a:pt x="160" y="15"/>
                      </a:cubicBezTo>
                      <a:cubicBezTo>
                        <a:pt x="160" y="14"/>
                        <a:pt x="160" y="12"/>
                        <a:pt x="161" y="11"/>
                      </a:cubicBezTo>
                      <a:cubicBezTo>
                        <a:pt x="162" y="9"/>
                        <a:pt x="163" y="8"/>
                        <a:pt x="165" y="8"/>
                      </a:cubicBezTo>
                      <a:cubicBezTo>
                        <a:pt x="165" y="8"/>
                        <a:pt x="166" y="9"/>
                        <a:pt x="167" y="9"/>
                      </a:cubicBezTo>
                      <a:cubicBezTo>
                        <a:pt x="168" y="10"/>
                        <a:pt x="169" y="11"/>
                        <a:pt x="171" y="12"/>
                      </a:cubicBezTo>
                      <a:cubicBezTo>
                        <a:pt x="172" y="13"/>
                        <a:pt x="174" y="14"/>
                        <a:pt x="175" y="13"/>
                      </a:cubicBezTo>
                      <a:cubicBezTo>
                        <a:pt x="176" y="13"/>
                        <a:pt x="177" y="12"/>
                        <a:pt x="177" y="12"/>
                      </a:cubicBezTo>
                      <a:cubicBezTo>
                        <a:pt x="181" y="9"/>
                        <a:pt x="184" y="6"/>
                        <a:pt x="188" y="3"/>
                      </a:cubicBezTo>
                      <a:cubicBezTo>
                        <a:pt x="190" y="1"/>
                        <a:pt x="192" y="0"/>
                        <a:pt x="193" y="2"/>
                      </a:cubicBezTo>
                      <a:cubicBezTo>
                        <a:pt x="194" y="3"/>
                        <a:pt x="193" y="5"/>
                        <a:pt x="192" y="7"/>
                      </a:cubicBezTo>
                      <a:cubicBezTo>
                        <a:pt x="190" y="9"/>
                        <a:pt x="188" y="11"/>
                        <a:pt x="186" y="13"/>
                      </a:cubicBezTo>
                      <a:cubicBezTo>
                        <a:pt x="191" y="12"/>
                        <a:pt x="195" y="10"/>
                        <a:pt x="199" y="9"/>
                      </a:cubicBezTo>
                      <a:cubicBezTo>
                        <a:pt x="200" y="9"/>
                        <a:pt x="202" y="8"/>
                        <a:pt x="203" y="8"/>
                      </a:cubicBezTo>
                      <a:cubicBezTo>
                        <a:pt x="205" y="9"/>
                        <a:pt x="206" y="11"/>
                        <a:pt x="205" y="13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79" name="Freeform 96">
                  <a:extLst>
                    <a:ext uri="{FF2B5EF4-FFF2-40B4-BE49-F238E27FC236}">
                      <a16:creationId xmlns:a16="http://schemas.microsoft.com/office/drawing/2014/main" id="{F5A452C5-CC14-5B49-3AB9-E1E8B1777F6C}"/>
                    </a:ext>
                  </a:extLst>
                </p:cNvPr>
                <p:cNvSpPr/>
                <p:nvPr/>
              </p:nvSpPr>
              <p:spPr bwMode="auto">
                <a:xfrm>
                  <a:off x="6981444" y="5105476"/>
                  <a:ext cx="131554" cy="115893"/>
                </a:xfrm>
                <a:custGeom>
                  <a:avLst/>
                  <a:gdLst>
                    <a:gd name="T0" fmla="*/ 7 w 51"/>
                    <a:gd name="T1" fmla="*/ 8 h 45"/>
                    <a:gd name="T2" fmla="*/ 14 w 51"/>
                    <a:gd name="T3" fmla="*/ 36 h 45"/>
                    <a:gd name="T4" fmla="*/ 14 w 51"/>
                    <a:gd name="T5" fmla="*/ 37 h 45"/>
                    <a:gd name="T6" fmla="*/ 44 w 51"/>
                    <a:gd name="T7" fmla="*/ 45 h 45"/>
                    <a:gd name="T8" fmla="*/ 51 w 51"/>
                    <a:gd name="T9" fmla="*/ 5 h 45"/>
                    <a:gd name="T10" fmla="*/ 14 w 51"/>
                    <a:gd name="T11" fmla="*/ 1 h 45"/>
                    <a:gd name="T12" fmla="*/ 7 w 51"/>
                    <a:gd name="T13" fmla="*/ 8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1" h="45">
                      <a:moveTo>
                        <a:pt x="7" y="8"/>
                      </a:moveTo>
                      <a:cubicBezTo>
                        <a:pt x="0" y="18"/>
                        <a:pt x="3" y="31"/>
                        <a:pt x="14" y="36"/>
                      </a:cubicBezTo>
                      <a:cubicBezTo>
                        <a:pt x="14" y="36"/>
                        <a:pt x="14" y="37"/>
                        <a:pt x="14" y="37"/>
                      </a:cubicBezTo>
                      <a:cubicBezTo>
                        <a:pt x="28" y="42"/>
                        <a:pt x="44" y="45"/>
                        <a:pt x="44" y="45"/>
                      </a:cubicBezTo>
                      <a:cubicBezTo>
                        <a:pt x="51" y="5"/>
                        <a:pt x="51" y="5"/>
                        <a:pt x="51" y="5"/>
                      </a:cubicBezTo>
                      <a:cubicBezTo>
                        <a:pt x="51" y="5"/>
                        <a:pt x="21" y="0"/>
                        <a:pt x="14" y="1"/>
                      </a:cubicBezTo>
                      <a:cubicBezTo>
                        <a:pt x="12" y="2"/>
                        <a:pt x="9" y="5"/>
                        <a:pt x="7" y="8"/>
                      </a:cubicBezTo>
                      <a:close/>
                    </a:path>
                  </a:pathLst>
                </a:custGeom>
                <a:solidFill>
                  <a:srgbClr val="FBCCD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80" name="Freeform 97">
                  <a:extLst>
                    <a:ext uri="{FF2B5EF4-FFF2-40B4-BE49-F238E27FC236}">
                      <a16:creationId xmlns:a16="http://schemas.microsoft.com/office/drawing/2014/main" id="{A7EA2DC8-A543-F92D-C37F-589344CC1A68}"/>
                    </a:ext>
                  </a:extLst>
                </p:cNvPr>
                <p:cNvSpPr/>
                <p:nvPr/>
              </p:nvSpPr>
              <p:spPr bwMode="auto">
                <a:xfrm>
                  <a:off x="7145888" y="5028738"/>
                  <a:ext cx="266240" cy="145649"/>
                </a:xfrm>
                <a:custGeom>
                  <a:avLst/>
                  <a:gdLst>
                    <a:gd name="T0" fmla="*/ 103 w 104"/>
                    <a:gd name="T1" fmla="*/ 7 h 57"/>
                    <a:gd name="T2" fmla="*/ 24 w 104"/>
                    <a:gd name="T3" fmla="*/ 55 h 57"/>
                    <a:gd name="T4" fmla="*/ 0 w 104"/>
                    <a:gd name="T5" fmla="*/ 38 h 57"/>
                    <a:gd name="T6" fmla="*/ 99 w 104"/>
                    <a:gd name="T7" fmla="*/ 0 h 57"/>
                    <a:gd name="T8" fmla="*/ 103 w 104"/>
                    <a:gd name="T9" fmla="*/ 7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4" h="57">
                      <a:moveTo>
                        <a:pt x="103" y="7"/>
                      </a:moveTo>
                      <a:cubicBezTo>
                        <a:pt x="102" y="24"/>
                        <a:pt x="45" y="54"/>
                        <a:pt x="24" y="55"/>
                      </a:cubicBezTo>
                      <a:cubicBezTo>
                        <a:pt x="9" y="57"/>
                        <a:pt x="2" y="45"/>
                        <a:pt x="0" y="38"/>
                      </a:cubicBezTo>
                      <a:cubicBezTo>
                        <a:pt x="28" y="38"/>
                        <a:pt x="65" y="30"/>
                        <a:pt x="99" y="0"/>
                      </a:cubicBezTo>
                      <a:cubicBezTo>
                        <a:pt x="102" y="1"/>
                        <a:pt x="104" y="4"/>
                        <a:pt x="103" y="7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81" name="Freeform 98">
                  <a:extLst>
                    <a:ext uri="{FF2B5EF4-FFF2-40B4-BE49-F238E27FC236}">
                      <a16:creationId xmlns:a16="http://schemas.microsoft.com/office/drawing/2014/main" id="{F2B1244D-9BAB-80B7-030E-92F39FDBD0B8}"/>
                    </a:ext>
                  </a:extLst>
                </p:cNvPr>
                <p:cNvSpPr/>
                <p:nvPr/>
              </p:nvSpPr>
              <p:spPr bwMode="auto">
                <a:xfrm>
                  <a:off x="7004936" y="5190048"/>
                  <a:ext cx="238050" cy="101798"/>
                </a:xfrm>
                <a:custGeom>
                  <a:avLst/>
                  <a:gdLst>
                    <a:gd name="T0" fmla="*/ 0 w 93"/>
                    <a:gd name="T1" fmla="*/ 0 h 40"/>
                    <a:gd name="T2" fmla="*/ 35 w 93"/>
                    <a:gd name="T3" fmla="*/ 12 h 40"/>
                    <a:gd name="T4" fmla="*/ 36 w 93"/>
                    <a:gd name="T5" fmla="*/ 9 h 40"/>
                    <a:gd name="T6" fmla="*/ 93 w 93"/>
                    <a:gd name="T7" fmla="*/ 1 h 40"/>
                    <a:gd name="T8" fmla="*/ 0 w 93"/>
                    <a:gd name="T9" fmla="*/ 0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3" h="40">
                      <a:moveTo>
                        <a:pt x="0" y="0"/>
                      </a:moveTo>
                      <a:cubicBezTo>
                        <a:pt x="0" y="0"/>
                        <a:pt x="10" y="8"/>
                        <a:pt x="35" y="12"/>
                      </a:cubicBezTo>
                      <a:cubicBezTo>
                        <a:pt x="36" y="9"/>
                        <a:pt x="36" y="9"/>
                        <a:pt x="36" y="9"/>
                      </a:cubicBezTo>
                      <a:cubicBezTo>
                        <a:pt x="36" y="9"/>
                        <a:pt x="57" y="13"/>
                        <a:pt x="93" y="1"/>
                      </a:cubicBezTo>
                      <a:cubicBezTo>
                        <a:pt x="93" y="1"/>
                        <a:pt x="49" y="40"/>
                        <a:pt x="0" y="0"/>
                      </a:cubicBezTo>
                      <a:close/>
                    </a:path>
                  </a:pathLst>
                </a:custGeom>
                <a:solidFill>
                  <a:schemeClr val="accent6">
                    <a:lumMod val="40000"/>
                    <a:lumOff val="60000"/>
                  </a:scheme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82" name="Freeform 99">
                  <a:extLst>
                    <a:ext uri="{FF2B5EF4-FFF2-40B4-BE49-F238E27FC236}">
                      <a16:creationId xmlns:a16="http://schemas.microsoft.com/office/drawing/2014/main" id="{7A205D21-6C39-9B76-B7FF-78CA7C4A336C}"/>
                    </a:ext>
                  </a:extLst>
                </p:cNvPr>
                <p:cNvSpPr/>
                <p:nvPr/>
              </p:nvSpPr>
              <p:spPr bwMode="auto">
                <a:xfrm>
                  <a:off x="7036258" y="5108610"/>
                  <a:ext cx="173838" cy="20360"/>
                </a:xfrm>
                <a:custGeom>
                  <a:avLst/>
                  <a:gdLst>
                    <a:gd name="T0" fmla="*/ 0 w 68"/>
                    <a:gd name="T1" fmla="*/ 0 h 8"/>
                    <a:gd name="T2" fmla="*/ 30 w 68"/>
                    <a:gd name="T3" fmla="*/ 4 h 8"/>
                    <a:gd name="T4" fmla="*/ 30 w 68"/>
                    <a:gd name="T5" fmla="*/ 7 h 8"/>
                    <a:gd name="T6" fmla="*/ 68 w 68"/>
                    <a:gd name="T7" fmla="*/ 5 h 8"/>
                    <a:gd name="T8" fmla="*/ 0 w 68"/>
                    <a:gd name="T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8" h="8">
                      <a:moveTo>
                        <a:pt x="0" y="0"/>
                      </a:moveTo>
                      <a:cubicBezTo>
                        <a:pt x="30" y="4"/>
                        <a:pt x="30" y="4"/>
                        <a:pt x="30" y="4"/>
                      </a:cubicBezTo>
                      <a:cubicBezTo>
                        <a:pt x="30" y="7"/>
                        <a:pt x="30" y="7"/>
                        <a:pt x="30" y="7"/>
                      </a:cubicBezTo>
                      <a:cubicBezTo>
                        <a:pt x="30" y="7"/>
                        <a:pt x="48" y="8"/>
                        <a:pt x="68" y="5"/>
                      </a:cubicBez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accent6">
                    <a:lumMod val="40000"/>
                    <a:lumOff val="60000"/>
                  </a:scheme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</p:grpSp>
          <p:grpSp>
            <p:nvGrpSpPr>
              <p:cNvPr id="100" name="Graphic 343">
                <a:extLst>
                  <a:ext uri="{FF2B5EF4-FFF2-40B4-BE49-F238E27FC236}">
                    <a16:creationId xmlns:a16="http://schemas.microsoft.com/office/drawing/2014/main" id="{DD36988F-EA3F-C873-FE56-CAF62B1D350C}"/>
                  </a:ext>
                </a:extLst>
              </p:cNvPr>
              <p:cNvGrpSpPr/>
              <p:nvPr/>
            </p:nvGrpSpPr>
            <p:grpSpPr>
              <a:xfrm>
                <a:off x="7338685" y="2952314"/>
                <a:ext cx="393831" cy="290063"/>
                <a:chOff x="3796454" y="2551305"/>
                <a:chExt cx="292064" cy="215110"/>
              </a:xfrm>
              <a:solidFill>
                <a:sysClr val="window" lastClr="FFFFFF"/>
              </a:solidFill>
            </p:grpSpPr>
            <p:sp>
              <p:nvSpPr>
                <p:cNvPr id="137" name="Freeform: Shape 187">
                  <a:extLst>
                    <a:ext uri="{FF2B5EF4-FFF2-40B4-BE49-F238E27FC236}">
                      <a16:creationId xmlns:a16="http://schemas.microsoft.com/office/drawing/2014/main" id="{1BD91E78-1E15-EFAE-EEB8-424764F50A40}"/>
                    </a:ext>
                  </a:extLst>
                </p:cNvPr>
                <p:cNvSpPr/>
                <p:nvPr/>
              </p:nvSpPr>
              <p:spPr>
                <a:xfrm>
                  <a:off x="3936645" y="2551305"/>
                  <a:ext cx="11682" cy="33961"/>
                </a:xfrm>
                <a:custGeom>
                  <a:avLst/>
                  <a:gdLst>
                    <a:gd name="connsiteX0" fmla="*/ 5841 w 11682"/>
                    <a:gd name="connsiteY0" fmla="*/ 33962 h 33961"/>
                    <a:gd name="connsiteX1" fmla="*/ 11683 w 11682"/>
                    <a:gd name="connsiteY1" fmla="*/ 28301 h 33961"/>
                    <a:gd name="connsiteX2" fmla="*/ 11683 w 11682"/>
                    <a:gd name="connsiteY2" fmla="*/ 5660 h 33961"/>
                    <a:gd name="connsiteX3" fmla="*/ 5841 w 11682"/>
                    <a:gd name="connsiteY3" fmla="*/ 0 h 33961"/>
                    <a:gd name="connsiteX4" fmla="*/ 0 w 11682"/>
                    <a:gd name="connsiteY4" fmla="*/ 5660 h 33961"/>
                    <a:gd name="connsiteX5" fmla="*/ 0 w 11682"/>
                    <a:gd name="connsiteY5" fmla="*/ 28301 h 33961"/>
                    <a:gd name="connsiteX6" fmla="*/ 5841 w 11682"/>
                    <a:gd name="connsiteY6" fmla="*/ 33962 h 33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682" h="33961">
                      <a:moveTo>
                        <a:pt x="5841" y="33962"/>
                      </a:moveTo>
                      <a:cubicBezTo>
                        <a:pt x="9067" y="33962"/>
                        <a:pt x="11683" y="31428"/>
                        <a:pt x="11683" y="28301"/>
                      </a:cubicBezTo>
                      <a:lnTo>
                        <a:pt x="11683" y="5660"/>
                      </a:lnTo>
                      <a:cubicBezTo>
                        <a:pt x="11683" y="2534"/>
                        <a:pt x="9067" y="0"/>
                        <a:pt x="5841" y="0"/>
                      </a:cubicBezTo>
                      <a:cubicBezTo>
                        <a:pt x="2615" y="0"/>
                        <a:pt x="0" y="2534"/>
                        <a:pt x="0" y="5660"/>
                      </a:cubicBezTo>
                      <a:lnTo>
                        <a:pt x="0" y="28301"/>
                      </a:lnTo>
                      <a:cubicBezTo>
                        <a:pt x="0" y="31428"/>
                        <a:pt x="2615" y="33962"/>
                        <a:pt x="5841" y="33962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38" name="Freeform: Shape 188">
                  <a:extLst>
                    <a:ext uri="{FF2B5EF4-FFF2-40B4-BE49-F238E27FC236}">
                      <a16:creationId xmlns:a16="http://schemas.microsoft.com/office/drawing/2014/main" id="{BEBAFE73-FD6B-4D4D-37FA-C267D8A63DA9}"/>
                    </a:ext>
                  </a:extLst>
                </p:cNvPr>
                <p:cNvSpPr/>
                <p:nvPr/>
              </p:nvSpPr>
              <p:spPr>
                <a:xfrm>
                  <a:off x="3866568" y="2569535"/>
                  <a:ext cx="23367" cy="30935"/>
                </a:xfrm>
                <a:custGeom>
                  <a:avLst/>
                  <a:gdLst>
                    <a:gd name="connsiteX0" fmla="*/ 12447 w 23367"/>
                    <a:gd name="connsiteY0" fmla="*/ 28072 h 30935"/>
                    <a:gd name="connsiteX1" fmla="*/ 20412 w 23367"/>
                    <a:gd name="connsiteY1" fmla="*/ 30195 h 30935"/>
                    <a:gd name="connsiteX2" fmla="*/ 22603 w 23367"/>
                    <a:gd name="connsiteY2" fmla="*/ 22476 h 30935"/>
                    <a:gd name="connsiteX3" fmla="*/ 22564 w 23367"/>
                    <a:gd name="connsiteY3" fmla="*/ 22411 h 30935"/>
                    <a:gd name="connsiteX4" fmla="*/ 10881 w 23367"/>
                    <a:gd name="connsiteY4" fmla="*/ 2799 h 30935"/>
                    <a:gd name="connsiteX5" fmla="*/ 2888 w 23367"/>
                    <a:gd name="connsiteY5" fmla="*/ 778 h 30935"/>
                    <a:gd name="connsiteX6" fmla="*/ 764 w 23367"/>
                    <a:gd name="connsiteY6" fmla="*/ 8459 h 30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367" h="30935">
                      <a:moveTo>
                        <a:pt x="12447" y="28072"/>
                      </a:moveTo>
                      <a:cubicBezTo>
                        <a:pt x="14042" y="30789"/>
                        <a:pt x="17608" y="31740"/>
                        <a:pt x="20412" y="30195"/>
                      </a:cubicBezTo>
                      <a:cubicBezTo>
                        <a:pt x="23216" y="28650"/>
                        <a:pt x="24197" y="25194"/>
                        <a:pt x="22603" y="22476"/>
                      </a:cubicBezTo>
                      <a:cubicBezTo>
                        <a:pt x="22590" y="22454"/>
                        <a:pt x="22577" y="22433"/>
                        <a:pt x="22564" y="22411"/>
                      </a:cubicBezTo>
                      <a:lnTo>
                        <a:pt x="10881" y="2799"/>
                      </a:lnTo>
                      <a:cubicBezTo>
                        <a:pt x="9250" y="102"/>
                        <a:pt x="5671" y="-803"/>
                        <a:pt x="2888" y="778"/>
                      </a:cubicBezTo>
                      <a:cubicBezTo>
                        <a:pt x="131" y="2344"/>
                        <a:pt x="-815" y="5767"/>
                        <a:pt x="764" y="8459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39" name="Freeform: Shape 189">
                  <a:extLst>
                    <a:ext uri="{FF2B5EF4-FFF2-40B4-BE49-F238E27FC236}">
                      <a16:creationId xmlns:a16="http://schemas.microsoft.com/office/drawing/2014/main" id="{4D9825B6-94CF-593B-13D9-7B30E09507A5}"/>
                    </a:ext>
                  </a:extLst>
                </p:cNvPr>
                <p:cNvSpPr/>
                <p:nvPr/>
              </p:nvSpPr>
              <p:spPr>
                <a:xfrm>
                  <a:off x="3815266" y="2619247"/>
                  <a:ext cx="31924" cy="22642"/>
                </a:xfrm>
                <a:custGeom>
                  <a:avLst/>
                  <a:gdLst>
                    <a:gd name="connsiteX0" fmla="*/ 2888 w 31924"/>
                    <a:gd name="connsiteY0" fmla="*/ 10544 h 22642"/>
                    <a:gd name="connsiteX1" fmla="*/ 23128 w 31924"/>
                    <a:gd name="connsiteY1" fmla="*/ 21865 h 22642"/>
                    <a:gd name="connsiteX2" fmla="*/ 31122 w 31924"/>
                    <a:gd name="connsiteY2" fmla="*/ 19845 h 22642"/>
                    <a:gd name="connsiteX3" fmla="*/ 29037 w 31924"/>
                    <a:gd name="connsiteY3" fmla="*/ 12099 h 22642"/>
                    <a:gd name="connsiteX4" fmla="*/ 28970 w 31924"/>
                    <a:gd name="connsiteY4" fmla="*/ 12061 h 22642"/>
                    <a:gd name="connsiteX5" fmla="*/ 8729 w 31924"/>
                    <a:gd name="connsiteY5" fmla="*/ 741 h 22642"/>
                    <a:gd name="connsiteX6" fmla="*/ 764 w 31924"/>
                    <a:gd name="connsiteY6" fmla="*/ 2864 h 22642"/>
                    <a:gd name="connsiteX7" fmla="*/ 2888 w 31924"/>
                    <a:gd name="connsiteY7" fmla="*/ 10544 h 22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923" h="22642">
                      <a:moveTo>
                        <a:pt x="2888" y="10544"/>
                      </a:moveTo>
                      <a:lnTo>
                        <a:pt x="23128" y="21865"/>
                      </a:lnTo>
                      <a:cubicBezTo>
                        <a:pt x="25911" y="23446"/>
                        <a:pt x="29490" y="22541"/>
                        <a:pt x="31122" y="19845"/>
                      </a:cubicBezTo>
                      <a:cubicBezTo>
                        <a:pt x="32753" y="17148"/>
                        <a:pt x="31820" y="13680"/>
                        <a:pt x="29037" y="12099"/>
                      </a:cubicBezTo>
                      <a:cubicBezTo>
                        <a:pt x="29015" y="12086"/>
                        <a:pt x="28992" y="12074"/>
                        <a:pt x="28970" y="12061"/>
                      </a:cubicBezTo>
                      <a:lnTo>
                        <a:pt x="8729" y="741"/>
                      </a:lnTo>
                      <a:cubicBezTo>
                        <a:pt x="5925" y="-805"/>
                        <a:pt x="2359" y="146"/>
                        <a:pt x="764" y="2864"/>
                      </a:cubicBezTo>
                      <a:cubicBezTo>
                        <a:pt x="-815" y="5556"/>
                        <a:pt x="131" y="8978"/>
                        <a:pt x="2888" y="10544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40" name="Freeform: Shape 190">
                  <a:extLst>
                    <a:ext uri="{FF2B5EF4-FFF2-40B4-BE49-F238E27FC236}">
                      <a16:creationId xmlns:a16="http://schemas.microsoft.com/office/drawing/2014/main" id="{790D8631-BC35-A9A0-8402-9296A0B7A87A}"/>
                    </a:ext>
                  </a:extLst>
                </p:cNvPr>
                <p:cNvSpPr/>
                <p:nvPr/>
              </p:nvSpPr>
              <p:spPr>
                <a:xfrm>
                  <a:off x="3796454" y="2687152"/>
                  <a:ext cx="35047" cy="11320"/>
                </a:xfrm>
                <a:custGeom>
                  <a:avLst/>
                  <a:gdLst>
                    <a:gd name="connsiteX0" fmla="*/ 35048 w 35047"/>
                    <a:gd name="connsiteY0" fmla="*/ 5660 h 11320"/>
                    <a:gd name="connsiteX1" fmla="*/ 29207 w 35047"/>
                    <a:gd name="connsiteY1" fmla="*/ 0 h 11320"/>
                    <a:gd name="connsiteX2" fmla="*/ 5841 w 35047"/>
                    <a:gd name="connsiteY2" fmla="*/ 0 h 11320"/>
                    <a:gd name="connsiteX3" fmla="*/ 0 w 35047"/>
                    <a:gd name="connsiteY3" fmla="*/ 5660 h 11320"/>
                    <a:gd name="connsiteX4" fmla="*/ 5841 w 35047"/>
                    <a:gd name="connsiteY4" fmla="*/ 11321 h 11320"/>
                    <a:gd name="connsiteX5" fmla="*/ 29207 w 35047"/>
                    <a:gd name="connsiteY5" fmla="*/ 11321 h 11320"/>
                    <a:gd name="connsiteX6" fmla="*/ 35048 w 35047"/>
                    <a:gd name="connsiteY6" fmla="*/ 5660 h 11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47" h="11320">
                      <a:moveTo>
                        <a:pt x="35048" y="5660"/>
                      </a:moveTo>
                      <a:cubicBezTo>
                        <a:pt x="35048" y="2534"/>
                        <a:pt x="32433" y="0"/>
                        <a:pt x="29207" y="0"/>
                      </a:cubicBezTo>
                      <a:lnTo>
                        <a:pt x="5841" y="0"/>
                      </a:lnTo>
                      <a:cubicBezTo>
                        <a:pt x="2615" y="0"/>
                        <a:pt x="0" y="2534"/>
                        <a:pt x="0" y="5660"/>
                      </a:cubicBezTo>
                      <a:cubicBezTo>
                        <a:pt x="0" y="8786"/>
                        <a:pt x="2615" y="11321"/>
                        <a:pt x="5841" y="11321"/>
                      </a:cubicBezTo>
                      <a:lnTo>
                        <a:pt x="29207" y="11321"/>
                      </a:lnTo>
                      <a:cubicBezTo>
                        <a:pt x="32433" y="11321"/>
                        <a:pt x="35048" y="8786"/>
                        <a:pt x="35048" y="5660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41" name="Freeform: Shape 257">
                  <a:extLst>
                    <a:ext uri="{FF2B5EF4-FFF2-40B4-BE49-F238E27FC236}">
                      <a16:creationId xmlns:a16="http://schemas.microsoft.com/office/drawing/2014/main" id="{A4D6E5EE-670A-4F68-242B-A0326443DF12}"/>
                    </a:ext>
                  </a:extLst>
                </p:cNvPr>
                <p:cNvSpPr/>
                <p:nvPr/>
              </p:nvSpPr>
              <p:spPr>
                <a:xfrm>
                  <a:off x="3815199" y="2743735"/>
                  <a:ext cx="31991" cy="22680"/>
                </a:xfrm>
                <a:custGeom>
                  <a:avLst/>
                  <a:gdLst>
                    <a:gd name="connsiteX0" fmla="*/ 23195 w 31991"/>
                    <a:gd name="connsiteY0" fmla="*/ 778 h 22680"/>
                    <a:gd name="connsiteX1" fmla="*/ 2955 w 31991"/>
                    <a:gd name="connsiteY1" fmla="*/ 12099 h 22680"/>
                    <a:gd name="connsiteX2" fmla="*/ 764 w 31991"/>
                    <a:gd name="connsiteY2" fmla="*/ 19817 h 22680"/>
                    <a:gd name="connsiteX3" fmla="*/ 8729 w 31991"/>
                    <a:gd name="connsiteY3" fmla="*/ 21940 h 22680"/>
                    <a:gd name="connsiteX4" fmla="*/ 8797 w 31991"/>
                    <a:gd name="connsiteY4" fmla="*/ 21902 h 22680"/>
                    <a:gd name="connsiteX5" fmla="*/ 29037 w 31991"/>
                    <a:gd name="connsiteY5" fmla="*/ 10582 h 22680"/>
                    <a:gd name="connsiteX6" fmla="*/ 31228 w 31991"/>
                    <a:gd name="connsiteY6" fmla="*/ 2863 h 22680"/>
                    <a:gd name="connsiteX7" fmla="*/ 23263 w 31991"/>
                    <a:gd name="connsiteY7" fmla="*/ 741 h 22680"/>
                    <a:gd name="connsiteX8" fmla="*/ 23195 w 31991"/>
                    <a:gd name="connsiteY8" fmla="*/ 778 h 22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91" h="22680">
                      <a:moveTo>
                        <a:pt x="23195" y="778"/>
                      </a:moveTo>
                      <a:lnTo>
                        <a:pt x="2955" y="12099"/>
                      </a:lnTo>
                      <a:cubicBezTo>
                        <a:pt x="151" y="13644"/>
                        <a:pt x="-830" y="17100"/>
                        <a:pt x="764" y="19817"/>
                      </a:cubicBezTo>
                      <a:cubicBezTo>
                        <a:pt x="2359" y="22535"/>
                        <a:pt x="5925" y="23485"/>
                        <a:pt x="8729" y="21940"/>
                      </a:cubicBezTo>
                      <a:cubicBezTo>
                        <a:pt x="8752" y="21927"/>
                        <a:pt x="8774" y="21915"/>
                        <a:pt x="8797" y="21902"/>
                      </a:cubicBezTo>
                      <a:lnTo>
                        <a:pt x="29037" y="10582"/>
                      </a:lnTo>
                      <a:cubicBezTo>
                        <a:pt x="31841" y="9037"/>
                        <a:pt x="32822" y="5581"/>
                        <a:pt x="31228" y="2863"/>
                      </a:cubicBezTo>
                      <a:cubicBezTo>
                        <a:pt x="29633" y="146"/>
                        <a:pt x="26067" y="-804"/>
                        <a:pt x="23263" y="741"/>
                      </a:cubicBezTo>
                      <a:cubicBezTo>
                        <a:pt x="23240" y="753"/>
                        <a:pt x="23218" y="766"/>
                        <a:pt x="23195" y="778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42" name="Freeform: Shape 258">
                  <a:extLst>
                    <a:ext uri="{FF2B5EF4-FFF2-40B4-BE49-F238E27FC236}">
                      <a16:creationId xmlns:a16="http://schemas.microsoft.com/office/drawing/2014/main" id="{2F0761B9-EAC0-245D-9311-64BC4ABF3E93}"/>
                    </a:ext>
                  </a:extLst>
                </p:cNvPr>
                <p:cNvSpPr/>
                <p:nvPr/>
              </p:nvSpPr>
              <p:spPr>
                <a:xfrm>
                  <a:off x="4037782" y="2743735"/>
                  <a:ext cx="31991" cy="22680"/>
                </a:xfrm>
                <a:custGeom>
                  <a:avLst/>
                  <a:gdLst>
                    <a:gd name="connsiteX0" fmla="*/ 29036 w 31991"/>
                    <a:gd name="connsiteY0" fmla="*/ 12099 h 22680"/>
                    <a:gd name="connsiteX1" fmla="*/ 8796 w 31991"/>
                    <a:gd name="connsiteY1" fmla="*/ 778 h 22680"/>
                    <a:gd name="connsiteX2" fmla="*/ 803 w 31991"/>
                    <a:gd name="connsiteY2" fmla="*/ 2798 h 22680"/>
                    <a:gd name="connsiteX3" fmla="*/ 2888 w 31991"/>
                    <a:gd name="connsiteY3" fmla="*/ 10544 h 22680"/>
                    <a:gd name="connsiteX4" fmla="*/ 2955 w 31991"/>
                    <a:gd name="connsiteY4" fmla="*/ 10582 h 22680"/>
                    <a:gd name="connsiteX5" fmla="*/ 23195 w 31991"/>
                    <a:gd name="connsiteY5" fmla="*/ 21902 h 22680"/>
                    <a:gd name="connsiteX6" fmla="*/ 31188 w 31991"/>
                    <a:gd name="connsiteY6" fmla="*/ 19882 h 22680"/>
                    <a:gd name="connsiteX7" fmla="*/ 29104 w 31991"/>
                    <a:gd name="connsiteY7" fmla="*/ 12136 h 22680"/>
                    <a:gd name="connsiteX8" fmla="*/ 29036 w 31991"/>
                    <a:gd name="connsiteY8" fmla="*/ 12099 h 22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91" h="22680">
                      <a:moveTo>
                        <a:pt x="29036" y="12099"/>
                      </a:moveTo>
                      <a:lnTo>
                        <a:pt x="8796" y="778"/>
                      </a:lnTo>
                      <a:cubicBezTo>
                        <a:pt x="6013" y="-803"/>
                        <a:pt x="2434" y="102"/>
                        <a:pt x="803" y="2798"/>
                      </a:cubicBezTo>
                      <a:cubicBezTo>
                        <a:pt x="-828" y="5495"/>
                        <a:pt x="105" y="8963"/>
                        <a:pt x="2888" y="10544"/>
                      </a:cubicBezTo>
                      <a:cubicBezTo>
                        <a:pt x="2910" y="10557"/>
                        <a:pt x="2933" y="10569"/>
                        <a:pt x="2955" y="10582"/>
                      </a:cubicBezTo>
                      <a:lnTo>
                        <a:pt x="23195" y="21902"/>
                      </a:lnTo>
                      <a:cubicBezTo>
                        <a:pt x="25978" y="23483"/>
                        <a:pt x="29557" y="22579"/>
                        <a:pt x="31188" y="19882"/>
                      </a:cubicBezTo>
                      <a:cubicBezTo>
                        <a:pt x="32820" y="17185"/>
                        <a:pt x="31886" y="13718"/>
                        <a:pt x="29104" y="12136"/>
                      </a:cubicBezTo>
                      <a:cubicBezTo>
                        <a:pt x="29081" y="12124"/>
                        <a:pt x="29059" y="12111"/>
                        <a:pt x="29036" y="12099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43" name="Freeform: Shape 259">
                  <a:extLst>
                    <a:ext uri="{FF2B5EF4-FFF2-40B4-BE49-F238E27FC236}">
                      <a16:creationId xmlns:a16="http://schemas.microsoft.com/office/drawing/2014/main" id="{7F87B917-3611-9F40-1101-5259B0C5FC48}"/>
                    </a:ext>
                  </a:extLst>
                </p:cNvPr>
                <p:cNvSpPr/>
                <p:nvPr/>
              </p:nvSpPr>
              <p:spPr>
                <a:xfrm>
                  <a:off x="4053471" y="2687152"/>
                  <a:ext cx="35047" cy="11320"/>
                </a:xfrm>
                <a:custGeom>
                  <a:avLst/>
                  <a:gdLst>
                    <a:gd name="connsiteX0" fmla="*/ 29207 w 35047"/>
                    <a:gd name="connsiteY0" fmla="*/ 0 h 11320"/>
                    <a:gd name="connsiteX1" fmla="*/ 5841 w 35047"/>
                    <a:gd name="connsiteY1" fmla="*/ 0 h 11320"/>
                    <a:gd name="connsiteX2" fmla="*/ 0 w 35047"/>
                    <a:gd name="connsiteY2" fmla="*/ 5660 h 11320"/>
                    <a:gd name="connsiteX3" fmla="*/ 5841 w 35047"/>
                    <a:gd name="connsiteY3" fmla="*/ 11321 h 11320"/>
                    <a:gd name="connsiteX4" fmla="*/ 29207 w 35047"/>
                    <a:gd name="connsiteY4" fmla="*/ 11321 h 11320"/>
                    <a:gd name="connsiteX5" fmla="*/ 35048 w 35047"/>
                    <a:gd name="connsiteY5" fmla="*/ 5660 h 11320"/>
                    <a:gd name="connsiteX6" fmla="*/ 29207 w 35047"/>
                    <a:gd name="connsiteY6" fmla="*/ 0 h 11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47" h="11320">
                      <a:moveTo>
                        <a:pt x="29207" y="0"/>
                      </a:moveTo>
                      <a:lnTo>
                        <a:pt x="5841" y="0"/>
                      </a:lnTo>
                      <a:cubicBezTo>
                        <a:pt x="2615" y="0"/>
                        <a:pt x="0" y="2534"/>
                        <a:pt x="0" y="5660"/>
                      </a:cubicBezTo>
                      <a:cubicBezTo>
                        <a:pt x="0" y="8786"/>
                        <a:pt x="2615" y="11321"/>
                        <a:pt x="5841" y="11321"/>
                      </a:cubicBezTo>
                      <a:lnTo>
                        <a:pt x="29207" y="11321"/>
                      </a:lnTo>
                      <a:cubicBezTo>
                        <a:pt x="32433" y="11321"/>
                        <a:pt x="35048" y="8786"/>
                        <a:pt x="35048" y="5660"/>
                      </a:cubicBezTo>
                      <a:cubicBezTo>
                        <a:pt x="35048" y="2534"/>
                        <a:pt x="32433" y="0"/>
                        <a:pt x="29207" y="0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44" name="Freeform: Shape 260">
                  <a:extLst>
                    <a:ext uri="{FF2B5EF4-FFF2-40B4-BE49-F238E27FC236}">
                      <a16:creationId xmlns:a16="http://schemas.microsoft.com/office/drawing/2014/main" id="{438E37DA-3EA9-BAE1-351C-18C0313DEAA4}"/>
                    </a:ext>
                  </a:extLst>
                </p:cNvPr>
                <p:cNvSpPr/>
                <p:nvPr/>
              </p:nvSpPr>
              <p:spPr>
                <a:xfrm>
                  <a:off x="4037822" y="2619209"/>
                  <a:ext cx="31958" cy="22660"/>
                </a:xfrm>
                <a:custGeom>
                  <a:avLst/>
                  <a:gdLst>
                    <a:gd name="connsiteX0" fmla="*/ 5842 w 31958"/>
                    <a:gd name="connsiteY0" fmla="*/ 22661 h 22660"/>
                    <a:gd name="connsiteX1" fmla="*/ 8763 w 31958"/>
                    <a:gd name="connsiteY1" fmla="*/ 21902 h 22660"/>
                    <a:gd name="connsiteX2" fmla="*/ 29003 w 31958"/>
                    <a:gd name="connsiteY2" fmla="*/ 10582 h 22660"/>
                    <a:gd name="connsiteX3" fmla="*/ 31194 w 31958"/>
                    <a:gd name="connsiteY3" fmla="*/ 2863 h 22660"/>
                    <a:gd name="connsiteX4" fmla="*/ 23229 w 31958"/>
                    <a:gd name="connsiteY4" fmla="*/ 741 h 22660"/>
                    <a:gd name="connsiteX5" fmla="*/ 23162 w 31958"/>
                    <a:gd name="connsiteY5" fmla="*/ 778 h 22660"/>
                    <a:gd name="connsiteX6" fmla="*/ 2921 w 31958"/>
                    <a:gd name="connsiteY6" fmla="*/ 12099 h 22660"/>
                    <a:gd name="connsiteX7" fmla="*/ 784 w 31958"/>
                    <a:gd name="connsiteY7" fmla="*/ 19831 h 22660"/>
                    <a:gd name="connsiteX8" fmla="*/ 5842 w 31958"/>
                    <a:gd name="connsiteY8" fmla="*/ 22661 h 22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58" h="22660">
                      <a:moveTo>
                        <a:pt x="5842" y="22661"/>
                      </a:moveTo>
                      <a:cubicBezTo>
                        <a:pt x="6868" y="22663"/>
                        <a:pt x="7875" y="22401"/>
                        <a:pt x="8763" y="21902"/>
                      </a:cubicBezTo>
                      <a:lnTo>
                        <a:pt x="29003" y="10582"/>
                      </a:lnTo>
                      <a:cubicBezTo>
                        <a:pt x="31807" y="9037"/>
                        <a:pt x="32788" y="5581"/>
                        <a:pt x="31194" y="2863"/>
                      </a:cubicBezTo>
                      <a:cubicBezTo>
                        <a:pt x="29599" y="146"/>
                        <a:pt x="26033" y="-804"/>
                        <a:pt x="23229" y="741"/>
                      </a:cubicBezTo>
                      <a:cubicBezTo>
                        <a:pt x="23206" y="753"/>
                        <a:pt x="23184" y="766"/>
                        <a:pt x="23162" y="778"/>
                      </a:cubicBezTo>
                      <a:lnTo>
                        <a:pt x="2921" y="12099"/>
                      </a:lnTo>
                      <a:cubicBezTo>
                        <a:pt x="128" y="13662"/>
                        <a:pt x="-829" y="17124"/>
                        <a:pt x="784" y="19831"/>
                      </a:cubicBezTo>
                      <a:cubicBezTo>
                        <a:pt x="1827" y="21582"/>
                        <a:pt x="3756" y="22661"/>
                        <a:pt x="5842" y="22661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45" name="Freeform: Shape 261">
                  <a:extLst>
                    <a:ext uri="{FF2B5EF4-FFF2-40B4-BE49-F238E27FC236}">
                      <a16:creationId xmlns:a16="http://schemas.microsoft.com/office/drawing/2014/main" id="{8B3FE447-B0A8-2F9C-AE4E-B719BCCC0948}"/>
                    </a:ext>
                  </a:extLst>
                </p:cNvPr>
                <p:cNvSpPr/>
                <p:nvPr/>
              </p:nvSpPr>
              <p:spPr>
                <a:xfrm>
                  <a:off x="3995058" y="2569535"/>
                  <a:ext cx="23347" cy="30902"/>
                </a:xfrm>
                <a:custGeom>
                  <a:avLst/>
                  <a:gdLst>
                    <a:gd name="connsiteX0" fmla="*/ 2921 w 23347"/>
                    <a:gd name="connsiteY0" fmla="*/ 30143 h 30902"/>
                    <a:gd name="connsiteX1" fmla="*/ 10901 w 23347"/>
                    <a:gd name="connsiteY1" fmla="*/ 28072 h 30902"/>
                    <a:gd name="connsiteX2" fmla="*/ 22583 w 23347"/>
                    <a:gd name="connsiteY2" fmla="*/ 8459 h 30902"/>
                    <a:gd name="connsiteX3" fmla="*/ 20392 w 23347"/>
                    <a:gd name="connsiteY3" fmla="*/ 741 h 30902"/>
                    <a:gd name="connsiteX4" fmla="*/ 12466 w 23347"/>
                    <a:gd name="connsiteY4" fmla="*/ 2799 h 30902"/>
                    <a:gd name="connsiteX5" fmla="*/ 783 w 23347"/>
                    <a:gd name="connsiteY5" fmla="*/ 22411 h 30902"/>
                    <a:gd name="connsiteX6" fmla="*/ 2921 w 23347"/>
                    <a:gd name="connsiteY6" fmla="*/ 30143 h 309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347" h="30902">
                      <a:moveTo>
                        <a:pt x="2921" y="30143"/>
                      </a:moveTo>
                      <a:cubicBezTo>
                        <a:pt x="5715" y="31706"/>
                        <a:pt x="9288" y="30779"/>
                        <a:pt x="10901" y="28072"/>
                      </a:cubicBezTo>
                      <a:lnTo>
                        <a:pt x="22583" y="8459"/>
                      </a:lnTo>
                      <a:cubicBezTo>
                        <a:pt x="24178" y="5741"/>
                        <a:pt x="23197" y="2286"/>
                        <a:pt x="20392" y="741"/>
                      </a:cubicBezTo>
                      <a:cubicBezTo>
                        <a:pt x="17614" y="-790"/>
                        <a:pt x="14082" y="127"/>
                        <a:pt x="12466" y="2799"/>
                      </a:cubicBezTo>
                      <a:lnTo>
                        <a:pt x="783" y="22411"/>
                      </a:lnTo>
                      <a:cubicBezTo>
                        <a:pt x="-829" y="25119"/>
                        <a:pt x="128" y="28580"/>
                        <a:pt x="2921" y="30143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</p:grpSp>
          <p:grpSp>
            <p:nvGrpSpPr>
              <p:cNvPr id="101" name="Graphic 344">
                <a:extLst>
                  <a:ext uri="{FF2B5EF4-FFF2-40B4-BE49-F238E27FC236}">
                    <a16:creationId xmlns:a16="http://schemas.microsoft.com/office/drawing/2014/main" id="{8C5E4BAC-1E2A-DE58-9D83-9E6AB71DE4A0}"/>
                  </a:ext>
                </a:extLst>
              </p:cNvPr>
              <p:cNvGrpSpPr/>
              <p:nvPr/>
            </p:nvGrpSpPr>
            <p:grpSpPr>
              <a:xfrm>
                <a:off x="8900100" y="3167441"/>
                <a:ext cx="393831" cy="290063"/>
                <a:chOff x="4954395" y="2710843"/>
                <a:chExt cx="292064" cy="215110"/>
              </a:xfrm>
              <a:solidFill>
                <a:sysClr val="window" lastClr="FFFFFF"/>
              </a:solidFill>
            </p:grpSpPr>
            <p:sp>
              <p:nvSpPr>
                <p:cNvPr id="128" name="Freeform: Shape 176">
                  <a:extLst>
                    <a:ext uri="{FF2B5EF4-FFF2-40B4-BE49-F238E27FC236}">
                      <a16:creationId xmlns:a16="http://schemas.microsoft.com/office/drawing/2014/main" id="{F3998474-AD24-3216-4197-B088DFE20B6C}"/>
                    </a:ext>
                  </a:extLst>
                </p:cNvPr>
                <p:cNvSpPr/>
                <p:nvPr/>
              </p:nvSpPr>
              <p:spPr>
                <a:xfrm>
                  <a:off x="5094586" y="2710843"/>
                  <a:ext cx="11682" cy="33961"/>
                </a:xfrm>
                <a:custGeom>
                  <a:avLst/>
                  <a:gdLst>
                    <a:gd name="connsiteX0" fmla="*/ 5841 w 11682"/>
                    <a:gd name="connsiteY0" fmla="*/ 33962 h 33961"/>
                    <a:gd name="connsiteX1" fmla="*/ 11683 w 11682"/>
                    <a:gd name="connsiteY1" fmla="*/ 28301 h 33961"/>
                    <a:gd name="connsiteX2" fmla="*/ 11683 w 11682"/>
                    <a:gd name="connsiteY2" fmla="*/ 5660 h 33961"/>
                    <a:gd name="connsiteX3" fmla="*/ 5841 w 11682"/>
                    <a:gd name="connsiteY3" fmla="*/ 0 h 33961"/>
                    <a:gd name="connsiteX4" fmla="*/ 0 w 11682"/>
                    <a:gd name="connsiteY4" fmla="*/ 5660 h 33961"/>
                    <a:gd name="connsiteX5" fmla="*/ 0 w 11682"/>
                    <a:gd name="connsiteY5" fmla="*/ 28301 h 33961"/>
                    <a:gd name="connsiteX6" fmla="*/ 5841 w 11682"/>
                    <a:gd name="connsiteY6" fmla="*/ 33962 h 33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682" h="33961">
                      <a:moveTo>
                        <a:pt x="5841" y="33962"/>
                      </a:moveTo>
                      <a:cubicBezTo>
                        <a:pt x="9067" y="33962"/>
                        <a:pt x="11683" y="31428"/>
                        <a:pt x="11683" y="28301"/>
                      </a:cubicBezTo>
                      <a:lnTo>
                        <a:pt x="11683" y="5660"/>
                      </a:lnTo>
                      <a:cubicBezTo>
                        <a:pt x="11683" y="2534"/>
                        <a:pt x="9067" y="0"/>
                        <a:pt x="5841" y="0"/>
                      </a:cubicBezTo>
                      <a:cubicBezTo>
                        <a:pt x="2615" y="0"/>
                        <a:pt x="0" y="2534"/>
                        <a:pt x="0" y="5660"/>
                      </a:cubicBezTo>
                      <a:lnTo>
                        <a:pt x="0" y="28301"/>
                      </a:lnTo>
                      <a:cubicBezTo>
                        <a:pt x="0" y="31428"/>
                        <a:pt x="2615" y="33962"/>
                        <a:pt x="5841" y="33962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29" name="Freeform: Shape 177">
                  <a:extLst>
                    <a:ext uri="{FF2B5EF4-FFF2-40B4-BE49-F238E27FC236}">
                      <a16:creationId xmlns:a16="http://schemas.microsoft.com/office/drawing/2014/main" id="{464CC7BE-15FC-826B-F912-BC0D0F479975}"/>
                    </a:ext>
                  </a:extLst>
                </p:cNvPr>
                <p:cNvSpPr/>
                <p:nvPr/>
              </p:nvSpPr>
              <p:spPr>
                <a:xfrm>
                  <a:off x="5024509" y="2729073"/>
                  <a:ext cx="23367" cy="30935"/>
                </a:xfrm>
                <a:custGeom>
                  <a:avLst/>
                  <a:gdLst>
                    <a:gd name="connsiteX0" fmla="*/ 12447 w 23367"/>
                    <a:gd name="connsiteY0" fmla="*/ 28072 h 30935"/>
                    <a:gd name="connsiteX1" fmla="*/ 20412 w 23367"/>
                    <a:gd name="connsiteY1" fmla="*/ 30195 h 30935"/>
                    <a:gd name="connsiteX2" fmla="*/ 22603 w 23367"/>
                    <a:gd name="connsiteY2" fmla="*/ 22476 h 30935"/>
                    <a:gd name="connsiteX3" fmla="*/ 22564 w 23367"/>
                    <a:gd name="connsiteY3" fmla="*/ 22411 h 30935"/>
                    <a:gd name="connsiteX4" fmla="*/ 10881 w 23367"/>
                    <a:gd name="connsiteY4" fmla="*/ 2799 h 30935"/>
                    <a:gd name="connsiteX5" fmla="*/ 2888 w 23367"/>
                    <a:gd name="connsiteY5" fmla="*/ 778 h 30935"/>
                    <a:gd name="connsiteX6" fmla="*/ 764 w 23367"/>
                    <a:gd name="connsiteY6" fmla="*/ 8459 h 30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367" h="30935">
                      <a:moveTo>
                        <a:pt x="12447" y="28072"/>
                      </a:moveTo>
                      <a:cubicBezTo>
                        <a:pt x="14042" y="30789"/>
                        <a:pt x="17608" y="31740"/>
                        <a:pt x="20412" y="30195"/>
                      </a:cubicBezTo>
                      <a:cubicBezTo>
                        <a:pt x="23216" y="28650"/>
                        <a:pt x="24197" y="25194"/>
                        <a:pt x="22603" y="22476"/>
                      </a:cubicBezTo>
                      <a:cubicBezTo>
                        <a:pt x="22590" y="22454"/>
                        <a:pt x="22577" y="22433"/>
                        <a:pt x="22564" y="22411"/>
                      </a:cubicBezTo>
                      <a:lnTo>
                        <a:pt x="10881" y="2799"/>
                      </a:lnTo>
                      <a:cubicBezTo>
                        <a:pt x="9250" y="102"/>
                        <a:pt x="5671" y="-803"/>
                        <a:pt x="2888" y="778"/>
                      </a:cubicBezTo>
                      <a:cubicBezTo>
                        <a:pt x="131" y="2344"/>
                        <a:pt x="-815" y="5767"/>
                        <a:pt x="764" y="8459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30" name="Freeform: Shape 178">
                  <a:extLst>
                    <a:ext uri="{FF2B5EF4-FFF2-40B4-BE49-F238E27FC236}">
                      <a16:creationId xmlns:a16="http://schemas.microsoft.com/office/drawing/2014/main" id="{C2F667C6-FAB9-315B-0B91-D779F9B99689}"/>
                    </a:ext>
                  </a:extLst>
                </p:cNvPr>
                <p:cNvSpPr/>
                <p:nvPr/>
              </p:nvSpPr>
              <p:spPr>
                <a:xfrm>
                  <a:off x="4973207" y="2778785"/>
                  <a:ext cx="31924" cy="22642"/>
                </a:xfrm>
                <a:custGeom>
                  <a:avLst/>
                  <a:gdLst>
                    <a:gd name="connsiteX0" fmla="*/ 2888 w 31924"/>
                    <a:gd name="connsiteY0" fmla="*/ 10544 h 22642"/>
                    <a:gd name="connsiteX1" fmla="*/ 23128 w 31924"/>
                    <a:gd name="connsiteY1" fmla="*/ 21865 h 22642"/>
                    <a:gd name="connsiteX2" fmla="*/ 31122 w 31924"/>
                    <a:gd name="connsiteY2" fmla="*/ 19845 h 22642"/>
                    <a:gd name="connsiteX3" fmla="*/ 29037 w 31924"/>
                    <a:gd name="connsiteY3" fmla="*/ 12099 h 22642"/>
                    <a:gd name="connsiteX4" fmla="*/ 28970 w 31924"/>
                    <a:gd name="connsiteY4" fmla="*/ 12061 h 22642"/>
                    <a:gd name="connsiteX5" fmla="*/ 8729 w 31924"/>
                    <a:gd name="connsiteY5" fmla="*/ 741 h 22642"/>
                    <a:gd name="connsiteX6" fmla="*/ 764 w 31924"/>
                    <a:gd name="connsiteY6" fmla="*/ 2864 h 22642"/>
                    <a:gd name="connsiteX7" fmla="*/ 2888 w 31924"/>
                    <a:gd name="connsiteY7" fmla="*/ 10544 h 22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923" h="22642">
                      <a:moveTo>
                        <a:pt x="2888" y="10544"/>
                      </a:moveTo>
                      <a:lnTo>
                        <a:pt x="23128" y="21865"/>
                      </a:lnTo>
                      <a:cubicBezTo>
                        <a:pt x="25911" y="23446"/>
                        <a:pt x="29490" y="22541"/>
                        <a:pt x="31122" y="19845"/>
                      </a:cubicBezTo>
                      <a:cubicBezTo>
                        <a:pt x="32753" y="17148"/>
                        <a:pt x="31820" y="13680"/>
                        <a:pt x="29037" y="12099"/>
                      </a:cubicBezTo>
                      <a:cubicBezTo>
                        <a:pt x="29015" y="12086"/>
                        <a:pt x="28992" y="12074"/>
                        <a:pt x="28970" y="12061"/>
                      </a:cubicBezTo>
                      <a:lnTo>
                        <a:pt x="8729" y="741"/>
                      </a:lnTo>
                      <a:cubicBezTo>
                        <a:pt x="5925" y="-805"/>
                        <a:pt x="2359" y="146"/>
                        <a:pt x="764" y="2864"/>
                      </a:cubicBezTo>
                      <a:cubicBezTo>
                        <a:pt x="-815" y="5556"/>
                        <a:pt x="131" y="8978"/>
                        <a:pt x="2888" y="10544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31" name="Freeform: Shape 179">
                  <a:extLst>
                    <a:ext uri="{FF2B5EF4-FFF2-40B4-BE49-F238E27FC236}">
                      <a16:creationId xmlns:a16="http://schemas.microsoft.com/office/drawing/2014/main" id="{FE355F4D-E3C1-D95A-B28C-6AF3B3261242}"/>
                    </a:ext>
                  </a:extLst>
                </p:cNvPr>
                <p:cNvSpPr/>
                <p:nvPr/>
              </p:nvSpPr>
              <p:spPr>
                <a:xfrm>
                  <a:off x="4954395" y="2846690"/>
                  <a:ext cx="35047" cy="11320"/>
                </a:xfrm>
                <a:custGeom>
                  <a:avLst/>
                  <a:gdLst>
                    <a:gd name="connsiteX0" fmla="*/ 35048 w 35047"/>
                    <a:gd name="connsiteY0" fmla="*/ 5660 h 11320"/>
                    <a:gd name="connsiteX1" fmla="*/ 29207 w 35047"/>
                    <a:gd name="connsiteY1" fmla="*/ 0 h 11320"/>
                    <a:gd name="connsiteX2" fmla="*/ 5841 w 35047"/>
                    <a:gd name="connsiteY2" fmla="*/ 0 h 11320"/>
                    <a:gd name="connsiteX3" fmla="*/ 0 w 35047"/>
                    <a:gd name="connsiteY3" fmla="*/ 5660 h 11320"/>
                    <a:gd name="connsiteX4" fmla="*/ 5841 w 35047"/>
                    <a:gd name="connsiteY4" fmla="*/ 11321 h 11320"/>
                    <a:gd name="connsiteX5" fmla="*/ 29207 w 35047"/>
                    <a:gd name="connsiteY5" fmla="*/ 11321 h 11320"/>
                    <a:gd name="connsiteX6" fmla="*/ 35048 w 35047"/>
                    <a:gd name="connsiteY6" fmla="*/ 5660 h 11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47" h="11320">
                      <a:moveTo>
                        <a:pt x="35048" y="5660"/>
                      </a:moveTo>
                      <a:cubicBezTo>
                        <a:pt x="35048" y="2534"/>
                        <a:pt x="32433" y="0"/>
                        <a:pt x="29207" y="0"/>
                      </a:cubicBezTo>
                      <a:lnTo>
                        <a:pt x="5841" y="0"/>
                      </a:lnTo>
                      <a:cubicBezTo>
                        <a:pt x="2615" y="0"/>
                        <a:pt x="0" y="2534"/>
                        <a:pt x="0" y="5660"/>
                      </a:cubicBezTo>
                      <a:cubicBezTo>
                        <a:pt x="0" y="8786"/>
                        <a:pt x="2615" y="11321"/>
                        <a:pt x="5841" y="11321"/>
                      </a:cubicBezTo>
                      <a:lnTo>
                        <a:pt x="29207" y="11321"/>
                      </a:lnTo>
                      <a:cubicBezTo>
                        <a:pt x="32433" y="11321"/>
                        <a:pt x="35048" y="8786"/>
                        <a:pt x="35048" y="5660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32" name="Freeform: Shape 180">
                  <a:extLst>
                    <a:ext uri="{FF2B5EF4-FFF2-40B4-BE49-F238E27FC236}">
                      <a16:creationId xmlns:a16="http://schemas.microsoft.com/office/drawing/2014/main" id="{09DA8BF2-A295-8BB3-54E7-E374348F314A}"/>
                    </a:ext>
                  </a:extLst>
                </p:cNvPr>
                <p:cNvSpPr/>
                <p:nvPr/>
              </p:nvSpPr>
              <p:spPr>
                <a:xfrm>
                  <a:off x="4973140" y="2903273"/>
                  <a:ext cx="31991" cy="22680"/>
                </a:xfrm>
                <a:custGeom>
                  <a:avLst/>
                  <a:gdLst>
                    <a:gd name="connsiteX0" fmla="*/ 23195 w 31991"/>
                    <a:gd name="connsiteY0" fmla="*/ 778 h 22680"/>
                    <a:gd name="connsiteX1" fmla="*/ 2955 w 31991"/>
                    <a:gd name="connsiteY1" fmla="*/ 12099 h 22680"/>
                    <a:gd name="connsiteX2" fmla="*/ 764 w 31991"/>
                    <a:gd name="connsiteY2" fmla="*/ 19817 h 22680"/>
                    <a:gd name="connsiteX3" fmla="*/ 8729 w 31991"/>
                    <a:gd name="connsiteY3" fmla="*/ 21940 h 22680"/>
                    <a:gd name="connsiteX4" fmla="*/ 8797 w 31991"/>
                    <a:gd name="connsiteY4" fmla="*/ 21902 h 22680"/>
                    <a:gd name="connsiteX5" fmla="*/ 29037 w 31991"/>
                    <a:gd name="connsiteY5" fmla="*/ 10582 h 22680"/>
                    <a:gd name="connsiteX6" fmla="*/ 31228 w 31991"/>
                    <a:gd name="connsiteY6" fmla="*/ 2863 h 22680"/>
                    <a:gd name="connsiteX7" fmla="*/ 23263 w 31991"/>
                    <a:gd name="connsiteY7" fmla="*/ 741 h 22680"/>
                    <a:gd name="connsiteX8" fmla="*/ 23195 w 31991"/>
                    <a:gd name="connsiteY8" fmla="*/ 778 h 22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91" h="22680">
                      <a:moveTo>
                        <a:pt x="23195" y="778"/>
                      </a:moveTo>
                      <a:lnTo>
                        <a:pt x="2955" y="12099"/>
                      </a:lnTo>
                      <a:cubicBezTo>
                        <a:pt x="151" y="13644"/>
                        <a:pt x="-830" y="17100"/>
                        <a:pt x="764" y="19817"/>
                      </a:cubicBezTo>
                      <a:cubicBezTo>
                        <a:pt x="2359" y="22535"/>
                        <a:pt x="5925" y="23485"/>
                        <a:pt x="8729" y="21940"/>
                      </a:cubicBezTo>
                      <a:cubicBezTo>
                        <a:pt x="8752" y="21927"/>
                        <a:pt x="8774" y="21915"/>
                        <a:pt x="8797" y="21902"/>
                      </a:cubicBezTo>
                      <a:lnTo>
                        <a:pt x="29037" y="10582"/>
                      </a:lnTo>
                      <a:cubicBezTo>
                        <a:pt x="31841" y="9037"/>
                        <a:pt x="32822" y="5581"/>
                        <a:pt x="31228" y="2863"/>
                      </a:cubicBezTo>
                      <a:cubicBezTo>
                        <a:pt x="29633" y="146"/>
                        <a:pt x="26067" y="-804"/>
                        <a:pt x="23263" y="741"/>
                      </a:cubicBezTo>
                      <a:cubicBezTo>
                        <a:pt x="23240" y="753"/>
                        <a:pt x="23218" y="766"/>
                        <a:pt x="23195" y="778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33" name="Freeform: Shape 181">
                  <a:extLst>
                    <a:ext uri="{FF2B5EF4-FFF2-40B4-BE49-F238E27FC236}">
                      <a16:creationId xmlns:a16="http://schemas.microsoft.com/office/drawing/2014/main" id="{B7BDE9C3-7AE1-9BD7-C7DA-5D6BFFC17A78}"/>
                    </a:ext>
                  </a:extLst>
                </p:cNvPr>
                <p:cNvSpPr/>
                <p:nvPr/>
              </p:nvSpPr>
              <p:spPr>
                <a:xfrm>
                  <a:off x="5195723" y="2903273"/>
                  <a:ext cx="31991" cy="22680"/>
                </a:xfrm>
                <a:custGeom>
                  <a:avLst/>
                  <a:gdLst>
                    <a:gd name="connsiteX0" fmla="*/ 29036 w 31991"/>
                    <a:gd name="connsiteY0" fmla="*/ 12099 h 22680"/>
                    <a:gd name="connsiteX1" fmla="*/ 8796 w 31991"/>
                    <a:gd name="connsiteY1" fmla="*/ 778 h 22680"/>
                    <a:gd name="connsiteX2" fmla="*/ 803 w 31991"/>
                    <a:gd name="connsiteY2" fmla="*/ 2798 h 22680"/>
                    <a:gd name="connsiteX3" fmla="*/ 2888 w 31991"/>
                    <a:gd name="connsiteY3" fmla="*/ 10544 h 22680"/>
                    <a:gd name="connsiteX4" fmla="*/ 2955 w 31991"/>
                    <a:gd name="connsiteY4" fmla="*/ 10582 h 22680"/>
                    <a:gd name="connsiteX5" fmla="*/ 23195 w 31991"/>
                    <a:gd name="connsiteY5" fmla="*/ 21902 h 22680"/>
                    <a:gd name="connsiteX6" fmla="*/ 31188 w 31991"/>
                    <a:gd name="connsiteY6" fmla="*/ 19882 h 22680"/>
                    <a:gd name="connsiteX7" fmla="*/ 29104 w 31991"/>
                    <a:gd name="connsiteY7" fmla="*/ 12136 h 22680"/>
                    <a:gd name="connsiteX8" fmla="*/ 29036 w 31991"/>
                    <a:gd name="connsiteY8" fmla="*/ 12099 h 22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91" h="22680">
                      <a:moveTo>
                        <a:pt x="29036" y="12099"/>
                      </a:moveTo>
                      <a:lnTo>
                        <a:pt x="8796" y="778"/>
                      </a:lnTo>
                      <a:cubicBezTo>
                        <a:pt x="6013" y="-803"/>
                        <a:pt x="2434" y="102"/>
                        <a:pt x="803" y="2798"/>
                      </a:cubicBezTo>
                      <a:cubicBezTo>
                        <a:pt x="-828" y="5495"/>
                        <a:pt x="105" y="8963"/>
                        <a:pt x="2888" y="10544"/>
                      </a:cubicBezTo>
                      <a:cubicBezTo>
                        <a:pt x="2910" y="10557"/>
                        <a:pt x="2933" y="10569"/>
                        <a:pt x="2955" y="10582"/>
                      </a:cubicBezTo>
                      <a:lnTo>
                        <a:pt x="23195" y="21902"/>
                      </a:lnTo>
                      <a:cubicBezTo>
                        <a:pt x="25978" y="23483"/>
                        <a:pt x="29557" y="22579"/>
                        <a:pt x="31188" y="19882"/>
                      </a:cubicBezTo>
                      <a:cubicBezTo>
                        <a:pt x="32820" y="17185"/>
                        <a:pt x="31886" y="13718"/>
                        <a:pt x="29104" y="12136"/>
                      </a:cubicBezTo>
                      <a:cubicBezTo>
                        <a:pt x="29081" y="12124"/>
                        <a:pt x="29059" y="12111"/>
                        <a:pt x="29036" y="12099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34" name="Freeform: Shape 182">
                  <a:extLst>
                    <a:ext uri="{FF2B5EF4-FFF2-40B4-BE49-F238E27FC236}">
                      <a16:creationId xmlns:a16="http://schemas.microsoft.com/office/drawing/2014/main" id="{2AF5E206-0A90-93E6-90AA-80C731BD05F2}"/>
                    </a:ext>
                  </a:extLst>
                </p:cNvPr>
                <p:cNvSpPr/>
                <p:nvPr/>
              </p:nvSpPr>
              <p:spPr>
                <a:xfrm>
                  <a:off x="5211412" y="2846690"/>
                  <a:ext cx="35047" cy="11320"/>
                </a:xfrm>
                <a:custGeom>
                  <a:avLst/>
                  <a:gdLst>
                    <a:gd name="connsiteX0" fmla="*/ 29207 w 35047"/>
                    <a:gd name="connsiteY0" fmla="*/ 0 h 11320"/>
                    <a:gd name="connsiteX1" fmla="*/ 5841 w 35047"/>
                    <a:gd name="connsiteY1" fmla="*/ 0 h 11320"/>
                    <a:gd name="connsiteX2" fmla="*/ 0 w 35047"/>
                    <a:gd name="connsiteY2" fmla="*/ 5660 h 11320"/>
                    <a:gd name="connsiteX3" fmla="*/ 5841 w 35047"/>
                    <a:gd name="connsiteY3" fmla="*/ 11321 h 11320"/>
                    <a:gd name="connsiteX4" fmla="*/ 29207 w 35047"/>
                    <a:gd name="connsiteY4" fmla="*/ 11321 h 11320"/>
                    <a:gd name="connsiteX5" fmla="*/ 35048 w 35047"/>
                    <a:gd name="connsiteY5" fmla="*/ 5660 h 11320"/>
                    <a:gd name="connsiteX6" fmla="*/ 29207 w 35047"/>
                    <a:gd name="connsiteY6" fmla="*/ 0 h 11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47" h="11320">
                      <a:moveTo>
                        <a:pt x="29207" y="0"/>
                      </a:moveTo>
                      <a:lnTo>
                        <a:pt x="5841" y="0"/>
                      </a:lnTo>
                      <a:cubicBezTo>
                        <a:pt x="2615" y="0"/>
                        <a:pt x="0" y="2534"/>
                        <a:pt x="0" y="5660"/>
                      </a:cubicBezTo>
                      <a:cubicBezTo>
                        <a:pt x="0" y="8786"/>
                        <a:pt x="2615" y="11321"/>
                        <a:pt x="5841" y="11321"/>
                      </a:cubicBezTo>
                      <a:lnTo>
                        <a:pt x="29207" y="11321"/>
                      </a:lnTo>
                      <a:cubicBezTo>
                        <a:pt x="32433" y="11321"/>
                        <a:pt x="35048" y="8786"/>
                        <a:pt x="35048" y="5660"/>
                      </a:cubicBezTo>
                      <a:cubicBezTo>
                        <a:pt x="35048" y="2534"/>
                        <a:pt x="32433" y="0"/>
                        <a:pt x="29207" y="0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35" name="Freeform: Shape 183">
                  <a:extLst>
                    <a:ext uri="{FF2B5EF4-FFF2-40B4-BE49-F238E27FC236}">
                      <a16:creationId xmlns:a16="http://schemas.microsoft.com/office/drawing/2014/main" id="{7AFB857B-E1E6-14EF-E8DA-B8BBD4CF9167}"/>
                    </a:ext>
                  </a:extLst>
                </p:cNvPr>
                <p:cNvSpPr/>
                <p:nvPr/>
              </p:nvSpPr>
              <p:spPr>
                <a:xfrm>
                  <a:off x="5195763" y="2778747"/>
                  <a:ext cx="31958" cy="22660"/>
                </a:xfrm>
                <a:custGeom>
                  <a:avLst/>
                  <a:gdLst>
                    <a:gd name="connsiteX0" fmla="*/ 5842 w 31958"/>
                    <a:gd name="connsiteY0" fmla="*/ 22661 h 22660"/>
                    <a:gd name="connsiteX1" fmla="*/ 8763 w 31958"/>
                    <a:gd name="connsiteY1" fmla="*/ 21902 h 22660"/>
                    <a:gd name="connsiteX2" fmla="*/ 29003 w 31958"/>
                    <a:gd name="connsiteY2" fmla="*/ 10582 h 22660"/>
                    <a:gd name="connsiteX3" fmla="*/ 31194 w 31958"/>
                    <a:gd name="connsiteY3" fmla="*/ 2863 h 22660"/>
                    <a:gd name="connsiteX4" fmla="*/ 23229 w 31958"/>
                    <a:gd name="connsiteY4" fmla="*/ 741 h 22660"/>
                    <a:gd name="connsiteX5" fmla="*/ 23162 w 31958"/>
                    <a:gd name="connsiteY5" fmla="*/ 778 h 22660"/>
                    <a:gd name="connsiteX6" fmla="*/ 2921 w 31958"/>
                    <a:gd name="connsiteY6" fmla="*/ 12099 h 22660"/>
                    <a:gd name="connsiteX7" fmla="*/ 784 w 31958"/>
                    <a:gd name="connsiteY7" fmla="*/ 19831 h 22660"/>
                    <a:gd name="connsiteX8" fmla="*/ 5842 w 31958"/>
                    <a:gd name="connsiteY8" fmla="*/ 22661 h 22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58" h="22660">
                      <a:moveTo>
                        <a:pt x="5842" y="22661"/>
                      </a:moveTo>
                      <a:cubicBezTo>
                        <a:pt x="6868" y="22663"/>
                        <a:pt x="7875" y="22401"/>
                        <a:pt x="8763" y="21902"/>
                      </a:cubicBezTo>
                      <a:lnTo>
                        <a:pt x="29003" y="10582"/>
                      </a:lnTo>
                      <a:cubicBezTo>
                        <a:pt x="31807" y="9037"/>
                        <a:pt x="32788" y="5581"/>
                        <a:pt x="31194" y="2863"/>
                      </a:cubicBezTo>
                      <a:cubicBezTo>
                        <a:pt x="29599" y="146"/>
                        <a:pt x="26033" y="-804"/>
                        <a:pt x="23229" y="741"/>
                      </a:cubicBezTo>
                      <a:cubicBezTo>
                        <a:pt x="23206" y="753"/>
                        <a:pt x="23184" y="766"/>
                        <a:pt x="23162" y="778"/>
                      </a:cubicBezTo>
                      <a:lnTo>
                        <a:pt x="2921" y="12099"/>
                      </a:lnTo>
                      <a:cubicBezTo>
                        <a:pt x="128" y="13662"/>
                        <a:pt x="-829" y="17124"/>
                        <a:pt x="784" y="19831"/>
                      </a:cubicBezTo>
                      <a:cubicBezTo>
                        <a:pt x="1827" y="21582"/>
                        <a:pt x="3756" y="22661"/>
                        <a:pt x="5842" y="22661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36" name="Freeform: Shape 184">
                  <a:extLst>
                    <a:ext uri="{FF2B5EF4-FFF2-40B4-BE49-F238E27FC236}">
                      <a16:creationId xmlns:a16="http://schemas.microsoft.com/office/drawing/2014/main" id="{7875B5E5-35B3-B1E5-21F0-FB9AE929E8E8}"/>
                    </a:ext>
                  </a:extLst>
                </p:cNvPr>
                <p:cNvSpPr/>
                <p:nvPr/>
              </p:nvSpPr>
              <p:spPr>
                <a:xfrm>
                  <a:off x="5152999" y="2729073"/>
                  <a:ext cx="23347" cy="30902"/>
                </a:xfrm>
                <a:custGeom>
                  <a:avLst/>
                  <a:gdLst>
                    <a:gd name="connsiteX0" fmla="*/ 2921 w 23347"/>
                    <a:gd name="connsiteY0" fmla="*/ 30143 h 30902"/>
                    <a:gd name="connsiteX1" fmla="*/ 10901 w 23347"/>
                    <a:gd name="connsiteY1" fmla="*/ 28072 h 30902"/>
                    <a:gd name="connsiteX2" fmla="*/ 22583 w 23347"/>
                    <a:gd name="connsiteY2" fmla="*/ 8459 h 30902"/>
                    <a:gd name="connsiteX3" fmla="*/ 20392 w 23347"/>
                    <a:gd name="connsiteY3" fmla="*/ 741 h 30902"/>
                    <a:gd name="connsiteX4" fmla="*/ 12466 w 23347"/>
                    <a:gd name="connsiteY4" fmla="*/ 2799 h 30902"/>
                    <a:gd name="connsiteX5" fmla="*/ 783 w 23347"/>
                    <a:gd name="connsiteY5" fmla="*/ 22411 h 30902"/>
                    <a:gd name="connsiteX6" fmla="*/ 2921 w 23347"/>
                    <a:gd name="connsiteY6" fmla="*/ 30143 h 309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347" h="30902">
                      <a:moveTo>
                        <a:pt x="2921" y="30143"/>
                      </a:moveTo>
                      <a:cubicBezTo>
                        <a:pt x="5715" y="31706"/>
                        <a:pt x="9288" y="30779"/>
                        <a:pt x="10901" y="28072"/>
                      </a:cubicBezTo>
                      <a:lnTo>
                        <a:pt x="22583" y="8459"/>
                      </a:lnTo>
                      <a:cubicBezTo>
                        <a:pt x="24178" y="5741"/>
                        <a:pt x="23197" y="2286"/>
                        <a:pt x="20392" y="741"/>
                      </a:cubicBezTo>
                      <a:cubicBezTo>
                        <a:pt x="17614" y="-790"/>
                        <a:pt x="14082" y="127"/>
                        <a:pt x="12466" y="2799"/>
                      </a:cubicBezTo>
                      <a:lnTo>
                        <a:pt x="783" y="22411"/>
                      </a:lnTo>
                      <a:cubicBezTo>
                        <a:pt x="-829" y="25119"/>
                        <a:pt x="128" y="28580"/>
                        <a:pt x="2921" y="30143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</p:grpSp>
          <p:grpSp>
            <p:nvGrpSpPr>
              <p:cNvPr id="102" name="Graphic 345">
                <a:extLst>
                  <a:ext uri="{FF2B5EF4-FFF2-40B4-BE49-F238E27FC236}">
                    <a16:creationId xmlns:a16="http://schemas.microsoft.com/office/drawing/2014/main" id="{D64EB046-0906-C7BD-24B5-22ABA56BA6E2}"/>
                  </a:ext>
                </a:extLst>
              </p:cNvPr>
              <p:cNvGrpSpPr/>
              <p:nvPr/>
            </p:nvGrpSpPr>
            <p:grpSpPr>
              <a:xfrm>
                <a:off x="8729383" y="4590064"/>
                <a:ext cx="393831" cy="290063"/>
                <a:chOff x="4827793" y="3765855"/>
                <a:chExt cx="292064" cy="215110"/>
              </a:xfrm>
              <a:solidFill>
                <a:sysClr val="window" lastClr="FFFFFF"/>
              </a:solidFill>
            </p:grpSpPr>
            <p:sp>
              <p:nvSpPr>
                <p:cNvPr id="119" name="Freeform: Shape 165">
                  <a:extLst>
                    <a:ext uri="{FF2B5EF4-FFF2-40B4-BE49-F238E27FC236}">
                      <a16:creationId xmlns:a16="http://schemas.microsoft.com/office/drawing/2014/main" id="{57C7D53D-3867-529D-557A-BF1C43A75BFE}"/>
                    </a:ext>
                  </a:extLst>
                </p:cNvPr>
                <p:cNvSpPr/>
                <p:nvPr/>
              </p:nvSpPr>
              <p:spPr>
                <a:xfrm>
                  <a:off x="4967984" y="3765855"/>
                  <a:ext cx="11682" cy="33961"/>
                </a:xfrm>
                <a:custGeom>
                  <a:avLst/>
                  <a:gdLst>
                    <a:gd name="connsiteX0" fmla="*/ 5841 w 11682"/>
                    <a:gd name="connsiteY0" fmla="*/ 33962 h 33961"/>
                    <a:gd name="connsiteX1" fmla="*/ 11683 w 11682"/>
                    <a:gd name="connsiteY1" fmla="*/ 28301 h 33961"/>
                    <a:gd name="connsiteX2" fmla="*/ 11683 w 11682"/>
                    <a:gd name="connsiteY2" fmla="*/ 5660 h 33961"/>
                    <a:gd name="connsiteX3" fmla="*/ 5841 w 11682"/>
                    <a:gd name="connsiteY3" fmla="*/ 0 h 33961"/>
                    <a:gd name="connsiteX4" fmla="*/ 0 w 11682"/>
                    <a:gd name="connsiteY4" fmla="*/ 5660 h 33961"/>
                    <a:gd name="connsiteX5" fmla="*/ 0 w 11682"/>
                    <a:gd name="connsiteY5" fmla="*/ 28301 h 33961"/>
                    <a:gd name="connsiteX6" fmla="*/ 5841 w 11682"/>
                    <a:gd name="connsiteY6" fmla="*/ 33962 h 339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1682" h="33961">
                      <a:moveTo>
                        <a:pt x="5841" y="33962"/>
                      </a:moveTo>
                      <a:cubicBezTo>
                        <a:pt x="9067" y="33962"/>
                        <a:pt x="11683" y="31428"/>
                        <a:pt x="11683" y="28301"/>
                      </a:cubicBezTo>
                      <a:lnTo>
                        <a:pt x="11683" y="5660"/>
                      </a:lnTo>
                      <a:cubicBezTo>
                        <a:pt x="11683" y="2534"/>
                        <a:pt x="9067" y="0"/>
                        <a:pt x="5841" y="0"/>
                      </a:cubicBezTo>
                      <a:cubicBezTo>
                        <a:pt x="2615" y="0"/>
                        <a:pt x="0" y="2534"/>
                        <a:pt x="0" y="5660"/>
                      </a:cubicBezTo>
                      <a:lnTo>
                        <a:pt x="0" y="28301"/>
                      </a:lnTo>
                      <a:cubicBezTo>
                        <a:pt x="0" y="31428"/>
                        <a:pt x="2615" y="33962"/>
                        <a:pt x="5841" y="33962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20" name="Freeform: Shape 166">
                  <a:extLst>
                    <a:ext uri="{FF2B5EF4-FFF2-40B4-BE49-F238E27FC236}">
                      <a16:creationId xmlns:a16="http://schemas.microsoft.com/office/drawing/2014/main" id="{0A6F6F51-8D5E-EF45-4EA7-C32F246405C4}"/>
                    </a:ext>
                  </a:extLst>
                </p:cNvPr>
                <p:cNvSpPr/>
                <p:nvPr/>
              </p:nvSpPr>
              <p:spPr>
                <a:xfrm>
                  <a:off x="4897907" y="3784085"/>
                  <a:ext cx="23367" cy="30935"/>
                </a:xfrm>
                <a:custGeom>
                  <a:avLst/>
                  <a:gdLst>
                    <a:gd name="connsiteX0" fmla="*/ 12447 w 23367"/>
                    <a:gd name="connsiteY0" fmla="*/ 28072 h 30935"/>
                    <a:gd name="connsiteX1" fmla="*/ 20412 w 23367"/>
                    <a:gd name="connsiteY1" fmla="*/ 30195 h 30935"/>
                    <a:gd name="connsiteX2" fmla="*/ 22603 w 23367"/>
                    <a:gd name="connsiteY2" fmla="*/ 22476 h 30935"/>
                    <a:gd name="connsiteX3" fmla="*/ 22564 w 23367"/>
                    <a:gd name="connsiteY3" fmla="*/ 22411 h 30935"/>
                    <a:gd name="connsiteX4" fmla="*/ 10881 w 23367"/>
                    <a:gd name="connsiteY4" fmla="*/ 2799 h 30935"/>
                    <a:gd name="connsiteX5" fmla="*/ 2888 w 23367"/>
                    <a:gd name="connsiteY5" fmla="*/ 778 h 30935"/>
                    <a:gd name="connsiteX6" fmla="*/ 764 w 23367"/>
                    <a:gd name="connsiteY6" fmla="*/ 8459 h 309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367" h="30935">
                      <a:moveTo>
                        <a:pt x="12447" y="28072"/>
                      </a:moveTo>
                      <a:cubicBezTo>
                        <a:pt x="14042" y="30789"/>
                        <a:pt x="17608" y="31740"/>
                        <a:pt x="20412" y="30195"/>
                      </a:cubicBezTo>
                      <a:cubicBezTo>
                        <a:pt x="23216" y="28650"/>
                        <a:pt x="24197" y="25194"/>
                        <a:pt x="22603" y="22476"/>
                      </a:cubicBezTo>
                      <a:cubicBezTo>
                        <a:pt x="22590" y="22454"/>
                        <a:pt x="22577" y="22433"/>
                        <a:pt x="22564" y="22411"/>
                      </a:cubicBezTo>
                      <a:lnTo>
                        <a:pt x="10881" y="2799"/>
                      </a:lnTo>
                      <a:cubicBezTo>
                        <a:pt x="9250" y="102"/>
                        <a:pt x="5671" y="-803"/>
                        <a:pt x="2888" y="778"/>
                      </a:cubicBezTo>
                      <a:cubicBezTo>
                        <a:pt x="131" y="2344"/>
                        <a:pt x="-815" y="5767"/>
                        <a:pt x="764" y="8459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21" name="Freeform: Shape 167">
                  <a:extLst>
                    <a:ext uri="{FF2B5EF4-FFF2-40B4-BE49-F238E27FC236}">
                      <a16:creationId xmlns:a16="http://schemas.microsoft.com/office/drawing/2014/main" id="{A0C583E8-03D3-B5A5-9935-A7DACDE2DB23}"/>
                    </a:ext>
                  </a:extLst>
                </p:cNvPr>
                <p:cNvSpPr/>
                <p:nvPr/>
              </p:nvSpPr>
              <p:spPr>
                <a:xfrm>
                  <a:off x="4846605" y="3833797"/>
                  <a:ext cx="31924" cy="22642"/>
                </a:xfrm>
                <a:custGeom>
                  <a:avLst/>
                  <a:gdLst>
                    <a:gd name="connsiteX0" fmla="*/ 2888 w 31924"/>
                    <a:gd name="connsiteY0" fmla="*/ 10544 h 22642"/>
                    <a:gd name="connsiteX1" fmla="*/ 23128 w 31924"/>
                    <a:gd name="connsiteY1" fmla="*/ 21865 h 22642"/>
                    <a:gd name="connsiteX2" fmla="*/ 31122 w 31924"/>
                    <a:gd name="connsiteY2" fmla="*/ 19845 h 22642"/>
                    <a:gd name="connsiteX3" fmla="*/ 29037 w 31924"/>
                    <a:gd name="connsiteY3" fmla="*/ 12099 h 22642"/>
                    <a:gd name="connsiteX4" fmla="*/ 28970 w 31924"/>
                    <a:gd name="connsiteY4" fmla="*/ 12061 h 22642"/>
                    <a:gd name="connsiteX5" fmla="*/ 8729 w 31924"/>
                    <a:gd name="connsiteY5" fmla="*/ 741 h 22642"/>
                    <a:gd name="connsiteX6" fmla="*/ 764 w 31924"/>
                    <a:gd name="connsiteY6" fmla="*/ 2864 h 22642"/>
                    <a:gd name="connsiteX7" fmla="*/ 2888 w 31924"/>
                    <a:gd name="connsiteY7" fmla="*/ 10544 h 226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1923" h="22642">
                      <a:moveTo>
                        <a:pt x="2888" y="10544"/>
                      </a:moveTo>
                      <a:lnTo>
                        <a:pt x="23128" y="21865"/>
                      </a:lnTo>
                      <a:cubicBezTo>
                        <a:pt x="25911" y="23446"/>
                        <a:pt x="29490" y="22541"/>
                        <a:pt x="31122" y="19845"/>
                      </a:cubicBezTo>
                      <a:cubicBezTo>
                        <a:pt x="32753" y="17148"/>
                        <a:pt x="31820" y="13680"/>
                        <a:pt x="29037" y="12099"/>
                      </a:cubicBezTo>
                      <a:cubicBezTo>
                        <a:pt x="29015" y="12086"/>
                        <a:pt x="28992" y="12074"/>
                        <a:pt x="28970" y="12061"/>
                      </a:cubicBezTo>
                      <a:lnTo>
                        <a:pt x="8729" y="741"/>
                      </a:lnTo>
                      <a:cubicBezTo>
                        <a:pt x="5925" y="-805"/>
                        <a:pt x="2359" y="146"/>
                        <a:pt x="764" y="2864"/>
                      </a:cubicBezTo>
                      <a:cubicBezTo>
                        <a:pt x="-815" y="5556"/>
                        <a:pt x="131" y="8978"/>
                        <a:pt x="2888" y="10544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22" name="Freeform: Shape 168">
                  <a:extLst>
                    <a:ext uri="{FF2B5EF4-FFF2-40B4-BE49-F238E27FC236}">
                      <a16:creationId xmlns:a16="http://schemas.microsoft.com/office/drawing/2014/main" id="{7C64A007-1BDA-498D-E2AD-6406D0E8E886}"/>
                    </a:ext>
                  </a:extLst>
                </p:cNvPr>
                <p:cNvSpPr/>
                <p:nvPr/>
              </p:nvSpPr>
              <p:spPr>
                <a:xfrm>
                  <a:off x="4827793" y="3901702"/>
                  <a:ext cx="35047" cy="11320"/>
                </a:xfrm>
                <a:custGeom>
                  <a:avLst/>
                  <a:gdLst>
                    <a:gd name="connsiteX0" fmla="*/ 35048 w 35047"/>
                    <a:gd name="connsiteY0" fmla="*/ 5660 h 11320"/>
                    <a:gd name="connsiteX1" fmla="*/ 29207 w 35047"/>
                    <a:gd name="connsiteY1" fmla="*/ 0 h 11320"/>
                    <a:gd name="connsiteX2" fmla="*/ 5841 w 35047"/>
                    <a:gd name="connsiteY2" fmla="*/ 0 h 11320"/>
                    <a:gd name="connsiteX3" fmla="*/ 0 w 35047"/>
                    <a:gd name="connsiteY3" fmla="*/ 5660 h 11320"/>
                    <a:gd name="connsiteX4" fmla="*/ 5841 w 35047"/>
                    <a:gd name="connsiteY4" fmla="*/ 11321 h 11320"/>
                    <a:gd name="connsiteX5" fmla="*/ 29207 w 35047"/>
                    <a:gd name="connsiteY5" fmla="*/ 11321 h 11320"/>
                    <a:gd name="connsiteX6" fmla="*/ 35048 w 35047"/>
                    <a:gd name="connsiteY6" fmla="*/ 5660 h 11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47" h="11320">
                      <a:moveTo>
                        <a:pt x="35048" y="5660"/>
                      </a:moveTo>
                      <a:cubicBezTo>
                        <a:pt x="35048" y="2534"/>
                        <a:pt x="32433" y="0"/>
                        <a:pt x="29207" y="0"/>
                      </a:cubicBezTo>
                      <a:lnTo>
                        <a:pt x="5841" y="0"/>
                      </a:lnTo>
                      <a:cubicBezTo>
                        <a:pt x="2615" y="0"/>
                        <a:pt x="0" y="2534"/>
                        <a:pt x="0" y="5660"/>
                      </a:cubicBezTo>
                      <a:cubicBezTo>
                        <a:pt x="0" y="8786"/>
                        <a:pt x="2615" y="11321"/>
                        <a:pt x="5841" y="11321"/>
                      </a:cubicBezTo>
                      <a:lnTo>
                        <a:pt x="29207" y="11321"/>
                      </a:lnTo>
                      <a:cubicBezTo>
                        <a:pt x="32433" y="11321"/>
                        <a:pt x="35048" y="8786"/>
                        <a:pt x="35048" y="5660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23" name="Freeform: Shape 169">
                  <a:extLst>
                    <a:ext uri="{FF2B5EF4-FFF2-40B4-BE49-F238E27FC236}">
                      <a16:creationId xmlns:a16="http://schemas.microsoft.com/office/drawing/2014/main" id="{74195A50-469B-FB79-2ECE-DDB14154CDAA}"/>
                    </a:ext>
                  </a:extLst>
                </p:cNvPr>
                <p:cNvSpPr/>
                <p:nvPr/>
              </p:nvSpPr>
              <p:spPr>
                <a:xfrm>
                  <a:off x="4846538" y="3958285"/>
                  <a:ext cx="31991" cy="22680"/>
                </a:xfrm>
                <a:custGeom>
                  <a:avLst/>
                  <a:gdLst>
                    <a:gd name="connsiteX0" fmla="*/ 23195 w 31991"/>
                    <a:gd name="connsiteY0" fmla="*/ 778 h 22680"/>
                    <a:gd name="connsiteX1" fmla="*/ 2955 w 31991"/>
                    <a:gd name="connsiteY1" fmla="*/ 12099 h 22680"/>
                    <a:gd name="connsiteX2" fmla="*/ 764 w 31991"/>
                    <a:gd name="connsiteY2" fmla="*/ 19817 h 22680"/>
                    <a:gd name="connsiteX3" fmla="*/ 8729 w 31991"/>
                    <a:gd name="connsiteY3" fmla="*/ 21940 h 22680"/>
                    <a:gd name="connsiteX4" fmla="*/ 8797 w 31991"/>
                    <a:gd name="connsiteY4" fmla="*/ 21902 h 22680"/>
                    <a:gd name="connsiteX5" fmla="*/ 29037 w 31991"/>
                    <a:gd name="connsiteY5" fmla="*/ 10582 h 22680"/>
                    <a:gd name="connsiteX6" fmla="*/ 31228 w 31991"/>
                    <a:gd name="connsiteY6" fmla="*/ 2863 h 22680"/>
                    <a:gd name="connsiteX7" fmla="*/ 23263 w 31991"/>
                    <a:gd name="connsiteY7" fmla="*/ 741 h 22680"/>
                    <a:gd name="connsiteX8" fmla="*/ 23195 w 31991"/>
                    <a:gd name="connsiteY8" fmla="*/ 778 h 22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91" h="22680">
                      <a:moveTo>
                        <a:pt x="23195" y="778"/>
                      </a:moveTo>
                      <a:lnTo>
                        <a:pt x="2955" y="12099"/>
                      </a:lnTo>
                      <a:cubicBezTo>
                        <a:pt x="151" y="13644"/>
                        <a:pt x="-830" y="17100"/>
                        <a:pt x="764" y="19817"/>
                      </a:cubicBezTo>
                      <a:cubicBezTo>
                        <a:pt x="2359" y="22535"/>
                        <a:pt x="5925" y="23485"/>
                        <a:pt x="8729" y="21940"/>
                      </a:cubicBezTo>
                      <a:cubicBezTo>
                        <a:pt x="8752" y="21927"/>
                        <a:pt x="8774" y="21915"/>
                        <a:pt x="8797" y="21902"/>
                      </a:cubicBezTo>
                      <a:lnTo>
                        <a:pt x="29037" y="10582"/>
                      </a:lnTo>
                      <a:cubicBezTo>
                        <a:pt x="31841" y="9037"/>
                        <a:pt x="32822" y="5581"/>
                        <a:pt x="31228" y="2863"/>
                      </a:cubicBezTo>
                      <a:cubicBezTo>
                        <a:pt x="29633" y="146"/>
                        <a:pt x="26067" y="-804"/>
                        <a:pt x="23263" y="741"/>
                      </a:cubicBezTo>
                      <a:cubicBezTo>
                        <a:pt x="23240" y="753"/>
                        <a:pt x="23218" y="766"/>
                        <a:pt x="23195" y="778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24" name="Freeform: Shape 170">
                  <a:extLst>
                    <a:ext uri="{FF2B5EF4-FFF2-40B4-BE49-F238E27FC236}">
                      <a16:creationId xmlns:a16="http://schemas.microsoft.com/office/drawing/2014/main" id="{1F647D1D-479D-F2B3-3836-DA3B49F3C2F7}"/>
                    </a:ext>
                  </a:extLst>
                </p:cNvPr>
                <p:cNvSpPr/>
                <p:nvPr/>
              </p:nvSpPr>
              <p:spPr>
                <a:xfrm>
                  <a:off x="5069121" y="3958285"/>
                  <a:ext cx="31991" cy="22680"/>
                </a:xfrm>
                <a:custGeom>
                  <a:avLst/>
                  <a:gdLst>
                    <a:gd name="connsiteX0" fmla="*/ 29036 w 31991"/>
                    <a:gd name="connsiteY0" fmla="*/ 12099 h 22680"/>
                    <a:gd name="connsiteX1" fmla="*/ 8796 w 31991"/>
                    <a:gd name="connsiteY1" fmla="*/ 778 h 22680"/>
                    <a:gd name="connsiteX2" fmla="*/ 803 w 31991"/>
                    <a:gd name="connsiteY2" fmla="*/ 2798 h 22680"/>
                    <a:gd name="connsiteX3" fmla="*/ 2888 w 31991"/>
                    <a:gd name="connsiteY3" fmla="*/ 10544 h 22680"/>
                    <a:gd name="connsiteX4" fmla="*/ 2955 w 31991"/>
                    <a:gd name="connsiteY4" fmla="*/ 10582 h 22680"/>
                    <a:gd name="connsiteX5" fmla="*/ 23195 w 31991"/>
                    <a:gd name="connsiteY5" fmla="*/ 21902 h 22680"/>
                    <a:gd name="connsiteX6" fmla="*/ 31188 w 31991"/>
                    <a:gd name="connsiteY6" fmla="*/ 19882 h 22680"/>
                    <a:gd name="connsiteX7" fmla="*/ 29104 w 31991"/>
                    <a:gd name="connsiteY7" fmla="*/ 12136 h 22680"/>
                    <a:gd name="connsiteX8" fmla="*/ 29036 w 31991"/>
                    <a:gd name="connsiteY8" fmla="*/ 12099 h 22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91" h="22680">
                      <a:moveTo>
                        <a:pt x="29036" y="12099"/>
                      </a:moveTo>
                      <a:lnTo>
                        <a:pt x="8796" y="778"/>
                      </a:lnTo>
                      <a:cubicBezTo>
                        <a:pt x="6013" y="-803"/>
                        <a:pt x="2434" y="102"/>
                        <a:pt x="803" y="2798"/>
                      </a:cubicBezTo>
                      <a:cubicBezTo>
                        <a:pt x="-828" y="5495"/>
                        <a:pt x="105" y="8963"/>
                        <a:pt x="2888" y="10544"/>
                      </a:cubicBezTo>
                      <a:cubicBezTo>
                        <a:pt x="2910" y="10557"/>
                        <a:pt x="2933" y="10569"/>
                        <a:pt x="2955" y="10582"/>
                      </a:cubicBezTo>
                      <a:lnTo>
                        <a:pt x="23195" y="21902"/>
                      </a:lnTo>
                      <a:cubicBezTo>
                        <a:pt x="25978" y="23483"/>
                        <a:pt x="29557" y="22579"/>
                        <a:pt x="31188" y="19882"/>
                      </a:cubicBezTo>
                      <a:cubicBezTo>
                        <a:pt x="32820" y="17185"/>
                        <a:pt x="31886" y="13718"/>
                        <a:pt x="29104" y="12136"/>
                      </a:cubicBezTo>
                      <a:cubicBezTo>
                        <a:pt x="29081" y="12124"/>
                        <a:pt x="29059" y="12111"/>
                        <a:pt x="29036" y="12099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25" name="Freeform: Shape 171">
                  <a:extLst>
                    <a:ext uri="{FF2B5EF4-FFF2-40B4-BE49-F238E27FC236}">
                      <a16:creationId xmlns:a16="http://schemas.microsoft.com/office/drawing/2014/main" id="{2398287E-E583-D404-6362-694ED6173837}"/>
                    </a:ext>
                  </a:extLst>
                </p:cNvPr>
                <p:cNvSpPr/>
                <p:nvPr/>
              </p:nvSpPr>
              <p:spPr>
                <a:xfrm>
                  <a:off x="5084810" y="3901702"/>
                  <a:ext cx="35047" cy="11320"/>
                </a:xfrm>
                <a:custGeom>
                  <a:avLst/>
                  <a:gdLst>
                    <a:gd name="connsiteX0" fmla="*/ 29207 w 35047"/>
                    <a:gd name="connsiteY0" fmla="*/ 0 h 11320"/>
                    <a:gd name="connsiteX1" fmla="*/ 5841 w 35047"/>
                    <a:gd name="connsiteY1" fmla="*/ 0 h 11320"/>
                    <a:gd name="connsiteX2" fmla="*/ 0 w 35047"/>
                    <a:gd name="connsiteY2" fmla="*/ 5660 h 11320"/>
                    <a:gd name="connsiteX3" fmla="*/ 5841 w 35047"/>
                    <a:gd name="connsiteY3" fmla="*/ 11321 h 11320"/>
                    <a:gd name="connsiteX4" fmla="*/ 29207 w 35047"/>
                    <a:gd name="connsiteY4" fmla="*/ 11321 h 11320"/>
                    <a:gd name="connsiteX5" fmla="*/ 35048 w 35047"/>
                    <a:gd name="connsiteY5" fmla="*/ 5660 h 11320"/>
                    <a:gd name="connsiteX6" fmla="*/ 29207 w 35047"/>
                    <a:gd name="connsiteY6" fmla="*/ 0 h 11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47" h="11320">
                      <a:moveTo>
                        <a:pt x="29207" y="0"/>
                      </a:moveTo>
                      <a:lnTo>
                        <a:pt x="5841" y="0"/>
                      </a:lnTo>
                      <a:cubicBezTo>
                        <a:pt x="2615" y="0"/>
                        <a:pt x="0" y="2534"/>
                        <a:pt x="0" y="5660"/>
                      </a:cubicBezTo>
                      <a:cubicBezTo>
                        <a:pt x="0" y="8786"/>
                        <a:pt x="2615" y="11321"/>
                        <a:pt x="5841" y="11321"/>
                      </a:cubicBezTo>
                      <a:lnTo>
                        <a:pt x="29207" y="11321"/>
                      </a:lnTo>
                      <a:cubicBezTo>
                        <a:pt x="32433" y="11321"/>
                        <a:pt x="35048" y="8786"/>
                        <a:pt x="35048" y="5660"/>
                      </a:cubicBezTo>
                      <a:cubicBezTo>
                        <a:pt x="35048" y="2534"/>
                        <a:pt x="32433" y="0"/>
                        <a:pt x="29207" y="0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26" name="Freeform: Shape 172">
                  <a:extLst>
                    <a:ext uri="{FF2B5EF4-FFF2-40B4-BE49-F238E27FC236}">
                      <a16:creationId xmlns:a16="http://schemas.microsoft.com/office/drawing/2014/main" id="{E9FBD470-58F4-BB6F-7022-E39A140C0267}"/>
                    </a:ext>
                  </a:extLst>
                </p:cNvPr>
                <p:cNvSpPr/>
                <p:nvPr/>
              </p:nvSpPr>
              <p:spPr>
                <a:xfrm>
                  <a:off x="5069161" y="3833759"/>
                  <a:ext cx="31958" cy="22660"/>
                </a:xfrm>
                <a:custGeom>
                  <a:avLst/>
                  <a:gdLst>
                    <a:gd name="connsiteX0" fmla="*/ 5842 w 31958"/>
                    <a:gd name="connsiteY0" fmla="*/ 22661 h 22660"/>
                    <a:gd name="connsiteX1" fmla="*/ 8763 w 31958"/>
                    <a:gd name="connsiteY1" fmla="*/ 21902 h 22660"/>
                    <a:gd name="connsiteX2" fmla="*/ 29003 w 31958"/>
                    <a:gd name="connsiteY2" fmla="*/ 10582 h 22660"/>
                    <a:gd name="connsiteX3" fmla="*/ 31194 w 31958"/>
                    <a:gd name="connsiteY3" fmla="*/ 2863 h 22660"/>
                    <a:gd name="connsiteX4" fmla="*/ 23229 w 31958"/>
                    <a:gd name="connsiteY4" fmla="*/ 741 h 22660"/>
                    <a:gd name="connsiteX5" fmla="*/ 23162 w 31958"/>
                    <a:gd name="connsiteY5" fmla="*/ 778 h 22660"/>
                    <a:gd name="connsiteX6" fmla="*/ 2921 w 31958"/>
                    <a:gd name="connsiteY6" fmla="*/ 12099 h 22660"/>
                    <a:gd name="connsiteX7" fmla="*/ 784 w 31958"/>
                    <a:gd name="connsiteY7" fmla="*/ 19831 h 22660"/>
                    <a:gd name="connsiteX8" fmla="*/ 5842 w 31958"/>
                    <a:gd name="connsiteY8" fmla="*/ 22661 h 22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58" h="22660">
                      <a:moveTo>
                        <a:pt x="5842" y="22661"/>
                      </a:moveTo>
                      <a:cubicBezTo>
                        <a:pt x="6868" y="22663"/>
                        <a:pt x="7875" y="22401"/>
                        <a:pt x="8763" y="21902"/>
                      </a:cubicBezTo>
                      <a:lnTo>
                        <a:pt x="29003" y="10582"/>
                      </a:lnTo>
                      <a:cubicBezTo>
                        <a:pt x="31807" y="9037"/>
                        <a:pt x="32788" y="5581"/>
                        <a:pt x="31194" y="2863"/>
                      </a:cubicBezTo>
                      <a:cubicBezTo>
                        <a:pt x="29599" y="146"/>
                        <a:pt x="26033" y="-804"/>
                        <a:pt x="23229" y="741"/>
                      </a:cubicBezTo>
                      <a:cubicBezTo>
                        <a:pt x="23206" y="753"/>
                        <a:pt x="23184" y="766"/>
                        <a:pt x="23162" y="778"/>
                      </a:cubicBezTo>
                      <a:lnTo>
                        <a:pt x="2921" y="12099"/>
                      </a:lnTo>
                      <a:cubicBezTo>
                        <a:pt x="128" y="13662"/>
                        <a:pt x="-829" y="17124"/>
                        <a:pt x="784" y="19831"/>
                      </a:cubicBezTo>
                      <a:cubicBezTo>
                        <a:pt x="1827" y="21582"/>
                        <a:pt x="3756" y="22661"/>
                        <a:pt x="5842" y="22661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27" name="Freeform: Shape 173">
                  <a:extLst>
                    <a:ext uri="{FF2B5EF4-FFF2-40B4-BE49-F238E27FC236}">
                      <a16:creationId xmlns:a16="http://schemas.microsoft.com/office/drawing/2014/main" id="{97B9DC6F-307A-CE2A-5723-040CDF5A21D3}"/>
                    </a:ext>
                  </a:extLst>
                </p:cNvPr>
                <p:cNvSpPr/>
                <p:nvPr/>
              </p:nvSpPr>
              <p:spPr>
                <a:xfrm>
                  <a:off x="5026397" y="3784085"/>
                  <a:ext cx="23347" cy="30902"/>
                </a:xfrm>
                <a:custGeom>
                  <a:avLst/>
                  <a:gdLst>
                    <a:gd name="connsiteX0" fmla="*/ 2921 w 23347"/>
                    <a:gd name="connsiteY0" fmla="*/ 30143 h 30902"/>
                    <a:gd name="connsiteX1" fmla="*/ 10901 w 23347"/>
                    <a:gd name="connsiteY1" fmla="*/ 28072 h 30902"/>
                    <a:gd name="connsiteX2" fmla="*/ 22583 w 23347"/>
                    <a:gd name="connsiteY2" fmla="*/ 8459 h 30902"/>
                    <a:gd name="connsiteX3" fmla="*/ 20392 w 23347"/>
                    <a:gd name="connsiteY3" fmla="*/ 741 h 30902"/>
                    <a:gd name="connsiteX4" fmla="*/ 12466 w 23347"/>
                    <a:gd name="connsiteY4" fmla="*/ 2799 h 30902"/>
                    <a:gd name="connsiteX5" fmla="*/ 783 w 23347"/>
                    <a:gd name="connsiteY5" fmla="*/ 22411 h 30902"/>
                    <a:gd name="connsiteX6" fmla="*/ 2921 w 23347"/>
                    <a:gd name="connsiteY6" fmla="*/ 30143 h 309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347" h="30902">
                      <a:moveTo>
                        <a:pt x="2921" y="30143"/>
                      </a:moveTo>
                      <a:cubicBezTo>
                        <a:pt x="5715" y="31706"/>
                        <a:pt x="9288" y="30779"/>
                        <a:pt x="10901" y="28072"/>
                      </a:cubicBezTo>
                      <a:lnTo>
                        <a:pt x="22583" y="8459"/>
                      </a:lnTo>
                      <a:cubicBezTo>
                        <a:pt x="24178" y="5741"/>
                        <a:pt x="23197" y="2286"/>
                        <a:pt x="20392" y="741"/>
                      </a:cubicBezTo>
                      <a:cubicBezTo>
                        <a:pt x="17614" y="-790"/>
                        <a:pt x="14082" y="127"/>
                        <a:pt x="12466" y="2799"/>
                      </a:cubicBezTo>
                      <a:lnTo>
                        <a:pt x="783" y="22411"/>
                      </a:lnTo>
                      <a:cubicBezTo>
                        <a:pt x="-829" y="25119"/>
                        <a:pt x="128" y="28580"/>
                        <a:pt x="2921" y="30143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</p:grpSp>
          <p:grpSp>
            <p:nvGrpSpPr>
              <p:cNvPr id="103" name="Graphic 346">
                <a:extLst>
                  <a:ext uri="{FF2B5EF4-FFF2-40B4-BE49-F238E27FC236}">
                    <a16:creationId xmlns:a16="http://schemas.microsoft.com/office/drawing/2014/main" id="{8B291F5B-AD01-6FF9-3516-08C79D140BDE}"/>
                  </a:ext>
                </a:extLst>
              </p:cNvPr>
              <p:cNvGrpSpPr/>
              <p:nvPr/>
            </p:nvGrpSpPr>
            <p:grpSpPr>
              <a:xfrm>
                <a:off x="7334817" y="4488346"/>
                <a:ext cx="368554" cy="265481"/>
                <a:chOff x="3793585" y="3690421"/>
                <a:chExt cx="273319" cy="196880"/>
              </a:xfrm>
              <a:solidFill>
                <a:sysClr val="window" lastClr="FFFFFF"/>
              </a:solidFill>
            </p:grpSpPr>
            <p:sp>
              <p:nvSpPr>
                <p:cNvPr id="114" name="Freeform: Shape 158">
                  <a:extLst>
                    <a:ext uri="{FF2B5EF4-FFF2-40B4-BE49-F238E27FC236}">
                      <a16:creationId xmlns:a16="http://schemas.microsoft.com/office/drawing/2014/main" id="{E430F5FF-9CF0-D994-6F30-FFCB92142775}"/>
                    </a:ext>
                  </a:extLst>
                </p:cNvPr>
                <p:cNvSpPr/>
                <p:nvPr/>
              </p:nvSpPr>
              <p:spPr>
                <a:xfrm>
                  <a:off x="3793585" y="3864621"/>
                  <a:ext cx="31991" cy="22680"/>
                </a:xfrm>
                <a:custGeom>
                  <a:avLst/>
                  <a:gdLst>
                    <a:gd name="connsiteX0" fmla="*/ 23195 w 31991"/>
                    <a:gd name="connsiteY0" fmla="*/ 778 h 22680"/>
                    <a:gd name="connsiteX1" fmla="*/ 2955 w 31991"/>
                    <a:gd name="connsiteY1" fmla="*/ 12099 h 22680"/>
                    <a:gd name="connsiteX2" fmla="*/ 764 w 31991"/>
                    <a:gd name="connsiteY2" fmla="*/ 19817 h 22680"/>
                    <a:gd name="connsiteX3" fmla="*/ 8729 w 31991"/>
                    <a:gd name="connsiteY3" fmla="*/ 21940 h 22680"/>
                    <a:gd name="connsiteX4" fmla="*/ 8797 w 31991"/>
                    <a:gd name="connsiteY4" fmla="*/ 21902 h 22680"/>
                    <a:gd name="connsiteX5" fmla="*/ 29037 w 31991"/>
                    <a:gd name="connsiteY5" fmla="*/ 10582 h 22680"/>
                    <a:gd name="connsiteX6" fmla="*/ 31228 w 31991"/>
                    <a:gd name="connsiteY6" fmla="*/ 2863 h 22680"/>
                    <a:gd name="connsiteX7" fmla="*/ 23263 w 31991"/>
                    <a:gd name="connsiteY7" fmla="*/ 741 h 22680"/>
                    <a:gd name="connsiteX8" fmla="*/ 23195 w 31991"/>
                    <a:gd name="connsiteY8" fmla="*/ 778 h 22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91" h="22680">
                      <a:moveTo>
                        <a:pt x="23195" y="778"/>
                      </a:moveTo>
                      <a:lnTo>
                        <a:pt x="2955" y="12099"/>
                      </a:lnTo>
                      <a:cubicBezTo>
                        <a:pt x="151" y="13644"/>
                        <a:pt x="-830" y="17100"/>
                        <a:pt x="764" y="19817"/>
                      </a:cubicBezTo>
                      <a:cubicBezTo>
                        <a:pt x="2359" y="22535"/>
                        <a:pt x="5925" y="23485"/>
                        <a:pt x="8729" y="21940"/>
                      </a:cubicBezTo>
                      <a:cubicBezTo>
                        <a:pt x="8752" y="21927"/>
                        <a:pt x="8774" y="21915"/>
                        <a:pt x="8797" y="21902"/>
                      </a:cubicBezTo>
                      <a:lnTo>
                        <a:pt x="29037" y="10582"/>
                      </a:lnTo>
                      <a:cubicBezTo>
                        <a:pt x="31841" y="9037"/>
                        <a:pt x="32822" y="5581"/>
                        <a:pt x="31228" y="2863"/>
                      </a:cubicBezTo>
                      <a:cubicBezTo>
                        <a:pt x="29633" y="146"/>
                        <a:pt x="26067" y="-804"/>
                        <a:pt x="23263" y="741"/>
                      </a:cubicBezTo>
                      <a:cubicBezTo>
                        <a:pt x="23240" y="753"/>
                        <a:pt x="23218" y="766"/>
                        <a:pt x="23195" y="778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15" name="Freeform: Shape 159">
                  <a:extLst>
                    <a:ext uri="{FF2B5EF4-FFF2-40B4-BE49-F238E27FC236}">
                      <a16:creationId xmlns:a16="http://schemas.microsoft.com/office/drawing/2014/main" id="{E74B38E9-CC7F-9B07-72D3-6F040D00DA3A}"/>
                    </a:ext>
                  </a:extLst>
                </p:cNvPr>
                <p:cNvSpPr/>
                <p:nvPr/>
              </p:nvSpPr>
              <p:spPr>
                <a:xfrm>
                  <a:off x="4016168" y="3864621"/>
                  <a:ext cx="31991" cy="22680"/>
                </a:xfrm>
                <a:custGeom>
                  <a:avLst/>
                  <a:gdLst>
                    <a:gd name="connsiteX0" fmla="*/ 29036 w 31991"/>
                    <a:gd name="connsiteY0" fmla="*/ 12099 h 22680"/>
                    <a:gd name="connsiteX1" fmla="*/ 8796 w 31991"/>
                    <a:gd name="connsiteY1" fmla="*/ 778 h 22680"/>
                    <a:gd name="connsiteX2" fmla="*/ 803 w 31991"/>
                    <a:gd name="connsiteY2" fmla="*/ 2798 h 22680"/>
                    <a:gd name="connsiteX3" fmla="*/ 2888 w 31991"/>
                    <a:gd name="connsiteY3" fmla="*/ 10544 h 22680"/>
                    <a:gd name="connsiteX4" fmla="*/ 2955 w 31991"/>
                    <a:gd name="connsiteY4" fmla="*/ 10582 h 22680"/>
                    <a:gd name="connsiteX5" fmla="*/ 23195 w 31991"/>
                    <a:gd name="connsiteY5" fmla="*/ 21902 h 22680"/>
                    <a:gd name="connsiteX6" fmla="*/ 31188 w 31991"/>
                    <a:gd name="connsiteY6" fmla="*/ 19882 h 22680"/>
                    <a:gd name="connsiteX7" fmla="*/ 29104 w 31991"/>
                    <a:gd name="connsiteY7" fmla="*/ 12136 h 22680"/>
                    <a:gd name="connsiteX8" fmla="*/ 29036 w 31991"/>
                    <a:gd name="connsiteY8" fmla="*/ 12099 h 226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91" h="22680">
                      <a:moveTo>
                        <a:pt x="29036" y="12099"/>
                      </a:moveTo>
                      <a:lnTo>
                        <a:pt x="8796" y="778"/>
                      </a:lnTo>
                      <a:cubicBezTo>
                        <a:pt x="6013" y="-803"/>
                        <a:pt x="2434" y="102"/>
                        <a:pt x="803" y="2798"/>
                      </a:cubicBezTo>
                      <a:cubicBezTo>
                        <a:pt x="-828" y="5495"/>
                        <a:pt x="105" y="8963"/>
                        <a:pt x="2888" y="10544"/>
                      </a:cubicBezTo>
                      <a:cubicBezTo>
                        <a:pt x="2910" y="10557"/>
                        <a:pt x="2933" y="10569"/>
                        <a:pt x="2955" y="10582"/>
                      </a:cubicBezTo>
                      <a:lnTo>
                        <a:pt x="23195" y="21902"/>
                      </a:lnTo>
                      <a:cubicBezTo>
                        <a:pt x="25978" y="23483"/>
                        <a:pt x="29557" y="22579"/>
                        <a:pt x="31188" y="19882"/>
                      </a:cubicBezTo>
                      <a:cubicBezTo>
                        <a:pt x="32820" y="17185"/>
                        <a:pt x="31886" y="13718"/>
                        <a:pt x="29104" y="12136"/>
                      </a:cubicBezTo>
                      <a:cubicBezTo>
                        <a:pt x="29081" y="12124"/>
                        <a:pt x="29059" y="12111"/>
                        <a:pt x="29036" y="12099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16" name="Freeform: Shape 160">
                  <a:extLst>
                    <a:ext uri="{FF2B5EF4-FFF2-40B4-BE49-F238E27FC236}">
                      <a16:creationId xmlns:a16="http://schemas.microsoft.com/office/drawing/2014/main" id="{501F4EA6-B05E-AADE-0337-5F5266F72FAE}"/>
                    </a:ext>
                  </a:extLst>
                </p:cNvPr>
                <p:cNvSpPr/>
                <p:nvPr/>
              </p:nvSpPr>
              <p:spPr>
                <a:xfrm>
                  <a:off x="4031857" y="3808038"/>
                  <a:ext cx="35047" cy="11320"/>
                </a:xfrm>
                <a:custGeom>
                  <a:avLst/>
                  <a:gdLst>
                    <a:gd name="connsiteX0" fmla="*/ 29207 w 35047"/>
                    <a:gd name="connsiteY0" fmla="*/ 0 h 11320"/>
                    <a:gd name="connsiteX1" fmla="*/ 5841 w 35047"/>
                    <a:gd name="connsiteY1" fmla="*/ 0 h 11320"/>
                    <a:gd name="connsiteX2" fmla="*/ 0 w 35047"/>
                    <a:gd name="connsiteY2" fmla="*/ 5660 h 11320"/>
                    <a:gd name="connsiteX3" fmla="*/ 5841 w 35047"/>
                    <a:gd name="connsiteY3" fmla="*/ 11321 h 11320"/>
                    <a:gd name="connsiteX4" fmla="*/ 29207 w 35047"/>
                    <a:gd name="connsiteY4" fmla="*/ 11321 h 11320"/>
                    <a:gd name="connsiteX5" fmla="*/ 35048 w 35047"/>
                    <a:gd name="connsiteY5" fmla="*/ 5660 h 11320"/>
                    <a:gd name="connsiteX6" fmla="*/ 29207 w 35047"/>
                    <a:gd name="connsiteY6" fmla="*/ 0 h 113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5047" h="11320">
                      <a:moveTo>
                        <a:pt x="29207" y="0"/>
                      </a:moveTo>
                      <a:lnTo>
                        <a:pt x="5841" y="0"/>
                      </a:lnTo>
                      <a:cubicBezTo>
                        <a:pt x="2615" y="0"/>
                        <a:pt x="0" y="2534"/>
                        <a:pt x="0" y="5660"/>
                      </a:cubicBezTo>
                      <a:cubicBezTo>
                        <a:pt x="0" y="8786"/>
                        <a:pt x="2615" y="11321"/>
                        <a:pt x="5841" y="11321"/>
                      </a:cubicBezTo>
                      <a:lnTo>
                        <a:pt x="29207" y="11321"/>
                      </a:lnTo>
                      <a:cubicBezTo>
                        <a:pt x="32433" y="11321"/>
                        <a:pt x="35048" y="8786"/>
                        <a:pt x="35048" y="5660"/>
                      </a:cubicBezTo>
                      <a:cubicBezTo>
                        <a:pt x="35048" y="2534"/>
                        <a:pt x="32433" y="0"/>
                        <a:pt x="29207" y="0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17" name="Freeform: Shape 161">
                  <a:extLst>
                    <a:ext uri="{FF2B5EF4-FFF2-40B4-BE49-F238E27FC236}">
                      <a16:creationId xmlns:a16="http://schemas.microsoft.com/office/drawing/2014/main" id="{B51663CD-5FD6-1760-61E0-FDBB7C764BA2}"/>
                    </a:ext>
                  </a:extLst>
                </p:cNvPr>
                <p:cNvSpPr/>
                <p:nvPr/>
              </p:nvSpPr>
              <p:spPr>
                <a:xfrm>
                  <a:off x="4016208" y="3740095"/>
                  <a:ext cx="31958" cy="22660"/>
                </a:xfrm>
                <a:custGeom>
                  <a:avLst/>
                  <a:gdLst>
                    <a:gd name="connsiteX0" fmla="*/ 5842 w 31958"/>
                    <a:gd name="connsiteY0" fmla="*/ 22661 h 22660"/>
                    <a:gd name="connsiteX1" fmla="*/ 8763 w 31958"/>
                    <a:gd name="connsiteY1" fmla="*/ 21902 h 22660"/>
                    <a:gd name="connsiteX2" fmla="*/ 29003 w 31958"/>
                    <a:gd name="connsiteY2" fmla="*/ 10582 h 22660"/>
                    <a:gd name="connsiteX3" fmla="*/ 31194 w 31958"/>
                    <a:gd name="connsiteY3" fmla="*/ 2863 h 22660"/>
                    <a:gd name="connsiteX4" fmla="*/ 23229 w 31958"/>
                    <a:gd name="connsiteY4" fmla="*/ 741 h 22660"/>
                    <a:gd name="connsiteX5" fmla="*/ 23162 w 31958"/>
                    <a:gd name="connsiteY5" fmla="*/ 778 h 22660"/>
                    <a:gd name="connsiteX6" fmla="*/ 2921 w 31958"/>
                    <a:gd name="connsiteY6" fmla="*/ 12099 h 22660"/>
                    <a:gd name="connsiteX7" fmla="*/ 784 w 31958"/>
                    <a:gd name="connsiteY7" fmla="*/ 19831 h 22660"/>
                    <a:gd name="connsiteX8" fmla="*/ 5842 w 31958"/>
                    <a:gd name="connsiteY8" fmla="*/ 22661 h 226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1958" h="22660">
                      <a:moveTo>
                        <a:pt x="5842" y="22661"/>
                      </a:moveTo>
                      <a:cubicBezTo>
                        <a:pt x="6868" y="22663"/>
                        <a:pt x="7875" y="22401"/>
                        <a:pt x="8763" y="21902"/>
                      </a:cubicBezTo>
                      <a:lnTo>
                        <a:pt x="29003" y="10582"/>
                      </a:lnTo>
                      <a:cubicBezTo>
                        <a:pt x="31807" y="9037"/>
                        <a:pt x="32788" y="5581"/>
                        <a:pt x="31194" y="2863"/>
                      </a:cubicBezTo>
                      <a:cubicBezTo>
                        <a:pt x="29599" y="146"/>
                        <a:pt x="26033" y="-804"/>
                        <a:pt x="23229" y="741"/>
                      </a:cubicBezTo>
                      <a:cubicBezTo>
                        <a:pt x="23206" y="753"/>
                        <a:pt x="23184" y="766"/>
                        <a:pt x="23162" y="778"/>
                      </a:cubicBezTo>
                      <a:lnTo>
                        <a:pt x="2921" y="12099"/>
                      </a:lnTo>
                      <a:cubicBezTo>
                        <a:pt x="128" y="13662"/>
                        <a:pt x="-829" y="17124"/>
                        <a:pt x="784" y="19831"/>
                      </a:cubicBezTo>
                      <a:cubicBezTo>
                        <a:pt x="1827" y="21582"/>
                        <a:pt x="3756" y="22661"/>
                        <a:pt x="5842" y="22661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  <p:sp>
              <p:nvSpPr>
                <p:cNvPr id="118" name="Freeform: Shape 162">
                  <a:extLst>
                    <a:ext uri="{FF2B5EF4-FFF2-40B4-BE49-F238E27FC236}">
                      <a16:creationId xmlns:a16="http://schemas.microsoft.com/office/drawing/2014/main" id="{5191D356-2AEB-E25A-32A9-4DAE79A16494}"/>
                    </a:ext>
                  </a:extLst>
                </p:cNvPr>
                <p:cNvSpPr/>
                <p:nvPr/>
              </p:nvSpPr>
              <p:spPr>
                <a:xfrm>
                  <a:off x="3973444" y="3690421"/>
                  <a:ext cx="23347" cy="30902"/>
                </a:xfrm>
                <a:custGeom>
                  <a:avLst/>
                  <a:gdLst>
                    <a:gd name="connsiteX0" fmla="*/ 2921 w 23347"/>
                    <a:gd name="connsiteY0" fmla="*/ 30143 h 30902"/>
                    <a:gd name="connsiteX1" fmla="*/ 10901 w 23347"/>
                    <a:gd name="connsiteY1" fmla="*/ 28072 h 30902"/>
                    <a:gd name="connsiteX2" fmla="*/ 22583 w 23347"/>
                    <a:gd name="connsiteY2" fmla="*/ 8459 h 30902"/>
                    <a:gd name="connsiteX3" fmla="*/ 20392 w 23347"/>
                    <a:gd name="connsiteY3" fmla="*/ 741 h 30902"/>
                    <a:gd name="connsiteX4" fmla="*/ 12466 w 23347"/>
                    <a:gd name="connsiteY4" fmla="*/ 2799 h 30902"/>
                    <a:gd name="connsiteX5" fmla="*/ 783 w 23347"/>
                    <a:gd name="connsiteY5" fmla="*/ 22411 h 30902"/>
                    <a:gd name="connsiteX6" fmla="*/ 2921 w 23347"/>
                    <a:gd name="connsiteY6" fmla="*/ 30143 h 3090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23347" h="30902">
                      <a:moveTo>
                        <a:pt x="2921" y="30143"/>
                      </a:moveTo>
                      <a:cubicBezTo>
                        <a:pt x="5715" y="31706"/>
                        <a:pt x="9288" y="30779"/>
                        <a:pt x="10901" y="28072"/>
                      </a:cubicBezTo>
                      <a:lnTo>
                        <a:pt x="22583" y="8459"/>
                      </a:lnTo>
                      <a:cubicBezTo>
                        <a:pt x="24178" y="5741"/>
                        <a:pt x="23197" y="2286"/>
                        <a:pt x="20392" y="741"/>
                      </a:cubicBezTo>
                      <a:cubicBezTo>
                        <a:pt x="17614" y="-790"/>
                        <a:pt x="14082" y="127"/>
                        <a:pt x="12466" y="2799"/>
                      </a:cubicBezTo>
                      <a:lnTo>
                        <a:pt x="783" y="22411"/>
                      </a:lnTo>
                      <a:cubicBezTo>
                        <a:pt x="-829" y="25119"/>
                        <a:pt x="128" y="28580"/>
                        <a:pt x="2921" y="30143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 w="5804" cap="flat">
                  <a:noFill/>
                  <a:prstDash val="solid"/>
                  <a:miter/>
                </a:ln>
              </p:spPr>
              <p:txBody>
                <a:bodyPr rtlCol="0" anchor="ctr"/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/>
                </a:p>
              </p:txBody>
            </p:sp>
          </p:grpSp>
          <p:grpSp>
            <p:nvGrpSpPr>
              <p:cNvPr id="1062" name="Group 1061">
                <a:extLst>
                  <a:ext uri="{FF2B5EF4-FFF2-40B4-BE49-F238E27FC236}">
                    <a16:creationId xmlns:a16="http://schemas.microsoft.com/office/drawing/2014/main" id="{F421CFCE-DB21-CEB1-FAE0-031BBBFF40B1}"/>
                  </a:ext>
                </a:extLst>
              </p:cNvPr>
              <p:cNvGrpSpPr/>
              <p:nvPr/>
            </p:nvGrpSpPr>
            <p:grpSpPr>
              <a:xfrm>
                <a:off x="6310925" y="2757867"/>
                <a:ext cx="808117" cy="1448658"/>
                <a:chOff x="6566423" y="2757867"/>
                <a:chExt cx="808117" cy="1448658"/>
              </a:xfrm>
            </p:grpSpPr>
            <p:sp>
              <p:nvSpPr>
                <p:cNvPr id="36" name="Freeform 29">
                  <a:extLst>
                    <a:ext uri="{FF2B5EF4-FFF2-40B4-BE49-F238E27FC236}">
                      <a16:creationId xmlns:a16="http://schemas.microsoft.com/office/drawing/2014/main" id="{8EF92C2D-5FAF-15CA-25E3-D2F72BE68C9C}"/>
                    </a:ext>
                  </a:extLst>
                </p:cNvPr>
                <p:cNvSpPr/>
                <p:nvPr/>
              </p:nvSpPr>
              <p:spPr bwMode="auto">
                <a:xfrm>
                  <a:off x="6826399" y="3135301"/>
                  <a:ext cx="548141" cy="261541"/>
                </a:xfrm>
                <a:custGeom>
                  <a:avLst/>
                  <a:gdLst>
                    <a:gd name="T0" fmla="*/ 211 w 214"/>
                    <a:gd name="T1" fmla="*/ 63 h 102"/>
                    <a:gd name="T2" fmla="*/ 198 w 214"/>
                    <a:gd name="T3" fmla="*/ 65 h 102"/>
                    <a:gd name="T4" fmla="*/ 208 w 214"/>
                    <a:gd name="T5" fmla="*/ 71 h 102"/>
                    <a:gd name="T6" fmla="*/ 206 w 214"/>
                    <a:gd name="T7" fmla="*/ 76 h 102"/>
                    <a:gd name="T8" fmla="*/ 198 w 214"/>
                    <a:gd name="T9" fmla="*/ 75 h 102"/>
                    <a:gd name="T10" fmla="*/ 183 w 214"/>
                    <a:gd name="T11" fmla="*/ 78 h 102"/>
                    <a:gd name="T12" fmla="*/ 183 w 214"/>
                    <a:gd name="T13" fmla="*/ 78 h 102"/>
                    <a:gd name="T14" fmla="*/ 5 w 214"/>
                    <a:gd name="T15" fmla="*/ 27 h 102"/>
                    <a:gd name="T16" fmla="*/ 13 w 214"/>
                    <a:gd name="T17" fmla="*/ 3 h 102"/>
                    <a:gd name="T18" fmla="*/ 31 w 214"/>
                    <a:gd name="T19" fmla="*/ 7 h 102"/>
                    <a:gd name="T20" fmla="*/ 60 w 214"/>
                    <a:gd name="T21" fmla="*/ 31 h 102"/>
                    <a:gd name="T22" fmla="*/ 164 w 214"/>
                    <a:gd name="T23" fmla="*/ 53 h 102"/>
                    <a:gd name="T24" fmla="*/ 169 w 214"/>
                    <a:gd name="T25" fmla="*/ 52 h 102"/>
                    <a:gd name="T26" fmla="*/ 172 w 214"/>
                    <a:gd name="T27" fmla="*/ 41 h 102"/>
                    <a:gd name="T28" fmla="*/ 175 w 214"/>
                    <a:gd name="T29" fmla="*/ 38 h 102"/>
                    <a:gd name="T30" fmla="*/ 180 w 214"/>
                    <a:gd name="T31" fmla="*/ 38 h 102"/>
                    <a:gd name="T32" fmla="*/ 181 w 214"/>
                    <a:gd name="T33" fmla="*/ 40 h 102"/>
                    <a:gd name="T34" fmla="*/ 183 w 214"/>
                    <a:gd name="T35" fmla="*/ 44 h 102"/>
                    <a:gd name="T36" fmla="*/ 186 w 214"/>
                    <a:gd name="T37" fmla="*/ 48 h 102"/>
                    <a:gd name="T38" fmla="*/ 188 w 214"/>
                    <a:gd name="T39" fmla="*/ 48 h 102"/>
                    <a:gd name="T40" fmla="*/ 202 w 214"/>
                    <a:gd name="T41" fmla="*/ 46 h 102"/>
                    <a:gd name="T42" fmla="*/ 207 w 214"/>
                    <a:gd name="T43" fmla="*/ 48 h 102"/>
                    <a:gd name="T44" fmla="*/ 203 w 214"/>
                    <a:gd name="T45" fmla="*/ 51 h 102"/>
                    <a:gd name="T46" fmla="*/ 195 w 214"/>
                    <a:gd name="T47" fmla="*/ 54 h 102"/>
                    <a:gd name="T48" fmla="*/ 208 w 214"/>
                    <a:gd name="T49" fmla="*/ 57 h 102"/>
                    <a:gd name="T50" fmla="*/ 212 w 214"/>
                    <a:gd name="T51" fmla="*/ 59 h 102"/>
                    <a:gd name="T52" fmla="*/ 211 w 214"/>
                    <a:gd name="T53" fmla="*/ 63 h 1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14" h="102">
                      <a:moveTo>
                        <a:pt x="211" y="63"/>
                      </a:moveTo>
                      <a:cubicBezTo>
                        <a:pt x="207" y="65"/>
                        <a:pt x="202" y="63"/>
                        <a:pt x="198" y="65"/>
                      </a:cubicBezTo>
                      <a:cubicBezTo>
                        <a:pt x="201" y="66"/>
                        <a:pt x="205" y="68"/>
                        <a:pt x="208" y="71"/>
                      </a:cubicBezTo>
                      <a:cubicBezTo>
                        <a:pt x="210" y="73"/>
                        <a:pt x="208" y="76"/>
                        <a:pt x="206" y="76"/>
                      </a:cubicBezTo>
                      <a:cubicBezTo>
                        <a:pt x="203" y="76"/>
                        <a:pt x="200" y="75"/>
                        <a:pt x="198" y="75"/>
                      </a:cubicBezTo>
                      <a:cubicBezTo>
                        <a:pt x="193" y="75"/>
                        <a:pt x="188" y="77"/>
                        <a:pt x="183" y="78"/>
                      </a:cubicBezTo>
                      <a:cubicBezTo>
                        <a:pt x="183" y="78"/>
                        <a:pt x="183" y="78"/>
                        <a:pt x="183" y="78"/>
                      </a:cubicBezTo>
                      <a:cubicBezTo>
                        <a:pt x="165" y="90"/>
                        <a:pt x="55" y="102"/>
                        <a:pt x="5" y="27"/>
                      </a:cubicBezTo>
                      <a:cubicBezTo>
                        <a:pt x="0" y="19"/>
                        <a:pt x="3" y="7"/>
                        <a:pt x="13" y="3"/>
                      </a:cubicBezTo>
                      <a:cubicBezTo>
                        <a:pt x="19" y="0"/>
                        <a:pt x="26" y="2"/>
                        <a:pt x="31" y="7"/>
                      </a:cubicBezTo>
                      <a:cubicBezTo>
                        <a:pt x="37" y="13"/>
                        <a:pt x="47" y="22"/>
                        <a:pt x="60" y="31"/>
                      </a:cubicBezTo>
                      <a:cubicBezTo>
                        <a:pt x="84" y="46"/>
                        <a:pt x="119" y="60"/>
                        <a:pt x="164" y="53"/>
                      </a:cubicBezTo>
                      <a:cubicBezTo>
                        <a:pt x="166" y="52"/>
                        <a:pt x="167" y="52"/>
                        <a:pt x="169" y="52"/>
                      </a:cubicBezTo>
                      <a:cubicBezTo>
                        <a:pt x="170" y="48"/>
                        <a:pt x="171" y="44"/>
                        <a:pt x="172" y="41"/>
                      </a:cubicBezTo>
                      <a:cubicBezTo>
                        <a:pt x="173" y="40"/>
                        <a:pt x="174" y="39"/>
                        <a:pt x="175" y="38"/>
                      </a:cubicBezTo>
                      <a:cubicBezTo>
                        <a:pt x="177" y="37"/>
                        <a:pt x="178" y="37"/>
                        <a:pt x="180" y="38"/>
                      </a:cubicBezTo>
                      <a:cubicBezTo>
                        <a:pt x="180" y="38"/>
                        <a:pt x="181" y="39"/>
                        <a:pt x="181" y="40"/>
                      </a:cubicBezTo>
                      <a:cubicBezTo>
                        <a:pt x="182" y="41"/>
                        <a:pt x="182" y="43"/>
                        <a:pt x="183" y="44"/>
                      </a:cubicBezTo>
                      <a:cubicBezTo>
                        <a:pt x="183" y="46"/>
                        <a:pt x="184" y="48"/>
                        <a:pt x="186" y="48"/>
                      </a:cubicBezTo>
                      <a:cubicBezTo>
                        <a:pt x="187" y="48"/>
                        <a:pt x="188" y="48"/>
                        <a:pt x="188" y="48"/>
                      </a:cubicBezTo>
                      <a:cubicBezTo>
                        <a:pt x="193" y="47"/>
                        <a:pt x="198" y="46"/>
                        <a:pt x="202" y="46"/>
                      </a:cubicBezTo>
                      <a:cubicBezTo>
                        <a:pt x="204" y="46"/>
                        <a:pt x="207" y="46"/>
                        <a:pt x="207" y="48"/>
                      </a:cubicBezTo>
                      <a:cubicBezTo>
                        <a:pt x="208" y="50"/>
                        <a:pt x="205" y="51"/>
                        <a:pt x="203" y="51"/>
                      </a:cubicBezTo>
                      <a:cubicBezTo>
                        <a:pt x="201" y="52"/>
                        <a:pt x="198" y="53"/>
                        <a:pt x="195" y="54"/>
                      </a:cubicBezTo>
                      <a:cubicBezTo>
                        <a:pt x="200" y="55"/>
                        <a:pt x="204" y="56"/>
                        <a:pt x="208" y="57"/>
                      </a:cubicBezTo>
                      <a:cubicBezTo>
                        <a:pt x="209" y="58"/>
                        <a:pt x="211" y="58"/>
                        <a:pt x="212" y="59"/>
                      </a:cubicBezTo>
                      <a:cubicBezTo>
                        <a:pt x="214" y="60"/>
                        <a:pt x="213" y="63"/>
                        <a:pt x="211" y="63"/>
                      </a:cubicBez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37" name="Freeform 30">
                  <a:extLst>
                    <a:ext uri="{FF2B5EF4-FFF2-40B4-BE49-F238E27FC236}">
                      <a16:creationId xmlns:a16="http://schemas.microsoft.com/office/drawing/2014/main" id="{577C4902-68C4-9E48-FFA2-9A42CCD985F9}"/>
                    </a:ext>
                  </a:extLst>
                </p:cNvPr>
                <p:cNvSpPr/>
                <p:nvPr/>
              </p:nvSpPr>
              <p:spPr bwMode="auto">
                <a:xfrm>
                  <a:off x="6818568" y="3127471"/>
                  <a:ext cx="140950" cy="137819"/>
                </a:xfrm>
                <a:custGeom>
                  <a:avLst/>
                  <a:gdLst>
                    <a:gd name="T0" fmla="*/ 16 w 55"/>
                    <a:gd name="T1" fmla="*/ 3 h 54"/>
                    <a:gd name="T2" fmla="*/ 6 w 55"/>
                    <a:gd name="T3" fmla="*/ 31 h 54"/>
                    <a:gd name="T4" fmla="*/ 7 w 55"/>
                    <a:gd name="T5" fmla="*/ 31 h 54"/>
                    <a:gd name="T6" fmla="*/ 27 w 55"/>
                    <a:gd name="T7" fmla="*/ 54 h 54"/>
                    <a:gd name="T8" fmla="*/ 55 w 55"/>
                    <a:gd name="T9" fmla="*/ 25 h 54"/>
                    <a:gd name="T10" fmla="*/ 26 w 55"/>
                    <a:gd name="T11" fmla="*/ 1 h 54"/>
                    <a:gd name="T12" fmla="*/ 16 w 55"/>
                    <a:gd name="T13" fmla="*/ 3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5" h="54">
                      <a:moveTo>
                        <a:pt x="16" y="3"/>
                      </a:moveTo>
                      <a:cubicBezTo>
                        <a:pt x="5" y="7"/>
                        <a:pt x="0" y="21"/>
                        <a:pt x="6" y="31"/>
                      </a:cubicBezTo>
                      <a:cubicBezTo>
                        <a:pt x="6" y="31"/>
                        <a:pt x="6" y="31"/>
                        <a:pt x="7" y="31"/>
                      </a:cubicBezTo>
                      <a:cubicBezTo>
                        <a:pt x="15" y="43"/>
                        <a:pt x="27" y="54"/>
                        <a:pt x="27" y="54"/>
                      </a:cubicBezTo>
                      <a:cubicBezTo>
                        <a:pt x="55" y="25"/>
                        <a:pt x="55" y="25"/>
                        <a:pt x="55" y="25"/>
                      </a:cubicBezTo>
                      <a:cubicBezTo>
                        <a:pt x="55" y="25"/>
                        <a:pt x="32" y="3"/>
                        <a:pt x="26" y="1"/>
                      </a:cubicBezTo>
                      <a:cubicBezTo>
                        <a:pt x="23" y="0"/>
                        <a:pt x="19" y="1"/>
                        <a:pt x="16" y="3"/>
                      </a:cubicBezTo>
                      <a:close/>
                    </a:path>
                  </a:pathLst>
                </a:custGeom>
                <a:solidFill>
                  <a:srgbClr val="4472C4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38" name="Freeform 33">
                  <a:extLst>
                    <a:ext uri="{FF2B5EF4-FFF2-40B4-BE49-F238E27FC236}">
                      <a16:creationId xmlns:a16="http://schemas.microsoft.com/office/drawing/2014/main" id="{5F25CB95-04B5-64D4-34FF-464FF9256360}"/>
                    </a:ext>
                  </a:extLst>
                </p:cNvPr>
                <p:cNvSpPr/>
                <p:nvPr/>
              </p:nvSpPr>
              <p:spPr bwMode="auto">
                <a:xfrm>
                  <a:off x="6832664" y="3431298"/>
                  <a:ext cx="244315" cy="728245"/>
                </a:xfrm>
                <a:custGeom>
                  <a:avLst/>
                  <a:gdLst>
                    <a:gd name="T0" fmla="*/ 50 w 95"/>
                    <a:gd name="T1" fmla="*/ 4 h 284"/>
                    <a:gd name="T2" fmla="*/ 76 w 95"/>
                    <a:gd name="T3" fmla="*/ 195 h 284"/>
                    <a:gd name="T4" fmla="*/ 65 w 95"/>
                    <a:gd name="T5" fmla="*/ 284 h 284"/>
                    <a:gd name="T6" fmla="*/ 34 w 95"/>
                    <a:gd name="T7" fmla="*/ 284 h 284"/>
                    <a:gd name="T8" fmla="*/ 3 w 95"/>
                    <a:gd name="T9" fmla="*/ 55 h 284"/>
                    <a:gd name="T10" fmla="*/ 50 w 95"/>
                    <a:gd name="T11" fmla="*/ 4 h 2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5" h="284">
                      <a:moveTo>
                        <a:pt x="50" y="4"/>
                      </a:moveTo>
                      <a:cubicBezTo>
                        <a:pt x="50" y="4"/>
                        <a:pt x="95" y="107"/>
                        <a:pt x="76" y="195"/>
                      </a:cubicBezTo>
                      <a:cubicBezTo>
                        <a:pt x="65" y="284"/>
                        <a:pt x="65" y="284"/>
                        <a:pt x="65" y="284"/>
                      </a:cubicBezTo>
                      <a:cubicBezTo>
                        <a:pt x="34" y="284"/>
                        <a:pt x="34" y="284"/>
                        <a:pt x="34" y="284"/>
                      </a:cubicBezTo>
                      <a:cubicBezTo>
                        <a:pt x="34" y="284"/>
                        <a:pt x="33" y="130"/>
                        <a:pt x="3" y="55"/>
                      </a:cubicBezTo>
                      <a:cubicBezTo>
                        <a:pt x="3" y="55"/>
                        <a:pt x="0" y="0"/>
                        <a:pt x="50" y="4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39" name="Freeform 35">
                  <a:extLst>
                    <a:ext uri="{FF2B5EF4-FFF2-40B4-BE49-F238E27FC236}">
                      <a16:creationId xmlns:a16="http://schemas.microsoft.com/office/drawing/2014/main" id="{D2E7D8C1-C0B2-0EE6-D28A-3B89B1539C47}"/>
                    </a:ext>
                  </a:extLst>
                </p:cNvPr>
                <p:cNvSpPr/>
                <p:nvPr/>
              </p:nvSpPr>
              <p:spPr bwMode="auto">
                <a:xfrm>
                  <a:off x="6915668" y="4156409"/>
                  <a:ext cx="133119" cy="50116"/>
                </a:xfrm>
                <a:custGeom>
                  <a:avLst/>
                  <a:gdLst>
                    <a:gd name="T0" fmla="*/ 3 w 52"/>
                    <a:gd name="T1" fmla="*/ 0 h 19"/>
                    <a:gd name="T2" fmla="*/ 1 w 52"/>
                    <a:gd name="T3" fmla="*/ 17 h 19"/>
                    <a:gd name="T4" fmla="*/ 3 w 52"/>
                    <a:gd name="T5" fmla="*/ 19 h 19"/>
                    <a:gd name="T6" fmla="*/ 50 w 52"/>
                    <a:gd name="T7" fmla="*/ 19 h 19"/>
                    <a:gd name="T8" fmla="*/ 51 w 52"/>
                    <a:gd name="T9" fmla="*/ 16 h 19"/>
                    <a:gd name="T10" fmla="*/ 32 w 52"/>
                    <a:gd name="T11" fmla="*/ 0 h 19"/>
                    <a:gd name="T12" fmla="*/ 3 w 52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19">
                      <a:moveTo>
                        <a:pt x="3" y="0"/>
                      </a:moveTo>
                      <a:cubicBezTo>
                        <a:pt x="3" y="0"/>
                        <a:pt x="0" y="7"/>
                        <a:pt x="1" y="17"/>
                      </a:cubicBezTo>
                      <a:cubicBezTo>
                        <a:pt x="1" y="18"/>
                        <a:pt x="2" y="19"/>
                        <a:pt x="3" y="19"/>
                      </a:cubicBezTo>
                      <a:cubicBezTo>
                        <a:pt x="50" y="19"/>
                        <a:pt x="50" y="19"/>
                        <a:pt x="50" y="19"/>
                      </a:cubicBezTo>
                      <a:cubicBezTo>
                        <a:pt x="51" y="19"/>
                        <a:pt x="52" y="17"/>
                        <a:pt x="51" y="16"/>
                      </a:cubicBezTo>
                      <a:cubicBezTo>
                        <a:pt x="46" y="12"/>
                        <a:pt x="36" y="3"/>
                        <a:pt x="32" y="0"/>
                      </a:cubicBez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40" name="Freeform 36">
                  <a:extLst>
                    <a:ext uri="{FF2B5EF4-FFF2-40B4-BE49-F238E27FC236}">
                      <a16:creationId xmlns:a16="http://schemas.microsoft.com/office/drawing/2014/main" id="{249409A3-F590-1FDD-95A5-7AADF1230BC1}"/>
                    </a:ext>
                  </a:extLst>
                </p:cNvPr>
                <p:cNvSpPr/>
                <p:nvPr/>
              </p:nvSpPr>
              <p:spPr bwMode="auto">
                <a:xfrm>
                  <a:off x="6810738" y="4156409"/>
                  <a:ext cx="133119" cy="50116"/>
                </a:xfrm>
                <a:custGeom>
                  <a:avLst/>
                  <a:gdLst>
                    <a:gd name="T0" fmla="*/ 4 w 52"/>
                    <a:gd name="T1" fmla="*/ 0 h 19"/>
                    <a:gd name="T2" fmla="*/ 2 w 52"/>
                    <a:gd name="T3" fmla="*/ 17 h 19"/>
                    <a:gd name="T4" fmla="*/ 4 w 52"/>
                    <a:gd name="T5" fmla="*/ 19 h 19"/>
                    <a:gd name="T6" fmla="*/ 50 w 52"/>
                    <a:gd name="T7" fmla="*/ 19 h 19"/>
                    <a:gd name="T8" fmla="*/ 51 w 52"/>
                    <a:gd name="T9" fmla="*/ 16 h 19"/>
                    <a:gd name="T10" fmla="*/ 32 w 52"/>
                    <a:gd name="T11" fmla="*/ 0 h 19"/>
                    <a:gd name="T12" fmla="*/ 4 w 52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19">
                      <a:moveTo>
                        <a:pt x="4" y="0"/>
                      </a:moveTo>
                      <a:cubicBezTo>
                        <a:pt x="4" y="0"/>
                        <a:pt x="0" y="7"/>
                        <a:pt x="2" y="17"/>
                      </a:cubicBezTo>
                      <a:cubicBezTo>
                        <a:pt x="2" y="18"/>
                        <a:pt x="3" y="19"/>
                        <a:pt x="4" y="19"/>
                      </a:cubicBezTo>
                      <a:cubicBezTo>
                        <a:pt x="50" y="19"/>
                        <a:pt x="50" y="19"/>
                        <a:pt x="50" y="19"/>
                      </a:cubicBezTo>
                      <a:cubicBezTo>
                        <a:pt x="52" y="19"/>
                        <a:pt x="52" y="17"/>
                        <a:pt x="51" y="16"/>
                      </a:cubicBezTo>
                      <a:cubicBezTo>
                        <a:pt x="47" y="12"/>
                        <a:pt x="37" y="3"/>
                        <a:pt x="32" y="0"/>
                      </a:cubicBez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41" name="Freeform 37">
                  <a:extLst>
                    <a:ext uri="{FF2B5EF4-FFF2-40B4-BE49-F238E27FC236}">
                      <a16:creationId xmlns:a16="http://schemas.microsoft.com/office/drawing/2014/main" id="{E232ACD5-9E1A-9642-ECF3-AE4E95FCEC91}"/>
                    </a:ext>
                  </a:extLst>
                </p:cNvPr>
                <p:cNvSpPr/>
                <p:nvPr/>
              </p:nvSpPr>
              <p:spPr bwMode="auto">
                <a:xfrm>
                  <a:off x="6705808" y="3370220"/>
                  <a:ext cx="278769" cy="789323"/>
                </a:xfrm>
                <a:custGeom>
                  <a:avLst/>
                  <a:gdLst>
                    <a:gd name="T0" fmla="*/ 91 w 109"/>
                    <a:gd name="T1" fmla="*/ 1 h 308"/>
                    <a:gd name="T2" fmla="*/ 91 w 109"/>
                    <a:gd name="T3" fmla="*/ 0 h 308"/>
                    <a:gd name="T4" fmla="*/ 23 w 109"/>
                    <a:gd name="T5" fmla="*/ 5 h 308"/>
                    <a:gd name="T6" fmla="*/ 10 w 109"/>
                    <a:gd name="T7" fmla="*/ 81 h 308"/>
                    <a:gd name="T8" fmla="*/ 11 w 109"/>
                    <a:gd name="T9" fmla="*/ 83 h 308"/>
                    <a:gd name="T10" fmla="*/ 43 w 109"/>
                    <a:gd name="T11" fmla="*/ 308 h 308"/>
                    <a:gd name="T12" fmla="*/ 74 w 109"/>
                    <a:gd name="T13" fmla="*/ 308 h 308"/>
                    <a:gd name="T14" fmla="*/ 84 w 109"/>
                    <a:gd name="T15" fmla="*/ 219 h 308"/>
                    <a:gd name="T16" fmla="*/ 71 w 109"/>
                    <a:gd name="T17" fmla="*/ 70 h 308"/>
                    <a:gd name="T18" fmla="*/ 91 w 109"/>
                    <a:gd name="T19" fmla="*/ 1 h 3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9" h="308">
                      <a:moveTo>
                        <a:pt x="91" y="1"/>
                      </a:moveTo>
                      <a:cubicBezTo>
                        <a:pt x="91" y="1"/>
                        <a:pt x="91" y="0"/>
                        <a:pt x="91" y="0"/>
                      </a:cubicBezTo>
                      <a:cubicBezTo>
                        <a:pt x="23" y="5"/>
                        <a:pt x="23" y="5"/>
                        <a:pt x="23" y="5"/>
                      </a:cubicBezTo>
                      <a:cubicBezTo>
                        <a:pt x="23" y="5"/>
                        <a:pt x="0" y="38"/>
                        <a:pt x="10" y="81"/>
                      </a:cubicBezTo>
                      <a:cubicBezTo>
                        <a:pt x="10" y="82"/>
                        <a:pt x="11" y="82"/>
                        <a:pt x="11" y="83"/>
                      </a:cubicBezTo>
                      <a:cubicBezTo>
                        <a:pt x="38" y="161"/>
                        <a:pt x="43" y="308"/>
                        <a:pt x="43" y="308"/>
                      </a:cubicBezTo>
                      <a:cubicBezTo>
                        <a:pt x="74" y="308"/>
                        <a:pt x="74" y="308"/>
                        <a:pt x="74" y="308"/>
                      </a:cubicBezTo>
                      <a:cubicBezTo>
                        <a:pt x="84" y="219"/>
                        <a:pt x="84" y="219"/>
                        <a:pt x="84" y="219"/>
                      </a:cubicBezTo>
                      <a:cubicBezTo>
                        <a:pt x="100" y="148"/>
                        <a:pt x="79" y="89"/>
                        <a:pt x="71" y="70"/>
                      </a:cubicBezTo>
                      <a:cubicBezTo>
                        <a:pt x="98" y="59"/>
                        <a:pt x="109" y="25"/>
                        <a:pt x="91" y="1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42" name="Freeform 40">
                  <a:extLst>
                    <a:ext uri="{FF2B5EF4-FFF2-40B4-BE49-F238E27FC236}">
                      <a16:creationId xmlns:a16="http://schemas.microsoft.com/office/drawing/2014/main" id="{AE788CD3-1B5A-B50F-9425-64111C70BA11}"/>
                    </a:ext>
                  </a:extLst>
                </p:cNvPr>
                <p:cNvSpPr/>
                <p:nvPr/>
              </p:nvSpPr>
              <p:spPr bwMode="auto">
                <a:xfrm>
                  <a:off x="6643165" y="2793888"/>
                  <a:ext cx="308525" cy="377434"/>
                </a:xfrm>
                <a:custGeom>
                  <a:avLst/>
                  <a:gdLst>
                    <a:gd name="T0" fmla="*/ 106 w 120"/>
                    <a:gd name="T1" fmla="*/ 36 h 147"/>
                    <a:gd name="T2" fmla="*/ 36 w 120"/>
                    <a:gd name="T3" fmla="*/ 13 h 147"/>
                    <a:gd name="T4" fmla="*/ 15 w 120"/>
                    <a:gd name="T5" fmla="*/ 77 h 147"/>
                    <a:gd name="T6" fmla="*/ 2 w 120"/>
                    <a:gd name="T7" fmla="*/ 85 h 147"/>
                    <a:gd name="T8" fmla="*/ 33 w 120"/>
                    <a:gd name="T9" fmla="*/ 101 h 147"/>
                    <a:gd name="T10" fmla="*/ 43 w 120"/>
                    <a:gd name="T11" fmla="*/ 107 h 147"/>
                    <a:gd name="T12" fmla="*/ 44 w 120"/>
                    <a:gd name="T13" fmla="*/ 147 h 147"/>
                    <a:gd name="T14" fmla="*/ 76 w 120"/>
                    <a:gd name="T15" fmla="*/ 146 h 147"/>
                    <a:gd name="T16" fmla="*/ 75 w 120"/>
                    <a:gd name="T17" fmla="*/ 112 h 147"/>
                    <a:gd name="T18" fmla="*/ 93 w 120"/>
                    <a:gd name="T19" fmla="*/ 107 h 147"/>
                    <a:gd name="T20" fmla="*/ 106 w 120"/>
                    <a:gd name="T21" fmla="*/ 36 h 1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0" h="147">
                      <a:moveTo>
                        <a:pt x="106" y="36"/>
                      </a:moveTo>
                      <a:cubicBezTo>
                        <a:pt x="91" y="10"/>
                        <a:pt x="60" y="0"/>
                        <a:pt x="36" y="13"/>
                      </a:cubicBezTo>
                      <a:cubicBezTo>
                        <a:pt x="14" y="25"/>
                        <a:pt x="6" y="52"/>
                        <a:pt x="15" y="77"/>
                      </a:cubicBezTo>
                      <a:cubicBezTo>
                        <a:pt x="10" y="76"/>
                        <a:pt x="3" y="77"/>
                        <a:pt x="2" y="85"/>
                      </a:cubicBezTo>
                      <a:cubicBezTo>
                        <a:pt x="0" y="96"/>
                        <a:pt x="19" y="105"/>
                        <a:pt x="33" y="101"/>
                      </a:cubicBezTo>
                      <a:cubicBezTo>
                        <a:pt x="36" y="103"/>
                        <a:pt x="39" y="105"/>
                        <a:pt x="43" y="107"/>
                      </a:cubicBezTo>
                      <a:cubicBezTo>
                        <a:pt x="44" y="147"/>
                        <a:pt x="44" y="147"/>
                        <a:pt x="44" y="147"/>
                      </a:cubicBezTo>
                      <a:cubicBezTo>
                        <a:pt x="76" y="146"/>
                        <a:pt x="76" y="146"/>
                        <a:pt x="76" y="146"/>
                      </a:cubicBezTo>
                      <a:cubicBezTo>
                        <a:pt x="75" y="112"/>
                        <a:pt x="75" y="112"/>
                        <a:pt x="75" y="112"/>
                      </a:cubicBezTo>
                      <a:cubicBezTo>
                        <a:pt x="81" y="111"/>
                        <a:pt x="87" y="110"/>
                        <a:pt x="93" y="107"/>
                      </a:cubicBezTo>
                      <a:cubicBezTo>
                        <a:pt x="117" y="93"/>
                        <a:pt x="120" y="62"/>
                        <a:pt x="106" y="36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43" name="Freeform 41">
                  <a:extLst>
                    <a:ext uri="{FF2B5EF4-FFF2-40B4-BE49-F238E27FC236}">
                      <a16:creationId xmlns:a16="http://schemas.microsoft.com/office/drawing/2014/main" id="{7CA53853-E485-31F3-3CCC-A2DBBAC90697}"/>
                    </a:ext>
                  </a:extLst>
                </p:cNvPr>
                <p:cNvSpPr/>
                <p:nvPr/>
              </p:nvSpPr>
              <p:spPr bwMode="auto">
                <a:xfrm>
                  <a:off x="6771586" y="3067959"/>
                  <a:ext cx="67342" cy="51682"/>
                </a:xfrm>
                <a:custGeom>
                  <a:avLst/>
                  <a:gdLst>
                    <a:gd name="T0" fmla="*/ 25 w 26"/>
                    <a:gd name="T1" fmla="*/ 5 h 20"/>
                    <a:gd name="T2" fmla="*/ 0 w 26"/>
                    <a:gd name="T3" fmla="*/ 0 h 20"/>
                    <a:gd name="T4" fmla="*/ 26 w 26"/>
                    <a:gd name="T5" fmla="*/ 19 h 20"/>
                    <a:gd name="T6" fmla="*/ 25 w 26"/>
                    <a:gd name="T7" fmla="*/ 5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6" h="20">
                      <a:moveTo>
                        <a:pt x="25" y="5"/>
                      </a:moveTo>
                      <a:cubicBezTo>
                        <a:pt x="25" y="5"/>
                        <a:pt x="14" y="7"/>
                        <a:pt x="0" y="0"/>
                      </a:cubicBezTo>
                      <a:cubicBezTo>
                        <a:pt x="0" y="0"/>
                        <a:pt x="9" y="20"/>
                        <a:pt x="26" y="19"/>
                      </a:cubicBezTo>
                      <a:lnTo>
                        <a:pt x="25" y="5"/>
                      </a:lnTo>
                      <a:close/>
                    </a:path>
                  </a:pathLst>
                </a:custGeom>
                <a:solidFill>
                  <a:srgbClr val="EED7B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44" name="Freeform 42">
                  <a:extLst>
                    <a:ext uri="{FF2B5EF4-FFF2-40B4-BE49-F238E27FC236}">
                      <a16:creationId xmlns:a16="http://schemas.microsoft.com/office/drawing/2014/main" id="{1E55556A-3612-A2D5-EEA9-6D79CF8B418A}"/>
                    </a:ext>
                  </a:extLst>
                </p:cNvPr>
                <p:cNvSpPr/>
                <p:nvPr/>
              </p:nvSpPr>
              <p:spPr bwMode="auto">
                <a:xfrm>
                  <a:off x="6663523" y="3008447"/>
                  <a:ext cx="46984" cy="31323"/>
                </a:xfrm>
                <a:custGeom>
                  <a:avLst/>
                  <a:gdLst>
                    <a:gd name="T0" fmla="*/ 0 w 18"/>
                    <a:gd name="T1" fmla="*/ 0 h 12"/>
                    <a:gd name="T2" fmla="*/ 11 w 18"/>
                    <a:gd name="T3" fmla="*/ 8 h 12"/>
                    <a:gd name="T4" fmla="*/ 9 w 18"/>
                    <a:gd name="T5" fmla="*/ 12 h 12"/>
                    <a:gd name="T6" fmla="*/ 6 w 18"/>
                    <a:gd name="T7" fmla="*/ 7 h 12"/>
                    <a:gd name="T8" fmla="*/ 8 w 18"/>
                    <a:gd name="T9" fmla="*/ 1 h 12"/>
                    <a:gd name="T10" fmla="*/ 14 w 18"/>
                    <a:gd name="T11" fmla="*/ 1 h 12"/>
                    <a:gd name="T12" fmla="*/ 18 w 18"/>
                    <a:gd name="T13" fmla="*/ 4 h 12"/>
                    <a:gd name="T14" fmla="*/ 13 w 18"/>
                    <a:gd name="T15" fmla="*/ 3 h 12"/>
                    <a:gd name="T16" fmla="*/ 10 w 18"/>
                    <a:gd name="T17" fmla="*/ 4 h 12"/>
                    <a:gd name="T18" fmla="*/ 10 w 18"/>
                    <a:gd name="T19" fmla="*/ 6 h 12"/>
                    <a:gd name="T20" fmla="*/ 11 w 18"/>
                    <a:gd name="T21" fmla="*/ 9 h 12"/>
                    <a:gd name="T22" fmla="*/ 12 w 18"/>
                    <a:gd name="T23" fmla="*/ 9 h 12"/>
                    <a:gd name="T24" fmla="*/ 12 w 18"/>
                    <a:gd name="T25" fmla="*/ 11 h 12"/>
                    <a:gd name="T26" fmla="*/ 10 w 18"/>
                    <a:gd name="T27" fmla="*/ 12 h 12"/>
                    <a:gd name="T28" fmla="*/ 0 w 18"/>
                    <a:gd name="T2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8" h="12">
                      <a:moveTo>
                        <a:pt x="0" y="0"/>
                      </a:moveTo>
                      <a:cubicBezTo>
                        <a:pt x="3" y="4"/>
                        <a:pt x="7" y="7"/>
                        <a:pt x="11" y="8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8" y="11"/>
                        <a:pt x="6" y="9"/>
                        <a:pt x="6" y="7"/>
                      </a:cubicBezTo>
                      <a:cubicBezTo>
                        <a:pt x="6" y="5"/>
                        <a:pt x="6" y="2"/>
                        <a:pt x="8" y="1"/>
                      </a:cubicBezTo>
                      <a:cubicBezTo>
                        <a:pt x="10" y="0"/>
                        <a:pt x="12" y="0"/>
                        <a:pt x="14" y="1"/>
                      </a:cubicBezTo>
                      <a:cubicBezTo>
                        <a:pt x="15" y="2"/>
                        <a:pt x="17" y="3"/>
                        <a:pt x="18" y="4"/>
                      </a:cubicBezTo>
                      <a:cubicBezTo>
                        <a:pt x="16" y="3"/>
                        <a:pt x="15" y="3"/>
                        <a:pt x="13" y="3"/>
                      </a:cubicBezTo>
                      <a:cubicBezTo>
                        <a:pt x="12" y="3"/>
                        <a:pt x="11" y="3"/>
                        <a:pt x="10" y="4"/>
                      </a:cubicBezTo>
                      <a:cubicBezTo>
                        <a:pt x="10" y="4"/>
                        <a:pt x="10" y="5"/>
                        <a:pt x="10" y="6"/>
                      </a:cubicBezTo>
                      <a:cubicBezTo>
                        <a:pt x="10" y="7"/>
                        <a:pt x="11" y="8"/>
                        <a:pt x="11" y="9"/>
                      </a:cubicBezTo>
                      <a:cubicBezTo>
                        <a:pt x="12" y="9"/>
                        <a:pt x="12" y="9"/>
                        <a:pt x="12" y="9"/>
                      </a:cubicBezTo>
                      <a:cubicBezTo>
                        <a:pt x="12" y="9"/>
                        <a:pt x="12" y="11"/>
                        <a:pt x="12" y="11"/>
                      </a:cubicBezTo>
                      <a:cubicBezTo>
                        <a:pt x="11" y="12"/>
                        <a:pt x="10" y="12"/>
                        <a:pt x="10" y="12"/>
                      </a:cubicBezTo>
                      <a:cubicBezTo>
                        <a:pt x="4" y="10"/>
                        <a:pt x="0" y="5"/>
                        <a:pt x="0" y="0"/>
                      </a:cubicBezTo>
                      <a:close/>
                    </a:path>
                  </a:pathLst>
                </a:custGeom>
                <a:solidFill>
                  <a:srgbClr val="EED7B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45" name="Freeform 43">
                  <a:extLst>
                    <a:ext uri="{FF2B5EF4-FFF2-40B4-BE49-F238E27FC236}">
                      <a16:creationId xmlns:a16="http://schemas.microsoft.com/office/drawing/2014/main" id="{026D3A20-E907-7B3C-0A10-BFF36756D26D}"/>
                    </a:ext>
                  </a:extLst>
                </p:cNvPr>
                <p:cNvSpPr/>
                <p:nvPr/>
              </p:nvSpPr>
              <p:spPr bwMode="auto">
                <a:xfrm>
                  <a:off x="6566423" y="2757867"/>
                  <a:ext cx="366471" cy="656203"/>
                </a:xfrm>
                <a:custGeom>
                  <a:avLst/>
                  <a:gdLst>
                    <a:gd name="T0" fmla="*/ 142 w 143"/>
                    <a:gd name="T1" fmla="*/ 50 h 256"/>
                    <a:gd name="T2" fmla="*/ 142 w 143"/>
                    <a:gd name="T3" fmla="*/ 50 h 256"/>
                    <a:gd name="T4" fmla="*/ 142 w 143"/>
                    <a:gd name="T5" fmla="*/ 64 h 256"/>
                    <a:gd name="T6" fmla="*/ 134 w 143"/>
                    <a:gd name="T7" fmla="*/ 55 h 256"/>
                    <a:gd name="T8" fmla="*/ 120 w 143"/>
                    <a:gd name="T9" fmla="*/ 41 h 256"/>
                    <a:gd name="T10" fmla="*/ 116 w 143"/>
                    <a:gd name="T11" fmla="*/ 39 h 256"/>
                    <a:gd name="T12" fmla="*/ 112 w 143"/>
                    <a:gd name="T13" fmla="*/ 42 h 256"/>
                    <a:gd name="T14" fmla="*/ 75 w 143"/>
                    <a:gd name="T15" fmla="*/ 80 h 256"/>
                    <a:gd name="T16" fmla="*/ 65 w 143"/>
                    <a:gd name="T17" fmla="*/ 84 h 256"/>
                    <a:gd name="T18" fmla="*/ 64 w 143"/>
                    <a:gd name="T19" fmla="*/ 97 h 256"/>
                    <a:gd name="T20" fmla="*/ 62 w 143"/>
                    <a:gd name="T21" fmla="*/ 97 h 256"/>
                    <a:gd name="T22" fmla="*/ 45 w 143"/>
                    <a:gd name="T23" fmla="*/ 91 h 256"/>
                    <a:gd name="T24" fmla="*/ 32 w 143"/>
                    <a:gd name="T25" fmla="*/ 100 h 256"/>
                    <a:gd name="T26" fmla="*/ 63 w 143"/>
                    <a:gd name="T27" fmla="*/ 115 h 256"/>
                    <a:gd name="T28" fmla="*/ 73 w 143"/>
                    <a:gd name="T29" fmla="*/ 121 h 256"/>
                    <a:gd name="T30" fmla="*/ 74 w 143"/>
                    <a:gd name="T31" fmla="*/ 152 h 256"/>
                    <a:gd name="T32" fmla="*/ 57 w 143"/>
                    <a:gd name="T33" fmla="*/ 177 h 256"/>
                    <a:gd name="T34" fmla="*/ 65 w 143"/>
                    <a:gd name="T35" fmla="*/ 210 h 256"/>
                    <a:gd name="T36" fmla="*/ 77 w 143"/>
                    <a:gd name="T37" fmla="*/ 244 h 256"/>
                    <a:gd name="T38" fmla="*/ 75 w 143"/>
                    <a:gd name="T39" fmla="*/ 246 h 256"/>
                    <a:gd name="T40" fmla="*/ 21 w 143"/>
                    <a:gd name="T41" fmla="*/ 250 h 256"/>
                    <a:gd name="T42" fmla="*/ 16 w 143"/>
                    <a:gd name="T43" fmla="*/ 248 h 256"/>
                    <a:gd name="T44" fmla="*/ 7 w 143"/>
                    <a:gd name="T45" fmla="*/ 241 h 256"/>
                    <a:gd name="T46" fmla="*/ 3 w 143"/>
                    <a:gd name="T47" fmla="*/ 233 h 256"/>
                    <a:gd name="T48" fmla="*/ 11 w 143"/>
                    <a:gd name="T49" fmla="*/ 191 h 256"/>
                    <a:gd name="T50" fmla="*/ 23 w 143"/>
                    <a:gd name="T51" fmla="*/ 113 h 256"/>
                    <a:gd name="T52" fmla="*/ 22 w 143"/>
                    <a:gd name="T53" fmla="*/ 82 h 256"/>
                    <a:gd name="T54" fmla="*/ 22 w 143"/>
                    <a:gd name="T55" fmla="*/ 74 h 256"/>
                    <a:gd name="T56" fmla="*/ 44 w 143"/>
                    <a:gd name="T57" fmla="*/ 26 h 256"/>
                    <a:gd name="T58" fmla="*/ 47 w 143"/>
                    <a:gd name="T59" fmla="*/ 22 h 256"/>
                    <a:gd name="T60" fmla="*/ 84 w 143"/>
                    <a:gd name="T61" fmla="*/ 3 h 256"/>
                    <a:gd name="T62" fmla="*/ 126 w 143"/>
                    <a:gd name="T63" fmla="*/ 15 h 256"/>
                    <a:gd name="T64" fmla="*/ 136 w 143"/>
                    <a:gd name="T65" fmla="*/ 29 h 256"/>
                    <a:gd name="T66" fmla="*/ 140 w 143"/>
                    <a:gd name="T67" fmla="*/ 38 h 256"/>
                    <a:gd name="T68" fmla="*/ 142 w 143"/>
                    <a:gd name="T69" fmla="*/ 50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43" h="256">
                      <a:moveTo>
                        <a:pt x="142" y="50"/>
                      </a:moveTo>
                      <a:cubicBezTo>
                        <a:pt x="142" y="50"/>
                        <a:pt x="142" y="50"/>
                        <a:pt x="142" y="50"/>
                      </a:cubicBezTo>
                      <a:cubicBezTo>
                        <a:pt x="143" y="55"/>
                        <a:pt x="142" y="60"/>
                        <a:pt x="142" y="64"/>
                      </a:cubicBezTo>
                      <a:cubicBezTo>
                        <a:pt x="142" y="64"/>
                        <a:pt x="139" y="60"/>
                        <a:pt x="134" y="55"/>
                      </a:cubicBezTo>
                      <a:cubicBezTo>
                        <a:pt x="130" y="50"/>
                        <a:pt x="125" y="44"/>
                        <a:pt x="120" y="41"/>
                      </a:cubicBezTo>
                      <a:cubicBezTo>
                        <a:pt x="118" y="40"/>
                        <a:pt x="117" y="39"/>
                        <a:pt x="116" y="39"/>
                      </a:cubicBezTo>
                      <a:cubicBezTo>
                        <a:pt x="114" y="39"/>
                        <a:pt x="113" y="40"/>
                        <a:pt x="112" y="42"/>
                      </a:cubicBezTo>
                      <a:cubicBezTo>
                        <a:pt x="106" y="49"/>
                        <a:pt x="98" y="70"/>
                        <a:pt x="75" y="80"/>
                      </a:cubicBezTo>
                      <a:cubicBezTo>
                        <a:pt x="72" y="81"/>
                        <a:pt x="69" y="83"/>
                        <a:pt x="65" y="84"/>
                      </a:cubicBezTo>
                      <a:cubicBezTo>
                        <a:pt x="65" y="84"/>
                        <a:pt x="71" y="93"/>
                        <a:pt x="64" y="97"/>
                      </a:cubicBezTo>
                      <a:cubicBezTo>
                        <a:pt x="64" y="98"/>
                        <a:pt x="63" y="98"/>
                        <a:pt x="62" y="97"/>
                      </a:cubicBezTo>
                      <a:cubicBezTo>
                        <a:pt x="59" y="96"/>
                        <a:pt x="48" y="91"/>
                        <a:pt x="45" y="91"/>
                      </a:cubicBezTo>
                      <a:cubicBezTo>
                        <a:pt x="41" y="91"/>
                        <a:pt x="33" y="90"/>
                        <a:pt x="32" y="100"/>
                      </a:cubicBezTo>
                      <a:cubicBezTo>
                        <a:pt x="32" y="100"/>
                        <a:pt x="32" y="118"/>
                        <a:pt x="63" y="115"/>
                      </a:cubicBezTo>
                      <a:cubicBezTo>
                        <a:pt x="73" y="121"/>
                        <a:pt x="73" y="121"/>
                        <a:pt x="73" y="121"/>
                      </a:cubicBezTo>
                      <a:cubicBezTo>
                        <a:pt x="74" y="152"/>
                        <a:pt x="74" y="152"/>
                        <a:pt x="74" y="152"/>
                      </a:cubicBezTo>
                      <a:cubicBezTo>
                        <a:pt x="74" y="152"/>
                        <a:pt x="58" y="160"/>
                        <a:pt x="57" y="177"/>
                      </a:cubicBezTo>
                      <a:cubicBezTo>
                        <a:pt x="57" y="177"/>
                        <a:pt x="56" y="185"/>
                        <a:pt x="65" y="210"/>
                      </a:cubicBezTo>
                      <a:cubicBezTo>
                        <a:pt x="77" y="244"/>
                        <a:pt x="77" y="244"/>
                        <a:pt x="77" y="244"/>
                      </a:cubicBezTo>
                      <a:cubicBezTo>
                        <a:pt x="75" y="246"/>
                        <a:pt x="75" y="246"/>
                        <a:pt x="75" y="246"/>
                      </a:cubicBezTo>
                      <a:cubicBezTo>
                        <a:pt x="58" y="255"/>
                        <a:pt x="39" y="256"/>
                        <a:pt x="21" y="250"/>
                      </a:cubicBezTo>
                      <a:cubicBezTo>
                        <a:pt x="19" y="249"/>
                        <a:pt x="17" y="249"/>
                        <a:pt x="16" y="248"/>
                      </a:cubicBezTo>
                      <a:cubicBezTo>
                        <a:pt x="12" y="246"/>
                        <a:pt x="9" y="244"/>
                        <a:pt x="7" y="241"/>
                      </a:cubicBezTo>
                      <a:cubicBezTo>
                        <a:pt x="5" y="239"/>
                        <a:pt x="3" y="236"/>
                        <a:pt x="3" y="233"/>
                      </a:cubicBezTo>
                      <a:cubicBezTo>
                        <a:pt x="0" y="219"/>
                        <a:pt x="6" y="205"/>
                        <a:pt x="11" y="191"/>
                      </a:cubicBezTo>
                      <a:cubicBezTo>
                        <a:pt x="20" y="166"/>
                        <a:pt x="22" y="140"/>
                        <a:pt x="23" y="113"/>
                      </a:cubicBezTo>
                      <a:cubicBezTo>
                        <a:pt x="23" y="103"/>
                        <a:pt x="22" y="92"/>
                        <a:pt x="22" y="82"/>
                      </a:cubicBezTo>
                      <a:cubicBezTo>
                        <a:pt x="22" y="79"/>
                        <a:pt x="22" y="76"/>
                        <a:pt x="22" y="74"/>
                      </a:cubicBezTo>
                      <a:cubicBezTo>
                        <a:pt x="24" y="57"/>
                        <a:pt x="33" y="37"/>
                        <a:pt x="44" y="26"/>
                      </a:cubicBezTo>
                      <a:cubicBezTo>
                        <a:pt x="45" y="25"/>
                        <a:pt x="46" y="23"/>
                        <a:pt x="47" y="22"/>
                      </a:cubicBezTo>
                      <a:cubicBezTo>
                        <a:pt x="58" y="13"/>
                        <a:pt x="70" y="6"/>
                        <a:pt x="84" y="3"/>
                      </a:cubicBezTo>
                      <a:cubicBezTo>
                        <a:pt x="99" y="0"/>
                        <a:pt x="115" y="4"/>
                        <a:pt x="126" y="15"/>
                      </a:cubicBezTo>
                      <a:cubicBezTo>
                        <a:pt x="131" y="19"/>
                        <a:pt x="134" y="24"/>
                        <a:pt x="136" y="29"/>
                      </a:cubicBezTo>
                      <a:cubicBezTo>
                        <a:pt x="138" y="32"/>
                        <a:pt x="139" y="35"/>
                        <a:pt x="140" y="38"/>
                      </a:cubicBezTo>
                      <a:cubicBezTo>
                        <a:pt x="142" y="42"/>
                        <a:pt x="142" y="46"/>
                        <a:pt x="142" y="50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46" name="Freeform 44">
                  <a:extLst>
                    <a:ext uri="{FF2B5EF4-FFF2-40B4-BE49-F238E27FC236}">
                      <a16:creationId xmlns:a16="http://schemas.microsoft.com/office/drawing/2014/main" id="{152B493B-39CF-852C-31B0-CC20184F2155}"/>
                    </a:ext>
                  </a:extLst>
                </p:cNvPr>
                <p:cNvSpPr/>
                <p:nvPr/>
              </p:nvSpPr>
              <p:spPr bwMode="auto">
                <a:xfrm>
                  <a:off x="6622804" y="2814247"/>
                  <a:ext cx="231785" cy="148782"/>
                </a:xfrm>
                <a:custGeom>
                  <a:avLst/>
                  <a:gdLst>
                    <a:gd name="T0" fmla="*/ 90 w 90"/>
                    <a:gd name="T1" fmla="*/ 20 h 58"/>
                    <a:gd name="T2" fmla="*/ 53 w 90"/>
                    <a:gd name="T3" fmla="*/ 58 h 58"/>
                    <a:gd name="T4" fmla="*/ 44 w 90"/>
                    <a:gd name="T5" fmla="*/ 50 h 58"/>
                    <a:gd name="T6" fmla="*/ 32 w 90"/>
                    <a:gd name="T7" fmla="*/ 55 h 58"/>
                    <a:gd name="T8" fmla="*/ 20 w 90"/>
                    <a:gd name="T9" fmla="*/ 55 h 58"/>
                    <a:gd name="T10" fmla="*/ 17 w 90"/>
                    <a:gd name="T11" fmla="*/ 48 h 58"/>
                    <a:gd name="T12" fmla="*/ 13 w 90"/>
                    <a:gd name="T13" fmla="*/ 42 h 58"/>
                    <a:gd name="T14" fmla="*/ 8 w 90"/>
                    <a:gd name="T15" fmla="*/ 44 h 58"/>
                    <a:gd name="T16" fmla="*/ 0 w 90"/>
                    <a:gd name="T17" fmla="*/ 52 h 58"/>
                    <a:gd name="T18" fmla="*/ 22 w 90"/>
                    <a:gd name="T19" fmla="*/ 4 h 58"/>
                    <a:gd name="T20" fmla="*/ 25 w 90"/>
                    <a:gd name="T21" fmla="*/ 0 h 58"/>
                    <a:gd name="T22" fmla="*/ 39 w 90"/>
                    <a:gd name="T23" fmla="*/ 5 h 58"/>
                    <a:gd name="T24" fmla="*/ 44 w 90"/>
                    <a:gd name="T25" fmla="*/ 9 h 58"/>
                    <a:gd name="T26" fmla="*/ 66 w 90"/>
                    <a:gd name="T27" fmla="*/ 11 h 58"/>
                    <a:gd name="T28" fmla="*/ 71 w 90"/>
                    <a:gd name="T29" fmla="*/ 19 h 58"/>
                    <a:gd name="T30" fmla="*/ 87 w 90"/>
                    <a:gd name="T31" fmla="*/ 18 h 58"/>
                    <a:gd name="T32" fmla="*/ 90 w 90"/>
                    <a:gd name="T33" fmla="*/ 20 h 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0" h="57">
                      <a:moveTo>
                        <a:pt x="90" y="20"/>
                      </a:moveTo>
                      <a:cubicBezTo>
                        <a:pt x="84" y="27"/>
                        <a:pt x="76" y="48"/>
                        <a:pt x="53" y="58"/>
                      </a:cubicBezTo>
                      <a:cubicBezTo>
                        <a:pt x="50" y="55"/>
                        <a:pt x="48" y="51"/>
                        <a:pt x="44" y="50"/>
                      </a:cubicBezTo>
                      <a:cubicBezTo>
                        <a:pt x="40" y="49"/>
                        <a:pt x="36" y="52"/>
                        <a:pt x="32" y="55"/>
                      </a:cubicBezTo>
                      <a:cubicBezTo>
                        <a:pt x="28" y="57"/>
                        <a:pt x="23" y="58"/>
                        <a:pt x="20" y="55"/>
                      </a:cubicBezTo>
                      <a:cubicBezTo>
                        <a:pt x="18" y="53"/>
                        <a:pt x="18" y="50"/>
                        <a:pt x="17" y="48"/>
                      </a:cubicBezTo>
                      <a:cubicBezTo>
                        <a:pt x="17" y="45"/>
                        <a:pt x="16" y="42"/>
                        <a:pt x="13" y="42"/>
                      </a:cubicBezTo>
                      <a:cubicBezTo>
                        <a:pt x="11" y="41"/>
                        <a:pt x="9" y="43"/>
                        <a:pt x="8" y="44"/>
                      </a:cubicBezTo>
                      <a:cubicBezTo>
                        <a:pt x="5" y="47"/>
                        <a:pt x="3" y="49"/>
                        <a:pt x="0" y="52"/>
                      </a:cubicBezTo>
                      <a:cubicBezTo>
                        <a:pt x="2" y="35"/>
                        <a:pt x="11" y="15"/>
                        <a:pt x="22" y="4"/>
                      </a:cubicBezTo>
                      <a:cubicBezTo>
                        <a:pt x="23" y="3"/>
                        <a:pt x="24" y="1"/>
                        <a:pt x="25" y="0"/>
                      </a:cubicBezTo>
                      <a:cubicBezTo>
                        <a:pt x="30" y="0"/>
                        <a:pt x="34" y="2"/>
                        <a:pt x="39" y="5"/>
                      </a:cubicBezTo>
                      <a:cubicBezTo>
                        <a:pt x="41" y="7"/>
                        <a:pt x="43" y="8"/>
                        <a:pt x="44" y="9"/>
                      </a:cubicBezTo>
                      <a:cubicBezTo>
                        <a:pt x="51" y="12"/>
                        <a:pt x="61" y="5"/>
                        <a:pt x="66" y="11"/>
                      </a:cubicBezTo>
                      <a:cubicBezTo>
                        <a:pt x="68" y="13"/>
                        <a:pt x="68" y="17"/>
                        <a:pt x="71" y="19"/>
                      </a:cubicBezTo>
                      <a:cubicBezTo>
                        <a:pt x="75" y="23"/>
                        <a:pt x="81" y="18"/>
                        <a:pt x="87" y="18"/>
                      </a:cubicBezTo>
                      <a:cubicBezTo>
                        <a:pt x="88" y="19"/>
                        <a:pt x="89" y="19"/>
                        <a:pt x="90" y="20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47" name="Freeform 45">
                  <a:extLst>
                    <a:ext uri="{FF2B5EF4-FFF2-40B4-BE49-F238E27FC236}">
                      <a16:creationId xmlns:a16="http://schemas.microsoft.com/office/drawing/2014/main" id="{19453736-0644-E268-8B3D-FB9C7F4B08E3}"/>
                    </a:ext>
                  </a:extLst>
                </p:cNvPr>
                <p:cNvSpPr/>
                <p:nvPr/>
              </p:nvSpPr>
              <p:spPr bwMode="auto">
                <a:xfrm>
                  <a:off x="6874949" y="2833040"/>
                  <a:ext cx="56380" cy="65777"/>
                </a:xfrm>
                <a:custGeom>
                  <a:avLst/>
                  <a:gdLst>
                    <a:gd name="T0" fmla="*/ 22 w 22"/>
                    <a:gd name="T1" fmla="*/ 21 h 26"/>
                    <a:gd name="T2" fmla="*/ 21 w 22"/>
                    <a:gd name="T3" fmla="*/ 21 h 26"/>
                    <a:gd name="T4" fmla="*/ 15 w 22"/>
                    <a:gd name="T5" fmla="*/ 24 h 26"/>
                    <a:gd name="T6" fmla="*/ 14 w 22"/>
                    <a:gd name="T7" fmla="*/ 26 h 26"/>
                    <a:gd name="T8" fmla="*/ 0 w 22"/>
                    <a:gd name="T9" fmla="*/ 12 h 26"/>
                    <a:gd name="T10" fmla="*/ 5 w 22"/>
                    <a:gd name="T11" fmla="*/ 9 h 26"/>
                    <a:gd name="T12" fmla="*/ 14 w 22"/>
                    <a:gd name="T13" fmla="*/ 6 h 26"/>
                    <a:gd name="T14" fmla="*/ 16 w 22"/>
                    <a:gd name="T15" fmla="*/ 0 h 26"/>
                    <a:gd name="T16" fmla="*/ 16 w 22"/>
                    <a:gd name="T17" fmla="*/ 0 h 26"/>
                    <a:gd name="T18" fmla="*/ 20 w 22"/>
                    <a:gd name="T19" fmla="*/ 9 h 26"/>
                    <a:gd name="T20" fmla="*/ 22 w 22"/>
                    <a:gd name="T21" fmla="*/ 21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2" h="26">
                      <a:moveTo>
                        <a:pt x="22" y="21"/>
                      </a:moveTo>
                      <a:cubicBezTo>
                        <a:pt x="22" y="21"/>
                        <a:pt x="22" y="21"/>
                        <a:pt x="21" y="21"/>
                      </a:cubicBezTo>
                      <a:cubicBezTo>
                        <a:pt x="19" y="20"/>
                        <a:pt x="16" y="22"/>
                        <a:pt x="15" y="24"/>
                      </a:cubicBezTo>
                      <a:cubicBezTo>
                        <a:pt x="15" y="24"/>
                        <a:pt x="15" y="25"/>
                        <a:pt x="14" y="26"/>
                      </a:cubicBezTo>
                      <a:cubicBezTo>
                        <a:pt x="10" y="21"/>
                        <a:pt x="5" y="15"/>
                        <a:pt x="0" y="12"/>
                      </a:cubicBezTo>
                      <a:cubicBezTo>
                        <a:pt x="1" y="10"/>
                        <a:pt x="2" y="9"/>
                        <a:pt x="5" y="9"/>
                      </a:cubicBezTo>
                      <a:cubicBezTo>
                        <a:pt x="8" y="8"/>
                        <a:pt x="12" y="8"/>
                        <a:pt x="14" y="6"/>
                      </a:cubicBezTo>
                      <a:cubicBezTo>
                        <a:pt x="15" y="5"/>
                        <a:pt x="15" y="2"/>
                        <a:pt x="16" y="0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18" y="3"/>
                        <a:pt x="19" y="6"/>
                        <a:pt x="20" y="9"/>
                      </a:cubicBezTo>
                      <a:cubicBezTo>
                        <a:pt x="22" y="13"/>
                        <a:pt x="22" y="17"/>
                        <a:pt x="22" y="21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48" name="Freeform 46">
                  <a:extLst>
                    <a:ext uri="{FF2B5EF4-FFF2-40B4-BE49-F238E27FC236}">
                      <a16:creationId xmlns:a16="http://schemas.microsoft.com/office/drawing/2014/main" id="{0BA40705-8C66-716C-5830-D27D31E86C8F}"/>
                    </a:ext>
                  </a:extLst>
                </p:cNvPr>
                <p:cNvSpPr/>
                <p:nvPr/>
              </p:nvSpPr>
              <p:spPr bwMode="auto">
                <a:xfrm>
                  <a:off x="6702675" y="3127472"/>
                  <a:ext cx="269373" cy="255278"/>
                </a:xfrm>
                <a:custGeom>
                  <a:avLst/>
                  <a:gdLst>
                    <a:gd name="T0" fmla="*/ 33 w 105"/>
                    <a:gd name="T1" fmla="*/ 4 h 100"/>
                    <a:gd name="T2" fmla="*/ 68 w 105"/>
                    <a:gd name="T3" fmla="*/ 1 h 100"/>
                    <a:gd name="T4" fmla="*/ 104 w 105"/>
                    <a:gd name="T5" fmla="*/ 40 h 100"/>
                    <a:gd name="T6" fmla="*/ 105 w 105"/>
                    <a:gd name="T7" fmla="*/ 46 h 100"/>
                    <a:gd name="T8" fmla="*/ 92 w 105"/>
                    <a:gd name="T9" fmla="*/ 95 h 100"/>
                    <a:gd name="T10" fmla="*/ 24 w 105"/>
                    <a:gd name="T11" fmla="*/ 100 h 100"/>
                    <a:gd name="T12" fmla="*/ 6 w 105"/>
                    <a:gd name="T13" fmla="*/ 45 h 100"/>
                    <a:gd name="T14" fmla="*/ 33 w 105"/>
                    <a:gd name="T15" fmla="*/ 4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5" h="100">
                      <a:moveTo>
                        <a:pt x="33" y="4"/>
                      </a:moveTo>
                      <a:cubicBezTo>
                        <a:pt x="45" y="3"/>
                        <a:pt x="57" y="2"/>
                        <a:pt x="68" y="1"/>
                      </a:cubicBezTo>
                      <a:cubicBezTo>
                        <a:pt x="82" y="0"/>
                        <a:pt x="99" y="30"/>
                        <a:pt x="104" y="40"/>
                      </a:cubicBezTo>
                      <a:cubicBezTo>
                        <a:pt x="105" y="42"/>
                        <a:pt x="105" y="44"/>
                        <a:pt x="105" y="46"/>
                      </a:cubicBezTo>
                      <a:cubicBezTo>
                        <a:pt x="92" y="95"/>
                        <a:pt x="92" y="95"/>
                        <a:pt x="92" y="95"/>
                      </a:cubicBezTo>
                      <a:cubicBezTo>
                        <a:pt x="24" y="100"/>
                        <a:pt x="24" y="100"/>
                        <a:pt x="24" y="100"/>
                      </a:cubicBezTo>
                      <a:cubicBezTo>
                        <a:pt x="24" y="100"/>
                        <a:pt x="13" y="70"/>
                        <a:pt x="6" y="45"/>
                      </a:cubicBezTo>
                      <a:cubicBezTo>
                        <a:pt x="0" y="25"/>
                        <a:pt x="13" y="6"/>
                        <a:pt x="33" y="4"/>
                      </a:cubicBezTo>
                      <a:close/>
                    </a:path>
                  </a:pathLst>
                </a:custGeom>
                <a:solidFill>
                  <a:srgbClr val="00595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49" name="Freeform 50">
                  <a:extLst>
                    <a:ext uri="{FF2B5EF4-FFF2-40B4-BE49-F238E27FC236}">
                      <a16:creationId xmlns:a16="http://schemas.microsoft.com/office/drawing/2014/main" id="{15DB8E35-D9D9-0554-96C2-7C15E7C2F343}"/>
                    </a:ext>
                  </a:extLst>
                </p:cNvPr>
                <p:cNvSpPr/>
                <p:nvPr/>
              </p:nvSpPr>
              <p:spPr bwMode="auto">
                <a:xfrm>
                  <a:off x="6710506" y="3149397"/>
                  <a:ext cx="140950" cy="136252"/>
                </a:xfrm>
                <a:custGeom>
                  <a:avLst/>
                  <a:gdLst>
                    <a:gd name="T0" fmla="*/ 16 w 55"/>
                    <a:gd name="T1" fmla="*/ 2 h 53"/>
                    <a:gd name="T2" fmla="*/ 6 w 55"/>
                    <a:gd name="T3" fmla="*/ 30 h 53"/>
                    <a:gd name="T4" fmla="*/ 7 w 55"/>
                    <a:gd name="T5" fmla="*/ 30 h 53"/>
                    <a:gd name="T6" fmla="*/ 27 w 55"/>
                    <a:gd name="T7" fmla="*/ 53 h 53"/>
                    <a:gd name="T8" fmla="*/ 55 w 55"/>
                    <a:gd name="T9" fmla="*/ 24 h 53"/>
                    <a:gd name="T10" fmla="*/ 26 w 55"/>
                    <a:gd name="T11" fmla="*/ 0 h 53"/>
                    <a:gd name="T12" fmla="*/ 16 w 55"/>
                    <a:gd name="T13" fmla="*/ 2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5" h="52">
                      <a:moveTo>
                        <a:pt x="16" y="2"/>
                      </a:moveTo>
                      <a:cubicBezTo>
                        <a:pt x="5" y="6"/>
                        <a:pt x="0" y="20"/>
                        <a:pt x="6" y="30"/>
                      </a:cubicBezTo>
                      <a:cubicBezTo>
                        <a:pt x="6" y="30"/>
                        <a:pt x="6" y="30"/>
                        <a:pt x="7" y="30"/>
                      </a:cubicBezTo>
                      <a:cubicBezTo>
                        <a:pt x="15" y="42"/>
                        <a:pt x="27" y="53"/>
                        <a:pt x="27" y="53"/>
                      </a:cubicBezTo>
                      <a:cubicBezTo>
                        <a:pt x="55" y="24"/>
                        <a:pt x="55" y="24"/>
                        <a:pt x="55" y="24"/>
                      </a:cubicBezTo>
                      <a:cubicBezTo>
                        <a:pt x="55" y="24"/>
                        <a:pt x="32" y="2"/>
                        <a:pt x="26" y="0"/>
                      </a:cubicBezTo>
                      <a:cubicBezTo>
                        <a:pt x="23" y="0"/>
                        <a:pt x="19" y="1"/>
                        <a:pt x="16" y="2"/>
                      </a:cubicBezTo>
                      <a:close/>
                    </a:path>
                  </a:pathLst>
                </a:custGeom>
                <a:solidFill>
                  <a:srgbClr val="4472C4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104" name="Freeform 49">
                  <a:extLst>
                    <a:ext uri="{FF2B5EF4-FFF2-40B4-BE49-F238E27FC236}">
                      <a16:creationId xmlns:a16="http://schemas.microsoft.com/office/drawing/2014/main" id="{D97F0B85-080C-ABB2-24DA-3E7E62E40DAA}"/>
                    </a:ext>
                  </a:extLst>
                </p:cNvPr>
                <p:cNvSpPr/>
                <p:nvPr/>
              </p:nvSpPr>
              <p:spPr bwMode="auto">
                <a:xfrm>
                  <a:off x="6715205" y="3157227"/>
                  <a:ext cx="551274" cy="252145"/>
                </a:xfrm>
                <a:custGeom>
                  <a:avLst/>
                  <a:gdLst>
                    <a:gd name="T0" fmla="*/ 212 w 215"/>
                    <a:gd name="T1" fmla="*/ 62 h 98"/>
                    <a:gd name="T2" fmla="*/ 199 w 215"/>
                    <a:gd name="T3" fmla="*/ 64 h 98"/>
                    <a:gd name="T4" fmla="*/ 209 w 215"/>
                    <a:gd name="T5" fmla="*/ 70 h 98"/>
                    <a:gd name="T6" fmla="*/ 206 w 215"/>
                    <a:gd name="T7" fmla="*/ 75 h 98"/>
                    <a:gd name="T8" fmla="*/ 199 w 215"/>
                    <a:gd name="T9" fmla="*/ 74 h 98"/>
                    <a:gd name="T10" fmla="*/ 193 w 215"/>
                    <a:gd name="T11" fmla="*/ 75 h 98"/>
                    <a:gd name="T12" fmla="*/ 181 w 215"/>
                    <a:gd name="T13" fmla="*/ 78 h 98"/>
                    <a:gd name="T14" fmla="*/ 6 w 215"/>
                    <a:gd name="T15" fmla="*/ 26 h 98"/>
                    <a:gd name="T16" fmla="*/ 16 w 215"/>
                    <a:gd name="T17" fmla="*/ 1 h 98"/>
                    <a:gd name="T18" fmla="*/ 33 w 215"/>
                    <a:gd name="T19" fmla="*/ 6 h 98"/>
                    <a:gd name="T20" fmla="*/ 61 w 215"/>
                    <a:gd name="T21" fmla="*/ 30 h 98"/>
                    <a:gd name="T22" fmla="*/ 165 w 215"/>
                    <a:gd name="T23" fmla="*/ 52 h 98"/>
                    <a:gd name="T24" fmla="*/ 170 w 215"/>
                    <a:gd name="T25" fmla="*/ 51 h 98"/>
                    <a:gd name="T26" fmla="*/ 173 w 215"/>
                    <a:gd name="T27" fmla="*/ 40 h 98"/>
                    <a:gd name="T28" fmla="*/ 176 w 215"/>
                    <a:gd name="T29" fmla="*/ 37 h 98"/>
                    <a:gd name="T30" fmla="*/ 181 w 215"/>
                    <a:gd name="T31" fmla="*/ 37 h 98"/>
                    <a:gd name="T32" fmla="*/ 182 w 215"/>
                    <a:gd name="T33" fmla="*/ 39 h 98"/>
                    <a:gd name="T34" fmla="*/ 184 w 215"/>
                    <a:gd name="T35" fmla="*/ 44 h 98"/>
                    <a:gd name="T36" fmla="*/ 187 w 215"/>
                    <a:gd name="T37" fmla="*/ 47 h 98"/>
                    <a:gd name="T38" fmla="*/ 189 w 215"/>
                    <a:gd name="T39" fmla="*/ 47 h 98"/>
                    <a:gd name="T40" fmla="*/ 203 w 215"/>
                    <a:gd name="T41" fmla="*/ 45 h 98"/>
                    <a:gd name="T42" fmla="*/ 208 w 215"/>
                    <a:gd name="T43" fmla="*/ 47 h 98"/>
                    <a:gd name="T44" fmla="*/ 204 w 215"/>
                    <a:gd name="T45" fmla="*/ 51 h 98"/>
                    <a:gd name="T46" fmla="*/ 196 w 215"/>
                    <a:gd name="T47" fmla="*/ 53 h 98"/>
                    <a:gd name="T48" fmla="*/ 209 w 215"/>
                    <a:gd name="T49" fmla="*/ 56 h 98"/>
                    <a:gd name="T50" fmla="*/ 213 w 215"/>
                    <a:gd name="T51" fmla="*/ 58 h 98"/>
                    <a:gd name="T52" fmla="*/ 212 w 215"/>
                    <a:gd name="T53" fmla="*/ 62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15" h="98">
                      <a:moveTo>
                        <a:pt x="212" y="62"/>
                      </a:moveTo>
                      <a:cubicBezTo>
                        <a:pt x="208" y="64"/>
                        <a:pt x="203" y="62"/>
                        <a:pt x="199" y="64"/>
                      </a:cubicBezTo>
                      <a:cubicBezTo>
                        <a:pt x="202" y="65"/>
                        <a:pt x="206" y="67"/>
                        <a:pt x="209" y="70"/>
                      </a:cubicBezTo>
                      <a:cubicBezTo>
                        <a:pt x="211" y="72"/>
                        <a:pt x="209" y="75"/>
                        <a:pt x="206" y="75"/>
                      </a:cubicBezTo>
                      <a:cubicBezTo>
                        <a:pt x="204" y="75"/>
                        <a:pt x="201" y="74"/>
                        <a:pt x="199" y="74"/>
                      </a:cubicBezTo>
                      <a:cubicBezTo>
                        <a:pt x="197" y="74"/>
                        <a:pt x="195" y="74"/>
                        <a:pt x="193" y="75"/>
                      </a:cubicBezTo>
                      <a:cubicBezTo>
                        <a:pt x="189" y="76"/>
                        <a:pt x="185" y="77"/>
                        <a:pt x="181" y="78"/>
                      </a:cubicBezTo>
                      <a:cubicBezTo>
                        <a:pt x="157" y="90"/>
                        <a:pt x="54" y="98"/>
                        <a:pt x="6" y="26"/>
                      </a:cubicBezTo>
                      <a:cubicBezTo>
                        <a:pt x="0" y="17"/>
                        <a:pt x="5" y="4"/>
                        <a:pt x="16" y="1"/>
                      </a:cubicBezTo>
                      <a:cubicBezTo>
                        <a:pt x="22" y="0"/>
                        <a:pt x="28" y="2"/>
                        <a:pt x="33" y="6"/>
                      </a:cubicBezTo>
                      <a:cubicBezTo>
                        <a:pt x="39" y="13"/>
                        <a:pt x="48" y="22"/>
                        <a:pt x="61" y="30"/>
                      </a:cubicBezTo>
                      <a:cubicBezTo>
                        <a:pt x="85" y="45"/>
                        <a:pt x="120" y="59"/>
                        <a:pt x="165" y="52"/>
                      </a:cubicBezTo>
                      <a:cubicBezTo>
                        <a:pt x="167" y="52"/>
                        <a:pt x="168" y="51"/>
                        <a:pt x="170" y="51"/>
                      </a:cubicBezTo>
                      <a:cubicBezTo>
                        <a:pt x="171" y="47"/>
                        <a:pt x="172" y="43"/>
                        <a:pt x="173" y="40"/>
                      </a:cubicBezTo>
                      <a:cubicBezTo>
                        <a:pt x="174" y="39"/>
                        <a:pt x="175" y="38"/>
                        <a:pt x="176" y="37"/>
                      </a:cubicBezTo>
                      <a:cubicBezTo>
                        <a:pt x="178" y="36"/>
                        <a:pt x="179" y="36"/>
                        <a:pt x="181" y="37"/>
                      </a:cubicBezTo>
                      <a:cubicBezTo>
                        <a:pt x="181" y="37"/>
                        <a:pt x="182" y="38"/>
                        <a:pt x="182" y="39"/>
                      </a:cubicBezTo>
                      <a:cubicBezTo>
                        <a:pt x="183" y="40"/>
                        <a:pt x="183" y="42"/>
                        <a:pt x="184" y="44"/>
                      </a:cubicBezTo>
                      <a:cubicBezTo>
                        <a:pt x="184" y="45"/>
                        <a:pt x="185" y="47"/>
                        <a:pt x="187" y="47"/>
                      </a:cubicBezTo>
                      <a:cubicBezTo>
                        <a:pt x="188" y="47"/>
                        <a:pt x="189" y="47"/>
                        <a:pt x="189" y="47"/>
                      </a:cubicBezTo>
                      <a:cubicBezTo>
                        <a:pt x="194" y="46"/>
                        <a:pt x="199" y="45"/>
                        <a:pt x="203" y="45"/>
                      </a:cubicBezTo>
                      <a:cubicBezTo>
                        <a:pt x="205" y="45"/>
                        <a:pt x="208" y="45"/>
                        <a:pt x="208" y="47"/>
                      </a:cubicBezTo>
                      <a:cubicBezTo>
                        <a:pt x="209" y="49"/>
                        <a:pt x="206" y="50"/>
                        <a:pt x="204" y="51"/>
                      </a:cubicBezTo>
                      <a:cubicBezTo>
                        <a:pt x="202" y="51"/>
                        <a:pt x="199" y="52"/>
                        <a:pt x="196" y="53"/>
                      </a:cubicBezTo>
                      <a:cubicBezTo>
                        <a:pt x="201" y="54"/>
                        <a:pt x="205" y="55"/>
                        <a:pt x="209" y="56"/>
                      </a:cubicBezTo>
                      <a:cubicBezTo>
                        <a:pt x="210" y="57"/>
                        <a:pt x="212" y="57"/>
                        <a:pt x="213" y="58"/>
                      </a:cubicBezTo>
                      <a:cubicBezTo>
                        <a:pt x="215" y="59"/>
                        <a:pt x="214" y="62"/>
                        <a:pt x="212" y="62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</p:grpSp>
          <p:grpSp>
            <p:nvGrpSpPr>
              <p:cNvPr id="1041" name="Group 1040">
                <a:extLst>
                  <a:ext uri="{FF2B5EF4-FFF2-40B4-BE49-F238E27FC236}">
                    <a16:creationId xmlns:a16="http://schemas.microsoft.com/office/drawing/2014/main" id="{A9049B46-845A-3EBA-5B52-367D96B3D0D6}"/>
                  </a:ext>
                </a:extLst>
              </p:cNvPr>
              <p:cNvGrpSpPr/>
              <p:nvPr/>
            </p:nvGrpSpPr>
            <p:grpSpPr>
              <a:xfrm>
                <a:off x="9626394" y="2847135"/>
                <a:ext cx="628012" cy="1359390"/>
                <a:chOff x="9881892" y="2847135"/>
                <a:chExt cx="628012" cy="1359390"/>
              </a:xfrm>
            </p:grpSpPr>
            <p:sp>
              <p:nvSpPr>
                <p:cNvPr id="50" name="Freeform 53">
                  <a:extLst>
                    <a:ext uri="{FF2B5EF4-FFF2-40B4-BE49-F238E27FC236}">
                      <a16:creationId xmlns:a16="http://schemas.microsoft.com/office/drawing/2014/main" id="{925D53D3-F3BD-795D-B4F2-3F837E5374B7}"/>
                    </a:ext>
                  </a:extLst>
                </p:cNvPr>
                <p:cNvSpPr/>
                <p:nvPr/>
              </p:nvSpPr>
              <p:spPr bwMode="auto">
                <a:xfrm>
                  <a:off x="9881892" y="3233967"/>
                  <a:ext cx="341413" cy="377434"/>
                </a:xfrm>
                <a:custGeom>
                  <a:avLst/>
                  <a:gdLst>
                    <a:gd name="T0" fmla="*/ 111 w 133"/>
                    <a:gd name="T1" fmla="*/ 2 h 147"/>
                    <a:gd name="T2" fmla="*/ 99 w 133"/>
                    <a:gd name="T3" fmla="*/ 15 h 147"/>
                    <a:gd name="T4" fmla="*/ 84 w 133"/>
                    <a:gd name="T5" fmla="*/ 49 h 147"/>
                    <a:gd name="T6" fmla="*/ 3 w 133"/>
                    <a:gd name="T7" fmla="*/ 117 h 147"/>
                    <a:gd name="T8" fmla="*/ 0 w 133"/>
                    <a:gd name="T9" fmla="*/ 118 h 147"/>
                    <a:gd name="T10" fmla="*/ 6 w 133"/>
                    <a:gd name="T11" fmla="*/ 141 h 147"/>
                    <a:gd name="T12" fmla="*/ 6 w 133"/>
                    <a:gd name="T13" fmla="*/ 146 h 147"/>
                    <a:gd name="T14" fmla="*/ 8 w 133"/>
                    <a:gd name="T15" fmla="*/ 147 h 147"/>
                    <a:gd name="T16" fmla="*/ 131 w 133"/>
                    <a:gd name="T17" fmla="*/ 20 h 147"/>
                    <a:gd name="T18" fmla="*/ 111 w 133"/>
                    <a:gd name="T19" fmla="*/ 2 h 1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33" h="147">
                      <a:moveTo>
                        <a:pt x="111" y="2"/>
                      </a:moveTo>
                      <a:cubicBezTo>
                        <a:pt x="105" y="4"/>
                        <a:pt x="101" y="9"/>
                        <a:pt x="99" y="15"/>
                      </a:cubicBezTo>
                      <a:cubicBezTo>
                        <a:pt x="96" y="23"/>
                        <a:pt x="92" y="35"/>
                        <a:pt x="84" y="49"/>
                      </a:cubicBezTo>
                      <a:cubicBezTo>
                        <a:pt x="71" y="73"/>
                        <a:pt x="46" y="102"/>
                        <a:pt x="3" y="117"/>
                      </a:cubicBezTo>
                      <a:cubicBezTo>
                        <a:pt x="2" y="117"/>
                        <a:pt x="1" y="117"/>
                        <a:pt x="0" y="118"/>
                      </a:cubicBezTo>
                      <a:cubicBezTo>
                        <a:pt x="2" y="125"/>
                        <a:pt x="4" y="133"/>
                        <a:pt x="6" y="141"/>
                      </a:cubicBezTo>
                      <a:cubicBezTo>
                        <a:pt x="6" y="143"/>
                        <a:pt x="6" y="144"/>
                        <a:pt x="6" y="146"/>
                      </a:cubicBezTo>
                      <a:cubicBezTo>
                        <a:pt x="6" y="146"/>
                        <a:pt x="7" y="147"/>
                        <a:pt x="8" y="147"/>
                      </a:cubicBezTo>
                      <a:cubicBezTo>
                        <a:pt x="41" y="140"/>
                        <a:pt x="123" y="99"/>
                        <a:pt x="131" y="20"/>
                      </a:cubicBezTo>
                      <a:cubicBezTo>
                        <a:pt x="133" y="9"/>
                        <a:pt x="122" y="0"/>
                        <a:pt x="111" y="2"/>
                      </a:cubicBezTo>
                      <a:close/>
                    </a:path>
                  </a:pathLst>
                </a:custGeom>
                <a:solidFill>
                  <a:srgbClr val="252F5F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51" name="Freeform 54">
                  <a:extLst>
                    <a:ext uri="{FF2B5EF4-FFF2-40B4-BE49-F238E27FC236}">
                      <a16:creationId xmlns:a16="http://schemas.microsoft.com/office/drawing/2014/main" id="{474A1C37-E1BD-7317-0BB2-CB986DDC69B6}"/>
                    </a:ext>
                  </a:extLst>
                </p:cNvPr>
                <p:cNvSpPr/>
                <p:nvPr/>
              </p:nvSpPr>
              <p:spPr bwMode="auto">
                <a:xfrm>
                  <a:off x="9888156" y="3360823"/>
                  <a:ext cx="241182" cy="209859"/>
                </a:xfrm>
                <a:custGeom>
                  <a:avLst/>
                  <a:gdLst>
                    <a:gd name="T0" fmla="*/ 5 w 94"/>
                    <a:gd name="T1" fmla="*/ 75 h 82"/>
                    <a:gd name="T2" fmla="*/ 86 w 94"/>
                    <a:gd name="T3" fmla="*/ 29 h 82"/>
                    <a:gd name="T4" fmla="*/ 82 w 94"/>
                    <a:gd name="T5" fmla="*/ 0 h 82"/>
                    <a:gd name="T6" fmla="*/ 1 w 94"/>
                    <a:gd name="T7" fmla="*/ 68 h 82"/>
                    <a:gd name="T8" fmla="*/ 5 w 94"/>
                    <a:gd name="T9" fmla="*/ 75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4" h="82">
                      <a:moveTo>
                        <a:pt x="5" y="75"/>
                      </a:moveTo>
                      <a:cubicBezTo>
                        <a:pt x="20" y="82"/>
                        <a:pt x="74" y="47"/>
                        <a:pt x="86" y="29"/>
                      </a:cubicBezTo>
                      <a:cubicBezTo>
                        <a:pt x="94" y="17"/>
                        <a:pt x="87" y="6"/>
                        <a:pt x="82" y="0"/>
                      </a:cubicBezTo>
                      <a:cubicBezTo>
                        <a:pt x="69" y="24"/>
                        <a:pt x="44" y="53"/>
                        <a:pt x="1" y="68"/>
                      </a:cubicBezTo>
                      <a:cubicBezTo>
                        <a:pt x="0" y="71"/>
                        <a:pt x="1" y="74"/>
                        <a:pt x="5" y="75"/>
                      </a:cubicBezTo>
                      <a:close/>
                    </a:path>
                  </a:pathLst>
                </a:custGeom>
                <a:solidFill>
                  <a:srgbClr val="4472C4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52" name="Freeform 56">
                  <a:extLst>
                    <a:ext uri="{FF2B5EF4-FFF2-40B4-BE49-F238E27FC236}">
                      <a16:creationId xmlns:a16="http://schemas.microsoft.com/office/drawing/2014/main" id="{52956E28-E76F-40EE-01E1-34BD392D5B63}"/>
                    </a:ext>
                  </a:extLst>
                </p:cNvPr>
                <p:cNvSpPr/>
                <p:nvPr/>
              </p:nvSpPr>
              <p:spPr bwMode="auto">
                <a:xfrm>
                  <a:off x="10018144" y="2895685"/>
                  <a:ext cx="314789" cy="349244"/>
                </a:xfrm>
                <a:custGeom>
                  <a:avLst/>
                  <a:gdLst>
                    <a:gd name="T0" fmla="*/ 115 w 123"/>
                    <a:gd name="T1" fmla="*/ 47 h 136"/>
                    <a:gd name="T2" fmla="*/ 100 w 123"/>
                    <a:gd name="T3" fmla="*/ 46 h 136"/>
                    <a:gd name="T4" fmla="*/ 51 w 123"/>
                    <a:gd name="T5" fmla="*/ 0 h 136"/>
                    <a:gd name="T6" fmla="*/ 1 w 123"/>
                    <a:gd name="T7" fmla="*/ 54 h 136"/>
                    <a:gd name="T8" fmla="*/ 46 w 123"/>
                    <a:gd name="T9" fmla="*/ 110 h 136"/>
                    <a:gd name="T10" fmla="*/ 64 w 123"/>
                    <a:gd name="T11" fmla="*/ 106 h 136"/>
                    <a:gd name="T12" fmla="*/ 79 w 123"/>
                    <a:gd name="T13" fmla="*/ 136 h 136"/>
                    <a:gd name="T14" fmla="*/ 108 w 123"/>
                    <a:gd name="T15" fmla="*/ 122 h 136"/>
                    <a:gd name="T16" fmla="*/ 90 w 123"/>
                    <a:gd name="T17" fmla="*/ 86 h 136"/>
                    <a:gd name="T18" fmla="*/ 96 w 123"/>
                    <a:gd name="T19" fmla="*/ 76 h 136"/>
                    <a:gd name="T20" fmla="*/ 115 w 123"/>
                    <a:gd name="T21" fmla="*/ 47 h 1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3" h="136">
                      <a:moveTo>
                        <a:pt x="115" y="47"/>
                      </a:moveTo>
                      <a:cubicBezTo>
                        <a:pt x="110" y="41"/>
                        <a:pt x="104" y="43"/>
                        <a:pt x="100" y="46"/>
                      </a:cubicBezTo>
                      <a:cubicBezTo>
                        <a:pt x="96" y="21"/>
                        <a:pt x="76" y="1"/>
                        <a:pt x="51" y="0"/>
                      </a:cubicBezTo>
                      <a:cubicBezTo>
                        <a:pt x="24" y="0"/>
                        <a:pt x="1" y="24"/>
                        <a:pt x="1" y="54"/>
                      </a:cubicBezTo>
                      <a:cubicBezTo>
                        <a:pt x="0" y="84"/>
                        <a:pt x="18" y="109"/>
                        <a:pt x="46" y="110"/>
                      </a:cubicBezTo>
                      <a:cubicBezTo>
                        <a:pt x="52" y="110"/>
                        <a:pt x="58" y="109"/>
                        <a:pt x="64" y="106"/>
                      </a:cubicBezTo>
                      <a:cubicBezTo>
                        <a:pt x="79" y="136"/>
                        <a:pt x="79" y="136"/>
                        <a:pt x="79" y="136"/>
                      </a:cubicBezTo>
                      <a:cubicBezTo>
                        <a:pt x="108" y="122"/>
                        <a:pt x="108" y="122"/>
                        <a:pt x="108" y="122"/>
                      </a:cubicBezTo>
                      <a:cubicBezTo>
                        <a:pt x="90" y="86"/>
                        <a:pt x="90" y="86"/>
                        <a:pt x="90" y="86"/>
                      </a:cubicBezTo>
                      <a:cubicBezTo>
                        <a:pt x="92" y="83"/>
                        <a:pt x="94" y="80"/>
                        <a:pt x="96" y="76"/>
                      </a:cubicBezTo>
                      <a:cubicBezTo>
                        <a:pt x="110" y="73"/>
                        <a:pt x="123" y="56"/>
                        <a:pt x="115" y="47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53" name="Freeform 57">
                  <a:extLst>
                    <a:ext uri="{FF2B5EF4-FFF2-40B4-BE49-F238E27FC236}">
                      <a16:creationId xmlns:a16="http://schemas.microsoft.com/office/drawing/2014/main" id="{9110B28E-CD4D-813C-6BFC-5E934061DAE8}"/>
                    </a:ext>
                  </a:extLst>
                </p:cNvPr>
                <p:cNvSpPr/>
                <p:nvPr/>
              </p:nvSpPr>
              <p:spPr bwMode="auto">
                <a:xfrm>
                  <a:off x="10264024" y="3031938"/>
                  <a:ext cx="43851" cy="32888"/>
                </a:xfrm>
                <a:custGeom>
                  <a:avLst/>
                  <a:gdLst>
                    <a:gd name="T0" fmla="*/ 17 w 17"/>
                    <a:gd name="T1" fmla="*/ 0 h 13"/>
                    <a:gd name="T2" fmla="*/ 8 w 17"/>
                    <a:gd name="T3" fmla="*/ 13 h 13"/>
                    <a:gd name="T4" fmla="*/ 5 w 17"/>
                    <a:gd name="T5" fmla="*/ 12 h 13"/>
                    <a:gd name="T6" fmla="*/ 6 w 17"/>
                    <a:gd name="T7" fmla="*/ 9 h 13"/>
                    <a:gd name="T8" fmla="*/ 6 w 17"/>
                    <a:gd name="T9" fmla="*/ 9 h 13"/>
                    <a:gd name="T10" fmla="*/ 8 w 17"/>
                    <a:gd name="T11" fmla="*/ 7 h 13"/>
                    <a:gd name="T12" fmla="*/ 7 w 17"/>
                    <a:gd name="T13" fmla="*/ 5 h 13"/>
                    <a:gd name="T14" fmla="*/ 4 w 17"/>
                    <a:gd name="T15" fmla="*/ 4 h 13"/>
                    <a:gd name="T16" fmla="*/ 0 w 17"/>
                    <a:gd name="T17" fmla="*/ 4 h 13"/>
                    <a:gd name="T18" fmla="*/ 3 w 17"/>
                    <a:gd name="T19" fmla="*/ 2 h 13"/>
                    <a:gd name="T20" fmla="*/ 9 w 17"/>
                    <a:gd name="T21" fmla="*/ 2 h 13"/>
                    <a:gd name="T22" fmla="*/ 11 w 17"/>
                    <a:gd name="T23" fmla="*/ 7 h 13"/>
                    <a:gd name="T24" fmla="*/ 8 w 17"/>
                    <a:gd name="T25" fmla="*/ 12 h 13"/>
                    <a:gd name="T26" fmla="*/ 6 w 17"/>
                    <a:gd name="T27" fmla="*/ 9 h 13"/>
                    <a:gd name="T28" fmla="*/ 17 w 17"/>
                    <a:gd name="T2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3">
                      <a:moveTo>
                        <a:pt x="17" y="0"/>
                      </a:moveTo>
                      <a:cubicBezTo>
                        <a:pt x="17" y="6"/>
                        <a:pt x="13" y="11"/>
                        <a:pt x="8" y="13"/>
                      </a:cubicBezTo>
                      <a:cubicBezTo>
                        <a:pt x="7" y="13"/>
                        <a:pt x="6" y="13"/>
                        <a:pt x="5" y="12"/>
                      </a:cubicBezTo>
                      <a:cubicBezTo>
                        <a:pt x="5" y="11"/>
                        <a:pt x="5" y="10"/>
                        <a:pt x="6" y="9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7" y="9"/>
                        <a:pt x="7" y="8"/>
                        <a:pt x="8" y="7"/>
                      </a:cubicBezTo>
                      <a:cubicBezTo>
                        <a:pt x="8" y="6"/>
                        <a:pt x="8" y="5"/>
                        <a:pt x="7" y="5"/>
                      </a:cubicBezTo>
                      <a:cubicBezTo>
                        <a:pt x="6" y="4"/>
                        <a:pt x="5" y="4"/>
                        <a:pt x="4" y="4"/>
                      </a:cubicBezTo>
                      <a:cubicBezTo>
                        <a:pt x="3" y="4"/>
                        <a:pt x="1" y="4"/>
                        <a:pt x="0" y="4"/>
                      </a:cubicBezTo>
                      <a:cubicBezTo>
                        <a:pt x="1" y="3"/>
                        <a:pt x="2" y="2"/>
                        <a:pt x="3" y="2"/>
                      </a:cubicBezTo>
                      <a:cubicBezTo>
                        <a:pt x="5" y="1"/>
                        <a:pt x="7" y="1"/>
                        <a:pt x="9" y="2"/>
                      </a:cubicBezTo>
                      <a:cubicBezTo>
                        <a:pt x="11" y="3"/>
                        <a:pt x="12" y="5"/>
                        <a:pt x="11" y="7"/>
                      </a:cubicBezTo>
                      <a:cubicBezTo>
                        <a:pt x="11" y="10"/>
                        <a:pt x="10" y="11"/>
                        <a:pt x="8" y="12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10" y="8"/>
                        <a:pt x="14" y="5"/>
                        <a:pt x="17" y="0"/>
                      </a:cubicBezTo>
                      <a:close/>
                    </a:path>
                  </a:pathLst>
                </a:custGeom>
                <a:solidFill>
                  <a:srgbClr val="EED7B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54" name="Freeform 58">
                  <a:extLst>
                    <a:ext uri="{FF2B5EF4-FFF2-40B4-BE49-F238E27FC236}">
                      <a16:creationId xmlns:a16="http://schemas.microsoft.com/office/drawing/2014/main" id="{C09CE4DC-397D-915B-7496-36AA4489E07F}"/>
                    </a:ext>
                  </a:extLst>
                </p:cNvPr>
                <p:cNvSpPr/>
                <p:nvPr/>
              </p:nvSpPr>
              <p:spPr bwMode="auto">
                <a:xfrm>
                  <a:off x="10182586" y="3132170"/>
                  <a:ext cx="64211" cy="67343"/>
                </a:xfrm>
                <a:custGeom>
                  <a:avLst/>
                  <a:gdLst>
                    <a:gd name="T0" fmla="*/ 0 w 25"/>
                    <a:gd name="T1" fmla="*/ 14 h 26"/>
                    <a:gd name="T2" fmla="*/ 6 w 25"/>
                    <a:gd name="T3" fmla="*/ 26 h 26"/>
                    <a:gd name="T4" fmla="*/ 19 w 25"/>
                    <a:gd name="T5" fmla="*/ 0 h 26"/>
                    <a:gd name="T6" fmla="*/ 0 w 25"/>
                    <a:gd name="T7" fmla="*/ 14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5" h="26">
                      <a:moveTo>
                        <a:pt x="0" y="14"/>
                      </a:moveTo>
                      <a:cubicBezTo>
                        <a:pt x="6" y="26"/>
                        <a:pt x="6" y="26"/>
                        <a:pt x="6" y="26"/>
                      </a:cubicBezTo>
                      <a:cubicBezTo>
                        <a:pt x="6" y="26"/>
                        <a:pt x="25" y="16"/>
                        <a:pt x="19" y="0"/>
                      </a:cubicBezTo>
                      <a:cubicBezTo>
                        <a:pt x="19" y="0"/>
                        <a:pt x="13" y="10"/>
                        <a:pt x="0" y="14"/>
                      </a:cubicBez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55" name="Freeform 59">
                  <a:extLst>
                    <a:ext uri="{FF2B5EF4-FFF2-40B4-BE49-F238E27FC236}">
                      <a16:creationId xmlns:a16="http://schemas.microsoft.com/office/drawing/2014/main" id="{45036604-DCEC-CB44-032C-ED217ABB8E60}"/>
                    </a:ext>
                  </a:extLst>
                </p:cNvPr>
                <p:cNvSpPr/>
                <p:nvPr/>
              </p:nvSpPr>
              <p:spPr bwMode="auto">
                <a:xfrm>
                  <a:off x="9946104" y="2847135"/>
                  <a:ext cx="397794" cy="300694"/>
                </a:xfrm>
                <a:custGeom>
                  <a:avLst/>
                  <a:gdLst>
                    <a:gd name="T0" fmla="*/ 124 w 155"/>
                    <a:gd name="T1" fmla="*/ 117 h 117"/>
                    <a:gd name="T2" fmla="*/ 118 w 155"/>
                    <a:gd name="T3" fmla="*/ 105 h 117"/>
                    <a:gd name="T4" fmla="*/ 124 w 155"/>
                    <a:gd name="T5" fmla="*/ 95 h 117"/>
                    <a:gd name="T6" fmla="*/ 145 w 155"/>
                    <a:gd name="T7" fmla="*/ 75 h 117"/>
                    <a:gd name="T8" fmla="*/ 139 w 155"/>
                    <a:gd name="T9" fmla="*/ 63 h 117"/>
                    <a:gd name="T10" fmla="*/ 128 w 155"/>
                    <a:gd name="T11" fmla="*/ 66 h 117"/>
                    <a:gd name="T12" fmla="*/ 107 w 155"/>
                    <a:gd name="T13" fmla="*/ 74 h 117"/>
                    <a:gd name="T14" fmla="*/ 95 w 155"/>
                    <a:gd name="T15" fmla="*/ 50 h 117"/>
                    <a:gd name="T16" fmla="*/ 58 w 155"/>
                    <a:gd name="T17" fmla="*/ 65 h 117"/>
                    <a:gd name="T18" fmla="*/ 44 w 155"/>
                    <a:gd name="T19" fmla="*/ 52 h 117"/>
                    <a:gd name="T20" fmla="*/ 10 w 155"/>
                    <a:gd name="T21" fmla="*/ 56 h 117"/>
                    <a:gd name="T22" fmla="*/ 10 w 155"/>
                    <a:gd name="T23" fmla="*/ 56 h 117"/>
                    <a:gd name="T24" fmla="*/ 18 w 155"/>
                    <a:gd name="T25" fmla="*/ 24 h 117"/>
                    <a:gd name="T26" fmla="*/ 34 w 155"/>
                    <a:gd name="T27" fmla="*/ 22 h 117"/>
                    <a:gd name="T28" fmla="*/ 65 w 155"/>
                    <a:gd name="T29" fmla="*/ 4 h 117"/>
                    <a:gd name="T30" fmla="*/ 100 w 155"/>
                    <a:gd name="T31" fmla="*/ 15 h 117"/>
                    <a:gd name="T32" fmla="*/ 129 w 155"/>
                    <a:gd name="T33" fmla="*/ 22 h 117"/>
                    <a:gd name="T34" fmla="*/ 140 w 155"/>
                    <a:gd name="T35" fmla="*/ 33 h 117"/>
                    <a:gd name="T36" fmla="*/ 148 w 155"/>
                    <a:gd name="T37" fmla="*/ 48 h 117"/>
                    <a:gd name="T38" fmla="*/ 124 w 155"/>
                    <a:gd name="T39" fmla="*/ 117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55" h="117">
                      <a:moveTo>
                        <a:pt x="124" y="117"/>
                      </a:moveTo>
                      <a:cubicBezTo>
                        <a:pt x="118" y="105"/>
                        <a:pt x="118" y="105"/>
                        <a:pt x="118" y="105"/>
                      </a:cubicBezTo>
                      <a:cubicBezTo>
                        <a:pt x="118" y="105"/>
                        <a:pt x="122" y="99"/>
                        <a:pt x="124" y="95"/>
                      </a:cubicBezTo>
                      <a:cubicBezTo>
                        <a:pt x="124" y="95"/>
                        <a:pt x="140" y="91"/>
                        <a:pt x="145" y="75"/>
                      </a:cubicBezTo>
                      <a:cubicBezTo>
                        <a:pt x="145" y="75"/>
                        <a:pt x="147" y="67"/>
                        <a:pt x="139" y="63"/>
                      </a:cubicBezTo>
                      <a:cubicBezTo>
                        <a:pt x="139" y="63"/>
                        <a:pt x="134" y="61"/>
                        <a:pt x="128" y="66"/>
                      </a:cubicBezTo>
                      <a:cubicBezTo>
                        <a:pt x="128" y="66"/>
                        <a:pt x="120" y="80"/>
                        <a:pt x="107" y="74"/>
                      </a:cubicBezTo>
                      <a:cubicBezTo>
                        <a:pt x="107" y="74"/>
                        <a:pt x="94" y="72"/>
                        <a:pt x="95" y="50"/>
                      </a:cubicBezTo>
                      <a:cubicBezTo>
                        <a:pt x="95" y="50"/>
                        <a:pt x="81" y="70"/>
                        <a:pt x="58" y="65"/>
                      </a:cubicBezTo>
                      <a:cubicBezTo>
                        <a:pt x="57" y="65"/>
                        <a:pt x="44" y="65"/>
                        <a:pt x="44" y="52"/>
                      </a:cubicBezTo>
                      <a:cubicBezTo>
                        <a:pt x="44" y="52"/>
                        <a:pt x="25" y="75"/>
                        <a:pt x="10" y="56"/>
                      </a:cubicBezTo>
                      <a:cubicBezTo>
                        <a:pt x="10" y="56"/>
                        <a:pt x="10" y="56"/>
                        <a:pt x="10" y="56"/>
                      </a:cubicBezTo>
                      <a:cubicBezTo>
                        <a:pt x="0" y="43"/>
                        <a:pt x="8" y="29"/>
                        <a:pt x="18" y="24"/>
                      </a:cubicBezTo>
                      <a:cubicBezTo>
                        <a:pt x="23" y="21"/>
                        <a:pt x="29" y="20"/>
                        <a:pt x="34" y="22"/>
                      </a:cubicBezTo>
                      <a:cubicBezTo>
                        <a:pt x="34" y="22"/>
                        <a:pt x="38" y="7"/>
                        <a:pt x="65" y="4"/>
                      </a:cubicBezTo>
                      <a:cubicBezTo>
                        <a:pt x="93" y="0"/>
                        <a:pt x="100" y="15"/>
                        <a:pt x="100" y="15"/>
                      </a:cubicBezTo>
                      <a:cubicBezTo>
                        <a:pt x="100" y="15"/>
                        <a:pt x="115" y="12"/>
                        <a:pt x="129" y="22"/>
                      </a:cubicBezTo>
                      <a:cubicBezTo>
                        <a:pt x="133" y="24"/>
                        <a:pt x="137" y="28"/>
                        <a:pt x="140" y="33"/>
                      </a:cubicBezTo>
                      <a:cubicBezTo>
                        <a:pt x="144" y="37"/>
                        <a:pt x="146" y="42"/>
                        <a:pt x="148" y="48"/>
                      </a:cubicBezTo>
                      <a:cubicBezTo>
                        <a:pt x="155" y="69"/>
                        <a:pt x="147" y="95"/>
                        <a:pt x="124" y="117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56" name="Freeform 60">
                  <a:extLst>
                    <a:ext uri="{FF2B5EF4-FFF2-40B4-BE49-F238E27FC236}">
                      <a16:creationId xmlns:a16="http://schemas.microsoft.com/office/drawing/2014/main" id="{3983635B-6575-D890-138B-BF9776604906}"/>
                    </a:ext>
                  </a:extLst>
                </p:cNvPr>
                <p:cNvSpPr/>
                <p:nvPr/>
              </p:nvSpPr>
              <p:spPr bwMode="auto">
                <a:xfrm>
                  <a:off x="9946104" y="2894119"/>
                  <a:ext cx="380566" cy="97099"/>
                </a:xfrm>
                <a:custGeom>
                  <a:avLst/>
                  <a:gdLst>
                    <a:gd name="T0" fmla="*/ 148 w 148"/>
                    <a:gd name="T1" fmla="*/ 30 h 38"/>
                    <a:gd name="T2" fmla="*/ 147 w 148"/>
                    <a:gd name="T3" fmla="*/ 31 h 38"/>
                    <a:gd name="T4" fmla="*/ 137 w 148"/>
                    <a:gd name="T5" fmla="*/ 32 h 38"/>
                    <a:gd name="T6" fmla="*/ 127 w 148"/>
                    <a:gd name="T7" fmla="*/ 29 h 38"/>
                    <a:gd name="T8" fmla="*/ 124 w 148"/>
                    <a:gd name="T9" fmla="*/ 31 h 38"/>
                    <a:gd name="T10" fmla="*/ 102 w 148"/>
                    <a:gd name="T11" fmla="*/ 29 h 38"/>
                    <a:gd name="T12" fmla="*/ 99 w 148"/>
                    <a:gd name="T13" fmla="*/ 26 h 38"/>
                    <a:gd name="T14" fmla="*/ 88 w 148"/>
                    <a:gd name="T15" fmla="*/ 27 h 38"/>
                    <a:gd name="T16" fmla="*/ 78 w 148"/>
                    <a:gd name="T17" fmla="*/ 31 h 38"/>
                    <a:gd name="T18" fmla="*/ 51 w 148"/>
                    <a:gd name="T19" fmla="*/ 26 h 38"/>
                    <a:gd name="T20" fmla="*/ 36 w 148"/>
                    <a:gd name="T21" fmla="*/ 34 h 38"/>
                    <a:gd name="T22" fmla="*/ 23 w 148"/>
                    <a:gd name="T23" fmla="*/ 30 h 38"/>
                    <a:gd name="T24" fmla="*/ 10 w 148"/>
                    <a:gd name="T25" fmla="*/ 38 h 38"/>
                    <a:gd name="T26" fmla="*/ 10 w 148"/>
                    <a:gd name="T27" fmla="*/ 38 h 38"/>
                    <a:gd name="T28" fmla="*/ 18 w 148"/>
                    <a:gd name="T29" fmla="*/ 6 h 38"/>
                    <a:gd name="T30" fmla="*/ 21 w 148"/>
                    <a:gd name="T31" fmla="*/ 8 h 38"/>
                    <a:gd name="T32" fmla="*/ 42 w 148"/>
                    <a:gd name="T33" fmla="*/ 9 h 38"/>
                    <a:gd name="T34" fmla="*/ 55 w 148"/>
                    <a:gd name="T35" fmla="*/ 15 h 38"/>
                    <a:gd name="T36" fmla="*/ 73 w 148"/>
                    <a:gd name="T37" fmla="*/ 8 h 38"/>
                    <a:gd name="T38" fmla="*/ 92 w 148"/>
                    <a:gd name="T39" fmla="*/ 2 h 38"/>
                    <a:gd name="T40" fmla="*/ 103 w 148"/>
                    <a:gd name="T41" fmla="*/ 8 h 38"/>
                    <a:gd name="T42" fmla="*/ 122 w 148"/>
                    <a:gd name="T43" fmla="*/ 6 h 38"/>
                    <a:gd name="T44" fmla="*/ 129 w 148"/>
                    <a:gd name="T45" fmla="*/ 4 h 38"/>
                    <a:gd name="T46" fmla="*/ 140 w 148"/>
                    <a:gd name="T47" fmla="*/ 15 h 38"/>
                    <a:gd name="T48" fmla="*/ 148 w 148"/>
                    <a:gd name="T49" fmla="*/ 30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48" h="38">
                      <a:moveTo>
                        <a:pt x="148" y="30"/>
                      </a:moveTo>
                      <a:cubicBezTo>
                        <a:pt x="148" y="30"/>
                        <a:pt x="148" y="30"/>
                        <a:pt x="147" y="31"/>
                      </a:cubicBezTo>
                      <a:cubicBezTo>
                        <a:pt x="145" y="33"/>
                        <a:pt x="141" y="33"/>
                        <a:pt x="137" y="32"/>
                      </a:cubicBezTo>
                      <a:cubicBezTo>
                        <a:pt x="134" y="31"/>
                        <a:pt x="130" y="28"/>
                        <a:pt x="127" y="29"/>
                      </a:cubicBezTo>
                      <a:cubicBezTo>
                        <a:pt x="126" y="30"/>
                        <a:pt x="125" y="31"/>
                        <a:pt x="124" y="31"/>
                      </a:cubicBezTo>
                      <a:cubicBezTo>
                        <a:pt x="117" y="36"/>
                        <a:pt x="108" y="34"/>
                        <a:pt x="102" y="29"/>
                      </a:cubicBezTo>
                      <a:cubicBezTo>
                        <a:pt x="101" y="28"/>
                        <a:pt x="100" y="27"/>
                        <a:pt x="99" y="26"/>
                      </a:cubicBezTo>
                      <a:cubicBezTo>
                        <a:pt x="96" y="24"/>
                        <a:pt x="91" y="25"/>
                        <a:pt x="88" y="27"/>
                      </a:cubicBezTo>
                      <a:cubicBezTo>
                        <a:pt x="85" y="29"/>
                        <a:pt x="82" y="31"/>
                        <a:pt x="78" y="31"/>
                      </a:cubicBezTo>
                      <a:cubicBezTo>
                        <a:pt x="69" y="33"/>
                        <a:pt x="60" y="23"/>
                        <a:pt x="51" y="26"/>
                      </a:cubicBezTo>
                      <a:cubicBezTo>
                        <a:pt x="45" y="28"/>
                        <a:pt x="41" y="34"/>
                        <a:pt x="36" y="34"/>
                      </a:cubicBezTo>
                      <a:cubicBezTo>
                        <a:pt x="31" y="34"/>
                        <a:pt x="28" y="30"/>
                        <a:pt x="23" y="30"/>
                      </a:cubicBezTo>
                      <a:cubicBezTo>
                        <a:pt x="18" y="31"/>
                        <a:pt x="15" y="37"/>
                        <a:pt x="10" y="38"/>
                      </a:cubicBezTo>
                      <a:cubicBezTo>
                        <a:pt x="10" y="38"/>
                        <a:pt x="10" y="38"/>
                        <a:pt x="10" y="38"/>
                      </a:cubicBezTo>
                      <a:cubicBezTo>
                        <a:pt x="0" y="25"/>
                        <a:pt x="8" y="11"/>
                        <a:pt x="18" y="6"/>
                      </a:cubicBezTo>
                      <a:cubicBezTo>
                        <a:pt x="19" y="7"/>
                        <a:pt x="20" y="8"/>
                        <a:pt x="21" y="8"/>
                      </a:cubicBezTo>
                      <a:cubicBezTo>
                        <a:pt x="27" y="12"/>
                        <a:pt x="35" y="8"/>
                        <a:pt x="42" y="9"/>
                      </a:cubicBezTo>
                      <a:cubicBezTo>
                        <a:pt x="46" y="10"/>
                        <a:pt x="50" y="14"/>
                        <a:pt x="55" y="15"/>
                      </a:cubicBezTo>
                      <a:cubicBezTo>
                        <a:pt x="61" y="16"/>
                        <a:pt x="68" y="12"/>
                        <a:pt x="73" y="8"/>
                      </a:cubicBezTo>
                      <a:cubicBezTo>
                        <a:pt x="79" y="4"/>
                        <a:pt x="85" y="0"/>
                        <a:pt x="92" y="2"/>
                      </a:cubicBezTo>
                      <a:cubicBezTo>
                        <a:pt x="96" y="3"/>
                        <a:pt x="99" y="6"/>
                        <a:pt x="103" y="8"/>
                      </a:cubicBezTo>
                      <a:cubicBezTo>
                        <a:pt x="109" y="10"/>
                        <a:pt x="116" y="9"/>
                        <a:pt x="122" y="6"/>
                      </a:cubicBezTo>
                      <a:cubicBezTo>
                        <a:pt x="124" y="5"/>
                        <a:pt x="127" y="4"/>
                        <a:pt x="129" y="4"/>
                      </a:cubicBezTo>
                      <a:cubicBezTo>
                        <a:pt x="133" y="6"/>
                        <a:pt x="137" y="10"/>
                        <a:pt x="140" y="15"/>
                      </a:cubicBezTo>
                      <a:cubicBezTo>
                        <a:pt x="144" y="19"/>
                        <a:pt x="146" y="24"/>
                        <a:pt x="148" y="30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57" name="Freeform 61">
                  <a:extLst>
                    <a:ext uri="{FF2B5EF4-FFF2-40B4-BE49-F238E27FC236}">
                      <a16:creationId xmlns:a16="http://schemas.microsoft.com/office/drawing/2014/main" id="{CDD17147-FEB6-417C-AC0D-1E7C03224F68}"/>
                    </a:ext>
                  </a:extLst>
                </p:cNvPr>
                <p:cNvSpPr/>
                <p:nvPr/>
              </p:nvSpPr>
              <p:spPr bwMode="auto">
                <a:xfrm>
                  <a:off x="10170057" y="3522132"/>
                  <a:ext cx="234917" cy="634277"/>
                </a:xfrm>
                <a:custGeom>
                  <a:avLst/>
                  <a:gdLst>
                    <a:gd name="T0" fmla="*/ 92 w 92"/>
                    <a:gd name="T1" fmla="*/ 20 h 248"/>
                    <a:gd name="T2" fmla="*/ 83 w 92"/>
                    <a:gd name="T3" fmla="*/ 49 h 248"/>
                    <a:gd name="T4" fmla="*/ 64 w 92"/>
                    <a:gd name="T5" fmla="*/ 175 h 248"/>
                    <a:gd name="T6" fmla="*/ 60 w 92"/>
                    <a:gd name="T7" fmla="*/ 248 h 248"/>
                    <a:gd name="T8" fmla="*/ 32 w 92"/>
                    <a:gd name="T9" fmla="*/ 248 h 248"/>
                    <a:gd name="T10" fmla="*/ 32 w 92"/>
                    <a:gd name="T11" fmla="*/ 246 h 248"/>
                    <a:gd name="T12" fmla="*/ 25 w 92"/>
                    <a:gd name="T13" fmla="*/ 199 h 248"/>
                    <a:gd name="T14" fmla="*/ 19 w 92"/>
                    <a:gd name="T15" fmla="*/ 160 h 248"/>
                    <a:gd name="T16" fmla="*/ 36 w 92"/>
                    <a:gd name="T17" fmla="*/ 3 h 248"/>
                    <a:gd name="T18" fmla="*/ 92 w 92"/>
                    <a:gd name="T19" fmla="*/ 20 h 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2" h="248">
                      <a:moveTo>
                        <a:pt x="92" y="20"/>
                      </a:moveTo>
                      <a:cubicBezTo>
                        <a:pt x="89" y="29"/>
                        <a:pt x="86" y="38"/>
                        <a:pt x="83" y="49"/>
                      </a:cubicBezTo>
                      <a:cubicBezTo>
                        <a:pt x="73" y="87"/>
                        <a:pt x="67" y="135"/>
                        <a:pt x="64" y="175"/>
                      </a:cubicBezTo>
                      <a:cubicBezTo>
                        <a:pt x="61" y="216"/>
                        <a:pt x="60" y="248"/>
                        <a:pt x="60" y="248"/>
                      </a:cubicBezTo>
                      <a:cubicBezTo>
                        <a:pt x="32" y="248"/>
                        <a:pt x="32" y="248"/>
                        <a:pt x="32" y="248"/>
                      </a:cubicBezTo>
                      <a:cubicBezTo>
                        <a:pt x="32" y="246"/>
                        <a:pt x="32" y="246"/>
                        <a:pt x="32" y="246"/>
                      </a:cubicBezTo>
                      <a:cubicBezTo>
                        <a:pt x="25" y="199"/>
                        <a:pt x="25" y="199"/>
                        <a:pt x="25" y="199"/>
                      </a:cubicBezTo>
                      <a:cubicBezTo>
                        <a:pt x="19" y="160"/>
                        <a:pt x="19" y="160"/>
                        <a:pt x="19" y="160"/>
                      </a:cubicBezTo>
                      <a:cubicBezTo>
                        <a:pt x="0" y="72"/>
                        <a:pt x="36" y="3"/>
                        <a:pt x="36" y="3"/>
                      </a:cubicBezTo>
                      <a:cubicBezTo>
                        <a:pt x="85" y="0"/>
                        <a:pt x="92" y="20"/>
                        <a:pt x="92" y="2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58" name="Freeform 62">
                  <a:extLst>
                    <a:ext uri="{FF2B5EF4-FFF2-40B4-BE49-F238E27FC236}">
                      <a16:creationId xmlns:a16="http://schemas.microsoft.com/office/drawing/2014/main" id="{75759717-0C32-A14C-56BD-D1F561F9731F}"/>
                    </a:ext>
                  </a:extLst>
                </p:cNvPr>
                <p:cNvSpPr/>
                <p:nvPr/>
              </p:nvSpPr>
              <p:spPr bwMode="auto">
                <a:xfrm>
                  <a:off x="10234267" y="4031120"/>
                  <a:ext cx="32888" cy="120591"/>
                </a:xfrm>
                <a:custGeom>
                  <a:avLst/>
                  <a:gdLst>
                    <a:gd name="T0" fmla="*/ 12 w 13"/>
                    <a:gd name="T1" fmla="*/ 37 h 47"/>
                    <a:gd name="T2" fmla="*/ 9 w 13"/>
                    <a:gd name="T3" fmla="*/ 46 h 47"/>
                    <a:gd name="T4" fmla="*/ 7 w 13"/>
                    <a:gd name="T5" fmla="*/ 47 h 47"/>
                    <a:gd name="T6" fmla="*/ 0 w 13"/>
                    <a:gd name="T7" fmla="*/ 0 h 47"/>
                    <a:gd name="T8" fmla="*/ 9 w 13"/>
                    <a:gd name="T9" fmla="*/ 10 h 47"/>
                    <a:gd name="T10" fmla="*/ 12 w 13"/>
                    <a:gd name="T11" fmla="*/ 28 h 47"/>
                    <a:gd name="T12" fmla="*/ 12 w 13"/>
                    <a:gd name="T13" fmla="*/ 37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47">
                      <a:moveTo>
                        <a:pt x="12" y="37"/>
                      </a:moveTo>
                      <a:cubicBezTo>
                        <a:pt x="12" y="40"/>
                        <a:pt x="11" y="44"/>
                        <a:pt x="9" y="46"/>
                      </a:cubicBezTo>
                      <a:cubicBezTo>
                        <a:pt x="8" y="46"/>
                        <a:pt x="8" y="47"/>
                        <a:pt x="7" y="47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8" y="7"/>
                        <a:pt x="9" y="10"/>
                      </a:cubicBezTo>
                      <a:cubicBezTo>
                        <a:pt x="11" y="16"/>
                        <a:pt x="12" y="22"/>
                        <a:pt x="12" y="28"/>
                      </a:cubicBezTo>
                      <a:cubicBezTo>
                        <a:pt x="12" y="31"/>
                        <a:pt x="13" y="34"/>
                        <a:pt x="12" y="37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59" name="Freeform 66">
                  <a:extLst>
                    <a:ext uri="{FF2B5EF4-FFF2-40B4-BE49-F238E27FC236}">
                      <a16:creationId xmlns:a16="http://schemas.microsoft.com/office/drawing/2014/main" id="{630334AF-EBE9-DC91-63B9-F34B96888E7D}"/>
                    </a:ext>
                  </a:extLst>
                </p:cNvPr>
                <p:cNvSpPr/>
                <p:nvPr/>
              </p:nvSpPr>
              <p:spPr bwMode="auto">
                <a:xfrm>
                  <a:off x="10199814" y="4156409"/>
                  <a:ext cx="133119" cy="50116"/>
                </a:xfrm>
                <a:custGeom>
                  <a:avLst/>
                  <a:gdLst>
                    <a:gd name="T0" fmla="*/ 48 w 52"/>
                    <a:gd name="T1" fmla="*/ 0 h 19"/>
                    <a:gd name="T2" fmla="*/ 51 w 52"/>
                    <a:gd name="T3" fmla="*/ 17 h 19"/>
                    <a:gd name="T4" fmla="*/ 49 w 52"/>
                    <a:gd name="T5" fmla="*/ 19 h 19"/>
                    <a:gd name="T6" fmla="*/ 2 w 52"/>
                    <a:gd name="T7" fmla="*/ 19 h 19"/>
                    <a:gd name="T8" fmla="*/ 1 w 52"/>
                    <a:gd name="T9" fmla="*/ 16 h 19"/>
                    <a:gd name="T10" fmla="*/ 20 w 52"/>
                    <a:gd name="T11" fmla="*/ 0 h 19"/>
                    <a:gd name="T12" fmla="*/ 48 w 52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19">
                      <a:moveTo>
                        <a:pt x="48" y="0"/>
                      </a:moveTo>
                      <a:cubicBezTo>
                        <a:pt x="48" y="0"/>
                        <a:pt x="52" y="7"/>
                        <a:pt x="51" y="17"/>
                      </a:cubicBezTo>
                      <a:cubicBezTo>
                        <a:pt x="51" y="18"/>
                        <a:pt x="50" y="19"/>
                        <a:pt x="49" y="19"/>
                      </a:cubicBezTo>
                      <a:cubicBezTo>
                        <a:pt x="2" y="19"/>
                        <a:pt x="2" y="19"/>
                        <a:pt x="2" y="19"/>
                      </a:cubicBezTo>
                      <a:cubicBezTo>
                        <a:pt x="1" y="19"/>
                        <a:pt x="0" y="17"/>
                        <a:pt x="1" y="16"/>
                      </a:cubicBezTo>
                      <a:cubicBezTo>
                        <a:pt x="6" y="12"/>
                        <a:pt x="15" y="3"/>
                        <a:pt x="20" y="0"/>
                      </a:cubicBez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60" name="Freeform 67">
                  <a:extLst>
                    <a:ext uri="{FF2B5EF4-FFF2-40B4-BE49-F238E27FC236}">
                      <a16:creationId xmlns:a16="http://schemas.microsoft.com/office/drawing/2014/main" id="{45386732-A337-6E1A-7E4F-98A805AF6D2A}"/>
                    </a:ext>
                  </a:extLst>
                </p:cNvPr>
                <p:cNvSpPr/>
                <p:nvPr/>
              </p:nvSpPr>
              <p:spPr bwMode="auto">
                <a:xfrm>
                  <a:off x="10303176" y="3647421"/>
                  <a:ext cx="186368" cy="508988"/>
                </a:xfrm>
                <a:custGeom>
                  <a:avLst/>
                  <a:gdLst>
                    <a:gd name="T0" fmla="*/ 73 w 73"/>
                    <a:gd name="T1" fmla="*/ 0 h 199"/>
                    <a:gd name="T2" fmla="*/ 51 w 73"/>
                    <a:gd name="T3" fmla="*/ 199 h 199"/>
                    <a:gd name="T4" fmla="*/ 23 w 73"/>
                    <a:gd name="T5" fmla="*/ 199 h 199"/>
                    <a:gd name="T6" fmla="*/ 22 w 73"/>
                    <a:gd name="T7" fmla="*/ 194 h 199"/>
                    <a:gd name="T8" fmla="*/ 16 w 73"/>
                    <a:gd name="T9" fmla="*/ 155 h 199"/>
                    <a:gd name="T10" fmla="*/ 12 w 73"/>
                    <a:gd name="T11" fmla="*/ 126 h 199"/>
                    <a:gd name="T12" fmla="*/ 12 w 73"/>
                    <a:gd name="T13" fmla="*/ 126 h 199"/>
                    <a:gd name="T14" fmla="*/ 10 w 73"/>
                    <a:gd name="T15" fmla="*/ 110 h 199"/>
                    <a:gd name="T16" fmla="*/ 10 w 73"/>
                    <a:gd name="T17" fmla="*/ 0 h 199"/>
                    <a:gd name="T18" fmla="*/ 73 w 73"/>
                    <a:gd name="T19" fmla="*/ 0 h 1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3" h="199">
                      <a:moveTo>
                        <a:pt x="73" y="0"/>
                      </a:moveTo>
                      <a:cubicBezTo>
                        <a:pt x="52" y="79"/>
                        <a:pt x="51" y="199"/>
                        <a:pt x="51" y="199"/>
                      </a:cubicBezTo>
                      <a:cubicBezTo>
                        <a:pt x="23" y="199"/>
                        <a:pt x="23" y="199"/>
                        <a:pt x="23" y="199"/>
                      </a:cubicBezTo>
                      <a:cubicBezTo>
                        <a:pt x="22" y="194"/>
                        <a:pt x="22" y="194"/>
                        <a:pt x="22" y="194"/>
                      </a:cubicBezTo>
                      <a:cubicBezTo>
                        <a:pt x="16" y="155"/>
                        <a:pt x="16" y="155"/>
                        <a:pt x="16" y="155"/>
                      </a:cubicBezTo>
                      <a:cubicBezTo>
                        <a:pt x="12" y="126"/>
                        <a:pt x="12" y="126"/>
                        <a:pt x="12" y="126"/>
                      </a:cubicBezTo>
                      <a:cubicBezTo>
                        <a:pt x="12" y="126"/>
                        <a:pt x="12" y="126"/>
                        <a:pt x="12" y="126"/>
                      </a:cubicBezTo>
                      <a:cubicBezTo>
                        <a:pt x="10" y="110"/>
                        <a:pt x="10" y="110"/>
                        <a:pt x="10" y="110"/>
                      </a:cubicBezTo>
                      <a:cubicBezTo>
                        <a:pt x="0" y="67"/>
                        <a:pt x="4" y="28"/>
                        <a:pt x="10" y="0"/>
                      </a:cubicBezTo>
                      <a:lnTo>
                        <a:pt x="73" y="0"/>
                      </a:ln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61" name="Freeform 68">
                  <a:extLst>
                    <a:ext uri="{FF2B5EF4-FFF2-40B4-BE49-F238E27FC236}">
                      <a16:creationId xmlns:a16="http://schemas.microsoft.com/office/drawing/2014/main" id="{0DEE418B-7A13-276D-F485-F538D5C71898}"/>
                    </a:ext>
                  </a:extLst>
                </p:cNvPr>
                <p:cNvSpPr/>
                <p:nvPr/>
              </p:nvSpPr>
              <p:spPr bwMode="auto">
                <a:xfrm>
                  <a:off x="10343895" y="4018593"/>
                  <a:ext cx="43851" cy="133120"/>
                </a:xfrm>
                <a:custGeom>
                  <a:avLst/>
                  <a:gdLst>
                    <a:gd name="T0" fmla="*/ 17 w 17"/>
                    <a:gd name="T1" fmla="*/ 42 h 52"/>
                    <a:gd name="T2" fmla="*/ 13 w 17"/>
                    <a:gd name="T3" fmla="*/ 51 h 52"/>
                    <a:gd name="T4" fmla="*/ 11 w 17"/>
                    <a:gd name="T5" fmla="*/ 52 h 52"/>
                    <a:gd name="T6" fmla="*/ 8 w 17"/>
                    <a:gd name="T7" fmla="*/ 51 h 52"/>
                    <a:gd name="T8" fmla="*/ 6 w 17"/>
                    <a:gd name="T9" fmla="*/ 49 h 52"/>
                    <a:gd name="T10" fmla="*/ 0 w 17"/>
                    <a:gd name="T11" fmla="*/ 10 h 52"/>
                    <a:gd name="T12" fmla="*/ 1 w 17"/>
                    <a:gd name="T13" fmla="*/ 8 h 52"/>
                    <a:gd name="T14" fmla="*/ 14 w 17"/>
                    <a:gd name="T15" fmla="*/ 15 h 52"/>
                    <a:gd name="T16" fmla="*/ 16 w 17"/>
                    <a:gd name="T17" fmla="*/ 33 h 52"/>
                    <a:gd name="T18" fmla="*/ 17 w 17"/>
                    <a:gd name="T19" fmla="*/ 4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7" h="52">
                      <a:moveTo>
                        <a:pt x="17" y="42"/>
                      </a:moveTo>
                      <a:cubicBezTo>
                        <a:pt x="16" y="45"/>
                        <a:pt x="15" y="49"/>
                        <a:pt x="13" y="51"/>
                      </a:cubicBezTo>
                      <a:cubicBezTo>
                        <a:pt x="12" y="51"/>
                        <a:pt x="12" y="52"/>
                        <a:pt x="11" y="52"/>
                      </a:cubicBezTo>
                      <a:cubicBezTo>
                        <a:pt x="10" y="52"/>
                        <a:pt x="9" y="51"/>
                        <a:pt x="8" y="51"/>
                      </a:cubicBezTo>
                      <a:cubicBezTo>
                        <a:pt x="8" y="50"/>
                        <a:pt x="7" y="50"/>
                        <a:pt x="6" y="49"/>
                      </a:cubicBezTo>
                      <a:cubicBezTo>
                        <a:pt x="0" y="10"/>
                        <a:pt x="0" y="10"/>
                        <a:pt x="0" y="10"/>
                      </a:cubicBezTo>
                      <a:cubicBezTo>
                        <a:pt x="1" y="10"/>
                        <a:pt x="1" y="9"/>
                        <a:pt x="1" y="8"/>
                      </a:cubicBezTo>
                      <a:cubicBezTo>
                        <a:pt x="6" y="0"/>
                        <a:pt x="12" y="11"/>
                        <a:pt x="14" y="15"/>
                      </a:cubicBezTo>
                      <a:cubicBezTo>
                        <a:pt x="16" y="21"/>
                        <a:pt x="16" y="27"/>
                        <a:pt x="16" y="33"/>
                      </a:cubicBezTo>
                      <a:cubicBezTo>
                        <a:pt x="17" y="36"/>
                        <a:pt x="17" y="39"/>
                        <a:pt x="17" y="42"/>
                      </a:cubicBez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62" name="Freeform 69">
                  <a:extLst>
                    <a:ext uri="{FF2B5EF4-FFF2-40B4-BE49-F238E27FC236}">
                      <a16:creationId xmlns:a16="http://schemas.microsoft.com/office/drawing/2014/main" id="{358A96E6-A29A-508E-EDF3-3342712040A5}"/>
                    </a:ext>
                  </a:extLst>
                </p:cNvPr>
                <p:cNvSpPr/>
                <p:nvPr/>
              </p:nvSpPr>
              <p:spPr bwMode="auto">
                <a:xfrm>
                  <a:off x="10311008" y="4156409"/>
                  <a:ext cx="133119" cy="50116"/>
                </a:xfrm>
                <a:custGeom>
                  <a:avLst/>
                  <a:gdLst>
                    <a:gd name="T0" fmla="*/ 48 w 52"/>
                    <a:gd name="T1" fmla="*/ 0 h 19"/>
                    <a:gd name="T2" fmla="*/ 50 w 52"/>
                    <a:gd name="T3" fmla="*/ 17 h 19"/>
                    <a:gd name="T4" fmla="*/ 48 w 52"/>
                    <a:gd name="T5" fmla="*/ 19 h 19"/>
                    <a:gd name="T6" fmla="*/ 2 w 52"/>
                    <a:gd name="T7" fmla="*/ 19 h 19"/>
                    <a:gd name="T8" fmla="*/ 1 w 52"/>
                    <a:gd name="T9" fmla="*/ 16 h 19"/>
                    <a:gd name="T10" fmla="*/ 20 w 52"/>
                    <a:gd name="T11" fmla="*/ 0 h 19"/>
                    <a:gd name="T12" fmla="*/ 48 w 52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19">
                      <a:moveTo>
                        <a:pt x="48" y="0"/>
                      </a:moveTo>
                      <a:cubicBezTo>
                        <a:pt x="48" y="0"/>
                        <a:pt x="52" y="7"/>
                        <a:pt x="50" y="17"/>
                      </a:cubicBezTo>
                      <a:cubicBezTo>
                        <a:pt x="50" y="18"/>
                        <a:pt x="49" y="19"/>
                        <a:pt x="48" y="19"/>
                      </a:cubicBezTo>
                      <a:cubicBezTo>
                        <a:pt x="2" y="19"/>
                        <a:pt x="2" y="19"/>
                        <a:pt x="2" y="19"/>
                      </a:cubicBezTo>
                      <a:cubicBezTo>
                        <a:pt x="0" y="19"/>
                        <a:pt x="0" y="17"/>
                        <a:pt x="1" y="16"/>
                      </a:cubicBezTo>
                      <a:cubicBezTo>
                        <a:pt x="5" y="12"/>
                        <a:pt x="15" y="3"/>
                        <a:pt x="20" y="0"/>
                      </a:cubicBez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63" name="Freeform 75">
                  <a:extLst>
                    <a:ext uri="{FF2B5EF4-FFF2-40B4-BE49-F238E27FC236}">
                      <a16:creationId xmlns:a16="http://schemas.microsoft.com/office/drawing/2014/main" id="{79595E1E-52B9-4BD9-B9D3-BCFFCD605B8D}"/>
                    </a:ext>
                  </a:extLst>
                </p:cNvPr>
                <p:cNvSpPr/>
                <p:nvPr/>
              </p:nvSpPr>
              <p:spPr bwMode="auto">
                <a:xfrm>
                  <a:off x="10008747" y="3199513"/>
                  <a:ext cx="339847" cy="375869"/>
                </a:xfrm>
                <a:custGeom>
                  <a:avLst/>
                  <a:gdLst>
                    <a:gd name="T0" fmla="*/ 112 w 133"/>
                    <a:gd name="T1" fmla="*/ 2 h 147"/>
                    <a:gd name="T2" fmla="*/ 100 w 133"/>
                    <a:gd name="T3" fmla="*/ 14 h 147"/>
                    <a:gd name="T4" fmla="*/ 85 w 133"/>
                    <a:gd name="T5" fmla="*/ 49 h 147"/>
                    <a:gd name="T6" fmla="*/ 4 w 133"/>
                    <a:gd name="T7" fmla="*/ 116 h 147"/>
                    <a:gd name="T8" fmla="*/ 0 w 133"/>
                    <a:gd name="T9" fmla="*/ 117 h 147"/>
                    <a:gd name="T10" fmla="*/ 6 w 133"/>
                    <a:gd name="T11" fmla="*/ 141 h 147"/>
                    <a:gd name="T12" fmla="*/ 7 w 133"/>
                    <a:gd name="T13" fmla="*/ 145 h 147"/>
                    <a:gd name="T14" fmla="*/ 9 w 133"/>
                    <a:gd name="T15" fmla="*/ 147 h 147"/>
                    <a:gd name="T16" fmla="*/ 132 w 133"/>
                    <a:gd name="T17" fmla="*/ 20 h 147"/>
                    <a:gd name="T18" fmla="*/ 112 w 133"/>
                    <a:gd name="T19" fmla="*/ 2 h 1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33" h="147">
                      <a:moveTo>
                        <a:pt x="112" y="2"/>
                      </a:moveTo>
                      <a:cubicBezTo>
                        <a:pt x="106" y="4"/>
                        <a:pt x="101" y="8"/>
                        <a:pt x="100" y="14"/>
                      </a:cubicBezTo>
                      <a:cubicBezTo>
                        <a:pt x="97" y="23"/>
                        <a:pt x="93" y="35"/>
                        <a:pt x="85" y="49"/>
                      </a:cubicBezTo>
                      <a:cubicBezTo>
                        <a:pt x="71" y="73"/>
                        <a:pt x="47" y="102"/>
                        <a:pt x="4" y="116"/>
                      </a:cubicBezTo>
                      <a:cubicBezTo>
                        <a:pt x="3" y="117"/>
                        <a:pt x="2" y="117"/>
                        <a:pt x="0" y="117"/>
                      </a:cubicBezTo>
                      <a:cubicBezTo>
                        <a:pt x="3" y="125"/>
                        <a:pt x="5" y="133"/>
                        <a:pt x="6" y="141"/>
                      </a:cubicBezTo>
                      <a:cubicBezTo>
                        <a:pt x="7" y="143"/>
                        <a:pt x="7" y="144"/>
                        <a:pt x="7" y="145"/>
                      </a:cubicBezTo>
                      <a:cubicBezTo>
                        <a:pt x="7" y="146"/>
                        <a:pt x="8" y="147"/>
                        <a:pt x="9" y="147"/>
                      </a:cubicBezTo>
                      <a:cubicBezTo>
                        <a:pt x="42" y="140"/>
                        <a:pt x="124" y="99"/>
                        <a:pt x="132" y="20"/>
                      </a:cubicBezTo>
                      <a:cubicBezTo>
                        <a:pt x="133" y="9"/>
                        <a:pt x="123" y="0"/>
                        <a:pt x="112" y="2"/>
                      </a:cubicBezTo>
                      <a:close/>
                    </a:path>
                  </a:pathLst>
                </a:custGeom>
                <a:solidFill>
                  <a:srgbClr val="252F5F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64" name="Freeform 76">
                  <a:extLst>
                    <a:ext uri="{FF2B5EF4-FFF2-40B4-BE49-F238E27FC236}">
                      <a16:creationId xmlns:a16="http://schemas.microsoft.com/office/drawing/2014/main" id="{6EE01E76-B3E5-B8F1-3E3B-90BCA93BDF56}"/>
                    </a:ext>
                  </a:extLst>
                </p:cNvPr>
                <p:cNvSpPr/>
                <p:nvPr/>
              </p:nvSpPr>
              <p:spPr bwMode="auto">
                <a:xfrm>
                  <a:off x="10016577" y="3324802"/>
                  <a:ext cx="239615" cy="209859"/>
                </a:xfrm>
                <a:custGeom>
                  <a:avLst/>
                  <a:gdLst>
                    <a:gd name="T0" fmla="*/ 4 w 94"/>
                    <a:gd name="T1" fmla="*/ 75 h 82"/>
                    <a:gd name="T2" fmla="*/ 85 w 94"/>
                    <a:gd name="T3" fmla="*/ 29 h 82"/>
                    <a:gd name="T4" fmla="*/ 82 w 94"/>
                    <a:gd name="T5" fmla="*/ 0 h 82"/>
                    <a:gd name="T6" fmla="*/ 1 w 94"/>
                    <a:gd name="T7" fmla="*/ 67 h 82"/>
                    <a:gd name="T8" fmla="*/ 4 w 94"/>
                    <a:gd name="T9" fmla="*/ 75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4" h="82">
                      <a:moveTo>
                        <a:pt x="4" y="75"/>
                      </a:moveTo>
                      <a:cubicBezTo>
                        <a:pt x="20" y="82"/>
                        <a:pt x="73" y="47"/>
                        <a:pt x="85" y="29"/>
                      </a:cubicBezTo>
                      <a:cubicBezTo>
                        <a:pt x="94" y="17"/>
                        <a:pt x="87" y="6"/>
                        <a:pt x="82" y="0"/>
                      </a:cubicBezTo>
                      <a:cubicBezTo>
                        <a:pt x="68" y="24"/>
                        <a:pt x="44" y="53"/>
                        <a:pt x="1" y="67"/>
                      </a:cubicBezTo>
                      <a:cubicBezTo>
                        <a:pt x="0" y="71"/>
                        <a:pt x="1" y="74"/>
                        <a:pt x="4" y="75"/>
                      </a:cubicBezTo>
                      <a:close/>
                    </a:path>
                  </a:pathLst>
                </a:custGeom>
                <a:solidFill>
                  <a:srgbClr val="4472C4">
                    <a:lumMod val="75000"/>
                  </a:srgb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105" name="Freeform 63">
                  <a:extLst>
                    <a:ext uri="{FF2B5EF4-FFF2-40B4-BE49-F238E27FC236}">
                      <a16:creationId xmlns:a16="http://schemas.microsoft.com/office/drawing/2014/main" id="{2DD37239-B30B-C0ED-EB25-5B2899B9E9EF}"/>
                    </a:ext>
                  </a:extLst>
                </p:cNvPr>
                <p:cNvSpPr/>
                <p:nvPr/>
              </p:nvSpPr>
              <p:spPr bwMode="auto">
                <a:xfrm>
                  <a:off x="10162228" y="3442259"/>
                  <a:ext cx="255277" cy="596691"/>
                </a:xfrm>
                <a:custGeom>
                  <a:avLst/>
                  <a:gdLst>
                    <a:gd name="T0" fmla="*/ 26 w 100"/>
                    <a:gd name="T1" fmla="*/ 26 h 233"/>
                    <a:gd name="T2" fmla="*/ 26 w 100"/>
                    <a:gd name="T3" fmla="*/ 233 h 233"/>
                    <a:gd name="T4" fmla="*/ 66 w 100"/>
                    <a:gd name="T5" fmla="*/ 233 h 233"/>
                    <a:gd name="T6" fmla="*/ 100 w 100"/>
                    <a:gd name="T7" fmla="*/ 56 h 233"/>
                    <a:gd name="T8" fmla="*/ 26 w 100"/>
                    <a:gd name="T9" fmla="*/ 26 h 2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0" h="233">
                      <a:moveTo>
                        <a:pt x="26" y="26"/>
                      </a:moveTo>
                      <a:cubicBezTo>
                        <a:pt x="26" y="26"/>
                        <a:pt x="0" y="151"/>
                        <a:pt x="26" y="233"/>
                      </a:cubicBezTo>
                      <a:cubicBezTo>
                        <a:pt x="66" y="233"/>
                        <a:pt x="66" y="233"/>
                        <a:pt x="66" y="233"/>
                      </a:cubicBezTo>
                      <a:cubicBezTo>
                        <a:pt x="66" y="233"/>
                        <a:pt x="73" y="81"/>
                        <a:pt x="100" y="56"/>
                      </a:cubicBezTo>
                      <a:cubicBezTo>
                        <a:pt x="100" y="56"/>
                        <a:pt x="86" y="0"/>
                        <a:pt x="26" y="26"/>
                      </a:cubicBezTo>
                      <a:close/>
                    </a:path>
                  </a:pathLst>
                </a:custGeom>
                <a:solidFill>
                  <a:srgbClr val="FBCCD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106" name="Freeform 70">
                  <a:extLst>
                    <a:ext uri="{FF2B5EF4-FFF2-40B4-BE49-F238E27FC236}">
                      <a16:creationId xmlns:a16="http://schemas.microsoft.com/office/drawing/2014/main" id="{BEB1C9F3-9D46-B38E-85E9-8172A32ABF18}"/>
                    </a:ext>
                  </a:extLst>
                </p:cNvPr>
                <p:cNvSpPr/>
                <p:nvPr/>
              </p:nvSpPr>
              <p:spPr bwMode="auto">
                <a:xfrm>
                  <a:off x="10213908" y="3406241"/>
                  <a:ext cx="295996" cy="632712"/>
                </a:xfrm>
                <a:custGeom>
                  <a:avLst/>
                  <a:gdLst>
                    <a:gd name="T0" fmla="*/ 82 w 116"/>
                    <a:gd name="T1" fmla="*/ 12 h 247"/>
                    <a:gd name="T2" fmla="*/ 93 w 116"/>
                    <a:gd name="T3" fmla="*/ 25 h 247"/>
                    <a:gd name="T4" fmla="*/ 111 w 116"/>
                    <a:gd name="T5" fmla="*/ 95 h 247"/>
                    <a:gd name="T6" fmla="*/ 93 w 116"/>
                    <a:gd name="T7" fmla="*/ 223 h 247"/>
                    <a:gd name="T8" fmla="*/ 67 w 116"/>
                    <a:gd name="T9" fmla="*/ 247 h 247"/>
                    <a:gd name="T10" fmla="*/ 67 w 116"/>
                    <a:gd name="T11" fmla="*/ 247 h 247"/>
                    <a:gd name="T12" fmla="*/ 42 w 116"/>
                    <a:gd name="T13" fmla="*/ 225 h 247"/>
                    <a:gd name="T14" fmla="*/ 48 w 116"/>
                    <a:gd name="T15" fmla="*/ 77 h 247"/>
                    <a:gd name="T16" fmla="*/ 46 w 116"/>
                    <a:gd name="T17" fmla="*/ 77 h 247"/>
                    <a:gd name="T18" fmla="*/ 11 w 116"/>
                    <a:gd name="T19" fmla="*/ 80 h 247"/>
                    <a:gd name="T20" fmla="*/ 7 w 116"/>
                    <a:gd name="T21" fmla="*/ 26 h 247"/>
                    <a:gd name="T22" fmla="*/ 7 w 116"/>
                    <a:gd name="T23" fmla="*/ 25 h 247"/>
                    <a:gd name="T24" fmla="*/ 51 w 116"/>
                    <a:gd name="T25" fmla="*/ 5 h 247"/>
                    <a:gd name="T26" fmla="*/ 82 w 116"/>
                    <a:gd name="T27" fmla="*/ 12 h 2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15" h="246">
                      <a:moveTo>
                        <a:pt x="82" y="12"/>
                      </a:moveTo>
                      <a:cubicBezTo>
                        <a:pt x="93" y="25"/>
                        <a:pt x="93" y="25"/>
                        <a:pt x="93" y="25"/>
                      </a:cubicBezTo>
                      <a:cubicBezTo>
                        <a:pt x="109" y="44"/>
                        <a:pt x="116" y="70"/>
                        <a:pt x="111" y="95"/>
                      </a:cubicBezTo>
                      <a:cubicBezTo>
                        <a:pt x="104" y="126"/>
                        <a:pt x="97" y="173"/>
                        <a:pt x="93" y="223"/>
                      </a:cubicBezTo>
                      <a:cubicBezTo>
                        <a:pt x="92" y="236"/>
                        <a:pt x="81" y="247"/>
                        <a:pt x="67" y="247"/>
                      </a:cubicBezTo>
                      <a:cubicBezTo>
                        <a:pt x="67" y="247"/>
                        <a:pt x="67" y="247"/>
                        <a:pt x="67" y="247"/>
                      </a:cubicBezTo>
                      <a:cubicBezTo>
                        <a:pt x="55" y="247"/>
                        <a:pt x="44" y="238"/>
                        <a:pt x="42" y="225"/>
                      </a:cubicBezTo>
                      <a:cubicBezTo>
                        <a:pt x="37" y="189"/>
                        <a:pt x="29" y="118"/>
                        <a:pt x="48" y="77"/>
                      </a:cubicBezTo>
                      <a:cubicBezTo>
                        <a:pt x="46" y="77"/>
                        <a:pt x="46" y="77"/>
                        <a:pt x="46" y="77"/>
                      </a:cubicBezTo>
                      <a:cubicBezTo>
                        <a:pt x="36" y="77"/>
                        <a:pt x="18" y="86"/>
                        <a:pt x="11" y="80"/>
                      </a:cubicBezTo>
                      <a:cubicBezTo>
                        <a:pt x="0" y="70"/>
                        <a:pt x="3" y="42"/>
                        <a:pt x="7" y="26"/>
                      </a:cubicBezTo>
                      <a:cubicBezTo>
                        <a:pt x="7" y="26"/>
                        <a:pt x="7" y="25"/>
                        <a:pt x="7" y="25"/>
                      </a:cubicBezTo>
                      <a:cubicBezTo>
                        <a:pt x="51" y="5"/>
                        <a:pt x="51" y="5"/>
                        <a:pt x="51" y="5"/>
                      </a:cubicBezTo>
                      <a:cubicBezTo>
                        <a:pt x="62" y="0"/>
                        <a:pt x="74" y="3"/>
                        <a:pt x="82" y="12"/>
                      </a:cubicBezTo>
                      <a:close/>
                    </a:path>
                  </a:pathLst>
                </a:custGeom>
                <a:solidFill>
                  <a:srgbClr val="FBCCD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107" name="Freeform 65">
                  <a:extLst>
                    <a:ext uri="{FF2B5EF4-FFF2-40B4-BE49-F238E27FC236}">
                      <a16:creationId xmlns:a16="http://schemas.microsoft.com/office/drawing/2014/main" id="{582613C3-CD1A-BADF-EE0D-CFB54F409FF8}"/>
                    </a:ext>
                  </a:extLst>
                </p:cNvPr>
                <p:cNvSpPr/>
                <p:nvPr/>
              </p:nvSpPr>
              <p:spPr bwMode="auto">
                <a:xfrm>
                  <a:off x="10215474" y="4015460"/>
                  <a:ext cx="131554" cy="31323"/>
                </a:xfrm>
                <a:custGeom>
                  <a:avLst/>
                  <a:gdLst>
                    <a:gd name="T0" fmla="*/ 49 w 51"/>
                    <a:gd name="T1" fmla="*/ 12 h 12"/>
                    <a:gd name="T2" fmla="*/ 3 w 51"/>
                    <a:gd name="T3" fmla="*/ 12 h 12"/>
                    <a:gd name="T4" fmla="*/ 0 w 51"/>
                    <a:gd name="T5" fmla="*/ 10 h 12"/>
                    <a:gd name="T6" fmla="*/ 0 w 51"/>
                    <a:gd name="T7" fmla="*/ 3 h 12"/>
                    <a:gd name="T8" fmla="*/ 3 w 51"/>
                    <a:gd name="T9" fmla="*/ 0 h 12"/>
                    <a:gd name="T10" fmla="*/ 49 w 51"/>
                    <a:gd name="T11" fmla="*/ 0 h 12"/>
                    <a:gd name="T12" fmla="*/ 51 w 51"/>
                    <a:gd name="T13" fmla="*/ 3 h 12"/>
                    <a:gd name="T14" fmla="*/ 51 w 51"/>
                    <a:gd name="T15" fmla="*/ 10 h 12"/>
                    <a:gd name="T16" fmla="*/ 49 w 51"/>
                    <a:gd name="T17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1" h="12">
                      <a:moveTo>
                        <a:pt x="49" y="12"/>
                      </a:moveTo>
                      <a:cubicBezTo>
                        <a:pt x="3" y="12"/>
                        <a:pt x="3" y="12"/>
                        <a:pt x="3" y="12"/>
                      </a:cubicBezTo>
                      <a:cubicBezTo>
                        <a:pt x="1" y="12"/>
                        <a:pt x="0" y="11"/>
                        <a:pt x="0" y="1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1"/>
                        <a:pt x="1" y="0"/>
                        <a:pt x="3" y="0"/>
                      </a:cubicBezTo>
                      <a:cubicBezTo>
                        <a:pt x="49" y="0"/>
                        <a:pt x="49" y="0"/>
                        <a:pt x="49" y="0"/>
                      </a:cubicBezTo>
                      <a:cubicBezTo>
                        <a:pt x="50" y="0"/>
                        <a:pt x="51" y="1"/>
                        <a:pt x="51" y="3"/>
                      </a:cubicBezTo>
                      <a:cubicBezTo>
                        <a:pt x="51" y="10"/>
                        <a:pt x="51" y="10"/>
                        <a:pt x="51" y="10"/>
                      </a:cubicBezTo>
                      <a:cubicBezTo>
                        <a:pt x="51" y="11"/>
                        <a:pt x="50" y="12"/>
                        <a:pt x="49" y="12"/>
                      </a:cubicBezTo>
                      <a:close/>
                    </a:path>
                  </a:pathLst>
                </a:custGeom>
                <a:solidFill>
                  <a:srgbClr val="4472C4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108" name="Freeform 71">
                  <a:extLst>
                    <a:ext uri="{FF2B5EF4-FFF2-40B4-BE49-F238E27FC236}">
                      <a16:creationId xmlns:a16="http://schemas.microsoft.com/office/drawing/2014/main" id="{2F3187D5-2E32-5BE3-CD20-D2251EF7579E}"/>
                    </a:ext>
                  </a:extLst>
                </p:cNvPr>
                <p:cNvSpPr/>
                <p:nvPr/>
              </p:nvSpPr>
              <p:spPr bwMode="auto">
                <a:xfrm>
                  <a:off x="10323538" y="4015460"/>
                  <a:ext cx="128421" cy="31323"/>
                </a:xfrm>
                <a:custGeom>
                  <a:avLst/>
                  <a:gdLst>
                    <a:gd name="T0" fmla="*/ 48 w 50"/>
                    <a:gd name="T1" fmla="*/ 12 h 12"/>
                    <a:gd name="T2" fmla="*/ 2 w 50"/>
                    <a:gd name="T3" fmla="*/ 12 h 12"/>
                    <a:gd name="T4" fmla="*/ 0 w 50"/>
                    <a:gd name="T5" fmla="*/ 10 h 12"/>
                    <a:gd name="T6" fmla="*/ 0 w 50"/>
                    <a:gd name="T7" fmla="*/ 3 h 12"/>
                    <a:gd name="T8" fmla="*/ 2 w 50"/>
                    <a:gd name="T9" fmla="*/ 0 h 12"/>
                    <a:gd name="T10" fmla="*/ 48 w 50"/>
                    <a:gd name="T11" fmla="*/ 0 h 12"/>
                    <a:gd name="T12" fmla="*/ 50 w 50"/>
                    <a:gd name="T13" fmla="*/ 3 h 12"/>
                    <a:gd name="T14" fmla="*/ 50 w 50"/>
                    <a:gd name="T15" fmla="*/ 10 h 12"/>
                    <a:gd name="T16" fmla="*/ 48 w 50"/>
                    <a:gd name="T17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0" h="12">
                      <a:moveTo>
                        <a:pt x="48" y="12"/>
                      </a:moveTo>
                      <a:cubicBezTo>
                        <a:pt x="2" y="12"/>
                        <a:pt x="2" y="12"/>
                        <a:pt x="2" y="12"/>
                      </a:cubicBezTo>
                      <a:cubicBezTo>
                        <a:pt x="1" y="12"/>
                        <a:pt x="0" y="11"/>
                        <a:pt x="0" y="10"/>
                      </a:cubicBezTo>
                      <a:cubicBezTo>
                        <a:pt x="0" y="3"/>
                        <a:pt x="0" y="3"/>
                        <a:pt x="0" y="3"/>
                      </a:cubicBezTo>
                      <a:cubicBezTo>
                        <a:pt x="0" y="1"/>
                        <a:pt x="1" y="0"/>
                        <a:pt x="2" y="0"/>
                      </a:cubicBez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9" y="0"/>
                        <a:pt x="50" y="1"/>
                        <a:pt x="50" y="3"/>
                      </a:cubicBezTo>
                      <a:cubicBezTo>
                        <a:pt x="50" y="10"/>
                        <a:pt x="50" y="10"/>
                        <a:pt x="50" y="10"/>
                      </a:cubicBezTo>
                      <a:cubicBezTo>
                        <a:pt x="50" y="11"/>
                        <a:pt x="49" y="12"/>
                        <a:pt x="48" y="12"/>
                      </a:cubicBezTo>
                      <a:close/>
                    </a:path>
                  </a:pathLst>
                </a:custGeom>
                <a:solidFill>
                  <a:srgbClr val="4472C4">
                    <a:lumMod val="40000"/>
                    <a:lumOff val="60000"/>
                  </a:srgbClr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109" name="Freeform 73">
                  <a:extLst>
                    <a:ext uri="{FF2B5EF4-FFF2-40B4-BE49-F238E27FC236}">
                      <a16:creationId xmlns:a16="http://schemas.microsoft.com/office/drawing/2014/main" id="{C216432D-7E3E-A2C9-3106-0D298660D99A}"/>
                    </a:ext>
                  </a:extLst>
                </p:cNvPr>
                <p:cNvSpPr/>
                <p:nvPr/>
              </p:nvSpPr>
              <p:spPr bwMode="auto">
                <a:xfrm>
                  <a:off x="10121507" y="3172889"/>
                  <a:ext cx="306959" cy="369604"/>
                </a:xfrm>
                <a:custGeom>
                  <a:avLst/>
                  <a:gdLst>
                    <a:gd name="T0" fmla="*/ 51 w 120"/>
                    <a:gd name="T1" fmla="*/ 8 h 144"/>
                    <a:gd name="T2" fmla="*/ 23 w 120"/>
                    <a:gd name="T3" fmla="*/ 21 h 144"/>
                    <a:gd name="T4" fmla="*/ 5 w 120"/>
                    <a:gd name="T5" fmla="*/ 61 h 144"/>
                    <a:gd name="T6" fmla="*/ 39 w 120"/>
                    <a:gd name="T7" fmla="*/ 144 h 144"/>
                    <a:gd name="T8" fmla="*/ 120 w 120"/>
                    <a:gd name="T9" fmla="*/ 105 h 144"/>
                    <a:gd name="T10" fmla="*/ 95 w 120"/>
                    <a:gd name="T11" fmla="*/ 31 h 144"/>
                    <a:gd name="T12" fmla="*/ 51 w 120"/>
                    <a:gd name="T13" fmla="*/ 8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0" h="144">
                      <a:moveTo>
                        <a:pt x="51" y="8"/>
                      </a:moveTo>
                      <a:cubicBezTo>
                        <a:pt x="40" y="13"/>
                        <a:pt x="32" y="16"/>
                        <a:pt x="23" y="21"/>
                      </a:cubicBezTo>
                      <a:cubicBezTo>
                        <a:pt x="7" y="28"/>
                        <a:pt x="0" y="45"/>
                        <a:pt x="5" y="61"/>
                      </a:cubicBezTo>
                      <a:cubicBezTo>
                        <a:pt x="5" y="62"/>
                        <a:pt x="39" y="144"/>
                        <a:pt x="39" y="144"/>
                      </a:cubicBezTo>
                      <a:cubicBezTo>
                        <a:pt x="120" y="105"/>
                        <a:pt x="120" y="105"/>
                        <a:pt x="120" y="105"/>
                      </a:cubicBezTo>
                      <a:cubicBezTo>
                        <a:pt x="120" y="105"/>
                        <a:pt x="100" y="57"/>
                        <a:pt x="95" y="31"/>
                      </a:cubicBezTo>
                      <a:cubicBezTo>
                        <a:pt x="91" y="11"/>
                        <a:pt x="69" y="0"/>
                        <a:pt x="51" y="8"/>
                      </a:cubicBezTo>
                      <a:close/>
                    </a:path>
                  </a:pathLst>
                </a:custGeom>
                <a:solidFill>
                  <a:srgbClr val="252F5F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</p:grpSp>
          <p:grpSp>
            <p:nvGrpSpPr>
              <p:cNvPr id="152" name="Group 151">
                <a:extLst>
                  <a:ext uri="{FF2B5EF4-FFF2-40B4-BE49-F238E27FC236}">
                    <a16:creationId xmlns:a16="http://schemas.microsoft.com/office/drawing/2014/main" id="{B69608C7-0C10-110F-D44E-4C57F496B0CF}"/>
                  </a:ext>
                </a:extLst>
              </p:cNvPr>
              <p:cNvGrpSpPr/>
              <p:nvPr/>
            </p:nvGrpSpPr>
            <p:grpSpPr>
              <a:xfrm rot="1806722">
                <a:off x="7333946" y="2249376"/>
                <a:ext cx="1544969" cy="1547813"/>
                <a:chOff x="9104626" y="2828925"/>
                <a:chExt cx="1544969" cy="1547813"/>
              </a:xfrm>
            </p:grpSpPr>
            <p:sp>
              <p:nvSpPr>
                <p:cNvPr id="153" name="Freeform: Shape 152">
                  <a:extLst>
                    <a:ext uri="{FF2B5EF4-FFF2-40B4-BE49-F238E27FC236}">
                      <a16:creationId xmlns:a16="http://schemas.microsoft.com/office/drawing/2014/main" id="{30C38073-431E-8A8C-4849-8B246C44E467}"/>
                    </a:ext>
                  </a:extLst>
                </p:cNvPr>
                <p:cNvSpPr/>
                <p:nvPr/>
              </p:nvSpPr>
              <p:spPr>
                <a:xfrm>
                  <a:off x="9757088" y="3433763"/>
                  <a:ext cx="892507" cy="942975"/>
                </a:xfrm>
                <a:custGeom>
                  <a:avLst/>
                  <a:gdLst>
                    <a:gd name="connsiteX0" fmla="*/ 1332 w 892414"/>
                    <a:gd name="connsiteY0" fmla="*/ 295275 h 942975"/>
                    <a:gd name="connsiteX1" fmla="*/ 6094 w 892414"/>
                    <a:gd name="connsiteY1" fmla="*/ 457200 h 942975"/>
                    <a:gd name="connsiteX2" fmla="*/ 10857 w 892414"/>
                    <a:gd name="connsiteY2" fmla="*/ 476250 h 942975"/>
                    <a:gd name="connsiteX3" fmla="*/ 15619 w 892414"/>
                    <a:gd name="connsiteY3" fmla="*/ 519112 h 942975"/>
                    <a:gd name="connsiteX4" fmla="*/ 29907 w 892414"/>
                    <a:gd name="connsiteY4" fmla="*/ 542925 h 942975"/>
                    <a:gd name="connsiteX5" fmla="*/ 44194 w 892414"/>
                    <a:gd name="connsiteY5" fmla="*/ 547687 h 942975"/>
                    <a:gd name="connsiteX6" fmla="*/ 68007 w 892414"/>
                    <a:gd name="connsiteY6" fmla="*/ 552450 h 942975"/>
                    <a:gd name="connsiteX7" fmla="*/ 101344 w 892414"/>
                    <a:gd name="connsiteY7" fmla="*/ 542925 h 942975"/>
                    <a:gd name="connsiteX8" fmla="*/ 129919 w 892414"/>
                    <a:gd name="connsiteY8" fmla="*/ 519112 h 942975"/>
                    <a:gd name="connsiteX9" fmla="*/ 144207 w 892414"/>
                    <a:gd name="connsiteY9" fmla="*/ 509587 h 942975"/>
                    <a:gd name="connsiteX10" fmla="*/ 220407 w 892414"/>
                    <a:gd name="connsiteY10" fmla="*/ 514350 h 942975"/>
                    <a:gd name="connsiteX11" fmla="*/ 234694 w 892414"/>
                    <a:gd name="connsiteY11" fmla="*/ 519112 h 942975"/>
                    <a:gd name="connsiteX12" fmla="*/ 248982 w 892414"/>
                    <a:gd name="connsiteY12" fmla="*/ 542925 h 942975"/>
                    <a:gd name="connsiteX13" fmla="*/ 234694 w 892414"/>
                    <a:gd name="connsiteY13" fmla="*/ 628650 h 942975"/>
                    <a:gd name="connsiteX14" fmla="*/ 225169 w 892414"/>
                    <a:gd name="connsiteY14" fmla="*/ 652462 h 942975"/>
                    <a:gd name="connsiteX15" fmla="*/ 187069 w 892414"/>
                    <a:gd name="connsiteY15" fmla="*/ 671512 h 942975"/>
                    <a:gd name="connsiteX16" fmla="*/ 153732 w 892414"/>
                    <a:gd name="connsiteY16" fmla="*/ 661987 h 942975"/>
                    <a:gd name="connsiteX17" fmla="*/ 134682 w 892414"/>
                    <a:gd name="connsiteY17" fmla="*/ 647700 h 942975"/>
                    <a:gd name="connsiteX18" fmla="*/ 110869 w 892414"/>
                    <a:gd name="connsiteY18" fmla="*/ 619125 h 942975"/>
                    <a:gd name="connsiteX19" fmla="*/ 25144 w 892414"/>
                    <a:gd name="connsiteY19" fmla="*/ 623887 h 942975"/>
                    <a:gd name="connsiteX20" fmla="*/ 20382 w 892414"/>
                    <a:gd name="connsiteY20" fmla="*/ 638175 h 942975"/>
                    <a:gd name="connsiteX21" fmla="*/ 25144 w 892414"/>
                    <a:gd name="connsiteY21" fmla="*/ 690562 h 942975"/>
                    <a:gd name="connsiteX22" fmla="*/ 29907 w 892414"/>
                    <a:gd name="connsiteY22" fmla="*/ 704850 h 942975"/>
                    <a:gd name="connsiteX23" fmla="*/ 34669 w 892414"/>
                    <a:gd name="connsiteY23" fmla="*/ 914400 h 942975"/>
                    <a:gd name="connsiteX24" fmla="*/ 120394 w 892414"/>
                    <a:gd name="connsiteY24" fmla="*/ 919162 h 942975"/>
                    <a:gd name="connsiteX25" fmla="*/ 134682 w 892414"/>
                    <a:gd name="connsiteY25" fmla="*/ 923925 h 942975"/>
                    <a:gd name="connsiteX26" fmla="*/ 253744 w 892414"/>
                    <a:gd name="connsiteY26" fmla="*/ 928687 h 942975"/>
                    <a:gd name="connsiteX27" fmla="*/ 277557 w 892414"/>
                    <a:gd name="connsiteY27" fmla="*/ 923925 h 942975"/>
                    <a:gd name="connsiteX28" fmla="*/ 263269 w 892414"/>
                    <a:gd name="connsiteY28" fmla="*/ 881062 h 942975"/>
                    <a:gd name="connsiteX29" fmla="*/ 253744 w 892414"/>
                    <a:gd name="connsiteY29" fmla="*/ 842962 h 942975"/>
                    <a:gd name="connsiteX30" fmla="*/ 248982 w 892414"/>
                    <a:gd name="connsiteY30" fmla="*/ 828675 h 942975"/>
                    <a:gd name="connsiteX31" fmla="*/ 239457 w 892414"/>
                    <a:gd name="connsiteY31" fmla="*/ 785812 h 942975"/>
                    <a:gd name="connsiteX32" fmla="*/ 248982 w 892414"/>
                    <a:gd name="connsiteY32" fmla="*/ 742950 h 942975"/>
                    <a:gd name="connsiteX33" fmla="*/ 277557 w 892414"/>
                    <a:gd name="connsiteY33" fmla="*/ 728662 h 942975"/>
                    <a:gd name="connsiteX34" fmla="*/ 306132 w 892414"/>
                    <a:gd name="connsiteY34" fmla="*/ 719137 h 942975"/>
                    <a:gd name="connsiteX35" fmla="*/ 358519 w 892414"/>
                    <a:gd name="connsiteY35" fmla="*/ 728662 h 942975"/>
                    <a:gd name="connsiteX36" fmla="*/ 396619 w 892414"/>
                    <a:gd name="connsiteY36" fmla="*/ 776287 h 942975"/>
                    <a:gd name="connsiteX37" fmla="*/ 391857 w 892414"/>
                    <a:gd name="connsiteY37" fmla="*/ 876300 h 942975"/>
                    <a:gd name="connsiteX38" fmla="*/ 391857 w 892414"/>
                    <a:gd name="connsiteY38" fmla="*/ 919162 h 942975"/>
                    <a:gd name="connsiteX39" fmla="*/ 420432 w 892414"/>
                    <a:gd name="connsiteY39" fmla="*/ 928687 h 942975"/>
                    <a:gd name="connsiteX40" fmla="*/ 515682 w 892414"/>
                    <a:gd name="connsiteY40" fmla="*/ 933450 h 942975"/>
                    <a:gd name="connsiteX41" fmla="*/ 558544 w 892414"/>
                    <a:gd name="connsiteY41" fmla="*/ 938212 h 942975"/>
                    <a:gd name="connsiteX42" fmla="*/ 596644 w 892414"/>
                    <a:gd name="connsiteY42" fmla="*/ 942975 h 942975"/>
                    <a:gd name="connsiteX43" fmla="*/ 634744 w 892414"/>
                    <a:gd name="connsiteY43" fmla="*/ 938212 h 942975"/>
                    <a:gd name="connsiteX44" fmla="*/ 653794 w 892414"/>
                    <a:gd name="connsiteY44" fmla="*/ 695325 h 942975"/>
                    <a:gd name="connsiteX45" fmla="*/ 668082 w 892414"/>
                    <a:gd name="connsiteY45" fmla="*/ 700087 h 942975"/>
                    <a:gd name="connsiteX46" fmla="*/ 734757 w 892414"/>
                    <a:gd name="connsiteY46" fmla="*/ 728662 h 942975"/>
                    <a:gd name="connsiteX47" fmla="*/ 844294 w 892414"/>
                    <a:gd name="connsiteY47" fmla="*/ 733425 h 942975"/>
                    <a:gd name="connsiteX48" fmla="*/ 877632 w 892414"/>
                    <a:gd name="connsiteY48" fmla="*/ 681037 h 942975"/>
                    <a:gd name="connsiteX49" fmla="*/ 882394 w 892414"/>
                    <a:gd name="connsiteY49" fmla="*/ 661987 h 942975"/>
                    <a:gd name="connsiteX50" fmla="*/ 891919 w 892414"/>
                    <a:gd name="connsiteY50" fmla="*/ 642937 h 942975"/>
                    <a:gd name="connsiteX51" fmla="*/ 887157 w 892414"/>
                    <a:gd name="connsiteY51" fmla="*/ 576262 h 942975"/>
                    <a:gd name="connsiteX52" fmla="*/ 872869 w 892414"/>
                    <a:gd name="connsiteY52" fmla="*/ 561975 h 942975"/>
                    <a:gd name="connsiteX53" fmla="*/ 853819 w 892414"/>
                    <a:gd name="connsiteY53" fmla="*/ 528637 h 942975"/>
                    <a:gd name="connsiteX54" fmla="*/ 839532 w 892414"/>
                    <a:gd name="connsiteY54" fmla="*/ 514350 h 942975"/>
                    <a:gd name="connsiteX55" fmla="*/ 810957 w 892414"/>
                    <a:gd name="connsiteY55" fmla="*/ 509587 h 942975"/>
                    <a:gd name="connsiteX56" fmla="*/ 696657 w 892414"/>
                    <a:gd name="connsiteY56" fmla="*/ 528637 h 942975"/>
                    <a:gd name="connsiteX57" fmla="*/ 668082 w 892414"/>
                    <a:gd name="connsiteY57" fmla="*/ 557212 h 942975"/>
                    <a:gd name="connsiteX58" fmla="*/ 653794 w 892414"/>
                    <a:gd name="connsiteY58" fmla="*/ 566737 h 942975"/>
                    <a:gd name="connsiteX59" fmla="*/ 649032 w 892414"/>
                    <a:gd name="connsiteY59" fmla="*/ 547687 h 942975"/>
                    <a:gd name="connsiteX60" fmla="*/ 644269 w 892414"/>
                    <a:gd name="connsiteY60" fmla="*/ 533400 h 942975"/>
                    <a:gd name="connsiteX61" fmla="*/ 649032 w 892414"/>
                    <a:gd name="connsiteY61" fmla="*/ 471487 h 942975"/>
                    <a:gd name="connsiteX62" fmla="*/ 644269 w 892414"/>
                    <a:gd name="connsiteY62" fmla="*/ 285750 h 942975"/>
                    <a:gd name="connsiteX63" fmla="*/ 634744 w 892414"/>
                    <a:gd name="connsiteY63" fmla="*/ 266700 h 942975"/>
                    <a:gd name="connsiteX64" fmla="*/ 606169 w 892414"/>
                    <a:gd name="connsiteY64" fmla="*/ 261937 h 942975"/>
                    <a:gd name="connsiteX65" fmla="*/ 506157 w 892414"/>
                    <a:gd name="connsiteY65" fmla="*/ 266700 h 942975"/>
                    <a:gd name="connsiteX66" fmla="*/ 434719 w 892414"/>
                    <a:gd name="connsiteY66" fmla="*/ 261937 h 942975"/>
                    <a:gd name="connsiteX67" fmla="*/ 425194 w 892414"/>
                    <a:gd name="connsiteY67" fmla="*/ 228600 h 942975"/>
                    <a:gd name="connsiteX68" fmla="*/ 434719 w 892414"/>
                    <a:gd name="connsiteY68" fmla="*/ 176212 h 942975"/>
                    <a:gd name="connsiteX69" fmla="*/ 444244 w 892414"/>
                    <a:gd name="connsiteY69" fmla="*/ 152400 h 942975"/>
                    <a:gd name="connsiteX70" fmla="*/ 449007 w 892414"/>
                    <a:gd name="connsiteY70" fmla="*/ 138112 h 942975"/>
                    <a:gd name="connsiteX71" fmla="*/ 439482 w 892414"/>
                    <a:gd name="connsiteY71" fmla="*/ 71437 h 942975"/>
                    <a:gd name="connsiteX72" fmla="*/ 429957 w 892414"/>
                    <a:gd name="connsiteY72" fmla="*/ 57150 h 942975"/>
                    <a:gd name="connsiteX73" fmla="*/ 410907 w 892414"/>
                    <a:gd name="connsiteY73" fmla="*/ 33337 h 942975"/>
                    <a:gd name="connsiteX74" fmla="*/ 396619 w 892414"/>
                    <a:gd name="connsiteY74" fmla="*/ 19050 h 942975"/>
                    <a:gd name="connsiteX75" fmla="*/ 320419 w 892414"/>
                    <a:gd name="connsiteY75" fmla="*/ 0 h 942975"/>
                    <a:gd name="connsiteX76" fmla="*/ 263269 w 892414"/>
                    <a:gd name="connsiteY76" fmla="*/ 9525 h 942975"/>
                    <a:gd name="connsiteX77" fmla="*/ 206119 w 892414"/>
                    <a:gd name="connsiteY77" fmla="*/ 66675 h 942975"/>
                    <a:gd name="connsiteX78" fmla="*/ 201357 w 892414"/>
                    <a:gd name="connsiteY78" fmla="*/ 80962 h 942975"/>
                    <a:gd name="connsiteX79" fmla="*/ 191832 w 892414"/>
                    <a:gd name="connsiteY79" fmla="*/ 100012 h 942975"/>
                    <a:gd name="connsiteX80" fmla="*/ 196594 w 892414"/>
                    <a:gd name="connsiteY80" fmla="*/ 166687 h 942975"/>
                    <a:gd name="connsiteX81" fmla="*/ 206119 w 892414"/>
                    <a:gd name="connsiteY81" fmla="*/ 185737 h 942975"/>
                    <a:gd name="connsiteX82" fmla="*/ 234694 w 892414"/>
                    <a:gd name="connsiteY82" fmla="*/ 223837 h 942975"/>
                    <a:gd name="connsiteX83" fmla="*/ 239457 w 892414"/>
                    <a:gd name="connsiteY83" fmla="*/ 242887 h 942975"/>
                    <a:gd name="connsiteX84" fmla="*/ 244219 w 892414"/>
                    <a:gd name="connsiteY84" fmla="*/ 257175 h 942975"/>
                    <a:gd name="connsiteX85" fmla="*/ 239457 w 892414"/>
                    <a:gd name="connsiteY85" fmla="*/ 280987 h 942975"/>
                    <a:gd name="connsiteX86" fmla="*/ 206119 w 892414"/>
                    <a:gd name="connsiteY86" fmla="*/ 276225 h 942975"/>
                    <a:gd name="connsiteX87" fmla="*/ 177544 w 892414"/>
                    <a:gd name="connsiteY87" fmla="*/ 271462 h 942975"/>
                    <a:gd name="connsiteX88" fmla="*/ 29907 w 892414"/>
                    <a:gd name="connsiteY88" fmla="*/ 280987 h 942975"/>
                    <a:gd name="connsiteX89" fmla="*/ 1332 w 892414"/>
                    <a:gd name="connsiteY89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53819 w 892564"/>
                    <a:gd name="connsiteY52" fmla="*/ 528637 h 942975"/>
                    <a:gd name="connsiteX53" fmla="*/ 839532 w 892564"/>
                    <a:gd name="connsiteY53" fmla="*/ 514350 h 942975"/>
                    <a:gd name="connsiteX54" fmla="*/ 810957 w 892564"/>
                    <a:gd name="connsiteY54" fmla="*/ 509587 h 942975"/>
                    <a:gd name="connsiteX55" fmla="*/ 696657 w 892564"/>
                    <a:gd name="connsiteY55" fmla="*/ 528637 h 942975"/>
                    <a:gd name="connsiteX56" fmla="*/ 668082 w 892564"/>
                    <a:gd name="connsiteY56" fmla="*/ 557212 h 942975"/>
                    <a:gd name="connsiteX57" fmla="*/ 653794 w 892564"/>
                    <a:gd name="connsiteY57" fmla="*/ 566737 h 942975"/>
                    <a:gd name="connsiteX58" fmla="*/ 649032 w 892564"/>
                    <a:gd name="connsiteY58" fmla="*/ 547687 h 942975"/>
                    <a:gd name="connsiteX59" fmla="*/ 644269 w 892564"/>
                    <a:gd name="connsiteY59" fmla="*/ 533400 h 942975"/>
                    <a:gd name="connsiteX60" fmla="*/ 649032 w 892564"/>
                    <a:gd name="connsiteY60" fmla="*/ 471487 h 942975"/>
                    <a:gd name="connsiteX61" fmla="*/ 644269 w 892564"/>
                    <a:gd name="connsiteY61" fmla="*/ 285750 h 942975"/>
                    <a:gd name="connsiteX62" fmla="*/ 634744 w 892564"/>
                    <a:gd name="connsiteY62" fmla="*/ 266700 h 942975"/>
                    <a:gd name="connsiteX63" fmla="*/ 606169 w 892564"/>
                    <a:gd name="connsiteY63" fmla="*/ 261937 h 942975"/>
                    <a:gd name="connsiteX64" fmla="*/ 506157 w 892564"/>
                    <a:gd name="connsiteY64" fmla="*/ 266700 h 942975"/>
                    <a:gd name="connsiteX65" fmla="*/ 434719 w 892564"/>
                    <a:gd name="connsiteY65" fmla="*/ 261937 h 942975"/>
                    <a:gd name="connsiteX66" fmla="*/ 425194 w 892564"/>
                    <a:gd name="connsiteY66" fmla="*/ 228600 h 942975"/>
                    <a:gd name="connsiteX67" fmla="*/ 434719 w 892564"/>
                    <a:gd name="connsiteY67" fmla="*/ 176212 h 942975"/>
                    <a:gd name="connsiteX68" fmla="*/ 444244 w 892564"/>
                    <a:gd name="connsiteY68" fmla="*/ 152400 h 942975"/>
                    <a:gd name="connsiteX69" fmla="*/ 449007 w 892564"/>
                    <a:gd name="connsiteY69" fmla="*/ 138112 h 942975"/>
                    <a:gd name="connsiteX70" fmla="*/ 439482 w 892564"/>
                    <a:gd name="connsiteY70" fmla="*/ 71437 h 942975"/>
                    <a:gd name="connsiteX71" fmla="*/ 429957 w 892564"/>
                    <a:gd name="connsiteY71" fmla="*/ 57150 h 942975"/>
                    <a:gd name="connsiteX72" fmla="*/ 410907 w 892564"/>
                    <a:gd name="connsiteY72" fmla="*/ 33337 h 942975"/>
                    <a:gd name="connsiteX73" fmla="*/ 396619 w 892564"/>
                    <a:gd name="connsiteY73" fmla="*/ 19050 h 942975"/>
                    <a:gd name="connsiteX74" fmla="*/ 320419 w 892564"/>
                    <a:gd name="connsiteY74" fmla="*/ 0 h 942975"/>
                    <a:gd name="connsiteX75" fmla="*/ 263269 w 892564"/>
                    <a:gd name="connsiteY75" fmla="*/ 9525 h 942975"/>
                    <a:gd name="connsiteX76" fmla="*/ 206119 w 892564"/>
                    <a:gd name="connsiteY76" fmla="*/ 66675 h 942975"/>
                    <a:gd name="connsiteX77" fmla="*/ 201357 w 892564"/>
                    <a:gd name="connsiteY77" fmla="*/ 80962 h 942975"/>
                    <a:gd name="connsiteX78" fmla="*/ 191832 w 892564"/>
                    <a:gd name="connsiteY78" fmla="*/ 100012 h 942975"/>
                    <a:gd name="connsiteX79" fmla="*/ 196594 w 892564"/>
                    <a:gd name="connsiteY79" fmla="*/ 166687 h 942975"/>
                    <a:gd name="connsiteX80" fmla="*/ 206119 w 892564"/>
                    <a:gd name="connsiteY80" fmla="*/ 185737 h 942975"/>
                    <a:gd name="connsiteX81" fmla="*/ 234694 w 892564"/>
                    <a:gd name="connsiteY81" fmla="*/ 223837 h 942975"/>
                    <a:gd name="connsiteX82" fmla="*/ 239457 w 892564"/>
                    <a:gd name="connsiteY82" fmla="*/ 242887 h 942975"/>
                    <a:gd name="connsiteX83" fmla="*/ 244219 w 892564"/>
                    <a:gd name="connsiteY83" fmla="*/ 257175 h 942975"/>
                    <a:gd name="connsiteX84" fmla="*/ 239457 w 892564"/>
                    <a:gd name="connsiteY84" fmla="*/ 280987 h 942975"/>
                    <a:gd name="connsiteX85" fmla="*/ 206119 w 892564"/>
                    <a:gd name="connsiteY85" fmla="*/ 276225 h 942975"/>
                    <a:gd name="connsiteX86" fmla="*/ 177544 w 892564"/>
                    <a:gd name="connsiteY86" fmla="*/ 271462 h 942975"/>
                    <a:gd name="connsiteX87" fmla="*/ 29907 w 892564"/>
                    <a:gd name="connsiteY87" fmla="*/ 280987 h 942975"/>
                    <a:gd name="connsiteX88" fmla="*/ 1332 w 892564"/>
                    <a:gd name="connsiteY88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39532 w 892564"/>
                    <a:gd name="connsiteY52" fmla="*/ 514350 h 942975"/>
                    <a:gd name="connsiteX53" fmla="*/ 810957 w 892564"/>
                    <a:gd name="connsiteY53" fmla="*/ 509587 h 942975"/>
                    <a:gd name="connsiteX54" fmla="*/ 696657 w 892564"/>
                    <a:gd name="connsiteY54" fmla="*/ 528637 h 942975"/>
                    <a:gd name="connsiteX55" fmla="*/ 668082 w 892564"/>
                    <a:gd name="connsiteY55" fmla="*/ 557212 h 942975"/>
                    <a:gd name="connsiteX56" fmla="*/ 653794 w 892564"/>
                    <a:gd name="connsiteY56" fmla="*/ 566737 h 942975"/>
                    <a:gd name="connsiteX57" fmla="*/ 649032 w 892564"/>
                    <a:gd name="connsiteY57" fmla="*/ 547687 h 942975"/>
                    <a:gd name="connsiteX58" fmla="*/ 644269 w 892564"/>
                    <a:gd name="connsiteY58" fmla="*/ 533400 h 942975"/>
                    <a:gd name="connsiteX59" fmla="*/ 649032 w 892564"/>
                    <a:gd name="connsiteY59" fmla="*/ 471487 h 942975"/>
                    <a:gd name="connsiteX60" fmla="*/ 644269 w 892564"/>
                    <a:gd name="connsiteY60" fmla="*/ 285750 h 942975"/>
                    <a:gd name="connsiteX61" fmla="*/ 634744 w 892564"/>
                    <a:gd name="connsiteY61" fmla="*/ 266700 h 942975"/>
                    <a:gd name="connsiteX62" fmla="*/ 606169 w 892564"/>
                    <a:gd name="connsiteY62" fmla="*/ 261937 h 942975"/>
                    <a:gd name="connsiteX63" fmla="*/ 506157 w 892564"/>
                    <a:gd name="connsiteY63" fmla="*/ 266700 h 942975"/>
                    <a:gd name="connsiteX64" fmla="*/ 434719 w 892564"/>
                    <a:gd name="connsiteY64" fmla="*/ 261937 h 942975"/>
                    <a:gd name="connsiteX65" fmla="*/ 425194 w 892564"/>
                    <a:gd name="connsiteY65" fmla="*/ 228600 h 942975"/>
                    <a:gd name="connsiteX66" fmla="*/ 434719 w 892564"/>
                    <a:gd name="connsiteY66" fmla="*/ 176212 h 942975"/>
                    <a:gd name="connsiteX67" fmla="*/ 444244 w 892564"/>
                    <a:gd name="connsiteY67" fmla="*/ 152400 h 942975"/>
                    <a:gd name="connsiteX68" fmla="*/ 449007 w 892564"/>
                    <a:gd name="connsiteY68" fmla="*/ 138112 h 942975"/>
                    <a:gd name="connsiteX69" fmla="*/ 439482 w 892564"/>
                    <a:gd name="connsiteY69" fmla="*/ 71437 h 942975"/>
                    <a:gd name="connsiteX70" fmla="*/ 429957 w 892564"/>
                    <a:gd name="connsiteY70" fmla="*/ 57150 h 942975"/>
                    <a:gd name="connsiteX71" fmla="*/ 410907 w 892564"/>
                    <a:gd name="connsiteY71" fmla="*/ 33337 h 942975"/>
                    <a:gd name="connsiteX72" fmla="*/ 396619 w 892564"/>
                    <a:gd name="connsiteY72" fmla="*/ 19050 h 942975"/>
                    <a:gd name="connsiteX73" fmla="*/ 320419 w 892564"/>
                    <a:gd name="connsiteY73" fmla="*/ 0 h 942975"/>
                    <a:gd name="connsiteX74" fmla="*/ 263269 w 892564"/>
                    <a:gd name="connsiteY74" fmla="*/ 9525 h 942975"/>
                    <a:gd name="connsiteX75" fmla="*/ 206119 w 892564"/>
                    <a:gd name="connsiteY75" fmla="*/ 66675 h 942975"/>
                    <a:gd name="connsiteX76" fmla="*/ 201357 w 892564"/>
                    <a:gd name="connsiteY76" fmla="*/ 80962 h 942975"/>
                    <a:gd name="connsiteX77" fmla="*/ 191832 w 892564"/>
                    <a:gd name="connsiteY77" fmla="*/ 100012 h 942975"/>
                    <a:gd name="connsiteX78" fmla="*/ 196594 w 892564"/>
                    <a:gd name="connsiteY78" fmla="*/ 166687 h 942975"/>
                    <a:gd name="connsiteX79" fmla="*/ 206119 w 892564"/>
                    <a:gd name="connsiteY79" fmla="*/ 185737 h 942975"/>
                    <a:gd name="connsiteX80" fmla="*/ 234694 w 892564"/>
                    <a:gd name="connsiteY80" fmla="*/ 223837 h 942975"/>
                    <a:gd name="connsiteX81" fmla="*/ 239457 w 892564"/>
                    <a:gd name="connsiteY81" fmla="*/ 242887 h 942975"/>
                    <a:gd name="connsiteX82" fmla="*/ 244219 w 892564"/>
                    <a:gd name="connsiteY82" fmla="*/ 257175 h 942975"/>
                    <a:gd name="connsiteX83" fmla="*/ 239457 w 892564"/>
                    <a:gd name="connsiteY83" fmla="*/ 280987 h 942975"/>
                    <a:gd name="connsiteX84" fmla="*/ 206119 w 892564"/>
                    <a:gd name="connsiteY84" fmla="*/ 276225 h 942975"/>
                    <a:gd name="connsiteX85" fmla="*/ 177544 w 892564"/>
                    <a:gd name="connsiteY85" fmla="*/ 271462 h 942975"/>
                    <a:gd name="connsiteX86" fmla="*/ 29907 w 892564"/>
                    <a:gd name="connsiteY86" fmla="*/ 280987 h 942975"/>
                    <a:gd name="connsiteX87" fmla="*/ 1332 w 892564"/>
                    <a:gd name="connsiteY87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10957 w 892564"/>
                    <a:gd name="connsiteY52" fmla="*/ 509587 h 942975"/>
                    <a:gd name="connsiteX53" fmla="*/ 696657 w 892564"/>
                    <a:gd name="connsiteY53" fmla="*/ 528637 h 942975"/>
                    <a:gd name="connsiteX54" fmla="*/ 668082 w 892564"/>
                    <a:gd name="connsiteY54" fmla="*/ 557212 h 942975"/>
                    <a:gd name="connsiteX55" fmla="*/ 653794 w 892564"/>
                    <a:gd name="connsiteY55" fmla="*/ 566737 h 942975"/>
                    <a:gd name="connsiteX56" fmla="*/ 649032 w 892564"/>
                    <a:gd name="connsiteY56" fmla="*/ 547687 h 942975"/>
                    <a:gd name="connsiteX57" fmla="*/ 644269 w 892564"/>
                    <a:gd name="connsiteY57" fmla="*/ 533400 h 942975"/>
                    <a:gd name="connsiteX58" fmla="*/ 649032 w 892564"/>
                    <a:gd name="connsiteY58" fmla="*/ 471487 h 942975"/>
                    <a:gd name="connsiteX59" fmla="*/ 644269 w 892564"/>
                    <a:gd name="connsiteY59" fmla="*/ 285750 h 942975"/>
                    <a:gd name="connsiteX60" fmla="*/ 634744 w 892564"/>
                    <a:gd name="connsiteY60" fmla="*/ 266700 h 942975"/>
                    <a:gd name="connsiteX61" fmla="*/ 606169 w 892564"/>
                    <a:gd name="connsiteY61" fmla="*/ 261937 h 942975"/>
                    <a:gd name="connsiteX62" fmla="*/ 506157 w 892564"/>
                    <a:gd name="connsiteY62" fmla="*/ 266700 h 942975"/>
                    <a:gd name="connsiteX63" fmla="*/ 434719 w 892564"/>
                    <a:gd name="connsiteY63" fmla="*/ 261937 h 942975"/>
                    <a:gd name="connsiteX64" fmla="*/ 425194 w 892564"/>
                    <a:gd name="connsiteY64" fmla="*/ 228600 h 942975"/>
                    <a:gd name="connsiteX65" fmla="*/ 434719 w 892564"/>
                    <a:gd name="connsiteY65" fmla="*/ 176212 h 942975"/>
                    <a:gd name="connsiteX66" fmla="*/ 444244 w 892564"/>
                    <a:gd name="connsiteY66" fmla="*/ 152400 h 942975"/>
                    <a:gd name="connsiteX67" fmla="*/ 449007 w 892564"/>
                    <a:gd name="connsiteY67" fmla="*/ 138112 h 942975"/>
                    <a:gd name="connsiteX68" fmla="*/ 439482 w 892564"/>
                    <a:gd name="connsiteY68" fmla="*/ 71437 h 942975"/>
                    <a:gd name="connsiteX69" fmla="*/ 429957 w 892564"/>
                    <a:gd name="connsiteY69" fmla="*/ 57150 h 942975"/>
                    <a:gd name="connsiteX70" fmla="*/ 410907 w 892564"/>
                    <a:gd name="connsiteY70" fmla="*/ 33337 h 942975"/>
                    <a:gd name="connsiteX71" fmla="*/ 396619 w 892564"/>
                    <a:gd name="connsiteY71" fmla="*/ 19050 h 942975"/>
                    <a:gd name="connsiteX72" fmla="*/ 320419 w 892564"/>
                    <a:gd name="connsiteY72" fmla="*/ 0 h 942975"/>
                    <a:gd name="connsiteX73" fmla="*/ 263269 w 892564"/>
                    <a:gd name="connsiteY73" fmla="*/ 9525 h 942975"/>
                    <a:gd name="connsiteX74" fmla="*/ 206119 w 892564"/>
                    <a:gd name="connsiteY74" fmla="*/ 66675 h 942975"/>
                    <a:gd name="connsiteX75" fmla="*/ 201357 w 892564"/>
                    <a:gd name="connsiteY75" fmla="*/ 80962 h 942975"/>
                    <a:gd name="connsiteX76" fmla="*/ 191832 w 892564"/>
                    <a:gd name="connsiteY76" fmla="*/ 100012 h 942975"/>
                    <a:gd name="connsiteX77" fmla="*/ 196594 w 892564"/>
                    <a:gd name="connsiteY77" fmla="*/ 166687 h 942975"/>
                    <a:gd name="connsiteX78" fmla="*/ 206119 w 892564"/>
                    <a:gd name="connsiteY78" fmla="*/ 185737 h 942975"/>
                    <a:gd name="connsiteX79" fmla="*/ 234694 w 892564"/>
                    <a:gd name="connsiteY79" fmla="*/ 223837 h 942975"/>
                    <a:gd name="connsiteX80" fmla="*/ 239457 w 892564"/>
                    <a:gd name="connsiteY80" fmla="*/ 242887 h 942975"/>
                    <a:gd name="connsiteX81" fmla="*/ 244219 w 892564"/>
                    <a:gd name="connsiteY81" fmla="*/ 257175 h 942975"/>
                    <a:gd name="connsiteX82" fmla="*/ 239457 w 892564"/>
                    <a:gd name="connsiteY82" fmla="*/ 280987 h 942975"/>
                    <a:gd name="connsiteX83" fmla="*/ 206119 w 892564"/>
                    <a:gd name="connsiteY83" fmla="*/ 276225 h 942975"/>
                    <a:gd name="connsiteX84" fmla="*/ 177544 w 892564"/>
                    <a:gd name="connsiteY84" fmla="*/ 271462 h 942975"/>
                    <a:gd name="connsiteX85" fmla="*/ 29907 w 892564"/>
                    <a:gd name="connsiteY85" fmla="*/ 280987 h 942975"/>
                    <a:gd name="connsiteX86" fmla="*/ 1332 w 892564"/>
                    <a:gd name="connsiteY86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134682 w 892564"/>
                    <a:gd name="connsiteY24" fmla="*/ 923925 h 942975"/>
                    <a:gd name="connsiteX25" fmla="*/ 253744 w 892564"/>
                    <a:gd name="connsiteY25" fmla="*/ 928687 h 942975"/>
                    <a:gd name="connsiteX26" fmla="*/ 277557 w 892564"/>
                    <a:gd name="connsiteY26" fmla="*/ 923925 h 942975"/>
                    <a:gd name="connsiteX27" fmla="*/ 263269 w 892564"/>
                    <a:gd name="connsiteY27" fmla="*/ 881062 h 942975"/>
                    <a:gd name="connsiteX28" fmla="*/ 253744 w 892564"/>
                    <a:gd name="connsiteY28" fmla="*/ 842962 h 942975"/>
                    <a:gd name="connsiteX29" fmla="*/ 248982 w 892564"/>
                    <a:gd name="connsiteY29" fmla="*/ 828675 h 942975"/>
                    <a:gd name="connsiteX30" fmla="*/ 239457 w 892564"/>
                    <a:gd name="connsiteY30" fmla="*/ 785812 h 942975"/>
                    <a:gd name="connsiteX31" fmla="*/ 248982 w 892564"/>
                    <a:gd name="connsiteY31" fmla="*/ 742950 h 942975"/>
                    <a:gd name="connsiteX32" fmla="*/ 277557 w 892564"/>
                    <a:gd name="connsiteY32" fmla="*/ 728662 h 942975"/>
                    <a:gd name="connsiteX33" fmla="*/ 306132 w 892564"/>
                    <a:gd name="connsiteY33" fmla="*/ 719137 h 942975"/>
                    <a:gd name="connsiteX34" fmla="*/ 358519 w 892564"/>
                    <a:gd name="connsiteY34" fmla="*/ 728662 h 942975"/>
                    <a:gd name="connsiteX35" fmla="*/ 396619 w 892564"/>
                    <a:gd name="connsiteY35" fmla="*/ 776287 h 942975"/>
                    <a:gd name="connsiteX36" fmla="*/ 391857 w 892564"/>
                    <a:gd name="connsiteY36" fmla="*/ 876300 h 942975"/>
                    <a:gd name="connsiteX37" fmla="*/ 391857 w 892564"/>
                    <a:gd name="connsiteY37" fmla="*/ 919162 h 942975"/>
                    <a:gd name="connsiteX38" fmla="*/ 420432 w 892564"/>
                    <a:gd name="connsiteY38" fmla="*/ 928687 h 942975"/>
                    <a:gd name="connsiteX39" fmla="*/ 515682 w 892564"/>
                    <a:gd name="connsiteY39" fmla="*/ 933450 h 942975"/>
                    <a:gd name="connsiteX40" fmla="*/ 558544 w 892564"/>
                    <a:gd name="connsiteY40" fmla="*/ 938212 h 942975"/>
                    <a:gd name="connsiteX41" fmla="*/ 596644 w 892564"/>
                    <a:gd name="connsiteY41" fmla="*/ 942975 h 942975"/>
                    <a:gd name="connsiteX42" fmla="*/ 634744 w 892564"/>
                    <a:gd name="connsiteY42" fmla="*/ 938212 h 942975"/>
                    <a:gd name="connsiteX43" fmla="*/ 653794 w 892564"/>
                    <a:gd name="connsiteY43" fmla="*/ 695325 h 942975"/>
                    <a:gd name="connsiteX44" fmla="*/ 668082 w 892564"/>
                    <a:gd name="connsiteY44" fmla="*/ 700087 h 942975"/>
                    <a:gd name="connsiteX45" fmla="*/ 734757 w 892564"/>
                    <a:gd name="connsiteY45" fmla="*/ 728662 h 942975"/>
                    <a:gd name="connsiteX46" fmla="*/ 844294 w 892564"/>
                    <a:gd name="connsiteY46" fmla="*/ 733425 h 942975"/>
                    <a:gd name="connsiteX47" fmla="*/ 877632 w 892564"/>
                    <a:gd name="connsiteY47" fmla="*/ 681037 h 942975"/>
                    <a:gd name="connsiteX48" fmla="*/ 891919 w 892564"/>
                    <a:gd name="connsiteY48" fmla="*/ 642937 h 942975"/>
                    <a:gd name="connsiteX49" fmla="*/ 887157 w 892564"/>
                    <a:gd name="connsiteY49" fmla="*/ 576262 h 942975"/>
                    <a:gd name="connsiteX50" fmla="*/ 872869 w 892564"/>
                    <a:gd name="connsiteY50" fmla="*/ 561975 h 942975"/>
                    <a:gd name="connsiteX51" fmla="*/ 810957 w 892564"/>
                    <a:gd name="connsiteY51" fmla="*/ 509587 h 942975"/>
                    <a:gd name="connsiteX52" fmla="*/ 696657 w 892564"/>
                    <a:gd name="connsiteY52" fmla="*/ 528637 h 942975"/>
                    <a:gd name="connsiteX53" fmla="*/ 668082 w 892564"/>
                    <a:gd name="connsiteY53" fmla="*/ 557212 h 942975"/>
                    <a:gd name="connsiteX54" fmla="*/ 653794 w 892564"/>
                    <a:gd name="connsiteY54" fmla="*/ 566737 h 942975"/>
                    <a:gd name="connsiteX55" fmla="*/ 649032 w 892564"/>
                    <a:gd name="connsiteY55" fmla="*/ 547687 h 942975"/>
                    <a:gd name="connsiteX56" fmla="*/ 644269 w 892564"/>
                    <a:gd name="connsiteY56" fmla="*/ 533400 h 942975"/>
                    <a:gd name="connsiteX57" fmla="*/ 649032 w 892564"/>
                    <a:gd name="connsiteY57" fmla="*/ 471487 h 942975"/>
                    <a:gd name="connsiteX58" fmla="*/ 644269 w 892564"/>
                    <a:gd name="connsiteY58" fmla="*/ 285750 h 942975"/>
                    <a:gd name="connsiteX59" fmla="*/ 634744 w 892564"/>
                    <a:gd name="connsiteY59" fmla="*/ 266700 h 942975"/>
                    <a:gd name="connsiteX60" fmla="*/ 606169 w 892564"/>
                    <a:gd name="connsiteY60" fmla="*/ 261937 h 942975"/>
                    <a:gd name="connsiteX61" fmla="*/ 506157 w 892564"/>
                    <a:gd name="connsiteY61" fmla="*/ 266700 h 942975"/>
                    <a:gd name="connsiteX62" fmla="*/ 434719 w 892564"/>
                    <a:gd name="connsiteY62" fmla="*/ 261937 h 942975"/>
                    <a:gd name="connsiteX63" fmla="*/ 425194 w 892564"/>
                    <a:gd name="connsiteY63" fmla="*/ 228600 h 942975"/>
                    <a:gd name="connsiteX64" fmla="*/ 434719 w 892564"/>
                    <a:gd name="connsiteY64" fmla="*/ 176212 h 942975"/>
                    <a:gd name="connsiteX65" fmla="*/ 444244 w 892564"/>
                    <a:gd name="connsiteY65" fmla="*/ 152400 h 942975"/>
                    <a:gd name="connsiteX66" fmla="*/ 449007 w 892564"/>
                    <a:gd name="connsiteY66" fmla="*/ 138112 h 942975"/>
                    <a:gd name="connsiteX67" fmla="*/ 439482 w 892564"/>
                    <a:gd name="connsiteY67" fmla="*/ 71437 h 942975"/>
                    <a:gd name="connsiteX68" fmla="*/ 429957 w 892564"/>
                    <a:gd name="connsiteY68" fmla="*/ 57150 h 942975"/>
                    <a:gd name="connsiteX69" fmla="*/ 410907 w 892564"/>
                    <a:gd name="connsiteY69" fmla="*/ 33337 h 942975"/>
                    <a:gd name="connsiteX70" fmla="*/ 396619 w 892564"/>
                    <a:gd name="connsiteY70" fmla="*/ 19050 h 942975"/>
                    <a:gd name="connsiteX71" fmla="*/ 320419 w 892564"/>
                    <a:gd name="connsiteY71" fmla="*/ 0 h 942975"/>
                    <a:gd name="connsiteX72" fmla="*/ 263269 w 892564"/>
                    <a:gd name="connsiteY72" fmla="*/ 9525 h 942975"/>
                    <a:gd name="connsiteX73" fmla="*/ 206119 w 892564"/>
                    <a:gd name="connsiteY73" fmla="*/ 66675 h 942975"/>
                    <a:gd name="connsiteX74" fmla="*/ 201357 w 892564"/>
                    <a:gd name="connsiteY74" fmla="*/ 80962 h 942975"/>
                    <a:gd name="connsiteX75" fmla="*/ 191832 w 892564"/>
                    <a:gd name="connsiteY75" fmla="*/ 100012 h 942975"/>
                    <a:gd name="connsiteX76" fmla="*/ 196594 w 892564"/>
                    <a:gd name="connsiteY76" fmla="*/ 166687 h 942975"/>
                    <a:gd name="connsiteX77" fmla="*/ 206119 w 892564"/>
                    <a:gd name="connsiteY77" fmla="*/ 185737 h 942975"/>
                    <a:gd name="connsiteX78" fmla="*/ 234694 w 892564"/>
                    <a:gd name="connsiteY78" fmla="*/ 223837 h 942975"/>
                    <a:gd name="connsiteX79" fmla="*/ 239457 w 892564"/>
                    <a:gd name="connsiteY79" fmla="*/ 242887 h 942975"/>
                    <a:gd name="connsiteX80" fmla="*/ 244219 w 892564"/>
                    <a:gd name="connsiteY80" fmla="*/ 257175 h 942975"/>
                    <a:gd name="connsiteX81" fmla="*/ 239457 w 892564"/>
                    <a:gd name="connsiteY81" fmla="*/ 280987 h 942975"/>
                    <a:gd name="connsiteX82" fmla="*/ 206119 w 892564"/>
                    <a:gd name="connsiteY82" fmla="*/ 276225 h 942975"/>
                    <a:gd name="connsiteX83" fmla="*/ 177544 w 892564"/>
                    <a:gd name="connsiteY83" fmla="*/ 271462 h 942975"/>
                    <a:gd name="connsiteX84" fmla="*/ 29907 w 892564"/>
                    <a:gd name="connsiteY84" fmla="*/ 280987 h 942975"/>
                    <a:gd name="connsiteX85" fmla="*/ 1332 w 892564"/>
                    <a:gd name="connsiteY85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253744 w 892564"/>
                    <a:gd name="connsiteY24" fmla="*/ 928687 h 942975"/>
                    <a:gd name="connsiteX25" fmla="*/ 277557 w 892564"/>
                    <a:gd name="connsiteY25" fmla="*/ 923925 h 942975"/>
                    <a:gd name="connsiteX26" fmla="*/ 263269 w 892564"/>
                    <a:gd name="connsiteY26" fmla="*/ 881062 h 942975"/>
                    <a:gd name="connsiteX27" fmla="*/ 253744 w 892564"/>
                    <a:gd name="connsiteY27" fmla="*/ 842962 h 942975"/>
                    <a:gd name="connsiteX28" fmla="*/ 248982 w 892564"/>
                    <a:gd name="connsiteY28" fmla="*/ 828675 h 942975"/>
                    <a:gd name="connsiteX29" fmla="*/ 239457 w 892564"/>
                    <a:gd name="connsiteY29" fmla="*/ 785812 h 942975"/>
                    <a:gd name="connsiteX30" fmla="*/ 248982 w 892564"/>
                    <a:gd name="connsiteY30" fmla="*/ 742950 h 942975"/>
                    <a:gd name="connsiteX31" fmla="*/ 277557 w 892564"/>
                    <a:gd name="connsiteY31" fmla="*/ 728662 h 942975"/>
                    <a:gd name="connsiteX32" fmla="*/ 306132 w 892564"/>
                    <a:gd name="connsiteY32" fmla="*/ 719137 h 942975"/>
                    <a:gd name="connsiteX33" fmla="*/ 358519 w 892564"/>
                    <a:gd name="connsiteY33" fmla="*/ 728662 h 942975"/>
                    <a:gd name="connsiteX34" fmla="*/ 396619 w 892564"/>
                    <a:gd name="connsiteY34" fmla="*/ 776287 h 942975"/>
                    <a:gd name="connsiteX35" fmla="*/ 391857 w 892564"/>
                    <a:gd name="connsiteY35" fmla="*/ 876300 h 942975"/>
                    <a:gd name="connsiteX36" fmla="*/ 391857 w 892564"/>
                    <a:gd name="connsiteY36" fmla="*/ 919162 h 942975"/>
                    <a:gd name="connsiteX37" fmla="*/ 420432 w 892564"/>
                    <a:gd name="connsiteY37" fmla="*/ 928687 h 942975"/>
                    <a:gd name="connsiteX38" fmla="*/ 515682 w 892564"/>
                    <a:gd name="connsiteY38" fmla="*/ 933450 h 942975"/>
                    <a:gd name="connsiteX39" fmla="*/ 558544 w 892564"/>
                    <a:gd name="connsiteY39" fmla="*/ 938212 h 942975"/>
                    <a:gd name="connsiteX40" fmla="*/ 596644 w 892564"/>
                    <a:gd name="connsiteY40" fmla="*/ 942975 h 942975"/>
                    <a:gd name="connsiteX41" fmla="*/ 634744 w 892564"/>
                    <a:gd name="connsiteY41" fmla="*/ 938212 h 942975"/>
                    <a:gd name="connsiteX42" fmla="*/ 653794 w 892564"/>
                    <a:gd name="connsiteY42" fmla="*/ 695325 h 942975"/>
                    <a:gd name="connsiteX43" fmla="*/ 668082 w 892564"/>
                    <a:gd name="connsiteY43" fmla="*/ 700087 h 942975"/>
                    <a:gd name="connsiteX44" fmla="*/ 734757 w 892564"/>
                    <a:gd name="connsiteY44" fmla="*/ 728662 h 942975"/>
                    <a:gd name="connsiteX45" fmla="*/ 844294 w 892564"/>
                    <a:gd name="connsiteY45" fmla="*/ 733425 h 942975"/>
                    <a:gd name="connsiteX46" fmla="*/ 877632 w 892564"/>
                    <a:gd name="connsiteY46" fmla="*/ 681037 h 942975"/>
                    <a:gd name="connsiteX47" fmla="*/ 891919 w 892564"/>
                    <a:gd name="connsiteY47" fmla="*/ 642937 h 942975"/>
                    <a:gd name="connsiteX48" fmla="*/ 887157 w 892564"/>
                    <a:gd name="connsiteY48" fmla="*/ 576262 h 942975"/>
                    <a:gd name="connsiteX49" fmla="*/ 872869 w 892564"/>
                    <a:gd name="connsiteY49" fmla="*/ 561975 h 942975"/>
                    <a:gd name="connsiteX50" fmla="*/ 810957 w 892564"/>
                    <a:gd name="connsiteY50" fmla="*/ 509587 h 942975"/>
                    <a:gd name="connsiteX51" fmla="*/ 696657 w 892564"/>
                    <a:gd name="connsiteY51" fmla="*/ 528637 h 942975"/>
                    <a:gd name="connsiteX52" fmla="*/ 668082 w 892564"/>
                    <a:gd name="connsiteY52" fmla="*/ 557212 h 942975"/>
                    <a:gd name="connsiteX53" fmla="*/ 653794 w 892564"/>
                    <a:gd name="connsiteY53" fmla="*/ 566737 h 942975"/>
                    <a:gd name="connsiteX54" fmla="*/ 649032 w 892564"/>
                    <a:gd name="connsiteY54" fmla="*/ 547687 h 942975"/>
                    <a:gd name="connsiteX55" fmla="*/ 644269 w 892564"/>
                    <a:gd name="connsiteY55" fmla="*/ 533400 h 942975"/>
                    <a:gd name="connsiteX56" fmla="*/ 649032 w 892564"/>
                    <a:gd name="connsiteY56" fmla="*/ 471487 h 942975"/>
                    <a:gd name="connsiteX57" fmla="*/ 644269 w 892564"/>
                    <a:gd name="connsiteY57" fmla="*/ 285750 h 942975"/>
                    <a:gd name="connsiteX58" fmla="*/ 634744 w 892564"/>
                    <a:gd name="connsiteY58" fmla="*/ 266700 h 942975"/>
                    <a:gd name="connsiteX59" fmla="*/ 606169 w 892564"/>
                    <a:gd name="connsiteY59" fmla="*/ 261937 h 942975"/>
                    <a:gd name="connsiteX60" fmla="*/ 506157 w 892564"/>
                    <a:gd name="connsiteY60" fmla="*/ 266700 h 942975"/>
                    <a:gd name="connsiteX61" fmla="*/ 434719 w 892564"/>
                    <a:gd name="connsiteY61" fmla="*/ 261937 h 942975"/>
                    <a:gd name="connsiteX62" fmla="*/ 425194 w 892564"/>
                    <a:gd name="connsiteY62" fmla="*/ 228600 h 942975"/>
                    <a:gd name="connsiteX63" fmla="*/ 434719 w 892564"/>
                    <a:gd name="connsiteY63" fmla="*/ 176212 h 942975"/>
                    <a:gd name="connsiteX64" fmla="*/ 444244 w 892564"/>
                    <a:gd name="connsiteY64" fmla="*/ 152400 h 942975"/>
                    <a:gd name="connsiteX65" fmla="*/ 449007 w 892564"/>
                    <a:gd name="connsiteY65" fmla="*/ 138112 h 942975"/>
                    <a:gd name="connsiteX66" fmla="*/ 439482 w 892564"/>
                    <a:gd name="connsiteY66" fmla="*/ 71437 h 942975"/>
                    <a:gd name="connsiteX67" fmla="*/ 429957 w 892564"/>
                    <a:gd name="connsiteY67" fmla="*/ 57150 h 942975"/>
                    <a:gd name="connsiteX68" fmla="*/ 410907 w 892564"/>
                    <a:gd name="connsiteY68" fmla="*/ 33337 h 942975"/>
                    <a:gd name="connsiteX69" fmla="*/ 396619 w 892564"/>
                    <a:gd name="connsiteY69" fmla="*/ 19050 h 942975"/>
                    <a:gd name="connsiteX70" fmla="*/ 320419 w 892564"/>
                    <a:gd name="connsiteY70" fmla="*/ 0 h 942975"/>
                    <a:gd name="connsiteX71" fmla="*/ 263269 w 892564"/>
                    <a:gd name="connsiteY71" fmla="*/ 9525 h 942975"/>
                    <a:gd name="connsiteX72" fmla="*/ 206119 w 892564"/>
                    <a:gd name="connsiteY72" fmla="*/ 66675 h 942975"/>
                    <a:gd name="connsiteX73" fmla="*/ 201357 w 892564"/>
                    <a:gd name="connsiteY73" fmla="*/ 80962 h 942975"/>
                    <a:gd name="connsiteX74" fmla="*/ 191832 w 892564"/>
                    <a:gd name="connsiteY74" fmla="*/ 100012 h 942975"/>
                    <a:gd name="connsiteX75" fmla="*/ 196594 w 892564"/>
                    <a:gd name="connsiteY75" fmla="*/ 166687 h 942975"/>
                    <a:gd name="connsiteX76" fmla="*/ 206119 w 892564"/>
                    <a:gd name="connsiteY76" fmla="*/ 185737 h 942975"/>
                    <a:gd name="connsiteX77" fmla="*/ 234694 w 892564"/>
                    <a:gd name="connsiteY77" fmla="*/ 223837 h 942975"/>
                    <a:gd name="connsiteX78" fmla="*/ 239457 w 892564"/>
                    <a:gd name="connsiteY78" fmla="*/ 242887 h 942975"/>
                    <a:gd name="connsiteX79" fmla="*/ 244219 w 892564"/>
                    <a:gd name="connsiteY79" fmla="*/ 257175 h 942975"/>
                    <a:gd name="connsiteX80" fmla="*/ 239457 w 892564"/>
                    <a:gd name="connsiteY80" fmla="*/ 280987 h 942975"/>
                    <a:gd name="connsiteX81" fmla="*/ 206119 w 892564"/>
                    <a:gd name="connsiteY81" fmla="*/ 276225 h 942975"/>
                    <a:gd name="connsiteX82" fmla="*/ 177544 w 892564"/>
                    <a:gd name="connsiteY82" fmla="*/ 271462 h 942975"/>
                    <a:gd name="connsiteX83" fmla="*/ 29907 w 892564"/>
                    <a:gd name="connsiteY83" fmla="*/ 280987 h 942975"/>
                    <a:gd name="connsiteX84" fmla="*/ 1332 w 892564"/>
                    <a:gd name="connsiteY84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15682 w 892564"/>
                    <a:gd name="connsiteY37" fmla="*/ 933450 h 942975"/>
                    <a:gd name="connsiteX38" fmla="*/ 558544 w 892564"/>
                    <a:gd name="connsiteY38" fmla="*/ 938212 h 942975"/>
                    <a:gd name="connsiteX39" fmla="*/ 596644 w 892564"/>
                    <a:gd name="connsiteY39" fmla="*/ 942975 h 942975"/>
                    <a:gd name="connsiteX40" fmla="*/ 634744 w 892564"/>
                    <a:gd name="connsiteY40" fmla="*/ 938212 h 942975"/>
                    <a:gd name="connsiteX41" fmla="*/ 653794 w 892564"/>
                    <a:gd name="connsiteY41" fmla="*/ 695325 h 942975"/>
                    <a:gd name="connsiteX42" fmla="*/ 668082 w 892564"/>
                    <a:gd name="connsiteY42" fmla="*/ 700087 h 942975"/>
                    <a:gd name="connsiteX43" fmla="*/ 734757 w 892564"/>
                    <a:gd name="connsiteY43" fmla="*/ 728662 h 942975"/>
                    <a:gd name="connsiteX44" fmla="*/ 844294 w 892564"/>
                    <a:gd name="connsiteY44" fmla="*/ 733425 h 942975"/>
                    <a:gd name="connsiteX45" fmla="*/ 877632 w 892564"/>
                    <a:gd name="connsiteY45" fmla="*/ 681037 h 942975"/>
                    <a:gd name="connsiteX46" fmla="*/ 891919 w 892564"/>
                    <a:gd name="connsiteY46" fmla="*/ 642937 h 942975"/>
                    <a:gd name="connsiteX47" fmla="*/ 887157 w 892564"/>
                    <a:gd name="connsiteY47" fmla="*/ 576262 h 942975"/>
                    <a:gd name="connsiteX48" fmla="*/ 872869 w 892564"/>
                    <a:gd name="connsiteY48" fmla="*/ 561975 h 942975"/>
                    <a:gd name="connsiteX49" fmla="*/ 810957 w 892564"/>
                    <a:gd name="connsiteY49" fmla="*/ 509587 h 942975"/>
                    <a:gd name="connsiteX50" fmla="*/ 696657 w 892564"/>
                    <a:gd name="connsiteY50" fmla="*/ 528637 h 942975"/>
                    <a:gd name="connsiteX51" fmla="*/ 668082 w 892564"/>
                    <a:gd name="connsiteY51" fmla="*/ 557212 h 942975"/>
                    <a:gd name="connsiteX52" fmla="*/ 653794 w 892564"/>
                    <a:gd name="connsiteY52" fmla="*/ 566737 h 942975"/>
                    <a:gd name="connsiteX53" fmla="*/ 649032 w 892564"/>
                    <a:gd name="connsiteY53" fmla="*/ 547687 h 942975"/>
                    <a:gd name="connsiteX54" fmla="*/ 644269 w 892564"/>
                    <a:gd name="connsiteY54" fmla="*/ 533400 h 942975"/>
                    <a:gd name="connsiteX55" fmla="*/ 649032 w 892564"/>
                    <a:gd name="connsiteY55" fmla="*/ 471487 h 942975"/>
                    <a:gd name="connsiteX56" fmla="*/ 644269 w 892564"/>
                    <a:gd name="connsiteY56" fmla="*/ 285750 h 942975"/>
                    <a:gd name="connsiteX57" fmla="*/ 634744 w 892564"/>
                    <a:gd name="connsiteY57" fmla="*/ 266700 h 942975"/>
                    <a:gd name="connsiteX58" fmla="*/ 606169 w 892564"/>
                    <a:gd name="connsiteY58" fmla="*/ 261937 h 942975"/>
                    <a:gd name="connsiteX59" fmla="*/ 506157 w 892564"/>
                    <a:gd name="connsiteY59" fmla="*/ 266700 h 942975"/>
                    <a:gd name="connsiteX60" fmla="*/ 434719 w 892564"/>
                    <a:gd name="connsiteY60" fmla="*/ 261937 h 942975"/>
                    <a:gd name="connsiteX61" fmla="*/ 425194 w 892564"/>
                    <a:gd name="connsiteY61" fmla="*/ 228600 h 942975"/>
                    <a:gd name="connsiteX62" fmla="*/ 434719 w 892564"/>
                    <a:gd name="connsiteY62" fmla="*/ 176212 h 942975"/>
                    <a:gd name="connsiteX63" fmla="*/ 444244 w 892564"/>
                    <a:gd name="connsiteY63" fmla="*/ 152400 h 942975"/>
                    <a:gd name="connsiteX64" fmla="*/ 449007 w 892564"/>
                    <a:gd name="connsiteY64" fmla="*/ 138112 h 942975"/>
                    <a:gd name="connsiteX65" fmla="*/ 439482 w 892564"/>
                    <a:gd name="connsiteY65" fmla="*/ 71437 h 942975"/>
                    <a:gd name="connsiteX66" fmla="*/ 429957 w 892564"/>
                    <a:gd name="connsiteY66" fmla="*/ 57150 h 942975"/>
                    <a:gd name="connsiteX67" fmla="*/ 410907 w 892564"/>
                    <a:gd name="connsiteY67" fmla="*/ 33337 h 942975"/>
                    <a:gd name="connsiteX68" fmla="*/ 396619 w 892564"/>
                    <a:gd name="connsiteY68" fmla="*/ 19050 h 942975"/>
                    <a:gd name="connsiteX69" fmla="*/ 320419 w 892564"/>
                    <a:gd name="connsiteY69" fmla="*/ 0 h 942975"/>
                    <a:gd name="connsiteX70" fmla="*/ 263269 w 892564"/>
                    <a:gd name="connsiteY70" fmla="*/ 9525 h 942975"/>
                    <a:gd name="connsiteX71" fmla="*/ 206119 w 892564"/>
                    <a:gd name="connsiteY71" fmla="*/ 66675 h 942975"/>
                    <a:gd name="connsiteX72" fmla="*/ 201357 w 892564"/>
                    <a:gd name="connsiteY72" fmla="*/ 80962 h 942975"/>
                    <a:gd name="connsiteX73" fmla="*/ 191832 w 892564"/>
                    <a:gd name="connsiteY73" fmla="*/ 100012 h 942975"/>
                    <a:gd name="connsiteX74" fmla="*/ 196594 w 892564"/>
                    <a:gd name="connsiteY74" fmla="*/ 166687 h 942975"/>
                    <a:gd name="connsiteX75" fmla="*/ 206119 w 892564"/>
                    <a:gd name="connsiteY75" fmla="*/ 185737 h 942975"/>
                    <a:gd name="connsiteX76" fmla="*/ 234694 w 892564"/>
                    <a:gd name="connsiteY76" fmla="*/ 223837 h 942975"/>
                    <a:gd name="connsiteX77" fmla="*/ 239457 w 892564"/>
                    <a:gd name="connsiteY77" fmla="*/ 242887 h 942975"/>
                    <a:gd name="connsiteX78" fmla="*/ 244219 w 892564"/>
                    <a:gd name="connsiteY78" fmla="*/ 257175 h 942975"/>
                    <a:gd name="connsiteX79" fmla="*/ 239457 w 892564"/>
                    <a:gd name="connsiteY79" fmla="*/ 280987 h 942975"/>
                    <a:gd name="connsiteX80" fmla="*/ 206119 w 892564"/>
                    <a:gd name="connsiteY80" fmla="*/ 276225 h 942975"/>
                    <a:gd name="connsiteX81" fmla="*/ 177544 w 892564"/>
                    <a:gd name="connsiteY81" fmla="*/ 271462 h 942975"/>
                    <a:gd name="connsiteX82" fmla="*/ 29907 w 892564"/>
                    <a:gd name="connsiteY82" fmla="*/ 280987 h 942975"/>
                    <a:gd name="connsiteX83" fmla="*/ 1332 w 892564"/>
                    <a:gd name="connsiteY83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177544 w 892564"/>
                    <a:gd name="connsiteY80" fmla="*/ 271462 h 942975"/>
                    <a:gd name="connsiteX81" fmla="*/ 29907 w 892564"/>
                    <a:gd name="connsiteY81" fmla="*/ 280987 h 942975"/>
                    <a:gd name="connsiteX82" fmla="*/ 1332 w 892564"/>
                    <a:gd name="connsiteY82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29907 w 892564"/>
                    <a:gd name="connsiteY80" fmla="*/ 280987 h 942975"/>
                    <a:gd name="connsiteX81" fmla="*/ 1332 w 892564"/>
                    <a:gd name="connsiteY81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53737 w 892507"/>
                    <a:gd name="connsiteY50" fmla="*/ 566737 h 942975"/>
                    <a:gd name="connsiteX51" fmla="*/ 648975 w 892507"/>
                    <a:gd name="connsiteY51" fmla="*/ 547687 h 942975"/>
                    <a:gd name="connsiteX52" fmla="*/ 644212 w 892507"/>
                    <a:gd name="connsiteY52" fmla="*/ 533400 h 942975"/>
                    <a:gd name="connsiteX53" fmla="*/ 648975 w 892507"/>
                    <a:gd name="connsiteY53" fmla="*/ 471487 h 942975"/>
                    <a:gd name="connsiteX54" fmla="*/ 644212 w 892507"/>
                    <a:gd name="connsiteY54" fmla="*/ 285750 h 942975"/>
                    <a:gd name="connsiteX55" fmla="*/ 634687 w 892507"/>
                    <a:gd name="connsiteY55" fmla="*/ 266700 h 942975"/>
                    <a:gd name="connsiteX56" fmla="*/ 606112 w 892507"/>
                    <a:gd name="connsiteY56" fmla="*/ 261937 h 942975"/>
                    <a:gd name="connsiteX57" fmla="*/ 506100 w 892507"/>
                    <a:gd name="connsiteY57" fmla="*/ 266700 h 942975"/>
                    <a:gd name="connsiteX58" fmla="*/ 434662 w 892507"/>
                    <a:gd name="connsiteY58" fmla="*/ 261937 h 942975"/>
                    <a:gd name="connsiteX59" fmla="*/ 425137 w 892507"/>
                    <a:gd name="connsiteY59" fmla="*/ 228600 h 942975"/>
                    <a:gd name="connsiteX60" fmla="*/ 434662 w 892507"/>
                    <a:gd name="connsiteY60" fmla="*/ 176212 h 942975"/>
                    <a:gd name="connsiteX61" fmla="*/ 444187 w 892507"/>
                    <a:gd name="connsiteY61" fmla="*/ 152400 h 942975"/>
                    <a:gd name="connsiteX62" fmla="*/ 448950 w 892507"/>
                    <a:gd name="connsiteY62" fmla="*/ 138112 h 942975"/>
                    <a:gd name="connsiteX63" fmla="*/ 439425 w 892507"/>
                    <a:gd name="connsiteY63" fmla="*/ 71437 h 942975"/>
                    <a:gd name="connsiteX64" fmla="*/ 429900 w 892507"/>
                    <a:gd name="connsiteY64" fmla="*/ 57150 h 942975"/>
                    <a:gd name="connsiteX65" fmla="*/ 410850 w 892507"/>
                    <a:gd name="connsiteY65" fmla="*/ 33337 h 942975"/>
                    <a:gd name="connsiteX66" fmla="*/ 396562 w 892507"/>
                    <a:gd name="connsiteY66" fmla="*/ 19050 h 942975"/>
                    <a:gd name="connsiteX67" fmla="*/ 320362 w 892507"/>
                    <a:gd name="connsiteY67" fmla="*/ 0 h 942975"/>
                    <a:gd name="connsiteX68" fmla="*/ 263212 w 892507"/>
                    <a:gd name="connsiteY68" fmla="*/ 9525 h 942975"/>
                    <a:gd name="connsiteX69" fmla="*/ 206062 w 892507"/>
                    <a:gd name="connsiteY69" fmla="*/ 66675 h 942975"/>
                    <a:gd name="connsiteX70" fmla="*/ 201300 w 892507"/>
                    <a:gd name="connsiteY70" fmla="*/ 80962 h 942975"/>
                    <a:gd name="connsiteX71" fmla="*/ 191775 w 892507"/>
                    <a:gd name="connsiteY71" fmla="*/ 100012 h 942975"/>
                    <a:gd name="connsiteX72" fmla="*/ 196537 w 892507"/>
                    <a:gd name="connsiteY72" fmla="*/ 166687 h 942975"/>
                    <a:gd name="connsiteX73" fmla="*/ 206062 w 892507"/>
                    <a:gd name="connsiteY73" fmla="*/ 185737 h 942975"/>
                    <a:gd name="connsiteX74" fmla="*/ 234637 w 892507"/>
                    <a:gd name="connsiteY74" fmla="*/ 223837 h 942975"/>
                    <a:gd name="connsiteX75" fmla="*/ 239400 w 892507"/>
                    <a:gd name="connsiteY75" fmla="*/ 242887 h 942975"/>
                    <a:gd name="connsiteX76" fmla="*/ 244162 w 892507"/>
                    <a:gd name="connsiteY76" fmla="*/ 257175 h 942975"/>
                    <a:gd name="connsiteX77" fmla="*/ 239400 w 892507"/>
                    <a:gd name="connsiteY77" fmla="*/ 280987 h 942975"/>
                    <a:gd name="connsiteX78" fmla="*/ 206062 w 892507"/>
                    <a:gd name="connsiteY78" fmla="*/ 276225 h 942975"/>
                    <a:gd name="connsiteX79" fmla="*/ 29850 w 892507"/>
                    <a:gd name="connsiteY79" fmla="*/ 280987 h 942975"/>
                    <a:gd name="connsiteX80" fmla="*/ 1275 w 892507"/>
                    <a:gd name="connsiteY80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48975 w 892507"/>
                    <a:gd name="connsiteY50" fmla="*/ 547687 h 942975"/>
                    <a:gd name="connsiteX51" fmla="*/ 644212 w 892507"/>
                    <a:gd name="connsiteY51" fmla="*/ 533400 h 942975"/>
                    <a:gd name="connsiteX52" fmla="*/ 648975 w 892507"/>
                    <a:gd name="connsiteY52" fmla="*/ 471487 h 942975"/>
                    <a:gd name="connsiteX53" fmla="*/ 644212 w 892507"/>
                    <a:gd name="connsiteY53" fmla="*/ 285750 h 942975"/>
                    <a:gd name="connsiteX54" fmla="*/ 634687 w 892507"/>
                    <a:gd name="connsiteY54" fmla="*/ 266700 h 942975"/>
                    <a:gd name="connsiteX55" fmla="*/ 606112 w 892507"/>
                    <a:gd name="connsiteY55" fmla="*/ 261937 h 942975"/>
                    <a:gd name="connsiteX56" fmla="*/ 506100 w 892507"/>
                    <a:gd name="connsiteY56" fmla="*/ 266700 h 942975"/>
                    <a:gd name="connsiteX57" fmla="*/ 434662 w 892507"/>
                    <a:gd name="connsiteY57" fmla="*/ 261937 h 942975"/>
                    <a:gd name="connsiteX58" fmla="*/ 425137 w 892507"/>
                    <a:gd name="connsiteY58" fmla="*/ 228600 h 942975"/>
                    <a:gd name="connsiteX59" fmla="*/ 434662 w 892507"/>
                    <a:gd name="connsiteY59" fmla="*/ 176212 h 942975"/>
                    <a:gd name="connsiteX60" fmla="*/ 444187 w 892507"/>
                    <a:gd name="connsiteY60" fmla="*/ 152400 h 942975"/>
                    <a:gd name="connsiteX61" fmla="*/ 448950 w 892507"/>
                    <a:gd name="connsiteY61" fmla="*/ 138112 h 942975"/>
                    <a:gd name="connsiteX62" fmla="*/ 439425 w 892507"/>
                    <a:gd name="connsiteY62" fmla="*/ 71437 h 942975"/>
                    <a:gd name="connsiteX63" fmla="*/ 429900 w 892507"/>
                    <a:gd name="connsiteY63" fmla="*/ 57150 h 942975"/>
                    <a:gd name="connsiteX64" fmla="*/ 410850 w 892507"/>
                    <a:gd name="connsiteY64" fmla="*/ 33337 h 942975"/>
                    <a:gd name="connsiteX65" fmla="*/ 396562 w 892507"/>
                    <a:gd name="connsiteY65" fmla="*/ 19050 h 942975"/>
                    <a:gd name="connsiteX66" fmla="*/ 320362 w 892507"/>
                    <a:gd name="connsiteY66" fmla="*/ 0 h 942975"/>
                    <a:gd name="connsiteX67" fmla="*/ 263212 w 892507"/>
                    <a:gd name="connsiteY67" fmla="*/ 9525 h 942975"/>
                    <a:gd name="connsiteX68" fmla="*/ 206062 w 892507"/>
                    <a:gd name="connsiteY68" fmla="*/ 66675 h 942975"/>
                    <a:gd name="connsiteX69" fmla="*/ 201300 w 892507"/>
                    <a:gd name="connsiteY69" fmla="*/ 80962 h 942975"/>
                    <a:gd name="connsiteX70" fmla="*/ 191775 w 892507"/>
                    <a:gd name="connsiteY70" fmla="*/ 100012 h 942975"/>
                    <a:gd name="connsiteX71" fmla="*/ 196537 w 892507"/>
                    <a:gd name="connsiteY71" fmla="*/ 166687 h 942975"/>
                    <a:gd name="connsiteX72" fmla="*/ 206062 w 892507"/>
                    <a:gd name="connsiteY72" fmla="*/ 185737 h 942975"/>
                    <a:gd name="connsiteX73" fmla="*/ 234637 w 892507"/>
                    <a:gd name="connsiteY73" fmla="*/ 223837 h 942975"/>
                    <a:gd name="connsiteX74" fmla="*/ 239400 w 892507"/>
                    <a:gd name="connsiteY74" fmla="*/ 242887 h 942975"/>
                    <a:gd name="connsiteX75" fmla="*/ 244162 w 892507"/>
                    <a:gd name="connsiteY75" fmla="*/ 257175 h 942975"/>
                    <a:gd name="connsiteX76" fmla="*/ 239400 w 892507"/>
                    <a:gd name="connsiteY76" fmla="*/ 280987 h 942975"/>
                    <a:gd name="connsiteX77" fmla="*/ 206062 w 892507"/>
                    <a:gd name="connsiteY77" fmla="*/ 276225 h 942975"/>
                    <a:gd name="connsiteX78" fmla="*/ 29850 w 892507"/>
                    <a:gd name="connsiteY78" fmla="*/ 280987 h 942975"/>
                    <a:gd name="connsiteX79" fmla="*/ 1275 w 892507"/>
                    <a:gd name="connsiteY79" fmla="*/ 295275 h 942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892507" h="942975">
                      <a:moveTo>
                        <a:pt x="1275" y="295275"/>
                      </a:moveTo>
                      <a:cubicBezTo>
                        <a:pt x="-2694" y="324644"/>
                        <a:pt x="3656" y="419894"/>
                        <a:pt x="6037" y="457200"/>
                      </a:cubicBezTo>
                      <a:cubicBezTo>
                        <a:pt x="8418" y="494506"/>
                        <a:pt x="11593" y="504825"/>
                        <a:pt x="15562" y="519112"/>
                      </a:cubicBezTo>
                      <a:cubicBezTo>
                        <a:pt x="19531" y="533399"/>
                        <a:pt x="23304" y="536379"/>
                        <a:pt x="29850" y="542925"/>
                      </a:cubicBezTo>
                      <a:cubicBezTo>
                        <a:pt x="33400" y="546475"/>
                        <a:pt x="39267" y="546469"/>
                        <a:pt x="44137" y="547687"/>
                      </a:cubicBezTo>
                      <a:cubicBezTo>
                        <a:pt x="51990" y="549650"/>
                        <a:pt x="60012" y="550862"/>
                        <a:pt x="67950" y="552450"/>
                      </a:cubicBezTo>
                      <a:cubicBezTo>
                        <a:pt x="79062" y="549275"/>
                        <a:pt x="90557" y="547217"/>
                        <a:pt x="101287" y="542925"/>
                      </a:cubicBezTo>
                      <a:cubicBezTo>
                        <a:pt x="114934" y="537466"/>
                        <a:pt x="118876" y="528267"/>
                        <a:pt x="129862" y="519112"/>
                      </a:cubicBezTo>
                      <a:cubicBezTo>
                        <a:pt x="134259" y="515448"/>
                        <a:pt x="139387" y="512762"/>
                        <a:pt x="144150" y="509587"/>
                      </a:cubicBezTo>
                      <a:cubicBezTo>
                        <a:pt x="169550" y="511175"/>
                        <a:pt x="195040" y="511686"/>
                        <a:pt x="220350" y="514350"/>
                      </a:cubicBezTo>
                      <a:cubicBezTo>
                        <a:pt x="225342" y="514876"/>
                        <a:pt x="231087" y="515562"/>
                        <a:pt x="234637" y="519112"/>
                      </a:cubicBezTo>
                      <a:cubicBezTo>
                        <a:pt x="241183" y="525658"/>
                        <a:pt x="244162" y="534987"/>
                        <a:pt x="248925" y="542925"/>
                      </a:cubicBezTo>
                      <a:cubicBezTo>
                        <a:pt x="242355" y="634900"/>
                        <a:pt x="254541" y="583866"/>
                        <a:pt x="234637" y="628650"/>
                      </a:cubicBezTo>
                      <a:cubicBezTo>
                        <a:pt x="231165" y="636462"/>
                        <a:pt x="230241" y="645623"/>
                        <a:pt x="225112" y="652462"/>
                      </a:cubicBezTo>
                      <a:cubicBezTo>
                        <a:pt x="213902" y="667409"/>
                        <a:pt x="202980" y="667520"/>
                        <a:pt x="187012" y="671512"/>
                      </a:cubicBezTo>
                      <a:cubicBezTo>
                        <a:pt x="175900" y="668337"/>
                        <a:pt x="164196" y="666769"/>
                        <a:pt x="153675" y="661987"/>
                      </a:cubicBezTo>
                      <a:cubicBezTo>
                        <a:pt x="146449" y="658703"/>
                        <a:pt x="140652" y="652866"/>
                        <a:pt x="134625" y="647700"/>
                      </a:cubicBezTo>
                      <a:cubicBezTo>
                        <a:pt x="120365" y="635477"/>
                        <a:pt x="120610" y="633822"/>
                        <a:pt x="110812" y="619125"/>
                      </a:cubicBezTo>
                      <a:cubicBezTo>
                        <a:pt x="82237" y="620712"/>
                        <a:pt x="53092" y="617991"/>
                        <a:pt x="25087" y="623887"/>
                      </a:cubicBezTo>
                      <a:cubicBezTo>
                        <a:pt x="20174" y="624921"/>
                        <a:pt x="20325" y="633155"/>
                        <a:pt x="20325" y="638175"/>
                      </a:cubicBezTo>
                      <a:cubicBezTo>
                        <a:pt x="20325" y="655709"/>
                        <a:pt x="22706" y="644525"/>
                        <a:pt x="25087" y="690562"/>
                      </a:cubicBezTo>
                      <a:cubicBezTo>
                        <a:pt x="27468" y="736599"/>
                        <a:pt x="-3488" y="874713"/>
                        <a:pt x="34612" y="914400"/>
                      </a:cubicBezTo>
                      <a:cubicBezTo>
                        <a:pt x="72712" y="954087"/>
                        <a:pt x="213206" y="927100"/>
                        <a:pt x="253687" y="928687"/>
                      </a:cubicBezTo>
                      <a:cubicBezTo>
                        <a:pt x="261625" y="927100"/>
                        <a:pt x="273010" y="930660"/>
                        <a:pt x="277500" y="923925"/>
                      </a:cubicBezTo>
                      <a:cubicBezTo>
                        <a:pt x="282775" y="916012"/>
                        <a:pt x="266332" y="887302"/>
                        <a:pt x="263212" y="881062"/>
                      </a:cubicBezTo>
                      <a:cubicBezTo>
                        <a:pt x="260037" y="868362"/>
                        <a:pt x="257826" y="855381"/>
                        <a:pt x="253687" y="842962"/>
                      </a:cubicBezTo>
                      <a:cubicBezTo>
                        <a:pt x="252100" y="838200"/>
                        <a:pt x="250304" y="833502"/>
                        <a:pt x="248925" y="828675"/>
                      </a:cubicBezTo>
                      <a:cubicBezTo>
                        <a:pt x="244438" y="812971"/>
                        <a:pt x="242676" y="802194"/>
                        <a:pt x="239400" y="785812"/>
                      </a:cubicBezTo>
                      <a:cubicBezTo>
                        <a:pt x="242575" y="771525"/>
                        <a:pt x="240806" y="755128"/>
                        <a:pt x="248925" y="742950"/>
                      </a:cubicBezTo>
                      <a:cubicBezTo>
                        <a:pt x="254832" y="734089"/>
                        <a:pt x="267670" y="732758"/>
                        <a:pt x="277500" y="728662"/>
                      </a:cubicBezTo>
                      <a:cubicBezTo>
                        <a:pt x="286768" y="724800"/>
                        <a:pt x="306075" y="719137"/>
                        <a:pt x="306075" y="719137"/>
                      </a:cubicBezTo>
                      <a:cubicBezTo>
                        <a:pt x="323537" y="722312"/>
                        <a:pt x="342587" y="720725"/>
                        <a:pt x="358462" y="728662"/>
                      </a:cubicBezTo>
                      <a:cubicBezTo>
                        <a:pt x="363087" y="730975"/>
                        <a:pt x="390372" y="768034"/>
                        <a:pt x="396562" y="776287"/>
                      </a:cubicBezTo>
                      <a:cubicBezTo>
                        <a:pt x="394975" y="809625"/>
                        <a:pt x="394265" y="843016"/>
                        <a:pt x="391800" y="876300"/>
                      </a:cubicBezTo>
                      <a:cubicBezTo>
                        <a:pt x="391578" y="879296"/>
                        <a:pt x="381193" y="911586"/>
                        <a:pt x="391800" y="919162"/>
                      </a:cubicBezTo>
                      <a:cubicBezTo>
                        <a:pt x="399970" y="924998"/>
                        <a:pt x="392594" y="925512"/>
                        <a:pt x="420375" y="928687"/>
                      </a:cubicBezTo>
                      <a:cubicBezTo>
                        <a:pt x="448156" y="931862"/>
                        <a:pt x="529118" y="935831"/>
                        <a:pt x="558487" y="938212"/>
                      </a:cubicBezTo>
                      <a:cubicBezTo>
                        <a:pt x="587856" y="940593"/>
                        <a:pt x="583788" y="942975"/>
                        <a:pt x="596587" y="942975"/>
                      </a:cubicBezTo>
                      <a:cubicBezTo>
                        <a:pt x="609386" y="942975"/>
                        <a:pt x="621987" y="939800"/>
                        <a:pt x="634687" y="938212"/>
                      </a:cubicBezTo>
                      <a:cubicBezTo>
                        <a:pt x="637952" y="872912"/>
                        <a:pt x="642558" y="751221"/>
                        <a:pt x="653737" y="695325"/>
                      </a:cubicBezTo>
                      <a:cubicBezTo>
                        <a:pt x="654722" y="690402"/>
                        <a:pt x="663535" y="697842"/>
                        <a:pt x="668025" y="700087"/>
                      </a:cubicBezTo>
                      <a:cubicBezTo>
                        <a:pt x="727213" y="729681"/>
                        <a:pt x="690279" y="719779"/>
                        <a:pt x="734700" y="728662"/>
                      </a:cubicBezTo>
                      <a:cubicBezTo>
                        <a:pt x="778294" y="750460"/>
                        <a:pt x="776391" y="756041"/>
                        <a:pt x="844237" y="733425"/>
                      </a:cubicBezTo>
                      <a:cubicBezTo>
                        <a:pt x="855802" y="729570"/>
                        <a:pt x="873552" y="689083"/>
                        <a:pt x="877575" y="681037"/>
                      </a:cubicBezTo>
                      <a:cubicBezTo>
                        <a:pt x="885513" y="665956"/>
                        <a:pt x="890275" y="660399"/>
                        <a:pt x="891862" y="642937"/>
                      </a:cubicBezTo>
                      <a:cubicBezTo>
                        <a:pt x="893449" y="625475"/>
                        <a:pt x="892203" y="597951"/>
                        <a:pt x="887100" y="576262"/>
                      </a:cubicBezTo>
                      <a:cubicBezTo>
                        <a:pt x="885557" y="569706"/>
                        <a:pt x="877575" y="566737"/>
                        <a:pt x="872812" y="561975"/>
                      </a:cubicBezTo>
                      <a:cubicBezTo>
                        <a:pt x="860112" y="550863"/>
                        <a:pt x="840269" y="515143"/>
                        <a:pt x="810900" y="509587"/>
                      </a:cubicBezTo>
                      <a:cubicBezTo>
                        <a:pt x="758140" y="513105"/>
                        <a:pt x="740834" y="508221"/>
                        <a:pt x="696600" y="528637"/>
                      </a:cubicBezTo>
                      <a:cubicBezTo>
                        <a:pt x="667695" y="541978"/>
                        <a:pt x="675963" y="554037"/>
                        <a:pt x="668025" y="557212"/>
                      </a:cubicBezTo>
                      <a:cubicBezTo>
                        <a:pt x="660087" y="560387"/>
                        <a:pt x="652944" y="551656"/>
                        <a:pt x="648975" y="547687"/>
                      </a:cubicBezTo>
                      <a:cubicBezTo>
                        <a:pt x="645006" y="543718"/>
                        <a:pt x="644212" y="538420"/>
                        <a:pt x="644212" y="533400"/>
                      </a:cubicBezTo>
                      <a:cubicBezTo>
                        <a:pt x="644212" y="512701"/>
                        <a:pt x="647387" y="492125"/>
                        <a:pt x="648975" y="471487"/>
                      </a:cubicBezTo>
                      <a:cubicBezTo>
                        <a:pt x="647387" y="409575"/>
                        <a:pt x="648523" y="347532"/>
                        <a:pt x="644212" y="285750"/>
                      </a:cubicBezTo>
                      <a:cubicBezTo>
                        <a:pt x="643718" y="278668"/>
                        <a:pt x="640707" y="270463"/>
                        <a:pt x="634687" y="266700"/>
                      </a:cubicBezTo>
                      <a:cubicBezTo>
                        <a:pt x="626498" y="261582"/>
                        <a:pt x="615637" y="263525"/>
                        <a:pt x="606112" y="261937"/>
                      </a:cubicBezTo>
                      <a:lnTo>
                        <a:pt x="506100" y="266700"/>
                      </a:lnTo>
                      <a:cubicBezTo>
                        <a:pt x="445682" y="270598"/>
                        <a:pt x="475585" y="278306"/>
                        <a:pt x="434662" y="261937"/>
                      </a:cubicBezTo>
                      <a:cubicBezTo>
                        <a:pt x="432672" y="255965"/>
                        <a:pt x="424805" y="233581"/>
                        <a:pt x="425137" y="228600"/>
                      </a:cubicBezTo>
                      <a:cubicBezTo>
                        <a:pt x="426318" y="210890"/>
                        <a:pt x="430357" y="193431"/>
                        <a:pt x="434662" y="176212"/>
                      </a:cubicBezTo>
                      <a:cubicBezTo>
                        <a:pt x="436735" y="167918"/>
                        <a:pt x="441185" y="160404"/>
                        <a:pt x="444187" y="152400"/>
                      </a:cubicBezTo>
                      <a:cubicBezTo>
                        <a:pt x="445950" y="147699"/>
                        <a:pt x="447362" y="142875"/>
                        <a:pt x="448950" y="138112"/>
                      </a:cubicBezTo>
                      <a:cubicBezTo>
                        <a:pt x="447734" y="124738"/>
                        <a:pt x="448585" y="89759"/>
                        <a:pt x="439425" y="71437"/>
                      </a:cubicBezTo>
                      <a:cubicBezTo>
                        <a:pt x="436865" y="66318"/>
                        <a:pt x="433075" y="61912"/>
                        <a:pt x="429900" y="57150"/>
                      </a:cubicBezTo>
                      <a:cubicBezTo>
                        <a:pt x="421247" y="22541"/>
                        <a:pt x="433396" y="48368"/>
                        <a:pt x="410850" y="33337"/>
                      </a:cubicBezTo>
                      <a:cubicBezTo>
                        <a:pt x="405246" y="29601"/>
                        <a:pt x="402337" y="22515"/>
                        <a:pt x="396562" y="19050"/>
                      </a:cubicBezTo>
                      <a:cubicBezTo>
                        <a:pt x="366332" y="912"/>
                        <a:pt x="355835" y="3941"/>
                        <a:pt x="320362" y="0"/>
                      </a:cubicBezTo>
                      <a:cubicBezTo>
                        <a:pt x="301312" y="3175"/>
                        <a:pt x="281334" y="2849"/>
                        <a:pt x="263212" y="9525"/>
                      </a:cubicBezTo>
                      <a:cubicBezTo>
                        <a:pt x="235392" y="19775"/>
                        <a:pt x="221221" y="43936"/>
                        <a:pt x="206062" y="66675"/>
                      </a:cubicBezTo>
                      <a:cubicBezTo>
                        <a:pt x="204475" y="71437"/>
                        <a:pt x="203277" y="76348"/>
                        <a:pt x="201300" y="80962"/>
                      </a:cubicBezTo>
                      <a:cubicBezTo>
                        <a:pt x="198503" y="87488"/>
                        <a:pt x="192169" y="92923"/>
                        <a:pt x="191775" y="100012"/>
                      </a:cubicBezTo>
                      <a:cubicBezTo>
                        <a:pt x="190539" y="122259"/>
                        <a:pt x="192874" y="144709"/>
                        <a:pt x="196537" y="166687"/>
                      </a:cubicBezTo>
                      <a:cubicBezTo>
                        <a:pt x="197704" y="173690"/>
                        <a:pt x="202124" y="179830"/>
                        <a:pt x="206062" y="185737"/>
                      </a:cubicBezTo>
                      <a:cubicBezTo>
                        <a:pt x="214868" y="198946"/>
                        <a:pt x="234637" y="223837"/>
                        <a:pt x="234637" y="223837"/>
                      </a:cubicBezTo>
                      <a:cubicBezTo>
                        <a:pt x="236225" y="230187"/>
                        <a:pt x="237602" y="236593"/>
                        <a:pt x="239400" y="242887"/>
                      </a:cubicBezTo>
                      <a:cubicBezTo>
                        <a:pt x="240779" y="247714"/>
                        <a:pt x="244162" y="252155"/>
                        <a:pt x="244162" y="257175"/>
                      </a:cubicBezTo>
                      <a:cubicBezTo>
                        <a:pt x="244162" y="265269"/>
                        <a:pt x="240987" y="273050"/>
                        <a:pt x="239400" y="280987"/>
                      </a:cubicBezTo>
                      <a:lnTo>
                        <a:pt x="206062" y="276225"/>
                      </a:lnTo>
                      <a:cubicBezTo>
                        <a:pt x="171137" y="276225"/>
                        <a:pt x="63981" y="277812"/>
                        <a:pt x="29850" y="280987"/>
                      </a:cubicBezTo>
                      <a:cubicBezTo>
                        <a:pt x="-4281" y="284162"/>
                        <a:pt x="5244" y="265906"/>
                        <a:pt x="1275" y="295275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  <p:sp>
              <p:nvSpPr>
                <p:cNvPr id="154" name="Freeform: Shape 153">
                  <a:extLst>
                    <a:ext uri="{FF2B5EF4-FFF2-40B4-BE49-F238E27FC236}">
                      <a16:creationId xmlns:a16="http://schemas.microsoft.com/office/drawing/2014/main" id="{1DDB7CEF-199D-F891-9805-CCD780E3AC52}"/>
                    </a:ext>
                  </a:extLst>
                </p:cNvPr>
                <p:cNvSpPr/>
                <p:nvPr/>
              </p:nvSpPr>
              <p:spPr>
                <a:xfrm>
                  <a:off x="9104626" y="2828925"/>
                  <a:ext cx="892507" cy="942975"/>
                </a:xfrm>
                <a:custGeom>
                  <a:avLst/>
                  <a:gdLst>
                    <a:gd name="connsiteX0" fmla="*/ 1332 w 892414"/>
                    <a:gd name="connsiteY0" fmla="*/ 295275 h 942975"/>
                    <a:gd name="connsiteX1" fmla="*/ 6094 w 892414"/>
                    <a:gd name="connsiteY1" fmla="*/ 457200 h 942975"/>
                    <a:gd name="connsiteX2" fmla="*/ 10857 w 892414"/>
                    <a:gd name="connsiteY2" fmla="*/ 476250 h 942975"/>
                    <a:gd name="connsiteX3" fmla="*/ 15619 w 892414"/>
                    <a:gd name="connsiteY3" fmla="*/ 519112 h 942975"/>
                    <a:gd name="connsiteX4" fmla="*/ 29907 w 892414"/>
                    <a:gd name="connsiteY4" fmla="*/ 542925 h 942975"/>
                    <a:gd name="connsiteX5" fmla="*/ 44194 w 892414"/>
                    <a:gd name="connsiteY5" fmla="*/ 547687 h 942975"/>
                    <a:gd name="connsiteX6" fmla="*/ 68007 w 892414"/>
                    <a:gd name="connsiteY6" fmla="*/ 552450 h 942975"/>
                    <a:gd name="connsiteX7" fmla="*/ 101344 w 892414"/>
                    <a:gd name="connsiteY7" fmla="*/ 542925 h 942975"/>
                    <a:gd name="connsiteX8" fmla="*/ 129919 w 892414"/>
                    <a:gd name="connsiteY8" fmla="*/ 519112 h 942975"/>
                    <a:gd name="connsiteX9" fmla="*/ 144207 w 892414"/>
                    <a:gd name="connsiteY9" fmla="*/ 509587 h 942975"/>
                    <a:gd name="connsiteX10" fmla="*/ 220407 w 892414"/>
                    <a:gd name="connsiteY10" fmla="*/ 514350 h 942975"/>
                    <a:gd name="connsiteX11" fmla="*/ 234694 w 892414"/>
                    <a:gd name="connsiteY11" fmla="*/ 519112 h 942975"/>
                    <a:gd name="connsiteX12" fmla="*/ 248982 w 892414"/>
                    <a:gd name="connsiteY12" fmla="*/ 542925 h 942975"/>
                    <a:gd name="connsiteX13" fmla="*/ 234694 w 892414"/>
                    <a:gd name="connsiteY13" fmla="*/ 628650 h 942975"/>
                    <a:gd name="connsiteX14" fmla="*/ 225169 w 892414"/>
                    <a:gd name="connsiteY14" fmla="*/ 652462 h 942975"/>
                    <a:gd name="connsiteX15" fmla="*/ 187069 w 892414"/>
                    <a:gd name="connsiteY15" fmla="*/ 671512 h 942975"/>
                    <a:gd name="connsiteX16" fmla="*/ 153732 w 892414"/>
                    <a:gd name="connsiteY16" fmla="*/ 661987 h 942975"/>
                    <a:gd name="connsiteX17" fmla="*/ 134682 w 892414"/>
                    <a:gd name="connsiteY17" fmla="*/ 647700 h 942975"/>
                    <a:gd name="connsiteX18" fmla="*/ 110869 w 892414"/>
                    <a:gd name="connsiteY18" fmla="*/ 619125 h 942975"/>
                    <a:gd name="connsiteX19" fmla="*/ 25144 w 892414"/>
                    <a:gd name="connsiteY19" fmla="*/ 623887 h 942975"/>
                    <a:gd name="connsiteX20" fmla="*/ 20382 w 892414"/>
                    <a:gd name="connsiteY20" fmla="*/ 638175 h 942975"/>
                    <a:gd name="connsiteX21" fmla="*/ 25144 w 892414"/>
                    <a:gd name="connsiteY21" fmla="*/ 690562 h 942975"/>
                    <a:gd name="connsiteX22" fmla="*/ 29907 w 892414"/>
                    <a:gd name="connsiteY22" fmla="*/ 704850 h 942975"/>
                    <a:gd name="connsiteX23" fmla="*/ 34669 w 892414"/>
                    <a:gd name="connsiteY23" fmla="*/ 914400 h 942975"/>
                    <a:gd name="connsiteX24" fmla="*/ 120394 w 892414"/>
                    <a:gd name="connsiteY24" fmla="*/ 919162 h 942975"/>
                    <a:gd name="connsiteX25" fmla="*/ 134682 w 892414"/>
                    <a:gd name="connsiteY25" fmla="*/ 923925 h 942975"/>
                    <a:gd name="connsiteX26" fmla="*/ 253744 w 892414"/>
                    <a:gd name="connsiteY26" fmla="*/ 928687 h 942975"/>
                    <a:gd name="connsiteX27" fmla="*/ 277557 w 892414"/>
                    <a:gd name="connsiteY27" fmla="*/ 923925 h 942975"/>
                    <a:gd name="connsiteX28" fmla="*/ 263269 w 892414"/>
                    <a:gd name="connsiteY28" fmla="*/ 881062 h 942975"/>
                    <a:gd name="connsiteX29" fmla="*/ 253744 w 892414"/>
                    <a:gd name="connsiteY29" fmla="*/ 842962 h 942975"/>
                    <a:gd name="connsiteX30" fmla="*/ 248982 w 892414"/>
                    <a:gd name="connsiteY30" fmla="*/ 828675 h 942975"/>
                    <a:gd name="connsiteX31" fmla="*/ 239457 w 892414"/>
                    <a:gd name="connsiteY31" fmla="*/ 785812 h 942975"/>
                    <a:gd name="connsiteX32" fmla="*/ 248982 w 892414"/>
                    <a:gd name="connsiteY32" fmla="*/ 742950 h 942975"/>
                    <a:gd name="connsiteX33" fmla="*/ 277557 w 892414"/>
                    <a:gd name="connsiteY33" fmla="*/ 728662 h 942975"/>
                    <a:gd name="connsiteX34" fmla="*/ 306132 w 892414"/>
                    <a:gd name="connsiteY34" fmla="*/ 719137 h 942975"/>
                    <a:gd name="connsiteX35" fmla="*/ 358519 w 892414"/>
                    <a:gd name="connsiteY35" fmla="*/ 728662 h 942975"/>
                    <a:gd name="connsiteX36" fmla="*/ 396619 w 892414"/>
                    <a:gd name="connsiteY36" fmla="*/ 776287 h 942975"/>
                    <a:gd name="connsiteX37" fmla="*/ 391857 w 892414"/>
                    <a:gd name="connsiteY37" fmla="*/ 876300 h 942975"/>
                    <a:gd name="connsiteX38" fmla="*/ 391857 w 892414"/>
                    <a:gd name="connsiteY38" fmla="*/ 919162 h 942975"/>
                    <a:gd name="connsiteX39" fmla="*/ 420432 w 892414"/>
                    <a:gd name="connsiteY39" fmla="*/ 928687 h 942975"/>
                    <a:gd name="connsiteX40" fmla="*/ 515682 w 892414"/>
                    <a:gd name="connsiteY40" fmla="*/ 933450 h 942975"/>
                    <a:gd name="connsiteX41" fmla="*/ 558544 w 892414"/>
                    <a:gd name="connsiteY41" fmla="*/ 938212 h 942975"/>
                    <a:gd name="connsiteX42" fmla="*/ 596644 w 892414"/>
                    <a:gd name="connsiteY42" fmla="*/ 942975 h 942975"/>
                    <a:gd name="connsiteX43" fmla="*/ 634744 w 892414"/>
                    <a:gd name="connsiteY43" fmla="*/ 938212 h 942975"/>
                    <a:gd name="connsiteX44" fmla="*/ 653794 w 892414"/>
                    <a:gd name="connsiteY44" fmla="*/ 695325 h 942975"/>
                    <a:gd name="connsiteX45" fmla="*/ 668082 w 892414"/>
                    <a:gd name="connsiteY45" fmla="*/ 700087 h 942975"/>
                    <a:gd name="connsiteX46" fmla="*/ 734757 w 892414"/>
                    <a:gd name="connsiteY46" fmla="*/ 728662 h 942975"/>
                    <a:gd name="connsiteX47" fmla="*/ 844294 w 892414"/>
                    <a:gd name="connsiteY47" fmla="*/ 733425 h 942975"/>
                    <a:gd name="connsiteX48" fmla="*/ 877632 w 892414"/>
                    <a:gd name="connsiteY48" fmla="*/ 681037 h 942975"/>
                    <a:gd name="connsiteX49" fmla="*/ 882394 w 892414"/>
                    <a:gd name="connsiteY49" fmla="*/ 661987 h 942975"/>
                    <a:gd name="connsiteX50" fmla="*/ 891919 w 892414"/>
                    <a:gd name="connsiteY50" fmla="*/ 642937 h 942975"/>
                    <a:gd name="connsiteX51" fmla="*/ 887157 w 892414"/>
                    <a:gd name="connsiteY51" fmla="*/ 576262 h 942975"/>
                    <a:gd name="connsiteX52" fmla="*/ 872869 w 892414"/>
                    <a:gd name="connsiteY52" fmla="*/ 561975 h 942975"/>
                    <a:gd name="connsiteX53" fmla="*/ 853819 w 892414"/>
                    <a:gd name="connsiteY53" fmla="*/ 528637 h 942975"/>
                    <a:gd name="connsiteX54" fmla="*/ 839532 w 892414"/>
                    <a:gd name="connsiteY54" fmla="*/ 514350 h 942975"/>
                    <a:gd name="connsiteX55" fmla="*/ 810957 w 892414"/>
                    <a:gd name="connsiteY55" fmla="*/ 509587 h 942975"/>
                    <a:gd name="connsiteX56" fmla="*/ 696657 w 892414"/>
                    <a:gd name="connsiteY56" fmla="*/ 528637 h 942975"/>
                    <a:gd name="connsiteX57" fmla="*/ 668082 w 892414"/>
                    <a:gd name="connsiteY57" fmla="*/ 557212 h 942975"/>
                    <a:gd name="connsiteX58" fmla="*/ 653794 w 892414"/>
                    <a:gd name="connsiteY58" fmla="*/ 566737 h 942975"/>
                    <a:gd name="connsiteX59" fmla="*/ 649032 w 892414"/>
                    <a:gd name="connsiteY59" fmla="*/ 547687 h 942975"/>
                    <a:gd name="connsiteX60" fmla="*/ 644269 w 892414"/>
                    <a:gd name="connsiteY60" fmla="*/ 533400 h 942975"/>
                    <a:gd name="connsiteX61" fmla="*/ 649032 w 892414"/>
                    <a:gd name="connsiteY61" fmla="*/ 471487 h 942975"/>
                    <a:gd name="connsiteX62" fmla="*/ 644269 w 892414"/>
                    <a:gd name="connsiteY62" fmla="*/ 285750 h 942975"/>
                    <a:gd name="connsiteX63" fmla="*/ 634744 w 892414"/>
                    <a:gd name="connsiteY63" fmla="*/ 266700 h 942975"/>
                    <a:gd name="connsiteX64" fmla="*/ 606169 w 892414"/>
                    <a:gd name="connsiteY64" fmla="*/ 261937 h 942975"/>
                    <a:gd name="connsiteX65" fmla="*/ 506157 w 892414"/>
                    <a:gd name="connsiteY65" fmla="*/ 266700 h 942975"/>
                    <a:gd name="connsiteX66" fmla="*/ 434719 w 892414"/>
                    <a:gd name="connsiteY66" fmla="*/ 261937 h 942975"/>
                    <a:gd name="connsiteX67" fmla="*/ 425194 w 892414"/>
                    <a:gd name="connsiteY67" fmla="*/ 228600 h 942975"/>
                    <a:gd name="connsiteX68" fmla="*/ 434719 w 892414"/>
                    <a:gd name="connsiteY68" fmla="*/ 176212 h 942975"/>
                    <a:gd name="connsiteX69" fmla="*/ 444244 w 892414"/>
                    <a:gd name="connsiteY69" fmla="*/ 152400 h 942975"/>
                    <a:gd name="connsiteX70" fmla="*/ 449007 w 892414"/>
                    <a:gd name="connsiteY70" fmla="*/ 138112 h 942975"/>
                    <a:gd name="connsiteX71" fmla="*/ 439482 w 892414"/>
                    <a:gd name="connsiteY71" fmla="*/ 71437 h 942975"/>
                    <a:gd name="connsiteX72" fmla="*/ 429957 w 892414"/>
                    <a:gd name="connsiteY72" fmla="*/ 57150 h 942975"/>
                    <a:gd name="connsiteX73" fmla="*/ 410907 w 892414"/>
                    <a:gd name="connsiteY73" fmla="*/ 33337 h 942975"/>
                    <a:gd name="connsiteX74" fmla="*/ 396619 w 892414"/>
                    <a:gd name="connsiteY74" fmla="*/ 19050 h 942975"/>
                    <a:gd name="connsiteX75" fmla="*/ 320419 w 892414"/>
                    <a:gd name="connsiteY75" fmla="*/ 0 h 942975"/>
                    <a:gd name="connsiteX76" fmla="*/ 263269 w 892414"/>
                    <a:gd name="connsiteY76" fmla="*/ 9525 h 942975"/>
                    <a:gd name="connsiteX77" fmla="*/ 206119 w 892414"/>
                    <a:gd name="connsiteY77" fmla="*/ 66675 h 942975"/>
                    <a:gd name="connsiteX78" fmla="*/ 201357 w 892414"/>
                    <a:gd name="connsiteY78" fmla="*/ 80962 h 942975"/>
                    <a:gd name="connsiteX79" fmla="*/ 191832 w 892414"/>
                    <a:gd name="connsiteY79" fmla="*/ 100012 h 942975"/>
                    <a:gd name="connsiteX80" fmla="*/ 196594 w 892414"/>
                    <a:gd name="connsiteY80" fmla="*/ 166687 h 942975"/>
                    <a:gd name="connsiteX81" fmla="*/ 206119 w 892414"/>
                    <a:gd name="connsiteY81" fmla="*/ 185737 h 942975"/>
                    <a:gd name="connsiteX82" fmla="*/ 234694 w 892414"/>
                    <a:gd name="connsiteY82" fmla="*/ 223837 h 942975"/>
                    <a:gd name="connsiteX83" fmla="*/ 239457 w 892414"/>
                    <a:gd name="connsiteY83" fmla="*/ 242887 h 942975"/>
                    <a:gd name="connsiteX84" fmla="*/ 244219 w 892414"/>
                    <a:gd name="connsiteY84" fmla="*/ 257175 h 942975"/>
                    <a:gd name="connsiteX85" fmla="*/ 239457 w 892414"/>
                    <a:gd name="connsiteY85" fmla="*/ 280987 h 942975"/>
                    <a:gd name="connsiteX86" fmla="*/ 206119 w 892414"/>
                    <a:gd name="connsiteY86" fmla="*/ 276225 h 942975"/>
                    <a:gd name="connsiteX87" fmla="*/ 177544 w 892414"/>
                    <a:gd name="connsiteY87" fmla="*/ 271462 h 942975"/>
                    <a:gd name="connsiteX88" fmla="*/ 29907 w 892414"/>
                    <a:gd name="connsiteY88" fmla="*/ 280987 h 942975"/>
                    <a:gd name="connsiteX89" fmla="*/ 1332 w 892414"/>
                    <a:gd name="connsiteY89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53819 w 892564"/>
                    <a:gd name="connsiteY52" fmla="*/ 528637 h 942975"/>
                    <a:gd name="connsiteX53" fmla="*/ 839532 w 892564"/>
                    <a:gd name="connsiteY53" fmla="*/ 514350 h 942975"/>
                    <a:gd name="connsiteX54" fmla="*/ 810957 w 892564"/>
                    <a:gd name="connsiteY54" fmla="*/ 509587 h 942975"/>
                    <a:gd name="connsiteX55" fmla="*/ 696657 w 892564"/>
                    <a:gd name="connsiteY55" fmla="*/ 528637 h 942975"/>
                    <a:gd name="connsiteX56" fmla="*/ 668082 w 892564"/>
                    <a:gd name="connsiteY56" fmla="*/ 557212 h 942975"/>
                    <a:gd name="connsiteX57" fmla="*/ 653794 w 892564"/>
                    <a:gd name="connsiteY57" fmla="*/ 566737 h 942975"/>
                    <a:gd name="connsiteX58" fmla="*/ 649032 w 892564"/>
                    <a:gd name="connsiteY58" fmla="*/ 547687 h 942975"/>
                    <a:gd name="connsiteX59" fmla="*/ 644269 w 892564"/>
                    <a:gd name="connsiteY59" fmla="*/ 533400 h 942975"/>
                    <a:gd name="connsiteX60" fmla="*/ 649032 w 892564"/>
                    <a:gd name="connsiteY60" fmla="*/ 471487 h 942975"/>
                    <a:gd name="connsiteX61" fmla="*/ 644269 w 892564"/>
                    <a:gd name="connsiteY61" fmla="*/ 285750 h 942975"/>
                    <a:gd name="connsiteX62" fmla="*/ 634744 w 892564"/>
                    <a:gd name="connsiteY62" fmla="*/ 266700 h 942975"/>
                    <a:gd name="connsiteX63" fmla="*/ 606169 w 892564"/>
                    <a:gd name="connsiteY63" fmla="*/ 261937 h 942975"/>
                    <a:gd name="connsiteX64" fmla="*/ 506157 w 892564"/>
                    <a:gd name="connsiteY64" fmla="*/ 266700 h 942975"/>
                    <a:gd name="connsiteX65" fmla="*/ 434719 w 892564"/>
                    <a:gd name="connsiteY65" fmla="*/ 261937 h 942975"/>
                    <a:gd name="connsiteX66" fmla="*/ 425194 w 892564"/>
                    <a:gd name="connsiteY66" fmla="*/ 228600 h 942975"/>
                    <a:gd name="connsiteX67" fmla="*/ 434719 w 892564"/>
                    <a:gd name="connsiteY67" fmla="*/ 176212 h 942975"/>
                    <a:gd name="connsiteX68" fmla="*/ 444244 w 892564"/>
                    <a:gd name="connsiteY68" fmla="*/ 152400 h 942975"/>
                    <a:gd name="connsiteX69" fmla="*/ 449007 w 892564"/>
                    <a:gd name="connsiteY69" fmla="*/ 138112 h 942975"/>
                    <a:gd name="connsiteX70" fmla="*/ 439482 w 892564"/>
                    <a:gd name="connsiteY70" fmla="*/ 71437 h 942975"/>
                    <a:gd name="connsiteX71" fmla="*/ 429957 w 892564"/>
                    <a:gd name="connsiteY71" fmla="*/ 57150 h 942975"/>
                    <a:gd name="connsiteX72" fmla="*/ 410907 w 892564"/>
                    <a:gd name="connsiteY72" fmla="*/ 33337 h 942975"/>
                    <a:gd name="connsiteX73" fmla="*/ 396619 w 892564"/>
                    <a:gd name="connsiteY73" fmla="*/ 19050 h 942975"/>
                    <a:gd name="connsiteX74" fmla="*/ 320419 w 892564"/>
                    <a:gd name="connsiteY74" fmla="*/ 0 h 942975"/>
                    <a:gd name="connsiteX75" fmla="*/ 263269 w 892564"/>
                    <a:gd name="connsiteY75" fmla="*/ 9525 h 942975"/>
                    <a:gd name="connsiteX76" fmla="*/ 206119 w 892564"/>
                    <a:gd name="connsiteY76" fmla="*/ 66675 h 942975"/>
                    <a:gd name="connsiteX77" fmla="*/ 201357 w 892564"/>
                    <a:gd name="connsiteY77" fmla="*/ 80962 h 942975"/>
                    <a:gd name="connsiteX78" fmla="*/ 191832 w 892564"/>
                    <a:gd name="connsiteY78" fmla="*/ 100012 h 942975"/>
                    <a:gd name="connsiteX79" fmla="*/ 196594 w 892564"/>
                    <a:gd name="connsiteY79" fmla="*/ 166687 h 942975"/>
                    <a:gd name="connsiteX80" fmla="*/ 206119 w 892564"/>
                    <a:gd name="connsiteY80" fmla="*/ 185737 h 942975"/>
                    <a:gd name="connsiteX81" fmla="*/ 234694 w 892564"/>
                    <a:gd name="connsiteY81" fmla="*/ 223837 h 942975"/>
                    <a:gd name="connsiteX82" fmla="*/ 239457 w 892564"/>
                    <a:gd name="connsiteY82" fmla="*/ 242887 h 942975"/>
                    <a:gd name="connsiteX83" fmla="*/ 244219 w 892564"/>
                    <a:gd name="connsiteY83" fmla="*/ 257175 h 942975"/>
                    <a:gd name="connsiteX84" fmla="*/ 239457 w 892564"/>
                    <a:gd name="connsiteY84" fmla="*/ 280987 h 942975"/>
                    <a:gd name="connsiteX85" fmla="*/ 206119 w 892564"/>
                    <a:gd name="connsiteY85" fmla="*/ 276225 h 942975"/>
                    <a:gd name="connsiteX86" fmla="*/ 177544 w 892564"/>
                    <a:gd name="connsiteY86" fmla="*/ 271462 h 942975"/>
                    <a:gd name="connsiteX87" fmla="*/ 29907 w 892564"/>
                    <a:gd name="connsiteY87" fmla="*/ 280987 h 942975"/>
                    <a:gd name="connsiteX88" fmla="*/ 1332 w 892564"/>
                    <a:gd name="connsiteY88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39532 w 892564"/>
                    <a:gd name="connsiteY52" fmla="*/ 514350 h 942975"/>
                    <a:gd name="connsiteX53" fmla="*/ 810957 w 892564"/>
                    <a:gd name="connsiteY53" fmla="*/ 509587 h 942975"/>
                    <a:gd name="connsiteX54" fmla="*/ 696657 w 892564"/>
                    <a:gd name="connsiteY54" fmla="*/ 528637 h 942975"/>
                    <a:gd name="connsiteX55" fmla="*/ 668082 w 892564"/>
                    <a:gd name="connsiteY55" fmla="*/ 557212 h 942975"/>
                    <a:gd name="connsiteX56" fmla="*/ 653794 w 892564"/>
                    <a:gd name="connsiteY56" fmla="*/ 566737 h 942975"/>
                    <a:gd name="connsiteX57" fmla="*/ 649032 w 892564"/>
                    <a:gd name="connsiteY57" fmla="*/ 547687 h 942975"/>
                    <a:gd name="connsiteX58" fmla="*/ 644269 w 892564"/>
                    <a:gd name="connsiteY58" fmla="*/ 533400 h 942975"/>
                    <a:gd name="connsiteX59" fmla="*/ 649032 w 892564"/>
                    <a:gd name="connsiteY59" fmla="*/ 471487 h 942975"/>
                    <a:gd name="connsiteX60" fmla="*/ 644269 w 892564"/>
                    <a:gd name="connsiteY60" fmla="*/ 285750 h 942975"/>
                    <a:gd name="connsiteX61" fmla="*/ 634744 w 892564"/>
                    <a:gd name="connsiteY61" fmla="*/ 266700 h 942975"/>
                    <a:gd name="connsiteX62" fmla="*/ 606169 w 892564"/>
                    <a:gd name="connsiteY62" fmla="*/ 261937 h 942975"/>
                    <a:gd name="connsiteX63" fmla="*/ 506157 w 892564"/>
                    <a:gd name="connsiteY63" fmla="*/ 266700 h 942975"/>
                    <a:gd name="connsiteX64" fmla="*/ 434719 w 892564"/>
                    <a:gd name="connsiteY64" fmla="*/ 261937 h 942975"/>
                    <a:gd name="connsiteX65" fmla="*/ 425194 w 892564"/>
                    <a:gd name="connsiteY65" fmla="*/ 228600 h 942975"/>
                    <a:gd name="connsiteX66" fmla="*/ 434719 w 892564"/>
                    <a:gd name="connsiteY66" fmla="*/ 176212 h 942975"/>
                    <a:gd name="connsiteX67" fmla="*/ 444244 w 892564"/>
                    <a:gd name="connsiteY67" fmla="*/ 152400 h 942975"/>
                    <a:gd name="connsiteX68" fmla="*/ 449007 w 892564"/>
                    <a:gd name="connsiteY68" fmla="*/ 138112 h 942975"/>
                    <a:gd name="connsiteX69" fmla="*/ 439482 w 892564"/>
                    <a:gd name="connsiteY69" fmla="*/ 71437 h 942975"/>
                    <a:gd name="connsiteX70" fmla="*/ 429957 w 892564"/>
                    <a:gd name="connsiteY70" fmla="*/ 57150 h 942975"/>
                    <a:gd name="connsiteX71" fmla="*/ 410907 w 892564"/>
                    <a:gd name="connsiteY71" fmla="*/ 33337 h 942975"/>
                    <a:gd name="connsiteX72" fmla="*/ 396619 w 892564"/>
                    <a:gd name="connsiteY72" fmla="*/ 19050 h 942975"/>
                    <a:gd name="connsiteX73" fmla="*/ 320419 w 892564"/>
                    <a:gd name="connsiteY73" fmla="*/ 0 h 942975"/>
                    <a:gd name="connsiteX74" fmla="*/ 263269 w 892564"/>
                    <a:gd name="connsiteY74" fmla="*/ 9525 h 942975"/>
                    <a:gd name="connsiteX75" fmla="*/ 206119 w 892564"/>
                    <a:gd name="connsiteY75" fmla="*/ 66675 h 942975"/>
                    <a:gd name="connsiteX76" fmla="*/ 201357 w 892564"/>
                    <a:gd name="connsiteY76" fmla="*/ 80962 h 942975"/>
                    <a:gd name="connsiteX77" fmla="*/ 191832 w 892564"/>
                    <a:gd name="connsiteY77" fmla="*/ 100012 h 942975"/>
                    <a:gd name="connsiteX78" fmla="*/ 196594 w 892564"/>
                    <a:gd name="connsiteY78" fmla="*/ 166687 h 942975"/>
                    <a:gd name="connsiteX79" fmla="*/ 206119 w 892564"/>
                    <a:gd name="connsiteY79" fmla="*/ 185737 h 942975"/>
                    <a:gd name="connsiteX80" fmla="*/ 234694 w 892564"/>
                    <a:gd name="connsiteY80" fmla="*/ 223837 h 942975"/>
                    <a:gd name="connsiteX81" fmla="*/ 239457 w 892564"/>
                    <a:gd name="connsiteY81" fmla="*/ 242887 h 942975"/>
                    <a:gd name="connsiteX82" fmla="*/ 244219 w 892564"/>
                    <a:gd name="connsiteY82" fmla="*/ 257175 h 942975"/>
                    <a:gd name="connsiteX83" fmla="*/ 239457 w 892564"/>
                    <a:gd name="connsiteY83" fmla="*/ 280987 h 942975"/>
                    <a:gd name="connsiteX84" fmla="*/ 206119 w 892564"/>
                    <a:gd name="connsiteY84" fmla="*/ 276225 h 942975"/>
                    <a:gd name="connsiteX85" fmla="*/ 177544 w 892564"/>
                    <a:gd name="connsiteY85" fmla="*/ 271462 h 942975"/>
                    <a:gd name="connsiteX86" fmla="*/ 29907 w 892564"/>
                    <a:gd name="connsiteY86" fmla="*/ 280987 h 942975"/>
                    <a:gd name="connsiteX87" fmla="*/ 1332 w 892564"/>
                    <a:gd name="connsiteY87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10957 w 892564"/>
                    <a:gd name="connsiteY52" fmla="*/ 509587 h 942975"/>
                    <a:gd name="connsiteX53" fmla="*/ 696657 w 892564"/>
                    <a:gd name="connsiteY53" fmla="*/ 528637 h 942975"/>
                    <a:gd name="connsiteX54" fmla="*/ 668082 w 892564"/>
                    <a:gd name="connsiteY54" fmla="*/ 557212 h 942975"/>
                    <a:gd name="connsiteX55" fmla="*/ 653794 w 892564"/>
                    <a:gd name="connsiteY55" fmla="*/ 566737 h 942975"/>
                    <a:gd name="connsiteX56" fmla="*/ 649032 w 892564"/>
                    <a:gd name="connsiteY56" fmla="*/ 547687 h 942975"/>
                    <a:gd name="connsiteX57" fmla="*/ 644269 w 892564"/>
                    <a:gd name="connsiteY57" fmla="*/ 533400 h 942975"/>
                    <a:gd name="connsiteX58" fmla="*/ 649032 w 892564"/>
                    <a:gd name="connsiteY58" fmla="*/ 471487 h 942975"/>
                    <a:gd name="connsiteX59" fmla="*/ 644269 w 892564"/>
                    <a:gd name="connsiteY59" fmla="*/ 285750 h 942975"/>
                    <a:gd name="connsiteX60" fmla="*/ 634744 w 892564"/>
                    <a:gd name="connsiteY60" fmla="*/ 266700 h 942975"/>
                    <a:gd name="connsiteX61" fmla="*/ 606169 w 892564"/>
                    <a:gd name="connsiteY61" fmla="*/ 261937 h 942975"/>
                    <a:gd name="connsiteX62" fmla="*/ 506157 w 892564"/>
                    <a:gd name="connsiteY62" fmla="*/ 266700 h 942975"/>
                    <a:gd name="connsiteX63" fmla="*/ 434719 w 892564"/>
                    <a:gd name="connsiteY63" fmla="*/ 261937 h 942975"/>
                    <a:gd name="connsiteX64" fmla="*/ 425194 w 892564"/>
                    <a:gd name="connsiteY64" fmla="*/ 228600 h 942975"/>
                    <a:gd name="connsiteX65" fmla="*/ 434719 w 892564"/>
                    <a:gd name="connsiteY65" fmla="*/ 176212 h 942975"/>
                    <a:gd name="connsiteX66" fmla="*/ 444244 w 892564"/>
                    <a:gd name="connsiteY66" fmla="*/ 152400 h 942975"/>
                    <a:gd name="connsiteX67" fmla="*/ 449007 w 892564"/>
                    <a:gd name="connsiteY67" fmla="*/ 138112 h 942975"/>
                    <a:gd name="connsiteX68" fmla="*/ 439482 w 892564"/>
                    <a:gd name="connsiteY68" fmla="*/ 71437 h 942975"/>
                    <a:gd name="connsiteX69" fmla="*/ 429957 w 892564"/>
                    <a:gd name="connsiteY69" fmla="*/ 57150 h 942975"/>
                    <a:gd name="connsiteX70" fmla="*/ 410907 w 892564"/>
                    <a:gd name="connsiteY70" fmla="*/ 33337 h 942975"/>
                    <a:gd name="connsiteX71" fmla="*/ 396619 w 892564"/>
                    <a:gd name="connsiteY71" fmla="*/ 19050 h 942975"/>
                    <a:gd name="connsiteX72" fmla="*/ 320419 w 892564"/>
                    <a:gd name="connsiteY72" fmla="*/ 0 h 942975"/>
                    <a:gd name="connsiteX73" fmla="*/ 263269 w 892564"/>
                    <a:gd name="connsiteY73" fmla="*/ 9525 h 942975"/>
                    <a:gd name="connsiteX74" fmla="*/ 206119 w 892564"/>
                    <a:gd name="connsiteY74" fmla="*/ 66675 h 942975"/>
                    <a:gd name="connsiteX75" fmla="*/ 201357 w 892564"/>
                    <a:gd name="connsiteY75" fmla="*/ 80962 h 942975"/>
                    <a:gd name="connsiteX76" fmla="*/ 191832 w 892564"/>
                    <a:gd name="connsiteY76" fmla="*/ 100012 h 942975"/>
                    <a:gd name="connsiteX77" fmla="*/ 196594 w 892564"/>
                    <a:gd name="connsiteY77" fmla="*/ 166687 h 942975"/>
                    <a:gd name="connsiteX78" fmla="*/ 206119 w 892564"/>
                    <a:gd name="connsiteY78" fmla="*/ 185737 h 942975"/>
                    <a:gd name="connsiteX79" fmla="*/ 234694 w 892564"/>
                    <a:gd name="connsiteY79" fmla="*/ 223837 h 942975"/>
                    <a:gd name="connsiteX80" fmla="*/ 239457 w 892564"/>
                    <a:gd name="connsiteY80" fmla="*/ 242887 h 942975"/>
                    <a:gd name="connsiteX81" fmla="*/ 244219 w 892564"/>
                    <a:gd name="connsiteY81" fmla="*/ 257175 h 942975"/>
                    <a:gd name="connsiteX82" fmla="*/ 239457 w 892564"/>
                    <a:gd name="connsiteY82" fmla="*/ 280987 h 942975"/>
                    <a:gd name="connsiteX83" fmla="*/ 206119 w 892564"/>
                    <a:gd name="connsiteY83" fmla="*/ 276225 h 942975"/>
                    <a:gd name="connsiteX84" fmla="*/ 177544 w 892564"/>
                    <a:gd name="connsiteY84" fmla="*/ 271462 h 942975"/>
                    <a:gd name="connsiteX85" fmla="*/ 29907 w 892564"/>
                    <a:gd name="connsiteY85" fmla="*/ 280987 h 942975"/>
                    <a:gd name="connsiteX86" fmla="*/ 1332 w 892564"/>
                    <a:gd name="connsiteY86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134682 w 892564"/>
                    <a:gd name="connsiteY24" fmla="*/ 923925 h 942975"/>
                    <a:gd name="connsiteX25" fmla="*/ 253744 w 892564"/>
                    <a:gd name="connsiteY25" fmla="*/ 928687 h 942975"/>
                    <a:gd name="connsiteX26" fmla="*/ 277557 w 892564"/>
                    <a:gd name="connsiteY26" fmla="*/ 923925 h 942975"/>
                    <a:gd name="connsiteX27" fmla="*/ 263269 w 892564"/>
                    <a:gd name="connsiteY27" fmla="*/ 881062 h 942975"/>
                    <a:gd name="connsiteX28" fmla="*/ 253744 w 892564"/>
                    <a:gd name="connsiteY28" fmla="*/ 842962 h 942975"/>
                    <a:gd name="connsiteX29" fmla="*/ 248982 w 892564"/>
                    <a:gd name="connsiteY29" fmla="*/ 828675 h 942975"/>
                    <a:gd name="connsiteX30" fmla="*/ 239457 w 892564"/>
                    <a:gd name="connsiteY30" fmla="*/ 785812 h 942975"/>
                    <a:gd name="connsiteX31" fmla="*/ 248982 w 892564"/>
                    <a:gd name="connsiteY31" fmla="*/ 742950 h 942975"/>
                    <a:gd name="connsiteX32" fmla="*/ 277557 w 892564"/>
                    <a:gd name="connsiteY32" fmla="*/ 728662 h 942975"/>
                    <a:gd name="connsiteX33" fmla="*/ 306132 w 892564"/>
                    <a:gd name="connsiteY33" fmla="*/ 719137 h 942975"/>
                    <a:gd name="connsiteX34" fmla="*/ 358519 w 892564"/>
                    <a:gd name="connsiteY34" fmla="*/ 728662 h 942975"/>
                    <a:gd name="connsiteX35" fmla="*/ 396619 w 892564"/>
                    <a:gd name="connsiteY35" fmla="*/ 776287 h 942975"/>
                    <a:gd name="connsiteX36" fmla="*/ 391857 w 892564"/>
                    <a:gd name="connsiteY36" fmla="*/ 876300 h 942975"/>
                    <a:gd name="connsiteX37" fmla="*/ 391857 w 892564"/>
                    <a:gd name="connsiteY37" fmla="*/ 919162 h 942975"/>
                    <a:gd name="connsiteX38" fmla="*/ 420432 w 892564"/>
                    <a:gd name="connsiteY38" fmla="*/ 928687 h 942975"/>
                    <a:gd name="connsiteX39" fmla="*/ 515682 w 892564"/>
                    <a:gd name="connsiteY39" fmla="*/ 933450 h 942975"/>
                    <a:gd name="connsiteX40" fmla="*/ 558544 w 892564"/>
                    <a:gd name="connsiteY40" fmla="*/ 938212 h 942975"/>
                    <a:gd name="connsiteX41" fmla="*/ 596644 w 892564"/>
                    <a:gd name="connsiteY41" fmla="*/ 942975 h 942975"/>
                    <a:gd name="connsiteX42" fmla="*/ 634744 w 892564"/>
                    <a:gd name="connsiteY42" fmla="*/ 938212 h 942975"/>
                    <a:gd name="connsiteX43" fmla="*/ 653794 w 892564"/>
                    <a:gd name="connsiteY43" fmla="*/ 695325 h 942975"/>
                    <a:gd name="connsiteX44" fmla="*/ 668082 w 892564"/>
                    <a:gd name="connsiteY44" fmla="*/ 700087 h 942975"/>
                    <a:gd name="connsiteX45" fmla="*/ 734757 w 892564"/>
                    <a:gd name="connsiteY45" fmla="*/ 728662 h 942975"/>
                    <a:gd name="connsiteX46" fmla="*/ 844294 w 892564"/>
                    <a:gd name="connsiteY46" fmla="*/ 733425 h 942975"/>
                    <a:gd name="connsiteX47" fmla="*/ 877632 w 892564"/>
                    <a:gd name="connsiteY47" fmla="*/ 681037 h 942975"/>
                    <a:gd name="connsiteX48" fmla="*/ 891919 w 892564"/>
                    <a:gd name="connsiteY48" fmla="*/ 642937 h 942975"/>
                    <a:gd name="connsiteX49" fmla="*/ 887157 w 892564"/>
                    <a:gd name="connsiteY49" fmla="*/ 576262 h 942975"/>
                    <a:gd name="connsiteX50" fmla="*/ 872869 w 892564"/>
                    <a:gd name="connsiteY50" fmla="*/ 561975 h 942975"/>
                    <a:gd name="connsiteX51" fmla="*/ 810957 w 892564"/>
                    <a:gd name="connsiteY51" fmla="*/ 509587 h 942975"/>
                    <a:gd name="connsiteX52" fmla="*/ 696657 w 892564"/>
                    <a:gd name="connsiteY52" fmla="*/ 528637 h 942975"/>
                    <a:gd name="connsiteX53" fmla="*/ 668082 w 892564"/>
                    <a:gd name="connsiteY53" fmla="*/ 557212 h 942975"/>
                    <a:gd name="connsiteX54" fmla="*/ 653794 w 892564"/>
                    <a:gd name="connsiteY54" fmla="*/ 566737 h 942975"/>
                    <a:gd name="connsiteX55" fmla="*/ 649032 w 892564"/>
                    <a:gd name="connsiteY55" fmla="*/ 547687 h 942975"/>
                    <a:gd name="connsiteX56" fmla="*/ 644269 w 892564"/>
                    <a:gd name="connsiteY56" fmla="*/ 533400 h 942975"/>
                    <a:gd name="connsiteX57" fmla="*/ 649032 w 892564"/>
                    <a:gd name="connsiteY57" fmla="*/ 471487 h 942975"/>
                    <a:gd name="connsiteX58" fmla="*/ 644269 w 892564"/>
                    <a:gd name="connsiteY58" fmla="*/ 285750 h 942975"/>
                    <a:gd name="connsiteX59" fmla="*/ 634744 w 892564"/>
                    <a:gd name="connsiteY59" fmla="*/ 266700 h 942975"/>
                    <a:gd name="connsiteX60" fmla="*/ 606169 w 892564"/>
                    <a:gd name="connsiteY60" fmla="*/ 261937 h 942975"/>
                    <a:gd name="connsiteX61" fmla="*/ 506157 w 892564"/>
                    <a:gd name="connsiteY61" fmla="*/ 266700 h 942975"/>
                    <a:gd name="connsiteX62" fmla="*/ 434719 w 892564"/>
                    <a:gd name="connsiteY62" fmla="*/ 261937 h 942975"/>
                    <a:gd name="connsiteX63" fmla="*/ 425194 w 892564"/>
                    <a:gd name="connsiteY63" fmla="*/ 228600 h 942975"/>
                    <a:gd name="connsiteX64" fmla="*/ 434719 w 892564"/>
                    <a:gd name="connsiteY64" fmla="*/ 176212 h 942975"/>
                    <a:gd name="connsiteX65" fmla="*/ 444244 w 892564"/>
                    <a:gd name="connsiteY65" fmla="*/ 152400 h 942975"/>
                    <a:gd name="connsiteX66" fmla="*/ 449007 w 892564"/>
                    <a:gd name="connsiteY66" fmla="*/ 138112 h 942975"/>
                    <a:gd name="connsiteX67" fmla="*/ 439482 w 892564"/>
                    <a:gd name="connsiteY67" fmla="*/ 71437 h 942975"/>
                    <a:gd name="connsiteX68" fmla="*/ 429957 w 892564"/>
                    <a:gd name="connsiteY68" fmla="*/ 57150 h 942975"/>
                    <a:gd name="connsiteX69" fmla="*/ 410907 w 892564"/>
                    <a:gd name="connsiteY69" fmla="*/ 33337 h 942975"/>
                    <a:gd name="connsiteX70" fmla="*/ 396619 w 892564"/>
                    <a:gd name="connsiteY70" fmla="*/ 19050 h 942975"/>
                    <a:gd name="connsiteX71" fmla="*/ 320419 w 892564"/>
                    <a:gd name="connsiteY71" fmla="*/ 0 h 942975"/>
                    <a:gd name="connsiteX72" fmla="*/ 263269 w 892564"/>
                    <a:gd name="connsiteY72" fmla="*/ 9525 h 942975"/>
                    <a:gd name="connsiteX73" fmla="*/ 206119 w 892564"/>
                    <a:gd name="connsiteY73" fmla="*/ 66675 h 942975"/>
                    <a:gd name="connsiteX74" fmla="*/ 201357 w 892564"/>
                    <a:gd name="connsiteY74" fmla="*/ 80962 h 942975"/>
                    <a:gd name="connsiteX75" fmla="*/ 191832 w 892564"/>
                    <a:gd name="connsiteY75" fmla="*/ 100012 h 942975"/>
                    <a:gd name="connsiteX76" fmla="*/ 196594 w 892564"/>
                    <a:gd name="connsiteY76" fmla="*/ 166687 h 942975"/>
                    <a:gd name="connsiteX77" fmla="*/ 206119 w 892564"/>
                    <a:gd name="connsiteY77" fmla="*/ 185737 h 942975"/>
                    <a:gd name="connsiteX78" fmla="*/ 234694 w 892564"/>
                    <a:gd name="connsiteY78" fmla="*/ 223837 h 942975"/>
                    <a:gd name="connsiteX79" fmla="*/ 239457 w 892564"/>
                    <a:gd name="connsiteY79" fmla="*/ 242887 h 942975"/>
                    <a:gd name="connsiteX80" fmla="*/ 244219 w 892564"/>
                    <a:gd name="connsiteY80" fmla="*/ 257175 h 942975"/>
                    <a:gd name="connsiteX81" fmla="*/ 239457 w 892564"/>
                    <a:gd name="connsiteY81" fmla="*/ 280987 h 942975"/>
                    <a:gd name="connsiteX82" fmla="*/ 206119 w 892564"/>
                    <a:gd name="connsiteY82" fmla="*/ 276225 h 942975"/>
                    <a:gd name="connsiteX83" fmla="*/ 177544 w 892564"/>
                    <a:gd name="connsiteY83" fmla="*/ 271462 h 942975"/>
                    <a:gd name="connsiteX84" fmla="*/ 29907 w 892564"/>
                    <a:gd name="connsiteY84" fmla="*/ 280987 h 942975"/>
                    <a:gd name="connsiteX85" fmla="*/ 1332 w 892564"/>
                    <a:gd name="connsiteY85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253744 w 892564"/>
                    <a:gd name="connsiteY24" fmla="*/ 928687 h 942975"/>
                    <a:gd name="connsiteX25" fmla="*/ 277557 w 892564"/>
                    <a:gd name="connsiteY25" fmla="*/ 923925 h 942975"/>
                    <a:gd name="connsiteX26" fmla="*/ 263269 w 892564"/>
                    <a:gd name="connsiteY26" fmla="*/ 881062 h 942975"/>
                    <a:gd name="connsiteX27" fmla="*/ 253744 w 892564"/>
                    <a:gd name="connsiteY27" fmla="*/ 842962 h 942975"/>
                    <a:gd name="connsiteX28" fmla="*/ 248982 w 892564"/>
                    <a:gd name="connsiteY28" fmla="*/ 828675 h 942975"/>
                    <a:gd name="connsiteX29" fmla="*/ 239457 w 892564"/>
                    <a:gd name="connsiteY29" fmla="*/ 785812 h 942975"/>
                    <a:gd name="connsiteX30" fmla="*/ 248982 w 892564"/>
                    <a:gd name="connsiteY30" fmla="*/ 742950 h 942975"/>
                    <a:gd name="connsiteX31" fmla="*/ 277557 w 892564"/>
                    <a:gd name="connsiteY31" fmla="*/ 728662 h 942975"/>
                    <a:gd name="connsiteX32" fmla="*/ 306132 w 892564"/>
                    <a:gd name="connsiteY32" fmla="*/ 719137 h 942975"/>
                    <a:gd name="connsiteX33" fmla="*/ 358519 w 892564"/>
                    <a:gd name="connsiteY33" fmla="*/ 728662 h 942975"/>
                    <a:gd name="connsiteX34" fmla="*/ 396619 w 892564"/>
                    <a:gd name="connsiteY34" fmla="*/ 776287 h 942975"/>
                    <a:gd name="connsiteX35" fmla="*/ 391857 w 892564"/>
                    <a:gd name="connsiteY35" fmla="*/ 876300 h 942975"/>
                    <a:gd name="connsiteX36" fmla="*/ 391857 w 892564"/>
                    <a:gd name="connsiteY36" fmla="*/ 919162 h 942975"/>
                    <a:gd name="connsiteX37" fmla="*/ 420432 w 892564"/>
                    <a:gd name="connsiteY37" fmla="*/ 928687 h 942975"/>
                    <a:gd name="connsiteX38" fmla="*/ 515682 w 892564"/>
                    <a:gd name="connsiteY38" fmla="*/ 933450 h 942975"/>
                    <a:gd name="connsiteX39" fmla="*/ 558544 w 892564"/>
                    <a:gd name="connsiteY39" fmla="*/ 938212 h 942975"/>
                    <a:gd name="connsiteX40" fmla="*/ 596644 w 892564"/>
                    <a:gd name="connsiteY40" fmla="*/ 942975 h 942975"/>
                    <a:gd name="connsiteX41" fmla="*/ 634744 w 892564"/>
                    <a:gd name="connsiteY41" fmla="*/ 938212 h 942975"/>
                    <a:gd name="connsiteX42" fmla="*/ 653794 w 892564"/>
                    <a:gd name="connsiteY42" fmla="*/ 695325 h 942975"/>
                    <a:gd name="connsiteX43" fmla="*/ 668082 w 892564"/>
                    <a:gd name="connsiteY43" fmla="*/ 700087 h 942975"/>
                    <a:gd name="connsiteX44" fmla="*/ 734757 w 892564"/>
                    <a:gd name="connsiteY44" fmla="*/ 728662 h 942975"/>
                    <a:gd name="connsiteX45" fmla="*/ 844294 w 892564"/>
                    <a:gd name="connsiteY45" fmla="*/ 733425 h 942975"/>
                    <a:gd name="connsiteX46" fmla="*/ 877632 w 892564"/>
                    <a:gd name="connsiteY46" fmla="*/ 681037 h 942975"/>
                    <a:gd name="connsiteX47" fmla="*/ 891919 w 892564"/>
                    <a:gd name="connsiteY47" fmla="*/ 642937 h 942975"/>
                    <a:gd name="connsiteX48" fmla="*/ 887157 w 892564"/>
                    <a:gd name="connsiteY48" fmla="*/ 576262 h 942975"/>
                    <a:gd name="connsiteX49" fmla="*/ 872869 w 892564"/>
                    <a:gd name="connsiteY49" fmla="*/ 561975 h 942975"/>
                    <a:gd name="connsiteX50" fmla="*/ 810957 w 892564"/>
                    <a:gd name="connsiteY50" fmla="*/ 509587 h 942975"/>
                    <a:gd name="connsiteX51" fmla="*/ 696657 w 892564"/>
                    <a:gd name="connsiteY51" fmla="*/ 528637 h 942975"/>
                    <a:gd name="connsiteX52" fmla="*/ 668082 w 892564"/>
                    <a:gd name="connsiteY52" fmla="*/ 557212 h 942975"/>
                    <a:gd name="connsiteX53" fmla="*/ 653794 w 892564"/>
                    <a:gd name="connsiteY53" fmla="*/ 566737 h 942975"/>
                    <a:gd name="connsiteX54" fmla="*/ 649032 w 892564"/>
                    <a:gd name="connsiteY54" fmla="*/ 547687 h 942975"/>
                    <a:gd name="connsiteX55" fmla="*/ 644269 w 892564"/>
                    <a:gd name="connsiteY55" fmla="*/ 533400 h 942975"/>
                    <a:gd name="connsiteX56" fmla="*/ 649032 w 892564"/>
                    <a:gd name="connsiteY56" fmla="*/ 471487 h 942975"/>
                    <a:gd name="connsiteX57" fmla="*/ 644269 w 892564"/>
                    <a:gd name="connsiteY57" fmla="*/ 285750 h 942975"/>
                    <a:gd name="connsiteX58" fmla="*/ 634744 w 892564"/>
                    <a:gd name="connsiteY58" fmla="*/ 266700 h 942975"/>
                    <a:gd name="connsiteX59" fmla="*/ 606169 w 892564"/>
                    <a:gd name="connsiteY59" fmla="*/ 261937 h 942975"/>
                    <a:gd name="connsiteX60" fmla="*/ 506157 w 892564"/>
                    <a:gd name="connsiteY60" fmla="*/ 266700 h 942975"/>
                    <a:gd name="connsiteX61" fmla="*/ 434719 w 892564"/>
                    <a:gd name="connsiteY61" fmla="*/ 261937 h 942975"/>
                    <a:gd name="connsiteX62" fmla="*/ 425194 w 892564"/>
                    <a:gd name="connsiteY62" fmla="*/ 228600 h 942975"/>
                    <a:gd name="connsiteX63" fmla="*/ 434719 w 892564"/>
                    <a:gd name="connsiteY63" fmla="*/ 176212 h 942975"/>
                    <a:gd name="connsiteX64" fmla="*/ 444244 w 892564"/>
                    <a:gd name="connsiteY64" fmla="*/ 152400 h 942975"/>
                    <a:gd name="connsiteX65" fmla="*/ 449007 w 892564"/>
                    <a:gd name="connsiteY65" fmla="*/ 138112 h 942975"/>
                    <a:gd name="connsiteX66" fmla="*/ 439482 w 892564"/>
                    <a:gd name="connsiteY66" fmla="*/ 71437 h 942975"/>
                    <a:gd name="connsiteX67" fmla="*/ 429957 w 892564"/>
                    <a:gd name="connsiteY67" fmla="*/ 57150 h 942975"/>
                    <a:gd name="connsiteX68" fmla="*/ 410907 w 892564"/>
                    <a:gd name="connsiteY68" fmla="*/ 33337 h 942975"/>
                    <a:gd name="connsiteX69" fmla="*/ 396619 w 892564"/>
                    <a:gd name="connsiteY69" fmla="*/ 19050 h 942975"/>
                    <a:gd name="connsiteX70" fmla="*/ 320419 w 892564"/>
                    <a:gd name="connsiteY70" fmla="*/ 0 h 942975"/>
                    <a:gd name="connsiteX71" fmla="*/ 263269 w 892564"/>
                    <a:gd name="connsiteY71" fmla="*/ 9525 h 942975"/>
                    <a:gd name="connsiteX72" fmla="*/ 206119 w 892564"/>
                    <a:gd name="connsiteY72" fmla="*/ 66675 h 942975"/>
                    <a:gd name="connsiteX73" fmla="*/ 201357 w 892564"/>
                    <a:gd name="connsiteY73" fmla="*/ 80962 h 942975"/>
                    <a:gd name="connsiteX74" fmla="*/ 191832 w 892564"/>
                    <a:gd name="connsiteY74" fmla="*/ 100012 h 942975"/>
                    <a:gd name="connsiteX75" fmla="*/ 196594 w 892564"/>
                    <a:gd name="connsiteY75" fmla="*/ 166687 h 942975"/>
                    <a:gd name="connsiteX76" fmla="*/ 206119 w 892564"/>
                    <a:gd name="connsiteY76" fmla="*/ 185737 h 942975"/>
                    <a:gd name="connsiteX77" fmla="*/ 234694 w 892564"/>
                    <a:gd name="connsiteY77" fmla="*/ 223837 h 942975"/>
                    <a:gd name="connsiteX78" fmla="*/ 239457 w 892564"/>
                    <a:gd name="connsiteY78" fmla="*/ 242887 h 942975"/>
                    <a:gd name="connsiteX79" fmla="*/ 244219 w 892564"/>
                    <a:gd name="connsiteY79" fmla="*/ 257175 h 942975"/>
                    <a:gd name="connsiteX80" fmla="*/ 239457 w 892564"/>
                    <a:gd name="connsiteY80" fmla="*/ 280987 h 942975"/>
                    <a:gd name="connsiteX81" fmla="*/ 206119 w 892564"/>
                    <a:gd name="connsiteY81" fmla="*/ 276225 h 942975"/>
                    <a:gd name="connsiteX82" fmla="*/ 177544 w 892564"/>
                    <a:gd name="connsiteY82" fmla="*/ 271462 h 942975"/>
                    <a:gd name="connsiteX83" fmla="*/ 29907 w 892564"/>
                    <a:gd name="connsiteY83" fmla="*/ 280987 h 942975"/>
                    <a:gd name="connsiteX84" fmla="*/ 1332 w 892564"/>
                    <a:gd name="connsiteY84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15682 w 892564"/>
                    <a:gd name="connsiteY37" fmla="*/ 933450 h 942975"/>
                    <a:gd name="connsiteX38" fmla="*/ 558544 w 892564"/>
                    <a:gd name="connsiteY38" fmla="*/ 938212 h 942975"/>
                    <a:gd name="connsiteX39" fmla="*/ 596644 w 892564"/>
                    <a:gd name="connsiteY39" fmla="*/ 942975 h 942975"/>
                    <a:gd name="connsiteX40" fmla="*/ 634744 w 892564"/>
                    <a:gd name="connsiteY40" fmla="*/ 938212 h 942975"/>
                    <a:gd name="connsiteX41" fmla="*/ 653794 w 892564"/>
                    <a:gd name="connsiteY41" fmla="*/ 695325 h 942975"/>
                    <a:gd name="connsiteX42" fmla="*/ 668082 w 892564"/>
                    <a:gd name="connsiteY42" fmla="*/ 700087 h 942975"/>
                    <a:gd name="connsiteX43" fmla="*/ 734757 w 892564"/>
                    <a:gd name="connsiteY43" fmla="*/ 728662 h 942975"/>
                    <a:gd name="connsiteX44" fmla="*/ 844294 w 892564"/>
                    <a:gd name="connsiteY44" fmla="*/ 733425 h 942975"/>
                    <a:gd name="connsiteX45" fmla="*/ 877632 w 892564"/>
                    <a:gd name="connsiteY45" fmla="*/ 681037 h 942975"/>
                    <a:gd name="connsiteX46" fmla="*/ 891919 w 892564"/>
                    <a:gd name="connsiteY46" fmla="*/ 642937 h 942975"/>
                    <a:gd name="connsiteX47" fmla="*/ 887157 w 892564"/>
                    <a:gd name="connsiteY47" fmla="*/ 576262 h 942975"/>
                    <a:gd name="connsiteX48" fmla="*/ 872869 w 892564"/>
                    <a:gd name="connsiteY48" fmla="*/ 561975 h 942975"/>
                    <a:gd name="connsiteX49" fmla="*/ 810957 w 892564"/>
                    <a:gd name="connsiteY49" fmla="*/ 509587 h 942975"/>
                    <a:gd name="connsiteX50" fmla="*/ 696657 w 892564"/>
                    <a:gd name="connsiteY50" fmla="*/ 528637 h 942975"/>
                    <a:gd name="connsiteX51" fmla="*/ 668082 w 892564"/>
                    <a:gd name="connsiteY51" fmla="*/ 557212 h 942975"/>
                    <a:gd name="connsiteX52" fmla="*/ 653794 w 892564"/>
                    <a:gd name="connsiteY52" fmla="*/ 566737 h 942975"/>
                    <a:gd name="connsiteX53" fmla="*/ 649032 w 892564"/>
                    <a:gd name="connsiteY53" fmla="*/ 547687 h 942975"/>
                    <a:gd name="connsiteX54" fmla="*/ 644269 w 892564"/>
                    <a:gd name="connsiteY54" fmla="*/ 533400 h 942975"/>
                    <a:gd name="connsiteX55" fmla="*/ 649032 w 892564"/>
                    <a:gd name="connsiteY55" fmla="*/ 471487 h 942975"/>
                    <a:gd name="connsiteX56" fmla="*/ 644269 w 892564"/>
                    <a:gd name="connsiteY56" fmla="*/ 285750 h 942975"/>
                    <a:gd name="connsiteX57" fmla="*/ 634744 w 892564"/>
                    <a:gd name="connsiteY57" fmla="*/ 266700 h 942975"/>
                    <a:gd name="connsiteX58" fmla="*/ 606169 w 892564"/>
                    <a:gd name="connsiteY58" fmla="*/ 261937 h 942975"/>
                    <a:gd name="connsiteX59" fmla="*/ 506157 w 892564"/>
                    <a:gd name="connsiteY59" fmla="*/ 266700 h 942975"/>
                    <a:gd name="connsiteX60" fmla="*/ 434719 w 892564"/>
                    <a:gd name="connsiteY60" fmla="*/ 261937 h 942975"/>
                    <a:gd name="connsiteX61" fmla="*/ 425194 w 892564"/>
                    <a:gd name="connsiteY61" fmla="*/ 228600 h 942975"/>
                    <a:gd name="connsiteX62" fmla="*/ 434719 w 892564"/>
                    <a:gd name="connsiteY62" fmla="*/ 176212 h 942975"/>
                    <a:gd name="connsiteX63" fmla="*/ 444244 w 892564"/>
                    <a:gd name="connsiteY63" fmla="*/ 152400 h 942975"/>
                    <a:gd name="connsiteX64" fmla="*/ 449007 w 892564"/>
                    <a:gd name="connsiteY64" fmla="*/ 138112 h 942975"/>
                    <a:gd name="connsiteX65" fmla="*/ 439482 w 892564"/>
                    <a:gd name="connsiteY65" fmla="*/ 71437 h 942975"/>
                    <a:gd name="connsiteX66" fmla="*/ 429957 w 892564"/>
                    <a:gd name="connsiteY66" fmla="*/ 57150 h 942975"/>
                    <a:gd name="connsiteX67" fmla="*/ 410907 w 892564"/>
                    <a:gd name="connsiteY67" fmla="*/ 33337 h 942975"/>
                    <a:gd name="connsiteX68" fmla="*/ 396619 w 892564"/>
                    <a:gd name="connsiteY68" fmla="*/ 19050 h 942975"/>
                    <a:gd name="connsiteX69" fmla="*/ 320419 w 892564"/>
                    <a:gd name="connsiteY69" fmla="*/ 0 h 942975"/>
                    <a:gd name="connsiteX70" fmla="*/ 263269 w 892564"/>
                    <a:gd name="connsiteY70" fmla="*/ 9525 h 942975"/>
                    <a:gd name="connsiteX71" fmla="*/ 206119 w 892564"/>
                    <a:gd name="connsiteY71" fmla="*/ 66675 h 942975"/>
                    <a:gd name="connsiteX72" fmla="*/ 201357 w 892564"/>
                    <a:gd name="connsiteY72" fmla="*/ 80962 h 942975"/>
                    <a:gd name="connsiteX73" fmla="*/ 191832 w 892564"/>
                    <a:gd name="connsiteY73" fmla="*/ 100012 h 942975"/>
                    <a:gd name="connsiteX74" fmla="*/ 196594 w 892564"/>
                    <a:gd name="connsiteY74" fmla="*/ 166687 h 942975"/>
                    <a:gd name="connsiteX75" fmla="*/ 206119 w 892564"/>
                    <a:gd name="connsiteY75" fmla="*/ 185737 h 942975"/>
                    <a:gd name="connsiteX76" fmla="*/ 234694 w 892564"/>
                    <a:gd name="connsiteY76" fmla="*/ 223837 h 942975"/>
                    <a:gd name="connsiteX77" fmla="*/ 239457 w 892564"/>
                    <a:gd name="connsiteY77" fmla="*/ 242887 h 942975"/>
                    <a:gd name="connsiteX78" fmla="*/ 244219 w 892564"/>
                    <a:gd name="connsiteY78" fmla="*/ 257175 h 942975"/>
                    <a:gd name="connsiteX79" fmla="*/ 239457 w 892564"/>
                    <a:gd name="connsiteY79" fmla="*/ 280987 h 942975"/>
                    <a:gd name="connsiteX80" fmla="*/ 206119 w 892564"/>
                    <a:gd name="connsiteY80" fmla="*/ 276225 h 942975"/>
                    <a:gd name="connsiteX81" fmla="*/ 177544 w 892564"/>
                    <a:gd name="connsiteY81" fmla="*/ 271462 h 942975"/>
                    <a:gd name="connsiteX82" fmla="*/ 29907 w 892564"/>
                    <a:gd name="connsiteY82" fmla="*/ 280987 h 942975"/>
                    <a:gd name="connsiteX83" fmla="*/ 1332 w 892564"/>
                    <a:gd name="connsiteY83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177544 w 892564"/>
                    <a:gd name="connsiteY80" fmla="*/ 271462 h 942975"/>
                    <a:gd name="connsiteX81" fmla="*/ 29907 w 892564"/>
                    <a:gd name="connsiteY81" fmla="*/ 280987 h 942975"/>
                    <a:gd name="connsiteX82" fmla="*/ 1332 w 892564"/>
                    <a:gd name="connsiteY82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29907 w 892564"/>
                    <a:gd name="connsiteY80" fmla="*/ 280987 h 942975"/>
                    <a:gd name="connsiteX81" fmla="*/ 1332 w 892564"/>
                    <a:gd name="connsiteY81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53737 w 892507"/>
                    <a:gd name="connsiteY50" fmla="*/ 566737 h 942975"/>
                    <a:gd name="connsiteX51" fmla="*/ 648975 w 892507"/>
                    <a:gd name="connsiteY51" fmla="*/ 547687 h 942975"/>
                    <a:gd name="connsiteX52" fmla="*/ 644212 w 892507"/>
                    <a:gd name="connsiteY52" fmla="*/ 533400 h 942975"/>
                    <a:gd name="connsiteX53" fmla="*/ 648975 w 892507"/>
                    <a:gd name="connsiteY53" fmla="*/ 471487 h 942975"/>
                    <a:gd name="connsiteX54" fmla="*/ 644212 w 892507"/>
                    <a:gd name="connsiteY54" fmla="*/ 285750 h 942975"/>
                    <a:gd name="connsiteX55" fmla="*/ 634687 w 892507"/>
                    <a:gd name="connsiteY55" fmla="*/ 266700 h 942975"/>
                    <a:gd name="connsiteX56" fmla="*/ 606112 w 892507"/>
                    <a:gd name="connsiteY56" fmla="*/ 261937 h 942975"/>
                    <a:gd name="connsiteX57" fmla="*/ 506100 w 892507"/>
                    <a:gd name="connsiteY57" fmla="*/ 266700 h 942975"/>
                    <a:gd name="connsiteX58" fmla="*/ 434662 w 892507"/>
                    <a:gd name="connsiteY58" fmla="*/ 261937 h 942975"/>
                    <a:gd name="connsiteX59" fmla="*/ 425137 w 892507"/>
                    <a:gd name="connsiteY59" fmla="*/ 228600 h 942975"/>
                    <a:gd name="connsiteX60" fmla="*/ 434662 w 892507"/>
                    <a:gd name="connsiteY60" fmla="*/ 176212 h 942975"/>
                    <a:gd name="connsiteX61" fmla="*/ 444187 w 892507"/>
                    <a:gd name="connsiteY61" fmla="*/ 152400 h 942975"/>
                    <a:gd name="connsiteX62" fmla="*/ 448950 w 892507"/>
                    <a:gd name="connsiteY62" fmla="*/ 138112 h 942975"/>
                    <a:gd name="connsiteX63" fmla="*/ 439425 w 892507"/>
                    <a:gd name="connsiteY63" fmla="*/ 71437 h 942975"/>
                    <a:gd name="connsiteX64" fmla="*/ 429900 w 892507"/>
                    <a:gd name="connsiteY64" fmla="*/ 57150 h 942975"/>
                    <a:gd name="connsiteX65" fmla="*/ 410850 w 892507"/>
                    <a:gd name="connsiteY65" fmla="*/ 33337 h 942975"/>
                    <a:gd name="connsiteX66" fmla="*/ 396562 w 892507"/>
                    <a:gd name="connsiteY66" fmla="*/ 19050 h 942975"/>
                    <a:gd name="connsiteX67" fmla="*/ 320362 w 892507"/>
                    <a:gd name="connsiteY67" fmla="*/ 0 h 942975"/>
                    <a:gd name="connsiteX68" fmla="*/ 263212 w 892507"/>
                    <a:gd name="connsiteY68" fmla="*/ 9525 h 942975"/>
                    <a:gd name="connsiteX69" fmla="*/ 206062 w 892507"/>
                    <a:gd name="connsiteY69" fmla="*/ 66675 h 942975"/>
                    <a:gd name="connsiteX70" fmla="*/ 201300 w 892507"/>
                    <a:gd name="connsiteY70" fmla="*/ 80962 h 942975"/>
                    <a:gd name="connsiteX71" fmla="*/ 191775 w 892507"/>
                    <a:gd name="connsiteY71" fmla="*/ 100012 h 942975"/>
                    <a:gd name="connsiteX72" fmla="*/ 196537 w 892507"/>
                    <a:gd name="connsiteY72" fmla="*/ 166687 h 942975"/>
                    <a:gd name="connsiteX73" fmla="*/ 206062 w 892507"/>
                    <a:gd name="connsiteY73" fmla="*/ 185737 h 942975"/>
                    <a:gd name="connsiteX74" fmla="*/ 234637 w 892507"/>
                    <a:gd name="connsiteY74" fmla="*/ 223837 h 942975"/>
                    <a:gd name="connsiteX75" fmla="*/ 239400 w 892507"/>
                    <a:gd name="connsiteY75" fmla="*/ 242887 h 942975"/>
                    <a:gd name="connsiteX76" fmla="*/ 244162 w 892507"/>
                    <a:gd name="connsiteY76" fmla="*/ 257175 h 942975"/>
                    <a:gd name="connsiteX77" fmla="*/ 239400 w 892507"/>
                    <a:gd name="connsiteY77" fmla="*/ 280987 h 942975"/>
                    <a:gd name="connsiteX78" fmla="*/ 206062 w 892507"/>
                    <a:gd name="connsiteY78" fmla="*/ 276225 h 942975"/>
                    <a:gd name="connsiteX79" fmla="*/ 29850 w 892507"/>
                    <a:gd name="connsiteY79" fmla="*/ 280987 h 942975"/>
                    <a:gd name="connsiteX80" fmla="*/ 1275 w 892507"/>
                    <a:gd name="connsiteY80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48975 w 892507"/>
                    <a:gd name="connsiteY50" fmla="*/ 547687 h 942975"/>
                    <a:gd name="connsiteX51" fmla="*/ 644212 w 892507"/>
                    <a:gd name="connsiteY51" fmla="*/ 533400 h 942975"/>
                    <a:gd name="connsiteX52" fmla="*/ 648975 w 892507"/>
                    <a:gd name="connsiteY52" fmla="*/ 471487 h 942975"/>
                    <a:gd name="connsiteX53" fmla="*/ 644212 w 892507"/>
                    <a:gd name="connsiteY53" fmla="*/ 285750 h 942975"/>
                    <a:gd name="connsiteX54" fmla="*/ 634687 w 892507"/>
                    <a:gd name="connsiteY54" fmla="*/ 266700 h 942975"/>
                    <a:gd name="connsiteX55" fmla="*/ 606112 w 892507"/>
                    <a:gd name="connsiteY55" fmla="*/ 261937 h 942975"/>
                    <a:gd name="connsiteX56" fmla="*/ 506100 w 892507"/>
                    <a:gd name="connsiteY56" fmla="*/ 266700 h 942975"/>
                    <a:gd name="connsiteX57" fmla="*/ 434662 w 892507"/>
                    <a:gd name="connsiteY57" fmla="*/ 261937 h 942975"/>
                    <a:gd name="connsiteX58" fmla="*/ 425137 w 892507"/>
                    <a:gd name="connsiteY58" fmla="*/ 228600 h 942975"/>
                    <a:gd name="connsiteX59" fmla="*/ 434662 w 892507"/>
                    <a:gd name="connsiteY59" fmla="*/ 176212 h 942975"/>
                    <a:gd name="connsiteX60" fmla="*/ 444187 w 892507"/>
                    <a:gd name="connsiteY60" fmla="*/ 152400 h 942975"/>
                    <a:gd name="connsiteX61" fmla="*/ 448950 w 892507"/>
                    <a:gd name="connsiteY61" fmla="*/ 138112 h 942975"/>
                    <a:gd name="connsiteX62" fmla="*/ 439425 w 892507"/>
                    <a:gd name="connsiteY62" fmla="*/ 71437 h 942975"/>
                    <a:gd name="connsiteX63" fmla="*/ 429900 w 892507"/>
                    <a:gd name="connsiteY63" fmla="*/ 57150 h 942975"/>
                    <a:gd name="connsiteX64" fmla="*/ 410850 w 892507"/>
                    <a:gd name="connsiteY64" fmla="*/ 33337 h 942975"/>
                    <a:gd name="connsiteX65" fmla="*/ 396562 w 892507"/>
                    <a:gd name="connsiteY65" fmla="*/ 19050 h 942975"/>
                    <a:gd name="connsiteX66" fmla="*/ 320362 w 892507"/>
                    <a:gd name="connsiteY66" fmla="*/ 0 h 942975"/>
                    <a:gd name="connsiteX67" fmla="*/ 263212 w 892507"/>
                    <a:gd name="connsiteY67" fmla="*/ 9525 h 942975"/>
                    <a:gd name="connsiteX68" fmla="*/ 206062 w 892507"/>
                    <a:gd name="connsiteY68" fmla="*/ 66675 h 942975"/>
                    <a:gd name="connsiteX69" fmla="*/ 201300 w 892507"/>
                    <a:gd name="connsiteY69" fmla="*/ 80962 h 942975"/>
                    <a:gd name="connsiteX70" fmla="*/ 191775 w 892507"/>
                    <a:gd name="connsiteY70" fmla="*/ 100012 h 942975"/>
                    <a:gd name="connsiteX71" fmla="*/ 196537 w 892507"/>
                    <a:gd name="connsiteY71" fmla="*/ 166687 h 942975"/>
                    <a:gd name="connsiteX72" fmla="*/ 206062 w 892507"/>
                    <a:gd name="connsiteY72" fmla="*/ 185737 h 942975"/>
                    <a:gd name="connsiteX73" fmla="*/ 234637 w 892507"/>
                    <a:gd name="connsiteY73" fmla="*/ 223837 h 942975"/>
                    <a:gd name="connsiteX74" fmla="*/ 239400 w 892507"/>
                    <a:gd name="connsiteY74" fmla="*/ 242887 h 942975"/>
                    <a:gd name="connsiteX75" fmla="*/ 244162 w 892507"/>
                    <a:gd name="connsiteY75" fmla="*/ 257175 h 942975"/>
                    <a:gd name="connsiteX76" fmla="*/ 239400 w 892507"/>
                    <a:gd name="connsiteY76" fmla="*/ 280987 h 942975"/>
                    <a:gd name="connsiteX77" fmla="*/ 206062 w 892507"/>
                    <a:gd name="connsiteY77" fmla="*/ 276225 h 942975"/>
                    <a:gd name="connsiteX78" fmla="*/ 29850 w 892507"/>
                    <a:gd name="connsiteY78" fmla="*/ 280987 h 942975"/>
                    <a:gd name="connsiteX79" fmla="*/ 1275 w 892507"/>
                    <a:gd name="connsiteY79" fmla="*/ 295275 h 942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892507" h="942975">
                      <a:moveTo>
                        <a:pt x="1275" y="295275"/>
                      </a:moveTo>
                      <a:cubicBezTo>
                        <a:pt x="-2694" y="324644"/>
                        <a:pt x="3656" y="419894"/>
                        <a:pt x="6037" y="457200"/>
                      </a:cubicBezTo>
                      <a:cubicBezTo>
                        <a:pt x="8418" y="494506"/>
                        <a:pt x="11593" y="504825"/>
                        <a:pt x="15562" y="519112"/>
                      </a:cubicBezTo>
                      <a:cubicBezTo>
                        <a:pt x="19531" y="533399"/>
                        <a:pt x="23304" y="536379"/>
                        <a:pt x="29850" y="542925"/>
                      </a:cubicBezTo>
                      <a:cubicBezTo>
                        <a:pt x="33400" y="546475"/>
                        <a:pt x="39267" y="546469"/>
                        <a:pt x="44137" y="547687"/>
                      </a:cubicBezTo>
                      <a:cubicBezTo>
                        <a:pt x="51990" y="549650"/>
                        <a:pt x="60012" y="550862"/>
                        <a:pt x="67950" y="552450"/>
                      </a:cubicBezTo>
                      <a:cubicBezTo>
                        <a:pt x="79062" y="549275"/>
                        <a:pt x="90557" y="547217"/>
                        <a:pt x="101287" y="542925"/>
                      </a:cubicBezTo>
                      <a:cubicBezTo>
                        <a:pt x="114934" y="537466"/>
                        <a:pt x="118876" y="528267"/>
                        <a:pt x="129862" y="519112"/>
                      </a:cubicBezTo>
                      <a:cubicBezTo>
                        <a:pt x="134259" y="515448"/>
                        <a:pt x="139387" y="512762"/>
                        <a:pt x="144150" y="509587"/>
                      </a:cubicBezTo>
                      <a:cubicBezTo>
                        <a:pt x="169550" y="511175"/>
                        <a:pt x="195040" y="511686"/>
                        <a:pt x="220350" y="514350"/>
                      </a:cubicBezTo>
                      <a:cubicBezTo>
                        <a:pt x="225342" y="514876"/>
                        <a:pt x="231087" y="515562"/>
                        <a:pt x="234637" y="519112"/>
                      </a:cubicBezTo>
                      <a:cubicBezTo>
                        <a:pt x="241183" y="525658"/>
                        <a:pt x="244162" y="534987"/>
                        <a:pt x="248925" y="542925"/>
                      </a:cubicBezTo>
                      <a:cubicBezTo>
                        <a:pt x="242355" y="634900"/>
                        <a:pt x="254541" y="583866"/>
                        <a:pt x="234637" y="628650"/>
                      </a:cubicBezTo>
                      <a:cubicBezTo>
                        <a:pt x="231165" y="636462"/>
                        <a:pt x="230241" y="645623"/>
                        <a:pt x="225112" y="652462"/>
                      </a:cubicBezTo>
                      <a:cubicBezTo>
                        <a:pt x="213902" y="667409"/>
                        <a:pt x="202980" y="667520"/>
                        <a:pt x="187012" y="671512"/>
                      </a:cubicBezTo>
                      <a:cubicBezTo>
                        <a:pt x="175900" y="668337"/>
                        <a:pt x="164196" y="666769"/>
                        <a:pt x="153675" y="661987"/>
                      </a:cubicBezTo>
                      <a:cubicBezTo>
                        <a:pt x="146449" y="658703"/>
                        <a:pt x="140652" y="652866"/>
                        <a:pt x="134625" y="647700"/>
                      </a:cubicBezTo>
                      <a:cubicBezTo>
                        <a:pt x="120365" y="635477"/>
                        <a:pt x="120610" y="633822"/>
                        <a:pt x="110812" y="619125"/>
                      </a:cubicBezTo>
                      <a:cubicBezTo>
                        <a:pt x="82237" y="620712"/>
                        <a:pt x="53092" y="617991"/>
                        <a:pt x="25087" y="623887"/>
                      </a:cubicBezTo>
                      <a:cubicBezTo>
                        <a:pt x="20174" y="624921"/>
                        <a:pt x="20325" y="633155"/>
                        <a:pt x="20325" y="638175"/>
                      </a:cubicBezTo>
                      <a:cubicBezTo>
                        <a:pt x="20325" y="655709"/>
                        <a:pt x="22706" y="644525"/>
                        <a:pt x="25087" y="690562"/>
                      </a:cubicBezTo>
                      <a:cubicBezTo>
                        <a:pt x="27468" y="736599"/>
                        <a:pt x="-3488" y="874713"/>
                        <a:pt x="34612" y="914400"/>
                      </a:cubicBezTo>
                      <a:cubicBezTo>
                        <a:pt x="72712" y="954087"/>
                        <a:pt x="213206" y="927100"/>
                        <a:pt x="253687" y="928687"/>
                      </a:cubicBezTo>
                      <a:cubicBezTo>
                        <a:pt x="261625" y="927100"/>
                        <a:pt x="273010" y="930660"/>
                        <a:pt x="277500" y="923925"/>
                      </a:cubicBezTo>
                      <a:cubicBezTo>
                        <a:pt x="282775" y="916012"/>
                        <a:pt x="266332" y="887302"/>
                        <a:pt x="263212" y="881062"/>
                      </a:cubicBezTo>
                      <a:cubicBezTo>
                        <a:pt x="260037" y="868362"/>
                        <a:pt x="257826" y="855381"/>
                        <a:pt x="253687" y="842962"/>
                      </a:cubicBezTo>
                      <a:cubicBezTo>
                        <a:pt x="252100" y="838200"/>
                        <a:pt x="250304" y="833502"/>
                        <a:pt x="248925" y="828675"/>
                      </a:cubicBezTo>
                      <a:cubicBezTo>
                        <a:pt x="244438" y="812971"/>
                        <a:pt x="242676" y="802194"/>
                        <a:pt x="239400" y="785812"/>
                      </a:cubicBezTo>
                      <a:cubicBezTo>
                        <a:pt x="242575" y="771525"/>
                        <a:pt x="240806" y="755128"/>
                        <a:pt x="248925" y="742950"/>
                      </a:cubicBezTo>
                      <a:cubicBezTo>
                        <a:pt x="254832" y="734089"/>
                        <a:pt x="267670" y="732758"/>
                        <a:pt x="277500" y="728662"/>
                      </a:cubicBezTo>
                      <a:cubicBezTo>
                        <a:pt x="286768" y="724800"/>
                        <a:pt x="306075" y="719137"/>
                        <a:pt x="306075" y="719137"/>
                      </a:cubicBezTo>
                      <a:cubicBezTo>
                        <a:pt x="323537" y="722312"/>
                        <a:pt x="342587" y="720725"/>
                        <a:pt x="358462" y="728662"/>
                      </a:cubicBezTo>
                      <a:cubicBezTo>
                        <a:pt x="363087" y="730975"/>
                        <a:pt x="390372" y="768034"/>
                        <a:pt x="396562" y="776287"/>
                      </a:cubicBezTo>
                      <a:cubicBezTo>
                        <a:pt x="394975" y="809625"/>
                        <a:pt x="394265" y="843016"/>
                        <a:pt x="391800" y="876300"/>
                      </a:cubicBezTo>
                      <a:cubicBezTo>
                        <a:pt x="391578" y="879296"/>
                        <a:pt x="381193" y="911586"/>
                        <a:pt x="391800" y="919162"/>
                      </a:cubicBezTo>
                      <a:cubicBezTo>
                        <a:pt x="399970" y="924998"/>
                        <a:pt x="392594" y="925512"/>
                        <a:pt x="420375" y="928687"/>
                      </a:cubicBezTo>
                      <a:cubicBezTo>
                        <a:pt x="448156" y="931862"/>
                        <a:pt x="529118" y="935831"/>
                        <a:pt x="558487" y="938212"/>
                      </a:cubicBezTo>
                      <a:cubicBezTo>
                        <a:pt x="587856" y="940593"/>
                        <a:pt x="583788" y="942975"/>
                        <a:pt x="596587" y="942975"/>
                      </a:cubicBezTo>
                      <a:cubicBezTo>
                        <a:pt x="609386" y="942975"/>
                        <a:pt x="621987" y="939800"/>
                        <a:pt x="634687" y="938212"/>
                      </a:cubicBezTo>
                      <a:cubicBezTo>
                        <a:pt x="637952" y="872912"/>
                        <a:pt x="642558" y="751221"/>
                        <a:pt x="653737" y="695325"/>
                      </a:cubicBezTo>
                      <a:cubicBezTo>
                        <a:pt x="654722" y="690402"/>
                        <a:pt x="663535" y="697842"/>
                        <a:pt x="668025" y="700087"/>
                      </a:cubicBezTo>
                      <a:cubicBezTo>
                        <a:pt x="727213" y="729681"/>
                        <a:pt x="690279" y="719779"/>
                        <a:pt x="734700" y="728662"/>
                      </a:cubicBezTo>
                      <a:cubicBezTo>
                        <a:pt x="778294" y="750460"/>
                        <a:pt x="776391" y="756041"/>
                        <a:pt x="844237" y="733425"/>
                      </a:cubicBezTo>
                      <a:cubicBezTo>
                        <a:pt x="855802" y="729570"/>
                        <a:pt x="873552" y="689083"/>
                        <a:pt x="877575" y="681037"/>
                      </a:cubicBezTo>
                      <a:cubicBezTo>
                        <a:pt x="885513" y="665956"/>
                        <a:pt x="890275" y="660399"/>
                        <a:pt x="891862" y="642937"/>
                      </a:cubicBezTo>
                      <a:cubicBezTo>
                        <a:pt x="893449" y="625475"/>
                        <a:pt x="892203" y="597951"/>
                        <a:pt x="887100" y="576262"/>
                      </a:cubicBezTo>
                      <a:cubicBezTo>
                        <a:pt x="885557" y="569706"/>
                        <a:pt x="877575" y="566737"/>
                        <a:pt x="872812" y="561975"/>
                      </a:cubicBezTo>
                      <a:cubicBezTo>
                        <a:pt x="860112" y="550863"/>
                        <a:pt x="840269" y="515143"/>
                        <a:pt x="810900" y="509587"/>
                      </a:cubicBezTo>
                      <a:cubicBezTo>
                        <a:pt x="758140" y="513105"/>
                        <a:pt x="740834" y="508221"/>
                        <a:pt x="696600" y="528637"/>
                      </a:cubicBezTo>
                      <a:cubicBezTo>
                        <a:pt x="667695" y="541978"/>
                        <a:pt x="675963" y="554037"/>
                        <a:pt x="668025" y="557212"/>
                      </a:cubicBezTo>
                      <a:cubicBezTo>
                        <a:pt x="660087" y="560387"/>
                        <a:pt x="652944" y="551656"/>
                        <a:pt x="648975" y="547687"/>
                      </a:cubicBezTo>
                      <a:cubicBezTo>
                        <a:pt x="645006" y="543718"/>
                        <a:pt x="644212" y="538420"/>
                        <a:pt x="644212" y="533400"/>
                      </a:cubicBezTo>
                      <a:cubicBezTo>
                        <a:pt x="644212" y="512701"/>
                        <a:pt x="647387" y="492125"/>
                        <a:pt x="648975" y="471487"/>
                      </a:cubicBezTo>
                      <a:cubicBezTo>
                        <a:pt x="647387" y="409575"/>
                        <a:pt x="648523" y="347532"/>
                        <a:pt x="644212" y="285750"/>
                      </a:cubicBezTo>
                      <a:cubicBezTo>
                        <a:pt x="643718" y="278668"/>
                        <a:pt x="640707" y="270463"/>
                        <a:pt x="634687" y="266700"/>
                      </a:cubicBezTo>
                      <a:cubicBezTo>
                        <a:pt x="626498" y="261582"/>
                        <a:pt x="615637" y="263525"/>
                        <a:pt x="606112" y="261937"/>
                      </a:cubicBezTo>
                      <a:lnTo>
                        <a:pt x="506100" y="266700"/>
                      </a:lnTo>
                      <a:cubicBezTo>
                        <a:pt x="445682" y="270598"/>
                        <a:pt x="475585" y="278306"/>
                        <a:pt x="434662" y="261937"/>
                      </a:cubicBezTo>
                      <a:cubicBezTo>
                        <a:pt x="432672" y="255965"/>
                        <a:pt x="424805" y="233581"/>
                        <a:pt x="425137" y="228600"/>
                      </a:cubicBezTo>
                      <a:cubicBezTo>
                        <a:pt x="426318" y="210890"/>
                        <a:pt x="430357" y="193431"/>
                        <a:pt x="434662" y="176212"/>
                      </a:cubicBezTo>
                      <a:cubicBezTo>
                        <a:pt x="436735" y="167918"/>
                        <a:pt x="441185" y="160404"/>
                        <a:pt x="444187" y="152400"/>
                      </a:cubicBezTo>
                      <a:cubicBezTo>
                        <a:pt x="445950" y="147699"/>
                        <a:pt x="447362" y="142875"/>
                        <a:pt x="448950" y="138112"/>
                      </a:cubicBezTo>
                      <a:cubicBezTo>
                        <a:pt x="447734" y="124738"/>
                        <a:pt x="448585" y="89759"/>
                        <a:pt x="439425" y="71437"/>
                      </a:cubicBezTo>
                      <a:cubicBezTo>
                        <a:pt x="436865" y="66318"/>
                        <a:pt x="433075" y="61912"/>
                        <a:pt x="429900" y="57150"/>
                      </a:cubicBezTo>
                      <a:cubicBezTo>
                        <a:pt x="421247" y="22541"/>
                        <a:pt x="433396" y="48368"/>
                        <a:pt x="410850" y="33337"/>
                      </a:cubicBezTo>
                      <a:cubicBezTo>
                        <a:pt x="405246" y="29601"/>
                        <a:pt x="402337" y="22515"/>
                        <a:pt x="396562" y="19050"/>
                      </a:cubicBezTo>
                      <a:cubicBezTo>
                        <a:pt x="366332" y="912"/>
                        <a:pt x="355835" y="3941"/>
                        <a:pt x="320362" y="0"/>
                      </a:cubicBezTo>
                      <a:cubicBezTo>
                        <a:pt x="301312" y="3175"/>
                        <a:pt x="281334" y="2849"/>
                        <a:pt x="263212" y="9525"/>
                      </a:cubicBezTo>
                      <a:cubicBezTo>
                        <a:pt x="235392" y="19775"/>
                        <a:pt x="221221" y="43936"/>
                        <a:pt x="206062" y="66675"/>
                      </a:cubicBezTo>
                      <a:cubicBezTo>
                        <a:pt x="204475" y="71437"/>
                        <a:pt x="203277" y="76348"/>
                        <a:pt x="201300" y="80962"/>
                      </a:cubicBezTo>
                      <a:cubicBezTo>
                        <a:pt x="198503" y="87488"/>
                        <a:pt x="192169" y="92923"/>
                        <a:pt x="191775" y="100012"/>
                      </a:cubicBezTo>
                      <a:cubicBezTo>
                        <a:pt x="190539" y="122259"/>
                        <a:pt x="192874" y="144709"/>
                        <a:pt x="196537" y="166687"/>
                      </a:cubicBezTo>
                      <a:cubicBezTo>
                        <a:pt x="197704" y="173690"/>
                        <a:pt x="202124" y="179830"/>
                        <a:pt x="206062" y="185737"/>
                      </a:cubicBezTo>
                      <a:cubicBezTo>
                        <a:pt x="214868" y="198946"/>
                        <a:pt x="234637" y="223837"/>
                        <a:pt x="234637" y="223837"/>
                      </a:cubicBezTo>
                      <a:cubicBezTo>
                        <a:pt x="236225" y="230187"/>
                        <a:pt x="237602" y="236593"/>
                        <a:pt x="239400" y="242887"/>
                      </a:cubicBezTo>
                      <a:cubicBezTo>
                        <a:pt x="240779" y="247714"/>
                        <a:pt x="244162" y="252155"/>
                        <a:pt x="244162" y="257175"/>
                      </a:cubicBezTo>
                      <a:cubicBezTo>
                        <a:pt x="244162" y="265269"/>
                        <a:pt x="240987" y="273050"/>
                        <a:pt x="239400" y="280987"/>
                      </a:cubicBezTo>
                      <a:lnTo>
                        <a:pt x="206062" y="276225"/>
                      </a:lnTo>
                      <a:cubicBezTo>
                        <a:pt x="171137" y="276225"/>
                        <a:pt x="63981" y="277812"/>
                        <a:pt x="29850" y="280987"/>
                      </a:cubicBezTo>
                      <a:cubicBezTo>
                        <a:pt x="-4281" y="284162"/>
                        <a:pt x="5244" y="265906"/>
                        <a:pt x="1275" y="295275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  <p:sp>
              <p:nvSpPr>
                <p:cNvPr id="155" name="Freeform: Shape 154">
                  <a:extLst>
                    <a:ext uri="{FF2B5EF4-FFF2-40B4-BE49-F238E27FC236}">
                      <a16:creationId xmlns:a16="http://schemas.microsoft.com/office/drawing/2014/main" id="{E856929F-D326-D12A-FC36-84AD4370B023}"/>
                    </a:ext>
                  </a:extLst>
                </p:cNvPr>
                <p:cNvSpPr/>
                <p:nvPr/>
              </p:nvSpPr>
              <p:spPr>
                <a:xfrm>
                  <a:off x="9757088" y="3433763"/>
                  <a:ext cx="892507" cy="942975"/>
                </a:xfrm>
                <a:custGeom>
                  <a:avLst/>
                  <a:gdLst>
                    <a:gd name="connsiteX0" fmla="*/ 1332 w 892414"/>
                    <a:gd name="connsiteY0" fmla="*/ 295275 h 942975"/>
                    <a:gd name="connsiteX1" fmla="*/ 6094 w 892414"/>
                    <a:gd name="connsiteY1" fmla="*/ 457200 h 942975"/>
                    <a:gd name="connsiteX2" fmla="*/ 10857 w 892414"/>
                    <a:gd name="connsiteY2" fmla="*/ 476250 h 942975"/>
                    <a:gd name="connsiteX3" fmla="*/ 15619 w 892414"/>
                    <a:gd name="connsiteY3" fmla="*/ 519112 h 942975"/>
                    <a:gd name="connsiteX4" fmla="*/ 29907 w 892414"/>
                    <a:gd name="connsiteY4" fmla="*/ 542925 h 942975"/>
                    <a:gd name="connsiteX5" fmla="*/ 44194 w 892414"/>
                    <a:gd name="connsiteY5" fmla="*/ 547687 h 942975"/>
                    <a:gd name="connsiteX6" fmla="*/ 68007 w 892414"/>
                    <a:gd name="connsiteY6" fmla="*/ 552450 h 942975"/>
                    <a:gd name="connsiteX7" fmla="*/ 101344 w 892414"/>
                    <a:gd name="connsiteY7" fmla="*/ 542925 h 942975"/>
                    <a:gd name="connsiteX8" fmla="*/ 129919 w 892414"/>
                    <a:gd name="connsiteY8" fmla="*/ 519112 h 942975"/>
                    <a:gd name="connsiteX9" fmla="*/ 144207 w 892414"/>
                    <a:gd name="connsiteY9" fmla="*/ 509587 h 942975"/>
                    <a:gd name="connsiteX10" fmla="*/ 220407 w 892414"/>
                    <a:gd name="connsiteY10" fmla="*/ 514350 h 942975"/>
                    <a:gd name="connsiteX11" fmla="*/ 234694 w 892414"/>
                    <a:gd name="connsiteY11" fmla="*/ 519112 h 942975"/>
                    <a:gd name="connsiteX12" fmla="*/ 248982 w 892414"/>
                    <a:gd name="connsiteY12" fmla="*/ 542925 h 942975"/>
                    <a:gd name="connsiteX13" fmla="*/ 234694 w 892414"/>
                    <a:gd name="connsiteY13" fmla="*/ 628650 h 942975"/>
                    <a:gd name="connsiteX14" fmla="*/ 225169 w 892414"/>
                    <a:gd name="connsiteY14" fmla="*/ 652462 h 942975"/>
                    <a:gd name="connsiteX15" fmla="*/ 187069 w 892414"/>
                    <a:gd name="connsiteY15" fmla="*/ 671512 h 942975"/>
                    <a:gd name="connsiteX16" fmla="*/ 153732 w 892414"/>
                    <a:gd name="connsiteY16" fmla="*/ 661987 h 942975"/>
                    <a:gd name="connsiteX17" fmla="*/ 134682 w 892414"/>
                    <a:gd name="connsiteY17" fmla="*/ 647700 h 942975"/>
                    <a:gd name="connsiteX18" fmla="*/ 110869 w 892414"/>
                    <a:gd name="connsiteY18" fmla="*/ 619125 h 942975"/>
                    <a:gd name="connsiteX19" fmla="*/ 25144 w 892414"/>
                    <a:gd name="connsiteY19" fmla="*/ 623887 h 942975"/>
                    <a:gd name="connsiteX20" fmla="*/ 20382 w 892414"/>
                    <a:gd name="connsiteY20" fmla="*/ 638175 h 942975"/>
                    <a:gd name="connsiteX21" fmla="*/ 25144 w 892414"/>
                    <a:gd name="connsiteY21" fmla="*/ 690562 h 942975"/>
                    <a:gd name="connsiteX22" fmla="*/ 29907 w 892414"/>
                    <a:gd name="connsiteY22" fmla="*/ 704850 h 942975"/>
                    <a:gd name="connsiteX23" fmla="*/ 34669 w 892414"/>
                    <a:gd name="connsiteY23" fmla="*/ 914400 h 942975"/>
                    <a:gd name="connsiteX24" fmla="*/ 120394 w 892414"/>
                    <a:gd name="connsiteY24" fmla="*/ 919162 h 942975"/>
                    <a:gd name="connsiteX25" fmla="*/ 134682 w 892414"/>
                    <a:gd name="connsiteY25" fmla="*/ 923925 h 942975"/>
                    <a:gd name="connsiteX26" fmla="*/ 253744 w 892414"/>
                    <a:gd name="connsiteY26" fmla="*/ 928687 h 942975"/>
                    <a:gd name="connsiteX27" fmla="*/ 277557 w 892414"/>
                    <a:gd name="connsiteY27" fmla="*/ 923925 h 942975"/>
                    <a:gd name="connsiteX28" fmla="*/ 263269 w 892414"/>
                    <a:gd name="connsiteY28" fmla="*/ 881062 h 942975"/>
                    <a:gd name="connsiteX29" fmla="*/ 253744 w 892414"/>
                    <a:gd name="connsiteY29" fmla="*/ 842962 h 942975"/>
                    <a:gd name="connsiteX30" fmla="*/ 248982 w 892414"/>
                    <a:gd name="connsiteY30" fmla="*/ 828675 h 942975"/>
                    <a:gd name="connsiteX31" fmla="*/ 239457 w 892414"/>
                    <a:gd name="connsiteY31" fmla="*/ 785812 h 942975"/>
                    <a:gd name="connsiteX32" fmla="*/ 248982 w 892414"/>
                    <a:gd name="connsiteY32" fmla="*/ 742950 h 942975"/>
                    <a:gd name="connsiteX33" fmla="*/ 277557 w 892414"/>
                    <a:gd name="connsiteY33" fmla="*/ 728662 h 942975"/>
                    <a:gd name="connsiteX34" fmla="*/ 306132 w 892414"/>
                    <a:gd name="connsiteY34" fmla="*/ 719137 h 942975"/>
                    <a:gd name="connsiteX35" fmla="*/ 358519 w 892414"/>
                    <a:gd name="connsiteY35" fmla="*/ 728662 h 942975"/>
                    <a:gd name="connsiteX36" fmla="*/ 396619 w 892414"/>
                    <a:gd name="connsiteY36" fmla="*/ 776287 h 942975"/>
                    <a:gd name="connsiteX37" fmla="*/ 391857 w 892414"/>
                    <a:gd name="connsiteY37" fmla="*/ 876300 h 942975"/>
                    <a:gd name="connsiteX38" fmla="*/ 391857 w 892414"/>
                    <a:gd name="connsiteY38" fmla="*/ 919162 h 942975"/>
                    <a:gd name="connsiteX39" fmla="*/ 420432 w 892414"/>
                    <a:gd name="connsiteY39" fmla="*/ 928687 h 942975"/>
                    <a:gd name="connsiteX40" fmla="*/ 515682 w 892414"/>
                    <a:gd name="connsiteY40" fmla="*/ 933450 h 942975"/>
                    <a:gd name="connsiteX41" fmla="*/ 558544 w 892414"/>
                    <a:gd name="connsiteY41" fmla="*/ 938212 h 942975"/>
                    <a:gd name="connsiteX42" fmla="*/ 596644 w 892414"/>
                    <a:gd name="connsiteY42" fmla="*/ 942975 h 942975"/>
                    <a:gd name="connsiteX43" fmla="*/ 634744 w 892414"/>
                    <a:gd name="connsiteY43" fmla="*/ 938212 h 942975"/>
                    <a:gd name="connsiteX44" fmla="*/ 653794 w 892414"/>
                    <a:gd name="connsiteY44" fmla="*/ 695325 h 942975"/>
                    <a:gd name="connsiteX45" fmla="*/ 668082 w 892414"/>
                    <a:gd name="connsiteY45" fmla="*/ 700087 h 942975"/>
                    <a:gd name="connsiteX46" fmla="*/ 734757 w 892414"/>
                    <a:gd name="connsiteY46" fmla="*/ 728662 h 942975"/>
                    <a:gd name="connsiteX47" fmla="*/ 844294 w 892414"/>
                    <a:gd name="connsiteY47" fmla="*/ 733425 h 942975"/>
                    <a:gd name="connsiteX48" fmla="*/ 877632 w 892414"/>
                    <a:gd name="connsiteY48" fmla="*/ 681037 h 942975"/>
                    <a:gd name="connsiteX49" fmla="*/ 882394 w 892414"/>
                    <a:gd name="connsiteY49" fmla="*/ 661987 h 942975"/>
                    <a:gd name="connsiteX50" fmla="*/ 891919 w 892414"/>
                    <a:gd name="connsiteY50" fmla="*/ 642937 h 942975"/>
                    <a:gd name="connsiteX51" fmla="*/ 887157 w 892414"/>
                    <a:gd name="connsiteY51" fmla="*/ 576262 h 942975"/>
                    <a:gd name="connsiteX52" fmla="*/ 872869 w 892414"/>
                    <a:gd name="connsiteY52" fmla="*/ 561975 h 942975"/>
                    <a:gd name="connsiteX53" fmla="*/ 853819 w 892414"/>
                    <a:gd name="connsiteY53" fmla="*/ 528637 h 942975"/>
                    <a:gd name="connsiteX54" fmla="*/ 839532 w 892414"/>
                    <a:gd name="connsiteY54" fmla="*/ 514350 h 942975"/>
                    <a:gd name="connsiteX55" fmla="*/ 810957 w 892414"/>
                    <a:gd name="connsiteY55" fmla="*/ 509587 h 942975"/>
                    <a:gd name="connsiteX56" fmla="*/ 696657 w 892414"/>
                    <a:gd name="connsiteY56" fmla="*/ 528637 h 942975"/>
                    <a:gd name="connsiteX57" fmla="*/ 668082 w 892414"/>
                    <a:gd name="connsiteY57" fmla="*/ 557212 h 942975"/>
                    <a:gd name="connsiteX58" fmla="*/ 653794 w 892414"/>
                    <a:gd name="connsiteY58" fmla="*/ 566737 h 942975"/>
                    <a:gd name="connsiteX59" fmla="*/ 649032 w 892414"/>
                    <a:gd name="connsiteY59" fmla="*/ 547687 h 942975"/>
                    <a:gd name="connsiteX60" fmla="*/ 644269 w 892414"/>
                    <a:gd name="connsiteY60" fmla="*/ 533400 h 942975"/>
                    <a:gd name="connsiteX61" fmla="*/ 649032 w 892414"/>
                    <a:gd name="connsiteY61" fmla="*/ 471487 h 942975"/>
                    <a:gd name="connsiteX62" fmla="*/ 644269 w 892414"/>
                    <a:gd name="connsiteY62" fmla="*/ 285750 h 942975"/>
                    <a:gd name="connsiteX63" fmla="*/ 634744 w 892414"/>
                    <a:gd name="connsiteY63" fmla="*/ 266700 h 942975"/>
                    <a:gd name="connsiteX64" fmla="*/ 606169 w 892414"/>
                    <a:gd name="connsiteY64" fmla="*/ 261937 h 942975"/>
                    <a:gd name="connsiteX65" fmla="*/ 506157 w 892414"/>
                    <a:gd name="connsiteY65" fmla="*/ 266700 h 942975"/>
                    <a:gd name="connsiteX66" fmla="*/ 434719 w 892414"/>
                    <a:gd name="connsiteY66" fmla="*/ 261937 h 942975"/>
                    <a:gd name="connsiteX67" fmla="*/ 425194 w 892414"/>
                    <a:gd name="connsiteY67" fmla="*/ 228600 h 942975"/>
                    <a:gd name="connsiteX68" fmla="*/ 434719 w 892414"/>
                    <a:gd name="connsiteY68" fmla="*/ 176212 h 942975"/>
                    <a:gd name="connsiteX69" fmla="*/ 444244 w 892414"/>
                    <a:gd name="connsiteY69" fmla="*/ 152400 h 942975"/>
                    <a:gd name="connsiteX70" fmla="*/ 449007 w 892414"/>
                    <a:gd name="connsiteY70" fmla="*/ 138112 h 942975"/>
                    <a:gd name="connsiteX71" fmla="*/ 439482 w 892414"/>
                    <a:gd name="connsiteY71" fmla="*/ 71437 h 942975"/>
                    <a:gd name="connsiteX72" fmla="*/ 429957 w 892414"/>
                    <a:gd name="connsiteY72" fmla="*/ 57150 h 942975"/>
                    <a:gd name="connsiteX73" fmla="*/ 410907 w 892414"/>
                    <a:gd name="connsiteY73" fmla="*/ 33337 h 942975"/>
                    <a:gd name="connsiteX74" fmla="*/ 396619 w 892414"/>
                    <a:gd name="connsiteY74" fmla="*/ 19050 h 942975"/>
                    <a:gd name="connsiteX75" fmla="*/ 320419 w 892414"/>
                    <a:gd name="connsiteY75" fmla="*/ 0 h 942975"/>
                    <a:gd name="connsiteX76" fmla="*/ 263269 w 892414"/>
                    <a:gd name="connsiteY76" fmla="*/ 9525 h 942975"/>
                    <a:gd name="connsiteX77" fmla="*/ 206119 w 892414"/>
                    <a:gd name="connsiteY77" fmla="*/ 66675 h 942975"/>
                    <a:gd name="connsiteX78" fmla="*/ 201357 w 892414"/>
                    <a:gd name="connsiteY78" fmla="*/ 80962 h 942975"/>
                    <a:gd name="connsiteX79" fmla="*/ 191832 w 892414"/>
                    <a:gd name="connsiteY79" fmla="*/ 100012 h 942975"/>
                    <a:gd name="connsiteX80" fmla="*/ 196594 w 892414"/>
                    <a:gd name="connsiteY80" fmla="*/ 166687 h 942975"/>
                    <a:gd name="connsiteX81" fmla="*/ 206119 w 892414"/>
                    <a:gd name="connsiteY81" fmla="*/ 185737 h 942975"/>
                    <a:gd name="connsiteX82" fmla="*/ 234694 w 892414"/>
                    <a:gd name="connsiteY82" fmla="*/ 223837 h 942975"/>
                    <a:gd name="connsiteX83" fmla="*/ 239457 w 892414"/>
                    <a:gd name="connsiteY83" fmla="*/ 242887 h 942975"/>
                    <a:gd name="connsiteX84" fmla="*/ 244219 w 892414"/>
                    <a:gd name="connsiteY84" fmla="*/ 257175 h 942975"/>
                    <a:gd name="connsiteX85" fmla="*/ 239457 w 892414"/>
                    <a:gd name="connsiteY85" fmla="*/ 280987 h 942975"/>
                    <a:gd name="connsiteX86" fmla="*/ 206119 w 892414"/>
                    <a:gd name="connsiteY86" fmla="*/ 276225 h 942975"/>
                    <a:gd name="connsiteX87" fmla="*/ 177544 w 892414"/>
                    <a:gd name="connsiteY87" fmla="*/ 271462 h 942975"/>
                    <a:gd name="connsiteX88" fmla="*/ 29907 w 892414"/>
                    <a:gd name="connsiteY88" fmla="*/ 280987 h 942975"/>
                    <a:gd name="connsiteX89" fmla="*/ 1332 w 892414"/>
                    <a:gd name="connsiteY89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53819 w 892564"/>
                    <a:gd name="connsiteY52" fmla="*/ 528637 h 942975"/>
                    <a:gd name="connsiteX53" fmla="*/ 839532 w 892564"/>
                    <a:gd name="connsiteY53" fmla="*/ 514350 h 942975"/>
                    <a:gd name="connsiteX54" fmla="*/ 810957 w 892564"/>
                    <a:gd name="connsiteY54" fmla="*/ 509587 h 942975"/>
                    <a:gd name="connsiteX55" fmla="*/ 696657 w 892564"/>
                    <a:gd name="connsiteY55" fmla="*/ 528637 h 942975"/>
                    <a:gd name="connsiteX56" fmla="*/ 668082 w 892564"/>
                    <a:gd name="connsiteY56" fmla="*/ 557212 h 942975"/>
                    <a:gd name="connsiteX57" fmla="*/ 653794 w 892564"/>
                    <a:gd name="connsiteY57" fmla="*/ 566737 h 942975"/>
                    <a:gd name="connsiteX58" fmla="*/ 649032 w 892564"/>
                    <a:gd name="connsiteY58" fmla="*/ 547687 h 942975"/>
                    <a:gd name="connsiteX59" fmla="*/ 644269 w 892564"/>
                    <a:gd name="connsiteY59" fmla="*/ 533400 h 942975"/>
                    <a:gd name="connsiteX60" fmla="*/ 649032 w 892564"/>
                    <a:gd name="connsiteY60" fmla="*/ 471487 h 942975"/>
                    <a:gd name="connsiteX61" fmla="*/ 644269 w 892564"/>
                    <a:gd name="connsiteY61" fmla="*/ 285750 h 942975"/>
                    <a:gd name="connsiteX62" fmla="*/ 634744 w 892564"/>
                    <a:gd name="connsiteY62" fmla="*/ 266700 h 942975"/>
                    <a:gd name="connsiteX63" fmla="*/ 606169 w 892564"/>
                    <a:gd name="connsiteY63" fmla="*/ 261937 h 942975"/>
                    <a:gd name="connsiteX64" fmla="*/ 506157 w 892564"/>
                    <a:gd name="connsiteY64" fmla="*/ 266700 h 942975"/>
                    <a:gd name="connsiteX65" fmla="*/ 434719 w 892564"/>
                    <a:gd name="connsiteY65" fmla="*/ 261937 h 942975"/>
                    <a:gd name="connsiteX66" fmla="*/ 425194 w 892564"/>
                    <a:gd name="connsiteY66" fmla="*/ 228600 h 942975"/>
                    <a:gd name="connsiteX67" fmla="*/ 434719 w 892564"/>
                    <a:gd name="connsiteY67" fmla="*/ 176212 h 942975"/>
                    <a:gd name="connsiteX68" fmla="*/ 444244 w 892564"/>
                    <a:gd name="connsiteY68" fmla="*/ 152400 h 942975"/>
                    <a:gd name="connsiteX69" fmla="*/ 449007 w 892564"/>
                    <a:gd name="connsiteY69" fmla="*/ 138112 h 942975"/>
                    <a:gd name="connsiteX70" fmla="*/ 439482 w 892564"/>
                    <a:gd name="connsiteY70" fmla="*/ 71437 h 942975"/>
                    <a:gd name="connsiteX71" fmla="*/ 429957 w 892564"/>
                    <a:gd name="connsiteY71" fmla="*/ 57150 h 942975"/>
                    <a:gd name="connsiteX72" fmla="*/ 410907 w 892564"/>
                    <a:gd name="connsiteY72" fmla="*/ 33337 h 942975"/>
                    <a:gd name="connsiteX73" fmla="*/ 396619 w 892564"/>
                    <a:gd name="connsiteY73" fmla="*/ 19050 h 942975"/>
                    <a:gd name="connsiteX74" fmla="*/ 320419 w 892564"/>
                    <a:gd name="connsiteY74" fmla="*/ 0 h 942975"/>
                    <a:gd name="connsiteX75" fmla="*/ 263269 w 892564"/>
                    <a:gd name="connsiteY75" fmla="*/ 9525 h 942975"/>
                    <a:gd name="connsiteX76" fmla="*/ 206119 w 892564"/>
                    <a:gd name="connsiteY76" fmla="*/ 66675 h 942975"/>
                    <a:gd name="connsiteX77" fmla="*/ 201357 w 892564"/>
                    <a:gd name="connsiteY77" fmla="*/ 80962 h 942975"/>
                    <a:gd name="connsiteX78" fmla="*/ 191832 w 892564"/>
                    <a:gd name="connsiteY78" fmla="*/ 100012 h 942975"/>
                    <a:gd name="connsiteX79" fmla="*/ 196594 w 892564"/>
                    <a:gd name="connsiteY79" fmla="*/ 166687 h 942975"/>
                    <a:gd name="connsiteX80" fmla="*/ 206119 w 892564"/>
                    <a:gd name="connsiteY80" fmla="*/ 185737 h 942975"/>
                    <a:gd name="connsiteX81" fmla="*/ 234694 w 892564"/>
                    <a:gd name="connsiteY81" fmla="*/ 223837 h 942975"/>
                    <a:gd name="connsiteX82" fmla="*/ 239457 w 892564"/>
                    <a:gd name="connsiteY82" fmla="*/ 242887 h 942975"/>
                    <a:gd name="connsiteX83" fmla="*/ 244219 w 892564"/>
                    <a:gd name="connsiteY83" fmla="*/ 257175 h 942975"/>
                    <a:gd name="connsiteX84" fmla="*/ 239457 w 892564"/>
                    <a:gd name="connsiteY84" fmla="*/ 280987 h 942975"/>
                    <a:gd name="connsiteX85" fmla="*/ 206119 w 892564"/>
                    <a:gd name="connsiteY85" fmla="*/ 276225 h 942975"/>
                    <a:gd name="connsiteX86" fmla="*/ 177544 w 892564"/>
                    <a:gd name="connsiteY86" fmla="*/ 271462 h 942975"/>
                    <a:gd name="connsiteX87" fmla="*/ 29907 w 892564"/>
                    <a:gd name="connsiteY87" fmla="*/ 280987 h 942975"/>
                    <a:gd name="connsiteX88" fmla="*/ 1332 w 892564"/>
                    <a:gd name="connsiteY88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39532 w 892564"/>
                    <a:gd name="connsiteY52" fmla="*/ 514350 h 942975"/>
                    <a:gd name="connsiteX53" fmla="*/ 810957 w 892564"/>
                    <a:gd name="connsiteY53" fmla="*/ 509587 h 942975"/>
                    <a:gd name="connsiteX54" fmla="*/ 696657 w 892564"/>
                    <a:gd name="connsiteY54" fmla="*/ 528637 h 942975"/>
                    <a:gd name="connsiteX55" fmla="*/ 668082 w 892564"/>
                    <a:gd name="connsiteY55" fmla="*/ 557212 h 942975"/>
                    <a:gd name="connsiteX56" fmla="*/ 653794 w 892564"/>
                    <a:gd name="connsiteY56" fmla="*/ 566737 h 942975"/>
                    <a:gd name="connsiteX57" fmla="*/ 649032 w 892564"/>
                    <a:gd name="connsiteY57" fmla="*/ 547687 h 942975"/>
                    <a:gd name="connsiteX58" fmla="*/ 644269 w 892564"/>
                    <a:gd name="connsiteY58" fmla="*/ 533400 h 942975"/>
                    <a:gd name="connsiteX59" fmla="*/ 649032 w 892564"/>
                    <a:gd name="connsiteY59" fmla="*/ 471487 h 942975"/>
                    <a:gd name="connsiteX60" fmla="*/ 644269 w 892564"/>
                    <a:gd name="connsiteY60" fmla="*/ 285750 h 942975"/>
                    <a:gd name="connsiteX61" fmla="*/ 634744 w 892564"/>
                    <a:gd name="connsiteY61" fmla="*/ 266700 h 942975"/>
                    <a:gd name="connsiteX62" fmla="*/ 606169 w 892564"/>
                    <a:gd name="connsiteY62" fmla="*/ 261937 h 942975"/>
                    <a:gd name="connsiteX63" fmla="*/ 506157 w 892564"/>
                    <a:gd name="connsiteY63" fmla="*/ 266700 h 942975"/>
                    <a:gd name="connsiteX64" fmla="*/ 434719 w 892564"/>
                    <a:gd name="connsiteY64" fmla="*/ 261937 h 942975"/>
                    <a:gd name="connsiteX65" fmla="*/ 425194 w 892564"/>
                    <a:gd name="connsiteY65" fmla="*/ 228600 h 942975"/>
                    <a:gd name="connsiteX66" fmla="*/ 434719 w 892564"/>
                    <a:gd name="connsiteY66" fmla="*/ 176212 h 942975"/>
                    <a:gd name="connsiteX67" fmla="*/ 444244 w 892564"/>
                    <a:gd name="connsiteY67" fmla="*/ 152400 h 942975"/>
                    <a:gd name="connsiteX68" fmla="*/ 449007 w 892564"/>
                    <a:gd name="connsiteY68" fmla="*/ 138112 h 942975"/>
                    <a:gd name="connsiteX69" fmla="*/ 439482 w 892564"/>
                    <a:gd name="connsiteY69" fmla="*/ 71437 h 942975"/>
                    <a:gd name="connsiteX70" fmla="*/ 429957 w 892564"/>
                    <a:gd name="connsiteY70" fmla="*/ 57150 h 942975"/>
                    <a:gd name="connsiteX71" fmla="*/ 410907 w 892564"/>
                    <a:gd name="connsiteY71" fmla="*/ 33337 h 942975"/>
                    <a:gd name="connsiteX72" fmla="*/ 396619 w 892564"/>
                    <a:gd name="connsiteY72" fmla="*/ 19050 h 942975"/>
                    <a:gd name="connsiteX73" fmla="*/ 320419 w 892564"/>
                    <a:gd name="connsiteY73" fmla="*/ 0 h 942975"/>
                    <a:gd name="connsiteX74" fmla="*/ 263269 w 892564"/>
                    <a:gd name="connsiteY74" fmla="*/ 9525 h 942975"/>
                    <a:gd name="connsiteX75" fmla="*/ 206119 w 892564"/>
                    <a:gd name="connsiteY75" fmla="*/ 66675 h 942975"/>
                    <a:gd name="connsiteX76" fmla="*/ 201357 w 892564"/>
                    <a:gd name="connsiteY76" fmla="*/ 80962 h 942975"/>
                    <a:gd name="connsiteX77" fmla="*/ 191832 w 892564"/>
                    <a:gd name="connsiteY77" fmla="*/ 100012 h 942975"/>
                    <a:gd name="connsiteX78" fmla="*/ 196594 w 892564"/>
                    <a:gd name="connsiteY78" fmla="*/ 166687 h 942975"/>
                    <a:gd name="connsiteX79" fmla="*/ 206119 w 892564"/>
                    <a:gd name="connsiteY79" fmla="*/ 185737 h 942975"/>
                    <a:gd name="connsiteX80" fmla="*/ 234694 w 892564"/>
                    <a:gd name="connsiteY80" fmla="*/ 223837 h 942975"/>
                    <a:gd name="connsiteX81" fmla="*/ 239457 w 892564"/>
                    <a:gd name="connsiteY81" fmla="*/ 242887 h 942975"/>
                    <a:gd name="connsiteX82" fmla="*/ 244219 w 892564"/>
                    <a:gd name="connsiteY82" fmla="*/ 257175 h 942975"/>
                    <a:gd name="connsiteX83" fmla="*/ 239457 w 892564"/>
                    <a:gd name="connsiteY83" fmla="*/ 280987 h 942975"/>
                    <a:gd name="connsiteX84" fmla="*/ 206119 w 892564"/>
                    <a:gd name="connsiteY84" fmla="*/ 276225 h 942975"/>
                    <a:gd name="connsiteX85" fmla="*/ 177544 w 892564"/>
                    <a:gd name="connsiteY85" fmla="*/ 271462 h 942975"/>
                    <a:gd name="connsiteX86" fmla="*/ 29907 w 892564"/>
                    <a:gd name="connsiteY86" fmla="*/ 280987 h 942975"/>
                    <a:gd name="connsiteX87" fmla="*/ 1332 w 892564"/>
                    <a:gd name="connsiteY87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10957 w 892564"/>
                    <a:gd name="connsiteY52" fmla="*/ 509587 h 942975"/>
                    <a:gd name="connsiteX53" fmla="*/ 696657 w 892564"/>
                    <a:gd name="connsiteY53" fmla="*/ 528637 h 942975"/>
                    <a:gd name="connsiteX54" fmla="*/ 668082 w 892564"/>
                    <a:gd name="connsiteY54" fmla="*/ 557212 h 942975"/>
                    <a:gd name="connsiteX55" fmla="*/ 653794 w 892564"/>
                    <a:gd name="connsiteY55" fmla="*/ 566737 h 942975"/>
                    <a:gd name="connsiteX56" fmla="*/ 649032 w 892564"/>
                    <a:gd name="connsiteY56" fmla="*/ 547687 h 942975"/>
                    <a:gd name="connsiteX57" fmla="*/ 644269 w 892564"/>
                    <a:gd name="connsiteY57" fmla="*/ 533400 h 942975"/>
                    <a:gd name="connsiteX58" fmla="*/ 649032 w 892564"/>
                    <a:gd name="connsiteY58" fmla="*/ 471487 h 942975"/>
                    <a:gd name="connsiteX59" fmla="*/ 644269 w 892564"/>
                    <a:gd name="connsiteY59" fmla="*/ 285750 h 942975"/>
                    <a:gd name="connsiteX60" fmla="*/ 634744 w 892564"/>
                    <a:gd name="connsiteY60" fmla="*/ 266700 h 942975"/>
                    <a:gd name="connsiteX61" fmla="*/ 606169 w 892564"/>
                    <a:gd name="connsiteY61" fmla="*/ 261937 h 942975"/>
                    <a:gd name="connsiteX62" fmla="*/ 506157 w 892564"/>
                    <a:gd name="connsiteY62" fmla="*/ 266700 h 942975"/>
                    <a:gd name="connsiteX63" fmla="*/ 434719 w 892564"/>
                    <a:gd name="connsiteY63" fmla="*/ 261937 h 942975"/>
                    <a:gd name="connsiteX64" fmla="*/ 425194 w 892564"/>
                    <a:gd name="connsiteY64" fmla="*/ 228600 h 942975"/>
                    <a:gd name="connsiteX65" fmla="*/ 434719 w 892564"/>
                    <a:gd name="connsiteY65" fmla="*/ 176212 h 942975"/>
                    <a:gd name="connsiteX66" fmla="*/ 444244 w 892564"/>
                    <a:gd name="connsiteY66" fmla="*/ 152400 h 942975"/>
                    <a:gd name="connsiteX67" fmla="*/ 449007 w 892564"/>
                    <a:gd name="connsiteY67" fmla="*/ 138112 h 942975"/>
                    <a:gd name="connsiteX68" fmla="*/ 439482 w 892564"/>
                    <a:gd name="connsiteY68" fmla="*/ 71437 h 942975"/>
                    <a:gd name="connsiteX69" fmla="*/ 429957 w 892564"/>
                    <a:gd name="connsiteY69" fmla="*/ 57150 h 942975"/>
                    <a:gd name="connsiteX70" fmla="*/ 410907 w 892564"/>
                    <a:gd name="connsiteY70" fmla="*/ 33337 h 942975"/>
                    <a:gd name="connsiteX71" fmla="*/ 396619 w 892564"/>
                    <a:gd name="connsiteY71" fmla="*/ 19050 h 942975"/>
                    <a:gd name="connsiteX72" fmla="*/ 320419 w 892564"/>
                    <a:gd name="connsiteY72" fmla="*/ 0 h 942975"/>
                    <a:gd name="connsiteX73" fmla="*/ 263269 w 892564"/>
                    <a:gd name="connsiteY73" fmla="*/ 9525 h 942975"/>
                    <a:gd name="connsiteX74" fmla="*/ 206119 w 892564"/>
                    <a:gd name="connsiteY74" fmla="*/ 66675 h 942975"/>
                    <a:gd name="connsiteX75" fmla="*/ 201357 w 892564"/>
                    <a:gd name="connsiteY75" fmla="*/ 80962 h 942975"/>
                    <a:gd name="connsiteX76" fmla="*/ 191832 w 892564"/>
                    <a:gd name="connsiteY76" fmla="*/ 100012 h 942975"/>
                    <a:gd name="connsiteX77" fmla="*/ 196594 w 892564"/>
                    <a:gd name="connsiteY77" fmla="*/ 166687 h 942975"/>
                    <a:gd name="connsiteX78" fmla="*/ 206119 w 892564"/>
                    <a:gd name="connsiteY78" fmla="*/ 185737 h 942975"/>
                    <a:gd name="connsiteX79" fmla="*/ 234694 w 892564"/>
                    <a:gd name="connsiteY79" fmla="*/ 223837 h 942975"/>
                    <a:gd name="connsiteX80" fmla="*/ 239457 w 892564"/>
                    <a:gd name="connsiteY80" fmla="*/ 242887 h 942975"/>
                    <a:gd name="connsiteX81" fmla="*/ 244219 w 892564"/>
                    <a:gd name="connsiteY81" fmla="*/ 257175 h 942975"/>
                    <a:gd name="connsiteX82" fmla="*/ 239457 w 892564"/>
                    <a:gd name="connsiteY82" fmla="*/ 280987 h 942975"/>
                    <a:gd name="connsiteX83" fmla="*/ 206119 w 892564"/>
                    <a:gd name="connsiteY83" fmla="*/ 276225 h 942975"/>
                    <a:gd name="connsiteX84" fmla="*/ 177544 w 892564"/>
                    <a:gd name="connsiteY84" fmla="*/ 271462 h 942975"/>
                    <a:gd name="connsiteX85" fmla="*/ 29907 w 892564"/>
                    <a:gd name="connsiteY85" fmla="*/ 280987 h 942975"/>
                    <a:gd name="connsiteX86" fmla="*/ 1332 w 892564"/>
                    <a:gd name="connsiteY86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134682 w 892564"/>
                    <a:gd name="connsiteY24" fmla="*/ 923925 h 942975"/>
                    <a:gd name="connsiteX25" fmla="*/ 253744 w 892564"/>
                    <a:gd name="connsiteY25" fmla="*/ 928687 h 942975"/>
                    <a:gd name="connsiteX26" fmla="*/ 277557 w 892564"/>
                    <a:gd name="connsiteY26" fmla="*/ 923925 h 942975"/>
                    <a:gd name="connsiteX27" fmla="*/ 263269 w 892564"/>
                    <a:gd name="connsiteY27" fmla="*/ 881062 h 942975"/>
                    <a:gd name="connsiteX28" fmla="*/ 253744 w 892564"/>
                    <a:gd name="connsiteY28" fmla="*/ 842962 h 942975"/>
                    <a:gd name="connsiteX29" fmla="*/ 248982 w 892564"/>
                    <a:gd name="connsiteY29" fmla="*/ 828675 h 942975"/>
                    <a:gd name="connsiteX30" fmla="*/ 239457 w 892564"/>
                    <a:gd name="connsiteY30" fmla="*/ 785812 h 942975"/>
                    <a:gd name="connsiteX31" fmla="*/ 248982 w 892564"/>
                    <a:gd name="connsiteY31" fmla="*/ 742950 h 942975"/>
                    <a:gd name="connsiteX32" fmla="*/ 277557 w 892564"/>
                    <a:gd name="connsiteY32" fmla="*/ 728662 h 942975"/>
                    <a:gd name="connsiteX33" fmla="*/ 306132 w 892564"/>
                    <a:gd name="connsiteY33" fmla="*/ 719137 h 942975"/>
                    <a:gd name="connsiteX34" fmla="*/ 358519 w 892564"/>
                    <a:gd name="connsiteY34" fmla="*/ 728662 h 942975"/>
                    <a:gd name="connsiteX35" fmla="*/ 396619 w 892564"/>
                    <a:gd name="connsiteY35" fmla="*/ 776287 h 942975"/>
                    <a:gd name="connsiteX36" fmla="*/ 391857 w 892564"/>
                    <a:gd name="connsiteY36" fmla="*/ 876300 h 942975"/>
                    <a:gd name="connsiteX37" fmla="*/ 391857 w 892564"/>
                    <a:gd name="connsiteY37" fmla="*/ 919162 h 942975"/>
                    <a:gd name="connsiteX38" fmla="*/ 420432 w 892564"/>
                    <a:gd name="connsiteY38" fmla="*/ 928687 h 942975"/>
                    <a:gd name="connsiteX39" fmla="*/ 515682 w 892564"/>
                    <a:gd name="connsiteY39" fmla="*/ 933450 h 942975"/>
                    <a:gd name="connsiteX40" fmla="*/ 558544 w 892564"/>
                    <a:gd name="connsiteY40" fmla="*/ 938212 h 942975"/>
                    <a:gd name="connsiteX41" fmla="*/ 596644 w 892564"/>
                    <a:gd name="connsiteY41" fmla="*/ 942975 h 942975"/>
                    <a:gd name="connsiteX42" fmla="*/ 634744 w 892564"/>
                    <a:gd name="connsiteY42" fmla="*/ 938212 h 942975"/>
                    <a:gd name="connsiteX43" fmla="*/ 653794 w 892564"/>
                    <a:gd name="connsiteY43" fmla="*/ 695325 h 942975"/>
                    <a:gd name="connsiteX44" fmla="*/ 668082 w 892564"/>
                    <a:gd name="connsiteY44" fmla="*/ 700087 h 942975"/>
                    <a:gd name="connsiteX45" fmla="*/ 734757 w 892564"/>
                    <a:gd name="connsiteY45" fmla="*/ 728662 h 942975"/>
                    <a:gd name="connsiteX46" fmla="*/ 844294 w 892564"/>
                    <a:gd name="connsiteY46" fmla="*/ 733425 h 942975"/>
                    <a:gd name="connsiteX47" fmla="*/ 877632 w 892564"/>
                    <a:gd name="connsiteY47" fmla="*/ 681037 h 942975"/>
                    <a:gd name="connsiteX48" fmla="*/ 891919 w 892564"/>
                    <a:gd name="connsiteY48" fmla="*/ 642937 h 942975"/>
                    <a:gd name="connsiteX49" fmla="*/ 887157 w 892564"/>
                    <a:gd name="connsiteY49" fmla="*/ 576262 h 942975"/>
                    <a:gd name="connsiteX50" fmla="*/ 872869 w 892564"/>
                    <a:gd name="connsiteY50" fmla="*/ 561975 h 942975"/>
                    <a:gd name="connsiteX51" fmla="*/ 810957 w 892564"/>
                    <a:gd name="connsiteY51" fmla="*/ 509587 h 942975"/>
                    <a:gd name="connsiteX52" fmla="*/ 696657 w 892564"/>
                    <a:gd name="connsiteY52" fmla="*/ 528637 h 942975"/>
                    <a:gd name="connsiteX53" fmla="*/ 668082 w 892564"/>
                    <a:gd name="connsiteY53" fmla="*/ 557212 h 942975"/>
                    <a:gd name="connsiteX54" fmla="*/ 653794 w 892564"/>
                    <a:gd name="connsiteY54" fmla="*/ 566737 h 942975"/>
                    <a:gd name="connsiteX55" fmla="*/ 649032 w 892564"/>
                    <a:gd name="connsiteY55" fmla="*/ 547687 h 942975"/>
                    <a:gd name="connsiteX56" fmla="*/ 644269 w 892564"/>
                    <a:gd name="connsiteY56" fmla="*/ 533400 h 942975"/>
                    <a:gd name="connsiteX57" fmla="*/ 649032 w 892564"/>
                    <a:gd name="connsiteY57" fmla="*/ 471487 h 942975"/>
                    <a:gd name="connsiteX58" fmla="*/ 644269 w 892564"/>
                    <a:gd name="connsiteY58" fmla="*/ 285750 h 942975"/>
                    <a:gd name="connsiteX59" fmla="*/ 634744 w 892564"/>
                    <a:gd name="connsiteY59" fmla="*/ 266700 h 942975"/>
                    <a:gd name="connsiteX60" fmla="*/ 606169 w 892564"/>
                    <a:gd name="connsiteY60" fmla="*/ 261937 h 942975"/>
                    <a:gd name="connsiteX61" fmla="*/ 506157 w 892564"/>
                    <a:gd name="connsiteY61" fmla="*/ 266700 h 942975"/>
                    <a:gd name="connsiteX62" fmla="*/ 434719 w 892564"/>
                    <a:gd name="connsiteY62" fmla="*/ 261937 h 942975"/>
                    <a:gd name="connsiteX63" fmla="*/ 425194 w 892564"/>
                    <a:gd name="connsiteY63" fmla="*/ 228600 h 942975"/>
                    <a:gd name="connsiteX64" fmla="*/ 434719 w 892564"/>
                    <a:gd name="connsiteY64" fmla="*/ 176212 h 942975"/>
                    <a:gd name="connsiteX65" fmla="*/ 444244 w 892564"/>
                    <a:gd name="connsiteY65" fmla="*/ 152400 h 942975"/>
                    <a:gd name="connsiteX66" fmla="*/ 449007 w 892564"/>
                    <a:gd name="connsiteY66" fmla="*/ 138112 h 942975"/>
                    <a:gd name="connsiteX67" fmla="*/ 439482 w 892564"/>
                    <a:gd name="connsiteY67" fmla="*/ 71437 h 942975"/>
                    <a:gd name="connsiteX68" fmla="*/ 429957 w 892564"/>
                    <a:gd name="connsiteY68" fmla="*/ 57150 h 942975"/>
                    <a:gd name="connsiteX69" fmla="*/ 410907 w 892564"/>
                    <a:gd name="connsiteY69" fmla="*/ 33337 h 942975"/>
                    <a:gd name="connsiteX70" fmla="*/ 396619 w 892564"/>
                    <a:gd name="connsiteY70" fmla="*/ 19050 h 942975"/>
                    <a:gd name="connsiteX71" fmla="*/ 320419 w 892564"/>
                    <a:gd name="connsiteY71" fmla="*/ 0 h 942975"/>
                    <a:gd name="connsiteX72" fmla="*/ 263269 w 892564"/>
                    <a:gd name="connsiteY72" fmla="*/ 9525 h 942975"/>
                    <a:gd name="connsiteX73" fmla="*/ 206119 w 892564"/>
                    <a:gd name="connsiteY73" fmla="*/ 66675 h 942975"/>
                    <a:gd name="connsiteX74" fmla="*/ 201357 w 892564"/>
                    <a:gd name="connsiteY74" fmla="*/ 80962 h 942975"/>
                    <a:gd name="connsiteX75" fmla="*/ 191832 w 892564"/>
                    <a:gd name="connsiteY75" fmla="*/ 100012 h 942975"/>
                    <a:gd name="connsiteX76" fmla="*/ 196594 w 892564"/>
                    <a:gd name="connsiteY76" fmla="*/ 166687 h 942975"/>
                    <a:gd name="connsiteX77" fmla="*/ 206119 w 892564"/>
                    <a:gd name="connsiteY77" fmla="*/ 185737 h 942975"/>
                    <a:gd name="connsiteX78" fmla="*/ 234694 w 892564"/>
                    <a:gd name="connsiteY78" fmla="*/ 223837 h 942975"/>
                    <a:gd name="connsiteX79" fmla="*/ 239457 w 892564"/>
                    <a:gd name="connsiteY79" fmla="*/ 242887 h 942975"/>
                    <a:gd name="connsiteX80" fmla="*/ 244219 w 892564"/>
                    <a:gd name="connsiteY80" fmla="*/ 257175 h 942975"/>
                    <a:gd name="connsiteX81" fmla="*/ 239457 w 892564"/>
                    <a:gd name="connsiteY81" fmla="*/ 280987 h 942975"/>
                    <a:gd name="connsiteX82" fmla="*/ 206119 w 892564"/>
                    <a:gd name="connsiteY82" fmla="*/ 276225 h 942975"/>
                    <a:gd name="connsiteX83" fmla="*/ 177544 w 892564"/>
                    <a:gd name="connsiteY83" fmla="*/ 271462 h 942975"/>
                    <a:gd name="connsiteX84" fmla="*/ 29907 w 892564"/>
                    <a:gd name="connsiteY84" fmla="*/ 280987 h 942975"/>
                    <a:gd name="connsiteX85" fmla="*/ 1332 w 892564"/>
                    <a:gd name="connsiteY85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253744 w 892564"/>
                    <a:gd name="connsiteY24" fmla="*/ 928687 h 942975"/>
                    <a:gd name="connsiteX25" fmla="*/ 277557 w 892564"/>
                    <a:gd name="connsiteY25" fmla="*/ 923925 h 942975"/>
                    <a:gd name="connsiteX26" fmla="*/ 263269 w 892564"/>
                    <a:gd name="connsiteY26" fmla="*/ 881062 h 942975"/>
                    <a:gd name="connsiteX27" fmla="*/ 253744 w 892564"/>
                    <a:gd name="connsiteY27" fmla="*/ 842962 h 942975"/>
                    <a:gd name="connsiteX28" fmla="*/ 248982 w 892564"/>
                    <a:gd name="connsiteY28" fmla="*/ 828675 h 942975"/>
                    <a:gd name="connsiteX29" fmla="*/ 239457 w 892564"/>
                    <a:gd name="connsiteY29" fmla="*/ 785812 h 942975"/>
                    <a:gd name="connsiteX30" fmla="*/ 248982 w 892564"/>
                    <a:gd name="connsiteY30" fmla="*/ 742950 h 942975"/>
                    <a:gd name="connsiteX31" fmla="*/ 277557 w 892564"/>
                    <a:gd name="connsiteY31" fmla="*/ 728662 h 942975"/>
                    <a:gd name="connsiteX32" fmla="*/ 306132 w 892564"/>
                    <a:gd name="connsiteY32" fmla="*/ 719137 h 942975"/>
                    <a:gd name="connsiteX33" fmla="*/ 358519 w 892564"/>
                    <a:gd name="connsiteY33" fmla="*/ 728662 h 942975"/>
                    <a:gd name="connsiteX34" fmla="*/ 396619 w 892564"/>
                    <a:gd name="connsiteY34" fmla="*/ 776287 h 942975"/>
                    <a:gd name="connsiteX35" fmla="*/ 391857 w 892564"/>
                    <a:gd name="connsiteY35" fmla="*/ 876300 h 942975"/>
                    <a:gd name="connsiteX36" fmla="*/ 391857 w 892564"/>
                    <a:gd name="connsiteY36" fmla="*/ 919162 h 942975"/>
                    <a:gd name="connsiteX37" fmla="*/ 420432 w 892564"/>
                    <a:gd name="connsiteY37" fmla="*/ 928687 h 942975"/>
                    <a:gd name="connsiteX38" fmla="*/ 515682 w 892564"/>
                    <a:gd name="connsiteY38" fmla="*/ 933450 h 942975"/>
                    <a:gd name="connsiteX39" fmla="*/ 558544 w 892564"/>
                    <a:gd name="connsiteY39" fmla="*/ 938212 h 942975"/>
                    <a:gd name="connsiteX40" fmla="*/ 596644 w 892564"/>
                    <a:gd name="connsiteY40" fmla="*/ 942975 h 942975"/>
                    <a:gd name="connsiteX41" fmla="*/ 634744 w 892564"/>
                    <a:gd name="connsiteY41" fmla="*/ 938212 h 942975"/>
                    <a:gd name="connsiteX42" fmla="*/ 653794 w 892564"/>
                    <a:gd name="connsiteY42" fmla="*/ 695325 h 942975"/>
                    <a:gd name="connsiteX43" fmla="*/ 668082 w 892564"/>
                    <a:gd name="connsiteY43" fmla="*/ 700087 h 942975"/>
                    <a:gd name="connsiteX44" fmla="*/ 734757 w 892564"/>
                    <a:gd name="connsiteY44" fmla="*/ 728662 h 942975"/>
                    <a:gd name="connsiteX45" fmla="*/ 844294 w 892564"/>
                    <a:gd name="connsiteY45" fmla="*/ 733425 h 942975"/>
                    <a:gd name="connsiteX46" fmla="*/ 877632 w 892564"/>
                    <a:gd name="connsiteY46" fmla="*/ 681037 h 942975"/>
                    <a:gd name="connsiteX47" fmla="*/ 891919 w 892564"/>
                    <a:gd name="connsiteY47" fmla="*/ 642937 h 942975"/>
                    <a:gd name="connsiteX48" fmla="*/ 887157 w 892564"/>
                    <a:gd name="connsiteY48" fmla="*/ 576262 h 942975"/>
                    <a:gd name="connsiteX49" fmla="*/ 872869 w 892564"/>
                    <a:gd name="connsiteY49" fmla="*/ 561975 h 942975"/>
                    <a:gd name="connsiteX50" fmla="*/ 810957 w 892564"/>
                    <a:gd name="connsiteY50" fmla="*/ 509587 h 942975"/>
                    <a:gd name="connsiteX51" fmla="*/ 696657 w 892564"/>
                    <a:gd name="connsiteY51" fmla="*/ 528637 h 942975"/>
                    <a:gd name="connsiteX52" fmla="*/ 668082 w 892564"/>
                    <a:gd name="connsiteY52" fmla="*/ 557212 h 942975"/>
                    <a:gd name="connsiteX53" fmla="*/ 653794 w 892564"/>
                    <a:gd name="connsiteY53" fmla="*/ 566737 h 942975"/>
                    <a:gd name="connsiteX54" fmla="*/ 649032 w 892564"/>
                    <a:gd name="connsiteY54" fmla="*/ 547687 h 942975"/>
                    <a:gd name="connsiteX55" fmla="*/ 644269 w 892564"/>
                    <a:gd name="connsiteY55" fmla="*/ 533400 h 942975"/>
                    <a:gd name="connsiteX56" fmla="*/ 649032 w 892564"/>
                    <a:gd name="connsiteY56" fmla="*/ 471487 h 942975"/>
                    <a:gd name="connsiteX57" fmla="*/ 644269 w 892564"/>
                    <a:gd name="connsiteY57" fmla="*/ 285750 h 942975"/>
                    <a:gd name="connsiteX58" fmla="*/ 634744 w 892564"/>
                    <a:gd name="connsiteY58" fmla="*/ 266700 h 942975"/>
                    <a:gd name="connsiteX59" fmla="*/ 606169 w 892564"/>
                    <a:gd name="connsiteY59" fmla="*/ 261937 h 942975"/>
                    <a:gd name="connsiteX60" fmla="*/ 506157 w 892564"/>
                    <a:gd name="connsiteY60" fmla="*/ 266700 h 942975"/>
                    <a:gd name="connsiteX61" fmla="*/ 434719 w 892564"/>
                    <a:gd name="connsiteY61" fmla="*/ 261937 h 942975"/>
                    <a:gd name="connsiteX62" fmla="*/ 425194 w 892564"/>
                    <a:gd name="connsiteY62" fmla="*/ 228600 h 942975"/>
                    <a:gd name="connsiteX63" fmla="*/ 434719 w 892564"/>
                    <a:gd name="connsiteY63" fmla="*/ 176212 h 942975"/>
                    <a:gd name="connsiteX64" fmla="*/ 444244 w 892564"/>
                    <a:gd name="connsiteY64" fmla="*/ 152400 h 942975"/>
                    <a:gd name="connsiteX65" fmla="*/ 449007 w 892564"/>
                    <a:gd name="connsiteY65" fmla="*/ 138112 h 942975"/>
                    <a:gd name="connsiteX66" fmla="*/ 439482 w 892564"/>
                    <a:gd name="connsiteY66" fmla="*/ 71437 h 942975"/>
                    <a:gd name="connsiteX67" fmla="*/ 429957 w 892564"/>
                    <a:gd name="connsiteY67" fmla="*/ 57150 h 942975"/>
                    <a:gd name="connsiteX68" fmla="*/ 410907 w 892564"/>
                    <a:gd name="connsiteY68" fmla="*/ 33337 h 942975"/>
                    <a:gd name="connsiteX69" fmla="*/ 396619 w 892564"/>
                    <a:gd name="connsiteY69" fmla="*/ 19050 h 942975"/>
                    <a:gd name="connsiteX70" fmla="*/ 320419 w 892564"/>
                    <a:gd name="connsiteY70" fmla="*/ 0 h 942975"/>
                    <a:gd name="connsiteX71" fmla="*/ 263269 w 892564"/>
                    <a:gd name="connsiteY71" fmla="*/ 9525 h 942975"/>
                    <a:gd name="connsiteX72" fmla="*/ 206119 w 892564"/>
                    <a:gd name="connsiteY72" fmla="*/ 66675 h 942975"/>
                    <a:gd name="connsiteX73" fmla="*/ 201357 w 892564"/>
                    <a:gd name="connsiteY73" fmla="*/ 80962 h 942975"/>
                    <a:gd name="connsiteX74" fmla="*/ 191832 w 892564"/>
                    <a:gd name="connsiteY74" fmla="*/ 100012 h 942975"/>
                    <a:gd name="connsiteX75" fmla="*/ 196594 w 892564"/>
                    <a:gd name="connsiteY75" fmla="*/ 166687 h 942975"/>
                    <a:gd name="connsiteX76" fmla="*/ 206119 w 892564"/>
                    <a:gd name="connsiteY76" fmla="*/ 185737 h 942975"/>
                    <a:gd name="connsiteX77" fmla="*/ 234694 w 892564"/>
                    <a:gd name="connsiteY77" fmla="*/ 223837 h 942975"/>
                    <a:gd name="connsiteX78" fmla="*/ 239457 w 892564"/>
                    <a:gd name="connsiteY78" fmla="*/ 242887 h 942975"/>
                    <a:gd name="connsiteX79" fmla="*/ 244219 w 892564"/>
                    <a:gd name="connsiteY79" fmla="*/ 257175 h 942975"/>
                    <a:gd name="connsiteX80" fmla="*/ 239457 w 892564"/>
                    <a:gd name="connsiteY80" fmla="*/ 280987 h 942975"/>
                    <a:gd name="connsiteX81" fmla="*/ 206119 w 892564"/>
                    <a:gd name="connsiteY81" fmla="*/ 276225 h 942975"/>
                    <a:gd name="connsiteX82" fmla="*/ 177544 w 892564"/>
                    <a:gd name="connsiteY82" fmla="*/ 271462 h 942975"/>
                    <a:gd name="connsiteX83" fmla="*/ 29907 w 892564"/>
                    <a:gd name="connsiteY83" fmla="*/ 280987 h 942975"/>
                    <a:gd name="connsiteX84" fmla="*/ 1332 w 892564"/>
                    <a:gd name="connsiteY84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15682 w 892564"/>
                    <a:gd name="connsiteY37" fmla="*/ 933450 h 942975"/>
                    <a:gd name="connsiteX38" fmla="*/ 558544 w 892564"/>
                    <a:gd name="connsiteY38" fmla="*/ 938212 h 942975"/>
                    <a:gd name="connsiteX39" fmla="*/ 596644 w 892564"/>
                    <a:gd name="connsiteY39" fmla="*/ 942975 h 942975"/>
                    <a:gd name="connsiteX40" fmla="*/ 634744 w 892564"/>
                    <a:gd name="connsiteY40" fmla="*/ 938212 h 942975"/>
                    <a:gd name="connsiteX41" fmla="*/ 653794 w 892564"/>
                    <a:gd name="connsiteY41" fmla="*/ 695325 h 942975"/>
                    <a:gd name="connsiteX42" fmla="*/ 668082 w 892564"/>
                    <a:gd name="connsiteY42" fmla="*/ 700087 h 942975"/>
                    <a:gd name="connsiteX43" fmla="*/ 734757 w 892564"/>
                    <a:gd name="connsiteY43" fmla="*/ 728662 h 942975"/>
                    <a:gd name="connsiteX44" fmla="*/ 844294 w 892564"/>
                    <a:gd name="connsiteY44" fmla="*/ 733425 h 942975"/>
                    <a:gd name="connsiteX45" fmla="*/ 877632 w 892564"/>
                    <a:gd name="connsiteY45" fmla="*/ 681037 h 942975"/>
                    <a:gd name="connsiteX46" fmla="*/ 891919 w 892564"/>
                    <a:gd name="connsiteY46" fmla="*/ 642937 h 942975"/>
                    <a:gd name="connsiteX47" fmla="*/ 887157 w 892564"/>
                    <a:gd name="connsiteY47" fmla="*/ 576262 h 942975"/>
                    <a:gd name="connsiteX48" fmla="*/ 872869 w 892564"/>
                    <a:gd name="connsiteY48" fmla="*/ 561975 h 942975"/>
                    <a:gd name="connsiteX49" fmla="*/ 810957 w 892564"/>
                    <a:gd name="connsiteY49" fmla="*/ 509587 h 942975"/>
                    <a:gd name="connsiteX50" fmla="*/ 696657 w 892564"/>
                    <a:gd name="connsiteY50" fmla="*/ 528637 h 942975"/>
                    <a:gd name="connsiteX51" fmla="*/ 668082 w 892564"/>
                    <a:gd name="connsiteY51" fmla="*/ 557212 h 942975"/>
                    <a:gd name="connsiteX52" fmla="*/ 653794 w 892564"/>
                    <a:gd name="connsiteY52" fmla="*/ 566737 h 942975"/>
                    <a:gd name="connsiteX53" fmla="*/ 649032 w 892564"/>
                    <a:gd name="connsiteY53" fmla="*/ 547687 h 942975"/>
                    <a:gd name="connsiteX54" fmla="*/ 644269 w 892564"/>
                    <a:gd name="connsiteY54" fmla="*/ 533400 h 942975"/>
                    <a:gd name="connsiteX55" fmla="*/ 649032 w 892564"/>
                    <a:gd name="connsiteY55" fmla="*/ 471487 h 942975"/>
                    <a:gd name="connsiteX56" fmla="*/ 644269 w 892564"/>
                    <a:gd name="connsiteY56" fmla="*/ 285750 h 942975"/>
                    <a:gd name="connsiteX57" fmla="*/ 634744 w 892564"/>
                    <a:gd name="connsiteY57" fmla="*/ 266700 h 942975"/>
                    <a:gd name="connsiteX58" fmla="*/ 606169 w 892564"/>
                    <a:gd name="connsiteY58" fmla="*/ 261937 h 942975"/>
                    <a:gd name="connsiteX59" fmla="*/ 506157 w 892564"/>
                    <a:gd name="connsiteY59" fmla="*/ 266700 h 942975"/>
                    <a:gd name="connsiteX60" fmla="*/ 434719 w 892564"/>
                    <a:gd name="connsiteY60" fmla="*/ 261937 h 942975"/>
                    <a:gd name="connsiteX61" fmla="*/ 425194 w 892564"/>
                    <a:gd name="connsiteY61" fmla="*/ 228600 h 942975"/>
                    <a:gd name="connsiteX62" fmla="*/ 434719 w 892564"/>
                    <a:gd name="connsiteY62" fmla="*/ 176212 h 942975"/>
                    <a:gd name="connsiteX63" fmla="*/ 444244 w 892564"/>
                    <a:gd name="connsiteY63" fmla="*/ 152400 h 942975"/>
                    <a:gd name="connsiteX64" fmla="*/ 449007 w 892564"/>
                    <a:gd name="connsiteY64" fmla="*/ 138112 h 942975"/>
                    <a:gd name="connsiteX65" fmla="*/ 439482 w 892564"/>
                    <a:gd name="connsiteY65" fmla="*/ 71437 h 942975"/>
                    <a:gd name="connsiteX66" fmla="*/ 429957 w 892564"/>
                    <a:gd name="connsiteY66" fmla="*/ 57150 h 942975"/>
                    <a:gd name="connsiteX67" fmla="*/ 410907 w 892564"/>
                    <a:gd name="connsiteY67" fmla="*/ 33337 h 942975"/>
                    <a:gd name="connsiteX68" fmla="*/ 396619 w 892564"/>
                    <a:gd name="connsiteY68" fmla="*/ 19050 h 942975"/>
                    <a:gd name="connsiteX69" fmla="*/ 320419 w 892564"/>
                    <a:gd name="connsiteY69" fmla="*/ 0 h 942975"/>
                    <a:gd name="connsiteX70" fmla="*/ 263269 w 892564"/>
                    <a:gd name="connsiteY70" fmla="*/ 9525 h 942975"/>
                    <a:gd name="connsiteX71" fmla="*/ 206119 w 892564"/>
                    <a:gd name="connsiteY71" fmla="*/ 66675 h 942975"/>
                    <a:gd name="connsiteX72" fmla="*/ 201357 w 892564"/>
                    <a:gd name="connsiteY72" fmla="*/ 80962 h 942975"/>
                    <a:gd name="connsiteX73" fmla="*/ 191832 w 892564"/>
                    <a:gd name="connsiteY73" fmla="*/ 100012 h 942975"/>
                    <a:gd name="connsiteX74" fmla="*/ 196594 w 892564"/>
                    <a:gd name="connsiteY74" fmla="*/ 166687 h 942975"/>
                    <a:gd name="connsiteX75" fmla="*/ 206119 w 892564"/>
                    <a:gd name="connsiteY75" fmla="*/ 185737 h 942975"/>
                    <a:gd name="connsiteX76" fmla="*/ 234694 w 892564"/>
                    <a:gd name="connsiteY76" fmla="*/ 223837 h 942975"/>
                    <a:gd name="connsiteX77" fmla="*/ 239457 w 892564"/>
                    <a:gd name="connsiteY77" fmla="*/ 242887 h 942975"/>
                    <a:gd name="connsiteX78" fmla="*/ 244219 w 892564"/>
                    <a:gd name="connsiteY78" fmla="*/ 257175 h 942975"/>
                    <a:gd name="connsiteX79" fmla="*/ 239457 w 892564"/>
                    <a:gd name="connsiteY79" fmla="*/ 280987 h 942975"/>
                    <a:gd name="connsiteX80" fmla="*/ 206119 w 892564"/>
                    <a:gd name="connsiteY80" fmla="*/ 276225 h 942975"/>
                    <a:gd name="connsiteX81" fmla="*/ 177544 w 892564"/>
                    <a:gd name="connsiteY81" fmla="*/ 271462 h 942975"/>
                    <a:gd name="connsiteX82" fmla="*/ 29907 w 892564"/>
                    <a:gd name="connsiteY82" fmla="*/ 280987 h 942975"/>
                    <a:gd name="connsiteX83" fmla="*/ 1332 w 892564"/>
                    <a:gd name="connsiteY83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177544 w 892564"/>
                    <a:gd name="connsiteY80" fmla="*/ 271462 h 942975"/>
                    <a:gd name="connsiteX81" fmla="*/ 29907 w 892564"/>
                    <a:gd name="connsiteY81" fmla="*/ 280987 h 942975"/>
                    <a:gd name="connsiteX82" fmla="*/ 1332 w 892564"/>
                    <a:gd name="connsiteY82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29907 w 892564"/>
                    <a:gd name="connsiteY80" fmla="*/ 280987 h 942975"/>
                    <a:gd name="connsiteX81" fmla="*/ 1332 w 892564"/>
                    <a:gd name="connsiteY81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53737 w 892507"/>
                    <a:gd name="connsiteY50" fmla="*/ 566737 h 942975"/>
                    <a:gd name="connsiteX51" fmla="*/ 648975 w 892507"/>
                    <a:gd name="connsiteY51" fmla="*/ 547687 h 942975"/>
                    <a:gd name="connsiteX52" fmla="*/ 644212 w 892507"/>
                    <a:gd name="connsiteY52" fmla="*/ 533400 h 942975"/>
                    <a:gd name="connsiteX53" fmla="*/ 648975 w 892507"/>
                    <a:gd name="connsiteY53" fmla="*/ 471487 h 942975"/>
                    <a:gd name="connsiteX54" fmla="*/ 644212 w 892507"/>
                    <a:gd name="connsiteY54" fmla="*/ 285750 h 942975"/>
                    <a:gd name="connsiteX55" fmla="*/ 634687 w 892507"/>
                    <a:gd name="connsiteY55" fmla="*/ 266700 h 942975"/>
                    <a:gd name="connsiteX56" fmla="*/ 606112 w 892507"/>
                    <a:gd name="connsiteY56" fmla="*/ 261937 h 942975"/>
                    <a:gd name="connsiteX57" fmla="*/ 506100 w 892507"/>
                    <a:gd name="connsiteY57" fmla="*/ 266700 h 942975"/>
                    <a:gd name="connsiteX58" fmla="*/ 434662 w 892507"/>
                    <a:gd name="connsiteY58" fmla="*/ 261937 h 942975"/>
                    <a:gd name="connsiteX59" fmla="*/ 425137 w 892507"/>
                    <a:gd name="connsiteY59" fmla="*/ 228600 h 942975"/>
                    <a:gd name="connsiteX60" fmla="*/ 434662 w 892507"/>
                    <a:gd name="connsiteY60" fmla="*/ 176212 h 942975"/>
                    <a:gd name="connsiteX61" fmla="*/ 444187 w 892507"/>
                    <a:gd name="connsiteY61" fmla="*/ 152400 h 942975"/>
                    <a:gd name="connsiteX62" fmla="*/ 448950 w 892507"/>
                    <a:gd name="connsiteY62" fmla="*/ 138112 h 942975"/>
                    <a:gd name="connsiteX63" fmla="*/ 439425 w 892507"/>
                    <a:gd name="connsiteY63" fmla="*/ 71437 h 942975"/>
                    <a:gd name="connsiteX64" fmla="*/ 429900 w 892507"/>
                    <a:gd name="connsiteY64" fmla="*/ 57150 h 942975"/>
                    <a:gd name="connsiteX65" fmla="*/ 410850 w 892507"/>
                    <a:gd name="connsiteY65" fmla="*/ 33337 h 942975"/>
                    <a:gd name="connsiteX66" fmla="*/ 396562 w 892507"/>
                    <a:gd name="connsiteY66" fmla="*/ 19050 h 942975"/>
                    <a:gd name="connsiteX67" fmla="*/ 320362 w 892507"/>
                    <a:gd name="connsiteY67" fmla="*/ 0 h 942975"/>
                    <a:gd name="connsiteX68" fmla="*/ 263212 w 892507"/>
                    <a:gd name="connsiteY68" fmla="*/ 9525 h 942975"/>
                    <a:gd name="connsiteX69" fmla="*/ 206062 w 892507"/>
                    <a:gd name="connsiteY69" fmla="*/ 66675 h 942975"/>
                    <a:gd name="connsiteX70" fmla="*/ 201300 w 892507"/>
                    <a:gd name="connsiteY70" fmla="*/ 80962 h 942975"/>
                    <a:gd name="connsiteX71" fmla="*/ 191775 w 892507"/>
                    <a:gd name="connsiteY71" fmla="*/ 100012 h 942975"/>
                    <a:gd name="connsiteX72" fmla="*/ 196537 w 892507"/>
                    <a:gd name="connsiteY72" fmla="*/ 166687 h 942975"/>
                    <a:gd name="connsiteX73" fmla="*/ 206062 w 892507"/>
                    <a:gd name="connsiteY73" fmla="*/ 185737 h 942975"/>
                    <a:gd name="connsiteX74" fmla="*/ 234637 w 892507"/>
                    <a:gd name="connsiteY74" fmla="*/ 223837 h 942975"/>
                    <a:gd name="connsiteX75" fmla="*/ 239400 w 892507"/>
                    <a:gd name="connsiteY75" fmla="*/ 242887 h 942975"/>
                    <a:gd name="connsiteX76" fmla="*/ 244162 w 892507"/>
                    <a:gd name="connsiteY76" fmla="*/ 257175 h 942975"/>
                    <a:gd name="connsiteX77" fmla="*/ 239400 w 892507"/>
                    <a:gd name="connsiteY77" fmla="*/ 280987 h 942975"/>
                    <a:gd name="connsiteX78" fmla="*/ 206062 w 892507"/>
                    <a:gd name="connsiteY78" fmla="*/ 276225 h 942975"/>
                    <a:gd name="connsiteX79" fmla="*/ 29850 w 892507"/>
                    <a:gd name="connsiteY79" fmla="*/ 280987 h 942975"/>
                    <a:gd name="connsiteX80" fmla="*/ 1275 w 892507"/>
                    <a:gd name="connsiteY80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48975 w 892507"/>
                    <a:gd name="connsiteY50" fmla="*/ 547687 h 942975"/>
                    <a:gd name="connsiteX51" fmla="*/ 644212 w 892507"/>
                    <a:gd name="connsiteY51" fmla="*/ 533400 h 942975"/>
                    <a:gd name="connsiteX52" fmla="*/ 648975 w 892507"/>
                    <a:gd name="connsiteY52" fmla="*/ 471487 h 942975"/>
                    <a:gd name="connsiteX53" fmla="*/ 644212 w 892507"/>
                    <a:gd name="connsiteY53" fmla="*/ 285750 h 942975"/>
                    <a:gd name="connsiteX54" fmla="*/ 634687 w 892507"/>
                    <a:gd name="connsiteY54" fmla="*/ 266700 h 942975"/>
                    <a:gd name="connsiteX55" fmla="*/ 606112 w 892507"/>
                    <a:gd name="connsiteY55" fmla="*/ 261937 h 942975"/>
                    <a:gd name="connsiteX56" fmla="*/ 506100 w 892507"/>
                    <a:gd name="connsiteY56" fmla="*/ 266700 h 942975"/>
                    <a:gd name="connsiteX57" fmla="*/ 434662 w 892507"/>
                    <a:gd name="connsiteY57" fmla="*/ 261937 h 942975"/>
                    <a:gd name="connsiteX58" fmla="*/ 425137 w 892507"/>
                    <a:gd name="connsiteY58" fmla="*/ 228600 h 942975"/>
                    <a:gd name="connsiteX59" fmla="*/ 434662 w 892507"/>
                    <a:gd name="connsiteY59" fmla="*/ 176212 h 942975"/>
                    <a:gd name="connsiteX60" fmla="*/ 444187 w 892507"/>
                    <a:gd name="connsiteY60" fmla="*/ 152400 h 942975"/>
                    <a:gd name="connsiteX61" fmla="*/ 448950 w 892507"/>
                    <a:gd name="connsiteY61" fmla="*/ 138112 h 942975"/>
                    <a:gd name="connsiteX62" fmla="*/ 439425 w 892507"/>
                    <a:gd name="connsiteY62" fmla="*/ 71437 h 942975"/>
                    <a:gd name="connsiteX63" fmla="*/ 429900 w 892507"/>
                    <a:gd name="connsiteY63" fmla="*/ 57150 h 942975"/>
                    <a:gd name="connsiteX64" fmla="*/ 410850 w 892507"/>
                    <a:gd name="connsiteY64" fmla="*/ 33337 h 942975"/>
                    <a:gd name="connsiteX65" fmla="*/ 396562 w 892507"/>
                    <a:gd name="connsiteY65" fmla="*/ 19050 h 942975"/>
                    <a:gd name="connsiteX66" fmla="*/ 320362 w 892507"/>
                    <a:gd name="connsiteY66" fmla="*/ 0 h 942975"/>
                    <a:gd name="connsiteX67" fmla="*/ 263212 w 892507"/>
                    <a:gd name="connsiteY67" fmla="*/ 9525 h 942975"/>
                    <a:gd name="connsiteX68" fmla="*/ 206062 w 892507"/>
                    <a:gd name="connsiteY68" fmla="*/ 66675 h 942975"/>
                    <a:gd name="connsiteX69" fmla="*/ 201300 w 892507"/>
                    <a:gd name="connsiteY69" fmla="*/ 80962 h 942975"/>
                    <a:gd name="connsiteX70" fmla="*/ 191775 w 892507"/>
                    <a:gd name="connsiteY70" fmla="*/ 100012 h 942975"/>
                    <a:gd name="connsiteX71" fmla="*/ 196537 w 892507"/>
                    <a:gd name="connsiteY71" fmla="*/ 166687 h 942975"/>
                    <a:gd name="connsiteX72" fmla="*/ 206062 w 892507"/>
                    <a:gd name="connsiteY72" fmla="*/ 185737 h 942975"/>
                    <a:gd name="connsiteX73" fmla="*/ 234637 w 892507"/>
                    <a:gd name="connsiteY73" fmla="*/ 223837 h 942975"/>
                    <a:gd name="connsiteX74" fmla="*/ 239400 w 892507"/>
                    <a:gd name="connsiteY74" fmla="*/ 242887 h 942975"/>
                    <a:gd name="connsiteX75" fmla="*/ 244162 w 892507"/>
                    <a:gd name="connsiteY75" fmla="*/ 257175 h 942975"/>
                    <a:gd name="connsiteX76" fmla="*/ 239400 w 892507"/>
                    <a:gd name="connsiteY76" fmla="*/ 280987 h 942975"/>
                    <a:gd name="connsiteX77" fmla="*/ 206062 w 892507"/>
                    <a:gd name="connsiteY77" fmla="*/ 276225 h 942975"/>
                    <a:gd name="connsiteX78" fmla="*/ 29850 w 892507"/>
                    <a:gd name="connsiteY78" fmla="*/ 280987 h 942975"/>
                    <a:gd name="connsiteX79" fmla="*/ 1275 w 892507"/>
                    <a:gd name="connsiteY79" fmla="*/ 295275 h 942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892507" h="942975">
                      <a:moveTo>
                        <a:pt x="1275" y="295275"/>
                      </a:moveTo>
                      <a:cubicBezTo>
                        <a:pt x="-2694" y="324644"/>
                        <a:pt x="3656" y="419894"/>
                        <a:pt x="6037" y="457200"/>
                      </a:cubicBezTo>
                      <a:cubicBezTo>
                        <a:pt x="8418" y="494506"/>
                        <a:pt x="11593" y="504825"/>
                        <a:pt x="15562" y="519112"/>
                      </a:cubicBezTo>
                      <a:cubicBezTo>
                        <a:pt x="19531" y="533399"/>
                        <a:pt x="23304" y="536379"/>
                        <a:pt x="29850" y="542925"/>
                      </a:cubicBezTo>
                      <a:cubicBezTo>
                        <a:pt x="33400" y="546475"/>
                        <a:pt x="39267" y="546469"/>
                        <a:pt x="44137" y="547687"/>
                      </a:cubicBezTo>
                      <a:cubicBezTo>
                        <a:pt x="51990" y="549650"/>
                        <a:pt x="60012" y="550862"/>
                        <a:pt x="67950" y="552450"/>
                      </a:cubicBezTo>
                      <a:cubicBezTo>
                        <a:pt x="79062" y="549275"/>
                        <a:pt x="90557" y="547217"/>
                        <a:pt x="101287" y="542925"/>
                      </a:cubicBezTo>
                      <a:cubicBezTo>
                        <a:pt x="114934" y="537466"/>
                        <a:pt x="118876" y="528267"/>
                        <a:pt x="129862" y="519112"/>
                      </a:cubicBezTo>
                      <a:cubicBezTo>
                        <a:pt x="134259" y="515448"/>
                        <a:pt x="139387" y="512762"/>
                        <a:pt x="144150" y="509587"/>
                      </a:cubicBezTo>
                      <a:cubicBezTo>
                        <a:pt x="169550" y="511175"/>
                        <a:pt x="195040" y="511686"/>
                        <a:pt x="220350" y="514350"/>
                      </a:cubicBezTo>
                      <a:cubicBezTo>
                        <a:pt x="225342" y="514876"/>
                        <a:pt x="231087" y="515562"/>
                        <a:pt x="234637" y="519112"/>
                      </a:cubicBezTo>
                      <a:cubicBezTo>
                        <a:pt x="241183" y="525658"/>
                        <a:pt x="244162" y="534987"/>
                        <a:pt x="248925" y="542925"/>
                      </a:cubicBezTo>
                      <a:cubicBezTo>
                        <a:pt x="242355" y="634900"/>
                        <a:pt x="254541" y="583866"/>
                        <a:pt x="234637" y="628650"/>
                      </a:cubicBezTo>
                      <a:cubicBezTo>
                        <a:pt x="231165" y="636462"/>
                        <a:pt x="230241" y="645623"/>
                        <a:pt x="225112" y="652462"/>
                      </a:cubicBezTo>
                      <a:cubicBezTo>
                        <a:pt x="213902" y="667409"/>
                        <a:pt x="202980" y="667520"/>
                        <a:pt x="187012" y="671512"/>
                      </a:cubicBezTo>
                      <a:cubicBezTo>
                        <a:pt x="175900" y="668337"/>
                        <a:pt x="164196" y="666769"/>
                        <a:pt x="153675" y="661987"/>
                      </a:cubicBezTo>
                      <a:cubicBezTo>
                        <a:pt x="146449" y="658703"/>
                        <a:pt x="140652" y="652866"/>
                        <a:pt x="134625" y="647700"/>
                      </a:cubicBezTo>
                      <a:cubicBezTo>
                        <a:pt x="120365" y="635477"/>
                        <a:pt x="120610" y="633822"/>
                        <a:pt x="110812" y="619125"/>
                      </a:cubicBezTo>
                      <a:cubicBezTo>
                        <a:pt x="82237" y="620712"/>
                        <a:pt x="53092" y="617991"/>
                        <a:pt x="25087" y="623887"/>
                      </a:cubicBezTo>
                      <a:cubicBezTo>
                        <a:pt x="20174" y="624921"/>
                        <a:pt x="20325" y="633155"/>
                        <a:pt x="20325" y="638175"/>
                      </a:cubicBezTo>
                      <a:cubicBezTo>
                        <a:pt x="20325" y="655709"/>
                        <a:pt x="22706" y="644525"/>
                        <a:pt x="25087" y="690562"/>
                      </a:cubicBezTo>
                      <a:cubicBezTo>
                        <a:pt x="27468" y="736599"/>
                        <a:pt x="-3488" y="874713"/>
                        <a:pt x="34612" y="914400"/>
                      </a:cubicBezTo>
                      <a:cubicBezTo>
                        <a:pt x="72712" y="954087"/>
                        <a:pt x="213206" y="927100"/>
                        <a:pt x="253687" y="928687"/>
                      </a:cubicBezTo>
                      <a:cubicBezTo>
                        <a:pt x="261625" y="927100"/>
                        <a:pt x="273010" y="930660"/>
                        <a:pt x="277500" y="923925"/>
                      </a:cubicBezTo>
                      <a:cubicBezTo>
                        <a:pt x="282775" y="916012"/>
                        <a:pt x="266332" y="887302"/>
                        <a:pt x="263212" y="881062"/>
                      </a:cubicBezTo>
                      <a:cubicBezTo>
                        <a:pt x="260037" y="868362"/>
                        <a:pt x="257826" y="855381"/>
                        <a:pt x="253687" y="842962"/>
                      </a:cubicBezTo>
                      <a:cubicBezTo>
                        <a:pt x="252100" y="838200"/>
                        <a:pt x="250304" y="833502"/>
                        <a:pt x="248925" y="828675"/>
                      </a:cubicBezTo>
                      <a:cubicBezTo>
                        <a:pt x="244438" y="812971"/>
                        <a:pt x="242676" y="802194"/>
                        <a:pt x="239400" y="785812"/>
                      </a:cubicBezTo>
                      <a:cubicBezTo>
                        <a:pt x="242575" y="771525"/>
                        <a:pt x="240806" y="755128"/>
                        <a:pt x="248925" y="742950"/>
                      </a:cubicBezTo>
                      <a:cubicBezTo>
                        <a:pt x="254832" y="734089"/>
                        <a:pt x="267670" y="732758"/>
                        <a:pt x="277500" y="728662"/>
                      </a:cubicBezTo>
                      <a:cubicBezTo>
                        <a:pt x="286768" y="724800"/>
                        <a:pt x="306075" y="719137"/>
                        <a:pt x="306075" y="719137"/>
                      </a:cubicBezTo>
                      <a:cubicBezTo>
                        <a:pt x="323537" y="722312"/>
                        <a:pt x="342587" y="720725"/>
                        <a:pt x="358462" y="728662"/>
                      </a:cubicBezTo>
                      <a:cubicBezTo>
                        <a:pt x="363087" y="730975"/>
                        <a:pt x="390372" y="768034"/>
                        <a:pt x="396562" y="776287"/>
                      </a:cubicBezTo>
                      <a:cubicBezTo>
                        <a:pt x="394975" y="809625"/>
                        <a:pt x="394265" y="843016"/>
                        <a:pt x="391800" y="876300"/>
                      </a:cubicBezTo>
                      <a:cubicBezTo>
                        <a:pt x="391578" y="879296"/>
                        <a:pt x="381193" y="911586"/>
                        <a:pt x="391800" y="919162"/>
                      </a:cubicBezTo>
                      <a:cubicBezTo>
                        <a:pt x="399970" y="924998"/>
                        <a:pt x="392594" y="925512"/>
                        <a:pt x="420375" y="928687"/>
                      </a:cubicBezTo>
                      <a:cubicBezTo>
                        <a:pt x="448156" y="931862"/>
                        <a:pt x="529118" y="935831"/>
                        <a:pt x="558487" y="938212"/>
                      </a:cubicBezTo>
                      <a:cubicBezTo>
                        <a:pt x="587856" y="940593"/>
                        <a:pt x="583788" y="942975"/>
                        <a:pt x="596587" y="942975"/>
                      </a:cubicBezTo>
                      <a:cubicBezTo>
                        <a:pt x="609386" y="942975"/>
                        <a:pt x="621987" y="939800"/>
                        <a:pt x="634687" y="938212"/>
                      </a:cubicBezTo>
                      <a:cubicBezTo>
                        <a:pt x="637952" y="872912"/>
                        <a:pt x="642558" y="751221"/>
                        <a:pt x="653737" y="695325"/>
                      </a:cubicBezTo>
                      <a:cubicBezTo>
                        <a:pt x="654722" y="690402"/>
                        <a:pt x="663535" y="697842"/>
                        <a:pt x="668025" y="700087"/>
                      </a:cubicBezTo>
                      <a:cubicBezTo>
                        <a:pt x="727213" y="729681"/>
                        <a:pt x="690279" y="719779"/>
                        <a:pt x="734700" y="728662"/>
                      </a:cubicBezTo>
                      <a:cubicBezTo>
                        <a:pt x="778294" y="750460"/>
                        <a:pt x="776391" y="756041"/>
                        <a:pt x="844237" y="733425"/>
                      </a:cubicBezTo>
                      <a:cubicBezTo>
                        <a:pt x="855802" y="729570"/>
                        <a:pt x="873552" y="689083"/>
                        <a:pt x="877575" y="681037"/>
                      </a:cubicBezTo>
                      <a:cubicBezTo>
                        <a:pt x="885513" y="665956"/>
                        <a:pt x="890275" y="660399"/>
                        <a:pt x="891862" y="642937"/>
                      </a:cubicBezTo>
                      <a:cubicBezTo>
                        <a:pt x="893449" y="625475"/>
                        <a:pt x="892203" y="597951"/>
                        <a:pt x="887100" y="576262"/>
                      </a:cubicBezTo>
                      <a:cubicBezTo>
                        <a:pt x="885557" y="569706"/>
                        <a:pt x="877575" y="566737"/>
                        <a:pt x="872812" y="561975"/>
                      </a:cubicBezTo>
                      <a:cubicBezTo>
                        <a:pt x="860112" y="550863"/>
                        <a:pt x="840269" y="515143"/>
                        <a:pt x="810900" y="509587"/>
                      </a:cubicBezTo>
                      <a:cubicBezTo>
                        <a:pt x="758140" y="513105"/>
                        <a:pt x="740834" y="508221"/>
                        <a:pt x="696600" y="528637"/>
                      </a:cubicBezTo>
                      <a:cubicBezTo>
                        <a:pt x="667695" y="541978"/>
                        <a:pt x="675963" y="554037"/>
                        <a:pt x="668025" y="557212"/>
                      </a:cubicBezTo>
                      <a:cubicBezTo>
                        <a:pt x="660087" y="560387"/>
                        <a:pt x="652944" y="551656"/>
                        <a:pt x="648975" y="547687"/>
                      </a:cubicBezTo>
                      <a:cubicBezTo>
                        <a:pt x="645006" y="543718"/>
                        <a:pt x="644212" y="538420"/>
                        <a:pt x="644212" y="533400"/>
                      </a:cubicBezTo>
                      <a:cubicBezTo>
                        <a:pt x="644212" y="512701"/>
                        <a:pt x="647387" y="492125"/>
                        <a:pt x="648975" y="471487"/>
                      </a:cubicBezTo>
                      <a:cubicBezTo>
                        <a:pt x="647387" y="409575"/>
                        <a:pt x="648523" y="347532"/>
                        <a:pt x="644212" y="285750"/>
                      </a:cubicBezTo>
                      <a:cubicBezTo>
                        <a:pt x="643718" y="278668"/>
                        <a:pt x="640707" y="270463"/>
                        <a:pt x="634687" y="266700"/>
                      </a:cubicBezTo>
                      <a:cubicBezTo>
                        <a:pt x="626498" y="261582"/>
                        <a:pt x="615637" y="263525"/>
                        <a:pt x="606112" y="261937"/>
                      </a:cubicBezTo>
                      <a:lnTo>
                        <a:pt x="506100" y="266700"/>
                      </a:lnTo>
                      <a:cubicBezTo>
                        <a:pt x="445682" y="270598"/>
                        <a:pt x="475585" y="278306"/>
                        <a:pt x="434662" y="261937"/>
                      </a:cubicBezTo>
                      <a:cubicBezTo>
                        <a:pt x="432672" y="255965"/>
                        <a:pt x="424805" y="233581"/>
                        <a:pt x="425137" y="228600"/>
                      </a:cubicBezTo>
                      <a:cubicBezTo>
                        <a:pt x="426318" y="210890"/>
                        <a:pt x="430357" y="193431"/>
                        <a:pt x="434662" y="176212"/>
                      </a:cubicBezTo>
                      <a:cubicBezTo>
                        <a:pt x="436735" y="167918"/>
                        <a:pt x="441185" y="160404"/>
                        <a:pt x="444187" y="152400"/>
                      </a:cubicBezTo>
                      <a:cubicBezTo>
                        <a:pt x="445950" y="147699"/>
                        <a:pt x="447362" y="142875"/>
                        <a:pt x="448950" y="138112"/>
                      </a:cubicBezTo>
                      <a:cubicBezTo>
                        <a:pt x="447734" y="124738"/>
                        <a:pt x="448585" y="89759"/>
                        <a:pt x="439425" y="71437"/>
                      </a:cubicBezTo>
                      <a:cubicBezTo>
                        <a:pt x="436865" y="66318"/>
                        <a:pt x="433075" y="61912"/>
                        <a:pt x="429900" y="57150"/>
                      </a:cubicBezTo>
                      <a:cubicBezTo>
                        <a:pt x="421247" y="22541"/>
                        <a:pt x="433396" y="48368"/>
                        <a:pt x="410850" y="33337"/>
                      </a:cubicBezTo>
                      <a:cubicBezTo>
                        <a:pt x="405246" y="29601"/>
                        <a:pt x="402337" y="22515"/>
                        <a:pt x="396562" y="19050"/>
                      </a:cubicBezTo>
                      <a:cubicBezTo>
                        <a:pt x="366332" y="912"/>
                        <a:pt x="355835" y="3941"/>
                        <a:pt x="320362" y="0"/>
                      </a:cubicBezTo>
                      <a:cubicBezTo>
                        <a:pt x="301312" y="3175"/>
                        <a:pt x="281334" y="2849"/>
                        <a:pt x="263212" y="9525"/>
                      </a:cubicBezTo>
                      <a:cubicBezTo>
                        <a:pt x="235392" y="19775"/>
                        <a:pt x="221221" y="43936"/>
                        <a:pt x="206062" y="66675"/>
                      </a:cubicBezTo>
                      <a:cubicBezTo>
                        <a:pt x="204475" y="71437"/>
                        <a:pt x="203277" y="76348"/>
                        <a:pt x="201300" y="80962"/>
                      </a:cubicBezTo>
                      <a:cubicBezTo>
                        <a:pt x="198503" y="87488"/>
                        <a:pt x="192169" y="92923"/>
                        <a:pt x="191775" y="100012"/>
                      </a:cubicBezTo>
                      <a:cubicBezTo>
                        <a:pt x="190539" y="122259"/>
                        <a:pt x="192874" y="144709"/>
                        <a:pt x="196537" y="166687"/>
                      </a:cubicBezTo>
                      <a:cubicBezTo>
                        <a:pt x="197704" y="173690"/>
                        <a:pt x="202124" y="179830"/>
                        <a:pt x="206062" y="185737"/>
                      </a:cubicBezTo>
                      <a:cubicBezTo>
                        <a:pt x="214868" y="198946"/>
                        <a:pt x="234637" y="223837"/>
                        <a:pt x="234637" y="223837"/>
                      </a:cubicBezTo>
                      <a:cubicBezTo>
                        <a:pt x="236225" y="230187"/>
                        <a:pt x="237602" y="236593"/>
                        <a:pt x="239400" y="242887"/>
                      </a:cubicBezTo>
                      <a:cubicBezTo>
                        <a:pt x="240779" y="247714"/>
                        <a:pt x="244162" y="252155"/>
                        <a:pt x="244162" y="257175"/>
                      </a:cubicBezTo>
                      <a:cubicBezTo>
                        <a:pt x="244162" y="265269"/>
                        <a:pt x="240987" y="273050"/>
                        <a:pt x="239400" y="280987"/>
                      </a:cubicBezTo>
                      <a:lnTo>
                        <a:pt x="206062" y="276225"/>
                      </a:lnTo>
                      <a:cubicBezTo>
                        <a:pt x="171137" y="276225"/>
                        <a:pt x="63981" y="277812"/>
                        <a:pt x="29850" y="280987"/>
                      </a:cubicBezTo>
                      <a:cubicBezTo>
                        <a:pt x="-4281" y="284162"/>
                        <a:pt x="5244" y="265906"/>
                        <a:pt x="1275" y="295275"/>
                      </a:cubicBezTo>
                      <a:close/>
                    </a:path>
                  </a:pathLst>
                </a:custGeom>
                <a:noFill/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6" name="Freeform: Shape 155">
                  <a:extLst>
                    <a:ext uri="{FF2B5EF4-FFF2-40B4-BE49-F238E27FC236}">
                      <a16:creationId xmlns:a16="http://schemas.microsoft.com/office/drawing/2014/main" id="{6E32C41D-0A01-31DD-E5A2-1D0F5136F768}"/>
                    </a:ext>
                  </a:extLst>
                </p:cNvPr>
                <p:cNvSpPr/>
                <p:nvPr/>
              </p:nvSpPr>
              <p:spPr>
                <a:xfrm>
                  <a:off x="9104626" y="2828925"/>
                  <a:ext cx="892507" cy="942975"/>
                </a:xfrm>
                <a:custGeom>
                  <a:avLst/>
                  <a:gdLst>
                    <a:gd name="connsiteX0" fmla="*/ 1332 w 892414"/>
                    <a:gd name="connsiteY0" fmla="*/ 295275 h 942975"/>
                    <a:gd name="connsiteX1" fmla="*/ 6094 w 892414"/>
                    <a:gd name="connsiteY1" fmla="*/ 457200 h 942975"/>
                    <a:gd name="connsiteX2" fmla="*/ 10857 w 892414"/>
                    <a:gd name="connsiteY2" fmla="*/ 476250 h 942975"/>
                    <a:gd name="connsiteX3" fmla="*/ 15619 w 892414"/>
                    <a:gd name="connsiteY3" fmla="*/ 519112 h 942975"/>
                    <a:gd name="connsiteX4" fmla="*/ 29907 w 892414"/>
                    <a:gd name="connsiteY4" fmla="*/ 542925 h 942975"/>
                    <a:gd name="connsiteX5" fmla="*/ 44194 w 892414"/>
                    <a:gd name="connsiteY5" fmla="*/ 547687 h 942975"/>
                    <a:gd name="connsiteX6" fmla="*/ 68007 w 892414"/>
                    <a:gd name="connsiteY6" fmla="*/ 552450 h 942975"/>
                    <a:gd name="connsiteX7" fmla="*/ 101344 w 892414"/>
                    <a:gd name="connsiteY7" fmla="*/ 542925 h 942975"/>
                    <a:gd name="connsiteX8" fmla="*/ 129919 w 892414"/>
                    <a:gd name="connsiteY8" fmla="*/ 519112 h 942975"/>
                    <a:gd name="connsiteX9" fmla="*/ 144207 w 892414"/>
                    <a:gd name="connsiteY9" fmla="*/ 509587 h 942975"/>
                    <a:gd name="connsiteX10" fmla="*/ 220407 w 892414"/>
                    <a:gd name="connsiteY10" fmla="*/ 514350 h 942975"/>
                    <a:gd name="connsiteX11" fmla="*/ 234694 w 892414"/>
                    <a:gd name="connsiteY11" fmla="*/ 519112 h 942975"/>
                    <a:gd name="connsiteX12" fmla="*/ 248982 w 892414"/>
                    <a:gd name="connsiteY12" fmla="*/ 542925 h 942975"/>
                    <a:gd name="connsiteX13" fmla="*/ 234694 w 892414"/>
                    <a:gd name="connsiteY13" fmla="*/ 628650 h 942975"/>
                    <a:gd name="connsiteX14" fmla="*/ 225169 w 892414"/>
                    <a:gd name="connsiteY14" fmla="*/ 652462 h 942975"/>
                    <a:gd name="connsiteX15" fmla="*/ 187069 w 892414"/>
                    <a:gd name="connsiteY15" fmla="*/ 671512 h 942975"/>
                    <a:gd name="connsiteX16" fmla="*/ 153732 w 892414"/>
                    <a:gd name="connsiteY16" fmla="*/ 661987 h 942975"/>
                    <a:gd name="connsiteX17" fmla="*/ 134682 w 892414"/>
                    <a:gd name="connsiteY17" fmla="*/ 647700 h 942975"/>
                    <a:gd name="connsiteX18" fmla="*/ 110869 w 892414"/>
                    <a:gd name="connsiteY18" fmla="*/ 619125 h 942975"/>
                    <a:gd name="connsiteX19" fmla="*/ 25144 w 892414"/>
                    <a:gd name="connsiteY19" fmla="*/ 623887 h 942975"/>
                    <a:gd name="connsiteX20" fmla="*/ 20382 w 892414"/>
                    <a:gd name="connsiteY20" fmla="*/ 638175 h 942975"/>
                    <a:gd name="connsiteX21" fmla="*/ 25144 w 892414"/>
                    <a:gd name="connsiteY21" fmla="*/ 690562 h 942975"/>
                    <a:gd name="connsiteX22" fmla="*/ 29907 w 892414"/>
                    <a:gd name="connsiteY22" fmla="*/ 704850 h 942975"/>
                    <a:gd name="connsiteX23" fmla="*/ 34669 w 892414"/>
                    <a:gd name="connsiteY23" fmla="*/ 914400 h 942975"/>
                    <a:gd name="connsiteX24" fmla="*/ 120394 w 892414"/>
                    <a:gd name="connsiteY24" fmla="*/ 919162 h 942975"/>
                    <a:gd name="connsiteX25" fmla="*/ 134682 w 892414"/>
                    <a:gd name="connsiteY25" fmla="*/ 923925 h 942975"/>
                    <a:gd name="connsiteX26" fmla="*/ 253744 w 892414"/>
                    <a:gd name="connsiteY26" fmla="*/ 928687 h 942975"/>
                    <a:gd name="connsiteX27" fmla="*/ 277557 w 892414"/>
                    <a:gd name="connsiteY27" fmla="*/ 923925 h 942975"/>
                    <a:gd name="connsiteX28" fmla="*/ 263269 w 892414"/>
                    <a:gd name="connsiteY28" fmla="*/ 881062 h 942975"/>
                    <a:gd name="connsiteX29" fmla="*/ 253744 w 892414"/>
                    <a:gd name="connsiteY29" fmla="*/ 842962 h 942975"/>
                    <a:gd name="connsiteX30" fmla="*/ 248982 w 892414"/>
                    <a:gd name="connsiteY30" fmla="*/ 828675 h 942975"/>
                    <a:gd name="connsiteX31" fmla="*/ 239457 w 892414"/>
                    <a:gd name="connsiteY31" fmla="*/ 785812 h 942975"/>
                    <a:gd name="connsiteX32" fmla="*/ 248982 w 892414"/>
                    <a:gd name="connsiteY32" fmla="*/ 742950 h 942975"/>
                    <a:gd name="connsiteX33" fmla="*/ 277557 w 892414"/>
                    <a:gd name="connsiteY33" fmla="*/ 728662 h 942975"/>
                    <a:gd name="connsiteX34" fmla="*/ 306132 w 892414"/>
                    <a:gd name="connsiteY34" fmla="*/ 719137 h 942975"/>
                    <a:gd name="connsiteX35" fmla="*/ 358519 w 892414"/>
                    <a:gd name="connsiteY35" fmla="*/ 728662 h 942975"/>
                    <a:gd name="connsiteX36" fmla="*/ 396619 w 892414"/>
                    <a:gd name="connsiteY36" fmla="*/ 776287 h 942975"/>
                    <a:gd name="connsiteX37" fmla="*/ 391857 w 892414"/>
                    <a:gd name="connsiteY37" fmla="*/ 876300 h 942975"/>
                    <a:gd name="connsiteX38" fmla="*/ 391857 w 892414"/>
                    <a:gd name="connsiteY38" fmla="*/ 919162 h 942975"/>
                    <a:gd name="connsiteX39" fmla="*/ 420432 w 892414"/>
                    <a:gd name="connsiteY39" fmla="*/ 928687 h 942975"/>
                    <a:gd name="connsiteX40" fmla="*/ 515682 w 892414"/>
                    <a:gd name="connsiteY40" fmla="*/ 933450 h 942975"/>
                    <a:gd name="connsiteX41" fmla="*/ 558544 w 892414"/>
                    <a:gd name="connsiteY41" fmla="*/ 938212 h 942975"/>
                    <a:gd name="connsiteX42" fmla="*/ 596644 w 892414"/>
                    <a:gd name="connsiteY42" fmla="*/ 942975 h 942975"/>
                    <a:gd name="connsiteX43" fmla="*/ 634744 w 892414"/>
                    <a:gd name="connsiteY43" fmla="*/ 938212 h 942975"/>
                    <a:gd name="connsiteX44" fmla="*/ 653794 w 892414"/>
                    <a:gd name="connsiteY44" fmla="*/ 695325 h 942975"/>
                    <a:gd name="connsiteX45" fmla="*/ 668082 w 892414"/>
                    <a:gd name="connsiteY45" fmla="*/ 700087 h 942975"/>
                    <a:gd name="connsiteX46" fmla="*/ 734757 w 892414"/>
                    <a:gd name="connsiteY46" fmla="*/ 728662 h 942975"/>
                    <a:gd name="connsiteX47" fmla="*/ 844294 w 892414"/>
                    <a:gd name="connsiteY47" fmla="*/ 733425 h 942975"/>
                    <a:gd name="connsiteX48" fmla="*/ 877632 w 892414"/>
                    <a:gd name="connsiteY48" fmla="*/ 681037 h 942975"/>
                    <a:gd name="connsiteX49" fmla="*/ 882394 w 892414"/>
                    <a:gd name="connsiteY49" fmla="*/ 661987 h 942975"/>
                    <a:gd name="connsiteX50" fmla="*/ 891919 w 892414"/>
                    <a:gd name="connsiteY50" fmla="*/ 642937 h 942975"/>
                    <a:gd name="connsiteX51" fmla="*/ 887157 w 892414"/>
                    <a:gd name="connsiteY51" fmla="*/ 576262 h 942975"/>
                    <a:gd name="connsiteX52" fmla="*/ 872869 w 892414"/>
                    <a:gd name="connsiteY52" fmla="*/ 561975 h 942975"/>
                    <a:gd name="connsiteX53" fmla="*/ 853819 w 892414"/>
                    <a:gd name="connsiteY53" fmla="*/ 528637 h 942975"/>
                    <a:gd name="connsiteX54" fmla="*/ 839532 w 892414"/>
                    <a:gd name="connsiteY54" fmla="*/ 514350 h 942975"/>
                    <a:gd name="connsiteX55" fmla="*/ 810957 w 892414"/>
                    <a:gd name="connsiteY55" fmla="*/ 509587 h 942975"/>
                    <a:gd name="connsiteX56" fmla="*/ 696657 w 892414"/>
                    <a:gd name="connsiteY56" fmla="*/ 528637 h 942975"/>
                    <a:gd name="connsiteX57" fmla="*/ 668082 w 892414"/>
                    <a:gd name="connsiteY57" fmla="*/ 557212 h 942975"/>
                    <a:gd name="connsiteX58" fmla="*/ 653794 w 892414"/>
                    <a:gd name="connsiteY58" fmla="*/ 566737 h 942975"/>
                    <a:gd name="connsiteX59" fmla="*/ 649032 w 892414"/>
                    <a:gd name="connsiteY59" fmla="*/ 547687 h 942975"/>
                    <a:gd name="connsiteX60" fmla="*/ 644269 w 892414"/>
                    <a:gd name="connsiteY60" fmla="*/ 533400 h 942975"/>
                    <a:gd name="connsiteX61" fmla="*/ 649032 w 892414"/>
                    <a:gd name="connsiteY61" fmla="*/ 471487 h 942975"/>
                    <a:gd name="connsiteX62" fmla="*/ 644269 w 892414"/>
                    <a:gd name="connsiteY62" fmla="*/ 285750 h 942975"/>
                    <a:gd name="connsiteX63" fmla="*/ 634744 w 892414"/>
                    <a:gd name="connsiteY63" fmla="*/ 266700 h 942975"/>
                    <a:gd name="connsiteX64" fmla="*/ 606169 w 892414"/>
                    <a:gd name="connsiteY64" fmla="*/ 261937 h 942975"/>
                    <a:gd name="connsiteX65" fmla="*/ 506157 w 892414"/>
                    <a:gd name="connsiteY65" fmla="*/ 266700 h 942975"/>
                    <a:gd name="connsiteX66" fmla="*/ 434719 w 892414"/>
                    <a:gd name="connsiteY66" fmla="*/ 261937 h 942975"/>
                    <a:gd name="connsiteX67" fmla="*/ 425194 w 892414"/>
                    <a:gd name="connsiteY67" fmla="*/ 228600 h 942975"/>
                    <a:gd name="connsiteX68" fmla="*/ 434719 w 892414"/>
                    <a:gd name="connsiteY68" fmla="*/ 176212 h 942975"/>
                    <a:gd name="connsiteX69" fmla="*/ 444244 w 892414"/>
                    <a:gd name="connsiteY69" fmla="*/ 152400 h 942975"/>
                    <a:gd name="connsiteX70" fmla="*/ 449007 w 892414"/>
                    <a:gd name="connsiteY70" fmla="*/ 138112 h 942975"/>
                    <a:gd name="connsiteX71" fmla="*/ 439482 w 892414"/>
                    <a:gd name="connsiteY71" fmla="*/ 71437 h 942975"/>
                    <a:gd name="connsiteX72" fmla="*/ 429957 w 892414"/>
                    <a:gd name="connsiteY72" fmla="*/ 57150 h 942975"/>
                    <a:gd name="connsiteX73" fmla="*/ 410907 w 892414"/>
                    <a:gd name="connsiteY73" fmla="*/ 33337 h 942975"/>
                    <a:gd name="connsiteX74" fmla="*/ 396619 w 892414"/>
                    <a:gd name="connsiteY74" fmla="*/ 19050 h 942975"/>
                    <a:gd name="connsiteX75" fmla="*/ 320419 w 892414"/>
                    <a:gd name="connsiteY75" fmla="*/ 0 h 942975"/>
                    <a:gd name="connsiteX76" fmla="*/ 263269 w 892414"/>
                    <a:gd name="connsiteY76" fmla="*/ 9525 h 942975"/>
                    <a:gd name="connsiteX77" fmla="*/ 206119 w 892414"/>
                    <a:gd name="connsiteY77" fmla="*/ 66675 h 942975"/>
                    <a:gd name="connsiteX78" fmla="*/ 201357 w 892414"/>
                    <a:gd name="connsiteY78" fmla="*/ 80962 h 942975"/>
                    <a:gd name="connsiteX79" fmla="*/ 191832 w 892414"/>
                    <a:gd name="connsiteY79" fmla="*/ 100012 h 942975"/>
                    <a:gd name="connsiteX80" fmla="*/ 196594 w 892414"/>
                    <a:gd name="connsiteY80" fmla="*/ 166687 h 942975"/>
                    <a:gd name="connsiteX81" fmla="*/ 206119 w 892414"/>
                    <a:gd name="connsiteY81" fmla="*/ 185737 h 942975"/>
                    <a:gd name="connsiteX82" fmla="*/ 234694 w 892414"/>
                    <a:gd name="connsiteY82" fmla="*/ 223837 h 942975"/>
                    <a:gd name="connsiteX83" fmla="*/ 239457 w 892414"/>
                    <a:gd name="connsiteY83" fmla="*/ 242887 h 942975"/>
                    <a:gd name="connsiteX84" fmla="*/ 244219 w 892414"/>
                    <a:gd name="connsiteY84" fmla="*/ 257175 h 942975"/>
                    <a:gd name="connsiteX85" fmla="*/ 239457 w 892414"/>
                    <a:gd name="connsiteY85" fmla="*/ 280987 h 942975"/>
                    <a:gd name="connsiteX86" fmla="*/ 206119 w 892414"/>
                    <a:gd name="connsiteY86" fmla="*/ 276225 h 942975"/>
                    <a:gd name="connsiteX87" fmla="*/ 177544 w 892414"/>
                    <a:gd name="connsiteY87" fmla="*/ 271462 h 942975"/>
                    <a:gd name="connsiteX88" fmla="*/ 29907 w 892414"/>
                    <a:gd name="connsiteY88" fmla="*/ 280987 h 942975"/>
                    <a:gd name="connsiteX89" fmla="*/ 1332 w 892414"/>
                    <a:gd name="connsiteY89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53819 w 892564"/>
                    <a:gd name="connsiteY52" fmla="*/ 528637 h 942975"/>
                    <a:gd name="connsiteX53" fmla="*/ 839532 w 892564"/>
                    <a:gd name="connsiteY53" fmla="*/ 514350 h 942975"/>
                    <a:gd name="connsiteX54" fmla="*/ 810957 w 892564"/>
                    <a:gd name="connsiteY54" fmla="*/ 509587 h 942975"/>
                    <a:gd name="connsiteX55" fmla="*/ 696657 w 892564"/>
                    <a:gd name="connsiteY55" fmla="*/ 528637 h 942975"/>
                    <a:gd name="connsiteX56" fmla="*/ 668082 w 892564"/>
                    <a:gd name="connsiteY56" fmla="*/ 557212 h 942975"/>
                    <a:gd name="connsiteX57" fmla="*/ 653794 w 892564"/>
                    <a:gd name="connsiteY57" fmla="*/ 566737 h 942975"/>
                    <a:gd name="connsiteX58" fmla="*/ 649032 w 892564"/>
                    <a:gd name="connsiteY58" fmla="*/ 547687 h 942975"/>
                    <a:gd name="connsiteX59" fmla="*/ 644269 w 892564"/>
                    <a:gd name="connsiteY59" fmla="*/ 533400 h 942975"/>
                    <a:gd name="connsiteX60" fmla="*/ 649032 w 892564"/>
                    <a:gd name="connsiteY60" fmla="*/ 471487 h 942975"/>
                    <a:gd name="connsiteX61" fmla="*/ 644269 w 892564"/>
                    <a:gd name="connsiteY61" fmla="*/ 285750 h 942975"/>
                    <a:gd name="connsiteX62" fmla="*/ 634744 w 892564"/>
                    <a:gd name="connsiteY62" fmla="*/ 266700 h 942975"/>
                    <a:gd name="connsiteX63" fmla="*/ 606169 w 892564"/>
                    <a:gd name="connsiteY63" fmla="*/ 261937 h 942975"/>
                    <a:gd name="connsiteX64" fmla="*/ 506157 w 892564"/>
                    <a:gd name="connsiteY64" fmla="*/ 266700 h 942975"/>
                    <a:gd name="connsiteX65" fmla="*/ 434719 w 892564"/>
                    <a:gd name="connsiteY65" fmla="*/ 261937 h 942975"/>
                    <a:gd name="connsiteX66" fmla="*/ 425194 w 892564"/>
                    <a:gd name="connsiteY66" fmla="*/ 228600 h 942975"/>
                    <a:gd name="connsiteX67" fmla="*/ 434719 w 892564"/>
                    <a:gd name="connsiteY67" fmla="*/ 176212 h 942975"/>
                    <a:gd name="connsiteX68" fmla="*/ 444244 w 892564"/>
                    <a:gd name="connsiteY68" fmla="*/ 152400 h 942975"/>
                    <a:gd name="connsiteX69" fmla="*/ 449007 w 892564"/>
                    <a:gd name="connsiteY69" fmla="*/ 138112 h 942975"/>
                    <a:gd name="connsiteX70" fmla="*/ 439482 w 892564"/>
                    <a:gd name="connsiteY70" fmla="*/ 71437 h 942975"/>
                    <a:gd name="connsiteX71" fmla="*/ 429957 w 892564"/>
                    <a:gd name="connsiteY71" fmla="*/ 57150 h 942975"/>
                    <a:gd name="connsiteX72" fmla="*/ 410907 w 892564"/>
                    <a:gd name="connsiteY72" fmla="*/ 33337 h 942975"/>
                    <a:gd name="connsiteX73" fmla="*/ 396619 w 892564"/>
                    <a:gd name="connsiteY73" fmla="*/ 19050 h 942975"/>
                    <a:gd name="connsiteX74" fmla="*/ 320419 w 892564"/>
                    <a:gd name="connsiteY74" fmla="*/ 0 h 942975"/>
                    <a:gd name="connsiteX75" fmla="*/ 263269 w 892564"/>
                    <a:gd name="connsiteY75" fmla="*/ 9525 h 942975"/>
                    <a:gd name="connsiteX76" fmla="*/ 206119 w 892564"/>
                    <a:gd name="connsiteY76" fmla="*/ 66675 h 942975"/>
                    <a:gd name="connsiteX77" fmla="*/ 201357 w 892564"/>
                    <a:gd name="connsiteY77" fmla="*/ 80962 h 942975"/>
                    <a:gd name="connsiteX78" fmla="*/ 191832 w 892564"/>
                    <a:gd name="connsiteY78" fmla="*/ 100012 h 942975"/>
                    <a:gd name="connsiteX79" fmla="*/ 196594 w 892564"/>
                    <a:gd name="connsiteY79" fmla="*/ 166687 h 942975"/>
                    <a:gd name="connsiteX80" fmla="*/ 206119 w 892564"/>
                    <a:gd name="connsiteY80" fmla="*/ 185737 h 942975"/>
                    <a:gd name="connsiteX81" fmla="*/ 234694 w 892564"/>
                    <a:gd name="connsiteY81" fmla="*/ 223837 h 942975"/>
                    <a:gd name="connsiteX82" fmla="*/ 239457 w 892564"/>
                    <a:gd name="connsiteY82" fmla="*/ 242887 h 942975"/>
                    <a:gd name="connsiteX83" fmla="*/ 244219 w 892564"/>
                    <a:gd name="connsiteY83" fmla="*/ 257175 h 942975"/>
                    <a:gd name="connsiteX84" fmla="*/ 239457 w 892564"/>
                    <a:gd name="connsiteY84" fmla="*/ 280987 h 942975"/>
                    <a:gd name="connsiteX85" fmla="*/ 206119 w 892564"/>
                    <a:gd name="connsiteY85" fmla="*/ 276225 h 942975"/>
                    <a:gd name="connsiteX86" fmla="*/ 177544 w 892564"/>
                    <a:gd name="connsiteY86" fmla="*/ 271462 h 942975"/>
                    <a:gd name="connsiteX87" fmla="*/ 29907 w 892564"/>
                    <a:gd name="connsiteY87" fmla="*/ 280987 h 942975"/>
                    <a:gd name="connsiteX88" fmla="*/ 1332 w 892564"/>
                    <a:gd name="connsiteY88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39532 w 892564"/>
                    <a:gd name="connsiteY52" fmla="*/ 514350 h 942975"/>
                    <a:gd name="connsiteX53" fmla="*/ 810957 w 892564"/>
                    <a:gd name="connsiteY53" fmla="*/ 509587 h 942975"/>
                    <a:gd name="connsiteX54" fmla="*/ 696657 w 892564"/>
                    <a:gd name="connsiteY54" fmla="*/ 528637 h 942975"/>
                    <a:gd name="connsiteX55" fmla="*/ 668082 w 892564"/>
                    <a:gd name="connsiteY55" fmla="*/ 557212 h 942975"/>
                    <a:gd name="connsiteX56" fmla="*/ 653794 w 892564"/>
                    <a:gd name="connsiteY56" fmla="*/ 566737 h 942975"/>
                    <a:gd name="connsiteX57" fmla="*/ 649032 w 892564"/>
                    <a:gd name="connsiteY57" fmla="*/ 547687 h 942975"/>
                    <a:gd name="connsiteX58" fmla="*/ 644269 w 892564"/>
                    <a:gd name="connsiteY58" fmla="*/ 533400 h 942975"/>
                    <a:gd name="connsiteX59" fmla="*/ 649032 w 892564"/>
                    <a:gd name="connsiteY59" fmla="*/ 471487 h 942975"/>
                    <a:gd name="connsiteX60" fmla="*/ 644269 w 892564"/>
                    <a:gd name="connsiteY60" fmla="*/ 285750 h 942975"/>
                    <a:gd name="connsiteX61" fmla="*/ 634744 w 892564"/>
                    <a:gd name="connsiteY61" fmla="*/ 266700 h 942975"/>
                    <a:gd name="connsiteX62" fmla="*/ 606169 w 892564"/>
                    <a:gd name="connsiteY62" fmla="*/ 261937 h 942975"/>
                    <a:gd name="connsiteX63" fmla="*/ 506157 w 892564"/>
                    <a:gd name="connsiteY63" fmla="*/ 266700 h 942975"/>
                    <a:gd name="connsiteX64" fmla="*/ 434719 w 892564"/>
                    <a:gd name="connsiteY64" fmla="*/ 261937 h 942975"/>
                    <a:gd name="connsiteX65" fmla="*/ 425194 w 892564"/>
                    <a:gd name="connsiteY65" fmla="*/ 228600 h 942975"/>
                    <a:gd name="connsiteX66" fmla="*/ 434719 w 892564"/>
                    <a:gd name="connsiteY66" fmla="*/ 176212 h 942975"/>
                    <a:gd name="connsiteX67" fmla="*/ 444244 w 892564"/>
                    <a:gd name="connsiteY67" fmla="*/ 152400 h 942975"/>
                    <a:gd name="connsiteX68" fmla="*/ 449007 w 892564"/>
                    <a:gd name="connsiteY68" fmla="*/ 138112 h 942975"/>
                    <a:gd name="connsiteX69" fmla="*/ 439482 w 892564"/>
                    <a:gd name="connsiteY69" fmla="*/ 71437 h 942975"/>
                    <a:gd name="connsiteX70" fmla="*/ 429957 w 892564"/>
                    <a:gd name="connsiteY70" fmla="*/ 57150 h 942975"/>
                    <a:gd name="connsiteX71" fmla="*/ 410907 w 892564"/>
                    <a:gd name="connsiteY71" fmla="*/ 33337 h 942975"/>
                    <a:gd name="connsiteX72" fmla="*/ 396619 w 892564"/>
                    <a:gd name="connsiteY72" fmla="*/ 19050 h 942975"/>
                    <a:gd name="connsiteX73" fmla="*/ 320419 w 892564"/>
                    <a:gd name="connsiteY73" fmla="*/ 0 h 942975"/>
                    <a:gd name="connsiteX74" fmla="*/ 263269 w 892564"/>
                    <a:gd name="connsiteY74" fmla="*/ 9525 h 942975"/>
                    <a:gd name="connsiteX75" fmla="*/ 206119 w 892564"/>
                    <a:gd name="connsiteY75" fmla="*/ 66675 h 942975"/>
                    <a:gd name="connsiteX76" fmla="*/ 201357 w 892564"/>
                    <a:gd name="connsiteY76" fmla="*/ 80962 h 942975"/>
                    <a:gd name="connsiteX77" fmla="*/ 191832 w 892564"/>
                    <a:gd name="connsiteY77" fmla="*/ 100012 h 942975"/>
                    <a:gd name="connsiteX78" fmla="*/ 196594 w 892564"/>
                    <a:gd name="connsiteY78" fmla="*/ 166687 h 942975"/>
                    <a:gd name="connsiteX79" fmla="*/ 206119 w 892564"/>
                    <a:gd name="connsiteY79" fmla="*/ 185737 h 942975"/>
                    <a:gd name="connsiteX80" fmla="*/ 234694 w 892564"/>
                    <a:gd name="connsiteY80" fmla="*/ 223837 h 942975"/>
                    <a:gd name="connsiteX81" fmla="*/ 239457 w 892564"/>
                    <a:gd name="connsiteY81" fmla="*/ 242887 h 942975"/>
                    <a:gd name="connsiteX82" fmla="*/ 244219 w 892564"/>
                    <a:gd name="connsiteY82" fmla="*/ 257175 h 942975"/>
                    <a:gd name="connsiteX83" fmla="*/ 239457 w 892564"/>
                    <a:gd name="connsiteY83" fmla="*/ 280987 h 942975"/>
                    <a:gd name="connsiteX84" fmla="*/ 206119 w 892564"/>
                    <a:gd name="connsiteY84" fmla="*/ 276225 h 942975"/>
                    <a:gd name="connsiteX85" fmla="*/ 177544 w 892564"/>
                    <a:gd name="connsiteY85" fmla="*/ 271462 h 942975"/>
                    <a:gd name="connsiteX86" fmla="*/ 29907 w 892564"/>
                    <a:gd name="connsiteY86" fmla="*/ 280987 h 942975"/>
                    <a:gd name="connsiteX87" fmla="*/ 1332 w 892564"/>
                    <a:gd name="connsiteY87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10957 w 892564"/>
                    <a:gd name="connsiteY52" fmla="*/ 509587 h 942975"/>
                    <a:gd name="connsiteX53" fmla="*/ 696657 w 892564"/>
                    <a:gd name="connsiteY53" fmla="*/ 528637 h 942975"/>
                    <a:gd name="connsiteX54" fmla="*/ 668082 w 892564"/>
                    <a:gd name="connsiteY54" fmla="*/ 557212 h 942975"/>
                    <a:gd name="connsiteX55" fmla="*/ 653794 w 892564"/>
                    <a:gd name="connsiteY55" fmla="*/ 566737 h 942975"/>
                    <a:gd name="connsiteX56" fmla="*/ 649032 w 892564"/>
                    <a:gd name="connsiteY56" fmla="*/ 547687 h 942975"/>
                    <a:gd name="connsiteX57" fmla="*/ 644269 w 892564"/>
                    <a:gd name="connsiteY57" fmla="*/ 533400 h 942975"/>
                    <a:gd name="connsiteX58" fmla="*/ 649032 w 892564"/>
                    <a:gd name="connsiteY58" fmla="*/ 471487 h 942975"/>
                    <a:gd name="connsiteX59" fmla="*/ 644269 w 892564"/>
                    <a:gd name="connsiteY59" fmla="*/ 285750 h 942975"/>
                    <a:gd name="connsiteX60" fmla="*/ 634744 w 892564"/>
                    <a:gd name="connsiteY60" fmla="*/ 266700 h 942975"/>
                    <a:gd name="connsiteX61" fmla="*/ 606169 w 892564"/>
                    <a:gd name="connsiteY61" fmla="*/ 261937 h 942975"/>
                    <a:gd name="connsiteX62" fmla="*/ 506157 w 892564"/>
                    <a:gd name="connsiteY62" fmla="*/ 266700 h 942975"/>
                    <a:gd name="connsiteX63" fmla="*/ 434719 w 892564"/>
                    <a:gd name="connsiteY63" fmla="*/ 261937 h 942975"/>
                    <a:gd name="connsiteX64" fmla="*/ 425194 w 892564"/>
                    <a:gd name="connsiteY64" fmla="*/ 228600 h 942975"/>
                    <a:gd name="connsiteX65" fmla="*/ 434719 w 892564"/>
                    <a:gd name="connsiteY65" fmla="*/ 176212 h 942975"/>
                    <a:gd name="connsiteX66" fmla="*/ 444244 w 892564"/>
                    <a:gd name="connsiteY66" fmla="*/ 152400 h 942975"/>
                    <a:gd name="connsiteX67" fmla="*/ 449007 w 892564"/>
                    <a:gd name="connsiteY67" fmla="*/ 138112 h 942975"/>
                    <a:gd name="connsiteX68" fmla="*/ 439482 w 892564"/>
                    <a:gd name="connsiteY68" fmla="*/ 71437 h 942975"/>
                    <a:gd name="connsiteX69" fmla="*/ 429957 w 892564"/>
                    <a:gd name="connsiteY69" fmla="*/ 57150 h 942975"/>
                    <a:gd name="connsiteX70" fmla="*/ 410907 w 892564"/>
                    <a:gd name="connsiteY70" fmla="*/ 33337 h 942975"/>
                    <a:gd name="connsiteX71" fmla="*/ 396619 w 892564"/>
                    <a:gd name="connsiteY71" fmla="*/ 19050 h 942975"/>
                    <a:gd name="connsiteX72" fmla="*/ 320419 w 892564"/>
                    <a:gd name="connsiteY72" fmla="*/ 0 h 942975"/>
                    <a:gd name="connsiteX73" fmla="*/ 263269 w 892564"/>
                    <a:gd name="connsiteY73" fmla="*/ 9525 h 942975"/>
                    <a:gd name="connsiteX74" fmla="*/ 206119 w 892564"/>
                    <a:gd name="connsiteY74" fmla="*/ 66675 h 942975"/>
                    <a:gd name="connsiteX75" fmla="*/ 201357 w 892564"/>
                    <a:gd name="connsiteY75" fmla="*/ 80962 h 942975"/>
                    <a:gd name="connsiteX76" fmla="*/ 191832 w 892564"/>
                    <a:gd name="connsiteY76" fmla="*/ 100012 h 942975"/>
                    <a:gd name="connsiteX77" fmla="*/ 196594 w 892564"/>
                    <a:gd name="connsiteY77" fmla="*/ 166687 h 942975"/>
                    <a:gd name="connsiteX78" fmla="*/ 206119 w 892564"/>
                    <a:gd name="connsiteY78" fmla="*/ 185737 h 942975"/>
                    <a:gd name="connsiteX79" fmla="*/ 234694 w 892564"/>
                    <a:gd name="connsiteY79" fmla="*/ 223837 h 942975"/>
                    <a:gd name="connsiteX80" fmla="*/ 239457 w 892564"/>
                    <a:gd name="connsiteY80" fmla="*/ 242887 h 942975"/>
                    <a:gd name="connsiteX81" fmla="*/ 244219 w 892564"/>
                    <a:gd name="connsiteY81" fmla="*/ 257175 h 942975"/>
                    <a:gd name="connsiteX82" fmla="*/ 239457 w 892564"/>
                    <a:gd name="connsiteY82" fmla="*/ 280987 h 942975"/>
                    <a:gd name="connsiteX83" fmla="*/ 206119 w 892564"/>
                    <a:gd name="connsiteY83" fmla="*/ 276225 h 942975"/>
                    <a:gd name="connsiteX84" fmla="*/ 177544 w 892564"/>
                    <a:gd name="connsiteY84" fmla="*/ 271462 h 942975"/>
                    <a:gd name="connsiteX85" fmla="*/ 29907 w 892564"/>
                    <a:gd name="connsiteY85" fmla="*/ 280987 h 942975"/>
                    <a:gd name="connsiteX86" fmla="*/ 1332 w 892564"/>
                    <a:gd name="connsiteY86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134682 w 892564"/>
                    <a:gd name="connsiteY24" fmla="*/ 923925 h 942975"/>
                    <a:gd name="connsiteX25" fmla="*/ 253744 w 892564"/>
                    <a:gd name="connsiteY25" fmla="*/ 928687 h 942975"/>
                    <a:gd name="connsiteX26" fmla="*/ 277557 w 892564"/>
                    <a:gd name="connsiteY26" fmla="*/ 923925 h 942975"/>
                    <a:gd name="connsiteX27" fmla="*/ 263269 w 892564"/>
                    <a:gd name="connsiteY27" fmla="*/ 881062 h 942975"/>
                    <a:gd name="connsiteX28" fmla="*/ 253744 w 892564"/>
                    <a:gd name="connsiteY28" fmla="*/ 842962 h 942975"/>
                    <a:gd name="connsiteX29" fmla="*/ 248982 w 892564"/>
                    <a:gd name="connsiteY29" fmla="*/ 828675 h 942975"/>
                    <a:gd name="connsiteX30" fmla="*/ 239457 w 892564"/>
                    <a:gd name="connsiteY30" fmla="*/ 785812 h 942975"/>
                    <a:gd name="connsiteX31" fmla="*/ 248982 w 892564"/>
                    <a:gd name="connsiteY31" fmla="*/ 742950 h 942975"/>
                    <a:gd name="connsiteX32" fmla="*/ 277557 w 892564"/>
                    <a:gd name="connsiteY32" fmla="*/ 728662 h 942975"/>
                    <a:gd name="connsiteX33" fmla="*/ 306132 w 892564"/>
                    <a:gd name="connsiteY33" fmla="*/ 719137 h 942975"/>
                    <a:gd name="connsiteX34" fmla="*/ 358519 w 892564"/>
                    <a:gd name="connsiteY34" fmla="*/ 728662 h 942975"/>
                    <a:gd name="connsiteX35" fmla="*/ 396619 w 892564"/>
                    <a:gd name="connsiteY35" fmla="*/ 776287 h 942975"/>
                    <a:gd name="connsiteX36" fmla="*/ 391857 w 892564"/>
                    <a:gd name="connsiteY36" fmla="*/ 876300 h 942975"/>
                    <a:gd name="connsiteX37" fmla="*/ 391857 w 892564"/>
                    <a:gd name="connsiteY37" fmla="*/ 919162 h 942975"/>
                    <a:gd name="connsiteX38" fmla="*/ 420432 w 892564"/>
                    <a:gd name="connsiteY38" fmla="*/ 928687 h 942975"/>
                    <a:gd name="connsiteX39" fmla="*/ 515682 w 892564"/>
                    <a:gd name="connsiteY39" fmla="*/ 933450 h 942975"/>
                    <a:gd name="connsiteX40" fmla="*/ 558544 w 892564"/>
                    <a:gd name="connsiteY40" fmla="*/ 938212 h 942975"/>
                    <a:gd name="connsiteX41" fmla="*/ 596644 w 892564"/>
                    <a:gd name="connsiteY41" fmla="*/ 942975 h 942975"/>
                    <a:gd name="connsiteX42" fmla="*/ 634744 w 892564"/>
                    <a:gd name="connsiteY42" fmla="*/ 938212 h 942975"/>
                    <a:gd name="connsiteX43" fmla="*/ 653794 w 892564"/>
                    <a:gd name="connsiteY43" fmla="*/ 695325 h 942975"/>
                    <a:gd name="connsiteX44" fmla="*/ 668082 w 892564"/>
                    <a:gd name="connsiteY44" fmla="*/ 700087 h 942975"/>
                    <a:gd name="connsiteX45" fmla="*/ 734757 w 892564"/>
                    <a:gd name="connsiteY45" fmla="*/ 728662 h 942975"/>
                    <a:gd name="connsiteX46" fmla="*/ 844294 w 892564"/>
                    <a:gd name="connsiteY46" fmla="*/ 733425 h 942975"/>
                    <a:gd name="connsiteX47" fmla="*/ 877632 w 892564"/>
                    <a:gd name="connsiteY47" fmla="*/ 681037 h 942975"/>
                    <a:gd name="connsiteX48" fmla="*/ 891919 w 892564"/>
                    <a:gd name="connsiteY48" fmla="*/ 642937 h 942975"/>
                    <a:gd name="connsiteX49" fmla="*/ 887157 w 892564"/>
                    <a:gd name="connsiteY49" fmla="*/ 576262 h 942975"/>
                    <a:gd name="connsiteX50" fmla="*/ 872869 w 892564"/>
                    <a:gd name="connsiteY50" fmla="*/ 561975 h 942975"/>
                    <a:gd name="connsiteX51" fmla="*/ 810957 w 892564"/>
                    <a:gd name="connsiteY51" fmla="*/ 509587 h 942975"/>
                    <a:gd name="connsiteX52" fmla="*/ 696657 w 892564"/>
                    <a:gd name="connsiteY52" fmla="*/ 528637 h 942975"/>
                    <a:gd name="connsiteX53" fmla="*/ 668082 w 892564"/>
                    <a:gd name="connsiteY53" fmla="*/ 557212 h 942975"/>
                    <a:gd name="connsiteX54" fmla="*/ 653794 w 892564"/>
                    <a:gd name="connsiteY54" fmla="*/ 566737 h 942975"/>
                    <a:gd name="connsiteX55" fmla="*/ 649032 w 892564"/>
                    <a:gd name="connsiteY55" fmla="*/ 547687 h 942975"/>
                    <a:gd name="connsiteX56" fmla="*/ 644269 w 892564"/>
                    <a:gd name="connsiteY56" fmla="*/ 533400 h 942975"/>
                    <a:gd name="connsiteX57" fmla="*/ 649032 w 892564"/>
                    <a:gd name="connsiteY57" fmla="*/ 471487 h 942975"/>
                    <a:gd name="connsiteX58" fmla="*/ 644269 w 892564"/>
                    <a:gd name="connsiteY58" fmla="*/ 285750 h 942975"/>
                    <a:gd name="connsiteX59" fmla="*/ 634744 w 892564"/>
                    <a:gd name="connsiteY59" fmla="*/ 266700 h 942975"/>
                    <a:gd name="connsiteX60" fmla="*/ 606169 w 892564"/>
                    <a:gd name="connsiteY60" fmla="*/ 261937 h 942975"/>
                    <a:gd name="connsiteX61" fmla="*/ 506157 w 892564"/>
                    <a:gd name="connsiteY61" fmla="*/ 266700 h 942975"/>
                    <a:gd name="connsiteX62" fmla="*/ 434719 w 892564"/>
                    <a:gd name="connsiteY62" fmla="*/ 261937 h 942975"/>
                    <a:gd name="connsiteX63" fmla="*/ 425194 w 892564"/>
                    <a:gd name="connsiteY63" fmla="*/ 228600 h 942975"/>
                    <a:gd name="connsiteX64" fmla="*/ 434719 w 892564"/>
                    <a:gd name="connsiteY64" fmla="*/ 176212 h 942975"/>
                    <a:gd name="connsiteX65" fmla="*/ 444244 w 892564"/>
                    <a:gd name="connsiteY65" fmla="*/ 152400 h 942975"/>
                    <a:gd name="connsiteX66" fmla="*/ 449007 w 892564"/>
                    <a:gd name="connsiteY66" fmla="*/ 138112 h 942975"/>
                    <a:gd name="connsiteX67" fmla="*/ 439482 w 892564"/>
                    <a:gd name="connsiteY67" fmla="*/ 71437 h 942975"/>
                    <a:gd name="connsiteX68" fmla="*/ 429957 w 892564"/>
                    <a:gd name="connsiteY68" fmla="*/ 57150 h 942975"/>
                    <a:gd name="connsiteX69" fmla="*/ 410907 w 892564"/>
                    <a:gd name="connsiteY69" fmla="*/ 33337 h 942975"/>
                    <a:gd name="connsiteX70" fmla="*/ 396619 w 892564"/>
                    <a:gd name="connsiteY70" fmla="*/ 19050 h 942975"/>
                    <a:gd name="connsiteX71" fmla="*/ 320419 w 892564"/>
                    <a:gd name="connsiteY71" fmla="*/ 0 h 942975"/>
                    <a:gd name="connsiteX72" fmla="*/ 263269 w 892564"/>
                    <a:gd name="connsiteY72" fmla="*/ 9525 h 942975"/>
                    <a:gd name="connsiteX73" fmla="*/ 206119 w 892564"/>
                    <a:gd name="connsiteY73" fmla="*/ 66675 h 942975"/>
                    <a:gd name="connsiteX74" fmla="*/ 201357 w 892564"/>
                    <a:gd name="connsiteY74" fmla="*/ 80962 h 942975"/>
                    <a:gd name="connsiteX75" fmla="*/ 191832 w 892564"/>
                    <a:gd name="connsiteY75" fmla="*/ 100012 h 942975"/>
                    <a:gd name="connsiteX76" fmla="*/ 196594 w 892564"/>
                    <a:gd name="connsiteY76" fmla="*/ 166687 h 942975"/>
                    <a:gd name="connsiteX77" fmla="*/ 206119 w 892564"/>
                    <a:gd name="connsiteY77" fmla="*/ 185737 h 942975"/>
                    <a:gd name="connsiteX78" fmla="*/ 234694 w 892564"/>
                    <a:gd name="connsiteY78" fmla="*/ 223837 h 942975"/>
                    <a:gd name="connsiteX79" fmla="*/ 239457 w 892564"/>
                    <a:gd name="connsiteY79" fmla="*/ 242887 h 942975"/>
                    <a:gd name="connsiteX80" fmla="*/ 244219 w 892564"/>
                    <a:gd name="connsiteY80" fmla="*/ 257175 h 942975"/>
                    <a:gd name="connsiteX81" fmla="*/ 239457 w 892564"/>
                    <a:gd name="connsiteY81" fmla="*/ 280987 h 942975"/>
                    <a:gd name="connsiteX82" fmla="*/ 206119 w 892564"/>
                    <a:gd name="connsiteY82" fmla="*/ 276225 h 942975"/>
                    <a:gd name="connsiteX83" fmla="*/ 177544 w 892564"/>
                    <a:gd name="connsiteY83" fmla="*/ 271462 h 942975"/>
                    <a:gd name="connsiteX84" fmla="*/ 29907 w 892564"/>
                    <a:gd name="connsiteY84" fmla="*/ 280987 h 942975"/>
                    <a:gd name="connsiteX85" fmla="*/ 1332 w 892564"/>
                    <a:gd name="connsiteY85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253744 w 892564"/>
                    <a:gd name="connsiteY24" fmla="*/ 928687 h 942975"/>
                    <a:gd name="connsiteX25" fmla="*/ 277557 w 892564"/>
                    <a:gd name="connsiteY25" fmla="*/ 923925 h 942975"/>
                    <a:gd name="connsiteX26" fmla="*/ 263269 w 892564"/>
                    <a:gd name="connsiteY26" fmla="*/ 881062 h 942975"/>
                    <a:gd name="connsiteX27" fmla="*/ 253744 w 892564"/>
                    <a:gd name="connsiteY27" fmla="*/ 842962 h 942975"/>
                    <a:gd name="connsiteX28" fmla="*/ 248982 w 892564"/>
                    <a:gd name="connsiteY28" fmla="*/ 828675 h 942975"/>
                    <a:gd name="connsiteX29" fmla="*/ 239457 w 892564"/>
                    <a:gd name="connsiteY29" fmla="*/ 785812 h 942975"/>
                    <a:gd name="connsiteX30" fmla="*/ 248982 w 892564"/>
                    <a:gd name="connsiteY30" fmla="*/ 742950 h 942975"/>
                    <a:gd name="connsiteX31" fmla="*/ 277557 w 892564"/>
                    <a:gd name="connsiteY31" fmla="*/ 728662 h 942975"/>
                    <a:gd name="connsiteX32" fmla="*/ 306132 w 892564"/>
                    <a:gd name="connsiteY32" fmla="*/ 719137 h 942975"/>
                    <a:gd name="connsiteX33" fmla="*/ 358519 w 892564"/>
                    <a:gd name="connsiteY33" fmla="*/ 728662 h 942975"/>
                    <a:gd name="connsiteX34" fmla="*/ 396619 w 892564"/>
                    <a:gd name="connsiteY34" fmla="*/ 776287 h 942975"/>
                    <a:gd name="connsiteX35" fmla="*/ 391857 w 892564"/>
                    <a:gd name="connsiteY35" fmla="*/ 876300 h 942975"/>
                    <a:gd name="connsiteX36" fmla="*/ 391857 w 892564"/>
                    <a:gd name="connsiteY36" fmla="*/ 919162 h 942975"/>
                    <a:gd name="connsiteX37" fmla="*/ 420432 w 892564"/>
                    <a:gd name="connsiteY37" fmla="*/ 928687 h 942975"/>
                    <a:gd name="connsiteX38" fmla="*/ 515682 w 892564"/>
                    <a:gd name="connsiteY38" fmla="*/ 933450 h 942975"/>
                    <a:gd name="connsiteX39" fmla="*/ 558544 w 892564"/>
                    <a:gd name="connsiteY39" fmla="*/ 938212 h 942975"/>
                    <a:gd name="connsiteX40" fmla="*/ 596644 w 892564"/>
                    <a:gd name="connsiteY40" fmla="*/ 942975 h 942975"/>
                    <a:gd name="connsiteX41" fmla="*/ 634744 w 892564"/>
                    <a:gd name="connsiteY41" fmla="*/ 938212 h 942975"/>
                    <a:gd name="connsiteX42" fmla="*/ 653794 w 892564"/>
                    <a:gd name="connsiteY42" fmla="*/ 695325 h 942975"/>
                    <a:gd name="connsiteX43" fmla="*/ 668082 w 892564"/>
                    <a:gd name="connsiteY43" fmla="*/ 700087 h 942975"/>
                    <a:gd name="connsiteX44" fmla="*/ 734757 w 892564"/>
                    <a:gd name="connsiteY44" fmla="*/ 728662 h 942975"/>
                    <a:gd name="connsiteX45" fmla="*/ 844294 w 892564"/>
                    <a:gd name="connsiteY45" fmla="*/ 733425 h 942975"/>
                    <a:gd name="connsiteX46" fmla="*/ 877632 w 892564"/>
                    <a:gd name="connsiteY46" fmla="*/ 681037 h 942975"/>
                    <a:gd name="connsiteX47" fmla="*/ 891919 w 892564"/>
                    <a:gd name="connsiteY47" fmla="*/ 642937 h 942975"/>
                    <a:gd name="connsiteX48" fmla="*/ 887157 w 892564"/>
                    <a:gd name="connsiteY48" fmla="*/ 576262 h 942975"/>
                    <a:gd name="connsiteX49" fmla="*/ 872869 w 892564"/>
                    <a:gd name="connsiteY49" fmla="*/ 561975 h 942975"/>
                    <a:gd name="connsiteX50" fmla="*/ 810957 w 892564"/>
                    <a:gd name="connsiteY50" fmla="*/ 509587 h 942975"/>
                    <a:gd name="connsiteX51" fmla="*/ 696657 w 892564"/>
                    <a:gd name="connsiteY51" fmla="*/ 528637 h 942975"/>
                    <a:gd name="connsiteX52" fmla="*/ 668082 w 892564"/>
                    <a:gd name="connsiteY52" fmla="*/ 557212 h 942975"/>
                    <a:gd name="connsiteX53" fmla="*/ 653794 w 892564"/>
                    <a:gd name="connsiteY53" fmla="*/ 566737 h 942975"/>
                    <a:gd name="connsiteX54" fmla="*/ 649032 w 892564"/>
                    <a:gd name="connsiteY54" fmla="*/ 547687 h 942975"/>
                    <a:gd name="connsiteX55" fmla="*/ 644269 w 892564"/>
                    <a:gd name="connsiteY55" fmla="*/ 533400 h 942975"/>
                    <a:gd name="connsiteX56" fmla="*/ 649032 w 892564"/>
                    <a:gd name="connsiteY56" fmla="*/ 471487 h 942975"/>
                    <a:gd name="connsiteX57" fmla="*/ 644269 w 892564"/>
                    <a:gd name="connsiteY57" fmla="*/ 285750 h 942975"/>
                    <a:gd name="connsiteX58" fmla="*/ 634744 w 892564"/>
                    <a:gd name="connsiteY58" fmla="*/ 266700 h 942975"/>
                    <a:gd name="connsiteX59" fmla="*/ 606169 w 892564"/>
                    <a:gd name="connsiteY59" fmla="*/ 261937 h 942975"/>
                    <a:gd name="connsiteX60" fmla="*/ 506157 w 892564"/>
                    <a:gd name="connsiteY60" fmla="*/ 266700 h 942975"/>
                    <a:gd name="connsiteX61" fmla="*/ 434719 w 892564"/>
                    <a:gd name="connsiteY61" fmla="*/ 261937 h 942975"/>
                    <a:gd name="connsiteX62" fmla="*/ 425194 w 892564"/>
                    <a:gd name="connsiteY62" fmla="*/ 228600 h 942975"/>
                    <a:gd name="connsiteX63" fmla="*/ 434719 w 892564"/>
                    <a:gd name="connsiteY63" fmla="*/ 176212 h 942975"/>
                    <a:gd name="connsiteX64" fmla="*/ 444244 w 892564"/>
                    <a:gd name="connsiteY64" fmla="*/ 152400 h 942975"/>
                    <a:gd name="connsiteX65" fmla="*/ 449007 w 892564"/>
                    <a:gd name="connsiteY65" fmla="*/ 138112 h 942975"/>
                    <a:gd name="connsiteX66" fmla="*/ 439482 w 892564"/>
                    <a:gd name="connsiteY66" fmla="*/ 71437 h 942975"/>
                    <a:gd name="connsiteX67" fmla="*/ 429957 w 892564"/>
                    <a:gd name="connsiteY67" fmla="*/ 57150 h 942975"/>
                    <a:gd name="connsiteX68" fmla="*/ 410907 w 892564"/>
                    <a:gd name="connsiteY68" fmla="*/ 33337 h 942975"/>
                    <a:gd name="connsiteX69" fmla="*/ 396619 w 892564"/>
                    <a:gd name="connsiteY69" fmla="*/ 19050 h 942975"/>
                    <a:gd name="connsiteX70" fmla="*/ 320419 w 892564"/>
                    <a:gd name="connsiteY70" fmla="*/ 0 h 942975"/>
                    <a:gd name="connsiteX71" fmla="*/ 263269 w 892564"/>
                    <a:gd name="connsiteY71" fmla="*/ 9525 h 942975"/>
                    <a:gd name="connsiteX72" fmla="*/ 206119 w 892564"/>
                    <a:gd name="connsiteY72" fmla="*/ 66675 h 942975"/>
                    <a:gd name="connsiteX73" fmla="*/ 201357 w 892564"/>
                    <a:gd name="connsiteY73" fmla="*/ 80962 h 942975"/>
                    <a:gd name="connsiteX74" fmla="*/ 191832 w 892564"/>
                    <a:gd name="connsiteY74" fmla="*/ 100012 h 942975"/>
                    <a:gd name="connsiteX75" fmla="*/ 196594 w 892564"/>
                    <a:gd name="connsiteY75" fmla="*/ 166687 h 942975"/>
                    <a:gd name="connsiteX76" fmla="*/ 206119 w 892564"/>
                    <a:gd name="connsiteY76" fmla="*/ 185737 h 942975"/>
                    <a:gd name="connsiteX77" fmla="*/ 234694 w 892564"/>
                    <a:gd name="connsiteY77" fmla="*/ 223837 h 942975"/>
                    <a:gd name="connsiteX78" fmla="*/ 239457 w 892564"/>
                    <a:gd name="connsiteY78" fmla="*/ 242887 h 942975"/>
                    <a:gd name="connsiteX79" fmla="*/ 244219 w 892564"/>
                    <a:gd name="connsiteY79" fmla="*/ 257175 h 942975"/>
                    <a:gd name="connsiteX80" fmla="*/ 239457 w 892564"/>
                    <a:gd name="connsiteY80" fmla="*/ 280987 h 942975"/>
                    <a:gd name="connsiteX81" fmla="*/ 206119 w 892564"/>
                    <a:gd name="connsiteY81" fmla="*/ 276225 h 942975"/>
                    <a:gd name="connsiteX82" fmla="*/ 177544 w 892564"/>
                    <a:gd name="connsiteY82" fmla="*/ 271462 h 942975"/>
                    <a:gd name="connsiteX83" fmla="*/ 29907 w 892564"/>
                    <a:gd name="connsiteY83" fmla="*/ 280987 h 942975"/>
                    <a:gd name="connsiteX84" fmla="*/ 1332 w 892564"/>
                    <a:gd name="connsiteY84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15682 w 892564"/>
                    <a:gd name="connsiteY37" fmla="*/ 933450 h 942975"/>
                    <a:gd name="connsiteX38" fmla="*/ 558544 w 892564"/>
                    <a:gd name="connsiteY38" fmla="*/ 938212 h 942975"/>
                    <a:gd name="connsiteX39" fmla="*/ 596644 w 892564"/>
                    <a:gd name="connsiteY39" fmla="*/ 942975 h 942975"/>
                    <a:gd name="connsiteX40" fmla="*/ 634744 w 892564"/>
                    <a:gd name="connsiteY40" fmla="*/ 938212 h 942975"/>
                    <a:gd name="connsiteX41" fmla="*/ 653794 w 892564"/>
                    <a:gd name="connsiteY41" fmla="*/ 695325 h 942975"/>
                    <a:gd name="connsiteX42" fmla="*/ 668082 w 892564"/>
                    <a:gd name="connsiteY42" fmla="*/ 700087 h 942975"/>
                    <a:gd name="connsiteX43" fmla="*/ 734757 w 892564"/>
                    <a:gd name="connsiteY43" fmla="*/ 728662 h 942975"/>
                    <a:gd name="connsiteX44" fmla="*/ 844294 w 892564"/>
                    <a:gd name="connsiteY44" fmla="*/ 733425 h 942975"/>
                    <a:gd name="connsiteX45" fmla="*/ 877632 w 892564"/>
                    <a:gd name="connsiteY45" fmla="*/ 681037 h 942975"/>
                    <a:gd name="connsiteX46" fmla="*/ 891919 w 892564"/>
                    <a:gd name="connsiteY46" fmla="*/ 642937 h 942975"/>
                    <a:gd name="connsiteX47" fmla="*/ 887157 w 892564"/>
                    <a:gd name="connsiteY47" fmla="*/ 576262 h 942975"/>
                    <a:gd name="connsiteX48" fmla="*/ 872869 w 892564"/>
                    <a:gd name="connsiteY48" fmla="*/ 561975 h 942975"/>
                    <a:gd name="connsiteX49" fmla="*/ 810957 w 892564"/>
                    <a:gd name="connsiteY49" fmla="*/ 509587 h 942975"/>
                    <a:gd name="connsiteX50" fmla="*/ 696657 w 892564"/>
                    <a:gd name="connsiteY50" fmla="*/ 528637 h 942975"/>
                    <a:gd name="connsiteX51" fmla="*/ 668082 w 892564"/>
                    <a:gd name="connsiteY51" fmla="*/ 557212 h 942975"/>
                    <a:gd name="connsiteX52" fmla="*/ 653794 w 892564"/>
                    <a:gd name="connsiteY52" fmla="*/ 566737 h 942975"/>
                    <a:gd name="connsiteX53" fmla="*/ 649032 w 892564"/>
                    <a:gd name="connsiteY53" fmla="*/ 547687 h 942975"/>
                    <a:gd name="connsiteX54" fmla="*/ 644269 w 892564"/>
                    <a:gd name="connsiteY54" fmla="*/ 533400 h 942975"/>
                    <a:gd name="connsiteX55" fmla="*/ 649032 w 892564"/>
                    <a:gd name="connsiteY55" fmla="*/ 471487 h 942975"/>
                    <a:gd name="connsiteX56" fmla="*/ 644269 w 892564"/>
                    <a:gd name="connsiteY56" fmla="*/ 285750 h 942975"/>
                    <a:gd name="connsiteX57" fmla="*/ 634744 w 892564"/>
                    <a:gd name="connsiteY57" fmla="*/ 266700 h 942975"/>
                    <a:gd name="connsiteX58" fmla="*/ 606169 w 892564"/>
                    <a:gd name="connsiteY58" fmla="*/ 261937 h 942975"/>
                    <a:gd name="connsiteX59" fmla="*/ 506157 w 892564"/>
                    <a:gd name="connsiteY59" fmla="*/ 266700 h 942975"/>
                    <a:gd name="connsiteX60" fmla="*/ 434719 w 892564"/>
                    <a:gd name="connsiteY60" fmla="*/ 261937 h 942975"/>
                    <a:gd name="connsiteX61" fmla="*/ 425194 w 892564"/>
                    <a:gd name="connsiteY61" fmla="*/ 228600 h 942975"/>
                    <a:gd name="connsiteX62" fmla="*/ 434719 w 892564"/>
                    <a:gd name="connsiteY62" fmla="*/ 176212 h 942975"/>
                    <a:gd name="connsiteX63" fmla="*/ 444244 w 892564"/>
                    <a:gd name="connsiteY63" fmla="*/ 152400 h 942975"/>
                    <a:gd name="connsiteX64" fmla="*/ 449007 w 892564"/>
                    <a:gd name="connsiteY64" fmla="*/ 138112 h 942975"/>
                    <a:gd name="connsiteX65" fmla="*/ 439482 w 892564"/>
                    <a:gd name="connsiteY65" fmla="*/ 71437 h 942975"/>
                    <a:gd name="connsiteX66" fmla="*/ 429957 w 892564"/>
                    <a:gd name="connsiteY66" fmla="*/ 57150 h 942975"/>
                    <a:gd name="connsiteX67" fmla="*/ 410907 w 892564"/>
                    <a:gd name="connsiteY67" fmla="*/ 33337 h 942975"/>
                    <a:gd name="connsiteX68" fmla="*/ 396619 w 892564"/>
                    <a:gd name="connsiteY68" fmla="*/ 19050 h 942975"/>
                    <a:gd name="connsiteX69" fmla="*/ 320419 w 892564"/>
                    <a:gd name="connsiteY69" fmla="*/ 0 h 942975"/>
                    <a:gd name="connsiteX70" fmla="*/ 263269 w 892564"/>
                    <a:gd name="connsiteY70" fmla="*/ 9525 h 942975"/>
                    <a:gd name="connsiteX71" fmla="*/ 206119 w 892564"/>
                    <a:gd name="connsiteY71" fmla="*/ 66675 h 942975"/>
                    <a:gd name="connsiteX72" fmla="*/ 201357 w 892564"/>
                    <a:gd name="connsiteY72" fmla="*/ 80962 h 942975"/>
                    <a:gd name="connsiteX73" fmla="*/ 191832 w 892564"/>
                    <a:gd name="connsiteY73" fmla="*/ 100012 h 942975"/>
                    <a:gd name="connsiteX74" fmla="*/ 196594 w 892564"/>
                    <a:gd name="connsiteY74" fmla="*/ 166687 h 942975"/>
                    <a:gd name="connsiteX75" fmla="*/ 206119 w 892564"/>
                    <a:gd name="connsiteY75" fmla="*/ 185737 h 942975"/>
                    <a:gd name="connsiteX76" fmla="*/ 234694 w 892564"/>
                    <a:gd name="connsiteY76" fmla="*/ 223837 h 942975"/>
                    <a:gd name="connsiteX77" fmla="*/ 239457 w 892564"/>
                    <a:gd name="connsiteY77" fmla="*/ 242887 h 942975"/>
                    <a:gd name="connsiteX78" fmla="*/ 244219 w 892564"/>
                    <a:gd name="connsiteY78" fmla="*/ 257175 h 942975"/>
                    <a:gd name="connsiteX79" fmla="*/ 239457 w 892564"/>
                    <a:gd name="connsiteY79" fmla="*/ 280987 h 942975"/>
                    <a:gd name="connsiteX80" fmla="*/ 206119 w 892564"/>
                    <a:gd name="connsiteY80" fmla="*/ 276225 h 942975"/>
                    <a:gd name="connsiteX81" fmla="*/ 177544 w 892564"/>
                    <a:gd name="connsiteY81" fmla="*/ 271462 h 942975"/>
                    <a:gd name="connsiteX82" fmla="*/ 29907 w 892564"/>
                    <a:gd name="connsiteY82" fmla="*/ 280987 h 942975"/>
                    <a:gd name="connsiteX83" fmla="*/ 1332 w 892564"/>
                    <a:gd name="connsiteY83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177544 w 892564"/>
                    <a:gd name="connsiteY80" fmla="*/ 271462 h 942975"/>
                    <a:gd name="connsiteX81" fmla="*/ 29907 w 892564"/>
                    <a:gd name="connsiteY81" fmla="*/ 280987 h 942975"/>
                    <a:gd name="connsiteX82" fmla="*/ 1332 w 892564"/>
                    <a:gd name="connsiteY82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29907 w 892564"/>
                    <a:gd name="connsiteY80" fmla="*/ 280987 h 942975"/>
                    <a:gd name="connsiteX81" fmla="*/ 1332 w 892564"/>
                    <a:gd name="connsiteY81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53737 w 892507"/>
                    <a:gd name="connsiteY50" fmla="*/ 566737 h 942975"/>
                    <a:gd name="connsiteX51" fmla="*/ 648975 w 892507"/>
                    <a:gd name="connsiteY51" fmla="*/ 547687 h 942975"/>
                    <a:gd name="connsiteX52" fmla="*/ 644212 w 892507"/>
                    <a:gd name="connsiteY52" fmla="*/ 533400 h 942975"/>
                    <a:gd name="connsiteX53" fmla="*/ 648975 w 892507"/>
                    <a:gd name="connsiteY53" fmla="*/ 471487 h 942975"/>
                    <a:gd name="connsiteX54" fmla="*/ 644212 w 892507"/>
                    <a:gd name="connsiteY54" fmla="*/ 285750 h 942975"/>
                    <a:gd name="connsiteX55" fmla="*/ 634687 w 892507"/>
                    <a:gd name="connsiteY55" fmla="*/ 266700 h 942975"/>
                    <a:gd name="connsiteX56" fmla="*/ 606112 w 892507"/>
                    <a:gd name="connsiteY56" fmla="*/ 261937 h 942975"/>
                    <a:gd name="connsiteX57" fmla="*/ 506100 w 892507"/>
                    <a:gd name="connsiteY57" fmla="*/ 266700 h 942975"/>
                    <a:gd name="connsiteX58" fmla="*/ 434662 w 892507"/>
                    <a:gd name="connsiteY58" fmla="*/ 261937 h 942975"/>
                    <a:gd name="connsiteX59" fmla="*/ 425137 w 892507"/>
                    <a:gd name="connsiteY59" fmla="*/ 228600 h 942975"/>
                    <a:gd name="connsiteX60" fmla="*/ 434662 w 892507"/>
                    <a:gd name="connsiteY60" fmla="*/ 176212 h 942975"/>
                    <a:gd name="connsiteX61" fmla="*/ 444187 w 892507"/>
                    <a:gd name="connsiteY61" fmla="*/ 152400 h 942975"/>
                    <a:gd name="connsiteX62" fmla="*/ 448950 w 892507"/>
                    <a:gd name="connsiteY62" fmla="*/ 138112 h 942975"/>
                    <a:gd name="connsiteX63" fmla="*/ 439425 w 892507"/>
                    <a:gd name="connsiteY63" fmla="*/ 71437 h 942975"/>
                    <a:gd name="connsiteX64" fmla="*/ 429900 w 892507"/>
                    <a:gd name="connsiteY64" fmla="*/ 57150 h 942975"/>
                    <a:gd name="connsiteX65" fmla="*/ 410850 w 892507"/>
                    <a:gd name="connsiteY65" fmla="*/ 33337 h 942975"/>
                    <a:gd name="connsiteX66" fmla="*/ 396562 w 892507"/>
                    <a:gd name="connsiteY66" fmla="*/ 19050 h 942975"/>
                    <a:gd name="connsiteX67" fmla="*/ 320362 w 892507"/>
                    <a:gd name="connsiteY67" fmla="*/ 0 h 942975"/>
                    <a:gd name="connsiteX68" fmla="*/ 263212 w 892507"/>
                    <a:gd name="connsiteY68" fmla="*/ 9525 h 942975"/>
                    <a:gd name="connsiteX69" fmla="*/ 206062 w 892507"/>
                    <a:gd name="connsiteY69" fmla="*/ 66675 h 942975"/>
                    <a:gd name="connsiteX70" fmla="*/ 201300 w 892507"/>
                    <a:gd name="connsiteY70" fmla="*/ 80962 h 942975"/>
                    <a:gd name="connsiteX71" fmla="*/ 191775 w 892507"/>
                    <a:gd name="connsiteY71" fmla="*/ 100012 h 942975"/>
                    <a:gd name="connsiteX72" fmla="*/ 196537 w 892507"/>
                    <a:gd name="connsiteY72" fmla="*/ 166687 h 942975"/>
                    <a:gd name="connsiteX73" fmla="*/ 206062 w 892507"/>
                    <a:gd name="connsiteY73" fmla="*/ 185737 h 942975"/>
                    <a:gd name="connsiteX74" fmla="*/ 234637 w 892507"/>
                    <a:gd name="connsiteY74" fmla="*/ 223837 h 942975"/>
                    <a:gd name="connsiteX75" fmla="*/ 239400 w 892507"/>
                    <a:gd name="connsiteY75" fmla="*/ 242887 h 942975"/>
                    <a:gd name="connsiteX76" fmla="*/ 244162 w 892507"/>
                    <a:gd name="connsiteY76" fmla="*/ 257175 h 942975"/>
                    <a:gd name="connsiteX77" fmla="*/ 239400 w 892507"/>
                    <a:gd name="connsiteY77" fmla="*/ 280987 h 942975"/>
                    <a:gd name="connsiteX78" fmla="*/ 206062 w 892507"/>
                    <a:gd name="connsiteY78" fmla="*/ 276225 h 942975"/>
                    <a:gd name="connsiteX79" fmla="*/ 29850 w 892507"/>
                    <a:gd name="connsiteY79" fmla="*/ 280987 h 942975"/>
                    <a:gd name="connsiteX80" fmla="*/ 1275 w 892507"/>
                    <a:gd name="connsiteY80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48975 w 892507"/>
                    <a:gd name="connsiteY50" fmla="*/ 547687 h 942975"/>
                    <a:gd name="connsiteX51" fmla="*/ 644212 w 892507"/>
                    <a:gd name="connsiteY51" fmla="*/ 533400 h 942975"/>
                    <a:gd name="connsiteX52" fmla="*/ 648975 w 892507"/>
                    <a:gd name="connsiteY52" fmla="*/ 471487 h 942975"/>
                    <a:gd name="connsiteX53" fmla="*/ 644212 w 892507"/>
                    <a:gd name="connsiteY53" fmla="*/ 285750 h 942975"/>
                    <a:gd name="connsiteX54" fmla="*/ 634687 w 892507"/>
                    <a:gd name="connsiteY54" fmla="*/ 266700 h 942975"/>
                    <a:gd name="connsiteX55" fmla="*/ 606112 w 892507"/>
                    <a:gd name="connsiteY55" fmla="*/ 261937 h 942975"/>
                    <a:gd name="connsiteX56" fmla="*/ 506100 w 892507"/>
                    <a:gd name="connsiteY56" fmla="*/ 266700 h 942975"/>
                    <a:gd name="connsiteX57" fmla="*/ 434662 w 892507"/>
                    <a:gd name="connsiteY57" fmla="*/ 261937 h 942975"/>
                    <a:gd name="connsiteX58" fmla="*/ 425137 w 892507"/>
                    <a:gd name="connsiteY58" fmla="*/ 228600 h 942975"/>
                    <a:gd name="connsiteX59" fmla="*/ 434662 w 892507"/>
                    <a:gd name="connsiteY59" fmla="*/ 176212 h 942975"/>
                    <a:gd name="connsiteX60" fmla="*/ 444187 w 892507"/>
                    <a:gd name="connsiteY60" fmla="*/ 152400 h 942975"/>
                    <a:gd name="connsiteX61" fmla="*/ 448950 w 892507"/>
                    <a:gd name="connsiteY61" fmla="*/ 138112 h 942975"/>
                    <a:gd name="connsiteX62" fmla="*/ 439425 w 892507"/>
                    <a:gd name="connsiteY62" fmla="*/ 71437 h 942975"/>
                    <a:gd name="connsiteX63" fmla="*/ 429900 w 892507"/>
                    <a:gd name="connsiteY63" fmla="*/ 57150 h 942975"/>
                    <a:gd name="connsiteX64" fmla="*/ 410850 w 892507"/>
                    <a:gd name="connsiteY64" fmla="*/ 33337 h 942975"/>
                    <a:gd name="connsiteX65" fmla="*/ 396562 w 892507"/>
                    <a:gd name="connsiteY65" fmla="*/ 19050 h 942975"/>
                    <a:gd name="connsiteX66" fmla="*/ 320362 w 892507"/>
                    <a:gd name="connsiteY66" fmla="*/ 0 h 942975"/>
                    <a:gd name="connsiteX67" fmla="*/ 263212 w 892507"/>
                    <a:gd name="connsiteY67" fmla="*/ 9525 h 942975"/>
                    <a:gd name="connsiteX68" fmla="*/ 206062 w 892507"/>
                    <a:gd name="connsiteY68" fmla="*/ 66675 h 942975"/>
                    <a:gd name="connsiteX69" fmla="*/ 201300 w 892507"/>
                    <a:gd name="connsiteY69" fmla="*/ 80962 h 942975"/>
                    <a:gd name="connsiteX70" fmla="*/ 191775 w 892507"/>
                    <a:gd name="connsiteY70" fmla="*/ 100012 h 942975"/>
                    <a:gd name="connsiteX71" fmla="*/ 196537 w 892507"/>
                    <a:gd name="connsiteY71" fmla="*/ 166687 h 942975"/>
                    <a:gd name="connsiteX72" fmla="*/ 206062 w 892507"/>
                    <a:gd name="connsiteY72" fmla="*/ 185737 h 942975"/>
                    <a:gd name="connsiteX73" fmla="*/ 234637 w 892507"/>
                    <a:gd name="connsiteY73" fmla="*/ 223837 h 942975"/>
                    <a:gd name="connsiteX74" fmla="*/ 239400 w 892507"/>
                    <a:gd name="connsiteY74" fmla="*/ 242887 h 942975"/>
                    <a:gd name="connsiteX75" fmla="*/ 244162 w 892507"/>
                    <a:gd name="connsiteY75" fmla="*/ 257175 h 942975"/>
                    <a:gd name="connsiteX76" fmla="*/ 239400 w 892507"/>
                    <a:gd name="connsiteY76" fmla="*/ 280987 h 942975"/>
                    <a:gd name="connsiteX77" fmla="*/ 206062 w 892507"/>
                    <a:gd name="connsiteY77" fmla="*/ 276225 h 942975"/>
                    <a:gd name="connsiteX78" fmla="*/ 29850 w 892507"/>
                    <a:gd name="connsiteY78" fmla="*/ 280987 h 942975"/>
                    <a:gd name="connsiteX79" fmla="*/ 1275 w 892507"/>
                    <a:gd name="connsiteY79" fmla="*/ 295275 h 942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892507" h="942975">
                      <a:moveTo>
                        <a:pt x="1275" y="295275"/>
                      </a:moveTo>
                      <a:cubicBezTo>
                        <a:pt x="-2694" y="324644"/>
                        <a:pt x="3656" y="419894"/>
                        <a:pt x="6037" y="457200"/>
                      </a:cubicBezTo>
                      <a:cubicBezTo>
                        <a:pt x="8418" y="494506"/>
                        <a:pt x="11593" y="504825"/>
                        <a:pt x="15562" y="519112"/>
                      </a:cubicBezTo>
                      <a:cubicBezTo>
                        <a:pt x="19531" y="533399"/>
                        <a:pt x="23304" y="536379"/>
                        <a:pt x="29850" y="542925"/>
                      </a:cubicBezTo>
                      <a:cubicBezTo>
                        <a:pt x="33400" y="546475"/>
                        <a:pt x="39267" y="546469"/>
                        <a:pt x="44137" y="547687"/>
                      </a:cubicBezTo>
                      <a:cubicBezTo>
                        <a:pt x="51990" y="549650"/>
                        <a:pt x="60012" y="550862"/>
                        <a:pt x="67950" y="552450"/>
                      </a:cubicBezTo>
                      <a:cubicBezTo>
                        <a:pt x="79062" y="549275"/>
                        <a:pt x="90557" y="547217"/>
                        <a:pt x="101287" y="542925"/>
                      </a:cubicBezTo>
                      <a:cubicBezTo>
                        <a:pt x="114934" y="537466"/>
                        <a:pt x="118876" y="528267"/>
                        <a:pt x="129862" y="519112"/>
                      </a:cubicBezTo>
                      <a:cubicBezTo>
                        <a:pt x="134259" y="515448"/>
                        <a:pt x="139387" y="512762"/>
                        <a:pt x="144150" y="509587"/>
                      </a:cubicBezTo>
                      <a:cubicBezTo>
                        <a:pt x="169550" y="511175"/>
                        <a:pt x="195040" y="511686"/>
                        <a:pt x="220350" y="514350"/>
                      </a:cubicBezTo>
                      <a:cubicBezTo>
                        <a:pt x="225342" y="514876"/>
                        <a:pt x="231087" y="515562"/>
                        <a:pt x="234637" y="519112"/>
                      </a:cubicBezTo>
                      <a:cubicBezTo>
                        <a:pt x="241183" y="525658"/>
                        <a:pt x="244162" y="534987"/>
                        <a:pt x="248925" y="542925"/>
                      </a:cubicBezTo>
                      <a:cubicBezTo>
                        <a:pt x="242355" y="634900"/>
                        <a:pt x="254541" y="583866"/>
                        <a:pt x="234637" y="628650"/>
                      </a:cubicBezTo>
                      <a:cubicBezTo>
                        <a:pt x="231165" y="636462"/>
                        <a:pt x="230241" y="645623"/>
                        <a:pt x="225112" y="652462"/>
                      </a:cubicBezTo>
                      <a:cubicBezTo>
                        <a:pt x="213902" y="667409"/>
                        <a:pt x="202980" y="667520"/>
                        <a:pt x="187012" y="671512"/>
                      </a:cubicBezTo>
                      <a:cubicBezTo>
                        <a:pt x="175900" y="668337"/>
                        <a:pt x="164196" y="666769"/>
                        <a:pt x="153675" y="661987"/>
                      </a:cubicBezTo>
                      <a:cubicBezTo>
                        <a:pt x="146449" y="658703"/>
                        <a:pt x="140652" y="652866"/>
                        <a:pt x="134625" y="647700"/>
                      </a:cubicBezTo>
                      <a:cubicBezTo>
                        <a:pt x="120365" y="635477"/>
                        <a:pt x="120610" y="633822"/>
                        <a:pt x="110812" y="619125"/>
                      </a:cubicBezTo>
                      <a:cubicBezTo>
                        <a:pt x="82237" y="620712"/>
                        <a:pt x="53092" y="617991"/>
                        <a:pt x="25087" y="623887"/>
                      </a:cubicBezTo>
                      <a:cubicBezTo>
                        <a:pt x="20174" y="624921"/>
                        <a:pt x="20325" y="633155"/>
                        <a:pt x="20325" y="638175"/>
                      </a:cubicBezTo>
                      <a:cubicBezTo>
                        <a:pt x="20325" y="655709"/>
                        <a:pt x="22706" y="644525"/>
                        <a:pt x="25087" y="690562"/>
                      </a:cubicBezTo>
                      <a:cubicBezTo>
                        <a:pt x="27468" y="736599"/>
                        <a:pt x="-3488" y="874713"/>
                        <a:pt x="34612" y="914400"/>
                      </a:cubicBezTo>
                      <a:cubicBezTo>
                        <a:pt x="72712" y="954087"/>
                        <a:pt x="213206" y="927100"/>
                        <a:pt x="253687" y="928687"/>
                      </a:cubicBezTo>
                      <a:cubicBezTo>
                        <a:pt x="261625" y="927100"/>
                        <a:pt x="273010" y="930660"/>
                        <a:pt x="277500" y="923925"/>
                      </a:cubicBezTo>
                      <a:cubicBezTo>
                        <a:pt x="282775" y="916012"/>
                        <a:pt x="266332" y="887302"/>
                        <a:pt x="263212" y="881062"/>
                      </a:cubicBezTo>
                      <a:cubicBezTo>
                        <a:pt x="260037" y="868362"/>
                        <a:pt x="257826" y="855381"/>
                        <a:pt x="253687" y="842962"/>
                      </a:cubicBezTo>
                      <a:cubicBezTo>
                        <a:pt x="252100" y="838200"/>
                        <a:pt x="250304" y="833502"/>
                        <a:pt x="248925" y="828675"/>
                      </a:cubicBezTo>
                      <a:cubicBezTo>
                        <a:pt x="244438" y="812971"/>
                        <a:pt x="242676" y="802194"/>
                        <a:pt x="239400" y="785812"/>
                      </a:cubicBezTo>
                      <a:cubicBezTo>
                        <a:pt x="242575" y="771525"/>
                        <a:pt x="240806" y="755128"/>
                        <a:pt x="248925" y="742950"/>
                      </a:cubicBezTo>
                      <a:cubicBezTo>
                        <a:pt x="254832" y="734089"/>
                        <a:pt x="267670" y="732758"/>
                        <a:pt x="277500" y="728662"/>
                      </a:cubicBezTo>
                      <a:cubicBezTo>
                        <a:pt x="286768" y="724800"/>
                        <a:pt x="306075" y="719137"/>
                        <a:pt x="306075" y="719137"/>
                      </a:cubicBezTo>
                      <a:cubicBezTo>
                        <a:pt x="323537" y="722312"/>
                        <a:pt x="342587" y="720725"/>
                        <a:pt x="358462" y="728662"/>
                      </a:cubicBezTo>
                      <a:cubicBezTo>
                        <a:pt x="363087" y="730975"/>
                        <a:pt x="390372" y="768034"/>
                        <a:pt x="396562" y="776287"/>
                      </a:cubicBezTo>
                      <a:cubicBezTo>
                        <a:pt x="394975" y="809625"/>
                        <a:pt x="394265" y="843016"/>
                        <a:pt x="391800" y="876300"/>
                      </a:cubicBezTo>
                      <a:cubicBezTo>
                        <a:pt x="391578" y="879296"/>
                        <a:pt x="381193" y="911586"/>
                        <a:pt x="391800" y="919162"/>
                      </a:cubicBezTo>
                      <a:cubicBezTo>
                        <a:pt x="399970" y="924998"/>
                        <a:pt x="392594" y="925512"/>
                        <a:pt x="420375" y="928687"/>
                      </a:cubicBezTo>
                      <a:cubicBezTo>
                        <a:pt x="448156" y="931862"/>
                        <a:pt x="529118" y="935831"/>
                        <a:pt x="558487" y="938212"/>
                      </a:cubicBezTo>
                      <a:cubicBezTo>
                        <a:pt x="587856" y="940593"/>
                        <a:pt x="583788" y="942975"/>
                        <a:pt x="596587" y="942975"/>
                      </a:cubicBezTo>
                      <a:cubicBezTo>
                        <a:pt x="609386" y="942975"/>
                        <a:pt x="621987" y="939800"/>
                        <a:pt x="634687" y="938212"/>
                      </a:cubicBezTo>
                      <a:cubicBezTo>
                        <a:pt x="637952" y="872912"/>
                        <a:pt x="642558" y="751221"/>
                        <a:pt x="653737" y="695325"/>
                      </a:cubicBezTo>
                      <a:cubicBezTo>
                        <a:pt x="654722" y="690402"/>
                        <a:pt x="663535" y="697842"/>
                        <a:pt x="668025" y="700087"/>
                      </a:cubicBezTo>
                      <a:cubicBezTo>
                        <a:pt x="727213" y="729681"/>
                        <a:pt x="690279" y="719779"/>
                        <a:pt x="734700" y="728662"/>
                      </a:cubicBezTo>
                      <a:cubicBezTo>
                        <a:pt x="778294" y="750460"/>
                        <a:pt x="776391" y="756041"/>
                        <a:pt x="844237" y="733425"/>
                      </a:cubicBezTo>
                      <a:cubicBezTo>
                        <a:pt x="855802" y="729570"/>
                        <a:pt x="873552" y="689083"/>
                        <a:pt x="877575" y="681037"/>
                      </a:cubicBezTo>
                      <a:cubicBezTo>
                        <a:pt x="885513" y="665956"/>
                        <a:pt x="890275" y="660399"/>
                        <a:pt x="891862" y="642937"/>
                      </a:cubicBezTo>
                      <a:cubicBezTo>
                        <a:pt x="893449" y="625475"/>
                        <a:pt x="892203" y="597951"/>
                        <a:pt x="887100" y="576262"/>
                      </a:cubicBezTo>
                      <a:cubicBezTo>
                        <a:pt x="885557" y="569706"/>
                        <a:pt x="877575" y="566737"/>
                        <a:pt x="872812" y="561975"/>
                      </a:cubicBezTo>
                      <a:cubicBezTo>
                        <a:pt x="860112" y="550863"/>
                        <a:pt x="840269" y="515143"/>
                        <a:pt x="810900" y="509587"/>
                      </a:cubicBezTo>
                      <a:cubicBezTo>
                        <a:pt x="758140" y="513105"/>
                        <a:pt x="740834" y="508221"/>
                        <a:pt x="696600" y="528637"/>
                      </a:cubicBezTo>
                      <a:cubicBezTo>
                        <a:pt x="667695" y="541978"/>
                        <a:pt x="675963" y="554037"/>
                        <a:pt x="668025" y="557212"/>
                      </a:cubicBezTo>
                      <a:cubicBezTo>
                        <a:pt x="660087" y="560387"/>
                        <a:pt x="652944" y="551656"/>
                        <a:pt x="648975" y="547687"/>
                      </a:cubicBezTo>
                      <a:cubicBezTo>
                        <a:pt x="645006" y="543718"/>
                        <a:pt x="644212" y="538420"/>
                        <a:pt x="644212" y="533400"/>
                      </a:cubicBezTo>
                      <a:cubicBezTo>
                        <a:pt x="644212" y="512701"/>
                        <a:pt x="647387" y="492125"/>
                        <a:pt x="648975" y="471487"/>
                      </a:cubicBezTo>
                      <a:cubicBezTo>
                        <a:pt x="647387" y="409575"/>
                        <a:pt x="648523" y="347532"/>
                        <a:pt x="644212" y="285750"/>
                      </a:cubicBezTo>
                      <a:cubicBezTo>
                        <a:pt x="643718" y="278668"/>
                        <a:pt x="640707" y="270463"/>
                        <a:pt x="634687" y="266700"/>
                      </a:cubicBezTo>
                      <a:cubicBezTo>
                        <a:pt x="626498" y="261582"/>
                        <a:pt x="615637" y="263525"/>
                        <a:pt x="606112" y="261937"/>
                      </a:cubicBezTo>
                      <a:lnTo>
                        <a:pt x="506100" y="266700"/>
                      </a:lnTo>
                      <a:cubicBezTo>
                        <a:pt x="445682" y="270598"/>
                        <a:pt x="475585" y="278306"/>
                        <a:pt x="434662" y="261937"/>
                      </a:cubicBezTo>
                      <a:cubicBezTo>
                        <a:pt x="432672" y="255965"/>
                        <a:pt x="424805" y="233581"/>
                        <a:pt x="425137" y="228600"/>
                      </a:cubicBezTo>
                      <a:cubicBezTo>
                        <a:pt x="426318" y="210890"/>
                        <a:pt x="430357" y="193431"/>
                        <a:pt x="434662" y="176212"/>
                      </a:cubicBezTo>
                      <a:cubicBezTo>
                        <a:pt x="436735" y="167918"/>
                        <a:pt x="441185" y="160404"/>
                        <a:pt x="444187" y="152400"/>
                      </a:cubicBezTo>
                      <a:cubicBezTo>
                        <a:pt x="445950" y="147699"/>
                        <a:pt x="447362" y="142875"/>
                        <a:pt x="448950" y="138112"/>
                      </a:cubicBezTo>
                      <a:cubicBezTo>
                        <a:pt x="447734" y="124738"/>
                        <a:pt x="448585" y="89759"/>
                        <a:pt x="439425" y="71437"/>
                      </a:cubicBezTo>
                      <a:cubicBezTo>
                        <a:pt x="436865" y="66318"/>
                        <a:pt x="433075" y="61912"/>
                        <a:pt x="429900" y="57150"/>
                      </a:cubicBezTo>
                      <a:cubicBezTo>
                        <a:pt x="421247" y="22541"/>
                        <a:pt x="433396" y="48368"/>
                        <a:pt x="410850" y="33337"/>
                      </a:cubicBezTo>
                      <a:cubicBezTo>
                        <a:pt x="405246" y="29601"/>
                        <a:pt x="402337" y="22515"/>
                        <a:pt x="396562" y="19050"/>
                      </a:cubicBezTo>
                      <a:cubicBezTo>
                        <a:pt x="366332" y="912"/>
                        <a:pt x="355835" y="3941"/>
                        <a:pt x="320362" y="0"/>
                      </a:cubicBezTo>
                      <a:cubicBezTo>
                        <a:pt x="301312" y="3175"/>
                        <a:pt x="281334" y="2849"/>
                        <a:pt x="263212" y="9525"/>
                      </a:cubicBezTo>
                      <a:cubicBezTo>
                        <a:pt x="235392" y="19775"/>
                        <a:pt x="221221" y="43936"/>
                        <a:pt x="206062" y="66675"/>
                      </a:cubicBezTo>
                      <a:cubicBezTo>
                        <a:pt x="204475" y="71437"/>
                        <a:pt x="203277" y="76348"/>
                        <a:pt x="201300" y="80962"/>
                      </a:cubicBezTo>
                      <a:cubicBezTo>
                        <a:pt x="198503" y="87488"/>
                        <a:pt x="192169" y="92923"/>
                        <a:pt x="191775" y="100012"/>
                      </a:cubicBezTo>
                      <a:cubicBezTo>
                        <a:pt x="190539" y="122259"/>
                        <a:pt x="192874" y="144709"/>
                        <a:pt x="196537" y="166687"/>
                      </a:cubicBezTo>
                      <a:cubicBezTo>
                        <a:pt x="197704" y="173690"/>
                        <a:pt x="202124" y="179830"/>
                        <a:pt x="206062" y="185737"/>
                      </a:cubicBezTo>
                      <a:cubicBezTo>
                        <a:pt x="214868" y="198946"/>
                        <a:pt x="234637" y="223837"/>
                        <a:pt x="234637" y="223837"/>
                      </a:cubicBezTo>
                      <a:cubicBezTo>
                        <a:pt x="236225" y="230187"/>
                        <a:pt x="237602" y="236593"/>
                        <a:pt x="239400" y="242887"/>
                      </a:cubicBezTo>
                      <a:cubicBezTo>
                        <a:pt x="240779" y="247714"/>
                        <a:pt x="244162" y="252155"/>
                        <a:pt x="244162" y="257175"/>
                      </a:cubicBezTo>
                      <a:cubicBezTo>
                        <a:pt x="244162" y="265269"/>
                        <a:pt x="240987" y="273050"/>
                        <a:pt x="239400" y="280987"/>
                      </a:cubicBezTo>
                      <a:lnTo>
                        <a:pt x="206062" y="276225"/>
                      </a:lnTo>
                      <a:cubicBezTo>
                        <a:pt x="171137" y="276225"/>
                        <a:pt x="63981" y="277812"/>
                        <a:pt x="29850" y="280987"/>
                      </a:cubicBezTo>
                      <a:cubicBezTo>
                        <a:pt x="-4281" y="284162"/>
                        <a:pt x="5244" y="265906"/>
                        <a:pt x="1275" y="295275"/>
                      </a:cubicBezTo>
                      <a:close/>
                    </a:path>
                  </a:pathLst>
                </a:custGeom>
                <a:noFill/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7" name="Freeform: Shape 156">
                  <a:extLst>
                    <a:ext uri="{FF2B5EF4-FFF2-40B4-BE49-F238E27FC236}">
                      <a16:creationId xmlns:a16="http://schemas.microsoft.com/office/drawing/2014/main" id="{EFAF9E17-CCB8-B355-AD9C-F4D9B4DC8115}"/>
                    </a:ext>
                  </a:extLst>
                </p:cNvPr>
                <p:cNvSpPr/>
                <p:nvPr/>
              </p:nvSpPr>
              <p:spPr>
                <a:xfrm>
                  <a:off x="9757088" y="2828925"/>
                  <a:ext cx="892507" cy="942975"/>
                </a:xfrm>
                <a:custGeom>
                  <a:avLst/>
                  <a:gdLst>
                    <a:gd name="connsiteX0" fmla="*/ 1332 w 892414"/>
                    <a:gd name="connsiteY0" fmla="*/ 295275 h 942975"/>
                    <a:gd name="connsiteX1" fmla="*/ 6094 w 892414"/>
                    <a:gd name="connsiteY1" fmla="*/ 457200 h 942975"/>
                    <a:gd name="connsiteX2" fmla="*/ 10857 w 892414"/>
                    <a:gd name="connsiteY2" fmla="*/ 476250 h 942975"/>
                    <a:gd name="connsiteX3" fmla="*/ 15619 w 892414"/>
                    <a:gd name="connsiteY3" fmla="*/ 519112 h 942975"/>
                    <a:gd name="connsiteX4" fmla="*/ 29907 w 892414"/>
                    <a:gd name="connsiteY4" fmla="*/ 542925 h 942975"/>
                    <a:gd name="connsiteX5" fmla="*/ 44194 w 892414"/>
                    <a:gd name="connsiteY5" fmla="*/ 547687 h 942975"/>
                    <a:gd name="connsiteX6" fmla="*/ 68007 w 892414"/>
                    <a:gd name="connsiteY6" fmla="*/ 552450 h 942975"/>
                    <a:gd name="connsiteX7" fmla="*/ 101344 w 892414"/>
                    <a:gd name="connsiteY7" fmla="*/ 542925 h 942975"/>
                    <a:gd name="connsiteX8" fmla="*/ 129919 w 892414"/>
                    <a:gd name="connsiteY8" fmla="*/ 519112 h 942975"/>
                    <a:gd name="connsiteX9" fmla="*/ 144207 w 892414"/>
                    <a:gd name="connsiteY9" fmla="*/ 509587 h 942975"/>
                    <a:gd name="connsiteX10" fmla="*/ 220407 w 892414"/>
                    <a:gd name="connsiteY10" fmla="*/ 514350 h 942975"/>
                    <a:gd name="connsiteX11" fmla="*/ 234694 w 892414"/>
                    <a:gd name="connsiteY11" fmla="*/ 519112 h 942975"/>
                    <a:gd name="connsiteX12" fmla="*/ 248982 w 892414"/>
                    <a:gd name="connsiteY12" fmla="*/ 542925 h 942975"/>
                    <a:gd name="connsiteX13" fmla="*/ 234694 w 892414"/>
                    <a:gd name="connsiteY13" fmla="*/ 628650 h 942975"/>
                    <a:gd name="connsiteX14" fmla="*/ 225169 w 892414"/>
                    <a:gd name="connsiteY14" fmla="*/ 652462 h 942975"/>
                    <a:gd name="connsiteX15" fmla="*/ 187069 w 892414"/>
                    <a:gd name="connsiteY15" fmla="*/ 671512 h 942975"/>
                    <a:gd name="connsiteX16" fmla="*/ 153732 w 892414"/>
                    <a:gd name="connsiteY16" fmla="*/ 661987 h 942975"/>
                    <a:gd name="connsiteX17" fmla="*/ 134682 w 892414"/>
                    <a:gd name="connsiteY17" fmla="*/ 647700 h 942975"/>
                    <a:gd name="connsiteX18" fmla="*/ 110869 w 892414"/>
                    <a:gd name="connsiteY18" fmla="*/ 619125 h 942975"/>
                    <a:gd name="connsiteX19" fmla="*/ 25144 w 892414"/>
                    <a:gd name="connsiteY19" fmla="*/ 623887 h 942975"/>
                    <a:gd name="connsiteX20" fmla="*/ 20382 w 892414"/>
                    <a:gd name="connsiteY20" fmla="*/ 638175 h 942975"/>
                    <a:gd name="connsiteX21" fmla="*/ 25144 w 892414"/>
                    <a:gd name="connsiteY21" fmla="*/ 690562 h 942975"/>
                    <a:gd name="connsiteX22" fmla="*/ 29907 w 892414"/>
                    <a:gd name="connsiteY22" fmla="*/ 704850 h 942975"/>
                    <a:gd name="connsiteX23" fmla="*/ 34669 w 892414"/>
                    <a:gd name="connsiteY23" fmla="*/ 914400 h 942975"/>
                    <a:gd name="connsiteX24" fmla="*/ 120394 w 892414"/>
                    <a:gd name="connsiteY24" fmla="*/ 919162 h 942975"/>
                    <a:gd name="connsiteX25" fmla="*/ 134682 w 892414"/>
                    <a:gd name="connsiteY25" fmla="*/ 923925 h 942975"/>
                    <a:gd name="connsiteX26" fmla="*/ 253744 w 892414"/>
                    <a:gd name="connsiteY26" fmla="*/ 928687 h 942975"/>
                    <a:gd name="connsiteX27" fmla="*/ 277557 w 892414"/>
                    <a:gd name="connsiteY27" fmla="*/ 923925 h 942975"/>
                    <a:gd name="connsiteX28" fmla="*/ 263269 w 892414"/>
                    <a:gd name="connsiteY28" fmla="*/ 881062 h 942975"/>
                    <a:gd name="connsiteX29" fmla="*/ 253744 w 892414"/>
                    <a:gd name="connsiteY29" fmla="*/ 842962 h 942975"/>
                    <a:gd name="connsiteX30" fmla="*/ 248982 w 892414"/>
                    <a:gd name="connsiteY30" fmla="*/ 828675 h 942975"/>
                    <a:gd name="connsiteX31" fmla="*/ 239457 w 892414"/>
                    <a:gd name="connsiteY31" fmla="*/ 785812 h 942975"/>
                    <a:gd name="connsiteX32" fmla="*/ 248982 w 892414"/>
                    <a:gd name="connsiteY32" fmla="*/ 742950 h 942975"/>
                    <a:gd name="connsiteX33" fmla="*/ 277557 w 892414"/>
                    <a:gd name="connsiteY33" fmla="*/ 728662 h 942975"/>
                    <a:gd name="connsiteX34" fmla="*/ 306132 w 892414"/>
                    <a:gd name="connsiteY34" fmla="*/ 719137 h 942975"/>
                    <a:gd name="connsiteX35" fmla="*/ 358519 w 892414"/>
                    <a:gd name="connsiteY35" fmla="*/ 728662 h 942975"/>
                    <a:gd name="connsiteX36" fmla="*/ 396619 w 892414"/>
                    <a:gd name="connsiteY36" fmla="*/ 776287 h 942975"/>
                    <a:gd name="connsiteX37" fmla="*/ 391857 w 892414"/>
                    <a:gd name="connsiteY37" fmla="*/ 876300 h 942975"/>
                    <a:gd name="connsiteX38" fmla="*/ 391857 w 892414"/>
                    <a:gd name="connsiteY38" fmla="*/ 919162 h 942975"/>
                    <a:gd name="connsiteX39" fmla="*/ 420432 w 892414"/>
                    <a:gd name="connsiteY39" fmla="*/ 928687 h 942975"/>
                    <a:gd name="connsiteX40" fmla="*/ 515682 w 892414"/>
                    <a:gd name="connsiteY40" fmla="*/ 933450 h 942975"/>
                    <a:gd name="connsiteX41" fmla="*/ 558544 w 892414"/>
                    <a:gd name="connsiteY41" fmla="*/ 938212 h 942975"/>
                    <a:gd name="connsiteX42" fmla="*/ 596644 w 892414"/>
                    <a:gd name="connsiteY42" fmla="*/ 942975 h 942975"/>
                    <a:gd name="connsiteX43" fmla="*/ 634744 w 892414"/>
                    <a:gd name="connsiteY43" fmla="*/ 938212 h 942975"/>
                    <a:gd name="connsiteX44" fmla="*/ 653794 w 892414"/>
                    <a:gd name="connsiteY44" fmla="*/ 695325 h 942975"/>
                    <a:gd name="connsiteX45" fmla="*/ 668082 w 892414"/>
                    <a:gd name="connsiteY45" fmla="*/ 700087 h 942975"/>
                    <a:gd name="connsiteX46" fmla="*/ 734757 w 892414"/>
                    <a:gd name="connsiteY46" fmla="*/ 728662 h 942975"/>
                    <a:gd name="connsiteX47" fmla="*/ 844294 w 892414"/>
                    <a:gd name="connsiteY47" fmla="*/ 733425 h 942975"/>
                    <a:gd name="connsiteX48" fmla="*/ 877632 w 892414"/>
                    <a:gd name="connsiteY48" fmla="*/ 681037 h 942975"/>
                    <a:gd name="connsiteX49" fmla="*/ 882394 w 892414"/>
                    <a:gd name="connsiteY49" fmla="*/ 661987 h 942975"/>
                    <a:gd name="connsiteX50" fmla="*/ 891919 w 892414"/>
                    <a:gd name="connsiteY50" fmla="*/ 642937 h 942975"/>
                    <a:gd name="connsiteX51" fmla="*/ 887157 w 892414"/>
                    <a:gd name="connsiteY51" fmla="*/ 576262 h 942975"/>
                    <a:gd name="connsiteX52" fmla="*/ 872869 w 892414"/>
                    <a:gd name="connsiteY52" fmla="*/ 561975 h 942975"/>
                    <a:gd name="connsiteX53" fmla="*/ 853819 w 892414"/>
                    <a:gd name="connsiteY53" fmla="*/ 528637 h 942975"/>
                    <a:gd name="connsiteX54" fmla="*/ 839532 w 892414"/>
                    <a:gd name="connsiteY54" fmla="*/ 514350 h 942975"/>
                    <a:gd name="connsiteX55" fmla="*/ 810957 w 892414"/>
                    <a:gd name="connsiteY55" fmla="*/ 509587 h 942975"/>
                    <a:gd name="connsiteX56" fmla="*/ 696657 w 892414"/>
                    <a:gd name="connsiteY56" fmla="*/ 528637 h 942975"/>
                    <a:gd name="connsiteX57" fmla="*/ 668082 w 892414"/>
                    <a:gd name="connsiteY57" fmla="*/ 557212 h 942975"/>
                    <a:gd name="connsiteX58" fmla="*/ 653794 w 892414"/>
                    <a:gd name="connsiteY58" fmla="*/ 566737 h 942975"/>
                    <a:gd name="connsiteX59" fmla="*/ 649032 w 892414"/>
                    <a:gd name="connsiteY59" fmla="*/ 547687 h 942975"/>
                    <a:gd name="connsiteX60" fmla="*/ 644269 w 892414"/>
                    <a:gd name="connsiteY60" fmla="*/ 533400 h 942975"/>
                    <a:gd name="connsiteX61" fmla="*/ 649032 w 892414"/>
                    <a:gd name="connsiteY61" fmla="*/ 471487 h 942975"/>
                    <a:gd name="connsiteX62" fmla="*/ 644269 w 892414"/>
                    <a:gd name="connsiteY62" fmla="*/ 285750 h 942975"/>
                    <a:gd name="connsiteX63" fmla="*/ 634744 w 892414"/>
                    <a:gd name="connsiteY63" fmla="*/ 266700 h 942975"/>
                    <a:gd name="connsiteX64" fmla="*/ 606169 w 892414"/>
                    <a:gd name="connsiteY64" fmla="*/ 261937 h 942975"/>
                    <a:gd name="connsiteX65" fmla="*/ 506157 w 892414"/>
                    <a:gd name="connsiteY65" fmla="*/ 266700 h 942975"/>
                    <a:gd name="connsiteX66" fmla="*/ 434719 w 892414"/>
                    <a:gd name="connsiteY66" fmla="*/ 261937 h 942975"/>
                    <a:gd name="connsiteX67" fmla="*/ 425194 w 892414"/>
                    <a:gd name="connsiteY67" fmla="*/ 228600 h 942975"/>
                    <a:gd name="connsiteX68" fmla="*/ 434719 w 892414"/>
                    <a:gd name="connsiteY68" fmla="*/ 176212 h 942975"/>
                    <a:gd name="connsiteX69" fmla="*/ 444244 w 892414"/>
                    <a:gd name="connsiteY69" fmla="*/ 152400 h 942975"/>
                    <a:gd name="connsiteX70" fmla="*/ 449007 w 892414"/>
                    <a:gd name="connsiteY70" fmla="*/ 138112 h 942975"/>
                    <a:gd name="connsiteX71" fmla="*/ 439482 w 892414"/>
                    <a:gd name="connsiteY71" fmla="*/ 71437 h 942975"/>
                    <a:gd name="connsiteX72" fmla="*/ 429957 w 892414"/>
                    <a:gd name="connsiteY72" fmla="*/ 57150 h 942975"/>
                    <a:gd name="connsiteX73" fmla="*/ 410907 w 892414"/>
                    <a:gd name="connsiteY73" fmla="*/ 33337 h 942975"/>
                    <a:gd name="connsiteX74" fmla="*/ 396619 w 892414"/>
                    <a:gd name="connsiteY74" fmla="*/ 19050 h 942975"/>
                    <a:gd name="connsiteX75" fmla="*/ 320419 w 892414"/>
                    <a:gd name="connsiteY75" fmla="*/ 0 h 942975"/>
                    <a:gd name="connsiteX76" fmla="*/ 263269 w 892414"/>
                    <a:gd name="connsiteY76" fmla="*/ 9525 h 942975"/>
                    <a:gd name="connsiteX77" fmla="*/ 206119 w 892414"/>
                    <a:gd name="connsiteY77" fmla="*/ 66675 h 942975"/>
                    <a:gd name="connsiteX78" fmla="*/ 201357 w 892414"/>
                    <a:gd name="connsiteY78" fmla="*/ 80962 h 942975"/>
                    <a:gd name="connsiteX79" fmla="*/ 191832 w 892414"/>
                    <a:gd name="connsiteY79" fmla="*/ 100012 h 942975"/>
                    <a:gd name="connsiteX80" fmla="*/ 196594 w 892414"/>
                    <a:gd name="connsiteY80" fmla="*/ 166687 h 942975"/>
                    <a:gd name="connsiteX81" fmla="*/ 206119 w 892414"/>
                    <a:gd name="connsiteY81" fmla="*/ 185737 h 942975"/>
                    <a:gd name="connsiteX82" fmla="*/ 234694 w 892414"/>
                    <a:gd name="connsiteY82" fmla="*/ 223837 h 942975"/>
                    <a:gd name="connsiteX83" fmla="*/ 239457 w 892414"/>
                    <a:gd name="connsiteY83" fmla="*/ 242887 h 942975"/>
                    <a:gd name="connsiteX84" fmla="*/ 244219 w 892414"/>
                    <a:gd name="connsiteY84" fmla="*/ 257175 h 942975"/>
                    <a:gd name="connsiteX85" fmla="*/ 239457 w 892414"/>
                    <a:gd name="connsiteY85" fmla="*/ 280987 h 942975"/>
                    <a:gd name="connsiteX86" fmla="*/ 206119 w 892414"/>
                    <a:gd name="connsiteY86" fmla="*/ 276225 h 942975"/>
                    <a:gd name="connsiteX87" fmla="*/ 177544 w 892414"/>
                    <a:gd name="connsiteY87" fmla="*/ 271462 h 942975"/>
                    <a:gd name="connsiteX88" fmla="*/ 29907 w 892414"/>
                    <a:gd name="connsiteY88" fmla="*/ 280987 h 942975"/>
                    <a:gd name="connsiteX89" fmla="*/ 1332 w 892414"/>
                    <a:gd name="connsiteY89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53819 w 892564"/>
                    <a:gd name="connsiteY52" fmla="*/ 528637 h 942975"/>
                    <a:gd name="connsiteX53" fmla="*/ 839532 w 892564"/>
                    <a:gd name="connsiteY53" fmla="*/ 514350 h 942975"/>
                    <a:gd name="connsiteX54" fmla="*/ 810957 w 892564"/>
                    <a:gd name="connsiteY54" fmla="*/ 509587 h 942975"/>
                    <a:gd name="connsiteX55" fmla="*/ 696657 w 892564"/>
                    <a:gd name="connsiteY55" fmla="*/ 528637 h 942975"/>
                    <a:gd name="connsiteX56" fmla="*/ 668082 w 892564"/>
                    <a:gd name="connsiteY56" fmla="*/ 557212 h 942975"/>
                    <a:gd name="connsiteX57" fmla="*/ 653794 w 892564"/>
                    <a:gd name="connsiteY57" fmla="*/ 566737 h 942975"/>
                    <a:gd name="connsiteX58" fmla="*/ 649032 w 892564"/>
                    <a:gd name="connsiteY58" fmla="*/ 547687 h 942975"/>
                    <a:gd name="connsiteX59" fmla="*/ 644269 w 892564"/>
                    <a:gd name="connsiteY59" fmla="*/ 533400 h 942975"/>
                    <a:gd name="connsiteX60" fmla="*/ 649032 w 892564"/>
                    <a:gd name="connsiteY60" fmla="*/ 471487 h 942975"/>
                    <a:gd name="connsiteX61" fmla="*/ 644269 w 892564"/>
                    <a:gd name="connsiteY61" fmla="*/ 285750 h 942975"/>
                    <a:gd name="connsiteX62" fmla="*/ 634744 w 892564"/>
                    <a:gd name="connsiteY62" fmla="*/ 266700 h 942975"/>
                    <a:gd name="connsiteX63" fmla="*/ 606169 w 892564"/>
                    <a:gd name="connsiteY63" fmla="*/ 261937 h 942975"/>
                    <a:gd name="connsiteX64" fmla="*/ 506157 w 892564"/>
                    <a:gd name="connsiteY64" fmla="*/ 266700 h 942975"/>
                    <a:gd name="connsiteX65" fmla="*/ 434719 w 892564"/>
                    <a:gd name="connsiteY65" fmla="*/ 261937 h 942975"/>
                    <a:gd name="connsiteX66" fmla="*/ 425194 w 892564"/>
                    <a:gd name="connsiteY66" fmla="*/ 228600 h 942975"/>
                    <a:gd name="connsiteX67" fmla="*/ 434719 w 892564"/>
                    <a:gd name="connsiteY67" fmla="*/ 176212 h 942975"/>
                    <a:gd name="connsiteX68" fmla="*/ 444244 w 892564"/>
                    <a:gd name="connsiteY68" fmla="*/ 152400 h 942975"/>
                    <a:gd name="connsiteX69" fmla="*/ 449007 w 892564"/>
                    <a:gd name="connsiteY69" fmla="*/ 138112 h 942975"/>
                    <a:gd name="connsiteX70" fmla="*/ 439482 w 892564"/>
                    <a:gd name="connsiteY70" fmla="*/ 71437 h 942975"/>
                    <a:gd name="connsiteX71" fmla="*/ 429957 w 892564"/>
                    <a:gd name="connsiteY71" fmla="*/ 57150 h 942975"/>
                    <a:gd name="connsiteX72" fmla="*/ 410907 w 892564"/>
                    <a:gd name="connsiteY72" fmla="*/ 33337 h 942975"/>
                    <a:gd name="connsiteX73" fmla="*/ 396619 w 892564"/>
                    <a:gd name="connsiteY73" fmla="*/ 19050 h 942975"/>
                    <a:gd name="connsiteX74" fmla="*/ 320419 w 892564"/>
                    <a:gd name="connsiteY74" fmla="*/ 0 h 942975"/>
                    <a:gd name="connsiteX75" fmla="*/ 263269 w 892564"/>
                    <a:gd name="connsiteY75" fmla="*/ 9525 h 942975"/>
                    <a:gd name="connsiteX76" fmla="*/ 206119 w 892564"/>
                    <a:gd name="connsiteY76" fmla="*/ 66675 h 942975"/>
                    <a:gd name="connsiteX77" fmla="*/ 201357 w 892564"/>
                    <a:gd name="connsiteY77" fmla="*/ 80962 h 942975"/>
                    <a:gd name="connsiteX78" fmla="*/ 191832 w 892564"/>
                    <a:gd name="connsiteY78" fmla="*/ 100012 h 942975"/>
                    <a:gd name="connsiteX79" fmla="*/ 196594 w 892564"/>
                    <a:gd name="connsiteY79" fmla="*/ 166687 h 942975"/>
                    <a:gd name="connsiteX80" fmla="*/ 206119 w 892564"/>
                    <a:gd name="connsiteY80" fmla="*/ 185737 h 942975"/>
                    <a:gd name="connsiteX81" fmla="*/ 234694 w 892564"/>
                    <a:gd name="connsiteY81" fmla="*/ 223837 h 942975"/>
                    <a:gd name="connsiteX82" fmla="*/ 239457 w 892564"/>
                    <a:gd name="connsiteY82" fmla="*/ 242887 h 942975"/>
                    <a:gd name="connsiteX83" fmla="*/ 244219 w 892564"/>
                    <a:gd name="connsiteY83" fmla="*/ 257175 h 942975"/>
                    <a:gd name="connsiteX84" fmla="*/ 239457 w 892564"/>
                    <a:gd name="connsiteY84" fmla="*/ 280987 h 942975"/>
                    <a:gd name="connsiteX85" fmla="*/ 206119 w 892564"/>
                    <a:gd name="connsiteY85" fmla="*/ 276225 h 942975"/>
                    <a:gd name="connsiteX86" fmla="*/ 177544 w 892564"/>
                    <a:gd name="connsiteY86" fmla="*/ 271462 h 942975"/>
                    <a:gd name="connsiteX87" fmla="*/ 29907 w 892564"/>
                    <a:gd name="connsiteY87" fmla="*/ 280987 h 942975"/>
                    <a:gd name="connsiteX88" fmla="*/ 1332 w 892564"/>
                    <a:gd name="connsiteY88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39532 w 892564"/>
                    <a:gd name="connsiteY52" fmla="*/ 514350 h 942975"/>
                    <a:gd name="connsiteX53" fmla="*/ 810957 w 892564"/>
                    <a:gd name="connsiteY53" fmla="*/ 509587 h 942975"/>
                    <a:gd name="connsiteX54" fmla="*/ 696657 w 892564"/>
                    <a:gd name="connsiteY54" fmla="*/ 528637 h 942975"/>
                    <a:gd name="connsiteX55" fmla="*/ 668082 w 892564"/>
                    <a:gd name="connsiteY55" fmla="*/ 557212 h 942975"/>
                    <a:gd name="connsiteX56" fmla="*/ 653794 w 892564"/>
                    <a:gd name="connsiteY56" fmla="*/ 566737 h 942975"/>
                    <a:gd name="connsiteX57" fmla="*/ 649032 w 892564"/>
                    <a:gd name="connsiteY57" fmla="*/ 547687 h 942975"/>
                    <a:gd name="connsiteX58" fmla="*/ 644269 w 892564"/>
                    <a:gd name="connsiteY58" fmla="*/ 533400 h 942975"/>
                    <a:gd name="connsiteX59" fmla="*/ 649032 w 892564"/>
                    <a:gd name="connsiteY59" fmla="*/ 471487 h 942975"/>
                    <a:gd name="connsiteX60" fmla="*/ 644269 w 892564"/>
                    <a:gd name="connsiteY60" fmla="*/ 285750 h 942975"/>
                    <a:gd name="connsiteX61" fmla="*/ 634744 w 892564"/>
                    <a:gd name="connsiteY61" fmla="*/ 266700 h 942975"/>
                    <a:gd name="connsiteX62" fmla="*/ 606169 w 892564"/>
                    <a:gd name="connsiteY62" fmla="*/ 261937 h 942975"/>
                    <a:gd name="connsiteX63" fmla="*/ 506157 w 892564"/>
                    <a:gd name="connsiteY63" fmla="*/ 266700 h 942975"/>
                    <a:gd name="connsiteX64" fmla="*/ 434719 w 892564"/>
                    <a:gd name="connsiteY64" fmla="*/ 261937 h 942975"/>
                    <a:gd name="connsiteX65" fmla="*/ 425194 w 892564"/>
                    <a:gd name="connsiteY65" fmla="*/ 228600 h 942975"/>
                    <a:gd name="connsiteX66" fmla="*/ 434719 w 892564"/>
                    <a:gd name="connsiteY66" fmla="*/ 176212 h 942975"/>
                    <a:gd name="connsiteX67" fmla="*/ 444244 w 892564"/>
                    <a:gd name="connsiteY67" fmla="*/ 152400 h 942975"/>
                    <a:gd name="connsiteX68" fmla="*/ 449007 w 892564"/>
                    <a:gd name="connsiteY68" fmla="*/ 138112 h 942975"/>
                    <a:gd name="connsiteX69" fmla="*/ 439482 w 892564"/>
                    <a:gd name="connsiteY69" fmla="*/ 71437 h 942975"/>
                    <a:gd name="connsiteX70" fmla="*/ 429957 w 892564"/>
                    <a:gd name="connsiteY70" fmla="*/ 57150 h 942975"/>
                    <a:gd name="connsiteX71" fmla="*/ 410907 w 892564"/>
                    <a:gd name="connsiteY71" fmla="*/ 33337 h 942975"/>
                    <a:gd name="connsiteX72" fmla="*/ 396619 w 892564"/>
                    <a:gd name="connsiteY72" fmla="*/ 19050 h 942975"/>
                    <a:gd name="connsiteX73" fmla="*/ 320419 w 892564"/>
                    <a:gd name="connsiteY73" fmla="*/ 0 h 942975"/>
                    <a:gd name="connsiteX74" fmla="*/ 263269 w 892564"/>
                    <a:gd name="connsiteY74" fmla="*/ 9525 h 942975"/>
                    <a:gd name="connsiteX75" fmla="*/ 206119 w 892564"/>
                    <a:gd name="connsiteY75" fmla="*/ 66675 h 942975"/>
                    <a:gd name="connsiteX76" fmla="*/ 201357 w 892564"/>
                    <a:gd name="connsiteY76" fmla="*/ 80962 h 942975"/>
                    <a:gd name="connsiteX77" fmla="*/ 191832 w 892564"/>
                    <a:gd name="connsiteY77" fmla="*/ 100012 h 942975"/>
                    <a:gd name="connsiteX78" fmla="*/ 196594 w 892564"/>
                    <a:gd name="connsiteY78" fmla="*/ 166687 h 942975"/>
                    <a:gd name="connsiteX79" fmla="*/ 206119 w 892564"/>
                    <a:gd name="connsiteY79" fmla="*/ 185737 h 942975"/>
                    <a:gd name="connsiteX80" fmla="*/ 234694 w 892564"/>
                    <a:gd name="connsiteY80" fmla="*/ 223837 h 942975"/>
                    <a:gd name="connsiteX81" fmla="*/ 239457 w 892564"/>
                    <a:gd name="connsiteY81" fmla="*/ 242887 h 942975"/>
                    <a:gd name="connsiteX82" fmla="*/ 244219 w 892564"/>
                    <a:gd name="connsiteY82" fmla="*/ 257175 h 942975"/>
                    <a:gd name="connsiteX83" fmla="*/ 239457 w 892564"/>
                    <a:gd name="connsiteY83" fmla="*/ 280987 h 942975"/>
                    <a:gd name="connsiteX84" fmla="*/ 206119 w 892564"/>
                    <a:gd name="connsiteY84" fmla="*/ 276225 h 942975"/>
                    <a:gd name="connsiteX85" fmla="*/ 177544 w 892564"/>
                    <a:gd name="connsiteY85" fmla="*/ 271462 h 942975"/>
                    <a:gd name="connsiteX86" fmla="*/ 29907 w 892564"/>
                    <a:gd name="connsiteY86" fmla="*/ 280987 h 942975"/>
                    <a:gd name="connsiteX87" fmla="*/ 1332 w 892564"/>
                    <a:gd name="connsiteY87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10957 w 892564"/>
                    <a:gd name="connsiteY52" fmla="*/ 509587 h 942975"/>
                    <a:gd name="connsiteX53" fmla="*/ 696657 w 892564"/>
                    <a:gd name="connsiteY53" fmla="*/ 528637 h 942975"/>
                    <a:gd name="connsiteX54" fmla="*/ 668082 w 892564"/>
                    <a:gd name="connsiteY54" fmla="*/ 557212 h 942975"/>
                    <a:gd name="connsiteX55" fmla="*/ 653794 w 892564"/>
                    <a:gd name="connsiteY55" fmla="*/ 566737 h 942975"/>
                    <a:gd name="connsiteX56" fmla="*/ 649032 w 892564"/>
                    <a:gd name="connsiteY56" fmla="*/ 547687 h 942975"/>
                    <a:gd name="connsiteX57" fmla="*/ 644269 w 892564"/>
                    <a:gd name="connsiteY57" fmla="*/ 533400 h 942975"/>
                    <a:gd name="connsiteX58" fmla="*/ 649032 w 892564"/>
                    <a:gd name="connsiteY58" fmla="*/ 471487 h 942975"/>
                    <a:gd name="connsiteX59" fmla="*/ 644269 w 892564"/>
                    <a:gd name="connsiteY59" fmla="*/ 285750 h 942975"/>
                    <a:gd name="connsiteX60" fmla="*/ 634744 w 892564"/>
                    <a:gd name="connsiteY60" fmla="*/ 266700 h 942975"/>
                    <a:gd name="connsiteX61" fmla="*/ 606169 w 892564"/>
                    <a:gd name="connsiteY61" fmla="*/ 261937 h 942975"/>
                    <a:gd name="connsiteX62" fmla="*/ 506157 w 892564"/>
                    <a:gd name="connsiteY62" fmla="*/ 266700 h 942975"/>
                    <a:gd name="connsiteX63" fmla="*/ 434719 w 892564"/>
                    <a:gd name="connsiteY63" fmla="*/ 261937 h 942975"/>
                    <a:gd name="connsiteX64" fmla="*/ 425194 w 892564"/>
                    <a:gd name="connsiteY64" fmla="*/ 228600 h 942975"/>
                    <a:gd name="connsiteX65" fmla="*/ 434719 w 892564"/>
                    <a:gd name="connsiteY65" fmla="*/ 176212 h 942975"/>
                    <a:gd name="connsiteX66" fmla="*/ 444244 w 892564"/>
                    <a:gd name="connsiteY66" fmla="*/ 152400 h 942975"/>
                    <a:gd name="connsiteX67" fmla="*/ 449007 w 892564"/>
                    <a:gd name="connsiteY67" fmla="*/ 138112 h 942975"/>
                    <a:gd name="connsiteX68" fmla="*/ 439482 w 892564"/>
                    <a:gd name="connsiteY68" fmla="*/ 71437 h 942975"/>
                    <a:gd name="connsiteX69" fmla="*/ 429957 w 892564"/>
                    <a:gd name="connsiteY69" fmla="*/ 57150 h 942975"/>
                    <a:gd name="connsiteX70" fmla="*/ 410907 w 892564"/>
                    <a:gd name="connsiteY70" fmla="*/ 33337 h 942975"/>
                    <a:gd name="connsiteX71" fmla="*/ 396619 w 892564"/>
                    <a:gd name="connsiteY71" fmla="*/ 19050 h 942975"/>
                    <a:gd name="connsiteX72" fmla="*/ 320419 w 892564"/>
                    <a:gd name="connsiteY72" fmla="*/ 0 h 942975"/>
                    <a:gd name="connsiteX73" fmla="*/ 263269 w 892564"/>
                    <a:gd name="connsiteY73" fmla="*/ 9525 h 942975"/>
                    <a:gd name="connsiteX74" fmla="*/ 206119 w 892564"/>
                    <a:gd name="connsiteY74" fmla="*/ 66675 h 942975"/>
                    <a:gd name="connsiteX75" fmla="*/ 201357 w 892564"/>
                    <a:gd name="connsiteY75" fmla="*/ 80962 h 942975"/>
                    <a:gd name="connsiteX76" fmla="*/ 191832 w 892564"/>
                    <a:gd name="connsiteY76" fmla="*/ 100012 h 942975"/>
                    <a:gd name="connsiteX77" fmla="*/ 196594 w 892564"/>
                    <a:gd name="connsiteY77" fmla="*/ 166687 h 942975"/>
                    <a:gd name="connsiteX78" fmla="*/ 206119 w 892564"/>
                    <a:gd name="connsiteY78" fmla="*/ 185737 h 942975"/>
                    <a:gd name="connsiteX79" fmla="*/ 234694 w 892564"/>
                    <a:gd name="connsiteY79" fmla="*/ 223837 h 942975"/>
                    <a:gd name="connsiteX80" fmla="*/ 239457 w 892564"/>
                    <a:gd name="connsiteY80" fmla="*/ 242887 h 942975"/>
                    <a:gd name="connsiteX81" fmla="*/ 244219 w 892564"/>
                    <a:gd name="connsiteY81" fmla="*/ 257175 h 942975"/>
                    <a:gd name="connsiteX82" fmla="*/ 239457 w 892564"/>
                    <a:gd name="connsiteY82" fmla="*/ 280987 h 942975"/>
                    <a:gd name="connsiteX83" fmla="*/ 206119 w 892564"/>
                    <a:gd name="connsiteY83" fmla="*/ 276225 h 942975"/>
                    <a:gd name="connsiteX84" fmla="*/ 177544 w 892564"/>
                    <a:gd name="connsiteY84" fmla="*/ 271462 h 942975"/>
                    <a:gd name="connsiteX85" fmla="*/ 29907 w 892564"/>
                    <a:gd name="connsiteY85" fmla="*/ 280987 h 942975"/>
                    <a:gd name="connsiteX86" fmla="*/ 1332 w 892564"/>
                    <a:gd name="connsiteY86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134682 w 892564"/>
                    <a:gd name="connsiteY24" fmla="*/ 923925 h 942975"/>
                    <a:gd name="connsiteX25" fmla="*/ 253744 w 892564"/>
                    <a:gd name="connsiteY25" fmla="*/ 928687 h 942975"/>
                    <a:gd name="connsiteX26" fmla="*/ 277557 w 892564"/>
                    <a:gd name="connsiteY26" fmla="*/ 923925 h 942975"/>
                    <a:gd name="connsiteX27" fmla="*/ 263269 w 892564"/>
                    <a:gd name="connsiteY27" fmla="*/ 881062 h 942975"/>
                    <a:gd name="connsiteX28" fmla="*/ 253744 w 892564"/>
                    <a:gd name="connsiteY28" fmla="*/ 842962 h 942975"/>
                    <a:gd name="connsiteX29" fmla="*/ 248982 w 892564"/>
                    <a:gd name="connsiteY29" fmla="*/ 828675 h 942975"/>
                    <a:gd name="connsiteX30" fmla="*/ 239457 w 892564"/>
                    <a:gd name="connsiteY30" fmla="*/ 785812 h 942975"/>
                    <a:gd name="connsiteX31" fmla="*/ 248982 w 892564"/>
                    <a:gd name="connsiteY31" fmla="*/ 742950 h 942975"/>
                    <a:gd name="connsiteX32" fmla="*/ 277557 w 892564"/>
                    <a:gd name="connsiteY32" fmla="*/ 728662 h 942975"/>
                    <a:gd name="connsiteX33" fmla="*/ 306132 w 892564"/>
                    <a:gd name="connsiteY33" fmla="*/ 719137 h 942975"/>
                    <a:gd name="connsiteX34" fmla="*/ 358519 w 892564"/>
                    <a:gd name="connsiteY34" fmla="*/ 728662 h 942975"/>
                    <a:gd name="connsiteX35" fmla="*/ 396619 w 892564"/>
                    <a:gd name="connsiteY35" fmla="*/ 776287 h 942975"/>
                    <a:gd name="connsiteX36" fmla="*/ 391857 w 892564"/>
                    <a:gd name="connsiteY36" fmla="*/ 876300 h 942975"/>
                    <a:gd name="connsiteX37" fmla="*/ 391857 w 892564"/>
                    <a:gd name="connsiteY37" fmla="*/ 919162 h 942975"/>
                    <a:gd name="connsiteX38" fmla="*/ 420432 w 892564"/>
                    <a:gd name="connsiteY38" fmla="*/ 928687 h 942975"/>
                    <a:gd name="connsiteX39" fmla="*/ 515682 w 892564"/>
                    <a:gd name="connsiteY39" fmla="*/ 933450 h 942975"/>
                    <a:gd name="connsiteX40" fmla="*/ 558544 w 892564"/>
                    <a:gd name="connsiteY40" fmla="*/ 938212 h 942975"/>
                    <a:gd name="connsiteX41" fmla="*/ 596644 w 892564"/>
                    <a:gd name="connsiteY41" fmla="*/ 942975 h 942975"/>
                    <a:gd name="connsiteX42" fmla="*/ 634744 w 892564"/>
                    <a:gd name="connsiteY42" fmla="*/ 938212 h 942975"/>
                    <a:gd name="connsiteX43" fmla="*/ 653794 w 892564"/>
                    <a:gd name="connsiteY43" fmla="*/ 695325 h 942975"/>
                    <a:gd name="connsiteX44" fmla="*/ 668082 w 892564"/>
                    <a:gd name="connsiteY44" fmla="*/ 700087 h 942975"/>
                    <a:gd name="connsiteX45" fmla="*/ 734757 w 892564"/>
                    <a:gd name="connsiteY45" fmla="*/ 728662 h 942975"/>
                    <a:gd name="connsiteX46" fmla="*/ 844294 w 892564"/>
                    <a:gd name="connsiteY46" fmla="*/ 733425 h 942975"/>
                    <a:gd name="connsiteX47" fmla="*/ 877632 w 892564"/>
                    <a:gd name="connsiteY47" fmla="*/ 681037 h 942975"/>
                    <a:gd name="connsiteX48" fmla="*/ 891919 w 892564"/>
                    <a:gd name="connsiteY48" fmla="*/ 642937 h 942975"/>
                    <a:gd name="connsiteX49" fmla="*/ 887157 w 892564"/>
                    <a:gd name="connsiteY49" fmla="*/ 576262 h 942975"/>
                    <a:gd name="connsiteX50" fmla="*/ 872869 w 892564"/>
                    <a:gd name="connsiteY50" fmla="*/ 561975 h 942975"/>
                    <a:gd name="connsiteX51" fmla="*/ 810957 w 892564"/>
                    <a:gd name="connsiteY51" fmla="*/ 509587 h 942975"/>
                    <a:gd name="connsiteX52" fmla="*/ 696657 w 892564"/>
                    <a:gd name="connsiteY52" fmla="*/ 528637 h 942975"/>
                    <a:gd name="connsiteX53" fmla="*/ 668082 w 892564"/>
                    <a:gd name="connsiteY53" fmla="*/ 557212 h 942975"/>
                    <a:gd name="connsiteX54" fmla="*/ 653794 w 892564"/>
                    <a:gd name="connsiteY54" fmla="*/ 566737 h 942975"/>
                    <a:gd name="connsiteX55" fmla="*/ 649032 w 892564"/>
                    <a:gd name="connsiteY55" fmla="*/ 547687 h 942975"/>
                    <a:gd name="connsiteX56" fmla="*/ 644269 w 892564"/>
                    <a:gd name="connsiteY56" fmla="*/ 533400 h 942975"/>
                    <a:gd name="connsiteX57" fmla="*/ 649032 w 892564"/>
                    <a:gd name="connsiteY57" fmla="*/ 471487 h 942975"/>
                    <a:gd name="connsiteX58" fmla="*/ 644269 w 892564"/>
                    <a:gd name="connsiteY58" fmla="*/ 285750 h 942975"/>
                    <a:gd name="connsiteX59" fmla="*/ 634744 w 892564"/>
                    <a:gd name="connsiteY59" fmla="*/ 266700 h 942975"/>
                    <a:gd name="connsiteX60" fmla="*/ 606169 w 892564"/>
                    <a:gd name="connsiteY60" fmla="*/ 261937 h 942975"/>
                    <a:gd name="connsiteX61" fmla="*/ 506157 w 892564"/>
                    <a:gd name="connsiteY61" fmla="*/ 266700 h 942975"/>
                    <a:gd name="connsiteX62" fmla="*/ 434719 w 892564"/>
                    <a:gd name="connsiteY62" fmla="*/ 261937 h 942975"/>
                    <a:gd name="connsiteX63" fmla="*/ 425194 w 892564"/>
                    <a:gd name="connsiteY63" fmla="*/ 228600 h 942975"/>
                    <a:gd name="connsiteX64" fmla="*/ 434719 w 892564"/>
                    <a:gd name="connsiteY64" fmla="*/ 176212 h 942975"/>
                    <a:gd name="connsiteX65" fmla="*/ 444244 w 892564"/>
                    <a:gd name="connsiteY65" fmla="*/ 152400 h 942975"/>
                    <a:gd name="connsiteX66" fmla="*/ 449007 w 892564"/>
                    <a:gd name="connsiteY66" fmla="*/ 138112 h 942975"/>
                    <a:gd name="connsiteX67" fmla="*/ 439482 w 892564"/>
                    <a:gd name="connsiteY67" fmla="*/ 71437 h 942975"/>
                    <a:gd name="connsiteX68" fmla="*/ 429957 w 892564"/>
                    <a:gd name="connsiteY68" fmla="*/ 57150 h 942975"/>
                    <a:gd name="connsiteX69" fmla="*/ 410907 w 892564"/>
                    <a:gd name="connsiteY69" fmla="*/ 33337 h 942975"/>
                    <a:gd name="connsiteX70" fmla="*/ 396619 w 892564"/>
                    <a:gd name="connsiteY70" fmla="*/ 19050 h 942975"/>
                    <a:gd name="connsiteX71" fmla="*/ 320419 w 892564"/>
                    <a:gd name="connsiteY71" fmla="*/ 0 h 942975"/>
                    <a:gd name="connsiteX72" fmla="*/ 263269 w 892564"/>
                    <a:gd name="connsiteY72" fmla="*/ 9525 h 942975"/>
                    <a:gd name="connsiteX73" fmla="*/ 206119 w 892564"/>
                    <a:gd name="connsiteY73" fmla="*/ 66675 h 942975"/>
                    <a:gd name="connsiteX74" fmla="*/ 201357 w 892564"/>
                    <a:gd name="connsiteY74" fmla="*/ 80962 h 942975"/>
                    <a:gd name="connsiteX75" fmla="*/ 191832 w 892564"/>
                    <a:gd name="connsiteY75" fmla="*/ 100012 h 942975"/>
                    <a:gd name="connsiteX76" fmla="*/ 196594 w 892564"/>
                    <a:gd name="connsiteY76" fmla="*/ 166687 h 942975"/>
                    <a:gd name="connsiteX77" fmla="*/ 206119 w 892564"/>
                    <a:gd name="connsiteY77" fmla="*/ 185737 h 942975"/>
                    <a:gd name="connsiteX78" fmla="*/ 234694 w 892564"/>
                    <a:gd name="connsiteY78" fmla="*/ 223837 h 942975"/>
                    <a:gd name="connsiteX79" fmla="*/ 239457 w 892564"/>
                    <a:gd name="connsiteY79" fmla="*/ 242887 h 942975"/>
                    <a:gd name="connsiteX80" fmla="*/ 244219 w 892564"/>
                    <a:gd name="connsiteY80" fmla="*/ 257175 h 942975"/>
                    <a:gd name="connsiteX81" fmla="*/ 239457 w 892564"/>
                    <a:gd name="connsiteY81" fmla="*/ 280987 h 942975"/>
                    <a:gd name="connsiteX82" fmla="*/ 206119 w 892564"/>
                    <a:gd name="connsiteY82" fmla="*/ 276225 h 942975"/>
                    <a:gd name="connsiteX83" fmla="*/ 177544 w 892564"/>
                    <a:gd name="connsiteY83" fmla="*/ 271462 h 942975"/>
                    <a:gd name="connsiteX84" fmla="*/ 29907 w 892564"/>
                    <a:gd name="connsiteY84" fmla="*/ 280987 h 942975"/>
                    <a:gd name="connsiteX85" fmla="*/ 1332 w 892564"/>
                    <a:gd name="connsiteY85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253744 w 892564"/>
                    <a:gd name="connsiteY24" fmla="*/ 928687 h 942975"/>
                    <a:gd name="connsiteX25" fmla="*/ 277557 w 892564"/>
                    <a:gd name="connsiteY25" fmla="*/ 923925 h 942975"/>
                    <a:gd name="connsiteX26" fmla="*/ 263269 w 892564"/>
                    <a:gd name="connsiteY26" fmla="*/ 881062 h 942975"/>
                    <a:gd name="connsiteX27" fmla="*/ 253744 w 892564"/>
                    <a:gd name="connsiteY27" fmla="*/ 842962 h 942975"/>
                    <a:gd name="connsiteX28" fmla="*/ 248982 w 892564"/>
                    <a:gd name="connsiteY28" fmla="*/ 828675 h 942975"/>
                    <a:gd name="connsiteX29" fmla="*/ 239457 w 892564"/>
                    <a:gd name="connsiteY29" fmla="*/ 785812 h 942975"/>
                    <a:gd name="connsiteX30" fmla="*/ 248982 w 892564"/>
                    <a:gd name="connsiteY30" fmla="*/ 742950 h 942975"/>
                    <a:gd name="connsiteX31" fmla="*/ 277557 w 892564"/>
                    <a:gd name="connsiteY31" fmla="*/ 728662 h 942975"/>
                    <a:gd name="connsiteX32" fmla="*/ 306132 w 892564"/>
                    <a:gd name="connsiteY32" fmla="*/ 719137 h 942975"/>
                    <a:gd name="connsiteX33" fmla="*/ 358519 w 892564"/>
                    <a:gd name="connsiteY33" fmla="*/ 728662 h 942975"/>
                    <a:gd name="connsiteX34" fmla="*/ 396619 w 892564"/>
                    <a:gd name="connsiteY34" fmla="*/ 776287 h 942975"/>
                    <a:gd name="connsiteX35" fmla="*/ 391857 w 892564"/>
                    <a:gd name="connsiteY35" fmla="*/ 876300 h 942975"/>
                    <a:gd name="connsiteX36" fmla="*/ 391857 w 892564"/>
                    <a:gd name="connsiteY36" fmla="*/ 919162 h 942975"/>
                    <a:gd name="connsiteX37" fmla="*/ 420432 w 892564"/>
                    <a:gd name="connsiteY37" fmla="*/ 928687 h 942975"/>
                    <a:gd name="connsiteX38" fmla="*/ 515682 w 892564"/>
                    <a:gd name="connsiteY38" fmla="*/ 933450 h 942975"/>
                    <a:gd name="connsiteX39" fmla="*/ 558544 w 892564"/>
                    <a:gd name="connsiteY39" fmla="*/ 938212 h 942975"/>
                    <a:gd name="connsiteX40" fmla="*/ 596644 w 892564"/>
                    <a:gd name="connsiteY40" fmla="*/ 942975 h 942975"/>
                    <a:gd name="connsiteX41" fmla="*/ 634744 w 892564"/>
                    <a:gd name="connsiteY41" fmla="*/ 938212 h 942975"/>
                    <a:gd name="connsiteX42" fmla="*/ 653794 w 892564"/>
                    <a:gd name="connsiteY42" fmla="*/ 695325 h 942975"/>
                    <a:gd name="connsiteX43" fmla="*/ 668082 w 892564"/>
                    <a:gd name="connsiteY43" fmla="*/ 700087 h 942975"/>
                    <a:gd name="connsiteX44" fmla="*/ 734757 w 892564"/>
                    <a:gd name="connsiteY44" fmla="*/ 728662 h 942975"/>
                    <a:gd name="connsiteX45" fmla="*/ 844294 w 892564"/>
                    <a:gd name="connsiteY45" fmla="*/ 733425 h 942975"/>
                    <a:gd name="connsiteX46" fmla="*/ 877632 w 892564"/>
                    <a:gd name="connsiteY46" fmla="*/ 681037 h 942975"/>
                    <a:gd name="connsiteX47" fmla="*/ 891919 w 892564"/>
                    <a:gd name="connsiteY47" fmla="*/ 642937 h 942975"/>
                    <a:gd name="connsiteX48" fmla="*/ 887157 w 892564"/>
                    <a:gd name="connsiteY48" fmla="*/ 576262 h 942975"/>
                    <a:gd name="connsiteX49" fmla="*/ 872869 w 892564"/>
                    <a:gd name="connsiteY49" fmla="*/ 561975 h 942975"/>
                    <a:gd name="connsiteX50" fmla="*/ 810957 w 892564"/>
                    <a:gd name="connsiteY50" fmla="*/ 509587 h 942975"/>
                    <a:gd name="connsiteX51" fmla="*/ 696657 w 892564"/>
                    <a:gd name="connsiteY51" fmla="*/ 528637 h 942975"/>
                    <a:gd name="connsiteX52" fmla="*/ 668082 w 892564"/>
                    <a:gd name="connsiteY52" fmla="*/ 557212 h 942975"/>
                    <a:gd name="connsiteX53" fmla="*/ 653794 w 892564"/>
                    <a:gd name="connsiteY53" fmla="*/ 566737 h 942975"/>
                    <a:gd name="connsiteX54" fmla="*/ 649032 w 892564"/>
                    <a:gd name="connsiteY54" fmla="*/ 547687 h 942975"/>
                    <a:gd name="connsiteX55" fmla="*/ 644269 w 892564"/>
                    <a:gd name="connsiteY55" fmla="*/ 533400 h 942975"/>
                    <a:gd name="connsiteX56" fmla="*/ 649032 w 892564"/>
                    <a:gd name="connsiteY56" fmla="*/ 471487 h 942975"/>
                    <a:gd name="connsiteX57" fmla="*/ 644269 w 892564"/>
                    <a:gd name="connsiteY57" fmla="*/ 285750 h 942975"/>
                    <a:gd name="connsiteX58" fmla="*/ 634744 w 892564"/>
                    <a:gd name="connsiteY58" fmla="*/ 266700 h 942975"/>
                    <a:gd name="connsiteX59" fmla="*/ 606169 w 892564"/>
                    <a:gd name="connsiteY59" fmla="*/ 261937 h 942975"/>
                    <a:gd name="connsiteX60" fmla="*/ 506157 w 892564"/>
                    <a:gd name="connsiteY60" fmla="*/ 266700 h 942975"/>
                    <a:gd name="connsiteX61" fmla="*/ 434719 w 892564"/>
                    <a:gd name="connsiteY61" fmla="*/ 261937 h 942975"/>
                    <a:gd name="connsiteX62" fmla="*/ 425194 w 892564"/>
                    <a:gd name="connsiteY62" fmla="*/ 228600 h 942975"/>
                    <a:gd name="connsiteX63" fmla="*/ 434719 w 892564"/>
                    <a:gd name="connsiteY63" fmla="*/ 176212 h 942975"/>
                    <a:gd name="connsiteX64" fmla="*/ 444244 w 892564"/>
                    <a:gd name="connsiteY64" fmla="*/ 152400 h 942975"/>
                    <a:gd name="connsiteX65" fmla="*/ 449007 w 892564"/>
                    <a:gd name="connsiteY65" fmla="*/ 138112 h 942975"/>
                    <a:gd name="connsiteX66" fmla="*/ 439482 w 892564"/>
                    <a:gd name="connsiteY66" fmla="*/ 71437 h 942975"/>
                    <a:gd name="connsiteX67" fmla="*/ 429957 w 892564"/>
                    <a:gd name="connsiteY67" fmla="*/ 57150 h 942975"/>
                    <a:gd name="connsiteX68" fmla="*/ 410907 w 892564"/>
                    <a:gd name="connsiteY68" fmla="*/ 33337 h 942975"/>
                    <a:gd name="connsiteX69" fmla="*/ 396619 w 892564"/>
                    <a:gd name="connsiteY69" fmla="*/ 19050 h 942975"/>
                    <a:gd name="connsiteX70" fmla="*/ 320419 w 892564"/>
                    <a:gd name="connsiteY70" fmla="*/ 0 h 942975"/>
                    <a:gd name="connsiteX71" fmla="*/ 263269 w 892564"/>
                    <a:gd name="connsiteY71" fmla="*/ 9525 h 942975"/>
                    <a:gd name="connsiteX72" fmla="*/ 206119 w 892564"/>
                    <a:gd name="connsiteY72" fmla="*/ 66675 h 942975"/>
                    <a:gd name="connsiteX73" fmla="*/ 201357 w 892564"/>
                    <a:gd name="connsiteY73" fmla="*/ 80962 h 942975"/>
                    <a:gd name="connsiteX74" fmla="*/ 191832 w 892564"/>
                    <a:gd name="connsiteY74" fmla="*/ 100012 h 942975"/>
                    <a:gd name="connsiteX75" fmla="*/ 196594 w 892564"/>
                    <a:gd name="connsiteY75" fmla="*/ 166687 h 942975"/>
                    <a:gd name="connsiteX76" fmla="*/ 206119 w 892564"/>
                    <a:gd name="connsiteY76" fmla="*/ 185737 h 942975"/>
                    <a:gd name="connsiteX77" fmla="*/ 234694 w 892564"/>
                    <a:gd name="connsiteY77" fmla="*/ 223837 h 942975"/>
                    <a:gd name="connsiteX78" fmla="*/ 239457 w 892564"/>
                    <a:gd name="connsiteY78" fmla="*/ 242887 h 942975"/>
                    <a:gd name="connsiteX79" fmla="*/ 244219 w 892564"/>
                    <a:gd name="connsiteY79" fmla="*/ 257175 h 942975"/>
                    <a:gd name="connsiteX80" fmla="*/ 239457 w 892564"/>
                    <a:gd name="connsiteY80" fmla="*/ 280987 h 942975"/>
                    <a:gd name="connsiteX81" fmla="*/ 206119 w 892564"/>
                    <a:gd name="connsiteY81" fmla="*/ 276225 h 942975"/>
                    <a:gd name="connsiteX82" fmla="*/ 177544 w 892564"/>
                    <a:gd name="connsiteY82" fmla="*/ 271462 h 942975"/>
                    <a:gd name="connsiteX83" fmla="*/ 29907 w 892564"/>
                    <a:gd name="connsiteY83" fmla="*/ 280987 h 942975"/>
                    <a:gd name="connsiteX84" fmla="*/ 1332 w 892564"/>
                    <a:gd name="connsiteY84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15682 w 892564"/>
                    <a:gd name="connsiteY37" fmla="*/ 933450 h 942975"/>
                    <a:gd name="connsiteX38" fmla="*/ 558544 w 892564"/>
                    <a:gd name="connsiteY38" fmla="*/ 938212 h 942975"/>
                    <a:gd name="connsiteX39" fmla="*/ 596644 w 892564"/>
                    <a:gd name="connsiteY39" fmla="*/ 942975 h 942975"/>
                    <a:gd name="connsiteX40" fmla="*/ 634744 w 892564"/>
                    <a:gd name="connsiteY40" fmla="*/ 938212 h 942975"/>
                    <a:gd name="connsiteX41" fmla="*/ 653794 w 892564"/>
                    <a:gd name="connsiteY41" fmla="*/ 695325 h 942975"/>
                    <a:gd name="connsiteX42" fmla="*/ 668082 w 892564"/>
                    <a:gd name="connsiteY42" fmla="*/ 700087 h 942975"/>
                    <a:gd name="connsiteX43" fmla="*/ 734757 w 892564"/>
                    <a:gd name="connsiteY43" fmla="*/ 728662 h 942975"/>
                    <a:gd name="connsiteX44" fmla="*/ 844294 w 892564"/>
                    <a:gd name="connsiteY44" fmla="*/ 733425 h 942975"/>
                    <a:gd name="connsiteX45" fmla="*/ 877632 w 892564"/>
                    <a:gd name="connsiteY45" fmla="*/ 681037 h 942975"/>
                    <a:gd name="connsiteX46" fmla="*/ 891919 w 892564"/>
                    <a:gd name="connsiteY46" fmla="*/ 642937 h 942975"/>
                    <a:gd name="connsiteX47" fmla="*/ 887157 w 892564"/>
                    <a:gd name="connsiteY47" fmla="*/ 576262 h 942975"/>
                    <a:gd name="connsiteX48" fmla="*/ 872869 w 892564"/>
                    <a:gd name="connsiteY48" fmla="*/ 561975 h 942975"/>
                    <a:gd name="connsiteX49" fmla="*/ 810957 w 892564"/>
                    <a:gd name="connsiteY49" fmla="*/ 509587 h 942975"/>
                    <a:gd name="connsiteX50" fmla="*/ 696657 w 892564"/>
                    <a:gd name="connsiteY50" fmla="*/ 528637 h 942975"/>
                    <a:gd name="connsiteX51" fmla="*/ 668082 w 892564"/>
                    <a:gd name="connsiteY51" fmla="*/ 557212 h 942975"/>
                    <a:gd name="connsiteX52" fmla="*/ 653794 w 892564"/>
                    <a:gd name="connsiteY52" fmla="*/ 566737 h 942975"/>
                    <a:gd name="connsiteX53" fmla="*/ 649032 w 892564"/>
                    <a:gd name="connsiteY53" fmla="*/ 547687 h 942975"/>
                    <a:gd name="connsiteX54" fmla="*/ 644269 w 892564"/>
                    <a:gd name="connsiteY54" fmla="*/ 533400 h 942975"/>
                    <a:gd name="connsiteX55" fmla="*/ 649032 w 892564"/>
                    <a:gd name="connsiteY55" fmla="*/ 471487 h 942975"/>
                    <a:gd name="connsiteX56" fmla="*/ 644269 w 892564"/>
                    <a:gd name="connsiteY56" fmla="*/ 285750 h 942975"/>
                    <a:gd name="connsiteX57" fmla="*/ 634744 w 892564"/>
                    <a:gd name="connsiteY57" fmla="*/ 266700 h 942975"/>
                    <a:gd name="connsiteX58" fmla="*/ 606169 w 892564"/>
                    <a:gd name="connsiteY58" fmla="*/ 261937 h 942975"/>
                    <a:gd name="connsiteX59" fmla="*/ 506157 w 892564"/>
                    <a:gd name="connsiteY59" fmla="*/ 266700 h 942975"/>
                    <a:gd name="connsiteX60" fmla="*/ 434719 w 892564"/>
                    <a:gd name="connsiteY60" fmla="*/ 261937 h 942975"/>
                    <a:gd name="connsiteX61" fmla="*/ 425194 w 892564"/>
                    <a:gd name="connsiteY61" fmla="*/ 228600 h 942975"/>
                    <a:gd name="connsiteX62" fmla="*/ 434719 w 892564"/>
                    <a:gd name="connsiteY62" fmla="*/ 176212 h 942975"/>
                    <a:gd name="connsiteX63" fmla="*/ 444244 w 892564"/>
                    <a:gd name="connsiteY63" fmla="*/ 152400 h 942975"/>
                    <a:gd name="connsiteX64" fmla="*/ 449007 w 892564"/>
                    <a:gd name="connsiteY64" fmla="*/ 138112 h 942975"/>
                    <a:gd name="connsiteX65" fmla="*/ 439482 w 892564"/>
                    <a:gd name="connsiteY65" fmla="*/ 71437 h 942975"/>
                    <a:gd name="connsiteX66" fmla="*/ 429957 w 892564"/>
                    <a:gd name="connsiteY66" fmla="*/ 57150 h 942975"/>
                    <a:gd name="connsiteX67" fmla="*/ 410907 w 892564"/>
                    <a:gd name="connsiteY67" fmla="*/ 33337 h 942975"/>
                    <a:gd name="connsiteX68" fmla="*/ 396619 w 892564"/>
                    <a:gd name="connsiteY68" fmla="*/ 19050 h 942975"/>
                    <a:gd name="connsiteX69" fmla="*/ 320419 w 892564"/>
                    <a:gd name="connsiteY69" fmla="*/ 0 h 942975"/>
                    <a:gd name="connsiteX70" fmla="*/ 263269 w 892564"/>
                    <a:gd name="connsiteY70" fmla="*/ 9525 h 942975"/>
                    <a:gd name="connsiteX71" fmla="*/ 206119 w 892564"/>
                    <a:gd name="connsiteY71" fmla="*/ 66675 h 942975"/>
                    <a:gd name="connsiteX72" fmla="*/ 201357 w 892564"/>
                    <a:gd name="connsiteY72" fmla="*/ 80962 h 942975"/>
                    <a:gd name="connsiteX73" fmla="*/ 191832 w 892564"/>
                    <a:gd name="connsiteY73" fmla="*/ 100012 h 942975"/>
                    <a:gd name="connsiteX74" fmla="*/ 196594 w 892564"/>
                    <a:gd name="connsiteY74" fmla="*/ 166687 h 942975"/>
                    <a:gd name="connsiteX75" fmla="*/ 206119 w 892564"/>
                    <a:gd name="connsiteY75" fmla="*/ 185737 h 942975"/>
                    <a:gd name="connsiteX76" fmla="*/ 234694 w 892564"/>
                    <a:gd name="connsiteY76" fmla="*/ 223837 h 942975"/>
                    <a:gd name="connsiteX77" fmla="*/ 239457 w 892564"/>
                    <a:gd name="connsiteY77" fmla="*/ 242887 h 942975"/>
                    <a:gd name="connsiteX78" fmla="*/ 244219 w 892564"/>
                    <a:gd name="connsiteY78" fmla="*/ 257175 h 942975"/>
                    <a:gd name="connsiteX79" fmla="*/ 239457 w 892564"/>
                    <a:gd name="connsiteY79" fmla="*/ 280987 h 942975"/>
                    <a:gd name="connsiteX80" fmla="*/ 206119 w 892564"/>
                    <a:gd name="connsiteY80" fmla="*/ 276225 h 942975"/>
                    <a:gd name="connsiteX81" fmla="*/ 177544 w 892564"/>
                    <a:gd name="connsiteY81" fmla="*/ 271462 h 942975"/>
                    <a:gd name="connsiteX82" fmla="*/ 29907 w 892564"/>
                    <a:gd name="connsiteY82" fmla="*/ 280987 h 942975"/>
                    <a:gd name="connsiteX83" fmla="*/ 1332 w 892564"/>
                    <a:gd name="connsiteY83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177544 w 892564"/>
                    <a:gd name="connsiteY80" fmla="*/ 271462 h 942975"/>
                    <a:gd name="connsiteX81" fmla="*/ 29907 w 892564"/>
                    <a:gd name="connsiteY81" fmla="*/ 280987 h 942975"/>
                    <a:gd name="connsiteX82" fmla="*/ 1332 w 892564"/>
                    <a:gd name="connsiteY82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29907 w 892564"/>
                    <a:gd name="connsiteY80" fmla="*/ 280987 h 942975"/>
                    <a:gd name="connsiteX81" fmla="*/ 1332 w 892564"/>
                    <a:gd name="connsiteY81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53737 w 892507"/>
                    <a:gd name="connsiteY50" fmla="*/ 566737 h 942975"/>
                    <a:gd name="connsiteX51" fmla="*/ 648975 w 892507"/>
                    <a:gd name="connsiteY51" fmla="*/ 547687 h 942975"/>
                    <a:gd name="connsiteX52" fmla="*/ 644212 w 892507"/>
                    <a:gd name="connsiteY52" fmla="*/ 533400 h 942975"/>
                    <a:gd name="connsiteX53" fmla="*/ 648975 w 892507"/>
                    <a:gd name="connsiteY53" fmla="*/ 471487 h 942975"/>
                    <a:gd name="connsiteX54" fmla="*/ 644212 w 892507"/>
                    <a:gd name="connsiteY54" fmla="*/ 285750 h 942975"/>
                    <a:gd name="connsiteX55" fmla="*/ 634687 w 892507"/>
                    <a:gd name="connsiteY55" fmla="*/ 266700 h 942975"/>
                    <a:gd name="connsiteX56" fmla="*/ 606112 w 892507"/>
                    <a:gd name="connsiteY56" fmla="*/ 261937 h 942975"/>
                    <a:gd name="connsiteX57" fmla="*/ 506100 w 892507"/>
                    <a:gd name="connsiteY57" fmla="*/ 266700 h 942975"/>
                    <a:gd name="connsiteX58" fmla="*/ 434662 w 892507"/>
                    <a:gd name="connsiteY58" fmla="*/ 261937 h 942975"/>
                    <a:gd name="connsiteX59" fmla="*/ 425137 w 892507"/>
                    <a:gd name="connsiteY59" fmla="*/ 228600 h 942975"/>
                    <a:gd name="connsiteX60" fmla="*/ 434662 w 892507"/>
                    <a:gd name="connsiteY60" fmla="*/ 176212 h 942975"/>
                    <a:gd name="connsiteX61" fmla="*/ 444187 w 892507"/>
                    <a:gd name="connsiteY61" fmla="*/ 152400 h 942975"/>
                    <a:gd name="connsiteX62" fmla="*/ 448950 w 892507"/>
                    <a:gd name="connsiteY62" fmla="*/ 138112 h 942975"/>
                    <a:gd name="connsiteX63" fmla="*/ 439425 w 892507"/>
                    <a:gd name="connsiteY63" fmla="*/ 71437 h 942975"/>
                    <a:gd name="connsiteX64" fmla="*/ 429900 w 892507"/>
                    <a:gd name="connsiteY64" fmla="*/ 57150 h 942975"/>
                    <a:gd name="connsiteX65" fmla="*/ 410850 w 892507"/>
                    <a:gd name="connsiteY65" fmla="*/ 33337 h 942975"/>
                    <a:gd name="connsiteX66" fmla="*/ 396562 w 892507"/>
                    <a:gd name="connsiteY66" fmla="*/ 19050 h 942975"/>
                    <a:gd name="connsiteX67" fmla="*/ 320362 w 892507"/>
                    <a:gd name="connsiteY67" fmla="*/ 0 h 942975"/>
                    <a:gd name="connsiteX68" fmla="*/ 263212 w 892507"/>
                    <a:gd name="connsiteY68" fmla="*/ 9525 h 942975"/>
                    <a:gd name="connsiteX69" fmla="*/ 206062 w 892507"/>
                    <a:gd name="connsiteY69" fmla="*/ 66675 h 942975"/>
                    <a:gd name="connsiteX70" fmla="*/ 201300 w 892507"/>
                    <a:gd name="connsiteY70" fmla="*/ 80962 h 942975"/>
                    <a:gd name="connsiteX71" fmla="*/ 191775 w 892507"/>
                    <a:gd name="connsiteY71" fmla="*/ 100012 h 942975"/>
                    <a:gd name="connsiteX72" fmla="*/ 196537 w 892507"/>
                    <a:gd name="connsiteY72" fmla="*/ 166687 h 942975"/>
                    <a:gd name="connsiteX73" fmla="*/ 206062 w 892507"/>
                    <a:gd name="connsiteY73" fmla="*/ 185737 h 942975"/>
                    <a:gd name="connsiteX74" fmla="*/ 234637 w 892507"/>
                    <a:gd name="connsiteY74" fmla="*/ 223837 h 942975"/>
                    <a:gd name="connsiteX75" fmla="*/ 239400 w 892507"/>
                    <a:gd name="connsiteY75" fmla="*/ 242887 h 942975"/>
                    <a:gd name="connsiteX76" fmla="*/ 244162 w 892507"/>
                    <a:gd name="connsiteY76" fmla="*/ 257175 h 942975"/>
                    <a:gd name="connsiteX77" fmla="*/ 239400 w 892507"/>
                    <a:gd name="connsiteY77" fmla="*/ 280987 h 942975"/>
                    <a:gd name="connsiteX78" fmla="*/ 206062 w 892507"/>
                    <a:gd name="connsiteY78" fmla="*/ 276225 h 942975"/>
                    <a:gd name="connsiteX79" fmla="*/ 29850 w 892507"/>
                    <a:gd name="connsiteY79" fmla="*/ 280987 h 942975"/>
                    <a:gd name="connsiteX80" fmla="*/ 1275 w 892507"/>
                    <a:gd name="connsiteY80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48975 w 892507"/>
                    <a:gd name="connsiteY50" fmla="*/ 547687 h 942975"/>
                    <a:gd name="connsiteX51" fmla="*/ 644212 w 892507"/>
                    <a:gd name="connsiteY51" fmla="*/ 533400 h 942975"/>
                    <a:gd name="connsiteX52" fmla="*/ 648975 w 892507"/>
                    <a:gd name="connsiteY52" fmla="*/ 471487 h 942975"/>
                    <a:gd name="connsiteX53" fmla="*/ 644212 w 892507"/>
                    <a:gd name="connsiteY53" fmla="*/ 285750 h 942975"/>
                    <a:gd name="connsiteX54" fmla="*/ 634687 w 892507"/>
                    <a:gd name="connsiteY54" fmla="*/ 266700 h 942975"/>
                    <a:gd name="connsiteX55" fmla="*/ 606112 w 892507"/>
                    <a:gd name="connsiteY55" fmla="*/ 261937 h 942975"/>
                    <a:gd name="connsiteX56" fmla="*/ 506100 w 892507"/>
                    <a:gd name="connsiteY56" fmla="*/ 266700 h 942975"/>
                    <a:gd name="connsiteX57" fmla="*/ 434662 w 892507"/>
                    <a:gd name="connsiteY57" fmla="*/ 261937 h 942975"/>
                    <a:gd name="connsiteX58" fmla="*/ 425137 w 892507"/>
                    <a:gd name="connsiteY58" fmla="*/ 228600 h 942975"/>
                    <a:gd name="connsiteX59" fmla="*/ 434662 w 892507"/>
                    <a:gd name="connsiteY59" fmla="*/ 176212 h 942975"/>
                    <a:gd name="connsiteX60" fmla="*/ 444187 w 892507"/>
                    <a:gd name="connsiteY60" fmla="*/ 152400 h 942975"/>
                    <a:gd name="connsiteX61" fmla="*/ 448950 w 892507"/>
                    <a:gd name="connsiteY61" fmla="*/ 138112 h 942975"/>
                    <a:gd name="connsiteX62" fmla="*/ 439425 w 892507"/>
                    <a:gd name="connsiteY62" fmla="*/ 71437 h 942975"/>
                    <a:gd name="connsiteX63" fmla="*/ 429900 w 892507"/>
                    <a:gd name="connsiteY63" fmla="*/ 57150 h 942975"/>
                    <a:gd name="connsiteX64" fmla="*/ 410850 w 892507"/>
                    <a:gd name="connsiteY64" fmla="*/ 33337 h 942975"/>
                    <a:gd name="connsiteX65" fmla="*/ 396562 w 892507"/>
                    <a:gd name="connsiteY65" fmla="*/ 19050 h 942975"/>
                    <a:gd name="connsiteX66" fmla="*/ 320362 w 892507"/>
                    <a:gd name="connsiteY66" fmla="*/ 0 h 942975"/>
                    <a:gd name="connsiteX67" fmla="*/ 263212 w 892507"/>
                    <a:gd name="connsiteY67" fmla="*/ 9525 h 942975"/>
                    <a:gd name="connsiteX68" fmla="*/ 206062 w 892507"/>
                    <a:gd name="connsiteY68" fmla="*/ 66675 h 942975"/>
                    <a:gd name="connsiteX69" fmla="*/ 201300 w 892507"/>
                    <a:gd name="connsiteY69" fmla="*/ 80962 h 942975"/>
                    <a:gd name="connsiteX70" fmla="*/ 191775 w 892507"/>
                    <a:gd name="connsiteY70" fmla="*/ 100012 h 942975"/>
                    <a:gd name="connsiteX71" fmla="*/ 196537 w 892507"/>
                    <a:gd name="connsiteY71" fmla="*/ 166687 h 942975"/>
                    <a:gd name="connsiteX72" fmla="*/ 206062 w 892507"/>
                    <a:gd name="connsiteY72" fmla="*/ 185737 h 942975"/>
                    <a:gd name="connsiteX73" fmla="*/ 234637 w 892507"/>
                    <a:gd name="connsiteY73" fmla="*/ 223837 h 942975"/>
                    <a:gd name="connsiteX74" fmla="*/ 239400 w 892507"/>
                    <a:gd name="connsiteY74" fmla="*/ 242887 h 942975"/>
                    <a:gd name="connsiteX75" fmla="*/ 244162 w 892507"/>
                    <a:gd name="connsiteY75" fmla="*/ 257175 h 942975"/>
                    <a:gd name="connsiteX76" fmla="*/ 239400 w 892507"/>
                    <a:gd name="connsiteY76" fmla="*/ 280987 h 942975"/>
                    <a:gd name="connsiteX77" fmla="*/ 206062 w 892507"/>
                    <a:gd name="connsiteY77" fmla="*/ 276225 h 942975"/>
                    <a:gd name="connsiteX78" fmla="*/ 29850 w 892507"/>
                    <a:gd name="connsiteY78" fmla="*/ 280987 h 942975"/>
                    <a:gd name="connsiteX79" fmla="*/ 1275 w 892507"/>
                    <a:gd name="connsiteY79" fmla="*/ 295275 h 942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892507" h="942975">
                      <a:moveTo>
                        <a:pt x="1275" y="295275"/>
                      </a:moveTo>
                      <a:cubicBezTo>
                        <a:pt x="-2694" y="324644"/>
                        <a:pt x="3656" y="419894"/>
                        <a:pt x="6037" y="457200"/>
                      </a:cubicBezTo>
                      <a:cubicBezTo>
                        <a:pt x="8418" y="494506"/>
                        <a:pt x="11593" y="504825"/>
                        <a:pt x="15562" y="519112"/>
                      </a:cubicBezTo>
                      <a:cubicBezTo>
                        <a:pt x="19531" y="533399"/>
                        <a:pt x="23304" y="536379"/>
                        <a:pt x="29850" y="542925"/>
                      </a:cubicBezTo>
                      <a:cubicBezTo>
                        <a:pt x="33400" y="546475"/>
                        <a:pt x="39267" y="546469"/>
                        <a:pt x="44137" y="547687"/>
                      </a:cubicBezTo>
                      <a:cubicBezTo>
                        <a:pt x="51990" y="549650"/>
                        <a:pt x="60012" y="550862"/>
                        <a:pt x="67950" y="552450"/>
                      </a:cubicBezTo>
                      <a:cubicBezTo>
                        <a:pt x="79062" y="549275"/>
                        <a:pt x="90557" y="547217"/>
                        <a:pt x="101287" y="542925"/>
                      </a:cubicBezTo>
                      <a:cubicBezTo>
                        <a:pt x="114934" y="537466"/>
                        <a:pt x="118876" y="528267"/>
                        <a:pt x="129862" y="519112"/>
                      </a:cubicBezTo>
                      <a:cubicBezTo>
                        <a:pt x="134259" y="515448"/>
                        <a:pt x="139387" y="512762"/>
                        <a:pt x="144150" y="509587"/>
                      </a:cubicBezTo>
                      <a:cubicBezTo>
                        <a:pt x="169550" y="511175"/>
                        <a:pt x="195040" y="511686"/>
                        <a:pt x="220350" y="514350"/>
                      </a:cubicBezTo>
                      <a:cubicBezTo>
                        <a:pt x="225342" y="514876"/>
                        <a:pt x="231087" y="515562"/>
                        <a:pt x="234637" y="519112"/>
                      </a:cubicBezTo>
                      <a:cubicBezTo>
                        <a:pt x="241183" y="525658"/>
                        <a:pt x="244162" y="534987"/>
                        <a:pt x="248925" y="542925"/>
                      </a:cubicBezTo>
                      <a:cubicBezTo>
                        <a:pt x="242355" y="634900"/>
                        <a:pt x="254541" y="583866"/>
                        <a:pt x="234637" y="628650"/>
                      </a:cubicBezTo>
                      <a:cubicBezTo>
                        <a:pt x="231165" y="636462"/>
                        <a:pt x="230241" y="645623"/>
                        <a:pt x="225112" y="652462"/>
                      </a:cubicBezTo>
                      <a:cubicBezTo>
                        <a:pt x="213902" y="667409"/>
                        <a:pt x="202980" y="667520"/>
                        <a:pt x="187012" y="671512"/>
                      </a:cubicBezTo>
                      <a:cubicBezTo>
                        <a:pt x="175900" y="668337"/>
                        <a:pt x="164196" y="666769"/>
                        <a:pt x="153675" y="661987"/>
                      </a:cubicBezTo>
                      <a:cubicBezTo>
                        <a:pt x="146449" y="658703"/>
                        <a:pt x="140652" y="652866"/>
                        <a:pt x="134625" y="647700"/>
                      </a:cubicBezTo>
                      <a:cubicBezTo>
                        <a:pt x="120365" y="635477"/>
                        <a:pt x="120610" y="633822"/>
                        <a:pt x="110812" y="619125"/>
                      </a:cubicBezTo>
                      <a:cubicBezTo>
                        <a:pt x="82237" y="620712"/>
                        <a:pt x="53092" y="617991"/>
                        <a:pt x="25087" y="623887"/>
                      </a:cubicBezTo>
                      <a:cubicBezTo>
                        <a:pt x="20174" y="624921"/>
                        <a:pt x="20325" y="633155"/>
                        <a:pt x="20325" y="638175"/>
                      </a:cubicBezTo>
                      <a:cubicBezTo>
                        <a:pt x="20325" y="655709"/>
                        <a:pt x="22706" y="644525"/>
                        <a:pt x="25087" y="690562"/>
                      </a:cubicBezTo>
                      <a:cubicBezTo>
                        <a:pt x="27468" y="736599"/>
                        <a:pt x="-3488" y="874713"/>
                        <a:pt x="34612" y="914400"/>
                      </a:cubicBezTo>
                      <a:cubicBezTo>
                        <a:pt x="72712" y="954087"/>
                        <a:pt x="213206" y="927100"/>
                        <a:pt x="253687" y="928687"/>
                      </a:cubicBezTo>
                      <a:cubicBezTo>
                        <a:pt x="261625" y="927100"/>
                        <a:pt x="273010" y="930660"/>
                        <a:pt x="277500" y="923925"/>
                      </a:cubicBezTo>
                      <a:cubicBezTo>
                        <a:pt x="282775" y="916012"/>
                        <a:pt x="266332" y="887302"/>
                        <a:pt x="263212" y="881062"/>
                      </a:cubicBezTo>
                      <a:cubicBezTo>
                        <a:pt x="260037" y="868362"/>
                        <a:pt x="257826" y="855381"/>
                        <a:pt x="253687" y="842962"/>
                      </a:cubicBezTo>
                      <a:cubicBezTo>
                        <a:pt x="252100" y="838200"/>
                        <a:pt x="250304" y="833502"/>
                        <a:pt x="248925" y="828675"/>
                      </a:cubicBezTo>
                      <a:cubicBezTo>
                        <a:pt x="244438" y="812971"/>
                        <a:pt x="242676" y="802194"/>
                        <a:pt x="239400" y="785812"/>
                      </a:cubicBezTo>
                      <a:cubicBezTo>
                        <a:pt x="242575" y="771525"/>
                        <a:pt x="240806" y="755128"/>
                        <a:pt x="248925" y="742950"/>
                      </a:cubicBezTo>
                      <a:cubicBezTo>
                        <a:pt x="254832" y="734089"/>
                        <a:pt x="267670" y="732758"/>
                        <a:pt x="277500" y="728662"/>
                      </a:cubicBezTo>
                      <a:cubicBezTo>
                        <a:pt x="286768" y="724800"/>
                        <a:pt x="306075" y="719137"/>
                        <a:pt x="306075" y="719137"/>
                      </a:cubicBezTo>
                      <a:cubicBezTo>
                        <a:pt x="323537" y="722312"/>
                        <a:pt x="342587" y="720725"/>
                        <a:pt x="358462" y="728662"/>
                      </a:cubicBezTo>
                      <a:cubicBezTo>
                        <a:pt x="363087" y="730975"/>
                        <a:pt x="390372" y="768034"/>
                        <a:pt x="396562" y="776287"/>
                      </a:cubicBezTo>
                      <a:cubicBezTo>
                        <a:pt x="394975" y="809625"/>
                        <a:pt x="394265" y="843016"/>
                        <a:pt x="391800" y="876300"/>
                      </a:cubicBezTo>
                      <a:cubicBezTo>
                        <a:pt x="391578" y="879296"/>
                        <a:pt x="381193" y="911586"/>
                        <a:pt x="391800" y="919162"/>
                      </a:cubicBezTo>
                      <a:cubicBezTo>
                        <a:pt x="399970" y="924998"/>
                        <a:pt x="392594" y="925512"/>
                        <a:pt x="420375" y="928687"/>
                      </a:cubicBezTo>
                      <a:cubicBezTo>
                        <a:pt x="448156" y="931862"/>
                        <a:pt x="529118" y="935831"/>
                        <a:pt x="558487" y="938212"/>
                      </a:cubicBezTo>
                      <a:cubicBezTo>
                        <a:pt x="587856" y="940593"/>
                        <a:pt x="583788" y="942975"/>
                        <a:pt x="596587" y="942975"/>
                      </a:cubicBezTo>
                      <a:cubicBezTo>
                        <a:pt x="609386" y="942975"/>
                        <a:pt x="621987" y="939800"/>
                        <a:pt x="634687" y="938212"/>
                      </a:cubicBezTo>
                      <a:cubicBezTo>
                        <a:pt x="637952" y="872912"/>
                        <a:pt x="642558" y="751221"/>
                        <a:pt x="653737" y="695325"/>
                      </a:cubicBezTo>
                      <a:cubicBezTo>
                        <a:pt x="654722" y="690402"/>
                        <a:pt x="663535" y="697842"/>
                        <a:pt x="668025" y="700087"/>
                      </a:cubicBezTo>
                      <a:cubicBezTo>
                        <a:pt x="727213" y="729681"/>
                        <a:pt x="690279" y="719779"/>
                        <a:pt x="734700" y="728662"/>
                      </a:cubicBezTo>
                      <a:cubicBezTo>
                        <a:pt x="778294" y="750460"/>
                        <a:pt x="776391" y="756041"/>
                        <a:pt x="844237" y="733425"/>
                      </a:cubicBezTo>
                      <a:cubicBezTo>
                        <a:pt x="855802" y="729570"/>
                        <a:pt x="873552" y="689083"/>
                        <a:pt x="877575" y="681037"/>
                      </a:cubicBezTo>
                      <a:cubicBezTo>
                        <a:pt x="885513" y="665956"/>
                        <a:pt x="890275" y="660399"/>
                        <a:pt x="891862" y="642937"/>
                      </a:cubicBezTo>
                      <a:cubicBezTo>
                        <a:pt x="893449" y="625475"/>
                        <a:pt x="892203" y="597951"/>
                        <a:pt x="887100" y="576262"/>
                      </a:cubicBezTo>
                      <a:cubicBezTo>
                        <a:pt x="885557" y="569706"/>
                        <a:pt x="877575" y="566737"/>
                        <a:pt x="872812" y="561975"/>
                      </a:cubicBezTo>
                      <a:cubicBezTo>
                        <a:pt x="860112" y="550863"/>
                        <a:pt x="840269" y="515143"/>
                        <a:pt x="810900" y="509587"/>
                      </a:cubicBezTo>
                      <a:cubicBezTo>
                        <a:pt x="758140" y="513105"/>
                        <a:pt x="740834" y="508221"/>
                        <a:pt x="696600" y="528637"/>
                      </a:cubicBezTo>
                      <a:cubicBezTo>
                        <a:pt x="667695" y="541978"/>
                        <a:pt x="675963" y="554037"/>
                        <a:pt x="668025" y="557212"/>
                      </a:cubicBezTo>
                      <a:cubicBezTo>
                        <a:pt x="660087" y="560387"/>
                        <a:pt x="652944" y="551656"/>
                        <a:pt x="648975" y="547687"/>
                      </a:cubicBezTo>
                      <a:cubicBezTo>
                        <a:pt x="645006" y="543718"/>
                        <a:pt x="644212" y="538420"/>
                        <a:pt x="644212" y="533400"/>
                      </a:cubicBezTo>
                      <a:cubicBezTo>
                        <a:pt x="644212" y="512701"/>
                        <a:pt x="647387" y="492125"/>
                        <a:pt x="648975" y="471487"/>
                      </a:cubicBezTo>
                      <a:cubicBezTo>
                        <a:pt x="647387" y="409575"/>
                        <a:pt x="648523" y="347532"/>
                        <a:pt x="644212" y="285750"/>
                      </a:cubicBezTo>
                      <a:cubicBezTo>
                        <a:pt x="643718" y="278668"/>
                        <a:pt x="640707" y="270463"/>
                        <a:pt x="634687" y="266700"/>
                      </a:cubicBezTo>
                      <a:cubicBezTo>
                        <a:pt x="626498" y="261582"/>
                        <a:pt x="615637" y="263525"/>
                        <a:pt x="606112" y="261937"/>
                      </a:cubicBezTo>
                      <a:lnTo>
                        <a:pt x="506100" y="266700"/>
                      </a:lnTo>
                      <a:cubicBezTo>
                        <a:pt x="445682" y="270598"/>
                        <a:pt x="475585" y="278306"/>
                        <a:pt x="434662" y="261937"/>
                      </a:cubicBezTo>
                      <a:cubicBezTo>
                        <a:pt x="432672" y="255965"/>
                        <a:pt x="424805" y="233581"/>
                        <a:pt x="425137" y="228600"/>
                      </a:cubicBezTo>
                      <a:cubicBezTo>
                        <a:pt x="426318" y="210890"/>
                        <a:pt x="430357" y="193431"/>
                        <a:pt x="434662" y="176212"/>
                      </a:cubicBezTo>
                      <a:cubicBezTo>
                        <a:pt x="436735" y="167918"/>
                        <a:pt x="441185" y="160404"/>
                        <a:pt x="444187" y="152400"/>
                      </a:cubicBezTo>
                      <a:cubicBezTo>
                        <a:pt x="445950" y="147699"/>
                        <a:pt x="447362" y="142875"/>
                        <a:pt x="448950" y="138112"/>
                      </a:cubicBezTo>
                      <a:cubicBezTo>
                        <a:pt x="447734" y="124738"/>
                        <a:pt x="448585" y="89759"/>
                        <a:pt x="439425" y="71437"/>
                      </a:cubicBezTo>
                      <a:cubicBezTo>
                        <a:pt x="436865" y="66318"/>
                        <a:pt x="433075" y="61912"/>
                        <a:pt x="429900" y="57150"/>
                      </a:cubicBezTo>
                      <a:cubicBezTo>
                        <a:pt x="421247" y="22541"/>
                        <a:pt x="433396" y="48368"/>
                        <a:pt x="410850" y="33337"/>
                      </a:cubicBezTo>
                      <a:cubicBezTo>
                        <a:pt x="405246" y="29601"/>
                        <a:pt x="402337" y="22515"/>
                        <a:pt x="396562" y="19050"/>
                      </a:cubicBezTo>
                      <a:cubicBezTo>
                        <a:pt x="366332" y="912"/>
                        <a:pt x="355835" y="3941"/>
                        <a:pt x="320362" y="0"/>
                      </a:cubicBezTo>
                      <a:cubicBezTo>
                        <a:pt x="301312" y="3175"/>
                        <a:pt x="281334" y="2849"/>
                        <a:pt x="263212" y="9525"/>
                      </a:cubicBezTo>
                      <a:cubicBezTo>
                        <a:pt x="235392" y="19775"/>
                        <a:pt x="221221" y="43936"/>
                        <a:pt x="206062" y="66675"/>
                      </a:cubicBezTo>
                      <a:cubicBezTo>
                        <a:pt x="204475" y="71437"/>
                        <a:pt x="203277" y="76348"/>
                        <a:pt x="201300" y="80962"/>
                      </a:cubicBezTo>
                      <a:cubicBezTo>
                        <a:pt x="198503" y="87488"/>
                        <a:pt x="192169" y="92923"/>
                        <a:pt x="191775" y="100012"/>
                      </a:cubicBezTo>
                      <a:cubicBezTo>
                        <a:pt x="190539" y="122259"/>
                        <a:pt x="192874" y="144709"/>
                        <a:pt x="196537" y="166687"/>
                      </a:cubicBezTo>
                      <a:cubicBezTo>
                        <a:pt x="197704" y="173690"/>
                        <a:pt x="202124" y="179830"/>
                        <a:pt x="206062" y="185737"/>
                      </a:cubicBezTo>
                      <a:cubicBezTo>
                        <a:pt x="214868" y="198946"/>
                        <a:pt x="234637" y="223837"/>
                        <a:pt x="234637" y="223837"/>
                      </a:cubicBezTo>
                      <a:cubicBezTo>
                        <a:pt x="236225" y="230187"/>
                        <a:pt x="237602" y="236593"/>
                        <a:pt x="239400" y="242887"/>
                      </a:cubicBezTo>
                      <a:cubicBezTo>
                        <a:pt x="240779" y="247714"/>
                        <a:pt x="244162" y="252155"/>
                        <a:pt x="244162" y="257175"/>
                      </a:cubicBezTo>
                      <a:cubicBezTo>
                        <a:pt x="244162" y="265269"/>
                        <a:pt x="240987" y="273050"/>
                        <a:pt x="239400" y="280987"/>
                      </a:cubicBezTo>
                      <a:lnTo>
                        <a:pt x="206062" y="276225"/>
                      </a:lnTo>
                      <a:cubicBezTo>
                        <a:pt x="171137" y="276225"/>
                        <a:pt x="63981" y="277812"/>
                        <a:pt x="29850" y="280987"/>
                      </a:cubicBezTo>
                      <a:cubicBezTo>
                        <a:pt x="-4281" y="284162"/>
                        <a:pt x="5244" y="265906"/>
                        <a:pt x="1275" y="295275"/>
                      </a:cubicBezTo>
                      <a:close/>
                    </a:path>
                  </a:pathLst>
                </a:custGeom>
                <a:solidFill>
                  <a:srgbClr val="FBCCD0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  <p:sp>
              <p:nvSpPr>
                <p:cNvPr id="158" name="Freeform: Shape 157">
                  <a:extLst>
                    <a:ext uri="{FF2B5EF4-FFF2-40B4-BE49-F238E27FC236}">
                      <a16:creationId xmlns:a16="http://schemas.microsoft.com/office/drawing/2014/main" id="{4D40FB81-0237-C46F-03AD-66B8EBB0408F}"/>
                    </a:ext>
                  </a:extLst>
                </p:cNvPr>
                <p:cNvSpPr/>
                <p:nvPr/>
              </p:nvSpPr>
              <p:spPr>
                <a:xfrm>
                  <a:off x="9757088" y="2828925"/>
                  <a:ext cx="892507" cy="942975"/>
                </a:xfrm>
                <a:custGeom>
                  <a:avLst/>
                  <a:gdLst>
                    <a:gd name="connsiteX0" fmla="*/ 1332 w 892414"/>
                    <a:gd name="connsiteY0" fmla="*/ 295275 h 942975"/>
                    <a:gd name="connsiteX1" fmla="*/ 6094 w 892414"/>
                    <a:gd name="connsiteY1" fmla="*/ 457200 h 942975"/>
                    <a:gd name="connsiteX2" fmla="*/ 10857 w 892414"/>
                    <a:gd name="connsiteY2" fmla="*/ 476250 h 942975"/>
                    <a:gd name="connsiteX3" fmla="*/ 15619 w 892414"/>
                    <a:gd name="connsiteY3" fmla="*/ 519112 h 942975"/>
                    <a:gd name="connsiteX4" fmla="*/ 29907 w 892414"/>
                    <a:gd name="connsiteY4" fmla="*/ 542925 h 942975"/>
                    <a:gd name="connsiteX5" fmla="*/ 44194 w 892414"/>
                    <a:gd name="connsiteY5" fmla="*/ 547687 h 942975"/>
                    <a:gd name="connsiteX6" fmla="*/ 68007 w 892414"/>
                    <a:gd name="connsiteY6" fmla="*/ 552450 h 942975"/>
                    <a:gd name="connsiteX7" fmla="*/ 101344 w 892414"/>
                    <a:gd name="connsiteY7" fmla="*/ 542925 h 942975"/>
                    <a:gd name="connsiteX8" fmla="*/ 129919 w 892414"/>
                    <a:gd name="connsiteY8" fmla="*/ 519112 h 942975"/>
                    <a:gd name="connsiteX9" fmla="*/ 144207 w 892414"/>
                    <a:gd name="connsiteY9" fmla="*/ 509587 h 942975"/>
                    <a:gd name="connsiteX10" fmla="*/ 220407 w 892414"/>
                    <a:gd name="connsiteY10" fmla="*/ 514350 h 942975"/>
                    <a:gd name="connsiteX11" fmla="*/ 234694 w 892414"/>
                    <a:gd name="connsiteY11" fmla="*/ 519112 h 942975"/>
                    <a:gd name="connsiteX12" fmla="*/ 248982 w 892414"/>
                    <a:gd name="connsiteY12" fmla="*/ 542925 h 942975"/>
                    <a:gd name="connsiteX13" fmla="*/ 234694 w 892414"/>
                    <a:gd name="connsiteY13" fmla="*/ 628650 h 942975"/>
                    <a:gd name="connsiteX14" fmla="*/ 225169 w 892414"/>
                    <a:gd name="connsiteY14" fmla="*/ 652462 h 942975"/>
                    <a:gd name="connsiteX15" fmla="*/ 187069 w 892414"/>
                    <a:gd name="connsiteY15" fmla="*/ 671512 h 942975"/>
                    <a:gd name="connsiteX16" fmla="*/ 153732 w 892414"/>
                    <a:gd name="connsiteY16" fmla="*/ 661987 h 942975"/>
                    <a:gd name="connsiteX17" fmla="*/ 134682 w 892414"/>
                    <a:gd name="connsiteY17" fmla="*/ 647700 h 942975"/>
                    <a:gd name="connsiteX18" fmla="*/ 110869 w 892414"/>
                    <a:gd name="connsiteY18" fmla="*/ 619125 h 942975"/>
                    <a:gd name="connsiteX19" fmla="*/ 25144 w 892414"/>
                    <a:gd name="connsiteY19" fmla="*/ 623887 h 942975"/>
                    <a:gd name="connsiteX20" fmla="*/ 20382 w 892414"/>
                    <a:gd name="connsiteY20" fmla="*/ 638175 h 942975"/>
                    <a:gd name="connsiteX21" fmla="*/ 25144 w 892414"/>
                    <a:gd name="connsiteY21" fmla="*/ 690562 h 942975"/>
                    <a:gd name="connsiteX22" fmla="*/ 29907 w 892414"/>
                    <a:gd name="connsiteY22" fmla="*/ 704850 h 942975"/>
                    <a:gd name="connsiteX23" fmla="*/ 34669 w 892414"/>
                    <a:gd name="connsiteY23" fmla="*/ 914400 h 942975"/>
                    <a:gd name="connsiteX24" fmla="*/ 120394 w 892414"/>
                    <a:gd name="connsiteY24" fmla="*/ 919162 h 942975"/>
                    <a:gd name="connsiteX25" fmla="*/ 134682 w 892414"/>
                    <a:gd name="connsiteY25" fmla="*/ 923925 h 942975"/>
                    <a:gd name="connsiteX26" fmla="*/ 253744 w 892414"/>
                    <a:gd name="connsiteY26" fmla="*/ 928687 h 942975"/>
                    <a:gd name="connsiteX27" fmla="*/ 277557 w 892414"/>
                    <a:gd name="connsiteY27" fmla="*/ 923925 h 942975"/>
                    <a:gd name="connsiteX28" fmla="*/ 263269 w 892414"/>
                    <a:gd name="connsiteY28" fmla="*/ 881062 h 942975"/>
                    <a:gd name="connsiteX29" fmla="*/ 253744 w 892414"/>
                    <a:gd name="connsiteY29" fmla="*/ 842962 h 942975"/>
                    <a:gd name="connsiteX30" fmla="*/ 248982 w 892414"/>
                    <a:gd name="connsiteY30" fmla="*/ 828675 h 942975"/>
                    <a:gd name="connsiteX31" fmla="*/ 239457 w 892414"/>
                    <a:gd name="connsiteY31" fmla="*/ 785812 h 942975"/>
                    <a:gd name="connsiteX32" fmla="*/ 248982 w 892414"/>
                    <a:gd name="connsiteY32" fmla="*/ 742950 h 942975"/>
                    <a:gd name="connsiteX33" fmla="*/ 277557 w 892414"/>
                    <a:gd name="connsiteY33" fmla="*/ 728662 h 942975"/>
                    <a:gd name="connsiteX34" fmla="*/ 306132 w 892414"/>
                    <a:gd name="connsiteY34" fmla="*/ 719137 h 942975"/>
                    <a:gd name="connsiteX35" fmla="*/ 358519 w 892414"/>
                    <a:gd name="connsiteY35" fmla="*/ 728662 h 942975"/>
                    <a:gd name="connsiteX36" fmla="*/ 396619 w 892414"/>
                    <a:gd name="connsiteY36" fmla="*/ 776287 h 942975"/>
                    <a:gd name="connsiteX37" fmla="*/ 391857 w 892414"/>
                    <a:gd name="connsiteY37" fmla="*/ 876300 h 942975"/>
                    <a:gd name="connsiteX38" fmla="*/ 391857 w 892414"/>
                    <a:gd name="connsiteY38" fmla="*/ 919162 h 942975"/>
                    <a:gd name="connsiteX39" fmla="*/ 420432 w 892414"/>
                    <a:gd name="connsiteY39" fmla="*/ 928687 h 942975"/>
                    <a:gd name="connsiteX40" fmla="*/ 515682 w 892414"/>
                    <a:gd name="connsiteY40" fmla="*/ 933450 h 942975"/>
                    <a:gd name="connsiteX41" fmla="*/ 558544 w 892414"/>
                    <a:gd name="connsiteY41" fmla="*/ 938212 h 942975"/>
                    <a:gd name="connsiteX42" fmla="*/ 596644 w 892414"/>
                    <a:gd name="connsiteY42" fmla="*/ 942975 h 942975"/>
                    <a:gd name="connsiteX43" fmla="*/ 634744 w 892414"/>
                    <a:gd name="connsiteY43" fmla="*/ 938212 h 942975"/>
                    <a:gd name="connsiteX44" fmla="*/ 653794 w 892414"/>
                    <a:gd name="connsiteY44" fmla="*/ 695325 h 942975"/>
                    <a:gd name="connsiteX45" fmla="*/ 668082 w 892414"/>
                    <a:gd name="connsiteY45" fmla="*/ 700087 h 942975"/>
                    <a:gd name="connsiteX46" fmla="*/ 734757 w 892414"/>
                    <a:gd name="connsiteY46" fmla="*/ 728662 h 942975"/>
                    <a:gd name="connsiteX47" fmla="*/ 844294 w 892414"/>
                    <a:gd name="connsiteY47" fmla="*/ 733425 h 942975"/>
                    <a:gd name="connsiteX48" fmla="*/ 877632 w 892414"/>
                    <a:gd name="connsiteY48" fmla="*/ 681037 h 942975"/>
                    <a:gd name="connsiteX49" fmla="*/ 882394 w 892414"/>
                    <a:gd name="connsiteY49" fmla="*/ 661987 h 942975"/>
                    <a:gd name="connsiteX50" fmla="*/ 891919 w 892414"/>
                    <a:gd name="connsiteY50" fmla="*/ 642937 h 942975"/>
                    <a:gd name="connsiteX51" fmla="*/ 887157 w 892414"/>
                    <a:gd name="connsiteY51" fmla="*/ 576262 h 942975"/>
                    <a:gd name="connsiteX52" fmla="*/ 872869 w 892414"/>
                    <a:gd name="connsiteY52" fmla="*/ 561975 h 942975"/>
                    <a:gd name="connsiteX53" fmla="*/ 853819 w 892414"/>
                    <a:gd name="connsiteY53" fmla="*/ 528637 h 942975"/>
                    <a:gd name="connsiteX54" fmla="*/ 839532 w 892414"/>
                    <a:gd name="connsiteY54" fmla="*/ 514350 h 942975"/>
                    <a:gd name="connsiteX55" fmla="*/ 810957 w 892414"/>
                    <a:gd name="connsiteY55" fmla="*/ 509587 h 942975"/>
                    <a:gd name="connsiteX56" fmla="*/ 696657 w 892414"/>
                    <a:gd name="connsiteY56" fmla="*/ 528637 h 942975"/>
                    <a:gd name="connsiteX57" fmla="*/ 668082 w 892414"/>
                    <a:gd name="connsiteY57" fmla="*/ 557212 h 942975"/>
                    <a:gd name="connsiteX58" fmla="*/ 653794 w 892414"/>
                    <a:gd name="connsiteY58" fmla="*/ 566737 h 942975"/>
                    <a:gd name="connsiteX59" fmla="*/ 649032 w 892414"/>
                    <a:gd name="connsiteY59" fmla="*/ 547687 h 942975"/>
                    <a:gd name="connsiteX60" fmla="*/ 644269 w 892414"/>
                    <a:gd name="connsiteY60" fmla="*/ 533400 h 942975"/>
                    <a:gd name="connsiteX61" fmla="*/ 649032 w 892414"/>
                    <a:gd name="connsiteY61" fmla="*/ 471487 h 942975"/>
                    <a:gd name="connsiteX62" fmla="*/ 644269 w 892414"/>
                    <a:gd name="connsiteY62" fmla="*/ 285750 h 942975"/>
                    <a:gd name="connsiteX63" fmla="*/ 634744 w 892414"/>
                    <a:gd name="connsiteY63" fmla="*/ 266700 h 942975"/>
                    <a:gd name="connsiteX64" fmla="*/ 606169 w 892414"/>
                    <a:gd name="connsiteY64" fmla="*/ 261937 h 942975"/>
                    <a:gd name="connsiteX65" fmla="*/ 506157 w 892414"/>
                    <a:gd name="connsiteY65" fmla="*/ 266700 h 942975"/>
                    <a:gd name="connsiteX66" fmla="*/ 434719 w 892414"/>
                    <a:gd name="connsiteY66" fmla="*/ 261937 h 942975"/>
                    <a:gd name="connsiteX67" fmla="*/ 425194 w 892414"/>
                    <a:gd name="connsiteY67" fmla="*/ 228600 h 942975"/>
                    <a:gd name="connsiteX68" fmla="*/ 434719 w 892414"/>
                    <a:gd name="connsiteY68" fmla="*/ 176212 h 942975"/>
                    <a:gd name="connsiteX69" fmla="*/ 444244 w 892414"/>
                    <a:gd name="connsiteY69" fmla="*/ 152400 h 942975"/>
                    <a:gd name="connsiteX70" fmla="*/ 449007 w 892414"/>
                    <a:gd name="connsiteY70" fmla="*/ 138112 h 942975"/>
                    <a:gd name="connsiteX71" fmla="*/ 439482 w 892414"/>
                    <a:gd name="connsiteY71" fmla="*/ 71437 h 942975"/>
                    <a:gd name="connsiteX72" fmla="*/ 429957 w 892414"/>
                    <a:gd name="connsiteY72" fmla="*/ 57150 h 942975"/>
                    <a:gd name="connsiteX73" fmla="*/ 410907 w 892414"/>
                    <a:gd name="connsiteY73" fmla="*/ 33337 h 942975"/>
                    <a:gd name="connsiteX74" fmla="*/ 396619 w 892414"/>
                    <a:gd name="connsiteY74" fmla="*/ 19050 h 942975"/>
                    <a:gd name="connsiteX75" fmla="*/ 320419 w 892414"/>
                    <a:gd name="connsiteY75" fmla="*/ 0 h 942975"/>
                    <a:gd name="connsiteX76" fmla="*/ 263269 w 892414"/>
                    <a:gd name="connsiteY76" fmla="*/ 9525 h 942975"/>
                    <a:gd name="connsiteX77" fmla="*/ 206119 w 892414"/>
                    <a:gd name="connsiteY77" fmla="*/ 66675 h 942975"/>
                    <a:gd name="connsiteX78" fmla="*/ 201357 w 892414"/>
                    <a:gd name="connsiteY78" fmla="*/ 80962 h 942975"/>
                    <a:gd name="connsiteX79" fmla="*/ 191832 w 892414"/>
                    <a:gd name="connsiteY79" fmla="*/ 100012 h 942975"/>
                    <a:gd name="connsiteX80" fmla="*/ 196594 w 892414"/>
                    <a:gd name="connsiteY80" fmla="*/ 166687 h 942975"/>
                    <a:gd name="connsiteX81" fmla="*/ 206119 w 892414"/>
                    <a:gd name="connsiteY81" fmla="*/ 185737 h 942975"/>
                    <a:gd name="connsiteX82" fmla="*/ 234694 w 892414"/>
                    <a:gd name="connsiteY82" fmla="*/ 223837 h 942975"/>
                    <a:gd name="connsiteX83" fmla="*/ 239457 w 892414"/>
                    <a:gd name="connsiteY83" fmla="*/ 242887 h 942975"/>
                    <a:gd name="connsiteX84" fmla="*/ 244219 w 892414"/>
                    <a:gd name="connsiteY84" fmla="*/ 257175 h 942975"/>
                    <a:gd name="connsiteX85" fmla="*/ 239457 w 892414"/>
                    <a:gd name="connsiteY85" fmla="*/ 280987 h 942975"/>
                    <a:gd name="connsiteX86" fmla="*/ 206119 w 892414"/>
                    <a:gd name="connsiteY86" fmla="*/ 276225 h 942975"/>
                    <a:gd name="connsiteX87" fmla="*/ 177544 w 892414"/>
                    <a:gd name="connsiteY87" fmla="*/ 271462 h 942975"/>
                    <a:gd name="connsiteX88" fmla="*/ 29907 w 892414"/>
                    <a:gd name="connsiteY88" fmla="*/ 280987 h 942975"/>
                    <a:gd name="connsiteX89" fmla="*/ 1332 w 892414"/>
                    <a:gd name="connsiteY89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53819 w 892564"/>
                    <a:gd name="connsiteY52" fmla="*/ 528637 h 942975"/>
                    <a:gd name="connsiteX53" fmla="*/ 839532 w 892564"/>
                    <a:gd name="connsiteY53" fmla="*/ 514350 h 942975"/>
                    <a:gd name="connsiteX54" fmla="*/ 810957 w 892564"/>
                    <a:gd name="connsiteY54" fmla="*/ 509587 h 942975"/>
                    <a:gd name="connsiteX55" fmla="*/ 696657 w 892564"/>
                    <a:gd name="connsiteY55" fmla="*/ 528637 h 942975"/>
                    <a:gd name="connsiteX56" fmla="*/ 668082 w 892564"/>
                    <a:gd name="connsiteY56" fmla="*/ 557212 h 942975"/>
                    <a:gd name="connsiteX57" fmla="*/ 653794 w 892564"/>
                    <a:gd name="connsiteY57" fmla="*/ 566737 h 942975"/>
                    <a:gd name="connsiteX58" fmla="*/ 649032 w 892564"/>
                    <a:gd name="connsiteY58" fmla="*/ 547687 h 942975"/>
                    <a:gd name="connsiteX59" fmla="*/ 644269 w 892564"/>
                    <a:gd name="connsiteY59" fmla="*/ 533400 h 942975"/>
                    <a:gd name="connsiteX60" fmla="*/ 649032 w 892564"/>
                    <a:gd name="connsiteY60" fmla="*/ 471487 h 942975"/>
                    <a:gd name="connsiteX61" fmla="*/ 644269 w 892564"/>
                    <a:gd name="connsiteY61" fmla="*/ 285750 h 942975"/>
                    <a:gd name="connsiteX62" fmla="*/ 634744 w 892564"/>
                    <a:gd name="connsiteY62" fmla="*/ 266700 h 942975"/>
                    <a:gd name="connsiteX63" fmla="*/ 606169 w 892564"/>
                    <a:gd name="connsiteY63" fmla="*/ 261937 h 942975"/>
                    <a:gd name="connsiteX64" fmla="*/ 506157 w 892564"/>
                    <a:gd name="connsiteY64" fmla="*/ 266700 h 942975"/>
                    <a:gd name="connsiteX65" fmla="*/ 434719 w 892564"/>
                    <a:gd name="connsiteY65" fmla="*/ 261937 h 942975"/>
                    <a:gd name="connsiteX66" fmla="*/ 425194 w 892564"/>
                    <a:gd name="connsiteY66" fmla="*/ 228600 h 942975"/>
                    <a:gd name="connsiteX67" fmla="*/ 434719 w 892564"/>
                    <a:gd name="connsiteY67" fmla="*/ 176212 h 942975"/>
                    <a:gd name="connsiteX68" fmla="*/ 444244 w 892564"/>
                    <a:gd name="connsiteY68" fmla="*/ 152400 h 942975"/>
                    <a:gd name="connsiteX69" fmla="*/ 449007 w 892564"/>
                    <a:gd name="connsiteY69" fmla="*/ 138112 h 942975"/>
                    <a:gd name="connsiteX70" fmla="*/ 439482 w 892564"/>
                    <a:gd name="connsiteY70" fmla="*/ 71437 h 942975"/>
                    <a:gd name="connsiteX71" fmla="*/ 429957 w 892564"/>
                    <a:gd name="connsiteY71" fmla="*/ 57150 h 942975"/>
                    <a:gd name="connsiteX72" fmla="*/ 410907 w 892564"/>
                    <a:gd name="connsiteY72" fmla="*/ 33337 h 942975"/>
                    <a:gd name="connsiteX73" fmla="*/ 396619 w 892564"/>
                    <a:gd name="connsiteY73" fmla="*/ 19050 h 942975"/>
                    <a:gd name="connsiteX74" fmla="*/ 320419 w 892564"/>
                    <a:gd name="connsiteY74" fmla="*/ 0 h 942975"/>
                    <a:gd name="connsiteX75" fmla="*/ 263269 w 892564"/>
                    <a:gd name="connsiteY75" fmla="*/ 9525 h 942975"/>
                    <a:gd name="connsiteX76" fmla="*/ 206119 w 892564"/>
                    <a:gd name="connsiteY76" fmla="*/ 66675 h 942975"/>
                    <a:gd name="connsiteX77" fmla="*/ 201357 w 892564"/>
                    <a:gd name="connsiteY77" fmla="*/ 80962 h 942975"/>
                    <a:gd name="connsiteX78" fmla="*/ 191832 w 892564"/>
                    <a:gd name="connsiteY78" fmla="*/ 100012 h 942975"/>
                    <a:gd name="connsiteX79" fmla="*/ 196594 w 892564"/>
                    <a:gd name="connsiteY79" fmla="*/ 166687 h 942975"/>
                    <a:gd name="connsiteX80" fmla="*/ 206119 w 892564"/>
                    <a:gd name="connsiteY80" fmla="*/ 185737 h 942975"/>
                    <a:gd name="connsiteX81" fmla="*/ 234694 w 892564"/>
                    <a:gd name="connsiteY81" fmla="*/ 223837 h 942975"/>
                    <a:gd name="connsiteX82" fmla="*/ 239457 w 892564"/>
                    <a:gd name="connsiteY82" fmla="*/ 242887 h 942975"/>
                    <a:gd name="connsiteX83" fmla="*/ 244219 w 892564"/>
                    <a:gd name="connsiteY83" fmla="*/ 257175 h 942975"/>
                    <a:gd name="connsiteX84" fmla="*/ 239457 w 892564"/>
                    <a:gd name="connsiteY84" fmla="*/ 280987 h 942975"/>
                    <a:gd name="connsiteX85" fmla="*/ 206119 w 892564"/>
                    <a:gd name="connsiteY85" fmla="*/ 276225 h 942975"/>
                    <a:gd name="connsiteX86" fmla="*/ 177544 w 892564"/>
                    <a:gd name="connsiteY86" fmla="*/ 271462 h 942975"/>
                    <a:gd name="connsiteX87" fmla="*/ 29907 w 892564"/>
                    <a:gd name="connsiteY87" fmla="*/ 280987 h 942975"/>
                    <a:gd name="connsiteX88" fmla="*/ 1332 w 892564"/>
                    <a:gd name="connsiteY88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39532 w 892564"/>
                    <a:gd name="connsiteY52" fmla="*/ 514350 h 942975"/>
                    <a:gd name="connsiteX53" fmla="*/ 810957 w 892564"/>
                    <a:gd name="connsiteY53" fmla="*/ 509587 h 942975"/>
                    <a:gd name="connsiteX54" fmla="*/ 696657 w 892564"/>
                    <a:gd name="connsiteY54" fmla="*/ 528637 h 942975"/>
                    <a:gd name="connsiteX55" fmla="*/ 668082 w 892564"/>
                    <a:gd name="connsiteY55" fmla="*/ 557212 h 942975"/>
                    <a:gd name="connsiteX56" fmla="*/ 653794 w 892564"/>
                    <a:gd name="connsiteY56" fmla="*/ 566737 h 942975"/>
                    <a:gd name="connsiteX57" fmla="*/ 649032 w 892564"/>
                    <a:gd name="connsiteY57" fmla="*/ 547687 h 942975"/>
                    <a:gd name="connsiteX58" fmla="*/ 644269 w 892564"/>
                    <a:gd name="connsiteY58" fmla="*/ 533400 h 942975"/>
                    <a:gd name="connsiteX59" fmla="*/ 649032 w 892564"/>
                    <a:gd name="connsiteY59" fmla="*/ 471487 h 942975"/>
                    <a:gd name="connsiteX60" fmla="*/ 644269 w 892564"/>
                    <a:gd name="connsiteY60" fmla="*/ 285750 h 942975"/>
                    <a:gd name="connsiteX61" fmla="*/ 634744 w 892564"/>
                    <a:gd name="connsiteY61" fmla="*/ 266700 h 942975"/>
                    <a:gd name="connsiteX62" fmla="*/ 606169 w 892564"/>
                    <a:gd name="connsiteY62" fmla="*/ 261937 h 942975"/>
                    <a:gd name="connsiteX63" fmla="*/ 506157 w 892564"/>
                    <a:gd name="connsiteY63" fmla="*/ 266700 h 942975"/>
                    <a:gd name="connsiteX64" fmla="*/ 434719 w 892564"/>
                    <a:gd name="connsiteY64" fmla="*/ 261937 h 942975"/>
                    <a:gd name="connsiteX65" fmla="*/ 425194 w 892564"/>
                    <a:gd name="connsiteY65" fmla="*/ 228600 h 942975"/>
                    <a:gd name="connsiteX66" fmla="*/ 434719 w 892564"/>
                    <a:gd name="connsiteY66" fmla="*/ 176212 h 942975"/>
                    <a:gd name="connsiteX67" fmla="*/ 444244 w 892564"/>
                    <a:gd name="connsiteY67" fmla="*/ 152400 h 942975"/>
                    <a:gd name="connsiteX68" fmla="*/ 449007 w 892564"/>
                    <a:gd name="connsiteY68" fmla="*/ 138112 h 942975"/>
                    <a:gd name="connsiteX69" fmla="*/ 439482 w 892564"/>
                    <a:gd name="connsiteY69" fmla="*/ 71437 h 942975"/>
                    <a:gd name="connsiteX70" fmla="*/ 429957 w 892564"/>
                    <a:gd name="connsiteY70" fmla="*/ 57150 h 942975"/>
                    <a:gd name="connsiteX71" fmla="*/ 410907 w 892564"/>
                    <a:gd name="connsiteY71" fmla="*/ 33337 h 942975"/>
                    <a:gd name="connsiteX72" fmla="*/ 396619 w 892564"/>
                    <a:gd name="connsiteY72" fmla="*/ 19050 h 942975"/>
                    <a:gd name="connsiteX73" fmla="*/ 320419 w 892564"/>
                    <a:gd name="connsiteY73" fmla="*/ 0 h 942975"/>
                    <a:gd name="connsiteX74" fmla="*/ 263269 w 892564"/>
                    <a:gd name="connsiteY74" fmla="*/ 9525 h 942975"/>
                    <a:gd name="connsiteX75" fmla="*/ 206119 w 892564"/>
                    <a:gd name="connsiteY75" fmla="*/ 66675 h 942975"/>
                    <a:gd name="connsiteX76" fmla="*/ 201357 w 892564"/>
                    <a:gd name="connsiteY76" fmla="*/ 80962 h 942975"/>
                    <a:gd name="connsiteX77" fmla="*/ 191832 w 892564"/>
                    <a:gd name="connsiteY77" fmla="*/ 100012 h 942975"/>
                    <a:gd name="connsiteX78" fmla="*/ 196594 w 892564"/>
                    <a:gd name="connsiteY78" fmla="*/ 166687 h 942975"/>
                    <a:gd name="connsiteX79" fmla="*/ 206119 w 892564"/>
                    <a:gd name="connsiteY79" fmla="*/ 185737 h 942975"/>
                    <a:gd name="connsiteX80" fmla="*/ 234694 w 892564"/>
                    <a:gd name="connsiteY80" fmla="*/ 223837 h 942975"/>
                    <a:gd name="connsiteX81" fmla="*/ 239457 w 892564"/>
                    <a:gd name="connsiteY81" fmla="*/ 242887 h 942975"/>
                    <a:gd name="connsiteX82" fmla="*/ 244219 w 892564"/>
                    <a:gd name="connsiteY82" fmla="*/ 257175 h 942975"/>
                    <a:gd name="connsiteX83" fmla="*/ 239457 w 892564"/>
                    <a:gd name="connsiteY83" fmla="*/ 280987 h 942975"/>
                    <a:gd name="connsiteX84" fmla="*/ 206119 w 892564"/>
                    <a:gd name="connsiteY84" fmla="*/ 276225 h 942975"/>
                    <a:gd name="connsiteX85" fmla="*/ 177544 w 892564"/>
                    <a:gd name="connsiteY85" fmla="*/ 271462 h 942975"/>
                    <a:gd name="connsiteX86" fmla="*/ 29907 w 892564"/>
                    <a:gd name="connsiteY86" fmla="*/ 280987 h 942975"/>
                    <a:gd name="connsiteX87" fmla="*/ 1332 w 892564"/>
                    <a:gd name="connsiteY87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10957 w 892564"/>
                    <a:gd name="connsiteY52" fmla="*/ 509587 h 942975"/>
                    <a:gd name="connsiteX53" fmla="*/ 696657 w 892564"/>
                    <a:gd name="connsiteY53" fmla="*/ 528637 h 942975"/>
                    <a:gd name="connsiteX54" fmla="*/ 668082 w 892564"/>
                    <a:gd name="connsiteY54" fmla="*/ 557212 h 942975"/>
                    <a:gd name="connsiteX55" fmla="*/ 653794 w 892564"/>
                    <a:gd name="connsiteY55" fmla="*/ 566737 h 942975"/>
                    <a:gd name="connsiteX56" fmla="*/ 649032 w 892564"/>
                    <a:gd name="connsiteY56" fmla="*/ 547687 h 942975"/>
                    <a:gd name="connsiteX57" fmla="*/ 644269 w 892564"/>
                    <a:gd name="connsiteY57" fmla="*/ 533400 h 942975"/>
                    <a:gd name="connsiteX58" fmla="*/ 649032 w 892564"/>
                    <a:gd name="connsiteY58" fmla="*/ 471487 h 942975"/>
                    <a:gd name="connsiteX59" fmla="*/ 644269 w 892564"/>
                    <a:gd name="connsiteY59" fmla="*/ 285750 h 942975"/>
                    <a:gd name="connsiteX60" fmla="*/ 634744 w 892564"/>
                    <a:gd name="connsiteY60" fmla="*/ 266700 h 942975"/>
                    <a:gd name="connsiteX61" fmla="*/ 606169 w 892564"/>
                    <a:gd name="connsiteY61" fmla="*/ 261937 h 942975"/>
                    <a:gd name="connsiteX62" fmla="*/ 506157 w 892564"/>
                    <a:gd name="connsiteY62" fmla="*/ 266700 h 942975"/>
                    <a:gd name="connsiteX63" fmla="*/ 434719 w 892564"/>
                    <a:gd name="connsiteY63" fmla="*/ 261937 h 942975"/>
                    <a:gd name="connsiteX64" fmla="*/ 425194 w 892564"/>
                    <a:gd name="connsiteY64" fmla="*/ 228600 h 942975"/>
                    <a:gd name="connsiteX65" fmla="*/ 434719 w 892564"/>
                    <a:gd name="connsiteY65" fmla="*/ 176212 h 942975"/>
                    <a:gd name="connsiteX66" fmla="*/ 444244 w 892564"/>
                    <a:gd name="connsiteY66" fmla="*/ 152400 h 942975"/>
                    <a:gd name="connsiteX67" fmla="*/ 449007 w 892564"/>
                    <a:gd name="connsiteY67" fmla="*/ 138112 h 942975"/>
                    <a:gd name="connsiteX68" fmla="*/ 439482 w 892564"/>
                    <a:gd name="connsiteY68" fmla="*/ 71437 h 942975"/>
                    <a:gd name="connsiteX69" fmla="*/ 429957 w 892564"/>
                    <a:gd name="connsiteY69" fmla="*/ 57150 h 942975"/>
                    <a:gd name="connsiteX70" fmla="*/ 410907 w 892564"/>
                    <a:gd name="connsiteY70" fmla="*/ 33337 h 942975"/>
                    <a:gd name="connsiteX71" fmla="*/ 396619 w 892564"/>
                    <a:gd name="connsiteY71" fmla="*/ 19050 h 942975"/>
                    <a:gd name="connsiteX72" fmla="*/ 320419 w 892564"/>
                    <a:gd name="connsiteY72" fmla="*/ 0 h 942975"/>
                    <a:gd name="connsiteX73" fmla="*/ 263269 w 892564"/>
                    <a:gd name="connsiteY73" fmla="*/ 9525 h 942975"/>
                    <a:gd name="connsiteX74" fmla="*/ 206119 w 892564"/>
                    <a:gd name="connsiteY74" fmla="*/ 66675 h 942975"/>
                    <a:gd name="connsiteX75" fmla="*/ 201357 w 892564"/>
                    <a:gd name="connsiteY75" fmla="*/ 80962 h 942975"/>
                    <a:gd name="connsiteX76" fmla="*/ 191832 w 892564"/>
                    <a:gd name="connsiteY76" fmla="*/ 100012 h 942975"/>
                    <a:gd name="connsiteX77" fmla="*/ 196594 w 892564"/>
                    <a:gd name="connsiteY77" fmla="*/ 166687 h 942975"/>
                    <a:gd name="connsiteX78" fmla="*/ 206119 w 892564"/>
                    <a:gd name="connsiteY78" fmla="*/ 185737 h 942975"/>
                    <a:gd name="connsiteX79" fmla="*/ 234694 w 892564"/>
                    <a:gd name="connsiteY79" fmla="*/ 223837 h 942975"/>
                    <a:gd name="connsiteX80" fmla="*/ 239457 w 892564"/>
                    <a:gd name="connsiteY80" fmla="*/ 242887 h 942975"/>
                    <a:gd name="connsiteX81" fmla="*/ 244219 w 892564"/>
                    <a:gd name="connsiteY81" fmla="*/ 257175 h 942975"/>
                    <a:gd name="connsiteX82" fmla="*/ 239457 w 892564"/>
                    <a:gd name="connsiteY82" fmla="*/ 280987 h 942975"/>
                    <a:gd name="connsiteX83" fmla="*/ 206119 w 892564"/>
                    <a:gd name="connsiteY83" fmla="*/ 276225 h 942975"/>
                    <a:gd name="connsiteX84" fmla="*/ 177544 w 892564"/>
                    <a:gd name="connsiteY84" fmla="*/ 271462 h 942975"/>
                    <a:gd name="connsiteX85" fmla="*/ 29907 w 892564"/>
                    <a:gd name="connsiteY85" fmla="*/ 280987 h 942975"/>
                    <a:gd name="connsiteX86" fmla="*/ 1332 w 892564"/>
                    <a:gd name="connsiteY86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134682 w 892564"/>
                    <a:gd name="connsiteY24" fmla="*/ 923925 h 942975"/>
                    <a:gd name="connsiteX25" fmla="*/ 253744 w 892564"/>
                    <a:gd name="connsiteY25" fmla="*/ 928687 h 942975"/>
                    <a:gd name="connsiteX26" fmla="*/ 277557 w 892564"/>
                    <a:gd name="connsiteY26" fmla="*/ 923925 h 942975"/>
                    <a:gd name="connsiteX27" fmla="*/ 263269 w 892564"/>
                    <a:gd name="connsiteY27" fmla="*/ 881062 h 942975"/>
                    <a:gd name="connsiteX28" fmla="*/ 253744 w 892564"/>
                    <a:gd name="connsiteY28" fmla="*/ 842962 h 942975"/>
                    <a:gd name="connsiteX29" fmla="*/ 248982 w 892564"/>
                    <a:gd name="connsiteY29" fmla="*/ 828675 h 942975"/>
                    <a:gd name="connsiteX30" fmla="*/ 239457 w 892564"/>
                    <a:gd name="connsiteY30" fmla="*/ 785812 h 942975"/>
                    <a:gd name="connsiteX31" fmla="*/ 248982 w 892564"/>
                    <a:gd name="connsiteY31" fmla="*/ 742950 h 942975"/>
                    <a:gd name="connsiteX32" fmla="*/ 277557 w 892564"/>
                    <a:gd name="connsiteY32" fmla="*/ 728662 h 942975"/>
                    <a:gd name="connsiteX33" fmla="*/ 306132 w 892564"/>
                    <a:gd name="connsiteY33" fmla="*/ 719137 h 942975"/>
                    <a:gd name="connsiteX34" fmla="*/ 358519 w 892564"/>
                    <a:gd name="connsiteY34" fmla="*/ 728662 h 942975"/>
                    <a:gd name="connsiteX35" fmla="*/ 396619 w 892564"/>
                    <a:gd name="connsiteY35" fmla="*/ 776287 h 942975"/>
                    <a:gd name="connsiteX36" fmla="*/ 391857 w 892564"/>
                    <a:gd name="connsiteY36" fmla="*/ 876300 h 942975"/>
                    <a:gd name="connsiteX37" fmla="*/ 391857 w 892564"/>
                    <a:gd name="connsiteY37" fmla="*/ 919162 h 942975"/>
                    <a:gd name="connsiteX38" fmla="*/ 420432 w 892564"/>
                    <a:gd name="connsiteY38" fmla="*/ 928687 h 942975"/>
                    <a:gd name="connsiteX39" fmla="*/ 515682 w 892564"/>
                    <a:gd name="connsiteY39" fmla="*/ 933450 h 942975"/>
                    <a:gd name="connsiteX40" fmla="*/ 558544 w 892564"/>
                    <a:gd name="connsiteY40" fmla="*/ 938212 h 942975"/>
                    <a:gd name="connsiteX41" fmla="*/ 596644 w 892564"/>
                    <a:gd name="connsiteY41" fmla="*/ 942975 h 942975"/>
                    <a:gd name="connsiteX42" fmla="*/ 634744 w 892564"/>
                    <a:gd name="connsiteY42" fmla="*/ 938212 h 942975"/>
                    <a:gd name="connsiteX43" fmla="*/ 653794 w 892564"/>
                    <a:gd name="connsiteY43" fmla="*/ 695325 h 942975"/>
                    <a:gd name="connsiteX44" fmla="*/ 668082 w 892564"/>
                    <a:gd name="connsiteY44" fmla="*/ 700087 h 942975"/>
                    <a:gd name="connsiteX45" fmla="*/ 734757 w 892564"/>
                    <a:gd name="connsiteY45" fmla="*/ 728662 h 942975"/>
                    <a:gd name="connsiteX46" fmla="*/ 844294 w 892564"/>
                    <a:gd name="connsiteY46" fmla="*/ 733425 h 942975"/>
                    <a:gd name="connsiteX47" fmla="*/ 877632 w 892564"/>
                    <a:gd name="connsiteY47" fmla="*/ 681037 h 942975"/>
                    <a:gd name="connsiteX48" fmla="*/ 891919 w 892564"/>
                    <a:gd name="connsiteY48" fmla="*/ 642937 h 942975"/>
                    <a:gd name="connsiteX49" fmla="*/ 887157 w 892564"/>
                    <a:gd name="connsiteY49" fmla="*/ 576262 h 942975"/>
                    <a:gd name="connsiteX50" fmla="*/ 872869 w 892564"/>
                    <a:gd name="connsiteY50" fmla="*/ 561975 h 942975"/>
                    <a:gd name="connsiteX51" fmla="*/ 810957 w 892564"/>
                    <a:gd name="connsiteY51" fmla="*/ 509587 h 942975"/>
                    <a:gd name="connsiteX52" fmla="*/ 696657 w 892564"/>
                    <a:gd name="connsiteY52" fmla="*/ 528637 h 942975"/>
                    <a:gd name="connsiteX53" fmla="*/ 668082 w 892564"/>
                    <a:gd name="connsiteY53" fmla="*/ 557212 h 942975"/>
                    <a:gd name="connsiteX54" fmla="*/ 653794 w 892564"/>
                    <a:gd name="connsiteY54" fmla="*/ 566737 h 942975"/>
                    <a:gd name="connsiteX55" fmla="*/ 649032 w 892564"/>
                    <a:gd name="connsiteY55" fmla="*/ 547687 h 942975"/>
                    <a:gd name="connsiteX56" fmla="*/ 644269 w 892564"/>
                    <a:gd name="connsiteY56" fmla="*/ 533400 h 942975"/>
                    <a:gd name="connsiteX57" fmla="*/ 649032 w 892564"/>
                    <a:gd name="connsiteY57" fmla="*/ 471487 h 942975"/>
                    <a:gd name="connsiteX58" fmla="*/ 644269 w 892564"/>
                    <a:gd name="connsiteY58" fmla="*/ 285750 h 942975"/>
                    <a:gd name="connsiteX59" fmla="*/ 634744 w 892564"/>
                    <a:gd name="connsiteY59" fmla="*/ 266700 h 942975"/>
                    <a:gd name="connsiteX60" fmla="*/ 606169 w 892564"/>
                    <a:gd name="connsiteY60" fmla="*/ 261937 h 942975"/>
                    <a:gd name="connsiteX61" fmla="*/ 506157 w 892564"/>
                    <a:gd name="connsiteY61" fmla="*/ 266700 h 942975"/>
                    <a:gd name="connsiteX62" fmla="*/ 434719 w 892564"/>
                    <a:gd name="connsiteY62" fmla="*/ 261937 h 942975"/>
                    <a:gd name="connsiteX63" fmla="*/ 425194 w 892564"/>
                    <a:gd name="connsiteY63" fmla="*/ 228600 h 942975"/>
                    <a:gd name="connsiteX64" fmla="*/ 434719 w 892564"/>
                    <a:gd name="connsiteY64" fmla="*/ 176212 h 942975"/>
                    <a:gd name="connsiteX65" fmla="*/ 444244 w 892564"/>
                    <a:gd name="connsiteY65" fmla="*/ 152400 h 942975"/>
                    <a:gd name="connsiteX66" fmla="*/ 449007 w 892564"/>
                    <a:gd name="connsiteY66" fmla="*/ 138112 h 942975"/>
                    <a:gd name="connsiteX67" fmla="*/ 439482 w 892564"/>
                    <a:gd name="connsiteY67" fmla="*/ 71437 h 942975"/>
                    <a:gd name="connsiteX68" fmla="*/ 429957 w 892564"/>
                    <a:gd name="connsiteY68" fmla="*/ 57150 h 942975"/>
                    <a:gd name="connsiteX69" fmla="*/ 410907 w 892564"/>
                    <a:gd name="connsiteY69" fmla="*/ 33337 h 942975"/>
                    <a:gd name="connsiteX70" fmla="*/ 396619 w 892564"/>
                    <a:gd name="connsiteY70" fmla="*/ 19050 h 942975"/>
                    <a:gd name="connsiteX71" fmla="*/ 320419 w 892564"/>
                    <a:gd name="connsiteY71" fmla="*/ 0 h 942975"/>
                    <a:gd name="connsiteX72" fmla="*/ 263269 w 892564"/>
                    <a:gd name="connsiteY72" fmla="*/ 9525 h 942975"/>
                    <a:gd name="connsiteX73" fmla="*/ 206119 w 892564"/>
                    <a:gd name="connsiteY73" fmla="*/ 66675 h 942975"/>
                    <a:gd name="connsiteX74" fmla="*/ 201357 w 892564"/>
                    <a:gd name="connsiteY74" fmla="*/ 80962 h 942975"/>
                    <a:gd name="connsiteX75" fmla="*/ 191832 w 892564"/>
                    <a:gd name="connsiteY75" fmla="*/ 100012 h 942975"/>
                    <a:gd name="connsiteX76" fmla="*/ 196594 w 892564"/>
                    <a:gd name="connsiteY76" fmla="*/ 166687 h 942975"/>
                    <a:gd name="connsiteX77" fmla="*/ 206119 w 892564"/>
                    <a:gd name="connsiteY77" fmla="*/ 185737 h 942975"/>
                    <a:gd name="connsiteX78" fmla="*/ 234694 w 892564"/>
                    <a:gd name="connsiteY78" fmla="*/ 223837 h 942975"/>
                    <a:gd name="connsiteX79" fmla="*/ 239457 w 892564"/>
                    <a:gd name="connsiteY79" fmla="*/ 242887 h 942975"/>
                    <a:gd name="connsiteX80" fmla="*/ 244219 w 892564"/>
                    <a:gd name="connsiteY80" fmla="*/ 257175 h 942975"/>
                    <a:gd name="connsiteX81" fmla="*/ 239457 w 892564"/>
                    <a:gd name="connsiteY81" fmla="*/ 280987 h 942975"/>
                    <a:gd name="connsiteX82" fmla="*/ 206119 w 892564"/>
                    <a:gd name="connsiteY82" fmla="*/ 276225 h 942975"/>
                    <a:gd name="connsiteX83" fmla="*/ 177544 w 892564"/>
                    <a:gd name="connsiteY83" fmla="*/ 271462 h 942975"/>
                    <a:gd name="connsiteX84" fmla="*/ 29907 w 892564"/>
                    <a:gd name="connsiteY84" fmla="*/ 280987 h 942975"/>
                    <a:gd name="connsiteX85" fmla="*/ 1332 w 892564"/>
                    <a:gd name="connsiteY85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253744 w 892564"/>
                    <a:gd name="connsiteY24" fmla="*/ 928687 h 942975"/>
                    <a:gd name="connsiteX25" fmla="*/ 277557 w 892564"/>
                    <a:gd name="connsiteY25" fmla="*/ 923925 h 942975"/>
                    <a:gd name="connsiteX26" fmla="*/ 263269 w 892564"/>
                    <a:gd name="connsiteY26" fmla="*/ 881062 h 942975"/>
                    <a:gd name="connsiteX27" fmla="*/ 253744 w 892564"/>
                    <a:gd name="connsiteY27" fmla="*/ 842962 h 942975"/>
                    <a:gd name="connsiteX28" fmla="*/ 248982 w 892564"/>
                    <a:gd name="connsiteY28" fmla="*/ 828675 h 942975"/>
                    <a:gd name="connsiteX29" fmla="*/ 239457 w 892564"/>
                    <a:gd name="connsiteY29" fmla="*/ 785812 h 942975"/>
                    <a:gd name="connsiteX30" fmla="*/ 248982 w 892564"/>
                    <a:gd name="connsiteY30" fmla="*/ 742950 h 942975"/>
                    <a:gd name="connsiteX31" fmla="*/ 277557 w 892564"/>
                    <a:gd name="connsiteY31" fmla="*/ 728662 h 942975"/>
                    <a:gd name="connsiteX32" fmla="*/ 306132 w 892564"/>
                    <a:gd name="connsiteY32" fmla="*/ 719137 h 942975"/>
                    <a:gd name="connsiteX33" fmla="*/ 358519 w 892564"/>
                    <a:gd name="connsiteY33" fmla="*/ 728662 h 942975"/>
                    <a:gd name="connsiteX34" fmla="*/ 396619 w 892564"/>
                    <a:gd name="connsiteY34" fmla="*/ 776287 h 942975"/>
                    <a:gd name="connsiteX35" fmla="*/ 391857 w 892564"/>
                    <a:gd name="connsiteY35" fmla="*/ 876300 h 942975"/>
                    <a:gd name="connsiteX36" fmla="*/ 391857 w 892564"/>
                    <a:gd name="connsiteY36" fmla="*/ 919162 h 942975"/>
                    <a:gd name="connsiteX37" fmla="*/ 420432 w 892564"/>
                    <a:gd name="connsiteY37" fmla="*/ 928687 h 942975"/>
                    <a:gd name="connsiteX38" fmla="*/ 515682 w 892564"/>
                    <a:gd name="connsiteY38" fmla="*/ 933450 h 942975"/>
                    <a:gd name="connsiteX39" fmla="*/ 558544 w 892564"/>
                    <a:gd name="connsiteY39" fmla="*/ 938212 h 942975"/>
                    <a:gd name="connsiteX40" fmla="*/ 596644 w 892564"/>
                    <a:gd name="connsiteY40" fmla="*/ 942975 h 942975"/>
                    <a:gd name="connsiteX41" fmla="*/ 634744 w 892564"/>
                    <a:gd name="connsiteY41" fmla="*/ 938212 h 942975"/>
                    <a:gd name="connsiteX42" fmla="*/ 653794 w 892564"/>
                    <a:gd name="connsiteY42" fmla="*/ 695325 h 942975"/>
                    <a:gd name="connsiteX43" fmla="*/ 668082 w 892564"/>
                    <a:gd name="connsiteY43" fmla="*/ 700087 h 942975"/>
                    <a:gd name="connsiteX44" fmla="*/ 734757 w 892564"/>
                    <a:gd name="connsiteY44" fmla="*/ 728662 h 942975"/>
                    <a:gd name="connsiteX45" fmla="*/ 844294 w 892564"/>
                    <a:gd name="connsiteY45" fmla="*/ 733425 h 942975"/>
                    <a:gd name="connsiteX46" fmla="*/ 877632 w 892564"/>
                    <a:gd name="connsiteY46" fmla="*/ 681037 h 942975"/>
                    <a:gd name="connsiteX47" fmla="*/ 891919 w 892564"/>
                    <a:gd name="connsiteY47" fmla="*/ 642937 h 942975"/>
                    <a:gd name="connsiteX48" fmla="*/ 887157 w 892564"/>
                    <a:gd name="connsiteY48" fmla="*/ 576262 h 942975"/>
                    <a:gd name="connsiteX49" fmla="*/ 872869 w 892564"/>
                    <a:gd name="connsiteY49" fmla="*/ 561975 h 942975"/>
                    <a:gd name="connsiteX50" fmla="*/ 810957 w 892564"/>
                    <a:gd name="connsiteY50" fmla="*/ 509587 h 942975"/>
                    <a:gd name="connsiteX51" fmla="*/ 696657 w 892564"/>
                    <a:gd name="connsiteY51" fmla="*/ 528637 h 942975"/>
                    <a:gd name="connsiteX52" fmla="*/ 668082 w 892564"/>
                    <a:gd name="connsiteY52" fmla="*/ 557212 h 942975"/>
                    <a:gd name="connsiteX53" fmla="*/ 653794 w 892564"/>
                    <a:gd name="connsiteY53" fmla="*/ 566737 h 942975"/>
                    <a:gd name="connsiteX54" fmla="*/ 649032 w 892564"/>
                    <a:gd name="connsiteY54" fmla="*/ 547687 h 942975"/>
                    <a:gd name="connsiteX55" fmla="*/ 644269 w 892564"/>
                    <a:gd name="connsiteY55" fmla="*/ 533400 h 942975"/>
                    <a:gd name="connsiteX56" fmla="*/ 649032 w 892564"/>
                    <a:gd name="connsiteY56" fmla="*/ 471487 h 942975"/>
                    <a:gd name="connsiteX57" fmla="*/ 644269 w 892564"/>
                    <a:gd name="connsiteY57" fmla="*/ 285750 h 942975"/>
                    <a:gd name="connsiteX58" fmla="*/ 634744 w 892564"/>
                    <a:gd name="connsiteY58" fmla="*/ 266700 h 942975"/>
                    <a:gd name="connsiteX59" fmla="*/ 606169 w 892564"/>
                    <a:gd name="connsiteY59" fmla="*/ 261937 h 942975"/>
                    <a:gd name="connsiteX60" fmla="*/ 506157 w 892564"/>
                    <a:gd name="connsiteY60" fmla="*/ 266700 h 942975"/>
                    <a:gd name="connsiteX61" fmla="*/ 434719 w 892564"/>
                    <a:gd name="connsiteY61" fmla="*/ 261937 h 942975"/>
                    <a:gd name="connsiteX62" fmla="*/ 425194 w 892564"/>
                    <a:gd name="connsiteY62" fmla="*/ 228600 h 942975"/>
                    <a:gd name="connsiteX63" fmla="*/ 434719 w 892564"/>
                    <a:gd name="connsiteY63" fmla="*/ 176212 h 942975"/>
                    <a:gd name="connsiteX64" fmla="*/ 444244 w 892564"/>
                    <a:gd name="connsiteY64" fmla="*/ 152400 h 942975"/>
                    <a:gd name="connsiteX65" fmla="*/ 449007 w 892564"/>
                    <a:gd name="connsiteY65" fmla="*/ 138112 h 942975"/>
                    <a:gd name="connsiteX66" fmla="*/ 439482 w 892564"/>
                    <a:gd name="connsiteY66" fmla="*/ 71437 h 942975"/>
                    <a:gd name="connsiteX67" fmla="*/ 429957 w 892564"/>
                    <a:gd name="connsiteY67" fmla="*/ 57150 h 942975"/>
                    <a:gd name="connsiteX68" fmla="*/ 410907 w 892564"/>
                    <a:gd name="connsiteY68" fmla="*/ 33337 h 942975"/>
                    <a:gd name="connsiteX69" fmla="*/ 396619 w 892564"/>
                    <a:gd name="connsiteY69" fmla="*/ 19050 h 942975"/>
                    <a:gd name="connsiteX70" fmla="*/ 320419 w 892564"/>
                    <a:gd name="connsiteY70" fmla="*/ 0 h 942975"/>
                    <a:gd name="connsiteX71" fmla="*/ 263269 w 892564"/>
                    <a:gd name="connsiteY71" fmla="*/ 9525 h 942975"/>
                    <a:gd name="connsiteX72" fmla="*/ 206119 w 892564"/>
                    <a:gd name="connsiteY72" fmla="*/ 66675 h 942975"/>
                    <a:gd name="connsiteX73" fmla="*/ 201357 w 892564"/>
                    <a:gd name="connsiteY73" fmla="*/ 80962 h 942975"/>
                    <a:gd name="connsiteX74" fmla="*/ 191832 w 892564"/>
                    <a:gd name="connsiteY74" fmla="*/ 100012 h 942975"/>
                    <a:gd name="connsiteX75" fmla="*/ 196594 w 892564"/>
                    <a:gd name="connsiteY75" fmla="*/ 166687 h 942975"/>
                    <a:gd name="connsiteX76" fmla="*/ 206119 w 892564"/>
                    <a:gd name="connsiteY76" fmla="*/ 185737 h 942975"/>
                    <a:gd name="connsiteX77" fmla="*/ 234694 w 892564"/>
                    <a:gd name="connsiteY77" fmla="*/ 223837 h 942975"/>
                    <a:gd name="connsiteX78" fmla="*/ 239457 w 892564"/>
                    <a:gd name="connsiteY78" fmla="*/ 242887 h 942975"/>
                    <a:gd name="connsiteX79" fmla="*/ 244219 w 892564"/>
                    <a:gd name="connsiteY79" fmla="*/ 257175 h 942975"/>
                    <a:gd name="connsiteX80" fmla="*/ 239457 w 892564"/>
                    <a:gd name="connsiteY80" fmla="*/ 280987 h 942975"/>
                    <a:gd name="connsiteX81" fmla="*/ 206119 w 892564"/>
                    <a:gd name="connsiteY81" fmla="*/ 276225 h 942975"/>
                    <a:gd name="connsiteX82" fmla="*/ 177544 w 892564"/>
                    <a:gd name="connsiteY82" fmla="*/ 271462 h 942975"/>
                    <a:gd name="connsiteX83" fmla="*/ 29907 w 892564"/>
                    <a:gd name="connsiteY83" fmla="*/ 280987 h 942975"/>
                    <a:gd name="connsiteX84" fmla="*/ 1332 w 892564"/>
                    <a:gd name="connsiteY84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15682 w 892564"/>
                    <a:gd name="connsiteY37" fmla="*/ 933450 h 942975"/>
                    <a:gd name="connsiteX38" fmla="*/ 558544 w 892564"/>
                    <a:gd name="connsiteY38" fmla="*/ 938212 h 942975"/>
                    <a:gd name="connsiteX39" fmla="*/ 596644 w 892564"/>
                    <a:gd name="connsiteY39" fmla="*/ 942975 h 942975"/>
                    <a:gd name="connsiteX40" fmla="*/ 634744 w 892564"/>
                    <a:gd name="connsiteY40" fmla="*/ 938212 h 942975"/>
                    <a:gd name="connsiteX41" fmla="*/ 653794 w 892564"/>
                    <a:gd name="connsiteY41" fmla="*/ 695325 h 942975"/>
                    <a:gd name="connsiteX42" fmla="*/ 668082 w 892564"/>
                    <a:gd name="connsiteY42" fmla="*/ 700087 h 942975"/>
                    <a:gd name="connsiteX43" fmla="*/ 734757 w 892564"/>
                    <a:gd name="connsiteY43" fmla="*/ 728662 h 942975"/>
                    <a:gd name="connsiteX44" fmla="*/ 844294 w 892564"/>
                    <a:gd name="connsiteY44" fmla="*/ 733425 h 942975"/>
                    <a:gd name="connsiteX45" fmla="*/ 877632 w 892564"/>
                    <a:gd name="connsiteY45" fmla="*/ 681037 h 942975"/>
                    <a:gd name="connsiteX46" fmla="*/ 891919 w 892564"/>
                    <a:gd name="connsiteY46" fmla="*/ 642937 h 942975"/>
                    <a:gd name="connsiteX47" fmla="*/ 887157 w 892564"/>
                    <a:gd name="connsiteY47" fmla="*/ 576262 h 942975"/>
                    <a:gd name="connsiteX48" fmla="*/ 872869 w 892564"/>
                    <a:gd name="connsiteY48" fmla="*/ 561975 h 942975"/>
                    <a:gd name="connsiteX49" fmla="*/ 810957 w 892564"/>
                    <a:gd name="connsiteY49" fmla="*/ 509587 h 942975"/>
                    <a:gd name="connsiteX50" fmla="*/ 696657 w 892564"/>
                    <a:gd name="connsiteY50" fmla="*/ 528637 h 942975"/>
                    <a:gd name="connsiteX51" fmla="*/ 668082 w 892564"/>
                    <a:gd name="connsiteY51" fmla="*/ 557212 h 942975"/>
                    <a:gd name="connsiteX52" fmla="*/ 653794 w 892564"/>
                    <a:gd name="connsiteY52" fmla="*/ 566737 h 942975"/>
                    <a:gd name="connsiteX53" fmla="*/ 649032 w 892564"/>
                    <a:gd name="connsiteY53" fmla="*/ 547687 h 942975"/>
                    <a:gd name="connsiteX54" fmla="*/ 644269 w 892564"/>
                    <a:gd name="connsiteY54" fmla="*/ 533400 h 942975"/>
                    <a:gd name="connsiteX55" fmla="*/ 649032 w 892564"/>
                    <a:gd name="connsiteY55" fmla="*/ 471487 h 942975"/>
                    <a:gd name="connsiteX56" fmla="*/ 644269 w 892564"/>
                    <a:gd name="connsiteY56" fmla="*/ 285750 h 942975"/>
                    <a:gd name="connsiteX57" fmla="*/ 634744 w 892564"/>
                    <a:gd name="connsiteY57" fmla="*/ 266700 h 942975"/>
                    <a:gd name="connsiteX58" fmla="*/ 606169 w 892564"/>
                    <a:gd name="connsiteY58" fmla="*/ 261937 h 942975"/>
                    <a:gd name="connsiteX59" fmla="*/ 506157 w 892564"/>
                    <a:gd name="connsiteY59" fmla="*/ 266700 h 942975"/>
                    <a:gd name="connsiteX60" fmla="*/ 434719 w 892564"/>
                    <a:gd name="connsiteY60" fmla="*/ 261937 h 942975"/>
                    <a:gd name="connsiteX61" fmla="*/ 425194 w 892564"/>
                    <a:gd name="connsiteY61" fmla="*/ 228600 h 942975"/>
                    <a:gd name="connsiteX62" fmla="*/ 434719 w 892564"/>
                    <a:gd name="connsiteY62" fmla="*/ 176212 h 942975"/>
                    <a:gd name="connsiteX63" fmla="*/ 444244 w 892564"/>
                    <a:gd name="connsiteY63" fmla="*/ 152400 h 942975"/>
                    <a:gd name="connsiteX64" fmla="*/ 449007 w 892564"/>
                    <a:gd name="connsiteY64" fmla="*/ 138112 h 942975"/>
                    <a:gd name="connsiteX65" fmla="*/ 439482 w 892564"/>
                    <a:gd name="connsiteY65" fmla="*/ 71437 h 942975"/>
                    <a:gd name="connsiteX66" fmla="*/ 429957 w 892564"/>
                    <a:gd name="connsiteY66" fmla="*/ 57150 h 942975"/>
                    <a:gd name="connsiteX67" fmla="*/ 410907 w 892564"/>
                    <a:gd name="connsiteY67" fmla="*/ 33337 h 942975"/>
                    <a:gd name="connsiteX68" fmla="*/ 396619 w 892564"/>
                    <a:gd name="connsiteY68" fmla="*/ 19050 h 942975"/>
                    <a:gd name="connsiteX69" fmla="*/ 320419 w 892564"/>
                    <a:gd name="connsiteY69" fmla="*/ 0 h 942975"/>
                    <a:gd name="connsiteX70" fmla="*/ 263269 w 892564"/>
                    <a:gd name="connsiteY70" fmla="*/ 9525 h 942975"/>
                    <a:gd name="connsiteX71" fmla="*/ 206119 w 892564"/>
                    <a:gd name="connsiteY71" fmla="*/ 66675 h 942975"/>
                    <a:gd name="connsiteX72" fmla="*/ 201357 w 892564"/>
                    <a:gd name="connsiteY72" fmla="*/ 80962 h 942975"/>
                    <a:gd name="connsiteX73" fmla="*/ 191832 w 892564"/>
                    <a:gd name="connsiteY73" fmla="*/ 100012 h 942975"/>
                    <a:gd name="connsiteX74" fmla="*/ 196594 w 892564"/>
                    <a:gd name="connsiteY74" fmla="*/ 166687 h 942975"/>
                    <a:gd name="connsiteX75" fmla="*/ 206119 w 892564"/>
                    <a:gd name="connsiteY75" fmla="*/ 185737 h 942975"/>
                    <a:gd name="connsiteX76" fmla="*/ 234694 w 892564"/>
                    <a:gd name="connsiteY76" fmla="*/ 223837 h 942975"/>
                    <a:gd name="connsiteX77" fmla="*/ 239457 w 892564"/>
                    <a:gd name="connsiteY77" fmla="*/ 242887 h 942975"/>
                    <a:gd name="connsiteX78" fmla="*/ 244219 w 892564"/>
                    <a:gd name="connsiteY78" fmla="*/ 257175 h 942975"/>
                    <a:gd name="connsiteX79" fmla="*/ 239457 w 892564"/>
                    <a:gd name="connsiteY79" fmla="*/ 280987 h 942975"/>
                    <a:gd name="connsiteX80" fmla="*/ 206119 w 892564"/>
                    <a:gd name="connsiteY80" fmla="*/ 276225 h 942975"/>
                    <a:gd name="connsiteX81" fmla="*/ 177544 w 892564"/>
                    <a:gd name="connsiteY81" fmla="*/ 271462 h 942975"/>
                    <a:gd name="connsiteX82" fmla="*/ 29907 w 892564"/>
                    <a:gd name="connsiteY82" fmla="*/ 280987 h 942975"/>
                    <a:gd name="connsiteX83" fmla="*/ 1332 w 892564"/>
                    <a:gd name="connsiteY83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177544 w 892564"/>
                    <a:gd name="connsiteY80" fmla="*/ 271462 h 942975"/>
                    <a:gd name="connsiteX81" fmla="*/ 29907 w 892564"/>
                    <a:gd name="connsiteY81" fmla="*/ 280987 h 942975"/>
                    <a:gd name="connsiteX82" fmla="*/ 1332 w 892564"/>
                    <a:gd name="connsiteY82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29907 w 892564"/>
                    <a:gd name="connsiteY80" fmla="*/ 280987 h 942975"/>
                    <a:gd name="connsiteX81" fmla="*/ 1332 w 892564"/>
                    <a:gd name="connsiteY81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53737 w 892507"/>
                    <a:gd name="connsiteY50" fmla="*/ 566737 h 942975"/>
                    <a:gd name="connsiteX51" fmla="*/ 648975 w 892507"/>
                    <a:gd name="connsiteY51" fmla="*/ 547687 h 942975"/>
                    <a:gd name="connsiteX52" fmla="*/ 644212 w 892507"/>
                    <a:gd name="connsiteY52" fmla="*/ 533400 h 942975"/>
                    <a:gd name="connsiteX53" fmla="*/ 648975 w 892507"/>
                    <a:gd name="connsiteY53" fmla="*/ 471487 h 942975"/>
                    <a:gd name="connsiteX54" fmla="*/ 644212 w 892507"/>
                    <a:gd name="connsiteY54" fmla="*/ 285750 h 942975"/>
                    <a:gd name="connsiteX55" fmla="*/ 634687 w 892507"/>
                    <a:gd name="connsiteY55" fmla="*/ 266700 h 942975"/>
                    <a:gd name="connsiteX56" fmla="*/ 606112 w 892507"/>
                    <a:gd name="connsiteY56" fmla="*/ 261937 h 942975"/>
                    <a:gd name="connsiteX57" fmla="*/ 506100 w 892507"/>
                    <a:gd name="connsiteY57" fmla="*/ 266700 h 942975"/>
                    <a:gd name="connsiteX58" fmla="*/ 434662 w 892507"/>
                    <a:gd name="connsiteY58" fmla="*/ 261937 h 942975"/>
                    <a:gd name="connsiteX59" fmla="*/ 425137 w 892507"/>
                    <a:gd name="connsiteY59" fmla="*/ 228600 h 942975"/>
                    <a:gd name="connsiteX60" fmla="*/ 434662 w 892507"/>
                    <a:gd name="connsiteY60" fmla="*/ 176212 h 942975"/>
                    <a:gd name="connsiteX61" fmla="*/ 444187 w 892507"/>
                    <a:gd name="connsiteY61" fmla="*/ 152400 h 942975"/>
                    <a:gd name="connsiteX62" fmla="*/ 448950 w 892507"/>
                    <a:gd name="connsiteY62" fmla="*/ 138112 h 942975"/>
                    <a:gd name="connsiteX63" fmla="*/ 439425 w 892507"/>
                    <a:gd name="connsiteY63" fmla="*/ 71437 h 942975"/>
                    <a:gd name="connsiteX64" fmla="*/ 429900 w 892507"/>
                    <a:gd name="connsiteY64" fmla="*/ 57150 h 942975"/>
                    <a:gd name="connsiteX65" fmla="*/ 410850 w 892507"/>
                    <a:gd name="connsiteY65" fmla="*/ 33337 h 942975"/>
                    <a:gd name="connsiteX66" fmla="*/ 396562 w 892507"/>
                    <a:gd name="connsiteY66" fmla="*/ 19050 h 942975"/>
                    <a:gd name="connsiteX67" fmla="*/ 320362 w 892507"/>
                    <a:gd name="connsiteY67" fmla="*/ 0 h 942975"/>
                    <a:gd name="connsiteX68" fmla="*/ 263212 w 892507"/>
                    <a:gd name="connsiteY68" fmla="*/ 9525 h 942975"/>
                    <a:gd name="connsiteX69" fmla="*/ 206062 w 892507"/>
                    <a:gd name="connsiteY69" fmla="*/ 66675 h 942975"/>
                    <a:gd name="connsiteX70" fmla="*/ 201300 w 892507"/>
                    <a:gd name="connsiteY70" fmla="*/ 80962 h 942975"/>
                    <a:gd name="connsiteX71" fmla="*/ 191775 w 892507"/>
                    <a:gd name="connsiteY71" fmla="*/ 100012 h 942975"/>
                    <a:gd name="connsiteX72" fmla="*/ 196537 w 892507"/>
                    <a:gd name="connsiteY72" fmla="*/ 166687 h 942975"/>
                    <a:gd name="connsiteX73" fmla="*/ 206062 w 892507"/>
                    <a:gd name="connsiteY73" fmla="*/ 185737 h 942975"/>
                    <a:gd name="connsiteX74" fmla="*/ 234637 w 892507"/>
                    <a:gd name="connsiteY74" fmla="*/ 223837 h 942975"/>
                    <a:gd name="connsiteX75" fmla="*/ 239400 w 892507"/>
                    <a:gd name="connsiteY75" fmla="*/ 242887 h 942975"/>
                    <a:gd name="connsiteX76" fmla="*/ 244162 w 892507"/>
                    <a:gd name="connsiteY76" fmla="*/ 257175 h 942975"/>
                    <a:gd name="connsiteX77" fmla="*/ 239400 w 892507"/>
                    <a:gd name="connsiteY77" fmla="*/ 280987 h 942975"/>
                    <a:gd name="connsiteX78" fmla="*/ 206062 w 892507"/>
                    <a:gd name="connsiteY78" fmla="*/ 276225 h 942975"/>
                    <a:gd name="connsiteX79" fmla="*/ 29850 w 892507"/>
                    <a:gd name="connsiteY79" fmla="*/ 280987 h 942975"/>
                    <a:gd name="connsiteX80" fmla="*/ 1275 w 892507"/>
                    <a:gd name="connsiteY80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48975 w 892507"/>
                    <a:gd name="connsiteY50" fmla="*/ 547687 h 942975"/>
                    <a:gd name="connsiteX51" fmla="*/ 644212 w 892507"/>
                    <a:gd name="connsiteY51" fmla="*/ 533400 h 942975"/>
                    <a:gd name="connsiteX52" fmla="*/ 648975 w 892507"/>
                    <a:gd name="connsiteY52" fmla="*/ 471487 h 942975"/>
                    <a:gd name="connsiteX53" fmla="*/ 644212 w 892507"/>
                    <a:gd name="connsiteY53" fmla="*/ 285750 h 942975"/>
                    <a:gd name="connsiteX54" fmla="*/ 634687 w 892507"/>
                    <a:gd name="connsiteY54" fmla="*/ 266700 h 942975"/>
                    <a:gd name="connsiteX55" fmla="*/ 606112 w 892507"/>
                    <a:gd name="connsiteY55" fmla="*/ 261937 h 942975"/>
                    <a:gd name="connsiteX56" fmla="*/ 506100 w 892507"/>
                    <a:gd name="connsiteY56" fmla="*/ 266700 h 942975"/>
                    <a:gd name="connsiteX57" fmla="*/ 434662 w 892507"/>
                    <a:gd name="connsiteY57" fmla="*/ 261937 h 942975"/>
                    <a:gd name="connsiteX58" fmla="*/ 425137 w 892507"/>
                    <a:gd name="connsiteY58" fmla="*/ 228600 h 942975"/>
                    <a:gd name="connsiteX59" fmla="*/ 434662 w 892507"/>
                    <a:gd name="connsiteY59" fmla="*/ 176212 h 942975"/>
                    <a:gd name="connsiteX60" fmla="*/ 444187 w 892507"/>
                    <a:gd name="connsiteY60" fmla="*/ 152400 h 942975"/>
                    <a:gd name="connsiteX61" fmla="*/ 448950 w 892507"/>
                    <a:gd name="connsiteY61" fmla="*/ 138112 h 942975"/>
                    <a:gd name="connsiteX62" fmla="*/ 439425 w 892507"/>
                    <a:gd name="connsiteY62" fmla="*/ 71437 h 942975"/>
                    <a:gd name="connsiteX63" fmla="*/ 429900 w 892507"/>
                    <a:gd name="connsiteY63" fmla="*/ 57150 h 942975"/>
                    <a:gd name="connsiteX64" fmla="*/ 410850 w 892507"/>
                    <a:gd name="connsiteY64" fmla="*/ 33337 h 942975"/>
                    <a:gd name="connsiteX65" fmla="*/ 396562 w 892507"/>
                    <a:gd name="connsiteY65" fmla="*/ 19050 h 942975"/>
                    <a:gd name="connsiteX66" fmla="*/ 320362 w 892507"/>
                    <a:gd name="connsiteY66" fmla="*/ 0 h 942975"/>
                    <a:gd name="connsiteX67" fmla="*/ 263212 w 892507"/>
                    <a:gd name="connsiteY67" fmla="*/ 9525 h 942975"/>
                    <a:gd name="connsiteX68" fmla="*/ 206062 w 892507"/>
                    <a:gd name="connsiteY68" fmla="*/ 66675 h 942975"/>
                    <a:gd name="connsiteX69" fmla="*/ 201300 w 892507"/>
                    <a:gd name="connsiteY69" fmla="*/ 80962 h 942975"/>
                    <a:gd name="connsiteX70" fmla="*/ 191775 w 892507"/>
                    <a:gd name="connsiteY70" fmla="*/ 100012 h 942975"/>
                    <a:gd name="connsiteX71" fmla="*/ 196537 w 892507"/>
                    <a:gd name="connsiteY71" fmla="*/ 166687 h 942975"/>
                    <a:gd name="connsiteX72" fmla="*/ 206062 w 892507"/>
                    <a:gd name="connsiteY72" fmla="*/ 185737 h 942975"/>
                    <a:gd name="connsiteX73" fmla="*/ 234637 w 892507"/>
                    <a:gd name="connsiteY73" fmla="*/ 223837 h 942975"/>
                    <a:gd name="connsiteX74" fmla="*/ 239400 w 892507"/>
                    <a:gd name="connsiteY74" fmla="*/ 242887 h 942975"/>
                    <a:gd name="connsiteX75" fmla="*/ 244162 w 892507"/>
                    <a:gd name="connsiteY75" fmla="*/ 257175 h 942975"/>
                    <a:gd name="connsiteX76" fmla="*/ 239400 w 892507"/>
                    <a:gd name="connsiteY76" fmla="*/ 280987 h 942975"/>
                    <a:gd name="connsiteX77" fmla="*/ 206062 w 892507"/>
                    <a:gd name="connsiteY77" fmla="*/ 276225 h 942975"/>
                    <a:gd name="connsiteX78" fmla="*/ 29850 w 892507"/>
                    <a:gd name="connsiteY78" fmla="*/ 280987 h 942975"/>
                    <a:gd name="connsiteX79" fmla="*/ 1275 w 892507"/>
                    <a:gd name="connsiteY79" fmla="*/ 295275 h 942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892507" h="942975">
                      <a:moveTo>
                        <a:pt x="1275" y="295275"/>
                      </a:moveTo>
                      <a:cubicBezTo>
                        <a:pt x="-2694" y="324644"/>
                        <a:pt x="3656" y="419894"/>
                        <a:pt x="6037" y="457200"/>
                      </a:cubicBezTo>
                      <a:cubicBezTo>
                        <a:pt x="8418" y="494506"/>
                        <a:pt x="11593" y="504825"/>
                        <a:pt x="15562" y="519112"/>
                      </a:cubicBezTo>
                      <a:cubicBezTo>
                        <a:pt x="19531" y="533399"/>
                        <a:pt x="23304" y="536379"/>
                        <a:pt x="29850" y="542925"/>
                      </a:cubicBezTo>
                      <a:cubicBezTo>
                        <a:pt x="33400" y="546475"/>
                        <a:pt x="39267" y="546469"/>
                        <a:pt x="44137" y="547687"/>
                      </a:cubicBezTo>
                      <a:cubicBezTo>
                        <a:pt x="51990" y="549650"/>
                        <a:pt x="60012" y="550862"/>
                        <a:pt x="67950" y="552450"/>
                      </a:cubicBezTo>
                      <a:cubicBezTo>
                        <a:pt x="79062" y="549275"/>
                        <a:pt x="90557" y="547217"/>
                        <a:pt x="101287" y="542925"/>
                      </a:cubicBezTo>
                      <a:cubicBezTo>
                        <a:pt x="114934" y="537466"/>
                        <a:pt x="118876" y="528267"/>
                        <a:pt x="129862" y="519112"/>
                      </a:cubicBezTo>
                      <a:cubicBezTo>
                        <a:pt x="134259" y="515448"/>
                        <a:pt x="139387" y="512762"/>
                        <a:pt x="144150" y="509587"/>
                      </a:cubicBezTo>
                      <a:cubicBezTo>
                        <a:pt x="169550" y="511175"/>
                        <a:pt x="195040" y="511686"/>
                        <a:pt x="220350" y="514350"/>
                      </a:cubicBezTo>
                      <a:cubicBezTo>
                        <a:pt x="225342" y="514876"/>
                        <a:pt x="231087" y="515562"/>
                        <a:pt x="234637" y="519112"/>
                      </a:cubicBezTo>
                      <a:cubicBezTo>
                        <a:pt x="241183" y="525658"/>
                        <a:pt x="244162" y="534987"/>
                        <a:pt x="248925" y="542925"/>
                      </a:cubicBezTo>
                      <a:cubicBezTo>
                        <a:pt x="242355" y="634900"/>
                        <a:pt x="254541" y="583866"/>
                        <a:pt x="234637" y="628650"/>
                      </a:cubicBezTo>
                      <a:cubicBezTo>
                        <a:pt x="231165" y="636462"/>
                        <a:pt x="230241" y="645623"/>
                        <a:pt x="225112" y="652462"/>
                      </a:cubicBezTo>
                      <a:cubicBezTo>
                        <a:pt x="213902" y="667409"/>
                        <a:pt x="202980" y="667520"/>
                        <a:pt x="187012" y="671512"/>
                      </a:cubicBezTo>
                      <a:cubicBezTo>
                        <a:pt x="175900" y="668337"/>
                        <a:pt x="164196" y="666769"/>
                        <a:pt x="153675" y="661987"/>
                      </a:cubicBezTo>
                      <a:cubicBezTo>
                        <a:pt x="146449" y="658703"/>
                        <a:pt x="140652" y="652866"/>
                        <a:pt x="134625" y="647700"/>
                      </a:cubicBezTo>
                      <a:cubicBezTo>
                        <a:pt x="120365" y="635477"/>
                        <a:pt x="120610" y="633822"/>
                        <a:pt x="110812" y="619125"/>
                      </a:cubicBezTo>
                      <a:cubicBezTo>
                        <a:pt x="82237" y="620712"/>
                        <a:pt x="53092" y="617991"/>
                        <a:pt x="25087" y="623887"/>
                      </a:cubicBezTo>
                      <a:cubicBezTo>
                        <a:pt x="20174" y="624921"/>
                        <a:pt x="20325" y="633155"/>
                        <a:pt x="20325" y="638175"/>
                      </a:cubicBezTo>
                      <a:cubicBezTo>
                        <a:pt x="20325" y="655709"/>
                        <a:pt x="22706" y="644525"/>
                        <a:pt x="25087" y="690562"/>
                      </a:cubicBezTo>
                      <a:cubicBezTo>
                        <a:pt x="27468" y="736599"/>
                        <a:pt x="-3488" y="874713"/>
                        <a:pt x="34612" y="914400"/>
                      </a:cubicBezTo>
                      <a:cubicBezTo>
                        <a:pt x="72712" y="954087"/>
                        <a:pt x="213206" y="927100"/>
                        <a:pt x="253687" y="928687"/>
                      </a:cubicBezTo>
                      <a:cubicBezTo>
                        <a:pt x="261625" y="927100"/>
                        <a:pt x="273010" y="930660"/>
                        <a:pt x="277500" y="923925"/>
                      </a:cubicBezTo>
                      <a:cubicBezTo>
                        <a:pt x="282775" y="916012"/>
                        <a:pt x="266332" y="887302"/>
                        <a:pt x="263212" y="881062"/>
                      </a:cubicBezTo>
                      <a:cubicBezTo>
                        <a:pt x="260037" y="868362"/>
                        <a:pt x="257826" y="855381"/>
                        <a:pt x="253687" y="842962"/>
                      </a:cubicBezTo>
                      <a:cubicBezTo>
                        <a:pt x="252100" y="838200"/>
                        <a:pt x="250304" y="833502"/>
                        <a:pt x="248925" y="828675"/>
                      </a:cubicBezTo>
                      <a:cubicBezTo>
                        <a:pt x="244438" y="812971"/>
                        <a:pt x="242676" y="802194"/>
                        <a:pt x="239400" y="785812"/>
                      </a:cubicBezTo>
                      <a:cubicBezTo>
                        <a:pt x="242575" y="771525"/>
                        <a:pt x="240806" y="755128"/>
                        <a:pt x="248925" y="742950"/>
                      </a:cubicBezTo>
                      <a:cubicBezTo>
                        <a:pt x="254832" y="734089"/>
                        <a:pt x="267670" y="732758"/>
                        <a:pt x="277500" y="728662"/>
                      </a:cubicBezTo>
                      <a:cubicBezTo>
                        <a:pt x="286768" y="724800"/>
                        <a:pt x="306075" y="719137"/>
                        <a:pt x="306075" y="719137"/>
                      </a:cubicBezTo>
                      <a:cubicBezTo>
                        <a:pt x="323537" y="722312"/>
                        <a:pt x="342587" y="720725"/>
                        <a:pt x="358462" y="728662"/>
                      </a:cubicBezTo>
                      <a:cubicBezTo>
                        <a:pt x="363087" y="730975"/>
                        <a:pt x="390372" y="768034"/>
                        <a:pt x="396562" y="776287"/>
                      </a:cubicBezTo>
                      <a:cubicBezTo>
                        <a:pt x="394975" y="809625"/>
                        <a:pt x="394265" y="843016"/>
                        <a:pt x="391800" y="876300"/>
                      </a:cubicBezTo>
                      <a:cubicBezTo>
                        <a:pt x="391578" y="879296"/>
                        <a:pt x="381193" y="911586"/>
                        <a:pt x="391800" y="919162"/>
                      </a:cubicBezTo>
                      <a:cubicBezTo>
                        <a:pt x="399970" y="924998"/>
                        <a:pt x="392594" y="925512"/>
                        <a:pt x="420375" y="928687"/>
                      </a:cubicBezTo>
                      <a:cubicBezTo>
                        <a:pt x="448156" y="931862"/>
                        <a:pt x="529118" y="935831"/>
                        <a:pt x="558487" y="938212"/>
                      </a:cubicBezTo>
                      <a:cubicBezTo>
                        <a:pt x="587856" y="940593"/>
                        <a:pt x="583788" y="942975"/>
                        <a:pt x="596587" y="942975"/>
                      </a:cubicBezTo>
                      <a:cubicBezTo>
                        <a:pt x="609386" y="942975"/>
                        <a:pt x="621987" y="939800"/>
                        <a:pt x="634687" y="938212"/>
                      </a:cubicBezTo>
                      <a:cubicBezTo>
                        <a:pt x="637952" y="872912"/>
                        <a:pt x="642558" y="751221"/>
                        <a:pt x="653737" y="695325"/>
                      </a:cubicBezTo>
                      <a:cubicBezTo>
                        <a:pt x="654722" y="690402"/>
                        <a:pt x="663535" y="697842"/>
                        <a:pt x="668025" y="700087"/>
                      </a:cubicBezTo>
                      <a:cubicBezTo>
                        <a:pt x="727213" y="729681"/>
                        <a:pt x="690279" y="719779"/>
                        <a:pt x="734700" y="728662"/>
                      </a:cubicBezTo>
                      <a:cubicBezTo>
                        <a:pt x="778294" y="750460"/>
                        <a:pt x="776391" y="756041"/>
                        <a:pt x="844237" y="733425"/>
                      </a:cubicBezTo>
                      <a:cubicBezTo>
                        <a:pt x="855802" y="729570"/>
                        <a:pt x="873552" y="689083"/>
                        <a:pt x="877575" y="681037"/>
                      </a:cubicBezTo>
                      <a:cubicBezTo>
                        <a:pt x="885513" y="665956"/>
                        <a:pt x="890275" y="660399"/>
                        <a:pt x="891862" y="642937"/>
                      </a:cubicBezTo>
                      <a:cubicBezTo>
                        <a:pt x="893449" y="625475"/>
                        <a:pt x="892203" y="597951"/>
                        <a:pt x="887100" y="576262"/>
                      </a:cubicBezTo>
                      <a:cubicBezTo>
                        <a:pt x="885557" y="569706"/>
                        <a:pt x="877575" y="566737"/>
                        <a:pt x="872812" y="561975"/>
                      </a:cubicBezTo>
                      <a:cubicBezTo>
                        <a:pt x="860112" y="550863"/>
                        <a:pt x="840269" y="515143"/>
                        <a:pt x="810900" y="509587"/>
                      </a:cubicBezTo>
                      <a:cubicBezTo>
                        <a:pt x="758140" y="513105"/>
                        <a:pt x="740834" y="508221"/>
                        <a:pt x="696600" y="528637"/>
                      </a:cubicBezTo>
                      <a:cubicBezTo>
                        <a:pt x="667695" y="541978"/>
                        <a:pt x="675963" y="554037"/>
                        <a:pt x="668025" y="557212"/>
                      </a:cubicBezTo>
                      <a:cubicBezTo>
                        <a:pt x="660087" y="560387"/>
                        <a:pt x="652944" y="551656"/>
                        <a:pt x="648975" y="547687"/>
                      </a:cubicBezTo>
                      <a:cubicBezTo>
                        <a:pt x="645006" y="543718"/>
                        <a:pt x="644212" y="538420"/>
                        <a:pt x="644212" y="533400"/>
                      </a:cubicBezTo>
                      <a:cubicBezTo>
                        <a:pt x="644212" y="512701"/>
                        <a:pt x="647387" y="492125"/>
                        <a:pt x="648975" y="471487"/>
                      </a:cubicBezTo>
                      <a:cubicBezTo>
                        <a:pt x="647387" y="409575"/>
                        <a:pt x="648523" y="347532"/>
                        <a:pt x="644212" y="285750"/>
                      </a:cubicBezTo>
                      <a:cubicBezTo>
                        <a:pt x="643718" y="278668"/>
                        <a:pt x="640707" y="270463"/>
                        <a:pt x="634687" y="266700"/>
                      </a:cubicBezTo>
                      <a:cubicBezTo>
                        <a:pt x="626498" y="261582"/>
                        <a:pt x="615637" y="263525"/>
                        <a:pt x="606112" y="261937"/>
                      </a:cubicBezTo>
                      <a:lnTo>
                        <a:pt x="506100" y="266700"/>
                      </a:lnTo>
                      <a:cubicBezTo>
                        <a:pt x="445682" y="270598"/>
                        <a:pt x="475585" y="278306"/>
                        <a:pt x="434662" y="261937"/>
                      </a:cubicBezTo>
                      <a:cubicBezTo>
                        <a:pt x="432672" y="255965"/>
                        <a:pt x="424805" y="233581"/>
                        <a:pt x="425137" y="228600"/>
                      </a:cubicBezTo>
                      <a:cubicBezTo>
                        <a:pt x="426318" y="210890"/>
                        <a:pt x="430357" y="193431"/>
                        <a:pt x="434662" y="176212"/>
                      </a:cubicBezTo>
                      <a:cubicBezTo>
                        <a:pt x="436735" y="167918"/>
                        <a:pt x="441185" y="160404"/>
                        <a:pt x="444187" y="152400"/>
                      </a:cubicBezTo>
                      <a:cubicBezTo>
                        <a:pt x="445950" y="147699"/>
                        <a:pt x="447362" y="142875"/>
                        <a:pt x="448950" y="138112"/>
                      </a:cubicBezTo>
                      <a:cubicBezTo>
                        <a:pt x="447734" y="124738"/>
                        <a:pt x="448585" y="89759"/>
                        <a:pt x="439425" y="71437"/>
                      </a:cubicBezTo>
                      <a:cubicBezTo>
                        <a:pt x="436865" y="66318"/>
                        <a:pt x="433075" y="61912"/>
                        <a:pt x="429900" y="57150"/>
                      </a:cubicBezTo>
                      <a:cubicBezTo>
                        <a:pt x="421247" y="22541"/>
                        <a:pt x="433396" y="48368"/>
                        <a:pt x="410850" y="33337"/>
                      </a:cubicBezTo>
                      <a:cubicBezTo>
                        <a:pt x="405246" y="29601"/>
                        <a:pt x="402337" y="22515"/>
                        <a:pt x="396562" y="19050"/>
                      </a:cubicBezTo>
                      <a:cubicBezTo>
                        <a:pt x="366332" y="912"/>
                        <a:pt x="355835" y="3941"/>
                        <a:pt x="320362" y="0"/>
                      </a:cubicBezTo>
                      <a:cubicBezTo>
                        <a:pt x="301312" y="3175"/>
                        <a:pt x="281334" y="2849"/>
                        <a:pt x="263212" y="9525"/>
                      </a:cubicBezTo>
                      <a:cubicBezTo>
                        <a:pt x="235392" y="19775"/>
                        <a:pt x="221221" y="43936"/>
                        <a:pt x="206062" y="66675"/>
                      </a:cubicBezTo>
                      <a:cubicBezTo>
                        <a:pt x="204475" y="71437"/>
                        <a:pt x="203277" y="76348"/>
                        <a:pt x="201300" y="80962"/>
                      </a:cubicBezTo>
                      <a:cubicBezTo>
                        <a:pt x="198503" y="87488"/>
                        <a:pt x="192169" y="92923"/>
                        <a:pt x="191775" y="100012"/>
                      </a:cubicBezTo>
                      <a:cubicBezTo>
                        <a:pt x="190539" y="122259"/>
                        <a:pt x="192874" y="144709"/>
                        <a:pt x="196537" y="166687"/>
                      </a:cubicBezTo>
                      <a:cubicBezTo>
                        <a:pt x="197704" y="173690"/>
                        <a:pt x="202124" y="179830"/>
                        <a:pt x="206062" y="185737"/>
                      </a:cubicBezTo>
                      <a:cubicBezTo>
                        <a:pt x="214868" y="198946"/>
                        <a:pt x="234637" y="223837"/>
                        <a:pt x="234637" y="223837"/>
                      </a:cubicBezTo>
                      <a:cubicBezTo>
                        <a:pt x="236225" y="230187"/>
                        <a:pt x="237602" y="236593"/>
                        <a:pt x="239400" y="242887"/>
                      </a:cubicBezTo>
                      <a:cubicBezTo>
                        <a:pt x="240779" y="247714"/>
                        <a:pt x="244162" y="252155"/>
                        <a:pt x="244162" y="257175"/>
                      </a:cubicBezTo>
                      <a:cubicBezTo>
                        <a:pt x="244162" y="265269"/>
                        <a:pt x="240987" y="273050"/>
                        <a:pt x="239400" y="280987"/>
                      </a:cubicBezTo>
                      <a:lnTo>
                        <a:pt x="206062" y="276225"/>
                      </a:lnTo>
                      <a:cubicBezTo>
                        <a:pt x="171137" y="276225"/>
                        <a:pt x="63981" y="277812"/>
                        <a:pt x="29850" y="280987"/>
                      </a:cubicBezTo>
                      <a:cubicBezTo>
                        <a:pt x="-4281" y="284162"/>
                        <a:pt x="5244" y="265906"/>
                        <a:pt x="1275" y="295275"/>
                      </a:cubicBezTo>
                      <a:close/>
                    </a:path>
                  </a:pathLst>
                </a:custGeom>
                <a:noFill/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9" name="Freeform: Shape 158">
                  <a:extLst>
                    <a:ext uri="{FF2B5EF4-FFF2-40B4-BE49-F238E27FC236}">
                      <a16:creationId xmlns:a16="http://schemas.microsoft.com/office/drawing/2014/main" id="{DE4A94F6-297C-221D-6B61-0DFCADE46C7C}"/>
                    </a:ext>
                  </a:extLst>
                </p:cNvPr>
                <p:cNvSpPr/>
                <p:nvPr/>
              </p:nvSpPr>
              <p:spPr>
                <a:xfrm>
                  <a:off x="9104626" y="3433763"/>
                  <a:ext cx="892507" cy="942975"/>
                </a:xfrm>
                <a:custGeom>
                  <a:avLst/>
                  <a:gdLst>
                    <a:gd name="connsiteX0" fmla="*/ 1332 w 892414"/>
                    <a:gd name="connsiteY0" fmla="*/ 295275 h 942975"/>
                    <a:gd name="connsiteX1" fmla="*/ 6094 w 892414"/>
                    <a:gd name="connsiteY1" fmla="*/ 457200 h 942975"/>
                    <a:gd name="connsiteX2" fmla="*/ 10857 w 892414"/>
                    <a:gd name="connsiteY2" fmla="*/ 476250 h 942975"/>
                    <a:gd name="connsiteX3" fmla="*/ 15619 w 892414"/>
                    <a:gd name="connsiteY3" fmla="*/ 519112 h 942975"/>
                    <a:gd name="connsiteX4" fmla="*/ 29907 w 892414"/>
                    <a:gd name="connsiteY4" fmla="*/ 542925 h 942975"/>
                    <a:gd name="connsiteX5" fmla="*/ 44194 w 892414"/>
                    <a:gd name="connsiteY5" fmla="*/ 547687 h 942975"/>
                    <a:gd name="connsiteX6" fmla="*/ 68007 w 892414"/>
                    <a:gd name="connsiteY6" fmla="*/ 552450 h 942975"/>
                    <a:gd name="connsiteX7" fmla="*/ 101344 w 892414"/>
                    <a:gd name="connsiteY7" fmla="*/ 542925 h 942975"/>
                    <a:gd name="connsiteX8" fmla="*/ 129919 w 892414"/>
                    <a:gd name="connsiteY8" fmla="*/ 519112 h 942975"/>
                    <a:gd name="connsiteX9" fmla="*/ 144207 w 892414"/>
                    <a:gd name="connsiteY9" fmla="*/ 509587 h 942975"/>
                    <a:gd name="connsiteX10" fmla="*/ 220407 w 892414"/>
                    <a:gd name="connsiteY10" fmla="*/ 514350 h 942975"/>
                    <a:gd name="connsiteX11" fmla="*/ 234694 w 892414"/>
                    <a:gd name="connsiteY11" fmla="*/ 519112 h 942975"/>
                    <a:gd name="connsiteX12" fmla="*/ 248982 w 892414"/>
                    <a:gd name="connsiteY12" fmla="*/ 542925 h 942975"/>
                    <a:gd name="connsiteX13" fmla="*/ 234694 w 892414"/>
                    <a:gd name="connsiteY13" fmla="*/ 628650 h 942975"/>
                    <a:gd name="connsiteX14" fmla="*/ 225169 w 892414"/>
                    <a:gd name="connsiteY14" fmla="*/ 652462 h 942975"/>
                    <a:gd name="connsiteX15" fmla="*/ 187069 w 892414"/>
                    <a:gd name="connsiteY15" fmla="*/ 671512 h 942975"/>
                    <a:gd name="connsiteX16" fmla="*/ 153732 w 892414"/>
                    <a:gd name="connsiteY16" fmla="*/ 661987 h 942975"/>
                    <a:gd name="connsiteX17" fmla="*/ 134682 w 892414"/>
                    <a:gd name="connsiteY17" fmla="*/ 647700 h 942975"/>
                    <a:gd name="connsiteX18" fmla="*/ 110869 w 892414"/>
                    <a:gd name="connsiteY18" fmla="*/ 619125 h 942975"/>
                    <a:gd name="connsiteX19" fmla="*/ 25144 w 892414"/>
                    <a:gd name="connsiteY19" fmla="*/ 623887 h 942975"/>
                    <a:gd name="connsiteX20" fmla="*/ 20382 w 892414"/>
                    <a:gd name="connsiteY20" fmla="*/ 638175 h 942975"/>
                    <a:gd name="connsiteX21" fmla="*/ 25144 w 892414"/>
                    <a:gd name="connsiteY21" fmla="*/ 690562 h 942975"/>
                    <a:gd name="connsiteX22" fmla="*/ 29907 w 892414"/>
                    <a:gd name="connsiteY22" fmla="*/ 704850 h 942975"/>
                    <a:gd name="connsiteX23" fmla="*/ 34669 w 892414"/>
                    <a:gd name="connsiteY23" fmla="*/ 914400 h 942975"/>
                    <a:gd name="connsiteX24" fmla="*/ 120394 w 892414"/>
                    <a:gd name="connsiteY24" fmla="*/ 919162 h 942975"/>
                    <a:gd name="connsiteX25" fmla="*/ 134682 w 892414"/>
                    <a:gd name="connsiteY25" fmla="*/ 923925 h 942975"/>
                    <a:gd name="connsiteX26" fmla="*/ 253744 w 892414"/>
                    <a:gd name="connsiteY26" fmla="*/ 928687 h 942975"/>
                    <a:gd name="connsiteX27" fmla="*/ 277557 w 892414"/>
                    <a:gd name="connsiteY27" fmla="*/ 923925 h 942975"/>
                    <a:gd name="connsiteX28" fmla="*/ 263269 w 892414"/>
                    <a:gd name="connsiteY28" fmla="*/ 881062 h 942975"/>
                    <a:gd name="connsiteX29" fmla="*/ 253744 w 892414"/>
                    <a:gd name="connsiteY29" fmla="*/ 842962 h 942975"/>
                    <a:gd name="connsiteX30" fmla="*/ 248982 w 892414"/>
                    <a:gd name="connsiteY30" fmla="*/ 828675 h 942975"/>
                    <a:gd name="connsiteX31" fmla="*/ 239457 w 892414"/>
                    <a:gd name="connsiteY31" fmla="*/ 785812 h 942975"/>
                    <a:gd name="connsiteX32" fmla="*/ 248982 w 892414"/>
                    <a:gd name="connsiteY32" fmla="*/ 742950 h 942975"/>
                    <a:gd name="connsiteX33" fmla="*/ 277557 w 892414"/>
                    <a:gd name="connsiteY33" fmla="*/ 728662 h 942975"/>
                    <a:gd name="connsiteX34" fmla="*/ 306132 w 892414"/>
                    <a:gd name="connsiteY34" fmla="*/ 719137 h 942975"/>
                    <a:gd name="connsiteX35" fmla="*/ 358519 w 892414"/>
                    <a:gd name="connsiteY35" fmla="*/ 728662 h 942975"/>
                    <a:gd name="connsiteX36" fmla="*/ 396619 w 892414"/>
                    <a:gd name="connsiteY36" fmla="*/ 776287 h 942975"/>
                    <a:gd name="connsiteX37" fmla="*/ 391857 w 892414"/>
                    <a:gd name="connsiteY37" fmla="*/ 876300 h 942975"/>
                    <a:gd name="connsiteX38" fmla="*/ 391857 w 892414"/>
                    <a:gd name="connsiteY38" fmla="*/ 919162 h 942975"/>
                    <a:gd name="connsiteX39" fmla="*/ 420432 w 892414"/>
                    <a:gd name="connsiteY39" fmla="*/ 928687 h 942975"/>
                    <a:gd name="connsiteX40" fmla="*/ 515682 w 892414"/>
                    <a:gd name="connsiteY40" fmla="*/ 933450 h 942975"/>
                    <a:gd name="connsiteX41" fmla="*/ 558544 w 892414"/>
                    <a:gd name="connsiteY41" fmla="*/ 938212 h 942975"/>
                    <a:gd name="connsiteX42" fmla="*/ 596644 w 892414"/>
                    <a:gd name="connsiteY42" fmla="*/ 942975 h 942975"/>
                    <a:gd name="connsiteX43" fmla="*/ 634744 w 892414"/>
                    <a:gd name="connsiteY43" fmla="*/ 938212 h 942975"/>
                    <a:gd name="connsiteX44" fmla="*/ 653794 w 892414"/>
                    <a:gd name="connsiteY44" fmla="*/ 695325 h 942975"/>
                    <a:gd name="connsiteX45" fmla="*/ 668082 w 892414"/>
                    <a:gd name="connsiteY45" fmla="*/ 700087 h 942975"/>
                    <a:gd name="connsiteX46" fmla="*/ 734757 w 892414"/>
                    <a:gd name="connsiteY46" fmla="*/ 728662 h 942975"/>
                    <a:gd name="connsiteX47" fmla="*/ 844294 w 892414"/>
                    <a:gd name="connsiteY47" fmla="*/ 733425 h 942975"/>
                    <a:gd name="connsiteX48" fmla="*/ 877632 w 892414"/>
                    <a:gd name="connsiteY48" fmla="*/ 681037 h 942975"/>
                    <a:gd name="connsiteX49" fmla="*/ 882394 w 892414"/>
                    <a:gd name="connsiteY49" fmla="*/ 661987 h 942975"/>
                    <a:gd name="connsiteX50" fmla="*/ 891919 w 892414"/>
                    <a:gd name="connsiteY50" fmla="*/ 642937 h 942975"/>
                    <a:gd name="connsiteX51" fmla="*/ 887157 w 892414"/>
                    <a:gd name="connsiteY51" fmla="*/ 576262 h 942975"/>
                    <a:gd name="connsiteX52" fmla="*/ 872869 w 892414"/>
                    <a:gd name="connsiteY52" fmla="*/ 561975 h 942975"/>
                    <a:gd name="connsiteX53" fmla="*/ 853819 w 892414"/>
                    <a:gd name="connsiteY53" fmla="*/ 528637 h 942975"/>
                    <a:gd name="connsiteX54" fmla="*/ 839532 w 892414"/>
                    <a:gd name="connsiteY54" fmla="*/ 514350 h 942975"/>
                    <a:gd name="connsiteX55" fmla="*/ 810957 w 892414"/>
                    <a:gd name="connsiteY55" fmla="*/ 509587 h 942975"/>
                    <a:gd name="connsiteX56" fmla="*/ 696657 w 892414"/>
                    <a:gd name="connsiteY56" fmla="*/ 528637 h 942975"/>
                    <a:gd name="connsiteX57" fmla="*/ 668082 w 892414"/>
                    <a:gd name="connsiteY57" fmla="*/ 557212 h 942975"/>
                    <a:gd name="connsiteX58" fmla="*/ 653794 w 892414"/>
                    <a:gd name="connsiteY58" fmla="*/ 566737 h 942975"/>
                    <a:gd name="connsiteX59" fmla="*/ 649032 w 892414"/>
                    <a:gd name="connsiteY59" fmla="*/ 547687 h 942975"/>
                    <a:gd name="connsiteX60" fmla="*/ 644269 w 892414"/>
                    <a:gd name="connsiteY60" fmla="*/ 533400 h 942975"/>
                    <a:gd name="connsiteX61" fmla="*/ 649032 w 892414"/>
                    <a:gd name="connsiteY61" fmla="*/ 471487 h 942975"/>
                    <a:gd name="connsiteX62" fmla="*/ 644269 w 892414"/>
                    <a:gd name="connsiteY62" fmla="*/ 285750 h 942975"/>
                    <a:gd name="connsiteX63" fmla="*/ 634744 w 892414"/>
                    <a:gd name="connsiteY63" fmla="*/ 266700 h 942975"/>
                    <a:gd name="connsiteX64" fmla="*/ 606169 w 892414"/>
                    <a:gd name="connsiteY64" fmla="*/ 261937 h 942975"/>
                    <a:gd name="connsiteX65" fmla="*/ 506157 w 892414"/>
                    <a:gd name="connsiteY65" fmla="*/ 266700 h 942975"/>
                    <a:gd name="connsiteX66" fmla="*/ 434719 w 892414"/>
                    <a:gd name="connsiteY66" fmla="*/ 261937 h 942975"/>
                    <a:gd name="connsiteX67" fmla="*/ 425194 w 892414"/>
                    <a:gd name="connsiteY67" fmla="*/ 228600 h 942975"/>
                    <a:gd name="connsiteX68" fmla="*/ 434719 w 892414"/>
                    <a:gd name="connsiteY68" fmla="*/ 176212 h 942975"/>
                    <a:gd name="connsiteX69" fmla="*/ 444244 w 892414"/>
                    <a:gd name="connsiteY69" fmla="*/ 152400 h 942975"/>
                    <a:gd name="connsiteX70" fmla="*/ 449007 w 892414"/>
                    <a:gd name="connsiteY70" fmla="*/ 138112 h 942975"/>
                    <a:gd name="connsiteX71" fmla="*/ 439482 w 892414"/>
                    <a:gd name="connsiteY71" fmla="*/ 71437 h 942975"/>
                    <a:gd name="connsiteX72" fmla="*/ 429957 w 892414"/>
                    <a:gd name="connsiteY72" fmla="*/ 57150 h 942975"/>
                    <a:gd name="connsiteX73" fmla="*/ 410907 w 892414"/>
                    <a:gd name="connsiteY73" fmla="*/ 33337 h 942975"/>
                    <a:gd name="connsiteX74" fmla="*/ 396619 w 892414"/>
                    <a:gd name="connsiteY74" fmla="*/ 19050 h 942975"/>
                    <a:gd name="connsiteX75" fmla="*/ 320419 w 892414"/>
                    <a:gd name="connsiteY75" fmla="*/ 0 h 942975"/>
                    <a:gd name="connsiteX76" fmla="*/ 263269 w 892414"/>
                    <a:gd name="connsiteY76" fmla="*/ 9525 h 942975"/>
                    <a:gd name="connsiteX77" fmla="*/ 206119 w 892414"/>
                    <a:gd name="connsiteY77" fmla="*/ 66675 h 942975"/>
                    <a:gd name="connsiteX78" fmla="*/ 201357 w 892414"/>
                    <a:gd name="connsiteY78" fmla="*/ 80962 h 942975"/>
                    <a:gd name="connsiteX79" fmla="*/ 191832 w 892414"/>
                    <a:gd name="connsiteY79" fmla="*/ 100012 h 942975"/>
                    <a:gd name="connsiteX80" fmla="*/ 196594 w 892414"/>
                    <a:gd name="connsiteY80" fmla="*/ 166687 h 942975"/>
                    <a:gd name="connsiteX81" fmla="*/ 206119 w 892414"/>
                    <a:gd name="connsiteY81" fmla="*/ 185737 h 942975"/>
                    <a:gd name="connsiteX82" fmla="*/ 234694 w 892414"/>
                    <a:gd name="connsiteY82" fmla="*/ 223837 h 942975"/>
                    <a:gd name="connsiteX83" fmla="*/ 239457 w 892414"/>
                    <a:gd name="connsiteY83" fmla="*/ 242887 h 942975"/>
                    <a:gd name="connsiteX84" fmla="*/ 244219 w 892414"/>
                    <a:gd name="connsiteY84" fmla="*/ 257175 h 942975"/>
                    <a:gd name="connsiteX85" fmla="*/ 239457 w 892414"/>
                    <a:gd name="connsiteY85" fmla="*/ 280987 h 942975"/>
                    <a:gd name="connsiteX86" fmla="*/ 206119 w 892414"/>
                    <a:gd name="connsiteY86" fmla="*/ 276225 h 942975"/>
                    <a:gd name="connsiteX87" fmla="*/ 177544 w 892414"/>
                    <a:gd name="connsiteY87" fmla="*/ 271462 h 942975"/>
                    <a:gd name="connsiteX88" fmla="*/ 29907 w 892414"/>
                    <a:gd name="connsiteY88" fmla="*/ 280987 h 942975"/>
                    <a:gd name="connsiteX89" fmla="*/ 1332 w 892414"/>
                    <a:gd name="connsiteY89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53819 w 892564"/>
                    <a:gd name="connsiteY52" fmla="*/ 528637 h 942975"/>
                    <a:gd name="connsiteX53" fmla="*/ 839532 w 892564"/>
                    <a:gd name="connsiteY53" fmla="*/ 514350 h 942975"/>
                    <a:gd name="connsiteX54" fmla="*/ 810957 w 892564"/>
                    <a:gd name="connsiteY54" fmla="*/ 509587 h 942975"/>
                    <a:gd name="connsiteX55" fmla="*/ 696657 w 892564"/>
                    <a:gd name="connsiteY55" fmla="*/ 528637 h 942975"/>
                    <a:gd name="connsiteX56" fmla="*/ 668082 w 892564"/>
                    <a:gd name="connsiteY56" fmla="*/ 557212 h 942975"/>
                    <a:gd name="connsiteX57" fmla="*/ 653794 w 892564"/>
                    <a:gd name="connsiteY57" fmla="*/ 566737 h 942975"/>
                    <a:gd name="connsiteX58" fmla="*/ 649032 w 892564"/>
                    <a:gd name="connsiteY58" fmla="*/ 547687 h 942975"/>
                    <a:gd name="connsiteX59" fmla="*/ 644269 w 892564"/>
                    <a:gd name="connsiteY59" fmla="*/ 533400 h 942975"/>
                    <a:gd name="connsiteX60" fmla="*/ 649032 w 892564"/>
                    <a:gd name="connsiteY60" fmla="*/ 471487 h 942975"/>
                    <a:gd name="connsiteX61" fmla="*/ 644269 w 892564"/>
                    <a:gd name="connsiteY61" fmla="*/ 285750 h 942975"/>
                    <a:gd name="connsiteX62" fmla="*/ 634744 w 892564"/>
                    <a:gd name="connsiteY62" fmla="*/ 266700 h 942975"/>
                    <a:gd name="connsiteX63" fmla="*/ 606169 w 892564"/>
                    <a:gd name="connsiteY63" fmla="*/ 261937 h 942975"/>
                    <a:gd name="connsiteX64" fmla="*/ 506157 w 892564"/>
                    <a:gd name="connsiteY64" fmla="*/ 266700 h 942975"/>
                    <a:gd name="connsiteX65" fmla="*/ 434719 w 892564"/>
                    <a:gd name="connsiteY65" fmla="*/ 261937 h 942975"/>
                    <a:gd name="connsiteX66" fmla="*/ 425194 w 892564"/>
                    <a:gd name="connsiteY66" fmla="*/ 228600 h 942975"/>
                    <a:gd name="connsiteX67" fmla="*/ 434719 w 892564"/>
                    <a:gd name="connsiteY67" fmla="*/ 176212 h 942975"/>
                    <a:gd name="connsiteX68" fmla="*/ 444244 w 892564"/>
                    <a:gd name="connsiteY68" fmla="*/ 152400 h 942975"/>
                    <a:gd name="connsiteX69" fmla="*/ 449007 w 892564"/>
                    <a:gd name="connsiteY69" fmla="*/ 138112 h 942975"/>
                    <a:gd name="connsiteX70" fmla="*/ 439482 w 892564"/>
                    <a:gd name="connsiteY70" fmla="*/ 71437 h 942975"/>
                    <a:gd name="connsiteX71" fmla="*/ 429957 w 892564"/>
                    <a:gd name="connsiteY71" fmla="*/ 57150 h 942975"/>
                    <a:gd name="connsiteX72" fmla="*/ 410907 w 892564"/>
                    <a:gd name="connsiteY72" fmla="*/ 33337 h 942975"/>
                    <a:gd name="connsiteX73" fmla="*/ 396619 w 892564"/>
                    <a:gd name="connsiteY73" fmla="*/ 19050 h 942975"/>
                    <a:gd name="connsiteX74" fmla="*/ 320419 w 892564"/>
                    <a:gd name="connsiteY74" fmla="*/ 0 h 942975"/>
                    <a:gd name="connsiteX75" fmla="*/ 263269 w 892564"/>
                    <a:gd name="connsiteY75" fmla="*/ 9525 h 942975"/>
                    <a:gd name="connsiteX76" fmla="*/ 206119 w 892564"/>
                    <a:gd name="connsiteY76" fmla="*/ 66675 h 942975"/>
                    <a:gd name="connsiteX77" fmla="*/ 201357 w 892564"/>
                    <a:gd name="connsiteY77" fmla="*/ 80962 h 942975"/>
                    <a:gd name="connsiteX78" fmla="*/ 191832 w 892564"/>
                    <a:gd name="connsiteY78" fmla="*/ 100012 h 942975"/>
                    <a:gd name="connsiteX79" fmla="*/ 196594 w 892564"/>
                    <a:gd name="connsiteY79" fmla="*/ 166687 h 942975"/>
                    <a:gd name="connsiteX80" fmla="*/ 206119 w 892564"/>
                    <a:gd name="connsiteY80" fmla="*/ 185737 h 942975"/>
                    <a:gd name="connsiteX81" fmla="*/ 234694 w 892564"/>
                    <a:gd name="connsiteY81" fmla="*/ 223837 h 942975"/>
                    <a:gd name="connsiteX82" fmla="*/ 239457 w 892564"/>
                    <a:gd name="connsiteY82" fmla="*/ 242887 h 942975"/>
                    <a:gd name="connsiteX83" fmla="*/ 244219 w 892564"/>
                    <a:gd name="connsiteY83" fmla="*/ 257175 h 942975"/>
                    <a:gd name="connsiteX84" fmla="*/ 239457 w 892564"/>
                    <a:gd name="connsiteY84" fmla="*/ 280987 h 942975"/>
                    <a:gd name="connsiteX85" fmla="*/ 206119 w 892564"/>
                    <a:gd name="connsiteY85" fmla="*/ 276225 h 942975"/>
                    <a:gd name="connsiteX86" fmla="*/ 177544 w 892564"/>
                    <a:gd name="connsiteY86" fmla="*/ 271462 h 942975"/>
                    <a:gd name="connsiteX87" fmla="*/ 29907 w 892564"/>
                    <a:gd name="connsiteY87" fmla="*/ 280987 h 942975"/>
                    <a:gd name="connsiteX88" fmla="*/ 1332 w 892564"/>
                    <a:gd name="connsiteY88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39532 w 892564"/>
                    <a:gd name="connsiteY52" fmla="*/ 514350 h 942975"/>
                    <a:gd name="connsiteX53" fmla="*/ 810957 w 892564"/>
                    <a:gd name="connsiteY53" fmla="*/ 509587 h 942975"/>
                    <a:gd name="connsiteX54" fmla="*/ 696657 w 892564"/>
                    <a:gd name="connsiteY54" fmla="*/ 528637 h 942975"/>
                    <a:gd name="connsiteX55" fmla="*/ 668082 w 892564"/>
                    <a:gd name="connsiteY55" fmla="*/ 557212 h 942975"/>
                    <a:gd name="connsiteX56" fmla="*/ 653794 w 892564"/>
                    <a:gd name="connsiteY56" fmla="*/ 566737 h 942975"/>
                    <a:gd name="connsiteX57" fmla="*/ 649032 w 892564"/>
                    <a:gd name="connsiteY57" fmla="*/ 547687 h 942975"/>
                    <a:gd name="connsiteX58" fmla="*/ 644269 w 892564"/>
                    <a:gd name="connsiteY58" fmla="*/ 533400 h 942975"/>
                    <a:gd name="connsiteX59" fmla="*/ 649032 w 892564"/>
                    <a:gd name="connsiteY59" fmla="*/ 471487 h 942975"/>
                    <a:gd name="connsiteX60" fmla="*/ 644269 w 892564"/>
                    <a:gd name="connsiteY60" fmla="*/ 285750 h 942975"/>
                    <a:gd name="connsiteX61" fmla="*/ 634744 w 892564"/>
                    <a:gd name="connsiteY61" fmla="*/ 266700 h 942975"/>
                    <a:gd name="connsiteX62" fmla="*/ 606169 w 892564"/>
                    <a:gd name="connsiteY62" fmla="*/ 261937 h 942975"/>
                    <a:gd name="connsiteX63" fmla="*/ 506157 w 892564"/>
                    <a:gd name="connsiteY63" fmla="*/ 266700 h 942975"/>
                    <a:gd name="connsiteX64" fmla="*/ 434719 w 892564"/>
                    <a:gd name="connsiteY64" fmla="*/ 261937 h 942975"/>
                    <a:gd name="connsiteX65" fmla="*/ 425194 w 892564"/>
                    <a:gd name="connsiteY65" fmla="*/ 228600 h 942975"/>
                    <a:gd name="connsiteX66" fmla="*/ 434719 w 892564"/>
                    <a:gd name="connsiteY66" fmla="*/ 176212 h 942975"/>
                    <a:gd name="connsiteX67" fmla="*/ 444244 w 892564"/>
                    <a:gd name="connsiteY67" fmla="*/ 152400 h 942975"/>
                    <a:gd name="connsiteX68" fmla="*/ 449007 w 892564"/>
                    <a:gd name="connsiteY68" fmla="*/ 138112 h 942975"/>
                    <a:gd name="connsiteX69" fmla="*/ 439482 w 892564"/>
                    <a:gd name="connsiteY69" fmla="*/ 71437 h 942975"/>
                    <a:gd name="connsiteX70" fmla="*/ 429957 w 892564"/>
                    <a:gd name="connsiteY70" fmla="*/ 57150 h 942975"/>
                    <a:gd name="connsiteX71" fmla="*/ 410907 w 892564"/>
                    <a:gd name="connsiteY71" fmla="*/ 33337 h 942975"/>
                    <a:gd name="connsiteX72" fmla="*/ 396619 w 892564"/>
                    <a:gd name="connsiteY72" fmla="*/ 19050 h 942975"/>
                    <a:gd name="connsiteX73" fmla="*/ 320419 w 892564"/>
                    <a:gd name="connsiteY73" fmla="*/ 0 h 942975"/>
                    <a:gd name="connsiteX74" fmla="*/ 263269 w 892564"/>
                    <a:gd name="connsiteY74" fmla="*/ 9525 h 942975"/>
                    <a:gd name="connsiteX75" fmla="*/ 206119 w 892564"/>
                    <a:gd name="connsiteY75" fmla="*/ 66675 h 942975"/>
                    <a:gd name="connsiteX76" fmla="*/ 201357 w 892564"/>
                    <a:gd name="connsiteY76" fmla="*/ 80962 h 942975"/>
                    <a:gd name="connsiteX77" fmla="*/ 191832 w 892564"/>
                    <a:gd name="connsiteY77" fmla="*/ 100012 h 942975"/>
                    <a:gd name="connsiteX78" fmla="*/ 196594 w 892564"/>
                    <a:gd name="connsiteY78" fmla="*/ 166687 h 942975"/>
                    <a:gd name="connsiteX79" fmla="*/ 206119 w 892564"/>
                    <a:gd name="connsiteY79" fmla="*/ 185737 h 942975"/>
                    <a:gd name="connsiteX80" fmla="*/ 234694 w 892564"/>
                    <a:gd name="connsiteY80" fmla="*/ 223837 h 942975"/>
                    <a:gd name="connsiteX81" fmla="*/ 239457 w 892564"/>
                    <a:gd name="connsiteY81" fmla="*/ 242887 h 942975"/>
                    <a:gd name="connsiteX82" fmla="*/ 244219 w 892564"/>
                    <a:gd name="connsiteY82" fmla="*/ 257175 h 942975"/>
                    <a:gd name="connsiteX83" fmla="*/ 239457 w 892564"/>
                    <a:gd name="connsiteY83" fmla="*/ 280987 h 942975"/>
                    <a:gd name="connsiteX84" fmla="*/ 206119 w 892564"/>
                    <a:gd name="connsiteY84" fmla="*/ 276225 h 942975"/>
                    <a:gd name="connsiteX85" fmla="*/ 177544 w 892564"/>
                    <a:gd name="connsiteY85" fmla="*/ 271462 h 942975"/>
                    <a:gd name="connsiteX86" fmla="*/ 29907 w 892564"/>
                    <a:gd name="connsiteY86" fmla="*/ 280987 h 942975"/>
                    <a:gd name="connsiteX87" fmla="*/ 1332 w 892564"/>
                    <a:gd name="connsiteY87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10957 w 892564"/>
                    <a:gd name="connsiteY52" fmla="*/ 509587 h 942975"/>
                    <a:gd name="connsiteX53" fmla="*/ 696657 w 892564"/>
                    <a:gd name="connsiteY53" fmla="*/ 528637 h 942975"/>
                    <a:gd name="connsiteX54" fmla="*/ 668082 w 892564"/>
                    <a:gd name="connsiteY54" fmla="*/ 557212 h 942975"/>
                    <a:gd name="connsiteX55" fmla="*/ 653794 w 892564"/>
                    <a:gd name="connsiteY55" fmla="*/ 566737 h 942975"/>
                    <a:gd name="connsiteX56" fmla="*/ 649032 w 892564"/>
                    <a:gd name="connsiteY56" fmla="*/ 547687 h 942975"/>
                    <a:gd name="connsiteX57" fmla="*/ 644269 w 892564"/>
                    <a:gd name="connsiteY57" fmla="*/ 533400 h 942975"/>
                    <a:gd name="connsiteX58" fmla="*/ 649032 w 892564"/>
                    <a:gd name="connsiteY58" fmla="*/ 471487 h 942975"/>
                    <a:gd name="connsiteX59" fmla="*/ 644269 w 892564"/>
                    <a:gd name="connsiteY59" fmla="*/ 285750 h 942975"/>
                    <a:gd name="connsiteX60" fmla="*/ 634744 w 892564"/>
                    <a:gd name="connsiteY60" fmla="*/ 266700 h 942975"/>
                    <a:gd name="connsiteX61" fmla="*/ 606169 w 892564"/>
                    <a:gd name="connsiteY61" fmla="*/ 261937 h 942975"/>
                    <a:gd name="connsiteX62" fmla="*/ 506157 w 892564"/>
                    <a:gd name="connsiteY62" fmla="*/ 266700 h 942975"/>
                    <a:gd name="connsiteX63" fmla="*/ 434719 w 892564"/>
                    <a:gd name="connsiteY63" fmla="*/ 261937 h 942975"/>
                    <a:gd name="connsiteX64" fmla="*/ 425194 w 892564"/>
                    <a:gd name="connsiteY64" fmla="*/ 228600 h 942975"/>
                    <a:gd name="connsiteX65" fmla="*/ 434719 w 892564"/>
                    <a:gd name="connsiteY65" fmla="*/ 176212 h 942975"/>
                    <a:gd name="connsiteX66" fmla="*/ 444244 w 892564"/>
                    <a:gd name="connsiteY66" fmla="*/ 152400 h 942975"/>
                    <a:gd name="connsiteX67" fmla="*/ 449007 w 892564"/>
                    <a:gd name="connsiteY67" fmla="*/ 138112 h 942975"/>
                    <a:gd name="connsiteX68" fmla="*/ 439482 w 892564"/>
                    <a:gd name="connsiteY68" fmla="*/ 71437 h 942975"/>
                    <a:gd name="connsiteX69" fmla="*/ 429957 w 892564"/>
                    <a:gd name="connsiteY69" fmla="*/ 57150 h 942975"/>
                    <a:gd name="connsiteX70" fmla="*/ 410907 w 892564"/>
                    <a:gd name="connsiteY70" fmla="*/ 33337 h 942975"/>
                    <a:gd name="connsiteX71" fmla="*/ 396619 w 892564"/>
                    <a:gd name="connsiteY71" fmla="*/ 19050 h 942975"/>
                    <a:gd name="connsiteX72" fmla="*/ 320419 w 892564"/>
                    <a:gd name="connsiteY72" fmla="*/ 0 h 942975"/>
                    <a:gd name="connsiteX73" fmla="*/ 263269 w 892564"/>
                    <a:gd name="connsiteY73" fmla="*/ 9525 h 942975"/>
                    <a:gd name="connsiteX74" fmla="*/ 206119 w 892564"/>
                    <a:gd name="connsiteY74" fmla="*/ 66675 h 942975"/>
                    <a:gd name="connsiteX75" fmla="*/ 201357 w 892564"/>
                    <a:gd name="connsiteY75" fmla="*/ 80962 h 942975"/>
                    <a:gd name="connsiteX76" fmla="*/ 191832 w 892564"/>
                    <a:gd name="connsiteY76" fmla="*/ 100012 h 942975"/>
                    <a:gd name="connsiteX77" fmla="*/ 196594 w 892564"/>
                    <a:gd name="connsiteY77" fmla="*/ 166687 h 942975"/>
                    <a:gd name="connsiteX78" fmla="*/ 206119 w 892564"/>
                    <a:gd name="connsiteY78" fmla="*/ 185737 h 942975"/>
                    <a:gd name="connsiteX79" fmla="*/ 234694 w 892564"/>
                    <a:gd name="connsiteY79" fmla="*/ 223837 h 942975"/>
                    <a:gd name="connsiteX80" fmla="*/ 239457 w 892564"/>
                    <a:gd name="connsiteY80" fmla="*/ 242887 h 942975"/>
                    <a:gd name="connsiteX81" fmla="*/ 244219 w 892564"/>
                    <a:gd name="connsiteY81" fmla="*/ 257175 h 942975"/>
                    <a:gd name="connsiteX82" fmla="*/ 239457 w 892564"/>
                    <a:gd name="connsiteY82" fmla="*/ 280987 h 942975"/>
                    <a:gd name="connsiteX83" fmla="*/ 206119 w 892564"/>
                    <a:gd name="connsiteY83" fmla="*/ 276225 h 942975"/>
                    <a:gd name="connsiteX84" fmla="*/ 177544 w 892564"/>
                    <a:gd name="connsiteY84" fmla="*/ 271462 h 942975"/>
                    <a:gd name="connsiteX85" fmla="*/ 29907 w 892564"/>
                    <a:gd name="connsiteY85" fmla="*/ 280987 h 942975"/>
                    <a:gd name="connsiteX86" fmla="*/ 1332 w 892564"/>
                    <a:gd name="connsiteY86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134682 w 892564"/>
                    <a:gd name="connsiteY24" fmla="*/ 923925 h 942975"/>
                    <a:gd name="connsiteX25" fmla="*/ 253744 w 892564"/>
                    <a:gd name="connsiteY25" fmla="*/ 928687 h 942975"/>
                    <a:gd name="connsiteX26" fmla="*/ 277557 w 892564"/>
                    <a:gd name="connsiteY26" fmla="*/ 923925 h 942975"/>
                    <a:gd name="connsiteX27" fmla="*/ 263269 w 892564"/>
                    <a:gd name="connsiteY27" fmla="*/ 881062 h 942975"/>
                    <a:gd name="connsiteX28" fmla="*/ 253744 w 892564"/>
                    <a:gd name="connsiteY28" fmla="*/ 842962 h 942975"/>
                    <a:gd name="connsiteX29" fmla="*/ 248982 w 892564"/>
                    <a:gd name="connsiteY29" fmla="*/ 828675 h 942975"/>
                    <a:gd name="connsiteX30" fmla="*/ 239457 w 892564"/>
                    <a:gd name="connsiteY30" fmla="*/ 785812 h 942975"/>
                    <a:gd name="connsiteX31" fmla="*/ 248982 w 892564"/>
                    <a:gd name="connsiteY31" fmla="*/ 742950 h 942975"/>
                    <a:gd name="connsiteX32" fmla="*/ 277557 w 892564"/>
                    <a:gd name="connsiteY32" fmla="*/ 728662 h 942975"/>
                    <a:gd name="connsiteX33" fmla="*/ 306132 w 892564"/>
                    <a:gd name="connsiteY33" fmla="*/ 719137 h 942975"/>
                    <a:gd name="connsiteX34" fmla="*/ 358519 w 892564"/>
                    <a:gd name="connsiteY34" fmla="*/ 728662 h 942975"/>
                    <a:gd name="connsiteX35" fmla="*/ 396619 w 892564"/>
                    <a:gd name="connsiteY35" fmla="*/ 776287 h 942975"/>
                    <a:gd name="connsiteX36" fmla="*/ 391857 w 892564"/>
                    <a:gd name="connsiteY36" fmla="*/ 876300 h 942975"/>
                    <a:gd name="connsiteX37" fmla="*/ 391857 w 892564"/>
                    <a:gd name="connsiteY37" fmla="*/ 919162 h 942975"/>
                    <a:gd name="connsiteX38" fmla="*/ 420432 w 892564"/>
                    <a:gd name="connsiteY38" fmla="*/ 928687 h 942975"/>
                    <a:gd name="connsiteX39" fmla="*/ 515682 w 892564"/>
                    <a:gd name="connsiteY39" fmla="*/ 933450 h 942975"/>
                    <a:gd name="connsiteX40" fmla="*/ 558544 w 892564"/>
                    <a:gd name="connsiteY40" fmla="*/ 938212 h 942975"/>
                    <a:gd name="connsiteX41" fmla="*/ 596644 w 892564"/>
                    <a:gd name="connsiteY41" fmla="*/ 942975 h 942975"/>
                    <a:gd name="connsiteX42" fmla="*/ 634744 w 892564"/>
                    <a:gd name="connsiteY42" fmla="*/ 938212 h 942975"/>
                    <a:gd name="connsiteX43" fmla="*/ 653794 w 892564"/>
                    <a:gd name="connsiteY43" fmla="*/ 695325 h 942975"/>
                    <a:gd name="connsiteX44" fmla="*/ 668082 w 892564"/>
                    <a:gd name="connsiteY44" fmla="*/ 700087 h 942975"/>
                    <a:gd name="connsiteX45" fmla="*/ 734757 w 892564"/>
                    <a:gd name="connsiteY45" fmla="*/ 728662 h 942975"/>
                    <a:gd name="connsiteX46" fmla="*/ 844294 w 892564"/>
                    <a:gd name="connsiteY46" fmla="*/ 733425 h 942975"/>
                    <a:gd name="connsiteX47" fmla="*/ 877632 w 892564"/>
                    <a:gd name="connsiteY47" fmla="*/ 681037 h 942975"/>
                    <a:gd name="connsiteX48" fmla="*/ 891919 w 892564"/>
                    <a:gd name="connsiteY48" fmla="*/ 642937 h 942975"/>
                    <a:gd name="connsiteX49" fmla="*/ 887157 w 892564"/>
                    <a:gd name="connsiteY49" fmla="*/ 576262 h 942975"/>
                    <a:gd name="connsiteX50" fmla="*/ 872869 w 892564"/>
                    <a:gd name="connsiteY50" fmla="*/ 561975 h 942975"/>
                    <a:gd name="connsiteX51" fmla="*/ 810957 w 892564"/>
                    <a:gd name="connsiteY51" fmla="*/ 509587 h 942975"/>
                    <a:gd name="connsiteX52" fmla="*/ 696657 w 892564"/>
                    <a:gd name="connsiteY52" fmla="*/ 528637 h 942975"/>
                    <a:gd name="connsiteX53" fmla="*/ 668082 w 892564"/>
                    <a:gd name="connsiteY53" fmla="*/ 557212 h 942975"/>
                    <a:gd name="connsiteX54" fmla="*/ 653794 w 892564"/>
                    <a:gd name="connsiteY54" fmla="*/ 566737 h 942975"/>
                    <a:gd name="connsiteX55" fmla="*/ 649032 w 892564"/>
                    <a:gd name="connsiteY55" fmla="*/ 547687 h 942975"/>
                    <a:gd name="connsiteX56" fmla="*/ 644269 w 892564"/>
                    <a:gd name="connsiteY56" fmla="*/ 533400 h 942975"/>
                    <a:gd name="connsiteX57" fmla="*/ 649032 w 892564"/>
                    <a:gd name="connsiteY57" fmla="*/ 471487 h 942975"/>
                    <a:gd name="connsiteX58" fmla="*/ 644269 w 892564"/>
                    <a:gd name="connsiteY58" fmla="*/ 285750 h 942975"/>
                    <a:gd name="connsiteX59" fmla="*/ 634744 w 892564"/>
                    <a:gd name="connsiteY59" fmla="*/ 266700 h 942975"/>
                    <a:gd name="connsiteX60" fmla="*/ 606169 w 892564"/>
                    <a:gd name="connsiteY60" fmla="*/ 261937 h 942975"/>
                    <a:gd name="connsiteX61" fmla="*/ 506157 w 892564"/>
                    <a:gd name="connsiteY61" fmla="*/ 266700 h 942975"/>
                    <a:gd name="connsiteX62" fmla="*/ 434719 w 892564"/>
                    <a:gd name="connsiteY62" fmla="*/ 261937 h 942975"/>
                    <a:gd name="connsiteX63" fmla="*/ 425194 w 892564"/>
                    <a:gd name="connsiteY63" fmla="*/ 228600 h 942975"/>
                    <a:gd name="connsiteX64" fmla="*/ 434719 w 892564"/>
                    <a:gd name="connsiteY64" fmla="*/ 176212 h 942975"/>
                    <a:gd name="connsiteX65" fmla="*/ 444244 w 892564"/>
                    <a:gd name="connsiteY65" fmla="*/ 152400 h 942975"/>
                    <a:gd name="connsiteX66" fmla="*/ 449007 w 892564"/>
                    <a:gd name="connsiteY66" fmla="*/ 138112 h 942975"/>
                    <a:gd name="connsiteX67" fmla="*/ 439482 w 892564"/>
                    <a:gd name="connsiteY67" fmla="*/ 71437 h 942975"/>
                    <a:gd name="connsiteX68" fmla="*/ 429957 w 892564"/>
                    <a:gd name="connsiteY68" fmla="*/ 57150 h 942975"/>
                    <a:gd name="connsiteX69" fmla="*/ 410907 w 892564"/>
                    <a:gd name="connsiteY69" fmla="*/ 33337 h 942975"/>
                    <a:gd name="connsiteX70" fmla="*/ 396619 w 892564"/>
                    <a:gd name="connsiteY70" fmla="*/ 19050 h 942975"/>
                    <a:gd name="connsiteX71" fmla="*/ 320419 w 892564"/>
                    <a:gd name="connsiteY71" fmla="*/ 0 h 942975"/>
                    <a:gd name="connsiteX72" fmla="*/ 263269 w 892564"/>
                    <a:gd name="connsiteY72" fmla="*/ 9525 h 942975"/>
                    <a:gd name="connsiteX73" fmla="*/ 206119 w 892564"/>
                    <a:gd name="connsiteY73" fmla="*/ 66675 h 942975"/>
                    <a:gd name="connsiteX74" fmla="*/ 201357 w 892564"/>
                    <a:gd name="connsiteY74" fmla="*/ 80962 h 942975"/>
                    <a:gd name="connsiteX75" fmla="*/ 191832 w 892564"/>
                    <a:gd name="connsiteY75" fmla="*/ 100012 h 942975"/>
                    <a:gd name="connsiteX76" fmla="*/ 196594 w 892564"/>
                    <a:gd name="connsiteY76" fmla="*/ 166687 h 942975"/>
                    <a:gd name="connsiteX77" fmla="*/ 206119 w 892564"/>
                    <a:gd name="connsiteY77" fmla="*/ 185737 h 942975"/>
                    <a:gd name="connsiteX78" fmla="*/ 234694 w 892564"/>
                    <a:gd name="connsiteY78" fmla="*/ 223837 h 942975"/>
                    <a:gd name="connsiteX79" fmla="*/ 239457 w 892564"/>
                    <a:gd name="connsiteY79" fmla="*/ 242887 h 942975"/>
                    <a:gd name="connsiteX80" fmla="*/ 244219 w 892564"/>
                    <a:gd name="connsiteY80" fmla="*/ 257175 h 942975"/>
                    <a:gd name="connsiteX81" fmla="*/ 239457 w 892564"/>
                    <a:gd name="connsiteY81" fmla="*/ 280987 h 942975"/>
                    <a:gd name="connsiteX82" fmla="*/ 206119 w 892564"/>
                    <a:gd name="connsiteY82" fmla="*/ 276225 h 942975"/>
                    <a:gd name="connsiteX83" fmla="*/ 177544 w 892564"/>
                    <a:gd name="connsiteY83" fmla="*/ 271462 h 942975"/>
                    <a:gd name="connsiteX84" fmla="*/ 29907 w 892564"/>
                    <a:gd name="connsiteY84" fmla="*/ 280987 h 942975"/>
                    <a:gd name="connsiteX85" fmla="*/ 1332 w 892564"/>
                    <a:gd name="connsiteY85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253744 w 892564"/>
                    <a:gd name="connsiteY24" fmla="*/ 928687 h 942975"/>
                    <a:gd name="connsiteX25" fmla="*/ 277557 w 892564"/>
                    <a:gd name="connsiteY25" fmla="*/ 923925 h 942975"/>
                    <a:gd name="connsiteX26" fmla="*/ 263269 w 892564"/>
                    <a:gd name="connsiteY26" fmla="*/ 881062 h 942975"/>
                    <a:gd name="connsiteX27" fmla="*/ 253744 w 892564"/>
                    <a:gd name="connsiteY27" fmla="*/ 842962 h 942975"/>
                    <a:gd name="connsiteX28" fmla="*/ 248982 w 892564"/>
                    <a:gd name="connsiteY28" fmla="*/ 828675 h 942975"/>
                    <a:gd name="connsiteX29" fmla="*/ 239457 w 892564"/>
                    <a:gd name="connsiteY29" fmla="*/ 785812 h 942975"/>
                    <a:gd name="connsiteX30" fmla="*/ 248982 w 892564"/>
                    <a:gd name="connsiteY30" fmla="*/ 742950 h 942975"/>
                    <a:gd name="connsiteX31" fmla="*/ 277557 w 892564"/>
                    <a:gd name="connsiteY31" fmla="*/ 728662 h 942975"/>
                    <a:gd name="connsiteX32" fmla="*/ 306132 w 892564"/>
                    <a:gd name="connsiteY32" fmla="*/ 719137 h 942975"/>
                    <a:gd name="connsiteX33" fmla="*/ 358519 w 892564"/>
                    <a:gd name="connsiteY33" fmla="*/ 728662 h 942975"/>
                    <a:gd name="connsiteX34" fmla="*/ 396619 w 892564"/>
                    <a:gd name="connsiteY34" fmla="*/ 776287 h 942975"/>
                    <a:gd name="connsiteX35" fmla="*/ 391857 w 892564"/>
                    <a:gd name="connsiteY35" fmla="*/ 876300 h 942975"/>
                    <a:gd name="connsiteX36" fmla="*/ 391857 w 892564"/>
                    <a:gd name="connsiteY36" fmla="*/ 919162 h 942975"/>
                    <a:gd name="connsiteX37" fmla="*/ 420432 w 892564"/>
                    <a:gd name="connsiteY37" fmla="*/ 928687 h 942975"/>
                    <a:gd name="connsiteX38" fmla="*/ 515682 w 892564"/>
                    <a:gd name="connsiteY38" fmla="*/ 933450 h 942975"/>
                    <a:gd name="connsiteX39" fmla="*/ 558544 w 892564"/>
                    <a:gd name="connsiteY39" fmla="*/ 938212 h 942975"/>
                    <a:gd name="connsiteX40" fmla="*/ 596644 w 892564"/>
                    <a:gd name="connsiteY40" fmla="*/ 942975 h 942975"/>
                    <a:gd name="connsiteX41" fmla="*/ 634744 w 892564"/>
                    <a:gd name="connsiteY41" fmla="*/ 938212 h 942975"/>
                    <a:gd name="connsiteX42" fmla="*/ 653794 w 892564"/>
                    <a:gd name="connsiteY42" fmla="*/ 695325 h 942975"/>
                    <a:gd name="connsiteX43" fmla="*/ 668082 w 892564"/>
                    <a:gd name="connsiteY43" fmla="*/ 700087 h 942975"/>
                    <a:gd name="connsiteX44" fmla="*/ 734757 w 892564"/>
                    <a:gd name="connsiteY44" fmla="*/ 728662 h 942975"/>
                    <a:gd name="connsiteX45" fmla="*/ 844294 w 892564"/>
                    <a:gd name="connsiteY45" fmla="*/ 733425 h 942975"/>
                    <a:gd name="connsiteX46" fmla="*/ 877632 w 892564"/>
                    <a:gd name="connsiteY46" fmla="*/ 681037 h 942975"/>
                    <a:gd name="connsiteX47" fmla="*/ 891919 w 892564"/>
                    <a:gd name="connsiteY47" fmla="*/ 642937 h 942975"/>
                    <a:gd name="connsiteX48" fmla="*/ 887157 w 892564"/>
                    <a:gd name="connsiteY48" fmla="*/ 576262 h 942975"/>
                    <a:gd name="connsiteX49" fmla="*/ 872869 w 892564"/>
                    <a:gd name="connsiteY49" fmla="*/ 561975 h 942975"/>
                    <a:gd name="connsiteX50" fmla="*/ 810957 w 892564"/>
                    <a:gd name="connsiteY50" fmla="*/ 509587 h 942975"/>
                    <a:gd name="connsiteX51" fmla="*/ 696657 w 892564"/>
                    <a:gd name="connsiteY51" fmla="*/ 528637 h 942975"/>
                    <a:gd name="connsiteX52" fmla="*/ 668082 w 892564"/>
                    <a:gd name="connsiteY52" fmla="*/ 557212 h 942975"/>
                    <a:gd name="connsiteX53" fmla="*/ 653794 w 892564"/>
                    <a:gd name="connsiteY53" fmla="*/ 566737 h 942975"/>
                    <a:gd name="connsiteX54" fmla="*/ 649032 w 892564"/>
                    <a:gd name="connsiteY54" fmla="*/ 547687 h 942975"/>
                    <a:gd name="connsiteX55" fmla="*/ 644269 w 892564"/>
                    <a:gd name="connsiteY55" fmla="*/ 533400 h 942975"/>
                    <a:gd name="connsiteX56" fmla="*/ 649032 w 892564"/>
                    <a:gd name="connsiteY56" fmla="*/ 471487 h 942975"/>
                    <a:gd name="connsiteX57" fmla="*/ 644269 w 892564"/>
                    <a:gd name="connsiteY57" fmla="*/ 285750 h 942975"/>
                    <a:gd name="connsiteX58" fmla="*/ 634744 w 892564"/>
                    <a:gd name="connsiteY58" fmla="*/ 266700 h 942975"/>
                    <a:gd name="connsiteX59" fmla="*/ 606169 w 892564"/>
                    <a:gd name="connsiteY59" fmla="*/ 261937 h 942975"/>
                    <a:gd name="connsiteX60" fmla="*/ 506157 w 892564"/>
                    <a:gd name="connsiteY60" fmla="*/ 266700 h 942975"/>
                    <a:gd name="connsiteX61" fmla="*/ 434719 w 892564"/>
                    <a:gd name="connsiteY61" fmla="*/ 261937 h 942975"/>
                    <a:gd name="connsiteX62" fmla="*/ 425194 w 892564"/>
                    <a:gd name="connsiteY62" fmla="*/ 228600 h 942975"/>
                    <a:gd name="connsiteX63" fmla="*/ 434719 w 892564"/>
                    <a:gd name="connsiteY63" fmla="*/ 176212 h 942975"/>
                    <a:gd name="connsiteX64" fmla="*/ 444244 w 892564"/>
                    <a:gd name="connsiteY64" fmla="*/ 152400 h 942975"/>
                    <a:gd name="connsiteX65" fmla="*/ 449007 w 892564"/>
                    <a:gd name="connsiteY65" fmla="*/ 138112 h 942975"/>
                    <a:gd name="connsiteX66" fmla="*/ 439482 w 892564"/>
                    <a:gd name="connsiteY66" fmla="*/ 71437 h 942975"/>
                    <a:gd name="connsiteX67" fmla="*/ 429957 w 892564"/>
                    <a:gd name="connsiteY67" fmla="*/ 57150 h 942975"/>
                    <a:gd name="connsiteX68" fmla="*/ 410907 w 892564"/>
                    <a:gd name="connsiteY68" fmla="*/ 33337 h 942975"/>
                    <a:gd name="connsiteX69" fmla="*/ 396619 w 892564"/>
                    <a:gd name="connsiteY69" fmla="*/ 19050 h 942975"/>
                    <a:gd name="connsiteX70" fmla="*/ 320419 w 892564"/>
                    <a:gd name="connsiteY70" fmla="*/ 0 h 942975"/>
                    <a:gd name="connsiteX71" fmla="*/ 263269 w 892564"/>
                    <a:gd name="connsiteY71" fmla="*/ 9525 h 942975"/>
                    <a:gd name="connsiteX72" fmla="*/ 206119 w 892564"/>
                    <a:gd name="connsiteY72" fmla="*/ 66675 h 942975"/>
                    <a:gd name="connsiteX73" fmla="*/ 201357 w 892564"/>
                    <a:gd name="connsiteY73" fmla="*/ 80962 h 942975"/>
                    <a:gd name="connsiteX74" fmla="*/ 191832 w 892564"/>
                    <a:gd name="connsiteY74" fmla="*/ 100012 h 942975"/>
                    <a:gd name="connsiteX75" fmla="*/ 196594 w 892564"/>
                    <a:gd name="connsiteY75" fmla="*/ 166687 h 942975"/>
                    <a:gd name="connsiteX76" fmla="*/ 206119 w 892564"/>
                    <a:gd name="connsiteY76" fmla="*/ 185737 h 942975"/>
                    <a:gd name="connsiteX77" fmla="*/ 234694 w 892564"/>
                    <a:gd name="connsiteY77" fmla="*/ 223837 h 942975"/>
                    <a:gd name="connsiteX78" fmla="*/ 239457 w 892564"/>
                    <a:gd name="connsiteY78" fmla="*/ 242887 h 942975"/>
                    <a:gd name="connsiteX79" fmla="*/ 244219 w 892564"/>
                    <a:gd name="connsiteY79" fmla="*/ 257175 h 942975"/>
                    <a:gd name="connsiteX80" fmla="*/ 239457 w 892564"/>
                    <a:gd name="connsiteY80" fmla="*/ 280987 h 942975"/>
                    <a:gd name="connsiteX81" fmla="*/ 206119 w 892564"/>
                    <a:gd name="connsiteY81" fmla="*/ 276225 h 942975"/>
                    <a:gd name="connsiteX82" fmla="*/ 177544 w 892564"/>
                    <a:gd name="connsiteY82" fmla="*/ 271462 h 942975"/>
                    <a:gd name="connsiteX83" fmla="*/ 29907 w 892564"/>
                    <a:gd name="connsiteY83" fmla="*/ 280987 h 942975"/>
                    <a:gd name="connsiteX84" fmla="*/ 1332 w 892564"/>
                    <a:gd name="connsiteY84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15682 w 892564"/>
                    <a:gd name="connsiteY37" fmla="*/ 933450 h 942975"/>
                    <a:gd name="connsiteX38" fmla="*/ 558544 w 892564"/>
                    <a:gd name="connsiteY38" fmla="*/ 938212 h 942975"/>
                    <a:gd name="connsiteX39" fmla="*/ 596644 w 892564"/>
                    <a:gd name="connsiteY39" fmla="*/ 942975 h 942975"/>
                    <a:gd name="connsiteX40" fmla="*/ 634744 w 892564"/>
                    <a:gd name="connsiteY40" fmla="*/ 938212 h 942975"/>
                    <a:gd name="connsiteX41" fmla="*/ 653794 w 892564"/>
                    <a:gd name="connsiteY41" fmla="*/ 695325 h 942975"/>
                    <a:gd name="connsiteX42" fmla="*/ 668082 w 892564"/>
                    <a:gd name="connsiteY42" fmla="*/ 700087 h 942975"/>
                    <a:gd name="connsiteX43" fmla="*/ 734757 w 892564"/>
                    <a:gd name="connsiteY43" fmla="*/ 728662 h 942975"/>
                    <a:gd name="connsiteX44" fmla="*/ 844294 w 892564"/>
                    <a:gd name="connsiteY44" fmla="*/ 733425 h 942975"/>
                    <a:gd name="connsiteX45" fmla="*/ 877632 w 892564"/>
                    <a:gd name="connsiteY45" fmla="*/ 681037 h 942975"/>
                    <a:gd name="connsiteX46" fmla="*/ 891919 w 892564"/>
                    <a:gd name="connsiteY46" fmla="*/ 642937 h 942975"/>
                    <a:gd name="connsiteX47" fmla="*/ 887157 w 892564"/>
                    <a:gd name="connsiteY47" fmla="*/ 576262 h 942975"/>
                    <a:gd name="connsiteX48" fmla="*/ 872869 w 892564"/>
                    <a:gd name="connsiteY48" fmla="*/ 561975 h 942975"/>
                    <a:gd name="connsiteX49" fmla="*/ 810957 w 892564"/>
                    <a:gd name="connsiteY49" fmla="*/ 509587 h 942975"/>
                    <a:gd name="connsiteX50" fmla="*/ 696657 w 892564"/>
                    <a:gd name="connsiteY50" fmla="*/ 528637 h 942975"/>
                    <a:gd name="connsiteX51" fmla="*/ 668082 w 892564"/>
                    <a:gd name="connsiteY51" fmla="*/ 557212 h 942975"/>
                    <a:gd name="connsiteX52" fmla="*/ 653794 w 892564"/>
                    <a:gd name="connsiteY52" fmla="*/ 566737 h 942975"/>
                    <a:gd name="connsiteX53" fmla="*/ 649032 w 892564"/>
                    <a:gd name="connsiteY53" fmla="*/ 547687 h 942975"/>
                    <a:gd name="connsiteX54" fmla="*/ 644269 w 892564"/>
                    <a:gd name="connsiteY54" fmla="*/ 533400 h 942975"/>
                    <a:gd name="connsiteX55" fmla="*/ 649032 w 892564"/>
                    <a:gd name="connsiteY55" fmla="*/ 471487 h 942975"/>
                    <a:gd name="connsiteX56" fmla="*/ 644269 w 892564"/>
                    <a:gd name="connsiteY56" fmla="*/ 285750 h 942975"/>
                    <a:gd name="connsiteX57" fmla="*/ 634744 w 892564"/>
                    <a:gd name="connsiteY57" fmla="*/ 266700 h 942975"/>
                    <a:gd name="connsiteX58" fmla="*/ 606169 w 892564"/>
                    <a:gd name="connsiteY58" fmla="*/ 261937 h 942975"/>
                    <a:gd name="connsiteX59" fmla="*/ 506157 w 892564"/>
                    <a:gd name="connsiteY59" fmla="*/ 266700 h 942975"/>
                    <a:gd name="connsiteX60" fmla="*/ 434719 w 892564"/>
                    <a:gd name="connsiteY60" fmla="*/ 261937 h 942975"/>
                    <a:gd name="connsiteX61" fmla="*/ 425194 w 892564"/>
                    <a:gd name="connsiteY61" fmla="*/ 228600 h 942975"/>
                    <a:gd name="connsiteX62" fmla="*/ 434719 w 892564"/>
                    <a:gd name="connsiteY62" fmla="*/ 176212 h 942975"/>
                    <a:gd name="connsiteX63" fmla="*/ 444244 w 892564"/>
                    <a:gd name="connsiteY63" fmla="*/ 152400 h 942975"/>
                    <a:gd name="connsiteX64" fmla="*/ 449007 w 892564"/>
                    <a:gd name="connsiteY64" fmla="*/ 138112 h 942975"/>
                    <a:gd name="connsiteX65" fmla="*/ 439482 w 892564"/>
                    <a:gd name="connsiteY65" fmla="*/ 71437 h 942975"/>
                    <a:gd name="connsiteX66" fmla="*/ 429957 w 892564"/>
                    <a:gd name="connsiteY66" fmla="*/ 57150 h 942975"/>
                    <a:gd name="connsiteX67" fmla="*/ 410907 w 892564"/>
                    <a:gd name="connsiteY67" fmla="*/ 33337 h 942975"/>
                    <a:gd name="connsiteX68" fmla="*/ 396619 w 892564"/>
                    <a:gd name="connsiteY68" fmla="*/ 19050 h 942975"/>
                    <a:gd name="connsiteX69" fmla="*/ 320419 w 892564"/>
                    <a:gd name="connsiteY69" fmla="*/ 0 h 942975"/>
                    <a:gd name="connsiteX70" fmla="*/ 263269 w 892564"/>
                    <a:gd name="connsiteY70" fmla="*/ 9525 h 942975"/>
                    <a:gd name="connsiteX71" fmla="*/ 206119 w 892564"/>
                    <a:gd name="connsiteY71" fmla="*/ 66675 h 942975"/>
                    <a:gd name="connsiteX72" fmla="*/ 201357 w 892564"/>
                    <a:gd name="connsiteY72" fmla="*/ 80962 h 942975"/>
                    <a:gd name="connsiteX73" fmla="*/ 191832 w 892564"/>
                    <a:gd name="connsiteY73" fmla="*/ 100012 h 942975"/>
                    <a:gd name="connsiteX74" fmla="*/ 196594 w 892564"/>
                    <a:gd name="connsiteY74" fmla="*/ 166687 h 942975"/>
                    <a:gd name="connsiteX75" fmla="*/ 206119 w 892564"/>
                    <a:gd name="connsiteY75" fmla="*/ 185737 h 942975"/>
                    <a:gd name="connsiteX76" fmla="*/ 234694 w 892564"/>
                    <a:gd name="connsiteY76" fmla="*/ 223837 h 942975"/>
                    <a:gd name="connsiteX77" fmla="*/ 239457 w 892564"/>
                    <a:gd name="connsiteY77" fmla="*/ 242887 h 942975"/>
                    <a:gd name="connsiteX78" fmla="*/ 244219 w 892564"/>
                    <a:gd name="connsiteY78" fmla="*/ 257175 h 942975"/>
                    <a:gd name="connsiteX79" fmla="*/ 239457 w 892564"/>
                    <a:gd name="connsiteY79" fmla="*/ 280987 h 942975"/>
                    <a:gd name="connsiteX80" fmla="*/ 206119 w 892564"/>
                    <a:gd name="connsiteY80" fmla="*/ 276225 h 942975"/>
                    <a:gd name="connsiteX81" fmla="*/ 177544 w 892564"/>
                    <a:gd name="connsiteY81" fmla="*/ 271462 h 942975"/>
                    <a:gd name="connsiteX82" fmla="*/ 29907 w 892564"/>
                    <a:gd name="connsiteY82" fmla="*/ 280987 h 942975"/>
                    <a:gd name="connsiteX83" fmla="*/ 1332 w 892564"/>
                    <a:gd name="connsiteY83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177544 w 892564"/>
                    <a:gd name="connsiteY80" fmla="*/ 271462 h 942975"/>
                    <a:gd name="connsiteX81" fmla="*/ 29907 w 892564"/>
                    <a:gd name="connsiteY81" fmla="*/ 280987 h 942975"/>
                    <a:gd name="connsiteX82" fmla="*/ 1332 w 892564"/>
                    <a:gd name="connsiteY82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29907 w 892564"/>
                    <a:gd name="connsiteY80" fmla="*/ 280987 h 942975"/>
                    <a:gd name="connsiteX81" fmla="*/ 1332 w 892564"/>
                    <a:gd name="connsiteY81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53737 w 892507"/>
                    <a:gd name="connsiteY50" fmla="*/ 566737 h 942975"/>
                    <a:gd name="connsiteX51" fmla="*/ 648975 w 892507"/>
                    <a:gd name="connsiteY51" fmla="*/ 547687 h 942975"/>
                    <a:gd name="connsiteX52" fmla="*/ 644212 w 892507"/>
                    <a:gd name="connsiteY52" fmla="*/ 533400 h 942975"/>
                    <a:gd name="connsiteX53" fmla="*/ 648975 w 892507"/>
                    <a:gd name="connsiteY53" fmla="*/ 471487 h 942975"/>
                    <a:gd name="connsiteX54" fmla="*/ 644212 w 892507"/>
                    <a:gd name="connsiteY54" fmla="*/ 285750 h 942975"/>
                    <a:gd name="connsiteX55" fmla="*/ 634687 w 892507"/>
                    <a:gd name="connsiteY55" fmla="*/ 266700 h 942975"/>
                    <a:gd name="connsiteX56" fmla="*/ 606112 w 892507"/>
                    <a:gd name="connsiteY56" fmla="*/ 261937 h 942975"/>
                    <a:gd name="connsiteX57" fmla="*/ 506100 w 892507"/>
                    <a:gd name="connsiteY57" fmla="*/ 266700 h 942975"/>
                    <a:gd name="connsiteX58" fmla="*/ 434662 w 892507"/>
                    <a:gd name="connsiteY58" fmla="*/ 261937 h 942975"/>
                    <a:gd name="connsiteX59" fmla="*/ 425137 w 892507"/>
                    <a:gd name="connsiteY59" fmla="*/ 228600 h 942975"/>
                    <a:gd name="connsiteX60" fmla="*/ 434662 w 892507"/>
                    <a:gd name="connsiteY60" fmla="*/ 176212 h 942975"/>
                    <a:gd name="connsiteX61" fmla="*/ 444187 w 892507"/>
                    <a:gd name="connsiteY61" fmla="*/ 152400 h 942975"/>
                    <a:gd name="connsiteX62" fmla="*/ 448950 w 892507"/>
                    <a:gd name="connsiteY62" fmla="*/ 138112 h 942975"/>
                    <a:gd name="connsiteX63" fmla="*/ 439425 w 892507"/>
                    <a:gd name="connsiteY63" fmla="*/ 71437 h 942975"/>
                    <a:gd name="connsiteX64" fmla="*/ 429900 w 892507"/>
                    <a:gd name="connsiteY64" fmla="*/ 57150 h 942975"/>
                    <a:gd name="connsiteX65" fmla="*/ 410850 w 892507"/>
                    <a:gd name="connsiteY65" fmla="*/ 33337 h 942975"/>
                    <a:gd name="connsiteX66" fmla="*/ 396562 w 892507"/>
                    <a:gd name="connsiteY66" fmla="*/ 19050 h 942975"/>
                    <a:gd name="connsiteX67" fmla="*/ 320362 w 892507"/>
                    <a:gd name="connsiteY67" fmla="*/ 0 h 942975"/>
                    <a:gd name="connsiteX68" fmla="*/ 263212 w 892507"/>
                    <a:gd name="connsiteY68" fmla="*/ 9525 h 942975"/>
                    <a:gd name="connsiteX69" fmla="*/ 206062 w 892507"/>
                    <a:gd name="connsiteY69" fmla="*/ 66675 h 942975"/>
                    <a:gd name="connsiteX70" fmla="*/ 201300 w 892507"/>
                    <a:gd name="connsiteY70" fmla="*/ 80962 h 942975"/>
                    <a:gd name="connsiteX71" fmla="*/ 191775 w 892507"/>
                    <a:gd name="connsiteY71" fmla="*/ 100012 h 942975"/>
                    <a:gd name="connsiteX72" fmla="*/ 196537 w 892507"/>
                    <a:gd name="connsiteY72" fmla="*/ 166687 h 942975"/>
                    <a:gd name="connsiteX73" fmla="*/ 206062 w 892507"/>
                    <a:gd name="connsiteY73" fmla="*/ 185737 h 942975"/>
                    <a:gd name="connsiteX74" fmla="*/ 234637 w 892507"/>
                    <a:gd name="connsiteY74" fmla="*/ 223837 h 942975"/>
                    <a:gd name="connsiteX75" fmla="*/ 239400 w 892507"/>
                    <a:gd name="connsiteY75" fmla="*/ 242887 h 942975"/>
                    <a:gd name="connsiteX76" fmla="*/ 244162 w 892507"/>
                    <a:gd name="connsiteY76" fmla="*/ 257175 h 942975"/>
                    <a:gd name="connsiteX77" fmla="*/ 239400 w 892507"/>
                    <a:gd name="connsiteY77" fmla="*/ 280987 h 942975"/>
                    <a:gd name="connsiteX78" fmla="*/ 206062 w 892507"/>
                    <a:gd name="connsiteY78" fmla="*/ 276225 h 942975"/>
                    <a:gd name="connsiteX79" fmla="*/ 29850 w 892507"/>
                    <a:gd name="connsiteY79" fmla="*/ 280987 h 942975"/>
                    <a:gd name="connsiteX80" fmla="*/ 1275 w 892507"/>
                    <a:gd name="connsiteY80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48975 w 892507"/>
                    <a:gd name="connsiteY50" fmla="*/ 547687 h 942975"/>
                    <a:gd name="connsiteX51" fmla="*/ 644212 w 892507"/>
                    <a:gd name="connsiteY51" fmla="*/ 533400 h 942975"/>
                    <a:gd name="connsiteX52" fmla="*/ 648975 w 892507"/>
                    <a:gd name="connsiteY52" fmla="*/ 471487 h 942975"/>
                    <a:gd name="connsiteX53" fmla="*/ 644212 w 892507"/>
                    <a:gd name="connsiteY53" fmla="*/ 285750 h 942975"/>
                    <a:gd name="connsiteX54" fmla="*/ 634687 w 892507"/>
                    <a:gd name="connsiteY54" fmla="*/ 266700 h 942975"/>
                    <a:gd name="connsiteX55" fmla="*/ 606112 w 892507"/>
                    <a:gd name="connsiteY55" fmla="*/ 261937 h 942975"/>
                    <a:gd name="connsiteX56" fmla="*/ 506100 w 892507"/>
                    <a:gd name="connsiteY56" fmla="*/ 266700 h 942975"/>
                    <a:gd name="connsiteX57" fmla="*/ 434662 w 892507"/>
                    <a:gd name="connsiteY57" fmla="*/ 261937 h 942975"/>
                    <a:gd name="connsiteX58" fmla="*/ 425137 w 892507"/>
                    <a:gd name="connsiteY58" fmla="*/ 228600 h 942975"/>
                    <a:gd name="connsiteX59" fmla="*/ 434662 w 892507"/>
                    <a:gd name="connsiteY59" fmla="*/ 176212 h 942975"/>
                    <a:gd name="connsiteX60" fmla="*/ 444187 w 892507"/>
                    <a:gd name="connsiteY60" fmla="*/ 152400 h 942975"/>
                    <a:gd name="connsiteX61" fmla="*/ 448950 w 892507"/>
                    <a:gd name="connsiteY61" fmla="*/ 138112 h 942975"/>
                    <a:gd name="connsiteX62" fmla="*/ 439425 w 892507"/>
                    <a:gd name="connsiteY62" fmla="*/ 71437 h 942975"/>
                    <a:gd name="connsiteX63" fmla="*/ 429900 w 892507"/>
                    <a:gd name="connsiteY63" fmla="*/ 57150 h 942975"/>
                    <a:gd name="connsiteX64" fmla="*/ 410850 w 892507"/>
                    <a:gd name="connsiteY64" fmla="*/ 33337 h 942975"/>
                    <a:gd name="connsiteX65" fmla="*/ 396562 w 892507"/>
                    <a:gd name="connsiteY65" fmla="*/ 19050 h 942975"/>
                    <a:gd name="connsiteX66" fmla="*/ 320362 w 892507"/>
                    <a:gd name="connsiteY66" fmla="*/ 0 h 942975"/>
                    <a:gd name="connsiteX67" fmla="*/ 263212 w 892507"/>
                    <a:gd name="connsiteY67" fmla="*/ 9525 h 942975"/>
                    <a:gd name="connsiteX68" fmla="*/ 206062 w 892507"/>
                    <a:gd name="connsiteY68" fmla="*/ 66675 h 942975"/>
                    <a:gd name="connsiteX69" fmla="*/ 201300 w 892507"/>
                    <a:gd name="connsiteY69" fmla="*/ 80962 h 942975"/>
                    <a:gd name="connsiteX70" fmla="*/ 191775 w 892507"/>
                    <a:gd name="connsiteY70" fmla="*/ 100012 h 942975"/>
                    <a:gd name="connsiteX71" fmla="*/ 196537 w 892507"/>
                    <a:gd name="connsiteY71" fmla="*/ 166687 h 942975"/>
                    <a:gd name="connsiteX72" fmla="*/ 206062 w 892507"/>
                    <a:gd name="connsiteY72" fmla="*/ 185737 h 942975"/>
                    <a:gd name="connsiteX73" fmla="*/ 234637 w 892507"/>
                    <a:gd name="connsiteY73" fmla="*/ 223837 h 942975"/>
                    <a:gd name="connsiteX74" fmla="*/ 239400 w 892507"/>
                    <a:gd name="connsiteY74" fmla="*/ 242887 h 942975"/>
                    <a:gd name="connsiteX75" fmla="*/ 244162 w 892507"/>
                    <a:gd name="connsiteY75" fmla="*/ 257175 h 942975"/>
                    <a:gd name="connsiteX76" fmla="*/ 239400 w 892507"/>
                    <a:gd name="connsiteY76" fmla="*/ 280987 h 942975"/>
                    <a:gd name="connsiteX77" fmla="*/ 206062 w 892507"/>
                    <a:gd name="connsiteY77" fmla="*/ 276225 h 942975"/>
                    <a:gd name="connsiteX78" fmla="*/ 29850 w 892507"/>
                    <a:gd name="connsiteY78" fmla="*/ 280987 h 942975"/>
                    <a:gd name="connsiteX79" fmla="*/ 1275 w 892507"/>
                    <a:gd name="connsiteY79" fmla="*/ 295275 h 942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892507" h="942975">
                      <a:moveTo>
                        <a:pt x="1275" y="295275"/>
                      </a:moveTo>
                      <a:cubicBezTo>
                        <a:pt x="-2694" y="324644"/>
                        <a:pt x="3656" y="419894"/>
                        <a:pt x="6037" y="457200"/>
                      </a:cubicBezTo>
                      <a:cubicBezTo>
                        <a:pt x="8418" y="494506"/>
                        <a:pt x="11593" y="504825"/>
                        <a:pt x="15562" y="519112"/>
                      </a:cubicBezTo>
                      <a:cubicBezTo>
                        <a:pt x="19531" y="533399"/>
                        <a:pt x="23304" y="536379"/>
                        <a:pt x="29850" y="542925"/>
                      </a:cubicBezTo>
                      <a:cubicBezTo>
                        <a:pt x="33400" y="546475"/>
                        <a:pt x="39267" y="546469"/>
                        <a:pt x="44137" y="547687"/>
                      </a:cubicBezTo>
                      <a:cubicBezTo>
                        <a:pt x="51990" y="549650"/>
                        <a:pt x="60012" y="550862"/>
                        <a:pt x="67950" y="552450"/>
                      </a:cubicBezTo>
                      <a:cubicBezTo>
                        <a:pt x="79062" y="549275"/>
                        <a:pt x="90557" y="547217"/>
                        <a:pt x="101287" y="542925"/>
                      </a:cubicBezTo>
                      <a:cubicBezTo>
                        <a:pt x="114934" y="537466"/>
                        <a:pt x="118876" y="528267"/>
                        <a:pt x="129862" y="519112"/>
                      </a:cubicBezTo>
                      <a:cubicBezTo>
                        <a:pt x="134259" y="515448"/>
                        <a:pt x="139387" y="512762"/>
                        <a:pt x="144150" y="509587"/>
                      </a:cubicBezTo>
                      <a:cubicBezTo>
                        <a:pt x="169550" y="511175"/>
                        <a:pt x="195040" y="511686"/>
                        <a:pt x="220350" y="514350"/>
                      </a:cubicBezTo>
                      <a:cubicBezTo>
                        <a:pt x="225342" y="514876"/>
                        <a:pt x="231087" y="515562"/>
                        <a:pt x="234637" y="519112"/>
                      </a:cubicBezTo>
                      <a:cubicBezTo>
                        <a:pt x="241183" y="525658"/>
                        <a:pt x="244162" y="534987"/>
                        <a:pt x="248925" y="542925"/>
                      </a:cubicBezTo>
                      <a:cubicBezTo>
                        <a:pt x="242355" y="634900"/>
                        <a:pt x="254541" y="583866"/>
                        <a:pt x="234637" y="628650"/>
                      </a:cubicBezTo>
                      <a:cubicBezTo>
                        <a:pt x="231165" y="636462"/>
                        <a:pt x="230241" y="645623"/>
                        <a:pt x="225112" y="652462"/>
                      </a:cubicBezTo>
                      <a:cubicBezTo>
                        <a:pt x="213902" y="667409"/>
                        <a:pt x="202980" y="667520"/>
                        <a:pt x="187012" y="671512"/>
                      </a:cubicBezTo>
                      <a:cubicBezTo>
                        <a:pt x="175900" y="668337"/>
                        <a:pt x="164196" y="666769"/>
                        <a:pt x="153675" y="661987"/>
                      </a:cubicBezTo>
                      <a:cubicBezTo>
                        <a:pt x="146449" y="658703"/>
                        <a:pt x="140652" y="652866"/>
                        <a:pt x="134625" y="647700"/>
                      </a:cubicBezTo>
                      <a:cubicBezTo>
                        <a:pt x="120365" y="635477"/>
                        <a:pt x="120610" y="633822"/>
                        <a:pt x="110812" y="619125"/>
                      </a:cubicBezTo>
                      <a:cubicBezTo>
                        <a:pt x="82237" y="620712"/>
                        <a:pt x="53092" y="617991"/>
                        <a:pt x="25087" y="623887"/>
                      </a:cubicBezTo>
                      <a:cubicBezTo>
                        <a:pt x="20174" y="624921"/>
                        <a:pt x="20325" y="633155"/>
                        <a:pt x="20325" y="638175"/>
                      </a:cubicBezTo>
                      <a:cubicBezTo>
                        <a:pt x="20325" y="655709"/>
                        <a:pt x="22706" y="644525"/>
                        <a:pt x="25087" y="690562"/>
                      </a:cubicBezTo>
                      <a:cubicBezTo>
                        <a:pt x="27468" y="736599"/>
                        <a:pt x="-3488" y="874713"/>
                        <a:pt x="34612" y="914400"/>
                      </a:cubicBezTo>
                      <a:cubicBezTo>
                        <a:pt x="72712" y="954087"/>
                        <a:pt x="213206" y="927100"/>
                        <a:pt x="253687" y="928687"/>
                      </a:cubicBezTo>
                      <a:cubicBezTo>
                        <a:pt x="261625" y="927100"/>
                        <a:pt x="273010" y="930660"/>
                        <a:pt x="277500" y="923925"/>
                      </a:cubicBezTo>
                      <a:cubicBezTo>
                        <a:pt x="282775" y="916012"/>
                        <a:pt x="266332" y="887302"/>
                        <a:pt x="263212" y="881062"/>
                      </a:cubicBezTo>
                      <a:cubicBezTo>
                        <a:pt x="260037" y="868362"/>
                        <a:pt x="257826" y="855381"/>
                        <a:pt x="253687" y="842962"/>
                      </a:cubicBezTo>
                      <a:cubicBezTo>
                        <a:pt x="252100" y="838200"/>
                        <a:pt x="250304" y="833502"/>
                        <a:pt x="248925" y="828675"/>
                      </a:cubicBezTo>
                      <a:cubicBezTo>
                        <a:pt x="244438" y="812971"/>
                        <a:pt x="242676" y="802194"/>
                        <a:pt x="239400" y="785812"/>
                      </a:cubicBezTo>
                      <a:cubicBezTo>
                        <a:pt x="242575" y="771525"/>
                        <a:pt x="240806" y="755128"/>
                        <a:pt x="248925" y="742950"/>
                      </a:cubicBezTo>
                      <a:cubicBezTo>
                        <a:pt x="254832" y="734089"/>
                        <a:pt x="267670" y="732758"/>
                        <a:pt x="277500" y="728662"/>
                      </a:cubicBezTo>
                      <a:cubicBezTo>
                        <a:pt x="286768" y="724800"/>
                        <a:pt x="306075" y="719137"/>
                        <a:pt x="306075" y="719137"/>
                      </a:cubicBezTo>
                      <a:cubicBezTo>
                        <a:pt x="323537" y="722312"/>
                        <a:pt x="342587" y="720725"/>
                        <a:pt x="358462" y="728662"/>
                      </a:cubicBezTo>
                      <a:cubicBezTo>
                        <a:pt x="363087" y="730975"/>
                        <a:pt x="390372" y="768034"/>
                        <a:pt x="396562" y="776287"/>
                      </a:cubicBezTo>
                      <a:cubicBezTo>
                        <a:pt x="394975" y="809625"/>
                        <a:pt x="394265" y="843016"/>
                        <a:pt x="391800" y="876300"/>
                      </a:cubicBezTo>
                      <a:cubicBezTo>
                        <a:pt x="391578" y="879296"/>
                        <a:pt x="381193" y="911586"/>
                        <a:pt x="391800" y="919162"/>
                      </a:cubicBezTo>
                      <a:cubicBezTo>
                        <a:pt x="399970" y="924998"/>
                        <a:pt x="392594" y="925512"/>
                        <a:pt x="420375" y="928687"/>
                      </a:cubicBezTo>
                      <a:cubicBezTo>
                        <a:pt x="448156" y="931862"/>
                        <a:pt x="529118" y="935831"/>
                        <a:pt x="558487" y="938212"/>
                      </a:cubicBezTo>
                      <a:cubicBezTo>
                        <a:pt x="587856" y="940593"/>
                        <a:pt x="583788" y="942975"/>
                        <a:pt x="596587" y="942975"/>
                      </a:cubicBezTo>
                      <a:cubicBezTo>
                        <a:pt x="609386" y="942975"/>
                        <a:pt x="621987" y="939800"/>
                        <a:pt x="634687" y="938212"/>
                      </a:cubicBezTo>
                      <a:cubicBezTo>
                        <a:pt x="637952" y="872912"/>
                        <a:pt x="642558" y="751221"/>
                        <a:pt x="653737" y="695325"/>
                      </a:cubicBezTo>
                      <a:cubicBezTo>
                        <a:pt x="654722" y="690402"/>
                        <a:pt x="663535" y="697842"/>
                        <a:pt x="668025" y="700087"/>
                      </a:cubicBezTo>
                      <a:cubicBezTo>
                        <a:pt x="727213" y="729681"/>
                        <a:pt x="690279" y="719779"/>
                        <a:pt x="734700" y="728662"/>
                      </a:cubicBezTo>
                      <a:cubicBezTo>
                        <a:pt x="778294" y="750460"/>
                        <a:pt x="776391" y="756041"/>
                        <a:pt x="844237" y="733425"/>
                      </a:cubicBezTo>
                      <a:cubicBezTo>
                        <a:pt x="855802" y="729570"/>
                        <a:pt x="873552" y="689083"/>
                        <a:pt x="877575" y="681037"/>
                      </a:cubicBezTo>
                      <a:cubicBezTo>
                        <a:pt x="885513" y="665956"/>
                        <a:pt x="890275" y="660399"/>
                        <a:pt x="891862" y="642937"/>
                      </a:cubicBezTo>
                      <a:cubicBezTo>
                        <a:pt x="893449" y="625475"/>
                        <a:pt x="892203" y="597951"/>
                        <a:pt x="887100" y="576262"/>
                      </a:cubicBezTo>
                      <a:cubicBezTo>
                        <a:pt x="885557" y="569706"/>
                        <a:pt x="877575" y="566737"/>
                        <a:pt x="872812" y="561975"/>
                      </a:cubicBezTo>
                      <a:cubicBezTo>
                        <a:pt x="860112" y="550863"/>
                        <a:pt x="840269" y="515143"/>
                        <a:pt x="810900" y="509587"/>
                      </a:cubicBezTo>
                      <a:cubicBezTo>
                        <a:pt x="758140" y="513105"/>
                        <a:pt x="740834" y="508221"/>
                        <a:pt x="696600" y="528637"/>
                      </a:cubicBezTo>
                      <a:cubicBezTo>
                        <a:pt x="667695" y="541978"/>
                        <a:pt x="675963" y="554037"/>
                        <a:pt x="668025" y="557212"/>
                      </a:cubicBezTo>
                      <a:cubicBezTo>
                        <a:pt x="660087" y="560387"/>
                        <a:pt x="652944" y="551656"/>
                        <a:pt x="648975" y="547687"/>
                      </a:cubicBezTo>
                      <a:cubicBezTo>
                        <a:pt x="645006" y="543718"/>
                        <a:pt x="644212" y="538420"/>
                        <a:pt x="644212" y="533400"/>
                      </a:cubicBezTo>
                      <a:cubicBezTo>
                        <a:pt x="644212" y="512701"/>
                        <a:pt x="647387" y="492125"/>
                        <a:pt x="648975" y="471487"/>
                      </a:cubicBezTo>
                      <a:cubicBezTo>
                        <a:pt x="647387" y="409575"/>
                        <a:pt x="648523" y="347532"/>
                        <a:pt x="644212" y="285750"/>
                      </a:cubicBezTo>
                      <a:cubicBezTo>
                        <a:pt x="643718" y="278668"/>
                        <a:pt x="640707" y="270463"/>
                        <a:pt x="634687" y="266700"/>
                      </a:cubicBezTo>
                      <a:cubicBezTo>
                        <a:pt x="626498" y="261582"/>
                        <a:pt x="615637" y="263525"/>
                        <a:pt x="606112" y="261937"/>
                      </a:cubicBezTo>
                      <a:lnTo>
                        <a:pt x="506100" y="266700"/>
                      </a:lnTo>
                      <a:cubicBezTo>
                        <a:pt x="445682" y="270598"/>
                        <a:pt x="475585" y="278306"/>
                        <a:pt x="434662" y="261937"/>
                      </a:cubicBezTo>
                      <a:cubicBezTo>
                        <a:pt x="432672" y="255965"/>
                        <a:pt x="424805" y="233581"/>
                        <a:pt x="425137" y="228600"/>
                      </a:cubicBezTo>
                      <a:cubicBezTo>
                        <a:pt x="426318" y="210890"/>
                        <a:pt x="430357" y="193431"/>
                        <a:pt x="434662" y="176212"/>
                      </a:cubicBezTo>
                      <a:cubicBezTo>
                        <a:pt x="436735" y="167918"/>
                        <a:pt x="441185" y="160404"/>
                        <a:pt x="444187" y="152400"/>
                      </a:cubicBezTo>
                      <a:cubicBezTo>
                        <a:pt x="445950" y="147699"/>
                        <a:pt x="447362" y="142875"/>
                        <a:pt x="448950" y="138112"/>
                      </a:cubicBezTo>
                      <a:cubicBezTo>
                        <a:pt x="447734" y="124738"/>
                        <a:pt x="448585" y="89759"/>
                        <a:pt x="439425" y="71437"/>
                      </a:cubicBezTo>
                      <a:cubicBezTo>
                        <a:pt x="436865" y="66318"/>
                        <a:pt x="433075" y="61912"/>
                        <a:pt x="429900" y="57150"/>
                      </a:cubicBezTo>
                      <a:cubicBezTo>
                        <a:pt x="421247" y="22541"/>
                        <a:pt x="433396" y="48368"/>
                        <a:pt x="410850" y="33337"/>
                      </a:cubicBezTo>
                      <a:cubicBezTo>
                        <a:pt x="405246" y="29601"/>
                        <a:pt x="402337" y="22515"/>
                        <a:pt x="396562" y="19050"/>
                      </a:cubicBezTo>
                      <a:cubicBezTo>
                        <a:pt x="366332" y="912"/>
                        <a:pt x="355835" y="3941"/>
                        <a:pt x="320362" y="0"/>
                      </a:cubicBezTo>
                      <a:cubicBezTo>
                        <a:pt x="301312" y="3175"/>
                        <a:pt x="281334" y="2849"/>
                        <a:pt x="263212" y="9525"/>
                      </a:cubicBezTo>
                      <a:cubicBezTo>
                        <a:pt x="235392" y="19775"/>
                        <a:pt x="221221" y="43936"/>
                        <a:pt x="206062" y="66675"/>
                      </a:cubicBezTo>
                      <a:cubicBezTo>
                        <a:pt x="204475" y="71437"/>
                        <a:pt x="203277" y="76348"/>
                        <a:pt x="201300" y="80962"/>
                      </a:cubicBezTo>
                      <a:cubicBezTo>
                        <a:pt x="198503" y="87488"/>
                        <a:pt x="192169" y="92923"/>
                        <a:pt x="191775" y="100012"/>
                      </a:cubicBezTo>
                      <a:cubicBezTo>
                        <a:pt x="190539" y="122259"/>
                        <a:pt x="192874" y="144709"/>
                        <a:pt x="196537" y="166687"/>
                      </a:cubicBezTo>
                      <a:cubicBezTo>
                        <a:pt x="197704" y="173690"/>
                        <a:pt x="202124" y="179830"/>
                        <a:pt x="206062" y="185737"/>
                      </a:cubicBezTo>
                      <a:cubicBezTo>
                        <a:pt x="214868" y="198946"/>
                        <a:pt x="234637" y="223837"/>
                        <a:pt x="234637" y="223837"/>
                      </a:cubicBezTo>
                      <a:cubicBezTo>
                        <a:pt x="236225" y="230187"/>
                        <a:pt x="237602" y="236593"/>
                        <a:pt x="239400" y="242887"/>
                      </a:cubicBezTo>
                      <a:cubicBezTo>
                        <a:pt x="240779" y="247714"/>
                        <a:pt x="244162" y="252155"/>
                        <a:pt x="244162" y="257175"/>
                      </a:cubicBezTo>
                      <a:cubicBezTo>
                        <a:pt x="244162" y="265269"/>
                        <a:pt x="240987" y="273050"/>
                        <a:pt x="239400" y="280987"/>
                      </a:cubicBezTo>
                      <a:lnTo>
                        <a:pt x="206062" y="276225"/>
                      </a:lnTo>
                      <a:cubicBezTo>
                        <a:pt x="171137" y="276225"/>
                        <a:pt x="63981" y="277812"/>
                        <a:pt x="29850" y="280987"/>
                      </a:cubicBezTo>
                      <a:cubicBezTo>
                        <a:pt x="-4281" y="284162"/>
                        <a:pt x="5244" y="265906"/>
                        <a:pt x="1275" y="295275"/>
                      </a:cubicBez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  <p:sp>
              <p:nvSpPr>
                <p:cNvPr id="160" name="Freeform: Shape 159">
                  <a:extLst>
                    <a:ext uri="{FF2B5EF4-FFF2-40B4-BE49-F238E27FC236}">
                      <a16:creationId xmlns:a16="http://schemas.microsoft.com/office/drawing/2014/main" id="{06FD2FCB-DA82-C2B1-9C0E-C93FD23D3AA2}"/>
                    </a:ext>
                  </a:extLst>
                </p:cNvPr>
                <p:cNvSpPr/>
                <p:nvPr/>
              </p:nvSpPr>
              <p:spPr>
                <a:xfrm>
                  <a:off x="9104626" y="3433763"/>
                  <a:ext cx="892507" cy="942975"/>
                </a:xfrm>
                <a:custGeom>
                  <a:avLst/>
                  <a:gdLst>
                    <a:gd name="connsiteX0" fmla="*/ 1332 w 892414"/>
                    <a:gd name="connsiteY0" fmla="*/ 295275 h 942975"/>
                    <a:gd name="connsiteX1" fmla="*/ 6094 w 892414"/>
                    <a:gd name="connsiteY1" fmla="*/ 457200 h 942975"/>
                    <a:gd name="connsiteX2" fmla="*/ 10857 w 892414"/>
                    <a:gd name="connsiteY2" fmla="*/ 476250 h 942975"/>
                    <a:gd name="connsiteX3" fmla="*/ 15619 w 892414"/>
                    <a:gd name="connsiteY3" fmla="*/ 519112 h 942975"/>
                    <a:gd name="connsiteX4" fmla="*/ 29907 w 892414"/>
                    <a:gd name="connsiteY4" fmla="*/ 542925 h 942975"/>
                    <a:gd name="connsiteX5" fmla="*/ 44194 w 892414"/>
                    <a:gd name="connsiteY5" fmla="*/ 547687 h 942975"/>
                    <a:gd name="connsiteX6" fmla="*/ 68007 w 892414"/>
                    <a:gd name="connsiteY6" fmla="*/ 552450 h 942975"/>
                    <a:gd name="connsiteX7" fmla="*/ 101344 w 892414"/>
                    <a:gd name="connsiteY7" fmla="*/ 542925 h 942975"/>
                    <a:gd name="connsiteX8" fmla="*/ 129919 w 892414"/>
                    <a:gd name="connsiteY8" fmla="*/ 519112 h 942975"/>
                    <a:gd name="connsiteX9" fmla="*/ 144207 w 892414"/>
                    <a:gd name="connsiteY9" fmla="*/ 509587 h 942975"/>
                    <a:gd name="connsiteX10" fmla="*/ 220407 w 892414"/>
                    <a:gd name="connsiteY10" fmla="*/ 514350 h 942975"/>
                    <a:gd name="connsiteX11" fmla="*/ 234694 w 892414"/>
                    <a:gd name="connsiteY11" fmla="*/ 519112 h 942975"/>
                    <a:gd name="connsiteX12" fmla="*/ 248982 w 892414"/>
                    <a:gd name="connsiteY12" fmla="*/ 542925 h 942975"/>
                    <a:gd name="connsiteX13" fmla="*/ 234694 w 892414"/>
                    <a:gd name="connsiteY13" fmla="*/ 628650 h 942975"/>
                    <a:gd name="connsiteX14" fmla="*/ 225169 w 892414"/>
                    <a:gd name="connsiteY14" fmla="*/ 652462 h 942975"/>
                    <a:gd name="connsiteX15" fmla="*/ 187069 w 892414"/>
                    <a:gd name="connsiteY15" fmla="*/ 671512 h 942975"/>
                    <a:gd name="connsiteX16" fmla="*/ 153732 w 892414"/>
                    <a:gd name="connsiteY16" fmla="*/ 661987 h 942975"/>
                    <a:gd name="connsiteX17" fmla="*/ 134682 w 892414"/>
                    <a:gd name="connsiteY17" fmla="*/ 647700 h 942975"/>
                    <a:gd name="connsiteX18" fmla="*/ 110869 w 892414"/>
                    <a:gd name="connsiteY18" fmla="*/ 619125 h 942975"/>
                    <a:gd name="connsiteX19" fmla="*/ 25144 w 892414"/>
                    <a:gd name="connsiteY19" fmla="*/ 623887 h 942975"/>
                    <a:gd name="connsiteX20" fmla="*/ 20382 w 892414"/>
                    <a:gd name="connsiteY20" fmla="*/ 638175 h 942975"/>
                    <a:gd name="connsiteX21" fmla="*/ 25144 w 892414"/>
                    <a:gd name="connsiteY21" fmla="*/ 690562 h 942975"/>
                    <a:gd name="connsiteX22" fmla="*/ 29907 w 892414"/>
                    <a:gd name="connsiteY22" fmla="*/ 704850 h 942975"/>
                    <a:gd name="connsiteX23" fmla="*/ 34669 w 892414"/>
                    <a:gd name="connsiteY23" fmla="*/ 914400 h 942975"/>
                    <a:gd name="connsiteX24" fmla="*/ 120394 w 892414"/>
                    <a:gd name="connsiteY24" fmla="*/ 919162 h 942975"/>
                    <a:gd name="connsiteX25" fmla="*/ 134682 w 892414"/>
                    <a:gd name="connsiteY25" fmla="*/ 923925 h 942975"/>
                    <a:gd name="connsiteX26" fmla="*/ 253744 w 892414"/>
                    <a:gd name="connsiteY26" fmla="*/ 928687 h 942975"/>
                    <a:gd name="connsiteX27" fmla="*/ 277557 w 892414"/>
                    <a:gd name="connsiteY27" fmla="*/ 923925 h 942975"/>
                    <a:gd name="connsiteX28" fmla="*/ 263269 w 892414"/>
                    <a:gd name="connsiteY28" fmla="*/ 881062 h 942975"/>
                    <a:gd name="connsiteX29" fmla="*/ 253744 w 892414"/>
                    <a:gd name="connsiteY29" fmla="*/ 842962 h 942975"/>
                    <a:gd name="connsiteX30" fmla="*/ 248982 w 892414"/>
                    <a:gd name="connsiteY30" fmla="*/ 828675 h 942975"/>
                    <a:gd name="connsiteX31" fmla="*/ 239457 w 892414"/>
                    <a:gd name="connsiteY31" fmla="*/ 785812 h 942975"/>
                    <a:gd name="connsiteX32" fmla="*/ 248982 w 892414"/>
                    <a:gd name="connsiteY32" fmla="*/ 742950 h 942975"/>
                    <a:gd name="connsiteX33" fmla="*/ 277557 w 892414"/>
                    <a:gd name="connsiteY33" fmla="*/ 728662 h 942975"/>
                    <a:gd name="connsiteX34" fmla="*/ 306132 w 892414"/>
                    <a:gd name="connsiteY34" fmla="*/ 719137 h 942975"/>
                    <a:gd name="connsiteX35" fmla="*/ 358519 w 892414"/>
                    <a:gd name="connsiteY35" fmla="*/ 728662 h 942975"/>
                    <a:gd name="connsiteX36" fmla="*/ 396619 w 892414"/>
                    <a:gd name="connsiteY36" fmla="*/ 776287 h 942975"/>
                    <a:gd name="connsiteX37" fmla="*/ 391857 w 892414"/>
                    <a:gd name="connsiteY37" fmla="*/ 876300 h 942975"/>
                    <a:gd name="connsiteX38" fmla="*/ 391857 w 892414"/>
                    <a:gd name="connsiteY38" fmla="*/ 919162 h 942975"/>
                    <a:gd name="connsiteX39" fmla="*/ 420432 w 892414"/>
                    <a:gd name="connsiteY39" fmla="*/ 928687 h 942975"/>
                    <a:gd name="connsiteX40" fmla="*/ 515682 w 892414"/>
                    <a:gd name="connsiteY40" fmla="*/ 933450 h 942975"/>
                    <a:gd name="connsiteX41" fmla="*/ 558544 w 892414"/>
                    <a:gd name="connsiteY41" fmla="*/ 938212 h 942975"/>
                    <a:gd name="connsiteX42" fmla="*/ 596644 w 892414"/>
                    <a:gd name="connsiteY42" fmla="*/ 942975 h 942975"/>
                    <a:gd name="connsiteX43" fmla="*/ 634744 w 892414"/>
                    <a:gd name="connsiteY43" fmla="*/ 938212 h 942975"/>
                    <a:gd name="connsiteX44" fmla="*/ 653794 w 892414"/>
                    <a:gd name="connsiteY44" fmla="*/ 695325 h 942975"/>
                    <a:gd name="connsiteX45" fmla="*/ 668082 w 892414"/>
                    <a:gd name="connsiteY45" fmla="*/ 700087 h 942975"/>
                    <a:gd name="connsiteX46" fmla="*/ 734757 w 892414"/>
                    <a:gd name="connsiteY46" fmla="*/ 728662 h 942975"/>
                    <a:gd name="connsiteX47" fmla="*/ 844294 w 892414"/>
                    <a:gd name="connsiteY47" fmla="*/ 733425 h 942975"/>
                    <a:gd name="connsiteX48" fmla="*/ 877632 w 892414"/>
                    <a:gd name="connsiteY48" fmla="*/ 681037 h 942975"/>
                    <a:gd name="connsiteX49" fmla="*/ 882394 w 892414"/>
                    <a:gd name="connsiteY49" fmla="*/ 661987 h 942975"/>
                    <a:gd name="connsiteX50" fmla="*/ 891919 w 892414"/>
                    <a:gd name="connsiteY50" fmla="*/ 642937 h 942975"/>
                    <a:gd name="connsiteX51" fmla="*/ 887157 w 892414"/>
                    <a:gd name="connsiteY51" fmla="*/ 576262 h 942975"/>
                    <a:gd name="connsiteX52" fmla="*/ 872869 w 892414"/>
                    <a:gd name="connsiteY52" fmla="*/ 561975 h 942975"/>
                    <a:gd name="connsiteX53" fmla="*/ 853819 w 892414"/>
                    <a:gd name="connsiteY53" fmla="*/ 528637 h 942975"/>
                    <a:gd name="connsiteX54" fmla="*/ 839532 w 892414"/>
                    <a:gd name="connsiteY54" fmla="*/ 514350 h 942975"/>
                    <a:gd name="connsiteX55" fmla="*/ 810957 w 892414"/>
                    <a:gd name="connsiteY55" fmla="*/ 509587 h 942975"/>
                    <a:gd name="connsiteX56" fmla="*/ 696657 w 892414"/>
                    <a:gd name="connsiteY56" fmla="*/ 528637 h 942975"/>
                    <a:gd name="connsiteX57" fmla="*/ 668082 w 892414"/>
                    <a:gd name="connsiteY57" fmla="*/ 557212 h 942975"/>
                    <a:gd name="connsiteX58" fmla="*/ 653794 w 892414"/>
                    <a:gd name="connsiteY58" fmla="*/ 566737 h 942975"/>
                    <a:gd name="connsiteX59" fmla="*/ 649032 w 892414"/>
                    <a:gd name="connsiteY59" fmla="*/ 547687 h 942975"/>
                    <a:gd name="connsiteX60" fmla="*/ 644269 w 892414"/>
                    <a:gd name="connsiteY60" fmla="*/ 533400 h 942975"/>
                    <a:gd name="connsiteX61" fmla="*/ 649032 w 892414"/>
                    <a:gd name="connsiteY61" fmla="*/ 471487 h 942975"/>
                    <a:gd name="connsiteX62" fmla="*/ 644269 w 892414"/>
                    <a:gd name="connsiteY62" fmla="*/ 285750 h 942975"/>
                    <a:gd name="connsiteX63" fmla="*/ 634744 w 892414"/>
                    <a:gd name="connsiteY63" fmla="*/ 266700 h 942975"/>
                    <a:gd name="connsiteX64" fmla="*/ 606169 w 892414"/>
                    <a:gd name="connsiteY64" fmla="*/ 261937 h 942975"/>
                    <a:gd name="connsiteX65" fmla="*/ 506157 w 892414"/>
                    <a:gd name="connsiteY65" fmla="*/ 266700 h 942975"/>
                    <a:gd name="connsiteX66" fmla="*/ 434719 w 892414"/>
                    <a:gd name="connsiteY66" fmla="*/ 261937 h 942975"/>
                    <a:gd name="connsiteX67" fmla="*/ 425194 w 892414"/>
                    <a:gd name="connsiteY67" fmla="*/ 228600 h 942975"/>
                    <a:gd name="connsiteX68" fmla="*/ 434719 w 892414"/>
                    <a:gd name="connsiteY68" fmla="*/ 176212 h 942975"/>
                    <a:gd name="connsiteX69" fmla="*/ 444244 w 892414"/>
                    <a:gd name="connsiteY69" fmla="*/ 152400 h 942975"/>
                    <a:gd name="connsiteX70" fmla="*/ 449007 w 892414"/>
                    <a:gd name="connsiteY70" fmla="*/ 138112 h 942975"/>
                    <a:gd name="connsiteX71" fmla="*/ 439482 w 892414"/>
                    <a:gd name="connsiteY71" fmla="*/ 71437 h 942975"/>
                    <a:gd name="connsiteX72" fmla="*/ 429957 w 892414"/>
                    <a:gd name="connsiteY72" fmla="*/ 57150 h 942975"/>
                    <a:gd name="connsiteX73" fmla="*/ 410907 w 892414"/>
                    <a:gd name="connsiteY73" fmla="*/ 33337 h 942975"/>
                    <a:gd name="connsiteX74" fmla="*/ 396619 w 892414"/>
                    <a:gd name="connsiteY74" fmla="*/ 19050 h 942975"/>
                    <a:gd name="connsiteX75" fmla="*/ 320419 w 892414"/>
                    <a:gd name="connsiteY75" fmla="*/ 0 h 942975"/>
                    <a:gd name="connsiteX76" fmla="*/ 263269 w 892414"/>
                    <a:gd name="connsiteY76" fmla="*/ 9525 h 942975"/>
                    <a:gd name="connsiteX77" fmla="*/ 206119 w 892414"/>
                    <a:gd name="connsiteY77" fmla="*/ 66675 h 942975"/>
                    <a:gd name="connsiteX78" fmla="*/ 201357 w 892414"/>
                    <a:gd name="connsiteY78" fmla="*/ 80962 h 942975"/>
                    <a:gd name="connsiteX79" fmla="*/ 191832 w 892414"/>
                    <a:gd name="connsiteY79" fmla="*/ 100012 h 942975"/>
                    <a:gd name="connsiteX80" fmla="*/ 196594 w 892414"/>
                    <a:gd name="connsiteY80" fmla="*/ 166687 h 942975"/>
                    <a:gd name="connsiteX81" fmla="*/ 206119 w 892414"/>
                    <a:gd name="connsiteY81" fmla="*/ 185737 h 942975"/>
                    <a:gd name="connsiteX82" fmla="*/ 234694 w 892414"/>
                    <a:gd name="connsiteY82" fmla="*/ 223837 h 942975"/>
                    <a:gd name="connsiteX83" fmla="*/ 239457 w 892414"/>
                    <a:gd name="connsiteY83" fmla="*/ 242887 h 942975"/>
                    <a:gd name="connsiteX84" fmla="*/ 244219 w 892414"/>
                    <a:gd name="connsiteY84" fmla="*/ 257175 h 942975"/>
                    <a:gd name="connsiteX85" fmla="*/ 239457 w 892414"/>
                    <a:gd name="connsiteY85" fmla="*/ 280987 h 942975"/>
                    <a:gd name="connsiteX86" fmla="*/ 206119 w 892414"/>
                    <a:gd name="connsiteY86" fmla="*/ 276225 h 942975"/>
                    <a:gd name="connsiteX87" fmla="*/ 177544 w 892414"/>
                    <a:gd name="connsiteY87" fmla="*/ 271462 h 942975"/>
                    <a:gd name="connsiteX88" fmla="*/ 29907 w 892414"/>
                    <a:gd name="connsiteY88" fmla="*/ 280987 h 942975"/>
                    <a:gd name="connsiteX89" fmla="*/ 1332 w 892414"/>
                    <a:gd name="connsiteY89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53819 w 892564"/>
                    <a:gd name="connsiteY52" fmla="*/ 528637 h 942975"/>
                    <a:gd name="connsiteX53" fmla="*/ 839532 w 892564"/>
                    <a:gd name="connsiteY53" fmla="*/ 514350 h 942975"/>
                    <a:gd name="connsiteX54" fmla="*/ 810957 w 892564"/>
                    <a:gd name="connsiteY54" fmla="*/ 509587 h 942975"/>
                    <a:gd name="connsiteX55" fmla="*/ 696657 w 892564"/>
                    <a:gd name="connsiteY55" fmla="*/ 528637 h 942975"/>
                    <a:gd name="connsiteX56" fmla="*/ 668082 w 892564"/>
                    <a:gd name="connsiteY56" fmla="*/ 557212 h 942975"/>
                    <a:gd name="connsiteX57" fmla="*/ 653794 w 892564"/>
                    <a:gd name="connsiteY57" fmla="*/ 566737 h 942975"/>
                    <a:gd name="connsiteX58" fmla="*/ 649032 w 892564"/>
                    <a:gd name="connsiteY58" fmla="*/ 547687 h 942975"/>
                    <a:gd name="connsiteX59" fmla="*/ 644269 w 892564"/>
                    <a:gd name="connsiteY59" fmla="*/ 533400 h 942975"/>
                    <a:gd name="connsiteX60" fmla="*/ 649032 w 892564"/>
                    <a:gd name="connsiteY60" fmla="*/ 471487 h 942975"/>
                    <a:gd name="connsiteX61" fmla="*/ 644269 w 892564"/>
                    <a:gd name="connsiteY61" fmla="*/ 285750 h 942975"/>
                    <a:gd name="connsiteX62" fmla="*/ 634744 w 892564"/>
                    <a:gd name="connsiteY62" fmla="*/ 266700 h 942975"/>
                    <a:gd name="connsiteX63" fmla="*/ 606169 w 892564"/>
                    <a:gd name="connsiteY63" fmla="*/ 261937 h 942975"/>
                    <a:gd name="connsiteX64" fmla="*/ 506157 w 892564"/>
                    <a:gd name="connsiteY64" fmla="*/ 266700 h 942975"/>
                    <a:gd name="connsiteX65" fmla="*/ 434719 w 892564"/>
                    <a:gd name="connsiteY65" fmla="*/ 261937 h 942975"/>
                    <a:gd name="connsiteX66" fmla="*/ 425194 w 892564"/>
                    <a:gd name="connsiteY66" fmla="*/ 228600 h 942975"/>
                    <a:gd name="connsiteX67" fmla="*/ 434719 w 892564"/>
                    <a:gd name="connsiteY67" fmla="*/ 176212 h 942975"/>
                    <a:gd name="connsiteX68" fmla="*/ 444244 w 892564"/>
                    <a:gd name="connsiteY68" fmla="*/ 152400 h 942975"/>
                    <a:gd name="connsiteX69" fmla="*/ 449007 w 892564"/>
                    <a:gd name="connsiteY69" fmla="*/ 138112 h 942975"/>
                    <a:gd name="connsiteX70" fmla="*/ 439482 w 892564"/>
                    <a:gd name="connsiteY70" fmla="*/ 71437 h 942975"/>
                    <a:gd name="connsiteX71" fmla="*/ 429957 w 892564"/>
                    <a:gd name="connsiteY71" fmla="*/ 57150 h 942975"/>
                    <a:gd name="connsiteX72" fmla="*/ 410907 w 892564"/>
                    <a:gd name="connsiteY72" fmla="*/ 33337 h 942975"/>
                    <a:gd name="connsiteX73" fmla="*/ 396619 w 892564"/>
                    <a:gd name="connsiteY73" fmla="*/ 19050 h 942975"/>
                    <a:gd name="connsiteX74" fmla="*/ 320419 w 892564"/>
                    <a:gd name="connsiteY74" fmla="*/ 0 h 942975"/>
                    <a:gd name="connsiteX75" fmla="*/ 263269 w 892564"/>
                    <a:gd name="connsiteY75" fmla="*/ 9525 h 942975"/>
                    <a:gd name="connsiteX76" fmla="*/ 206119 w 892564"/>
                    <a:gd name="connsiteY76" fmla="*/ 66675 h 942975"/>
                    <a:gd name="connsiteX77" fmla="*/ 201357 w 892564"/>
                    <a:gd name="connsiteY77" fmla="*/ 80962 h 942975"/>
                    <a:gd name="connsiteX78" fmla="*/ 191832 w 892564"/>
                    <a:gd name="connsiteY78" fmla="*/ 100012 h 942975"/>
                    <a:gd name="connsiteX79" fmla="*/ 196594 w 892564"/>
                    <a:gd name="connsiteY79" fmla="*/ 166687 h 942975"/>
                    <a:gd name="connsiteX80" fmla="*/ 206119 w 892564"/>
                    <a:gd name="connsiteY80" fmla="*/ 185737 h 942975"/>
                    <a:gd name="connsiteX81" fmla="*/ 234694 w 892564"/>
                    <a:gd name="connsiteY81" fmla="*/ 223837 h 942975"/>
                    <a:gd name="connsiteX82" fmla="*/ 239457 w 892564"/>
                    <a:gd name="connsiteY82" fmla="*/ 242887 h 942975"/>
                    <a:gd name="connsiteX83" fmla="*/ 244219 w 892564"/>
                    <a:gd name="connsiteY83" fmla="*/ 257175 h 942975"/>
                    <a:gd name="connsiteX84" fmla="*/ 239457 w 892564"/>
                    <a:gd name="connsiteY84" fmla="*/ 280987 h 942975"/>
                    <a:gd name="connsiteX85" fmla="*/ 206119 w 892564"/>
                    <a:gd name="connsiteY85" fmla="*/ 276225 h 942975"/>
                    <a:gd name="connsiteX86" fmla="*/ 177544 w 892564"/>
                    <a:gd name="connsiteY86" fmla="*/ 271462 h 942975"/>
                    <a:gd name="connsiteX87" fmla="*/ 29907 w 892564"/>
                    <a:gd name="connsiteY87" fmla="*/ 280987 h 942975"/>
                    <a:gd name="connsiteX88" fmla="*/ 1332 w 892564"/>
                    <a:gd name="connsiteY88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39532 w 892564"/>
                    <a:gd name="connsiteY52" fmla="*/ 514350 h 942975"/>
                    <a:gd name="connsiteX53" fmla="*/ 810957 w 892564"/>
                    <a:gd name="connsiteY53" fmla="*/ 509587 h 942975"/>
                    <a:gd name="connsiteX54" fmla="*/ 696657 w 892564"/>
                    <a:gd name="connsiteY54" fmla="*/ 528637 h 942975"/>
                    <a:gd name="connsiteX55" fmla="*/ 668082 w 892564"/>
                    <a:gd name="connsiteY55" fmla="*/ 557212 h 942975"/>
                    <a:gd name="connsiteX56" fmla="*/ 653794 w 892564"/>
                    <a:gd name="connsiteY56" fmla="*/ 566737 h 942975"/>
                    <a:gd name="connsiteX57" fmla="*/ 649032 w 892564"/>
                    <a:gd name="connsiteY57" fmla="*/ 547687 h 942975"/>
                    <a:gd name="connsiteX58" fmla="*/ 644269 w 892564"/>
                    <a:gd name="connsiteY58" fmla="*/ 533400 h 942975"/>
                    <a:gd name="connsiteX59" fmla="*/ 649032 w 892564"/>
                    <a:gd name="connsiteY59" fmla="*/ 471487 h 942975"/>
                    <a:gd name="connsiteX60" fmla="*/ 644269 w 892564"/>
                    <a:gd name="connsiteY60" fmla="*/ 285750 h 942975"/>
                    <a:gd name="connsiteX61" fmla="*/ 634744 w 892564"/>
                    <a:gd name="connsiteY61" fmla="*/ 266700 h 942975"/>
                    <a:gd name="connsiteX62" fmla="*/ 606169 w 892564"/>
                    <a:gd name="connsiteY62" fmla="*/ 261937 h 942975"/>
                    <a:gd name="connsiteX63" fmla="*/ 506157 w 892564"/>
                    <a:gd name="connsiteY63" fmla="*/ 266700 h 942975"/>
                    <a:gd name="connsiteX64" fmla="*/ 434719 w 892564"/>
                    <a:gd name="connsiteY64" fmla="*/ 261937 h 942975"/>
                    <a:gd name="connsiteX65" fmla="*/ 425194 w 892564"/>
                    <a:gd name="connsiteY65" fmla="*/ 228600 h 942975"/>
                    <a:gd name="connsiteX66" fmla="*/ 434719 w 892564"/>
                    <a:gd name="connsiteY66" fmla="*/ 176212 h 942975"/>
                    <a:gd name="connsiteX67" fmla="*/ 444244 w 892564"/>
                    <a:gd name="connsiteY67" fmla="*/ 152400 h 942975"/>
                    <a:gd name="connsiteX68" fmla="*/ 449007 w 892564"/>
                    <a:gd name="connsiteY68" fmla="*/ 138112 h 942975"/>
                    <a:gd name="connsiteX69" fmla="*/ 439482 w 892564"/>
                    <a:gd name="connsiteY69" fmla="*/ 71437 h 942975"/>
                    <a:gd name="connsiteX70" fmla="*/ 429957 w 892564"/>
                    <a:gd name="connsiteY70" fmla="*/ 57150 h 942975"/>
                    <a:gd name="connsiteX71" fmla="*/ 410907 w 892564"/>
                    <a:gd name="connsiteY71" fmla="*/ 33337 h 942975"/>
                    <a:gd name="connsiteX72" fmla="*/ 396619 w 892564"/>
                    <a:gd name="connsiteY72" fmla="*/ 19050 h 942975"/>
                    <a:gd name="connsiteX73" fmla="*/ 320419 w 892564"/>
                    <a:gd name="connsiteY73" fmla="*/ 0 h 942975"/>
                    <a:gd name="connsiteX74" fmla="*/ 263269 w 892564"/>
                    <a:gd name="connsiteY74" fmla="*/ 9525 h 942975"/>
                    <a:gd name="connsiteX75" fmla="*/ 206119 w 892564"/>
                    <a:gd name="connsiteY75" fmla="*/ 66675 h 942975"/>
                    <a:gd name="connsiteX76" fmla="*/ 201357 w 892564"/>
                    <a:gd name="connsiteY76" fmla="*/ 80962 h 942975"/>
                    <a:gd name="connsiteX77" fmla="*/ 191832 w 892564"/>
                    <a:gd name="connsiteY77" fmla="*/ 100012 h 942975"/>
                    <a:gd name="connsiteX78" fmla="*/ 196594 w 892564"/>
                    <a:gd name="connsiteY78" fmla="*/ 166687 h 942975"/>
                    <a:gd name="connsiteX79" fmla="*/ 206119 w 892564"/>
                    <a:gd name="connsiteY79" fmla="*/ 185737 h 942975"/>
                    <a:gd name="connsiteX80" fmla="*/ 234694 w 892564"/>
                    <a:gd name="connsiteY80" fmla="*/ 223837 h 942975"/>
                    <a:gd name="connsiteX81" fmla="*/ 239457 w 892564"/>
                    <a:gd name="connsiteY81" fmla="*/ 242887 h 942975"/>
                    <a:gd name="connsiteX82" fmla="*/ 244219 w 892564"/>
                    <a:gd name="connsiteY82" fmla="*/ 257175 h 942975"/>
                    <a:gd name="connsiteX83" fmla="*/ 239457 w 892564"/>
                    <a:gd name="connsiteY83" fmla="*/ 280987 h 942975"/>
                    <a:gd name="connsiteX84" fmla="*/ 206119 w 892564"/>
                    <a:gd name="connsiteY84" fmla="*/ 276225 h 942975"/>
                    <a:gd name="connsiteX85" fmla="*/ 177544 w 892564"/>
                    <a:gd name="connsiteY85" fmla="*/ 271462 h 942975"/>
                    <a:gd name="connsiteX86" fmla="*/ 29907 w 892564"/>
                    <a:gd name="connsiteY86" fmla="*/ 280987 h 942975"/>
                    <a:gd name="connsiteX87" fmla="*/ 1332 w 892564"/>
                    <a:gd name="connsiteY87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29907 w 892564"/>
                    <a:gd name="connsiteY22" fmla="*/ 704850 h 942975"/>
                    <a:gd name="connsiteX23" fmla="*/ 34669 w 892564"/>
                    <a:gd name="connsiteY23" fmla="*/ 914400 h 942975"/>
                    <a:gd name="connsiteX24" fmla="*/ 120394 w 892564"/>
                    <a:gd name="connsiteY24" fmla="*/ 919162 h 942975"/>
                    <a:gd name="connsiteX25" fmla="*/ 134682 w 892564"/>
                    <a:gd name="connsiteY25" fmla="*/ 923925 h 942975"/>
                    <a:gd name="connsiteX26" fmla="*/ 253744 w 892564"/>
                    <a:gd name="connsiteY26" fmla="*/ 928687 h 942975"/>
                    <a:gd name="connsiteX27" fmla="*/ 277557 w 892564"/>
                    <a:gd name="connsiteY27" fmla="*/ 923925 h 942975"/>
                    <a:gd name="connsiteX28" fmla="*/ 263269 w 892564"/>
                    <a:gd name="connsiteY28" fmla="*/ 881062 h 942975"/>
                    <a:gd name="connsiteX29" fmla="*/ 253744 w 892564"/>
                    <a:gd name="connsiteY29" fmla="*/ 842962 h 942975"/>
                    <a:gd name="connsiteX30" fmla="*/ 248982 w 892564"/>
                    <a:gd name="connsiteY30" fmla="*/ 828675 h 942975"/>
                    <a:gd name="connsiteX31" fmla="*/ 239457 w 892564"/>
                    <a:gd name="connsiteY31" fmla="*/ 785812 h 942975"/>
                    <a:gd name="connsiteX32" fmla="*/ 248982 w 892564"/>
                    <a:gd name="connsiteY32" fmla="*/ 742950 h 942975"/>
                    <a:gd name="connsiteX33" fmla="*/ 277557 w 892564"/>
                    <a:gd name="connsiteY33" fmla="*/ 728662 h 942975"/>
                    <a:gd name="connsiteX34" fmla="*/ 306132 w 892564"/>
                    <a:gd name="connsiteY34" fmla="*/ 719137 h 942975"/>
                    <a:gd name="connsiteX35" fmla="*/ 358519 w 892564"/>
                    <a:gd name="connsiteY35" fmla="*/ 728662 h 942975"/>
                    <a:gd name="connsiteX36" fmla="*/ 396619 w 892564"/>
                    <a:gd name="connsiteY36" fmla="*/ 776287 h 942975"/>
                    <a:gd name="connsiteX37" fmla="*/ 391857 w 892564"/>
                    <a:gd name="connsiteY37" fmla="*/ 876300 h 942975"/>
                    <a:gd name="connsiteX38" fmla="*/ 391857 w 892564"/>
                    <a:gd name="connsiteY38" fmla="*/ 919162 h 942975"/>
                    <a:gd name="connsiteX39" fmla="*/ 420432 w 892564"/>
                    <a:gd name="connsiteY39" fmla="*/ 928687 h 942975"/>
                    <a:gd name="connsiteX40" fmla="*/ 515682 w 892564"/>
                    <a:gd name="connsiteY40" fmla="*/ 933450 h 942975"/>
                    <a:gd name="connsiteX41" fmla="*/ 558544 w 892564"/>
                    <a:gd name="connsiteY41" fmla="*/ 938212 h 942975"/>
                    <a:gd name="connsiteX42" fmla="*/ 596644 w 892564"/>
                    <a:gd name="connsiteY42" fmla="*/ 942975 h 942975"/>
                    <a:gd name="connsiteX43" fmla="*/ 634744 w 892564"/>
                    <a:gd name="connsiteY43" fmla="*/ 938212 h 942975"/>
                    <a:gd name="connsiteX44" fmla="*/ 653794 w 892564"/>
                    <a:gd name="connsiteY44" fmla="*/ 695325 h 942975"/>
                    <a:gd name="connsiteX45" fmla="*/ 668082 w 892564"/>
                    <a:gd name="connsiteY45" fmla="*/ 700087 h 942975"/>
                    <a:gd name="connsiteX46" fmla="*/ 734757 w 892564"/>
                    <a:gd name="connsiteY46" fmla="*/ 728662 h 942975"/>
                    <a:gd name="connsiteX47" fmla="*/ 844294 w 892564"/>
                    <a:gd name="connsiteY47" fmla="*/ 733425 h 942975"/>
                    <a:gd name="connsiteX48" fmla="*/ 877632 w 892564"/>
                    <a:gd name="connsiteY48" fmla="*/ 681037 h 942975"/>
                    <a:gd name="connsiteX49" fmla="*/ 891919 w 892564"/>
                    <a:gd name="connsiteY49" fmla="*/ 642937 h 942975"/>
                    <a:gd name="connsiteX50" fmla="*/ 887157 w 892564"/>
                    <a:gd name="connsiteY50" fmla="*/ 576262 h 942975"/>
                    <a:gd name="connsiteX51" fmla="*/ 872869 w 892564"/>
                    <a:gd name="connsiteY51" fmla="*/ 561975 h 942975"/>
                    <a:gd name="connsiteX52" fmla="*/ 810957 w 892564"/>
                    <a:gd name="connsiteY52" fmla="*/ 509587 h 942975"/>
                    <a:gd name="connsiteX53" fmla="*/ 696657 w 892564"/>
                    <a:gd name="connsiteY53" fmla="*/ 528637 h 942975"/>
                    <a:gd name="connsiteX54" fmla="*/ 668082 w 892564"/>
                    <a:gd name="connsiteY54" fmla="*/ 557212 h 942975"/>
                    <a:gd name="connsiteX55" fmla="*/ 653794 w 892564"/>
                    <a:gd name="connsiteY55" fmla="*/ 566737 h 942975"/>
                    <a:gd name="connsiteX56" fmla="*/ 649032 w 892564"/>
                    <a:gd name="connsiteY56" fmla="*/ 547687 h 942975"/>
                    <a:gd name="connsiteX57" fmla="*/ 644269 w 892564"/>
                    <a:gd name="connsiteY57" fmla="*/ 533400 h 942975"/>
                    <a:gd name="connsiteX58" fmla="*/ 649032 w 892564"/>
                    <a:gd name="connsiteY58" fmla="*/ 471487 h 942975"/>
                    <a:gd name="connsiteX59" fmla="*/ 644269 w 892564"/>
                    <a:gd name="connsiteY59" fmla="*/ 285750 h 942975"/>
                    <a:gd name="connsiteX60" fmla="*/ 634744 w 892564"/>
                    <a:gd name="connsiteY60" fmla="*/ 266700 h 942975"/>
                    <a:gd name="connsiteX61" fmla="*/ 606169 w 892564"/>
                    <a:gd name="connsiteY61" fmla="*/ 261937 h 942975"/>
                    <a:gd name="connsiteX62" fmla="*/ 506157 w 892564"/>
                    <a:gd name="connsiteY62" fmla="*/ 266700 h 942975"/>
                    <a:gd name="connsiteX63" fmla="*/ 434719 w 892564"/>
                    <a:gd name="connsiteY63" fmla="*/ 261937 h 942975"/>
                    <a:gd name="connsiteX64" fmla="*/ 425194 w 892564"/>
                    <a:gd name="connsiteY64" fmla="*/ 228600 h 942975"/>
                    <a:gd name="connsiteX65" fmla="*/ 434719 w 892564"/>
                    <a:gd name="connsiteY65" fmla="*/ 176212 h 942975"/>
                    <a:gd name="connsiteX66" fmla="*/ 444244 w 892564"/>
                    <a:gd name="connsiteY66" fmla="*/ 152400 h 942975"/>
                    <a:gd name="connsiteX67" fmla="*/ 449007 w 892564"/>
                    <a:gd name="connsiteY67" fmla="*/ 138112 h 942975"/>
                    <a:gd name="connsiteX68" fmla="*/ 439482 w 892564"/>
                    <a:gd name="connsiteY68" fmla="*/ 71437 h 942975"/>
                    <a:gd name="connsiteX69" fmla="*/ 429957 w 892564"/>
                    <a:gd name="connsiteY69" fmla="*/ 57150 h 942975"/>
                    <a:gd name="connsiteX70" fmla="*/ 410907 w 892564"/>
                    <a:gd name="connsiteY70" fmla="*/ 33337 h 942975"/>
                    <a:gd name="connsiteX71" fmla="*/ 396619 w 892564"/>
                    <a:gd name="connsiteY71" fmla="*/ 19050 h 942975"/>
                    <a:gd name="connsiteX72" fmla="*/ 320419 w 892564"/>
                    <a:gd name="connsiteY72" fmla="*/ 0 h 942975"/>
                    <a:gd name="connsiteX73" fmla="*/ 263269 w 892564"/>
                    <a:gd name="connsiteY73" fmla="*/ 9525 h 942975"/>
                    <a:gd name="connsiteX74" fmla="*/ 206119 w 892564"/>
                    <a:gd name="connsiteY74" fmla="*/ 66675 h 942975"/>
                    <a:gd name="connsiteX75" fmla="*/ 201357 w 892564"/>
                    <a:gd name="connsiteY75" fmla="*/ 80962 h 942975"/>
                    <a:gd name="connsiteX76" fmla="*/ 191832 w 892564"/>
                    <a:gd name="connsiteY76" fmla="*/ 100012 h 942975"/>
                    <a:gd name="connsiteX77" fmla="*/ 196594 w 892564"/>
                    <a:gd name="connsiteY77" fmla="*/ 166687 h 942975"/>
                    <a:gd name="connsiteX78" fmla="*/ 206119 w 892564"/>
                    <a:gd name="connsiteY78" fmla="*/ 185737 h 942975"/>
                    <a:gd name="connsiteX79" fmla="*/ 234694 w 892564"/>
                    <a:gd name="connsiteY79" fmla="*/ 223837 h 942975"/>
                    <a:gd name="connsiteX80" fmla="*/ 239457 w 892564"/>
                    <a:gd name="connsiteY80" fmla="*/ 242887 h 942975"/>
                    <a:gd name="connsiteX81" fmla="*/ 244219 w 892564"/>
                    <a:gd name="connsiteY81" fmla="*/ 257175 h 942975"/>
                    <a:gd name="connsiteX82" fmla="*/ 239457 w 892564"/>
                    <a:gd name="connsiteY82" fmla="*/ 280987 h 942975"/>
                    <a:gd name="connsiteX83" fmla="*/ 206119 w 892564"/>
                    <a:gd name="connsiteY83" fmla="*/ 276225 h 942975"/>
                    <a:gd name="connsiteX84" fmla="*/ 177544 w 892564"/>
                    <a:gd name="connsiteY84" fmla="*/ 271462 h 942975"/>
                    <a:gd name="connsiteX85" fmla="*/ 29907 w 892564"/>
                    <a:gd name="connsiteY85" fmla="*/ 280987 h 942975"/>
                    <a:gd name="connsiteX86" fmla="*/ 1332 w 892564"/>
                    <a:gd name="connsiteY86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134682 w 892564"/>
                    <a:gd name="connsiteY24" fmla="*/ 923925 h 942975"/>
                    <a:gd name="connsiteX25" fmla="*/ 253744 w 892564"/>
                    <a:gd name="connsiteY25" fmla="*/ 928687 h 942975"/>
                    <a:gd name="connsiteX26" fmla="*/ 277557 w 892564"/>
                    <a:gd name="connsiteY26" fmla="*/ 923925 h 942975"/>
                    <a:gd name="connsiteX27" fmla="*/ 263269 w 892564"/>
                    <a:gd name="connsiteY27" fmla="*/ 881062 h 942975"/>
                    <a:gd name="connsiteX28" fmla="*/ 253744 w 892564"/>
                    <a:gd name="connsiteY28" fmla="*/ 842962 h 942975"/>
                    <a:gd name="connsiteX29" fmla="*/ 248982 w 892564"/>
                    <a:gd name="connsiteY29" fmla="*/ 828675 h 942975"/>
                    <a:gd name="connsiteX30" fmla="*/ 239457 w 892564"/>
                    <a:gd name="connsiteY30" fmla="*/ 785812 h 942975"/>
                    <a:gd name="connsiteX31" fmla="*/ 248982 w 892564"/>
                    <a:gd name="connsiteY31" fmla="*/ 742950 h 942975"/>
                    <a:gd name="connsiteX32" fmla="*/ 277557 w 892564"/>
                    <a:gd name="connsiteY32" fmla="*/ 728662 h 942975"/>
                    <a:gd name="connsiteX33" fmla="*/ 306132 w 892564"/>
                    <a:gd name="connsiteY33" fmla="*/ 719137 h 942975"/>
                    <a:gd name="connsiteX34" fmla="*/ 358519 w 892564"/>
                    <a:gd name="connsiteY34" fmla="*/ 728662 h 942975"/>
                    <a:gd name="connsiteX35" fmla="*/ 396619 w 892564"/>
                    <a:gd name="connsiteY35" fmla="*/ 776287 h 942975"/>
                    <a:gd name="connsiteX36" fmla="*/ 391857 w 892564"/>
                    <a:gd name="connsiteY36" fmla="*/ 876300 h 942975"/>
                    <a:gd name="connsiteX37" fmla="*/ 391857 w 892564"/>
                    <a:gd name="connsiteY37" fmla="*/ 919162 h 942975"/>
                    <a:gd name="connsiteX38" fmla="*/ 420432 w 892564"/>
                    <a:gd name="connsiteY38" fmla="*/ 928687 h 942975"/>
                    <a:gd name="connsiteX39" fmla="*/ 515682 w 892564"/>
                    <a:gd name="connsiteY39" fmla="*/ 933450 h 942975"/>
                    <a:gd name="connsiteX40" fmla="*/ 558544 w 892564"/>
                    <a:gd name="connsiteY40" fmla="*/ 938212 h 942975"/>
                    <a:gd name="connsiteX41" fmla="*/ 596644 w 892564"/>
                    <a:gd name="connsiteY41" fmla="*/ 942975 h 942975"/>
                    <a:gd name="connsiteX42" fmla="*/ 634744 w 892564"/>
                    <a:gd name="connsiteY42" fmla="*/ 938212 h 942975"/>
                    <a:gd name="connsiteX43" fmla="*/ 653794 w 892564"/>
                    <a:gd name="connsiteY43" fmla="*/ 695325 h 942975"/>
                    <a:gd name="connsiteX44" fmla="*/ 668082 w 892564"/>
                    <a:gd name="connsiteY44" fmla="*/ 700087 h 942975"/>
                    <a:gd name="connsiteX45" fmla="*/ 734757 w 892564"/>
                    <a:gd name="connsiteY45" fmla="*/ 728662 h 942975"/>
                    <a:gd name="connsiteX46" fmla="*/ 844294 w 892564"/>
                    <a:gd name="connsiteY46" fmla="*/ 733425 h 942975"/>
                    <a:gd name="connsiteX47" fmla="*/ 877632 w 892564"/>
                    <a:gd name="connsiteY47" fmla="*/ 681037 h 942975"/>
                    <a:gd name="connsiteX48" fmla="*/ 891919 w 892564"/>
                    <a:gd name="connsiteY48" fmla="*/ 642937 h 942975"/>
                    <a:gd name="connsiteX49" fmla="*/ 887157 w 892564"/>
                    <a:gd name="connsiteY49" fmla="*/ 576262 h 942975"/>
                    <a:gd name="connsiteX50" fmla="*/ 872869 w 892564"/>
                    <a:gd name="connsiteY50" fmla="*/ 561975 h 942975"/>
                    <a:gd name="connsiteX51" fmla="*/ 810957 w 892564"/>
                    <a:gd name="connsiteY51" fmla="*/ 509587 h 942975"/>
                    <a:gd name="connsiteX52" fmla="*/ 696657 w 892564"/>
                    <a:gd name="connsiteY52" fmla="*/ 528637 h 942975"/>
                    <a:gd name="connsiteX53" fmla="*/ 668082 w 892564"/>
                    <a:gd name="connsiteY53" fmla="*/ 557212 h 942975"/>
                    <a:gd name="connsiteX54" fmla="*/ 653794 w 892564"/>
                    <a:gd name="connsiteY54" fmla="*/ 566737 h 942975"/>
                    <a:gd name="connsiteX55" fmla="*/ 649032 w 892564"/>
                    <a:gd name="connsiteY55" fmla="*/ 547687 h 942975"/>
                    <a:gd name="connsiteX56" fmla="*/ 644269 w 892564"/>
                    <a:gd name="connsiteY56" fmla="*/ 533400 h 942975"/>
                    <a:gd name="connsiteX57" fmla="*/ 649032 w 892564"/>
                    <a:gd name="connsiteY57" fmla="*/ 471487 h 942975"/>
                    <a:gd name="connsiteX58" fmla="*/ 644269 w 892564"/>
                    <a:gd name="connsiteY58" fmla="*/ 285750 h 942975"/>
                    <a:gd name="connsiteX59" fmla="*/ 634744 w 892564"/>
                    <a:gd name="connsiteY59" fmla="*/ 266700 h 942975"/>
                    <a:gd name="connsiteX60" fmla="*/ 606169 w 892564"/>
                    <a:gd name="connsiteY60" fmla="*/ 261937 h 942975"/>
                    <a:gd name="connsiteX61" fmla="*/ 506157 w 892564"/>
                    <a:gd name="connsiteY61" fmla="*/ 266700 h 942975"/>
                    <a:gd name="connsiteX62" fmla="*/ 434719 w 892564"/>
                    <a:gd name="connsiteY62" fmla="*/ 261937 h 942975"/>
                    <a:gd name="connsiteX63" fmla="*/ 425194 w 892564"/>
                    <a:gd name="connsiteY63" fmla="*/ 228600 h 942975"/>
                    <a:gd name="connsiteX64" fmla="*/ 434719 w 892564"/>
                    <a:gd name="connsiteY64" fmla="*/ 176212 h 942975"/>
                    <a:gd name="connsiteX65" fmla="*/ 444244 w 892564"/>
                    <a:gd name="connsiteY65" fmla="*/ 152400 h 942975"/>
                    <a:gd name="connsiteX66" fmla="*/ 449007 w 892564"/>
                    <a:gd name="connsiteY66" fmla="*/ 138112 h 942975"/>
                    <a:gd name="connsiteX67" fmla="*/ 439482 w 892564"/>
                    <a:gd name="connsiteY67" fmla="*/ 71437 h 942975"/>
                    <a:gd name="connsiteX68" fmla="*/ 429957 w 892564"/>
                    <a:gd name="connsiteY68" fmla="*/ 57150 h 942975"/>
                    <a:gd name="connsiteX69" fmla="*/ 410907 w 892564"/>
                    <a:gd name="connsiteY69" fmla="*/ 33337 h 942975"/>
                    <a:gd name="connsiteX70" fmla="*/ 396619 w 892564"/>
                    <a:gd name="connsiteY70" fmla="*/ 19050 h 942975"/>
                    <a:gd name="connsiteX71" fmla="*/ 320419 w 892564"/>
                    <a:gd name="connsiteY71" fmla="*/ 0 h 942975"/>
                    <a:gd name="connsiteX72" fmla="*/ 263269 w 892564"/>
                    <a:gd name="connsiteY72" fmla="*/ 9525 h 942975"/>
                    <a:gd name="connsiteX73" fmla="*/ 206119 w 892564"/>
                    <a:gd name="connsiteY73" fmla="*/ 66675 h 942975"/>
                    <a:gd name="connsiteX74" fmla="*/ 201357 w 892564"/>
                    <a:gd name="connsiteY74" fmla="*/ 80962 h 942975"/>
                    <a:gd name="connsiteX75" fmla="*/ 191832 w 892564"/>
                    <a:gd name="connsiteY75" fmla="*/ 100012 h 942975"/>
                    <a:gd name="connsiteX76" fmla="*/ 196594 w 892564"/>
                    <a:gd name="connsiteY76" fmla="*/ 166687 h 942975"/>
                    <a:gd name="connsiteX77" fmla="*/ 206119 w 892564"/>
                    <a:gd name="connsiteY77" fmla="*/ 185737 h 942975"/>
                    <a:gd name="connsiteX78" fmla="*/ 234694 w 892564"/>
                    <a:gd name="connsiteY78" fmla="*/ 223837 h 942975"/>
                    <a:gd name="connsiteX79" fmla="*/ 239457 w 892564"/>
                    <a:gd name="connsiteY79" fmla="*/ 242887 h 942975"/>
                    <a:gd name="connsiteX80" fmla="*/ 244219 w 892564"/>
                    <a:gd name="connsiteY80" fmla="*/ 257175 h 942975"/>
                    <a:gd name="connsiteX81" fmla="*/ 239457 w 892564"/>
                    <a:gd name="connsiteY81" fmla="*/ 280987 h 942975"/>
                    <a:gd name="connsiteX82" fmla="*/ 206119 w 892564"/>
                    <a:gd name="connsiteY82" fmla="*/ 276225 h 942975"/>
                    <a:gd name="connsiteX83" fmla="*/ 177544 w 892564"/>
                    <a:gd name="connsiteY83" fmla="*/ 271462 h 942975"/>
                    <a:gd name="connsiteX84" fmla="*/ 29907 w 892564"/>
                    <a:gd name="connsiteY84" fmla="*/ 280987 h 942975"/>
                    <a:gd name="connsiteX85" fmla="*/ 1332 w 892564"/>
                    <a:gd name="connsiteY85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120394 w 892564"/>
                    <a:gd name="connsiteY23" fmla="*/ 919162 h 942975"/>
                    <a:gd name="connsiteX24" fmla="*/ 253744 w 892564"/>
                    <a:gd name="connsiteY24" fmla="*/ 928687 h 942975"/>
                    <a:gd name="connsiteX25" fmla="*/ 277557 w 892564"/>
                    <a:gd name="connsiteY25" fmla="*/ 923925 h 942975"/>
                    <a:gd name="connsiteX26" fmla="*/ 263269 w 892564"/>
                    <a:gd name="connsiteY26" fmla="*/ 881062 h 942975"/>
                    <a:gd name="connsiteX27" fmla="*/ 253744 w 892564"/>
                    <a:gd name="connsiteY27" fmla="*/ 842962 h 942975"/>
                    <a:gd name="connsiteX28" fmla="*/ 248982 w 892564"/>
                    <a:gd name="connsiteY28" fmla="*/ 828675 h 942975"/>
                    <a:gd name="connsiteX29" fmla="*/ 239457 w 892564"/>
                    <a:gd name="connsiteY29" fmla="*/ 785812 h 942975"/>
                    <a:gd name="connsiteX30" fmla="*/ 248982 w 892564"/>
                    <a:gd name="connsiteY30" fmla="*/ 742950 h 942975"/>
                    <a:gd name="connsiteX31" fmla="*/ 277557 w 892564"/>
                    <a:gd name="connsiteY31" fmla="*/ 728662 h 942975"/>
                    <a:gd name="connsiteX32" fmla="*/ 306132 w 892564"/>
                    <a:gd name="connsiteY32" fmla="*/ 719137 h 942975"/>
                    <a:gd name="connsiteX33" fmla="*/ 358519 w 892564"/>
                    <a:gd name="connsiteY33" fmla="*/ 728662 h 942975"/>
                    <a:gd name="connsiteX34" fmla="*/ 396619 w 892564"/>
                    <a:gd name="connsiteY34" fmla="*/ 776287 h 942975"/>
                    <a:gd name="connsiteX35" fmla="*/ 391857 w 892564"/>
                    <a:gd name="connsiteY35" fmla="*/ 876300 h 942975"/>
                    <a:gd name="connsiteX36" fmla="*/ 391857 w 892564"/>
                    <a:gd name="connsiteY36" fmla="*/ 919162 h 942975"/>
                    <a:gd name="connsiteX37" fmla="*/ 420432 w 892564"/>
                    <a:gd name="connsiteY37" fmla="*/ 928687 h 942975"/>
                    <a:gd name="connsiteX38" fmla="*/ 515682 w 892564"/>
                    <a:gd name="connsiteY38" fmla="*/ 933450 h 942975"/>
                    <a:gd name="connsiteX39" fmla="*/ 558544 w 892564"/>
                    <a:gd name="connsiteY39" fmla="*/ 938212 h 942975"/>
                    <a:gd name="connsiteX40" fmla="*/ 596644 w 892564"/>
                    <a:gd name="connsiteY40" fmla="*/ 942975 h 942975"/>
                    <a:gd name="connsiteX41" fmla="*/ 634744 w 892564"/>
                    <a:gd name="connsiteY41" fmla="*/ 938212 h 942975"/>
                    <a:gd name="connsiteX42" fmla="*/ 653794 w 892564"/>
                    <a:gd name="connsiteY42" fmla="*/ 695325 h 942975"/>
                    <a:gd name="connsiteX43" fmla="*/ 668082 w 892564"/>
                    <a:gd name="connsiteY43" fmla="*/ 700087 h 942975"/>
                    <a:gd name="connsiteX44" fmla="*/ 734757 w 892564"/>
                    <a:gd name="connsiteY44" fmla="*/ 728662 h 942975"/>
                    <a:gd name="connsiteX45" fmla="*/ 844294 w 892564"/>
                    <a:gd name="connsiteY45" fmla="*/ 733425 h 942975"/>
                    <a:gd name="connsiteX46" fmla="*/ 877632 w 892564"/>
                    <a:gd name="connsiteY46" fmla="*/ 681037 h 942975"/>
                    <a:gd name="connsiteX47" fmla="*/ 891919 w 892564"/>
                    <a:gd name="connsiteY47" fmla="*/ 642937 h 942975"/>
                    <a:gd name="connsiteX48" fmla="*/ 887157 w 892564"/>
                    <a:gd name="connsiteY48" fmla="*/ 576262 h 942975"/>
                    <a:gd name="connsiteX49" fmla="*/ 872869 w 892564"/>
                    <a:gd name="connsiteY49" fmla="*/ 561975 h 942975"/>
                    <a:gd name="connsiteX50" fmla="*/ 810957 w 892564"/>
                    <a:gd name="connsiteY50" fmla="*/ 509587 h 942975"/>
                    <a:gd name="connsiteX51" fmla="*/ 696657 w 892564"/>
                    <a:gd name="connsiteY51" fmla="*/ 528637 h 942975"/>
                    <a:gd name="connsiteX52" fmla="*/ 668082 w 892564"/>
                    <a:gd name="connsiteY52" fmla="*/ 557212 h 942975"/>
                    <a:gd name="connsiteX53" fmla="*/ 653794 w 892564"/>
                    <a:gd name="connsiteY53" fmla="*/ 566737 h 942975"/>
                    <a:gd name="connsiteX54" fmla="*/ 649032 w 892564"/>
                    <a:gd name="connsiteY54" fmla="*/ 547687 h 942975"/>
                    <a:gd name="connsiteX55" fmla="*/ 644269 w 892564"/>
                    <a:gd name="connsiteY55" fmla="*/ 533400 h 942975"/>
                    <a:gd name="connsiteX56" fmla="*/ 649032 w 892564"/>
                    <a:gd name="connsiteY56" fmla="*/ 471487 h 942975"/>
                    <a:gd name="connsiteX57" fmla="*/ 644269 w 892564"/>
                    <a:gd name="connsiteY57" fmla="*/ 285750 h 942975"/>
                    <a:gd name="connsiteX58" fmla="*/ 634744 w 892564"/>
                    <a:gd name="connsiteY58" fmla="*/ 266700 h 942975"/>
                    <a:gd name="connsiteX59" fmla="*/ 606169 w 892564"/>
                    <a:gd name="connsiteY59" fmla="*/ 261937 h 942975"/>
                    <a:gd name="connsiteX60" fmla="*/ 506157 w 892564"/>
                    <a:gd name="connsiteY60" fmla="*/ 266700 h 942975"/>
                    <a:gd name="connsiteX61" fmla="*/ 434719 w 892564"/>
                    <a:gd name="connsiteY61" fmla="*/ 261937 h 942975"/>
                    <a:gd name="connsiteX62" fmla="*/ 425194 w 892564"/>
                    <a:gd name="connsiteY62" fmla="*/ 228600 h 942975"/>
                    <a:gd name="connsiteX63" fmla="*/ 434719 w 892564"/>
                    <a:gd name="connsiteY63" fmla="*/ 176212 h 942975"/>
                    <a:gd name="connsiteX64" fmla="*/ 444244 w 892564"/>
                    <a:gd name="connsiteY64" fmla="*/ 152400 h 942975"/>
                    <a:gd name="connsiteX65" fmla="*/ 449007 w 892564"/>
                    <a:gd name="connsiteY65" fmla="*/ 138112 h 942975"/>
                    <a:gd name="connsiteX66" fmla="*/ 439482 w 892564"/>
                    <a:gd name="connsiteY66" fmla="*/ 71437 h 942975"/>
                    <a:gd name="connsiteX67" fmla="*/ 429957 w 892564"/>
                    <a:gd name="connsiteY67" fmla="*/ 57150 h 942975"/>
                    <a:gd name="connsiteX68" fmla="*/ 410907 w 892564"/>
                    <a:gd name="connsiteY68" fmla="*/ 33337 h 942975"/>
                    <a:gd name="connsiteX69" fmla="*/ 396619 w 892564"/>
                    <a:gd name="connsiteY69" fmla="*/ 19050 h 942975"/>
                    <a:gd name="connsiteX70" fmla="*/ 320419 w 892564"/>
                    <a:gd name="connsiteY70" fmla="*/ 0 h 942975"/>
                    <a:gd name="connsiteX71" fmla="*/ 263269 w 892564"/>
                    <a:gd name="connsiteY71" fmla="*/ 9525 h 942975"/>
                    <a:gd name="connsiteX72" fmla="*/ 206119 w 892564"/>
                    <a:gd name="connsiteY72" fmla="*/ 66675 h 942975"/>
                    <a:gd name="connsiteX73" fmla="*/ 201357 w 892564"/>
                    <a:gd name="connsiteY73" fmla="*/ 80962 h 942975"/>
                    <a:gd name="connsiteX74" fmla="*/ 191832 w 892564"/>
                    <a:gd name="connsiteY74" fmla="*/ 100012 h 942975"/>
                    <a:gd name="connsiteX75" fmla="*/ 196594 w 892564"/>
                    <a:gd name="connsiteY75" fmla="*/ 166687 h 942975"/>
                    <a:gd name="connsiteX76" fmla="*/ 206119 w 892564"/>
                    <a:gd name="connsiteY76" fmla="*/ 185737 h 942975"/>
                    <a:gd name="connsiteX77" fmla="*/ 234694 w 892564"/>
                    <a:gd name="connsiteY77" fmla="*/ 223837 h 942975"/>
                    <a:gd name="connsiteX78" fmla="*/ 239457 w 892564"/>
                    <a:gd name="connsiteY78" fmla="*/ 242887 h 942975"/>
                    <a:gd name="connsiteX79" fmla="*/ 244219 w 892564"/>
                    <a:gd name="connsiteY79" fmla="*/ 257175 h 942975"/>
                    <a:gd name="connsiteX80" fmla="*/ 239457 w 892564"/>
                    <a:gd name="connsiteY80" fmla="*/ 280987 h 942975"/>
                    <a:gd name="connsiteX81" fmla="*/ 206119 w 892564"/>
                    <a:gd name="connsiteY81" fmla="*/ 276225 h 942975"/>
                    <a:gd name="connsiteX82" fmla="*/ 177544 w 892564"/>
                    <a:gd name="connsiteY82" fmla="*/ 271462 h 942975"/>
                    <a:gd name="connsiteX83" fmla="*/ 29907 w 892564"/>
                    <a:gd name="connsiteY83" fmla="*/ 280987 h 942975"/>
                    <a:gd name="connsiteX84" fmla="*/ 1332 w 892564"/>
                    <a:gd name="connsiteY84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15682 w 892564"/>
                    <a:gd name="connsiteY37" fmla="*/ 933450 h 942975"/>
                    <a:gd name="connsiteX38" fmla="*/ 558544 w 892564"/>
                    <a:gd name="connsiteY38" fmla="*/ 938212 h 942975"/>
                    <a:gd name="connsiteX39" fmla="*/ 596644 w 892564"/>
                    <a:gd name="connsiteY39" fmla="*/ 942975 h 942975"/>
                    <a:gd name="connsiteX40" fmla="*/ 634744 w 892564"/>
                    <a:gd name="connsiteY40" fmla="*/ 938212 h 942975"/>
                    <a:gd name="connsiteX41" fmla="*/ 653794 w 892564"/>
                    <a:gd name="connsiteY41" fmla="*/ 695325 h 942975"/>
                    <a:gd name="connsiteX42" fmla="*/ 668082 w 892564"/>
                    <a:gd name="connsiteY42" fmla="*/ 700087 h 942975"/>
                    <a:gd name="connsiteX43" fmla="*/ 734757 w 892564"/>
                    <a:gd name="connsiteY43" fmla="*/ 728662 h 942975"/>
                    <a:gd name="connsiteX44" fmla="*/ 844294 w 892564"/>
                    <a:gd name="connsiteY44" fmla="*/ 733425 h 942975"/>
                    <a:gd name="connsiteX45" fmla="*/ 877632 w 892564"/>
                    <a:gd name="connsiteY45" fmla="*/ 681037 h 942975"/>
                    <a:gd name="connsiteX46" fmla="*/ 891919 w 892564"/>
                    <a:gd name="connsiteY46" fmla="*/ 642937 h 942975"/>
                    <a:gd name="connsiteX47" fmla="*/ 887157 w 892564"/>
                    <a:gd name="connsiteY47" fmla="*/ 576262 h 942975"/>
                    <a:gd name="connsiteX48" fmla="*/ 872869 w 892564"/>
                    <a:gd name="connsiteY48" fmla="*/ 561975 h 942975"/>
                    <a:gd name="connsiteX49" fmla="*/ 810957 w 892564"/>
                    <a:gd name="connsiteY49" fmla="*/ 509587 h 942975"/>
                    <a:gd name="connsiteX50" fmla="*/ 696657 w 892564"/>
                    <a:gd name="connsiteY50" fmla="*/ 528637 h 942975"/>
                    <a:gd name="connsiteX51" fmla="*/ 668082 w 892564"/>
                    <a:gd name="connsiteY51" fmla="*/ 557212 h 942975"/>
                    <a:gd name="connsiteX52" fmla="*/ 653794 w 892564"/>
                    <a:gd name="connsiteY52" fmla="*/ 566737 h 942975"/>
                    <a:gd name="connsiteX53" fmla="*/ 649032 w 892564"/>
                    <a:gd name="connsiteY53" fmla="*/ 547687 h 942975"/>
                    <a:gd name="connsiteX54" fmla="*/ 644269 w 892564"/>
                    <a:gd name="connsiteY54" fmla="*/ 533400 h 942975"/>
                    <a:gd name="connsiteX55" fmla="*/ 649032 w 892564"/>
                    <a:gd name="connsiteY55" fmla="*/ 471487 h 942975"/>
                    <a:gd name="connsiteX56" fmla="*/ 644269 w 892564"/>
                    <a:gd name="connsiteY56" fmla="*/ 285750 h 942975"/>
                    <a:gd name="connsiteX57" fmla="*/ 634744 w 892564"/>
                    <a:gd name="connsiteY57" fmla="*/ 266700 h 942975"/>
                    <a:gd name="connsiteX58" fmla="*/ 606169 w 892564"/>
                    <a:gd name="connsiteY58" fmla="*/ 261937 h 942975"/>
                    <a:gd name="connsiteX59" fmla="*/ 506157 w 892564"/>
                    <a:gd name="connsiteY59" fmla="*/ 266700 h 942975"/>
                    <a:gd name="connsiteX60" fmla="*/ 434719 w 892564"/>
                    <a:gd name="connsiteY60" fmla="*/ 261937 h 942975"/>
                    <a:gd name="connsiteX61" fmla="*/ 425194 w 892564"/>
                    <a:gd name="connsiteY61" fmla="*/ 228600 h 942975"/>
                    <a:gd name="connsiteX62" fmla="*/ 434719 w 892564"/>
                    <a:gd name="connsiteY62" fmla="*/ 176212 h 942975"/>
                    <a:gd name="connsiteX63" fmla="*/ 444244 w 892564"/>
                    <a:gd name="connsiteY63" fmla="*/ 152400 h 942975"/>
                    <a:gd name="connsiteX64" fmla="*/ 449007 w 892564"/>
                    <a:gd name="connsiteY64" fmla="*/ 138112 h 942975"/>
                    <a:gd name="connsiteX65" fmla="*/ 439482 w 892564"/>
                    <a:gd name="connsiteY65" fmla="*/ 71437 h 942975"/>
                    <a:gd name="connsiteX66" fmla="*/ 429957 w 892564"/>
                    <a:gd name="connsiteY66" fmla="*/ 57150 h 942975"/>
                    <a:gd name="connsiteX67" fmla="*/ 410907 w 892564"/>
                    <a:gd name="connsiteY67" fmla="*/ 33337 h 942975"/>
                    <a:gd name="connsiteX68" fmla="*/ 396619 w 892564"/>
                    <a:gd name="connsiteY68" fmla="*/ 19050 h 942975"/>
                    <a:gd name="connsiteX69" fmla="*/ 320419 w 892564"/>
                    <a:gd name="connsiteY69" fmla="*/ 0 h 942975"/>
                    <a:gd name="connsiteX70" fmla="*/ 263269 w 892564"/>
                    <a:gd name="connsiteY70" fmla="*/ 9525 h 942975"/>
                    <a:gd name="connsiteX71" fmla="*/ 206119 w 892564"/>
                    <a:gd name="connsiteY71" fmla="*/ 66675 h 942975"/>
                    <a:gd name="connsiteX72" fmla="*/ 201357 w 892564"/>
                    <a:gd name="connsiteY72" fmla="*/ 80962 h 942975"/>
                    <a:gd name="connsiteX73" fmla="*/ 191832 w 892564"/>
                    <a:gd name="connsiteY73" fmla="*/ 100012 h 942975"/>
                    <a:gd name="connsiteX74" fmla="*/ 196594 w 892564"/>
                    <a:gd name="connsiteY74" fmla="*/ 166687 h 942975"/>
                    <a:gd name="connsiteX75" fmla="*/ 206119 w 892564"/>
                    <a:gd name="connsiteY75" fmla="*/ 185737 h 942975"/>
                    <a:gd name="connsiteX76" fmla="*/ 234694 w 892564"/>
                    <a:gd name="connsiteY76" fmla="*/ 223837 h 942975"/>
                    <a:gd name="connsiteX77" fmla="*/ 239457 w 892564"/>
                    <a:gd name="connsiteY77" fmla="*/ 242887 h 942975"/>
                    <a:gd name="connsiteX78" fmla="*/ 244219 w 892564"/>
                    <a:gd name="connsiteY78" fmla="*/ 257175 h 942975"/>
                    <a:gd name="connsiteX79" fmla="*/ 239457 w 892564"/>
                    <a:gd name="connsiteY79" fmla="*/ 280987 h 942975"/>
                    <a:gd name="connsiteX80" fmla="*/ 206119 w 892564"/>
                    <a:gd name="connsiteY80" fmla="*/ 276225 h 942975"/>
                    <a:gd name="connsiteX81" fmla="*/ 177544 w 892564"/>
                    <a:gd name="connsiteY81" fmla="*/ 271462 h 942975"/>
                    <a:gd name="connsiteX82" fmla="*/ 29907 w 892564"/>
                    <a:gd name="connsiteY82" fmla="*/ 280987 h 942975"/>
                    <a:gd name="connsiteX83" fmla="*/ 1332 w 892564"/>
                    <a:gd name="connsiteY83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177544 w 892564"/>
                    <a:gd name="connsiteY80" fmla="*/ 271462 h 942975"/>
                    <a:gd name="connsiteX81" fmla="*/ 29907 w 892564"/>
                    <a:gd name="connsiteY81" fmla="*/ 280987 h 942975"/>
                    <a:gd name="connsiteX82" fmla="*/ 1332 w 892564"/>
                    <a:gd name="connsiteY82" fmla="*/ 295275 h 942975"/>
                    <a:gd name="connsiteX0" fmla="*/ 1332 w 892564"/>
                    <a:gd name="connsiteY0" fmla="*/ 295275 h 942975"/>
                    <a:gd name="connsiteX1" fmla="*/ 6094 w 892564"/>
                    <a:gd name="connsiteY1" fmla="*/ 457200 h 942975"/>
                    <a:gd name="connsiteX2" fmla="*/ 10857 w 892564"/>
                    <a:gd name="connsiteY2" fmla="*/ 476250 h 942975"/>
                    <a:gd name="connsiteX3" fmla="*/ 15619 w 892564"/>
                    <a:gd name="connsiteY3" fmla="*/ 519112 h 942975"/>
                    <a:gd name="connsiteX4" fmla="*/ 29907 w 892564"/>
                    <a:gd name="connsiteY4" fmla="*/ 542925 h 942975"/>
                    <a:gd name="connsiteX5" fmla="*/ 44194 w 892564"/>
                    <a:gd name="connsiteY5" fmla="*/ 547687 h 942975"/>
                    <a:gd name="connsiteX6" fmla="*/ 68007 w 892564"/>
                    <a:gd name="connsiteY6" fmla="*/ 552450 h 942975"/>
                    <a:gd name="connsiteX7" fmla="*/ 101344 w 892564"/>
                    <a:gd name="connsiteY7" fmla="*/ 542925 h 942975"/>
                    <a:gd name="connsiteX8" fmla="*/ 129919 w 892564"/>
                    <a:gd name="connsiteY8" fmla="*/ 519112 h 942975"/>
                    <a:gd name="connsiteX9" fmla="*/ 144207 w 892564"/>
                    <a:gd name="connsiteY9" fmla="*/ 509587 h 942975"/>
                    <a:gd name="connsiteX10" fmla="*/ 220407 w 892564"/>
                    <a:gd name="connsiteY10" fmla="*/ 514350 h 942975"/>
                    <a:gd name="connsiteX11" fmla="*/ 234694 w 892564"/>
                    <a:gd name="connsiteY11" fmla="*/ 519112 h 942975"/>
                    <a:gd name="connsiteX12" fmla="*/ 248982 w 892564"/>
                    <a:gd name="connsiteY12" fmla="*/ 542925 h 942975"/>
                    <a:gd name="connsiteX13" fmla="*/ 234694 w 892564"/>
                    <a:gd name="connsiteY13" fmla="*/ 628650 h 942975"/>
                    <a:gd name="connsiteX14" fmla="*/ 225169 w 892564"/>
                    <a:gd name="connsiteY14" fmla="*/ 652462 h 942975"/>
                    <a:gd name="connsiteX15" fmla="*/ 187069 w 892564"/>
                    <a:gd name="connsiteY15" fmla="*/ 671512 h 942975"/>
                    <a:gd name="connsiteX16" fmla="*/ 153732 w 892564"/>
                    <a:gd name="connsiteY16" fmla="*/ 661987 h 942975"/>
                    <a:gd name="connsiteX17" fmla="*/ 134682 w 892564"/>
                    <a:gd name="connsiteY17" fmla="*/ 647700 h 942975"/>
                    <a:gd name="connsiteX18" fmla="*/ 110869 w 892564"/>
                    <a:gd name="connsiteY18" fmla="*/ 619125 h 942975"/>
                    <a:gd name="connsiteX19" fmla="*/ 25144 w 892564"/>
                    <a:gd name="connsiteY19" fmla="*/ 623887 h 942975"/>
                    <a:gd name="connsiteX20" fmla="*/ 20382 w 892564"/>
                    <a:gd name="connsiteY20" fmla="*/ 638175 h 942975"/>
                    <a:gd name="connsiteX21" fmla="*/ 25144 w 892564"/>
                    <a:gd name="connsiteY21" fmla="*/ 690562 h 942975"/>
                    <a:gd name="connsiteX22" fmla="*/ 34669 w 892564"/>
                    <a:gd name="connsiteY22" fmla="*/ 914400 h 942975"/>
                    <a:gd name="connsiteX23" fmla="*/ 253744 w 892564"/>
                    <a:gd name="connsiteY23" fmla="*/ 928687 h 942975"/>
                    <a:gd name="connsiteX24" fmla="*/ 277557 w 892564"/>
                    <a:gd name="connsiteY24" fmla="*/ 923925 h 942975"/>
                    <a:gd name="connsiteX25" fmla="*/ 263269 w 892564"/>
                    <a:gd name="connsiteY25" fmla="*/ 881062 h 942975"/>
                    <a:gd name="connsiteX26" fmla="*/ 253744 w 892564"/>
                    <a:gd name="connsiteY26" fmla="*/ 842962 h 942975"/>
                    <a:gd name="connsiteX27" fmla="*/ 248982 w 892564"/>
                    <a:gd name="connsiteY27" fmla="*/ 828675 h 942975"/>
                    <a:gd name="connsiteX28" fmla="*/ 239457 w 892564"/>
                    <a:gd name="connsiteY28" fmla="*/ 785812 h 942975"/>
                    <a:gd name="connsiteX29" fmla="*/ 248982 w 892564"/>
                    <a:gd name="connsiteY29" fmla="*/ 742950 h 942975"/>
                    <a:gd name="connsiteX30" fmla="*/ 277557 w 892564"/>
                    <a:gd name="connsiteY30" fmla="*/ 728662 h 942975"/>
                    <a:gd name="connsiteX31" fmla="*/ 306132 w 892564"/>
                    <a:gd name="connsiteY31" fmla="*/ 719137 h 942975"/>
                    <a:gd name="connsiteX32" fmla="*/ 358519 w 892564"/>
                    <a:gd name="connsiteY32" fmla="*/ 728662 h 942975"/>
                    <a:gd name="connsiteX33" fmla="*/ 396619 w 892564"/>
                    <a:gd name="connsiteY33" fmla="*/ 776287 h 942975"/>
                    <a:gd name="connsiteX34" fmla="*/ 391857 w 892564"/>
                    <a:gd name="connsiteY34" fmla="*/ 876300 h 942975"/>
                    <a:gd name="connsiteX35" fmla="*/ 391857 w 892564"/>
                    <a:gd name="connsiteY35" fmla="*/ 919162 h 942975"/>
                    <a:gd name="connsiteX36" fmla="*/ 420432 w 892564"/>
                    <a:gd name="connsiteY36" fmla="*/ 928687 h 942975"/>
                    <a:gd name="connsiteX37" fmla="*/ 558544 w 892564"/>
                    <a:gd name="connsiteY37" fmla="*/ 938212 h 942975"/>
                    <a:gd name="connsiteX38" fmla="*/ 596644 w 892564"/>
                    <a:gd name="connsiteY38" fmla="*/ 942975 h 942975"/>
                    <a:gd name="connsiteX39" fmla="*/ 634744 w 892564"/>
                    <a:gd name="connsiteY39" fmla="*/ 938212 h 942975"/>
                    <a:gd name="connsiteX40" fmla="*/ 653794 w 892564"/>
                    <a:gd name="connsiteY40" fmla="*/ 695325 h 942975"/>
                    <a:gd name="connsiteX41" fmla="*/ 668082 w 892564"/>
                    <a:gd name="connsiteY41" fmla="*/ 700087 h 942975"/>
                    <a:gd name="connsiteX42" fmla="*/ 734757 w 892564"/>
                    <a:gd name="connsiteY42" fmla="*/ 728662 h 942975"/>
                    <a:gd name="connsiteX43" fmla="*/ 844294 w 892564"/>
                    <a:gd name="connsiteY43" fmla="*/ 733425 h 942975"/>
                    <a:gd name="connsiteX44" fmla="*/ 877632 w 892564"/>
                    <a:gd name="connsiteY44" fmla="*/ 681037 h 942975"/>
                    <a:gd name="connsiteX45" fmla="*/ 891919 w 892564"/>
                    <a:gd name="connsiteY45" fmla="*/ 642937 h 942975"/>
                    <a:gd name="connsiteX46" fmla="*/ 887157 w 892564"/>
                    <a:gd name="connsiteY46" fmla="*/ 576262 h 942975"/>
                    <a:gd name="connsiteX47" fmla="*/ 872869 w 892564"/>
                    <a:gd name="connsiteY47" fmla="*/ 561975 h 942975"/>
                    <a:gd name="connsiteX48" fmla="*/ 810957 w 892564"/>
                    <a:gd name="connsiteY48" fmla="*/ 509587 h 942975"/>
                    <a:gd name="connsiteX49" fmla="*/ 696657 w 892564"/>
                    <a:gd name="connsiteY49" fmla="*/ 528637 h 942975"/>
                    <a:gd name="connsiteX50" fmla="*/ 668082 w 892564"/>
                    <a:gd name="connsiteY50" fmla="*/ 557212 h 942975"/>
                    <a:gd name="connsiteX51" fmla="*/ 653794 w 892564"/>
                    <a:gd name="connsiteY51" fmla="*/ 566737 h 942975"/>
                    <a:gd name="connsiteX52" fmla="*/ 649032 w 892564"/>
                    <a:gd name="connsiteY52" fmla="*/ 547687 h 942975"/>
                    <a:gd name="connsiteX53" fmla="*/ 644269 w 892564"/>
                    <a:gd name="connsiteY53" fmla="*/ 533400 h 942975"/>
                    <a:gd name="connsiteX54" fmla="*/ 649032 w 892564"/>
                    <a:gd name="connsiteY54" fmla="*/ 471487 h 942975"/>
                    <a:gd name="connsiteX55" fmla="*/ 644269 w 892564"/>
                    <a:gd name="connsiteY55" fmla="*/ 285750 h 942975"/>
                    <a:gd name="connsiteX56" fmla="*/ 634744 w 892564"/>
                    <a:gd name="connsiteY56" fmla="*/ 266700 h 942975"/>
                    <a:gd name="connsiteX57" fmla="*/ 606169 w 892564"/>
                    <a:gd name="connsiteY57" fmla="*/ 261937 h 942975"/>
                    <a:gd name="connsiteX58" fmla="*/ 506157 w 892564"/>
                    <a:gd name="connsiteY58" fmla="*/ 266700 h 942975"/>
                    <a:gd name="connsiteX59" fmla="*/ 434719 w 892564"/>
                    <a:gd name="connsiteY59" fmla="*/ 261937 h 942975"/>
                    <a:gd name="connsiteX60" fmla="*/ 425194 w 892564"/>
                    <a:gd name="connsiteY60" fmla="*/ 228600 h 942975"/>
                    <a:gd name="connsiteX61" fmla="*/ 434719 w 892564"/>
                    <a:gd name="connsiteY61" fmla="*/ 176212 h 942975"/>
                    <a:gd name="connsiteX62" fmla="*/ 444244 w 892564"/>
                    <a:gd name="connsiteY62" fmla="*/ 152400 h 942975"/>
                    <a:gd name="connsiteX63" fmla="*/ 449007 w 892564"/>
                    <a:gd name="connsiteY63" fmla="*/ 138112 h 942975"/>
                    <a:gd name="connsiteX64" fmla="*/ 439482 w 892564"/>
                    <a:gd name="connsiteY64" fmla="*/ 71437 h 942975"/>
                    <a:gd name="connsiteX65" fmla="*/ 429957 w 892564"/>
                    <a:gd name="connsiteY65" fmla="*/ 57150 h 942975"/>
                    <a:gd name="connsiteX66" fmla="*/ 410907 w 892564"/>
                    <a:gd name="connsiteY66" fmla="*/ 33337 h 942975"/>
                    <a:gd name="connsiteX67" fmla="*/ 396619 w 892564"/>
                    <a:gd name="connsiteY67" fmla="*/ 19050 h 942975"/>
                    <a:gd name="connsiteX68" fmla="*/ 320419 w 892564"/>
                    <a:gd name="connsiteY68" fmla="*/ 0 h 942975"/>
                    <a:gd name="connsiteX69" fmla="*/ 263269 w 892564"/>
                    <a:gd name="connsiteY69" fmla="*/ 9525 h 942975"/>
                    <a:gd name="connsiteX70" fmla="*/ 206119 w 892564"/>
                    <a:gd name="connsiteY70" fmla="*/ 66675 h 942975"/>
                    <a:gd name="connsiteX71" fmla="*/ 201357 w 892564"/>
                    <a:gd name="connsiteY71" fmla="*/ 80962 h 942975"/>
                    <a:gd name="connsiteX72" fmla="*/ 191832 w 892564"/>
                    <a:gd name="connsiteY72" fmla="*/ 100012 h 942975"/>
                    <a:gd name="connsiteX73" fmla="*/ 196594 w 892564"/>
                    <a:gd name="connsiteY73" fmla="*/ 166687 h 942975"/>
                    <a:gd name="connsiteX74" fmla="*/ 206119 w 892564"/>
                    <a:gd name="connsiteY74" fmla="*/ 185737 h 942975"/>
                    <a:gd name="connsiteX75" fmla="*/ 234694 w 892564"/>
                    <a:gd name="connsiteY75" fmla="*/ 223837 h 942975"/>
                    <a:gd name="connsiteX76" fmla="*/ 239457 w 892564"/>
                    <a:gd name="connsiteY76" fmla="*/ 242887 h 942975"/>
                    <a:gd name="connsiteX77" fmla="*/ 244219 w 892564"/>
                    <a:gd name="connsiteY77" fmla="*/ 257175 h 942975"/>
                    <a:gd name="connsiteX78" fmla="*/ 239457 w 892564"/>
                    <a:gd name="connsiteY78" fmla="*/ 280987 h 942975"/>
                    <a:gd name="connsiteX79" fmla="*/ 206119 w 892564"/>
                    <a:gd name="connsiteY79" fmla="*/ 276225 h 942975"/>
                    <a:gd name="connsiteX80" fmla="*/ 29907 w 892564"/>
                    <a:gd name="connsiteY80" fmla="*/ 280987 h 942975"/>
                    <a:gd name="connsiteX81" fmla="*/ 1332 w 892564"/>
                    <a:gd name="connsiteY81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53737 w 892507"/>
                    <a:gd name="connsiteY50" fmla="*/ 566737 h 942975"/>
                    <a:gd name="connsiteX51" fmla="*/ 648975 w 892507"/>
                    <a:gd name="connsiteY51" fmla="*/ 547687 h 942975"/>
                    <a:gd name="connsiteX52" fmla="*/ 644212 w 892507"/>
                    <a:gd name="connsiteY52" fmla="*/ 533400 h 942975"/>
                    <a:gd name="connsiteX53" fmla="*/ 648975 w 892507"/>
                    <a:gd name="connsiteY53" fmla="*/ 471487 h 942975"/>
                    <a:gd name="connsiteX54" fmla="*/ 644212 w 892507"/>
                    <a:gd name="connsiteY54" fmla="*/ 285750 h 942975"/>
                    <a:gd name="connsiteX55" fmla="*/ 634687 w 892507"/>
                    <a:gd name="connsiteY55" fmla="*/ 266700 h 942975"/>
                    <a:gd name="connsiteX56" fmla="*/ 606112 w 892507"/>
                    <a:gd name="connsiteY56" fmla="*/ 261937 h 942975"/>
                    <a:gd name="connsiteX57" fmla="*/ 506100 w 892507"/>
                    <a:gd name="connsiteY57" fmla="*/ 266700 h 942975"/>
                    <a:gd name="connsiteX58" fmla="*/ 434662 w 892507"/>
                    <a:gd name="connsiteY58" fmla="*/ 261937 h 942975"/>
                    <a:gd name="connsiteX59" fmla="*/ 425137 w 892507"/>
                    <a:gd name="connsiteY59" fmla="*/ 228600 h 942975"/>
                    <a:gd name="connsiteX60" fmla="*/ 434662 w 892507"/>
                    <a:gd name="connsiteY60" fmla="*/ 176212 h 942975"/>
                    <a:gd name="connsiteX61" fmla="*/ 444187 w 892507"/>
                    <a:gd name="connsiteY61" fmla="*/ 152400 h 942975"/>
                    <a:gd name="connsiteX62" fmla="*/ 448950 w 892507"/>
                    <a:gd name="connsiteY62" fmla="*/ 138112 h 942975"/>
                    <a:gd name="connsiteX63" fmla="*/ 439425 w 892507"/>
                    <a:gd name="connsiteY63" fmla="*/ 71437 h 942975"/>
                    <a:gd name="connsiteX64" fmla="*/ 429900 w 892507"/>
                    <a:gd name="connsiteY64" fmla="*/ 57150 h 942975"/>
                    <a:gd name="connsiteX65" fmla="*/ 410850 w 892507"/>
                    <a:gd name="connsiteY65" fmla="*/ 33337 h 942975"/>
                    <a:gd name="connsiteX66" fmla="*/ 396562 w 892507"/>
                    <a:gd name="connsiteY66" fmla="*/ 19050 h 942975"/>
                    <a:gd name="connsiteX67" fmla="*/ 320362 w 892507"/>
                    <a:gd name="connsiteY67" fmla="*/ 0 h 942975"/>
                    <a:gd name="connsiteX68" fmla="*/ 263212 w 892507"/>
                    <a:gd name="connsiteY68" fmla="*/ 9525 h 942975"/>
                    <a:gd name="connsiteX69" fmla="*/ 206062 w 892507"/>
                    <a:gd name="connsiteY69" fmla="*/ 66675 h 942975"/>
                    <a:gd name="connsiteX70" fmla="*/ 201300 w 892507"/>
                    <a:gd name="connsiteY70" fmla="*/ 80962 h 942975"/>
                    <a:gd name="connsiteX71" fmla="*/ 191775 w 892507"/>
                    <a:gd name="connsiteY71" fmla="*/ 100012 h 942975"/>
                    <a:gd name="connsiteX72" fmla="*/ 196537 w 892507"/>
                    <a:gd name="connsiteY72" fmla="*/ 166687 h 942975"/>
                    <a:gd name="connsiteX73" fmla="*/ 206062 w 892507"/>
                    <a:gd name="connsiteY73" fmla="*/ 185737 h 942975"/>
                    <a:gd name="connsiteX74" fmla="*/ 234637 w 892507"/>
                    <a:gd name="connsiteY74" fmla="*/ 223837 h 942975"/>
                    <a:gd name="connsiteX75" fmla="*/ 239400 w 892507"/>
                    <a:gd name="connsiteY75" fmla="*/ 242887 h 942975"/>
                    <a:gd name="connsiteX76" fmla="*/ 244162 w 892507"/>
                    <a:gd name="connsiteY76" fmla="*/ 257175 h 942975"/>
                    <a:gd name="connsiteX77" fmla="*/ 239400 w 892507"/>
                    <a:gd name="connsiteY77" fmla="*/ 280987 h 942975"/>
                    <a:gd name="connsiteX78" fmla="*/ 206062 w 892507"/>
                    <a:gd name="connsiteY78" fmla="*/ 276225 h 942975"/>
                    <a:gd name="connsiteX79" fmla="*/ 29850 w 892507"/>
                    <a:gd name="connsiteY79" fmla="*/ 280987 h 942975"/>
                    <a:gd name="connsiteX80" fmla="*/ 1275 w 892507"/>
                    <a:gd name="connsiteY80" fmla="*/ 295275 h 942975"/>
                    <a:gd name="connsiteX0" fmla="*/ 1275 w 892507"/>
                    <a:gd name="connsiteY0" fmla="*/ 295275 h 942975"/>
                    <a:gd name="connsiteX1" fmla="*/ 6037 w 892507"/>
                    <a:gd name="connsiteY1" fmla="*/ 457200 h 942975"/>
                    <a:gd name="connsiteX2" fmla="*/ 15562 w 892507"/>
                    <a:gd name="connsiteY2" fmla="*/ 519112 h 942975"/>
                    <a:gd name="connsiteX3" fmla="*/ 29850 w 892507"/>
                    <a:gd name="connsiteY3" fmla="*/ 542925 h 942975"/>
                    <a:gd name="connsiteX4" fmla="*/ 44137 w 892507"/>
                    <a:gd name="connsiteY4" fmla="*/ 547687 h 942975"/>
                    <a:gd name="connsiteX5" fmla="*/ 67950 w 892507"/>
                    <a:gd name="connsiteY5" fmla="*/ 552450 h 942975"/>
                    <a:gd name="connsiteX6" fmla="*/ 101287 w 892507"/>
                    <a:gd name="connsiteY6" fmla="*/ 542925 h 942975"/>
                    <a:gd name="connsiteX7" fmla="*/ 129862 w 892507"/>
                    <a:gd name="connsiteY7" fmla="*/ 519112 h 942975"/>
                    <a:gd name="connsiteX8" fmla="*/ 144150 w 892507"/>
                    <a:gd name="connsiteY8" fmla="*/ 509587 h 942975"/>
                    <a:gd name="connsiteX9" fmla="*/ 220350 w 892507"/>
                    <a:gd name="connsiteY9" fmla="*/ 514350 h 942975"/>
                    <a:gd name="connsiteX10" fmla="*/ 234637 w 892507"/>
                    <a:gd name="connsiteY10" fmla="*/ 519112 h 942975"/>
                    <a:gd name="connsiteX11" fmla="*/ 248925 w 892507"/>
                    <a:gd name="connsiteY11" fmla="*/ 542925 h 942975"/>
                    <a:gd name="connsiteX12" fmla="*/ 234637 w 892507"/>
                    <a:gd name="connsiteY12" fmla="*/ 628650 h 942975"/>
                    <a:gd name="connsiteX13" fmla="*/ 225112 w 892507"/>
                    <a:gd name="connsiteY13" fmla="*/ 652462 h 942975"/>
                    <a:gd name="connsiteX14" fmla="*/ 187012 w 892507"/>
                    <a:gd name="connsiteY14" fmla="*/ 671512 h 942975"/>
                    <a:gd name="connsiteX15" fmla="*/ 153675 w 892507"/>
                    <a:gd name="connsiteY15" fmla="*/ 661987 h 942975"/>
                    <a:gd name="connsiteX16" fmla="*/ 134625 w 892507"/>
                    <a:gd name="connsiteY16" fmla="*/ 647700 h 942975"/>
                    <a:gd name="connsiteX17" fmla="*/ 110812 w 892507"/>
                    <a:gd name="connsiteY17" fmla="*/ 619125 h 942975"/>
                    <a:gd name="connsiteX18" fmla="*/ 25087 w 892507"/>
                    <a:gd name="connsiteY18" fmla="*/ 623887 h 942975"/>
                    <a:gd name="connsiteX19" fmla="*/ 20325 w 892507"/>
                    <a:gd name="connsiteY19" fmla="*/ 638175 h 942975"/>
                    <a:gd name="connsiteX20" fmla="*/ 25087 w 892507"/>
                    <a:gd name="connsiteY20" fmla="*/ 690562 h 942975"/>
                    <a:gd name="connsiteX21" fmla="*/ 34612 w 892507"/>
                    <a:gd name="connsiteY21" fmla="*/ 914400 h 942975"/>
                    <a:gd name="connsiteX22" fmla="*/ 253687 w 892507"/>
                    <a:gd name="connsiteY22" fmla="*/ 928687 h 942975"/>
                    <a:gd name="connsiteX23" fmla="*/ 277500 w 892507"/>
                    <a:gd name="connsiteY23" fmla="*/ 923925 h 942975"/>
                    <a:gd name="connsiteX24" fmla="*/ 263212 w 892507"/>
                    <a:gd name="connsiteY24" fmla="*/ 881062 h 942975"/>
                    <a:gd name="connsiteX25" fmla="*/ 253687 w 892507"/>
                    <a:gd name="connsiteY25" fmla="*/ 842962 h 942975"/>
                    <a:gd name="connsiteX26" fmla="*/ 248925 w 892507"/>
                    <a:gd name="connsiteY26" fmla="*/ 828675 h 942975"/>
                    <a:gd name="connsiteX27" fmla="*/ 239400 w 892507"/>
                    <a:gd name="connsiteY27" fmla="*/ 785812 h 942975"/>
                    <a:gd name="connsiteX28" fmla="*/ 248925 w 892507"/>
                    <a:gd name="connsiteY28" fmla="*/ 742950 h 942975"/>
                    <a:gd name="connsiteX29" fmla="*/ 277500 w 892507"/>
                    <a:gd name="connsiteY29" fmla="*/ 728662 h 942975"/>
                    <a:gd name="connsiteX30" fmla="*/ 306075 w 892507"/>
                    <a:gd name="connsiteY30" fmla="*/ 719137 h 942975"/>
                    <a:gd name="connsiteX31" fmla="*/ 358462 w 892507"/>
                    <a:gd name="connsiteY31" fmla="*/ 728662 h 942975"/>
                    <a:gd name="connsiteX32" fmla="*/ 396562 w 892507"/>
                    <a:gd name="connsiteY32" fmla="*/ 776287 h 942975"/>
                    <a:gd name="connsiteX33" fmla="*/ 391800 w 892507"/>
                    <a:gd name="connsiteY33" fmla="*/ 876300 h 942975"/>
                    <a:gd name="connsiteX34" fmla="*/ 391800 w 892507"/>
                    <a:gd name="connsiteY34" fmla="*/ 919162 h 942975"/>
                    <a:gd name="connsiteX35" fmla="*/ 420375 w 892507"/>
                    <a:gd name="connsiteY35" fmla="*/ 928687 h 942975"/>
                    <a:gd name="connsiteX36" fmla="*/ 558487 w 892507"/>
                    <a:gd name="connsiteY36" fmla="*/ 938212 h 942975"/>
                    <a:gd name="connsiteX37" fmla="*/ 596587 w 892507"/>
                    <a:gd name="connsiteY37" fmla="*/ 942975 h 942975"/>
                    <a:gd name="connsiteX38" fmla="*/ 634687 w 892507"/>
                    <a:gd name="connsiteY38" fmla="*/ 938212 h 942975"/>
                    <a:gd name="connsiteX39" fmla="*/ 653737 w 892507"/>
                    <a:gd name="connsiteY39" fmla="*/ 695325 h 942975"/>
                    <a:gd name="connsiteX40" fmla="*/ 668025 w 892507"/>
                    <a:gd name="connsiteY40" fmla="*/ 700087 h 942975"/>
                    <a:gd name="connsiteX41" fmla="*/ 734700 w 892507"/>
                    <a:gd name="connsiteY41" fmla="*/ 728662 h 942975"/>
                    <a:gd name="connsiteX42" fmla="*/ 844237 w 892507"/>
                    <a:gd name="connsiteY42" fmla="*/ 733425 h 942975"/>
                    <a:gd name="connsiteX43" fmla="*/ 877575 w 892507"/>
                    <a:gd name="connsiteY43" fmla="*/ 681037 h 942975"/>
                    <a:gd name="connsiteX44" fmla="*/ 891862 w 892507"/>
                    <a:gd name="connsiteY44" fmla="*/ 642937 h 942975"/>
                    <a:gd name="connsiteX45" fmla="*/ 887100 w 892507"/>
                    <a:gd name="connsiteY45" fmla="*/ 576262 h 942975"/>
                    <a:gd name="connsiteX46" fmla="*/ 872812 w 892507"/>
                    <a:gd name="connsiteY46" fmla="*/ 561975 h 942975"/>
                    <a:gd name="connsiteX47" fmla="*/ 810900 w 892507"/>
                    <a:gd name="connsiteY47" fmla="*/ 509587 h 942975"/>
                    <a:gd name="connsiteX48" fmla="*/ 696600 w 892507"/>
                    <a:gd name="connsiteY48" fmla="*/ 528637 h 942975"/>
                    <a:gd name="connsiteX49" fmla="*/ 668025 w 892507"/>
                    <a:gd name="connsiteY49" fmla="*/ 557212 h 942975"/>
                    <a:gd name="connsiteX50" fmla="*/ 648975 w 892507"/>
                    <a:gd name="connsiteY50" fmla="*/ 547687 h 942975"/>
                    <a:gd name="connsiteX51" fmla="*/ 644212 w 892507"/>
                    <a:gd name="connsiteY51" fmla="*/ 533400 h 942975"/>
                    <a:gd name="connsiteX52" fmla="*/ 648975 w 892507"/>
                    <a:gd name="connsiteY52" fmla="*/ 471487 h 942975"/>
                    <a:gd name="connsiteX53" fmla="*/ 644212 w 892507"/>
                    <a:gd name="connsiteY53" fmla="*/ 285750 h 942975"/>
                    <a:gd name="connsiteX54" fmla="*/ 634687 w 892507"/>
                    <a:gd name="connsiteY54" fmla="*/ 266700 h 942975"/>
                    <a:gd name="connsiteX55" fmla="*/ 606112 w 892507"/>
                    <a:gd name="connsiteY55" fmla="*/ 261937 h 942975"/>
                    <a:gd name="connsiteX56" fmla="*/ 506100 w 892507"/>
                    <a:gd name="connsiteY56" fmla="*/ 266700 h 942975"/>
                    <a:gd name="connsiteX57" fmla="*/ 434662 w 892507"/>
                    <a:gd name="connsiteY57" fmla="*/ 261937 h 942975"/>
                    <a:gd name="connsiteX58" fmla="*/ 425137 w 892507"/>
                    <a:gd name="connsiteY58" fmla="*/ 228600 h 942975"/>
                    <a:gd name="connsiteX59" fmla="*/ 434662 w 892507"/>
                    <a:gd name="connsiteY59" fmla="*/ 176212 h 942975"/>
                    <a:gd name="connsiteX60" fmla="*/ 444187 w 892507"/>
                    <a:gd name="connsiteY60" fmla="*/ 152400 h 942975"/>
                    <a:gd name="connsiteX61" fmla="*/ 448950 w 892507"/>
                    <a:gd name="connsiteY61" fmla="*/ 138112 h 942975"/>
                    <a:gd name="connsiteX62" fmla="*/ 439425 w 892507"/>
                    <a:gd name="connsiteY62" fmla="*/ 71437 h 942975"/>
                    <a:gd name="connsiteX63" fmla="*/ 429900 w 892507"/>
                    <a:gd name="connsiteY63" fmla="*/ 57150 h 942975"/>
                    <a:gd name="connsiteX64" fmla="*/ 410850 w 892507"/>
                    <a:gd name="connsiteY64" fmla="*/ 33337 h 942975"/>
                    <a:gd name="connsiteX65" fmla="*/ 396562 w 892507"/>
                    <a:gd name="connsiteY65" fmla="*/ 19050 h 942975"/>
                    <a:gd name="connsiteX66" fmla="*/ 320362 w 892507"/>
                    <a:gd name="connsiteY66" fmla="*/ 0 h 942975"/>
                    <a:gd name="connsiteX67" fmla="*/ 263212 w 892507"/>
                    <a:gd name="connsiteY67" fmla="*/ 9525 h 942975"/>
                    <a:gd name="connsiteX68" fmla="*/ 206062 w 892507"/>
                    <a:gd name="connsiteY68" fmla="*/ 66675 h 942975"/>
                    <a:gd name="connsiteX69" fmla="*/ 201300 w 892507"/>
                    <a:gd name="connsiteY69" fmla="*/ 80962 h 942975"/>
                    <a:gd name="connsiteX70" fmla="*/ 191775 w 892507"/>
                    <a:gd name="connsiteY70" fmla="*/ 100012 h 942975"/>
                    <a:gd name="connsiteX71" fmla="*/ 196537 w 892507"/>
                    <a:gd name="connsiteY71" fmla="*/ 166687 h 942975"/>
                    <a:gd name="connsiteX72" fmla="*/ 206062 w 892507"/>
                    <a:gd name="connsiteY72" fmla="*/ 185737 h 942975"/>
                    <a:gd name="connsiteX73" fmla="*/ 234637 w 892507"/>
                    <a:gd name="connsiteY73" fmla="*/ 223837 h 942975"/>
                    <a:gd name="connsiteX74" fmla="*/ 239400 w 892507"/>
                    <a:gd name="connsiteY74" fmla="*/ 242887 h 942975"/>
                    <a:gd name="connsiteX75" fmla="*/ 244162 w 892507"/>
                    <a:gd name="connsiteY75" fmla="*/ 257175 h 942975"/>
                    <a:gd name="connsiteX76" fmla="*/ 239400 w 892507"/>
                    <a:gd name="connsiteY76" fmla="*/ 280987 h 942975"/>
                    <a:gd name="connsiteX77" fmla="*/ 206062 w 892507"/>
                    <a:gd name="connsiteY77" fmla="*/ 276225 h 942975"/>
                    <a:gd name="connsiteX78" fmla="*/ 29850 w 892507"/>
                    <a:gd name="connsiteY78" fmla="*/ 280987 h 942975"/>
                    <a:gd name="connsiteX79" fmla="*/ 1275 w 892507"/>
                    <a:gd name="connsiteY79" fmla="*/ 295275 h 9429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</a:cxnLst>
                  <a:rect l="l" t="t" r="r" b="b"/>
                  <a:pathLst>
                    <a:path w="892507" h="942975">
                      <a:moveTo>
                        <a:pt x="1275" y="295275"/>
                      </a:moveTo>
                      <a:cubicBezTo>
                        <a:pt x="-2694" y="324644"/>
                        <a:pt x="3656" y="419894"/>
                        <a:pt x="6037" y="457200"/>
                      </a:cubicBezTo>
                      <a:cubicBezTo>
                        <a:pt x="8418" y="494506"/>
                        <a:pt x="11593" y="504825"/>
                        <a:pt x="15562" y="519112"/>
                      </a:cubicBezTo>
                      <a:cubicBezTo>
                        <a:pt x="19531" y="533399"/>
                        <a:pt x="23304" y="536379"/>
                        <a:pt x="29850" y="542925"/>
                      </a:cubicBezTo>
                      <a:cubicBezTo>
                        <a:pt x="33400" y="546475"/>
                        <a:pt x="39267" y="546469"/>
                        <a:pt x="44137" y="547687"/>
                      </a:cubicBezTo>
                      <a:cubicBezTo>
                        <a:pt x="51990" y="549650"/>
                        <a:pt x="60012" y="550862"/>
                        <a:pt x="67950" y="552450"/>
                      </a:cubicBezTo>
                      <a:cubicBezTo>
                        <a:pt x="79062" y="549275"/>
                        <a:pt x="90557" y="547217"/>
                        <a:pt x="101287" y="542925"/>
                      </a:cubicBezTo>
                      <a:cubicBezTo>
                        <a:pt x="114934" y="537466"/>
                        <a:pt x="118876" y="528267"/>
                        <a:pt x="129862" y="519112"/>
                      </a:cubicBezTo>
                      <a:cubicBezTo>
                        <a:pt x="134259" y="515448"/>
                        <a:pt x="139387" y="512762"/>
                        <a:pt x="144150" y="509587"/>
                      </a:cubicBezTo>
                      <a:cubicBezTo>
                        <a:pt x="169550" y="511175"/>
                        <a:pt x="195040" y="511686"/>
                        <a:pt x="220350" y="514350"/>
                      </a:cubicBezTo>
                      <a:cubicBezTo>
                        <a:pt x="225342" y="514876"/>
                        <a:pt x="231087" y="515562"/>
                        <a:pt x="234637" y="519112"/>
                      </a:cubicBezTo>
                      <a:cubicBezTo>
                        <a:pt x="241183" y="525658"/>
                        <a:pt x="244162" y="534987"/>
                        <a:pt x="248925" y="542925"/>
                      </a:cubicBezTo>
                      <a:cubicBezTo>
                        <a:pt x="242355" y="634900"/>
                        <a:pt x="254541" y="583866"/>
                        <a:pt x="234637" y="628650"/>
                      </a:cubicBezTo>
                      <a:cubicBezTo>
                        <a:pt x="231165" y="636462"/>
                        <a:pt x="230241" y="645623"/>
                        <a:pt x="225112" y="652462"/>
                      </a:cubicBezTo>
                      <a:cubicBezTo>
                        <a:pt x="213902" y="667409"/>
                        <a:pt x="202980" y="667520"/>
                        <a:pt x="187012" y="671512"/>
                      </a:cubicBezTo>
                      <a:cubicBezTo>
                        <a:pt x="175900" y="668337"/>
                        <a:pt x="164196" y="666769"/>
                        <a:pt x="153675" y="661987"/>
                      </a:cubicBezTo>
                      <a:cubicBezTo>
                        <a:pt x="146449" y="658703"/>
                        <a:pt x="140652" y="652866"/>
                        <a:pt x="134625" y="647700"/>
                      </a:cubicBezTo>
                      <a:cubicBezTo>
                        <a:pt x="120365" y="635477"/>
                        <a:pt x="120610" y="633822"/>
                        <a:pt x="110812" y="619125"/>
                      </a:cubicBezTo>
                      <a:cubicBezTo>
                        <a:pt x="82237" y="620712"/>
                        <a:pt x="53092" y="617991"/>
                        <a:pt x="25087" y="623887"/>
                      </a:cubicBezTo>
                      <a:cubicBezTo>
                        <a:pt x="20174" y="624921"/>
                        <a:pt x="20325" y="633155"/>
                        <a:pt x="20325" y="638175"/>
                      </a:cubicBezTo>
                      <a:cubicBezTo>
                        <a:pt x="20325" y="655709"/>
                        <a:pt x="22706" y="644525"/>
                        <a:pt x="25087" y="690562"/>
                      </a:cubicBezTo>
                      <a:cubicBezTo>
                        <a:pt x="27468" y="736599"/>
                        <a:pt x="-3488" y="874713"/>
                        <a:pt x="34612" y="914400"/>
                      </a:cubicBezTo>
                      <a:cubicBezTo>
                        <a:pt x="72712" y="954087"/>
                        <a:pt x="213206" y="927100"/>
                        <a:pt x="253687" y="928687"/>
                      </a:cubicBezTo>
                      <a:cubicBezTo>
                        <a:pt x="261625" y="927100"/>
                        <a:pt x="273010" y="930660"/>
                        <a:pt x="277500" y="923925"/>
                      </a:cubicBezTo>
                      <a:cubicBezTo>
                        <a:pt x="282775" y="916012"/>
                        <a:pt x="266332" y="887302"/>
                        <a:pt x="263212" y="881062"/>
                      </a:cubicBezTo>
                      <a:cubicBezTo>
                        <a:pt x="260037" y="868362"/>
                        <a:pt x="257826" y="855381"/>
                        <a:pt x="253687" y="842962"/>
                      </a:cubicBezTo>
                      <a:cubicBezTo>
                        <a:pt x="252100" y="838200"/>
                        <a:pt x="250304" y="833502"/>
                        <a:pt x="248925" y="828675"/>
                      </a:cubicBezTo>
                      <a:cubicBezTo>
                        <a:pt x="244438" y="812971"/>
                        <a:pt x="242676" y="802194"/>
                        <a:pt x="239400" y="785812"/>
                      </a:cubicBezTo>
                      <a:cubicBezTo>
                        <a:pt x="242575" y="771525"/>
                        <a:pt x="240806" y="755128"/>
                        <a:pt x="248925" y="742950"/>
                      </a:cubicBezTo>
                      <a:cubicBezTo>
                        <a:pt x="254832" y="734089"/>
                        <a:pt x="267670" y="732758"/>
                        <a:pt x="277500" y="728662"/>
                      </a:cubicBezTo>
                      <a:cubicBezTo>
                        <a:pt x="286768" y="724800"/>
                        <a:pt x="306075" y="719137"/>
                        <a:pt x="306075" y="719137"/>
                      </a:cubicBezTo>
                      <a:cubicBezTo>
                        <a:pt x="323537" y="722312"/>
                        <a:pt x="342587" y="720725"/>
                        <a:pt x="358462" y="728662"/>
                      </a:cubicBezTo>
                      <a:cubicBezTo>
                        <a:pt x="363087" y="730975"/>
                        <a:pt x="390372" y="768034"/>
                        <a:pt x="396562" y="776287"/>
                      </a:cubicBezTo>
                      <a:cubicBezTo>
                        <a:pt x="394975" y="809625"/>
                        <a:pt x="394265" y="843016"/>
                        <a:pt x="391800" y="876300"/>
                      </a:cubicBezTo>
                      <a:cubicBezTo>
                        <a:pt x="391578" y="879296"/>
                        <a:pt x="381193" y="911586"/>
                        <a:pt x="391800" y="919162"/>
                      </a:cubicBezTo>
                      <a:cubicBezTo>
                        <a:pt x="399970" y="924998"/>
                        <a:pt x="392594" y="925512"/>
                        <a:pt x="420375" y="928687"/>
                      </a:cubicBezTo>
                      <a:cubicBezTo>
                        <a:pt x="448156" y="931862"/>
                        <a:pt x="529118" y="935831"/>
                        <a:pt x="558487" y="938212"/>
                      </a:cubicBezTo>
                      <a:cubicBezTo>
                        <a:pt x="587856" y="940593"/>
                        <a:pt x="583788" y="942975"/>
                        <a:pt x="596587" y="942975"/>
                      </a:cubicBezTo>
                      <a:cubicBezTo>
                        <a:pt x="609386" y="942975"/>
                        <a:pt x="621987" y="939800"/>
                        <a:pt x="634687" y="938212"/>
                      </a:cubicBezTo>
                      <a:cubicBezTo>
                        <a:pt x="637952" y="872912"/>
                        <a:pt x="642558" y="751221"/>
                        <a:pt x="653737" y="695325"/>
                      </a:cubicBezTo>
                      <a:cubicBezTo>
                        <a:pt x="654722" y="690402"/>
                        <a:pt x="663535" y="697842"/>
                        <a:pt x="668025" y="700087"/>
                      </a:cubicBezTo>
                      <a:cubicBezTo>
                        <a:pt x="727213" y="729681"/>
                        <a:pt x="690279" y="719779"/>
                        <a:pt x="734700" y="728662"/>
                      </a:cubicBezTo>
                      <a:cubicBezTo>
                        <a:pt x="778294" y="750460"/>
                        <a:pt x="776391" y="756041"/>
                        <a:pt x="844237" y="733425"/>
                      </a:cubicBezTo>
                      <a:cubicBezTo>
                        <a:pt x="855802" y="729570"/>
                        <a:pt x="873552" y="689083"/>
                        <a:pt x="877575" y="681037"/>
                      </a:cubicBezTo>
                      <a:cubicBezTo>
                        <a:pt x="885513" y="665956"/>
                        <a:pt x="890275" y="660399"/>
                        <a:pt x="891862" y="642937"/>
                      </a:cubicBezTo>
                      <a:cubicBezTo>
                        <a:pt x="893449" y="625475"/>
                        <a:pt x="892203" y="597951"/>
                        <a:pt x="887100" y="576262"/>
                      </a:cubicBezTo>
                      <a:cubicBezTo>
                        <a:pt x="885557" y="569706"/>
                        <a:pt x="877575" y="566737"/>
                        <a:pt x="872812" y="561975"/>
                      </a:cubicBezTo>
                      <a:cubicBezTo>
                        <a:pt x="860112" y="550863"/>
                        <a:pt x="840269" y="515143"/>
                        <a:pt x="810900" y="509587"/>
                      </a:cubicBezTo>
                      <a:cubicBezTo>
                        <a:pt x="758140" y="513105"/>
                        <a:pt x="740834" y="508221"/>
                        <a:pt x="696600" y="528637"/>
                      </a:cubicBezTo>
                      <a:cubicBezTo>
                        <a:pt x="667695" y="541978"/>
                        <a:pt x="675963" y="554037"/>
                        <a:pt x="668025" y="557212"/>
                      </a:cubicBezTo>
                      <a:cubicBezTo>
                        <a:pt x="660087" y="560387"/>
                        <a:pt x="652944" y="551656"/>
                        <a:pt x="648975" y="547687"/>
                      </a:cubicBezTo>
                      <a:cubicBezTo>
                        <a:pt x="645006" y="543718"/>
                        <a:pt x="644212" y="538420"/>
                        <a:pt x="644212" y="533400"/>
                      </a:cubicBezTo>
                      <a:cubicBezTo>
                        <a:pt x="644212" y="512701"/>
                        <a:pt x="647387" y="492125"/>
                        <a:pt x="648975" y="471487"/>
                      </a:cubicBezTo>
                      <a:cubicBezTo>
                        <a:pt x="647387" y="409575"/>
                        <a:pt x="648523" y="347532"/>
                        <a:pt x="644212" y="285750"/>
                      </a:cubicBezTo>
                      <a:cubicBezTo>
                        <a:pt x="643718" y="278668"/>
                        <a:pt x="640707" y="270463"/>
                        <a:pt x="634687" y="266700"/>
                      </a:cubicBezTo>
                      <a:cubicBezTo>
                        <a:pt x="626498" y="261582"/>
                        <a:pt x="615637" y="263525"/>
                        <a:pt x="606112" y="261937"/>
                      </a:cubicBezTo>
                      <a:lnTo>
                        <a:pt x="506100" y="266700"/>
                      </a:lnTo>
                      <a:cubicBezTo>
                        <a:pt x="445682" y="270598"/>
                        <a:pt x="475585" y="278306"/>
                        <a:pt x="434662" y="261937"/>
                      </a:cubicBezTo>
                      <a:cubicBezTo>
                        <a:pt x="432672" y="255965"/>
                        <a:pt x="424805" y="233581"/>
                        <a:pt x="425137" y="228600"/>
                      </a:cubicBezTo>
                      <a:cubicBezTo>
                        <a:pt x="426318" y="210890"/>
                        <a:pt x="430357" y="193431"/>
                        <a:pt x="434662" y="176212"/>
                      </a:cubicBezTo>
                      <a:cubicBezTo>
                        <a:pt x="436735" y="167918"/>
                        <a:pt x="441185" y="160404"/>
                        <a:pt x="444187" y="152400"/>
                      </a:cubicBezTo>
                      <a:cubicBezTo>
                        <a:pt x="445950" y="147699"/>
                        <a:pt x="447362" y="142875"/>
                        <a:pt x="448950" y="138112"/>
                      </a:cubicBezTo>
                      <a:cubicBezTo>
                        <a:pt x="447734" y="124738"/>
                        <a:pt x="448585" y="89759"/>
                        <a:pt x="439425" y="71437"/>
                      </a:cubicBezTo>
                      <a:cubicBezTo>
                        <a:pt x="436865" y="66318"/>
                        <a:pt x="433075" y="61912"/>
                        <a:pt x="429900" y="57150"/>
                      </a:cubicBezTo>
                      <a:cubicBezTo>
                        <a:pt x="421247" y="22541"/>
                        <a:pt x="433396" y="48368"/>
                        <a:pt x="410850" y="33337"/>
                      </a:cubicBezTo>
                      <a:cubicBezTo>
                        <a:pt x="405246" y="29601"/>
                        <a:pt x="402337" y="22515"/>
                        <a:pt x="396562" y="19050"/>
                      </a:cubicBezTo>
                      <a:cubicBezTo>
                        <a:pt x="366332" y="912"/>
                        <a:pt x="355835" y="3941"/>
                        <a:pt x="320362" y="0"/>
                      </a:cubicBezTo>
                      <a:cubicBezTo>
                        <a:pt x="301312" y="3175"/>
                        <a:pt x="281334" y="2849"/>
                        <a:pt x="263212" y="9525"/>
                      </a:cubicBezTo>
                      <a:cubicBezTo>
                        <a:pt x="235392" y="19775"/>
                        <a:pt x="221221" y="43936"/>
                        <a:pt x="206062" y="66675"/>
                      </a:cubicBezTo>
                      <a:cubicBezTo>
                        <a:pt x="204475" y="71437"/>
                        <a:pt x="203277" y="76348"/>
                        <a:pt x="201300" y="80962"/>
                      </a:cubicBezTo>
                      <a:cubicBezTo>
                        <a:pt x="198503" y="87488"/>
                        <a:pt x="192169" y="92923"/>
                        <a:pt x="191775" y="100012"/>
                      </a:cubicBezTo>
                      <a:cubicBezTo>
                        <a:pt x="190539" y="122259"/>
                        <a:pt x="192874" y="144709"/>
                        <a:pt x="196537" y="166687"/>
                      </a:cubicBezTo>
                      <a:cubicBezTo>
                        <a:pt x="197704" y="173690"/>
                        <a:pt x="202124" y="179830"/>
                        <a:pt x="206062" y="185737"/>
                      </a:cubicBezTo>
                      <a:cubicBezTo>
                        <a:pt x="214868" y="198946"/>
                        <a:pt x="234637" y="223837"/>
                        <a:pt x="234637" y="223837"/>
                      </a:cubicBezTo>
                      <a:cubicBezTo>
                        <a:pt x="236225" y="230187"/>
                        <a:pt x="237602" y="236593"/>
                        <a:pt x="239400" y="242887"/>
                      </a:cubicBezTo>
                      <a:cubicBezTo>
                        <a:pt x="240779" y="247714"/>
                        <a:pt x="244162" y="252155"/>
                        <a:pt x="244162" y="257175"/>
                      </a:cubicBezTo>
                      <a:cubicBezTo>
                        <a:pt x="244162" y="265269"/>
                        <a:pt x="240987" y="273050"/>
                        <a:pt x="239400" y="280987"/>
                      </a:cubicBezTo>
                      <a:lnTo>
                        <a:pt x="206062" y="276225"/>
                      </a:lnTo>
                      <a:cubicBezTo>
                        <a:pt x="171137" y="276225"/>
                        <a:pt x="63981" y="277812"/>
                        <a:pt x="29850" y="280987"/>
                      </a:cubicBezTo>
                      <a:cubicBezTo>
                        <a:pt x="-4281" y="284162"/>
                        <a:pt x="5244" y="265906"/>
                        <a:pt x="1275" y="295275"/>
                      </a:cubicBezTo>
                      <a:close/>
                    </a:path>
                  </a:pathLst>
                </a:custGeom>
                <a:noFill/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61" name="Group 160">
                <a:extLst>
                  <a:ext uri="{FF2B5EF4-FFF2-40B4-BE49-F238E27FC236}">
                    <a16:creationId xmlns:a16="http://schemas.microsoft.com/office/drawing/2014/main" id="{AA85156E-AF90-97C9-6797-565F5F4B3AF8}"/>
                  </a:ext>
                </a:extLst>
              </p:cNvPr>
              <p:cNvGrpSpPr/>
              <p:nvPr/>
            </p:nvGrpSpPr>
            <p:grpSpPr>
              <a:xfrm rot="21071440">
                <a:off x="8192093" y="3058245"/>
                <a:ext cx="1621666" cy="1978529"/>
                <a:chOff x="5349701" y="2784078"/>
                <a:chExt cx="1990979" cy="2429113"/>
              </a:xfrm>
            </p:grpSpPr>
            <p:sp>
              <p:nvSpPr>
                <p:cNvPr id="162" name="Freeform: Shape 161">
                  <a:extLst>
                    <a:ext uri="{FF2B5EF4-FFF2-40B4-BE49-F238E27FC236}">
                      <a16:creationId xmlns:a16="http://schemas.microsoft.com/office/drawing/2014/main" id="{46A53ADC-9E2B-3B6D-A9D0-915A9E197E72}"/>
                    </a:ext>
                  </a:extLst>
                </p:cNvPr>
                <p:cNvSpPr/>
                <p:nvPr/>
              </p:nvSpPr>
              <p:spPr>
                <a:xfrm>
                  <a:off x="5349701" y="2784078"/>
                  <a:ext cx="1990979" cy="2429113"/>
                </a:xfrm>
                <a:custGeom>
                  <a:avLst/>
                  <a:gdLst>
                    <a:gd name="connsiteX0" fmla="*/ 101536 w 2019316"/>
                    <a:gd name="connsiteY0" fmla="*/ 12411 h 2425252"/>
                    <a:gd name="connsiteX1" fmla="*/ 1422336 w 2019316"/>
                    <a:gd name="connsiteY1" fmla="*/ 6061 h 2425252"/>
                    <a:gd name="connsiteX2" fmla="*/ 1498536 w 2019316"/>
                    <a:gd name="connsiteY2" fmla="*/ 31461 h 2425252"/>
                    <a:gd name="connsiteX3" fmla="*/ 1523936 w 2019316"/>
                    <a:gd name="connsiteY3" fmla="*/ 63211 h 2425252"/>
                    <a:gd name="connsiteX4" fmla="*/ 1530286 w 2019316"/>
                    <a:gd name="connsiteY4" fmla="*/ 82261 h 2425252"/>
                    <a:gd name="connsiteX5" fmla="*/ 1549336 w 2019316"/>
                    <a:gd name="connsiteY5" fmla="*/ 101311 h 2425252"/>
                    <a:gd name="connsiteX6" fmla="*/ 1562036 w 2019316"/>
                    <a:gd name="connsiteY6" fmla="*/ 120361 h 2425252"/>
                    <a:gd name="connsiteX7" fmla="*/ 1581086 w 2019316"/>
                    <a:gd name="connsiteY7" fmla="*/ 145761 h 2425252"/>
                    <a:gd name="connsiteX8" fmla="*/ 1593786 w 2019316"/>
                    <a:gd name="connsiteY8" fmla="*/ 164811 h 2425252"/>
                    <a:gd name="connsiteX9" fmla="*/ 1625536 w 2019316"/>
                    <a:gd name="connsiteY9" fmla="*/ 196561 h 2425252"/>
                    <a:gd name="connsiteX10" fmla="*/ 1644586 w 2019316"/>
                    <a:gd name="connsiteY10" fmla="*/ 221961 h 2425252"/>
                    <a:gd name="connsiteX11" fmla="*/ 1669986 w 2019316"/>
                    <a:gd name="connsiteY11" fmla="*/ 247361 h 2425252"/>
                    <a:gd name="connsiteX12" fmla="*/ 1682686 w 2019316"/>
                    <a:gd name="connsiteY12" fmla="*/ 272761 h 2425252"/>
                    <a:gd name="connsiteX13" fmla="*/ 1720786 w 2019316"/>
                    <a:gd name="connsiteY13" fmla="*/ 317211 h 2425252"/>
                    <a:gd name="connsiteX14" fmla="*/ 1796986 w 2019316"/>
                    <a:gd name="connsiteY14" fmla="*/ 374361 h 2425252"/>
                    <a:gd name="connsiteX15" fmla="*/ 1816036 w 2019316"/>
                    <a:gd name="connsiteY15" fmla="*/ 393411 h 2425252"/>
                    <a:gd name="connsiteX16" fmla="*/ 1885886 w 2019316"/>
                    <a:gd name="connsiteY16" fmla="*/ 437861 h 2425252"/>
                    <a:gd name="connsiteX17" fmla="*/ 1911286 w 2019316"/>
                    <a:gd name="connsiteY17" fmla="*/ 463261 h 2425252"/>
                    <a:gd name="connsiteX18" fmla="*/ 1943036 w 2019316"/>
                    <a:gd name="connsiteY18" fmla="*/ 475961 h 2425252"/>
                    <a:gd name="connsiteX19" fmla="*/ 1974786 w 2019316"/>
                    <a:gd name="connsiteY19" fmla="*/ 501361 h 2425252"/>
                    <a:gd name="connsiteX20" fmla="*/ 1974786 w 2019316"/>
                    <a:gd name="connsiteY20" fmla="*/ 1968211 h 2425252"/>
                    <a:gd name="connsiteX21" fmla="*/ 1968436 w 2019316"/>
                    <a:gd name="connsiteY21" fmla="*/ 2374611 h 2425252"/>
                    <a:gd name="connsiteX22" fmla="*/ 1390586 w 2019316"/>
                    <a:gd name="connsiteY22" fmla="*/ 2380961 h 2425252"/>
                    <a:gd name="connsiteX23" fmla="*/ 730186 w 2019316"/>
                    <a:gd name="connsiteY23" fmla="*/ 2387311 h 2425252"/>
                    <a:gd name="connsiteX24" fmla="*/ 101536 w 2019316"/>
                    <a:gd name="connsiteY24" fmla="*/ 2387311 h 2425252"/>
                    <a:gd name="connsiteX25" fmla="*/ 95186 w 2019316"/>
                    <a:gd name="connsiteY25" fmla="*/ 2342861 h 2425252"/>
                    <a:gd name="connsiteX26" fmla="*/ 88836 w 2019316"/>
                    <a:gd name="connsiteY26" fmla="*/ 2323811 h 2425252"/>
                    <a:gd name="connsiteX27" fmla="*/ 95186 w 2019316"/>
                    <a:gd name="connsiteY27" fmla="*/ 2234911 h 2425252"/>
                    <a:gd name="connsiteX28" fmla="*/ 107886 w 2019316"/>
                    <a:gd name="connsiteY28" fmla="*/ 2133311 h 2425252"/>
                    <a:gd name="connsiteX29" fmla="*/ 101536 w 2019316"/>
                    <a:gd name="connsiteY29" fmla="*/ 1930111 h 2425252"/>
                    <a:gd name="connsiteX30" fmla="*/ 88836 w 2019316"/>
                    <a:gd name="connsiteY30" fmla="*/ 1174461 h 2425252"/>
                    <a:gd name="connsiteX31" fmla="*/ 82486 w 2019316"/>
                    <a:gd name="connsiteY31" fmla="*/ 1104611 h 2425252"/>
                    <a:gd name="connsiteX32" fmla="*/ 76136 w 2019316"/>
                    <a:gd name="connsiteY32" fmla="*/ 1072861 h 2425252"/>
                    <a:gd name="connsiteX33" fmla="*/ 63436 w 2019316"/>
                    <a:gd name="connsiteY33" fmla="*/ 926811 h 2425252"/>
                    <a:gd name="connsiteX34" fmla="*/ 44386 w 2019316"/>
                    <a:gd name="connsiteY34" fmla="*/ 361661 h 2425252"/>
                    <a:gd name="connsiteX35" fmla="*/ 88836 w 2019316"/>
                    <a:gd name="connsiteY35" fmla="*/ 6061 h 2425252"/>
                    <a:gd name="connsiteX36" fmla="*/ 101536 w 2019316"/>
                    <a:gd name="connsiteY36" fmla="*/ 12411 h 2425252"/>
                    <a:gd name="connsiteX0" fmla="*/ 76535 w 2007015"/>
                    <a:gd name="connsiteY0" fmla="*/ 27307 h 2446498"/>
                    <a:gd name="connsiteX1" fmla="*/ 1410035 w 2007015"/>
                    <a:gd name="connsiteY1" fmla="*/ 27307 h 2446498"/>
                    <a:gd name="connsiteX2" fmla="*/ 1486235 w 2007015"/>
                    <a:gd name="connsiteY2" fmla="*/ 52707 h 2446498"/>
                    <a:gd name="connsiteX3" fmla="*/ 1511635 w 2007015"/>
                    <a:gd name="connsiteY3" fmla="*/ 84457 h 2446498"/>
                    <a:gd name="connsiteX4" fmla="*/ 1517985 w 2007015"/>
                    <a:gd name="connsiteY4" fmla="*/ 103507 h 2446498"/>
                    <a:gd name="connsiteX5" fmla="*/ 1537035 w 2007015"/>
                    <a:gd name="connsiteY5" fmla="*/ 122557 h 2446498"/>
                    <a:gd name="connsiteX6" fmla="*/ 1549735 w 2007015"/>
                    <a:gd name="connsiteY6" fmla="*/ 141607 h 2446498"/>
                    <a:gd name="connsiteX7" fmla="*/ 1568785 w 2007015"/>
                    <a:gd name="connsiteY7" fmla="*/ 167007 h 2446498"/>
                    <a:gd name="connsiteX8" fmla="*/ 1581485 w 2007015"/>
                    <a:gd name="connsiteY8" fmla="*/ 186057 h 2446498"/>
                    <a:gd name="connsiteX9" fmla="*/ 1613235 w 2007015"/>
                    <a:gd name="connsiteY9" fmla="*/ 217807 h 2446498"/>
                    <a:gd name="connsiteX10" fmla="*/ 1632285 w 2007015"/>
                    <a:gd name="connsiteY10" fmla="*/ 243207 h 2446498"/>
                    <a:gd name="connsiteX11" fmla="*/ 1657685 w 2007015"/>
                    <a:gd name="connsiteY11" fmla="*/ 268607 h 2446498"/>
                    <a:gd name="connsiteX12" fmla="*/ 1670385 w 2007015"/>
                    <a:gd name="connsiteY12" fmla="*/ 294007 h 2446498"/>
                    <a:gd name="connsiteX13" fmla="*/ 1708485 w 2007015"/>
                    <a:gd name="connsiteY13" fmla="*/ 338457 h 2446498"/>
                    <a:gd name="connsiteX14" fmla="*/ 1784685 w 2007015"/>
                    <a:gd name="connsiteY14" fmla="*/ 395607 h 2446498"/>
                    <a:gd name="connsiteX15" fmla="*/ 1803735 w 2007015"/>
                    <a:gd name="connsiteY15" fmla="*/ 414657 h 2446498"/>
                    <a:gd name="connsiteX16" fmla="*/ 1873585 w 2007015"/>
                    <a:gd name="connsiteY16" fmla="*/ 459107 h 2446498"/>
                    <a:gd name="connsiteX17" fmla="*/ 1898985 w 2007015"/>
                    <a:gd name="connsiteY17" fmla="*/ 484507 h 2446498"/>
                    <a:gd name="connsiteX18" fmla="*/ 1930735 w 2007015"/>
                    <a:gd name="connsiteY18" fmla="*/ 497207 h 2446498"/>
                    <a:gd name="connsiteX19" fmla="*/ 1962485 w 2007015"/>
                    <a:gd name="connsiteY19" fmla="*/ 522607 h 2446498"/>
                    <a:gd name="connsiteX20" fmla="*/ 1962485 w 2007015"/>
                    <a:gd name="connsiteY20" fmla="*/ 1989457 h 2446498"/>
                    <a:gd name="connsiteX21" fmla="*/ 1956135 w 2007015"/>
                    <a:gd name="connsiteY21" fmla="*/ 2395857 h 2446498"/>
                    <a:gd name="connsiteX22" fmla="*/ 1378285 w 2007015"/>
                    <a:gd name="connsiteY22" fmla="*/ 2402207 h 2446498"/>
                    <a:gd name="connsiteX23" fmla="*/ 717885 w 2007015"/>
                    <a:gd name="connsiteY23" fmla="*/ 2408557 h 2446498"/>
                    <a:gd name="connsiteX24" fmla="*/ 89235 w 2007015"/>
                    <a:gd name="connsiteY24" fmla="*/ 2408557 h 2446498"/>
                    <a:gd name="connsiteX25" fmla="*/ 82885 w 2007015"/>
                    <a:gd name="connsiteY25" fmla="*/ 2364107 h 2446498"/>
                    <a:gd name="connsiteX26" fmla="*/ 76535 w 2007015"/>
                    <a:gd name="connsiteY26" fmla="*/ 2345057 h 2446498"/>
                    <a:gd name="connsiteX27" fmla="*/ 82885 w 2007015"/>
                    <a:gd name="connsiteY27" fmla="*/ 2256157 h 2446498"/>
                    <a:gd name="connsiteX28" fmla="*/ 95585 w 2007015"/>
                    <a:gd name="connsiteY28" fmla="*/ 2154557 h 2446498"/>
                    <a:gd name="connsiteX29" fmla="*/ 89235 w 2007015"/>
                    <a:gd name="connsiteY29" fmla="*/ 1951357 h 2446498"/>
                    <a:gd name="connsiteX30" fmla="*/ 76535 w 2007015"/>
                    <a:gd name="connsiteY30" fmla="*/ 1195707 h 2446498"/>
                    <a:gd name="connsiteX31" fmla="*/ 70185 w 2007015"/>
                    <a:gd name="connsiteY31" fmla="*/ 1125857 h 2446498"/>
                    <a:gd name="connsiteX32" fmla="*/ 63835 w 2007015"/>
                    <a:gd name="connsiteY32" fmla="*/ 1094107 h 2446498"/>
                    <a:gd name="connsiteX33" fmla="*/ 51135 w 2007015"/>
                    <a:gd name="connsiteY33" fmla="*/ 948057 h 2446498"/>
                    <a:gd name="connsiteX34" fmla="*/ 32085 w 2007015"/>
                    <a:gd name="connsiteY34" fmla="*/ 382907 h 2446498"/>
                    <a:gd name="connsiteX35" fmla="*/ 76535 w 2007015"/>
                    <a:gd name="connsiteY35" fmla="*/ 27307 h 2446498"/>
                    <a:gd name="connsiteX0" fmla="*/ 109872 w 2040352"/>
                    <a:gd name="connsiteY0" fmla="*/ 18388 h 2437579"/>
                    <a:gd name="connsiteX1" fmla="*/ 1443372 w 2040352"/>
                    <a:gd name="connsiteY1" fmla="*/ 18388 h 2437579"/>
                    <a:gd name="connsiteX2" fmla="*/ 1519572 w 2040352"/>
                    <a:gd name="connsiteY2" fmla="*/ 43788 h 2437579"/>
                    <a:gd name="connsiteX3" fmla="*/ 1544972 w 2040352"/>
                    <a:gd name="connsiteY3" fmla="*/ 75538 h 2437579"/>
                    <a:gd name="connsiteX4" fmla="*/ 1551322 w 2040352"/>
                    <a:gd name="connsiteY4" fmla="*/ 94588 h 2437579"/>
                    <a:gd name="connsiteX5" fmla="*/ 1570372 w 2040352"/>
                    <a:gd name="connsiteY5" fmla="*/ 113638 h 2437579"/>
                    <a:gd name="connsiteX6" fmla="*/ 1583072 w 2040352"/>
                    <a:gd name="connsiteY6" fmla="*/ 132688 h 2437579"/>
                    <a:gd name="connsiteX7" fmla="*/ 1602122 w 2040352"/>
                    <a:gd name="connsiteY7" fmla="*/ 158088 h 2437579"/>
                    <a:gd name="connsiteX8" fmla="*/ 1614822 w 2040352"/>
                    <a:gd name="connsiteY8" fmla="*/ 177138 h 2437579"/>
                    <a:gd name="connsiteX9" fmla="*/ 1646572 w 2040352"/>
                    <a:gd name="connsiteY9" fmla="*/ 208888 h 2437579"/>
                    <a:gd name="connsiteX10" fmla="*/ 1665622 w 2040352"/>
                    <a:gd name="connsiteY10" fmla="*/ 234288 h 2437579"/>
                    <a:gd name="connsiteX11" fmla="*/ 1691022 w 2040352"/>
                    <a:gd name="connsiteY11" fmla="*/ 259688 h 2437579"/>
                    <a:gd name="connsiteX12" fmla="*/ 1703722 w 2040352"/>
                    <a:gd name="connsiteY12" fmla="*/ 285088 h 2437579"/>
                    <a:gd name="connsiteX13" fmla="*/ 1741822 w 2040352"/>
                    <a:gd name="connsiteY13" fmla="*/ 329538 h 2437579"/>
                    <a:gd name="connsiteX14" fmla="*/ 1818022 w 2040352"/>
                    <a:gd name="connsiteY14" fmla="*/ 386688 h 2437579"/>
                    <a:gd name="connsiteX15" fmla="*/ 1837072 w 2040352"/>
                    <a:gd name="connsiteY15" fmla="*/ 405738 h 2437579"/>
                    <a:gd name="connsiteX16" fmla="*/ 1906922 w 2040352"/>
                    <a:gd name="connsiteY16" fmla="*/ 450188 h 2437579"/>
                    <a:gd name="connsiteX17" fmla="*/ 1932322 w 2040352"/>
                    <a:gd name="connsiteY17" fmla="*/ 475588 h 2437579"/>
                    <a:gd name="connsiteX18" fmla="*/ 1964072 w 2040352"/>
                    <a:gd name="connsiteY18" fmla="*/ 488288 h 2437579"/>
                    <a:gd name="connsiteX19" fmla="*/ 1995822 w 2040352"/>
                    <a:gd name="connsiteY19" fmla="*/ 513688 h 2437579"/>
                    <a:gd name="connsiteX20" fmla="*/ 1995822 w 2040352"/>
                    <a:gd name="connsiteY20" fmla="*/ 1980538 h 2437579"/>
                    <a:gd name="connsiteX21" fmla="*/ 1989472 w 2040352"/>
                    <a:gd name="connsiteY21" fmla="*/ 2386938 h 2437579"/>
                    <a:gd name="connsiteX22" fmla="*/ 1411622 w 2040352"/>
                    <a:gd name="connsiteY22" fmla="*/ 2393288 h 2437579"/>
                    <a:gd name="connsiteX23" fmla="*/ 751222 w 2040352"/>
                    <a:gd name="connsiteY23" fmla="*/ 2399638 h 2437579"/>
                    <a:gd name="connsiteX24" fmla="*/ 122572 w 2040352"/>
                    <a:gd name="connsiteY24" fmla="*/ 2399638 h 2437579"/>
                    <a:gd name="connsiteX25" fmla="*/ 116222 w 2040352"/>
                    <a:gd name="connsiteY25" fmla="*/ 2355188 h 2437579"/>
                    <a:gd name="connsiteX26" fmla="*/ 109872 w 2040352"/>
                    <a:gd name="connsiteY26" fmla="*/ 2336138 h 2437579"/>
                    <a:gd name="connsiteX27" fmla="*/ 116222 w 2040352"/>
                    <a:gd name="connsiteY27" fmla="*/ 2247238 h 2437579"/>
                    <a:gd name="connsiteX28" fmla="*/ 128922 w 2040352"/>
                    <a:gd name="connsiteY28" fmla="*/ 2145638 h 2437579"/>
                    <a:gd name="connsiteX29" fmla="*/ 122572 w 2040352"/>
                    <a:gd name="connsiteY29" fmla="*/ 1942438 h 2437579"/>
                    <a:gd name="connsiteX30" fmla="*/ 109872 w 2040352"/>
                    <a:gd name="connsiteY30" fmla="*/ 1186788 h 2437579"/>
                    <a:gd name="connsiteX31" fmla="*/ 103522 w 2040352"/>
                    <a:gd name="connsiteY31" fmla="*/ 1116938 h 2437579"/>
                    <a:gd name="connsiteX32" fmla="*/ 97172 w 2040352"/>
                    <a:gd name="connsiteY32" fmla="*/ 1085188 h 2437579"/>
                    <a:gd name="connsiteX33" fmla="*/ 84472 w 2040352"/>
                    <a:gd name="connsiteY33" fmla="*/ 939138 h 2437579"/>
                    <a:gd name="connsiteX34" fmla="*/ 65422 w 2040352"/>
                    <a:gd name="connsiteY34" fmla="*/ 373988 h 2437579"/>
                    <a:gd name="connsiteX35" fmla="*/ 109872 w 2040352"/>
                    <a:gd name="connsiteY35" fmla="*/ 18388 h 2437579"/>
                    <a:gd name="connsiteX0" fmla="*/ 60499 w 1990979"/>
                    <a:gd name="connsiteY0" fmla="*/ 9922 h 2429113"/>
                    <a:gd name="connsiteX1" fmla="*/ 1393999 w 1990979"/>
                    <a:gd name="connsiteY1" fmla="*/ 9922 h 2429113"/>
                    <a:gd name="connsiteX2" fmla="*/ 1470199 w 1990979"/>
                    <a:gd name="connsiteY2" fmla="*/ 35322 h 2429113"/>
                    <a:gd name="connsiteX3" fmla="*/ 1495599 w 1990979"/>
                    <a:gd name="connsiteY3" fmla="*/ 67072 h 2429113"/>
                    <a:gd name="connsiteX4" fmla="*/ 1501949 w 1990979"/>
                    <a:gd name="connsiteY4" fmla="*/ 86122 h 2429113"/>
                    <a:gd name="connsiteX5" fmla="*/ 1520999 w 1990979"/>
                    <a:gd name="connsiteY5" fmla="*/ 105172 h 2429113"/>
                    <a:gd name="connsiteX6" fmla="*/ 1533699 w 1990979"/>
                    <a:gd name="connsiteY6" fmla="*/ 124222 h 2429113"/>
                    <a:gd name="connsiteX7" fmla="*/ 1552749 w 1990979"/>
                    <a:gd name="connsiteY7" fmla="*/ 149622 h 2429113"/>
                    <a:gd name="connsiteX8" fmla="*/ 1565449 w 1990979"/>
                    <a:gd name="connsiteY8" fmla="*/ 168672 h 2429113"/>
                    <a:gd name="connsiteX9" fmla="*/ 1597199 w 1990979"/>
                    <a:gd name="connsiteY9" fmla="*/ 200422 h 2429113"/>
                    <a:gd name="connsiteX10" fmla="*/ 1616249 w 1990979"/>
                    <a:gd name="connsiteY10" fmla="*/ 225822 h 2429113"/>
                    <a:gd name="connsiteX11" fmla="*/ 1641649 w 1990979"/>
                    <a:gd name="connsiteY11" fmla="*/ 251222 h 2429113"/>
                    <a:gd name="connsiteX12" fmla="*/ 1654349 w 1990979"/>
                    <a:gd name="connsiteY12" fmla="*/ 276622 h 2429113"/>
                    <a:gd name="connsiteX13" fmla="*/ 1692449 w 1990979"/>
                    <a:gd name="connsiteY13" fmla="*/ 321072 h 2429113"/>
                    <a:gd name="connsiteX14" fmla="*/ 1768649 w 1990979"/>
                    <a:gd name="connsiteY14" fmla="*/ 378222 h 2429113"/>
                    <a:gd name="connsiteX15" fmla="*/ 1787699 w 1990979"/>
                    <a:gd name="connsiteY15" fmla="*/ 397272 h 2429113"/>
                    <a:gd name="connsiteX16" fmla="*/ 1857549 w 1990979"/>
                    <a:gd name="connsiteY16" fmla="*/ 441722 h 2429113"/>
                    <a:gd name="connsiteX17" fmla="*/ 1882949 w 1990979"/>
                    <a:gd name="connsiteY17" fmla="*/ 467122 h 2429113"/>
                    <a:gd name="connsiteX18" fmla="*/ 1914699 w 1990979"/>
                    <a:gd name="connsiteY18" fmla="*/ 479822 h 2429113"/>
                    <a:gd name="connsiteX19" fmla="*/ 1946449 w 1990979"/>
                    <a:gd name="connsiteY19" fmla="*/ 505222 h 2429113"/>
                    <a:gd name="connsiteX20" fmla="*/ 1946449 w 1990979"/>
                    <a:gd name="connsiteY20" fmla="*/ 1972072 h 2429113"/>
                    <a:gd name="connsiteX21" fmla="*/ 1940099 w 1990979"/>
                    <a:gd name="connsiteY21" fmla="*/ 2378472 h 2429113"/>
                    <a:gd name="connsiteX22" fmla="*/ 1362249 w 1990979"/>
                    <a:gd name="connsiteY22" fmla="*/ 2384822 h 2429113"/>
                    <a:gd name="connsiteX23" fmla="*/ 701849 w 1990979"/>
                    <a:gd name="connsiteY23" fmla="*/ 2391172 h 2429113"/>
                    <a:gd name="connsiteX24" fmla="*/ 73199 w 1990979"/>
                    <a:gd name="connsiteY24" fmla="*/ 2391172 h 2429113"/>
                    <a:gd name="connsiteX25" fmla="*/ 66849 w 1990979"/>
                    <a:gd name="connsiteY25" fmla="*/ 2346722 h 2429113"/>
                    <a:gd name="connsiteX26" fmla="*/ 60499 w 1990979"/>
                    <a:gd name="connsiteY26" fmla="*/ 2327672 h 2429113"/>
                    <a:gd name="connsiteX27" fmla="*/ 66849 w 1990979"/>
                    <a:gd name="connsiteY27" fmla="*/ 2238772 h 2429113"/>
                    <a:gd name="connsiteX28" fmla="*/ 79549 w 1990979"/>
                    <a:gd name="connsiteY28" fmla="*/ 2137172 h 2429113"/>
                    <a:gd name="connsiteX29" fmla="*/ 73199 w 1990979"/>
                    <a:gd name="connsiteY29" fmla="*/ 1933972 h 2429113"/>
                    <a:gd name="connsiteX30" fmla="*/ 60499 w 1990979"/>
                    <a:gd name="connsiteY30" fmla="*/ 1178322 h 2429113"/>
                    <a:gd name="connsiteX31" fmla="*/ 54149 w 1990979"/>
                    <a:gd name="connsiteY31" fmla="*/ 1108472 h 2429113"/>
                    <a:gd name="connsiteX32" fmla="*/ 47799 w 1990979"/>
                    <a:gd name="connsiteY32" fmla="*/ 1076722 h 2429113"/>
                    <a:gd name="connsiteX33" fmla="*/ 35099 w 1990979"/>
                    <a:gd name="connsiteY33" fmla="*/ 930672 h 2429113"/>
                    <a:gd name="connsiteX34" fmla="*/ 16049 w 1990979"/>
                    <a:gd name="connsiteY34" fmla="*/ 365522 h 2429113"/>
                    <a:gd name="connsiteX35" fmla="*/ 60499 w 1990979"/>
                    <a:gd name="connsiteY35" fmla="*/ 9922 h 2429113"/>
                    <a:gd name="connsiteX0" fmla="*/ 60499 w 1990979"/>
                    <a:gd name="connsiteY0" fmla="*/ 9922 h 2429113"/>
                    <a:gd name="connsiteX1" fmla="*/ 1393999 w 1990979"/>
                    <a:gd name="connsiteY1" fmla="*/ 9922 h 2429113"/>
                    <a:gd name="connsiteX2" fmla="*/ 1470199 w 1990979"/>
                    <a:gd name="connsiteY2" fmla="*/ 35322 h 2429113"/>
                    <a:gd name="connsiteX3" fmla="*/ 1495599 w 1990979"/>
                    <a:gd name="connsiteY3" fmla="*/ 67072 h 2429113"/>
                    <a:gd name="connsiteX4" fmla="*/ 1501949 w 1990979"/>
                    <a:gd name="connsiteY4" fmla="*/ 86122 h 2429113"/>
                    <a:gd name="connsiteX5" fmla="*/ 1520999 w 1990979"/>
                    <a:gd name="connsiteY5" fmla="*/ 105172 h 2429113"/>
                    <a:gd name="connsiteX6" fmla="*/ 1533699 w 1990979"/>
                    <a:gd name="connsiteY6" fmla="*/ 124222 h 2429113"/>
                    <a:gd name="connsiteX7" fmla="*/ 1552749 w 1990979"/>
                    <a:gd name="connsiteY7" fmla="*/ 149622 h 2429113"/>
                    <a:gd name="connsiteX8" fmla="*/ 1565449 w 1990979"/>
                    <a:gd name="connsiteY8" fmla="*/ 168672 h 2429113"/>
                    <a:gd name="connsiteX9" fmla="*/ 1597199 w 1990979"/>
                    <a:gd name="connsiteY9" fmla="*/ 200422 h 2429113"/>
                    <a:gd name="connsiteX10" fmla="*/ 1616249 w 1990979"/>
                    <a:gd name="connsiteY10" fmla="*/ 225822 h 2429113"/>
                    <a:gd name="connsiteX11" fmla="*/ 1641649 w 1990979"/>
                    <a:gd name="connsiteY11" fmla="*/ 251222 h 2429113"/>
                    <a:gd name="connsiteX12" fmla="*/ 1654349 w 1990979"/>
                    <a:gd name="connsiteY12" fmla="*/ 276622 h 2429113"/>
                    <a:gd name="connsiteX13" fmla="*/ 1692449 w 1990979"/>
                    <a:gd name="connsiteY13" fmla="*/ 321072 h 2429113"/>
                    <a:gd name="connsiteX14" fmla="*/ 1768649 w 1990979"/>
                    <a:gd name="connsiteY14" fmla="*/ 378222 h 2429113"/>
                    <a:gd name="connsiteX15" fmla="*/ 1787699 w 1990979"/>
                    <a:gd name="connsiteY15" fmla="*/ 397272 h 2429113"/>
                    <a:gd name="connsiteX16" fmla="*/ 1857549 w 1990979"/>
                    <a:gd name="connsiteY16" fmla="*/ 441722 h 2429113"/>
                    <a:gd name="connsiteX17" fmla="*/ 1882949 w 1990979"/>
                    <a:gd name="connsiteY17" fmla="*/ 467122 h 2429113"/>
                    <a:gd name="connsiteX18" fmla="*/ 1914699 w 1990979"/>
                    <a:gd name="connsiteY18" fmla="*/ 479822 h 2429113"/>
                    <a:gd name="connsiteX19" fmla="*/ 1946449 w 1990979"/>
                    <a:gd name="connsiteY19" fmla="*/ 505222 h 2429113"/>
                    <a:gd name="connsiteX20" fmla="*/ 1946449 w 1990979"/>
                    <a:gd name="connsiteY20" fmla="*/ 1972072 h 2429113"/>
                    <a:gd name="connsiteX21" fmla="*/ 1940099 w 1990979"/>
                    <a:gd name="connsiteY21" fmla="*/ 2378472 h 2429113"/>
                    <a:gd name="connsiteX22" fmla="*/ 1362249 w 1990979"/>
                    <a:gd name="connsiteY22" fmla="*/ 2384822 h 2429113"/>
                    <a:gd name="connsiteX23" fmla="*/ 701849 w 1990979"/>
                    <a:gd name="connsiteY23" fmla="*/ 2391172 h 2429113"/>
                    <a:gd name="connsiteX24" fmla="*/ 73199 w 1990979"/>
                    <a:gd name="connsiteY24" fmla="*/ 2391172 h 2429113"/>
                    <a:gd name="connsiteX25" fmla="*/ 66849 w 1990979"/>
                    <a:gd name="connsiteY25" fmla="*/ 2346722 h 2429113"/>
                    <a:gd name="connsiteX26" fmla="*/ 60499 w 1990979"/>
                    <a:gd name="connsiteY26" fmla="*/ 2327672 h 2429113"/>
                    <a:gd name="connsiteX27" fmla="*/ 66849 w 1990979"/>
                    <a:gd name="connsiteY27" fmla="*/ 2238772 h 2429113"/>
                    <a:gd name="connsiteX28" fmla="*/ 79549 w 1990979"/>
                    <a:gd name="connsiteY28" fmla="*/ 2137172 h 2429113"/>
                    <a:gd name="connsiteX29" fmla="*/ 73199 w 1990979"/>
                    <a:gd name="connsiteY29" fmla="*/ 1933972 h 2429113"/>
                    <a:gd name="connsiteX30" fmla="*/ 60499 w 1990979"/>
                    <a:gd name="connsiteY30" fmla="*/ 1178322 h 2429113"/>
                    <a:gd name="connsiteX31" fmla="*/ 54149 w 1990979"/>
                    <a:gd name="connsiteY31" fmla="*/ 1108472 h 2429113"/>
                    <a:gd name="connsiteX32" fmla="*/ 47799 w 1990979"/>
                    <a:gd name="connsiteY32" fmla="*/ 1076722 h 2429113"/>
                    <a:gd name="connsiteX33" fmla="*/ 16049 w 1990979"/>
                    <a:gd name="connsiteY33" fmla="*/ 365522 h 2429113"/>
                    <a:gd name="connsiteX34" fmla="*/ 60499 w 1990979"/>
                    <a:gd name="connsiteY34" fmla="*/ 9922 h 24291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1990979" h="2429113">
                      <a:moveTo>
                        <a:pt x="60499" y="9922"/>
                      </a:moveTo>
                      <a:cubicBezTo>
                        <a:pt x="283807" y="20505"/>
                        <a:pt x="1159049" y="5689"/>
                        <a:pt x="1393999" y="9922"/>
                      </a:cubicBezTo>
                      <a:cubicBezTo>
                        <a:pt x="1628949" y="14155"/>
                        <a:pt x="1444901" y="22673"/>
                        <a:pt x="1470199" y="35322"/>
                      </a:cubicBezTo>
                      <a:cubicBezTo>
                        <a:pt x="1478666" y="45905"/>
                        <a:pt x="1488416" y="55579"/>
                        <a:pt x="1495599" y="67072"/>
                      </a:cubicBezTo>
                      <a:cubicBezTo>
                        <a:pt x="1499147" y="72748"/>
                        <a:pt x="1498236" y="80553"/>
                        <a:pt x="1501949" y="86122"/>
                      </a:cubicBezTo>
                      <a:cubicBezTo>
                        <a:pt x="1506930" y="93594"/>
                        <a:pt x="1515250" y="98273"/>
                        <a:pt x="1520999" y="105172"/>
                      </a:cubicBezTo>
                      <a:cubicBezTo>
                        <a:pt x="1525885" y="111035"/>
                        <a:pt x="1529263" y="118012"/>
                        <a:pt x="1533699" y="124222"/>
                      </a:cubicBezTo>
                      <a:cubicBezTo>
                        <a:pt x="1539850" y="132834"/>
                        <a:pt x="1546598" y="141010"/>
                        <a:pt x="1552749" y="149622"/>
                      </a:cubicBezTo>
                      <a:cubicBezTo>
                        <a:pt x="1557185" y="155832"/>
                        <a:pt x="1560423" y="162929"/>
                        <a:pt x="1565449" y="168672"/>
                      </a:cubicBezTo>
                      <a:cubicBezTo>
                        <a:pt x="1575305" y="179936"/>
                        <a:pt x="1587255" y="189235"/>
                        <a:pt x="1597199" y="200422"/>
                      </a:cubicBezTo>
                      <a:cubicBezTo>
                        <a:pt x="1604230" y="208332"/>
                        <a:pt x="1609280" y="217857"/>
                        <a:pt x="1616249" y="225822"/>
                      </a:cubicBezTo>
                      <a:cubicBezTo>
                        <a:pt x="1624134" y="234833"/>
                        <a:pt x="1634465" y="241643"/>
                        <a:pt x="1641649" y="251222"/>
                      </a:cubicBezTo>
                      <a:cubicBezTo>
                        <a:pt x="1647329" y="258795"/>
                        <a:pt x="1649332" y="268595"/>
                        <a:pt x="1654349" y="276622"/>
                      </a:cubicBezTo>
                      <a:cubicBezTo>
                        <a:pt x="1664737" y="293243"/>
                        <a:pt x="1677837" y="308084"/>
                        <a:pt x="1692449" y="321072"/>
                      </a:cubicBezTo>
                      <a:cubicBezTo>
                        <a:pt x="1773526" y="393140"/>
                        <a:pt x="1687940" y="315449"/>
                        <a:pt x="1768649" y="378222"/>
                      </a:cubicBezTo>
                      <a:cubicBezTo>
                        <a:pt x="1775738" y="383735"/>
                        <a:pt x="1780515" y="391884"/>
                        <a:pt x="1787699" y="397272"/>
                      </a:cubicBezTo>
                      <a:cubicBezTo>
                        <a:pt x="1862754" y="453563"/>
                        <a:pt x="1771811" y="373131"/>
                        <a:pt x="1857549" y="441722"/>
                      </a:cubicBezTo>
                      <a:cubicBezTo>
                        <a:pt x="1866899" y="449202"/>
                        <a:pt x="1872986" y="460480"/>
                        <a:pt x="1882949" y="467122"/>
                      </a:cubicBezTo>
                      <a:cubicBezTo>
                        <a:pt x="1892433" y="473445"/>
                        <a:pt x="1904925" y="473957"/>
                        <a:pt x="1914699" y="479822"/>
                      </a:cubicBezTo>
                      <a:cubicBezTo>
                        <a:pt x="1926321" y="486795"/>
                        <a:pt x="1935866" y="496755"/>
                        <a:pt x="1946449" y="505222"/>
                      </a:cubicBezTo>
                      <a:cubicBezTo>
                        <a:pt x="1929588" y="2444199"/>
                        <a:pt x="1946449" y="20487"/>
                        <a:pt x="1946449" y="1972072"/>
                      </a:cubicBezTo>
                      <a:cubicBezTo>
                        <a:pt x="1946449" y="2107555"/>
                        <a:pt x="2050751" y="2300294"/>
                        <a:pt x="1940099" y="2378472"/>
                      </a:cubicBezTo>
                      <a:cubicBezTo>
                        <a:pt x="1782775" y="2489625"/>
                        <a:pt x="1554867" y="2382846"/>
                        <a:pt x="1362249" y="2384822"/>
                      </a:cubicBezTo>
                      <a:lnTo>
                        <a:pt x="701849" y="2391172"/>
                      </a:lnTo>
                      <a:cubicBezTo>
                        <a:pt x="467186" y="2411577"/>
                        <a:pt x="368522" y="2425690"/>
                        <a:pt x="73199" y="2391172"/>
                      </a:cubicBezTo>
                      <a:cubicBezTo>
                        <a:pt x="58333" y="2389434"/>
                        <a:pt x="69784" y="2361398"/>
                        <a:pt x="66849" y="2346722"/>
                      </a:cubicBezTo>
                      <a:cubicBezTo>
                        <a:pt x="65536" y="2340158"/>
                        <a:pt x="62616" y="2334022"/>
                        <a:pt x="60499" y="2327672"/>
                      </a:cubicBezTo>
                      <a:cubicBezTo>
                        <a:pt x="62616" y="2298039"/>
                        <a:pt x="64275" y="2268369"/>
                        <a:pt x="66849" y="2238772"/>
                      </a:cubicBezTo>
                      <a:cubicBezTo>
                        <a:pt x="70406" y="2197869"/>
                        <a:pt x="73960" y="2176294"/>
                        <a:pt x="79549" y="2137172"/>
                      </a:cubicBezTo>
                      <a:cubicBezTo>
                        <a:pt x="77432" y="2069439"/>
                        <a:pt x="74121" y="2001732"/>
                        <a:pt x="73199" y="1933972"/>
                      </a:cubicBezTo>
                      <a:cubicBezTo>
                        <a:pt x="62936" y="1179647"/>
                        <a:pt x="126026" y="1440430"/>
                        <a:pt x="60499" y="1178322"/>
                      </a:cubicBezTo>
                      <a:cubicBezTo>
                        <a:pt x="58382" y="1155039"/>
                        <a:pt x="57049" y="1131671"/>
                        <a:pt x="54149" y="1108472"/>
                      </a:cubicBezTo>
                      <a:cubicBezTo>
                        <a:pt x="52810" y="1097762"/>
                        <a:pt x="54149" y="1200547"/>
                        <a:pt x="47799" y="1076722"/>
                      </a:cubicBezTo>
                      <a:cubicBezTo>
                        <a:pt x="41449" y="952897"/>
                        <a:pt x="13932" y="543322"/>
                        <a:pt x="16049" y="365522"/>
                      </a:cubicBezTo>
                      <a:cubicBezTo>
                        <a:pt x="24872" y="-110907"/>
                        <a:pt x="-48509" y="18389"/>
                        <a:pt x="60499" y="9922"/>
                      </a:cubicBezTo>
                      <a:close/>
                    </a:path>
                  </a:pathLst>
                </a:custGeom>
                <a:solidFill>
                  <a:srgbClr val="F2F6F6"/>
                </a:solidFill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3" name="Freeform: Shape 162">
                  <a:extLst>
                    <a:ext uri="{FF2B5EF4-FFF2-40B4-BE49-F238E27FC236}">
                      <a16:creationId xmlns:a16="http://schemas.microsoft.com/office/drawing/2014/main" id="{70DA2F41-0218-22EA-835F-757F1768421E}"/>
                    </a:ext>
                  </a:extLst>
                </p:cNvPr>
                <p:cNvSpPr/>
                <p:nvPr/>
              </p:nvSpPr>
              <p:spPr>
                <a:xfrm>
                  <a:off x="5642810" y="3019250"/>
                  <a:ext cx="747294" cy="169725"/>
                </a:xfrm>
                <a:custGeom>
                  <a:avLst/>
                  <a:gdLst>
                    <a:gd name="connsiteX0" fmla="*/ 27740 w 747294"/>
                    <a:gd name="connsiteY0" fmla="*/ 3350 h 169725"/>
                    <a:gd name="connsiteX1" fmla="*/ 40440 w 747294"/>
                    <a:gd name="connsiteY1" fmla="*/ 155750 h 169725"/>
                    <a:gd name="connsiteX2" fmla="*/ 199190 w 747294"/>
                    <a:gd name="connsiteY2" fmla="*/ 149400 h 169725"/>
                    <a:gd name="connsiteX3" fmla="*/ 669090 w 747294"/>
                    <a:gd name="connsiteY3" fmla="*/ 143050 h 169725"/>
                    <a:gd name="connsiteX4" fmla="*/ 726240 w 747294"/>
                    <a:gd name="connsiteY4" fmla="*/ 130350 h 169725"/>
                    <a:gd name="connsiteX5" fmla="*/ 700840 w 747294"/>
                    <a:gd name="connsiteY5" fmla="*/ 22400 h 169725"/>
                    <a:gd name="connsiteX6" fmla="*/ 542090 w 747294"/>
                    <a:gd name="connsiteY6" fmla="*/ 28750 h 169725"/>
                    <a:gd name="connsiteX7" fmla="*/ 332540 w 747294"/>
                    <a:gd name="connsiteY7" fmla="*/ 47800 h 169725"/>
                    <a:gd name="connsiteX8" fmla="*/ 27740 w 747294"/>
                    <a:gd name="connsiteY8" fmla="*/ 3350 h 1697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47294" h="169725">
                      <a:moveTo>
                        <a:pt x="27740" y="3350"/>
                      </a:moveTo>
                      <a:cubicBezTo>
                        <a:pt x="-20943" y="21342"/>
                        <a:pt x="1635" y="122694"/>
                        <a:pt x="40440" y="155750"/>
                      </a:cubicBezTo>
                      <a:cubicBezTo>
                        <a:pt x="80755" y="190092"/>
                        <a:pt x="146242" y="150470"/>
                        <a:pt x="199190" y="149400"/>
                      </a:cubicBezTo>
                      <a:lnTo>
                        <a:pt x="669090" y="143050"/>
                      </a:lnTo>
                      <a:cubicBezTo>
                        <a:pt x="688140" y="138817"/>
                        <a:pt x="718314" y="148183"/>
                        <a:pt x="726240" y="130350"/>
                      </a:cubicBezTo>
                      <a:cubicBezTo>
                        <a:pt x="767282" y="38006"/>
                        <a:pt x="742651" y="36337"/>
                        <a:pt x="700840" y="22400"/>
                      </a:cubicBezTo>
                      <a:cubicBezTo>
                        <a:pt x="647923" y="24517"/>
                        <a:pt x="594946" y="25447"/>
                        <a:pt x="542090" y="28750"/>
                      </a:cubicBezTo>
                      <a:cubicBezTo>
                        <a:pt x="483919" y="32386"/>
                        <a:pt x="397185" y="41336"/>
                        <a:pt x="332540" y="47800"/>
                      </a:cubicBezTo>
                      <a:cubicBezTo>
                        <a:pt x="230942" y="45591"/>
                        <a:pt x="76423" y="-14642"/>
                        <a:pt x="27740" y="3350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 w="5406" cap="rnd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4" name="Freeform: Shape 163">
                  <a:extLst>
                    <a:ext uri="{FF2B5EF4-FFF2-40B4-BE49-F238E27FC236}">
                      <a16:creationId xmlns:a16="http://schemas.microsoft.com/office/drawing/2014/main" id="{5E346EB0-9112-87D0-4A98-61F37B719003}"/>
                    </a:ext>
                  </a:extLst>
                </p:cNvPr>
                <p:cNvSpPr/>
                <p:nvPr/>
              </p:nvSpPr>
              <p:spPr>
                <a:xfrm>
                  <a:off x="5650976" y="3314535"/>
                  <a:ext cx="738129" cy="127165"/>
                </a:xfrm>
                <a:custGeom>
                  <a:avLst/>
                  <a:gdLst>
                    <a:gd name="connsiteX0" fmla="*/ 55264 w 786519"/>
                    <a:gd name="connsiteY0" fmla="*/ 11245 h 131895"/>
                    <a:gd name="connsiteX1" fmla="*/ 766464 w 786519"/>
                    <a:gd name="connsiteY1" fmla="*/ 23945 h 131895"/>
                    <a:gd name="connsiteX2" fmla="*/ 779164 w 786519"/>
                    <a:gd name="connsiteY2" fmla="*/ 112845 h 131895"/>
                    <a:gd name="connsiteX3" fmla="*/ 741064 w 786519"/>
                    <a:gd name="connsiteY3" fmla="*/ 131895 h 131895"/>
                    <a:gd name="connsiteX4" fmla="*/ 55264 w 786519"/>
                    <a:gd name="connsiteY4" fmla="*/ 125545 h 131895"/>
                    <a:gd name="connsiteX5" fmla="*/ 48914 w 786519"/>
                    <a:gd name="connsiteY5" fmla="*/ 106495 h 131895"/>
                    <a:gd name="connsiteX6" fmla="*/ 55264 w 786519"/>
                    <a:gd name="connsiteY6" fmla="*/ 11245 h 131895"/>
                    <a:gd name="connsiteX0" fmla="*/ 6874 w 738129"/>
                    <a:gd name="connsiteY0" fmla="*/ 33041 h 153691"/>
                    <a:gd name="connsiteX1" fmla="*/ 718074 w 738129"/>
                    <a:gd name="connsiteY1" fmla="*/ 45741 h 153691"/>
                    <a:gd name="connsiteX2" fmla="*/ 730774 w 738129"/>
                    <a:gd name="connsiteY2" fmla="*/ 134641 h 153691"/>
                    <a:gd name="connsiteX3" fmla="*/ 692674 w 738129"/>
                    <a:gd name="connsiteY3" fmla="*/ 153691 h 153691"/>
                    <a:gd name="connsiteX4" fmla="*/ 6874 w 738129"/>
                    <a:gd name="connsiteY4" fmla="*/ 147341 h 153691"/>
                    <a:gd name="connsiteX5" fmla="*/ 524 w 738129"/>
                    <a:gd name="connsiteY5" fmla="*/ 128291 h 153691"/>
                    <a:gd name="connsiteX6" fmla="*/ 6874 w 738129"/>
                    <a:gd name="connsiteY6" fmla="*/ 33041 h 153691"/>
                    <a:gd name="connsiteX0" fmla="*/ 6874 w 738129"/>
                    <a:gd name="connsiteY0" fmla="*/ 6515 h 127165"/>
                    <a:gd name="connsiteX1" fmla="*/ 718074 w 738129"/>
                    <a:gd name="connsiteY1" fmla="*/ 19215 h 127165"/>
                    <a:gd name="connsiteX2" fmla="*/ 730774 w 738129"/>
                    <a:gd name="connsiteY2" fmla="*/ 108115 h 127165"/>
                    <a:gd name="connsiteX3" fmla="*/ 692674 w 738129"/>
                    <a:gd name="connsiteY3" fmla="*/ 127165 h 127165"/>
                    <a:gd name="connsiteX4" fmla="*/ 6874 w 738129"/>
                    <a:gd name="connsiteY4" fmla="*/ 120815 h 127165"/>
                    <a:gd name="connsiteX5" fmla="*/ 524 w 738129"/>
                    <a:gd name="connsiteY5" fmla="*/ 101765 h 127165"/>
                    <a:gd name="connsiteX6" fmla="*/ 6874 w 738129"/>
                    <a:gd name="connsiteY6" fmla="*/ 6515 h 127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38129" h="127165">
                      <a:moveTo>
                        <a:pt x="6874" y="6515"/>
                      </a:moveTo>
                      <a:cubicBezTo>
                        <a:pt x="12166" y="5457"/>
                        <a:pt x="483271" y="-13740"/>
                        <a:pt x="718074" y="19215"/>
                      </a:cubicBezTo>
                      <a:cubicBezTo>
                        <a:pt x="747718" y="23376"/>
                        <a:pt x="737630" y="78977"/>
                        <a:pt x="730774" y="108115"/>
                      </a:cubicBezTo>
                      <a:cubicBezTo>
                        <a:pt x="727522" y="121937"/>
                        <a:pt x="705374" y="120815"/>
                        <a:pt x="692674" y="127165"/>
                      </a:cubicBezTo>
                      <a:lnTo>
                        <a:pt x="6874" y="120815"/>
                      </a:lnTo>
                      <a:cubicBezTo>
                        <a:pt x="185" y="120570"/>
                        <a:pt x="895" y="108448"/>
                        <a:pt x="524" y="101765"/>
                      </a:cubicBezTo>
                      <a:cubicBezTo>
                        <a:pt x="-1237" y="70064"/>
                        <a:pt x="1582" y="7573"/>
                        <a:pt x="6874" y="6515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  <p:sp>
              <p:nvSpPr>
                <p:cNvPr id="165" name="Freeform: Shape 164">
                  <a:extLst>
                    <a:ext uri="{FF2B5EF4-FFF2-40B4-BE49-F238E27FC236}">
                      <a16:creationId xmlns:a16="http://schemas.microsoft.com/office/drawing/2014/main" id="{A82BCA10-BE1E-BE43-36E7-86834F799B11}"/>
                    </a:ext>
                  </a:extLst>
                </p:cNvPr>
                <p:cNvSpPr/>
                <p:nvPr/>
              </p:nvSpPr>
              <p:spPr>
                <a:xfrm>
                  <a:off x="5670550" y="3594100"/>
                  <a:ext cx="1464321" cy="136453"/>
                </a:xfrm>
                <a:custGeom>
                  <a:avLst/>
                  <a:gdLst>
                    <a:gd name="connsiteX0" fmla="*/ 0 w 1448126"/>
                    <a:gd name="connsiteY0" fmla="*/ 6350 h 186423"/>
                    <a:gd name="connsiteX1" fmla="*/ 6350 w 1448126"/>
                    <a:gd name="connsiteY1" fmla="*/ 38100 h 186423"/>
                    <a:gd name="connsiteX2" fmla="*/ 558800 w 1448126"/>
                    <a:gd name="connsiteY2" fmla="*/ 120650 h 186423"/>
                    <a:gd name="connsiteX3" fmla="*/ 723900 w 1448126"/>
                    <a:gd name="connsiteY3" fmla="*/ 107950 h 186423"/>
                    <a:gd name="connsiteX4" fmla="*/ 768350 w 1448126"/>
                    <a:gd name="connsiteY4" fmla="*/ 101600 h 186423"/>
                    <a:gd name="connsiteX5" fmla="*/ 1079500 w 1448126"/>
                    <a:gd name="connsiteY5" fmla="*/ 107950 h 186423"/>
                    <a:gd name="connsiteX6" fmla="*/ 1111250 w 1448126"/>
                    <a:gd name="connsiteY6" fmla="*/ 114300 h 186423"/>
                    <a:gd name="connsiteX7" fmla="*/ 1168400 w 1448126"/>
                    <a:gd name="connsiteY7" fmla="*/ 120650 h 186423"/>
                    <a:gd name="connsiteX8" fmla="*/ 1352550 w 1448126"/>
                    <a:gd name="connsiteY8" fmla="*/ 127000 h 186423"/>
                    <a:gd name="connsiteX9" fmla="*/ 1441450 w 1448126"/>
                    <a:gd name="connsiteY9" fmla="*/ 120650 h 186423"/>
                    <a:gd name="connsiteX10" fmla="*/ 1447800 w 1448126"/>
                    <a:gd name="connsiteY10" fmla="*/ 101600 h 186423"/>
                    <a:gd name="connsiteX11" fmla="*/ 1435100 w 1448126"/>
                    <a:gd name="connsiteY11" fmla="*/ 76200 h 186423"/>
                    <a:gd name="connsiteX12" fmla="*/ 1428750 w 1448126"/>
                    <a:gd name="connsiteY12" fmla="*/ 57150 h 186423"/>
                    <a:gd name="connsiteX13" fmla="*/ 1422400 w 1448126"/>
                    <a:gd name="connsiteY13" fmla="*/ 12700 h 186423"/>
                    <a:gd name="connsiteX14" fmla="*/ 1238250 w 1448126"/>
                    <a:gd name="connsiteY14" fmla="*/ 6350 h 186423"/>
                    <a:gd name="connsiteX15" fmla="*/ 1212850 w 1448126"/>
                    <a:gd name="connsiteY15" fmla="*/ 0 h 186423"/>
                    <a:gd name="connsiteX16" fmla="*/ 965200 w 1448126"/>
                    <a:gd name="connsiteY16" fmla="*/ 6350 h 186423"/>
                    <a:gd name="connsiteX17" fmla="*/ 908050 w 1448126"/>
                    <a:gd name="connsiteY17" fmla="*/ 12700 h 186423"/>
                    <a:gd name="connsiteX18" fmla="*/ 0 w 1448126"/>
                    <a:gd name="connsiteY18" fmla="*/ 6350 h 186423"/>
                    <a:gd name="connsiteX0" fmla="*/ 0 w 1448126"/>
                    <a:gd name="connsiteY0" fmla="*/ 6350 h 136453"/>
                    <a:gd name="connsiteX1" fmla="*/ 6350 w 1448126"/>
                    <a:gd name="connsiteY1" fmla="*/ 38100 h 136453"/>
                    <a:gd name="connsiteX2" fmla="*/ 558800 w 1448126"/>
                    <a:gd name="connsiteY2" fmla="*/ 120650 h 136453"/>
                    <a:gd name="connsiteX3" fmla="*/ 723900 w 1448126"/>
                    <a:gd name="connsiteY3" fmla="*/ 107950 h 136453"/>
                    <a:gd name="connsiteX4" fmla="*/ 768350 w 1448126"/>
                    <a:gd name="connsiteY4" fmla="*/ 101600 h 136453"/>
                    <a:gd name="connsiteX5" fmla="*/ 1079500 w 1448126"/>
                    <a:gd name="connsiteY5" fmla="*/ 107950 h 136453"/>
                    <a:gd name="connsiteX6" fmla="*/ 1111250 w 1448126"/>
                    <a:gd name="connsiteY6" fmla="*/ 114300 h 136453"/>
                    <a:gd name="connsiteX7" fmla="*/ 1168400 w 1448126"/>
                    <a:gd name="connsiteY7" fmla="*/ 120650 h 136453"/>
                    <a:gd name="connsiteX8" fmla="*/ 1352550 w 1448126"/>
                    <a:gd name="connsiteY8" fmla="*/ 127000 h 136453"/>
                    <a:gd name="connsiteX9" fmla="*/ 1441450 w 1448126"/>
                    <a:gd name="connsiteY9" fmla="*/ 120650 h 136453"/>
                    <a:gd name="connsiteX10" fmla="*/ 1447800 w 1448126"/>
                    <a:gd name="connsiteY10" fmla="*/ 101600 h 136453"/>
                    <a:gd name="connsiteX11" fmla="*/ 1435100 w 1448126"/>
                    <a:gd name="connsiteY11" fmla="*/ 76200 h 136453"/>
                    <a:gd name="connsiteX12" fmla="*/ 1428750 w 1448126"/>
                    <a:gd name="connsiteY12" fmla="*/ 57150 h 136453"/>
                    <a:gd name="connsiteX13" fmla="*/ 1422400 w 1448126"/>
                    <a:gd name="connsiteY13" fmla="*/ 12700 h 136453"/>
                    <a:gd name="connsiteX14" fmla="*/ 1238250 w 1448126"/>
                    <a:gd name="connsiteY14" fmla="*/ 6350 h 136453"/>
                    <a:gd name="connsiteX15" fmla="*/ 1212850 w 1448126"/>
                    <a:gd name="connsiteY15" fmla="*/ 0 h 136453"/>
                    <a:gd name="connsiteX16" fmla="*/ 965200 w 1448126"/>
                    <a:gd name="connsiteY16" fmla="*/ 6350 h 136453"/>
                    <a:gd name="connsiteX17" fmla="*/ 908050 w 1448126"/>
                    <a:gd name="connsiteY17" fmla="*/ 12700 h 136453"/>
                    <a:gd name="connsiteX18" fmla="*/ 0 w 1448126"/>
                    <a:gd name="connsiteY18" fmla="*/ 6350 h 136453"/>
                    <a:gd name="connsiteX0" fmla="*/ 0 w 1446588"/>
                    <a:gd name="connsiteY0" fmla="*/ 6350 h 136453"/>
                    <a:gd name="connsiteX1" fmla="*/ 6350 w 1446588"/>
                    <a:gd name="connsiteY1" fmla="*/ 38100 h 136453"/>
                    <a:gd name="connsiteX2" fmla="*/ 558800 w 1446588"/>
                    <a:gd name="connsiteY2" fmla="*/ 120650 h 136453"/>
                    <a:gd name="connsiteX3" fmla="*/ 723900 w 1446588"/>
                    <a:gd name="connsiteY3" fmla="*/ 107950 h 136453"/>
                    <a:gd name="connsiteX4" fmla="*/ 768350 w 1446588"/>
                    <a:gd name="connsiteY4" fmla="*/ 101600 h 136453"/>
                    <a:gd name="connsiteX5" fmla="*/ 1079500 w 1446588"/>
                    <a:gd name="connsiteY5" fmla="*/ 107950 h 136453"/>
                    <a:gd name="connsiteX6" fmla="*/ 1111250 w 1446588"/>
                    <a:gd name="connsiteY6" fmla="*/ 114300 h 136453"/>
                    <a:gd name="connsiteX7" fmla="*/ 1168400 w 1446588"/>
                    <a:gd name="connsiteY7" fmla="*/ 120650 h 136453"/>
                    <a:gd name="connsiteX8" fmla="*/ 1352550 w 1446588"/>
                    <a:gd name="connsiteY8" fmla="*/ 127000 h 136453"/>
                    <a:gd name="connsiteX9" fmla="*/ 1441450 w 1446588"/>
                    <a:gd name="connsiteY9" fmla="*/ 120650 h 136453"/>
                    <a:gd name="connsiteX10" fmla="*/ 1435100 w 1446588"/>
                    <a:gd name="connsiteY10" fmla="*/ 76200 h 136453"/>
                    <a:gd name="connsiteX11" fmla="*/ 1428750 w 1446588"/>
                    <a:gd name="connsiteY11" fmla="*/ 57150 h 136453"/>
                    <a:gd name="connsiteX12" fmla="*/ 1422400 w 1446588"/>
                    <a:gd name="connsiteY12" fmla="*/ 12700 h 136453"/>
                    <a:gd name="connsiteX13" fmla="*/ 1238250 w 1446588"/>
                    <a:gd name="connsiteY13" fmla="*/ 6350 h 136453"/>
                    <a:gd name="connsiteX14" fmla="*/ 1212850 w 1446588"/>
                    <a:gd name="connsiteY14" fmla="*/ 0 h 136453"/>
                    <a:gd name="connsiteX15" fmla="*/ 965200 w 1446588"/>
                    <a:gd name="connsiteY15" fmla="*/ 6350 h 136453"/>
                    <a:gd name="connsiteX16" fmla="*/ 908050 w 1446588"/>
                    <a:gd name="connsiteY16" fmla="*/ 12700 h 136453"/>
                    <a:gd name="connsiteX17" fmla="*/ 0 w 1446588"/>
                    <a:gd name="connsiteY17" fmla="*/ 6350 h 136453"/>
                    <a:gd name="connsiteX0" fmla="*/ 0 w 1460100"/>
                    <a:gd name="connsiteY0" fmla="*/ 6350 h 136453"/>
                    <a:gd name="connsiteX1" fmla="*/ 6350 w 1460100"/>
                    <a:gd name="connsiteY1" fmla="*/ 38100 h 136453"/>
                    <a:gd name="connsiteX2" fmla="*/ 558800 w 1460100"/>
                    <a:gd name="connsiteY2" fmla="*/ 120650 h 136453"/>
                    <a:gd name="connsiteX3" fmla="*/ 723900 w 1460100"/>
                    <a:gd name="connsiteY3" fmla="*/ 107950 h 136453"/>
                    <a:gd name="connsiteX4" fmla="*/ 768350 w 1460100"/>
                    <a:gd name="connsiteY4" fmla="*/ 101600 h 136453"/>
                    <a:gd name="connsiteX5" fmla="*/ 1079500 w 1460100"/>
                    <a:gd name="connsiteY5" fmla="*/ 107950 h 136453"/>
                    <a:gd name="connsiteX6" fmla="*/ 1111250 w 1460100"/>
                    <a:gd name="connsiteY6" fmla="*/ 114300 h 136453"/>
                    <a:gd name="connsiteX7" fmla="*/ 1168400 w 1460100"/>
                    <a:gd name="connsiteY7" fmla="*/ 120650 h 136453"/>
                    <a:gd name="connsiteX8" fmla="*/ 1441450 w 1460100"/>
                    <a:gd name="connsiteY8" fmla="*/ 120650 h 136453"/>
                    <a:gd name="connsiteX9" fmla="*/ 1435100 w 1460100"/>
                    <a:gd name="connsiteY9" fmla="*/ 76200 h 136453"/>
                    <a:gd name="connsiteX10" fmla="*/ 1428750 w 1460100"/>
                    <a:gd name="connsiteY10" fmla="*/ 57150 h 136453"/>
                    <a:gd name="connsiteX11" fmla="*/ 1422400 w 1460100"/>
                    <a:gd name="connsiteY11" fmla="*/ 12700 h 136453"/>
                    <a:gd name="connsiteX12" fmla="*/ 1238250 w 1460100"/>
                    <a:gd name="connsiteY12" fmla="*/ 6350 h 136453"/>
                    <a:gd name="connsiteX13" fmla="*/ 1212850 w 1460100"/>
                    <a:gd name="connsiteY13" fmla="*/ 0 h 136453"/>
                    <a:gd name="connsiteX14" fmla="*/ 965200 w 1460100"/>
                    <a:gd name="connsiteY14" fmla="*/ 6350 h 136453"/>
                    <a:gd name="connsiteX15" fmla="*/ 908050 w 1460100"/>
                    <a:gd name="connsiteY15" fmla="*/ 12700 h 136453"/>
                    <a:gd name="connsiteX16" fmla="*/ 0 w 1460100"/>
                    <a:gd name="connsiteY16" fmla="*/ 6350 h 136453"/>
                    <a:gd name="connsiteX0" fmla="*/ 0 w 1464321"/>
                    <a:gd name="connsiteY0" fmla="*/ 6350 h 136453"/>
                    <a:gd name="connsiteX1" fmla="*/ 6350 w 1464321"/>
                    <a:gd name="connsiteY1" fmla="*/ 38100 h 136453"/>
                    <a:gd name="connsiteX2" fmla="*/ 558800 w 1464321"/>
                    <a:gd name="connsiteY2" fmla="*/ 120650 h 136453"/>
                    <a:gd name="connsiteX3" fmla="*/ 723900 w 1464321"/>
                    <a:gd name="connsiteY3" fmla="*/ 107950 h 136453"/>
                    <a:gd name="connsiteX4" fmla="*/ 768350 w 1464321"/>
                    <a:gd name="connsiteY4" fmla="*/ 101600 h 136453"/>
                    <a:gd name="connsiteX5" fmla="*/ 1079500 w 1464321"/>
                    <a:gd name="connsiteY5" fmla="*/ 107950 h 136453"/>
                    <a:gd name="connsiteX6" fmla="*/ 1111250 w 1464321"/>
                    <a:gd name="connsiteY6" fmla="*/ 114300 h 136453"/>
                    <a:gd name="connsiteX7" fmla="*/ 1441450 w 1464321"/>
                    <a:gd name="connsiteY7" fmla="*/ 120650 h 136453"/>
                    <a:gd name="connsiteX8" fmla="*/ 1435100 w 1464321"/>
                    <a:gd name="connsiteY8" fmla="*/ 76200 h 136453"/>
                    <a:gd name="connsiteX9" fmla="*/ 1428750 w 1464321"/>
                    <a:gd name="connsiteY9" fmla="*/ 57150 h 136453"/>
                    <a:gd name="connsiteX10" fmla="*/ 1422400 w 1464321"/>
                    <a:gd name="connsiteY10" fmla="*/ 12700 h 136453"/>
                    <a:gd name="connsiteX11" fmla="*/ 1238250 w 1464321"/>
                    <a:gd name="connsiteY11" fmla="*/ 6350 h 136453"/>
                    <a:gd name="connsiteX12" fmla="*/ 1212850 w 1464321"/>
                    <a:gd name="connsiteY12" fmla="*/ 0 h 136453"/>
                    <a:gd name="connsiteX13" fmla="*/ 965200 w 1464321"/>
                    <a:gd name="connsiteY13" fmla="*/ 6350 h 136453"/>
                    <a:gd name="connsiteX14" fmla="*/ 908050 w 1464321"/>
                    <a:gd name="connsiteY14" fmla="*/ 12700 h 136453"/>
                    <a:gd name="connsiteX15" fmla="*/ 0 w 1464321"/>
                    <a:gd name="connsiteY15" fmla="*/ 6350 h 136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464321" h="136453">
                      <a:moveTo>
                        <a:pt x="0" y="6350"/>
                      </a:moveTo>
                      <a:cubicBezTo>
                        <a:pt x="2117" y="16933"/>
                        <a:pt x="4248" y="27513"/>
                        <a:pt x="6350" y="38100"/>
                      </a:cubicBezTo>
                      <a:cubicBezTo>
                        <a:pt x="34811" y="181477"/>
                        <a:pt x="-73017" y="127997"/>
                        <a:pt x="558800" y="120650"/>
                      </a:cubicBezTo>
                      <a:cubicBezTo>
                        <a:pt x="614559" y="116933"/>
                        <a:pt x="668515" y="114104"/>
                        <a:pt x="723900" y="107950"/>
                      </a:cubicBezTo>
                      <a:cubicBezTo>
                        <a:pt x="738776" y="106297"/>
                        <a:pt x="753533" y="103717"/>
                        <a:pt x="768350" y="101600"/>
                      </a:cubicBezTo>
                      <a:lnTo>
                        <a:pt x="1079500" y="107950"/>
                      </a:lnTo>
                      <a:cubicBezTo>
                        <a:pt x="1090286" y="108349"/>
                        <a:pt x="1050925" y="112183"/>
                        <a:pt x="1111250" y="114300"/>
                      </a:cubicBezTo>
                      <a:cubicBezTo>
                        <a:pt x="1171575" y="116417"/>
                        <a:pt x="1387475" y="127000"/>
                        <a:pt x="1441450" y="120650"/>
                      </a:cubicBezTo>
                      <a:cubicBezTo>
                        <a:pt x="1495425" y="114300"/>
                        <a:pt x="1437217" y="86783"/>
                        <a:pt x="1435100" y="76200"/>
                      </a:cubicBezTo>
                      <a:cubicBezTo>
                        <a:pt x="1432983" y="65617"/>
                        <a:pt x="1430867" y="63500"/>
                        <a:pt x="1428750" y="57150"/>
                      </a:cubicBezTo>
                      <a:cubicBezTo>
                        <a:pt x="1426633" y="42333"/>
                        <a:pt x="1436862" y="16556"/>
                        <a:pt x="1422400" y="12700"/>
                      </a:cubicBezTo>
                      <a:cubicBezTo>
                        <a:pt x="1363054" y="-3126"/>
                        <a:pt x="1299557" y="10066"/>
                        <a:pt x="1238250" y="6350"/>
                      </a:cubicBezTo>
                      <a:cubicBezTo>
                        <a:pt x="1229539" y="5822"/>
                        <a:pt x="1221317" y="2117"/>
                        <a:pt x="1212850" y="0"/>
                      </a:cubicBezTo>
                      <a:lnTo>
                        <a:pt x="965200" y="6350"/>
                      </a:lnTo>
                      <a:cubicBezTo>
                        <a:pt x="946049" y="7148"/>
                        <a:pt x="927215" y="12432"/>
                        <a:pt x="908050" y="12700"/>
                      </a:cubicBezTo>
                      <a:lnTo>
                        <a:pt x="0" y="6350"/>
                      </a:ln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  <p:sp>
              <p:nvSpPr>
                <p:cNvPr id="166" name="Freeform: Shape 165">
                  <a:extLst>
                    <a:ext uri="{FF2B5EF4-FFF2-40B4-BE49-F238E27FC236}">
                      <a16:creationId xmlns:a16="http://schemas.microsoft.com/office/drawing/2014/main" id="{F6C64795-53B0-B230-32A3-C445154B211C}"/>
                    </a:ext>
                  </a:extLst>
                </p:cNvPr>
                <p:cNvSpPr/>
                <p:nvPr/>
              </p:nvSpPr>
              <p:spPr>
                <a:xfrm>
                  <a:off x="5675926" y="3866466"/>
                  <a:ext cx="1401123" cy="137356"/>
                </a:xfrm>
                <a:custGeom>
                  <a:avLst/>
                  <a:gdLst>
                    <a:gd name="connsiteX0" fmla="*/ 12734 w 1400184"/>
                    <a:gd name="connsiteY0" fmla="*/ 685 h 152083"/>
                    <a:gd name="connsiteX1" fmla="*/ 34 w 1400184"/>
                    <a:gd name="connsiteY1" fmla="*/ 38785 h 152083"/>
                    <a:gd name="connsiteX2" fmla="*/ 19084 w 1400184"/>
                    <a:gd name="connsiteY2" fmla="*/ 146735 h 152083"/>
                    <a:gd name="connsiteX3" fmla="*/ 69884 w 1400184"/>
                    <a:gd name="connsiteY3" fmla="*/ 140385 h 152083"/>
                    <a:gd name="connsiteX4" fmla="*/ 101634 w 1400184"/>
                    <a:gd name="connsiteY4" fmla="*/ 134035 h 152083"/>
                    <a:gd name="connsiteX5" fmla="*/ 177834 w 1400184"/>
                    <a:gd name="connsiteY5" fmla="*/ 114985 h 152083"/>
                    <a:gd name="connsiteX6" fmla="*/ 1339884 w 1400184"/>
                    <a:gd name="connsiteY6" fmla="*/ 108635 h 152083"/>
                    <a:gd name="connsiteX7" fmla="*/ 1397034 w 1400184"/>
                    <a:gd name="connsiteY7" fmla="*/ 102285 h 152083"/>
                    <a:gd name="connsiteX8" fmla="*/ 1384334 w 1400184"/>
                    <a:gd name="connsiteY8" fmla="*/ 51485 h 152083"/>
                    <a:gd name="connsiteX9" fmla="*/ 1377984 w 1400184"/>
                    <a:gd name="connsiteY9" fmla="*/ 13385 h 152083"/>
                    <a:gd name="connsiteX10" fmla="*/ 1352584 w 1400184"/>
                    <a:gd name="connsiteY10" fmla="*/ 7035 h 152083"/>
                    <a:gd name="connsiteX11" fmla="*/ 1314484 w 1400184"/>
                    <a:gd name="connsiteY11" fmla="*/ 685 h 152083"/>
                    <a:gd name="connsiteX12" fmla="*/ 1187484 w 1400184"/>
                    <a:gd name="connsiteY12" fmla="*/ 7035 h 152083"/>
                    <a:gd name="connsiteX13" fmla="*/ 1092234 w 1400184"/>
                    <a:gd name="connsiteY13" fmla="*/ 19735 h 152083"/>
                    <a:gd name="connsiteX14" fmla="*/ 38134 w 1400184"/>
                    <a:gd name="connsiteY14" fmla="*/ 13385 h 152083"/>
                    <a:gd name="connsiteX15" fmla="*/ 12734 w 1400184"/>
                    <a:gd name="connsiteY15" fmla="*/ 685 h 152083"/>
                    <a:gd name="connsiteX0" fmla="*/ 12734 w 1400184"/>
                    <a:gd name="connsiteY0" fmla="*/ 685 h 152192"/>
                    <a:gd name="connsiteX1" fmla="*/ 34 w 1400184"/>
                    <a:gd name="connsiteY1" fmla="*/ 38785 h 152192"/>
                    <a:gd name="connsiteX2" fmla="*/ 19084 w 1400184"/>
                    <a:gd name="connsiteY2" fmla="*/ 146735 h 152192"/>
                    <a:gd name="connsiteX3" fmla="*/ 101634 w 1400184"/>
                    <a:gd name="connsiteY3" fmla="*/ 134035 h 152192"/>
                    <a:gd name="connsiteX4" fmla="*/ 177834 w 1400184"/>
                    <a:gd name="connsiteY4" fmla="*/ 114985 h 152192"/>
                    <a:gd name="connsiteX5" fmla="*/ 1339884 w 1400184"/>
                    <a:gd name="connsiteY5" fmla="*/ 108635 h 152192"/>
                    <a:gd name="connsiteX6" fmla="*/ 1397034 w 1400184"/>
                    <a:gd name="connsiteY6" fmla="*/ 102285 h 152192"/>
                    <a:gd name="connsiteX7" fmla="*/ 1384334 w 1400184"/>
                    <a:gd name="connsiteY7" fmla="*/ 51485 h 152192"/>
                    <a:gd name="connsiteX8" fmla="*/ 1377984 w 1400184"/>
                    <a:gd name="connsiteY8" fmla="*/ 13385 h 152192"/>
                    <a:gd name="connsiteX9" fmla="*/ 1352584 w 1400184"/>
                    <a:gd name="connsiteY9" fmla="*/ 7035 h 152192"/>
                    <a:gd name="connsiteX10" fmla="*/ 1314484 w 1400184"/>
                    <a:gd name="connsiteY10" fmla="*/ 685 h 152192"/>
                    <a:gd name="connsiteX11" fmla="*/ 1187484 w 1400184"/>
                    <a:gd name="connsiteY11" fmla="*/ 7035 h 152192"/>
                    <a:gd name="connsiteX12" fmla="*/ 1092234 w 1400184"/>
                    <a:gd name="connsiteY12" fmla="*/ 19735 h 152192"/>
                    <a:gd name="connsiteX13" fmla="*/ 38134 w 1400184"/>
                    <a:gd name="connsiteY13" fmla="*/ 13385 h 152192"/>
                    <a:gd name="connsiteX14" fmla="*/ 12734 w 1400184"/>
                    <a:gd name="connsiteY14" fmla="*/ 685 h 152192"/>
                    <a:gd name="connsiteX0" fmla="*/ 17859 w 1405309"/>
                    <a:gd name="connsiteY0" fmla="*/ 685 h 137084"/>
                    <a:gd name="connsiteX1" fmla="*/ 5159 w 1405309"/>
                    <a:gd name="connsiteY1" fmla="*/ 38785 h 137084"/>
                    <a:gd name="connsiteX2" fmla="*/ 106759 w 1405309"/>
                    <a:gd name="connsiteY2" fmla="*/ 134035 h 137084"/>
                    <a:gd name="connsiteX3" fmla="*/ 182959 w 1405309"/>
                    <a:gd name="connsiteY3" fmla="*/ 114985 h 137084"/>
                    <a:gd name="connsiteX4" fmla="*/ 1345009 w 1405309"/>
                    <a:gd name="connsiteY4" fmla="*/ 108635 h 137084"/>
                    <a:gd name="connsiteX5" fmla="*/ 1402159 w 1405309"/>
                    <a:gd name="connsiteY5" fmla="*/ 102285 h 137084"/>
                    <a:gd name="connsiteX6" fmla="*/ 1389459 w 1405309"/>
                    <a:gd name="connsiteY6" fmla="*/ 51485 h 137084"/>
                    <a:gd name="connsiteX7" fmla="*/ 1383109 w 1405309"/>
                    <a:gd name="connsiteY7" fmla="*/ 13385 h 137084"/>
                    <a:gd name="connsiteX8" fmla="*/ 1357709 w 1405309"/>
                    <a:gd name="connsiteY8" fmla="*/ 7035 h 137084"/>
                    <a:gd name="connsiteX9" fmla="*/ 1319609 w 1405309"/>
                    <a:gd name="connsiteY9" fmla="*/ 685 h 137084"/>
                    <a:gd name="connsiteX10" fmla="*/ 1192609 w 1405309"/>
                    <a:gd name="connsiteY10" fmla="*/ 7035 h 137084"/>
                    <a:gd name="connsiteX11" fmla="*/ 1097359 w 1405309"/>
                    <a:gd name="connsiteY11" fmla="*/ 19735 h 137084"/>
                    <a:gd name="connsiteX12" fmla="*/ 43259 w 1405309"/>
                    <a:gd name="connsiteY12" fmla="*/ 13385 h 137084"/>
                    <a:gd name="connsiteX13" fmla="*/ 17859 w 1405309"/>
                    <a:gd name="connsiteY13" fmla="*/ 685 h 137084"/>
                    <a:gd name="connsiteX0" fmla="*/ 13673 w 1401123"/>
                    <a:gd name="connsiteY0" fmla="*/ 685 h 137356"/>
                    <a:gd name="connsiteX1" fmla="*/ 973 w 1401123"/>
                    <a:gd name="connsiteY1" fmla="*/ 38785 h 137356"/>
                    <a:gd name="connsiteX2" fmla="*/ 39073 w 1401123"/>
                    <a:gd name="connsiteY2" fmla="*/ 134035 h 137356"/>
                    <a:gd name="connsiteX3" fmla="*/ 178773 w 1401123"/>
                    <a:gd name="connsiteY3" fmla="*/ 114985 h 137356"/>
                    <a:gd name="connsiteX4" fmla="*/ 1340823 w 1401123"/>
                    <a:gd name="connsiteY4" fmla="*/ 108635 h 137356"/>
                    <a:gd name="connsiteX5" fmla="*/ 1397973 w 1401123"/>
                    <a:gd name="connsiteY5" fmla="*/ 102285 h 137356"/>
                    <a:gd name="connsiteX6" fmla="*/ 1385273 w 1401123"/>
                    <a:gd name="connsiteY6" fmla="*/ 51485 h 137356"/>
                    <a:gd name="connsiteX7" fmla="*/ 1378923 w 1401123"/>
                    <a:gd name="connsiteY7" fmla="*/ 13385 h 137356"/>
                    <a:gd name="connsiteX8" fmla="*/ 1353523 w 1401123"/>
                    <a:gd name="connsiteY8" fmla="*/ 7035 h 137356"/>
                    <a:gd name="connsiteX9" fmla="*/ 1315423 w 1401123"/>
                    <a:gd name="connsiteY9" fmla="*/ 685 h 137356"/>
                    <a:gd name="connsiteX10" fmla="*/ 1188423 w 1401123"/>
                    <a:gd name="connsiteY10" fmla="*/ 7035 h 137356"/>
                    <a:gd name="connsiteX11" fmla="*/ 1093173 w 1401123"/>
                    <a:gd name="connsiteY11" fmla="*/ 19735 h 137356"/>
                    <a:gd name="connsiteX12" fmla="*/ 39073 w 1401123"/>
                    <a:gd name="connsiteY12" fmla="*/ 13385 h 137356"/>
                    <a:gd name="connsiteX13" fmla="*/ 13673 w 1401123"/>
                    <a:gd name="connsiteY13" fmla="*/ 685 h 1373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401123" h="137356">
                      <a:moveTo>
                        <a:pt x="13673" y="685"/>
                      </a:moveTo>
                      <a:cubicBezTo>
                        <a:pt x="7323" y="4918"/>
                        <a:pt x="-3260" y="16560"/>
                        <a:pt x="973" y="38785"/>
                      </a:cubicBezTo>
                      <a:cubicBezTo>
                        <a:pt x="5206" y="61010"/>
                        <a:pt x="9440" y="121335"/>
                        <a:pt x="39073" y="134035"/>
                      </a:cubicBezTo>
                      <a:cubicBezTo>
                        <a:pt x="68706" y="146735"/>
                        <a:pt x="-38185" y="119218"/>
                        <a:pt x="178773" y="114985"/>
                      </a:cubicBezTo>
                      <a:cubicBezTo>
                        <a:pt x="395731" y="110752"/>
                        <a:pt x="953473" y="110752"/>
                        <a:pt x="1340823" y="108635"/>
                      </a:cubicBezTo>
                      <a:cubicBezTo>
                        <a:pt x="1359873" y="106518"/>
                        <a:pt x="1386205" y="117415"/>
                        <a:pt x="1397973" y="102285"/>
                      </a:cubicBezTo>
                      <a:cubicBezTo>
                        <a:pt x="1408689" y="88507"/>
                        <a:pt x="1388930" y="68552"/>
                        <a:pt x="1385273" y="51485"/>
                      </a:cubicBezTo>
                      <a:cubicBezTo>
                        <a:pt x="1382575" y="38896"/>
                        <a:pt x="1386407" y="23862"/>
                        <a:pt x="1378923" y="13385"/>
                      </a:cubicBezTo>
                      <a:cubicBezTo>
                        <a:pt x="1373850" y="6283"/>
                        <a:pt x="1362081" y="8747"/>
                        <a:pt x="1353523" y="7035"/>
                      </a:cubicBezTo>
                      <a:cubicBezTo>
                        <a:pt x="1340898" y="4510"/>
                        <a:pt x="1328123" y="2802"/>
                        <a:pt x="1315423" y="685"/>
                      </a:cubicBezTo>
                      <a:lnTo>
                        <a:pt x="1188423" y="7035"/>
                      </a:lnTo>
                      <a:cubicBezTo>
                        <a:pt x="1148650" y="9778"/>
                        <a:pt x="1129911" y="13612"/>
                        <a:pt x="1093173" y="19735"/>
                      </a:cubicBezTo>
                      <a:lnTo>
                        <a:pt x="39073" y="13385"/>
                      </a:lnTo>
                      <a:cubicBezTo>
                        <a:pt x="22009" y="13189"/>
                        <a:pt x="20023" y="-3548"/>
                        <a:pt x="13673" y="685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  <p:sp>
              <p:nvSpPr>
                <p:cNvPr id="167" name="Freeform: Shape 166">
                  <a:extLst>
                    <a:ext uri="{FF2B5EF4-FFF2-40B4-BE49-F238E27FC236}">
                      <a16:creationId xmlns:a16="http://schemas.microsoft.com/office/drawing/2014/main" id="{4933BEA1-2731-8A78-31BB-9F4A55CF1FF2}"/>
                    </a:ext>
                  </a:extLst>
                </p:cNvPr>
                <p:cNvSpPr/>
                <p:nvPr/>
              </p:nvSpPr>
              <p:spPr>
                <a:xfrm>
                  <a:off x="5644818" y="4152900"/>
                  <a:ext cx="1549796" cy="127000"/>
                </a:xfrm>
                <a:custGeom>
                  <a:avLst/>
                  <a:gdLst>
                    <a:gd name="connsiteX0" fmla="*/ 19382 w 1549796"/>
                    <a:gd name="connsiteY0" fmla="*/ 25400 h 127000"/>
                    <a:gd name="connsiteX1" fmla="*/ 57482 w 1549796"/>
                    <a:gd name="connsiteY1" fmla="*/ 31750 h 127000"/>
                    <a:gd name="connsiteX2" fmla="*/ 209882 w 1549796"/>
                    <a:gd name="connsiteY2" fmla="*/ 12700 h 127000"/>
                    <a:gd name="connsiteX3" fmla="*/ 1206832 w 1549796"/>
                    <a:gd name="connsiteY3" fmla="*/ 0 h 127000"/>
                    <a:gd name="connsiteX4" fmla="*/ 1517982 w 1549796"/>
                    <a:gd name="connsiteY4" fmla="*/ 25400 h 127000"/>
                    <a:gd name="connsiteX5" fmla="*/ 1537032 w 1549796"/>
                    <a:gd name="connsiteY5" fmla="*/ 50800 h 127000"/>
                    <a:gd name="connsiteX6" fmla="*/ 1530682 w 1549796"/>
                    <a:gd name="connsiteY6" fmla="*/ 88900 h 127000"/>
                    <a:gd name="connsiteX7" fmla="*/ 1492582 w 1549796"/>
                    <a:gd name="connsiteY7" fmla="*/ 101600 h 127000"/>
                    <a:gd name="connsiteX8" fmla="*/ 1352882 w 1549796"/>
                    <a:gd name="connsiteY8" fmla="*/ 107950 h 127000"/>
                    <a:gd name="connsiteX9" fmla="*/ 1213182 w 1549796"/>
                    <a:gd name="connsiteY9" fmla="*/ 120650 h 127000"/>
                    <a:gd name="connsiteX10" fmla="*/ 1168732 w 1549796"/>
                    <a:gd name="connsiteY10" fmla="*/ 127000 h 127000"/>
                    <a:gd name="connsiteX11" fmla="*/ 13032 w 1549796"/>
                    <a:gd name="connsiteY11" fmla="*/ 114300 h 127000"/>
                    <a:gd name="connsiteX12" fmla="*/ 332 w 1549796"/>
                    <a:gd name="connsiteY12" fmla="*/ 88900 h 127000"/>
                    <a:gd name="connsiteX13" fmla="*/ 19382 w 1549796"/>
                    <a:gd name="connsiteY13" fmla="*/ 25400 h 12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549796" h="127000">
                      <a:moveTo>
                        <a:pt x="19382" y="25400"/>
                      </a:moveTo>
                      <a:cubicBezTo>
                        <a:pt x="28907" y="15875"/>
                        <a:pt x="44623" y="32393"/>
                        <a:pt x="57482" y="31750"/>
                      </a:cubicBezTo>
                      <a:cubicBezTo>
                        <a:pt x="150006" y="27124"/>
                        <a:pt x="128986" y="14153"/>
                        <a:pt x="209882" y="12700"/>
                      </a:cubicBezTo>
                      <a:lnTo>
                        <a:pt x="1206832" y="0"/>
                      </a:lnTo>
                      <a:lnTo>
                        <a:pt x="1517982" y="25400"/>
                      </a:lnTo>
                      <a:cubicBezTo>
                        <a:pt x="1559862" y="29278"/>
                        <a:pt x="1553848" y="25576"/>
                        <a:pt x="1537032" y="50800"/>
                      </a:cubicBezTo>
                      <a:cubicBezTo>
                        <a:pt x="1534915" y="63500"/>
                        <a:pt x="1539160" y="79210"/>
                        <a:pt x="1530682" y="88900"/>
                      </a:cubicBezTo>
                      <a:cubicBezTo>
                        <a:pt x="1521867" y="98975"/>
                        <a:pt x="1505893" y="100174"/>
                        <a:pt x="1492582" y="101600"/>
                      </a:cubicBezTo>
                      <a:cubicBezTo>
                        <a:pt x="1446233" y="106566"/>
                        <a:pt x="1399449" y="105833"/>
                        <a:pt x="1352882" y="107950"/>
                      </a:cubicBezTo>
                      <a:cubicBezTo>
                        <a:pt x="1223928" y="124069"/>
                        <a:pt x="1403841" y="102492"/>
                        <a:pt x="1213182" y="120650"/>
                      </a:cubicBezTo>
                      <a:cubicBezTo>
                        <a:pt x="1198282" y="122069"/>
                        <a:pt x="1183549" y="124883"/>
                        <a:pt x="1168732" y="127000"/>
                      </a:cubicBezTo>
                      <a:cubicBezTo>
                        <a:pt x="783499" y="122767"/>
                        <a:pt x="398084" y="126856"/>
                        <a:pt x="13032" y="114300"/>
                      </a:cubicBezTo>
                      <a:cubicBezTo>
                        <a:pt x="3571" y="113991"/>
                        <a:pt x="2188" y="98182"/>
                        <a:pt x="332" y="88900"/>
                      </a:cubicBezTo>
                      <a:cubicBezTo>
                        <a:pt x="-2159" y="76447"/>
                        <a:pt x="9857" y="34925"/>
                        <a:pt x="19382" y="25400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  <p:sp>
              <p:nvSpPr>
                <p:cNvPr id="168" name="Freeform: Shape 167">
                  <a:extLst>
                    <a:ext uri="{FF2B5EF4-FFF2-40B4-BE49-F238E27FC236}">
                      <a16:creationId xmlns:a16="http://schemas.microsoft.com/office/drawing/2014/main" id="{CFFDFAD3-E229-6DF1-B6A8-7C788EA4A3D7}"/>
                    </a:ext>
                  </a:extLst>
                </p:cNvPr>
                <p:cNvSpPr/>
                <p:nvPr/>
              </p:nvSpPr>
              <p:spPr>
                <a:xfrm>
                  <a:off x="5641057" y="4399226"/>
                  <a:ext cx="721643" cy="168281"/>
                </a:xfrm>
                <a:custGeom>
                  <a:avLst/>
                  <a:gdLst>
                    <a:gd name="connsiteX0" fmla="*/ 35843 w 721643"/>
                    <a:gd name="connsiteY0" fmla="*/ 31750 h 166958"/>
                    <a:gd name="connsiteX1" fmla="*/ 42193 w 721643"/>
                    <a:gd name="connsiteY1" fmla="*/ 158750 h 166958"/>
                    <a:gd name="connsiteX2" fmla="*/ 131093 w 721643"/>
                    <a:gd name="connsiteY2" fmla="*/ 146050 h 166958"/>
                    <a:gd name="connsiteX3" fmla="*/ 207293 w 721643"/>
                    <a:gd name="connsiteY3" fmla="*/ 139700 h 166958"/>
                    <a:gd name="connsiteX4" fmla="*/ 550193 w 721643"/>
                    <a:gd name="connsiteY4" fmla="*/ 133350 h 166958"/>
                    <a:gd name="connsiteX5" fmla="*/ 588293 w 721643"/>
                    <a:gd name="connsiteY5" fmla="*/ 127000 h 166958"/>
                    <a:gd name="connsiteX6" fmla="*/ 632743 w 721643"/>
                    <a:gd name="connsiteY6" fmla="*/ 120650 h 166958"/>
                    <a:gd name="connsiteX7" fmla="*/ 721643 w 721643"/>
                    <a:gd name="connsiteY7" fmla="*/ 95250 h 166958"/>
                    <a:gd name="connsiteX8" fmla="*/ 715293 w 721643"/>
                    <a:gd name="connsiteY8" fmla="*/ 63500 h 166958"/>
                    <a:gd name="connsiteX9" fmla="*/ 696243 w 721643"/>
                    <a:gd name="connsiteY9" fmla="*/ 0 h 166958"/>
                    <a:gd name="connsiteX10" fmla="*/ 569243 w 721643"/>
                    <a:gd name="connsiteY10" fmla="*/ 19050 h 166958"/>
                    <a:gd name="connsiteX11" fmla="*/ 461293 w 721643"/>
                    <a:gd name="connsiteY11" fmla="*/ 38100 h 166958"/>
                    <a:gd name="connsiteX12" fmla="*/ 35843 w 721643"/>
                    <a:gd name="connsiteY12" fmla="*/ 31750 h 166958"/>
                    <a:gd name="connsiteX0" fmla="*/ 35843 w 721643"/>
                    <a:gd name="connsiteY0" fmla="*/ 32086 h 167294"/>
                    <a:gd name="connsiteX1" fmla="*/ 42193 w 721643"/>
                    <a:gd name="connsiteY1" fmla="*/ 159086 h 167294"/>
                    <a:gd name="connsiteX2" fmla="*/ 131093 w 721643"/>
                    <a:gd name="connsiteY2" fmla="*/ 146386 h 167294"/>
                    <a:gd name="connsiteX3" fmla="*/ 207293 w 721643"/>
                    <a:gd name="connsiteY3" fmla="*/ 140036 h 167294"/>
                    <a:gd name="connsiteX4" fmla="*/ 550193 w 721643"/>
                    <a:gd name="connsiteY4" fmla="*/ 133686 h 167294"/>
                    <a:gd name="connsiteX5" fmla="*/ 588293 w 721643"/>
                    <a:gd name="connsiteY5" fmla="*/ 127336 h 167294"/>
                    <a:gd name="connsiteX6" fmla="*/ 632743 w 721643"/>
                    <a:gd name="connsiteY6" fmla="*/ 120986 h 167294"/>
                    <a:gd name="connsiteX7" fmla="*/ 721643 w 721643"/>
                    <a:gd name="connsiteY7" fmla="*/ 95586 h 167294"/>
                    <a:gd name="connsiteX8" fmla="*/ 715293 w 721643"/>
                    <a:gd name="connsiteY8" fmla="*/ 63836 h 167294"/>
                    <a:gd name="connsiteX9" fmla="*/ 696243 w 721643"/>
                    <a:gd name="connsiteY9" fmla="*/ 336 h 167294"/>
                    <a:gd name="connsiteX10" fmla="*/ 461293 w 721643"/>
                    <a:gd name="connsiteY10" fmla="*/ 38436 h 167294"/>
                    <a:gd name="connsiteX11" fmla="*/ 35843 w 721643"/>
                    <a:gd name="connsiteY11" fmla="*/ 32086 h 167294"/>
                    <a:gd name="connsiteX0" fmla="*/ 35843 w 721643"/>
                    <a:gd name="connsiteY0" fmla="*/ 33073 h 168281"/>
                    <a:gd name="connsiteX1" fmla="*/ 42193 w 721643"/>
                    <a:gd name="connsiteY1" fmla="*/ 160073 h 168281"/>
                    <a:gd name="connsiteX2" fmla="*/ 131093 w 721643"/>
                    <a:gd name="connsiteY2" fmla="*/ 147373 h 168281"/>
                    <a:gd name="connsiteX3" fmla="*/ 207293 w 721643"/>
                    <a:gd name="connsiteY3" fmla="*/ 141023 h 168281"/>
                    <a:gd name="connsiteX4" fmla="*/ 550193 w 721643"/>
                    <a:gd name="connsiteY4" fmla="*/ 134673 h 168281"/>
                    <a:gd name="connsiteX5" fmla="*/ 588293 w 721643"/>
                    <a:gd name="connsiteY5" fmla="*/ 128323 h 168281"/>
                    <a:gd name="connsiteX6" fmla="*/ 632743 w 721643"/>
                    <a:gd name="connsiteY6" fmla="*/ 121973 h 168281"/>
                    <a:gd name="connsiteX7" fmla="*/ 721643 w 721643"/>
                    <a:gd name="connsiteY7" fmla="*/ 96573 h 168281"/>
                    <a:gd name="connsiteX8" fmla="*/ 715293 w 721643"/>
                    <a:gd name="connsiteY8" fmla="*/ 64823 h 168281"/>
                    <a:gd name="connsiteX9" fmla="*/ 696243 w 721643"/>
                    <a:gd name="connsiteY9" fmla="*/ 1323 h 168281"/>
                    <a:gd name="connsiteX10" fmla="*/ 35843 w 721643"/>
                    <a:gd name="connsiteY10" fmla="*/ 33073 h 168281"/>
                    <a:gd name="connsiteX0" fmla="*/ 35843 w 721643"/>
                    <a:gd name="connsiteY0" fmla="*/ 33073 h 168281"/>
                    <a:gd name="connsiteX1" fmla="*/ 42193 w 721643"/>
                    <a:gd name="connsiteY1" fmla="*/ 160073 h 168281"/>
                    <a:gd name="connsiteX2" fmla="*/ 131093 w 721643"/>
                    <a:gd name="connsiteY2" fmla="*/ 147373 h 168281"/>
                    <a:gd name="connsiteX3" fmla="*/ 207293 w 721643"/>
                    <a:gd name="connsiteY3" fmla="*/ 141023 h 168281"/>
                    <a:gd name="connsiteX4" fmla="*/ 550193 w 721643"/>
                    <a:gd name="connsiteY4" fmla="*/ 134673 h 168281"/>
                    <a:gd name="connsiteX5" fmla="*/ 632743 w 721643"/>
                    <a:gd name="connsiteY5" fmla="*/ 121973 h 168281"/>
                    <a:gd name="connsiteX6" fmla="*/ 721643 w 721643"/>
                    <a:gd name="connsiteY6" fmla="*/ 96573 h 168281"/>
                    <a:gd name="connsiteX7" fmla="*/ 715293 w 721643"/>
                    <a:gd name="connsiteY7" fmla="*/ 64823 h 168281"/>
                    <a:gd name="connsiteX8" fmla="*/ 696243 w 721643"/>
                    <a:gd name="connsiteY8" fmla="*/ 1323 h 168281"/>
                    <a:gd name="connsiteX9" fmla="*/ 35843 w 721643"/>
                    <a:gd name="connsiteY9" fmla="*/ 33073 h 168281"/>
                    <a:gd name="connsiteX0" fmla="*/ 35843 w 721643"/>
                    <a:gd name="connsiteY0" fmla="*/ 33073 h 168281"/>
                    <a:gd name="connsiteX1" fmla="*/ 42193 w 721643"/>
                    <a:gd name="connsiteY1" fmla="*/ 160073 h 168281"/>
                    <a:gd name="connsiteX2" fmla="*/ 131093 w 721643"/>
                    <a:gd name="connsiteY2" fmla="*/ 147373 h 168281"/>
                    <a:gd name="connsiteX3" fmla="*/ 207293 w 721643"/>
                    <a:gd name="connsiteY3" fmla="*/ 141023 h 168281"/>
                    <a:gd name="connsiteX4" fmla="*/ 632743 w 721643"/>
                    <a:gd name="connsiteY4" fmla="*/ 121973 h 168281"/>
                    <a:gd name="connsiteX5" fmla="*/ 721643 w 721643"/>
                    <a:gd name="connsiteY5" fmla="*/ 96573 h 168281"/>
                    <a:gd name="connsiteX6" fmla="*/ 715293 w 721643"/>
                    <a:gd name="connsiteY6" fmla="*/ 64823 h 168281"/>
                    <a:gd name="connsiteX7" fmla="*/ 696243 w 721643"/>
                    <a:gd name="connsiteY7" fmla="*/ 1323 h 168281"/>
                    <a:gd name="connsiteX8" fmla="*/ 35843 w 721643"/>
                    <a:gd name="connsiteY8" fmla="*/ 33073 h 168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21643" h="168281">
                      <a:moveTo>
                        <a:pt x="35843" y="33073"/>
                      </a:moveTo>
                      <a:cubicBezTo>
                        <a:pt x="-34007" y="53181"/>
                        <a:pt x="15058" y="127511"/>
                        <a:pt x="42193" y="160073"/>
                      </a:cubicBezTo>
                      <a:cubicBezTo>
                        <a:pt x="61356" y="183069"/>
                        <a:pt x="101356" y="150804"/>
                        <a:pt x="131093" y="147373"/>
                      </a:cubicBezTo>
                      <a:cubicBezTo>
                        <a:pt x="156413" y="144451"/>
                        <a:pt x="123685" y="145256"/>
                        <a:pt x="207293" y="141023"/>
                      </a:cubicBezTo>
                      <a:cubicBezTo>
                        <a:pt x="290901" y="136790"/>
                        <a:pt x="547018" y="129381"/>
                        <a:pt x="632743" y="121973"/>
                      </a:cubicBezTo>
                      <a:cubicBezTo>
                        <a:pt x="718468" y="114565"/>
                        <a:pt x="692010" y="105040"/>
                        <a:pt x="721643" y="96573"/>
                      </a:cubicBezTo>
                      <a:cubicBezTo>
                        <a:pt x="719526" y="85990"/>
                        <a:pt x="718394" y="75161"/>
                        <a:pt x="715293" y="64823"/>
                      </a:cubicBezTo>
                      <a:cubicBezTo>
                        <a:pt x="690230" y="-18719"/>
                        <a:pt x="712739" y="83802"/>
                        <a:pt x="696243" y="1323"/>
                      </a:cubicBezTo>
                      <a:cubicBezTo>
                        <a:pt x="583001" y="-3969"/>
                        <a:pt x="144851" y="6615"/>
                        <a:pt x="35843" y="33073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  <p:sp>
              <p:nvSpPr>
                <p:cNvPr id="169" name="Freeform: Shape 168">
                  <a:extLst>
                    <a:ext uri="{FF2B5EF4-FFF2-40B4-BE49-F238E27FC236}">
                      <a16:creationId xmlns:a16="http://schemas.microsoft.com/office/drawing/2014/main" id="{E5D984C8-7BB6-A7DE-C4A3-D0A067CFBC28}"/>
                    </a:ext>
                  </a:extLst>
                </p:cNvPr>
                <p:cNvSpPr/>
                <p:nvPr/>
              </p:nvSpPr>
              <p:spPr>
                <a:xfrm>
                  <a:off x="5624700" y="4693033"/>
                  <a:ext cx="773097" cy="183360"/>
                </a:xfrm>
                <a:custGeom>
                  <a:avLst/>
                  <a:gdLst>
                    <a:gd name="connsiteX0" fmla="*/ 33150 w 773097"/>
                    <a:gd name="connsiteY0" fmla="*/ 18667 h 183360"/>
                    <a:gd name="connsiteX1" fmla="*/ 45850 w 773097"/>
                    <a:gd name="connsiteY1" fmla="*/ 56767 h 183360"/>
                    <a:gd name="connsiteX2" fmla="*/ 58550 w 773097"/>
                    <a:gd name="connsiteY2" fmla="*/ 88517 h 183360"/>
                    <a:gd name="connsiteX3" fmla="*/ 64900 w 773097"/>
                    <a:gd name="connsiteY3" fmla="*/ 152017 h 183360"/>
                    <a:gd name="connsiteX4" fmla="*/ 204600 w 773097"/>
                    <a:gd name="connsiteY4" fmla="*/ 139317 h 183360"/>
                    <a:gd name="connsiteX5" fmla="*/ 738000 w 773097"/>
                    <a:gd name="connsiteY5" fmla="*/ 75817 h 183360"/>
                    <a:gd name="connsiteX6" fmla="*/ 731650 w 773097"/>
                    <a:gd name="connsiteY6" fmla="*/ 44067 h 183360"/>
                    <a:gd name="connsiteX7" fmla="*/ 522100 w 773097"/>
                    <a:gd name="connsiteY7" fmla="*/ 25017 h 183360"/>
                    <a:gd name="connsiteX8" fmla="*/ 33150 w 773097"/>
                    <a:gd name="connsiteY8" fmla="*/ 18667 h 1833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773097" h="183360">
                      <a:moveTo>
                        <a:pt x="33150" y="18667"/>
                      </a:moveTo>
                      <a:cubicBezTo>
                        <a:pt x="-46225" y="23959"/>
                        <a:pt x="41275" y="44186"/>
                        <a:pt x="45850" y="56767"/>
                      </a:cubicBezTo>
                      <a:cubicBezTo>
                        <a:pt x="49745" y="67479"/>
                        <a:pt x="56315" y="77340"/>
                        <a:pt x="58550" y="88517"/>
                      </a:cubicBezTo>
                      <a:cubicBezTo>
                        <a:pt x="62722" y="109376"/>
                        <a:pt x="62783" y="130850"/>
                        <a:pt x="64900" y="152017"/>
                      </a:cubicBezTo>
                      <a:cubicBezTo>
                        <a:pt x="111467" y="147784"/>
                        <a:pt x="157890" y="141460"/>
                        <a:pt x="204600" y="139317"/>
                      </a:cubicBezTo>
                      <a:cubicBezTo>
                        <a:pt x="770439" y="113361"/>
                        <a:pt x="829871" y="290184"/>
                        <a:pt x="738000" y="75817"/>
                      </a:cubicBezTo>
                      <a:cubicBezTo>
                        <a:pt x="735883" y="65234"/>
                        <a:pt x="735063" y="54306"/>
                        <a:pt x="731650" y="44067"/>
                      </a:cubicBezTo>
                      <a:cubicBezTo>
                        <a:pt x="703420" y="-40624"/>
                        <a:pt x="632498" y="22324"/>
                        <a:pt x="522100" y="25017"/>
                      </a:cubicBezTo>
                      <a:cubicBezTo>
                        <a:pt x="212412" y="32570"/>
                        <a:pt x="112525" y="13375"/>
                        <a:pt x="33150" y="18667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  <p:sp>
              <p:nvSpPr>
                <p:cNvPr id="170" name="Freeform: Shape 169">
                  <a:extLst>
                    <a:ext uri="{FF2B5EF4-FFF2-40B4-BE49-F238E27FC236}">
                      <a16:creationId xmlns:a16="http://schemas.microsoft.com/office/drawing/2014/main" id="{CD0D1D94-D50D-5301-8097-3021D548025B}"/>
                    </a:ext>
                  </a:extLst>
                </p:cNvPr>
                <p:cNvSpPr/>
                <p:nvPr/>
              </p:nvSpPr>
              <p:spPr>
                <a:xfrm>
                  <a:off x="6825364" y="2813069"/>
                  <a:ext cx="464436" cy="475383"/>
                </a:xfrm>
                <a:custGeom>
                  <a:avLst/>
                  <a:gdLst>
                    <a:gd name="connsiteX0" fmla="*/ 7236 w 464436"/>
                    <a:gd name="connsiteY0" fmla="*/ 8 h 475383"/>
                    <a:gd name="connsiteX1" fmla="*/ 19936 w 464436"/>
                    <a:gd name="connsiteY1" fmla="*/ 152408 h 475383"/>
                    <a:gd name="connsiteX2" fmla="*/ 26286 w 464436"/>
                    <a:gd name="connsiteY2" fmla="*/ 469908 h 475383"/>
                    <a:gd name="connsiteX3" fmla="*/ 70736 w 464436"/>
                    <a:gd name="connsiteY3" fmla="*/ 463558 h 475383"/>
                    <a:gd name="connsiteX4" fmla="*/ 153286 w 464436"/>
                    <a:gd name="connsiteY4" fmla="*/ 457208 h 475383"/>
                    <a:gd name="connsiteX5" fmla="*/ 204086 w 464436"/>
                    <a:gd name="connsiteY5" fmla="*/ 450858 h 475383"/>
                    <a:gd name="connsiteX6" fmla="*/ 464436 w 464436"/>
                    <a:gd name="connsiteY6" fmla="*/ 444508 h 475383"/>
                    <a:gd name="connsiteX7" fmla="*/ 439036 w 464436"/>
                    <a:gd name="connsiteY7" fmla="*/ 419108 h 475383"/>
                    <a:gd name="connsiteX8" fmla="*/ 394586 w 464436"/>
                    <a:gd name="connsiteY8" fmla="*/ 400058 h 475383"/>
                    <a:gd name="connsiteX9" fmla="*/ 375536 w 464436"/>
                    <a:gd name="connsiteY9" fmla="*/ 387358 h 475383"/>
                    <a:gd name="connsiteX10" fmla="*/ 356486 w 464436"/>
                    <a:gd name="connsiteY10" fmla="*/ 381008 h 475383"/>
                    <a:gd name="connsiteX11" fmla="*/ 318386 w 464436"/>
                    <a:gd name="connsiteY11" fmla="*/ 361958 h 475383"/>
                    <a:gd name="connsiteX12" fmla="*/ 280286 w 464436"/>
                    <a:gd name="connsiteY12" fmla="*/ 317508 h 475383"/>
                    <a:gd name="connsiteX13" fmla="*/ 242186 w 464436"/>
                    <a:gd name="connsiteY13" fmla="*/ 285758 h 475383"/>
                    <a:gd name="connsiteX14" fmla="*/ 216786 w 464436"/>
                    <a:gd name="connsiteY14" fmla="*/ 266708 h 475383"/>
                    <a:gd name="connsiteX15" fmla="*/ 153286 w 464436"/>
                    <a:gd name="connsiteY15" fmla="*/ 184158 h 475383"/>
                    <a:gd name="connsiteX16" fmla="*/ 146936 w 464436"/>
                    <a:gd name="connsiteY16" fmla="*/ 158758 h 475383"/>
                    <a:gd name="connsiteX17" fmla="*/ 7236 w 464436"/>
                    <a:gd name="connsiteY17" fmla="*/ 8 h 475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464436" h="475383">
                      <a:moveTo>
                        <a:pt x="7236" y="8"/>
                      </a:moveTo>
                      <a:cubicBezTo>
                        <a:pt x="-13931" y="-1050"/>
                        <a:pt x="17871" y="101474"/>
                        <a:pt x="19936" y="152408"/>
                      </a:cubicBezTo>
                      <a:cubicBezTo>
                        <a:pt x="24224" y="258176"/>
                        <a:pt x="9229" y="365437"/>
                        <a:pt x="26286" y="469908"/>
                      </a:cubicBezTo>
                      <a:cubicBezTo>
                        <a:pt x="28698" y="484680"/>
                        <a:pt x="55843" y="465047"/>
                        <a:pt x="70736" y="463558"/>
                      </a:cubicBezTo>
                      <a:cubicBezTo>
                        <a:pt x="98197" y="460812"/>
                        <a:pt x="125812" y="459825"/>
                        <a:pt x="153286" y="457208"/>
                      </a:cubicBezTo>
                      <a:cubicBezTo>
                        <a:pt x="170274" y="455590"/>
                        <a:pt x="187035" y="451554"/>
                        <a:pt x="204086" y="450858"/>
                      </a:cubicBezTo>
                      <a:cubicBezTo>
                        <a:pt x="290823" y="447318"/>
                        <a:pt x="377653" y="446625"/>
                        <a:pt x="464436" y="444508"/>
                      </a:cubicBezTo>
                      <a:cubicBezTo>
                        <a:pt x="455969" y="436041"/>
                        <a:pt x="449138" y="425536"/>
                        <a:pt x="439036" y="419108"/>
                      </a:cubicBezTo>
                      <a:cubicBezTo>
                        <a:pt x="425436" y="410454"/>
                        <a:pt x="409004" y="407267"/>
                        <a:pt x="394586" y="400058"/>
                      </a:cubicBezTo>
                      <a:cubicBezTo>
                        <a:pt x="387760" y="396645"/>
                        <a:pt x="382362" y="390771"/>
                        <a:pt x="375536" y="387358"/>
                      </a:cubicBezTo>
                      <a:cubicBezTo>
                        <a:pt x="369549" y="384365"/>
                        <a:pt x="362603" y="383726"/>
                        <a:pt x="356486" y="381008"/>
                      </a:cubicBezTo>
                      <a:cubicBezTo>
                        <a:pt x="343511" y="375241"/>
                        <a:pt x="331086" y="368308"/>
                        <a:pt x="318386" y="361958"/>
                      </a:cubicBezTo>
                      <a:cubicBezTo>
                        <a:pt x="301765" y="339797"/>
                        <a:pt x="300186" y="335197"/>
                        <a:pt x="280286" y="317508"/>
                      </a:cubicBezTo>
                      <a:cubicBezTo>
                        <a:pt x="267930" y="306525"/>
                        <a:pt x="255095" y="296085"/>
                        <a:pt x="242186" y="285758"/>
                      </a:cubicBezTo>
                      <a:cubicBezTo>
                        <a:pt x="233922" y="279147"/>
                        <a:pt x="224270" y="274192"/>
                        <a:pt x="216786" y="266708"/>
                      </a:cubicBezTo>
                      <a:cubicBezTo>
                        <a:pt x="195083" y="245005"/>
                        <a:pt x="170740" y="208594"/>
                        <a:pt x="153286" y="184158"/>
                      </a:cubicBezTo>
                      <a:cubicBezTo>
                        <a:pt x="151169" y="175691"/>
                        <a:pt x="151880" y="165950"/>
                        <a:pt x="146936" y="158758"/>
                      </a:cubicBezTo>
                      <a:cubicBezTo>
                        <a:pt x="109307" y="104024"/>
                        <a:pt x="28403" y="1066"/>
                        <a:pt x="7236" y="8"/>
                      </a:cubicBezTo>
                      <a:close/>
                    </a:path>
                  </a:pathLst>
                </a:custGeom>
                <a:solidFill>
                  <a:srgbClr val="B5CEBD"/>
                </a:solidFill>
                <a:ln w="5406" cap="rnd">
                  <a:noFill/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1" name="Freeform: Shape 170">
                  <a:extLst>
                    <a:ext uri="{FF2B5EF4-FFF2-40B4-BE49-F238E27FC236}">
                      <a16:creationId xmlns:a16="http://schemas.microsoft.com/office/drawing/2014/main" id="{80DBE718-9B86-B350-9C87-579A32F7AA2A}"/>
                    </a:ext>
                  </a:extLst>
                </p:cNvPr>
                <p:cNvSpPr/>
                <p:nvPr/>
              </p:nvSpPr>
              <p:spPr>
                <a:xfrm>
                  <a:off x="6825364" y="2819392"/>
                  <a:ext cx="464436" cy="475383"/>
                </a:xfrm>
                <a:custGeom>
                  <a:avLst/>
                  <a:gdLst>
                    <a:gd name="connsiteX0" fmla="*/ 7236 w 464436"/>
                    <a:gd name="connsiteY0" fmla="*/ 8 h 475383"/>
                    <a:gd name="connsiteX1" fmla="*/ 19936 w 464436"/>
                    <a:gd name="connsiteY1" fmla="*/ 152408 h 475383"/>
                    <a:gd name="connsiteX2" fmla="*/ 26286 w 464436"/>
                    <a:gd name="connsiteY2" fmla="*/ 469908 h 475383"/>
                    <a:gd name="connsiteX3" fmla="*/ 70736 w 464436"/>
                    <a:gd name="connsiteY3" fmla="*/ 463558 h 475383"/>
                    <a:gd name="connsiteX4" fmla="*/ 153286 w 464436"/>
                    <a:gd name="connsiteY4" fmla="*/ 457208 h 475383"/>
                    <a:gd name="connsiteX5" fmla="*/ 204086 w 464436"/>
                    <a:gd name="connsiteY5" fmla="*/ 450858 h 475383"/>
                    <a:gd name="connsiteX6" fmla="*/ 464436 w 464436"/>
                    <a:gd name="connsiteY6" fmla="*/ 444508 h 475383"/>
                    <a:gd name="connsiteX7" fmla="*/ 439036 w 464436"/>
                    <a:gd name="connsiteY7" fmla="*/ 419108 h 475383"/>
                    <a:gd name="connsiteX8" fmla="*/ 394586 w 464436"/>
                    <a:gd name="connsiteY8" fmla="*/ 400058 h 475383"/>
                    <a:gd name="connsiteX9" fmla="*/ 375536 w 464436"/>
                    <a:gd name="connsiteY9" fmla="*/ 387358 h 475383"/>
                    <a:gd name="connsiteX10" fmla="*/ 356486 w 464436"/>
                    <a:gd name="connsiteY10" fmla="*/ 381008 h 475383"/>
                    <a:gd name="connsiteX11" fmla="*/ 318386 w 464436"/>
                    <a:gd name="connsiteY11" fmla="*/ 361958 h 475383"/>
                    <a:gd name="connsiteX12" fmla="*/ 280286 w 464436"/>
                    <a:gd name="connsiteY12" fmla="*/ 317508 h 475383"/>
                    <a:gd name="connsiteX13" fmla="*/ 242186 w 464436"/>
                    <a:gd name="connsiteY13" fmla="*/ 285758 h 475383"/>
                    <a:gd name="connsiteX14" fmla="*/ 216786 w 464436"/>
                    <a:gd name="connsiteY14" fmla="*/ 266708 h 475383"/>
                    <a:gd name="connsiteX15" fmla="*/ 153286 w 464436"/>
                    <a:gd name="connsiteY15" fmla="*/ 184158 h 475383"/>
                    <a:gd name="connsiteX16" fmla="*/ 146936 w 464436"/>
                    <a:gd name="connsiteY16" fmla="*/ 158758 h 475383"/>
                    <a:gd name="connsiteX17" fmla="*/ 7236 w 464436"/>
                    <a:gd name="connsiteY17" fmla="*/ 8 h 4753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464436" h="475383">
                      <a:moveTo>
                        <a:pt x="7236" y="8"/>
                      </a:moveTo>
                      <a:cubicBezTo>
                        <a:pt x="-13931" y="-1050"/>
                        <a:pt x="17871" y="101474"/>
                        <a:pt x="19936" y="152408"/>
                      </a:cubicBezTo>
                      <a:cubicBezTo>
                        <a:pt x="24224" y="258176"/>
                        <a:pt x="9229" y="365437"/>
                        <a:pt x="26286" y="469908"/>
                      </a:cubicBezTo>
                      <a:cubicBezTo>
                        <a:pt x="28698" y="484680"/>
                        <a:pt x="55843" y="465047"/>
                        <a:pt x="70736" y="463558"/>
                      </a:cubicBezTo>
                      <a:cubicBezTo>
                        <a:pt x="98197" y="460812"/>
                        <a:pt x="125812" y="459825"/>
                        <a:pt x="153286" y="457208"/>
                      </a:cubicBezTo>
                      <a:cubicBezTo>
                        <a:pt x="170274" y="455590"/>
                        <a:pt x="187035" y="451554"/>
                        <a:pt x="204086" y="450858"/>
                      </a:cubicBezTo>
                      <a:cubicBezTo>
                        <a:pt x="290823" y="447318"/>
                        <a:pt x="377653" y="446625"/>
                        <a:pt x="464436" y="444508"/>
                      </a:cubicBezTo>
                      <a:cubicBezTo>
                        <a:pt x="455969" y="436041"/>
                        <a:pt x="449138" y="425536"/>
                        <a:pt x="439036" y="419108"/>
                      </a:cubicBezTo>
                      <a:cubicBezTo>
                        <a:pt x="425436" y="410454"/>
                        <a:pt x="409004" y="407267"/>
                        <a:pt x="394586" y="400058"/>
                      </a:cubicBezTo>
                      <a:cubicBezTo>
                        <a:pt x="387760" y="396645"/>
                        <a:pt x="382362" y="390771"/>
                        <a:pt x="375536" y="387358"/>
                      </a:cubicBezTo>
                      <a:cubicBezTo>
                        <a:pt x="369549" y="384365"/>
                        <a:pt x="362603" y="383726"/>
                        <a:pt x="356486" y="381008"/>
                      </a:cubicBezTo>
                      <a:cubicBezTo>
                        <a:pt x="343511" y="375241"/>
                        <a:pt x="331086" y="368308"/>
                        <a:pt x="318386" y="361958"/>
                      </a:cubicBezTo>
                      <a:cubicBezTo>
                        <a:pt x="301765" y="339797"/>
                        <a:pt x="300186" y="335197"/>
                        <a:pt x="280286" y="317508"/>
                      </a:cubicBezTo>
                      <a:cubicBezTo>
                        <a:pt x="267930" y="306525"/>
                        <a:pt x="255095" y="296085"/>
                        <a:pt x="242186" y="285758"/>
                      </a:cubicBezTo>
                      <a:cubicBezTo>
                        <a:pt x="233922" y="279147"/>
                        <a:pt x="224270" y="274192"/>
                        <a:pt x="216786" y="266708"/>
                      </a:cubicBezTo>
                      <a:cubicBezTo>
                        <a:pt x="195083" y="245005"/>
                        <a:pt x="170740" y="208594"/>
                        <a:pt x="153286" y="184158"/>
                      </a:cubicBezTo>
                      <a:cubicBezTo>
                        <a:pt x="151169" y="175691"/>
                        <a:pt x="151880" y="165950"/>
                        <a:pt x="146936" y="158758"/>
                      </a:cubicBezTo>
                      <a:cubicBezTo>
                        <a:pt x="109307" y="104024"/>
                        <a:pt x="28403" y="1066"/>
                        <a:pt x="7236" y="8"/>
                      </a:cubicBezTo>
                      <a:close/>
                    </a:path>
                  </a:pathLst>
                </a:custGeom>
                <a:noFill/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172" name="Group 171">
                <a:extLst>
                  <a:ext uri="{FF2B5EF4-FFF2-40B4-BE49-F238E27FC236}">
                    <a16:creationId xmlns:a16="http://schemas.microsoft.com/office/drawing/2014/main" id="{226F24A5-362B-421C-35ED-C1E14C04260F}"/>
                  </a:ext>
                </a:extLst>
              </p:cNvPr>
              <p:cNvGrpSpPr/>
              <p:nvPr/>
            </p:nvGrpSpPr>
            <p:grpSpPr>
              <a:xfrm>
                <a:off x="6977923" y="3670829"/>
                <a:ext cx="1503209" cy="1492593"/>
                <a:chOff x="4657836" y="1695450"/>
                <a:chExt cx="4460800" cy="4429294"/>
              </a:xfrm>
            </p:grpSpPr>
            <p:grpSp>
              <p:nvGrpSpPr>
                <p:cNvPr id="173" name="Group 172">
                  <a:extLst>
                    <a:ext uri="{FF2B5EF4-FFF2-40B4-BE49-F238E27FC236}">
                      <a16:creationId xmlns:a16="http://schemas.microsoft.com/office/drawing/2014/main" id="{48594995-62F6-CF15-D89B-92D162B812D4}"/>
                    </a:ext>
                  </a:extLst>
                </p:cNvPr>
                <p:cNvGrpSpPr/>
                <p:nvPr/>
              </p:nvGrpSpPr>
              <p:grpSpPr>
                <a:xfrm>
                  <a:off x="4657836" y="1695450"/>
                  <a:ext cx="4460800" cy="4429294"/>
                  <a:chOff x="7665981" y="1827213"/>
                  <a:chExt cx="4460800" cy="4429294"/>
                </a:xfrm>
              </p:grpSpPr>
              <p:sp>
                <p:nvSpPr>
                  <p:cNvPr id="180" name="Freeform: Shape 179">
                    <a:extLst>
                      <a:ext uri="{FF2B5EF4-FFF2-40B4-BE49-F238E27FC236}">
                        <a16:creationId xmlns:a16="http://schemas.microsoft.com/office/drawing/2014/main" id="{90254441-4276-2F88-7842-7593A7A0A67C}"/>
                      </a:ext>
                    </a:extLst>
                  </p:cNvPr>
                  <p:cNvSpPr/>
                  <p:nvPr/>
                </p:nvSpPr>
                <p:spPr>
                  <a:xfrm>
                    <a:off x="7665981" y="1827213"/>
                    <a:ext cx="4460800" cy="4429294"/>
                  </a:xfrm>
                  <a:custGeom>
                    <a:avLst/>
                    <a:gdLst>
                      <a:gd name="connsiteX0" fmla="*/ 2238265 w 4460800"/>
                      <a:gd name="connsiteY0" fmla="*/ 0 h 4429294"/>
                      <a:gd name="connsiteX1" fmla="*/ 2562115 w 4460800"/>
                      <a:gd name="connsiteY1" fmla="*/ 15875 h 4429294"/>
                      <a:gd name="connsiteX2" fmla="*/ 2857390 w 4460800"/>
                      <a:gd name="connsiteY2" fmla="*/ 85725 h 4429294"/>
                      <a:gd name="connsiteX3" fmla="*/ 3076465 w 4460800"/>
                      <a:gd name="connsiteY3" fmla="*/ 171450 h 4429294"/>
                      <a:gd name="connsiteX4" fmla="*/ 3181240 w 4460800"/>
                      <a:gd name="connsiteY4" fmla="*/ 228600 h 4429294"/>
                      <a:gd name="connsiteX5" fmla="*/ 3362215 w 4460800"/>
                      <a:gd name="connsiteY5" fmla="*/ 323850 h 4429294"/>
                      <a:gd name="connsiteX6" fmla="*/ 3752740 w 4460800"/>
                      <a:gd name="connsiteY6" fmla="*/ 581025 h 4429294"/>
                      <a:gd name="connsiteX7" fmla="*/ 3968640 w 4460800"/>
                      <a:gd name="connsiteY7" fmla="*/ 819150 h 4429294"/>
                      <a:gd name="connsiteX8" fmla="*/ 4105165 w 4460800"/>
                      <a:gd name="connsiteY8" fmla="*/ 990600 h 4429294"/>
                      <a:gd name="connsiteX9" fmla="*/ 4190890 w 4460800"/>
                      <a:gd name="connsiteY9" fmla="*/ 1143000 h 4429294"/>
                      <a:gd name="connsiteX10" fmla="*/ 4248040 w 4460800"/>
                      <a:gd name="connsiteY10" fmla="*/ 1266825 h 4429294"/>
                      <a:gd name="connsiteX11" fmla="*/ 4286140 w 4460800"/>
                      <a:gd name="connsiteY11" fmla="*/ 1362075 h 4429294"/>
                      <a:gd name="connsiteX12" fmla="*/ 4333765 w 4460800"/>
                      <a:gd name="connsiteY12" fmla="*/ 1552575 h 4429294"/>
                      <a:gd name="connsiteX13" fmla="*/ 4371865 w 4460800"/>
                      <a:gd name="connsiteY13" fmla="*/ 1685925 h 4429294"/>
                      <a:gd name="connsiteX14" fmla="*/ 4460765 w 4460800"/>
                      <a:gd name="connsiteY14" fmla="*/ 2181225 h 4429294"/>
                      <a:gd name="connsiteX15" fmla="*/ 4387740 w 4460800"/>
                      <a:gd name="connsiteY15" fmla="*/ 2768600 h 4429294"/>
                      <a:gd name="connsiteX16" fmla="*/ 4324240 w 4460800"/>
                      <a:gd name="connsiteY16" fmla="*/ 2990850 h 4429294"/>
                      <a:gd name="connsiteX17" fmla="*/ 4219465 w 4460800"/>
                      <a:gd name="connsiteY17" fmla="*/ 3248025 h 4429294"/>
                      <a:gd name="connsiteX18" fmla="*/ 4124215 w 4460800"/>
                      <a:gd name="connsiteY18" fmla="*/ 3400425 h 4429294"/>
                      <a:gd name="connsiteX19" fmla="*/ 4000390 w 4460800"/>
                      <a:gd name="connsiteY19" fmla="*/ 3533775 h 4429294"/>
                      <a:gd name="connsiteX20" fmla="*/ 3895615 w 4460800"/>
                      <a:gd name="connsiteY20" fmla="*/ 3648075 h 4429294"/>
                      <a:gd name="connsiteX21" fmla="*/ 3600340 w 4460800"/>
                      <a:gd name="connsiteY21" fmla="*/ 3971925 h 4429294"/>
                      <a:gd name="connsiteX22" fmla="*/ 3457465 w 4460800"/>
                      <a:gd name="connsiteY22" fmla="*/ 4083050 h 4429294"/>
                      <a:gd name="connsiteX23" fmla="*/ 3162190 w 4460800"/>
                      <a:gd name="connsiteY23" fmla="*/ 4222750 h 4429294"/>
                      <a:gd name="connsiteX24" fmla="*/ 3009790 w 4460800"/>
                      <a:gd name="connsiteY24" fmla="*/ 4286250 h 4429294"/>
                      <a:gd name="connsiteX25" fmla="*/ 2876440 w 4460800"/>
                      <a:gd name="connsiteY25" fmla="*/ 4333875 h 4429294"/>
                      <a:gd name="connsiteX26" fmla="*/ 2752615 w 4460800"/>
                      <a:gd name="connsiteY26" fmla="*/ 4371975 h 4429294"/>
                      <a:gd name="connsiteX27" fmla="*/ 2520840 w 4460800"/>
                      <a:gd name="connsiteY27" fmla="*/ 4391025 h 4429294"/>
                      <a:gd name="connsiteX28" fmla="*/ 2066815 w 4460800"/>
                      <a:gd name="connsiteY28" fmla="*/ 4429125 h 4429294"/>
                      <a:gd name="connsiteX29" fmla="*/ 1876315 w 4460800"/>
                      <a:gd name="connsiteY29" fmla="*/ 4400550 h 4429294"/>
                      <a:gd name="connsiteX30" fmla="*/ 1514365 w 4460800"/>
                      <a:gd name="connsiteY30" fmla="*/ 4305300 h 4429294"/>
                      <a:gd name="connsiteX31" fmla="*/ 1273065 w 4460800"/>
                      <a:gd name="connsiteY31" fmla="*/ 4216400 h 4429294"/>
                      <a:gd name="connsiteX32" fmla="*/ 1104790 w 4460800"/>
                      <a:gd name="connsiteY32" fmla="*/ 4111625 h 4429294"/>
                      <a:gd name="connsiteX33" fmla="*/ 885715 w 4460800"/>
                      <a:gd name="connsiteY33" fmla="*/ 3968750 h 4429294"/>
                      <a:gd name="connsiteX34" fmla="*/ 552340 w 4460800"/>
                      <a:gd name="connsiteY34" fmla="*/ 3657600 h 4429294"/>
                      <a:gd name="connsiteX35" fmla="*/ 406290 w 4460800"/>
                      <a:gd name="connsiteY35" fmla="*/ 3470275 h 4429294"/>
                      <a:gd name="connsiteX36" fmla="*/ 276115 w 4460800"/>
                      <a:gd name="connsiteY36" fmla="*/ 3244850 h 4429294"/>
                      <a:gd name="connsiteX37" fmla="*/ 123715 w 4460800"/>
                      <a:gd name="connsiteY37" fmla="*/ 2892425 h 4429294"/>
                      <a:gd name="connsiteX38" fmla="*/ 15765 w 4460800"/>
                      <a:gd name="connsiteY38" fmla="*/ 2368550 h 4429294"/>
                      <a:gd name="connsiteX39" fmla="*/ 22115 w 4460800"/>
                      <a:gd name="connsiteY39" fmla="*/ 1870075 h 4429294"/>
                      <a:gd name="connsiteX40" fmla="*/ 184040 w 4460800"/>
                      <a:gd name="connsiteY40" fmla="*/ 1320800 h 4429294"/>
                      <a:gd name="connsiteX41" fmla="*/ 288815 w 4460800"/>
                      <a:gd name="connsiteY41" fmla="*/ 1114425 h 4429294"/>
                      <a:gd name="connsiteX42" fmla="*/ 609490 w 4460800"/>
                      <a:gd name="connsiteY42" fmla="*/ 676275 h 4429294"/>
                      <a:gd name="connsiteX43" fmla="*/ 828565 w 4460800"/>
                      <a:gd name="connsiteY43" fmla="*/ 504825 h 4429294"/>
                      <a:gd name="connsiteX44" fmla="*/ 1107965 w 4460800"/>
                      <a:gd name="connsiteY44" fmla="*/ 311150 h 4429294"/>
                      <a:gd name="connsiteX45" fmla="*/ 1466740 w 4460800"/>
                      <a:gd name="connsiteY45" fmla="*/ 152400 h 4429294"/>
                      <a:gd name="connsiteX46" fmla="*/ 1581040 w 4460800"/>
                      <a:gd name="connsiteY46" fmla="*/ 111125 h 4429294"/>
                      <a:gd name="connsiteX47" fmla="*/ 2212865 w 4460800"/>
                      <a:gd name="connsiteY47" fmla="*/ 12700 h 4429294"/>
                      <a:gd name="connsiteX48" fmla="*/ 2238265 w 4460800"/>
                      <a:gd name="connsiteY48" fmla="*/ 0 h 4429294"/>
                      <a:gd name="connsiteX49" fmla="*/ 2236472 w 4460800"/>
                      <a:gd name="connsiteY49" fmla="*/ 504825 h 4429294"/>
                      <a:gd name="connsiteX50" fmla="*/ 2216862 w 4460800"/>
                      <a:gd name="connsiteY50" fmla="*/ 514630 h 4429294"/>
                      <a:gd name="connsiteX51" fmla="*/ 1729061 w 4460800"/>
                      <a:gd name="connsiteY51" fmla="*/ 590619 h 4429294"/>
                      <a:gd name="connsiteX52" fmla="*/ 1640815 w 4460800"/>
                      <a:gd name="connsiteY52" fmla="*/ 622486 h 4429294"/>
                      <a:gd name="connsiteX53" fmla="*/ 1363822 w 4460800"/>
                      <a:gd name="connsiteY53" fmla="*/ 745049 h 4429294"/>
                      <a:gd name="connsiteX54" fmla="*/ 1148111 w 4460800"/>
                      <a:gd name="connsiteY54" fmla="*/ 894576 h 4429294"/>
                      <a:gd name="connsiteX55" fmla="*/ 978974 w 4460800"/>
                      <a:gd name="connsiteY55" fmla="*/ 1026944 h 4429294"/>
                      <a:gd name="connsiteX56" fmla="*/ 731396 w 4460800"/>
                      <a:gd name="connsiteY56" fmla="*/ 1365219 h 4429294"/>
                      <a:gd name="connsiteX57" fmla="*/ 650504 w 4460800"/>
                      <a:gd name="connsiteY57" fmla="*/ 1524551 h 4429294"/>
                      <a:gd name="connsiteX58" fmla="*/ 525490 w 4460800"/>
                      <a:gd name="connsiteY58" fmla="*/ 1948620 h 4429294"/>
                      <a:gd name="connsiteX59" fmla="*/ 520587 w 4460800"/>
                      <a:gd name="connsiteY59" fmla="*/ 2333468 h 4429294"/>
                      <a:gd name="connsiteX60" fmla="*/ 603930 w 4460800"/>
                      <a:gd name="connsiteY60" fmla="*/ 2737927 h 4429294"/>
                      <a:gd name="connsiteX61" fmla="*/ 721591 w 4460800"/>
                      <a:gd name="connsiteY61" fmla="*/ 3010017 h 4429294"/>
                      <a:gd name="connsiteX62" fmla="*/ 822093 w 4460800"/>
                      <a:gd name="connsiteY62" fmla="*/ 3184057 h 4429294"/>
                      <a:gd name="connsiteX63" fmla="*/ 934851 w 4460800"/>
                      <a:gd name="connsiteY63" fmla="*/ 3328681 h 4429294"/>
                      <a:gd name="connsiteX64" fmla="*/ 1192234 w 4460800"/>
                      <a:gd name="connsiteY64" fmla="*/ 3568905 h 4429294"/>
                      <a:gd name="connsiteX65" fmla="*/ 1361371 w 4460800"/>
                      <a:gd name="connsiteY65" fmla="*/ 3679212 h 4429294"/>
                      <a:gd name="connsiteX66" fmla="*/ 1491288 w 4460800"/>
                      <a:gd name="connsiteY66" fmla="*/ 3760104 h 4429294"/>
                      <a:gd name="connsiteX67" fmla="*/ 1677584 w 4460800"/>
                      <a:gd name="connsiteY67" fmla="*/ 3828739 h 4429294"/>
                      <a:gd name="connsiteX68" fmla="*/ 1957028 w 4460800"/>
                      <a:gd name="connsiteY68" fmla="*/ 3902277 h 4429294"/>
                      <a:gd name="connsiteX69" fmla="*/ 2104104 w 4460800"/>
                      <a:gd name="connsiteY69" fmla="*/ 3924339 h 4429294"/>
                      <a:gd name="connsiteX70" fmla="*/ 2454635 w 4460800"/>
                      <a:gd name="connsiteY70" fmla="*/ 3894923 h 4429294"/>
                      <a:gd name="connsiteX71" fmla="*/ 2633577 w 4460800"/>
                      <a:gd name="connsiteY71" fmla="*/ 3880216 h 4429294"/>
                      <a:gd name="connsiteX72" fmla="*/ 2729176 w 4460800"/>
                      <a:gd name="connsiteY72" fmla="*/ 3850801 h 4429294"/>
                      <a:gd name="connsiteX73" fmla="*/ 2832129 w 4460800"/>
                      <a:gd name="connsiteY73" fmla="*/ 3814032 h 4429294"/>
                      <a:gd name="connsiteX74" fmla="*/ 2949790 w 4460800"/>
                      <a:gd name="connsiteY74" fmla="*/ 3765006 h 4429294"/>
                      <a:gd name="connsiteX75" fmla="*/ 3177758 w 4460800"/>
                      <a:gd name="connsiteY75" fmla="*/ 3657151 h 4429294"/>
                      <a:gd name="connsiteX76" fmla="*/ 3288065 w 4460800"/>
                      <a:gd name="connsiteY76" fmla="*/ 3571357 h 4429294"/>
                      <a:gd name="connsiteX77" fmla="*/ 3516032 w 4460800"/>
                      <a:gd name="connsiteY77" fmla="*/ 3321328 h 4429294"/>
                      <a:gd name="connsiteX78" fmla="*/ 3596924 w 4460800"/>
                      <a:gd name="connsiteY78" fmla="*/ 3233082 h 4429294"/>
                      <a:gd name="connsiteX79" fmla="*/ 3692523 w 4460800"/>
                      <a:gd name="connsiteY79" fmla="*/ 3130129 h 4429294"/>
                      <a:gd name="connsiteX80" fmla="*/ 3766061 w 4460800"/>
                      <a:gd name="connsiteY80" fmla="*/ 3012468 h 4429294"/>
                      <a:gd name="connsiteX81" fmla="*/ 3846953 w 4460800"/>
                      <a:gd name="connsiteY81" fmla="*/ 2813916 h 4429294"/>
                      <a:gd name="connsiteX82" fmla="*/ 3895978 w 4460800"/>
                      <a:gd name="connsiteY82" fmla="*/ 2642327 h 4429294"/>
                      <a:gd name="connsiteX83" fmla="*/ 3952357 w 4460800"/>
                      <a:gd name="connsiteY83" fmla="*/ 2188844 h 4429294"/>
                      <a:gd name="connsiteX84" fmla="*/ 3883722 w 4460800"/>
                      <a:gd name="connsiteY84" fmla="*/ 1806446 h 4429294"/>
                      <a:gd name="connsiteX85" fmla="*/ 3854307 w 4460800"/>
                      <a:gd name="connsiteY85" fmla="*/ 1703493 h 4429294"/>
                      <a:gd name="connsiteX86" fmla="*/ 3817538 w 4460800"/>
                      <a:gd name="connsiteY86" fmla="*/ 1556418 h 4429294"/>
                      <a:gd name="connsiteX87" fmla="*/ 3788122 w 4460800"/>
                      <a:gd name="connsiteY87" fmla="*/ 1482880 h 4429294"/>
                      <a:gd name="connsiteX88" fmla="*/ 3744000 w 4460800"/>
                      <a:gd name="connsiteY88" fmla="*/ 1387280 h 4429294"/>
                      <a:gd name="connsiteX89" fmla="*/ 3677816 w 4460800"/>
                      <a:gd name="connsiteY89" fmla="*/ 1269620 h 4429294"/>
                      <a:gd name="connsiteX90" fmla="*/ 3572411 w 4460800"/>
                      <a:gd name="connsiteY90" fmla="*/ 1137251 h 4429294"/>
                      <a:gd name="connsiteX91" fmla="*/ 3405725 w 4460800"/>
                      <a:gd name="connsiteY91" fmla="*/ 953406 h 4429294"/>
                      <a:gd name="connsiteX92" fmla="*/ 3104220 w 4460800"/>
                      <a:gd name="connsiteY92" fmla="*/ 754854 h 4429294"/>
                      <a:gd name="connsiteX93" fmla="*/ 2964498 w 4460800"/>
                      <a:gd name="connsiteY93" fmla="*/ 681316 h 4429294"/>
                      <a:gd name="connsiteX94" fmla="*/ 2883606 w 4460800"/>
                      <a:gd name="connsiteY94" fmla="*/ 637193 h 4429294"/>
                      <a:gd name="connsiteX95" fmla="*/ 2714469 w 4460800"/>
                      <a:gd name="connsiteY95" fmla="*/ 571009 h 4429294"/>
                      <a:gd name="connsiteX96" fmla="*/ 2486501 w 4460800"/>
                      <a:gd name="connsiteY96" fmla="*/ 517081 h 4429294"/>
                      <a:gd name="connsiteX97" fmla="*/ 2236472 w 4460800"/>
                      <a:gd name="connsiteY97" fmla="*/ 504825 h 442929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</a:cxnLst>
                    <a:rect l="l" t="t" r="r" b="b"/>
                    <a:pathLst>
                      <a:path w="4460800" h="4429294">
                        <a:moveTo>
                          <a:pt x="2238265" y="0"/>
                        </a:moveTo>
                        <a:cubicBezTo>
                          <a:pt x="2346215" y="5292"/>
                          <a:pt x="2458928" y="1588"/>
                          <a:pt x="2562115" y="15875"/>
                        </a:cubicBezTo>
                        <a:cubicBezTo>
                          <a:pt x="2665302" y="30162"/>
                          <a:pt x="2798653" y="69321"/>
                          <a:pt x="2857390" y="85725"/>
                        </a:cubicBezTo>
                        <a:cubicBezTo>
                          <a:pt x="2943115" y="111654"/>
                          <a:pt x="3033603" y="153988"/>
                          <a:pt x="3076465" y="171450"/>
                        </a:cubicBezTo>
                        <a:cubicBezTo>
                          <a:pt x="3130440" y="195262"/>
                          <a:pt x="3133615" y="203200"/>
                          <a:pt x="3181240" y="228600"/>
                        </a:cubicBezTo>
                        <a:cubicBezTo>
                          <a:pt x="3228865" y="254000"/>
                          <a:pt x="3266965" y="265113"/>
                          <a:pt x="3362215" y="323850"/>
                        </a:cubicBezTo>
                        <a:cubicBezTo>
                          <a:pt x="3457465" y="382588"/>
                          <a:pt x="3651669" y="498475"/>
                          <a:pt x="3752740" y="581025"/>
                        </a:cubicBezTo>
                        <a:cubicBezTo>
                          <a:pt x="3853811" y="663575"/>
                          <a:pt x="3909903" y="750888"/>
                          <a:pt x="3968640" y="819150"/>
                        </a:cubicBezTo>
                        <a:cubicBezTo>
                          <a:pt x="4027378" y="887413"/>
                          <a:pt x="4068123" y="936625"/>
                          <a:pt x="4105165" y="990600"/>
                        </a:cubicBezTo>
                        <a:cubicBezTo>
                          <a:pt x="4142207" y="1044575"/>
                          <a:pt x="4175015" y="1109663"/>
                          <a:pt x="4190890" y="1143000"/>
                        </a:cubicBezTo>
                        <a:cubicBezTo>
                          <a:pt x="4214703" y="1189038"/>
                          <a:pt x="4232165" y="1230313"/>
                          <a:pt x="4248040" y="1266825"/>
                        </a:cubicBezTo>
                        <a:cubicBezTo>
                          <a:pt x="4263915" y="1303338"/>
                          <a:pt x="4271853" y="1314450"/>
                          <a:pt x="4286140" y="1362075"/>
                        </a:cubicBezTo>
                        <a:cubicBezTo>
                          <a:pt x="4300427" y="1409700"/>
                          <a:pt x="4319478" y="1498600"/>
                          <a:pt x="4333765" y="1552575"/>
                        </a:cubicBezTo>
                        <a:cubicBezTo>
                          <a:pt x="4348053" y="1606550"/>
                          <a:pt x="4350698" y="1581150"/>
                          <a:pt x="4371865" y="1685925"/>
                        </a:cubicBezTo>
                        <a:cubicBezTo>
                          <a:pt x="4393032" y="1790700"/>
                          <a:pt x="4459178" y="1982788"/>
                          <a:pt x="4460765" y="2181225"/>
                        </a:cubicBezTo>
                        <a:cubicBezTo>
                          <a:pt x="4462352" y="2379662"/>
                          <a:pt x="4410494" y="2633663"/>
                          <a:pt x="4387740" y="2768600"/>
                        </a:cubicBezTo>
                        <a:cubicBezTo>
                          <a:pt x="4364986" y="2903537"/>
                          <a:pt x="4352286" y="2910946"/>
                          <a:pt x="4324240" y="2990850"/>
                        </a:cubicBezTo>
                        <a:cubicBezTo>
                          <a:pt x="4296194" y="3070754"/>
                          <a:pt x="4252802" y="3179763"/>
                          <a:pt x="4219465" y="3248025"/>
                        </a:cubicBezTo>
                        <a:cubicBezTo>
                          <a:pt x="4186128" y="3316287"/>
                          <a:pt x="4160728" y="3352800"/>
                          <a:pt x="4124215" y="3400425"/>
                        </a:cubicBezTo>
                        <a:cubicBezTo>
                          <a:pt x="4087703" y="3448050"/>
                          <a:pt x="4038490" y="3492500"/>
                          <a:pt x="4000390" y="3533775"/>
                        </a:cubicBezTo>
                        <a:lnTo>
                          <a:pt x="3895615" y="3648075"/>
                        </a:lnTo>
                        <a:cubicBezTo>
                          <a:pt x="3797190" y="3756025"/>
                          <a:pt x="3673365" y="3899429"/>
                          <a:pt x="3600340" y="3971925"/>
                        </a:cubicBezTo>
                        <a:cubicBezTo>
                          <a:pt x="3527315" y="4044421"/>
                          <a:pt x="3530490" y="4041246"/>
                          <a:pt x="3457465" y="4083050"/>
                        </a:cubicBezTo>
                        <a:cubicBezTo>
                          <a:pt x="3384440" y="4124854"/>
                          <a:pt x="3236802" y="4188883"/>
                          <a:pt x="3162190" y="4222750"/>
                        </a:cubicBezTo>
                        <a:cubicBezTo>
                          <a:pt x="3087578" y="4256617"/>
                          <a:pt x="3038173" y="4283885"/>
                          <a:pt x="3009790" y="4286250"/>
                        </a:cubicBezTo>
                        <a:cubicBezTo>
                          <a:pt x="2947977" y="4310975"/>
                          <a:pt x="2954113" y="4309602"/>
                          <a:pt x="2876440" y="4333875"/>
                        </a:cubicBezTo>
                        <a:cubicBezTo>
                          <a:pt x="2853306" y="4341104"/>
                          <a:pt x="2811882" y="4362450"/>
                          <a:pt x="2752615" y="4371975"/>
                        </a:cubicBezTo>
                        <a:cubicBezTo>
                          <a:pt x="2693348" y="4381500"/>
                          <a:pt x="2635140" y="4381500"/>
                          <a:pt x="2520840" y="4391025"/>
                        </a:cubicBezTo>
                        <a:cubicBezTo>
                          <a:pt x="2406540" y="4400550"/>
                          <a:pt x="2174236" y="4427538"/>
                          <a:pt x="2066815" y="4429125"/>
                        </a:cubicBezTo>
                        <a:cubicBezTo>
                          <a:pt x="1959394" y="4430712"/>
                          <a:pt x="1968390" y="4421187"/>
                          <a:pt x="1876315" y="4400550"/>
                        </a:cubicBezTo>
                        <a:cubicBezTo>
                          <a:pt x="1784240" y="4379913"/>
                          <a:pt x="1614907" y="4335992"/>
                          <a:pt x="1514365" y="4305300"/>
                        </a:cubicBezTo>
                        <a:cubicBezTo>
                          <a:pt x="1413823" y="4274608"/>
                          <a:pt x="1353498" y="4246033"/>
                          <a:pt x="1273065" y="4216400"/>
                        </a:cubicBezTo>
                        <a:cubicBezTo>
                          <a:pt x="1206390" y="4187825"/>
                          <a:pt x="1169348" y="4152900"/>
                          <a:pt x="1104790" y="4111625"/>
                        </a:cubicBezTo>
                        <a:cubicBezTo>
                          <a:pt x="1040232" y="4070350"/>
                          <a:pt x="977790" y="4044421"/>
                          <a:pt x="885715" y="3968750"/>
                        </a:cubicBezTo>
                        <a:cubicBezTo>
                          <a:pt x="793640" y="3893079"/>
                          <a:pt x="632244" y="3740679"/>
                          <a:pt x="552340" y="3657600"/>
                        </a:cubicBezTo>
                        <a:cubicBezTo>
                          <a:pt x="472436" y="3574521"/>
                          <a:pt x="452327" y="3539067"/>
                          <a:pt x="406290" y="3470275"/>
                        </a:cubicBezTo>
                        <a:cubicBezTo>
                          <a:pt x="360253" y="3401483"/>
                          <a:pt x="323211" y="3341158"/>
                          <a:pt x="276115" y="3244850"/>
                        </a:cubicBezTo>
                        <a:cubicBezTo>
                          <a:pt x="229019" y="3148542"/>
                          <a:pt x="167107" y="3038475"/>
                          <a:pt x="123715" y="2892425"/>
                        </a:cubicBezTo>
                        <a:cubicBezTo>
                          <a:pt x="80323" y="2746375"/>
                          <a:pt x="37990" y="2553758"/>
                          <a:pt x="15765" y="2368550"/>
                        </a:cubicBezTo>
                        <a:cubicBezTo>
                          <a:pt x="-6460" y="2183342"/>
                          <a:pt x="-5931" y="2044700"/>
                          <a:pt x="22115" y="1870075"/>
                        </a:cubicBezTo>
                        <a:cubicBezTo>
                          <a:pt x="50161" y="1695450"/>
                          <a:pt x="139590" y="1446742"/>
                          <a:pt x="184040" y="1320800"/>
                        </a:cubicBezTo>
                        <a:cubicBezTo>
                          <a:pt x="228490" y="1194858"/>
                          <a:pt x="217907" y="1221846"/>
                          <a:pt x="288815" y="1114425"/>
                        </a:cubicBezTo>
                        <a:cubicBezTo>
                          <a:pt x="359723" y="1007004"/>
                          <a:pt x="519532" y="777875"/>
                          <a:pt x="609490" y="676275"/>
                        </a:cubicBezTo>
                        <a:cubicBezTo>
                          <a:pt x="699448" y="574675"/>
                          <a:pt x="745486" y="565679"/>
                          <a:pt x="828565" y="504825"/>
                        </a:cubicBezTo>
                        <a:cubicBezTo>
                          <a:pt x="911644" y="443971"/>
                          <a:pt x="997898" y="379942"/>
                          <a:pt x="1107965" y="311150"/>
                        </a:cubicBezTo>
                        <a:cubicBezTo>
                          <a:pt x="1214328" y="252413"/>
                          <a:pt x="1387894" y="185737"/>
                          <a:pt x="1466740" y="152400"/>
                        </a:cubicBezTo>
                        <a:cubicBezTo>
                          <a:pt x="1545586" y="119063"/>
                          <a:pt x="1456686" y="134408"/>
                          <a:pt x="1581040" y="111125"/>
                        </a:cubicBezTo>
                        <a:cubicBezTo>
                          <a:pt x="1810698" y="67733"/>
                          <a:pt x="1945107" y="-7408"/>
                          <a:pt x="2212865" y="12700"/>
                        </a:cubicBezTo>
                        <a:lnTo>
                          <a:pt x="2238265" y="0"/>
                        </a:lnTo>
                        <a:close/>
                        <a:moveTo>
                          <a:pt x="2236472" y="504825"/>
                        </a:moveTo>
                        <a:lnTo>
                          <a:pt x="2216862" y="514630"/>
                        </a:lnTo>
                        <a:cubicBezTo>
                          <a:pt x="2010139" y="499106"/>
                          <a:pt x="1906368" y="557119"/>
                          <a:pt x="1729061" y="590619"/>
                        </a:cubicBezTo>
                        <a:cubicBezTo>
                          <a:pt x="1633053" y="608595"/>
                          <a:pt x="1701688" y="596748"/>
                          <a:pt x="1640815" y="622486"/>
                        </a:cubicBezTo>
                        <a:cubicBezTo>
                          <a:pt x="1579942" y="648224"/>
                          <a:pt x="1445940" y="699701"/>
                          <a:pt x="1363822" y="745049"/>
                        </a:cubicBezTo>
                        <a:cubicBezTo>
                          <a:pt x="1278845" y="798160"/>
                          <a:pt x="1212252" y="847594"/>
                          <a:pt x="1148111" y="894576"/>
                        </a:cubicBezTo>
                        <a:cubicBezTo>
                          <a:pt x="1083970" y="941559"/>
                          <a:pt x="1048426" y="948504"/>
                          <a:pt x="978974" y="1026944"/>
                        </a:cubicBezTo>
                        <a:cubicBezTo>
                          <a:pt x="909522" y="1105385"/>
                          <a:pt x="786141" y="1282284"/>
                          <a:pt x="731396" y="1365219"/>
                        </a:cubicBezTo>
                        <a:cubicBezTo>
                          <a:pt x="676651" y="1448153"/>
                          <a:pt x="684822" y="1427317"/>
                          <a:pt x="650504" y="1524551"/>
                        </a:cubicBezTo>
                        <a:cubicBezTo>
                          <a:pt x="616187" y="1621785"/>
                          <a:pt x="547143" y="1813800"/>
                          <a:pt x="525490" y="1948620"/>
                        </a:cubicBezTo>
                        <a:cubicBezTo>
                          <a:pt x="503837" y="2083439"/>
                          <a:pt x="503429" y="2190478"/>
                          <a:pt x="520587" y="2333468"/>
                        </a:cubicBezTo>
                        <a:cubicBezTo>
                          <a:pt x="537746" y="2476458"/>
                          <a:pt x="570430" y="2625169"/>
                          <a:pt x="603930" y="2737927"/>
                        </a:cubicBezTo>
                        <a:cubicBezTo>
                          <a:pt x="637431" y="2850685"/>
                          <a:pt x="685231" y="2935662"/>
                          <a:pt x="721591" y="3010017"/>
                        </a:cubicBezTo>
                        <a:cubicBezTo>
                          <a:pt x="757952" y="3084372"/>
                          <a:pt x="786550" y="3130946"/>
                          <a:pt x="822093" y="3184057"/>
                        </a:cubicBezTo>
                        <a:cubicBezTo>
                          <a:pt x="857636" y="3237168"/>
                          <a:pt x="873161" y="3264540"/>
                          <a:pt x="934851" y="3328681"/>
                        </a:cubicBezTo>
                        <a:cubicBezTo>
                          <a:pt x="996541" y="3392823"/>
                          <a:pt x="1121147" y="3510483"/>
                          <a:pt x="1192234" y="3568905"/>
                        </a:cubicBezTo>
                        <a:cubicBezTo>
                          <a:pt x="1263320" y="3627327"/>
                          <a:pt x="1311529" y="3647346"/>
                          <a:pt x="1361371" y="3679212"/>
                        </a:cubicBezTo>
                        <a:cubicBezTo>
                          <a:pt x="1411213" y="3711079"/>
                          <a:pt x="1439811" y="3738043"/>
                          <a:pt x="1491288" y="3760104"/>
                        </a:cubicBezTo>
                        <a:cubicBezTo>
                          <a:pt x="1553386" y="3782982"/>
                          <a:pt x="1599960" y="3805044"/>
                          <a:pt x="1677584" y="3828739"/>
                        </a:cubicBezTo>
                        <a:cubicBezTo>
                          <a:pt x="1755208" y="3852435"/>
                          <a:pt x="1885941" y="3886344"/>
                          <a:pt x="1957028" y="3902277"/>
                        </a:cubicBezTo>
                        <a:cubicBezTo>
                          <a:pt x="2028115" y="3918210"/>
                          <a:pt x="2021169" y="3925564"/>
                          <a:pt x="2104104" y="3924339"/>
                        </a:cubicBezTo>
                        <a:cubicBezTo>
                          <a:pt x="2187039" y="3923113"/>
                          <a:pt x="2366389" y="3902277"/>
                          <a:pt x="2454635" y="3894923"/>
                        </a:cubicBezTo>
                        <a:cubicBezTo>
                          <a:pt x="2542880" y="3887570"/>
                          <a:pt x="2587820" y="3887570"/>
                          <a:pt x="2633577" y="3880216"/>
                        </a:cubicBezTo>
                        <a:cubicBezTo>
                          <a:pt x="2679334" y="3872862"/>
                          <a:pt x="2711316" y="3856382"/>
                          <a:pt x="2729176" y="3850801"/>
                        </a:cubicBezTo>
                        <a:cubicBezTo>
                          <a:pt x="2789144" y="3832061"/>
                          <a:pt x="2784407" y="3833121"/>
                          <a:pt x="2832129" y="3814032"/>
                        </a:cubicBezTo>
                        <a:cubicBezTo>
                          <a:pt x="2854043" y="3812206"/>
                          <a:pt x="2892186" y="3791154"/>
                          <a:pt x="2949790" y="3765006"/>
                        </a:cubicBezTo>
                        <a:cubicBezTo>
                          <a:pt x="3007394" y="3738859"/>
                          <a:pt x="3121379" y="3689426"/>
                          <a:pt x="3177758" y="3657151"/>
                        </a:cubicBezTo>
                        <a:cubicBezTo>
                          <a:pt x="3234137" y="3624876"/>
                          <a:pt x="3231685" y="3627327"/>
                          <a:pt x="3288065" y="3571357"/>
                        </a:cubicBezTo>
                        <a:cubicBezTo>
                          <a:pt x="3344444" y="3515386"/>
                          <a:pt x="3440043" y="3404671"/>
                          <a:pt x="3516032" y="3321328"/>
                        </a:cubicBezTo>
                        <a:lnTo>
                          <a:pt x="3596924" y="3233082"/>
                        </a:lnTo>
                        <a:cubicBezTo>
                          <a:pt x="3626339" y="3201216"/>
                          <a:pt x="3664334" y="3166898"/>
                          <a:pt x="3692523" y="3130129"/>
                        </a:cubicBezTo>
                        <a:cubicBezTo>
                          <a:pt x="3720713" y="3093360"/>
                          <a:pt x="3740323" y="3065170"/>
                          <a:pt x="3766061" y="3012468"/>
                        </a:cubicBezTo>
                        <a:cubicBezTo>
                          <a:pt x="3791799" y="2959767"/>
                          <a:pt x="3825300" y="2875606"/>
                          <a:pt x="3846953" y="2813916"/>
                        </a:cubicBezTo>
                        <a:cubicBezTo>
                          <a:pt x="3868606" y="2752226"/>
                          <a:pt x="3878411" y="2746506"/>
                          <a:pt x="3895978" y="2642327"/>
                        </a:cubicBezTo>
                        <a:cubicBezTo>
                          <a:pt x="3913545" y="2538149"/>
                          <a:pt x="3953582" y="2342047"/>
                          <a:pt x="3952357" y="2188844"/>
                        </a:cubicBezTo>
                        <a:cubicBezTo>
                          <a:pt x="3951132" y="2035640"/>
                          <a:pt x="3900064" y="1887338"/>
                          <a:pt x="3883722" y="1806446"/>
                        </a:cubicBezTo>
                        <a:cubicBezTo>
                          <a:pt x="3867380" y="1725555"/>
                          <a:pt x="3865338" y="1745165"/>
                          <a:pt x="3854307" y="1703493"/>
                        </a:cubicBezTo>
                        <a:cubicBezTo>
                          <a:pt x="3843276" y="1661822"/>
                          <a:pt x="3828568" y="1593186"/>
                          <a:pt x="3817538" y="1556418"/>
                        </a:cubicBezTo>
                        <a:cubicBezTo>
                          <a:pt x="3806507" y="1519649"/>
                          <a:pt x="3800379" y="1511069"/>
                          <a:pt x="3788122" y="1482880"/>
                        </a:cubicBezTo>
                        <a:cubicBezTo>
                          <a:pt x="3775866" y="1454690"/>
                          <a:pt x="3762385" y="1422824"/>
                          <a:pt x="3744000" y="1387280"/>
                        </a:cubicBezTo>
                        <a:cubicBezTo>
                          <a:pt x="3731743" y="1361542"/>
                          <a:pt x="3706414" y="1311291"/>
                          <a:pt x="3677816" y="1269620"/>
                        </a:cubicBezTo>
                        <a:cubicBezTo>
                          <a:pt x="3649217" y="1227948"/>
                          <a:pt x="3617760" y="1189954"/>
                          <a:pt x="3572411" y="1137251"/>
                        </a:cubicBezTo>
                        <a:cubicBezTo>
                          <a:pt x="3527063" y="1084550"/>
                          <a:pt x="3483757" y="1017139"/>
                          <a:pt x="3405725" y="953406"/>
                        </a:cubicBezTo>
                        <a:cubicBezTo>
                          <a:pt x="3327693" y="889674"/>
                          <a:pt x="3177758" y="800203"/>
                          <a:pt x="3104220" y="754854"/>
                        </a:cubicBezTo>
                        <a:cubicBezTo>
                          <a:pt x="3030682" y="709506"/>
                          <a:pt x="3001267" y="700926"/>
                          <a:pt x="2964498" y="681316"/>
                        </a:cubicBezTo>
                        <a:cubicBezTo>
                          <a:pt x="2927729" y="661706"/>
                          <a:pt x="2925277" y="655577"/>
                          <a:pt x="2883606" y="637193"/>
                        </a:cubicBezTo>
                        <a:cubicBezTo>
                          <a:pt x="2850514" y="623712"/>
                          <a:pt x="2780653" y="591028"/>
                          <a:pt x="2714469" y="571009"/>
                        </a:cubicBezTo>
                        <a:cubicBezTo>
                          <a:pt x="2669121" y="558345"/>
                          <a:pt x="2566167" y="528112"/>
                          <a:pt x="2486501" y="517081"/>
                        </a:cubicBezTo>
                        <a:cubicBezTo>
                          <a:pt x="2406836" y="506051"/>
                          <a:pt x="2319815" y="508911"/>
                          <a:pt x="2236472" y="504825"/>
                        </a:cubicBezTo>
                        <a:close/>
                      </a:path>
                    </a:pathLst>
                  </a:custGeom>
                  <a:solidFill>
                    <a:srgbClr val="FBCCD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15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da-DK"/>
                  </a:p>
                </p:txBody>
              </p:sp>
              <p:grpSp>
                <p:nvGrpSpPr>
                  <p:cNvPr id="181" name="Group 180">
                    <a:extLst>
                      <a:ext uri="{FF2B5EF4-FFF2-40B4-BE49-F238E27FC236}">
                        <a16:creationId xmlns:a16="http://schemas.microsoft.com/office/drawing/2014/main" id="{6EF180FC-6339-7659-F9D7-5BEE27C00551}"/>
                      </a:ext>
                    </a:extLst>
                  </p:cNvPr>
                  <p:cNvGrpSpPr/>
                  <p:nvPr/>
                </p:nvGrpSpPr>
                <p:grpSpPr>
                  <a:xfrm>
                    <a:off x="7665981" y="1836050"/>
                    <a:ext cx="2140776" cy="4110172"/>
                    <a:chOff x="65219" y="1726967"/>
                    <a:chExt cx="2140776" cy="4110172"/>
                  </a:xfrm>
                </p:grpSpPr>
                <p:sp>
                  <p:nvSpPr>
                    <p:cNvPr id="182" name="Freeform: Shape 181">
                      <a:extLst>
                        <a:ext uri="{FF2B5EF4-FFF2-40B4-BE49-F238E27FC236}">
                          <a16:creationId xmlns:a16="http://schemas.microsoft.com/office/drawing/2014/main" id="{4AF7E2F1-3540-524E-EEEA-E3610F4618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851585" y="1726967"/>
                      <a:ext cx="1354410" cy="873083"/>
                    </a:xfrm>
                    <a:custGeom>
                      <a:avLst/>
                      <a:gdLst>
                        <a:gd name="connsiteX0" fmla="*/ 1331894 w 1354410"/>
                        <a:gd name="connsiteY0" fmla="*/ 0 h 873083"/>
                        <a:gd name="connsiteX1" fmla="*/ 1354410 w 1354410"/>
                        <a:gd name="connsiteY1" fmla="*/ 791 h 873083"/>
                        <a:gd name="connsiteX2" fmla="*/ 1343830 w 1354410"/>
                        <a:gd name="connsiteY2" fmla="*/ 503350 h 873083"/>
                        <a:gd name="connsiteX3" fmla="*/ 1292000 w 1354410"/>
                        <a:gd name="connsiteY3" fmla="*/ 505867 h 873083"/>
                        <a:gd name="connsiteX4" fmla="*/ 942695 w 1354410"/>
                        <a:gd name="connsiteY4" fmla="*/ 581243 h 873083"/>
                        <a:gd name="connsiteX5" fmla="*/ 854449 w 1354410"/>
                        <a:gd name="connsiteY5" fmla="*/ 613110 h 873083"/>
                        <a:gd name="connsiteX6" fmla="*/ 577456 w 1354410"/>
                        <a:gd name="connsiteY6" fmla="*/ 735673 h 873083"/>
                        <a:gd name="connsiteX7" fmla="*/ 461787 w 1354410"/>
                        <a:gd name="connsiteY7" fmla="*/ 812735 h 873083"/>
                        <a:gd name="connsiteX8" fmla="*/ 426371 w 1354410"/>
                        <a:gd name="connsiteY8" fmla="*/ 838389 h 873083"/>
                        <a:gd name="connsiteX9" fmla="*/ 426371 w 1354410"/>
                        <a:gd name="connsiteY9" fmla="*/ 838388 h 873083"/>
                        <a:gd name="connsiteX10" fmla="*/ 378472 w 1354410"/>
                        <a:gd name="connsiteY10" fmla="*/ 873083 h 873083"/>
                        <a:gd name="connsiteX11" fmla="*/ 352490 w 1354410"/>
                        <a:gd name="connsiteY11" fmla="*/ 848865 h 873083"/>
                        <a:gd name="connsiteX12" fmla="*/ 32670 w 1354410"/>
                        <a:gd name="connsiteY12" fmla="*/ 554009 h 873083"/>
                        <a:gd name="connsiteX13" fmla="*/ 5731 w 1354410"/>
                        <a:gd name="connsiteY13" fmla="*/ 529188 h 873083"/>
                        <a:gd name="connsiteX14" fmla="*/ 0 w 1354410"/>
                        <a:gd name="connsiteY14" fmla="*/ 523895 h 873083"/>
                        <a:gd name="connsiteX15" fmla="*/ 42199 w 1354410"/>
                        <a:gd name="connsiteY15" fmla="*/ 495448 h 873083"/>
                        <a:gd name="connsiteX16" fmla="*/ 60433 w 1354410"/>
                        <a:gd name="connsiteY16" fmla="*/ 482241 h 873083"/>
                        <a:gd name="connsiteX17" fmla="*/ 60434 w 1354410"/>
                        <a:gd name="connsiteY17" fmla="*/ 482242 h 873083"/>
                        <a:gd name="connsiteX18" fmla="*/ 171779 w 1354410"/>
                        <a:gd name="connsiteY18" fmla="*/ 401588 h 873083"/>
                        <a:gd name="connsiteX19" fmla="*/ 321599 w 1354410"/>
                        <a:gd name="connsiteY19" fmla="*/ 301774 h 873083"/>
                        <a:gd name="connsiteX20" fmla="*/ 680374 w 1354410"/>
                        <a:gd name="connsiteY20" fmla="*/ 143024 h 873083"/>
                        <a:gd name="connsiteX21" fmla="*/ 794674 w 1354410"/>
                        <a:gd name="connsiteY21" fmla="*/ 101749 h 873083"/>
                        <a:gd name="connsiteX22" fmla="*/ 1331894 w 1354410"/>
                        <a:gd name="connsiteY22" fmla="*/ 0 h 873083"/>
                        <a:gd name="connsiteX0" fmla="*/ 1331894 w 1354410"/>
                        <a:gd name="connsiteY0" fmla="*/ 0 h 873083"/>
                        <a:gd name="connsiteX1" fmla="*/ 1354410 w 1354410"/>
                        <a:gd name="connsiteY1" fmla="*/ 791 h 873083"/>
                        <a:gd name="connsiteX2" fmla="*/ 1343830 w 1354410"/>
                        <a:gd name="connsiteY2" fmla="*/ 503350 h 873083"/>
                        <a:gd name="connsiteX3" fmla="*/ 1292000 w 1354410"/>
                        <a:gd name="connsiteY3" fmla="*/ 505867 h 873083"/>
                        <a:gd name="connsiteX4" fmla="*/ 942695 w 1354410"/>
                        <a:gd name="connsiteY4" fmla="*/ 581243 h 873083"/>
                        <a:gd name="connsiteX5" fmla="*/ 854449 w 1354410"/>
                        <a:gd name="connsiteY5" fmla="*/ 613110 h 873083"/>
                        <a:gd name="connsiteX6" fmla="*/ 577456 w 1354410"/>
                        <a:gd name="connsiteY6" fmla="*/ 735673 h 873083"/>
                        <a:gd name="connsiteX7" fmla="*/ 461787 w 1354410"/>
                        <a:gd name="connsiteY7" fmla="*/ 812735 h 873083"/>
                        <a:gd name="connsiteX8" fmla="*/ 426371 w 1354410"/>
                        <a:gd name="connsiteY8" fmla="*/ 838389 h 873083"/>
                        <a:gd name="connsiteX9" fmla="*/ 378472 w 1354410"/>
                        <a:gd name="connsiteY9" fmla="*/ 873083 h 873083"/>
                        <a:gd name="connsiteX10" fmla="*/ 352490 w 1354410"/>
                        <a:gd name="connsiteY10" fmla="*/ 848865 h 873083"/>
                        <a:gd name="connsiteX11" fmla="*/ 32670 w 1354410"/>
                        <a:gd name="connsiteY11" fmla="*/ 554009 h 873083"/>
                        <a:gd name="connsiteX12" fmla="*/ 5731 w 1354410"/>
                        <a:gd name="connsiteY12" fmla="*/ 529188 h 873083"/>
                        <a:gd name="connsiteX13" fmla="*/ 0 w 1354410"/>
                        <a:gd name="connsiteY13" fmla="*/ 523895 h 873083"/>
                        <a:gd name="connsiteX14" fmla="*/ 42199 w 1354410"/>
                        <a:gd name="connsiteY14" fmla="*/ 495448 h 873083"/>
                        <a:gd name="connsiteX15" fmla="*/ 60433 w 1354410"/>
                        <a:gd name="connsiteY15" fmla="*/ 482241 h 873083"/>
                        <a:gd name="connsiteX16" fmla="*/ 60434 w 1354410"/>
                        <a:gd name="connsiteY16" fmla="*/ 482242 h 873083"/>
                        <a:gd name="connsiteX17" fmla="*/ 171779 w 1354410"/>
                        <a:gd name="connsiteY17" fmla="*/ 401588 h 873083"/>
                        <a:gd name="connsiteX18" fmla="*/ 321599 w 1354410"/>
                        <a:gd name="connsiteY18" fmla="*/ 301774 h 873083"/>
                        <a:gd name="connsiteX19" fmla="*/ 680374 w 1354410"/>
                        <a:gd name="connsiteY19" fmla="*/ 143024 h 873083"/>
                        <a:gd name="connsiteX20" fmla="*/ 794674 w 1354410"/>
                        <a:gd name="connsiteY20" fmla="*/ 101749 h 873083"/>
                        <a:gd name="connsiteX21" fmla="*/ 1331894 w 1354410"/>
                        <a:gd name="connsiteY21" fmla="*/ 0 h 873083"/>
                        <a:gd name="connsiteX0" fmla="*/ 1331894 w 1354410"/>
                        <a:gd name="connsiteY0" fmla="*/ 0 h 873083"/>
                        <a:gd name="connsiteX1" fmla="*/ 1354410 w 1354410"/>
                        <a:gd name="connsiteY1" fmla="*/ 791 h 873083"/>
                        <a:gd name="connsiteX2" fmla="*/ 1343830 w 1354410"/>
                        <a:gd name="connsiteY2" fmla="*/ 503350 h 873083"/>
                        <a:gd name="connsiteX3" fmla="*/ 1292000 w 1354410"/>
                        <a:gd name="connsiteY3" fmla="*/ 505867 h 873083"/>
                        <a:gd name="connsiteX4" fmla="*/ 942695 w 1354410"/>
                        <a:gd name="connsiteY4" fmla="*/ 581243 h 873083"/>
                        <a:gd name="connsiteX5" fmla="*/ 854449 w 1354410"/>
                        <a:gd name="connsiteY5" fmla="*/ 613110 h 873083"/>
                        <a:gd name="connsiteX6" fmla="*/ 577456 w 1354410"/>
                        <a:gd name="connsiteY6" fmla="*/ 735673 h 873083"/>
                        <a:gd name="connsiteX7" fmla="*/ 461787 w 1354410"/>
                        <a:gd name="connsiteY7" fmla="*/ 812735 h 873083"/>
                        <a:gd name="connsiteX8" fmla="*/ 378472 w 1354410"/>
                        <a:gd name="connsiteY8" fmla="*/ 873083 h 873083"/>
                        <a:gd name="connsiteX9" fmla="*/ 352490 w 1354410"/>
                        <a:gd name="connsiteY9" fmla="*/ 848865 h 873083"/>
                        <a:gd name="connsiteX10" fmla="*/ 32670 w 1354410"/>
                        <a:gd name="connsiteY10" fmla="*/ 554009 h 873083"/>
                        <a:gd name="connsiteX11" fmla="*/ 5731 w 1354410"/>
                        <a:gd name="connsiteY11" fmla="*/ 529188 h 873083"/>
                        <a:gd name="connsiteX12" fmla="*/ 0 w 1354410"/>
                        <a:gd name="connsiteY12" fmla="*/ 523895 h 873083"/>
                        <a:gd name="connsiteX13" fmla="*/ 42199 w 1354410"/>
                        <a:gd name="connsiteY13" fmla="*/ 495448 h 873083"/>
                        <a:gd name="connsiteX14" fmla="*/ 60433 w 1354410"/>
                        <a:gd name="connsiteY14" fmla="*/ 482241 h 873083"/>
                        <a:gd name="connsiteX15" fmla="*/ 60434 w 1354410"/>
                        <a:gd name="connsiteY15" fmla="*/ 482242 h 873083"/>
                        <a:gd name="connsiteX16" fmla="*/ 171779 w 1354410"/>
                        <a:gd name="connsiteY16" fmla="*/ 401588 h 873083"/>
                        <a:gd name="connsiteX17" fmla="*/ 321599 w 1354410"/>
                        <a:gd name="connsiteY17" fmla="*/ 301774 h 873083"/>
                        <a:gd name="connsiteX18" fmla="*/ 680374 w 1354410"/>
                        <a:gd name="connsiteY18" fmla="*/ 143024 h 873083"/>
                        <a:gd name="connsiteX19" fmla="*/ 794674 w 1354410"/>
                        <a:gd name="connsiteY19" fmla="*/ 101749 h 873083"/>
                        <a:gd name="connsiteX20" fmla="*/ 1331894 w 1354410"/>
                        <a:gd name="connsiteY20" fmla="*/ 0 h 873083"/>
                        <a:gd name="connsiteX0" fmla="*/ 1331894 w 1354410"/>
                        <a:gd name="connsiteY0" fmla="*/ 0 h 873083"/>
                        <a:gd name="connsiteX1" fmla="*/ 1354410 w 1354410"/>
                        <a:gd name="connsiteY1" fmla="*/ 791 h 873083"/>
                        <a:gd name="connsiteX2" fmla="*/ 1343830 w 1354410"/>
                        <a:gd name="connsiteY2" fmla="*/ 503350 h 873083"/>
                        <a:gd name="connsiteX3" fmla="*/ 1292000 w 1354410"/>
                        <a:gd name="connsiteY3" fmla="*/ 505867 h 873083"/>
                        <a:gd name="connsiteX4" fmla="*/ 942695 w 1354410"/>
                        <a:gd name="connsiteY4" fmla="*/ 581243 h 873083"/>
                        <a:gd name="connsiteX5" fmla="*/ 854449 w 1354410"/>
                        <a:gd name="connsiteY5" fmla="*/ 613110 h 873083"/>
                        <a:gd name="connsiteX6" fmla="*/ 577456 w 1354410"/>
                        <a:gd name="connsiteY6" fmla="*/ 735673 h 873083"/>
                        <a:gd name="connsiteX7" fmla="*/ 461787 w 1354410"/>
                        <a:gd name="connsiteY7" fmla="*/ 812735 h 873083"/>
                        <a:gd name="connsiteX8" fmla="*/ 378472 w 1354410"/>
                        <a:gd name="connsiteY8" fmla="*/ 873083 h 873083"/>
                        <a:gd name="connsiteX9" fmla="*/ 352490 w 1354410"/>
                        <a:gd name="connsiteY9" fmla="*/ 848865 h 873083"/>
                        <a:gd name="connsiteX10" fmla="*/ 32670 w 1354410"/>
                        <a:gd name="connsiteY10" fmla="*/ 554009 h 873083"/>
                        <a:gd name="connsiteX11" fmla="*/ 5731 w 1354410"/>
                        <a:gd name="connsiteY11" fmla="*/ 529188 h 873083"/>
                        <a:gd name="connsiteX12" fmla="*/ 0 w 1354410"/>
                        <a:gd name="connsiteY12" fmla="*/ 523895 h 873083"/>
                        <a:gd name="connsiteX13" fmla="*/ 42199 w 1354410"/>
                        <a:gd name="connsiteY13" fmla="*/ 495448 h 873083"/>
                        <a:gd name="connsiteX14" fmla="*/ 60433 w 1354410"/>
                        <a:gd name="connsiteY14" fmla="*/ 482241 h 873083"/>
                        <a:gd name="connsiteX15" fmla="*/ 171779 w 1354410"/>
                        <a:gd name="connsiteY15" fmla="*/ 401588 h 873083"/>
                        <a:gd name="connsiteX16" fmla="*/ 321599 w 1354410"/>
                        <a:gd name="connsiteY16" fmla="*/ 301774 h 873083"/>
                        <a:gd name="connsiteX17" fmla="*/ 680374 w 1354410"/>
                        <a:gd name="connsiteY17" fmla="*/ 143024 h 873083"/>
                        <a:gd name="connsiteX18" fmla="*/ 794674 w 1354410"/>
                        <a:gd name="connsiteY18" fmla="*/ 101749 h 873083"/>
                        <a:gd name="connsiteX19" fmla="*/ 1331894 w 1354410"/>
                        <a:gd name="connsiteY19" fmla="*/ 0 h 873083"/>
                        <a:gd name="connsiteX0" fmla="*/ 1331894 w 1354410"/>
                        <a:gd name="connsiteY0" fmla="*/ 0 h 873083"/>
                        <a:gd name="connsiteX1" fmla="*/ 1354410 w 1354410"/>
                        <a:gd name="connsiteY1" fmla="*/ 791 h 873083"/>
                        <a:gd name="connsiteX2" fmla="*/ 1343830 w 1354410"/>
                        <a:gd name="connsiteY2" fmla="*/ 503350 h 873083"/>
                        <a:gd name="connsiteX3" fmla="*/ 1292000 w 1354410"/>
                        <a:gd name="connsiteY3" fmla="*/ 505867 h 873083"/>
                        <a:gd name="connsiteX4" fmla="*/ 942695 w 1354410"/>
                        <a:gd name="connsiteY4" fmla="*/ 581243 h 873083"/>
                        <a:gd name="connsiteX5" fmla="*/ 854449 w 1354410"/>
                        <a:gd name="connsiteY5" fmla="*/ 613110 h 873083"/>
                        <a:gd name="connsiteX6" fmla="*/ 577456 w 1354410"/>
                        <a:gd name="connsiteY6" fmla="*/ 735673 h 873083"/>
                        <a:gd name="connsiteX7" fmla="*/ 461787 w 1354410"/>
                        <a:gd name="connsiteY7" fmla="*/ 812735 h 873083"/>
                        <a:gd name="connsiteX8" fmla="*/ 378472 w 1354410"/>
                        <a:gd name="connsiteY8" fmla="*/ 873083 h 873083"/>
                        <a:gd name="connsiteX9" fmla="*/ 352490 w 1354410"/>
                        <a:gd name="connsiteY9" fmla="*/ 848865 h 873083"/>
                        <a:gd name="connsiteX10" fmla="*/ 32670 w 1354410"/>
                        <a:gd name="connsiteY10" fmla="*/ 554009 h 873083"/>
                        <a:gd name="connsiteX11" fmla="*/ 5731 w 1354410"/>
                        <a:gd name="connsiteY11" fmla="*/ 529188 h 873083"/>
                        <a:gd name="connsiteX12" fmla="*/ 0 w 1354410"/>
                        <a:gd name="connsiteY12" fmla="*/ 523895 h 873083"/>
                        <a:gd name="connsiteX13" fmla="*/ 42199 w 1354410"/>
                        <a:gd name="connsiteY13" fmla="*/ 495448 h 873083"/>
                        <a:gd name="connsiteX14" fmla="*/ 171779 w 1354410"/>
                        <a:gd name="connsiteY14" fmla="*/ 401588 h 873083"/>
                        <a:gd name="connsiteX15" fmla="*/ 321599 w 1354410"/>
                        <a:gd name="connsiteY15" fmla="*/ 301774 h 873083"/>
                        <a:gd name="connsiteX16" fmla="*/ 680374 w 1354410"/>
                        <a:gd name="connsiteY16" fmla="*/ 143024 h 873083"/>
                        <a:gd name="connsiteX17" fmla="*/ 794674 w 1354410"/>
                        <a:gd name="connsiteY17" fmla="*/ 101749 h 873083"/>
                        <a:gd name="connsiteX18" fmla="*/ 1331894 w 1354410"/>
                        <a:gd name="connsiteY18" fmla="*/ 0 h 87308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</a:cxnLst>
                      <a:rect l="l" t="t" r="r" b="b"/>
                      <a:pathLst>
                        <a:path w="1354410" h="873083">
                          <a:moveTo>
                            <a:pt x="1331894" y="0"/>
                          </a:moveTo>
                          <a:lnTo>
                            <a:pt x="1354410" y="791"/>
                          </a:lnTo>
                          <a:lnTo>
                            <a:pt x="1343830" y="503350"/>
                          </a:lnTo>
                          <a:lnTo>
                            <a:pt x="1292000" y="505867"/>
                          </a:lnTo>
                          <a:cubicBezTo>
                            <a:pt x="1167292" y="517205"/>
                            <a:pt x="1075675" y="556118"/>
                            <a:pt x="942695" y="581243"/>
                          </a:cubicBezTo>
                          <a:cubicBezTo>
                            <a:pt x="846687" y="599219"/>
                            <a:pt x="915322" y="587372"/>
                            <a:pt x="854449" y="613110"/>
                          </a:cubicBezTo>
                          <a:cubicBezTo>
                            <a:pt x="793576" y="638848"/>
                            <a:pt x="659574" y="690325"/>
                            <a:pt x="577456" y="735673"/>
                          </a:cubicBezTo>
                          <a:cubicBezTo>
                            <a:pt x="534968" y="762229"/>
                            <a:pt x="497075" y="787865"/>
                            <a:pt x="461787" y="812735"/>
                          </a:cubicBezTo>
                          <a:lnTo>
                            <a:pt x="378472" y="873083"/>
                          </a:lnTo>
                          <a:lnTo>
                            <a:pt x="352490" y="848865"/>
                          </a:lnTo>
                          <a:lnTo>
                            <a:pt x="32670" y="554009"/>
                          </a:lnTo>
                          <a:lnTo>
                            <a:pt x="5731" y="529188"/>
                          </a:lnTo>
                          <a:lnTo>
                            <a:pt x="0" y="523895"/>
                          </a:lnTo>
                          <a:lnTo>
                            <a:pt x="42199" y="495448"/>
                          </a:lnTo>
                          <a:lnTo>
                            <a:pt x="171779" y="401588"/>
                          </a:lnTo>
                          <a:cubicBezTo>
                            <a:pt x="217485" y="369375"/>
                            <a:pt x="266566" y="336170"/>
                            <a:pt x="321599" y="301774"/>
                          </a:cubicBezTo>
                          <a:cubicBezTo>
                            <a:pt x="427962" y="243037"/>
                            <a:pt x="601528" y="176361"/>
                            <a:pt x="680374" y="143024"/>
                          </a:cubicBezTo>
                          <a:cubicBezTo>
                            <a:pt x="759220" y="109687"/>
                            <a:pt x="670320" y="125032"/>
                            <a:pt x="794674" y="101749"/>
                          </a:cubicBezTo>
                          <a:cubicBezTo>
                            <a:pt x="995625" y="63781"/>
                            <a:pt x="1123651" y="1505"/>
                            <a:pt x="1331894" y="0"/>
                          </a:cubicBezTo>
                          <a:close/>
                        </a:path>
                      </a:pathLst>
                    </a:custGeom>
                    <a:solidFill>
                      <a:srgbClr val="97A2BB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rtlCol="0" anchor="ctr">
                      <a:noAutofit/>
                    </a:bodyPr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183" name="Freeform: Shape 182">
                      <a:extLst>
                        <a:ext uri="{FF2B5EF4-FFF2-40B4-BE49-F238E27FC236}">
                          <a16:creationId xmlns:a16="http://schemas.microsoft.com/office/drawing/2014/main" id="{269B30B3-D265-A1B0-8AAD-8A2B6DB61F4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63893" y="2250862"/>
                      <a:ext cx="1066165" cy="1169735"/>
                    </a:xfrm>
                    <a:custGeom>
                      <a:avLst/>
                      <a:gdLst>
                        <a:gd name="connsiteX0" fmla="*/ 17217 w 1066165"/>
                        <a:gd name="connsiteY0" fmla="*/ 986623 h 1169735"/>
                        <a:gd name="connsiteX1" fmla="*/ 66683 w 1066165"/>
                        <a:gd name="connsiteY1" fmla="*/ 996400 h 1169735"/>
                        <a:gd name="connsiteX2" fmla="*/ 398815 w 1066165"/>
                        <a:gd name="connsiteY2" fmla="*/ 1044997 h 1169735"/>
                        <a:gd name="connsiteX3" fmla="*/ 428960 w 1066165"/>
                        <a:gd name="connsiteY3" fmla="*/ 1055046 h 1169735"/>
                        <a:gd name="connsiteX4" fmla="*/ 504732 w 1066165"/>
                        <a:gd name="connsiteY4" fmla="*/ 1084072 h 1169735"/>
                        <a:gd name="connsiteX5" fmla="*/ 517606 w 1066165"/>
                        <a:gd name="connsiteY5" fmla="*/ 1089442 h 1169735"/>
                        <a:gd name="connsiteX6" fmla="*/ 491799 w 1066165"/>
                        <a:gd name="connsiteY6" fmla="*/ 1167396 h 1169735"/>
                        <a:gd name="connsiteX7" fmla="*/ 483136 w 1066165"/>
                        <a:gd name="connsiteY7" fmla="*/ 1164813 h 1169735"/>
                        <a:gd name="connsiteX8" fmla="*/ 451515 w 1066165"/>
                        <a:gd name="connsiteY8" fmla="*/ 1166825 h 1169735"/>
                        <a:gd name="connsiteX9" fmla="*/ 457654 w 1066165"/>
                        <a:gd name="connsiteY9" fmla="*/ 1169735 h 1169735"/>
                        <a:gd name="connsiteX10" fmla="*/ 442247 w 1066165"/>
                        <a:gd name="connsiteY10" fmla="*/ 1162916 h 1169735"/>
                        <a:gd name="connsiteX11" fmla="*/ 378718 w 1066165"/>
                        <a:gd name="connsiteY11" fmla="*/ 1135433 h 1169735"/>
                        <a:gd name="connsiteX12" fmla="*/ 117461 w 1066165"/>
                        <a:gd name="connsiteY12" fmla="*/ 1065094 h 1169735"/>
                        <a:gd name="connsiteX13" fmla="*/ 16977 w 1066165"/>
                        <a:gd name="connsiteY13" fmla="*/ 1044997 h 1169735"/>
                        <a:gd name="connsiteX14" fmla="*/ 0 w 1066165"/>
                        <a:gd name="connsiteY14" fmla="*/ 1038631 h 1169735"/>
                        <a:gd name="connsiteX15" fmla="*/ 687693 w 1066165"/>
                        <a:gd name="connsiteY15" fmla="*/ 0 h 1169735"/>
                        <a:gd name="connsiteX16" fmla="*/ 693424 w 1066165"/>
                        <a:gd name="connsiteY16" fmla="*/ 5293 h 1169735"/>
                        <a:gd name="connsiteX17" fmla="*/ 720363 w 1066165"/>
                        <a:gd name="connsiteY17" fmla="*/ 30114 h 1169735"/>
                        <a:gd name="connsiteX18" fmla="*/ 1040183 w 1066165"/>
                        <a:gd name="connsiteY18" fmla="*/ 324970 h 1169735"/>
                        <a:gd name="connsiteX19" fmla="*/ 1066165 w 1066165"/>
                        <a:gd name="connsiteY19" fmla="*/ 349188 h 1169735"/>
                        <a:gd name="connsiteX20" fmla="*/ 1049438 w 1066165"/>
                        <a:gd name="connsiteY20" fmla="*/ 361304 h 1169735"/>
                        <a:gd name="connsiteX21" fmla="*/ 880301 w 1066165"/>
                        <a:gd name="connsiteY21" fmla="*/ 493672 h 1169735"/>
                        <a:gd name="connsiteX22" fmla="*/ 632723 w 1066165"/>
                        <a:gd name="connsiteY22" fmla="*/ 831947 h 1169735"/>
                        <a:gd name="connsiteX23" fmla="*/ 551831 w 1066165"/>
                        <a:gd name="connsiteY23" fmla="*/ 991279 h 1169735"/>
                        <a:gd name="connsiteX24" fmla="*/ 520865 w 1066165"/>
                        <a:gd name="connsiteY24" fmla="*/ 1079601 h 1169735"/>
                        <a:gd name="connsiteX25" fmla="*/ 517607 w 1066165"/>
                        <a:gd name="connsiteY25" fmla="*/ 1089442 h 1169735"/>
                        <a:gd name="connsiteX26" fmla="*/ 504733 w 1066165"/>
                        <a:gd name="connsiteY26" fmla="*/ 1084072 h 1169735"/>
                        <a:gd name="connsiteX27" fmla="*/ 428961 w 1066165"/>
                        <a:gd name="connsiteY27" fmla="*/ 1055046 h 1169735"/>
                        <a:gd name="connsiteX28" fmla="*/ 398816 w 1066165"/>
                        <a:gd name="connsiteY28" fmla="*/ 1044997 h 1169735"/>
                        <a:gd name="connsiteX29" fmla="*/ 66684 w 1066165"/>
                        <a:gd name="connsiteY29" fmla="*/ 996400 h 1169735"/>
                        <a:gd name="connsiteX30" fmla="*/ 17218 w 1066165"/>
                        <a:gd name="connsiteY30" fmla="*/ 986623 h 1169735"/>
                        <a:gd name="connsiteX31" fmla="*/ 45258 w 1066165"/>
                        <a:gd name="connsiteY31" fmla="*/ 901927 h 1169735"/>
                        <a:gd name="connsiteX32" fmla="*/ 85367 w 1066165"/>
                        <a:gd name="connsiteY32" fmla="*/ 787528 h 1169735"/>
                        <a:gd name="connsiteX33" fmla="*/ 190142 w 1066165"/>
                        <a:gd name="connsiteY33" fmla="*/ 581153 h 1169735"/>
                        <a:gd name="connsiteX34" fmla="*/ 510817 w 1066165"/>
                        <a:gd name="connsiteY34" fmla="*/ 143003 h 1169735"/>
                        <a:gd name="connsiteX35" fmla="*/ 673263 w 1066165"/>
                        <a:gd name="connsiteY35" fmla="*/ 9727 h 116973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</a:cxnLst>
                      <a:rect l="l" t="t" r="r" b="b"/>
                      <a:pathLst>
                        <a:path w="1066165" h="1169735">
                          <a:moveTo>
                            <a:pt x="17217" y="986623"/>
                          </a:moveTo>
                          <a:lnTo>
                            <a:pt x="66683" y="996400"/>
                          </a:lnTo>
                          <a:cubicBezTo>
                            <a:pt x="179228" y="1015640"/>
                            <a:pt x="297052" y="1028495"/>
                            <a:pt x="398815" y="1044997"/>
                          </a:cubicBezTo>
                          <a:cubicBezTo>
                            <a:pt x="409270" y="1046692"/>
                            <a:pt x="418912" y="1051696"/>
                            <a:pt x="428960" y="1055046"/>
                          </a:cubicBezTo>
                          <a:cubicBezTo>
                            <a:pt x="454628" y="1063603"/>
                            <a:pt x="479748" y="1073651"/>
                            <a:pt x="504732" y="1084072"/>
                          </a:cubicBezTo>
                          <a:lnTo>
                            <a:pt x="517606" y="1089442"/>
                          </a:lnTo>
                          <a:lnTo>
                            <a:pt x="491799" y="1167396"/>
                          </a:lnTo>
                          <a:lnTo>
                            <a:pt x="483136" y="1164813"/>
                          </a:lnTo>
                          <a:cubicBezTo>
                            <a:pt x="412152" y="1144524"/>
                            <a:pt x="432147" y="1157116"/>
                            <a:pt x="451515" y="1166825"/>
                          </a:cubicBezTo>
                          <a:lnTo>
                            <a:pt x="457654" y="1169735"/>
                          </a:lnTo>
                          <a:lnTo>
                            <a:pt x="442247" y="1162916"/>
                          </a:lnTo>
                          <a:cubicBezTo>
                            <a:pt x="428244" y="1156771"/>
                            <a:pt x="407780" y="1147888"/>
                            <a:pt x="378718" y="1135433"/>
                          </a:cubicBezTo>
                          <a:cubicBezTo>
                            <a:pt x="144539" y="1092854"/>
                            <a:pt x="404887" y="1145574"/>
                            <a:pt x="117461" y="1065094"/>
                          </a:cubicBezTo>
                          <a:cubicBezTo>
                            <a:pt x="84568" y="1055884"/>
                            <a:pt x="49889" y="1054139"/>
                            <a:pt x="16977" y="1044997"/>
                          </a:cubicBezTo>
                          <a:lnTo>
                            <a:pt x="0" y="1038631"/>
                          </a:lnTo>
                          <a:close/>
                          <a:moveTo>
                            <a:pt x="687693" y="0"/>
                          </a:moveTo>
                          <a:lnTo>
                            <a:pt x="693424" y="5293"/>
                          </a:lnTo>
                          <a:cubicBezTo>
                            <a:pt x="701017" y="12300"/>
                            <a:pt x="709896" y="20485"/>
                            <a:pt x="720363" y="30114"/>
                          </a:cubicBezTo>
                          <a:cubicBezTo>
                            <a:pt x="783165" y="87892"/>
                            <a:pt x="936402" y="228569"/>
                            <a:pt x="1040183" y="324970"/>
                          </a:cubicBezTo>
                          <a:lnTo>
                            <a:pt x="1066165" y="349188"/>
                          </a:lnTo>
                          <a:lnTo>
                            <a:pt x="1049438" y="361304"/>
                          </a:lnTo>
                          <a:cubicBezTo>
                            <a:pt x="985297" y="408287"/>
                            <a:pt x="949753" y="415232"/>
                            <a:pt x="880301" y="493672"/>
                          </a:cubicBezTo>
                          <a:cubicBezTo>
                            <a:pt x="810849" y="572113"/>
                            <a:pt x="687468" y="749012"/>
                            <a:pt x="632723" y="831947"/>
                          </a:cubicBezTo>
                          <a:cubicBezTo>
                            <a:pt x="577978" y="914881"/>
                            <a:pt x="586149" y="894045"/>
                            <a:pt x="551831" y="991279"/>
                          </a:cubicBezTo>
                          <a:cubicBezTo>
                            <a:pt x="543252" y="1015588"/>
                            <a:pt x="532502" y="1045820"/>
                            <a:pt x="520865" y="1079601"/>
                          </a:cubicBezTo>
                          <a:lnTo>
                            <a:pt x="517607" y="1089442"/>
                          </a:lnTo>
                          <a:lnTo>
                            <a:pt x="504733" y="1084072"/>
                          </a:lnTo>
                          <a:cubicBezTo>
                            <a:pt x="479749" y="1073651"/>
                            <a:pt x="454629" y="1063603"/>
                            <a:pt x="428961" y="1055046"/>
                          </a:cubicBezTo>
                          <a:cubicBezTo>
                            <a:pt x="418913" y="1051696"/>
                            <a:pt x="409271" y="1046692"/>
                            <a:pt x="398816" y="1044997"/>
                          </a:cubicBezTo>
                          <a:cubicBezTo>
                            <a:pt x="297053" y="1028495"/>
                            <a:pt x="179229" y="1015640"/>
                            <a:pt x="66684" y="996400"/>
                          </a:cubicBezTo>
                          <a:lnTo>
                            <a:pt x="17218" y="986623"/>
                          </a:lnTo>
                          <a:lnTo>
                            <a:pt x="45258" y="901927"/>
                          </a:lnTo>
                          <a:cubicBezTo>
                            <a:pt x="60331" y="858172"/>
                            <a:pt x="74255" y="819014"/>
                            <a:pt x="85367" y="787528"/>
                          </a:cubicBezTo>
                          <a:cubicBezTo>
                            <a:pt x="129817" y="661586"/>
                            <a:pt x="119234" y="688574"/>
                            <a:pt x="190142" y="581153"/>
                          </a:cubicBezTo>
                          <a:cubicBezTo>
                            <a:pt x="261050" y="473732"/>
                            <a:pt x="420859" y="244603"/>
                            <a:pt x="510817" y="143003"/>
                          </a:cubicBezTo>
                          <a:cubicBezTo>
                            <a:pt x="578286" y="66803"/>
                            <a:pt x="621049" y="42693"/>
                            <a:pt x="673263" y="9727"/>
                          </a:cubicBezTo>
                          <a:close/>
                        </a:path>
                      </a:pathLst>
                    </a:custGeom>
                    <a:solidFill>
                      <a:schemeClr val="accent2">
                        <a:lumMod val="20000"/>
                        <a:lumOff val="8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rtlCol="0" anchor="ctr">
                      <a:noAutofit/>
                    </a:bodyPr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184" name="Freeform: Shape 183">
                      <a:extLst>
                        <a:ext uri="{FF2B5EF4-FFF2-40B4-BE49-F238E27FC236}">
                          <a16:creationId xmlns:a16="http://schemas.microsoft.com/office/drawing/2014/main" id="{95C51D09-D20D-FB78-A924-B4FD7DFB8D7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65219" y="3289493"/>
                      <a:ext cx="1437472" cy="2547646"/>
                    </a:xfrm>
                    <a:custGeom>
                      <a:avLst/>
                      <a:gdLst>
                        <a:gd name="connsiteX0" fmla="*/ 98674 w 1437472"/>
                        <a:gd name="connsiteY0" fmla="*/ 0 h 2547646"/>
                        <a:gd name="connsiteX1" fmla="*/ 115651 w 1437472"/>
                        <a:gd name="connsiteY1" fmla="*/ 6366 h 2547646"/>
                        <a:gd name="connsiteX2" fmla="*/ 216135 w 1437472"/>
                        <a:gd name="connsiteY2" fmla="*/ 26463 h 2547646"/>
                        <a:gd name="connsiteX3" fmla="*/ 477392 w 1437472"/>
                        <a:gd name="connsiteY3" fmla="*/ 96802 h 2547646"/>
                        <a:gd name="connsiteX4" fmla="*/ 540921 w 1437472"/>
                        <a:gd name="connsiteY4" fmla="*/ 124285 h 2547646"/>
                        <a:gd name="connsiteX5" fmla="*/ 556328 w 1437472"/>
                        <a:gd name="connsiteY5" fmla="*/ 131104 h 2547646"/>
                        <a:gd name="connsiteX6" fmla="*/ 564499 w 1437472"/>
                        <a:gd name="connsiteY6" fmla="*/ 134976 h 2547646"/>
                        <a:gd name="connsiteX7" fmla="*/ 557346 w 1437472"/>
                        <a:gd name="connsiteY7" fmla="*/ 131554 h 2547646"/>
                        <a:gd name="connsiteX8" fmla="*/ 556328 w 1437472"/>
                        <a:gd name="connsiteY8" fmla="*/ 131104 h 2547646"/>
                        <a:gd name="connsiteX9" fmla="*/ 550189 w 1437472"/>
                        <a:gd name="connsiteY9" fmla="*/ 128194 h 2547646"/>
                        <a:gd name="connsiteX10" fmla="*/ 581810 w 1437472"/>
                        <a:gd name="connsiteY10" fmla="*/ 126182 h 2547646"/>
                        <a:gd name="connsiteX11" fmla="*/ 590473 w 1437472"/>
                        <a:gd name="connsiteY11" fmla="*/ 128765 h 2547646"/>
                        <a:gd name="connsiteX12" fmla="*/ 583248 w 1437472"/>
                        <a:gd name="connsiteY12" fmla="*/ 150588 h 2547646"/>
                        <a:gd name="connsiteX13" fmla="*/ 525490 w 1437472"/>
                        <a:gd name="connsiteY13" fmla="*/ 376717 h 2547646"/>
                        <a:gd name="connsiteX14" fmla="*/ 520587 w 1437472"/>
                        <a:gd name="connsiteY14" fmla="*/ 761565 h 2547646"/>
                        <a:gd name="connsiteX15" fmla="*/ 603930 w 1437472"/>
                        <a:gd name="connsiteY15" fmla="*/ 1166024 h 2547646"/>
                        <a:gd name="connsiteX16" fmla="*/ 721591 w 1437472"/>
                        <a:gd name="connsiteY16" fmla="*/ 1438114 h 2547646"/>
                        <a:gd name="connsiteX17" fmla="*/ 822093 w 1437472"/>
                        <a:gd name="connsiteY17" fmla="*/ 1612154 h 2547646"/>
                        <a:gd name="connsiteX18" fmla="*/ 934851 w 1437472"/>
                        <a:gd name="connsiteY18" fmla="*/ 1756778 h 2547646"/>
                        <a:gd name="connsiteX19" fmla="*/ 1192234 w 1437472"/>
                        <a:gd name="connsiteY19" fmla="*/ 1997002 h 2547646"/>
                        <a:gd name="connsiteX20" fmla="*/ 1361371 w 1437472"/>
                        <a:gd name="connsiteY20" fmla="*/ 2107309 h 2547646"/>
                        <a:gd name="connsiteX21" fmla="*/ 1425716 w 1437472"/>
                        <a:gd name="connsiteY21" fmla="*/ 2151432 h 2547646"/>
                        <a:gd name="connsiteX22" fmla="*/ 1437472 w 1437472"/>
                        <a:gd name="connsiteY22" fmla="*/ 2158857 h 2547646"/>
                        <a:gd name="connsiteX23" fmla="*/ 1331502 w 1437472"/>
                        <a:gd name="connsiteY23" fmla="*/ 2277294 h 2547646"/>
                        <a:gd name="connsiteX24" fmla="*/ 1281260 w 1437472"/>
                        <a:gd name="connsiteY24" fmla="*/ 2327536 h 2547646"/>
                        <a:gd name="connsiteX25" fmla="*/ 1200873 w 1437472"/>
                        <a:gd name="connsiteY25" fmla="*/ 2438067 h 2547646"/>
                        <a:gd name="connsiteX26" fmla="*/ 1118601 w 1437472"/>
                        <a:gd name="connsiteY26" fmla="*/ 2545233 h 2547646"/>
                        <a:gd name="connsiteX27" fmla="*/ 1116543 w 1437472"/>
                        <a:gd name="connsiteY27" fmla="*/ 2547646 h 2547646"/>
                        <a:gd name="connsiteX28" fmla="*/ 1104790 w 1437472"/>
                        <a:gd name="connsiteY28" fmla="*/ 2539722 h 2547646"/>
                        <a:gd name="connsiteX29" fmla="*/ 885715 w 1437472"/>
                        <a:gd name="connsiteY29" fmla="*/ 2396847 h 2547646"/>
                        <a:gd name="connsiteX30" fmla="*/ 552340 w 1437472"/>
                        <a:gd name="connsiteY30" fmla="*/ 2085697 h 2547646"/>
                        <a:gd name="connsiteX31" fmla="*/ 406290 w 1437472"/>
                        <a:gd name="connsiteY31" fmla="*/ 1898372 h 2547646"/>
                        <a:gd name="connsiteX32" fmla="*/ 276115 w 1437472"/>
                        <a:gd name="connsiteY32" fmla="*/ 1672947 h 2547646"/>
                        <a:gd name="connsiteX33" fmla="*/ 123715 w 1437472"/>
                        <a:gd name="connsiteY33" fmla="*/ 1320522 h 2547646"/>
                        <a:gd name="connsiteX34" fmla="*/ 15765 w 1437472"/>
                        <a:gd name="connsiteY34" fmla="*/ 796647 h 2547646"/>
                        <a:gd name="connsiteX35" fmla="*/ 22115 w 1437472"/>
                        <a:gd name="connsiteY35" fmla="*/ 298172 h 2547646"/>
                        <a:gd name="connsiteX36" fmla="*/ 96926 w 1437472"/>
                        <a:gd name="connsiteY36" fmla="*/ 5278 h 2547646"/>
                        <a:gd name="connsiteX37" fmla="*/ 98674 w 1437472"/>
                        <a:gd name="connsiteY37" fmla="*/ 0 h 254764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</a:cxnLst>
                      <a:rect l="l" t="t" r="r" b="b"/>
                      <a:pathLst>
                        <a:path w="1437472" h="2547646">
                          <a:moveTo>
                            <a:pt x="98674" y="0"/>
                          </a:moveTo>
                          <a:lnTo>
                            <a:pt x="115651" y="6366"/>
                          </a:lnTo>
                          <a:cubicBezTo>
                            <a:pt x="148563" y="15508"/>
                            <a:pt x="183242" y="17253"/>
                            <a:pt x="216135" y="26463"/>
                          </a:cubicBezTo>
                          <a:cubicBezTo>
                            <a:pt x="503561" y="106943"/>
                            <a:pt x="243213" y="54223"/>
                            <a:pt x="477392" y="96802"/>
                          </a:cubicBezTo>
                          <a:cubicBezTo>
                            <a:pt x="506454" y="109257"/>
                            <a:pt x="526918" y="118140"/>
                            <a:pt x="540921" y="124285"/>
                          </a:cubicBezTo>
                          <a:lnTo>
                            <a:pt x="556328" y="131104"/>
                          </a:lnTo>
                          <a:lnTo>
                            <a:pt x="564499" y="134976"/>
                          </a:lnTo>
                          <a:cubicBezTo>
                            <a:pt x="569441" y="137181"/>
                            <a:pt x="569461" y="136978"/>
                            <a:pt x="557346" y="131554"/>
                          </a:cubicBezTo>
                          <a:lnTo>
                            <a:pt x="556328" y="131104"/>
                          </a:lnTo>
                          <a:lnTo>
                            <a:pt x="550189" y="128194"/>
                          </a:lnTo>
                          <a:cubicBezTo>
                            <a:pt x="530821" y="118485"/>
                            <a:pt x="510826" y="105893"/>
                            <a:pt x="581810" y="126182"/>
                          </a:cubicBezTo>
                          <a:lnTo>
                            <a:pt x="590473" y="128765"/>
                          </a:lnTo>
                          <a:lnTo>
                            <a:pt x="583248" y="150588"/>
                          </a:lnTo>
                          <a:cubicBezTo>
                            <a:pt x="558991" y="227598"/>
                            <a:pt x="536317" y="309307"/>
                            <a:pt x="525490" y="376717"/>
                          </a:cubicBezTo>
                          <a:cubicBezTo>
                            <a:pt x="503837" y="511536"/>
                            <a:pt x="503429" y="618575"/>
                            <a:pt x="520587" y="761565"/>
                          </a:cubicBezTo>
                          <a:cubicBezTo>
                            <a:pt x="537746" y="904555"/>
                            <a:pt x="570430" y="1053266"/>
                            <a:pt x="603930" y="1166024"/>
                          </a:cubicBezTo>
                          <a:cubicBezTo>
                            <a:pt x="637431" y="1278782"/>
                            <a:pt x="685231" y="1363759"/>
                            <a:pt x="721591" y="1438114"/>
                          </a:cubicBezTo>
                          <a:cubicBezTo>
                            <a:pt x="757952" y="1512469"/>
                            <a:pt x="786550" y="1559043"/>
                            <a:pt x="822093" y="1612154"/>
                          </a:cubicBezTo>
                          <a:cubicBezTo>
                            <a:pt x="857636" y="1665265"/>
                            <a:pt x="873161" y="1692637"/>
                            <a:pt x="934851" y="1756778"/>
                          </a:cubicBezTo>
                          <a:cubicBezTo>
                            <a:pt x="996541" y="1820920"/>
                            <a:pt x="1121147" y="1938580"/>
                            <a:pt x="1192234" y="1997002"/>
                          </a:cubicBezTo>
                          <a:cubicBezTo>
                            <a:pt x="1263320" y="2055424"/>
                            <a:pt x="1311529" y="2075443"/>
                            <a:pt x="1361371" y="2107309"/>
                          </a:cubicBezTo>
                          <a:cubicBezTo>
                            <a:pt x="1386292" y="2123243"/>
                            <a:pt x="1405902" y="2137950"/>
                            <a:pt x="1425716" y="2151432"/>
                          </a:cubicBezTo>
                          <a:lnTo>
                            <a:pt x="1437472" y="2158857"/>
                          </a:lnTo>
                          <a:lnTo>
                            <a:pt x="1331502" y="2277294"/>
                          </a:lnTo>
                          <a:cubicBezTo>
                            <a:pt x="1315498" y="2294753"/>
                            <a:pt x="1296195" y="2309154"/>
                            <a:pt x="1281260" y="2327536"/>
                          </a:cubicBezTo>
                          <a:cubicBezTo>
                            <a:pt x="1252532" y="2362894"/>
                            <a:pt x="1227669" y="2401223"/>
                            <a:pt x="1200873" y="2438067"/>
                          </a:cubicBezTo>
                          <a:cubicBezTo>
                            <a:pt x="1169005" y="2481885"/>
                            <a:pt x="1141826" y="2516987"/>
                            <a:pt x="1118601" y="2545233"/>
                          </a:cubicBezTo>
                          <a:lnTo>
                            <a:pt x="1116543" y="2547646"/>
                          </a:lnTo>
                          <a:lnTo>
                            <a:pt x="1104790" y="2539722"/>
                          </a:lnTo>
                          <a:cubicBezTo>
                            <a:pt x="1040232" y="2498447"/>
                            <a:pt x="977790" y="2472518"/>
                            <a:pt x="885715" y="2396847"/>
                          </a:cubicBezTo>
                          <a:cubicBezTo>
                            <a:pt x="793640" y="2321176"/>
                            <a:pt x="632244" y="2168776"/>
                            <a:pt x="552340" y="2085697"/>
                          </a:cubicBezTo>
                          <a:cubicBezTo>
                            <a:pt x="472436" y="2002618"/>
                            <a:pt x="452327" y="1967164"/>
                            <a:pt x="406290" y="1898372"/>
                          </a:cubicBezTo>
                          <a:cubicBezTo>
                            <a:pt x="360253" y="1829580"/>
                            <a:pt x="323211" y="1769255"/>
                            <a:pt x="276115" y="1672947"/>
                          </a:cubicBezTo>
                          <a:cubicBezTo>
                            <a:pt x="229019" y="1576639"/>
                            <a:pt x="167107" y="1466572"/>
                            <a:pt x="123715" y="1320522"/>
                          </a:cubicBezTo>
                          <a:cubicBezTo>
                            <a:pt x="80323" y="1174472"/>
                            <a:pt x="37990" y="981855"/>
                            <a:pt x="15765" y="796647"/>
                          </a:cubicBezTo>
                          <a:cubicBezTo>
                            <a:pt x="-6460" y="611439"/>
                            <a:pt x="-5931" y="472797"/>
                            <a:pt x="22115" y="298172"/>
                          </a:cubicBezTo>
                          <a:cubicBezTo>
                            <a:pt x="36138" y="210860"/>
                            <a:pt x="65507" y="105026"/>
                            <a:pt x="96926" y="5278"/>
                          </a:cubicBezTo>
                          <a:lnTo>
                            <a:pt x="98674" y="0"/>
                          </a:lnTo>
                          <a:close/>
                        </a:path>
                      </a:pathLst>
                    </a:custGeom>
                    <a:solidFill>
                      <a:srgbClr val="88BCAD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rtlCol="0" anchor="ctr">
                      <a:noAutofit/>
                    </a:bodyPr>
                    <a:lstStyle/>
                    <a:p>
                      <a:pPr algn="ctr"/>
                      <a:endParaRPr lang="da-DK"/>
                    </a:p>
                  </p:txBody>
                </p:sp>
                <p:sp>
                  <p:nvSpPr>
                    <p:cNvPr id="185" name="Freeform: Shape 184">
                      <a:extLst>
                        <a:ext uri="{FF2B5EF4-FFF2-40B4-BE49-F238E27FC236}">
                          <a16:creationId xmlns:a16="http://schemas.microsoft.com/office/drawing/2014/main" id="{D5CA4D68-BDB0-5262-C916-0BF34F87C5D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626653" y="5045626"/>
                      <a:ext cx="8032" cy="6973"/>
                    </a:xfrm>
                    <a:custGeom>
                      <a:avLst/>
                      <a:gdLst>
                        <a:gd name="connsiteX0" fmla="*/ 706 w 8032"/>
                        <a:gd name="connsiteY0" fmla="*/ 634 h 6973"/>
                        <a:gd name="connsiteX1" fmla="*/ 818 w 8032"/>
                        <a:gd name="connsiteY1" fmla="*/ 680 h 6973"/>
                        <a:gd name="connsiteX2" fmla="*/ 8032 w 8032"/>
                        <a:gd name="connsiteY2" fmla="*/ 6973 h 6973"/>
                        <a:gd name="connsiteX3" fmla="*/ 7768 w 8032"/>
                        <a:gd name="connsiteY3" fmla="*/ 6747 h 6973"/>
                        <a:gd name="connsiteX4" fmla="*/ 706 w 8032"/>
                        <a:gd name="connsiteY4" fmla="*/ 634 h 697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8032" h="6973">
                          <a:moveTo>
                            <a:pt x="706" y="634"/>
                          </a:moveTo>
                          <a:cubicBezTo>
                            <a:pt x="-329" y="-275"/>
                            <a:pt x="-169" y="-159"/>
                            <a:pt x="818" y="680"/>
                          </a:cubicBezTo>
                          <a:lnTo>
                            <a:pt x="8032" y="6973"/>
                          </a:lnTo>
                          <a:lnTo>
                            <a:pt x="7768" y="6747"/>
                          </a:lnTo>
                          <a:cubicBezTo>
                            <a:pt x="3973" y="3481"/>
                            <a:pt x="1742" y="1545"/>
                            <a:pt x="706" y="634"/>
                          </a:cubicBezTo>
                          <a:close/>
                        </a:path>
                      </a:pathLst>
                    </a:custGeom>
                    <a:solidFill>
                      <a:srgbClr val="FBCCD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15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wrap="square" rtlCol="0" anchor="ctr">
                      <a:noAutofit/>
                    </a:bodyPr>
                    <a:lstStyle/>
                    <a:p>
                      <a:pPr algn="ctr"/>
                      <a:endParaRPr lang="da-DK"/>
                    </a:p>
                  </p:txBody>
                </p:sp>
              </p:grpSp>
            </p:grpSp>
            <p:sp>
              <p:nvSpPr>
                <p:cNvPr id="174" name="Freeform: Shape 173">
                  <a:extLst>
                    <a:ext uri="{FF2B5EF4-FFF2-40B4-BE49-F238E27FC236}">
                      <a16:creationId xmlns:a16="http://schemas.microsoft.com/office/drawing/2014/main" id="{7C59DDDE-44C2-3839-4994-27AFD9701A9A}"/>
                    </a:ext>
                  </a:extLst>
                </p:cNvPr>
                <p:cNvSpPr/>
                <p:nvPr/>
              </p:nvSpPr>
              <p:spPr>
                <a:xfrm>
                  <a:off x="4657836" y="1695450"/>
                  <a:ext cx="4460800" cy="4429294"/>
                </a:xfrm>
                <a:custGeom>
                  <a:avLst/>
                  <a:gdLst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944902 w 4469152"/>
                    <a:gd name="connsiteY150" fmla="*/ 476250 h 4496940"/>
                    <a:gd name="connsiteX151" fmla="*/ 1087777 w 4469152"/>
                    <a:gd name="connsiteY151" fmla="*/ 409575 h 4496940"/>
                    <a:gd name="connsiteX152" fmla="*/ 1202077 w 4469152"/>
                    <a:gd name="connsiteY152" fmla="*/ 314325 h 4496940"/>
                    <a:gd name="connsiteX153" fmla="*/ 1268752 w 4469152"/>
                    <a:gd name="connsiteY153" fmla="*/ 285750 h 4496940"/>
                    <a:gd name="connsiteX154" fmla="*/ 1411627 w 4469152"/>
                    <a:gd name="connsiteY154" fmla="*/ 190500 h 4496940"/>
                    <a:gd name="connsiteX155" fmla="*/ 1449727 w 4469152"/>
                    <a:gd name="connsiteY155" fmla="*/ 161925 h 4496940"/>
                    <a:gd name="connsiteX156" fmla="*/ 1525927 w 4469152"/>
                    <a:gd name="connsiteY156" fmla="*/ 152400 h 4496940"/>
                    <a:gd name="connsiteX157" fmla="*/ 1583077 w 4469152"/>
                    <a:gd name="connsiteY157" fmla="*/ 142875 h 4496940"/>
                    <a:gd name="connsiteX158" fmla="*/ 1716427 w 4469152"/>
                    <a:gd name="connsiteY158" fmla="*/ 123825 h 4496940"/>
                    <a:gd name="connsiteX159" fmla="*/ 1811677 w 4469152"/>
                    <a:gd name="connsiteY159" fmla="*/ 114300 h 4496940"/>
                    <a:gd name="connsiteX160" fmla="*/ 1859302 w 4469152"/>
                    <a:gd name="connsiteY160" fmla="*/ 104775 h 4496940"/>
                    <a:gd name="connsiteX161" fmla="*/ 1916452 w 4469152"/>
                    <a:gd name="connsiteY161" fmla="*/ 95250 h 4496940"/>
                    <a:gd name="connsiteX162" fmla="*/ 2030752 w 4469152"/>
                    <a:gd name="connsiteY162" fmla="*/ 66675 h 4496940"/>
                    <a:gd name="connsiteX163" fmla="*/ 2097427 w 4469152"/>
                    <a:gd name="connsiteY163" fmla="*/ 47625 h 4496940"/>
                    <a:gd name="connsiteX164" fmla="*/ 2164102 w 4469152"/>
                    <a:gd name="connsiteY164" fmla="*/ 38100 h 4496940"/>
                    <a:gd name="connsiteX165" fmla="*/ 2392702 w 4469152"/>
                    <a:gd name="connsiteY165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087777 w 4469152"/>
                    <a:gd name="connsiteY150" fmla="*/ 409575 h 4496940"/>
                    <a:gd name="connsiteX151" fmla="*/ 1202077 w 4469152"/>
                    <a:gd name="connsiteY151" fmla="*/ 314325 h 4496940"/>
                    <a:gd name="connsiteX152" fmla="*/ 1268752 w 4469152"/>
                    <a:gd name="connsiteY152" fmla="*/ 285750 h 4496940"/>
                    <a:gd name="connsiteX153" fmla="*/ 1411627 w 4469152"/>
                    <a:gd name="connsiteY153" fmla="*/ 190500 h 4496940"/>
                    <a:gd name="connsiteX154" fmla="*/ 1449727 w 4469152"/>
                    <a:gd name="connsiteY154" fmla="*/ 161925 h 4496940"/>
                    <a:gd name="connsiteX155" fmla="*/ 1525927 w 4469152"/>
                    <a:gd name="connsiteY155" fmla="*/ 152400 h 4496940"/>
                    <a:gd name="connsiteX156" fmla="*/ 1583077 w 4469152"/>
                    <a:gd name="connsiteY156" fmla="*/ 142875 h 4496940"/>
                    <a:gd name="connsiteX157" fmla="*/ 1716427 w 4469152"/>
                    <a:gd name="connsiteY157" fmla="*/ 123825 h 4496940"/>
                    <a:gd name="connsiteX158" fmla="*/ 1811677 w 4469152"/>
                    <a:gd name="connsiteY158" fmla="*/ 114300 h 4496940"/>
                    <a:gd name="connsiteX159" fmla="*/ 1859302 w 4469152"/>
                    <a:gd name="connsiteY159" fmla="*/ 104775 h 4496940"/>
                    <a:gd name="connsiteX160" fmla="*/ 1916452 w 4469152"/>
                    <a:gd name="connsiteY160" fmla="*/ 95250 h 4496940"/>
                    <a:gd name="connsiteX161" fmla="*/ 2030752 w 4469152"/>
                    <a:gd name="connsiteY161" fmla="*/ 66675 h 4496940"/>
                    <a:gd name="connsiteX162" fmla="*/ 2097427 w 4469152"/>
                    <a:gd name="connsiteY162" fmla="*/ 47625 h 4496940"/>
                    <a:gd name="connsiteX163" fmla="*/ 2164102 w 4469152"/>
                    <a:gd name="connsiteY163" fmla="*/ 38100 h 4496940"/>
                    <a:gd name="connsiteX164" fmla="*/ 2392702 w 4469152"/>
                    <a:gd name="connsiteY164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02077 w 4469152"/>
                    <a:gd name="connsiteY150" fmla="*/ 314325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68752 w 4469152"/>
                    <a:gd name="connsiteY150" fmla="*/ 285750 h 4496940"/>
                    <a:gd name="connsiteX151" fmla="*/ 1411627 w 4469152"/>
                    <a:gd name="connsiteY151" fmla="*/ 190500 h 4496940"/>
                    <a:gd name="connsiteX152" fmla="*/ 1449727 w 4469152"/>
                    <a:gd name="connsiteY152" fmla="*/ 161925 h 4496940"/>
                    <a:gd name="connsiteX153" fmla="*/ 1525927 w 4469152"/>
                    <a:gd name="connsiteY153" fmla="*/ 152400 h 4496940"/>
                    <a:gd name="connsiteX154" fmla="*/ 1583077 w 4469152"/>
                    <a:gd name="connsiteY154" fmla="*/ 142875 h 4496940"/>
                    <a:gd name="connsiteX155" fmla="*/ 1716427 w 4469152"/>
                    <a:gd name="connsiteY155" fmla="*/ 123825 h 4496940"/>
                    <a:gd name="connsiteX156" fmla="*/ 1811677 w 4469152"/>
                    <a:gd name="connsiteY156" fmla="*/ 114300 h 4496940"/>
                    <a:gd name="connsiteX157" fmla="*/ 1859302 w 4469152"/>
                    <a:gd name="connsiteY157" fmla="*/ 104775 h 4496940"/>
                    <a:gd name="connsiteX158" fmla="*/ 1916452 w 4469152"/>
                    <a:gd name="connsiteY158" fmla="*/ 95250 h 4496940"/>
                    <a:gd name="connsiteX159" fmla="*/ 2030752 w 4469152"/>
                    <a:gd name="connsiteY159" fmla="*/ 66675 h 4496940"/>
                    <a:gd name="connsiteX160" fmla="*/ 2097427 w 4469152"/>
                    <a:gd name="connsiteY160" fmla="*/ 47625 h 4496940"/>
                    <a:gd name="connsiteX161" fmla="*/ 2164102 w 4469152"/>
                    <a:gd name="connsiteY161" fmla="*/ 38100 h 4496940"/>
                    <a:gd name="connsiteX162" fmla="*/ 2392702 w 4469152"/>
                    <a:gd name="connsiteY162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167152 w 4469152"/>
                    <a:gd name="connsiteY150" fmla="*/ 311150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40577 w 4519952"/>
                    <a:gd name="connsiteY46" fmla="*/ 1762125 h 4496940"/>
                    <a:gd name="connsiteX47" fmla="*/ 4459627 w 4519952"/>
                    <a:gd name="connsiteY47" fmla="*/ 1828800 h 4496940"/>
                    <a:gd name="connsiteX48" fmla="*/ 4519952 w 4519952"/>
                    <a:gd name="connsiteY48" fmla="*/ 2181225 h 4496940"/>
                    <a:gd name="connsiteX49" fmla="*/ 4440577 w 4519952"/>
                    <a:gd name="connsiteY49" fmla="*/ 2876550 h 4496940"/>
                    <a:gd name="connsiteX50" fmla="*/ 4383427 w 4519952"/>
                    <a:gd name="connsiteY50" fmla="*/ 2990850 h 4496940"/>
                    <a:gd name="connsiteX51" fmla="*/ 4354852 w 4519952"/>
                    <a:gd name="connsiteY51" fmla="*/ 3057525 h 4496940"/>
                    <a:gd name="connsiteX52" fmla="*/ 4335802 w 4519952"/>
                    <a:gd name="connsiteY52" fmla="*/ 3095625 h 4496940"/>
                    <a:gd name="connsiteX53" fmla="*/ 4278652 w 4519952"/>
                    <a:gd name="connsiteY53" fmla="*/ 3248025 h 4496940"/>
                    <a:gd name="connsiteX54" fmla="*/ 4259602 w 4519952"/>
                    <a:gd name="connsiteY54" fmla="*/ 3276600 h 4496940"/>
                    <a:gd name="connsiteX55" fmla="*/ 4221502 w 4519952"/>
                    <a:gd name="connsiteY55" fmla="*/ 3333750 h 4496940"/>
                    <a:gd name="connsiteX56" fmla="*/ 4211977 w 4519952"/>
                    <a:gd name="connsiteY56" fmla="*/ 3362325 h 4496940"/>
                    <a:gd name="connsiteX57" fmla="*/ 4183402 w 4519952"/>
                    <a:gd name="connsiteY57" fmla="*/ 3400425 h 4496940"/>
                    <a:gd name="connsiteX58" fmla="*/ 4164352 w 4519952"/>
                    <a:gd name="connsiteY58" fmla="*/ 3429000 h 4496940"/>
                    <a:gd name="connsiteX59" fmla="*/ 4088152 w 4519952"/>
                    <a:gd name="connsiteY59" fmla="*/ 3495675 h 4496940"/>
                    <a:gd name="connsiteX60" fmla="*/ 4059577 w 4519952"/>
                    <a:gd name="connsiteY60" fmla="*/ 3533775 h 4496940"/>
                    <a:gd name="connsiteX61" fmla="*/ 4002427 w 4519952"/>
                    <a:gd name="connsiteY61" fmla="*/ 3600450 h 4496940"/>
                    <a:gd name="connsiteX62" fmla="*/ 3983377 w 4519952"/>
                    <a:gd name="connsiteY62" fmla="*/ 3629025 h 4496940"/>
                    <a:gd name="connsiteX63" fmla="*/ 3954802 w 4519952"/>
                    <a:gd name="connsiteY63" fmla="*/ 3648075 h 4496940"/>
                    <a:gd name="connsiteX64" fmla="*/ 3907177 w 4519952"/>
                    <a:gd name="connsiteY64" fmla="*/ 3686175 h 4496940"/>
                    <a:gd name="connsiteX65" fmla="*/ 3869077 w 4519952"/>
                    <a:gd name="connsiteY65" fmla="*/ 3724275 h 4496940"/>
                    <a:gd name="connsiteX66" fmla="*/ 3792877 w 4519952"/>
                    <a:gd name="connsiteY66" fmla="*/ 3781425 h 4496940"/>
                    <a:gd name="connsiteX67" fmla="*/ 3783352 w 4519952"/>
                    <a:gd name="connsiteY67" fmla="*/ 3810000 h 4496940"/>
                    <a:gd name="connsiteX68" fmla="*/ 3745252 w 4519952"/>
                    <a:gd name="connsiteY68" fmla="*/ 3819525 h 4496940"/>
                    <a:gd name="connsiteX69" fmla="*/ 3678577 w 4519952"/>
                    <a:gd name="connsiteY69" fmla="*/ 3848100 h 4496940"/>
                    <a:gd name="connsiteX70" fmla="*/ 3659527 w 4519952"/>
                    <a:gd name="connsiteY70" fmla="*/ 3971925 h 4496940"/>
                    <a:gd name="connsiteX71" fmla="*/ 3630952 w 4519952"/>
                    <a:gd name="connsiteY71" fmla="*/ 4010025 h 4496940"/>
                    <a:gd name="connsiteX72" fmla="*/ 3621427 w 4519952"/>
                    <a:gd name="connsiteY72" fmla="*/ 4038600 h 4496940"/>
                    <a:gd name="connsiteX73" fmla="*/ 3554752 w 4519952"/>
                    <a:gd name="connsiteY73" fmla="*/ 4095750 h 4496940"/>
                    <a:gd name="connsiteX74" fmla="*/ 3516652 w 4519952"/>
                    <a:gd name="connsiteY74" fmla="*/ 4114800 h 4496940"/>
                    <a:gd name="connsiteX75" fmla="*/ 3497602 w 4519952"/>
                    <a:gd name="connsiteY75" fmla="*/ 4143375 h 4496940"/>
                    <a:gd name="connsiteX76" fmla="*/ 3383302 w 4519952"/>
                    <a:gd name="connsiteY76" fmla="*/ 4210050 h 4496940"/>
                    <a:gd name="connsiteX77" fmla="*/ 3335677 w 4519952"/>
                    <a:gd name="connsiteY77" fmla="*/ 4238625 h 4496940"/>
                    <a:gd name="connsiteX78" fmla="*/ 3288052 w 4519952"/>
                    <a:gd name="connsiteY78" fmla="*/ 4248150 h 4496940"/>
                    <a:gd name="connsiteX79" fmla="*/ 3240427 w 4519952"/>
                    <a:gd name="connsiteY79" fmla="*/ 4267200 h 4496940"/>
                    <a:gd name="connsiteX80" fmla="*/ 3068977 w 4519952"/>
                    <a:gd name="connsiteY80" fmla="*/ 4286250 h 4496940"/>
                    <a:gd name="connsiteX81" fmla="*/ 2935627 w 4519952"/>
                    <a:gd name="connsiteY81" fmla="*/ 4333875 h 4496940"/>
                    <a:gd name="connsiteX82" fmla="*/ 2811802 w 4519952"/>
                    <a:gd name="connsiteY82" fmla="*/ 4371975 h 4496940"/>
                    <a:gd name="connsiteX83" fmla="*/ 2745127 w 4519952"/>
                    <a:gd name="connsiteY83" fmla="*/ 4410075 h 4496940"/>
                    <a:gd name="connsiteX84" fmla="*/ 2697502 w 4519952"/>
                    <a:gd name="connsiteY84" fmla="*/ 4429125 h 4496940"/>
                    <a:gd name="connsiteX85" fmla="*/ 2640352 w 4519952"/>
                    <a:gd name="connsiteY85" fmla="*/ 4457700 h 4496940"/>
                    <a:gd name="connsiteX86" fmla="*/ 2583202 w 4519952"/>
                    <a:gd name="connsiteY86" fmla="*/ 4467225 h 4496940"/>
                    <a:gd name="connsiteX87" fmla="*/ 2545102 w 4519952"/>
                    <a:gd name="connsiteY87" fmla="*/ 4486275 h 4496940"/>
                    <a:gd name="connsiteX88" fmla="*/ 2306977 w 4519952"/>
                    <a:gd name="connsiteY88" fmla="*/ 4476750 h 4496940"/>
                    <a:gd name="connsiteX89" fmla="*/ 2202202 w 4519952"/>
                    <a:gd name="connsiteY89" fmla="*/ 4457700 h 4496940"/>
                    <a:gd name="connsiteX90" fmla="*/ 2126002 w 4519952"/>
                    <a:gd name="connsiteY90" fmla="*/ 4429125 h 4496940"/>
                    <a:gd name="connsiteX91" fmla="*/ 1935502 w 4519952"/>
                    <a:gd name="connsiteY91" fmla="*/ 4400550 h 4496940"/>
                    <a:gd name="connsiteX92" fmla="*/ 1821202 w 4519952"/>
                    <a:gd name="connsiteY92" fmla="*/ 4371975 h 4496940"/>
                    <a:gd name="connsiteX93" fmla="*/ 1754527 w 4519952"/>
                    <a:gd name="connsiteY93" fmla="*/ 4352925 h 4496940"/>
                    <a:gd name="connsiteX94" fmla="*/ 1687852 w 4519952"/>
                    <a:gd name="connsiteY94" fmla="*/ 4343400 h 4496940"/>
                    <a:gd name="connsiteX95" fmla="*/ 1573552 w 4519952"/>
                    <a:gd name="connsiteY95" fmla="*/ 4305300 h 4496940"/>
                    <a:gd name="connsiteX96" fmla="*/ 1402102 w 4519952"/>
                    <a:gd name="connsiteY96" fmla="*/ 4276725 h 4496940"/>
                    <a:gd name="connsiteX97" fmla="*/ 1287802 w 4519952"/>
                    <a:gd name="connsiteY97" fmla="*/ 4229100 h 4496940"/>
                    <a:gd name="connsiteX98" fmla="*/ 1221127 w 4519952"/>
                    <a:gd name="connsiteY98" fmla="*/ 4200525 h 4496940"/>
                    <a:gd name="connsiteX99" fmla="*/ 1144927 w 4519952"/>
                    <a:gd name="connsiteY99" fmla="*/ 4171950 h 4496940"/>
                    <a:gd name="connsiteX100" fmla="*/ 1087777 w 4519952"/>
                    <a:gd name="connsiteY100" fmla="*/ 4143375 h 4496940"/>
                    <a:gd name="connsiteX101" fmla="*/ 1030627 w 4519952"/>
                    <a:gd name="connsiteY101" fmla="*/ 4124325 h 4496940"/>
                    <a:gd name="connsiteX102" fmla="*/ 925852 w 4519952"/>
                    <a:gd name="connsiteY102" fmla="*/ 4067175 h 4496940"/>
                    <a:gd name="connsiteX103" fmla="*/ 830602 w 4519952"/>
                    <a:gd name="connsiteY103" fmla="*/ 3981450 h 4496940"/>
                    <a:gd name="connsiteX104" fmla="*/ 763927 w 4519952"/>
                    <a:gd name="connsiteY104" fmla="*/ 3914775 h 4496940"/>
                    <a:gd name="connsiteX105" fmla="*/ 725827 w 4519952"/>
                    <a:gd name="connsiteY105" fmla="*/ 3876675 h 4496940"/>
                    <a:gd name="connsiteX106" fmla="*/ 697252 w 4519952"/>
                    <a:gd name="connsiteY106" fmla="*/ 3838575 h 4496940"/>
                    <a:gd name="connsiteX107" fmla="*/ 640102 w 4519952"/>
                    <a:gd name="connsiteY107" fmla="*/ 3781425 h 4496940"/>
                    <a:gd name="connsiteX108" fmla="*/ 611527 w 4519952"/>
                    <a:gd name="connsiteY108" fmla="*/ 3733800 h 4496940"/>
                    <a:gd name="connsiteX109" fmla="*/ 554377 w 4519952"/>
                    <a:gd name="connsiteY109" fmla="*/ 3657600 h 4496940"/>
                    <a:gd name="connsiteX110" fmla="*/ 525802 w 4519952"/>
                    <a:gd name="connsiteY110" fmla="*/ 3609975 h 4496940"/>
                    <a:gd name="connsiteX111" fmla="*/ 497227 w 4519952"/>
                    <a:gd name="connsiteY111" fmla="*/ 3552825 h 4496940"/>
                    <a:gd name="connsiteX112" fmla="*/ 440077 w 4519952"/>
                    <a:gd name="connsiteY112" fmla="*/ 3495675 h 4496940"/>
                    <a:gd name="connsiteX113" fmla="*/ 411502 w 4519952"/>
                    <a:gd name="connsiteY113" fmla="*/ 3448050 h 4496940"/>
                    <a:gd name="connsiteX114" fmla="*/ 278152 w 4519952"/>
                    <a:gd name="connsiteY114" fmla="*/ 3257550 h 4496940"/>
                    <a:gd name="connsiteX115" fmla="*/ 249577 w 4519952"/>
                    <a:gd name="connsiteY115" fmla="*/ 3200400 h 4496940"/>
                    <a:gd name="connsiteX116" fmla="*/ 240052 w 4519952"/>
                    <a:gd name="connsiteY116" fmla="*/ 3162300 h 4496940"/>
                    <a:gd name="connsiteX117" fmla="*/ 221002 w 4519952"/>
                    <a:gd name="connsiteY117" fmla="*/ 3105150 h 4496940"/>
                    <a:gd name="connsiteX118" fmla="*/ 173377 w 4519952"/>
                    <a:gd name="connsiteY118" fmla="*/ 3019425 h 4496940"/>
                    <a:gd name="connsiteX119" fmla="*/ 144802 w 4519952"/>
                    <a:gd name="connsiteY119" fmla="*/ 2924175 h 4496940"/>
                    <a:gd name="connsiteX120" fmla="*/ 68602 w 4519952"/>
                    <a:gd name="connsiteY120" fmla="*/ 2724150 h 4496940"/>
                    <a:gd name="connsiteX121" fmla="*/ 49552 w 4519952"/>
                    <a:gd name="connsiteY121" fmla="*/ 2638425 h 4496940"/>
                    <a:gd name="connsiteX122" fmla="*/ 40027 w 4519952"/>
                    <a:gd name="connsiteY122" fmla="*/ 2562225 h 4496940"/>
                    <a:gd name="connsiteX123" fmla="*/ 30502 w 4519952"/>
                    <a:gd name="connsiteY123" fmla="*/ 2514600 h 4496940"/>
                    <a:gd name="connsiteX124" fmla="*/ 11452 w 4519952"/>
                    <a:gd name="connsiteY124" fmla="*/ 2400300 h 4496940"/>
                    <a:gd name="connsiteX125" fmla="*/ 20977 w 4519952"/>
                    <a:gd name="connsiteY125" fmla="*/ 1905000 h 4496940"/>
                    <a:gd name="connsiteX126" fmla="*/ 30502 w 4519952"/>
                    <a:gd name="connsiteY126" fmla="*/ 1838325 h 4496940"/>
                    <a:gd name="connsiteX127" fmla="*/ 49552 w 4519952"/>
                    <a:gd name="connsiteY127" fmla="*/ 1781175 h 4496940"/>
                    <a:gd name="connsiteX128" fmla="*/ 59077 w 4519952"/>
                    <a:gd name="connsiteY128" fmla="*/ 1743075 h 4496940"/>
                    <a:gd name="connsiteX129" fmla="*/ 78127 w 4519952"/>
                    <a:gd name="connsiteY129" fmla="*/ 1685925 h 4496940"/>
                    <a:gd name="connsiteX130" fmla="*/ 87652 w 4519952"/>
                    <a:gd name="connsiteY130" fmla="*/ 1638300 h 4496940"/>
                    <a:gd name="connsiteX131" fmla="*/ 106702 w 4519952"/>
                    <a:gd name="connsiteY131" fmla="*/ 1590675 h 4496940"/>
                    <a:gd name="connsiteX132" fmla="*/ 135277 w 4519952"/>
                    <a:gd name="connsiteY132" fmla="*/ 1504950 h 4496940"/>
                    <a:gd name="connsiteX133" fmla="*/ 154327 w 4519952"/>
                    <a:gd name="connsiteY133" fmla="*/ 1419225 h 4496940"/>
                    <a:gd name="connsiteX134" fmla="*/ 230527 w 4519952"/>
                    <a:gd name="connsiteY134" fmla="*/ 1276350 h 4496940"/>
                    <a:gd name="connsiteX135" fmla="*/ 240052 w 4519952"/>
                    <a:gd name="connsiteY135" fmla="*/ 1247775 h 4496940"/>
                    <a:gd name="connsiteX136" fmla="*/ 268627 w 4519952"/>
                    <a:gd name="connsiteY136" fmla="*/ 1200150 h 4496940"/>
                    <a:gd name="connsiteX137" fmla="*/ 287677 w 4519952"/>
                    <a:gd name="connsiteY137" fmla="*/ 1152525 h 4496940"/>
                    <a:gd name="connsiteX138" fmla="*/ 316252 w 4519952"/>
                    <a:gd name="connsiteY138" fmla="*/ 1114425 h 4496940"/>
                    <a:gd name="connsiteX139" fmla="*/ 363877 w 4519952"/>
                    <a:gd name="connsiteY139" fmla="*/ 1038225 h 4496940"/>
                    <a:gd name="connsiteX140" fmla="*/ 382927 w 4519952"/>
                    <a:gd name="connsiteY140" fmla="*/ 1009650 h 4496940"/>
                    <a:gd name="connsiteX141" fmla="*/ 440077 w 4519952"/>
                    <a:gd name="connsiteY141" fmla="*/ 904875 h 4496940"/>
                    <a:gd name="connsiteX142" fmla="*/ 478177 w 4519952"/>
                    <a:gd name="connsiteY142" fmla="*/ 857250 h 4496940"/>
                    <a:gd name="connsiteX143" fmla="*/ 497227 w 4519952"/>
                    <a:gd name="connsiteY143" fmla="*/ 828675 h 4496940"/>
                    <a:gd name="connsiteX144" fmla="*/ 535327 w 4519952"/>
                    <a:gd name="connsiteY144" fmla="*/ 800100 h 4496940"/>
                    <a:gd name="connsiteX145" fmla="*/ 602002 w 4519952"/>
                    <a:gd name="connsiteY145" fmla="*/ 733425 h 4496940"/>
                    <a:gd name="connsiteX146" fmla="*/ 668677 w 4519952"/>
                    <a:gd name="connsiteY146" fmla="*/ 676275 h 4496940"/>
                    <a:gd name="connsiteX147" fmla="*/ 697252 w 4519952"/>
                    <a:gd name="connsiteY147" fmla="*/ 657225 h 4496940"/>
                    <a:gd name="connsiteX148" fmla="*/ 840127 w 4519952"/>
                    <a:gd name="connsiteY148" fmla="*/ 533400 h 4496940"/>
                    <a:gd name="connsiteX149" fmla="*/ 887752 w 4519952"/>
                    <a:gd name="connsiteY149" fmla="*/ 504825 h 4496940"/>
                    <a:gd name="connsiteX150" fmla="*/ 1167152 w 4519952"/>
                    <a:gd name="connsiteY150" fmla="*/ 311150 h 4496940"/>
                    <a:gd name="connsiteX151" fmla="*/ 1268752 w 4519952"/>
                    <a:gd name="connsiteY151" fmla="*/ 285750 h 4496940"/>
                    <a:gd name="connsiteX152" fmla="*/ 1411627 w 4519952"/>
                    <a:gd name="connsiteY152" fmla="*/ 190500 h 4496940"/>
                    <a:gd name="connsiteX153" fmla="*/ 1449727 w 4519952"/>
                    <a:gd name="connsiteY153" fmla="*/ 161925 h 4496940"/>
                    <a:gd name="connsiteX154" fmla="*/ 1525927 w 4519952"/>
                    <a:gd name="connsiteY154" fmla="*/ 152400 h 4496940"/>
                    <a:gd name="connsiteX155" fmla="*/ 1583077 w 4519952"/>
                    <a:gd name="connsiteY155" fmla="*/ 142875 h 4496940"/>
                    <a:gd name="connsiteX156" fmla="*/ 1716427 w 4519952"/>
                    <a:gd name="connsiteY156" fmla="*/ 123825 h 4496940"/>
                    <a:gd name="connsiteX157" fmla="*/ 1811677 w 4519952"/>
                    <a:gd name="connsiteY157" fmla="*/ 114300 h 4496940"/>
                    <a:gd name="connsiteX158" fmla="*/ 1859302 w 4519952"/>
                    <a:gd name="connsiteY158" fmla="*/ 104775 h 4496940"/>
                    <a:gd name="connsiteX159" fmla="*/ 1916452 w 4519952"/>
                    <a:gd name="connsiteY159" fmla="*/ 95250 h 4496940"/>
                    <a:gd name="connsiteX160" fmla="*/ 2030752 w 4519952"/>
                    <a:gd name="connsiteY160" fmla="*/ 66675 h 4496940"/>
                    <a:gd name="connsiteX161" fmla="*/ 2097427 w 4519952"/>
                    <a:gd name="connsiteY161" fmla="*/ 47625 h 4496940"/>
                    <a:gd name="connsiteX162" fmla="*/ 2164102 w 4519952"/>
                    <a:gd name="connsiteY162" fmla="*/ 38100 h 4496940"/>
                    <a:gd name="connsiteX163" fmla="*/ 2392702 w 45199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59627 w 4519952"/>
                    <a:gd name="connsiteY46" fmla="*/ 1828800 h 4496940"/>
                    <a:gd name="connsiteX47" fmla="*/ 4519952 w 4519952"/>
                    <a:gd name="connsiteY47" fmla="*/ 2181225 h 4496940"/>
                    <a:gd name="connsiteX48" fmla="*/ 4440577 w 4519952"/>
                    <a:gd name="connsiteY48" fmla="*/ 2876550 h 4496940"/>
                    <a:gd name="connsiteX49" fmla="*/ 4383427 w 4519952"/>
                    <a:gd name="connsiteY49" fmla="*/ 2990850 h 4496940"/>
                    <a:gd name="connsiteX50" fmla="*/ 4354852 w 4519952"/>
                    <a:gd name="connsiteY50" fmla="*/ 3057525 h 4496940"/>
                    <a:gd name="connsiteX51" fmla="*/ 4335802 w 4519952"/>
                    <a:gd name="connsiteY51" fmla="*/ 3095625 h 4496940"/>
                    <a:gd name="connsiteX52" fmla="*/ 4278652 w 4519952"/>
                    <a:gd name="connsiteY52" fmla="*/ 3248025 h 4496940"/>
                    <a:gd name="connsiteX53" fmla="*/ 4259602 w 4519952"/>
                    <a:gd name="connsiteY53" fmla="*/ 3276600 h 4496940"/>
                    <a:gd name="connsiteX54" fmla="*/ 4221502 w 4519952"/>
                    <a:gd name="connsiteY54" fmla="*/ 3333750 h 4496940"/>
                    <a:gd name="connsiteX55" fmla="*/ 4211977 w 4519952"/>
                    <a:gd name="connsiteY55" fmla="*/ 3362325 h 4496940"/>
                    <a:gd name="connsiteX56" fmla="*/ 4183402 w 4519952"/>
                    <a:gd name="connsiteY56" fmla="*/ 3400425 h 4496940"/>
                    <a:gd name="connsiteX57" fmla="*/ 4164352 w 4519952"/>
                    <a:gd name="connsiteY57" fmla="*/ 3429000 h 4496940"/>
                    <a:gd name="connsiteX58" fmla="*/ 4088152 w 4519952"/>
                    <a:gd name="connsiteY58" fmla="*/ 3495675 h 4496940"/>
                    <a:gd name="connsiteX59" fmla="*/ 4059577 w 4519952"/>
                    <a:gd name="connsiteY59" fmla="*/ 3533775 h 4496940"/>
                    <a:gd name="connsiteX60" fmla="*/ 4002427 w 4519952"/>
                    <a:gd name="connsiteY60" fmla="*/ 3600450 h 4496940"/>
                    <a:gd name="connsiteX61" fmla="*/ 3983377 w 4519952"/>
                    <a:gd name="connsiteY61" fmla="*/ 3629025 h 4496940"/>
                    <a:gd name="connsiteX62" fmla="*/ 3954802 w 4519952"/>
                    <a:gd name="connsiteY62" fmla="*/ 3648075 h 4496940"/>
                    <a:gd name="connsiteX63" fmla="*/ 3907177 w 4519952"/>
                    <a:gd name="connsiteY63" fmla="*/ 3686175 h 4496940"/>
                    <a:gd name="connsiteX64" fmla="*/ 3869077 w 4519952"/>
                    <a:gd name="connsiteY64" fmla="*/ 3724275 h 4496940"/>
                    <a:gd name="connsiteX65" fmla="*/ 3792877 w 4519952"/>
                    <a:gd name="connsiteY65" fmla="*/ 3781425 h 4496940"/>
                    <a:gd name="connsiteX66" fmla="*/ 3783352 w 4519952"/>
                    <a:gd name="connsiteY66" fmla="*/ 3810000 h 4496940"/>
                    <a:gd name="connsiteX67" fmla="*/ 3745252 w 4519952"/>
                    <a:gd name="connsiteY67" fmla="*/ 3819525 h 4496940"/>
                    <a:gd name="connsiteX68" fmla="*/ 3678577 w 4519952"/>
                    <a:gd name="connsiteY68" fmla="*/ 3848100 h 4496940"/>
                    <a:gd name="connsiteX69" fmla="*/ 3659527 w 4519952"/>
                    <a:gd name="connsiteY69" fmla="*/ 3971925 h 4496940"/>
                    <a:gd name="connsiteX70" fmla="*/ 3630952 w 4519952"/>
                    <a:gd name="connsiteY70" fmla="*/ 4010025 h 4496940"/>
                    <a:gd name="connsiteX71" fmla="*/ 3621427 w 4519952"/>
                    <a:gd name="connsiteY71" fmla="*/ 4038600 h 4496940"/>
                    <a:gd name="connsiteX72" fmla="*/ 3554752 w 4519952"/>
                    <a:gd name="connsiteY72" fmla="*/ 4095750 h 4496940"/>
                    <a:gd name="connsiteX73" fmla="*/ 3516652 w 4519952"/>
                    <a:gd name="connsiteY73" fmla="*/ 4114800 h 4496940"/>
                    <a:gd name="connsiteX74" fmla="*/ 3497602 w 4519952"/>
                    <a:gd name="connsiteY74" fmla="*/ 4143375 h 4496940"/>
                    <a:gd name="connsiteX75" fmla="*/ 3383302 w 4519952"/>
                    <a:gd name="connsiteY75" fmla="*/ 4210050 h 4496940"/>
                    <a:gd name="connsiteX76" fmla="*/ 3335677 w 4519952"/>
                    <a:gd name="connsiteY76" fmla="*/ 4238625 h 4496940"/>
                    <a:gd name="connsiteX77" fmla="*/ 3288052 w 4519952"/>
                    <a:gd name="connsiteY77" fmla="*/ 4248150 h 4496940"/>
                    <a:gd name="connsiteX78" fmla="*/ 3240427 w 4519952"/>
                    <a:gd name="connsiteY78" fmla="*/ 4267200 h 4496940"/>
                    <a:gd name="connsiteX79" fmla="*/ 3068977 w 4519952"/>
                    <a:gd name="connsiteY79" fmla="*/ 4286250 h 4496940"/>
                    <a:gd name="connsiteX80" fmla="*/ 2935627 w 4519952"/>
                    <a:gd name="connsiteY80" fmla="*/ 4333875 h 4496940"/>
                    <a:gd name="connsiteX81" fmla="*/ 2811802 w 4519952"/>
                    <a:gd name="connsiteY81" fmla="*/ 4371975 h 4496940"/>
                    <a:gd name="connsiteX82" fmla="*/ 2745127 w 4519952"/>
                    <a:gd name="connsiteY82" fmla="*/ 4410075 h 4496940"/>
                    <a:gd name="connsiteX83" fmla="*/ 2697502 w 4519952"/>
                    <a:gd name="connsiteY83" fmla="*/ 4429125 h 4496940"/>
                    <a:gd name="connsiteX84" fmla="*/ 2640352 w 4519952"/>
                    <a:gd name="connsiteY84" fmla="*/ 4457700 h 4496940"/>
                    <a:gd name="connsiteX85" fmla="*/ 2583202 w 4519952"/>
                    <a:gd name="connsiteY85" fmla="*/ 4467225 h 4496940"/>
                    <a:gd name="connsiteX86" fmla="*/ 2545102 w 4519952"/>
                    <a:gd name="connsiteY86" fmla="*/ 4486275 h 4496940"/>
                    <a:gd name="connsiteX87" fmla="*/ 2306977 w 4519952"/>
                    <a:gd name="connsiteY87" fmla="*/ 4476750 h 4496940"/>
                    <a:gd name="connsiteX88" fmla="*/ 2202202 w 4519952"/>
                    <a:gd name="connsiteY88" fmla="*/ 4457700 h 4496940"/>
                    <a:gd name="connsiteX89" fmla="*/ 2126002 w 4519952"/>
                    <a:gd name="connsiteY89" fmla="*/ 4429125 h 4496940"/>
                    <a:gd name="connsiteX90" fmla="*/ 1935502 w 4519952"/>
                    <a:gd name="connsiteY90" fmla="*/ 4400550 h 4496940"/>
                    <a:gd name="connsiteX91" fmla="*/ 1821202 w 4519952"/>
                    <a:gd name="connsiteY91" fmla="*/ 4371975 h 4496940"/>
                    <a:gd name="connsiteX92" fmla="*/ 1754527 w 4519952"/>
                    <a:gd name="connsiteY92" fmla="*/ 4352925 h 4496940"/>
                    <a:gd name="connsiteX93" fmla="*/ 1687852 w 4519952"/>
                    <a:gd name="connsiteY93" fmla="*/ 4343400 h 4496940"/>
                    <a:gd name="connsiteX94" fmla="*/ 1573552 w 4519952"/>
                    <a:gd name="connsiteY94" fmla="*/ 4305300 h 4496940"/>
                    <a:gd name="connsiteX95" fmla="*/ 1402102 w 4519952"/>
                    <a:gd name="connsiteY95" fmla="*/ 4276725 h 4496940"/>
                    <a:gd name="connsiteX96" fmla="*/ 1287802 w 4519952"/>
                    <a:gd name="connsiteY96" fmla="*/ 4229100 h 4496940"/>
                    <a:gd name="connsiteX97" fmla="*/ 1221127 w 4519952"/>
                    <a:gd name="connsiteY97" fmla="*/ 4200525 h 4496940"/>
                    <a:gd name="connsiteX98" fmla="*/ 1144927 w 4519952"/>
                    <a:gd name="connsiteY98" fmla="*/ 4171950 h 4496940"/>
                    <a:gd name="connsiteX99" fmla="*/ 1087777 w 4519952"/>
                    <a:gd name="connsiteY99" fmla="*/ 4143375 h 4496940"/>
                    <a:gd name="connsiteX100" fmla="*/ 1030627 w 4519952"/>
                    <a:gd name="connsiteY100" fmla="*/ 4124325 h 4496940"/>
                    <a:gd name="connsiteX101" fmla="*/ 925852 w 4519952"/>
                    <a:gd name="connsiteY101" fmla="*/ 4067175 h 4496940"/>
                    <a:gd name="connsiteX102" fmla="*/ 830602 w 4519952"/>
                    <a:gd name="connsiteY102" fmla="*/ 3981450 h 4496940"/>
                    <a:gd name="connsiteX103" fmla="*/ 763927 w 4519952"/>
                    <a:gd name="connsiteY103" fmla="*/ 3914775 h 4496940"/>
                    <a:gd name="connsiteX104" fmla="*/ 725827 w 4519952"/>
                    <a:gd name="connsiteY104" fmla="*/ 3876675 h 4496940"/>
                    <a:gd name="connsiteX105" fmla="*/ 697252 w 4519952"/>
                    <a:gd name="connsiteY105" fmla="*/ 3838575 h 4496940"/>
                    <a:gd name="connsiteX106" fmla="*/ 640102 w 4519952"/>
                    <a:gd name="connsiteY106" fmla="*/ 3781425 h 4496940"/>
                    <a:gd name="connsiteX107" fmla="*/ 611527 w 4519952"/>
                    <a:gd name="connsiteY107" fmla="*/ 3733800 h 4496940"/>
                    <a:gd name="connsiteX108" fmla="*/ 554377 w 4519952"/>
                    <a:gd name="connsiteY108" fmla="*/ 3657600 h 4496940"/>
                    <a:gd name="connsiteX109" fmla="*/ 525802 w 4519952"/>
                    <a:gd name="connsiteY109" fmla="*/ 3609975 h 4496940"/>
                    <a:gd name="connsiteX110" fmla="*/ 497227 w 4519952"/>
                    <a:gd name="connsiteY110" fmla="*/ 3552825 h 4496940"/>
                    <a:gd name="connsiteX111" fmla="*/ 440077 w 4519952"/>
                    <a:gd name="connsiteY111" fmla="*/ 3495675 h 4496940"/>
                    <a:gd name="connsiteX112" fmla="*/ 411502 w 4519952"/>
                    <a:gd name="connsiteY112" fmla="*/ 3448050 h 4496940"/>
                    <a:gd name="connsiteX113" fmla="*/ 278152 w 4519952"/>
                    <a:gd name="connsiteY113" fmla="*/ 3257550 h 4496940"/>
                    <a:gd name="connsiteX114" fmla="*/ 249577 w 4519952"/>
                    <a:gd name="connsiteY114" fmla="*/ 3200400 h 4496940"/>
                    <a:gd name="connsiteX115" fmla="*/ 240052 w 4519952"/>
                    <a:gd name="connsiteY115" fmla="*/ 3162300 h 4496940"/>
                    <a:gd name="connsiteX116" fmla="*/ 221002 w 4519952"/>
                    <a:gd name="connsiteY116" fmla="*/ 3105150 h 4496940"/>
                    <a:gd name="connsiteX117" fmla="*/ 173377 w 4519952"/>
                    <a:gd name="connsiteY117" fmla="*/ 3019425 h 4496940"/>
                    <a:gd name="connsiteX118" fmla="*/ 144802 w 4519952"/>
                    <a:gd name="connsiteY118" fmla="*/ 2924175 h 4496940"/>
                    <a:gd name="connsiteX119" fmla="*/ 68602 w 4519952"/>
                    <a:gd name="connsiteY119" fmla="*/ 2724150 h 4496940"/>
                    <a:gd name="connsiteX120" fmla="*/ 49552 w 4519952"/>
                    <a:gd name="connsiteY120" fmla="*/ 2638425 h 4496940"/>
                    <a:gd name="connsiteX121" fmla="*/ 40027 w 4519952"/>
                    <a:gd name="connsiteY121" fmla="*/ 2562225 h 4496940"/>
                    <a:gd name="connsiteX122" fmla="*/ 30502 w 4519952"/>
                    <a:gd name="connsiteY122" fmla="*/ 2514600 h 4496940"/>
                    <a:gd name="connsiteX123" fmla="*/ 11452 w 4519952"/>
                    <a:gd name="connsiteY123" fmla="*/ 2400300 h 4496940"/>
                    <a:gd name="connsiteX124" fmla="*/ 20977 w 4519952"/>
                    <a:gd name="connsiteY124" fmla="*/ 1905000 h 4496940"/>
                    <a:gd name="connsiteX125" fmla="*/ 30502 w 4519952"/>
                    <a:gd name="connsiteY125" fmla="*/ 1838325 h 4496940"/>
                    <a:gd name="connsiteX126" fmla="*/ 49552 w 4519952"/>
                    <a:gd name="connsiteY126" fmla="*/ 1781175 h 4496940"/>
                    <a:gd name="connsiteX127" fmla="*/ 59077 w 4519952"/>
                    <a:gd name="connsiteY127" fmla="*/ 1743075 h 4496940"/>
                    <a:gd name="connsiteX128" fmla="*/ 78127 w 4519952"/>
                    <a:gd name="connsiteY128" fmla="*/ 1685925 h 4496940"/>
                    <a:gd name="connsiteX129" fmla="*/ 87652 w 4519952"/>
                    <a:gd name="connsiteY129" fmla="*/ 1638300 h 4496940"/>
                    <a:gd name="connsiteX130" fmla="*/ 106702 w 4519952"/>
                    <a:gd name="connsiteY130" fmla="*/ 1590675 h 4496940"/>
                    <a:gd name="connsiteX131" fmla="*/ 135277 w 4519952"/>
                    <a:gd name="connsiteY131" fmla="*/ 1504950 h 4496940"/>
                    <a:gd name="connsiteX132" fmla="*/ 154327 w 4519952"/>
                    <a:gd name="connsiteY132" fmla="*/ 1419225 h 4496940"/>
                    <a:gd name="connsiteX133" fmla="*/ 230527 w 4519952"/>
                    <a:gd name="connsiteY133" fmla="*/ 1276350 h 4496940"/>
                    <a:gd name="connsiteX134" fmla="*/ 240052 w 4519952"/>
                    <a:gd name="connsiteY134" fmla="*/ 1247775 h 4496940"/>
                    <a:gd name="connsiteX135" fmla="*/ 268627 w 4519952"/>
                    <a:gd name="connsiteY135" fmla="*/ 1200150 h 4496940"/>
                    <a:gd name="connsiteX136" fmla="*/ 287677 w 4519952"/>
                    <a:gd name="connsiteY136" fmla="*/ 1152525 h 4496940"/>
                    <a:gd name="connsiteX137" fmla="*/ 316252 w 4519952"/>
                    <a:gd name="connsiteY137" fmla="*/ 1114425 h 4496940"/>
                    <a:gd name="connsiteX138" fmla="*/ 363877 w 4519952"/>
                    <a:gd name="connsiteY138" fmla="*/ 1038225 h 4496940"/>
                    <a:gd name="connsiteX139" fmla="*/ 382927 w 4519952"/>
                    <a:gd name="connsiteY139" fmla="*/ 1009650 h 4496940"/>
                    <a:gd name="connsiteX140" fmla="*/ 440077 w 4519952"/>
                    <a:gd name="connsiteY140" fmla="*/ 904875 h 4496940"/>
                    <a:gd name="connsiteX141" fmla="*/ 478177 w 4519952"/>
                    <a:gd name="connsiteY141" fmla="*/ 857250 h 4496940"/>
                    <a:gd name="connsiteX142" fmla="*/ 497227 w 4519952"/>
                    <a:gd name="connsiteY142" fmla="*/ 828675 h 4496940"/>
                    <a:gd name="connsiteX143" fmla="*/ 535327 w 4519952"/>
                    <a:gd name="connsiteY143" fmla="*/ 800100 h 4496940"/>
                    <a:gd name="connsiteX144" fmla="*/ 602002 w 4519952"/>
                    <a:gd name="connsiteY144" fmla="*/ 733425 h 4496940"/>
                    <a:gd name="connsiteX145" fmla="*/ 668677 w 4519952"/>
                    <a:gd name="connsiteY145" fmla="*/ 676275 h 4496940"/>
                    <a:gd name="connsiteX146" fmla="*/ 697252 w 4519952"/>
                    <a:gd name="connsiteY146" fmla="*/ 657225 h 4496940"/>
                    <a:gd name="connsiteX147" fmla="*/ 840127 w 4519952"/>
                    <a:gd name="connsiteY147" fmla="*/ 533400 h 4496940"/>
                    <a:gd name="connsiteX148" fmla="*/ 887752 w 4519952"/>
                    <a:gd name="connsiteY148" fmla="*/ 504825 h 4496940"/>
                    <a:gd name="connsiteX149" fmla="*/ 1167152 w 4519952"/>
                    <a:gd name="connsiteY149" fmla="*/ 311150 h 4496940"/>
                    <a:gd name="connsiteX150" fmla="*/ 1268752 w 4519952"/>
                    <a:gd name="connsiteY150" fmla="*/ 285750 h 4496940"/>
                    <a:gd name="connsiteX151" fmla="*/ 1411627 w 4519952"/>
                    <a:gd name="connsiteY151" fmla="*/ 190500 h 4496940"/>
                    <a:gd name="connsiteX152" fmla="*/ 1449727 w 4519952"/>
                    <a:gd name="connsiteY152" fmla="*/ 161925 h 4496940"/>
                    <a:gd name="connsiteX153" fmla="*/ 1525927 w 4519952"/>
                    <a:gd name="connsiteY153" fmla="*/ 152400 h 4496940"/>
                    <a:gd name="connsiteX154" fmla="*/ 1583077 w 4519952"/>
                    <a:gd name="connsiteY154" fmla="*/ 142875 h 4496940"/>
                    <a:gd name="connsiteX155" fmla="*/ 1716427 w 4519952"/>
                    <a:gd name="connsiteY155" fmla="*/ 123825 h 4496940"/>
                    <a:gd name="connsiteX156" fmla="*/ 1811677 w 4519952"/>
                    <a:gd name="connsiteY156" fmla="*/ 114300 h 4496940"/>
                    <a:gd name="connsiteX157" fmla="*/ 1859302 w 4519952"/>
                    <a:gd name="connsiteY157" fmla="*/ 104775 h 4496940"/>
                    <a:gd name="connsiteX158" fmla="*/ 1916452 w 4519952"/>
                    <a:gd name="connsiteY158" fmla="*/ 95250 h 4496940"/>
                    <a:gd name="connsiteX159" fmla="*/ 2030752 w 4519952"/>
                    <a:gd name="connsiteY159" fmla="*/ 66675 h 4496940"/>
                    <a:gd name="connsiteX160" fmla="*/ 2097427 w 4519952"/>
                    <a:gd name="connsiteY160" fmla="*/ 47625 h 4496940"/>
                    <a:gd name="connsiteX161" fmla="*/ 2164102 w 4519952"/>
                    <a:gd name="connsiteY161" fmla="*/ 38100 h 4496940"/>
                    <a:gd name="connsiteX162" fmla="*/ 2392702 w 4519952"/>
                    <a:gd name="connsiteY162" fmla="*/ 28575 h 4496940"/>
                    <a:gd name="connsiteX0" fmla="*/ 2297452 w 4519983"/>
                    <a:gd name="connsiteY0" fmla="*/ 0 h 4496940"/>
                    <a:gd name="connsiteX1" fmla="*/ 2421277 w 4519983"/>
                    <a:gd name="connsiteY1" fmla="*/ 28575 h 4496940"/>
                    <a:gd name="connsiteX2" fmla="*/ 2497477 w 4519983"/>
                    <a:gd name="connsiteY2" fmla="*/ 47625 h 4496940"/>
                    <a:gd name="connsiteX3" fmla="*/ 2754652 w 4519983"/>
                    <a:gd name="connsiteY3" fmla="*/ 66675 h 4496940"/>
                    <a:gd name="connsiteX4" fmla="*/ 2830852 w 4519983"/>
                    <a:gd name="connsiteY4" fmla="*/ 76200 h 4496940"/>
                    <a:gd name="connsiteX5" fmla="*/ 2916577 w 4519983"/>
                    <a:gd name="connsiteY5" fmla="*/ 85725 h 4496940"/>
                    <a:gd name="connsiteX6" fmla="*/ 2973727 w 4519983"/>
                    <a:gd name="connsiteY6" fmla="*/ 114300 h 4496940"/>
                    <a:gd name="connsiteX7" fmla="*/ 3011827 w 4519983"/>
                    <a:gd name="connsiteY7" fmla="*/ 123825 h 4496940"/>
                    <a:gd name="connsiteX8" fmla="*/ 3135652 w 4519983"/>
                    <a:gd name="connsiteY8" fmla="*/ 171450 h 4496940"/>
                    <a:gd name="connsiteX9" fmla="*/ 3173752 w 4519983"/>
                    <a:gd name="connsiteY9" fmla="*/ 190500 h 4496940"/>
                    <a:gd name="connsiteX10" fmla="*/ 3240427 w 4519983"/>
                    <a:gd name="connsiteY10" fmla="*/ 228600 h 4496940"/>
                    <a:gd name="connsiteX11" fmla="*/ 3269002 w 4519983"/>
                    <a:gd name="connsiteY11" fmla="*/ 238125 h 4496940"/>
                    <a:gd name="connsiteX12" fmla="*/ 3297577 w 4519983"/>
                    <a:gd name="connsiteY12" fmla="*/ 257175 h 4496940"/>
                    <a:gd name="connsiteX13" fmla="*/ 3326152 w 4519983"/>
                    <a:gd name="connsiteY13" fmla="*/ 266700 h 4496940"/>
                    <a:gd name="connsiteX14" fmla="*/ 3354727 w 4519983"/>
                    <a:gd name="connsiteY14" fmla="*/ 285750 h 4496940"/>
                    <a:gd name="connsiteX15" fmla="*/ 3421402 w 4519983"/>
                    <a:gd name="connsiteY15" fmla="*/ 323850 h 4496940"/>
                    <a:gd name="connsiteX16" fmla="*/ 3469027 w 4519983"/>
                    <a:gd name="connsiteY16" fmla="*/ 361950 h 4496940"/>
                    <a:gd name="connsiteX17" fmla="*/ 3516652 w 4519983"/>
                    <a:gd name="connsiteY17" fmla="*/ 390525 h 4496940"/>
                    <a:gd name="connsiteX18" fmla="*/ 3545227 w 4519983"/>
                    <a:gd name="connsiteY18" fmla="*/ 419100 h 4496940"/>
                    <a:gd name="connsiteX19" fmla="*/ 3602377 w 4519983"/>
                    <a:gd name="connsiteY19" fmla="*/ 457200 h 4496940"/>
                    <a:gd name="connsiteX20" fmla="*/ 3630952 w 4519983"/>
                    <a:gd name="connsiteY20" fmla="*/ 485775 h 4496940"/>
                    <a:gd name="connsiteX21" fmla="*/ 3678577 w 4519983"/>
                    <a:gd name="connsiteY21" fmla="*/ 504825 h 4496940"/>
                    <a:gd name="connsiteX22" fmla="*/ 3745252 w 4519983"/>
                    <a:gd name="connsiteY22" fmla="*/ 542925 h 4496940"/>
                    <a:gd name="connsiteX23" fmla="*/ 3811927 w 4519983"/>
                    <a:gd name="connsiteY23" fmla="*/ 581025 h 4496940"/>
                    <a:gd name="connsiteX24" fmla="*/ 3840502 w 4519983"/>
                    <a:gd name="connsiteY24" fmla="*/ 600075 h 4496940"/>
                    <a:gd name="connsiteX25" fmla="*/ 3869077 w 4519983"/>
                    <a:gd name="connsiteY25" fmla="*/ 628650 h 4496940"/>
                    <a:gd name="connsiteX26" fmla="*/ 3907177 w 4519983"/>
                    <a:gd name="connsiteY26" fmla="*/ 647700 h 4496940"/>
                    <a:gd name="connsiteX27" fmla="*/ 3935752 w 4519983"/>
                    <a:gd name="connsiteY27" fmla="*/ 676275 h 4496940"/>
                    <a:gd name="connsiteX28" fmla="*/ 3992902 w 4519983"/>
                    <a:gd name="connsiteY28" fmla="*/ 714375 h 4496940"/>
                    <a:gd name="connsiteX29" fmla="*/ 4050052 w 4519983"/>
                    <a:gd name="connsiteY29" fmla="*/ 790575 h 4496940"/>
                    <a:gd name="connsiteX30" fmla="*/ 4078627 w 4519983"/>
                    <a:gd name="connsiteY30" fmla="*/ 838200 h 4496940"/>
                    <a:gd name="connsiteX31" fmla="*/ 4107202 w 4519983"/>
                    <a:gd name="connsiteY31" fmla="*/ 876300 h 4496940"/>
                    <a:gd name="connsiteX32" fmla="*/ 4116727 w 4519983"/>
                    <a:gd name="connsiteY32" fmla="*/ 904875 h 4496940"/>
                    <a:gd name="connsiteX33" fmla="*/ 4135777 w 4519983"/>
                    <a:gd name="connsiteY33" fmla="*/ 933450 h 4496940"/>
                    <a:gd name="connsiteX34" fmla="*/ 4164352 w 4519983"/>
                    <a:gd name="connsiteY34" fmla="*/ 990600 h 4496940"/>
                    <a:gd name="connsiteX35" fmla="*/ 4173877 w 4519983"/>
                    <a:gd name="connsiteY35" fmla="*/ 1019175 h 4496940"/>
                    <a:gd name="connsiteX36" fmla="*/ 4192927 w 4519983"/>
                    <a:gd name="connsiteY36" fmla="*/ 1057275 h 4496940"/>
                    <a:gd name="connsiteX37" fmla="*/ 4202452 w 4519983"/>
                    <a:gd name="connsiteY37" fmla="*/ 1085850 h 4496940"/>
                    <a:gd name="connsiteX38" fmla="*/ 4250077 w 4519983"/>
                    <a:gd name="connsiteY38" fmla="*/ 1143000 h 4496940"/>
                    <a:gd name="connsiteX39" fmla="*/ 4259602 w 4519983"/>
                    <a:gd name="connsiteY39" fmla="*/ 1190625 h 4496940"/>
                    <a:gd name="connsiteX40" fmla="*/ 4307227 w 4519983"/>
                    <a:gd name="connsiteY40" fmla="*/ 1266825 h 4496940"/>
                    <a:gd name="connsiteX41" fmla="*/ 4345327 w 4519983"/>
                    <a:gd name="connsiteY41" fmla="*/ 1362075 h 4496940"/>
                    <a:gd name="connsiteX42" fmla="*/ 4373902 w 4519983"/>
                    <a:gd name="connsiteY42" fmla="*/ 1428750 h 4496940"/>
                    <a:gd name="connsiteX43" fmla="*/ 4392952 w 4519983"/>
                    <a:gd name="connsiteY43" fmla="*/ 1552575 h 4496940"/>
                    <a:gd name="connsiteX44" fmla="*/ 4402477 w 4519983"/>
                    <a:gd name="connsiteY44" fmla="*/ 1590675 h 4496940"/>
                    <a:gd name="connsiteX45" fmla="*/ 4431052 w 4519983"/>
                    <a:gd name="connsiteY45" fmla="*/ 1685925 h 4496940"/>
                    <a:gd name="connsiteX46" fmla="*/ 4519952 w 4519983"/>
                    <a:gd name="connsiteY46" fmla="*/ 2181225 h 4496940"/>
                    <a:gd name="connsiteX47" fmla="*/ 4440577 w 4519983"/>
                    <a:gd name="connsiteY47" fmla="*/ 2876550 h 4496940"/>
                    <a:gd name="connsiteX48" fmla="*/ 4383427 w 4519983"/>
                    <a:gd name="connsiteY48" fmla="*/ 2990850 h 4496940"/>
                    <a:gd name="connsiteX49" fmla="*/ 4354852 w 4519983"/>
                    <a:gd name="connsiteY49" fmla="*/ 3057525 h 4496940"/>
                    <a:gd name="connsiteX50" fmla="*/ 4335802 w 4519983"/>
                    <a:gd name="connsiteY50" fmla="*/ 3095625 h 4496940"/>
                    <a:gd name="connsiteX51" fmla="*/ 4278652 w 4519983"/>
                    <a:gd name="connsiteY51" fmla="*/ 3248025 h 4496940"/>
                    <a:gd name="connsiteX52" fmla="*/ 4259602 w 4519983"/>
                    <a:gd name="connsiteY52" fmla="*/ 3276600 h 4496940"/>
                    <a:gd name="connsiteX53" fmla="*/ 4221502 w 4519983"/>
                    <a:gd name="connsiteY53" fmla="*/ 3333750 h 4496940"/>
                    <a:gd name="connsiteX54" fmla="*/ 4211977 w 4519983"/>
                    <a:gd name="connsiteY54" fmla="*/ 3362325 h 4496940"/>
                    <a:gd name="connsiteX55" fmla="*/ 4183402 w 4519983"/>
                    <a:gd name="connsiteY55" fmla="*/ 3400425 h 4496940"/>
                    <a:gd name="connsiteX56" fmla="*/ 4164352 w 4519983"/>
                    <a:gd name="connsiteY56" fmla="*/ 3429000 h 4496940"/>
                    <a:gd name="connsiteX57" fmla="*/ 4088152 w 4519983"/>
                    <a:gd name="connsiteY57" fmla="*/ 3495675 h 4496940"/>
                    <a:gd name="connsiteX58" fmla="*/ 4059577 w 4519983"/>
                    <a:gd name="connsiteY58" fmla="*/ 3533775 h 4496940"/>
                    <a:gd name="connsiteX59" fmla="*/ 4002427 w 4519983"/>
                    <a:gd name="connsiteY59" fmla="*/ 3600450 h 4496940"/>
                    <a:gd name="connsiteX60" fmla="*/ 3983377 w 4519983"/>
                    <a:gd name="connsiteY60" fmla="*/ 3629025 h 4496940"/>
                    <a:gd name="connsiteX61" fmla="*/ 3954802 w 4519983"/>
                    <a:gd name="connsiteY61" fmla="*/ 3648075 h 4496940"/>
                    <a:gd name="connsiteX62" fmla="*/ 3907177 w 4519983"/>
                    <a:gd name="connsiteY62" fmla="*/ 3686175 h 4496940"/>
                    <a:gd name="connsiteX63" fmla="*/ 3869077 w 4519983"/>
                    <a:gd name="connsiteY63" fmla="*/ 3724275 h 4496940"/>
                    <a:gd name="connsiteX64" fmla="*/ 3792877 w 4519983"/>
                    <a:gd name="connsiteY64" fmla="*/ 3781425 h 4496940"/>
                    <a:gd name="connsiteX65" fmla="*/ 3783352 w 4519983"/>
                    <a:gd name="connsiteY65" fmla="*/ 3810000 h 4496940"/>
                    <a:gd name="connsiteX66" fmla="*/ 3745252 w 4519983"/>
                    <a:gd name="connsiteY66" fmla="*/ 3819525 h 4496940"/>
                    <a:gd name="connsiteX67" fmla="*/ 3678577 w 4519983"/>
                    <a:gd name="connsiteY67" fmla="*/ 3848100 h 4496940"/>
                    <a:gd name="connsiteX68" fmla="*/ 3659527 w 4519983"/>
                    <a:gd name="connsiteY68" fmla="*/ 3971925 h 4496940"/>
                    <a:gd name="connsiteX69" fmla="*/ 3630952 w 4519983"/>
                    <a:gd name="connsiteY69" fmla="*/ 4010025 h 4496940"/>
                    <a:gd name="connsiteX70" fmla="*/ 3621427 w 4519983"/>
                    <a:gd name="connsiteY70" fmla="*/ 4038600 h 4496940"/>
                    <a:gd name="connsiteX71" fmla="*/ 3554752 w 4519983"/>
                    <a:gd name="connsiteY71" fmla="*/ 4095750 h 4496940"/>
                    <a:gd name="connsiteX72" fmla="*/ 3516652 w 4519983"/>
                    <a:gd name="connsiteY72" fmla="*/ 4114800 h 4496940"/>
                    <a:gd name="connsiteX73" fmla="*/ 3497602 w 4519983"/>
                    <a:gd name="connsiteY73" fmla="*/ 4143375 h 4496940"/>
                    <a:gd name="connsiteX74" fmla="*/ 3383302 w 4519983"/>
                    <a:gd name="connsiteY74" fmla="*/ 4210050 h 4496940"/>
                    <a:gd name="connsiteX75" fmla="*/ 3335677 w 4519983"/>
                    <a:gd name="connsiteY75" fmla="*/ 4238625 h 4496940"/>
                    <a:gd name="connsiteX76" fmla="*/ 3288052 w 4519983"/>
                    <a:gd name="connsiteY76" fmla="*/ 4248150 h 4496940"/>
                    <a:gd name="connsiteX77" fmla="*/ 3240427 w 4519983"/>
                    <a:gd name="connsiteY77" fmla="*/ 4267200 h 4496940"/>
                    <a:gd name="connsiteX78" fmla="*/ 3068977 w 4519983"/>
                    <a:gd name="connsiteY78" fmla="*/ 4286250 h 4496940"/>
                    <a:gd name="connsiteX79" fmla="*/ 2935627 w 4519983"/>
                    <a:gd name="connsiteY79" fmla="*/ 4333875 h 4496940"/>
                    <a:gd name="connsiteX80" fmla="*/ 2811802 w 4519983"/>
                    <a:gd name="connsiteY80" fmla="*/ 4371975 h 4496940"/>
                    <a:gd name="connsiteX81" fmla="*/ 2745127 w 4519983"/>
                    <a:gd name="connsiteY81" fmla="*/ 4410075 h 4496940"/>
                    <a:gd name="connsiteX82" fmla="*/ 2697502 w 4519983"/>
                    <a:gd name="connsiteY82" fmla="*/ 4429125 h 4496940"/>
                    <a:gd name="connsiteX83" fmla="*/ 2640352 w 4519983"/>
                    <a:gd name="connsiteY83" fmla="*/ 4457700 h 4496940"/>
                    <a:gd name="connsiteX84" fmla="*/ 2583202 w 4519983"/>
                    <a:gd name="connsiteY84" fmla="*/ 4467225 h 4496940"/>
                    <a:gd name="connsiteX85" fmla="*/ 2545102 w 4519983"/>
                    <a:gd name="connsiteY85" fmla="*/ 4486275 h 4496940"/>
                    <a:gd name="connsiteX86" fmla="*/ 2306977 w 4519983"/>
                    <a:gd name="connsiteY86" fmla="*/ 4476750 h 4496940"/>
                    <a:gd name="connsiteX87" fmla="*/ 2202202 w 4519983"/>
                    <a:gd name="connsiteY87" fmla="*/ 4457700 h 4496940"/>
                    <a:gd name="connsiteX88" fmla="*/ 2126002 w 4519983"/>
                    <a:gd name="connsiteY88" fmla="*/ 4429125 h 4496940"/>
                    <a:gd name="connsiteX89" fmla="*/ 1935502 w 4519983"/>
                    <a:gd name="connsiteY89" fmla="*/ 4400550 h 4496940"/>
                    <a:gd name="connsiteX90" fmla="*/ 1821202 w 4519983"/>
                    <a:gd name="connsiteY90" fmla="*/ 4371975 h 4496940"/>
                    <a:gd name="connsiteX91" fmla="*/ 1754527 w 4519983"/>
                    <a:gd name="connsiteY91" fmla="*/ 4352925 h 4496940"/>
                    <a:gd name="connsiteX92" fmla="*/ 1687852 w 4519983"/>
                    <a:gd name="connsiteY92" fmla="*/ 4343400 h 4496940"/>
                    <a:gd name="connsiteX93" fmla="*/ 1573552 w 4519983"/>
                    <a:gd name="connsiteY93" fmla="*/ 4305300 h 4496940"/>
                    <a:gd name="connsiteX94" fmla="*/ 1402102 w 4519983"/>
                    <a:gd name="connsiteY94" fmla="*/ 4276725 h 4496940"/>
                    <a:gd name="connsiteX95" fmla="*/ 1287802 w 4519983"/>
                    <a:gd name="connsiteY95" fmla="*/ 4229100 h 4496940"/>
                    <a:gd name="connsiteX96" fmla="*/ 1221127 w 4519983"/>
                    <a:gd name="connsiteY96" fmla="*/ 4200525 h 4496940"/>
                    <a:gd name="connsiteX97" fmla="*/ 1144927 w 4519983"/>
                    <a:gd name="connsiteY97" fmla="*/ 4171950 h 4496940"/>
                    <a:gd name="connsiteX98" fmla="*/ 1087777 w 4519983"/>
                    <a:gd name="connsiteY98" fmla="*/ 4143375 h 4496940"/>
                    <a:gd name="connsiteX99" fmla="*/ 1030627 w 4519983"/>
                    <a:gd name="connsiteY99" fmla="*/ 4124325 h 4496940"/>
                    <a:gd name="connsiteX100" fmla="*/ 925852 w 4519983"/>
                    <a:gd name="connsiteY100" fmla="*/ 4067175 h 4496940"/>
                    <a:gd name="connsiteX101" fmla="*/ 830602 w 4519983"/>
                    <a:gd name="connsiteY101" fmla="*/ 3981450 h 4496940"/>
                    <a:gd name="connsiteX102" fmla="*/ 763927 w 4519983"/>
                    <a:gd name="connsiteY102" fmla="*/ 3914775 h 4496940"/>
                    <a:gd name="connsiteX103" fmla="*/ 725827 w 4519983"/>
                    <a:gd name="connsiteY103" fmla="*/ 3876675 h 4496940"/>
                    <a:gd name="connsiteX104" fmla="*/ 697252 w 4519983"/>
                    <a:gd name="connsiteY104" fmla="*/ 3838575 h 4496940"/>
                    <a:gd name="connsiteX105" fmla="*/ 640102 w 4519983"/>
                    <a:gd name="connsiteY105" fmla="*/ 3781425 h 4496940"/>
                    <a:gd name="connsiteX106" fmla="*/ 611527 w 4519983"/>
                    <a:gd name="connsiteY106" fmla="*/ 3733800 h 4496940"/>
                    <a:gd name="connsiteX107" fmla="*/ 554377 w 4519983"/>
                    <a:gd name="connsiteY107" fmla="*/ 3657600 h 4496940"/>
                    <a:gd name="connsiteX108" fmla="*/ 525802 w 4519983"/>
                    <a:gd name="connsiteY108" fmla="*/ 3609975 h 4496940"/>
                    <a:gd name="connsiteX109" fmla="*/ 497227 w 4519983"/>
                    <a:gd name="connsiteY109" fmla="*/ 3552825 h 4496940"/>
                    <a:gd name="connsiteX110" fmla="*/ 440077 w 4519983"/>
                    <a:gd name="connsiteY110" fmla="*/ 3495675 h 4496940"/>
                    <a:gd name="connsiteX111" fmla="*/ 411502 w 4519983"/>
                    <a:gd name="connsiteY111" fmla="*/ 3448050 h 4496940"/>
                    <a:gd name="connsiteX112" fmla="*/ 278152 w 4519983"/>
                    <a:gd name="connsiteY112" fmla="*/ 3257550 h 4496940"/>
                    <a:gd name="connsiteX113" fmla="*/ 249577 w 4519983"/>
                    <a:gd name="connsiteY113" fmla="*/ 3200400 h 4496940"/>
                    <a:gd name="connsiteX114" fmla="*/ 240052 w 4519983"/>
                    <a:gd name="connsiteY114" fmla="*/ 3162300 h 4496940"/>
                    <a:gd name="connsiteX115" fmla="*/ 221002 w 4519983"/>
                    <a:gd name="connsiteY115" fmla="*/ 3105150 h 4496940"/>
                    <a:gd name="connsiteX116" fmla="*/ 173377 w 4519983"/>
                    <a:gd name="connsiteY116" fmla="*/ 3019425 h 4496940"/>
                    <a:gd name="connsiteX117" fmla="*/ 144802 w 4519983"/>
                    <a:gd name="connsiteY117" fmla="*/ 2924175 h 4496940"/>
                    <a:gd name="connsiteX118" fmla="*/ 68602 w 4519983"/>
                    <a:gd name="connsiteY118" fmla="*/ 2724150 h 4496940"/>
                    <a:gd name="connsiteX119" fmla="*/ 49552 w 4519983"/>
                    <a:gd name="connsiteY119" fmla="*/ 2638425 h 4496940"/>
                    <a:gd name="connsiteX120" fmla="*/ 40027 w 4519983"/>
                    <a:gd name="connsiteY120" fmla="*/ 2562225 h 4496940"/>
                    <a:gd name="connsiteX121" fmla="*/ 30502 w 4519983"/>
                    <a:gd name="connsiteY121" fmla="*/ 2514600 h 4496940"/>
                    <a:gd name="connsiteX122" fmla="*/ 11452 w 4519983"/>
                    <a:gd name="connsiteY122" fmla="*/ 2400300 h 4496940"/>
                    <a:gd name="connsiteX123" fmla="*/ 20977 w 4519983"/>
                    <a:gd name="connsiteY123" fmla="*/ 1905000 h 4496940"/>
                    <a:gd name="connsiteX124" fmla="*/ 30502 w 4519983"/>
                    <a:gd name="connsiteY124" fmla="*/ 1838325 h 4496940"/>
                    <a:gd name="connsiteX125" fmla="*/ 49552 w 4519983"/>
                    <a:gd name="connsiteY125" fmla="*/ 1781175 h 4496940"/>
                    <a:gd name="connsiteX126" fmla="*/ 59077 w 4519983"/>
                    <a:gd name="connsiteY126" fmla="*/ 1743075 h 4496940"/>
                    <a:gd name="connsiteX127" fmla="*/ 78127 w 4519983"/>
                    <a:gd name="connsiteY127" fmla="*/ 1685925 h 4496940"/>
                    <a:gd name="connsiteX128" fmla="*/ 87652 w 4519983"/>
                    <a:gd name="connsiteY128" fmla="*/ 1638300 h 4496940"/>
                    <a:gd name="connsiteX129" fmla="*/ 106702 w 4519983"/>
                    <a:gd name="connsiteY129" fmla="*/ 1590675 h 4496940"/>
                    <a:gd name="connsiteX130" fmla="*/ 135277 w 4519983"/>
                    <a:gd name="connsiteY130" fmla="*/ 1504950 h 4496940"/>
                    <a:gd name="connsiteX131" fmla="*/ 154327 w 4519983"/>
                    <a:gd name="connsiteY131" fmla="*/ 1419225 h 4496940"/>
                    <a:gd name="connsiteX132" fmla="*/ 230527 w 4519983"/>
                    <a:gd name="connsiteY132" fmla="*/ 1276350 h 4496940"/>
                    <a:gd name="connsiteX133" fmla="*/ 240052 w 4519983"/>
                    <a:gd name="connsiteY133" fmla="*/ 1247775 h 4496940"/>
                    <a:gd name="connsiteX134" fmla="*/ 268627 w 4519983"/>
                    <a:gd name="connsiteY134" fmla="*/ 1200150 h 4496940"/>
                    <a:gd name="connsiteX135" fmla="*/ 287677 w 4519983"/>
                    <a:gd name="connsiteY135" fmla="*/ 1152525 h 4496940"/>
                    <a:gd name="connsiteX136" fmla="*/ 316252 w 4519983"/>
                    <a:gd name="connsiteY136" fmla="*/ 1114425 h 4496940"/>
                    <a:gd name="connsiteX137" fmla="*/ 363877 w 4519983"/>
                    <a:gd name="connsiteY137" fmla="*/ 1038225 h 4496940"/>
                    <a:gd name="connsiteX138" fmla="*/ 382927 w 4519983"/>
                    <a:gd name="connsiteY138" fmla="*/ 1009650 h 4496940"/>
                    <a:gd name="connsiteX139" fmla="*/ 440077 w 4519983"/>
                    <a:gd name="connsiteY139" fmla="*/ 904875 h 4496940"/>
                    <a:gd name="connsiteX140" fmla="*/ 478177 w 4519983"/>
                    <a:gd name="connsiteY140" fmla="*/ 857250 h 4496940"/>
                    <a:gd name="connsiteX141" fmla="*/ 497227 w 4519983"/>
                    <a:gd name="connsiteY141" fmla="*/ 828675 h 4496940"/>
                    <a:gd name="connsiteX142" fmla="*/ 535327 w 4519983"/>
                    <a:gd name="connsiteY142" fmla="*/ 800100 h 4496940"/>
                    <a:gd name="connsiteX143" fmla="*/ 602002 w 4519983"/>
                    <a:gd name="connsiteY143" fmla="*/ 733425 h 4496940"/>
                    <a:gd name="connsiteX144" fmla="*/ 668677 w 4519983"/>
                    <a:gd name="connsiteY144" fmla="*/ 676275 h 4496940"/>
                    <a:gd name="connsiteX145" fmla="*/ 697252 w 4519983"/>
                    <a:gd name="connsiteY145" fmla="*/ 657225 h 4496940"/>
                    <a:gd name="connsiteX146" fmla="*/ 840127 w 4519983"/>
                    <a:gd name="connsiteY146" fmla="*/ 533400 h 4496940"/>
                    <a:gd name="connsiteX147" fmla="*/ 887752 w 4519983"/>
                    <a:gd name="connsiteY147" fmla="*/ 504825 h 4496940"/>
                    <a:gd name="connsiteX148" fmla="*/ 1167152 w 4519983"/>
                    <a:gd name="connsiteY148" fmla="*/ 311150 h 4496940"/>
                    <a:gd name="connsiteX149" fmla="*/ 1268752 w 4519983"/>
                    <a:gd name="connsiteY149" fmla="*/ 285750 h 4496940"/>
                    <a:gd name="connsiteX150" fmla="*/ 1411627 w 4519983"/>
                    <a:gd name="connsiteY150" fmla="*/ 190500 h 4496940"/>
                    <a:gd name="connsiteX151" fmla="*/ 1449727 w 4519983"/>
                    <a:gd name="connsiteY151" fmla="*/ 161925 h 4496940"/>
                    <a:gd name="connsiteX152" fmla="*/ 1525927 w 4519983"/>
                    <a:gd name="connsiteY152" fmla="*/ 152400 h 4496940"/>
                    <a:gd name="connsiteX153" fmla="*/ 1583077 w 4519983"/>
                    <a:gd name="connsiteY153" fmla="*/ 142875 h 4496940"/>
                    <a:gd name="connsiteX154" fmla="*/ 1716427 w 4519983"/>
                    <a:gd name="connsiteY154" fmla="*/ 123825 h 4496940"/>
                    <a:gd name="connsiteX155" fmla="*/ 1811677 w 4519983"/>
                    <a:gd name="connsiteY155" fmla="*/ 114300 h 4496940"/>
                    <a:gd name="connsiteX156" fmla="*/ 1859302 w 4519983"/>
                    <a:gd name="connsiteY156" fmla="*/ 104775 h 4496940"/>
                    <a:gd name="connsiteX157" fmla="*/ 1916452 w 4519983"/>
                    <a:gd name="connsiteY157" fmla="*/ 95250 h 4496940"/>
                    <a:gd name="connsiteX158" fmla="*/ 2030752 w 4519983"/>
                    <a:gd name="connsiteY158" fmla="*/ 66675 h 4496940"/>
                    <a:gd name="connsiteX159" fmla="*/ 2097427 w 4519983"/>
                    <a:gd name="connsiteY159" fmla="*/ 47625 h 4496940"/>
                    <a:gd name="connsiteX160" fmla="*/ 2164102 w 4519983"/>
                    <a:gd name="connsiteY160" fmla="*/ 38100 h 4496940"/>
                    <a:gd name="connsiteX161" fmla="*/ 2392702 w 4519983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335802 w 4519987"/>
                    <a:gd name="connsiteY50" fmla="*/ 3095625 h 4496940"/>
                    <a:gd name="connsiteX51" fmla="*/ 4278652 w 4519987"/>
                    <a:gd name="connsiteY51" fmla="*/ 3248025 h 4496940"/>
                    <a:gd name="connsiteX52" fmla="*/ 4259602 w 4519987"/>
                    <a:gd name="connsiteY52" fmla="*/ 3276600 h 4496940"/>
                    <a:gd name="connsiteX53" fmla="*/ 4221502 w 4519987"/>
                    <a:gd name="connsiteY53" fmla="*/ 3333750 h 4496940"/>
                    <a:gd name="connsiteX54" fmla="*/ 4211977 w 4519987"/>
                    <a:gd name="connsiteY54" fmla="*/ 3362325 h 4496940"/>
                    <a:gd name="connsiteX55" fmla="*/ 4183402 w 4519987"/>
                    <a:gd name="connsiteY55" fmla="*/ 3400425 h 4496940"/>
                    <a:gd name="connsiteX56" fmla="*/ 4164352 w 4519987"/>
                    <a:gd name="connsiteY56" fmla="*/ 3429000 h 4496940"/>
                    <a:gd name="connsiteX57" fmla="*/ 4088152 w 4519987"/>
                    <a:gd name="connsiteY57" fmla="*/ 3495675 h 4496940"/>
                    <a:gd name="connsiteX58" fmla="*/ 4059577 w 4519987"/>
                    <a:gd name="connsiteY58" fmla="*/ 3533775 h 4496940"/>
                    <a:gd name="connsiteX59" fmla="*/ 4002427 w 4519987"/>
                    <a:gd name="connsiteY59" fmla="*/ 3600450 h 4496940"/>
                    <a:gd name="connsiteX60" fmla="*/ 3983377 w 4519987"/>
                    <a:gd name="connsiteY60" fmla="*/ 3629025 h 4496940"/>
                    <a:gd name="connsiteX61" fmla="*/ 3954802 w 4519987"/>
                    <a:gd name="connsiteY61" fmla="*/ 3648075 h 4496940"/>
                    <a:gd name="connsiteX62" fmla="*/ 3907177 w 4519987"/>
                    <a:gd name="connsiteY62" fmla="*/ 3686175 h 4496940"/>
                    <a:gd name="connsiteX63" fmla="*/ 3869077 w 4519987"/>
                    <a:gd name="connsiteY63" fmla="*/ 3724275 h 4496940"/>
                    <a:gd name="connsiteX64" fmla="*/ 3792877 w 4519987"/>
                    <a:gd name="connsiteY64" fmla="*/ 3781425 h 4496940"/>
                    <a:gd name="connsiteX65" fmla="*/ 3783352 w 4519987"/>
                    <a:gd name="connsiteY65" fmla="*/ 3810000 h 4496940"/>
                    <a:gd name="connsiteX66" fmla="*/ 3745252 w 4519987"/>
                    <a:gd name="connsiteY66" fmla="*/ 3819525 h 4496940"/>
                    <a:gd name="connsiteX67" fmla="*/ 3678577 w 4519987"/>
                    <a:gd name="connsiteY67" fmla="*/ 3848100 h 4496940"/>
                    <a:gd name="connsiteX68" fmla="*/ 3659527 w 4519987"/>
                    <a:gd name="connsiteY68" fmla="*/ 3971925 h 4496940"/>
                    <a:gd name="connsiteX69" fmla="*/ 3630952 w 4519987"/>
                    <a:gd name="connsiteY69" fmla="*/ 4010025 h 4496940"/>
                    <a:gd name="connsiteX70" fmla="*/ 3621427 w 4519987"/>
                    <a:gd name="connsiteY70" fmla="*/ 4038600 h 4496940"/>
                    <a:gd name="connsiteX71" fmla="*/ 3554752 w 4519987"/>
                    <a:gd name="connsiteY71" fmla="*/ 4095750 h 4496940"/>
                    <a:gd name="connsiteX72" fmla="*/ 3516652 w 4519987"/>
                    <a:gd name="connsiteY72" fmla="*/ 4114800 h 4496940"/>
                    <a:gd name="connsiteX73" fmla="*/ 3497602 w 4519987"/>
                    <a:gd name="connsiteY73" fmla="*/ 4143375 h 4496940"/>
                    <a:gd name="connsiteX74" fmla="*/ 3383302 w 4519987"/>
                    <a:gd name="connsiteY74" fmla="*/ 4210050 h 4496940"/>
                    <a:gd name="connsiteX75" fmla="*/ 3335677 w 4519987"/>
                    <a:gd name="connsiteY75" fmla="*/ 4238625 h 4496940"/>
                    <a:gd name="connsiteX76" fmla="*/ 3288052 w 4519987"/>
                    <a:gd name="connsiteY76" fmla="*/ 4248150 h 4496940"/>
                    <a:gd name="connsiteX77" fmla="*/ 3240427 w 4519987"/>
                    <a:gd name="connsiteY77" fmla="*/ 4267200 h 4496940"/>
                    <a:gd name="connsiteX78" fmla="*/ 3068977 w 4519987"/>
                    <a:gd name="connsiteY78" fmla="*/ 4286250 h 4496940"/>
                    <a:gd name="connsiteX79" fmla="*/ 2935627 w 4519987"/>
                    <a:gd name="connsiteY79" fmla="*/ 4333875 h 4496940"/>
                    <a:gd name="connsiteX80" fmla="*/ 2811802 w 4519987"/>
                    <a:gd name="connsiteY80" fmla="*/ 4371975 h 4496940"/>
                    <a:gd name="connsiteX81" fmla="*/ 2745127 w 4519987"/>
                    <a:gd name="connsiteY81" fmla="*/ 4410075 h 4496940"/>
                    <a:gd name="connsiteX82" fmla="*/ 2697502 w 4519987"/>
                    <a:gd name="connsiteY82" fmla="*/ 4429125 h 4496940"/>
                    <a:gd name="connsiteX83" fmla="*/ 2640352 w 4519987"/>
                    <a:gd name="connsiteY83" fmla="*/ 4457700 h 4496940"/>
                    <a:gd name="connsiteX84" fmla="*/ 2583202 w 4519987"/>
                    <a:gd name="connsiteY84" fmla="*/ 4467225 h 4496940"/>
                    <a:gd name="connsiteX85" fmla="*/ 2545102 w 4519987"/>
                    <a:gd name="connsiteY85" fmla="*/ 4486275 h 4496940"/>
                    <a:gd name="connsiteX86" fmla="*/ 2306977 w 4519987"/>
                    <a:gd name="connsiteY86" fmla="*/ 4476750 h 4496940"/>
                    <a:gd name="connsiteX87" fmla="*/ 2202202 w 4519987"/>
                    <a:gd name="connsiteY87" fmla="*/ 4457700 h 4496940"/>
                    <a:gd name="connsiteX88" fmla="*/ 2126002 w 4519987"/>
                    <a:gd name="connsiteY88" fmla="*/ 4429125 h 4496940"/>
                    <a:gd name="connsiteX89" fmla="*/ 1935502 w 4519987"/>
                    <a:gd name="connsiteY89" fmla="*/ 4400550 h 4496940"/>
                    <a:gd name="connsiteX90" fmla="*/ 1821202 w 4519987"/>
                    <a:gd name="connsiteY90" fmla="*/ 4371975 h 4496940"/>
                    <a:gd name="connsiteX91" fmla="*/ 1754527 w 4519987"/>
                    <a:gd name="connsiteY91" fmla="*/ 4352925 h 4496940"/>
                    <a:gd name="connsiteX92" fmla="*/ 1687852 w 4519987"/>
                    <a:gd name="connsiteY92" fmla="*/ 4343400 h 4496940"/>
                    <a:gd name="connsiteX93" fmla="*/ 1573552 w 4519987"/>
                    <a:gd name="connsiteY93" fmla="*/ 4305300 h 4496940"/>
                    <a:gd name="connsiteX94" fmla="*/ 1402102 w 4519987"/>
                    <a:gd name="connsiteY94" fmla="*/ 4276725 h 4496940"/>
                    <a:gd name="connsiteX95" fmla="*/ 1287802 w 4519987"/>
                    <a:gd name="connsiteY95" fmla="*/ 4229100 h 4496940"/>
                    <a:gd name="connsiteX96" fmla="*/ 1221127 w 4519987"/>
                    <a:gd name="connsiteY96" fmla="*/ 4200525 h 4496940"/>
                    <a:gd name="connsiteX97" fmla="*/ 1144927 w 4519987"/>
                    <a:gd name="connsiteY97" fmla="*/ 4171950 h 4496940"/>
                    <a:gd name="connsiteX98" fmla="*/ 1087777 w 4519987"/>
                    <a:gd name="connsiteY98" fmla="*/ 4143375 h 4496940"/>
                    <a:gd name="connsiteX99" fmla="*/ 1030627 w 4519987"/>
                    <a:gd name="connsiteY99" fmla="*/ 4124325 h 4496940"/>
                    <a:gd name="connsiteX100" fmla="*/ 925852 w 4519987"/>
                    <a:gd name="connsiteY100" fmla="*/ 4067175 h 4496940"/>
                    <a:gd name="connsiteX101" fmla="*/ 830602 w 4519987"/>
                    <a:gd name="connsiteY101" fmla="*/ 3981450 h 4496940"/>
                    <a:gd name="connsiteX102" fmla="*/ 763927 w 4519987"/>
                    <a:gd name="connsiteY102" fmla="*/ 3914775 h 4496940"/>
                    <a:gd name="connsiteX103" fmla="*/ 725827 w 4519987"/>
                    <a:gd name="connsiteY103" fmla="*/ 3876675 h 4496940"/>
                    <a:gd name="connsiteX104" fmla="*/ 697252 w 4519987"/>
                    <a:gd name="connsiteY104" fmla="*/ 3838575 h 4496940"/>
                    <a:gd name="connsiteX105" fmla="*/ 640102 w 4519987"/>
                    <a:gd name="connsiteY105" fmla="*/ 3781425 h 4496940"/>
                    <a:gd name="connsiteX106" fmla="*/ 611527 w 4519987"/>
                    <a:gd name="connsiteY106" fmla="*/ 3733800 h 4496940"/>
                    <a:gd name="connsiteX107" fmla="*/ 554377 w 4519987"/>
                    <a:gd name="connsiteY107" fmla="*/ 3657600 h 4496940"/>
                    <a:gd name="connsiteX108" fmla="*/ 525802 w 4519987"/>
                    <a:gd name="connsiteY108" fmla="*/ 3609975 h 4496940"/>
                    <a:gd name="connsiteX109" fmla="*/ 497227 w 4519987"/>
                    <a:gd name="connsiteY109" fmla="*/ 3552825 h 4496940"/>
                    <a:gd name="connsiteX110" fmla="*/ 440077 w 4519987"/>
                    <a:gd name="connsiteY110" fmla="*/ 3495675 h 4496940"/>
                    <a:gd name="connsiteX111" fmla="*/ 411502 w 4519987"/>
                    <a:gd name="connsiteY111" fmla="*/ 3448050 h 4496940"/>
                    <a:gd name="connsiteX112" fmla="*/ 278152 w 4519987"/>
                    <a:gd name="connsiteY112" fmla="*/ 3257550 h 4496940"/>
                    <a:gd name="connsiteX113" fmla="*/ 249577 w 4519987"/>
                    <a:gd name="connsiteY113" fmla="*/ 3200400 h 4496940"/>
                    <a:gd name="connsiteX114" fmla="*/ 240052 w 4519987"/>
                    <a:gd name="connsiteY114" fmla="*/ 3162300 h 4496940"/>
                    <a:gd name="connsiteX115" fmla="*/ 221002 w 4519987"/>
                    <a:gd name="connsiteY115" fmla="*/ 3105150 h 4496940"/>
                    <a:gd name="connsiteX116" fmla="*/ 173377 w 4519987"/>
                    <a:gd name="connsiteY116" fmla="*/ 3019425 h 4496940"/>
                    <a:gd name="connsiteX117" fmla="*/ 144802 w 4519987"/>
                    <a:gd name="connsiteY117" fmla="*/ 2924175 h 4496940"/>
                    <a:gd name="connsiteX118" fmla="*/ 68602 w 4519987"/>
                    <a:gd name="connsiteY118" fmla="*/ 2724150 h 4496940"/>
                    <a:gd name="connsiteX119" fmla="*/ 49552 w 4519987"/>
                    <a:gd name="connsiteY119" fmla="*/ 2638425 h 4496940"/>
                    <a:gd name="connsiteX120" fmla="*/ 40027 w 4519987"/>
                    <a:gd name="connsiteY120" fmla="*/ 2562225 h 4496940"/>
                    <a:gd name="connsiteX121" fmla="*/ 30502 w 4519987"/>
                    <a:gd name="connsiteY121" fmla="*/ 2514600 h 4496940"/>
                    <a:gd name="connsiteX122" fmla="*/ 11452 w 4519987"/>
                    <a:gd name="connsiteY122" fmla="*/ 2400300 h 4496940"/>
                    <a:gd name="connsiteX123" fmla="*/ 20977 w 4519987"/>
                    <a:gd name="connsiteY123" fmla="*/ 1905000 h 4496940"/>
                    <a:gd name="connsiteX124" fmla="*/ 30502 w 4519987"/>
                    <a:gd name="connsiteY124" fmla="*/ 1838325 h 4496940"/>
                    <a:gd name="connsiteX125" fmla="*/ 49552 w 4519987"/>
                    <a:gd name="connsiteY125" fmla="*/ 1781175 h 4496940"/>
                    <a:gd name="connsiteX126" fmla="*/ 59077 w 4519987"/>
                    <a:gd name="connsiteY126" fmla="*/ 1743075 h 4496940"/>
                    <a:gd name="connsiteX127" fmla="*/ 78127 w 4519987"/>
                    <a:gd name="connsiteY127" fmla="*/ 1685925 h 4496940"/>
                    <a:gd name="connsiteX128" fmla="*/ 87652 w 4519987"/>
                    <a:gd name="connsiteY128" fmla="*/ 1638300 h 4496940"/>
                    <a:gd name="connsiteX129" fmla="*/ 106702 w 4519987"/>
                    <a:gd name="connsiteY129" fmla="*/ 1590675 h 4496940"/>
                    <a:gd name="connsiteX130" fmla="*/ 135277 w 4519987"/>
                    <a:gd name="connsiteY130" fmla="*/ 1504950 h 4496940"/>
                    <a:gd name="connsiteX131" fmla="*/ 154327 w 4519987"/>
                    <a:gd name="connsiteY131" fmla="*/ 1419225 h 4496940"/>
                    <a:gd name="connsiteX132" fmla="*/ 230527 w 4519987"/>
                    <a:gd name="connsiteY132" fmla="*/ 1276350 h 4496940"/>
                    <a:gd name="connsiteX133" fmla="*/ 240052 w 4519987"/>
                    <a:gd name="connsiteY133" fmla="*/ 1247775 h 4496940"/>
                    <a:gd name="connsiteX134" fmla="*/ 268627 w 4519987"/>
                    <a:gd name="connsiteY134" fmla="*/ 1200150 h 4496940"/>
                    <a:gd name="connsiteX135" fmla="*/ 287677 w 4519987"/>
                    <a:gd name="connsiteY135" fmla="*/ 1152525 h 4496940"/>
                    <a:gd name="connsiteX136" fmla="*/ 316252 w 4519987"/>
                    <a:gd name="connsiteY136" fmla="*/ 1114425 h 4496940"/>
                    <a:gd name="connsiteX137" fmla="*/ 363877 w 4519987"/>
                    <a:gd name="connsiteY137" fmla="*/ 1038225 h 4496940"/>
                    <a:gd name="connsiteX138" fmla="*/ 382927 w 4519987"/>
                    <a:gd name="connsiteY138" fmla="*/ 1009650 h 4496940"/>
                    <a:gd name="connsiteX139" fmla="*/ 440077 w 4519987"/>
                    <a:gd name="connsiteY139" fmla="*/ 904875 h 4496940"/>
                    <a:gd name="connsiteX140" fmla="*/ 478177 w 4519987"/>
                    <a:gd name="connsiteY140" fmla="*/ 857250 h 4496940"/>
                    <a:gd name="connsiteX141" fmla="*/ 497227 w 4519987"/>
                    <a:gd name="connsiteY141" fmla="*/ 828675 h 4496940"/>
                    <a:gd name="connsiteX142" fmla="*/ 535327 w 4519987"/>
                    <a:gd name="connsiteY142" fmla="*/ 800100 h 4496940"/>
                    <a:gd name="connsiteX143" fmla="*/ 602002 w 4519987"/>
                    <a:gd name="connsiteY143" fmla="*/ 733425 h 4496940"/>
                    <a:gd name="connsiteX144" fmla="*/ 668677 w 4519987"/>
                    <a:gd name="connsiteY144" fmla="*/ 676275 h 4496940"/>
                    <a:gd name="connsiteX145" fmla="*/ 697252 w 4519987"/>
                    <a:gd name="connsiteY145" fmla="*/ 657225 h 4496940"/>
                    <a:gd name="connsiteX146" fmla="*/ 840127 w 4519987"/>
                    <a:gd name="connsiteY146" fmla="*/ 533400 h 4496940"/>
                    <a:gd name="connsiteX147" fmla="*/ 887752 w 4519987"/>
                    <a:gd name="connsiteY147" fmla="*/ 504825 h 4496940"/>
                    <a:gd name="connsiteX148" fmla="*/ 1167152 w 4519987"/>
                    <a:gd name="connsiteY148" fmla="*/ 311150 h 4496940"/>
                    <a:gd name="connsiteX149" fmla="*/ 1268752 w 4519987"/>
                    <a:gd name="connsiteY149" fmla="*/ 285750 h 4496940"/>
                    <a:gd name="connsiteX150" fmla="*/ 1411627 w 4519987"/>
                    <a:gd name="connsiteY150" fmla="*/ 190500 h 4496940"/>
                    <a:gd name="connsiteX151" fmla="*/ 1449727 w 4519987"/>
                    <a:gd name="connsiteY151" fmla="*/ 161925 h 4496940"/>
                    <a:gd name="connsiteX152" fmla="*/ 1525927 w 4519987"/>
                    <a:gd name="connsiteY152" fmla="*/ 152400 h 4496940"/>
                    <a:gd name="connsiteX153" fmla="*/ 1583077 w 4519987"/>
                    <a:gd name="connsiteY153" fmla="*/ 142875 h 4496940"/>
                    <a:gd name="connsiteX154" fmla="*/ 1716427 w 4519987"/>
                    <a:gd name="connsiteY154" fmla="*/ 123825 h 4496940"/>
                    <a:gd name="connsiteX155" fmla="*/ 1811677 w 4519987"/>
                    <a:gd name="connsiteY155" fmla="*/ 114300 h 4496940"/>
                    <a:gd name="connsiteX156" fmla="*/ 1859302 w 4519987"/>
                    <a:gd name="connsiteY156" fmla="*/ 104775 h 4496940"/>
                    <a:gd name="connsiteX157" fmla="*/ 1916452 w 4519987"/>
                    <a:gd name="connsiteY157" fmla="*/ 95250 h 4496940"/>
                    <a:gd name="connsiteX158" fmla="*/ 2030752 w 4519987"/>
                    <a:gd name="connsiteY158" fmla="*/ 66675 h 4496940"/>
                    <a:gd name="connsiteX159" fmla="*/ 2097427 w 4519987"/>
                    <a:gd name="connsiteY159" fmla="*/ 47625 h 4496940"/>
                    <a:gd name="connsiteX160" fmla="*/ 2164102 w 4519987"/>
                    <a:gd name="connsiteY160" fmla="*/ 38100 h 4496940"/>
                    <a:gd name="connsiteX161" fmla="*/ 2392702 w 4519987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278652 w 4519987"/>
                    <a:gd name="connsiteY50" fmla="*/ 3248025 h 4496940"/>
                    <a:gd name="connsiteX51" fmla="*/ 4259602 w 4519987"/>
                    <a:gd name="connsiteY51" fmla="*/ 3276600 h 4496940"/>
                    <a:gd name="connsiteX52" fmla="*/ 4221502 w 4519987"/>
                    <a:gd name="connsiteY52" fmla="*/ 3333750 h 4496940"/>
                    <a:gd name="connsiteX53" fmla="*/ 4211977 w 4519987"/>
                    <a:gd name="connsiteY53" fmla="*/ 3362325 h 4496940"/>
                    <a:gd name="connsiteX54" fmla="*/ 4183402 w 4519987"/>
                    <a:gd name="connsiteY54" fmla="*/ 3400425 h 4496940"/>
                    <a:gd name="connsiteX55" fmla="*/ 4164352 w 4519987"/>
                    <a:gd name="connsiteY55" fmla="*/ 3429000 h 4496940"/>
                    <a:gd name="connsiteX56" fmla="*/ 4088152 w 4519987"/>
                    <a:gd name="connsiteY56" fmla="*/ 3495675 h 4496940"/>
                    <a:gd name="connsiteX57" fmla="*/ 4059577 w 4519987"/>
                    <a:gd name="connsiteY57" fmla="*/ 3533775 h 4496940"/>
                    <a:gd name="connsiteX58" fmla="*/ 4002427 w 4519987"/>
                    <a:gd name="connsiteY58" fmla="*/ 3600450 h 4496940"/>
                    <a:gd name="connsiteX59" fmla="*/ 3983377 w 4519987"/>
                    <a:gd name="connsiteY59" fmla="*/ 3629025 h 4496940"/>
                    <a:gd name="connsiteX60" fmla="*/ 3954802 w 4519987"/>
                    <a:gd name="connsiteY60" fmla="*/ 3648075 h 4496940"/>
                    <a:gd name="connsiteX61" fmla="*/ 3907177 w 4519987"/>
                    <a:gd name="connsiteY61" fmla="*/ 3686175 h 4496940"/>
                    <a:gd name="connsiteX62" fmla="*/ 3869077 w 4519987"/>
                    <a:gd name="connsiteY62" fmla="*/ 3724275 h 4496940"/>
                    <a:gd name="connsiteX63" fmla="*/ 3792877 w 4519987"/>
                    <a:gd name="connsiteY63" fmla="*/ 3781425 h 4496940"/>
                    <a:gd name="connsiteX64" fmla="*/ 3783352 w 4519987"/>
                    <a:gd name="connsiteY64" fmla="*/ 3810000 h 4496940"/>
                    <a:gd name="connsiteX65" fmla="*/ 3745252 w 4519987"/>
                    <a:gd name="connsiteY65" fmla="*/ 3819525 h 4496940"/>
                    <a:gd name="connsiteX66" fmla="*/ 3678577 w 4519987"/>
                    <a:gd name="connsiteY66" fmla="*/ 3848100 h 4496940"/>
                    <a:gd name="connsiteX67" fmla="*/ 3659527 w 4519987"/>
                    <a:gd name="connsiteY67" fmla="*/ 3971925 h 4496940"/>
                    <a:gd name="connsiteX68" fmla="*/ 3630952 w 4519987"/>
                    <a:gd name="connsiteY68" fmla="*/ 4010025 h 4496940"/>
                    <a:gd name="connsiteX69" fmla="*/ 3621427 w 4519987"/>
                    <a:gd name="connsiteY69" fmla="*/ 4038600 h 4496940"/>
                    <a:gd name="connsiteX70" fmla="*/ 3554752 w 4519987"/>
                    <a:gd name="connsiteY70" fmla="*/ 4095750 h 4496940"/>
                    <a:gd name="connsiteX71" fmla="*/ 3516652 w 4519987"/>
                    <a:gd name="connsiteY71" fmla="*/ 4114800 h 4496940"/>
                    <a:gd name="connsiteX72" fmla="*/ 3497602 w 4519987"/>
                    <a:gd name="connsiteY72" fmla="*/ 4143375 h 4496940"/>
                    <a:gd name="connsiteX73" fmla="*/ 3383302 w 4519987"/>
                    <a:gd name="connsiteY73" fmla="*/ 4210050 h 4496940"/>
                    <a:gd name="connsiteX74" fmla="*/ 3335677 w 4519987"/>
                    <a:gd name="connsiteY74" fmla="*/ 4238625 h 4496940"/>
                    <a:gd name="connsiteX75" fmla="*/ 3288052 w 4519987"/>
                    <a:gd name="connsiteY75" fmla="*/ 4248150 h 4496940"/>
                    <a:gd name="connsiteX76" fmla="*/ 3240427 w 4519987"/>
                    <a:gd name="connsiteY76" fmla="*/ 4267200 h 4496940"/>
                    <a:gd name="connsiteX77" fmla="*/ 3068977 w 4519987"/>
                    <a:gd name="connsiteY77" fmla="*/ 4286250 h 4496940"/>
                    <a:gd name="connsiteX78" fmla="*/ 2935627 w 4519987"/>
                    <a:gd name="connsiteY78" fmla="*/ 4333875 h 4496940"/>
                    <a:gd name="connsiteX79" fmla="*/ 2811802 w 4519987"/>
                    <a:gd name="connsiteY79" fmla="*/ 4371975 h 4496940"/>
                    <a:gd name="connsiteX80" fmla="*/ 2745127 w 4519987"/>
                    <a:gd name="connsiteY80" fmla="*/ 4410075 h 4496940"/>
                    <a:gd name="connsiteX81" fmla="*/ 2697502 w 4519987"/>
                    <a:gd name="connsiteY81" fmla="*/ 4429125 h 4496940"/>
                    <a:gd name="connsiteX82" fmla="*/ 2640352 w 4519987"/>
                    <a:gd name="connsiteY82" fmla="*/ 4457700 h 4496940"/>
                    <a:gd name="connsiteX83" fmla="*/ 2583202 w 4519987"/>
                    <a:gd name="connsiteY83" fmla="*/ 4467225 h 4496940"/>
                    <a:gd name="connsiteX84" fmla="*/ 2545102 w 4519987"/>
                    <a:gd name="connsiteY84" fmla="*/ 4486275 h 4496940"/>
                    <a:gd name="connsiteX85" fmla="*/ 2306977 w 4519987"/>
                    <a:gd name="connsiteY85" fmla="*/ 4476750 h 4496940"/>
                    <a:gd name="connsiteX86" fmla="*/ 2202202 w 4519987"/>
                    <a:gd name="connsiteY86" fmla="*/ 4457700 h 4496940"/>
                    <a:gd name="connsiteX87" fmla="*/ 2126002 w 4519987"/>
                    <a:gd name="connsiteY87" fmla="*/ 4429125 h 4496940"/>
                    <a:gd name="connsiteX88" fmla="*/ 1935502 w 4519987"/>
                    <a:gd name="connsiteY88" fmla="*/ 4400550 h 4496940"/>
                    <a:gd name="connsiteX89" fmla="*/ 1821202 w 4519987"/>
                    <a:gd name="connsiteY89" fmla="*/ 4371975 h 4496940"/>
                    <a:gd name="connsiteX90" fmla="*/ 1754527 w 4519987"/>
                    <a:gd name="connsiteY90" fmla="*/ 4352925 h 4496940"/>
                    <a:gd name="connsiteX91" fmla="*/ 1687852 w 4519987"/>
                    <a:gd name="connsiteY91" fmla="*/ 4343400 h 4496940"/>
                    <a:gd name="connsiteX92" fmla="*/ 1573552 w 4519987"/>
                    <a:gd name="connsiteY92" fmla="*/ 4305300 h 4496940"/>
                    <a:gd name="connsiteX93" fmla="*/ 1402102 w 4519987"/>
                    <a:gd name="connsiteY93" fmla="*/ 4276725 h 4496940"/>
                    <a:gd name="connsiteX94" fmla="*/ 1287802 w 4519987"/>
                    <a:gd name="connsiteY94" fmla="*/ 4229100 h 4496940"/>
                    <a:gd name="connsiteX95" fmla="*/ 1221127 w 4519987"/>
                    <a:gd name="connsiteY95" fmla="*/ 4200525 h 4496940"/>
                    <a:gd name="connsiteX96" fmla="*/ 1144927 w 4519987"/>
                    <a:gd name="connsiteY96" fmla="*/ 4171950 h 4496940"/>
                    <a:gd name="connsiteX97" fmla="*/ 1087777 w 4519987"/>
                    <a:gd name="connsiteY97" fmla="*/ 4143375 h 4496940"/>
                    <a:gd name="connsiteX98" fmla="*/ 1030627 w 4519987"/>
                    <a:gd name="connsiteY98" fmla="*/ 4124325 h 4496940"/>
                    <a:gd name="connsiteX99" fmla="*/ 925852 w 4519987"/>
                    <a:gd name="connsiteY99" fmla="*/ 4067175 h 4496940"/>
                    <a:gd name="connsiteX100" fmla="*/ 830602 w 4519987"/>
                    <a:gd name="connsiteY100" fmla="*/ 3981450 h 4496940"/>
                    <a:gd name="connsiteX101" fmla="*/ 763927 w 4519987"/>
                    <a:gd name="connsiteY101" fmla="*/ 3914775 h 4496940"/>
                    <a:gd name="connsiteX102" fmla="*/ 725827 w 4519987"/>
                    <a:gd name="connsiteY102" fmla="*/ 3876675 h 4496940"/>
                    <a:gd name="connsiteX103" fmla="*/ 697252 w 4519987"/>
                    <a:gd name="connsiteY103" fmla="*/ 3838575 h 4496940"/>
                    <a:gd name="connsiteX104" fmla="*/ 640102 w 4519987"/>
                    <a:gd name="connsiteY104" fmla="*/ 3781425 h 4496940"/>
                    <a:gd name="connsiteX105" fmla="*/ 611527 w 4519987"/>
                    <a:gd name="connsiteY105" fmla="*/ 3733800 h 4496940"/>
                    <a:gd name="connsiteX106" fmla="*/ 554377 w 4519987"/>
                    <a:gd name="connsiteY106" fmla="*/ 3657600 h 4496940"/>
                    <a:gd name="connsiteX107" fmla="*/ 525802 w 4519987"/>
                    <a:gd name="connsiteY107" fmla="*/ 3609975 h 4496940"/>
                    <a:gd name="connsiteX108" fmla="*/ 497227 w 4519987"/>
                    <a:gd name="connsiteY108" fmla="*/ 3552825 h 4496940"/>
                    <a:gd name="connsiteX109" fmla="*/ 440077 w 4519987"/>
                    <a:gd name="connsiteY109" fmla="*/ 3495675 h 4496940"/>
                    <a:gd name="connsiteX110" fmla="*/ 411502 w 4519987"/>
                    <a:gd name="connsiteY110" fmla="*/ 3448050 h 4496940"/>
                    <a:gd name="connsiteX111" fmla="*/ 278152 w 4519987"/>
                    <a:gd name="connsiteY111" fmla="*/ 3257550 h 4496940"/>
                    <a:gd name="connsiteX112" fmla="*/ 249577 w 4519987"/>
                    <a:gd name="connsiteY112" fmla="*/ 3200400 h 4496940"/>
                    <a:gd name="connsiteX113" fmla="*/ 240052 w 4519987"/>
                    <a:gd name="connsiteY113" fmla="*/ 3162300 h 4496940"/>
                    <a:gd name="connsiteX114" fmla="*/ 221002 w 4519987"/>
                    <a:gd name="connsiteY114" fmla="*/ 3105150 h 4496940"/>
                    <a:gd name="connsiteX115" fmla="*/ 173377 w 4519987"/>
                    <a:gd name="connsiteY115" fmla="*/ 3019425 h 4496940"/>
                    <a:gd name="connsiteX116" fmla="*/ 144802 w 4519987"/>
                    <a:gd name="connsiteY116" fmla="*/ 2924175 h 4496940"/>
                    <a:gd name="connsiteX117" fmla="*/ 68602 w 4519987"/>
                    <a:gd name="connsiteY117" fmla="*/ 2724150 h 4496940"/>
                    <a:gd name="connsiteX118" fmla="*/ 49552 w 4519987"/>
                    <a:gd name="connsiteY118" fmla="*/ 2638425 h 4496940"/>
                    <a:gd name="connsiteX119" fmla="*/ 40027 w 4519987"/>
                    <a:gd name="connsiteY119" fmla="*/ 2562225 h 4496940"/>
                    <a:gd name="connsiteX120" fmla="*/ 30502 w 4519987"/>
                    <a:gd name="connsiteY120" fmla="*/ 2514600 h 4496940"/>
                    <a:gd name="connsiteX121" fmla="*/ 11452 w 4519987"/>
                    <a:gd name="connsiteY121" fmla="*/ 2400300 h 4496940"/>
                    <a:gd name="connsiteX122" fmla="*/ 20977 w 4519987"/>
                    <a:gd name="connsiteY122" fmla="*/ 1905000 h 4496940"/>
                    <a:gd name="connsiteX123" fmla="*/ 30502 w 4519987"/>
                    <a:gd name="connsiteY123" fmla="*/ 1838325 h 4496940"/>
                    <a:gd name="connsiteX124" fmla="*/ 49552 w 4519987"/>
                    <a:gd name="connsiteY124" fmla="*/ 1781175 h 4496940"/>
                    <a:gd name="connsiteX125" fmla="*/ 59077 w 4519987"/>
                    <a:gd name="connsiteY125" fmla="*/ 1743075 h 4496940"/>
                    <a:gd name="connsiteX126" fmla="*/ 78127 w 4519987"/>
                    <a:gd name="connsiteY126" fmla="*/ 1685925 h 4496940"/>
                    <a:gd name="connsiteX127" fmla="*/ 87652 w 4519987"/>
                    <a:gd name="connsiteY127" fmla="*/ 1638300 h 4496940"/>
                    <a:gd name="connsiteX128" fmla="*/ 106702 w 4519987"/>
                    <a:gd name="connsiteY128" fmla="*/ 1590675 h 4496940"/>
                    <a:gd name="connsiteX129" fmla="*/ 135277 w 4519987"/>
                    <a:gd name="connsiteY129" fmla="*/ 1504950 h 4496940"/>
                    <a:gd name="connsiteX130" fmla="*/ 154327 w 4519987"/>
                    <a:gd name="connsiteY130" fmla="*/ 1419225 h 4496940"/>
                    <a:gd name="connsiteX131" fmla="*/ 230527 w 4519987"/>
                    <a:gd name="connsiteY131" fmla="*/ 1276350 h 4496940"/>
                    <a:gd name="connsiteX132" fmla="*/ 240052 w 4519987"/>
                    <a:gd name="connsiteY132" fmla="*/ 1247775 h 4496940"/>
                    <a:gd name="connsiteX133" fmla="*/ 268627 w 4519987"/>
                    <a:gd name="connsiteY133" fmla="*/ 1200150 h 4496940"/>
                    <a:gd name="connsiteX134" fmla="*/ 287677 w 4519987"/>
                    <a:gd name="connsiteY134" fmla="*/ 1152525 h 4496940"/>
                    <a:gd name="connsiteX135" fmla="*/ 316252 w 4519987"/>
                    <a:gd name="connsiteY135" fmla="*/ 1114425 h 4496940"/>
                    <a:gd name="connsiteX136" fmla="*/ 363877 w 4519987"/>
                    <a:gd name="connsiteY136" fmla="*/ 1038225 h 4496940"/>
                    <a:gd name="connsiteX137" fmla="*/ 382927 w 4519987"/>
                    <a:gd name="connsiteY137" fmla="*/ 1009650 h 4496940"/>
                    <a:gd name="connsiteX138" fmla="*/ 440077 w 4519987"/>
                    <a:gd name="connsiteY138" fmla="*/ 904875 h 4496940"/>
                    <a:gd name="connsiteX139" fmla="*/ 478177 w 4519987"/>
                    <a:gd name="connsiteY139" fmla="*/ 857250 h 4496940"/>
                    <a:gd name="connsiteX140" fmla="*/ 497227 w 4519987"/>
                    <a:gd name="connsiteY140" fmla="*/ 828675 h 4496940"/>
                    <a:gd name="connsiteX141" fmla="*/ 535327 w 4519987"/>
                    <a:gd name="connsiteY141" fmla="*/ 800100 h 4496940"/>
                    <a:gd name="connsiteX142" fmla="*/ 602002 w 4519987"/>
                    <a:gd name="connsiteY142" fmla="*/ 733425 h 4496940"/>
                    <a:gd name="connsiteX143" fmla="*/ 668677 w 4519987"/>
                    <a:gd name="connsiteY143" fmla="*/ 676275 h 4496940"/>
                    <a:gd name="connsiteX144" fmla="*/ 697252 w 4519987"/>
                    <a:gd name="connsiteY144" fmla="*/ 657225 h 4496940"/>
                    <a:gd name="connsiteX145" fmla="*/ 840127 w 4519987"/>
                    <a:gd name="connsiteY145" fmla="*/ 533400 h 4496940"/>
                    <a:gd name="connsiteX146" fmla="*/ 887752 w 4519987"/>
                    <a:gd name="connsiteY146" fmla="*/ 504825 h 4496940"/>
                    <a:gd name="connsiteX147" fmla="*/ 1167152 w 4519987"/>
                    <a:gd name="connsiteY147" fmla="*/ 311150 h 4496940"/>
                    <a:gd name="connsiteX148" fmla="*/ 1268752 w 4519987"/>
                    <a:gd name="connsiteY148" fmla="*/ 285750 h 4496940"/>
                    <a:gd name="connsiteX149" fmla="*/ 1411627 w 4519987"/>
                    <a:gd name="connsiteY149" fmla="*/ 190500 h 4496940"/>
                    <a:gd name="connsiteX150" fmla="*/ 1449727 w 4519987"/>
                    <a:gd name="connsiteY150" fmla="*/ 161925 h 4496940"/>
                    <a:gd name="connsiteX151" fmla="*/ 1525927 w 4519987"/>
                    <a:gd name="connsiteY151" fmla="*/ 152400 h 4496940"/>
                    <a:gd name="connsiteX152" fmla="*/ 1583077 w 4519987"/>
                    <a:gd name="connsiteY152" fmla="*/ 142875 h 4496940"/>
                    <a:gd name="connsiteX153" fmla="*/ 1716427 w 4519987"/>
                    <a:gd name="connsiteY153" fmla="*/ 123825 h 4496940"/>
                    <a:gd name="connsiteX154" fmla="*/ 1811677 w 4519987"/>
                    <a:gd name="connsiteY154" fmla="*/ 114300 h 4496940"/>
                    <a:gd name="connsiteX155" fmla="*/ 1859302 w 4519987"/>
                    <a:gd name="connsiteY155" fmla="*/ 104775 h 4496940"/>
                    <a:gd name="connsiteX156" fmla="*/ 1916452 w 4519987"/>
                    <a:gd name="connsiteY156" fmla="*/ 95250 h 4496940"/>
                    <a:gd name="connsiteX157" fmla="*/ 2030752 w 4519987"/>
                    <a:gd name="connsiteY157" fmla="*/ 66675 h 4496940"/>
                    <a:gd name="connsiteX158" fmla="*/ 2097427 w 4519987"/>
                    <a:gd name="connsiteY158" fmla="*/ 47625 h 4496940"/>
                    <a:gd name="connsiteX159" fmla="*/ 2164102 w 4519987"/>
                    <a:gd name="connsiteY159" fmla="*/ 38100 h 4496940"/>
                    <a:gd name="connsiteX160" fmla="*/ 2392702 w 4519987"/>
                    <a:gd name="connsiteY16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278652 w 4519987"/>
                    <a:gd name="connsiteY49" fmla="*/ 3248025 h 4496940"/>
                    <a:gd name="connsiteX50" fmla="*/ 4259602 w 4519987"/>
                    <a:gd name="connsiteY50" fmla="*/ 3276600 h 4496940"/>
                    <a:gd name="connsiteX51" fmla="*/ 4221502 w 4519987"/>
                    <a:gd name="connsiteY51" fmla="*/ 3333750 h 4496940"/>
                    <a:gd name="connsiteX52" fmla="*/ 4211977 w 4519987"/>
                    <a:gd name="connsiteY52" fmla="*/ 3362325 h 4496940"/>
                    <a:gd name="connsiteX53" fmla="*/ 4183402 w 4519987"/>
                    <a:gd name="connsiteY53" fmla="*/ 3400425 h 4496940"/>
                    <a:gd name="connsiteX54" fmla="*/ 4164352 w 4519987"/>
                    <a:gd name="connsiteY54" fmla="*/ 3429000 h 4496940"/>
                    <a:gd name="connsiteX55" fmla="*/ 4088152 w 4519987"/>
                    <a:gd name="connsiteY55" fmla="*/ 3495675 h 4496940"/>
                    <a:gd name="connsiteX56" fmla="*/ 4059577 w 4519987"/>
                    <a:gd name="connsiteY56" fmla="*/ 3533775 h 4496940"/>
                    <a:gd name="connsiteX57" fmla="*/ 4002427 w 4519987"/>
                    <a:gd name="connsiteY57" fmla="*/ 3600450 h 4496940"/>
                    <a:gd name="connsiteX58" fmla="*/ 3983377 w 4519987"/>
                    <a:gd name="connsiteY58" fmla="*/ 3629025 h 4496940"/>
                    <a:gd name="connsiteX59" fmla="*/ 3954802 w 4519987"/>
                    <a:gd name="connsiteY59" fmla="*/ 3648075 h 4496940"/>
                    <a:gd name="connsiteX60" fmla="*/ 3907177 w 4519987"/>
                    <a:gd name="connsiteY60" fmla="*/ 3686175 h 4496940"/>
                    <a:gd name="connsiteX61" fmla="*/ 3869077 w 4519987"/>
                    <a:gd name="connsiteY61" fmla="*/ 3724275 h 4496940"/>
                    <a:gd name="connsiteX62" fmla="*/ 3792877 w 4519987"/>
                    <a:gd name="connsiteY62" fmla="*/ 3781425 h 4496940"/>
                    <a:gd name="connsiteX63" fmla="*/ 3783352 w 4519987"/>
                    <a:gd name="connsiteY63" fmla="*/ 3810000 h 4496940"/>
                    <a:gd name="connsiteX64" fmla="*/ 3745252 w 4519987"/>
                    <a:gd name="connsiteY64" fmla="*/ 3819525 h 4496940"/>
                    <a:gd name="connsiteX65" fmla="*/ 3678577 w 4519987"/>
                    <a:gd name="connsiteY65" fmla="*/ 3848100 h 4496940"/>
                    <a:gd name="connsiteX66" fmla="*/ 3659527 w 4519987"/>
                    <a:gd name="connsiteY66" fmla="*/ 3971925 h 4496940"/>
                    <a:gd name="connsiteX67" fmla="*/ 3630952 w 4519987"/>
                    <a:gd name="connsiteY67" fmla="*/ 4010025 h 4496940"/>
                    <a:gd name="connsiteX68" fmla="*/ 3621427 w 4519987"/>
                    <a:gd name="connsiteY68" fmla="*/ 4038600 h 4496940"/>
                    <a:gd name="connsiteX69" fmla="*/ 3554752 w 4519987"/>
                    <a:gd name="connsiteY69" fmla="*/ 4095750 h 4496940"/>
                    <a:gd name="connsiteX70" fmla="*/ 3516652 w 4519987"/>
                    <a:gd name="connsiteY70" fmla="*/ 4114800 h 4496940"/>
                    <a:gd name="connsiteX71" fmla="*/ 3497602 w 4519987"/>
                    <a:gd name="connsiteY71" fmla="*/ 4143375 h 4496940"/>
                    <a:gd name="connsiteX72" fmla="*/ 3383302 w 4519987"/>
                    <a:gd name="connsiteY72" fmla="*/ 4210050 h 4496940"/>
                    <a:gd name="connsiteX73" fmla="*/ 3335677 w 4519987"/>
                    <a:gd name="connsiteY73" fmla="*/ 4238625 h 4496940"/>
                    <a:gd name="connsiteX74" fmla="*/ 3288052 w 4519987"/>
                    <a:gd name="connsiteY74" fmla="*/ 4248150 h 4496940"/>
                    <a:gd name="connsiteX75" fmla="*/ 3240427 w 4519987"/>
                    <a:gd name="connsiteY75" fmla="*/ 4267200 h 4496940"/>
                    <a:gd name="connsiteX76" fmla="*/ 3068977 w 4519987"/>
                    <a:gd name="connsiteY76" fmla="*/ 4286250 h 4496940"/>
                    <a:gd name="connsiteX77" fmla="*/ 2935627 w 4519987"/>
                    <a:gd name="connsiteY77" fmla="*/ 4333875 h 4496940"/>
                    <a:gd name="connsiteX78" fmla="*/ 2811802 w 4519987"/>
                    <a:gd name="connsiteY78" fmla="*/ 4371975 h 4496940"/>
                    <a:gd name="connsiteX79" fmla="*/ 2745127 w 4519987"/>
                    <a:gd name="connsiteY79" fmla="*/ 4410075 h 4496940"/>
                    <a:gd name="connsiteX80" fmla="*/ 2697502 w 4519987"/>
                    <a:gd name="connsiteY80" fmla="*/ 4429125 h 4496940"/>
                    <a:gd name="connsiteX81" fmla="*/ 2640352 w 4519987"/>
                    <a:gd name="connsiteY81" fmla="*/ 4457700 h 4496940"/>
                    <a:gd name="connsiteX82" fmla="*/ 2583202 w 4519987"/>
                    <a:gd name="connsiteY82" fmla="*/ 4467225 h 4496940"/>
                    <a:gd name="connsiteX83" fmla="*/ 2545102 w 4519987"/>
                    <a:gd name="connsiteY83" fmla="*/ 4486275 h 4496940"/>
                    <a:gd name="connsiteX84" fmla="*/ 2306977 w 4519987"/>
                    <a:gd name="connsiteY84" fmla="*/ 4476750 h 4496940"/>
                    <a:gd name="connsiteX85" fmla="*/ 2202202 w 4519987"/>
                    <a:gd name="connsiteY85" fmla="*/ 4457700 h 4496940"/>
                    <a:gd name="connsiteX86" fmla="*/ 2126002 w 4519987"/>
                    <a:gd name="connsiteY86" fmla="*/ 4429125 h 4496940"/>
                    <a:gd name="connsiteX87" fmla="*/ 1935502 w 4519987"/>
                    <a:gd name="connsiteY87" fmla="*/ 4400550 h 4496940"/>
                    <a:gd name="connsiteX88" fmla="*/ 1821202 w 4519987"/>
                    <a:gd name="connsiteY88" fmla="*/ 4371975 h 4496940"/>
                    <a:gd name="connsiteX89" fmla="*/ 1754527 w 4519987"/>
                    <a:gd name="connsiteY89" fmla="*/ 4352925 h 4496940"/>
                    <a:gd name="connsiteX90" fmla="*/ 1687852 w 4519987"/>
                    <a:gd name="connsiteY90" fmla="*/ 4343400 h 4496940"/>
                    <a:gd name="connsiteX91" fmla="*/ 1573552 w 4519987"/>
                    <a:gd name="connsiteY91" fmla="*/ 4305300 h 4496940"/>
                    <a:gd name="connsiteX92" fmla="*/ 1402102 w 4519987"/>
                    <a:gd name="connsiteY92" fmla="*/ 4276725 h 4496940"/>
                    <a:gd name="connsiteX93" fmla="*/ 1287802 w 4519987"/>
                    <a:gd name="connsiteY93" fmla="*/ 4229100 h 4496940"/>
                    <a:gd name="connsiteX94" fmla="*/ 1221127 w 4519987"/>
                    <a:gd name="connsiteY94" fmla="*/ 4200525 h 4496940"/>
                    <a:gd name="connsiteX95" fmla="*/ 1144927 w 4519987"/>
                    <a:gd name="connsiteY95" fmla="*/ 4171950 h 4496940"/>
                    <a:gd name="connsiteX96" fmla="*/ 1087777 w 4519987"/>
                    <a:gd name="connsiteY96" fmla="*/ 4143375 h 4496940"/>
                    <a:gd name="connsiteX97" fmla="*/ 1030627 w 4519987"/>
                    <a:gd name="connsiteY97" fmla="*/ 4124325 h 4496940"/>
                    <a:gd name="connsiteX98" fmla="*/ 925852 w 4519987"/>
                    <a:gd name="connsiteY98" fmla="*/ 4067175 h 4496940"/>
                    <a:gd name="connsiteX99" fmla="*/ 830602 w 4519987"/>
                    <a:gd name="connsiteY99" fmla="*/ 3981450 h 4496940"/>
                    <a:gd name="connsiteX100" fmla="*/ 763927 w 4519987"/>
                    <a:gd name="connsiteY100" fmla="*/ 3914775 h 4496940"/>
                    <a:gd name="connsiteX101" fmla="*/ 725827 w 4519987"/>
                    <a:gd name="connsiteY101" fmla="*/ 3876675 h 4496940"/>
                    <a:gd name="connsiteX102" fmla="*/ 697252 w 4519987"/>
                    <a:gd name="connsiteY102" fmla="*/ 3838575 h 4496940"/>
                    <a:gd name="connsiteX103" fmla="*/ 640102 w 4519987"/>
                    <a:gd name="connsiteY103" fmla="*/ 3781425 h 4496940"/>
                    <a:gd name="connsiteX104" fmla="*/ 611527 w 4519987"/>
                    <a:gd name="connsiteY104" fmla="*/ 3733800 h 4496940"/>
                    <a:gd name="connsiteX105" fmla="*/ 554377 w 4519987"/>
                    <a:gd name="connsiteY105" fmla="*/ 3657600 h 4496940"/>
                    <a:gd name="connsiteX106" fmla="*/ 525802 w 4519987"/>
                    <a:gd name="connsiteY106" fmla="*/ 3609975 h 4496940"/>
                    <a:gd name="connsiteX107" fmla="*/ 497227 w 4519987"/>
                    <a:gd name="connsiteY107" fmla="*/ 3552825 h 4496940"/>
                    <a:gd name="connsiteX108" fmla="*/ 440077 w 4519987"/>
                    <a:gd name="connsiteY108" fmla="*/ 3495675 h 4496940"/>
                    <a:gd name="connsiteX109" fmla="*/ 411502 w 4519987"/>
                    <a:gd name="connsiteY109" fmla="*/ 3448050 h 4496940"/>
                    <a:gd name="connsiteX110" fmla="*/ 278152 w 4519987"/>
                    <a:gd name="connsiteY110" fmla="*/ 3257550 h 4496940"/>
                    <a:gd name="connsiteX111" fmla="*/ 249577 w 4519987"/>
                    <a:gd name="connsiteY111" fmla="*/ 3200400 h 4496940"/>
                    <a:gd name="connsiteX112" fmla="*/ 240052 w 4519987"/>
                    <a:gd name="connsiteY112" fmla="*/ 3162300 h 4496940"/>
                    <a:gd name="connsiteX113" fmla="*/ 221002 w 4519987"/>
                    <a:gd name="connsiteY113" fmla="*/ 3105150 h 4496940"/>
                    <a:gd name="connsiteX114" fmla="*/ 173377 w 4519987"/>
                    <a:gd name="connsiteY114" fmla="*/ 3019425 h 4496940"/>
                    <a:gd name="connsiteX115" fmla="*/ 144802 w 4519987"/>
                    <a:gd name="connsiteY115" fmla="*/ 2924175 h 4496940"/>
                    <a:gd name="connsiteX116" fmla="*/ 68602 w 4519987"/>
                    <a:gd name="connsiteY116" fmla="*/ 2724150 h 4496940"/>
                    <a:gd name="connsiteX117" fmla="*/ 49552 w 4519987"/>
                    <a:gd name="connsiteY117" fmla="*/ 2638425 h 4496940"/>
                    <a:gd name="connsiteX118" fmla="*/ 40027 w 4519987"/>
                    <a:gd name="connsiteY118" fmla="*/ 2562225 h 4496940"/>
                    <a:gd name="connsiteX119" fmla="*/ 30502 w 4519987"/>
                    <a:gd name="connsiteY119" fmla="*/ 2514600 h 4496940"/>
                    <a:gd name="connsiteX120" fmla="*/ 11452 w 4519987"/>
                    <a:gd name="connsiteY120" fmla="*/ 2400300 h 4496940"/>
                    <a:gd name="connsiteX121" fmla="*/ 20977 w 4519987"/>
                    <a:gd name="connsiteY121" fmla="*/ 1905000 h 4496940"/>
                    <a:gd name="connsiteX122" fmla="*/ 30502 w 4519987"/>
                    <a:gd name="connsiteY122" fmla="*/ 1838325 h 4496940"/>
                    <a:gd name="connsiteX123" fmla="*/ 49552 w 4519987"/>
                    <a:gd name="connsiteY123" fmla="*/ 1781175 h 4496940"/>
                    <a:gd name="connsiteX124" fmla="*/ 59077 w 4519987"/>
                    <a:gd name="connsiteY124" fmla="*/ 1743075 h 4496940"/>
                    <a:gd name="connsiteX125" fmla="*/ 78127 w 4519987"/>
                    <a:gd name="connsiteY125" fmla="*/ 1685925 h 4496940"/>
                    <a:gd name="connsiteX126" fmla="*/ 87652 w 4519987"/>
                    <a:gd name="connsiteY126" fmla="*/ 1638300 h 4496940"/>
                    <a:gd name="connsiteX127" fmla="*/ 106702 w 4519987"/>
                    <a:gd name="connsiteY127" fmla="*/ 1590675 h 4496940"/>
                    <a:gd name="connsiteX128" fmla="*/ 135277 w 4519987"/>
                    <a:gd name="connsiteY128" fmla="*/ 1504950 h 4496940"/>
                    <a:gd name="connsiteX129" fmla="*/ 154327 w 4519987"/>
                    <a:gd name="connsiteY129" fmla="*/ 1419225 h 4496940"/>
                    <a:gd name="connsiteX130" fmla="*/ 230527 w 4519987"/>
                    <a:gd name="connsiteY130" fmla="*/ 1276350 h 4496940"/>
                    <a:gd name="connsiteX131" fmla="*/ 240052 w 4519987"/>
                    <a:gd name="connsiteY131" fmla="*/ 1247775 h 4496940"/>
                    <a:gd name="connsiteX132" fmla="*/ 268627 w 4519987"/>
                    <a:gd name="connsiteY132" fmla="*/ 1200150 h 4496940"/>
                    <a:gd name="connsiteX133" fmla="*/ 287677 w 4519987"/>
                    <a:gd name="connsiteY133" fmla="*/ 1152525 h 4496940"/>
                    <a:gd name="connsiteX134" fmla="*/ 316252 w 4519987"/>
                    <a:gd name="connsiteY134" fmla="*/ 1114425 h 4496940"/>
                    <a:gd name="connsiteX135" fmla="*/ 363877 w 4519987"/>
                    <a:gd name="connsiteY135" fmla="*/ 1038225 h 4496940"/>
                    <a:gd name="connsiteX136" fmla="*/ 382927 w 4519987"/>
                    <a:gd name="connsiteY136" fmla="*/ 1009650 h 4496940"/>
                    <a:gd name="connsiteX137" fmla="*/ 440077 w 4519987"/>
                    <a:gd name="connsiteY137" fmla="*/ 904875 h 4496940"/>
                    <a:gd name="connsiteX138" fmla="*/ 478177 w 4519987"/>
                    <a:gd name="connsiteY138" fmla="*/ 857250 h 4496940"/>
                    <a:gd name="connsiteX139" fmla="*/ 497227 w 4519987"/>
                    <a:gd name="connsiteY139" fmla="*/ 828675 h 4496940"/>
                    <a:gd name="connsiteX140" fmla="*/ 535327 w 4519987"/>
                    <a:gd name="connsiteY140" fmla="*/ 800100 h 4496940"/>
                    <a:gd name="connsiteX141" fmla="*/ 602002 w 4519987"/>
                    <a:gd name="connsiteY141" fmla="*/ 733425 h 4496940"/>
                    <a:gd name="connsiteX142" fmla="*/ 668677 w 4519987"/>
                    <a:gd name="connsiteY142" fmla="*/ 676275 h 4496940"/>
                    <a:gd name="connsiteX143" fmla="*/ 697252 w 4519987"/>
                    <a:gd name="connsiteY143" fmla="*/ 657225 h 4496940"/>
                    <a:gd name="connsiteX144" fmla="*/ 840127 w 4519987"/>
                    <a:gd name="connsiteY144" fmla="*/ 533400 h 4496940"/>
                    <a:gd name="connsiteX145" fmla="*/ 887752 w 4519987"/>
                    <a:gd name="connsiteY145" fmla="*/ 504825 h 4496940"/>
                    <a:gd name="connsiteX146" fmla="*/ 1167152 w 4519987"/>
                    <a:gd name="connsiteY146" fmla="*/ 311150 h 4496940"/>
                    <a:gd name="connsiteX147" fmla="*/ 1268752 w 4519987"/>
                    <a:gd name="connsiteY147" fmla="*/ 285750 h 4496940"/>
                    <a:gd name="connsiteX148" fmla="*/ 1411627 w 4519987"/>
                    <a:gd name="connsiteY148" fmla="*/ 190500 h 4496940"/>
                    <a:gd name="connsiteX149" fmla="*/ 1449727 w 4519987"/>
                    <a:gd name="connsiteY149" fmla="*/ 161925 h 4496940"/>
                    <a:gd name="connsiteX150" fmla="*/ 1525927 w 4519987"/>
                    <a:gd name="connsiteY150" fmla="*/ 152400 h 4496940"/>
                    <a:gd name="connsiteX151" fmla="*/ 1583077 w 4519987"/>
                    <a:gd name="connsiteY151" fmla="*/ 142875 h 4496940"/>
                    <a:gd name="connsiteX152" fmla="*/ 1716427 w 4519987"/>
                    <a:gd name="connsiteY152" fmla="*/ 123825 h 4496940"/>
                    <a:gd name="connsiteX153" fmla="*/ 1811677 w 4519987"/>
                    <a:gd name="connsiteY153" fmla="*/ 114300 h 4496940"/>
                    <a:gd name="connsiteX154" fmla="*/ 1859302 w 4519987"/>
                    <a:gd name="connsiteY154" fmla="*/ 104775 h 4496940"/>
                    <a:gd name="connsiteX155" fmla="*/ 1916452 w 4519987"/>
                    <a:gd name="connsiteY155" fmla="*/ 95250 h 4496940"/>
                    <a:gd name="connsiteX156" fmla="*/ 2030752 w 4519987"/>
                    <a:gd name="connsiteY156" fmla="*/ 66675 h 4496940"/>
                    <a:gd name="connsiteX157" fmla="*/ 2097427 w 4519987"/>
                    <a:gd name="connsiteY157" fmla="*/ 47625 h 4496940"/>
                    <a:gd name="connsiteX158" fmla="*/ 2164102 w 4519987"/>
                    <a:gd name="connsiteY158" fmla="*/ 38100 h 4496940"/>
                    <a:gd name="connsiteX159" fmla="*/ 2392702 w 4519987"/>
                    <a:gd name="connsiteY15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50052 w 4519987"/>
                    <a:gd name="connsiteY28" fmla="*/ 790575 h 4496940"/>
                    <a:gd name="connsiteX29" fmla="*/ 4078627 w 4519987"/>
                    <a:gd name="connsiteY29" fmla="*/ 838200 h 4496940"/>
                    <a:gd name="connsiteX30" fmla="*/ 4107202 w 4519987"/>
                    <a:gd name="connsiteY30" fmla="*/ 876300 h 4496940"/>
                    <a:gd name="connsiteX31" fmla="*/ 4116727 w 4519987"/>
                    <a:gd name="connsiteY31" fmla="*/ 904875 h 4496940"/>
                    <a:gd name="connsiteX32" fmla="*/ 4135777 w 4519987"/>
                    <a:gd name="connsiteY32" fmla="*/ 933450 h 4496940"/>
                    <a:gd name="connsiteX33" fmla="*/ 4164352 w 4519987"/>
                    <a:gd name="connsiteY33" fmla="*/ 990600 h 4496940"/>
                    <a:gd name="connsiteX34" fmla="*/ 4173877 w 4519987"/>
                    <a:gd name="connsiteY34" fmla="*/ 1019175 h 4496940"/>
                    <a:gd name="connsiteX35" fmla="*/ 4192927 w 4519987"/>
                    <a:gd name="connsiteY35" fmla="*/ 1057275 h 4496940"/>
                    <a:gd name="connsiteX36" fmla="*/ 4202452 w 4519987"/>
                    <a:gd name="connsiteY36" fmla="*/ 1085850 h 4496940"/>
                    <a:gd name="connsiteX37" fmla="*/ 4250077 w 4519987"/>
                    <a:gd name="connsiteY37" fmla="*/ 1143000 h 4496940"/>
                    <a:gd name="connsiteX38" fmla="*/ 4259602 w 4519987"/>
                    <a:gd name="connsiteY38" fmla="*/ 1190625 h 4496940"/>
                    <a:gd name="connsiteX39" fmla="*/ 4307227 w 4519987"/>
                    <a:gd name="connsiteY39" fmla="*/ 1266825 h 4496940"/>
                    <a:gd name="connsiteX40" fmla="*/ 4345327 w 4519987"/>
                    <a:gd name="connsiteY40" fmla="*/ 1362075 h 4496940"/>
                    <a:gd name="connsiteX41" fmla="*/ 4373902 w 4519987"/>
                    <a:gd name="connsiteY41" fmla="*/ 1428750 h 4496940"/>
                    <a:gd name="connsiteX42" fmla="*/ 4392952 w 4519987"/>
                    <a:gd name="connsiteY42" fmla="*/ 1552575 h 4496940"/>
                    <a:gd name="connsiteX43" fmla="*/ 4402477 w 4519987"/>
                    <a:gd name="connsiteY43" fmla="*/ 1590675 h 4496940"/>
                    <a:gd name="connsiteX44" fmla="*/ 4431052 w 4519987"/>
                    <a:gd name="connsiteY44" fmla="*/ 1685925 h 4496940"/>
                    <a:gd name="connsiteX45" fmla="*/ 4519952 w 4519987"/>
                    <a:gd name="connsiteY45" fmla="*/ 2181225 h 4496940"/>
                    <a:gd name="connsiteX46" fmla="*/ 4446927 w 4519987"/>
                    <a:gd name="connsiteY46" fmla="*/ 2768600 h 4496940"/>
                    <a:gd name="connsiteX47" fmla="*/ 4383427 w 4519987"/>
                    <a:gd name="connsiteY47" fmla="*/ 2990850 h 4496940"/>
                    <a:gd name="connsiteX48" fmla="*/ 4278652 w 4519987"/>
                    <a:gd name="connsiteY48" fmla="*/ 3248025 h 4496940"/>
                    <a:gd name="connsiteX49" fmla="*/ 4259602 w 4519987"/>
                    <a:gd name="connsiteY49" fmla="*/ 3276600 h 4496940"/>
                    <a:gd name="connsiteX50" fmla="*/ 4221502 w 4519987"/>
                    <a:gd name="connsiteY50" fmla="*/ 3333750 h 4496940"/>
                    <a:gd name="connsiteX51" fmla="*/ 4211977 w 4519987"/>
                    <a:gd name="connsiteY51" fmla="*/ 3362325 h 4496940"/>
                    <a:gd name="connsiteX52" fmla="*/ 4183402 w 4519987"/>
                    <a:gd name="connsiteY52" fmla="*/ 3400425 h 4496940"/>
                    <a:gd name="connsiteX53" fmla="*/ 4164352 w 4519987"/>
                    <a:gd name="connsiteY53" fmla="*/ 3429000 h 4496940"/>
                    <a:gd name="connsiteX54" fmla="*/ 4088152 w 4519987"/>
                    <a:gd name="connsiteY54" fmla="*/ 3495675 h 4496940"/>
                    <a:gd name="connsiteX55" fmla="*/ 4059577 w 4519987"/>
                    <a:gd name="connsiteY55" fmla="*/ 3533775 h 4496940"/>
                    <a:gd name="connsiteX56" fmla="*/ 4002427 w 4519987"/>
                    <a:gd name="connsiteY56" fmla="*/ 3600450 h 4496940"/>
                    <a:gd name="connsiteX57" fmla="*/ 3983377 w 4519987"/>
                    <a:gd name="connsiteY57" fmla="*/ 3629025 h 4496940"/>
                    <a:gd name="connsiteX58" fmla="*/ 3954802 w 4519987"/>
                    <a:gd name="connsiteY58" fmla="*/ 3648075 h 4496940"/>
                    <a:gd name="connsiteX59" fmla="*/ 3907177 w 4519987"/>
                    <a:gd name="connsiteY59" fmla="*/ 3686175 h 4496940"/>
                    <a:gd name="connsiteX60" fmla="*/ 3869077 w 4519987"/>
                    <a:gd name="connsiteY60" fmla="*/ 3724275 h 4496940"/>
                    <a:gd name="connsiteX61" fmla="*/ 3792877 w 4519987"/>
                    <a:gd name="connsiteY61" fmla="*/ 3781425 h 4496940"/>
                    <a:gd name="connsiteX62" fmla="*/ 3783352 w 4519987"/>
                    <a:gd name="connsiteY62" fmla="*/ 3810000 h 4496940"/>
                    <a:gd name="connsiteX63" fmla="*/ 3745252 w 4519987"/>
                    <a:gd name="connsiteY63" fmla="*/ 3819525 h 4496940"/>
                    <a:gd name="connsiteX64" fmla="*/ 3678577 w 4519987"/>
                    <a:gd name="connsiteY64" fmla="*/ 3848100 h 4496940"/>
                    <a:gd name="connsiteX65" fmla="*/ 3659527 w 4519987"/>
                    <a:gd name="connsiteY65" fmla="*/ 3971925 h 4496940"/>
                    <a:gd name="connsiteX66" fmla="*/ 3630952 w 4519987"/>
                    <a:gd name="connsiteY66" fmla="*/ 4010025 h 4496940"/>
                    <a:gd name="connsiteX67" fmla="*/ 3621427 w 4519987"/>
                    <a:gd name="connsiteY67" fmla="*/ 4038600 h 4496940"/>
                    <a:gd name="connsiteX68" fmla="*/ 3554752 w 4519987"/>
                    <a:gd name="connsiteY68" fmla="*/ 4095750 h 4496940"/>
                    <a:gd name="connsiteX69" fmla="*/ 3516652 w 4519987"/>
                    <a:gd name="connsiteY69" fmla="*/ 4114800 h 4496940"/>
                    <a:gd name="connsiteX70" fmla="*/ 3497602 w 4519987"/>
                    <a:gd name="connsiteY70" fmla="*/ 4143375 h 4496940"/>
                    <a:gd name="connsiteX71" fmla="*/ 3383302 w 4519987"/>
                    <a:gd name="connsiteY71" fmla="*/ 4210050 h 4496940"/>
                    <a:gd name="connsiteX72" fmla="*/ 3335677 w 4519987"/>
                    <a:gd name="connsiteY72" fmla="*/ 4238625 h 4496940"/>
                    <a:gd name="connsiteX73" fmla="*/ 3288052 w 4519987"/>
                    <a:gd name="connsiteY73" fmla="*/ 4248150 h 4496940"/>
                    <a:gd name="connsiteX74" fmla="*/ 3240427 w 4519987"/>
                    <a:gd name="connsiteY74" fmla="*/ 4267200 h 4496940"/>
                    <a:gd name="connsiteX75" fmla="*/ 3068977 w 4519987"/>
                    <a:gd name="connsiteY75" fmla="*/ 4286250 h 4496940"/>
                    <a:gd name="connsiteX76" fmla="*/ 2935627 w 4519987"/>
                    <a:gd name="connsiteY76" fmla="*/ 4333875 h 4496940"/>
                    <a:gd name="connsiteX77" fmla="*/ 2811802 w 4519987"/>
                    <a:gd name="connsiteY77" fmla="*/ 4371975 h 4496940"/>
                    <a:gd name="connsiteX78" fmla="*/ 2745127 w 4519987"/>
                    <a:gd name="connsiteY78" fmla="*/ 4410075 h 4496940"/>
                    <a:gd name="connsiteX79" fmla="*/ 2697502 w 4519987"/>
                    <a:gd name="connsiteY79" fmla="*/ 4429125 h 4496940"/>
                    <a:gd name="connsiteX80" fmla="*/ 2640352 w 4519987"/>
                    <a:gd name="connsiteY80" fmla="*/ 4457700 h 4496940"/>
                    <a:gd name="connsiteX81" fmla="*/ 2583202 w 4519987"/>
                    <a:gd name="connsiteY81" fmla="*/ 4467225 h 4496940"/>
                    <a:gd name="connsiteX82" fmla="*/ 2545102 w 4519987"/>
                    <a:gd name="connsiteY82" fmla="*/ 4486275 h 4496940"/>
                    <a:gd name="connsiteX83" fmla="*/ 2306977 w 4519987"/>
                    <a:gd name="connsiteY83" fmla="*/ 4476750 h 4496940"/>
                    <a:gd name="connsiteX84" fmla="*/ 2202202 w 4519987"/>
                    <a:gd name="connsiteY84" fmla="*/ 4457700 h 4496940"/>
                    <a:gd name="connsiteX85" fmla="*/ 2126002 w 4519987"/>
                    <a:gd name="connsiteY85" fmla="*/ 4429125 h 4496940"/>
                    <a:gd name="connsiteX86" fmla="*/ 1935502 w 4519987"/>
                    <a:gd name="connsiteY86" fmla="*/ 4400550 h 4496940"/>
                    <a:gd name="connsiteX87" fmla="*/ 1821202 w 4519987"/>
                    <a:gd name="connsiteY87" fmla="*/ 4371975 h 4496940"/>
                    <a:gd name="connsiteX88" fmla="*/ 1754527 w 4519987"/>
                    <a:gd name="connsiteY88" fmla="*/ 4352925 h 4496940"/>
                    <a:gd name="connsiteX89" fmla="*/ 1687852 w 4519987"/>
                    <a:gd name="connsiteY89" fmla="*/ 4343400 h 4496940"/>
                    <a:gd name="connsiteX90" fmla="*/ 1573552 w 4519987"/>
                    <a:gd name="connsiteY90" fmla="*/ 4305300 h 4496940"/>
                    <a:gd name="connsiteX91" fmla="*/ 1402102 w 4519987"/>
                    <a:gd name="connsiteY91" fmla="*/ 4276725 h 4496940"/>
                    <a:gd name="connsiteX92" fmla="*/ 1287802 w 4519987"/>
                    <a:gd name="connsiteY92" fmla="*/ 4229100 h 4496940"/>
                    <a:gd name="connsiteX93" fmla="*/ 1221127 w 4519987"/>
                    <a:gd name="connsiteY93" fmla="*/ 4200525 h 4496940"/>
                    <a:gd name="connsiteX94" fmla="*/ 1144927 w 4519987"/>
                    <a:gd name="connsiteY94" fmla="*/ 4171950 h 4496940"/>
                    <a:gd name="connsiteX95" fmla="*/ 1087777 w 4519987"/>
                    <a:gd name="connsiteY95" fmla="*/ 4143375 h 4496940"/>
                    <a:gd name="connsiteX96" fmla="*/ 1030627 w 4519987"/>
                    <a:gd name="connsiteY96" fmla="*/ 4124325 h 4496940"/>
                    <a:gd name="connsiteX97" fmla="*/ 925852 w 4519987"/>
                    <a:gd name="connsiteY97" fmla="*/ 4067175 h 4496940"/>
                    <a:gd name="connsiteX98" fmla="*/ 830602 w 4519987"/>
                    <a:gd name="connsiteY98" fmla="*/ 3981450 h 4496940"/>
                    <a:gd name="connsiteX99" fmla="*/ 763927 w 4519987"/>
                    <a:gd name="connsiteY99" fmla="*/ 3914775 h 4496940"/>
                    <a:gd name="connsiteX100" fmla="*/ 725827 w 4519987"/>
                    <a:gd name="connsiteY100" fmla="*/ 3876675 h 4496940"/>
                    <a:gd name="connsiteX101" fmla="*/ 697252 w 4519987"/>
                    <a:gd name="connsiteY101" fmla="*/ 3838575 h 4496940"/>
                    <a:gd name="connsiteX102" fmla="*/ 640102 w 4519987"/>
                    <a:gd name="connsiteY102" fmla="*/ 3781425 h 4496940"/>
                    <a:gd name="connsiteX103" fmla="*/ 611527 w 4519987"/>
                    <a:gd name="connsiteY103" fmla="*/ 3733800 h 4496940"/>
                    <a:gd name="connsiteX104" fmla="*/ 554377 w 4519987"/>
                    <a:gd name="connsiteY104" fmla="*/ 3657600 h 4496940"/>
                    <a:gd name="connsiteX105" fmla="*/ 525802 w 4519987"/>
                    <a:gd name="connsiteY105" fmla="*/ 3609975 h 4496940"/>
                    <a:gd name="connsiteX106" fmla="*/ 497227 w 4519987"/>
                    <a:gd name="connsiteY106" fmla="*/ 3552825 h 4496940"/>
                    <a:gd name="connsiteX107" fmla="*/ 440077 w 4519987"/>
                    <a:gd name="connsiteY107" fmla="*/ 3495675 h 4496940"/>
                    <a:gd name="connsiteX108" fmla="*/ 411502 w 4519987"/>
                    <a:gd name="connsiteY108" fmla="*/ 3448050 h 4496940"/>
                    <a:gd name="connsiteX109" fmla="*/ 278152 w 4519987"/>
                    <a:gd name="connsiteY109" fmla="*/ 3257550 h 4496940"/>
                    <a:gd name="connsiteX110" fmla="*/ 249577 w 4519987"/>
                    <a:gd name="connsiteY110" fmla="*/ 3200400 h 4496940"/>
                    <a:gd name="connsiteX111" fmla="*/ 240052 w 4519987"/>
                    <a:gd name="connsiteY111" fmla="*/ 3162300 h 4496940"/>
                    <a:gd name="connsiteX112" fmla="*/ 221002 w 4519987"/>
                    <a:gd name="connsiteY112" fmla="*/ 3105150 h 4496940"/>
                    <a:gd name="connsiteX113" fmla="*/ 173377 w 4519987"/>
                    <a:gd name="connsiteY113" fmla="*/ 3019425 h 4496940"/>
                    <a:gd name="connsiteX114" fmla="*/ 144802 w 4519987"/>
                    <a:gd name="connsiteY114" fmla="*/ 2924175 h 4496940"/>
                    <a:gd name="connsiteX115" fmla="*/ 68602 w 4519987"/>
                    <a:gd name="connsiteY115" fmla="*/ 2724150 h 4496940"/>
                    <a:gd name="connsiteX116" fmla="*/ 49552 w 4519987"/>
                    <a:gd name="connsiteY116" fmla="*/ 2638425 h 4496940"/>
                    <a:gd name="connsiteX117" fmla="*/ 40027 w 4519987"/>
                    <a:gd name="connsiteY117" fmla="*/ 2562225 h 4496940"/>
                    <a:gd name="connsiteX118" fmla="*/ 30502 w 4519987"/>
                    <a:gd name="connsiteY118" fmla="*/ 2514600 h 4496940"/>
                    <a:gd name="connsiteX119" fmla="*/ 11452 w 4519987"/>
                    <a:gd name="connsiteY119" fmla="*/ 2400300 h 4496940"/>
                    <a:gd name="connsiteX120" fmla="*/ 20977 w 4519987"/>
                    <a:gd name="connsiteY120" fmla="*/ 1905000 h 4496940"/>
                    <a:gd name="connsiteX121" fmla="*/ 30502 w 4519987"/>
                    <a:gd name="connsiteY121" fmla="*/ 1838325 h 4496940"/>
                    <a:gd name="connsiteX122" fmla="*/ 49552 w 4519987"/>
                    <a:gd name="connsiteY122" fmla="*/ 1781175 h 4496940"/>
                    <a:gd name="connsiteX123" fmla="*/ 59077 w 4519987"/>
                    <a:gd name="connsiteY123" fmla="*/ 1743075 h 4496940"/>
                    <a:gd name="connsiteX124" fmla="*/ 78127 w 4519987"/>
                    <a:gd name="connsiteY124" fmla="*/ 1685925 h 4496940"/>
                    <a:gd name="connsiteX125" fmla="*/ 87652 w 4519987"/>
                    <a:gd name="connsiteY125" fmla="*/ 1638300 h 4496940"/>
                    <a:gd name="connsiteX126" fmla="*/ 106702 w 4519987"/>
                    <a:gd name="connsiteY126" fmla="*/ 1590675 h 4496940"/>
                    <a:gd name="connsiteX127" fmla="*/ 135277 w 4519987"/>
                    <a:gd name="connsiteY127" fmla="*/ 1504950 h 4496940"/>
                    <a:gd name="connsiteX128" fmla="*/ 154327 w 4519987"/>
                    <a:gd name="connsiteY128" fmla="*/ 1419225 h 4496940"/>
                    <a:gd name="connsiteX129" fmla="*/ 230527 w 4519987"/>
                    <a:gd name="connsiteY129" fmla="*/ 1276350 h 4496940"/>
                    <a:gd name="connsiteX130" fmla="*/ 240052 w 4519987"/>
                    <a:gd name="connsiteY130" fmla="*/ 1247775 h 4496940"/>
                    <a:gd name="connsiteX131" fmla="*/ 268627 w 4519987"/>
                    <a:gd name="connsiteY131" fmla="*/ 1200150 h 4496940"/>
                    <a:gd name="connsiteX132" fmla="*/ 287677 w 4519987"/>
                    <a:gd name="connsiteY132" fmla="*/ 1152525 h 4496940"/>
                    <a:gd name="connsiteX133" fmla="*/ 316252 w 4519987"/>
                    <a:gd name="connsiteY133" fmla="*/ 1114425 h 4496940"/>
                    <a:gd name="connsiteX134" fmla="*/ 363877 w 4519987"/>
                    <a:gd name="connsiteY134" fmla="*/ 1038225 h 4496940"/>
                    <a:gd name="connsiteX135" fmla="*/ 382927 w 4519987"/>
                    <a:gd name="connsiteY135" fmla="*/ 1009650 h 4496940"/>
                    <a:gd name="connsiteX136" fmla="*/ 440077 w 4519987"/>
                    <a:gd name="connsiteY136" fmla="*/ 904875 h 4496940"/>
                    <a:gd name="connsiteX137" fmla="*/ 478177 w 4519987"/>
                    <a:gd name="connsiteY137" fmla="*/ 857250 h 4496940"/>
                    <a:gd name="connsiteX138" fmla="*/ 497227 w 4519987"/>
                    <a:gd name="connsiteY138" fmla="*/ 828675 h 4496940"/>
                    <a:gd name="connsiteX139" fmla="*/ 535327 w 4519987"/>
                    <a:gd name="connsiteY139" fmla="*/ 800100 h 4496940"/>
                    <a:gd name="connsiteX140" fmla="*/ 602002 w 4519987"/>
                    <a:gd name="connsiteY140" fmla="*/ 733425 h 4496940"/>
                    <a:gd name="connsiteX141" fmla="*/ 668677 w 4519987"/>
                    <a:gd name="connsiteY141" fmla="*/ 676275 h 4496940"/>
                    <a:gd name="connsiteX142" fmla="*/ 697252 w 4519987"/>
                    <a:gd name="connsiteY142" fmla="*/ 657225 h 4496940"/>
                    <a:gd name="connsiteX143" fmla="*/ 840127 w 4519987"/>
                    <a:gd name="connsiteY143" fmla="*/ 533400 h 4496940"/>
                    <a:gd name="connsiteX144" fmla="*/ 887752 w 4519987"/>
                    <a:gd name="connsiteY144" fmla="*/ 504825 h 4496940"/>
                    <a:gd name="connsiteX145" fmla="*/ 1167152 w 4519987"/>
                    <a:gd name="connsiteY145" fmla="*/ 311150 h 4496940"/>
                    <a:gd name="connsiteX146" fmla="*/ 1268752 w 4519987"/>
                    <a:gd name="connsiteY146" fmla="*/ 285750 h 4496940"/>
                    <a:gd name="connsiteX147" fmla="*/ 1411627 w 4519987"/>
                    <a:gd name="connsiteY147" fmla="*/ 190500 h 4496940"/>
                    <a:gd name="connsiteX148" fmla="*/ 1449727 w 4519987"/>
                    <a:gd name="connsiteY148" fmla="*/ 161925 h 4496940"/>
                    <a:gd name="connsiteX149" fmla="*/ 1525927 w 4519987"/>
                    <a:gd name="connsiteY149" fmla="*/ 152400 h 4496940"/>
                    <a:gd name="connsiteX150" fmla="*/ 1583077 w 4519987"/>
                    <a:gd name="connsiteY150" fmla="*/ 142875 h 4496940"/>
                    <a:gd name="connsiteX151" fmla="*/ 1716427 w 4519987"/>
                    <a:gd name="connsiteY151" fmla="*/ 123825 h 4496940"/>
                    <a:gd name="connsiteX152" fmla="*/ 1811677 w 4519987"/>
                    <a:gd name="connsiteY152" fmla="*/ 114300 h 4496940"/>
                    <a:gd name="connsiteX153" fmla="*/ 1859302 w 4519987"/>
                    <a:gd name="connsiteY153" fmla="*/ 104775 h 4496940"/>
                    <a:gd name="connsiteX154" fmla="*/ 1916452 w 4519987"/>
                    <a:gd name="connsiteY154" fmla="*/ 95250 h 4496940"/>
                    <a:gd name="connsiteX155" fmla="*/ 2030752 w 4519987"/>
                    <a:gd name="connsiteY155" fmla="*/ 66675 h 4496940"/>
                    <a:gd name="connsiteX156" fmla="*/ 2097427 w 4519987"/>
                    <a:gd name="connsiteY156" fmla="*/ 47625 h 4496940"/>
                    <a:gd name="connsiteX157" fmla="*/ 2164102 w 4519987"/>
                    <a:gd name="connsiteY157" fmla="*/ 38100 h 4496940"/>
                    <a:gd name="connsiteX158" fmla="*/ 2392702 w 4519987"/>
                    <a:gd name="connsiteY15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16727 w 4519987"/>
                    <a:gd name="connsiteY30" fmla="*/ 904875 h 4496940"/>
                    <a:gd name="connsiteX31" fmla="*/ 4135777 w 4519987"/>
                    <a:gd name="connsiteY31" fmla="*/ 933450 h 4496940"/>
                    <a:gd name="connsiteX32" fmla="*/ 4164352 w 4519987"/>
                    <a:gd name="connsiteY32" fmla="*/ 990600 h 4496940"/>
                    <a:gd name="connsiteX33" fmla="*/ 4173877 w 4519987"/>
                    <a:gd name="connsiteY33" fmla="*/ 1019175 h 4496940"/>
                    <a:gd name="connsiteX34" fmla="*/ 4192927 w 4519987"/>
                    <a:gd name="connsiteY34" fmla="*/ 1057275 h 4496940"/>
                    <a:gd name="connsiteX35" fmla="*/ 4202452 w 4519987"/>
                    <a:gd name="connsiteY35" fmla="*/ 1085850 h 4496940"/>
                    <a:gd name="connsiteX36" fmla="*/ 4250077 w 4519987"/>
                    <a:gd name="connsiteY36" fmla="*/ 1143000 h 4496940"/>
                    <a:gd name="connsiteX37" fmla="*/ 4259602 w 4519987"/>
                    <a:gd name="connsiteY37" fmla="*/ 1190625 h 4496940"/>
                    <a:gd name="connsiteX38" fmla="*/ 4307227 w 4519987"/>
                    <a:gd name="connsiteY38" fmla="*/ 1266825 h 4496940"/>
                    <a:gd name="connsiteX39" fmla="*/ 4345327 w 4519987"/>
                    <a:gd name="connsiteY39" fmla="*/ 1362075 h 4496940"/>
                    <a:gd name="connsiteX40" fmla="*/ 4373902 w 4519987"/>
                    <a:gd name="connsiteY40" fmla="*/ 1428750 h 4496940"/>
                    <a:gd name="connsiteX41" fmla="*/ 4392952 w 4519987"/>
                    <a:gd name="connsiteY41" fmla="*/ 1552575 h 4496940"/>
                    <a:gd name="connsiteX42" fmla="*/ 4402477 w 4519987"/>
                    <a:gd name="connsiteY42" fmla="*/ 1590675 h 4496940"/>
                    <a:gd name="connsiteX43" fmla="*/ 4431052 w 4519987"/>
                    <a:gd name="connsiteY43" fmla="*/ 1685925 h 4496940"/>
                    <a:gd name="connsiteX44" fmla="*/ 4519952 w 4519987"/>
                    <a:gd name="connsiteY44" fmla="*/ 2181225 h 4496940"/>
                    <a:gd name="connsiteX45" fmla="*/ 4446927 w 4519987"/>
                    <a:gd name="connsiteY45" fmla="*/ 2768600 h 4496940"/>
                    <a:gd name="connsiteX46" fmla="*/ 4383427 w 4519987"/>
                    <a:gd name="connsiteY46" fmla="*/ 2990850 h 4496940"/>
                    <a:gd name="connsiteX47" fmla="*/ 4278652 w 4519987"/>
                    <a:gd name="connsiteY47" fmla="*/ 3248025 h 4496940"/>
                    <a:gd name="connsiteX48" fmla="*/ 4259602 w 4519987"/>
                    <a:gd name="connsiteY48" fmla="*/ 3276600 h 4496940"/>
                    <a:gd name="connsiteX49" fmla="*/ 4221502 w 4519987"/>
                    <a:gd name="connsiteY49" fmla="*/ 3333750 h 4496940"/>
                    <a:gd name="connsiteX50" fmla="*/ 4211977 w 4519987"/>
                    <a:gd name="connsiteY50" fmla="*/ 3362325 h 4496940"/>
                    <a:gd name="connsiteX51" fmla="*/ 4183402 w 4519987"/>
                    <a:gd name="connsiteY51" fmla="*/ 3400425 h 4496940"/>
                    <a:gd name="connsiteX52" fmla="*/ 4164352 w 4519987"/>
                    <a:gd name="connsiteY52" fmla="*/ 3429000 h 4496940"/>
                    <a:gd name="connsiteX53" fmla="*/ 4088152 w 4519987"/>
                    <a:gd name="connsiteY53" fmla="*/ 3495675 h 4496940"/>
                    <a:gd name="connsiteX54" fmla="*/ 4059577 w 4519987"/>
                    <a:gd name="connsiteY54" fmla="*/ 3533775 h 4496940"/>
                    <a:gd name="connsiteX55" fmla="*/ 4002427 w 4519987"/>
                    <a:gd name="connsiteY55" fmla="*/ 3600450 h 4496940"/>
                    <a:gd name="connsiteX56" fmla="*/ 3983377 w 4519987"/>
                    <a:gd name="connsiteY56" fmla="*/ 3629025 h 4496940"/>
                    <a:gd name="connsiteX57" fmla="*/ 3954802 w 4519987"/>
                    <a:gd name="connsiteY57" fmla="*/ 3648075 h 4496940"/>
                    <a:gd name="connsiteX58" fmla="*/ 3907177 w 4519987"/>
                    <a:gd name="connsiteY58" fmla="*/ 3686175 h 4496940"/>
                    <a:gd name="connsiteX59" fmla="*/ 3869077 w 4519987"/>
                    <a:gd name="connsiteY59" fmla="*/ 3724275 h 4496940"/>
                    <a:gd name="connsiteX60" fmla="*/ 3792877 w 4519987"/>
                    <a:gd name="connsiteY60" fmla="*/ 3781425 h 4496940"/>
                    <a:gd name="connsiteX61" fmla="*/ 3783352 w 4519987"/>
                    <a:gd name="connsiteY61" fmla="*/ 3810000 h 4496940"/>
                    <a:gd name="connsiteX62" fmla="*/ 3745252 w 4519987"/>
                    <a:gd name="connsiteY62" fmla="*/ 3819525 h 4496940"/>
                    <a:gd name="connsiteX63" fmla="*/ 3678577 w 4519987"/>
                    <a:gd name="connsiteY63" fmla="*/ 3848100 h 4496940"/>
                    <a:gd name="connsiteX64" fmla="*/ 3659527 w 4519987"/>
                    <a:gd name="connsiteY64" fmla="*/ 3971925 h 4496940"/>
                    <a:gd name="connsiteX65" fmla="*/ 3630952 w 4519987"/>
                    <a:gd name="connsiteY65" fmla="*/ 4010025 h 4496940"/>
                    <a:gd name="connsiteX66" fmla="*/ 3621427 w 4519987"/>
                    <a:gd name="connsiteY66" fmla="*/ 4038600 h 4496940"/>
                    <a:gd name="connsiteX67" fmla="*/ 3554752 w 4519987"/>
                    <a:gd name="connsiteY67" fmla="*/ 4095750 h 4496940"/>
                    <a:gd name="connsiteX68" fmla="*/ 3516652 w 4519987"/>
                    <a:gd name="connsiteY68" fmla="*/ 4114800 h 4496940"/>
                    <a:gd name="connsiteX69" fmla="*/ 3497602 w 4519987"/>
                    <a:gd name="connsiteY69" fmla="*/ 4143375 h 4496940"/>
                    <a:gd name="connsiteX70" fmla="*/ 3383302 w 4519987"/>
                    <a:gd name="connsiteY70" fmla="*/ 4210050 h 4496940"/>
                    <a:gd name="connsiteX71" fmla="*/ 3335677 w 4519987"/>
                    <a:gd name="connsiteY71" fmla="*/ 4238625 h 4496940"/>
                    <a:gd name="connsiteX72" fmla="*/ 3288052 w 4519987"/>
                    <a:gd name="connsiteY72" fmla="*/ 4248150 h 4496940"/>
                    <a:gd name="connsiteX73" fmla="*/ 3240427 w 4519987"/>
                    <a:gd name="connsiteY73" fmla="*/ 4267200 h 4496940"/>
                    <a:gd name="connsiteX74" fmla="*/ 3068977 w 4519987"/>
                    <a:gd name="connsiteY74" fmla="*/ 4286250 h 4496940"/>
                    <a:gd name="connsiteX75" fmla="*/ 2935627 w 4519987"/>
                    <a:gd name="connsiteY75" fmla="*/ 4333875 h 4496940"/>
                    <a:gd name="connsiteX76" fmla="*/ 2811802 w 4519987"/>
                    <a:gd name="connsiteY76" fmla="*/ 4371975 h 4496940"/>
                    <a:gd name="connsiteX77" fmla="*/ 2745127 w 4519987"/>
                    <a:gd name="connsiteY77" fmla="*/ 4410075 h 4496940"/>
                    <a:gd name="connsiteX78" fmla="*/ 2697502 w 4519987"/>
                    <a:gd name="connsiteY78" fmla="*/ 4429125 h 4496940"/>
                    <a:gd name="connsiteX79" fmla="*/ 2640352 w 4519987"/>
                    <a:gd name="connsiteY79" fmla="*/ 4457700 h 4496940"/>
                    <a:gd name="connsiteX80" fmla="*/ 2583202 w 4519987"/>
                    <a:gd name="connsiteY80" fmla="*/ 4467225 h 4496940"/>
                    <a:gd name="connsiteX81" fmla="*/ 2545102 w 4519987"/>
                    <a:gd name="connsiteY81" fmla="*/ 4486275 h 4496940"/>
                    <a:gd name="connsiteX82" fmla="*/ 2306977 w 4519987"/>
                    <a:gd name="connsiteY82" fmla="*/ 4476750 h 4496940"/>
                    <a:gd name="connsiteX83" fmla="*/ 2202202 w 4519987"/>
                    <a:gd name="connsiteY83" fmla="*/ 4457700 h 4496940"/>
                    <a:gd name="connsiteX84" fmla="*/ 2126002 w 4519987"/>
                    <a:gd name="connsiteY84" fmla="*/ 4429125 h 4496940"/>
                    <a:gd name="connsiteX85" fmla="*/ 1935502 w 4519987"/>
                    <a:gd name="connsiteY85" fmla="*/ 4400550 h 4496940"/>
                    <a:gd name="connsiteX86" fmla="*/ 1821202 w 4519987"/>
                    <a:gd name="connsiteY86" fmla="*/ 4371975 h 4496940"/>
                    <a:gd name="connsiteX87" fmla="*/ 1754527 w 4519987"/>
                    <a:gd name="connsiteY87" fmla="*/ 4352925 h 4496940"/>
                    <a:gd name="connsiteX88" fmla="*/ 1687852 w 4519987"/>
                    <a:gd name="connsiteY88" fmla="*/ 4343400 h 4496940"/>
                    <a:gd name="connsiteX89" fmla="*/ 1573552 w 4519987"/>
                    <a:gd name="connsiteY89" fmla="*/ 4305300 h 4496940"/>
                    <a:gd name="connsiteX90" fmla="*/ 1402102 w 4519987"/>
                    <a:gd name="connsiteY90" fmla="*/ 4276725 h 4496940"/>
                    <a:gd name="connsiteX91" fmla="*/ 1287802 w 4519987"/>
                    <a:gd name="connsiteY91" fmla="*/ 4229100 h 4496940"/>
                    <a:gd name="connsiteX92" fmla="*/ 1221127 w 4519987"/>
                    <a:gd name="connsiteY92" fmla="*/ 4200525 h 4496940"/>
                    <a:gd name="connsiteX93" fmla="*/ 1144927 w 4519987"/>
                    <a:gd name="connsiteY93" fmla="*/ 4171950 h 4496940"/>
                    <a:gd name="connsiteX94" fmla="*/ 1087777 w 4519987"/>
                    <a:gd name="connsiteY94" fmla="*/ 4143375 h 4496940"/>
                    <a:gd name="connsiteX95" fmla="*/ 1030627 w 4519987"/>
                    <a:gd name="connsiteY95" fmla="*/ 4124325 h 4496940"/>
                    <a:gd name="connsiteX96" fmla="*/ 925852 w 4519987"/>
                    <a:gd name="connsiteY96" fmla="*/ 4067175 h 4496940"/>
                    <a:gd name="connsiteX97" fmla="*/ 830602 w 4519987"/>
                    <a:gd name="connsiteY97" fmla="*/ 3981450 h 4496940"/>
                    <a:gd name="connsiteX98" fmla="*/ 763927 w 4519987"/>
                    <a:gd name="connsiteY98" fmla="*/ 3914775 h 4496940"/>
                    <a:gd name="connsiteX99" fmla="*/ 725827 w 4519987"/>
                    <a:gd name="connsiteY99" fmla="*/ 3876675 h 4496940"/>
                    <a:gd name="connsiteX100" fmla="*/ 697252 w 4519987"/>
                    <a:gd name="connsiteY100" fmla="*/ 3838575 h 4496940"/>
                    <a:gd name="connsiteX101" fmla="*/ 640102 w 4519987"/>
                    <a:gd name="connsiteY101" fmla="*/ 3781425 h 4496940"/>
                    <a:gd name="connsiteX102" fmla="*/ 611527 w 4519987"/>
                    <a:gd name="connsiteY102" fmla="*/ 3733800 h 4496940"/>
                    <a:gd name="connsiteX103" fmla="*/ 554377 w 4519987"/>
                    <a:gd name="connsiteY103" fmla="*/ 3657600 h 4496940"/>
                    <a:gd name="connsiteX104" fmla="*/ 525802 w 4519987"/>
                    <a:gd name="connsiteY104" fmla="*/ 3609975 h 4496940"/>
                    <a:gd name="connsiteX105" fmla="*/ 497227 w 4519987"/>
                    <a:gd name="connsiteY105" fmla="*/ 3552825 h 4496940"/>
                    <a:gd name="connsiteX106" fmla="*/ 440077 w 4519987"/>
                    <a:gd name="connsiteY106" fmla="*/ 3495675 h 4496940"/>
                    <a:gd name="connsiteX107" fmla="*/ 411502 w 4519987"/>
                    <a:gd name="connsiteY107" fmla="*/ 3448050 h 4496940"/>
                    <a:gd name="connsiteX108" fmla="*/ 278152 w 4519987"/>
                    <a:gd name="connsiteY108" fmla="*/ 3257550 h 4496940"/>
                    <a:gd name="connsiteX109" fmla="*/ 249577 w 4519987"/>
                    <a:gd name="connsiteY109" fmla="*/ 3200400 h 4496940"/>
                    <a:gd name="connsiteX110" fmla="*/ 240052 w 4519987"/>
                    <a:gd name="connsiteY110" fmla="*/ 3162300 h 4496940"/>
                    <a:gd name="connsiteX111" fmla="*/ 221002 w 4519987"/>
                    <a:gd name="connsiteY111" fmla="*/ 3105150 h 4496940"/>
                    <a:gd name="connsiteX112" fmla="*/ 173377 w 4519987"/>
                    <a:gd name="connsiteY112" fmla="*/ 3019425 h 4496940"/>
                    <a:gd name="connsiteX113" fmla="*/ 144802 w 4519987"/>
                    <a:gd name="connsiteY113" fmla="*/ 2924175 h 4496940"/>
                    <a:gd name="connsiteX114" fmla="*/ 68602 w 4519987"/>
                    <a:gd name="connsiteY114" fmla="*/ 2724150 h 4496940"/>
                    <a:gd name="connsiteX115" fmla="*/ 49552 w 4519987"/>
                    <a:gd name="connsiteY115" fmla="*/ 2638425 h 4496940"/>
                    <a:gd name="connsiteX116" fmla="*/ 40027 w 4519987"/>
                    <a:gd name="connsiteY116" fmla="*/ 2562225 h 4496940"/>
                    <a:gd name="connsiteX117" fmla="*/ 30502 w 4519987"/>
                    <a:gd name="connsiteY117" fmla="*/ 2514600 h 4496940"/>
                    <a:gd name="connsiteX118" fmla="*/ 11452 w 4519987"/>
                    <a:gd name="connsiteY118" fmla="*/ 2400300 h 4496940"/>
                    <a:gd name="connsiteX119" fmla="*/ 20977 w 4519987"/>
                    <a:gd name="connsiteY119" fmla="*/ 1905000 h 4496940"/>
                    <a:gd name="connsiteX120" fmla="*/ 30502 w 4519987"/>
                    <a:gd name="connsiteY120" fmla="*/ 1838325 h 4496940"/>
                    <a:gd name="connsiteX121" fmla="*/ 49552 w 4519987"/>
                    <a:gd name="connsiteY121" fmla="*/ 1781175 h 4496940"/>
                    <a:gd name="connsiteX122" fmla="*/ 59077 w 4519987"/>
                    <a:gd name="connsiteY122" fmla="*/ 1743075 h 4496940"/>
                    <a:gd name="connsiteX123" fmla="*/ 78127 w 4519987"/>
                    <a:gd name="connsiteY123" fmla="*/ 1685925 h 4496940"/>
                    <a:gd name="connsiteX124" fmla="*/ 87652 w 4519987"/>
                    <a:gd name="connsiteY124" fmla="*/ 1638300 h 4496940"/>
                    <a:gd name="connsiteX125" fmla="*/ 106702 w 4519987"/>
                    <a:gd name="connsiteY125" fmla="*/ 1590675 h 4496940"/>
                    <a:gd name="connsiteX126" fmla="*/ 135277 w 4519987"/>
                    <a:gd name="connsiteY126" fmla="*/ 1504950 h 4496940"/>
                    <a:gd name="connsiteX127" fmla="*/ 154327 w 4519987"/>
                    <a:gd name="connsiteY127" fmla="*/ 1419225 h 4496940"/>
                    <a:gd name="connsiteX128" fmla="*/ 230527 w 4519987"/>
                    <a:gd name="connsiteY128" fmla="*/ 1276350 h 4496940"/>
                    <a:gd name="connsiteX129" fmla="*/ 240052 w 4519987"/>
                    <a:gd name="connsiteY129" fmla="*/ 1247775 h 4496940"/>
                    <a:gd name="connsiteX130" fmla="*/ 268627 w 4519987"/>
                    <a:gd name="connsiteY130" fmla="*/ 1200150 h 4496940"/>
                    <a:gd name="connsiteX131" fmla="*/ 287677 w 4519987"/>
                    <a:gd name="connsiteY131" fmla="*/ 1152525 h 4496940"/>
                    <a:gd name="connsiteX132" fmla="*/ 316252 w 4519987"/>
                    <a:gd name="connsiteY132" fmla="*/ 1114425 h 4496940"/>
                    <a:gd name="connsiteX133" fmla="*/ 363877 w 4519987"/>
                    <a:gd name="connsiteY133" fmla="*/ 1038225 h 4496940"/>
                    <a:gd name="connsiteX134" fmla="*/ 382927 w 4519987"/>
                    <a:gd name="connsiteY134" fmla="*/ 1009650 h 4496940"/>
                    <a:gd name="connsiteX135" fmla="*/ 440077 w 4519987"/>
                    <a:gd name="connsiteY135" fmla="*/ 904875 h 4496940"/>
                    <a:gd name="connsiteX136" fmla="*/ 478177 w 4519987"/>
                    <a:gd name="connsiteY136" fmla="*/ 857250 h 4496940"/>
                    <a:gd name="connsiteX137" fmla="*/ 497227 w 4519987"/>
                    <a:gd name="connsiteY137" fmla="*/ 828675 h 4496940"/>
                    <a:gd name="connsiteX138" fmla="*/ 535327 w 4519987"/>
                    <a:gd name="connsiteY138" fmla="*/ 800100 h 4496940"/>
                    <a:gd name="connsiteX139" fmla="*/ 602002 w 4519987"/>
                    <a:gd name="connsiteY139" fmla="*/ 733425 h 4496940"/>
                    <a:gd name="connsiteX140" fmla="*/ 668677 w 4519987"/>
                    <a:gd name="connsiteY140" fmla="*/ 676275 h 4496940"/>
                    <a:gd name="connsiteX141" fmla="*/ 697252 w 4519987"/>
                    <a:gd name="connsiteY141" fmla="*/ 657225 h 4496940"/>
                    <a:gd name="connsiteX142" fmla="*/ 840127 w 4519987"/>
                    <a:gd name="connsiteY142" fmla="*/ 533400 h 4496940"/>
                    <a:gd name="connsiteX143" fmla="*/ 887752 w 4519987"/>
                    <a:gd name="connsiteY143" fmla="*/ 504825 h 4496940"/>
                    <a:gd name="connsiteX144" fmla="*/ 1167152 w 4519987"/>
                    <a:gd name="connsiteY144" fmla="*/ 311150 h 4496940"/>
                    <a:gd name="connsiteX145" fmla="*/ 1268752 w 4519987"/>
                    <a:gd name="connsiteY145" fmla="*/ 285750 h 4496940"/>
                    <a:gd name="connsiteX146" fmla="*/ 1411627 w 4519987"/>
                    <a:gd name="connsiteY146" fmla="*/ 190500 h 4496940"/>
                    <a:gd name="connsiteX147" fmla="*/ 1449727 w 4519987"/>
                    <a:gd name="connsiteY147" fmla="*/ 161925 h 4496940"/>
                    <a:gd name="connsiteX148" fmla="*/ 1525927 w 4519987"/>
                    <a:gd name="connsiteY148" fmla="*/ 152400 h 4496940"/>
                    <a:gd name="connsiteX149" fmla="*/ 1583077 w 4519987"/>
                    <a:gd name="connsiteY149" fmla="*/ 142875 h 4496940"/>
                    <a:gd name="connsiteX150" fmla="*/ 1716427 w 4519987"/>
                    <a:gd name="connsiteY150" fmla="*/ 123825 h 4496940"/>
                    <a:gd name="connsiteX151" fmla="*/ 1811677 w 4519987"/>
                    <a:gd name="connsiteY151" fmla="*/ 114300 h 4496940"/>
                    <a:gd name="connsiteX152" fmla="*/ 1859302 w 4519987"/>
                    <a:gd name="connsiteY152" fmla="*/ 104775 h 4496940"/>
                    <a:gd name="connsiteX153" fmla="*/ 1916452 w 4519987"/>
                    <a:gd name="connsiteY153" fmla="*/ 95250 h 4496940"/>
                    <a:gd name="connsiteX154" fmla="*/ 2030752 w 4519987"/>
                    <a:gd name="connsiteY154" fmla="*/ 66675 h 4496940"/>
                    <a:gd name="connsiteX155" fmla="*/ 2097427 w 4519987"/>
                    <a:gd name="connsiteY155" fmla="*/ 47625 h 4496940"/>
                    <a:gd name="connsiteX156" fmla="*/ 2164102 w 4519987"/>
                    <a:gd name="connsiteY156" fmla="*/ 38100 h 4496940"/>
                    <a:gd name="connsiteX157" fmla="*/ 2392702 w 4519987"/>
                    <a:gd name="connsiteY15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35777 w 4519987"/>
                    <a:gd name="connsiteY30" fmla="*/ 933450 h 4496940"/>
                    <a:gd name="connsiteX31" fmla="*/ 4164352 w 4519987"/>
                    <a:gd name="connsiteY31" fmla="*/ 990600 h 4496940"/>
                    <a:gd name="connsiteX32" fmla="*/ 4173877 w 4519987"/>
                    <a:gd name="connsiteY32" fmla="*/ 1019175 h 4496940"/>
                    <a:gd name="connsiteX33" fmla="*/ 4192927 w 4519987"/>
                    <a:gd name="connsiteY33" fmla="*/ 1057275 h 4496940"/>
                    <a:gd name="connsiteX34" fmla="*/ 4202452 w 4519987"/>
                    <a:gd name="connsiteY34" fmla="*/ 1085850 h 4496940"/>
                    <a:gd name="connsiteX35" fmla="*/ 4250077 w 4519987"/>
                    <a:gd name="connsiteY35" fmla="*/ 1143000 h 4496940"/>
                    <a:gd name="connsiteX36" fmla="*/ 4259602 w 4519987"/>
                    <a:gd name="connsiteY36" fmla="*/ 1190625 h 4496940"/>
                    <a:gd name="connsiteX37" fmla="*/ 4307227 w 4519987"/>
                    <a:gd name="connsiteY37" fmla="*/ 1266825 h 4496940"/>
                    <a:gd name="connsiteX38" fmla="*/ 4345327 w 4519987"/>
                    <a:gd name="connsiteY38" fmla="*/ 1362075 h 4496940"/>
                    <a:gd name="connsiteX39" fmla="*/ 4373902 w 4519987"/>
                    <a:gd name="connsiteY39" fmla="*/ 1428750 h 4496940"/>
                    <a:gd name="connsiteX40" fmla="*/ 4392952 w 4519987"/>
                    <a:gd name="connsiteY40" fmla="*/ 1552575 h 4496940"/>
                    <a:gd name="connsiteX41" fmla="*/ 4402477 w 4519987"/>
                    <a:gd name="connsiteY41" fmla="*/ 1590675 h 4496940"/>
                    <a:gd name="connsiteX42" fmla="*/ 4431052 w 4519987"/>
                    <a:gd name="connsiteY42" fmla="*/ 1685925 h 4496940"/>
                    <a:gd name="connsiteX43" fmla="*/ 4519952 w 4519987"/>
                    <a:gd name="connsiteY43" fmla="*/ 2181225 h 4496940"/>
                    <a:gd name="connsiteX44" fmla="*/ 4446927 w 4519987"/>
                    <a:gd name="connsiteY44" fmla="*/ 2768600 h 4496940"/>
                    <a:gd name="connsiteX45" fmla="*/ 4383427 w 4519987"/>
                    <a:gd name="connsiteY45" fmla="*/ 2990850 h 4496940"/>
                    <a:gd name="connsiteX46" fmla="*/ 4278652 w 4519987"/>
                    <a:gd name="connsiteY46" fmla="*/ 3248025 h 4496940"/>
                    <a:gd name="connsiteX47" fmla="*/ 4259602 w 4519987"/>
                    <a:gd name="connsiteY47" fmla="*/ 3276600 h 4496940"/>
                    <a:gd name="connsiteX48" fmla="*/ 4221502 w 4519987"/>
                    <a:gd name="connsiteY48" fmla="*/ 3333750 h 4496940"/>
                    <a:gd name="connsiteX49" fmla="*/ 4211977 w 4519987"/>
                    <a:gd name="connsiteY49" fmla="*/ 3362325 h 4496940"/>
                    <a:gd name="connsiteX50" fmla="*/ 4183402 w 4519987"/>
                    <a:gd name="connsiteY50" fmla="*/ 3400425 h 4496940"/>
                    <a:gd name="connsiteX51" fmla="*/ 4164352 w 4519987"/>
                    <a:gd name="connsiteY51" fmla="*/ 3429000 h 4496940"/>
                    <a:gd name="connsiteX52" fmla="*/ 4088152 w 4519987"/>
                    <a:gd name="connsiteY52" fmla="*/ 3495675 h 4496940"/>
                    <a:gd name="connsiteX53" fmla="*/ 4059577 w 4519987"/>
                    <a:gd name="connsiteY53" fmla="*/ 3533775 h 4496940"/>
                    <a:gd name="connsiteX54" fmla="*/ 4002427 w 4519987"/>
                    <a:gd name="connsiteY54" fmla="*/ 3600450 h 4496940"/>
                    <a:gd name="connsiteX55" fmla="*/ 3983377 w 4519987"/>
                    <a:gd name="connsiteY55" fmla="*/ 3629025 h 4496940"/>
                    <a:gd name="connsiteX56" fmla="*/ 3954802 w 4519987"/>
                    <a:gd name="connsiteY56" fmla="*/ 3648075 h 4496940"/>
                    <a:gd name="connsiteX57" fmla="*/ 3907177 w 4519987"/>
                    <a:gd name="connsiteY57" fmla="*/ 3686175 h 4496940"/>
                    <a:gd name="connsiteX58" fmla="*/ 3869077 w 4519987"/>
                    <a:gd name="connsiteY58" fmla="*/ 3724275 h 4496940"/>
                    <a:gd name="connsiteX59" fmla="*/ 3792877 w 4519987"/>
                    <a:gd name="connsiteY59" fmla="*/ 3781425 h 4496940"/>
                    <a:gd name="connsiteX60" fmla="*/ 3783352 w 4519987"/>
                    <a:gd name="connsiteY60" fmla="*/ 3810000 h 4496940"/>
                    <a:gd name="connsiteX61" fmla="*/ 3745252 w 4519987"/>
                    <a:gd name="connsiteY61" fmla="*/ 3819525 h 4496940"/>
                    <a:gd name="connsiteX62" fmla="*/ 3678577 w 4519987"/>
                    <a:gd name="connsiteY62" fmla="*/ 3848100 h 4496940"/>
                    <a:gd name="connsiteX63" fmla="*/ 3659527 w 4519987"/>
                    <a:gd name="connsiteY63" fmla="*/ 3971925 h 4496940"/>
                    <a:gd name="connsiteX64" fmla="*/ 3630952 w 4519987"/>
                    <a:gd name="connsiteY64" fmla="*/ 4010025 h 4496940"/>
                    <a:gd name="connsiteX65" fmla="*/ 3621427 w 4519987"/>
                    <a:gd name="connsiteY65" fmla="*/ 4038600 h 4496940"/>
                    <a:gd name="connsiteX66" fmla="*/ 3554752 w 4519987"/>
                    <a:gd name="connsiteY66" fmla="*/ 4095750 h 4496940"/>
                    <a:gd name="connsiteX67" fmla="*/ 3516652 w 4519987"/>
                    <a:gd name="connsiteY67" fmla="*/ 4114800 h 4496940"/>
                    <a:gd name="connsiteX68" fmla="*/ 3497602 w 4519987"/>
                    <a:gd name="connsiteY68" fmla="*/ 4143375 h 4496940"/>
                    <a:gd name="connsiteX69" fmla="*/ 3383302 w 4519987"/>
                    <a:gd name="connsiteY69" fmla="*/ 4210050 h 4496940"/>
                    <a:gd name="connsiteX70" fmla="*/ 3335677 w 4519987"/>
                    <a:gd name="connsiteY70" fmla="*/ 4238625 h 4496940"/>
                    <a:gd name="connsiteX71" fmla="*/ 3288052 w 4519987"/>
                    <a:gd name="connsiteY71" fmla="*/ 4248150 h 4496940"/>
                    <a:gd name="connsiteX72" fmla="*/ 3240427 w 4519987"/>
                    <a:gd name="connsiteY72" fmla="*/ 4267200 h 4496940"/>
                    <a:gd name="connsiteX73" fmla="*/ 3068977 w 4519987"/>
                    <a:gd name="connsiteY73" fmla="*/ 4286250 h 4496940"/>
                    <a:gd name="connsiteX74" fmla="*/ 2935627 w 4519987"/>
                    <a:gd name="connsiteY74" fmla="*/ 4333875 h 4496940"/>
                    <a:gd name="connsiteX75" fmla="*/ 2811802 w 4519987"/>
                    <a:gd name="connsiteY75" fmla="*/ 4371975 h 4496940"/>
                    <a:gd name="connsiteX76" fmla="*/ 2745127 w 4519987"/>
                    <a:gd name="connsiteY76" fmla="*/ 4410075 h 4496940"/>
                    <a:gd name="connsiteX77" fmla="*/ 2697502 w 4519987"/>
                    <a:gd name="connsiteY77" fmla="*/ 4429125 h 4496940"/>
                    <a:gd name="connsiteX78" fmla="*/ 2640352 w 4519987"/>
                    <a:gd name="connsiteY78" fmla="*/ 4457700 h 4496940"/>
                    <a:gd name="connsiteX79" fmla="*/ 2583202 w 4519987"/>
                    <a:gd name="connsiteY79" fmla="*/ 4467225 h 4496940"/>
                    <a:gd name="connsiteX80" fmla="*/ 2545102 w 4519987"/>
                    <a:gd name="connsiteY80" fmla="*/ 4486275 h 4496940"/>
                    <a:gd name="connsiteX81" fmla="*/ 2306977 w 4519987"/>
                    <a:gd name="connsiteY81" fmla="*/ 4476750 h 4496940"/>
                    <a:gd name="connsiteX82" fmla="*/ 2202202 w 4519987"/>
                    <a:gd name="connsiteY82" fmla="*/ 4457700 h 4496940"/>
                    <a:gd name="connsiteX83" fmla="*/ 2126002 w 4519987"/>
                    <a:gd name="connsiteY83" fmla="*/ 4429125 h 4496940"/>
                    <a:gd name="connsiteX84" fmla="*/ 1935502 w 4519987"/>
                    <a:gd name="connsiteY84" fmla="*/ 4400550 h 4496940"/>
                    <a:gd name="connsiteX85" fmla="*/ 1821202 w 4519987"/>
                    <a:gd name="connsiteY85" fmla="*/ 4371975 h 4496940"/>
                    <a:gd name="connsiteX86" fmla="*/ 1754527 w 4519987"/>
                    <a:gd name="connsiteY86" fmla="*/ 4352925 h 4496940"/>
                    <a:gd name="connsiteX87" fmla="*/ 1687852 w 4519987"/>
                    <a:gd name="connsiteY87" fmla="*/ 4343400 h 4496940"/>
                    <a:gd name="connsiteX88" fmla="*/ 1573552 w 4519987"/>
                    <a:gd name="connsiteY88" fmla="*/ 4305300 h 4496940"/>
                    <a:gd name="connsiteX89" fmla="*/ 1402102 w 4519987"/>
                    <a:gd name="connsiteY89" fmla="*/ 4276725 h 4496940"/>
                    <a:gd name="connsiteX90" fmla="*/ 1287802 w 4519987"/>
                    <a:gd name="connsiteY90" fmla="*/ 4229100 h 4496940"/>
                    <a:gd name="connsiteX91" fmla="*/ 1221127 w 4519987"/>
                    <a:gd name="connsiteY91" fmla="*/ 4200525 h 4496940"/>
                    <a:gd name="connsiteX92" fmla="*/ 1144927 w 4519987"/>
                    <a:gd name="connsiteY92" fmla="*/ 4171950 h 4496940"/>
                    <a:gd name="connsiteX93" fmla="*/ 1087777 w 4519987"/>
                    <a:gd name="connsiteY93" fmla="*/ 4143375 h 4496940"/>
                    <a:gd name="connsiteX94" fmla="*/ 1030627 w 4519987"/>
                    <a:gd name="connsiteY94" fmla="*/ 4124325 h 4496940"/>
                    <a:gd name="connsiteX95" fmla="*/ 925852 w 4519987"/>
                    <a:gd name="connsiteY95" fmla="*/ 4067175 h 4496940"/>
                    <a:gd name="connsiteX96" fmla="*/ 830602 w 4519987"/>
                    <a:gd name="connsiteY96" fmla="*/ 3981450 h 4496940"/>
                    <a:gd name="connsiteX97" fmla="*/ 763927 w 4519987"/>
                    <a:gd name="connsiteY97" fmla="*/ 3914775 h 4496940"/>
                    <a:gd name="connsiteX98" fmla="*/ 725827 w 4519987"/>
                    <a:gd name="connsiteY98" fmla="*/ 3876675 h 4496940"/>
                    <a:gd name="connsiteX99" fmla="*/ 697252 w 4519987"/>
                    <a:gd name="connsiteY99" fmla="*/ 3838575 h 4496940"/>
                    <a:gd name="connsiteX100" fmla="*/ 640102 w 4519987"/>
                    <a:gd name="connsiteY100" fmla="*/ 3781425 h 4496940"/>
                    <a:gd name="connsiteX101" fmla="*/ 611527 w 4519987"/>
                    <a:gd name="connsiteY101" fmla="*/ 3733800 h 4496940"/>
                    <a:gd name="connsiteX102" fmla="*/ 554377 w 4519987"/>
                    <a:gd name="connsiteY102" fmla="*/ 3657600 h 4496940"/>
                    <a:gd name="connsiteX103" fmla="*/ 525802 w 4519987"/>
                    <a:gd name="connsiteY103" fmla="*/ 3609975 h 4496940"/>
                    <a:gd name="connsiteX104" fmla="*/ 497227 w 4519987"/>
                    <a:gd name="connsiteY104" fmla="*/ 3552825 h 4496940"/>
                    <a:gd name="connsiteX105" fmla="*/ 440077 w 4519987"/>
                    <a:gd name="connsiteY105" fmla="*/ 3495675 h 4496940"/>
                    <a:gd name="connsiteX106" fmla="*/ 411502 w 4519987"/>
                    <a:gd name="connsiteY106" fmla="*/ 3448050 h 4496940"/>
                    <a:gd name="connsiteX107" fmla="*/ 278152 w 4519987"/>
                    <a:gd name="connsiteY107" fmla="*/ 3257550 h 4496940"/>
                    <a:gd name="connsiteX108" fmla="*/ 249577 w 4519987"/>
                    <a:gd name="connsiteY108" fmla="*/ 3200400 h 4496940"/>
                    <a:gd name="connsiteX109" fmla="*/ 240052 w 4519987"/>
                    <a:gd name="connsiteY109" fmla="*/ 3162300 h 4496940"/>
                    <a:gd name="connsiteX110" fmla="*/ 221002 w 4519987"/>
                    <a:gd name="connsiteY110" fmla="*/ 3105150 h 4496940"/>
                    <a:gd name="connsiteX111" fmla="*/ 173377 w 4519987"/>
                    <a:gd name="connsiteY111" fmla="*/ 3019425 h 4496940"/>
                    <a:gd name="connsiteX112" fmla="*/ 144802 w 4519987"/>
                    <a:gd name="connsiteY112" fmla="*/ 2924175 h 4496940"/>
                    <a:gd name="connsiteX113" fmla="*/ 68602 w 4519987"/>
                    <a:gd name="connsiteY113" fmla="*/ 2724150 h 4496940"/>
                    <a:gd name="connsiteX114" fmla="*/ 49552 w 4519987"/>
                    <a:gd name="connsiteY114" fmla="*/ 2638425 h 4496940"/>
                    <a:gd name="connsiteX115" fmla="*/ 40027 w 4519987"/>
                    <a:gd name="connsiteY115" fmla="*/ 2562225 h 4496940"/>
                    <a:gd name="connsiteX116" fmla="*/ 30502 w 4519987"/>
                    <a:gd name="connsiteY116" fmla="*/ 2514600 h 4496940"/>
                    <a:gd name="connsiteX117" fmla="*/ 11452 w 4519987"/>
                    <a:gd name="connsiteY117" fmla="*/ 2400300 h 4496940"/>
                    <a:gd name="connsiteX118" fmla="*/ 20977 w 4519987"/>
                    <a:gd name="connsiteY118" fmla="*/ 1905000 h 4496940"/>
                    <a:gd name="connsiteX119" fmla="*/ 30502 w 4519987"/>
                    <a:gd name="connsiteY119" fmla="*/ 1838325 h 4496940"/>
                    <a:gd name="connsiteX120" fmla="*/ 49552 w 4519987"/>
                    <a:gd name="connsiteY120" fmla="*/ 1781175 h 4496940"/>
                    <a:gd name="connsiteX121" fmla="*/ 59077 w 4519987"/>
                    <a:gd name="connsiteY121" fmla="*/ 1743075 h 4496940"/>
                    <a:gd name="connsiteX122" fmla="*/ 78127 w 4519987"/>
                    <a:gd name="connsiteY122" fmla="*/ 1685925 h 4496940"/>
                    <a:gd name="connsiteX123" fmla="*/ 87652 w 4519987"/>
                    <a:gd name="connsiteY123" fmla="*/ 1638300 h 4496940"/>
                    <a:gd name="connsiteX124" fmla="*/ 106702 w 4519987"/>
                    <a:gd name="connsiteY124" fmla="*/ 1590675 h 4496940"/>
                    <a:gd name="connsiteX125" fmla="*/ 135277 w 4519987"/>
                    <a:gd name="connsiteY125" fmla="*/ 1504950 h 4496940"/>
                    <a:gd name="connsiteX126" fmla="*/ 154327 w 4519987"/>
                    <a:gd name="connsiteY126" fmla="*/ 1419225 h 4496940"/>
                    <a:gd name="connsiteX127" fmla="*/ 230527 w 4519987"/>
                    <a:gd name="connsiteY127" fmla="*/ 1276350 h 4496940"/>
                    <a:gd name="connsiteX128" fmla="*/ 240052 w 4519987"/>
                    <a:gd name="connsiteY128" fmla="*/ 1247775 h 4496940"/>
                    <a:gd name="connsiteX129" fmla="*/ 268627 w 4519987"/>
                    <a:gd name="connsiteY129" fmla="*/ 1200150 h 4496940"/>
                    <a:gd name="connsiteX130" fmla="*/ 287677 w 4519987"/>
                    <a:gd name="connsiteY130" fmla="*/ 1152525 h 4496940"/>
                    <a:gd name="connsiteX131" fmla="*/ 316252 w 4519987"/>
                    <a:gd name="connsiteY131" fmla="*/ 1114425 h 4496940"/>
                    <a:gd name="connsiteX132" fmla="*/ 363877 w 4519987"/>
                    <a:gd name="connsiteY132" fmla="*/ 1038225 h 4496940"/>
                    <a:gd name="connsiteX133" fmla="*/ 382927 w 4519987"/>
                    <a:gd name="connsiteY133" fmla="*/ 1009650 h 4496940"/>
                    <a:gd name="connsiteX134" fmla="*/ 440077 w 4519987"/>
                    <a:gd name="connsiteY134" fmla="*/ 904875 h 4496940"/>
                    <a:gd name="connsiteX135" fmla="*/ 478177 w 4519987"/>
                    <a:gd name="connsiteY135" fmla="*/ 857250 h 4496940"/>
                    <a:gd name="connsiteX136" fmla="*/ 497227 w 4519987"/>
                    <a:gd name="connsiteY136" fmla="*/ 828675 h 4496940"/>
                    <a:gd name="connsiteX137" fmla="*/ 535327 w 4519987"/>
                    <a:gd name="connsiteY137" fmla="*/ 800100 h 4496940"/>
                    <a:gd name="connsiteX138" fmla="*/ 602002 w 4519987"/>
                    <a:gd name="connsiteY138" fmla="*/ 733425 h 4496940"/>
                    <a:gd name="connsiteX139" fmla="*/ 668677 w 4519987"/>
                    <a:gd name="connsiteY139" fmla="*/ 676275 h 4496940"/>
                    <a:gd name="connsiteX140" fmla="*/ 697252 w 4519987"/>
                    <a:gd name="connsiteY140" fmla="*/ 657225 h 4496940"/>
                    <a:gd name="connsiteX141" fmla="*/ 840127 w 4519987"/>
                    <a:gd name="connsiteY141" fmla="*/ 533400 h 4496940"/>
                    <a:gd name="connsiteX142" fmla="*/ 887752 w 4519987"/>
                    <a:gd name="connsiteY142" fmla="*/ 504825 h 4496940"/>
                    <a:gd name="connsiteX143" fmla="*/ 1167152 w 4519987"/>
                    <a:gd name="connsiteY143" fmla="*/ 311150 h 4496940"/>
                    <a:gd name="connsiteX144" fmla="*/ 1268752 w 4519987"/>
                    <a:gd name="connsiteY144" fmla="*/ 285750 h 4496940"/>
                    <a:gd name="connsiteX145" fmla="*/ 1411627 w 4519987"/>
                    <a:gd name="connsiteY145" fmla="*/ 190500 h 4496940"/>
                    <a:gd name="connsiteX146" fmla="*/ 1449727 w 4519987"/>
                    <a:gd name="connsiteY146" fmla="*/ 161925 h 4496940"/>
                    <a:gd name="connsiteX147" fmla="*/ 1525927 w 4519987"/>
                    <a:gd name="connsiteY147" fmla="*/ 152400 h 4496940"/>
                    <a:gd name="connsiteX148" fmla="*/ 1583077 w 4519987"/>
                    <a:gd name="connsiteY148" fmla="*/ 142875 h 4496940"/>
                    <a:gd name="connsiteX149" fmla="*/ 1716427 w 4519987"/>
                    <a:gd name="connsiteY149" fmla="*/ 123825 h 4496940"/>
                    <a:gd name="connsiteX150" fmla="*/ 1811677 w 4519987"/>
                    <a:gd name="connsiteY150" fmla="*/ 114300 h 4496940"/>
                    <a:gd name="connsiteX151" fmla="*/ 1859302 w 4519987"/>
                    <a:gd name="connsiteY151" fmla="*/ 104775 h 4496940"/>
                    <a:gd name="connsiteX152" fmla="*/ 1916452 w 4519987"/>
                    <a:gd name="connsiteY152" fmla="*/ 95250 h 4496940"/>
                    <a:gd name="connsiteX153" fmla="*/ 2030752 w 4519987"/>
                    <a:gd name="connsiteY153" fmla="*/ 66675 h 4496940"/>
                    <a:gd name="connsiteX154" fmla="*/ 2097427 w 4519987"/>
                    <a:gd name="connsiteY154" fmla="*/ 47625 h 4496940"/>
                    <a:gd name="connsiteX155" fmla="*/ 2164102 w 4519987"/>
                    <a:gd name="connsiteY155" fmla="*/ 38100 h 4496940"/>
                    <a:gd name="connsiteX156" fmla="*/ 2392702 w 4519987"/>
                    <a:gd name="connsiteY15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35777 w 4519987"/>
                    <a:gd name="connsiteY29" fmla="*/ 933450 h 4496940"/>
                    <a:gd name="connsiteX30" fmla="*/ 4164352 w 4519987"/>
                    <a:gd name="connsiteY30" fmla="*/ 990600 h 4496940"/>
                    <a:gd name="connsiteX31" fmla="*/ 4173877 w 4519987"/>
                    <a:gd name="connsiteY31" fmla="*/ 1019175 h 4496940"/>
                    <a:gd name="connsiteX32" fmla="*/ 4192927 w 4519987"/>
                    <a:gd name="connsiteY32" fmla="*/ 1057275 h 4496940"/>
                    <a:gd name="connsiteX33" fmla="*/ 4202452 w 4519987"/>
                    <a:gd name="connsiteY33" fmla="*/ 1085850 h 4496940"/>
                    <a:gd name="connsiteX34" fmla="*/ 4250077 w 4519987"/>
                    <a:gd name="connsiteY34" fmla="*/ 1143000 h 4496940"/>
                    <a:gd name="connsiteX35" fmla="*/ 4259602 w 4519987"/>
                    <a:gd name="connsiteY35" fmla="*/ 1190625 h 4496940"/>
                    <a:gd name="connsiteX36" fmla="*/ 4307227 w 4519987"/>
                    <a:gd name="connsiteY36" fmla="*/ 1266825 h 4496940"/>
                    <a:gd name="connsiteX37" fmla="*/ 4345327 w 4519987"/>
                    <a:gd name="connsiteY37" fmla="*/ 1362075 h 4496940"/>
                    <a:gd name="connsiteX38" fmla="*/ 4373902 w 4519987"/>
                    <a:gd name="connsiteY38" fmla="*/ 1428750 h 4496940"/>
                    <a:gd name="connsiteX39" fmla="*/ 4392952 w 4519987"/>
                    <a:gd name="connsiteY39" fmla="*/ 1552575 h 4496940"/>
                    <a:gd name="connsiteX40" fmla="*/ 4402477 w 4519987"/>
                    <a:gd name="connsiteY40" fmla="*/ 1590675 h 4496940"/>
                    <a:gd name="connsiteX41" fmla="*/ 4431052 w 4519987"/>
                    <a:gd name="connsiteY41" fmla="*/ 1685925 h 4496940"/>
                    <a:gd name="connsiteX42" fmla="*/ 4519952 w 4519987"/>
                    <a:gd name="connsiteY42" fmla="*/ 2181225 h 4496940"/>
                    <a:gd name="connsiteX43" fmla="*/ 4446927 w 4519987"/>
                    <a:gd name="connsiteY43" fmla="*/ 2768600 h 4496940"/>
                    <a:gd name="connsiteX44" fmla="*/ 4383427 w 4519987"/>
                    <a:gd name="connsiteY44" fmla="*/ 2990850 h 4496940"/>
                    <a:gd name="connsiteX45" fmla="*/ 4278652 w 4519987"/>
                    <a:gd name="connsiteY45" fmla="*/ 3248025 h 4496940"/>
                    <a:gd name="connsiteX46" fmla="*/ 4259602 w 4519987"/>
                    <a:gd name="connsiteY46" fmla="*/ 3276600 h 4496940"/>
                    <a:gd name="connsiteX47" fmla="*/ 4221502 w 4519987"/>
                    <a:gd name="connsiteY47" fmla="*/ 3333750 h 4496940"/>
                    <a:gd name="connsiteX48" fmla="*/ 4211977 w 4519987"/>
                    <a:gd name="connsiteY48" fmla="*/ 3362325 h 4496940"/>
                    <a:gd name="connsiteX49" fmla="*/ 4183402 w 4519987"/>
                    <a:gd name="connsiteY49" fmla="*/ 3400425 h 4496940"/>
                    <a:gd name="connsiteX50" fmla="*/ 4164352 w 4519987"/>
                    <a:gd name="connsiteY50" fmla="*/ 3429000 h 4496940"/>
                    <a:gd name="connsiteX51" fmla="*/ 4088152 w 4519987"/>
                    <a:gd name="connsiteY51" fmla="*/ 3495675 h 4496940"/>
                    <a:gd name="connsiteX52" fmla="*/ 4059577 w 4519987"/>
                    <a:gd name="connsiteY52" fmla="*/ 3533775 h 4496940"/>
                    <a:gd name="connsiteX53" fmla="*/ 4002427 w 4519987"/>
                    <a:gd name="connsiteY53" fmla="*/ 3600450 h 4496940"/>
                    <a:gd name="connsiteX54" fmla="*/ 3983377 w 4519987"/>
                    <a:gd name="connsiteY54" fmla="*/ 3629025 h 4496940"/>
                    <a:gd name="connsiteX55" fmla="*/ 3954802 w 4519987"/>
                    <a:gd name="connsiteY55" fmla="*/ 3648075 h 4496940"/>
                    <a:gd name="connsiteX56" fmla="*/ 3907177 w 4519987"/>
                    <a:gd name="connsiteY56" fmla="*/ 3686175 h 4496940"/>
                    <a:gd name="connsiteX57" fmla="*/ 3869077 w 4519987"/>
                    <a:gd name="connsiteY57" fmla="*/ 3724275 h 4496940"/>
                    <a:gd name="connsiteX58" fmla="*/ 3792877 w 4519987"/>
                    <a:gd name="connsiteY58" fmla="*/ 3781425 h 4496940"/>
                    <a:gd name="connsiteX59" fmla="*/ 3783352 w 4519987"/>
                    <a:gd name="connsiteY59" fmla="*/ 3810000 h 4496940"/>
                    <a:gd name="connsiteX60" fmla="*/ 3745252 w 4519987"/>
                    <a:gd name="connsiteY60" fmla="*/ 3819525 h 4496940"/>
                    <a:gd name="connsiteX61" fmla="*/ 3678577 w 4519987"/>
                    <a:gd name="connsiteY61" fmla="*/ 3848100 h 4496940"/>
                    <a:gd name="connsiteX62" fmla="*/ 3659527 w 4519987"/>
                    <a:gd name="connsiteY62" fmla="*/ 3971925 h 4496940"/>
                    <a:gd name="connsiteX63" fmla="*/ 3630952 w 4519987"/>
                    <a:gd name="connsiteY63" fmla="*/ 4010025 h 4496940"/>
                    <a:gd name="connsiteX64" fmla="*/ 3621427 w 4519987"/>
                    <a:gd name="connsiteY64" fmla="*/ 4038600 h 4496940"/>
                    <a:gd name="connsiteX65" fmla="*/ 3554752 w 4519987"/>
                    <a:gd name="connsiteY65" fmla="*/ 4095750 h 4496940"/>
                    <a:gd name="connsiteX66" fmla="*/ 3516652 w 4519987"/>
                    <a:gd name="connsiteY66" fmla="*/ 4114800 h 4496940"/>
                    <a:gd name="connsiteX67" fmla="*/ 3497602 w 4519987"/>
                    <a:gd name="connsiteY67" fmla="*/ 4143375 h 4496940"/>
                    <a:gd name="connsiteX68" fmla="*/ 3383302 w 4519987"/>
                    <a:gd name="connsiteY68" fmla="*/ 4210050 h 4496940"/>
                    <a:gd name="connsiteX69" fmla="*/ 3335677 w 4519987"/>
                    <a:gd name="connsiteY69" fmla="*/ 4238625 h 4496940"/>
                    <a:gd name="connsiteX70" fmla="*/ 3288052 w 4519987"/>
                    <a:gd name="connsiteY70" fmla="*/ 4248150 h 4496940"/>
                    <a:gd name="connsiteX71" fmla="*/ 3240427 w 4519987"/>
                    <a:gd name="connsiteY71" fmla="*/ 4267200 h 4496940"/>
                    <a:gd name="connsiteX72" fmla="*/ 3068977 w 4519987"/>
                    <a:gd name="connsiteY72" fmla="*/ 4286250 h 4496940"/>
                    <a:gd name="connsiteX73" fmla="*/ 2935627 w 4519987"/>
                    <a:gd name="connsiteY73" fmla="*/ 4333875 h 4496940"/>
                    <a:gd name="connsiteX74" fmla="*/ 2811802 w 4519987"/>
                    <a:gd name="connsiteY74" fmla="*/ 4371975 h 4496940"/>
                    <a:gd name="connsiteX75" fmla="*/ 2745127 w 4519987"/>
                    <a:gd name="connsiteY75" fmla="*/ 4410075 h 4496940"/>
                    <a:gd name="connsiteX76" fmla="*/ 2697502 w 4519987"/>
                    <a:gd name="connsiteY76" fmla="*/ 4429125 h 4496940"/>
                    <a:gd name="connsiteX77" fmla="*/ 2640352 w 4519987"/>
                    <a:gd name="connsiteY77" fmla="*/ 4457700 h 4496940"/>
                    <a:gd name="connsiteX78" fmla="*/ 2583202 w 4519987"/>
                    <a:gd name="connsiteY78" fmla="*/ 4467225 h 4496940"/>
                    <a:gd name="connsiteX79" fmla="*/ 2545102 w 4519987"/>
                    <a:gd name="connsiteY79" fmla="*/ 4486275 h 4496940"/>
                    <a:gd name="connsiteX80" fmla="*/ 2306977 w 4519987"/>
                    <a:gd name="connsiteY80" fmla="*/ 4476750 h 4496940"/>
                    <a:gd name="connsiteX81" fmla="*/ 2202202 w 4519987"/>
                    <a:gd name="connsiteY81" fmla="*/ 4457700 h 4496940"/>
                    <a:gd name="connsiteX82" fmla="*/ 2126002 w 4519987"/>
                    <a:gd name="connsiteY82" fmla="*/ 4429125 h 4496940"/>
                    <a:gd name="connsiteX83" fmla="*/ 1935502 w 4519987"/>
                    <a:gd name="connsiteY83" fmla="*/ 4400550 h 4496940"/>
                    <a:gd name="connsiteX84" fmla="*/ 1821202 w 4519987"/>
                    <a:gd name="connsiteY84" fmla="*/ 4371975 h 4496940"/>
                    <a:gd name="connsiteX85" fmla="*/ 1754527 w 4519987"/>
                    <a:gd name="connsiteY85" fmla="*/ 4352925 h 4496940"/>
                    <a:gd name="connsiteX86" fmla="*/ 1687852 w 4519987"/>
                    <a:gd name="connsiteY86" fmla="*/ 4343400 h 4496940"/>
                    <a:gd name="connsiteX87" fmla="*/ 1573552 w 4519987"/>
                    <a:gd name="connsiteY87" fmla="*/ 4305300 h 4496940"/>
                    <a:gd name="connsiteX88" fmla="*/ 1402102 w 4519987"/>
                    <a:gd name="connsiteY88" fmla="*/ 4276725 h 4496940"/>
                    <a:gd name="connsiteX89" fmla="*/ 1287802 w 4519987"/>
                    <a:gd name="connsiteY89" fmla="*/ 4229100 h 4496940"/>
                    <a:gd name="connsiteX90" fmla="*/ 1221127 w 4519987"/>
                    <a:gd name="connsiteY90" fmla="*/ 4200525 h 4496940"/>
                    <a:gd name="connsiteX91" fmla="*/ 1144927 w 4519987"/>
                    <a:gd name="connsiteY91" fmla="*/ 4171950 h 4496940"/>
                    <a:gd name="connsiteX92" fmla="*/ 1087777 w 4519987"/>
                    <a:gd name="connsiteY92" fmla="*/ 4143375 h 4496940"/>
                    <a:gd name="connsiteX93" fmla="*/ 1030627 w 4519987"/>
                    <a:gd name="connsiteY93" fmla="*/ 4124325 h 4496940"/>
                    <a:gd name="connsiteX94" fmla="*/ 925852 w 4519987"/>
                    <a:gd name="connsiteY94" fmla="*/ 4067175 h 4496940"/>
                    <a:gd name="connsiteX95" fmla="*/ 830602 w 4519987"/>
                    <a:gd name="connsiteY95" fmla="*/ 3981450 h 4496940"/>
                    <a:gd name="connsiteX96" fmla="*/ 763927 w 4519987"/>
                    <a:gd name="connsiteY96" fmla="*/ 3914775 h 4496940"/>
                    <a:gd name="connsiteX97" fmla="*/ 725827 w 4519987"/>
                    <a:gd name="connsiteY97" fmla="*/ 3876675 h 4496940"/>
                    <a:gd name="connsiteX98" fmla="*/ 697252 w 4519987"/>
                    <a:gd name="connsiteY98" fmla="*/ 3838575 h 4496940"/>
                    <a:gd name="connsiteX99" fmla="*/ 640102 w 4519987"/>
                    <a:gd name="connsiteY99" fmla="*/ 3781425 h 4496940"/>
                    <a:gd name="connsiteX100" fmla="*/ 611527 w 4519987"/>
                    <a:gd name="connsiteY100" fmla="*/ 3733800 h 4496940"/>
                    <a:gd name="connsiteX101" fmla="*/ 554377 w 4519987"/>
                    <a:gd name="connsiteY101" fmla="*/ 3657600 h 4496940"/>
                    <a:gd name="connsiteX102" fmla="*/ 525802 w 4519987"/>
                    <a:gd name="connsiteY102" fmla="*/ 3609975 h 4496940"/>
                    <a:gd name="connsiteX103" fmla="*/ 497227 w 4519987"/>
                    <a:gd name="connsiteY103" fmla="*/ 3552825 h 4496940"/>
                    <a:gd name="connsiteX104" fmla="*/ 440077 w 4519987"/>
                    <a:gd name="connsiteY104" fmla="*/ 3495675 h 4496940"/>
                    <a:gd name="connsiteX105" fmla="*/ 411502 w 4519987"/>
                    <a:gd name="connsiteY105" fmla="*/ 3448050 h 4496940"/>
                    <a:gd name="connsiteX106" fmla="*/ 278152 w 4519987"/>
                    <a:gd name="connsiteY106" fmla="*/ 3257550 h 4496940"/>
                    <a:gd name="connsiteX107" fmla="*/ 249577 w 4519987"/>
                    <a:gd name="connsiteY107" fmla="*/ 3200400 h 4496940"/>
                    <a:gd name="connsiteX108" fmla="*/ 240052 w 4519987"/>
                    <a:gd name="connsiteY108" fmla="*/ 3162300 h 4496940"/>
                    <a:gd name="connsiteX109" fmla="*/ 221002 w 4519987"/>
                    <a:gd name="connsiteY109" fmla="*/ 3105150 h 4496940"/>
                    <a:gd name="connsiteX110" fmla="*/ 173377 w 4519987"/>
                    <a:gd name="connsiteY110" fmla="*/ 3019425 h 4496940"/>
                    <a:gd name="connsiteX111" fmla="*/ 144802 w 4519987"/>
                    <a:gd name="connsiteY111" fmla="*/ 2924175 h 4496940"/>
                    <a:gd name="connsiteX112" fmla="*/ 68602 w 4519987"/>
                    <a:gd name="connsiteY112" fmla="*/ 2724150 h 4496940"/>
                    <a:gd name="connsiteX113" fmla="*/ 49552 w 4519987"/>
                    <a:gd name="connsiteY113" fmla="*/ 2638425 h 4496940"/>
                    <a:gd name="connsiteX114" fmla="*/ 40027 w 4519987"/>
                    <a:gd name="connsiteY114" fmla="*/ 2562225 h 4496940"/>
                    <a:gd name="connsiteX115" fmla="*/ 30502 w 4519987"/>
                    <a:gd name="connsiteY115" fmla="*/ 2514600 h 4496940"/>
                    <a:gd name="connsiteX116" fmla="*/ 11452 w 4519987"/>
                    <a:gd name="connsiteY116" fmla="*/ 2400300 h 4496940"/>
                    <a:gd name="connsiteX117" fmla="*/ 20977 w 4519987"/>
                    <a:gd name="connsiteY117" fmla="*/ 1905000 h 4496940"/>
                    <a:gd name="connsiteX118" fmla="*/ 30502 w 4519987"/>
                    <a:gd name="connsiteY118" fmla="*/ 1838325 h 4496940"/>
                    <a:gd name="connsiteX119" fmla="*/ 49552 w 4519987"/>
                    <a:gd name="connsiteY119" fmla="*/ 1781175 h 4496940"/>
                    <a:gd name="connsiteX120" fmla="*/ 59077 w 4519987"/>
                    <a:gd name="connsiteY120" fmla="*/ 1743075 h 4496940"/>
                    <a:gd name="connsiteX121" fmla="*/ 78127 w 4519987"/>
                    <a:gd name="connsiteY121" fmla="*/ 1685925 h 4496940"/>
                    <a:gd name="connsiteX122" fmla="*/ 87652 w 4519987"/>
                    <a:gd name="connsiteY122" fmla="*/ 1638300 h 4496940"/>
                    <a:gd name="connsiteX123" fmla="*/ 106702 w 4519987"/>
                    <a:gd name="connsiteY123" fmla="*/ 1590675 h 4496940"/>
                    <a:gd name="connsiteX124" fmla="*/ 135277 w 4519987"/>
                    <a:gd name="connsiteY124" fmla="*/ 1504950 h 4496940"/>
                    <a:gd name="connsiteX125" fmla="*/ 154327 w 4519987"/>
                    <a:gd name="connsiteY125" fmla="*/ 1419225 h 4496940"/>
                    <a:gd name="connsiteX126" fmla="*/ 230527 w 4519987"/>
                    <a:gd name="connsiteY126" fmla="*/ 1276350 h 4496940"/>
                    <a:gd name="connsiteX127" fmla="*/ 240052 w 4519987"/>
                    <a:gd name="connsiteY127" fmla="*/ 1247775 h 4496940"/>
                    <a:gd name="connsiteX128" fmla="*/ 268627 w 4519987"/>
                    <a:gd name="connsiteY128" fmla="*/ 1200150 h 4496940"/>
                    <a:gd name="connsiteX129" fmla="*/ 287677 w 4519987"/>
                    <a:gd name="connsiteY129" fmla="*/ 1152525 h 4496940"/>
                    <a:gd name="connsiteX130" fmla="*/ 316252 w 4519987"/>
                    <a:gd name="connsiteY130" fmla="*/ 1114425 h 4496940"/>
                    <a:gd name="connsiteX131" fmla="*/ 363877 w 4519987"/>
                    <a:gd name="connsiteY131" fmla="*/ 1038225 h 4496940"/>
                    <a:gd name="connsiteX132" fmla="*/ 382927 w 4519987"/>
                    <a:gd name="connsiteY132" fmla="*/ 1009650 h 4496940"/>
                    <a:gd name="connsiteX133" fmla="*/ 440077 w 4519987"/>
                    <a:gd name="connsiteY133" fmla="*/ 904875 h 4496940"/>
                    <a:gd name="connsiteX134" fmla="*/ 478177 w 4519987"/>
                    <a:gd name="connsiteY134" fmla="*/ 857250 h 4496940"/>
                    <a:gd name="connsiteX135" fmla="*/ 497227 w 4519987"/>
                    <a:gd name="connsiteY135" fmla="*/ 828675 h 4496940"/>
                    <a:gd name="connsiteX136" fmla="*/ 535327 w 4519987"/>
                    <a:gd name="connsiteY136" fmla="*/ 800100 h 4496940"/>
                    <a:gd name="connsiteX137" fmla="*/ 602002 w 4519987"/>
                    <a:gd name="connsiteY137" fmla="*/ 733425 h 4496940"/>
                    <a:gd name="connsiteX138" fmla="*/ 668677 w 4519987"/>
                    <a:gd name="connsiteY138" fmla="*/ 676275 h 4496940"/>
                    <a:gd name="connsiteX139" fmla="*/ 697252 w 4519987"/>
                    <a:gd name="connsiteY139" fmla="*/ 657225 h 4496940"/>
                    <a:gd name="connsiteX140" fmla="*/ 840127 w 4519987"/>
                    <a:gd name="connsiteY140" fmla="*/ 533400 h 4496940"/>
                    <a:gd name="connsiteX141" fmla="*/ 887752 w 4519987"/>
                    <a:gd name="connsiteY141" fmla="*/ 504825 h 4496940"/>
                    <a:gd name="connsiteX142" fmla="*/ 1167152 w 4519987"/>
                    <a:gd name="connsiteY142" fmla="*/ 311150 h 4496940"/>
                    <a:gd name="connsiteX143" fmla="*/ 1268752 w 4519987"/>
                    <a:gd name="connsiteY143" fmla="*/ 285750 h 4496940"/>
                    <a:gd name="connsiteX144" fmla="*/ 1411627 w 4519987"/>
                    <a:gd name="connsiteY144" fmla="*/ 190500 h 4496940"/>
                    <a:gd name="connsiteX145" fmla="*/ 1449727 w 4519987"/>
                    <a:gd name="connsiteY145" fmla="*/ 161925 h 4496940"/>
                    <a:gd name="connsiteX146" fmla="*/ 1525927 w 4519987"/>
                    <a:gd name="connsiteY146" fmla="*/ 152400 h 4496940"/>
                    <a:gd name="connsiteX147" fmla="*/ 1583077 w 4519987"/>
                    <a:gd name="connsiteY147" fmla="*/ 142875 h 4496940"/>
                    <a:gd name="connsiteX148" fmla="*/ 1716427 w 4519987"/>
                    <a:gd name="connsiteY148" fmla="*/ 123825 h 4496940"/>
                    <a:gd name="connsiteX149" fmla="*/ 1811677 w 4519987"/>
                    <a:gd name="connsiteY149" fmla="*/ 114300 h 4496940"/>
                    <a:gd name="connsiteX150" fmla="*/ 1859302 w 4519987"/>
                    <a:gd name="connsiteY150" fmla="*/ 104775 h 4496940"/>
                    <a:gd name="connsiteX151" fmla="*/ 1916452 w 4519987"/>
                    <a:gd name="connsiteY151" fmla="*/ 95250 h 4496940"/>
                    <a:gd name="connsiteX152" fmla="*/ 2030752 w 4519987"/>
                    <a:gd name="connsiteY152" fmla="*/ 66675 h 4496940"/>
                    <a:gd name="connsiteX153" fmla="*/ 2097427 w 4519987"/>
                    <a:gd name="connsiteY153" fmla="*/ 47625 h 4496940"/>
                    <a:gd name="connsiteX154" fmla="*/ 2164102 w 4519987"/>
                    <a:gd name="connsiteY154" fmla="*/ 38100 h 4496940"/>
                    <a:gd name="connsiteX155" fmla="*/ 2392702 w 4519987"/>
                    <a:gd name="connsiteY15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907177 w 4519987"/>
                    <a:gd name="connsiteY25" fmla="*/ 647700 h 4496940"/>
                    <a:gd name="connsiteX26" fmla="*/ 3935752 w 4519987"/>
                    <a:gd name="connsiteY26" fmla="*/ 676275 h 4496940"/>
                    <a:gd name="connsiteX27" fmla="*/ 4078627 w 4519987"/>
                    <a:gd name="connsiteY27" fmla="*/ 838200 h 4496940"/>
                    <a:gd name="connsiteX28" fmla="*/ 4135777 w 4519987"/>
                    <a:gd name="connsiteY28" fmla="*/ 933450 h 4496940"/>
                    <a:gd name="connsiteX29" fmla="*/ 4164352 w 4519987"/>
                    <a:gd name="connsiteY29" fmla="*/ 990600 h 4496940"/>
                    <a:gd name="connsiteX30" fmla="*/ 4173877 w 4519987"/>
                    <a:gd name="connsiteY30" fmla="*/ 1019175 h 4496940"/>
                    <a:gd name="connsiteX31" fmla="*/ 4192927 w 4519987"/>
                    <a:gd name="connsiteY31" fmla="*/ 1057275 h 4496940"/>
                    <a:gd name="connsiteX32" fmla="*/ 4202452 w 4519987"/>
                    <a:gd name="connsiteY32" fmla="*/ 1085850 h 4496940"/>
                    <a:gd name="connsiteX33" fmla="*/ 4250077 w 4519987"/>
                    <a:gd name="connsiteY33" fmla="*/ 1143000 h 4496940"/>
                    <a:gd name="connsiteX34" fmla="*/ 4259602 w 4519987"/>
                    <a:gd name="connsiteY34" fmla="*/ 1190625 h 4496940"/>
                    <a:gd name="connsiteX35" fmla="*/ 4307227 w 4519987"/>
                    <a:gd name="connsiteY35" fmla="*/ 1266825 h 4496940"/>
                    <a:gd name="connsiteX36" fmla="*/ 4345327 w 4519987"/>
                    <a:gd name="connsiteY36" fmla="*/ 1362075 h 4496940"/>
                    <a:gd name="connsiteX37" fmla="*/ 4373902 w 4519987"/>
                    <a:gd name="connsiteY37" fmla="*/ 1428750 h 4496940"/>
                    <a:gd name="connsiteX38" fmla="*/ 4392952 w 4519987"/>
                    <a:gd name="connsiteY38" fmla="*/ 1552575 h 4496940"/>
                    <a:gd name="connsiteX39" fmla="*/ 4402477 w 4519987"/>
                    <a:gd name="connsiteY39" fmla="*/ 1590675 h 4496940"/>
                    <a:gd name="connsiteX40" fmla="*/ 4431052 w 4519987"/>
                    <a:gd name="connsiteY40" fmla="*/ 1685925 h 4496940"/>
                    <a:gd name="connsiteX41" fmla="*/ 4519952 w 4519987"/>
                    <a:gd name="connsiteY41" fmla="*/ 2181225 h 4496940"/>
                    <a:gd name="connsiteX42" fmla="*/ 4446927 w 4519987"/>
                    <a:gd name="connsiteY42" fmla="*/ 2768600 h 4496940"/>
                    <a:gd name="connsiteX43" fmla="*/ 4383427 w 4519987"/>
                    <a:gd name="connsiteY43" fmla="*/ 2990850 h 4496940"/>
                    <a:gd name="connsiteX44" fmla="*/ 4278652 w 4519987"/>
                    <a:gd name="connsiteY44" fmla="*/ 3248025 h 4496940"/>
                    <a:gd name="connsiteX45" fmla="*/ 4259602 w 4519987"/>
                    <a:gd name="connsiteY45" fmla="*/ 3276600 h 4496940"/>
                    <a:gd name="connsiteX46" fmla="*/ 4221502 w 4519987"/>
                    <a:gd name="connsiteY46" fmla="*/ 3333750 h 4496940"/>
                    <a:gd name="connsiteX47" fmla="*/ 4211977 w 4519987"/>
                    <a:gd name="connsiteY47" fmla="*/ 3362325 h 4496940"/>
                    <a:gd name="connsiteX48" fmla="*/ 4183402 w 4519987"/>
                    <a:gd name="connsiteY48" fmla="*/ 3400425 h 4496940"/>
                    <a:gd name="connsiteX49" fmla="*/ 4164352 w 4519987"/>
                    <a:gd name="connsiteY49" fmla="*/ 3429000 h 4496940"/>
                    <a:gd name="connsiteX50" fmla="*/ 4088152 w 4519987"/>
                    <a:gd name="connsiteY50" fmla="*/ 3495675 h 4496940"/>
                    <a:gd name="connsiteX51" fmla="*/ 4059577 w 4519987"/>
                    <a:gd name="connsiteY51" fmla="*/ 3533775 h 4496940"/>
                    <a:gd name="connsiteX52" fmla="*/ 4002427 w 4519987"/>
                    <a:gd name="connsiteY52" fmla="*/ 3600450 h 4496940"/>
                    <a:gd name="connsiteX53" fmla="*/ 3983377 w 4519987"/>
                    <a:gd name="connsiteY53" fmla="*/ 3629025 h 4496940"/>
                    <a:gd name="connsiteX54" fmla="*/ 3954802 w 4519987"/>
                    <a:gd name="connsiteY54" fmla="*/ 3648075 h 4496940"/>
                    <a:gd name="connsiteX55" fmla="*/ 3907177 w 4519987"/>
                    <a:gd name="connsiteY55" fmla="*/ 3686175 h 4496940"/>
                    <a:gd name="connsiteX56" fmla="*/ 3869077 w 4519987"/>
                    <a:gd name="connsiteY56" fmla="*/ 3724275 h 4496940"/>
                    <a:gd name="connsiteX57" fmla="*/ 3792877 w 4519987"/>
                    <a:gd name="connsiteY57" fmla="*/ 3781425 h 4496940"/>
                    <a:gd name="connsiteX58" fmla="*/ 3783352 w 4519987"/>
                    <a:gd name="connsiteY58" fmla="*/ 3810000 h 4496940"/>
                    <a:gd name="connsiteX59" fmla="*/ 3745252 w 4519987"/>
                    <a:gd name="connsiteY59" fmla="*/ 3819525 h 4496940"/>
                    <a:gd name="connsiteX60" fmla="*/ 3678577 w 4519987"/>
                    <a:gd name="connsiteY60" fmla="*/ 3848100 h 4496940"/>
                    <a:gd name="connsiteX61" fmla="*/ 3659527 w 4519987"/>
                    <a:gd name="connsiteY61" fmla="*/ 3971925 h 4496940"/>
                    <a:gd name="connsiteX62" fmla="*/ 3630952 w 4519987"/>
                    <a:gd name="connsiteY62" fmla="*/ 4010025 h 4496940"/>
                    <a:gd name="connsiteX63" fmla="*/ 3621427 w 4519987"/>
                    <a:gd name="connsiteY63" fmla="*/ 4038600 h 4496940"/>
                    <a:gd name="connsiteX64" fmla="*/ 3554752 w 4519987"/>
                    <a:gd name="connsiteY64" fmla="*/ 4095750 h 4496940"/>
                    <a:gd name="connsiteX65" fmla="*/ 3516652 w 4519987"/>
                    <a:gd name="connsiteY65" fmla="*/ 4114800 h 4496940"/>
                    <a:gd name="connsiteX66" fmla="*/ 3497602 w 4519987"/>
                    <a:gd name="connsiteY66" fmla="*/ 4143375 h 4496940"/>
                    <a:gd name="connsiteX67" fmla="*/ 3383302 w 4519987"/>
                    <a:gd name="connsiteY67" fmla="*/ 4210050 h 4496940"/>
                    <a:gd name="connsiteX68" fmla="*/ 3335677 w 4519987"/>
                    <a:gd name="connsiteY68" fmla="*/ 4238625 h 4496940"/>
                    <a:gd name="connsiteX69" fmla="*/ 3288052 w 4519987"/>
                    <a:gd name="connsiteY69" fmla="*/ 4248150 h 4496940"/>
                    <a:gd name="connsiteX70" fmla="*/ 3240427 w 4519987"/>
                    <a:gd name="connsiteY70" fmla="*/ 4267200 h 4496940"/>
                    <a:gd name="connsiteX71" fmla="*/ 3068977 w 4519987"/>
                    <a:gd name="connsiteY71" fmla="*/ 4286250 h 4496940"/>
                    <a:gd name="connsiteX72" fmla="*/ 2935627 w 4519987"/>
                    <a:gd name="connsiteY72" fmla="*/ 4333875 h 4496940"/>
                    <a:gd name="connsiteX73" fmla="*/ 2811802 w 4519987"/>
                    <a:gd name="connsiteY73" fmla="*/ 4371975 h 4496940"/>
                    <a:gd name="connsiteX74" fmla="*/ 2745127 w 4519987"/>
                    <a:gd name="connsiteY74" fmla="*/ 4410075 h 4496940"/>
                    <a:gd name="connsiteX75" fmla="*/ 2697502 w 4519987"/>
                    <a:gd name="connsiteY75" fmla="*/ 4429125 h 4496940"/>
                    <a:gd name="connsiteX76" fmla="*/ 2640352 w 4519987"/>
                    <a:gd name="connsiteY76" fmla="*/ 4457700 h 4496940"/>
                    <a:gd name="connsiteX77" fmla="*/ 2583202 w 4519987"/>
                    <a:gd name="connsiteY77" fmla="*/ 4467225 h 4496940"/>
                    <a:gd name="connsiteX78" fmla="*/ 2545102 w 4519987"/>
                    <a:gd name="connsiteY78" fmla="*/ 4486275 h 4496940"/>
                    <a:gd name="connsiteX79" fmla="*/ 2306977 w 4519987"/>
                    <a:gd name="connsiteY79" fmla="*/ 4476750 h 4496940"/>
                    <a:gd name="connsiteX80" fmla="*/ 2202202 w 4519987"/>
                    <a:gd name="connsiteY80" fmla="*/ 4457700 h 4496940"/>
                    <a:gd name="connsiteX81" fmla="*/ 2126002 w 4519987"/>
                    <a:gd name="connsiteY81" fmla="*/ 4429125 h 4496940"/>
                    <a:gd name="connsiteX82" fmla="*/ 1935502 w 4519987"/>
                    <a:gd name="connsiteY82" fmla="*/ 4400550 h 4496940"/>
                    <a:gd name="connsiteX83" fmla="*/ 1821202 w 4519987"/>
                    <a:gd name="connsiteY83" fmla="*/ 4371975 h 4496940"/>
                    <a:gd name="connsiteX84" fmla="*/ 1754527 w 4519987"/>
                    <a:gd name="connsiteY84" fmla="*/ 4352925 h 4496940"/>
                    <a:gd name="connsiteX85" fmla="*/ 1687852 w 4519987"/>
                    <a:gd name="connsiteY85" fmla="*/ 4343400 h 4496940"/>
                    <a:gd name="connsiteX86" fmla="*/ 1573552 w 4519987"/>
                    <a:gd name="connsiteY86" fmla="*/ 4305300 h 4496940"/>
                    <a:gd name="connsiteX87" fmla="*/ 1402102 w 4519987"/>
                    <a:gd name="connsiteY87" fmla="*/ 4276725 h 4496940"/>
                    <a:gd name="connsiteX88" fmla="*/ 1287802 w 4519987"/>
                    <a:gd name="connsiteY88" fmla="*/ 4229100 h 4496940"/>
                    <a:gd name="connsiteX89" fmla="*/ 1221127 w 4519987"/>
                    <a:gd name="connsiteY89" fmla="*/ 4200525 h 4496940"/>
                    <a:gd name="connsiteX90" fmla="*/ 1144927 w 4519987"/>
                    <a:gd name="connsiteY90" fmla="*/ 4171950 h 4496940"/>
                    <a:gd name="connsiteX91" fmla="*/ 1087777 w 4519987"/>
                    <a:gd name="connsiteY91" fmla="*/ 4143375 h 4496940"/>
                    <a:gd name="connsiteX92" fmla="*/ 1030627 w 4519987"/>
                    <a:gd name="connsiteY92" fmla="*/ 4124325 h 4496940"/>
                    <a:gd name="connsiteX93" fmla="*/ 925852 w 4519987"/>
                    <a:gd name="connsiteY93" fmla="*/ 4067175 h 4496940"/>
                    <a:gd name="connsiteX94" fmla="*/ 830602 w 4519987"/>
                    <a:gd name="connsiteY94" fmla="*/ 3981450 h 4496940"/>
                    <a:gd name="connsiteX95" fmla="*/ 763927 w 4519987"/>
                    <a:gd name="connsiteY95" fmla="*/ 3914775 h 4496940"/>
                    <a:gd name="connsiteX96" fmla="*/ 725827 w 4519987"/>
                    <a:gd name="connsiteY96" fmla="*/ 3876675 h 4496940"/>
                    <a:gd name="connsiteX97" fmla="*/ 697252 w 4519987"/>
                    <a:gd name="connsiteY97" fmla="*/ 3838575 h 4496940"/>
                    <a:gd name="connsiteX98" fmla="*/ 640102 w 4519987"/>
                    <a:gd name="connsiteY98" fmla="*/ 3781425 h 4496940"/>
                    <a:gd name="connsiteX99" fmla="*/ 611527 w 4519987"/>
                    <a:gd name="connsiteY99" fmla="*/ 3733800 h 4496940"/>
                    <a:gd name="connsiteX100" fmla="*/ 554377 w 4519987"/>
                    <a:gd name="connsiteY100" fmla="*/ 3657600 h 4496940"/>
                    <a:gd name="connsiteX101" fmla="*/ 525802 w 4519987"/>
                    <a:gd name="connsiteY101" fmla="*/ 3609975 h 4496940"/>
                    <a:gd name="connsiteX102" fmla="*/ 497227 w 4519987"/>
                    <a:gd name="connsiteY102" fmla="*/ 3552825 h 4496940"/>
                    <a:gd name="connsiteX103" fmla="*/ 440077 w 4519987"/>
                    <a:gd name="connsiteY103" fmla="*/ 3495675 h 4496940"/>
                    <a:gd name="connsiteX104" fmla="*/ 411502 w 4519987"/>
                    <a:gd name="connsiteY104" fmla="*/ 3448050 h 4496940"/>
                    <a:gd name="connsiteX105" fmla="*/ 278152 w 4519987"/>
                    <a:gd name="connsiteY105" fmla="*/ 3257550 h 4496940"/>
                    <a:gd name="connsiteX106" fmla="*/ 249577 w 4519987"/>
                    <a:gd name="connsiteY106" fmla="*/ 3200400 h 4496940"/>
                    <a:gd name="connsiteX107" fmla="*/ 240052 w 4519987"/>
                    <a:gd name="connsiteY107" fmla="*/ 3162300 h 4496940"/>
                    <a:gd name="connsiteX108" fmla="*/ 221002 w 4519987"/>
                    <a:gd name="connsiteY108" fmla="*/ 3105150 h 4496940"/>
                    <a:gd name="connsiteX109" fmla="*/ 173377 w 4519987"/>
                    <a:gd name="connsiteY109" fmla="*/ 3019425 h 4496940"/>
                    <a:gd name="connsiteX110" fmla="*/ 144802 w 4519987"/>
                    <a:gd name="connsiteY110" fmla="*/ 2924175 h 4496940"/>
                    <a:gd name="connsiteX111" fmla="*/ 68602 w 4519987"/>
                    <a:gd name="connsiteY111" fmla="*/ 2724150 h 4496940"/>
                    <a:gd name="connsiteX112" fmla="*/ 49552 w 4519987"/>
                    <a:gd name="connsiteY112" fmla="*/ 2638425 h 4496940"/>
                    <a:gd name="connsiteX113" fmla="*/ 40027 w 4519987"/>
                    <a:gd name="connsiteY113" fmla="*/ 2562225 h 4496940"/>
                    <a:gd name="connsiteX114" fmla="*/ 30502 w 4519987"/>
                    <a:gd name="connsiteY114" fmla="*/ 2514600 h 4496940"/>
                    <a:gd name="connsiteX115" fmla="*/ 11452 w 4519987"/>
                    <a:gd name="connsiteY115" fmla="*/ 2400300 h 4496940"/>
                    <a:gd name="connsiteX116" fmla="*/ 20977 w 4519987"/>
                    <a:gd name="connsiteY116" fmla="*/ 1905000 h 4496940"/>
                    <a:gd name="connsiteX117" fmla="*/ 30502 w 4519987"/>
                    <a:gd name="connsiteY117" fmla="*/ 1838325 h 4496940"/>
                    <a:gd name="connsiteX118" fmla="*/ 49552 w 4519987"/>
                    <a:gd name="connsiteY118" fmla="*/ 1781175 h 4496940"/>
                    <a:gd name="connsiteX119" fmla="*/ 59077 w 4519987"/>
                    <a:gd name="connsiteY119" fmla="*/ 1743075 h 4496940"/>
                    <a:gd name="connsiteX120" fmla="*/ 78127 w 4519987"/>
                    <a:gd name="connsiteY120" fmla="*/ 1685925 h 4496940"/>
                    <a:gd name="connsiteX121" fmla="*/ 87652 w 4519987"/>
                    <a:gd name="connsiteY121" fmla="*/ 1638300 h 4496940"/>
                    <a:gd name="connsiteX122" fmla="*/ 106702 w 4519987"/>
                    <a:gd name="connsiteY122" fmla="*/ 1590675 h 4496940"/>
                    <a:gd name="connsiteX123" fmla="*/ 135277 w 4519987"/>
                    <a:gd name="connsiteY123" fmla="*/ 1504950 h 4496940"/>
                    <a:gd name="connsiteX124" fmla="*/ 154327 w 4519987"/>
                    <a:gd name="connsiteY124" fmla="*/ 1419225 h 4496940"/>
                    <a:gd name="connsiteX125" fmla="*/ 230527 w 4519987"/>
                    <a:gd name="connsiteY125" fmla="*/ 1276350 h 4496940"/>
                    <a:gd name="connsiteX126" fmla="*/ 240052 w 4519987"/>
                    <a:gd name="connsiteY126" fmla="*/ 1247775 h 4496940"/>
                    <a:gd name="connsiteX127" fmla="*/ 268627 w 4519987"/>
                    <a:gd name="connsiteY127" fmla="*/ 1200150 h 4496940"/>
                    <a:gd name="connsiteX128" fmla="*/ 287677 w 4519987"/>
                    <a:gd name="connsiteY128" fmla="*/ 1152525 h 4496940"/>
                    <a:gd name="connsiteX129" fmla="*/ 316252 w 4519987"/>
                    <a:gd name="connsiteY129" fmla="*/ 1114425 h 4496940"/>
                    <a:gd name="connsiteX130" fmla="*/ 363877 w 4519987"/>
                    <a:gd name="connsiteY130" fmla="*/ 1038225 h 4496940"/>
                    <a:gd name="connsiteX131" fmla="*/ 382927 w 4519987"/>
                    <a:gd name="connsiteY131" fmla="*/ 1009650 h 4496940"/>
                    <a:gd name="connsiteX132" fmla="*/ 440077 w 4519987"/>
                    <a:gd name="connsiteY132" fmla="*/ 904875 h 4496940"/>
                    <a:gd name="connsiteX133" fmla="*/ 478177 w 4519987"/>
                    <a:gd name="connsiteY133" fmla="*/ 857250 h 4496940"/>
                    <a:gd name="connsiteX134" fmla="*/ 497227 w 4519987"/>
                    <a:gd name="connsiteY134" fmla="*/ 828675 h 4496940"/>
                    <a:gd name="connsiteX135" fmla="*/ 535327 w 4519987"/>
                    <a:gd name="connsiteY135" fmla="*/ 800100 h 4496940"/>
                    <a:gd name="connsiteX136" fmla="*/ 602002 w 4519987"/>
                    <a:gd name="connsiteY136" fmla="*/ 733425 h 4496940"/>
                    <a:gd name="connsiteX137" fmla="*/ 668677 w 4519987"/>
                    <a:gd name="connsiteY137" fmla="*/ 676275 h 4496940"/>
                    <a:gd name="connsiteX138" fmla="*/ 697252 w 4519987"/>
                    <a:gd name="connsiteY138" fmla="*/ 657225 h 4496940"/>
                    <a:gd name="connsiteX139" fmla="*/ 840127 w 4519987"/>
                    <a:gd name="connsiteY139" fmla="*/ 533400 h 4496940"/>
                    <a:gd name="connsiteX140" fmla="*/ 887752 w 4519987"/>
                    <a:gd name="connsiteY140" fmla="*/ 504825 h 4496940"/>
                    <a:gd name="connsiteX141" fmla="*/ 1167152 w 4519987"/>
                    <a:gd name="connsiteY141" fmla="*/ 311150 h 4496940"/>
                    <a:gd name="connsiteX142" fmla="*/ 1268752 w 4519987"/>
                    <a:gd name="connsiteY142" fmla="*/ 285750 h 4496940"/>
                    <a:gd name="connsiteX143" fmla="*/ 1411627 w 4519987"/>
                    <a:gd name="connsiteY143" fmla="*/ 190500 h 4496940"/>
                    <a:gd name="connsiteX144" fmla="*/ 1449727 w 4519987"/>
                    <a:gd name="connsiteY144" fmla="*/ 161925 h 4496940"/>
                    <a:gd name="connsiteX145" fmla="*/ 1525927 w 4519987"/>
                    <a:gd name="connsiteY145" fmla="*/ 152400 h 4496940"/>
                    <a:gd name="connsiteX146" fmla="*/ 1583077 w 4519987"/>
                    <a:gd name="connsiteY146" fmla="*/ 142875 h 4496940"/>
                    <a:gd name="connsiteX147" fmla="*/ 1716427 w 4519987"/>
                    <a:gd name="connsiteY147" fmla="*/ 123825 h 4496940"/>
                    <a:gd name="connsiteX148" fmla="*/ 1811677 w 4519987"/>
                    <a:gd name="connsiteY148" fmla="*/ 114300 h 4496940"/>
                    <a:gd name="connsiteX149" fmla="*/ 1859302 w 4519987"/>
                    <a:gd name="connsiteY149" fmla="*/ 104775 h 4496940"/>
                    <a:gd name="connsiteX150" fmla="*/ 1916452 w 4519987"/>
                    <a:gd name="connsiteY150" fmla="*/ 95250 h 4496940"/>
                    <a:gd name="connsiteX151" fmla="*/ 2030752 w 4519987"/>
                    <a:gd name="connsiteY151" fmla="*/ 66675 h 4496940"/>
                    <a:gd name="connsiteX152" fmla="*/ 2097427 w 4519987"/>
                    <a:gd name="connsiteY152" fmla="*/ 47625 h 4496940"/>
                    <a:gd name="connsiteX153" fmla="*/ 2164102 w 4519987"/>
                    <a:gd name="connsiteY153" fmla="*/ 38100 h 4496940"/>
                    <a:gd name="connsiteX154" fmla="*/ 2392702 w 4519987"/>
                    <a:gd name="connsiteY15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907177 w 4519987"/>
                    <a:gd name="connsiteY24" fmla="*/ 647700 h 4496940"/>
                    <a:gd name="connsiteX25" fmla="*/ 3935752 w 4519987"/>
                    <a:gd name="connsiteY25" fmla="*/ 676275 h 4496940"/>
                    <a:gd name="connsiteX26" fmla="*/ 4078627 w 4519987"/>
                    <a:gd name="connsiteY26" fmla="*/ 838200 h 4496940"/>
                    <a:gd name="connsiteX27" fmla="*/ 4135777 w 4519987"/>
                    <a:gd name="connsiteY27" fmla="*/ 933450 h 4496940"/>
                    <a:gd name="connsiteX28" fmla="*/ 4164352 w 4519987"/>
                    <a:gd name="connsiteY28" fmla="*/ 990600 h 4496940"/>
                    <a:gd name="connsiteX29" fmla="*/ 4173877 w 4519987"/>
                    <a:gd name="connsiteY29" fmla="*/ 1019175 h 4496940"/>
                    <a:gd name="connsiteX30" fmla="*/ 4192927 w 4519987"/>
                    <a:gd name="connsiteY30" fmla="*/ 1057275 h 4496940"/>
                    <a:gd name="connsiteX31" fmla="*/ 4202452 w 4519987"/>
                    <a:gd name="connsiteY31" fmla="*/ 1085850 h 4496940"/>
                    <a:gd name="connsiteX32" fmla="*/ 4250077 w 4519987"/>
                    <a:gd name="connsiteY32" fmla="*/ 1143000 h 4496940"/>
                    <a:gd name="connsiteX33" fmla="*/ 4259602 w 4519987"/>
                    <a:gd name="connsiteY33" fmla="*/ 1190625 h 4496940"/>
                    <a:gd name="connsiteX34" fmla="*/ 4307227 w 4519987"/>
                    <a:gd name="connsiteY34" fmla="*/ 1266825 h 4496940"/>
                    <a:gd name="connsiteX35" fmla="*/ 4345327 w 4519987"/>
                    <a:gd name="connsiteY35" fmla="*/ 1362075 h 4496940"/>
                    <a:gd name="connsiteX36" fmla="*/ 4373902 w 4519987"/>
                    <a:gd name="connsiteY36" fmla="*/ 1428750 h 4496940"/>
                    <a:gd name="connsiteX37" fmla="*/ 4392952 w 4519987"/>
                    <a:gd name="connsiteY37" fmla="*/ 1552575 h 4496940"/>
                    <a:gd name="connsiteX38" fmla="*/ 4402477 w 4519987"/>
                    <a:gd name="connsiteY38" fmla="*/ 1590675 h 4496940"/>
                    <a:gd name="connsiteX39" fmla="*/ 4431052 w 4519987"/>
                    <a:gd name="connsiteY39" fmla="*/ 1685925 h 4496940"/>
                    <a:gd name="connsiteX40" fmla="*/ 4519952 w 4519987"/>
                    <a:gd name="connsiteY40" fmla="*/ 2181225 h 4496940"/>
                    <a:gd name="connsiteX41" fmla="*/ 4446927 w 4519987"/>
                    <a:gd name="connsiteY41" fmla="*/ 2768600 h 4496940"/>
                    <a:gd name="connsiteX42" fmla="*/ 4383427 w 4519987"/>
                    <a:gd name="connsiteY42" fmla="*/ 2990850 h 4496940"/>
                    <a:gd name="connsiteX43" fmla="*/ 4278652 w 4519987"/>
                    <a:gd name="connsiteY43" fmla="*/ 3248025 h 4496940"/>
                    <a:gd name="connsiteX44" fmla="*/ 4259602 w 4519987"/>
                    <a:gd name="connsiteY44" fmla="*/ 3276600 h 4496940"/>
                    <a:gd name="connsiteX45" fmla="*/ 4221502 w 4519987"/>
                    <a:gd name="connsiteY45" fmla="*/ 3333750 h 4496940"/>
                    <a:gd name="connsiteX46" fmla="*/ 4211977 w 4519987"/>
                    <a:gd name="connsiteY46" fmla="*/ 3362325 h 4496940"/>
                    <a:gd name="connsiteX47" fmla="*/ 4183402 w 4519987"/>
                    <a:gd name="connsiteY47" fmla="*/ 3400425 h 4496940"/>
                    <a:gd name="connsiteX48" fmla="*/ 4164352 w 4519987"/>
                    <a:gd name="connsiteY48" fmla="*/ 3429000 h 4496940"/>
                    <a:gd name="connsiteX49" fmla="*/ 4088152 w 4519987"/>
                    <a:gd name="connsiteY49" fmla="*/ 3495675 h 4496940"/>
                    <a:gd name="connsiteX50" fmla="*/ 4059577 w 4519987"/>
                    <a:gd name="connsiteY50" fmla="*/ 3533775 h 4496940"/>
                    <a:gd name="connsiteX51" fmla="*/ 4002427 w 4519987"/>
                    <a:gd name="connsiteY51" fmla="*/ 3600450 h 4496940"/>
                    <a:gd name="connsiteX52" fmla="*/ 3983377 w 4519987"/>
                    <a:gd name="connsiteY52" fmla="*/ 3629025 h 4496940"/>
                    <a:gd name="connsiteX53" fmla="*/ 3954802 w 4519987"/>
                    <a:gd name="connsiteY53" fmla="*/ 3648075 h 4496940"/>
                    <a:gd name="connsiteX54" fmla="*/ 3907177 w 4519987"/>
                    <a:gd name="connsiteY54" fmla="*/ 3686175 h 4496940"/>
                    <a:gd name="connsiteX55" fmla="*/ 3869077 w 4519987"/>
                    <a:gd name="connsiteY55" fmla="*/ 3724275 h 4496940"/>
                    <a:gd name="connsiteX56" fmla="*/ 3792877 w 4519987"/>
                    <a:gd name="connsiteY56" fmla="*/ 3781425 h 4496940"/>
                    <a:gd name="connsiteX57" fmla="*/ 3783352 w 4519987"/>
                    <a:gd name="connsiteY57" fmla="*/ 3810000 h 4496940"/>
                    <a:gd name="connsiteX58" fmla="*/ 3745252 w 4519987"/>
                    <a:gd name="connsiteY58" fmla="*/ 3819525 h 4496940"/>
                    <a:gd name="connsiteX59" fmla="*/ 3678577 w 4519987"/>
                    <a:gd name="connsiteY59" fmla="*/ 3848100 h 4496940"/>
                    <a:gd name="connsiteX60" fmla="*/ 3659527 w 4519987"/>
                    <a:gd name="connsiteY60" fmla="*/ 3971925 h 4496940"/>
                    <a:gd name="connsiteX61" fmla="*/ 3630952 w 4519987"/>
                    <a:gd name="connsiteY61" fmla="*/ 4010025 h 4496940"/>
                    <a:gd name="connsiteX62" fmla="*/ 3621427 w 4519987"/>
                    <a:gd name="connsiteY62" fmla="*/ 4038600 h 4496940"/>
                    <a:gd name="connsiteX63" fmla="*/ 3554752 w 4519987"/>
                    <a:gd name="connsiteY63" fmla="*/ 4095750 h 4496940"/>
                    <a:gd name="connsiteX64" fmla="*/ 3516652 w 4519987"/>
                    <a:gd name="connsiteY64" fmla="*/ 4114800 h 4496940"/>
                    <a:gd name="connsiteX65" fmla="*/ 3497602 w 4519987"/>
                    <a:gd name="connsiteY65" fmla="*/ 4143375 h 4496940"/>
                    <a:gd name="connsiteX66" fmla="*/ 3383302 w 4519987"/>
                    <a:gd name="connsiteY66" fmla="*/ 4210050 h 4496940"/>
                    <a:gd name="connsiteX67" fmla="*/ 3335677 w 4519987"/>
                    <a:gd name="connsiteY67" fmla="*/ 4238625 h 4496940"/>
                    <a:gd name="connsiteX68" fmla="*/ 3288052 w 4519987"/>
                    <a:gd name="connsiteY68" fmla="*/ 4248150 h 4496940"/>
                    <a:gd name="connsiteX69" fmla="*/ 3240427 w 4519987"/>
                    <a:gd name="connsiteY69" fmla="*/ 4267200 h 4496940"/>
                    <a:gd name="connsiteX70" fmla="*/ 3068977 w 4519987"/>
                    <a:gd name="connsiteY70" fmla="*/ 4286250 h 4496940"/>
                    <a:gd name="connsiteX71" fmla="*/ 2935627 w 4519987"/>
                    <a:gd name="connsiteY71" fmla="*/ 4333875 h 4496940"/>
                    <a:gd name="connsiteX72" fmla="*/ 2811802 w 4519987"/>
                    <a:gd name="connsiteY72" fmla="*/ 4371975 h 4496940"/>
                    <a:gd name="connsiteX73" fmla="*/ 2745127 w 4519987"/>
                    <a:gd name="connsiteY73" fmla="*/ 4410075 h 4496940"/>
                    <a:gd name="connsiteX74" fmla="*/ 2697502 w 4519987"/>
                    <a:gd name="connsiteY74" fmla="*/ 4429125 h 4496940"/>
                    <a:gd name="connsiteX75" fmla="*/ 2640352 w 4519987"/>
                    <a:gd name="connsiteY75" fmla="*/ 4457700 h 4496940"/>
                    <a:gd name="connsiteX76" fmla="*/ 2583202 w 4519987"/>
                    <a:gd name="connsiteY76" fmla="*/ 4467225 h 4496940"/>
                    <a:gd name="connsiteX77" fmla="*/ 2545102 w 4519987"/>
                    <a:gd name="connsiteY77" fmla="*/ 4486275 h 4496940"/>
                    <a:gd name="connsiteX78" fmla="*/ 2306977 w 4519987"/>
                    <a:gd name="connsiteY78" fmla="*/ 4476750 h 4496940"/>
                    <a:gd name="connsiteX79" fmla="*/ 2202202 w 4519987"/>
                    <a:gd name="connsiteY79" fmla="*/ 4457700 h 4496940"/>
                    <a:gd name="connsiteX80" fmla="*/ 2126002 w 4519987"/>
                    <a:gd name="connsiteY80" fmla="*/ 4429125 h 4496940"/>
                    <a:gd name="connsiteX81" fmla="*/ 1935502 w 4519987"/>
                    <a:gd name="connsiteY81" fmla="*/ 4400550 h 4496940"/>
                    <a:gd name="connsiteX82" fmla="*/ 1821202 w 4519987"/>
                    <a:gd name="connsiteY82" fmla="*/ 4371975 h 4496940"/>
                    <a:gd name="connsiteX83" fmla="*/ 1754527 w 4519987"/>
                    <a:gd name="connsiteY83" fmla="*/ 4352925 h 4496940"/>
                    <a:gd name="connsiteX84" fmla="*/ 1687852 w 4519987"/>
                    <a:gd name="connsiteY84" fmla="*/ 4343400 h 4496940"/>
                    <a:gd name="connsiteX85" fmla="*/ 1573552 w 4519987"/>
                    <a:gd name="connsiteY85" fmla="*/ 4305300 h 4496940"/>
                    <a:gd name="connsiteX86" fmla="*/ 1402102 w 4519987"/>
                    <a:gd name="connsiteY86" fmla="*/ 4276725 h 4496940"/>
                    <a:gd name="connsiteX87" fmla="*/ 1287802 w 4519987"/>
                    <a:gd name="connsiteY87" fmla="*/ 4229100 h 4496940"/>
                    <a:gd name="connsiteX88" fmla="*/ 1221127 w 4519987"/>
                    <a:gd name="connsiteY88" fmla="*/ 4200525 h 4496940"/>
                    <a:gd name="connsiteX89" fmla="*/ 1144927 w 4519987"/>
                    <a:gd name="connsiteY89" fmla="*/ 4171950 h 4496940"/>
                    <a:gd name="connsiteX90" fmla="*/ 1087777 w 4519987"/>
                    <a:gd name="connsiteY90" fmla="*/ 4143375 h 4496940"/>
                    <a:gd name="connsiteX91" fmla="*/ 1030627 w 4519987"/>
                    <a:gd name="connsiteY91" fmla="*/ 4124325 h 4496940"/>
                    <a:gd name="connsiteX92" fmla="*/ 925852 w 4519987"/>
                    <a:gd name="connsiteY92" fmla="*/ 4067175 h 4496940"/>
                    <a:gd name="connsiteX93" fmla="*/ 830602 w 4519987"/>
                    <a:gd name="connsiteY93" fmla="*/ 3981450 h 4496940"/>
                    <a:gd name="connsiteX94" fmla="*/ 763927 w 4519987"/>
                    <a:gd name="connsiteY94" fmla="*/ 3914775 h 4496940"/>
                    <a:gd name="connsiteX95" fmla="*/ 725827 w 4519987"/>
                    <a:gd name="connsiteY95" fmla="*/ 3876675 h 4496940"/>
                    <a:gd name="connsiteX96" fmla="*/ 697252 w 4519987"/>
                    <a:gd name="connsiteY96" fmla="*/ 3838575 h 4496940"/>
                    <a:gd name="connsiteX97" fmla="*/ 640102 w 4519987"/>
                    <a:gd name="connsiteY97" fmla="*/ 3781425 h 4496940"/>
                    <a:gd name="connsiteX98" fmla="*/ 611527 w 4519987"/>
                    <a:gd name="connsiteY98" fmla="*/ 3733800 h 4496940"/>
                    <a:gd name="connsiteX99" fmla="*/ 554377 w 4519987"/>
                    <a:gd name="connsiteY99" fmla="*/ 3657600 h 4496940"/>
                    <a:gd name="connsiteX100" fmla="*/ 525802 w 4519987"/>
                    <a:gd name="connsiteY100" fmla="*/ 3609975 h 4496940"/>
                    <a:gd name="connsiteX101" fmla="*/ 497227 w 4519987"/>
                    <a:gd name="connsiteY101" fmla="*/ 3552825 h 4496940"/>
                    <a:gd name="connsiteX102" fmla="*/ 440077 w 4519987"/>
                    <a:gd name="connsiteY102" fmla="*/ 3495675 h 4496940"/>
                    <a:gd name="connsiteX103" fmla="*/ 411502 w 4519987"/>
                    <a:gd name="connsiteY103" fmla="*/ 3448050 h 4496940"/>
                    <a:gd name="connsiteX104" fmla="*/ 278152 w 4519987"/>
                    <a:gd name="connsiteY104" fmla="*/ 3257550 h 4496940"/>
                    <a:gd name="connsiteX105" fmla="*/ 249577 w 4519987"/>
                    <a:gd name="connsiteY105" fmla="*/ 3200400 h 4496940"/>
                    <a:gd name="connsiteX106" fmla="*/ 240052 w 4519987"/>
                    <a:gd name="connsiteY106" fmla="*/ 3162300 h 4496940"/>
                    <a:gd name="connsiteX107" fmla="*/ 221002 w 4519987"/>
                    <a:gd name="connsiteY107" fmla="*/ 3105150 h 4496940"/>
                    <a:gd name="connsiteX108" fmla="*/ 173377 w 4519987"/>
                    <a:gd name="connsiteY108" fmla="*/ 3019425 h 4496940"/>
                    <a:gd name="connsiteX109" fmla="*/ 144802 w 4519987"/>
                    <a:gd name="connsiteY109" fmla="*/ 2924175 h 4496940"/>
                    <a:gd name="connsiteX110" fmla="*/ 68602 w 4519987"/>
                    <a:gd name="connsiteY110" fmla="*/ 2724150 h 4496940"/>
                    <a:gd name="connsiteX111" fmla="*/ 49552 w 4519987"/>
                    <a:gd name="connsiteY111" fmla="*/ 2638425 h 4496940"/>
                    <a:gd name="connsiteX112" fmla="*/ 40027 w 4519987"/>
                    <a:gd name="connsiteY112" fmla="*/ 2562225 h 4496940"/>
                    <a:gd name="connsiteX113" fmla="*/ 30502 w 4519987"/>
                    <a:gd name="connsiteY113" fmla="*/ 2514600 h 4496940"/>
                    <a:gd name="connsiteX114" fmla="*/ 11452 w 4519987"/>
                    <a:gd name="connsiteY114" fmla="*/ 2400300 h 4496940"/>
                    <a:gd name="connsiteX115" fmla="*/ 20977 w 4519987"/>
                    <a:gd name="connsiteY115" fmla="*/ 1905000 h 4496940"/>
                    <a:gd name="connsiteX116" fmla="*/ 30502 w 4519987"/>
                    <a:gd name="connsiteY116" fmla="*/ 1838325 h 4496940"/>
                    <a:gd name="connsiteX117" fmla="*/ 49552 w 4519987"/>
                    <a:gd name="connsiteY117" fmla="*/ 1781175 h 4496940"/>
                    <a:gd name="connsiteX118" fmla="*/ 59077 w 4519987"/>
                    <a:gd name="connsiteY118" fmla="*/ 1743075 h 4496940"/>
                    <a:gd name="connsiteX119" fmla="*/ 78127 w 4519987"/>
                    <a:gd name="connsiteY119" fmla="*/ 1685925 h 4496940"/>
                    <a:gd name="connsiteX120" fmla="*/ 87652 w 4519987"/>
                    <a:gd name="connsiteY120" fmla="*/ 1638300 h 4496940"/>
                    <a:gd name="connsiteX121" fmla="*/ 106702 w 4519987"/>
                    <a:gd name="connsiteY121" fmla="*/ 1590675 h 4496940"/>
                    <a:gd name="connsiteX122" fmla="*/ 135277 w 4519987"/>
                    <a:gd name="connsiteY122" fmla="*/ 1504950 h 4496940"/>
                    <a:gd name="connsiteX123" fmla="*/ 154327 w 4519987"/>
                    <a:gd name="connsiteY123" fmla="*/ 1419225 h 4496940"/>
                    <a:gd name="connsiteX124" fmla="*/ 230527 w 4519987"/>
                    <a:gd name="connsiteY124" fmla="*/ 1276350 h 4496940"/>
                    <a:gd name="connsiteX125" fmla="*/ 240052 w 4519987"/>
                    <a:gd name="connsiteY125" fmla="*/ 1247775 h 4496940"/>
                    <a:gd name="connsiteX126" fmla="*/ 268627 w 4519987"/>
                    <a:gd name="connsiteY126" fmla="*/ 1200150 h 4496940"/>
                    <a:gd name="connsiteX127" fmla="*/ 287677 w 4519987"/>
                    <a:gd name="connsiteY127" fmla="*/ 1152525 h 4496940"/>
                    <a:gd name="connsiteX128" fmla="*/ 316252 w 4519987"/>
                    <a:gd name="connsiteY128" fmla="*/ 1114425 h 4496940"/>
                    <a:gd name="connsiteX129" fmla="*/ 363877 w 4519987"/>
                    <a:gd name="connsiteY129" fmla="*/ 1038225 h 4496940"/>
                    <a:gd name="connsiteX130" fmla="*/ 382927 w 4519987"/>
                    <a:gd name="connsiteY130" fmla="*/ 1009650 h 4496940"/>
                    <a:gd name="connsiteX131" fmla="*/ 440077 w 4519987"/>
                    <a:gd name="connsiteY131" fmla="*/ 904875 h 4496940"/>
                    <a:gd name="connsiteX132" fmla="*/ 478177 w 4519987"/>
                    <a:gd name="connsiteY132" fmla="*/ 857250 h 4496940"/>
                    <a:gd name="connsiteX133" fmla="*/ 497227 w 4519987"/>
                    <a:gd name="connsiteY133" fmla="*/ 828675 h 4496940"/>
                    <a:gd name="connsiteX134" fmla="*/ 535327 w 4519987"/>
                    <a:gd name="connsiteY134" fmla="*/ 800100 h 4496940"/>
                    <a:gd name="connsiteX135" fmla="*/ 602002 w 4519987"/>
                    <a:gd name="connsiteY135" fmla="*/ 733425 h 4496940"/>
                    <a:gd name="connsiteX136" fmla="*/ 668677 w 4519987"/>
                    <a:gd name="connsiteY136" fmla="*/ 676275 h 4496940"/>
                    <a:gd name="connsiteX137" fmla="*/ 697252 w 4519987"/>
                    <a:gd name="connsiteY137" fmla="*/ 657225 h 4496940"/>
                    <a:gd name="connsiteX138" fmla="*/ 840127 w 4519987"/>
                    <a:gd name="connsiteY138" fmla="*/ 533400 h 4496940"/>
                    <a:gd name="connsiteX139" fmla="*/ 887752 w 4519987"/>
                    <a:gd name="connsiteY139" fmla="*/ 504825 h 4496940"/>
                    <a:gd name="connsiteX140" fmla="*/ 1167152 w 4519987"/>
                    <a:gd name="connsiteY140" fmla="*/ 311150 h 4496940"/>
                    <a:gd name="connsiteX141" fmla="*/ 1268752 w 4519987"/>
                    <a:gd name="connsiteY141" fmla="*/ 285750 h 4496940"/>
                    <a:gd name="connsiteX142" fmla="*/ 1411627 w 4519987"/>
                    <a:gd name="connsiteY142" fmla="*/ 190500 h 4496940"/>
                    <a:gd name="connsiteX143" fmla="*/ 1449727 w 4519987"/>
                    <a:gd name="connsiteY143" fmla="*/ 161925 h 4496940"/>
                    <a:gd name="connsiteX144" fmla="*/ 1525927 w 4519987"/>
                    <a:gd name="connsiteY144" fmla="*/ 152400 h 4496940"/>
                    <a:gd name="connsiteX145" fmla="*/ 1583077 w 4519987"/>
                    <a:gd name="connsiteY145" fmla="*/ 142875 h 4496940"/>
                    <a:gd name="connsiteX146" fmla="*/ 1716427 w 4519987"/>
                    <a:gd name="connsiteY146" fmla="*/ 123825 h 4496940"/>
                    <a:gd name="connsiteX147" fmla="*/ 1811677 w 4519987"/>
                    <a:gd name="connsiteY147" fmla="*/ 114300 h 4496940"/>
                    <a:gd name="connsiteX148" fmla="*/ 1859302 w 4519987"/>
                    <a:gd name="connsiteY148" fmla="*/ 104775 h 4496940"/>
                    <a:gd name="connsiteX149" fmla="*/ 1916452 w 4519987"/>
                    <a:gd name="connsiteY149" fmla="*/ 95250 h 4496940"/>
                    <a:gd name="connsiteX150" fmla="*/ 2030752 w 4519987"/>
                    <a:gd name="connsiteY150" fmla="*/ 66675 h 4496940"/>
                    <a:gd name="connsiteX151" fmla="*/ 2097427 w 4519987"/>
                    <a:gd name="connsiteY151" fmla="*/ 47625 h 4496940"/>
                    <a:gd name="connsiteX152" fmla="*/ 2164102 w 4519987"/>
                    <a:gd name="connsiteY152" fmla="*/ 38100 h 4496940"/>
                    <a:gd name="connsiteX153" fmla="*/ 2392702 w 4519987"/>
                    <a:gd name="connsiteY15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678577 w 4519987"/>
                    <a:gd name="connsiteY20" fmla="*/ 504825 h 4496940"/>
                    <a:gd name="connsiteX21" fmla="*/ 3745252 w 4519987"/>
                    <a:gd name="connsiteY21" fmla="*/ 542925 h 4496940"/>
                    <a:gd name="connsiteX22" fmla="*/ 3811927 w 4519987"/>
                    <a:gd name="connsiteY22" fmla="*/ 581025 h 4496940"/>
                    <a:gd name="connsiteX23" fmla="*/ 3907177 w 4519987"/>
                    <a:gd name="connsiteY23" fmla="*/ 647700 h 4496940"/>
                    <a:gd name="connsiteX24" fmla="*/ 3935752 w 4519987"/>
                    <a:gd name="connsiteY24" fmla="*/ 676275 h 4496940"/>
                    <a:gd name="connsiteX25" fmla="*/ 4078627 w 4519987"/>
                    <a:gd name="connsiteY25" fmla="*/ 838200 h 4496940"/>
                    <a:gd name="connsiteX26" fmla="*/ 4135777 w 4519987"/>
                    <a:gd name="connsiteY26" fmla="*/ 933450 h 4496940"/>
                    <a:gd name="connsiteX27" fmla="*/ 4164352 w 4519987"/>
                    <a:gd name="connsiteY27" fmla="*/ 990600 h 4496940"/>
                    <a:gd name="connsiteX28" fmla="*/ 4173877 w 4519987"/>
                    <a:gd name="connsiteY28" fmla="*/ 1019175 h 4496940"/>
                    <a:gd name="connsiteX29" fmla="*/ 4192927 w 4519987"/>
                    <a:gd name="connsiteY29" fmla="*/ 1057275 h 4496940"/>
                    <a:gd name="connsiteX30" fmla="*/ 4202452 w 4519987"/>
                    <a:gd name="connsiteY30" fmla="*/ 1085850 h 4496940"/>
                    <a:gd name="connsiteX31" fmla="*/ 4250077 w 4519987"/>
                    <a:gd name="connsiteY31" fmla="*/ 1143000 h 4496940"/>
                    <a:gd name="connsiteX32" fmla="*/ 4259602 w 4519987"/>
                    <a:gd name="connsiteY32" fmla="*/ 1190625 h 4496940"/>
                    <a:gd name="connsiteX33" fmla="*/ 4307227 w 4519987"/>
                    <a:gd name="connsiteY33" fmla="*/ 1266825 h 4496940"/>
                    <a:gd name="connsiteX34" fmla="*/ 4345327 w 4519987"/>
                    <a:gd name="connsiteY34" fmla="*/ 1362075 h 4496940"/>
                    <a:gd name="connsiteX35" fmla="*/ 4373902 w 4519987"/>
                    <a:gd name="connsiteY35" fmla="*/ 1428750 h 4496940"/>
                    <a:gd name="connsiteX36" fmla="*/ 4392952 w 4519987"/>
                    <a:gd name="connsiteY36" fmla="*/ 1552575 h 4496940"/>
                    <a:gd name="connsiteX37" fmla="*/ 4402477 w 4519987"/>
                    <a:gd name="connsiteY37" fmla="*/ 1590675 h 4496940"/>
                    <a:gd name="connsiteX38" fmla="*/ 4431052 w 4519987"/>
                    <a:gd name="connsiteY38" fmla="*/ 1685925 h 4496940"/>
                    <a:gd name="connsiteX39" fmla="*/ 4519952 w 4519987"/>
                    <a:gd name="connsiteY39" fmla="*/ 2181225 h 4496940"/>
                    <a:gd name="connsiteX40" fmla="*/ 4446927 w 4519987"/>
                    <a:gd name="connsiteY40" fmla="*/ 2768600 h 4496940"/>
                    <a:gd name="connsiteX41" fmla="*/ 4383427 w 4519987"/>
                    <a:gd name="connsiteY41" fmla="*/ 2990850 h 4496940"/>
                    <a:gd name="connsiteX42" fmla="*/ 4278652 w 4519987"/>
                    <a:gd name="connsiteY42" fmla="*/ 3248025 h 4496940"/>
                    <a:gd name="connsiteX43" fmla="*/ 4259602 w 4519987"/>
                    <a:gd name="connsiteY43" fmla="*/ 3276600 h 4496940"/>
                    <a:gd name="connsiteX44" fmla="*/ 4221502 w 4519987"/>
                    <a:gd name="connsiteY44" fmla="*/ 3333750 h 4496940"/>
                    <a:gd name="connsiteX45" fmla="*/ 4211977 w 4519987"/>
                    <a:gd name="connsiteY45" fmla="*/ 3362325 h 4496940"/>
                    <a:gd name="connsiteX46" fmla="*/ 4183402 w 4519987"/>
                    <a:gd name="connsiteY46" fmla="*/ 3400425 h 4496940"/>
                    <a:gd name="connsiteX47" fmla="*/ 4164352 w 4519987"/>
                    <a:gd name="connsiteY47" fmla="*/ 3429000 h 4496940"/>
                    <a:gd name="connsiteX48" fmla="*/ 4088152 w 4519987"/>
                    <a:gd name="connsiteY48" fmla="*/ 3495675 h 4496940"/>
                    <a:gd name="connsiteX49" fmla="*/ 4059577 w 4519987"/>
                    <a:gd name="connsiteY49" fmla="*/ 3533775 h 4496940"/>
                    <a:gd name="connsiteX50" fmla="*/ 4002427 w 4519987"/>
                    <a:gd name="connsiteY50" fmla="*/ 3600450 h 4496940"/>
                    <a:gd name="connsiteX51" fmla="*/ 3983377 w 4519987"/>
                    <a:gd name="connsiteY51" fmla="*/ 3629025 h 4496940"/>
                    <a:gd name="connsiteX52" fmla="*/ 3954802 w 4519987"/>
                    <a:gd name="connsiteY52" fmla="*/ 3648075 h 4496940"/>
                    <a:gd name="connsiteX53" fmla="*/ 3907177 w 4519987"/>
                    <a:gd name="connsiteY53" fmla="*/ 3686175 h 4496940"/>
                    <a:gd name="connsiteX54" fmla="*/ 3869077 w 4519987"/>
                    <a:gd name="connsiteY54" fmla="*/ 3724275 h 4496940"/>
                    <a:gd name="connsiteX55" fmla="*/ 3792877 w 4519987"/>
                    <a:gd name="connsiteY55" fmla="*/ 3781425 h 4496940"/>
                    <a:gd name="connsiteX56" fmla="*/ 3783352 w 4519987"/>
                    <a:gd name="connsiteY56" fmla="*/ 3810000 h 4496940"/>
                    <a:gd name="connsiteX57" fmla="*/ 3745252 w 4519987"/>
                    <a:gd name="connsiteY57" fmla="*/ 3819525 h 4496940"/>
                    <a:gd name="connsiteX58" fmla="*/ 3678577 w 4519987"/>
                    <a:gd name="connsiteY58" fmla="*/ 3848100 h 4496940"/>
                    <a:gd name="connsiteX59" fmla="*/ 3659527 w 4519987"/>
                    <a:gd name="connsiteY59" fmla="*/ 3971925 h 4496940"/>
                    <a:gd name="connsiteX60" fmla="*/ 3630952 w 4519987"/>
                    <a:gd name="connsiteY60" fmla="*/ 4010025 h 4496940"/>
                    <a:gd name="connsiteX61" fmla="*/ 3621427 w 4519987"/>
                    <a:gd name="connsiteY61" fmla="*/ 4038600 h 4496940"/>
                    <a:gd name="connsiteX62" fmla="*/ 3554752 w 4519987"/>
                    <a:gd name="connsiteY62" fmla="*/ 4095750 h 4496940"/>
                    <a:gd name="connsiteX63" fmla="*/ 3516652 w 4519987"/>
                    <a:gd name="connsiteY63" fmla="*/ 4114800 h 4496940"/>
                    <a:gd name="connsiteX64" fmla="*/ 3497602 w 4519987"/>
                    <a:gd name="connsiteY64" fmla="*/ 4143375 h 4496940"/>
                    <a:gd name="connsiteX65" fmla="*/ 3383302 w 4519987"/>
                    <a:gd name="connsiteY65" fmla="*/ 4210050 h 4496940"/>
                    <a:gd name="connsiteX66" fmla="*/ 3335677 w 4519987"/>
                    <a:gd name="connsiteY66" fmla="*/ 4238625 h 4496940"/>
                    <a:gd name="connsiteX67" fmla="*/ 3288052 w 4519987"/>
                    <a:gd name="connsiteY67" fmla="*/ 4248150 h 4496940"/>
                    <a:gd name="connsiteX68" fmla="*/ 3240427 w 4519987"/>
                    <a:gd name="connsiteY68" fmla="*/ 4267200 h 4496940"/>
                    <a:gd name="connsiteX69" fmla="*/ 3068977 w 4519987"/>
                    <a:gd name="connsiteY69" fmla="*/ 4286250 h 4496940"/>
                    <a:gd name="connsiteX70" fmla="*/ 2935627 w 4519987"/>
                    <a:gd name="connsiteY70" fmla="*/ 4333875 h 4496940"/>
                    <a:gd name="connsiteX71" fmla="*/ 2811802 w 4519987"/>
                    <a:gd name="connsiteY71" fmla="*/ 4371975 h 4496940"/>
                    <a:gd name="connsiteX72" fmla="*/ 2745127 w 4519987"/>
                    <a:gd name="connsiteY72" fmla="*/ 4410075 h 4496940"/>
                    <a:gd name="connsiteX73" fmla="*/ 2697502 w 4519987"/>
                    <a:gd name="connsiteY73" fmla="*/ 4429125 h 4496940"/>
                    <a:gd name="connsiteX74" fmla="*/ 2640352 w 4519987"/>
                    <a:gd name="connsiteY74" fmla="*/ 4457700 h 4496940"/>
                    <a:gd name="connsiteX75" fmla="*/ 2583202 w 4519987"/>
                    <a:gd name="connsiteY75" fmla="*/ 4467225 h 4496940"/>
                    <a:gd name="connsiteX76" fmla="*/ 2545102 w 4519987"/>
                    <a:gd name="connsiteY76" fmla="*/ 4486275 h 4496940"/>
                    <a:gd name="connsiteX77" fmla="*/ 2306977 w 4519987"/>
                    <a:gd name="connsiteY77" fmla="*/ 4476750 h 4496940"/>
                    <a:gd name="connsiteX78" fmla="*/ 2202202 w 4519987"/>
                    <a:gd name="connsiteY78" fmla="*/ 4457700 h 4496940"/>
                    <a:gd name="connsiteX79" fmla="*/ 2126002 w 4519987"/>
                    <a:gd name="connsiteY79" fmla="*/ 4429125 h 4496940"/>
                    <a:gd name="connsiteX80" fmla="*/ 1935502 w 4519987"/>
                    <a:gd name="connsiteY80" fmla="*/ 4400550 h 4496940"/>
                    <a:gd name="connsiteX81" fmla="*/ 1821202 w 4519987"/>
                    <a:gd name="connsiteY81" fmla="*/ 4371975 h 4496940"/>
                    <a:gd name="connsiteX82" fmla="*/ 1754527 w 4519987"/>
                    <a:gd name="connsiteY82" fmla="*/ 4352925 h 4496940"/>
                    <a:gd name="connsiteX83" fmla="*/ 1687852 w 4519987"/>
                    <a:gd name="connsiteY83" fmla="*/ 4343400 h 4496940"/>
                    <a:gd name="connsiteX84" fmla="*/ 1573552 w 4519987"/>
                    <a:gd name="connsiteY84" fmla="*/ 4305300 h 4496940"/>
                    <a:gd name="connsiteX85" fmla="*/ 1402102 w 4519987"/>
                    <a:gd name="connsiteY85" fmla="*/ 4276725 h 4496940"/>
                    <a:gd name="connsiteX86" fmla="*/ 1287802 w 4519987"/>
                    <a:gd name="connsiteY86" fmla="*/ 4229100 h 4496940"/>
                    <a:gd name="connsiteX87" fmla="*/ 1221127 w 4519987"/>
                    <a:gd name="connsiteY87" fmla="*/ 4200525 h 4496940"/>
                    <a:gd name="connsiteX88" fmla="*/ 1144927 w 4519987"/>
                    <a:gd name="connsiteY88" fmla="*/ 4171950 h 4496940"/>
                    <a:gd name="connsiteX89" fmla="*/ 1087777 w 4519987"/>
                    <a:gd name="connsiteY89" fmla="*/ 4143375 h 4496940"/>
                    <a:gd name="connsiteX90" fmla="*/ 1030627 w 4519987"/>
                    <a:gd name="connsiteY90" fmla="*/ 4124325 h 4496940"/>
                    <a:gd name="connsiteX91" fmla="*/ 925852 w 4519987"/>
                    <a:gd name="connsiteY91" fmla="*/ 4067175 h 4496940"/>
                    <a:gd name="connsiteX92" fmla="*/ 830602 w 4519987"/>
                    <a:gd name="connsiteY92" fmla="*/ 3981450 h 4496940"/>
                    <a:gd name="connsiteX93" fmla="*/ 763927 w 4519987"/>
                    <a:gd name="connsiteY93" fmla="*/ 3914775 h 4496940"/>
                    <a:gd name="connsiteX94" fmla="*/ 725827 w 4519987"/>
                    <a:gd name="connsiteY94" fmla="*/ 3876675 h 4496940"/>
                    <a:gd name="connsiteX95" fmla="*/ 697252 w 4519987"/>
                    <a:gd name="connsiteY95" fmla="*/ 3838575 h 4496940"/>
                    <a:gd name="connsiteX96" fmla="*/ 640102 w 4519987"/>
                    <a:gd name="connsiteY96" fmla="*/ 3781425 h 4496940"/>
                    <a:gd name="connsiteX97" fmla="*/ 611527 w 4519987"/>
                    <a:gd name="connsiteY97" fmla="*/ 3733800 h 4496940"/>
                    <a:gd name="connsiteX98" fmla="*/ 554377 w 4519987"/>
                    <a:gd name="connsiteY98" fmla="*/ 3657600 h 4496940"/>
                    <a:gd name="connsiteX99" fmla="*/ 525802 w 4519987"/>
                    <a:gd name="connsiteY99" fmla="*/ 3609975 h 4496940"/>
                    <a:gd name="connsiteX100" fmla="*/ 497227 w 4519987"/>
                    <a:gd name="connsiteY100" fmla="*/ 3552825 h 4496940"/>
                    <a:gd name="connsiteX101" fmla="*/ 440077 w 4519987"/>
                    <a:gd name="connsiteY101" fmla="*/ 3495675 h 4496940"/>
                    <a:gd name="connsiteX102" fmla="*/ 411502 w 4519987"/>
                    <a:gd name="connsiteY102" fmla="*/ 3448050 h 4496940"/>
                    <a:gd name="connsiteX103" fmla="*/ 278152 w 4519987"/>
                    <a:gd name="connsiteY103" fmla="*/ 3257550 h 4496940"/>
                    <a:gd name="connsiteX104" fmla="*/ 249577 w 4519987"/>
                    <a:gd name="connsiteY104" fmla="*/ 3200400 h 4496940"/>
                    <a:gd name="connsiteX105" fmla="*/ 240052 w 4519987"/>
                    <a:gd name="connsiteY105" fmla="*/ 3162300 h 4496940"/>
                    <a:gd name="connsiteX106" fmla="*/ 221002 w 4519987"/>
                    <a:gd name="connsiteY106" fmla="*/ 3105150 h 4496940"/>
                    <a:gd name="connsiteX107" fmla="*/ 173377 w 4519987"/>
                    <a:gd name="connsiteY107" fmla="*/ 3019425 h 4496940"/>
                    <a:gd name="connsiteX108" fmla="*/ 144802 w 4519987"/>
                    <a:gd name="connsiteY108" fmla="*/ 2924175 h 4496940"/>
                    <a:gd name="connsiteX109" fmla="*/ 68602 w 4519987"/>
                    <a:gd name="connsiteY109" fmla="*/ 2724150 h 4496940"/>
                    <a:gd name="connsiteX110" fmla="*/ 49552 w 4519987"/>
                    <a:gd name="connsiteY110" fmla="*/ 2638425 h 4496940"/>
                    <a:gd name="connsiteX111" fmla="*/ 40027 w 4519987"/>
                    <a:gd name="connsiteY111" fmla="*/ 2562225 h 4496940"/>
                    <a:gd name="connsiteX112" fmla="*/ 30502 w 4519987"/>
                    <a:gd name="connsiteY112" fmla="*/ 2514600 h 4496940"/>
                    <a:gd name="connsiteX113" fmla="*/ 11452 w 4519987"/>
                    <a:gd name="connsiteY113" fmla="*/ 2400300 h 4496940"/>
                    <a:gd name="connsiteX114" fmla="*/ 20977 w 4519987"/>
                    <a:gd name="connsiteY114" fmla="*/ 1905000 h 4496940"/>
                    <a:gd name="connsiteX115" fmla="*/ 30502 w 4519987"/>
                    <a:gd name="connsiteY115" fmla="*/ 1838325 h 4496940"/>
                    <a:gd name="connsiteX116" fmla="*/ 49552 w 4519987"/>
                    <a:gd name="connsiteY116" fmla="*/ 1781175 h 4496940"/>
                    <a:gd name="connsiteX117" fmla="*/ 59077 w 4519987"/>
                    <a:gd name="connsiteY117" fmla="*/ 1743075 h 4496940"/>
                    <a:gd name="connsiteX118" fmla="*/ 78127 w 4519987"/>
                    <a:gd name="connsiteY118" fmla="*/ 1685925 h 4496940"/>
                    <a:gd name="connsiteX119" fmla="*/ 87652 w 4519987"/>
                    <a:gd name="connsiteY119" fmla="*/ 1638300 h 4496940"/>
                    <a:gd name="connsiteX120" fmla="*/ 106702 w 4519987"/>
                    <a:gd name="connsiteY120" fmla="*/ 1590675 h 4496940"/>
                    <a:gd name="connsiteX121" fmla="*/ 135277 w 4519987"/>
                    <a:gd name="connsiteY121" fmla="*/ 1504950 h 4496940"/>
                    <a:gd name="connsiteX122" fmla="*/ 154327 w 4519987"/>
                    <a:gd name="connsiteY122" fmla="*/ 1419225 h 4496940"/>
                    <a:gd name="connsiteX123" fmla="*/ 230527 w 4519987"/>
                    <a:gd name="connsiteY123" fmla="*/ 1276350 h 4496940"/>
                    <a:gd name="connsiteX124" fmla="*/ 240052 w 4519987"/>
                    <a:gd name="connsiteY124" fmla="*/ 1247775 h 4496940"/>
                    <a:gd name="connsiteX125" fmla="*/ 268627 w 4519987"/>
                    <a:gd name="connsiteY125" fmla="*/ 1200150 h 4496940"/>
                    <a:gd name="connsiteX126" fmla="*/ 287677 w 4519987"/>
                    <a:gd name="connsiteY126" fmla="*/ 1152525 h 4496940"/>
                    <a:gd name="connsiteX127" fmla="*/ 316252 w 4519987"/>
                    <a:gd name="connsiteY127" fmla="*/ 1114425 h 4496940"/>
                    <a:gd name="connsiteX128" fmla="*/ 363877 w 4519987"/>
                    <a:gd name="connsiteY128" fmla="*/ 1038225 h 4496940"/>
                    <a:gd name="connsiteX129" fmla="*/ 382927 w 4519987"/>
                    <a:gd name="connsiteY129" fmla="*/ 1009650 h 4496940"/>
                    <a:gd name="connsiteX130" fmla="*/ 440077 w 4519987"/>
                    <a:gd name="connsiteY130" fmla="*/ 904875 h 4496940"/>
                    <a:gd name="connsiteX131" fmla="*/ 478177 w 4519987"/>
                    <a:gd name="connsiteY131" fmla="*/ 857250 h 4496940"/>
                    <a:gd name="connsiteX132" fmla="*/ 497227 w 4519987"/>
                    <a:gd name="connsiteY132" fmla="*/ 828675 h 4496940"/>
                    <a:gd name="connsiteX133" fmla="*/ 535327 w 4519987"/>
                    <a:gd name="connsiteY133" fmla="*/ 800100 h 4496940"/>
                    <a:gd name="connsiteX134" fmla="*/ 602002 w 4519987"/>
                    <a:gd name="connsiteY134" fmla="*/ 733425 h 4496940"/>
                    <a:gd name="connsiteX135" fmla="*/ 668677 w 4519987"/>
                    <a:gd name="connsiteY135" fmla="*/ 676275 h 4496940"/>
                    <a:gd name="connsiteX136" fmla="*/ 697252 w 4519987"/>
                    <a:gd name="connsiteY136" fmla="*/ 657225 h 4496940"/>
                    <a:gd name="connsiteX137" fmla="*/ 840127 w 4519987"/>
                    <a:gd name="connsiteY137" fmla="*/ 533400 h 4496940"/>
                    <a:gd name="connsiteX138" fmla="*/ 887752 w 4519987"/>
                    <a:gd name="connsiteY138" fmla="*/ 504825 h 4496940"/>
                    <a:gd name="connsiteX139" fmla="*/ 1167152 w 4519987"/>
                    <a:gd name="connsiteY139" fmla="*/ 311150 h 4496940"/>
                    <a:gd name="connsiteX140" fmla="*/ 1268752 w 4519987"/>
                    <a:gd name="connsiteY140" fmla="*/ 285750 h 4496940"/>
                    <a:gd name="connsiteX141" fmla="*/ 1411627 w 4519987"/>
                    <a:gd name="connsiteY141" fmla="*/ 190500 h 4496940"/>
                    <a:gd name="connsiteX142" fmla="*/ 1449727 w 4519987"/>
                    <a:gd name="connsiteY142" fmla="*/ 161925 h 4496940"/>
                    <a:gd name="connsiteX143" fmla="*/ 1525927 w 4519987"/>
                    <a:gd name="connsiteY143" fmla="*/ 152400 h 4496940"/>
                    <a:gd name="connsiteX144" fmla="*/ 1583077 w 4519987"/>
                    <a:gd name="connsiteY144" fmla="*/ 142875 h 4496940"/>
                    <a:gd name="connsiteX145" fmla="*/ 1716427 w 4519987"/>
                    <a:gd name="connsiteY145" fmla="*/ 123825 h 4496940"/>
                    <a:gd name="connsiteX146" fmla="*/ 1811677 w 4519987"/>
                    <a:gd name="connsiteY146" fmla="*/ 114300 h 4496940"/>
                    <a:gd name="connsiteX147" fmla="*/ 1859302 w 4519987"/>
                    <a:gd name="connsiteY147" fmla="*/ 104775 h 4496940"/>
                    <a:gd name="connsiteX148" fmla="*/ 1916452 w 4519987"/>
                    <a:gd name="connsiteY148" fmla="*/ 95250 h 4496940"/>
                    <a:gd name="connsiteX149" fmla="*/ 2030752 w 4519987"/>
                    <a:gd name="connsiteY149" fmla="*/ 66675 h 4496940"/>
                    <a:gd name="connsiteX150" fmla="*/ 2097427 w 4519987"/>
                    <a:gd name="connsiteY150" fmla="*/ 47625 h 4496940"/>
                    <a:gd name="connsiteX151" fmla="*/ 2164102 w 4519987"/>
                    <a:gd name="connsiteY151" fmla="*/ 38100 h 4496940"/>
                    <a:gd name="connsiteX152" fmla="*/ 2392702 w 4519987"/>
                    <a:gd name="connsiteY15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745252 w 4519987"/>
                    <a:gd name="connsiteY20" fmla="*/ 542925 h 4496940"/>
                    <a:gd name="connsiteX21" fmla="*/ 3811927 w 4519987"/>
                    <a:gd name="connsiteY21" fmla="*/ 581025 h 4496940"/>
                    <a:gd name="connsiteX22" fmla="*/ 3907177 w 4519987"/>
                    <a:gd name="connsiteY22" fmla="*/ 647700 h 4496940"/>
                    <a:gd name="connsiteX23" fmla="*/ 3935752 w 4519987"/>
                    <a:gd name="connsiteY23" fmla="*/ 676275 h 4496940"/>
                    <a:gd name="connsiteX24" fmla="*/ 4078627 w 4519987"/>
                    <a:gd name="connsiteY24" fmla="*/ 838200 h 4496940"/>
                    <a:gd name="connsiteX25" fmla="*/ 4135777 w 4519987"/>
                    <a:gd name="connsiteY25" fmla="*/ 933450 h 4496940"/>
                    <a:gd name="connsiteX26" fmla="*/ 4164352 w 4519987"/>
                    <a:gd name="connsiteY26" fmla="*/ 990600 h 4496940"/>
                    <a:gd name="connsiteX27" fmla="*/ 4173877 w 4519987"/>
                    <a:gd name="connsiteY27" fmla="*/ 1019175 h 4496940"/>
                    <a:gd name="connsiteX28" fmla="*/ 4192927 w 4519987"/>
                    <a:gd name="connsiteY28" fmla="*/ 1057275 h 4496940"/>
                    <a:gd name="connsiteX29" fmla="*/ 4202452 w 4519987"/>
                    <a:gd name="connsiteY29" fmla="*/ 1085850 h 4496940"/>
                    <a:gd name="connsiteX30" fmla="*/ 4250077 w 4519987"/>
                    <a:gd name="connsiteY30" fmla="*/ 1143000 h 4496940"/>
                    <a:gd name="connsiteX31" fmla="*/ 4259602 w 4519987"/>
                    <a:gd name="connsiteY31" fmla="*/ 1190625 h 4496940"/>
                    <a:gd name="connsiteX32" fmla="*/ 4307227 w 4519987"/>
                    <a:gd name="connsiteY32" fmla="*/ 1266825 h 4496940"/>
                    <a:gd name="connsiteX33" fmla="*/ 4345327 w 4519987"/>
                    <a:gd name="connsiteY33" fmla="*/ 1362075 h 4496940"/>
                    <a:gd name="connsiteX34" fmla="*/ 4373902 w 4519987"/>
                    <a:gd name="connsiteY34" fmla="*/ 1428750 h 4496940"/>
                    <a:gd name="connsiteX35" fmla="*/ 4392952 w 4519987"/>
                    <a:gd name="connsiteY35" fmla="*/ 1552575 h 4496940"/>
                    <a:gd name="connsiteX36" fmla="*/ 4402477 w 4519987"/>
                    <a:gd name="connsiteY36" fmla="*/ 1590675 h 4496940"/>
                    <a:gd name="connsiteX37" fmla="*/ 4431052 w 4519987"/>
                    <a:gd name="connsiteY37" fmla="*/ 1685925 h 4496940"/>
                    <a:gd name="connsiteX38" fmla="*/ 4519952 w 4519987"/>
                    <a:gd name="connsiteY38" fmla="*/ 2181225 h 4496940"/>
                    <a:gd name="connsiteX39" fmla="*/ 4446927 w 4519987"/>
                    <a:gd name="connsiteY39" fmla="*/ 2768600 h 4496940"/>
                    <a:gd name="connsiteX40" fmla="*/ 4383427 w 4519987"/>
                    <a:gd name="connsiteY40" fmla="*/ 2990850 h 4496940"/>
                    <a:gd name="connsiteX41" fmla="*/ 4278652 w 4519987"/>
                    <a:gd name="connsiteY41" fmla="*/ 3248025 h 4496940"/>
                    <a:gd name="connsiteX42" fmla="*/ 4259602 w 4519987"/>
                    <a:gd name="connsiteY42" fmla="*/ 3276600 h 4496940"/>
                    <a:gd name="connsiteX43" fmla="*/ 4221502 w 4519987"/>
                    <a:gd name="connsiteY43" fmla="*/ 3333750 h 4496940"/>
                    <a:gd name="connsiteX44" fmla="*/ 4211977 w 4519987"/>
                    <a:gd name="connsiteY44" fmla="*/ 3362325 h 4496940"/>
                    <a:gd name="connsiteX45" fmla="*/ 4183402 w 4519987"/>
                    <a:gd name="connsiteY45" fmla="*/ 3400425 h 4496940"/>
                    <a:gd name="connsiteX46" fmla="*/ 4164352 w 4519987"/>
                    <a:gd name="connsiteY46" fmla="*/ 3429000 h 4496940"/>
                    <a:gd name="connsiteX47" fmla="*/ 4088152 w 4519987"/>
                    <a:gd name="connsiteY47" fmla="*/ 3495675 h 4496940"/>
                    <a:gd name="connsiteX48" fmla="*/ 4059577 w 4519987"/>
                    <a:gd name="connsiteY48" fmla="*/ 3533775 h 4496940"/>
                    <a:gd name="connsiteX49" fmla="*/ 4002427 w 4519987"/>
                    <a:gd name="connsiteY49" fmla="*/ 3600450 h 4496940"/>
                    <a:gd name="connsiteX50" fmla="*/ 3983377 w 4519987"/>
                    <a:gd name="connsiteY50" fmla="*/ 3629025 h 4496940"/>
                    <a:gd name="connsiteX51" fmla="*/ 3954802 w 4519987"/>
                    <a:gd name="connsiteY51" fmla="*/ 3648075 h 4496940"/>
                    <a:gd name="connsiteX52" fmla="*/ 3907177 w 4519987"/>
                    <a:gd name="connsiteY52" fmla="*/ 3686175 h 4496940"/>
                    <a:gd name="connsiteX53" fmla="*/ 3869077 w 4519987"/>
                    <a:gd name="connsiteY53" fmla="*/ 3724275 h 4496940"/>
                    <a:gd name="connsiteX54" fmla="*/ 3792877 w 4519987"/>
                    <a:gd name="connsiteY54" fmla="*/ 3781425 h 4496940"/>
                    <a:gd name="connsiteX55" fmla="*/ 3783352 w 4519987"/>
                    <a:gd name="connsiteY55" fmla="*/ 3810000 h 4496940"/>
                    <a:gd name="connsiteX56" fmla="*/ 3745252 w 4519987"/>
                    <a:gd name="connsiteY56" fmla="*/ 3819525 h 4496940"/>
                    <a:gd name="connsiteX57" fmla="*/ 3678577 w 4519987"/>
                    <a:gd name="connsiteY57" fmla="*/ 3848100 h 4496940"/>
                    <a:gd name="connsiteX58" fmla="*/ 3659527 w 4519987"/>
                    <a:gd name="connsiteY58" fmla="*/ 3971925 h 4496940"/>
                    <a:gd name="connsiteX59" fmla="*/ 3630952 w 4519987"/>
                    <a:gd name="connsiteY59" fmla="*/ 4010025 h 4496940"/>
                    <a:gd name="connsiteX60" fmla="*/ 3621427 w 4519987"/>
                    <a:gd name="connsiteY60" fmla="*/ 4038600 h 4496940"/>
                    <a:gd name="connsiteX61" fmla="*/ 3554752 w 4519987"/>
                    <a:gd name="connsiteY61" fmla="*/ 4095750 h 4496940"/>
                    <a:gd name="connsiteX62" fmla="*/ 3516652 w 4519987"/>
                    <a:gd name="connsiteY62" fmla="*/ 4114800 h 4496940"/>
                    <a:gd name="connsiteX63" fmla="*/ 3497602 w 4519987"/>
                    <a:gd name="connsiteY63" fmla="*/ 4143375 h 4496940"/>
                    <a:gd name="connsiteX64" fmla="*/ 3383302 w 4519987"/>
                    <a:gd name="connsiteY64" fmla="*/ 4210050 h 4496940"/>
                    <a:gd name="connsiteX65" fmla="*/ 3335677 w 4519987"/>
                    <a:gd name="connsiteY65" fmla="*/ 4238625 h 4496940"/>
                    <a:gd name="connsiteX66" fmla="*/ 3288052 w 4519987"/>
                    <a:gd name="connsiteY66" fmla="*/ 4248150 h 4496940"/>
                    <a:gd name="connsiteX67" fmla="*/ 3240427 w 4519987"/>
                    <a:gd name="connsiteY67" fmla="*/ 4267200 h 4496940"/>
                    <a:gd name="connsiteX68" fmla="*/ 3068977 w 4519987"/>
                    <a:gd name="connsiteY68" fmla="*/ 4286250 h 4496940"/>
                    <a:gd name="connsiteX69" fmla="*/ 2935627 w 4519987"/>
                    <a:gd name="connsiteY69" fmla="*/ 4333875 h 4496940"/>
                    <a:gd name="connsiteX70" fmla="*/ 2811802 w 4519987"/>
                    <a:gd name="connsiteY70" fmla="*/ 4371975 h 4496940"/>
                    <a:gd name="connsiteX71" fmla="*/ 2745127 w 4519987"/>
                    <a:gd name="connsiteY71" fmla="*/ 4410075 h 4496940"/>
                    <a:gd name="connsiteX72" fmla="*/ 2697502 w 4519987"/>
                    <a:gd name="connsiteY72" fmla="*/ 4429125 h 4496940"/>
                    <a:gd name="connsiteX73" fmla="*/ 2640352 w 4519987"/>
                    <a:gd name="connsiteY73" fmla="*/ 4457700 h 4496940"/>
                    <a:gd name="connsiteX74" fmla="*/ 2583202 w 4519987"/>
                    <a:gd name="connsiteY74" fmla="*/ 4467225 h 4496940"/>
                    <a:gd name="connsiteX75" fmla="*/ 2545102 w 4519987"/>
                    <a:gd name="connsiteY75" fmla="*/ 4486275 h 4496940"/>
                    <a:gd name="connsiteX76" fmla="*/ 2306977 w 4519987"/>
                    <a:gd name="connsiteY76" fmla="*/ 4476750 h 4496940"/>
                    <a:gd name="connsiteX77" fmla="*/ 2202202 w 4519987"/>
                    <a:gd name="connsiteY77" fmla="*/ 4457700 h 4496940"/>
                    <a:gd name="connsiteX78" fmla="*/ 2126002 w 4519987"/>
                    <a:gd name="connsiteY78" fmla="*/ 4429125 h 4496940"/>
                    <a:gd name="connsiteX79" fmla="*/ 1935502 w 4519987"/>
                    <a:gd name="connsiteY79" fmla="*/ 4400550 h 4496940"/>
                    <a:gd name="connsiteX80" fmla="*/ 1821202 w 4519987"/>
                    <a:gd name="connsiteY80" fmla="*/ 4371975 h 4496940"/>
                    <a:gd name="connsiteX81" fmla="*/ 1754527 w 4519987"/>
                    <a:gd name="connsiteY81" fmla="*/ 4352925 h 4496940"/>
                    <a:gd name="connsiteX82" fmla="*/ 1687852 w 4519987"/>
                    <a:gd name="connsiteY82" fmla="*/ 4343400 h 4496940"/>
                    <a:gd name="connsiteX83" fmla="*/ 1573552 w 4519987"/>
                    <a:gd name="connsiteY83" fmla="*/ 4305300 h 4496940"/>
                    <a:gd name="connsiteX84" fmla="*/ 1402102 w 4519987"/>
                    <a:gd name="connsiteY84" fmla="*/ 4276725 h 4496940"/>
                    <a:gd name="connsiteX85" fmla="*/ 1287802 w 4519987"/>
                    <a:gd name="connsiteY85" fmla="*/ 4229100 h 4496940"/>
                    <a:gd name="connsiteX86" fmla="*/ 1221127 w 4519987"/>
                    <a:gd name="connsiteY86" fmla="*/ 4200525 h 4496940"/>
                    <a:gd name="connsiteX87" fmla="*/ 1144927 w 4519987"/>
                    <a:gd name="connsiteY87" fmla="*/ 4171950 h 4496940"/>
                    <a:gd name="connsiteX88" fmla="*/ 1087777 w 4519987"/>
                    <a:gd name="connsiteY88" fmla="*/ 4143375 h 4496940"/>
                    <a:gd name="connsiteX89" fmla="*/ 1030627 w 4519987"/>
                    <a:gd name="connsiteY89" fmla="*/ 4124325 h 4496940"/>
                    <a:gd name="connsiteX90" fmla="*/ 925852 w 4519987"/>
                    <a:gd name="connsiteY90" fmla="*/ 4067175 h 4496940"/>
                    <a:gd name="connsiteX91" fmla="*/ 830602 w 4519987"/>
                    <a:gd name="connsiteY91" fmla="*/ 3981450 h 4496940"/>
                    <a:gd name="connsiteX92" fmla="*/ 763927 w 4519987"/>
                    <a:gd name="connsiteY92" fmla="*/ 3914775 h 4496940"/>
                    <a:gd name="connsiteX93" fmla="*/ 725827 w 4519987"/>
                    <a:gd name="connsiteY93" fmla="*/ 3876675 h 4496940"/>
                    <a:gd name="connsiteX94" fmla="*/ 697252 w 4519987"/>
                    <a:gd name="connsiteY94" fmla="*/ 3838575 h 4496940"/>
                    <a:gd name="connsiteX95" fmla="*/ 640102 w 4519987"/>
                    <a:gd name="connsiteY95" fmla="*/ 3781425 h 4496940"/>
                    <a:gd name="connsiteX96" fmla="*/ 611527 w 4519987"/>
                    <a:gd name="connsiteY96" fmla="*/ 3733800 h 4496940"/>
                    <a:gd name="connsiteX97" fmla="*/ 554377 w 4519987"/>
                    <a:gd name="connsiteY97" fmla="*/ 3657600 h 4496940"/>
                    <a:gd name="connsiteX98" fmla="*/ 525802 w 4519987"/>
                    <a:gd name="connsiteY98" fmla="*/ 3609975 h 4496940"/>
                    <a:gd name="connsiteX99" fmla="*/ 497227 w 4519987"/>
                    <a:gd name="connsiteY99" fmla="*/ 3552825 h 4496940"/>
                    <a:gd name="connsiteX100" fmla="*/ 440077 w 4519987"/>
                    <a:gd name="connsiteY100" fmla="*/ 3495675 h 4496940"/>
                    <a:gd name="connsiteX101" fmla="*/ 411502 w 4519987"/>
                    <a:gd name="connsiteY101" fmla="*/ 3448050 h 4496940"/>
                    <a:gd name="connsiteX102" fmla="*/ 278152 w 4519987"/>
                    <a:gd name="connsiteY102" fmla="*/ 3257550 h 4496940"/>
                    <a:gd name="connsiteX103" fmla="*/ 249577 w 4519987"/>
                    <a:gd name="connsiteY103" fmla="*/ 3200400 h 4496940"/>
                    <a:gd name="connsiteX104" fmla="*/ 240052 w 4519987"/>
                    <a:gd name="connsiteY104" fmla="*/ 3162300 h 4496940"/>
                    <a:gd name="connsiteX105" fmla="*/ 221002 w 4519987"/>
                    <a:gd name="connsiteY105" fmla="*/ 3105150 h 4496940"/>
                    <a:gd name="connsiteX106" fmla="*/ 173377 w 4519987"/>
                    <a:gd name="connsiteY106" fmla="*/ 3019425 h 4496940"/>
                    <a:gd name="connsiteX107" fmla="*/ 144802 w 4519987"/>
                    <a:gd name="connsiteY107" fmla="*/ 2924175 h 4496940"/>
                    <a:gd name="connsiteX108" fmla="*/ 68602 w 4519987"/>
                    <a:gd name="connsiteY108" fmla="*/ 2724150 h 4496940"/>
                    <a:gd name="connsiteX109" fmla="*/ 49552 w 4519987"/>
                    <a:gd name="connsiteY109" fmla="*/ 2638425 h 4496940"/>
                    <a:gd name="connsiteX110" fmla="*/ 40027 w 4519987"/>
                    <a:gd name="connsiteY110" fmla="*/ 2562225 h 4496940"/>
                    <a:gd name="connsiteX111" fmla="*/ 30502 w 4519987"/>
                    <a:gd name="connsiteY111" fmla="*/ 2514600 h 4496940"/>
                    <a:gd name="connsiteX112" fmla="*/ 11452 w 4519987"/>
                    <a:gd name="connsiteY112" fmla="*/ 2400300 h 4496940"/>
                    <a:gd name="connsiteX113" fmla="*/ 20977 w 4519987"/>
                    <a:gd name="connsiteY113" fmla="*/ 1905000 h 4496940"/>
                    <a:gd name="connsiteX114" fmla="*/ 30502 w 4519987"/>
                    <a:gd name="connsiteY114" fmla="*/ 1838325 h 4496940"/>
                    <a:gd name="connsiteX115" fmla="*/ 49552 w 4519987"/>
                    <a:gd name="connsiteY115" fmla="*/ 1781175 h 4496940"/>
                    <a:gd name="connsiteX116" fmla="*/ 59077 w 4519987"/>
                    <a:gd name="connsiteY116" fmla="*/ 1743075 h 4496940"/>
                    <a:gd name="connsiteX117" fmla="*/ 78127 w 4519987"/>
                    <a:gd name="connsiteY117" fmla="*/ 1685925 h 4496940"/>
                    <a:gd name="connsiteX118" fmla="*/ 87652 w 4519987"/>
                    <a:gd name="connsiteY118" fmla="*/ 1638300 h 4496940"/>
                    <a:gd name="connsiteX119" fmla="*/ 106702 w 4519987"/>
                    <a:gd name="connsiteY119" fmla="*/ 1590675 h 4496940"/>
                    <a:gd name="connsiteX120" fmla="*/ 135277 w 4519987"/>
                    <a:gd name="connsiteY120" fmla="*/ 1504950 h 4496940"/>
                    <a:gd name="connsiteX121" fmla="*/ 154327 w 4519987"/>
                    <a:gd name="connsiteY121" fmla="*/ 1419225 h 4496940"/>
                    <a:gd name="connsiteX122" fmla="*/ 230527 w 4519987"/>
                    <a:gd name="connsiteY122" fmla="*/ 1276350 h 4496940"/>
                    <a:gd name="connsiteX123" fmla="*/ 240052 w 4519987"/>
                    <a:gd name="connsiteY123" fmla="*/ 1247775 h 4496940"/>
                    <a:gd name="connsiteX124" fmla="*/ 268627 w 4519987"/>
                    <a:gd name="connsiteY124" fmla="*/ 1200150 h 4496940"/>
                    <a:gd name="connsiteX125" fmla="*/ 287677 w 4519987"/>
                    <a:gd name="connsiteY125" fmla="*/ 1152525 h 4496940"/>
                    <a:gd name="connsiteX126" fmla="*/ 316252 w 4519987"/>
                    <a:gd name="connsiteY126" fmla="*/ 1114425 h 4496940"/>
                    <a:gd name="connsiteX127" fmla="*/ 363877 w 4519987"/>
                    <a:gd name="connsiteY127" fmla="*/ 1038225 h 4496940"/>
                    <a:gd name="connsiteX128" fmla="*/ 382927 w 4519987"/>
                    <a:gd name="connsiteY128" fmla="*/ 1009650 h 4496940"/>
                    <a:gd name="connsiteX129" fmla="*/ 440077 w 4519987"/>
                    <a:gd name="connsiteY129" fmla="*/ 904875 h 4496940"/>
                    <a:gd name="connsiteX130" fmla="*/ 478177 w 4519987"/>
                    <a:gd name="connsiteY130" fmla="*/ 857250 h 4496940"/>
                    <a:gd name="connsiteX131" fmla="*/ 497227 w 4519987"/>
                    <a:gd name="connsiteY131" fmla="*/ 828675 h 4496940"/>
                    <a:gd name="connsiteX132" fmla="*/ 535327 w 4519987"/>
                    <a:gd name="connsiteY132" fmla="*/ 800100 h 4496940"/>
                    <a:gd name="connsiteX133" fmla="*/ 602002 w 4519987"/>
                    <a:gd name="connsiteY133" fmla="*/ 733425 h 4496940"/>
                    <a:gd name="connsiteX134" fmla="*/ 668677 w 4519987"/>
                    <a:gd name="connsiteY134" fmla="*/ 676275 h 4496940"/>
                    <a:gd name="connsiteX135" fmla="*/ 697252 w 4519987"/>
                    <a:gd name="connsiteY135" fmla="*/ 657225 h 4496940"/>
                    <a:gd name="connsiteX136" fmla="*/ 840127 w 4519987"/>
                    <a:gd name="connsiteY136" fmla="*/ 533400 h 4496940"/>
                    <a:gd name="connsiteX137" fmla="*/ 887752 w 4519987"/>
                    <a:gd name="connsiteY137" fmla="*/ 504825 h 4496940"/>
                    <a:gd name="connsiteX138" fmla="*/ 1167152 w 4519987"/>
                    <a:gd name="connsiteY138" fmla="*/ 311150 h 4496940"/>
                    <a:gd name="connsiteX139" fmla="*/ 1268752 w 4519987"/>
                    <a:gd name="connsiteY139" fmla="*/ 285750 h 4496940"/>
                    <a:gd name="connsiteX140" fmla="*/ 1411627 w 4519987"/>
                    <a:gd name="connsiteY140" fmla="*/ 190500 h 4496940"/>
                    <a:gd name="connsiteX141" fmla="*/ 1449727 w 4519987"/>
                    <a:gd name="connsiteY141" fmla="*/ 161925 h 4496940"/>
                    <a:gd name="connsiteX142" fmla="*/ 1525927 w 4519987"/>
                    <a:gd name="connsiteY142" fmla="*/ 152400 h 4496940"/>
                    <a:gd name="connsiteX143" fmla="*/ 1583077 w 4519987"/>
                    <a:gd name="connsiteY143" fmla="*/ 142875 h 4496940"/>
                    <a:gd name="connsiteX144" fmla="*/ 1716427 w 4519987"/>
                    <a:gd name="connsiteY144" fmla="*/ 123825 h 4496940"/>
                    <a:gd name="connsiteX145" fmla="*/ 1811677 w 4519987"/>
                    <a:gd name="connsiteY145" fmla="*/ 114300 h 4496940"/>
                    <a:gd name="connsiteX146" fmla="*/ 1859302 w 4519987"/>
                    <a:gd name="connsiteY146" fmla="*/ 104775 h 4496940"/>
                    <a:gd name="connsiteX147" fmla="*/ 1916452 w 4519987"/>
                    <a:gd name="connsiteY147" fmla="*/ 95250 h 4496940"/>
                    <a:gd name="connsiteX148" fmla="*/ 2030752 w 4519987"/>
                    <a:gd name="connsiteY148" fmla="*/ 66675 h 4496940"/>
                    <a:gd name="connsiteX149" fmla="*/ 2097427 w 4519987"/>
                    <a:gd name="connsiteY149" fmla="*/ 47625 h 4496940"/>
                    <a:gd name="connsiteX150" fmla="*/ 2164102 w 4519987"/>
                    <a:gd name="connsiteY150" fmla="*/ 38100 h 4496940"/>
                    <a:gd name="connsiteX151" fmla="*/ 2392702 w 4519987"/>
                    <a:gd name="connsiteY15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3935752 w 4519987"/>
                    <a:gd name="connsiteY22" fmla="*/ 676275 h 4496940"/>
                    <a:gd name="connsiteX23" fmla="*/ 4078627 w 4519987"/>
                    <a:gd name="connsiteY23" fmla="*/ 838200 h 4496940"/>
                    <a:gd name="connsiteX24" fmla="*/ 4135777 w 4519987"/>
                    <a:gd name="connsiteY24" fmla="*/ 933450 h 4496940"/>
                    <a:gd name="connsiteX25" fmla="*/ 4164352 w 4519987"/>
                    <a:gd name="connsiteY25" fmla="*/ 990600 h 4496940"/>
                    <a:gd name="connsiteX26" fmla="*/ 4173877 w 4519987"/>
                    <a:gd name="connsiteY26" fmla="*/ 1019175 h 4496940"/>
                    <a:gd name="connsiteX27" fmla="*/ 4192927 w 4519987"/>
                    <a:gd name="connsiteY27" fmla="*/ 1057275 h 4496940"/>
                    <a:gd name="connsiteX28" fmla="*/ 4202452 w 4519987"/>
                    <a:gd name="connsiteY28" fmla="*/ 1085850 h 4496940"/>
                    <a:gd name="connsiteX29" fmla="*/ 4250077 w 4519987"/>
                    <a:gd name="connsiteY29" fmla="*/ 1143000 h 4496940"/>
                    <a:gd name="connsiteX30" fmla="*/ 4259602 w 4519987"/>
                    <a:gd name="connsiteY30" fmla="*/ 1190625 h 4496940"/>
                    <a:gd name="connsiteX31" fmla="*/ 4307227 w 4519987"/>
                    <a:gd name="connsiteY31" fmla="*/ 1266825 h 4496940"/>
                    <a:gd name="connsiteX32" fmla="*/ 4345327 w 4519987"/>
                    <a:gd name="connsiteY32" fmla="*/ 1362075 h 4496940"/>
                    <a:gd name="connsiteX33" fmla="*/ 4373902 w 4519987"/>
                    <a:gd name="connsiteY33" fmla="*/ 1428750 h 4496940"/>
                    <a:gd name="connsiteX34" fmla="*/ 4392952 w 4519987"/>
                    <a:gd name="connsiteY34" fmla="*/ 1552575 h 4496940"/>
                    <a:gd name="connsiteX35" fmla="*/ 4402477 w 4519987"/>
                    <a:gd name="connsiteY35" fmla="*/ 1590675 h 4496940"/>
                    <a:gd name="connsiteX36" fmla="*/ 4431052 w 4519987"/>
                    <a:gd name="connsiteY36" fmla="*/ 1685925 h 4496940"/>
                    <a:gd name="connsiteX37" fmla="*/ 4519952 w 4519987"/>
                    <a:gd name="connsiteY37" fmla="*/ 2181225 h 4496940"/>
                    <a:gd name="connsiteX38" fmla="*/ 4446927 w 4519987"/>
                    <a:gd name="connsiteY38" fmla="*/ 2768600 h 4496940"/>
                    <a:gd name="connsiteX39" fmla="*/ 4383427 w 4519987"/>
                    <a:gd name="connsiteY39" fmla="*/ 2990850 h 4496940"/>
                    <a:gd name="connsiteX40" fmla="*/ 4278652 w 4519987"/>
                    <a:gd name="connsiteY40" fmla="*/ 3248025 h 4496940"/>
                    <a:gd name="connsiteX41" fmla="*/ 4259602 w 4519987"/>
                    <a:gd name="connsiteY41" fmla="*/ 3276600 h 4496940"/>
                    <a:gd name="connsiteX42" fmla="*/ 4221502 w 4519987"/>
                    <a:gd name="connsiteY42" fmla="*/ 3333750 h 4496940"/>
                    <a:gd name="connsiteX43" fmla="*/ 4211977 w 4519987"/>
                    <a:gd name="connsiteY43" fmla="*/ 3362325 h 4496940"/>
                    <a:gd name="connsiteX44" fmla="*/ 4183402 w 4519987"/>
                    <a:gd name="connsiteY44" fmla="*/ 3400425 h 4496940"/>
                    <a:gd name="connsiteX45" fmla="*/ 4164352 w 4519987"/>
                    <a:gd name="connsiteY45" fmla="*/ 3429000 h 4496940"/>
                    <a:gd name="connsiteX46" fmla="*/ 4088152 w 4519987"/>
                    <a:gd name="connsiteY46" fmla="*/ 3495675 h 4496940"/>
                    <a:gd name="connsiteX47" fmla="*/ 4059577 w 4519987"/>
                    <a:gd name="connsiteY47" fmla="*/ 3533775 h 4496940"/>
                    <a:gd name="connsiteX48" fmla="*/ 4002427 w 4519987"/>
                    <a:gd name="connsiteY48" fmla="*/ 3600450 h 4496940"/>
                    <a:gd name="connsiteX49" fmla="*/ 3983377 w 4519987"/>
                    <a:gd name="connsiteY49" fmla="*/ 3629025 h 4496940"/>
                    <a:gd name="connsiteX50" fmla="*/ 3954802 w 4519987"/>
                    <a:gd name="connsiteY50" fmla="*/ 3648075 h 4496940"/>
                    <a:gd name="connsiteX51" fmla="*/ 3907177 w 4519987"/>
                    <a:gd name="connsiteY51" fmla="*/ 3686175 h 4496940"/>
                    <a:gd name="connsiteX52" fmla="*/ 3869077 w 4519987"/>
                    <a:gd name="connsiteY52" fmla="*/ 3724275 h 4496940"/>
                    <a:gd name="connsiteX53" fmla="*/ 3792877 w 4519987"/>
                    <a:gd name="connsiteY53" fmla="*/ 3781425 h 4496940"/>
                    <a:gd name="connsiteX54" fmla="*/ 3783352 w 4519987"/>
                    <a:gd name="connsiteY54" fmla="*/ 3810000 h 4496940"/>
                    <a:gd name="connsiteX55" fmla="*/ 3745252 w 4519987"/>
                    <a:gd name="connsiteY55" fmla="*/ 3819525 h 4496940"/>
                    <a:gd name="connsiteX56" fmla="*/ 3678577 w 4519987"/>
                    <a:gd name="connsiteY56" fmla="*/ 3848100 h 4496940"/>
                    <a:gd name="connsiteX57" fmla="*/ 3659527 w 4519987"/>
                    <a:gd name="connsiteY57" fmla="*/ 3971925 h 4496940"/>
                    <a:gd name="connsiteX58" fmla="*/ 3630952 w 4519987"/>
                    <a:gd name="connsiteY58" fmla="*/ 4010025 h 4496940"/>
                    <a:gd name="connsiteX59" fmla="*/ 3621427 w 4519987"/>
                    <a:gd name="connsiteY59" fmla="*/ 4038600 h 4496940"/>
                    <a:gd name="connsiteX60" fmla="*/ 3554752 w 4519987"/>
                    <a:gd name="connsiteY60" fmla="*/ 4095750 h 4496940"/>
                    <a:gd name="connsiteX61" fmla="*/ 3516652 w 4519987"/>
                    <a:gd name="connsiteY61" fmla="*/ 4114800 h 4496940"/>
                    <a:gd name="connsiteX62" fmla="*/ 3497602 w 4519987"/>
                    <a:gd name="connsiteY62" fmla="*/ 4143375 h 4496940"/>
                    <a:gd name="connsiteX63" fmla="*/ 3383302 w 4519987"/>
                    <a:gd name="connsiteY63" fmla="*/ 4210050 h 4496940"/>
                    <a:gd name="connsiteX64" fmla="*/ 3335677 w 4519987"/>
                    <a:gd name="connsiteY64" fmla="*/ 4238625 h 4496940"/>
                    <a:gd name="connsiteX65" fmla="*/ 3288052 w 4519987"/>
                    <a:gd name="connsiteY65" fmla="*/ 4248150 h 4496940"/>
                    <a:gd name="connsiteX66" fmla="*/ 3240427 w 4519987"/>
                    <a:gd name="connsiteY66" fmla="*/ 4267200 h 4496940"/>
                    <a:gd name="connsiteX67" fmla="*/ 3068977 w 4519987"/>
                    <a:gd name="connsiteY67" fmla="*/ 4286250 h 4496940"/>
                    <a:gd name="connsiteX68" fmla="*/ 2935627 w 4519987"/>
                    <a:gd name="connsiteY68" fmla="*/ 4333875 h 4496940"/>
                    <a:gd name="connsiteX69" fmla="*/ 2811802 w 4519987"/>
                    <a:gd name="connsiteY69" fmla="*/ 4371975 h 4496940"/>
                    <a:gd name="connsiteX70" fmla="*/ 2745127 w 4519987"/>
                    <a:gd name="connsiteY70" fmla="*/ 4410075 h 4496940"/>
                    <a:gd name="connsiteX71" fmla="*/ 2697502 w 4519987"/>
                    <a:gd name="connsiteY71" fmla="*/ 4429125 h 4496940"/>
                    <a:gd name="connsiteX72" fmla="*/ 2640352 w 4519987"/>
                    <a:gd name="connsiteY72" fmla="*/ 4457700 h 4496940"/>
                    <a:gd name="connsiteX73" fmla="*/ 2583202 w 4519987"/>
                    <a:gd name="connsiteY73" fmla="*/ 4467225 h 4496940"/>
                    <a:gd name="connsiteX74" fmla="*/ 2545102 w 4519987"/>
                    <a:gd name="connsiteY74" fmla="*/ 4486275 h 4496940"/>
                    <a:gd name="connsiteX75" fmla="*/ 2306977 w 4519987"/>
                    <a:gd name="connsiteY75" fmla="*/ 4476750 h 4496940"/>
                    <a:gd name="connsiteX76" fmla="*/ 2202202 w 4519987"/>
                    <a:gd name="connsiteY76" fmla="*/ 4457700 h 4496940"/>
                    <a:gd name="connsiteX77" fmla="*/ 2126002 w 4519987"/>
                    <a:gd name="connsiteY77" fmla="*/ 4429125 h 4496940"/>
                    <a:gd name="connsiteX78" fmla="*/ 1935502 w 4519987"/>
                    <a:gd name="connsiteY78" fmla="*/ 4400550 h 4496940"/>
                    <a:gd name="connsiteX79" fmla="*/ 1821202 w 4519987"/>
                    <a:gd name="connsiteY79" fmla="*/ 4371975 h 4496940"/>
                    <a:gd name="connsiteX80" fmla="*/ 1754527 w 4519987"/>
                    <a:gd name="connsiteY80" fmla="*/ 4352925 h 4496940"/>
                    <a:gd name="connsiteX81" fmla="*/ 1687852 w 4519987"/>
                    <a:gd name="connsiteY81" fmla="*/ 4343400 h 4496940"/>
                    <a:gd name="connsiteX82" fmla="*/ 1573552 w 4519987"/>
                    <a:gd name="connsiteY82" fmla="*/ 4305300 h 4496940"/>
                    <a:gd name="connsiteX83" fmla="*/ 1402102 w 4519987"/>
                    <a:gd name="connsiteY83" fmla="*/ 4276725 h 4496940"/>
                    <a:gd name="connsiteX84" fmla="*/ 1287802 w 4519987"/>
                    <a:gd name="connsiteY84" fmla="*/ 4229100 h 4496940"/>
                    <a:gd name="connsiteX85" fmla="*/ 1221127 w 4519987"/>
                    <a:gd name="connsiteY85" fmla="*/ 4200525 h 4496940"/>
                    <a:gd name="connsiteX86" fmla="*/ 1144927 w 4519987"/>
                    <a:gd name="connsiteY86" fmla="*/ 4171950 h 4496940"/>
                    <a:gd name="connsiteX87" fmla="*/ 1087777 w 4519987"/>
                    <a:gd name="connsiteY87" fmla="*/ 4143375 h 4496940"/>
                    <a:gd name="connsiteX88" fmla="*/ 1030627 w 4519987"/>
                    <a:gd name="connsiteY88" fmla="*/ 4124325 h 4496940"/>
                    <a:gd name="connsiteX89" fmla="*/ 925852 w 4519987"/>
                    <a:gd name="connsiteY89" fmla="*/ 4067175 h 4496940"/>
                    <a:gd name="connsiteX90" fmla="*/ 830602 w 4519987"/>
                    <a:gd name="connsiteY90" fmla="*/ 3981450 h 4496940"/>
                    <a:gd name="connsiteX91" fmla="*/ 763927 w 4519987"/>
                    <a:gd name="connsiteY91" fmla="*/ 3914775 h 4496940"/>
                    <a:gd name="connsiteX92" fmla="*/ 725827 w 4519987"/>
                    <a:gd name="connsiteY92" fmla="*/ 3876675 h 4496940"/>
                    <a:gd name="connsiteX93" fmla="*/ 697252 w 4519987"/>
                    <a:gd name="connsiteY93" fmla="*/ 3838575 h 4496940"/>
                    <a:gd name="connsiteX94" fmla="*/ 640102 w 4519987"/>
                    <a:gd name="connsiteY94" fmla="*/ 3781425 h 4496940"/>
                    <a:gd name="connsiteX95" fmla="*/ 611527 w 4519987"/>
                    <a:gd name="connsiteY95" fmla="*/ 3733800 h 4496940"/>
                    <a:gd name="connsiteX96" fmla="*/ 554377 w 4519987"/>
                    <a:gd name="connsiteY96" fmla="*/ 3657600 h 4496940"/>
                    <a:gd name="connsiteX97" fmla="*/ 525802 w 4519987"/>
                    <a:gd name="connsiteY97" fmla="*/ 3609975 h 4496940"/>
                    <a:gd name="connsiteX98" fmla="*/ 497227 w 4519987"/>
                    <a:gd name="connsiteY98" fmla="*/ 3552825 h 4496940"/>
                    <a:gd name="connsiteX99" fmla="*/ 440077 w 4519987"/>
                    <a:gd name="connsiteY99" fmla="*/ 3495675 h 4496940"/>
                    <a:gd name="connsiteX100" fmla="*/ 411502 w 4519987"/>
                    <a:gd name="connsiteY100" fmla="*/ 3448050 h 4496940"/>
                    <a:gd name="connsiteX101" fmla="*/ 278152 w 4519987"/>
                    <a:gd name="connsiteY101" fmla="*/ 3257550 h 4496940"/>
                    <a:gd name="connsiteX102" fmla="*/ 249577 w 4519987"/>
                    <a:gd name="connsiteY102" fmla="*/ 3200400 h 4496940"/>
                    <a:gd name="connsiteX103" fmla="*/ 240052 w 4519987"/>
                    <a:gd name="connsiteY103" fmla="*/ 3162300 h 4496940"/>
                    <a:gd name="connsiteX104" fmla="*/ 221002 w 4519987"/>
                    <a:gd name="connsiteY104" fmla="*/ 3105150 h 4496940"/>
                    <a:gd name="connsiteX105" fmla="*/ 173377 w 4519987"/>
                    <a:gd name="connsiteY105" fmla="*/ 3019425 h 4496940"/>
                    <a:gd name="connsiteX106" fmla="*/ 144802 w 4519987"/>
                    <a:gd name="connsiteY106" fmla="*/ 2924175 h 4496940"/>
                    <a:gd name="connsiteX107" fmla="*/ 68602 w 4519987"/>
                    <a:gd name="connsiteY107" fmla="*/ 2724150 h 4496940"/>
                    <a:gd name="connsiteX108" fmla="*/ 49552 w 4519987"/>
                    <a:gd name="connsiteY108" fmla="*/ 2638425 h 4496940"/>
                    <a:gd name="connsiteX109" fmla="*/ 40027 w 4519987"/>
                    <a:gd name="connsiteY109" fmla="*/ 2562225 h 4496940"/>
                    <a:gd name="connsiteX110" fmla="*/ 30502 w 4519987"/>
                    <a:gd name="connsiteY110" fmla="*/ 2514600 h 4496940"/>
                    <a:gd name="connsiteX111" fmla="*/ 11452 w 4519987"/>
                    <a:gd name="connsiteY111" fmla="*/ 2400300 h 4496940"/>
                    <a:gd name="connsiteX112" fmla="*/ 20977 w 4519987"/>
                    <a:gd name="connsiteY112" fmla="*/ 1905000 h 4496940"/>
                    <a:gd name="connsiteX113" fmla="*/ 30502 w 4519987"/>
                    <a:gd name="connsiteY113" fmla="*/ 1838325 h 4496940"/>
                    <a:gd name="connsiteX114" fmla="*/ 49552 w 4519987"/>
                    <a:gd name="connsiteY114" fmla="*/ 1781175 h 4496940"/>
                    <a:gd name="connsiteX115" fmla="*/ 59077 w 4519987"/>
                    <a:gd name="connsiteY115" fmla="*/ 1743075 h 4496940"/>
                    <a:gd name="connsiteX116" fmla="*/ 78127 w 4519987"/>
                    <a:gd name="connsiteY116" fmla="*/ 1685925 h 4496940"/>
                    <a:gd name="connsiteX117" fmla="*/ 87652 w 4519987"/>
                    <a:gd name="connsiteY117" fmla="*/ 1638300 h 4496940"/>
                    <a:gd name="connsiteX118" fmla="*/ 106702 w 4519987"/>
                    <a:gd name="connsiteY118" fmla="*/ 1590675 h 4496940"/>
                    <a:gd name="connsiteX119" fmla="*/ 135277 w 4519987"/>
                    <a:gd name="connsiteY119" fmla="*/ 1504950 h 4496940"/>
                    <a:gd name="connsiteX120" fmla="*/ 154327 w 4519987"/>
                    <a:gd name="connsiteY120" fmla="*/ 1419225 h 4496940"/>
                    <a:gd name="connsiteX121" fmla="*/ 230527 w 4519987"/>
                    <a:gd name="connsiteY121" fmla="*/ 1276350 h 4496940"/>
                    <a:gd name="connsiteX122" fmla="*/ 240052 w 4519987"/>
                    <a:gd name="connsiteY122" fmla="*/ 1247775 h 4496940"/>
                    <a:gd name="connsiteX123" fmla="*/ 268627 w 4519987"/>
                    <a:gd name="connsiteY123" fmla="*/ 1200150 h 4496940"/>
                    <a:gd name="connsiteX124" fmla="*/ 287677 w 4519987"/>
                    <a:gd name="connsiteY124" fmla="*/ 1152525 h 4496940"/>
                    <a:gd name="connsiteX125" fmla="*/ 316252 w 4519987"/>
                    <a:gd name="connsiteY125" fmla="*/ 1114425 h 4496940"/>
                    <a:gd name="connsiteX126" fmla="*/ 363877 w 4519987"/>
                    <a:gd name="connsiteY126" fmla="*/ 1038225 h 4496940"/>
                    <a:gd name="connsiteX127" fmla="*/ 382927 w 4519987"/>
                    <a:gd name="connsiteY127" fmla="*/ 1009650 h 4496940"/>
                    <a:gd name="connsiteX128" fmla="*/ 440077 w 4519987"/>
                    <a:gd name="connsiteY128" fmla="*/ 904875 h 4496940"/>
                    <a:gd name="connsiteX129" fmla="*/ 478177 w 4519987"/>
                    <a:gd name="connsiteY129" fmla="*/ 857250 h 4496940"/>
                    <a:gd name="connsiteX130" fmla="*/ 497227 w 4519987"/>
                    <a:gd name="connsiteY130" fmla="*/ 828675 h 4496940"/>
                    <a:gd name="connsiteX131" fmla="*/ 535327 w 4519987"/>
                    <a:gd name="connsiteY131" fmla="*/ 800100 h 4496940"/>
                    <a:gd name="connsiteX132" fmla="*/ 602002 w 4519987"/>
                    <a:gd name="connsiteY132" fmla="*/ 733425 h 4496940"/>
                    <a:gd name="connsiteX133" fmla="*/ 668677 w 4519987"/>
                    <a:gd name="connsiteY133" fmla="*/ 676275 h 4496940"/>
                    <a:gd name="connsiteX134" fmla="*/ 697252 w 4519987"/>
                    <a:gd name="connsiteY134" fmla="*/ 657225 h 4496940"/>
                    <a:gd name="connsiteX135" fmla="*/ 840127 w 4519987"/>
                    <a:gd name="connsiteY135" fmla="*/ 533400 h 4496940"/>
                    <a:gd name="connsiteX136" fmla="*/ 887752 w 4519987"/>
                    <a:gd name="connsiteY136" fmla="*/ 504825 h 4496940"/>
                    <a:gd name="connsiteX137" fmla="*/ 1167152 w 4519987"/>
                    <a:gd name="connsiteY137" fmla="*/ 311150 h 4496940"/>
                    <a:gd name="connsiteX138" fmla="*/ 1268752 w 4519987"/>
                    <a:gd name="connsiteY138" fmla="*/ 285750 h 4496940"/>
                    <a:gd name="connsiteX139" fmla="*/ 1411627 w 4519987"/>
                    <a:gd name="connsiteY139" fmla="*/ 190500 h 4496940"/>
                    <a:gd name="connsiteX140" fmla="*/ 1449727 w 4519987"/>
                    <a:gd name="connsiteY140" fmla="*/ 161925 h 4496940"/>
                    <a:gd name="connsiteX141" fmla="*/ 1525927 w 4519987"/>
                    <a:gd name="connsiteY141" fmla="*/ 152400 h 4496940"/>
                    <a:gd name="connsiteX142" fmla="*/ 1583077 w 4519987"/>
                    <a:gd name="connsiteY142" fmla="*/ 142875 h 4496940"/>
                    <a:gd name="connsiteX143" fmla="*/ 1716427 w 4519987"/>
                    <a:gd name="connsiteY143" fmla="*/ 123825 h 4496940"/>
                    <a:gd name="connsiteX144" fmla="*/ 1811677 w 4519987"/>
                    <a:gd name="connsiteY144" fmla="*/ 114300 h 4496940"/>
                    <a:gd name="connsiteX145" fmla="*/ 1859302 w 4519987"/>
                    <a:gd name="connsiteY145" fmla="*/ 104775 h 4496940"/>
                    <a:gd name="connsiteX146" fmla="*/ 1916452 w 4519987"/>
                    <a:gd name="connsiteY146" fmla="*/ 95250 h 4496940"/>
                    <a:gd name="connsiteX147" fmla="*/ 2030752 w 4519987"/>
                    <a:gd name="connsiteY147" fmla="*/ 66675 h 4496940"/>
                    <a:gd name="connsiteX148" fmla="*/ 2097427 w 4519987"/>
                    <a:gd name="connsiteY148" fmla="*/ 47625 h 4496940"/>
                    <a:gd name="connsiteX149" fmla="*/ 2164102 w 4519987"/>
                    <a:gd name="connsiteY149" fmla="*/ 38100 h 4496940"/>
                    <a:gd name="connsiteX150" fmla="*/ 2392702 w 4519987"/>
                    <a:gd name="connsiteY15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4078627 w 4519987"/>
                    <a:gd name="connsiteY22" fmla="*/ 838200 h 4496940"/>
                    <a:gd name="connsiteX23" fmla="*/ 4135777 w 4519987"/>
                    <a:gd name="connsiteY23" fmla="*/ 933450 h 4496940"/>
                    <a:gd name="connsiteX24" fmla="*/ 4164352 w 4519987"/>
                    <a:gd name="connsiteY24" fmla="*/ 990600 h 4496940"/>
                    <a:gd name="connsiteX25" fmla="*/ 4173877 w 4519987"/>
                    <a:gd name="connsiteY25" fmla="*/ 1019175 h 4496940"/>
                    <a:gd name="connsiteX26" fmla="*/ 4192927 w 4519987"/>
                    <a:gd name="connsiteY26" fmla="*/ 1057275 h 4496940"/>
                    <a:gd name="connsiteX27" fmla="*/ 4202452 w 4519987"/>
                    <a:gd name="connsiteY27" fmla="*/ 1085850 h 4496940"/>
                    <a:gd name="connsiteX28" fmla="*/ 4250077 w 4519987"/>
                    <a:gd name="connsiteY28" fmla="*/ 1143000 h 4496940"/>
                    <a:gd name="connsiteX29" fmla="*/ 4259602 w 4519987"/>
                    <a:gd name="connsiteY29" fmla="*/ 1190625 h 4496940"/>
                    <a:gd name="connsiteX30" fmla="*/ 4307227 w 4519987"/>
                    <a:gd name="connsiteY30" fmla="*/ 1266825 h 4496940"/>
                    <a:gd name="connsiteX31" fmla="*/ 4345327 w 4519987"/>
                    <a:gd name="connsiteY31" fmla="*/ 1362075 h 4496940"/>
                    <a:gd name="connsiteX32" fmla="*/ 4373902 w 4519987"/>
                    <a:gd name="connsiteY32" fmla="*/ 1428750 h 4496940"/>
                    <a:gd name="connsiteX33" fmla="*/ 4392952 w 4519987"/>
                    <a:gd name="connsiteY33" fmla="*/ 1552575 h 4496940"/>
                    <a:gd name="connsiteX34" fmla="*/ 4402477 w 4519987"/>
                    <a:gd name="connsiteY34" fmla="*/ 1590675 h 4496940"/>
                    <a:gd name="connsiteX35" fmla="*/ 4431052 w 4519987"/>
                    <a:gd name="connsiteY35" fmla="*/ 1685925 h 4496940"/>
                    <a:gd name="connsiteX36" fmla="*/ 4519952 w 4519987"/>
                    <a:gd name="connsiteY36" fmla="*/ 2181225 h 4496940"/>
                    <a:gd name="connsiteX37" fmla="*/ 4446927 w 4519987"/>
                    <a:gd name="connsiteY37" fmla="*/ 2768600 h 4496940"/>
                    <a:gd name="connsiteX38" fmla="*/ 4383427 w 4519987"/>
                    <a:gd name="connsiteY38" fmla="*/ 2990850 h 4496940"/>
                    <a:gd name="connsiteX39" fmla="*/ 4278652 w 4519987"/>
                    <a:gd name="connsiteY39" fmla="*/ 3248025 h 4496940"/>
                    <a:gd name="connsiteX40" fmla="*/ 4259602 w 4519987"/>
                    <a:gd name="connsiteY40" fmla="*/ 3276600 h 4496940"/>
                    <a:gd name="connsiteX41" fmla="*/ 4221502 w 4519987"/>
                    <a:gd name="connsiteY41" fmla="*/ 3333750 h 4496940"/>
                    <a:gd name="connsiteX42" fmla="*/ 4211977 w 4519987"/>
                    <a:gd name="connsiteY42" fmla="*/ 3362325 h 4496940"/>
                    <a:gd name="connsiteX43" fmla="*/ 4183402 w 4519987"/>
                    <a:gd name="connsiteY43" fmla="*/ 3400425 h 4496940"/>
                    <a:gd name="connsiteX44" fmla="*/ 4164352 w 4519987"/>
                    <a:gd name="connsiteY44" fmla="*/ 3429000 h 4496940"/>
                    <a:gd name="connsiteX45" fmla="*/ 4088152 w 4519987"/>
                    <a:gd name="connsiteY45" fmla="*/ 3495675 h 4496940"/>
                    <a:gd name="connsiteX46" fmla="*/ 4059577 w 4519987"/>
                    <a:gd name="connsiteY46" fmla="*/ 3533775 h 4496940"/>
                    <a:gd name="connsiteX47" fmla="*/ 4002427 w 4519987"/>
                    <a:gd name="connsiteY47" fmla="*/ 3600450 h 4496940"/>
                    <a:gd name="connsiteX48" fmla="*/ 3983377 w 4519987"/>
                    <a:gd name="connsiteY48" fmla="*/ 3629025 h 4496940"/>
                    <a:gd name="connsiteX49" fmla="*/ 3954802 w 4519987"/>
                    <a:gd name="connsiteY49" fmla="*/ 3648075 h 4496940"/>
                    <a:gd name="connsiteX50" fmla="*/ 3907177 w 4519987"/>
                    <a:gd name="connsiteY50" fmla="*/ 3686175 h 4496940"/>
                    <a:gd name="connsiteX51" fmla="*/ 3869077 w 4519987"/>
                    <a:gd name="connsiteY51" fmla="*/ 3724275 h 4496940"/>
                    <a:gd name="connsiteX52" fmla="*/ 3792877 w 4519987"/>
                    <a:gd name="connsiteY52" fmla="*/ 3781425 h 4496940"/>
                    <a:gd name="connsiteX53" fmla="*/ 3783352 w 4519987"/>
                    <a:gd name="connsiteY53" fmla="*/ 3810000 h 4496940"/>
                    <a:gd name="connsiteX54" fmla="*/ 3745252 w 4519987"/>
                    <a:gd name="connsiteY54" fmla="*/ 3819525 h 4496940"/>
                    <a:gd name="connsiteX55" fmla="*/ 3678577 w 4519987"/>
                    <a:gd name="connsiteY55" fmla="*/ 3848100 h 4496940"/>
                    <a:gd name="connsiteX56" fmla="*/ 3659527 w 4519987"/>
                    <a:gd name="connsiteY56" fmla="*/ 3971925 h 4496940"/>
                    <a:gd name="connsiteX57" fmla="*/ 3630952 w 4519987"/>
                    <a:gd name="connsiteY57" fmla="*/ 4010025 h 4496940"/>
                    <a:gd name="connsiteX58" fmla="*/ 3621427 w 4519987"/>
                    <a:gd name="connsiteY58" fmla="*/ 4038600 h 4496940"/>
                    <a:gd name="connsiteX59" fmla="*/ 3554752 w 4519987"/>
                    <a:gd name="connsiteY59" fmla="*/ 4095750 h 4496940"/>
                    <a:gd name="connsiteX60" fmla="*/ 3516652 w 4519987"/>
                    <a:gd name="connsiteY60" fmla="*/ 4114800 h 4496940"/>
                    <a:gd name="connsiteX61" fmla="*/ 3497602 w 4519987"/>
                    <a:gd name="connsiteY61" fmla="*/ 4143375 h 4496940"/>
                    <a:gd name="connsiteX62" fmla="*/ 3383302 w 4519987"/>
                    <a:gd name="connsiteY62" fmla="*/ 4210050 h 4496940"/>
                    <a:gd name="connsiteX63" fmla="*/ 3335677 w 4519987"/>
                    <a:gd name="connsiteY63" fmla="*/ 4238625 h 4496940"/>
                    <a:gd name="connsiteX64" fmla="*/ 3288052 w 4519987"/>
                    <a:gd name="connsiteY64" fmla="*/ 4248150 h 4496940"/>
                    <a:gd name="connsiteX65" fmla="*/ 3240427 w 4519987"/>
                    <a:gd name="connsiteY65" fmla="*/ 4267200 h 4496940"/>
                    <a:gd name="connsiteX66" fmla="*/ 3068977 w 4519987"/>
                    <a:gd name="connsiteY66" fmla="*/ 4286250 h 4496940"/>
                    <a:gd name="connsiteX67" fmla="*/ 2935627 w 4519987"/>
                    <a:gd name="connsiteY67" fmla="*/ 4333875 h 4496940"/>
                    <a:gd name="connsiteX68" fmla="*/ 2811802 w 4519987"/>
                    <a:gd name="connsiteY68" fmla="*/ 4371975 h 4496940"/>
                    <a:gd name="connsiteX69" fmla="*/ 2745127 w 4519987"/>
                    <a:gd name="connsiteY69" fmla="*/ 4410075 h 4496940"/>
                    <a:gd name="connsiteX70" fmla="*/ 2697502 w 4519987"/>
                    <a:gd name="connsiteY70" fmla="*/ 4429125 h 4496940"/>
                    <a:gd name="connsiteX71" fmla="*/ 2640352 w 4519987"/>
                    <a:gd name="connsiteY71" fmla="*/ 4457700 h 4496940"/>
                    <a:gd name="connsiteX72" fmla="*/ 2583202 w 4519987"/>
                    <a:gd name="connsiteY72" fmla="*/ 4467225 h 4496940"/>
                    <a:gd name="connsiteX73" fmla="*/ 2545102 w 4519987"/>
                    <a:gd name="connsiteY73" fmla="*/ 4486275 h 4496940"/>
                    <a:gd name="connsiteX74" fmla="*/ 2306977 w 4519987"/>
                    <a:gd name="connsiteY74" fmla="*/ 4476750 h 4496940"/>
                    <a:gd name="connsiteX75" fmla="*/ 2202202 w 4519987"/>
                    <a:gd name="connsiteY75" fmla="*/ 4457700 h 4496940"/>
                    <a:gd name="connsiteX76" fmla="*/ 2126002 w 4519987"/>
                    <a:gd name="connsiteY76" fmla="*/ 4429125 h 4496940"/>
                    <a:gd name="connsiteX77" fmla="*/ 1935502 w 4519987"/>
                    <a:gd name="connsiteY77" fmla="*/ 4400550 h 4496940"/>
                    <a:gd name="connsiteX78" fmla="*/ 1821202 w 4519987"/>
                    <a:gd name="connsiteY78" fmla="*/ 4371975 h 4496940"/>
                    <a:gd name="connsiteX79" fmla="*/ 1754527 w 4519987"/>
                    <a:gd name="connsiteY79" fmla="*/ 4352925 h 4496940"/>
                    <a:gd name="connsiteX80" fmla="*/ 1687852 w 4519987"/>
                    <a:gd name="connsiteY80" fmla="*/ 4343400 h 4496940"/>
                    <a:gd name="connsiteX81" fmla="*/ 1573552 w 4519987"/>
                    <a:gd name="connsiteY81" fmla="*/ 4305300 h 4496940"/>
                    <a:gd name="connsiteX82" fmla="*/ 1402102 w 4519987"/>
                    <a:gd name="connsiteY82" fmla="*/ 4276725 h 4496940"/>
                    <a:gd name="connsiteX83" fmla="*/ 1287802 w 4519987"/>
                    <a:gd name="connsiteY83" fmla="*/ 4229100 h 4496940"/>
                    <a:gd name="connsiteX84" fmla="*/ 1221127 w 4519987"/>
                    <a:gd name="connsiteY84" fmla="*/ 4200525 h 4496940"/>
                    <a:gd name="connsiteX85" fmla="*/ 1144927 w 4519987"/>
                    <a:gd name="connsiteY85" fmla="*/ 4171950 h 4496940"/>
                    <a:gd name="connsiteX86" fmla="*/ 1087777 w 4519987"/>
                    <a:gd name="connsiteY86" fmla="*/ 4143375 h 4496940"/>
                    <a:gd name="connsiteX87" fmla="*/ 1030627 w 4519987"/>
                    <a:gd name="connsiteY87" fmla="*/ 4124325 h 4496940"/>
                    <a:gd name="connsiteX88" fmla="*/ 925852 w 4519987"/>
                    <a:gd name="connsiteY88" fmla="*/ 4067175 h 4496940"/>
                    <a:gd name="connsiteX89" fmla="*/ 830602 w 4519987"/>
                    <a:gd name="connsiteY89" fmla="*/ 3981450 h 4496940"/>
                    <a:gd name="connsiteX90" fmla="*/ 763927 w 4519987"/>
                    <a:gd name="connsiteY90" fmla="*/ 3914775 h 4496940"/>
                    <a:gd name="connsiteX91" fmla="*/ 725827 w 4519987"/>
                    <a:gd name="connsiteY91" fmla="*/ 3876675 h 4496940"/>
                    <a:gd name="connsiteX92" fmla="*/ 697252 w 4519987"/>
                    <a:gd name="connsiteY92" fmla="*/ 3838575 h 4496940"/>
                    <a:gd name="connsiteX93" fmla="*/ 640102 w 4519987"/>
                    <a:gd name="connsiteY93" fmla="*/ 3781425 h 4496940"/>
                    <a:gd name="connsiteX94" fmla="*/ 611527 w 4519987"/>
                    <a:gd name="connsiteY94" fmla="*/ 3733800 h 4496940"/>
                    <a:gd name="connsiteX95" fmla="*/ 554377 w 4519987"/>
                    <a:gd name="connsiteY95" fmla="*/ 3657600 h 4496940"/>
                    <a:gd name="connsiteX96" fmla="*/ 525802 w 4519987"/>
                    <a:gd name="connsiteY96" fmla="*/ 3609975 h 4496940"/>
                    <a:gd name="connsiteX97" fmla="*/ 497227 w 4519987"/>
                    <a:gd name="connsiteY97" fmla="*/ 3552825 h 4496940"/>
                    <a:gd name="connsiteX98" fmla="*/ 440077 w 4519987"/>
                    <a:gd name="connsiteY98" fmla="*/ 3495675 h 4496940"/>
                    <a:gd name="connsiteX99" fmla="*/ 411502 w 4519987"/>
                    <a:gd name="connsiteY99" fmla="*/ 3448050 h 4496940"/>
                    <a:gd name="connsiteX100" fmla="*/ 278152 w 4519987"/>
                    <a:gd name="connsiteY100" fmla="*/ 3257550 h 4496940"/>
                    <a:gd name="connsiteX101" fmla="*/ 249577 w 4519987"/>
                    <a:gd name="connsiteY101" fmla="*/ 3200400 h 4496940"/>
                    <a:gd name="connsiteX102" fmla="*/ 240052 w 4519987"/>
                    <a:gd name="connsiteY102" fmla="*/ 3162300 h 4496940"/>
                    <a:gd name="connsiteX103" fmla="*/ 221002 w 4519987"/>
                    <a:gd name="connsiteY103" fmla="*/ 3105150 h 4496940"/>
                    <a:gd name="connsiteX104" fmla="*/ 173377 w 4519987"/>
                    <a:gd name="connsiteY104" fmla="*/ 3019425 h 4496940"/>
                    <a:gd name="connsiteX105" fmla="*/ 144802 w 4519987"/>
                    <a:gd name="connsiteY105" fmla="*/ 2924175 h 4496940"/>
                    <a:gd name="connsiteX106" fmla="*/ 68602 w 4519987"/>
                    <a:gd name="connsiteY106" fmla="*/ 2724150 h 4496940"/>
                    <a:gd name="connsiteX107" fmla="*/ 49552 w 4519987"/>
                    <a:gd name="connsiteY107" fmla="*/ 2638425 h 4496940"/>
                    <a:gd name="connsiteX108" fmla="*/ 40027 w 4519987"/>
                    <a:gd name="connsiteY108" fmla="*/ 2562225 h 4496940"/>
                    <a:gd name="connsiteX109" fmla="*/ 30502 w 4519987"/>
                    <a:gd name="connsiteY109" fmla="*/ 2514600 h 4496940"/>
                    <a:gd name="connsiteX110" fmla="*/ 11452 w 4519987"/>
                    <a:gd name="connsiteY110" fmla="*/ 2400300 h 4496940"/>
                    <a:gd name="connsiteX111" fmla="*/ 20977 w 4519987"/>
                    <a:gd name="connsiteY111" fmla="*/ 1905000 h 4496940"/>
                    <a:gd name="connsiteX112" fmla="*/ 30502 w 4519987"/>
                    <a:gd name="connsiteY112" fmla="*/ 1838325 h 4496940"/>
                    <a:gd name="connsiteX113" fmla="*/ 49552 w 4519987"/>
                    <a:gd name="connsiteY113" fmla="*/ 1781175 h 4496940"/>
                    <a:gd name="connsiteX114" fmla="*/ 59077 w 4519987"/>
                    <a:gd name="connsiteY114" fmla="*/ 1743075 h 4496940"/>
                    <a:gd name="connsiteX115" fmla="*/ 78127 w 4519987"/>
                    <a:gd name="connsiteY115" fmla="*/ 1685925 h 4496940"/>
                    <a:gd name="connsiteX116" fmla="*/ 87652 w 4519987"/>
                    <a:gd name="connsiteY116" fmla="*/ 1638300 h 4496940"/>
                    <a:gd name="connsiteX117" fmla="*/ 106702 w 4519987"/>
                    <a:gd name="connsiteY117" fmla="*/ 1590675 h 4496940"/>
                    <a:gd name="connsiteX118" fmla="*/ 135277 w 4519987"/>
                    <a:gd name="connsiteY118" fmla="*/ 1504950 h 4496940"/>
                    <a:gd name="connsiteX119" fmla="*/ 154327 w 4519987"/>
                    <a:gd name="connsiteY119" fmla="*/ 1419225 h 4496940"/>
                    <a:gd name="connsiteX120" fmla="*/ 230527 w 4519987"/>
                    <a:gd name="connsiteY120" fmla="*/ 1276350 h 4496940"/>
                    <a:gd name="connsiteX121" fmla="*/ 240052 w 4519987"/>
                    <a:gd name="connsiteY121" fmla="*/ 1247775 h 4496940"/>
                    <a:gd name="connsiteX122" fmla="*/ 268627 w 4519987"/>
                    <a:gd name="connsiteY122" fmla="*/ 1200150 h 4496940"/>
                    <a:gd name="connsiteX123" fmla="*/ 287677 w 4519987"/>
                    <a:gd name="connsiteY123" fmla="*/ 1152525 h 4496940"/>
                    <a:gd name="connsiteX124" fmla="*/ 316252 w 4519987"/>
                    <a:gd name="connsiteY124" fmla="*/ 1114425 h 4496940"/>
                    <a:gd name="connsiteX125" fmla="*/ 363877 w 4519987"/>
                    <a:gd name="connsiteY125" fmla="*/ 1038225 h 4496940"/>
                    <a:gd name="connsiteX126" fmla="*/ 382927 w 4519987"/>
                    <a:gd name="connsiteY126" fmla="*/ 1009650 h 4496940"/>
                    <a:gd name="connsiteX127" fmla="*/ 440077 w 4519987"/>
                    <a:gd name="connsiteY127" fmla="*/ 904875 h 4496940"/>
                    <a:gd name="connsiteX128" fmla="*/ 478177 w 4519987"/>
                    <a:gd name="connsiteY128" fmla="*/ 857250 h 4496940"/>
                    <a:gd name="connsiteX129" fmla="*/ 497227 w 4519987"/>
                    <a:gd name="connsiteY129" fmla="*/ 828675 h 4496940"/>
                    <a:gd name="connsiteX130" fmla="*/ 535327 w 4519987"/>
                    <a:gd name="connsiteY130" fmla="*/ 800100 h 4496940"/>
                    <a:gd name="connsiteX131" fmla="*/ 602002 w 4519987"/>
                    <a:gd name="connsiteY131" fmla="*/ 733425 h 4496940"/>
                    <a:gd name="connsiteX132" fmla="*/ 668677 w 4519987"/>
                    <a:gd name="connsiteY132" fmla="*/ 676275 h 4496940"/>
                    <a:gd name="connsiteX133" fmla="*/ 697252 w 4519987"/>
                    <a:gd name="connsiteY133" fmla="*/ 657225 h 4496940"/>
                    <a:gd name="connsiteX134" fmla="*/ 840127 w 4519987"/>
                    <a:gd name="connsiteY134" fmla="*/ 533400 h 4496940"/>
                    <a:gd name="connsiteX135" fmla="*/ 887752 w 4519987"/>
                    <a:gd name="connsiteY135" fmla="*/ 504825 h 4496940"/>
                    <a:gd name="connsiteX136" fmla="*/ 1167152 w 4519987"/>
                    <a:gd name="connsiteY136" fmla="*/ 311150 h 4496940"/>
                    <a:gd name="connsiteX137" fmla="*/ 1268752 w 4519987"/>
                    <a:gd name="connsiteY137" fmla="*/ 285750 h 4496940"/>
                    <a:gd name="connsiteX138" fmla="*/ 1411627 w 4519987"/>
                    <a:gd name="connsiteY138" fmla="*/ 190500 h 4496940"/>
                    <a:gd name="connsiteX139" fmla="*/ 1449727 w 4519987"/>
                    <a:gd name="connsiteY139" fmla="*/ 161925 h 4496940"/>
                    <a:gd name="connsiteX140" fmla="*/ 1525927 w 4519987"/>
                    <a:gd name="connsiteY140" fmla="*/ 152400 h 4496940"/>
                    <a:gd name="connsiteX141" fmla="*/ 1583077 w 4519987"/>
                    <a:gd name="connsiteY141" fmla="*/ 142875 h 4496940"/>
                    <a:gd name="connsiteX142" fmla="*/ 1716427 w 4519987"/>
                    <a:gd name="connsiteY142" fmla="*/ 123825 h 4496940"/>
                    <a:gd name="connsiteX143" fmla="*/ 1811677 w 4519987"/>
                    <a:gd name="connsiteY143" fmla="*/ 114300 h 4496940"/>
                    <a:gd name="connsiteX144" fmla="*/ 1859302 w 4519987"/>
                    <a:gd name="connsiteY144" fmla="*/ 104775 h 4496940"/>
                    <a:gd name="connsiteX145" fmla="*/ 1916452 w 4519987"/>
                    <a:gd name="connsiteY145" fmla="*/ 95250 h 4496940"/>
                    <a:gd name="connsiteX146" fmla="*/ 2030752 w 4519987"/>
                    <a:gd name="connsiteY146" fmla="*/ 66675 h 4496940"/>
                    <a:gd name="connsiteX147" fmla="*/ 2097427 w 4519987"/>
                    <a:gd name="connsiteY147" fmla="*/ 47625 h 4496940"/>
                    <a:gd name="connsiteX148" fmla="*/ 2164102 w 4519987"/>
                    <a:gd name="connsiteY148" fmla="*/ 38100 h 4496940"/>
                    <a:gd name="connsiteX149" fmla="*/ 2392702 w 4519987"/>
                    <a:gd name="connsiteY14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78627 w 4519987"/>
                    <a:gd name="connsiteY21" fmla="*/ 838200 h 4496940"/>
                    <a:gd name="connsiteX22" fmla="*/ 4135777 w 4519987"/>
                    <a:gd name="connsiteY22" fmla="*/ 933450 h 4496940"/>
                    <a:gd name="connsiteX23" fmla="*/ 4164352 w 4519987"/>
                    <a:gd name="connsiteY23" fmla="*/ 990600 h 4496940"/>
                    <a:gd name="connsiteX24" fmla="*/ 4173877 w 4519987"/>
                    <a:gd name="connsiteY24" fmla="*/ 1019175 h 4496940"/>
                    <a:gd name="connsiteX25" fmla="*/ 4192927 w 4519987"/>
                    <a:gd name="connsiteY25" fmla="*/ 1057275 h 4496940"/>
                    <a:gd name="connsiteX26" fmla="*/ 4202452 w 4519987"/>
                    <a:gd name="connsiteY26" fmla="*/ 1085850 h 4496940"/>
                    <a:gd name="connsiteX27" fmla="*/ 4250077 w 4519987"/>
                    <a:gd name="connsiteY27" fmla="*/ 1143000 h 4496940"/>
                    <a:gd name="connsiteX28" fmla="*/ 4259602 w 4519987"/>
                    <a:gd name="connsiteY28" fmla="*/ 1190625 h 4496940"/>
                    <a:gd name="connsiteX29" fmla="*/ 4307227 w 4519987"/>
                    <a:gd name="connsiteY29" fmla="*/ 1266825 h 4496940"/>
                    <a:gd name="connsiteX30" fmla="*/ 4345327 w 4519987"/>
                    <a:gd name="connsiteY30" fmla="*/ 1362075 h 4496940"/>
                    <a:gd name="connsiteX31" fmla="*/ 4373902 w 4519987"/>
                    <a:gd name="connsiteY31" fmla="*/ 1428750 h 4496940"/>
                    <a:gd name="connsiteX32" fmla="*/ 4392952 w 4519987"/>
                    <a:gd name="connsiteY32" fmla="*/ 1552575 h 4496940"/>
                    <a:gd name="connsiteX33" fmla="*/ 4402477 w 4519987"/>
                    <a:gd name="connsiteY33" fmla="*/ 1590675 h 4496940"/>
                    <a:gd name="connsiteX34" fmla="*/ 4431052 w 4519987"/>
                    <a:gd name="connsiteY34" fmla="*/ 1685925 h 4496940"/>
                    <a:gd name="connsiteX35" fmla="*/ 4519952 w 4519987"/>
                    <a:gd name="connsiteY35" fmla="*/ 2181225 h 4496940"/>
                    <a:gd name="connsiteX36" fmla="*/ 4446927 w 4519987"/>
                    <a:gd name="connsiteY36" fmla="*/ 2768600 h 4496940"/>
                    <a:gd name="connsiteX37" fmla="*/ 4383427 w 4519987"/>
                    <a:gd name="connsiteY37" fmla="*/ 2990850 h 4496940"/>
                    <a:gd name="connsiteX38" fmla="*/ 4278652 w 4519987"/>
                    <a:gd name="connsiteY38" fmla="*/ 3248025 h 4496940"/>
                    <a:gd name="connsiteX39" fmla="*/ 4259602 w 4519987"/>
                    <a:gd name="connsiteY39" fmla="*/ 3276600 h 4496940"/>
                    <a:gd name="connsiteX40" fmla="*/ 4221502 w 4519987"/>
                    <a:gd name="connsiteY40" fmla="*/ 3333750 h 4496940"/>
                    <a:gd name="connsiteX41" fmla="*/ 4211977 w 4519987"/>
                    <a:gd name="connsiteY41" fmla="*/ 3362325 h 4496940"/>
                    <a:gd name="connsiteX42" fmla="*/ 4183402 w 4519987"/>
                    <a:gd name="connsiteY42" fmla="*/ 3400425 h 4496940"/>
                    <a:gd name="connsiteX43" fmla="*/ 4164352 w 4519987"/>
                    <a:gd name="connsiteY43" fmla="*/ 3429000 h 4496940"/>
                    <a:gd name="connsiteX44" fmla="*/ 4088152 w 4519987"/>
                    <a:gd name="connsiteY44" fmla="*/ 3495675 h 4496940"/>
                    <a:gd name="connsiteX45" fmla="*/ 4059577 w 4519987"/>
                    <a:gd name="connsiteY45" fmla="*/ 3533775 h 4496940"/>
                    <a:gd name="connsiteX46" fmla="*/ 4002427 w 4519987"/>
                    <a:gd name="connsiteY46" fmla="*/ 3600450 h 4496940"/>
                    <a:gd name="connsiteX47" fmla="*/ 3983377 w 4519987"/>
                    <a:gd name="connsiteY47" fmla="*/ 3629025 h 4496940"/>
                    <a:gd name="connsiteX48" fmla="*/ 3954802 w 4519987"/>
                    <a:gd name="connsiteY48" fmla="*/ 3648075 h 4496940"/>
                    <a:gd name="connsiteX49" fmla="*/ 3907177 w 4519987"/>
                    <a:gd name="connsiteY49" fmla="*/ 3686175 h 4496940"/>
                    <a:gd name="connsiteX50" fmla="*/ 3869077 w 4519987"/>
                    <a:gd name="connsiteY50" fmla="*/ 3724275 h 4496940"/>
                    <a:gd name="connsiteX51" fmla="*/ 3792877 w 4519987"/>
                    <a:gd name="connsiteY51" fmla="*/ 3781425 h 4496940"/>
                    <a:gd name="connsiteX52" fmla="*/ 3783352 w 4519987"/>
                    <a:gd name="connsiteY52" fmla="*/ 3810000 h 4496940"/>
                    <a:gd name="connsiteX53" fmla="*/ 3745252 w 4519987"/>
                    <a:gd name="connsiteY53" fmla="*/ 3819525 h 4496940"/>
                    <a:gd name="connsiteX54" fmla="*/ 3678577 w 4519987"/>
                    <a:gd name="connsiteY54" fmla="*/ 3848100 h 4496940"/>
                    <a:gd name="connsiteX55" fmla="*/ 3659527 w 4519987"/>
                    <a:gd name="connsiteY55" fmla="*/ 3971925 h 4496940"/>
                    <a:gd name="connsiteX56" fmla="*/ 3630952 w 4519987"/>
                    <a:gd name="connsiteY56" fmla="*/ 4010025 h 4496940"/>
                    <a:gd name="connsiteX57" fmla="*/ 3621427 w 4519987"/>
                    <a:gd name="connsiteY57" fmla="*/ 4038600 h 4496940"/>
                    <a:gd name="connsiteX58" fmla="*/ 3554752 w 4519987"/>
                    <a:gd name="connsiteY58" fmla="*/ 4095750 h 4496940"/>
                    <a:gd name="connsiteX59" fmla="*/ 3516652 w 4519987"/>
                    <a:gd name="connsiteY59" fmla="*/ 4114800 h 4496940"/>
                    <a:gd name="connsiteX60" fmla="*/ 3497602 w 4519987"/>
                    <a:gd name="connsiteY60" fmla="*/ 4143375 h 4496940"/>
                    <a:gd name="connsiteX61" fmla="*/ 3383302 w 4519987"/>
                    <a:gd name="connsiteY61" fmla="*/ 4210050 h 4496940"/>
                    <a:gd name="connsiteX62" fmla="*/ 3335677 w 4519987"/>
                    <a:gd name="connsiteY62" fmla="*/ 4238625 h 4496940"/>
                    <a:gd name="connsiteX63" fmla="*/ 3288052 w 4519987"/>
                    <a:gd name="connsiteY63" fmla="*/ 4248150 h 4496940"/>
                    <a:gd name="connsiteX64" fmla="*/ 3240427 w 4519987"/>
                    <a:gd name="connsiteY64" fmla="*/ 4267200 h 4496940"/>
                    <a:gd name="connsiteX65" fmla="*/ 3068977 w 4519987"/>
                    <a:gd name="connsiteY65" fmla="*/ 4286250 h 4496940"/>
                    <a:gd name="connsiteX66" fmla="*/ 2935627 w 4519987"/>
                    <a:gd name="connsiteY66" fmla="*/ 4333875 h 4496940"/>
                    <a:gd name="connsiteX67" fmla="*/ 2811802 w 4519987"/>
                    <a:gd name="connsiteY67" fmla="*/ 4371975 h 4496940"/>
                    <a:gd name="connsiteX68" fmla="*/ 2745127 w 4519987"/>
                    <a:gd name="connsiteY68" fmla="*/ 4410075 h 4496940"/>
                    <a:gd name="connsiteX69" fmla="*/ 2697502 w 4519987"/>
                    <a:gd name="connsiteY69" fmla="*/ 4429125 h 4496940"/>
                    <a:gd name="connsiteX70" fmla="*/ 2640352 w 4519987"/>
                    <a:gd name="connsiteY70" fmla="*/ 4457700 h 4496940"/>
                    <a:gd name="connsiteX71" fmla="*/ 2583202 w 4519987"/>
                    <a:gd name="connsiteY71" fmla="*/ 4467225 h 4496940"/>
                    <a:gd name="connsiteX72" fmla="*/ 2545102 w 4519987"/>
                    <a:gd name="connsiteY72" fmla="*/ 4486275 h 4496940"/>
                    <a:gd name="connsiteX73" fmla="*/ 2306977 w 4519987"/>
                    <a:gd name="connsiteY73" fmla="*/ 4476750 h 4496940"/>
                    <a:gd name="connsiteX74" fmla="*/ 2202202 w 4519987"/>
                    <a:gd name="connsiteY74" fmla="*/ 4457700 h 4496940"/>
                    <a:gd name="connsiteX75" fmla="*/ 2126002 w 4519987"/>
                    <a:gd name="connsiteY75" fmla="*/ 4429125 h 4496940"/>
                    <a:gd name="connsiteX76" fmla="*/ 1935502 w 4519987"/>
                    <a:gd name="connsiteY76" fmla="*/ 4400550 h 4496940"/>
                    <a:gd name="connsiteX77" fmla="*/ 1821202 w 4519987"/>
                    <a:gd name="connsiteY77" fmla="*/ 4371975 h 4496940"/>
                    <a:gd name="connsiteX78" fmla="*/ 1754527 w 4519987"/>
                    <a:gd name="connsiteY78" fmla="*/ 4352925 h 4496940"/>
                    <a:gd name="connsiteX79" fmla="*/ 1687852 w 4519987"/>
                    <a:gd name="connsiteY79" fmla="*/ 4343400 h 4496940"/>
                    <a:gd name="connsiteX80" fmla="*/ 1573552 w 4519987"/>
                    <a:gd name="connsiteY80" fmla="*/ 4305300 h 4496940"/>
                    <a:gd name="connsiteX81" fmla="*/ 1402102 w 4519987"/>
                    <a:gd name="connsiteY81" fmla="*/ 4276725 h 4496940"/>
                    <a:gd name="connsiteX82" fmla="*/ 1287802 w 4519987"/>
                    <a:gd name="connsiteY82" fmla="*/ 4229100 h 4496940"/>
                    <a:gd name="connsiteX83" fmla="*/ 1221127 w 4519987"/>
                    <a:gd name="connsiteY83" fmla="*/ 4200525 h 4496940"/>
                    <a:gd name="connsiteX84" fmla="*/ 1144927 w 4519987"/>
                    <a:gd name="connsiteY84" fmla="*/ 4171950 h 4496940"/>
                    <a:gd name="connsiteX85" fmla="*/ 1087777 w 4519987"/>
                    <a:gd name="connsiteY85" fmla="*/ 4143375 h 4496940"/>
                    <a:gd name="connsiteX86" fmla="*/ 1030627 w 4519987"/>
                    <a:gd name="connsiteY86" fmla="*/ 4124325 h 4496940"/>
                    <a:gd name="connsiteX87" fmla="*/ 925852 w 4519987"/>
                    <a:gd name="connsiteY87" fmla="*/ 4067175 h 4496940"/>
                    <a:gd name="connsiteX88" fmla="*/ 830602 w 4519987"/>
                    <a:gd name="connsiteY88" fmla="*/ 3981450 h 4496940"/>
                    <a:gd name="connsiteX89" fmla="*/ 763927 w 4519987"/>
                    <a:gd name="connsiteY89" fmla="*/ 3914775 h 4496940"/>
                    <a:gd name="connsiteX90" fmla="*/ 725827 w 4519987"/>
                    <a:gd name="connsiteY90" fmla="*/ 3876675 h 4496940"/>
                    <a:gd name="connsiteX91" fmla="*/ 697252 w 4519987"/>
                    <a:gd name="connsiteY91" fmla="*/ 3838575 h 4496940"/>
                    <a:gd name="connsiteX92" fmla="*/ 640102 w 4519987"/>
                    <a:gd name="connsiteY92" fmla="*/ 3781425 h 4496940"/>
                    <a:gd name="connsiteX93" fmla="*/ 611527 w 4519987"/>
                    <a:gd name="connsiteY93" fmla="*/ 3733800 h 4496940"/>
                    <a:gd name="connsiteX94" fmla="*/ 554377 w 4519987"/>
                    <a:gd name="connsiteY94" fmla="*/ 3657600 h 4496940"/>
                    <a:gd name="connsiteX95" fmla="*/ 525802 w 4519987"/>
                    <a:gd name="connsiteY95" fmla="*/ 3609975 h 4496940"/>
                    <a:gd name="connsiteX96" fmla="*/ 497227 w 4519987"/>
                    <a:gd name="connsiteY96" fmla="*/ 3552825 h 4496940"/>
                    <a:gd name="connsiteX97" fmla="*/ 440077 w 4519987"/>
                    <a:gd name="connsiteY97" fmla="*/ 3495675 h 4496940"/>
                    <a:gd name="connsiteX98" fmla="*/ 411502 w 4519987"/>
                    <a:gd name="connsiteY98" fmla="*/ 3448050 h 4496940"/>
                    <a:gd name="connsiteX99" fmla="*/ 278152 w 4519987"/>
                    <a:gd name="connsiteY99" fmla="*/ 3257550 h 4496940"/>
                    <a:gd name="connsiteX100" fmla="*/ 249577 w 4519987"/>
                    <a:gd name="connsiteY100" fmla="*/ 3200400 h 4496940"/>
                    <a:gd name="connsiteX101" fmla="*/ 240052 w 4519987"/>
                    <a:gd name="connsiteY101" fmla="*/ 3162300 h 4496940"/>
                    <a:gd name="connsiteX102" fmla="*/ 221002 w 4519987"/>
                    <a:gd name="connsiteY102" fmla="*/ 3105150 h 4496940"/>
                    <a:gd name="connsiteX103" fmla="*/ 173377 w 4519987"/>
                    <a:gd name="connsiteY103" fmla="*/ 3019425 h 4496940"/>
                    <a:gd name="connsiteX104" fmla="*/ 144802 w 4519987"/>
                    <a:gd name="connsiteY104" fmla="*/ 2924175 h 4496940"/>
                    <a:gd name="connsiteX105" fmla="*/ 68602 w 4519987"/>
                    <a:gd name="connsiteY105" fmla="*/ 2724150 h 4496940"/>
                    <a:gd name="connsiteX106" fmla="*/ 49552 w 4519987"/>
                    <a:gd name="connsiteY106" fmla="*/ 2638425 h 4496940"/>
                    <a:gd name="connsiteX107" fmla="*/ 40027 w 4519987"/>
                    <a:gd name="connsiteY107" fmla="*/ 2562225 h 4496940"/>
                    <a:gd name="connsiteX108" fmla="*/ 30502 w 4519987"/>
                    <a:gd name="connsiteY108" fmla="*/ 2514600 h 4496940"/>
                    <a:gd name="connsiteX109" fmla="*/ 11452 w 4519987"/>
                    <a:gd name="connsiteY109" fmla="*/ 2400300 h 4496940"/>
                    <a:gd name="connsiteX110" fmla="*/ 20977 w 4519987"/>
                    <a:gd name="connsiteY110" fmla="*/ 1905000 h 4496940"/>
                    <a:gd name="connsiteX111" fmla="*/ 30502 w 4519987"/>
                    <a:gd name="connsiteY111" fmla="*/ 1838325 h 4496940"/>
                    <a:gd name="connsiteX112" fmla="*/ 49552 w 4519987"/>
                    <a:gd name="connsiteY112" fmla="*/ 1781175 h 4496940"/>
                    <a:gd name="connsiteX113" fmla="*/ 59077 w 4519987"/>
                    <a:gd name="connsiteY113" fmla="*/ 1743075 h 4496940"/>
                    <a:gd name="connsiteX114" fmla="*/ 78127 w 4519987"/>
                    <a:gd name="connsiteY114" fmla="*/ 1685925 h 4496940"/>
                    <a:gd name="connsiteX115" fmla="*/ 87652 w 4519987"/>
                    <a:gd name="connsiteY115" fmla="*/ 1638300 h 4496940"/>
                    <a:gd name="connsiteX116" fmla="*/ 106702 w 4519987"/>
                    <a:gd name="connsiteY116" fmla="*/ 1590675 h 4496940"/>
                    <a:gd name="connsiteX117" fmla="*/ 135277 w 4519987"/>
                    <a:gd name="connsiteY117" fmla="*/ 1504950 h 4496940"/>
                    <a:gd name="connsiteX118" fmla="*/ 154327 w 4519987"/>
                    <a:gd name="connsiteY118" fmla="*/ 1419225 h 4496940"/>
                    <a:gd name="connsiteX119" fmla="*/ 230527 w 4519987"/>
                    <a:gd name="connsiteY119" fmla="*/ 1276350 h 4496940"/>
                    <a:gd name="connsiteX120" fmla="*/ 240052 w 4519987"/>
                    <a:gd name="connsiteY120" fmla="*/ 1247775 h 4496940"/>
                    <a:gd name="connsiteX121" fmla="*/ 268627 w 4519987"/>
                    <a:gd name="connsiteY121" fmla="*/ 1200150 h 4496940"/>
                    <a:gd name="connsiteX122" fmla="*/ 287677 w 4519987"/>
                    <a:gd name="connsiteY122" fmla="*/ 1152525 h 4496940"/>
                    <a:gd name="connsiteX123" fmla="*/ 316252 w 4519987"/>
                    <a:gd name="connsiteY123" fmla="*/ 1114425 h 4496940"/>
                    <a:gd name="connsiteX124" fmla="*/ 363877 w 4519987"/>
                    <a:gd name="connsiteY124" fmla="*/ 1038225 h 4496940"/>
                    <a:gd name="connsiteX125" fmla="*/ 382927 w 4519987"/>
                    <a:gd name="connsiteY125" fmla="*/ 1009650 h 4496940"/>
                    <a:gd name="connsiteX126" fmla="*/ 440077 w 4519987"/>
                    <a:gd name="connsiteY126" fmla="*/ 904875 h 4496940"/>
                    <a:gd name="connsiteX127" fmla="*/ 478177 w 4519987"/>
                    <a:gd name="connsiteY127" fmla="*/ 857250 h 4496940"/>
                    <a:gd name="connsiteX128" fmla="*/ 497227 w 4519987"/>
                    <a:gd name="connsiteY128" fmla="*/ 828675 h 4496940"/>
                    <a:gd name="connsiteX129" fmla="*/ 535327 w 4519987"/>
                    <a:gd name="connsiteY129" fmla="*/ 800100 h 4496940"/>
                    <a:gd name="connsiteX130" fmla="*/ 602002 w 4519987"/>
                    <a:gd name="connsiteY130" fmla="*/ 733425 h 4496940"/>
                    <a:gd name="connsiteX131" fmla="*/ 668677 w 4519987"/>
                    <a:gd name="connsiteY131" fmla="*/ 676275 h 4496940"/>
                    <a:gd name="connsiteX132" fmla="*/ 697252 w 4519987"/>
                    <a:gd name="connsiteY132" fmla="*/ 657225 h 4496940"/>
                    <a:gd name="connsiteX133" fmla="*/ 840127 w 4519987"/>
                    <a:gd name="connsiteY133" fmla="*/ 533400 h 4496940"/>
                    <a:gd name="connsiteX134" fmla="*/ 887752 w 4519987"/>
                    <a:gd name="connsiteY134" fmla="*/ 504825 h 4496940"/>
                    <a:gd name="connsiteX135" fmla="*/ 1167152 w 4519987"/>
                    <a:gd name="connsiteY135" fmla="*/ 311150 h 4496940"/>
                    <a:gd name="connsiteX136" fmla="*/ 1268752 w 4519987"/>
                    <a:gd name="connsiteY136" fmla="*/ 285750 h 4496940"/>
                    <a:gd name="connsiteX137" fmla="*/ 1411627 w 4519987"/>
                    <a:gd name="connsiteY137" fmla="*/ 190500 h 4496940"/>
                    <a:gd name="connsiteX138" fmla="*/ 1449727 w 4519987"/>
                    <a:gd name="connsiteY138" fmla="*/ 161925 h 4496940"/>
                    <a:gd name="connsiteX139" fmla="*/ 1525927 w 4519987"/>
                    <a:gd name="connsiteY139" fmla="*/ 152400 h 4496940"/>
                    <a:gd name="connsiteX140" fmla="*/ 1583077 w 4519987"/>
                    <a:gd name="connsiteY140" fmla="*/ 142875 h 4496940"/>
                    <a:gd name="connsiteX141" fmla="*/ 1716427 w 4519987"/>
                    <a:gd name="connsiteY141" fmla="*/ 123825 h 4496940"/>
                    <a:gd name="connsiteX142" fmla="*/ 1811677 w 4519987"/>
                    <a:gd name="connsiteY142" fmla="*/ 114300 h 4496940"/>
                    <a:gd name="connsiteX143" fmla="*/ 1859302 w 4519987"/>
                    <a:gd name="connsiteY143" fmla="*/ 104775 h 4496940"/>
                    <a:gd name="connsiteX144" fmla="*/ 1916452 w 4519987"/>
                    <a:gd name="connsiteY144" fmla="*/ 95250 h 4496940"/>
                    <a:gd name="connsiteX145" fmla="*/ 2030752 w 4519987"/>
                    <a:gd name="connsiteY145" fmla="*/ 66675 h 4496940"/>
                    <a:gd name="connsiteX146" fmla="*/ 2097427 w 4519987"/>
                    <a:gd name="connsiteY146" fmla="*/ 47625 h 4496940"/>
                    <a:gd name="connsiteX147" fmla="*/ 2164102 w 4519987"/>
                    <a:gd name="connsiteY147" fmla="*/ 38100 h 4496940"/>
                    <a:gd name="connsiteX148" fmla="*/ 2392702 w 4519987"/>
                    <a:gd name="connsiteY14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135777 w 4519987"/>
                    <a:gd name="connsiteY21" fmla="*/ 9334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02452 w 4519987"/>
                    <a:gd name="connsiteY24" fmla="*/ 1085850 h 4496940"/>
                    <a:gd name="connsiteX25" fmla="*/ 4250077 w 4519987"/>
                    <a:gd name="connsiteY25" fmla="*/ 1143000 h 4496940"/>
                    <a:gd name="connsiteX26" fmla="*/ 4259602 w 4519987"/>
                    <a:gd name="connsiteY26" fmla="*/ 1190625 h 4496940"/>
                    <a:gd name="connsiteX27" fmla="*/ 4307227 w 4519987"/>
                    <a:gd name="connsiteY27" fmla="*/ 1266825 h 4496940"/>
                    <a:gd name="connsiteX28" fmla="*/ 4345327 w 4519987"/>
                    <a:gd name="connsiteY28" fmla="*/ 1362075 h 4496940"/>
                    <a:gd name="connsiteX29" fmla="*/ 4373902 w 4519987"/>
                    <a:gd name="connsiteY29" fmla="*/ 1428750 h 4496940"/>
                    <a:gd name="connsiteX30" fmla="*/ 4392952 w 4519987"/>
                    <a:gd name="connsiteY30" fmla="*/ 1552575 h 4496940"/>
                    <a:gd name="connsiteX31" fmla="*/ 4402477 w 4519987"/>
                    <a:gd name="connsiteY31" fmla="*/ 1590675 h 4496940"/>
                    <a:gd name="connsiteX32" fmla="*/ 4431052 w 4519987"/>
                    <a:gd name="connsiteY32" fmla="*/ 1685925 h 4496940"/>
                    <a:gd name="connsiteX33" fmla="*/ 4519952 w 4519987"/>
                    <a:gd name="connsiteY33" fmla="*/ 2181225 h 4496940"/>
                    <a:gd name="connsiteX34" fmla="*/ 4446927 w 4519987"/>
                    <a:gd name="connsiteY34" fmla="*/ 2768600 h 4496940"/>
                    <a:gd name="connsiteX35" fmla="*/ 4383427 w 4519987"/>
                    <a:gd name="connsiteY35" fmla="*/ 2990850 h 4496940"/>
                    <a:gd name="connsiteX36" fmla="*/ 4278652 w 4519987"/>
                    <a:gd name="connsiteY36" fmla="*/ 3248025 h 4496940"/>
                    <a:gd name="connsiteX37" fmla="*/ 4259602 w 4519987"/>
                    <a:gd name="connsiteY37" fmla="*/ 3276600 h 4496940"/>
                    <a:gd name="connsiteX38" fmla="*/ 4221502 w 4519987"/>
                    <a:gd name="connsiteY38" fmla="*/ 3333750 h 4496940"/>
                    <a:gd name="connsiteX39" fmla="*/ 4211977 w 4519987"/>
                    <a:gd name="connsiteY39" fmla="*/ 3362325 h 4496940"/>
                    <a:gd name="connsiteX40" fmla="*/ 4183402 w 4519987"/>
                    <a:gd name="connsiteY40" fmla="*/ 3400425 h 4496940"/>
                    <a:gd name="connsiteX41" fmla="*/ 4164352 w 4519987"/>
                    <a:gd name="connsiteY41" fmla="*/ 3429000 h 4496940"/>
                    <a:gd name="connsiteX42" fmla="*/ 4088152 w 4519987"/>
                    <a:gd name="connsiteY42" fmla="*/ 3495675 h 4496940"/>
                    <a:gd name="connsiteX43" fmla="*/ 4059577 w 4519987"/>
                    <a:gd name="connsiteY43" fmla="*/ 3533775 h 4496940"/>
                    <a:gd name="connsiteX44" fmla="*/ 4002427 w 4519987"/>
                    <a:gd name="connsiteY44" fmla="*/ 3600450 h 4496940"/>
                    <a:gd name="connsiteX45" fmla="*/ 3983377 w 4519987"/>
                    <a:gd name="connsiteY45" fmla="*/ 3629025 h 4496940"/>
                    <a:gd name="connsiteX46" fmla="*/ 3954802 w 4519987"/>
                    <a:gd name="connsiteY46" fmla="*/ 3648075 h 4496940"/>
                    <a:gd name="connsiteX47" fmla="*/ 3907177 w 4519987"/>
                    <a:gd name="connsiteY47" fmla="*/ 3686175 h 4496940"/>
                    <a:gd name="connsiteX48" fmla="*/ 3869077 w 4519987"/>
                    <a:gd name="connsiteY48" fmla="*/ 3724275 h 4496940"/>
                    <a:gd name="connsiteX49" fmla="*/ 3792877 w 4519987"/>
                    <a:gd name="connsiteY49" fmla="*/ 3781425 h 4496940"/>
                    <a:gd name="connsiteX50" fmla="*/ 3783352 w 4519987"/>
                    <a:gd name="connsiteY50" fmla="*/ 3810000 h 4496940"/>
                    <a:gd name="connsiteX51" fmla="*/ 3745252 w 4519987"/>
                    <a:gd name="connsiteY51" fmla="*/ 3819525 h 4496940"/>
                    <a:gd name="connsiteX52" fmla="*/ 3678577 w 4519987"/>
                    <a:gd name="connsiteY52" fmla="*/ 3848100 h 4496940"/>
                    <a:gd name="connsiteX53" fmla="*/ 3659527 w 4519987"/>
                    <a:gd name="connsiteY53" fmla="*/ 3971925 h 4496940"/>
                    <a:gd name="connsiteX54" fmla="*/ 3630952 w 4519987"/>
                    <a:gd name="connsiteY54" fmla="*/ 4010025 h 4496940"/>
                    <a:gd name="connsiteX55" fmla="*/ 3621427 w 4519987"/>
                    <a:gd name="connsiteY55" fmla="*/ 4038600 h 4496940"/>
                    <a:gd name="connsiteX56" fmla="*/ 3554752 w 4519987"/>
                    <a:gd name="connsiteY56" fmla="*/ 4095750 h 4496940"/>
                    <a:gd name="connsiteX57" fmla="*/ 3516652 w 4519987"/>
                    <a:gd name="connsiteY57" fmla="*/ 4114800 h 4496940"/>
                    <a:gd name="connsiteX58" fmla="*/ 3497602 w 4519987"/>
                    <a:gd name="connsiteY58" fmla="*/ 4143375 h 4496940"/>
                    <a:gd name="connsiteX59" fmla="*/ 3383302 w 4519987"/>
                    <a:gd name="connsiteY59" fmla="*/ 4210050 h 4496940"/>
                    <a:gd name="connsiteX60" fmla="*/ 3335677 w 4519987"/>
                    <a:gd name="connsiteY60" fmla="*/ 4238625 h 4496940"/>
                    <a:gd name="connsiteX61" fmla="*/ 3288052 w 4519987"/>
                    <a:gd name="connsiteY61" fmla="*/ 4248150 h 4496940"/>
                    <a:gd name="connsiteX62" fmla="*/ 3240427 w 4519987"/>
                    <a:gd name="connsiteY62" fmla="*/ 4267200 h 4496940"/>
                    <a:gd name="connsiteX63" fmla="*/ 3068977 w 4519987"/>
                    <a:gd name="connsiteY63" fmla="*/ 4286250 h 4496940"/>
                    <a:gd name="connsiteX64" fmla="*/ 2935627 w 4519987"/>
                    <a:gd name="connsiteY64" fmla="*/ 4333875 h 4496940"/>
                    <a:gd name="connsiteX65" fmla="*/ 2811802 w 4519987"/>
                    <a:gd name="connsiteY65" fmla="*/ 4371975 h 4496940"/>
                    <a:gd name="connsiteX66" fmla="*/ 2745127 w 4519987"/>
                    <a:gd name="connsiteY66" fmla="*/ 4410075 h 4496940"/>
                    <a:gd name="connsiteX67" fmla="*/ 2697502 w 4519987"/>
                    <a:gd name="connsiteY67" fmla="*/ 4429125 h 4496940"/>
                    <a:gd name="connsiteX68" fmla="*/ 2640352 w 4519987"/>
                    <a:gd name="connsiteY68" fmla="*/ 4457700 h 4496940"/>
                    <a:gd name="connsiteX69" fmla="*/ 2583202 w 4519987"/>
                    <a:gd name="connsiteY69" fmla="*/ 4467225 h 4496940"/>
                    <a:gd name="connsiteX70" fmla="*/ 2545102 w 4519987"/>
                    <a:gd name="connsiteY70" fmla="*/ 4486275 h 4496940"/>
                    <a:gd name="connsiteX71" fmla="*/ 2306977 w 4519987"/>
                    <a:gd name="connsiteY71" fmla="*/ 4476750 h 4496940"/>
                    <a:gd name="connsiteX72" fmla="*/ 2202202 w 4519987"/>
                    <a:gd name="connsiteY72" fmla="*/ 4457700 h 4496940"/>
                    <a:gd name="connsiteX73" fmla="*/ 2126002 w 4519987"/>
                    <a:gd name="connsiteY73" fmla="*/ 4429125 h 4496940"/>
                    <a:gd name="connsiteX74" fmla="*/ 1935502 w 4519987"/>
                    <a:gd name="connsiteY74" fmla="*/ 4400550 h 4496940"/>
                    <a:gd name="connsiteX75" fmla="*/ 1821202 w 4519987"/>
                    <a:gd name="connsiteY75" fmla="*/ 4371975 h 4496940"/>
                    <a:gd name="connsiteX76" fmla="*/ 1754527 w 4519987"/>
                    <a:gd name="connsiteY76" fmla="*/ 4352925 h 4496940"/>
                    <a:gd name="connsiteX77" fmla="*/ 1687852 w 4519987"/>
                    <a:gd name="connsiteY77" fmla="*/ 4343400 h 4496940"/>
                    <a:gd name="connsiteX78" fmla="*/ 1573552 w 4519987"/>
                    <a:gd name="connsiteY78" fmla="*/ 4305300 h 4496940"/>
                    <a:gd name="connsiteX79" fmla="*/ 1402102 w 4519987"/>
                    <a:gd name="connsiteY79" fmla="*/ 4276725 h 4496940"/>
                    <a:gd name="connsiteX80" fmla="*/ 1287802 w 4519987"/>
                    <a:gd name="connsiteY80" fmla="*/ 4229100 h 4496940"/>
                    <a:gd name="connsiteX81" fmla="*/ 1221127 w 4519987"/>
                    <a:gd name="connsiteY81" fmla="*/ 4200525 h 4496940"/>
                    <a:gd name="connsiteX82" fmla="*/ 1144927 w 4519987"/>
                    <a:gd name="connsiteY82" fmla="*/ 4171950 h 4496940"/>
                    <a:gd name="connsiteX83" fmla="*/ 1087777 w 4519987"/>
                    <a:gd name="connsiteY83" fmla="*/ 4143375 h 4496940"/>
                    <a:gd name="connsiteX84" fmla="*/ 1030627 w 4519987"/>
                    <a:gd name="connsiteY84" fmla="*/ 4124325 h 4496940"/>
                    <a:gd name="connsiteX85" fmla="*/ 925852 w 4519987"/>
                    <a:gd name="connsiteY85" fmla="*/ 4067175 h 4496940"/>
                    <a:gd name="connsiteX86" fmla="*/ 830602 w 4519987"/>
                    <a:gd name="connsiteY86" fmla="*/ 3981450 h 4496940"/>
                    <a:gd name="connsiteX87" fmla="*/ 763927 w 4519987"/>
                    <a:gd name="connsiteY87" fmla="*/ 3914775 h 4496940"/>
                    <a:gd name="connsiteX88" fmla="*/ 725827 w 4519987"/>
                    <a:gd name="connsiteY88" fmla="*/ 3876675 h 4496940"/>
                    <a:gd name="connsiteX89" fmla="*/ 697252 w 4519987"/>
                    <a:gd name="connsiteY89" fmla="*/ 3838575 h 4496940"/>
                    <a:gd name="connsiteX90" fmla="*/ 640102 w 4519987"/>
                    <a:gd name="connsiteY90" fmla="*/ 3781425 h 4496940"/>
                    <a:gd name="connsiteX91" fmla="*/ 611527 w 4519987"/>
                    <a:gd name="connsiteY91" fmla="*/ 3733800 h 4496940"/>
                    <a:gd name="connsiteX92" fmla="*/ 554377 w 4519987"/>
                    <a:gd name="connsiteY92" fmla="*/ 3657600 h 4496940"/>
                    <a:gd name="connsiteX93" fmla="*/ 525802 w 4519987"/>
                    <a:gd name="connsiteY93" fmla="*/ 3609975 h 4496940"/>
                    <a:gd name="connsiteX94" fmla="*/ 497227 w 4519987"/>
                    <a:gd name="connsiteY94" fmla="*/ 3552825 h 4496940"/>
                    <a:gd name="connsiteX95" fmla="*/ 440077 w 4519987"/>
                    <a:gd name="connsiteY95" fmla="*/ 3495675 h 4496940"/>
                    <a:gd name="connsiteX96" fmla="*/ 411502 w 4519987"/>
                    <a:gd name="connsiteY96" fmla="*/ 3448050 h 4496940"/>
                    <a:gd name="connsiteX97" fmla="*/ 278152 w 4519987"/>
                    <a:gd name="connsiteY97" fmla="*/ 3257550 h 4496940"/>
                    <a:gd name="connsiteX98" fmla="*/ 249577 w 4519987"/>
                    <a:gd name="connsiteY98" fmla="*/ 3200400 h 4496940"/>
                    <a:gd name="connsiteX99" fmla="*/ 240052 w 4519987"/>
                    <a:gd name="connsiteY99" fmla="*/ 3162300 h 4496940"/>
                    <a:gd name="connsiteX100" fmla="*/ 221002 w 4519987"/>
                    <a:gd name="connsiteY100" fmla="*/ 3105150 h 4496940"/>
                    <a:gd name="connsiteX101" fmla="*/ 173377 w 4519987"/>
                    <a:gd name="connsiteY101" fmla="*/ 3019425 h 4496940"/>
                    <a:gd name="connsiteX102" fmla="*/ 144802 w 4519987"/>
                    <a:gd name="connsiteY102" fmla="*/ 2924175 h 4496940"/>
                    <a:gd name="connsiteX103" fmla="*/ 68602 w 4519987"/>
                    <a:gd name="connsiteY103" fmla="*/ 2724150 h 4496940"/>
                    <a:gd name="connsiteX104" fmla="*/ 49552 w 4519987"/>
                    <a:gd name="connsiteY104" fmla="*/ 2638425 h 4496940"/>
                    <a:gd name="connsiteX105" fmla="*/ 40027 w 4519987"/>
                    <a:gd name="connsiteY105" fmla="*/ 2562225 h 4496940"/>
                    <a:gd name="connsiteX106" fmla="*/ 30502 w 4519987"/>
                    <a:gd name="connsiteY106" fmla="*/ 2514600 h 4496940"/>
                    <a:gd name="connsiteX107" fmla="*/ 11452 w 4519987"/>
                    <a:gd name="connsiteY107" fmla="*/ 2400300 h 4496940"/>
                    <a:gd name="connsiteX108" fmla="*/ 20977 w 4519987"/>
                    <a:gd name="connsiteY108" fmla="*/ 1905000 h 4496940"/>
                    <a:gd name="connsiteX109" fmla="*/ 30502 w 4519987"/>
                    <a:gd name="connsiteY109" fmla="*/ 1838325 h 4496940"/>
                    <a:gd name="connsiteX110" fmla="*/ 49552 w 4519987"/>
                    <a:gd name="connsiteY110" fmla="*/ 1781175 h 4496940"/>
                    <a:gd name="connsiteX111" fmla="*/ 59077 w 4519987"/>
                    <a:gd name="connsiteY111" fmla="*/ 1743075 h 4496940"/>
                    <a:gd name="connsiteX112" fmla="*/ 78127 w 4519987"/>
                    <a:gd name="connsiteY112" fmla="*/ 1685925 h 4496940"/>
                    <a:gd name="connsiteX113" fmla="*/ 87652 w 4519987"/>
                    <a:gd name="connsiteY113" fmla="*/ 1638300 h 4496940"/>
                    <a:gd name="connsiteX114" fmla="*/ 106702 w 4519987"/>
                    <a:gd name="connsiteY114" fmla="*/ 1590675 h 4496940"/>
                    <a:gd name="connsiteX115" fmla="*/ 135277 w 4519987"/>
                    <a:gd name="connsiteY115" fmla="*/ 1504950 h 4496940"/>
                    <a:gd name="connsiteX116" fmla="*/ 154327 w 4519987"/>
                    <a:gd name="connsiteY116" fmla="*/ 1419225 h 4496940"/>
                    <a:gd name="connsiteX117" fmla="*/ 230527 w 4519987"/>
                    <a:gd name="connsiteY117" fmla="*/ 1276350 h 4496940"/>
                    <a:gd name="connsiteX118" fmla="*/ 240052 w 4519987"/>
                    <a:gd name="connsiteY118" fmla="*/ 1247775 h 4496940"/>
                    <a:gd name="connsiteX119" fmla="*/ 268627 w 4519987"/>
                    <a:gd name="connsiteY119" fmla="*/ 1200150 h 4496940"/>
                    <a:gd name="connsiteX120" fmla="*/ 287677 w 4519987"/>
                    <a:gd name="connsiteY120" fmla="*/ 1152525 h 4496940"/>
                    <a:gd name="connsiteX121" fmla="*/ 316252 w 4519987"/>
                    <a:gd name="connsiteY121" fmla="*/ 1114425 h 4496940"/>
                    <a:gd name="connsiteX122" fmla="*/ 363877 w 4519987"/>
                    <a:gd name="connsiteY122" fmla="*/ 1038225 h 4496940"/>
                    <a:gd name="connsiteX123" fmla="*/ 382927 w 4519987"/>
                    <a:gd name="connsiteY123" fmla="*/ 1009650 h 4496940"/>
                    <a:gd name="connsiteX124" fmla="*/ 440077 w 4519987"/>
                    <a:gd name="connsiteY124" fmla="*/ 904875 h 4496940"/>
                    <a:gd name="connsiteX125" fmla="*/ 478177 w 4519987"/>
                    <a:gd name="connsiteY125" fmla="*/ 857250 h 4496940"/>
                    <a:gd name="connsiteX126" fmla="*/ 497227 w 4519987"/>
                    <a:gd name="connsiteY126" fmla="*/ 828675 h 4496940"/>
                    <a:gd name="connsiteX127" fmla="*/ 535327 w 4519987"/>
                    <a:gd name="connsiteY127" fmla="*/ 800100 h 4496940"/>
                    <a:gd name="connsiteX128" fmla="*/ 602002 w 4519987"/>
                    <a:gd name="connsiteY128" fmla="*/ 733425 h 4496940"/>
                    <a:gd name="connsiteX129" fmla="*/ 668677 w 4519987"/>
                    <a:gd name="connsiteY129" fmla="*/ 676275 h 4496940"/>
                    <a:gd name="connsiteX130" fmla="*/ 697252 w 4519987"/>
                    <a:gd name="connsiteY130" fmla="*/ 657225 h 4496940"/>
                    <a:gd name="connsiteX131" fmla="*/ 840127 w 4519987"/>
                    <a:gd name="connsiteY131" fmla="*/ 533400 h 4496940"/>
                    <a:gd name="connsiteX132" fmla="*/ 887752 w 4519987"/>
                    <a:gd name="connsiteY132" fmla="*/ 504825 h 4496940"/>
                    <a:gd name="connsiteX133" fmla="*/ 1167152 w 4519987"/>
                    <a:gd name="connsiteY133" fmla="*/ 311150 h 4496940"/>
                    <a:gd name="connsiteX134" fmla="*/ 1268752 w 4519987"/>
                    <a:gd name="connsiteY134" fmla="*/ 285750 h 4496940"/>
                    <a:gd name="connsiteX135" fmla="*/ 1411627 w 4519987"/>
                    <a:gd name="connsiteY135" fmla="*/ 190500 h 4496940"/>
                    <a:gd name="connsiteX136" fmla="*/ 1449727 w 4519987"/>
                    <a:gd name="connsiteY136" fmla="*/ 161925 h 4496940"/>
                    <a:gd name="connsiteX137" fmla="*/ 1525927 w 4519987"/>
                    <a:gd name="connsiteY137" fmla="*/ 152400 h 4496940"/>
                    <a:gd name="connsiteX138" fmla="*/ 1583077 w 4519987"/>
                    <a:gd name="connsiteY138" fmla="*/ 142875 h 4496940"/>
                    <a:gd name="connsiteX139" fmla="*/ 1716427 w 4519987"/>
                    <a:gd name="connsiteY139" fmla="*/ 123825 h 4496940"/>
                    <a:gd name="connsiteX140" fmla="*/ 1811677 w 4519987"/>
                    <a:gd name="connsiteY140" fmla="*/ 114300 h 4496940"/>
                    <a:gd name="connsiteX141" fmla="*/ 1859302 w 4519987"/>
                    <a:gd name="connsiteY141" fmla="*/ 104775 h 4496940"/>
                    <a:gd name="connsiteX142" fmla="*/ 1916452 w 4519987"/>
                    <a:gd name="connsiteY142" fmla="*/ 95250 h 4496940"/>
                    <a:gd name="connsiteX143" fmla="*/ 2030752 w 4519987"/>
                    <a:gd name="connsiteY143" fmla="*/ 66675 h 4496940"/>
                    <a:gd name="connsiteX144" fmla="*/ 2097427 w 4519987"/>
                    <a:gd name="connsiteY144" fmla="*/ 47625 h 4496940"/>
                    <a:gd name="connsiteX145" fmla="*/ 2164102 w 4519987"/>
                    <a:gd name="connsiteY145" fmla="*/ 38100 h 4496940"/>
                    <a:gd name="connsiteX146" fmla="*/ 2392702 w 4519987"/>
                    <a:gd name="connsiteY14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50077 w 4519987"/>
                    <a:gd name="connsiteY24" fmla="*/ 1143000 h 4496940"/>
                    <a:gd name="connsiteX25" fmla="*/ 4259602 w 4519987"/>
                    <a:gd name="connsiteY25" fmla="*/ 1190625 h 4496940"/>
                    <a:gd name="connsiteX26" fmla="*/ 4307227 w 4519987"/>
                    <a:gd name="connsiteY26" fmla="*/ 1266825 h 4496940"/>
                    <a:gd name="connsiteX27" fmla="*/ 4345327 w 4519987"/>
                    <a:gd name="connsiteY27" fmla="*/ 1362075 h 4496940"/>
                    <a:gd name="connsiteX28" fmla="*/ 4373902 w 4519987"/>
                    <a:gd name="connsiteY28" fmla="*/ 1428750 h 4496940"/>
                    <a:gd name="connsiteX29" fmla="*/ 4392952 w 4519987"/>
                    <a:gd name="connsiteY29" fmla="*/ 1552575 h 4496940"/>
                    <a:gd name="connsiteX30" fmla="*/ 4402477 w 4519987"/>
                    <a:gd name="connsiteY30" fmla="*/ 1590675 h 4496940"/>
                    <a:gd name="connsiteX31" fmla="*/ 4431052 w 4519987"/>
                    <a:gd name="connsiteY31" fmla="*/ 1685925 h 4496940"/>
                    <a:gd name="connsiteX32" fmla="*/ 4519952 w 4519987"/>
                    <a:gd name="connsiteY32" fmla="*/ 2181225 h 4496940"/>
                    <a:gd name="connsiteX33" fmla="*/ 4446927 w 4519987"/>
                    <a:gd name="connsiteY33" fmla="*/ 2768600 h 4496940"/>
                    <a:gd name="connsiteX34" fmla="*/ 4383427 w 4519987"/>
                    <a:gd name="connsiteY34" fmla="*/ 2990850 h 4496940"/>
                    <a:gd name="connsiteX35" fmla="*/ 4278652 w 4519987"/>
                    <a:gd name="connsiteY35" fmla="*/ 3248025 h 4496940"/>
                    <a:gd name="connsiteX36" fmla="*/ 4259602 w 4519987"/>
                    <a:gd name="connsiteY36" fmla="*/ 3276600 h 4496940"/>
                    <a:gd name="connsiteX37" fmla="*/ 4221502 w 4519987"/>
                    <a:gd name="connsiteY37" fmla="*/ 3333750 h 4496940"/>
                    <a:gd name="connsiteX38" fmla="*/ 4211977 w 4519987"/>
                    <a:gd name="connsiteY38" fmla="*/ 3362325 h 4496940"/>
                    <a:gd name="connsiteX39" fmla="*/ 4183402 w 4519987"/>
                    <a:gd name="connsiteY39" fmla="*/ 3400425 h 4496940"/>
                    <a:gd name="connsiteX40" fmla="*/ 4164352 w 4519987"/>
                    <a:gd name="connsiteY40" fmla="*/ 3429000 h 4496940"/>
                    <a:gd name="connsiteX41" fmla="*/ 4088152 w 4519987"/>
                    <a:gd name="connsiteY41" fmla="*/ 3495675 h 4496940"/>
                    <a:gd name="connsiteX42" fmla="*/ 4059577 w 4519987"/>
                    <a:gd name="connsiteY42" fmla="*/ 3533775 h 4496940"/>
                    <a:gd name="connsiteX43" fmla="*/ 4002427 w 4519987"/>
                    <a:gd name="connsiteY43" fmla="*/ 3600450 h 4496940"/>
                    <a:gd name="connsiteX44" fmla="*/ 3983377 w 4519987"/>
                    <a:gd name="connsiteY44" fmla="*/ 3629025 h 4496940"/>
                    <a:gd name="connsiteX45" fmla="*/ 3954802 w 4519987"/>
                    <a:gd name="connsiteY45" fmla="*/ 3648075 h 4496940"/>
                    <a:gd name="connsiteX46" fmla="*/ 3907177 w 4519987"/>
                    <a:gd name="connsiteY46" fmla="*/ 3686175 h 4496940"/>
                    <a:gd name="connsiteX47" fmla="*/ 3869077 w 4519987"/>
                    <a:gd name="connsiteY47" fmla="*/ 3724275 h 4496940"/>
                    <a:gd name="connsiteX48" fmla="*/ 3792877 w 4519987"/>
                    <a:gd name="connsiteY48" fmla="*/ 3781425 h 4496940"/>
                    <a:gd name="connsiteX49" fmla="*/ 3783352 w 4519987"/>
                    <a:gd name="connsiteY49" fmla="*/ 3810000 h 4496940"/>
                    <a:gd name="connsiteX50" fmla="*/ 3745252 w 4519987"/>
                    <a:gd name="connsiteY50" fmla="*/ 3819525 h 4496940"/>
                    <a:gd name="connsiteX51" fmla="*/ 3678577 w 4519987"/>
                    <a:gd name="connsiteY51" fmla="*/ 3848100 h 4496940"/>
                    <a:gd name="connsiteX52" fmla="*/ 3659527 w 4519987"/>
                    <a:gd name="connsiteY52" fmla="*/ 3971925 h 4496940"/>
                    <a:gd name="connsiteX53" fmla="*/ 3630952 w 4519987"/>
                    <a:gd name="connsiteY53" fmla="*/ 4010025 h 4496940"/>
                    <a:gd name="connsiteX54" fmla="*/ 3621427 w 4519987"/>
                    <a:gd name="connsiteY54" fmla="*/ 4038600 h 4496940"/>
                    <a:gd name="connsiteX55" fmla="*/ 3554752 w 4519987"/>
                    <a:gd name="connsiteY55" fmla="*/ 4095750 h 4496940"/>
                    <a:gd name="connsiteX56" fmla="*/ 3516652 w 4519987"/>
                    <a:gd name="connsiteY56" fmla="*/ 4114800 h 4496940"/>
                    <a:gd name="connsiteX57" fmla="*/ 3497602 w 4519987"/>
                    <a:gd name="connsiteY57" fmla="*/ 4143375 h 4496940"/>
                    <a:gd name="connsiteX58" fmla="*/ 3383302 w 4519987"/>
                    <a:gd name="connsiteY58" fmla="*/ 4210050 h 4496940"/>
                    <a:gd name="connsiteX59" fmla="*/ 3335677 w 4519987"/>
                    <a:gd name="connsiteY59" fmla="*/ 4238625 h 4496940"/>
                    <a:gd name="connsiteX60" fmla="*/ 3288052 w 4519987"/>
                    <a:gd name="connsiteY60" fmla="*/ 4248150 h 4496940"/>
                    <a:gd name="connsiteX61" fmla="*/ 3240427 w 4519987"/>
                    <a:gd name="connsiteY61" fmla="*/ 4267200 h 4496940"/>
                    <a:gd name="connsiteX62" fmla="*/ 3068977 w 4519987"/>
                    <a:gd name="connsiteY62" fmla="*/ 4286250 h 4496940"/>
                    <a:gd name="connsiteX63" fmla="*/ 2935627 w 4519987"/>
                    <a:gd name="connsiteY63" fmla="*/ 4333875 h 4496940"/>
                    <a:gd name="connsiteX64" fmla="*/ 2811802 w 4519987"/>
                    <a:gd name="connsiteY64" fmla="*/ 4371975 h 4496940"/>
                    <a:gd name="connsiteX65" fmla="*/ 2745127 w 4519987"/>
                    <a:gd name="connsiteY65" fmla="*/ 4410075 h 4496940"/>
                    <a:gd name="connsiteX66" fmla="*/ 2697502 w 4519987"/>
                    <a:gd name="connsiteY66" fmla="*/ 4429125 h 4496940"/>
                    <a:gd name="connsiteX67" fmla="*/ 2640352 w 4519987"/>
                    <a:gd name="connsiteY67" fmla="*/ 4457700 h 4496940"/>
                    <a:gd name="connsiteX68" fmla="*/ 2583202 w 4519987"/>
                    <a:gd name="connsiteY68" fmla="*/ 4467225 h 4496940"/>
                    <a:gd name="connsiteX69" fmla="*/ 2545102 w 4519987"/>
                    <a:gd name="connsiteY69" fmla="*/ 4486275 h 4496940"/>
                    <a:gd name="connsiteX70" fmla="*/ 2306977 w 4519987"/>
                    <a:gd name="connsiteY70" fmla="*/ 4476750 h 4496940"/>
                    <a:gd name="connsiteX71" fmla="*/ 2202202 w 4519987"/>
                    <a:gd name="connsiteY71" fmla="*/ 4457700 h 4496940"/>
                    <a:gd name="connsiteX72" fmla="*/ 2126002 w 4519987"/>
                    <a:gd name="connsiteY72" fmla="*/ 4429125 h 4496940"/>
                    <a:gd name="connsiteX73" fmla="*/ 1935502 w 4519987"/>
                    <a:gd name="connsiteY73" fmla="*/ 4400550 h 4496940"/>
                    <a:gd name="connsiteX74" fmla="*/ 1821202 w 4519987"/>
                    <a:gd name="connsiteY74" fmla="*/ 4371975 h 4496940"/>
                    <a:gd name="connsiteX75" fmla="*/ 1754527 w 4519987"/>
                    <a:gd name="connsiteY75" fmla="*/ 4352925 h 4496940"/>
                    <a:gd name="connsiteX76" fmla="*/ 1687852 w 4519987"/>
                    <a:gd name="connsiteY76" fmla="*/ 4343400 h 4496940"/>
                    <a:gd name="connsiteX77" fmla="*/ 1573552 w 4519987"/>
                    <a:gd name="connsiteY77" fmla="*/ 4305300 h 4496940"/>
                    <a:gd name="connsiteX78" fmla="*/ 1402102 w 4519987"/>
                    <a:gd name="connsiteY78" fmla="*/ 4276725 h 4496940"/>
                    <a:gd name="connsiteX79" fmla="*/ 1287802 w 4519987"/>
                    <a:gd name="connsiteY79" fmla="*/ 4229100 h 4496940"/>
                    <a:gd name="connsiteX80" fmla="*/ 1221127 w 4519987"/>
                    <a:gd name="connsiteY80" fmla="*/ 4200525 h 4496940"/>
                    <a:gd name="connsiteX81" fmla="*/ 1144927 w 4519987"/>
                    <a:gd name="connsiteY81" fmla="*/ 4171950 h 4496940"/>
                    <a:gd name="connsiteX82" fmla="*/ 1087777 w 4519987"/>
                    <a:gd name="connsiteY82" fmla="*/ 4143375 h 4496940"/>
                    <a:gd name="connsiteX83" fmla="*/ 1030627 w 4519987"/>
                    <a:gd name="connsiteY83" fmla="*/ 4124325 h 4496940"/>
                    <a:gd name="connsiteX84" fmla="*/ 925852 w 4519987"/>
                    <a:gd name="connsiteY84" fmla="*/ 4067175 h 4496940"/>
                    <a:gd name="connsiteX85" fmla="*/ 830602 w 4519987"/>
                    <a:gd name="connsiteY85" fmla="*/ 3981450 h 4496940"/>
                    <a:gd name="connsiteX86" fmla="*/ 763927 w 4519987"/>
                    <a:gd name="connsiteY86" fmla="*/ 3914775 h 4496940"/>
                    <a:gd name="connsiteX87" fmla="*/ 725827 w 4519987"/>
                    <a:gd name="connsiteY87" fmla="*/ 3876675 h 4496940"/>
                    <a:gd name="connsiteX88" fmla="*/ 697252 w 4519987"/>
                    <a:gd name="connsiteY88" fmla="*/ 3838575 h 4496940"/>
                    <a:gd name="connsiteX89" fmla="*/ 640102 w 4519987"/>
                    <a:gd name="connsiteY89" fmla="*/ 3781425 h 4496940"/>
                    <a:gd name="connsiteX90" fmla="*/ 611527 w 4519987"/>
                    <a:gd name="connsiteY90" fmla="*/ 3733800 h 4496940"/>
                    <a:gd name="connsiteX91" fmla="*/ 554377 w 4519987"/>
                    <a:gd name="connsiteY91" fmla="*/ 3657600 h 4496940"/>
                    <a:gd name="connsiteX92" fmla="*/ 525802 w 4519987"/>
                    <a:gd name="connsiteY92" fmla="*/ 3609975 h 4496940"/>
                    <a:gd name="connsiteX93" fmla="*/ 497227 w 4519987"/>
                    <a:gd name="connsiteY93" fmla="*/ 3552825 h 4496940"/>
                    <a:gd name="connsiteX94" fmla="*/ 440077 w 4519987"/>
                    <a:gd name="connsiteY94" fmla="*/ 3495675 h 4496940"/>
                    <a:gd name="connsiteX95" fmla="*/ 411502 w 4519987"/>
                    <a:gd name="connsiteY95" fmla="*/ 3448050 h 4496940"/>
                    <a:gd name="connsiteX96" fmla="*/ 278152 w 4519987"/>
                    <a:gd name="connsiteY96" fmla="*/ 3257550 h 4496940"/>
                    <a:gd name="connsiteX97" fmla="*/ 249577 w 4519987"/>
                    <a:gd name="connsiteY97" fmla="*/ 3200400 h 4496940"/>
                    <a:gd name="connsiteX98" fmla="*/ 240052 w 4519987"/>
                    <a:gd name="connsiteY98" fmla="*/ 3162300 h 4496940"/>
                    <a:gd name="connsiteX99" fmla="*/ 221002 w 4519987"/>
                    <a:gd name="connsiteY99" fmla="*/ 3105150 h 4496940"/>
                    <a:gd name="connsiteX100" fmla="*/ 173377 w 4519987"/>
                    <a:gd name="connsiteY100" fmla="*/ 3019425 h 4496940"/>
                    <a:gd name="connsiteX101" fmla="*/ 144802 w 4519987"/>
                    <a:gd name="connsiteY101" fmla="*/ 2924175 h 4496940"/>
                    <a:gd name="connsiteX102" fmla="*/ 68602 w 4519987"/>
                    <a:gd name="connsiteY102" fmla="*/ 2724150 h 4496940"/>
                    <a:gd name="connsiteX103" fmla="*/ 49552 w 4519987"/>
                    <a:gd name="connsiteY103" fmla="*/ 2638425 h 4496940"/>
                    <a:gd name="connsiteX104" fmla="*/ 40027 w 4519987"/>
                    <a:gd name="connsiteY104" fmla="*/ 2562225 h 4496940"/>
                    <a:gd name="connsiteX105" fmla="*/ 30502 w 4519987"/>
                    <a:gd name="connsiteY105" fmla="*/ 2514600 h 4496940"/>
                    <a:gd name="connsiteX106" fmla="*/ 11452 w 4519987"/>
                    <a:gd name="connsiteY106" fmla="*/ 2400300 h 4496940"/>
                    <a:gd name="connsiteX107" fmla="*/ 20977 w 4519987"/>
                    <a:gd name="connsiteY107" fmla="*/ 1905000 h 4496940"/>
                    <a:gd name="connsiteX108" fmla="*/ 30502 w 4519987"/>
                    <a:gd name="connsiteY108" fmla="*/ 1838325 h 4496940"/>
                    <a:gd name="connsiteX109" fmla="*/ 49552 w 4519987"/>
                    <a:gd name="connsiteY109" fmla="*/ 1781175 h 4496940"/>
                    <a:gd name="connsiteX110" fmla="*/ 59077 w 4519987"/>
                    <a:gd name="connsiteY110" fmla="*/ 1743075 h 4496940"/>
                    <a:gd name="connsiteX111" fmla="*/ 78127 w 4519987"/>
                    <a:gd name="connsiteY111" fmla="*/ 1685925 h 4496940"/>
                    <a:gd name="connsiteX112" fmla="*/ 87652 w 4519987"/>
                    <a:gd name="connsiteY112" fmla="*/ 1638300 h 4496940"/>
                    <a:gd name="connsiteX113" fmla="*/ 106702 w 4519987"/>
                    <a:gd name="connsiteY113" fmla="*/ 1590675 h 4496940"/>
                    <a:gd name="connsiteX114" fmla="*/ 135277 w 4519987"/>
                    <a:gd name="connsiteY114" fmla="*/ 1504950 h 4496940"/>
                    <a:gd name="connsiteX115" fmla="*/ 154327 w 4519987"/>
                    <a:gd name="connsiteY115" fmla="*/ 1419225 h 4496940"/>
                    <a:gd name="connsiteX116" fmla="*/ 230527 w 4519987"/>
                    <a:gd name="connsiteY116" fmla="*/ 1276350 h 4496940"/>
                    <a:gd name="connsiteX117" fmla="*/ 240052 w 4519987"/>
                    <a:gd name="connsiteY117" fmla="*/ 1247775 h 4496940"/>
                    <a:gd name="connsiteX118" fmla="*/ 268627 w 4519987"/>
                    <a:gd name="connsiteY118" fmla="*/ 1200150 h 4496940"/>
                    <a:gd name="connsiteX119" fmla="*/ 287677 w 4519987"/>
                    <a:gd name="connsiteY119" fmla="*/ 1152525 h 4496940"/>
                    <a:gd name="connsiteX120" fmla="*/ 316252 w 4519987"/>
                    <a:gd name="connsiteY120" fmla="*/ 1114425 h 4496940"/>
                    <a:gd name="connsiteX121" fmla="*/ 363877 w 4519987"/>
                    <a:gd name="connsiteY121" fmla="*/ 1038225 h 4496940"/>
                    <a:gd name="connsiteX122" fmla="*/ 382927 w 4519987"/>
                    <a:gd name="connsiteY122" fmla="*/ 1009650 h 4496940"/>
                    <a:gd name="connsiteX123" fmla="*/ 440077 w 4519987"/>
                    <a:gd name="connsiteY123" fmla="*/ 904875 h 4496940"/>
                    <a:gd name="connsiteX124" fmla="*/ 478177 w 4519987"/>
                    <a:gd name="connsiteY124" fmla="*/ 857250 h 4496940"/>
                    <a:gd name="connsiteX125" fmla="*/ 497227 w 4519987"/>
                    <a:gd name="connsiteY125" fmla="*/ 828675 h 4496940"/>
                    <a:gd name="connsiteX126" fmla="*/ 535327 w 4519987"/>
                    <a:gd name="connsiteY126" fmla="*/ 800100 h 4496940"/>
                    <a:gd name="connsiteX127" fmla="*/ 602002 w 4519987"/>
                    <a:gd name="connsiteY127" fmla="*/ 733425 h 4496940"/>
                    <a:gd name="connsiteX128" fmla="*/ 668677 w 4519987"/>
                    <a:gd name="connsiteY128" fmla="*/ 676275 h 4496940"/>
                    <a:gd name="connsiteX129" fmla="*/ 697252 w 4519987"/>
                    <a:gd name="connsiteY129" fmla="*/ 657225 h 4496940"/>
                    <a:gd name="connsiteX130" fmla="*/ 840127 w 4519987"/>
                    <a:gd name="connsiteY130" fmla="*/ 533400 h 4496940"/>
                    <a:gd name="connsiteX131" fmla="*/ 887752 w 4519987"/>
                    <a:gd name="connsiteY131" fmla="*/ 504825 h 4496940"/>
                    <a:gd name="connsiteX132" fmla="*/ 1167152 w 4519987"/>
                    <a:gd name="connsiteY132" fmla="*/ 311150 h 4496940"/>
                    <a:gd name="connsiteX133" fmla="*/ 1268752 w 4519987"/>
                    <a:gd name="connsiteY133" fmla="*/ 285750 h 4496940"/>
                    <a:gd name="connsiteX134" fmla="*/ 1411627 w 4519987"/>
                    <a:gd name="connsiteY134" fmla="*/ 190500 h 4496940"/>
                    <a:gd name="connsiteX135" fmla="*/ 1449727 w 4519987"/>
                    <a:gd name="connsiteY135" fmla="*/ 161925 h 4496940"/>
                    <a:gd name="connsiteX136" fmla="*/ 1525927 w 4519987"/>
                    <a:gd name="connsiteY136" fmla="*/ 152400 h 4496940"/>
                    <a:gd name="connsiteX137" fmla="*/ 1583077 w 4519987"/>
                    <a:gd name="connsiteY137" fmla="*/ 142875 h 4496940"/>
                    <a:gd name="connsiteX138" fmla="*/ 1716427 w 4519987"/>
                    <a:gd name="connsiteY138" fmla="*/ 123825 h 4496940"/>
                    <a:gd name="connsiteX139" fmla="*/ 1811677 w 4519987"/>
                    <a:gd name="connsiteY139" fmla="*/ 114300 h 4496940"/>
                    <a:gd name="connsiteX140" fmla="*/ 1859302 w 4519987"/>
                    <a:gd name="connsiteY140" fmla="*/ 104775 h 4496940"/>
                    <a:gd name="connsiteX141" fmla="*/ 1916452 w 4519987"/>
                    <a:gd name="connsiteY141" fmla="*/ 95250 h 4496940"/>
                    <a:gd name="connsiteX142" fmla="*/ 2030752 w 4519987"/>
                    <a:gd name="connsiteY142" fmla="*/ 66675 h 4496940"/>
                    <a:gd name="connsiteX143" fmla="*/ 2097427 w 4519987"/>
                    <a:gd name="connsiteY143" fmla="*/ 47625 h 4496940"/>
                    <a:gd name="connsiteX144" fmla="*/ 2164102 w 4519987"/>
                    <a:gd name="connsiteY144" fmla="*/ 38100 h 4496940"/>
                    <a:gd name="connsiteX145" fmla="*/ 2392702 w 4519987"/>
                    <a:gd name="connsiteY14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259602 w 4519987"/>
                    <a:gd name="connsiteY24" fmla="*/ 1190625 h 4496940"/>
                    <a:gd name="connsiteX25" fmla="*/ 4307227 w 4519987"/>
                    <a:gd name="connsiteY25" fmla="*/ 1266825 h 4496940"/>
                    <a:gd name="connsiteX26" fmla="*/ 4345327 w 4519987"/>
                    <a:gd name="connsiteY26" fmla="*/ 1362075 h 4496940"/>
                    <a:gd name="connsiteX27" fmla="*/ 4373902 w 4519987"/>
                    <a:gd name="connsiteY27" fmla="*/ 1428750 h 4496940"/>
                    <a:gd name="connsiteX28" fmla="*/ 4392952 w 4519987"/>
                    <a:gd name="connsiteY28" fmla="*/ 1552575 h 4496940"/>
                    <a:gd name="connsiteX29" fmla="*/ 4402477 w 4519987"/>
                    <a:gd name="connsiteY29" fmla="*/ 1590675 h 4496940"/>
                    <a:gd name="connsiteX30" fmla="*/ 4431052 w 4519987"/>
                    <a:gd name="connsiteY30" fmla="*/ 1685925 h 4496940"/>
                    <a:gd name="connsiteX31" fmla="*/ 4519952 w 4519987"/>
                    <a:gd name="connsiteY31" fmla="*/ 2181225 h 4496940"/>
                    <a:gd name="connsiteX32" fmla="*/ 4446927 w 4519987"/>
                    <a:gd name="connsiteY32" fmla="*/ 2768600 h 4496940"/>
                    <a:gd name="connsiteX33" fmla="*/ 4383427 w 4519987"/>
                    <a:gd name="connsiteY33" fmla="*/ 2990850 h 4496940"/>
                    <a:gd name="connsiteX34" fmla="*/ 4278652 w 4519987"/>
                    <a:gd name="connsiteY34" fmla="*/ 3248025 h 4496940"/>
                    <a:gd name="connsiteX35" fmla="*/ 4259602 w 4519987"/>
                    <a:gd name="connsiteY35" fmla="*/ 3276600 h 4496940"/>
                    <a:gd name="connsiteX36" fmla="*/ 4221502 w 4519987"/>
                    <a:gd name="connsiteY36" fmla="*/ 3333750 h 4496940"/>
                    <a:gd name="connsiteX37" fmla="*/ 4211977 w 4519987"/>
                    <a:gd name="connsiteY37" fmla="*/ 3362325 h 4496940"/>
                    <a:gd name="connsiteX38" fmla="*/ 4183402 w 4519987"/>
                    <a:gd name="connsiteY38" fmla="*/ 3400425 h 4496940"/>
                    <a:gd name="connsiteX39" fmla="*/ 4164352 w 4519987"/>
                    <a:gd name="connsiteY39" fmla="*/ 3429000 h 4496940"/>
                    <a:gd name="connsiteX40" fmla="*/ 4088152 w 4519987"/>
                    <a:gd name="connsiteY40" fmla="*/ 3495675 h 4496940"/>
                    <a:gd name="connsiteX41" fmla="*/ 4059577 w 4519987"/>
                    <a:gd name="connsiteY41" fmla="*/ 3533775 h 4496940"/>
                    <a:gd name="connsiteX42" fmla="*/ 4002427 w 4519987"/>
                    <a:gd name="connsiteY42" fmla="*/ 3600450 h 4496940"/>
                    <a:gd name="connsiteX43" fmla="*/ 3983377 w 4519987"/>
                    <a:gd name="connsiteY43" fmla="*/ 3629025 h 4496940"/>
                    <a:gd name="connsiteX44" fmla="*/ 3954802 w 4519987"/>
                    <a:gd name="connsiteY44" fmla="*/ 3648075 h 4496940"/>
                    <a:gd name="connsiteX45" fmla="*/ 3907177 w 4519987"/>
                    <a:gd name="connsiteY45" fmla="*/ 3686175 h 4496940"/>
                    <a:gd name="connsiteX46" fmla="*/ 3869077 w 4519987"/>
                    <a:gd name="connsiteY46" fmla="*/ 3724275 h 4496940"/>
                    <a:gd name="connsiteX47" fmla="*/ 3792877 w 4519987"/>
                    <a:gd name="connsiteY47" fmla="*/ 3781425 h 4496940"/>
                    <a:gd name="connsiteX48" fmla="*/ 3783352 w 4519987"/>
                    <a:gd name="connsiteY48" fmla="*/ 3810000 h 4496940"/>
                    <a:gd name="connsiteX49" fmla="*/ 3745252 w 4519987"/>
                    <a:gd name="connsiteY49" fmla="*/ 3819525 h 4496940"/>
                    <a:gd name="connsiteX50" fmla="*/ 3678577 w 4519987"/>
                    <a:gd name="connsiteY50" fmla="*/ 3848100 h 4496940"/>
                    <a:gd name="connsiteX51" fmla="*/ 3659527 w 4519987"/>
                    <a:gd name="connsiteY51" fmla="*/ 3971925 h 4496940"/>
                    <a:gd name="connsiteX52" fmla="*/ 3630952 w 4519987"/>
                    <a:gd name="connsiteY52" fmla="*/ 4010025 h 4496940"/>
                    <a:gd name="connsiteX53" fmla="*/ 3621427 w 4519987"/>
                    <a:gd name="connsiteY53" fmla="*/ 4038600 h 4496940"/>
                    <a:gd name="connsiteX54" fmla="*/ 3554752 w 4519987"/>
                    <a:gd name="connsiteY54" fmla="*/ 4095750 h 4496940"/>
                    <a:gd name="connsiteX55" fmla="*/ 3516652 w 4519987"/>
                    <a:gd name="connsiteY55" fmla="*/ 4114800 h 4496940"/>
                    <a:gd name="connsiteX56" fmla="*/ 3497602 w 4519987"/>
                    <a:gd name="connsiteY56" fmla="*/ 4143375 h 4496940"/>
                    <a:gd name="connsiteX57" fmla="*/ 3383302 w 4519987"/>
                    <a:gd name="connsiteY57" fmla="*/ 4210050 h 4496940"/>
                    <a:gd name="connsiteX58" fmla="*/ 3335677 w 4519987"/>
                    <a:gd name="connsiteY58" fmla="*/ 4238625 h 4496940"/>
                    <a:gd name="connsiteX59" fmla="*/ 3288052 w 4519987"/>
                    <a:gd name="connsiteY59" fmla="*/ 4248150 h 4496940"/>
                    <a:gd name="connsiteX60" fmla="*/ 3240427 w 4519987"/>
                    <a:gd name="connsiteY60" fmla="*/ 4267200 h 4496940"/>
                    <a:gd name="connsiteX61" fmla="*/ 3068977 w 4519987"/>
                    <a:gd name="connsiteY61" fmla="*/ 4286250 h 4496940"/>
                    <a:gd name="connsiteX62" fmla="*/ 2935627 w 4519987"/>
                    <a:gd name="connsiteY62" fmla="*/ 4333875 h 4496940"/>
                    <a:gd name="connsiteX63" fmla="*/ 2811802 w 4519987"/>
                    <a:gd name="connsiteY63" fmla="*/ 4371975 h 4496940"/>
                    <a:gd name="connsiteX64" fmla="*/ 2745127 w 4519987"/>
                    <a:gd name="connsiteY64" fmla="*/ 4410075 h 4496940"/>
                    <a:gd name="connsiteX65" fmla="*/ 2697502 w 4519987"/>
                    <a:gd name="connsiteY65" fmla="*/ 4429125 h 4496940"/>
                    <a:gd name="connsiteX66" fmla="*/ 2640352 w 4519987"/>
                    <a:gd name="connsiteY66" fmla="*/ 4457700 h 4496940"/>
                    <a:gd name="connsiteX67" fmla="*/ 2583202 w 4519987"/>
                    <a:gd name="connsiteY67" fmla="*/ 4467225 h 4496940"/>
                    <a:gd name="connsiteX68" fmla="*/ 2545102 w 4519987"/>
                    <a:gd name="connsiteY68" fmla="*/ 4486275 h 4496940"/>
                    <a:gd name="connsiteX69" fmla="*/ 2306977 w 4519987"/>
                    <a:gd name="connsiteY69" fmla="*/ 4476750 h 4496940"/>
                    <a:gd name="connsiteX70" fmla="*/ 2202202 w 4519987"/>
                    <a:gd name="connsiteY70" fmla="*/ 4457700 h 4496940"/>
                    <a:gd name="connsiteX71" fmla="*/ 2126002 w 4519987"/>
                    <a:gd name="connsiteY71" fmla="*/ 4429125 h 4496940"/>
                    <a:gd name="connsiteX72" fmla="*/ 1935502 w 4519987"/>
                    <a:gd name="connsiteY72" fmla="*/ 4400550 h 4496940"/>
                    <a:gd name="connsiteX73" fmla="*/ 1821202 w 4519987"/>
                    <a:gd name="connsiteY73" fmla="*/ 4371975 h 4496940"/>
                    <a:gd name="connsiteX74" fmla="*/ 1754527 w 4519987"/>
                    <a:gd name="connsiteY74" fmla="*/ 4352925 h 4496940"/>
                    <a:gd name="connsiteX75" fmla="*/ 1687852 w 4519987"/>
                    <a:gd name="connsiteY75" fmla="*/ 4343400 h 4496940"/>
                    <a:gd name="connsiteX76" fmla="*/ 1573552 w 4519987"/>
                    <a:gd name="connsiteY76" fmla="*/ 4305300 h 4496940"/>
                    <a:gd name="connsiteX77" fmla="*/ 1402102 w 4519987"/>
                    <a:gd name="connsiteY77" fmla="*/ 4276725 h 4496940"/>
                    <a:gd name="connsiteX78" fmla="*/ 1287802 w 4519987"/>
                    <a:gd name="connsiteY78" fmla="*/ 4229100 h 4496940"/>
                    <a:gd name="connsiteX79" fmla="*/ 1221127 w 4519987"/>
                    <a:gd name="connsiteY79" fmla="*/ 4200525 h 4496940"/>
                    <a:gd name="connsiteX80" fmla="*/ 1144927 w 4519987"/>
                    <a:gd name="connsiteY80" fmla="*/ 4171950 h 4496940"/>
                    <a:gd name="connsiteX81" fmla="*/ 1087777 w 4519987"/>
                    <a:gd name="connsiteY81" fmla="*/ 4143375 h 4496940"/>
                    <a:gd name="connsiteX82" fmla="*/ 1030627 w 4519987"/>
                    <a:gd name="connsiteY82" fmla="*/ 4124325 h 4496940"/>
                    <a:gd name="connsiteX83" fmla="*/ 925852 w 4519987"/>
                    <a:gd name="connsiteY83" fmla="*/ 4067175 h 4496940"/>
                    <a:gd name="connsiteX84" fmla="*/ 830602 w 4519987"/>
                    <a:gd name="connsiteY84" fmla="*/ 3981450 h 4496940"/>
                    <a:gd name="connsiteX85" fmla="*/ 763927 w 4519987"/>
                    <a:gd name="connsiteY85" fmla="*/ 3914775 h 4496940"/>
                    <a:gd name="connsiteX86" fmla="*/ 725827 w 4519987"/>
                    <a:gd name="connsiteY86" fmla="*/ 3876675 h 4496940"/>
                    <a:gd name="connsiteX87" fmla="*/ 697252 w 4519987"/>
                    <a:gd name="connsiteY87" fmla="*/ 3838575 h 4496940"/>
                    <a:gd name="connsiteX88" fmla="*/ 640102 w 4519987"/>
                    <a:gd name="connsiteY88" fmla="*/ 3781425 h 4496940"/>
                    <a:gd name="connsiteX89" fmla="*/ 611527 w 4519987"/>
                    <a:gd name="connsiteY89" fmla="*/ 3733800 h 4496940"/>
                    <a:gd name="connsiteX90" fmla="*/ 554377 w 4519987"/>
                    <a:gd name="connsiteY90" fmla="*/ 3657600 h 4496940"/>
                    <a:gd name="connsiteX91" fmla="*/ 525802 w 4519987"/>
                    <a:gd name="connsiteY91" fmla="*/ 3609975 h 4496940"/>
                    <a:gd name="connsiteX92" fmla="*/ 497227 w 4519987"/>
                    <a:gd name="connsiteY92" fmla="*/ 3552825 h 4496940"/>
                    <a:gd name="connsiteX93" fmla="*/ 440077 w 4519987"/>
                    <a:gd name="connsiteY93" fmla="*/ 3495675 h 4496940"/>
                    <a:gd name="connsiteX94" fmla="*/ 411502 w 4519987"/>
                    <a:gd name="connsiteY94" fmla="*/ 3448050 h 4496940"/>
                    <a:gd name="connsiteX95" fmla="*/ 278152 w 4519987"/>
                    <a:gd name="connsiteY95" fmla="*/ 3257550 h 4496940"/>
                    <a:gd name="connsiteX96" fmla="*/ 249577 w 4519987"/>
                    <a:gd name="connsiteY96" fmla="*/ 3200400 h 4496940"/>
                    <a:gd name="connsiteX97" fmla="*/ 240052 w 4519987"/>
                    <a:gd name="connsiteY97" fmla="*/ 3162300 h 4496940"/>
                    <a:gd name="connsiteX98" fmla="*/ 221002 w 4519987"/>
                    <a:gd name="connsiteY98" fmla="*/ 3105150 h 4496940"/>
                    <a:gd name="connsiteX99" fmla="*/ 173377 w 4519987"/>
                    <a:gd name="connsiteY99" fmla="*/ 3019425 h 4496940"/>
                    <a:gd name="connsiteX100" fmla="*/ 144802 w 4519987"/>
                    <a:gd name="connsiteY100" fmla="*/ 2924175 h 4496940"/>
                    <a:gd name="connsiteX101" fmla="*/ 68602 w 4519987"/>
                    <a:gd name="connsiteY101" fmla="*/ 2724150 h 4496940"/>
                    <a:gd name="connsiteX102" fmla="*/ 49552 w 4519987"/>
                    <a:gd name="connsiteY102" fmla="*/ 2638425 h 4496940"/>
                    <a:gd name="connsiteX103" fmla="*/ 40027 w 4519987"/>
                    <a:gd name="connsiteY103" fmla="*/ 2562225 h 4496940"/>
                    <a:gd name="connsiteX104" fmla="*/ 30502 w 4519987"/>
                    <a:gd name="connsiteY104" fmla="*/ 2514600 h 4496940"/>
                    <a:gd name="connsiteX105" fmla="*/ 11452 w 4519987"/>
                    <a:gd name="connsiteY105" fmla="*/ 2400300 h 4496940"/>
                    <a:gd name="connsiteX106" fmla="*/ 20977 w 4519987"/>
                    <a:gd name="connsiteY106" fmla="*/ 1905000 h 4496940"/>
                    <a:gd name="connsiteX107" fmla="*/ 30502 w 4519987"/>
                    <a:gd name="connsiteY107" fmla="*/ 1838325 h 4496940"/>
                    <a:gd name="connsiteX108" fmla="*/ 49552 w 4519987"/>
                    <a:gd name="connsiteY108" fmla="*/ 1781175 h 4496940"/>
                    <a:gd name="connsiteX109" fmla="*/ 59077 w 4519987"/>
                    <a:gd name="connsiteY109" fmla="*/ 1743075 h 4496940"/>
                    <a:gd name="connsiteX110" fmla="*/ 78127 w 4519987"/>
                    <a:gd name="connsiteY110" fmla="*/ 1685925 h 4496940"/>
                    <a:gd name="connsiteX111" fmla="*/ 87652 w 4519987"/>
                    <a:gd name="connsiteY111" fmla="*/ 1638300 h 4496940"/>
                    <a:gd name="connsiteX112" fmla="*/ 106702 w 4519987"/>
                    <a:gd name="connsiteY112" fmla="*/ 1590675 h 4496940"/>
                    <a:gd name="connsiteX113" fmla="*/ 135277 w 4519987"/>
                    <a:gd name="connsiteY113" fmla="*/ 1504950 h 4496940"/>
                    <a:gd name="connsiteX114" fmla="*/ 154327 w 4519987"/>
                    <a:gd name="connsiteY114" fmla="*/ 1419225 h 4496940"/>
                    <a:gd name="connsiteX115" fmla="*/ 230527 w 4519987"/>
                    <a:gd name="connsiteY115" fmla="*/ 1276350 h 4496940"/>
                    <a:gd name="connsiteX116" fmla="*/ 240052 w 4519987"/>
                    <a:gd name="connsiteY116" fmla="*/ 1247775 h 4496940"/>
                    <a:gd name="connsiteX117" fmla="*/ 268627 w 4519987"/>
                    <a:gd name="connsiteY117" fmla="*/ 1200150 h 4496940"/>
                    <a:gd name="connsiteX118" fmla="*/ 287677 w 4519987"/>
                    <a:gd name="connsiteY118" fmla="*/ 1152525 h 4496940"/>
                    <a:gd name="connsiteX119" fmla="*/ 316252 w 4519987"/>
                    <a:gd name="connsiteY119" fmla="*/ 1114425 h 4496940"/>
                    <a:gd name="connsiteX120" fmla="*/ 363877 w 4519987"/>
                    <a:gd name="connsiteY120" fmla="*/ 1038225 h 4496940"/>
                    <a:gd name="connsiteX121" fmla="*/ 382927 w 4519987"/>
                    <a:gd name="connsiteY121" fmla="*/ 1009650 h 4496940"/>
                    <a:gd name="connsiteX122" fmla="*/ 440077 w 4519987"/>
                    <a:gd name="connsiteY122" fmla="*/ 904875 h 4496940"/>
                    <a:gd name="connsiteX123" fmla="*/ 478177 w 4519987"/>
                    <a:gd name="connsiteY123" fmla="*/ 857250 h 4496940"/>
                    <a:gd name="connsiteX124" fmla="*/ 497227 w 4519987"/>
                    <a:gd name="connsiteY124" fmla="*/ 828675 h 4496940"/>
                    <a:gd name="connsiteX125" fmla="*/ 535327 w 4519987"/>
                    <a:gd name="connsiteY125" fmla="*/ 800100 h 4496940"/>
                    <a:gd name="connsiteX126" fmla="*/ 602002 w 4519987"/>
                    <a:gd name="connsiteY126" fmla="*/ 733425 h 4496940"/>
                    <a:gd name="connsiteX127" fmla="*/ 668677 w 4519987"/>
                    <a:gd name="connsiteY127" fmla="*/ 676275 h 4496940"/>
                    <a:gd name="connsiteX128" fmla="*/ 697252 w 4519987"/>
                    <a:gd name="connsiteY128" fmla="*/ 657225 h 4496940"/>
                    <a:gd name="connsiteX129" fmla="*/ 840127 w 4519987"/>
                    <a:gd name="connsiteY129" fmla="*/ 533400 h 4496940"/>
                    <a:gd name="connsiteX130" fmla="*/ 887752 w 4519987"/>
                    <a:gd name="connsiteY130" fmla="*/ 504825 h 4496940"/>
                    <a:gd name="connsiteX131" fmla="*/ 1167152 w 4519987"/>
                    <a:gd name="connsiteY131" fmla="*/ 311150 h 4496940"/>
                    <a:gd name="connsiteX132" fmla="*/ 1268752 w 4519987"/>
                    <a:gd name="connsiteY132" fmla="*/ 285750 h 4496940"/>
                    <a:gd name="connsiteX133" fmla="*/ 1411627 w 4519987"/>
                    <a:gd name="connsiteY133" fmla="*/ 190500 h 4496940"/>
                    <a:gd name="connsiteX134" fmla="*/ 1449727 w 4519987"/>
                    <a:gd name="connsiteY134" fmla="*/ 161925 h 4496940"/>
                    <a:gd name="connsiteX135" fmla="*/ 1525927 w 4519987"/>
                    <a:gd name="connsiteY135" fmla="*/ 152400 h 4496940"/>
                    <a:gd name="connsiteX136" fmla="*/ 1583077 w 4519987"/>
                    <a:gd name="connsiteY136" fmla="*/ 142875 h 4496940"/>
                    <a:gd name="connsiteX137" fmla="*/ 1716427 w 4519987"/>
                    <a:gd name="connsiteY137" fmla="*/ 123825 h 4496940"/>
                    <a:gd name="connsiteX138" fmla="*/ 1811677 w 4519987"/>
                    <a:gd name="connsiteY138" fmla="*/ 114300 h 4496940"/>
                    <a:gd name="connsiteX139" fmla="*/ 1859302 w 4519987"/>
                    <a:gd name="connsiteY139" fmla="*/ 104775 h 4496940"/>
                    <a:gd name="connsiteX140" fmla="*/ 1916452 w 4519987"/>
                    <a:gd name="connsiteY140" fmla="*/ 95250 h 4496940"/>
                    <a:gd name="connsiteX141" fmla="*/ 2030752 w 4519987"/>
                    <a:gd name="connsiteY141" fmla="*/ 66675 h 4496940"/>
                    <a:gd name="connsiteX142" fmla="*/ 2097427 w 4519987"/>
                    <a:gd name="connsiteY142" fmla="*/ 47625 h 4496940"/>
                    <a:gd name="connsiteX143" fmla="*/ 2164102 w 4519987"/>
                    <a:gd name="connsiteY143" fmla="*/ 38100 h 4496940"/>
                    <a:gd name="connsiteX144" fmla="*/ 2392702 w 4519987"/>
                    <a:gd name="connsiteY14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73902 w 4519987"/>
                    <a:gd name="connsiteY26" fmla="*/ 1428750 h 4496940"/>
                    <a:gd name="connsiteX27" fmla="*/ 4392952 w 4519987"/>
                    <a:gd name="connsiteY27" fmla="*/ 1552575 h 4496940"/>
                    <a:gd name="connsiteX28" fmla="*/ 4402477 w 4519987"/>
                    <a:gd name="connsiteY28" fmla="*/ 1590675 h 4496940"/>
                    <a:gd name="connsiteX29" fmla="*/ 4431052 w 4519987"/>
                    <a:gd name="connsiteY29" fmla="*/ 1685925 h 4496940"/>
                    <a:gd name="connsiteX30" fmla="*/ 4519952 w 4519987"/>
                    <a:gd name="connsiteY30" fmla="*/ 2181225 h 4496940"/>
                    <a:gd name="connsiteX31" fmla="*/ 4446927 w 4519987"/>
                    <a:gd name="connsiteY31" fmla="*/ 2768600 h 4496940"/>
                    <a:gd name="connsiteX32" fmla="*/ 4383427 w 4519987"/>
                    <a:gd name="connsiteY32" fmla="*/ 2990850 h 4496940"/>
                    <a:gd name="connsiteX33" fmla="*/ 4278652 w 4519987"/>
                    <a:gd name="connsiteY33" fmla="*/ 3248025 h 4496940"/>
                    <a:gd name="connsiteX34" fmla="*/ 4259602 w 4519987"/>
                    <a:gd name="connsiteY34" fmla="*/ 3276600 h 4496940"/>
                    <a:gd name="connsiteX35" fmla="*/ 4221502 w 4519987"/>
                    <a:gd name="connsiteY35" fmla="*/ 3333750 h 4496940"/>
                    <a:gd name="connsiteX36" fmla="*/ 4211977 w 4519987"/>
                    <a:gd name="connsiteY36" fmla="*/ 3362325 h 4496940"/>
                    <a:gd name="connsiteX37" fmla="*/ 4183402 w 4519987"/>
                    <a:gd name="connsiteY37" fmla="*/ 3400425 h 4496940"/>
                    <a:gd name="connsiteX38" fmla="*/ 4164352 w 4519987"/>
                    <a:gd name="connsiteY38" fmla="*/ 3429000 h 4496940"/>
                    <a:gd name="connsiteX39" fmla="*/ 4088152 w 4519987"/>
                    <a:gd name="connsiteY39" fmla="*/ 3495675 h 4496940"/>
                    <a:gd name="connsiteX40" fmla="*/ 4059577 w 4519987"/>
                    <a:gd name="connsiteY40" fmla="*/ 3533775 h 4496940"/>
                    <a:gd name="connsiteX41" fmla="*/ 4002427 w 4519987"/>
                    <a:gd name="connsiteY41" fmla="*/ 3600450 h 4496940"/>
                    <a:gd name="connsiteX42" fmla="*/ 3983377 w 4519987"/>
                    <a:gd name="connsiteY42" fmla="*/ 3629025 h 4496940"/>
                    <a:gd name="connsiteX43" fmla="*/ 3954802 w 4519987"/>
                    <a:gd name="connsiteY43" fmla="*/ 3648075 h 4496940"/>
                    <a:gd name="connsiteX44" fmla="*/ 3907177 w 4519987"/>
                    <a:gd name="connsiteY44" fmla="*/ 3686175 h 4496940"/>
                    <a:gd name="connsiteX45" fmla="*/ 3869077 w 4519987"/>
                    <a:gd name="connsiteY45" fmla="*/ 3724275 h 4496940"/>
                    <a:gd name="connsiteX46" fmla="*/ 3792877 w 4519987"/>
                    <a:gd name="connsiteY46" fmla="*/ 3781425 h 4496940"/>
                    <a:gd name="connsiteX47" fmla="*/ 3783352 w 4519987"/>
                    <a:gd name="connsiteY47" fmla="*/ 3810000 h 4496940"/>
                    <a:gd name="connsiteX48" fmla="*/ 3745252 w 4519987"/>
                    <a:gd name="connsiteY48" fmla="*/ 3819525 h 4496940"/>
                    <a:gd name="connsiteX49" fmla="*/ 3678577 w 4519987"/>
                    <a:gd name="connsiteY49" fmla="*/ 3848100 h 4496940"/>
                    <a:gd name="connsiteX50" fmla="*/ 3659527 w 4519987"/>
                    <a:gd name="connsiteY50" fmla="*/ 3971925 h 4496940"/>
                    <a:gd name="connsiteX51" fmla="*/ 3630952 w 4519987"/>
                    <a:gd name="connsiteY51" fmla="*/ 4010025 h 4496940"/>
                    <a:gd name="connsiteX52" fmla="*/ 3621427 w 4519987"/>
                    <a:gd name="connsiteY52" fmla="*/ 4038600 h 4496940"/>
                    <a:gd name="connsiteX53" fmla="*/ 3554752 w 4519987"/>
                    <a:gd name="connsiteY53" fmla="*/ 4095750 h 4496940"/>
                    <a:gd name="connsiteX54" fmla="*/ 3516652 w 4519987"/>
                    <a:gd name="connsiteY54" fmla="*/ 4114800 h 4496940"/>
                    <a:gd name="connsiteX55" fmla="*/ 3497602 w 4519987"/>
                    <a:gd name="connsiteY55" fmla="*/ 4143375 h 4496940"/>
                    <a:gd name="connsiteX56" fmla="*/ 3383302 w 4519987"/>
                    <a:gd name="connsiteY56" fmla="*/ 4210050 h 4496940"/>
                    <a:gd name="connsiteX57" fmla="*/ 3335677 w 4519987"/>
                    <a:gd name="connsiteY57" fmla="*/ 4238625 h 4496940"/>
                    <a:gd name="connsiteX58" fmla="*/ 3288052 w 4519987"/>
                    <a:gd name="connsiteY58" fmla="*/ 4248150 h 4496940"/>
                    <a:gd name="connsiteX59" fmla="*/ 3240427 w 4519987"/>
                    <a:gd name="connsiteY59" fmla="*/ 4267200 h 4496940"/>
                    <a:gd name="connsiteX60" fmla="*/ 3068977 w 4519987"/>
                    <a:gd name="connsiteY60" fmla="*/ 4286250 h 4496940"/>
                    <a:gd name="connsiteX61" fmla="*/ 2935627 w 4519987"/>
                    <a:gd name="connsiteY61" fmla="*/ 4333875 h 4496940"/>
                    <a:gd name="connsiteX62" fmla="*/ 2811802 w 4519987"/>
                    <a:gd name="connsiteY62" fmla="*/ 4371975 h 4496940"/>
                    <a:gd name="connsiteX63" fmla="*/ 2745127 w 4519987"/>
                    <a:gd name="connsiteY63" fmla="*/ 4410075 h 4496940"/>
                    <a:gd name="connsiteX64" fmla="*/ 2697502 w 4519987"/>
                    <a:gd name="connsiteY64" fmla="*/ 4429125 h 4496940"/>
                    <a:gd name="connsiteX65" fmla="*/ 2640352 w 4519987"/>
                    <a:gd name="connsiteY65" fmla="*/ 4457700 h 4496940"/>
                    <a:gd name="connsiteX66" fmla="*/ 2583202 w 4519987"/>
                    <a:gd name="connsiteY66" fmla="*/ 4467225 h 4496940"/>
                    <a:gd name="connsiteX67" fmla="*/ 2545102 w 4519987"/>
                    <a:gd name="connsiteY67" fmla="*/ 4486275 h 4496940"/>
                    <a:gd name="connsiteX68" fmla="*/ 2306977 w 4519987"/>
                    <a:gd name="connsiteY68" fmla="*/ 4476750 h 4496940"/>
                    <a:gd name="connsiteX69" fmla="*/ 2202202 w 4519987"/>
                    <a:gd name="connsiteY69" fmla="*/ 4457700 h 4496940"/>
                    <a:gd name="connsiteX70" fmla="*/ 2126002 w 4519987"/>
                    <a:gd name="connsiteY70" fmla="*/ 4429125 h 4496940"/>
                    <a:gd name="connsiteX71" fmla="*/ 1935502 w 4519987"/>
                    <a:gd name="connsiteY71" fmla="*/ 4400550 h 4496940"/>
                    <a:gd name="connsiteX72" fmla="*/ 1821202 w 4519987"/>
                    <a:gd name="connsiteY72" fmla="*/ 4371975 h 4496940"/>
                    <a:gd name="connsiteX73" fmla="*/ 1754527 w 4519987"/>
                    <a:gd name="connsiteY73" fmla="*/ 4352925 h 4496940"/>
                    <a:gd name="connsiteX74" fmla="*/ 1687852 w 4519987"/>
                    <a:gd name="connsiteY74" fmla="*/ 4343400 h 4496940"/>
                    <a:gd name="connsiteX75" fmla="*/ 1573552 w 4519987"/>
                    <a:gd name="connsiteY75" fmla="*/ 4305300 h 4496940"/>
                    <a:gd name="connsiteX76" fmla="*/ 1402102 w 4519987"/>
                    <a:gd name="connsiteY76" fmla="*/ 4276725 h 4496940"/>
                    <a:gd name="connsiteX77" fmla="*/ 1287802 w 4519987"/>
                    <a:gd name="connsiteY77" fmla="*/ 4229100 h 4496940"/>
                    <a:gd name="connsiteX78" fmla="*/ 1221127 w 4519987"/>
                    <a:gd name="connsiteY78" fmla="*/ 4200525 h 4496940"/>
                    <a:gd name="connsiteX79" fmla="*/ 1144927 w 4519987"/>
                    <a:gd name="connsiteY79" fmla="*/ 4171950 h 4496940"/>
                    <a:gd name="connsiteX80" fmla="*/ 1087777 w 4519987"/>
                    <a:gd name="connsiteY80" fmla="*/ 4143375 h 4496940"/>
                    <a:gd name="connsiteX81" fmla="*/ 1030627 w 4519987"/>
                    <a:gd name="connsiteY81" fmla="*/ 4124325 h 4496940"/>
                    <a:gd name="connsiteX82" fmla="*/ 925852 w 4519987"/>
                    <a:gd name="connsiteY82" fmla="*/ 4067175 h 4496940"/>
                    <a:gd name="connsiteX83" fmla="*/ 830602 w 4519987"/>
                    <a:gd name="connsiteY83" fmla="*/ 3981450 h 4496940"/>
                    <a:gd name="connsiteX84" fmla="*/ 763927 w 4519987"/>
                    <a:gd name="connsiteY84" fmla="*/ 3914775 h 4496940"/>
                    <a:gd name="connsiteX85" fmla="*/ 725827 w 4519987"/>
                    <a:gd name="connsiteY85" fmla="*/ 3876675 h 4496940"/>
                    <a:gd name="connsiteX86" fmla="*/ 697252 w 4519987"/>
                    <a:gd name="connsiteY86" fmla="*/ 3838575 h 4496940"/>
                    <a:gd name="connsiteX87" fmla="*/ 640102 w 4519987"/>
                    <a:gd name="connsiteY87" fmla="*/ 3781425 h 4496940"/>
                    <a:gd name="connsiteX88" fmla="*/ 611527 w 4519987"/>
                    <a:gd name="connsiteY88" fmla="*/ 3733800 h 4496940"/>
                    <a:gd name="connsiteX89" fmla="*/ 554377 w 4519987"/>
                    <a:gd name="connsiteY89" fmla="*/ 3657600 h 4496940"/>
                    <a:gd name="connsiteX90" fmla="*/ 525802 w 4519987"/>
                    <a:gd name="connsiteY90" fmla="*/ 3609975 h 4496940"/>
                    <a:gd name="connsiteX91" fmla="*/ 497227 w 4519987"/>
                    <a:gd name="connsiteY91" fmla="*/ 3552825 h 4496940"/>
                    <a:gd name="connsiteX92" fmla="*/ 440077 w 4519987"/>
                    <a:gd name="connsiteY92" fmla="*/ 3495675 h 4496940"/>
                    <a:gd name="connsiteX93" fmla="*/ 411502 w 4519987"/>
                    <a:gd name="connsiteY93" fmla="*/ 3448050 h 4496940"/>
                    <a:gd name="connsiteX94" fmla="*/ 278152 w 4519987"/>
                    <a:gd name="connsiteY94" fmla="*/ 3257550 h 4496940"/>
                    <a:gd name="connsiteX95" fmla="*/ 249577 w 4519987"/>
                    <a:gd name="connsiteY95" fmla="*/ 3200400 h 4496940"/>
                    <a:gd name="connsiteX96" fmla="*/ 240052 w 4519987"/>
                    <a:gd name="connsiteY96" fmla="*/ 3162300 h 4496940"/>
                    <a:gd name="connsiteX97" fmla="*/ 221002 w 4519987"/>
                    <a:gd name="connsiteY97" fmla="*/ 3105150 h 4496940"/>
                    <a:gd name="connsiteX98" fmla="*/ 173377 w 4519987"/>
                    <a:gd name="connsiteY98" fmla="*/ 3019425 h 4496940"/>
                    <a:gd name="connsiteX99" fmla="*/ 144802 w 4519987"/>
                    <a:gd name="connsiteY99" fmla="*/ 2924175 h 4496940"/>
                    <a:gd name="connsiteX100" fmla="*/ 68602 w 4519987"/>
                    <a:gd name="connsiteY100" fmla="*/ 2724150 h 4496940"/>
                    <a:gd name="connsiteX101" fmla="*/ 49552 w 4519987"/>
                    <a:gd name="connsiteY101" fmla="*/ 2638425 h 4496940"/>
                    <a:gd name="connsiteX102" fmla="*/ 40027 w 4519987"/>
                    <a:gd name="connsiteY102" fmla="*/ 2562225 h 4496940"/>
                    <a:gd name="connsiteX103" fmla="*/ 30502 w 4519987"/>
                    <a:gd name="connsiteY103" fmla="*/ 2514600 h 4496940"/>
                    <a:gd name="connsiteX104" fmla="*/ 11452 w 4519987"/>
                    <a:gd name="connsiteY104" fmla="*/ 2400300 h 4496940"/>
                    <a:gd name="connsiteX105" fmla="*/ 20977 w 4519987"/>
                    <a:gd name="connsiteY105" fmla="*/ 1905000 h 4496940"/>
                    <a:gd name="connsiteX106" fmla="*/ 30502 w 4519987"/>
                    <a:gd name="connsiteY106" fmla="*/ 1838325 h 4496940"/>
                    <a:gd name="connsiteX107" fmla="*/ 49552 w 4519987"/>
                    <a:gd name="connsiteY107" fmla="*/ 1781175 h 4496940"/>
                    <a:gd name="connsiteX108" fmla="*/ 59077 w 4519987"/>
                    <a:gd name="connsiteY108" fmla="*/ 1743075 h 4496940"/>
                    <a:gd name="connsiteX109" fmla="*/ 78127 w 4519987"/>
                    <a:gd name="connsiteY109" fmla="*/ 1685925 h 4496940"/>
                    <a:gd name="connsiteX110" fmla="*/ 87652 w 4519987"/>
                    <a:gd name="connsiteY110" fmla="*/ 1638300 h 4496940"/>
                    <a:gd name="connsiteX111" fmla="*/ 106702 w 4519987"/>
                    <a:gd name="connsiteY111" fmla="*/ 1590675 h 4496940"/>
                    <a:gd name="connsiteX112" fmla="*/ 135277 w 4519987"/>
                    <a:gd name="connsiteY112" fmla="*/ 1504950 h 4496940"/>
                    <a:gd name="connsiteX113" fmla="*/ 154327 w 4519987"/>
                    <a:gd name="connsiteY113" fmla="*/ 1419225 h 4496940"/>
                    <a:gd name="connsiteX114" fmla="*/ 230527 w 4519987"/>
                    <a:gd name="connsiteY114" fmla="*/ 1276350 h 4496940"/>
                    <a:gd name="connsiteX115" fmla="*/ 240052 w 4519987"/>
                    <a:gd name="connsiteY115" fmla="*/ 1247775 h 4496940"/>
                    <a:gd name="connsiteX116" fmla="*/ 268627 w 4519987"/>
                    <a:gd name="connsiteY116" fmla="*/ 1200150 h 4496940"/>
                    <a:gd name="connsiteX117" fmla="*/ 287677 w 4519987"/>
                    <a:gd name="connsiteY117" fmla="*/ 1152525 h 4496940"/>
                    <a:gd name="connsiteX118" fmla="*/ 316252 w 4519987"/>
                    <a:gd name="connsiteY118" fmla="*/ 1114425 h 4496940"/>
                    <a:gd name="connsiteX119" fmla="*/ 363877 w 4519987"/>
                    <a:gd name="connsiteY119" fmla="*/ 1038225 h 4496940"/>
                    <a:gd name="connsiteX120" fmla="*/ 382927 w 4519987"/>
                    <a:gd name="connsiteY120" fmla="*/ 1009650 h 4496940"/>
                    <a:gd name="connsiteX121" fmla="*/ 440077 w 4519987"/>
                    <a:gd name="connsiteY121" fmla="*/ 904875 h 4496940"/>
                    <a:gd name="connsiteX122" fmla="*/ 478177 w 4519987"/>
                    <a:gd name="connsiteY122" fmla="*/ 857250 h 4496940"/>
                    <a:gd name="connsiteX123" fmla="*/ 497227 w 4519987"/>
                    <a:gd name="connsiteY123" fmla="*/ 828675 h 4496940"/>
                    <a:gd name="connsiteX124" fmla="*/ 535327 w 4519987"/>
                    <a:gd name="connsiteY124" fmla="*/ 800100 h 4496940"/>
                    <a:gd name="connsiteX125" fmla="*/ 602002 w 4519987"/>
                    <a:gd name="connsiteY125" fmla="*/ 733425 h 4496940"/>
                    <a:gd name="connsiteX126" fmla="*/ 668677 w 4519987"/>
                    <a:gd name="connsiteY126" fmla="*/ 676275 h 4496940"/>
                    <a:gd name="connsiteX127" fmla="*/ 697252 w 4519987"/>
                    <a:gd name="connsiteY127" fmla="*/ 657225 h 4496940"/>
                    <a:gd name="connsiteX128" fmla="*/ 840127 w 4519987"/>
                    <a:gd name="connsiteY128" fmla="*/ 533400 h 4496940"/>
                    <a:gd name="connsiteX129" fmla="*/ 887752 w 4519987"/>
                    <a:gd name="connsiteY129" fmla="*/ 504825 h 4496940"/>
                    <a:gd name="connsiteX130" fmla="*/ 1167152 w 4519987"/>
                    <a:gd name="connsiteY130" fmla="*/ 311150 h 4496940"/>
                    <a:gd name="connsiteX131" fmla="*/ 1268752 w 4519987"/>
                    <a:gd name="connsiteY131" fmla="*/ 285750 h 4496940"/>
                    <a:gd name="connsiteX132" fmla="*/ 1411627 w 4519987"/>
                    <a:gd name="connsiteY132" fmla="*/ 190500 h 4496940"/>
                    <a:gd name="connsiteX133" fmla="*/ 1449727 w 4519987"/>
                    <a:gd name="connsiteY133" fmla="*/ 161925 h 4496940"/>
                    <a:gd name="connsiteX134" fmla="*/ 1525927 w 4519987"/>
                    <a:gd name="connsiteY134" fmla="*/ 152400 h 4496940"/>
                    <a:gd name="connsiteX135" fmla="*/ 1583077 w 4519987"/>
                    <a:gd name="connsiteY135" fmla="*/ 142875 h 4496940"/>
                    <a:gd name="connsiteX136" fmla="*/ 1716427 w 4519987"/>
                    <a:gd name="connsiteY136" fmla="*/ 123825 h 4496940"/>
                    <a:gd name="connsiteX137" fmla="*/ 1811677 w 4519987"/>
                    <a:gd name="connsiteY137" fmla="*/ 114300 h 4496940"/>
                    <a:gd name="connsiteX138" fmla="*/ 1859302 w 4519987"/>
                    <a:gd name="connsiteY138" fmla="*/ 104775 h 4496940"/>
                    <a:gd name="connsiteX139" fmla="*/ 1916452 w 4519987"/>
                    <a:gd name="connsiteY139" fmla="*/ 95250 h 4496940"/>
                    <a:gd name="connsiteX140" fmla="*/ 2030752 w 4519987"/>
                    <a:gd name="connsiteY140" fmla="*/ 66675 h 4496940"/>
                    <a:gd name="connsiteX141" fmla="*/ 2097427 w 4519987"/>
                    <a:gd name="connsiteY141" fmla="*/ 47625 h 4496940"/>
                    <a:gd name="connsiteX142" fmla="*/ 2164102 w 4519987"/>
                    <a:gd name="connsiteY142" fmla="*/ 38100 h 4496940"/>
                    <a:gd name="connsiteX143" fmla="*/ 2392702 w 4519987"/>
                    <a:gd name="connsiteY14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02477 w 4519987"/>
                    <a:gd name="connsiteY27" fmla="*/ 1590675 h 4496940"/>
                    <a:gd name="connsiteX28" fmla="*/ 4431052 w 4519987"/>
                    <a:gd name="connsiteY28" fmla="*/ 1685925 h 4496940"/>
                    <a:gd name="connsiteX29" fmla="*/ 4519952 w 4519987"/>
                    <a:gd name="connsiteY29" fmla="*/ 2181225 h 4496940"/>
                    <a:gd name="connsiteX30" fmla="*/ 4446927 w 4519987"/>
                    <a:gd name="connsiteY30" fmla="*/ 2768600 h 4496940"/>
                    <a:gd name="connsiteX31" fmla="*/ 4383427 w 4519987"/>
                    <a:gd name="connsiteY31" fmla="*/ 2990850 h 4496940"/>
                    <a:gd name="connsiteX32" fmla="*/ 4278652 w 4519987"/>
                    <a:gd name="connsiteY32" fmla="*/ 3248025 h 4496940"/>
                    <a:gd name="connsiteX33" fmla="*/ 4259602 w 4519987"/>
                    <a:gd name="connsiteY33" fmla="*/ 3276600 h 4496940"/>
                    <a:gd name="connsiteX34" fmla="*/ 4221502 w 4519987"/>
                    <a:gd name="connsiteY34" fmla="*/ 3333750 h 4496940"/>
                    <a:gd name="connsiteX35" fmla="*/ 4211977 w 4519987"/>
                    <a:gd name="connsiteY35" fmla="*/ 3362325 h 4496940"/>
                    <a:gd name="connsiteX36" fmla="*/ 4183402 w 4519987"/>
                    <a:gd name="connsiteY36" fmla="*/ 3400425 h 4496940"/>
                    <a:gd name="connsiteX37" fmla="*/ 4164352 w 4519987"/>
                    <a:gd name="connsiteY37" fmla="*/ 3429000 h 4496940"/>
                    <a:gd name="connsiteX38" fmla="*/ 4088152 w 4519987"/>
                    <a:gd name="connsiteY38" fmla="*/ 3495675 h 4496940"/>
                    <a:gd name="connsiteX39" fmla="*/ 4059577 w 4519987"/>
                    <a:gd name="connsiteY39" fmla="*/ 3533775 h 4496940"/>
                    <a:gd name="connsiteX40" fmla="*/ 4002427 w 4519987"/>
                    <a:gd name="connsiteY40" fmla="*/ 3600450 h 4496940"/>
                    <a:gd name="connsiteX41" fmla="*/ 3983377 w 4519987"/>
                    <a:gd name="connsiteY41" fmla="*/ 3629025 h 4496940"/>
                    <a:gd name="connsiteX42" fmla="*/ 3954802 w 4519987"/>
                    <a:gd name="connsiteY42" fmla="*/ 3648075 h 4496940"/>
                    <a:gd name="connsiteX43" fmla="*/ 3907177 w 4519987"/>
                    <a:gd name="connsiteY43" fmla="*/ 3686175 h 4496940"/>
                    <a:gd name="connsiteX44" fmla="*/ 3869077 w 4519987"/>
                    <a:gd name="connsiteY44" fmla="*/ 3724275 h 4496940"/>
                    <a:gd name="connsiteX45" fmla="*/ 3792877 w 4519987"/>
                    <a:gd name="connsiteY45" fmla="*/ 3781425 h 4496940"/>
                    <a:gd name="connsiteX46" fmla="*/ 3783352 w 4519987"/>
                    <a:gd name="connsiteY46" fmla="*/ 3810000 h 4496940"/>
                    <a:gd name="connsiteX47" fmla="*/ 3745252 w 4519987"/>
                    <a:gd name="connsiteY47" fmla="*/ 3819525 h 4496940"/>
                    <a:gd name="connsiteX48" fmla="*/ 3678577 w 4519987"/>
                    <a:gd name="connsiteY48" fmla="*/ 3848100 h 4496940"/>
                    <a:gd name="connsiteX49" fmla="*/ 3659527 w 4519987"/>
                    <a:gd name="connsiteY49" fmla="*/ 3971925 h 4496940"/>
                    <a:gd name="connsiteX50" fmla="*/ 3630952 w 4519987"/>
                    <a:gd name="connsiteY50" fmla="*/ 4010025 h 4496940"/>
                    <a:gd name="connsiteX51" fmla="*/ 3621427 w 4519987"/>
                    <a:gd name="connsiteY51" fmla="*/ 4038600 h 4496940"/>
                    <a:gd name="connsiteX52" fmla="*/ 3554752 w 4519987"/>
                    <a:gd name="connsiteY52" fmla="*/ 4095750 h 4496940"/>
                    <a:gd name="connsiteX53" fmla="*/ 3516652 w 4519987"/>
                    <a:gd name="connsiteY53" fmla="*/ 4114800 h 4496940"/>
                    <a:gd name="connsiteX54" fmla="*/ 3497602 w 4519987"/>
                    <a:gd name="connsiteY54" fmla="*/ 4143375 h 4496940"/>
                    <a:gd name="connsiteX55" fmla="*/ 3383302 w 4519987"/>
                    <a:gd name="connsiteY55" fmla="*/ 4210050 h 4496940"/>
                    <a:gd name="connsiteX56" fmla="*/ 3335677 w 4519987"/>
                    <a:gd name="connsiteY56" fmla="*/ 4238625 h 4496940"/>
                    <a:gd name="connsiteX57" fmla="*/ 3288052 w 4519987"/>
                    <a:gd name="connsiteY57" fmla="*/ 4248150 h 4496940"/>
                    <a:gd name="connsiteX58" fmla="*/ 3240427 w 4519987"/>
                    <a:gd name="connsiteY58" fmla="*/ 4267200 h 4496940"/>
                    <a:gd name="connsiteX59" fmla="*/ 3068977 w 4519987"/>
                    <a:gd name="connsiteY59" fmla="*/ 4286250 h 4496940"/>
                    <a:gd name="connsiteX60" fmla="*/ 2935627 w 4519987"/>
                    <a:gd name="connsiteY60" fmla="*/ 4333875 h 4496940"/>
                    <a:gd name="connsiteX61" fmla="*/ 2811802 w 4519987"/>
                    <a:gd name="connsiteY61" fmla="*/ 4371975 h 4496940"/>
                    <a:gd name="connsiteX62" fmla="*/ 2745127 w 4519987"/>
                    <a:gd name="connsiteY62" fmla="*/ 4410075 h 4496940"/>
                    <a:gd name="connsiteX63" fmla="*/ 2697502 w 4519987"/>
                    <a:gd name="connsiteY63" fmla="*/ 4429125 h 4496940"/>
                    <a:gd name="connsiteX64" fmla="*/ 2640352 w 4519987"/>
                    <a:gd name="connsiteY64" fmla="*/ 4457700 h 4496940"/>
                    <a:gd name="connsiteX65" fmla="*/ 2583202 w 4519987"/>
                    <a:gd name="connsiteY65" fmla="*/ 4467225 h 4496940"/>
                    <a:gd name="connsiteX66" fmla="*/ 2545102 w 4519987"/>
                    <a:gd name="connsiteY66" fmla="*/ 4486275 h 4496940"/>
                    <a:gd name="connsiteX67" fmla="*/ 2306977 w 4519987"/>
                    <a:gd name="connsiteY67" fmla="*/ 4476750 h 4496940"/>
                    <a:gd name="connsiteX68" fmla="*/ 2202202 w 4519987"/>
                    <a:gd name="connsiteY68" fmla="*/ 4457700 h 4496940"/>
                    <a:gd name="connsiteX69" fmla="*/ 2126002 w 4519987"/>
                    <a:gd name="connsiteY69" fmla="*/ 4429125 h 4496940"/>
                    <a:gd name="connsiteX70" fmla="*/ 1935502 w 4519987"/>
                    <a:gd name="connsiteY70" fmla="*/ 4400550 h 4496940"/>
                    <a:gd name="connsiteX71" fmla="*/ 1821202 w 4519987"/>
                    <a:gd name="connsiteY71" fmla="*/ 4371975 h 4496940"/>
                    <a:gd name="connsiteX72" fmla="*/ 1754527 w 4519987"/>
                    <a:gd name="connsiteY72" fmla="*/ 4352925 h 4496940"/>
                    <a:gd name="connsiteX73" fmla="*/ 1687852 w 4519987"/>
                    <a:gd name="connsiteY73" fmla="*/ 4343400 h 4496940"/>
                    <a:gd name="connsiteX74" fmla="*/ 1573552 w 4519987"/>
                    <a:gd name="connsiteY74" fmla="*/ 4305300 h 4496940"/>
                    <a:gd name="connsiteX75" fmla="*/ 1402102 w 4519987"/>
                    <a:gd name="connsiteY75" fmla="*/ 4276725 h 4496940"/>
                    <a:gd name="connsiteX76" fmla="*/ 1287802 w 4519987"/>
                    <a:gd name="connsiteY76" fmla="*/ 4229100 h 4496940"/>
                    <a:gd name="connsiteX77" fmla="*/ 1221127 w 4519987"/>
                    <a:gd name="connsiteY77" fmla="*/ 4200525 h 4496940"/>
                    <a:gd name="connsiteX78" fmla="*/ 1144927 w 4519987"/>
                    <a:gd name="connsiteY78" fmla="*/ 4171950 h 4496940"/>
                    <a:gd name="connsiteX79" fmla="*/ 1087777 w 4519987"/>
                    <a:gd name="connsiteY79" fmla="*/ 4143375 h 4496940"/>
                    <a:gd name="connsiteX80" fmla="*/ 1030627 w 4519987"/>
                    <a:gd name="connsiteY80" fmla="*/ 4124325 h 4496940"/>
                    <a:gd name="connsiteX81" fmla="*/ 925852 w 4519987"/>
                    <a:gd name="connsiteY81" fmla="*/ 4067175 h 4496940"/>
                    <a:gd name="connsiteX82" fmla="*/ 830602 w 4519987"/>
                    <a:gd name="connsiteY82" fmla="*/ 3981450 h 4496940"/>
                    <a:gd name="connsiteX83" fmla="*/ 763927 w 4519987"/>
                    <a:gd name="connsiteY83" fmla="*/ 3914775 h 4496940"/>
                    <a:gd name="connsiteX84" fmla="*/ 725827 w 4519987"/>
                    <a:gd name="connsiteY84" fmla="*/ 3876675 h 4496940"/>
                    <a:gd name="connsiteX85" fmla="*/ 697252 w 4519987"/>
                    <a:gd name="connsiteY85" fmla="*/ 3838575 h 4496940"/>
                    <a:gd name="connsiteX86" fmla="*/ 640102 w 4519987"/>
                    <a:gd name="connsiteY86" fmla="*/ 3781425 h 4496940"/>
                    <a:gd name="connsiteX87" fmla="*/ 611527 w 4519987"/>
                    <a:gd name="connsiteY87" fmla="*/ 3733800 h 4496940"/>
                    <a:gd name="connsiteX88" fmla="*/ 554377 w 4519987"/>
                    <a:gd name="connsiteY88" fmla="*/ 3657600 h 4496940"/>
                    <a:gd name="connsiteX89" fmla="*/ 525802 w 4519987"/>
                    <a:gd name="connsiteY89" fmla="*/ 3609975 h 4496940"/>
                    <a:gd name="connsiteX90" fmla="*/ 497227 w 4519987"/>
                    <a:gd name="connsiteY90" fmla="*/ 3552825 h 4496940"/>
                    <a:gd name="connsiteX91" fmla="*/ 440077 w 4519987"/>
                    <a:gd name="connsiteY91" fmla="*/ 3495675 h 4496940"/>
                    <a:gd name="connsiteX92" fmla="*/ 411502 w 4519987"/>
                    <a:gd name="connsiteY92" fmla="*/ 3448050 h 4496940"/>
                    <a:gd name="connsiteX93" fmla="*/ 278152 w 4519987"/>
                    <a:gd name="connsiteY93" fmla="*/ 3257550 h 4496940"/>
                    <a:gd name="connsiteX94" fmla="*/ 249577 w 4519987"/>
                    <a:gd name="connsiteY94" fmla="*/ 3200400 h 4496940"/>
                    <a:gd name="connsiteX95" fmla="*/ 240052 w 4519987"/>
                    <a:gd name="connsiteY95" fmla="*/ 3162300 h 4496940"/>
                    <a:gd name="connsiteX96" fmla="*/ 221002 w 4519987"/>
                    <a:gd name="connsiteY96" fmla="*/ 3105150 h 4496940"/>
                    <a:gd name="connsiteX97" fmla="*/ 173377 w 4519987"/>
                    <a:gd name="connsiteY97" fmla="*/ 3019425 h 4496940"/>
                    <a:gd name="connsiteX98" fmla="*/ 144802 w 4519987"/>
                    <a:gd name="connsiteY98" fmla="*/ 2924175 h 4496940"/>
                    <a:gd name="connsiteX99" fmla="*/ 68602 w 4519987"/>
                    <a:gd name="connsiteY99" fmla="*/ 2724150 h 4496940"/>
                    <a:gd name="connsiteX100" fmla="*/ 49552 w 4519987"/>
                    <a:gd name="connsiteY100" fmla="*/ 2638425 h 4496940"/>
                    <a:gd name="connsiteX101" fmla="*/ 40027 w 4519987"/>
                    <a:gd name="connsiteY101" fmla="*/ 2562225 h 4496940"/>
                    <a:gd name="connsiteX102" fmla="*/ 30502 w 4519987"/>
                    <a:gd name="connsiteY102" fmla="*/ 2514600 h 4496940"/>
                    <a:gd name="connsiteX103" fmla="*/ 11452 w 4519987"/>
                    <a:gd name="connsiteY103" fmla="*/ 2400300 h 4496940"/>
                    <a:gd name="connsiteX104" fmla="*/ 20977 w 4519987"/>
                    <a:gd name="connsiteY104" fmla="*/ 1905000 h 4496940"/>
                    <a:gd name="connsiteX105" fmla="*/ 30502 w 4519987"/>
                    <a:gd name="connsiteY105" fmla="*/ 1838325 h 4496940"/>
                    <a:gd name="connsiteX106" fmla="*/ 49552 w 4519987"/>
                    <a:gd name="connsiteY106" fmla="*/ 1781175 h 4496940"/>
                    <a:gd name="connsiteX107" fmla="*/ 59077 w 4519987"/>
                    <a:gd name="connsiteY107" fmla="*/ 1743075 h 4496940"/>
                    <a:gd name="connsiteX108" fmla="*/ 78127 w 4519987"/>
                    <a:gd name="connsiteY108" fmla="*/ 1685925 h 4496940"/>
                    <a:gd name="connsiteX109" fmla="*/ 87652 w 4519987"/>
                    <a:gd name="connsiteY109" fmla="*/ 1638300 h 4496940"/>
                    <a:gd name="connsiteX110" fmla="*/ 106702 w 4519987"/>
                    <a:gd name="connsiteY110" fmla="*/ 1590675 h 4496940"/>
                    <a:gd name="connsiteX111" fmla="*/ 135277 w 4519987"/>
                    <a:gd name="connsiteY111" fmla="*/ 1504950 h 4496940"/>
                    <a:gd name="connsiteX112" fmla="*/ 154327 w 4519987"/>
                    <a:gd name="connsiteY112" fmla="*/ 1419225 h 4496940"/>
                    <a:gd name="connsiteX113" fmla="*/ 230527 w 4519987"/>
                    <a:gd name="connsiteY113" fmla="*/ 1276350 h 4496940"/>
                    <a:gd name="connsiteX114" fmla="*/ 240052 w 4519987"/>
                    <a:gd name="connsiteY114" fmla="*/ 1247775 h 4496940"/>
                    <a:gd name="connsiteX115" fmla="*/ 268627 w 4519987"/>
                    <a:gd name="connsiteY115" fmla="*/ 1200150 h 4496940"/>
                    <a:gd name="connsiteX116" fmla="*/ 287677 w 4519987"/>
                    <a:gd name="connsiteY116" fmla="*/ 1152525 h 4496940"/>
                    <a:gd name="connsiteX117" fmla="*/ 316252 w 4519987"/>
                    <a:gd name="connsiteY117" fmla="*/ 1114425 h 4496940"/>
                    <a:gd name="connsiteX118" fmla="*/ 363877 w 4519987"/>
                    <a:gd name="connsiteY118" fmla="*/ 1038225 h 4496940"/>
                    <a:gd name="connsiteX119" fmla="*/ 382927 w 4519987"/>
                    <a:gd name="connsiteY119" fmla="*/ 1009650 h 4496940"/>
                    <a:gd name="connsiteX120" fmla="*/ 440077 w 4519987"/>
                    <a:gd name="connsiteY120" fmla="*/ 904875 h 4496940"/>
                    <a:gd name="connsiteX121" fmla="*/ 478177 w 4519987"/>
                    <a:gd name="connsiteY121" fmla="*/ 857250 h 4496940"/>
                    <a:gd name="connsiteX122" fmla="*/ 497227 w 4519987"/>
                    <a:gd name="connsiteY122" fmla="*/ 828675 h 4496940"/>
                    <a:gd name="connsiteX123" fmla="*/ 535327 w 4519987"/>
                    <a:gd name="connsiteY123" fmla="*/ 800100 h 4496940"/>
                    <a:gd name="connsiteX124" fmla="*/ 602002 w 4519987"/>
                    <a:gd name="connsiteY124" fmla="*/ 733425 h 4496940"/>
                    <a:gd name="connsiteX125" fmla="*/ 668677 w 4519987"/>
                    <a:gd name="connsiteY125" fmla="*/ 676275 h 4496940"/>
                    <a:gd name="connsiteX126" fmla="*/ 697252 w 4519987"/>
                    <a:gd name="connsiteY126" fmla="*/ 657225 h 4496940"/>
                    <a:gd name="connsiteX127" fmla="*/ 840127 w 4519987"/>
                    <a:gd name="connsiteY127" fmla="*/ 533400 h 4496940"/>
                    <a:gd name="connsiteX128" fmla="*/ 887752 w 4519987"/>
                    <a:gd name="connsiteY128" fmla="*/ 504825 h 4496940"/>
                    <a:gd name="connsiteX129" fmla="*/ 1167152 w 4519987"/>
                    <a:gd name="connsiteY129" fmla="*/ 311150 h 4496940"/>
                    <a:gd name="connsiteX130" fmla="*/ 1268752 w 4519987"/>
                    <a:gd name="connsiteY130" fmla="*/ 285750 h 4496940"/>
                    <a:gd name="connsiteX131" fmla="*/ 1411627 w 4519987"/>
                    <a:gd name="connsiteY131" fmla="*/ 190500 h 4496940"/>
                    <a:gd name="connsiteX132" fmla="*/ 1449727 w 4519987"/>
                    <a:gd name="connsiteY132" fmla="*/ 161925 h 4496940"/>
                    <a:gd name="connsiteX133" fmla="*/ 1525927 w 4519987"/>
                    <a:gd name="connsiteY133" fmla="*/ 152400 h 4496940"/>
                    <a:gd name="connsiteX134" fmla="*/ 1583077 w 4519987"/>
                    <a:gd name="connsiteY134" fmla="*/ 142875 h 4496940"/>
                    <a:gd name="connsiteX135" fmla="*/ 1716427 w 4519987"/>
                    <a:gd name="connsiteY135" fmla="*/ 123825 h 4496940"/>
                    <a:gd name="connsiteX136" fmla="*/ 1811677 w 4519987"/>
                    <a:gd name="connsiteY136" fmla="*/ 114300 h 4496940"/>
                    <a:gd name="connsiteX137" fmla="*/ 1859302 w 4519987"/>
                    <a:gd name="connsiteY137" fmla="*/ 104775 h 4496940"/>
                    <a:gd name="connsiteX138" fmla="*/ 1916452 w 4519987"/>
                    <a:gd name="connsiteY138" fmla="*/ 95250 h 4496940"/>
                    <a:gd name="connsiteX139" fmla="*/ 2030752 w 4519987"/>
                    <a:gd name="connsiteY139" fmla="*/ 66675 h 4496940"/>
                    <a:gd name="connsiteX140" fmla="*/ 2097427 w 4519987"/>
                    <a:gd name="connsiteY140" fmla="*/ 47625 h 4496940"/>
                    <a:gd name="connsiteX141" fmla="*/ 2164102 w 4519987"/>
                    <a:gd name="connsiteY141" fmla="*/ 38100 h 4496940"/>
                    <a:gd name="connsiteX142" fmla="*/ 2392702 w 4519987"/>
                    <a:gd name="connsiteY14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164352 w 4519987"/>
                    <a:gd name="connsiteY36" fmla="*/ 3429000 h 4496940"/>
                    <a:gd name="connsiteX37" fmla="*/ 4088152 w 4519987"/>
                    <a:gd name="connsiteY37" fmla="*/ 3495675 h 4496940"/>
                    <a:gd name="connsiteX38" fmla="*/ 4059577 w 4519987"/>
                    <a:gd name="connsiteY38" fmla="*/ 3533775 h 4496940"/>
                    <a:gd name="connsiteX39" fmla="*/ 4002427 w 4519987"/>
                    <a:gd name="connsiteY39" fmla="*/ 3600450 h 4496940"/>
                    <a:gd name="connsiteX40" fmla="*/ 3983377 w 4519987"/>
                    <a:gd name="connsiteY40" fmla="*/ 3629025 h 4496940"/>
                    <a:gd name="connsiteX41" fmla="*/ 3954802 w 4519987"/>
                    <a:gd name="connsiteY41" fmla="*/ 3648075 h 4496940"/>
                    <a:gd name="connsiteX42" fmla="*/ 3907177 w 4519987"/>
                    <a:gd name="connsiteY42" fmla="*/ 3686175 h 4496940"/>
                    <a:gd name="connsiteX43" fmla="*/ 3869077 w 4519987"/>
                    <a:gd name="connsiteY43" fmla="*/ 3724275 h 4496940"/>
                    <a:gd name="connsiteX44" fmla="*/ 3792877 w 4519987"/>
                    <a:gd name="connsiteY44" fmla="*/ 3781425 h 4496940"/>
                    <a:gd name="connsiteX45" fmla="*/ 3783352 w 4519987"/>
                    <a:gd name="connsiteY45" fmla="*/ 3810000 h 4496940"/>
                    <a:gd name="connsiteX46" fmla="*/ 3745252 w 4519987"/>
                    <a:gd name="connsiteY46" fmla="*/ 3819525 h 4496940"/>
                    <a:gd name="connsiteX47" fmla="*/ 3678577 w 4519987"/>
                    <a:gd name="connsiteY47" fmla="*/ 3848100 h 4496940"/>
                    <a:gd name="connsiteX48" fmla="*/ 3659527 w 4519987"/>
                    <a:gd name="connsiteY48" fmla="*/ 3971925 h 4496940"/>
                    <a:gd name="connsiteX49" fmla="*/ 3630952 w 4519987"/>
                    <a:gd name="connsiteY49" fmla="*/ 4010025 h 4496940"/>
                    <a:gd name="connsiteX50" fmla="*/ 3621427 w 4519987"/>
                    <a:gd name="connsiteY50" fmla="*/ 4038600 h 4496940"/>
                    <a:gd name="connsiteX51" fmla="*/ 3554752 w 4519987"/>
                    <a:gd name="connsiteY51" fmla="*/ 4095750 h 4496940"/>
                    <a:gd name="connsiteX52" fmla="*/ 3516652 w 4519987"/>
                    <a:gd name="connsiteY52" fmla="*/ 4114800 h 4496940"/>
                    <a:gd name="connsiteX53" fmla="*/ 3497602 w 4519987"/>
                    <a:gd name="connsiteY53" fmla="*/ 4143375 h 4496940"/>
                    <a:gd name="connsiteX54" fmla="*/ 3383302 w 4519987"/>
                    <a:gd name="connsiteY54" fmla="*/ 4210050 h 4496940"/>
                    <a:gd name="connsiteX55" fmla="*/ 3335677 w 4519987"/>
                    <a:gd name="connsiteY55" fmla="*/ 4238625 h 4496940"/>
                    <a:gd name="connsiteX56" fmla="*/ 3288052 w 4519987"/>
                    <a:gd name="connsiteY56" fmla="*/ 4248150 h 4496940"/>
                    <a:gd name="connsiteX57" fmla="*/ 3240427 w 4519987"/>
                    <a:gd name="connsiteY57" fmla="*/ 4267200 h 4496940"/>
                    <a:gd name="connsiteX58" fmla="*/ 3068977 w 4519987"/>
                    <a:gd name="connsiteY58" fmla="*/ 4286250 h 4496940"/>
                    <a:gd name="connsiteX59" fmla="*/ 2935627 w 4519987"/>
                    <a:gd name="connsiteY59" fmla="*/ 4333875 h 4496940"/>
                    <a:gd name="connsiteX60" fmla="*/ 2811802 w 4519987"/>
                    <a:gd name="connsiteY60" fmla="*/ 4371975 h 4496940"/>
                    <a:gd name="connsiteX61" fmla="*/ 2745127 w 4519987"/>
                    <a:gd name="connsiteY61" fmla="*/ 4410075 h 4496940"/>
                    <a:gd name="connsiteX62" fmla="*/ 2697502 w 4519987"/>
                    <a:gd name="connsiteY62" fmla="*/ 4429125 h 4496940"/>
                    <a:gd name="connsiteX63" fmla="*/ 2640352 w 4519987"/>
                    <a:gd name="connsiteY63" fmla="*/ 4457700 h 4496940"/>
                    <a:gd name="connsiteX64" fmla="*/ 2583202 w 4519987"/>
                    <a:gd name="connsiteY64" fmla="*/ 4467225 h 4496940"/>
                    <a:gd name="connsiteX65" fmla="*/ 2545102 w 4519987"/>
                    <a:gd name="connsiteY65" fmla="*/ 4486275 h 4496940"/>
                    <a:gd name="connsiteX66" fmla="*/ 2306977 w 4519987"/>
                    <a:gd name="connsiteY66" fmla="*/ 4476750 h 4496940"/>
                    <a:gd name="connsiteX67" fmla="*/ 2202202 w 4519987"/>
                    <a:gd name="connsiteY67" fmla="*/ 4457700 h 4496940"/>
                    <a:gd name="connsiteX68" fmla="*/ 2126002 w 4519987"/>
                    <a:gd name="connsiteY68" fmla="*/ 4429125 h 4496940"/>
                    <a:gd name="connsiteX69" fmla="*/ 1935502 w 4519987"/>
                    <a:gd name="connsiteY69" fmla="*/ 4400550 h 4496940"/>
                    <a:gd name="connsiteX70" fmla="*/ 1821202 w 4519987"/>
                    <a:gd name="connsiteY70" fmla="*/ 4371975 h 4496940"/>
                    <a:gd name="connsiteX71" fmla="*/ 1754527 w 4519987"/>
                    <a:gd name="connsiteY71" fmla="*/ 4352925 h 4496940"/>
                    <a:gd name="connsiteX72" fmla="*/ 1687852 w 4519987"/>
                    <a:gd name="connsiteY72" fmla="*/ 4343400 h 4496940"/>
                    <a:gd name="connsiteX73" fmla="*/ 1573552 w 4519987"/>
                    <a:gd name="connsiteY73" fmla="*/ 4305300 h 4496940"/>
                    <a:gd name="connsiteX74" fmla="*/ 1402102 w 4519987"/>
                    <a:gd name="connsiteY74" fmla="*/ 4276725 h 4496940"/>
                    <a:gd name="connsiteX75" fmla="*/ 1287802 w 4519987"/>
                    <a:gd name="connsiteY75" fmla="*/ 4229100 h 4496940"/>
                    <a:gd name="connsiteX76" fmla="*/ 1221127 w 4519987"/>
                    <a:gd name="connsiteY76" fmla="*/ 4200525 h 4496940"/>
                    <a:gd name="connsiteX77" fmla="*/ 1144927 w 4519987"/>
                    <a:gd name="connsiteY77" fmla="*/ 4171950 h 4496940"/>
                    <a:gd name="connsiteX78" fmla="*/ 1087777 w 4519987"/>
                    <a:gd name="connsiteY78" fmla="*/ 4143375 h 4496940"/>
                    <a:gd name="connsiteX79" fmla="*/ 1030627 w 4519987"/>
                    <a:gd name="connsiteY79" fmla="*/ 4124325 h 4496940"/>
                    <a:gd name="connsiteX80" fmla="*/ 925852 w 4519987"/>
                    <a:gd name="connsiteY80" fmla="*/ 4067175 h 4496940"/>
                    <a:gd name="connsiteX81" fmla="*/ 830602 w 4519987"/>
                    <a:gd name="connsiteY81" fmla="*/ 3981450 h 4496940"/>
                    <a:gd name="connsiteX82" fmla="*/ 763927 w 4519987"/>
                    <a:gd name="connsiteY82" fmla="*/ 3914775 h 4496940"/>
                    <a:gd name="connsiteX83" fmla="*/ 725827 w 4519987"/>
                    <a:gd name="connsiteY83" fmla="*/ 3876675 h 4496940"/>
                    <a:gd name="connsiteX84" fmla="*/ 697252 w 4519987"/>
                    <a:gd name="connsiteY84" fmla="*/ 3838575 h 4496940"/>
                    <a:gd name="connsiteX85" fmla="*/ 640102 w 4519987"/>
                    <a:gd name="connsiteY85" fmla="*/ 3781425 h 4496940"/>
                    <a:gd name="connsiteX86" fmla="*/ 611527 w 4519987"/>
                    <a:gd name="connsiteY86" fmla="*/ 3733800 h 4496940"/>
                    <a:gd name="connsiteX87" fmla="*/ 554377 w 4519987"/>
                    <a:gd name="connsiteY87" fmla="*/ 3657600 h 4496940"/>
                    <a:gd name="connsiteX88" fmla="*/ 525802 w 4519987"/>
                    <a:gd name="connsiteY88" fmla="*/ 3609975 h 4496940"/>
                    <a:gd name="connsiteX89" fmla="*/ 497227 w 4519987"/>
                    <a:gd name="connsiteY89" fmla="*/ 3552825 h 4496940"/>
                    <a:gd name="connsiteX90" fmla="*/ 440077 w 4519987"/>
                    <a:gd name="connsiteY90" fmla="*/ 3495675 h 4496940"/>
                    <a:gd name="connsiteX91" fmla="*/ 411502 w 4519987"/>
                    <a:gd name="connsiteY91" fmla="*/ 3448050 h 4496940"/>
                    <a:gd name="connsiteX92" fmla="*/ 278152 w 4519987"/>
                    <a:gd name="connsiteY92" fmla="*/ 3257550 h 4496940"/>
                    <a:gd name="connsiteX93" fmla="*/ 249577 w 4519987"/>
                    <a:gd name="connsiteY93" fmla="*/ 3200400 h 4496940"/>
                    <a:gd name="connsiteX94" fmla="*/ 240052 w 4519987"/>
                    <a:gd name="connsiteY94" fmla="*/ 3162300 h 4496940"/>
                    <a:gd name="connsiteX95" fmla="*/ 221002 w 4519987"/>
                    <a:gd name="connsiteY95" fmla="*/ 3105150 h 4496940"/>
                    <a:gd name="connsiteX96" fmla="*/ 173377 w 4519987"/>
                    <a:gd name="connsiteY96" fmla="*/ 3019425 h 4496940"/>
                    <a:gd name="connsiteX97" fmla="*/ 144802 w 4519987"/>
                    <a:gd name="connsiteY97" fmla="*/ 2924175 h 4496940"/>
                    <a:gd name="connsiteX98" fmla="*/ 68602 w 4519987"/>
                    <a:gd name="connsiteY98" fmla="*/ 2724150 h 4496940"/>
                    <a:gd name="connsiteX99" fmla="*/ 49552 w 4519987"/>
                    <a:gd name="connsiteY99" fmla="*/ 2638425 h 4496940"/>
                    <a:gd name="connsiteX100" fmla="*/ 40027 w 4519987"/>
                    <a:gd name="connsiteY100" fmla="*/ 2562225 h 4496940"/>
                    <a:gd name="connsiteX101" fmla="*/ 30502 w 4519987"/>
                    <a:gd name="connsiteY101" fmla="*/ 2514600 h 4496940"/>
                    <a:gd name="connsiteX102" fmla="*/ 11452 w 4519987"/>
                    <a:gd name="connsiteY102" fmla="*/ 2400300 h 4496940"/>
                    <a:gd name="connsiteX103" fmla="*/ 20977 w 4519987"/>
                    <a:gd name="connsiteY103" fmla="*/ 1905000 h 4496940"/>
                    <a:gd name="connsiteX104" fmla="*/ 30502 w 4519987"/>
                    <a:gd name="connsiteY104" fmla="*/ 1838325 h 4496940"/>
                    <a:gd name="connsiteX105" fmla="*/ 49552 w 4519987"/>
                    <a:gd name="connsiteY105" fmla="*/ 1781175 h 4496940"/>
                    <a:gd name="connsiteX106" fmla="*/ 59077 w 4519987"/>
                    <a:gd name="connsiteY106" fmla="*/ 1743075 h 4496940"/>
                    <a:gd name="connsiteX107" fmla="*/ 78127 w 4519987"/>
                    <a:gd name="connsiteY107" fmla="*/ 1685925 h 4496940"/>
                    <a:gd name="connsiteX108" fmla="*/ 87652 w 4519987"/>
                    <a:gd name="connsiteY108" fmla="*/ 1638300 h 4496940"/>
                    <a:gd name="connsiteX109" fmla="*/ 106702 w 4519987"/>
                    <a:gd name="connsiteY109" fmla="*/ 1590675 h 4496940"/>
                    <a:gd name="connsiteX110" fmla="*/ 135277 w 4519987"/>
                    <a:gd name="connsiteY110" fmla="*/ 1504950 h 4496940"/>
                    <a:gd name="connsiteX111" fmla="*/ 154327 w 4519987"/>
                    <a:gd name="connsiteY111" fmla="*/ 1419225 h 4496940"/>
                    <a:gd name="connsiteX112" fmla="*/ 230527 w 4519987"/>
                    <a:gd name="connsiteY112" fmla="*/ 1276350 h 4496940"/>
                    <a:gd name="connsiteX113" fmla="*/ 240052 w 4519987"/>
                    <a:gd name="connsiteY113" fmla="*/ 1247775 h 4496940"/>
                    <a:gd name="connsiteX114" fmla="*/ 268627 w 4519987"/>
                    <a:gd name="connsiteY114" fmla="*/ 1200150 h 4496940"/>
                    <a:gd name="connsiteX115" fmla="*/ 287677 w 4519987"/>
                    <a:gd name="connsiteY115" fmla="*/ 1152525 h 4496940"/>
                    <a:gd name="connsiteX116" fmla="*/ 316252 w 4519987"/>
                    <a:gd name="connsiteY116" fmla="*/ 1114425 h 4496940"/>
                    <a:gd name="connsiteX117" fmla="*/ 363877 w 4519987"/>
                    <a:gd name="connsiteY117" fmla="*/ 1038225 h 4496940"/>
                    <a:gd name="connsiteX118" fmla="*/ 382927 w 4519987"/>
                    <a:gd name="connsiteY118" fmla="*/ 1009650 h 4496940"/>
                    <a:gd name="connsiteX119" fmla="*/ 440077 w 4519987"/>
                    <a:gd name="connsiteY119" fmla="*/ 904875 h 4496940"/>
                    <a:gd name="connsiteX120" fmla="*/ 478177 w 4519987"/>
                    <a:gd name="connsiteY120" fmla="*/ 857250 h 4496940"/>
                    <a:gd name="connsiteX121" fmla="*/ 497227 w 4519987"/>
                    <a:gd name="connsiteY121" fmla="*/ 828675 h 4496940"/>
                    <a:gd name="connsiteX122" fmla="*/ 535327 w 4519987"/>
                    <a:gd name="connsiteY122" fmla="*/ 800100 h 4496940"/>
                    <a:gd name="connsiteX123" fmla="*/ 602002 w 4519987"/>
                    <a:gd name="connsiteY123" fmla="*/ 733425 h 4496940"/>
                    <a:gd name="connsiteX124" fmla="*/ 668677 w 4519987"/>
                    <a:gd name="connsiteY124" fmla="*/ 676275 h 4496940"/>
                    <a:gd name="connsiteX125" fmla="*/ 697252 w 4519987"/>
                    <a:gd name="connsiteY125" fmla="*/ 657225 h 4496940"/>
                    <a:gd name="connsiteX126" fmla="*/ 840127 w 4519987"/>
                    <a:gd name="connsiteY126" fmla="*/ 533400 h 4496940"/>
                    <a:gd name="connsiteX127" fmla="*/ 887752 w 4519987"/>
                    <a:gd name="connsiteY127" fmla="*/ 504825 h 4496940"/>
                    <a:gd name="connsiteX128" fmla="*/ 1167152 w 4519987"/>
                    <a:gd name="connsiteY128" fmla="*/ 311150 h 4496940"/>
                    <a:gd name="connsiteX129" fmla="*/ 1268752 w 4519987"/>
                    <a:gd name="connsiteY129" fmla="*/ 285750 h 4496940"/>
                    <a:gd name="connsiteX130" fmla="*/ 1411627 w 4519987"/>
                    <a:gd name="connsiteY130" fmla="*/ 190500 h 4496940"/>
                    <a:gd name="connsiteX131" fmla="*/ 1449727 w 4519987"/>
                    <a:gd name="connsiteY131" fmla="*/ 161925 h 4496940"/>
                    <a:gd name="connsiteX132" fmla="*/ 1525927 w 4519987"/>
                    <a:gd name="connsiteY132" fmla="*/ 152400 h 4496940"/>
                    <a:gd name="connsiteX133" fmla="*/ 1583077 w 4519987"/>
                    <a:gd name="connsiteY133" fmla="*/ 142875 h 4496940"/>
                    <a:gd name="connsiteX134" fmla="*/ 1716427 w 4519987"/>
                    <a:gd name="connsiteY134" fmla="*/ 123825 h 4496940"/>
                    <a:gd name="connsiteX135" fmla="*/ 1811677 w 4519987"/>
                    <a:gd name="connsiteY135" fmla="*/ 114300 h 4496940"/>
                    <a:gd name="connsiteX136" fmla="*/ 1859302 w 4519987"/>
                    <a:gd name="connsiteY136" fmla="*/ 104775 h 4496940"/>
                    <a:gd name="connsiteX137" fmla="*/ 1916452 w 4519987"/>
                    <a:gd name="connsiteY137" fmla="*/ 95250 h 4496940"/>
                    <a:gd name="connsiteX138" fmla="*/ 2030752 w 4519987"/>
                    <a:gd name="connsiteY138" fmla="*/ 66675 h 4496940"/>
                    <a:gd name="connsiteX139" fmla="*/ 2097427 w 4519987"/>
                    <a:gd name="connsiteY139" fmla="*/ 47625 h 4496940"/>
                    <a:gd name="connsiteX140" fmla="*/ 2164102 w 4519987"/>
                    <a:gd name="connsiteY140" fmla="*/ 38100 h 4496940"/>
                    <a:gd name="connsiteX141" fmla="*/ 2392702 w 4519987"/>
                    <a:gd name="connsiteY14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088152 w 4519987"/>
                    <a:gd name="connsiteY36" fmla="*/ 3495675 h 4496940"/>
                    <a:gd name="connsiteX37" fmla="*/ 4059577 w 4519987"/>
                    <a:gd name="connsiteY37" fmla="*/ 3533775 h 4496940"/>
                    <a:gd name="connsiteX38" fmla="*/ 4002427 w 4519987"/>
                    <a:gd name="connsiteY38" fmla="*/ 3600450 h 4496940"/>
                    <a:gd name="connsiteX39" fmla="*/ 3983377 w 4519987"/>
                    <a:gd name="connsiteY39" fmla="*/ 3629025 h 4496940"/>
                    <a:gd name="connsiteX40" fmla="*/ 3954802 w 4519987"/>
                    <a:gd name="connsiteY40" fmla="*/ 3648075 h 4496940"/>
                    <a:gd name="connsiteX41" fmla="*/ 3907177 w 4519987"/>
                    <a:gd name="connsiteY41" fmla="*/ 3686175 h 4496940"/>
                    <a:gd name="connsiteX42" fmla="*/ 3869077 w 4519987"/>
                    <a:gd name="connsiteY42" fmla="*/ 3724275 h 4496940"/>
                    <a:gd name="connsiteX43" fmla="*/ 3792877 w 4519987"/>
                    <a:gd name="connsiteY43" fmla="*/ 3781425 h 4496940"/>
                    <a:gd name="connsiteX44" fmla="*/ 3783352 w 4519987"/>
                    <a:gd name="connsiteY44" fmla="*/ 3810000 h 4496940"/>
                    <a:gd name="connsiteX45" fmla="*/ 3745252 w 4519987"/>
                    <a:gd name="connsiteY45" fmla="*/ 3819525 h 4496940"/>
                    <a:gd name="connsiteX46" fmla="*/ 3678577 w 4519987"/>
                    <a:gd name="connsiteY46" fmla="*/ 3848100 h 4496940"/>
                    <a:gd name="connsiteX47" fmla="*/ 3659527 w 4519987"/>
                    <a:gd name="connsiteY47" fmla="*/ 3971925 h 4496940"/>
                    <a:gd name="connsiteX48" fmla="*/ 3630952 w 4519987"/>
                    <a:gd name="connsiteY48" fmla="*/ 4010025 h 4496940"/>
                    <a:gd name="connsiteX49" fmla="*/ 3621427 w 4519987"/>
                    <a:gd name="connsiteY49" fmla="*/ 4038600 h 4496940"/>
                    <a:gd name="connsiteX50" fmla="*/ 3554752 w 4519987"/>
                    <a:gd name="connsiteY50" fmla="*/ 4095750 h 4496940"/>
                    <a:gd name="connsiteX51" fmla="*/ 3516652 w 4519987"/>
                    <a:gd name="connsiteY51" fmla="*/ 4114800 h 4496940"/>
                    <a:gd name="connsiteX52" fmla="*/ 3497602 w 4519987"/>
                    <a:gd name="connsiteY52" fmla="*/ 4143375 h 4496940"/>
                    <a:gd name="connsiteX53" fmla="*/ 3383302 w 4519987"/>
                    <a:gd name="connsiteY53" fmla="*/ 4210050 h 4496940"/>
                    <a:gd name="connsiteX54" fmla="*/ 3335677 w 4519987"/>
                    <a:gd name="connsiteY54" fmla="*/ 4238625 h 4496940"/>
                    <a:gd name="connsiteX55" fmla="*/ 3288052 w 4519987"/>
                    <a:gd name="connsiteY55" fmla="*/ 4248150 h 4496940"/>
                    <a:gd name="connsiteX56" fmla="*/ 3240427 w 4519987"/>
                    <a:gd name="connsiteY56" fmla="*/ 4267200 h 4496940"/>
                    <a:gd name="connsiteX57" fmla="*/ 3068977 w 4519987"/>
                    <a:gd name="connsiteY57" fmla="*/ 4286250 h 4496940"/>
                    <a:gd name="connsiteX58" fmla="*/ 2935627 w 4519987"/>
                    <a:gd name="connsiteY58" fmla="*/ 4333875 h 4496940"/>
                    <a:gd name="connsiteX59" fmla="*/ 2811802 w 4519987"/>
                    <a:gd name="connsiteY59" fmla="*/ 4371975 h 4496940"/>
                    <a:gd name="connsiteX60" fmla="*/ 2745127 w 4519987"/>
                    <a:gd name="connsiteY60" fmla="*/ 4410075 h 4496940"/>
                    <a:gd name="connsiteX61" fmla="*/ 2697502 w 4519987"/>
                    <a:gd name="connsiteY61" fmla="*/ 4429125 h 4496940"/>
                    <a:gd name="connsiteX62" fmla="*/ 2640352 w 4519987"/>
                    <a:gd name="connsiteY62" fmla="*/ 4457700 h 4496940"/>
                    <a:gd name="connsiteX63" fmla="*/ 2583202 w 4519987"/>
                    <a:gd name="connsiteY63" fmla="*/ 4467225 h 4496940"/>
                    <a:gd name="connsiteX64" fmla="*/ 2545102 w 4519987"/>
                    <a:gd name="connsiteY64" fmla="*/ 4486275 h 4496940"/>
                    <a:gd name="connsiteX65" fmla="*/ 2306977 w 4519987"/>
                    <a:gd name="connsiteY65" fmla="*/ 4476750 h 4496940"/>
                    <a:gd name="connsiteX66" fmla="*/ 2202202 w 4519987"/>
                    <a:gd name="connsiteY66" fmla="*/ 4457700 h 4496940"/>
                    <a:gd name="connsiteX67" fmla="*/ 2126002 w 4519987"/>
                    <a:gd name="connsiteY67" fmla="*/ 4429125 h 4496940"/>
                    <a:gd name="connsiteX68" fmla="*/ 1935502 w 4519987"/>
                    <a:gd name="connsiteY68" fmla="*/ 4400550 h 4496940"/>
                    <a:gd name="connsiteX69" fmla="*/ 1821202 w 4519987"/>
                    <a:gd name="connsiteY69" fmla="*/ 4371975 h 4496940"/>
                    <a:gd name="connsiteX70" fmla="*/ 1754527 w 4519987"/>
                    <a:gd name="connsiteY70" fmla="*/ 4352925 h 4496940"/>
                    <a:gd name="connsiteX71" fmla="*/ 1687852 w 4519987"/>
                    <a:gd name="connsiteY71" fmla="*/ 4343400 h 4496940"/>
                    <a:gd name="connsiteX72" fmla="*/ 1573552 w 4519987"/>
                    <a:gd name="connsiteY72" fmla="*/ 4305300 h 4496940"/>
                    <a:gd name="connsiteX73" fmla="*/ 1402102 w 4519987"/>
                    <a:gd name="connsiteY73" fmla="*/ 4276725 h 4496940"/>
                    <a:gd name="connsiteX74" fmla="*/ 1287802 w 4519987"/>
                    <a:gd name="connsiteY74" fmla="*/ 4229100 h 4496940"/>
                    <a:gd name="connsiteX75" fmla="*/ 1221127 w 4519987"/>
                    <a:gd name="connsiteY75" fmla="*/ 4200525 h 4496940"/>
                    <a:gd name="connsiteX76" fmla="*/ 1144927 w 4519987"/>
                    <a:gd name="connsiteY76" fmla="*/ 4171950 h 4496940"/>
                    <a:gd name="connsiteX77" fmla="*/ 1087777 w 4519987"/>
                    <a:gd name="connsiteY77" fmla="*/ 4143375 h 4496940"/>
                    <a:gd name="connsiteX78" fmla="*/ 1030627 w 4519987"/>
                    <a:gd name="connsiteY78" fmla="*/ 4124325 h 4496940"/>
                    <a:gd name="connsiteX79" fmla="*/ 925852 w 4519987"/>
                    <a:gd name="connsiteY79" fmla="*/ 4067175 h 4496940"/>
                    <a:gd name="connsiteX80" fmla="*/ 830602 w 4519987"/>
                    <a:gd name="connsiteY80" fmla="*/ 3981450 h 4496940"/>
                    <a:gd name="connsiteX81" fmla="*/ 763927 w 4519987"/>
                    <a:gd name="connsiteY81" fmla="*/ 3914775 h 4496940"/>
                    <a:gd name="connsiteX82" fmla="*/ 725827 w 4519987"/>
                    <a:gd name="connsiteY82" fmla="*/ 3876675 h 4496940"/>
                    <a:gd name="connsiteX83" fmla="*/ 697252 w 4519987"/>
                    <a:gd name="connsiteY83" fmla="*/ 3838575 h 4496940"/>
                    <a:gd name="connsiteX84" fmla="*/ 640102 w 4519987"/>
                    <a:gd name="connsiteY84" fmla="*/ 3781425 h 4496940"/>
                    <a:gd name="connsiteX85" fmla="*/ 611527 w 4519987"/>
                    <a:gd name="connsiteY85" fmla="*/ 3733800 h 4496940"/>
                    <a:gd name="connsiteX86" fmla="*/ 554377 w 4519987"/>
                    <a:gd name="connsiteY86" fmla="*/ 3657600 h 4496940"/>
                    <a:gd name="connsiteX87" fmla="*/ 525802 w 4519987"/>
                    <a:gd name="connsiteY87" fmla="*/ 3609975 h 4496940"/>
                    <a:gd name="connsiteX88" fmla="*/ 497227 w 4519987"/>
                    <a:gd name="connsiteY88" fmla="*/ 3552825 h 4496940"/>
                    <a:gd name="connsiteX89" fmla="*/ 440077 w 4519987"/>
                    <a:gd name="connsiteY89" fmla="*/ 3495675 h 4496940"/>
                    <a:gd name="connsiteX90" fmla="*/ 411502 w 4519987"/>
                    <a:gd name="connsiteY90" fmla="*/ 3448050 h 4496940"/>
                    <a:gd name="connsiteX91" fmla="*/ 278152 w 4519987"/>
                    <a:gd name="connsiteY91" fmla="*/ 3257550 h 4496940"/>
                    <a:gd name="connsiteX92" fmla="*/ 249577 w 4519987"/>
                    <a:gd name="connsiteY92" fmla="*/ 3200400 h 4496940"/>
                    <a:gd name="connsiteX93" fmla="*/ 240052 w 4519987"/>
                    <a:gd name="connsiteY93" fmla="*/ 3162300 h 4496940"/>
                    <a:gd name="connsiteX94" fmla="*/ 221002 w 4519987"/>
                    <a:gd name="connsiteY94" fmla="*/ 3105150 h 4496940"/>
                    <a:gd name="connsiteX95" fmla="*/ 173377 w 4519987"/>
                    <a:gd name="connsiteY95" fmla="*/ 3019425 h 4496940"/>
                    <a:gd name="connsiteX96" fmla="*/ 144802 w 4519987"/>
                    <a:gd name="connsiteY96" fmla="*/ 2924175 h 4496940"/>
                    <a:gd name="connsiteX97" fmla="*/ 68602 w 4519987"/>
                    <a:gd name="connsiteY97" fmla="*/ 2724150 h 4496940"/>
                    <a:gd name="connsiteX98" fmla="*/ 49552 w 4519987"/>
                    <a:gd name="connsiteY98" fmla="*/ 2638425 h 4496940"/>
                    <a:gd name="connsiteX99" fmla="*/ 40027 w 4519987"/>
                    <a:gd name="connsiteY99" fmla="*/ 2562225 h 4496940"/>
                    <a:gd name="connsiteX100" fmla="*/ 30502 w 4519987"/>
                    <a:gd name="connsiteY100" fmla="*/ 2514600 h 4496940"/>
                    <a:gd name="connsiteX101" fmla="*/ 11452 w 4519987"/>
                    <a:gd name="connsiteY101" fmla="*/ 2400300 h 4496940"/>
                    <a:gd name="connsiteX102" fmla="*/ 20977 w 4519987"/>
                    <a:gd name="connsiteY102" fmla="*/ 1905000 h 4496940"/>
                    <a:gd name="connsiteX103" fmla="*/ 30502 w 4519987"/>
                    <a:gd name="connsiteY103" fmla="*/ 1838325 h 4496940"/>
                    <a:gd name="connsiteX104" fmla="*/ 49552 w 4519987"/>
                    <a:gd name="connsiteY104" fmla="*/ 1781175 h 4496940"/>
                    <a:gd name="connsiteX105" fmla="*/ 59077 w 4519987"/>
                    <a:gd name="connsiteY105" fmla="*/ 1743075 h 4496940"/>
                    <a:gd name="connsiteX106" fmla="*/ 78127 w 4519987"/>
                    <a:gd name="connsiteY106" fmla="*/ 1685925 h 4496940"/>
                    <a:gd name="connsiteX107" fmla="*/ 87652 w 4519987"/>
                    <a:gd name="connsiteY107" fmla="*/ 1638300 h 4496940"/>
                    <a:gd name="connsiteX108" fmla="*/ 106702 w 4519987"/>
                    <a:gd name="connsiteY108" fmla="*/ 1590675 h 4496940"/>
                    <a:gd name="connsiteX109" fmla="*/ 135277 w 4519987"/>
                    <a:gd name="connsiteY109" fmla="*/ 1504950 h 4496940"/>
                    <a:gd name="connsiteX110" fmla="*/ 154327 w 4519987"/>
                    <a:gd name="connsiteY110" fmla="*/ 1419225 h 4496940"/>
                    <a:gd name="connsiteX111" fmla="*/ 230527 w 4519987"/>
                    <a:gd name="connsiteY111" fmla="*/ 1276350 h 4496940"/>
                    <a:gd name="connsiteX112" fmla="*/ 240052 w 4519987"/>
                    <a:gd name="connsiteY112" fmla="*/ 1247775 h 4496940"/>
                    <a:gd name="connsiteX113" fmla="*/ 268627 w 4519987"/>
                    <a:gd name="connsiteY113" fmla="*/ 1200150 h 4496940"/>
                    <a:gd name="connsiteX114" fmla="*/ 287677 w 4519987"/>
                    <a:gd name="connsiteY114" fmla="*/ 1152525 h 4496940"/>
                    <a:gd name="connsiteX115" fmla="*/ 316252 w 4519987"/>
                    <a:gd name="connsiteY115" fmla="*/ 1114425 h 4496940"/>
                    <a:gd name="connsiteX116" fmla="*/ 363877 w 4519987"/>
                    <a:gd name="connsiteY116" fmla="*/ 1038225 h 4496940"/>
                    <a:gd name="connsiteX117" fmla="*/ 382927 w 4519987"/>
                    <a:gd name="connsiteY117" fmla="*/ 1009650 h 4496940"/>
                    <a:gd name="connsiteX118" fmla="*/ 440077 w 4519987"/>
                    <a:gd name="connsiteY118" fmla="*/ 904875 h 4496940"/>
                    <a:gd name="connsiteX119" fmla="*/ 478177 w 4519987"/>
                    <a:gd name="connsiteY119" fmla="*/ 857250 h 4496940"/>
                    <a:gd name="connsiteX120" fmla="*/ 497227 w 4519987"/>
                    <a:gd name="connsiteY120" fmla="*/ 828675 h 4496940"/>
                    <a:gd name="connsiteX121" fmla="*/ 535327 w 4519987"/>
                    <a:gd name="connsiteY121" fmla="*/ 800100 h 4496940"/>
                    <a:gd name="connsiteX122" fmla="*/ 602002 w 4519987"/>
                    <a:gd name="connsiteY122" fmla="*/ 733425 h 4496940"/>
                    <a:gd name="connsiteX123" fmla="*/ 668677 w 4519987"/>
                    <a:gd name="connsiteY123" fmla="*/ 676275 h 4496940"/>
                    <a:gd name="connsiteX124" fmla="*/ 697252 w 4519987"/>
                    <a:gd name="connsiteY124" fmla="*/ 657225 h 4496940"/>
                    <a:gd name="connsiteX125" fmla="*/ 840127 w 4519987"/>
                    <a:gd name="connsiteY125" fmla="*/ 533400 h 4496940"/>
                    <a:gd name="connsiteX126" fmla="*/ 887752 w 4519987"/>
                    <a:gd name="connsiteY126" fmla="*/ 504825 h 4496940"/>
                    <a:gd name="connsiteX127" fmla="*/ 1167152 w 4519987"/>
                    <a:gd name="connsiteY127" fmla="*/ 311150 h 4496940"/>
                    <a:gd name="connsiteX128" fmla="*/ 1268752 w 4519987"/>
                    <a:gd name="connsiteY128" fmla="*/ 285750 h 4496940"/>
                    <a:gd name="connsiteX129" fmla="*/ 1411627 w 4519987"/>
                    <a:gd name="connsiteY129" fmla="*/ 190500 h 4496940"/>
                    <a:gd name="connsiteX130" fmla="*/ 1449727 w 4519987"/>
                    <a:gd name="connsiteY130" fmla="*/ 161925 h 4496940"/>
                    <a:gd name="connsiteX131" fmla="*/ 1525927 w 4519987"/>
                    <a:gd name="connsiteY131" fmla="*/ 152400 h 4496940"/>
                    <a:gd name="connsiteX132" fmla="*/ 1583077 w 4519987"/>
                    <a:gd name="connsiteY132" fmla="*/ 142875 h 4496940"/>
                    <a:gd name="connsiteX133" fmla="*/ 1716427 w 4519987"/>
                    <a:gd name="connsiteY133" fmla="*/ 123825 h 4496940"/>
                    <a:gd name="connsiteX134" fmla="*/ 1811677 w 4519987"/>
                    <a:gd name="connsiteY134" fmla="*/ 114300 h 4496940"/>
                    <a:gd name="connsiteX135" fmla="*/ 1859302 w 4519987"/>
                    <a:gd name="connsiteY135" fmla="*/ 104775 h 4496940"/>
                    <a:gd name="connsiteX136" fmla="*/ 1916452 w 4519987"/>
                    <a:gd name="connsiteY136" fmla="*/ 95250 h 4496940"/>
                    <a:gd name="connsiteX137" fmla="*/ 2030752 w 4519987"/>
                    <a:gd name="connsiteY137" fmla="*/ 66675 h 4496940"/>
                    <a:gd name="connsiteX138" fmla="*/ 2097427 w 4519987"/>
                    <a:gd name="connsiteY138" fmla="*/ 47625 h 4496940"/>
                    <a:gd name="connsiteX139" fmla="*/ 2164102 w 4519987"/>
                    <a:gd name="connsiteY139" fmla="*/ 38100 h 4496940"/>
                    <a:gd name="connsiteX140" fmla="*/ 2392702 w 4519987"/>
                    <a:gd name="connsiteY14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183402 w 4519987"/>
                    <a:gd name="connsiteY34" fmla="*/ 3400425 h 4496940"/>
                    <a:gd name="connsiteX35" fmla="*/ 4088152 w 4519987"/>
                    <a:gd name="connsiteY35" fmla="*/ 3495675 h 4496940"/>
                    <a:gd name="connsiteX36" fmla="*/ 4059577 w 4519987"/>
                    <a:gd name="connsiteY36" fmla="*/ 3533775 h 4496940"/>
                    <a:gd name="connsiteX37" fmla="*/ 4002427 w 4519987"/>
                    <a:gd name="connsiteY37" fmla="*/ 3600450 h 4496940"/>
                    <a:gd name="connsiteX38" fmla="*/ 3983377 w 4519987"/>
                    <a:gd name="connsiteY38" fmla="*/ 3629025 h 4496940"/>
                    <a:gd name="connsiteX39" fmla="*/ 3954802 w 4519987"/>
                    <a:gd name="connsiteY39" fmla="*/ 3648075 h 4496940"/>
                    <a:gd name="connsiteX40" fmla="*/ 3907177 w 4519987"/>
                    <a:gd name="connsiteY40" fmla="*/ 3686175 h 4496940"/>
                    <a:gd name="connsiteX41" fmla="*/ 3869077 w 4519987"/>
                    <a:gd name="connsiteY41" fmla="*/ 3724275 h 4496940"/>
                    <a:gd name="connsiteX42" fmla="*/ 3792877 w 4519987"/>
                    <a:gd name="connsiteY42" fmla="*/ 3781425 h 4496940"/>
                    <a:gd name="connsiteX43" fmla="*/ 3783352 w 4519987"/>
                    <a:gd name="connsiteY43" fmla="*/ 3810000 h 4496940"/>
                    <a:gd name="connsiteX44" fmla="*/ 3745252 w 4519987"/>
                    <a:gd name="connsiteY44" fmla="*/ 3819525 h 4496940"/>
                    <a:gd name="connsiteX45" fmla="*/ 3678577 w 4519987"/>
                    <a:gd name="connsiteY45" fmla="*/ 3848100 h 4496940"/>
                    <a:gd name="connsiteX46" fmla="*/ 3659527 w 4519987"/>
                    <a:gd name="connsiteY46" fmla="*/ 3971925 h 4496940"/>
                    <a:gd name="connsiteX47" fmla="*/ 3630952 w 4519987"/>
                    <a:gd name="connsiteY47" fmla="*/ 4010025 h 4496940"/>
                    <a:gd name="connsiteX48" fmla="*/ 3621427 w 4519987"/>
                    <a:gd name="connsiteY48" fmla="*/ 4038600 h 4496940"/>
                    <a:gd name="connsiteX49" fmla="*/ 3554752 w 4519987"/>
                    <a:gd name="connsiteY49" fmla="*/ 4095750 h 4496940"/>
                    <a:gd name="connsiteX50" fmla="*/ 3516652 w 4519987"/>
                    <a:gd name="connsiteY50" fmla="*/ 4114800 h 4496940"/>
                    <a:gd name="connsiteX51" fmla="*/ 3497602 w 4519987"/>
                    <a:gd name="connsiteY51" fmla="*/ 4143375 h 4496940"/>
                    <a:gd name="connsiteX52" fmla="*/ 3383302 w 4519987"/>
                    <a:gd name="connsiteY52" fmla="*/ 4210050 h 4496940"/>
                    <a:gd name="connsiteX53" fmla="*/ 3335677 w 4519987"/>
                    <a:gd name="connsiteY53" fmla="*/ 4238625 h 4496940"/>
                    <a:gd name="connsiteX54" fmla="*/ 3288052 w 4519987"/>
                    <a:gd name="connsiteY54" fmla="*/ 4248150 h 4496940"/>
                    <a:gd name="connsiteX55" fmla="*/ 3240427 w 4519987"/>
                    <a:gd name="connsiteY55" fmla="*/ 4267200 h 4496940"/>
                    <a:gd name="connsiteX56" fmla="*/ 3068977 w 4519987"/>
                    <a:gd name="connsiteY56" fmla="*/ 4286250 h 4496940"/>
                    <a:gd name="connsiteX57" fmla="*/ 2935627 w 4519987"/>
                    <a:gd name="connsiteY57" fmla="*/ 4333875 h 4496940"/>
                    <a:gd name="connsiteX58" fmla="*/ 2811802 w 4519987"/>
                    <a:gd name="connsiteY58" fmla="*/ 4371975 h 4496940"/>
                    <a:gd name="connsiteX59" fmla="*/ 2745127 w 4519987"/>
                    <a:gd name="connsiteY59" fmla="*/ 4410075 h 4496940"/>
                    <a:gd name="connsiteX60" fmla="*/ 2697502 w 4519987"/>
                    <a:gd name="connsiteY60" fmla="*/ 4429125 h 4496940"/>
                    <a:gd name="connsiteX61" fmla="*/ 2640352 w 4519987"/>
                    <a:gd name="connsiteY61" fmla="*/ 4457700 h 4496940"/>
                    <a:gd name="connsiteX62" fmla="*/ 2583202 w 4519987"/>
                    <a:gd name="connsiteY62" fmla="*/ 4467225 h 4496940"/>
                    <a:gd name="connsiteX63" fmla="*/ 2545102 w 4519987"/>
                    <a:gd name="connsiteY63" fmla="*/ 4486275 h 4496940"/>
                    <a:gd name="connsiteX64" fmla="*/ 2306977 w 4519987"/>
                    <a:gd name="connsiteY64" fmla="*/ 4476750 h 4496940"/>
                    <a:gd name="connsiteX65" fmla="*/ 2202202 w 4519987"/>
                    <a:gd name="connsiteY65" fmla="*/ 4457700 h 4496940"/>
                    <a:gd name="connsiteX66" fmla="*/ 2126002 w 4519987"/>
                    <a:gd name="connsiteY66" fmla="*/ 4429125 h 4496940"/>
                    <a:gd name="connsiteX67" fmla="*/ 1935502 w 4519987"/>
                    <a:gd name="connsiteY67" fmla="*/ 4400550 h 4496940"/>
                    <a:gd name="connsiteX68" fmla="*/ 1821202 w 4519987"/>
                    <a:gd name="connsiteY68" fmla="*/ 4371975 h 4496940"/>
                    <a:gd name="connsiteX69" fmla="*/ 1754527 w 4519987"/>
                    <a:gd name="connsiteY69" fmla="*/ 4352925 h 4496940"/>
                    <a:gd name="connsiteX70" fmla="*/ 1687852 w 4519987"/>
                    <a:gd name="connsiteY70" fmla="*/ 4343400 h 4496940"/>
                    <a:gd name="connsiteX71" fmla="*/ 1573552 w 4519987"/>
                    <a:gd name="connsiteY71" fmla="*/ 4305300 h 4496940"/>
                    <a:gd name="connsiteX72" fmla="*/ 1402102 w 4519987"/>
                    <a:gd name="connsiteY72" fmla="*/ 4276725 h 4496940"/>
                    <a:gd name="connsiteX73" fmla="*/ 1287802 w 4519987"/>
                    <a:gd name="connsiteY73" fmla="*/ 4229100 h 4496940"/>
                    <a:gd name="connsiteX74" fmla="*/ 1221127 w 4519987"/>
                    <a:gd name="connsiteY74" fmla="*/ 4200525 h 4496940"/>
                    <a:gd name="connsiteX75" fmla="*/ 1144927 w 4519987"/>
                    <a:gd name="connsiteY75" fmla="*/ 4171950 h 4496940"/>
                    <a:gd name="connsiteX76" fmla="*/ 1087777 w 4519987"/>
                    <a:gd name="connsiteY76" fmla="*/ 4143375 h 4496940"/>
                    <a:gd name="connsiteX77" fmla="*/ 1030627 w 4519987"/>
                    <a:gd name="connsiteY77" fmla="*/ 4124325 h 4496940"/>
                    <a:gd name="connsiteX78" fmla="*/ 925852 w 4519987"/>
                    <a:gd name="connsiteY78" fmla="*/ 4067175 h 4496940"/>
                    <a:gd name="connsiteX79" fmla="*/ 830602 w 4519987"/>
                    <a:gd name="connsiteY79" fmla="*/ 3981450 h 4496940"/>
                    <a:gd name="connsiteX80" fmla="*/ 763927 w 4519987"/>
                    <a:gd name="connsiteY80" fmla="*/ 3914775 h 4496940"/>
                    <a:gd name="connsiteX81" fmla="*/ 725827 w 4519987"/>
                    <a:gd name="connsiteY81" fmla="*/ 3876675 h 4496940"/>
                    <a:gd name="connsiteX82" fmla="*/ 697252 w 4519987"/>
                    <a:gd name="connsiteY82" fmla="*/ 3838575 h 4496940"/>
                    <a:gd name="connsiteX83" fmla="*/ 640102 w 4519987"/>
                    <a:gd name="connsiteY83" fmla="*/ 3781425 h 4496940"/>
                    <a:gd name="connsiteX84" fmla="*/ 611527 w 4519987"/>
                    <a:gd name="connsiteY84" fmla="*/ 3733800 h 4496940"/>
                    <a:gd name="connsiteX85" fmla="*/ 554377 w 4519987"/>
                    <a:gd name="connsiteY85" fmla="*/ 3657600 h 4496940"/>
                    <a:gd name="connsiteX86" fmla="*/ 525802 w 4519987"/>
                    <a:gd name="connsiteY86" fmla="*/ 3609975 h 4496940"/>
                    <a:gd name="connsiteX87" fmla="*/ 497227 w 4519987"/>
                    <a:gd name="connsiteY87" fmla="*/ 3552825 h 4496940"/>
                    <a:gd name="connsiteX88" fmla="*/ 440077 w 4519987"/>
                    <a:gd name="connsiteY88" fmla="*/ 3495675 h 4496940"/>
                    <a:gd name="connsiteX89" fmla="*/ 411502 w 4519987"/>
                    <a:gd name="connsiteY89" fmla="*/ 3448050 h 4496940"/>
                    <a:gd name="connsiteX90" fmla="*/ 278152 w 4519987"/>
                    <a:gd name="connsiteY90" fmla="*/ 3257550 h 4496940"/>
                    <a:gd name="connsiteX91" fmla="*/ 249577 w 4519987"/>
                    <a:gd name="connsiteY91" fmla="*/ 3200400 h 4496940"/>
                    <a:gd name="connsiteX92" fmla="*/ 240052 w 4519987"/>
                    <a:gd name="connsiteY92" fmla="*/ 3162300 h 4496940"/>
                    <a:gd name="connsiteX93" fmla="*/ 221002 w 4519987"/>
                    <a:gd name="connsiteY93" fmla="*/ 3105150 h 4496940"/>
                    <a:gd name="connsiteX94" fmla="*/ 173377 w 4519987"/>
                    <a:gd name="connsiteY94" fmla="*/ 3019425 h 4496940"/>
                    <a:gd name="connsiteX95" fmla="*/ 144802 w 4519987"/>
                    <a:gd name="connsiteY95" fmla="*/ 2924175 h 4496940"/>
                    <a:gd name="connsiteX96" fmla="*/ 68602 w 4519987"/>
                    <a:gd name="connsiteY96" fmla="*/ 2724150 h 4496940"/>
                    <a:gd name="connsiteX97" fmla="*/ 49552 w 4519987"/>
                    <a:gd name="connsiteY97" fmla="*/ 2638425 h 4496940"/>
                    <a:gd name="connsiteX98" fmla="*/ 40027 w 4519987"/>
                    <a:gd name="connsiteY98" fmla="*/ 2562225 h 4496940"/>
                    <a:gd name="connsiteX99" fmla="*/ 30502 w 4519987"/>
                    <a:gd name="connsiteY99" fmla="*/ 2514600 h 4496940"/>
                    <a:gd name="connsiteX100" fmla="*/ 11452 w 4519987"/>
                    <a:gd name="connsiteY100" fmla="*/ 2400300 h 4496940"/>
                    <a:gd name="connsiteX101" fmla="*/ 20977 w 4519987"/>
                    <a:gd name="connsiteY101" fmla="*/ 1905000 h 4496940"/>
                    <a:gd name="connsiteX102" fmla="*/ 30502 w 4519987"/>
                    <a:gd name="connsiteY102" fmla="*/ 1838325 h 4496940"/>
                    <a:gd name="connsiteX103" fmla="*/ 49552 w 4519987"/>
                    <a:gd name="connsiteY103" fmla="*/ 1781175 h 4496940"/>
                    <a:gd name="connsiteX104" fmla="*/ 59077 w 4519987"/>
                    <a:gd name="connsiteY104" fmla="*/ 1743075 h 4496940"/>
                    <a:gd name="connsiteX105" fmla="*/ 78127 w 4519987"/>
                    <a:gd name="connsiteY105" fmla="*/ 1685925 h 4496940"/>
                    <a:gd name="connsiteX106" fmla="*/ 87652 w 4519987"/>
                    <a:gd name="connsiteY106" fmla="*/ 1638300 h 4496940"/>
                    <a:gd name="connsiteX107" fmla="*/ 106702 w 4519987"/>
                    <a:gd name="connsiteY107" fmla="*/ 1590675 h 4496940"/>
                    <a:gd name="connsiteX108" fmla="*/ 135277 w 4519987"/>
                    <a:gd name="connsiteY108" fmla="*/ 1504950 h 4496940"/>
                    <a:gd name="connsiteX109" fmla="*/ 154327 w 4519987"/>
                    <a:gd name="connsiteY109" fmla="*/ 1419225 h 4496940"/>
                    <a:gd name="connsiteX110" fmla="*/ 230527 w 4519987"/>
                    <a:gd name="connsiteY110" fmla="*/ 1276350 h 4496940"/>
                    <a:gd name="connsiteX111" fmla="*/ 240052 w 4519987"/>
                    <a:gd name="connsiteY111" fmla="*/ 1247775 h 4496940"/>
                    <a:gd name="connsiteX112" fmla="*/ 268627 w 4519987"/>
                    <a:gd name="connsiteY112" fmla="*/ 1200150 h 4496940"/>
                    <a:gd name="connsiteX113" fmla="*/ 287677 w 4519987"/>
                    <a:gd name="connsiteY113" fmla="*/ 1152525 h 4496940"/>
                    <a:gd name="connsiteX114" fmla="*/ 316252 w 4519987"/>
                    <a:gd name="connsiteY114" fmla="*/ 1114425 h 4496940"/>
                    <a:gd name="connsiteX115" fmla="*/ 363877 w 4519987"/>
                    <a:gd name="connsiteY115" fmla="*/ 1038225 h 4496940"/>
                    <a:gd name="connsiteX116" fmla="*/ 382927 w 4519987"/>
                    <a:gd name="connsiteY116" fmla="*/ 1009650 h 4496940"/>
                    <a:gd name="connsiteX117" fmla="*/ 440077 w 4519987"/>
                    <a:gd name="connsiteY117" fmla="*/ 904875 h 4496940"/>
                    <a:gd name="connsiteX118" fmla="*/ 478177 w 4519987"/>
                    <a:gd name="connsiteY118" fmla="*/ 857250 h 4496940"/>
                    <a:gd name="connsiteX119" fmla="*/ 497227 w 4519987"/>
                    <a:gd name="connsiteY119" fmla="*/ 828675 h 4496940"/>
                    <a:gd name="connsiteX120" fmla="*/ 535327 w 4519987"/>
                    <a:gd name="connsiteY120" fmla="*/ 800100 h 4496940"/>
                    <a:gd name="connsiteX121" fmla="*/ 602002 w 4519987"/>
                    <a:gd name="connsiteY121" fmla="*/ 733425 h 4496940"/>
                    <a:gd name="connsiteX122" fmla="*/ 668677 w 4519987"/>
                    <a:gd name="connsiteY122" fmla="*/ 676275 h 4496940"/>
                    <a:gd name="connsiteX123" fmla="*/ 697252 w 4519987"/>
                    <a:gd name="connsiteY123" fmla="*/ 657225 h 4496940"/>
                    <a:gd name="connsiteX124" fmla="*/ 840127 w 4519987"/>
                    <a:gd name="connsiteY124" fmla="*/ 533400 h 4496940"/>
                    <a:gd name="connsiteX125" fmla="*/ 887752 w 4519987"/>
                    <a:gd name="connsiteY125" fmla="*/ 504825 h 4496940"/>
                    <a:gd name="connsiteX126" fmla="*/ 1167152 w 4519987"/>
                    <a:gd name="connsiteY126" fmla="*/ 311150 h 4496940"/>
                    <a:gd name="connsiteX127" fmla="*/ 1268752 w 4519987"/>
                    <a:gd name="connsiteY127" fmla="*/ 285750 h 4496940"/>
                    <a:gd name="connsiteX128" fmla="*/ 1411627 w 4519987"/>
                    <a:gd name="connsiteY128" fmla="*/ 190500 h 4496940"/>
                    <a:gd name="connsiteX129" fmla="*/ 1449727 w 4519987"/>
                    <a:gd name="connsiteY129" fmla="*/ 161925 h 4496940"/>
                    <a:gd name="connsiteX130" fmla="*/ 1525927 w 4519987"/>
                    <a:gd name="connsiteY130" fmla="*/ 152400 h 4496940"/>
                    <a:gd name="connsiteX131" fmla="*/ 1583077 w 4519987"/>
                    <a:gd name="connsiteY131" fmla="*/ 142875 h 4496940"/>
                    <a:gd name="connsiteX132" fmla="*/ 1716427 w 4519987"/>
                    <a:gd name="connsiteY132" fmla="*/ 123825 h 4496940"/>
                    <a:gd name="connsiteX133" fmla="*/ 1811677 w 4519987"/>
                    <a:gd name="connsiteY133" fmla="*/ 114300 h 4496940"/>
                    <a:gd name="connsiteX134" fmla="*/ 1859302 w 4519987"/>
                    <a:gd name="connsiteY134" fmla="*/ 104775 h 4496940"/>
                    <a:gd name="connsiteX135" fmla="*/ 1916452 w 4519987"/>
                    <a:gd name="connsiteY135" fmla="*/ 95250 h 4496940"/>
                    <a:gd name="connsiteX136" fmla="*/ 2030752 w 4519987"/>
                    <a:gd name="connsiteY136" fmla="*/ 66675 h 4496940"/>
                    <a:gd name="connsiteX137" fmla="*/ 2097427 w 4519987"/>
                    <a:gd name="connsiteY137" fmla="*/ 47625 h 4496940"/>
                    <a:gd name="connsiteX138" fmla="*/ 2164102 w 4519987"/>
                    <a:gd name="connsiteY138" fmla="*/ 38100 h 4496940"/>
                    <a:gd name="connsiteX139" fmla="*/ 2392702 w 4519987"/>
                    <a:gd name="connsiteY13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83377 w 4519987"/>
                    <a:gd name="connsiteY37" fmla="*/ 3629025 h 4496940"/>
                    <a:gd name="connsiteX38" fmla="*/ 3954802 w 4519987"/>
                    <a:gd name="connsiteY38" fmla="*/ 3648075 h 4496940"/>
                    <a:gd name="connsiteX39" fmla="*/ 3907177 w 4519987"/>
                    <a:gd name="connsiteY39" fmla="*/ 3686175 h 4496940"/>
                    <a:gd name="connsiteX40" fmla="*/ 3869077 w 4519987"/>
                    <a:gd name="connsiteY40" fmla="*/ 3724275 h 4496940"/>
                    <a:gd name="connsiteX41" fmla="*/ 3792877 w 4519987"/>
                    <a:gd name="connsiteY41" fmla="*/ 3781425 h 4496940"/>
                    <a:gd name="connsiteX42" fmla="*/ 3783352 w 4519987"/>
                    <a:gd name="connsiteY42" fmla="*/ 3810000 h 4496940"/>
                    <a:gd name="connsiteX43" fmla="*/ 3745252 w 4519987"/>
                    <a:gd name="connsiteY43" fmla="*/ 3819525 h 4496940"/>
                    <a:gd name="connsiteX44" fmla="*/ 3678577 w 4519987"/>
                    <a:gd name="connsiteY44" fmla="*/ 3848100 h 4496940"/>
                    <a:gd name="connsiteX45" fmla="*/ 3659527 w 4519987"/>
                    <a:gd name="connsiteY45" fmla="*/ 3971925 h 4496940"/>
                    <a:gd name="connsiteX46" fmla="*/ 3630952 w 4519987"/>
                    <a:gd name="connsiteY46" fmla="*/ 4010025 h 4496940"/>
                    <a:gd name="connsiteX47" fmla="*/ 3621427 w 4519987"/>
                    <a:gd name="connsiteY47" fmla="*/ 4038600 h 4496940"/>
                    <a:gd name="connsiteX48" fmla="*/ 3554752 w 4519987"/>
                    <a:gd name="connsiteY48" fmla="*/ 4095750 h 4496940"/>
                    <a:gd name="connsiteX49" fmla="*/ 3516652 w 4519987"/>
                    <a:gd name="connsiteY49" fmla="*/ 4114800 h 4496940"/>
                    <a:gd name="connsiteX50" fmla="*/ 3497602 w 4519987"/>
                    <a:gd name="connsiteY50" fmla="*/ 4143375 h 4496940"/>
                    <a:gd name="connsiteX51" fmla="*/ 3383302 w 4519987"/>
                    <a:gd name="connsiteY51" fmla="*/ 4210050 h 4496940"/>
                    <a:gd name="connsiteX52" fmla="*/ 3335677 w 4519987"/>
                    <a:gd name="connsiteY52" fmla="*/ 4238625 h 4496940"/>
                    <a:gd name="connsiteX53" fmla="*/ 3288052 w 4519987"/>
                    <a:gd name="connsiteY53" fmla="*/ 4248150 h 4496940"/>
                    <a:gd name="connsiteX54" fmla="*/ 3240427 w 4519987"/>
                    <a:gd name="connsiteY54" fmla="*/ 4267200 h 4496940"/>
                    <a:gd name="connsiteX55" fmla="*/ 3068977 w 4519987"/>
                    <a:gd name="connsiteY55" fmla="*/ 4286250 h 4496940"/>
                    <a:gd name="connsiteX56" fmla="*/ 2935627 w 4519987"/>
                    <a:gd name="connsiteY56" fmla="*/ 4333875 h 4496940"/>
                    <a:gd name="connsiteX57" fmla="*/ 2811802 w 4519987"/>
                    <a:gd name="connsiteY57" fmla="*/ 4371975 h 4496940"/>
                    <a:gd name="connsiteX58" fmla="*/ 2745127 w 4519987"/>
                    <a:gd name="connsiteY58" fmla="*/ 4410075 h 4496940"/>
                    <a:gd name="connsiteX59" fmla="*/ 2697502 w 4519987"/>
                    <a:gd name="connsiteY59" fmla="*/ 4429125 h 4496940"/>
                    <a:gd name="connsiteX60" fmla="*/ 2640352 w 4519987"/>
                    <a:gd name="connsiteY60" fmla="*/ 4457700 h 4496940"/>
                    <a:gd name="connsiteX61" fmla="*/ 2583202 w 4519987"/>
                    <a:gd name="connsiteY61" fmla="*/ 4467225 h 4496940"/>
                    <a:gd name="connsiteX62" fmla="*/ 2545102 w 4519987"/>
                    <a:gd name="connsiteY62" fmla="*/ 4486275 h 4496940"/>
                    <a:gd name="connsiteX63" fmla="*/ 2306977 w 4519987"/>
                    <a:gd name="connsiteY63" fmla="*/ 4476750 h 4496940"/>
                    <a:gd name="connsiteX64" fmla="*/ 2202202 w 4519987"/>
                    <a:gd name="connsiteY64" fmla="*/ 4457700 h 4496940"/>
                    <a:gd name="connsiteX65" fmla="*/ 2126002 w 4519987"/>
                    <a:gd name="connsiteY65" fmla="*/ 4429125 h 4496940"/>
                    <a:gd name="connsiteX66" fmla="*/ 1935502 w 4519987"/>
                    <a:gd name="connsiteY66" fmla="*/ 4400550 h 4496940"/>
                    <a:gd name="connsiteX67" fmla="*/ 1821202 w 4519987"/>
                    <a:gd name="connsiteY67" fmla="*/ 4371975 h 4496940"/>
                    <a:gd name="connsiteX68" fmla="*/ 1754527 w 4519987"/>
                    <a:gd name="connsiteY68" fmla="*/ 4352925 h 4496940"/>
                    <a:gd name="connsiteX69" fmla="*/ 1687852 w 4519987"/>
                    <a:gd name="connsiteY69" fmla="*/ 4343400 h 4496940"/>
                    <a:gd name="connsiteX70" fmla="*/ 1573552 w 4519987"/>
                    <a:gd name="connsiteY70" fmla="*/ 4305300 h 4496940"/>
                    <a:gd name="connsiteX71" fmla="*/ 1402102 w 4519987"/>
                    <a:gd name="connsiteY71" fmla="*/ 4276725 h 4496940"/>
                    <a:gd name="connsiteX72" fmla="*/ 1287802 w 4519987"/>
                    <a:gd name="connsiteY72" fmla="*/ 4229100 h 4496940"/>
                    <a:gd name="connsiteX73" fmla="*/ 1221127 w 4519987"/>
                    <a:gd name="connsiteY73" fmla="*/ 4200525 h 4496940"/>
                    <a:gd name="connsiteX74" fmla="*/ 1144927 w 4519987"/>
                    <a:gd name="connsiteY74" fmla="*/ 4171950 h 4496940"/>
                    <a:gd name="connsiteX75" fmla="*/ 1087777 w 4519987"/>
                    <a:gd name="connsiteY75" fmla="*/ 4143375 h 4496940"/>
                    <a:gd name="connsiteX76" fmla="*/ 1030627 w 4519987"/>
                    <a:gd name="connsiteY76" fmla="*/ 4124325 h 4496940"/>
                    <a:gd name="connsiteX77" fmla="*/ 925852 w 4519987"/>
                    <a:gd name="connsiteY77" fmla="*/ 4067175 h 4496940"/>
                    <a:gd name="connsiteX78" fmla="*/ 830602 w 4519987"/>
                    <a:gd name="connsiteY78" fmla="*/ 3981450 h 4496940"/>
                    <a:gd name="connsiteX79" fmla="*/ 763927 w 4519987"/>
                    <a:gd name="connsiteY79" fmla="*/ 3914775 h 4496940"/>
                    <a:gd name="connsiteX80" fmla="*/ 725827 w 4519987"/>
                    <a:gd name="connsiteY80" fmla="*/ 3876675 h 4496940"/>
                    <a:gd name="connsiteX81" fmla="*/ 697252 w 4519987"/>
                    <a:gd name="connsiteY81" fmla="*/ 3838575 h 4496940"/>
                    <a:gd name="connsiteX82" fmla="*/ 640102 w 4519987"/>
                    <a:gd name="connsiteY82" fmla="*/ 3781425 h 4496940"/>
                    <a:gd name="connsiteX83" fmla="*/ 611527 w 4519987"/>
                    <a:gd name="connsiteY83" fmla="*/ 3733800 h 4496940"/>
                    <a:gd name="connsiteX84" fmla="*/ 554377 w 4519987"/>
                    <a:gd name="connsiteY84" fmla="*/ 3657600 h 4496940"/>
                    <a:gd name="connsiteX85" fmla="*/ 525802 w 4519987"/>
                    <a:gd name="connsiteY85" fmla="*/ 3609975 h 4496940"/>
                    <a:gd name="connsiteX86" fmla="*/ 497227 w 4519987"/>
                    <a:gd name="connsiteY86" fmla="*/ 3552825 h 4496940"/>
                    <a:gd name="connsiteX87" fmla="*/ 440077 w 4519987"/>
                    <a:gd name="connsiteY87" fmla="*/ 3495675 h 4496940"/>
                    <a:gd name="connsiteX88" fmla="*/ 411502 w 4519987"/>
                    <a:gd name="connsiteY88" fmla="*/ 3448050 h 4496940"/>
                    <a:gd name="connsiteX89" fmla="*/ 278152 w 4519987"/>
                    <a:gd name="connsiteY89" fmla="*/ 3257550 h 4496940"/>
                    <a:gd name="connsiteX90" fmla="*/ 249577 w 4519987"/>
                    <a:gd name="connsiteY90" fmla="*/ 3200400 h 4496940"/>
                    <a:gd name="connsiteX91" fmla="*/ 240052 w 4519987"/>
                    <a:gd name="connsiteY91" fmla="*/ 3162300 h 4496940"/>
                    <a:gd name="connsiteX92" fmla="*/ 221002 w 4519987"/>
                    <a:gd name="connsiteY92" fmla="*/ 3105150 h 4496940"/>
                    <a:gd name="connsiteX93" fmla="*/ 173377 w 4519987"/>
                    <a:gd name="connsiteY93" fmla="*/ 3019425 h 4496940"/>
                    <a:gd name="connsiteX94" fmla="*/ 144802 w 4519987"/>
                    <a:gd name="connsiteY94" fmla="*/ 2924175 h 4496940"/>
                    <a:gd name="connsiteX95" fmla="*/ 68602 w 4519987"/>
                    <a:gd name="connsiteY95" fmla="*/ 2724150 h 4496940"/>
                    <a:gd name="connsiteX96" fmla="*/ 49552 w 4519987"/>
                    <a:gd name="connsiteY96" fmla="*/ 2638425 h 4496940"/>
                    <a:gd name="connsiteX97" fmla="*/ 40027 w 4519987"/>
                    <a:gd name="connsiteY97" fmla="*/ 2562225 h 4496940"/>
                    <a:gd name="connsiteX98" fmla="*/ 30502 w 4519987"/>
                    <a:gd name="connsiteY98" fmla="*/ 2514600 h 4496940"/>
                    <a:gd name="connsiteX99" fmla="*/ 11452 w 4519987"/>
                    <a:gd name="connsiteY99" fmla="*/ 2400300 h 4496940"/>
                    <a:gd name="connsiteX100" fmla="*/ 20977 w 4519987"/>
                    <a:gd name="connsiteY100" fmla="*/ 1905000 h 4496940"/>
                    <a:gd name="connsiteX101" fmla="*/ 30502 w 4519987"/>
                    <a:gd name="connsiteY101" fmla="*/ 1838325 h 4496940"/>
                    <a:gd name="connsiteX102" fmla="*/ 49552 w 4519987"/>
                    <a:gd name="connsiteY102" fmla="*/ 1781175 h 4496940"/>
                    <a:gd name="connsiteX103" fmla="*/ 59077 w 4519987"/>
                    <a:gd name="connsiteY103" fmla="*/ 1743075 h 4496940"/>
                    <a:gd name="connsiteX104" fmla="*/ 78127 w 4519987"/>
                    <a:gd name="connsiteY104" fmla="*/ 1685925 h 4496940"/>
                    <a:gd name="connsiteX105" fmla="*/ 87652 w 4519987"/>
                    <a:gd name="connsiteY105" fmla="*/ 1638300 h 4496940"/>
                    <a:gd name="connsiteX106" fmla="*/ 106702 w 4519987"/>
                    <a:gd name="connsiteY106" fmla="*/ 1590675 h 4496940"/>
                    <a:gd name="connsiteX107" fmla="*/ 135277 w 4519987"/>
                    <a:gd name="connsiteY107" fmla="*/ 1504950 h 4496940"/>
                    <a:gd name="connsiteX108" fmla="*/ 154327 w 4519987"/>
                    <a:gd name="connsiteY108" fmla="*/ 1419225 h 4496940"/>
                    <a:gd name="connsiteX109" fmla="*/ 230527 w 4519987"/>
                    <a:gd name="connsiteY109" fmla="*/ 1276350 h 4496940"/>
                    <a:gd name="connsiteX110" fmla="*/ 240052 w 4519987"/>
                    <a:gd name="connsiteY110" fmla="*/ 1247775 h 4496940"/>
                    <a:gd name="connsiteX111" fmla="*/ 268627 w 4519987"/>
                    <a:gd name="connsiteY111" fmla="*/ 1200150 h 4496940"/>
                    <a:gd name="connsiteX112" fmla="*/ 287677 w 4519987"/>
                    <a:gd name="connsiteY112" fmla="*/ 1152525 h 4496940"/>
                    <a:gd name="connsiteX113" fmla="*/ 316252 w 4519987"/>
                    <a:gd name="connsiteY113" fmla="*/ 1114425 h 4496940"/>
                    <a:gd name="connsiteX114" fmla="*/ 363877 w 4519987"/>
                    <a:gd name="connsiteY114" fmla="*/ 1038225 h 4496940"/>
                    <a:gd name="connsiteX115" fmla="*/ 382927 w 4519987"/>
                    <a:gd name="connsiteY115" fmla="*/ 1009650 h 4496940"/>
                    <a:gd name="connsiteX116" fmla="*/ 440077 w 4519987"/>
                    <a:gd name="connsiteY116" fmla="*/ 904875 h 4496940"/>
                    <a:gd name="connsiteX117" fmla="*/ 478177 w 4519987"/>
                    <a:gd name="connsiteY117" fmla="*/ 857250 h 4496940"/>
                    <a:gd name="connsiteX118" fmla="*/ 497227 w 4519987"/>
                    <a:gd name="connsiteY118" fmla="*/ 828675 h 4496940"/>
                    <a:gd name="connsiteX119" fmla="*/ 535327 w 4519987"/>
                    <a:gd name="connsiteY119" fmla="*/ 800100 h 4496940"/>
                    <a:gd name="connsiteX120" fmla="*/ 602002 w 4519987"/>
                    <a:gd name="connsiteY120" fmla="*/ 733425 h 4496940"/>
                    <a:gd name="connsiteX121" fmla="*/ 668677 w 4519987"/>
                    <a:gd name="connsiteY121" fmla="*/ 676275 h 4496940"/>
                    <a:gd name="connsiteX122" fmla="*/ 697252 w 4519987"/>
                    <a:gd name="connsiteY122" fmla="*/ 657225 h 4496940"/>
                    <a:gd name="connsiteX123" fmla="*/ 840127 w 4519987"/>
                    <a:gd name="connsiteY123" fmla="*/ 533400 h 4496940"/>
                    <a:gd name="connsiteX124" fmla="*/ 887752 w 4519987"/>
                    <a:gd name="connsiteY124" fmla="*/ 504825 h 4496940"/>
                    <a:gd name="connsiteX125" fmla="*/ 1167152 w 4519987"/>
                    <a:gd name="connsiteY125" fmla="*/ 311150 h 4496940"/>
                    <a:gd name="connsiteX126" fmla="*/ 1268752 w 4519987"/>
                    <a:gd name="connsiteY126" fmla="*/ 285750 h 4496940"/>
                    <a:gd name="connsiteX127" fmla="*/ 1411627 w 4519987"/>
                    <a:gd name="connsiteY127" fmla="*/ 190500 h 4496940"/>
                    <a:gd name="connsiteX128" fmla="*/ 1449727 w 4519987"/>
                    <a:gd name="connsiteY128" fmla="*/ 161925 h 4496940"/>
                    <a:gd name="connsiteX129" fmla="*/ 1525927 w 4519987"/>
                    <a:gd name="connsiteY129" fmla="*/ 152400 h 4496940"/>
                    <a:gd name="connsiteX130" fmla="*/ 1583077 w 4519987"/>
                    <a:gd name="connsiteY130" fmla="*/ 142875 h 4496940"/>
                    <a:gd name="connsiteX131" fmla="*/ 1716427 w 4519987"/>
                    <a:gd name="connsiteY131" fmla="*/ 123825 h 4496940"/>
                    <a:gd name="connsiteX132" fmla="*/ 1811677 w 4519987"/>
                    <a:gd name="connsiteY132" fmla="*/ 114300 h 4496940"/>
                    <a:gd name="connsiteX133" fmla="*/ 1859302 w 4519987"/>
                    <a:gd name="connsiteY133" fmla="*/ 104775 h 4496940"/>
                    <a:gd name="connsiteX134" fmla="*/ 1916452 w 4519987"/>
                    <a:gd name="connsiteY134" fmla="*/ 95250 h 4496940"/>
                    <a:gd name="connsiteX135" fmla="*/ 2030752 w 4519987"/>
                    <a:gd name="connsiteY135" fmla="*/ 66675 h 4496940"/>
                    <a:gd name="connsiteX136" fmla="*/ 2097427 w 4519987"/>
                    <a:gd name="connsiteY136" fmla="*/ 47625 h 4496940"/>
                    <a:gd name="connsiteX137" fmla="*/ 2164102 w 4519987"/>
                    <a:gd name="connsiteY137" fmla="*/ 38100 h 4496940"/>
                    <a:gd name="connsiteX138" fmla="*/ 2392702 w 4519987"/>
                    <a:gd name="connsiteY13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869077 w 4519987"/>
                    <a:gd name="connsiteY39" fmla="*/ 3724275 h 4496940"/>
                    <a:gd name="connsiteX40" fmla="*/ 3792877 w 4519987"/>
                    <a:gd name="connsiteY40" fmla="*/ 3781425 h 4496940"/>
                    <a:gd name="connsiteX41" fmla="*/ 3783352 w 4519987"/>
                    <a:gd name="connsiteY41" fmla="*/ 3810000 h 4496940"/>
                    <a:gd name="connsiteX42" fmla="*/ 3745252 w 4519987"/>
                    <a:gd name="connsiteY42" fmla="*/ 3819525 h 4496940"/>
                    <a:gd name="connsiteX43" fmla="*/ 3678577 w 4519987"/>
                    <a:gd name="connsiteY43" fmla="*/ 3848100 h 4496940"/>
                    <a:gd name="connsiteX44" fmla="*/ 3659527 w 4519987"/>
                    <a:gd name="connsiteY44" fmla="*/ 3971925 h 4496940"/>
                    <a:gd name="connsiteX45" fmla="*/ 3630952 w 4519987"/>
                    <a:gd name="connsiteY45" fmla="*/ 4010025 h 4496940"/>
                    <a:gd name="connsiteX46" fmla="*/ 3621427 w 4519987"/>
                    <a:gd name="connsiteY46" fmla="*/ 4038600 h 4496940"/>
                    <a:gd name="connsiteX47" fmla="*/ 3554752 w 4519987"/>
                    <a:gd name="connsiteY47" fmla="*/ 4095750 h 4496940"/>
                    <a:gd name="connsiteX48" fmla="*/ 3516652 w 4519987"/>
                    <a:gd name="connsiteY48" fmla="*/ 4114800 h 4496940"/>
                    <a:gd name="connsiteX49" fmla="*/ 3497602 w 4519987"/>
                    <a:gd name="connsiteY49" fmla="*/ 4143375 h 4496940"/>
                    <a:gd name="connsiteX50" fmla="*/ 3383302 w 4519987"/>
                    <a:gd name="connsiteY50" fmla="*/ 4210050 h 4496940"/>
                    <a:gd name="connsiteX51" fmla="*/ 3335677 w 4519987"/>
                    <a:gd name="connsiteY51" fmla="*/ 4238625 h 4496940"/>
                    <a:gd name="connsiteX52" fmla="*/ 3288052 w 4519987"/>
                    <a:gd name="connsiteY52" fmla="*/ 4248150 h 4496940"/>
                    <a:gd name="connsiteX53" fmla="*/ 3240427 w 4519987"/>
                    <a:gd name="connsiteY53" fmla="*/ 4267200 h 4496940"/>
                    <a:gd name="connsiteX54" fmla="*/ 3068977 w 4519987"/>
                    <a:gd name="connsiteY54" fmla="*/ 4286250 h 4496940"/>
                    <a:gd name="connsiteX55" fmla="*/ 2935627 w 4519987"/>
                    <a:gd name="connsiteY55" fmla="*/ 4333875 h 4496940"/>
                    <a:gd name="connsiteX56" fmla="*/ 2811802 w 4519987"/>
                    <a:gd name="connsiteY56" fmla="*/ 4371975 h 4496940"/>
                    <a:gd name="connsiteX57" fmla="*/ 2745127 w 4519987"/>
                    <a:gd name="connsiteY57" fmla="*/ 4410075 h 4496940"/>
                    <a:gd name="connsiteX58" fmla="*/ 2697502 w 4519987"/>
                    <a:gd name="connsiteY58" fmla="*/ 4429125 h 4496940"/>
                    <a:gd name="connsiteX59" fmla="*/ 2640352 w 4519987"/>
                    <a:gd name="connsiteY59" fmla="*/ 4457700 h 4496940"/>
                    <a:gd name="connsiteX60" fmla="*/ 2583202 w 4519987"/>
                    <a:gd name="connsiteY60" fmla="*/ 4467225 h 4496940"/>
                    <a:gd name="connsiteX61" fmla="*/ 2545102 w 4519987"/>
                    <a:gd name="connsiteY61" fmla="*/ 4486275 h 4496940"/>
                    <a:gd name="connsiteX62" fmla="*/ 2306977 w 4519987"/>
                    <a:gd name="connsiteY62" fmla="*/ 4476750 h 4496940"/>
                    <a:gd name="connsiteX63" fmla="*/ 2202202 w 4519987"/>
                    <a:gd name="connsiteY63" fmla="*/ 4457700 h 4496940"/>
                    <a:gd name="connsiteX64" fmla="*/ 2126002 w 4519987"/>
                    <a:gd name="connsiteY64" fmla="*/ 4429125 h 4496940"/>
                    <a:gd name="connsiteX65" fmla="*/ 1935502 w 4519987"/>
                    <a:gd name="connsiteY65" fmla="*/ 4400550 h 4496940"/>
                    <a:gd name="connsiteX66" fmla="*/ 1821202 w 4519987"/>
                    <a:gd name="connsiteY66" fmla="*/ 4371975 h 4496940"/>
                    <a:gd name="connsiteX67" fmla="*/ 1754527 w 4519987"/>
                    <a:gd name="connsiteY67" fmla="*/ 4352925 h 4496940"/>
                    <a:gd name="connsiteX68" fmla="*/ 1687852 w 4519987"/>
                    <a:gd name="connsiteY68" fmla="*/ 4343400 h 4496940"/>
                    <a:gd name="connsiteX69" fmla="*/ 1573552 w 4519987"/>
                    <a:gd name="connsiteY69" fmla="*/ 4305300 h 4496940"/>
                    <a:gd name="connsiteX70" fmla="*/ 1402102 w 4519987"/>
                    <a:gd name="connsiteY70" fmla="*/ 4276725 h 4496940"/>
                    <a:gd name="connsiteX71" fmla="*/ 1287802 w 4519987"/>
                    <a:gd name="connsiteY71" fmla="*/ 4229100 h 4496940"/>
                    <a:gd name="connsiteX72" fmla="*/ 1221127 w 4519987"/>
                    <a:gd name="connsiteY72" fmla="*/ 4200525 h 4496940"/>
                    <a:gd name="connsiteX73" fmla="*/ 1144927 w 4519987"/>
                    <a:gd name="connsiteY73" fmla="*/ 4171950 h 4496940"/>
                    <a:gd name="connsiteX74" fmla="*/ 1087777 w 4519987"/>
                    <a:gd name="connsiteY74" fmla="*/ 4143375 h 4496940"/>
                    <a:gd name="connsiteX75" fmla="*/ 1030627 w 4519987"/>
                    <a:gd name="connsiteY75" fmla="*/ 4124325 h 4496940"/>
                    <a:gd name="connsiteX76" fmla="*/ 925852 w 4519987"/>
                    <a:gd name="connsiteY76" fmla="*/ 4067175 h 4496940"/>
                    <a:gd name="connsiteX77" fmla="*/ 830602 w 4519987"/>
                    <a:gd name="connsiteY77" fmla="*/ 3981450 h 4496940"/>
                    <a:gd name="connsiteX78" fmla="*/ 763927 w 4519987"/>
                    <a:gd name="connsiteY78" fmla="*/ 3914775 h 4496940"/>
                    <a:gd name="connsiteX79" fmla="*/ 725827 w 4519987"/>
                    <a:gd name="connsiteY79" fmla="*/ 3876675 h 4496940"/>
                    <a:gd name="connsiteX80" fmla="*/ 697252 w 4519987"/>
                    <a:gd name="connsiteY80" fmla="*/ 3838575 h 4496940"/>
                    <a:gd name="connsiteX81" fmla="*/ 640102 w 4519987"/>
                    <a:gd name="connsiteY81" fmla="*/ 3781425 h 4496940"/>
                    <a:gd name="connsiteX82" fmla="*/ 611527 w 4519987"/>
                    <a:gd name="connsiteY82" fmla="*/ 3733800 h 4496940"/>
                    <a:gd name="connsiteX83" fmla="*/ 554377 w 4519987"/>
                    <a:gd name="connsiteY83" fmla="*/ 3657600 h 4496940"/>
                    <a:gd name="connsiteX84" fmla="*/ 525802 w 4519987"/>
                    <a:gd name="connsiteY84" fmla="*/ 3609975 h 4496940"/>
                    <a:gd name="connsiteX85" fmla="*/ 497227 w 4519987"/>
                    <a:gd name="connsiteY85" fmla="*/ 3552825 h 4496940"/>
                    <a:gd name="connsiteX86" fmla="*/ 440077 w 4519987"/>
                    <a:gd name="connsiteY86" fmla="*/ 3495675 h 4496940"/>
                    <a:gd name="connsiteX87" fmla="*/ 411502 w 4519987"/>
                    <a:gd name="connsiteY87" fmla="*/ 3448050 h 4496940"/>
                    <a:gd name="connsiteX88" fmla="*/ 278152 w 4519987"/>
                    <a:gd name="connsiteY88" fmla="*/ 3257550 h 4496940"/>
                    <a:gd name="connsiteX89" fmla="*/ 249577 w 4519987"/>
                    <a:gd name="connsiteY89" fmla="*/ 3200400 h 4496940"/>
                    <a:gd name="connsiteX90" fmla="*/ 240052 w 4519987"/>
                    <a:gd name="connsiteY90" fmla="*/ 3162300 h 4496940"/>
                    <a:gd name="connsiteX91" fmla="*/ 221002 w 4519987"/>
                    <a:gd name="connsiteY91" fmla="*/ 3105150 h 4496940"/>
                    <a:gd name="connsiteX92" fmla="*/ 173377 w 4519987"/>
                    <a:gd name="connsiteY92" fmla="*/ 3019425 h 4496940"/>
                    <a:gd name="connsiteX93" fmla="*/ 144802 w 4519987"/>
                    <a:gd name="connsiteY93" fmla="*/ 2924175 h 4496940"/>
                    <a:gd name="connsiteX94" fmla="*/ 68602 w 4519987"/>
                    <a:gd name="connsiteY94" fmla="*/ 2724150 h 4496940"/>
                    <a:gd name="connsiteX95" fmla="*/ 49552 w 4519987"/>
                    <a:gd name="connsiteY95" fmla="*/ 2638425 h 4496940"/>
                    <a:gd name="connsiteX96" fmla="*/ 40027 w 4519987"/>
                    <a:gd name="connsiteY96" fmla="*/ 2562225 h 4496940"/>
                    <a:gd name="connsiteX97" fmla="*/ 30502 w 4519987"/>
                    <a:gd name="connsiteY97" fmla="*/ 2514600 h 4496940"/>
                    <a:gd name="connsiteX98" fmla="*/ 11452 w 4519987"/>
                    <a:gd name="connsiteY98" fmla="*/ 2400300 h 4496940"/>
                    <a:gd name="connsiteX99" fmla="*/ 20977 w 4519987"/>
                    <a:gd name="connsiteY99" fmla="*/ 1905000 h 4496940"/>
                    <a:gd name="connsiteX100" fmla="*/ 30502 w 4519987"/>
                    <a:gd name="connsiteY100" fmla="*/ 1838325 h 4496940"/>
                    <a:gd name="connsiteX101" fmla="*/ 49552 w 4519987"/>
                    <a:gd name="connsiteY101" fmla="*/ 1781175 h 4496940"/>
                    <a:gd name="connsiteX102" fmla="*/ 59077 w 4519987"/>
                    <a:gd name="connsiteY102" fmla="*/ 1743075 h 4496940"/>
                    <a:gd name="connsiteX103" fmla="*/ 78127 w 4519987"/>
                    <a:gd name="connsiteY103" fmla="*/ 1685925 h 4496940"/>
                    <a:gd name="connsiteX104" fmla="*/ 87652 w 4519987"/>
                    <a:gd name="connsiteY104" fmla="*/ 1638300 h 4496940"/>
                    <a:gd name="connsiteX105" fmla="*/ 106702 w 4519987"/>
                    <a:gd name="connsiteY105" fmla="*/ 1590675 h 4496940"/>
                    <a:gd name="connsiteX106" fmla="*/ 135277 w 4519987"/>
                    <a:gd name="connsiteY106" fmla="*/ 1504950 h 4496940"/>
                    <a:gd name="connsiteX107" fmla="*/ 154327 w 4519987"/>
                    <a:gd name="connsiteY107" fmla="*/ 1419225 h 4496940"/>
                    <a:gd name="connsiteX108" fmla="*/ 230527 w 4519987"/>
                    <a:gd name="connsiteY108" fmla="*/ 1276350 h 4496940"/>
                    <a:gd name="connsiteX109" fmla="*/ 240052 w 4519987"/>
                    <a:gd name="connsiteY109" fmla="*/ 1247775 h 4496940"/>
                    <a:gd name="connsiteX110" fmla="*/ 268627 w 4519987"/>
                    <a:gd name="connsiteY110" fmla="*/ 1200150 h 4496940"/>
                    <a:gd name="connsiteX111" fmla="*/ 287677 w 4519987"/>
                    <a:gd name="connsiteY111" fmla="*/ 1152525 h 4496940"/>
                    <a:gd name="connsiteX112" fmla="*/ 316252 w 4519987"/>
                    <a:gd name="connsiteY112" fmla="*/ 1114425 h 4496940"/>
                    <a:gd name="connsiteX113" fmla="*/ 363877 w 4519987"/>
                    <a:gd name="connsiteY113" fmla="*/ 1038225 h 4496940"/>
                    <a:gd name="connsiteX114" fmla="*/ 382927 w 4519987"/>
                    <a:gd name="connsiteY114" fmla="*/ 1009650 h 4496940"/>
                    <a:gd name="connsiteX115" fmla="*/ 440077 w 4519987"/>
                    <a:gd name="connsiteY115" fmla="*/ 904875 h 4496940"/>
                    <a:gd name="connsiteX116" fmla="*/ 478177 w 4519987"/>
                    <a:gd name="connsiteY116" fmla="*/ 857250 h 4496940"/>
                    <a:gd name="connsiteX117" fmla="*/ 497227 w 4519987"/>
                    <a:gd name="connsiteY117" fmla="*/ 828675 h 4496940"/>
                    <a:gd name="connsiteX118" fmla="*/ 535327 w 4519987"/>
                    <a:gd name="connsiteY118" fmla="*/ 800100 h 4496940"/>
                    <a:gd name="connsiteX119" fmla="*/ 602002 w 4519987"/>
                    <a:gd name="connsiteY119" fmla="*/ 733425 h 4496940"/>
                    <a:gd name="connsiteX120" fmla="*/ 668677 w 4519987"/>
                    <a:gd name="connsiteY120" fmla="*/ 676275 h 4496940"/>
                    <a:gd name="connsiteX121" fmla="*/ 697252 w 4519987"/>
                    <a:gd name="connsiteY121" fmla="*/ 657225 h 4496940"/>
                    <a:gd name="connsiteX122" fmla="*/ 840127 w 4519987"/>
                    <a:gd name="connsiteY122" fmla="*/ 533400 h 4496940"/>
                    <a:gd name="connsiteX123" fmla="*/ 887752 w 4519987"/>
                    <a:gd name="connsiteY123" fmla="*/ 504825 h 4496940"/>
                    <a:gd name="connsiteX124" fmla="*/ 1167152 w 4519987"/>
                    <a:gd name="connsiteY124" fmla="*/ 311150 h 4496940"/>
                    <a:gd name="connsiteX125" fmla="*/ 1268752 w 4519987"/>
                    <a:gd name="connsiteY125" fmla="*/ 285750 h 4496940"/>
                    <a:gd name="connsiteX126" fmla="*/ 1411627 w 4519987"/>
                    <a:gd name="connsiteY126" fmla="*/ 190500 h 4496940"/>
                    <a:gd name="connsiteX127" fmla="*/ 1449727 w 4519987"/>
                    <a:gd name="connsiteY127" fmla="*/ 161925 h 4496940"/>
                    <a:gd name="connsiteX128" fmla="*/ 1525927 w 4519987"/>
                    <a:gd name="connsiteY128" fmla="*/ 152400 h 4496940"/>
                    <a:gd name="connsiteX129" fmla="*/ 1583077 w 4519987"/>
                    <a:gd name="connsiteY129" fmla="*/ 142875 h 4496940"/>
                    <a:gd name="connsiteX130" fmla="*/ 1716427 w 4519987"/>
                    <a:gd name="connsiteY130" fmla="*/ 123825 h 4496940"/>
                    <a:gd name="connsiteX131" fmla="*/ 1811677 w 4519987"/>
                    <a:gd name="connsiteY131" fmla="*/ 114300 h 4496940"/>
                    <a:gd name="connsiteX132" fmla="*/ 1859302 w 4519987"/>
                    <a:gd name="connsiteY132" fmla="*/ 104775 h 4496940"/>
                    <a:gd name="connsiteX133" fmla="*/ 1916452 w 4519987"/>
                    <a:gd name="connsiteY133" fmla="*/ 95250 h 4496940"/>
                    <a:gd name="connsiteX134" fmla="*/ 2030752 w 4519987"/>
                    <a:gd name="connsiteY134" fmla="*/ 66675 h 4496940"/>
                    <a:gd name="connsiteX135" fmla="*/ 2097427 w 4519987"/>
                    <a:gd name="connsiteY135" fmla="*/ 47625 h 4496940"/>
                    <a:gd name="connsiteX136" fmla="*/ 2164102 w 4519987"/>
                    <a:gd name="connsiteY136" fmla="*/ 38100 h 4496940"/>
                    <a:gd name="connsiteX137" fmla="*/ 2392702 w 4519987"/>
                    <a:gd name="connsiteY13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745252 w 4519987"/>
                    <a:gd name="connsiteY41" fmla="*/ 3819525 h 4496940"/>
                    <a:gd name="connsiteX42" fmla="*/ 3678577 w 4519987"/>
                    <a:gd name="connsiteY42" fmla="*/ 3848100 h 4496940"/>
                    <a:gd name="connsiteX43" fmla="*/ 3659527 w 4519987"/>
                    <a:gd name="connsiteY43" fmla="*/ 3971925 h 4496940"/>
                    <a:gd name="connsiteX44" fmla="*/ 3630952 w 4519987"/>
                    <a:gd name="connsiteY44" fmla="*/ 4010025 h 4496940"/>
                    <a:gd name="connsiteX45" fmla="*/ 3621427 w 4519987"/>
                    <a:gd name="connsiteY45" fmla="*/ 4038600 h 4496940"/>
                    <a:gd name="connsiteX46" fmla="*/ 3554752 w 4519987"/>
                    <a:gd name="connsiteY46" fmla="*/ 4095750 h 4496940"/>
                    <a:gd name="connsiteX47" fmla="*/ 3516652 w 4519987"/>
                    <a:gd name="connsiteY47" fmla="*/ 4114800 h 4496940"/>
                    <a:gd name="connsiteX48" fmla="*/ 3497602 w 4519987"/>
                    <a:gd name="connsiteY48" fmla="*/ 4143375 h 4496940"/>
                    <a:gd name="connsiteX49" fmla="*/ 3383302 w 4519987"/>
                    <a:gd name="connsiteY49" fmla="*/ 4210050 h 4496940"/>
                    <a:gd name="connsiteX50" fmla="*/ 3335677 w 4519987"/>
                    <a:gd name="connsiteY50" fmla="*/ 4238625 h 4496940"/>
                    <a:gd name="connsiteX51" fmla="*/ 3288052 w 4519987"/>
                    <a:gd name="connsiteY51" fmla="*/ 4248150 h 4496940"/>
                    <a:gd name="connsiteX52" fmla="*/ 3240427 w 4519987"/>
                    <a:gd name="connsiteY52" fmla="*/ 4267200 h 4496940"/>
                    <a:gd name="connsiteX53" fmla="*/ 3068977 w 4519987"/>
                    <a:gd name="connsiteY53" fmla="*/ 4286250 h 4496940"/>
                    <a:gd name="connsiteX54" fmla="*/ 2935627 w 4519987"/>
                    <a:gd name="connsiteY54" fmla="*/ 4333875 h 4496940"/>
                    <a:gd name="connsiteX55" fmla="*/ 2811802 w 4519987"/>
                    <a:gd name="connsiteY55" fmla="*/ 4371975 h 4496940"/>
                    <a:gd name="connsiteX56" fmla="*/ 2745127 w 4519987"/>
                    <a:gd name="connsiteY56" fmla="*/ 4410075 h 4496940"/>
                    <a:gd name="connsiteX57" fmla="*/ 2697502 w 4519987"/>
                    <a:gd name="connsiteY57" fmla="*/ 4429125 h 4496940"/>
                    <a:gd name="connsiteX58" fmla="*/ 2640352 w 4519987"/>
                    <a:gd name="connsiteY58" fmla="*/ 4457700 h 4496940"/>
                    <a:gd name="connsiteX59" fmla="*/ 2583202 w 4519987"/>
                    <a:gd name="connsiteY59" fmla="*/ 4467225 h 4496940"/>
                    <a:gd name="connsiteX60" fmla="*/ 2545102 w 4519987"/>
                    <a:gd name="connsiteY60" fmla="*/ 4486275 h 4496940"/>
                    <a:gd name="connsiteX61" fmla="*/ 2306977 w 4519987"/>
                    <a:gd name="connsiteY61" fmla="*/ 4476750 h 4496940"/>
                    <a:gd name="connsiteX62" fmla="*/ 2202202 w 4519987"/>
                    <a:gd name="connsiteY62" fmla="*/ 4457700 h 4496940"/>
                    <a:gd name="connsiteX63" fmla="*/ 2126002 w 4519987"/>
                    <a:gd name="connsiteY63" fmla="*/ 4429125 h 4496940"/>
                    <a:gd name="connsiteX64" fmla="*/ 1935502 w 4519987"/>
                    <a:gd name="connsiteY64" fmla="*/ 4400550 h 4496940"/>
                    <a:gd name="connsiteX65" fmla="*/ 1821202 w 4519987"/>
                    <a:gd name="connsiteY65" fmla="*/ 4371975 h 4496940"/>
                    <a:gd name="connsiteX66" fmla="*/ 1754527 w 4519987"/>
                    <a:gd name="connsiteY66" fmla="*/ 4352925 h 4496940"/>
                    <a:gd name="connsiteX67" fmla="*/ 1687852 w 4519987"/>
                    <a:gd name="connsiteY67" fmla="*/ 4343400 h 4496940"/>
                    <a:gd name="connsiteX68" fmla="*/ 1573552 w 4519987"/>
                    <a:gd name="connsiteY68" fmla="*/ 4305300 h 4496940"/>
                    <a:gd name="connsiteX69" fmla="*/ 1402102 w 4519987"/>
                    <a:gd name="connsiteY69" fmla="*/ 4276725 h 4496940"/>
                    <a:gd name="connsiteX70" fmla="*/ 1287802 w 4519987"/>
                    <a:gd name="connsiteY70" fmla="*/ 4229100 h 4496940"/>
                    <a:gd name="connsiteX71" fmla="*/ 1221127 w 4519987"/>
                    <a:gd name="connsiteY71" fmla="*/ 4200525 h 4496940"/>
                    <a:gd name="connsiteX72" fmla="*/ 1144927 w 4519987"/>
                    <a:gd name="connsiteY72" fmla="*/ 4171950 h 4496940"/>
                    <a:gd name="connsiteX73" fmla="*/ 1087777 w 4519987"/>
                    <a:gd name="connsiteY73" fmla="*/ 4143375 h 4496940"/>
                    <a:gd name="connsiteX74" fmla="*/ 1030627 w 4519987"/>
                    <a:gd name="connsiteY74" fmla="*/ 4124325 h 4496940"/>
                    <a:gd name="connsiteX75" fmla="*/ 925852 w 4519987"/>
                    <a:gd name="connsiteY75" fmla="*/ 4067175 h 4496940"/>
                    <a:gd name="connsiteX76" fmla="*/ 830602 w 4519987"/>
                    <a:gd name="connsiteY76" fmla="*/ 3981450 h 4496940"/>
                    <a:gd name="connsiteX77" fmla="*/ 763927 w 4519987"/>
                    <a:gd name="connsiteY77" fmla="*/ 3914775 h 4496940"/>
                    <a:gd name="connsiteX78" fmla="*/ 725827 w 4519987"/>
                    <a:gd name="connsiteY78" fmla="*/ 3876675 h 4496940"/>
                    <a:gd name="connsiteX79" fmla="*/ 697252 w 4519987"/>
                    <a:gd name="connsiteY79" fmla="*/ 3838575 h 4496940"/>
                    <a:gd name="connsiteX80" fmla="*/ 640102 w 4519987"/>
                    <a:gd name="connsiteY80" fmla="*/ 3781425 h 4496940"/>
                    <a:gd name="connsiteX81" fmla="*/ 611527 w 4519987"/>
                    <a:gd name="connsiteY81" fmla="*/ 3733800 h 4496940"/>
                    <a:gd name="connsiteX82" fmla="*/ 554377 w 4519987"/>
                    <a:gd name="connsiteY82" fmla="*/ 3657600 h 4496940"/>
                    <a:gd name="connsiteX83" fmla="*/ 525802 w 4519987"/>
                    <a:gd name="connsiteY83" fmla="*/ 3609975 h 4496940"/>
                    <a:gd name="connsiteX84" fmla="*/ 497227 w 4519987"/>
                    <a:gd name="connsiteY84" fmla="*/ 3552825 h 4496940"/>
                    <a:gd name="connsiteX85" fmla="*/ 440077 w 4519987"/>
                    <a:gd name="connsiteY85" fmla="*/ 3495675 h 4496940"/>
                    <a:gd name="connsiteX86" fmla="*/ 411502 w 4519987"/>
                    <a:gd name="connsiteY86" fmla="*/ 3448050 h 4496940"/>
                    <a:gd name="connsiteX87" fmla="*/ 278152 w 4519987"/>
                    <a:gd name="connsiteY87" fmla="*/ 3257550 h 4496940"/>
                    <a:gd name="connsiteX88" fmla="*/ 249577 w 4519987"/>
                    <a:gd name="connsiteY88" fmla="*/ 3200400 h 4496940"/>
                    <a:gd name="connsiteX89" fmla="*/ 240052 w 4519987"/>
                    <a:gd name="connsiteY89" fmla="*/ 3162300 h 4496940"/>
                    <a:gd name="connsiteX90" fmla="*/ 221002 w 4519987"/>
                    <a:gd name="connsiteY90" fmla="*/ 3105150 h 4496940"/>
                    <a:gd name="connsiteX91" fmla="*/ 173377 w 4519987"/>
                    <a:gd name="connsiteY91" fmla="*/ 3019425 h 4496940"/>
                    <a:gd name="connsiteX92" fmla="*/ 144802 w 4519987"/>
                    <a:gd name="connsiteY92" fmla="*/ 2924175 h 4496940"/>
                    <a:gd name="connsiteX93" fmla="*/ 68602 w 4519987"/>
                    <a:gd name="connsiteY93" fmla="*/ 2724150 h 4496940"/>
                    <a:gd name="connsiteX94" fmla="*/ 49552 w 4519987"/>
                    <a:gd name="connsiteY94" fmla="*/ 2638425 h 4496940"/>
                    <a:gd name="connsiteX95" fmla="*/ 40027 w 4519987"/>
                    <a:gd name="connsiteY95" fmla="*/ 2562225 h 4496940"/>
                    <a:gd name="connsiteX96" fmla="*/ 30502 w 4519987"/>
                    <a:gd name="connsiteY96" fmla="*/ 2514600 h 4496940"/>
                    <a:gd name="connsiteX97" fmla="*/ 11452 w 4519987"/>
                    <a:gd name="connsiteY97" fmla="*/ 2400300 h 4496940"/>
                    <a:gd name="connsiteX98" fmla="*/ 20977 w 4519987"/>
                    <a:gd name="connsiteY98" fmla="*/ 1905000 h 4496940"/>
                    <a:gd name="connsiteX99" fmla="*/ 30502 w 4519987"/>
                    <a:gd name="connsiteY99" fmla="*/ 1838325 h 4496940"/>
                    <a:gd name="connsiteX100" fmla="*/ 49552 w 4519987"/>
                    <a:gd name="connsiteY100" fmla="*/ 1781175 h 4496940"/>
                    <a:gd name="connsiteX101" fmla="*/ 59077 w 4519987"/>
                    <a:gd name="connsiteY101" fmla="*/ 1743075 h 4496940"/>
                    <a:gd name="connsiteX102" fmla="*/ 78127 w 4519987"/>
                    <a:gd name="connsiteY102" fmla="*/ 1685925 h 4496940"/>
                    <a:gd name="connsiteX103" fmla="*/ 87652 w 4519987"/>
                    <a:gd name="connsiteY103" fmla="*/ 1638300 h 4496940"/>
                    <a:gd name="connsiteX104" fmla="*/ 106702 w 4519987"/>
                    <a:gd name="connsiteY104" fmla="*/ 1590675 h 4496940"/>
                    <a:gd name="connsiteX105" fmla="*/ 135277 w 4519987"/>
                    <a:gd name="connsiteY105" fmla="*/ 1504950 h 4496940"/>
                    <a:gd name="connsiteX106" fmla="*/ 154327 w 4519987"/>
                    <a:gd name="connsiteY106" fmla="*/ 1419225 h 4496940"/>
                    <a:gd name="connsiteX107" fmla="*/ 230527 w 4519987"/>
                    <a:gd name="connsiteY107" fmla="*/ 1276350 h 4496940"/>
                    <a:gd name="connsiteX108" fmla="*/ 240052 w 4519987"/>
                    <a:gd name="connsiteY108" fmla="*/ 1247775 h 4496940"/>
                    <a:gd name="connsiteX109" fmla="*/ 268627 w 4519987"/>
                    <a:gd name="connsiteY109" fmla="*/ 1200150 h 4496940"/>
                    <a:gd name="connsiteX110" fmla="*/ 287677 w 4519987"/>
                    <a:gd name="connsiteY110" fmla="*/ 1152525 h 4496940"/>
                    <a:gd name="connsiteX111" fmla="*/ 316252 w 4519987"/>
                    <a:gd name="connsiteY111" fmla="*/ 1114425 h 4496940"/>
                    <a:gd name="connsiteX112" fmla="*/ 363877 w 4519987"/>
                    <a:gd name="connsiteY112" fmla="*/ 1038225 h 4496940"/>
                    <a:gd name="connsiteX113" fmla="*/ 382927 w 4519987"/>
                    <a:gd name="connsiteY113" fmla="*/ 1009650 h 4496940"/>
                    <a:gd name="connsiteX114" fmla="*/ 440077 w 4519987"/>
                    <a:gd name="connsiteY114" fmla="*/ 904875 h 4496940"/>
                    <a:gd name="connsiteX115" fmla="*/ 478177 w 4519987"/>
                    <a:gd name="connsiteY115" fmla="*/ 857250 h 4496940"/>
                    <a:gd name="connsiteX116" fmla="*/ 497227 w 4519987"/>
                    <a:gd name="connsiteY116" fmla="*/ 828675 h 4496940"/>
                    <a:gd name="connsiteX117" fmla="*/ 535327 w 4519987"/>
                    <a:gd name="connsiteY117" fmla="*/ 800100 h 4496940"/>
                    <a:gd name="connsiteX118" fmla="*/ 602002 w 4519987"/>
                    <a:gd name="connsiteY118" fmla="*/ 733425 h 4496940"/>
                    <a:gd name="connsiteX119" fmla="*/ 668677 w 4519987"/>
                    <a:gd name="connsiteY119" fmla="*/ 676275 h 4496940"/>
                    <a:gd name="connsiteX120" fmla="*/ 697252 w 4519987"/>
                    <a:gd name="connsiteY120" fmla="*/ 657225 h 4496940"/>
                    <a:gd name="connsiteX121" fmla="*/ 840127 w 4519987"/>
                    <a:gd name="connsiteY121" fmla="*/ 533400 h 4496940"/>
                    <a:gd name="connsiteX122" fmla="*/ 887752 w 4519987"/>
                    <a:gd name="connsiteY122" fmla="*/ 504825 h 4496940"/>
                    <a:gd name="connsiteX123" fmla="*/ 1167152 w 4519987"/>
                    <a:gd name="connsiteY123" fmla="*/ 311150 h 4496940"/>
                    <a:gd name="connsiteX124" fmla="*/ 1268752 w 4519987"/>
                    <a:gd name="connsiteY124" fmla="*/ 285750 h 4496940"/>
                    <a:gd name="connsiteX125" fmla="*/ 1411627 w 4519987"/>
                    <a:gd name="connsiteY125" fmla="*/ 190500 h 4496940"/>
                    <a:gd name="connsiteX126" fmla="*/ 1449727 w 4519987"/>
                    <a:gd name="connsiteY126" fmla="*/ 161925 h 4496940"/>
                    <a:gd name="connsiteX127" fmla="*/ 1525927 w 4519987"/>
                    <a:gd name="connsiteY127" fmla="*/ 152400 h 4496940"/>
                    <a:gd name="connsiteX128" fmla="*/ 1583077 w 4519987"/>
                    <a:gd name="connsiteY128" fmla="*/ 142875 h 4496940"/>
                    <a:gd name="connsiteX129" fmla="*/ 1716427 w 4519987"/>
                    <a:gd name="connsiteY129" fmla="*/ 123825 h 4496940"/>
                    <a:gd name="connsiteX130" fmla="*/ 1811677 w 4519987"/>
                    <a:gd name="connsiteY130" fmla="*/ 114300 h 4496940"/>
                    <a:gd name="connsiteX131" fmla="*/ 1859302 w 4519987"/>
                    <a:gd name="connsiteY131" fmla="*/ 104775 h 4496940"/>
                    <a:gd name="connsiteX132" fmla="*/ 1916452 w 4519987"/>
                    <a:gd name="connsiteY132" fmla="*/ 95250 h 4496940"/>
                    <a:gd name="connsiteX133" fmla="*/ 2030752 w 4519987"/>
                    <a:gd name="connsiteY133" fmla="*/ 66675 h 4496940"/>
                    <a:gd name="connsiteX134" fmla="*/ 2097427 w 4519987"/>
                    <a:gd name="connsiteY134" fmla="*/ 47625 h 4496940"/>
                    <a:gd name="connsiteX135" fmla="*/ 2164102 w 4519987"/>
                    <a:gd name="connsiteY135" fmla="*/ 38100 h 4496940"/>
                    <a:gd name="connsiteX136" fmla="*/ 2392702 w 4519987"/>
                    <a:gd name="connsiteY13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678577 w 4519987"/>
                    <a:gd name="connsiteY41" fmla="*/ 3848100 h 4496940"/>
                    <a:gd name="connsiteX42" fmla="*/ 3659527 w 4519987"/>
                    <a:gd name="connsiteY42" fmla="*/ 3971925 h 4496940"/>
                    <a:gd name="connsiteX43" fmla="*/ 3630952 w 4519987"/>
                    <a:gd name="connsiteY43" fmla="*/ 4010025 h 4496940"/>
                    <a:gd name="connsiteX44" fmla="*/ 3621427 w 4519987"/>
                    <a:gd name="connsiteY44" fmla="*/ 4038600 h 4496940"/>
                    <a:gd name="connsiteX45" fmla="*/ 3554752 w 4519987"/>
                    <a:gd name="connsiteY45" fmla="*/ 4095750 h 4496940"/>
                    <a:gd name="connsiteX46" fmla="*/ 3516652 w 4519987"/>
                    <a:gd name="connsiteY46" fmla="*/ 4114800 h 4496940"/>
                    <a:gd name="connsiteX47" fmla="*/ 3497602 w 4519987"/>
                    <a:gd name="connsiteY47" fmla="*/ 4143375 h 4496940"/>
                    <a:gd name="connsiteX48" fmla="*/ 3383302 w 4519987"/>
                    <a:gd name="connsiteY48" fmla="*/ 4210050 h 4496940"/>
                    <a:gd name="connsiteX49" fmla="*/ 3335677 w 4519987"/>
                    <a:gd name="connsiteY49" fmla="*/ 4238625 h 4496940"/>
                    <a:gd name="connsiteX50" fmla="*/ 3288052 w 4519987"/>
                    <a:gd name="connsiteY50" fmla="*/ 4248150 h 4496940"/>
                    <a:gd name="connsiteX51" fmla="*/ 3240427 w 4519987"/>
                    <a:gd name="connsiteY51" fmla="*/ 4267200 h 4496940"/>
                    <a:gd name="connsiteX52" fmla="*/ 3068977 w 4519987"/>
                    <a:gd name="connsiteY52" fmla="*/ 4286250 h 4496940"/>
                    <a:gd name="connsiteX53" fmla="*/ 2935627 w 4519987"/>
                    <a:gd name="connsiteY53" fmla="*/ 4333875 h 4496940"/>
                    <a:gd name="connsiteX54" fmla="*/ 2811802 w 4519987"/>
                    <a:gd name="connsiteY54" fmla="*/ 4371975 h 4496940"/>
                    <a:gd name="connsiteX55" fmla="*/ 2745127 w 4519987"/>
                    <a:gd name="connsiteY55" fmla="*/ 4410075 h 4496940"/>
                    <a:gd name="connsiteX56" fmla="*/ 2697502 w 4519987"/>
                    <a:gd name="connsiteY56" fmla="*/ 4429125 h 4496940"/>
                    <a:gd name="connsiteX57" fmla="*/ 2640352 w 4519987"/>
                    <a:gd name="connsiteY57" fmla="*/ 4457700 h 4496940"/>
                    <a:gd name="connsiteX58" fmla="*/ 2583202 w 4519987"/>
                    <a:gd name="connsiteY58" fmla="*/ 4467225 h 4496940"/>
                    <a:gd name="connsiteX59" fmla="*/ 2545102 w 4519987"/>
                    <a:gd name="connsiteY59" fmla="*/ 4486275 h 4496940"/>
                    <a:gd name="connsiteX60" fmla="*/ 2306977 w 4519987"/>
                    <a:gd name="connsiteY60" fmla="*/ 4476750 h 4496940"/>
                    <a:gd name="connsiteX61" fmla="*/ 2202202 w 4519987"/>
                    <a:gd name="connsiteY61" fmla="*/ 4457700 h 4496940"/>
                    <a:gd name="connsiteX62" fmla="*/ 2126002 w 4519987"/>
                    <a:gd name="connsiteY62" fmla="*/ 4429125 h 4496940"/>
                    <a:gd name="connsiteX63" fmla="*/ 1935502 w 4519987"/>
                    <a:gd name="connsiteY63" fmla="*/ 4400550 h 4496940"/>
                    <a:gd name="connsiteX64" fmla="*/ 1821202 w 4519987"/>
                    <a:gd name="connsiteY64" fmla="*/ 4371975 h 4496940"/>
                    <a:gd name="connsiteX65" fmla="*/ 1754527 w 4519987"/>
                    <a:gd name="connsiteY65" fmla="*/ 4352925 h 4496940"/>
                    <a:gd name="connsiteX66" fmla="*/ 1687852 w 4519987"/>
                    <a:gd name="connsiteY66" fmla="*/ 4343400 h 4496940"/>
                    <a:gd name="connsiteX67" fmla="*/ 1573552 w 4519987"/>
                    <a:gd name="connsiteY67" fmla="*/ 4305300 h 4496940"/>
                    <a:gd name="connsiteX68" fmla="*/ 1402102 w 4519987"/>
                    <a:gd name="connsiteY68" fmla="*/ 4276725 h 4496940"/>
                    <a:gd name="connsiteX69" fmla="*/ 1287802 w 4519987"/>
                    <a:gd name="connsiteY69" fmla="*/ 4229100 h 4496940"/>
                    <a:gd name="connsiteX70" fmla="*/ 1221127 w 4519987"/>
                    <a:gd name="connsiteY70" fmla="*/ 4200525 h 4496940"/>
                    <a:gd name="connsiteX71" fmla="*/ 1144927 w 4519987"/>
                    <a:gd name="connsiteY71" fmla="*/ 4171950 h 4496940"/>
                    <a:gd name="connsiteX72" fmla="*/ 1087777 w 4519987"/>
                    <a:gd name="connsiteY72" fmla="*/ 4143375 h 4496940"/>
                    <a:gd name="connsiteX73" fmla="*/ 1030627 w 4519987"/>
                    <a:gd name="connsiteY73" fmla="*/ 4124325 h 4496940"/>
                    <a:gd name="connsiteX74" fmla="*/ 925852 w 4519987"/>
                    <a:gd name="connsiteY74" fmla="*/ 4067175 h 4496940"/>
                    <a:gd name="connsiteX75" fmla="*/ 830602 w 4519987"/>
                    <a:gd name="connsiteY75" fmla="*/ 3981450 h 4496940"/>
                    <a:gd name="connsiteX76" fmla="*/ 763927 w 4519987"/>
                    <a:gd name="connsiteY76" fmla="*/ 3914775 h 4496940"/>
                    <a:gd name="connsiteX77" fmla="*/ 725827 w 4519987"/>
                    <a:gd name="connsiteY77" fmla="*/ 3876675 h 4496940"/>
                    <a:gd name="connsiteX78" fmla="*/ 697252 w 4519987"/>
                    <a:gd name="connsiteY78" fmla="*/ 3838575 h 4496940"/>
                    <a:gd name="connsiteX79" fmla="*/ 640102 w 4519987"/>
                    <a:gd name="connsiteY79" fmla="*/ 3781425 h 4496940"/>
                    <a:gd name="connsiteX80" fmla="*/ 611527 w 4519987"/>
                    <a:gd name="connsiteY80" fmla="*/ 3733800 h 4496940"/>
                    <a:gd name="connsiteX81" fmla="*/ 554377 w 4519987"/>
                    <a:gd name="connsiteY81" fmla="*/ 3657600 h 4496940"/>
                    <a:gd name="connsiteX82" fmla="*/ 525802 w 4519987"/>
                    <a:gd name="connsiteY82" fmla="*/ 3609975 h 4496940"/>
                    <a:gd name="connsiteX83" fmla="*/ 497227 w 4519987"/>
                    <a:gd name="connsiteY83" fmla="*/ 3552825 h 4496940"/>
                    <a:gd name="connsiteX84" fmla="*/ 440077 w 4519987"/>
                    <a:gd name="connsiteY84" fmla="*/ 3495675 h 4496940"/>
                    <a:gd name="connsiteX85" fmla="*/ 411502 w 4519987"/>
                    <a:gd name="connsiteY85" fmla="*/ 3448050 h 4496940"/>
                    <a:gd name="connsiteX86" fmla="*/ 278152 w 4519987"/>
                    <a:gd name="connsiteY86" fmla="*/ 3257550 h 4496940"/>
                    <a:gd name="connsiteX87" fmla="*/ 249577 w 4519987"/>
                    <a:gd name="connsiteY87" fmla="*/ 3200400 h 4496940"/>
                    <a:gd name="connsiteX88" fmla="*/ 240052 w 4519987"/>
                    <a:gd name="connsiteY88" fmla="*/ 3162300 h 4496940"/>
                    <a:gd name="connsiteX89" fmla="*/ 221002 w 4519987"/>
                    <a:gd name="connsiteY89" fmla="*/ 3105150 h 4496940"/>
                    <a:gd name="connsiteX90" fmla="*/ 173377 w 4519987"/>
                    <a:gd name="connsiteY90" fmla="*/ 3019425 h 4496940"/>
                    <a:gd name="connsiteX91" fmla="*/ 144802 w 4519987"/>
                    <a:gd name="connsiteY91" fmla="*/ 2924175 h 4496940"/>
                    <a:gd name="connsiteX92" fmla="*/ 68602 w 4519987"/>
                    <a:gd name="connsiteY92" fmla="*/ 2724150 h 4496940"/>
                    <a:gd name="connsiteX93" fmla="*/ 49552 w 4519987"/>
                    <a:gd name="connsiteY93" fmla="*/ 2638425 h 4496940"/>
                    <a:gd name="connsiteX94" fmla="*/ 40027 w 4519987"/>
                    <a:gd name="connsiteY94" fmla="*/ 2562225 h 4496940"/>
                    <a:gd name="connsiteX95" fmla="*/ 30502 w 4519987"/>
                    <a:gd name="connsiteY95" fmla="*/ 2514600 h 4496940"/>
                    <a:gd name="connsiteX96" fmla="*/ 11452 w 4519987"/>
                    <a:gd name="connsiteY96" fmla="*/ 2400300 h 4496940"/>
                    <a:gd name="connsiteX97" fmla="*/ 20977 w 4519987"/>
                    <a:gd name="connsiteY97" fmla="*/ 1905000 h 4496940"/>
                    <a:gd name="connsiteX98" fmla="*/ 30502 w 4519987"/>
                    <a:gd name="connsiteY98" fmla="*/ 1838325 h 4496940"/>
                    <a:gd name="connsiteX99" fmla="*/ 49552 w 4519987"/>
                    <a:gd name="connsiteY99" fmla="*/ 1781175 h 4496940"/>
                    <a:gd name="connsiteX100" fmla="*/ 59077 w 4519987"/>
                    <a:gd name="connsiteY100" fmla="*/ 1743075 h 4496940"/>
                    <a:gd name="connsiteX101" fmla="*/ 78127 w 4519987"/>
                    <a:gd name="connsiteY101" fmla="*/ 1685925 h 4496940"/>
                    <a:gd name="connsiteX102" fmla="*/ 87652 w 4519987"/>
                    <a:gd name="connsiteY102" fmla="*/ 1638300 h 4496940"/>
                    <a:gd name="connsiteX103" fmla="*/ 106702 w 4519987"/>
                    <a:gd name="connsiteY103" fmla="*/ 1590675 h 4496940"/>
                    <a:gd name="connsiteX104" fmla="*/ 135277 w 4519987"/>
                    <a:gd name="connsiteY104" fmla="*/ 1504950 h 4496940"/>
                    <a:gd name="connsiteX105" fmla="*/ 154327 w 4519987"/>
                    <a:gd name="connsiteY105" fmla="*/ 1419225 h 4496940"/>
                    <a:gd name="connsiteX106" fmla="*/ 230527 w 4519987"/>
                    <a:gd name="connsiteY106" fmla="*/ 1276350 h 4496940"/>
                    <a:gd name="connsiteX107" fmla="*/ 240052 w 4519987"/>
                    <a:gd name="connsiteY107" fmla="*/ 1247775 h 4496940"/>
                    <a:gd name="connsiteX108" fmla="*/ 268627 w 4519987"/>
                    <a:gd name="connsiteY108" fmla="*/ 1200150 h 4496940"/>
                    <a:gd name="connsiteX109" fmla="*/ 287677 w 4519987"/>
                    <a:gd name="connsiteY109" fmla="*/ 1152525 h 4496940"/>
                    <a:gd name="connsiteX110" fmla="*/ 316252 w 4519987"/>
                    <a:gd name="connsiteY110" fmla="*/ 1114425 h 4496940"/>
                    <a:gd name="connsiteX111" fmla="*/ 363877 w 4519987"/>
                    <a:gd name="connsiteY111" fmla="*/ 1038225 h 4496940"/>
                    <a:gd name="connsiteX112" fmla="*/ 382927 w 4519987"/>
                    <a:gd name="connsiteY112" fmla="*/ 1009650 h 4496940"/>
                    <a:gd name="connsiteX113" fmla="*/ 440077 w 4519987"/>
                    <a:gd name="connsiteY113" fmla="*/ 904875 h 4496940"/>
                    <a:gd name="connsiteX114" fmla="*/ 478177 w 4519987"/>
                    <a:gd name="connsiteY114" fmla="*/ 857250 h 4496940"/>
                    <a:gd name="connsiteX115" fmla="*/ 497227 w 4519987"/>
                    <a:gd name="connsiteY115" fmla="*/ 828675 h 4496940"/>
                    <a:gd name="connsiteX116" fmla="*/ 535327 w 4519987"/>
                    <a:gd name="connsiteY116" fmla="*/ 800100 h 4496940"/>
                    <a:gd name="connsiteX117" fmla="*/ 602002 w 4519987"/>
                    <a:gd name="connsiteY117" fmla="*/ 733425 h 4496940"/>
                    <a:gd name="connsiteX118" fmla="*/ 668677 w 4519987"/>
                    <a:gd name="connsiteY118" fmla="*/ 676275 h 4496940"/>
                    <a:gd name="connsiteX119" fmla="*/ 697252 w 4519987"/>
                    <a:gd name="connsiteY119" fmla="*/ 657225 h 4496940"/>
                    <a:gd name="connsiteX120" fmla="*/ 840127 w 4519987"/>
                    <a:gd name="connsiteY120" fmla="*/ 533400 h 4496940"/>
                    <a:gd name="connsiteX121" fmla="*/ 887752 w 4519987"/>
                    <a:gd name="connsiteY121" fmla="*/ 504825 h 4496940"/>
                    <a:gd name="connsiteX122" fmla="*/ 1167152 w 4519987"/>
                    <a:gd name="connsiteY122" fmla="*/ 311150 h 4496940"/>
                    <a:gd name="connsiteX123" fmla="*/ 1268752 w 4519987"/>
                    <a:gd name="connsiteY123" fmla="*/ 285750 h 4496940"/>
                    <a:gd name="connsiteX124" fmla="*/ 1411627 w 4519987"/>
                    <a:gd name="connsiteY124" fmla="*/ 190500 h 4496940"/>
                    <a:gd name="connsiteX125" fmla="*/ 1449727 w 4519987"/>
                    <a:gd name="connsiteY125" fmla="*/ 161925 h 4496940"/>
                    <a:gd name="connsiteX126" fmla="*/ 1525927 w 4519987"/>
                    <a:gd name="connsiteY126" fmla="*/ 152400 h 4496940"/>
                    <a:gd name="connsiteX127" fmla="*/ 1583077 w 4519987"/>
                    <a:gd name="connsiteY127" fmla="*/ 142875 h 4496940"/>
                    <a:gd name="connsiteX128" fmla="*/ 1716427 w 4519987"/>
                    <a:gd name="connsiteY128" fmla="*/ 123825 h 4496940"/>
                    <a:gd name="connsiteX129" fmla="*/ 1811677 w 4519987"/>
                    <a:gd name="connsiteY129" fmla="*/ 114300 h 4496940"/>
                    <a:gd name="connsiteX130" fmla="*/ 1859302 w 4519987"/>
                    <a:gd name="connsiteY130" fmla="*/ 104775 h 4496940"/>
                    <a:gd name="connsiteX131" fmla="*/ 1916452 w 4519987"/>
                    <a:gd name="connsiteY131" fmla="*/ 95250 h 4496940"/>
                    <a:gd name="connsiteX132" fmla="*/ 2030752 w 4519987"/>
                    <a:gd name="connsiteY132" fmla="*/ 66675 h 4496940"/>
                    <a:gd name="connsiteX133" fmla="*/ 2097427 w 4519987"/>
                    <a:gd name="connsiteY133" fmla="*/ 47625 h 4496940"/>
                    <a:gd name="connsiteX134" fmla="*/ 2164102 w 4519987"/>
                    <a:gd name="connsiteY134" fmla="*/ 38100 h 4496940"/>
                    <a:gd name="connsiteX135" fmla="*/ 2392702 w 4519987"/>
                    <a:gd name="connsiteY13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78577 w 4519987"/>
                    <a:gd name="connsiteY40" fmla="*/ 3848100 h 4496940"/>
                    <a:gd name="connsiteX41" fmla="*/ 3659527 w 4519987"/>
                    <a:gd name="connsiteY41" fmla="*/ 3971925 h 4496940"/>
                    <a:gd name="connsiteX42" fmla="*/ 3630952 w 4519987"/>
                    <a:gd name="connsiteY42" fmla="*/ 4010025 h 4496940"/>
                    <a:gd name="connsiteX43" fmla="*/ 3621427 w 4519987"/>
                    <a:gd name="connsiteY43" fmla="*/ 4038600 h 4496940"/>
                    <a:gd name="connsiteX44" fmla="*/ 3554752 w 4519987"/>
                    <a:gd name="connsiteY44" fmla="*/ 4095750 h 4496940"/>
                    <a:gd name="connsiteX45" fmla="*/ 3516652 w 4519987"/>
                    <a:gd name="connsiteY45" fmla="*/ 4114800 h 4496940"/>
                    <a:gd name="connsiteX46" fmla="*/ 3497602 w 4519987"/>
                    <a:gd name="connsiteY46" fmla="*/ 4143375 h 4496940"/>
                    <a:gd name="connsiteX47" fmla="*/ 3383302 w 4519987"/>
                    <a:gd name="connsiteY47" fmla="*/ 4210050 h 4496940"/>
                    <a:gd name="connsiteX48" fmla="*/ 3335677 w 4519987"/>
                    <a:gd name="connsiteY48" fmla="*/ 4238625 h 4496940"/>
                    <a:gd name="connsiteX49" fmla="*/ 3288052 w 4519987"/>
                    <a:gd name="connsiteY49" fmla="*/ 4248150 h 4496940"/>
                    <a:gd name="connsiteX50" fmla="*/ 3240427 w 4519987"/>
                    <a:gd name="connsiteY50" fmla="*/ 4267200 h 4496940"/>
                    <a:gd name="connsiteX51" fmla="*/ 3068977 w 4519987"/>
                    <a:gd name="connsiteY51" fmla="*/ 4286250 h 4496940"/>
                    <a:gd name="connsiteX52" fmla="*/ 2935627 w 4519987"/>
                    <a:gd name="connsiteY52" fmla="*/ 4333875 h 4496940"/>
                    <a:gd name="connsiteX53" fmla="*/ 2811802 w 4519987"/>
                    <a:gd name="connsiteY53" fmla="*/ 4371975 h 4496940"/>
                    <a:gd name="connsiteX54" fmla="*/ 2745127 w 4519987"/>
                    <a:gd name="connsiteY54" fmla="*/ 4410075 h 4496940"/>
                    <a:gd name="connsiteX55" fmla="*/ 2697502 w 4519987"/>
                    <a:gd name="connsiteY55" fmla="*/ 4429125 h 4496940"/>
                    <a:gd name="connsiteX56" fmla="*/ 2640352 w 4519987"/>
                    <a:gd name="connsiteY56" fmla="*/ 4457700 h 4496940"/>
                    <a:gd name="connsiteX57" fmla="*/ 2583202 w 4519987"/>
                    <a:gd name="connsiteY57" fmla="*/ 4467225 h 4496940"/>
                    <a:gd name="connsiteX58" fmla="*/ 2545102 w 4519987"/>
                    <a:gd name="connsiteY58" fmla="*/ 4486275 h 4496940"/>
                    <a:gd name="connsiteX59" fmla="*/ 2306977 w 4519987"/>
                    <a:gd name="connsiteY59" fmla="*/ 4476750 h 4496940"/>
                    <a:gd name="connsiteX60" fmla="*/ 2202202 w 4519987"/>
                    <a:gd name="connsiteY60" fmla="*/ 4457700 h 4496940"/>
                    <a:gd name="connsiteX61" fmla="*/ 2126002 w 4519987"/>
                    <a:gd name="connsiteY61" fmla="*/ 4429125 h 4496940"/>
                    <a:gd name="connsiteX62" fmla="*/ 1935502 w 4519987"/>
                    <a:gd name="connsiteY62" fmla="*/ 4400550 h 4496940"/>
                    <a:gd name="connsiteX63" fmla="*/ 1821202 w 4519987"/>
                    <a:gd name="connsiteY63" fmla="*/ 4371975 h 4496940"/>
                    <a:gd name="connsiteX64" fmla="*/ 1754527 w 4519987"/>
                    <a:gd name="connsiteY64" fmla="*/ 4352925 h 4496940"/>
                    <a:gd name="connsiteX65" fmla="*/ 1687852 w 4519987"/>
                    <a:gd name="connsiteY65" fmla="*/ 4343400 h 4496940"/>
                    <a:gd name="connsiteX66" fmla="*/ 1573552 w 4519987"/>
                    <a:gd name="connsiteY66" fmla="*/ 4305300 h 4496940"/>
                    <a:gd name="connsiteX67" fmla="*/ 1402102 w 4519987"/>
                    <a:gd name="connsiteY67" fmla="*/ 4276725 h 4496940"/>
                    <a:gd name="connsiteX68" fmla="*/ 1287802 w 4519987"/>
                    <a:gd name="connsiteY68" fmla="*/ 4229100 h 4496940"/>
                    <a:gd name="connsiteX69" fmla="*/ 1221127 w 4519987"/>
                    <a:gd name="connsiteY69" fmla="*/ 4200525 h 4496940"/>
                    <a:gd name="connsiteX70" fmla="*/ 1144927 w 4519987"/>
                    <a:gd name="connsiteY70" fmla="*/ 4171950 h 4496940"/>
                    <a:gd name="connsiteX71" fmla="*/ 1087777 w 4519987"/>
                    <a:gd name="connsiteY71" fmla="*/ 4143375 h 4496940"/>
                    <a:gd name="connsiteX72" fmla="*/ 1030627 w 4519987"/>
                    <a:gd name="connsiteY72" fmla="*/ 4124325 h 4496940"/>
                    <a:gd name="connsiteX73" fmla="*/ 925852 w 4519987"/>
                    <a:gd name="connsiteY73" fmla="*/ 4067175 h 4496940"/>
                    <a:gd name="connsiteX74" fmla="*/ 830602 w 4519987"/>
                    <a:gd name="connsiteY74" fmla="*/ 3981450 h 4496940"/>
                    <a:gd name="connsiteX75" fmla="*/ 763927 w 4519987"/>
                    <a:gd name="connsiteY75" fmla="*/ 3914775 h 4496940"/>
                    <a:gd name="connsiteX76" fmla="*/ 725827 w 4519987"/>
                    <a:gd name="connsiteY76" fmla="*/ 3876675 h 4496940"/>
                    <a:gd name="connsiteX77" fmla="*/ 697252 w 4519987"/>
                    <a:gd name="connsiteY77" fmla="*/ 3838575 h 4496940"/>
                    <a:gd name="connsiteX78" fmla="*/ 640102 w 4519987"/>
                    <a:gd name="connsiteY78" fmla="*/ 3781425 h 4496940"/>
                    <a:gd name="connsiteX79" fmla="*/ 611527 w 4519987"/>
                    <a:gd name="connsiteY79" fmla="*/ 3733800 h 4496940"/>
                    <a:gd name="connsiteX80" fmla="*/ 554377 w 4519987"/>
                    <a:gd name="connsiteY80" fmla="*/ 3657600 h 4496940"/>
                    <a:gd name="connsiteX81" fmla="*/ 525802 w 4519987"/>
                    <a:gd name="connsiteY81" fmla="*/ 3609975 h 4496940"/>
                    <a:gd name="connsiteX82" fmla="*/ 497227 w 4519987"/>
                    <a:gd name="connsiteY82" fmla="*/ 3552825 h 4496940"/>
                    <a:gd name="connsiteX83" fmla="*/ 440077 w 4519987"/>
                    <a:gd name="connsiteY83" fmla="*/ 3495675 h 4496940"/>
                    <a:gd name="connsiteX84" fmla="*/ 411502 w 4519987"/>
                    <a:gd name="connsiteY84" fmla="*/ 3448050 h 4496940"/>
                    <a:gd name="connsiteX85" fmla="*/ 278152 w 4519987"/>
                    <a:gd name="connsiteY85" fmla="*/ 3257550 h 4496940"/>
                    <a:gd name="connsiteX86" fmla="*/ 249577 w 4519987"/>
                    <a:gd name="connsiteY86" fmla="*/ 3200400 h 4496940"/>
                    <a:gd name="connsiteX87" fmla="*/ 240052 w 4519987"/>
                    <a:gd name="connsiteY87" fmla="*/ 3162300 h 4496940"/>
                    <a:gd name="connsiteX88" fmla="*/ 221002 w 4519987"/>
                    <a:gd name="connsiteY88" fmla="*/ 3105150 h 4496940"/>
                    <a:gd name="connsiteX89" fmla="*/ 173377 w 4519987"/>
                    <a:gd name="connsiteY89" fmla="*/ 3019425 h 4496940"/>
                    <a:gd name="connsiteX90" fmla="*/ 144802 w 4519987"/>
                    <a:gd name="connsiteY90" fmla="*/ 2924175 h 4496940"/>
                    <a:gd name="connsiteX91" fmla="*/ 68602 w 4519987"/>
                    <a:gd name="connsiteY91" fmla="*/ 2724150 h 4496940"/>
                    <a:gd name="connsiteX92" fmla="*/ 49552 w 4519987"/>
                    <a:gd name="connsiteY92" fmla="*/ 2638425 h 4496940"/>
                    <a:gd name="connsiteX93" fmla="*/ 40027 w 4519987"/>
                    <a:gd name="connsiteY93" fmla="*/ 2562225 h 4496940"/>
                    <a:gd name="connsiteX94" fmla="*/ 30502 w 4519987"/>
                    <a:gd name="connsiteY94" fmla="*/ 2514600 h 4496940"/>
                    <a:gd name="connsiteX95" fmla="*/ 11452 w 4519987"/>
                    <a:gd name="connsiteY95" fmla="*/ 2400300 h 4496940"/>
                    <a:gd name="connsiteX96" fmla="*/ 20977 w 4519987"/>
                    <a:gd name="connsiteY96" fmla="*/ 1905000 h 4496940"/>
                    <a:gd name="connsiteX97" fmla="*/ 30502 w 4519987"/>
                    <a:gd name="connsiteY97" fmla="*/ 1838325 h 4496940"/>
                    <a:gd name="connsiteX98" fmla="*/ 49552 w 4519987"/>
                    <a:gd name="connsiteY98" fmla="*/ 1781175 h 4496940"/>
                    <a:gd name="connsiteX99" fmla="*/ 59077 w 4519987"/>
                    <a:gd name="connsiteY99" fmla="*/ 1743075 h 4496940"/>
                    <a:gd name="connsiteX100" fmla="*/ 78127 w 4519987"/>
                    <a:gd name="connsiteY100" fmla="*/ 1685925 h 4496940"/>
                    <a:gd name="connsiteX101" fmla="*/ 87652 w 4519987"/>
                    <a:gd name="connsiteY101" fmla="*/ 1638300 h 4496940"/>
                    <a:gd name="connsiteX102" fmla="*/ 106702 w 4519987"/>
                    <a:gd name="connsiteY102" fmla="*/ 1590675 h 4496940"/>
                    <a:gd name="connsiteX103" fmla="*/ 135277 w 4519987"/>
                    <a:gd name="connsiteY103" fmla="*/ 1504950 h 4496940"/>
                    <a:gd name="connsiteX104" fmla="*/ 154327 w 4519987"/>
                    <a:gd name="connsiteY104" fmla="*/ 1419225 h 4496940"/>
                    <a:gd name="connsiteX105" fmla="*/ 230527 w 4519987"/>
                    <a:gd name="connsiteY105" fmla="*/ 1276350 h 4496940"/>
                    <a:gd name="connsiteX106" fmla="*/ 240052 w 4519987"/>
                    <a:gd name="connsiteY106" fmla="*/ 1247775 h 4496940"/>
                    <a:gd name="connsiteX107" fmla="*/ 268627 w 4519987"/>
                    <a:gd name="connsiteY107" fmla="*/ 1200150 h 4496940"/>
                    <a:gd name="connsiteX108" fmla="*/ 287677 w 4519987"/>
                    <a:gd name="connsiteY108" fmla="*/ 1152525 h 4496940"/>
                    <a:gd name="connsiteX109" fmla="*/ 316252 w 4519987"/>
                    <a:gd name="connsiteY109" fmla="*/ 1114425 h 4496940"/>
                    <a:gd name="connsiteX110" fmla="*/ 363877 w 4519987"/>
                    <a:gd name="connsiteY110" fmla="*/ 1038225 h 4496940"/>
                    <a:gd name="connsiteX111" fmla="*/ 382927 w 4519987"/>
                    <a:gd name="connsiteY111" fmla="*/ 1009650 h 4496940"/>
                    <a:gd name="connsiteX112" fmla="*/ 440077 w 4519987"/>
                    <a:gd name="connsiteY112" fmla="*/ 904875 h 4496940"/>
                    <a:gd name="connsiteX113" fmla="*/ 478177 w 4519987"/>
                    <a:gd name="connsiteY113" fmla="*/ 857250 h 4496940"/>
                    <a:gd name="connsiteX114" fmla="*/ 497227 w 4519987"/>
                    <a:gd name="connsiteY114" fmla="*/ 828675 h 4496940"/>
                    <a:gd name="connsiteX115" fmla="*/ 535327 w 4519987"/>
                    <a:gd name="connsiteY115" fmla="*/ 800100 h 4496940"/>
                    <a:gd name="connsiteX116" fmla="*/ 602002 w 4519987"/>
                    <a:gd name="connsiteY116" fmla="*/ 733425 h 4496940"/>
                    <a:gd name="connsiteX117" fmla="*/ 668677 w 4519987"/>
                    <a:gd name="connsiteY117" fmla="*/ 676275 h 4496940"/>
                    <a:gd name="connsiteX118" fmla="*/ 697252 w 4519987"/>
                    <a:gd name="connsiteY118" fmla="*/ 657225 h 4496940"/>
                    <a:gd name="connsiteX119" fmla="*/ 840127 w 4519987"/>
                    <a:gd name="connsiteY119" fmla="*/ 533400 h 4496940"/>
                    <a:gd name="connsiteX120" fmla="*/ 887752 w 4519987"/>
                    <a:gd name="connsiteY120" fmla="*/ 504825 h 4496940"/>
                    <a:gd name="connsiteX121" fmla="*/ 1167152 w 4519987"/>
                    <a:gd name="connsiteY121" fmla="*/ 311150 h 4496940"/>
                    <a:gd name="connsiteX122" fmla="*/ 1268752 w 4519987"/>
                    <a:gd name="connsiteY122" fmla="*/ 285750 h 4496940"/>
                    <a:gd name="connsiteX123" fmla="*/ 1411627 w 4519987"/>
                    <a:gd name="connsiteY123" fmla="*/ 190500 h 4496940"/>
                    <a:gd name="connsiteX124" fmla="*/ 1449727 w 4519987"/>
                    <a:gd name="connsiteY124" fmla="*/ 161925 h 4496940"/>
                    <a:gd name="connsiteX125" fmla="*/ 1525927 w 4519987"/>
                    <a:gd name="connsiteY125" fmla="*/ 152400 h 4496940"/>
                    <a:gd name="connsiteX126" fmla="*/ 1583077 w 4519987"/>
                    <a:gd name="connsiteY126" fmla="*/ 142875 h 4496940"/>
                    <a:gd name="connsiteX127" fmla="*/ 1716427 w 4519987"/>
                    <a:gd name="connsiteY127" fmla="*/ 123825 h 4496940"/>
                    <a:gd name="connsiteX128" fmla="*/ 1811677 w 4519987"/>
                    <a:gd name="connsiteY128" fmla="*/ 114300 h 4496940"/>
                    <a:gd name="connsiteX129" fmla="*/ 1859302 w 4519987"/>
                    <a:gd name="connsiteY129" fmla="*/ 104775 h 4496940"/>
                    <a:gd name="connsiteX130" fmla="*/ 1916452 w 4519987"/>
                    <a:gd name="connsiteY130" fmla="*/ 95250 h 4496940"/>
                    <a:gd name="connsiteX131" fmla="*/ 2030752 w 4519987"/>
                    <a:gd name="connsiteY131" fmla="*/ 66675 h 4496940"/>
                    <a:gd name="connsiteX132" fmla="*/ 2097427 w 4519987"/>
                    <a:gd name="connsiteY132" fmla="*/ 47625 h 4496940"/>
                    <a:gd name="connsiteX133" fmla="*/ 2164102 w 4519987"/>
                    <a:gd name="connsiteY133" fmla="*/ 38100 h 4496940"/>
                    <a:gd name="connsiteX134" fmla="*/ 2392702 w 4519987"/>
                    <a:gd name="connsiteY13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59527 w 4519987"/>
                    <a:gd name="connsiteY40" fmla="*/ 3971925 h 4496940"/>
                    <a:gd name="connsiteX41" fmla="*/ 3630952 w 4519987"/>
                    <a:gd name="connsiteY41" fmla="*/ 4010025 h 4496940"/>
                    <a:gd name="connsiteX42" fmla="*/ 3621427 w 4519987"/>
                    <a:gd name="connsiteY42" fmla="*/ 4038600 h 4496940"/>
                    <a:gd name="connsiteX43" fmla="*/ 3554752 w 4519987"/>
                    <a:gd name="connsiteY43" fmla="*/ 4095750 h 4496940"/>
                    <a:gd name="connsiteX44" fmla="*/ 3516652 w 4519987"/>
                    <a:gd name="connsiteY44" fmla="*/ 4114800 h 4496940"/>
                    <a:gd name="connsiteX45" fmla="*/ 3497602 w 4519987"/>
                    <a:gd name="connsiteY45" fmla="*/ 4143375 h 4496940"/>
                    <a:gd name="connsiteX46" fmla="*/ 3383302 w 4519987"/>
                    <a:gd name="connsiteY46" fmla="*/ 4210050 h 4496940"/>
                    <a:gd name="connsiteX47" fmla="*/ 3335677 w 4519987"/>
                    <a:gd name="connsiteY47" fmla="*/ 4238625 h 4496940"/>
                    <a:gd name="connsiteX48" fmla="*/ 3288052 w 4519987"/>
                    <a:gd name="connsiteY48" fmla="*/ 4248150 h 4496940"/>
                    <a:gd name="connsiteX49" fmla="*/ 3240427 w 4519987"/>
                    <a:gd name="connsiteY49" fmla="*/ 4267200 h 4496940"/>
                    <a:gd name="connsiteX50" fmla="*/ 3068977 w 4519987"/>
                    <a:gd name="connsiteY50" fmla="*/ 4286250 h 4496940"/>
                    <a:gd name="connsiteX51" fmla="*/ 2935627 w 4519987"/>
                    <a:gd name="connsiteY51" fmla="*/ 4333875 h 4496940"/>
                    <a:gd name="connsiteX52" fmla="*/ 2811802 w 4519987"/>
                    <a:gd name="connsiteY52" fmla="*/ 4371975 h 4496940"/>
                    <a:gd name="connsiteX53" fmla="*/ 2745127 w 4519987"/>
                    <a:gd name="connsiteY53" fmla="*/ 4410075 h 4496940"/>
                    <a:gd name="connsiteX54" fmla="*/ 2697502 w 4519987"/>
                    <a:gd name="connsiteY54" fmla="*/ 4429125 h 4496940"/>
                    <a:gd name="connsiteX55" fmla="*/ 2640352 w 4519987"/>
                    <a:gd name="connsiteY55" fmla="*/ 4457700 h 4496940"/>
                    <a:gd name="connsiteX56" fmla="*/ 2583202 w 4519987"/>
                    <a:gd name="connsiteY56" fmla="*/ 4467225 h 4496940"/>
                    <a:gd name="connsiteX57" fmla="*/ 2545102 w 4519987"/>
                    <a:gd name="connsiteY57" fmla="*/ 4486275 h 4496940"/>
                    <a:gd name="connsiteX58" fmla="*/ 2306977 w 4519987"/>
                    <a:gd name="connsiteY58" fmla="*/ 4476750 h 4496940"/>
                    <a:gd name="connsiteX59" fmla="*/ 2202202 w 4519987"/>
                    <a:gd name="connsiteY59" fmla="*/ 4457700 h 4496940"/>
                    <a:gd name="connsiteX60" fmla="*/ 2126002 w 4519987"/>
                    <a:gd name="connsiteY60" fmla="*/ 4429125 h 4496940"/>
                    <a:gd name="connsiteX61" fmla="*/ 1935502 w 4519987"/>
                    <a:gd name="connsiteY61" fmla="*/ 4400550 h 4496940"/>
                    <a:gd name="connsiteX62" fmla="*/ 1821202 w 4519987"/>
                    <a:gd name="connsiteY62" fmla="*/ 4371975 h 4496940"/>
                    <a:gd name="connsiteX63" fmla="*/ 1754527 w 4519987"/>
                    <a:gd name="connsiteY63" fmla="*/ 4352925 h 4496940"/>
                    <a:gd name="connsiteX64" fmla="*/ 1687852 w 4519987"/>
                    <a:gd name="connsiteY64" fmla="*/ 4343400 h 4496940"/>
                    <a:gd name="connsiteX65" fmla="*/ 1573552 w 4519987"/>
                    <a:gd name="connsiteY65" fmla="*/ 4305300 h 4496940"/>
                    <a:gd name="connsiteX66" fmla="*/ 1402102 w 4519987"/>
                    <a:gd name="connsiteY66" fmla="*/ 4276725 h 4496940"/>
                    <a:gd name="connsiteX67" fmla="*/ 1287802 w 4519987"/>
                    <a:gd name="connsiteY67" fmla="*/ 4229100 h 4496940"/>
                    <a:gd name="connsiteX68" fmla="*/ 1221127 w 4519987"/>
                    <a:gd name="connsiteY68" fmla="*/ 4200525 h 4496940"/>
                    <a:gd name="connsiteX69" fmla="*/ 1144927 w 4519987"/>
                    <a:gd name="connsiteY69" fmla="*/ 4171950 h 4496940"/>
                    <a:gd name="connsiteX70" fmla="*/ 1087777 w 4519987"/>
                    <a:gd name="connsiteY70" fmla="*/ 4143375 h 4496940"/>
                    <a:gd name="connsiteX71" fmla="*/ 1030627 w 4519987"/>
                    <a:gd name="connsiteY71" fmla="*/ 4124325 h 4496940"/>
                    <a:gd name="connsiteX72" fmla="*/ 925852 w 4519987"/>
                    <a:gd name="connsiteY72" fmla="*/ 4067175 h 4496940"/>
                    <a:gd name="connsiteX73" fmla="*/ 830602 w 4519987"/>
                    <a:gd name="connsiteY73" fmla="*/ 3981450 h 4496940"/>
                    <a:gd name="connsiteX74" fmla="*/ 763927 w 4519987"/>
                    <a:gd name="connsiteY74" fmla="*/ 3914775 h 4496940"/>
                    <a:gd name="connsiteX75" fmla="*/ 725827 w 4519987"/>
                    <a:gd name="connsiteY75" fmla="*/ 3876675 h 4496940"/>
                    <a:gd name="connsiteX76" fmla="*/ 697252 w 4519987"/>
                    <a:gd name="connsiteY76" fmla="*/ 3838575 h 4496940"/>
                    <a:gd name="connsiteX77" fmla="*/ 640102 w 4519987"/>
                    <a:gd name="connsiteY77" fmla="*/ 3781425 h 4496940"/>
                    <a:gd name="connsiteX78" fmla="*/ 611527 w 4519987"/>
                    <a:gd name="connsiteY78" fmla="*/ 3733800 h 4496940"/>
                    <a:gd name="connsiteX79" fmla="*/ 554377 w 4519987"/>
                    <a:gd name="connsiteY79" fmla="*/ 3657600 h 4496940"/>
                    <a:gd name="connsiteX80" fmla="*/ 525802 w 4519987"/>
                    <a:gd name="connsiteY80" fmla="*/ 3609975 h 4496940"/>
                    <a:gd name="connsiteX81" fmla="*/ 497227 w 4519987"/>
                    <a:gd name="connsiteY81" fmla="*/ 3552825 h 4496940"/>
                    <a:gd name="connsiteX82" fmla="*/ 440077 w 4519987"/>
                    <a:gd name="connsiteY82" fmla="*/ 3495675 h 4496940"/>
                    <a:gd name="connsiteX83" fmla="*/ 411502 w 4519987"/>
                    <a:gd name="connsiteY83" fmla="*/ 3448050 h 4496940"/>
                    <a:gd name="connsiteX84" fmla="*/ 278152 w 4519987"/>
                    <a:gd name="connsiteY84" fmla="*/ 3257550 h 4496940"/>
                    <a:gd name="connsiteX85" fmla="*/ 249577 w 4519987"/>
                    <a:gd name="connsiteY85" fmla="*/ 3200400 h 4496940"/>
                    <a:gd name="connsiteX86" fmla="*/ 240052 w 4519987"/>
                    <a:gd name="connsiteY86" fmla="*/ 3162300 h 4496940"/>
                    <a:gd name="connsiteX87" fmla="*/ 221002 w 4519987"/>
                    <a:gd name="connsiteY87" fmla="*/ 3105150 h 4496940"/>
                    <a:gd name="connsiteX88" fmla="*/ 173377 w 4519987"/>
                    <a:gd name="connsiteY88" fmla="*/ 3019425 h 4496940"/>
                    <a:gd name="connsiteX89" fmla="*/ 144802 w 4519987"/>
                    <a:gd name="connsiteY89" fmla="*/ 2924175 h 4496940"/>
                    <a:gd name="connsiteX90" fmla="*/ 68602 w 4519987"/>
                    <a:gd name="connsiteY90" fmla="*/ 2724150 h 4496940"/>
                    <a:gd name="connsiteX91" fmla="*/ 49552 w 4519987"/>
                    <a:gd name="connsiteY91" fmla="*/ 2638425 h 4496940"/>
                    <a:gd name="connsiteX92" fmla="*/ 40027 w 4519987"/>
                    <a:gd name="connsiteY92" fmla="*/ 2562225 h 4496940"/>
                    <a:gd name="connsiteX93" fmla="*/ 30502 w 4519987"/>
                    <a:gd name="connsiteY93" fmla="*/ 2514600 h 4496940"/>
                    <a:gd name="connsiteX94" fmla="*/ 11452 w 4519987"/>
                    <a:gd name="connsiteY94" fmla="*/ 2400300 h 4496940"/>
                    <a:gd name="connsiteX95" fmla="*/ 20977 w 4519987"/>
                    <a:gd name="connsiteY95" fmla="*/ 1905000 h 4496940"/>
                    <a:gd name="connsiteX96" fmla="*/ 30502 w 4519987"/>
                    <a:gd name="connsiteY96" fmla="*/ 1838325 h 4496940"/>
                    <a:gd name="connsiteX97" fmla="*/ 49552 w 4519987"/>
                    <a:gd name="connsiteY97" fmla="*/ 1781175 h 4496940"/>
                    <a:gd name="connsiteX98" fmla="*/ 59077 w 4519987"/>
                    <a:gd name="connsiteY98" fmla="*/ 1743075 h 4496940"/>
                    <a:gd name="connsiteX99" fmla="*/ 78127 w 4519987"/>
                    <a:gd name="connsiteY99" fmla="*/ 1685925 h 4496940"/>
                    <a:gd name="connsiteX100" fmla="*/ 87652 w 4519987"/>
                    <a:gd name="connsiteY100" fmla="*/ 1638300 h 4496940"/>
                    <a:gd name="connsiteX101" fmla="*/ 106702 w 4519987"/>
                    <a:gd name="connsiteY101" fmla="*/ 1590675 h 4496940"/>
                    <a:gd name="connsiteX102" fmla="*/ 135277 w 4519987"/>
                    <a:gd name="connsiteY102" fmla="*/ 1504950 h 4496940"/>
                    <a:gd name="connsiteX103" fmla="*/ 154327 w 4519987"/>
                    <a:gd name="connsiteY103" fmla="*/ 1419225 h 4496940"/>
                    <a:gd name="connsiteX104" fmla="*/ 230527 w 4519987"/>
                    <a:gd name="connsiteY104" fmla="*/ 1276350 h 4496940"/>
                    <a:gd name="connsiteX105" fmla="*/ 240052 w 4519987"/>
                    <a:gd name="connsiteY105" fmla="*/ 1247775 h 4496940"/>
                    <a:gd name="connsiteX106" fmla="*/ 268627 w 4519987"/>
                    <a:gd name="connsiteY106" fmla="*/ 1200150 h 4496940"/>
                    <a:gd name="connsiteX107" fmla="*/ 287677 w 4519987"/>
                    <a:gd name="connsiteY107" fmla="*/ 1152525 h 4496940"/>
                    <a:gd name="connsiteX108" fmla="*/ 316252 w 4519987"/>
                    <a:gd name="connsiteY108" fmla="*/ 1114425 h 4496940"/>
                    <a:gd name="connsiteX109" fmla="*/ 363877 w 4519987"/>
                    <a:gd name="connsiteY109" fmla="*/ 1038225 h 4496940"/>
                    <a:gd name="connsiteX110" fmla="*/ 382927 w 4519987"/>
                    <a:gd name="connsiteY110" fmla="*/ 1009650 h 4496940"/>
                    <a:gd name="connsiteX111" fmla="*/ 440077 w 4519987"/>
                    <a:gd name="connsiteY111" fmla="*/ 904875 h 4496940"/>
                    <a:gd name="connsiteX112" fmla="*/ 478177 w 4519987"/>
                    <a:gd name="connsiteY112" fmla="*/ 857250 h 4496940"/>
                    <a:gd name="connsiteX113" fmla="*/ 497227 w 4519987"/>
                    <a:gd name="connsiteY113" fmla="*/ 828675 h 4496940"/>
                    <a:gd name="connsiteX114" fmla="*/ 535327 w 4519987"/>
                    <a:gd name="connsiteY114" fmla="*/ 800100 h 4496940"/>
                    <a:gd name="connsiteX115" fmla="*/ 602002 w 4519987"/>
                    <a:gd name="connsiteY115" fmla="*/ 733425 h 4496940"/>
                    <a:gd name="connsiteX116" fmla="*/ 668677 w 4519987"/>
                    <a:gd name="connsiteY116" fmla="*/ 676275 h 4496940"/>
                    <a:gd name="connsiteX117" fmla="*/ 697252 w 4519987"/>
                    <a:gd name="connsiteY117" fmla="*/ 657225 h 4496940"/>
                    <a:gd name="connsiteX118" fmla="*/ 840127 w 4519987"/>
                    <a:gd name="connsiteY118" fmla="*/ 533400 h 4496940"/>
                    <a:gd name="connsiteX119" fmla="*/ 887752 w 4519987"/>
                    <a:gd name="connsiteY119" fmla="*/ 504825 h 4496940"/>
                    <a:gd name="connsiteX120" fmla="*/ 1167152 w 4519987"/>
                    <a:gd name="connsiteY120" fmla="*/ 311150 h 4496940"/>
                    <a:gd name="connsiteX121" fmla="*/ 1268752 w 4519987"/>
                    <a:gd name="connsiteY121" fmla="*/ 285750 h 4496940"/>
                    <a:gd name="connsiteX122" fmla="*/ 1411627 w 4519987"/>
                    <a:gd name="connsiteY122" fmla="*/ 190500 h 4496940"/>
                    <a:gd name="connsiteX123" fmla="*/ 1449727 w 4519987"/>
                    <a:gd name="connsiteY123" fmla="*/ 161925 h 4496940"/>
                    <a:gd name="connsiteX124" fmla="*/ 1525927 w 4519987"/>
                    <a:gd name="connsiteY124" fmla="*/ 152400 h 4496940"/>
                    <a:gd name="connsiteX125" fmla="*/ 1583077 w 4519987"/>
                    <a:gd name="connsiteY125" fmla="*/ 142875 h 4496940"/>
                    <a:gd name="connsiteX126" fmla="*/ 1716427 w 4519987"/>
                    <a:gd name="connsiteY126" fmla="*/ 123825 h 4496940"/>
                    <a:gd name="connsiteX127" fmla="*/ 1811677 w 4519987"/>
                    <a:gd name="connsiteY127" fmla="*/ 114300 h 4496940"/>
                    <a:gd name="connsiteX128" fmla="*/ 1859302 w 4519987"/>
                    <a:gd name="connsiteY128" fmla="*/ 104775 h 4496940"/>
                    <a:gd name="connsiteX129" fmla="*/ 1916452 w 4519987"/>
                    <a:gd name="connsiteY129" fmla="*/ 95250 h 4496940"/>
                    <a:gd name="connsiteX130" fmla="*/ 2030752 w 4519987"/>
                    <a:gd name="connsiteY130" fmla="*/ 66675 h 4496940"/>
                    <a:gd name="connsiteX131" fmla="*/ 2097427 w 4519987"/>
                    <a:gd name="connsiteY131" fmla="*/ 47625 h 4496940"/>
                    <a:gd name="connsiteX132" fmla="*/ 2164102 w 4519987"/>
                    <a:gd name="connsiteY132" fmla="*/ 38100 h 4496940"/>
                    <a:gd name="connsiteX133" fmla="*/ 2392702 w 4519987"/>
                    <a:gd name="connsiteY13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659527 w 4519987"/>
                    <a:gd name="connsiteY39" fmla="*/ 3971925 h 4496940"/>
                    <a:gd name="connsiteX40" fmla="*/ 3630952 w 4519987"/>
                    <a:gd name="connsiteY40" fmla="*/ 4010025 h 4496940"/>
                    <a:gd name="connsiteX41" fmla="*/ 3621427 w 4519987"/>
                    <a:gd name="connsiteY41" fmla="*/ 4038600 h 4496940"/>
                    <a:gd name="connsiteX42" fmla="*/ 3554752 w 4519987"/>
                    <a:gd name="connsiteY42" fmla="*/ 4095750 h 4496940"/>
                    <a:gd name="connsiteX43" fmla="*/ 3516652 w 4519987"/>
                    <a:gd name="connsiteY43" fmla="*/ 4114800 h 4496940"/>
                    <a:gd name="connsiteX44" fmla="*/ 3497602 w 4519987"/>
                    <a:gd name="connsiteY44" fmla="*/ 4143375 h 4496940"/>
                    <a:gd name="connsiteX45" fmla="*/ 3383302 w 4519987"/>
                    <a:gd name="connsiteY45" fmla="*/ 4210050 h 4496940"/>
                    <a:gd name="connsiteX46" fmla="*/ 3335677 w 4519987"/>
                    <a:gd name="connsiteY46" fmla="*/ 4238625 h 4496940"/>
                    <a:gd name="connsiteX47" fmla="*/ 3288052 w 4519987"/>
                    <a:gd name="connsiteY47" fmla="*/ 4248150 h 4496940"/>
                    <a:gd name="connsiteX48" fmla="*/ 3240427 w 4519987"/>
                    <a:gd name="connsiteY48" fmla="*/ 4267200 h 4496940"/>
                    <a:gd name="connsiteX49" fmla="*/ 3068977 w 4519987"/>
                    <a:gd name="connsiteY49" fmla="*/ 4286250 h 4496940"/>
                    <a:gd name="connsiteX50" fmla="*/ 2935627 w 4519987"/>
                    <a:gd name="connsiteY50" fmla="*/ 4333875 h 4496940"/>
                    <a:gd name="connsiteX51" fmla="*/ 2811802 w 4519987"/>
                    <a:gd name="connsiteY51" fmla="*/ 4371975 h 4496940"/>
                    <a:gd name="connsiteX52" fmla="*/ 2745127 w 4519987"/>
                    <a:gd name="connsiteY52" fmla="*/ 4410075 h 4496940"/>
                    <a:gd name="connsiteX53" fmla="*/ 2697502 w 4519987"/>
                    <a:gd name="connsiteY53" fmla="*/ 4429125 h 4496940"/>
                    <a:gd name="connsiteX54" fmla="*/ 2640352 w 4519987"/>
                    <a:gd name="connsiteY54" fmla="*/ 4457700 h 4496940"/>
                    <a:gd name="connsiteX55" fmla="*/ 2583202 w 4519987"/>
                    <a:gd name="connsiteY55" fmla="*/ 4467225 h 4496940"/>
                    <a:gd name="connsiteX56" fmla="*/ 2545102 w 4519987"/>
                    <a:gd name="connsiteY56" fmla="*/ 4486275 h 4496940"/>
                    <a:gd name="connsiteX57" fmla="*/ 2306977 w 4519987"/>
                    <a:gd name="connsiteY57" fmla="*/ 4476750 h 4496940"/>
                    <a:gd name="connsiteX58" fmla="*/ 2202202 w 4519987"/>
                    <a:gd name="connsiteY58" fmla="*/ 4457700 h 4496940"/>
                    <a:gd name="connsiteX59" fmla="*/ 2126002 w 4519987"/>
                    <a:gd name="connsiteY59" fmla="*/ 4429125 h 4496940"/>
                    <a:gd name="connsiteX60" fmla="*/ 1935502 w 4519987"/>
                    <a:gd name="connsiteY60" fmla="*/ 4400550 h 4496940"/>
                    <a:gd name="connsiteX61" fmla="*/ 1821202 w 4519987"/>
                    <a:gd name="connsiteY61" fmla="*/ 4371975 h 4496940"/>
                    <a:gd name="connsiteX62" fmla="*/ 1754527 w 4519987"/>
                    <a:gd name="connsiteY62" fmla="*/ 4352925 h 4496940"/>
                    <a:gd name="connsiteX63" fmla="*/ 1687852 w 4519987"/>
                    <a:gd name="connsiteY63" fmla="*/ 4343400 h 4496940"/>
                    <a:gd name="connsiteX64" fmla="*/ 1573552 w 4519987"/>
                    <a:gd name="connsiteY64" fmla="*/ 4305300 h 4496940"/>
                    <a:gd name="connsiteX65" fmla="*/ 1402102 w 4519987"/>
                    <a:gd name="connsiteY65" fmla="*/ 4276725 h 4496940"/>
                    <a:gd name="connsiteX66" fmla="*/ 1287802 w 4519987"/>
                    <a:gd name="connsiteY66" fmla="*/ 4229100 h 4496940"/>
                    <a:gd name="connsiteX67" fmla="*/ 1221127 w 4519987"/>
                    <a:gd name="connsiteY67" fmla="*/ 4200525 h 4496940"/>
                    <a:gd name="connsiteX68" fmla="*/ 1144927 w 4519987"/>
                    <a:gd name="connsiteY68" fmla="*/ 4171950 h 4496940"/>
                    <a:gd name="connsiteX69" fmla="*/ 1087777 w 4519987"/>
                    <a:gd name="connsiteY69" fmla="*/ 4143375 h 4496940"/>
                    <a:gd name="connsiteX70" fmla="*/ 1030627 w 4519987"/>
                    <a:gd name="connsiteY70" fmla="*/ 4124325 h 4496940"/>
                    <a:gd name="connsiteX71" fmla="*/ 925852 w 4519987"/>
                    <a:gd name="connsiteY71" fmla="*/ 4067175 h 4496940"/>
                    <a:gd name="connsiteX72" fmla="*/ 830602 w 4519987"/>
                    <a:gd name="connsiteY72" fmla="*/ 3981450 h 4496940"/>
                    <a:gd name="connsiteX73" fmla="*/ 763927 w 4519987"/>
                    <a:gd name="connsiteY73" fmla="*/ 3914775 h 4496940"/>
                    <a:gd name="connsiteX74" fmla="*/ 725827 w 4519987"/>
                    <a:gd name="connsiteY74" fmla="*/ 3876675 h 4496940"/>
                    <a:gd name="connsiteX75" fmla="*/ 697252 w 4519987"/>
                    <a:gd name="connsiteY75" fmla="*/ 3838575 h 4496940"/>
                    <a:gd name="connsiteX76" fmla="*/ 640102 w 4519987"/>
                    <a:gd name="connsiteY76" fmla="*/ 3781425 h 4496940"/>
                    <a:gd name="connsiteX77" fmla="*/ 611527 w 4519987"/>
                    <a:gd name="connsiteY77" fmla="*/ 3733800 h 4496940"/>
                    <a:gd name="connsiteX78" fmla="*/ 554377 w 4519987"/>
                    <a:gd name="connsiteY78" fmla="*/ 3657600 h 4496940"/>
                    <a:gd name="connsiteX79" fmla="*/ 525802 w 4519987"/>
                    <a:gd name="connsiteY79" fmla="*/ 3609975 h 4496940"/>
                    <a:gd name="connsiteX80" fmla="*/ 497227 w 4519987"/>
                    <a:gd name="connsiteY80" fmla="*/ 3552825 h 4496940"/>
                    <a:gd name="connsiteX81" fmla="*/ 440077 w 4519987"/>
                    <a:gd name="connsiteY81" fmla="*/ 3495675 h 4496940"/>
                    <a:gd name="connsiteX82" fmla="*/ 411502 w 4519987"/>
                    <a:gd name="connsiteY82" fmla="*/ 3448050 h 4496940"/>
                    <a:gd name="connsiteX83" fmla="*/ 278152 w 4519987"/>
                    <a:gd name="connsiteY83" fmla="*/ 3257550 h 4496940"/>
                    <a:gd name="connsiteX84" fmla="*/ 249577 w 4519987"/>
                    <a:gd name="connsiteY84" fmla="*/ 3200400 h 4496940"/>
                    <a:gd name="connsiteX85" fmla="*/ 240052 w 4519987"/>
                    <a:gd name="connsiteY85" fmla="*/ 3162300 h 4496940"/>
                    <a:gd name="connsiteX86" fmla="*/ 221002 w 4519987"/>
                    <a:gd name="connsiteY86" fmla="*/ 3105150 h 4496940"/>
                    <a:gd name="connsiteX87" fmla="*/ 173377 w 4519987"/>
                    <a:gd name="connsiteY87" fmla="*/ 3019425 h 4496940"/>
                    <a:gd name="connsiteX88" fmla="*/ 144802 w 4519987"/>
                    <a:gd name="connsiteY88" fmla="*/ 2924175 h 4496940"/>
                    <a:gd name="connsiteX89" fmla="*/ 68602 w 4519987"/>
                    <a:gd name="connsiteY89" fmla="*/ 2724150 h 4496940"/>
                    <a:gd name="connsiteX90" fmla="*/ 49552 w 4519987"/>
                    <a:gd name="connsiteY90" fmla="*/ 2638425 h 4496940"/>
                    <a:gd name="connsiteX91" fmla="*/ 40027 w 4519987"/>
                    <a:gd name="connsiteY91" fmla="*/ 2562225 h 4496940"/>
                    <a:gd name="connsiteX92" fmla="*/ 30502 w 4519987"/>
                    <a:gd name="connsiteY92" fmla="*/ 2514600 h 4496940"/>
                    <a:gd name="connsiteX93" fmla="*/ 11452 w 4519987"/>
                    <a:gd name="connsiteY93" fmla="*/ 2400300 h 4496940"/>
                    <a:gd name="connsiteX94" fmla="*/ 20977 w 4519987"/>
                    <a:gd name="connsiteY94" fmla="*/ 1905000 h 4496940"/>
                    <a:gd name="connsiteX95" fmla="*/ 30502 w 4519987"/>
                    <a:gd name="connsiteY95" fmla="*/ 1838325 h 4496940"/>
                    <a:gd name="connsiteX96" fmla="*/ 49552 w 4519987"/>
                    <a:gd name="connsiteY96" fmla="*/ 1781175 h 4496940"/>
                    <a:gd name="connsiteX97" fmla="*/ 59077 w 4519987"/>
                    <a:gd name="connsiteY97" fmla="*/ 1743075 h 4496940"/>
                    <a:gd name="connsiteX98" fmla="*/ 78127 w 4519987"/>
                    <a:gd name="connsiteY98" fmla="*/ 1685925 h 4496940"/>
                    <a:gd name="connsiteX99" fmla="*/ 87652 w 4519987"/>
                    <a:gd name="connsiteY99" fmla="*/ 1638300 h 4496940"/>
                    <a:gd name="connsiteX100" fmla="*/ 106702 w 4519987"/>
                    <a:gd name="connsiteY100" fmla="*/ 1590675 h 4496940"/>
                    <a:gd name="connsiteX101" fmla="*/ 135277 w 4519987"/>
                    <a:gd name="connsiteY101" fmla="*/ 1504950 h 4496940"/>
                    <a:gd name="connsiteX102" fmla="*/ 154327 w 4519987"/>
                    <a:gd name="connsiteY102" fmla="*/ 1419225 h 4496940"/>
                    <a:gd name="connsiteX103" fmla="*/ 230527 w 4519987"/>
                    <a:gd name="connsiteY103" fmla="*/ 1276350 h 4496940"/>
                    <a:gd name="connsiteX104" fmla="*/ 240052 w 4519987"/>
                    <a:gd name="connsiteY104" fmla="*/ 1247775 h 4496940"/>
                    <a:gd name="connsiteX105" fmla="*/ 268627 w 4519987"/>
                    <a:gd name="connsiteY105" fmla="*/ 1200150 h 4496940"/>
                    <a:gd name="connsiteX106" fmla="*/ 287677 w 4519987"/>
                    <a:gd name="connsiteY106" fmla="*/ 1152525 h 4496940"/>
                    <a:gd name="connsiteX107" fmla="*/ 316252 w 4519987"/>
                    <a:gd name="connsiteY107" fmla="*/ 1114425 h 4496940"/>
                    <a:gd name="connsiteX108" fmla="*/ 363877 w 4519987"/>
                    <a:gd name="connsiteY108" fmla="*/ 1038225 h 4496940"/>
                    <a:gd name="connsiteX109" fmla="*/ 382927 w 4519987"/>
                    <a:gd name="connsiteY109" fmla="*/ 1009650 h 4496940"/>
                    <a:gd name="connsiteX110" fmla="*/ 440077 w 4519987"/>
                    <a:gd name="connsiteY110" fmla="*/ 904875 h 4496940"/>
                    <a:gd name="connsiteX111" fmla="*/ 478177 w 4519987"/>
                    <a:gd name="connsiteY111" fmla="*/ 857250 h 4496940"/>
                    <a:gd name="connsiteX112" fmla="*/ 497227 w 4519987"/>
                    <a:gd name="connsiteY112" fmla="*/ 828675 h 4496940"/>
                    <a:gd name="connsiteX113" fmla="*/ 535327 w 4519987"/>
                    <a:gd name="connsiteY113" fmla="*/ 800100 h 4496940"/>
                    <a:gd name="connsiteX114" fmla="*/ 602002 w 4519987"/>
                    <a:gd name="connsiteY114" fmla="*/ 733425 h 4496940"/>
                    <a:gd name="connsiteX115" fmla="*/ 668677 w 4519987"/>
                    <a:gd name="connsiteY115" fmla="*/ 676275 h 4496940"/>
                    <a:gd name="connsiteX116" fmla="*/ 697252 w 4519987"/>
                    <a:gd name="connsiteY116" fmla="*/ 657225 h 4496940"/>
                    <a:gd name="connsiteX117" fmla="*/ 840127 w 4519987"/>
                    <a:gd name="connsiteY117" fmla="*/ 533400 h 4496940"/>
                    <a:gd name="connsiteX118" fmla="*/ 887752 w 4519987"/>
                    <a:gd name="connsiteY118" fmla="*/ 504825 h 4496940"/>
                    <a:gd name="connsiteX119" fmla="*/ 1167152 w 4519987"/>
                    <a:gd name="connsiteY119" fmla="*/ 311150 h 4496940"/>
                    <a:gd name="connsiteX120" fmla="*/ 1268752 w 4519987"/>
                    <a:gd name="connsiteY120" fmla="*/ 285750 h 4496940"/>
                    <a:gd name="connsiteX121" fmla="*/ 1411627 w 4519987"/>
                    <a:gd name="connsiteY121" fmla="*/ 190500 h 4496940"/>
                    <a:gd name="connsiteX122" fmla="*/ 1449727 w 4519987"/>
                    <a:gd name="connsiteY122" fmla="*/ 161925 h 4496940"/>
                    <a:gd name="connsiteX123" fmla="*/ 1525927 w 4519987"/>
                    <a:gd name="connsiteY123" fmla="*/ 152400 h 4496940"/>
                    <a:gd name="connsiteX124" fmla="*/ 1583077 w 4519987"/>
                    <a:gd name="connsiteY124" fmla="*/ 142875 h 4496940"/>
                    <a:gd name="connsiteX125" fmla="*/ 1716427 w 4519987"/>
                    <a:gd name="connsiteY125" fmla="*/ 123825 h 4496940"/>
                    <a:gd name="connsiteX126" fmla="*/ 1811677 w 4519987"/>
                    <a:gd name="connsiteY126" fmla="*/ 114300 h 4496940"/>
                    <a:gd name="connsiteX127" fmla="*/ 1859302 w 4519987"/>
                    <a:gd name="connsiteY127" fmla="*/ 104775 h 4496940"/>
                    <a:gd name="connsiteX128" fmla="*/ 1916452 w 4519987"/>
                    <a:gd name="connsiteY128" fmla="*/ 95250 h 4496940"/>
                    <a:gd name="connsiteX129" fmla="*/ 2030752 w 4519987"/>
                    <a:gd name="connsiteY129" fmla="*/ 66675 h 4496940"/>
                    <a:gd name="connsiteX130" fmla="*/ 2097427 w 4519987"/>
                    <a:gd name="connsiteY130" fmla="*/ 47625 h 4496940"/>
                    <a:gd name="connsiteX131" fmla="*/ 2164102 w 4519987"/>
                    <a:gd name="connsiteY131" fmla="*/ 38100 h 4496940"/>
                    <a:gd name="connsiteX132" fmla="*/ 2392702 w 4519987"/>
                    <a:gd name="connsiteY13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659527 w 4519987"/>
                    <a:gd name="connsiteY38" fmla="*/ 3971925 h 4496940"/>
                    <a:gd name="connsiteX39" fmla="*/ 3630952 w 4519987"/>
                    <a:gd name="connsiteY39" fmla="*/ 4010025 h 4496940"/>
                    <a:gd name="connsiteX40" fmla="*/ 3621427 w 4519987"/>
                    <a:gd name="connsiteY40" fmla="*/ 4038600 h 4496940"/>
                    <a:gd name="connsiteX41" fmla="*/ 3554752 w 4519987"/>
                    <a:gd name="connsiteY41" fmla="*/ 4095750 h 4496940"/>
                    <a:gd name="connsiteX42" fmla="*/ 3516652 w 4519987"/>
                    <a:gd name="connsiteY42" fmla="*/ 4114800 h 4496940"/>
                    <a:gd name="connsiteX43" fmla="*/ 3497602 w 4519987"/>
                    <a:gd name="connsiteY43" fmla="*/ 4143375 h 4496940"/>
                    <a:gd name="connsiteX44" fmla="*/ 3383302 w 4519987"/>
                    <a:gd name="connsiteY44" fmla="*/ 4210050 h 4496940"/>
                    <a:gd name="connsiteX45" fmla="*/ 3335677 w 4519987"/>
                    <a:gd name="connsiteY45" fmla="*/ 4238625 h 4496940"/>
                    <a:gd name="connsiteX46" fmla="*/ 3288052 w 4519987"/>
                    <a:gd name="connsiteY46" fmla="*/ 4248150 h 4496940"/>
                    <a:gd name="connsiteX47" fmla="*/ 3240427 w 4519987"/>
                    <a:gd name="connsiteY47" fmla="*/ 4267200 h 4496940"/>
                    <a:gd name="connsiteX48" fmla="*/ 3068977 w 4519987"/>
                    <a:gd name="connsiteY48" fmla="*/ 4286250 h 4496940"/>
                    <a:gd name="connsiteX49" fmla="*/ 2935627 w 4519987"/>
                    <a:gd name="connsiteY49" fmla="*/ 4333875 h 4496940"/>
                    <a:gd name="connsiteX50" fmla="*/ 2811802 w 4519987"/>
                    <a:gd name="connsiteY50" fmla="*/ 4371975 h 4496940"/>
                    <a:gd name="connsiteX51" fmla="*/ 2745127 w 4519987"/>
                    <a:gd name="connsiteY51" fmla="*/ 4410075 h 4496940"/>
                    <a:gd name="connsiteX52" fmla="*/ 2697502 w 4519987"/>
                    <a:gd name="connsiteY52" fmla="*/ 4429125 h 4496940"/>
                    <a:gd name="connsiteX53" fmla="*/ 2640352 w 4519987"/>
                    <a:gd name="connsiteY53" fmla="*/ 4457700 h 4496940"/>
                    <a:gd name="connsiteX54" fmla="*/ 2583202 w 4519987"/>
                    <a:gd name="connsiteY54" fmla="*/ 4467225 h 4496940"/>
                    <a:gd name="connsiteX55" fmla="*/ 2545102 w 4519987"/>
                    <a:gd name="connsiteY55" fmla="*/ 4486275 h 4496940"/>
                    <a:gd name="connsiteX56" fmla="*/ 2306977 w 4519987"/>
                    <a:gd name="connsiteY56" fmla="*/ 4476750 h 4496940"/>
                    <a:gd name="connsiteX57" fmla="*/ 2202202 w 4519987"/>
                    <a:gd name="connsiteY57" fmla="*/ 4457700 h 4496940"/>
                    <a:gd name="connsiteX58" fmla="*/ 2126002 w 4519987"/>
                    <a:gd name="connsiteY58" fmla="*/ 4429125 h 4496940"/>
                    <a:gd name="connsiteX59" fmla="*/ 1935502 w 4519987"/>
                    <a:gd name="connsiteY59" fmla="*/ 4400550 h 4496940"/>
                    <a:gd name="connsiteX60" fmla="*/ 1821202 w 4519987"/>
                    <a:gd name="connsiteY60" fmla="*/ 4371975 h 4496940"/>
                    <a:gd name="connsiteX61" fmla="*/ 1754527 w 4519987"/>
                    <a:gd name="connsiteY61" fmla="*/ 4352925 h 4496940"/>
                    <a:gd name="connsiteX62" fmla="*/ 1687852 w 4519987"/>
                    <a:gd name="connsiteY62" fmla="*/ 4343400 h 4496940"/>
                    <a:gd name="connsiteX63" fmla="*/ 1573552 w 4519987"/>
                    <a:gd name="connsiteY63" fmla="*/ 4305300 h 4496940"/>
                    <a:gd name="connsiteX64" fmla="*/ 1402102 w 4519987"/>
                    <a:gd name="connsiteY64" fmla="*/ 4276725 h 4496940"/>
                    <a:gd name="connsiteX65" fmla="*/ 1287802 w 4519987"/>
                    <a:gd name="connsiteY65" fmla="*/ 4229100 h 4496940"/>
                    <a:gd name="connsiteX66" fmla="*/ 1221127 w 4519987"/>
                    <a:gd name="connsiteY66" fmla="*/ 4200525 h 4496940"/>
                    <a:gd name="connsiteX67" fmla="*/ 1144927 w 4519987"/>
                    <a:gd name="connsiteY67" fmla="*/ 4171950 h 4496940"/>
                    <a:gd name="connsiteX68" fmla="*/ 1087777 w 4519987"/>
                    <a:gd name="connsiteY68" fmla="*/ 4143375 h 4496940"/>
                    <a:gd name="connsiteX69" fmla="*/ 1030627 w 4519987"/>
                    <a:gd name="connsiteY69" fmla="*/ 4124325 h 4496940"/>
                    <a:gd name="connsiteX70" fmla="*/ 925852 w 4519987"/>
                    <a:gd name="connsiteY70" fmla="*/ 4067175 h 4496940"/>
                    <a:gd name="connsiteX71" fmla="*/ 830602 w 4519987"/>
                    <a:gd name="connsiteY71" fmla="*/ 3981450 h 4496940"/>
                    <a:gd name="connsiteX72" fmla="*/ 763927 w 4519987"/>
                    <a:gd name="connsiteY72" fmla="*/ 3914775 h 4496940"/>
                    <a:gd name="connsiteX73" fmla="*/ 725827 w 4519987"/>
                    <a:gd name="connsiteY73" fmla="*/ 3876675 h 4496940"/>
                    <a:gd name="connsiteX74" fmla="*/ 697252 w 4519987"/>
                    <a:gd name="connsiteY74" fmla="*/ 3838575 h 4496940"/>
                    <a:gd name="connsiteX75" fmla="*/ 640102 w 4519987"/>
                    <a:gd name="connsiteY75" fmla="*/ 3781425 h 4496940"/>
                    <a:gd name="connsiteX76" fmla="*/ 611527 w 4519987"/>
                    <a:gd name="connsiteY76" fmla="*/ 3733800 h 4496940"/>
                    <a:gd name="connsiteX77" fmla="*/ 554377 w 4519987"/>
                    <a:gd name="connsiteY77" fmla="*/ 3657600 h 4496940"/>
                    <a:gd name="connsiteX78" fmla="*/ 525802 w 4519987"/>
                    <a:gd name="connsiteY78" fmla="*/ 3609975 h 4496940"/>
                    <a:gd name="connsiteX79" fmla="*/ 497227 w 4519987"/>
                    <a:gd name="connsiteY79" fmla="*/ 3552825 h 4496940"/>
                    <a:gd name="connsiteX80" fmla="*/ 440077 w 4519987"/>
                    <a:gd name="connsiteY80" fmla="*/ 3495675 h 4496940"/>
                    <a:gd name="connsiteX81" fmla="*/ 411502 w 4519987"/>
                    <a:gd name="connsiteY81" fmla="*/ 3448050 h 4496940"/>
                    <a:gd name="connsiteX82" fmla="*/ 278152 w 4519987"/>
                    <a:gd name="connsiteY82" fmla="*/ 3257550 h 4496940"/>
                    <a:gd name="connsiteX83" fmla="*/ 249577 w 4519987"/>
                    <a:gd name="connsiteY83" fmla="*/ 3200400 h 4496940"/>
                    <a:gd name="connsiteX84" fmla="*/ 240052 w 4519987"/>
                    <a:gd name="connsiteY84" fmla="*/ 3162300 h 4496940"/>
                    <a:gd name="connsiteX85" fmla="*/ 221002 w 4519987"/>
                    <a:gd name="connsiteY85" fmla="*/ 3105150 h 4496940"/>
                    <a:gd name="connsiteX86" fmla="*/ 173377 w 4519987"/>
                    <a:gd name="connsiteY86" fmla="*/ 3019425 h 4496940"/>
                    <a:gd name="connsiteX87" fmla="*/ 144802 w 4519987"/>
                    <a:gd name="connsiteY87" fmla="*/ 2924175 h 4496940"/>
                    <a:gd name="connsiteX88" fmla="*/ 68602 w 4519987"/>
                    <a:gd name="connsiteY88" fmla="*/ 2724150 h 4496940"/>
                    <a:gd name="connsiteX89" fmla="*/ 49552 w 4519987"/>
                    <a:gd name="connsiteY89" fmla="*/ 2638425 h 4496940"/>
                    <a:gd name="connsiteX90" fmla="*/ 40027 w 4519987"/>
                    <a:gd name="connsiteY90" fmla="*/ 2562225 h 4496940"/>
                    <a:gd name="connsiteX91" fmla="*/ 30502 w 4519987"/>
                    <a:gd name="connsiteY91" fmla="*/ 2514600 h 4496940"/>
                    <a:gd name="connsiteX92" fmla="*/ 11452 w 4519987"/>
                    <a:gd name="connsiteY92" fmla="*/ 2400300 h 4496940"/>
                    <a:gd name="connsiteX93" fmla="*/ 20977 w 4519987"/>
                    <a:gd name="connsiteY93" fmla="*/ 1905000 h 4496940"/>
                    <a:gd name="connsiteX94" fmla="*/ 30502 w 4519987"/>
                    <a:gd name="connsiteY94" fmla="*/ 1838325 h 4496940"/>
                    <a:gd name="connsiteX95" fmla="*/ 49552 w 4519987"/>
                    <a:gd name="connsiteY95" fmla="*/ 1781175 h 4496940"/>
                    <a:gd name="connsiteX96" fmla="*/ 59077 w 4519987"/>
                    <a:gd name="connsiteY96" fmla="*/ 1743075 h 4496940"/>
                    <a:gd name="connsiteX97" fmla="*/ 78127 w 4519987"/>
                    <a:gd name="connsiteY97" fmla="*/ 1685925 h 4496940"/>
                    <a:gd name="connsiteX98" fmla="*/ 87652 w 4519987"/>
                    <a:gd name="connsiteY98" fmla="*/ 1638300 h 4496940"/>
                    <a:gd name="connsiteX99" fmla="*/ 106702 w 4519987"/>
                    <a:gd name="connsiteY99" fmla="*/ 1590675 h 4496940"/>
                    <a:gd name="connsiteX100" fmla="*/ 135277 w 4519987"/>
                    <a:gd name="connsiteY100" fmla="*/ 1504950 h 4496940"/>
                    <a:gd name="connsiteX101" fmla="*/ 154327 w 4519987"/>
                    <a:gd name="connsiteY101" fmla="*/ 1419225 h 4496940"/>
                    <a:gd name="connsiteX102" fmla="*/ 230527 w 4519987"/>
                    <a:gd name="connsiteY102" fmla="*/ 1276350 h 4496940"/>
                    <a:gd name="connsiteX103" fmla="*/ 240052 w 4519987"/>
                    <a:gd name="connsiteY103" fmla="*/ 1247775 h 4496940"/>
                    <a:gd name="connsiteX104" fmla="*/ 268627 w 4519987"/>
                    <a:gd name="connsiteY104" fmla="*/ 1200150 h 4496940"/>
                    <a:gd name="connsiteX105" fmla="*/ 287677 w 4519987"/>
                    <a:gd name="connsiteY105" fmla="*/ 1152525 h 4496940"/>
                    <a:gd name="connsiteX106" fmla="*/ 316252 w 4519987"/>
                    <a:gd name="connsiteY106" fmla="*/ 1114425 h 4496940"/>
                    <a:gd name="connsiteX107" fmla="*/ 363877 w 4519987"/>
                    <a:gd name="connsiteY107" fmla="*/ 1038225 h 4496940"/>
                    <a:gd name="connsiteX108" fmla="*/ 382927 w 4519987"/>
                    <a:gd name="connsiteY108" fmla="*/ 1009650 h 4496940"/>
                    <a:gd name="connsiteX109" fmla="*/ 440077 w 4519987"/>
                    <a:gd name="connsiteY109" fmla="*/ 904875 h 4496940"/>
                    <a:gd name="connsiteX110" fmla="*/ 478177 w 4519987"/>
                    <a:gd name="connsiteY110" fmla="*/ 857250 h 4496940"/>
                    <a:gd name="connsiteX111" fmla="*/ 497227 w 4519987"/>
                    <a:gd name="connsiteY111" fmla="*/ 828675 h 4496940"/>
                    <a:gd name="connsiteX112" fmla="*/ 535327 w 4519987"/>
                    <a:gd name="connsiteY112" fmla="*/ 800100 h 4496940"/>
                    <a:gd name="connsiteX113" fmla="*/ 602002 w 4519987"/>
                    <a:gd name="connsiteY113" fmla="*/ 733425 h 4496940"/>
                    <a:gd name="connsiteX114" fmla="*/ 668677 w 4519987"/>
                    <a:gd name="connsiteY114" fmla="*/ 676275 h 4496940"/>
                    <a:gd name="connsiteX115" fmla="*/ 697252 w 4519987"/>
                    <a:gd name="connsiteY115" fmla="*/ 657225 h 4496940"/>
                    <a:gd name="connsiteX116" fmla="*/ 840127 w 4519987"/>
                    <a:gd name="connsiteY116" fmla="*/ 533400 h 4496940"/>
                    <a:gd name="connsiteX117" fmla="*/ 887752 w 4519987"/>
                    <a:gd name="connsiteY117" fmla="*/ 504825 h 4496940"/>
                    <a:gd name="connsiteX118" fmla="*/ 1167152 w 4519987"/>
                    <a:gd name="connsiteY118" fmla="*/ 311150 h 4496940"/>
                    <a:gd name="connsiteX119" fmla="*/ 1268752 w 4519987"/>
                    <a:gd name="connsiteY119" fmla="*/ 285750 h 4496940"/>
                    <a:gd name="connsiteX120" fmla="*/ 1411627 w 4519987"/>
                    <a:gd name="connsiteY120" fmla="*/ 190500 h 4496940"/>
                    <a:gd name="connsiteX121" fmla="*/ 1449727 w 4519987"/>
                    <a:gd name="connsiteY121" fmla="*/ 161925 h 4496940"/>
                    <a:gd name="connsiteX122" fmla="*/ 1525927 w 4519987"/>
                    <a:gd name="connsiteY122" fmla="*/ 152400 h 4496940"/>
                    <a:gd name="connsiteX123" fmla="*/ 1583077 w 4519987"/>
                    <a:gd name="connsiteY123" fmla="*/ 142875 h 4496940"/>
                    <a:gd name="connsiteX124" fmla="*/ 1716427 w 4519987"/>
                    <a:gd name="connsiteY124" fmla="*/ 123825 h 4496940"/>
                    <a:gd name="connsiteX125" fmla="*/ 1811677 w 4519987"/>
                    <a:gd name="connsiteY125" fmla="*/ 114300 h 4496940"/>
                    <a:gd name="connsiteX126" fmla="*/ 1859302 w 4519987"/>
                    <a:gd name="connsiteY126" fmla="*/ 104775 h 4496940"/>
                    <a:gd name="connsiteX127" fmla="*/ 1916452 w 4519987"/>
                    <a:gd name="connsiteY127" fmla="*/ 95250 h 4496940"/>
                    <a:gd name="connsiteX128" fmla="*/ 2030752 w 4519987"/>
                    <a:gd name="connsiteY128" fmla="*/ 66675 h 4496940"/>
                    <a:gd name="connsiteX129" fmla="*/ 2097427 w 4519987"/>
                    <a:gd name="connsiteY129" fmla="*/ 47625 h 4496940"/>
                    <a:gd name="connsiteX130" fmla="*/ 2164102 w 4519987"/>
                    <a:gd name="connsiteY130" fmla="*/ 38100 h 4496940"/>
                    <a:gd name="connsiteX131" fmla="*/ 2392702 w 4519987"/>
                    <a:gd name="connsiteY13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88152 w 4519987"/>
                    <a:gd name="connsiteY33" fmla="*/ 3495675 h 4496940"/>
                    <a:gd name="connsiteX34" fmla="*/ 4059577 w 4519987"/>
                    <a:gd name="connsiteY34" fmla="*/ 3533775 h 4496940"/>
                    <a:gd name="connsiteX35" fmla="*/ 4002427 w 4519987"/>
                    <a:gd name="connsiteY35" fmla="*/ 3600450 h 4496940"/>
                    <a:gd name="connsiteX36" fmla="*/ 3954802 w 4519987"/>
                    <a:gd name="connsiteY36" fmla="*/ 3648075 h 4496940"/>
                    <a:gd name="connsiteX37" fmla="*/ 3659527 w 4519987"/>
                    <a:gd name="connsiteY37" fmla="*/ 3971925 h 4496940"/>
                    <a:gd name="connsiteX38" fmla="*/ 3630952 w 4519987"/>
                    <a:gd name="connsiteY38" fmla="*/ 4010025 h 4496940"/>
                    <a:gd name="connsiteX39" fmla="*/ 3621427 w 4519987"/>
                    <a:gd name="connsiteY39" fmla="*/ 4038600 h 4496940"/>
                    <a:gd name="connsiteX40" fmla="*/ 3554752 w 4519987"/>
                    <a:gd name="connsiteY40" fmla="*/ 4095750 h 4496940"/>
                    <a:gd name="connsiteX41" fmla="*/ 3516652 w 4519987"/>
                    <a:gd name="connsiteY41" fmla="*/ 4114800 h 4496940"/>
                    <a:gd name="connsiteX42" fmla="*/ 3497602 w 4519987"/>
                    <a:gd name="connsiteY42" fmla="*/ 4143375 h 4496940"/>
                    <a:gd name="connsiteX43" fmla="*/ 3383302 w 4519987"/>
                    <a:gd name="connsiteY43" fmla="*/ 4210050 h 4496940"/>
                    <a:gd name="connsiteX44" fmla="*/ 3335677 w 4519987"/>
                    <a:gd name="connsiteY44" fmla="*/ 4238625 h 4496940"/>
                    <a:gd name="connsiteX45" fmla="*/ 3288052 w 4519987"/>
                    <a:gd name="connsiteY45" fmla="*/ 4248150 h 4496940"/>
                    <a:gd name="connsiteX46" fmla="*/ 3240427 w 4519987"/>
                    <a:gd name="connsiteY46" fmla="*/ 4267200 h 4496940"/>
                    <a:gd name="connsiteX47" fmla="*/ 3068977 w 4519987"/>
                    <a:gd name="connsiteY47" fmla="*/ 4286250 h 4496940"/>
                    <a:gd name="connsiteX48" fmla="*/ 2935627 w 4519987"/>
                    <a:gd name="connsiteY48" fmla="*/ 4333875 h 4496940"/>
                    <a:gd name="connsiteX49" fmla="*/ 2811802 w 4519987"/>
                    <a:gd name="connsiteY49" fmla="*/ 4371975 h 4496940"/>
                    <a:gd name="connsiteX50" fmla="*/ 2745127 w 4519987"/>
                    <a:gd name="connsiteY50" fmla="*/ 4410075 h 4496940"/>
                    <a:gd name="connsiteX51" fmla="*/ 2697502 w 4519987"/>
                    <a:gd name="connsiteY51" fmla="*/ 4429125 h 4496940"/>
                    <a:gd name="connsiteX52" fmla="*/ 2640352 w 4519987"/>
                    <a:gd name="connsiteY52" fmla="*/ 4457700 h 4496940"/>
                    <a:gd name="connsiteX53" fmla="*/ 2583202 w 4519987"/>
                    <a:gd name="connsiteY53" fmla="*/ 4467225 h 4496940"/>
                    <a:gd name="connsiteX54" fmla="*/ 2545102 w 4519987"/>
                    <a:gd name="connsiteY54" fmla="*/ 4486275 h 4496940"/>
                    <a:gd name="connsiteX55" fmla="*/ 2306977 w 4519987"/>
                    <a:gd name="connsiteY55" fmla="*/ 4476750 h 4496940"/>
                    <a:gd name="connsiteX56" fmla="*/ 2202202 w 4519987"/>
                    <a:gd name="connsiteY56" fmla="*/ 4457700 h 4496940"/>
                    <a:gd name="connsiteX57" fmla="*/ 2126002 w 4519987"/>
                    <a:gd name="connsiteY57" fmla="*/ 4429125 h 4496940"/>
                    <a:gd name="connsiteX58" fmla="*/ 1935502 w 4519987"/>
                    <a:gd name="connsiteY58" fmla="*/ 4400550 h 4496940"/>
                    <a:gd name="connsiteX59" fmla="*/ 1821202 w 4519987"/>
                    <a:gd name="connsiteY59" fmla="*/ 4371975 h 4496940"/>
                    <a:gd name="connsiteX60" fmla="*/ 1754527 w 4519987"/>
                    <a:gd name="connsiteY60" fmla="*/ 4352925 h 4496940"/>
                    <a:gd name="connsiteX61" fmla="*/ 1687852 w 4519987"/>
                    <a:gd name="connsiteY61" fmla="*/ 4343400 h 4496940"/>
                    <a:gd name="connsiteX62" fmla="*/ 1573552 w 4519987"/>
                    <a:gd name="connsiteY62" fmla="*/ 4305300 h 4496940"/>
                    <a:gd name="connsiteX63" fmla="*/ 1402102 w 4519987"/>
                    <a:gd name="connsiteY63" fmla="*/ 4276725 h 4496940"/>
                    <a:gd name="connsiteX64" fmla="*/ 1287802 w 4519987"/>
                    <a:gd name="connsiteY64" fmla="*/ 4229100 h 4496940"/>
                    <a:gd name="connsiteX65" fmla="*/ 1221127 w 4519987"/>
                    <a:gd name="connsiteY65" fmla="*/ 4200525 h 4496940"/>
                    <a:gd name="connsiteX66" fmla="*/ 1144927 w 4519987"/>
                    <a:gd name="connsiteY66" fmla="*/ 4171950 h 4496940"/>
                    <a:gd name="connsiteX67" fmla="*/ 1087777 w 4519987"/>
                    <a:gd name="connsiteY67" fmla="*/ 4143375 h 4496940"/>
                    <a:gd name="connsiteX68" fmla="*/ 1030627 w 4519987"/>
                    <a:gd name="connsiteY68" fmla="*/ 4124325 h 4496940"/>
                    <a:gd name="connsiteX69" fmla="*/ 925852 w 4519987"/>
                    <a:gd name="connsiteY69" fmla="*/ 4067175 h 4496940"/>
                    <a:gd name="connsiteX70" fmla="*/ 830602 w 4519987"/>
                    <a:gd name="connsiteY70" fmla="*/ 3981450 h 4496940"/>
                    <a:gd name="connsiteX71" fmla="*/ 763927 w 4519987"/>
                    <a:gd name="connsiteY71" fmla="*/ 3914775 h 4496940"/>
                    <a:gd name="connsiteX72" fmla="*/ 725827 w 4519987"/>
                    <a:gd name="connsiteY72" fmla="*/ 3876675 h 4496940"/>
                    <a:gd name="connsiteX73" fmla="*/ 697252 w 4519987"/>
                    <a:gd name="connsiteY73" fmla="*/ 3838575 h 4496940"/>
                    <a:gd name="connsiteX74" fmla="*/ 640102 w 4519987"/>
                    <a:gd name="connsiteY74" fmla="*/ 3781425 h 4496940"/>
                    <a:gd name="connsiteX75" fmla="*/ 611527 w 4519987"/>
                    <a:gd name="connsiteY75" fmla="*/ 3733800 h 4496940"/>
                    <a:gd name="connsiteX76" fmla="*/ 554377 w 4519987"/>
                    <a:gd name="connsiteY76" fmla="*/ 3657600 h 4496940"/>
                    <a:gd name="connsiteX77" fmla="*/ 525802 w 4519987"/>
                    <a:gd name="connsiteY77" fmla="*/ 3609975 h 4496940"/>
                    <a:gd name="connsiteX78" fmla="*/ 497227 w 4519987"/>
                    <a:gd name="connsiteY78" fmla="*/ 3552825 h 4496940"/>
                    <a:gd name="connsiteX79" fmla="*/ 440077 w 4519987"/>
                    <a:gd name="connsiteY79" fmla="*/ 3495675 h 4496940"/>
                    <a:gd name="connsiteX80" fmla="*/ 411502 w 4519987"/>
                    <a:gd name="connsiteY80" fmla="*/ 3448050 h 4496940"/>
                    <a:gd name="connsiteX81" fmla="*/ 278152 w 4519987"/>
                    <a:gd name="connsiteY81" fmla="*/ 3257550 h 4496940"/>
                    <a:gd name="connsiteX82" fmla="*/ 249577 w 4519987"/>
                    <a:gd name="connsiteY82" fmla="*/ 3200400 h 4496940"/>
                    <a:gd name="connsiteX83" fmla="*/ 240052 w 4519987"/>
                    <a:gd name="connsiteY83" fmla="*/ 3162300 h 4496940"/>
                    <a:gd name="connsiteX84" fmla="*/ 221002 w 4519987"/>
                    <a:gd name="connsiteY84" fmla="*/ 3105150 h 4496940"/>
                    <a:gd name="connsiteX85" fmla="*/ 173377 w 4519987"/>
                    <a:gd name="connsiteY85" fmla="*/ 3019425 h 4496940"/>
                    <a:gd name="connsiteX86" fmla="*/ 144802 w 4519987"/>
                    <a:gd name="connsiteY86" fmla="*/ 2924175 h 4496940"/>
                    <a:gd name="connsiteX87" fmla="*/ 68602 w 4519987"/>
                    <a:gd name="connsiteY87" fmla="*/ 2724150 h 4496940"/>
                    <a:gd name="connsiteX88" fmla="*/ 49552 w 4519987"/>
                    <a:gd name="connsiteY88" fmla="*/ 2638425 h 4496940"/>
                    <a:gd name="connsiteX89" fmla="*/ 40027 w 4519987"/>
                    <a:gd name="connsiteY89" fmla="*/ 2562225 h 4496940"/>
                    <a:gd name="connsiteX90" fmla="*/ 30502 w 4519987"/>
                    <a:gd name="connsiteY90" fmla="*/ 2514600 h 4496940"/>
                    <a:gd name="connsiteX91" fmla="*/ 11452 w 4519987"/>
                    <a:gd name="connsiteY91" fmla="*/ 2400300 h 4496940"/>
                    <a:gd name="connsiteX92" fmla="*/ 20977 w 4519987"/>
                    <a:gd name="connsiteY92" fmla="*/ 1905000 h 4496940"/>
                    <a:gd name="connsiteX93" fmla="*/ 30502 w 4519987"/>
                    <a:gd name="connsiteY93" fmla="*/ 1838325 h 4496940"/>
                    <a:gd name="connsiteX94" fmla="*/ 49552 w 4519987"/>
                    <a:gd name="connsiteY94" fmla="*/ 1781175 h 4496940"/>
                    <a:gd name="connsiteX95" fmla="*/ 59077 w 4519987"/>
                    <a:gd name="connsiteY95" fmla="*/ 1743075 h 4496940"/>
                    <a:gd name="connsiteX96" fmla="*/ 78127 w 4519987"/>
                    <a:gd name="connsiteY96" fmla="*/ 1685925 h 4496940"/>
                    <a:gd name="connsiteX97" fmla="*/ 87652 w 4519987"/>
                    <a:gd name="connsiteY97" fmla="*/ 1638300 h 4496940"/>
                    <a:gd name="connsiteX98" fmla="*/ 106702 w 4519987"/>
                    <a:gd name="connsiteY98" fmla="*/ 1590675 h 4496940"/>
                    <a:gd name="connsiteX99" fmla="*/ 135277 w 4519987"/>
                    <a:gd name="connsiteY99" fmla="*/ 1504950 h 4496940"/>
                    <a:gd name="connsiteX100" fmla="*/ 154327 w 4519987"/>
                    <a:gd name="connsiteY100" fmla="*/ 1419225 h 4496940"/>
                    <a:gd name="connsiteX101" fmla="*/ 230527 w 4519987"/>
                    <a:gd name="connsiteY101" fmla="*/ 1276350 h 4496940"/>
                    <a:gd name="connsiteX102" fmla="*/ 240052 w 4519987"/>
                    <a:gd name="connsiteY102" fmla="*/ 1247775 h 4496940"/>
                    <a:gd name="connsiteX103" fmla="*/ 268627 w 4519987"/>
                    <a:gd name="connsiteY103" fmla="*/ 1200150 h 4496940"/>
                    <a:gd name="connsiteX104" fmla="*/ 287677 w 4519987"/>
                    <a:gd name="connsiteY104" fmla="*/ 1152525 h 4496940"/>
                    <a:gd name="connsiteX105" fmla="*/ 316252 w 4519987"/>
                    <a:gd name="connsiteY105" fmla="*/ 1114425 h 4496940"/>
                    <a:gd name="connsiteX106" fmla="*/ 363877 w 4519987"/>
                    <a:gd name="connsiteY106" fmla="*/ 1038225 h 4496940"/>
                    <a:gd name="connsiteX107" fmla="*/ 382927 w 4519987"/>
                    <a:gd name="connsiteY107" fmla="*/ 1009650 h 4496940"/>
                    <a:gd name="connsiteX108" fmla="*/ 440077 w 4519987"/>
                    <a:gd name="connsiteY108" fmla="*/ 904875 h 4496940"/>
                    <a:gd name="connsiteX109" fmla="*/ 478177 w 4519987"/>
                    <a:gd name="connsiteY109" fmla="*/ 857250 h 4496940"/>
                    <a:gd name="connsiteX110" fmla="*/ 497227 w 4519987"/>
                    <a:gd name="connsiteY110" fmla="*/ 828675 h 4496940"/>
                    <a:gd name="connsiteX111" fmla="*/ 535327 w 4519987"/>
                    <a:gd name="connsiteY111" fmla="*/ 800100 h 4496940"/>
                    <a:gd name="connsiteX112" fmla="*/ 602002 w 4519987"/>
                    <a:gd name="connsiteY112" fmla="*/ 733425 h 4496940"/>
                    <a:gd name="connsiteX113" fmla="*/ 668677 w 4519987"/>
                    <a:gd name="connsiteY113" fmla="*/ 676275 h 4496940"/>
                    <a:gd name="connsiteX114" fmla="*/ 697252 w 4519987"/>
                    <a:gd name="connsiteY114" fmla="*/ 657225 h 4496940"/>
                    <a:gd name="connsiteX115" fmla="*/ 840127 w 4519987"/>
                    <a:gd name="connsiteY115" fmla="*/ 533400 h 4496940"/>
                    <a:gd name="connsiteX116" fmla="*/ 887752 w 4519987"/>
                    <a:gd name="connsiteY116" fmla="*/ 504825 h 4496940"/>
                    <a:gd name="connsiteX117" fmla="*/ 1167152 w 4519987"/>
                    <a:gd name="connsiteY117" fmla="*/ 311150 h 4496940"/>
                    <a:gd name="connsiteX118" fmla="*/ 1268752 w 4519987"/>
                    <a:gd name="connsiteY118" fmla="*/ 285750 h 4496940"/>
                    <a:gd name="connsiteX119" fmla="*/ 1411627 w 4519987"/>
                    <a:gd name="connsiteY119" fmla="*/ 190500 h 4496940"/>
                    <a:gd name="connsiteX120" fmla="*/ 1449727 w 4519987"/>
                    <a:gd name="connsiteY120" fmla="*/ 161925 h 4496940"/>
                    <a:gd name="connsiteX121" fmla="*/ 1525927 w 4519987"/>
                    <a:gd name="connsiteY121" fmla="*/ 152400 h 4496940"/>
                    <a:gd name="connsiteX122" fmla="*/ 1583077 w 4519987"/>
                    <a:gd name="connsiteY122" fmla="*/ 142875 h 4496940"/>
                    <a:gd name="connsiteX123" fmla="*/ 1716427 w 4519987"/>
                    <a:gd name="connsiteY123" fmla="*/ 123825 h 4496940"/>
                    <a:gd name="connsiteX124" fmla="*/ 1811677 w 4519987"/>
                    <a:gd name="connsiteY124" fmla="*/ 114300 h 4496940"/>
                    <a:gd name="connsiteX125" fmla="*/ 1859302 w 4519987"/>
                    <a:gd name="connsiteY125" fmla="*/ 104775 h 4496940"/>
                    <a:gd name="connsiteX126" fmla="*/ 1916452 w 4519987"/>
                    <a:gd name="connsiteY126" fmla="*/ 95250 h 4496940"/>
                    <a:gd name="connsiteX127" fmla="*/ 2030752 w 4519987"/>
                    <a:gd name="connsiteY127" fmla="*/ 66675 h 4496940"/>
                    <a:gd name="connsiteX128" fmla="*/ 2097427 w 4519987"/>
                    <a:gd name="connsiteY128" fmla="*/ 47625 h 4496940"/>
                    <a:gd name="connsiteX129" fmla="*/ 2164102 w 4519987"/>
                    <a:gd name="connsiteY129" fmla="*/ 38100 h 4496940"/>
                    <a:gd name="connsiteX130" fmla="*/ 2392702 w 4519987"/>
                    <a:gd name="connsiteY13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4002427 w 4519987"/>
                    <a:gd name="connsiteY34" fmla="*/ 3600450 h 4496940"/>
                    <a:gd name="connsiteX35" fmla="*/ 3954802 w 4519987"/>
                    <a:gd name="connsiteY35" fmla="*/ 3648075 h 4496940"/>
                    <a:gd name="connsiteX36" fmla="*/ 3659527 w 4519987"/>
                    <a:gd name="connsiteY36" fmla="*/ 3971925 h 4496940"/>
                    <a:gd name="connsiteX37" fmla="*/ 3630952 w 4519987"/>
                    <a:gd name="connsiteY37" fmla="*/ 4010025 h 4496940"/>
                    <a:gd name="connsiteX38" fmla="*/ 3621427 w 4519987"/>
                    <a:gd name="connsiteY38" fmla="*/ 4038600 h 4496940"/>
                    <a:gd name="connsiteX39" fmla="*/ 3554752 w 4519987"/>
                    <a:gd name="connsiteY39" fmla="*/ 4095750 h 4496940"/>
                    <a:gd name="connsiteX40" fmla="*/ 3516652 w 4519987"/>
                    <a:gd name="connsiteY40" fmla="*/ 4114800 h 4496940"/>
                    <a:gd name="connsiteX41" fmla="*/ 3497602 w 4519987"/>
                    <a:gd name="connsiteY41" fmla="*/ 4143375 h 4496940"/>
                    <a:gd name="connsiteX42" fmla="*/ 3383302 w 4519987"/>
                    <a:gd name="connsiteY42" fmla="*/ 4210050 h 4496940"/>
                    <a:gd name="connsiteX43" fmla="*/ 3335677 w 4519987"/>
                    <a:gd name="connsiteY43" fmla="*/ 4238625 h 4496940"/>
                    <a:gd name="connsiteX44" fmla="*/ 3288052 w 4519987"/>
                    <a:gd name="connsiteY44" fmla="*/ 4248150 h 4496940"/>
                    <a:gd name="connsiteX45" fmla="*/ 3240427 w 4519987"/>
                    <a:gd name="connsiteY45" fmla="*/ 4267200 h 4496940"/>
                    <a:gd name="connsiteX46" fmla="*/ 3068977 w 4519987"/>
                    <a:gd name="connsiteY46" fmla="*/ 4286250 h 4496940"/>
                    <a:gd name="connsiteX47" fmla="*/ 2935627 w 4519987"/>
                    <a:gd name="connsiteY47" fmla="*/ 4333875 h 4496940"/>
                    <a:gd name="connsiteX48" fmla="*/ 2811802 w 4519987"/>
                    <a:gd name="connsiteY48" fmla="*/ 4371975 h 4496940"/>
                    <a:gd name="connsiteX49" fmla="*/ 2745127 w 4519987"/>
                    <a:gd name="connsiteY49" fmla="*/ 4410075 h 4496940"/>
                    <a:gd name="connsiteX50" fmla="*/ 2697502 w 4519987"/>
                    <a:gd name="connsiteY50" fmla="*/ 4429125 h 4496940"/>
                    <a:gd name="connsiteX51" fmla="*/ 2640352 w 4519987"/>
                    <a:gd name="connsiteY51" fmla="*/ 4457700 h 4496940"/>
                    <a:gd name="connsiteX52" fmla="*/ 2583202 w 4519987"/>
                    <a:gd name="connsiteY52" fmla="*/ 4467225 h 4496940"/>
                    <a:gd name="connsiteX53" fmla="*/ 2545102 w 4519987"/>
                    <a:gd name="connsiteY53" fmla="*/ 4486275 h 4496940"/>
                    <a:gd name="connsiteX54" fmla="*/ 2306977 w 4519987"/>
                    <a:gd name="connsiteY54" fmla="*/ 4476750 h 4496940"/>
                    <a:gd name="connsiteX55" fmla="*/ 2202202 w 4519987"/>
                    <a:gd name="connsiteY55" fmla="*/ 4457700 h 4496940"/>
                    <a:gd name="connsiteX56" fmla="*/ 2126002 w 4519987"/>
                    <a:gd name="connsiteY56" fmla="*/ 4429125 h 4496940"/>
                    <a:gd name="connsiteX57" fmla="*/ 1935502 w 4519987"/>
                    <a:gd name="connsiteY57" fmla="*/ 4400550 h 4496940"/>
                    <a:gd name="connsiteX58" fmla="*/ 1821202 w 4519987"/>
                    <a:gd name="connsiteY58" fmla="*/ 4371975 h 4496940"/>
                    <a:gd name="connsiteX59" fmla="*/ 1754527 w 4519987"/>
                    <a:gd name="connsiteY59" fmla="*/ 4352925 h 4496940"/>
                    <a:gd name="connsiteX60" fmla="*/ 1687852 w 4519987"/>
                    <a:gd name="connsiteY60" fmla="*/ 4343400 h 4496940"/>
                    <a:gd name="connsiteX61" fmla="*/ 1573552 w 4519987"/>
                    <a:gd name="connsiteY61" fmla="*/ 4305300 h 4496940"/>
                    <a:gd name="connsiteX62" fmla="*/ 1402102 w 4519987"/>
                    <a:gd name="connsiteY62" fmla="*/ 4276725 h 4496940"/>
                    <a:gd name="connsiteX63" fmla="*/ 1287802 w 4519987"/>
                    <a:gd name="connsiteY63" fmla="*/ 4229100 h 4496940"/>
                    <a:gd name="connsiteX64" fmla="*/ 1221127 w 4519987"/>
                    <a:gd name="connsiteY64" fmla="*/ 4200525 h 4496940"/>
                    <a:gd name="connsiteX65" fmla="*/ 1144927 w 4519987"/>
                    <a:gd name="connsiteY65" fmla="*/ 4171950 h 4496940"/>
                    <a:gd name="connsiteX66" fmla="*/ 1087777 w 4519987"/>
                    <a:gd name="connsiteY66" fmla="*/ 4143375 h 4496940"/>
                    <a:gd name="connsiteX67" fmla="*/ 1030627 w 4519987"/>
                    <a:gd name="connsiteY67" fmla="*/ 4124325 h 4496940"/>
                    <a:gd name="connsiteX68" fmla="*/ 925852 w 4519987"/>
                    <a:gd name="connsiteY68" fmla="*/ 4067175 h 4496940"/>
                    <a:gd name="connsiteX69" fmla="*/ 830602 w 4519987"/>
                    <a:gd name="connsiteY69" fmla="*/ 3981450 h 4496940"/>
                    <a:gd name="connsiteX70" fmla="*/ 763927 w 4519987"/>
                    <a:gd name="connsiteY70" fmla="*/ 3914775 h 4496940"/>
                    <a:gd name="connsiteX71" fmla="*/ 725827 w 4519987"/>
                    <a:gd name="connsiteY71" fmla="*/ 3876675 h 4496940"/>
                    <a:gd name="connsiteX72" fmla="*/ 697252 w 4519987"/>
                    <a:gd name="connsiteY72" fmla="*/ 3838575 h 4496940"/>
                    <a:gd name="connsiteX73" fmla="*/ 640102 w 4519987"/>
                    <a:gd name="connsiteY73" fmla="*/ 3781425 h 4496940"/>
                    <a:gd name="connsiteX74" fmla="*/ 611527 w 4519987"/>
                    <a:gd name="connsiteY74" fmla="*/ 3733800 h 4496940"/>
                    <a:gd name="connsiteX75" fmla="*/ 554377 w 4519987"/>
                    <a:gd name="connsiteY75" fmla="*/ 3657600 h 4496940"/>
                    <a:gd name="connsiteX76" fmla="*/ 525802 w 4519987"/>
                    <a:gd name="connsiteY76" fmla="*/ 3609975 h 4496940"/>
                    <a:gd name="connsiteX77" fmla="*/ 497227 w 4519987"/>
                    <a:gd name="connsiteY77" fmla="*/ 3552825 h 4496940"/>
                    <a:gd name="connsiteX78" fmla="*/ 440077 w 4519987"/>
                    <a:gd name="connsiteY78" fmla="*/ 3495675 h 4496940"/>
                    <a:gd name="connsiteX79" fmla="*/ 411502 w 4519987"/>
                    <a:gd name="connsiteY79" fmla="*/ 3448050 h 4496940"/>
                    <a:gd name="connsiteX80" fmla="*/ 278152 w 4519987"/>
                    <a:gd name="connsiteY80" fmla="*/ 3257550 h 4496940"/>
                    <a:gd name="connsiteX81" fmla="*/ 249577 w 4519987"/>
                    <a:gd name="connsiteY81" fmla="*/ 3200400 h 4496940"/>
                    <a:gd name="connsiteX82" fmla="*/ 240052 w 4519987"/>
                    <a:gd name="connsiteY82" fmla="*/ 3162300 h 4496940"/>
                    <a:gd name="connsiteX83" fmla="*/ 221002 w 4519987"/>
                    <a:gd name="connsiteY83" fmla="*/ 3105150 h 4496940"/>
                    <a:gd name="connsiteX84" fmla="*/ 173377 w 4519987"/>
                    <a:gd name="connsiteY84" fmla="*/ 3019425 h 4496940"/>
                    <a:gd name="connsiteX85" fmla="*/ 144802 w 4519987"/>
                    <a:gd name="connsiteY85" fmla="*/ 2924175 h 4496940"/>
                    <a:gd name="connsiteX86" fmla="*/ 68602 w 4519987"/>
                    <a:gd name="connsiteY86" fmla="*/ 2724150 h 4496940"/>
                    <a:gd name="connsiteX87" fmla="*/ 49552 w 4519987"/>
                    <a:gd name="connsiteY87" fmla="*/ 2638425 h 4496940"/>
                    <a:gd name="connsiteX88" fmla="*/ 40027 w 4519987"/>
                    <a:gd name="connsiteY88" fmla="*/ 2562225 h 4496940"/>
                    <a:gd name="connsiteX89" fmla="*/ 30502 w 4519987"/>
                    <a:gd name="connsiteY89" fmla="*/ 2514600 h 4496940"/>
                    <a:gd name="connsiteX90" fmla="*/ 11452 w 4519987"/>
                    <a:gd name="connsiteY90" fmla="*/ 2400300 h 4496940"/>
                    <a:gd name="connsiteX91" fmla="*/ 20977 w 4519987"/>
                    <a:gd name="connsiteY91" fmla="*/ 1905000 h 4496940"/>
                    <a:gd name="connsiteX92" fmla="*/ 30502 w 4519987"/>
                    <a:gd name="connsiteY92" fmla="*/ 1838325 h 4496940"/>
                    <a:gd name="connsiteX93" fmla="*/ 49552 w 4519987"/>
                    <a:gd name="connsiteY93" fmla="*/ 1781175 h 4496940"/>
                    <a:gd name="connsiteX94" fmla="*/ 59077 w 4519987"/>
                    <a:gd name="connsiteY94" fmla="*/ 1743075 h 4496940"/>
                    <a:gd name="connsiteX95" fmla="*/ 78127 w 4519987"/>
                    <a:gd name="connsiteY95" fmla="*/ 1685925 h 4496940"/>
                    <a:gd name="connsiteX96" fmla="*/ 87652 w 4519987"/>
                    <a:gd name="connsiteY96" fmla="*/ 1638300 h 4496940"/>
                    <a:gd name="connsiteX97" fmla="*/ 106702 w 4519987"/>
                    <a:gd name="connsiteY97" fmla="*/ 1590675 h 4496940"/>
                    <a:gd name="connsiteX98" fmla="*/ 135277 w 4519987"/>
                    <a:gd name="connsiteY98" fmla="*/ 1504950 h 4496940"/>
                    <a:gd name="connsiteX99" fmla="*/ 154327 w 4519987"/>
                    <a:gd name="connsiteY99" fmla="*/ 1419225 h 4496940"/>
                    <a:gd name="connsiteX100" fmla="*/ 230527 w 4519987"/>
                    <a:gd name="connsiteY100" fmla="*/ 1276350 h 4496940"/>
                    <a:gd name="connsiteX101" fmla="*/ 240052 w 4519987"/>
                    <a:gd name="connsiteY101" fmla="*/ 1247775 h 4496940"/>
                    <a:gd name="connsiteX102" fmla="*/ 268627 w 4519987"/>
                    <a:gd name="connsiteY102" fmla="*/ 1200150 h 4496940"/>
                    <a:gd name="connsiteX103" fmla="*/ 287677 w 4519987"/>
                    <a:gd name="connsiteY103" fmla="*/ 1152525 h 4496940"/>
                    <a:gd name="connsiteX104" fmla="*/ 316252 w 4519987"/>
                    <a:gd name="connsiteY104" fmla="*/ 1114425 h 4496940"/>
                    <a:gd name="connsiteX105" fmla="*/ 363877 w 4519987"/>
                    <a:gd name="connsiteY105" fmla="*/ 1038225 h 4496940"/>
                    <a:gd name="connsiteX106" fmla="*/ 382927 w 4519987"/>
                    <a:gd name="connsiteY106" fmla="*/ 1009650 h 4496940"/>
                    <a:gd name="connsiteX107" fmla="*/ 440077 w 4519987"/>
                    <a:gd name="connsiteY107" fmla="*/ 904875 h 4496940"/>
                    <a:gd name="connsiteX108" fmla="*/ 478177 w 4519987"/>
                    <a:gd name="connsiteY108" fmla="*/ 857250 h 4496940"/>
                    <a:gd name="connsiteX109" fmla="*/ 497227 w 4519987"/>
                    <a:gd name="connsiteY109" fmla="*/ 828675 h 4496940"/>
                    <a:gd name="connsiteX110" fmla="*/ 535327 w 4519987"/>
                    <a:gd name="connsiteY110" fmla="*/ 800100 h 4496940"/>
                    <a:gd name="connsiteX111" fmla="*/ 602002 w 4519987"/>
                    <a:gd name="connsiteY111" fmla="*/ 733425 h 4496940"/>
                    <a:gd name="connsiteX112" fmla="*/ 668677 w 4519987"/>
                    <a:gd name="connsiteY112" fmla="*/ 676275 h 4496940"/>
                    <a:gd name="connsiteX113" fmla="*/ 697252 w 4519987"/>
                    <a:gd name="connsiteY113" fmla="*/ 657225 h 4496940"/>
                    <a:gd name="connsiteX114" fmla="*/ 840127 w 4519987"/>
                    <a:gd name="connsiteY114" fmla="*/ 533400 h 4496940"/>
                    <a:gd name="connsiteX115" fmla="*/ 887752 w 4519987"/>
                    <a:gd name="connsiteY115" fmla="*/ 504825 h 4496940"/>
                    <a:gd name="connsiteX116" fmla="*/ 1167152 w 4519987"/>
                    <a:gd name="connsiteY116" fmla="*/ 311150 h 4496940"/>
                    <a:gd name="connsiteX117" fmla="*/ 1268752 w 4519987"/>
                    <a:gd name="connsiteY117" fmla="*/ 285750 h 4496940"/>
                    <a:gd name="connsiteX118" fmla="*/ 1411627 w 4519987"/>
                    <a:gd name="connsiteY118" fmla="*/ 190500 h 4496940"/>
                    <a:gd name="connsiteX119" fmla="*/ 1449727 w 4519987"/>
                    <a:gd name="connsiteY119" fmla="*/ 161925 h 4496940"/>
                    <a:gd name="connsiteX120" fmla="*/ 1525927 w 4519987"/>
                    <a:gd name="connsiteY120" fmla="*/ 152400 h 4496940"/>
                    <a:gd name="connsiteX121" fmla="*/ 1583077 w 4519987"/>
                    <a:gd name="connsiteY121" fmla="*/ 142875 h 4496940"/>
                    <a:gd name="connsiteX122" fmla="*/ 1716427 w 4519987"/>
                    <a:gd name="connsiteY122" fmla="*/ 123825 h 4496940"/>
                    <a:gd name="connsiteX123" fmla="*/ 1811677 w 4519987"/>
                    <a:gd name="connsiteY123" fmla="*/ 114300 h 4496940"/>
                    <a:gd name="connsiteX124" fmla="*/ 1859302 w 4519987"/>
                    <a:gd name="connsiteY124" fmla="*/ 104775 h 4496940"/>
                    <a:gd name="connsiteX125" fmla="*/ 1916452 w 4519987"/>
                    <a:gd name="connsiteY125" fmla="*/ 95250 h 4496940"/>
                    <a:gd name="connsiteX126" fmla="*/ 2030752 w 4519987"/>
                    <a:gd name="connsiteY126" fmla="*/ 66675 h 4496940"/>
                    <a:gd name="connsiteX127" fmla="*/ 2097427 w 4519987"/>
                    <a:gd name="connsiteY127" fmla="*/ 47625 h 4496940"/>
                    <a:gd name="connsiteX128" fmla="*/ 2164102 w 4519987"/>
                    <a:gd name="connsiteY128" fmla="*/ 38100 h 4496940"/>
                    <a:gd name="connsiteX129" fmla="*/ 2392702 w 4519987"/>
                    <a:gd name="connsiteY12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497602 w 4519987"/>
                    <a:gd name="connsiteY40" fmla="*/ 4143375 h 4496940"/>
                    <a:gd name="connsiteX41" fmla="*/ 3383302 w 4519987"/>
                    <a:gd name="connsiteY41" fmla="*/ 4210050 h 4496940"/>
                    <a:gd name="connsiteX42" fmla="*/ 3335677 w 4519987"/>
                    <a:gd name="connsiteY42" fmla="*/ 4238625 h 4496940"/>
                    <a:gd name="connsiteX43" fmla="*/ 3288052 w 4519987"/>
                    <a:gd name="connsiteY43" fmla="*/ 4248150 h 4496940"/>
                    <a:gd name="connsiteX44" fmla="*/ 3240427 w 4519987"/>
                    <a:gd name="connsiteY44" fmla="*/ 4267200 h 4496940"/>
                    <a:gd name="connsiteX45" fmla="*/ 3068977 w 4519987"/>
                    <a:gd name="connsiteY45" fmla="*/ 4286250 h 4496940"/>
                    <a:gd name="connsiteX46" fmla="*/ 2935627 w 4519987"/>
                    <a:gd name="connsiteY46" fmla="*/ 4333875 h 4496940"/>
                    <a:gd name="connsiteX47" fmla="*/ 2811802 w 4519987"/>
                    <a:gd name="connsiteY47" fmla="*/ 4371975 h 4496940"/>
                    <a:gd name="connsiteX48" fmla="*/ 2745127 w 4519987"/>
                    <a:gd name="connsiteY48" fmla="*/ 4410075 h 4496940"/>
                    <a:gd name="connsiteX49" fmla="*/ 2697502 w 4519987"/>
                    <a:gd name="connsiteY49" fmla="*/ 4429125 h 4496940"/>
                    <a:gd name="connsiteX50" fmla="*/ 2640352 w 4519987"/>
                    <a:gd name="connsiteY50" fmla="*/ 4457700 h 4496940"/>
                    <a:gd name="connsiteX51" fmla="*/ 2583202 w 4519987"/>
                    <a:gd name="connsiteY51" fmla="*/ 4467225 h 4496940"/>
                    <a:gd name="connsiteX52" fmla="*/ 2545102 w 4519987"/>
                    <a:gd name="connsiteY52" fmla="*/ 4486275 h 4496940"/>
                    <a:gd name="connsiteX53" fmla="*/ 2306977 w 4519987"/>
                    <a:gd name="connsiteY53" fmla="*/ 4476750 h 4496940"/>
                    <a:gd name="connsiteX54" fmla="*/ 2202202 w 4519987"/>
                    <a:gd name="connsiteY54" fmla="*/ 4457700 h 4496940"/>
                    <a:gd name="connsiteX55" fmla="*/ 2126002 w 4519987"/>
                    <a:gd name="connsiteY55" fmla="*/ 4429125 h 4496940"/>
                    <a:gd name="connsiteX56" fmla="*/ 1935502 w 4519987"/>
                    <a:gd name="connsiteY56" fmla="*/ 4400550 h 4496940"/>
                    <a:gd name="connsiteX57" fmla="*/ 1821202 w 4519987"/>
                    <a:gd name="connsiteY57" fmla="*/ 4371975 h 4496940"/>
                    <a:gd name="connsiteX58" fmla="*/ 1754527 w 4519987"/>
                    <a:gd name="connsiteY58" fmla="*/ 4352925 h 4496940"/>
                    <a:gd name="connsiteX59" fmla="*/ 1687852 w 4519987"/>
                    <a:gd name="connsiteY59" fmla="*/ 4343400 h 4496940"/>
                    <a:gd name="connsiteX60" fmla="*/ 1573552 w 4519987"/>
                    <a:gd name="connsiteY60" fmla="*/ 4305300 h 4496940"/>
                    <a:gd name="connsiteX61" fmla="*/ 1402102 w 4519987"/>
                    <a:gd name="connsiteY61" fmla="*/ 4276725 h 4496940"/>
                    <a:gd name="connsiteX62" fmla="*/ 1287802 w 4519987"/>
                    <a:gd name="connsiteY62" fmla="*/ 4229100 h 4496940"/>
                    <a:gd name="connsiteX63" fmla="*/ 1221127 w 4519987"/>
                    <a:gd name="connsiteY63" fmla="*/ 4200525 h 4496940"/>
                    <a:gd name="connsiteX64" fmla="*/ 1144927 w 4519987"/>
                    <a:gd name="connsiteY64" fmla="*/ 4171950 h 4496940"/>
                    <a:gd name="connsiteX65" fmla="*/ 1087777 w 4519987"/>
                    <a:gd name="connsiteY65" fmla="*/ 4143375 h 4496940"/>
                    <a:gd name="connsiteX66" fmla="*/ 1030627 w 4519987"/>
                    <a:gd name="connsiteY66" fmla="*/ 4124325 h 4496940"/>
                    <a:gd name="connsiteX67" fmla="*/ 925852 w 4519987"/>
                    <a:gd name="connsiteY67" fmla="*/ 4067175 h 4496940"/>
                    <a:gd name="connsiteX68" fmla="*/ 830602 w 4519987"/>
                    <a:gd name="connsiteY68" fmla="*/ 3981450 h 4496940"/>
                    <a:gd name="connsiteX69" fmla="*/ 763927 w 4519987"/>
                    <a:gd name="connsiteY69" fmla="*/ 3914775 h 4496940"/>
                    <a:gd name="connsiteX70" fmla="*/ 725827 w 4519987"/>
                    <a:gd name="connsiteY70" fmla="*/ 3876675 h 4496940"/>
                    <a:gd name="connsiteX71" fmla="*/ 697252 w 4519987"/>
                    <a:gd name="connsiteY71" fmla="*/ 3838575 h 4496940"/>
                    <a:gd name="connsiteX72" fmla="*/ 640102 w 4519987"/>
                    <a:gd name="connsiteY72" fmla="*/ 3781425 h 4496940"/>
                    <a:gd name="connsiteX73" fmla="*/ 611527 w 4519987"/>
                    <a:gd name="connsiteY73" fmla="*/ 3733800 h 4496940"/>
                    <a:gd name="connsiteX74" fmla="*/ 554377 w 4519987"/>
                    <a:gd name="connsiteY74" fmla="*/ 3657600 h 4496940"/>
                    <a:gd name="connsiteX75" fmla="*/ 525802 w 4519987"/>
                    <a:gd name="connsiteY75" fmla="*/ 3609975 h 4496940"/>
                    <a:gd name="connsiteX76" fmla="*/ 497227 w 4519987"/>
                    <a:gd name="connsiteY76" fmla="*/ 3552825 h 4496940"/>
                    <a:gd name="connsiteX77" fmla="*/ 440077 w 4519987"/>
                    <a:gd name="connsiteY77" fmla="*/ 3495675 h 4496940"/>
                    <a:gd name="connsiteX78" fmla="*/ 411502 w 4519987"/>
                    <a:gd name="connsiteY78" fmla="*/ 3448050 h 4496940"/>
                    <a:gd name="connsiteX79" fmla="*/ 278152 w 4519987"/>
                    <a:gd name="connsiteY79" fmla="*/ 3257550 h 4496940"/>
                    <a:gd name="connsiteX80" fmla="*/ 249577 w 4519987"/>
                    <a:gd name="connsiteY80" fmla="*/ 3200400 h 4496940"/>
                    <a:gd name="connsiteX81" fmla="*/ 240052 w 4519987"/>
                    <a:gd name="connsiteY81" fmla="*/ 3162300 h 4496940"/>
                    <a:gd name="connsiteX82" fmla="*/ 221002 w 4519987"/>
                    <a:gd name="connsiteY82" fmla="*/ 3105150 h 4496940"/>
                    <a:gd name="connsiteX83" fmla="*/ 173377 w 4519987"/>
                    <a:gd name="connsiteY83" fmla="*/ 3019425 h 4496940"/>
                    <a:gd name="connsiteX84" fmla="*/ 144802 w 4519987"/>
                    <a:gd name="connsiteY84" fmla="*/ 2924175 h 4496940"/>
                    <a:gd name="connsiteX85" fmla="*/ 68602 w 4519987"/>
                    <a:gd name="connsiteY85" fmla="*/ 2724150 h 4496940"/>
                    <a:gd name="connsiteX86" fmla="*/ 49552 w 4519987"/>
                    <a:gd name="connsiteY86" fmla="*/ 2638425 h 4496940"/>
                    <a:gd name="connsiteX87" fmla="*/ 40027 w 4519987"/>
                    <a:gd name="connsiteY87" fmla="*/ 2562225 h 4496940"/>
                    <a:gd name="connsiteX88" fmla="*/ 30502 w 4519987"/>
                    <a:gd name="connsiteY88" fmla="*/ 2514600 h 4496940"/>
                    <a:gd name="connsiteX89" fmla="*/ 11452 w 4519987"/>
                    <a:gd name="connsiteY89" fmla="*/ 2400300 h 4496940"/>
                    <a:gd name="connsiteX90" fmla="*/ 20977 w 4519987"/>
                    <a:gd name="connsiteY90" fmla="*/ 1905000 h 4496940"/>
                    <a:gd name="connsiteX91" fmla="*/ 30502 w 4519987"/>
                    <a:gd name="connsiteY91" fmla="*/ 1838325 h 4496940"/>
                    <a:gd name="connsiteX92" fmla="*/ 49552 w 4519987"/>
                    <a:gd name="connsiteY92" fmla="*/ 1781175 h 4496940"/>
                    <a:gd name="connsiteX93" fmla="*/ 59077 w 4519987"/>
                    <a:gd name="connsiteY93" fmla="*/ 1743075 h 4496940"/>
                    <a:gd name="connsiteX94" fmla="*/ 78127 w 4519987"/>
                    <a:gd name="connsiteY94" fmla="*/ 1685925 h 4496940"/>
                    <a:gd name="connsiteX95" fmla="*/ 87652 w 4519987"/>
                    <a:gd name="connsiteY95" fmla="*/ 1638300 h 4496940"/>
                    <a:gd name="connsiteX96" fmla="*/ 106702 w 4519987"/>
                    <a:gd name="connsiteY96" fmla="*/ 1590675 h 4496940"/>
                    <a:gd name="connsiteX97" fmla="*/ 135277 w 4519987"/>
                    <a:gd name="connsiteY97" fmla="*/ 1504950 h 4496940"/>
                    <a:gd name="connsiteX98" fmla="*/ 154327 w 4519987"/>
                    <a:gd name="connsiteY98" fmla="*/ 1419225 h 4496940"/>
                    <a:gd name="connsiteX99" fmla="*/ 230527 w 4519987"/>
                    <a:gd name="connsiteY99" fmla="*/ 1276350 h 4496940"/>
                    <a:gd name="connsiteX100" fmla="*/ 240052 w 4519987"/>
                    <a:gd name="connsiteY100" fmla="*/ 1247775 h 4496940"/>
                    <a:gd name="connsiteX101" fmla="*/ 268627 w 4519987"/>
                    <a:gd name="connsiteY101" fmla="*/ 1200150 h 4496940"/>
                    <a:gd name="connsiteX102" fmla="*/ 287677 w 4519987"/>
                    <a:gd name="connsiteY102" fmla="*/ 1152525 h 4496940"/>
                    <a:gd name="connsiteX103" fmla="*/ 316252 w 4519987"/>
                    <a:gd name="connsiteY103" fmla="*/ 1114425 h 4496940"/>
                    <a:gd name="connsiteX104" fmla="*/ 363877 w 4519987"/>
                    <a:gd name="connsiteY104" fmla="*/ 1038225 h 4496940"/>
                    <a:gd name="connsiteX105" fmla="*/ 382927 w 4519987"/>
                    <a:gd name="connsiteY105" fmla="*/ 1009650 h 4496940"/>
                    <a:gd name="connsiteX106" fmla="*/ 440077 w 4519987"/>
                    <a:gd name="connsiteY106" fmla="*/ 904875 h 4496940"/>
                    <a:gd name="connsiteX107" fmla="*/ 478177 w 4519987"/>
                    <a:gd name="connsiteY107" fmla="*/ 857250 h 4496940"/>
                    <a:gd name="connsiteX108" fmla="*/ 497227 w 4519987"/>
                    <a:gd name="connsiteY108" fmla="*/ 828675 h 4496940"/>
                    <a:gd name="connsiteX109" fmla="*/ 535327 w 4519987"/>
                    <a:gd name="connsiteY109" fmla="*/ 800100 h 4496940"/>
                    <a:gd name="connsiteX110" fmla="*/ 602002 w 4519987"/>
                    <a:gd name="connsiteY110" fmla="*/ 733425 h 4496940"/>
                    <a:gd name="connsiteX111" fmla="*/ 668677 w 4519987"/>
                    <a:gd name="connsiteY111" fmla="*/ 676275 h 4496940"/>
                    <a:gd name="connsiteX112" fmla="*/ 697252 w 4519987"/>
                    <a:gd name="connsiteY112" fmla="*/ 657225 h 4496940"/>
                    <a:gd name="connsiteX113" fmla="*/ 840127 w 4519987"/>
                    <a:gd name="connsiteY113" fmla="*/ 533400 h 4496940"/>
                    <a:gd name="connsiteX114" fmla="*/ 887752 w 4519987"/>
                    <a:gd name="connsiteY114" fmla="*/ 504825 h 4496940"/>
                    <a:gd name="connsiteX115" fmla="*/ 1167152 w 4519987"/>
                    <a:gd name="connsiteY115" fmla="*/ 311150 h 4496940"/>
                    <a:gd name="connsiteX116" fmla="*/ 1268752 w 4519987"/>
                    <a:gd name="connsiteY116" fmla="*/ 285750 h 4496940"/>
                    <a:gd name="connsiteX117" fmla="*/ 1411627 w 4519987"/>
                    <a:gd name="connsiteY117" fmla="*/ 190500 h 4496940"/>
                    <a:gd name="connsiteX118" fmla="*/ 1449727 w 4519987"/>
                    <a:gd name="connsiteY118" fmla="*/ 161925 h 4496940"/>
                    <a:gd name="connsiteX119" fmla="*/ 1525927 w 4519987"/>
                    <a:gd name="connsiteY119" fmla="*/ 152400 h 4496940"/>
                    <a:gd name="connsiteX120" fmla="*/ 1583077 w 4519987"/>
                    <a:gd name="connsiteY120" fmla="*/ 142875 h 4496940"/>
                    <a:gd name="connsiteX121" fmla="*/ 1716427 w 4519987"/>
                    <a:gd name="connsiteY121" fmla="*/ 123825 h 4496940"/>
                    <a:gd name="connsiteX122" fmla="*/ 1811677 w 4519987"/>
                    <a:gd name="connsiteY122" fmla="*/ 114300 h 4496940"/>
                    <a:gd name="connsiteX123" fmla="*/ 1859302 w 4519987"/>
                    <a:gd name="connsiteY123" fmla="*/ 104775 h 4496940"/>
                    <a:gd name="connsiteX124" fmla="*/ 1916452 w 4519987"/>
                    <a:gd name="connsiteY124" fmla="*/ 95250 h 4496940"/>
                    <a:gd name="connsiteX125" fmla="*/ 2030752 w 4519987"/>
                    <a:gd name="connsiteY125" fmla="*/ 66675 h 4496940"/>
                    <a:gd name="connsiteX126" fmla="*/ 2097427 w 4519987"/>
                    <a:gd name="connsiteY126" fmla="*/ 47625 h 4496940"/>
                    <a:gd name="connsiteX127" fmla="*/ 2164102 w 4519987"/>
                    <a:gd name="connsiteY127" fmla="*/ 38100 h 4496940"/>
                    <a:gd name="connsiteX128" fmla="*/ 2392702 w 4519987"/>
                    <a:gd name="connsiteY12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383302 w 4519987"/>
                    <a:gd name="connsiteY40" fmla="*/ 4210050 h 4496940"/>
                    <a:gd name="connsiteX41" fmla="*/ 3335677 w 4519987"/>
                    <a:gd name="connsiteY41" fmla="*/ 4238625 h 4496940"/>
                    <a:gd name="connsiteX42" fmla="*/ 3288052 w 4519987"/>
                    <a:gd name="connsiteY42" fmla="*/ 4248150 h 4496940"/>
                    <a:gd name="connsiteX43" fmla="*/ 3240427 w 4519987"/>
                    <a:gd name="connsiteY43" fmla="*/ 4267200 h 4496940"/>
                    <a:gd name="connsiteX44" fmla="*/ 3068977 w 4519987"/>
                    <a:gd name="connsiteY44" fmla="*/ 4286250 h 4496940"/>
                    <a:gd name="connsiteX45" fmla="*/ 2935627 w 4519987"/>
                    <a:gd name="connsiteY45" fmla="*/ 4333875 h 4496940"/>
                    <a:gd name="connsiteX46" fmla="*/ 2811802 w 4519987"/>
                    <a:gd name="connsiteY46" fmla="*/ 4371975 h 4496940"/>
                    <a:gd name="connsiteX47" fmla="*/ 2745127 w 4519987"/>
                    <a:gd name="connsiteY47" fmla="*/ 4410075 h 4496940"/>
                    <a:gd name="connsiteX48" fmla="*/ 2697502 w 4519987"/>
                    <a:gd name="connsiteY48" fmla="*/ 4429125 h 4496940"/>
                    <a:gd name="connsiteX49" fmla="*/ 2640352 w 4519987"/>
                    <a:gd name="connsiteY49" fmla="*/ 4457700 h 4496940"/>
                    <a:gd name="connsiteX50" fmla="*/ 2583202 w 4519987"/>
                    <a:gd name="connsiteY50" fmla="*/ 4467225 h 4496940"/>
                    <a:gd name="connsiteX51" fmla="*/ 2545102 w 4519987"/>
                    <a:gd name="connsiteY51" fmla="*/ 4486275 h 4496940"/>
                    <a:gd name="connsiteX52" fmla="*/ 2306977 w 4519987"/>
                    <a:gd name="connsiteY52" fmla="*/ 4476750 h 4496940"/>
                    <a:gd name="connsiteX53" fmla="*/ 2202202 w 4519987"/>
                    <a:gd name="connsiteY53" fmla="*/ 4457700 h 4496940"/>
                    <a:gd name="connsiteX54" fmla="*/ 2126002 w 4519987"/>
                    <a:gd name="connsiteY54" fmla="*/ 4429125 h 4496940"/>
                    <a:gd name="connsiteX55" fmla="*/ 1935502 w 4519987"/>
                    <a:gd name="connsiteY55" fmla="*/ 4400550 h 4496940"/>
                    <a:gd name="connsiteX56" fmla="*/ 1821202 w 4519987"/>
                    <a:gd name="connsiteY56" fmla="*/ 4371975 h 4496940"/>
                    <a:gd name="connsiteX57" fmla="*/ 1754527 w 4519987"/>
                    <a:gd name="connsiteY57" fmla="*/ 4352925 h 4496940"/>
                    <a:gd name="connsiteX58" fmla="*/ 1687852 w 4519987"/>
                    <a:gd name="connsiteY58" fmla="*/ 4343400 h 4496940"/>
                    <a:gd name="connsiteX59" fmla="*/ 1573552 w 4519987"/>
                    <a:gd name="connsiteY59" fmla="*/ 4305300 h 4496940"/>
                    <a:gd name="connsiteX60" fmla="*/ 1402102 w 4519987"/>
                    <a:gd name="connsiteY60" fmla="*/ 4276725 h 4496940"/>
                    <a:gd name="connsiteX61" fmla="*/ 1287802 w 4519987"/>
                    <a:gd name="connsiteY61" fmla="*/ 4229100 h 4496940"/>
                    <a:gd name="connsiteX62" fmla="*/ 1221127 w 4519987"/>
                    <a:gd name="connsiteY62" fmla="*/ 4200525 h 4496940"/>
                    <a:gd name="connsiteX63" fmla="*/ 1144927 w 4519987"/>
                    <a:gd name="connsiteY63" fmla="*/ 4171950 h 4496940"/>
                    <a:gd name="connsiteX64" fmla="*/ 1087777 w 4519987"/>
                    <a:gd name="connsiteY64" fmla="*/ 4143375 h 4496940"/>
                    <a:gd name="connsiteX65" fmla="*/ 1030627 w 4519987"/>
                    <a:gd name="connsiteY65" fmla="*/ 4124325 h 4496940"/>
                    <a:gd name="connsiteX66" fmla="*/ 925852 w 4519987"/>
                    <a:gd name="connsiteY66" fmla="*/ 4067175 h 4496940"/>
                    <a:gd name="connsiteX67" fmla="*/ 830602 w 4519987"/>
                    <a:gd name="connsiteY67" fmla="*/ 3981450 h 4496940"/>
                    <a:gd name="connsiteX68" fmla="*/ 763927 w 4519987"/>
                    <a:gd name="connsiteY68" fmla="*/ 3914775 h 4496940"/>
                    <a:gd name="connsiteX69" fmla="*/ 725827 w 4519987"/>
                    <a:gd name="connsiteY69" fmla="*/ 3876675 h 4496940"/>
                    <a:gd name="connsiteX70" fmla="*/ 697252 w 4519987"/>
                    <a:gd name="connsiteY70" fmla="*/ 3838575 h 4496940"/>
                    <a:gd name="connsiteX71" fmla="*/ 640102 w 4519987"/>
                    <a:gd name="connsiteY71" fmla="*/ 3781425 h 4496940"/>
                    <a:gd name="connsiteX72" fmla="*/ 611527 w 4519987"/>
                    <a:gd name="connsiteY72" fmla="*/ 3733800 h 4496940"/>
                    <a:gd name="connsiteX73" fmla="*/ 554377 w 4519987"/>
                    <a:gd name="connsiteY73" fmla="*/ 3657600 h 4496940"/>
                    <a:gd name="connsiteX74" fmla="*/ 525802 w 4519987"/>
                    <a:gd name="connsiteY74" fmla="*/ 3609975 h 4496940"/>
                    <a:gd name="connsiteX75" fmla="*/ 497227 w 4519987"/>
                    <a:gd name="connsiteY75" fmla="*/ 3552825 h 4496940"/>
                    <a:gd name="connsiteX76" fmla="*/ 440077 w 4519987"/>
                    <a:gd name="connsiteY76" fmla="*/ 3495675 h 4496940"/>
                    <a:gd name="connsiteX77" fmla="*/ 411502 w 4519987"/>
                    <a:gd name="connsiteY77" fmla="*/ 3448050 h 4496940"/>
                    <a:gd name="connsiteX78" fmla="*/ 278152 w 4519987"/>
                    <a:gd name="connsiteY78" fmla="*/ 3257550 h 4496940"/>
                    <a:gd name="connsiteX79" fmla="*/ 249577 w 4519987"/>
                    <a:gd name="connsiteY79" fmla="*/ 3200400 h 4496940"/>
                    <a:gd name="connsiteX80" fmla="*/ 240052 w 4519987"/>
                    <a:gd name="connsiteY80" fmla="*/ 3162300 h 4496940"/>
                    <a:gd name="connsiteX81" fmla="*/ 221002 w 4519987"/>
                    <a:gd name="connsiteY81" fmla="*/ 3105150 h 4496940"/>
                    <a:gd name="connsiteX82" fmla="*/ 173377 w 4519987"/>
                    <a:gd name="connsiteY82" fmla="*/ 3019425 h 4496940"/>
                    <a:gd name="connsiteX83" fmla="*/ 144802 w 4519987"/>
                    <a:gd name="connsiteY83" fmla="*/ 2924175 h 4496940"/>
                    <a:gd name="connsiteX84" fmla="*/ 68602 w 4519987"/>
                    <a:gd name="connsiteY84" fmla="*/ 2724150 h 4496940"/>
                    <a:gd name="connsiteX85" fmla="*/ 49552 w 4519987"/>
                    <a:gd name="connsiteY85" fmla="*/ 2638425 h 4496940"/>
                    <a:gd name="connsiteX86" fmla="*/ 40027 w 4519987"/>
                    <a:gd name="connsiteY86" fmla="*/ 2562225 h 4496940"/>
                    <a:gd name="connsiteX87" fmla="*/ 30502 w 4519987"/>
                    <a:gd name="connsiteY87" fmla="*/ 2514600 h 4496940"/>
                    <a:gd name="connsiteX88" fmla="*/ 11452 w 4519987"/>
                    <a:gd name="connsiteY88" fmla="*/ 2400300 h 4496940"/>
                    <a:gd name="connsiteX89" fmla="*/ 20977 w 4519987"/>
                    <a:gd name="connsiteY89" fmla="*/ 1905000 h 4496940"/>
                    <a:gd name="connsiteX90" fmla="*/ 30502 w 4519987"/>
                    <a:gd name="connsiteY90" fmla="*/ 1838325 h 4496940"/>
                    <a:gd name="connsiteX91" fmla="*/ 49552 w 4519987"/>
                    <a:gd name="connsiteY91" fmla="*/ 1781175 h 4496940"/>
                    <a:gd name="connsiteX92" fmla="*/ 59077 w 4519987"/>
                    <a:gd name="connsiteY92" fmla="*/ 1743075 h 4496940"/>
                    <a:gd name="connsiteX93" fmla="*/ 78127 w 4519987"/>
                    <a:gd name="connsiteY93" fmla="*/ 1685925 h 4496940"/>
                    <a:gd name="connsiteX94" fmla="*/ 87652 w 4519987"/>
                    <a:gd name="connsiteY94" fmla="*/ 1638300 h 4496940"/>
                    <a:gd name="connsiteX95" fmla="*/ 106702 w 4519987"/>
                    <a:gd name="connsiteY95" fmla="*/ 1590675 h 4496940"/>
                    <a:gd name="connsiteX96" fmla="*/ 135277 w 4519987"/>
                    <a:gd name="connsiteY96" fmla="*/ 1504950 h 4496940"/>
                    <a:gd name="connsiteX97" fmla="*/ 154327 w 4519987"/>
                    <a:gd name="connsiteY97" fmla="*/ 1419225 h 4496940"/>
                    <a:gd name="connsiteX98" fmla="*/ 230527 w 4519987"/>
                    <a:gd name="connsiteY98" fmla="*/ 1276350 h 4496940"/>
                    <a:gd name="connsiteX99" fmla="*/ 240052 w 4519987"/>
                    <a:gd name="connsiteY99" fmla="*/ 1247775 h 4496940"/>
                    <a:gd name="connsiteX100" fmla="*/ 268627 w 4519987"/>
                    <a:gd name="connsiteY100" fmla="*/ 1200150 h 4496940"/>
                    <a:gd name="connsiteX101" fmla="*/ 287677 w 4519987"/>
                    <a:gd name="connsiteY101" fmla="*/ 1152525 h 4496940"/>
                    <a:gd name="connsiteX102" fmla="*/ 316252 w 4519987"/>
                    <a:gd name="connsiteY102" fmla="*/ 1114425 h 4496940"/>
                    <a:gd name="connsiteX103" fmla="*/ 363877 w 4519987"/>
                    <a:gd name="connsiteY103" fmla="*/ 1038225 h 4496940"/>
                    <a:gd name="connsiteX104" fmla="*/ 382927 w 4519987"/>
                    <a:gd name="connsiteY104" fmla="*/ 1009650 h 4496940"/>
                    <a:gd name="connsiteX105" fmla="*/ 440077 w 4519987"/>
                    <a:gd name="connsiteY105" fmla="*/ 904875 h 4496940"/>
                    <a:gd name="connsiteX106" fmla="*/ 478177 w 4519987"/>
                    <a:gd name="connsiteY106" fmla="*/ 857250 h 4496940"/>
                    <a:gd name="connsiteX107" fmla="*/ 497227 w 4519987"/>
                    <a:gd name="connsiteY107" fmla="*/ 828675 h 4496940"/>
                    <a:gd name="connsiteX108" fmla="*/ 535327 w 4519987"/>
                    <a:gd name="connsiteY108" fmla="*/ 800100 h 4496940"/>
                    <a:gd name="connsiteX109" fmla="*/ 602002 w 4519987"/>
                    <a:gd name="connsiteY109" fmla="*/ 733425 h 4496940"/>
                    <a:gd name="connsiteX110" fmla="*/ 668677 w 4519987"/>
                    <a:gd name="connsiteY110" fmla="*/ 676275 h 4496940"/>
                    <a:gd name="connsiteX111" fmla="*/ 697252 w 4519987"/>
                    <a:gd name="connsiteY111" fmla="*/ 657225 h 4496940"/>
                    <a:gd name="connsiteX112" fmla="*/ 840127 w 4519987"/>
                    <a:gd name="connsiteY112" fmla="*/ 533400 h 4496940"/>
                    <a:gd name="connsiteX113" fmla="*/ 887752 w 4519987"/>
                    <a:gd name="connsiteY113" fmla="*/ 504825 h 4496940"/>
                    <a:gd name="connsiteX114" fmla="*/ 1167152 w 4519987"/>
                    <a:gd name="connsiteY114" fmla="*/ 311150 h 4496940"/>
                    <a:gd name="connsiteX115" fmla="*/ 1268752 w 4519987"/>
                    <a:gd name="connsiteY115" fmla="*/ 285750 h 4496940"/>
                    <a:gd name="connsiteX116" fmla="*/ 1411627 w 4519987"/>
                    <a:gd name="connsiteY116" fmla="*/ 190500 h 4496940"/>
                    <a:gd name="connsiteX117" fmla="*/ 1449727 w 4519987"/>
                    <a:gd name="connsiteY117" fmla="*/ 161925 h 4496940"/>
                    <a:gd name="connsiteX118" fmla="*/ 1525927 w 4519987"/>
                    <a:gd name="connsiteY118" fmla="*/ 152400 h 4496940"/>
                    <a:gd name="connsiteX119" fmla="*/ 1583077 w 4519987"/>
                    <a:gd name="connsiteY119" fmla="*/ 142875 h 4496940"/>
                    <a:gd name="connsiteX120" fmla="*/ 1716427 w 4519987"/>
                    <a:gd name="connsiteY120" fmla="*/ 123825 h 4496940"/>
                    <a:gd name="connsiteX121" fmla="*/ 1811677 w 4519987"/>
                    <a:gd name="connsiteY121" fmla="*/ 114300 h 4496940"/>
                    <a:gd name="connsiteX122" fmla="*/ 1859302 w 4519987"/>
                    <a:gd name="connsiteY122" fmla="*/ 104775 h 4496940"/>
                    <a:gd name="connsiteX123" fmla="*/ 1916452 w 4519987"/>
                    <a:gd name="connsiteY123" fmla="*/ 95250 h 4496940"/>
                    <a:gd name="connsiteX124" fmla="*/ 2030752 w 4519987"/>
                    <a:gd name="connsiteY124" fmla="*/ 66675 h 4496940"/>
                    <a:gd name="connsiteX125" fmla="*/ 2097427 w 4519987"/>
                    <a:gd name="connsiteY125" fmla="*/ 47625 h 4496940"/>
                    <a:gd name="connsiteX126" fmla="*/ 2164102 w 4519987"/>
                    <a:gd name="connsiteY126" fmla="*/ 38100 h 4496940"/>
                    <a:gd name="connsiteX127" fmla="*/ 2392702 w 4519987"/>
                    <a:gd name="connsiteY12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383302 w 4519987"/>
                    <a:gd name="connsiteY39" fmla="*/ 4210050 h 4496940"/>
                    <a:gd name="connsiteX40" fmla="*/ 3335677 w 4519987"/>
                    <a:gd name="connsiteY40" fmla="*/ 4238625 h 4496940"/>
                    <a:gd name="connsiteX41" fmla="*/ 3288052 w 4519987"/>
                    <a:gd name="connsiteY41" fmla="*/ 4248150 h 4496940"/>
                    <a:gd name="connsiteX42" fmla="*/ 3240427 w 4519987"/>
                    <a:gd name="connsiteY42" fmla="*/ 4267200 h 4496940"/>
                    <a:gd name="connsiteX43" fmla="*/ 3068977 w 4519987"/>
                    <a:gd name="connsiteY43" fmla="*/ 4286250 h 4496940"/>
                    <a:gd name="connsiteX44" fmla="*/ 2935627 w 4519987"/>
                    <a:gd name="connsiteY44" fmla="*/ 4333875 h 4496940"/>
                    <a:gd name="connsiteX45" fmla="*/ 2811802 w 4519987"/>
                    <a:gd name="connsiteY45" fmla="*/ 4371975 h 4496940"/>
                    <a:gd name="connsiteX46" fmla="*/ 2745127 w 4519987"/>
                    <a:gd name="connsiteY46" fmla="*/ 4410075 h 4496940"/>
                    <a:gd name="connsiteX47" fmla="*/ 2697502 w 4519987"/>
                    <a:gd name="connsiteY47" fmla="*/ 4429125 h 4496940"/>
                    <a:gd name="connsiteX48" fmla="*/ 2640352 w 4519987"/>
                    <a:gd name="connsiteY48" fmla="*/ 4457700 h 4496940"/>
                    <a:gd name="connsiteX49" fmla="*/ 2583202 w 4519987"/>
                    <a:gd name="connsiteY49" fmla="*/ 4467225 h 4496940"/>
                    <a:gd name="connsiteX50" fmla="*/ 2545102 w 4519987"/>
                    <a:gd name="connsiteY50" fmla="*/ 4486275 h 4496940"/>
                    <a:gd name="connsiteX51" fmla="*/ 2306977 w 4519987"/>
                    <a:gd name="connsiteY51" fmla="*/ 4476750 h 4496940"/>
                    <a:gd name="connsiteX52" fmla="*/ 2202202 w 4519987"/>
                    <a:gd name="connsiteY52" fmla="*/ 4457700 h 4496940"/>
                    <a:gd name="connsiteX53" fmla="*/ 2126002 w 4519987"/>
                    <a:gd name="connsiteY53" fmla="*/ 4429125 h 4496940"/>
                    <a:gd name="connsiteX54" fmla="*/ 1935502 w 4519987"/>
                    <a:gd name="connsiteY54" fmla="*/ 4400550 h 4496940"/>
                    <a:gd name="connsiteX55" fmla="*/ 1821202 w 4519987"/>
                    <a:gd name="connsiteY55" fmla="*/ 4371975 h 4496940"/>
                    <a:gd name="connsiteX56" fmla="*/ 1754527 w 4519987"/>
                    <a:gd name="connsiteY56" fmla="*/ 4352925 h 4496940"/>
                    <a:gd name="connsiteX57" fmla="*/ 1687852 w 4519987"/>
                    <a:gd name="connsiteY57" fmla="*/ 4343400 h 4496940"/>
                    <a:gd name="connsiteX58" fmla="*/ 1573552 w 4519987"/>
                    <a:gd name="connsiteY58" fmla="*/ 4305300 h 4496940"/>
                    <a:gd name="connsiteX59" fmla="*/ 1402102 w 4519987"/>
                    <a:gd name="connsiteY59" fmla="*/ 4276725 h 4496940"/>
                    <a:gd name="connsiteX60" fmla="*/ 1287802 w 4519987"/>
                    <a:gd name="connsiteY60" fmla="*/ 4229100 h 4496940"/>
                    <a:gd name="connsiteX61" fmla="*/ 1221127 w 4519987"/>
                    <a:gd name="connsiteY61" fmla="*/ 4200525 h 4496940"/>
                    <a:gd name="connsiteX62" fmla="*/ 1144927 w 4519987"/>
                    <a:gd name="connsiteY62" fmla="*/ 4171950 h 4496940"/>
                    <a:gd name="connsiteX63" fmla="*/ 1087777 w 4519987"/>
                    <a:gd name="connsiteY63" fmla="*/ 4143375 h 4496940"/>
                    <a:gd name="connsiteX64" fmla="*/ 1030627 w 4519987"/>
                    <a:gd name="connsiteY64" fmla="*/ 4124325 h 4496940"/>
                    <a:gd name="connsiteX65" fmla="*/ 925852 w 4519987"/>
                    <a:gd name="connsiteY65" fmla="*/ 4067175 h 4496940"/>
                    <a:gd name="connsiteX66" fmla="*/ 830602 w 4519987"/>
                    <a:gd name="connsiteY66" fmla="*/ 3981450 h 4496940"/>
                    <a:gd name="connsiteX67" fmla="*/ 763927 w 4519987"/>
                    <a:gd name="connsiteY67" fmla="*/ 3914775 h 4496940"/>
                    <a:gd name="connsiteX68" fmla="*/ 725827 w 4519987"/>
                    <a:gd name="connsiteY68" fmla="*/ 3876675 h 4496940"/>
                    <a:gd name="connsiteX69" fmla="*/ 697252 w 4519987"/>
                    <a:gd name="connsiteY69" fmla="*/ 3838575 h 4496940"/>
                    <a:gd name="connsiteX70" fmla="*/ 640102 w 4519987"/>
                    <a:gd name="connsiteY70" fmla="*/ 3781425 h 4496940"/>
                    <a:gd name="connsiteX71" fmla="*/ 611527 w 4519987"/>
                    <a:gd name="connsiteY71" fmla="*/ 3733800 h 4496940"/>
                    <a:gd name="connsiteX72" fmla="*/ 554377 w 4519987"/>
                    <a:gd name="connsiteY72" fmla="*/ 3657600 h 4496940"/>
                    <a:gd name="connsiteX73" fmla="*/ 525802 w 4519987"/>
                    <a:gd name="connsiteY73" fmla="*/ 3609975 h 4496940"/>
                    <a:gd name="connsiteX74" fmla="*/ 497227 w 4519987"/>
                    <a:gd name="connsiteY74" fmla="*/ 3552825 h 4496940"/>
                    <a:gd name="connsiteX75" fmla="*/ 440077 w 4519987"/>
                    <a:gd name="connsiteY75" fmla="*/ 3495675 h 4496940"/>
                    <a:gd name="connsiteX76" fmla="*/ 411502 w 4519987"/>
                    <a:gd name="connsiteY76" fmla="*/ 3448050 h 4496940"/>
                    <a:gd name="connsiteX77" fmla="*/ 278152 w 4519987"/>
                    <a:gd name="connsiteY77" fmla="*/ 3257550 h 4496940"/>
                    <a:gd name="connsiteX78" fmla="*/ 249577 w 4519987"/>
                    <a:gd name="connsiteY78" fmla="*/ 3200400 h 4496940"/>
                    <a:gd name="connsiteX79" fmla="*/ 240052 w 4519987"/>
                    <a:gd name="connsiteY79" fmla="*/ 3162300 h 4496940"/>
                    <a:gd name="connsiteX80" fmla="*/ 221002 w 4519987"/>
                    <a:gd name="connsiteY80" fmla="*/ 3105150 h 4496940"/>
                    <a:gd name="connsiteX81" fmla="*/ 173377 w 4519987"/>
                    <a:gd name="connsiteY81" fmla="*/ 3019425 h 4496940"/>
                    <a:gd name="connsiteX82" fmla="*/ 144802 w 4519987"/>
                    <a:gd name="connsiteY82" fmla="*/ 2924175 h 4496940"/>
                    <a:gd name="connsiteX83" fmla="*/ 68602 w 4519987"/>
                    <a:gd name="connsiteY83" fmla="*/ 2724150 h 4496940"/>
                    <a:gd name="connsiteX84" fmla="*/ 49552 w 4519987"/>
                    <a:gd name="connsiteY84" fmla="*/ 2638425 h 4496940"/>
                    <a:gd name="connsiteX85" fmla="*/ 40027 w 4519987"/>
                    <a:gd name="connsiteY85" fmla="*/ 2562225 h 4496940"/>
                    <a:gd name="connsiteX86" fmla="*/ 30502 w 4519987"/>
                    <a:gd name="connsiteY86" fmla="*/ 2514600 h 4496940"/>
                    <a:gd name="connsiteX87" fmla="*/ 11452 w 4519987"/>
                    <a:gd name="connsiteY87" fmla="*/ 2400300 h 4496940"/>
                    <a:gd name="connsiteX88" fmla="*/ 20977 w 4519987"/>
                    <a:gd name="connsiteY88" fmla="*/ 1905000 h 4496940"/>
                    <a:gd name="connsiteX89" fmla="*/ 30502 w 4519987"/>
                    <a:gd name="connsiteY89" fmla="*/ 1838325 h 4496940"/>
                    <a:gd name="connsiteX90" fmla="*/ 49552 w 4519987"/>
                    <a:gd name="connsiteY90" fmla="*/ 1781175 h 4496940"/>
                    <a:gd name="connsiteX91" fmla="*/ 59077 w 4519987"/>
                    <a:gd name="connsiteY91" fmla="*/ 1743075 h 4496940"/>
                    <a:gd name="connsiteX92" fmla="*/ 78127 w 4519987"/>
                    <a:gd name="connsiteY92" fmla="*/ 1685925 h 4496940"/>
                    <a:gd name="connsiteX93" fmla="*/ 87652 w 4519987"/>
                    <a:gd name="connsiteY93" fmla="*/ 1638300 h 4496940"/>
                    <a:gd name="connsiteX94" fmla="*/ 106702 w 4519987"/>
                    <a:gd name="connsiteY94" fmla="*/ 1590675 h 4496940"/>
                    <a:gd name="connsiteX95" fmla="*/ 135277 w 4519987"/>
                    <a:gd name="connsiteY95" fmla="*/ 1504950 h 4496940"/>
                    <a:gd name="connsiteX96" fmla="*/ 154327 w 4519987"/>
                    <a:gd name="connsiteY96" fmla="*/ 1419225 h 4496940"/>
                    <a:gd name="connsiteX97" fmla="*/ 230527 w 4519987"/>
                    <a:gd name="connsiteY97" fmla="*/ 1276350 h 4496940"/>
                    <a:gd name="connsiteX98" fmla="*/ 240052 w 4519987"/>
                    <a:gd name="connsiteY98" fmla="*/ 1247775 h 4496940"/>
                    <a:gd name="connsiteX99" fmla="*/ 268627 w 4519987"/>
                    <a:gd name="connsiteY99" fmla="*/ 1200150 h 4496940"/>
                    <a:gd name="connsiteX100" fmla="*/ 287677 w 4519987"/>
                    <a:gd name="connsiteY100" fmla="*/ 1152525 h 4496940"/>
                    <a:gd name="connsiteX101" fmla="*/ 316252 w 4519987"/>
                    <a:gd name="connsiteY101" fmla="*/ 1114425 h 4496940"/>
                    <a:gd name="connsiteX102" fmla="*/ 363877 w 4519987"/>
                    <a:gd name="connsiteY102" fmla="*/ 1038225 h 4496940"/>
                    <a:gd name="connsiteX103" fmla="*/ 382927 w 4519987"/>
                    <a:gd name="connsiteY103" fmla="*/ 1009650 h 4496940"/>
                    <a:gd name="connsiteX104" fmla="*/ 440077 w 4519987"/>
                    <a:gd name="connsiteY104" fmla="*/ 904875 h 4496940"/>
                    <a:gd name="connsiteX105" fmla="*/ 478177 w 4519987"/>
                    <a:gd name="connsiteY105" fmla="*/ 857250 h 4496940"/>
                    <a:gd name="connsiteX106" fmla="*/ 497227 w 4519987"/>
                    <a:gd name="connsiteY106" fmla="*/ 828675 h 4496940"/>
                    <a:gd name="connsiteX107" fmla="*/ 535327 w 4519987"/>
                    <a:gd name="connsiteY107" fmla="*/ 800100 h 4496940"/>
                    <a:gd name="connsiteX108" fmla="*/ 602002 w 4519987"/>
                    <a:gd name="connsiteY108" fmla="*/ 733425 h 4496940"/>
                    <a:gd name="connsiteX109" fmla="*/ 668677 w 4519987"/>
                    <a:gd name="connsiteY109" fmla="*/ 676275 h 4496940"/>
                    <a:gd name="connsiteX110" fmla="*/ 697252 w 4519987"/>
                    <a:gd name="connsiteY110" fmla="*/ 657225 h 4496940"/>
                    <a:gd name="connsiteX111" fmla="*/ 840127 w 4519987"/>
                    <a:gd name="connsiteY111" fmla="*/ 533400 h 4496940"/>
                    <a:gd name="connsiteX112" fmla="*/ 887752 w 4519987"/>
                    <a:gd name="connsiteY112" fmla="*/ 504825 h 4496940"/>
                    <a:gd name="connsiteX113" fmla="*/ 1167152 w 4519987"/>
                    <a:gd name="connsiteY113" fmla="*/ 311150 h 4496940"/>
                    <a:gd name="connsiteX114" fmla="*/ 1268752 w 4519987"/>
                    <a:gd name="connsiteY114" fmla="*/ 285750 h 4496940"/>
                    <a:gd name="connsiteX115" fmla="*/ 1411627 w 4519987"/>
                    <a:gd name="connsiteY115" fmla="*/ 190500 h 4496940"/>
                    <a:gd name="connsiteX116" fmla="*/ 1449727 w 4519987"/>
                    <a:gd name="connsiteY116" fmla="*/ 161925 h 4496940"/>
                    <a:gd name="connsiteX117" fmla="*/ 1525927 w 4519987"/>
                    <a:gd name="connsiteY117" fmla="*/ 152400 h 4496940"/>
                    <a:gd name="connsiteX118" fmla="*/ 1583077 w 4519987"/>
                    <a:gd name="connsiteY118" fmla="*/ 142875 h 4496940"/>
                    <a:gd name="connsiteX119" fmla="*/ 1716427 w 4519987"/>
                    <a:gd name="connsiteY119" fmla="*/ 123825 h 4496940"/>
                    <a:gd name="connsiteX120" fmla="*/ 1811677 w 4519987"/>
                    <a:gd name="connsiteY120" fmla="*/ 114300 h 4496940"/>
                    <a:gd name="connsiteX121" fmla="*/ 1859302 w 4519987"/>
                    <a:gd name="connsiteY121" fmla="*/ 104775 h 4496940"/>
                    <a:gd name="connsiteX122" fmla="*/ 1916452 w 4519987"/>
                    <a:gd name="connsiteY122" fmla="*/ 95250 h 4496940"/>
                    <a:gd name="connsiteX123" fmla="*/ 2030752 w 4519987"/>
                    <a:gd name="connsiteY123" fmla="*/ 66675 h 4496940"/>
                    <a:gd name="connsiteX124" fmla="*/ 2097427 w 4519987"/>
                    <a:gd name="connsiteY124" fmla="*/ 47625 h 4496940"/>
                    <a:gd name="connsiteX125" fmla="*/ 2164102 w 4519987"/>
                    <a:gd name="connsiteY125" fmla="*/ 38100 h 4496940"/>
                    <a:gd name="connsiteX126" fmla="*/ 2392702 w 4519987"/>
                    <a:gd name="connsiteY12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554752 w 4519987"/>
                    <a:gd name="connsiteY37" fmla="*/ 4095750 h 4496940"/>
                    <a:gd name="connsiteX38" fmla="*/ 3383302 w 4519987"/>
                    <a:gd name="connsiteY38" fmla="*/ 4210050 h 4496940"/>
                    <a:gd name="connsiteX39" fmla="*/ 3335677 w 4519987"/>
                    <a:gd name="connsiteY39" fmla="*/ 4238625 h 4496940"/>
                    <a:gd name="connsiteX40" fmla="*/ 3288052 w 4519987"/>
                    <a:gd name="connsiteY40" fmla="*/ 4248150 h 4496940"/>
                    <a:gd name="connsiteX41" fmla="*/ 3240427 w 4519987"/>
                    <a:gd name="connsiteY41" fmla="*/ 4267200 h 4496940"/>
                    <a:gd name="connsiteX42" fmla="*/ 3068977 w 4519987"/>
                    <a:gd name="connsiteY42" fmla="*/ 4286250 h 4496940"/>
                    <a:gd name="connsiteX43" fmla="*/ 2935627 w 4519987"/>
                    <a:gd name="connsiteY43" fmla="*/ 4333875 h 4496940"/>
                    <a:gd name="connsiteX44" fmla="*/ 2811802 w 4519987"/>
                    <a:gd name="connsiteY44" fmla="*/ 4371975 h 4496940"/>
                    <a:gd name="connsiteX45" fmla="*/ 2745127 w 4519987"/>
                    <a:gd name="connsiteY45" fmla="*/ 4410075 h 4496940"/>
                    <a:gd name="connsiteX46" fmla="*/ 2697502 w 4519987"/>
                    <a:gd name="connsiteY46" fmla="*/ 4429125 h 4496940"/>
                    <a:gd name="connsiteX47" fmla="*/ 2640352 w 4519987"/>
                    <a:gd name="connsiteY47" fmla="*/ 4457700 h 4496940"/>
                    <a:gd name="connsiteX48" fmla="*/ 2583202 w 4519987"/>
                    <a:gd name="connsiteY48" fmla="*/ 4467225 h 4496940"/>
                    <a:gd name="connsiteX49" fmla="*/ 2545102 w 4519987"/>
                    <a:gd name="connsiteY49" fmla="*/ 4486275 h 4496940"/>
                    <a:gd name="connsiteX50" fmla="*/ 2306977 w 4519987"/>
                    <a:gd name="connsiteY50" fmla="*/ 4476750 h 4496940"/>
                    <a:gd name="connsiteX51" fmla="*/ 2202202 w 4519987"/>
                    <a:gd name="connsiteY51" fmla="*/ 4457700 h 4496940"/>
                    <a:gd name="connsiteX52" fmla="*/ 2126002 w 4519987"/>
                    <a:gd name="connsiteY52" fmla="*/ 4429125 h 4496940"/>
                    <a:gd name="connsiteX53" fmla="*/ 1935502 w 4519987"/>
                    <a:gd name="connsiteY53" fmla="*/ 4400550 h 4496940"/>
                    <a:gd name="connsiteX54" fmla="*/ 1821202 w 4519987"/>
                    <a:gd name="connsiteY54" fmla="*/ 4371975 h 4496940"/>
                    <a:gd name="connsiteX55" fmla="*/ 1754527 w 4519987"/>
                    <a:gd name="connsiteY55" fmla="*/ 4352925 h 4496940"/>
                    <a:gd name="connsiteX56" fmla="*/ 1687852 w 4519987"/>
                    <a:gd name="connsiteY56" fmla="*/ 4343400 h 4496940"/>
                    <a:gd name="connsiteX57" fmla="*/ 1573552 w 4519987"/>
                    <a:gd name="connsiteY57" fmla="*/ 4305300 h 4496940"/>
                    <a:gd name="connsiteX58" fmla="*/ 1402102 w 4519987"/>
                    <a:gd name="connsiteY58" fmla="*/ 4276725 h 4496940"/>
                    <a:gd name="connsiteX59" fmla="*/ 1287802 w 4519987"/>
                    <a:gd name="connsiteY59" fmla="*/ 4229100 h 4496940"/>
                    <a:gd name="connsiteX60" fmla="*/ 1221127 w 4519987"/>
                    <a:gd name="connsiteY60" fmla="*/ 4200525 h 4496940"/>
                    <a:gd name="connsiteX61" fmla="*/ 1144927 w 4519987"/>
                    <a:gd name="connsiteY61" fmla="*/ 4171950 h 4496940"/>
                    <a:gd name="connsiteX62" fmla="*/ 1087777 w 4519987"/>
                    <a:gd name="connsiteY62" fmla="*/ 4143375 h 4496940"/>
                    <a:gd name="connsiteX63" fmla="*/ 1030627 w 4519987"/>
                    <a:gd name="connsiteY63" fmla="*/ 4124325 h 4496940"/>
                    <a:gd name="connsiteX64" fmla="*/ 925852 w 4519987"/>
                    <a:gd name="connsiteY64" fmla="*/ 4067175 h 4496940"/>
                    <a:gd name="connsiteX65" fmla="*/ 830602 w 4519987"/>
                    <a:gd name="connsiteY65" fmla="*/ 3981450 h 4496940"/>
                    <a:gd name="connsiteX66" fmla="*/ 763927 w 4519987"/>
                    <a:gd name="connsiteY66" fmla="*/ 3914775 h 4496940"/>
                    <a:gd name="connsiteX67" fmla="*/ 725827 w 4519987"/>
                    <a:gd name="connsiteY67" fmla="*/ 3876675 h 4496940"/>
                    <a:gd name="connsiteX68" fmla="*/ 697252 w 4519987"/>
                    <a:gd name="connsiteY68" fmla="*/ 3838575 h 4496940"/>
                    <a:gd name="connsiteX69" fmla="*/ 640102 w 4519987"/>
                    <a:gd name="connsiteY69" fmla="*/ 3781425 h 4496940"/>
                    <a:gd name="connsiteX70" fmla="*/ 611527 w 4519987"/>
                    <a:gd name="connsiteY70" fmla="*/ 3733800 h 4496940"/>
                    <a:gd name="connsiteX71" fmla="*/ 554377 w 4519987"/>
                    <a:gd name="connsiteY71" fmla="*/ 3657600 h 4496940"/>
                    <a:gd name="connsiteX72" fmla="*/ 525802 w 4519987"/>
                    <a:gd name="connsiteY72" fmla="*/ 3609975 h 4496940"/>
                    <a:gd name="connsiteX73" fmla="*/ 497227 w 4519987"/>
                    <a:gd name="connsiteY73" fmla="*/ 3552825 h 4496940"/>
                    <a:gd name="connsiteX74" fmla="*/ 440077 w 4519987"/>
                    <a:gd name="connsiteY74" fmla="*/ 3495675 h 4496940"/>
                    <a:gd name="connsiteX75" fmla="*/ 411502 w 4519987"/>
                    <a:gd name="connsiteY75" fmla="*/ 3448050 h 4496940"/>
                    <a:gd name="connsiteX76" fmla="*/ 278152 w 4519987"/>
                    <a:gd name="connsiteY76" fmla="*/ 3257550 h 4496940"/>
                    <a:gd name="connsiteX77" fmla="*/ 249577 w 4519987"/>
                    <a:gd name="connsiteY77" fmla="*/ 3200400 h 4496940"/>
                    <a:gd name="connsiteX78" fmla="*/ 240052 w 4519987"/>
                    <a:gd name="connsiteY78" fmla="*/ 3162300 h 4496940"/>
                    <a:gd name="connsiteX79" fmla="*/ 221002 w 4519987"/>
                    <a:gd name="connsiteY79" fmla="*/ 3105150 h 4496940"/>
                    <a:gd name="connsiteX80" fmla="*/ 173377 w 4519987"/>
                    <a:gd name="connsiteY80" fmla="*/ 3019425 h 4496940"/>
                    <a:gd name="connsiteX81" fmla="*/ 144802 w 4519987"/>
                    <a:gd name="connsiteY81" fmla="*/ 2924175 h 4496940"/>
                    <a:gd name="connsiteX82" fmla="*/ 68602 w 4519987"/>
                    <a:gd name="connsiteY82" fmla="*/ 2724150 h 4496940"/>
                    <a:gd name="connsiteX83" fmla="*/ 49552 w 4519987"/>
                    <a:gd name="connsiteY83" fmla="*/ 2638425 h 4496940"/>
                    <a:gd name="connsiteX84" fmla="*/ 40027 w 4519987"/>
                    <a:gd name="connsiteY84" fmla="*/ 2562225 h 4496940"/>
                    <a:gd name="connsiteX85" fmla="*/ 30502 w 4519987"/>
                    <a:gd name="connsiteY85" fmla="*/ 2514600 h 4496940"/>
                    <a:gd name="connsiteX86" fmla="*/ 11452 w 4519987"/>
                    <a:gd name="connsiteY86" fmla="*/ 2400300 h 4496940"/>
                    <a:gd name="connsiteX87" fmla="*/ 20977 w 4519987"/>
                    <a:gd name="connsiteY87" fmla="*/ 1905000 h 4496940"/>
                    <a:gd name="connsiteX88" fmla="*/ 30502 w 4519987"/>
                    <a:gd name="connsiteY88" fmla="*/ 1838325 h 4496940"/>
                    <a:gd name="connsiteX89" fmla="*/ 49552 w 4519987"/>
                    <a:gd name="connsiteY89" fmla="*/ 1781175 h 4496940"/>
                    <a:gd name="connsiteX90" fmla="*/ 59077 w 4519987"/>
                    <a:gd name="connsiteY90" fmla="*/ 1743075 h 4496940"/>
                    <a:gd name="connsiteX91" fmla="*/ 78127 w 4519987"/>
                    <a:gd name="connsiteY91" fmla="*/ 1685925 h 4496940"/>
                    <a:gd name="connsiteX92" fmla="*/ 87652 w 4519987"/>
                    <a:gd name="connsiteY92" fmla="*/ 1638300 h 4496940"/>
                    <a:gd name="connsiteX93" fmla="*/ 106702 w 4519987"/>
                    <a:gd name="connsiteY93" fmla="*/ 1590675 h 4496940"/>
                    <a:gd name="connsiteX94" fmla="*/ 135277 w 4519987"/>
                    <a:gd name="connsiteY94" fmla="*/ 1504950 h 4496940"/>
                    <a:gd name="connsiteX95" fmla="*/ 154327 w 4519987"/>
                    <a:gd name="connsiteY95" fmla="*/ 1419225 h 4496940"/>
                    <a:gd name="connsiteX96" fmla="*/ 230527 w 4519987"/>
                    <a:gd name="connsiteY96" fmla="*/ 1276350 h 4496940"/>
                    <a:gd name="connsiteX97" fmla="*/ 240052 w 4519987"/>
                    <a:gd name="connsiteY97" fmla="*/ 1247775 h 4496940"/>
                    <a:gd name="connsiteX98" fmla="*/ 268627 w 4519987"/>
                    <a:gd name="connsiteY98" fmla="*/ 1200150 h 4496940"/>
                    <a:gd name="connsiteX99" fmla="*/ 287677 w 4519987"/>
                    <a:gd name="connsiteY99" fmla="*/ 1152525 h 4496940"/>
                    <a:gd name="connsiteX100" fmla="*/ 316252 w 4519987"/>
                    <a:gd name="connsiteY100" fmla="*/ 1114425 h 4496940"/>
                    <a:gd name="connsiteX101" fmla="*/ 363877 w 4519987"/>
                    <a:gd name="connsiteY101" fmla="*/ 1038225 h 4496940"/>
                    <a:gd name="connsiteX102" fmla="*/ 382927 w 4519987"/>
                    <a:gd name="connsiteY102" fmla="*/ 1009650 h 4496940"/>
                    <a:gd name="connsiteX103" fmla="*/ 440077 w 4519987"/>
                    <a:gd name="connsiteY103" fmla="*/ 904875 h 4496940"/>
                    <a:gd name="connsiteX104" fmla="*/ 478177 w 4519987"/>
                    <a:gd name="connsiteY104" fmla="*/ 857250 h 4496940"/>
                    <a:gd name="connsiteX105" fmla="*/ 497227 w 4519987"/>
                    <a:gd name="connsiteY105" fmla="*/ 828675 h 4496940"/>
                    <a:gd name="connsiteX106" fmla="*/ 535327 w 4519987"/>
                    <a:gd name="connsiteY106" fmla="*/ 800100 h 4496940"/>
                    <a:gd name="connsiteX107" fmla="*/ 602002 w 4519987"/>
                    <a:gd name="connsiteY107" fmla="*/ 733425 h 4496940"/>
                    <a:gd name="connsiteX108" fmla="*/ 668677 w 4519987"/>
                    <a:gd name="connsiteY108" fmla="*/ 676275 h 4496940"/>
                    <a:gd name="connsiteX109" fmla="*/ 697252 w 4519987"/>
                    <a:gd name="connsiteY109" fmla="*/ 657225 h 4496940"/>
                    <a:gd name="connsiteX110" fmla="*/ 840127 w 4519987"/>
                    <a:gd name="connsiteY110" fmla="*/ 533400 h 4496940"/>
                    <a:gd name="connsiteX111" fmla="*/ 887752 w 4519987"/>
                    <a:gd name="connsiteY111" fmla="*/ 504825 h 4496940"/>
                    <a:gd name="connsiteX112" fmla="*/ 1167152 w 4519987"/>
                    <a:gd name="connsiteY112" fmla="*/ 311150 h 4496940"/>
                    <a:gd name="connsiteX113" fmla="*/ 1268752 w 4519987"/>
                    <a:gd name="connsiteY113" fmla="*/ 285750 h 4496940"/>
                    <a:gd name="connsiteX114" fmla="*/ 1411627 w 4519987"/>
                    <a:gd name="connsiteY114" fmla="*/ 190500 h 4496940"/>
                    <a:gd name="connsiteX115" fmla="*/ 1449727 w 4519987"/>
                    <a:gd name="connsiteY115" fmla="*/ 161925 h 4496940"/>
                    <a:gd name="connsiteX116" fmla="*/ 1525927 w 4519987"/>
                    <a:gd name="connsiteY116" fmla="*/ 152400 h 4496940"/>
                    <a:gd name="connsiteX117" fmla="*/ 1583077 w 4519987"/>
                    <a:gd name="connsiteY117" fmla="*/ 142875 h 4496940"/>
                    <a:gd name="connsiteX118" fmla="*/ 1716427 w 4519987"/>
                    <a:gd name="connsiteY118" fmla="*/ 123825 h 4496940"/>
                    <a:gd name="connsiteX119" fmla="*/ 1811677 w 4519987"/>
                    <a:gd name="connsiteY119" fmla="*/ 114300 h 4496940"/>
                    <a:gd name="connsiteX120" fmla="*/ 1859302 w 4519987"/>
                    <a:gd name="connsiteY120" fmla="*/ 104775 h 4496940"/>
                    <a:gd name="connsiteX121" fmla="*/ 1916452 w 4519987"/>
                    <a:gd name="connsiteY121" fmla="*/ 95250 h 4496940"/>
                    <a:gd name="connsiteX122" fmla="*/ 2030752 w 4519987"/>
                    <a:gd name="connsiteY122" fmla="*/ 66675 h 4496940"/>
                    <a:gd name="connsiteX123" fmla="*/ 2097427 w 4519987"/>
                    <a:gd name="connsiteY123" fmla="*/ 47625 h 4496940"/>
                    <a:gd name="connsiteX124" fmla="*/ 2164102 w 4519987"/>
                    <a:gd name="connsiteY124" fmla="*/ 38100 h 4496940"/>
                    <a:gd name="connsiteX125" fmla="*/ 2392702 w 4519987"/>
                    <a:gd name="connsiteY12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54752 w 4519987"/>
                    <a:gd name="connsiteY36" fmla="*/ 40957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88052 w 4519987"/>
                    <a:gd name="connsiteY38" fmla="*/ 4248150 h 4496940"/>
                    <a:gd name="connsiteX39" fmla="*/ 3240427 w 4519987"/>
                    <a:gd name="connsiteY39" fmla="*/ 4267200 h 4496940"/>
                    <a:gd name="connsiteX40" fmla="*/ 3068977 w 4519987"/>
                    <a:gd name="connsiteY40" fmla="*/ 4286250 h 4496940"/>
                    <a:gd name="connsiteX41" fmla="*/ 2935627 w 4519987"/>
                    <a:gd name="connsiteY41" fmla="*/ 4333875 h 4496940"/>
                    <a:gd name="connsiteX42" fmla="*/ 2811802 w 4519987"/>
                    <a:gd name="connsiteY42" fmla="*/ 4371975 h 4496940"/>
                    <a:gd name="connsiteX43" fmla="*/ 2745127 w 4519987"/>
                    <a:gd name="connsiteY43" fmla="*/ 4410075 h 4496940"/>
                    <a:gd name="connsiteX44" fmla="*/ 2697502 w 4519987"/>
                    <a:gd name="connsiteY44" fmla="*/ 4429125 h 4496940"/>
                    <a:gd name="connsiteX45" fmla="*/ 2640352 w 4519987"/>
                    <a:gd name="connsiteY45" fmla="*/ 4457700 h 4496940"/>
                    <a:gd name="connsiteX46" fmla="*/ 2583202 w 4519987"/>
                    <a:gd name="connsiteY46" fmla="*/ 4467225 h 4496940"/>
                    <a:gd name="connsiteX47" fmla="*/ 2545102 w 4519987"/>
                    <a:gd name="connsiteY47" fmla="*/ 4486275 h 4496940"/>
                    <a:gd name="connsiteX48" fmla="*/ 2306977 w 4519987"/>
                    <a:gd name="connsiteY48" fmla="*/ 4476750 h 4496940"/>
                    <a:gd name="connsiteX49" fmla="*/ 2202202 w 4519987"/>
                    <a:gd name="connsiteY49" fmla="*/ 4457700 h 4496940"/>
                    <a:gd name="connsiteX50" fmla="*/ 2126002 w 4519987"/>
                    <a:gd name="connsiteY50" fmla="*/ 4429125 h 4496940"/>
                    <a:gd name="connsiteX51" fmla="*/ 1935502 w 4519987"/>
                    <a:gd name="connsiteY51" fmla="*/ 4400550 h 4496940"/>
                    <a:gd name="connsiteX52" fmla="*/ 1821202 w 4519987"/>
                    <a:gd name="connsiteY52" fmla="*/ 4371975 h 4496940"/>
                    <a:gd name="connsiteX53" fmla="*/ 1754527 w 4519987"/>
                    <a:gd name="connsiteY53" fmla="*/ 4352925 h 4496940"/>
                    <a:gd name="connsiteX54" fmla="*/ 1687852 w 4519987"/>
                    <a:gd name="connsiteY54" fmla="*/ 4343400 h 4496940"/>
                    <a:gd name="connsiteX55" fmla="*/ 1573552 w 4519987"/>
                    <a:gd name="connsiteY55" fmla="*/ 4305300 h 4496940"/>
                    <a:gd name="connsiteX56" fmla="*/ 1402102 w 4519987"/>
                    <a:gd name="connsiteY56" fmla="*/ 4276725 h 4496940"/>
                    <a:gd name="connsiteX57" fmla="*/ 1287802 w 4519987"/>
                    <a:gd name="connsiteY57" fmla="*/ 4229100 h 4496940"/>
                    <a:gd name="connsiteX58" fmla="*/ 1221127 w 4519987"/>
                    <a:gd name="connsiteY58" fmla="*/ 4200525 h 4496940"/>
                    <a:gd name="connsiteX59" fmla="*/ 1144927 w 4519987"/>
                    <a:gd name="connsiteY59" fmla="*/ 4171950 h 4496940"/>
                    <a:gd name="connsiteX60" fmla="*/ 1087777 w 4519987"/>
                    <a:gd name="connsiteY60" fmla="*/ 4143375 h 4496940"/>
                    <a:gd name="connsiteX61" fmla="*/ 1030627 w 4519987"/>
                    <a:gd name="connsiteY61" fmla="*/ 4124325 h 4496940"/>
                    <a:gd name="connsiteX62" fmla="*/ 925852 w 4519987"/>
                    <a:gd name="connsiteY62" fmla="*/ 4067175 h 4496940"/>
                    <a:gd name="connsiteX63" fmla="*/ 830602 w 4519987"/>
                    <a:gd name="connsiteY63" fmla="*/ 3981450 h 4496940"/>
                    <a:gd name="connsiteX64" fmla="*/ 763927 w 4519987"/>
                    <a:gd name="connsiteY64" fmla="*/ 3914775 h 4496940"/>
                    <a:gd name="connsiteX65" fmla="*/ 725827 w 4519987"/>
                    <a:gd name="connsiteY65" fmla="*/ 3876675 h 4496940"/>
                    <a:gd name="connsiteX66" fmla="*/ 697252 w 4519987"/>
                    <a:gd name="connsiteY66" fmla="*/ 3838575 h 4496940"/>
                    <a:gd name="connsiteX67" fmla="*/ 640102 w 4519987"/>
                    <a:gd name="connsiteY67" fmla="*/ 3781425 h 4496940"/>
                    <a:gd name="connsiteX68" fmla="*/ 611527 w 4519987"/>
                    <a:gd name="connsiteY68" fmla="*/ 3733800 h 4496940"/>
                    <a:gd name="connsiteX69" fmla="*/ 554377 w 4519987"/>
                    <a:gd name="connsiteY69" fmla="*/ 3657600 h 4496940"/>
                    <a:gd name="connsiteX70" fmla="*/ 525802 w 4519987"/>
                    <a:gd name="connsiteY70" fmla="*/ 3609975 h 4496940"/>
                    <a:gd name="connsiteX71" fmla="*/ 497227 w 4519987"/>
                    <a:gd name="connsiteY71" fmla="*/ 3552825 h 4496940"/>
                    <a:gd name="connsiteX72" fmla="*/ 440077 w 4519987"/>
                    <a:gd name="connsiteY72" fmla="*/ 3495675 h 4496940"/>
                    <a:gd name="connsiteX73" fmla="*/ 411502 w 4519987"/>
                    <a:gd name="connsiteY73" fmla="*/ 3448050 h 4496940"/>
                    <a:gd name="connsiteX74" fmla="*/ 278152 w 4519987"/>
                    <a:gd name="connsiteY74" fmla="*/ 3257550 h 4496940"/>
                    <a:gd name="connsiteX75" fmla="*/ 249577 w 4519987"/>
                    <a:gd name="connsiteY75" fmla="*/ 3200400 h 4496940"/>
                    <a:gd name="connsiteX76" fmla="*/ 240052 w 4519987"/>
                    <a:gd name="connsiteY76" fmla="*/ 3162300 h 4496940"/>
                    <a:gd name="connsiteX77" fmla="*/ 221002 w 4519987"/>
                    <a:gd name="connsiteY77" fmla="*/ 3105150 h 4496940"/>
                    <a:gd name="connsiteX78" fmla="*/ 173377 w 4519987"/>
                    <a:gd name="connsiteY78" fmla="*/ 3019425 h 4496940"/>
                    <a:gd name="connsiteX79" fmla="*/ 144802 w 4519987"/>
                    <a:gd name="connsiteY79" fmla="*/ 2924175 h 4496940"/>
                    <a:gd name="connsiteX80" fmla="*/ 68602 w 4519987"/>
                    <a:gd name="connsiteY80" fmla="*/ 2724150 h 4496940"/>
                    <a:gd name="connsiteX81" fmla="*/ 49552 w 4519987"/>
                    <a:gd name="connsiteY81" fmla="*/ 2638425 h 4496940"/>
                    <a:gd name="connsiteX82" fmla="*/ 40027 w 4519987"/>
                    <a:gd name="connsiteY82" fmla="*/ 2562225 h 4496940"/>
                    <a:gd name="connsiteX83" fmla="*/ 30502 w 4519987"/>
                    <a:gd name="connsiteY83" fmla="*/ 2514600 h 4496940"/>
                    <a:gd name="connsiteX84" fmla="*/ 11452 w 4519987"/>
                    <a:gd name="connsiteY84" fmla="*/ 2400300 h 4496940"/>
                    <a:gd name="connsiteX85" fmla="*/ 20977 w 4519987"/>
                    <a:gd name="connsiteY85" fmla="*/ 1905000 h 4496940"/>
                    <a:gd name="connsiteX86" fmla="*/ 30502 w 4519987"/>
                    <a:gd name="connsiteY86" fmla="*/ 1838325 h 4496940"/>
                    <a:gd name="connsiteX87" fmla="*/ 49552 w 4519987"/>
                    <a:gd name="connsiteY87" fmla="*/ 1781175 h 4496940"/>
                    <a:gd name="connsiteX88" fmla="*/ 59077 w 4519987"/>
                    <a:gd name="connsiteY88" fmla="*/ 1743075 h 4496940"/>
                    <a:gd name="connsiteX89" fmla="*/ 78127 w 4519987"/>
                    <a:gd name="connsiteY89" fmla="*/ 1685925 h 4496940"/>
                    <a:gd name="connsiteX90" fmla="*/ 87652 w 4519987"/>
                    <a:gd name="connsiteY90" fmla="*/ 1638300 h 4496940"/>
                    <a:gd name="connsiteX91" fmla="*/ 106702 w 4519987"/>
                    <a:gd name="connsiteY91" fmla="*/ 1590675 h 4496940"/>
                    <a:gd name="connsiteX92" fmla="*/ 135277 w 4519987"/>
                    <a:gd name="connsiteY92" fmla="*/ 1504950 h 4496940"/>
                    <a:gd name="connsiteX93" fmla="*/ 154327 w 4519987"/>
                    <a:gd name="connsiteY93" fmla="*/ 1419225 h 4496940"/>
                    <a:gd name="connsiteX94" fmla="*/ 230527 w 4519987"/>
                    <a:gd name="connsiteY94" fmla="*/ 1276350 h 4496940"/>
                    <a:gd name="connsiteX95" fmla="*/ 240052 w 4519987"/>
                    <a:gd name="connsiteY95" fmla="*/ 1247775 h 4496940"/>
                    <a:gd name="connsiteX96" fmla="*/ 268627 w 4519987"/>
                    <a:gd name="connsiteY96" fmla="*/ 1200150 h 4496940"/>
                    <a:gd name="connsiteX97" fmla="*/ 287677 w 4519987"/>
                    <a:gd name="connsiteY97" fmla="*/ 1152525 h 4496940"/>
                    <a:gd name="connsiteX98" fmla="*/ 316252 w 4519987"/>
                    <a:gd name="connsiteY98" fmla="*/ 1114425 h 4496940"/>
                    <a:gd name="connsiteX99" fmla="*/ 363877 w 4519987"/>
                    <a:gd name="connsiteY99" fmla="*/ 1038225 h 4496940"/>
                    <a:gd name="connsiteX100" fmla="*/ 382927 w 4519987"/>
                    <a:gd name="connsiteY100" fmla="*/ 1009650 h 4496940"/>
                    <a:gd name="connsiteX101" fmla="*/ 440077 w 4519987"/>
                    <a:gd name="connsiteY101" fmla="*/ 904875 h 4496940"/>
                    <a:gd name="connsiteX102" fmla="*/ 478177 w 4519987"/>
                    <a:gd name="connsiteY102" fmla="*/ 857250 h 4496940"/>
                    <a:gd name="connsiteX103" fmla="*/ 497227 w 4519987"/>
                    <a:gd name="connsiteY103" fmla="*/ 828675 h 4496940"/>
                    <a:gd name="connsiteX104" fmla="*/ 535327 w 4519987"/>
                    <a:gd name="connsiteY104" fmla="*/ 800100 h 4496940"/>
                    <a:gd name="connsiteX105" fmla="*/ 602002 w 4519987"/>
                    <a:gd name="connsiteY105" fmla="*/ 733425 h 4496940"/>
                    <a:gd name="connsiteX106" fmla="*/ 668677 w 4519987"/>
                    <a:gd name="connsiteY106" fmla="*/ 676275 h 4496940"/>
                    <a:gd name="connsiteX107" fmla="*/ 697252 w 4519987"/>
                    <a:gd name="connsiteY107" fmla="*/ 657225 h 4496940"/>
                    <a:gd name="connsiteX108" fmla="*/ 840127 w 4519987"/>
                    <a:gd name="connsiteY108" fmla="*/ 533400 h 4496940"/>
                    <a:gd name="connsiteX109" fmla="*/ 887752 w 4519987"/>
                    <a:gd name="connsiteY109" fmla="*/ 504825 h 4496940"/>
                    <a:gd name="connsiteX110" fmla="*/ 1167152 w 4519987"/>
                    <a:gd name="connsiteY110" fmla="*/ 311150 h 4496940"/>
                    <a:gd name="connsiteX111" fmla="*/ 1268752 w 4519987"/>
                    <a:gd name="connsiteY111" fmla="*/ 285750 h 4496940"/>
                    <a:gd name="connsiteX112" fmla="*/ 1411627 w 4519987"/>
                    <a:gd name="connsiteY112" fmla="*/ 190500 h 4496940"/>
                    <a:gd name="connsiteX113" fmla="*/ 1449727 w 4519987"/>
                    <a:gd name="connsiteY113" fmla="*/ 161925 h 4496940"/>
                    <a:gd name="connsiteX114" fmla="*/ 1525927 w 4519987"/>
                    <a:gd name="connsiteY114" fmla="*/ 152400 h 4496940"/>
                    <a:gd name="connsiteX115" fmla="*/ 1583077 w 4519987"/>
                    <a:gd name="connsiteY115" fmla="*/ 142875 h 4496940"/>
                    <a:gd name="connsiteX116" fmla="*/ 1716427 w 4519987"/>
                    <a:gd name="connsiteY116" fmla="*/ 123825 h 4496940"/>
                    <a:gd name="connsiteX117" fmla="*/ 1811677 w 4519987"/>
                    <a:gd name="connsiteY117" fmla="*/ 114300 h 4496940"/>
                    <a:gd name="connsiteX118" fmla="*/ 1859302 w 4519987"/>
                    <a:gd name="connsiteY118" fmla="*/ 104775 h 4496940"/>
                    <a:gd name="connsiteX119" fmla="*/ 1916452 w 4519987"/>
                    <a:gd name="connsiteY119" fmla="*/ 95250 h 4496940"/>
                    <a:gd name="connsiteX120" fmla="*/ 2030752 w 4519987"/>
                    <a:gd name="connsiteY120" fmla="*/ 66675 h 4496940"/>
                    <a:gd name="connsiteX121" fmla="*/ 2097427 w 4519987"/>
                    <a:gd name="connsiteY121" fmla="*/ 47625 h 4496940"/>
                    <a:gd name="connsiteX122" fmla="*/ 2164102 w 4519987"/>
                    <a:gd name="connsiteY122" fmla="*/ 38100 h 4496940"/>
                    <a:gd name="connsiteX123" fmla="*/ 2392702 w 4519987"/>
                    <a:gd name="connsiteY12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40427 w 4519987"/>
                    <a:gd name="connsiteY38" fmla="*/ 4267200 h 4496940"/>
                    <a:gd name="connsiteX39" fmla="*/ 3068977 w 4519987"/>
                    <a:gd name="connsiteY39" fmla="*/ 4286250 h 4496940"/>
                    <a:gd name="connsiteX40" fmla="*/ 2935627 w 4519987"/>
                    <a:gd name="connsiteY40" fmla="*/ 4333875 h 4496940"/>
                    <a:gd name="connsiteX41" fmla="*/ 2811802 w 4519987"/>
                    <a:gd name="connsiteY41" fmla="*/ 4371975 h 4496940"/>
                    <a:gd name="connsiteX42" fmla="*/ 2745127 w 4519987"/>
                    <a:gd name="connsiteY42" fmla="*/ 4410075 h 4496940"/>
                    <a:gd name="connsiteX43" fmla="*/ 2697502 w 4519987"/>
                    <a:gd name="connsiteY43" fmla="*/ 4429125 h 4496940"/>
                    <a:gd name="connsiteX44" fmla="*/ 2640352 w 4519987"/>
                    <a:gd name="connsiteY44" fmla="*/ 4457700 h 4496940"/>
                    <a:gd name="connsiteX45" fmla="*/ 2583202 w 4519987"/>
                    <a:gd name="connsiteY45" fmla="*/ 4467225 h 4496940"/>
                    <a:gd name="connsiteX46" fmla="*/ 2545102 w 4519987"/>
                    <a:gd name="connsiteY46" fmla="*/ 4486275 h 4496940"/>
                    <a:gd name="connsiteX47" fmla="*/ 2306977 w 4519987"/>
                    <a:gd name="connsiteY47" fmla="*/ 4476750 h 4496940"/>
                    <a:gd name="connsiteX48" fmla="*/ 2202202 w 4519987"/>
                    <a:gd name="connsiteY48" fmla="*/ 4457700 h 4496940"/>
                    <a:gd name="connsiteX49" fmla="*/ 2126002 w 4519987"/>
                    <a:gd name="connsiteY49" fmla="*/ 4429125 h 4496940"/>
                    <a:gd name="connsiteX50" fmla="*/ 1935502 w 4519987"/>
                    <a:gd name="connsiteY50" fmla="*/ 4400550 h 4496940"/>
                    <a:gd name="connsiteX51" fmla="*/ 1821202 w 4519987"/>
                    <a:gd name="connsiteY51" fmla="*/ 4371975 h 4496940"/>
                    <a:gd name="connsiteX52" fmla="*/ 1754527 w 4519987"/>
                    <a:gd name="connsiteY52" fmla="*/ 4352925 h 4496940"/>
                    <a:gd name="connsiteX53" fmla="*/ 1687852 w 4519987"/>
                    <a:gd name="connsiteY53" fmla="*/ 4343400 h 4496940"/>
                    <a:gd name="connsiteX54" fmla="*/ 1573552 w 4519987"/>
                    <a:gd name="connsiteY54" fmla="*/ 4305300 h 4496940"/>
                    <a:gd name="connsiteX55" fmla="*/ 1402102 w 4519987"/>
                    <a:gd name="connsiteY55" fmla="*/ 4276725 h 4496940"/>
                    <a:gd name="connsiteX56" fmla="*/ 1287802 w 4519987"/>
                    <a:gd name="connsiteY56" fmla="*/ 4229100 h 4496940"/>
                    <a:gd name="connsiteX57" fmla="*/ 1221127 w 4519987"/>
                    <a:gd name="connsiteY57" fmla="*/ 4200525 h 4496940"/>
                    <a:gd name="connsiteX58" fmla="*/ 1144927 w 4519987"/>
                    <a:gd name="connsiteY58" fmla="*/ 4171950 h 4496940"/>
                    <a:gd name="connsiteX59" fmla="*/ 1087777 w 4519987"/>
                    <a:gd name="connsiteY59" fmla="*/ 4143375 h 4496940"/>
                    <a:gd name="connsiteX60" fmla="*/ 1030627 w 4519987"/>
                    <a:gd name="connsiteY60" fmla="*/ 4124325 h 4496940"/>
                    <a:gd name="connsiteX61" fmla="*/ 925852 w 4519987"/>
                    <a:gd name="connsiteY61" fmla="*/ 4067175 h 4496940"/>
                    <a:gd name="connsiteX62" fmla="*/ 830602 w 4519987"/>
                    <a:gd name="connsiteY62" fmla="*/ 3981450 h 4496940"/>
                    <a:gd name="connsiteX63" fmla="*/ 763927 w 4519987"/>
                    <a:gd name="connsiteY63" fmla="*/ 3914775 h 4496940"/>
                    <a:gd name="connsiteX64" fmla="*/ 725827 w 4519987"/>
                    <a:gd name="connsiteY64" fmla="*/ 3876675 h 4496940"/>
                    <a:gd name="connsiteX65" fmla="*/ 697252 w 4519987"/>
                    <a:gd name="connsiteY65" fmla="*/ 3838575 h 4496940"/>
                    <a:gd name="connsiteX66" fmla="*/ 640102 w 4519987"/>
                    <a:gd name="connsiteY66" fmla="*/ 3781425 h 4496940"/>
                    <a:gd name="connsiteX67" fmla="*/ 611527 w 4519987"/>
                    <a:gd name="connsiteY67" fmla="*/ 3733800 h 4496940"/>
                    <a:gd name="connsiteX68" fmla="*/ 554377 w 4519987"/>
                    <a:gd name="connsiteY68" fmla="*/ 3657600 h 4496940"/>
                    <a:gd name="connsiteX69" fmla="*/ 525802 w 4519987"/>
                    <a:gd name="connsiteY69" fmla="*/ 3609975 h 4496940"/>
                    <a:gd name="connsiteX70" fmla="*/ 497227 w 4519987"/>
                    <a:gd name="connsiteY70" fmla="*/ 3552825 h 4496940"/>
                    <a:gd name="connsiteX71" fmla="*/ 440077 w 4519987"/>
                    <a:gd name="connsiteY71" fmla="*/ 3495675 h 4496940"/>
                    <a:gd name="connsiteX72" fmla="*/ 411502 w 4519987"/>
                    <a:gd name="connsiteY72" fmla="*/ 3448050 h 4496940"/>
                    <a:gd name="connsiteX73" fmla="*/ 278152 w 4519987"/>
                    <a:gd name="connsiteY73" fmla="*/ 3257550 h 4496940"/>
                    <a:gd name="connsiteX74" fmla="*/ 249577 w 4519987"/>
                    <a:gd name="connsiteY74" fmla="*/ 3200400 h 4496940"/>
                    <a:gd name="connsiteX75" fmla="*/ 240052 w 4519987"/>
                    <a:gd name="connsiteY75" fmla="*/ 3162300 h 4496940"/>
                    <a:gd name="connsiteX76" fmla="*/ 221002 w 4519987"/>
                    <a:gd name="connsiteY76" fmla="*/ 3105150 h 4496940"/>
                    <a:gd name="connsiteX77" fmla="*/ 173377 w 4519987"/>
                    <a:gd name="connsiteY77" fmla="*/ 3019425 h 4496940"/>
                    <a:gd name="connsiteX78" fmla="*/ 144802 w 4519987"/>
                    <a:gd name="connsiteY78" fmla="*/ 2924175 h 4496940"/>
                    <a:gd name="connsiteX79" fmla="*/ 68602 w 4519987"/>
                    <a:gd name="connsiteY79" fmla="*/ 2724150 h 4496940"/>
                    <a:gd name="connsiteX80" fmla="*/ 49552 w 4519987"/>
                    <a:gd name="connsiteY80" fmla="*/ 2638425 h 4496940"/>
                    <a:gd name="connsiteX81" fmla="*/ 40027 w 4519987"/>
                    <a:gd name="connsiteY81" fmla="*/ 2562225 h 4496940"/>
                    <a:gd name="connsiteX82" fmla="*/ 30502 w 4519987"/>
                    <a:gd name="connsiteY82" fmla="*/ 2514600 h 4496940"/>
                    <a:gd name="connsiteX83" fmla="*/ 11452 w 4519987"/>
                    <a:gd name="connsiteY83" fmla="*/ 2400300 h 4496940"/>
                    <a:gd name="connsiteX84" fmla="*/ 20977 w 4519987"/>
                    <a:gd name="connsiteY84" fmla="*/ 1905000 h 4496940"/>
                    <a:gd name="connsiteX85" fmla="*/ 30502 w 4519987"/>
                    <a:gd name="connsiteY85" fmla="*/ 1838325 h 4496940"/>
                    <a:gd name="connsiteX86" fmla="*/ 49552 w 4519987"/>
                    <a:gd name="connsiteY86" fmla="*/ 1781175 h 4496940"/>
                    <a:gd name="connsiteX87" fmla="*/ 59077 w 4519987"/>
                    <a:gd name="connsiteY87" fmla="*/ 1743075 h 4496940"/>
                    <a:gd name="connsiteX88" fmla="*/ 78127 w 4519987"/>
                    <a:gd name="connsiteY88" fmla="*/ 1685925 h 4496940"/>
                    <a:gd name="connsiteX89" fmla="*/ 87652 w 4519987"/>
                    <a:gd name="connsiteY89" fmla="*/ 1638300 h 4496940"/>
                    <a:gd name="connsiteX90" fmla="*/ 106702 w 4519987"/>
                    <a:gd name="connsiteY90" fmla="*/ 1590675 h 4496940"/>
                    <a:gd name="connsiteX91" fmla="*/ 135277 w 4519987"/>
                    <a:gd name="connsiteY91" fmla="*/ 1504950 h 4496940"/>
                    <a:gd name="connsiteX92" fmla="*/ 154327 w 4519987"/>
                    <a:gd name="connsiteY92" fmla="*/ 1419225 h 4496940"/>
                    <a:gd name="connsiteX93" fmla="*/ 230527 w 4519987"/>
                    <a:gd name="connsiteY93" fmla="*/ 1276350 h 4496940"/>
                    <a:gd name="connsiteX94" fmla="*/ 240052 w 4519987"/>
                    <a:gd name="connsiteY94" fmla="*/ 1247775 h 4496940"/>
                    <a:gd name="connsiteX95" fmla="*/ 268627 w 4519987"/>
                    <a:gd name="connsiteY95" fmla="*/ 1200150 h 4496940"/>
                    <a:gd name="connsiteX96" fmla="*/ 287677 w 4519987"/>
                    <a:gd name="connsiteY96" fmla="*/ 1152525 h 4496940"/>
                    <a:gd name="connsiteX97" fmla="*/ 316252 w 4519987"/>
                    <a:gd name="connsiteY97" fmla="*/ 1114425 h 4496940"/>
                    <a:gd name="connsiteX98" fmla="*/ 363877 w 4519987"/>
                    <a:gd name="connsiteY98" fmla="*/ 1038225 h 4496940"/>
                    <a:gd name="connsiteX99" fmla="*/ 382927 w 4519987"/>
                    <a:gd name="connsiteY99" fmla="*/ 1009650 h 4496940"/>
                    <a:gd name="connsiteX100" fmla="*/ 440077 w 4519987"/>
                    <a:gd name="connsiteY100" fmla="*/ 904875 h 4496940"/>
                    <a:gd name="connsiteX101" fmla="*/ 478177 w 4519987"/>
                    <a:gd name="connsiteY101" fmla="*/ 857250 h 4496940"/>
                    <a:gd name="connsiteX102" fmla="*/ 497227 w 4519987"/>
                    <a:gd name="connsiteY102" fmla="*/ 828675 h 4496940"/>
                    <a:gd name="connsiteX103" fmla="*/ 535327 w 4519987"/>
                    <a:gd name="connsiteY103" fmla="*/ 800100 h 4496940"/>
                    <a:gd name="connsiteX104" fmla="*/ 602002 w 4519987"/>
                    <a:gd name="connsiteY104" fmla="*/ 733425 h 4496940"/>
                    <a:gd name="connsiteX105" fmla="*/ 668677 w 4519987"/>
                    <a:gd name="connsiteY105" fmla="*/ 676275 h 4496940"/>
                    <a:gd name="connsiteX106" fmla="*/ 697252 w 4519987"/>
                    <a:gd name="connsiteY106" fmla="*/ 657225 h 4496940"/>
                    <a:gd name="connsiteX107" fmla="*/ 840127 w 4519987"/>
                    <a:gd name="connsiteY107" fmla="*/ 533400 h 4496940"/>
                    <a:gd name="connsiteX108" fmla="*/ 887752 w 4519987"/>
                    <a:gd name="connsiteY108" fmla="*/ 504825 h 4496940"/>
                    <a:gd name="connsiteX109" fmla="*/ 1167152 w 4519987"/>
                    <a:gd name="connsiteY109" fmla="*/ 311150 h 4496940"/>
                    <a:gd name="connsiteX110" fmla="*/ 1268752 w 4519987"/>
                    <a:gd name="connsiteY110" fmla="*/ 285750 h 4496940"/>
                    <a:gd name="connsiteX111" fmla="*/ 1411627 w 4519987"/>
                    <a:gd name="connsiteY111" fmla="*/ 190500 h 4496940"/>
                    <a:gd name="connsiteX112" fmla="*/ 1449727 w 4519987"/>
                    <a:gd name="connsiteY112" fmla="*/ 161925 h 4496940"/>
                    <a:gd name="connsiteX113" fmla="*/ 1525927 w 4519987"/>
                    <a:gd name="connsiteY113" fmla="*/ 152400 h 4496940"/>
                    <a:gd name="connsiteX114" fmla="*/ 1583077 w 4519987"/>
                    <a:gd name="connsiteY114" fmla="*/ 142875 h 4496940"/>
                    <a:gd name="connsiteX115" fmla="*/ 1716427 w 4519987"/>
                    <a:gd name="connsiteY115" fmla="*/ 123825 h 4496940"/>
                    <a:gd name="connsiteX116" fmla="*/ 1811677 w 4519987"/>
                    <a:gd name="connsiteY116" fmla="*/ 114300 h 4496940"/>
                    <a:gd name="connsiteX117" fmla="*/ 1859302 w 4519987"/>
                    <a:gd name="connsiteY117" fmla="*/ 104775 h 4496940"/>
                    <a:gd name="connsiteX118" fmla="*/ 1916452 w 4519987"/>
                    <a:gd name="connsiteY118" fmla="*/ 95250 h 4496940"/>
                    <a:gd name="connsiteX119" fmla="*/ 2030752 w 4519987"/>
                    <a:gd name="connsiteY119" fmla="*/ 66675 h 4496940"/>
                    <a:gd name="connsiteX120" fmla="*/ 2097427 w 4519987"/>
                    <a:gd name="connsiteY120" fmla="*/ 47625 h 4496940"/>
                    <a:gd name="connsiteX121" fmla="*/ 2164102 w 4519987"/>
                    <a:gd name="connsiteY121" fmla="*/ 38100 h 4496940"/>
                    <a:gd name="connsiteX122" fmla="*/ 2392702 w 4519987"/>
                    <a:gd name="connsiteY12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40427 w 4519987"/>
                    <a:gd name="connsiteY37" fmla="*/ 426720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40352 w 4519987"/>
                    <a:gd name="connsiteY42" fmla="*/ 4457700 h 4496940"/>
                    <a:gd name="connsiteX43" fmla="*/ 2583202 w 4519987"/>
                    <a:gd name="connsiteY43" fmla="*/ 4467225 h 4496940"/>
                    <a:gd name="connsiteX44" fmla="*/ 2545102 w 4519987"/>
                    <a:gd name="connsiteY44" fmla="*/ 4486275 h 4496940"/>
                    <a:gd name="connsiteX45" fmla="*/ 2306977 w 4519987"/>
                    <a:gd name="connsiteY45" fmla="*/ 4476750 h 4496940"/>
                    <a:gd name="connsiteX46" fmla="*/ 2202202 w 4519987"/>
                    <a:gd name="connsiteY46" fmla="*/ 4457700 h 4496940"/>
                    <a:gd name="connsiteX47" fmla="*/ 2126002 w 4519987"/>
                    <a:gd name="connsiteY47" fmla="*/ 4429125 h 4496940"/>
                    <a:gd name="connsiteX48" fmla="*/ 1935502 w 4519987"/>
                    <a:gd name="connsiteY48" fmla="*/ 4400550 h 4496940"/>
                    <a:gd name="connsiteX49" fmla="*/ 1821202 w 4519987"/>
                    <a:gd name="connsiteY49" fmla="*/ 4371975 h 4496940"/>
                    <a:gd name="connsiteX50" fmla="*/ 1754527 w 4519987"/>
                    <a:gd name="connsiteY50" fmla="*/ 4352925 h 4496940"/>
                    <a:gd name="connsiteX51" fmla="*/ 1687852 w 4519987"/>
                    <a:gd name="connsiteY51" fmla="*/ 4343400 h 4496940"/>
                    <a:gd name="connsiteX52" fmla="*/ 1573552 w 4519987"/>
                    <a:gd name="connsiteY52" fmla="*/ 4305300 h 4496940"/>
                    <a:gd name="connsiteX53" fmla="*/ 1402102 w 4519987"/>
                    <a:gd name="connsiteY53" fmla="*/ 4276725 h 4496940"/>
                    <a:gd name="connsiteX54" fmla="*/ 1287802 w 4519987"/>
                    <a:gd name="connsiteY54" fmla="*/ 4229100 h 4496940"/>
                    <a:gd name="connsiteX55" fmla="*/ 1221127 w 4519987"/>
                    <a:gd name="connsiteY55" fmla="*/ 4200525 h 4496940"/>
                    <a:gd name="connsiteX56" fmla="*/ 1144927 w 4519987"/>
                    <a:gd name="connsiteY56" fmla="*/ 4171950 h 4496940"/>
                    <a:gd name="connsiteX57" fmla="*/ 1087777 w 4519987"/>
                    <a:gd name="connsiteY57" fmla="*/ 4143375 h 4496940"/>
                    <a:gd name="connsiteX58" fmla="*/ 1030627 w 4519987"/>
                    <a:gd name="connsiteY58" fmla="*/ 4124325 h 4496940"/>
                    <a:gd name="connsiteX59" fmla="*/ 925852 w 4519987"/>
                    <a:gd name="connsiteY59" fmla="*/ 4067175 h 4496940"/>
                    <a:gd name="connsiteX60" fmla="*/ 830602 w 4519987"/>
                    <a:gd name="connsiteY60" fmla="*/ 3981450 h 4496940"/>
                    <a:gd name="connsiteX61" fmla="*/ 763927 w 4519987"/>
                    <a:gd name="connsiteY61" fmla="*/ 3914775 h 4496940"/>
                    <a:gd name="connsiteX62" fmla="*/ 725827 w 4519987"/>
                    <a:gd name="connsiteY62" fmla="*/ 3876675 h 4496940"/>
                    <a:gd name="connsiteX63" fmla="*/ 697252 w 4519987"/>
                    <a:gd name="connsiteY63" fmla="*/ 3838575 h 4496940"/>
                    <a:gd name="connsiteX64" fmla="*/ 640102 w 4519987"/>
                    <a:gd name="connsiteY64" fmla="*/ 3781425 h 4496940"/>
                    <a:gd name="connsiteX65" fmla="*/ 611527 w 4519987"/>
                    <a:gd name="connsiteY65" fmla="*/ 3733800 h 4496940"/>
                    <a:gd name="connsiteX66" fmla="*/ 554377 w 4519987"/>
                    <a:gd name="connsiteY66" fmla="*/ 3657600 h 4496940"/>
                    <a:gd name="connsiteX67" fmla="*/ 525802 w 4519987"/>
                    <a:gd name="connsiteY67" fmla="*/ 3609975 h 4496940"/>
                    <a:gd name="connsiteX68" fmla="*/ 497227 w 4519987"/>
                    <a:gd name="connsiteY68" fmla="*/ 3552825 h 4496940"/>
                    <a:gd name="connsiteX69" fmla="*/ 440077 w 4519987"/>
                    <a:gd name="connsiteY69" fmla="*/ 3495675 h 4496940"/>
                    <a:gd name="connsiteX70" fmla="*/ 411502 w 4519987"/>
                    <a:gd name="connsiteY70" fmla="*/ 3448050 h 4496940"/>
                    <a:gd name="connsiteX71" fmla="*/ 278152 w 4519987"/>
                    <a:gd name="connsiteY71" fmla="*/ 3257550 h 4496940"/>
                    <a:gd name="connsiteX72" fmla="*/ 249577 w 4519987"/>
                    <a:gd name="connsiteY72" fmla="*/ 3200400 h 4496940"/>
                    <a:gd name="connsiteX73" fmla="*/ 240052 w 4519987"/>
                    <a:gd name="connsiteY73" fmla="*/ 3162300 h 4496940"/>
                    <a:gd name="connsiteX74" fmla="*/ 221002 w 4519987"/>
                    <a:gd name="connsiteY74" fmla="*/ 3105150 h 4496940"/>
                    <a:gd name="connsiteX75" fmla="*/ 173377 w 4519987"/>
                    <a:gd name="connsiteY75" fmla="*/ 3019425 h 4496940"/>
                    <a:gd name="connsiteX76" fmla="*/ 144802 w 4519987"/>
                    <a:gd name="connsiteY76" fmla="*/ 2924175 h 4496940"/>
                    <a:gd name="connsiteX77" fmla="*/ 68602 w 4519987"/>
                    <a:gd name="connsiteY77" fmla="*/ 2724150 h 4496940"/>
                    <a:gd name="connsiteX78" fmla="*/ 49552 w 4519987"/>
                    <a:gd name="connsiteY78" fmla="*/ 2638425 h 4496940"/>
                    <a:gd name="connsiteX79" fmla="*/ 40027 w 4519987"/>
                    <a:gd name="connsiteY79" fmla="*/ 2562225 h 4496940"/>
                    <a:gd name="connsiteX80" fmla="*/ 30502 w 4519987"/>
                    <a:gd name="connsiteY80" fmla="*/ 2514600 h 4496940"/>
                    <a:gd name="connsiteX81" fmla="*/ 11452 w 4519987"/>
                    <a:gd name="connsiteY81" fmla="*/ 2400300 h 4496940"/>
                    <a:gd name="connsiteX82" fmla="*/ 20977 w 4519987"/>
                    <a:gd name="connsiteY82" fmla="*/ 1905000 h 4496940"/>
                    <a:gd name="connsiteX83" fmla="*/ 30502 w 4519987"/>
                    <a:gd name="connsiteY83" fmla="*/ 1838325 h 4496940"/>
                    <a:gd name="connsiteX84" fmla="*/ 49552 w 4519987"/>
                    <a:gd name="connsiteY84" fmla="*/ 1781175 h 4496940"/>
                    <a:gd name="connsiteX85" fmla="*/ 59077 w 4519987"/>
                    <a:gd name="connsiteY85" fmla="*/ 1743075 h 4496940"/>
                    <a:gd name="connsiteX86" fmla="*/ 78127 w 4519987"/>
                    <a:gd name="connsiteY86" fmla="*/ 1685925 h 4496940"/>
                    <a:gd name="connsiteX87" fmla="*/ 87652 w 4519987"/>
                    <a:gd name="connsiteY87" fmla="*/ 1638300 h 4496940"/>
                    <a:gd name="connsiteX88" fmla="*/ 106702 w 4519987"/>
                    <a:gd name="connsiteY88" fmla="*/ 1590675 h 4496940"/>
                    <a:gd name="connsiteX89" fmla="*/ 135277 w 4519987"/>
                    <a:gd name="connsiteY89" fmla="*/ 1504950 h 4496940"/>
                    <a:gd name="connsiteX90" fmla="*/ 154327 w 4519987"/>
                    <a:gd name="connsiteY90" fmla="*/ 1419225 h 4496940"/>
                    <a:gd name="connsiteX91" fmla="*/ 230527 w 4519987"/>
                    <a:gd name="connsiteY91" fmla="*/ 1276350 h 4496940"/>
                    <a:gd name="connsiteX92" fmla="*/ 240052 w 4519987"/>
                    <a:gd name="connsiteY92" fmla="*/ 1247775 h 4496940"/>
                    <a:gd name="connsiteX93" fmla="*/ 268627 w 4519987"/>
                    <a:gd name="connsiteY93" fmla="*/ 1200150 h 4496940"/>
                    <a:gd name="connsiteX94" fmla="*/ 287677 w 4519987"/>
                    <a:gd name="connsiteY94" fmla="*/ 1152525 h 4496940"/>
                    <a:gd name="connsiteX95" fmla="*/ 316252 w 4519987"/>
                    <a:gd name="connsiteY95" fmla="*/ 1114425 h 4496940"/>
                    <a:gd name="connsiteX96" fmla="*/ 363877 w 4519987"/>
                    <a:gd name="connsiteY96" fmla="*/ 1038225 h 4496940"/>
                    <a:gd name="connsiteX97" fmla="*/ 382927 w 4519987"/>
                    <a:gd name="connsiteY97" fmla="*/ 1009650 h 4496940"/>
                    <a:gd name="connsiteX98" fmla="*/ 440077 w 4519987"/>
                    <a:gd name="connsiteY98" fmla="*/ 904875 h 4496940"/>
                    <a:gd name="connsiteX99" fmla="*/ 478177 w 4519987"/>
                    <a:gd name="connsiteY99" fmla="*/ 857250 h 4496940"/>
                    <a:gd name="connsiteX100" fmla="*/ 497227 w 4519987"/>
                    <a:gd name="connsiteY100" fmla="*/ 828675 h 4496940"/>
                    <a:gd name="connsiteX101" fmla="*/ 535327 w 4519987"/>
                    <a:gd name="connsiteY101" fmla="*/ 800100 h 4496940"/>
                    <a:gd name="connsiteX102" fmla="*/ 602002 w 4519987"/>
                    <a:gd name="connsiteY102" fmla="*/ 733425 h 4496940"/>
                    <a:gd name="connsiteX103" fmla="*/ 668677 w 4519987"/>
                    <a:gd name="connsiteY103" fmla="*/ 676275 h 4496940"/>
                    <a:gd name="connsiteX104" fmla="*/ 697252 w 4519987"/>
                    <a:gd name="connsiteY104" fmla="*/ 657225 h 4496940"/>
                    <a:gd name="connsiteX105" fmla="*/ 840127 w 4519987"/>
                    <a:gd name="connsiteY105" fmla="*/ 533400 h 4496940"/>
                    <a:gd name="connsiteX106" fmla="*/ 887752 w 4519987"/>
                    <a:gd name="connsiteY106" fmla="*/ 504825 h 4496940"/>
                    <a:gd name="connsiteX107" fmla="*/ 1167152 w 4519987"/>
                    <a:gd name="connsiteY107" fmla="*/ 311150 h 4496940"/>
                    <a:gd name="connsiteX108" fmla="*/ 1268752 w 4519987"/>
                    <a:gd name="connsiteY108" fmla="*/ 285750 h 4496940"/>
                    <a:gd name="connsiteX109" fmla="*/ 1411627 w 4519987"/>
                    <a:gd name="connsiteY109" fmla="*/ 190500 h 4496940"/>
                    <a:gd name="connsiteX110" fmla="*/ 1449727 w 4519987"/>
                    <a:gd name="connsiteY110" fmla="*/ 161925 h 4496940"/>
                    <a:gd name="connsiteX111" fmla="*/ 1525927 w 4519987"/>
                    <a:gd name="connsiteY111" fmla="*/ 152400 h 4496940"/>
                    <a:gd name="connsiteX112" fmla="*/ 1583077 w 4519987"/>
                    <a:gd name="connsiteY112" fmla="*/ 142875 h 4496940"/>
                    <a:gd name="connsiteX113" fmla="*/ 1716427 w 4519987"/>
                    <a:gd name="connsiteY113" fmla="*/ 123825 h 4496940"/>
                    <a:gd name="connsiteX114" fmla="*/ 1811677 w 4519987"/>
                    <a:gd name="connsiteY114" fmla="*/ 114300 h 4496940"/>
                    <a:gd name="connsiteX115" fmla="*/ 1859302 w 4519987"/>
                    <a:gd name="connsiteY115" fmla="*/ 104775 h 4496940"/>
                    <a:gd name="connsiteX116" fmla="*/ 1916452 w 4519987"/>
                    <a:gd name="connsiteY116" fmla="*/ 95250 h 4496940"/>
                    <a:gd name="connsiteX117" fmla="*/ 2030752 w 4519987"/>
                    <a:gd name="connsiteY117" fmla="*/ 66675 h 4496940"/>
                    <a:gd name="connsiteX118" fmla="*/ 2097427 w 4519987"/>
                    <a:gd name="connsiteY118" fmla="*/ 47625 h 4496940"/>
                    <a:gd name="connsiteX119" fmla="*/ 2164102 w 4519987"/>
                    <a:gd name="connsiteY119" fmla="*/ 38100 h 4496940"/>
                    <a:gd name="connsiteX120" fmla="*/ 2392702 w 4519987"/>
                    <a:gd name="connsiteY120" fmla="*/ 28575 h 4496940"/>
                    <a:gd name="connsiteX0" fmla="*/ 2297452 w 4519987"/>
                    <a:gd name="connsiteY0" fmla="*/ 0 h 4487372"/>
                    <a:gd name="connsiteX1" fmla="*/ 2421277 w 4519987"/>
                    <a:gd name="connsiteY1" fmla="*/ 28575 h 4487372"/>
                    <a:gd name="connsiteX2" fmla="*/ 2497477 w 4519987"/>
                    <a:gd name="connsiteY2" fmla="*/ 47625 h 4487372"/>
                    <a:gd name="connsiteX3" fmla="*/ 2754652 w 4519987"/>
                    <a:gd name="connsiteY3" fmla="*/ 66675 h 4487372"/>
                    <a:gd name="connsiteX4" fmla="*/ 2830852 w 4519987"/>
                    <a:gd name="connsiteY4" fmla="*/ 76200 h 4487372"/>
                    <a:gd name="connsiteX5" fmla="*/ 2916577 w 4519987"/>
                    <a:gd name="connsiteY5" fmla="*/ 85725 h 4487372"/>
                    <a:gd name="connsiteX6" fmla="*/ 2973727 w 4519987"/>
                    <a:gd name="connsiteY6" fmla="*/ 114300 h 4487372"/>
                    <a:gd name="connsiteX7" fmla="*/ 3011827 w 4519987"/>
                    <a:gd name="connsiteY7" fmla="*/ 123825 h 4487372"/>
                    <a:gd name="connsiteX8" fmla="*/ 3135652 w 4519987"/>
                    <a:gd name="connsiteY8" fmla="*/ 171450 h 4487372"/>
                    <a:gd name="connsiteX9" fmla="*/ 3173752 w 4519987"/>
                    <a:gd name="connsiteY9" fmla="*/ 190500 h 4487372"/>
                    <a:gd name="connsiteX10" fmla="*/ 3240427 w 4519987"/>
                    <a:gd name="connsiteY10" fmla="*/ 228600 h 4487372"/>
                    <a:gd name="connsiteX11" fmla="*/ 3269002 w 4519987"/>
                    <a:gd name="connsiteY11" fmla="*/ 238125 h 4487372"/>
                    <a:gd name="connsiteX12" fmla="*/ 3297577 w 4519987"/>
                    <a:gd name="connsiteY12" fmla="*/ 257175 h 4487372"/>
                    <a:gd name="connsiteX13" fmla="*/ 3326152 w 4519987"/>
                    <a:gd name="connsiteY13" fmla="*/ 266700 h 4487372"/>
                    <a:gd name="connsiteX14" fmla="*/ 3354727 w 4519987"/>
                    <a:gd name="connsiteY14" fmla="*/ 285750 h 4487372"/>
                    <a:gd name="connsiteX15" fmla="*/ 3421402 w 4519987"/>
                    <a:gd name="connsiteY15" fmla="*/ 323850 h 4487372"/>
                    <a:gd name="connsiteX16" fmla="*/ 3469027 w 4519987"/>
                    <a:gd name="connsiteY16" fmla="*/ 361950 h 4487372"/>
                    <a:gd name="connsiteX17" fmla="*/ 3516652 w 4519987"/>
                    <a:gd name="connsiteY17" fmla="*/ 390525 h 4487372"/>
                    <a:gd name="connsiteX18" fmla="*/ 3630952 w 4519987"/>
                    <a:gd name="connsiteY18" fmla="*/ 485775 h 4487372"/>
                    <a:gd name="connsiteX19" fmla="*/ 3745252 w 4519987"/>
                    <a:gd name="connsiteY19" fmla="*/ 542925 h 4487372"/>
                    <a:gd name="connsiteX20" fmla="*/ 3811927 w 4519987"/>
                    <a:gd name="connsiteY20" fmla="*/ 581025 h 4487372"/>
                    <a:gd name="connsiteX21" fmla="*/ 4027827 w 4519987"/>
                    <a:gd name="connsiteY21" fmla="*/ 819150 h 4487372"/>
                    <a:gd name="connsiteX22" fmla="*/ 4164352 w 4519987"/>
                    <a:gd name="connsiteY22" fmla="*/ 990600 h 4487372"/>
                    <a:gd name="connsiteX23" fmla="*/ 4250077 w 4519987"/>
                    <a:gd name="connsiteY23" fmla="*/ 1143000 h 4487372"/>
                    <a:gd name="connsiteX24" fmla="*/ 4307227 w 4519987"/>
                    <a:gd name="connsiteY24" fmla="*/ 1266825 h 4487372"/>
                    <a:gd name="connsiteX25" fmla="*/ 4345327 w 4519987"/>
                    <a:gd name="connsiteY25" fmla="*/ 1362075 h 4487372"/>
                    <a:gd name="connsiteX26" fmla="*/ 4392952 w 4519987"/>
                    <a:gd name="connsiteY26" fmla="*/ 1552575 h 4487372"/>
                    <a:gd name="connsiteX27" fmla="*/ 4431052 w 4519987"/>
                    <a:gd name="connsiteY27" fmla="*/ 1685925 h 4487372"/>
                    <a:gd name="connsiteX28" fmla="*/ 4519952 w 4519987"/>
                    <a:gd name="connsiteY28" fmla="*/ 2181225 h 4487372"/>
                    <a:gd name="connsiteX29" fmla="*/ 4446927 w 4519987"/>
                    <a:gd name="connsiteY29" fmla="*/ 2768600 h 4487372"/>
                    <a:gd name="connsiteX30" fmla="*/ 4383427 w 4519987"/>
                    <a:gd name="connsiteY30" fmla="*/ 2990850 h 4487372"/>
                    <a:gd name="connsiteX31" fmla="*/ 4278652 w 4519987"/>
                    <a:gd name="connsiteY31" fmla="*/ 3248025 h 4487372"/>
                    <a:gd name="connsiteX32" fmla="*/ 4183402 w 4519987"/>
                    <a:gd name="connsiteY32" fmla="*/ 3400425 h 4487372"/>
                    <a:gd name="connsiteX33" fmla="*/ 4059577 w 4519987"/>
                    <a:gd name="connsiteY33" fmla="*/ 3533775 h 4487372"/>
                    <a:gd name="connsiteX34" fmla="*/ 3954802 w 4519987"/>
                    <a:gd name="connsiteY34" fmla="*/ 3648075 h 4487372"/>
                    <a:gd name="connsiteX35" fmla="*/ 3659527 w 4519987"/>
                    <a:gd name="connsiteY35" fmla="*/ 3971925 h 4487372"/>
                    <a:gd name="connsiteX36" fmla="*/ 3516652 w 4519987"/>
                    <a:gd name="connsiteY36" fmla="*/ 4083050 h 4487372"/>
                    <a:gd name="connsiteX37" fmla="*/ 3221377 w 4519987"/>
                    <a:gd name="connsiteY37" fmla="*/ 4222750 h 4487372"/>
                    <a:gd name="connsiteX38" fmla="*/ 3068977 w 4519987"/>
                    <a:gd name="connsiteY38" fmla="*/ 4286250 h 4487372"/>
                    <a:gd name="connsiteX39" fmla="*/ 2935627 w 4519987"/>
                    <a:gd name="connsiteY39" fmla="*/ 4333875 h 4487372"/>
                    <a:gd name="connsiteX40" fmla="*/ 2811802 w 4519987"/>
                    <a:gd name="connsiteY40" fmla="*/ 4371975 h 4487372"/>
                    <a:gd name="connsiteX41" fmla="*/ 2745127 w 4519987"/>
                    <a:gd name="connsiteY41" fmla="*/ 4410075 h 4487372"/>
                    <a:gd name="connsiteX42" fmla="*/ 2640352 w 4519987"/>
                    <a:gd name="connsiteY42" fmla="*/ 4457700 h 4487372"/>
                    <a:gd name="connsiteX43" fmla="*/ 2545102 w 4519987"/>
                    <a:gd name="connsiteY43" fmla="*/ 4486275 h 4487372"/>
                    <a:gd name="connsiteX44" fmla="*/ 2306977 w 4519987"/>
                    <a:gd name="connsiteY44" fmla="*/ 4476750 h 4487372"/>
                    <a:gd name="connsiteX45" fmla="*/ 2202202 w 4519987"/>
                    <a:gd name="connsiteY45" fmla="*/ 4457700 h 4487372"/>
                    <a:gd name="connsiteX46" fmla="*/ 2126002 w 4519987"/>
                    <a:gd name="connsiteY46" fmla="*/ 4429125 h 4487372"/>
                    <a:gd name="connsiteX47" fmla="*/ 1935502 w 4519987"/>
                    <a:gd name="connsiteY47" fmla="*/ 4400550 h 4487372"/>
                    <a:gd name="connsiteX48" fmla="*/ 1821202 w 4519987"/>
                    <a:gd name="connsiteY48" fmla="*/ 4371975 h 4487372"/>
                    <a:gd name="connsiteX49" fmla="*/ 1754527 w 4519987"/>
                    <a:gd name="connsiteY49" fmla="*/ 4352925 h 4487372"/>
                    <a:gd name="connsiteX50" fmla="*/ 1687852 w 4519987"/>
                    <a:gd name="connsiteY50" fmla="*/ 4343400 h 4487372"/>
                    <a:gd name="connsiteX51" fmla="*/ 1573552 w 4519987"/>
                    <a:gd name="connsiteY51" fmla="*/ 4305300 h 4487372"/>
                    <a:gd name="connsiteX52" fmla="*/ 1402102 w 4519987"/>
                    <a:gd name="connsiteY52" fmla="*/ 4276725 h 4487372"/>
                    <a:gd name="connsiteX53" fmla="*/ 1287802 w 4519987"/>
                    <a:gd name="connsiteY53" fmla="*/ 4229100 h 4487372"/>
                    <a:gd name="connsiteX54" fmla="*/ 1221127 w 4519987"/>
                    <a:gd name="connsiteY54" fmla="*/ 4200525 h 4487372"/>
                    <a:gd name="connsiteX55" fmla="*/ 1144927 w 4519987"/>
                    <a:gd name="connsiteY55" fmla="*/ 4171950 h 4487372"/>
                    <a:gd name="connsiteX56" fmla="*/ 1087777 w 4519987"/>
                    <a:gd name="connsiteY56" fmla="*/ 4143375 h 4487372"/>
                    <a:gd name="connsiteX57" fmla="*/ 1030627 w 4519987"/>
                    <a:gd name="connsiteY57" fmla="*/ 4124325 h 4487372"/>
                    <a:gd name="connsiteX58" fmla="*/ 925852 w 4519987"/>
                    <a:gd name="connsiteY58" fmla="*/ 4067175 h 4487372"/>
                    <a:gd name="connsiteX59" fmla="*/ 830602 w 4519987"/>
                    <a:gd name="connsiteY59" fmla="*/ 3981450 h 4487372"/>
                    <a:gd name="connsiteX60" fmla="*/ 763927 w 4519987"/>
                    <a:gd name="connsiteY60" fmla="*/ 3914775 h 4487372"/>
                    <a:gd name="connsiteX61" fmla="*/ 725827 w 4519987"/>
                    <a:gd name="connsiteY61" fmla="*/ 3876675 h 4487372"/>
                    <a:gd name="connsiteX62" fmla="*/ 697252 w 4519987"/>
                    <a:gd name="connsiteY62" fmla="*/ 3838575 h 4487372"/>
                    <a:gd name="connsiteX63" fmla="*/ 640102 w 4519987"/>
                    <a:gd name="connsiteY63" fmla="*/ 3781425 h 4487372"/>
                    <a:gd name="connsiteX64" fmla="*/ 611527 w 4519987"/>
                    <a:gd name="connsiteY64" fmla="*/ 3733800 h 4487372"/>
                    <a:gd name="connsiteX65" fmla="*/ 554377 w 4519987"/>
                    <a:gd name="connsiteY65" fmla="*/ 3657600 h 4487372"/>
                    <a:gd name="connsiteX66" fmla="*/ 525802 w 4519987"/>
                    <a:gd name="connsiteY66" fmla="*/ 3609975 h 4487372"/>
                    <a:gd name="connsiteX67" fmla="*/ 497227 w 4519987"/>
                    <a:gd name="connsiteY67" fmla="*/ 3552825 h 4487372"/>
                    <a:gd name="connsiteX68" fmla="*/ 440077 w 4519987"/>
                    <a:gd name="connsiteY68" fmla="*/ 3495675 h 4487372"/>
                    <a:gd name="connsiteX69" fmla="*/ 411502 w 4519987"/>
                    <a:gd name="connsiteY69" fmla="*/ 3448050 h 4487372"/>
                    <a:gd name="connsiteX70" fmla="*/ 278152 w 4519987"/>
                    <a:gd name="connsiteY70" fmla="*/ 3257550 h 4487372"/>
                    <a:gd name="connsiteX71" fmla="*/ 249577 w 4519987"/>
                    <a:gd name="connsiteY71" fmla="*/ 3200400 h 4487372"/>
                    <a:gd name="connsiteX72" fmla="*/ 240052 w 4519987"/>
                    <a:gd name="connsiteY72" fmla="*/ 3162300 h 4487372"/>
                    <a:gd name="connsiteX73" fmla="*/ 221002 w 4519987"/>
                    <a:gd name="connsiteY73" fmla="*/ 3105150 h 4487372"/>
                    <a:gd name="connsiteX74" fmla="*/ 173377 w 4519987"/>
                    <a:gd name="connsiteY74" fmla="*/ 3019425 h 4487372"/>
                    <a:gd name="connsiteX75" fmla="*/ 144802 w 4519987"/>
                    <a:gd name="connsiteY75" fmla="*/ 2924175 h 4487372"/>
                    <a:gd name="connsiteX76" fmla="*/ 68602 w 4519987"/>
                    <a:gd name="connsiteY76" fmla="*/ 2724150 h 4487372"/>
                    <a:gd name="connsiteX77" fmla="*/ 49552 w 4519987"/>
                    <a:gd name="connsiteY77" fmla="*/ 2638425 h 4487372"/>
                    <a:gd name="connsiteX78" fmla="*/ 40027 w 4519987"/>
                    <a:gd name="connsiteY78" fmla="*/ 2562225 h 4487372"/>
                    <a:gd name="connsiteX79" fmla="*/ 30502 w 4519987"/>
                    <a:gd name="connsiteY79" fmla="*/ 2514600 h 4487372"/>
                    <a:gd name="connsiteX80" fmla="*/ 11452 w 4519987"/>
                    <a:gd name="connsiteY80" fmla="*/ 2400300 h 4487372"/>
                    <a:gd name="connsiteX81" fmla="*/ 20977 w 4519987"/>
                    <a:gd name="connsiteY81" fmla="*/ 1905000 h 4487372"/>
                    <a:gd name="connsiteX82" fmla="*/ 30502 w 4519987"/>
                    <a:gd name="connsiteY82" fmla="*/ 1838325 h 4487372"/>
                    <a:gd name="connsiteX83" fmla="*/ 49552 w 4519987"/>
                    <a:gd name="connsiteY83" fmla="*/ 1781175 h 4487372"/>
                    <a:gd name="connsiteX84" fmla="*/ 59077 w 4519987"/>
                    <a:gd name="connsiteY84" fmla="*/ 1743075 h 4487372"/>
                    <a:gd name="connsiteX85" fmla="*/ 78127 w 4519987"/>
                    <a:gd name="connsiteY85" fmla="*/ 1685925 h 4487372"/>
                    <a:gd name="connsiteX86" fmla="*/ 87652 w 4519987"/>
                    <a:gd name="connsiteY86" fmla="*/ 1638300 h 4487372"/>
                    <a:gd name="connsiteX87" fmla="*/ 106702 w 4519987"/>
                    <a:gd name="connsiteY87" fmla="*/ 1590675 h 4487372"/>
                    <a:gd name="connsiteX88" fmla="*/ 135277 w 4519987"/>
                    <a:gd name="connsiteY88" fmla="*/ 1504950 h 4487372"/>
                    <a:gd name="connsiteX89" fmla="*/ 154327 w 4519987"/>
                    <a:gd name="connsiteY89" fmla="*/ 1419225 h 4487372"/>
                    <a:gd name="connsiteX90" fmla="*/ 230527 w 4519987"/>
                    <a:gd name="connsiteY90" fmla="*/ 1276350 h 4487372"/>
                    <a:gd name="connsiteX91" fmla="*/ 240052 w 4519987"/>
                    <a:gd name="connsiteY91" fmla="*/ 1247775 h 4487372"/>
                    <a:gd name="connsiteX92" fmla="*/ 268627 w 4519987"/>
                    <a:gd name="connsiteY92" fmla="*/ 1200150 h 4487372"/>
                    <a:gd name="connsiteX93" fmla="*/ 287677 w 4519987"/>
                    <a:gd name="connsiteY93" fmla="*/ 1152525 h 4487372"/>
                    <a:gd name="connsiteX94" fmla="*/ 316252 w 4519987"/>
                    <a:gd name="connsiteY94" fmla="*/ 1114425 h 4487372"/>
                    <a:gd name="connsiteX95" fmla="*/ 363877 w 4519987"/>
                    <a:gd name="connsiteY95" fmla="*/ 1038225 h 4487372"/>
                    <a:gd name="connsiteX96" fmla="*/ 382927 w 4519987"/>
                    <a:gd name="connsiteY96" fmla="*/ 1009650 h 4487372"/>
                    <a:gd name="connsiteX97" fmla="*/ 440077 w 4519987"/>
                    <a:gd name="connsiteY97" fmla="*/ 904875 h 4487372"/>
                    <a:gd name="connsiteX98" fmla="*/ 478177 w 4519987"/>
                    <a:gd name="connsiteY98" fmla="*/ 857250 h 4487372"/>
                    <a:gd name="connsiteX99" fmla="*/ 497227 w 4519987"/>
                    <a:gd name="connsiteY99" fmla="*/ 828675 h 4487372"/>
                    <a:gd name="connsiteX100" fmla="*/ 535327 w 4519987"/>
                    <a:gd name="connsiteY100" fmla="*/ 800100 h 4487372"/>
                    <a:gd name="connsiteX101" fmla="*/ 602002 w 4519987"/>
                    <a:gd name="connsiteY101" fmla="*/ 733425 h 4487372"/>
                    <a:gd name="connsiteX102" fmla="*/ 668677 w 4519987"/>
                    <a:gd name="connsiteY102" fmla="*/ 676275 h 4487372"/>
                    <a:gd name="connsiteX103" fmla="*/ 697252 w 4519987"/>
                    <a:gd name="connsiteY103" fmla="*/ 657225 h 4487372"/>
                    <a:gd name="connsiteX104" fmla="*/ 840127 w 4519987"/>
                    <a:gd name="connsiteY104" fmla="*/ 533400 h 4487372"/>
                    <a:gd name="connsiteX105" fmla="*/ 887752 w 4519987"/>
                    <a:gd name="connsiteY105" fmla="*/ 504825 h 4487372"/>
                    <a:gd name="connsiteX106" fmla="*/ 1167152 w 4519987"/>
                    <a:gd name="connsiteY106" fmla="*/ 311150 h 4487372"/>
                    <a:gd name="connsiteX107" fmla="*/ 1268752 w 4519987"/>
                    <a:gd name="connsiteY107" fmla="*/ 285750 h 4487372"/>
                    <a:gd name="connsiteX108" fmla="*/ 1411627 w 4519987"/>
                    <a:gd name="connsiteY108" fmla="*/ 190500 h 4487372"/>
                    <a:gd name="connsiteX109" fmla="*/ 1449727 w 4519987"/>
                    <a:gd name="connsiteY109" fmla="*/ 161925 h 4487372"/>
                    <a:gd name="connsiteX110" fmla="*/ 1525927 w 4519987"/>
                    <a:gd name="connsiteY110" fmla="*/ 152400 h 4487372"/>
                    <a:gd name="connsiteX111" fmla="*/ 1583077 w 4519987"/>
                    <a:gd name="connsiteY111" fmla="*/ 142875 h 4487372"/>
                    <a:gd name="connsiteX112" fmla="*/ 1716427 w 4519987"/>
                    <a:gd name="connsiteY112" fmla="*/ 123825 h 4487372"/>
                    <a:gd name="connsiteX113" fmla="*/ 1811677 w 4519987"/>
                    <a:gd name="connsiteY113" fmla="*/ 114300 h 4487372"/>
                    <a:gd name="connsiteX114" fmla="*/ 1859302 w 4519987"/>
                    <a:gd name="connsiteY114" fmla="*/ 104775 h 4487372"/>
                    <a:gd name="connsiteX115" fmla="*/ 1916452 w 4519987"/>
                    <a:gd name="connsiteY115" fmla="*/ 95250 h 4487372"/>
                    <a:gd name="connsiteX116" fmla="*/ 2030752 w 4519987"/>
                    <a:gd name="connsiteY116" fmla="*/ 66675 h 4487372"/>
                    <a:gd name="connsiteX117" fmla="*/ 2097427 w 4519987"/>
                    <a:gd name="connsiteY117" fmla="*/ 47625 h 4487372"/>
                    <a:gd name="connsiteX118" fmla="*/ 2164102 w 4519987"/>
                    <a:gd name="connsiteY118" fmla="*/ 38100 h 4487372"/>
                    <a:gd name="connsiteX119" fmla="*/ 2392702 w 4519987"/>
                    <a:gd name="connsiteY119" fmla="*/ 28575 h 4487372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745127 w 4519987"/>
                    <a:gd name="connsiteY41" fmla="*/ 4410075 h 4476750"/>
                    <a:gd name="connsiteX42" fmla="*/ 2640352 w 4519987"/>
                    <a:gd name="connsiteY42" fmla="*/ 4457700 h 4476750"/>
                    <a:gd name="connsiteX43" fmla="*/ 2306977 w 4519987"/>
                    <a:gd name="connsiteY43" fmla="*/ 4476750 h 4476750"/>
                    <a:gd name="connsiteX44" fmla="*/ 2202202 w 4519987"/>
                    <a:gd name="connsiteY44" fmla="*/ 4457700 h 4476750"/>
                    <a:gd name="connsiteX45" fmla="*/ 2126002 w 4519987"/>
                    <a:gd name="connsiteY45" fmla="*/ 4429125 h 4476750"/>
                    <a:gd name="connsiteX46" fmla="*/ 1935502 w 4519987"/>
                    <a:gd name="connsiteY46" fmla="*/ 4400550 h 4476750"/>
                    <a:gd name="connsiteX47" fmla="*/ 1821202 w 4519987"/>
                    <a:gd name="connsiteY47" fmla="*/ 4371975 h 4476750"/>
                    <a:gd name="connsiteX48" fmla="*/ 1754527 w 4519987"/>
                    <a:gd name="connsiteY48" fmla="*/ 4352925 h 4476750"/>
                    <a:gd name="connsiteX49" fmla="*/ 1687852 w 4519987"/>
                    <a:gd name="connsiteY49" fmla="*/ 4343400 h 4476750"/>
                    <a:gd name="connsiteX50" fmla="*/ 1573552 w 4519987"/>
                    <a:gd name="connsiteY50" fmla="*/ 4305300 h 4476750"/>
                    <a:gd name="connsiteX51" fmla="*/ 1402102 w 4519987"/>
                    <a:gd name="connsiteY51" fmla="*/ 4276725 h 4476750"/>
                    <a:gd name="connsiteX52" fmla="*/ 1287802 w 4519987"/>
                    <a:gd name="connsiteY52" fmla="*/ 4229100 h 4476750"/>
                    <a:gd name="connsiteX53" fmla="*/ 1221127 w 4519987"/>
                    <a:gd name="connsiteY53" fmla="*/ 4200525 h 4476750"/>
                    <a:gd name="connsiteX54" fmla="*/ 1144927 w 4519987"/>
                    <a:gd name="connsiteY54" fmla="*/ 4171950 h 4476750"/>
                    <a:gd name="connsiteX55" fmla="*/ 1087777 w 4519987"/>
                    <a:gd name="connsiteY55" fmla="*/ 4143375 h 4476750"/>
                    <a:gd name="connsiteX56" fmla="*/ 1030627 w 4519987"/>
                    <a:gd name="connsiteY56" fmla="*/ 4124325 h 4476750"/>
                    <a:gd name="connsiteX57" fmla="*/ 925852 w 4519987"/>
                    <a:gd name="connsiteY57" fmla="*/ 4067175 h 4476750"/>
                    <a:gd name="connsiteX58" fmla="*/ 830602 w 4519987"/>
                    <a:gd name="connsiteY58" fmla="*/ 3981450 h 4476750"/>
                    <a:gd name="connsiteX59" fmla="*/ 763927 w 4519987"/>
                    <a:gd name="connsiteY59" fmla="*/ 3914775 h 4476750"/>
                    <a:gd name="connsiteX60" fmla="*/ 725827 w 4519987"/>
                    <a:gd name="connsiteY60" fmla="*/ 3876675 h 4476750"/>
                    <a:gd name="connsiteX61" fmla="*/ 697252 w 4519987"/>
                    <a:gd name="connsiteY61" fmla="*/ 3838575 h 4476750"/>
                    <a:gd name="connsiteX62" fmla="*/ 640102 w 4519987"/>
                    <a:gd name="connsiteY62" fmla="*/ 3781425 h 4476750"/>
                    <a:gd name="connsiteX63" fmla="*/ 611527 w 4519987"/>
                    <a:gd name="connsiteY63" fmla="*/ 3733800 h 4476750"/>
                    <a:gd name="connsiteX64" fmla="*/ 554377 w 4519987"/>
                    <a:gd name="connsiteY64" fmla="*/ 3657600 h 4476750"/>
                    <a:gd name="connsiteX65" fmla="*/ 525802 w 4519987"/>
                    <a:gd name="connsiteY65" fmla="*/ 3609975 h 4476750"/>
                    <a:gd name="connsiteX66" fmla="*/ 497227 w 4519987"/>
                    <a:gd name="connsiteY66" fmla="*/ 3552825 h 4476750"/>
                    <a:gd name="connsiteX67" fmla="*/ 440077 w 4519987"/>
                    <a:gd name="connsiteY67" fmla="*/ 3495675 h 4476750"/>
                    <a:gd name="connsiteX68" fmla="*/ 411502 w 4519987"/>
                    <a:gd name="connsiteY68" fmla="*/ 3448050 h 4476750"/>
                    <a:gd name="connsiteX69" fmla="*/ 278152 w 4519987"/>
                    <a:gd name="connsiteY69" fmla="*/ 3257550 h 4476750"/>
                    <a:gd name="connsiteX70" fmla="*/ 249577 w 4519987"/>
                    <a:gd name="connsiteY70" fmla="*/ 3200400 h 4476750"/>
                    <a:gd name="connsiteX71" fmla="*/ 240052 w 4519987"/>
                    <a:gd name="connsiteY71" fmla="*/ 3162300 h 4476750"/>
                    <a:gd name="connsiteX72" fmla="*/ 221002 w 4519987"/>
                    <a:gd name="connsiteY72" fmla="*/ 3105150 h 4476750"/>
                    <a:gd name="connsiteX73" fmla="*/ 173377 w 4519987"/>
                    <a:gd name="connsiteY73" fmla="*/ 3019425 h 4476750"/>
                    <a:gd name="connsiteX74" fmla="*/ 144802 w 4519987"/>
                    <a:gd name="connsiteY74" fmla="*/ 2924175 h 4476750"/>
                    <a:gd name="connsiteX75" fmla="*/ 68602 w 4519987"/>
                    <a:gd name="connsiteY75" fmla="*/ 2724150 h 4476750"/>
                    <a:gd name="connsiteX76" fmla="*/ 49552 w 4519987"/>
                    <a:gd name="connsiteY76" fmla="*/ 2638425 h 4476750"/>
                    <a:gd name="connsiteX77" fmla="*/ 40027 w 4519987"/>
                    <a:gd name="connsiteY77" fmla="*/ 2562225 h 4476750"/>
                    <a:gd name="connsiteX78" fmla="*/ 30502 w 4519987"/>
                    <a:gd name="connsiteY78" fmla="*/ 2514600 h 4476750"/>
                    <a:gd name="connsiteX79" fmla="*/ 11452 w 4519987"/>
                    <a:gd name="connsiteY79" fmla="*/ 2400300 h 4476750"/>
                    <a:gd name="connsiteX80" fmla="*/ 20977 w 4519987"/>
                    <a:gd name="connsiteY80" fmla="*/ 1905000 h 4476750"/>
                    <a:gd name="connsiteX81" fmla="*/ 30502 w 4519987"/>
                    <a:gd name="connsiteY81" fmla="*/ 1838325 h 4476750"/>
                    <a:gd name="connsiteX82" fmla="*/ 49552 w 4519987"/>
                    <a:gd name="connsiteY82" fmla="*/ 1781175 h 4476750"/>
                    <a:gd name="connsiteX83" fmla="*/ 59077 w 4519987"/>
                    <a:gd name="connsiteY83" fmla="*/ 1743075 h 4476750"/>
                    <a:gd name="connsiteX84" fmla="*/ 78127 w 4519987"/>
                    <a:gd name="connsiteY84" fmla="*/ 1685925 h 4476750"/>
                    <a:gd name="connsiteX85" fmla="*/ 87652 w 4519987"/>
                    <a:gd name="connsiteY85" fmla="*/ 1638300 h 4476750"/>
                    <a:gd name="connsiteX86" fmla="*/ 106702 w 4519987"/>
                    <a:gd name="connsiteY86" fmla="*/ 1590675 h 4476750"/>
                    <a:gd name="connsiteX87" fmla="*/ 135277 w 4519987"/>
                    <a:gd name="connsiteY87" fmla="*/ 1504950 h 4476750"/>
                    <a:gd name="connsiteX88" fmla="*/ 154327 w 4519987"/>
                    <a:gd name="connsiteY88" fmla="*/ 1419225 h 4476750"/>
                    <a:gd name="connsiteX89" fmla="*/ 230527 w 4519987"/>
                    <a:gd name="connsiteY89" fmla="*/ 1276350 h 4476750"/>
                    <a:gd name="connsiteX90" fmla="*/ 240052 w 4519987"/>
                    <a:gd name="connsiteY90" fmla="*/ 1247775 h 4476750"/>
                    <a:gd name="connsiteX91" fmla="*/ 268627 w 4519987"/>
                    <a:gd name="connsiteY91" fmla="*/ 1200150 h 4476750"/>
                    <a:gd name="connsiteX92" fmla="*/ 287677 w 4519987"/>
                    <a:gd name="connsiteY92" fmla="*/ 1152525 h 4476750"/>
                    <a:gd name="connsiteX93" fmla="*/ 316252 w 4519987"/>
                    <a:gd name="connsiteY93" fmla="*/ 1114425 h 4476750"/>
                    <a:gd name="connsiteX94" fmla="*/ 363877 w 4519987"/>
                    <a:gd name="connsiteY94" fmla="*/ 1038225 h 4476750"/>
                    <a:gd name="connsiteX95" fmla="*/ 382927 w 4519987"/>
                    <a:gd name="connsiteY95" fmla="*/ 1009650 h 4476750"/>
                    <a:gd name="connsiteX96" fmla="*/ 440077 w 4519987"/>
                    <a:gd name="connsiteY96" fmla="*/ 904875 h 4476750"/>
                    <a:gd name="connsiteX97" fmla="*/ 478177 w 4519987"/>
                    <a:gd name="connsiteY97" fmla="*/ 857250 h 4476750"/>
                    <a:gd name="connsiteX98" fmla="*/ 497227 w 4519987"/>
                    <a:gd name="connsiteY98" fmla="*/ 828675 h 4476750"/>
                    <a:gd name="connsiteX99" fmla="*/ 535327 w 4519987"/>
                    <a:gd name="connsiteY99" fmla="*/ 800100 h 4476750"/>
                    <a:gd name="connsiteX100" fmla="*/ 602002 w 4519987"/>
                    <a:gd name="connsiteY100" fmla="*/ 733425 h 4476750"/>
                    <a:gd name="connsiteX101" fmla="*/ 668677 w 4519987"/>
                    <a:gd name="connsiteY101" fmla="*/ 676275 h 4476750"/>
                    <a:gd name="connsiteX102" fmla="*/ 697252 w 4519987"/>
                    <a:gd name="connsiteY102" fmla="*/ 657225 h 4476750"/>
                    <a:gd name="connsiteX103" fmla="*/ 840127 w 4519987"/>
                    <a:gd name="connsiteY103" fmla="*/ 533400 h 4476750"/>
                    <a:gd name="connsiteX104" fmla="*/ 887752 w 4519987"/>
                    <a:gd name="connsiteY104" fmla="*/ 504825 h 4476750"/>
                    <a:gd name="connsiteX105" fmla="*/ 1167152 w 4519987"/>
                    <a:gd name="connsiteY105" fmla="*/ 311150 h 4476750"/>
                    <a:gd name="connsiteX106" fmla="*/ 1268752 w 4519987"/>
                    <a:gd name="connsiteY106" fmla="*/ 285750 h 4476750"/>
                    <a:gd name="connsiteX107" fmla="*/ 1411627 w 4519987"/>
                    <a:gd name="connsiteY107" fmla="*/ 190500 h 4476750"/>
                    <a:gd name="connsiteX108" fmla="*/ 1449727 w 4519987"/>
                    <a:gd name="connsiteY108" fmla="*/ 161925 h 4476750"/>
                    <a:gd name="connsiteX109" fmla="*/ 1525927 w 4519987"/>
                    <a:gd name="connsiteY109" fmla="*/ 152400 h 4476750"/>
                    <a:gd name="connsiteX110" fmla="*/ 1583077 w 4519987"/>
                    <a:gd name="connsiteY110" fmla="*/ 142875 h 4476750"/>
                    <a:gd name="connsiteX111" fmla="*/ 1716427 w 4519987"/>
                    <a:gd name="connsiteY111" fmla="*/ 123825 h 4476750"/>
                    <a:gd name="connsiteX112" fmla="*/ 1811677 w 4519987"/>
                    <a:gd name="connsiteY112" fmla="*/ 114300 h 4476750"/>
                    <a:gd name="connsiteX113" fmla="*/ 1859302 w 4519987"/>
                    <a:gd name="connsiteY113" fmla="*/ 104775 h 4476750"/>
                    <a:gd name="connsiteX114" fmla="*/ 1916452 w 4519987"/>
                    <a:gd name="connsiteY114" fmla="*/ 95250 h 4476750"/>
                    <a:gd name="connsiteX115" fmla="*/ 2030752 w 4519987"/>
                    <a:gd name="connsiteY115" fmla="*/ 66675 h 4476750"/>
                    <a:gd name="connsiteX116" fmla="*/ 2097427 w 4519987"/>
                    <a:gd name="connsiteY116" fmla="*/ 47625 h 4476750"/>
                    <a:gd name="connsiteX117" fmla="*/ 2164102 w 4519987"/>
                    <a:gd name="connsiteY117" fmla="*/ 38100 h 4476750"/>
                    <a:gd name="connsiteX118" fmla="*/ 2392702 w 4519987"/>
                    <a:gd name="connsiteY118" fmla="*/ 28575 h 4476750"/>
                    <a:gd name="connsiteX0" fmla="*/ 2297452 w 4519987"/>
                    <a:gd name="connsiteY0" fmla="*/ 0 h 4478541"/>
                    <a:gd name="connsiteX1" fmla="*/ 2421277 w 4519987"/>
                    <a:gd name="connsiteY1" fmla="*/ 28575 h 4478541"/>
                    <a:gd name="connsiteX2" fmla="*/ 2497477 w 4519987"/>
                    <a:gd name="connsiteY2" fmla="*/ 47625 h 4478541"/>
                    <a:gd name="connsiteX3" fmla="*/ 2754652 w 4519987"/>
                    <a:gd name="connsiteY3" fmla="*/ 66675 h 4478541"/>
                    <a:gd name="connsiteX4" fmla="*/ 2830852 w 4519987"/>
                    <a:gd name="connsiteY4" fmla="*/ 76200 h 4478541"/>
                    <a:gd name="connsiteX5" fmla="*/ 2916577 w 4519987"/>
                    <a:gd name="connsiteY5" fmla="*/ 85725 h 4478541"/>
                    <a:gd name="connsiteX6" fmla="*/ 2973727 w 4519987"/>
                    <a:gd name="connsiteY6" fmla="*/ 114300 h 4478541"/>
                    <a:gd name="connsiteX7" fmla="*/ 3011827 w 4519987"/>
                    <a:gd name="connsiteY7" fmla="*/ 123825 h 4478541"/>
                    <a:gd name="connsiteX8" fmla="*/ 3135652 w 4519987"/>
                    <a:gd name="connsiteY8" fmla="*/ 171450 h 4478541"/>
                    <a:gd name="connsiteX9" fmla="*/ 3173752 w 4519987"/>
                    <a:gd name="connsiteY9" fmla="*/ 190500 h 4478541"/>
                    <a:gd name="connsiteX10" fmla="*/ 3240427 w 4519987"/>
                    <a:gd name="connsiteY10" fmla="*/ 228600 h 4478541"/>
                    <a:gd name="connsiteX11" fmla="*/ 3269002 w 4519987"/>
                    <a:gd name="connsiteY11" fmla="*/ 238125 h 4478541"/>
                    <a:gd name="connsiteX12" fmla="*/ 3297577 w 4519987"/>
                    <a:gd name="connsiteY12" fmla="*/ 257175 h 4478541"/>
                    <a:gd name="connsiteX13" fmla="*/ 3326152 w 4519987"/>
                    <a:gd name="connsiteY13" fmla="*/ 266700 h 4478541"/>
                    <a:gd name="connsiteX14" fmla="*/ 3354727 w 4519987"/>
                    <a:gd name="connsiteY14" fmla="*/ 285750 h 4478541"/>
                    <a:gd name="connsiteX15" fmla="*/ 3421402 w 4519987"/>
                    <a:gd name="connsiteY15" fmla="*/ 323850 h 4478541"/>
                    <a:gd name="connsiteX16" fmla="*/ 3469027 w 4519987"/>
                    <a:gd name="connsiteY16" fmla="*/ 361950 h 4478541"/>
                    <a:gd name="connsiteX17" fmla="*/ 3516652 w 4519987"/>
                    <a:gd name="connsiteY17" fmla="*/ 390525 h 4478541"/>
                    <a:gd name="connsiteX18" fmla="*/ 3630952 w 4519987"/>
                    <a:gd name="connsiteY18" fmla="*/ 485775 h 4478541"/>
                    <a:gd name="connsiteX19" fmla="*/ 3745252 w 4519987"/>
                    <a:gd name="connsiteY19" fmla="*/ 542925 h 4478541"/>
                    <a:gd name="connsiteX20" fmla="*/ 3811927 w 4519987"/>
                    <a:gd name="connsiteY20" fmla="*/ 581025 h 4478541"/>
                    <a:gd name="connsiteX21" fmla="*/ 4027827 w 4519987"/>
                    <a:gd name="connsiteY21" fmla="*/ 819150 h 4478541"/>
                    <a:gd name="connsiteX22" fmla="*/ 4164352 w 4519987"/>
                    <a:gd name="connsiteY22" fmla="*/ 990600 h 4478541"/>
                    <a:gd name="connsiteX23" fmla="*/ 4250077 w 4519987"/>
                    <a:gd name="connsiteY23" fmla="*/ 1143000 h 4478541"/>
                    <a:gd name="connsiteX24" fmla="*/ 4307227 w 4519987"/>
                    <a:gd name="connsiteY24" fmla="*/ 1266825 h 4478541"/>
                    <a:gd name="connsiteX25" fmla="*/ 4345327 w 4519987"/>
                    <a:gd name="connsiteY25" fmla="*/ 1362075 h 4478541"/>
                    <a:gd name="connsiteX26" fmla="*/ 4392952 w 4519987"/>
                    <a:gd name="connsiteY26" fmla="*/ 1552575 h 4478541"/>
                    <a:gd name="connsiteX27" fmla="*/ 4431052 w 4519987"/>
                    <a:gd name="connsiteY27" fmla="*/ 1685925 h 4478541"/>
                    <a:gd name="connsiteX28" fmla="*/ 4519952 w 4519987"/>
                    <a:gd name="connsiteY28" fmla="*/ 2181225 h 4478541"/>
                    <a:gd name="connsiteX29" fmla="*/ 4446927 w 4519987"/>
                    <a:gd name="connsiteY29" fmla="*/ 2768600 h 4478541"/>
                    <a:gd name="connsiteX30" fmla="*/ 4383427 w 4519987"/>
                    <a:gd name="connsiteY30" fmla="*/ 2990850 h 4478541"/>
                    <a:gd name="connsiteX31" fmla="*/ 4278652 w 4519987"/>
                    <a:gd name="connsiteY31" fmla="*/ 3248025 h 4478541"/>
                    <a:gd name="connsiteX32" fmla="*/ 4183402 w 4519987"/>
                    <a:gd name="connsiteY32" fmla="*/ 3400425 h 4478541"/>
                    <a:gd name="connsiteX33" fmla="*/ 4059577 w 4519987"/>
                    <a:gd name="connsiteY33" fmla="*/ 3533775 h 4478541"/>
                    <a:gd name="connsiteX34" fmla="*/ 3954802 w 4519987"/>
                    <a:gd name="connsiteY34" fmla="*/ 3648075 h 4478541"/>
                    <a:gd name="connsiteX35" fmla="*/ 3659527 w 4519987"/>
                    <a:gd name="connsiteY35" fmla="*/ 3971925 h 4478541"/>
                    <a:gd name="connsiteX36" fmla="*/ 3516652 w 4519987"/>
                    <a:gd name="connsiteY36" fmla="*/ 4083050 h 4478541"/>
                    <a:gd name="connsiteX37" fmla="*/ 3221377 w 4519987"/>
                    <a:gd name="connsiteY37" fmla="*/ 4222750 h 4478541"/>
                    <a:gd name="connsiteX38" fmla="*/ 3068977 w 4519987"/>
                    <a:gd name="connsiteY38" fmla="*/ 4286250 h 4478541"/>
                    <a:gd name="connsiteX39" fmla="*/ 2935627 w 4519987"/>
                    <a:gd name="connsiteY39" fmla="*/ 4333875 h 4478541"/>
                    <a:gd name="connsiteX40" fmla="*/ 2811802 w 4519987"/>
                    <a:gd name="connsiteY40" fmla="*/ 4371975 h 4478541"/>
                    <a:gd name="connsiteX41" fmla="*/ 2745127 w 4519987"/>
                    <a:gd name="connsiteY41" fmla="*/ 4410075 h 4478541"/>
                    <a:gd name="connsiteX42" fmla="*/ 2306977 w 4519987"/>
                    <a:gd name="connsiteY42" fmla="*/ 4476750 h 4478541"/>
                    <a:gd name="connsiteX43" fmla="*/ 2202202 w 4519987"/>
                    <a:gd name="connsiteY43" fmla="*/ 4457700 h 4478541"/>
                    <a:gd name="connsiteX44" fmla="*/ 2126002 w 4519987"/>
                    <a:gd name="connsiteY44" fmla="*/ 4429125 h 4478541"/>
                    <a:gd name="connsiteX45" fmla="*/ 1935502 w 4519987"/>
                    <a:gd name="connsiteY45" fmla="*/ 4400550 h 4478541"/>
                    <a:gd name="connsiteX46" fmla="*/ 1821202 w 4519987"/>
                    <a:gd name="connsiteY46" fmla="*/ 4371975 h 4478541"/>
                    <a:gd name="connsiteX47" fmla="*/ 1754527 w 4519987"/>
                    <a:gd name="connsiteY47" fmla="*/ 4352925 h 4478541"/>
                    <a:gd name="connsiteX48" fmla="*/ 1687852 w 4519987"/>
                    <a:gd name="connsiteY48" fmla="*/ 4343400 h 4478541"/>
                    <a:gd name="connsiteX49" fmla="*/ 1573552 w 4519987"/>
                    <a:gd name="connsiteY49" fmla="*/ 4305300 h 4478541"/>
                    <a:gd name="connsiteX50" fmla="*/ 1402102 w 4519987"/>
                    <a:gd name="connsiteY50" fmla="*/ 4276725 h 4478541"/>
                    <a:gd name="connsiteX51" fmla="*/ 1287802 w 4519987"/>
                    <a:gd name="connsiteY51" fmla="*/ 4229100 h 4478541"/>
                    <a:gd name="connsiteX52" fmla="*/ 1221127 w 4519987"/>
                    <a:gd name="connsiteY52" fmla="*/ 4200525 h 4478541"/>
                    <a:gd name="connsiteX53" fmla="*/ 1144927 w 4519987"/>
                    <a:gd name="connsiteY53" fmla="*/ 4171950 h 4478541"/>
                    <a:gd name="connsiteX54" fmla="*/ 1087777 w 4519987"/>
                    <a:gd name="connsiteY54" fmla="*/ 4143375 h 4478541"/>
                    <a:gd name="connsiteX55" fmla="*/ 1030627 w 4519987"/>
                    <a:gd name="connsiteY55" fmla="*/ 4124325 h 4478541"/>
                    <a:gd name="connsiteX56" fmla="*/ 925852 w 4519987"/>
                    <a:gd name="connsiteY56" fmla="*/ 4067175 h 4478541"/>
                    <a:gd name="connsiteX57" fmla="*/ 830602 w 4519987"/>
                    <a:gd name="connsiteY57" fmla="*/ 3981450 h 4478541"/>
                    <a:gd name="connsiteX58" fmla="*/ 763927 w 4519987"/>
                    <a:gd name="connsiteY58" fmla="*/ 3914775 h 4478541"/>
                    <a:gd name="connsiteX59" fmla="*/ 725827 w 4519987"/>
                    <a:gd name="connsiteY59" fmla="*/ 3876675 h 4478541"/>
                    <a:gd name="connsiteX60" fmla="*/ 697252 w 4519987"/>
                    <a:gd name="connsiteY60" fmla="*/ 3838575 h 4478541"/>
                    <a:gd name="connsiteX61" fmla="*/ 640102 w 4519987"/>
                    <a:gd name="connsiteY61" fmla="*/ 3781425 h 4478541"/>
                    <a:gd name="connsiteX62" fmla="*/ 611527 w 4519987"/>
                    <a:gd name="connsiteY62" fmla="*/ 3733800 h 4478541"/>
                    <a:gd name="connsiteX63" fmla="*/ 554377 w 4519987"/>
                    <a:gd name="connsiteY63" fmla="*/ 3657600 h 4478541"/>
                    <a:gd name="connsiteX64" fmla="*/ 525802 w 4519987"/>
                    <a:gd name="connsiteY64" fmla="*/ 3609975 h 4478541"/>
                    <a:gd name="connsiteX65" fmla="*/ 497227 w 4519987"/>
                    <a:gd name="connsiteY65" fmla="*/ 3552825 h 4478541"/>
                    <a:gd name="connsiteX66" fmla="*/ 440077 w 4519987"/>
                    <a:gd name="connsiteY66" fmla="*/ 3495675 h 4478541"/>
                    <a:gd name="connsiteX67" fmla="*/ 411502 w 4519987"/>
                    <a:gd name="connsiteY67" fmla="*/ 3448050 h 4478541"/>
                    <a:gd name="connsiteX68" fmla="*/ 278152 w 4519987"/>
                    <a:gd name="connsiteY68" fmla="*/ 3257550 h 4478541"/>
                    <a:gd name="connsiteX69" fmla="*/ 249577 w 4519987"/>
                    <a:gd name="connsiteY69" fmla="*/ 3200400 h 4478541"/>
                    <a:gd name="connsiteX70" fmla="*/ 240052 w 4519987"/>
                    <a:gd name="connsiteY70" fmla="*/ 3162300 h 4478541"/>
                    <a:gd name="connsiteX71" fmla="*/ 221002 w 4519987"/>
                    <a:gd name="connsiteY71" fmla="*/ 3105150 h 4478541"/>
                    <a:gd name="connsiteX72" fmla="*/ 173377 w 4519987"/>
                    <a:gd name="connsiteY72" fmla="*/ 3019425 h 4478541"/>
                    <a:gd name="connsiteX73" fmla="*/ 144802 w 4519987"/>
                    <a:gd name="connsiteY73" fmla="*/ 2924175 h 4478541"/>
                    <a:gd name="connsiteX74" fmla="*/ 68602 w 4519987"/>
                    <a:gd name="connsiteY74" fmla="*/ 2724150 h 4478541"/>
                    <a:gd name="connsiteX75" fmla="*/ 49552 w 4519987"/>
                    <a:gd name="connsiteY75" fmla="*/ 2638425 h 4478541"/>
                    <a:gd name="connsiteX76" fmla="*/ 40027 w 4519987"/>
                    <a:gd name="connsiteY76" fmla="*/ 2562225 h 4478541"/>
                    <a:gd name="connsiteX77" fmla="*/ 30502 w 4519987"/>
                    <a:gd name="connsiteY77" fmla="*/ 2514600 h 4478541"/>
                    <a:gd name="connsiteX78" fmla="*/ 11452 w 4519987"/>
                    <a:gd name="connsiteY78" fmla="*/ 2400300 h 4478541"/>
                    <a:gd name="connsiteX79" fmla="*/ 20977 w 4519987"/>
                    <a:gd name="connsiteY79" fmla="*/ 1905000 h 4478541"/>
                    <a:gd name="connsiteX80" fmla="*/ 30502 w 4519987"/>
                    <a:gd name="connsiteY80" fmla="*/ 1838325 h 4478541"/>
                    <a:gd name="connsiteX81" fmla="*/ 49552 w 4519987"/>
                    <a:gd name="connsiteY81" fmla="*/ 1781175 h 4478541"/>
                    <a:gd name="connsiteX82" fmla="*/ 59077 w 4519987"/>
                    <a:gd name="connsiteY82" fmla="*/ 1743075 h 4478541"/>
                    <a:gd name="connsiteX83" fmla="*/ 78127 w 4519987"/>
                    <a:gd name="connsiteY83" fmla="*/ 1685925 h 4478541"/>
                    <a:gd name="connsiteX84" fmla="*/ 87652 w 4519987"/>
                    <a:gd name="connsiteY84" fmla="*/ 1638300 h 4478541"/>
                    <a:gd name="connsiteX85" fmla="*/ 106702 w 4519987"/>
                    <a:gd name="connsiteY85" fmla="*/ 1590675 h 4478541"/>
                    <a:gd name="connsiteX86" fmla="*/ 135277 w 4519987"/>
                    <a:gd name="connsiteY86" fmla="*/ 1504950 h 4478541"/>
                    <a:gd name="connsiteX87" fmla="*/ 154327 w 4519987"/>
                    <a:gd name="connsiteY87" fmla="*/ 1419225 h 4478541"/>
                    <a:gd name="connsiteX88" fmla="*/ 230527 w 4519987"/>
                    <a:gd name="connsiteY88" fmla="*/ 1276350 h 4478541"/>
                    <a:gd name="connsiteX89" fmla="*/ 240052 w 4519987"/>
                    <a:gd name="connsiteY89" fmla="*/ 1247775 h 4478541"/>
                    <a:gd name="connsiteX90" fmla="*/ 268627 w 4519987"/>
                    <a:gd name="connsiteY90" fmla="*/ 1200150 h 4478541"/>
                    <a:gd name="connsiteX91" fmla="*/ 287677 w 4519987"/>
                    <a:gd name="connsiteY91" fmla="*/ 1152525 h 4478541"/>
                    <a:gd name="connsiteX92" fmla="*/ 316252 w 4519987"/>
                    <a:gd name="connsiteY92" fmla="*/ 1114425 h 4478541"/>
                    <a:gd name="connsiteX93" fmla="*/ 363877 w 4519987"/>
                    <a:gd name="connsiteY93" fmla="*/ 1038225 h 4478541"/>
                    <a:gd name="connsiteX94" fmla="*/ 382927 w 4519987"/>
                    <a:gd name="connsiteY94" fmla="*/ 1009650 h 4478541"/>
                    <a:gd name="connsiteX95" fmla="*/ 440077 w 4519987"/>
                    <a:gd name="connsiteY95" fmla="*/ 904875 h 4478541"/>
                    <a:gd name="connsiteX96" fmla="*/ 478177 w 4519987"/>
                    <a:gd name="connsiteY96" fmla="*/ 857250 h 4478541"/>
                    <a:gd name="connsiteX97" fmla="*/ 497227 w 4519987"/>
                    <a:gd name="connsiteY97" fmla="*/ 828675 h 4478541"/>
                    <a:gd name="connsiteX98" fmla="*/ 535327 w 4519987"/>
                    <a:gd name="connsiteY98" fmla="*/ 800100 h 4478541"/>
                    <a:gd name="connsiteX99" fmla="*/ 602002 w 4519987"/>
                    <a:gd name="connsiteY99" fmla="*/ 733425 h 4478541"/>
                    <a:gd name="connsiteX100" fmla="*/ 668677 w 4519987"/>
                    <a:gd name="connsiteY100" fmla="*/ 676275 h 4478541"/>
                    <a:gd name="connsiteX101" fmla="*/ 697252 w 4519987"/>
                    <a:gd name="connsiteY101" fmla="*/ 657225 h 4478541"/>
                    <a:gd name="connsiteX102" fmla="*/ 840127 w 4519987"/>
                    <a:gd name="connsiteY102" fmla="*/ 533400 h 4478541"/>
                    <a:gd name="connsiteX103" fmla="*/ 887752 w 4519987"/>
                    <a:gd name="connsiteY103" fmla="*/ 504825 h 4478541"/>
                    <a:gd name="connsiteX104" fmla="*/ 1167152 w 4519987"/>
                    <a:gd name="connsiteY104" fmla="*/ 311150 h 4478541"/>
                    <a:gd name="connsiteX105" fmla="*/ 1268752 w 4519987"/>
                    <a:gd name="connsiteY105" fmla="*/ 285750 h 4478541"/>
                    <a:gd name="connsiteX106" fmla="*/ 1411627 w 4519987"/>
                    <a:gd name="connsiteY106" fmla="*/ 190500 h 4478541"/>
                    <a:gd name="connsiteX107" fmla="*/ 1449727 w 4519987"/>
                    <a:gd name="connsiteY107" fmla="*/ 161925 h 4478541"/>
                    <a:gd name="connsiteX108" fmla="*/ 1525927 w 4519987"/>
                    <a:gd name="connsiteY108" fmla="*/ 152400 h 4478541"/>
                    <a:gd name="connsiteX109" fmla="*/ 1583077 w 4519987"/>
                    <a:gd name="connsiteY109" fmla="*/ 142875 h 4478541"/>
                    <a:gd name="connsiteX110" fmla="*/ 1716427 w 4519987"/>
                    <a:gd name="connsiteY110" fmla="*/ 123825 h 4478541"/>
                    <a:gd name="connsiteX111" fmla="*/ 1811677 w 4519987"/>
                    <a:gd name="connsiteY111" fmla="*/ 114300 h 4478541"/>
                    <a:gd name="connsiteX112" fmla="*/ 1859302 w 4519987"/>
                    <a:gd name="connsiteY112" fmla="*/ 104775 h 4478541"/>
                    <a:gd name="connsiteX113" fmla="*/ 1916452 w 4519987"/>
                    <a:gd name="connsiteY113" fmla="*/ 95250 h 4478541"/>
                    <a:gd name="connsiteX114" fmla="*/ 2030752 w 4519987"/>
                    <a:gd name="connsiteY114" fmla="*/ 66675 h 4478541"/>
                    <a:gd name="connsiteX115" fmla="*/ 2097427 w 4519987"/>
                    <a:gd name="connsiteY115" fmla="*/ 47625 h 4478541"/>
                    <a:gd name="connsiteX116" fmla="*/ 2164102 w 4519987"/>
                    <a:gd name="connsiteY116" fmla="*/ 38100 h 4478541"/>
                    <a:gd name="connsiteX117" fmla="*/ 2392702 w 4519987"/>
                    <a:gd name="connsiteY117" fmla="*/ 28575 h 4478541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580027 w 4519987"/>
                    <a:gd name="connsiteY41" fmla="*/ 4391025 h 4476750"/>
                    <a:gd name="connsiteX42" fmla="*/ 2306977 w 4519987"/>
                    <a:gd name="connsiteY42" fmla="*/ 4476750 h 4476750"/>
                    <a:gd name="connsiteX43" fmla="*/ 2202202 w 4519987"/>
                    <a:gd name="connsiteY43" fmla="*/ 4457700 h 4476750"/>
                    <a:gd name="connsiteX44" fmla="*/ 2126002 w 4519987"/>
                    <a:gd name="connsiteY44" fmla="*/ 4429125 h 4476750"/>
                    <a:gd name="connsiteX45" fmla="*/ 1935502 w 4519987"/>
                    <a:gd name="connsiteY45" fmla="*/ 4400550 h 4476750"/>
                    <a:gd name="connsiteX46" fmla="*/ 1821202 w 4519987"/>
                    <a:gd name="connsiteY46" fmla="*/ 4371975 h 4476750"/>
                    <a:gd name="connsiteX47" fmla="*/ 1754527 w 4519987"/>
                    <a:gd name="connsiteY47" fmla="*/ 4352925 h 4476750"/>
                    <a:gd name="connsiteX48" fmla="*/ 1687852 w 4519987"/>
                    <a:gd name="connsiteY48" fmla="*/ 4343400 h 4476750"/>
                    <a:gd name="connsiteX49" fmla="*/ 1573552 w 4519987"/>
                    <a:gd name="connsiteY49" fmla="*/ 4305300 h 4476750"/>
                    <a:gd name="connsiteX50" fmla="*/ 1402102 w 4519987"/>
                    <a:gd name="connsiteY50" fmla="*/ 4276725 h 4476750"/>
                    <a:gd name="connsiteX51" fmla="*/ 1287802 w 4519987"/>
                    <a:gd name="connsiteY51" fmla="*/ 4229100 h 4476750"/>
                    <a:gd name="connsiteX52" fmla="*/ 1221127 w 4519987"/>
                    <a:gd name="connsiteY52" fmla="*/ 4200525 h 4476750"/>
                    <a:gd name="connsiteX53" fmla="*/ 1144927 w 4519987"/>
                    <a:gd name="connsiteY53" fmla="*/ 4171950 h 4476750"/>
                    <a:gd name="connsiteX54" fmla="*/ 1087777 w 4519987"/>
                    <a:gd name="connsiteY54" fmla="*/ 4143375 h 4476750"/>
                    <a:gd name="connsiteX55" fmla="*/ 1030627 w 4519987"/>
                    <a:gd name="connsiteY55" fmla="*/ 4124325 h 4476750"/>
                    <a:gd name="connsiteX56" fmla="*/ 925852 w 4519987"/>
                    <a:gd name="connsiteY56" fmla="*/ 4067175 h 4476750"/>
                    <a:gd name="connsiteX57" fmla="*/ 830602 w 4519987"/>
                    <a:gd name="connsiteY57" fmla="*/ 3981450 h 4476750"/>
                    <a:gd name="connsiteX58" fmla="*/ 763927 w 4519987"/>
                    <a:gd name="connsiteY58" fmla="*/ 3914775 h 4476750"/>
                    <a:gd name="connsiteX59" fmla="*/ 725827 w 4519987"/>
                    <a:gd name="connsiteY59" fmla="*/ 3876675 h 4476750"/>
                    <a:gd name="connsiteX60" fmla="*/ 697252 w 4519987"/>
                    <a:gd name="connsiteY60" fmla="*/ 3838575 h 4476750"/>
                    <a:gd name="connsiteX61" fmla="*/ 640102 w 4519987"/>
                    <a:gd name="connsiteY61" fmla="*/ 3781425 h 4476750"/>
                    <a:gd name="connsiteX62" fmla="*/ 611527 w 4519987"/>
                    <a:gd name="connsiteY62" fmla="*/ 3733800 h 4476750"/>
                    <a:gd name="connsiteX63" fmla="*/ 554377 w 4519987"/>
                    <a:gd name="connsiteY63" fmla="*/ 3657600 h 4476750"/>
                    <a:gd name="connsiteX64" fmla="*/ 525802 w 4519987"/>
                    <a:gd name="connsiteY64" fmla="*/ 3609975 h 4476750"/>
                    <a:gd name="connsiteX65" fmla="*/ 497227 w 4519987"/>
                    <a:gd name="connsiteY65" fmla="*/ 3552825 h 4476750"/>
                    <a:gd name="connsiteX66" fmla="*/ 440077 w 4519987"/>
                    <a:gd name="connsiteY66" fmla="*/ 3495675 h 4476750"/>
                    <a:gd name="connsiteX67" fmla="*/ 411502 w 4519987"/>
                    <a:gd name="connsiteY67" fmla="*/ 3448050 h 4476750"/>
                    <a:gd name="connsiteX68" fmla="*/ 278152 w 4519987"/>
                    <a:gd name="connsiteY68" fmla="*/ 3257550 h 4476750"/>
                    <a:gd name="connsiteX69" fmla="*/ 249577 w 4519987"/>
                    <a:gd name="connsiteY69" fmla="*/ 3200400 h 4476750"/>
                    <a:gd name="connsiteX70" fmla="*/ 240052 w 4519987"/>
                    <a:gd name="connsiteY70" fmla="*/ 3162300 h 4476750"/>
                    <a:gd name="connsiteX71" fmla="*/ 221002 w 4519987"/>
                    <a:gd name="connsiteY71" fmla="*/ 3105150 h 4476750"/>
                    <a:gd name="connsiteX72" fmla="*/ 173377 w 4519987"/>
                    <a:gd name="connsiteY72" fmla="*/ 3019425 h 4476750"/>
                    <a:gd name="connsiteX73" fmla="*/ 144802 w 4519987"/>
                    <a:gd name="connsiteY73" fmla="*/ 2924175 h 4476750"/>
                    <a:gd name="connsiteX74" fmla="*/ 68602 w 4519987"/>
                    <a:gd name="connsiteY74" fmla="*/ 2724150 h 4476750"/>
                    <a:gd name="connsiteX75" fmla="*/ 49552 w 4519987"/>
                    <a:gd name="connsiteY75" fmla="*/ 2638425 h 4476750"/>
                    <a:gd name="connsiteX76" fmla="*/ 40027 w 4519987"/>
                    <a:gd name="connsiteY76" fmla="*/ 2562225 h 4476750"/>
                    <a:gd name="connsiteX77" fmla="*/ 30502 w 4519987"/>
                    <a:gd name="connsiteY77" fmla="*/ 2514600 h 4476750"/>
                    <a:gd name="connsiteX78" fmla="*/ 11452 w 4519987"/>
                    <a:gd name="connsiteY78" fmla="*/ 2400300 h 4476750"/>
                    <a:gd name="connsiteX79" fmla="*/ 20977 w 4519987"/>
                    <a:gd name="connsiteY79" fmla="*/ 1905000 h 4476750"/>
                    <a:gd name="connsiteX80" fmla="*/ 30502 w 4519987"/>
                    <a:gd name="connsiteY80" fmla="*/ 1838325 h 4476750"/>
                    <a:gd name="connsiteX81" fmla="*/ 49552 w 4519987"/>
                    <a:gd name="connsiteY81" fmla="*/ 1781175 h 4476750"/>
                    <a:gd name="connsiteX82" fmla="*/ 59077 w 4519987"/>
                    <a:gd name="connsiteY82" fmla="*/ 1743075 h 4476750"/>
                    <a:gd name="connsiteX83" fmla="*/ 78127 w 4519987"/>
                    <a:gd name="connsiteY83" fmla="*/ 1685925 h 4476750"/>
                    <a:gd name="connsiteX84" fmla="*/ 87652 w 4519987"/>
                    <a:gd name="connsiteY84" fmla="*/ 1638300 h 4476750"/>
                    <a:gd name="connsiteX85" fmla="*/ 106702 w 4519987"/>
                    <a:gd name="connsiteY85" fmla="*/ 1590675 h 4476750"/>
                    <a:gd name="connsiteX86" fmla="*/ 135277 w 4519987"/>
                    <a:gd name="connsiteY86" fmla="*/ 1504950 h 4476750"/>
                    <a:gd name="connsiteX87" fmla="*/ 154327 w 4519987"/>
                    <a:gd name="connsiteY87" fmla="*/ 1419225 h 4476750"/>
                    <a:gd name="connsiteX88" fmla="*/ 230527 w 4519987"/>
                    <a:gd name="connsiteY88" fmla="*/ 1276350 h 4476750"/>
                    <a:gd name="connsiteX89" fmla="*/ 240052 w 4519987"/>
                    <a:gd name="connsiteY89" fmla="*/ 1247775 h 4476750"/>
                    <a:gd name="connsiteX90" fmla="*/ 268627 w 4519987"/>
                    <a:gd name="connsiteY90" fmla="*/ 1200150 h 4476750"/>
                    <a:gd name="connsiteX91" fmla="*/ 287677 w 4519987"/>
                    <a:gd name="connsiteY91" fmla="*/ 1152525 h 4476750"/>
                    <a:gd name="connsiteX92" fmla="*/ 316252 w 4519987"/>
                    <a:gd name="connsiteY92" fmla="*/ 1114425 h 4476750"/>
                    <a:gd name="connsiteX93" fmla="*/ 363877 w 4519987"/>
                    <a:gd name="connsiteY93" fmla="*/ 1038225 h 4476750"/>
                    <a:gd name="connsiteX94" fmla="*/ 382927 w 4519987"/>
                    <a:gd name="connsiteY94" fmla="*/ 1009650 h 4476750"/>
                    <a:gd name="connsiteX95" fmla="*/ 440077 w 4519987"/>
                    <a:gd name="connsiteY95" fmla="*/ 904875 h 4476750"/>
                    <a:gd name="connsiteX96" fmla="*/ 478177 w 4519987"/>
                    <a:gd name="connsiteY96" fmla="*/ 857250 h 4476750"/>
                    <a:gd name="connsiteX97" fmla="*/ 497227 w 4519987"/>
                    <a:gd name="connsiteY97" fmla="*/ 828675 h 4476750"/>
                    <a:gd name="connsiteX98" fmla="*/ 535327 w 4519987"/>
                    <a:gd name="connsiteY98" fmla="*/ 800100 h 4476750"/>
                    <a:gd name="connsiteX99" fmla="*/ 602002 w 4519987"/>
                    <a:gd name="connsiteY99" fmla="*/ 733425 h 4476750"/>
                    <a:gd name="connsiteX100" fmla="*/ 668677 w 4519987"/>
                    <a:gd name="connsiteY100" fmla="*/ 676275 h 4476750"/>
                    <a:gd name="connsiteX101" fmla="*/ 697252 w 4519987"/>
                    <a:gd name="connsiteY101" fmla="*/ 657225 h 4476750"/>
                    <a:gd name="connsiteX102" fmla="*/ 840127 w 4519987"/>
                    <a:gd name="connsiteY102" fmla="*/ 533400 h 4476750"/>
                    <a:gd name="connsiteX103" fmla="*/ 887752 w 4519987"/>
                    <a:gd name="connsiteY103" fmla="*/ 504825 h 4476750"/>
                    <a:gd name="connsiteX104" fmla="*/ 1167152 w 4519987"/>
                    <a:gd name="connsiteY104" fmla="*/ 311150 h 4476750"/>
                    <a:gd name="connsiteX105" fmla="*/ 1268752 w 4519987"/>
                    <a:gd name="connsiteY105" fmla="*/ 285750 h 4476750"/>
                    <a:gd name="connsiteX106" fmla="*/ 1411627 w 4519987"/>
                    <a:gd name="connsiteY106" fmla="*/ 190500 h 4476750"/>
                    <a:gd name="connsiteX107" fmla="*/ 1449727 w 4519987"/>
                    <a:gd name="connsiteY107" fmla="*/ 161925 h 4476750"/>
                    <a:gd name="connsiteX108" fmla="*/ 1525927 w 4519987"/>
                    <a:gd name="connsiteY108" fmla="*/ 152400 h 4476750"/>
                    <a:gd name="connsiteX109" fmla="*/ 1583077 w 4519987"/>
                    <a:gd name="connsiteY109" fmla="*/ 142875 h 4476750"/>
                    <a:gd name="connsiteX110" fmla="*/ 1716427 w 4519987"/>
                    <a:gd name="connsiteY110" fmla="*/ 123825 h 4476750"/>
                    <a:gd name="connsiteX111" fmla="*/ 1811677 w 4519987"/>
                    <a:gd name="connsiteY111" fmla="*/ 114300 h 4476750"/>
                    <a:gd name="connsiteX112" fmla="*/ 1859302 w 4519987"/>
                    <a:gd name="connsiteY112" fmla="*/ 104775 h 4476750"/>
                    <a:gd name="connsiteX113" fmla="*/ 1916452 w 4519987"/>
                    <a:gd name="connsiteY113" fmla="*/ 95250 h 4476750"/>
                    <a:gd name="connsiteX114" fmla="*/ 2030752 w 4519987"/>
                    <a:gd name="connsiteY114" fmla="*/ 66675 h 4476750"/>
                    <a:gd name="connsiteX115" fmla="*/ 2097427 w 4519987"/>
                    <a:gd name="connsiteY115" fmla="*/ 47625 h 4476750"/>
                    <a:gd name="connsiteX116" fmla="*/ 2164102 w 4519987"/>
                    <a:gd name="connsiteY116" fmla="*/ 38100 h 4476750"/>
                    <a:gd name="connsiteX117" fmla="*/ 2392702 w 4519987"/>
                    <a:gd name="connsiteY117" fmla="*/ 28575 h 4476750"/>
                    <a:gd name="connsiteX0" fmla="*/ 2297452 w 4519987"/>
                    <a:gd name="connsiteY0" fmla="*/ 0 h 4457700"/>
                    <a:gd name="connsiteX1" fmla="*/ 2421277 w 4519987"/>
                    <a:gd name="connsiteY1" fmla="*/ 28575 h 4457700"/>
                    <a:gd name="connsiteX2" fmla="*/ 2497477 w 4519987"/>
                    <a:gd name="connsiteY2" fmla="*/ 47625 h 4457700"/>
                    <a:gd name="connsiteX3" fmla="*/ 2754652 w 4519987"/>
                    <a:gd name="connsiteY3" fmla="*/ 66675 h 4457700"/>
                    <a:gd name="connsiteX4" fmla="*/ 2830852 w 4519987"/>
                    <a:gd name="connsiteY4" fmla="*/ 76200 h 4457700"/>
                    <a:gd name="connsiteX5" fmla="*/ 2916577 w 4519987"/>
                    <a:gd name="connsiteY5" fmla="*/ 85725 h 4457700"/>
                    <a:gd name="connsiteX6" fmla="*/ 2973727 w 4519987"/>
                    <a:gd name="connsiteY6" fmla="*/ 114300 h 4457700"/>
                    <a:gd name="connsiteX7" fmla="*/ 3011827 w 4519987"/>
                    <a:gd name="connsiteY7" fmla="*/ 123825 h 4457700"/>
                    <a:gd name="connsiteX8" fmla="*/ 3135652 w 4519987"/>
                    <a:gd name="connsiteY8" fmla="*/ 171450 h 4457700"/>
                    <a:gd name="connsiteX9" fmla="*/ 3173752 w 4519987"/>
                    <a:gd name="connsiteY9" fmla="*/ 190500 h 4457700"/>
                    <a:gd name="connsiteX10" fmla="*/ 3240427 w 4519987"/>
                    <a:gd name="connsiteY10" fmla="*/ 228600 h 4457700"/>
                    <a:gd name="connsiteX11" fmla="*/ 3269002 w 4519987"/>
                    <a:gd name="connsiteY11" fmla="*/ 238125 h 4457700"/>
                    <a:gd name="connsiteX12" fmla="*/ 3297577 w 4519987"/>
                    <a:gd name="connsiteY12" fmla="*/ 257175 h 4457700"/>
                    <a:gd name="connsiteX13" fmla="*/ 3326152 w 4519987"/>
                    <a:gd name="connsiteY13" fmla="*/ 266700 h 4457700"/>
                    <a:gd name="connsiteX14" fmla="*/ 3354727 w 4519987"/>
                    <a:gd name="connsiteY14" fmla="*/ 285750 h 4457700"/>
                    <a:gd name="connsiteX15" fmla="*/ 3421402 w 4519987"/>
                    <a:gd name="connsiteY15" fmla="*/ 323850 h 4457700"/>
                    <a:gd name="connsiteX16" fmla="*/ 3469027 w 4519987"/>
                    <a:gd name="connsiteY16" fmla="*/ 361950 h 4457700"/>
                    <a:gd name="connsiteX17" fmla="*/ 3516652 w 4519987"/>
                    <a:gd name="connsiteY17" fmla="*/ 390525 h 4457700"/>
                    <a:gd name="connsiteX18" fmla="*/ 3630952 w 4519987"/>
                    <a:gd name="connsiteY18" fmla="*/ 485775 h 4457700"/>
                    <a:gd name="connsiteX19" fmla="*/ 3745252 w 4519987"/>
                    <a:gd name="connsiteY19" fmla="*/ 542925 h 4457700"/>
                    <a:gd name="connsiteX20" fmla="*/ 3811927 w 4519987"/>
                    <a:gd name="connsiteY20" fmla="*/ 581025 h 4457700"/>
                    <a:gd name="connsiteX21" fmla="*/ 4027827 w 4519987"/>
                    <a:gd name="connsiteY21" fmla="*/ 819150 h 4457700"/>
                    <a:gd name="connsiteX22" fmla="*/ 4164352 w 4519987"/>
                    <a:gd name="connsiteY22" fmla="*/ 990600 h 4457700"/>
                    <a:gd name="connsiteX23" fmla="*/ 4250077 w 4519987"/>
                    <a:gd name="connsiteY23" fmla="*/ 1143000 h 4457700"/>
                    <a:gd name="connsiteX24" fmla="*/ 4307227 w 4519987"/>
                    <a:gd name="connsiteY24" fmla="*/ 1266825 h 4457700"/>
                    <a:gd name="connsiteX25" fmla="*/ 4345327 w 4519987"/>
                    <a:gd name="connsiteY25" fmla="*/ 1362075 h 4457700"/>
                    <a:gd name="connsiteX26" fmla="*/ 4392952 w 4519987"/>
                    <a:gd name="connsiteY26" fmla="*/ 1552575 h 4457700"/>
                    <a:gd name="connsiteX27" fmla="*/ 4431052 w 4519987"/>
                    <a:gd name="connsiteY27" fmla="*/ 1685925 h 4457700"/>
                    <a:gd name="connsiteX28" fmla="*/ 4519952 w 4519987"/>
                    <a:gd name="connsiteY28" fmla="*/ 2181225 h 4457700"/>
                    <a:gd name="connsiteX29" fmla="*/ 4446927 w 4519987"/>
                    <a:gd name="connsiteY29" fmla="*/ 2768600 h 4457700"/>
                    <a:gd name="connsiteX30" fmla="*/ 4383427 w 4519987"/>
                    <a:gd name="connsiteY30" fmla="*/ 2990850 h 4457700"/>
                    <a:gd name="connsiteX31" fmla="*/ 4278652 w 4519987"/>
                    <a:gd name="connsiteY31" fmla="*/ 3248025 h 4457700"/>
                    <a:gd name="connsiteX32" fmla="*/ 4183402 w 4519987"/>
                    <a:gd name="connsiteY32" fmla="*/ 3400425 h 4457700"/>
                    <a:gd name="connsiteX33" fmla="*/ 4059577 w 4519987"/>
                    <a:gd name="connsiteY33" fmla="*/ 3533775 h 4457700"/>
                    <a:gd name="connsiteX34" fmla="*/ 3954802 w 4519987"/>
                    <a:gd name="connsiteY34" fmla="*/ 3648075 h 4457700"/>
                    <a:gd name="connsiteX35" fmla="*/ 3659527 w 4519987"/>
                    <a:gd name="connsiteY35" fmla="*/ 3971925 h 4457700"/>
                    <a:gd name="connsiteX36" fmla="*/ 3516652 w 4519987"/>
                    <a:gd name="connsiteY36" fmla="*/ 4083050 h 4457700"/>
                    <a:gd name="connsiteX37" fmla="*/ 3221377 w 4519987"/>
                    <a:gd name="connsiteY37" fmla="*/ 4222750 h 4457700"/>
                    <a:gd name="connsiteX38" fmla="*/ 3068977 w 4519987"/>
                    <a:gd name="connsiteY38" fmla="*/ 4286250 h 4457700"/>
                    <a:gd name="connsiteX39" fmla="*/ 2935627 w 4519987"/>
                    <a:gd name="connsiteY39" fmla="*/ 4333875 h 4457700"/>
                    <a:gd name="connsiteX40" fmla="*/ 2811802 w 4519987"/>
                    <a:gd name="connsiteY40" fmla="*/ 4371975 h 4457700"/>
                    <a:gd name="connsiteX41" fmla="*/ 2580027 w 4519987"/>
                    <a:gd name="connsiteY41" fmla="*/ 4391025 h 4457700"/>
                    <a:gd name="connsiteX42" fmla="*/ 2202202 w 4519987"/>
                    <a:gd name="connsiteY42" fmla="*/ 4457700 h 4457700"/>
                    <a:gd name="connsiteX43" fmla="*/ 2126002 w 4519987"/>
                    <a:gd name="connsiteY43" fmla="*/ 4429125 h 4457700"/>
                    <a:gd name="connsiteX44" fmla="*/ 1935502 w 4519987"/>
                    <a:gd name="connsiteY44" fmla="*/ 4400550 h 4457700"/>
                    <a:gd name="connsiteX45" fmla="*/ 1821202 w 4519987"/>
                    <a:gd name="connsiteY45" fmla="*/ 4371975 h 4457700"/>
                    <a:gd name="connsiteX46" fmla="*/ 1754527 w 4519987"/>
                    <a:gd name="connsiteY46" fmla="*/ 4352925 h 4457700"/>
                    <a:gd name="connsiteX47" fmla="*/ 1687852 w 4519987"/>
                    <a:gd name="connsiteY47" fmla="*/ 4343400 h 4457700"/>
                    <a:gd name="connsiteX48" fmla="*/ 1573552 w 4519987"/>
                    <a:gd name="connsiteY48" fmla="*/ 4305300 h 4457700"/>
                    <a:gd name="connsiteX49" fmla="*/ 1402102 w 4519987"/>
                    <a:gd name="connsiteY49" fmla="*/ 4276725 h 4457700"/>
                    <a:gd name="connsiteX50" fmla="*/ 1287802 w 4519987"/>
                    <a:gd name="connsiteY50" fmla="*/ 4229100 h 4457700"/>
                    <a:gd name="connsiteX51" fmla="*/ 1221127 w 4519987"/>
                    <a:gd name="connsiteY51" fmla="*/ 4200525 h 4457700"/>
                    <a:gd name="connsiteX52" fmla="*/ 1144927 w 4519987"/>
                    <a:gd name="connsiteY52" fmla="*/ 4171950 h 4457700"/>
                    <a:gd name="connsiteX53" fmla="*/ 1087777 w 4519987"/>
                    <a:gd name="connsiteY53" fmla="*/ 4143375 h 4457700"/>
                    <a:gd name="connsiteX54" fmla="*/ 1030627 w 4519987"/>
                    <a:gd name="connsiteY54" fmla="*/ 4124325 h 4457700"/>
                    <a:gd name="connsiteX55" fmla="*/ 925852 w 4519987"/>
                    <a:gd name="connsiteY55" fmla="*/ 4067175 h 4457700"/>
                    <a:gd name="connsiteX56" fmla="*/ 830602 w 4519987"/>
                    <a:gd name="connsiteY56" fmla="*/ 3981450 h 4457700"/>
                    <a:gd name="connsiteX57" fmla="*/ 763927 w 4519987"/>
                    <a:gd name="connsiteY57" fmla="*/ 3914775 h 4457700"/>
                    <a:gd name="connsiteX58" fmla="*/ 725827 w 4519987"/>
                    <a:gd name="connsiteY58" fmla="*/ 3876675 h 4457700"/>
                    <a:gd name="connsiteX59" fmla="*/ 697252 w 4519987"/>
                    <a:gd name="connsiteY59" fmla="*/ 3838575 h 4457700"/>
                    <a:gd name="connsiteX60" fmla="*/ 640102 w 4519987"/>
                    <a:gd name="connsiteY60" fmla="*/ 3781425 h 4457700"/>
                    <a:gd name="connsiteX61" fmla="*/ 611527 w 4519987"/>
                    <a:gd name="connsiteY61" fmla="*/ 3733800 h 4457700"/>
                    <a:gd name="connsiteX62" fmla="*/ 554377 w 4519987"/>
                    <a:gd name="connsiteY62" fmla="*/ 3657600 h 4457700"/>
                    <a:gd name="connsiteX63" fmla="*/ 525802 w 4519987"/>
                    <a:gd name="connsiteY63" fmla="*/ 3609975 h 4457700"/>
                    <a:gd name="connsiteX64" fmla="*/ 497227 w 4519987"/>
                    <a:gd name="connsiteY64" fmla="*/ 3552825 h 4457700"/>
                    <a:gd name="connsiteX65" fmla="*/ 440077 w 4519987"/>
                    <a:gd name="connsiteY65" fmla="*/ 3495675 h 4457700"/>
                    <a:gd name="connsiteX66" fmla="*/ 411502 w 4519987"/>
                    <a:gd name="connsiteY66" fmla="*/ 3448050 h 4457700"/>
                    <a:gd name="connsiteX67" fmla="*/ 278152 w 4519987"/>
                    <a:gd name="connsiteY67" fmla="*/ 3257550 h 4457700"/>
                    <a:gd name="connsiteX68" fmla="*/ 249577 w 4519987"/>
                    <a:gd name="connsiteY68" fmla="*/ 3200400 h 4457700"/>
                    <a:gd name="connsiteX69" fmla="*/ 240052 w 4519987"/>
                    <a:gd name="connsiteY69" fmla="*/ 3162300 h 4457700"/>
                    <a:gd name="connsiteX70" fmla="*/ 221002 w 4519987"/>
                    <a:gd name="connsiteY70" fmla="*/ 3105150 h 4457700"/>
                    <a:gd name="connsiteX71" fmla="*/ 173377 w 4519987"/>
                    <a:gd name="connsiteY71" fmla="*/ 3019425 h 4457700"/>
                    <a:gd name="connsiteX72" fmla="*/ 144802 w 4519987"/>
                    <a:gd name="connsiteY72" fmla="*/ 2924175 h 4457700"/>
                    <a:gd name="connsiteX73" fmla="*/ 68602 w 4519987"/>
                    <a:gd name="connsiteY73" fmla="*/ 2724150 h 4457700"/>
                    <a:gd name="connsiteX74" fmla="*/ 49552 w 4519987"/>
                    <a:gd name="connsiteY74" fmla="*/ 2638425 h 4457700"/>
                    <a:gd name="connsiteX75" fmla="*/ 40027 w 4519987"/>
                    <a:gd name="connsiteY75" fmla="*/ 2562225 h 4457700"/>
                    <a:gd name="connsiteX76" fmla="*/ 30502 w 4519987"/>
                    <a:gd name="connsiteY76" fmla="*/ 2514600 h 4457700"/>
                    <a:gd name="connsiteX77" fmla="*/ 11452 w 4519987"/>
                    <a:gd name="connsiteY77" fmla="*/ 2400300 h 4457700"/>
                    <a:gd name="connsiteX78" fmla="*/ 20977 w 4519987"/>
                    <a:gd name="connsiteY78" fmla="*/ 1905000 h 4457700"/>
                    <a:gd name="connsiteX79" fmla="*/ 30502 w 4519987"/>
                    <a:gd name="connsiteY79" fmla="*/ 1838325 h 4457700"/>
                    <a:gd name="connsiteX80" fmla="*/ 49552 w 4519987"/>
                    <a:gd name="connsiteY80" fmla="*/ 1781175 h 4457700"/>
                    <a:gd name="connsiteX81" fmla="*/ 59077 w 4519987"/>
                    <a:gd name="connsiteY81" fmla="*/ 1743075 h 4457700"/>
                    <a:gd name="connsiteX82" fmla="*/ 78127 w 4519987"/>
                    <a:gd name="connsiteY82" fmla="*/ 1685925 h 4457700"/>
                    <a:gd name="connsiteX83" fmla="*/ 87652 w 4519987"/>
                    <a:gd name="connsiteY83" fmla="*/ 1638300 h 4457700"/>
                    <a:gd name="connsiteX84" fmla="*/ 106702 w 4519987"/>
                    <a:gd name="connsiteY84" fmla="*/ 1590675 h 4457700"/>
                    <a:gd name="connsiteX85" fmla="*/ 135277 w 4519987"/>
                    <a:gd name="connsiteY85" fmla="*/ 1504950 h 4457700"/>
                    <a:gd name="connsiteX86" fmla="*/ 154327 w 4519987"/>
                    <a:gd name="connsiteY86" fmla="*/ 1419225 h 4457700"/>
                    <a:gd name="connsiteX87" fmla="*/ 230527 w 4519987"/>
                    <a:gd name="connsiteY87" fmla="*/ 1276350 h 4457700"/>
                    <a:gd name="connsiteX88" fmla="*/ 240052 w 4519987"/>
                    <a:gd name="connsiteY88" fmla="*/ 1247775 h 4457700"/>
                    <a:gd name="connsiteX89" fmla="*/ 268627 w 4519987"/>
                    <a:gd name="connsiteY89" fmla="*/ 1200150 h 4457700"/>
                    <a:gd name="connsiteX90" fmla="*/ 287677 w 4519987"/>
                    <a:gd name="connsiteY90" fmla="*/ 1152525 h 4457700"/>
                    <a:gd name="connsiteX91" fmla="*/ 316252 w 4519987"/>
                    <a:gd name="connsiteY91" fmla="*/ 1114425 h 4457700"/>
                    <a:gd name="connsiteX92" fmla="*/ 363877 w 4519987"/>
                    <a:gd name="connsiteY92" fmla="*/ 1038225 h 4457700"/>
                    <a:gd name="connsiteX93" fmla="*/ 382927 w 4519987"/>
                    <a:gd name="connsiteY93" fmla="*/ 1009650 h 4457700"/>
                    <a:gd name="connsiteX94" fmla="*/ 440077 w 4519987"/>
                    <a:gd name="connsiteY94" fmla="*/ 904875 h 4457700"/>
                    <a:gd name="connsiteX95" fmla="*/ 478177 w 4519987"/>
                    <a:gd name="connsiteY95" fmla="*/ 857250 h 4457700"/>
                    <a:gd name="connsiteX96" fmla="*/ 497227 w 4519987"/>
                    <a:gd name="connsiteY96" fmla="*/ 828675 h 4457700"/>
                    <a:gd name="connsiteX97" fmla="*/ 535327 w 4519987"/>
                    <a:gd name="connsiteY97" fmla="*/ 800100 h 4457700"/>
                    <a:gd name="connsiteX98" fmla="*/ 602002 w 4519987"/>
                    <a:gd name="connsiteY98" fmla="*/ 733425 h 4457700"/>
                    <a:gd name="connsiteX99" fmla="*/ 668677 w 4519987"/>
                    <a:gd name="connsiteY99" fmla="*/ 676275 h 4457700"/>
                    <a:gd name="connsiteX100" fmla="*/ 697252 w 4519987"/>
                    <a:gd name="connsiteY100" fmla="*/ 657225 h 4457700"/>
                    <a:gd name="connsiteX101" fmla="*/ 840127 w 4519987"/>
                    <a:gd name="connsiteY101" fmla="*/ 533400 h 4457700"/>
                    <a:gd name="connsiteX102" fmla="*/ 887752 w 4519987"/>
                    <a:gd name="connsiteY102" fmla="*/ 504825 h 4457700"/>
                    <a:gd name="connsiteX103" fmla="*/ 1167152 w 4519987"/>
                    <a:gd name="connsiteY103" fmla="*/ 311150 h 4457700"/>
                    <a:gd name="connsiteX104" fmla="*/ 1268752 w 4519987"/>
                    <a:gd name="connsiteY104" fmla="*/ 285750 h 4457700"/>
                    <a:gd name="connsiteX105" fmla="*/ 1411627 w 4519987"/>
                    <a:gd name="connsiteY105" fmla="*/ 190500 h 4457700"/>
                    <a:gd name="connsiteX106" fmla="*/ 1449727 w 4519987"/>
                    <a:gd name="connsiteY106" fmla="*/ 161925 h 4457700"/>
                    <a:gd name="connsiteX107" fmla="*/ 1525927 w 4519987"/>
                    <a:gd name="connsiteY107" fmla="*/ 152400 h 4457700"/>
                    <a:gd name="connsiteX108" fmla="*/ 1583077 w 4519987"/>
                    <a:gd name="connsiteY108" fmla="*/ 142875 h 4457700"/>
                    <a:gd name="connsiteX109" fmla="*/ 1716427 w 4519987"/>
                    <a:gd name="connsiteY109" fmla="*/ 123825 h 4457700"/>
                    <a:gd name="connsiteX110" fmla="*/ 1811677 w 4519987"/>
                    <a:gd name="connsiteY110" fmla="*/ 114300 h 4457700"/>
                    <a:gd name="connsiteX111" fmla="*/ 1859302 w 4519987"/>
                    <a:gd name="connsiteY111" fmla="*/ 104775 h 4457700"/>
                    <a:gd name="connsiteX112" fmla="*/ 1916452 w 4519987"/>
                    <a:gd name="connsiteY112" fmla="*/ 95250 h 4457700"/>
                    <a:gd name="connsiteX113" fmla="*/ 2030752 w 4519987"/>
                    <a:gd name="connsiteY113" fmla="*/ 66675 h 4457700"/>
                    <a:gd name="connsiteX114" fmla="*/ 2097427 w 4519987"/>
                    <a:gd name="connsiteY114" fmla="*/ 47625 h 4457700"/>
                    <a:gd name="connsiteX115" fmla="*/ 2164102 w 4519987"/>
                    <a:gd name="connsiteY115" fmla="*/ 38100 h 4457700"/>
                    <a:gd name="connsiteX116" fmla="*/ 2392702 w 4519987"/>
                    <a:gd name="connsiteY116" fmla="*/ 28575 h 4457700"/>
                    <a:gd name="connsiteX0" fmla="*/ 2297452 w 4519987"/>
                    <a:gd name="connsiteY0" fmla="*/ 0 h 4429260"/>
                    <a:gd name="connsiteX1" fmla="*/ 2421277 w 4519987"/>
                    <a:gd name="connsiteY1" fmla="*/ 28575 h 4429260"/>
                    <a:gd name="connsiteX2" fmla="*/ 2497477 w 4519987"/>
                    <a:gd name="connsiteY2" fmla="*/ 47625 h 4429260"/>
                    <a:gd name="connsiteX3" fmla="*/ 2754652 w 4519987"/>
                    <a:gd name="connsiteY3" fmla="*/ 66675 h 4429260"/>
                    <a:gd name="connsiteX4" fmla="*/ 2830852 w 4519987"/>
                    <a:gd name="connsiteY4" fmla="*/ 76200 h 4429260"/>
                    <a:gd name="connsiteX5" fmla="*/ 2916577 w 4519987"/>
                    <a:gd name="connsiteY5" fmla="*/ 85725 h 4429260"/>
                    <a:gd name="connsiteX6" fmla="*/ 2973727 w 4519987"/>
                    <a:gd name="connsiteY6" fmla="*/ 114300 h 4429260"/>
                    <a:gd name="connsiteX7" fmla="*/ 3011827 w 4519987"/>
                    <a:gd name="connsiteY7" fmla="*/ 123825 h 4429260"/>
                    <a:gd name="connsiteX8" fmla="*/ 3135652 w 4519987"/>
                    <a:gd name="connsiteY8" fmla="*/ 171450 h 4429260"/>
                    <a:gd name="connsiteX9" fmla="*/ 3173752 w 4519987"/>
                    <a:gd name="connsiteY9" fmla="*/ 190500 h 4429260"/>
                    <a:gd name="connsiteX10" fmla="*/ 3240427 w 4519987"/>
                    <a:gd name="connsiteY10" fmla="*/ 228600 h 4429260"/>
                    <a:gd name="connsiteX11" fmla="*/ 3269002 w 4519987"/>
                    <a:gd name="connsiteY11" fmla="*/ 238125 h 4429260"/>
                    <a:gd name="connsiteX12" fmla="*/ 3297577 w 4519987"/>
                    <a:gd name="connsiteY12" fmla="*/ 257175 h 4429260"/>
                    <a:gd name="connsiteX13" fmla="*/ 3326152 w 4519987"/>
                    <a:gd name="connsiteY13" fmla="*/ 266700 h 4429260"/>
                    <a:gd name="connsiteX14" fmla="*/ 3354727 w 4519987"/>
                    <a:gd name="connsiteY14" fmla="*/ 285750 h 4429260"/>
                    <a:gd name="connsiteX15" fmla="*/ 3421402 w 4519987"/>
                    <a:gd name="connsiteY15" fmla="*/ 323850 h 4429260"/>
                    <a:gd name="connsiteX16" fmla="*/ 3469027 w 4519987"/>
                    <a:gd name="connsiteY16" fmla="*/ 361950 h 4429260"/>
                    <a:gd name="connsiteX17" fmla="*/ 3516652 w 4519987"/>
                    <a:gd name="connsiteY17" fmla="*/ 390525 h 4429260"/>
                    <a:gd name="connsiteX18" fmla="*/ 3630952 w 4519987"/>
                    <a:gd name="connsiteY18" fmla="*/ 485775 h 4429260"/>
                    <a:gd name="connsiteX19" fmla="*/ 3745252 w 4519987"/>
                    <a:gd name="connsiteY19" fmla="*/ 542925 h 4429260"/>
                    <a:gd name="connsiteX20" fmla="*/ 3811927 w 4519987"/>
                    <a:gd name="connsiteY20" fmla="*/ 581025 h 4429260"/>
                    <a:gd name="connsiteX21" fmla="*/ 4027827 w 4519987"/>
                    <a:gd name="connsiteY21" fmla="*/ 819150 h 4429260"/>
                    <a:gd name="connsiteX22" fmla="*/ 4164352 w 4519987"/>
                    <a:gd name="connsiteY22" fmla="*/ 990600 h 4429260"/>
                    <a:gd name="connsiteX23" fmla="*/ 4250077 w 4519987"/>
                    <a:gd name="connsiteY23" fmla="*/ 1143000 h 4429260"/>
                    <a:gd name="connsiteX24" fmla="*/ 4307227 w 4519987"/>
                    <a:gd name="connsiteY24" fmla="*/ 1266825 h 4429260"/>
                    <a:gd name="connsiteX25" fmla="*/ 4345327 w 4519987"/>
                    <a:gd name="connsiteY25" fmla="*/ 1362075 h 4429260"/>
                    <a:gd name="connsiteX26" fmla="*/ 4392952 w 4519987"/>
                    <a:gd name="connsiteY26" fmla="*/ 1552575 h 4429260"/>
                    <a:gd name="connsiteX27" fmla="*/ 4431052 w 4519987"/>
                    <a:gd name="connsiteY27" fmla="*/ 1685925 h 4429260"/>
                    <a:gd name="connsiteX28" fmla="*/ 4519952 w 4519987"/>
                    <a:gd name="connsiteY28" fmla="*/ 2181225 h 4429260"/>
                    <a:gd name="connsiteX29" fmla="*/ 4446927 w 4519987"/>
                    <a:gd name="connsiteY29" fmla="*/ 2768600 h 4429260"/>
                    <a:gd name="connsiteX30" fmla="*/ 4383427 w 4519987"/>
                    <a:gd name="connsiteY30" fmla="*/ 2990850 h 4429260"/>
                    <a:gd name="connsiteX31" fmla="*/ 4278652 w 4519987"/>
                    <a:gd name="connsiteY31" fmla="*/ 3248025 h 4429260"/>
                    <a:gd name="connsiteX32" fmla="*/ 4183402 w 4519987"/>
                    <a:gd name="connsiteY32" fmla="*/ 3400425 h 4429260"/>
                    <a:gd name="connsiteX33" fmla="*/ 4059577 w 4519987"/>
                    <a:gd name="connsiteY33" fmla="*/ 3533775 h 4429260"/>
                    <a:gd name="connsiteX34" fmla="*/ 3954802 w 4519987"/>
                    <a:gd name="connsiteY34" fmla="*/ 3648075 h 4429260"/>
                    <a:gd name="connsiteX35" fmla="*/ 3659527 w 4519987"/>
                    <a:gd name="connsiteY35" fmla="*/ 3971925 h 4429260"/>
                    <a:gd name="connsiteX36" fmla="*/ 3516652 w 4519987"/>
                    <a:gd name="connsiteY36" fmla="*/ 4083050 h 4429260"/>
                    <a:gd name="connsiteX37" fmla="*/ 3221377 w 4519987"/>
                    <a:gd name="connsiteY37" fmla="*/ 4222750 h 4429260"/>
                    <a:gd name="connsiteX38" fmla="*/ 3068977 w 4519987"/>
                    <a:gd name="connsiteY38" fmla="*/ 4286250 h 4429260"/>
                    <a:gd name="connsiteX39" fmla="*/ 2935627 w 4519987"/>
                    <a:gd name="connsiteY39" fmla="*/ 4333875 h 4429260"/>
                    <a:gd name="connsiteX40" fmla="*/ 2811802 w 4519987"/>
                    <a:gd name="connsiteY40" fmla="*/ 4371975 h 4429260"/>
                    <a:gd name="connsiteX41" fmla="*/ 2580027 w 4519987"/>
                    <a:gd name="connsiteY41" fmla="*/ 4391025 h 4429260"/>
                    <a:gd name="connsiteX42" fmla="*/ 2126002 w 4519987"/>
                    <a:gd name="connsiteY42" fmla="*/ 4429125 h 4429260"/>
                    <a:gd name="connsiteX43" fmla="*/ 1935502 w 4519987"/>
                    <a:gd name="connsiteY43" fmla="*/ 4400550 h 4429260"/>
                    <a:gd name="connsiteX44" fmla="*/ 1821202 w 4519987"/>
                    <a:gd name="connsiteY44" fmla="*/ 4371975 h 4429260"/>
                    <a:gd name="connsiteX45" fmla="*/ 1754527 w 4519987"/>
                    <a:gd name="connsiteY45" fmla="*/ 4352925 h 4429260"/>
                    <a:gd name="connsiteX46" fmla="*/ 1687852 w 4519987"/>
                    <a:gd name="connsiteY46" fmla="*/ 4343400 h 4429260"/>
                    <a:gd name="connsiteX47" fmla="*/ 1573552 w 4519987"/>
                    <a:gd name="connsiteY47" fmla="*/ 4305300 h 4429260"/>
                    <a:gd name="connsiteX48" fmla="*/ 1402102 w 4519987"/>
                    <a:gd name="connsiteY48" fmla="*/ 4276725 h 4429260"/>
                    <a:gd name="connsiteX49" fmla="*/ 1287802 w 4519987"/>
                    <a:gd name="connsiteY49" fmla="*/ 4229100 h 4429260"/>
                    <a:gd name="connsiteX50" fmla="*/ 1221127 w 4519987"/>
                    <a:gd name="connsiteY50" fmla="*/ 4200525 h 4429260"/>
                    <a:gd name="connsiteX51" fmla="*/ 1144927 w 4519987"/>
                    <a:gd name="connsiteY51" fmla="*/ 4171950 h 4429260"/>
                    <a:gd name="connsiteX52" fmla="*/ 1087777 w 4519987"/>
                    <a:gd name="connsiteY52" fmla="*/ 4143375 h 4429260"/>
                    <a:gd name="connsiteX53" fmla="*/ 1030627 w 4519987"/>
                    <a:gd name="connsiteY53" fmla="*/ 4124325 h 4429260"/>
                    <a:gd name="connsiteX54" fmla="*/ 925852 w 4519987"/>
                    <a:gd name="connsiteY54" fmla="*/ 4067175 h 4429260"/>
                    <a:gd name="connsiteX55" fmla="*/ 830602 w 4519987"/>
                    <a:gd name="connsiteY55" fmla="*/ 3981450 h 4429260"/>
                    <a:gd name="connsiteX56" fmla="*/ 763927 w 4519987"/>
                    <a:gd name="connsiteY56" fmla="*/ 3914775 h 4429260"/>
                    <a:gd name="connsiteX57" fmla="*/ 725827 w 4519987"/>
                    <a:gd name="connsiteY57" fmla="*/ 3876675 h 4429260"/>
                    <a:gd name="connsiteX58" fmla="*/ 697252 w 4519987"/>
                    <a:gd name="connsiteY58" fmla="*/ 3838575 h 4429260"/>
                    <a:gd name="connsiteX59" fmla="*/ 640102 w 4519987"/>
                    <a:gd name="connsiteY59" fmla="*/ 3781425 h 4429260"/>
                    <a:gd name="connsiteX60" fmla="*/ 611527 w 4519987"/>
                    <a:gd name="connsiteY60" fmla="*/ 3733800 h 4429260"/>
                    <a:gd name="connsiteX61" fmla="*/ 554377 w 4519987"/>
                    <a:gd name="connsiteY61" fmla="*/ 3657600 h 4429260"/>
                    <a:gd name="connsiteX62" fmla="*/ 525802 w 4519987"/>
                    <a:gd name="connsiteY62" fmla="*/ 3609975 h 4429260"/>
                    <a:gd name="connsiteX63" fmla="*/ 497227 w 4519987"/>
                    <a:gd name="connsiteY63" fmla="*/ 3552825 h 4429260"/>
                    <a:gd name="connsiteX64" fmla="*/ 440077 w 4519987"/>
                    <a:gd name="connsiteY64" fmla="*/ 3495675 h 4429260"/>
                    <a:gd name="connsiteX65" fmla="*/ 411502 w 4519987"/>
                    <a:gd name="connsiteY65" fmla="*/ 3448050 h 4429260"/>
                    <a:gd name="connsiteX66" fmla="*/ 278152 w 4519987"/>
                    <a:gd name="connsiteY66" fmla="*/ 3257550 h 4429260"/>
                    <a:gd name="connsiteX67" fmla="*/ 249577 w 4519987"/>
                    <a:gd name="connsiteY67" fmla="*/ 3200400 h 4429260"/>
                    <a:gd name="connsiteX68" fmla="*/ 240052 w 4519987"/>
                    <a:gd name="connsiteY68" fmla="*/ 3162300 h 4429260"/>
                    <a:gd name="connsiteX69" fmla="*/ 221002 w 4519987"/>
                    <a:gd name="connsiteY69" fmla="*/ 3105150 h 4429260"/>
                    <a:gd name="connsiteX70" fmla="*/ 173377 w 4519987"/>
                    <a:gd name="connsiteY70" fmla="*/ 3019425 h 4429260"/>
                    <a:gd name="connsiteX71" fmla="*/ 144802 w 4519987"/>
                    <a:gd name="connsiteY71" fmla="*/ 2924175 h 4429260"/>
                    <a:gd name="connsiteX72" fmla="*/ 68602 w 4519987"/>
                    <a:gd name="connsiteY72" fmla="*/ 2724150 h 4429260"/>
                    <a:gd name="connsiteX73" fmla="*/ 49552 w 4519987"/>
                    <a:gd name="connsiteY73" fmla="*/ 2638425 h 4429260"/>
                    <a:gd name="connsiteX74" fmla="*/ 40027 w 4519987"/>
                    <a:gd name="connsiteY74" fmla="*/ 2562225 h 4429260"/>
                    <a:gd name="connsiteX75" fmla="*/ 30502 w 4519987"/>
                    <a:gd name="connsiteY75" fmla="*/ 2514600 h 4429260"/>
                    <a:gd name="connsiteX76" fmla="*/ 11452 w 4519987"/>
                    <a:gd name="connsiteY76" fmla="*/ 2400300 h 4429260"/>
                    <a:gd name="connsiteX77" fmla="*/ 20977 w 4519987"/>
                    <a:gd name="connsiteY77" fmla="*/ 1905000 h 4429260"/>
                    <a:gd name="connsiteX78" fmla="*/ 30502 w 4519987"/>
                    <a:gd name="connsiteY78" fmla="*/ 1838325 h 4429260"/>
                    <a:gd name="connsiteX79" fmla="*/ 49552 w 4519987"/>
                    <a:gd name="connsiteY79" fmla="*/ 1781175 h 4429260"/>
                    <a:gd name="connsiteX80" fmla="*/ 59077 w 4519987"/>
                    <a:gd name="connsiteY80" fmla="*/ 1743075 h 4429260"/>
                    <a:gd name="connsiteX81" fmla="*/ 78127 w 4519987"/>
                    <a:gd name="connsiteY81" fmla="*/ 1685925 h 4429260"/>
                    <a:gd name="connsiteX82" fmla="*/ 87652 w 4519987"/>
                    <a:gd name="connsiteY82" fmla="*/ 1638300 h 4429260"/>
                    <a:gd name="connsiteX83" fmla="*/ 106702 w 4519987"/>
                    <a:gd name="connsiteY83" fmla="*/ 1590675 h 4429260"/>
                    <a:gd name="connsiteX84" fmla="*/ 135277 w 4519987"/>
                    <a:gd name="connsiteY84" fmla="*/ 1504950 h 4429260"/>
                    <a:gd name="connsiteX85" fmla="*/ 154327 w 4519987"/>
                    <a:gd name="connsiteY85" fmla="*/ 1419225 h 4429260"/>
                    <a:gd name="connsiteX86" fmla="*/ 230527 w 4519987"/>
                    <a:gd name="connsiteY86" fmla="*/ 1276350 h 4429260"/>
                    <a:gd name="connsiteX87" fmla="*/ 240052 w 4519987"/>
                    <a:gd name="connsiteY87" fmla="*/ 1247775 h 4429260"/>
                    <a:gd name="connsiteX88" fmla="*/ 268627 w 4519987"/>
                    <a:gd name="connsiteY88" fmla="*/ 1200150 h 4429260"/>
                    <a:gd name="connsiteX89" fmla="*/ 287677 w 4519987"/>
                    <a:gd name="connsiteY89" fmla="*/ 1152525 h 4429260"/>
                    <a:gd name="connsiteX90" fmla="*/ 316252 w 4519987"/>
                    <a:gd name="connsiteY90" fmla="*/ 1114425 h 4429260"/>
                    <a:gd name="connsiteX91" fmla="*/ 363877 w 4519987"/>
                    <a:gd name="connsiteY91" fmla="*/ 1038225 h 4429260"/>
                    <a:gd name="connsiteX92" fmla="*/ 382927 w 4519987"/>
                    <a:gd name="connsiteY92" fmla="*/ 1009650 h 4429260"/>
                    <a:gd name="connsiteX93" fmla="*/ 440077 w 4519987"/>
                    <a:gd name="connsiteY93" fmla="*/ 904875 h 4429260"/>
                    <a:gd name="connsiteX94" fmla="*/ 478177 w 4519987"/>
                    <a:gd name="connsiteY94" fmla="*/ 857250 h 4429260"/>
                    <a:gd name="connsiteX95" fmla="*/ 497227 w 4519987"/>
                    <a:gd name="connsiteY95" fmla="*/ 828675 h 4429260"/>
                    <a:gd name="connsiteX96" fmla="*/ 535327 w 4519987"/>
                    <a:gd name="connsiteY96" fmla="*/ 800100 h 4429260"/>
                    <a:gd name="connsiteX97" fmla="*/ 602002 w 4519987"/>
                    <a:gd name="connsiteY97" fmla="*/ 733425 h 4429260"/>
                    <a:gd name="connsiteX98" fmla="*/ 668677 w 4519987"/>
                    <a:gd name="connsiteY98" fmla="*/ 676275 h 4429260"/>
                    <a:gd name="connsiteX99" fmla="*/ 697252 w 4519987"/>
                    <a:gd name="connsiteY99" fmla="*/ 657225 h 4429260"/>
                    <a:gd name="connsiteX100" fmla="*/ 840127 w 4519987"/>
                    <a:gd name="connsiteY100" fmla="*/ 533400 h 4429260"/>
                    <a:gd name="connsiteX101" fmla="*/ 887752 w 4519987"/>
                    <a:gd name="connsiteY101" fmla="*/ 504825 h 4429260"/>
                    <a:gd name="connsiteX102" fmla="*/ 1167152 w 4519987"/>
                    <a:gd name="connsiteY102" fmla="*/ 311150 h 4429260"/>
                    <a:gd name="connsiteX103" fmla="*/ 1268752 w 4519987"/>
                    <a:gd name="connsiteY103" fmla="*/ 285750 h 4429260"/>
                    <a:gd name="connsiteX104" fmla="*/ 1411627 w 4519987"/>
                    <a:gd name="connsiteY104" fmla="*/ 190500 h 4429260"/>
                    <a:gd name="connsiteX105" fmla="*/ 1449727 w 4519987"/>
                    <a:gd name="connsiteY105" fmla="*/ 161925 h 4429260"/>
                    <a:gd name="connsiteX106" fmla="*/ 1525927 w 4519987"/>
                    <a:gd name="connsiteY106" fmla="*/ 152400 h 4429260"/>
                    <a:gd name="connsiteX107" fmla="*/ 1583077 w 4519987"/>
                    <a:gd name="connsiteY107" fmla="*/ 142875 h 4429260"/>
                    <a:gd name="connsiteX108" fmla="*/ 1716427 w 4519987"/>
                    <a:gd name="connsiteY108" fmla="*/ 123825 h 4429260"/>
                    <a:gd name="connsiteX109" fmla="*/ 1811677 w 4519987"/>
                    <a:gd name="connsiteY109" fmla="*/ 114300 h 4429260"/>
                    <a:gd name="connsiteX110" fmla="*/ 1859302 w 4519987"/>
                    <a:gd name="connsiteY110" fmla="*/ 104775 h 4429260"/>
                    <a:gd name="connsiteX111" fmla="*/ 1916452 w 4519987"/>
                    <a:gd name="connsiteY111" fmla="*/ 95250 h 4429260"/>
                    <a:gd name="connsiteX112" fmla="*/ 2030752 w 4519987"/>
                    <a:gd name="connsiteY112" fmla="*/ 66675 h 4429260"/>
                    <a:gd name="connsiteX113" fmla="*/ 2097427 w 4519987"/>
                    <a:gd name="connsiteY113" fmla="*/ 47625 h 4429260"/>
                    <a:gd name="connsiteX114" fmla="*/ 2164102 w 4519987"/>
                    <a:gd name="connsiteY114" fmla="*/ 38100 h 4429260"/>
                    <a:gd name="connsiteX115" fmla="*/ 2392702 w 4519987"/>
                    <a:gd name="connsiteY115" fmla="*/ 28575 h 4429260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687852 w 4519987"/>
                    <a:gd name="connsiteY45" fmla="*/ 4343400 h 4429225"/>
                    <a:gd name="connsiteX46" fmla="*/ 1573552 w 4519987"/>
                    <a:gd name="connsiteY46" fmla="*/ 4305300 h 4429225"/>
                    <a:gd name="connsiteX47" fmla="*/ 1402102 w 4519987"/>
                    <a:gd name="connsiteY47" fmla="*/ 4276725 h 4429225"/>
                    <a:gd name="connsiteX48" fmla="*/ 1287802 w 4519987"/>
                    <a:gd name="connsiteY48" fmla="*/ 4229100 h 4429225"/>
                    <a:gd name="connsiteX49" fmla="*/ 1221127 w 4519987"/>
                    <a:gd name="connsiteY49" fmla="*/ 4200525 h 4429225"/>
                    <a:gd name="connsiteX50" fmla="*/ 1144927 w 4519987"/>
                    <a:gd name="connsiteY50" fmla="*/ 4171950 h 4429225"/>
                    <a:gd name="connsiteX51" fmla="*/ 1087777 w 4519987"/>
                    <a:gd name="connsiteY51" fmla="*/ 4143375 h 4429225"/>
                    <a:gd name="connsiteX52" fmla="*/ 1030627 w 4519987"/>
                    <a:gd name="connsiteY52" fmla="*/ 4124325 h 4429225"/>
                    <a:gd name="connsiteX53" fmla="*/ 925852 w 4519987"/>
                    <a:gd name="connsiteY53" fmla="*/ 4067175 h 4429225"/>
                    <a:gd name="connsiteX54" fmla="*/ 830602 w 4519987"/>
                    <a:gd name="connsiteY54" fmla="*/ 3981450 h 4429225"/>
                    <a:gd name="connsiteX55" fmla="*/ 763927 w 4519987"/>
                    <a:gd name="connsiteY55" fmla="*/ 3914775 h 4429225"/>
                    <a:gd name="connsiteX56" fmla="*/ 725827 w 4519987"/>
                    <a:gd name="connsiteY56" fmla="*/ 3876675 h 4429225"/>
                    <a:gd name="connsiteX57" fmla="*/ 697252 w 4519987"/>
                    <a:gd name="connsiteY57" fmla="*/ 3838575 h 4429225"/>
                    <a:gd name="connsiteX58" fmla="*/ 640102 w 4519987"/>
                    <a:gd name="connsiteY58" fmla="*/ 3781425 h 4429225"/>
                    <a:gd name="connsiteX59" fmla="*/ 611527 w 4519987"/>
                    <a:gd name="connsiteY59" fmla="*/ 3733800 h 4429225"/>
                    <a:gd name="connsiteX60" fmla="*/ 554377 w 4519987"/>
                    <a:gd name="connsiteY60" fmla="*/ 3657600 h 4429225"/>
                    <a:gd name="connsiteX61" fmla="*/ 525802 w 4519987"/>
                    <a:gd name="connsiteY61" fmla="*/ 3609975 h 4429225"/>
                    <a:gd name="connsiteX62" fmla="*/ 497227 w 4519987"/>
                    <a:gd name="connsiteY62" fmla="*/ 3552825 h 4429225"/>
                    <a:gd name="connsiteX63" fmla="*/ 440077 w 4519987"/>
                    <a:gd name="connsiteY63" fmla="*/ 3495675 h 4429225"/>
                    <a:gd name="connsiteX64" fmla="*/ 411502 w 4519987"/>
                    <a:gd name="connsiteY64" fmla="*/ 3448050 h 4429225"/>
                    <a:gd name="connsiteX65" fmla="*/ 278152 w 4519987"/>
                    <a:gd name="connsiteY65" fmla="*/ 3257550 h 4429225"/>
                    <a:gd name="connsiteX66" fmla="*/ 249577 w 4519987"/>
                    <a:gd name="connsiteY66" fmla="*/ 3200400 h 4429225"/>
                    <a:gd name="connsiteX67" fmla="*/ 240052 w 4519987"/>
                    <a:gd name="connsiteY67" fmla="*/ 3162300 h 4429225"/>
                    <a:gd name="connsiteX68" fmla="*/ 221002 w 4519987"/>
                    <a:gd name="connsiteY68" fmla="*/ 3105150 h 4429225"/>
                    <a:gd name="connsiteX69" fmla="*/ 173377 w 4519987"/>
                    <a:gd name="connsiteY69" fmla="*/ 3019425 h 4429225"/>
                    <a:gd name="connsiteX70" fmla="*/ 144802 w 4519987"/>
                    <a:gd name="connsiteY70" fmla="*/ 2924175 h 4429225"/>
                    <a:gd name="connsiteX71" fmla="*/ 68602 w 4519987"/>
                    <a:gd name="connsiteY71" fmla="*/ 2724150 h 4429225"/>
                    <a:gd name="connsiteX72" fmla="*/ 49552 w 4519987"/>
                    <a:gd name="connsiteY72" fmla="*/ 2638425 h 4429225"/>
                    <a:gd name="connsiteX73" fmla="*/ 40027 w 4519987"/>
                    <a:gd name="connsiteY73" fmla="*/ 2562225 h 4429225"/>
                    <a:gd name="connsiteX74" fmla="*/ 30502 w 4519987"/>
                    <a:gd name="connsiteY74" fmla="*/ 2514600 h 4429225"/>
                    <a:gd name="connsiteX75" fmla="*/ 11452 w 4519987"/>
                    <a:gd name="connsiteY75" fmla="*/ 2400300 h 4429225"/>
                    <a:gd name="connsiteX76" fmla="*/ 20977 w 4519987"/>
                    <a:gd name="connsiteY76" fmla="*/ 1905000 h 4429225"/>
                    <a:gd name="connsiteX77" fmla="*/ 30502 w 4519987"/>
                    <a:gd name="connsiteY77" fmla="*/ 1838325 h 4429225"/>
                    <a:gd name="connsiteX78" fmla="*/ 49552 w 4519987"/>
                    <a:gd name="connsiteY78" fmla="*/ 1781175 h 4429225"/>
                    <a:gd name="connsiteX79" fmla="*/ 59077 w 4519987"/>
                    <a:gd name="connsiteY79" fmla="*/ 1743075 h 4429225"/>
                    <a:gd name="connsiteX80" fmla="*/ 78127 w 4519987"/>
                    <a:gd name="connsiteY80" fmla="*/ 1685925 h 4429225"/>
                    <a:gd name="connsiteX81" fmla="*/ 87652 w 4519987"/>
                    <a:gd name="connsiteY81" fmla="*/ 1638300 h 4429225"/>
                    <a:gd name="connsiteX82" fmla="*/ 106702 w 4519987"/>
                    <a:gd name="connsiteY82" fmla="*/ 1590675 h 4429225"/>
                    <a:gd name="connsiteX83" fmla="*/ 135277 w 4519987"/>
                    <a:gd name="connsiteY83" fmla="*/ 1504950 h 4429225"/>
                    <a:gd name="connsiteX84" fmla="*/ 154327 w 4519987"/>
                    <a:gd name="connsiteY84" fmla="*/ 1419225 h 4429225"/>
                    <a:gd name="connsiteX85" fmla="*/ 230527 w 4519987"/>
                    <a:gd name="connsiteY85" fmla="*/ 1276350 h 4429225"/>
                    <a:gd name="connsiteX86" fmla="*/ 240052 w 4519987"/>
                    <a:gd name="connsiteY86" fmla="*/ 1247775 h 4429225"/>
                    <a:gd name="connsiteX87" fmla="*/ 268627 w 4519987"/>
                    <a:gd name="connsiteY87" fmla="*/ 1200150 h 4429225"/>
                    <a:gd name="connsiteX88" fmla="*/ 287677 w 4519987"/>
                    <a:gd name="connsiteY88" fmla="*/ 1152525 h 4429225"/>
                    <a:gd name="connsiteX89" fmla="*/ 316252 w 4519987"/>
                    <a:gd name="connsiteY89" fmla="*/ 1114425 h 4429225"/>
                    <a:gd name="connsiteX90" fmla="*/ 363877 w 4519987"/>
                    <a:gd name="connsiteY90" fmla="*/ 1038225 h 4429225"/>
                    <a:gd name="connsiteX91" fmla="*/ 382927 w 4519987"/>
                    <a:gd name="connsiteY91" fmla="*/ 1009650 h 4429225"/>
                    <a:gd name="connsiteX92" fmla="*/ 440077 w 4519987"/>
                    <a:gd name="connsiteY92" fmla="*/ 904875 h 4429225"/>
                    <a:gd name="connsiteX93" fmla="*/ 478177 w 4519987"/>
                    <a:gd name="connsiteY93" fmla="*/ 857250 h 4429225"/>
                    <a:gd name="connsiteX94" fmla="*/ 497227 w 4519987"/>
                    <a:gd name="connsiteY94" fmla="*/ 828675 h 4429225"/>
                    <a:gd name="connsiteX95" fmla="*/ 535327 w 4519987"/>
                    <a:gd name="connsiteY95" fmla="*/ 800100 h 4429225"/>
                    <a:gd name="connsiteX96" fmla="*/ 602002 w 4519987"/>
                    <a:gd name="connsiteY96" fmla="*/ 733425 h 4429225"/>
                    <a:gd name="connsiteX97" fmla="*/ 668677 w 4519987"/>
                    <a:gd name="connsiteY97" fmla="*/ 676275 h 4429225"/>
                    <a:gd name="connsiteX98" fmla="*/ 697252 w 4519987"/>
                    <a:gd name="connsiteY98" fmla="*/ 657225 h 4429225"/>
                    <a:gd name="connsiteX99" fmla="*/ 840127 w 4519987"/>
                    <a:gd name="connsiteY99" fmla="*/ 533400 h 4429225"/>
                    <a:gd name="connsiteX100" fmla="*/ 887752 w 4519987"/>
                    <a:gd name="connsiteY100" fmla="*/ 504825 h 4429225"/>
                    <a:gd name="connsiteX101" fmla="*/ 1167152 w 4519987"/>
                    <a:gd name="connsiteY101" fmla="*/ 311150 h 4429225"/>
                    <a:gd name="connsiteX102" fmla="*/ 1268752 w 4519987"/>
                    <a:gd name="connsiteY102" fmla="*/ 285750 h 4429225"/>
                    <a:gd name="connsiteX103" fmla="*/ 1411627 w 4519987"/>
                    <a:gd name="connsiteY103" fmla="*/ 190500 h 4429225"/>
                    <a:gd name="connsiteX104" fmla="*/ 1449727 w 4519987"/>
                    <a:gd name="connsiteY104" fmla="*/ 161925 h 4429225"/>
                    <a:gd name="connsiteX105" fmla="*/ 1525927 w 4519987"/>
                    <a:gd name="connsiteY105" fmla="*/ 152400 h 4429225"/>
                    <a:gd name="connsiteX106" fmla="*/ 1583077 w 4519987"/>
                    <a:gd name="connsiteY106" fmla="*/ 142875 h 4429225"/>
                    <a:gd name="connsiteX107" fmla="*/ 1716427 w 4519987"/>
                    <a:gd name="connsiteY107" fmla="*/ 123825 h 4429225"/>
                    <a:gd name="connsiteX108" fmla="*/ 1811677 w 4519987"/>
                    <a:gd name="connsiteY108" fmla="*/ 114300 h 4429225"/>
                    <a:gd name="connsiteX109" fmla="*/ 1859302 w 4519987"/>
                    <a:gd name="connsiteY109" fmla="*/ 104775 h 4429225"/>
                    <a:gd name="connsiteX110" fmla="*/ 1916452 w 4519987"/>
                    <a:gd name="connsiteY110" fmla="*/ 95250 h 4429225"/>
                    <a:gd name="connsiteX111" fmla="*/ 2030752 w 4519987"/>
                    <a:gd name="connsiteY111" fmla="*/ 66675 h 4429225"/>
                    <a:gd name="connsiteX112" fmla="*/ 2097427 w 4519987"/>
                    <a:gd name="connsiteY112" fmla="*/ 47625 h 4429225"/>
                    <a:gd name="connsiteX113" fmla="*/ 2164102 w 4519987"/>
                    <a:gd name="connsiteY113" fmla="*/ 38100 h 4429225"/>
                    <a:gd name="connsiteX114" fmla="*/ 2392702 w 4519987"/>
                    <a:gd name="connsiteY11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402102 w 4519987"/>
                    <a:gd name="connsiteY46" fmla="*/ 4276725 h 4429225"/>
                    <a:gd name="connsiteX47" fmla="*/ 1287802 w 4519987"/>
                    <a:gd name="connsiteY47" fmla="*/ 4229100 h 4429225"/>
                    <a:gd name="connsiteX48" fmla="*/ 1221127 w 4519987"/>
                    <a:gd name="connsiteY48" fmla="*/ 4200525 h 4429225"/>
                    <a:gd name="connsiteX49" fmla="*/ 1144927 w 4519987"/>
                    <a:gd name="connsiteY49" fmla="*/ 4171950 h 4429225"/>
                    <a:gd name="connsiteX50" fmla="*/ 1087777 w 4519987"/>
                    <a:gd name="connsiteY50" fmla="*/ 4143375 h 4429225"/>
                    <a:gd name="connsiteX51" fmla="*/ 1030627 w 4519987"/>
                    <a:gd name="connsiteY51" fmla="*/ 4124325 h 4429225"/>
                    <a:gd name="connsiteX52" fmla="*/ 925852 w 4519987"/>
                    <a:gd name="connsiteY52" fmla="*/ 4067175 h 4429225"/>
                    <a:gd name="connsiteX53" fmla="*/ 830602 w 4519987"/>
                    <a:gd name="connsiteY53" fmla="*/ 3981450 h 4429225"/>
                    <a:gd name="connsiteX54" fmla="*/ 763927 w 4519987"/>
                    <a:gd name="connsiteY54" fmla="*/ 3914775 h 4429225"/>
                    <a:gd name="connsiteX55" fmla="*/ 725827 w 4519987"/>
                    <a:gd name="connsiteY55" fmla="*/ 3876675 h 4429225"/>
                    <a:gd name="connsiteX56" fmla="*/ 697252 w 4519987"/>
                    <a:gd name="connsiteY56" fmla="*/ 3838575 h 4429225"/>
                    <a:gd name="connsiteX57" fmla="*/ 640102 w 4519987"/>
                    <a:gd name="connsiteY57" fmla="*/ 3781425 h 4429225"/>
                    <a:gd name="connsiteX58" fmla="*/ 611527 w 4519987"/>
                    <a:gd name="connsiteY58" fmla="*/ 3733800 h 4429225"/>
                    <a:gd name="connsiteX59" fmla="*/ 554377 w 4519987"/>
                    <a:gd name="connsiteY59" fmla="*/ 3657600 h 4429225"/>
                    <a:gd name="connsiteX60" fmla="*/ 525802 w 4519987"/>
                    <a:gd name="connsiteY60" fmla="*/ 3609975 h 4429225"/>
                    <a:gd name="connsiteX61" fmla="*/ 497227 w 4519987"/>
                    <a:gd name="connsiteY61" fmla="*/ 3552825 h 4429225"/>
                    <a:gd name="connsiteX62" fmla="*/ 440077 w 4519987"/>
                    <a:gd name="connsiteY62" fmla="*/ 3495675 h 4429225"/>
                    <a:gd name="connsiteX63" fmla="*/ 411502 w 4519987"/>
                    <a:gd name="connsiteY63" fmla="*/ 3448050 h 4429225"/>
                    <a:gd name="connsiteX64" fmla="*/ 278152 w 4519987"/>
                    <a:gd name="connsiteY64" fmla="*/ 3257550 h 4429225"/>
                    <a:gd name="connsiteX65" fmla="*/ 249577 w 4519987"/>
                    <a:gd name="connsiteY65" fmla="*/ 3200400 h 4429225"/>
                    <a:gd name="connsiteX66" fmla="*/ 240052 w 4519987"/>
                    <a:gd name="connsiteY66" fmla="*/ 3162300 h 4429225"/>
                    <a:gd name="connsiteX67" fmla="*/ 221002 w 4519987"/>
                    <a:gd name="connsiteY67" fmla="*/ 3105150 h 4429225"/>
                    <a:gd name="connsiteX68" fmla="*/ 173377 w 4519987"/>
                    <a:gd name="connsiteY68" fmla="*/ 3019425 h 4429225"/>
                    <a:gd name="connsiteX69" fmla="*/ 144802 w 4519987"/>
                    <a:gd name="connsiteY69" fmla="*/ 2924175 h 4429225"/>
                    <a:gd name="connsiteX70" fmla="*/ 68602 w 4519987"/>
                    <a:gd name="connsiteY70" fmla="*/ 2724150 h 4429225"/>
                    <a:gd name="connsiteX71" fmla="*/ 49552 w 4519987"/>
                    <a:gd name="connsiteY71" fmla="*/ 2638425 h 4429225"/>
                    <a:gd name="connsiteX72" fmla="*/ 40027 w 4519987"/>
                    <a:gd name="connsiteY72" fmla="*/ 2562225 h 4429225"/>
                    <a:gd name="connsiteX73" fmla="*/ 30502 w 4519987"/>
                    <a:gd name="connsiteY73" fmla="*/ 2514600 h 4429225"/>
                    <a:gd name="connsiteX74" fmla="*/ 11452 w 4519987"/>
                    <a:gd name="connsiteY74" fmla="*/ 2400300 h 4429225"/>
                    <a:gd name="connsiteX75" fmla="*/ 20977 w 4519987"/>
                    <a:gd name="connsiteY75" fmla="*/ 1905000 h 4429225"/>
                    <a:gd name="connsiteX76" fmla="*/ 30502 w 4519987"/>
                    <a:gd name="connsiteY76" fmla="*/ 1838325 h 4429225"/>
                    <a:gd name="connsiteX77" fmla="*/ 49552 w 4519987"/>
                    <a:gd name="connsiteY77" fmla="*/ 1781175 h 4429225"/>
                    <a:gd name="connsiteX78" fmla="*/ 59077 w 4519987"/>
                    <a:gd name="connsiteY78" fmla="*/ 1743075 h 4429225"/>
                    <a:gd name="connsiteX79" fmla="*/ 78127 w 4519987"/>
                    <a:gd name="connsiteY79" fmla="*/ 1685925 h 4429225"/>
                    <a:gd name="connsiteX80" fmla="*/ 87652 w 4519987"/>
                    <a:gd name="connsiteY80" fmla="*/ 1638300 h 4429225"/>
                    <a:gd name="connsiteX81" fmla="*/ 106702 w 4519987"/>
                    <a:gd name="connsiteY81" fmla="*/ 1590675 h 4429225"/>
                    <a:gd name="connsiteX82" fmla="*/ 135277 w 4519987"/>
                    <a:gd name="connsiteY82" fmla="*/ 1504950 h 4429225"/>
                    <a:gd name="connsiteX83" fmla="*/ 154327 w 4519987"/>
                    <a:gd name="connsiteY83" fmla="*/ 1419225 h 4429225"/>
                    <a:gd name="connsiteX84" fmla="*/ 230527 w 4519987"/>
                    <a:gd name="connsiteY84" fmla="*/ 1276350 h 4429225"/>
                    <a:gd name="connsiteX85" fmla="*/ 240052 w 4519987"/>
                    <a:gd name="connsiteY85" fmla="*/ 1247775 h 4429225"/>
                    <a:gd name="connsiteX86" fmla="*/ 268627 w 4519987"/>
                    <a:gd name="connsiteY86" fmla="*/ 1200150 h 4429225"/>
                    <a:gd name="connsiteX87" fmla="*/ 287677 w 4519987"/>
                    <a:gd name="connsiteY87" fmla="*/ 1152525 h 4429225"/>
                    <a:gd name="connsiteX88" fmla="*/ 316252 w 4519987"/>
                    <a:gd name="connsiteY88" fmla="*/ 1114425 h 4429225"/>
                    <a:gd name="connsiteX89" fmla="*/ 363877 w 4519987"/>
                    <a:gd name="connsiteY89" fmla="*/ 1038225 h 4429225"/>
                    <a:gd name="connsiteX90" fmla="*/ 382927 w 4519987"/>
                    <a:gd name="connsiteY90" fmla="*/ 1009650 h 4429225"/>
                    <a:gd name="connsiteX91" fmla="*/ 440077 w 4519987"/>
                    <a:gd name="connsiteY91" fmla="*/ 904875 h 4429225"/>
                    <a:gd name="connsiteX92" fmla="*/ 478177 w 4519987"/>
                    <a:gd name="connsiteY92" fmla="*/ 857250 h 4429225"/>
                    <a:gd name="connsiteX93" fmla="*/ 497227 w 4519987"/>
                    <a:gd name="connsiteY93" fmla="*/ 828675 h 4429225"/>
                    <a:gd name="connsiteX94" fmla="*/ 535327 w 4519987"/>
                    <a:gd name="connsiteY94" fmla="*/ 800100 h 4429225"/>
                    <a:gd name="connsiteX95" fmla="*/ 602002 w 4519987"/>
                    <a:gd name="connsiteY95" fmla="*/ 733425 h 4429225"/>
                    <a:gd name="connsiteX96" fmla="*/ 668677 w 4519987"/>
                    <a:gd name="connsiteY96" fmla="*/ 676275 h 4429225"/>
                    <a:gd name="connsiteX97" fmla="*/ 697252 w 4519987"/>
                    <a:gd name="connsiteY97" fmla="*/ 657225 h 4429225"/>
                    <a:gd name="connsiteX98" fmla="*/ 840127 w 4519987"/>
                    <a:gd name="connsiteY98" fmla="*/ 533400 h 4429225"/>
                    <a:gd name="connsiteX99" fmla="*/ 887752 w 4519987"/>
                    <a:gd name="connsiteY99" fmla="*/ 504825 h 4429225"/>
                    <a:gd name="connsiteX100" fmla="*/ 1167152 w 4519987"/>
                    <a:gd name="connsiteY100" fmla="*/ 311150 h 4429225"/>
                    <a:gd name="connsiteX101" fmla="*/ 1268752 w 4519987"/>
                    <a:gd name="connsiteY101" fmla="*/ 285750 h 4429225"/>
                    <a:gd name="connsiteX102" fmla="*/ 1411627 w 4519987"/>
                    <a:gd name="connsiteY102" fmla="*/ 190500 h 4429225"/>
                    <a:gd name="connsiteX103" fmla="*/ 1449727 w 4519987"/>
                    <a:gd name="connsiteY103" fmla="*/ 161925 h 4429225"/>
                    <a:gd name="connsiteX104" fmla="*/ 1525927 w 4519987"/>
                    <a:gd name="connsiteY104" fmla="*/ 152400 h 4429225"/>
                    <a:gd name="connsiteX105" fmla="*/ 1583077 w 4519987"/>
                    <a:gd name="connsiteY105" fmla="*/ 142875 h 4429225"/>
                    <a:gd name="connsiteX106" fmla="*/ 1716427 w 4519987"/>
                    <a:gd name="connsiteY106" fmla="*/ 123825 h 4429225"/>
                    <a:gd name="connsiteX107" fmla="*/ 1811677 w 4519987"/>
                    <a:gd name="connsiteY107" fmla="*/ 114300 h 4429225"/>
                    <a:gd name="connsiteX108" fmla="*/ 1859302 w 4519987"/>
                    <a:gd name="connsiteY108" fmla="*/ 104775 h 4429225"/>
                    <a:gd name="connsiteX109" fmla="*/ 1916452 w 4519987"/>
                    <a:gd name="connsiteY109" fmla="*/ 95250 h 4429225"/>
                    <a:gd name="connsiteX110" fmla="*/ 2030752 w 4519987"/>
                    <a:gd name="connsiteY110" fmla="*/ 66675 h 4429225"/>
                    <a:gd name="connsiteX111" fmla="*/ 2097427 w 4519987"/>
                    <a:gd name="connsiteY111" fmla="*/ 47625 h 4429225"/>
                    <a:gd name="connsiteX112" fmla="*/ 2164102 w 4519987"/>
                    <a:gd name="connsiteY112" fmla="*/ 38100 h 4429225"/>
                    <a:gd name="connsiteX113" fmla="*/ 2392702 w 4519987"/>
                    <a:gd name="connsiteY11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144927 w 4519987"/>
                    <a:gd name="connsiteY48" fmla="*/ 4171950 h 4429225"/>
                    <a:gd name="connsiteX49" fmla="*/ 1087777 w 4519987"/>
                    <a:gd name="connsiteY49" fmla="*/ 4143375 h 4429225"/>
                    <a:gd name="connsiteX50" fmla="*/ 1030627 w 4519987"/>
                    <a:gd name="connsiteY50" fmla="*/ 4124325 h 4429225"/>
                    <a:gd name="connsiteX51" fmla="*/ 925852 w 4519987"/>
                    <a:gd name="connsiteY51" fmla="*/ 4067175 h 4429225"/>
                    <a:gd name="connsiteX52" fmla="*/ 830602 w 4519987"/>
                    <a:gd name="connsiteY52" fmla="*/ 3981450 h 4429225"/>
                    <a:gd name="connsiteX53" fmla="*/ 763927 w 4519987"/>
                    <a:gd name="connsiteY53" fmla="*/ 3914775 h 4429225"/>
                    <a:gd name="connsiteX54" fmla="*/ 725827 w 4519987"/>
                    <a:gd name="connsiteY54" fmla="*/ 3876675 h 4429225"/>
                    <a:gd name="connsiteX55" fmla="*/ 697252 w 4519987"/>
                    <a:gd name="connsiteY55" fmla="*/ 3838575 h 4429225"/>
                    <a:gd name="connsiteX56" fmla="*/ 640102 w 4519987"/>
                    <a:gd name="connsiteY56" fmla="*/ 3781425 h 4429225"/>
                    <a:gd name="connsiteX57" fmla="*/ 611527 w 4519987"/>
                    <a:gd name="connsiteY57" fmla="*/ 3733800 h 4429225"/>
                    <a:gd name="connsiteX58" fmla="*/ 554377 w 4519987"/>
                    <a:gd name="connsiteY58" fmla="*/ 3657600 h 4429225"/>
                    <a:gd name="connsiteX59" fmla="*/ 525802 w 4519987"/>
                    <a:gd name="connsiteY59" fmla="*/ 3609975 h 4429225"/>
                    <a:gd name="connsiteX60" fmla="*/ 497227 w 4519987"/>
                    <a:gd name="connsiteY60" fmla="*/ 3552825 h 4429225"/>
                    <a:gd name="connsiteX61" fmla="*/ 440077 w 4519987"/>
                    <a:gd name="connsiteY61" fmla="*/ 3495675 h 4429225"/>
                    <a:gd name="connsiteX62" fmla="*/ 411502 w 4519987"/>
                    <a:gd name="connsiteY62" fmla="*/ 3448050 h 4429225"/>
                    <a:gd name="connsiteX63" fmla="*/ 278152 w 4519987"/>
                    <a:gd name="connsiteY63" fmla="*/ 3257550 h 4429225"/>
                    <a:gd name="connsiteX64" fmla="*/ 249577 w 4519987"/>
                    <a:gd name="connsiteY64" fmla="*/ 3200400 h 4429225"/>
                    <a:gd name="connsiteX65" fmla="*/ 240052 w 4519987"/>
                    <a:gd name="connsiteY65" fmla="*/ 3162300 h 4429225"/>
                    <a:gd name="connsiteX66" fmla="*/ 221002 w 4519987"/>
                    <a:gd name="connsiteY66" fmla="*/ 3105150 h 4429225"/>
                    <a:gd name="connsiteX67" fmla="*/ 173377 w 4519987"/>
                    <a:gd name="connsiteY67" fmla="*/ 3019425 h 4429225"/>
                    <a:gd name="connsiteX68" fmla="*/ 144802 w 4519987"/>
                    <a:gd name="connsiteY68" fmla="*/ 2924175 h 4429225"/>
                    <a:gd name="connsiteX69" fmla="*/ 68602 w 4519987"/>
                    <a:gd name="connsiteY69" fmla="*/ 2724150 h 4429225"/>
                    <a:gd name="connsiteX70" fmla="*/ 49552 w 4519987"/>
                    <a:gd name="connsiteY70" fmla="*/ 2638425 h 4429225"/>
                    <a:gd name="connsiteX71" fmla="*/ 40027 w 4519987"/>
                    <a:gd name="connsiteY71" fmla="*/ 2562225 h 4429225"/>
                    <a:gd name="connsiteX72" fmla="*/ 30502 w 4519987"/>
                    <a:gd name="connsiteY72" fmla="*/ 2514600 h 4429225"/>
                    <a:gd name="connsiteX73" fmla="*/ 11452 w 4519987"/>
                    <a:gd name="connsiteY73" fmla="*/ 2400300 h 4429225"/>
                    <a:gd name="connsiteX74" fmla="*/ 20977 w 4519987"/>
                    <a:gd name="connsiteY74" fmla="*/ 1905000 h 4429225"/>
                    <a:gd name="connsiteX75" fmla="*/ 30502 w 4519987"/>
                    <a:gd name="connsiteY75" fmla="*/ 1838325 h 4429225"/>
                    <a:gd name="connsiteX76" fmla="*/ 49552 w 4519987"/>
                    <a:gd name="connsiteY76" fmla="*/ 1781175 h 4429225"/>
                    <a:gd name="connsiteX77" fmla="*/ 59077 w 4519987"/>
                    <a:gd name="connsiteY77" fmla="*/ 1743075 h 4429225"/>
                    <a:gd name="connsiteX78" fmla="*/ 78127 w 4519987"/>
                    <a:gd name="connsiteY78" fmla="*/ 1685925 h 4429225"/>
                    <a:gd name="connsiteX79" fmla="*/ 87652 w 4519987"/>
                    <a:gd name="connsiteY79" fmla="*/ 1638300 h 4429225"/>
                    <a:gd name="connsiteX80" fmla="*/ 106702 w 4519987"/>
                    <a:gd name="connsiteY80" fmla="*/ 1590675 h 4429225"/>
                    <a:gd name="connsiteX81" fmla="*/ 135277 w 4519987"/>
                    <a:gd name="connsiteY81" fmla="*/ 1504950 h 4429225"/>
                    <a:gd name="connsiteX82" fmla="*/ 154327 w 4519987"/>
                    <a:gd name="connsiteY82" fmla="*/ 1419225 h 4429225"/>
                    <a:gd name="connsiteX83" fmla="*/ 230527 w 4519987"/>
                    <a:gd name="connsiteY83" fmla="*/ 1276350 h 4429225"/>
                    <a:gd name="connsiteX84" fmla="*/ 240052 w 4519987"/>
                    <a:gd name="connsiteY84" fmla="*/ 1247775 h 4429225"/>
                    <a:gd name="connsiteX85" fmla="*/ 268627 w 4519987"/>
                    <a:gd name="connsiteY85" fmla="*/ 1200150 h 4429225"/>
                    <a:gd name="connsiteX86" fmla="*/ 287677 w 4519987"/>
                    <a:gd name="connsiteY86" fmla="*/ 1152525 h 4429225"/>
                    <a:gd name="connsiteX87" fmla="*/ 316252 w 4519987"/>
                    <a:gd name="connsiteY87" fmla="*/ 1114425 h 4429225"/>
                    <a:gd name="connsiteX88" fmla="*/ 363877 w 4519987"/>
                    <a:gd name="connsiteY88" fmla="*/ 1038225 h 4429225"/>
                    <a:gd name="connsiteX89" fmla="*/ 382927 w 4519987"/>
                    <a:gd name="connsiteY89" fmla="*/ 1009650 h 4429225"/>
                    <a:gd name="connsiteX90" fmla="*/ 440077 w 4519987"/>
                    <a:gd name="connsiteY90" fmla="*/ 904875 h 4429225"/>
                    <a:gd name="connsiteX91" fmla="*/ 478177 w 4519987"/>
                    <a:gd name="connsiteY91" fmla="*/ 857250 h 4429225"/>
                    <a:gd name="connsiteX92" fmla="*/ 497227 w 4519987"/>
                    <a:gd name="connsiteY92" fmla="*/ 828675 h 4429225"/>
                    <a:gd name="connsiteX93" fmla="*/ 535327 w 4519987"/>
                    <a:gd name="connsiteY93" fmla="*/ 800100 h 4429225"/>
                    <a:gd name="connsiteX94" fmla="*/ 602002 w 4519987"/>
                    <a:gd name="connsiteY94" fmla="*/ 733425 h 4429225"/>
                    <a:gd name="connsiteX95" fmla="*/ 668677 w 4519987"/>
                    <a:gd name="connsiteY95" fmla="*/ 676275 h 4429225"/>
                    <a:gd name="connsiteX96" fmla="*/ 697252 w 4519987"/>
                    <a:gd name="connsiteY96" fmla="*/ 657225 h 4429225"/>
                    <a:gd name="connsiteX97" fmla="*/ 840127 w 4519987"/>
                    <a:gd name="connsiteY97" fmla="*/ 533400 h 4429225"/>
                    <a:gd name="connsiteX98" fmla="*/ 887752 w 4519987"/>
                    <a:gd name="connsiteY98" fmla="*/ 504825 h 4429225"/>
                    <a:gd name="connsiteX99" fmla="*/ 1167152 w 4519987"/>
                    <a:gd name="connsiteY99" fmla="*/ 311150 h 4429225"/>
                    <a:gd name="connsiteX100" fmla="*/ 1268752 w 4519987"/>
                    <a:gd name="connsiteY100" fmla="*/ 285750 h 4429225"/>
                    <a:gd name="connsiteX101" fmla="*/ 1411627 w 4519987"/>
                    <a:gd name="connsiteY101" fmla="*/ 190500 h 4429225"/>
                    <a:gd name="connsiteX102" fmla="*/ 1449727 w 4519987"/>
                    <a:gd name="connsiteY102" fmla="*/ 161925 h 4429225"/>
                    <a:gd name="connsiteX103" fmla="*/ 1525927 w 4519987"/>
                    <a:gd name="connsiteY103" fmla="*/ 152400 h 4429225"/>
                    <a:gd name="connsiteX104" fmla="*/ 1583077 w 4519987"/>
                    <a:gd name="connsiteY104" fmla="*/ 142875 h 4429225"/>
                    <a:gd name="connsiteX105" fmla="*/ 1716427 w 4519987"/>
                    <a:gd name="connsiteY105" fmla="*/ 123825 h 4429225"/>
                    <a:gd name="connsiteX106" fmla="*/ 1811677 w 4519987"/>
                    <a:gd name="connsiteY106" fmla="*/ 114300 h 4429225"/>
                    <a:gd name="connsiteX107" fmla="*/ 1859302 w 4519987"/>
                    <a:gd name="connsiteY107" fmla="*/ 104775 h 4429225"/>
                    <a:gd name="connsiteX108" fmla="*/ 1916452 w 4519987"/>
                    <a:gd name="connsiteY108" fmla="*/ 95250 h 4429225"/>
                    <a:gd name="connsiteX109" fmla="*/ 2030752 w 4519987"/>
                    <a:gd name="connsiteY109" fmla="*/ 66675 h 4429225"/>
                    <a:gd name="connsiteX110" fmla="*/ 2097427 w 4519987"/>
                    <a:gd name="connsiteY110" fmla="*/ 47625 h 4429225"/>
                    <a:gd name="connsiteX111" fmla="*/ 2164102 w 4519987"/>
                    <a:gd name="connsiteY111" fmla="*/ 38100 h 4429225"/>
                    <a:gd name="connsiteX112" fmla="*/ 2392702 w 4519987"/>
                    <a:gd name="connsiteY11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087777 w 4519987"/>
                    <a:gd name="connsiteY48" fmla="*/ 4143375 h 4429225"/>
                    <a:gd name="connsiteX49" fmla="*/ 1030627 w 4519987"/>
                    <a:gd name="connsiteY49" fmla="*/ 4124325 h 4429225"/>
                    <a:gd name="connsiteX50" fmla="*/ 925852 w 4519987"/>
                    <a:gd name="connsiteY50" fmla="*/ 4067175 h 4429225"/>
                    <a:gd name="connsiteX51" fmla="*/ 830602 w 4519987"/>
                    <a:gd name="connsiteY51" fmla="*/ 3981450 h 4429225"/>
                    <a:gd name="connsiteX52" fmla="*/ 763927 w 4519987"/>
                    <a:gd name="connsiteY52" fmla="*/ 3914775 h 4429225"/>
                    <a:gd name="connsiteX53" fmla="*/ 725827 w 4519987"/>
                    <a:gd name="connsiteY53" fmla="*/ 3876675 h 4429225"/>
                    <a:gd name="connsiteX54" fmla="*/ 697252 w 4519987"/>
                    <a:gd name="connsiteY54" fmla="*/ 3838575 h 4429225"/>
                    <a:gd name="connsiteX55" fmla="*/ 640102 w 4519987"/>
                    <a:gd name="connsiteY55" fmla="*/ 3781425 h 4429225"/>
                    <a:gd name="connsiteX56" fmla="*/ 611527 w 4519987"/>
                    <a:gd name="connsiteY56" fmla="*/ 3733800 h 4429225"/>
                    <a:gd name="connsiteX57" fmla="*/ 554377 w 4519987"/>
                    <a:gd name="connsiteY57" fmla="*/ 3657600 h 4429225"/>
                    <a:gd name="connsiteX58" fmla="*/ 525802 w 4519987"/>
                    <a:gd name="connsiteY58" fmla="*/ 3609975 h 4429225"/>
                    <a:gd name="connsiteX59" fmla="*/ 497227 w 4519987"/>
                    <a:gd name="connsiteY59" fmla="*/ 3552825 h 4429225"/>
                    <a:gd name="connsiteX60" fmla="*/ 440077 w 4519987"/>
                    <a:gd name="connsiteY60" fmla="*/ 3495675 h 4429225"/>
                    <a:gd name="connsiteX61" fmla="*/ 411502 w 4519987"/>
                    <a:gd name="connsiteY61" fmla="*/ 3448050 h 4429225"/>
                    <a:gd name="connsiteX62" fmla="*/ 278152 w 4519987"/>
                    <a:gd name="connsiteY62" fmla="*/ 3257550 h 4429225"/>
                    <a:gd name="connsiteX63" fmla="*/ 249577 w 4519987"/>
                    <a:gd name="connsiteY63" fmla="*/ 3200400 h 4429225"/>
                    <a:gd name="connsiteX64" fmla="*/ 240052 w 4519987"/>
                    <a:gd name="connsiteY64" fmla="*/ 3162300 h 4429225"/>
                    <a:gd name="connsiteX65" fmla="*/ 221002 w 4519987"/>
                    <a:gd name="connsiteY65" fmla="*/ 3105150 h 4429225"/>
                    <a:gd name="connsiteX66" fmla="*/ 173377 w 4519987"/>
                    <a:gd name="connsiteY66" fmla="*/ 3019425 h 4429225"/>
                    <a:gd name="connsiteX67" fmla="*/ 144802 w 4519987"/>
                    <a:gd name="connsiteY67" fmla="*/ 2924175 h 4429225"/>
                    <a:gd name="connsiteX68" fmla="*/ 68602 w 4519987"/>
                    <a:gd name="connsiteY68" fmla="*/ 2724150 h 4429225"/>
                    <a:gd name="connsiteX69" fmla="*/ 49552 w 4519987"/>
                    <a:gd name="connsiteY69" fmla="*/ 2638425 h 4429225"/>
                    <a:gd name="connsiteX70" fmla="*/ 40027 w 4519987"/>
                    <a:gd name="connsiteY70" fmla="*/ 2562225 h 4429225"/>
                    <a:gd name="connsiteX71" fmla="*/ 30502 w 4519987"/>
                    <a:gd name="connsiteY71" fmla="*/ 2514600 h 4429225"/>
                    <a:gd name="connsiteX72" fmla="*/ 11452 w 4519987"/>
                    <a:gd name="connsiteY72" fmla="*/ 2400300 h 4429225"/>
                    <a:gd name="connsiteX73" fmla="*/ 20977 w 4519987"/>
                    <a:gd name="connsiteY73" fmla="*/ 1905000 h 4429225"/>
                    <a:gd name="connsiteX74" fmla="*/ 30502 w 4519987"/>
                    <a:gd name="connsiteY74" fmla="*/ 1838325 h 4429225"/>
                    <a:gd name="connsiteX75" fmla="*/ 49552 w 4519987"/>
                    <a:gd name="connsiteY75" fmla="*/ 1781175 h 4429225"/>
                    <a:gd name="connsiteX76" fmla="*/ 59077 w 4519987"/>
                    <a:gd name="connsiteY76" fmla="*/ 1743075 h 4429225"/>
                    <a:gd name="connsiteX77" fmla="*/ 78127 w 4519987"/>
                    <a:gd name="connsiteY77" fmla="*/ 1685925 h 4429225"/>
                    <a:gd name="connsiteX78" fmla="*/ 87652 w 4519987"/>
                    <a:gd name="connsiteY78" fmla="*/ 1638300 h 4429225"/>
                    <a:gd name="connsiteX79" fmla="*/ 106702 w 4519987"/>
                    <a:gd name="connsiteY79" fmla="*/ 1590675 h 4429225"/>
                    <a:gd name="connsiteX80" fmla="*/ 135277 w 4519987"/>
                    <a:gd name="connsiteY80" fmla="*/ 1504950 h 4429225"/>
                    <a:gd name="connsiteX81" fmla="*/ 154327 w 4519987"/>
                    <a:gd name="connsiteY81" fmla="*/ 1419225 h 4429225"/>
                    <a:gd name="connsiteX82" fmla="*/ 230527 w 4519987"/>
                    <a:gd name="connsiteY82" fmla="*/ 1276350 h 4429225"/>
                    <a:gd name="connsiteX83" fmla="*/ 240052 w 4519987"/>
                    <a:gd name="connsiteY83" fmla="*/ 1247775 h 4429225"/>
                    <a:gd name="connsiteX84" fmla="*/ 268627 w 4519987"/>
                    <a:gd name="connsiteY84" fmla="*/ 1200150 h 4429225"/>
                    <a:gd name="connsiteX85" fmla="*/ 287677 w 4519987"/>
                    <a:gd name="connsiteY85" fmla="*/ 1152525 h 4429225"/>
                    <a:gd name="connsiteX86" fmla="*/ 316252 w 4519987"/>
                    <a:gd name="connsiteY86" fmla="*/ 1114425 h 4429225"/>
                    <a:gd name="connsiteX87" fmla="*/ 363877 w 4519987"/>
                    <a:gd name="connsiteY87" fmla="*/ 1038225 h 4429225"/>
                    <a:gd name="connsiteX88" fmla="*/ 382927 w 4519987"/>
                    <a:gd name="connsiteY88" fmla="*/ 1009650 h 4429225"/>
                    <a:gd name="connsiteX89" fmla="*/ 440077 w 4519987"/>
                    <a:gd name="connsiteY89" fmla="*/ 904875 h 4429225"/>
                    <a:gd name="connsiteX90" fmla="*/ 478177 w 4519987"/>
                    <a:gd name="connsiteY90" fmla="*/ 857250 h 4429225"/>
                    <a:gd name="connsiteX91" fmla="*/ 497227 w 4519987"/>
                    <a:gd name="connsiteY91" fmla="*/ 828675 h 4429225"/>
                    <a:gd name="connsiteX92" fmla="*/ 535327 w 4519987"/>
                    <a:gd name="connsiteY92" fmla="*/ 800100 h 4429225"/>
                    <a:gd name="connsiteX93" fmla="*/ 602002 w 4519987"/>
                    <a:gd name="connsiteY93" fmla="*/ 733425 h 4429225"/>
                    <a:gd name="connsiteX94" fmla="*/ 668677 w 4519987"/>
                    <a:gd name="connsiteY94" fmla="*/ 676275 h 4429225"/>
                    <a:gd name="connsiteX95" fmla="*/ 697252 w 4519987"/>
                    <a:gd name="connsiteY95" fmla="*/ 657225 h 4429225"/>
                    <a:gd name="connsiteX96" fmla="*/ 840127 w 4519987"/>
                    <a:gd name="connsiteY96" fmla="*/ 533400 h 4429225"/>
                    <a:gd name="connsiteX97" fmla="*/ 887752 w 4519987"/>
                    <a:gd name="connsiteY97" fmla="*/ 504825 h 4429225"/>
                    <a:gd name="connsiteX98" fmla="*/ 1167152 w 4519987"/>
                    <a:gd name="connsiteY98" fmla="*/ 311150 h 4429225"/>
                    <a:gd name="connsiteX99" fmla="*/ 1268752 w 4519987"/>
                    <a:gd name="connsiteY99" fmla="*/ 285750 h 4429225"/>
                    <a:gd name="connsiteX100" fmla="*/ 1411627 w 4519987"/>
                    <a:gd name="connsiteY100" fmla="*/ 190500 h 4429225"/>
                    <a:gd name="connsiteX101" fmla="*/ 1449727 w 4519987"/>
                    <a:gd name="connsiteY101" fmla="*/ 161925 h 4429225"/>
                    <a:gd name="connsiteX102" fmla="*/ 1525927 w 4519987"/>
                    <a:gd name="connsiteY102" fmla="*/ 152400 h 4429225"/>
                    <a:gd name="connsiteX103" fmla="*/ 1583077 w 4519987"/>
                    <a:gd name="connsiteY103" fmla="*/ 142875 h 4429225"/>
                    <a:gd name="connsiteX104" fmla="*/ 1716427 w 4519987"/>
                    <a:gd name="connsiteY104" fmla="*/ 123825 h 4429225"/>
                    <a:gd name="connsiteX105" fmla="*/ 1811677 w 4519987"/>
                    <a:gd name="connsiteY105" fmla="*/ 114300 h 4429225"/>
                    <a:gd name="connsiteX106" fmla="*/ 1859302 w 4519987"/>
                    <a:gd name="connsiteY106" fmla="*/ 104775 h 4429225"/>
                    <a:gd name="connsiteX107" fmla="*/ 1916452 w 4519987"/>
                    <a:gd name="connsiteY107" fmla="*/ 95250 h 4429225"/>
                    <a:gd name="connsiteX108" fmla="*/ 2030752 w 4519987"/>
                    <a:gd name="connsiteY108" fmla="*/ 66675 h 4429225"/>
                    <a:gd name="connsiteX109" fmla="*/ 2097427 w 4519987"/>
                    <a:gd name="connsiteY109" fmla="*/ 47625 h 4429225"/>
                    <a:gd name="connsiteX110" fmla="*/ 2164102 w 4519987"/>
                    <a:gd name="connsiteY110" fmla="*/ 38100 h 4429225"/>
                    <a:gd name="connsiteX111" fmla="*/ 2392702 w 4519987"/>
                    <a:gd name="connsiteY11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1030627 w 4519987"/>
                    <a:gd name="connsiteY48" fmla="*/ 4124325 h 4429225"/>
                    <a:gd name="connsiteX49" fmla="*/ 925852 w 4519987"/>
                    <a:gd name="connsiteY49" fmla="*/ 4067175 h 4429225"/>
                    <a:gd name="connsiteX50" fmla="*/ 830602 w 4519987"/>
                    <a:gd name="connsiteY50" fmla="*/ 3981450 h 4429225"/>
                    <a:gd name="connsiteX51" fmla="*/ 763927 w 4519987"/>
                    <a:gd name="connsiteY51" fmla="*/ 3914775 h 4429225"/>
                    <a:gd name="connsiteX52" fmla="*/ 725827 w 4519987"/>
                    <a:gd name="connsiteY52" fmla="*/ 3876675 h 4429225"/>
                    <a:gd name="connsiteX53" fmla="*/ 697252 w 4519987"/>
                    <a:gd name="connsiteY53" fmla="*/ 3838575 h 4429225"/>
                    <a:gd name="connsiteX54" fmla="*/ 640102 w 4519987"/>
                    <a:gd name="connsiteY54" fmla="*/ 3781425 h 4429225"/>
                    <a:gd name="connsiteX55" fmla="*/ 611527 w 4519987"/>
                    <a:gd name="connsiteY55" fmla="*/ 3733800 h 4429225"/>
                    <a:gd name="connsiteX56" fmla="*/ 554377 w 4519987"/>
                    <a:gd name="connsiteY56" fmla="*/ 3657600 h 4429225"/>
                    <a:gd name="connsiteX57" fmla="*/ 525802 w 4519987"/>
                    <a:gd name="connsiteY57" fmla="*/ 3609975 h 4429225"/>
                    <a:gd name="connsiteX58" fmla="*/ 497227 w 4519987"/>
                    <a:gd name="connsiteY58" fmla="*/ 3552825 h 4429225"/>
                    <a:gd name="connsiteX59" fmla="*/ 440077 w 4519987"/>
                    <a:gd name="connsiteY59" fmla="*/ 3495675 h 4429225"/>
                    <a:gd name="connsiteX60" fmla="*/ 411502 w 4519987"/>
                    <a:gd name="connsiteY60" fmla="*/ 3448050 h 4429225"/>
                    <a:gd name="connsiteX61" fmla="*/ 278152 w 4519987"/>
                    <a:gd name="connsiteY61" fmla="*/ 3257550 h 4429225"/>
                    <a:gd name="connsiteX62" fmla="*/ 249577 w 4519987"/>
                    <a:gd name="connsiteY62" fmla="*/ 3200400 h 4429225"/>
                    <a:gd name="connsiteX63" fmla="*/ 240052 w 4519987"/>
                    <a:gd name="connsiteY63" fmla="*/ 3162300 h 4429225"/>
                    <a:gd name="connsiteX64" fmla="*/ 221002 w 4519987"/>
                    <a:gd name="connsiteY64" fmla="*/ 3105150 h 4429225"/>
                    <a:gd name="connsiteX65" fmla="*/ 173377 w 4519987"/>
                    <a:gd name="connsiteY65" fmla="*/ 3019425 h 4429225"/>
                    <a:gd name="connsiteX66" fmla="*/ 144802 w 4519987"/>
                    <a:gd name="connsiteY66" fmla="*/ 2924175 h 4429225"/>
                    <a:gd name="connsiteX67" fmla="*/ 68602 w 4519987"/>
                    <a:gd name="connsiteY67" fmla="*/ 2724150 h 4429225"/>
                    <a:gd name="connsiteX68" fmla="*/ 49552 w 4519987"/>
                    <a:gd name="connsiteY68" fmla="*/ 2638425 h 4429225"/>
                    <a:gd name="connsiteX69" fmla="*/ 40027 w 4519987"/>
                    <a:gd name="connsiteY69" fmla="*/ 2562225 h 4429225"/>
                    <a:gd name="connsiteX70" fmla="*/ 30502 w 4519987"/>
                    <a:gd name="connsiteY70" fmla="*/ 2514600 h 4429225"/>
                    <a:gd name="connsiteX71" fmla="*/ 11452 w 4519987"/>
                    <a:gd name="connsiteY71" fmla="*/ 2400300 h 4429225"/>
                    <a:gd name="connsiteX72" fmla="*/ 20977 w 4519987"/>
                    <a:gd name="connsiteY72" fmla="*/ 1905000 h 4429225"/>
                    <a:gd name="connsiteX73" fmla="*/ 30502 w 4519987"/>
                    <a:gd name="connsiteY73" fmla="*/ 1838325 h 4429225"/>
                    <a:gd name="connsiteX74" fmla="*/ 49552 w 4519987"/>
                    <a:gd name="connsiteY74" fmla="*/ 1781175 h 4429225"/>
                    <a:gd name="connsiteX75" fmla="*/ 59077 w 4519987"/>
                    <a:gd name="connsiteY75" fmla="*/ 1743075 h 4429225"/>
                    <a:gd name="connsiteX76" fmla="*/ 78127 w 4519987"/>
                    <a:gd name="connsiteY76" fmla="*/ 1685925 h 4429225"/>
                    <a:gd name="connsiteX77" fmla="*/ 87652 w 4519987"/>
                    <a:gd name="connsiteY77" fmla="*/ 1638300 h 4429225"/>
                    <a:gd name="connsiteX78" fmla="*/ 106702 w 4519987"/>
                    <a:gd name="connsiteY78" fmla="*/ 1590675 h 4429225"/>
                    <a:gd name="connsiteX79" fmla="*/ 135277 w 4519987"/>
                    <a:gd name="connsiteY79" fmla="*/ 1504950 h 4429225"/>
                    <a:gd name="connsiteX80" fmla="*/ 154327 w 4519987"/>
                    <a:gd name="connsiteY80" fmla="*/ 1419225 h 4429225"/>
                    <a:gd name="connsiteX81" fmla="*/ 230527 w 4519987"/>
                    <a:gd name="connsiteY81" fmla="*/ 1276350 h 4429225"/>
                    <a:gd name="connsiteX82" fmla="*/ 240052 w 4519987"/>
                    <a:gd name="connsiteY82" fmla="*/ 1247775 h 4429225"/>
                    <a:gd name="connsiteX83" fmla="*/ 268627 w 4519987"/>
                    <a:gd name="connsiteY83" fmla="*/ 1200150 h 4429225"/>
                    <a:gd name="connsiteX84" fmla="*/ 287677 w 4519987"/>
                    <a:gd name="connsiteY84" fmla="*/ 1152525 h 4429225"/>
                    <a:gd name="connsiteX85" fmla="*/ 316252 w 4519987"/>
                    <a:gd name="connsiteY85" fmla="*/ 1114425 h 4429225"/>
                    <a:gd name="connsiteX86" fmla="*/ 363877 w 4519987"/>
                    <a:gd name="connsiteY86" fmla="*/ 1038225 h 4429225"/>
                    <a:gd name="connsiteX87" fmla="*/ 382927 w 4519987"/>
                    <a:gd name="connsiteY87" fmla="*/ 1009650 h 4429225"/>
                    <a:gd name="connsiteX88" fmla="*/ 440077 w 4519987"/>
                    <a:gd name="connsiteY88" fmla="*/ 904875 h 4429225"/>
                    <a:gd name="connsiteX89" fmla="*/ 478177 w 4519987"/>
                    <a:gd name="connsiteY89" fmla="*/ 857250 h 4429225"/>
                    <a:gd name="connsiteX90" fmla="*/ 497227 w 4519987"/>
                    <a:gd name="connsiteY90" fmla="*/ 828675 h 4429225"/>
                    <a:gd name="connsiteX91" fmla="*/ 535327 w 4519987"/>
                    <a:gd name="connsiteY91" fmla="*/ 800100 h 4429225"/>
                    <a:gd name="connsiteX92" fmla="*/ 602002 w 4519987"/>
                    <a:gd name="connsiteY92" fmla="*/ 733425 h 4429225"/>
                    <a:gd name="connsiteX93" fmla="*/ 668677 w 4519987"/>
                    <a:gd name="connsiteY93" fmla="*/ 676275 h 4429225"/>
                    <a:gd name="connsiteX94" fmla="*/ 697252 w 4519987"/>
                    <a:gd name="connsiteY94" fmla="*/ 657225 h 4429225"/>
                    <a:gd name="connsiteX95" fmla="*/ 840127 w 4519987"/>
                    <a:gd name="connsiteY95" fmla="*/ 533400 h 4429225"/>
                    <a:gd name="connsiteX96" fmla="*/ 887752 w 4519987"/>
                    <a:gd name="connsiteY96" fmla="*/ 504825 h 4429225"/>
                    <a:gd name="connsiteX97" fmla="*/ 1167152 w 4519987"/>
                    <a:gd name="connsiteY97" fmla="*/ 311150 h 4429225"/>
                    <a:gd name="connsiteX98" fmla="*/ 1268752 w 4519987"/>
                    <a:gd name="connsiteY98" fmla="*/ 285750 h 4429225"/>
                    <a:gd name="connsiteX99" fmla="*/ 1411627 w 4519987"/>
                    <a:gd name="connsiteY99" fmla="*/ 190500 h 4429225"/>
                    <a:gd name="connsiteX100" fmla="*/ 1449727 w 4519987"/>
                    <a:gd name="connsiteY100" fmla="*/ 161925 h 4429225"/>
                    <a:gd name="connsiteX101" fmla="*/ 1525927 w 4519987"/>
                    <a:gd name="connsiteY101" fmla="*/ 152400 h 4429225"/>
                    <a:gd name="connsiteX102" fmla="*/ 1583077 w 4519987"/>
                    <a:gd name="connsiteY102" fmla="*/ 142875 h 4429225"/>
                    <a:gd name="connsiteX103" fmla="*/ 1716427 w 4519987"/>
                    <a:gd name="connsiteY103" fmla="*/ 123825 h 4429225"/>
                    <a:gd name="connsiteX104" fmla="*/ 1811677 w 4519987"/>
                    <a:gd name="connsiteY104" fmla="*/ 114300 h 4429225"/>
                    <a:gd name="connsiteX105" fmla="*/ 1859302 w 4519987"/>
                    <a:gd name="connsiteY105" fmla="*/ 104775 h 4429225"/>
                    <a:gd name="connsiteX106" fmla="*/ 1916452 w 4519987"/>
                    <a:gd name="connsiteY106" fmla="*/ 95250 h 4429225"/>
                    <a:gd name="connsiteX107" fmla="*/ 2030752 w 4519987"/>
                    <a:gd name="connsiteY107" fmla="*/ 66675 h 4429225"/>
                    <a:gd name="connsiteX108" fmla="*/ 2097427 w 4519987"/>
                    <a:gd name="connsiteY108" fmla="*/ 47625 h 4429225"/>
                    <a:gd name="connsiteX109" fmla="*/ 2164102 w 4519987"/>
                    <a:gd name="connsiteY109" fmla="*/ 38100 h 4429225"/>
                    <a:gd name="connsiteX110" fmla="*/ 2392702 w 4519987"/>
                    <a:gd name="connsiteY11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925852 w 4519987"/>
                    <a:gd name="connsiteY48" fmla="*/ 4067175 h 4429225"/>
                    <a:gd name="connsiteX49" fmla="*/ 830602 w 4519987"/>
                    <a:gd name="connsiteY49" fmla="*/ 3981450 h 4429225"/>
                    <a:gd name="connsiteX50" fmla="*/ 763927 w 4519987"/>
                    <a:gd name="connsiteY50" fmla="*/ 3914775 h 4429225"/>
                    <a:gd name="connsiteX51" fmla="*/ 725827 w 4519987"/>
                    <a:gd name="connsiteY51" fmla="*/ 3876675 h 4429225"/>
                    <a:gd name="connsiteX52" fmla="*/ 697252 w 4519987"/>
                    <a:gd name="connsiteY52" fmla="*/ 3838575 h 4429225"/>
                    <a:gd name="connsiteX53" fmla="*/ 640102 w 4519987"/>
                    <a:gd name="connsiteY53" fmla="*/ 3781425 h 4429225"/>
                    <a:gd name="connsiteX54" fmla="*/ 611527 w 4519987"/>
                    <a:gd name="connsiteY54" fmla="*/ 3733800 h 4429225"/>
                    <a:gd name="connsiteX55" fmla="*/ 554377 w 4519987"/>
                    <a:gd name="connsiteY55" fmla="*/ 3657600 h 4429225"/>
                    <a:gd name="connsiteX56" fmla="*/ 525802 w 4519987"/>
                    <a:gd name="connsiteY56" fmla="*/ 3609975 h 4429225"/>
                    <a:gd name="connsiteX57" fmla="*/ 497227 w 4519987"/>
                    <a:gd name="connsiteY57" fmla="*/ 3552825 h 4429225"/>
                    <a:gd name="connsiteX58" fmla="*/ 440077 w 4519987"/>
                    <a:gd name="connsiteY58" fmla="*/ 3495675 h 4429225"/>
                    <a:gd name="connsiteX59" fmla="*/ 411502 w 4519987"/>
                    <a:gd name="connsiteY59" fmla="*/ 3448050 h 4429225"/>
                    <a:gd name="connsiteX60" fmla="*/ 278152 w 4519987"/>
                    <a:gd name="connsiteY60" fmla="*/ 3257550 h 4429225"/>
                    <a:gd name="connsiteX61" fmla="*/ 249577 w 4519987"/>
                    <a:gd name="connsiteY61" fmla="*/ 3200400 h 4429225"/>
                    <a:gd name="connsiteX62" fmla="*/ 240052 w 4519987"/>
                    <a:gd name="connsiteY62" fmla="*/ 3162300 h 4429225"/>
                    <a:gd name="connsiteX63" fmla="*/ 221002 w 4519987"/>
                    <a:gd name="connsiteY63" fmla="*/ 3105150 h 4429225"/>
                    <a:gd name="connsiteX64" fmla="*/ 173377 w 4519987"/>
                    <a:gd name="connsiteY64" fmla="*/ 3019425 h 4429225"/>
                    <a:gd name="connsiteX65" fmla="*/ 144802 w 4519987"/>
                    <a:gd name="connsiteY65" fmla="*/ 2924175 h 4429225"/>
                    <a:gd name="connsiteX66" fmla="*/ 68602 w 4519987"/>
                    <a:gd name="connsiteY66" fmla="*/ 2724150 h 4429225"/>
                    <a:gd name="connsiteX67" fmla="*/ 49552 w 4519987"/>
                    <a:gd name="connsiteY67" fmla="*/ 2638425 h 4429225"/>
                    <a:gd name="connsiteX68" fmla="*/ 40027 w 4519987"/>
                    <a:gd name="connsiteY68" fmla="*/ 2562225 h 4429225"/>
                    <a:gd name="connsiteX69" fmla="*/ 30502 w 4519987"/>
                    <a:gd name="connsiteY69" fmla="*/ 2514600 h 4429225"/>
                    <a:gd name="connsiteX70" fmla="*/ 11452 w 4519987"/>
                    <a:gd name="connsiteY70" fmla="*/ 2400300 h 4429225"/>
                    <a:gd name="connsiteX71" fmla="*/ 20977 w 4519987"/>
                    <a:gd name="connsiteY71" fmla="*/ 1905000 h 4429225"/>
                    <a:gd name="connsiteX72" fmla="*/ 30502 w 4519987"/>
                    <a:gd name="connsiteY72" fmla="*/ 1838325 h 4429225"/>
                    <a:gd name="connsiteX73" fmla="*/ 49552 w 4519987"/>
                    <a:gd name="connsiteY73" fmla="*/ 1781175 h 4429225"/>
                    <a:gd name="connsiteX74" fmla="*/ 59077 w 4519987"/>
                    <a:gd name="connsiteY74" fmla="*/ 1743075 h 4429225"/>
                    <a:gd name="connsiteX75" fmla="*/ 78127 w 4519987"/>
                    <a:gd name="connsiteY75" fmla="*/ 1685925 h 4429225"/>
                    <a:gd name="connsiteX76" fmla="*/ 87652 w 4519987"/>
                    <a:gd name="connsiteY76" fmla="*/ 1638300 h 4429225"/>
                    <a:gd name="connsiteX77" fmla="*/ 106702 w 4519987"/>
                    <a:gd name="connsiteY77" fmla="*/ 1590675 h 4429225"/>
                    <a:gd name="connsiteX78" fmla="*/ 135277 w 4519987"/>
                    <a:gd name="connsiteY78" fmla="*/ 1504950 h 4429225"/>
                    <a:gd name="connsiteX79" fmla="*/ 154327 w 4519987"/>
                    <a:gd name="connsiteY79" fmla="*/ 1419225 h 4429225"/>
                    <a:gd name="connsiteX80" fmla="*/ 230527 w 4519987"/>
                    <a:gd name="connsiteY80" fmla="*/ 1276350 h 4429225"/>
                    <a:gd name="connsiteX81" fmla="*/ 240052 w 4519987"/>
                    <a:gd name="connsiteY81" fmla="*/ 1247775 h 4429225"/>
                    <a:gd name="connsiteX82" fmla="*/ 268627 w 4519987"/>
                    <a:gd name="connsiteY82" fmla="*/ 1200150 h 4429225"/>
                    <a:gd name="connsiteX83" fmla="*/ 287677 w 4519987"/>
                    <a:gd name="connsiteY83" fmla="*/ 1152525 h 4429225"/>
                    <a:gd name="connsiteX84" fmla="*/ 316252 w 4519987"/>
                    <a:gd name="connsiteY84" fmla="*/ 1114425 h 4429225"/>
                    <a:gd name="connsiteX85" fmla="*/ 363877 w 4519987"/>
                    <a:gd name="connsiteY85" fmla="*/ 1038225 h 4429225"/>
                    <a:gd name="connsiteX86" fmla="*/ 382927 w 4519987"/>
                    <a:gd name="connsiteY86" fmla="*/ 1009650 h 4429225"/>
                    <a:gd name="connsiteX87" fmla="*/ 440077 w 4519987"/>
                    <a:gd name="connsiteY87" fmla="*/ 904875 h 4429225"/>
                    <a:gd name="connsiteX88" fmla="*/ 478177 w 4519987"/>
                    <a:gd name="connsiteY88" fmla="*/ 857250 h 4429225"/>
                    <a:gd name="connsiteX89" fmla="*/ 497227 w 4519987"/>
                    <a:gd name="connsiteY89" fmla="*/ 828675 h 4429225"/>
                    <a:gd name="connsiteX90" fmla="*/ 535327 w 4519987"/>
                    <a:gd name="connsiteY90" fmla="*/ 800100 h 4429225"/>
                    <a:gd name="connsiteX91" fmla="*/ 602002 w 4519987"/>
                    <a:gd name="connsiteY91" fmla="*/ 733425 h 4429225"/>
                    <a:gd name="connsiteX92" fmla="*/ 668677 w 4519987"/>
                    <a:gd name="connsiteY92" fmla="*/ 676275 h 4429225"/>
                    <a:gd name="connsiteX93" fmla="*/ 697252 w 4519987"/>
                    <a:gd name="connsiteY93" fmla="*/ 657225 h 4429225"/>
                    <a:gd name="connsiteX94" fmla="*/ 840127 w 4519987"/>
                    <a:gd name="connsiteY94" fmla="*/ 533400 h 4429225"/>
                    <a:gd name="connsiteX95" fmla="*/ 887752 w 4519987"/>
                    <a:gd name="connsiteY95" fmla="*/ 504825 h 4429225"/>
                    <a:gd name="connsiteX96" fmla="*/ 1167152 w 4519987"/>
                    <a:gd name="connsiteY96" fmla="*/ 311150 h 4429225"/>
                    <a:gd name="connsiteX97" fmla="*/ 1268752 w 4519987"/>
                    <a:gd name="connsiteY97" fmla="*/ 285750 h 4429225"/>
                    <a:gd name="connsiteX98" fmla="*/ 1411627 w 4519987"/>
                    <a:gd name="connsiteY98" fmla="*/ 190500 h 4429225"/>
                    <a:gd name="connsiteX99" fmla="*/ 1449727 w 4519987"/>
                    <a:gd name="connsiteY99" fmla="*/ 161925 h 4429225"/>
                    <a:gd name="connsiteX100" fmla="*/ 1525927 w 4519987"/>
                    <a:gd name="connsiteY100" fmla="*/ 152400 h 4429225"/>
                    <a:gd name="connsiteX101" fmla="*/ 1583077 w 4519987"/>
                    <a:gd name="connsiteY101" fmla="*/ 142875 h 4429225"/>
                    <a:gd name="connsiteX102" fmla="*/ 1716427 w 4519987"/>
                    <a:gd name="connsiteY102" fmla="*/ 123825 h 4429225"/>
                    <a:gd name="connsiteX103" fmla="*/ 1811677 w 4519987"/>
                    <a:gd name="connsiteY103" fmla="*/ 114300 h 4429225"/>
                    <a:gd name="connsiteX104" fmla="*/ 1859302 w 4519987"/>
                    <a:gd name="connsiteY104" fmla="*/ 104775 h 4429225"/>
                    <a:gd name="connsiteX105" fmla="*/ 1916452 w 4519987"/>
                    <a:gd name="connsiteY105" fmla="*/ 95250 h 4429225"/>
                    <a:gd name="connsiteX106" fmla="*/ 2030752 w 4519987"/>
                    <a:gd name="connsiteY106" fmla="*/ 66675 h 4429225"/>
                    <a:gd name="connsiteX107" fmla="*/ 2097427 w 4519987"/>
                    <a:gd name="connsiteY107" fmla="*/ 47625 h 4429225"/>
                    <a:gd name="connsiteX108" fmla="*/ 2164102 w 4519987"/>
                    <a:gd name="connsiteY108" fmla="*/ 38100 h 4429225"/>
                    <a:gd name="connsiteX109" fmla="*/ 2392702 w 4519987"/>
                    <a:gd name="connsiteY10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725827 w 4519987"/>
                    <a:gd name="connsiteY50" fmla="*/ 3876675 h 4429225"/>
                    <a:gd name="connsiteX51" fmla="*/ 697252 w 4519987"/>
                    <a:gd name="connsiteY51" fmla="*/ 3838575 h 4429225"/>
                    <a:gd name="connsiteX52" fmla="*/ 640102 w 4519987"/>
                    <a:gd name="connsiteY52" fmla="*/ 3781425 h 4429225"/>
                    <a:gd name="connsiteX53" fmla="*/ 611527 w 4519987"/>
                    <a:gd name="connsiteY53" fmla="*/ 3733800 h 4429225"/>
                    <a:gd name="connsiteX54" fmla="*/ 554377 w 4519987"/>
                    <a:gd name="connsiteY54" fmla="*/ 3657600 h 4429225"/>
                    <a:gd name="connsiteX55" fmla="*/ 525802 w 4519987"/>
                    <a:gd name="connsiteY55" fmla="*/ 3609975 h 4429225"/>
                    <a:gd name="connsiteX56" fmla="*/ 497227 w 4519987"/>
                    <a:gd name="connsiteY56" fmla="*/ 3552825 h 4429225"/>
                    <a:gd name="connsiteX57" fmla="*/ 440077 w 4519987"/>
                    <a:gd name="connsiteY57" fmla="*/ 3495675 h 4429225"/>
                    <a:gd name="connsiteX58" fmla="*/ 411502 w 4519987"/>
                    <a:gd name="connsiteY58" fmla="*/ 3448050 h 4429225"/>
                    <a:gd name="connsiteX59" fmla="*/ 278152 w 4519987"/>
                    <a:gd name="connsiteY59" fmla="*/ 3257550 h 4429225"/>
                    <a:gd name="connsiteX60" fmla="*/ 249577 w 4519987"/>
                    <a:gd name="connsiteY60" fmla="*/ 3200400 h 4429225"/>
                    <a:gd name="connsiteX61" fmla="*/ 240052 w 4519987"/>
                    <a:gd name="connsiteY61" fmla="*/ 3162300 h 4429225"/>
                    <a:gd name="connsiteX62" fmla="*/ 221002 w 4519987"/>
                    <a:gd name="connsiteY62" fmla="*/ 3105150 h 4429225"/>
                    <a:gd name="connsiteX63" fmla="*/ 173377 w 4519987"/>
                    <a:gd name="connsiteY63" fmla="*/ 3019425 h 4429225"/>
                    <a:gd name="connsiteX64" fmla="*/ 144802 w 4519987"/>
                    <a:gd name="connsiteY64" fmla="*/ 2924175 h 4429225"/>
                    <a:gd name="connsiteX65" fmla="*/ 68602 w 4519987"/>
                    <a:gd name="connsiteY65" fmla="*/ 2724150 h 4429225"/>
                    <a:gd name="connsiteX66" fmla="*/ 49552 w 4519987"/>
                    <a:gd name="connsiteY66" fmla="*/ 2638425 h 4429225"/>
                    <a:gd name="connsiteX67" fmla="*/ 40027 w 4519987"/>
                    <a:gd name="connsiteY67" fmla="*/ 2562225 h 4429225"/>
                    <a:gd name="connsiteX68" fmla="*/ 30502 w 4519987"/>
                    <a:gd name="connsiteY68" fmla="*/ 2514600 h 4429225"/>
                    <a:gd name="connsiteX69" fmla="*/ 11452 w 4519987"/>
                    <a:gd name="connsiteY69" fmla="*/ 2400300 h 4429225"/>
                    <a:gd name="connsiteX70" fmla="*/ 20977 w 4519987"/>
                    <a:gd name="connsiteY70" fmla="*/ 1905000 h 4429225"/>
                    <a:gd name="connsiteX71" fmla="*/ 30502 w 4519987"/>
                    <a:gd name="connsiteY71" fmla="*/ 1838325 h 4429225"/>
                    <a:gd name="connsiteX72" fmla="*/ 49552 w 4519987"/>
                    <a:gd name="connsiteY72" fmla="*/ 1781175 h 4429225"/>
                    <a:gd name="connsiteX73" fmla="*/ 59077 w 4519987"/>
                    <a:gd name="connsiteY73" fmla="*/ 1743075 h 4429225"/>
                    <a:gd name="connsiteX74" fmla="*/ 78127 w 4519987"/>
                    <a:gd name="connsiteY74" fmla="*/ 1685925 h 4429225"/>
                    <a:gd name="connsiteX75" fmla="*/ 87652 w 4519987"/>
                    <a:gd name="connsiteY75" fmla="*/ 1638300 h 4429225"/>
                    <a:gd name="connsiteX76" fmla="*/ 106702 w 4519987"/>
                    <a:gd name="connsiteY76" fmla="*/ 1590675 h 4429225"/>
                    <a:gd name="connsiteX77" fmla="*/ 135277 w 4519987"/>
                    <a:gd name="connsiteY77" fmla="*/ 1504950 h 4429225"/>
                    <a:gd name="connsiteX78" fmla="*/ 154327 w 4519987"/>
                    <a:gd name="connsiteY78" fmla="*/ 1419225 h 4429225"/>
                    <a:gd name="connsiteX79" fmla="*/ 230527 w 4519987"/>
                    <a:gd name="connsiteY79" fmla="*/ 1276350 h 4429225"/>
                    <a:gd name="connsiteX80" fmla="*/ 240052 w 4519987"/>
                    <a:gd name="connsiteY80" fmla="*/ 1247775 h 4429225"/>
                    <a:gd name="connsiteX81" fmla="*/ 268627 w 4519987"/>
                    <a:gd name="connsiteY81" fmla="*/ 1200150 h 4429225"/>
                    <a:gd name="connsiteX82" fmla="*/ 287677 w 4519987"/>
                    <a:gd name="connsiteY82" fmla="*/ 1152525 h 4429225"/>
                    <a:gd name="connsiteX83" fmla="*/ 316252 w 4519987"/>
                    <a:gd name="connsiteY83" fmla="*/ 1114425 h 4429225"/>
                    <a:gd name="connsiteX84" fmla="*/ 363877 w 4519987"/>
                    <a:gd name="connsiteY84" fmla="*/ 1038225 h 4429225"/>
                    <a:gd name="connsiteX85" fmla="*/ 382927 w 4519987"/>
                    <a:gd name="connsiteY85" fmla="*/ 1009650 h 4429225"/>
                    <a:gd name="connsiteX86" fmla="*/ 440077 w 4519987"/>
                    <a:gd name="connsiteY86" fmla="*/ 904875 h 4429225"/>
                    <a:gd name="connsiteX87" fmla="*/ 478177 w 4519987"/>
                    <a:gd name="connsiteY87" fmla="*/ 857250 h 4429225"/>
                    <a:gd name="connsiteX88" fmla="*/ 497227 w 4519987"/>
                    <a:gd name="connsiteY88" fmla="*/ 828675 h 4429225"/>
                    <a:gd name="connsiteX89" fmla="*/ 535327 w 4519987"/>
                    <a:gd name="connsiteY89" fmla="*/ 800100 h 4429225"/>
                    <a:gd name="connsiteX90" fmla="*/ 602002 w 4519987"/>
                    <a:gd name="connsiteY90" fmla="*/ 733425 h 4429225"/>
                    <a:gd name="connsiteX91" fmla="*/ 668677 w 4519987"/>
                    <a:gd name="connsiteY91" fmla="*/ 676275 h 4429225"/>
                    <a:gd name="connsiteX92" fmla="*/ 697252 w 4519987"/>
                    <a:gd name="connsiteY92" fmla="*/ 657225 h 4429225"/>
                    <a:gd name="connsiteX93" fmla="*/ 840127 w 4519987"/>
                    <a:gd name="connsiteY93" fmla="*/ 533400 h 4429225"/>
                    <a:gd name="connsiteX94" fmla="*/ 887752 w 4519987"/>
                    <a:gd name="connsiteY94" fmla="*/ 504825 h 4429225"/>
                    <a:gd name="connsiteX95" fmla="*/ 1167152 w 4519987"/>
                    <a:gd name="connsiteY95" fmla="*/ 311150 h 4429225"/>
                    <a:gd name="connsiteX96" fmla="*/ 1268752 w 4519987"/>
                    <a:gd name="connsiteY96" fmla="*/ 285750 h 4429225"/>
                    <a:gd name="connsiteX97" fmla="*/ 1411627 w 4519987"/>
                    <a:gd name="connsiteY97" fmla="*/ 190500 h 4429225"/>
                    <a:gd name="connsiteX98" fmla="*/ 1449727 w 4519987"/>
                    <a:gd name="connsiteY98" fmla="*/ 161925 h 4429225"/>
                    <a:gd name="connsiteX99" fmla="*/ 1525927 w 4519987"/>
                    <a:gd name="connsiteY99" fmla="*/ 152400 h 4429225"/>
                    <a:gd name="connsiteX100" fmla="*/ 1583077 w 4519987"/>
                    <a:gd name="connsiteY100" fmla="*/ 142875 h 4429225"/>
                    <a:gd name="connsiteX101" fmla="*/ 1716427 w 4519987"/>
                    <a:gd name="connsiteY101" fmla="*/ 123825 h 4429225"/>
                    <a:gd name="connsiteX102" fmla="*/ 1811677 w 4519987"/>
                    <a:gd name="connsiteY102" fmla="*/ 114300 h 4429225"/>
                    <a:gd name="connsiteX103" fmla="*/ 1859302 w 4519987"/>
                    <a:gd name="connsiteY103" fmla="*/ 104775 h 4429225"/>
                    <a:gd name="connsiteX104" fmla="*/ 1916452 w 4519987"/>
                    <a:gd name="connsiteY104" fmla="*/ 95250 h 4429225"/>
                    <a:gd name="connsiteX105" fmla="*/ 2030752 w 4519987"/>
                    <a:gd name="connsiteY105" fmla="*/ 66675 h 4429225"/>
                    <a:gd name="connsiteX106" fmla="*/ 2097427 w 4519987"/>
                    <a:gd name="connsiteY106" fmla="*/ 47625 h 4429225"/>
                    <a:gd name="connsiteX107" fmla="*/ 2164102 w 4519987"/>
                    <a:gd name="connsiteY107" fmla="*/ 38100 h 4429225"/>
                    <a:gd name="connsiteX108" fmla="*/ 2392702 w 4519987"/>
                    <a:gd name="connsiteY10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40102 w 4519987"/>
                    <a:gd name="connsiteY51" fmla="*/ 3781425 h 4429225"/>
                    <a:gd name="connsiteX52" fmla="*/ 611527 w 4519987"/>
                    <a:gd name="connsiteY52" fmla="*/ 3733800 h 4429225"/>
                    <a:gd name="connsiteX53" fmla="*/ 554377 w 4519987"/>
                    <a:gd name="connsiteY53" fmla="*/ 3657600 h 4429225"/>
                    <a:gd name="connsiteX54" fmla="*/ 525802 w 4519987"/>
                    <a:gd name="connsiteY54" fmla="*/ 3609975 h 4429225"/>
                    <a:gd name="connsiteX55" fmla="*/ 497227 w 4519987"/>
                    <a:gd name="connsiteY55" fmla="*/ 3552825 h 4429225"/>
                    <a:gd name="connsiteX56" fmla="*/ 440077 w 4519987"/>
                    <a:gd name="connsiteY56" fmla="*/ 3495675 h 4429225"/>
                    <a:gd name="connsiteX57" fmla="*/ 411502 w 4519987"/>
                    <a:gd name="connsiteY57" fmla="*/ 3448050 h 4429225"/>
                    <a:gd name="connsiteX58" fmla="*/ 278152 w 4519987"/>
                    <a:gd name="connsiteY58" fmla="*/ 3257550 h 4429225"/>
                    <a:gd name="connsiteX59" fmla="*/ 249577 w 4519987"/>
                    <a:gd name="connsiteY59" fmla="*/ 3200400 h 4429225"/>
                    <a:gd name="connsiteX60" fmla="*/ 240052 w 4519987"/>
                    <a:gd name="connsiteY60" fmla="*/ 3162300 h 4429225"/>
                    <a:gd name="connsiteX61" fmla="*/ 221002 w 4519987"/>
                    <a:gd name="connsiteY61" fmla="*/ 3105150 h 4429225"/>
                    <a:gd name="connsiteX62" fmla="*/ 173377 w 4519987"/>
                    <a:gd name="connsiteY62" fmla="*/ 3019425 h 4429225"/>
                    <a:gd name="connsiteX63" fmla="*/ 144802 w 4519987"/>
                    <a:gd name="connsiteY63" fmla="*/ 2924175 h 4429225"/>
                    <a:gd name="connsiteX64" fmla="*/ 68602 w 4519987"/>
                    <a:gd name="connsiteY64" fmla="*/ 2724150 h 4429225"/>
                    <a:gd name="connsiteX65" fmla="*/ 49552 w 4519987"/>
                    <a:gd name="connsiteY65" fmla="*/ 2638425 h 4429225"/>
                    <a:gd name="connsiteX66" fmla="*/ 40027 w 4519987"/>
                    <a:gd name="connsiteY66" fmla="*/ 2562225 h 4429225"/>
                    <a:gd name="connsiteX67" fmla="*/ 30502 w 4519987"/>
                    <a:gd name="connsiteY67" fmla="*/ 2514600 h 4429225"/>
                    <a:gd name="connsiteX68" fmla="*/ 11452 w 4519987"/>
                    <a:gd name="connsiteY68" fmla="*/ 2400300 h 4429225"/>
                    <a:gd name="connsiteX69" fmla="*/ 20977 w 4519987"/>
                    <a:gd name="connsiteY69" fmla="*/ 1905000 h 4429225"/>
                    <a:gd name="connsiteX70" fmla="*/ 30502 w 4519987"/>
                    <a:gd name="connsiteY70" fmla="*/ 1838325 h 4429225"/>
                    <a:gd name="connsiteX71" fmla="*/ 49552 w 4519987"/>
                    <a:gd name="connsiteY71" fmla="*/ 1781175 h 4429225"/>
                    <a:gd name="connsiteX72" fmla="*/ 59077 w 4519987"/>
                    <a:gd name="connsiteY72" fmla="*/ 1743075 h 4429225"/>
                    <a:gd name="connsiteX73" fmla="*/ 78127 w 4519987"/>
                    <a:gd name="connsiteY73" fmla="*/ 1685925 h 4429225"/>
                    <a:gd name="connsiteX74" fmla="*/ 87652 w 4519987"/>
                    <a:gd name="connsiteY74" fmla="*/ 1638300 h 4429225"/>
                    <a:gd name="connsiteX75" fmla="*/ 106702 w 4519987"/>
                    <a:gd name="connsiteY75" fmla="*/ 1590675 h 4429225"/>
                    <a:gd name="connsiteX76" fmla="*/ 135277 w 4519987"/>
                    <a:gd name="connsiteY76" fmla="*/ 1504950 h 4429225"/>
                    <a:gd name="connsiteX77" fmla="*/ 154327 w 4519987"/>
                    <a:gd name="connsiteY77" fmla="*/ 1419225 h 4429225"/>
                    <a:gd name="connsiteX78" fmla="*/ 230527 w 4519987"/>
                    <a:gd name="connsiteY78" fmla="*/ 1276350 h 4429225"/>
                    <a:gd name="connsiteX79" fmla="*/ 240052 w 4519987"/>
                    <a:gd name="connsiteY79" fmla="*/ 1247775 h 4429225"/>
                    <a:gd name="connsiteX80" fmla="*/ 268627 w 4519987"/>
                    <a:gd name="connsiteY80" fmla="*/ 1200150 h 4429225"/>
                    <a:gd name="connsiteX81" fmla="*/ 287677 w 4519987"/>
                    <a:gd name="connsiteY81" fmla="*/ 1152525 h 4429225"/>
                    <a:gd name="connsiteX82" fmla="*/ 316252 w 4519987"/>
                    <a:gd name="connsiteY82" fmla="*/ 1114425 h 4429225"/>
                    <a:gd name="connsiteX83" fmla="*/ 363877 w 4519987"/>
                    <a:gd name="connsiteY83" fmla="*/ 1038225 h 4429225"/>
                    <a:gd name="connsiteX84" fmla="*/ 382927 w 4519987"/>
                    <a:gd name="connsiteY84" fmla="*/ 1009650 h 4429225"/>
                    <a:gd name="connsiteX85" fmla="*/ 440077 w 4519987"/>
                    <a:gd name="connsiteY85" fmla="*/ 904875 h 4429225"/>
                    <a:gd name="connsiteX86" fmla="*/ 478177 w 4519987"/>
                    <a:gd name="connsiteY86" fmla="*/ 857250 h 4429225"/>
                    <a:gd name="connsiteX87" fmla="*/ 497227 w 4519987"/>
                    <a:gd name="connsiteY87" fmla="*/ 828675 h 4429225"/>
                    <a:gd name="connsiteX88" fmla="*/ 535327 w 4519987"/>
                    <a:gd name="connsiteY88" fmla="*/ 800100 h 4429225"/>
                    <a:gd name="connsiteX89" fmla="*/ 602002 w 4519987"/>
                    <a:gd name="connsiteY89" fmla="*/ 733425 h 4429225"/>
                    <a:gd name="connsiteX90" fmla="*/ 668677 w 4519987"/>
                    <a:gd name="connsiteY90" fmla="*/ 676275 h 4429225"/>
                    <a:gd name="connsiteX91" fmla="*/ 697252 w 4519987"/>
                    <a:gd name="connsiteY91" fmla="*/ 657225 h 4429225"/>
                    <a:gd name="connsiteX92" fmla="*/ 840127 w 4519987"/>
                    <a:gd name="connsiteY92" fmla="*/ 533400 h 4429225"/>
                    <a:gd name="connsiteX93" fmla="*/ 887752 w 4519987"/>
                    <a:gd name="connsiteY93" fmla="*/ 504825 h 4429225"/>
                    <a:gd name="connsiteX94" fmla="*/ 1167152 w 4519987"/>
                    <a:gd name="connsiteY94" fmla="*/ 311150 h 4429225"/>
                    <a:gd name="connsiteX95" fmla="*/ 1268752 w 4519987"/>
                    <a:gd name="connsiteY95" fmla="*/ 285750 h 4429225"/>
                    <a:gd name="connsiteX96" fmla="*/ 1411627 w 4519987"/>
                    <a:gd name="connsiteY96" fmla="*/ 190500 h 4429225"/>
                    <a:gd name="connsiteX97" fmla="*/ 1449727 w 4519987"/>
                    <a:gd name="connsiteY97" fmla="*/ 161925 h 4429225"/>
                    <a:gd name="connsiteX98" fmla="*/ 1525927 w 4519987"/>
                    <a:gd name="connsiteY98" fmla="*/ 152400 h 4429225"/>
                    <a:gd name="connsiteX99" fmla="*/ 1583077 w 4519987"/>
                    <a:gd name="connsiteY99" fmla="*/ 142875 h 4429225"/>
                    <a:gd name="connsiteX100" fmla="*/ 1716427 w 4519987"/>
                    <a:gd name="connsiteY100" fmla="*/ 123825 h 4429225"/>
                    <a:gd name="connsiteX101" fmla="*/ 1811677 w 4519987"/>
                    <a:gd name="connsiteY101" fmla="*/ 114300 h 4429225"/>
                    <a:gd name="connsiteX102" fmla="*/ 1859302 w 4519987"/>
                    <a:gd name="connsiteY102" fmla="*/ 104775 h 4429225"/>
                    <a:gd name="connsiteX103" fmla="*/ 1916452 w 4519987"/>
                    <a:gd name="connsiteY103" fmla="*/ 95250 h 4429225"/>
                    <a:gd name="connsiteX104" fmla="*/ 2030752 w 4519987"/>
                    <a:gd name="connsiteY104" fmla="*/ 66675 h 4429225"/>
                    <a:gd name="connsiteX105" fmla="*/ 2097427 w 4519987"/>
                    <a:gd name="connsiteY105" fmla="*/ 47625 h 4429225"/>
                    <a:gd name="connsiteX106" fmla="*/ 2164102 w 4519987"/>
                    <a:gd name="connsiteY106" fmla="*/ 38100 h 4429225"/>
                    <a:gd name="connsiteX107" fmla="*/ 2392702 w 4519987"/>
                    <a:gd name="connsiteY10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11527 w 4519987"/>
                    <a:gd name="connsiteY51" fmla="*/ 3733800 h 4429225"/>
                    <a:gd name="connsiteX52" fmla="*/ 554377 w 4519987"/>
                    <a:gd name="connsiteY52" fmla="*/ 3657600 h 4429225"/>
                    <a:gd name="connsiteX53" fmla="*/ 525802 w 4519987"/>
                    <a:gd name="connsiteY53" fmla="*/ 3609975 h 4429225"/>
                    <a:gd name="connsiteX54" fmla="*/ 497227 w 4519987"/>
                    <a:gd name="connsiteY54" fmla="*/ 3552825 h 4429225"/>
                    <a:gd name="connsiteX55" fmla="*/ 440077 w 4519987"/>
                    <a:gd name="connsiteY55" fmla="*/ 3495675 h 4429225"/>
                    <a:gd name="connsiteX56" fmla="*/ 411502 w 4519987"/>
                    <a:gd name="connsiteY56" fmla="*/ 3448050 h 4429225"/>
                    <a:gd name="connsiteX57" fmla="*/ 278152 w 4519987"/>
                    <a:gd name="connsiteY57" fmla="*/ 3257550 h 4429225"/>
                    <a:gd name="connsiteX58" fmla="*/ 249577 w 4519987"/>
                    <a:gd name="connsiteY58" fmla="*/ 3200400 h 4429225"/>
                    <a:gd name="connsiteX59" fmla="*/ 240052 w 4519987"/>
                    <a:gd name="connsiteY59" fmla="*/ 3162300 h 4429225"/>
                    <a:gd name="connsiteX60" fmla="*/ 221002 w 4519987"/>
                    <a:gd name="connsiteY60" fmla="*/ 3105150 h 4429225"/>
                    <a:gd name="connsiteX61" fmla="*/ 173377 w 4519987"/>
                    <a:gd name="connsiteY61" fmla="*/ 3019425 h 4429225"/>
                    <a:gd name="connsiteX62" fmla="*/ 144802 w 4519987"/>
                    <a:gd name="connsiteY62" fmla="*/ 2924175 h 4429225"/>
                    <a:gd name="connsiteX63" fmla="*/ 68602 w 4519987"/>
                    <a:gd name="connsiteY63" fmla="*/ 2724150 h 4429225"/>
                    <a:gd name="connsiteX64" fmla="*/ 49552 w 4519987"/>
                    <a:gd name="connsiteY64" fmla="*/ 2638425 h 4429225"/>
                    <a:gd name="connsiteX65" fmla="*/ 40027 w 4519987"/>
                    <a:gd name="connsiteY65" fmla="*/ 2562225 h 4429225"/>
                    <a:gd name="connsiteX66" fmla="*/ 30502 w 4519987"/>
                    <a:gd name="connsiteY66" fmla="*/ 2514600 h 4429225"/>
                    <a:gd name="connsiteX67" fmla="*/ 11452 w 4519987"/>
                    <a:gd name="connsiteY67" fmla="*/ 2400300 h 4429225"/>
                    <a:gd name="connsiteX68" fmla="*/ 20977 w 4519987"/>
                    <a:gd name="connsiteY68" fmla="*/ 1905000 h 4429225"/>
                    <a:gd name="connsiteX69" fmla="*/ 30502 w 4519987"/>
                    <a:gd name="connsiteY69" fmla="*/ 1838325 h 4429225"/>
                    <a:gd name="connsiteX70" fmla="*/ 49552 w 4519987"/>
                    <a:gd name="connsiteY70" fmla="*/ 1781175 h 4429225"/>
                    <a:gd name="connsiteX71" fmla="*/ 59077 w 4519987"/>
                    <a:gd name="connsiteY71" fmla="*/ 1743075 h 4429225"/>
                    <a:gd name="connsiteX72" fmla="*/ 78127 w 4519987"/>
                    <a:gd name="connsiteY72" fmla="*/ 1685925 h 4429225"/>
                    <a:gd name="connsiteX73" fmla="*/ 87652 w 4519987"/>
                    <a:gd name="connsiteY73" fmla="*/ 1638300 h 4429225"/>
                    <a:gd name="connsiteX74" fmla="*/ 106702 w 4519987"/>
                    <a:gd name="connsiteY74" fmla="*/ 1590675 h 4429225"/>
                    <a:gd name="connsiteX75" fmla="*/ 135277 w 4519987"/>
                    <a:gd name="connsiteY75" fmla="*/ 1504950 h 4429225"/>
                    <a:gd name="connsiteX76" fmla="*/ 154327 w 4519987"/>
                    <a:gd name="connsiteY76" fmla="*/ 1419225 h 4429225"/>
                    <a:gd name="connsiteX77" fmla="*/ 230527 w 4519987"/>
                    <a:gd name="connsiteY77" fmla="*/ 1276350 h 4429225"/>
                    <a:gd name="connsiteX78" fmla="*/ 240052 w 4519987"/>
                    <a:gd name="connsiteY78" fmla="*/ 1247775 h 4429225"/>
                    <a:gd name="connsiteX79" fmla="*/ 268627 w 4519987"/>
                    <a:gd name="connsiteY79" fmla="*/ 1200150 h 4429225"/>
                    <a:gd name="connsiteX80" fmla="*/ 287677 w 4519987"/>
                    <a:gd name="connsiteY80" fmla="*/ 1152525 h 4429225"/>
                    <a:gd name="connsiteX81" fmla="*/ 316252 w 4519987"/>
                    <a:gd name="connsiteY81" fmla="*/ 1114425 h 4429225"/>
                    <a:gd name="connsiteX82" fmla="*/ 363877 w 4519987"/>
                    <a:gd name="connsiteY82" fmla="*/ 1038225 h 4429225"/>
                    <a:gd name="connsiteX83" fmla="*/ 382927 w 4519987"/>
                    <a:gd name="connsiteY83" fmla="*/ 1009650 h 4429225"/>
                    <a:gd name="connsiteX84" fmla="*/ 440077 w 4519987"/>
                    <a:gd name="connsiteY84" fmla="*/ 904875 h 4429225"/>
                    <a:gd name="connsiteX85" fmla="*/ 478177 w 4519987"/>
                    <a:gd name="connsiteY85" fmla="*/ 857250 h 4429225"/>
                    <a:gd name="connsiteX86" fmla="*/ 497227 w 4519987"/>
                    <a:gd name="connsiteY86" fmla="*/ 828675 h 4429225"/>
                    <a:gd name="connsiteX87" fmla="*/ 535327 w 4519987"/>
                    <a:gd name="connsiteY87" fmla="*/ 800100 h 4429225"/>
                    <a:gd name="connsiteX88" fmla="*/ 602002 w 4519987"/>
                    <a:gd name="connsiteY88" fmla="*/ 733425 h 4429225"/>
                    <a:gd name="connsiteX89" fmla="*/ 668677 w 4519987"/>
                    <a:gd name="connsiteY89" fmla="*/ 676275 h 4429225"/>
                    <a:gd name="connsiteX90" fmla="*/ 697252 w 4519987"/>
                    <a:gd name="connsiteY90" fmla="*/ 657225 h 4429225"/>
                    <a:gd name="connsiteX91" fmla="*/ 840127 w 4519987"/>
                    <a:gd name="connsiteY91" fmla="*/ 533400 h 4429225"/>
                    <a:gd name="connsiteX92" fmla="*/ 887752 w 4519987"/>
                    <a:gd name="connsiteY92" fmla="*/ 504825 h 4429225"/>
                    <a:gd name="connsiteX93" fmla="*/ 1167152 w 4519987"/>
                    <a:gd name="connsiteY93" fmla="*/ 311150 h 4429225"/>
                    <a:gd name="connsiteX94" fmla="*/ 1268752 w 4519987"/>
                    <a:gd name="connsiteY94" fmla="*/ 285750 h 4429225"/>
                    <a:gd name="connsiteX95" fmla="*/ 1411627 w 4519987"/>
                    <a:gd name="connsiteY95" fmla="*/ 190500 h 4429225"/>
                    <a:gd name="connsiteX96" fmla="*/ 1449727 w 4519987"/>
                    <a:gd name="connsiteY96" fmla="*/ 161925 h 4429225"/>
                    <a:gd name="connsiteX97" fmla="*/ 1525927 w 4519987"/>
                    <a:gd name="connsiteY97" fmla="*/ 152400 h 4429225"/>
                    <a:gd name="connsiteX98" fmla="*/ 1583077 w 4519987"/>
                    <a:gd name="connsiteY98" fmla="*/ 142875 h 4429225"/>
                    <a:gd name="connsiteX99" fmla="*/ 1716427 w 4519987"/>
                    <a:gd name="connsiteY99" fmla="*/ 123825 h 4429225"/>
                    <a:gd name="connsiteX100" fmla="*/ 1811677 w 4519987"/>
                    <a:gd name="connsiteY100" fmla="*/ 114300 h 4429225"/>
                    <a:gd name="connsiteX101" fmla="*/ 1859302 w 4519987"/>
                    <a:gd name="connsiteY101" fmla="*/ 104775 h 4429225"/>
                    <a:gd name="connsiteX102" fmla="*/ 1916452 w 4519987"/>
                    <a:gd name="connsiteY102" fmla="*/ 95250 h 4429225"/>
                    <a:gd name="connsiteX103" fmla="*/ 2030752 w 4519987"/>
                    <a:gd name="connsiteY103" fmla="*/ 66675 h 4429225"/>
                    <a:gd name="connsiteX104" fmla="*/ 2097427 w 4519987"/>
                    <a:gd name="connsiteY104" fmla="*/ 47625 h 4429225"/>
                    <a:gd name="connsiteX105" fmla="*/ 2164102 w 4519987"/>
                    <a:gd name="connsiteY105" fmla="*/ 38100 h 4429225"/>
                    <a:gd name="connsiteX106" fmla="*/ 2392702 w 4519987"/>
                    <a:gd name="connsiteY10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525802 w 4519987"/>
                    <a:gd name="connsiteY52" fmla="*/ 3609975 h 4429225"/>
                    <a:gd name="connsiteX53" fmla="*/ 497227 w 4519987"/>
                    <a:gd name="connsiteY53" fmla="*/ 3552825 h 4429225"/>
                    <a:gd name="connsiteX54" fmla="*/ 440077 w 4519987"/>
                    <a:gd name="connsiteY54" fmla="*/ 3495675 h 4429225"/>
                    <a:gd name="connsiteX55" fmla="*/ 411502 w 4519987"/>
                    <a:gd name="connsiteY55" fmla="*/ 3448050 h 4429225"/>
                    <a:gd name="connsiteX56" fmla="*/ 278152 w 4519987"/>
                    <a:gd name="connsiteY56" fmla="*/ 3257550 h 4429225"/>
                    <a:gd name="connsiteX57" fmla="*/ 249577 w 4519987"/>
                    <a:gd name="connsiteY57" fmla="*/ 3200400 h 4429225"/>
                    <a:gd name="connsiteX58" fmla="*/ 240052 w 4519987"/>
                    <a:gd name="connsiteY58" fmla="*/ 3162300 h 4429225"/>
                    <a:gd name="connsiteX59" fmla="*/ 221002 w 4519987"/>
                    <a:gd name="connsiteY59" fmla="*/ 3105150 h 4429225"/>
                    <a:gd name="connsiteX60" fmla="*/ 173377 w 4519987"/>
                    <a:gd name="connsiteY60" fmla="*/ 3019425 h 4429225"/>
                    <a:gd name="connsiteX61" fmla="*/ 144802 w 4519987"/>
                    <a:gd name="connsiteY61" fmla="*/ 2924175 h 4429225"/>
                    <a:gd name="connsiteX62" fmla="*/ 68602 w 4519987"/>
                    <a:gd name="connsiteY62" fmla="*/ 2724150 h 4429225"/>
                    <a:gd name="connsiteX63" fmla="*/ 49552 w 4519987"/>
                    <a:gd name="connsiteY63" fmla="*/ 2638425 h 4429225"/>
                    <a:gd name="connsiteX64" fmla="*/ 40027 w 4519987"/>
                    <a:gd name="connsiteY64" fmla="*/ 2562225 h 4429225"/>
                    <a:gd name="connsiteX65" fmla="*/ 30502 w 4519987"/>
                    <a:gd name="connsiteY65" fmla="*/ 2514600 h 4429225"/>
                    <a:gd name="connsiteX66" fmla="*/ 11452 w 4519987"/>
                    <a:gd name="connsiteY66" fmla="*/ 2400300 h 4429225"/>
                    <a:gd name="connsiteX67" fmla="*/ 20977 w 4519987"/>
                    <a:gd name="connsiteY67" fmla="*/ 1905000 h 4429225"/>
                    <a:gd name="connsiteX68" fmla="*/ 30502 w 4519987"/>
                    <a:gd name="connsiteY68" fmla="*/ 1838325 h 4429225"/>
                    <a:gd name="connsiteX69" fmla="*/ 49552 w 4519987"/>
                    <a:gd name="connsiteY69" fmla="*/ 1781175 h 4429225"/>
                    <a:gd name="connsiteX70" fmla="*/ 59077 w 4519987"/>
                    <a:gd name="connsiteY70" fmla="*/ 1743075 h 4429225"/>
                    <a:gd name="connsiteX71" fmla="*/ 78127 w 4519987"/>
                    <a:gd name="connsiteY71" fmla="*/ 1685925 h 4429225"/>
                    <a:gd name="connsiteX72" fmla="*/ 87652 w 4519987"/>
                    <a:gd name="connsiteY72" fmla="*/ 1638300 h 4429225"/>
                    <a:gd name="connsiteX73" fmla="*/ 106702 w 4519987"/>
                    <a:gd name="connsiteY73" fmla="*/ 1590675 h 4429225"/>
                    <a:gd name="connsiteX74" fmla="*/ 135277 w 4519987"/>
                    <a:gd name="connsiteY74" fmla="*/ 1504950 h 4429225"/>
                    <a:gd name="connsiteX75" fmla="*/ 154327 w 4519987"/>
                    <a:gd name="connsiteY75" fmla="*/ 1419225 h 4429225"/>
                    <a:gd name="connsiteX76" fmla="*/ 230527 w 4519987"/>
                    <a:gd name="connsiteY76" fmla="*/ 1276350 h 4429225"/>
                    <a:gd name="connsiteX77" fmla="*/ 240052 w 4519987"/>
                    <a:gd name="connsiteY77" fmla="*/ 1247775 h 4429225"/>
                    <a:gd name="connsiteX78" fmla="*/ 268627 w 4519987"/>
                    <a:gd name="connsiteY78" fmla="*/ 1200150 h 4429225"/>
                    <a:gd name="connsiteX79" fmla="*/ 287677 w 4519987"/>
                    <a:gd name="connsiteY79" fmla="*/ 1152525 h 4429225"/>
                    <a:gd name="connsiteX80" fmla="*/ 316252 w 4519987"/>
                    <a:gd name="connsiteY80" fmla="*/ 1114425 h 4429225"/>
                    <a:gd name="connsiteX81" fmla="*/ 363877 w 4519987"/>
                    <a:gd name="connsiteY81" fmla="*/ 1038225 h 4429225"/>
                    <a:gd name="connsiteX82" fmla="*/ 382927 w 4519987"/>
                    <a:gd name="connsiteY82" fmla="*/ 1009650 h 4429225"/>
                    <a:gd name="connsiteX83" fmla="*/ 440077 w 4519987"/>
                    <a:gd name="connsiteY83" fmla="*/ 904875 h 4429225"/>
                    <a:gd name="connsiteX84" fmla="*/ 478177 w 4519987"/>
                    <a:gd name="connsiteY84" fmla="*/ 857250 h 4429225"/>
                    <a:gd name="connsiteX85" fmla="*/ 497227 w 4519987"/>
                    <a:gd name="connsiteY85" fmla="*/ 828675 h 4429225"/>
                    <a:gd name="connsiteX86" fmla="*/ 535327 w 4519987"/>
                    <a:gd name="connsiteY86" fmla="*/ 800100 h 4429225"/>
                    <a:gd name="connsiteX87" fmla="*/ 602002 w 4519987"/>
                    <a:gd name="connsiteY87" fmla="*/ 733425 h 4429225"/>
                    <a:gd name="connsiteX88" fmla="*/ 668677 w 4519987"/>
                    <a:gd name="connsiteY88" fmla="*/ 676275 h 4429225"/>
                    <a:gd name="connsiteX89" fmla="*/ 697252 w 4519987"/>
                    <a:gd name="connsiteY89" fmla="*/ 657225 h 4429225"/>
                    <a:gd name="connsiteX90" fmla="*/ 840127 w 4519987"/>
                    <a:gd name="connsiteY90" fmla="*/ 533400 h 4429225"/>
                    <a:gd name="connsiteX91" fmla="*/ 887752 w 4519987"/>
                    <a:gd name="connsiteY91" fmla="*/ 504825 h 4429225"/>
                    <a:gd name="connsiteX92" fmla="*/ 1167152 w 4519987"/>
                    <a:gd name="connsiteY92" fmla="*/ 311150 h 4429225"/>
                    <a:gd name="connsiteX93" fmla="*/ 1268752 w 4519987"/>
                    <a:gd name="connsiteY93" fmla="*/ 285750 h 4429225"/>
                    <a:gd name="connsiteX94" fmla="*/ 1411627 w 4519987"/>
                    <a:gd name="connsiteY94" fmla="*/ 190500 h 4429225"/>
                    <a:gd name="connsiteX95" fmla="*/ 1449727 w 4519987"/>
                    <a:gd name="connsiteY95" fmla="*/ 161925 h 4429225"/>
                    <a:gd name="connsiteX96" fmla="*/ 1525927 w 4519987"/>
                    <a:gd name="connsiteY96" fmla="*/ 152400 h 4429225"/>
                    <a:gd name="connsiteX97" fmla="*/ 1583077 w 4519987"/>
                    <a:gd name="connsiteY97" fmla="*/ 142875 h 4429225"/>
                    <a:gd name="connsiteX98" fmla="*/ 1716427 w 4519987"/>
                    <a:gd name="connsiteY98" fmla="*/ 123825 h 4429225"/>
                    <a:gd name="connsiteX99" fmla="*/ 1811677 w 4519987"/>
                    <a:gd name="connsiteY99" fmla="*/ 114300 h 4429225"/>
                    <a:gd name="connsiteX100" fmla="*/ 1859302 w 4519987"/>
                    <a:gd name="connsiteY100" fmla="*/ 104775 h 4429225"/>
                    <a:gd name="connsiteX101" fmla="*/ 1916452 w 4519987"/>
                    <a:gd name="connsiteY101" fmla="*/ 95250 h 4429225"/>
                    <a:gd name="connsiteX102" fmla="*/ 2030752 w 4519987"/>
                    <a:gd name="connsiteY102" fmla="*/ 66675 h 4429225"/>
                    <a:gd name="connsiteX103" fmla="*/ 2097427 w 4519987"/>
                    <a:gd name="connsiteY103" fmla="*/ 47625 h 4429225"/>
                    <a:gd name="connsiteX104" fmla="*/ 2164102 w 4519987"/>
                    <a:gd name="connsiteY104" fmla="*/ 38100 h 4429225"/>
                    <a:gd name="connsiteX105" fmla="*/ 2392702 w 4519987"/>
                    <a:gd name="connsiteY105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411502 w 4519987"/>
                    <a:gd name="connsiteY54" fmla="*/ 3448050 h 4429225"/>
                    <a:gd name="connsiteX55" fmla="*/ 278152 w 4519987"/>
                    <a:gd name="connsiteY55" fmla="*/ 3257550 h 4429225"/>
                    <a:gd name="connsiteX56" fmla="*/ 249577 w 4519987"/>
                    <a:gd name="connsiteY56" fmla="*/ 3200400 h 4429225"/>
                    <a:gd name="connsiteX57" fmla="*/ 240052 w 4519987"/>
                    <a:gd name="connsiteY57" fmla="*/ 3162300 h 4429225"/>
                    <a:gd name="connsiteX58" fmla="*/ 221002 w 4519987"/>
                    <a:gd name="connsiteY58" fmla="*/ 3105150 h 4429225"/>
                    <a:gd name="connsiteX59" fmla="*/ 173377 w 4519987"/>
                    <a:gd name="connsiteY59" fmla="*/ 3019425 h 4429225"/>
                    <a:gd name="connsiteX60" fmla="*/ 144802 w 4519987"/>
                    <a:gd name="connsiteY60" fmla="*/ 2924175 h 4429225"/>
                    <a:gd name="connsiteX61" fmla="*/ 68602 w 4519987"/>
                    <a:gd name="connsiteY61" fmla="*/ 2724150 h 4429225"/>
                    <a:gd name="connsiteX62" fmla="*/ 49552 w 4519987"/>
                    <a:gd name="connsiteY62" fmla="*/ 2638425 h 4429225"/>
                    <a:gd name="connsiteX63" fmla="*/ 40027 w 4519987"/>
                    <a:gd name="connsiteY63" fmla="*/ 2562225 h 4429225"/>
                    <a:gd name="connsiteX64" fmla="*/ 30502 w 4519987"/>
                    <a:gd name="connsiteY64" fmla="*/ 2514600 h 4429225"/>
                    <a:gd name="connsiteX65" fmla="*/ 11452 w 4519987"/>
                    <a:gd name="connsiteY65" fmla="*/ 2400300 h 4429225"/>
                    <a:gd name="connsiteX66" fmla="*/ 20977 w 4519987"/>
                    <a:gd name="connsiteY66" fmla="*/ 1905000 h 4429225"/>
                    <a:gd name="connsiteX67" fmla="*/ 30502 w 4519987"/>
                    <a:gd name="connsiteY67" fmla="*/ 1838325 h 4429225"/>
                    <a:gd name="connsiteX68" fmla="*/ 49552 w 4519987"/>
                    <a:gd name="connsiteY68" fmla="*/ 1781175 h 4429225"/>
                    <a:gd name="connsiteX69" fmla="*/ 59077 w 4519987"/>
                    <a:gd name="connsiteY69" fmla="*/ 1743075 h 4429225"/>
                    <a:gd name="connsiteX70" fmla="*/ 78127 w 4519987"/>
                    <a:gd name="connsiteY70" fmla="*/ 1685925 h 4429225"/>
                    <a:gd name="connsiteX71" fmla="*/ 87652 w 4519987"/>
                    <a:gd name="connsiteY71" fmla="*/ 1638300 h 4429225"/>
                    <a:gd name="connsiteX72" fmla="*/ 106702 w 4519987"/>
                    <a:gd name="connsiteY72" fmla="*/ 1590675 h 4429225"/>
                    <a:gd name="connsiteX73" fmla="*/ 135277 w 4519987"/>
                    <a:gd name="connsiteY73" fmla="*/ 1504950 h 4429225"/>
                    <a:gd name="connsiteX74" fmla="*/ 154327 w 4519987"/>
                    <a:gd name="connsiteY74" fmla="*/ 1419225 h 4429225"/>
                    <a:gd name="connsiteX75" fmla="*/ 230527 w 4519987"/>
                    <a:gd name="connsiteY75" fmla="*/ 1276350 h 4429225"/>
                    <a:gd name="connsiteX76" fmla="*/ 240052 w 4519987"/>
                    <a:gd name="connsiteY76" fmla="*/ 1247775 h 4429225"/>
                    <a:gd name="connsiteX77" fmla="*/ 268627 w 4519987"/>
                    <a:gd name="connsiteY77" fmla="*/ 1200150 h 4429225"/>
                    <a:gd name="connsiteX78" fmla="*/ 287677 w 4519987"/>
                    <a:gd name="connsiteY78" fmla="*/ 1152525 h 4429225"/>
                    <a:gd name="connsiteX79" fmla="*/ 316252 w 4519987"/>
                    <a:gd name="connsiteY79" fmla="*/ 1114425 h 4429225"/>
                    <a:gd name="connsiteX80" fmla="*/ 363877 w 4519987"/>
                    <a:gd name="connsiteY80" fmla="*/ 1038225 h 4429225"/>
                    <a:gd name="connsiteX81" fmla="*/ 382927 w 4519987"/>
                    <a:gd name="connsiteY81" fmla="*/ 1009650 h 4429225"/>
                    <a:gd name="connsiteX82" fmla="*/ 440077 w 4519987"/>
                    <a:gd name="connsiteY82" fmla="*/ 904875 h 4429225"/>
                    <a:gd name="connsiteX83" fmla="*/ 478177 w 4519987"/>
                    <a:gd name="connsiteY83" fmla="*/ 857250 h 4429225"/>
                    <a:gd name="connsiteX84" fmla="*/ 497227 w 4519987"/>
                    <a:gd name="connsiteY84" fmla="*/ 828675 h 4429225"/>
                    <a:gd name="connsiteX85" fmla="*/ 535327 w 4519987"/>
                    <a:gd name="connsiteY85" fmla="*/ 800100 h 4429225"/>
                    <a:gd name="connsiteX86" fmla="*/ 602002 w 4519987"/>
                    <a:gd name="connsiteY86" fmla="*/ 733425 h 4429225"/>
                    <a:gd name="connsiteX87" fmla="*/ 668677 w 4519987"/>
                    <a:gd name="connsiteY87" fmla="*/ 676275 h 4429225"/>
                    <a:gd name="connsiteX88" fmla="*/ 697252 w 4519987"/>
                    <a:gd name="connsiteY88" fmla="*/ 657225 h 4429225"/>
                    <a:gd name="connsiteX89" fmla="*/ 840127 w 4519987"/>
                    <a:gd name="connsiteY89" fmla="*/ 533400 h 4429225"/>
                    <a:gd name="connsiteX90" fmla="*/ 887752 w 4519987"/>
                    <a:gd name="connsiteY90" fmla="*/ 504825 h 4429225"/>
                    <a:gd name="connsiteX91" fmla="*/ 1167152 w 4519987"/>
                    <a:gd name="connsiteY91" fmla="*/ 311150 h 4429225"/>
                    <a:gd name="connsiteX92" fmla="*/ 1268752 w 4519987"/>
                    <a:gd name="connsiteY92" fmla="*/ 285750 h 4429225"/>
                    <a:gd name="connsiteX93" fmla="*/ 1411627 w 4519987"/>
                    <a:gd name="connsiteY93" fmla="*/ 190500 h 4429225"/>
                    <a:gd name="connsiteX94" fmla="*/ 1449727 w 4519987"/>
                    <a:gd name="connsiteY94" fmla="*/ 161925 h 4429225"/>
                    <a:gd name="connsiteX95" fmla="*/ 1525927 w 4519987"/>
                    <a:gd name="connsiteY95" fmla="*/ 152400 h 4429225"/>
                    <a:gd name="connsiteX96" fmla="*/ 1583077 w 4519987"/>
                    <a:gd name="connsiteY96" fmla="*/ 142875 h 4429225"/>
                    <a:gd name="connsiteX97" fmla="*/ 1716427 w 4519987"/>
                    <a:gd name="connsiteY97" fmla="*/ 123825 h 4429225"/>
                    <a:gd name="connsiteX98" fmla="*/ 1811677 w 4519987"/>
                    <a:gd name="connsiteY98" fmla="*/ 114300 h 4429225"/>
                    <a:gd name="connsiteX99" fmla="*/ 1859302 w 4519987"/>
                    <a:gd name="connsiteY99" fmla="*/ 104775 h 4429225"/>
                    <a:gd name="connsiteX100" fmla="*/ 1916452 w 4519987"/>
                    <a:gd name="connsiteY100" fmla="*/ 95250 h 4429225"/>
                    <a:gd name="connsiteX101" fmla="*/ 2030752 w 4519987"/>
                    <a:gd name="connsiteY101" fmla="*/ 66675 h 4429225"/>
                    <a:gd name="connsiteX102" fmla="*/ 2097427 w 4519987"/>
                    <a:gd name="connsiteY102" fmla="*/ 47625 h 4429225"/>
                    <a:gd name="connsiteX103" fmla="*/ 2164102 w 4519987"/>
                    <a:gd name="connsiteY103" fmla="*/ 38100 h 4429225"/>
                    <a:gd name="connsiteX104" fmla="*/ 2392702 w 4519987"/>
                    <a:gd name="connsiteY10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278152 w 4519987"/>
                    <a:gd name="connsiteY54" fmla="*/ 3257550 h 4429225"/>
                    <a:gd name="connsiteX55" fmla="*/ 249577 w 4519987"/>
                    <a:gd name="connsiteY55" fmla="*/ 3200400 h 4429225"/>
                    <a:gd name="connsiteX56" fmla="*/ 240052 w 4519987"/>
                    <a:gd name="connsiteY56" fmla="*/ 3162300 h 4429225"/>
                    <a:gd name="connsiteX57" fmla="*/ 221002 w 4519987"/>
                    <a:gd name="connsiteY57" fmla="*/ 3105150 h 4429225"/>
                    <a:gd name="connsiteX58" fmla="*/ 173377 w 4519987"/>
                    <a:gd name="connsiteY58" fmla="*/ 3019425 h 4429225"/>
                    <a:gd name="connsiteX59" fmla="*/ 144802 w 4519987"/>
                    <a:gd name="connsiteY59" fmla="*/ 2924175 h 4429225"/>
                    <a:gd name="connsiteX60" fmla="*/ 68602 w 4519987"/>
                    <a:gd name="connsiteY60" fmla="*/ 2724150 h 4429225"/>
                    <a:gd name="connsiteX61" fmla="*/ 49552 w 4519987"/>
                    <a:gd name="connsiteY61" fmla="*/ 2638425 h 4429225"/>
                    <a:gd name="connsiteX62" fmla="*/ 40027 w 4519987"/>
                    <a:gd name="connsiteY62" fmla="*/ 2562225 h 4429225"/>
                    <a:gd name="connsiteX63" fmla="*/ 30502 w 4519987"/>
                    <a:gd name="connsiteY63" fmla="*/ 2514600 h 4429225"/>
                    <a:gd name="connsiteX64" fmla="*/ 11452 w 4519987"/>
                    <a:gd name="connsiteY64" fmla="*/ 2400300 h 4429225"/>
                    <a:gd name="connsiteX65" fmla="*/ 20977 w 4519987"/>
                    <a:gd name="connsiteY65" fmla="*/ 1905000 h 4429225"/>
                    <a:gd name="connsiteX66" fmla="*/ 30502 w 4519987"/>
                    <a:gd name="connsiteY66" fmla="*/ 1838325 h 4429225"/>
                    <a:gd name="connsiteX67" fmla="*/ 49552 w 4519987"/>
                    <a:gd name="connsiteY67" fmla="*/ 1781175 h 4429225"/>
                    <a:gd name="connsiteX68" fmla="*/ 59077 w 4519987"/>
                    <a:gd name="connsiteY68" fmla="*/ 1743075 h 4429225"/>
                    <a:gd name="connsiteX69" fmla="*/ 78127 w 4519987"/>
                    <a:gd name="connsiteY69" fmla="*/ 1685925 h 4429225"/>
                    <a:gd name="connsiteX70" fmla="*/ 87652 w 4519987"/>
                    <a:gd name="connsiteY70" fmla="*/ 1638300 h 4429225"/>
                    <a:gd name="connsiteX71" fmla="*/ 106702 w 4519987"/>
                    <a:gd name="connsiteY71" fmla="*/ 1590675 h 4429225"/>
                    <a:gd name="connsiteX72" fmla="*/ 135277 w 4519987"/>
                    <a:gd name="connsiteY72" fmla="*/ 1504950 h 4429225"/>
                    <a:gd name="connsiteX73" fmla="*/ 154327 w 4519987"/>
                    <a:gd name="connsiteY73" fmla="*/ 1419225 h 4429225"/>
                    <a:gd name="connsiteX74" fmla="*/ 230527 w 4519987"/>
                    <a:gd name="connsiteY74" fmla="*/ 1276350 h 4429225"/>
                    <a:gd name="connsiteX75" fmla="*/ 240052 w 4519987"/>
                    <a:gd name="connsiteY75" fmla="*/ 1247775 h 4429225"/>
                    <a:gd name="connsiteX76" fmla="*/ 268627 w 4519987"/>
                    <a:gd name="connsiteY76" fmla="*/ 1200150 h 4429225"/>
                    <a:gd name="connsiteX77" fmla="*/ 287677 w 4519987"/>
                    <a:gd name="connsiteY77" fmla="*/ 1152525 h 4429225"/>
                    <a:gd name="connsiteX78" fmla="*/ 316252 w 4519987"/>
                    <a:gd name="connsiteY78" fmla="*/ 1114425 h 4429225"/>
                    <a:gd name="connsiteX79" fmla="*/ 363877 w 4519987"/>
                    <a:gd name="connsiteY79" fmla="*/ 1038225 h 4429225"/>
                    <a:gd name="connsiteX80" fmla="*/ 382927 w 4519987"/>
                    <a:gd name="connsiteY80" fmla="*/ 1009650 h 4429225"/>
                    <a:gd name="connsiteX81" fmla="*/ 440077 w 4519987"/>
                    <a:gd name="connsiteY81" fmla="*/ 904875 h 4429225"/>
                    <a:gd name="connsiteX82" fmla="*/ 478177 w 4519987"/>
                    <a:gd name="connsiteY82" fmla="*/ 857250 h 4429225"/>
                    <a:gd name="connsiteX83" fmla="*/ 497227 w 4519987"/>
                    <a:gd name="connsiteY83" fmla="*/ 828675 h 4429225"/>
                    <a:gd name="connsiteX84" fmla="*/ 535327 w 4519987"/>
                    <a:gd name="connsiteY84" fmla="*/ 800100 h 4429225"/>
                    <a:gd name="connsiteX85" fmla="*/ 602002 w 4519987"/>
                    <a:gd name="connsiteY85" fmla="*/ 733425 h 4429225"/>
                    <a:gd name="connsiteX86" fmla="*/ 668677 w 4519987"/>
                    <a:gd name="connsiteY86" fmla="*/ 676275 h 4429225"/>
                    <a:gd name="connsiteX87" fmla="*/ 697252 w 4519987"/>
                    <a:gd name="connsiteY87" fmla="*/ 657225 h 4429225"/>
                    <a:gd name="connsiteX88" fmla="*/ 840127 w 4519987"/>
                    <a:gd name="connsiteY88" fmla="*/ 533400 h 4429225"/>
                    <a:gd name="connsiteX89" fmla="*/ 887752 w 4519987"/>
                    <a:gd name="connsiteY89" fmla="*/ 504825 h 4429225"/>
                    <a:gd name="connsiteX90" fmla="*/ 1167152 w 4519987"/>
                    <a:gd name="connsiteY90" fmla="*/ 311150 h 4429225"/>
                    <a:gd name="connsiteX91" fmla="*/ 1268752 w 4519987"/>
                    <a:gd name="connsiteY91" fmla="*/ 285750 h 4429225"/>
                    <a:gd name="connsiteX92" fmla="*/ 1411627 w 4519987"/>
                    <a:gd name="connsiteY92" fmla="*/ 190500 h 4429225"/>
                    <a:gd name="connsiteX93" fmla="*/ 1449727 w 4519987"/>
                    <a:gd name="connsiteY93" fmla="*/ 161925 h 4429225"/>
                    <a:gd name="connsiteX94" fmla="*/ 1525927 w 4519987"/>
                    <a:gd name="connsiteY94" fmla="*/ 152400 h 4429225"/>
                    <a:gd name="connsiteX95" fmla="*/ 1583077 w 4519987"/>
                    <a:gd name="connsiteY95" fmla="*/ 142875 h 4429225"/>
                    <a:gd name="connsiteX96" fmla="*/ 1716427 w 4519987"/>
                    <a:gd name="connsiteY96" fmla="*/ 123825 h 4429225"/>
                    <a:gd name="connsiteX97" fmla="*/ 1811677 w 4519987"/>
                    <a:gd name="connsiteY97" fmla="*/ 114300 h 4429225"/>
                    <a:gd name="connsiteX98" fmla="*/ 1859302 w 4519987"/>
                    <a:gd name="connsiteY98" fmla="*/ 104775 h 4429225"/>
                    <a:gd name="connsiteX99" fmla="*/ 1916452 w 4519987"/>
                    <a:gd name="connsiteY99" fmla="*/ 95250 h 4429225"/>
                    <a:gd name="connsiteX100" fmla="*/ 2030752 w 4519987"/>
                    <a:gd name="connsiteY100" fmla="*/ 66675 h 4429225"/>
                    <a:gd name="connsiteX101" fmla="*/ 2097427 w 4519987"/>
                    <a:gd name="connsiteY101" fmla="*/ 47625 h 4429225"/>
                    <a:gd name="connsiteX102" fmla="*/ 2164102 w 4519987"/>
                    <a:gd name="connsiteY102" fmla="*/ 38100 h 4429225"/>
                    <a:gd name="connsiteX103" fmla="*/ 2392702 w 4519987"/>
                    <a:gd name="connsiteY10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40077 w 4519987"/>
                    <a:gd name="connsiteY52" fmla="*/ 3495675 h 4429225"/>
                    <a:gd name="connsiteX53" fmla="*/ 278152 w 4519987"/>
                    <a:gd name="connsiteY53" fmla="*/ 3257550 h 4429225"/>
                    <a:gd name="connsiteX54" fmla="*/ 249577 w 4519987"/>
                    <a:gd name="connsiteY54" fmla="*/ 3200400 h 4429225"/>
                    <a:gd name="connsiteX55" fmla="*/ 240052 w 4519987"/>
                    <a:gd name="connsiteY55" fmla="*/ 3162300 h 4429225"/>
                    <a:gd name="connsiteX56" fmla="*/ 221002 w 4519987"/>
                    <a:gd name="connsiteY56" fmla="*/ 3105150 h 4429225"/>
                    <a:gd name="connsiteX57" fmla="*/ 173377 w 4519987"/>
                    <a:gd name="connsiteY57" fmla="*/ 3019425 h 4429225"/>
                    <a:gd name="connsiteX58" fmla="*/ 144802 w 4519987"/>
                    <a:gd name="connsiteY58" fmla="*/ 2924175 h 4429225"/>
                    <a:gd name="connsiteX59" fmla="*/ 68602 w 4519987"/>
                    <a:gd name="connsiteY59" fmla="*/ 2724150 h 4429225"/>
                    <a:gd name="connsiteX60" fmla="*/ 49552 w 4519987"/>
                    <a:gd name="connsiteY60" fmla="*/ 2638425 h 4429225"/>
                    <a:gd name="connsiteX61" fmla="*/ 40027 w 4519987"/>
                    <a:gd name="connsiteY61" fmla="*/ 2562225 h 4429225"/>
                    <a:gd name="connsiteX62" fmla="*/ 30502 w 4519987"/>
                    <a:gd name="connsiteY62" fmla="*/ 2514600 h 4429225"/>
                    <a:gd name="connsiteX63" fmla="*/ 11452 w 4519987"/>
                    <a:gd name="connsiteY63" fmla="*/ 2400300 h 4429225"/>
                    <a:gd name="connsiteX64" fmla="*/ 20977 w 4519987"/>
                    <a:gd name="connsiteY64" fmla="*/ 1905000 h 4429225"/>
                    <a:gd name="connsiteX65" fmla="*/ 30502 w 4519987"/>
                    <a:gd name="connsiteY65" fmla="*/ 1838325 h 4429225"/>
                    <a:gd name="connsiteX66" fmla="*/ 49552 w 4519987"/>
                    <a:gd name="connsiteY66" fmla="*/ 1781175 h 4429225"/>
                    <a:gd name="connsiteX67" fmla="*/ 59077 w 4519987"/>
                    <a:gd name="connsiteY67" fmla="*/ 1743075 h 4429225"/>
                    <a:gd name="connsiteX68" fmla="*/ 78127 w 4519987"/>
                    <a:gd name="connsiteY68" fmla="*/ 1685925 h 4429225"/>
                    <a:gd name="connsiteX69" fmla="*/ 87652 w 4519987"/>
                    <a:gd name="connsiteY69" fmla="*/ 1638300 h 4429225"/>
                    <a:gd name="connsiteX70" fmla="*/ 106702 w 4519987"/>
                    <a:gd name="connsiteY70" fmla="*/ 1590675 h 4429225"/>
                    <a:gd name="connsiteX71" fmla="*/ 135277 w 4519987"/>
                    <a:gd name="connsiteY71" fmla="*/ 1504950 h 4429225"/>
                    <a:gd name="connsiteX72" fmla="*/ 154327 w 4519987"/>
                    <a:gd name="connsiteY72" fmla="*/ 1419225 h 4429225"/>
                    <a:gd name="connsiteX73" fmla="*/ 230527 w 4519987"/>
                    <a:gd name="connsiteY73" fmla="*/ 1276350 h 4429225"/>
                    <a:gd name="connsiteX74" fmla="*/ 240052 w 4519987"/>
                    <a:gd name="connsiteY74" fmla="*/ 1247775 h 4429225"/>
                    <a:gd name="connsiteX75" fmla="*/ 268627 w 4519987"/>
                    <a:gd name="connsiteY75" fmla="*/ 1200150 h 4429225"/>
                    <a:gd name="connsiteX76" fmla="*/ 287677 w 4519987"/>
                    <a:gd name="connsiteY76" fmla="*/ 1152525 h 4429225"/>
                    <a:gd name="connsiteX77" fmla="*/ 316252 w 4519987"/>
                    <a:gd name="connsiteY77" fmla="*/ 1114425 h 4429225"/>
                    <a:gd name="connsiteX78" fmla="*/ 363877 w 4519987"/>
                    <a:gd name="connsiteY78" fmla="*/ 1038225 h 4429225"/>
                    <a:gd name="connsiteX79" fmla="*/ 382927 w 4519987"/>
                    <a:gd name="connsiteY79" fmla="*/ 1009650 h 4429225"/>
                    <a:gd name="connsiteX80" fmla="*/ 440077 w 4519987"/>
                    <a:gd name="connsiteY80" fmla="*/ 904875 h 4429225"/>
                    <a:gd name="connsiteX81" fmla="*/ 478177 w 4519987"/>
                    <a:gd name="connsiteY81" fmla="*/ 857250 h 4429225"/>
                    <a:gd name="connsiteX82" fmla="*/ 497227 w 4519987"/>
                    <a:gd name="connsiteY82" fmla="*/ 828675 h 4429225"/>
                    <a:gd name="connsiteX83" fmla="*/ 535327 w 4519987"/>
                    <a:gd name="connsiteY83" fmla="*/ 800100 h 4429225"/>
                    <a:gd name="connsiteX84" fmla="*/ 602002 w 4519987"/>
                    <a:gd name="connsiteY84" fmla="*/ 733425 h 4429225"/>
                    <a:gd name="connsiteX85" fmla="*/ 668677 w 4519987"/>
                    <a:gd name="connsiteY85" fmla="*/ 676275 h 4429225"/>
                    <a:gd name="connsiteX86" fmla="*/ 697252 w 4519987"/>
                    <a:gd name="connsiteY86" fmla="*/ 657225 h 4429225"/>
                    <a:gd name="connsiteX87" fmla="*/ 840127 w 4519987"/>
                    <a:gd name="connsiteY87" fmla="*/ 533400 h 4429225"/>
                    <a:gd name="connsiteX88" fmla="*/ 887752 w 4519987"/>
                    <a:gd name="connsiteY88" fmla="*/ 504825 h 4429225"/>
                    <a:gd name="connsiteX89" fmla="*/ 1167152 w 4519987"/>
                    <a:gd name="connsiteY89" fmla="*/ 311150 h 4429225"/>
                    <a:gd name="connsiteX90" fmla="*/ 1268752 w 4519987"/>
                    <a:gd name="connsiteY90" fmla="*/ 285750 h 4429225"/>
                    <a:gd name="connsiteX91" fmla="*/ 1411627 w 4519987"/>
                    <a:gd name="connsiteY91" fmla="*/ 190500 h 4429225"/>
                    <a:gd name="connsiteX92" fmla="*/ 1449727 w 4519987"/>
                    <a:gd name="connsiteY92" fmla="*/ 161925 h 4429225"/>
                    <a:gd name="connsiteX93" fmla="*/ 1525927 w 4519987"/>
                    <a:gd name="connsiteY93" fmla="*/ 152400 h 4429225"/>
                    <a:gd name="connsiteX94" fmla="*/ 1583077 w 4519987"/>
                    <a:gd name="connsiteY94" fmla="*/ 142875 h 4429225"/>
                    <a:gd name="connsiteX95" fmla="*/ 1716427 w 4519987"/>
                    <a:gd name="connsiteY95" fmla="*/ 123825 h 4429225"/>
                    <a:gd name="connsiteX96" fmla="*/ 1811677 w 4519987"/>
                    <a:gd name="connsiteY96" fmla="*/ 114300 h 4429225"/>
                    <a:gd name="connsiteX97" fmla="*/ 1859302 w 4519987"/>
                    <a:gd name="connsiteY97" fmla="*/ 104775 h 4429225"/>
                    <a:gd name="connsiteX98" fmla="*/ 1916452 w 4519987"/>
                    <a:gd name="connsiteY98" fmla="*/ 95250 h 4429225"/>
                    <a:gd name="connsiteX99" fmla="*/ 2030752 w 4519987"/>
                    <a:gd name="connsiteY99" fmla="*/ 66675 h 4429225"/>
                    <a:gd name="connsiteX100" fmla="*/ 2097427 w 4519987"/>
                    <a:gd name="connsiteY100" fmla="*/ 47625 h 4429225"/>
                    <a:gd name="connsiteX101" fmla="*/ 2164102 w 4519987"/>
                    <a:gd name="connsiteY101" fmla="*/ 38100 h 4429225"/>
                    <a:gd name="connsiteX102" fmla="*/ 2392702 w 4519987"/>
                    <a:gd name="connsiteY10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40052 w 4519987"/>
                    <a:gd name="connsiteY54" fmla="*/ 3162300 h 4429225"/>
                    <a:gd name="connsiteX55" fmla="*/ 221002 w 4519987"/>
                    <a:gd name="connsiteY55" fmla="*/ 3105150 h 4429225"/>
                    <a:gd name="connsiteX56" fmla="*/ 173377 w 4519987"/>
                    <a:gd name="connsiteY56" fmla="*/ 3019425 h 4429225"/>
                    <a:gd name="connsiteX57" fmla="*/ 144802 w 4519987"/>
                    <a:gd name="connsiteY57" fmla="*/ 2924175 h 4429225"/>
                    <a:gd name="connsiteX58" fmla="*/ 68602 w 4519987"/>
                    <a:gd name="connsiteY58" fmla="*/ 2724150 h 4429225"/>
                    <a:gd name="connsiteX59" fmla="*/ 49552 w 4519987"/>
                    <a:gd name="connsiteY59" fmla="*/ 2638425 h 4429225"/>
                    <a:gd name="connsiteX60" fmla="*/ 40027 w 4519987"/>
                    <a:gd name="connsiteY60" fmla="*/ 2562225 h 4429225"/>
                    <a:gd name="connsiteX61" fmla="*/ 30502 w 4519987"/>
                    <a:gd name="connsiteY61" fmla="*/ 2514600 h 4429225"/>
                    <a:gd name="connsiteX62" fmla="*/ 11452 w 4519987"/>
                    <a:gd name="connsiteY62" fmla="*/ 2400300 h 4429225"/>
                    <a:gd name="connsiteX63" fmla="*/ 20977 w 4519987"/>
                    <a:gd name="connsiteY63" fmla="*/ 1905000 h 4429225"/>
                    <a:gd name="connsiteX64" fmla="*/ 30502 w 4519987"/>
                    <a:gd name="connsiteY64" fmla="*/ 1838325 h 4429225"/>
                    <a:gd name="connsiteX65" fmla="*/ 49552 w 4519987"/>
                    <a:gd name="connsiteY65" fmla="*/ 1781175 h 4429225"/>
                    <a:gd name="connsiteX66" fmla="*/ 59077 w 4519987"/>
                    <a:gd name="connsiteY66" fmla="*/ 1743075 h 4429225"/>
                    <a:gd name="connsiteX67" fmla="*/ 78127 w 4519987"/>
                    <a:gd name="connsiteY67" fmla="*/ 1685925 h 4429225"/>
                    <a:gd name="connsiteX68" fmla="*/ 87652 w 4519987"/>
                    <a:gd name="connsiteY68" fmla="*/ 1638300 h 4429225"/>
                    <a:gd name="connsiteX69" fmla="*/ 106702 w 4519987"/>
                    <a:gd name="connsiteY69" fmla="*/ 1590675 h 4429225"/>
                    <a:gd name="connsiteX70" fmla="*/ 135277 w 4519987"/>
                    <a:gd name="connsiteY70" fmla="*/ 1504950 h 4429225"/>
                    <a:gd name="connsiteX71" fmla="*/ 154327 w 4519987"/>
                    <a:gd name="connsiteY71" fmla="*/ 1419225 h 4429225"/>
                    <a:gd name="connsiteX72" fmla="*/ 230527 w 4519987"/>
                    <a:gd name="connsiteY72" fmla="*/ 1276350 h 4429225"/>
                    <a:gd name="connsiteX73" fmla="*/ 240052 w 4519987"/>
                    <a:gd name="connsiteY73" fmla="*/ 1247775 h 4429225"/>
                    <a:gd name="connsiteX74" fmla="*/ 268627 w 4519987"/>
                    <a:gd name="connsiteY74" fmla="*/ 1200150 h 4429225"/>
                    <a:gd name="connsiteX75" fmla="*/ 287677 w 4519987"/>
                    <a:gd name="connsiteY75" fmla="*/ 1152525 h 4429225"/>
                    <a:gd name="connsiteX76" fmla="*/ 316252 w 4519987"/>
                    <a:gd name="connsiteY76" fmla="*/ 1114425 h 4429225"/>
                    <a:gd name="connsiteX77" fmla="*/ 363877 w 4519987"/>
                    <a:gd name="connsiteY77" fmla="*/ 1038225 h 4429225"/>
                    <a:gd name="connsiteX78" fmla="*/ 382927 w 4519987"/>
                    <a:gd name="connsiteY78" fmla="*/ 1009650 h 4429225"/>
                    <a:gd name="connsiteX79" fmla="*/ 440077 w 4519987"/>
                    <a:gd name="connsiteY79" fmla="*/ 904875 h 4429225"/>
                    <a:gd name="connsiteX80" fmla="*/ 478177 w 4519987"/>
                    <a:gd name="connsiteY80" fmla="*/ 857250 h 4429225"/>
                    <a:gd name="connsiteX81" fmla="*/ 497227 w 4519987"/>
                    <a:gd name="connsiteY81" fmla="*/ 828675 h 4429225"/>
                    <a:gd name="connsiteX82" fmla="*/ 535327 w 4519987"/>
                    <a:gd name="connsiteY82" fmla="*/ 800100 h 4429225"/>
                    <a:gd name="connsiteX83" fmla="*/ 602002 w 4519987"/>
                    <a:gd name="connsiteY83" fmla="*/ 733425 h 4429225"/>
                    <a:gd name="connsiteX84" fmla="*/ 668677 w 4519987"/>
                    <a:gd name="connsiteY84" fmla="*/ 676275 h 4429225"/>
                    <a:gd name="connsiteX85" fmla="*/ 697252 w 4519987"/>
                    <a:gd name="connsiteY85" fmla="*/ 657225 h 4429225"/>
                    <a:gd name="connsiteX86" fmla="*/ 840127 w 4519987"/>
                    <a:gd name="connsiteY86" fmla="*/ 533400 h 4429225"/>
                    <a:gd name="connsiteX87" fmla="*/ 887752 w 4519987"/>
                    <a:gd name="connsiteY87" fmla="*/ 504825 h 4429225"/>
                    <a:gd name="connsiteX88" fmla="*/ 1167152 w 4519987"/>
                    <a:gd name="connsiteY88" fmla="*/ 311150 h 4429225"/>
                    <a:gd name="connsiteX89" fmla="*/ 1268752 w 4519987"/>
                    <a:gd name="connsiteY89" fmla="*/ 285750 h 4429225"/>
                    <a:gd name="connsiteX90" fmla="*/ 1411627 w 4519987"/>
                    <a:gd name="connsiteY90" fmla="*/ 190500 h 4429225"/>
                    <a:gd name="connsiteX91" fmla="*/ 1449727 w 4519987"/>
                    <a:gd name="connsiteY91" fmla="*/ 161925 h 4429225"/>
                    <a:gd name="connsiteX92" fmla="*/ 1525927 w 4519987"/>
                    <a:gd name="connsiteY92" fmla="*/ 152400 h 4429225"/>
                    <a:gd name="connsiteX93" fmla="*/ 1583077 w 4519987"/>
                    <a:gd name="connsiteY93" fmla="*/ 142875 h 4429225"/>
                    <a:gd name="connsiteX94" fmla="*/ 1716427 w 4519987"/>
                    <a:gd name="connsiteY94" fmla="*/ 123825 h 4429225"/>
                    <a:gd name="connsiteX95" fmla="*/ 1811677 w 4519987"/>
                    <a:gd name="connsiteY95" fmla="*/ 114300 h 4429225"/>
                    <a:gd name="connsiteX96" fmla="*/ 1859302 w 4519987"/>
                    <a:gd name="connsiteY96" fmla="*/ 104775 h 4429225"/>
                    <a:gd name="connsiteX97" fmla="*/ 1916452 w 4519987"/>
                    <a:gd name="connsiteY97" fmla="*/ 95250 h 4429225"/>
                    <a:gd name="connsiteX98" fmla="*/ 2030752 w 4519987"/>
                    <a:gd name="connsiteY98" fmla="*/ 66675 h 4429225"/>
                    <a:gd name="connsiteX99" fmla="*/ 2097427 w 4519987"/>
                    <a:gd name="connsiteY99" fmla="*/ 47625 h 4429225"/>
                    <a:gd name="connsiteX100" fmla="*/ 2164102 w 4519987"/>
                    <a:gd name="connsiteY100" fmla="*/ 38100 h 4429225"/>
                    <a:gd name="connsiteX101" fmla="*/ 2392702 w 4519987"/>
                    <a:gd name="connsiteY10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21002 w 4519987"/>
                    <a:gd name="connsiteY54" fmla="*/ 3105150 h 4429225"/>
                    <a:gd name="connsiteX55" fmla="*/ 173377 w 4519987"/>
                    <a:gd name="connsiteY55" fmla="*/ 3019425 h 4429225"/>
                    <a:gd name="connsiteX56" fmla="*/ 144802 w 4519987"/>
                    <a:gd name="connsiteY56" fmla="*/ 2924175 h 4429225"/>
                    <a:gd name="connsiteX57" fmla="*/ 68602 w 4519987"/>
                    <a:gd name="connsiteY57" fmla="*/ 2724150 h 4429225"/>
                    <a:gd name="connsiteX58" fmla="*/ 49552 w 4519987"/>
                    <a:gd name="connsiteY58" fmla="*/ 2638425 h 4429225"/>
                    <a:gd name="connsiteX59" fmla="*/ 40027 w 4519987"/>
                    <a:gd name="connsiteY59" fmla="*/ 2562225 h 4429225"/>
                    <a:gd name="connsiteX60" fmla="*/ 30502 w 4519987"/>
                    <a:gd name="connsiteY60" fmla="*/ 2514600 h 4429225"/>
                    <a:gd name="connsiteX61" fmla="*/ 11452 w 4519987"/>
                    <a:gd name="connsiteY61" fmla="*/ 2400300 h 4429225"/>
                    <a:gd name="connsiteX62" fmla="*/ 20977 w 4519987"/>
                    <a:gd name="connsiteY62" fmla="*/ 1905000 h 4429225"/>
                    <a:gd name="connsiteX63" fmla="*/ 30502 w 4519987"/>
                    <a:gd name="connsiteY63" fmla="*/ 1838325 h 4429225"/>
                    <a:gd name="connsiteX64" fmla="*/ 49552 w 4519987"/>
                    <a:gd name="connsiteY64" fmla="*/ 1781175 h 4429225"/>
                    <a:gd name="connsiteX65" fmla="*/ 59077 w 4519987"/>
                    <a:gd name="connsiteY65" fmla="*/ 1743075 h 4429225"/>
                    <a:gd name="connsiteX66" fmla="*/ 78127 w 4519987"/>
                    <a:gd name="connsiteY66" fmla="*/ 1685925 h 4429225"/>
                    <a:gd name="connsiteX67" fmla="*/ 87652 w 4519987"/>
                    <a:gd name="connsiteY67" fmla="*/ 1638300 h 4429225"/>
                    <a:gd name="connsiteX68" fmla="*/ 106702 w 4519987"/>
                    <a:gd name="connsiteY68" fmla="*/ 1590675 h 4429225"/>
                    <a:gd name="connsiteX69" fmla="*/ 135277 w 4519987"/>
                    <a:gd name="connsiteY69" fmla="*/ 1504950 h 4429225"/>
                    <a:gd name="connsiteX70" fmla="*/ 154327 w 4519987"/>
                    <a:gd name="connsiteY70" fmla="*/ 1419225 h 4429225"/>
                    <a:gd name="connsiteX71" fmla="*/ 230527 w 4519987"/>
                    <a:gd name="connsiteY71" fmla="*/ 1276350 h 4429225"/>
                    <a:gd name="connsiteX72" fmla="*/ 240052 w 4519987"/>
                    <a:gd name="connsiteY72" fmla="*/ 1247775 h 4429225"/>
                    <a:gd name="connsiteX73" fmla="*/ 268627 w 4519987"/>
                    <a:gd name="connsiteY73" fmla="*/ 1200150 h 4429225"/>
                    <a:gd name="connsiteX74" fmla="*/ 287677 w 4519987"/>
                    <a:gd name="connsiteY74" fmla="*/ 1152525 h 4429225"/>
                    <a:gd name="connsiteX75" fmla="*/ 316252 w 4519987"/>
                    <a:gd name="connsiteY75" fmla="*/ 1114425 h 4429225"/>
                    <a:gd name="connsiteX76" fmla="*/ 363877 w 4519987"/>
                    <a:gd name="connsiteY76" fmla="*/ 1038225 h 4429225"/>
                    <a:gd name="connsiteX77" fmla="*/ 382927 w 4519987"/>
                    <a:gd name="connsiteY77" fmla="*/ 1009650 h 4429225"/>
                    <a:gd name="connsiteX78" fmla="*/ 440077 w 4519987"/>
                    <a:gd name="connsiteY78" fmla="*/ 904875 h 4429225"/>
                    <a:gd name="connsiteX79" fmla="*/ 478177 w 4519987"/>
                    <a:gd name="connsiteY79" fmla="*/ 857250 h 4429225"/>
                    <a:gd name="connsiteX80" fmla="*/ 497227 w 4519987"/>
                    <a:gd name="connsiteY80" fmla="*/ 828675 h 4429225"/>
                    <a:gd name="connsiteX81" fmla="*/ 535327 w 4519987"/>
                    <a:gd name="connsiteY81" fmla="*/ 800100 h 4429225"/>
                    <a:gd name="connsiteX82" fmla="*/ 602002 w 4519987"/>
                    <a:gd name="connsiteY82" fmla="*/ 733425 h 4429225"/>
                    <a:gd name="connsiteX83" fmla="*/ 668677 w 4519987"/>
                    <a:gd name="connsiteY83" fmla="*/ 676275 h 4429225"/>
                    <a:gd name="connsiteX84" fmla="*/ 697252 w 4519987"/>
                    <a:gd name="connsiteY84" fmla="*/ 657225 h 4429225"/>
                    <a:gd name="connsiteX85" fmla="*/ 840127 w 4519987"/>
                    <a:gd name="connsiteY85" fmla="*/ 533400 h 4429225"/>
                    <a:gd name="connsiteX86" fmla="*/ 887752 w 4519987"/>
                    <a:gd name="connsiteY86" fmla="*/ 504825 h 4429225"/>
                    <a:gd name="connsiteX87" fmla="*/ 1167152 w 4519987"/>
                    <a:gd name="connsiteY87" fmla="*/ 311150 h 4429225"/>
                    <a:gd name="connsiteX88" fmla="*/ 1268752 w 4519987"/>
                    <a:gd name="connsiteY88" fmla="*/ 285750 h 4429225"/>
                    <a:gd name="connsiteX89" fmla="*/ 1411627 w 4519987"/>
                    <a:gd name="connsiteY89" fmla="*/ 190500 h 4429225"/>
                    <a:gd name="connsiteX90" fmla="*/ 1449727 w 4519987"/>
                    <a:gd name="connsiteY90" fmla="*/ 161925 h 4429225"/>
                    <a:gd name="connsiteX91" fmla="*/ 1525927 w 4519987"/>
                    <a:gd name="connsiteY91" fmla="*/ 152400 h 4429225"/>
                    <a:gd name="connsiteX92" fmla="*/ 1583077 w 4519987"/>
                    <a:gd name="connsiteY92" fmla="*/ 142875 h 4429225"/>
                    <a:gd name="connsiteX93" fmla="*/ 1716427 w 4519987"/>
                    <a:gd name="connsiteY93" fmla="*/ 123825 h 4429225"/>
                    <a:gd name="connsiteX94" fmla="*/ 1811677 w 4519987"/>
                    <a:gd name="connsiteY94" fmla="*/ 114300 h 4429225"/>
                    <a:gd name="connsiteX95" fmla="*/ 1859302 w 4519987"/>
                    <a:gd name="connsiteY95" fmla="*/ 104775 h 4429225"/>
                    <a:gd name="connsiteX96" fmla="*/ 1916452 w 4519987"/>
                    <a:gd name="connsiteY96" fmla="*/ 95250 h 4429225"/>
                    <a:gd name="connsiteX97" fmla="*/ 2030752 w 4519987"/>
                    <a:gd name="connsiteY97" fmla="*/ 66675 h 4429225"/>
                    <a:gd name="connsiteX98" fmla="*/ 2097427 w 4519987"/>
                    <a:gd name="connsiteY98" fmla="*/ 47625 h 4429225"/>
                    <a:gd name="connsiteX99" fmla="*/ 2164102 w 4519987"/>
                    <a:gd name="connsiteY99" fmla="*/ 38100 h 4429225"/>
                    <a:gd name="connsiteX100" fmla="*/ 2392702 w 4519987"/>
                    <a:gd name="connsiteY10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73377 w 4519987"/>
                    <a:gd name="connsiteY54" fmla="*/ 3019425 h 4429225"/>
                    <a:gd name="connsiteX55" fmla="*/ 144802 w 4519987"/>
                    <a:gd name="connsiteY55" fmla="*/ 2924175 h 4429225"/>
                    <a:gd name="connsiteX56" fmla="*/ 68602 w 4519987"/>
                    <a:gd name="connsiteY56" fmla="*/ 2724150 h 4429225"/>
                    <a:gd name="connsiteX57" fmla="*/ 49552 w 4519987"/>
                    <a:gd name="connsiteY57" fmla="*/ 2638425 h 4429225"/>
                    <a:gd name="connsiteX58" fmla="*/ 40027 w 4519987"/>
                    <a:gd name="connsiteY58" fmla="*/ 2562225 h 4429225"/>
                    <a:gd name="connsiteX59" fmla="*/ 30502 w 4519987"/>
                    <a:gd name="connsiteY59" fmla="*/ 2514600 h 4429225"/>
                    <a:gd name="connsiteX60" fmla="*/ 11452 w 4519987"/>
                    <a:gd name="connsiteY60" fmla="*/ 2400300 h 4429225"/>
                    <a:gd name="connsiteX61" fmla="*/ 20977 w 4519987"/>
                    <a:gd name="connsiteY61" fmla="*/ 1905000 h 4429225"/>
                    <a:gd name="connsiteX62" fmla="*/ 30502 w 4519987"/>
                    <a:gd name="connsiteY62" fmla="*/ 1838325 h 4429225"/>
                    <a:gd name="connsiteX63" fmla="*/ 49552 w 4519987"/>
                    <a:gd name="connsiteY63" fmla="*/ 1781175 h 4429225"/>
                    <a:gd name="connsiteX64" fmla="*/ 59077 w 4519987"/>
                    <a:gd name="connsiteY64" fmla="*/ 1743075 h 4429225"/>
                    <a:gd name="connsiteX65" fmla="*/ 78127 w 4519987"/>
                    <a:gd name="connsiteY65" fmla="*/ 1685925 h 4429225"/>
                    <a:gd name="connsiteX66" fmla="*/ 87652 w 4519987"/>
                    <a:gd name="connsiteY66" fmla="*/ 1638300 h 4429225"/>
                    <a:gd name="connsiteX67" fmla="*/ 106702 w 4519987"/>
                    <a:gd name="connsiteY67" fmla="*/ 1590675 h 4429225"/>
                    <a:gd name="connsiteX68" fmla="*/ 135277 w 4519987"/>
                    <a:gd name="connsiteY68" fmla="*/ 1504950 h 4429225"/>
                    <a:gd name="connsiteX69" fmla="*/ 154327 w 4519987"/>
                    <a:gd name="connsiteY69" fmla="*/ 1419225 h 4429225"/>
                    <a:gd name="connsiteX70" fmla="*/ 230527 w 4519987"/>
                    <a:gd name="connsiteY70" fmla="*/ 1276350 h 4429225"/>
                    <a:gd name="connsiteX71" fmla="*/ 240052 w 4519987"/>
                    <a:gd name="connsiteY71" fmla="*/ 1247775 h 4429225"/>
                    <a:gd name="connsiteX72" fmla="*/ 268627 w 4519987"/>
                    <a:gd name="connsiteY72" fmla="*/ 1200150 h 4429225"/>
                    <a:gd name="connsiteX73" fmla="*/ 287677 w 4519987"/>
                    <a:gd name="connsiteY73" fmla="*/ 1152525 h 4429225"/>
                    <a:gd name="connsiteX74" fmla="*/ 316252 w 4519987"/>
                    <a:gd name="connsiteY74" fmla="*/ 1114425 h 4429225"/>
                    <a:gd name="connsiteX75" fmla="*/ 363877 w 4519987"/>
                    <a:gd name="connsiteY75" fmla="*/ 1038225 h 4429225"/>
                    <a:gd name="connsiteX76" fmla="*/ 382927 w 4519987"/>
                    <a:gd name="connsiteY76" fmla="*/ 1009650 h 4429225"/>
                    <a:gd name="connsiteX77" fmla="*/ 440077 w 4519987"/>
                    <a:gd name="connsiteY77" fmla="*/ 904875 h 4429225"/>
                    <a:gd name="connsiteX78" fmla="*/ 478177 w 4519987"/>
                    <a:gd name="connsiteY78" fmla="*/ 857250 h 4429225"/>
                    <a:gd name="connsiteX79" fmla="*/ 497227 w 4519987"/>
                    <a:gd name="connsiteY79" fmla="*/ 828675 h 4429225"/>
                    <a:gd name="connsiteX80" fmla="*/ 535327 w 4519987"/>
                    <a:gd name="connsiteY80" fmla="*/ 800100 h 4429225"/>
                    <a:gd name="connsiteX81" fmla="*/ 602002 w 4519987"/>
                    <a:gd name="connsiteY81" fmla="*/ 733425 h 4429225"/>
                    <a:gd name="connsiteX82" fmla="*/ 668677 w 4519987"/>
                    <a:gd name="connsiteY82" fmla="*/ 676275 h 4429225"/>
                    <a:gd name="connsiteX83" fmla="*/ 697252 w 4519987"/>
                    <a:gd name="connsiteY83" fmla="*/ 657225 h 4429225"/>
                    <a:gd name="connsiteX84" fmla="*/ 840127 w 4519987"/>
                    <a:gd name="connsiteY84" fmla="*/ 533400 h 4429225"/>
                    <a:gd name="connsiteX85" fmla="*/ 887752 w 4519987"/>
                    <a:gd name="connsiteY85" fmla="*/ 504825 h 4429225"/>
                    <a:gd name="connsiteX86" fmla="*/ 1167152 w 4519987"/>
                    <a:gd name="connsiteY86" fmla="*/ 311150 h 4429225"/>
                    <a:gd name="connsiteX87" fmla="*/ 1268752 w 4519987"/>
                    <a:gd name="connsiteY87" fmla="*/ 285750 h 4429225"/>
                    <a:gd name="connsiteX88" fmla="*/ 1411627 w 4519987"/>
                    <a:gd name="connsiteY88" fmla="*/ 190500 h 4429225"/>
                    <a:gd name="connsiteX89" fmla="*/ 1449727 w 4519987"/>
                    <a:gd name="connsiteY89" fmla="*/ 161925 h 4429225"/>
                    <a:gd name="connsiteX90" fmla="*/ 1525927 w 4519987"/>
                    <a:gd name="connsiteY90" fmla="*/ 152400 h 4429225"/>
                    <a:gd name="connsiteX91" fmla="*/ 1583077 w 4519987"/>
                    <a:gd name="connsiteY91" fmla="*/ 142875 h 4429225"/>
                    <a:gd name="connsiteX92" fmla="*/ 1716427 w 4519987"/>
                    <a:gd name="connsiteY92" fmla="*/ 123825 h 4429225"/>
                    <a:gd name="connsiteX93" fmla="*/ 1811677 w 4519987"/>
                    <a:gd name="connsiteY93" fmla="*/ 114300 h 4429225"/>
                    <a:gd name="connsiteX94" fmla="*/ 1859302 w 4519987"/>
                    <a:gd name="connsiteY94" fmla="*/ 104775 h 4429225"/>
                    <a:gd name="connsiteX95" fmla="*/ 1916452 w 4519987"/>
                    <a:gd name="connsiteY95" fmla="*/ 95250 h 4429225"/>
                    <a:gd name="connsiteX96" fmla="*/ 2030752 w 4519987"/>
                    <a:gd name="connsiteY96" fmla="*/ 66675 h 4429225"/>
                    <a:gd name="connsiteX97" fmla="*/ 2097427 w 4519987"/>
                    <a:gd name="connsiteY97" fmla="*/ 47625 h 4429225"/>
                    <a:gd name="connsiteX98" fmla="*/ 2164102 w 4519987"/>
                    <a:gd name="connsiteY98" fmla="*/ 38100 h 4429225"/>
                    <a:gd name="connsiteX99" fmla="*/ 2392702 w 4519987"/>
                    <a:gd name="connsiteY9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9552 w 4519987"/>
                    <a:gd name="connsiteY56" fmla="*/ 2638425 h 4429225"/>
                    <a:gd name="connsiteX57" fmla="*/ 40027 w 4519987"/>
                    <a:gd name="connsiteY57" fmla="*/ 2562225 h 4429225"/>
                    <a:gd name="connsiteX58" fmla="*/ 30502 w 4519987"/>
                    <a:gd name="connsiteY58" fmla="*/ 2514600 h 4429225"/>
                    <a:gd name="connsiteX59" fmla="*/ 11452 w 4519987"/>
                    <a:gd name="connsiteY59" fmla="*/ 2400300 h 4429225"/>
                    <a:gd name="connsiteX60" fmla="*/ 20977 w 4519987"/>
                    <a:gd name="connsiteY60" fmla="*/ 1905000 h 4429225"/>
                    <a:gd name="connsiteX61" fmla="*/ 30502 w 4519987"/>
                    <a:gd name="connsiteY61" fmla="*/ 1838325 h 4429225"/>
                    <a:gd name="connsiteX62" fmla="*/ 49552 w 4519987"/>
                    <a:gd name="connsiteY62" fmla="*/ 1781175 h 4429225"/>
                    <a:gd name="connsiteX63" fmla="*/ 59077 w 4519987"/>
                    <a:gd name="connsiteY63" fmla="*/ 1743075 h 4429225"/>
                    <a:gd name="connsiteX64" fmla="*/ 78127 w 4519987"/>
                    <a:gd name="connsiteY64" fmla="*/ 1685925 h 4429225"/>
                    <a:gd name="connsiteX65" fmla="*/ 87652 w 4519987"/>
                    <a:gd name="connsiteY65" fmla="*/ 1638300 h 4429225"/>
                    <a:gd name="connsiteX66" fmla="*/ 106702 w 4519987"/>
                    <a:gd name="connsiteY66" fmla="*/ 1590675 h 4429225"/>
                    <a:gd name="connsiteX67" fmla="*/ 135277 w 4519987"/>
                    <a:gd name="connsiteY67" fmla="*/ 1504950 h 4429225"/>
                    <a:gd name="connsiteX68" fmla="*/ 154327 w 4519987"/>
                    <a:gd name="connsiteY68" fmla="*/ 1419225 h 4429225"/>
                    <a:gd name="connsiteX69" fmla="*/ 230527 w 4519987"/>
                    <a:gd name="connsiteY69" fmla="*/ 1276350 h 4429225"/>
                    <a:gd name="connsiteX70" fmla="*/ 240052 w 4519987"/>
                    <a:gd name="connsiteY70" fmla="*/ 1247775 h 4429225"/>
                    <a:gd name="connsiteX71" fmla="*/ 268627 w 4519987"/>
                    <a:gd name="connsiteY71" fmla="*/ 1200150 h 4429225"/>
                    <a:gd name="connsiteX72" fmla="*/ 287677 w 4519987"/>
                    <a:gd name="connsiteY72" fmla="*/ 1152525 h 4429225"/>
                    <a:gd name="connsiteX73" fmla="*/ 316252 w 4519987"/>
                    <a:gd name="connsiteY73" fmla="*/ 1114425 h 4429225"/>
                    <a:gd name="connsiteX74" fmla="*/ 363877 w 4519987"/>
                    <a:gd name="connsiteY74" fmla="*/ 1038225 h 4429225"/>
                    <a:gd name="connsiteX75" fmla="*/ 382927 w 4519987"/>
                    <a:gd name="connsiteY75" fmla="*/ 1009650 h 4429225"/>
                    <a:gd name="connsiteX76" fmla="*/ 440077 w 4519987"/>
                    <a:gd name="connsiteY76" fmla="*/ 904875 h 4429225"/>
                    <a:gd name="connsiteX77" fmla="*/ 478177 w 4519987"/>
                    <a:gd name="connsiteY77" fmla="*/ 857250 h 4429225"/>
                    <a:gd name="connsiteX78" fmla="*/ 497227 w 4519987"/>
                    <a:gd name="connsiteY78" fmla="*/ 828675 h 4429225"/>
                    <a:gd name="connsiteX79" fmla="*/ 535327 w 4519987"/>
                    <a:gd name="connsiteY79" fmla="*/ 800100 h 4429225"/>
                    <a:gd name="connsiteX80" fmla="*/ 602002 w 4519987"/>
                    <a:gd name="connsiteY80" fmla="*/ 733425 h 4429225"/>
                    <a:gd name="connsiteX81" fmla="*/ 668677 w 4519987"/>
                    <a:gd name="connsiteY81" fmla="*/ 676275 h 4429225"/>
                    <a:gd name="connsiteX82" fmla="*/ 697252 w 4519987"/>
                    <a:gd name="connsiteY82" fmla="*/ 657225 h 4429225"/>
                    <a:gd name="connsiteX83" fmla="*/ 840127 w 4519987"/>
                    <a:gd name="connsiteY83" fmla="*/ 533400 h 4429225"/>
                    <a:gd name="connsiteX84" fmla="*/ 887752 w 4519987"/>
                    <a:gd name="connsiteY84" fmla="*/ 504825 h 4429225"/>
                    <a:gd name="connsiteX85" fmla="*/ 1167152 w 4519987"/>
                    <a:gd name="connsiteY85" fmla="*/ 311150 h 4429225"/>
                    <a:gd name="connsiteX86" fmla="*/ 1268752 w 4519987"/>
                    <a:gd name="connsiteY86" fmla="*/ 285750 h 4429225"/>
                    <a:gd name="connsiteX87" fmla="*/ 1411627 w 4519987"/>
                    <a:gd name="connsiteY87" fmla="*/ 190500 h 4429225"/>
                    <a:gd name="connsiteX88" fmla="*/ 1449727 w 4519987"/>
                    <a:gd name="connsiteY88" fmla="*/ 161925 h 4429225"/>
                    <a:gd name="connsiteX89" fmla="*/ 1525927 w 4519987"/>
                    <a:gd name="connsiteY89" fmla="*/ 152400 h 4429225"/>
                    <a:gd name="connsiteX90" fmla="*/ 1583077 w 4519987"/>
                    <a:gd name="connsiteY90" fmla="*/ 142875 h 4429225"/>
                    <a:gd name="connsiteX91" fmla="*/ 1716427 w 4519987"/>
                    <a:gd name="connsiteY91" fmla="*/ 123825 h 4429225"/>
                    <a:gd name="connsiteX92" fmla="*/ 1811677 w 4519987"/>
                    <a:gd name="connsiteY92" fmla="*/ 114300 h 4429225"/>
                    <a:gd name="connsiteX93" fmla="*/ 1859302 w 4519987"/>
                    <a:gd name="connsiteY93" fmla="*/ 104775 h 4429225"/>
                    <a:gd name="connsiteX94" fmla="*/ 1916452 w 4519987"/>
                    <a:gd name="connsiteY94" fmla="*/ 95250 h 4429225"/>
                    <a:gd name="connsiteX95" fmla="*/ 2030752 w 4519987"/>
                    <a:gd name="connsiteY95" fmla="*/ 66675 h 4429225"/>
                    <a:gd name="connsiteX96" fmla="*/ 2097427 w 4519987"/>
                    <a:gd name="connsiteY96" fmla="*/ 47625 h 4429225"/>
                    <a:gd name="connsiteX97" fmla="*/ 2164102 w 4519987"/>
                    <a:gd name="connsiteY97" fmla="*/ 38100 h 4429225"/>
                    <a:gd name="connsiteX98" fmla="*/ 2392702 w 4519987"/>
                    <a:gd name="connsiteY9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30502 w 4519987"/>
                    <a:gd name="connsiteY57" fmla="*/ 2514600 h 4429225"/>
                    <a:gd name="connsiteX58" fmla="*/ 11452 w 4519987"/>
                    <a:gd name="connsiteY58" fmla="*/ 2400300 h 4429225"/>
                    <a:gd name="connsiteX59" fmla="*/ 20977 w 4519987"/>
                    <a:gd name="connsiteY59" fmla="*/ 1905000 h 4429225"/>
                    <a:gd name="connsiteX60" fmla="*/ 30502 w 4519987"/>
                    <a:gd name="connsiteY60" fmla="*/ 1838325 h 4429225"/>
                    <a:gd name="connsiteX61" fmla="*/ 49552 w 4519987"/>
                    <a:gd name="connsiteY61" fmla="*/ 1781175 h 4429225"/>
                    <a:gd name="connsiteX62" fmla="*/ 59077 w 4519987"/>
                    <a:gd name="connsiteY62" fmla="*/ 1743075 h 4429225"/>
                    <a:gd name="connsiteX63" fmla="*/ 78127 w 4519987"/>
                    <a:gd name="connsiteY63" fmla="*/ 1685925 h 4429225"/>
                    <a:gd name="connsiteX64" fmla="*/ 87652 w 4519987"/>
                    <a:gd name="connsiteY64" fmla="*/ 1638300 h 4429225"/>
                    <a:gd name="connsiteX65" fmla="*/ 106702 w 4519987"/>
                    <a:gd name="connsiteY65" fmla="*/ 1590675 h 4429225"/>
                    <a:gd name="connsiteX66" fmla="*/ 135277 w 4519987"/>
                    <a:gd name="connsiteY66" fmla="*/ 1504950 h 4429225"/>
                    <a:gd name="connsiteX67" fmla="*/ 154327 w 4519987"/>
                    <a:gd name="connsiteY67" fmla="*/ 1419225 h 4429225"/>
                    <a:gd name="connsiteX68" fmla="*/ 230527 w 4519987"/>
                    <a:gd name="connsiteY68" fmla="*/ 1276350 h 4429225"/>
                    <a:gd name="connsiteX69" fmla="*/ 240052 w 4519987"/>
                    <a:gd name="connsiteY69" fmla="*/ 1247775 h 4429225"/>
                    <a:gd name="connsiteX70" fmla="*/ 268627 w 4519987"/>
                    <a:gd name="connsiteY70" fmla="*/ 1200150 h 4429225"/>
                    <a:gd name="connsiteX71" fmla="*/ 287677 w 4519987"/>
                    <a:gd name="connsiteY71" fmla="*/ 1152525 h 4429225"/>
                    <a:gd name="connsiteX72" fmla="*/ 316252 w 4519987"/>
                    <a:gd name="connsiteY72" fmla="*/ 1114425 h 4429225"/>
                    <a:gd name="connsiteX73" fmla="*/ 363877 w 4519987"/>
                    <a:gd name="connsiteY73" fmla="*/ 1038225 h 4429225"/>
                    <a:gd name="connsiteX74" fmla="*/ 382927 w 4519987"/>
                    <a:gd name="connsiteY74" fmla="*/ 1009650 h 4429225"/>
                    <a:gd name="connsiteX75" fmla="*/ 440077 w 4519987"/>
                    <a:gd name="connsiteY75" fmla="*/ 904875 h 4429225"/>
                    <a:gd name="connsiteX76" fmla="*/ 478177 w 4519987"/>
                    <a:gd name="connsiteY76" fmla="*/ 857250 h 4429225"/>
                    <a:gd name="connsiteX77" fmla="*/ 497227 w 4519987"/>
                    <a:gd name="connsiteY77" fmla="*/ 828675 h 4429225"/>
                    <a:gd name="connsiteX78" fmla="*/ 535327 w 4519987"/>
                    <a:gd name="connsiteY78" fmla="*/ 800100 h 4429225"/>
                    <a:gd name="connsiteX79" fmla="*/ 602002 w 4519987"/>
                    <a:gd name="connsiteY79" fmla="*/ 733425 h 4429225"/>
                    <a:gd name="connsiteX80" fmla="*/ 668677 w 4519987"/>
                    <a:gd name="connsiteY80" fmla="*/ 676275 h 4429225"/>
                    <a:gd name="connsiteX81" fmla="*/ 697252 w 4519987"/>
                    <a:gd name="connsiteY81" fmla="*/ 657225 h 4429225"/>
                    <a:gd name="connsiteX82" fmla="*/ 840127 w 4519987"/>
                    <a:gd name="connsiteY82" fmla="*/ 533400 h 4429225"/>
                    <a:gd name="connsiteX83" fmla="*/ 887752 w 4519987"/>
                    <a:gd name="connsiteY83" fmla="*/ 504825 h 4429225"/>
                    <a:gd name="connsiteX84" fmla="*/ 1167152 w 4519987"/>
                    <a:gd name="connsiteY84" fmla="*/ 311150 h 4429225"/>
                    <a:gd name="connsiteX85" fmla="*/ 1268752 w 4519987"/>
                    <a:gd name="connsiteY85" fmla="*/ 285750 h 4429225"/>
                    <a:gd name="connsiteX86" fmla="*/ 1411627 w 4519987"/>
                    <a:gd name="connsiteY86" fmla="*/ 190500 h 4429225"/>
                    <a:gd name="connsiteX87" fmla="*/ 1449727 w 4519987"/>
                    <a:gd name="connsiteY87" fmla="*/ 161925 h 4429225"/>
                    <a:gd name="connsiteX88" fmla="*/ 1525927 w 4519987"/>
                    <a:gd name="connsiteY88" fmla="*/ 152400 h 4429225"/>
                    <a:gd name="connsiteX89" fmla="*/ 1583077 w 4519987"/>
                    <a:gd name="connsiteY89" fmla="*/ 142875 h 4429225"/>
                    <a:gd name="connsiteX90" fmla="*/ 1716427 w 4519987"/>
                    <a:gd name="connsiteY90" fmla="*/ 123825 h 4429225"/>
                    <a:gd name="connsiteX91" fmla="*/ 1811677 w 4519987"/>
                    <a:gd name="connsiteY91" fmla="*/ 114300 h 4429225"/>
                    <a:gd name="connsiteX92" fmla="*/ 1859302 w 4519987"/>
                    <a:gd name="connsiteY92" fmla="*/ 104775 h 4429225"/>
                    <a:gd name="connsiteX93" fmla="*/ 1916452 w 4519987"/>
                    <a:gd name="connsiteY93" fmla="*/ 95250 h 4429225"/>
                    <a:gd name="connsiteX94" fmla="*/ 2030752 w 4519987"/>
                    <a:gd name="connsiteY94" fmla="*/ 66675 h 4429225"/>
                    <a:gd name="connsiteX95" fmla="*/ 2097427 w 4519987"/>
                    <a:gd name="connsiteY95" fmla="*/ 47625 h 4429225"/>
                    <a:gd name="connsiteX96" fmla="*/ 2164102 w 4519987"/>
                    <a:gd name="connsiteY96" fmla="*/ 38100 h 4429225"/>
                    <a:gd name="connsiteX97" fmla="*/ 2392702 w 4519987"/>
                    <a:gd name="connsiteY9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11452 w 4519987"/>
                    <a:gd name="connsiteY57" fmla="*/ 2400300 h 4429225"/>
                    <a:gd name="connsiteX58" fmla="*/ 20977 w 4519987"/>
                    <a:gd name="connsiteY58" fmla="*/ 1905000 h 4429225"/>
                    <a:gd name="connsiteX59" fmla="*/ 30502 w 4519987"/>
                    <a:gd name="connsiteY59" fmla="*/ 1838325 h 4429225"/>
                    <a:gd name="connsiteX60" fmla="*/ 49552 w 4519987"/>
                    <a:gd name="connsiteY60" fmla="*/ 1781175 h 4429225"/>
                    <a:gd name="connsiteX61" fmla="*/ 59077 w 4519987"/>
                    <a:gd name="connsiteY61" fmla="*/ 1743075 h 4429225"/>
                    <a:gd name="connsiteX62" fmla="*/ 78127 w 4519987"/>
                    <a:gd name="connsiteY62" fmla="*/ 1685925 h 4429225"/>
                    <a:gd name="connsiteX63" fmla="*/ 87652 w 4519987"/>
                    <a:gd name="connsiteY63" fmla="*/ 1638300 h 4429225"/>
                    <a:gd name="connsiteX64" fmla="*/ 106702 w 4519987"/>
                    <a:gd name="connsiteY64" fmla="*/ 1590675 h 4429225"/>
                    <a:gd name="connsiteX65" fmla="*/ 135277 w 4519987"/>
                    <a:gd name="connsiteY65" fmla="*/ 1504950 h 4429225"/>
                    <a:gd name="connsiteX66" fmla="*/ 154327 w 4519987"/>
                    <a:gd name="connsiteY66" fmla="*/ 1419225 h 4429225"/>
                    <a:gd name="connsiteX67" fmla="*/ 230527 w 4519987"/>
                    <a:gd name="connsiteY67" fmla="*/ 1276350 h 4429225"/>
                    <a:gd name="connsiteX68" fmla="*/ 240052 w 4519987"/>
                    <a:gd name="connsiteY68" fmla="*/ 1247775 h 4429225"/>
                    <a:gd name="connsiteX69" fmla="*/ 268627 w 4519987"/>
                    <a:gd name="connsiteY69" fmla="*/ 1200150 h 4429225"/>
                    <a:gd name="connsiteX70" fmla="*/ 287677 w 4519987"/>
                    <a:gd name="connsiteY70" fmla="*/ 1152525 h 4429225"/>
                    <a:gd name="connsiteX71" fmla="*/ 316252 w 4519987"/>
                    <a:gd name="connsiteY71" fmla="*/ 1114425 h 4429225"/>
                    <a:gd name="connsiteX72" fmla="*/ 363877 w 4519987"/>
                    <a:gd name="connsiteY72" fmla="*/ 1038225 h 4429225"/>
                    <a:gd name="connsiteX73" fmla="*/ 382927 w 4519987"/>
                    <a:gd name="connsiteY73" fmla="*/ 1009650 h 4429225"/>
                    <a:gd name="connsiteX74" fmla="*/ 440077 w 4519987"/>
                    <a:gd name="connsiteY74" fmla="*/ 904875 h 4429225"/>
                    <a:gd name="connsiteX75" fmla="*/ 478177 w 4519987"/>
                    <a:gd name="connsiteY75" fmla="*/ 857250 h 4429225"/>
                    <a:gd name="connsiteX76" fmla="*/ 497227 w 4519987"/>
                    <a:gd name="connsiteY76" fmla="*/ 828675 h 4429225"/>
                    <a:gd name="connsiteX77" fmla="*/ 535327 w 4519987"/>
                    <a:gd name="connsiteY77" fmla="*/ 800100 h 4429225"/>
                    <a:gd name="connsiteX78" fmla="*/ 602002 w 4519987"/>
                    <a:gd name="connsiteY78" fmla="*/ 733425 h 4429225"/>
                    <a:gd name="connsiteX79" fmla="*/ 668677 w 4519987"/>
                    <a:gd name="connsiteY79" fmla="*/ 676275 h 4429225"/>
                    <a:gd name="connsiteX80" fmla="*/ 697252 w 4519987"/>
                    <a:gd name="connsiteY80" fmla="*/ 657225 h 4429225"/>
                    <a:gd name="connsiteX81" fmla="*/ 840127 w 4519987"/>
                    <a:gd name="connsiteY81" fmla="*/ 533400 h 4429225"/>
                    <a:gd name="connsiteX82" fmla="*/ 887752 w 4519987"/>
                    <a:gd name="connsiteY82" fmla="*/ 504825 h 4429225"/>
                    <a:gd name="connsiteX83" fmla="*/ 1167152 w 4519987"/>
                    <a:gd name="connsiteY83" fmla="*/ 311150 h 4429225"/>
                    <a:gd name="connsiteX84" fmla="*/ 1268752 w 4519987"/>
                    <a:gd name="connsiteY84" fmla="*/ 285750 h 4429225"/>
                    <a:gd name="connsiteX85" fmla="*/ 1411627 w 4519987"/>
                    <a:gd name="connsiteY85" fmla="*/ 190500 h 4429225"/>
                    <a:gd name="connsiteX86" fmla="*/ 1449727 w 4519987"/>
                    <a:gd name="connsiteY86" fmla="*/ 161925 h 4429225"/>
                    <a:gd name="connsiteX87" fmla="*/ 1525927 w 4519987"/>
                    <a:gd name="connsiteY87" fmla="*/ 152400 h 4429225"/>
                    <a:gd name="connsiteX88" fmla="*/ 1583077 w 4519987"/>
                    <a:gd name="connsiteY88" fmla="*/ 142875 h 4429225"/>
                    <a:gd name="connsiteX89" fmla="*/ 1716427 w 4519987"/>
                    <a:gd name="connsiteY89" fmla="*/ 123825 h 4429225"/>
                    <a:gd name="connsiteX90" fmla="*/ 1811677 w 4519987"/>
                    <a:gd name="connsiteY90" fmla="*/ 114300 h 4429225"/>
                    <a:gd name="connsiteX91" fmla="*/ 1859302 w 4519987"/>
                    <a:gd name="connsiteY91" fmla="*/ 104775 h 4429225"/>
                    <a:gd name="connsiteX92" fmla="*/ 1916452 w 4519987"/>
                    <a:gd name="connsiteY92" fmla="*/ 95250 h 4429225"/>
                    <a:gd name="connsiteX93" fmla="*/ 2030752 w 4519987"/>
                    <a:gd name="connsiteY93" fmla="*/ 66675 h 4429225"/>
                    <a:gd name="connsiteX94" fmla="*/ 2097427 w 4519987"/>
                    <a:gd name="connsiteY94" fmla="*/ 47625 h 4429225"/>
                    <a:gd name="connsiteX95" fmla="*/ 2164102 w 4519987"/>
                    <a:gd name="connsiteY95" fmla="*/ 38100 h 4429225"/>
                    <a:gd name="connsiteX96" fmla="*/ 2392702 w 4519987"/>
                    <a:gd name="connsiteY9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11452 w 4519987"/>
                    <a:gd name="connsiteY56" fmla="*/ 2400300 h 4429225"/>
                    <a:gd name="connsiteX57" fmla="*/ 20977 w 4519987"/>
                    <a:gd name="connsiteY57" fmla="*/ 1905000 h 4429225"/>
                    <a:gd name="connsiteX58" fmla="*/ 30502 w 4519987"/>
                    <a:gd name="connsiteY58" fmla="*/ 1838325 h 4429225"/>
                    <a:gd name="connsiteX59" fmla="*/ 49552 w 4519987"/>
                    <a:gd name="connsiteY59" fmla="*/ 1781175 h 4429225"/>
                    <a:gd name="connsiteX60" fmla="*/ 59077 w 4519987"/>
                    <a:gd name="connsiteY60" fmla="*/ 1743075 h 4429225"/>
                    <a:gd name="connsiteX61" fmla="*/ 78127 w 4519987"/>
                    <a:gd name="connsiteY61" fmla="*/ 1685925 h 4429225"/>
                    <a:gd name="connsiteX62" fmla="*/ 87652 w 4519987"/>
                    <a:gd name="connsiteY62" fmla="*/ 1638300 h 4429225"/>
                    <a:gd name="connsiteX63" fmla="*/ 106702 w 4519987"/>
                    <a:gd name="connsiteY63" fmla="*/ 1590675 h 4429225"/>
                    <a:gd name="connsiteX64" fmla="*/ 135277 w 4519987"/>
                    <a:gd name="connsiteY64" fmla="*/ 1504950 h 4429225"/>
                    <a:gd name="connsiteX65" fmla="*/ 154327 w 4519987"/>
                    <a:gd name="connsiteY65" fmla="*/ 1419225 h 4429225"/>
                    <a:gd name="connsiteX66" fmla="*/ 230527 w 4519987"/>
                    <a:gd name="connsiteY66" fmla="*/ 1276350 h 4429225"/>
                    <a:gd name="connsiteX67" fmla="*/ 240052 w 4519987"/>
                    <a:gd name="connsiteY67" fmla="*/ 1247775 h 4429225"/>
                    <a:gd name="connsiteX68" fmla="*/ 268627 w 4519987"/>
                    <a:gd name="connsiteY68" fmla="*/ 1200150 h 4429225"/>
                    <a:gd name="connsiteX69" fmla="*/ 287677 w 4519987"/>
                    <a:gd name="connsiteY69" fmla="*/ 1152525 h 4429225"/>
                    <a:gd name="connsiteX70" fmla="*/ 316252 w 4519987"/>
                    <a:gd name="connsiteY70" fmla="*/ 1114425 h 4429225"/>
                    <a:gd name="connsiteX71" fmla="*/ 363877 w 4519987"/>
                    <a:gd name="connsiteY71" fmla="*/ 1038225 h 4429225"/>
                    <a:gd name="connsiteX72" fmla="*/ 382927 w 4519987"/>
                    <a:gd name="connsiteY72" fmla="*/ 1009650 h 4429225"/>
                    <a:gd name="connsiteX73" fmla="*/ 440077 w 4519987"/>
                    <a:gd name="connsiteY73" fmla="*/ 904875 h 4429225"/>
                    <a:gd name="connsiteX74" fmla="*/ 478177 w 4519987"/>
                    <a:gd name="connsiteY74" fmla="*/ 857250 h 4429225"/>
                    <a:gd name="connsiteX75" fmla="*/ 497227 w 4519987"/>
                    <a:gd name="connsiteY75" fmla="*/ 828675 h 4429225"/>
                    <a:gd name="connsiteX76" fmla="*/ 535327 w 4519987"/>
                    <a:gd name="connsiteY76" fmla="*/ 800100 h 4429225"/>
                    <a:gd name="connsiteX77" fmla="*/ 602002 w 4519987"/>
                    <a:gd name="connsiteY77" fmla="*/ 733425 h 4429225"/>
                    <a:gd name="connsiteX78" fmla="*/ 668677 w 4519987"/>
                    <a:gd name="connsiteY78" fmla="*/ 676275 h 4429225"/>
                    <a:gd name="connsiteX79" fmla="*/ 697252 w 4519987"/>
                    <a:gd name="connsiteY79" fmla="*/ 657225 h 4429225"/>
                    <a:gd name="connsiteX80" fmla="*/ 840127 w 4519987"/>
                    <a:gd name="connsiteY80" fmla="*/ 533400 h 4429225"/>
                    <a:gd name="connsiteX81" fmla="*/ 887752 w 4519987"/>
                    <a:gd name="connsiteY81" fmla="*/ 504825 h 4429225"/>
                    <a:gd name="connsiteX82" fmla="*/ 1167152 w 4519987"/>
                    <a:gd name="connsiteY82" fmla="*/ 311150 h 4429225"/>
                    <a:gd name="connsiteX83" fmla="*/ 1268752 w 4519987"/>
                    <a:gd name="connsiteY83" fmla="*/ 285750 h 4429225"/>
                    <a:gd name="connsiteX84" fmla="*/ 1411627 w 4519987"/>
                    <a:gd name="connsiteY84" fmla="*/ 190500 h 4429225"/>
                    <a:gd name="connsiteX85" fmla="*/ 1449727 w 4519987"/>
                    <a:gd name="connsiteY85" fmla="*/ 161925 h 4429225"/>
                    <a:gd name="connsiteX86" fmla="*/ 1525927 w 4519987"/>
                    <a:gd name="connsiteY86" fmla="*/ 152400 h 4429225"/>
                    <a:gd name="connsiteX87" fmla="*/ 1583077 w 4519987"/>
                    <a:gd name="connsiteY87" fmla="*/ 142875 h 4429225"/>
                    <a:gd name="connsiteX88" fmla="*/ 1716427 w 4519987"/>
                    <a:gd name="connsiteY88" fmla="*/ 123825 h 4429225"/>
                    <a:gd name="connsiteX89" fmla="*/ 1811677 w 4519987"/>
                    <a:gd name="connsiteY89" fmla="*/ 114300 h 4429225"/>
                    <a:gd name="connsiteX90" fmla="*/ 1859302 w 4519987"/>
                    <a:gd name="connsiteY90" fmla="*/ 104775 h 4429225"/>
                    <a:gd name="connsiteX91" fmla="*/ 1916452 w 4519987"/>
                    <a:gd name="connsiteY91" fmla="*/ 95250 h 4429225"/>
                    <a:gd name="connsiteX92" fmla="*/ 2030752 w 4519987"/>
                    <a:gd name="connsiteY92" fmla="*/ 66675 h 4429225"/>
                    <a:gd name="connsiteX93" fmla="*/ 2097427 w 4519987"/>
                    <a:gd name="connsiteY93" fmla="*/ 47625 h 4429225"/>
                    <a:gd name="connsiteX94" fmla="*/ 2164102 w 4519987"/>
                    <a:gd name="connsiteY94" fmla="*/ 38100 h 4429225"/>
                    <a:gd name="connsiteX95" fmla="*/ 2392702 w 4519987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49994 w 4501379"/>
                    <a:gd name="connsiteY55" fmla="*/ 2724150 h 4429225"/>
                    <a:gd name="connsiteX56" fmla="*/ 56344 w 4501379"/>
                    <a:gd name="connsiteY56" fmla="*/ 2368550 h 4429225"/>
                    <a:gd name="connsiteX57" fmla="*/ 2369 w 4501379"/>
                    <a:gd name="connsiteY57" fmla="*/ 1905000 h 4429225"/>
                    <a:gd name="connsiteX58" fmla="*/ 11894 w 4501379"/>
                    <a:gd name="connsiteY58" fmla="*/ 1838325 h 4429225"/>
                    <a:gd name="connsiteX59" fmla="*/ 30944 w 4501379"/>
                    <a:gd name="connsiteY59" fmla="*/ 1781175 h 4429225"/>
                    <a:gd name="connsiteX60" fmla="*/ 40469 w 4501379"/>
                    <a:gd name="connsiteY60" fmla="*/ 1743075 h 4429225"/>
                    <a:gd name="connsiteX61" fmla="*/ 59519 w 4501379"/>
                    <a:gd name="connsiteY61" fmla="*/ 1685925 h 4429225"/>
                    <a:gd name="connsiteX62" fmla="*/ 69044 w 4501379"/>
                    <a:gd name="connsiteY62" fmla="*/ 1638300 h 4429225"/>
                    <a:gd name="connsiteX63" fmla="*/ 88094 w 4501379"/>
                    <a:gd name="connsiteY63" fmla="*/ 1590675 h 4429225"/>
                    <a:gd name="connsiteX64" fmla="*/ 116669 w 4501379"/>
                    <a:gd name="connsiteY64" fmla="*/ 1504950 h 4429225"/>
                    <a:gd name="connsiteX65" fmla="*/ 135719 w 4501379"/>
                    <a:gd name="connsiteY65" fmla="*/ 1419225 h 4429225"/>
                    <a:gd name="connsiteX66" fmla="*/ 211919 w 4501379"/>
                    <a:gd name="connsiteY66" fmla="*/ 1276350 h 4429225"/>
                    <a:gd name="connsiteX67" fmla="*/ 221444 w 4501379"/>
                    <a:gd name="connsiteY67" fmla="*/ 1247775 h 4429225"/>
                    <a:gd name="connsiteX68" fmla="*/ 250019 w 4501379"/>
                    <a:gd name="connsiteY68" fmla="*/ 1200150 h 4429225"/>
                    <a:gd name="connsiteX69" fmla="*/ 269069 w 4501379"/>
                    <a:gd name="connsiteY69" fmla="*/ 1152525 h 4429225"/>
                    <a:gd name="connsiteX70" fmla="*/ 297644 w 4501379"/>
                    <a:gd name="connsiteY70" fmla="*/ 1114425 h 4429225"/>
                    <a:gd name="connsiteX71" fmla="*/ 345269 w 4501379"/>
                    <a:gd name="connsiteY71" fmla="*/ 1038225 h 4429225"/>
                    <a:gd name="connsiteX72" fmla="*/ 364319 w 4501379"/>
                    <a:gd name="connsiteY72" fmla="*/ 1009650 h 4429225"/>
                    <a:gd name="connsiteX73" fmla="*/ 421469 w 4501379"/>
                    <a:gd name="connsiteY73" fmla="*/ 904875 h 4429225"/>
                    <a:gd name="connsiteX74" fmla="*/ 459569 w 4501379"/>
                    <a:gd name="connsiteY74" fmla="*/ 857250 h 4429225"/>
                    <a:gd name="connsiteX75" fmla="*/ 478619 w 4501379"/>
                    <a:gd name="connsiteY75" fmla="*/ 828675 h 4429225"/>
                    <a:gd name="connsiteX76" fmla="*/ 516719 w 4501379"/>
                    <a:gd name="connsiteY76" fmla="*/ 800100 h 4429225"/>
                    <a:gd name="connsiteX77" fmla="*/ 583394 w 4501379"/>
                    <a:gd name="connsiteY77" fmla="*/ 733425 h 4429225"/>
                    <a:gd name="connsiteX78" fmla="*/ 650069 w 4501379"/>
                    <a:gd name="connsiteY78" fmla="*/ 676275 h 4429225"/>
                    <a:gd name="connsiteX79" fmla="*/ 678644 w 4501379"/>
                    <a:gd name="connsiteY79" fmla="*/ 657225 h 4429225"/>
                    <a:gd name="connsiteX80" fmla="*/ 821519 w 4501379"/>
                    <a:gd name="connsiteY80" fmla="*/ 533400 h 4429225"/>
                    <a:gd name="connsiteX81" fmla="*/ 869144 w 4501379"/>
                    <a:gd name="connsiteY81" fmla="*/ 504825 h 4429225"/>
                    <a:gd name="connsiteX82" fmla="*/ 1148544 w 4501379"/>
                    <a:gd name="connsiteY82" fmla="*/ 311150 h 4429225"/>
                    <a:gd name="connsiteX83" fmla="*/ 1250144 w 4501379"/>
                    <a:gd name="connsiteY83" fmla="*/ 285750 h 4429225"/>
                    <a:gd name="connsiteX84" fmla="*/ 1393019 w 4501379"/>
                    <a:gd name="connsiteY84" fmla="*/ 190500 h 4429225"/>
                    <a:gd name="connsiteX85" fmla="*/ 1431119 w 4501379"/>
                    <a:gd name="connsiteY85" fmla="*/ 161925 h 4429225"/>
                    <a:gd name="connsiteX86" fmla="*/ 1507319 w 4501379"/>
                    <a:gd name="connsiteY86" fmla="*/ 152400 h 4429225"/>
                    <a:gd name="connsiteX87" fmla="*/ 1564469 w 4501379"/>
                    <a:gd name="connsiteY87" fmla="*/ 142875 h 4429225"/>
                    <a:gd name="connsiteX88" fmla="*/ 1697819 w 4501379"/>
                    <a:gd name="connsiteY88" fmla="*/ 123825 h 4429225"/>
                    <a:gd name="connsiteX89" fmla="*/ 1793069 w 4501379"/>
                    <a:gd name="connsiteY89" fmla="*/ 114300 h 4429225"/>
                    <a:gd name="connsiteX90" fmla="*/ 1840694 w 4501379"/>
                    <a:gd name="connsiteY90" fmla="*/ 104775 h 4429225"/>
                    <a:gd name="connsiteX91" fmla="*/ 1897844 w 4501379"/>
                    <a:gd name="connsiteY91" fmla="*/ 95250 h 4429225"/>
                    <a:gd name="connsiteX92" fmla="*/ 2012144 w 4501379"/>
                    <a:gd name="connsiteY92" fmla="*/ 66675 h 4429225"/>
                    <a:gd name="connsiteX93" fmla="*/ 2078819 w 4501379"/>
                    <a:gd name="connsiteY93" fmla="*/ 47625 h 4429225"/>
                    <a:gd name="connsiteX94" fmla="*/ 2145494 w 4501379"/>
                    <a:gd name="connsiteY94" fmla="*/ 38100 h 4429225"/>
                    <a:gd name="connsiteX95" fmla="*/ 2374094 w 4501379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56344 w 4501379"/>
                    <a:gd name="connsiteY55" fmla="*/ 2368550 h 4429225"/>
                    <a:gd name="connsiteX56" fmla="*/ 2369 w 4501379"/>
                    <a:gd name="connsiteY56" fmla="*/ 1905000 h 4429225"/>
                    <a:gd name="connsiteX57" fmla="*/ 11894 w 4501379"/>
                    <a:gd name="connsiteY57" fmla="*/ 1838325 h 4429225"/>
                    <a:gd name="connsiteX58" fmla="*/ 30944 w 4501379"/>
                    <a:gd name="connsiteY58" fmla="*/ 1781175 h 4429225"/>
                    <a:gd name="connsiteX59" fmla="*/ 40469 w 4501379"/>
                    <a:gd name="connsiteY59" fmla="*/ 1743075 h 4429225"/>
                    <a:gd name="connsiteX60" fmla="*/ 59519 w 4501379"/>
                    <a:gd name="connsiteY60" fmla="*/ 1685925 h 4429225"/>
                    <a:gd name="connsiteX61" fmla="*/ 69044 w 4501379"/>
                    <a:gd name="connsiteY61" fmla="*/ 1638300 h 4429225"/>
                    <a:gd name="connsiteX62" fmla="*/ 88094 w 4501379"/>
                    <a:gd name="connsiteY62" fmla="*/ 1590675 h 4429225"/>
                    <a:gd name="connsiteX63" fmla="*/ 116669 w 4501379"/>
                    <a:gd name="connsiteY63" fmla="*/ 1504950 h 4429225"/>
                    <a:gd name="connsiteX64" fmla="*/ 135719 w 4501379"/>
                    <a:gd name="connsiteY64" fmla="*/ 1419225 h 4429225"/>
                    <a:gd name="connsiteX65" fmla="*/ 211919 w 4501379"/>
                    <a:gd name="connsiteY65" fmla="*/ 1276350 h 4429225"/>
                    <a:gd name="connsiteX66" fmla="*/ 221444 w 4501379"/>
                    <a:gd name="connsiteY66" fmla="*/ 1247775 h 4429225"/>
                    <a:gd name="connsiteX67" fmla="*/ 250019 w 4501379"/>
                    <a:gd name="connsiteY67" fmla="*/ 1200150 h 4429225"/>
                    <a:gd name="connsiteX68" fmla="*/ 269069 w 4501379"/>
                    <a:gd name="connsiteY68" fmla="*/ 1152525 h 4429225"/>
                    <a:gd name="connsiteX69" fmla="*/ 297644 w 4501379"/>
                    <a:gd name="connsiteY69" fmla="*/ 1114425 h 4429225"/>
                    <a:gd name="connsiteX70" fmla="*/ 345269 w 4501379"/>
                    <a:gd name="connsiteY70" fmla="*/ 1038225 h 4429225"/>
                    <a:gd name="connsiteX71" fmla="*/ 364319 w 4501379"/>
                    <a:gd name="connsiteY71" fmla="*/ 1009650 h 4429225"/>
                    <a:gd name="connsiteX72" fmla="*/ 421469 w 4501379"/>
                    <a:gd name="connsiteY72" fmla="*/ 904875 h 4429225"/>
                    <a:gd name="connsiteX73" fmla="*/ 459569 w 4501379"/>
                    <a:gd name="connsiteY73" fmla="*/ 857250 h 4429225"/>
                    <a:gd name="connsiteX74" fmla="*/ 478619 w 4501379"/>
                    <a:gd name="connsiteY74" fmla="*/ 828675 h 4429225"/>
                    <a:gd name="connsiteX75" fmla="*/ 516719 w 4501379"/>
                    <a:gd name="connsiteY75" fmla="*/ 800100 h 4429225"/>
                    <a:gd name="connsiteX76" fmla="*/ 583394 w 4501379"/>
                    <a:gd name="connsiteY76" fmla="*/ 733425 h 4429225"/>
                    <a:gd name="connsiteX77" fmla="*/ 650069 w 4501379"/>
                    <a:gd name="connsiteY77" fmla="*/ 676275 h 4429225"/>
                    <a:gd name="connsiteX78" fmla="*/ 678644 w 4501379"/>
                    <a:gd name="connsiteY78" fmla="*/ 657225 h 4429225"/>
                    <a:gd name="connsiteX79" fmla="*/ 821519 w 4501379"/>
                    <a:gd name="connsiteY79" fmla="*/ 533400 h 4429225"/>
                    <a:gd name="connsiteX80" fmla="*/ 869144 w 4501379"/>
                    <a:gd name="connsiteY80" fmla="*/ 504825 h 4429225"/>
                    <a:gd name="connsiteX81" fmla="*/ 1148544 w 4501379"/>
                    <a:gd name="connsiteY81" fmla="*/ 311150 h 4429225"/>
                    <a:gd name="connsiteX82" fmla="*/ 1250144 w 4501379"/>
                    <a:gd name="connsiteY82" fmla="*/ 285750 h 4429225"/>
                    <a:gd name="connsiteX83" fmla="*/ 1393019 w 4501379"/>
                    <a:gd name="connsiteY83" fmla="*/ 190500 h 4429225"/>
                    <a:gd name="connsiteX84" fmla="*/ 1431119 w 4501379"/>
                    <a:gd name="connsiteY84" fmla="*/ 161925 h 4429225"/>
                    <a:gd name="connsiteX85" fmla="*/ 1507319 w 4501379"/>
                    <a:gd name="connsiteY85" fmla="*/ 152400 h 4429225"/>
                    <a:gd name="connsiteX86" fmla="*/ 1564469 w 4501379"/>
                    <a:gd name="connsiteY86" fmla="*/ 142875 h 4429225"/>
                    <a:gd name="connsiteX87" fmla="*/ 1697819 w 4501379"/>
                    <a:gd name="connsiteY87" fmla="*/ 123825 h 4429225"/>
                    <a:gd name="connsiteX88" fmla="*/ 1793069 w 4501379"/>
                    <a:gd name="connsiteY88" fmla="*/ 114300 h 4429225"/>
                    <a:gd name="connsiteX89" fmla="*/ 1840694 w 4501379"/>
                    <a:gd name="connsiteY89" fmla="*/ 104775 h 4429225"/>
                    <a:gd name="connsiteX90" fmla="*/ 1897844 w 4501379"/>
                    <a:gd name="connsiteY90" fmla="*/ 95250 h 4429225"/>
                    <a:gd name="connsiteX91" fmla="*/ 2012144 w 4501379"/>
                    <a:gd name="connsiteY91" fmla="*/ 66675 h 4429225"/>
                    <a:gd name="connsiteX92" fmla="*/ 2078819 w 4501379"/>
                    <a:gd name="connsiteY92" fmla="*/ 47625 h 4429225"/>
                    <a:gd name="connsiteX93" fmla="*/ 2145494 w 4501379"/>
                    <a:gd name="connsiteY93" fmla="*/ 38100 h 4429225"/>
                    <a:gd name="connsiteX94" fmla="*/ 2374094 w 4501379"/>
                    <a:gd name="connsiteY94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26194 w 4501379"/>
                    <a:gd name="connsiteY53" fmla="*/ 292417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6869 w 4501379"/>
                    <a:gd name="connsiteY51" fmla="*/ 34702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313644 w 4501379"/>
                    <a:gd name="connsiteY46" fmla="*/ 42164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91" fmla="*/ 2374094 w 4501379"/>
                    <a:gd name="connsiteY91" fmla="*/ 28575 h 4429294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0" fmla="*/ 2278844 w 4501379"/>
                    <a:gd name="connsiteY0" fmla="*/ 0 h 4429294"/>
                    <a:gd name="connsiteX1" fmla="*/ 2478869 w 4501379"/>
                    <a:gd name="connsiteY1" fmla="*/ 47625 h 4429294"/>
                    <a:gd name="connsiteX2" fmla="*/ 2736044 w 4501379"/>
                    <a:gd name="connsiteY2" fmla="*/ 66675 h 4429294"/>
                    <a:gd name="connsiteX3" fmla="*/ 2812244 w 4501379"/>
                    <a:gd name="connsiteY3" fmla="*/ 76200 h 4429294"/>
                    <a:gd name="connsiteX4" fmla="*/ 2897969 w 4501379"/>
                    <a:gd name="connsiteY4" fmla="*/ 85725 h 4429294"/>
                    <a:gd name="connsiteX5" fmla="*/ 2955119 w 4501379"/>
                    <a:gd name="connsiteY5" fmla="*/ 114300 h 4429294"/>
                    <a:gd name="connsiteX6" fmla="*/ 2993219 w 4501379"/>
                    <a:gd name="connsiteY6" fmla="*/ 123825 h 4429294"/>
                    <a:gd name="connsiteX7" fmla="*/ 3117044 w 4501379"/>
                    <a:gd name="connsiteY7" fmla="*/ 171450 h 4429294"/>
                    <a:gd name="connsiteX8" fmla="*/ 3155144 w 4501379"/>
                    <a:gd name="connsiteY8" fmla="*/ 190500 h 4429294"/>
                    <a:gd name="connsiteX9" fmla="*/ 3221819 w 4501379"/>
                    <a:gd name="connsiteY9" fmla="*/ 228600 h 4429294"/>
                    <a:gd name="connsiteX10" fmla="*/ 3250394 w 4501379"/>
                    <a:gd name="connsiteY10" fmla="*/ 238125 h 4429294"/>
                    <a:gd name="connsiteX11" fmla="*/ 3278969 w 4501379"/>
                    <a:gd name="connsiteY11" fmla="*/ 257175 h 4429294"/>
                    <a:gd name="connsiteX12" fmla="*/ 3307544 w 4501379"/>
                    <a:gd name="connsiteY12" fmla="*/ 266700 h 4429294"/>
                    <a:gd name="connsiteX13" fmla="*/ 3336119 w 4501379"/>
                    <a:gd name="connsiteY13" fmla="*/ 285750 h 4429294"/>
                    <a:gd name="connsiteX14" fmla="*/ 3402794 w 4501379"/>
                    <a:gd name="connsiteY14" fmla="*/ 323850 h 4429294"/>
                    <a:gd name="connsiteX15" fmla="*/ 3450419 w 4501379"/>
                    <a:gd name="connsiteY15" fmla="*/ 361950 h 4429294"/>
                    <a:gd name="connsiteX16" fmla="*/ 3498044 w 4501379"/>
                    <a:gd name="connsiteY16" fmla="*/ 390525 h 4429294"/>
                    <a:gd name="connsiteX17" fmla="*/ 3612344 w 4501379"/>
                    <a:gd name="connsiteY17" fmla="*/ 485775 h 4429294"/>
                    <a:gd name="connsiteX18" fmla="*/ 3726644 w 4501379"/>
                    <a:gd name="connsiteY18" fmla="*/ 542925 h 4429294"/>
                    <a:gd name="connsiteX19" fmla="*/ 3793319 w 4501379"/>
                    <a:gd name="connsiteY19" fmla="*/ 581025 h 4429294"/>
                    <a:gd name="connsiteX20" fmla="*/ 4009219 w 4501379"/>
                    <a:gd name="connsiteY20" fmla="*/ 819150 h 4429294"/>
                    <a:gd name="connsiteX21" fmla="*/ 4145744 w 4501379"/>
                    <a:gd name="connsiteY21" fmla="*/ 990600 h 4429294"/>
                    <a:gd name="connsiteX22" fmla="*/ 4231469 w 4501379"/>
                    <a:gd name="connsiteY22" fmla="*/ 1143000 h 4429294"/>
                    <a:gd name="connsiteX23" fmla="*/ 4288619 w 4501379"/>
                    <a:gd name="connsiteY23" fmla="*/ 1266825 h 4429294"/>
                    <a:gd name="connsiteX24" fmla="*/ 4326719 w 4501379"/>
                    <a:gd name="connsiteY24" fmla="*/ 1362075 h 4429294"/>
                    <a:gd name="connsiteX25" fmla="*/ 4374344 w 4501379"/>
                    <a:gd name="connsiteY25" fmla="*/ 1552575 h 4429294"/>
                    <a:gd name="connsiteX26" fmla="*/ 4412444 w 4501379"/>
                    <a:gd name="connsiteY26" fmla="*/ 1685925 h 4429294"/>
                    <a:gd name="connsiteX27" fmla="*/ 4501344 w 4501379"/>
                    <a:gd name="connsiteY27" fmla="*/ 2181225 h 4429294"/>
                    <a:gd name="connsiteX28" fmla="*/ 4428319 w 4501379"/>
                    <a:gd name="connsiteY28" fmla="*/ 2768600 h 4429294"/>
                    <a:gd name="connsiteX29" fmla="*/ 4364819 w 4501379"/>
                    <a:gd name="connsiteY29" fmla="*/ 2990850 h 4429294"/>
                    <a:gd name="connsiteX30" fmla="*/ 4260044 w 4501379"/>
                    <a:gd name="connsiteY30" fmla="*/ 3248025 h 4429294"/>
                    <a:gd name="connsiteX31" fmla="*/ 4164794 w 4501379"/>
                    <a:gd name="connsiteY31" fmla="*/ 3400425 h 4429294"/>
                    <a:gd name="connsiteX32" fmla="*/ 4040969 w 4501379"/>
                    <a:gd name="connsiteY32" fmla="*/ 3533775 h 4429294"/>
                    <a:gd name="connsiteX33" fmla="*/ 3936194 w 4501379"/>
                    <a:gd name="connsiteY33" fmla="*/ 3648075 h 4429294"/>
                    <a:gd name="connsiteX34" fmla="*/ 3640919 w 4501379"/>
                    <a:gd name="connsiteY34" fmla="*/ 3971925 h 4429294"/>
                    <a:gd name="connsiteX35" fmla="*/ 3498044 w 4501379"/>
                    <a:gd name="connsiteY35" fmla="*/ 4083050 h 4429294"/>
                    <a:gd name="connsiteX36" fmla="*/ 3202769 w 4501379"/>
                    <a:gd name="connsiteY36" fmla="*/ 4222750 h 4429294"/>
                    <a:gd name="connsiteX37" fmla="*/ 3050369 w 4501379"/>
                    <a:gd name="connsiteY37" fmla="*/ 4286250 h 4429294"/>
                    <a:gd name="connsiteX38" fmla="*/ 2917019 w 4501379"/>
                    <a:gd name="connsiteY38" fmla="*/ 4333875 h 4429294"/>
                    <a:gd name="connsiteX39" fmla="*/ 2793194 w 4501379"/>
                    <a:gd name="connsiteY39" fmla="*/ 4371975 h 4429294"/>
                    <a:gd name="connsiteX40" fmla="*/ 2561419 w 4501379"/>
                    <a:gd name="connsiteY40" fmla="*/ 4391025 h 4429294"/>
                    <a:gd name="connsiteX41" fmla="*/ 2107394 w 4501379"/>
                    <a:gd name="connsiteY41" fmla="*/ 4429125 h 4429294"/>
                    <a:gd name="connsiteX42" fmla="*/ 1916894 w 4501379"/>
                    <a:gd name="connsiteY42" fmla="*/ 4400550 h 4429294"/>
                    <a:gd name="connsiteX43" fmla="*/ 1554944 w 4501379"/>
                    <a:gd name="connsiteY43" fmla="*/ 4305300 h 4429294"/>
                    <a:gd name="connsiteX44" fmla="*/ 1313644 w 4501379"/>
                    <a:gd name="connsiteY44" fmla="*/ 4216400 h 4429294"/>
                    <a:gd name="connsiteX45" fmla="*/ 1145369 w 4501379"/>
                    <a:gd name="connsiteY45" fmla="*/ 4111625 h 4429294"/>
                    <a:gd name="connsiteX46" fmla="*/ 926294 w 4501379"/>
                    <a:gd name="connsiteY46" fmla="*/ 3968750 h 4429294"/>
                    <a:gd name="connsiteX47" fmla="*/ 592919 w 4501379"/>
                    <a:gd name="connsiteY47" fmla="*/ 3657600 h 4429294"/>
                    <a:gd name="connsiteX48" fmla="*/ 446869 w 4501379"/>
                    <a:gd name="connsiteY48" fmla="*/ 3470275 h 4429294"/>
                    <a:gd name="connsiteX49" fmla="*/ 316694 w 4501379"/>
                    <a:gd name="connsiteY49" fmla="*/ 3244850 h 4429294"/>
                    <a:gd name="connsiteX50" fmla="*/ 164294 w 4501379"/>
                    <a:gd name="connsiteY50" fmla="*/ 2892425 h 4429294"/>
                    <a:gd name="connsiteX51" fmla="*/ 56344 w 4501379"/>
                    <a:gd name="connsiteY51" fmla="*/ 2368550 h 4429294"/>
                    <a:gd name="connsiteX52" fmla="*/ 2369 w 4501379"/>
                    <a:gd name="connsiteY52" fmla="*/ 1905000 h 4429294"/>
                    <a:gd name="connsiteX53" fmla="*/ 11894 w 4501379"/>
                    <a:gd name="connsiteY53" fmla="*/ 1838325 h 4429294"/>
                    <a:gd name="connsiteX54" fmla="*/ 30944 w 4501379"/>
                    <a:gd name="connsiteY54" fmla="*/ 1781175 h 4429294"/>
                    <a:gd name="connsiteX55" fmla="*/ 40469 w 4501379"/>
                    <a:gd name="connsiteY55" fmla="*/ 1743075 h 4429294"/>
                    <a:gd name="connsiteX56" fmla="*/ 59519 w 4501379"/>
                    <a:gd name="connsiteY56" fmla="*/ 1685925 h 4429294"/>
                    <a:gd name="connsiteX57" fmla="*/ 69044 w 4501379"/>
                    <a:gd name="connsiteY57" fmla="*/ 1638300 h 4429294"/>
                    <a:gd name="connsiteX58" fmla="*/ 88094 w 4501379"/>
                    <a:gd name="connsiteY58" fmla="*/ 1590675 h 4429294"/>
                    <a:gd name="connsiteX59" fmla="*/ 116669 w 4501379"/>
                    <a:gd name="connsiteY59" fmla="*/ 1504950 h 4429294"/>
                    <a:gd name="connsiteX60" fmla="*/ 135719 w 4501379"/>
                    <a:gd name="connsiteY60" fmla="*/ 1419225 h 4429294"/>
                    <a:gd name="connsiteX61" fmla="*/ 211919 w 4501379"/>
                    <a:gd name="connsiteY61" fmla="*/ 1276350 h 4429294"/>
                    <a:gd name="connsiteX62" fmla="*/ 221444 w 4501379"/>
                    <a:gd name="connsiteY62" fmla="*/ 1247775 h 4429294"/>
                    <a:gd name="connsiteX63" fmla="*/ 250019 w 4501379"/>
                    <a:gd name="connsiteY63" fmla="*/ 1200150 h 4429294"/>
                    <a:gd name="connsiteX64" fmla="*/ 269069 w 4501379"/>
                    <a:gd name="connsiteY64" fmla="*/ 1152525 h 4429294"/>
                    <a:gd name="connsiteX65" fmla="*/ 297644 w 4501379"/>
                    <a:gd name="connsiteY65" fmla="*/ 1114425 h 4429294"/>
                    <a:gd name="connsiteX66" fmla="*/ 345269 w 4501379"/>
                    <a:gd name="connsiteY66" fmla="*/ 1038225 h 4429294"/>
                    <a:gd name="connsiteX67" fmla="*/ 364319 w 4501379"/>
                    <a:gd name="connsiteY67" fmla="*/ 1009650 h 4429294"/>
                    <a:gd name="connsiteX68" fmla="*/ 421469 w 4501379"/>
                    <a:gd name="connsiteY68" fmla="*/ 904875 h 4429294"/>
                    <a:gd name="connsiteX69" fmla="*/ 459569 w 4501379"/>
                    <a:gd name="connsiteY69" fmla="*/ 857250 h 4429294"/>
                    <a:gd name="connsiteX70" fmla="*/ 478619 w 4501379"/>
                    <a:gd name="connsiteY70" fmla="*/ 828675 h 4429294"/>
                    <a:gd name="connsiteX71" fmla="*/ 516719 w 4501379"/>
                    <a:gd name="connsiteY71" fmla="*/ 800100 h 4429294"/>
                    <a:gd name="connsiteX72" fmla="*/ 583394 w 4501379"/>
                    <a:gd name="connsiteY72" fmla="*/ 733425 h 4429294"/>
                    <a:gd name="connsiteX73" fmla="*/ 650069 w 4501379"/>
                    <a:gd name="connsiteY73" fmla="*/ 676275 h 4429294"/>
                    <a:gd name="connsiteX74" fmla="*/ 678644 w 4501379"/>
                    <a:gd name="connsiteY74" fmla="*/ 657225 h 4429294"/>
                    <a:gd name="connsiteX75" fmla="*/ 821519 w 4501379"/>
                    <a:gd name="connsiteY75" fmla="*/ 533400 h 4429294"/>
                    <a:gd name="connsiteX76" fmla="*/ 869144 w 4501379"/>
                    <a:gd name="connsiteY76" fmla="*/ 504825 h 4429294"/>
                    <a:gd name="connsiteX77" fmla="*/ 1148544 w 4501379"/>
                    <a:gd name="connsiteY77" fmla="*/ 311150 h 4429294"/>
                    <a:gd name="connsiteX78" fmla="*/ 1250144 w 4501379"/>
                    <a:gd name="connsiteY78" fmla="*/ 285750 h 4429294"/>
                    <a:gd name="connsiteX79" fmla="*/ 1393019 w 4501379"/>
                    <a:gd name="connsiteY79" fmla="*/ 190500 h 4429294"/>
                    <a:gd name="connsiteX80" fmla="*/ 1431119 w 4501379"/>
                    <a:gd name="connsiteY80" fmla="*/ 161925 h 4429294"/>
                    <a:gd name="connsiteX81" fmla="*/ 1507319 w 4501379"/>
                    <a:gd name="connsiteY81" fmla="*/ 152400 h 4429294"/>
                    <a:gd name="connsiteX82" fmla="*/ 1564469 w 4501379"/>
                    <a:gd name="connsiteY82" fmla="*/ 142875 h 4429294"/>
                    <a:gd name="connsiteX83" fmla="*/ 1697819 w 4501379"/>
                    <a:gd name="connsiteY83" fmla="*/ 123825 h 4429294"/>
                    <a:gd name="connsiteX84" fmla="*/ 1793069 w 4501379"/>
                    <a:gd name="connsiteY84" fmla="*/ 114300 h 4429294"/>
                    <a:gd name="connsiteX85" fmla="*/ 1840694 w 4501379"/>
                    <a:gd name="connsiteY85" fmla="*/ 104775 h 4429294"/>
                    <a:gd name="connsiteX86" fmla="*/ 1897844 w 4501379"/>
                    <a:gd name="connsiteY86" fmla="*/ 95250 h 4429294"/>
                    <a:gd name="connsiteX87" fmla="*/ 2012144 w 4501379"/>
                    <a:gd name="connsiteY87" fmla="*/ 66675 h 4429294"/>
                    <a:gd name="connsiteX88" fmla="*/ 2078819 w 4501379"/>
                    <a:gd name="connsiteY88" fmla="*/ 47625 h 4429294"/>
                    <a:gd name="connsiteX89" fmla="*/ 2145494 w 4501379"/>
                    <a:gd name="connsiteY89" fmla="*/ 38100 h 4429294"/>
                    <a:gd name="connsiteX0" fmla="*/ 2278844 w 4501379"/>
                    <a:gd name="connsiteY0" fmla="*/ 0 h 4429294"/>
                    <a:gd name="connsiteX1" fmla="*/ 2736044 w 4501379"/>
                    <a:gd name="connsiteY1" fmla="*/ 666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2993219 w 4501379"/>
                    <a:gd name="connsiteY4" fmla="*/ 123825 h 4429294"/>
                    <a:gd name="connsiteX5" fmla="*/ 3117044 w 4501379"/>
                    <a:gd name="connsiteY5" fmla="*/ 171450 h 4429294"/>
                    <a:gd name="connsiteX6" fmla="*/ 3155144 w 4501379"/>
                    <a:gd name="connsiteY6" fmla="*/ 190500 h 4429294"/>
                    <a:gd name="connsiteX7" fmla="*/ 3221819 w 4501379"/>
                    <a:gd name="connsiteY7" fmla="*/ 228600 h 4429294"/>
                    <a:gd name="connsiteX8" fmla="*/ 3250394 w 4501379"/>
                    <a:gd name="connsiteY8" fmla="*/ 238125 h 4429294"/>
                    <a:gd name="connsiteX9" fmla="*/ 3278969 w 4501379"/>
                    <a:gd name="connsiteY9" fmla="*/ 257175 h 4429294"/>
                    <a:gd name="connsiteX10" fmla="*/ 3307544 w 4501379"/>
                    <a:gd name="connsiteY10" fmla="*/ 266700 h 4429294"/>
                    <a:gd name="connsiteX11" fmla="*/ 3336119 w 4501379"/>
                    <a:gd name="connsiteY11" fmla="*/ 285750 h 4429294"/>
                    <a:gd name="connsiteX12" fmla="*/ 3402794 w 4501379"/>
                    <a:gd name="connsiteY12" fmla="*/ 323850 h 4429294"/>
                    <a:gd name="connsiteX13" fmla="*/ 3450419 w 4501379"/>
                    <a:gd name="connsiteY13" fmla="*/ 361950 h 4429294"/>
                    <a:gd name="connsiteX14" fmla="*/ 3498044 w 4501379"/>
                    <a:gd name="connsiteY14" fmla="*/ 390525 h 4429294"/>
                    <a:gd name="connsiteX15" fmla="*/ 3612344 w 4501379"/>
                    <a:gd name="connsiteY15" fmla="*/ 485775 h 4429294"/>
                    <a:gd name="connsiteX16" fmla="*/ 3726644 w 4501379"/>
                    <a:gd name="connsiteY16" fmla="*/ 542925 h 4429294"/>
                    <a:gd name="connsiteX17" fmla="*/ 3793319 w 4501379"/>
                    <a:gd name="connsiteY17" fmla="*/ 581025 h 4429294"/>
                    <a:gd name="connsiteX18" fmla="*/ 4009219 w 4501379"/>
                    <a:gd name="connsiteY18" fmla="*/ 819150 h 4429294"/>
                    <a:gd name="connsiteX19" fmla="*/ 4145744 w 4501379"/>
                    <a:gd name="connsiteY19" fmla="*/ 990600 h 4429294"/>
                    <a:gd name="connsiteX20" fmla="*/ 4231469 w 4501379"/>
                    <a:gd name="connsiteY20" fmla="*/ 1143000 h 4429294"/>
                    <a:gd name="connsiteX21" fmla="*/ 4288619 w 4501379"/>
                    <a:gd name="connsiteY21" fmla="*/ 1266825 h 4429294"/>
                    <a:gd name="connsiteX22" fmla="*/ 4326719 w 4501379"/>
                    <a:gd name="connsiteY22" fmla="*/ 1362075 h 4429294"/>
                    <a:gd name="connsiteX23" fmla="*/ 4374344 w 4501379"/>
                    <a:gd name="connsiteY23" fmla="*/ 1552575 h 4429294"/>
                    <a:gd name="connsiteX24" fmla="*/ 4412444 w 4501379"/>
                    <a:gd name="connsiteY24" fmla="*/ 1685925 h 4429294"/>
                    <a:gd name="connsiteX25" fmla="*/ 4501344 w 4501379"/>
                    <a:gd name="connsiteY25" fmla="*/ 2181225 h 4429294"/>
                    <a:gd name="connsiteX26" fmla="*/ 4428319 w 4501379"/>
                    <a:gd name="connsiteY26" fmla="*/ 2768600 h 4429294"/>
                    <a:gd name="connsiteX27" fmla="*/ 4364819 w 4501379"/>
                    <a:gd name="connsiteY27" fmla="*/ 2990850 h 4429294"/>
                    <a:gd name="connsiteX28" fmla="*/ 4260044 w 4501379"/>
                    <a:gd name="connsiteY28" fmla="*/ 3248025 h 4429294"/>
                    <a:gd name="connsiteX29" fmla="*/ 4164794 w 4501379"/>
                    <a:gd name="connsiteY29" fmla="*/ 3400425 h 4429294"/>
                    <a:gd name="connsiteX30" fmla="*/ 4040969 w 4501379"/>
                    <a:gd name="connsiteY30" fmla="*/ 3533775 h 4429294"/>
                    <a:gd name="connsiteX31" fmla="*/ 3936194 w 4501379"/>
                    <a:gd name="connsiteY31" fmla="*/ 3648075 h 4429294"/>
                    <a:gd name="connsiteX32" fmla="*/ 3640919 w 4501379"/>
                    <a:gd name="connsiteY32" fmla="*/ 3971925 h 4429294"/>
                    <a:gd name="connsiteX33" fmla="*/ 3498044 w 4501379"/>
                    <a:gd name="connsiteY33" fmla="*/ 4083050 h 4429294"/>
                    <a:gd name="connsiteX34" fmla="*/ 3202769 w 4501379"/>
                    <a:gd name="connsiteY34" fmla="*/ 4222750 h 4429294"/>
                    <a:gd name="connsiteX35" fmla="*/ 3050369 w 4501379"/>
                    <a:gd name="connsiteY35" fmla="*/ 4286250 h 4429294"/>
                    <a:gd name="connsiteX36" fmla="*/ 2917019 w 4501379"/>
                    <a:gd name="connsiteY36" fmla="*/ 4333875 h 4429294"/>
                    <a:gd name="connsiteX37" fmla="*/ 2793194 w 4501379"/>
                    <a:gd name="connsiteY37" fmla="*/ 4371975 h 4429294"/>
                    <a:gd name="connsiteX38" fmla="*/ 2561419 w 4501379"/>
                    <a:gd name="connsiteY38" fmla="*/ 4391025 h 4429294"/>
                    <a:gd name="connsiteX39" fmla="*/ 2107394 w 4501379"/>
                    <a:gd name="connsiteY39" fmla="*/ 4429125 h 4429294"/>
                    <a:gd name="connsiteX40" fmla="*/ 1916894 w 4501379"/>
                    <a:gd name="connsiteY40" fmla="*/ 4400550 h 4429294"/>
                    <a:gd name="connsiteX41" fmla="*/ 1554944 w 4501379"/>
                    <a:gd name="connsiteY41" fmla="*/ 4305300 h 4429294"/>
                    <a:gd name="connsiteX42" fmla="*/ 1313644 w 4501379"/>
                    <a:gd name="connsiteY42" fmla="*/ 4216400 h 4429294"/>
                    <a:gd name="connsiteX43" fmla="*/ 1145369 w 4501379"/>
                    <a:gd name="connsiteY43" fmla="*/ 4111625 h 4429294"/>
                    <a:gd name="connsiteX44" fmla="*/ 926294 w 4501379"/>
                    <a:gd name="connsiteY44" fmla="*/ 3968750 h 4429294"/>
                    <a:gd name="connsiteX45" fmla="*/ 592919 w 4501379"/>
                    <a:gd name="connsiteY45" fmla="*/ 3657600 h 4429294"/>
                    <a:gd name="connsiteX46" fmla="*/ 446869 w 4501379"/>
                    <a:gd name="connsiteY46" fmla="*/ 3470275 h 4429294"/>
                    <a:gd name="connsiteX47" fmla="*/ 316694 w 4501379"/>
                    <a:gd name="connsiteY47" fmla="*/ 3244850 h 4429294"/>
                    <a:gd name="connsiteX48" fmla="*/ 164294 w 4501379"/>
                    <a:gd name="connsiteY48" fmla="*/ 2892425 h 4429294"/>
                    <a:gd name="connsiteX49" fmla="*/ 56344 w 4501379"/>
                    <a:gd name="connsiteY49" fmla="*/ 2368550 h 4429294"/>
                    <a:gd name="connsiteX50" fmla="*/ 2369 w 4501379"/>
                    <a:gd name="connsiteY50" fmla="*/ 1905000 h 4429294"/>
                    <a:gd name="connsiteX51" fmla="*/ 11894 w 4501379"/>
                    <a:gd name="connsiteY51" fmla="*/ 1838325 h 4429294"/>
                    <a:gd name="connsiteX52" fmla="*/ 30944 w 4501379"/>
                    <a:gd name="connsiteY52" fmla="*/ 1781175 h 4429294"/>
                    <a:gd name="connsiteX53" fmla="*/ 40469 w 4501379"/>
                    <a:gd name="connsiteY53" fmla="*/ 1743075 h 4429294"/>
                    <a:gd name="connsiteX54" fmla="*/ 59519 w 4501379"/>
                    <a:gd name="connsiteY54" fmla="*/ 1685925 h 4429294"/>
                    <a:gd name="connsiteX55" fmla="*/ 69044 w 4501379"/>
                    <a:gd name="connsiteY55" fmla="*/ 1638300 h 4429294"/>
                    <a:gd name="connsiteX56" fmla="*/ 88094 w 4501379"/>
                    <a:gd name="connsiteY56" fmla="*/ 1590675 h 4429294"/>
                    <a:gd name="connsiteX57" fmla="*/ 116669 w 4501379"/>
                    <a:gd name="connsiteY57" fmla="*/ 1504950 h 4429294"/>
                    <a:gd name="connsiteX58" fmla="*/ 135719 w 4501379"/>
                    <a:gd name="connsiteY58" fmla="*/ 1419225 h 4429294"/>
                    <a:gd name="connsiteX59" fmla="*/ 211919 w 4501379"/>
                    <a:gd name="connsiteY59" fmla="*/ 1276350 h 4429294"/>
                    <a:gd name="connsiteX60" fmla="*/ 221444 w 4501379"/>
                    <a:gd name="connsiteY60" fmla="*/ 1247775 h 4429294"/>
                    <a:gd name="connsiteX61" fmla="*/ 250019 w 4501379"/>
                    <a:gd name="connsiteY61" fmla="*/ 1200150 h 4429294"/>
                    <a:gd name="connsiteX62" fmla="*/ 269069 w 4501379"/>
                    <a:gd name="connsiteY62" fmla="*/ 1152525 h 4429294"/>
                    <a:gd name="connsiteX63" fmla="*/ 297644 w 4501379"/>
                    <a:gd name="connsiteY63" fmla="*/ 1114425 h 4429294"/>
                    <a:gd name="connsiteX64" fmla="*/ 345269 w 4501379"/>
                    <a:gd name="connsiteY64" fmla="*/ 1038225 h 4429294"/>
                    <a:gd name="connsiteX65" fmla="*/ 364319 w 4501379"/>
                    <a:gd name="connsiteY65" fmla="*/ 1009650 h 4429294"/>
                    <a:gd name="connsiteX66" fmla="*/ 421469 w 4501379"/>
                    <a:gd name="connsiteY66" fmla="*/ 904875 h 4429294"/>
                    <a:gd name="connsiteX67" fmla="*/ 459569 w 4501379"/>
                    <a:gd name="connsiteY67" fmla="*/ 857250 h 4429294"/>
                    <a:gd name="connsiteX68" fmla="*/ 478619 w 4501379"/>
                    <a:gd name="connsiteY68" fmla="*/ 828675 h 4429294"/>
                    <a:gd name="connsiteX69" fmla="*/ 516719 w 4501379"/>
                    <a:gd name="connsiteY69" fmla="*/ 800100 h 4429294"/>
                    <a:gd name="connsiteX70" fmla="*/ 583394 w 4501379"/>
                    <a:gd name="connsiteY70" fmla="*/ 733425 h 4429294"/>
                    <a:gd name="connsiteX71" fmla="*/ 650069 w 4501379"/>
                    <a:gd name="connsiteY71" fmla="*/ 676275 h 4429294"/>
                    <a:gd name="connsiteX72" fmla="*/ 678644 w 4501379"/>
                    <a:gd name="connsiteY72" fmla="*/ 657225 h 4429294"/>
                    <a:gd name="connsiteX73" fmla="*/ 821519 w 4501379"/>
                    <a:gd name="connsiteY73" fmla="*/ 533400 h 4429294"/>
                    <a:gd name="connsiteX74" fmla="*/ 869144 w 4501379"/>
                    <a:gd name="connsiteY74" fmla="*/ 504825 h 4429294"/>
                    <a:gd name="connsiteX75" fmla="*/ 1148544 w 4501379"/>
                    <a:gd name="connsiteY75" fmla="*/ 311150 h 4429294"/>
                    <a:gd name="connsiteX76" fmla="*/ 1250144 w 4501379"/>
                    <a:gd name="connsiteY76" fmla="*/ 285750 h 4429294"/>
                    <a:gd name="connsiteX77" fmla="*/ 1393019 w 4501379"/>
                    <a:gd name="connsiteY77" fmla="*/ 190500 h 4429294"/>
                    <a:gd name="connsiteX78" fmla="*/ 1431119 w 4501379"/>
                    <a:gd name="connsiteY78" fmla="*/ 161925 h 4429294"/>
                    <a:gd name="connsiteX79" fmla="*/ 1507319 w 4501379"/>
                    <a:gd name="connsiteY79" fmla="*/ 152400 h 4429294"/>
                    <a:gd name="connsiteX80" fmla="*/ 1564469 w 4501379"/>
                    <a:gd name="connsiteY80" fmla="*/ 142875 h 4429294"/>
                    <a:gd name="connsiteX81" fmla="*/ 1697819 w 4501379"/>
                    <a:gd name="connsiteY81" fmla="*/ 123825 h 4429294"/>
                    <a:gd name="connsiteX82" fmla="*/ 1793069 w 4501379"/>
                    <a:gd name="connsiteY82" fmla="*/ 114300 h 4429294"/>
                    <a:gd name="connsiteX83" fmla="*/ 1840694 w 4501379"/>
                    <a:gd name="connsiteY83" fmla="*/ 104775 h 4429294"/>
                    <a:gd name="connsiteX84" fmla="*/ 1897844 w 4501379"/>
                    <a:gd name="connsiteY84" fmla="*/ 95250 h 4429294"/>
                    <a:gd name="connsiteX85" fmla="*/ 2012144 w 4501379"/>
                    <a:gd name="connsiteY85" fmla="*/ 66675 h 4429294"/>
                    <a:gd name="connsiteX86" fmla="*/ 2078819 w 4501379"/>
                    <a:gd name="connsiteY86" fmla="*/ 47625 h 4429294"/>
                    <a:gd name="connsiteX87" fmla="*/ 2145494 w 4501379"/>
                    <a:gd name="connsiteY8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3117044 w 4501379"/>
                    <a:gd name="connsiteY4" fmla="*/ 171450 h 4429294"/>
                    <a:gd name="connsiteX5" fmla="*/ 3155144 w 4501379"/>
                    <a:gd name="connsiteY5" fmla="*/ 190500 h 4429294"/>
                    <a:gd name="connsiteX6" fmla="*/ 3221819 w 4501379"/>
                    <a:gd name="connsiteY6" fmla="*/ 228600 h 4429294"/>
                    <a:gd name="connsiteX7" fmla="*/ 3250394 w 4501379"/>
                    <a:gd name="connsiteY7" fmla="*/ 238125 h 4429294"/>
                    <a:gd name="connsiteX8" fmla="*/ 3278969 w 4501379"/>
                    <a:gd name="connsiteY8" fmla="*/ 257175 h 4429294"/>
                    <a:gd name="connsiteX9" fmla="*/ 3307544 w 4501379"/>
                    <a:gd name="connsiteY9" fmla="*/ 266700 h 4429294"/>
                    <a:gd name="connsiteX10" fmla="*/ 3336119 w 4501379"/>
                    <a:gd name="connsiteY10" fmla="*/ 285750 h 4429294"/>
                    <a:gd name="connsiteX11" fmla="*/ 3402794 w 4501379"/>
                    <a:gd name="connsiteY11" fmla="*/ 323850 h 4429294"/>
                    <a:gd name="connsiteX12" fmla="*/ 3450419 w 4501379"/>
                    <a:gd name="connsiteY12" fmla="*/ 361950 h 4429294"/>
                    <a:gd name="connsiteX13" fmla="*/ 3498044 w 4501379"/>
                    <a:gd name="connsiteY13" fmla="*/ 390525 h 4429294"/>
                    <a:gd name="connsiteX14" fmla="*/ 3612344 w 4501379"/>
                    <a:gd name="connsiteY14" fmla="*/ 485775 h 4429294"/>
                    <a:gd name="connsiteX15" fmla="*/ 3726644 w 4501379"/>
                    <a:gd name="connsiteY15" fmla="*/ 542925 h 4429294"/>
                    <a:gd name="connsiteX16" fmla="*/ 3793319 w 4501379"/>
                    <a:gd name="connsiteY16" fmla="*/ 581025 h 4429294"/>
                    <a:gd name="connsiteX17" fmla="*/ 4009219 w 4501379"/>
                    <a:gd name="connsiteY17" fmla="*/ 819150 h 4429294"/>
                    <a:gd name="connsiteX18" fmla="*/ 4145744 w 4501379"/>
                    <a:gd name="connsiteY18" fmla="*/ 990600 h 4429294"/>
                    <a:gd name="connsiteX19" fmla="*/ 4231469 w 4501379"/>
                    <a:gd name="connsiteY19" fmla="*/ 1143000 h 4429294"/>
                    <a:gd name="connsiteX20" fmla="*/ 4288619 w 4501379"/>
                    <a:gd name="connsiteY20" fmla="*/ 1266825 h 4429294"/>
                    <a:gd name="connsiteX21" fmla="*/ 4326719 w 4501379"/>
                    <a:gd name="connsiteY21" fmla="*/ 1362075 h 4429294"/>
                    <a:gd name="connsiteX22" fmla="*/ 4374344 w 4501379"/>
                    <a:gd name="connsiteY22" fmla="*/ 1552575 h 4429294"/>
                    <a:gd name="connsiteX23" fmla="*/ 4412444 w 4501379"/>
                    <a:gd name="connsiteY23" fmla="*/ 1685925 h 4429294"/>
                    <a:gd name="connsiteX24" fmla="*/ 4501344 w 4501379"/>
                    <a:gd name="connsiteY24" fmla="*/ 2181225 h 4429294"/>
                    <a:gd name="connsiteX25" fmla="*/ 4428319 w 4501379"/>
                    <a:gd name="connsiteY25" fmla="*/ 2768600 h 4429294"/>
                    <a:gd name="connsiteX26" fmla="*/ 4364819 w 4501379"/>
                    <a:gd name="connsiteY26" fmla="*/ 2990850 h 4429294"/>
                    <a:gd name="connsiteX27" fmla="*/ 4260044 w 4501379"/>
                    <a:gd name="connsiteY27" fmla="*/ 3248025 h 4429294"/>
                    <a:gd name="connsiteX28" fmla="*/ 4164794 w 4501379"/>
                    <a:gd name="connsiteY28" fmla="*/ 3400425 h 4429294"/>
                    <a:gd name="connsiteX29" fmla="*/ 4040969 w 4501379"/>
                    <a:gd name="connsiteY29" fmla="*/ 3533775 h 4429294"/>
                    <a:gd name="connsiteX30" fmla="*/ 3936194 w 4501379"/>
                    <a:gd name="connsiteY30" fmla="*/ 3648075 h 4429294"/>
                    <a:gd name="connsiteX31" fmla="*/ 3640919 w 4501379"/>
                    <a:gd name="connsiteY31" fmla="*/ 3971925 h 4429294"/>
                    <a:gd name="connsiteX32" fmla="*/ 3498044 w 4501379"/>
                    <a:gd name="connsiteY32" fmla="*/ 4083050 h 4429294"/>
                    <a:gd name="connsiteX33" fmla="*/ 3202769 w 4501379"/>
                    <a:gd name="connsiteY33" fmla="*/ 4222750 h 4429294"/>
                    <a:gd name="connsiteX34" fmla="*/ 3050369 w 4501379"/>
                    <a:gd name="connsiteY34" fmla="*/ 4286250 h 4429294"/>
                    <a:gd name="connsiteX35" fmla="*/ 2917019 w 4501379"/>
                    <a:gd name="connsiteY35" fmla="*/ 4333875 h 4429294"/>
                    <a:gd name="connsiteX36" fmla="*/ 2793194 w 4501379"/>
                    <a:gd name="connsiteY36" fmla="*/ 4371975 h 4429294"/>
                    <a:gd name="connsiteX37" fmla="*/ 2561419 w 4501379"/>
                    <a:gd name="connsiteY37" fmla="*/ 4391025 h 4429294"/>
                    <a:gd name="connsiteX38" fmla="*/ 2107394 w 4501379"/>
                    <a:gd name="connsiteY38" fmla="*/ 4429125 h 4429294"/>
                    <a:gd name="connsiteX39" fmla="*/ 1916894 w 4501379"/>
                    <a:gd name="connsiteY39" fmla="*/ 4400550 h 4429294"/>
                    <a:gd name="connsiteX40" fmla="*/ 1554944 w 4501379"/>
                    <a:gd name="connsiteY40" fmla="*/ 4305300 h 4429294"/>
                    <a:gd name="connsiteX41" fmla="*/ 1313644 w 4501379"/>
                    <a:gd name="connsiteY41" fmla="*/ 4216400 h 4429294"/>
                    <a:gd name="connsiteX42" fmla="*/ 1145369 w 4501379"/>
                    <a:gd name="connsiteY42" fmla="*/ 4111625 h 4429294"/>
                    <a:gd name="connsiteX43" fmla="*/ 926294 w 4501379"/>
                    <a:gd name="connsiteY43" fmla="*/ 3968750 h 4429294"/>
                    <a:gd name="connsiteX44" fmla="*/ 592919 w 4501379"/>
                    <a:gd name="connsiteY44" fmla="*/ 3657600 h 4429294"/>
                    <a:gd name="connsiteX45" fmla="*/ 446869 w 4501379"/>
                    <a:gd name="connsiteY45" fmla="*/ 3470275 h 4429294"/>
                    <a:gd name="connsiteX46" fmla="*/ 316694 w 4501379"/>
                    <a:gd name="connsiteY46" fmla="*/ 3244850 h 4429294"/>
                    <a:gd name="connsiteX47" fmla="*/ 164294 w 4501379"/>
                    <a:gd name="connsiteY47" fmla="*/ 2892425 h 4429294"/>
                    <a:gd name="connsiteX48" fmla="*/ 56344 w 4501379"/>
                    <a:gd name="connsiteY48" fmla="*/ 2368550 h 4429294"/>
                    <a:gd name="connsiteX49" fmla="*/ 2369 w 4501379"/>
                    <a:gd name="connsiteY49" fmla="*/ 1905000 h 4429294"/>
                    <a:gd name="connsiteX50" fmla="*/ 11894 w 4501379"/>
                    <a:gd name="connsiteY50" fmla="*/ 1838325 h 4429294"/>
                    <a:gd name="connsiteX51" fmla="*/ 30944 w 4501379"/>
                    <a:gd name="connsiteY51" fmla="*/ 1781175 h 4429294"/>
                    <a:gd name="connsiteX52" fmla="*/ 40469 w 4501379"/>
                    <a:gd name="connsiteY52" fmla="*/ 1743075 h 4429294"/>
                    <a:gd name="connsiteX53" fmla="*/ 59519 w 4501379"/>
                    <a:gd name="connsiteY53" fmla="*/ 1685925 h 4429294"/>
                    <a:gd name="connsiteX54" fmla="*/ 69044 w 4501379"/>
                    <a:gd name="connsiteY54" fmla="*/ 1638300 h 4429294"/>
                    <a:gd name="connsiteX55" fmla="*/ 88094 w 4501379"/>
                    <a:gd name="connsiteY55" fmla="*/ 1590675 h 4429294"/>
                    <a:gd name="connsiteX56" fmla="*/ 116669 w 4501379"/>
                    <a:gd name="connsiteY56" fmla="*/ 1504950 h 4429294"/>
                    <a:gd name="connsiteX57" fmla="*/ 135719 w 4501379"/>
                    <a:gd name="connsiteY57" fmla="*/ 1419225 h 4429294"/>
                    <a:gd name="connsiteX58" fmla="*/ 211919 w 4501379"/>
                    <a:gd name="connsiteY58" fmla="*/ 1276350 h 4429294"/>
                    <a:gd name="connsiteX59" fmla="*/ 221444 w 4501379"/>
                    <a:gd name="connsiteY59" fmla="*/ 1247775 h 4429294"/>
                    <a:gd name="connsiteX60" fmla="*/ 250019 w 4501379"/>
                    <a:gd name="connsiteY60" fmla="*/ 1200150 h 4429294"/>
                    <a:gd name="connsiteX61" fmla="*/ 269069 w 4501379"/>
                    <a:gd name="connsiteY61" fmla="*/ 1152525 h 4429294"/>
                    <a:gd name="connsiteX62" fmla="*/ 297644 w 4501379"/>
                    <a:gd name="connsiteY62" fmla="*/ 1114425 h 4429294"/>
                    <a:gd name="connsiteX63" fmla="*/ 345269 w 4501379"/>
                    <a:gd name="connsiteY63" fmla="*/ 1038225 h 4429294"/>
                    <a:gd name="connsiteX64" fmla="*/ 364319 w 4501379"/>
                    <a:gd name="connsiteY64" fmla="*/ 1009650 h 4429294"/>
                    <a:gd name="connsiteX65" fmla="*/ 421469 w 4501379"/>
                    <a:gd name="connsiteY65" fmla="*/ 904875 h 4429294"/>
                    <a:gd name="connsiteX66" fmla="*/ 459569 w 4501379"/>
                    <a:gd name="connsiteY66" fmla="*/ 857250 h 4429294"/>
                    <a:gd name="connsiteX67" fmla="*/ 478619 w 4501379"/>
                    <a:gd name="connsiteY67" fmla="*/ 828675 h 4429294"/>
                    <a:gd name="connsiteX68" fmla="*/ 516719 w 4501379"/>
                    <a:gd name="connsiteY68" fmla="*/ 800100 h 4429294"/>
                    <a:gd name="connsiteX69" fmla="*/ 583394 w 4501379"/>
                    <a:gd name="connsiteY69" fmla="*/ 733425 h 4429294"/>
                    <a:gd name="connsiteX70" fmla="*/ 650069 w 4501379"/>
                    <a:gd name="connsiteY70" fmla="*/ 676275 h 4429294"/>
                    <a:gd name="connsiteX71" fmla="*/ 678644 w 4501379"/>
                    <a:gd name="connsiteY71" fmla="*/ 657225 h 4429294"/>
                    <a:gd name="connsiteX72" fmla="*/ 821519 w 4501379"/>
                    <a:gd name="connsiteY72" fmla="*/ 533400 h 4429294"/>
                    <a:gd name="connsiteX73" fmla="*/ 869144 w 4501379"/>
                    <a:gd name="connsiteY73" fmla="*/ 504825 h 4429294"/>
                    <a:gd name="connsiteX74" fmla="*/ 1148544 w 4501379"/>
                    <a:gd name="connsiteY74" fmla="*/ 311150 h 4429294"/>
                    <a:gd name="connsiteX75" fmla="*/ 1250144 w 4501379"/>
                    <a:gd name="connsiteY75" fmla="*/ 285750 h 4429294"/>
                    <a:gd name="connsiteX76" fmla="*/ 1393019 w 4501379"/>
                    <a:gd name="connsiteY76" fmla="*/ 190500 h 4429294"/>
                    <a:gd name="connsiteX77" fmla="*/ 1431119 w 4501379"/>
                    <a:gd name="connsiteY77" fmla="*/ 161925 h 4429294"/>
                    <a:gd name="connsiteX78" fmla="*/ 1507319 w 4501379"/>
                    <a:gd name="connsiteY78" fmla="*/ 152400 h 4429294"/>
                    <a:gd name="connsiteX79" fmla="*/ 1564469 w 4501379"/>
                    <a:gd name="connsiteY79" fmla="*/ 142875 h 4429294"/>
                    <a:gd name="connsiteX80" fmla="*/ 1697819 w 4501379"/>
                    <a:gd name="connsiteY80" fmla="*/ 123825 h 4429294"/>
                    <a:gd name="connsiteX81" fmla="*/ 1793069 w 4501379"/>
                    <a:gd name="connsiteY81" fmla="*/ 114300 h 4429294"/>
                    <a:gd name="connsiteX82" fmla="*/ 1840694 w 4501379"/>
                    <a:gd name="connsiteY82" fmla="*/ 104775 h 4429294"/>
                    <a:gd name="connsiteX83" fmla="*/ 1897844 w 4501379"/>
                    <a:gd name="connsiteY83" fmla="*/ 95250 h 4429294"/>
                    <a:gd name="connsiteX84" fmla="*/ 2012144 w 4501379"/>
                    <a:gd name="connsiteY84" fmla="*/ 66675 h 4429294"/>
                    <a:gd name="connsiteX85" fmla="*/ 2078819 w 4501379"/>
                    <a:gd name="connsiteY85" fmla="*/ 47625 h 4429294"/>
                    <a:gd name="connsiteX86" fmla="*/ 2145494 w 4501379"/>
                    <a:gd name="connsiteY8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155144 w 4501379"/>
                    <a:gd name="connsiteY4" fmla="*/ 190500 h 4429294"/>
                    <a:gd name="connsiteX5" fmla="*/ 3221819 w 4501379"/>
                    <a:gd name="connsiteY5" fmla="*/ 228600 h 4429294"/>
                    <a:gd name="connsiteX6" fmla="*/ 3250394 w 4501379"/>
                    <a:gd name="connsiteY6" fmla="*/ 238125 h 4429294"/>
                    <a:gd name="connsiteX7" fmla="*/ 3278969 w 4501379"/>
                    <a:gd name="connsiteY7" fmla="*/ 257175 h 4429294"/>
                    <a:gd name="connsiteX8" fmla="*/ 3307544 w 4501379"/>
                    <a:gd name="connsiteY8" fmla="*/ 266700 h 4429294"/>
                    <a:gd name="connsiteX9" fmla="*/ 3336119 w 4501379"/>
                    <a:gd name="connsiteY9" fmla="*/ 285750 h 4429294"/>
                    <a:gd name="connsiteX10" fmla="*/ 3402794 w 4501379"/>
                    <a:gd name="connsiteY10" fmla="*/ 323850 h 4429294"/>
                    <a:gd name="connsiteX11" fmla="*/ 3450419 w 4501379"/>
                    <a:gd name="connsiteY11" fmla="*/ 361950 h 4429294"/>
                    <a:gd name="connsiteX12" fmla="*/ 3498044 w 4501379"/>
                    <a:gd name="connsiteY12" fmla="*/ 390525 h 4429294"/>
                    <a:gd name="connsiteX13" fmla="*/ 3612344 w 4501379"/>
                    <a:gd name="connsiteY13" fmla="*/ 485775 h 4429294"/>
                    <a:gd name="connsiteX14" fmla="*/ 3726644 w 4501379"/>
                    <a:gd name="connsiteY14" fmla="*/ 542925 h 4429294"/>
                    <a:gd name="connsiteX15" fmla="*/ 3793319 w 4501379"/>
                    <a:gd name="connsiteY15" fmla="*/ 581025 h 4429294"/>
                    <a:gd name="connsiteX16" fmla="*/ 4009219 w 4501379"/>
                    <a:gd name="connsiteY16" fmla="*/ 819150 h 4429294"/>
                    <a:gd name="connsiteX17" fmla="*/ 4145744 w 4501379"/>
                    <a:gd name="connsiteY17" fmla="*/ 990600 h 4429294"/>
                    <a:gd name="connsiteX18" fmla="*/ 4231469 w 4501379"/>
                    <a:gd name="connsiteY18" fmla="*/ 1143000 h 4429294"/>
                    <a:gd name="connsiteX19" fmla="*/ 4288619 w 4501379"/>
                    <a:gd name="connsiteY19" fmla="*/ 1266825 h 4429294"/>
                    <a:gd name="connsiteX20" fmla="*/ 4326719 w 4501379"/>
                    <a:gd name="connsiteY20" fmla="*/ 1362075 h 4429294"/>
                    <a:gd name="connsiteX21" fmla="*/ 4374344 w 4501379"/>
                    <a:gd name="connsiteY21" fmla="*/ 1552575 h 4429294"/>
                    <a:gd name="connsiteX22" fmla="*/ 4412444 w 4501379"/>
                    <a:gd name="connsiteY22" fmla="*/ 1685925 h 4429294"/>
                    <a:gd name="connsiteX23" fmla="*/ 4501344 w 4501379"/>
                    <a:gd name="connsiteY23" fmla="*/ 2181225 h 4429294"/>
                    <a:gd name="connsiteX24" fmla="*/ 4428319 w 4501379"/>
                    <a:gd name="connsiteY24" fmla="*/ 2768600 h 4429294"/>
                    <a:gd name="connsiteX25" fmla="*/ 4364819 w 4501379"/>
                    <a:gd name="connsiteY25" fmla="*/ 2990850 h 4429294"/>
                    <a:gd name="connsiteX26" fmla="*/ 4260044 w 4501379"/>
                    <a:gd name="connsiteY26" fmla="*/ 3248025 h 4429294"/>
                    <a:gd name="connsiteX27" fmla="*/ 4164794 w 4501379"/>
                    <a:gd name="connsiteY27" fmla="*/ 3400425 h 4429294"/>
                    <a:gd name="connsiteX28" fmla="*/ 4040969 w 4501379"/>
                    <a:gd name="connsiteY28" fmla="*/ 3533775 h 4429294"/>
                    <a:gd name="connsiteX29" fmla="*/ 3936194 w 4501379"/>
                    <a:gd name="connsiteY29" fmla="*/ 3648075 h 4429294"/>
                    <a:gd name="connsiteX30" fmla="*/ 3640919 w 4501379"/>
                    <a:gd name="connsiteY30" fmla="*/ 3971925 h 4429294"/>
                    <a:gd name="connsiteX31" fmla="*/ 3498044 w 4501379"/>
                    <a:gd name="connsiteY31" fmla="*/ 4083050 h 4429294"/>
                    <a:gd name="connsiteX32" fmla="*/ 3202769 w 4501379"/>
                    <a:gd name="connsiteY32" fmla="*/ 4222750 h 4429294"/>
                    <a:gd name="connsiteX33" fmla="*/ 3050369 w 4501379"/>
                    <a:gd name="connsiteY33" fmla="*/ 4286250 h 4429294"/>
                    <a:gd name="connsiteX34" fmla="*/ 2917019 w 4501379"/>
                    <a:gd name="connsiteY34" fmla="*/ 4333875 h 4429294"/>
                    <a:gd name="connsiteX35" fmla="*/ 2793194 w 4501379"/>
                    <a:gd name="connsiteY35" fmla="*/ 4371975 h 4429294"/>
                    <a:gd name="connsiteX36" fmla="*/ 2561419 w 4501379"/>
                    <a:gd name="connsiteY36" fmla="*/ 4391025 h 4429294"/>
                    <a:gd name="connsiteX37" fmla="*/ 2107394 w 4501379"/>
                    <a:gd name="connsiteY37" fmla="*/ 4429125 h 4429294"/>
                    <a:gd name="connsiteX38" fmla="*/ 1916894 w 4501379"/>
                    <a:gd name="connsiteY38" fmla="*/ 4400550 h 4429294"/>
                    <a:gd name="connsiteX39" fmla="*/ 1554944 w 4501379"/>
                    <a:gd name="connsiteY39" fmla="*/ 4305300 h 4429294"/>
                    <a:gd name="connsiteX40" fmla="*/ 1313644 w 4501379"/>
                    <a:gd name="connsiteY40" fmla="*/ 4216400 h 4429294"/>
                    <a:gd name="connsiteX41" fmla="*/ 1145369 w 4501379"/>
                    <a:gd name="connsiteY41" fmla="*/ 4111625 h 4429294"/>
                    <a:gd name="connsiteX42" fmla="*/ 926294 w 4501379"/>
                    <a:gd name="connsiteY42" fmla="*/ 3968750 h 4429294"/>
                    <a:gd name="connsiteX43" fmla="*/ 592919 w 4501379"/>
                    <a:gd name="connsiteY43" fmla="*/ 3657600 h 4429294"/>
                    <a:gd name="connsiteX44" fmla="*/ 446869 w 4501379"/>
                    <a:gd name="connsiteY44" fmla="*/ 3470275 h 4429294"/>
                    <a:gd name="connsiteX45" fmla="*/ 316694 w 4501379"/>
                    <a:gd name="connsiteY45" fmla="*/ 3244850 h 4429294"/>
                    <a:gd name="connsiteX46" fmla="*/ 164294 w 4501379"/>
                    <a:gd name="connsiteY46" fmla="*/ 2892425 h 4429294"/>
                    <a:gd name="connsiteX47" fmla="*/ 56344 w 4501379"/>
                    <a:gd name="connsiteY47" fmla="*/ 2368550 h 4429294"/>
                    <a:gd name="connsiteX48" fmla="*/ 2369 w 4501379"/>
                    <a:gd name="connsiteY48" fmla="*/ 1905000 h 4429294"/>
                    <a:gd name="connsiteX49" fmla="*/ 11894 w 4501379"/>
                    <a:gd name="connsiteY49" fmla="*/ 1838325 h 4429294"/>
                    <a:gd name="connsiteX50" fmla="*/ 30944 w 4501379"/>
                    <a:gd name="connsiteY50" fmla="*/ 1781175 h 4429294"/>
                    <a:gd name="connsiteX51" fmla="*/ 40469 w 4501379"/>
                    <a:gd name="connsiteY51" fmla="*/ 1743075 h 4429294"/>
                    <a:gd name="connsiteX52" fmla="*/ 59519 w 4501379"/>
                    <a:gd name="connsiteY52" fmla="*/ 1685925 h 4429294"/>
                    <a:gd name="connsiteX53" fmla="*/ 69044 w 4501379"/>
                    <a:gd name="connsiteY53" fmla="*/ 1638300 h 4429294"/>
                    <a:gd name="connsiteX54" fmla="*/ 88094 w 4501379"/>
                    <a:gd name="connsiteY54" fmla="*/ 1590675 h 4429294"/>
                    <a:gd name="connsiteX55" fmla="*/ 116669 w 4501379"/>
                    <a:gd name="connsiteY55" fmla="*/ 1504950 h 4429294"/>
                    <a:gd name="connsiteX56" fmla="*/ 135719 w 4501379"/>
                    <a:gd name="connsiteY56" fmla="*/ 1419225 h 4429294"/>
                    <a:gd name="connsiteX57" fmla="*/ 211919 w 4501379"/>
                    <a:gd name="connsiteY57" fmla="*/ 1276350 h 4429294"/>
                    <a:gd name="connsiteX58" fmla="*/ 221444 w 4501379"/>
                    <a:gd name="connsiteY58" fmla="*/ 1247775 h 4429294"/>
                    <a:gd name="connsiteX59" fmla="*/ 250019 w 4501379"/>
                    <a:gd name="connsiteY59" fmla="*/ 1200150 h 4429294"/>
                    <a:gd name="connsiteX60" fmla="*/ 269069 w 4501379"/>
                    <a:gd name="connsiteY60" fmla="*/ 1152525 h 4429294"/>
                    <a:gd name="connsiteX61" fmla="*/ 297644 w 4501379"/>
                    <a:gd name="connsiteY61" fmla="*/ 1114425 h 4429294"/>
                    <a:gd name="connsiteX62" fmla="*/ 345269 w 4501379"/>
                    <a:gd name="connsiteY62" fmla="*/ 1038225 h 4429294"/>
                    <a:gd name="connsiteX63" fmla="*/ 364319 w 4501379"/>
                    <a:gd name="connsiteY63" fmla="*/ 1009650 h 4429294"/>
                    <a:gd name="connsiteX64" fmla="*/ 421469 w 4501379"/>
                    <a:gd name="connsiteY64" fmla="*/ 904875 h 4429294"/>
                    <a:gd name="connsiteX65" fmla="*/ 459569 w 4501379"/>
                    <a:gd name="connsiteY65" fmla="*/ 857250 h 4429294"/>
                    <a:gd name="connsiteX66" fmla="*/ 478619 w 4501379"/>
                    <a:gd name="connsiteY66" fmla="*/ 828675 h 4429294"/>
                    <a:gd name="connsiteX67" fmla="*/ 516719 w 4501379"/>
                    <a:gd name="connsiteY67" fmla="*/ 800100 h 4429294"/>
                    <a:gd name="connsiteX68" fmla="*/ 583394 w 4501379"/>
                    <a:gd name="connsiteY68" fmla="*/ 733425 h 4429294"/>
                    <a:gd name="connsiteX69" fmla="*/ 650069 w 4501379"/>
                    <a:gd name="connsiteY69" fmla="*/ 676275 h 4429294"/>
                    <a:gd name="connsiteX70" fmla="*/ 678644 w 4501379"/>
                    <a:gd name="connsiteY70" fmla="*/ 657225 h 4429294"/>
                    <a:gd name="connsiteX71" fmla="*/ 821519 w 4501379"/>
                    <a:gd name="connsiteY71" fmla="*/ 533400 h 4429294"/>
                    <a:gd name="connsiteX72" fmla="*/ 869144 w 4501379"/>
                    <a:gd name="connsiteY72" fmla="*/ 504825 h 4429294"/>
                    <a:gd name="connsiteX73" fmla="*/ 1148544 w 4501379"/>
                    <a:gd name="connsiteY73" fmla="*/ 311150 h 4429294"/>
                    <a:gd name="connsiteX74" fmla="*/ 1250144 w 4501379"/>
                    <a:gd name="connsiteY74" fmla="*/ 285750 h 4429294"/>
                    <a:gd name="connsiteX75" fmla="*/ 1393019 w 4501379"/>
                    <a:gd name="connsiteY75" fmla="*/ 190500 h 4429294"/>
                    <a:gd name="connsiteX76" fmla="*/ 1431119 w 4501379"/>
                    <a:gd name="connsiteY76" fmla="*/ 161925 h 4429294"/>
                    <a:gd name="connsiteX77" fmla="*/ 1507319 w 4501379"/>
                    <a:gd name="connsiteY77" fmla="*/ 152400 h 4429294"/>
                    <a:gd name="connsiteX78" fmla="*/ 1564469 w 4501379"/>
                    <a:gd name="connsiteY78" fmla="*/ 142875 h 4429294"/>
                    <a:gd name="connsiteX79" fmla="*/ 1697819 w 4501379"/>
                    <a:gd name="connsiteY79" fmla="*/ 123825 h 4429294"/>
                    <a:gd name="connsiteX80" fmla="*/ 1793069 w 4501379"/>
                    <a:gd name="connsiteY80" fmla="*/ 114300 h 4429294"/>
                    <a:gd name="connsiteX81" fmla="*/ 1840694 w 4501379"/>
                    <a:gd name="connsiteY81" fmla="*/ 104775 h 4429294"/>
                    <a:gd name="connsiteX82" fmla="*/ 1897844 w 4501379"/>
                    <a:gd name="connsiteY82" fmla="*/ 95250 h 4429294"/>
                    <a:gd name="connsiteX83" fmla="*/ 2012144 w 4501379"/>
                    <a:gd name="connsiteY83" fmla="*/ 66675 h 4429294"/>
                    <a:gd name="connsiteX84" fmla="*/ 2078819 w 4501379"/>
                    <a:gd name="connsiteY84" fmla="*/ 47625 h 4429294"/>
                    <a:gd name="connsiteX85" fmla="*/ 2145494 w 4501379"/>
                    <a:gd name="connsiteY8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278969 w 4501379"/>
                    <a:gd name="connsiteY6" fmla="*/ 257175 h 4429294"/>
                    <a:gd name="connsiteX7" fmla="*/ 3307544 w 4501379"/>
                    <a:gd name="connsiteY7" fmla="*/ 266700 h 4429294"/>
                    <a:gd name="connsiteX8" fmla="*/ 3336119 w 4501379"/>
                    <a:gd name="connsiteY8" fmla="*/ 285750 h 4429294"/>
                    <a:gd name="connsiteX9" fmla="*/ 3402794 w 4501379"/>
                    <a:gd name="connsiteY9" fmla="*/ 323850 h 4429294"/>
                    <a:gd name="connsiteX10" fmla="*/ 3450419 w 4501379"/>
                    <a:gd name="connsiteY10" fmla="*/ 361950 h 4429294"/>
                    <a:gd name="connsiteX11" fmla="*/ 3498044 w 4501379"/>
                    <a:gd name="connsiteY11" fmla="*/ 390525 h 4429294"/>
                    <a:gd name="connsiteX12" fmla="*/ 3612344 w 4501379"/>
                    <a:gd name="connsiteY12" fmla="*/ 485775 h 4429294"/>
                    <a:gd name="connsiteX13" fmla="*/ 3726644 w 4501379"/>
                    <a:gd name="connsiteY13" fmla="*/ 542925 h 4429294"/>
                    <a:gd name="connsiteX14" fmla="*/ 3793319 w 4501379"/>
                    <a:gd name="connsiteY14" fmla="*/ 581025 h 4429294"/>
                    <a:gd name="connsiteX15" fmla="*/ 4009219 w 4501379"/>
                    <a:gd name="connsiteY15" fmla="*/ 819150 h 4429294"/>
                    <a:gd name="connsiteX16" fmla="*/ 4145744 w 4501379"/>
                    <a:gd name="connsiteY16" fmla="*/ 990600 h 4429294"/>
                    <a:gd name="connsiteX17" fmla="*/ 4231469 w 4501379"/>
                    <a:gd name="connsiteY17" fmla="*/ 1143000 h 4429294"/>
                    <a:gd name="connsiteX18" fmla="*/ 4288619 w 4501379"/>
                    <a:gd name="connsiteY18" fmla="*/ 1266825 h 4429294"/>
                    <a:gd name="connsiteX19" fmla="*/ 4326719 w 4501379"/>
                    <a:gd name="connsiteY19" fmla="*/ 1362075 h 4429294"/>
                    <a:gd name="connsiteX20" fmla="*/ 4374344 w 4501379"/>
                    <a:gd name="connsiteY20" fmla="*/ 1552575 h 4429294"/>
                    <a:gd name="connsiteX21" fmla="*/ 4412444 w 4501379"/>
                    <a:gd name="connsiteY21" fmla="*/ 1685925 h 4429294"/>
                    <a:gd name="connsiteX22" fmla="*/ 4501344 w 4501379"/>
                    <a:gd name="connsiteY22" fmla="*/ 2181225 h 4429294"/>
                    <a:gd name="connsiteX23" fmla="*/ 4428319 w 4501379"/>
                    <a:gd name="connsiteY23" fmla="*/ 2768600 h 4429294"/>
                    <a:gd name="connsiteX24" fmla="*/ 4364819 w 4501379"/>
                    <a:gd name="connsiteY24" fmla="*/ 2990850 h 4429294"/>
                    <a:gd name="connsiteX25" fmla="*/ 4260044 w 4501379"/>
                    <a:gd name="connsiteY25" fmla="*/ 3248025 h 4429294"/>
                    <a:gd name="connsiteX26" fmla="*/ 4164794 w 4501379"/>
                    <a:gd name="connsiteY26" fmla="*/ 3400425 h 4429294"/>
                    <a:gd name="connsiteX27" fmla="*/ 4040969 w 4501379"/>
                    <a:gd name="connsiteY27" fmla="*/ 3533775 h 4429294"/>
                    <a:gd name="connsiteX28" fmla="*/ 3936194 w 4501379"/>
                    <a:gd name="connsiteY28" fmla="*/ 3648075 h 4429294"/>
                    <a:gd name="connsiteX29" fmla="*/ 3640919 w 4501379"/>
                    <a:gd name="connsiteY29" fmla="*/ 3971925 h 4429294"/>
                    <a:gd name="connsiteX30" fmla="*/ 3498044 w 4501379"/>
                    <a:gd name="connsiteY30" fmla="*/ 4083050 h 4429294"/>
                    <a:gd name="connsiteX31" fmla="*/ 3202769 w 4501379"/>
                    <a:gd name="connsiteY31" fmla="*/ 4222750 h 4429294"/>
                    <a:gd name="connsiteX32" fmla="*/ 3050369 w 4501379"/>
                    <a:gd name="connsiteY32" fmla="*/ 4286250 h 4429294"/>
                    <a:gd name="connsiteX33" fmla="*/ 2917019 w 4501379"/>
                    <a:gd name="connsiteY33" fmla="*/ 4333875 h 4429294"/>
                    <a:gd name="connsiteX34" fmla="*/ 2793194 w 4501379"/>
                    <a:gd name="connsiteY34" fmla="*/ 4371975 h 4429294"/>
                    <a:gd name="connsiteX35" fmla="*/ 2561419 w 4501379"/>
                    <a:gd name="connsiteY35" fmla="*/ 4391025 h 4429294"/>
                    <a:gd name="connsiteX36" fmla="*/ 2107394 w 4501379"/>
                    <a:gd name="connsiteY36" fmla="*/ 4429125 h 4429294"/>
                    <a:gd name="connsiteX37" fmla="*/ 1916894 w 4501379"/>
                    <a:gd name="connsiteY37" fmla="*/ 4400550 h 4429294"/>
                    <a:gd name="connsiteX38" fmla="*/ 1554944 w 4501379"/>
                    <a:gd name="connsiteY38" fmla="*/ 4305300 h 4429294"/>
                    <a:gd name="connsiteX39" fmla="*/ 1313644 w 4501379"/>
                    <a:gd name="connsiteY39" fmla="*/ 4216400 h 4429294"/>
                    <a:gd name="connsiteX40" fmla="*/ 1145369 w 4501379"/>
                    <a:gd name="connsiteY40" fmla="*/ 4111625 h 4429294"/>
                    <a:gd name="connsiteX41" fmla="*/ 926294 w 4501379"/>
                    <a:gd name="connsiteY41" fmla="*/ 3968750 h 4429294"/>
                    <a:gd name="connsiteX42" fmla="*/ 592919 w 4501379"/>
                    <a:gd name="connsiteY42" fmla="*/ 3657600 h 4429294"/>
                    <a:gd name="connsiteX43" fmla="*/ 446869 w 4501379"/>
                    <a:gd name="connsiteY43" fmla="*/ 3470275 h 4429294"/>
                    <a:gd name="connsiteX44" fmla="*/ 316694 w 4501379"/>
                    <a:gd name="connsiteY44" fmla="*/ 3244850 h 4429294"/>
                    <a:gd name="connsiteX45" fmla="*/ 164294 w 4501379"/>
                    <a:gd name="connsiteY45" fmla="*/ 2892425 h 4429294"/>
                    <a:gd name="connsiteX46" fmla="*/ 56344 w 4501379"/>
                    <a:gd name="connsiteY46" fmla="*/ 2368550 h 4429294"/>
                    <a:gd name="connsiteX47" fmla="*/ 2369 w 4501379"/>
                    <a:gd name="connsiteY47" fmla="*/ 1905000 h 4429294"/>
                    <a:gd name="connsiteX48" fmla="*/ 11894 w 4501379"/>
                    <a:gd name="connsiteY48" fmla="*/ 1838325 h 4429294"/>
                    <a:gd name="connsiteX49" fmla="*/ 30944 w 4501379"/>
                    <a:gd name="connsiteY49" fmla="*/ 1781175 h 4429294"/>
                    <a:gd name="connsiteX50" fmla="*/ 40469 w 4501379"/>
                    <a:gd name="connsiteY50" fmla="*/ 1743075 h 4429294"/>
                    <a:gd name="connsiteX51" fmla="*/ 59519 w 4501379"/>
                    <a:gd name="connsiteY51" fmla="*/ 1685925 h 4429294"/>
                    <a:gd name="connsiteX52" fmla="*/ 69044 w 4501379"/>
                    <a:gd name="connsiteY52" fmla="*/ 1638300 h 4429294"/>
                    <a:gd name="connsiteX53" fmla="*/ 88094 w 4501379"/>
                    <a:gd name="connsiteY53" fmla="*/ 1590675 h 4429294"/>
                    <a:gd name="connsiteX54" fmla="*/ 116669 w 4501379"/>
                    <a:gd name="connsiteY54" fmla="*/ 1504950 h 4429294"/>
                    <a:gd name="connsiteX55" fmla="*/ 135719 w 4501379"/>
                    <a:gd name="connsiteY55" fmla="*/ 1419225 h 4429294"/>
                    <a:gd name="connsiteX56" fmla="*/ 211919 w 4501379"/>
                    <a:gd name="connsiteY56" fmla="*/ 1276350 h 4429294"/>
                    <a:gd name="connsiteX57" fmla="*/ 221444 w 4501379"/>
                    <a:gd name="connsiteY57" fmla="*/ 1247775 h 4429294"/>
                    <a:gd name="connsiteX58" fmla="*/ 250019 w 4501379"/>
                    <a:gd name="connsiteY58" fmla="*/ 1200150 h 4429294"/>
                    <a:gd name="connsiteX59" fmla="*/ 269069 w 4501379"/>
                    <a:gd name="connsiteY59" fmla="*/ 1152525 h 4429294"/>
                    <a:gd name="connsiteX60" fmla="*/ 297644 w 4501379"/>
                    <a:gd name="connsiteY60" fmla="*/ 1114425 h 4429294"/>
                    <a:gd name="connsiteX61" fmla="*/ 345269 w 4501379"/>
                    <a:gd name="connsiteY61" fmla="*/ 1038225 h 4429294"/>
                    <a:gd name="connsiteX62" fmla="*/ 364319 w 4501379"/>
                    <a:gd name="connsiteY62" fmla="*/ 1009650 h 4429294"/>
                    <a:gd name="connsiteX63" fmla="*/ 421469 w 4501379"/>
                    <a:gd name="connsiteY63" fmla="*/ 904875 h 4429294"/>
                    <a:gd name="connsiteX64" fmla="*/ 459569 w 4501379"/>
                    <a:gd name="connsiteY64" fmla="*/ 857250 h 4429294"/>
                    <a:gd name="connsiteX65" fmla="*/ 478619 w 4501379"/>
                    <a:gd name="connsiteY65" fmla="*/ 828675 h 4429294"/>
                    <a:gd name="connsiteX66" fmla="*/ 516719 w 4501379"/>
                    <a:gd name="connsiteY66" fmla="*/ 800100 h 4429294"/>
                    <a:gd name="connsiteX67" fmla="*/ 583394 w 4501379"/>
                    <a:gd name="connsiteY67" fmla="*/ 733425 h 4429294"/>
                    <a:gd name="connsiteX68" fmla="*/ 650069 w 4501379"/>
                    <a:gd name="connsiteY68" fmla="*/ 676275 h 4429294"/>
                    <a:gd name="connsiteX69" fmla="*/ 678644 w 4501379"/>
                    <a:gd name="connsiteY69" fmla="*/ 657225 h 4429294"/>
                    <a:gd name="connsiteX70" fmla="*/ 821519 w 4501379"/>
                    <a:gd name="connsiteY70" fmla="*/ 533400 h 4429294"/>
                    <a:gd name="connsiteX71" fmla="*/ 869144 w 4501379"/>
                    <a:gd name="connsiteY71" fmla="*/ 504825 h 4429294"/>
                    <a:gd name="connsiteX72" fmla="*/ 1148544 w 4501379"/>
                    <a:gd name="connsiteY72" fmla="*/ 311150 h 4429294"/>
                    <a:gd name="connsiteX73" fmla="*/ 1250144 w 4501379"/>
                    <a:gd name="connsiteY73" fmla="*/ 285750 h 4429294"/>
                    <a:gd name="connsiteX74" fmla="*/ 1393019 w 4501379"/>
                    <a:gd name="connsiteY74" fmla="*/ 190500 h 4429294"/>
                    <a:gd name="connsiteX75" fmla="*/ 1431119 w 4501379"/>
                    <a:gd name="connsiteY75" fmla="*/ 161925 h 4429294"/>
                    <a:gd name="connsiteX76" fmla="*/ 1507319 w 4501379"/>
                    <a:gd name="connsiteY76" fmla="*/ 152400 h 4429294"/>
                    <a:gd name="connsiteX77" fmla="*/ 1564469 w 4501379"/>
                    <a:gd name="connsiteY77" fmla="*/ 142875 h 4429294"/>
                    <a:gd name="connsiteX78" fmla="*/ 1697819 w 4501379"/>
                    <a:gd name="connsiteY78" fmla="*/ 123825 h 4429294"/>
                    <a:gd name="connsiteX79" fmla="*/ 1793069 w 4501379"/>
                    <a:gd name="connsiteY79" fmla="*/ 114300 h 4429294"/>
                    <a:gd name="connsiteX80" fmla="*/ 1840694 w 4501379"/>
                    <a:gd name="connsiteY80" fmla="*/ 104775 h 4429294"/>
                    <a:gd name="connsiteX81" fmla="*/ 1897844 w 4501379"/>
                    <a:gd name="connsiteY81" fmla="*/ 95250 h 4429294"/>
                    <a:gd name="connsiteX82" fmla="*/ 2012144 w 4501379"/>
                    <a:gd name="connsiteY82" fmla="*/ 66675 h 4429294"/>
                    <a:gd name="connsiteX83" fmla="*/ 2078819 w 4501379"/>
                    <a:gd name="connsiteY83" fmla="*/ 47625 h 4429294"/>
                    <a:gd name="connsiteX84" fmla="*/ 2145494 w 4501379"/>
                    <a:gd name="connsiteY8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336119 w 4501379"/>
                    <a:gd name="connsiteY7" fmla="*/ 285750 h 4429294"/>
                    <a:gd name="connsiteX8" fmla="*/ 3402794 w 4501379"/>
                    <a:gd name="connsiteY8" fmla="*/ 323850 h 4429294"/>
                    <a:gd name="connsiteX9" fmla="*/ 3450419 w 4501379"/>
                    <a:gd name="connsiteY9" fmla="*/ 361950 h 4429294"/>
                    <a:gd name="connsiteX10" fmla="*/ 3498044 w 4501379"/>
                    <a:gd name="connsiteY10" fmla="*/ 390525 h 4429294"/>
                    <a:gd name="connsiteX11" fmla="*/ 3612344 w 4501379"/>
                    <a:gd name="connsiteY11" fmla="*/ 485775 h 4429294"/>
                    <a:gd name="connsiteX12" fmla="*/ 3726644 w 4501379"/>
                    <a:gd name="connsiteY12" fmla="*/ 542925 h 4429294"/>
                    <a:gd name="connsiteX13" fmla="*/ 3793319 w 4501379"/>
                    <a:gd name="connsiteY13" fmla="*/ 581025 h 4429294"/>
                    <a:gd name="connsiteX14" fmla="*/ 4009219 w 4501379"/>
                    <a:gd name="connsiteY14" fmla="*/ 819150 h 4429294"/>
                    <a:gd name="connsiteX15" fmla="*/ 4145744 w 4501379"/>
                    <a:gd name="connsiteY15" fmla="*/ 990600 h 4429294"/>
                    <a:gd name="connsiteX16" fmla="*/ 4231469 w 4501379"/>
                    <a:gd name="connsiteY16" fmla="*/ 1143000 h 4429294"/>
                    <a:gd name="connsiteX17" fmla="*/ 4288619 w 4501379"/>
                    <a:gd name="connsiteY17" fmla="*/ 1266825 h 4429294"/>
                    <a:gd name="connsiteX18" fmla="*/ 4326719 w 4501379"/>
                    <a:gd name="connsiteY18" fmla="*/ 1362075 h 4429294"/>
                    <a:gd name="connsiteX19" fmla="*/ 4374344 w 4501379"/>
                    <a:gd name="connsiteY19" fmla="*/ 1552575 h 4429294"/>
                    <a:gd name="connsiteX20" fmla="*/ 4412444 w 4501379"/>
                    <a:gd name="connsiteY20" fmla="*/ 1685925 h 4429294"/>
                    <a:gd name="connsiteX21" fmla="*/ 4501344 w 4501379"/>
                    <a:gd name="connsiteY21" fmla="*/ 2181225 h 4429294"/>
                    <a:gd name="connsiteX22" fmla="*/ 4428319 w 4501379"/>
                    <a:gd name="connsiteY22" fmla="*/ 2768600 h 4429294"/>
                    <a:gd name="connsiteX23" fmla="*/ 4364819 w 4501379"/>
                    <a:gd name="connsiteY23" fmla="*/ 2990850 h 4429294"/>
                    <a:gd name="connsiteX24" fmla="*/ 4260044 w 4501379"/>
                    <a:gd name="connsiteY24" fmla="*/ 3248025 h 4429294"/>
                    <a:gd name="connsiteX25" fmla="*/ 4164794 w 4501379"/>
                    <a:gd name="connsiteY25" fmla="*/ 3400425 h 4429294"/>
                    <a:gd name="connsiteX26" fmla="*/ 4040969 w 4501379"/>
                    <a:gd name="connsiteY26" fmla="*/ 3533775 h 4429294"/>
                    <a:gd name="connsiteX27" fmla="*/ 3936194 w 4501379"/>
                    <a:gd name="connsiteY27" fmla="*/ 3648075 h 4429294"/>
                    <a:gd name="connsiteX28" fmla="*/ 3640919 w 4501379"/>
                    <a:gd name="connsiteY28" fmla="*/ 3971925 h 4429294"/>
                    <a:gd name="connsiteX29" fmla="*/ 3498044 w 4501379"/>
                    <a:gd name="connsiteY29" fmla="*/ 4083050 h 4429294"/>
                    <a:gd name="connsiteX30" fmla="*/ 3202769 w 4501379"/>
                    <a:gd name="connsiteY30" fmla="*/ 4222750 h 4429294"/>
                    <a:gd name="connsiteX31" fmla="*/ 3050369 w 4501379"/>
                    <a:gd name="connsiteY31" fmla="*/ 4286250 h 4429294"/>
                    <a:gd name="connsiteX32" fmla="*/ 2917019 w 4501379"/>
                    <a:gd name="connsiteY32" fmla="*/ 4333875 h 4429294"/>
                    <a:gd name="connsiteX33" fmla="*/ 2793194 w 4501379"/>
                    <a:gd name="connsiteY33" fmla="*/ 4371975 h 4429294"/>
                    <a:gd name="connsiteX34" fmla="*/ 2561419 w 4501379"/>
                    <a:gd name="connsiteY34" fmla="*/ 4391025 h 4429294"/>
                    <a:gd name="connsiteX35" fmla="*/ 2107394 w 4501379"/>
                    <a:gd name="connsiteY35" fmla="*/ 4429125 h 4429294"/>
                    <a:gd name="connsiteX36" fmla="*/ 1916894 w 4501379"/>
                    <a:gd name="connsiteY36" fmla="*/ 4400550 h 4429294"/>
                    <a:gd name="connsiteX37" fmla="*/ 1554944 w 4501379"/>
                    <a:gd name="connsiteY37" fmla="*/ 4305300 h 4429294"/>
                    <a:gd name="connsiteX38" fmla="*/ 1313644 w 4501379"/>
                    <a:gd name="connsiteY38" fmla="*/ 4216400 h 4429294"/>
                    <a:gd name="connsiteX39" fmla="*/ 1145369 w 4501379"/>
                    <a:gd name="connsiteY39" fmla="*/ 4111625 h 4429294"/>
                    <a:gd name="connsiteX40" fmla="*/ 926294 w 4501379"/>
                    <a:gd name="connsiteY40" fmla="*/ 3968750 h 4429294"/>
                    <a:gd name="connsiteX41" fmla="*/ 592919 w 4501379"/>
                    <a:gd name="connsiteY41" fmla="*/ 3657600 h 4429294"/>
                    <a:gd name="connsiteX42" fmla="*/ 446869 w 4501379"/>
                    <a:gd name="connsiteY42" fmla="*/ 3470275 h 4429294"/>
                    <a:gd name="connsiteX43" fmla="*/ 316694 w 4501379"/>
                    <a:gd name="connsiteY43" fmla="*/ 3244850 h 4429294"/>
                    <a:gd name="connsiteX44" fmla="*/ 164294 w 4501379"/>
                    <a:gd name="connsiteY44" fmla="*/ 2892425 h 4429294"/>
                    <a:gd name="connsiteX45" fmla="*/ 56344 w 4501379"/>
                    <a:gd name="connsiteY45" fmla="*/ 2368550 h 4429294"/>
                    <a:gd name="connsiteX46" fmla="*/ 2369 w 4501379"/>
                    <a:gd name="connsiteY46" fmla="*/ 1905000 h 4429294"/>
                    <a:gd name="connsiteX47" fmla="*/ 11894 w 4501379"/>
                    <a:gd name="connsiteY47" fmla="*/ 1838325 h 4429294"/>
                    <a:gd name="connsiteX48" fmla="*/ 30944 w 4501379"/>
                    <a:gd name="connsiteY48" fmla="*/ 1781175 h 4429294"/>
                    <a:gd name="connsiteX49" fmla="*/ 40469 w 4501379"/>
                    <a:gd name="connsiteY49" fmla="*/ 1743075 h 4429294"/>
                    <a:gd name="connsiteX50" fmla="*/ 59519 w 4501379"/>
                    <a:gd name="connsiteY50" fmla="*/ 1685925 h 4429294"/>
                    <a:gd name="connsiteX51" fmla="*/ 69044 w 4501379"/>
                    <a:gd name="connsiteY51" fmla="*/ 1638300 h 4429294"/>
                    <a:gd name="connsiteX52" fmla="*/ 88094 w 4501379"/>
                    <a:gd name="connsiteY52" fmla="*/ 1590675 h 4429294"/>
                    <a:gd name="connsiteX53" fmla="*/ 116669 w 4501379"/>
                    <a:gd name="connsiteY53" fmla="*/ 1504950 h 4429294"/>
                    <a:gd name="connsiteX54" fmla="*/ 135719 w 4501379"/>
                    <a:gd name="connsiteY54" fmla="*/ 1419225 h 4429294"/>
                    <a:gd name="connsiteX55" fmla="*/ 211919 w 4501379"/>
                    <a:gd name="connsiteY55" fmla="*/ 1276350 h 4429294"/>
                    <a:gd name="connsiteX56" fmla="*/ 221444 w 4501379"/>
                    <a:gd name="connsiteY56" fmla="*/ 1247775 h 4429294"/>
                    <a:gd name="connsiteX57" fmla="*/ 250019 w 4501379"/>
                    <a:gd name="connsiteY57" fmla="*/ 1200150 h 4429294"/>
                    <a:gd name="connsiteX58" fmla="*/ 269069 w 4501379"/>
                    <a:gd name="connsiteY58" fmla="*/ 1152525 h 4429294"/>
                    <a:gd name="connsiteX59" fmla="*/ 297644 w 4501379"/>
                    <a:gd name="connsiteY59" fmla="*/ 1114425 h 4429294"/>
                    <a:gd name="connsiteX60" fmla="*/ 345269 w 4501379"/>
                    <a:gd name="connsiteY60" fmla="*/ 1038225 h 4429294"/>
                    <a:gd name="connsiteX61" fmla="*/ 364319 w 4501379"/>
                    <a:gd name="connsiteY61" fmla="*/ 1009650 h 4429294"/>
                    <a:gd name="connsiteX62" fmla="*/ 421469 w 4501379"/>
                    <a:gd name="connsiteY62" fmla="*/ 904875 h 4429294"/>
                    <a:gd name="connsiteX63" fmla="*/ 459569 w 4501379"/>
                    <a:gd name="connsiteY63" fmla="*/ 857250 h 4429294"/>
                    <a:gd name="connsiteX64" fmla="*/ 478619 w 4501379"/>
                    <a:gd name="connsiteY64" fmla="*/ 828675 h 4429294"/>
                    <a:gd name="connsiteX65" fmla="*/ 516719 w 4501379"/>
                    <a:gd name="connsiteY65" fmla="*/ 800100 h 4429294"/>
                    <a:gd name="connsiteX66" fmla="*/ 583394 w 4501379"/>
                    <a:gd name="connsiteY66" fmla="*/ 733425 h 4429294"/>
                    <a:gd name="connsiteX67" fmla="*/ 650069 w 4501379"/>
                    <a:gd name="connsiteY67" fmla="*/ 676275 h 4429294"/>
                    <a:gd name="connsiteX68" fmla="*/ 678644 w 4501379"/>
                    <a:gd name="connsiteY68" fmla="*/ 657225 h 4429294"/>
                    <a:gd name="connsiteX69" fmla="*/ 821519 w 4501379"/>
                    <a:gd name="connsiteY69" fmla="*/ 533400 h 4429294"/>
                    <a:gd name="connsiteX70" fmla="*/ 869144 w 4501379"/>
                    <a:gd name="connsiteY70" fmla="*/ 504825 h 4429294"/>
                    <a:gd name="connsiteX71" fmla="*/ 1148544 w 4501379"/>
                    <a:gd name="connsiteY71" fmla="*/ 311150 h 4429294"/>
                    <a:gd name="connsiteX72" fmla="*/ 1250144 w 4501379"/>
                    <a:gd name="connsiteY72" fmla="*/ 285750 h 4429294"/>
                    <a:gd name="connsiteX73" fmla="*/ 1393019 w 4501379"/>
                    <a:gd name="connsiteY73" fmla="*/ 190500 h 4429294"/>
                    <a:gd name="connsiteX74" fmla="*/ 1431119 w 4501379"/>
                    <a:gd name="connsiteY74" fmla="*/ 161925 h 4429294"/>
                    <a:gd name="connsiteX75" fmla="*/ 1507319 w 4501379"/>
                    <a:gd name="connsiteY75" fmla="*/ 152400 h 4429294"/>
                    <a:gd name="connsiteX76" fmla="*/ 1564469 w 4501379"/>
                    <a:gd name="connsiteY76" fmla="*/ 142875 h 4429294"/>
                    <a:gd name="connsiteX77" fmla="*/ 1697819 w 4501379"/>
                    <a:gd name="connsiteY77" fmla="*/ 123825 h 4429294"/>
                    <a:gd name="connsiteX78" fmla="*/ 1793069 w 4501379"/>
                    <a:gd name="connsiteY78" fmla="*/ 114300 h 4429294"/>
                    <a:gd name="connsiteX79" fmla="*/ 1840694 w 4501379"/>
                    <a:gd name="connsiteY79" fmla="*/ 104775 h 4429294"/>
                    <a:gd name="connsiteX80" fmla="*/ 1897844 w 4501379"/>
                    <a:gd name="connsiteY80" fmla="*/ 95250 h 4429294"/>
                    <a:gd name="connsiteX81" fmla="*/ 2012144 w 4501379"/>
                    <a:gd name="connsiteY81" fmla="*/ 66675 h 4429294"/>
                    <a:gd name="connsiteX82" fmla="*/ 2078819 w 4501379"/>
                    <a:gd name="connsiteY82" fmla="*/ 47625 h 4429294"/>
                    <a:gd name="connsiteX83" fmla="*/ 2145494 w 4501379"/>
                    <a:gd name="connsiteY8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402794 w 4501379"/>
                    <a:gd name="connsiteY7" fmla="*/ 323850 h 4429294"/>
                    <a:gd name="connsiteX8" fmla="*/ 3450419 w 4501379"/>
                    <a:gd name="connsiteY8" fmla="*/ 361950 h 4429294"/>
                    <a:gd name="connsiteX9" fmla="*/ 3498044 w 4501379"/>
                    <a:gd name="connsiteY9" fmla="*/ 390525 h 4429294"/>
                    <a:gd name="connsiteX10" fmla="*/ 3612344 w 4501379"/>
                    <a:gd name="connsiteY10" fmla="*/ 485775 h 4429294"/>
                    <a:gd name="connsiteX11" fmla="*/ 3726644 w 4501379"/>
                    <a:gd name="connsiteY11" fmla="*/ 542925 h 4429294"/>
                    <a:gd name="connsiteX12" fmla="*/ 3793319 w 4501379"/>
                    <a:gd name="connsiteY12" fmla="*/ 581025 h 4429294"/>
                    <a:gd name="connsiteX13" fmla="*/ 4009219 w 4501379"/>
                    <a:gd name="connsiteY13" fmla="*/ 819150 h 4429294"/>
                    <a:gd name="connsiteX14" fmla="*/ 4145744 w 4501379"/>
                    <a:gd name="connsiteY14" fmla="*/ 990600 h 4429294"/>
                    <a:gd name="connsiteX15" fmla="*/ 4231469 w 4501379"/>
                    <a:gd name="connsiteY15" fmla="*/ 1143000 h 4429294"/>
                    <a:gd name="connsiteX16" fmla="*/ 4288619 w 4501379"/>
                    <a:gd name="connsiteY16" fmla="*/ 1266825 h 4429294"/>
                    <a:gd name="connsiteX17" fmla="*/ 4326719 w 4501379"/>
                    <a:gd name="connsiteY17" fmla="*/ 1362075 h 4429294"/>
                    <a:gd name="connsiteX18" fmla="*/ 4374344 w 4501379"/>
                    <a:gd name="connsiteY18" fmla="*/ 1552575 h 4429294"/>
                    <a:gd name="connsiteX19" fmla="*/ 4412444 w 4501379"/>
                    <a:gd name="connsiteY19" fmla="*/ 1685925 h 4429294"/>
                    <a:gd name="connsiteX20" fmla="*/ 4501344 w 4501379"/>
                    <a:gd name="connsiteY20" fmla="*/ 2181225 h 4429294"/>
                    <a:gd name="connsiteX21" fmla="*/ 4428319 w 4501379"/>
                    <a:gd name="connsiteY21" fmla="*/ 2768600 h 4429294"/>
                    <a:gd name="connsiteX22" fmla="*/ 4364819 w 4501379"/>
                    <a:gd name="connsiteY22" fmla="*/ 2990850 h 4429294"/>
                    <a:gd name="connsiteX23" fmla="*/ 4260044 w 4501379"/>
                    <a:gd name="connsiteY23" fmla="*/ 3248025 h 4429294"/>
                    <a:gd name="connsiteX24" fmla="*/ 4164794 w 4501379"/>
                    <a:gd name="connsiteY24" fmla="*/ 3400425 h 4429294"/>
                    <a:gd name="connsiteX25" fmla="*/ 4040969 w 4501379"/>
                    <a:gd name="connsiteY25" fmla="*/ 3533775 h 4429294"/>
                    <a:gd name="connsiteX26" fmla="*/ 3936194 w 4501379"/>
                    <a:gd name="connsiteY26" fmla="*/ 3648075 h 4429294"/>
                    <a:gd name="connsiteX27" fmla="*/ 3640919 w 4501379"/>
                    <a:gd name="connsiteY27" fmla="*/ 3971925 h 4429294"/>
                    <a:gd name="connsiteX28" fmla="*/ 3498044 w 4501379"/>
                    <a:gd name="connsiteY28" fmla="*/ 4083050 h 4429294"/>
                    <a:gd name="connsiteX29" fmla="*/ 3202769 w 4501379"/>
                    <a:gd name="connsiteY29" fmla="*/ 4222750 h 4429294"/>
                    <a:gd name="connsiteX30" fmla="*/ 3050369 w 4501379"/>
                    <a:gd name="connsiteY30" fmla="*/ 4286250 h 4429294"/>
                    <a:gd name="connsiteX31" fmla="*/ 2917019 w 4501379"/>
                    <a:gd name="connsiteY31" fmla="*/ 4333875 h 4429294"/>
                    <a:gd name="connsiteX32" fmla="*/ 2793194 w 4501379"/>
                    <a:gd name="connsiteY32" fmla="*/ 4371975 h 4429294"/>
                    <a:gd name="connsiteX33" fmla="*/ 2561419 w 4501379"/>
                    <a:gd name="connsiteY33" fmla="*/ 4391025 h 4429294"/>
                    <a:gd name="connsiteX34" fmla="*/ 2107394 w 4501379"/>
                    <a:gd name="connsiteY34" fmla="*/ 4429125 h 4429294"/>
                    <a:gd name="connsiteX35" fmla="*/ 1916894 w 4501379"/>
                    <a:gd name="connsiteY35" fmla="*/ 4400550 h 4429294"/>
                    <a:gd name="connsiteX36" fmla="*/ 1554944 w 4501379"/>
                    <a:gd name="connsiteY36" fmla="*/ 4305300 h 4429294"/>
                    <a:gd name="connsiteX37" fmla="*/ 1313644 w 4501379"/>
                    <a:gd name="connsiteY37" fmla="*/ 4216400 h 4429294"/>
                    <a:gd name="connsiteX38" fmla="*/ 1145369 w 4501379"/>
                    <a:gd name="connsiteY38" fmla="*/ 4111625 h 4429294"/>
                    <a:gd name="connsiteX39" fmla="*/ 926294 w 4501379"/>
                    <a:gd name="connsiteY39" fmla="*/ 3968750 h 4429294"/>
                    <a:gd name="connsiteX40" fmla="*/ 592919 w 4501379"/>
                    <a:gd name="connsiteY40" fmla="*/ 3657600 h 4429294"/>
                    <a:gd name="connsiteX41" fmla="*/ 446869 w 4501379"/>
                    <a:gd name="connsiteY41" fmla="*/ 3470275 h 4429294"/>
                    <a:gd name="connsiteX42" fmla="*/ 316694 w 4501379"/>
                    <a:gd name="connsiteY42" fmla="*/ 3244850 h 4429294"/>
                    <a:gd name="connsiteX43" fmla="*/ 164294 w 4501379"/>
                    <a:gd name="connsiteY43" fmla="*/ 2892425 h 4429294"/>
                    <a:gd name="connsiteX44" fmla="*/ 56344 w 4501379"/>
                    <a:gd name="connsiteY44" fmla="*/ 2368550 h 4429294"/>
                    <a:gd name="connsiteX45" fmla="*/ 2369 w 4501379"/>
                    <a:gd name="connsiteY45" fmla="*/ 1905000 h 4429294"/>
                    <a:gd name="connsiteX46" fmla="*/ 11894 w 4501379"/>
                    <a:gd name="connsiteY46" fmla="*/ 1838325 h 4429294"/>
                    <a:gd name="connsiteX47" fmla="*/ 30944 w 4501379"/>
                    <a:gd name="connsiteY47" fmla="*/ 1781175 h 4429294"/>
                    <a:gd name="connsiteX48" fmla="*/ 40469 w 4501379"/>
                    <a:gd name="connsiteY48" fmla="*/ 1743075 h 4429294"/>
                    <a:gd name="connsiteX49" fmla="*/ 59519 w 4501379"/>
                    <a:gd name="connsiteY49" fmla="*/ 1685925 h 4429294"/>
                    <a:gd name="connsiteX50" fmla="*/ 69044 w 4501379"/>
                    <a:gd name="connsiteY50" fmla="*/ 1638300 h 4429294"/>
                    <a:gd name="connsiteX51" fmla="*/ 88094 w 4501379"/>
                    <a:gd name="connsiteY51" fmla="*/ 1590675 h 4429294"/>
                    <a:gd name="connsiteX52" fmla="*/ 116669 w 4501379"/>
                    <a:gd name="connsiteY52" fmla="*/ 1504950 h 4429294"/>
                    <a:gd name="connsiteX53" fmla="*/ 135719 w 4501379"/>
                    <a:gd name="connsiteY53" fmla="*/ 1419225 h 4429294"/>
                    <a:gd name="connsiteX54" fmla="*/ 211919 w 4501379"/>
                    <a:gd name="connsiteY54" fmla="*/ 1276350 h 4429294"/>
                    <a:gd name="connsiteX55" fmla="*/ 221444 w 4501379"/>
                    <a:gd name="connsiteY55" fmla="*/ 1247775 h 4429294"/>
                    <a:gd name="connsiteX56" fmla="*/ 250019 w 4501379"/>
                    <a:gd name="connsiteY56" fmla="*/ 1200150 h 4429294"/>
                    <a:gd name="connsiteX57" fmla="*/ 269069 w 4501379"/>
                    <a:gd name="connsiteY57" fmla="*/ 1152525 h 4429294"/>
                    <a:gd name="connsiteX58" fmla="*/ 297644 w 4501379"/>
                    <a:gd name="connsiteY58" fmla="*/ 1114425 h 4429294"/>
                    <a:gd name="connsiteX59" fmla="*/ 345269 w 4501379"/>
                    <a:gd name="connsiteY59" fmla="*/ 1038225 h 4429294"/>
                    <a:gd name="connsiteX60" fmla="*/ 364319 w 4501379"/>
                    <a:gd name="connsiteY60" fmla="*/ 1009650 h 4429294"/>
                    <a:gd name="connsiteX61" fmla="*/ 421469 w 4501379"/>
                    <a:gd name="connsiteY61" fmla="*/ 904875 h 4429294"/>
                    <a:gd name="connsiteX62" fmla="*/ 459569 w 4501379"/>
                    <a:gd name="connsiteY62" fmla="*/ 857250 h 4429294"/>
                    <a:gd name="connsiteX63" fmla="*/ 478619 w 4501379"/>
                    <a:gd name="connsiteY63" fmla="*/ 828675 h 4429294"/>
                    <a:gd name="connsiteX64" fmla="*/ 516719 w 4501379"/>
                    <a:gd name="connsiteY64" fmla="*/ 800100 h 4429294"/>
                    <a:gd name="connsiteX65" fmla="*/ 583394 w 4501379"/>
                    <a:gd name="connsiteY65" fmla="*/ 733425 h 4429294"/>
                    <a:gd name="connsiteX66" fmla="*/ 650069 w 4501379"/>
                    <a:gd name="connsiteY66" fmla="*/ 676275 h 4429294"/>
                    <a:gd name="connsiteX67" fmla="*/ 678644 w 4501379"/>
                    <a:gd name="connsiteY67" fmla="*/ 657225 h 4429294"/>
                    <a:gd name="connsiteX68" fmla="*/ 821519 w 4501379"/>
                    <a:gd name="connsiteY68" fmla="*/ 533400 h 4429294"/>
                    <a:gd name="connsiteX69" fmla="*/ 869144 w 4501379"/>
                    <a:gd name="connsiteY69" fmla="*/ 504825 h 4429294"/>
                    <a:gd name="connsiteX70" fmla="*/ 1148544 w 4501379"/>
                    <a:gd name="connsiteY70" fmla="*/ 311150 h 4429294"/>
                    <a:gd name="connsiteX71" fmla="*/ 1250144 w 4501379"/>
                    <a:gd name="connsiteY71" fmla="*/ 285750 h 4429294"/>
                    <a:gd name="connsiteX72" fmla="*/ 1393019 w 4501379"/>
                    <a:gd name="connsiteY72" fmla="*/ 190500 h 4429294"/>
                    <a:gd name="connsiteX73" fmla="*/ 1431119 w 4501379"/>
                    <a:gd name="connsiteY73" fmla="*/ 161925 h 4429294"/>
                    <a:gd name="connsiteX74" fmla="*/ 1507319 w 4501379"/>
                    <a:gd name="connsiteY74" fmla="*/ 152400 h 4429294"/>
                    <a:gd name="connsiteX75" fmla="*/ 1564469 w 4501379"/>
                    <a:gd name="connsiteY75" fmla="*/ 142875 h 4429294"/>
                    <a:gd name="connsiteX76" fmla="*/ 1697819 w 4501379"/>
                    <a:gd name="connsiteY76" fmla="*/ 123825 h 4429294"/>
                    <a:gd name="connsiteX77" fmla="*/ 1793069 w 4501379"/>
                    <a:gd name="connsiteY77" fmla="*/ 114300 h 4429294"/>
                    <a:gd name="connsiteX78" fmla="*/ 1840694 w 4501379"/>
                    <a:gd name="connsiteY78" fmla="*/ 104775 h 4429294"/>
                    <a:gd name="connsiteX79" fmla="*/ 1897844 w 4501379"/>
                    <a:gd name="connsiteY79" fmla="*/ 95250 h 4429294"/>
                    <a:gd name="connsiteX80" fmla="*/ 2012144 w 4501379"/>
                    <a:gd name="connsiteY80" fmla="*/ 66675 h 4429294"/>
                    <a:gd name="connsiteX81" fmla="*/ 2078819 w 4501379"/>
                    <a:gd name="connsiteY81" fmla="*/ 47625 h 4429294"/>
                    <a:gd name="connsiteX82" fmla="*/ 2145494 w 4501379"/>
                    <a:gd name="connsiteY8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307544 w 4501379"/>
                    <a:gd name="connsiteY5" fmla="*/ 266700 h 4429294"/>
                    <a:gd name="connsiteX6" fmla="*/ 3402794 w 4501379"/>
                    <a:gd name="connsiteY6" fmla="*/ 323850 h 4429294"/>
                    <a:gd name="connsiteX7" fmla="*/ 3450419 w 4501379"/>
                    <a:gd name="connsiteY7" fmla="*/ 361950 h 4429294"/>
                    <a:gd name="connsiteX8" fmla="*/ 3498044 w 4501379"/>
                    <a:gd name="connsiteY8" fmla="*/ 390525 h 4429294"/>
                    <a:gd name="connsiteX9" fmla="*/ 3612344 w 4501379"/>
                    <a:gd name="connsiteY9" fmla="*/ 485775 h 4429294"/>
                    <a:gd name="connsiteX10" fmla="*/ 3726644 w 4501379"/>
                    <a:gd name="connsiteY10" fmla="*/ 542925 h 4429294"/>
                    <a:gd name="connsiteX11" fmla="*/ 3793319 w 4501379"/>
                    <a:gd name="connsiteY11" fmla="*/ 581025 h 4429294"/>
                    <a:gd name="connsiteX12" fmla="*/ 4009219 w 4501379"/>
                    <a:gd name="connsiteY12" fmla="*/ 819150 h 4429294"/>
                    <a:gd name="connsiteX13" fmla="*/ 4145744 w 4501379"/>
                    <a:gd name="connsiteY13" fmla="*/ 990600 h 4429294"/>
                    <a:gd name="connsiteX14" fmla="*/ 4231469 w 4501379"/>
                    <a:gd name="connsiteY14" fmla="*/ 1143000 h 4429294"/>
                    <a:gd name="connsiteX15" fmla="*/ 4288619 w 4501379"/>
                    <a:gd name="connsiteY15" fmla="*/ 1266825 h 4429294"/>
                    <a:gd name="connsiteX16" fmla="*/ 4326719 w 4501379"/>
                    <a:gd name="connsiteY16" fmla="*/ 1362075 h 4429294"/>
                    <a:gd name="connsiteX17" fmla="*/ 4374344 w 4501379"/>
                    <a:gd name="connsiteY17" fmla="*/ 1552575 h 4429294"/>
                    <a:gd name="connsiteX18" fmla="*/ 4412444 w 4501379"/>
                    <a:gd name="connsiteY18" fmla="*/ 1685925 h 4429294"/>
                    <a:gd name="connsiteX19" fmla="*/ 4501344 w 4501379"/>
                    <a:gd name="connsiteY19" fmla="*/ 2181225 h 4429294"/>
                    <a:gd name="connsiteX20" fmla="*/ 4428319 w 4501379"/>
                    <a:gd name="connsiteY20" fmla="*/ 2768600 h 4429294"/>
                    <a:gd name="connsiteX21" fmla="*/ 4364819 w 4501379"/>
                    <a:gd name="connsiteY21" fmla="*/ 2990850 h 4429294"/>
                    <a:gd name="connsiteX22" fmla="*/ 4260044 w 4501379"/>
                    <a:gd name="connsiteY22" fmla="*/ 3248025 h 4429294"/>
                    <a:gd name="connsiteX23" fmla="*/ 4164794 w 4501379"/>
                    <a:gd name="connsiteY23" fmla="*/ 3400425 h 4429294"/>
                    <a:gd name="connsiteX24" fmla="*/ 4040969 w 4501379"/>
                    <a:gd name="connsiteY24" fmla="*/ 3533775 h 4429294"/>
                    <a:gd name="connsiteX25" fmla="*/ 3936194 w 4501379"/>
                    <a:gd name="connsiteY25" fmla="*/ 3648075 h 4429294"/>
                    <a:gd name="connsiteX26" fmla="*/ 3640919 w 4501379"/>
                    <a:gd name="connsiteY26" fmla="*/ 3971925 h 4429294"/>
                    <a:gd name="connsiteX27" fmla="*/ 3498044 w 4501379"/>
                    <a:gd name="connsiteY27" fmla="*/ 4083050 h 4429294"/>
                    <a:gd name="connsiteX28" fmla="*/ 3202769 w 4501379"/>
                    <a:gd name="connsiteY28" fmla="*/ 4222750 h 4429294"/>
                    <a:gd name="connsiteX29" fmla="*/ 3050369 w 4501379"/>
                    <a:gd name="connsiteY29" fmla="*/ 4286250 h 4429294"/>
                    <a:gd name="connsiteX30" fmla="*/ 2917019 w 4501379"/>
                    <a:gd name="connsiteY30" fmla="*/ 4333875 h 4429294"/>
                    <a:gd name="connsiteX31" fmla="*/ 2793194 w 4501379"/>
                    <a:gd name="connsiteY31" fmla="*/ 4371975 h 4429294"/>
                    <a:gd name="connsiteX32" fmla="*/ 2561419 w 4501379"/>
                    <a:gd name="connsiteY32" fmla="*/ 4391025 h 4429294"/>
                    <a:gd name="connsiteX33" fmla="*/ 2107394 w 4501379"/>
                    <a:gd name="connsiteY33" fmla="*/ 4429125 h 4429294"/>
                    <a:gd name="connsiteX34" fmla="*/ 1916894 w 4501379"/>
                    <a:gd name="connsiteY34" fmla="*/ 4400550 h 4429294"/>
                    <a:gd name="connsiteX35" fmla="*/ 1554944 w 4501379"/>
                    <a:gd name="connsiteY35" fmla="*/ 4305300 h 4429294"/>
                    <a:gd name="connsiteX36" fmla="*/ 1313644 w 4501379"/>
                    <a:gd name="connsiteY36" fmla="*/ 4216400 h 4429294"/>
                    <a:gd name="connsiteX37" fmla="*/ 1145369 w 4501379"/>
                    <a:gd name="connsiteY37" fmla="*/ 4111625 h 4429294"/>
                    <a:gd name="connsiteX38" fmla="*/ 926294 w 4501379"/>
                    <a:gd name="connsiteY38" fmla="*/ 3968750 h 4429294"/>
                    <a:gd name="connsiteX39" fmla="*/ 592919 w 4501379"/>
                    <a:gd name="connsiteY39" fmla="*/ 3657600 h 4429294"/>
                    <a:gd name="connsiteX40" fmla="*/ 446869 w 4501379"/>
                    <a:gd name="connsiteY40" fmla="*/ 3470275 h 4429294"/>
                    <a:gd name="connsiteX41" fmla="*/ 316694 w 4501379"/>
                    <a:gd name="connsiteY41" fmla="*/ 3244850 h 4429294"/>
                    <a:gd name="connsiteX42" fmla="*/ 164294 w 4501379"/>
                    <a:gd name="connsiteY42" fmla="*/ 2892425 h 4429294"/>
                    <a:gd name="connsiteX43" fmla="*/ 56344 w 4501379"/>
                    <a:gd name="connsiteY43" fmla="*/ 2368550 h 4429294"/>
                    <a:gd name="connsiteX44" fmla="*/ 2369 w 4501379"/>
                    <a:gd name="connsiteY44" fmla="*/ 1905000 h 4429294"/>
                    <a:gd name="connsiteX45" fmla="*/ 11894 w 4501379"/>
                    <a:gd name="connsiteY45" fmla="*/ 1838325 h 4429294"/>
                    <a:gd name="connsiteX46" fmla="*/ 30944 w 4501379"/>
                    <a:gd name="connsiteY46" fmla="*/ 1781175 h 4429294"/>
                    <a:gd name="connsiteX47" fmla="*/ 40469 w 4501379"/>
                    <a:gd name="connsiteY47" fmla="*/ 1743075 h 4429294"/>
                    <a:gd name="connsiteX48" fmla="*/ 59519 w 4501379"/>
                    <a:gd name="connsiteY48" fmla="*/ 1685925 h 4429294"/>
                    <a:gd name="connsiteX49" fmla="*/ 69044 w 4501379"/>
                    <a:gd name="connsiteY49" fmla="*/ 1638300 h 4429294"/>
                    <a:gd name="connsiteX50" fmla="*/ 88094 w 4501379"/>
                    <a:gd name="connsiteY50" fmla="*/ 1590675 h 4429294"/>
                    <a:gd name="connsiteX51" fmla="*/ 116669 w 4501379"/>
                    <a:gd name="connsiteY51" fmla="*/ 1504950 h 4429294"/>
                    <a:gd name="connsiteX52" fmla="*/ 135719 w 4501379"/>
                    <a:gd name="connsiteY52" fmla="*/ 1419225 h 4429294"/>
                    <a:gd name="connsiteX53" fmla="*/ 211919 w 4501379"/>
                    <a:gd name="connsiteY53" fmla="*/ 1276350 h 4429294"/>
                    <a:gd name="connsiteX54" fmla="*/ 221444 w 4501379"/>
                    <a:gd name="connsiteY54" fmla="*/ 1247775 h 4429294"/>
                    <a:gd name="connsiteX55" fmla="*/ 250019 w 4501379"/>
                    <a:gd name="connsiteY55" fmla="*/ 1200150 h 4429294"/>
                    <a:gd name="connsiteX56" fmla="*/ 269069 w 4501379"/>
                    <a:gd name="connsiteY56" fmla="*/ 1152525 h 4429294"/>
                    <a:gd name="connsiteX57" fmla="*/ 297644 w 4501379"/>
                    <a:gd name="connsiteY57" fmla="*/ 1114425 h 4429294"/>
                    <a:gd name="connsiteX58" fmla="*/ 345269 w 4501379"/>
                    <a:gd name="connsiteY58" fmla="*/ 1038225 h 4429294"/>
                    <a:gd name="connsiteX59" fmla="*/ 364319 w 4501379"/>
                    <a:gd name="connsiteY59" fmla="*/ 1009650 h 4429294"/>
                    <a:gd name="connsiteX60" fmla="*/ 421469 w 4501379"/>
                    <a:gd name="connsiteY60" fmla="*/ 904875 h 4429294"/>
                    <a:gd name="connsiteX61" fmla="*/ 459569 w 4501379"/>
                    <a:gd name="connsiteY61" fmla="*/ 857250 h 4429294"/>
                    <a:gd name="connsiteX62" fmla="*/ 478619 w 4501379"/>
                    <a:gd name="connsiteY62" fmla="*/ 828675 h 4429294"/>
                    <a:gd name="connsiteX63" fmla="*/ 516719 w 4501379"/>
                    <a:gd name="connsiteY63" fmla="*/ 800100 h 4429294"/>
                    <a:gd name="connsiteX64" fmla="*/ 583394 w 4501379"/>
                    <a:gd name="connsiteY64" fmla="*/ 733425 h 4429294"/>
                    <a:gd name="connsiteX65" fmla="*/ 650069 w 4501379"/>
                    <a:gd name="connsiteY65" fmla="*/ 676275 h 4429294"/>
                    <a:gd name="connsiteX66" fmla="*/ 678644 w 4501379"/>
                    <a:gd name="connsiteY66" fmla="*/ 657225 h 4429294"/>
                    <a:gd name="connsiteX67" fmla="*/ 821519 w 4501379"/>
                    <a:gd name="connsiteY67" fmla="*/ 533400 h 4429294"/>
                    <a:gd name="connsiteX68" fmla="*/ 869144 w 4501379"/>
                    <a:gd name="connsiteY68" fmla="*/ 504825 h 4429294"/>
                    <a:gd name="connsiteX69" fmla="*/ 1148544 w 4501379"/>
                    <a:gd name="connsiteY69" fmla="*/ 311150 h 4429294"/>
                    <a:gd name="connsiteX70" fmla="*/ 1250144 w 4501379"/>
                    <a:gd name="connsiteY70" fmla="*/ 285750 h 4429294"/>
                    <a:gd name="connsiteX71" fmla="*/ 1393019 w 4501379"/>
                    <a:gd name="connsiteY71" fmla="*/ 190500 h 4429294"/>
                    <a:gd name="connsiteX72" fmla="*/ 1431119 w 4501379"/>
                    <a:gd name="connsiteY72" fmla="*/ 161925 h 4429294"/>
                    <a:gd name="connsiteX73" fmla="*/ 1507319 w 4501379"/>
                    <a:gd name="connsiteY73" fmla="*/ 152400 h 4429294"/>
                    <a:gd name="connsiteX74" fmla="*/ 1564469 w 4501379"/>
                    <a:gd name="connsiteY74" fmla="*/ 142875 h 4429294"/>
                    <a:gd name="connsiteX75" fmla="*/ 1697819 w 4501379"/>
                    <a:gd name="connsiteY75" fmla="*/ 123825 h 4429294"/>
                    <a:gd name="connsiteX76" fmla="*/ 1793069 w 4501379"/>
                    <a:gd name="connsiteY76" fmla="*/ 114300 h 4429294"/>
                    <a:gd name="connsiteX77" fmla="*/ 1840694 w 4501379"/>
                    <a:gd name="connsiteY77" fmla="*/ 104775 h 4429294"/>
                    <a:gd name="connsiteX78" fmla="*/ 1897844 w 4501379"/>
                    <a:gd name="connsiteY78" fmla="*/ 95250 h 4429294"/>
                    <a:gd name="connsiteX79" fmla="*/ 2012144 w 4501379"/>
                    <a:gd name="connsiteY79" fmla="*/ 66675 h 4429294"/>
                    <a:gd name="connsiteX80" fmla="*/ 2078819 w 4501379"/>
                    <a:gd name="connsiteY80" fmla="*/ 47625 h 4429294"/>
                    <a:gd name="connsiteX81" fmla="*/ 2145494 w 4501379"/>
                    <a:gd name="connsiteY8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498044 w 4501379"/>
                    <a:gd name="connsiteY7" fmla="*/ 390525 h 4429294"/>
                    <a:gd name="connsiteX8" fmla="*/ 3612344 w 4501379"/>
                    <a:gd name="connsiteY8" fmla="*/ 485775 h 4429294"/>
                    <a:gd name="connsiteX9" fmla="*/ 3726644 w 4501379"/>
                    <a:gd name="connsiteY9" fmla="*/ 542925 h 4429294"/>
                    <a:gd name="connsiteX10" fmla="*/ 3793319 w 4501379"/>
                    <a:gd name="connsiteY10" fmla="*/ 581025 h 4429294"/>
                    <a:gd name="connsiteX11" fmla="*/ 4009219 w 4501379"/>
                    <a:gd name="connsiteY11" fmla="*/ 819150 h 4429294"/>
                    <a:gd name="connsiteX12" fmla="*/ 4145744 w 4501379"/>
                    <a:gd name="connsiteY12" fmla="*/ 990600 h 4429294"/>
                    <a:gd name="connsiteX13" fmla="*/ 4231469 w 4501379"/>
                    <a:gd name="connsiteY13" fmla="*/ 1143000 h 4429294"/>
                    <a:gd name="connsiteX14" fmla="*/ 4288619 w 4501379"/>
                    <a:gd name="connsiteY14" fmla="*/ 1266825 h 4429294"/>
                    <a:gd name="connsiteX15" fmla="*/ 4326719 w 4501379"/>
                    <a:gd name="connsiteY15" fmla="*/ 1362075 h 4429294"/>
                    <a:gd name="connsiteX16" fmla="*/ 4374344 w 4501379"/>
                    <a:gd name="connsiteY16" fmla="*/ 1552575 h 4429294"/>
                    <a:gd name="connsiteX17" fmla="*/ 4412444 w 4501379"/>
                    <a:gd name="connsiteY17" fmla="*/ 1685925 h 4429294"/>
                    <a:gd name="connsiteX18" fmla="*/ 4501344 w 4501379"/>
                    <a:gd name="connsiteY18" fmla="*/ 2181225 h 4429294"/>
                    <a:gd name="connsiteX19" fmla="*/ 4428319 w 4501379"/>
                    <a:gd name="connsiteY19" fmla="*/ 2768600 h 4429294"/>
                    <a:gd name="connsiteX20" fmla="*/ 4364819 w 4501379"/>
                    <a:gd name="connsiteY20" fmla="*/ 2990850 h 4429294"/>
                    <a:gd name="connsiteX21" fmla="*/ 4260044 w 4501379"/>
                    <a:gd name="connsiteY21" fmla="*/ 3248025 h 4429294"/>
                    <a:gd name="connsiteX22" fmla="*/ 4164794 w 4501379"/>
                    <a:gd name="connsiteY22" fmla="*/ 3400425 h 4429294"/>
                    <a:gd name="connsiteX23" fmla="*/ 4040969 w 4501379"/>
                    <a:gd name="connsiteY23" fmla="*/ 3533775 h 4429294"/>
                    <a:gd name="connsiteX24" fmla="*/ 3936194 w 4501379"/>
                    <a:gd name="connsiteY24" fmla="*/ 3648075 h 4429294"/>
                    <a:gd name="connsiteX25" fmla="*/ 3640919 w 4501379"/>
                    <a:gd name="connsiteY25" fmla="*/ 3971925 h 4429294"/>
                    <a:gd name="connsiteX26" fmla="*/ 3498044 w 4501379"/>
                    <a:gd name="connsiteY26" fmla="*/ 4083050 h 4429294"/>
                    <a:gd name="connsiteX27" fmla="*/ 3202769 w 4501379"/>
                    <a:gd name="connsiteY27" fmla="*/ 4222750 h 4429294"/>
                    <a:gd name="connsiteX28" fmla="*/ 3050369 w 4501379"/>
                    <a:gd name="connsiteY28" fmla="*/ 4286250 h 4429294"/>
                    <a:gd name="connsiteX29" fmla="*/ 2917019 w 4501379"/>
                    <a:gd name="connsiteY29" fmla="*/ 4333875 h 4429294"/>
                    <a:gd name="connsiteX30" fmla="*/ 2793194 w 4501379"/>
                    <a:gd name="connsiteY30" fmla="*/ 4371975 h 4429294"/>
                    <a:gd name="connsiteX31" fmla="*/ 2561419 w 4501379"/>
                    <a:gd name="connsiteY31" fmla="*/ 4391025 h 4429294"/>
                    <a:gd name="connsiteX32" fmla="*/ 2107394 w 4501379"/>
                    <a:gd name="connsiteY32" fmla="*/ 4429125 h 4429294"/>
                    <a:gd name="connsiteX33" fmla="*/ 1916894 w 4501379"/>
                    <a:gd name="connsiteY33" fmla="*/ 4400550 h 4429294"/>
                    <a:gd name="connsiteX34" fmla="*/ 1554944 w 4501379"/>
                    <a:gd name="connsiteY34" fmla="*/ 4305300 h 4429294"/>
                    <a:gd name="connsiteX35" fmla="*/ 1313644 w 4501379"/>
                    <a:gd name="connsiteY35" fmla="*/ 4216400 h 4429294"/>
                    <a:gd name="connsiteX36" fmla="*/ 1145369 w 4501379"/>
                    <a:gd name="connsiteY36" fmla="*/ 4111625 h 4429294"/>
                    <a:gd name="connsiteX37" fmla="*/ 926294 w 4501379"/>
                    <a:gd name="connsiteY37" fmla="*/ 3968750 h 4429294"/>
                    <a:gd name="connsiteX38" fmla="*/ 592919 w 4501379"/>
                    <a:gd name="connsiteY38" fmla="*/ 3657600 h 4429294"/>
                    <a:gd name="connsiteX39" fmla="*/ 446869 w 4501379"/>
                    <a:gd name="connsiteY39" fmla="*/ 3470275 h 4429294"/>
                    <a:gd name="connsiteX40" fmla="*/ 316694 w 4501379"/>
                    <a:gd name="connsiteY40" fmla="*/ 3244850 h 4429294"/>
                    <a:gd name="connsiteX41" fmla="*/ 164294 w 4501379"/>
                    <a:gd name="connsiteY41" fmla="*/ 2892425 h 4429294"/>
                    <a:gd name="connsiteX42" fmla="*/ 56344 w 4501379"/>
                    <a:gd name="connsiteY42" fmla="*/ 2368550 h 4429294"/>
                    <a:gd name="connsiteX43" fmla="*/ 2369 w 4501379"/>
                    <a:gd name="connsiteY43" fmla="*/ 1905000 h 4429294"/>
                    <a:gd name="connsiteX44" fmla="*/ 11894 w 4501379"/>
                    <a:gd name="connsiteY44" fmla="*/ 1838325 h 4429294"/>
                    <a:gd name="connsiteX45" fmla="*/ 30944 w 4501379"/>
                    <a:gd name="connsiteY45" fmla="*/ 1781175 h 4429294"/>
                    <a:gd name="connsiteX46" fmla="*/ 40469 w 4501379"/>
                    <a:gd name="connsiteY46" fmla="*/ 1743075 h 4429294"/>
                    <a:gd name="connsiteX47" fmla="*/ 59519 w 4501379"/>
                    <a:gd name="connsiteY47" fmla="*/ 1685925 h 4429294"/>
                    <a:gd name="connsiteX48" fmla="*/ 69044 w 4501379"/>
                    <a:gd name="connsiteY48" fmla="*/ 1638300 h 4429294"/>
                    <a:gd name="connsiteX49" fmla="*/ 88094 w 4501379"/>
                    <a:gd name="connsiteY49" fmla="*/ 1590675 h 4429294"/>
                    <a:gd name="connsiteX50" fmla="*/ 116669 w 4501379"/>
                    <a:gd name="connsiteY50" fmla="*/ 1504950 h 4429294"/>
                    <a:gd name="connsiteX51" fmla="*/ 135719 w 4501379"/>
                    <a:gd name="connsiteY51" fmla="*/ 1419225 h 4429294"/>
                    <a:gd name="connsiteX52" fmla="*/ 211919 w 4501379"/>
                    <a:gd name="connsiteY52" fmla="*/ 1276350 h 4429294"/>
                    <a:gd name="connsiteX53" fmla="*/ 221444 w 4501379"/>
                    <a:gd name="connsiteY53" fmla="*/ 1247775 h 4429294"/>
                    <a:gd name="connsiteX54" fmla="*/ 250019 w 4501379"/>
                    <a:gd name="connsiteY54" fmla="*/ 1200150 h 4429294"/>
                    <a:gd name="connsiteX55" fmla="*/ 269069 w 4501379"/>
                    <a:gd name="connsiteY55" fmla="*/ 1152525 h 4429294"/>
                    <a:gd name="connsiteX56" fmla="*/ 297644 w 4501379"/>
                    <a:gd name="connsiteY56" fmla="*/ 1114425 h 4429294"/>
                    <a:gd name="connsiteX57" fmla="*/ 345269 w 4501379"/>
                    <a:gd name="connsiteY57" fmla="*/ 1038225 h 4429294"/>
                    <a:gd name="connsiteX58" fmla="*/ 364319 w 4501379"/>
                    <a:gd name="connsiteY58" fmla="*/ 1009650 h 4429294"/>
                    <a:gd name="connsiteX59" fmla="*/ 421469 w 4501379"/>
                    <a:gd name="connsiteY59" fmla="*/ 904875 h 4429294"/>
                    <a:gd name="connsiteX60" fmla="*/ 459569 w 4501379"/>
                    <a:gd name="connsiteY60" fmla="*/ 857250 h 4429294"/>
                    <a:gd name="connsiteX61" fmla="*/ 478619 w 4501379"/>
                    <a:gd name="connsiteY61" fmla="*/ 828675 h 4429294"/>
                    <a:gd name="connsiteX62" fmla="*/ 516719 w 4501379"/>
                    <a:gd name="connsiteY62" fmla="*/ 800100 h 4429294"/>
                    <a:gd name="connsiteX63" fmla="*/ 583394 w 4501379"/>
                    <a:gd name="connsiteY63" fmla="*/ 733425 h 4429294"/>
                    <a:gd name="connsiteX64" fmla="*/ 650069 w 4501379"/>
                    <a:gd name="connsiteY64" fmla="*/ 676275 h 4429294"/>
                    <a:gd name="connsiteX65" fmla="*/ 678644 w 4501379"/>
                    <a:gd name="connsiteY65" fmla="*/ 657225 h 4429294"/>
                    <a:gd name="connsiteX66" fmla="*/ 821519 w 4501379"/>
                    <a:gd name="connsiteY66" fmla="*/ 533400 h 4429294"/>
                    <a:gd name="connsiteX67" fmla="*/ 869144 w 4501379"/>
                    <a:gd name="connsiteY67" fmla="*/ 504825 h 4429294"/>
                    <a:gd name="connsiteX68" fmla="*/ 1148544 w 4501379"/>
                    <a:gd name="connsiteY68" fmla="*/ 311150 h 4429294"/>
                    <a:gd name="connsiteX69" fmla="*/ 1250144 w 4501379"/>
                    <a:gd name="connsiteY69" fmla="*/ 285750 h 4429294"/>
                    <a:gd name="connsiteX70" fmla="*/ 1393019 w 4501379"/>
                    <a:gd name="connsiteY70" fmla="*/ 190500 h 4429294"/>
                    <a:gd name="connsiteX71" fmla="*/ 1431119 w 4501379"/>
                    <a:gd name="connsiteY71" fmla="*/ 161925 h 4429294"/>
                    <a:gd name="connsiteX72" fmla="*/ 1507319 w 4501379"/>
                    <a:gd name="connsiteY72" fmla="*/ 152400 h 4429294"/>
                    <a:gd name="connsiteX73" fmla="*/ 1564469 w 4501379"/>
                    <a:gd name="connsiteY73" fmla="*/ 142875 h 4429294"/>
                    <a:gd name="connsiteX74" fmla="*/ 1697819 w 4501379"/>
                    <a:gd name="connsiteY74" fmla="*/ 123825 h 4429294"/>
                    <a:gd name="connsiteX75" fmla="*/ 1793069 w 4501379"/>
                    <a:gd name="connsiteY75" fmla="*/ 114300 h 4429294"/>
                    <a:gd name="connsiteX76" fmla="*/ 1840694 w 4501379"/>
                    <a:gd name="connsiteY76" fmla="*/ 104775 h 4429294"/>
                    <a:gd name="connsiteX77" fmla="*/ 1897844 w 4501379"/>
                    <a:gd name="connsiteY77" fmla="*/ 95250 h 4429294"/>
                    <a:gd name="connsiteX78" fmla="*/ 2012144 w 4501379"/>
                    <a:gd name="connsiteY78" fmla="*/ 66675 h 4429294"/>
                    <a:gd name="connsiteX79" fmla="*/ 2078819 w 4501379"/>
                    <a:gd name="connsiteY79" fmla="*/ 47625 h 4429294"/>
                    <a:gd name="connsiteX80" fmla="*/ 2145494 w 4501379"/>
                    <a:gd name="connsiteY8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612344 w 4501379"/>
                    <a:gd name="connsiteY7" fmla="*/ 485775 h 4429294"/>
                    <a:gd name="connsiteX8" fmla="*/ 3726644 w 4501379"/>
                    <a:gd name="connsiteY8" fmla="*/ 542925 h 4429294"/>
                    <a:gd name="connsiteX9" fmla="*/ 3793319 w 4501379"/>
                    <a:gd name="connsiteY9" fmla="*/ 581025 h 4429294"/>
                    <a:gd name="connsiteX10" fmla="*/ 4009219 w 4501379"/>
                    <a:gd name="connsiteY10" fmla="*/ 819150 h 4429294"/>
                    <a:gd name="connsiteX11" fmla="*/ 4145744 w 4501379"/>
                    <a:gd name="connsiteY11" fmla="*/ 990600 h 4429294"/>
                    <a:gd name="connsiteX12" fmla="*/ 4231469 w 4501379"/>
                    <a:gd name="connsiteY12" fmla="*/ 1143000 h 4429294"/>
                    <a:gd name="connsiteX13" fmla="*/ 4288619 w 4501379"/>
                    <a:gd name="connsiteY13" fmla="*/ 1266825 h 4429294"/>
                    <a:gd name="connsiteX14" fmla="*/ 4326719 w 4501379"/>
                    <a:gd name="connsiteY14" fmla="*/ 1362075 h 4429294"/>
                    <a:gd name="connsiteX15" fmla="*/ 4374344 w 4501379"/>
                    <a:gd name="connsiteY15" fmla="*/ 1552575 h 4429294"/>
                    <a:gd name="connsiteX16" fmla="*/ 4412444 w 4501379"/>
                    <a:gd name="connsiteY16" fmla="*/ 1685925 h 4429294"/>
                    <a:gd name="connsiteX17" fmla="*/ 4501344 w 4501379"/>
                    <a:gd name="connsiteY17" fmla="*/ 2181225 h 4429294"/>
                    <a:gd name="connsiteX18" fmla="*/ 4428319 w 4501379"/>
                    <a:gd name="connsiteY18" fmla="*/ 2768600 h 4429294"/>
                    <a:gd name="connsiteX19" fmla="*/ 4364819 w 4501379"/>
                    <a:gd name="connsiteY19" fmla="*/ 2990850 h 4429294"/>
                    <a:gd name="connsiteX20" fmla="*/ 4260044 w 4501379"/>
                    <a:gd name="connsiteY20" fmla="*/ 3248025 h 4429294"/>
                    <a:gd name="connsiteX21" fmla="*/ 4164794 w 4501379"/>
                    <a:gd name="connsiteY21" fmla="*/ 3400425 h 4429294"/>
                    <a:gd name="connsiteX22" fmla="*/ 4040969 w 4501379"/>
                    <a:gd name="connsiteY22" fmla="*/ 3533775 h 4429294"/>
                    <a:gd name="connsiteX23" fmla="*/ 3936194 w 4501379"/>
                    <a:gd name="connsiteY23" fmla="*/ 3648075 h 4429294"/>
                    <a:gd name="connsiteX24" fmla="*/ 3640919 w 4501379"/>
                    <a:gd name="connsiteY24" fmla="*/ 3971925 h 4429294"/>
                    <a:gd name="connsiteX25" fmla="*/ 3498044 w 4501379"/>
                    <a:gd name="connsiteY25" fmla="*/ 4083050 h 4429294"/>
                    <a:gd name="connsiteX26" fmla="*/ 3202769 w 4501379"/>
                    <a:gd name="connsiteY26" fmla="*/ 4222750 h 4429294"/>
                    <a:gd name="connsiteX27" fmla="*/ 3050369 w 4501379"/>
                    <a:gd name="connsiteY27" fmla="*/ 4286250 h 4429294"/>
                    <a:gd name="connsiteX28" fmla="*/ 2917019 w 4501379"/>
                    <a:gd name="connsiteY28" fmla="*/ 4333875 h 4429294"/>
                    <a:gd name="connsiteX29" fmla="*/ 2793194 w 4501379"/>
                    <a:gd name="connsiteY29" fmla="*/ 4371975 h 4429294"/>
                    <a:gd name="connsiteX30" fmla="*/ 2561419 w 4501379"/>
                    <a:gd name="connsiteY30" fmla="*/ 4391025 h 4429294"/>
                    <a:gd name="connsiteX31" fmla="*/ 2107394 w 4501379"/>
                    <a:gd name="connsiteY31" fmla="*/ 4429125 h 4429294"/>
                    <a:gd name="connsiteX32" fmla="*/ 1916894 w 4501379"/>
                    <a:gd name="connsiteY32" fmla="*/ 4400550 h 4429294"/>
                    <a:gd name="connsiteX33" fmla="*/ 1554944 w 4501379"/>
                    <a:gd name="connsiteY33" fmla="*/ 4305300 h 4429294"/>
                    <a:gd name="connsiteX34" fmla="*/ 1313644 w 4501379"/>
                    <a:gd name="connsiteY34" fmla="*/ 4216400 h 4429294"/>
                    <a:gd name="connsiteX35" fmla="*/ 1145369 w 4501379"/>
                    <a:gd name="connsiteY35" fmla="*/ 4111625 h 4429294"/>
                    <a:gd name="connsiteX36" fmla="*/ 926294 w 4501379"/>
                    <a:gd name="connsiteY36" fmla="*/ 3968750 h 4429294"/>
                    <a:gd name="connsiteX37" fmla="*/ 592919 w 4501379"/>
                    <a:gd name="connsiteY37" fmla="*/ 3657600 h 4429294"/>
                    <a:gd name="connsiteX38" fmla="*/ 446869 w 4501379"/>
                    <a:gd name="connsiteY38" fmla="*/ 3470275 h 4429294"/>
                    <a:gd name="connsiteX39" fmla="*/ 316694 w 4501379"/>
                    <a:gd name="connsiteY39" fmla="*/ 3244850 h 4429294"/>
                    <a:gd name="connsiteX40" fmla="*/ 164294 w 4501379"/>
                    <a:gd name="connsiteY40" fmla="*/ 2892425 h 4429294"/>
                    <a:gd name="connsiteX41" fmla="*/ 56344 w 4501379"/>
                    <a:gd name="connsiteY41" fmla="*/ 2368550 h 4429294"/>
                    <a:gd name="connsiteX42" fmla="*/ 2369 w 4501379"/>
                    <a:gd name="connsiteY42" fmla="*/ 1905000 h 4429294"/>
                    <a:gd name="connsiteX43" fmla="*/ 11894 w 4501379"/>
                    <a:gd name="connsiteY43" fmla="*/ 1838325 h 4429294"/>
                    <a:gd name="connsiteX44" fmla="*/ 30944 w 4501379"/>
                    <a:gd name="connsiteY44" fmla="*/ 1781175 h 4429294"/>
                    <a:gd name="connsiteX45" fmla="*/ 40469 w 4501379"/>
                    <a:gd name="connsiteY45" fmla="*/ 1743075 h 4429294"/>
                    <a:gd name="connsiteX46" fmla="*/ 59519 w 4501379"/>
                    <a:gd name="connsiteY46" fmla="*/ 1685925 h 4429294"/>
                    <a:gd name="connsiteX47" fmla="*/ 69044 w 4501379"/>
                    <a:gd name="connsiteY47" fmla="*/ 1638300 h 4429294"/>
                    <a:gd name="connsiteX48" fmla="*/ 88094 w 4501379"/>
                    <a:gd name="connsiteY48" fmla="*/ 1590675 h 4429294"/>
                    <a:gd name="connsiteX49" fmla="*/ 116669 w 4501379"/>
                    <a:gd name="connsiteY49" fmla="*/ 1504950 h 4429294"/>
                    <a:gd name="connsiteX50" fmla="*/ 135719 w 4501379"/>
                    <a:gd name="connsiteY50" fmla="*/ 1419225 h 4429294"/>
                    <a:gd name="connsiteX51" fmla="*/ 211919 w 4501379"/>
                    <a:gd name="connsiteY51" fmla="*/ 1276350 h 4429294"/>
                    <a:gd name="connsiteX52" fmla="*/ 221444 w 4501379"/>
                    <a:gd name="connsiteY52" fmla="*/ 1247775 h 4429294"/>
                    <a:gd name="connsiteX53" fmla="*/ 250019 w 4501379"/>
                    <a:gd name="connsiteY53" fmla="*/ 1200150 h 4429294"/>
                    <a:gd name="connsiteX54" fmla="*/ 269069 w 4501379"/>
                    <a:gd name="connsiteY54" fmla="*/ 1152525 h 4429294"/>
                    <a:gd name="connsiteX55" fmla="*/ 297644 w 4501379"/>
                    <a:gd name="connsiteY55" fmla="*/ 1114425 h 4429294"/>
                    <a:gd name="connsiteX56" fmla="*/ 345269 w 4501379"/>
                    <a:gd name="connsiteY56" fmla="*/ 1038225 h 4429294"/>
                    <a:gd name="connsiteX57" fmla="*/ 364319 w 4501379"/>
                    <a:gd name="connsiteY57" fmla="*/ 1009650 h 4429294"/>
                    <a:gd name="connsiteX58" fmla="*/ 421469 w 4501379"/>
                    <a:gd name="connsiteY58" fmla="*/ 904875 h 4429294"/>
                    <a:gd name="connsiteX59" fmla="*/ 459569 w 4501379"/>
                    <a:gd name="connsiteY59" fmla="*/ 857250 h 4429294"/>
                    <a:gd name="connsiteX60" fmla="*/ 478619 w 4501379"/>
                    <a:gd name="connsiteY60" fmla="*/ 828675 h 4429294"/>
                    <a:gd name="connsiteX61" fmla="*/ 516719 w 4501379"/>
                    <a:gd name="connsiteY61" fmla="*/ 800100 h 4429294"/>
                    <a:gd name="connsiteX62" fmla="*/ 583394 w 4501379"/>
                    <a:gd name="connsiteY62" fmla="*/ 733425 h 4429294"/>
                    <a:gd name="connsiteX63" fmla="*/ 650069 w 4501379"/>
                    <a:gd name="connsiteY63" fmla="*/ 676275 h 4429294"/>
                    <a:gd name="connsiteX64" fmla="*/ 678644 w 4501379"/>
                    <a:gd name="connsiteY64" fmla="*/ 657225 h 4429294"/>
                    <a:gd name="connsiteX65" fmla="*/ 821519 w 4501379"/>
                    <a:gd name="connsiteY65" fmla="*/ 533400 h 4429294"/>
                    <a:gd name="connsiteX66" fmla="*/ 869144 w 4501379"/>
                    <a:gd name="connsiteY66" fmla="*/ 504825 h 4429294"/>
                    <a:gd name="connsiteX67" fmla="*/ 1148544 w 4501379"/>
                    <a:gd name="connsiteY67" fmla="*/ 311150 h 4429294"/>
                    <a:gd name="connsiteX68" fmla="*/ 1250144 w 4501379"/>
                    <a:gd name="connsiteY68" fmla="*/ 285750 h 4429294"/>
                    <a:gd name="connsiteX69" fmla="*/ 1393019 w 4501379"/>
                    <a:gd name="connsiteY69" fmla="*/ 190500 h 4429294"/>
                    <a:gd name="connsiteX70" fmla="*/ 1431119 w 4501379"/>
                    <a:gd name="connsiteY70" fmla="*/ 161925 h 4429294"/>
                    <a:gd name="connsiteX71" fmla="*/ 1507319 w 4501379"/>
                    <a:gd name="connsiteY71" fmla="*/ 152400 h 4429294"/>
                    <a:gd name="connsiteX72" fmla="*/ 1564469 w 4501379"/>
                    <a:gd name="connsiteY72" fmla="*/ 142875 h 4429294"/>
                    <a:gd name="connsiteX73" fmla="*/ 1697819 w 4501379"/>
                    <a:gd name="connsiteY73" fmla="*/ 123825 h 4429294"/>
                    <a:gd name="connsiteX74" fmla="*/ 1793069 w 4501379"/>
                    <a:gd name="connsiteY74" fmla="*/ 114300 h 4429294"/>
                    <a:gd name="connsiteX75" fmla="*/ 1840694 w 4501379"/>
                    <a:gd name="connsiteY75" fmla="*/ 104775 h 4429294"/>
                    <a:gd name="connsiteX76" fmla="*/ 1897844 w 4501379"/>
                    <a:gd name="connsiteY76" fmla="*/ 95250 h 4429294"/>
                    <a:gd name="connsiteX77" fmla="*/ 2012144 w 4501379"/>
                    <a:gd name="connsiteY77" fmla="*/ 66675 h 4429294"/>
                    <a:gd name="connsiteX78" fmla="*/ 2078819 w 4501379"/>
                    <a:gd name="connsiteY78" fmla="*/ 47625 h 4429294"/>
                    <a:gd name="connsiteX79" fmla="*/ 2145494 w 4501379"/>
                    <a:gd name="connsiteY7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26644 w 4501379"/>
                    <a:gd name="connsiteY7" fmla="*/ 542925 h 4429294"/>
                    <a:gd name="connsiteX8" fmla="*/ 3793319 w 4501379"/>
                    <a:gd name="connsiteY8" fmla="*/ 581025 h 4429294"/>
                    <a:gd name="connsiteX9" fmla="*/ 4009219 w 4501379"/>
                    <a:gd name="connsiteY9" fmla="*/ 819150 h 4429294"/>
                    <a:gd name="connsiteX10" fmla="*/ 4145744 w 4501379"/>
                    <a:gd name="connsiteY10" fmla="*/ 990600 h 4429294"/>
                    <a:gd name="connsiteX11" fmla="*/ 4231469 w 4501379"/>
                    <a:gd name="connsiteY11" fmla="*/ 1143000 h 4429294"/>
                    <a:gd name="connsiteX12" fmla="*/ 4288619 w 4501379"/>
                    <a:gd name="connsiteY12" fmla="*/ 1266825 h 4429294"/>
                    <a:gd name="connsiteX13" fmla="*/ 4326719 w 4501379"/>
                    <a:gd name="connsiteY13" fmla="*/ 1362075 h 4429294"/>
                    <a:gd name="connsiteX14" fmla="*/ 4374344 w 4501379"/>
                    <a:gd name="connsiteY14" fmla="*/ 1552575 h 4429294"/>
                    <a:gd name="connsiteX15" fmla="*/ 4412444 w 4501379"/>
                    <a:gd name="connsiteY15" fmla="*/ 1685925 h 4429294"/>
                    <a:gd name="connsiteX16" fmla="*/ 4501344 w 4501379"/>
                    <a:gd name="connsiteY16" fmla="*/ 2181225 h 4429294"/>
                    <a:gd name="connsiteX17" fmla="*/ 4428319 w 4501379"/>
                    <a:gd name="connsiteY17" fmla="*/ 2768600 h 4429294"/>
                    <a:gd name="connsiteX18" fmla="*/ 4364819 w 4501379"/>
                    <a:gd name="connsiteY18" fmla="*/ 2990850 h 4429294"/>
                    <a:gd name="connsiteX19" fmla="*/ 4260044 w 4501379"/>
                    <a:gd name="connsiteY19" fmla="*/ 3248025 h 4429294"/>
                    <a:gd name="connsiteX20" fmla="*/ 4164794 w 4501379"/>
                    <a:gd name="connsiteY20" fmla="*/ 3400425 h 4429294"/>
                    <a:gd name="connsiteX21" fmla="*/ 4040969 w 4501379"/>
                    <a:gd name="connsiteY21" fmla="*/ 3533775 h 4429294"/>
                    <a:gd name="connsiteX22" fmla="*/ 3936194 w 4501379"/>
                    <a:gd name="connsiteY22" fmla="*/ 3648075 h 4429294"/>
                    <a:gd name="connsiteX23" fmla="*/ 3640919 w 4501379"/>
                    <a:gd name="connsiteY23" fmla="*/ 3971925 h 4429294"/>
                    <a:gd name="connsiteX24" fmla="*/ 3498044 w 4501379"/>
                    <a:gd name="connsiteY24" fmla="*/ 4083050 h 4429294"/>
                    <a:gd name="connsiteX25" fmla="*/ 3202769 w 4501379"/>
                    <a:gd name="connsiteY25" fmla="*/ 4222750 h 4429294"/>
                    <a:gd name="connsiteX26" fmla="*/ 3050369 w 4501379"/>
                    <a:gd name="connsiteY26" fmla="*/ 4286250 h 4429294"/>
                    <a:gd name="connsiteX27" fmla="*/ 2917019 w 4501379"/>
                    <a:gd name="connsiteY27" fmla="*/ 4333875 h 4429294"/>
                    <a:gd name="connsiteX28" fmla="*/ 2793194 w 4501379"/>
                    <a:gd name="connsiteY28" fmla="*/ 4371975 h 4429294"/>
                    <a:gd name="connsiteX29" fmla="*/ 2561419 w 4501379"/>
                    <a:gd name="connsiteY29" fmla="*/ 4391025 h 4429294"/>
                    <a:gd name="connsiteX30" fmla="*/ 2107394 w 4501379"/>
                    <a:gd name="connsiteY30" fmla="*/ 4429125 h 4429294"/>
                    <a:gd name="connsiteX31" fmla="*/ 1916894 w 4501379"/>
                    <a:gd name="connsiteY31" fmla="*/ 4400550 h 4429294"/>
                    <a:gd name="connsiteX32" fmla="*/ 1554944 w 4501379"/>
                    <a:gd name="connsiteY32" fmla="*/ 4305300 h 4429294"/>
                    <a:gd name="connsiteX33" fmla="*/ 1313644 w 4501379"/>
                    <a:gd name="connsiteY33" fmla="*/ 4216400 h 4429294"/>
                    <a:gd name="connsiteX34" fmla="*/ 1145369 w 4501379"/>
                    <a:gd name="connsiteY34" fmla="*/ 4111625 h 4429294"/>
                    <a:gd name="connsiteX35" fmla="*/ 926294 w 4501379"/>
                    <a:gd name="connsiteY35" fmla="*/ 3968750 h 4429294"/>
                    <a:gd name="connsiteX36" fmla="*/ 592919 w 4501379"/>
                    <a:gd name="connsiteY36" fmla="*/ 3657600 h 4429294"/>
                    <a:gd name="connsiteX37" fmla="*/ 446869 w 4501379"/>
                    <a:gd name="connsiteY37" fmla="*/ 3470275 h 4429294"/>
                    <a:gd name="connsiteX38" fmla="*/ 316694 w 4501379"/>
                    <a:gd name="connsiteY38" fmla="*/ 3244850 h 4429294"/>
                    <a:gd name="connsiteX39" fmla="*/ 164294 w 4501379"/>
                    <a:gd name="connsiteY39" fmla="*/ 2892425 h 4429294"/>
                    <a:gd name="connsiteX40" fmla="*/ 56344 w 4501379"/>
                    <a:gd name="connsiteY40" fmla="*/ 2368550 h 4429294"/>
                    <a:gd name="connsiteX41" fmla="*/ 2369 w 4501379"/>
                    <a:gd name="connsiteY41" fmla="*/ 1905000 h 4429294"/>
                    <a:gd name="connsiteX42" fmla="*/ 11894 w 4501379"/>
                    <a:gd name="connsiteY42" fmla="*/ 1838325 h 4429294"/>
                    <a:gd name="connsiteX43" fmla="*/ 30944 w 4501379"/>
                    <a:gd name="connsiteY43" fmla="*/ 1781175 h 4429294"/>
                    <a:gd name="connsiteX44" fmla="*/ 40469 w 4501379"/>
                    <a:gd name="connsiteY44" fmla="*/ 1743075 h 4429294"/>
                    <a:gd name="connsiteX45" fmla="*/ 59519 w 4501379"/>
                    <a:gd name="connsiteY45" fmla="*/ 1685925 h 4429294"/>
                    <a:gd name="connsiteX46" fmla="*/ 69044 w 4501379"/>
                    <a:gd name="connsiteY46" fmla="*/ 1638300 h 4429294"/>
                    <a:gd name="connsiteX47" fmla="*/ 88094 w 4501379"/>
                    <a:gd name="connsiteY47" fmla="*/ 1590675 h 4429294"/>
                    <a:gd name="connsiteX48" fmla="*/ 116669 w 4501379"/>
                    <a:gd name="connsiteY48" fmla="*/ 1504950 h 4429294"/>
                    <a:gd name="connsiteX49" fmla="*/ 135719 w 4501379"/>
                    <a:gd name="connsiteY49" fmla="*/ 1419225 h 4429294"/>
                    <a:gd name="connsiteX50" fmla="*/ 211919 w 4501379"/>
                    <a:gd name="connsiteY50" fmla="*/ 1276350 h 4429294"/>
                    <a:gd name="connsiteX51" fmla="*/ 221444 w 4501379"/>
                    <a:gd name="connsiteY51" fmla="*/ 1247775 h 4429294"/>
                    <a:gd name="connsiteX52" fmla="*/ 250019 w 4501379"/>
                    <a:gd name="connsiteY52" fmla="*/ 1200150 h 4429294"/>
                    <a:gd name="connsiteX53" fmla="*/ 269069 w 4501379"/>
                    <a:gd name="connsiteY53" fmla="*/ 1152525 h 4429294"/>
                    <a:gd name="connsiteX54" fmla="*/ 297644 w 4501379"/>
                    <a:gd name="connsiteY54" fmla="*/ 1114425 h 4429294"/>
                    <a:gd name="connsiteX55" fmla="*/ 345269 w 4501379"/>
                    <a:gd name="connsiteY55" fmla="*/ 1038225 h 4429294"/>
                    <a:gd name="connsiteX56" fmla="*/ 364319 w 4501379"/>
                    <a:gd name="connsiteY56" fmla="*/ 1009650 h 4429294"/>
                    <a:gd name="connsiteX57" fmla="*/ 421469 w 4501379"/>
                    <a:gd name="connsiteY57" fmla="*/ 904875 h 4429294"/>
                    <a:gd name="connsiteX58" fmla="*/ 459569 w 4501379"/>
                    <a:gd name="connsiteY58" fmla="*/ 857250 h 4429294"/>
                    <a:gd name="connsiteX59" fmla="*/ 478619 w 4501379"/>
                    <a:gd name="connsiteY59" fmla="*/ 828675 h 4429294"/>
                    <a:gd name="connsiteX60" fmla="*/ 516719 w 4501379"/>
                    <a:gd name="connsiteY60" fmla="*/ 800100 h 4429294"/>
                    <a:gd name="connsiteX61" fmla="*/ 583394 w 4501379"/>
                    <a:gd name="connsiteY61" fmla="*/ 733425 h 4429294"/>
                    <a:gd name="connsiteX62" fmla="*/ 650069 w 4501379"/>
                    <a:gd name="connsiteY62" fmla="*/ 676275 h 4429294"/>
                    <a:gd name="connsiteX63" fmla="*/ 678644 w 4501379"/>
                    <a:gd name="connsiteY63" fmla="*/ 657225 h 4429294"/>
                    <a:gd name="connsiteX64" fmla="*/ 821519 w 4501379"/>
                    <a:gd name="connsiteY64" fmla="*/ 533400 h 4429294"/>
                    <a:gd name="connsiteX65" fmla="*/ 869144 w 4501379"/>
                    <a:gd name="connsiteY65" fmla="*/ 504825 h 4429294"/>
                    <a:gd name="connsiteX66" fmla="*/ 1148544 w 4501379"/>
                    <a:gd name="connsiteY66" fmla="*/ 311150 h 4429294"/>
                    <a:gd name="connsiteX67" fmla="*/ 1250144 w 4501379"/>
                    <a:gd name="connsiteY67" fmla="*/ 285750 h 4429294"/>
                    <a:gd name="connsiteX68" fmla="*/ 1393019 w 4501379"/>
                    <a:gd name="connsiteY68" fmla="*/ 190500 h 4429294"/>
                    <a:gd name="connsiteX69" fmla="*/ 1431119 w 4501379"/>
                    <a:gd name="connsiteY69" fmla="*/ 161925 h 4429294"/>
                    <a:gd name="connsiteX70" fmla="*/ 1507319 w 4501379"/>
                    <a:gd name="connsiteY70" fmla="*/ 152400 h 4429294"/>
                    <a:gd name="connsiteX71" fmla="*/ 1564469 w 4501379"/>
                    <a:gd name="connsiteY71" fmla="*/ 142875 h 4429294"/>
                    <a:gd name="connsiteX72" fmla="*/ 1697819 w 4501379"/>
                    <a:gd name="connsiteY72" fmla="*/ 123825 h 4429294"/>
                    <a:gd name="connsiteX73" fmla="*/ 1793069 w 4501379"/>
                    <a:gd name="connsiteY73" fmla="*/ 114300 h 4429294"/>
                    <a:gd name="connsiteX74" fmla="*/ 1840694 w 4501379"/>
                    <a:gd name="connsiteY74" fmla="*/ 104775 h 4429294"/>
                    <a:gd name="connsiteX75" fmla="*/ 1897844 w 4501379"/>
                    <a:gd name="connsiteY75" fmla="*/ 95250 h 4429294"/>
                    <a:gd name="connsiteX76" fmla="*/ 2012144 w 4501379"/>
                    <a:gd name="connsiteY76" fmla="*/ 66675 h 4429294"/>
                    <a:gd name="connsiteX77" fmla="*/ 2078819 w 4501379"/>
                    <a:gd name="connsiteY77" fmla="*/ 47625 h 4429294"/>
                    <a:gd name="connsiteX78" fmla="*/ 2145494 w 4501379"/>
                    <a:gd name="connsiteY7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93319 w 4501379"/>
                    <a:gd name="connsiteY7" fmla="*/ 581025 h 4429294"/>
                    <a:gd name="connsiteX8" fmla="*/ 4009219 w 4501379"/>
                    <a:gd name="connsiteY8" fmla="*/ 819150 h 4429294"/>
                    <a:gd name="connsiteX9" fmla="*/ 4145744 w 4501379"/>
                    <a:gd name="connsiteY9" fmla="*/ 990600 h 4429294"/>
                    <a:gd name="connsiteX10" fmla="*/ 4231469 w 4501379"/>
                    <a:gd name="connsiteY10" fmla="*/ 1143000 h 4429294"/>
                    <a:gd name="connsiteX11" fmla="*/ 4288619 w 4501379"/>
                    <a:gd name="connsiteY11" fmla="*/ 1266825 h 4429294"/>
                    <a:gd name="connsiteX12" fmla="*/ 4326719 w 4501379"/>
                    <a:gd name="connsiteY12" fmla="*/ 1362075 h 4429294"/>
                    <a:gd name="connsiteX13" fmla="*/ 4374344 w 4501379"/>
                    <a:gd name="connsiteY13" fmla="*/ 1552575 h 4429294"/>
                    <a:gd name="connsiteX14" fmla="*/ 4412444 w 4501379"/>
                    <a:gd name="connsiteY14" fmla="*/ 1685925 h 4429294"/>
                    <a:gd name="connsiteX15" fmla="*/ 4501344 w 4501379"/>
                    <a:gd name="connsiteY15" fmla="*/ 2181225 h 4429294"/>
                    <a:gd name="connsiteX16" fmla="*/ 4428319 w 4501379"/>
                    <a:gd name="connsiteY16" fmla="*/ 2768600 h 4429294"/>
                    <a:gd name="connsiteX17" fmla="*/ 4364819 w 4501379"/>
                    <a:gd name="connsiteY17" fmla="*/ 2990850 h 4429294"/>
                    <a:gd name="connsiteX18" fmla="*/ 4260044 w 4501379"/>
                    <a:gd name="connsiteY18" fmla="*/ 3248025 h 4429294"/>
                    <a:gd name="connsiteX19" fmla="*/ 4164794 w 4501379"/>
                    <a:gd name="connsiteY19" fmla="*/ 3400425 h 4429294"/>
                    <a:gd name="connsiteX20" fmla="*/ 4040969 w 4501379"/>
                    <a:gd name="connsiteY20" fmla="*/ 3533775 h 4429294"/>
                    <a:gd name="connsiteX21" fmla="*/ 3936194 w 4501379"/>
                    <a:gd name="connsiteY21" fmla="*/ 3648075 h 4429294"/>
                    <a:gd name="connsiteX22" fmla="*/ 3640919 w 4501379"/>
                    <a:gd name="connsiteY22" fmla="*/ 3971925 h 4429294"/>
                    <a:gd name="connsiteX23" fmla="*/ 3498044 w 4501379"/>
                    <a:gd name="connsiteY23" fmla="*/ 4083050 h 4429294"/>
                    <a:gd name="connsiteX24" fmla="*/ 3202769 w 4501379"/>
                    <a:gd name="connsiteY24" fmla="*/ 4222750 h 4429294"/>
                    <a:gd name="connsiteX25" fmla="*/ 3050369 w 4501379"/>
                    <a:gd name="connsiteY25" fmla="*/ 4286250 h 4429294"/>
                    <a:gd name="connsiteX26" fmla="*/ 2917019 w 4501379"/>
                    <a:gd name="connsiteY26" fmla="*/ 4333875 h 4429294"/>
                    <a:gd name="connsiteX27" fmla="*/ 2793194 w 4501379"/>
                    <a:gd name="connsiteY27" fmla="*/ 4371975 h 4429294"/>
                    <a:gd name="connsiteX28" fmla="*/ 2561419 w 4501379"/>
                    <a:gd name="connsiteY28" fmla="*/ 4391025 h 4429294"/>
                    <a:gd name="connsiteX29" fmla="*/ 2107394 w 4501379"/>
                    <a:gd name="connsiteY29" fmla="*/ 4429125 h 4429294"/>
                    <a:gd name="connsiteX30" fmla="*/ 1916894 w 4501379"/>
                    <a:gd name="connsiteY30" fmla="*/ 4400550 h 4429294"/>
                    <a:gd name="connsiteX31" fmla="*/ 1554944 w 4501379"/>
                    <a:gd name="connsiteY31" fmla="*/ 4305300 h 4429294"/>
                    <a:gd name="connsiteX32" fmla="*/ 1313644 w 4501379"/>
                    <a:gd name="connsiteY32" fmla="*/ 4216400 h 4429294"/>
                    <a:gd name="connsiteX33" fmla="*/ 1145369 w 4501379"/>
                    <a:gd name="connsiteY33" fmla="*/ 4111625 h 4429294"/>
                    <a:gd name="connsiteX34" fmla="*/ 926294 w 4501379"/>
                    <a:gd name="connsiteY34" fmla="*/ 3968750 h 4429294"/>
                    <a:gd name="connsiteX35" fmla="*/ 592919 w 4501379"/>
                    <a:gd name="connsiteY35" fmla="*/ 3657600 h 4429294"/>
                    <a:gd name="connsiteX36" fmla="*/ 446869 w 4501379"/>
                    <a:gd name="connsiteY36" fmla="*/ 3470275 h 4429294"/>
                    <a:gd name="connsiteX37" fmla="*/ 316694 w 4501379"/>
                    <a:gd name="connsiteY37" fmla="*/ 3244850 h 4429294"/>
                    <a:gd name="connsiteX38" fmla="*/ 164294 w 4501379"/>
                    <a:gd name="connsiteY38" fmla="*/ 2892425 h 4429294"/>
                    <a:gd name="connsiteX39" fmla="*/ 56344 w 4501379"/>
                    <a:gd name="connsiteY39" fmla="*/ 2368550 h 4429294"/>
                    <a:gd name="connsiteX40" fmla="*/ 2369 w 4501379"/>
                    <a:gd name="connsiteY40" fmla="*/ 1905000 h 4429294"/>
                    <a:gd name="connsiteX41" fmla="*/ 11894 w 4501379"/>
                    <a:gd name="connsiteY41" fmla="*/ 1838325 h 4429294"/>
                    <a:gd name="connsiteX42" fmla="*/ 30944 w 4501379"/>
                    <a:gd name="connsiteY42" fmla="*/ 1781175 h 4429294"/>
                    <a:gd name="connsiteX43" fmla="*/ 40469 w 4501379"/>
                    <a:gd name="connsiteY43" fmla="*/ 1743075 h 4429294"/>
                    <a:gd name="connsiteX44" fmla="*/ 59519 w 4501379"/>
                    <a:gd name="connsiteY44" fmla="*/ 1685925 h 4429294"/>
                    <a:gd name="connsiteX45" fmla="*/ 69044 w 4501379"/>
                    <a:gd name="connsiteY45" fmla="*/ 1638300 h 4429294"/>
                    <a:gd name="connsiteX46" fmla="*/ 88094 w 4501379"/>
                    <a:gd name="connsiteY46" fmla="*/ 1590675 h 4429294"/>
                    <a:gd name="connsiteX47" fmla="*/ 116669 w 4501379"/>
                    <a:gd name="connsiteY47" fmla="*/ 1504950 h 4429294"/>
                    <a:gd name="connsiteX48" fmla="*/ 135719 w 4501379"/>
                    <a:gd name="connsiteY48" fmla="*/ 1419225 h 4429294"/>
                    <a:gd name="connsiteX49" fmla="*/ 211919 w 4501379"/>
                    <a:gd name="connsiteY49" fmla="*/ 1276350 h 4429294"/>
                    <a:gd name="connsiteX50" fmla="*/ 221444 w 4501379"/>
                    <a:gd name="connsiteY50" fmla="*/ 1247775 h 4429294"/>
                    <a:gd name="connsiteX51" fmla="*/ 250019 w 4501379"/>
                    <a:gd name="connsiteY51" fmla="*/ 1200150 h 4429294"/>
                    <a:gd name="connsiteX52" fmla="*/ 269069 w 4501379"/>
                    <a:gd name="connsiteY52" fmla="*/ 1152525 h 4429294"/>
                    <a:gd name="connsiteX53" fmla="*/ 297644 w 4501379"/>
                    <a:gd name="connsiteY53" fmla="*/ 1114425 h 4429294"/>
                    <a:gd name="connsiteX54" fmla="*/ 345269 w 4501379"/>
                    <a:gd name="connsiteY54" fmla="*/ 1038225 h 4429294"/>
                    <a:gd name="connsiteX55" fmla="*/ 364319 w 4501379"/>
                    <a:gd name="connsiteY55" fmla="*/ 1009650 h 4429294"/>
                    <a:gd name="connsiteX56" fmla="*/ 421469 w 4501379"/>
                    <a:gd name="connsiteY56" fmla="*/ 904875 h 4429294"/>
                    <a:gd name="connsiteX57" fmla="*/ 459569 w 4501379"/>
                    <a:gd name="connsiteY57" fmla="*/ 857250 h 4429294"/>
                    <a:gd name="connsiteX58" fmla="*/ 478619 w 4501379"/>
                    <a:gd name="connsiteY58" fmla="*/ 828675 h 4429294"/>
                    <a:gd name="connsiteX59" fmla="*/ 516719 w 4501379"/>
                    <a:gd name="connsiteY59" fmla="*/ 800100 h 4429294"/>
                    <a:gd name="connsiteX60" fmla="*/ 583394 w 4501379"/>
                    <a:gd name="connsiteY60" fmla="*/ 733425 h 4429294"/>
                    <a:gd name="connsiteX61" fmla="*/ 650069 w 4501379"/>
                    <a:gd name="connsiteY61" fmla="*/ 676275 h 4429294"/>
                    <a:gd name="connsiteX62" fmla="*/ 678644 w 4501379"/>
                    <a:gd name="connsiteY62" fmla="*/ 657225 h 4429294"/>
                    <a:gd name="connsiteX63" fmla="*/ 821519 w 4501379"/>
                    <a:gd name="connsiteY63" fmla="*/ 533400 h 4429294"/>
                    <a:gd name="connsiteX64" fmla="*/ 869144 w 4501379"/>
                    <a:gd name="connsiteY64" fmla="*/ 504825 h 4429294"/>
                    <a:gd name="connsiteX65" fmla="*/ 1148544 w 4501379"/>
                    <a:gd name="connsiteY65" fmla="*/ 311150 h 4429294"/>
                    <a:gd name="connsiteX66" fmla="*/ 1250144 w 4501379"/>
                    <a:gd name="connsiteY66" fmla="*/ 285750 h 4429294"/>
                    <a:gd name="connsiteX67" fmla="*/ 1393019 w 4501379"/>
                    <a:gd name="connsiteY67" fmla="*/ 190500 h 4429294"/>
                    <a:gd name="connsiteX68" fmla="*/ 1431119 w 4501379"/>
                    <a:gd name="connsiteY68" fmla="*/ 161925 h 4429294"/>
                    <a:gd name="connsiteX69" fmla="*/ 1507319 w 4501379"/>
                    <a:gd name="connsiteY69" fmla="*/ 152400 h 4429294"/>
                    <a:gd name="connsiteX70" fmla="*/ 1564469 w 4501379"/>
                    <a:gd name="connsiteY70" fmla="*/ 142875 h 4429294"/>
                    <a:gd name="connsiteX71" fmla="*/ 1697819 w 4501379"/>
                    <a:gd name="connsiteY71" fmla="*/ 123825 h 4429294"/>
                    <a:gd name="connsiteX72" fmla="*/ 1793069 w 4501379"/>
                    <a:gd name="connsiteY72" fmla="*/ 114300 h 4429294"/>
                    <a:gd name="connsiteX73" fmla="*/ 1840694 w 4501379"/>
                    <a:gd name="connsiteY73" fmla="*/ 104775 h 4429294"/>
                    <a:gd name="connsiteX74" fmla="*/ 1897844 w 4501379"/>
                    <a:gd name="connsiteY74" fmla="*/ 95250 h 4429294"/>
                    <a:gd name="connsiteX75" fmla="*/ 2012144 w 4501379"/>
                    <a:gd name="connsiteY75" fmla="*/ 66675 h 4429294"/>
                    <a:gd name="connsiteX76" fmla="*/ 2078819 w 4501379"/>
                    <a:gd name="connsiteY76" fmla="*/ 47625 h 4429294"/>
                    <a:gd name="connsiteX77" fmla="*/ 2145494 w 4501379"/>
                    <a:gd name="connsiteY7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393019 w 4501379"/>
                    <a:gd name="connsiteY66" fmla="*/ 190500 h 4429294"/>
                    <a:gd name="connsiteX67" fmla="*/ 1431119 w 4501379"/>
                    <a:gd name="connsiteY67" fmla="*/ 161925 h 4429294"/>
                    <a:gd name="connsiteX68" fmla="*/ 1507319 w 4501379"/>
                    <a:gd name="connsiteY68" fmla="*/ 152400 h 4429294"/>
                    <a:gd name="connsiteX69" fmla="*/ 1564469 w 4501379"/>
                    <a:gd name="connsiteY69" fmla="*/ 142875 h 4429294"/>
                    <a:gd name="connsiteX70" fmla="*/ 1697819 w 4501379"/>
                    <a:gd name="connsiteY70" fmla="*/ 123825 h 4429294"/>
                    <a:gd name="connsiteX71" fmla="*/ 1793069 w 4501379"/>
                    <a:gd name="connsiteY71" fmla="*/ 114300 h 4429294"/>
                    <a:gd name="connsiteX72" fmla="*/ 1840694 w 4501379"/>
                    <a:gd name="connsiteY72" fmla="*/ 104775 h 4429294"/>
                    <a:gd name="connsiteX73" fmla="*/ 1897844 w 4501379"/>
                    <a:gd name="connsiteY73" fmla="*/ 95250 h 4429294"/>
                    <a:gd name="connsiteX74" fmla="*/ 2012144 w 4501379"/>
                    <a:gd name="connsiteY74" fmla="*/ 66675 h 4429294"/>
                    <a:gd name="connsiteX75" fmla="*/ 2078819 w 4501379"/>
                    <a:gd name="connsiteY75" fmla="*/ 47625 h 4429294"/>
                    <a:gd name="connsiteX76" fmla="*/ 2145494 w 4501379"/>
                    <a:gd name="connsiteY7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431119 w 4501379"/>
                    <a:gd name="connsiteY66" fmla="*/ 161925 h 4429294"/>
                    <a:gd name="connsiteX67" fmla="*/ 1507319 w 4501379"/>
                    <a:gd name="connsiteY67" fmla="*/ 152400 h 4429294"/>
                    <a:gd name="connsiteX68" fmla="*/ 1564469 w 4501379"/>
                    <a:gd name="connsiteY68" fmla="*/ 142875 h 4429294"/>
                    <a:gd name="connsiteX69" fmla="*/ 1697819 w 4501379"/>
                    <a:gd name="connsiteY69" fmla="*/ 123825 h 4429294"/>
                    <a:gd name="connsiteX70" fmla="*/ 1793069 w 4501379"/>
                    <a:gd name="connsiteY70" fmla="*/ 114300 h 4429294"/>
                    <a:gd name="connsiteX71" fmla="*/ 1840694 w 4501379"/>
                    <a:gd name="connsiteY71" fmla="*/ 104775 h 4429294"/>
                    <a:gd name="connsiteX72" fmla="*/ 1897844 w 4501379"/>
                    <a:gd name="connsiteY72" fmla="*/ 95250 h 4429294"/>
                    <a:gd name="connsiteX73" fmla="*/ 2012144 w 4501379"/>
                    <a:gd name="connsiteY73" fmla="*/ 66675 h 4429294"/>
                    <a:gd name="connsiteX74" fmla="*/ 2078819 w 4501379"/>
                    <a:gd name="connsiteY74" fmla="*/ 47625 h 4429294"/>
                    <a:gd name="connsiteX75" fmla="*/ 2145494 w 4501379"/>
                    <a:gd name="connsiteY7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507319 w 4501379"/>
                    <a:gd name="connsiteY66" fmla="*/ 152400 h 4429294"/>
                    <a:gd name="connsiteX67" fmla="*/ 1564469 w 4501379"/>
                    <a:gd name="connsiteY67" fmla="*/ 142875 h 4429294"/>
                    <a:gd name="connsiteX68" fmla="*/ 1697819 w 4501379"/>
                    <a:gd name="connsiteY68" fmla="*/ 123825 h 4429294"/>
                    <a:gd name="connsiteX69" fmla="*/ 1793069 w 4501379"/>
                    <a:gd name="connsiteY69" fmla="*/ 114300 h 4429294"/>
                    <a:gd name="connsiteX70" fmla="*/ 1840694 w 4501379"/>
                    <a:gd name="connsiteY70" fmla="*/ 104775 h 4429294"/>
                    <a:gd name="connsiteX71" fmla="*/ 1897844 w 4501379"/>
                    <a:gd name="connsiteY71" fmla="*/ 95250 h 4429294"/>
                    <a:gd name="connsiteX72" fmla="*/ 2012144 w 4501379"/>
                    <a:gd name="connsiteY72" fmla="*/ 66675 h 4429294"/>
                    <a:gd name="connsiteX73" fmla="*/ 2078819 w 4501379"/>
                    <a:gd name="connsiteY73" fmla="*/ 47625 h 4429294"/>
                    <a:gd name="connsiteX74" fmla="*/ 2145494 w 4501379"/>
                    <a:gd name="connsiteY7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697819 w 4501379"/>
                    <a:gd name="connsiteY67" fmla="*/ 123825 h 4429294"/>
                    <a:gd name="connsiteX68" fmla="*/ 1793069 w 4501379"/>
                    <a:gd name="connsiteY68" fmla="*/ 114300 h 4429294"/>
                    <a:gd name="connsiteX69" fmla="*/ 1840694 w 4501379"/>
                    <a:gd name="connsiteY69" fmla="*/ 104775 h 4429294"/>
                    <a:gd name="connsiteX70" fmla="*/ 1897844 w 4501379"/>
                    <a:gd name="connsiteY70" fmla="*/ 95250 h 4429294"/>
                    <a:gd name="connsiteX71" fmla="*/ 2012144 w 4501379"/>
                    <a:gd name="connsiteY71" fmla="*/ 66675 h 4429294"/>
                    <a:gd name="connsiteX72" fmla="*/ 2078819 w 4501379"/>
                    <a:gd name="connsiteY72" fmla="*/ 47625 h 4429294"/>
                    <a:gd name="connsiteX73" fmla="*/ 2145494 w 4501379"/>
                    <a:gd name="connsiteY7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793069 w 4501379"/>
                    <a:gd name="connsiteY67" fmla="*/ 114300 h 4429294"/>
                    <a:gd name="connsiteX68" fmla="*/ 1840694 w 4501379"/>
                    <a:gd name="connsiteY68" fmla="*/ 104775 h 4429294"/>
                    <a:gd name="connsiteX69" fmla="*/ 1897844 w 4501379"/>
                    <a:gd name="connsiteY69" fmla="*/ 95250 h 4429294"/>
                    <a:gd name="connsiteX70" fmla="*/ 2012144 w 4501379"/>
                    <a:gd name="connsiteY70" fmla="*/ 66675 h 4429294"/>
                    <a:gd name="connsiteX71" fmla="*/ 2078819 w 4501379"/>
                    <a:gd name="connsiteY71" fmla="*/ 47625 h 4429294"/>
                    <a:gd name="connsiteX72" fmla="*/ 2145494 w 4501379"/>
                    <a:gd name="connsiteY7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40694 w 4501379"/>
                    <a:gd name="connsiteY67" fmla="*/ 104775 h 4429294"/>
                    <a:gd name="connsiteX68" fmla="*/ 1897844 w 4501379"/>
                    <a:gd name="connsiteY68" fmla="*/ 95250 h 4429294"/>
                    <a:gd name="connsiteX69" fmla="*/ 2012144 w 4501379"/>
                    <a:gd name="connsiteY69" fmla="*/ 66675 h 4429294"/>
                    <a:gd name="connsiteX70" fmla="*/ 2078819 w 4501379"/>
                    <a:gd name="connsiteY70" fmla="*/ 47625 h 4429294"/>
                    <a:gd name="connsiteX71" fmla="*/ 2145494 w 4501379"/>
                    <a:gd name="connsiteY7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97844 w 4501379"/>
                    <a:gd name="connsiteY67" fmla="*/ 95250 h 4429294"/>
                    <a:gd name="connsiteX68" fmla="*/ 2012144 w 4501379"/>
                    <a:gd name="connsiteY68" fmla="*/ 66675 h 4429294"/>
                    <a:gd name="connsiteX69" fmla="*/ 2078819 w 4501379"/>
                    <a:gd name="connsiteY69" fmla="*/ 47625 h 4429294"/>
                    <a:gd name="connsiteX70" fmla="*/ 2145494 w 4501379"/>
                    <a:gd name="connsiteY7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12144 w 4501379"/>
                    <a:gd name="connsiteY67" fmla="*/ 66675 h 4429294"/>
                    <a:gd name="connsiteX68" fmla="*/ 2078819 w 4501379"/>
                    <a:gd name="connsiteY68" fmla="*/ 47625 h 4429294"/>
                    <a:gd name="connsiteX69" fmla="*/ 2145494 w 4501379"/>
                    <a:gd name="connsiteY6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78819 w 4501379"/>
                    <a:gd name="connsiteY67" fmla="*/ 47625 h 4429294"/>
                    <a:gd name="connsiteX68" fmla="*/ 2145494 w 4501379"/>
                    <a:gd name="connsiteY6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145494 w 4501379"/>
                    <a:gd name="connsiteY6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621619 w 4501379"/>
                    <a:gd name="connsiteY66" fmla="*/ 11112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678644 w 4501379"/>
                    <a:gd name="connsiteY60" fmla="*/ 657225 h 4429294"/>
                    <a:gd name="connsiteX61" fmla="*/ 821519 w 4501379"/>
                    <a:gd name="connsiteY61" fmla="*/ 533400 h 4429294"/>
                    <a:gd name="connsiteX62" fmla="*/ 869144 w 4501379"/>
                    <a:gd name="connsiteY62" fmla="*/ 504825 h 4429294"/>
                    <a:gd name="connsiteX63" fmla="*/ 1148544 w 4501379"/>
                    <a:gd name="connsiteY63" fmla="*/ 311150 h 4429294"/>
                    <a:gd name="connsiteX64" fmla="*/ 1507319 w 4501379"/>
                    <a:gd name="connsiteY64" fmla="*/ 152400 h 4429294"/>
                    <a:gd name="connsiteX65" fmla="*/ 1621619 w 4501379"/>
                    <a:gd name="connsiteY65" fmla="*/ 111125 h 4429294"/>
                    <a:gd name="connsiteX66" fmla="*/ 2253444 w 4501379"/>
                    <a:gd name="connsiteY6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21519 w 4501379"/>
                    <a:gd name="connsiteY60" fmla="*/ 533400 h 4429294"/>
                    <a:gd name="connsiteX61" fmla="*/ 869144 w 4501379"/>
                    <a:gd name="connsiteY61" fmla="*/ 504825 h 4429294"/>
                    <a:gd name="connsiteX62" fmla="*/ 1148544 w 4501379"/>
                    <a:gd name="connsiteY62" fmla="*/ 311150 h 4429294"/>
                    <a:gd name="connsiteX63" fmla="*/ 1507319 w 4501379"/>
                    <a:gd name="connsiteY63" fmla="*/ 152400 h 4429294"/>
                    <a:gd name="connsiteX64" fmla="*/ 1621619 w 4501379"/>
                    <a:gd name="connsiteY64" fmla="*/ 111125 h 4429294"/>
                    <a:gd name="connsiteX65" fmla="*/ 2253444 w 4501379"/>
                    <a:gd name="connsiteY6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69144 w 4501379"/>
                    <a:gd name="connsiteY60" fmla="*/ 504825 h 4429294"/>
                    <a:gd name="connsiteX61" fmla="*/ 1148544 w 4501379"/>
                    <a:gd name="connsiteY61" fmla="*/ 311150 h 4429294"/>
                    <a:gd name="connsiteX62" fmla="*/ 1507319 w 4501379"/>
                    <a:gd name="connsiteY62" fmla="*/ 152400 h 4429294"/>
                    <a:gd name="connsiteX63" fmla="*/ 1621619 w 4501379"/>
                    <a:gd name="connsiteY63" fmla="*/ 111125 h 4429294"/>
                    <a:gd name="connsiteX64" fmla="*/ 2253444 w 4501379"/>
                    <a:gd name="connsiteY6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64319 w 4501379"/>
                    <a:gd name="connsiteY53" fmla="*/ 1009650 h 4429294"/>
                    <a:gd name="connsiteX54" fmla="*/ 421469 w 4501379"/>
                    <a:gd name="connsiteY54" fmla="*/ 904875 h 4429294"/>
                    <a:gd name="connsiteX55" fmla="*/ 459569 w 4501379"/>
                    <a:gd name="connsiteY55" fmla="*/ 857250 h 4429294"/>
                    <a:gd name="connsiteX56" fmla="*/ 478619 w 4501379"/>
                    <a:gd name="connsiteY56" fmla="*/ 828675 h 4429294"/>
                    <a:gd name="connsiteX57" fmla="*/ 516719 w 4501379"/>
                    <a:gd name="connsiteY57" fmla="*/ 800100 h 4429294"/>
                    <a:gd name="connsiteX58" fmla="*/ 650069 w 4501379"/>
                    <a:gd name="connsiteY58" fmla="*/ 676275 h 4429294"/>
                    <a:gd name="connsiteX59" fmla="*/ 869144 w 4501379"/>
                    <a:gd name="connsiteY59" fmla="*/ 504825 h 4429294"/>
                    <a:gd name="connsiteX60" fmla="*/ 1148544 w 4501379"/>
                    <a:gd name="connsiteY60" fmla="*/ 311150 h 4429294"/>
                    <a:gd name="connsiteX61" fmla="*/ 1507319 w 4501379"/>
                    <a:gd name="connsiteY61" fmla="*/ 152400 h 4429294"/>
                    <a:gd name="connsiteX62" fmla="*/ 1621619 w 4501379"/>
                    <a:gd name="connsiteY62" fmla="*/ 111125 h 4429294"/>
                    <a:gd name="connsiteX63" fmla="*/ 2253444 w 4501379"/>
                    <a:gd name="connsiteY63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21469 w 4501379"/>
                    <a:gd name="connsiteY53" fmla="*/ 904875 h 4429294"/>
                    <a:gd name="connsiteX54" fmla="*/ 459569 w 4501379"/>
                    <a:gd name="connsiteY54" fmla="*/ 857250 h 4429294"/>
                    <a:gd name="connsiteX55" fmla="*/ 478619 w 4501379"/>
                    <a:gd name="connsiteY55" fmla="*/ 828675 h 4429294"/>
                    <a:gd name="connsiteX56" fmla="*/ 516719 w 4501379"/>
                    <a:gd name="connsiteY56" fmla="*/ 800100 h 4429294"/>
                    <a:gd name="connsiteX57" fmla="*/ 650069 w 4501379"/>
                    <a:gd name="connsiteY57" fmla="*/ 676275 h 4429294"/>
                    <a:gd name="connsiteX58" fmla="*/ 869144 w 4501379"/>
                    <a:gd name="connsiteY58" fmla="*/ 504825 h 4429294"/>
                    <a:gd name="connsiteX59" fmla="*/ 1148544 w 4501379"/>
                    <a:gd name="connsiteY59" fmla="*/ 311150 h 4429294"/>
                    <a:gd name="connsiteX60" fmla="*/ 1507319 w 4501379"/>
                    <a:gd name="connsiteY60" fmla="*/ 152400 h 4429294"/>
                    <a:gd name="connsiteX61" fmla="*/ 1621619 w 4501379"/>
                    <a:gd name="connsiteY61" fmla="*/ 111125 h 4429294"/>
                    <a:gd name="connsiteX62" fmla="*/ 2253444 w 4501379"/>
                    <a:gd name="connsiteY62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478619 w 4501379"/>
                    <a:gd name="connsiteY54" fmla="*/ 828675 h 4429294"/>
                    <a:gd name="connsiteX55" fmla="*/ 516719 w 4501379"/>
                    <a:gd name="connsiteY55" fmla="*/ 800100 h 4429294"/>
                    <a:gd name="connsiteX56" fmla="*/ 650069 w 4501379"/>
                    <a:gd name="connsiteY56" fmla="*/ 676275 h 4429294"/>
                    <a:gd name="connsiteX57" fmla="*/ 869144 w 4501379"/>
                    <a:gd name="connsiteY57" fmla="*/ 504825 h 4429294"/>
                    <a:gd name="connsiteX58" fmla="*/ 1148544 w 4501379"/>
                    <a:gd name="connsiteY58" fmla="*/ 311150 h 4429294"/>
                    <a:gd name="connsiteX59" fmla="*/ 1507319 w 4501379"/>
                    <a:gd name="connsiteY59" fmla="*/ 152400 h 4429294"/>
                    <a:gd name="connsiteX60" fmla="*/ 1621619 w 4501379"/>
                    <a:gd name="connsiteY60" fmla="*/ 111125 h 4429294"/>
                    <a:gd name="connsiteX61" fmla="*/ 2253444 w 4501379"/>
                    <a:gd name="connsiteY61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516719 w 4501379"/>
                    <a:gd name="connsiteY54" fmla="*/ 800100 h 4429294"/>
                    <a:gd name="connsiteX55" fmla="*/ 650069 w 4501379"/>
                    <a:gd name="connsiteY55" fmla="*/ 676275 h 4429294"/>
                    <a:gd name="connsiteX56" fmla="*/ 869144 w 4501379"/>
                    <a:gd name="connsiteY56" fmla="*/ 504825 h 4429294"/>
                    <a:gd name="connsiteX57" fmla="*/ 1148544 w 4501379"/>
                    <a:gd name="connsiteY57" fmla="*/ 311150 h 4429294"/>
                    <a:gd name="connsiteX58" fmla="*/ 1507319 w 4501379"/>
                    <a:gd name="connsiteY58" fmla="*/ 152400 h 4429294"/>
                    <a:gd name="connsiteX59" fmla="*/ 1621619 w 4501379"/>
                    <a:gd name="connsiteY59" fmla="*/ 111125 h 4429294"/>
                    <a:gd name="connsiteX60" fmla="*/ 2253444 w 4501379"/>
                    <a:gd name="connsiteY60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69069 w 4501379"/>
                    <a:gd name="connsiteY50" fmla="*/ 1152525 h 4429294"/>
                    <a:gd name="connsiteX51" fmla="*/ 297644 w 4501379"/>
                    <a:gd name="connsiteY51" fmla="*/ 1114425 h 4429294"/>
                    <a:gd name="connsiteX52" fmla="*/ 459569 w 4501379"/>
                    <a:gd name="connsiteY52" fmla="*/ 857250 h 4429294"/>
                    <a:gd name="connsiteX53" fmla="*/ 516719 w 4501379"/>
                    <a:gd name="connsiteY53" fmla="*/ 800100 h 4429294"/>
                    <a:gd name="connsiteX54" fmla="*/ 650069 w 4501379"/>
                    <a:gd name="connsiteY54" fmla="*/ 676275 h 4429294"/>
                    <a:gd name="connsiteX55" fmla="*/ 869144 w 4501379"/>
                    <a:gd name="connsiteY55" fmla="*/ 504825 h 4429294"/>
                    <a:gd name="connsiteX56" fmla="*/ 1148544 w 4501379"/>
                    <a:gd name="connsiteY56" fmla="*/ 311150 h 4429294"/>
                    <a:gd name="connsiteX57" fmla="*/ 1507319 w 4501379"/>
                    <a:gd name="connsiteY57" fmla="*/ 152400 h 4429294"/>
                    <a:gd name="connsiteX58" fmla="*/ 1621619 w 4501379"/>
                    <a:gd name="connsiteY58" fmla="*/ 111125 h 4429294"/>
                    <a:gd name="connsiteX59" fmla="*/ 2253444 w 4501379"/>
                    <a:gd name="connsiteY59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97644 w 4501379"/>
                    <a:gd name="connsiteY50" fmla="*/ 1114425 h 4429294"/>
                    <a:gd name="connsiteX51" fmla="*/ 459569 w 4501379"/>
                    <a:gd name="connsiteY51" fmla="*/ 857250 h 4429294"/>
                    <a:gd name="connsiteX52" fmla="*/ 516719 w 4501379"/>
                    <a:gd name="connsiteY52" fmla="*/ 800100 h 4429294"/>
                    <a:gd name="connsiteX53" fmla="*/ 650069 w 4501379"/>
                    <a:gd name="connsiteY53" fmla="*/ 676275 h 4429294"/>
                    <a:gd name="connsiteX54" fmla="*/ 869144 w 4501379"/>
                    <a:gd name="connsiteY54" fmla="*/ 504825 h 4429294"/>
                    <a:gd name="connsiteX55" fmla="*/ 1148544 w 4501379"/>
                    <a:gd name="connsiteY55" fmla="*/ 311150 h 4429294"/>
                    <a:gd name="connsiteX56" fmla="*/ 1507319 w 4501379"/>
                    <a:gd name="connsiteY56" fmla="*/ 152400 h 4429294"/>
                    <a:gd name="connsiteX57" fmla="*/ 1621619 w 4501379"/>
                    <a:gd name="connsiteY57" fmla="*/ 111125 h 4429294"/>
                    <a:gd name="connsiteX58" fmla="*/ 2253444 w 4501379"/>
                    <a:gd name="connsiteY58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97644 w 4501379"/>
                    <a:gd name="connsiteY49" fmla="*/ 1114425 h 4429294"/>
                    <a:gd name="connsiteX50" fmla="*/ 459569 w 4501379"/>
                    <a:gd name="connsiteY50" fmla="*/ 857250 h 4429294"/>
                    <a:gd name="connsiteX51" fmla="*/ 516719 w 4501379"/>
                    <a:gd name="connsiteY51" fmla="*/ 800100 h 4429294"/>
                    <a:gd name="connsiteX52" fmla="*/ 650069 w 4501379"/>
                    <a:gd name="connsiteY52" fmla="*/ 676275 h 4429294"/>
                    <a:gd name="connsiteX53" fmla="*/ 869144 w 4501379"/>
                    <a:gd name="connsiteY53" fmla="*/ 504825 h 4429294"/>
                    <a:gd name="connsiteX54" fmla="*/ 1148544 w 4501379"/>
                    <a:gd name="connsiteY54" fmla="*/ 311150 h 4429294"/>
                    <a:gd name="connsiteX55" fmla="*/ 1507319 w 4501379"/>
                    <a:gd name="connsiteY55" fmla="*/ 152400 h 4429294"/>
                    <a:gd name="connsiteX56" fmla="*/ 1621619 w 4501379"/>
                    <a:gd name="connsiteY56" fmla="*/ 111125 h 4429294"/>
                    <a:gd name="connsiteX57" fmla="*/ 2253444 w 4501379"/>
                    <a:gd name="connsiteY5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35719 w 4501379"/>
                    <a:gd name="connsiteY46" fmla="*/ 1419225 h 4429294"/>
                    <a:gd name="connsiteX47" fmla="*/ 211919 w 4501379"/>
                    <a:gd name="connsiteY47" fmla="*/ 1276350 h 4429294"/>
                    <a:gd name="connsiteX48" fmla="*/ 297644 w 4501379"/>
                    <a:gd name="connsiteY48" fmla="*/ 1114425 h 4429294"/>
                    <a:gd name="connsiteX49" fmla="*/ 459569 w 4501379"/>
                    <a:gd name="connsiteY49" fmla="*/ 857250 h 4429294"/>
                    <a:gd name="connsiteX50" fmla="*/ 516719 w 4501379"/>
                    <a:gd name="connsiteY50" fmla="*/ 800100 h 4429294"/>
                    <a:gd name="connsiteX51" fmla="*/ 650069 w 4501379"/>
                    <a:gd name="connsiteY51" fmla="*/ 676275 h 4429294"/>
                    <a:gd name="connsiteX52" fmla="*/ 869144 w 4501379"/>
                    <a:gd name="connsiteY52" fmla="*/ 504825 h 4429294"/>
                    <a:gd name="connsiteX53" fmla="*/ 1148544 w 4501379"/>
                    <a:gd name="connsiteY53" fmla="*/ 311150 h 4429294"/>
                    <a:gd name="connsiteX54" fmla="*/ 1507319 w 4501379"/>
                    <a:gd name="connsiteY54" fmla="*/ 152400 h 4429294"/>
                    <a:gd name="connsiteX55" fmla="*/ 1621619 w 4501379"/>
                    <a:gd name="connsiteY55" fmla="*/ 111125 h 4429294"/>
                    <a:gd name="connsiteX56" fmla="*/ 2253444 w 4501379"/>
                    <a:gd name="connsiteY5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88094 w 4501379"/>
                    <a:gd name="connsiteY44" fmla="*/ 1590675 h 4429294"/>
                    <a:gd name="connsiteX45" fmla="*/ 135719 w 4501379"/>
                    <a:gd name="connsiteY45" fmla="*/ 1419225 h 4429294"/>
                    <a:gd name="connsiteX46" fmla="*/ 211919 w 4501379"/>
                    <a:gd name="connsiteY46" fmla="*/ 1276350 h 4429294"/>
                    <a:gd name="connsiteX47" fmla="*/ 297644 w 4501379"/>
                    <a:gd name="connsiteY47" fmla="*/ 1114425 h 4429294"/>
                    <a:gd name="connsiteX48" fmla="*/ 459569 w 4501379"/>
                    <a:gd name="connsiteY48" fmla="*/ 857250 h 4429294"/>
                    <a:gd name="connsiteX49" fmla="*/ 516719 w 4501379"/>
                    <a:gd name="connsiteY49" fmla="*/ 800100 h 4429294"/>
                    <a:gd name="connsiteX50" fmla="*/ 650069 w 4501379"/>
                    <a:gd name="connsiteY50" fmla="*/ 676275 h 4429294"/>
                    <a:gd name="connsiteX51" fmla="*/ 869144 w 4501379"/>
                    <a:gd name="connsiteY51" fmla="*/ 504825 h 4429294"/>
                    <a:gd name="connsiteX52" fmla="*/ 1148544 w 4501379"/>
                    <a:gd name="connsiteY52" fmla="*/ 311150 h 4429294"/>
                    <a:gd name="connsiteX53" fmla="*/ 1507319 w 4501379"/>
                    <a:gd name="connsiteY53" fmla="*/ 152400 h 4429294"/>
                    <a:gd name="connsiteX54" fmla="*/ 1621619 w 4501379"/>
                    <a:gd name="connsiteY54" fmla="*/ 111125 h 4429294"/>
                    <a:gd name="connsiteX55" fmla="*/ 2253444 w 4501379"/>
                    <a:gd name="connsiteY5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88094 w 4501379"/>
                    <a:gd name="connsiteY43" fmla="*/ 1590675 h 4429294"/>
                    <a:gd name="connsiteX44" fmla="*/ 135719 w 4501379"/>
                    <a:gd name="connsiteY44" fmla="*/ 1419225 h 4429294"/>
                    <a:gd name="connsiteX45" fmla="*/ 211919 w 4501379"/>
                    <a:gd name="connsiteY45" fmla="*/ 1276350 h 4429294"/>
                    <a:gd name="connsiteX46" fmla="*/ 297644 w 4501379"/>
                    <a:gd name="connsiteY46" fmla="*/ 1114425 h 4429294"/>
                    <a:gd name="connsiteX47" fmla="*/ 459569 w 4501379"/>
                    <a:gd name="connsiteY47" fmla="*/ 857250 h 4429294"/>
                    <a:gd name="connsiteX48" fmla="*/ 516719 w 4501379"/>
                    <a:gd name="connsiteY48" fmla="*/ 800100 h 4429294"/>
                    <a:gd name="connsiteX49" fmla="*/ 650069 w 4501379"/>
                    <a:gd name="connsiteY49" fmla="*/ 676275 h 4429294"/>
                    <a:gd name="connsiteX50" fmla="*/ 869144 w 4501379"/>
                    <a:gd name="connsiteY50" fmla="*/ 504825 h 4429294"/>
                    <a:gd name="connsiteX51" fmla="*/ 1148544 w 4501379"/>
                    <a:gd name="connsiteY51" fmla="*/ 311150 h 4429294"/>
                    <a:gd name="connsiteX52" fmla="*/ 1507319 w 4501379"/>
                    <a:gd name="connsiteY52" fmla="*/ 152400 h 4429294"/>
                    <a:gd name="connsiteX53" fmla="*/ 1621619 w 4501379"/>
                    <a:gd name="connsiteY53" fmla="*/ 111125 h 4429294"/>
                    <a:gd name="connsiteX54" fmla="*/ 2253444 w 4501379"/>
                    <a:gd name="connsiteY5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88094 w 4501379"/>
                    <a:gd name="connsiteY42" fmla="*/ 1590675 h 4429294"/>
                    <a:gd name="connsiteX43" fmla="*/ 135719 w 4501379"/>
                    <a:gd name="connsiteY43" fmla="*/ 1419225 h 4429294"/>
                    <a:gd name="connsiteX44" fmla="*/ 211919 w 4501379"/>
                    <a:gd name="connsiteY44" fmla="*/ 1276350 h 4429294"/>
                    <a:gd name="connsiteX45" fmla="*/ 297644 w 4501379"/>
                    <a:gd name="connsiteY45" fmla="*/ 1114425 h 4429294"/>
                    <a:gd name="connsiteX46" fmla="*/ 459569 w 4501379"/>
                    <a:gd name="connsiteY46" fmla="*/ 857250 h 4429294"/>
                    <a:gd name="connsiteX47" fmla="*/ 516719 w 4501379"/>
                    <a:gd name="connsiteY47" fmla="*/ 800100 h 4429294"/>
                    <a:gd name="connsiteX48" fmla="*/ 650069 w 4501379"/>
                    <a:gd name="connsiteY48" fmla="*/ 676275 h 4429294"/>
                    <a:gd name="connsiteX49" fmla="*/ 869144 w 4501379"/>
                    <a:gd name="connsiteY49" fmla="*/ 504825 h 4429294"/>
                    <a:gd name="connsiteX50" fmla="*/ 1148544 w 4501379"/>
                    <a:gd name="connsiteY50" fmla="*/ 311150 h 4429294"/>
                    <a:gd name="connsiteX51" fmla="*/ 1507319 w 4501379"/>
                    <a:gd name="connsiteY51" fmla="*/ 152400 h 4429294"/>
                    <a:gd name="connsiteX52" fmla="*/ 1621619 w 4501379"/>
                    <a:gd name="connsiteY52" fmla="*/ 111125 h 4429294"/>
                    <a:gd name="connsiteX53" fmla="*/ 2253444 w 4501379"/>
                    <a:gd name="connsiteY53" fmla="*/ 12700 h 4429294"/>
                    <a:gd name="connsiteX0" fmla="*/ 2277090 w 4499625"/>
                    <a:gd name="connsiteY0" fmla="*/ 0 h 4429294"/>
                    <a:gd name="connsiteX1" fmla="*/ 2600940 w 4499625"/>
                    <a:gd name="connsiteY1" fmla="*/ 15875 h 4429294"/>
                    <a:gd name="connsiteX2" fmla="*/ 2896215 w 4499625"/>
                    <a:gd name="connsiteY2" fmla="*/ 85725 h 4429294"/>
                    <a:gd name="connsiteX3" fmla="*/ 3115290 w 4499625"/>
                    <a:gd name="connsiteY3" fmla="*/ 171450 h 4429294"/>
                    <a:gd name="connsiteX4" fmla="*/ 3220065 w 4499625"/>
                    <a:gd name="connsiteY4" fmla="*/ 228600 h 4429294"/>
                    <a:gd name="connsiteX5" fmla="*/ 3401040 w 4499625"/>
                    <a:gd name="connsiteY5" fmla="*/ 323850 h 4429294"/>
                    <a:gd name="connsiteX6" fmla="*/ 3791565 w 4499625"/>
                    <a:gd name="connsiteY6" fmla="*/ 581025 h 4429294"/>
                    <a:gd name="connsiteX7" fmla="*/ 4007465 w 4499625"/>
                    <a:gd name="connsiteY7" fmla="*/ 819150 h 4429294"/>
                    <a:gd name="connsiteX8" fmla="*/ 4143990 w 4499625"/>
                    <a:gd name="connsiteY8" fmla="*/ 990600 h 4429294"/>
                    <a:gd name="connsiteX9" fmla="*/ 4229715 w 4499625"/>
                    <a:gd name="connsiteY9" fmla="*/ 1143000 h 4429294"/>
                    <a:gd name="connsiteX10" fmla="*/ 4286865 w 4499625"/>
                    <a:gd name="connsiteY10" fmla="*/ 1266825 h 4429294"/>
                    <a:gd name="connsiteX11" fmla="*/ 4324965 w 4499625"/>
                    <a:gd name="connsiteY11" fmla="*/ 1362075 h 4429294"/>
                    <a:gd name="connsiteX12" fmla="*/ 4372590 w 4499625"/>
                    <a:gd name="connsiteY12" fmla="*/ 1552575 h 4429294"/>
                    <a:gd name="connsiteX13" fmla="*/ 4410690 w 4499625"/>
                    <a:gd name="connsiteY13" fmla="*/ 1685925 h 4429294"/>
                    <a:gd name="connsiteX14" fmla="*/ 4499590 w 4499625"/>
                    <a:gd name="connsiteY14" fmla="*/ 2181225 h 4429294"/>
                    <a:gd name="connsiteX15" fmla="*/ 4426565 w 4499625"/>
                    <a:gd name="connsiteY15" fmla="*/ 2768600 h 4429294"/>
                    <a:gd name="connsiteX16" fmla="*/ 4363065 w 4499625"/>
                    <a:gd name="connsiteY16" fmla="*/ 2990850 h 4429294"/>
                    <a:gd name="connsiteX17" fmla="*/ 4258290 w 4499625"/>
                    <a:gd name="connsiteY17" fmla="*/ 3248025 h 4429294"/>
                    <a:gd name="connsiteX18" fmla="*/ 4163040 w 4499625"/>
                    <a:gd name="connsiteY18" fmla="*/ 3400425 h 4429294"/>
                    <a:gd name="connsiteX19" fmla="*/ 4039215 w 4499625"/>
                    <a:gd name="connsiteY19" fmla="*/ 3533775 h 4429294"/>
                    <a:gd name="connsiteX20" fmla="*/ 3934440 w 4499625"/>
                    <a:gd name="connsiteY20" fmla="*/ 3648075 h 4429294"/>
                    <a:gd name="connsiteX21" fmla="*/ 3639165 w 4499625"/>
                    <a:gd name="connsiteY21" fmla="*/ 3971925 h 4429294"/>
                    <a:gd name="connsiteX22" fmla="*/ 3496290 w 4499625"/>
                    <a:gd name="connsiteY22" fmla="*/ 4083050 h 4429294"/>
                    <a:gd name="connsiteX23" fmla="*/ 3201015 w 4499625"/>
                    <a:gd name="connsiteY23" fmla="*/ 4222750 h 4429294"/>
                    <a:gd name="connsiteX24" fmla="*/ 3048615 w 4499625"/>
                    <a:gd name="connsiteY24" fmla="*/ 4286250 h 4429294"/>
                    <a:gd name="connsiteX25" fmla="*/ 2915265 w 4499625"/>
                    <a:gd name="connsiteY25" fmla="*/ 4333875 h 4429294"/>
                    <a:gd name="connsiteX26" fmla="*/ 2791440 w 4499625"/>
                    <a:gd name="connsiteY26" fmla="*/ 4371975 h 4429294"/>
                    <a:gd name="connsiteX27" fmla="*/ 2559665 w 4499625"/>
                    <a:gd name="connsiteY27" fmla="*/ 4391025 h 4429294"/>
                    <a:gd name="connsiteX28" fmla="*/ 2105640 w 4499625"/>
                    <a:gd name="connsiteY28" fmla="*/ 4429125 h 4429294"/>
                    <a:gd name="connsiteX29" fmla="*/ 1915140 w 4499625"/>
                    <a:gd name="connsiteY29" fmla="*/ 4400550 h 4429294"/>
                    <a:gd name="connsiteX30" fmla="*/ 1553190 w 4499625"/>
                    <a:gd name="connsiteY30" fmla="*/ 4305300 h 4429294"/>
                    <a:gd name="connsiteX31" fmla="*/ 1311890 w 4499625"/>
                    <a:gd name="connsiteY31" fmla="*/ 4216400 h 4429294"/>
                    <a:gd name="connsiteX32" fmla="*/ 1143615 w 4499625"/>
                    <a:gd name="connsiteY32" fmla="*/ 4111625 h 4429294"/>
                    <a:gd name="connsiteX33" fmla="*/ 924540 w 4499625"/>
                    <a:gd name="connsiteY33" fmla="*/ 3968750 h 4429294"/>
                    <a:gd name="connsiteX34" fmla="*/ 591165 w 4499625"/>
                    <a:gd name="connsiteY34" fmla="*/ 3657600 h 4429294"/>
                    <a:gd name="connsiteX35" fmla="*/ 445115 w 4499625"/>
                    <a:gd name="connsiteY35" fmla="*/ 3470275 h 4429294"/>
                    <a:gd name="connsiteX36" fmla="*/ 314940 w 4499625"/>
                    <a:gd name="connsiteY36" fmla="*/ 3244850 h 4429294"/>
                    <a:gd name="connsiteX37" fmla="*/ 162540 w 4499625"/>
                    <a:gd name="connsiteY37" fmla="*/ 2892425 h 4429294"/>
                    <a:gd name="connsiteX38" fmla="*/ 54590 w 4499625"/>
                    <a:gd name="connsiteY38" fmla="*/ 2368550 h 4429294"/>
                    <a:gd name="connsiteX39" fmla="*/ 615 w 4499625"/>
                    <a:gd name="connsiteY39" fmla="*/ 1905000 h 4429294"/>
                    <a:gd name="connsiteX40" fmla="*/ 29190 w 4499625"/>
                    <a:gd name="connsiteY40" fmla="*/ 1781175 h 4429294"/>
                    <a:gd name="connsiteX41" fmla="*/ 86340 w 4499625"/>
                    <a:gd name="connsiteY41" fmla="*/ 1590675 h 4429294"/>
                    <a:gd name="connsiteX42" fmla="*/ 133965 w 4499625"/>
                    <a:gd name="connsiteY42" fmla="*/ 1419225 h 4429294"/>
                    <a:gd name="connsiteX43" fmla="*/ 210165 w 4499625"/>
                    <a:gd name="connsiteY43" fmla="*/ 1276350 h 4429294"/>
                    <a:gd name="connsiteX44" fmla="*/ 295890 w 4499625"/>
                    <a:gd name="connsiteY44" fmla="*/ 1114425 h 4429294"/>
                    <a:gd name="connsiteX45" fmla="*/ 457815 w 4499625"/>
                    <a:gd name="connsiteY45" fmla="*/ 857250 h 4429294"/>
                    <a:gd name="connsiteX46" fmla="*/ 514965 w 4499625"/>
                    <a:gd name="connsiteY46" fmla="*/ 800100 h 4429294"/>
                    <a:gd name="connsiteX47" fmla="*/ 648315 w 4499625"/>
                    <a:gd name="connsiteY47" fmla="*/ 676275 h 4429294"/>
                    <a:gd name="connsiteX48" fmla="*/ 867390 w 4499625"/>
                    <a:gd name="connsiteY48" fmla="*/ 504825 h 4429294"/>
                    <a:gd name="connsiteX49" fmla="*/ 1146790 w 4499625"/>
                    <a:gd name="connsiteY49" fmla="*/ 311150 h 4429294"/>
                    <a:gd name="connsiteX50" fmla="*/ 1505565 w 4499625"/>
                    <a:gd name="connsiteY50" fmla="*/ 152400 h 4429294"/>
                    <a:gd name="connsiteX51" fmla="*/ 1619865 w 4499625"/>
                    <a:gd name="connsiteY51" fmla="*/ 111125 h 4429294"/>
                    <a:gd name="connsiteX52" fmla="*/ 2251690 w 4499625"/>
                    <a:gd name="connsiteY52" fmla="*/ 12700 h 4429294"/>
                    <a:gd name="connsiteX0" fmla="*/ 2249427 w 4471962"/>
                    <a:gd name="connsiteY0" fmla="*/ 0 h 4429294"/>
                    <a:gd name="connsiteX1" fmla="*/ 2573277 w 4471962"/>
                    <a:gd name="connsiteY1" fmla="*/ 15875 h 4429294"/>
                    <a:gd name="connsiteX2" fmla="*/ 2868552 w 4471962"/>
                    <a:gd name="connsiteY2" fmla="*/ 85725 h 4429294"/>
                    <a:gd name="connsiteX3" fmla="*/ 3087627 w 4471962"/>
                    <a:gd name="connsiteY3" fmla="*/ 171450 h 4429294"/>
                    <a:gd name="connsiteX4" fmla="*/ 3192402 w 4471962"/>
                    <a:gd name="connsiteY4" fmla="*/ 228600 h 4429294"/>
                    <a:gd name="connsiteX5" fmla="*/ 3373377 w 4471962"/>
                    <a:gd name="connsiteY5" fmla="*/ 323850 h 4429294"/>
                    <a:gd name="connsiteX6" fmla="*/ 3763902 w 4471962"/>
                    <a:gd name="connsiteY6" fmla="*/ 581025 h 4429294"/>
                    <a:gd name="connsiteX7" fmla="*/ 3979802 w 4471962"/>
                    <a:gd name="connsiteY7" fmla="*/ 819150 h 4429294"/>
                    <a:gd name="connsiteX8" fmla="*/ 4116327 w 4471962"/>
                    <a:gd name="connsiteY8" fmla="*/ 990600 h 4429294"/>
                    <a:gd name="connsiteX9" fmla="*/ 4202052 w 4471962"/>
                    <a:gd name="connsiteY9" fmla="*/ 1143000 h 4429294"/>
                    <a:gd name="connsiteX10" fmla="*/ 4259202 w 4471962"/>
                    <a:gd name="connsiteY10" fmla="*/ 1266825 h 4429294"/>
                    <a:gd name="connsiteX11" fmla="*/ 4297302 w 4471962"/>
                    <a:gd name="connsiteY11" fmla="*/ 1362075 h 4429294"/>
                    <a:gd name="connsiteX12" fmla="*/ 4344927 w 4471962"/>
                    <a:gd name="connsiteY12" fmla="*/ 1552575 h 4429294"/>
                    <a:gd name="connsiteX13" fmla="*/ 4383027 w 4471962"/>
                    <a:gd name="connsiteY13" fmla="*/ 1685925 h 4429294"/>
                    <a:gd name="connsiteX14" fmla="*/ 4471927 w 4471962"/>
                    <a:gd name="connsiteY14" fmla="*/ 2181225 h 4429294"/>
                    <a:gd name="connsiteX15" fmla="*/ 4398902 w 4471962"/>
                    <a:gd name="connsiteY15" fmla="*/ 2768600 h 4429294"/>
                    <a:gd name="connsiteX16" fmla="*/ 4335402 w 4471962"/>
                    <a:gd name="connsiteY16" fmla="*/ 2990850 h 4429294"/>
                    <a:gd name="connsiteX17" fmla="*/ 4230627 w 4471962"/>
                    <a:gd name="connsiteY17" fmla="*/ 3248025 h 4429294"/>
                    <a:gd name="connsiteX18" fmla="*/ 4135377 w 4471962"/>
                    <a:gd name="connsiteY18" fmla="*/ 3400425 h 4429294"/>
                    <a:gd name="connsiteX19" fmla="*/ 4011552 w 4471962"/>
                    <a:gd name="connsiteY19" fmla="*/ 3533775 h 4429294"/>
                    <a:gd name="connsiteX20" fmla="*/ 3906777 w 4471962"/>
                    <a:gd name="connsiteY20" fmla="*/ 3648075 h 4429294"/>
                    <a:gd name="connsiteX21" fmla="*/ 3611502 w 4471962"/>
                    <a:gd name="connsiteY21" fmla="*/ 3971925 h 4429294"/>
                    <a:gd name="connsiteX22" fmla="*/ 3468627 w 4471962"/>
                    <a:gd name="connsiteY22" fmla="*/ 4083050 h 4429294"/>
                    <a:gd name="connsiteX23" fmla="*/ 3173352 w 4471962"/>
                    <a:gd name="connsiteY23" fmla="*/ 4222750 h 4429294"/>
                    <a:gd name="connsiteX24" fmla="*/ 3020952 w 4471962"/>
                    <a:gd name="connsiteY24" fmla="*/ 4286250 h 4429294"/>
                    <a:gd name="connsiteX25" fmla="*/ 2887602 w 4471962"/>
                    <a:gd name="connsiteY25" fmla="*/ 4333875 h 4429294"/>
                    <a:gd name="connsiteX26" fmla="*/ 2763777 w 4471962"/>
                    <a:gd name="connsiteY26" fmla="*/ 4371975 h 4429294"/>
                    <a:gd name="connsiteX27" fmla="*/ 2532002 w 4471962"/>
                    <a:gd name="connsiteY27" fmla="*/ 4391025 h 4429294"/>
                    <a:gd name="connsiteX28" fmla="*/ 2077977 w 4471962"/>
                    <a:gd name="connsiteY28" fmla="*/ 4429125 h 4429294"/>
                    <a:gd name="connsiteX29" fmla="*/ 1887477 w 4471962"/>
                    <a:gd name="connsiteY29" fmla="*/ 4400550 h 4429294"/>
                    <a:gd name="connsiteX30" fmla="*/ 1525527 w 4471962"/>
                    <a:gd name="connsiteY30" fmla="*/ 4305300 h 4429294"/>
                    <a:gd name="connsiteX31" fmla="*/ 1284227 w 4471962"/>
                    <a:gd name="connsiteY31" fmla="*/ 4216400 h 4429294"/>
                    <a:gd name="connsiteX32" fmla="*/ 1115952 w 4471962"/>
                    <a:gd name="connsiteY32" fmla="*/ 4111625 h 4429294"/>
                    <a:gd name="connsiteX33" fmla="*/ 896877 w 4471962"/>
                    <a:gd name="connsiteY33" fmla="*/ 3968750 h 4429294"/>
                    <a:gd name="connsiteX34" fmla="*/ 563502 w 4471962"/>
                    <a:gd name="connsiteY34" fmla="*/ 3657600 h 4429294"/>
                    <a:gd name="connsiteX35" fmla="*/ 417452 w 4471962"/>
                    <a:gd name="connsiteY35" fmla="*/ 3470275 h 4429294"/>
                    <a:gd name="connsiteX36" fmla="*/ 287277 w 4471962"/>
                    <a:gd name="connsiteY36" fmla="*/ 3244850 h 4429294"/>
                    <a:gd name="connsiteX37" fmla="*/ 134877 w 4471962"/>
                    <a:gd name="connsiteY37" fmla="*/ 2892425 h 4429294"/>
                    <a:gd name="connsiteX38" fmla="*/ 26927 w 4471962"/>
                    <a:gd name="connsiteY38" fmla="*/ 2368550 h 4429294"/>
                    <a:gd name="connsiteX39" fmla="*/ 1527 w 4471962"/>
                    <a:gd name="connsiteY39" fmla="*/ 1781175 h 4429294"/>
                    <a:gd name="connsiteX40" fmla="*/ 58677 w 4471962"/>
                    <a:gd name="connsiteY40" fmla="*/ 1590675 h 4429294"/>
                    <a:gd name="connsiteX41" fmla="*/ 106302 w 4471962"/>
                    <a:gd name="connsiteY41" fmla="*/ 1419225 h 4429294"/>
                    <a:gd name="connsiteX42" fmla="*/ 182502 w 4471962"/>
                    <a:gd name="connsiteY42" fmla="*/ 1276350 h 4429294"/>
                    <a:gd name="connsiteX43" fmla="*/ 268227 w 4471962"/>
                    <a:gd name="connsiteY43" fmla="*/ 1114425 h 4429294"/>
                    <a:gd name="connsiteX44" fmla="*/ 430152 w 4471962"/>
                    <a:gd name="connsiteY44" fmla="*/ 857250 h 4429294"/>
                    <a:gd name="connsiteX45" fmla="*/ 487302 w 4471962"/>
                    <a:gd name="connsiteY45" fmla="*/ 800100 h 4429294"/>
                    <a:gd name="connsiteX46" fmla="*/ 620652 w 4471962"/>
                    <a:gd name="connsiteY46" fmla="*/ 676275 h 4429294"/>
                    <a:gd name="connsiteX47" fmla="*/ 839727 w 4471962"/>
                    <a:gd name="connsiteY47" fmla="*/ 504825 h 4429294"/>
                    <a:gd name="connsiteX48" fmla="*/ 1119127 w 4471962"/>
                    <a:gd name="connsiteY48" fmla="*/ 311150 h 4429294"/>
                    <a:gd name="connsiteX49" fmla="*/ 1477902 w 4471962"/>
                    <a:gd name="connsiteY49" fmla="*/ 152400 h 4429294"/>
                    <a:gd name="connsiteX50" fmla="*/ 1592202 w 4471962"/>
                    <a:gd name="connsiteY50" fmla="*/ 111125 h 4429294"/>
                    <a:gd name="connsiteX51" fmla="*/ 2224027 w 4471962"/>
                    <a:gd name="connsiteY51" fmla="*/ 12700 h 4429294"/>
                    <a:gd name="connsiteX0" fmla="*/ 2231942 w 4454477"/>
                    <a:gd name="connsiteY0" fmla="*/ 0 h 4429294"/>
                    <a:gd name="connsiteX1" fmla="*/ 2555792 w 4454477"/>
                    <a:gd name="connsiteY1" fmla="*/ 15875 h 4429294"/>
                    <a:gd name="connsiteX2" fmla="*/ 2851067 w 4454477"/>
                    <a:gd name="connsiteY2" fmla="*/ 85725 h 4429294"/>
                    <a:gd name="connsiteX3" fmla="*/ 3070142 w 4454477"/>
                    <a:gd name="connsiteY3" fmla="*/ 171450 h 4429294"/>
                    <a:gd name="connsiteX4" fmla="*/ 3174917 w 4454477"/>
                    <a:gd name="connsiteY4" fmla="*/ 228600 h 4429294"/>
                    <a:gd name="connsiteX5" fmla="*/ 3355892 w 4454477"/>
                    <a:gd name="connsiteY5" fmla="*/ 323850 h 4429294"/>
                    <a:gd name="connsiteX6" fmla="*/ 3746417 w 4454477"/>
                    <a:gd name="connsiteY6" fmla="*/ 581025 h 4429294"/>
                    <a:gd name="connsiteX7" fmla="*/ 3962317 w 4454477"/>
                    <a:gd name="connsiteY7" fmla="*/ 819150 h 4429294"/>
                    <a:gd name="connsiteX8" fmla="*/ 4098842 w 4454477"/>
                    <a:gd name="connsiteY8" fmla="*/ 990600 h 4429294"/>
                    <a:gd name="connsiteX9" fmla="*/ 4184567 w 4454477"/>
                    <a:gd name="connsiteY9" fmla="*/ 1143000 h 4429294"/>
                    <a:gd name="connsiteX10" fmla="*/ 4241717 w 4454477"/>
                    <a:gd name="connsiteY10" fmla="*/ 1266825 h 4429294"/>
                    <a:gd name="connsiteX11" fmla="*/ 4279817 w 4454477"/>
                    <a:gd name="connsiteY11" fmla="*/ 1362075 h 4429294"/>
                    <a:gd name="connsiteX12" fmla="*/ 4327442 w 4454477"/>
                    <a:gd name="connsiteY12" fmla="*/ 1552575 h 4429294"/>
                    <a:gd name="connsiteX13" fmla="*/ 4365542 w 4454477"/>
                    <a:gd name="connsiteY13" fmla="*/ 1685925 h 4429294"/>
                    <a:gd name="connsiteX14" fmla="*/ 4454442 w 4454477"/>
                    <a:gd name="connsiteY14" fmla="*/ 2181225 h 4429294"/>
                    <a:gd name="connsiteX15" fmla="*/ 4381417 w 4454477"/>
                    <a:gd name="connsiteY15" fmla="*/ 2768600 h 4429294"/>
                    <a:gd name="connsiteX16" fmla="*/ 4317917 w 4454477"/>
                    <a:gd name="connsiteY16" fmla="*/ 2990850 h 4429294"/>
                    <a:gd name="connsiteX17" fmla="*/ 4213142 w 4454477"/>
                    <a:gd name="connsiteY17" fmla="*/ 3248025 h 4429294"/>
                    <a:gd name="connsiteX18" fmla="*/ 4117892 w 4454477"/>
                    <a:gd name="connsiteY18" fmla="*/ 3400425 h 4429294"/>
                    <a:gd name="connsiteX19" fmla="*/ 3994067 w 4454477"/>
                    <a:gd name="connsiteY19" fmla="*/ 3533775 h 4429294"/>
                    <a:gd name="connsiteX20" fmla="*/ 3889292 w 4454477"/>
                    <a:gd name="connsiteY20" fmla="*/ 3648075 h 4429294"/>
                    <a:gd name="connsiteX21" fmla="*/ 3594017 w 4454477"/>
                    <a:gd name="connsiteY21" fmla="*/ 3971925 h 4429294"/>
                    <a:gd name="connsiteX22" fmla="*/ 3451142 w 4454477"/>
                    <a:gd name="connsiteY22" fmla="*/ 4083050 h 4429294"/>
                    <a:gd name="connsiteX23" fmla="*/ 3155867 w 4454477"/>
                    <a:gd name="connsiteY23" fmla="*/ 4222750 h 4429294"/>
                    <a:gd name="connsiteX24" fmla="*/ 3003467 w 4454477"/>
                    <a:gd name="connsiteY24" fmla="*/ 4286250 h 4429294"/>
                    <a:gd name="connsiteX25" fmla="*/ 2870117 w 4454477"/>
                    <a:gd name="connsiteY25" fmla="*/ 4333875 h 4429294"/>
                    <a:gd name="connsiteX26" fmla="*/ 2746292 w 4454477"/>
                    <a:gd name="connsiteY26" fmla="*/ 4371975 h 4429294"/>
                    <a:gd name="connsiteX27" fmla="*/ 2514517 w 4454477"/>
                    <a:gd name="connsiteY27" fmla="*/ 4391025 h 4429294"/>
                    <a:gd name="connsiteX28" fmla="*/ 2060492 w 4454477"/>
                    <a:gd name="connsiteY28" fmla="*/ 4429125 h 4429294"/>
                    <a:gd name="connsiteX29" fmla="*/ 1869992 w 4454477"/>
                    <a:gd name="connsiteY29" fmla="*/ 4400550 h 4429294"/>
                    <a:gd name="connsiteX30" fmla="*/ 1508042 w 4454477"/>
                    <a:gd name="connsiteY30" fmla="*/ 4305300 h 4429294"/>
                    <a:gd name="connsiteX31" fmla="*/ 1266742 w 4454477"/>
                    <a:gd name="connsiteY31" fmla="*/ 4216400 h 4429294"/>
                    <a:gd name="connsiteX32" fmla="*/ 1098467 w 4454477"/>
                    <a:gd name="connsiteY32" fmla="*/ 4111625 h 4429294"/>
                    <a:gd name="connsiteX33" fmla="*/ 879392 w 4454477"/>
                    <a:gd name="connsiteY33" fmla="*/ 3968750 h 4429294"/>
                    <a:gd name="connsiteX34" fmla="*/ 546017 w 4454477"/>
                    <a:gd name="connsiteY34" fmla="*/ 3657600 h 4429294"/>
                    <a:gd name="connsiteX35" fmla="*/ 399967 w 4454477"/>
                    <a:gd name="connsiteY35" fmla="*/ 3470275 h 4429294"/>
                    <a:gd name="connsiteX36" fmla="*/ 269792 w 4454477"/>
                    <a:gd name="connsiteY36" fmla="*/ 3244850 h 4429294"/>
                    <a:gd name="connsiteX37" fmla="*/ 117392 w 4454477"/>
                    <a:gd name="connsiteY37" fmla="*/ 2892425 h 4429294"/>
                    <a:gd name="connsiteX38" fmla="*/ 9442 w 4454477"/>
                    <a:gd name="connsiteY38" fmla="*/ 2368550 h 4429294"/>
                    <a:gd name="connsiteX39" fmla="*/ 15792 w 4454477"/>
                    <a:gd name="connsiteY39" fmla="*/ 1870075 h 4429294"/>
                    <a:gd name="connsiteX40" fmla="*/ 41192 w 4454477"/>
                    <a:gd name="connsiteY40" fmla="*/ 1590675 h 4429294"/>
                    <a:gd name="connsiteX41" fmla="*/ 88817 w 4454477"/>
                    <a:gd name="connsiteY41" fmla="*/ 1419225 h 4429294"/>
                    <a:gd name="connsiteX42" fmla="*/ 165017 w 4454477"/>
                    <a:gd name="connsiteY42" fmla="*/ 1276350 h 4429294"/>
                    <a:gd name="connsiteX43" fmla="*/ 250742 w 4454477"/>
                    <a:gd name="connsiteY43" fmla="*/ 1114425 h 4429294"/>
                    <a:gd name="connsiteX44" fmla="*/ 412667 w 4454477"/>
                    <a:gd name="connsiteY44" fmla="*/ 857250 h 4429294"/>
                    <a:gd name="connsiteX45" fmla="*/ 469817 w 4454477"/>
                    <a:gd name="connsiteY45" fmla="*/ 800100 h 4429294"/>
                    <a:gd name="connsiteX46" fmla="*/ 603167 w 4454477"/>
                    <a:gd name="connsiteY46" fmla="*/ 676275 h 4429294"/>
                    <a:gd name="connsiteX47" fmla="*/ 822242 w 4454477"/>
                    <a:gd name="connsiteY47" fmla="*/ 504825 h 4429294"/>
                    <a:gd name="connsiteX48" fmla="*/ 1101642 w 4454477"/>
                    <a:gd name="connsiteY48" fmla="*/ 311150 h 4429294"/>
                    <a:gd name="connsiteX49" fmla="*/ 1460417 w 4454477"/>
                    <a:gd name="connsiteY49" fmla="*/ 152400 h 4429294"/>
                    <a:gd name="connsiteX50" fmla="*/ 1574717 w 4454477"/>
                    <a:gd name="connsiteY50" fmla="*/ 111125 h 4429294"/>
                    <a:gd name="connsiteX51" fmla="*/ 2206542 w 4454477"/>
                    <a:gd name="connsiteY51" fmla="*/ 12700 h 4429294"/>
                    <a:gd name="connsiteX0" fmla="*/ 2233750 w 4456285"/>
                    <a:gd name="connsiteY0" fmla="*/ 0 h 4429294"/>
                    <a:gd name="connsiteX1" fmla="*/ 2557600 w 4456285"/>
                    <a:gd name="connsiteY1" fmla="*/ 15875 h 4429294"/>
                    <a:gd name="connsiteX2" fmla="*/ 2852875 w 4456285"/>
                    <a:gd name="connsiteY2" fmla="*/ 85725 h 4429294"/>
                    <a:gd name="connsiteX3" fmla="*/ 3071950 w 4456285"/>
                    <a:gd name="connsiteY3" fmla="*/ 171450 h 4429294"/>
                    <a:gd name="connsiteX4" fmla="*/ 3176725 w 4456285"/>
                    <a:gd name="connsiteY4" fmla="*/ 228600 h 4429294"/>
                    <a:gd name="connsiteX5" fmla="*/ 3357700 w 4456285"/>
                    <a:gd name="connsiteY5" fmla="*/ 323850 h 4429294"/>
                    <a:gd name="connsiteX6" fmla="*/ 3748225 w 4456285"/>
                    <a:gd name="connsiteY6" fmla="*/ 581025 h 4429294"/>
                    <a:gd name="connsiteX7" fmla="*/ 3964125 w 4456285"/>
                    <a:gd name="connsiteY7" fmla="*/ 819150 h 4429294"/>
                    <a:gd name="connsiteX8" fmla="*/ 4100650 w 4456285"/>
                    <a:gd name="connsiteY8" fmla="*/ 990600 h 4429294"/>
                    <a:gd name="connsiteX9" fmla="*/ 4186375 w 4456285"/>
                    <a:gd name="connsiteY9" fmla="*/ 1143000 h 4429294"/>
                    <a:gd name="connsiteX10" fmla="*/ 4243525 w 4456285"/>
                    <a:gd name="connsiteY10" fmla="*/ 1266825 h 4429294"/>
                    <a:gd name="connsiteX11" fmla="*/ 4281625 w 4456285"/>
                    <a:gd name="connsiteY11" fmla="*/ 1362075 h 4429294"/>
                    <a:gd name="connsiteX12" fmla="*/ 4329250 w 4456285"/>
                    <a:gd name="connsiteY12" fmla="*/ 1552575 h 4429294"/>
                    <a:gd name="connsiteX13" fmla="*/ 4367350 w 4456285"/>
                    <a:gd name="connsiteY13" fmla="*/ 1685925 h 4429294"/>
                    <a:gd name="connsiteX14" fmla="*/ 4456250 w 4456285"/>
                    <a:gd name="connsiteY14" fmla="*/ 2181225 h 4429294"/>
                    <a:gd name="connsiteX15" fmla="*/ 4383225 w 4456285"/>
                    <a:gd name="connsiteY15" fmla="*/ 2768600 h 4429294"/>
                    <a:gd name="connsiteX16" fmla="*/ 4319725 w 4456285"/>
                    <a:gd name="connsiteY16" fmla="*/ 2990850 h 4429294"/>
                    <a:gd name="connsiteX17" fmla="*/ 4214950 w 4456285"/>
                    <a:gd name="connsiteY17" fmla="*/ 3248025 h 4429294"/>
                    <a:gd name="connsiteX18" fmla="*/ 4119700 w 4456285"/>
                    <a:gd name="connsiteY18" fmla="*/ 3400425 h 4429294"/>
                    <a:gd name="connsiteX19" fmla="*/ 3995875 w 4456285"/>
                    <a:gd name="connsiteY19" fmla="*/ 3533775 h 4429294"/>
                    <a:gd name="connsiteX20" fmla="*/ 3891100 w 4456285"/>
                    <a:gd name="connsiteY20" fmla="*/ 3648075 h 4429294"/>
                    <a:gd name="connsiteX21" fmla="*/ 3595825 w 4456285"/>
                    <a:gd name="connsiteY21" fmla="*/ 3971925 h 4429294"/>
                    <a:gd name="connsiteX22" fmla="*/ 3452950 w 4456285"/>
                    <a:gd name="connsiteY22" fmla="*/ 4083050 h 4429294"/>
                    <a:gd name="connsiteX23" fmla="*/ 3157675 w 4456285"/>
                    <a:gd name="connsiteY23" fmla="*/ 4222750 h 4429294"/>
                    <a:gd name="connsiteX24" fmla="*/ 3005275 w 4456285"/>
                    <a:gd name="connsiteY24" fmla="*/ 4286250 h 4429294"/>
                    <a:gd name="connsiteX25" fmla="*/ 2871925 w 4456285"/>
                    <a:gd name="connsiteY25" fmla="*/ 4333875 h 4429294"/>
                    <a:gd name="connsiteX26" fmla="*/ 2748100 w 4456285"/>
                    <a:gd name="connsiteY26" fmla="*/ 4371975 h 4429294"/>
                    <a:gd name="connsiteX27" fmla="*/ 2516325 w 4456285"/>
                    <a:gd name="connsiteY27" fmla="*/ 4391025 h 4429294"/>
                    <a:gd name="connsiteX28" fmla="*/ 2062300 w 4456285"/>
                    <a:gd name="connsiteY28" fmla="*/ 4429125 h 4429294"/>
                    <a:gd name="connsiteX29" fmla="*/ 1871800 w 4456285"/>
                    <a:gd name="connsiteY29" fmla="*/ 4400550 h 4429294"/>
                    <a:gd name="connsiteX30" fmla="*/ 1509850 w 4456285"/>
                    <a:gd name="connsiteY30" fmla="*/ 4305300 h 4429294"/>
                    <a:gd name="connsiteX31" fmla="*/ 1268550 w 4456285"/>
                    <a:gd name="connsiteY31" fmla="*/ 4216400 h 4429294"/>
                    <a:gd name="connsiteX32" fmla="*/ 1100275 w 4456285"/>
                    <a:gd name="connsiteY32" fmla="*/ 4111625 h 4429294"/>
                    <a:gd name="connsiteX33" fmla="*/ 881200 w 4456285"/>
                    <a:gd name="connsiteY33" fmla="*/ 3968750 h 4429294"/>
                    <a:gd name="connsiteX34" fmla="*/ 547825 w 4456285"/>
                    <a:gd name="connsiteY34" fmla="*/ 3657600 h 4429294"/>
                    <a:gd name="connsiteX35" fmla="*/ 401775 w 4456285"/>
                    <a:gd name="connsiteY35" fmla="*/ 3470275 h 4429294"/>
                    <a:gd name="connsiteX36" fmla="*/ 271600 w 4456285"/>
                    <a:gd name="connsiteY36" fmla="*/ 3244850 h 4429294"/>
                    <a:gd name="connsiteX37" fmla="*/ 119200 w 4456285"/>
                    <a:gd name="connsiteY37" fmla="*/ 2892425 h 4429294"/>
                    <a:gd name="connsiteX38" fmla="*/ 11250 w 4456285"/>
                    <a:gd name="connsiteY38" fmla="*/ 2368550 h 4429294"/>
                    <a:gd name="connsiteX39" fmla="*/ 17600 w 4456285"/>
                    <a:gd name="connsiteY39" fmla="*/ 1870075 h 4429294"/>
                    <a:gd name="connsiteX40" fmla="*/ 90625 w 4456285"/>
                    <a:gd name="connsiteY40" fmla="*/ 1419225 h 4429294"/>
                    <a:gd name="connsiteX41" fmla="*/ 166825 w 4456285"/>
                    <a:gd name="connsiteY41" fmla="*/ 1276350 h 4429294"/>
                    <a:gd name="connsiteX42" fmla="*/ 252550 w 4456285"/>
                    <a:gd name="connsiteY42" fmla="*/ 1114425 h 4429294"/>
                    <a:gd name="connsiteX43" fmla="*/ 414475 w 4456285"/>
                    <a:gd name="connsiteY43" fmla="*/ 857250 h 4429294"/>
                    <a:gd name="connsiteX44" fmla="*/ 471625 w 4456285"/>
                    <a:gd name="connsiteY44" fmla="*/ 800100 h 4429294"/>
                    <a:gd name="connsiteX45" fmla="*/ 604975 w 4456285"/>
                    <a:gd name="connsiteY45" fmla="*/ 676275 h 4429294"/>
                    <a:gd name="connsiteX46" fmla="*/ 824050 w 4456285"/>
                    <a:gd name="connsiteY46" fmla="*/ 504825 h 4429294"/>
                    <a:gd name="connsiteX47" fmla="*/ 1103450 w 4456285"/>
                    <a:gd name="connsiteY47" fmla="*/ 311150 h 4429294"/>
                    <a:gd name="connsiteX48" fmla="*/ 1462225 w 4456285"/>
                    <a:gd name="connsiteY48" fmla="*/ 152400 h 4429294"/>
                    <a:gd name="connsiteX49" fmla="*/ 1576525 w 4456285"/>
                    <a:gd name="connsiteY49" fmla="*/ 111125 h 4429294"/>
                    <a:gd name="connsiteX50" fmla="*/ 2208350 w 4456285"/>
                    <a:gd name="connsiteY50" fmla="*/ 12700 h 4429294"/>
                    <a:gd name="connsiteX0" fmla="*/ 2237540 w 4460075"/>
                    <a:gd name="connsiteY0" fmla="*/ 0 h 4429294"/>
                    <a:gd name="connsiteX1" fmla="*/ 2561390 w 4460075"/>
                    <a:gd name="connsiteY1" fmla="*/ 15875 h 4429294"/>
                    <a:gd name="connsiteX2" fmla="*/ 2856665 w 4460075"/>
                    <a:gd name="connsiteY2" fmla="*/ 85725 h 4429294"/>
                    <a:gd name="connsiteX3" fmla="*/ 3075740 w 4460075"/>
                    <a:gd name="connsiteY3" fmla="*/ 171450 h 4429294"/>
                    <a:gd name="connsiteX4" fmla="*/ 3180515 w 4460075"/>
                    <a:gd name="connsiteY4" fmla="*/ 228600 h 4429294"/>
                    <a:gd name="connsiteX5" fmla="*/ 3361490 w 4460075"/>
                    <a:gd name="connsiteY5" fmla="*/ 323850 h 4429294"/>
                    <a:gd name="connsiteX6" fmla="*/ 3752015 w 4460075"/>
                    <a:gd name="connsiteY6" fmla="*/ 581025 h 4429294"/>
                    <a:gd name="connsiteX7" fmla="*/ 3967915 w 4460075"/>
                    <a:gd name="connsiteY7" fmla="*/ 819150 h 4429294"/>
                    <a:gd name="connsiteX8" fmla="*/ 4104440 w 4460075"/>
                    <a:gd name="connsiteY8" fmla="*/ 990600 h 4429294"/>
                    <a:gd name="connsiteX9" fmla="*/ 4190165 w 4460075"/>
                    <a:gd name="connsiteY9" fmla="*/ 1143000 h 4429294"/>
                    <a:gd name="connsiteX10" fmla="*/ 4247315 w 4460075"/>
                    <a:gd name="connsiteY10" fmla="*/ 1266825 h 4429294"/>
                    <a:gd name="connsiteX11" fmla="*/ 4285415 w 4460075"/>
                    <a:gd name="connsiteY11" fmla="*/ 1362075 h 4429294"/>
                    <a:gd name="connsiteX12" fmla="*/ 4333040 w 4460075"/>
                    <a:gd name="connsiteY12" fmla="*/ 1552575 h 4429294"/>
                    <a:gd name="connsiteX13" fmla="*/ 4371140 w 4460075"/>
                    <a:gd name="connsiteY13" fmla="*/ 1685925 h 4429294"/>
                    <a:gd name="connsiteX14" fmla="*/ 4460040 w 4460075"/>
                    <a:gd name="connsiteY14" fmla="*/ 2181225 h 4429294"/>
                    <a:gd name="connsiteX15" fmla="*/ 4387015 w 4460075"/>
                    <a:gd name="connsiteY15" fmla="*/ 2768600 h 4429294"/>
                    <a:gd name="connsiteX16" fmla="*/ 4323515 w 4460075"/>
                    <a:gd name="connsiteY16" fmla="*/ 2990850 h 4429294"/>
                    <a:gd name="connsiteX17" fmla="*/ 4218740 w 4460075"/>
                    <a:gd name="connsiteY17" fmla="*/ 3248025 h 4429294"/>
                    <a:gd name="connsiteX18" fmla="*/ 4123490 w 4460075"/>
                    <a:gd name="connsiteY18" fmla="*/ 3400425 h 4429294"/>
                    <a:gd name="connsiteX19" fmla="*/ 3999665 w 4460075"/>
                    <a:gd name="connsiteY19" fmla="*/ 3533775 h 4429294"/>
                    <a:gd name="connsiteX20" fmla="*/ 3894890 w 4460075"/>
                    <a:gd name="connsiteY20" fmla="*/ 3648075 h 4429294"/>
                    <a:gd name="connsiteX21" fmla="*/ 3599615 w 4460075"/>
                    <a:gd name="connsiteY21" fmla="*/ 3971925 h 4429294"/>
                    <a:gd name="connsiteX22" fmla="*/ 3456740 w 4460075"/>
                    <a:gd name="connsiteY22" fmla="*/ 4083050 h 4429294"/>
                    <a:gd name="connsiteX23" fmla="*/ 3161465 w 4460075"/>
                    <a:gd name="connsiteY23" fmla="*/ 4222750 h 4429294"/>
                    <a:gd name="connsiteX24" fmla="*/ 3009065 w 4460075"/>
                    <a:gd name="connsiteY24" fmla="*/ 4286250 h 4429294"/>
                    <a:gd name="connsiteX25" fmla="*/ 2875715 w 4460075"/>
                    <a:gd name="connsiteY25" fmla="*/ 4333875 h 4429294"/>
                    <a:gd name="connsiteX26" fmla="*/ 2751890 w 4460075"/>
                    <a:gd name="connsiteY26" fmla="*/ 4371975 h 4429294"/>
                    <a:gd name="connsiteX27" fmla="*/ 2520115 w 4460075"/>
                    <a:gd name="connsiteY27" fmla="*/ 4391025 h 4429294"/>
                    <a:gd name="connsiteX28" fmla="*/ 2066090 w 4460075"/>
                    <a:gd name="connsiteY28" fmla="*/ 4429125 h 4429294"/>
                    <a:gd name="connsiteX29" fmla="*/ 1875590 w 4460075"/>
                    <a:gd name="connsiteY29" fmla="*/ 4400550 h 4429294"/>
                    <a:gd name="connsiteX30" fmla="*/ 1513640 w 4460075"/>
                    <a:gd name="connsiteY30" fmla="*/ 4305300 h 4429294"/>
                    <a:gd name="connsiteX31" fmla="*/ 1272340 w 4460075"/>
                    <a:gd name="connsiteY31" fmla="*/ 4216400 h 4429294"/>
                    <a:gd name="connsiteX32" fmla="*/ 1104065 w 4460075"/>
                    <a:gd name="connsiteY32" fmla="*/ 4111625 h 4429294"/>
                    <a:gd name="connsiteX33" fmla="*/ 884990 w 4460075"/>
                    <a:gd name="connsiteY33" fmla="*/ 3968750 h 4429294"/>
                    <a:gd name="connsiteX34" fmla="*/ 551615 w 4460075"/>
                    <a:gd name="connsiteY34" fmla="*/ 3657600 h 4429294"/>
                    <a:gd name="connsiteX35" fmla="*/ 405565 w 4460075"/>
                    <a:gd name="connsiteY35" fmla="*/ 3470275 h 4429294"/>
                    <a:gd name="connsiteX36" fmla="*/ 275390 w 4460075"/>
                    <a:gd name="connsiteY36" fmla="*/ 3244850 h 4429294"/>
                    <a:gd name="connsiteX37" fmla="*/ 122990 w 4460075"/>
                    <a:gd name="connsiteY37" fmla="*/ 2892425 h 4429294"/>
                    <a:gd name="connsiteX38" fmla="*/ 15040 w 4460075"/>
                    <a:gd name="connsiteY38" fmla="*/ 2368550 h 4429294"/>
                    <a:gd name="connsiteX39" fmla="*/ 21390 w 4460075"/>
                    <a:gd name="connsiteY39" fmla="*/ 1870075 h 4429294"/>
                    <a:gd name="connsiteX40" fmla="*/ 170615 w 4460075"/>
                    <a:gd name="connsiteY40" fmla="*/ 1276350 h 4429294"/>
                    <a:gd name="connsiteX41" fmla="*/ 256340 w 4460075"/>
                    <a:gd name="connsiteY41" fmla="*/ 1114425 h 4429294"/>
                    <a:gd name="connsiteX42" fmla="*/ 418265 w 4460075"/>
                    <a:gd name="connsiteY42" fmla="*/ 857250 h 4429294"/>
                    <a:gd name="connsiteX43" fmla="*/ 475415 w 4460075"/>
                    <a:gd name="connsiteY43" fmla="*/ 800100 h 4429294"/>
                    <a:gd name="connsiteX44" fmla="*/ 608765 w 4460075"/>
                    <a:gd name="connsiteY44" fmla="*/ 676275 h 4429294"/>
                    <a:gd name="connsiteX45" fmla="*/ 827840 w 4460075"/>
                    <a:gd name="connsiteY45" fmla="*/ 504825 h 4429294"/>
                    <a:gd name="connsiteX46" fmla="*/ 1107240 w 4460075"/>
                    <a:gd name="connsiteY46" fmla="*/ 311150 h 4429294"/>
                    <a:gd name="connsiteX47" fmla="*/ 1466015 w 4460075"/>
                    <a:gd name="connsiteY47" fmla="*/ 152400 h 4429294"/>
                    <a:gd name="connsiteX48" fmla="*/ 1580315 w 4460075"/>
                    <a:gd name="connsiteY48" fmla="*/ 111125 h 4429294"/>
                    <a:gd name="connsiteX49" fmla="*/ 2212140 w 4460075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5706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76140 w 4460800"/>
                    <a:gd name="connsiteY42" fmla="*/ 800100 h 4429294"/>
                    <a:gd name="connsiteX43" fmla="*/ 609490 w 4460800"/>
                    <a:gd name="connsiteY43" fmla="*/ 676275 h 4429294"/>
                    <a:gd name="connsiteX44" fmla="*/ 828565 w 4460800"/>
                    <a:gd name="connsiteY44" fmla="*/ 504825 h 4429294"/>
                    <a:gd name="connsiteX45" fmla="*/ 1107965 w 4460800"/>
                    <a:gd name="connsiteY45" fmla="*/ 311150 h 4429294"/>
                    <a:gd name="connsiteX46" fmla="*/ 1466740 w 4460800"/>
                    <a:gd name="connsiteY46" fmla="*/ 152400 h 4429294"/>
                    <a:gd name="connsiteX47" fmla="*/ 1581040 w 4460800"/>
                    <a:gd name="connsiteY47" fmla="*/ 111125 h 4429294"/>
                    <a:gd name="connsiteX48" fmla="*/ 2212865 w 4460800"/>
                    <a:gd name="connsiteY48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75" name="Freeform: Shape 174">
                  <a:extLst>
                    <a:ext uri="{FF2B5EF4-FFF2-40B4-BE49-F238E27FC236}">
                      <a16:creationId xmlns:a16="http://schemas.microsoft.com/office/drawing/2014/main" id="{459DCF6E-20F6-00B6-ED33-346079285644}"/>
                    </a:ext>
                  </a:extLst>
                </p:cNvPr>
                <p:cNvSpPr/>
                <p:nvPr/>
              </p:nvSpPr>
              <p:spPr>
                <a:xfrm>
                  <a:off x="5166252" y="2199397"/>
                  <a:ext cx="3443968" cy="3419644"/>
                </a:xfrm>
                <a:custGeom>
                  <a:avLst/>
                  <a:gdLst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944902 w 4469152"/>
                    <a:gd name="connsiteY150" fmla="*/ 476250 h 4496940"/>
                    <a:gd name="connsiteX151" fmla="*/ 1087777 w 4469152"/>
                    <a:gd name="connsiteY151" fmla="*/ 409575 h 4496940"/>
                    <a:gd name="connsiteX152" fmla="*/ 1202077 w 4469152"/>
                    <a:gd name="connsiteY152" fmla="*/ 314325 h 4496940"/>
                    <a:gd name="connsiteX153" fmla="*/ 1268752 w 4469152"/>
                    <a:gd name="connsiteY153" fmla="*/ 285750 h 4496940"/>
                    <a:gd name="connsiteX154" fmla="*/ 1411627 w 4469152"/>
                    <a:gd name="connsiteY154" fmla="*/ 190500 h 4496940"/>
                    <a:gd name="connsiteX155" fmla="*/ 1449727 w 4469152"/>
                    <a:gd name="connsiteY155" fmla="*/ 161925 h 4496940"/>
                    <a:gd name="connsiteX156" fmla="*/ 1525927 w 4469152"/>
                    <a:gd name="connsiteY156" fmla="*/ 152400 h 4496940"/>
                    <a:gd name="connsiteX157" fmla="*/ 1583077 w 4469152"/>
                    <a:gd name="connsiteY157" fmla="*/ 142875 h 4496940"/>
                    <a:gd name="connsiteX158" fmla="*/ 1716427 w 4469152"/>
                    <a:gd name="connsiteY158" fmla="*/ 123825 h 4496940"/>
                    <a:gd name="connsiteX159" fmla="*/ 1811677 w 4469152"/>
                    <a:gd name="connsiteY159" fmla="*/ 114300 h 4496940"/>
                    <a:gd name="connsiteX160" fmla="*/ 1859302 w 4469152"/>
                    <a:gd name="connsiteY160" fmla="*/ 104775 h 4496940"/>
                    <a:gd name="connsiteX161" fmla="*/ 1916452 w 4469152"/>
                    <a:gd name="connsiteY161" fmla="*/ 95250 h 4496940"/>
                    <a:gd name="connsiteX162" fmla="*/ 2030752 w 4469152"/>
                    <a:gd name="connsiteY162" fmla="*/ 66675 h 4496940"/>
                    <a:gd name="connsiteX163" fmla="*/ 2097427 w 4469152"/>
                    <a:gd name="connsiteY163" fmla="*/ 47625 h 4496940"/>
                    <a:gd name="connsiteX164" fmla="*/ 2164102 w 4469152"/>
                    <a:gd name="connsiteY164" fmla="*/ 38100 h 4496940"/>
                    <a:gd name="connsiteX165" fmla="*/ 2392702 w 4469152"/>
                    <a:gd name="connsiteY165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087777 w 4469152"/>
                    <a:gd name="connsiteY150" fmla="*/ 409575 h 4496940"/>
                    <a:gd name="connsiteX151" fmla="*/ 1202077 w 4469152"/>
                    <a:gd name="connsiteY151" fmla="*/ 314325 h 4496940"/>
                    <a:gd name="connsiteX152" fmla="*/ 1268752 w 4469152"/>
                    <a:gd name="connsiteY152" fmla="*/ 285750 h 4496940"/>
                    <a:gd name="connsiteX153" fmla="*/ 1411627 w 4469152"/>
                    <a:gd name="connsiteY153" fmla="*/ 190500 h 4496940"/>
                    <a:gd name="connsiteX154" fmla="*/ 1449727 w 4469152"/>
                    <a:gd name="connsiteY154" fmla="*/ 161925 h 4496940"/>
                    <a:gd name="connsiteX155" fmla="*/ 1525927 w 4469152"/>
                    <a:gd name="connsiteY155" fmla="*/ 152400 h 4496940"/>
                    <a:gd name="connsiteX156" fmla="*/ 1583077 w 4469152"/>
                    <a:gd name="connsiteY156" fmla="*/ 142875 h 4496940"/>
                    <a:gd name="connsiteX157" fmla="*/ 1716427 w 4469152"/>
                    <a:gd name="connsiteY157" fmla="*/ 123825 h 4496940"/>
                    <a:gd name="connsiteX158" fmla="*/ 1811677 w 4469152"/>
                    <a:gd name="connsiteY158" fmla="*/ 114300 h 4496940"/>
                    <a:gd name="connsiteX159" fmla="*/ 1859302 w 4469152"/>
                    <a:gd name="connsiteY159" fmla="*/ 104775 h 4496940"/>
                    <a:gd name="connsiteX160" fmla="*/ 1916452 w 4469152"/>
                    <a:gd name="connsiteY160" fmla="*/ 95250 h 4496940"/>
                    <a:gd name="connsiteX161" fmla="*/ 2030752 w 4469152"/>
                    <a:gd name="connsiteY161" fmla="*/ 66675 h 4496940"/>
                    <a:gd name="connsiteX162" fmla="*/ 2097427 w 4469152"/>
                    <a:gd name="connsiteY162" fmla="*/ 47625 h 4496940"/>
                    <a:gd name="connsiteX163" fmla="*/ 2164102 w 4469152"/>
                    <a:gd name="connsiteY163" fmla="*/ 38100 h 4496940"/>
                    <a:gd name="connsiteX164" fmla="*/ 2392702 w 4469152"/>
                    <a:gd name="connsiteY164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02077 w 4469152"/>
                    <a:gd name="connsiteY150" fmla="*/ 314325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68752 w 4469152"/>
                    <a:gd name="connsiteY150" fmla="*/ 285750 h 4496940"/>
                    <a:gd name="connsiteX151" fmla="*/ 1411627 w 4469152"/>
                    <a:gd name="connsiteY151" fmla="*/ 190500 h 4496940"/>
                    <a:gd name="connsiteX152" fmla="*/ 1449727 w 4469152"/>
                    <a:gd name="connsiteY152" fmla="*/ 161925 h 4496940"/>
                    <a:gd name="connsiteX153" fmla="*/ 1525927 w 4469152"/>
                    <a:gd name="connsiteY153" fmla="*/ 152400 h 4496940"/>
                    <a:gd name="connsiteX154" fmla="*/ 1583077 w 4469152"/>
                    <a:gd name="connsiteY154" fmla="*/ 142875 h 4496940"/>
                    <a:gd name="connsiteX155" fmla="*/ 1716427 w 4469152"/>
                    <a:gd name="connsiteY155" fmla="*/ 123825 h 4496940"/>
                    <a:gd name="connsiteX156" fmla="*/ 1811677 w 4469152"/>
                    <a:gd name="connsiteY156" fmla="*/ 114300 h 4496940"/>
                    <a:gd name="connsiteX157" fmla="*/ 1859302 w 4469152"/>
                    <a:gd name="connsiteY157" fmla="*/ 104775 h 4496940"/>
                    <a:gd name="connsiteX158" fmla="*/ 1916452 w 4469152"/>
                    <a:gd name="connsiteY158" fmla="*/ 95250 h 4496940"/>
                    <a:gd name="connsiteX159" fmla="*/ 2030752 w 4469152"/>
                    <a:gd name="connsiteY159" fmla="*/ 66675 h 4496940"/>
                    <a:gd name="connsiteX160" fmla="*/ 2097427 w 4469152"/>
                    <a:gd name="connsiteY160" fmla="*/ 47625 h 4496940"/>
                    <a:gd name="connsiteX161" fmla="*/ 2164102 w 4469152"/>
                    <a:gd name="connsiteY161" fmla="*/ 38100 h 4496940"/>
                    <a:gd name="connsiteX162" fmla="*/ 2392702 w 4469152"/>
                    <a:gd name="connsiteY162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167152 w 4469152"/>
                    <a:gd name="connsiteY150" fmla="*/ 311150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40577 w 4519952"/>
                    <a:gd name="connsiteY46" fmla="*/ 1762125 h 4496940"/>
                    <a:gd name="connsiteX47" fmla="*/ 4459627 w 4519952"/>
                    <a:gd name="connsiteY47" fmla="*/ 1828800 h 4496940"/>
                    <a:gd name="connsiteX48" fmla="*/ 4519952 w 4519952"/>
                    <a:gd name="connsiteY48" fmla="*/ 2181225 h 4496940"/>
                    <a:gd name="connsiteX49" fmla="*/ 4440577 w 4519952"/>
                    <a:gd name="connsiteY49" fmla="*/ 2876550 h 4496940"/>
                    <a:gd name="connsiteX50" fmla="*/ 4383427 w 4519952"/>
                    <a:gd name="connsiteY50" fmla="*/ 2990850 h 4496940"/>
                    <a:gd name="connsiteX51" fmla="*/ 4354852 w 4519952"/>
                    <a:gd name="connsiteY51" fmla="*/ 3057525 h 4496940"/>
                    <a:gd name="connsiteX52" fmla="*/ 4335802 w 4519952"/>
                    <a:gd name="connsiteY52" fmla="*/ 3095625 h 4496940"/>
                    <a:gd name="connsiteX53" fmla="*/ 4278652 w 4519952"/>
                    <a:gd name="connsiteY53" fmla="*/ 3248025 h 4496940"/>
                    <a:gd name="connsiteX54" fmla="*/ 4259602 w 4519952"/>
                    <a:gd name="connsiteY54" fmla="*/ 3276600 h 4496940"/>
                    <a:gd name="connsiteX55" fmla="*/ 4221502 w 4519952"/>
                    <a:gd name="connsiteY55" fmla="*/ 3333750 h 4496940"/>
                    <a:gd name="connsiteX56" fmla="*/ 4211977 w 4519952"/>
                    <a:gd name="connsiteY56" fmla="*/ 3362325 h 4496940"/>
                    <a:gd name="connsiteX57" fmla="*/ 4183402 w 4519952"/>
                    <a:gd name="connsiteY57" fmla="*/ 3400425 h 4496940"/>
                    <a:gd name="connsiteX58" fmla="*/ 4164352 w 4519952"/>
                    <a:gd name="connsiteY58" fmla="*/ 3429000 h 4496940"/>
                    <a:gd name="connsiteX59" fmla="*/ 4088152 w 4519952"/>
                    <a:gd name="connsiteY59" fmla="*/ 3495675 h 4496940"/>
                    <a:gd name="connsiteX60" fmla="*/ 4059577 w 4519952"/>
                    <a:gd name="connsiteY60" fmla="*/ 3533775 h 4496940"/>
                    <a:gd name="connsiteX61" fmla="*/ 4002427 w 4519952"/>
                    <a:gd name="connsiteY61" fmla="*/ 3600450 h 4496940"/>
                    <a:gd name="connsiteX62" fmla="*/ 3983377 w 4519952"/>
                    <a:gd name="connsiteY62" fmla="*/ 3629025 h 4496940"/>
                    <a:gd name="connsiteX63" fmla="*/ 3954802 w 4519952"/>
                    <a:gd name="connsiteY63" fmla="*/ 3648075 h 4496940"/>
                    <a:gd name="connsiteX64" fmla="*/ 3907177 w 4519952"/>
                    <a:gd name="connsiteY64" fmla="*/ 3686175 h 4496940"/>
                    <a:gd name="connsiteX65" fmla="*/ 3869077 w 4519952"/>
                    <a:gd name="connsiteY65" fmla="*/ 3724275 h 4496940"/>
                    <a:gd name="connsiteX66" fmla="*/ 3792877 w 4519952"/>
                    <a:gd name="connsiteY66" fmla="*/ 3781425 h 4496940"/>
                    <a:gd name="connsiteX67" fmla="*/ 3783352 w 4519952"/>
                    <a:gd name="connsiteY67" fmla="*/ 3810000 h 4496940"/>
                    <a:gd name="connsiteX68" fmla="*/ 3745252 w 4519952"/>
                    <a:gd name="connsiteY68" fmla="*/ 3819525 h 4496940"/>
                    <a:gd name="connsiteX69" fmla="*/ 3678577 w 4519952"/>
                    <a:gd name="connsiteY69" fmla="*/ 3848100 h 4496940"/>
                    <a:gd name="connsiteX70" fmla="*/ 3659527 w 4519952"/>
                    <a:gd name="connsiteY70" fmla="*/ 3971925 h 4496940"/>
                    <a:gd name="connsiteX71" fmla="*/ 3630952 w 4519952"/>
                    <a:gd name="connsiteY71" fmla="*/ 4010025 h 4496940"/>
                    <a:gd name="connsiteX72" fmla="*/ 3621427 w 4519952"/>
                    <a:gd name="connsiteY72" fmla="*/ 4038600 h 4496940"/>
                    <a:gd name="connsiteX73" fmla="*/ 3554752 w 4519952"/>
                    <a:gd name="connsiteY73" fmla="*/ 4095750 h 4496940"/>
                    <a:gd name="connsiteX74" fmla="*/ 3516652 w 4519952"/>
                    <a:gd name="connsiteY74" fmla="*/ 4114800 h 4496940"/>
                    <a:gd name="connsiteX75" fmla="*/ 3497602 w 4519952"/>
                    <a:gd name="connsiteY75" fmla="*/ 4143375 h 4496940"/>
                    <a:gd name="connsiteX76" fmla="*/ 3383302 w 4519952"/>
                    <a:gd name="connsiteY76" fmla="*/ 4210050 h 4496940"/>
                    <a:gd name="connsiteX77" fmla="*/ 3335677 w 4519952"/>
                    <a:gd name="connsiteY77" fmla="*/ 4238625 h 4496940"/>
                    <a:gd name="connsiteX78" fmla="*/ 3288052 w 4519952"/>
                    <a:gd name="connsiteY78" fmla="*/ 4248150 h 4496940"/>
                    <a:gd name="connsiteX79" fmla="*/ 3240427 w 4519952"/>
                    <a:gd name="connsiteY79" fmla="*/ 4267200 h 4496940"/>
                    <a:gd name="connsiteX80" fmla="*/ 3068977 w 4519952"/>
                    <a:gd name="connsiteY80" fmla="*/ 4286250 h 4496940"/>
                    <a:gd name="connsiteX81" fmla="*/ 2935627 w 4519952"/>
                    <a:gd name="connsiteY81" fmla="*/ 4333875 h 4496940"/>
                    <a:gd name="connsiteX82" fmla="*/ 2811802 w 4519952"/>
                    <a:gd name="connsiteY82" fmla="*/ 4371975 h 4496940"/>
                    <a:gd name="connsiteX83" fmla="*/ 2745127 w 4519952"/>
                    <a:gd name="connsiteY83" fmla="*/ 4410075 h 4496940"/>
                    <a:gd name="connsiteX84" fmla="*/ 2697502 w 4519952"/>
                    <a:gd name="connsiteY84" fmla="*/ 4429125 h 4496940"/>
                    <a:gd name="connsiteX85" fmla="*/ 2640352 w 4519952"/>
                    <a:gd name="connsiteY85" fmla="*/ 4457700 h 4496940"/>
                    <a:gd name="connsiteX86" fmla="*/ 2583202 w 4519952"/>
                    <a:gd name="connsiteY86" fmla="*/ 4467225 h 4496940"/>
                    <a:gd name="connsiteX87" fmla="*/ 2545102 w 4519952"/>
                    <a:gd name="connsiteY87" fmla="*/ 4486275 h 4496940"/>
                    <a:gd name="connsiteX88" fmla="*/ 2306977 w 4519952"/>
                    <a:gd name="connsiteY88" fmla="*/ 4476750 h 4496940"/>
                    <a:gd name="connsiteX89" fmla="*/ 2202202 w 4519952"/>
                    <a:gd name="connsiteY89" fmla="*/ 4457700 h 4496940"/>
                    <a:gd name="connsiteX90" fmla="*/ 2126002 w 4519952"/>
                    <a:gd name="connsiteY90" fmla="*/ 4429125 h 4496940"/>
                    <a:gd name="connsiteX91" fmla="*/ 1935502 w 4519952"/>
                    <a:gd name="connsiteY91" fmla="*/ 4400550 h 4496940"/>
                    <a:gd name="connsiteX92" fmla="*/ 1821202 w 4519952"/>
                    <a:gd name="connsiteY92" fmla="*/ 4371975 h 4496940"/>
                    <a:gd name="connsiteX93" fmla="*/ 1754527 w 4519952"/>
                    <a:gd name="connsiteY93" fmla="*/ 4352925 h 4496940"/>
                    <a:gd name="connsiteX94" fmla="*/ 1687852 w 4519952"/>
                    <a:gd name="connsiteY94" fmla="*/ 4343400 h 4496940"/>
                    <a:gd name="connsiteX95" fmla="*/ 1573552 w 4519952"/>
                    <a:gd name="connsiteY95" fmla="*/ 4305300 h 4496940"/>
                    <a:gd name="connsiteX96" fmla="*/ 1402102 w 4519952"/>
                    <a:gd name="connsiteY96" fmla="*/ 4276725 h 4496940"/>
                    <a:gd name="connsiteX97" fmla="*/ 1287802 w 4519952"/>
                    <a:gd name="connsiteY97" fmla="*/ 4229100 h 4496940"/>
                    <a:gd name="connsiteX98" fmla="*/ 1221127 w 4519952"/>
                    <a:gd name="connsiteY98" fmla="*/ 4200525 h 4496940"/>
                    <a:gd name="connsiteX99" fmla="*/ 1144927 w 4519952"/>
                    <a:gd name="connsiteY99" fmla="*/ 4171950 h 4496940"/>
                    <a:gd name="connsiteX100" fmla="*/ 1087777 w 4519952"/>
                    <a:gd name="connsiteY100" fmla="*/ 4143375 h 4496940"/>
                    <a:gd name="connsiteX101" fmla="*/ 1030627 w 4519952"/>
                    <a:gd name="connsiteY101" fmla="*/ 4124325 h 4496940"/>
                    <a:gd name="connsiteX102" fmla="*/ 925852 w 4519952"/>
                    <a:gd name="connsiteY102" fmla="*/ 4067175 h 4496940"/>
                    <a:gd name="connsiteX103" fmla="*/ 830602 w 4519952"/>
                    <a:gd name="connsiteY103" fmla="*/ 3981450 h 4496940"/>
                    <a:gd name="connsiteX104" fmla="*/ 763927 w 4519952"/>
                    <a:gd name="connsiteY104" fmla="*/ 3914775 h 4496940"/>
                    <a:gd name="connsiteX105" fmla="*/ 725827 w 4519952"/>
                    <a:gd name="connsiteY105" fmla="*/ 3876675 h 4496940"/>
                    <a:gd name="connsiteX106" fmla="*/ 697252 w 4519952"/>
                    <a:gd name="connsiteY106" fmla="*/ 3838575 h 4496940"/>
                    <a:gd name="connsiteX107" fmla="*/ 640102 w 4519952"/>
                    <a:gd name="connsiteY107" fmla="*/ 3781425 h 4496940"/>
                    <a:gd name="connsiteX108" fmla="*/ 611527 w 4519952"/>
                    <a:gd name="connsiteY108" fmla="*/ 3733800 h 4496940"/>
                    <a:gd name="connsiteX109" fmla="*/ 554377 w 4519952"/>
                    <a:gd name="connsiteY109" fmla="*/ 3657600 h 4496940"/>
                    <a:gd name="connsiteX110" fmla="*/ 525802 w 4519952"/>
                    <a:gd name="connsiteY110" fmla="*/ 3609975 h 4496940"/>
                    <a:gd name="connsiteX111" fmla="*/ 497227 w 4519952"/>
                    <a:gd name="connsiteY111" fmla="*/ 3552825 h 4496940"/>
                    <a:gd name="connsiteX112" fmla="*/ 440077 w 4519952"/>
                    <a:gd name="connsiteY112" fmla="*/ 3495675 h 4496940"/>
                    <a:gd name="connsiteX113" fmla="*/ 411502 w 4519952"/>
                    <a:gd name="connsiteY113" fmla="*/ 3448050 h 4496940"/>
                    <a:gd name="connsiteX114" fmla="*/ 278152 w 4519952"/>
                    <a:gd name="connsiteY114" fmla="*/ 3257550 h 4496940"/>
                    <a:gd name="connsiteX115" fmla="*/ 249577 w 4519952"/>
                    <a:gd name="connsiteY115" fmla="*/ 3200400 h 4496940"/>
                    <a:gd name="connsiteX116" fmla="*/ 240052 w 4519952"/>
                    <a:gd name="connsiteY116" fmla="*/ 3162300 h 4496940"/>
                    <a:gd name="connsiteX117" fmla="*/ 221002 w 4519952"/>
                    <a:gd name="connsiteY117" fmla="*/ 3105150 h 4496940"/>
                    <a:gd name="connsiteX118" fmla="*/ 173377 w 4519952"/>
                    <a:gd name="connsiteY118" fmla="*/ 3019425 h 4496940"/>
                    <a:gd name="connsiteX119" fmla="*/ 144802 w 4519952"/>
                    <a:gd name="connsiteY119" fmla="*/ 2924175 h 4496940"/>
                    <a:gd name="connsiteX120" fmla="*/ 68602 w 4519952"/>
                    <a:gd name="connsiteY120" fmla="*/ 2724150 h 4496940"/>
                    <a:gd name="connsiteX121" fmla="*/ 49552 w 4519952"/>
                    <a:gd name="connsiteY121" fmla="*/ 2638425 h 4496940"/>
                    <a:gd name="connsiteX122" fmla="*/ 40027 w 4519952"/>
                    <a:gd name="connsiteY122" fmla="*/ 2562225 h 4496940"/>
                    <a:gd name="connsiteX123" fmla="*/ 30502 w 4519952"/>
                    <a:gd name="connsiteY123" fmla="*/ 2514600 h 4496940"/>
                    <a:gd name="connsiteX124" fmla="*/ 11452 w 4519952"/>
                    <a:gd name="connsiteY124" fmla="*/ 2400300 h 4496940"/>
                    <a:gd name="connsiteX125" fmla="*/ 20977 w 4519952"/>
                    <a:gd name="connsiteY125" fmla="*/ 1905000 h 4496940"/>
                    <a:gd name="connsiteX126" fmla="*/ 30502 w 4519952"/>
                    <a:gd name="connsiteY126" fmla="*/ 1838325 h 4496940"/>
                    <a:gd name="connsiteX127" fmla="*/ 49552 w 4519952"/>
                    <a:gd name="connsiteY127" fmla="*/ 1781175 h 4496940"/>
                    <a:gd name="connsiteX128" fmla="*/ 59077 w 4519952"/>
                    <a:gd name="connsiteY128" fmla="*/ 1743075 h 4496940"/>
                    <a:gd name="connsiteX129" fmla="*/ 78127 w 4519952"/>
                    <a:gd name="connsiteY129" fmla="*/ 1685925 h 4496940"/>
                    <a:gd name="connsiteX130" fmla="*/ 87652 w 4519952"/>
                    <a:gd name="connsiteY130" fmla="*/ 1638300 h 4496940"/>
                    <a:gd name="connsiteX131" fmla="*/ 106702 w 4519952"/>
                    <a:gd name="connsiteY131" fmla="*/ 1590675 h 4496940"/>
                    <a:gd name="connsiteX132" fmla="*/ 135277 w 4519952"/>
                    <a:gd name="connsiteY132" fmla="*/ 1504950 h 4496940"/>
                    <a:gd name="connsiteX133" fmla="*/ 154327 w 4519952"/>
                    <a:gd name="connsiteY133" fmla="*/ 1419225 h 4496940"/>
                    <a:gd name="connsiteX134" fmla="*/ 230527 w 4519952"/>
                    <a:gd name="connsiteY134" fmla="*/ 1276350 h 4496940"/>
                    <a:gd name="connsiteX135" fmla="*/ 240052 w 4519952"/>
                    <a:gd name="connsiteY135" fmla="*/ 1247775 h 4496940"/>
                    <a:gd name="connsiteX136" fmla="*/ 268627 w 4519952"/>
                    <a:gd name="connsiteY136" fmla="*/ 1200150 h 4496940"/>
                    <a:gd name="connsiteX137" fmla="*/ 287677 w 4519952"/>
                    <a:gd name="connsiteY137" fmla="*/ 1152525 h 4496940"/>
                    <a:gd name="connsiteX138" fmla="*/ 316252 w 4519952"/>
                    <a:gd name="connsiteY138" fmla="*/ 1114425 h 4496940"/>
                    <a:gd name="connsiteX139" fmla="*/ 363877 w 4519952"/>
                    <a:gd name="connsiteY139" fmla="*/ 1038225 h 4496940"/>
                    <a:gd name="connsiteX140" fmla="*/ 382927 w 4519952"/>
                    <a:gd name="connsiteY140" fmla="*/ 1009650 h 4496940"/>
                    <a:gd name="connsiteX141" fmla="*/ 440077 w 4519952"/>
                    <a:gd name="connsiteY141" fmla="*/ 904875 h 4496940"/>
                    <a:gd name="connsiteX142" fmla="*/ 478177 w 4519952"/>
                    <a:gd name="connsiteY142" fmla="*/ 857250 h 4496940"/>
                    <a:gd name="connsiteX143" fmla="*/ 497227 w 4519952"/>
                    <a:gd name="connsiteY143" fmla="*/ 828675 h 4496940"/>
                    <a:gd name="connsiteX144" fmla="*/ 535327 w 4519952"/>
                    <a:gd name="connsiteY144" fmla="*/ 800100 h 4496940"/>
                    <a:gd name="connsiteX145" fmla="*/ 602002 w 4519952"/>
                    <a:gd name="connsiteY145" fmla="*/ 733425 h 4496940"/>
                    <a:gd name="connsiteX146" fmla="*/ 668677 w 4519952"/>
                    <a:gd name="connsiteY146" fmla="*/ 676275 h 4496940"/>
                    <a:gd name="connsiteX147" fmla="*/ 697252 w 4519952"/>
                    <a:gd name="connsiteY147" fmla="*/ 657225 h 4496940"/>
                    <a:gd name="connsiteX148" fmla="*/ 840127 w 4519952"/>
                    <a:gd name="connsiteY148" fmla="*/ 533400 h 4496940"/>
                    <a:gd name="connsiteX149" fmla="*/ 887752 w 4519952"/>
                    <a:gd name="connsiteY149" fmla="*/ 504825 h 4496940"/>
                    <a:gd name="connsiteX150" fmla="*/ 1167152 w 4519952"/>
                    <a:gd name="connsiteY150" fmla="*/ 311150 h 4496940"/>
                    <a:gd name="connsiteX151" fmla="*/ 1268752 w 4519952"/>
                    <a:gd name="connsiteY151" fmla="*/ 285750 h 4496940"/>
                    <a:gd name="connsiteX152" fmla="*/ 1411627 w 4519952"/>
                    <a:gd name="connsiteY152" fmla="*/ 190500 h 4496940"/>
                    <a:gd name="connsiteX153" fmla="*/ 1449727 w 4519952"/>
                    <a:gd name="connsiteY153" fmla="*/ 161925 h 4496940"/>
                    <a:gd name="connsiteX154" fmla="*/ 1525927 w 4519952"/>
                    <a:gd name="connsiteY154" fmla="*/ 152400 h 4496940"/>
                    <a:gd name="connsiteX155" fmla="*/ 1583077 w 4519952"/>
                    <a:gd name="connsiteY155" fmla="*/ 142875 h 4496940"/>
                    <a:gd name="connsiteX156" fmla="*/ 1716427 w 4519952"/>
                    <a:gd name="connsiteY156" fmla="*/ 123825 h 4496940"/>
                    <a:gd name="connsiteX157" fmla="*/ 1811677 w 4519952"/>
                    <a:gd name="connsiteY157" fmla="*/ 114300 h 4496940"/>
                    <a:gd name="connsiteX158" fmla="*/ 1859302 w 4519952"/>
                    <a:gd name="connsiteY158" fmla="*/ 104775 h 4496940"/>
                    <a:gd name="connsiteX159" fmla="*/ 1916452 w 4519952"/>
                    <a:gd name="connsiteY159" fmla="*/ 95250 h 4496940"/>
                    <a:gd name="connsiteX160" fmla="*/ 2030752 w 4519952"/>
                    <a:gd name="connsiteY160" fmla="*/ 66675 h 4496940"/>
                    <a:gd name="connsiteX161" fmla="*/ 2097427 w 4519952"/>
                    <a:gd name="connsiteY161" fmla="*/ 47625 h 4496940"/>
                    <a:gd name="connsiteX162" fmla="*/ 2164102 w 4519952"/>
                    <a:gd name="connsiteY162" fmla="*/ 38100 h 4496940"/>
                    <a:gd name="connsiteX163" fmla="*/ 2392702 w 45199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59627 w 4519952"/>
                    <a:gd name="connsiteY46" fmla="*/ 1828800 h 4496940"/>
                    <a:gd name="connsiteX47" fmla="*/ 4519952 w 4519952"/>
                    <a:gd name="connsiteY47" fmla="*/ 2181225 h 4496940"/>
                    <a:gd name="connsiteX48" fmla="*/ 4440577 w 4519952"/>
                    <a:gd name="connsiteY48" fmla="*/ 2876550 h 4496940"/>
                    <a:gd name="connsiteX49" fmla="*/ 4383427 w 4519952"/>
                    <a:gd name="connsiteY49" fmla="*/ 2990850 h 4496940"/>
                    <a:gd name="connsiteX50" fmla="*/ 4354852 w 4519952"/>
                    <a:gd name="connsiteY50" fmla="*/ 3057525 h 4496940"/>
                    <a:gd name="connsiteX51" fmla="*/ 4335802 w 4519952"/>
                    <a:gd name="connsiteY51" fmla="*/ 3095625 h 4496940"/>
                    <a:gd name="connsiteX52" fmla="*/ 4278652 w 4519952"/>
                    <a:gd name="connsiteY52" fmla="*/ 3248025 h 4496940"/>
                    <a:gd name="connsiteX53" fmla="*/ 4259602 w 4519952"/>
                    <a:gd name="connsiteY53" fmla="*/ 3276600 h 4496940"/>
                    <a:gd name="connsiteX54" fmla="*/ 4221502 w 4519952"/>
                    <a:gd name="connsiteY54" fmla="*/ 3333750 h 4496940"/>
                    <a:gd name="connsiteX55" fmla="*/ 4211977 w 4519952"/>
                    <a:gd name="connsiteY55" fmla="*/ 3362325 h 4496940"/>
                    <a:gd name="connsiteX56" fmla="*/ 4183402 w 4519952"/>
                    <a:gd name="connsiteY56" fmla="*/ 3400425 h 4496940"/>
                    <a:gd name="connsiteX57" fmla="*/ 4164352 w 4519952"/>
                    <a:gd name="connsiteY57" fmla="*/ 3429000 h 4496940"/>
                    <a:gd name="connsiteX58" fmla="*/ 4088152 w 4519952"/>
                    <a:gd name="connsiteY58" fmla="*/ 3495675 h 4496940"/>
                    <a:gd name="connsiteX59" fmla="*/ 4059577 w 4519952"/>
                    <a:gd name="connsiteY59" fmla="*/ 3533775 h 4496940"/>
                    <a:gd name="connsiteX60" fmla="*/ 4002427 w 4519952"/>
                    <a:gd name="connsiteY60" fmla="*/ 3600450 h 4496940"/>
                    <a:gd name="connsiteX61" fmla="*/ 3983377 w 4519952"/>
                    <a:gd name="connsiteY61" fmla="*/ 3629025 h 4496940"/>
                    <a:gd name="connsiteX62" fmla="*/ 3954802 w 4519952"/>
                    <a:gd name="connsiteY62" fmla="*/ 3648075 h 4496940"/>
                    <a:gd name="connsiteX63" fmla="*/ 3907177 w 4519952"/>
                    <a:gd name="connsiteY63" fmla="*/ 3686175 h 4496940"/>
                    <a:gd name="connsiteX64" fmla="*/ 3869077 w 4519952"/>
                    <a:gd name="connsiteY64" fmla="*/ 3724275 h 4496940"/>
                    <a:gd name="connsiteX65" fmla="*/ 3792877 w 4519952"/>
                    <a:gd name="connsiteY65" fmla="*/ 3781425 h 4496940"/>
                    <a:gd name="connsiteX66" fmla="*/ 3783352 w 4519952"/>
                    <a:gd name="connsiteY66" fmla="*/ 3810000 h 4496940"/>
                    <a:gd name="connsiteX67" fmla="*/ 3745252 w 4519952"/>
                    <a:gd name="connsiteY67" fmla="*/ 3819525 h 4496940"/>
                    <a:gd name="connsiteX68" fmla="*/ 3678577 w 4519952"/>
                    <a:gd name="connsiteY68" fmla="*/ 3848100 h 4496940"/>
                    <a:gd name="connsiteX69" fmla="*/ 3659527 w 4519952"/>
                    <a:gd name="connsiteY69" fmla="*/ 3971925 h 4496940"/>
                    <a:gd name="connsiteX70" fmla="*/ 3630952 w 4519952"/>
                    <a:gd name="connsiteY70" fmla="*/ 4010025 h 4496940"/>
                    <a:gd name="connsiteX71" fmla="*/ 3621427 w 4519952"/>
                    <a:gd name="connsiteY71" fmla="*/ 4038600 h 4496940"/>
                    <a:gd name="connsiteX72" fmla="*/ 3554752 w 4519952"/>
                    <a:gd name="connsiteY72" fmla="*/ 4095750 h 4496940"/>
                    <a:gd name="connsiteX73" fmla="*/ 3516652 w 4519952"/>
                    <a:gd name="connsiteY73" fmla="*/ 4114800 h 4496940"/>
                    <a:gd name="connsiteX74" fmla="*/ 3497602 w 4519952"/>
                    <a:gd name="connsiteY74" fmla="*/ 4143375 h 4496940"/>
                    <a:gd name="connsiteX75" fmla="*/ 3383302 w 4519952"/>
                    <a:gd name="connsiteY75" fmla="*/ 4210050 h 4496940"/>
                    <a:gd name="connsiteX76" fmla="*/ 3335677 w 4519952"/>
                    <a:gd name="connsiteY76" fmla="*/ 4238625 h 4496940"/>
                    <a:gd name="connsiteX77" fmla="*/ 3288052 w 4519952"/>
                    <a:gd name="connsiteY77" fmla="*/ 4248150 h 4496940"/>
                    <a:gd name="connsiteX78" fmla="*/ 3240427 w 4519952"/>
                    <a:gd name="connsiteY78" fmla="*/ 4267200 h 4496940"/>
                    <a:gd name="connsiteX79" fmla="*/ 3068977 w 4519952"/>
                    <a:gd name="connsiteY79" fmla="*/ 4286250 h 4496940"/>
                    <a:gd name="connsiteX80" fmla="*/ 2935627 w 4519952"/>
                    <a:gd name="connsiteY80" fmla="*/ 4333875 h 4496940"/>
                    <a:gd name="connsiteX81" fmla="*/ 2811802 w 4519952"/>
                    <a:gd name="connsiteY81" fmla="*/ 4371975 h 4496940"/>
                    <a:gd name="connsiteX82" fmla="*/ 2745127 w 4519952"/>
                    <a:gd name="connsiteY82" fmla="*/ 4410075 h 4496940"/>
                    <a:gd name="connsiteX83" fmla="*/ 2697502 w 4519952"/>
                    <a:gd name="connsiteY83" fmla="*/ 4429125 h 4496940"/>
                    <a:gd name="connsiteX84" fmla="*/ 2640352 w 4519952"/>
                    <a:gd name="connsiteY84" fmla="*/ 4457700 h 4496940"/>
                    <a:gd name="connsiteX85" fmla="*/ 2583202 w 4519952"/>
                    <a:gd name="connsiteY85" fmla="*/ 4467225 h 4496940"/>
                    <a:gd name="connsiteX86" fmla="*/ 2545102 w 4519952"/>
                    <a:gd name="connsiteY86" fmla="*/ 4486275 h 4496940"/>
                    <a:gd name="connsiteX87" fmla="*/ 2306977 w 4519952"/>
                    <a:gd name="connsiteY87" fmla="*/ 4476750 h 4496940"/>
                    <a:gd name="connsiteX88" fmla="*/ 2202202 w 4519952"/>
                    <a:gd name="connsiteY88" fmla="*/ 4457700 h 4496940"/>
                    <a:gd name="connsiteX89" fmla="*/ 2126002 w 4519952"/>
                    <a:gd name="connsiteY89" fmla="*/ 4429125 h 4496940"/>
                    <a:gd name="connsiteX90" fmla="*/ 1935502 w 4519952"/>
                    <a:gd name="connsiteY90" fmla="*/ 4400550 h 4496940"/>
                    <a:gd name="connsiteX91" fmla="*/ 1821202 w 4519952"/>
                    <a:gd name="connsiteY91" fmla="*/ 4371975 h 4496940"/>
                    <a:gd name="connsiteX92" fmla="*/ 1754527 w 4519952"/>
                    <a:gd name="connsiteY92" fmla="*/ 4352925 h 4496940"/>
                    <a:gd name="connsiteX93" fmla="*/ 1687852 w 4519952"/>
                    <a:gd name="connsiteY93" fmla="*/ 4343400 h 4496940"/>
                    <a:gd name="connsiteX94" fmla="*/ 1573552 w 4519952"/>
                    <a:gd name="connsiteY94" fmla="*/ 4305300 h 4496940"/>
                    <a:gd name="connsiteX95" fmla="*/ 1402102 w 4519952"/>
                    <a:gd name="connsiteY95" fmla="*/ 4276725 h 4496940"/>
                    <a:gd name="connsiteX96" fmla="*/ 1287802 w 4519952"/>
                    <a:gd name="connsiteY96" fmla="*/ 4229100 h 4496940"/>
                    <a:gd name="connsiteX97" fmla="*/ 1221127 w 4519952"/>
                    <a:gd name="connsiteY97" fmla="*/ 4200525 h 4496940"/>
                    <a:gd name="connsiteX98" fmla="*/ 1144927 w 4519952"/>
                    <a:gd name="connsiteY98" fmla="*/ 4171950 h 4496940"/>
                    <a:gd name="connsiteX99" fmla="*/ 1087777 w 4519952"/>
                    <a:gd name="connsiteY99" fmla="*/ 4143375 h 4496940"/>
                    <a:gd name="connsiteX100" fmla="*/ 1030627 w 4519952"/>
                    <a:gd name="connsiteY100" fmla="*/ 4124325 h 4496940"/>
                    <a:gd name="connsiteX101" fmla="*/ 925852 w 4519952"/>
                    <a:gd name="connsiteY101" fmla="*/ 4067175 h 4496940"/>
                    <a:gd name="connsiteX102" fmla="*/ 830602 w 4519952"/>
                    <a:gd name="connsiteY102" fmla="*/ 3981450 h 4496940"/>
                    <a:gd name="connsiteX103" fmla="*/ 763927 w 4519952"/>
                    <a:gd name="connsiteY103" fmla="*/ 3914775 h 4496940"/>
                    <a:gd name="connsiteX104" fmla="*/ 725827 w 4519952"/>
                    <a:gd name="connsiteY104" fmla="*/ 3876675 h 4496940"/>
                    <a:gd name="connsiteX105" fmla="*/ 697252 w 4519952"/>
                    <a:gd name="connsiteY105" fmla="*/ 3838575 h 4496940"/>
                    <a:gd name="connsiteX106" fmla="*/ 640102 w 4519952"/>
                    <a:gd name="connsiteY106" fmla="*/ 3781425 h 4496940"/>
                    <a:gd name="connsiteX107" fmla="*/ 611527 w 4519952"/>
                    <a:gd name="connsiteY107" fmla="*/ 3733800 h 4496940"/>
                    <a:gd name="connsiteX108" fmla="*/ 554377 w 4519952"/>
                    <a:gd name="connsiteY108" fmla="*/ 3657600 h 4496940"/>
                    <a:gd name="connsiteX109" fmla="*/ 525802 w 4519952"/>
                    <a:gd name="connsiteY109" fmla="*/ 3609975 h 4496940"/>
                    <a:gd name="connsiteX110" fmla="*/ 497227 w 4519952"/>
                    <a:gd name="connsiteY110" fmla="*/ 3552825 h 4496940"/>
                    <a:gd name="connsiteX111" fmla="*/ 440077 w 4519952"/>
                    <a:gd name="connsiteY111" fmla="*/ 3495675 h 4496940"/>
                    <a:gd name="connsiteX112" fmla="*/ 411502 w 4519952"/>
                    <a:gd name="connsiteY112" fmla="*/ 3448050 h 4496940"/>
                    <a:gd name="connsiteX113" fmla="*/ 278152 w 4519952"/>
                    <a:gd name="connsiteY113" fmla="*/ 3257550 h 4496940"/>
                    <a:gd name="connsiteX114" fmla="*/ 249577 w 4519952"/>
                    <a:gd name="connsiteY114" fmla="*/ 3200400 h 4496940"/>
                    <a:gd name="connsiteX115" fmla="*/ 240052 w 4519952"/>
                    <a:gd name="connsiteY115" fmla="*/ 3162300 h 4496940"/>
                    <a:gd name="connsiteX116" fmla="*/ 221002 w 4519952"/>
                    <a:gd name="connsiteY116" fmla="*/ 3105150 h 4496940"/>
                    <a:gd name="connsiteX117" fmla="*/ 173377 w 4519952"/>
                    <a:gd name="connsiteY117" fmla="*/ 3019425 h 4496940"/>
                    <a:gd name="connsiteX118" fmla="*/ 144802 w 4519952"/>
                    <a:gd name="connsiteY118" fmla="*/ 2924175 h 4496940"/>
                    <a:gd name="connsiteX119" fmla="*/ 68602 w 4519952"/>
                    <a:gd name="connsiteY119" fmla="*/ 2724150 h 4496940"/>
                    <a:gd name="connsiteX120" fmla="*/ 49552 w 4519952"/>
                    <a:gd name="connsiteY120" fmla="*/ 2638425 h 4496940"/>
                    <a:gd name="connsiteX121" fmla="*/ 40027 w 4519952"/>
                    <a:gd name="connsiteY121" fmla="*/ 2562225 h 4496940"/>
                    <a:gd name="connsiteX122" fmla="*/ 30502 w 4519952"/>
                    <a:gd name="connsiteY122" fmla="*/ 2514600 h 4496940"/>
                    <a:gd name="connsiteX123" fmla="*/ 11452 w 4519952"/>
                    <a:gd name="connsiteY123" fmla="*/ 2400300 h 4496940"/>
                    <a:gd name="connsiteX124" fmla="*/ 20977 w 4519952"/>
                    <a:gd name="connsiteY124" fmla="*/ 1905000 h 4496940"/>
                    <a:gd name="connsiteX125" fmla="*/ 30502 w 4519952"/>
                    <a:gd name="connsiteY125" fmla="*/ 1838325 h 4496940"/>
                    <a:gd name="connsiteX126" fmla="*/ 49552 w 4519952"/>
                    <a:gd name="connsiteY126" fmla="*/ 1781175 h 4496940"/>
                    <a:gd name="connsiteX127" fmla="*/ 59077 w 4519952"/>
                    <a:gd name="connsiteY127" fmla="*/ 1743075 h 4496940"/>
                    <a:gd name="connsiteX128" fmla="*/ 78127 w 4519952"/>
                    <a:gd name="connsiteY128" fmla="*/ 1685925 h 4496940"/>
                    <a:gd name="connsiteX129" fmla="*/ 87652 w 4519952"/>
                    <a:gd name="connsiteY129" fmla="*/ 1638300 h 4496940"/>
                    <a:gd name="connsiteX130" fmla="*/ 106702 w 4519952"/>
                    <a:gd name="connsiteY130" fmla="*/ 1590675 h 4496940"/>
                    <a:gd name="connsiteX131" fmla="*/ 135277 w 4519952"/>
                    <a:gd name="connsiteY131" fmla="*/ 1504950 h 4496940"/>
                    <a:gd name="connsiteX132" fmla="*/ 154327 w 4519952"/>
                    <a:gd name="connsiteY132" fmla="*/ 1419225 h 4496940"/>
                    <a:gd name="connsiteX133" fmla="*/ 230527 w 4519952"/>
                    <a:gd name="connsiteY133" fmla="*/ 1276350 h 4496940"/>
                    <a:gd name="connsiteX134" fmla="*/ 240052 w 4519952"/>
                    <a:gd name="connsiteY134" fmla="*/ 1247775 h 4496940"/>
                    <a:gd name="connsiteX135" fmla="*/ 268627 w 4519952"/>
                    <a:gd name="connsiteY135" fmla="*/ 1200150 h 4496940"/>
                    <a:gd name="connsiteX136" fmla="*/ 287677 w 4519952"/>
                    <a:gd name="connsiteY136" fmla="*/ 1152525 h 4496940"/>
                    <a:gd name="connsiteX137" fmla="*/ 316252 w 4519952"/>
                    <a:gd name="connsiteY137" fmla="*/ 1114425 h 4496940"/>
                    <a:gd name="connsiteX138" fmla="*/ 363877 w 4519952"/>
                    <a:gd name="connsiteY138" fmla="*/ 1038225 h 4496940"/>
                    <a:gd name="connsiteX139" fmla="*/ 382927 w 4519952"/>
                    <a:gd name="connsiteY139" fmla="*/ 1009650 h 4496940"/>
                    <a:gd name="connsiteX140" fmla="*/ 440077 w 4519952"/>
                    <a:gd name="connsiteY140" fmla="*/ 904875 h 4496940"/>
                    <a:gd name="connsiteX141" fmla="*/ 478177 w 4519952"/>
                    <a:gd name="connsiteY141" fmla="*/ 857250 h 4496940"/>
                    <a:gd name="connsiteX142" fmla="*/ 497227 w 4519952"/>
                    <a:gd name="connsiteY142" fmla="*/ 828675 h 4496940"/>
                    <a:gd name="connsiteX143" fmla="*/ 535327 w 4519952"/>
                    <a:gd name="connsiteY143" fmla="*/ 800100 h 4496940"/>
                    <a:gd name="connsiteX144" fmla="*/ 602002 w 4519952"/>
                    <a:gd name="connsiteY144" fmla="*/ 733425 h 4496940"/>
                    <a:gd name="connsiteX145" fmla="*/ 668677 w 4519952"/>
                    <a:gd name="connsiteY145" fmla="*/ 676275 h 4496940"/>
                    <a:gd name="connsiteX146" fmla="*/ 697252 w 4519952"/>
                    <a:gd name="connsiteY146" fmla="*/ 657225 h 4496940"/>
                    <a:gd name="connsiteX147" fmla="*/ 840127 w 4519952"/>
                    <a:gd name="connsiteY147" fmla="*/ 533400 h 4496940"/>
                    <a:gd name="connsiteX148" fmla="*/ 887752 w 4519952"/>
                    <a:gd name="connsiteY148" fmla="*/ 504825 h 4496940"/>
                    <a:gd name="connsiteX149" fmla="*/ 1167152 w 4519952"/>
                    <a:gd name="connsiteY149" fmla="*/ 311150 h 4496940"/>
                    <a:gd name="connsiteX150" fmla="*/ 1268752 w 4519952"/>
                    <a:gd name="connsiteY150" fmla="*/ 285750 h 4496940"/>
                    <a:gd name="connsiteX151" fmla="*/ 1411627 w 4519952"/>
                    <a:gd name="connsiteY151" fmla="*/ 190500 h 4496940"/>
                    <a:gd name="connsiteX152" fmla="*/ 1449727 w 4519952"/>
                    <a:gd name="connsiteY152" fmla="*/ 161925 h 4496940"/>
                    <a:gd name="connsiteX153" fmla="*/ 1525927 w 4519952"/>
                    <a:gd name="connsiteY153" fmla="*/ 152400 h 4496940"/>
                    <a:gd name="connsiteX154" fmla="*/ 1583077 w 4519952"/>
                    <a:gd name="connsiteY154" fmla="*/ 142875 h 4496940"/>
                    <a:gd name="connsiteX155" fmla="*/ 1716427 w 4519952"/>
                    <a:gd name="connsiteY155" fmla="*/ 123825 h 4496940"/>
                    <a:gd name="connsiteX156" fmla="*/ 1811677 w 4519952"/>
                    <a:gd name="connsiteY156" fmla="*/ 114300 h 4496940"/>
                    <a:gd name="connsiteX157" fmla="*/ 1859302 w 4519952"/>
                    <a:gd name="connsiteY157" fmla="*/ 104775 h 4496940"/>
                    <a:gd name="connsiteX158" fmla="*/ 1916452 w 4519952"/>
                    <a:gd name="connsiteY158" fmla="*/ 95250 h 4496940"/>
                    <a:gd name="connsiteX159" fmla="*/ 2030752 w 4519952"/>
                    <a:gd name="connsiteY159" fmla="*/ 66675 h 4496940"/>
                    <a:gd name="connsiteX160" fmla="*/ 2097427 w 4519952"/>
                    <a:gd name="connsiteY160" fmla="*/ 47625 h 4496940"/>
                    <a:gd name="connsiteX161" fmla="*/ 2164102 w 4519952"/>
                    <a:gd name="connsiteY161" fmla="*/ 38100 h 4496940"/>
                    <a:gd name="connsiteX162" fmla="*/ 2392702 w 4519952"/>
                    <a:gd name="connsiteY162" fmla="*/ 28575 h 4496940"/>
                    <a:gd name="connsiteX0" fmla="*/ 2297452 w 4519983"/>
                    <a:gd name="connsiteY0" fmla="*/ 0 h 4496940"/>
                    <a:gd name="connsiteX1" fmla="*/ 2421277 w 4519983"/>
                    <a:gd name="connsiteY1" fmla="*/ 28575 h 4496940"/>
                    <a:gd name="connsiteX2" fmla="*/ 2497477 w 4519983"/>
                    <a:gd name="connsiteY2" fmla="*/ 47625 h 4496940"/>
                    <a:gd name="connsiteX3" fmla="*/ 2754652 w 4519983"/>
                    <a:gd name="connsiteY3" fmla="*/ 66675 h 4496940"/>
                    <a:gd name="connsiteX4" fmla="*/ 2830852 w 4519983"/>
                    <a:gd name="connsiteY4" fmla="*/ 76200 h 4496940"/>
                    <a:gd name="connsiteX5" fmla="*/ 2916577 w 4519983"/>
                    <a:gd name="connsiteY5" fmla="*/ 85725 h 4496940"/>
                    <a:gd name="connsiteX6" fmla="*/ 2973727 w 4519983"/>
                    <a:gd name="connsiteY6" fmla="*/ 114300 h 4496940"/>
                    <a:gd name="connsiteX7" fmla="*/ 3011827 w 4519983"/>
                    <a:gd name="connsiteY7" fmla="*/ 123825 h 4496940"/>
                    <a:gd name="connsiteX8" fmla="*/ 3135652 w 4519983"/>
                    <a:gd name="connsiteY8" fmla="*/ 171450 h 4496940"/>
                    <a:gd name="connsiteX9" fmla="*/ 3173752 w 4519983"/>
                    <a:gd name="connsiteY9" fmla="*/ 190500 h 4496940"/>
                    <a:gd name="connsiteX10" fmla="*/ 3240427 w 4519983"/>
                    <a:gd name="connsiteY10" fmla="*/ 228600 h 4496940"/>
                    <a:gd name="connsiteX11" fmla="*/ 3269002 w 4519983"/>
                    <a:gd name="connsiteY11" fmla="*/ 238125 h 4496940"/>
                    <a:gd name="connsiteX12" fmla="*/ 3297577 w 4519983"/>
                    <a:gd name="connsiteY12" fmla="*/ 257175 h 4496940"/>
                    <a:gd name="connsiteX13" fmla="*/ 3326152 w 4519983"/>
                    <a:gd name="connsiteY13" fmla="*/ 266700 h 4496940"/>
                    <a:gd name="connsiteX14" fmla="*/ 3354727 w 4519983"/>
                    <a:gd name="connsiteY14" fmla="*/ 285750 h 4496940"/>
                    <a:gd name="connsiteX15" fmla="*/ 3421402 w 4519983"/>
                    <a:gd name="connsiteY15" fmla="*/ 323850 h 4496940"/>
                    <a:gd name="connsiteX16" fmla="*/ 3469027 w 4519983"/>
                    <a:gd name="connsiteY16" fmla="*/ 361950 h 4496940"/>
                    <a:gd name="connsiteX17" fmla="*/ 3516652 w 4519983"/>
                    <a:gd name="connsiteY17" fmla="*/ 390525 h 4496940"/>
                    <a:gd name="connsiteX18" fmla="*/ 3545227 w 4519983"/>
                    <a:gd name="connsiteY18" fmla="*/ 419100 h 4496940"/>
                    <a:gd name="connsiteX19" fmla="*/ 3602377 w 4519983"/>
                    <a:gd name="connsiteY19" fmla="*/ 457200 h 4496940"/>
                    <a:gd name="connsiteX20" fmla="*/ 3630952 w 4519983"/>
                    <a:gd name="connsiteY20" fmla="*/ 485775 h 4496940"/>
                    <a:gd name="connsiteX21" fmla="*/ 3678577 w 4519983"/>
                    <a:gd name="connsiteY21" fmla="*/ 504825 h 4496940"/>
                    <a:gd name="connsiteX22" fmla="*/ 3745252 w 4519983"/>
                    <a:gd name="connsiteY22" fmla="*/ 542925 h 4496940"/>
                    <a:gd name="connsiteX23" fmla="*/ 3811927 w 4519983"/>
                    <a:gd name="connsiteY23" fmla="*/ 581025 h 4496940"/>
                    <a:gd name="connsiteX24" fmla="*/ 3840502 w 4519983"/>
                    <a:gd name="connsiteY24" fmla="*/ 600075 h 4496940"/>
                    <a:gd name="connsiteX25" fmla="*/ 3869077 w 4519983"/>
                    <a:gd name="connsiteY25" fmla="*/ 628650 h 4496940"/>
                    <a:gd name="connsiteX26" fmla="*/ 3907177 w 4519983"/>
                    <a:gd name="connsiteY26" fmla="*/ 647700 h 4496940"/>
                    <a:gd name="connsiteX27" fmla="*/ 3935752 w 4519983"/>
                    <a:gd name="connsiteY27" fmla="*/ 676275 h 4496940"/>
                    <a:gd name="connsiteX28" fmla="*/ 3992902 w 4519983"/>
                    <a:gd name="connsiteY28" fmla="*/ 714375 h 4496940"/>
                    <a:gd name="connsiteX29" fmla="*/ 4050052 w 4519983"/>
                    <a:gd name="connsiteY29" fmla="*/ 790575 h 4496940"/>
                    <a:gd name="connsiteX30" fmla="*/ 4078627 w 4519983"/>
                    <a:gd name="connsiteY30" fmla="*/ 838200 h 4496940"/>
                    <a:gd name="connsiteX31" fmla="*/ 4107202 w 4519983"/>
                    <a:gd name="connsiteY31" fmla="*/ 876300 h 4496940"/>
                    <a:gd name="connsiteX32" fmla="*/ 4116727 w 4519983"/>
                    <a:gd name="connsiteY32" fmla="*/ 904875 h 4496940"/>
                    <a:gd name="connsiteX33" fmla="*/ 4135777 w 4519983"/>
                    <a:gd name="connsiteY33" fmla="*/ 933450 h 4496940"/>
                    <a:gd name="connsiteX34" fmla="*/ 4164352 w 4519983"/>
                    <a:gd name="connsiteY34" fmla="*/ 990600 h 4496940"/>
                    <a:gd name="connsiteX35" fmla="*/ 4173877 w 4519983"/>
                    <a:gd name="connsiteY35" fmla="*/ 1019175 h 4496940"/>
                    <a:gd name="connsiteX36" fmla="*/ 4192927 w 4519983"/>
                    <a:gd name="connsiteY36" fmla="*/ 1057275 h 4496940"/>
                    <a:gd name="connsiteX37" fmla="*/ 4202452 w 4519983"/>
                    <a:gd name="connsiteY37" fmla="*/ 1085850 h 4496940"/>
                    <a:gd name="connsiteX38" fmla="*/ 4250077 w 4519983"/>
                    <a:gd name="connsiteY38" fmla="*/ 1143000 h 4496940"/>
                    <a:gd name="connsiteX39" fmla="*/ 4259602 w 4519983"/>
                    <a:gd name="connsiteY39" fmla="*/ 1190625 h 4496940"/>
                    <a:gd name="connsiteX40" fmla="*/ 4307227 w 4519983"/>
                    <a:gd name="connsiteY40" fmla="*/ 1266825 h 4496940"/>
                    <a:gd name="connsiteX41" fmla="*/ 4345327 w 4519983"/>
                    <a:gd name="connsiteY41" fmla="*/ 1362075 h 4496940"/>
                    <a:gd name="connsiteX42" fmla="*/ 4373902 w 4519983"/>
                    <a:gd name="connsiteY42" fmla="*/ 1428750 h 4496940"/>
                    <a:gd name="connsiteX43" fmla="*/ 4392952 w 4519983"/>
                    <a:gd name="connsiteY43" fmla="*/ 1552575 h 4496940"/>
                    <a:gd name="connsiteX44" fmla="*/ 4402477 w 4519983"/>
                    <a:gd name="connsiteY44" fmla="*/ 1590675 h 4496940"/>
                    <a:gd name="connsiteX45" fmla="*/ 4431052 w 4519983"/>
                    <a:gd name="connsiteY45" fmla="*/ 1685925 h 4496940"/>
                    <a:gd name="connsiteX46" fmla="*/ 4519952 w 4519983"/>
                    <a:gd name="connsiteY46" fmla="*/ 2181225 h 4496940"/>
                    <a:gd name="connsiteX47" fmla="*/ 4440577 w 4519983"/>
                    <a:gd name="connsiteY47" fmla="*/ 2876550 h 4496940"/>
                    <a:gd name="connsiteX48" fmla="*/ 4383427 w 4519983"/>
                    <a:gd name="connsiteY48" fmla="*/ 2990850 h 4496940"/>
                    <a:gd name="connsiteX49" fmla="*/ 4354852 w 4519983"/>
                    <a:gd name="connsiteY49" fmla="*/ 3057525 h 4496940"/>
                    <a:gd name="connsiteX50" fmla="*/ 4335802 w 4519983"/>
                    <a:gd name="connsiteY50" fmla="*/ 3095625 h 4496940"/>
                    <a:gd name="connsiteX51" fmla="*/ 4278652 w 4519983"/>
                    <a:gd name="connsiteY51" fmla="*/ 3248025 h 4496940"/>
                    <a:gd name="connsiteX52" fmla="*/ 4259602 w 4519983"/>
                    <a:gd name="connsiteY52" fmla="*/ 3276600 h 4496940"/>
                    <a:gd name="connsiteX53" fmla="*/ 4221502 w 4519983"/>
                    <a:gd name="connsiteY53" fmla="*/ 3333750 h 4496940"/>
                    <a:gd name="connsiteX54" fmla="*/ 4211977 w 4519983"/>
                    <a:gd name="connsiteY54" fmla="*/ 3362325 h 4496940"/>
                    <a:gd name="connsiteX55" fmla="*/ 4183402 w 4519983"/>
                    <a:gd name="connsiteY55" fmla="*/ 3400425 h 4496940"/>
                    <a:gd name="connsiteX56" fmla="*/ 4164352 w 4519983"/>
                    <a:gd name="connsiteY56" fmla="*/ 3429000 h 4496940"/>
                    <a:gd name="connsiteX57" fmla="*/ 4088152 w 4519983"/>
                    <a:gd name="connsiteY57" fmla="*/ 3495675 h 4496940"/>
                    <a:gd name="connsiteX58" fmla="*/ 4059577 w 4519983"/>
                    <a:gd name="connsiteY58" fmla="*/ 3533775 h 4496940"/>
                    <a:gd name="connsiteX59" fmla="*/ 4002427 w 4519983"/>
                    <a:gd name="connsiteY59" fmla="*/ 3600450 h 4496940"/>
                    <a:gd name="connsiteX60" fmla="*/ 3983377 w 4519983"/>
                    <a:gd name="connsiteY60" fmla="*/ 3629025 h 4496940"/>
                    <a:gd name="connsiteX61" fmla="*/ 3954802 w 4519983"/>
                    <a:gd name="connsiteY61" fmla="*/ 3648075 h 4496940"/>
                    <a:gd name="connsiteX62" fmla="*/ 3907177 w 4519983"/>
                    <a:gd name="connsiteY62" fmla="*/ 3686175 h 4496940"/>
                    <a:gd name="connsiteX63" fmla="*/ 3869077 w 4519983"/>
                    <a:gd name="connsiteY63" fmla="*/ 3724275 h 4496940"/>
                    <a:gd name="connsiteX64" fmla="*/ 3792877 w 4519983"/>
                    <a:gd name="connsiteY64" fmla="*/ 3781425 h 4496940"/>
                    <a:gd name="connsiteX65" fmla="*/ 3783352 w 4519983"/>
                    <a:gd name="connsiteY65" fmla="*/ 3810000 h 4496940"/>
                    <a:gd name="connsiteX66" fmla="*/ 3745252 w 4519983"/>
                    <a:gd name="connsiteY66" fmla="*/ 3819525 h 4496940"/>
                    <a:gd name="connsiteX67" fmla="*/ 3678577 w 4519983"/>
                    <a:gd name="connsiteY67" fmla="*/ 3848100 h 4496940"/>
                    <a:gd name="connsiteX68" fmla="*/ 3659527 w 4519983"/>
                    <a:gd name="connsiteY68" fmla="*/ 3971925 h 4496940"/>
                    <a:gd name="connsiteX69" fmla="*/ 3630952 w 4519983"/>
                    <a:gd name="connsiteY69" fmla="*/ 4010025 h 4496940"/>
                    <a:gd name="connsiteX70" fmla="*/ 3621427 w 4519983"/>
                    <a:gd name="connsiteY70" fmla="*/ 4038600 h 4496940"/>
                    <a:gd name="connsiteX71" fmla="*/ 3554752 w 4519983"/>
                    <a:gd name="connsiteY71" fmla="*/ 4095750 h 4496940"/>
                    <a:gd name="connsiteX72" fmla="*/ 3516652 w 4519983"/>
                    <a:gd name="connsiteY72" fmla="*/ 4114800 h 4496940"/>
                    <a:gd name="connsiteX73" fmla="*/ 3497602 w 4519983"/>
                    <a:gd name="connsiteY73" fmla="*/ 4143375 h 4496940"/>
                    <a:gd name="connsiteX74" fmla="*/ 3383302 w 4519983"/>
                    <a:gd name="connsiteY74" fmla="*/ 4210050 h 4496940"/>
                    <a:gd name="connsiteX75" fmla="*/ 3335677 w 4519983"/>
                    <a:gd name="connsiteY75" fmla="*/ 4238625 h 4496940"/>
                    <a:gd name="connsiteX76" fmla="*/ 3288052 w 4519983"/>
                    <a:gd name="connsiteY76" fmla="*/ 4248150 h 4496940"/>
                    <a:gd name="connsiteX77" fmla="*/ 3240427 w 4519983"/>
                    <a:gd name="connsiteY77" fmla="*/ 4267200 h 4496940"/>
                    <a:gd name="connsiteX78" fmla="*/ 3068977 w 4519983"/>
                    <a:gd name="connsiteY78" fmla="*/ 4286250 h 4496940"/>
                    <a:gd name="connsiteX79" fmla="*/ 2935627 w 4519983"/>
                    <a:gd name="connsiteY79" fmla="*/ 4333875 h 4496940"/>
                    <a:gd name="connsiteX80" fmla="*/ 2811802 w 4519983"/>
                    <a:gd name="connsiteY80" fmla="*/ 4371975 h 4496940"/>
                    <a:gd name="connsiteX81" fmla="*/ 2745127 w 4519983"/>
                    <a:gd name="connsiteY81" fmla="*/ 4410075 h 4496940"/>
                    <a:gd name="connsiteX82" fmla="*/ 2697502 w 4519983"/>
                    <a:gd name="connsiteY82" fmla="*/ 4429125 h 4496940"/>
                    <a:gd name="connsiteX83" fmla="*/ 2640352 w 4519983"/>
                    <a:gd name="connsiteY83" fmla="*/ 4457700 h 4496940"/>
                    <a:gd name="connsiteX84" fmla="*/ 2583202 w 4519983"/>
                    <a:gd name="connsiteY84" fmla="*/ 4467225 h 4496940"/>
                    <a:gd name="connsiteX85" fmla="*/ 2545102 w 4519983"/>
                    <a:gd name="connsiteY85" fmla="*/ 4486275 h 4496940"/>
                    <a:gd name="connsiteX86" fmla="*/ 2306977 w 4519983"/>
                    <a:gd name="connsiteY86" fmla="*/ 4476750 h 4496940"/>
                    <a:gd name="connsiteX87" fmla="*/ 2202202 w 4519983"/>
                    <a:gd name="connsiteY87" fmla="*/ 4457700 h 4496940"/>
                    <a:gd name="connsiteX88" fmla="*/ 2126002 w 4519983"/>
                    <a:gd name="connsiteY88" fmla="*/ 4429125 h 4496940"/>
                    <a:gd name="connsiteX89" fmla="*/ 1935502 w 4519983"/>
                    <a:gd name="connsiteY89" fmla="*/ 4400550 h 4496940"/>
                    <a:gd name="connsiteX90" fmla="*/ 1821202 w 4519983"/>
                    <a:gd name="connsiteY90" fmla="*/ 4371975 h 4496940"/>
                    <a:gd name="connsiteX91" fmla="*/ 1754527 w 4519983"/>
                    <a:gd name="connsiteY91" fmla="*/ 4352925 h 4496940"/>
                    <a:gd name="connsiteX92" fmla="*/ 1687852 w 4519983"/>
                    <a:gd name="connsiteY92" fmla="*/ 4343400 h 4496940"/>
                    <a:gd name="connsiteX93" fmla="*/ 1573552 w 4519983"/>
                    <a:gd name="connsiteY93" fmla="*/ 4305300 h 4496940"/>
                    <a:gd name="connsiteX94" fmla="*/ 1402102 w 4519983"/>
                    <a:gd name="connsiteY94" fmla="*/ 4276725 h 4496940"/>
                    <a:gd name="connsiteX95" fmla="*/ 1287802 w 4519983"/>
                    <a:gd name="connsiteY95" fmla="*/ 4229100 h 4496940"/>
                    <a:gd name="connsiteX96" fmla="*/ 1221127 w 4519983"/>
                    <a:gd name="connsiteY96" fmla="*/ 4200525 h 4496940"/>
                    <a:gd name="connsiteX97" fmla="*/ 1144927 w 4519983"/>
                    <a:gd name="connsiteY97" fmla="*/ 4171950 h 4496940"/>
                    <a:gd name="connsiteX98" fmla="*/ 1087777 w 4519983"/>
                    <a:gd name="connsiteY98" fmla="*/ 4143375 h 4496940"/>
                    <a:gd name="connsiteX99" fmla="*/ 1030627 w 4519983"/>
                    <a:gd name="connsiteY99" fmla="*/ 4124325 h 4496940"/>
                    <a:gd name="connsiteX100" fmla="*/ 925852 w 4519983"/>
                    <a:gd name="connsiteY100" fmla="*/ 4067175 h 4496940"/>
                    <a:gd name="connsiteX101" fmla="*/ 830602 w 4519983"/>
                    <a:gd name="connsiteY101" fmla="*/ 3981450 h 4496940"/>
                    <a:gd name="connsiteX102" fmla="*/ 763927 w 4519983"/>
                    <a:gd name="connsiteY102" fmla="*/ 3914775 h 4496940"/>
                    <a:gd name="connsiteX103" fmla="*/ 725827 w 4519983"/>
                    <a:gd name="connsiteY103" fmla="*/ 3876675 h 4496940"/>
                    <a:gd name="connsiteX104" fmla="*/ 697252 w 4519983"/>
                    <a:gd name="connsiteY104" fmla="*/ 3838575 h 4496940"/>
                    <a:gd name="connsiteX105" fmla="*/ 640102 w 4519983"/>
                    <a:gd name="connsiteY105" fmla="*/ 3781425 h 4496940"/>
                    <a:gd name="connsiteX106" fmla="*/ 611527 w 4519983"/>
                    <a:gd name="connsiteY106" fmla="*/ 3733800 h 4496940"/>
                    <a:gd name="connsiteX107" fmla="*/ 554377 w 4519983"/>
                    <a:gd name="connsiteY107" fmla="*/ 3657600 h 4496940"/>
                    <a:gd name="connsiteX108" fmla="*/ 525802 w 4519983"/>
                    <a:gd name="connsiteY108" fmla="*/ 3609975 h 4496940"/>
                    <a:gd name="connsiteX109" fmla="*/ 497227 w 4519983"/>
                    <a:gd name="connsiteY109" fmla="*/ 3552825 h 4496940"/>
                    <a:gd name="connsiteX110" fmla="*/ 440077 w 4519983"/>
                    <a:gd name="connsiteY110" fmla="*/ 3495675 h 4496940"/>
                    <a:gd name="connsiteX111" fmla="*/ 411502 w 4519983"/>
                    <a:gd name="connsiteY111" fmla="*/ 3448050 h 4496940"/>
                    <a:gd name="connsiteX112" fmla="*/ 278152 w 4519983"/>
                    <a:gd name="connsiteY112" fmla="*/ 3257550 h 4496940"/>
                    <a:gd name="connsiteX113" fmla="*/ 249577 w 4519983"/>
                    <a:gd name="connsiteY113" fmla="*/ 3200400 h 4496940"/>
                    <a:gd name="connsiteX114" fmla="*/ 240052 w 4519983"/>
                    <a:gd name="connsiteY114" fmla="*/ 3162300 h 4496940"/>
                    <a:gd name="connsiteX115" fmla="*/ 221002 w 4519983"/>
                    <a:gd name="connsiteY115" fmla="*/ 3105150 h 4496940"/>
                    <a:gd name="connsiteX116" fmla="*/ 173377 w 4519983"/>
                    <a:gd name="connsiteY116" fmla="*/ 3019425 h 4496940"/>
                    <a:gd name="connsiteX117" fmla="*/ 144802 w 4519983"/>
                    <a:gd name="connsiteY117" fmla="*/ 2924175 h 4496940"/>
                    <a:gd name="connsiteX118" fmla="*/ 68602 w 4519983"/>
                    <a:gd name="connsiteY118" fmla="*/ 2724150 h 4496940"/>
                    <a:gd name="connsiteX119" fmla="*/ 49552 w 4519983"/>
                    <a:gd name="connsiteY119" fmla="*/ 2638425 h 4496940"/>
                    <a:gd name="connsiteX120" fmla="*/ 40027 w 4519983"/>
                    <a:gd name="connsiteY120" fmla="*/ 2562225 h 4496940"/>
                    <a:gd name="connsiteX121" fmla="*/ 30502 w 4519983"/>
                    <a:gd name="connsiteY121" fmla="*/ 2514600 h 4496940"/>
                    <a:gd name="connsiteX122" fmla="*/ 11452 w 4519983"/>
                    <a:gd name="connsiteY122" fmla="*/ 2400300 h 4496940"/>
                    <a:gd name="connsiteX123" fmla="*/ 20977 w 4519983"/>
                    <a:gd name="connsiteY123" fmla="*/ 1905000 h 4496940"/>
                    <a:gd name="connsiteX124" fmla="*/ 30502 w 4519983"/>
                    <a:gd name="connsiteY124" fmla="*/ 1838325 h 4496940"/>
                    <a:gd name="connsiteX125" fmla="*/ 49552 w 4519983"/>
                    <a:gd name="connsiteY125" fmla="*/ 1781175 h 4496940"/>
                    <a:gd name="connsiteX126" fmla="*/ 59077 w 4519983"/>
                    <a:gd name="connsiteY126" fmla="*/ 1743075 h 4496940"/>
                    <a:gd name="connsiteX127" fmla="*/ 78127 w 4519983"/>
                    <a:gd name="connsiteY127" fmla="*/ 1685925 h 4496940"/>
                    <a:gd name="connsiteX128" fmla="*/ 87652 w 4519983"/>
                    <a:gd name="connsiteY128" fmla="*/ 1638300 h 4496940"/>
                    <a:gd name="connsiteX129" fmla="*/ 106702 w 4519983"/>
                    <a:gd name="connsiteY129" fmla="*/ 1590675 h 4496940"/>
                    <a:gd name="connsiteX130" fmla="*/ 135277 w 4519983"/>
                    <a:gd name="connsiteY130" fmla="*/ 1504950 h 4496940"/>
                    <a:gd name="connsiteX131" fmla="*/ 154327 w 4519983"/>
                    <a:gd name="connsiteY131" fmla="*/ 1419225 h 4496940"/>
                    <a:gd name="connsiteX132" fmla="*/ 230527 w 4519983"/>
                    <a:gd name="connsiteY132" fmla="*/ 1276350 h 4496940"/>
                    <a:gd name="connsiteX133" fmla="*/ 240052 w 4519983"/>
                    <a:gd name="connsiteY133" fmla="*/ 1247775 h 4496940"/>
                    <a:gd name="connsiteX134" fmla="*/ 268627 w 4519983"/>
                    <a:gd name="connsiteY134" fmla="*/ 1200150 h 4496940"/>
                    <a:gd name="connsiteX135" fmla="*/ 287677 w 4519983"/>
                    <a:gd name="connsiteY135" fmla="*/ 1152525 h 4496940"/>
                    <a:gd name="connsiteX136" fmla="*/ 316252 w 4519983"/>
                    <a:gd name="connsiteY136" fmla="*/ 1114425 h 4496940"/>
                    <a:gd name="connsiteX137" fmla="*/ 363877 w 4519983"/>
                    <a:gd name="connsiteY137" fmla="*/ 1038225 h 4496940"/>
                    <a:gd name="connsiteX138" fmla="*/ 382927 w 4519983"/>
                    <a:gd name="connsiteY138" fmla="*/ 1009650 h 4496940"/>
                    <a:gd name="connsiteX139" fmla="*/ 440077 w 4519983"/>
                    <a:gd name="connsiteY139" fmla="*/ 904875 h 4496940"/>
                    <a:gd name="connsiteX140" fmla="*/ 478177 w 4519983"/>
                    <a:gd name="connsiteY140" fmla="*/ 857250 h 4496940"/>
                    <a:gd name="connsiteX141" fmla="*/ 497227 w 4519983"/>
                    <a:gd name="connsiteY141" fmla="*/ 828675 h 4496940"/>
                    <a:gd name="connsiteX142" fmla="*/ 535327 w 4519983"/>
                    <a:gd name="connsiteY142" fmla="*/ 800100 h 4496940"/>
                    <a:gd name="connsiteX143" fmla="*/ 602002 w 4519983"/>
                    <a:gd name="connsiteY143" fmla="*/ 733425 h 4496940"/>
                    <a:gd name="connsiteX144" fmla="*/ 668677 w 4519983"/>
                    <a:gd name="connsiteY144" fmla="*/ 676275 h 4496940"/>
                    <a:gd name="connsiteX145" fmla="*/ 697252 w 4519983"/>
                    <a:gd name="connsiteY145" fmla="*/ 657225 h 4496940"/>
                    <a:gd name="connsiteX146" fmla="*/ 840127 w 4519983"/>
                    <a:gd name="connsiteY146" fmla="*/ 533400 h 4496940"/>
                    <a:gd name="connsiteX147" fmla="*/ 887752 w 4519983"/>
                    <a:gd name="connsiteY147" fmla="*/ 504825 h 4496940"/>
                    <a:gd name="connsiteX148" fmla="*/ 1167152 w 4519983"/>
                    <a:gd name="connsiteY148" fmla="*/ 311150 h 4496940"/>
                    <a:gd name="connsiteX149" fmla="*/ 1268752 w 4519983"/>
                    <a:gd name="connsiteY149" fmla="*/ 285750 h 4496940"/>
                    <a:gd name="connsiteX150" fmla="*/ 1411627 w 4519983"/>
                    <a:gd name="connsiteY150" fmla="*/ 190500 h 4496940"/>
                    <a:gd name="connsiteX151" fmla="*/ 1449727 w 4519983"/>
                    <a:gd name="connsiteY151" fmla="*/ 161925 h 4496940"/>
                    <a:gd name="connsiteX152" fmla="*/ 1525927 w 4519983"/>
                    <a:gd name="connsiteY152" fmla="*/ 152400 h 4496940"/>
                    <a:gd name="connsiteX153" fmla="*/ 1583077 w 4519983"/>
                    <a:gd name="connsiteY153" fmla="*/ 142875 h 4496940"/>
                    <a:gd name="connsiteX154" fmla="*/ 1716427 w 4519983"/>
                    <a:gd name="connsiteY154" fmla="*/ 123825 h 4496940"/>
                    <a:gd name="connsiteX155" fmla="*/ 1811677 w 4519983"/>
                    <a:gd name="connsiteY155" fmla="*/ 114300 h 4496940"/>
                    <a:gd name="connsiteX156" fmla="*/ 1859302 w 4519983"/>
                    <a:gd name="connsiteY156" fmla="*/ 104775 h 4496940"/>
                    <a:gd name="connsiteX157" fmla="*/ 1916452 w 4519983"/>
                    <a:gd name="connsiteY157" fmla="*/ 95250 h 4496940"/>
                    <a:gd name="connsiteX158" fmla="*/ 2030752 w 4519983"/>
                    <a:gd name="connsiteY158" fmla="*/ 66675 h 4496940"/>
                    <a:gd name="connsiteX159" fmla="*/ 2097427 w 4519983"/>
                    <a:gd name="connsiteY159" fmla="*/ 47625 h 4496940"/>
                    <a:gd name="connsiteX160" fmla="*/ 2164102 w 4519983"/>
                    <a:gd name="connsiteY160" fmla="*/ 38100 h 4496940"/>
                    <a:gd name="connsiteX161" fmla="*/ 2392702 w 4519983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335802 w 4519987"/>
                    <a:gd name="connsiteY50" fmla="*/ 3095625 h 4496940"/>
                    <a:gd name="connsiteX51" fmla="*/ 4278652 w 4519987"/>
                    <a:gd name="connsiteY51" fmla="*/ 3248025 h 4496940"/>
                    <a:gd name="connsiteX52" fmla="*/ 4259602 w 4519987"/>
                    <a:gd name="connsiteY52" fmla="*/ 3276600 h 4496940"/>
                    <a:gd name="connsiteX53" fmla="*/ 4221502 w 4519987"/>
                    <a:gd name="connsiteY53" fmla="*/ 3333750 h 4496940"/>
                    <a:gd name="connsiteX54" fmla="*/ 4211977 w 4519987"/>
                    <a:gd name="connsiteY54" fmla="*/ 3362325 h 4496940"/>
                    <a:gd name="connsiteX55" fmla="*/ 4183402 w 4519987"/>
                    <a:gd name="connsiteY55" fmla="*/ 3400425 h 4496940"/>
                    <a:gd name="connsiteX56" fmla="*/ 4164352 w 4519987"/>
                    <a:gd name="connsiteY56" fmla="*/ 3429000 h 4496940"/>
                    <a:gd name="connsiteX57" fmla="*/ 4088152 w 4519987"/>
                    <a:gd name="connsiteY57" fmla="*/ 3495675 h 4496940"/>
                    <a:gd name="connsiteX58" fmla="*/ 4059577 w 4519987"/>
                    <a:gd name="connsiteY58" fmla="*/ 3533775 h 4496940"/>
                    <a:gd name="connsiteX59" fmla="*/ 4002427 w 4519987"/>
                    <a:gd name="connsiteY59" fmla="*/ 3600450 h 4496940"/>
                    <a:gd name="connsiteX60" fmla="*/ 3983377 w 4519987"/>
                    <a:gd name="connsiteY60" fmla="*/ 3629025 h 4496940"/>
                    <a:gd name="connsiteX61" fmla="*/ 3954802 w 4519987"/>
                    <a:gd name="connsiteY61" fmla="*/ 3648075 h 4496940"/>
                    <a:gd name="connsiteX62" fmla="*/ 3907177 w 4519987"/>
                    <a:gd name="connsiteY62" fmla="*/ 3686175 h 4496940"/>
                    <a:gd name="connsiteX63" fmla="*/ 3869077 w 4519987"/>
                    <a:gd name="connsiteY63" fmla="*/ 3724275 h 4496940"/>
                    <a:gd name="connsiteX64" fmla="*/ 3792877 w 4519987"/>
                    <a:gd name="connsiteY64" fmla="*/ 3781425 h 4496940"/>
                    <a:gd name="connsiteX65" fmla="*/ 3783352 w 4519987"/>
                    <a:gd name="connsiteY65" fmla="*/ 3810000 h 4496940"/>
                    <a:gd name="connsiteX66" fmla="*/ 3745252 w 4519987"/>
                    <a:gd name="connsiteY66" fmla="*/ 3819525 h 4496940"/>
                    <a:gd name="connsiteX67" fmla="*/ 3678577 w 4519987"/>
                    <a:gd name="connsiteY67" fmla="*/ 3848100 h 4496940"/>
                    <a:gd name="connsiteX68" fmla="*/ 3659527 w 4519987"/>
                    <a:gd name="connsiteY68" fmla="*/ 3971925 h 4496940"/>
                    <a:gd name="connsiteX69" fmla="*/ 3630952 w 4519987"/>
                    <a:gd name="connsiteY69" fmla="*/ 4010025 h 4496940"/>
                    <a:gd name="connsiteX70" fmla="*/ 3621427 w 4519987"/>
                    <a:gd name="connsiteY70" fmla="*/ 4038600 h 4496940"/>
                    <a:gd name="connsiteX71" fmla="*/ 3554752 w 4519987"/>
                    <a:gd name="connsiteY71" fmla="*/ 4095750 h 4496940"/>
                    <a:gd name="connsiteX72" fmla="*/ 3516652 w 4519987"/>
                    <a:gd name="connsiteY72" fmla="*/ 4114800 h 4496940"/>
                    <a:gd name="connsiteX73" fmla="*/ 3497602 w 4519987"/>
                    <a:gd name="connsiteY73" fmla="*/ 4143375 h 4496940"/>
                    <a:gd name="connsiteX74" fmla="*/ 3383302 w 4519987"/>
                    <a:gd name="connsiteY74" fmla="*/ 4210050 h 4496940"/>
                    <a:gd name="connsiteX75" fmla="*/ 3335677 w 4519987"/>
                    <a:gd name="connsiteY75" fmla="*/ 4238625 h 4496940"/>
                    <a:gd name="connsiteX76" fmla="*/ 3288052 w 4519987"/>
                    <a:gd name="connsiteY76" fmla="*/ 4248150 h 4496940"/>
                    <a:gd name="connsiteX77" fmla="*/ 3240427 w 4519987"/>
                    <a:gd name="connsiteY77" fmla="*/ 4267200 h 4496940"/>
                    <a:gd name="connsiteX78" fmla="*/ 3068977 w 4519987"/>
                    <a:gd name="connsiteY78" fmla="*/ 4286250 h 4496940"/>
                    <a:gd name="connsiteX79" fmla="*/ 2935627 w 4519987"/>
                    <a:gd name="connsiteY79" fmla="*/ 4333875 h 4496940"/>
                    <a:gd name="connsiteX80" fmla="*/ 2811802 w 4519987"/>
                    <a:gd name="connsiteY80" fmla="*/ 4371975 h 4496940"/>
                    <a:gd name="connsiteX81" fmla="*/ 2745127 w 4519987"/>
                    <a:gd name="connsiteY81" fmla="*/ 4410075 h 4496940"/>
                    <a:gd name="connsiteX82" fmla="*/ 2697502 w 4519987"/>
                    <a:gd name="connsiteY82" fmla="*/ 4429125 h 4496940"/>
                    <a:gd name="connsiteX83" fmla="*/ 2640352 w 4519987"/>
                    <a:gd name="connsiteY83" fmla="*/ 4457700 h 4496940"/>
                    <a:gd name="connsiteX84" fmla="*/ 2583202 w 4519987"/>
                    <a:gd name="connsiteY84" fmla="*/ 4467225 h 4496940"/>
                    <a:gd name="connsiteX85" fmla="*/ 2545102 w 4519987"/>
                    <a:gd name="connsiteY85" fmla="*/ 4486275 h 4496940"/>
                    <a:gd name="connsiteX86" fmla="*/ 2306977 w 4519987"/>
                    <a:gd name="connsiteY86" fmla="*/ 4476750 h 4496940"/>
                    <a:gd name="connsiteX87" fmla="*/ 2202202 w 4519987"/>
                    <a:gd name="connsiteY87" fmla="*/ 4457700 h 4496940"/>
                    <a:gd name="connsiteX88" fmla="*/ 2126002 w 4519987"/>
                    <a:gd name="connsiteY88" fmla="*/ 4429125 h 4496940"/>
                    <a:gd name="connsiteX89" fmla="*/ 1935502 w 4519987"/>
                    <a:gd name="connsiteY89" fmla="*/ 4400550 h 4496940"/>
                    <a:gd name="connsiteX90" fmla="*/ 1821202 w 4519987"/>
                    <a:gd name="connsiteY90" fmla="*/ 4371975 h 4496940"/>
                    <a:gd name="connsiteX91" fmla="*/ 1754527 w 4519987"/>
                    <a:gd name="connsiteY91" fmla="*/ 4352925 h 4496940"/>
                    <a:gd name="connsiteX92" fmla="*/ 1687852 w 4519987"/>
                    <a:gd name="connsiteY92" fmla="*/ 4343400 h 4496940"/>
                    <a:gd name="connsiteX93" fmla="*/ 1573552 w 4519987"/>
                    <a:gd name="connsiteY93" fmla="*/ 4305300 h 4496940"/>
                    <a:gd name="connsiteX94" fmla="*/ 1402102 w 4519987"/>
                    <a:gd name="connsiteY94" fmla="*/ 4276725 h 4496940"/>
                    <a:gd name="connsiteX95" fmla="*/ 1287802 w 4519987"/>
                    <a:gd name="connsiteY95" fmla="*/ 4229100 h 4496940"/>
                    <a:gd name="connsiteX96" fmla="*/ 1221127 w 4519987"/>
                    <a:gd name="connsiteY96" fmla="*/ 4200525 h 4496940"/>
                    <a:gd name="connsiteX97" fmla="*/ 1144927 w 4519987"/>
                    <a:gd name="connsiteY97" fmla="*/ 4171950 h 4496940"/>
                    <a:gd name="connsiteX98" fmla="*/ 1087777 w 4519987"/>
                    <a:gd name="connsiteY98" fmla="*/ 4143375 h 4496940"/>
                    <a:gd name="connsiteX99" fmla="*/ 1030627 w 4519987"/>
                    <a:gd name="connsiteY99" fmla="*/ 4124325 h 4496940"/>
                    <a:gd name="connsiteX100" fmla="*/ 925852 w 4519987"/>
                    <a:gd name="connsiteY100" fmla="*/ 4067175 h 4496940"/>
                    <a:gd name="connsiteX101" fmla="*/ 830602 w 4519987"/>
                    <a:gd name="connsiteY101" fmla="*/ 3981450 h 4496940"/>
                    <a:gd name="connsiteX102" fmla="*/ 763927 w 4519987"/>
                    <a:gd name="connsiteY102" fmla="*/ 3914775 h 4496940"/>
                    <a:gd name="connsiteX103" fmla="*/ 725827 w 4519987"/>
                    <a:gd name="connsiteY103" fmla="*/ 3876675 h 4496940"/>
                    <a:gd name="connsiteX104" fmla="*/ 697252 w 4519987"/>
                    <a:gd name="connsiteY104" fmla="*/ 3838575 h 4496940"/>
                    <a:gd name="connsiteX105" fmla="*/ 640102 w 4519987"/>
                    <a:gd name="connsiteY105" fmla="*/ 3781425 h 4496940"/>
                    <a:gd name="connsiteX106" fmla="*/ 611527 w 4519987"/>
                    <a:gd name="connsiteY106" fmla="*/ 3733800 h 4496940"/>
                    <a:gd name="connsiteX107" fmla="*/ 554377 w 4519987"/>
                    <a:gd name="connsiteY107" fmla="*/ 3657600 h 4496940"/>
                    <a:gd name="connsiteX108" fmla="*/ 525802 w 4519987"/>
                    <a:gd name="connsiteY108" fmla="*/ 3609975 h 4496940"/>
                    <a:gd name="connsiteX109" fmla="*/ 497227 w 4519987"/>
                    <a:gd name="connsiteY109" fmla="*/ 3552825 h 4496940"/>
                    <a:gd name="connsiteX110" fmla="*/ 440077 w 4519987"/>
                    <a:gd name="connsiteY110" fmla="*/ 3495675 h 4496940"/>
                    <a:gd name="connsiteX111" fmla="*/ 411502 w 4519987"/>
                    <a:gd name="connsiteY111" fmla="*/ 3448050 h 4496940"/>
                    <a:gd name="connsiteX112" fmla="*/ 278152 w 4519987"/>
                    <a:gd name="connsiteY112" fmla="*/ 3257550 h 4496940"/>
                    <a:gd name="connsiteX113" fmla="*/ 249577 w 4519987"/>
                    <a:gd name="connsiteY113" fmla="*/ 3200400 h 4496940"/>
                    <a:gd name="connsiteX114" fmla="*/ 240052 w 4519987"/>
                    <a:gd name="connsiteY114" fmla="*/ 3162300 h 4496940"/>
                    <a:gd name="connsiteX115" fmla="*/ 221002 w 4519987"/>
                    <a:gd name="connsiteY115" fmla="*/ 3105150 h 4496940"/>
                    <a:gd name="connsiteX116" fmla="*/ 173377 w 4519987"/>
                    <a:gd name="connsiteY116" fmla="*/ 3019425 h 4496940"/>
                    <a:gd name="connsiteX117" fmla="*/ 144802 w 4519987"/>
                    <a:gd name="connsiteY117" fmla="*/ 2924175 h 4496940"/>
                    <a:gd name="connsiteX118" fmla="*/ 68602 w 4519987"/>
                    <a:gd name="connsiteY118" fmla="*/ 2724150 h 4496940"/>
                    <a:gd name="connsiteX119" fmla="*/ 49552 w 4519987"/>
                    <a:gd name="connsiteY119" fmla="*/ 2638425 h 4496940"/>
                    <a:gd name="connsiteX120" fmla="*/ 40027 w 4519987"/>
                    <a:gd name="connsiteY120" fmla="*/ 2562225 h 4496940"/>
                    <a:gd name="connsiteX121" fmla="*/ 30502 w 4519987"/>
                    <a:gd name="connsiteY121" fmla="*/ 2514600 h 4496940"/>
                    <a:gd name="connsiteX122" fmla="*/ 11452 w 4519987"/>
                    <a:gd name="connsiteY122" fmla="*/ 2400300 h 4496940"/>
                    <a:gd name="connsiteX123" fmla="*/ 20977 w 4519987"/>
                    <a:gd name="connsiteY123" fmla="*/ 1905000 h 4496940"/>
                    <a:gd name="connsiteX124" fmla="*/ 30502 w 4519987"/>
                    <a:gd name="connsiteY124" fmla="*/ 1838325 h 4496940"/>
                    <a:gd name="connsiteX125" fmla="*/ 49552 w 4519987"/>
                    <a:gd name="connsiteY125" fmla="*/ 1781175 h 4496940"/>
                    <a:gd name="connsiteX126" fmla="*/ 59077 w 4519987"/>
                    <a:gd name="connsiteY126" fmla="*/ 1743075 h 4496940"/>
                    <a:gd name="connsiteX127" fmla="*/ 78127 w 4519987"/>
                    <a:gd name="connsiteY127" fmla="*/ 1685925 h 4496940"/>
                    <a:gd name="connsiteX128" fmla="*/ 87652 w 4519987"/>
                    <a:gd name="connsiteY128" fmla="*/ 1638300 h 4496940"/>
                    <a:gd name="connsiteX129" fmla="*/ 106702 w 4519987"/>
                    <a:gd name="connsiteY129" fmla="*/ 1590675 h 4496940"/>
                    <a:gd name="connsiteX130" fmla="*/ 135277 w 4519987"/>
                    <a:gd name="connsiteY130" fmla="*/ 1504950 h 4496940"/>
                    <a:gd name="connsiteX131" fmla="*/ 154327 w 4519987"/>
                    <a:gd name="connsiteY131" fmla="*/ 1419225 h 4496940"/>
                    <a:gd name="connsiteX132" fmla="*/ 230527 w 4519987"/>
                    <a:gd name="connsiteY132" fmla="*/ 1276350 h 4496940"/>
                    <a:gd name="connsiteX133" fmla="*/ 240052 w 4519987"/>
                    <a:gd name="connsiteY133" fmla="*/ 1247775 h 4496940"/>
                    <a:gd name="connsiteX134" fmla="*/ 268627 w 4519987"/>
                    <a:gd name="connsiteY134" fmla="*/ 1200150 h 4496940"/>
                    <a:gd name="connsiteX135" fmla="*/ 287677 w 4519987"/>
                    <a:gd name="connsiteY135" fmla="*/ 1152525 h 4496940"/>
                    <a:gd name="connsiteX136" fmla="*/ 316252 w 4519987"/>
                    <a:gd name="connsiteY136" fmla="*/ 1114425 h 4496940"/>
                    <a:gd name="connsiteX137" fmla="*/ 363877 w 4519987"/>
                    <a:gd name="connsiteY137" fmla="*/ 1038225 h 4496940"/>
                    <a:gd name="connsiteX138" fmla="*/ 382927 w 4519987"/>
                    <a:gd name="connsiteY138" fmla="*/ 1009650 h 4496940"/>
                    <a:gd name="connsiteX139" fmla="*/ 440077 w 4519987"/>
                    <a:gd name="connsiteY139" fmla="*/ 904875 h 4496940"/>
                    <a:gd name="connsiteX140" fmla="*/ 478177 w 4519987"/>
                    <a:gd name="connsiteY140" fmla="*/ 857250 h 4496940"/>
                    <a:gd name="connsiteX141" fmla="*/ 497227 w 4519987"/>
                    <a:gd name="connsiteY141" fmla="*/ 828675 h 4496940"/>
                    <a:gd name="connsiteX142" fmla="*/ 535327 w 4519987"/>
                    <a:gd name="connsiteY142" fmla="*/ 800100 h 4496940"/>
                    <a:gd name="connsiteX143" fmla="*/ 602002 w 4519987"/>
                    <a:gd name="connsiteY143" fmla="*/ 733425 h 4496940"/>
                    <a:gd name="connsiteX144" fmla="*/ 668677 w 4519987"/>
                    <a:gd name="connsiteY144" fmla="*/ 676275 h 4496940"/>
                    <a:gd name="connsiteX145" fmla="*/ 697252 w 4519987"/>
                    <a:gd name="connsiteY145" fmla="*/ 657225 h 4496940"/>
                    <a:gd name="connsiteX146" fmla="*/ 840127 w 4519987"/>
                    <a:gd name="connsiteY146" fmla="*/ 533400 h 4496940"/>
                    <a:gd name="connsiteX147" fmla="*/ 887752 w 4519987"/>
                    <a:gd name="connsiteY147" fmla="*/ 504825 h 4496940"/>
                    <a:gd name="connsiteX148" fmla="*/ 1167152 w 4519987"/>
                    <a:gd name="connsiteY148" fmla="*/ 311150 h 4496940"/>
                    <a:gd name="connsiteX149" fmla="*/ 1268752 w 4519987"/>
                    <a:gd name="connsiteY149" fmla="*/ 285750 h 4496940"/>
                    <a:gd name="connsiteX150" fmla="*/ 1411627 w 4519987"/>
                    <a:gd name="connsiteY150" fmla="*/ 190500 h 4496940"/>
                    <a:gd name="connsiteX151" fmla="*/ 1449727 w 4519987"/>
                    <a:gd name="connsiteY151" fmla="*/ 161925 h 4496940"/>
                    <a:gd name="connsiteX152" fmla="*/ 1525927 w 4519987"/>
                    <a:gd name="connsiteY152" fmla="*/ 152400 h 4496940"/>
                    <a:gd name="connsiteX153" fmla="*/ 1583077 w 4519987"/>
                    <a:gd name="connsiteY153" fmla="*/ 142875 h 4496940"/>
                    <a:gd name="connsiteX154" fmla="*/ 1716427 w 4519987"/>
                    <a:gd name="connsiteY154" fmla="*/ 123825 h 4496940"/>
                    <a:gd name="connsiteX155" fmla="*/ 1811677 w 4519987"/>
                    <a:gd name="connsiteY155" fmla="*/ 114300 h 4496940"/>
                    <a:gd name="connsiteX156" fmla="*/ 1859302 w 4519987"/>
                    <a:gd name="connsiteY156" fmla="*/ 104775 h 4496940"/>
                    <a:gd name="connsiteX157" fmla="*/ 1916452 w 4519987"/>
                    <a:gd name="connsiteY157" fmla="*/ 95250 h 4496940"/>
                    <a:gd name="connsiteX158" fmla="*/ 2030752 w 4519987"/>
                    <a:gd name="connsiteY158" fmla="*/ 66675 h 4496940"/>
                    <a:gd name="connsiteX159" fmla="*/ 2097427 w 4519987"/>
                    <a:gd name="connsiteY159" fmla="*/ 47625 h 4496940"/>
                    <a:gd name="connsiteX160" fmla="*/ 2164102 w 4519987"/>
                    <a:gd name="connsiteY160" fmla="*/ 38100 h 4496940"/>
                    <a:gd name="connsiteX161" fmla="*/ 2392702 w 4519987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278652 w 4519987"/>
                    <a:gd name="connsiteY50" fmla="*/ 3248025 h 4496940"/>
                    <a:gd name="connsiteX51" fmla="*/ 4259602 w 4519987"/>
                    <a:gd name="connsiteY51" fmla="*/ 3276600 h 4496940"/>
                    <a:gd name="connsiteX52" fmla="*/ 4221502 w 4519987"/>
                    <a:gd name="connsiteY52" fmla="*/ 3333750 h 4496940"/>
                    <a:gd name="connsiteX53" fmla="*/ 4211977 w 4519987"/>
                    <a:gd name="connsiteY53" fmla="*/ 3362325 h 4496940"/>
                    <a:gd name="connsiteX54" fmla="*/ 4183402 w 4519987"/>
                    <a:gd name="connsiteY54" fmla="*/ 3400425 h 4496940"/>
                    <a:gd name="connsiteX55" fmla="*/ 4164352 w 4519987"/>
                    <a:gd name="connsiteY55" fmla="*/ 3429000 h 4496940"/>
                    <a:gd name="connsiteX56" fmla="*/ 4088152 w 4519987"/>
                    <a:gd name="connsiteY56" fmla="*/ 3495675 h 4496940"/>
                    <a:gd name="connsiteX57" fmla="*/ 4059577 w 4519987"/>
                    <a:gd name="connsiteY57" fmla="*/ 3533775 h 4496940"/>
                    <a:gd name="connsiteX58" fmla="*/ 4002427 w 4519987"/>
                    <a:gd name="connsiteY58" fmla="*/ 3600450 h 4496940"/>
                    <a:gd name="connsiteX59" fmla="*/ 3983377 w 4519987"/>
                    <a:gd name="connsiteY59" fmla="*/ 3629025 h 4496940"/>
                    <a:gd name="connsiteX60" fmla="*/ 3954802 w 4519987"/>
                    <a:gd name="connsiteY60" fmla="*/ 3648075 h 4496940"/>
                    <a:gd name="connsiteX61" fmla="*/ 3907177 w 4519987"/>
                    <a:gd name="connsiteY61" fmla="*/ 3686175 h 4496940"/>
                    <a:gd name="connsiteX62" fmla="*/ 3869077 w 4519987"/>
                    <a:gd name="connsiteY62" fmla="*/ 3724275 h 4496940"/>
                    <a:gd name="connsiteX63" fmla="*/ 3792877 w 4519987"/>
                    <a:gd name="connsiteY63" fmla="*/ 3781425 h 4496940"/>
                    <a:gd name="connsiteX64" fmla="*/ 3783352 w 4519987"/>
                    <a:gd name="connsiteY64" fmla="*/ 3810000 h 4496940"/>
                    <a:gd name="connsiteX65" fmla="*/ 3745252 w 4519987"/>
                    <a:gd name="connsiteY65" fmla="*/ 3819525 h 4496940"/>
                    <a:gd name="connsiteX66" fmla="*/ 3678577 w 4519987"/>
                    <a:gd name="connsiteY66" fmla="*/ 3848100 h 4496940"/>
                    <a:gd name="connsiteX67" fmla="*/ 3659527 w 4519987"/>
                    <a:gd name="connsiteY67" fmla="*/ 3971925 h 4496940"/>
                    <a:gd name="connsiteX68" fmla="*/ 3630952 w 4519987"/>
                    <a:gd name="connsiteY68" fmla="*/ 4010025 h 4496940"/>
                    <a:gd name="connsiteX69" fmla="*/ 3621427 w 4519987"/>
                    <a:gd name="connsiteY69" fmla="*/ 4038600 h 4496940"/>
                    <a:gd name="connsiteX70" fmla="*/ 3554752 w 4519987"/>
                    <a:gd name="connsiteY70" fmla="*/ 4095750 h 4496940"/>
                    <a:gd name="connsiteX71" fmla="*/ 3516652 w 4519987"/>
                    <a:gd name="connsiteY71" fmla="*/ 4114800 h 4496940"/>
                    <a:gd name="connsiteX72" fmla="*/ 3497602 w 4519987"/>
                    <a:gd name="connsiteY72" fmla="*/ 4143375 h 4496940"/>
                    <a:gd name="connsiteX73" fmla="*/ 3383302 w 4519987"/>
                    <a:gd name="connsiteY73" fmla="*/ 4210050 h 4496940"/>
                    <a:gd name="connsiteX74" fmla="*/ 3335677 w 4519987"/>
                    <a:gd name="connsiteY74" fmla="*/ 4238625 h 4496940"/>
                    <a:gd name="connsiteX75" fmla="*/ 3288052 w 4519987"/>
                    <a:gd name="connsiteY75" fmla="*/ 4248150 h 4496940"/>
                    <a:gd name="connsiteX76" fmla="*/ 3240427 w 4519987"/>
                    <a:gd name="connsiteY76" fmla="*/ 4267200 h 4496940"/>
                    <a:gd name="connsiteX77" fmla="*/ 3068977 w 4519987"/>
                    <a:gd name="connsiteY77" fmla="*/ 4286250 h 4496940"/>
                    <a:gd name="connsiteX78" fmla="*/ 2935627 w 4519987"/>
                    <a:gd name="connsiteY78" fmla="*/ 4333875 h 4496940"/>
                    <a:gd name="connsiteX79" fmla="*/ 2811802 w 4519987"/>
                    <a:gd name="connsiteY79" fmla="*/ 4371975 h 4496940"/>
                    <a:gd name="connsiteX80" fmla="*/ 2745127 w 4519987"/>
                    <a:gd name="connsiteY80" fmla="*/ 4410075 h 4496940"/>
                    <a:gd name="connsiteX81" fmla="*/ 2697502 w 4519987"/>
                    <a:gd name="connsiteY81" fmla="*/ 4429125 h 4496940"/>
                    <a:gd name="connsiteX82" fmla="*/ 2640352 w 4519987"/>
                    <a:gd name="connsiteY82" fmla="*/ 4457700 h 4496940"/>
                    <a:gd name="connsiteX83" fmla="*/ 2583202 w 4519987"/>
                    <a:gd name="connsiteY83" fmla="*/ 4467225 h 4496940"/>
                    <a:gd name="connsiteX84" fmla="*/ 2545102 w 4519987"/>
                    <a:gd name="connsiteY84" fmla="*/ 4486275 h 4496940"/>
                    <a:gd name="connsiteX85" fmla="*/ 2306977 w 4519987"/>
                    <a:gd name="connsiteY85" fmla="*/ 4476750 h 4496940"/>
                    <a:gd name="connsiteX86" fmla="*/ 2202202 w 4519987"/>
                    <a:gd name="connsiteY86" fmla="*/ 4457700 h 4496940"/>
                    <a:gd name="connsiteX87" fmla="*/ 2126002 w 4519987"/>
                    <a:gd name="connsiteY87" fmla="*/ 4429125 h 4496940"/>
                    <a:gd name="connsiteX88" fmla="*/ 1935502 w 4519987"/>
                    <a:gd name="connsiteY88" fmla="*/ 4400550 h 4496940"/>
                    <a:gd name="connsiteX89" fmla="*/ 1821202 w 4519987"/>
                    <a:gd name="connsiteY89" fmla="*/ 4371975 h 4496940"/>
                    <a:gd name="connsiteX90" fmla="*/ 1754527 w 4519987"/>
                    <a:gd name="connsiteY90" fmla="*/ 4352925 h 4496940"/>
                    <a:gd name="connsiteX91" fmla="*/ 1687852 w 4519987"/>
                    <a:gd name="connsiteY91" fmla="*/ 4343400 h 4496940"/>
                    <a:gd name="connsiteX92" fmla="*/ 1573552 w 4519987"/>
                    <a:gd name="connsiteY92" fmla="*/ 4305300 h 4496940"/>
                    <a:gd name="connsiteX93" fmla="*/ 1402102 w 4519987"/>
                    <a:gd name="connsiteY93" fmla="*/ 4276725 h 4496940"/>
                    <a:gd name="connsiteX94" fmla="*/ 1287802 w 4519987"/>
                    <a:gd name="connsiteY94" fmla="*/ 4229100 h 4496940"/>
                    <a:gd name="connsiteX95" fmla="*/ 1221127 w 4519987"/>
                    <a:gd name="connsiteY95" fmla="*/ 4200525 h 4496940"/>
                    <a:gd name="connsiteX96" fmla="*/ 1144927 w 4519987"/>
                    <a:gd name="connsiteY96" fmla="*/ 4171950 h 4496940"/>
                    <a:gd name="connsiteX97" fmla="*/ 1087777 w 4519987"/>
                    <a:gd name="connsiteY97" fmla="*/ 4143375 h 4496940"/>
                    <a:gd name="connsiteX98" fmla="*/ 1030627 w 4519987"/>
                    <a:gd name="connsiteY98" fmla="*/ 4124325 h 4496940"/>
                    <a:gd name="connsiteX99" fmla="*/ 925852 w 4519987"/>
                    <a:gd name="connsiteY99" fmla="*/ 4067175 h 4496940"/>
                    <a:gd name="connsiteX100" fmla="*/ 830602 w 4519987"/>
                    <a:gd name="connsiteY100" fmla="*/ 3981450 h 4496940"/>
                    <a:gd name="connsiteX101" fmla="*/ 763927 w 4519987"/>
                    <a:gd name="connsiteY101" fmla="*/ 3914775 h 4496940"/>
                    <a:gd name="connsiteX102" fmla="*/ 725827 w 4519987"/>
                    <a:gd name="connsiteY102" fmla="*/ 3876675 h 4496940"/>
                    <a:gd name="connsiteX103" fmla="*/ 697252 w 4519987"/>
                    <a:gd name="connsiteY103" fmla="*/ 3838575 h 4496940"/>
                    <a:gd name="connsiteX104" fmla="*/ 640102 w 4519987"/>
                    <a:gd name="connsiteY104" fmla="*/ 3781425 h 4496940"/>
                    <a:gd name="connsiteX105" fmla="*/ 611527 w 4519987"/>
                    <a:gd name="connsiteY105" fmla="*/ 3733800 h 4496940"/>
                    <a:gd name="connsiteX106" fmla="*/ 554377 w 4519987"/>
                    <a:gd name="connsiteY106" fmla="*/ 3657600 h 4496940"/>
                    <a:gd name="connsiteX107" fmla="*/ 525802 w 4519987"/>
                    <a:gd name="connsiteY107" fmla="*/ 3609975 h 4496940"/>
                    <a:gd name="connsiteX108" fmla="*/ 497227 w 4519987"/>
                    <a:gd name="connsiteY108" fmla="*/ 3552825 h 4496940"/>
                    <a:gd name="connsiteX109" fmla="*/ 440077 w 4519987"/>
                    <a:gd name="connsiteY109" fmla="*/ 3495675 h 4496940"/>
                    <a:gd name="connsiteX110" fmla="*/ 411502 w 4519987"/>
                    <a:gd name="connsiteY110" fmla="*/ 3448050 h 4496940"/>
                    <a:gd name="connsiteX111" fmla="*/ 278152 w 4519987"/>
                    <a:gd name="connsiteY111" fmla="*/ 3257550 h 4496940"/>
                    <a:gd name="connsiteX112" fmla="*/ 249577 w 4519987"/>
                    <a:gd name="connsiteY112" fmla="*/ 3200400 h 4496940"/>
                    <a:gd name="connsiteX113" fmla="*/ 240052 w 4519987"/>
                    <a:gd name="connsiteY113" fmla="*/ 3162300 h 4496940"/>
                    <a:gd name="connsiteX114" fmla="*/ 221002 w 4519987"/>
                    <a:gd name="connsiteY114" fmla="*/ 3105150 h 4496940"/>
                    <a:gd name="connsiteX115" fmla="*/ 173377 w 4519987"/>
                    <a:gd name="connsiteY115" fmla="*/ 3019425 h 4496940"/>
                    <a:gd name="connsiteX116" fmla="*/ 144802 w 4519987"/>
                    <a:gd name="connsiteY116" fmla="*/ 2924175 h 4496940"/>
                    <a:gd name="connsiteX117" fmla="*/ 68602 w 4519987"/>
                    <a:gd name="connsiteY117" fmla="*/ 2724150 h 4496940"/>
                    <a:gd name="connsiteX118" fmla="*/ 49552 w 4519987"/>
                    <a:gd name="connsiteY118" fmla="*/ 2638425 h 4496940"/>
                    <a:gd name="connsiteX119" fmla="*/ 40027 w 4519987"/>
                    <a:gd name="connsiteY119" fmla="*/ 2562225 h 4496940"/>
                    <a:gd name="connsiteX120" fmla="*/ 30502 w 4519987"/>
                    <a:gd name="connsiteY120" fmla="*/ 2514600 h 4496940"/>
                    <a:gd name="connsiteX121" fmla="*/ 11452 w 4519987"/>
                    <a:gd name="connsiteY121" fmla="*/ 2400300 h 4496940"/>
                    <a:gd name="connsiteX122" fmla="*/ 20977 w 4519987"/>
                    <a:gd name="connsiteY122" fmla="*/ 1905000 h 4496940"/>
                    <a:gd name="connsiteX123" fmla="*/ 30502 w 4519987"/>
                    <a:gd name="connsiteY123" fmla="*/ 1838325 h 4496940"/>
                    <a:gd name="connsiteX124" fmla="*/ 49552 w 4519987"/>
                    <a:gd name="connsiteY124" fmla="*/ 1781175 h 4496940"/>
                    <a:gd name="connsiteX125" fmla="*/ 59077 w 4519987"/>
                    <a:gd name="connsiteY125" fmla="*/ 1743075 h 4496940"/>
                    <a:gd name="connsiteX126" fmla="*/ 78127 w 4519987"/>
                    <a:gd name="connsiteY126" fmla="*/ 1685925 h 4496940"/>
                    <a:gd name="connsiteX127" fmla="*/ 87652 w 4519987"/>
                    <a:gd name="connsiteY127" fmla="*/ 1638300 h 4496940"/>
                    <a:gd name="connsiteX128" fmla="*/ 106702 w 4519987"/>
                    <a:gd name="connsiteY128" fmla="*/ 1590675 h 4496940"/>
                    <a:gd name="connsiteX129" fmla="*/ 135277 w 4519987"/>
                    <a:gd name="connsiteY129" fmla="*/ 1504950 h 4496940"/>
                    <a:gd name="connsiteX130" fmla="*/ 154327 w 4519987"/>
                    <a:gd name="connsiteY130" fmla="*/ 1419225 h 4496940"/>
                    <a:gd name="connsiteX131" fmla="*/ 230527 w 4519987"/>
                    <a:gd name="connsiteY131" fmla="*/ 1276350 h 4496940"/>
                    <a:gd name="connsiteX132" fmla="*/ 240052 w 4519987"/>
                    <a:gd name="connsiteY132" fmla="*/ 1247775 h 4496940"/>
                    <a:gd name="connsiteX133" fmla="*/ 268627 w 4519987"/>
                    <a:gd name="connsiteY133" fmla="*/ 1200150 h 4496940"/>
                    <a:gd name="connsiteX134" fmla="*/ 287677 w 4519987"/>
                    <a:gd name="connsiteY134" fmla="*/ 1152525 h 4496940"/>
                    <a:gd name="connsiteX135" fmla="*/ 316252 w 4519987"/>
                    <a:gd name="connsiteY135" fmla="*/ 1114425 h 4496940"/>
                    <a:gd name="connsiteX136" fmla="*/ 363877 w 4519987"/>
                    <a:gd name="connsiteY136" fmla="*/ 1038225 h 4496940"/>
                    <a:gd name="connsiteX137" fmla="*/ 382927 w 4519987"/>
                    <a:gd name="connsiteY137" fmla="*/ 1009650 h 4496940"/>
                    <a:gd name="connsiteX138" fmla="*/ 440077 w 4519987"/>
                    <a:gd name="connsiteY138" fmla="*/ 904875 h 4496940"/>
                    <a:gd name="connsiteX139" fmla="*/ 478177 w 4519987"/>
                    <a:gd name="connsiteY139" fmla="*/ 857250 h 4496940"/>
                    <a:gd name="connsiteX140" fmla="*/ 497227 w 4519987"/>
                    <a:gd name="connsiteY140" fmla="*/ 828675 h 4496940"/>
                    <a:gd name="connsiteX141" fmla="*/ 535327 w 4519987"/>
                    <a:gd name="connsiteY141" fmla="*/ 800100 h 4496940"/>
                    <a:gd name="connsiteX142" fmla="*/ 602002 w 4519987"/>
                    <a:gd name="connsiteY142" fmla="*/ 733425 h 4496940"/>
                    <a:gd name="connsiteX143" fmla="*/ 668677 w 4519987"/>
                    <a:gd name="connsiteY143" fmla="*/ 676275 h 4496940"/>
                    <a:gd name="connsiteX144" fmla="*/ 697252 w 4519987"/>
                    <a:gd name="connsiteY144" fmla="*/ 657225 h 4496940"/>
                    <a:gd name="connsiteX145" fmla="*/ 840127 w 4519987"/>
                    <a:gd name="connsiteY145" fmla="*/ 533400 h 4496940"/>
                    <a:gd name="connsiteX146" fmla="*/ 887752 w 4519987"/>
                    <a:gd name="connsiteY146" fmla="*/ 504825 h 4496940"/>
                    <a:gd name="connsiteX147" fmla="*/ 1167152 w 4519987"/>
                    <a:gd name="connsiteY147" fmla="*/ 311150 h 4496940"/>
                    <a:gd name="connsiteX148" fmla="*/ 1268752 w 4519987"/>
                    <a:gd name="connsiteY148" fmla="*/ 285750 h 4496940"/>
                    <a:gd name="connsiteX149" fmla="*/ 1411627 w 4519987"/>
                    <a:gd name="connsiteY149" fmla="*/ 190500 h 4496940"/>
                    <a:gd name="connsiteX150" fmla="*/ 1449727 w 4519987"/>
                    <a:gd name="connsiteY150" fmla="*/ 161925 h 4496940"/>
                    <a:gd name="connsiteX151" fmla="*/ 1525927 w 4519987"/>
                    <a:gd name="connsiteY151" fmla="*/ 152400 h 4496940"/>
                    <a:gd name="connsiteX152" fmla="*/ 1583077 w 4519987"/>
                    <a:gd name="connsiteY152" fmla="*/ 142875 h 4496940"/>
                    <a:gd name="connsiteX153" fmla="*/ 1716427 w 4519987"/>
                    <a:gd name="connsiteY153" fmla="*/ 123825 h 4496940"/>
                    <a:gd name="connsiteX154" fmla="*/ 1811677 w 4519987"/>
                    <a:gd name="connsiteY154" fmla="*/ 114300 h 4496940"/>
                    <a:gd name="connsiteX155" fmla="*/ 1859302 w 4519987"/>
                    <a:gd name="connsiteY155" fmla="*/ 104775 h 4496940"/>
                    <a:gd name="connsiteX156" fmla="*/ 1916452 w 4519987"/>
                    <a:gd name="connsiteY156" fmla="*/ 95250 h 4496940"/>
                    <a:gd name="connsiteX157" fmla="*/ 2030752 w 4519987"/>
                    <a:gd name="connsiteY157" fmla="*/ 66675 h 4496940"/>
                    <a:gd name="connsiteX158" fmla="*/ 2097427 w 4519987"/>
                    <a:gd name="connsiteY158" fmla="*/ 47625 h 4496940"/>
                    <a:gd name="connsiteX159" fmla="*/ 2164102 w 4519987"/>
                    <a:gd name="connsiteY159" fmla="*/ 38100 h 4496940"/>
                    <a:gd name="connsiteX160" fmla="*/ 2392702 w 4519987"/>
                    <a:gd name="connsiteY16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278652 w 4519987"/>
                    <a:gd name="connsiteY49" fmla="*/ 3248025 h 4496940"/>
                    <a:gd name="connsiteX50" fmla="*/ 4259602 w 4519987"/>
                    <a:gd name="connsiteY50" fmla="*/ 3276600 h 4496940"/>
                    <a:gd name="connsiteX51" fmla="*/ 4221502 w 4519987"/>
                    <a:gd name="connsiteY51" fmla="*/ 3333750 h 4496940"/>
                    <a:gd name="connsiteX52" fmla="*/ 4211977 w 4519987"/>
                    <a:gd name="connsiteY52" fmla="*/ 3362325 h 4496940"/>
                    <a:gd name="connsiteX53" fmla="*/ 4183402 w 4519987"/>
                    <a:gd name="connsiteY53" fmla="*/ 3400425 h 4496940"/>
                    <a:gd name="connsiteX54" fmla="*/ 4164352 w 4519987"/>
                    <a:gd name="connsiteY54" fmla="*/ 3429000 h 4496940"/>
                    <a:gd name="connsiteX55" fmla="*/ 4088152 w 4519987"/>
                    <a:gd name="connsiteY55" fmla="*/ 3495675 h 4496940"/>
                    <a:gd name="connsiteX56" fmla="*/ 4059577 w 4519987"/>
                    <a:gd name="connsiteY56" fmla="*/ 3533775 h 4496940"/>
                    <a:gd name="connsiteX57" fmla="*/ 4002427 w 4519987"/>
                    <a:gd name="connsiteY57" fmla="*/ 3600450 h 4496940"/>
                    <a:gd name="connsiteX58" fmla="*/ 3983377 w 4519987"/>
                    <a:gd name="connsiteY58" fmla="*/ 3629025 h 4496940"/>
                    <a:gd name="connsiteX59" fmla="*/ 3954802 w 4519987"/>
                    <a:gd name="connsiteY59" fmla="*/ 3648075 h 4496940"/>
                    <a:gd name="connsiteX60" fmla="*/ 3907177 w 4519987"/>
                    <a:gd name="connsiteY60" fmla="*/ 3686175 h 4496940"/>
                    <a:gd name="connsiteX61" fmla="*/ 3869077 w 4519987"/>
                    <a:gd name="connsiteY61" fmla="*/ 3724275 h 4496940"/>
                    <a:gd name="connsiteX62" fmla="*/ 3792877 w 4519987"/>
                    <a:gd name="connsiteY62" fmla="*/ 3781425 h 4496940"/>
                    <a:gd name="connsiteX63" fmla="*/ 3783352 w 4519987"/>
                    <a:gd name="connsiteY63" fmla="*/ 3810000 h 4496940"/>
                    <a:gd name="connsiteX64" fmla="*/ 3745252 w 4519987"/>
                    <a:gd name="connsiteY64" fmla="*/ 3819525 h 4496940"/>
                    <a:gd name="connsiteX65" fmla="*/ 3678577 w 4519987"/>
                    <a:gd name="connsiteY65" fmla="*/ 3848100 h 4496940"/>
                    <a:gd name="connsiteX66" fmla="*/ 3659527 w 4519987"/>
                    <a:gd name="connsiteY66" fmla="*/ 3971925 h 4496940"/>
                    <a:gd name="connsiteX67" fmla="*/ 3630952 w 4519987"/>
                    <a:gd name="connsiteY67" fmla="*/ 4010025 h 4496940"/>
                    <a:gd name="connsiteX68" fmla="*/ 3621427 w 4519987"/>
                    <a:gd name="connsiteY68" fmla="*/ 4038600 h 4496940"/>
                    <a:gd name="connsiteX69" fmla="*/ 3554752 w 4519987"/>
                    <a:gd name="connsiteY69" fmla="*/ 4095750 h 4496940"/>
                    <a:gd name="connsiteX70" fmla="*/ 3516652 w 4519987"/>
                    <a:gd name="connsiteY70" fmla="*/ 4114800 h 4496940"/>
                    <a:gd name="connsiteX71" fmla="*/ 3497602 w 4519987"/>
                    <a:gd name="connsiteY71" fmla="*/ 4143375 h 4496940"/>
                    <a:gd name="connsiteX72" fmla="*/ 3383302 w 4519987"/>
                    <a:gd name="connsiteY72" fmla="*/ 4210050 h 4496940"/>
                    <a:gd name="connsiteX73" fmla="*/ 3335677 w 4519987"/>
                    <a:gd name="connsiteY73" fmla="*/ 4238625 h 4496940"/>
                    <a:gd name="connsiteX74" fmla="*/ 3288052 w 4519987"/>
                    <a:gd name="connsiteY74" fmla="*/ 4248150 h 4496940"/>
                    <a:gd name="connsiteX75" fmla="*/ 3240427 w 4519987"/>
                    <a:gd name="connsiteY75" fmla="*/ 4267200 h 4496940"/>
                    <a:gd name="connsiteX76" fmla="*/ 3068977 w 4519987"/>
                    <a:gd name="connsiteY76" fmla="*/ 4286250 h 4496940"/>
                    <a:gd name="connsiteX77" fmla="*/ 2935627 w 4519987"/>
                    <a:gd name="connsiteY77" fmla="*/ 4333875 h 4496940"/>
                    <a:gd name="connsiteX78" fmla="*/ 2811802 w 4519987"/>
                    <a:gd name="connsiteY78" fmla="*/ 4371975 h 4496940"/>
                    <a:gd name="connsiteX79" fmla="*/ 2745127 w 4519987"/>
                    <a:gd name="connsiteY79" fmla="*/ 4410075 h 4496940"/>
                    <a:gd name="connsiteX80" fmla="*/ 2697502 w 4519987"/>
                    <a:gd name="connsiteY80" fmla="*/ 4429125 h 4496940"/>
                    <a:gd name="connsiteX81" fmla="*/ 2640352 w 4519987"/>
                    <a:gd name="connsiteY81" fmla="*/ 4457700 h 4496940"/>
                    <a:gd name="connsiteX82" fmla="*/ 2583202 w 4519987"/>
                    <a:gd name="connsiteY82" fmla="*/ 4467225 h 4496940"/>
                    <a:gd name="connsiteX83" fmla="*/ 2545102 w 4519987"/>
                    <a:gd name="connsiteY83" fmla="*/ 4486275 h 4496940"/>
                    <a:gd name="connsiteX84" fmla="*/ 2306977 w 4519987"/>
                    <a:gd name="connsiteY84" fmla="*/ 4476750 h 4496940"/>
                    <a:gd name="connsiteX85" fmla="*/ 2202202 w 4519987"/>
                    <a:gd name="connsiteY85" fmla="*/ 4457700 h 4496940"/>
                    <a:gd name="connsiteX86" fmla="*/ 2126002 w 4519987"/>
                    <a:gd name="connsiteY86" fmla="*/ 4429125 h 4496940"/>
                    <a:gd name="connsiteX87" fmla="*/ 1935502 w 4519987"/>
                    <a:gd name="connsiteY87" fmla="*/ 4400550 h 4496940"/>
                    <a:gd name="connsiteX88" fmla="*/ 1821202 w 4519987"/>
                    <a:gd name="connsiteY88" fmla="*/ 4371975 h 4496940"/>
                    <a:gd name="connsiteX89" fmla="*/ 1754527 w 4519987"/>
                    <a:gd name="connsiteY89" fmla="*/ 4352925 h 4496940"/>
                    <a:gd name="connsiteX90" fmla="*/ 1687852 w 4519987"/>
                    <a:gd name="connsiteY90" fmla="*/ 4343400 h 4496940"/>
                    <a:gd name="connsiteX91" fmla="*/ 1573552 w 4519987"/>
                    <a:gd name="connsiteY91" fmla="*/ 4305300 h 4496940"/>
                    <a:gd name="connsiteX92" fmla="*/ 1402102 w 4519987"/>
                    <a:gd name="connsiteY92" fmla="*/ 4276725 h 4496940"/>
                    <a:gd name="connsiteX93" fmla="*/ 1287802 w 4519987"/>
                    <a:gd name="connsiteY93" fmla="*/ 4229100 h 4496940"/>
                    <a:gd name="connsiteX94" fmla="*/ 1221127 w 4519987"/>
                    <a:gd name="connsiteY94" fmla="*/ 4200525 h 4496940"/>
                    <a:gd name="connsiteX95" fmla="*/ 1144927 w 4519987"/>
                    <a:gd name="connsiteY95" fmla="*/ 4171950 h 4496940"/>
                    <a:gd name="connsiteX96" fmla="*/ 1087777 w 4519987"/>
                    <a:gd name="connsiteY96" fmla="*/ 4143375 h 4496940"/>
                    <a:gd name="connsiteX97" fmla="*/ 1030627 w 4519987"/>
                    <a:gd name="connsiteY97" fmla="*/ 4124325 h 4496940"/>
                    <a:gd name="connsiteX98" fmla="*/ 925852 w 4519987"/>
                    <a:gd name="connsiteY98" fmla="*/ 4067175 h 4496940"/>
                    <a:gd name="connsiteX99" fmla="*/ 830602 w 4519987"/>
                    <a:gd name="connsiteY99" fmla="*/ 3981450 h 4496940"/>
                    <a:gd name="connsiteX100" fmla="*/ 763927 w 4519987"/>
                    <a:gd name="connsiteY100" fmla="*/ 3914775 h 4496940"/>
                    <a:gd name="connsiteX101" fmla="*/ 725827 w 4519987"/>
                    <a:gd name="connsiteY101" fmla="*/ 3876675 h 4496940"/>
                    <a:gd name="connsiteX102" fmla="*/ 697252 w 4519987"/>
                    <a:gd name="connsiteY102" fmla="*/ 3838575 h 4496940"/>
                    <a:gd name="connsiteX103" fmla="*/ 640102 w 4519987"/>
                    <a:gd name="connsiteY103" fmla="*/ 3781425 h 4496940"/>
                    <a:gd name="connsiteX104" fmla="*/ 611527 w 4519987"/>
                    <a:gd name="connsiteY104" fmla="*/ 3733800 h 4496940"/>
                    <a:gd name="connsiteX105" fmla="*/ 554377 w 4519987"/>
                    <a:gd name="connsiteY105" fmla="*/ 3657600 h 4496940"/>
                    <a:gd name="connsiteX106" fmla="*/ 525802 w 4519987"/>
                    <a:gd name="connsiteY106" fmla="*/ 3609975 h 4496940"/>
                    <a:gd name="connsiteX107" fmla="*/ 497227 w 4519987"/>
                    <a:gd name="connsiteY107" fmla="*/ 3552825 h 4496940"/>
                    <a:gd name="connsiteX108" fmla="*/ 440077 w 4519987"/>
                    <a:gd name="connsiteY108" fmla="*/ 3495675 h 4496940"/>
                    <a:gd name="connsiteX109" fmla="*/ 411502 w 4519987"/>
                    <a:gd name="connsiteY109" fmla="*/ 3448050 h 4496940"/>
                    <a:gd name="connsiteX110" fmla="*/ 278152 w 4519987"/>
                    <a:gd name="connsiteY110" fmla="*/ 3257550 h 4496940"/>
                    <a:gd name="connsiteX111" fmla="*/ 249577 w 4519987"/>
                    <a:gd name="connsiteY111" fmla="*/ 3200400 h 4496940"/>
                    <a:gd name="connsiteX112" fmla="*/ 240052 w 4519987"/>
                    <a:gd name="connsiteY112" fmla="*/ 3162300 h 4496940"/>
                    <a:gd name="connsiteX113" fmla="*/ 221002 w 4519987"/>
                    <a:gd name="connsiteY113" fmla="*/ 3105150 h 4496940"/>
                    <a:gd name="connsiteX114" fmla="*/ 173377 w 4519987"/>
                    <a:gd name="connsiteY114" fmla="*/ 3019425 h 4496940"/>
                    <a:gd name="connsiteX115" fmla="*/ 144802 w 4519987"/>
                    <a:gd name="connsiteY115" fmla="*/ 2924175 h 4496940"/>
                    <a:gd name="connsiteX116" fmla="*/ 68602 w 4519987"/>
                    <a:gd name="connsiteY116" fmla="*/ 2724150 h 4496940"/>
                    <a:gd name="connsiteX117" fmla="*/ 49552 w 4519987"/>
                    <a:gd name="connsiteY117" fmla="*/ 2638425 h 4496940"/>
                    <a:gd name="connsiteX118" fmla="*/ 40027 w 4519987"/>
                    <a:gd name="connsiteY118" fmla="*/ 2562225 h 4496940"/>
                    <a:gd name="connsiteX119" fmla="*/ 30502 w 4519987"/>
                    <a:gd name="connsiteY119" fmla="*/ 2514600 h 4496940"/>
                    <a:gd name="connsiteX120" fmla="*/ 11452 w 4519987"/>
                    <a:gd name="connsiteY120" fmla="*/ 2400300 h 4496940"/>
                    <a:gd name="connsiteX121" fmla="*/ 20977 w 4519987"/>
                    <a:gd name="connsiteY121" fmla="*/ 1905000 h 4496940"/>
                    <a:gd name="connsiteX122" fmla="*/ 30502 w 4519987"/>
                    <a:gd name="connsiteY122" fmla="*/ 1838325 h 4496940"/>
                    <a:gd name="connsiteX123" fmla="*/ 49552 w 4519987"/>
                    <a:gd name="connsiteY123" fmla="*/ 1781175 h 4496940"/>
                    <a:gd name="connsiteX124" fmla="*/ 59077 w 4519987"/>
                    <a:gd name="connsiteY124" fmla="*/ 1743075 h 4496940"/>
                    <a:gd name="connsiteX125" fmla="*/ 78127 w 4519987"/>
                    <a:gd name="connsiteY125" fmla="*/ 1685925 h 4496940"/>
                    <a:gd name="connsiteX126" fmla="*/ 87652 w 4519987"/>
                    <a:gd name="connsiteY126" fmla="*/ 1638300 h 4496940"/>
                    <a:gd name="connsiteX127" fmla="*/ 106702 w 4519987"/>
                    <a:gd name="connsiteY127" fmla="*/ 1590675 h 4496940"/>
                    <a:gd name="connsiteX128" fmla="*/ 135277 w 4519987"/>
                    <a:gd name="connsiteY128" fmla="*/ 1504950 h 4496940"/>
                    <a:gd name="connsiteX129" fmla="*/ 154327 w 4519987"/>
                    <a:gd name="connsiteY129" fmla="*/ 1419225 h 4496940"/>
                    <a:gd name="connsiteX130" fmla="*/ 230527 w 4519987"/>
                    <a:gd name="connsiteY130" fmla="*/ 1276350 h 4496940"/>
                    <a:gd name="connsiteX131" fmla="*/ 240052 w 4519987"/>
                    <a:gd name="connsiteY131" fmla="*/ 1247775 h 4496940"/>
                    <a:gd name="connsiteX132" fmla="*/ 268627 w 4519987"/>
                    <a:gd name="connsiteY132" fmla="*/ 1200150 h 4496940"/>
                    <a:gd name="connsiteX133" fmla="*/ 287677 w 4519987"/>
                    <a:gd name="connsiteY133" fmla="*/ 1152525 h 4496940"/>
                    <a:gd name="connsiteX134" fmla="*/ 316252 w 4519987"/>
                    <a:gd name="connsiteY134" fmla="*/ 1114425 h 4496940"/>
                    <a:gd name="connsiteX135" fmla="*/ 363877 w 4519987"/>
                    <a:gd name="connsiteY135" fmla="*/ 1038225 h 4496940"/>
                    <a:gd name="connsiteX136" fmla="*/ 382927 w 4519987"/>
                    <a:gd name="connsiteY136" fmla="*/ 1009650 h 4496940"/>
                    <a:gd name="connsiteX137" fmla="*/ 440077 w 4519987"/>
                    <a:gd name="connsiteY137" fmla="*/ 904875 h 4496940"/>
                    <a:gd name="connsiteX138" fmla="*/ 478177 w 4519987"/>
                    <a:gd name="connsiteY138" fmla="*/ 857250 h 4496940"/>
                    <a:gd name="connsiteX139" fmla="*/ 497227 w 4519987"/>
                    <a:gd name="connsiteY139" fmla="*/ 828675 h 4496940"/>
                    <a:gd name="connsiteX140" fmla="*/ 535327 w 4519987"/>
                    <a:gd name="connsiteY140" fmla="*/ 800100 h 4496940"/>
                    <a:gd name="connsiteX141" fmla="*/ 602002 w 4519987"/>
                    <a:gd name="connsiteY141" fmla="*/ 733425 h 4496940"/>
                    <a:gd name="connsiteX142" fmla="*/ 668677 w 4519987"/>
                    <a:gd name="connsiteY142" fmla="*/ 676275 h 4496940"/>
                    <a:gd name="connsiteX143" fmla="*/ 697252 w 4519987"/>
                    <a:gd name="connsiteY143" fmla="*/ 657225 h 4496940"/>
                    <a:gd name="connsiteX144" fmla="*/ 840127 w 4519987"/>
                    <a:gd name="connsiteY144" fmla="*/ 533400 h 4496940"/>
                    <a:gd name="connsiteX145" fmla="*/ 887752 w 4519987"/>
                    <a:gd name="connsiteY145" fmla="*/ 504825 h 4496940"/>
                    <a:gd name="connsiteX146" fmla="*/ 1167152 w 4519987"/>
                    <a:gd name="connsiteY146" fmla="*/ 311150 h 4496940"/>
                    <a:gd name="connsiteX147" fmla="*/ 1268752 w 4519987"/>
                    <a:gd name="connsiteY147" fmla="*/ 285750 h 4496940"/>
                    <a:gd name="connsiteX148" fmla="*/ 1411627 w 4519987"/>
                    <a:gd name="connsiteY148" fmla="*/ 190500 h 4496940"/>
                    <a:gd name="connsiteX149" fmla="*/ 1449727 w 4519987"/>
                    <a:gd name="connsiteY149" fmla="*/ 161925 h 4496940"/>
                    <a:gd name="connsiteX150" fmla="*/ 1525927 w 4519987"/>
                    <a:gd name="connsiteY150" fmla="*/ 152400 h 4496940"/>
                    <a:gd name="connsiteX151" fmla="*/ 1583077 w 4519987"/>
                    <a:gd name="connsiteY151" fmla="*/ 142875 h 4496940"/>
                    <a:gd name="connsiteX152" fmla="*/ 1716427 w 4519987"/>
                    <a:gd name="connsiteY152" fmla="*/ 123825 h 4496940"/>
                    <a:gd name="connsiteX153" fmla="*/ 1811677 w 4519987"/>
                    <a:gd name="connsiteY153" fmla="*/ 114300 h 4496940"/>
                    <a:gd name="connsiteX154" fmla="*/ 1859302 w 4519987"/>
                    <a:gd name="connsiteY154" fmla="*/ 104775 h 4496940"/>
                    <a:gd name="connsiteX155" fmla="*/ 1916452 w 4519987"/>
                    <a:gd name="connsiteY155" fmla="*/ 95250 h 4496940"/>
                    <a:gd name="connsiteX156" fmla="*/ 2030752 w 4519987"/>
                    <a:gd name="connsiteY156" fmla="*/ 66675 h 4496940"/>
                    <a:gd name="connsiteX157" fmla="*/ 2097427 w 4519987"/>
                    <a:gd name="connsiteY157" fmla="*/ 47625 h 4496940"/>
                    <a:gd name="connsiteX158" fmla="*/ 2164102 w 4519987"/>
                    <a:gd name="connsiteY158" fmla="*/ 38100 h 4496940"/>
                    <a:gd name="connsiteX159" fmla="*/ 2392702 w 4519987"/>
                    <a:gd name="connsiteY15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50052 w 4519987"/>
                    <a:gd name="connsiteY28" fmla="*/ 790575 h 4496940"/>
                    <a:gd name="connsiteX29" fmla="*/ 4078627 w 4519987"/>
                    <a:gd name="connsiteY29" fmla="*/ 838200 h 4496940"/>
                    <a:gd name="connsiteX30" fmla="*/ 4107202 w 4519987"/>
                    <a:gd name="connsiteY30" fmla="*/ 876300 h 4496940"/>
                    <a:gd name="connsiteX31" fmla="*/ 4116727 w 4519987"/>
                    <a:gd name="connsiteY31" fmla="*/ 904875 h 4496940"/>
                    <a:gd name="connsiteX32" fmla="*/ 4135777 w 4519987"/>
                    <a:gd name="connsiteY32" fmla="*/ 933450 h 4496940"/>
                    <a:gd name="connsiteX33" fmla="*/ 4164352 w 4519987"/>
                    <a:gd name="connsiteY33" fmla="*/ 990600 h 4496940"/>
                    <a:gd name="connsiteX34" fmla="*/ 4173877 w 4519987"/>
                    <a:gd name="connsiteY34" fmla="*/ 1019175 h 4496940"/>
                    <a:gd name="connsiteX35" fmla="*/ 4192927 w 4519987"/>
                    <a:gd name="connsiteY35" fmla="*/ 1057275 h 4496940"/>
                    <a:gd name="connsiteX36" fmla="*/ 4202452 w 4519987"/>
                    <a:gd name="connsiteY36" fmla="*/ 1085850 h 4496940"/>
                    <a:gd name="connsiteX37" fmla="*/ 4250077 w 4519987"/>
                    <a:gd name="connsiteY37" fmla="*/ 1143000 h 4496940"/>
                    <a:gd name="connsiteX38" fmla="*/ 4259602 w 4519987"/>
                    <a:gd name="connsiteY38" fmla="*/ 1190625 h 4496940"/>
                    <a:gd name="connsiteX39" fmla="*/ 4307227 w 4519987"/>
                    <a:gd name="connsiteY39" fmla="*/ 1266825 h 4496940"/>
                    <a:gd name="connsiteX40" fmla="*/ 4345327 w 4519987"/>
                    <a:gd name="connsiteY40" fmla="*/ 1362075 h 4496940"/>
                    <a:gd name="connsiteX41" fmla="*/ 4373902 w 4519987"/>
                    <a:gd name="connsiteY41" fmla="*/ 1428750 h 4496940"/>
                    <a:gd name="connsiteX42" fmla="*/ 4392952 w 4519987"/>
                    <a:gd name="connsiteY42" fmla="*/ 1552575 h 4496940"/>
                    <a:gd name="connsiteX43" fmla="*/ 4402477 w 4519987"/>
                    <a:gd name="connsiteY43" fmla="*/ 1590675 h 4496940"/>
                    <a:gd name="connsiteX44" fmla="*/ 4431052 w 4519987"/>
                    <a:gd name="connsiteY44" fmla="*/ 1685925 h 4496940"/>
                    <a:gd name="connsiteX45" fmla="*/ 4519952 w 4519987"/>
                    <a:gd name="connsiteY45" fmla="*/ 2181225 h 4496940"/>
                    <a:gd name="connsiteX46" fmla="*/ 4446927 w 4519987"/>
                    <a:gd name="connsiteY46" fmla="*/ 2768600 h 4496940"/>
                    <a:gd name="connsiteX47" fmla="*/ 4383427 w 4519987"/>
                    <a:gd name="connsiteY47" fmla="*/ 2990850 h 4496940"/>
                    <a:gd name="connsiteX48" fmla="*/ 4278652 w 4519987"/>
                    <a:gd name="connsiteY48" fmla="*/ 3248025 h 4496940"/>
                    <a:gd name="connsiteX49" fmla="*/ 4259602 w 4519987"/>
                    <a:gd name="connsiteY49" fmla="*/ 3276600 h 4496940"/>
                    <a:gd name="connsiteX50" fmla="*/ 4221502 w 4519987"/>
                    <a:gd name="connsiteY50" fmla="*/ 3333750 h 4496940"/>
                    <a:gd name="connsiteX51" fmla="*/ 4211977 w 4519987"/>
                    <a:gd name="connsiteY51" fmla="*/ 3362325 h 4496940"/>
                    <a:gd name="connsiteX52" fmla="*/ 4183402 w 4519987"/>
                    <a:gd name="connsiteY52" fmla="*/ 3400425 h 4496940"/>
                    <a:gd name="connsiteX53" fmla="*/ 4164352 w 4519987"/>
                    <a:gd name="connsiteY53" fmla="*/ 3429000 h 4496940"/>
                    <a:gd name="connsiteX54" fmla="*/ 4088152 w 4519987"/>
                    <a:gd name="connsiteY54" fmla="*/ 3495675 h 4496940"/>
                    <a:gd name="connsiteX55" fmla="*/ 4059577 w 4519987"/>
                    <a:gd name="connsiteY55" fmla="*/ 3533775 h 4496940"/>
                    <a:gd name="connsiteX56" fmla="*/ 4002427 w 4519987"/>
                    <a:gd name="connsiteY56" fmla="*/ 3600450 h 4496940"/>
                    <a:gd name="connsiteX57" fmla="*/ 3983377 w 4519987"/>
                    <a:gd name="connsiteY57" fmla="*/ 3629025 h 4496940"/>
                    <a:gd name="connsiteX58" fmla="*/ 3954802 w 4519987"/>
                    <a:gd name="connsiteY58" fmla="*/ 3648075 h 4496940"/>
                    <a:gd name="connsiteX59" fmla="*/ 3907177 w 4519987"/>
                    <a:gd name="connsiteY59" fmla="*/ 3686175 h 4496940"/>
                    <a:gd name="connsiteX60" fmla="*/ 3869077 w 4519987"/>
                    <a:gd name="connsiteY60" fmla="*/ 3724275 h 4496940"/>
                    <a:gd name="connsiteX61" fmla="*/ 3792877 w 4519987"/>
                    <a:gd name="connsiteY61" fmla="*/ 3781425 h 4496940"/>
                    <a:gd name="connsiteX62" fmla="*/ 3783352 w 4519987"/>
                    <a:gd name="connsiteY62" fmla="*/ 3810000 h 4496940"/>
                    <a:gd name="connsiteX63" fmla="*/ 3745252 w 4519987"/>
                    <a:gd name="connsiteY63" fmla="*/ 3819525 h 4496940"/>
                    <a:gd name="connsiteX64" fmla="*/ 3678577 w 4519987"/>
                    <a:gd name="connsiteY64" fmla="*/ 3848100 h 4496940"/>
                    <a:gd name="connsiteX65" fmla="*/ 3659527 w 4519987"/>
                    <a:gd name="connsiteY65" fmla="*/ 3971925 h 4496940"/>
                    <a:gd name="connsiteX66" fmla="*/ 3630952 w 4519987"/>
                    <a:gd name="connsiteY66" fmla="*/ 4010025 h 4496940"/>
                    <a:gd name="connsiteX67" fmla="*/ 3621427 w 4519987"/>
                    <a:gd name="connsiteY67" fmla="*/ 4038600 h 4496940"/>
                    <a:gd name="connsiteX68" fmla="*/ 3554752 w 4519987"/>
                    <a:gd name="connsiteY68" fmla="*/ 4095750 h 4496940"/>
                    <a:gd name="connsiteX69" fmla="*/ 3516652 w 4519987"/>
                    <a:gd name="connsiteY69" fmla="*/ 4114800 h 4496940"/>
                    <a:gd name="connsiteX70" fmla="*/ 3497602 w 4519987"/>
                    <a:gd name="connsiteY70" fmla="*/ 4143375 h 4496940"/>
                    <a:gd name="connsiteX71" fmla="*/ 3383302 w 4519987"/>
                    <a:gd name="connsiteY71" fmla="*/ 4210050 h 4496940"/>
                    <a:gd name="connsiteX72" fmla="*/ 3335677 w 4519987"/>
                    <a:gd name="connsiteY72" fmla="*/ 4238625 h 4496940"/>
                    <a:gd name="connsiteX73" fmla="*/ 3288052 w 4519987"/>
                    <a:gd name="connsiteY73" fmla="*/ 4248150 h 4496940"/>
                    <a:gd name="connsiteX74" fmla="*/ 3240427 w 4519987"/>
                    <a:gd name="connsiteY74" fmla="*/ 4267200 h 4496940"/>
                    <a:gd name="connsiteX75" fmla="*/ 3068977 w 4519987"/>
                    <a:gd name="connsiteY75" fmla="*/ 4286250 h 4496940"/>
                    <a:gd name="connsiteX76" fmla="*/ 2935627 w 4519987"/>
                    <a:gd name="connsiteY76" fmla="*/ 4333875 h 4496940"/>
                    <a:gd name="connsiteX77" fmla="*/ 2811802 w 4519987"/>
                    <a:gd name="connsiteY77" fmla="*/ 4371975 h 4496940"/>
                    <a:gd name="connsiteX78" fmla="*/ 2745127 w 4519987"/>
                    <a:gd name="connsiteY78" fmla="*/ 4410075 h 4496940"/>
                    <a:gd name="connsiteX79" fmla="*/ 2697502 w 4519987"/>
                    <a:gd name="connsiteY79" fmla="*/ 4429125 h 4496940"/>
                    <a:gd name="connsiteX80" fmla="*/ 2640352 w 4519987"/>
                    <a:gd name="connsiteY80" fmla="*/ 4457700 h 4496940"/>
                    <a:gd name="connsiteX81" fmla="*/ 2583202 w 4519987"/>
                    <a:gd name="connsiteY81" fmla="*/ 4467225 h 4496940"/>
                    <a:gd name="connsiteX82" fmla="*/ 2545102 w 4519987"/>
                    <a:gd name="connsiteY82" fmla="*/ 4486275 h 4496940"/>
                    <a:gd name="connsiteX83" fmla="*/ 2306977 w 4519987"/>
                    <a:gd name="connsiteY83" fmla="*/ 4476750 h 4496940"/>
                    <a:gd name="connsiteX84" fmla="*/ 2202202 w 4519987"/>
                    <a:gd name="connsiteY84" fmla="*/ 4457700 h 4496940"/>
                    <a:gd name="connsiteX85" fmla="*/ 2126002 w 4519987"/>
                    <a:gd name="connsiteY85" fmla="*/ 4429125 h 4496940"/>
                    <a:gd name="connsiteX86" fmla="*/ 1935502 w 4519987"/>
                    <a:gd name="connsiteY86" fmla="*/ 4400550 h 4496940"/>
                    <a:gd name="connsiteX87" fmla="*/ 1821202 w 4519987"/>
                    <a:gd name="connsiteY87" fmla="*/ 4371975 h 4496940"/>
                    <a:gd name="connsiteX88" fmla="*/ 1754527 w 4519987"/>
                    <a:gd name="connsiteY88" fmla="*/ 4352925 h 4496940"/>
                    <a:gd name="connsiteX89" fmla="*/ 1687852 w 4519987"/>
                    <a:gd name="connsiteY89" fmla="*/ 4343400 h 4496940"/>
                    <a:gd name="connsiteX90" fmla="*/ 1573552 w 4519987"/>
                    <a:gd name="connsiteY90" fmla="*/ 4305300 h 4496940"/>
                    <a:gd name="connsiteX91" fmla="*/ 1402102 w 4519987"/>
                    <a:gd name="connsiteY91" fmla="*/ 4276725 h 4496940"/>
                    <a:gd name="connsiteX92" fmla="*/ 1287802 w 4519987"/>
                    <a:gd name="connsiteY92" fmla="*/ 4229100 h 4496940"/>
                    <a:gd name="connsiteX93" fmla="*/ 1221127 w 4519987"/>
                    <a:gd name="connsiteY93" fmla="*/ 4200525 h 4496940"/>
                    <a:gd name="connsiteX94" fmla="*/ 1144927 w 4519987"/>
                    <a:gd name="connsiteY94" fmla="*/ 4171950 h 4496940"/>
                    <a:gd name="connsiteX95" fmla="*/ 1087777 w 4519987"/>
                    <a:gd name="connsiteY95" fmla="*/ 4143375 h 4496940"/>
                    <a:gd name="connsiteX96" fmla="*/ 1030627 w 4519987"/>
                    <a:gd name="connsiteY96" fmla="*/ 4124325 h 4496940"/>
                    <a:gd name="connsiteX97" fmla="*/ 925852 w 4519987"/>
                    <a:gd name="connsiteY97" fmla="*/ 4067175 h 4496940"/>
                    <a:gd name="connsiteX98" fmla="*/ 830602 w 4519987"/>
                    <a:gd name="connsiteY98" fmla="*/ 3981450 h 4496940"/>
                    <a:gd name="connsiteX99" fmla="*/ 763927 w 4519987"/>
                    <a:gd name="connsiteY99" fmla="*/ 3914775 h 4496940"/>
                    <a:gd name="connsiteX100" fmla="*/ 725827 w 4519987"/>
                    <a:gd name="connsiteY100" fmla="*/ 3876675 h 4496940"/>
                    <a:gd name="connsiteX101" fmla="*/ 697252 w 4519987"/>
                    <a:gd name="connsiteY101" fmla="*/ 3838575 h 4496940"/>
                    <a:gd name="connsiteX102" fmla="*/ 640102 w 4519987"/>
                    <a:gd name="connsiteY102" fmla="*/ 3781425 h 4496940"/>
                    <a:gd name="connsiteX103" fmla="*/ 611527 w 4519987"/>
                    <a:gd name="connsiteY103" fmla="*/ 3733800 h 4496940"/>
                    <a:gd name="connsiteX104" fmla="*/ 554377 w 4519987"/>
                    <a:gd name="connsiteY104" fmla="*/ 3657600 h 4496940"/>
                    <a:gd name="connsiteX105" fmla="*/ 525802 w 4519987"/>
                    <a:gd name="connsiteY105" fmla="*/ 3609975 h 4496940"/>
                    <a:gd name="connsiteX106" fmla="*/ 497227 w 4519987"/>
                    <a:gd name="connsiteY106" fmla="*/ 3552825 h 4496940"/>
                    <a:gd name="connsiteX107" fmla="*/ 440077 w 4519987"/>
                    <a:gd name="connsiteY107" fmla="*/ 3495675 h 4496940"/>
                    <a:gd name="connsiteX108" fmla="*/ 411502 w 4519987"/>
                    <a:gd name="connsiteY108" fmla="*/ 3448050 h 4496940"/>
                    <a:gd name="connsiteX109" fmla="*/ 278152 w 4519987"/>
                    <a:gd name="connsiteY109" fmla="*/ 3257550 h 4496940"/>
                    <a:gd name="connsiteX110" fmla="*/ 249577 w 4519987"/>
                    <a:gd name="connsiteY110" fmla="*/ 3200400 h 4496940"/>
                    <a:gd name="connsiteX111" fmla="*/ 240052 w 4519987"/>
                    <a:gd name="connsiteY111" fmla="*/ 3162300 h 4496940"/>
                    <a:gd name="connsiteX112" fmla="*/ 221002 w 4519987"/>
                    <a:gd name="connsiteY112" fmla="*/ 3105150 h 4496940"/>
                    <a:gd name="connsiteX113" fmla="*/ 173377 w 4519987"/>
                    <a:gd name="connsiteY113" fmla="*/ 3019425 h 4496940"/>
                    <a:gd name="connsiteX114" fmla="*/ 144802 w 4519987"/>
                    <a:gd name="connsiteY114" fmla="*/ 2924175 h 4496940"/>
                    <a:gd name="connsiteX115" fmla="*/ 68602 w 4519987"/>
                    <a:gd name="connsiteY115" fmla="*/ 2724150 h 4496940"/>
                    <a:gd name="connsiteX116" fmla="*/ 49552 w 4519987"/>
                    <a:gd name="connsiteY116" fmla="*/ 2638425 h 4496940"/>
                    <a:gd name="connsiteX117" fmla="*/ 40027 w 4519987"/>
                    <a:gd name="connsiteY117" fmla="*/ 2562225 h 4496940"/>
                    <a:gd name="connsiteX118" fmla="*/ 30502 w 4519987"/>
                    <a:gd name="connsiteY118" fmla="*/ 2514600 h 4496940"/>
                    <a:gd name="connsiteX119" fmla="*/ 11452 w 4519987"/>
                    <a:gd name="connsiteY119" fmla="*/ 2400300 h 4496940"/>
                    <a:gd name="connsiteX120" fmla="*/ 20977 w 4519987"/>
                    <a:gd name="connsiteY120" fmla="*/ 1905000 h 4496940"/>
                    <a:gd name="connsiteX121" fmla="*/ 30502 w 4519987"/>
                    <a:gd name="connsiteY121" fmla="*/ 1838325 h 4496940"/>
                    <a:gd name="connsiteX122" fmla="*/ 49552 w 4519987"/>
                    <a:gd name="connsiteY122" fmla="*/ 1781175 h 4496940"/>
                    <a:gd name="connsiteX123" fmla="*/ 59077 w 4519987"/>
                    <a:gd name="connsiteY123" fmla="*/ 1743075 h 4496940"/>
                    <a:gd name="connsiteX124" fmla="*/ 78127 w 4519987"/>
                    <a:gd name="connsiteY124" fmla="*/ 1685925 h 4496940"/>
                    <a:gd name="connsiteX125" fmla="*/ 87652 w 4519987"/>
                    <a:gd name="connsiteY125" fmla="*/ 1638300 h 4496940"/>
                    <a:gd name="connsiteX126" fmla="*/ 106702 w 4519987"/>
                    <a:gd name="connsiteY126" fmla="*/ 1590675 h 4496940"/>
                    <a:gd name="connsiteX127" fmla="*/ 135277 w 4519987"/>
                    <a:gd name="connsiteY127" fmla="*/ 1504950 h 4496940"/>
                    <a:gd name="connsiteX128" fmla="*/ 154327 w 4519987"/>
                    <a:gd name="connsiteY128" fmla="*/ 1419225 h 4496940"/>
                    <a:gd name="connsiteX129" fmla="*/ 230527 w 4519987"/>
                    <a:gd name="connsiteY129" fmla="*/ 1276350 h 4496940"/>
                    <a:gd name="connsiteX130" fmla="*/ 240052 w 4519987"/>
                    <a:gd name="connsiteY130" fmla="*/ 1247775 h 4496940"/>
                    <a:gd name="connsiteX131" fmla="*/ 268627 w 4519987"/>
                    <a:gd name="connsiteY131" fmla="*/ 1200150 h 4496940"/>
                    <a:gd name="connsiteX132" fmla="*/ 287677 w 4519987"/>
                    <a:gd name="connsiteY132" fmla="*/ 1152525 h 4496940"/>
                    <a:gd name="connsiteX133" fmla="*/ 316252 w 4519987"/>
                    <a:gd name="connsiteY133" fmla="*/ 1114425 h 4496940"/>
                    <a:gd name="connsiteX134" fmla="*/ 363877 w 4519987"/>
                    <a:gd name="connsiteY134" fmla="*/ 1038225 h 4496940"/>
                    <a:gd name="connsiteX135" fmla="*/ 382927 w 4519987"/>
                    <a:gd name="connsiteY135" fmla="*/ 1009650 h 4496940"/>
                    <a:gd name="connsiteX136" fmla="*/ 440077 w 4519987"/>
                    <a:gd name="connsiteY136" fmla="*/ 904875 h 4496940"/>
                    <a:gd name="connsiteX137" fmla="*/ 478177 w 4519987"/>
                    <a:gd name="connsiteY137" fmla="*/ 857250 h 4496940"/>
                    <a:gd name="connsiteX138" fmla="*/ 497227 w 4519987"/>
                    <a:gd name="connsiteY138" fmla="*/ 828675 h 4496940"/>
                    <a:gd name="connsiteX139" fmla="*/ 535327 w 4519987"/>
                    <a:gd name="connsiteY139" fmla="*/ 800100 h 4496940"/>
                    <a:gd name="connsiteX140" fmla="*/ 602002 w 4519987"/>
                    <a:gd name="connsiteY140" fmla="*/ 733425 h 4496940"/>
                    <a:gd name="connsiteX141" fmla="*/ 668677 w 4519987"/>
                    <a:gd name="connsiteY141" fmla="*/ 676275 h 4496940"/>
                    <a:gd name="connsiteX142" fmla="*/ 697252 w 4519987"/>
                    <a:gd name="connsiteY142" fmla="*/ 657225 h 4496940"/>
                    <a:gd name="connsiteX143" fmla="*/ 840127 w 4519987"/>
                    <a:gd name="connsiteY143" fmla="*/ 533400 h 4496940"/>
                    <a:gd name="connsiteX144" fmla="*/ 887752 w 4519987"/>
                    <a:gd name="connsiteY144" fmla="*/ 504825 h 4496940"/>
                    <a:gd name="connsiteX145" fmla="*/ 1167152 w 4519987"/>
                    <a:gd name="connsiteY145" fmla="*/ 311150 h 4496940"/>
                    <a:gd name="connsiteX146" fmla="*/ 1268752 w 4519987"/>
                    <a:gd name="connsiteY146" fmla="*/ 285750 h 4496940"/>
                    <a:gd name="connsiteX147" fmla="*/ 1411627 w 4519987"/>
                    <a:gd name="connsiteY147" fmla="*/ 190500 h 4496940"/>
                    <a:gd name="connsiteX148" fmla="*/ 1449727 w 4519987"/>
                    <a:gd name="connsiteY148" fmla="*/ 161925 h 4496940"/>
                    <a:gd name="connsiteX149" fmla="*/ 1525927 w 4519987"/>
                    <a:gd name="connsiteY149" fmla="*/ 152400 h 4496940"/>
                    <a:gd name="connsiteX150" fmla="*/ 1583077 w 4519987"/>
                    <a:gd name="connsiteY150" fmla="*/ 142875 h 4496940"/>
                    <a:gd name="connsiteX151" fmla="*/ 1716427 w 4519987"/>
                    <a:gd name="connsiteY151" fmla="*/ 123825 h 4496940"/>
                    <a:gd name="connsiteX152" fmla="*/ 1811677 w 4519987"/>
                    <a:gd name="connsiteY152" fmla="*/ 114300 h 4496940"/>
                    <a:gd name="connsiteX153" fmla="*/ 1859302 w 4519987"/>
                    <a:gd name="connsiteY153" fmla="*/ 104775 h 4496940"/>
                    <a:gd name="connsiteX154" fmla="*/ 1916452 w 4519987"/>
                    <a:gd name="connsiteY154" fmla="*/ 95250 h 4496940"/>
                    <a:gd name="connsiteX155" fmla="*/ 2030752 w 4519987"/>
                    <a:gd name="connsiteY155" fmla="*/ 66675 h 4496940"/>
                    <a:gd name="connsiteX156" fmla="*/ 2097427 w 4519987"/>
                    <a:gd name="connsiteY156" fmla="*/ 47625 h 4496940"/>
                    <a:gd name="connsiteX157" fmla="*/ 2164102 w 4519987"/>
                    <a:gd name="connsiteY157" fmla="*/ 38100 h 4496940"/>
                    <a:gd name="connsiteX158" fmla="*/ 2392702 w 4519987"/>
                    <a:gd name="connsiteY15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16727 w 4519987"/>
                    <a:gd name="connsiteY30" fmla="*/ 904875 h 4496940"/>
                    <a:gd name="connsiteX31" fmla="*/ 4135777 w 4519987"/>
                    <a:gd name="connsiteY31" fmla="*/ 933450 h 4496940"/>
                    <a:gd name="connsiteX32" fmla="*/ 4164352 w 4519987"/>
                    <a:gd name="connsiteY32" fmla="*/ 990600 h 4496940"/>
                    <a:gd name="connsiteX33" fmla="*/ 4173877 w 4519987"/>
                    <a:gd name="connsiteY33" fmla="*/ 1019175 h 4496940"/>
                    <a:gd name="connsiteX34" fmla="*/ 4192927 w 4519987"/>
                    <a:gd name="connsiteY34" fmla="*/ 1057275 h 4496940"/>
                    <a:gd name="connsiteX35" fmla="*/ 4202452 w 4519987"/>
                    <a:gd name="connsiteY35" fmla="*/ 1085850 h 4496940"/>
                    <a:gd name="connsiteX36" fmla="*/ 4250077 w 4519987"/>
                    <a:gd name="connsiteY36" fmla="*/ 1143000 h 4496940"/>
                    <a:gd name="connsiteX37" fmla="*/ 4259602 w 4519987"/>
                    <a:gd name="connsiteY37" fmla="*/ 1190625 h 4496940"/>
                    <a:gd name="connsiteX38" fmla="*/ 4307227 w 4519987"/>
                    <a:gd name="connsiteY38" fmla="*/ 1266825 h 4496940"/>
                    <a:gd name="connsiteX39" fmla="*/ 4345327 w 4519987"/>
                    <a:gd name="connsiteY39" fmla="*/ 1362075 h 4496940"/>
                    <a:gd name="connsiteX40" fmla="*/ 4373902 w 4519987"/>
                    <a:gd name="connsiteY40" fmla="*/ 1428750 h 4496940"/>
                    <a:gd name="connsiteX41" fmla="*/ 4392952 w 4519987"/>
                    <a:gd name="connsiteY41" fmla="*/ 1552575 h 4496940"/>
                    <a:gd name="connsiteX42" fmla="*/ 4402477 w 4519987"/>
                    <a:gd name="connsiteY42" fmla="*/ 1590675 h 4496940"/>
                    <a:gd name="connsiteX43" fmla="*/ 4431052 w 4519987"/>
                    <a:gd name="connsiteY43" fmla="*/ 1685925 h 4496940"/>
                    <a:gd name="connsiteX44" fmla="*/ 4519952 w 4519987"/>
                    <a:gd name="connsiteY44" fmla="*/ 2181225 h 4496940"/>
                    <a:gd name="connsiteX45" fmla="*/ 4446927 w 4519987"/>
                    <a:gd name="connsiteY45" fmla="*/ 2768600 h 4496940"/>
                    <a:gd name="connsiteX46" fmla="*/ 4383427 w 4519987"/>
                    <a:gd name="connsiteY46" fmla="*/ 2990850 h 4496940"/>
                    <a:gd name="connsiteX47" fmla="*/ 4278652 w 4519987"/>
                    <a:gd name="connsiteY47" fmla="*/ 3248025 h 4496940"/>
                    <a:gd name="connsiteX48" fmla="*/ 4259602 w 4519987"/>
                    <a:gd name="connsiteY48" fmla="*/ 3276600 h 4496940"/>
                    <a:gd name="connsiteX49" fmla="*/ 4221502 w 4519987"/>
                    <a:gd name="connsiteY49" fmla="*/ 3333750 h 4496940"/>
                    <a:gd name="connsiteX50" fmla="*/ 4211977 w 4519987"/>
                    <a:gd name="connsiteY50" fmla="*/ 3362325 h 4496940"/>
                    <a:gd name="connsiteX51" fmla="*/ 4183402 w 4519987"/>
                    <a:gd name="connsiteY51" fmla="*/ 3400425 h 4496940"/>
                    <a:gd name="connsiteX52" fmla="*/ 4164352 w 4519987"/>
                    <a:gd name="connsiteY52" fmla="*/ 3429000 h 4496940"/>
                    <a:gd name="connsiteX53" fmla="*/ 4088152 w 4519987"/>
                    <a:gd name="connsiteY53" fmla="*/ 3495675 h 4496940"/>
                    <a:gd name="connsiteX54" fmla="*/ 4059577 w 4519987"/>
                    <a:gd name="connsiteY54" fmla="*/ 3533775 h 4496940"/>
                    <a:gd name="connsiteX55" fmla="*/ 4002427 w 4519987"/>
                    <a:gd name="connsiteY55" fmla="*/ 3600450 h 4496940"/>
                    <a:gd name="connsiteX56" fmla="*/ 3983377 w 4519987"/>
                    <a:gd name="connsiteY56" fmla="*/ 3629025 h 4496940"/>
                    <a:gd name="connsiteX57" fmla="*/ 3954802 w 4519987"/>
                    <a:gd name="connsiteY57" fmla="*/ 3648075 h 4496940"/>
                    <a:gd name="connsiteX58" fmla="*/ 3907177 w 4519987"/>
                    <a:gd name="connsiteY58" fmla="*/ 3686175 h 4496940"/>
                    <a:gd name="connsiteX59" fmla="*/ 3869077 w 4519987"/>
                    <a:gd name="connsiteY59" fmla="*/ 3724275 h 4496940"/>
                    <a:gd name="connsiteX60" fmla="*/ 3792877 w 4519987"/>
                    <a:gd name="connsiteY60" fmla="*/ 3781425 h 4496940"/>
                    <a:gd name="connsiteX61" fmla="*/ 3783352 w 4519987"/>
                    <a:gd name="connsiteY61" fmla="*/ 3810000 h 4496940"/>
                    <a:gd name="connsiteX62" fmla="*/ 3745252 w 4519987"/>
                    <a:gd name="connsiteY62" fmla="*/ 3819525 h 4496940"/>
                    <a:gd name="connsiteX63" fmla="*/ 3678577 w 4519987"/>
                    <a:gd name="connsiteY63" fmla="*/ 3848100 h 4496940"/>
                    <a:gd name="connsiteX64" fmla="*/ 3659527 w 4519987"/>
                    <a:gd name="connsiteY64" fmla="*/ 3971925 h 4496940"/>
                    <a:gd name="connsiteX65" fmla="*/ 3630952 w 4519987"/>
                    <a:gd name="connsiteY65" fmla="*/ 4010025 h 4496940"/>
                    <a:gd name="connsiteX66" fmla="*/ 3621427 w 4519987"/>
                    <a:gd name="connsiteY66" fmla="*/ 4038600 h 4496940"/>
                    <a:gd name="connsiteX67" fmla="*/ 3554752 w 4519987"/>
                    <a:gd name="connsiteY67" fmla="*/ 4095750 h 4496940"/>
                    <a:gd name="connsiteX68" fmla="*/ 3516652 w 4519987"/>
                    <a:gd name="connsiteY68" fmla="*/ 4114800 h 4496940"/>
                    <a:gd name="connsiteX69" fmla="*/ 3497602 w 4519987"/>
                    <a:gd name="connsiteY69" fmla="*/ 4143375 h 4496940"/>
                    <a:gd name="connsiteX70" fmla="*/ 3383302 w 4519987"/>
                    <a:gd name="connsiteY70" fmla="*/ 4210050 h 4496940"/>
                    <a:gd name="connsiteX71" fmla="*/ 3335677 w 4519987"/>
                    <a:gd name="connsiteY71" fmla="*/ 4238625 h 4496940"/>
                    <a:gd name="connsiteX72" fmla="*/ 3288052 w 4519987"/>
                    <a:gd name="connsiteY72" fmla="*/ 4248150 h 4496940"/>
                    <a:gd name="connsiteX73" fmla="*/ 3240427 w 4519987"/>
                    <a:gd name="connsiteY73" fmla="*/ 4267200 h 4496940"/>
                    <a:gd name="connsiteX74" fmla="*/ 3068977 w 4519987"/>
                    <a:gd name="connsiteY74" fmla="*/ 4286250 h 4496940"/>
                    <a:gd name="connsiteX75" fmla="*/ 2935627 w 4519987"/>
                    <a:gd name="connsiteY75" fmla="*/ 4333875 h 4496940"/>
                    <a:gd name="connsiteX76" fmla="*/ 2811802 w 4519987"/>
                    <a:gd name="connsiteY76" fmla="*/ 4371975 h 4496940"/>
                    <a:gd name="connsiteX77" fmla="*/ 2745127 w 4519987"/>
                    <a:gd name="connsiteY77" fmla="*/ 4410075 h 4496940"/>
                    <a:gd name="connsiteX78" fmla="*/ 2697502 w 4519987"/>
                    <a:gd name="connsiteY78" fmla="*/ 4429125 h 4496940"/>
                    <a:gd name="connsiteX79" fmla="*/ 2640352 w 4519987"/>
                    <a:gd name="connsiteY79" fmla="*/ 4457700 h 4496940"/>
                    <a:gd name="connsiteX80" fmla="*/ 2583202 w 4519987"/>
                    <a:gd name="connsiteY80" fmla="*/ 4467225 h 4496940"/>
                    <a:gd name="connsiteX81" fmla="*/ 2545102 w 4519987"/>
                    <a:gd name="connsiteY81" fmla="*/ 4486275 h 4496940"/>
                    <a:gd name="connsiteX82" fmla="*/ 2306977 w 4519987"/>
                    <a:gd name="connsiteY82" fmla="*/ 4476750 h 4496940"/>
                    <a:gd name="connsiteX83" fmla="*/ 2202202 w 4519987"/>
                    <a:gd name="connsiteY83" fmla="*/ 4457700 h 4496940"/>
                    <a:gd name="connsiteX84" fmla="*/ 2126002 w 4519987"/>
                    <a:gd name="connsiteY84" fmla="*/ 4429125 h 4496940"/>
                    <a:gd name="connsiteX85" fmla="*/ 1935502 w 4519987"/>
                    <a:gd name="connsiteY85" fmla="*/ 4400550 h 4496940"/>
                    <a:gd name="connsiteX86" fmla="*/ 1821202 w 4519987"/>
                    <a:gd name="connsiteY86" fmla="*/ 4371975 h 4496940"/>
                    <a:gd name="connsiteX87" fmla="*/ 1754527 w 4519987"/>
                    <a:gd name="connsiteY87" fmla="*/ 4352925 h 4496940"/>
                    <a:gd name="connsiteX88" fmla="*/ 1687852 w 4519987"/>
                    <a:gd name="connsiteY88" fmla="*/ 4343400 h 4496940"/>
                    <a:gd name="connsiteX89" fmla="*/ 1573552 w 4519987"/>
                    <a:gd name="connsiteY89" fmla="*/ 4305300 h 4496940"/>
                    <a:gd name="connsiteX90" fmla="*/ 1402102 w 4519987"/>
                    <a:gd name="connsiteY90" fmla="*/ 4276725 h 4496940"/>
                    <a:gd name="connsiteX91" fmla="*/ 1287802 w 4519987"/>
                    <a:gd name="connsiteY91" fmla="*/ 4229100 h 4496940"/>
                    <a:gd name="connsiteX92" fmla="*/ 1221127 w 4519987"/>
                    <a:gd name="connsiteY92" fmla="*/ 4200525 h 4496940"/>
                    <a:gd name="connsiteX93" fmla="*/ 1144927 w 4519987"/>
                    <a:gd name="connsiteY93" fmla="*/ 4171950 h 4496940"/>
                    <a:gd name="connsiteX94" fmla="*/ 1087777 w 4519987"/>
                    <a:gd name="connsiteY94" fmla="*/ 4143375 h 4496940"/>
                    <a:gd name="connsiteX95" fmla="*/ 1030627 w 4519987"/>
                    <a:gd name="connsiteY95" fmla="*/ 4124325 h 4496940"/>
                    <a:gd name="connsiteX96" fmla="*/ 925852 w 4519987"/>
                    <a:gd name="connsiteY96" fmla="*/ 4067175 h 4496940"/>
                    <a:gd name="connsiteX97" fmla="*/ 830602 w 4519987"/>
                    <a:gd name="connsiteY97" fmla="*/ 3981450 h 4496940"/>
                    <a:gd name="connsiteX98" fmla="*/ 763927 w 4519987"/>
                    <a:gd name="connsiteY98" fmla="*/ 3914775 h 4496940"/>
                    <a:gd name="connsiteX99" fmla="*/ 725827 w 4519987"/>
                    <a:gd name="connsiteY99" fmla="*/ 3876675 h 4496940"/>
                    <a:gd name="connsiteX100" fmla="*/ 697252 w 4519987"/>
                    <a:gd name="connsiteY100" fmla="*/ 3838575 h 4496940"/>
                    <a:gd name="connsiteX101" fmla="*/ 640102 w 4519987"/>
                    <a:gd name="connsiteY101" fmla="*/ 3781425 h 4496940"/>
                    <a:gd name="connsiteX102" fmla="*/ 611527 w 4519987"/>
                    <a:gd name="connsiteY102" fmla="*/ 3733800 h 4496940"/>
                    <a:gd name="connsiteX103" fmla="*/ 554377 w 4519987"/>
                    <a:gd name="connsiteY103" fmla="*/ 3657600 h 4496940"/>
                    <a:gd name="connsiteX104" fmla="*/ 525802 w 4519987"/>
                    <a:gd name="connsiteY104" fmla="*/ 3609975 h 4496940"/>
                    <a:gd name="connsiteX105" fmla="*/ 497227 w 4519987"/>
                    <a:gd name="connsiteY105" fmla="*/ 3552825 h 4496940"/>
                    <a:gd name="connsiteX106" fmla="*/ 440077 w 4519987"/>
                    <a:gd name="connsiteY106" fmla="*/ 3495675 h 4496940"/>
                    <a:gd name="connsiteX107" fmla="*/ 411502 w 4519987"/>
                    <a:gd name="connsiteY107" fmla="*/ 3448050 h 4496940"/>
                    <a:gd name="connsiteX108" fmla="*/ 278152 w 4519987"/>
                    <a:gd name="connsiteY108" fmla="*/ 3257550 h 4496940"/>
                    <a:gd name="connsiteX109" fmla="*/ 249577 w 4519987"/>
                    <a:gd name="connsiteY109" fmla="*/ 3200400 h 4496940"/>
                    <a:gd name="connsiteX110" fmla="*/ 240052 w 4519987"/>
                    <a:gd name="connsiteY110" fmla="*/ 3162300 h 4496940"/>
                    <a:gd name="connsiteX111" fmla="*/ 221002 w 4519987"/>
                    <a:gd name="connsiteY111" fmla="*/ 3105150 h 4496940"/>
                    <a:gd name="connsiteX112" fmla="*/ 173377 w 4519987"/>
                    <a:gd name="connsiteY112" fmla="*/ 3019425 h 4496940"/>
                    <a:gd name="connsiteX113" fmla="*/ 144802 w 4519987"/>
                    <a:gd name="connsiteY113" fmla="*/ 2924175 h 4496940"/>
                    <a:gd name="connsiteX114" fmla="*/ 68602 w 4519987"/>
                    <a:gd name="connsiteY114" fmla="*/ 2724150 h 4496940"/>
                    <a:gd name="connsiteX115" fmla="*/ 49552 w 4519987"/>
                    <a:gd name="connsiteY115" fmla="*/ 2638425 h 4496940"/>
                    <a:gd name="connsiteX116" fmla="*/ 40027 w 4519987"/>
                    <a:gd name="connsiteY116" fmla="*/ 2562225 h 4496940"/>
                    <a:gd name="connsiteX117" fmla="*/ 30502 w 4519987"/>
                    <a:gd name="connsiteY117" fmla="*/ 2514600 h 4496940"/>
                    <a:gd name="connsiteX118" fmla="*/ 11452 w 4519987"/>
                    <a:gd name="connsiteY118" fmla="*/ 2400300 h 4496940"/>
                    <a:gd name="connsiteX119" fmla="*/ 20977 w 4519987"/>
                    <a:gd name="connsiteY119" fmla="*/ 1905000 h 4496940"/>
                    <a:gd name="connsiteX120" fmla="*/ 30502 w 4519987"/>
                    <a:gd name="connsiteY120" fmla="*/ 1838325 h 4496940"/>
                    <a:gd name="connsiteX121" fmla="*/ 49552 w 4519987"/>
                    <a:gd name="connsiteY121" fmla="*/ 1781175 h 4496940"/>
                    <a:gd name="connsiteX122" fmla="*/ 59077 w 4519987"/>
                    <a:gd name="connsiteY122" fmla="*/ 1743075 h 4496940"/>
                    <a:gd name="connsiteX123" fmla="*/ 78127 w 4519987"/>
                    <a:gd name="connsiteY123" fmla="*/ 1685925 h 4496940"/>
                    <a:gd name="connsiteX124" fmla="*/ 87652 w 4519987"/>
                    <a:gd name="connsiteY124" fmla="*/ 1638300 h 4496940"/>
                    <a:gd name="connsiteX125" fmla="*/ 106702 w 4519987"/>
                    <a:gd name="connsiteY125" fmla="*/ 1590675 h 4496940"/>
                    <a:gd name="connsiteX126" fmla="*/ 135277 w 4519987"/>
                    <a:gd name="connsiteY126" fmla="*/ 1504950 h 4496940"/>
                    <a:gd name="connsiteX127" fmla="*/ 154327 w 4519987"/>
                    <a:gd name="connsiteY127" fmla="*/ 1419225 h 4496940"/>
                    <a:gd name="connsiteX128" fmla="*/ 230527 w 4519987"/>
                    <a:gd name="connsiteY128" fmla="*/ 1276350 h 4496940"/>
                    <a:gd name="connsiteX129" fmla="*/ 240052 w 4519987"/>
                    <a:gd name="connsiteY129" fmla="*/ 1247775 h 4496940"/>
                    <a:gd name="connsiteX130" fmla="*/ 268627 w 4519987"/>
                    <a:gd name="connsiteY130" fmla="*/ 1200150 h 4496940"/>
                    <a:gd name="connsiteX131" fmla="*/ 287677 w 4519987"/>
                    <a:gd name="connsiteY131" fmla="*/ 1152525 h 4496940"/>
                    <a:gd name="connsiteX132" fmla="*/ 316252 w 4519987"/>
                    <a:gd name="connsiteY132" fmla="*/ 1114425 h 4496940"/>
                    <a:gd name="connsiteX133" fmla="*/ 363877 w 4519987"/>
                    <a:gd name="connsiteY133" fmla="*/ 1038225 h 4496940"/>
                    <a:gd name="connsiteX134" fmla="*/ 382927 w 4519987"/>
                    <a:gd name="connsiteY134" fmla="*/ 1009650 h 4496940"/>
                    <a:gd name="connsiteX135" fmla="*/ 440077 w 4519987"/>
                    <a:gd name="connsiteY135" fmla="*/ 904875 h 4496940"/>
                    <a:gd name="connsiteX136" fmla="*/ 478177 w 4519987"/>
                    <a:gd name="connsiteY136" fmla="*/ 857250 h 4496940"/>
                    <a:gd name="connsiteX137" fmla="*/ 497227 w 4519987"/>
                    <a:gd name="connsiteY137" fmla="*/ 828675 h 4496940"/>
                    <a:gd name="connsiteX138" fmla="*/ 535327 w 4519987"/>
                    <a:gd name="connsiteY138" fmla="*/ 800100 h 4496940"/>
                    <a:gd name="connsiteX139" fmla="*/ 602002 w 4519987"/>
                    <a:gd name="connsiteY139" fmla="*/ 733425 h 4496940"/>
                    <a:gd name="connsiteX140" fmla="*/ 668677 w 4519987"/>
                    <a:gd name="connsiteY140" fmla="*/ 676275 h 4496940"/>
                    <a:gd name="connsiteX141" fmla="*/ 697252 w 4519987"/>
                    <a:gd name="connsiteY141" fmla="*/ 657225 h 4496940"/>
                    <a:gd name="connsiteX142" fmla="*/ 840127 w 4519987"/>
                    <a:gd name="connsiteY142" fmla="*/ 533400 h 4496940"/>
                    <a:gd name="connsiteX143" fmla="*/ 887752 w 4519987"/>
                    <a:gd name="connsiteY143" fmla="*/ 504825 h 4496940"/>
                    <a:gd name="connsiteX144" fmla="*/ 1167152 w 4519987"/>
                    <a:gd name="connsiteY144" fmla="*/ 311150 h 4496940"/>
                    <a:gd name="connsiteX145" fmla="*/ 1268752 w 4519987"/>
                    <a:gd name="connsiteY145" fmla="*/ 285750 h 4496940"/>
                    <a:gd name="connsiteX146" fmla="*/ 1411627 w 4519987"/>
                    <a:gd name="connsiteY146" fmla="*/ 190500 h 4496940"/>
                    <a:gd name="connsiteX147" fmla="*/ 1449727 w 4519987"/>
                    <a:gd name="connsiteY147" fmla="*/ 161925 h 4496940"/>
                    <a:gd name="connsiteX148" fmla="*/ 1525927 w 4519987"/>
                    <a:gd name="connsiteY148" fmla="*/ 152400 h 4496940"/>
                    <a:gd name="connsiteX149" fmla="*/ 1583077 w 4519987"/>
                    <a:gd name="connsiteY149" fmla="*/ 142875 h 4496940"/>
                    <a:gd name="connsiteX150" fmla="*/ 1716427 w 4519987"/>
                    <a:gd name="connsiteY150" fmla="*/ 123825 h 4496940"/>
                    <a:gd name="connsiteX151" fmla="*/ 1811677 w 4519987"/>
                    <a:gd name="connsiteY151" fmla="*/ 114300 h 4496940"/>
                    <a:gd name="connsiteX152" fmla="*/ 1859302 w 4519987"/>
                    <a:gd name="connsiteY152" fmla="*/ 104775 h 4496940"/>
                    <a:gd name="connsiteX153" fmla="*/ 1916452 w 4519987"/>
                    <a:gd name="connsiteY153" fmla="*/ 95250 h 4496940"/>
                    <a:gd name="connsiteX154" fmla="*/ 2030752 w 4519987"/>
                    <a:gd name="connsiteY154" fmla="*/ 66675 h 4496940"/>
                    <a:gd name="connsiteX155" fmla="*/ 2097427 w 4519987"/>
                    <a:gd name="connsiteY155" fmla="*/ 47625 h 4496940"/>
                    <a:gd name="connsiteX156" fmla="*/ 2164102 w 4519987"/>
                    <a:gd name="connsiteY156" fmla="*/ 38100 h 4496940"/>
                    <a:gd name="connsiteX157" fmla="*/ 2392702 w 4519987"/>
                    <a:gd name="connsiteY15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35777 w 4519987"/>
                    <a:gd name="connsiteY30" fmla="*/ 933450 h 4496940"/>
                    <a:gd name="connsiteX31" fmla="*/ 4164352 w 4519987"/>
                    <a:gd name="connsiteY31" fmla="*/ 990600 h 4496940"/>
                    <a:gd name="connsiteX32" fmla="*/ 4173877 w 4519987"/>
                    <a:gd name="connsiteY32" fmla="*/ 1019175 h 4496940"/>
                    <a:gd name="connsiteX33" fmla="*/ 4192927 w 4519987"/>
                    <a:gd name="connsiteY33" fmla="*/ 1057275 h 4496940"/>
                    <a:gd name="connsiteX34" fmla="*/ 4202452 w 4519987"/>
                    <a:gd name="connsiteY34" fmla="*/ 1085850 h 4496940"/>
                    <a:gd name="connsiteX35" fmla="*/ 4250077 w 4519987"/>
                    <a:gd name="connsiteY35" fmla="*/ 1143000 h 4496940"/>
                    <a:gd name="connsiteX36" fmla="*/ 4259602 w 4519987"/>
                    <a:gd name="connsiteY36" fmla="*/ 1190625 h 4496940"/>
                    <a:gd name="connsiteX37" fmla="*/ 4307227 w 4519987"/>
                    <a:gd name="connsiteY37" fmla="*/ 1266825 h 4496940"/>
                    <a:gd name="connsiteX38" fmla="*/ 4345327 w 4519987"/>
                    <a:gd name="connsiteY38" fmla="*/ 1362075 h 4496940"/>
                    <a:gd name="connsiteX39" fmla="*/ 4373902 w 4519987"/>
                    <a:gd name="connsiteY39" fmla="*/ 1428750 h 4496940"/>
                    <a:gd name="connsiteX40" fmla="*/ 4392952 w 4519987"/>
                    <a:gd name="connsiteY40" fmla="*/ 1552575 h 4496940"/>
                    <a:gd name="connsiteX41" fmla="*/ 4402477 w 4519987"/>
                    <a:gd name="connsiteY41" fmla="*/ 1590675 h 4496940"/>
                    <a:gd name="connsiteX42" fmla="*/ 4431052 w 4519987"/>
                    <a:gd name="connsiteY42" fmla="*/ 1685925 h 4496940"/>
                    <a:gd name="connsiteX43" fmla="*/ 4519952 w 4519987"/>
                    <a:gd name="connsiteY43" fmla="*/ 2181225 h 4496940"/>
                    <a:gd name="connsiteX44" fmla="*/ 4446927 w 4519987"/>
                    <a:gd name="connsiteY44" fmla="*/ 2768600 h 4496940"/>
                    <a:gd name="connsiteX45" fmla="*/ 4383427 w 4519987"/>
                    <a:gd name="connsiteY45" fmla="*/ 2990850 h 4496940"/>
                    <a:gd name="connsiteX46" fmla="*/ 4278652 w 4519987"/>
                    <a:gd name="connsiteY46" fmla="*/ 3248025 h 4496940"/>
                    <a:gd name="connsiteX47" fmla="*/ 4259602 w 4519987"/>
                    <a:gd name="connsiteY47" fmla="*/ 3276600 h 4496940"/>
                    <a:gd name="connsiteX48" fmla="*/ 4221502 w 4519987"/>
                    <a:gd name="connsiteY48" fmla="*/ 3333750 h 4496940"/>
                    <a:gd name="connsiteX49" fmla="*/ 4211977 w 4519987"/>
                    <a:gd name="connsiteY49" fmla="*/ 3362325 h 4496940"/>
                    <a:gd name="connsiteX50" fmla="*/ 4183402 w 4519987"/>
                    <a:gd name="connsiteY50" fmla="*/ 3400425 h 4496940"/>
                    <a:gd name="connsiteX51" fmla="*/ 4164352 w 4519987"/>
                    <a:gd name="connsiteY51" fmla="*/ 3429000 h 4496940"/>
                    <a:gd name="connsiteX52" fmla="*/ 4088152 w 4519987"/>
                    <a:gd name="connsiteY52" fmla="*/ 3495675 h 4496940"/>
                    <a:gd name="connsiteX53" fmla="*/ 4059577 w 4519987"/>
                    <a:gd name="connsiteY53" fmla="*/ 3533775 h 4496940"/>
                    <a:gd name="connsiteX54" fmla="*/ 4002427 w 4519987"/>
                    <a:gd name="connsiteY54" fmla="*/ 3600450 h 4496940"/>
                    <a:gd name="connsiteX55" fmla="*/ 3983377 w 4519987"/>
                    <a:gd name="connsiteY55" fmla="*/ 3629025 h 4496940"/>
                    <a:gd name="connsiteX56" fmla="*/ 3954802 w 4519987"/>
                    <a:gd name="connsiteY56" fmla="*/ 3648075 h 4496940"/>
                    <a:gd name="connsiteX57" fmla="*/ 3907177 w 4519987"/>
                    <a:gd name="connsiteY57" fmla="*/ 3686175 h 4496940"/>
                    <a:gd name="connsiteX58" fmla="*/ 3869077 w 4519987"/>
                    <a:gd name="connsiteY58" fmla="*/ 3724275 h 4496940"/>
                    <a:gd name="connsiteX59" fmla="*/ 3792877 w 4519987"/>
                    <a:gd name="connsiteY59" fmla="*/ 3781425 h 4496940"/>
                    <a:gd name="connsiteX60" fmla="*/ 3783352 w 4519987"/>
                    <a:gd name="connsiteY60" fmla="*/ 3810000 h 4496940"/>
                    <a:gd name="connsiteX61" fmla="*/ 3745252 w 4519987"/>
                    <a:gd name="connsiteY61" fmla="*/ 3819525 h 4496940"/>
                    <a:gd name="connsiteX62" fmla="*/ 3678577 w 4519987"/>
                    <a:gd name="connsiteY62" fmla="*/ 3848100 h 4496940"/>
                    <a:gd name="connsiteX63" fmla="*/ 3659527 w 4519987"/>
                    <a:gd name="connsiteY63" fmla="*/ 3971925 h 4496940"/>
                    <a:gd name="connsiteX64" fmla="*/ 3630952 w 4519987"/>
                    <a:gd name="connsiteY64" fmla="*/ 4010025 h 4496940"/>
                    <a:gd name="connsiteX65" fmla="*/ 3621427 w 4519987"/>
                    <a:gd name="connsiteY65" fmla="*/ 4038600 h 4496940"/>
                    <a:gd name="connsiteX66" fmla="*/ 3554752 w 4519987"/>
                    <a:gd name="connsiteY66" fmla="*/ 4095750 h 4496940"/>
                    <a:gd name="connsiteX67" fmla="*/ 3516652 w 4519987"/>
                    <a:gd name="connsiteY67" fmla="*/ 4114800 h 4496940"/>
                    <a:gd name="connsiteX68" fmla="*/ 3497602 w 4519987"/>
                    <a:gd name="connsiteY68" fmla="*/ 4143375 h 4496940"/>
                    <a:gd name="connsiteX69" fmla="*/ 3383302 w 4519987"/>
                    <a:gd name="connsiteY69" fmla="*/ 4210050 h 4496940"/>
                    <a:gd name="connsiteX70" fmla="*/ 3335677 w 4519987"/>
                    <a:gd name="connsiteY70" fmla="*/ 4238625 h 4496940"/>
                    <a:gd name="connsiteX71" fmla="*/ 3288052 w 4519987"/>
                    <a:gd name="connsiteY71" fmla="*/ 4248150 h 4496940"/>
                    <a:gd name="connsiteX72" fmla="*/ 3240427 w 4519987"/>
                    <a:gd name="connsiteY72" fmla="*/ 4267200 h 4496940"/>
                    <a:gd name="connsiteX73" fmla="*/ 3068977 w 4519987"/>
                    <a:gd name="connsiteY73" fmla="*/ 4286250 h 4496940"/>
                    <a:gd name="connsiteX74" fmla="*/ 2935627 w 4519987"/>
                    <a:gd name="connsiteY74" fmla="*/ 4333875 h 4496940"/>
                    <a:gd name="connsiteX75" fmla="*/ 2811802 w 4519987"/>
                    <a:gd name="connsiteY75" fmla="*/ 4371975 h 4496940"/>
                    <a:gd name="connsiteX76" fmla="*/ 2745127 w 4519987"/>
                    <a:gd name="connsiteY76" fmla="*/ 4410075 h 4496940"/>
                    <a:gd name="connsiteX77" fmla="*/ 2697502 w 4519987"/>
                    <a:gd name="connsiteY77" fmla="*/ 4429125 h 4496940"/>
                    <a:gd name="connsiteX78" fmla="*/ 2640352 w 4519987"/>
                    <a:gd name="connsiteY78" fmla="*/ 4457700 h 4496940"/>
                    <a:gd name="connsiteX79" fmla="*/ 2583202 w 4519987"/>
                    <a:gd name="connsiteY79" fmla="*/ 4467225 h 4496940"/>
                    <a:gd name="connsiteX80" fmla="*/ 2545102 w 4519987"/>
                    <a:gd name="connsiteY80" fmla="*/ 4486275 h 4496940"/>
                    <a:gd name="connsiteX81" fmla="*/ 2306977 w 4519987"/>
                    <a:gd name="connsiteY81" fmla="*/ 4476750 h 4496940"/>
                    <a:gd name="connsiteX82" fmla="*/ 2202202 w 4519987"/>
                    <a:gd name="connsiteY82" fmla="*/ 4457700 h 4496940"/>
                    <a:gd name="connsiteX83" fmla="*/ 2126002 w 4519987"/>
                    <a:gd name="connsiteY83" fmla="*/ 4429125 h 4496940"/>
                    <a:gd name="connsiteX84" fmla="*/ 1935502 w 4519987"/>
                    <a:gd name="connsiteY84" fmla="*/ 4400550 h 4496940"/>
                    <a:gd name="connsiteX85" fmla="*/ 1821202 w 4519987"/>
                    <a:gd name="connsiteY85" fmla="*/ 4371975 h 4496940"/>
                    <a:gd name="connsiteX86" fmla="*/ 1754527 w 4519987"/>
                    <a:gd name="connsiteY86" fmla="*/ 4352925 h 4496940"/>
                    <a:gd name="connsiteX87" fmla="*/ 1687852 w 4519987"/>
                    <a:gd name="connsiteY87" fmla="*/ 4343400 h 4496940"/>
                    <a:gd name="connsiteX88" fmla="*/ 1573552 w 4519987"/>
                    <a:gd name="connsiteY88" fmla="*/ 4305300 h 4496940"/>
                    <a:gd name="connsiteX89" fmla="*/ 1402102 w 4519987"/>
                    <a:gd name="connsiteY89" fmla="*/ 4276725 h 4496940"/>
                    <a:gd name="connsiteX90" fmla="*/ 1287802 w 4519987"/>
                    <a:gd name="connsiteY90" fmla="*/ 4229100 h 4496940"/>
                    <a:gd name="connsiteX91" fmla="*/ 1221127 w 4519987"/>
                    <a:gd name="connsiteY91" fmla="*/ 4200525 h 4496940"/>
                    <a:gd name="connsiteX92" fmla="*/ 1144927 w 4519987"/>
                    <a:gd name="connsiteY92" fmla="*/ 4171950 h 4496940"/>
                    <a:gd name="connsiteX93" fmla="*/ 1087777 w 4519987"/>
                    <a:gd name="connsiteY93" fmla="*/ 4143375 h 4496940"/>
                    <a:gd name="connsiteX94" fmla="*/ 1030627 w 4519987"/>
                    <a:gd name="connsiteY94" fmla="*/ 4124325 h 4496940"/>
                    <a:gd name="connsiteX95" fmla="*/ 925852 w 4519987"/>
                    <a:gd name="connsiteY95" fmla="*/ 4067175 h 4496940"/>
                    <a:gd name="connsiteX96" fmla="*/ 830602 w 4519987"/>
                    <a:gd name="connsiteY96" fmla="*/ 3981450 h 4496940"/>
                    <a:gd name="connsiteX97" fmla="*/ 763927 w 4519987"/>
                    <a:gd name="connsiteY97" fmla="*/ 3914775 h 4496940"/>
                    <a:gd name="connsiteX98" fmla="*/ 725827 w 4519987"/>
                    <a:gd name="connsiteY98" fmla="*/ 3876675 h 4496940"/>
                    <a:gd name="connsiteX99" fmla="*/ 697252 w 4519987"/>
                    <a:gd name="connsiteY99" fmla="*/ 3838575 h 4496940"/>
                    <a:gd name="connsiteX100" fmla="*/ 640102 w 4519987"/>
                    <a:gd name="connsiteY100" fmla="*/ 3781425 h 4496940"/>
                    <a:gd name="connsiteX101" fmla="*/ 611527 w 4519987"/>
                    <a:gd name="connsiteY101" fmla="*/ 3733800 h 4496940"/>
                    <a:gd name="connsiteX102" fmla="*/ 554377 w 4519987"/>
                    <a:gd name="connsiteY102" fmla="*/ 3657600 h 4496940"/>
                    <a:gd name="connsiteX103" fmla="*/ 525802 w 4519987"/>
                    <a:gd name="connsiteY103" fmla="*/ 3609975 h 4496940"/>
                    <a:gd name="connsiteX104" fmla="*/ 497227 w 4519987"/>
                    <a:gd name="connsiteY104" fmla="*/ 3552825 h 4496940"/>
                    <a:gd name="connsiteX105" fmla="*/ 440077 w 4519987"/>
                    <a:gd name="connsiteY105" fmla="*/ 3495675 h 4496940"/>
                    <a:gd name="connsiteX106" fmla="*/ 411502 w 4519987"/>
                    <a:gd name="connsiteY106" fmla="*/ 3448050 h 4496940"/>
                    <a:gd name="connsiteX107" fmla="*/ 278152 w 4519987"/>
                    <a:gd name="connsiteY107" fmla="*/ 3257550 h 4496940"/>
                    <a:gd name="connsiteX108" fmla="*/ 249577 w 4519987"/>
                    <a:gd name="connsiteY108" fmla="*/ 3200400 h 4496940"/>
                    <a:gd name="connsiteX109" fmla="*/ 240052 w 4519987"/>
                    <a:gd name="connsiteY109" fmla="*/ 3162300 h 4496940"/>
                    <a:gd name="connsiteX110" fmla="*/ 221002 w 4519987"/>
                    <a:gd name="connsiteY110" fmla="*/ 3105150 h 4496940"/>
                    <a:gd name="connsiteX111" fmla="*/ 173377 w 4519987"/>
                    <a:gd name="connsiteY111" fmla="*/ 3019425 h 4496940"/>
                    <a:gd name="connsiteX112" fmla="*/ 144802 w 4519987"/>
                    <a:gd name="connsiteY112" fmla="*/ 2924175 h 4496940"/>
                    <a:gd name="connsiteX113" fmla="*/ 68602 w 4519987"/>
                    <a:gd name="connsiteY113" fmla="*/ 2724150 h 4496940"/>
                    <a:gd name="connsiteX114" fmla="*/ 49552 w 4519987"/>
                    <a:gd name="connsiteY114" fmla="*/ 2638425 h 4496940"/>
                    <a:gd name="connsiteX115" fmla="*/ 40027 w 4519987"/>
                    <a:gd name="connsiteY115" fmla="*/ 2562225 h 4496940"/>
                    <a:gd name="connsiteX116" fmla="*/ 30502 w 4519987"/>
                    <a:gd name="connsiteY116" fmla="*/ 2514600 h 4496940"/>
                    <a:gd name="connsiteX117" fmla="*/ 11452 w 4519987"/>
                    <a:gd name="connsiteY117" fmla="*/ 2400300 h 4496940"/>
                    <a:gd name="connsiteX118" fmla="*/ 20977 w 4519987"/>
                    <a:gd name="connsiteY118" fmla="*/ 1905000 h 4496940"/>
                    <a:gd name="connsiteX119" fmla="*/ 30502 w 4519987"/>
                    <a:gd name="connsiteY119" fmla="*/ 1838325 h 4496940"/>
                    <a:gd name="connsiteX120" fmla="*/ 49552 w 4519987"/>
                    <a:gd name="connsiteY120" fmla="*/ 1781175 h 4496940"/>
                    <a:gd name="connsiteX121" fmla="*/ 59077 w 4519987"/>
                    <a:gd name="connsiteY121" fmla="*/ 1743075 h 4496940"/>
                    <a:gd name="connsiteX122" fmla="*/ 78127 w 4519987"/>
                    <a:gd name="connsiteY122" fmla="*/ 1685925 h 4496940"/>
                    <a:gd name="connsiteX123" fmla="*/ 87652 w 4519987"/>
                    <a:gd name="connsiteY123" fmla="*/ 1638300 h 4496940"/>
                    <a:gd name="connsiteX124" fmla="*/ 106702 w 4519987"/>
                    <a:gd name="connsiteY124" fmla="*/ 1590675 h 4496940"/>
                    <a:gd name="connsiteX125" fmla="*/ 135277 w 4519987"/>
                    <a:gd name="connsiteY125" fmla="*/ 1504950 h 4496940"/>
                    <a:gd name="connsiteX126" fmla="*/ 154327 w 4519987"/>
                    <a:gd name="connsiteY126" fmla="*/ 1419225 h 4496940"/>
                    <a:gd name="connsiteX127" fmla="*/ 230527 w 4519987"/>
                    <a:gd name="connsiteY127" fmla="*/ 1276350 h 4496940"/>
                    <a:gd name="connsiteX128" fmla="*/ 240052 w 4519987"/>
                    <a:gd name="connsiteY128" fmla="*/ 1247775 h 4496940"/>
                    <a:gd name="connsiteX129" fmla="*/ 268627 w 4519987"/>
                    <a:gd name="connsiteY129" fmla="*/ 1200150 h 4496940"/>
                    <a:gd name="connsiteX130" fmla="*/ 287677 w 4519987"/>
                    <a:gd name="connsiteY130" fmla="*/ 1152525 h 4496940"/>
                    <a:gd name="connsiteX131" fmla="*/ 316252 w 4519987"/>
                    <a:gd name="connsiteY131" fmla="*/ 1114425 h 4496940"/>
                    <a:gd name="connsiteX132" fmla="*/ 363877 w 4519987"/>
                    <a:gd name="connsiteY132" fmla="*/ 1038225 h 4496940"/>
                    <a:gd name="connsiteX133" fmla="*/ 382927 w 4519987"/>
                    <a:gd name="connsiteY133" fmla="*/ 1009650 h 4496940"/>
                    <a:gd name="connsiteX134" fmla="*/ 440077 w 4519987"/>
                    <a:gd name="connsiteY134" fmla="*/ 904875 h 4496940"/>
                    <a:gd name="connsiteX135" fmla="*/ 478177 w 4519987"/>
                    <a:gd name="connsiteY135" fmla="*/ 857250 h 4496940"/>
                    <a:gd name="connsiteX136" fmla="*/ 497227 w 4519987"/>
                    <a:gd name="connsiteY136" fmla="*/ 828675 h 4496940"/>
                    <a:gd name="connsiteX137" fmla="*/ 535327 w 4519987"/>
                    <a:gd name="connsiteY137" fmla="*/ 800100 h 4496940"/>
                    <a:gd name="connsiteX138" fmla="*/ 602002 w 4519987"/>
                    <a:gd name="connsiteY138" fmla="*/ 733425 h 4496940"/>
                    <a:gd name="connsiteX139" fmla="*/ 668677 w 4519987"/>
                    <a:gd name="connsiteY139" fmla="*/ 676275 h 4496940"/>
                    <a:gd name="connsiteX140" fmla="*/ 697252 w 4519987"/>
                    <a:gd name="connsiteY140" fmla="*/ 657225 h 4496940"/>
                    <a:gd name="connsiteX141" fmla="*/ 840127 w 4519987"/>
                    <a:gd name="connsiteY141" fmla="*/ 533400 h 4496940"/>
                    <a:gd name="connsiteX142" fmla="*/ 887752 w 4519987"/>
                    <a:gd name="connsiteY142" fmla="*/ 504825 h 4496940"/>
                    <a:gd name="connsiteX143" fmla="*/ 1167152 w 4519987"/>
                    <a:gd name="connsiteY143" fmla="*/ 311150 h 4496940"/>
                    <a:gd name="connsiteX144" fmla="*/ 1268752 w 4519987"/>
                    <a:gd name="connsiteY144" fmla="*/ 285750 h 4496940"/>
                    <a:gd name="connsiteX145" fmla="*/ 1411627 w 4519987"/>
                    <a:gd name="connsiteY145" fmla="*/ 190500 h 4496940"/>
                    <a:gd name="connsiteX146" fmla="*/ 1449727 w 4519987"/>
                    <a:gd name="connsiteY146" fmla="*/ 161925 h 4496940"/>
                    <a:gd name="connsiteX147" fmla="*/ 1525927 w 4519987"/>
                    <a:gd name="connsiteY147" fmla="*/ 152400 h 4496940"/>
                    <a:gd name="connsiteX148" fmla="*/ 1583077 w 4519987"/>
                    <a:gd name="connsiteY148" fmla="*/ 142875 h 4496940"/>
                    <a:gd name="connsiteX149" fmla="*/ 1716427 w 4519987"/>
                    <a:gd name="connsiteY149" fmla="*/ 123825 h 4496940"/>
                    <a:gd name="connsiteX150" fmla="*/ 1811677 w 4519987"/>
                    <a:gd name="connsiteY150" fmla="*/ 114300 h 4496940"/>
                    <a:gd name="connsiteX151" fmla="*/ 1859302 w 4519987"/>
                    <a:gd name="connsiteY151" fmla="*/ 104775 h 4496940"/>
                    <a:gd name="connsiteX152" fmla="*/ 1916452 w 4519987"/>
                    <a:gd name="connsiteY152" fmla="*/ 95250 h 4496940"/>
                    <a:gd name="connsiteX153" fmla="*/ 2030752 w 4519987"/>
                    <a:gd name="connsiteY153" fmla="*/ 66675 h 4496940"/>
                    <a:gd name="connsiteX154" fmla="*/ 2097427 w 4519987"/>
                    <a:gd name="connsiteY154" fmla="*/ 47625 h 4496940"/>
                    <a:gd name="connsiteX155" fmla="*/ 2164102 w 4519987"/>
                    <a:gd name="connsiteY155" fmla="*/ 38100 h 4496940"/>
                    <a:gd name="connsiteX156" fmla="*/ 2392702 w 4519987"/>
                    <a:gd name="connsiteY15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35777 w 4519987"/>
                    <a:gd name="connsiteY29" fmla="*/ 933450 h 4496940"/>
                    <a:gd name="connsiteX30" fmla="*/ 4164352 w 4519987"/>
                    <a:gd name="connsiteY30" fmla="*/ 990600 h 4496940"/>
                    <a:gd name="connsiteX31" fmla="*/ 4173877 w 4519987"/>
                    <a:gd name="connsiteY31" fmla="*/ 1019175 h 4496940"/>
                    <a:gd name="connsiteX32" fmla="*/ 4192927 w 4519987"/>
                    <a:gd name="connsiteY32" fmla="*/ 1057275 h 4496940"/>
                    <a:gd name="connsiteX33" fmla="*/ 4202452 w 4519987"/>
                    <a:gd name="connsiteY33" fmla="*/ 1085850 h 4496940"/>
                    <a:gd name="connsiteX34" fmla="*/ 4250077 w 4519987"/>
                    <a:gd name="connsiteY34" fmla="*/ 1143000 h 4496940"/>
                    <a:gd name="connsiteX35" fmla="*/ 4259602 w 4519987"/>
                    <a:gd name="connsiteY35" fmla="*/ 1190625 h 4496940"/>
                    <a:gd name="connsiteX36" fmla="*/ 4307227 w 4519987"/>
                    <a:gd name="connsiteY36" fmla="*/ 1266825 h 4496940"/>
                    <a:gd name="connsiteX37" fmla="*/ 4345327 w 4519987"/>
                    <a:gd name="connsiteY37" fmla="*/ 1362075 h 4496940"/>
                    <a:gd name="connsiteX38" fmla="*/ 4373902 w 4519987"/>
                    <a:gd name="connsiteY38" fmla="*/ 1428750 h 4496940"/>
                    <a:gd name="connsiteX39" fmla="*/ 4392952 w 4519987"/>
                    <a:gd name="connsiteY39" fmla="*/ 1552575 h 4496940"/>
                    <a:gd name="connsiteX40" fmla="*/ 4402477 w 4519987"/>
                    <a:gd name="connsiteY40" fmla="*/ 1590675 h 4496940"/>
                    <a:gd name="connsiteX41" fmla="*/ 4431052 w 4519987"/>
                    <a:gd name="connsiteY41" fmla="*/ 1685925 h 4496940"/>
                    <a:gd name="connsiteX42" fmla="*/ 4519952 w 4519987"/>
                    <a:gd name="connsiteY42" fmla="*/ 2181225 h 4496940"/>
                    <a:gd name="connsiteX43" fmla="*/ 4446927 w 4519987"/>
                    <a:gd name="connsiteY43" fmla="*/ 2768600 h 4496940"/>
                    <a:gd name="connsiteX44" fmla="*/ 4383427 w 4519987"/>
                    <a:gd name="connsiteY44" fmla="*/ 2990850 h 4496940"/>
                    <a:gd name="connsiteX45" fmla="*/ 4278652 w 4519987"/>
                    <a:gd name="connsiteY45" fmla="*/ 3248025 h 4496940"/>
                    <a:gd name="connsiteX46" fmla="*/ 4259602 w 4519987"/>
                    <a:gd name="connsiteY46" fmla="*/ 3276600 h 4496940"/>
                    <a:gd name="connsiteX47" fmla="*/ 4221502 w 4519987"/>
                    <a:gd name="connsiteY47" fmla="*/ 3333750 h 4496940"/>
                    <a:gd name="connsiteX48" fmla="*/ 4211977 w 4519987"/>
                    <a:gd name="connsiteY48" fmla="*/ 3362325 h 4496940"/>
                    <a:gd name="connsiteX49" fmla="*/ 4183402 w 4519987"/>
                    <a:gd name="connsiteY49" fmla="*/ 3400425 h 4496940"/>
                    <a:gd name="connsiteX50" fmla="*/ 4164352 w 4519987"/>
                    <a:gd name="connsiteY50" fmla="*/ 3429000 h 4496940"/>
                    <a:gd name="connsiteX51" fmla="*/ 4088152 w 4519987"/>
                    <a:gd name="connsiteY51" fmla="*/ 3495675 h 4496940"/>
                    <a:gd name="connsiteX52" fmla="*/ 4059577 w 4519987"/>
                    <a:gd name="connsiteY52" fmla="*/ 3533775 h 4496940"/>
                    <a:gd name="connsiteX53" fmla="*/ 4002427 w 4519987"/>
                    <a:gd name="connsiteY53" fmla="*/ 3600450 h 4496940"/>
                    <a:gd name="connsiteX54" fmla="*/ 3983377 w 4519987"/>
                    <a:gd name="connsiteY54" fmla="*/ 3629025 h 4496940"/>
                    <a:gd name="connsiteX55" fmla="*/ 3954802 w 4519987"/>
                    <a:gd name="connsiteY55" fmla="*/ 3648075 h 4496940"/>
                    <a:gd name="connsiteX56" fmla="*/ 3907177 w 4519987"/>
                    <a:gd name="connsiteY56" fmla="*/ 3686175 h 4496940"/>
                    <a:gd name="connsiteX57" fmla="*/ 3869077 w 4519987"/>
                    <a:gd name="connsiteY57" fmla="*/ 3724275 h 4496940"/>
                    <a:gd name="connsiteX58" fmla="*/ 3792877 w 4519987"/>
                    <a:gd name="connsiteY58" fmla="*/ 3781425 h 4496940"/>
                    <a:gd name="connsiteX59" fmla="*/ 3783352 w 4519987"/>
                    <a:gd name="connsiteY59" fmla="*/ 3810000 h 4496940"/>
                    <a:gd name="connsiteX60" fmla="*/ 3745252 w 4519987"/>
                    <a:gd name="connsiteY60" fmla="*/ 3819525 h 4496940"/>
                    <a:gd name="connsiteX61" fmla="*/ 3678577 w 4519987"/>
                    <a:gd name="connsiteY61" fmla="*/ 3848100 h 4496940"/>
                    <a:gd name="connsiteX62" fmla="*/ 3659527 w 4519987"/>
                    <a:gd name="connsiteY62" fmla="*/ 3971925 h 4496940"/>
                    <a:gd name="connsiteX63" fmla="*/ 3630952 w 4519987"/>
                    <a:gd name="connsiteY63" fmla="*/ 4010025 h 4496940"/>
                    <a:gd name="connsiteX64" fmla="*/ 3621427 w 4519987"/>
                    <a:gd name="connsiteY64" fmla="*/ 4038600 h 4496940"/>
                    <a:gd name="connsiteX65" fmla="*/ 3554752 w 4519987"/>
                    <a:gd name="connsiteY65" fmla="*/ 4095750 h 4496940"/>
                    <a:gd name="connsiteX66" fmla="*/ 3516652 w 4519987"/>
                    <a:gd name="connsiteY66" fmla="*/ 4114800 h 4496940"/>
                    <a:gd name="connsiteX67" fmla="*/ 3497602 w 4519987"/>
                    <a:gd name="connsiteY67" fmla="*/ 4143375 h 4496940"/>
                    <a:gd name="connsiteX68" fmla="*/ 3383302 w 4519987"/>
                    <a:gd name="connsiteY68" fmla="*/ 4210050 h 4496940"/>
                    <a:gd name="connsiteX69" fmla="*/ 3335677 w 4519987"/>
                    <a:gd name="connsiteY69" fmla="*/ 4238625 h 4496940"/>
                    <a:gd name="connsiteX70" fmla="*/ 3288052 w 4519987"/>
                    <a:gd name="connsiteY70" fmla="*/ 4248150 h 4496940"/>
                    <a:gd name="connsiteX71" fmla="*/ 3240427 w 4519987"/>
                    <a:gd name="connsiteY71" fmla="*/ 4267200 h 4496940"/>
                    <a:gd name="connsiteX72" fmla="*/ 3068977 w 4519987"/>
                    <a:gd name="connsiteY72" fmla="*/ 4286250 h 4496940"/>
                    <a:gd name="connsiteX73" fmla="*/ 2935627 w 4519987"/>
                    <a:gd name="connsiteY73" fmla="*/ 4333875 h 4496940"/>
                    <a:gd name="connsiteX74" fmla="*/ 2811802 w 4519987"/>
                    <a:gd name="connsiteY74" fmla="*/ 4371975 h 4496940"/>
                    <a:gd name="connsiteX75" fmla="*/ 2745127 w 4519987"/>
                    <a:gd name="connsiteY75" fmla="*/ 4410075 h 4496940"/>
                    <a:gd name="connsiteX76" fmla="*/ 2697502 w 4519987"/>
                    <a:gd name="connsiteY76" fmla="*/ 4429125 h 4496940"/>
                    <a:gd name="connsiteX77" fmla="*/ 2640352 w 4519987"/>
                    <a:gd name="connsiteY77" fmla="*/ 4457700 h 4496940"/>
                    <a:gd name="connsiteX78" fmla="*/ 2583202 w 4519987"/>
                    <a:gd name="connsiteY78" fmla="*/ 4467225 h 4496940"/>
                    <a:gd name="connsiteX79" fmla="*/ 2545102 w 4519987"/>
                    <a:gd name="connsiteY79" fmla="*/ 4486275 h 4496940"/>
                    <a:gd name="connsiteX80" fmla="*/ 2306977 w 4519987"/>
                    <a:gd name="connsiteY80" fmla="*/ 4476750 h 4496940"/>
                    <a:gd name="connsiteX81" fmla="*/ 2202202 w 4519987"/>
                    <a:gd name="connsiteY81" fmla="*/ 4457700 h 4496940"/>
                    <a:gd name="connsiteX82" fmla="*/ 2126002 w 4519987"/>
                    <a:gd name="connsiteY82" fmla="*/ 4429125 h 4496940"/>
                    <a:gd name="connsiteX83" fmla="*/ 1935502 w 4519987"/>
                    <a:gd name="connsiteY83" fmla="*/ 4400550 h 4496940"/>
                    <a:gd name="connsiteX84" fmla="*/ 1821202 w 4519987"/>
                    <a:gd name="connsiteY84" fmla="*/ 4371975 h 4496940"/>
                    <a:gd name="connsiteX85" fmla="*/ 1754527 w 4519987"/>
                    <a:gd name="connsiteY85" fmla="*/ 4352925 h 4496940"/>
                    <a:gd name="connsiteX86" fmla="*/ 1687852 w 4519987"/>
                    <a:gd name="connsiteY86" fmla="*/ 4343400 h 4496940"/>
                    <a:gd name="connsiteX87" fmla="*/ 1573552 w 4519987"/>
                    <a:gd name="connsiteY87" fmla="*/ 4305300 h 4496940"/>
                    <a:gd name="connsiteX88" fmla="*/ 1402102 w 4519987"/>
                    <a:gd name="connsiteY88" fmla="*/ 4276725 h 4496940"/>
                    <a:gd name="connsiteX89" fmla="*/ 1287802 w 4519987"/>
                    <a:gd name="connsiteY89" fmla="*/ 4229100 h 4496940"/>
                    <a:gd name="connsiteX90" fmla="*/ 1221127 w 4519987"/>
                    <a:gd name="connsiteY90" fmla="*/ 4200525 h 4496940"/>
                    <a:gd name="connsiteX91" fmla="*/ 1144927 w 4519987"/>
                    <a:gd name="connsiteY91" fmla="*/ 4171950 h 4496940"/>
                    <a:gd name="connsiteX92" fmla="*/ 1087777 w 4519987"/>
                    <a:gd name="connsiteY92" fmla="*/ 4143375 h 4496940"/>
                    <a:gd name="connsiteX93" fmla="*/ 1030627 w 4519987"/>
                    <a:gd name="connsiteY93" fmla="*/ 4124325 h 4496940"/>
                    <a:gd name="connsiteX94" fmla="*/ 925852 w 4519987"/>
                    <a:gd name="connsiteY94" fmla="*/ 4067175 h 4496940"/>
                    <a:gd name="connsiteX95" fmla="*/ 830602 w 4519987"/>
                    <a:gd name="connsiteY95" fmla="*/ 3981450 h 4496940"/>
                    <a:gd name="connsiteX96" fmla="*/ 763927 w 4519987"/>
                    <a:gd name="connsiteY96" fmla="*/ 3914775 h 4496940"/>
                    <a:gd name="connsiteX97" fmla="*/ 725827 w 4519987"/>
                    <a:gd name="connsiteY97" fmla="*/ 3876675 h 4496940"/>
                    <a:gd name="connsiteX98" fmla="*/ 697252 w 4519987"/>
                    <a:gd name="connsiteY98" fmla="*/ 3838575 h 4496940"/>
                    <a:gd name="connsiteX99" fmla="*/ 640102 w 4519987"/>
                    <a:gd name="connsiteY99" fmla="*/ 3781425 h 4496940"/>
                    <a:gd name="connsiteX100" fmla="*/ 611527 w 4519987"/>
                    <a:gd name="connsiteY100" fmla="*/ 3733800 h 4496940"/>
                    <a:gd name="connsiteX101" fmla="*/ 554377 w 4519987"/>
                    <a:gd name="connsiteY101" fmla="*/ 3657600 h 4496940"/>
                    <a:gd name="connsiteX102" fmla="*/ 525802 w 4519987"/>
                    <a:gd name="connsiteY102" fmla="*/ 3609975 h 4496940"/>
                    <a:gd name="connsiteX103" fmla="*/ 497227 w 4519987"/>
                    <a:gd name="connsiteY103" fmla="*/ 3552825 h 4496940"/>
                    <a:gd name="connsiteX104" fmla="*/ 440077 w 4519987"/>
                    <a:gd name="connsiteY104" fmla="*/ 3495675 h 4496940"/>
                    <a:gd name="connsiteX105" fmla="*/ 411502 w 4519987"/>
                    <a:gd name="connsiteY105" fmla="*/ 3448050 h 4496940"/>
                    <a:gd name="connsiteX106" fmla="*/ 278152 w 4519987"/>
                    <a:gd name="connsiteY106" fmla="*/ 3257550 h 4496940"/>
                    <a:gd name="connsiteX107" fmla="*/ 249577 w 4519987"/>
                    <a:gd name="connsiteY107" fmla="*/ 3200400 h 4496940"/>
                    <a:gd name="connsiteX108" fmla="*/ 240052 w 4519987"/>
                    <a:gd name="connsiteY108" fmla="*/ 3162300 h 4496940"/>
                    <a:gd name="connsiteX109" fmla="*/ 221002 w 4519987"/>
                    <a:gd name="connsiteY109" fmla="*/ 3105150 h 4496940"/>
                    <a:gd name="connsiteX110" fmla="*/ 173377 w 4519987"/>
                    <a:gd name="connsiteY110" fmla="*/ 3019425 h 4496940"/>
                    <a:gd name="connsiteX111" fmla="*/ 144802 w 4519987"/>
                    <a:gd name="connsiteY111" fmla="*/ 2924175 h 4496940"/>
                    <a:gd name="connsiteX112" fmla="*/ 68602 w 4519987"/>
                    <a:gd name="connsiteY112" fmla="*/ 2724150 h 4496940"/>
                    <a:gd name="connsiteX113" fmla="*/ 49552 w 4519987"/>
                    <a:gd name="connsiteY113" fmla="*/ 2638425 h 4496940"/>
                    <a:gd name="connsiteX114" fmla="*/ 40027 w 4519987"/>
                    <a:gd name="connsiteY114" fmla="*/ 2562225 h 4496940"/>
                    <a:gd name="connsiteX115" fmla="*/ 30502 w 4519987"/>
                    <a:gd name="connsiteY115" fmla="*/ 2514600 h 4496940"/>
                    <a:gd name="connsiteX116" fmla="*/ 11452 w 4519987"/>
                    <a:gd name="connsiteY116" fmla="*/ 2400300 h 4496940"/>
                    <a:gd name="connsiteX117" fmla="*/ 20977 w 4519987"/>
                    <a:gd name="connsiteY117" fmla="*/ 1905000 h 4496940"/>
                    <a:gd name="connsiteX118" fmla="*/ 30502 w 4519987"/>
                    <a:gd name="connsiteY118" fmla="*/ 1838325 h 4496940"/>
                    <a:gd name="connsiteX119" fmla="*/ 49552 w 4519987"/>
                    <a:gd name="connsiteY119" fmla="*/ 1781175 h 4496940"/>
                    <a:gd name="connsiteX120" fmla="*/ 59077 w 4519987"/>
                    <a:gd name="connsiteY120" fmla="*/ 1743075 h 4496940"/>
                    <a:gd name="connsiteX121" fmla="*/ 78127 w 4519987"/>
                    <a:gd name="connsiteY121" fmla="*/ 1685925 h 4496940"/>
                    <a:gd name="connsiteX122" fmla="*/ 87652 w 4519987"/>
                    <a:gd name="connsiteY122" fmla="*/ 1638300 h 4496940"/>
                    <a:gd name="connsiteX123" fmla="*/ 106702 w 4519987"/>
                    <a:gd name="connsiteY123" fmla="*/ 1590675 h 4496940"/>
                    <a:gd name="connsiteX124" fmla="*/ 135277 w 4519987"/>
                    <a:gd name="connsiteY124" fmla="*/ 1504950 h 4496940"/>
                    <a:gd name="connsiteX125" fmla="*/ 154327 w 4519987"/>
                    <a:gd name="connsiteY125" fmla="*/ 1419225 h 4496940"/>
                    <a:gd name="connsiteX126" fmla="*/ 230527 w 4519987"/>
                    <a:gd name="connsiteY126" fmla="*/ 1276350 h 4496940"/>
                    <a:gd name="connsiteX127" fmla="*/ 240052 w 4519987"/>
                    <a:gd name="connsiteY127" fmla="*/ 1247775 h 4496940"/>
                    <a:gd name="connsiteX128" fmla="*/ 268627 w 4519987"/>
                    <a:gd name="connsiteY128" fmla="*/ 1200150 h 4496940"/>
                    <a:gd name="connsiteX129" fmla="*/ 287677 w 4519987"/>
                    <a:gd name="connsiteY129" fmla="*/ 1152525 h 4496940"/>
                    <a:gd name="connsiteX130" fmla="*/ 316252 w 4519987"/>
                    <a:gd name="connsiteY130" fmla="*/ 1114425 h 4496940"/>
                    <a:gd name="connsiteX131" fmla="*/ 363877 w 4519987"/>
                    <a:gd name="connsiteY131" fmla="*/ 1038225 h 4496940"/>
                    <a:gd name="connsiteX132" fmla="*/ 382927 w 4519987"/>
                    <a:gd name="connsiteY132" fmla="*/ 1009650 h 4496940"/>
                    <a:gd name="connsiteX133" fmla="*/ 440077 w 4519987"/>
                    <a:gd name="connsiteY133" fmla="*/ 904875 h 4496940"/>
                    <a:gd name="connsiteX134" fmla="*/ 478177 w 4519987"/>
                    <a:gd name="connsiteY134" fmla="*/ 857250 h 4496940"/>
                    <a:gd name="connsiteX135" fmla="*/ 497227 w 4519987"/>
                    <a:gd name="connsiteY135" fmla="*/ 828675 h 4496940"/>
                    <a:gd name="connsiteX136" fmla="*/ 535327 w 4519987"/>
                    <a:gd name="connsiteY136" fmla="*/ 800100 h 4496940"/>
                    <a:gd name="connsiteX137" fmla="*/ 602002 w 4519987"/>
                    <a:gd name="connsiteY137" fmla="*/ 733425 h 4496940"/>
                    <a:gd name="connsiteX138" fmla="*/ 668677 w 4519987"/>
                    <a:gd name="connsiteY138" fmla="*/ 676275 h 4496940"/>
                    <a:gd name="connsiteX139" fmla="*/ 697252 w 4519987"/>
                    <a:gd name="connsiteY139" fmla="*/ 657225 h 4496940"/>
                    <a:gd name="connsiteX140" fmla="*/ 840127 w 4519987"/>
                    <a:gd name="connsiteY140" fmla="*/ 533400 h 4496940"/>
                    <a:gd name="connsiteX141" fmla="*/ 887752 w 4519987"/>
                    <a:gd name="connsiteY141" fmla="*/ 504825 h 4496940"/>
                    <a:gd name="connsiteX142" fmla="*/ 1167152 w 4519987"/>
                    <a:gd name="connsiteY142" fmla="*/ 311150 h 4496940"/>
                    <a:gd name="connsiteX143" fmla="*/ 1268752 w 4519987"/>
                    <a:gd name="connsiteY143" fmla="*/ 285750 h 4496940"/>
                    <a:gd name="connsiteX144" fmla="*/ 1411627 w 4519987"/>
                    <a:gd name="connsiteY144" fmla="*/ 190500 h 4496940"/>
                    <a:gd name="connsiteX145" fmla="*/ 1449727 w 4519987"/>
                    <a:gd name="connsiteY145" fmla="*/ 161925 h 4496940"/>
                    <a:gd name="connsiteX146" fmla="*/ 1525927 w 4519987"/>
                    <a:gd name="connsiteY146" fmla="*/ 152400 h 4496940"/>
                    <a:gd name="connsiteX147" fmla="*/ 1583077 w 4519987"/>
                    <a:gd name="connsiteY147" fmla="*/ 142875 h 4496940"/>
                    <a:gd name="connsiteX148" fmla="*/ 1716427 w 4519987"/>
                    <a:gd name="connsiteY148" fmla="*/ 123825 h 4496940"/>
                    <a:gd name="connsiteX149" fmla="*/ 1811677 w 4519987"/>
                    <a:gd name="connsiteY149" fmla="*/ 114300 h 4496940"/>
                    <a:gd name="connsiteX150" fmla="*/ 1859302 w 4519987"/>
                    <a:gd name="connsiteY150" fmla="*/ 104775 h 4496940"/>
                    <a:gd name="connsiteX151" fmla="*/ 1916452 w 4519987"/>
                    <a:gd name="connsiteY151" fmla="*/ 95250 h 4496940"/>
                    <a:gd name="connsiteX152" fmla="*/ 2030752 w 4519987"/>
                    <a:gd name="connsiteY152" fmla="*/ 66675 h 4496940"/>
                    <a:gd name="connsiteX153" fmla="*/ 2097427 w 4519987"/>
                    <a:gd name="connsiteY153" fmla="*/ 47625 h 4496940"/>
                    <a:gd name="connsiteX154" fmla="*/ 2164102 w 4519987"/>
                    <a:gd name="connsiteY154" fmla="*/ 38100 h 4496940"/>
                    <a:gd name="connsiteX155" fmla="*/ 2392702 w 4519987"/>
                    <a:gd name="connsiteY15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907177 w 4519987"/>
                    <a:gd name="connsiteY25" fmla="*/ 647700 h 4496940"/>
                    <a:gd name="connsiteX26" fmla="*/ 3935752 w 4519987"/>
                    <a:gd name="connsiteY26" fmla="*/ 676275 h 4496940"/>
                    <a:gd name="connsiteX27" fmla="*/ 4078627 w 4519987"/>
                    <a:gd name="connsiteY27" fmla="*/ 838200 h 4496940"/>
                    <a:gd name="connsiteX28" fmla="*/ 4135777 w 4519987"/>
                    <a:gd name="connsiteY28" fmla="*/ 933450 h 4496940"/>
                    <a:gd name="connsiteX29" fmla="*/ 4164352 w 4519987"/>
                    <a:gd name="connsiteY29" fmla="*/ 990600 h 4496940"/>
                    <a:gd name="connsiteX30" fmla="*/ 4173877 w 4519987"/>
                    <a:gd name="connsiteY30" fmla="*/ 1019175 h 4496940"/>
                    <a:gd name="connsiteX31" fmla="*/ 4192927 w 4519987"/>
                    <a:gd name="connsiteY31" fmla="*/ 1057275 h 4496940"/>
                    <a:gd name="connsiteX32" fmla="*/ 4202452 w 4519987"/>
                    <a:gd name="connsiteY32" fmla="*/ 1085850 h 4496940"/>
                    <a:gd name="connsiteX33" fmla="*/ 4250077 w 4519987"/>
                    <a:gd name="connsiteY33" fmla="*/ 1143000 h 4496940"/>
                    <a:gd name="connsiteX34" fmla="*/ 4259602 w 4519987"/>
                    <a:gd name="connsiteY34" fmla="*/ 1190625 h 4496940"/>
                    <a:gd name="connsiteX35" fmla="*/ 4307227 w 4519987"/>
                    <a:gd name="connsiteY35" fmla="*/ 1266825 h 4496940"/>
                    <a:gd name="connsiteX36" fmla="*/ 4345327 w 4519987"/>
                    <a:gd name="connsiteY36" fmla="*/ 1362075 h 4496940"/>
                    <a:gd name="connsiteX37" fmla="*/ 4373902 w 4519987"/>
                    <a:gd name="connsiteY37" fmla="*/ 1428750 h 4496940"/>
                    <a:gd name="connsiteX38" fmla="*/ 4392952 w 4519987"/>
                    <a:gd name="connsiteY38" fmla="*/ 1552575 h 4496940"/>
                    <a:gd name="connsiteX39" fmla="*/ 4402477 w 4519987"/>
                    <a:gd name="connsiteY39" fmla="*/ 1590675 h 4496940"/>
                    <a:gd name="connsiteX40" fmla="*/ 4431052 w 4519987"/>
                    <a:gd name="connsiteY40" fmla="*/ 1685925 h 4496940"/>
                    <a:gd name="connsiteX41" fmla="*/ 4519952 w 4519987"/>
                    <a:gd name="connsiteY41" fmla="*/ 2181225 h 4496940"/>
                    <a:gd name="connsiteX42" fmla="*/ 4446927 w 4519987"/>
                    <a:gd name="connsiteY42" fmla="*/ 2768600 h 4496940"/>
                    <a:gd name="connsiteX43" fmla="*/ 4383427 w 4519987"/>
                    <a:gd name="connsiteY43" fmla="*/ 2990850 h 4496940"/>
                    <a:gd name="connsiteX44" fmla="*/ 4278652 w 4519987"/>
                    <a:gd name="connsiteY44" fmla="*/ 3248025 h 4496940"/>
                    <a:gd name="connsiteX45" fmla="*/ 4259602 w 4519987"/>
                    <a:gd name="connsiteY45" fmla="*/ 3276600 h 4496940"/>
                    <a:gd name="connsiteX46" fmla="*/ 4221502 w 4519987"/>
                    <a:gd name="connsiteY46" fmla="*/ 3333750 h 4496940"/>
                    <a:gd name="connsiteX47" fmla="*/ 4211977 w 4519987"/>
                    <a:gd name="connsiteY47" fmla="*/ 3362325 h 4496940"/>
                    <a:gd name="connsiteX48" fmla="*/ 4183402 w 4519987"/>
                    <a:gd name="connsiteY48" fmla="*/ 3400425 h 4496940"/>
                    <a:gd name="connsiteX49" fmla="*/ 4164352 w 4519987"/>
                    <a:gd name="connsiteY49" fmla="*/ 3429000 h 4496940"/>
                    <a:gd name="connsiteX50" fmla="*/ 4088152 w 4519987"/>
                    <a:gd name="connsiteY50" fmla="*/ 3495675 h 4496940"/>
                    <a:gd name="connsiteX51" fmla="*/ 4059577 w 4519987"/>
                    <a:gd name="connsiteY51" fmla="*/ 3533775 h 4496940"/>
                    <a:gd name="connsiteX52" fmla="*/ 4002427 w 4519987"/>
                    <a:gd name="connsiteY52" fmla="*/ 3600450 h 4496940"/>
                    <a:gd name="connsiteX53" fmla="*/ 3983377 w 4519987"/>
                    <a:gd name="connsiteY53" fmla="*/ 3629025 h 4496940"/>
                    <a:gd name="connsiteX54" fmla="*/ 3954802 w 4519987"/>
                    <a:gd name="connsiteY54" fmla="*/ 3648075 h 4496940"/>
                    <a:gd name="connsiteX55" fmla="*/ 3907177 w 4519987"/>
                    <a:gd name="connsiteY55" fmla="*/ 3686175 h 4496940"/>
                    <a:gd name="connsiteX56" fmla="*/ 3869077 w 4519987"/>
                    <a:gd name="connsiteY56" fmla="*/ 3724275 h 4496940"/>
                    <a:gd name="connsiteX57" fmla="*/ 3792877 w 4519987"/>
                    <a:gd name="connsiteY57" fmla="*/ 3781425 h 4496940"/>
                    <a:gd name="connsiteX58" fmla="*/ 3783352 w 4519987"/>
                    <a:gd name="connsiteY58" fmla="*/ 3810000 h 4496940"/>
                    <a:gd name="connsiteX59" fmla="*/ 3745252 w 4519987"/>
                    <a:gd name="connsiteY59" fmla="*/ 3819525 h 4496940"/>
                    <a:gd name="connsiteX60" fmla="*/ 3678577 w 4519987"/>
                    <a:gd name="connsiteY60" fmla="*/ 3848100 h 4496940"/>
                    <a:gd name="connsiteX61" fmla="*/ 3659527 w 4519987"/>
                    <a:gd name="connsiteY61" fmla="*/ 3971925 h 4496940"/>
                    <a:gd name="connsiteX62" fmla="*/ 3630952 w 4519987"/>
                    <a:gd name="connsiteY62" fmla="*/ 4010025 h 4496940"/>
                    <a:gd name="connsiteX63" fmla="*/ 3621427 w 4519987"/>
                    <a:gd name="connsiteY63" fmla="*/ 4038600 h 4496940"/>
                    <a:gd name="connsiteX64" fmla="*/ 3554752 w 4519987"/>
                    <a:gd name="connsiteY64" fmla="*/ 4095750 h 4496940"/>
                    <a:gd name="connsiteX65" fmla="*/ 3516652 w 4519987"/>
                    <a:gd name="connsiteY65" fmla="*/ 4114800 h 4496940"/>
                    <a:gd name="connsiteX66" fmla="*/ 3497602 w 4519987"/>
                    <a:gd name="connsiteY66" fmla="*/ 4143375 h 4496940"/>
                    <a:gd name="connsiteX67" fmla="*/ 3383302 w 4519987"/>
                    <a:gd name="connsiteY67" fmla="*/ 4210050 h 4496940"/>
                    <a:gd name="connsiteX68" fmla="*/ 3335677 w 4519987"/>
                    <a:gd name="connsiteY68" fmla="*/ 4238625 h 4496940"/>
                    <a:gd name="connsiteX69" fmla="*/ 3288052 w 4519987"/>
                    <a:gd name="connsiteY69" fmla="*/ 4248150 h 4496940"/>
                    <a:gd name="connsiteX70" fmla="*/ 3240427 w 4519987"/>
                    <a:gd name="connsiteY70" fmla="*/ 4267200 h 4496940"/>
                    <a:gd name="connsiteX71" fmla="*/ 3068977 w 4519987"/>
                    <a:gd name="connsiteY71" fmla="*/ 4286250 h 4496940"/>
                    <a:gd name="connsiteX72" fmla="*/ 2935627 w 4519987"/>
                    <a:gd name="connsiteY72" fmla="*/ 4333875 h 4496940"/>
                    <a:gd name="connsiteX73" fmla="*/ 2811802 w 4519987"/>
                    <a:gd name="connsiteY73" fmla="*/ 4371975 h 4496940"/>
                    <a:gd name="connsiteX74" fmla="*/ 2745127 w 4519987"/>
                    <a:gd name="connsiteY74" fmla="*/ 4410075 h 4496940"/>
                    <a:gd name="connsiteX75" fmla="*/ 2697502 w 4519987"/>
                    <a:gd name="connsiteY75" fmla="*/ 4429125 h 4496940"/>
                    <a:gd name="connsiteX76" fmla="*/ 2640352 w 4519987"/>
                    <a:gd name="connsiteY76" fmla="*/ 4457700 h 4496940"/>
                    <a:gd name="connsiteX77" fmla="*/ 2583202 w 4519987"/>
                    <a:gd name="connsiteY77" fmla="*/ 4467225 h 4496940"/>
                    <a:gd name="connsiteX78" fmla="*/ 2545102 w 4519987"/>
                    <a:gd name="connsiteY78" fmla="*/ 4486275 h 4496940"/>
                    <a:gd name="connsiteX79" fmla="*/ 2306977 w 4519987"/>
                    <a:gd name="connsiteY79" fmla="*/ 4476750 h 4496940"/>
                    <a:gd name="connsiteX80" fmla="*/ 2202202 w 4519987"/>
                    <a:gd name="connsiteY80" fmla="*/ 4457700 h 4496940"/>
                    <a:gd name="connsiteX81" fmla="*/ 2126002 w 4519987"/>
                    <a:gd name="connsiteY81" fmla="*/ 4429125 h 4496940"/>
                    <a:gd name="connsiteX82" fmla="*/ 1935502 w 4519987"/>
                    <a:gd name="connsiteY82" fmla="*/ 4400550 h 4496940"/>
                    <a:gd name="connsiteX83" fmla="*/ 1821202 w 4519987"/>
                    <a:gd name="connsiteY83" fmla="*/ 4371975 h 4496940"/>
                    <a:gd name="connsiteX84" fmla="*/ 1754527 w 4519987"/>
                    <a:gd name="connsiteY84" fmla="*/ 4352925 h 4496940"/>
                    <a:gd name="connsiteX85" fmla="*/ 1687852 w 4519987"/>
                    <a:gd name="connsiteY85" fmla="*/ 4343400 h 4496940"/>
                    <a:gd name="connsiteX86" fmla="*/ 1573552 w 4519987"/>
                    <a:gd name="connsiteY86" fmla="*/ 4305300 h 4496940"/>
                    <a:gd name="connsiteX87" fmla="*/ 1402102 w 4519987"/>
                    <a:gd name="connsiteY87" fmla="*/ 4276725 h 4496940"/>
                    <a:gd name="connsiteX88" fmla="*/ 1287802 w 4519987"/>
                    <a:gd name="connsiteY88" fmla="*/ 4229100 h 4496940"/>
                    <a:gd name="connsiteX89" fmla="*/ 1221127 w 4519987"/>
                    <a:gd name="connsiteY89" fmla="*/ 4200525 h 4496940"/>
                    <a:gd name="connsiteX90" fmla="*/ 1144927 w 4519987"/>
                    <a:gd name="connsiteY90" fmla="*/ 4171950 h 4496940"/>
                    <a:gd name="connsiteX91" fmla="*/ 1087777 w 4519987"/>
                    <a:gd name="connsiteY91" fmla="*/ 4143375 h 4496940"/>
                    <a:gd name="connsiteX92" fmla="*/ 1030627 w 4519987"/>
                    <a:gd name="connsiteY92" fmla="*/ 4124325 h 4496940"/>
                    <a:gd name="connsiteX93" fmla="*/ 925852 w 4519987"/>
                    <a:gd name="connsiteY93" fmla="*/ 4067175 h 4496940"/>
                    <a:gd name="connsiteX94" fmla="*/ 830602 w 4519987"/>
                    <a:gd name="connsiteY94" fmla="*/ 3981450 h 4496940"/>
                    <a:gd name="connsiteX95" fmla="*/ 763927 w 4519987"/>
                    <a:gd name="connsiteY95" fmla="*/ 3914775 h 4496940"/>
                    <a:gd name="connsiteX96" fmla="*/ 725827 w 4519987"/>
                    <a:gd name="connsiteY96" fmla="*/ 3876675 h 4496940"/>
                    <a:gd name="connsiteX97" fmla="*/ 697252 w 4519987"/>
                    <a:gd name="connsiteY97" fmla="*/ 3838575 h 4496940"/>
                    <a:gd name="connsiteX98" fmla="*/ 640102 w 4519987"/>
                    <a:gd name="connsiteY98" fmla="*/ 3781425 h 4496940"/>
                    <a:gd name="connsiteX99" fmla="*/ 611527 w 4519987"/>
                    <a:gd name="connsiteY99" fmla="*/ 3733800 h 4496940"/>
                    <a:gd name="connsiteX100" fmla="*/ 554377 w 4519987"/>
                    <a:gd name="connsiteY100" fmla="*/ 3657600 h 4496940"/>
                    <a:gd name="connsiteX101" fmla="*/ 525802 w 4519987"/>
                    <a:gd name="connsiteY101" fmla="*/ 3609975 h 4496940"/>
                    <a:gd name="connsiteX102" fmla="*/ 497227 w 4519987"/>
                    <a:gd name="connsiteY102" fmla="*/ 3552825 h 4496940"/>
                    <a:gd name="connsiteX103" fmla="*/ 440077 w 4519987"/>
                    <a:gd name="connsiteY103" fmla="*/ 3495675 h 4496940"/>
                    <a:gd name="connsiteX104" fmla="*/ 411502 w 4519987"/>
                    <a:gd name="connsiteY104" fmla="*/ 3448050 h 4496940"/>
                    <a:gd name="connsiteX105" fmla="*/ 278152 w 4519987"/>
                    <a:gd name="connsiteY105" fmla="*/ 3257550 h 4496940"/>
                    <a:gd name="connsiteX106" fmla="*/ 249577 w 4519987"/>
                    <a:gd name="connsiteY106" fmla="*/ 3200400 h 4496940"/>
                    <a:gd name="connsiteX107" fmla="*/ 240052 w 4519987"/>
                    <a:gd name="connsiteY107" fmla="*/ 3162300 h 4496940"/>
                    <a:gd name="connsiteX108" fmla="*/ 221002 w 4519987"/>
                    <a:gd name="connsiteY108" fmla="*/ 3105150 h 4496940"/>
                    <a:gd name="connsiteX109" fmla="*/ 173377 w 4519987"/>
                    <a:gd name="connsiteY109" fmla="*/ 3019425 h 4496940"/>
                    <a:gd name="connsiteX110" fmla="*/ 144802 w 4519987"/>
                    <a:gd name="connsiteY110" fmla="*/ 2924175 h 4496940"/>
                    <a:gd name="connsiteX111" fmla="*/ 68602 w 4519987"/>
                    <a:gd name="connsiteY111" fmla="*/ 2724150 h 4496940"/>
                    <a:gd name="connsiteX112" fmla="*/ 49552 w 4519987"/>
                    <a:gd name="connsiteY112" fmla="*/ 2638425 h 4496940"/>
                    <a:gd name="connsiteX113" fmla="*/ 40027 w 4519987"/>
                    <a:gd name="connsiteY113" fmla="*/ 2562225 h 4496940"/>
                    <a:gd name="connsiteX114" fmla="*/ 30502 w 4519987"/>
                    <a:gd name="connsiteY114" fmla="*/ 2514600 h 4496940"/>
                    <a:gd name="connsiteX115" fmla="*/ 11452 w 4519987"/>
                    <a:gd name="connsiteY115" fmla="*/ 2400300 h 4496940"/>
                    <a:gd name="connsiteX116" fmla="*/ 20977 w 4519987"/>
                    <a:gd name="connsiteY116" fmla="*/ 1905000 h 4496940"/>
                    <a:gd name="connsiteX117" fmla="*/ 30502 w 4519987"/>
                    <a:gd name="connsiteY117" fmla="*/ 1838325 h 4496940"/>
                    <a:gd name="connsiteX118" fmla="*/ 49552 w 4519987"/>
                    <a:gd name="connsiteY118" fmla="*/ 1781175 h 4496940"/>
                    <a:gd name="connsiteX119" fmla="*/ 59077 w 4519987"/>
                    <a:gd name="connsiteY119" fmla="*/ 1743075 h 4496940"/>
                    <a:gd name="connsiteX120" fmla="*/ 78127 w 4519987"/>
                    <a:gd name="connsiteY120" fmla="*/ 1685925 h 4496940"/>
                    <a:gd name="connsiteX121" fmla="*/ 87652 w 4519987"/>
                    <a:gd name="connsiteY121" fmla="*/ 1638300 h 4496940"/>
                    <a:gd name="connsiteX122" fmla="*/ 106702 w 4519987"/>
                    <a:gd name="connsiteY122" fmla="*/ 1590675 h 4496940"/>
                    <a:gd name="connsiteX123" fmla="*/ 135277 w 4519987"/>
                    <a:gd name="connsiteY123" fmla="*/ 1504950 h 4496940"/>
                    <a:gd name="connsiteX124" fmla="*/ 154327 w 4519987"/>
                    <a:gd name="connsiteY124" fmla="*/ 1419225 h 4496940"/>
                    <a:gd name="connsiteX125" fmla="*/ 230527 w 4519987"/>
                    <a:gd name="connsiteY125" fmla="*/ 1276350 h 4496940"/>
                    <a:gd name="connsiteX126" fmla="*/ 240052 w 4519987"/>
                    <a:gd name="connsiteY126" fmla="*/ 1247775 h 4496940"/>
                    <a:gd name="connsiteX127" fmla="*/ 268627 w 4519987"/>
                    <a:gd name="connsiteY127" fmla="*/ 1200150 h 4496940"/>
                    <a:gd name="connsiteX128" fmla="*/ 287677 w 4519987"/>
                    <a:gd name="connsiteY128" fmla="*/ 1152525 h 4496940"/>
                    <a:gd name="connsiteX129" fmla="*/ 316252 w 4519987"/>
                    <a:gd name="connsiteY129" fmla="*/ 1114425 h 4496940"/>
                    <a:gd name="connsiteX130" fmla="*/ 363877 w 4519987"/>
                    <a:gd name="connsiteY130" fmla="*/ 1038225 h 4496940"/>
                    <a:gd name="connsiteX131" fmla="*/ 382927 w 4519987"/>
                    <a:gd name="connsiteY131" fmla="*/ 1009650 h 4496940"/>
                    <a:gd name="connsiteX132" fmla="*/ 440077 w 4519987"/>
                    <a:gd name="connsiteY132" fmla="*/ 904875 h 4496940"/>
                    <a:gd name="connsiteX133" fmla="*/ 478177 w 4519987"/>
                    <a:gd name="connsiteY133" fmla="*/ 857250 h 4496940"/>
                    <a:gd name="connsiteX134" fmla="*/ 497227 w 4519987"/>
                    <a:gd name="connsiteY134" fmla="*/ 828675 h 4496940"/>
                    <a:gd name="connsiteX135" fmla="*/ 535327 w 4519987"/>
                    <a:gd name="connsiteY135" fmla="*/ 800100 h 4496940"/>
                    <a:gd name="connsiteX136" fmla="*/ 602002 w 4519987"/>
                    <a:gd name="connsiteY136" fmla="*/ 733425 h 4496940"/>
                    <a:gd name="connsiteX137" fmla="*/ 668677 w 4519987"/>
                    <a:gd name="connsiteY137" fmla="*/ 676275 h 4496940"/>
                    <a:gd name="connsiteX138" fmla="*/ 697252 w 4519987"/>
                    <a:gd name="connsiteY138" fmla="*/ 657225 h 4496940"/>
                    <a:gd name="connsiteX139" fmla="*/ 840127 w 4519987"/>
                    <a:gd name="connsiteY139" fmla="*/ 533400 h 4496940"/>
                    <a:gd name="connsiteX140" fmla="*/ 887752 w 4519987"/>
                    <a:gd name="connsiteY140" fmla="*/ 504825 h 4496940"/>
                    <a:gd name="connsiteX141" fmla="*/ 1167152 w 4519987"/>
                    <a:gd name="connsiteY141" fmla="*/ 311150 h 4496940"/>
                    <a:gd name="connsiteX142" fmla="*/ 1268752 w 4519987"/>
                    <a:gd name="connsiteY142" fmla="*/ 285750 h 4496940"/>
                    <a:gd name="connsiteX143" fmla="*/ 1411627 w 4519987"/>
                    <a:gd name="connsiteY143" fmla="*/ 190500 h 4496940"/>
                    <a:gd name="connsiteX144" fmla="*/ 1449727 w 4519987"/>
                    <a:gd name="connsiteY144" fmla="*/ 161925 h 4496940"/>
                    <a:gd name="connsiteX145" fmla="*/ 1525927 w 4519987"/>
                    <a:gd name="connsiteY145" fmla="*/ 152400 h 4496940"/>
                    <a:gd name="connsiteX146" fmla="*/ 1583077 w 4519987"/>
                    <a:gd name="connsiteY146" fmla="*/ 142875 h 4496940"/>
                    <a:gd name="connsiteX147" fmla="*/ 1716427 w 4519987"/>
                    <a:gd name="connsiteY147" fmla="*/ 123825 h 4496940"/>
                    <a:gd name="connsiteX148" fmla="*/ 1811677 w 4519987"/>
                    <a:gd name="connsiteY148" fmla="*/ 114300 h 4496940"/>
                    <a:gd name="connsiteX149" fmla="*/ 1859302 w 4519987"/>
                    <a:gd name="connsiteY149" fmla="*/ 104775 h 4496940"/>
                    <a:gd name="connsiteX150" fmla="*/ 1916452 w 4519987"/>
                    <a:gd name="connsiteY150" fmla="*/ 95250 h 4496940"/>
                    <a:gd name="connsiteX151" fmla="*/ 2030752 w 4519987"/>
                    <a:gd name="connsiteY151" fmla="*/ 66675 h 4496940"/>
                    <a:gd name="connsiteX152" fmla="*/ 2097427 w 4519987"/>
                    <a:gd name="connsiteY152" fmla="*/ 47625 h 4496940"/>
                    <a:gd name="connsiteX153" fmla="*/ 2164102 w 4519987"/>
                    <a:gd name="connsiteY153" fmla="*/ 38100 h 4496940"/>
                    <a:gd name="connsiteX154" fmla="*/ 2392702 w 4519987"/>
                    <a:gd name="connsiteY15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907177 w 4519987"/>
                    <a:gd name="connsiteY24" fmla="*/ 647700 h 4496940"/>
                    <a:gd name="connsiteX25" fmla="*/ 3935752 w 4519987"/>
                    <a:gd name="connsiteY25" fmla="*/ 676275 h 4496940"/>
                    <a:gd name="connsiteX26" fmla="*/ 4078627 w 4519987"/>
                    <a:gd name="connsiteY26" fmla="*/ 838200 h 4496940"/>
                    <a:gd name="connsiteX27" fmla="*/ 4135777 w 4519987"/>
                    <a:gd name="connsiteY27" fmla="*/ 933450 h 4496940"/>
                    <a:gd name="connsiteX28" fmla="*/ 4164352 w 4519987"/>
                    <a:gd name="connsiteY28" fmla="*/ 990600 h 4496940"/>
                    <a:gd name="connsiteX29" fmla="*/ 4173877 w 4519987"/>
                    <a:gd name="connsiteY29" fmla="*/ 1019175 h 4496940"/>
                    <a:gd name="connsiteX30" fmla="*/ 4192927 w 4519987"/>
                    <a:gd name="connsiteY30" fmla="*/ 1057275 h 4496940"/>
                    <a:gd name="connsiteX31" fmla="*/ 4202452 w 4519987"/>
                    <a:gd name="connsiteY31" fmla="*/ 1085850 h 4496940"/>
                    <a:gd name="connsiteX32" fmla="*/ 4250077 w 4519987"/>
                    <a:gd name="connsiteY32" fmla="*/ 1143000 h 4496940"/>
                    <a:gd name="connsiteX33" fmla="*/ 4259602 w 4519987"/>
                    <a:gd name="connsiteY33" fmla="*/ 1190625 h 4496940"/>
                    <a:gd name="connsiteX34" fmla="*/ 4307227 w 4519987"/>
                    <a:gd name="connsiteY34" fmla="*/ 1266825 h 4496940"/>
                    <a:gd name="connsiteX35" fmla="*/ 4345327 w 4519987"/>
                    <a:gd name="connsiteY35" fmla="*/ 1362075 h 4496940"/>
                    <a:gd name="connsiteX36" fmla="*/ 4373902 w 4519987"/>
                    <a:gd name="connsiteY36" fmla="*/ 1428750 h 4496940"/>
                    <a:gd name="connsiteX37" fmla="*/ 4392952 w 4519987"/>
                    <a:gd name="connsiteY37" fmla="*/ 1552575 h 4496940"/>
                    <a:gd name="connsiteX38" fmla="*/ 4402477 w 4519987"/>
                    <a:gd name="connsiteY38" fmla="*/ 1590675 h 4496940"/>
                    <a:gd name="connsiteX39" fmla="*/ 4431052 w 4519987"/>
                    <a:gd name="connsiteY39" fmla="*/ 1685925 h 4496940"/>
                    <a:gd name="connsiteX40" fmla="*/ 4519952 w 4519987"/>
                    <a:gd name="connsiteY40" fmla="*/ 2181225 h 4496940"/>
                    <a:gd name="connsiteX41" fmla="*/ 4446927 w 4519987"/>
                    <a:gd name="connsiteY41" fmla="*/ 2768600 h 4496940"/>
                    <a:gd name="connsiteX42" fmla="*/ 4383427 w 4519987"/>
                    <a:gd name="connsiteY42" fmla="*/ 2990850 h 4496940"/>
                    <a:gd name="connsiteX43" fmla="*/ 4278652 w 4519987"/>
                    <a:gd name="connsiteY43" fmla="*/ 3248025 h 4496940"/>
                    <a:gd name="connsiteX44" fmla="*/ 4259602 w 4519987"/>
                    <a:gd name="connsiteY44" fmla="*/ 3276600 h 4496940"/>
                    <a:gd name="connsiteX45" fmla="*/ 4221502 w 4519987"/>
                    <a:gd name="connsiteY45" fmla="*/ 3333750 h 4496940"/>
                    <a:gd name="connsiteX46" fmla="*/ 4211977 w 4519987"/>
                    <a:gd name="connsiteY46" fmla="*/ 3362325 h 4496940"/>
                    <a:gd name="connsiteX47" fmla="*/ 4183402 w 4519987"/>
                    <a:gd name="connsiteY47" fmla="*/ 3400425 h 4496940"/>
                    <a:gd name="connsiteX48" fmla="*/ 4164352 w 4519987"/>
                    <a:gd name="connsiteY48" fmla="*/ 3429000 h 4496940"/>
                    <a:gd name="connsiteX49" fmla="*/ 4088152 w 4519987"/>
                    <a:gd name="connsiteY49" fmla="*/ 3495675 h 4496940"/>
                    <a:gd name="connsiteX50" fmla="*/ 4059577 w 4519987"/>
                    <a:gd name="connsiteY50" fmla="*/ 3533775 h 4496940"/>
                    <a:gd name="connsiteX51" fmla="*/ 4002427 w 4519987"/>
                    <a:gd name="connsiteY51" fmla="*/ 3600450 h 4496940"/>
                    <a:gd name="connsiteX52" fmla="*/ 3983377 w 4519987"/>
                    <a:gd name="connsiteY52" fmla="*/ 3629025 h 4496940"/>
                    <a:gd name="connsiteX53" fmla="*/ 3954802 w 4519987"/>
                    <a:gd name="connsiteY53" fmla="*/ 3648075 h 4496940"/>
                    <a:gd name="connsiteX54" fmla="*/ 3907177 w 4519987"/>
                    <a:gd name="connsiteY54" fmla="*/ 3686175 h 4496940"/>
                    <a:gd name="connsiteX55" fmla="*/ 3869077 w 4519987"/>
                    <a:gd name="connsiteY55" fmla="*/ 3724275 h 4496940"/>
                    <a:gd name="connsiteX56" fmla="*/ 3792877 w 4519987"/>
                    <a:gd name="connsiteY56" fmla="*/ 3781425 h 4496940"/>
                    <a:gd name="connsiteX57" fmla="*/ 3783352 w 4519987"/>
                    <a:gd name="connsiteY57" fmla="*/ 3810000 h 4496940"/>
                    <a:gd name="connsiteX58" fmla="*/ 3745252 w 4519987"/>
                    <a:gd name="connsiteY58" fmla="*/ 3819525 h 4496940"/>
                    <a:gd name="connsiteX59" fmla="*/ 3678577 w 4519987"/>
                    <a:gd name="connsiteY59" fmla="*/ 3848100 h 4496940"/>
                    <a:gd name="connsiteX60" fmla="*/ 3659527 w 4519987"/>
                    <a:gd name="connsiteY60" fmla="*/ 3971925 h 4496940"/>
                    <a:gd name="connsiteX61" fmla="*/ 3630952 w 4519987"/>
                    <a:gd name="connsiteY61" fmla="*/ 4010025 h 4496940"/>
                    <a:gd name="connsiteX62" fmla="*/ 3621427 w 4519987"/>
                    <a:gd name="connsiteY62" fmla="*/ 4038600 h 4496940"/>
                    <a:gd name="connsiteX63" fmla="*/ 3554752 w 4519987"/>
                    <a:gd name="connsiteY63" fmla="*/ 4095750 h 4496940"/>
                    <a:gd name="connsiteX64" fmla="*/ 3516652 w 4519987"/>
                    <a:gd name="connsiteY64" fmla="*/ 4114800 h 4496940"/>
                    <a:gd name="connsiteX65" fmla="*/ 3497602 w 4519987"/>
                    <a:gd name="connsiteY65" fmla="*/ 4143375 h 4496940"/>
                    <a:gd name="connsiteX66" fmla="*/ 3383302 w 4519987"/>
                    <a:gd name="connsiteY66" fmla="*/ 4210050 h 4496940"/>
                    <a:gd name="connsiteX67" fmla="*/ 3335677 w 4519987"/>
                    <a:gd name="connsiteY67" fmla="*/ 4238625 h 4496940"/>
                    <a:gd name="connsiteX68" fmla="*/ 3288052 w 4519987"/>
                    <a:gd name="connsiteY68" fmla="*/ 4248150 h 4496940"/>
                    <a:gd name="connsiteX69" fmla="*/ 3240427 w 4519987"/>
                    <a:gd name="connsiteY69" fmla="*/ 4267200 h 4496940"/>
                    <a:gd name="connsiteX70" fmla="*/ 3068977 w 4519987"/>
                    <a:gd name="connsiteY70" fmla="*/ 4286250 h 4496940"/>
                    <a:gd name="connsiteX71" fmla="*/ 2935627 w 4519987"/>
                    <a:gd name="connsiteY71" fmla="*/ 4333875 h 4496940"/>
                    <a:gd name="connsiteX72" fmla="*/ 2811802 w 4519987"/>
                    <a:gd name="connsiteY72" fmla="*/ 4371975 h 4496940"/>
                    <a:gd name="connsiteX73" fmla="*/ 2745127 w 4519987"/>
                    <a:gd name="connsiteY73" fmla="*/ 4410075 h 4496940"/>
                    <a:gd name="connsiteX74" fmla="*/ 2697502 w 4519987"/>
                    <a:gd name="connsiteY74" fmla="*/ 4429125 h 4496940"/>
                    <a:gd name="connsiteX75" fmla="*/ 2640352 w 4519987"/>
                    <a:gd name="connsiteY75" fmla="*/ 4457700 h 4496940"/>
                    <a:gd name="connsiteX76" fmla="*/ 2583202 w 4519987"/>
                    <a:gd name="connsiteY76" fmla="*/ 4467225 h 4496940"/>
                    <a:gd name="connsiteX77" fmla="*/ 2545102 w 4519987"/>
                    <a:gd name="connsiteY77" fmla="*/ 4486275 h 4496940"/>
                    <a:gd name="connsiteX78" fmla="*/ 2306977 w 4519987"/>
                    <a:gd name="connsiteY78" fmla="*/ 4476750 h 4496940"/>
                    <a:gd name="connsiteX79" fmla="*/ 2202202 w 4519987"/>
                    <a:gd name="connsiteY79" fmla="*/ 4457700 h 4496940"/>
                    <a:gd name="connsiteX80" fmla="*/ 2126002 w 4519987"/>
                    <a:gd name="connsiteY80" fmla="*/ 4429125 h 4496940"/>
                    <a:gd name="connsiteX81" fmla="*/ 1935502 w 4519987"/>
                    <a:gd name="connsiteY81" fmla="*/ 4400550 h 4496940"/>
                    <a:gd name="connsiteX82" fmla="*/ 1821202 w 4519987"/>
                    <a:gd name="connsiteY82" fmla="*/ 4371975 h 4496940"/>
                    <a:gd name="connsiteX83" fmla="*/ 1754527 w 4519987"/>
                    <a:gd name="connsiteY83" fmla="*/ 4352925 h 4496940"/>
                    <a:gd name="connsiteX84" fmla="*/ 1687852 w 4519987"/>
                    <a:gd name="connsiteY84" fmla="*/ 4343400 h 4496940"/>
                    <a:gd name="connsiteX85" fmla="*/ 1573552 w 4519987"/>
                    <a:gd name="connsiteY85" fmla="*/ 4305300 h 4496940"/>
                    <a:gd name="connsiteX86" fmla="*/ 1402102 w 4519987"/>
                    <a:gd name="connsiteY86" fmla="*/ 4276725 h 4496940"/>
                    <a:gd name="connsiteX87" fmla="*/ 1287802 w 4519987"/>
                    <a:gd name="connsiteY87" fmla="*/ 4229100 h 4496940"/>
                    <a:gd name="connsiteX88" fmla="*/ 1221127 w 4519987"/>
                    <a:gd name="connsiteY88" fmla="*/ 4200525 h 4496940"/>
                    <a:gd name="connsiteX89" fmla="*/ 1144927 w 4519987"/>
                    <a:gd name="connsiteY89" fmla="*/ 4171950 h 4496940"/>
                    <a:gd name="connsiteX90" fmla="*/ 1087777 w 4519987"/>
                    <a:gd name="connsiteY90" fmla="*/ 4143375 h 4496940"/>
                    <a:gd name="connsiteX91" fmla="*/ 1030627 w 4519987"/>
                    <a:gd name="connsiteY91" fmla="*/ 4124325 h 4496940"/>
                    <a:gd name="connsiteX92" fmla="*/ 925852 w 4519987"/>
                    <a:gd name="connsiteY92" fmla="*/ 4067175 h 4496940"/>
                    <a:gd name="connsiteX93" fmla="*/ 830602 w 4519987"/>
                    <a:gd name="connsiteY93" fmla="*/ 3981450 h 4496940"/>
                    <a:gd name="connsiteX94" fmla="*/ 763927 w 4519987"/>
                    <a:gd name="connsiteY94" fmla="*/ 3914775 h 4496940"/>
                    <a:gd name="connsiteX95" fmla="*/ 725827 w 4519987"/>
                    <a:gd name="connsiteY95" fmla="*/ 3876675 h 4496940"/>
                    <a:gd name="connsiteX96" fmla="*/ 697252 w 4519987"/>
                    <a:gd name="connsiteY96" fmla="*/ 3838575 h 4496940"/>
                    <a:gd name="connsiteX97" fmla="*/ 640102 w 4519987"/>
                    <a:gd name="connsiteY97" fmla="*/ 3781425 h 4496940"/>
                    <a:gd name="connsiteX98" fmla="*/ 611527 w 4519987"/>
                    <a:gd name="connsiteY98" fmla="*/ 3733800 h 4496940"/>
                    <a:gd name="connsiteX99" fmla="*/ 554377 w 4519987"/>
                    <a:gd name="connsiteY99" fmla="*/ 3657600 h 4496940"/>
                    <a:gd name="connsiteX100" fmla="*/ 525802 w 4519987"/>
                    <a:gd name="connsiteY100" fmla="*/ 3609975 h 4496940"/>
                    <a:gd name="connsiteX101" fmla="*/ 497227 w 4519987"/>
                    <a:gd name="connsiteY101" fmla="*/ 3552825 h 4496940"/>
                    <a:gd name="connsiteX102" fmla="*/ 440077 w 4519987"/>
                    <a:gd name="connsiteY102" fmla="*/ 3495675 h 4496940"/>
                    <a:gd name="connsiteX103" fmla="*/ 411502 w 4519987"/>
                    <a:gd name="connsiteY103" fmla="*/ 3448050 h 4496940"/>
                    <a:gd name="connsiteX104" fmla="*/ 278152 w 4519987"/>
                    <a:gd name="connsiteY104" fmla="*/ 3257550 h 4496940"/>
                    <a:gd name="connsiteX105" fmla="*/ 249577 w 4519987"/>
                    <a:gd name="connsiteY105" fmla="*/ 3200400 h 4496940"/>
                    <a:gd name="connsiteX106" fmla="*/ 240052 w 4519987"/>
                    <a:gd name="connsiteY106" fmla="*/ 3162300 h 4496940"/>
                    <a:gd name="connsiteX107" fmla="*/ 221002 w 4519987"/>
                    <a:gd name="connsiteY107" fmla="*/ 3105150 h 4496940"/>
                    <a:gd name="connsiteX108" fmla="*/ 173377 w 4519987"/>
                    <a:gd name="connsiteY108" fmla="*/ 3019425 h 4496940"/>
                    <a:gd name="connsiteX109" fmla="*/ 144802 w 4519987"/>
                    <a:gd name="connsiteY109" fmla="*/ 2924175 h 4496940"/>
                    <a:gd name="connsiteX110" fmla="*/ 68602 w 4519987"/>
                    <a:gd name="connsiteY110" fmla="*/ 2724150 h 4496940"/>
                    <a:gd name="connsiteX111" fmla="*/ 49552 w 4519987"/>
                    <a:gd name="connsiteY111" fmla="*/ 2638425 h 4496940"/>
                    <a:gd name="connsiteX112" fmla="*/ 40027 w 4519987"/>
                    <a:gd name="connsiteY112" fmla="*/ 2562225 h 4496940"/>
                    <a:gd name="connsiteX113" fmla="*/ 30502 w 4519987"/>
                    <a:gd name="connsiteY113" fmla="*/ 2514600 h 4496940"/>
                    <a:gd name="connsiteX114" fmla="*/ 11452 w 4519987"/>
                    <a:gd name="connsiteY114" fmla="*/ 2400300 h 4496940"/>
                    <a:gd name="connsiteX115" fmla="*/ 20977 w 4519987"/>
                    <a:gd name="connsiteY115" fmla="*/ 1905000 h 4496940"/>
                    <a:gd name="connsiteX116" fmla="*/ 30502 w 4519987"/>
                    <a:gd name="connsiteY116" fmla="*/ 1838325 h 4496940"/>
                    <a:gd name="connsiteX117" fmla="*/ 49552 w 4519987"/>
                    <a:gd name="connsiteY117" fmla="*/ 1781175 h 4496940"/>
                    <a:gd name="connsiteX118" fmla="*/ 59077 w 4519987"/>
                    <a:gd name="connsiteY118" fmla="*/ 1743075 h 4496940"/>
                    <a:gd name="connsiteX119" fmla="*/ 78127 w 4519987"/>
                    <a:gd name="connsiteY119" fmla="*/ 1685925 h 4496940"/>
                    <a:gd name="connsiteX120" fmla="*/ 87652 w 4519987"/>
                    <a:gd name="connsiteY120" fmla="*/ 1638300 h 4496940"/>
                    <a:gd name="connsiteX121" fmla="*/ 106702 w 4519987"/>
                    <a:gd name="connsiteY121" fmla="*/ 1590675 h 4496940"/>
                    <a:gd name="connsiteX122" fmla="*/ 135277 w 4519987"/>
                    <a:gd name="connsiteY122" fmla="*/ 1504950 h 4496940"/>
                    <a:gd name="connsiteX123" fmla="*/ 154327 w 4519987"/>
                    <a:gd name="connsiteY123" fmla="*/ 1419225 h 4496940"/>
                    <a:gd name="connsiteX124" fmla="*/ 230527 w 4519987"/>
                    <a:gd name="connsiteY124" fmla="*/ 1276350 h 4496940"/>
                    <a:gd name="connsiteX125" fmla="*/ 240052 w 4519987"/>
                    <a:gd name="connsiteY125" fmla="*/ 1247775 h 4496940"/>
                    <a:gd name="connsiteX126" fmla="*/ 268627 w 4519987"/>
                    <a:gd name="connsiteY126" fmla="*/ 1200150 h 4496940"/>
                    <a:gd name="connsiteX127" fmla="*/ 287677 w 4519987"/>
                    <a:gd name="connsiteY127" fmla="*/ 1152525 h 4496940"/>
                    <a:gd name="connsiteX128" fmla="*/ 316252 w 4519987"/>
                    <a:gd name="connsiteY128" fmla="*/ 1114425 h 4496940"/>
                    <a:gd name="connsiteX129" fmla="*/ 363877 w 4519987"/>
                    <a:gd name="connsiteY129" fmla="*/ 1038225 h 4496940"/>
                    <a:gd name="connsiteX130" fmla="*/ 382927 w 4519987"/>
                    <a:gd name="connsiteY130" fmla="*/ 1009650 h 4496940"/>
                    <a:gd name="connsiteX131" fmla="*/ 440077 w 4519987"/>
                    <a:gd name="connsiteY131" fmla="*/ 904875 h 4496940"/>
                    <a:gd name="connsiteX132" fmla="*/ 478177 w 4519987"/>
                    <a:gd name="connsiteY132" fmla="*/ 857250 h 4496940"/>
                    <a:gd name="connsiteX133" fmla="*/ 497227 w 4519987"/>
                    <a:gd name="connsiteY133" fmla="*/ 828675 h 4496940"/>
                    <a:gd name="connsiteX134" fmla="*/ 535327 w 4519987"/>
                    <a:gd name="connsiteY134" fmla="*/ 800100 h 4496940"/>
                    <a:gd name="connsiteX135" fmla="*/ 602002 w 4519987"/>
                    <a:gd name="connsiteY135" fmla="*/ 733425 h 4496940"/>
                    <a:gd name="connsiteX136" fmla="*/ 668677 w 4519987"/>
                    <a:gd name="connsiteY136" fmla="*/ 676275 h 4496940"/>
                    <a:gd name="connsiteX137" fmla="*/ 697252 w 4519987"/>
                    <a:gd name="connsiteY137" fmla="*/ 657225 h 4496940"/>
                    <a:gd name="connsiteX138" fmla="*/ 840127 w 4519987"/>
                    <a:gd name="connsiteY138" fmla="*/ 533400 h 4496940"/>
                    <a:gd name="connsiteX139" fmla="*/ 887752 w 4519987"/>
                    <a:gd name="connsiteY139" fmla="*/ 504825 h 4496940"/>
                    <a:gd name="connsiteX140" fmla="*/ 1167152 w 4519987"/>
                    <a:gd name="connsiteY140" fmla="*/ 311150 h 4496940"/>
                    <a:gd name="connsiteX141" fmla="*/ 1268752 w 4519987"/>
                    <a:gd name="connsiteY141" fmla="*/ 285750 h 4496940"/>
                    <a:gd name="connsiteX142" fmla="*/ 1411627 w 4519987"/>
                    <a:gd name="connsiteY142" fmla="*/ 190500 h 4496940"/>
                    <a:gd name="connsiteX143" fmla="*/ 1449727 w 4519987"/>
                    <a:gd name="connsiteY143" fmla="*/ 161925 h 4496940"/>
                    <a:gd name="connsiteX144" fmla="*/ 1525927 w 4519987"/>
                    <a:gd name="connsiteY144" fmla="*/ 152400 h 4496940"/>
                    <a:gd name="connsiteX145" fmla="*/ 1583077 w 4519987"/>
                    <a:gd name="connsiteY145" fmla="*/ 142875 h 4496940"/>
                    <a:gd name="connsiteX146" fmla="*/ 1716427 w 4519987"/>
                    <a:gd name="connsiteY146" fmla="*/ 123825 h 4496940"/>
                    <a:gd name="connsiteX147" fmla="*/ 1811677 w 4519987"/>
                    <a:gd name="connsiteY147" fmla="*/ 114300 h 4496940"/>
                    <a:gd name="connsiteX148" fmla="*/ 1859302 w 4519987"/>
                    <a:gd name="connsiteY148" fmla="*/ 104775 h 4496940"/>
                    <a:gd name="connsiteX149" fmla="*/ 1916452 w 4519987"/>
                    <a:gd name="connsiteY149" fmla="*/ 95250 h 4496940"/>
                    <a:gd name="connsiteX150" fmla="*/ 2030752 w 4519987"/>
                    <a:gd name="connsiteY150" fmla="*/ 66675 h 4496940"/>
                    <a:gd name="connsiteX151" fmla="*/ 2097427 w 4519987"/>
                    <a:gd name="connsiteY151" fmla="*/ 47625 h 4496940"/>
                    <a:gd name="connsiteX152" fmla="*/ 2164102 w 4519987"/>
                    <a:gd name="connsiteY152" fmla="*/ 38100 h 4496940"/>
                    <a:gd name="connsiteX153" fmla="*/ 2392702 w 4519987"/>
                    <a:gd name="connsiteY15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678577 w 4519987"/>
                    <a:gd name="connsiteY20" fmla="*/ 504825 h 4496940"/>
                    <a:gd name="connsiteX21" fmla="*/ 3745252 w 4519987"/>
                    <a:gd name="connsiteY21" fmla="*/ 542925 h 4496940"/>
                    <a:gd name="connsiteX22" fmla="*/ 3811927 w 4519987"/>
                    <a:gd name="connsiteY22" fmla="*/ 581025 h 4496940"/>
                    <a:gd name="connsiteX23" fmla="*/ 3907177 w 4519987"/>
                    <a:gd name="connsiteY23" fmla="*/ 647700 h 4496940"/>
                    <a:gd name="connsiteX24" fmla="*/ 3935752 w 4519987"/>
                    <a:gd name="connsiteY24" fmla="*/ 676275 h 4496940"/>
                    <a:gd name="connsiteX25" fmla="*/ 4078627 w 4519987"/>
                    <a:gd name="connsiteY25" fmla="*/ 838200 h 4496940"/>
                    <a:gd name="connsiteX26" fmla="*/ 4135777 w 4519987"/>
                    <a:gd name="connsiteY26" fmla="*/ 933450 h 4496940"/>
                    <a:gd name="connsiteX27" fmla="*/ 4164352 w 4519987"/>
                    <a:gd name="connsiteY27" fmla="*/ 990600 h 4496940"/>
                    <a:gd name="connsiteX28" fmla="*/ 4173877 w 4519987"/>
                    <a:gd name="connsiteY28" fmla="*/ 1019175 h 4496940"/>
                    <a:gd name="connsiteX29" fmla="*/ 4192927 w 4519987"/>
                    <a:gd name="connsiteY29" fmla="*/ 1057275 h 4496940"/>
                    <a:gd name="connsiteX30" fmla="*/ 4202452 w 4519987"/>
                    <a:gd name="connsiteY30" fmla="*/ 1085850 h 4496940"/>
                    <a:gd name="connsiteX31" fmla="*/ 4250077 w 4519987"/>
                    <a:gd name="connsiteY31" fmla="*/ 1143000 h 4496940"/>
                    <a:gd name="connsiteX32" fmla="*/ 4259602 w 4519987"/>
                    <a:gd name="connsiteY32" fmla="*/ 1190625 h 4496940"/>
                    <a:gd name="connsiteX33" fmla="*/ 4307227 w 4519987"/>
                    <a:gd name="connsiteY33" fmla="*/ 1266825 h 4496940"/>
                    <a:gd name="connsiteX34" fmla="*/ 4345327 w 4519987"/>
                    <a:gd name="connsiteY34" fmla="*/ 1362075 h 4496940"/>
                    <a:gd name="connsiteX35" fmla="*/ 4373902 w 4519987"/>
                    <a:gd name="connsiteY35" fmla="*/ 1428750 h 4496940"/>
                    <a:gd name="connsiteX36" fmla="*/ 4392952 w 4519987"/>
                    <a:gd name="connsiteY36" fmla="*/ 1552575 h 4496940"/>
                    <a:gd name="connsiteX37" fmla="*/ 4402477 w 4519987"/>
                    <a:gd name="connsiteY37" fmla="*/ 1590675 h 4496940"/>
                    <a:gd name="connsiteX38" fmla="*/ 4431052 w 4519987"/>
                    <a:gd name="connsiteY38" fmla="*/ 1685925 h 4496940"/>
                    <a:gd name="connsiteX39" fmla="*/ 4519952 w 4519987"/>
                    <a:gd name="connsiteY39" fmla="*/ 2181225 h 4496940"/>
                    <a:gd name="connsiteX40" fmla="*/ 4446927 w 4519987"/>
                    <a:gd name="connsiteY40" fmla="*/ 2768600 h 4496940"/>
                    <a:gd name="connsiteX41" fmla="*/ 4383427 w 4519987"/>
                    <a:gd name="connsiteY41" fmla="*/ 2990850 h 4496940"/>
                    <a:gd name="connsiteX42" fmla="*/ 4278652 w 4519987"/>
                    <a:gd name="connsiteY42" fmla="*/ 3248025 h 4496940"/>
                    <a:gd name="connsiteX43" fmla="*/ 4259602 w 4519987"/>
                    <a:gd name="connsiteY43" fmla="*/ 3276600 h 4496940"/>
                    <a:gd name="connsiteX44" fmla="*/ 4221502 w 4519987"/>
                    <a:gd name="connsiteY44" fmla="*/ 3333750 h 4496940"/>
                    <a:gd name="connsiteX45" fmla="*/ 4211977 w 4519987"/>
                    <a:gd name="connsiteY45" fmla="*/ 3362325 h 4496940"/>
                    <a:gd name="connsiteX46" fmla="*/ 4183402 w 4519987"/>
                    <a:gd name="connsiteY46" fmla="*/ 3400425 h 4496940"/>
                    <a:gd name="connsiteX47" fmla="*/ 4164352 w 4519987"/>
                    <a:gd name="connsiteY47" fmla="*/ 3429000 h 4496940"/>
                    <a:gd name="connsiteX48" fmla="*/ 4088152 w 4519987"/>
                    <a:gd name="connsiteY48" fmla="*/ 3495675 h 4496940"/>
                    <a:gd name="connsiteX49" fmla="*/ 4059577 w 4519987"/>
                    <a:gd name="connsiteY49" fmla="*/ 3533775 h 4496940"/>
                    <a:gd name="connsiteX50" fmla="*/ 4002427 w 4519987"/>
                    <a:gd name="connsiteY50" fmla="*/ 3600450 h 4496940"/>
                    <a:gd name="connsiteX51" fmla="*/ 3983377 w 4519987"/>
                    <a:gd name="connsiteY51" fmla="*/ 3629025 h 4496940"/>
                    <a:gd name="connsiteX52" fmla="*/ 3954802 w 4519987"/>
                    <a:gd name="connsiteY52" fmla="*/ 3648075 h 4496940"/>
                    <a:gd name="connsiteX53" fmla="*/ 3907177 w 4519987"/>
                    <a:gd name="connsiteY53" fmla="*/ 3686175 h 4496940"/>
                    <a:gd name="connsiteX54" fmla="*/ 3869077 w 4519987"/>
                    <a:gd name="connsiteY54" fmla="*/ 3724275 h 4496940"/>
                    <a:gd name="connsiteX55" fmla="*/ 3792877 w 4519987"/>
                    <a:gd name="connsiteY55" fmla="*/ 3781425 h 4496940"/>
                    <a:gd name="connsiteX56" fmla="*/ 3783352 w 4519987"/>
                    <a:gd name="connsiteY56" fmla="*/ 3810000 h 4496940"/>
                    <a:gd name="connsiteX57" fmla="*/ 3745252 w 4519987"/>
                    <a:gd name="connsiteY57" fmla="*/ 3819525 h 4496940"/>
                    <a:gd name="connsiteX58" fmla="*/ 3678577 w 4519987"/>
                    <a:gd name="connsiteY58" fmla="*/ 3848100 h 4496940"/>
                    <a:gd name="connsiteX59" fmla="*/ 3659527 w 4519987"/>
                    <a:gd name="connsiteY59" fmla="*/ 3971925 h 4496940"/>
                    <a:gd name="connsiteX60" fmla="*/ 3630952 w 4519987"/>
                    <a:gd name="connsiteY60" fmla="*/ 4010025 h 4496940"/>
                    <a:gd name="connsiteX61" fmla="*/ 3621427 w 4519987"/>
                    <a:gd name="connsiteY61" fmla="*/ 4038600 h 4496940"/>
                    <a:gd name="connsiteX62" fmla="*/ 3554752 w 4519987"/>
                    <a:gd name="connsiteY62" fmla="*/ 4095750 h 4496940"/>
                    <a:gd name="connsiteX63" fmla="*/ 3516652 w 4519987"/>
                    <a:gd name="connsiteY63" fmla="*/ 4114800 h 4496940"/>
                    <a:gd name="connsiteX64" fmla="*/ 3497602 w 4519987"/>
                    <a:gd name="connsiteY64" fmla="*/ 4143375 h 4496940"/>
                    <a:gd name="connsiteX65" fmla="*/ 3383302 w 4519987"/>
                    <a:gd name="connsiteY65" fmla="*/ 4210050 h 4496940"/>
                    <a:gd name="connsiteX66" fmla="*/ 3335677 w 4519987"/>
                    <a:gd name="connsiteY66" fmla="*/ 4238625 h 4496940"/>
                    <a:gd name="connsiteX67" fmla="*/ 3288052 w 4519987"/>
                    <a:gd name="connsiteY67" fmla="*/ 4248150 h 4496940"/>
                    <a:gd name="connsiteX68" fmla="*/ 3240427 w 4519987"/>
                    <a:gd name="connsiteY68" fmla="*/ 4267200 h 4496940"/>
                    <a:gd name="connsiteX69" fmla="*/ 3068977 w 4519987"/>
                    <a:gd name="connsiteY69" fmla="*/ 4286250 h 4496940"/>
                    <a:gd name="connsiteX70" fmla="*/ 2935627 w 4519987"/>
                    <a:gd name="connsiteY70" fmla="*/ 4333875 h 4496940"/>
                    <a:gd name="connsiteX71" fmla="*/ 2811802 w 4519987"/>
                    <a:gd name="connsiteY71" fmla="*/ 4371975 h 4496940"/>
                    <a:gd name="connsiteX72" fmla="*/ 2745127 w 4519987"/>
                    <a:gd name="connsiteY72" fmla="*/ 4410075 h 4496940"/>
                    <a:gd name="connsiteX73" fmla="*/ 2697502 w 4519987"/>
                    <a:gd name="connsiteY73" fmla="*/ 4429125 h 4496940"/>
                    <a:gd name="connsiteX74" fmla="*/ 2640352 w 4519987"/>
                    <a:gd name="connsiteY74" fmla="*/ 4457700 h 4496940"/>
                    <a:gd name="connsiteX75" fmla="*/ 2583202 w 4519987"/>
                    <a:gd name="connsiteY75" fmla="*/ 4467225 h 4496940"/>
                    <a:gd name="connsiteX76" fmla="*/ 2545102 w 4519987"/>
                    <a:gd name="connsiteY76" fmla="*/ 4486275 h 4496940"/>
                    <a:gd name="connsiteX77" fmla="*/ 2306977 w 4519987"/>
                    <a:gd name="connsiteY77" fmla="*/ 4476750 h 4496940"/>
                    <a:gd name="connsiteX78" fmla="*/ 2202202 w 4519987"/>
                    <a:gd name="connsiteY78" fmla="*/ 4457700 h 4496940"/>
                    <a:gd name="connsiteX79" fmla="*/ 2126002 w 4519987"/>
                    <a:gd name="connsiteY79" fmla="*/ 4429125 h 4496940"/>
                    <a:gd name="connsiteX80" fmla="*/ 1935502 w 4519987"/>
                    <a:gd name="connsiteY80" fmla="*/ 4400550 h 4496940"/>
                    <a:gd name="connsiteX81" fmla="*/ 1821202 w 4519987"/>
                    <a:gd name="connsiteY81" fmla="*/ 4371975 h 4496940"/>
                    <a:gd name="connsiteX82" fmla="*/ 1754527 w 4519987"/>
                    <a:gd name="connsiteY82" fmla="*/ 4352925 h 4496940"/>
                    <a:gd name="connsiteX83" fmla="*/ 1687852 w 4519987"/>
                    <a:gd name="connsiteY83" fmla="*/ 4343400 h 4496940"/>
                    <a:gd name="connsiteX84" fmla="*/ 1573552 w 4519987"/>
                    <a:gd name="connsiteY84" fmla="*/ 4305300 h 4496940"/>
                    <a:gd name="connsiteX85" fmla="*/ 1402102 w 4519987"/>
                    <a:gd name="connsiteY85" fmla="*/ 4276725 h 4496940"/>
                    <a:gd name="connsiteX86" fmla="*/ 1287802 w 4519987"/>
                    <a:gd name="connsiteY86" fmla="*/ 4229100 h 4496940"/>
                    <a:gd name="connsiteX87" fmla="*/ 1221127 w 4519987"/>
                    <a:gd name="connsiteY87" fmla="*/ 4200525 h 4496940"/>
                    <a:gd name="connsiteX88" fmla="*/ 1144927 w 4519987"/>
                    <a:gd name="connsiteY88" fmla="*/ 4171950 h 4496940"/>
                    <a:gd name="connsiteX89" fmla="*/ 1087777 w 4519987"/>
                    <a:gd name="connsiteY89" fmla="*/ 4143375 h 4496940"/>
                    <a:gd name="connsiteX90" fmla="*/ 1030627 w 4519987"/>
                    <a:gd name="connsiteY90" fmla="*/ 4124325 h 4496940"/>
                    <a:gd name="connsiteX91" fmla="*/ 925852 w 4519987"/>
                    <a:gd name="connsiteY91" fmla="*/ 4067175 h 4496940"/>
                    <a:gd name="connsiteX92" fmla="*/ 830602 w 4519987"/>
                    <a:gd name="connsiteY92" fmla="*/ 3981450 h 4496940"/>
                    <a:gd name="connsiteX93" fmla="*/ 763927 w 4519987"/>
                    <a:gd name="connsiteY93" fmla="*/ 3914775 h 4496940"/>
                    <a:gd name="connsiteX94" fmla="*/ 725827 w 4519987"/>
                    <a:gd name="connsiteY94" fmla="*/ 3876675 h 4496940"/>
                    <a:gd name="connsiteX95" fmla="*/ 697252 w 4519987"/>
                    <a:gd name="connsiteY95" fmla="*/ 3838575 h 4496940"/>
                    <a:gd name="connsiteX96" fmla="*/ 640102 w 4519987"/>
                    <a:gd name="connsiteY96" fmla="*/ 3781425 h 4496940"/>
                    <a:gd name="connsiteX97" fmla="*/ 611527 w 4519987"/>
                    <a:gd name="connsiteY97" fmla="*/ 3733800 h 4496940"/>
                    <a:gd name="connsiteX98" fmla="*/ 554377 w 4519987"/>
                    <a:gd name="connsiteY98" fmla="*/ 3657600 h 4496940"/>
                    <a:gd name="connsiteX99" fmla="*/ 525802 w 4519987"/>
                    <a:gd name="connsiteY99" fmla="*/ 3609975 h 4496940"/>
                    <a:gd name="connsiteX100" fmla="*/ 497227 w 4519987"/>
                    <a:gd name="connsiteY100" fmla="*/ 3552825 h 4496940"/>
                    <a:gd name="connsiteX101" fmla="*/ 440077 w 4519987"/>
                    <a:gd name="connsiteY101" fmla="*/ 3495675 h 4496940"/>
                    <a:gd name="connsiteX102" fmla="*/ 411502 w 4519987"/>
                    <a:gd name="connsiteY102" fmla="*/ 3448050 h 4496940"/>
                    <a:gd name="connsiteX103" fmla="*/ 278152 w 4519987"/>
                    <a:gd name="connsiteY103" fmla="*/ 3257550 h 4496940"/>
                    <a:gd name="connsiteX104" fmla="*/ 249577 w 4519987"/>
                    <a:gd name="connsiteY104" fmla="*/ 3200400 h 4496940"/>
                    <a:gd name="connsiteX105" fmla="*/ 240052 w 4519987"/>
                    <a:gd name="connsiteY105" fmla="*/ 3162300 h 4496940"/>
                    <a:gd name="connsiteX106" fmla="*/ 221002 w 4519987"/>
                    <a:gd name="connsiteY106" fmla="*/ 3105150 h 4496940"/>
                    <a:gd name="connsiteX107" fmla="*/ 173377 w 4519987"/>
                    <a:gd name="connsiteY107" fmla="*/ 3019425 h 4496940"/>
                    <a:gd name="connsiteX108" fmla="*/ 144802 w 4519987"/>
                    <a:gd name="connsiteY108" fmla="*/ 2924175 h 4496940"/>
                    <a:gd name="connsiteX109" fmla="*/ 68602 w 4519987"/>
                    <a:gd name="connsiteY109" fmla="*/ 2724150 h 4496940"/>
                    <a:gd name="connsiteX110" fmla="*/ 49552 w 4519987"/>
                    <a:gd name="connsiteY110" fmla="*/ 2638425 h 4496940"/>
                    <a:gd name="connsiteX111" fmla="*/ 40027 w 4519987"/>
                    <a:gd name="connsiteY111" fmla="*/ 2562225 h 4496940"/>
                    <a:gd name="connsiteX112" fmla="*/ 30502 w 4519987"/>
                    <a:gd name="connsiteY112" fmla="*/ 2514600 h 4496940"/>
                    <a:gd name="connsiteX113" fmla="*/ 11452 w 4519987"/>
                    <a:gd name="connsiteY113" fmla="*/ 2400300 h 4496940"/>
                    <a:gd name="connsiteX114" fmla="*/ 20977 w 4519987"/>
                    <a:gd name="connsiteY114" fmla="*/ 1905000 h 4496940"/>
                    <a:gd name="connsiteX115" fmla="*/ 30502 w 4519987"/>
                    <a:gd name="connsiteY115" fmla="*/ 1838325 h 4496940"/>
                    <a:gd name="connsiteX116" fmla="*/ 49552 w 4519987"/>
                    <a:gd name="connsiteY116" fmla="*/ 1781175 h 4496940"/>
                    <a:gd name="connsiteX117" fmla="*/ 59077 w 4519987"/>
                    <a:gd name="connsiteY117" fmla="*/ 1743075 h 4496940"/>
                    <a:gd name="connsiteX118" fmla="*/ 78127 w 4519987"/>
                    <a:gd name="connsiteY118" fmla="*/ 1685925 h 4496940"/>
                    <a:gd name="connsiteX119" fmla="*/ 87652 w 4519987"/>
                    <a:gd name="connsiteY119" fmla="*/ 1638300 h 4496940"/>
                    <a:gd name="connsiteX120" fmla="*/ 106702 w 4519987"/>
                    <a:gd name="connsiteY120" fmla="*/ 1590675 h 4496940"/>
                    <a:gd name="connsiteX121" fmla="*/ 135277 w 4519987"/>
                    <a:gd name="connsiteY121" fmla="*/ 1504950 h 4496940"/>
                    <a:gd name="connsiteX122" fmla="*/ 154327 w 4519987"/>
                    <a:gd name="connsiteY122" fmla="*/ 1419225 h 4496940"/>
                    <a:gd name="connsiteX123" fmla="*/ 230527 w 4519987"/>
                    <a:gd name="connsiteY123" fmla="*/ 1276350 h 4496940"/>
                    <a:gd name="connsiteX124" fmla="*/ 240052 w 4519987"/>
                    <a:gd name="connsiteY124" fmla="*/ 1247775 h 4496940"/>
                    <a:gd name="connsiteX125" fmla="*/ 268627 w 4519987"/>
                    <a:gd name="connsiteY125" fmla="*/ 1200150 h 4496940"/>
                    <a:gd name="connsiteX126" fmla="*/ 287677 w 4519987"/>
                    <a:gd name="connsiteY126" fmla="*/ 1152525 h 4496940"/>
                    <a:gd name="connsiteX127" fmla="*/ 316252 w 4519987"/>
                    <a:gd name="connsiteY127" fmla="*/ 1114425 h 4496940"/>
                    <a:gd name="connsiteX128" fmla="*/ 363877 w 4519987"/>
                    <a:gd name="connsiteY128" fmla="*/ 1038225 h 4496940"/>
                    <a:gd name="connsiteX129" fmla="*/ 382927 w 4519987"/>
                    <a:gd name="connsiteY129" fmla="*/ 1009650 h 4496940"/>
                    <a:gd name="connsiteX130" fmla="*/ 440077 w 4519987"/>
                    <a:gd name="connsiteY130" fmla="*/ 904875 h 4496940"/>
                    <a:gd name="connsiteX131" fmla="*/ 478177 w 4519987"/>
                    <a:gd name="connsiteY131" fmla="*/ 857250 h 4496940"/>
                    <a:gd name="connsiteX132" fmla="*/ 497227 w 4519987"/>
                    <a:gd name="connsiteY132" fmla="*/ 828675 h 4496940"/>
                    <a:gd name="connsiteX133" fmla="*/ 535327 w 4519987"/>
                    <a:gd name="connsiteY133" fmla="*/ 800100 h 4496940"/>
                    <a:gd name="connsiteX134" fmla="*/ 602002 w 4519987"/>
                    <a:gd name="connsiteY134" fmla="*/ 733425 h 4496940"/>
                    <a:gd name="connsiteX135" fmla="*/ 668677 w 4519987"/>
                    <a:gd name="connsiteY135" fmla="*/ 676275 h 4496940"/>
                    <a:gd name="connsiteX136" fmla="*/ 697252 w 4519987"/>
                    <a:gd name="connsiteY136" fmla="*/ 657225 h 4496940"/>
                    <a:gd name="connsiteX137" fmla="*/ 840127 w 4519987"/>
                    <a:gd name="connsiteY137" fmla="*/ 533400 h 4496940"/>
                    <a:gd name="connsiteX138" fmla="*/ 887752 w 4519987"/>
                    <a:gd name="connsiteY138" fmla="*/ 504825 h 4496940"/>
                    <a:gd name="connsiteX139" fmla="*/ 1167152 w 4519987"/>
                    <a:gd name="connsiteY139" fmla="*/ 311150 h 4496940"/>
                    <a:gd name="connsiteX140" fmla="*/ 1268752 w 4519987"/>
                    <a:gd name="connsiteY140" fmla="*/ 285750 h 4496940"/>
                    <a:gd name="connsiteX141" fmla="*/ 1411627 w 4519987"/>
                    <a:gd name="connsiteY141" fmla="*/ 190500 h 4496940"/>
                    <a:gd name="connsiteX142" fmla="*/ 1449727 w 4519987"/>
                    <a:gd name="connsiteY142" fmla="*/ 161925 h 4496940"/>
                    <a:gd name="connsiteX143" fmla="*/ 1525927 w 4519987"/>
                    <a:gd name="connsiteY143" fmla="*/ 152400 h 4496940"/>
                    <a:gd name="connsiteX144" fmla="*/ 1583077 w 4519987"/>
                    <a:gd name="connsiteY144" fmla="*/ 142875 h 4496940"/>
                    <a:gd name="connsiteX145" fmla="*/ 1716427 w 4519987"/>
                    <a:gd name="connsiteY145" fmla="*/ 123825 h 4496940"/>
                    <a:gd name="connsiteX146" fmla="*/ 1811677 w 4519987"/>
                    <a:gd name="connsiteY146" fmla="*/ 114300 h 4496940"/>
                    <a:gd name="connsiteX147" fmla="*/ 1859302 w 4519987"/>
                    <a:gd name="connsiteY147" fmla="*/ 104775 h 4496940"/>
                    <a:gd name="connsiteX148" fmla="*/ 1916452 w 4519987"/>
                    <a:gd name="connsiteY148" fmla="*/ 95250 h 4496940"/>
                    <a:gd name="connsiteX149" fmla="*/ 2030752 w 4519987"/>
                    <a:gd name="connsiteY149" fmla="*/ 66675 h 4496940"/>
                    <a:gd name="connsiteX150" fmla="*/ 2097427 w 4519987"/>
                    <a:gd name="connsiteY150" fmla="*/ 47625 h 4496940"/>
                    <a:gd name="connsiteX151" fmla="*/ 2164102 w 4519987"/>
                    <a:gd name="connsiteY151" fmla="*/ 38100 h 4496940"/>
                    <a:gd name="connsiteX152" fmla="*/ 2392702 w 4519987"/>
                    <a:gd name="connsiteY15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745252 w 4519987"/>
                    <a:gd name="connsiteY20" fmla="*/ 542925 h 4496940"/>
                    <a:gd name="connsiteX21" fmla="*/ 3811927 w 4519987"/>
                    <a:gd name="connsiteY21" fmla="*/ 581025 h 4496940"/>
                    <a:gd name="connsiteX22" fmla="*/ 3907177 w 4519987"/>
                    <a:gd name="connsiteY22" fmla="*/ 647700 h 4496940"/>
                    <a:gd name="connsiteX23" fmla="*/ 3935752 w 4519987"/>
                    <a:gd name="connsiteY23" fmla="*/ 676275 h 4496940"/>
                    <a:gd name="connsiteX24" fmla="*/ 4078627 w 4519987"/>
                    <a:gd name="connsiteY24" fmla="*/ 838200 h 4496940"/>
                    <a:gd name="connsiteX25" fmla="*/ 4135777 w 4519987"/>
                    <a:gd name="connsiteY25" fmla="*/ 933450 h 4496940"/>
                    <a:gd name="connsiteX26" fmla="*/ 4164352 w 4519987"/>
                    <a:gd name="connsiteY26" fmla="*/ 990600 h 4496940"/>
                    <a:gd name="connsiteX27" fmla="*/ 4173877 w 4519987"/>
                    <a:gd name="connsiteY27" fmla="*/ 1019175 h 4496940"/>
                    <a:gd name="connsiteX28" fmla="*/ 4192927 w 4519987"/>
                    <a:gd name="connsiteY28" fmla="*/ 1057275 h 4496940"/>
                    <a:gd name="connsiteX29" fmla="*/ 4202452 w 4519987"/>
                    <a:gd name="connsiteY29" fmla="*/ 1085850 h 4496940"/>
                    <a:gd name="connsiteX30" fmla="*/ 4250077 w 4519987"/>
                    <a:gd name="connsiteY30" fmla="*/ 1143000 h 4496940"/>
                    <a:gd name="connsiteX31" fmla="*/ 4259602 w 4519987"/>
                    <a:gd name="connsiteY31" fmla="*/ 1190625 h 4496940"/>
                    <a:gd name="connsiteX32" fmla="*/ 4307227 w 4519987"/>
                    <a:gd name="connsiteY32" fmla="*/ 1266825 h 4496940"/>
                    <a:gd name="connsiteX33" fmla="*/ 4345327 w 4519987"/>
                    <a:gd name="connsiteY33" fmla="*/ 1362075 h 4496940"/>
                    <a:gd name="connsiteX34" fmla="*/ 4373902 w 4519987"/>
                    <a:gd name="connsiteY34" fmla="*/ 1428750 h 4496940"/>
                    <a:gd name="connsiteX35" fmla="*/ 4392952 w 4519987"/>
                    <a:gd name="connsiteY35" fmla="*/ 1552575 h 4496940"/>
                    <a:gd name="connsiteX36" fmla="*/ 4402477 w 4519987"/>
                    <a:gd name="connsiteY36" fmla="*/ 1590675 h 4496940"/>
                    <a:gd name="connsiteX37" fmla="*/ 4431052 w 4519987"/>
                    <a:gd name="connsiteY37" fmla="*/ 1685925 h 4496940"/>
                    <a:gd name="connsiteX38" fmla="*/ 4519952 w 4519987"/>
                    <a:gd name="connsiteY38" fmla="*/ 2181225 h 4496940"/>
                    <a:gd name="connsiteX39" fmla="*/ 4446927 w 4519987"/>
                    <a:gd name="connsiteY39" fmla="*/ 2768600 h 4496940"/>
                    <a:gd name="connsiteX40" fmla="*/ 4383427 w 4519987"/>
                    <a:gd name="connsiteY40" fmla="*/ 2990850 h 4496940"/>
                    <a:gd name="connsiteX41" fmla="*/ 4278652 w 4519987"/>
                    <a:gd name="connsiteY41" fmla="*/ 3248025 h 4496940"/>
                    <a:gd name="connsiteX42" fmla="*/ 4259602 w 4519987"/>
                    <a:gd name="connsiteY42" fmla="*/ 3276600 h 4496940"/>
                    <a:gd name="connsiteX43" fmla="*/ 4221502 w 4519987"/>
                    <a:gd name="connsiteY43" fmla="*/ 3333750 h 4496940"/>
                    <a:gd name="connsiteX44" fmla="*/ 4211977 w 4519987"/>
                    <a:gd name="connsiteY44" fmla="*/ 3362325 h 4496940"/>
                    <a:gd name="connsiteX45" fmla="*/ 4183402 w 4519987"/>
                    <a:gd name="connsiteY45" fmla="*/ 3400425 h 4496940"/>
                    <a:gd name="connsiteX46" fmla="*/ 4164352 w 4519987"/>
                    <a:gd name="connsiteY46" fmla="*/ 3429000 h 4496940"/>
                    <a:gd name="connsiteX47" fmla="*/ 4088152 w 4519987"/>
                    <a:gd name="connsiteY47" fmla="*/ 3495675 h 4496940"/>
                    <a:gd name="connsiteX48" fmla="*/ 4059577 w 4519987"/>
                    <a:gd name="connsiteY48" fmla="*/ 3533775 h 4496940"/>
                    <a:gd name="connsiteX49" fmla="*/ 4002427 w 4519987"/>
                    <a:gd name="connsiteY49" fmla="*/ 3600450 h 4496940"/>
                    <a:gd name="connsiteX50" fmla="*/ 3983377 w 4519987"/>
                    <a:gd name="connsiteY50" fmla="*/ 3629025 h 4496940"/>
                    <a:gd name="connsiteX51" fmla="*/ 3954802 w 4519987"/>
                    <a:gd name="connsiteY51" fmla="*/ 3648075 h 4496940"/>
                    <a:gd name="connsiteX52" fmla="*/ 3907177 w 4519987"/>
                    <a:gd name="connsiteY52" fmla="*/ 3686175 h 4496940"/>
                    <a:gd name="connsiteX53" fmla="*/ 3869077 w 4519987"/>
                    <a:gd name="connsiteY53" fmla="*/ 3724275 h 4496940"/>
                    <a:gd name="connsiteX54" fmla="*/ 3792877 w 4519987"/>
                    <a:gd name="connsiteY54" fmla="*/ 3781425 h 4496940"/>
                    <a:gd name="connsiteX55" fmla="*/ 3783352 w 4519987"/>
                    <a:gd name="connsiteY55" fmla="*/ 3810000 h 4496940"/>
                    <a:gd name="connsiteX56" fmla="*/ 3745252 w 4519987"/>
                    <a:gd name="connsiteY56" fmla="*/ 3819525 h 4496940"/>
                    <a:gd name="connsiteX57" fmla="*/ 3678577 w 4519987"/>
                    <a:gd name="connsiteY57" fmla="*/ 3848100 h 4496940"/>
                    <a:gd name="connsiteX58" fmla="*/ 3659527 w 4519987"/>
                    <a:gd name="connsiteY58" fmla="*/ 3971925 h 4496940"/>
                    <a:gd name="connsiteX59" fmla="*/ 3630952 w 4519987"/>
                    <a:gd name="connsiteY59" fmla="*/ 4010025 h 4496940"/>
                    <a:gd name="connsiteX60" fmla="*/ 3621427 w 4519987"/>
                    <a:gd name="connsiteY60" fmla="*/ 4038600 h 4496940"/>
                    <a:gd name="connsiteX61" fmla="*/ 3554752 w 4519987"/>
                    <a:gd name="connsiteY61" fmla="*/ 4095750 h 4496940"/>
                    <a:gd name="connsiteX62" fmla="*/ 3516652 w 4519987"/>
                    <a:gd name="connsiteY62" fmla="*/ 4114800 h 4496940"/>
                    <a:gd name="connsiteX63" fmla="*/ 3497602 w 4519987"/>
                    <a:gd name="connsiteY63" fmla="*/ 4143375 h 4496940"/>
                    <a:gd name="connsiteX64" fmla="*/ 3383302 w 4519987"/>
                    <a:gd name="connsiteY64" fmla="*/ 4210050 h 4496940"/>
                    <a:gd name="connsiteX65" fmla="*/ 3335677 w 4519987"/>
                    <a:gd name="connsiteY65" fmla="*/ 4238625 h 4496940"/>
                    <a:gd name="connsiteX66" fmla="*/ 3288052 w 4519987"/>
                    <a:gd name="connsiteY66" fmla="*/ 4248150 h 4496940"/>
                    <a:gd name="connsiteX67" fmla="*/ 3240427 w 4519987"/>
                    <a:gd name="connsiteY67" fmla="*/ 4267200 h 4496940"/>
                    <a:gd name="connsiteX68" fmla="*/ 3068977 w 4519987"/>
                    <a:gd name="connsiteY68" fmla="*/ 4286250 h 4496940"/>
                    <a:gd name="connsiteX69" fmla="*/ 2935627 w 4519987"/>
                    <a:gd name="connsiteY69" fmla="*/ 4333875 h 4496940"/>
                    <a:gd name="connsiteX70" fmla="*/ 2811802 w 4519987"/>
                    <a:gd name="connsiteY70" fmla="*/ 4371975 h 4496940"/>
                    <a:gd name="connsiteX71" fmla="*/ 2745127 w 4519987"/>
                    <a:gd name="connsiteY71" fmla="*/ 4410075 h 4496940"/>
                    <a:gd name="connsiteX72" fmla="*/ 2697502 w 4519987"/>
                    <a:gd name="connsiteY72" fmla="*/ 4429125 h 4496940"/>
                    <a:gd name="connsiteX73" fmla="*/ 2640352 w 4519987"/>
                    <a:gd name="connsiteY73" fmla="*/ 4457700 h 4496940"/>
                    <a:gd name="connsiteX74" fmla="*/ 2583202 w 4519987"/>
                    <a:gd name="connsiteY74" fmla="*/ 4467225 h 4496940"/>
                    <a:gd name="connsiteX75" fmla="*/ 2545102 w 4519987"/>
                    <a:gd name="connsiteY75" fmla="*/ 4486275 h 4496940"/>
                    <a:gd name="connsiteX76" fmla="*/ 2306977 w 4519987"/>
                    <a:gd name="connsiteY76" fmla="*/ 4476750 h 4496940"/>
                    <a:gd name="connsiteX77" fmla="*/ 2202202 w 4519987"/>
                    <a:gd name="connsiteY77" fmla="*/ 4457700 h 4496940"/>
                    <a:gd name="connsiteX78" fmla="*/ 2126002 w 4519987"/>
                    <a:gd name="connsiteY78" fmla="*/ 4429125 h 4496940"/>
                    <a:gd name="connsiteX79" fmla="*/ 1935502 w 4519987"/>
                    <a:gd name="connsiteY79" fmla="*/ 4400550 h 4496940"/>
                    <a:gd name="connsiteX80" fmla="*/ 1821202 w 4519987"/>
                    <a:gd name="connsiteY80" fmla="*/ 4371975 h 4496940"/>
                    <a:gd name="connsiteX81" fmla="*/ 1754527 w 4519987"/>
                    <a:gd name="connsiteY81" fmla="*/ 4352925 h 4496940"/>
                    <a:gd name="connsiteX82" fmla="*/ 1687852 w 4519987"/>
                    <a:gd name="connsiteY82" fmla="*/ 4343400 h 4496940"/>
                    <a:gd name="connsiteX83" fmla="*/ 1573552 w 4519987"/>
                    <a:gd name="connsiteY83" fmla="*/ 4305300 h 4496940"/>
                    <a:gd name="connsiteX84" fmla="*/ 1402102 w 4519987"/>
                    <a:gd name="connsiteY84" fmla="*/ 4276725 h 4496940"/>
                    <a:gd name="connsiteX85" fmla="*/ 1287802 w 4519987"/>
                    <a:gd name="connsiteY85" fmla="*/ 4229100 h 4496940"/>
                    <a:gd name="connsiteX86" fmla="*/ 1221127 w 4519987"/>
                    <a:gd name="connsiteY86" fmla="*/ 4200525 h 4496940"/>
                    <a:gd name="connsiteX87" fmla="*/ 1144927 w 4519987"/>
                    <a:gd name="connsiteY87" fmla="*/ 4171950 h 4496940"/>
                    <a:gd name="connsiteX88" fmla="*/ 1087777 w 4519987"/>
                    <a:gd name="connsiteY88" fmla="*/ 4143375 h 4496940"/>
                    <a:gd name="connsiteX89" fmla="*/ 1030627 w 4519987"/>
                    <a:gd name="connsiteY89" fmla="*/ 4124325 h 4496940"/>
                    <a:gd name="connsiteX90" fmla="*/ 925852 w 4519987"/>
                    <a:gd name="connsiteY90" fmla="*/ 4067175 h 4496940"/>
                    <a:gd name="connsiteX91" fmla="*/ 830602 w 4519987"/>
                    <a:gd name="connsiteY91" fmla="*/ 3981450 h 4496940"/>
                    <a:gd name="connsiteX92" fmla="*/ 763927 w 4519987"/>
                    <a:gd name="connsiteY92" fmla="*/ 3914775 h 4496940"/>
                    <a:gd name="connsiteX93" fmla="*/ 725827 w 4519987"/>
                    <a:gd name="connsiteY93" fmla="*/ 3876675 h 4496940"/>
                    <a:gd name="connsiteX94" fmla="*/ 697252 w 4519987"/>
                    <a:gd name="connsiteY94" fmla="*/ 3838575 h 4496940"/>
                    <a:gd name="connsiteX95" fmla="*/ 640102 w 4519987"/>
                    <a:gd name="connsiteY95" fmla="*/ 3781425 h 4496940"/>
                    <a:gd name="connsiteX96" fmla="*/ 611527 w 4519987"/>
                    <a:gd name="connsiteY96" fmla="*/ 3733800 h 4496940"/>
                    <a:gd name="connsiteX97" fmla="*/ 554377 w 4519987"/>
                    <a:gd name="connsiteY97" fmla="*/ 3657600 h 4496940"/>
                    <a:gd name="connsiteX98" fmla="*/ 525802 w 4519987"/>
                    <a:gd name="connsiteY98" fmla="*/ 3609975 h 4496940"/>
                    <a:gd name="connsiteX99" fmla="*/ 497227 w 4519987"/>
                    <a:gd name="connsiteY99" fmla="*/ 3552825 h 4496940"/>
                    <a:gd name="connsiteX100" fmla="*/ 440077 w 4519987"/>
                    <a:gd name="connsiteY100" fmla="*/ 3495675 h 4496940"/>
                    <a:gd name="connsiteX101" fmla="*/ 411502 w 4519987"/>
                    <a:gd name="connsiteY101" fmla="*/ 3448050 h 4496940"/>
                    <a:gd name="connsiteX102" fmla="*/ 278152 w 4519987"/>
                    <a:gd name="connsiteY102" fmla="*/ 3257550 h 4496940"/>
                    <a:gd name="connsiteX103" fmla="*/ 249577 w 4519987"/>
                    <a:gd name="connsiteY103" fmla="*/ 3200400 h 4496940"/>
                    <a:gd name="connsiteX104" fmla="*/ 240052 w 4519987"/>
                    <a:gd name="connsiteY104" fmla="*/ 3162300 h 4496940"/>
                    <a:gd name="connsiteX105" fmla="*/ 221002 w 4519987"/>
                    <a:gd name="connsiteY105" fmla="*/ 3105150 h 4496940"/>
                    <a:gd name="connsiteX106" fmla="*/ 173377 w 4519987"/>
                    <a:gd name="connsiteY106" fmla="*/ 3019425 h 4496940"/>
                    <a:gd name="connsiteX107" fmla="*/ 144802 w 4519987"/>
                    <a:gd name="connsiteY107" fmla="*/ 2924175 h 4496940"/>
                    <a:gd name="connsiteX108" fmla="*/ 68602 w 4519987"/>
                    <a:gd name="connsiteY108" fmla="*/ 2724150 h 4496940"/>
                    <a:gd name="connsiteX109" fmla="*/ 49552 w 4519987"/>
                    <a:gd name="connsiteY109" fmla="*/ 2638425 h 4496940"/>
                    <a:gd name="connsiteX110" fmla="*/ 40027 w 4519987"/>
                    <a:gd name="connsiteY110" fmla="*/ 2562225 h 4496940"/>
                    <a:gd name="connsiteX111" fmla="*/ 30502 w 4519987"/>
                    <a:gd name="connsiteY111" fmla="*/ 2514600 h 4496940"/>
                    <a:gd name="connsiteX112" fmla="*/ 11452 w 4519987"/>
                    <a:gd name="connsiteY112" fmla="*/ 2400300 h 4496940"/>
                    <a:gd name="connsiteX113" fmla="*/ 20977 w 4519987"/>
                    <a:gd name="connsiteY113" fmla="*/ 1905000 h 4496940"/>
                    <a:gd name="connsiteX114" fmla="*/ 30502 w 4519987"/>
                    <a:gd name="connsiteY114" fmla="*/ 1838325 h 4496940"/>
                    <a:gd name="connsiteX115" fmla="*/ 49552 w 4519987"/>
                    <a:gd name="connsiteY115" fmla="*/ 1781175 h 4496940"/>
                    <a:gd name="connsiteX116" fmla="*/ 59077 w 4519987"/>
                    <a:gd name="connsiteY116" fmla="*/ 1743075 h 4496940"/>
                    <a:gd name="connsiteX117" fmla="*/ 78127 w 4519987"/>
                    <a:gd name="connsiteY117" fmla="*/ 1685925 h 4496940"/>
                    <a:gd name="connsiteX118" fmla="*/ 87652 w 4519987"/>
                    <a:gd name="connsiteY118" fmla="*/ 1638300 h 4496940"/>
                    <a:gd name="connsiteX119" fmla="*/ 106702 w 4519987"/>
                    <a:gd name="connsiteY119" fmla="*/ 1590675 h 4496940"/>
                    <a:gd name="connsiteX120" fmla="*/ 135277 w 4519987"/>
                    <a:gd name="connsiteY120" fmla="*/ 1504950 h 4496940"/>
                    <a:gd name="connsiteX121" fmla="*/ 154327 w 4519987"/>
                    <a:gd name="connsiteY121" fmla="*/ 1419225 h 4496940"/>
                    <a:gd name="connsiteX122" fmla="*/ 230527 w 4519987"/>
                    <a:gd name="connsiteY122" fmla="*/ 1276350 h 4496940"/>
                    <a:gd name="connsiteX123" fmla="*/ 240052 w 4519987"/>
                    <a:gd name="connsiteY123" fmla="*/ 1247775 h 4496940"/>
                    <a:gd name="connsiteX124" fmla="*/ 268627 w 4519987"/>
                    <a:gd name="connsiteY124" fmla="*/ 1200150 h 4496940"/>
                    <a:gd name="connsiteX125" fmla="*/ 287677 w 4519987"/>
                    <a:gd name="connsiteY125" fmla="*/ 1152525 h 4496940"/>
                    <a:gd name="connsiteX126" fmla="*/ 316252 w 4519987"/>
                    <a:gd name="connsiteY126" fmla="*/ 1114425 h 4496940"/>
                    <a:gd name="connsiteX127" fmla="*/ 363877 w 4519987"/>
                    <a:gd name="connsiteY127" fmla="*/ 1038225 h 4496940"/>
                    <a:gd name="connsiteX128" fmla="*/ 382927 w 4519987"/>
                    <a:gd name="connsiteY128" fmla="*/ 1009650 h 4496940"/>
                    <a:gd name="connsiteX129" fmla="*/ 440077 w 4519987"/>
                    <a:gd name="connsiteY129" fmla="*/ 904875 h 4496940"/>
                    <a:gd name="connsiteX130" fmla="*/ 478177 w 4519987"/>
                    <a:gd name="connsiteY130" fmla="*/ 857250 h 4496940"/>
                    <a:gd name="connsiteX131" fmla="*/ 497227 w 4519987"/>
                    <a:gd name="connsiteY131" fmla="*/ 828675 h 4496940"/>
                    <a:gd name="connsiteX132" fmla="*/ 535327 w 4519987"/>
                    <a:gd name="connsiteY132" fmla="*/ 800100 h 4496940"/>
                    <a:gd name="connsiteX133" fmla="*/ 602002 w 4519987"/>
                    <a:gd name="connsiteY133" fmla="*/ 733425 h 4496940"/>
                    <a:gd name="connsiteX134" fmla="*/ 668677 w 4519987"/>
                    <a:gd name="connsiteY134" fmla="*/ 676275 h 4496940"/>
                    <a:gd name="connsiteX135" fmla="*/ 697252 w 4519987"/>
                    <a:gd name="connsiteY135" fmla="*/ 657225 h 4496940"/>
                    <a:gd name="connsiteX136" fmla="*/ 840127 w 4519987"/>
                    <a:gd name="connsiteY136" fmla="*/ 533400 h 4496940"/>
                    <a:gd name="connsiteX137" fmla="*/ 887752 w 4519987"/>
                    <a:gd name="connsiteY137" fmla="*/ 504825 h 4496940"/>
                    <a:gd name="connsiteX138" fmla="*/ 1167152 w 4519987"/>
                    <a:gd name="connsiteY138" fmla="*/ 311150 h 4496940"/>
                    <a:gd name="connsiteX139" fmla="*/ 1268752 w 4519987"/>
                    <a:gd name="connsiteY139" fmla="*/ 285750 h 4496940"/>
                    <a:gd name="connsiteX140" fmla="*/ 1411627 w 4519987"/>
                    <a:gd name="connsiteY140" fmla="*/ 190500 h 4496940"/>
                    <a:gd name="connsiteX141" fmla="*/ 1449727 w 4519987"/>
                    <a:gd name="connsiteY141" fmla="*/ 161925 h 4496940"/>
                    <a:gd name="connsiteX142" fmla="*/ 1525927 w 4519987"/>
                    <a:gd name="connsiteY142" fmla="*/ 152400 h 4496940"/>
                    <a:gd name="connsiteX143" fmla="*/ 1583077 w 4519987"/>
                    <a:gd name="connsiteY143" fmla="*/ 142875 h 4496940"/>
                    <a:gd name="connsiteX144" fmla="*/ 1716427 w 4519987"/>
                    <a:gd name="connsiteY144" fmla="*/ 123825 h 4496940"/>
                    <a:gd name="connsiteX145" fmla="*/ 1811677 w 4519987"/>
                    <a:gd name="connsiteY145" fmla="*/ 114300 h 4496940"/>
                    <a:gd name="connsiteX146" fmla="*/ 1859302 w 4519987"/>
                    <a:gd name="connsiteY146" fmla="*/ 104775 h 4496940"/>
                    <a:gd name="connsiteX147" fmla="*/ 1916452 w 4519987"/>
                    <a:gd name="connsiteY147" fmla="*/ 95250 h 4496940"/>
                    <a:gd name="connsiteX148" fmla="*/ 2030752 w 4519987"/>
                    <a:gd name="connsiteY148" fmla="*/ 66675 h 4496940"/>
                    <a:gd name="connsiteX149" fmla="*/ 2097427 w 4519987"/>
                    <a:gd name="connsiteY149" fmla="*/ 47625 h 4496940"/>
                    <a:gd name="connsiteX150" fmla="*/ 2164102 w 4519987"/>
                    <a:gd name="connsiteY150" fmla="*/ 38100 h 4496940"/>
                    <a:gd name="connsiteX151" fmla="*/ 2392702 w 4519987"/>
                    <a:gd name="connsiteY15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3935752 w 4519987"/>
                    <a:gd name="connsiteY22" fmla="*/ 676275 h 4496940"/>
                    <a:gd name="connsiteX23" fmla="*/ 4078627 w 4519987"/>
                    <a:gd name="connsiteY23" fmla="*/ 838200 h 4496940"/>
                    <a:gd name="connsiteX24" fmla="*/ 4135777 w 4519987"/>
                    <a:gd name="connsiteY24" fmla="*/ 933450 h 4496940"/>
                    <a:gd name="connsiteX25" fmla="*/ 4164352 w 4519987"/>
                    <a:gd name="connsiteY25" fmla="*/ 990600 h 4496940"/>
                    <a:gd name="connsiteX26" fmla="*/ 4173877 w 4519987"/>
                    <a:gd name="connsiteY26" fmla="*/ 1019175 h 4496940"/>
                    <a:gd name="connsiteX27" fmla="*/ 4192927 w 4519987"/>
                    <a:gd name="connsiteY27" fmla="*/ 1057275 h 4496940"/>
                    <a:gd name="connsiteX28" fmla="*/ 4202452 w 4519987"/>
                    <a:gd name="connsiteY28" fmla="*/ 1085850 h 4496940"/>
                    <a:gd name="connsiteX29" fmla="*/ 4250077 w 4519987"/>
                    <a:gd name="connsiteY29" fmla="*/ 1143000 h 4496940"/>
                    <a:gd name="connsiteX30" fmla="*/ 4259602 w 4519987"/>
                    <a:gd name="connsiteY30" fmla="*/ 1190625 h 4496940"/>
                    <a:gd name="connsiteX31" fmla="*/ 4307227 w 4519987"/>
                    <a:gd name="connsiteY31" fmla="*/ 1266825 h 4496940"/>
                    <a:gd name="connsiteX32" fmla="*/ 4345327 w 4519987"/>
                    <a:gd name="connsiteY32" fmla="*/ 1362075 h 4496940"/>
                    <a:gd name="connsiteX33" fmla="*/ 4373902 w 4519987"/>
                    <a:gd name="connsiteY33" fmla="*/ 1428750 h 4496940"/>
                    <a:gd name="connsiteX34" fmla="*/ 4392952 w 4519987"/>
                    <a:gd name="connsiteY34" fmla="*/ 1552575 h 4496940"/>
                    <a:gd name="connsiteX35" fmla="*/ 4402477 w 4519987"/>
                    <a:gd name="connsiteY35" fmla="*/ 1590675 h 4496940"/>
                    <a:gd name="connsiteX36" fmla="*/ 4431052 w 4519987"/>
                    <a:gd name="connsiteY36" fmla="*/ 1685925 h 4496940"/>
                    <a:gd name="connsiteX37" fmla="*/ 4519952 w 4519987"/>
                    <a:gd name="connsiteY37" fmla="*/ 2181225 h 4496940"/>
                    <a:gd name="connsiteX38" fmla="*/ 4446927 w 4519987"/>
                    <a:gd name="connsiteY38" fmla="*/ 2768600 h 4496940"/>
                    <a:gd name="connsiteX39" fmla="*/ 4383427 w 4519987"/>
                    <a:gd name="connsiteY39" fmla="*/ 2990850 h 4496940"/>
                    <a:gd name="connsiteX40" fmla="*/ 4278652 w 4519987"/>
                    <a:gd name="connsiteY40" fmla="*/ 3248025 h 4496940"/>
                    <a:gd name="connsiteX41" fmla="*/ 4259602 w 4519987"/>
                    <a:gd name="connsiteY41" fmla="*/ 3276600 h 4496940"/>
                    <a:gd name="connsiteX42" fmla="*/ 4221502 w 4519987"/>
                    <a:gd name="connsiteY42" fmla="*/ 3333750 h 4496940"/>
                    <a:gd name="connsiteX43" fmla="*/ 4211977 w 4519987"/>
                    <a:gd name="connsiteY43" fmla="*/ 3362325 h 4496940"/>
                    <a:gd name="connsiteX44" fmla="*/ 4183402 w 4519987"/>
                    <a:gd name="connsiteY44" fmla="*/ 3400425 h 4496940"/>
                    <a:gd name="connsiteX45" fmla="*/ 4164352 w 4519987"/>
                    <a:gd name="connsiteY45" fmla="*/ 3429000 h 4496940"/>
                    <a:gd name="connsiteX46" fmla="*/ 4088152 w 4519987"/>
                    <a:gd name="connsiteY46" fmla="*/ 3495675 h 4496940"/>
                    <a:gd name="connsiteX47" fmla="*/ 4059577 w 4519987"/>
                    <a:gd name="connsiteY47" fmla="*/ 3533775 h 4496940"/>
                    <a:gd name="connsiteX48" fmla="*/ 4002427 w 4519987"/>
                    <a:gd name="connsiteY48" fmla="*/ 3600450 h 4496940"/>
                    <a:gd name="connsiteX49" fmla="*/ 3983377 w 4519987"/>
                    <a:gd name="connsiteY49" fmla="*/ 3629025 h 4496940"/>
                    <a:gd name="connsiteX50" fmla="*/ 3954802 w 4519987"/>
                    <a:gd name="connsiteY50" fmla="*/ 3648075 h 4496940"/>
                    <a:gd name="connsiteX51" fmla="*/ 3907177 w 4519987"/>
                    <a:gd name="connsiteY51" fmla="*/ 3686175 h 4496940"/>
                    <a:gd name="connsiteX52" fmla="*/ 3869077 w 4519987"/>
                    <a:gd name="connsiteY52" fmla="*/ 3724275 h 4496940"/>
                    <a:gd name="connsiteX53" fmla="*/ 3792877 w 4519987"/>
                    <a:gd name="connsiteY53" fmla="*/ 3781425 h 4496940"/>
                    <a:gd name="connsiteX54" fmla="*/ 3783352 w 4519987"/>
                    <a:gd name="connsiteY54" fmla="*/ 3810000 h 4496940"/>
                    <a:gd name="connsiteX55" fmla="*/ 3745252 w 4519987"/>
                    <a:gd name="connsiteY55" fmla="*/ 3819525 h 4496940"/>
                    <a:gd name="connsiteX56" fmla="*/ 3678577 w 4519987"/>
                    <a:gd name="connsiteY56" fmla="*/ 3848100 h 4496940"/>
                    <a:gd name="connsiteX57" fmla="*/ 3659527 w 4519987"/>
                    <a:gd name="connsiteY57" fmla="*/ 3971925 h 4496940"/>
                    <a:gd name="connsiteX58" fmla="*/ 3630952 w 4519987"/>
                    <a:gd name="connsiteY58" fmla="*/ 4010025 h 4496940"/>
                    <a:gd name="connsiteX59" fmla="*/ 3621427 w 4519987"/>
                    <a:gd name="connsiteY59" fmla="*/ 4038600 h 4496940"/>
                    <a:gd name="connsiteX60" fmla="*/ 3554752 w 4519987"/>
                    <a:gd name="connsiteY60" fmla="*/ 4095750 h 4496940"/>
                    <a:gd name="connsiteX61" fmla="*/ 3516652 w 4519987"/>
                    <a:gd name="connsiteY61" fmla="*/ 4114800 h 4496940"/>
                    <a:gd name="connsiteX62" fmla="*/ 3497602 w 4519987"/>
                    <a:gd name="connsiteY62" fmla="*/ 4143375 h 4496940"/>
                    <a:gd name="connsiteX63" fmla="*/ 3383302 w 4519987"/>
                    <a:gd name="connsiteY63" fmla="*/ 4210050 h 4496940"/>
                    <a:gd name="connsiteX64" fmla="*/ 3335677 w 4519987"/>
                    <a:gd name="connsiteY64" fmla="*/ 4238625 h 4496940"/>
                    <a:gd name="connsiteX65" fmla="*/ 3288052 w 4519987"/>
                    <a:gd name="connsiteY65" fmla="*/ 4248150 h 4496940"/>
                    <a:gd name="connsiteX66" fmla="*/ 3240427 w 4519987"/>
                    <a:gd name="connsiteY66" fmla="*/ 4267200 h 4496940"/>
                    <a:gd name="connsiteX67" fmla="*/ 3068977 w 4519987"/>
                    <a:gd name="connsiteY67" fmla="*/ 4286250 h 4496940"/>
                    <a:gd name="connsiteX68" fmla="*/ 2935627 w 4519987"/>
                    <a:gd name="connsiteY68" fmla="*/ 4333875 h 4496940"/>
                    <a:gd name="connsiteX69" fmla="*/ 2811802 w 4519987"/>
                    <a:gd name="connsiteY69" fmla="*/ 4371975 h 4496940"/>
                    <a:gd name="connsiteX70" fmla="*/ 2745127 w 4519987"/>
                    <a:gd name="connsiteY70" fmla="*/ 4410075 h 4496940"/>
                    <a:gd name="connsiteX71" fmla="*/ 2697502 w 4519987"/>
                    <a:gd name="connsiteY71" fmla="*/ 4429125 h 4496940"/>
                    <a:gd name="connsiteX72" fmla="*/ 2640352 w 4519987"/>
                    <a:gd name="connsiteY72" fmla="*/ 4457700 h 4496940"/>
                    <a:gd name="connsiteX73" fmla="*/ 2583202 w 4519987"/>
                    <a:gd name="connsiteY73" fmla="*/ 4467225 h 4496940"/>
                    <a:gd name="connsiteX74" fmla="*/ 2545102 w 4519987"/>
                    <a:gd name="connsiteY74" fmla="*/ 4486275 h 4496940"/>
                    <a:gd name="connsiteX75" fmla="*/ 2306977 w 4519987"/>
                    <a:gd name="connsiteY75" fmla="*/ 4476750 h 4496940"/>
                    <a:gd name="connsiteX76" fmla="*/ 2202202 w 4519987"/>
                    <a:gd name="connsiteY76" fmla="*/ 4457700 h 4496940"/>
                    <a:gd name="connsiteX77" fmla="*/ 2126002 w 4519987"/>
                    <a:gd name="connsiteY77" fmla="*/ 4429125 h 4496940"/>
                    <a:gd name="connsiteX78" fmla="*/ 1935502 w 4519987"/>
                    <a:gd name="connsiteY78" fmla="*/ 4400550 h 4496940"/>
                    <a:gd name="connsiteX79" fmla="*/ 1821202 w 4519987"/>
                    <a:gd name="connsiteY79" fmla="*/ 4371975 h 4496940"/>
                    <a:gd name="connsiteX80" fmla="*/ 1754527 w 4519987"/>
                    <a:gd name="connsiteY80" fmla="*/ 4352925 h 4496940"/>
                    <a:gd name="connsiteX81" fmla="*/ 1687852 w 4519987"/>
                    <a:gd name="connsiteY81" fmla="*/ 4343400 h 4496940"/>
                    <a:gd name="connsiteX82" fmla="*/ 1573552 w 4519987"/>
                    <a:gd name="connsiteY82" fmla="*/ 4305300 h 4496940"/>
                    <a:gd name="connsiteX83" fmla="*/ 1402102 w 4519987"/>
                    <a:gd name="connsiteY83" fmla="*/ 4276725 h 4496940"/>
                    <a:gd name="connsiteX84" fmla="*/ 1287802 w 4519987"/>
                    <a:gd name="connsiteY84" fmla="*/ 4229100 h 4496940"/>
                    <a:gd name="connsiteX85" fmla="*/ 1221127 w 4519987"/>
                    <a:gd name="connsiteY85" fmla="*/ 4200525 h 4496940"/>
                    <a:gd name="connsiteX86" fmla="*/ 1144927 w 4519987"/>
                    <a:gd name="connsiteY86" fmla="*/ 4171950 h 4496940"/>
                    <a:gd name="connsiteX87" fmla="*/ 1087777 w 4519987"/>
                    <a:gd name="connsiteY87" fmla="*/ 4143375 h 4496940"/>
                    <a:gd name="connsiteX88" fmla="*/ 1030627 w 4519987"/>
                    <a:gd name="connsiteY88" fmla="*/ 4124325 h 4496940"/>
                    <a:gd name="connsiteX89" fmla="*/ 925852 w 4519987"/>
                    <a:gd name="connsiteY89" fmla="*/ 4067175 h 4496940"/>
                    <a:gd name="connsiteX90" fmla="*/ 830602 w 4519987"/>
                    <a:gd name="connsiteY90" fmla="*/ 3981450 h 4496940"/>
                    <a:gd name="connsiteX91" fmla="*/ 763927 w 4519987"/>
                    <a:gd name="connsiteY91" fmla="*/ 3914775 h 4496940"/>
                    <a:gd name="connsiteX92" fmla="*/ 725827 w 4519987"/>
                    <a:gd name="connsiteY92" fmla="*/ 3876675 h 4496940"/>
                    <a:gd name="connsiteX93" fmla="*/ 697252 w 4519987"/>
                    <a:gd name="connsiteY93" fmla="*/ 3838575 h 4496940"/>
                    <a:gd name="connsiteX94" fmla="*/ 640102 w 4519987"/>
                    <a:gd name="connsiteY94" fmla="*/ 3781425 h 4496940"/>
                    <a:gd name="connsiteX95" fmla="*/ 611527 w 4519987"/>
                    <a:gd name="connsiteY95" fmla="*/ 3733800 h 4496940"/>
                    <a:gd name="connsiteX96" fmla="*/ 554377 w 4519987"/>
                    <a:gd name="connsiteY96" fmla="*/ 3657600 h 4496940"/>
                    <a:gd name="connsiteX97" fmla="*/ 525802 w 4519987"/>
                    <a:gd name="connsiteY97" fmla="*/ 3609975 h 4496940"/>
                    <a:gd name="connsiteX98" fmla="*/ 497227 w 4519987"/>
                    <a:gd name="connsiteY98" fmla="*/ 3552825 h 4496940"/>
                    <a:gd name="connsiteX99" fmla="*/ 440077 w 4519987"/>
                    <a:gd name="connsiteY99" fmla="*/ 3495675 h 4496940"/>
                    <a:gd name="connsiteX100" fmla="*/ 411502 w 4519987"/>
                    <a:gd name="connsiteY100" fmla="*/ 3448050 h 4496940"/>
                    <a:gd name="connsiteX101" fmla="*/ 278152 w 4519987"/>
                    <a:gd name="connsiteY101" fmla="*/ 3257550 h 4496940"/>
                    <a:gd name="connsiteX102" fmla="*/ 249577 w 4519987"/>
                    <a:gd name="connsiteY102" fmla="*/ 3200400 h 4496940"/>
                    <a:gd name="connsiteX103" fmla="*/ 240052 w 4519987"/>
                    <a:gd name="connsiteY103" fmla="*/ 3162300 h 4496940"/>
                    <a:gd name="connsiteX104" fmla="*/ 221002 w 4519987"/>
                    <a:gd name="connsiteY104" fmla="*/ 3105150 h 4496940"/>
                    <a:gd name="connsiteX105" fmla="*/ 173377 w 4519987"/>
                    <a:gd name="connsiteY105" fmla="*/ 3019425 h 4496940"/>
                    <a:gd name="connsiteX106" fmla="*/ 144802 w 4519987"/>
                    <a:gd name="connsiteY106" fmla="*/ 2924175 h 4496940"/>
                    <a:gd name="connsiteX107" fmla="*/ 68602 w 4519987"/>
                    <a:gd name="connsiteY107" fmla="*/ 2724150 h 4496940"/>
                    <a:gd name="connsiteX108" fmla="*/ 49552 w 4519987"/>
                    <a:gd name="connsiteY108" fmla="*/ 2638425 h 4496940"/>
                    <a:gd name="connsiteX109" fmla="*/ 40027 w 4519987"/>
                    <a:gd name="connsiteY109" fmla="*/ 2562225 h 4496940"/>
                    <a:gd name="connsiteX110" fmla="*/ 30502 w 4519987"/>
                    <a:gd name="connsiteY110" fmla="*/ 2514600 h 4496940"/>
                    <a:gd name="connsiteX111" fmla="*/ 11452 w 4519987"/>
                    <a:gd name="connsiteY111" fmla="*/ 2400300 h 4496940"/>
                    <a:gd name="connsiteX112" fmla="*/ 20977 w 4519987"/>
                    <a:gd name="connsiteY112" fmla="*/ 1905000 h 4496940"/>
                    <a:gd name="connsiteX113" fmla="*/ 30502 w 4519987"/>
                    <a:gd name="connsiteY113" fmla="*/ 1838325 h 4496940"/>
                    <a:gd name="connsiteX114" fmla="*/ 49552 w 4519987"/>
                    <a:gd name="connsiteY114" fmla="*/ 1781175 h 4496940"/>
                    <a:gd name="connsiteX115" fmla="*/ 59077 w 4519987"/>
                    <a:gd name="connsiteY115" fmla="*/ 1743075 h 4496940"/>
                    <a:gd name="connsiteX116" fmla="*/ 78127 w 4519987"/>
                    <a:gd name="connsiteY116" fmla="*/ 1685925 h 4496940"/>
                    <a:gd name="connsiteX117" fmla="*/ 87652 w 4519987"/>
                    <a:gd name="connsiteY117" fmla="*/ 1638300 h 4496940"/>
                    <a:gd name="connsiteX118" fmla="*/ 106702 w 4519987"/>
                    <a:gd name="connsiteY118" fmla="*/ 1590675 h 4496940"/>
                    <a:gd name="connsiteX119" fmla="*/ 135277 w 4519987"/>
                    <a:gd name="connsiteY119" fmla="*/ 1504950 h 4496940"/>
                    <a:gd name="connsiteX120" fmla="*/ 154327 w 4519987"/>
                    <a:gd name="connsiteY120" fmla="*/ 1419225 h 4496940"/>
                    <a:gd name="connsiteX121" fmla="*/ 230527 w 4519987"/>
                    <a:gd name="connsiteY121" fmla="*/ 1276350 h 4496940"/>
                    <a:gd name="connsiteX122" fmla="*/ 240052 w 4519987"/>
                    <a:gd name="connsiteY122" fmla="*/ 1247775 h 4496940"/>
                    <a:gd name="connsiteX123" fmla="*/ 268627 w 4519987"/>
                    <a:gd name="connsiteY123" fmla="*/ 1200150 h 4496940"/>
                    <a:gd name="connsiteX124" fmla="*/ 287677 w 4519987"/>
                    <a:gd name="connsiteY124" fmla="*/ 1152525 h 4496940"/>
                    <a:gd name="connsiteX125" fmla="*/ 316252 w 4519987"/>
                    <a:gd name="connsiteY125" fmla="*/ 1114425 h 4496940"/>
                    <a:gd name="connsiteX126" fmla="*/ 363877 w 4519987"/>
                    <a:gd name="connsiteY126" fmla="*/ 1038225 h 4496940"/>
                    <a:gd name="connsiteX127" fmla="*/ 382927 w 4519987"/>
                    <a:gd name="connsiteY127" fmla="*/ 1009650 h 4496940"/>
                    <a:gd name="connsiteX128" fmla="*/ 440077 w 4519987"/>
                    <a:gd name="connsiteY128" fmla="*/ 904875 h 4496940"/>
                    <a:gd name="connsiteX129" fmla="*/ 478177 w 4519987"/>
                    <a:gd name="connsiteY129" fmla="*/ 857250 h 4496940"/>
                    <a:gd name="connsiteX130" fmla="*/ 497227 w 4519987"/>
                    <a:gd name="connsiteY130" fmla="*/ 828675 h 4496940"/>
                    <a:gd name="connsiteX131" fmla="*/ 535327 w 4519987"/>
                    <a:gd name="connsiteY131" fmla="*/ 800100 h 4496940"/>
                    <a:gd name="connsiteX132" fmla="*/ 602002 w 4519987"/>
                    <a:gd name="connsiteY132" fmla="*/ 733425 h 4496940"/>
                    <a:gd name="connsiteX133" fmla="*/ 668677 w 4519987"/>
                    <a:gd name="connsiteY133" fmla="*/ 676275 h 4496940"/>
                    <a:gd name="connsiteX134" fmla="*/ 697252 w 4519987"/>
                    <a:gd name="connsiteY134" fmla="*/ 657225 h 4496940"/>
                    <a:gd name="connsiteX135" fmla="*/ 840127 w 4519987"/>
                    <a:gd name="connsiteY135" fmla="*/ 533400 h 4496940"/>
                    <a:gd name="connsiteX136" fmla="*/ 887752 w 4519987"/>
                    <a:gd name="connsiteY136" fmla="*/ 504825 h 4496940"/>
                    <a:gd name="connsiteX137" fmla="*/ 1167152 w 4519987"/>
                    <a:gd name="connsiteY137" fmla="*/ 311150 h 4496940"/>
                    <a:gd name="connsiteX138" fmla="*/ 1268752 w 4519987"/>
                    <a:gd name="connsiteY138" fmla="*/ 285750 h 4496940"/>
                    <a:gd name="connsiteX139" fmla="*/ 1411627 w 4519987"/>
                    <a:gd name="connsiteY139" fmla="*/ 190500 h 4496940"/>
                    <a:gd name="connsiteX140" fmla="*/ 1449727 w 4519987"/>
                    <a:gd name="connsiteY140" fmla="*/ 161925 h 4496940"/>
                    <a:gd name="connsiteX141" fmla="*/ 1525927 w 4519987"/>
                    <a:gd name="connsiteY141" fmla="*/ 152400 h 4496940"/>
                    <a:gd name="connsiteX142" fmla="*/ 1583077 w 4519987"/>
                    <a:gd name="connsiteY142" fmla="*/ 142875 h 4496940"/>
                    <a:gd name="connsiteX143" fmla="*/ 1716427 w 4519987"/>
                    <a:gd name="connsiteY143" fmla="*/ 123825 h 4496940"/>
                    <a:gd name="connsiteX144" fmla="*/ 1811677 w 4519987"/>
                    <a:gd name="connsiteY144" fmla="*/ 114300 h 4496940"/>
                    <a:gd name="connsiteX145" fmla="*/ 1859302 w 4519987"/>
                    <a:gd name="connsiteY145" fmla="*/ 104775 h 4496940"/>
                    <a:gd name="connsiteX146" fmla="*/ 1916452 w 4519987"/>
                    <a:gd name="connsiteY146" fmla="*/ 95250 h 4496940"/>
                    <a:gd name="connsiteX147" fmla="*/ 2030752 w 4519987"/>
                    <a:gd name="connsiteY147" fmla="*/ 66675 h 4496940"/>
                    <a:gd name="connsiteX148" fmla="*/ 2097427 w 4519987"/>
                    <a:gd name="connsiteY148" fmla="*/ 47625 h 4496940"/>
                    <a:gd name="connsiteX149" fmla="*/ 2164102 w 4519987"/>
                    <a:gd name="connsiteY149" fmla="*/ 38100 h 4496940"/>
                    <a:gd name="connsiteX150" fmla="*/ 2392702 w 4519987"/>
                    <a:gd name="connsiteY15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4078627 w 4519987"/>
                    <a:gd name="connsiteY22" fmla="*/ 838200 h 4496940"/>
                    <a:gd name="connsiteX23" fmla="*/ 4135777 w 4519987"/>
                    <a:gd name="connsiteY23" fmla="*/ 933450 h 4496940"/>
                    <a:gd name="connsiteX24" fmla="*/ 4164352 w 4519987"/>
                    <a:gd name="connsiteY24" fmla="*/ 990600 h 4496940"/>
                    <a:gd name="connsiteX25" fmla="*/ 4173877 w 4519987"/>
                    <a:gd name="connsiteY25" fmla="*/ 1019175 h 4496940"/>
                    <a:gd name="connsiteX26" fmla="*/ 4192927 w 4519987"/>
                    <a:gd name="connsiteY26" fmla="*/ 1057275 h 4496940"/>
                    <a:gd name="connsiteX27" fmla="*/ 4202452 w 4519987"/>
                    <a:gd name="connsiteY27" fmla="*/ 1085850 h 4496940"/>
                    <a:gd name="connsiteX28" fmla="*/ 4250077 w 4519987"/>
                    <a:gd name="connsiteY28" fmla="*/ 1143000 h 4496940"/>
                    <a:gd name="connsiteX29" fmla="*/ 4259602 w 4519987"/>
                    <a:gd name="connsiteY29" fmla="*/ 1190625 h 4496940"/>
                    <a:gd name="connsiteX30" fmla="*/ 4307227 w 4519987"/>
                    <a:gd name="connsiteY30" fmla="*/ 1266825 h 4496940"/>
                    <a:gd name="connsiteX31" fmla="*/ 4345327 w 4519987"/>
                    <a:gd name="connsiteY31" fmla="*/ 1362075 h 4496940"/>
                    <a:gd name="connsiteX32" fmla="*/ 4373902 w 4519987"/>
                    <a:gd name="connsiteY32" fmla="*/ 1428750 h 4496940"/>
                    <a:gd name="connsiteX33" fmla="*/ 4392952 w 4519987"/>
                    <a:gd name="connsiteY33" fmla="*/ 1552575 h 4496940"/>
                    <a:gd name="connsiteX34" fmla="*/ 4402477 w 4519987"/>
                    <a:gd name="connsiteY34" fmla="*/ 1590675 h 4496940"/>
                    <a:gd name="connsiteX35" fmla="*/ 4431052 w 4519987"/>
                    <a:gd name="connsiteY35" fmla="*/ 1685925 h 4496940"/>
                    <a:gd name="connsiteX36" fmla="*/ 4519952 w 4519987"/>
                    <a:gd name="connsiteY36" fmla="*/ 2181225 h 4496940"/>
                    <a:gd name="connsiteX37" fmla="*/ 4446927 w 4519987"/>
                    <a:gd name="connsiteY37" fmla="*/ 2768600 h 4496940"/>
                    <a:gd name="connsiteX38" fmla="*/ 4383427 w 4519987"/>
                    <a:gd name="connsiteY38" fmla="*/ 2990850 h 4496940"/>
                    <a:gd name="connsiteX39" fmla="*/ 4278652 w 4519987"/>
                    <a:gd name="connsiteY39" fmla="*/ 3248025 h 4496940"/>
                    <a:gd name="connsiteX40" fmla="*/ 4259602 w 4519987"/>
                    <a:gd name="connsiteY40" fmla="*/ 3276600 h 4496940"/>
                    <a:gd name="connsiteX41" fmla="*/ 4221502 w 4519987"/>
                    <a:gd name="connsiteY41" fmla="*/ 3333750 h 4496940"/>
                    <a:gd name="connsiteX42" fmla="*/ 4211977 w 4519987"/>
                    <a:gd name="connsiteY42" fmla="*/ 3362325 h 4496940"/>
                    <a:gd name="connsiteX43" fmla="*/ 4183402 w 4519987"/>
                    <a:gd name="connsiteY43" fmla="*/ 3400425 h 4496940"/>
                    <a:gd name="connsiteX44" fmla="*/ 4164352 w 4519987"/>
                    <a:gd name="connsiteY44" fmla="*/ 3429000 h 4496940"/>
                    <a:gd name="connsiteX45" fmla="*/ 4088152 w 4519987"/>
                    <a:gd name="connsiteY45" fmla="*/ 3495675 h 4496940"/>
                    <a:gd name="connsiteX46" fmla="*/ 4059577 w 4519987"/>
                    <a:gd name="connsiteY46" fmla="*/ 3533775 h 4496940"/>
                    <a:gd name="connsiteX47" fmla="*/ 4002427 w 4519987"/>
                    <a:gd name="connsiteY47" fmla="*/ 3600450 h 4496940"/>
                    <a:gd name="connsiteX48" fmla="*/ 3983377 w 4519987"/>
                    <a:gd name="connsiteY48" fmla="*/ 3629025 h 4496940"/>
                    <a:gd name="connsiteX49" fmla="*/ 3954802 w 4519987"/>
                    <a:gd name="connsiteY49" fmla="*/ 3648075 h 4496940"/>
                    <a:gd name="connsiteX50" fmla="*/ 3907177 w 4519987"/>
                    <a:gd name="connsiteY50" fmla="*/ 3686175 h 4496940"/>
                    <a:gd name="connsiteX51" fmla="*/ 3869077 w 4519987"/>
                    <a:gd name="connsiteY51" fmla="*/ 3724275 h 4496940"/>
                    <a:gd name="connsiteX52" fmla="*/ 3792877 w 4519987"/>
                    <a:gd name="connsiteY52" fmla="*/ 3781425 h 4496940"/>
                    <a:gd name="connsiteX53" fmla="*/ 3783352 w 4519987"/>
                    <a:gd name="connsiteY53" fmla="*/ 3810000 h 4496940"/>
                    <a:gd name="connsiteX54" fmla="*/ 3745252 w 4519987"/>
                    <a:gd name="connsiteY54" fmla="*/ 3819525 h 4496940"/>
                    <a:gd name="connsiteX55" fmla="*/ 3678577 w 4519987"/>
                    <a:gd name="connsiteY55" fmla="*/ 3848100 h 4496940"/>
                    <a:gd name="connsiteX56" fmla="*/ 3659527 w 4519987"/>
                    <a:gd name="connsiteY56" fmla="*/ 3971925 h 4496940"/>
                    <a:gd name="connsiteX57" fmla="*/ 3630952 w 4519987"/>
                    <a:gd name="connsiteY57" fmla="*/ 4010025 h 4496940"/>
                    <a:gd name="connsiteX58" fmla="*/ 3621427 w 4519987"/>
                    <a:gd name="connsiteY58" fmla="*/ 4038600 h 4496940"/>
                    <a:gd name="connsiteX59" fmla="*/ 3554752 w 4519987"/>
                    <a:gd name="connsiteY59" fmla="*/ 4095750 h 4496940"/>
                    <a:gd name="connsiteX60" fmla="*/ 3516652 w 4519987"/>
                    <a:gd name="connsiteY60" fmla="*/ 4114800 h 4496940"/>
                    <a:gd name="connsiteX61" fmla="*/ 3497602 w 4519987"/>
                    <a:gd name="connsiteY61" fmla="*/ 4143375 h 4496940"/>
                    <a:gd name="connsiteX62" fmla="*/ 3383302 w 4519987"/>
                    <a:gd name="connsiteY62" fmla="*/ 4210050 h 4496940"/>
                    <a:gd name="connsiteX63" fmla="*/ 3335677 w 4519987"/>
                    <a:gd name="connsiteY63" fmla="*/ 4238625 h 4496940"/>
                    <a:gd name="connsiteX64" fmla="*/ 3288052 w 4519987"/>
                    <a:gd name="connsiteY64" fmla="*/ 4248150 h 4496940"/>
                    <a:gd name="connsiteX65" fmla="*/ 3240427 w 4519987"/>
                    <a:gd name="connsiteY65" fmla="*/ 4267200 h 4496940"/>
                    <a:gd name="connsiteX66" fmla="*/ 3068977 w 4519987"/>
                    <a:gd name="connsiteY66" fmla="*/ 4286250 h 4496940"/>
                    <a:gd name="connsiteX67" fmla="*/ 2935627 w 4519987"/>
                    <a:gd name="connsiteY67" fmla="*/ 4333875 h 4496940"/>
                    <a:gd name="connsiteX68" fmla="*/ 2811802 w 4519987"/>
                    <a:gd name="connsiteY68" fmla="*/ 4371975 h 4496940"/>
                    <a:gd name="connsiteX69" fmla="*/ 2745127 w 4519987"/>
                    <a:gd name="connsiteY69" fmla="*/ 4410075 h 4496940"/>
                    <a:gd name="connsiteX70" fmla="*/ 2697502 w 4519987"/>
                    <a:gd name="connsiteY70" fmla="*/ 4429125 h 4496940"/>
                    <a:gd name="connsiteX71" fmla="*/ 2640352 w 4519987"/>
                    <a:gd name="connsiteY71" fmla="*/ 4457700 h 4496940"/>
                    <a:gd name="connsiteX72" fmla="*/ 2583202 w 4519987"/>
                    <a:gd name="connsiteY72" fmla="*/ 4467225 h 4496940"/>
                    <a:gd name="connsiteX73" fmla="*/ 2545102 w 4519987"/>
                    <a:gd name="connsiteY73" fmla="*/ 4486275 h 4496940"/>
                    <a:gd name="connsiteX74" fmla="*/ 2306977 w 4519987"/>
                    <a:gd name="connsiteY74" fmla="*/ 4476750 h 4496940"/>
                    <a:gd name="connsiteX75" fmla="*/ 2202202 w 4519987"/>
                    <a:gd name="connsiteY75" fmla="*/ 4457700 h 4496940"/>
                    <a:gd name="connsiteX76" fmla="*/ 2126002 w 4519987"/>
                    <a:gd name="connsiteY76" fmla="*/ 4429125 h 4496940"/>
                    <a:gd name="connsiteX77" fmla="*/ 1935502 w 4519987"/>
                    <a:gd name="connsiteY77" fmla="*/ 4400550 h 4496940"/>
                    <a:gd name="connsiteX78" fmla="*/ 1821202 w 4519987"/>
                    <a:gd name="connsiteY78" fmla="*/ 4371975 h 4496940"/>
                    <a:gd name="connsiteX79" fmla="*/ 1754527 w 4519987"/>
                    <a:gd name="connsiteY79" fmla="*/ 4352925 h 4496940"/>
                    <a:gd name="connsiteX80" fmla="*/ 1687852 w 4519987"/>
                    <a:gd name="connsiteY80" fmla="*/ 4343400 h 4496940"/>
                    <a:gd name="connsiteX81" fmla="*/ 1573552 w 4519987"/>
                    <a:gd name="connsiteY81" fmla="*/ 4305300 h 4496940"/>
                    <a:gd name="connsiteX82" fmla="*/ 1402102 w 4519987"/>
                    <a:gd name="connsiteY82" fmla="*/ 4276725 h 4496940"/>
                    <a:gd name="connsiteX83" fmla="*/ 1287802 w 4519987"/>
                    <a:gd name="connsiteY83" fmla="*/ 4229100 h 4496940"/>
                    <a:gd name="connsiteX84" fmla="*/ 1221127 w 4519987"/>
                    <a:gd name="connsiteY84" fmla="*/ 4200525 h 4496940"/>
                    <a:gd name="connsiteX85" fmla="*/ 1144927 w 4519987"/>
                    <a:gd name="connsiteY85" fmla="*/ 4171950 h 4496940"/>
                    <a:gd name="connsiteX86" fmla="*/ 1087777 w 4519987"/>
                    <a:gd name="connsiteY86" fmla="*/ 4143375 h 4496940"/>
                    <a:gd name="connsiteX87" fmla="*/ 1030627 w 4519987"/>
                    <a:gd name="connsiteY87" fmla="*/ 4124325 h 4496940"/>
                    <a:gd name="connsiteX88" fmla="*/ 925852 w 4519987"/>
                    <a:gd name="connsiteY88" fmla="*/ 4067175 h 4496940"/>
                    <a:gd name="connsiteX89" fmla="*/ 830602 w 4519987"/>
                    <a:gd name="connsiteY89" fmla="*/ 3981450 h 4496940"/>
                    <a:gd name="connsiteX90" fmla="*/ 763927 w 4519987"/>
                    <a:gd name="connsiteY90" fmla="*/ 3914775 h 4496940"/>
                    <a:gd name="connsiteX91" fmla="*/ 725827 w 4519987"/>
                    <a:gd name="connsiteY91" fmla="*/ 3876675 h 4496940"/>
                    <a:gd name="connsiteX92" fmla="*/ 697252 w 4519987"/>
                    <a:gd name="connsiteY92" fmla="*/ 3838575 h 4496940"/>
                    <a:gd name="connsiteX93" fmla="*/ 640102 w 4519987"/>
                    <a:gd name="connsiteY93" fmla="*/ 3781425 h 4496940"/>
                    <a:gd name="connsiteX94" fmla="*/ 611527 w 4519987"/>
                    <a:gd name="connsiteY94" fmla="*/ 3733800 h 4496940"/>
                    <a:gd name="connsiteX95" fmla="*/ 554377 w 4519987"/>
                    <a:gd name="connsiteY95" fmla="*/ 3657600 h 4496940"/>
                    <a:gd name="connsiteX96" fmla="*/ 525802 w 4519987"/>
                    <a:gd name="connsiteY96" fmla="*/ 3609975 h 4496940"/>
                    <a:gd name="connsiteX97" fmla="*/ 497227 w 4519987"/>
                    <a:gd name="connsiteY97" fmla="*/ 3552825 h 4496940"/>
                    <a:gd name="connsiteX98" fmla="*/ 440077 w 4519987"/>
                    <a:gd name="connsiteY98" fmla="*/ 3495675 h 4496940"/>
                    <a:gd name="connsiteX99" fmla="*/ 411502 w 4519987"/>
                    <a:gd name="connsiteY99" fmla="*/ 3448050 h 4496940"/>
                    <a:gd name="connsiteX100" fmla="*/ 278152 w 4519987"/>
                    <a:gd name="connsiteY100" fmla="*/ 3257550 h 4496940"/>
                    <a:gd name="connsiteX101" fmla="*/ 249577 w 4519987"/>
                    <a:gd name="connsiteY101" fmla="*/ 3200400 h 4496940"/>
                    <a:gd name="connsiteX102" fmla="*/ 240052 w 4519987"/>
                    <a:gd name="connsiteY102" fmla="*/ 3162300 h 4496940"/>
                    <a:gd name="connsiteX103" fmla="*/ 221002 w 4519987"/>
                    <a:gd name="connsiteY103" fmla="*/ 3105150 h 4496940"/>
                    <a:gd name="connsiteX104" fmla="*/ 173377 w 4519987"/>
                    <a:gd name="connsiteY104" fmla="*/ 3019425 h 4496940"/>
                    <a:gd name="connsiteX105" fmla="*/ 144802 w 4519987"/>
                    <a:gd name="connsiteY105" fmla="*/ 2924175 h 4496940"/>
                    <a:gd name="connsiteX106" fmla="*/ 68602 w 4519987"/>
                    <a:gd name="connsiteY106" fmla="*/ 2724150 h 4496940"/>
                    <a:gd name="connsiteX107" fmla="*/ 49552 w 4519987"/>
                    <a:gd name="connsiteY107" fmla="*/ 2638425 h 4496940"/>
                    <a:gd name="connsiteX108" fmla="*/ 40027 w 4519987"/>
                    <a:gd name="connsiteY108" fmla="*/ 2562225 h 4496940"/>
                    <a:gd name="connsiteX109" fmla="*/ 30502 w 4519987"/>
                    <a:gd name="connsiteY109" fmla="*/ 2514600 h 4496940"/>
                    <a:gd name="connsiteX110" fmla="*/ 11452 w 4519987"/>
                    <a:gd name="connsiteY110" fmla="*/ 2400300 h 4496940"/>
                    <a:gd name="connsiteX111" fmla="*/ 20977 w 4519987"/>
                    <a:gd name="connsiteY111" fmla="*/ 1905000 h 4496940"/>
                    <a:gd name="connsiteX112" fmla="*/ 30502 w 4519987"/>
                    <a:gd name="connsiteY112" fmla="*/ 1838325 h 4496940"/>
                    <a:gd name="connsiteX113" fmla="*/ 49552 w 4519987"/>
                    <a:gd name="connsiteY113" fmla="*/ 1781175 h 4496940"/>
                    <a:gd name="connsiteX114" fmla="*/ 59077 w 4519987"/>
                    <a:gd name="connsiteY114" fmla="*/ 1743075 h 4496940"/>
                    <a:gd name="connsiteX115" fmla="*/ 78127 w 4519987"/>
                    <a:gd name="connsiteY115" fmla="*/ 1685925 h 4496940"/>
                    <a:gd name="connsiteX116" fmla="*/ 87652 w 4519987"/>
                    <a:gd name="connsiteY116" fmla="*/ 1638300 h 4496940"/>
                    <a:gd name="connsiteX117" fmla="*/ 106702 w 4519987"/>
                    <a:gd name="connsiteY117" fmla="*/ 1590675 h 4496940"/>
                    <a:gd name="connsiteX118" fmla="*/ 135277 w 4519987"/>
                    <a:gd name="connsiteY118" fmla="*/ 1504950 h 4496940"/>
                    <a:gd name="connsiteX119" fmla="*/ 154327 w 4519987"/>
                    <a:gd name="connsiteY119" fmla="*/ 1419225 h 4496940"/>
                    <a:gd name="connsiteX120" fmla="*/ 230527 w 4519987"/>
                    <a:gd name="connsiteY120" fmla="*/ 1276350 h 4496940"/>
                    <a:gd name="connsiteX121" fmla="*/ 240052 w 4519987"/>
                    <a:gd name="connsiteY121" fmla="*/ 1247775 h 4496940"/>
                    <a:gd name="connsiteX122" fmla="*/ 268627 w 4519987"/>
                    <a:gd name="connsiteY122" fmla="*/ 1200150 h 4496940"/>
                    <a:gd name="connsiteX123" fmla="*/ 287677 w 4519987"/>
                    <a:gd name="connsiteY123" fmla="*/ 1152525 h 4496940"/>
                    <a:gd name="connsiteX124" fmla="*/ 316252 w 4519987"/>
                    <a:gd name="connsiteY124" fmla="*/ 1114425 h 4496940"/>
                    <a:gd name="connsiteX125" fmla="*/ 363877 w 4519987"/>
                    <a:gd name="connsiteY125" fmla="*/ 1038225 h 4496940"/>
                    <a:gd name="connsiteX126" fmla="*/ 382927 w 4519987"/>
                    <a:gd name="connsiteY126" fmla="*/ 1009650 h 4496940"/>
                    <a:gd name="connsiteX127" fmla="*/ 440077 w 4519987"/>
                    <a:gd name="connsiteY127" fmla="*/ 904875 h 4496940"/>
                    <a:gd name="connsiteX128" fmla="*/ 478177 w 4519987"/>
                    <a:gd name="connsiteY128" fmla="*/ 857250 h 4496940"/>
                    <a:gd name="connsiteX129" fmla="*/ 497227 w 4519987"/>
                    <a:gd name="connsiteY129" fmla="*/ 828675 h 4496940"/>
                    <a:gd name="connsiteX130" fmla="*/ 535327 w 4519987"/>
                    <a:gd name="connsiteY130" fmla="*/ 800100 h 4496940"/>
                    <a:gd name="connsiteX131" fmla="*/ 602002 w 4519987"/>
                    <a:gd name="connsiteY131" fmla="*/ 733425 h 4496940"/>
                    <a:gd name="connsiteX132" fmla="*/ 668677 w 4519987"/>
                    <a:gd name="connsiteY132" fmla="*/ 676275 h 4496940"/>
                    <a:gd name="connsiteX133" fmla="*/ 697252 w 4519987"/>
                    <a:gd name="connsiteY133" fmla="*/ 657225 h 4496940"/>
                    <a:gd name="connsiteX134" fmla="*/ 840127 w 4519987"/>
                    <a:gd name="connsiteY134" fmla="*/ 533400 h 4496940"/>
                    <a:gd name="connsiteX135" fmla="*/ 887752 w 4519987"/>
                    <a:gd name="connsiteY135" fmla="*/ 504825 h 4496940"/>
                    <a:gd name="connsiteX136" fmla="*/ 1167152 w 4519987"/>
                    <a:gd name="connsiteY136" fmla="*/ 311150 h 4496940"/>
                    <a:gd name="connsiteX137" fmla="*/ 1268752 w 4519987"/>
                    <a:gd name="connsiteY137" fmla="*/ 285750 h 4496940"/>
                    <a:gd name="connsiteX138" fmla="*/ 1411627 w 4519987"/>
                    <a:gd name="connsiteY138" fmla="*/ 190500 h 4496940"/>
                    <a:gd name="connsiteX139" fmla="*/ 1449727 w 4519987"/>
                    <a:gd name="connsiteY139" fmla="*/ 161925 h 4496940"/>
                    <a:gd name="connsiteX140" fmla="*/ 1525927 w 4519987"/>
                    <a:gd name="connsiteY140" fmla="*/ 152400 h 4496940"/>
                    <a:gd name="connsiteX141" fmla="*/ 1583077 w 4519987"/>
                    <a:gd name="connsiteY141" fmla="*/ 142875 h 4496940"/>
                    <a:gd name="connsiteX142" fmla="*/ 1716427 w 4519987"/>
                    <a:gd name="connsiteY142" fmla="*/ 123825 h 4496940"/>
                    <a:gd name="connsiteX143" fmla="*/ 1811677 w 4519987"/>
                    <a:gd name="connsiteY143" fmla="*/ 114300 h 4496940"/>
                    <a:gd name="connsiteX144" fmla="*/ 1859302 w 4519987"/>
                    <a:gd name="connsiteY144" fmla="*/ 104775 h 4496940"/>
                    <a:gd name="connsiteX145" fmla="*/ 1916452 w 4519987"/>
                    <a:gd name="connsiteY145" fmla="*/ 95250 h 4496940"/>
                    <a:gd name="connsiteX146" fmla="*/ 2030752 w 4519987"/>
                    <a:gd name="connsiteY146" fmla="*/ 66675 h 4496940"/>
                    <a:gd name="connsiteX147" fmla="*/ 2097427 w 4519987"/>
                    <a:gd name="connsiteY147" fmla="*/ 47625 h 4496940"/>
                    <a:gd name="connsiteX148" fmla="*/ 2164102 w 4519987"/>
                    <a:gd name="connsiteY148" fmla="*/ 38100 h 4496940"/>
                    <a:gd name="connsiteX149" fmla="*/ 2392702 w 4519987"/>
                    <a:gd name="connsiteY14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78627 w 4519987"/>
                    <a:gd name="connsiteY21" fmla="*/ 838200 h 4496940"/>
                    <a:gd name="connsiteX22" fmla="*/ 4135777 w 4519987"/>
                    <a:gd name="connsiteY22" fmla="*/ 933450 h 4496940"/>
                    <a:gd name="connsiteX23" fmla="*/ 4164352 w 4519987"/>
                    <a:gd name="connsiteY23" fmla="*/ 990600 h 4496940"/>
                    <a:gd name="connsiteX24" fmla="*/ 4173877 w 4519987"/>
                    <a:gd name="connsiteY24" fmla="*/ 1019175 h 4496940"/>
                    <a:gd name="connsiteX25" fmla="*/ 4192927 w 4519987"/>
                    <a:gd name="connsiteY25" fmla="*/ 1057275 h 4496940"/>
                    <a:gd name="connsiteX26" fmla="*/ 4202452 w 4519987"/>
                    <a:gd name="connsiteY26" fmla="*/ 1085850 h 4496940"/>
                    <a:gd name="connsiteX27" fmla="*/ 4250077 w 4519987"/>
                    <a:gd name="connsiteY27" fmla="*/ 1143000 h 4496940"/>
                    <a:gd name="connsiteX28" fmla="*/ 4259602 w 4519987"/>
                    <a:gd name="connsiteY28" fmla="*/ 1190625 h 4496940"/>
                    <a:gd name="connsiteX29" fmla="*/ 4307227 w 4519987"/>
                    <a:gd name="connsiteY29" fmla="*/ 1266825 h 4496940"/>
                    <a:gd name="connsiteX30" fmla="*/ 4345327 w 4519987"/>
                    <a:gd name="connsiteY30" fmla="*/ 1362075 h 4496940"/>
                    <a:gd name="connsiteX31" fmla="*/ 4373902 w 4519987"/>
                    <a:gd name="connsiteY31" fmla="*/ 1428750 h 4496940"/>
                    <a:gd name="connsiteX32" fmla="*/ 4392952 w 4519987"/>
                    <a:gd name="connsiteY32" fmla="*/ 1552575 h 4496940"/>
                    <a:gd name="connsiteX33" fmla="*/ 4402477 w 4519987"/>
                    <a:gd name="connsiteY33" fmla="*/ 1590675 h 4496940"/>
                    <a:gd name="connsiteX34" fmla="*/ 4431052 w 4519987"/>
                    <a:gd name="connsiteY34" fmla="*/ 1685925 h 4496940"/>
                    <a:gd name="connsiteX35" fmla="*/ 4519952 w 4519987"/>
                    <a:gd name="connsiteY35" fmla="*/ 2181225 h 4496940"/>
                    <a:gd name="connsiteX36" fmla="*/ 4446927 w 4519987"/>
                    <a:gd name="connsiteY36" fmla="*/ 2768600 h 4496940"/>
                    <a:gd name="connsiteX37" fmla="*/ 4383427 w 4519987"/>
                    <a:gd name="connsiteY37" fmla="*/ 2990850 h 4496940"/>
                    <a:gd name="connsiteX38" fmla="*/ 4278652 w 4519987"/>
                    <a:gd name="connsiteY38" fmla="*/ 3248025 h 4496940"/>
                    <a:gd name="connsiteX39" fmla="*/ 4259602 w 4519987"/>
                    <a:gd name="connsiteY39" fmla="*/ 3276600 h 4496940"/>
                    <a:gd name="connsiteX40" fmla="*/ 4221502 w 4519987"/>
                    <a:gd name="connsiteY40" fmla="*/ 3333750 h 4496940"/>
                    <a:gd name="connsiteX41" fmla="*/ 4211977 w 4519987"/>
                    <a:gd name="connsiteY41" fmla="*/ 3362325 h 4496940"/>
                    <a:gd name="connsiteX42" fmla="*/ 4183402 w 4519987"/>
                    <a:gd name="connsiteY42" fmla="*/ 3400425 h 4496940"/>
                    <a:gd name="connsiteX43" fmla="*/ 4164352 w 4519987"/>
                    <a:gd name="connsiteY43" fmla="*/ 3429000 h 4496940"/>
                    <a:gd name="connsiteX44" fmla="*/ 4088152 w 4519987"/>
                    <a:gd name="connsiteY44" fmla="*/ 3495675 h 4496940"/>
                    <a:gd name="connsiteX45" fmla="*/ 4059577 w 4519987"/>
                    <a:gd name="connsiteY45" fmla="*/ 3533775 h 4496940"/>
                    <a:gd name="connsiteX46" fmla="*/ 4002427 w 4519987"/>
                    <a:gd name="connsiteY46" fmla="*/ 3600450 h 4496940"/>
                    <a:gd name="connsiteX47" fmla="*/ 3983377 w 4519987"/>
                    <a:gd name="connsiteY47" fmla="*/ 3629025 h 4496940"/>
                    <a:gd name="connsiteX48" fmla="*/ 3954802 w 4519987"/>
                    <a:gd name="connsiteY48" fmla="*/ 3648075 h 4496940"/>
                    <a:gd name="connsiteX49" fmla="*/ 3907177 w 4519987"/>
                    <a:gd name="connsiteY49" fmla="*/ 3686175 h 4496940"/>
                    <a:gd name="connsiteX50" fmla="*/ 3869077 w 4519987"/>
                    <a:gd name="connsiteY50" fmla="*/ 3724275 h 4496940"/>
                    <a:gd name="connsiteX51" fmla="*/ 3792877 w 4519987"/>
                    <a:gd name="connsiteY51" fmla="*/ 3781425 h 4496940"/>
                    <a:gd name="connsiteX52" fmla="*/ 3783352 w 4519987"/>
                    <a:gd name="connsiteY52" fmla="*/ 3810000 h 4496940"/>
                    <a:gd name="connsiteX53" fmla="*/ 3745252 w 4519987"/>
                    <a:gd name="connsiteY53" fmla="*/ 3819525 h 4496940"/>
                    <a:gd name="connsiteX54" fmla="*/ 3678577 w 4519987"/>
                    <a:gd name="connsiteY54" fmla="*/ 3848100 h 4496940"/>
                    <a:gd name="connsiteX55" fmla="*/ 3659527 w 4519987"/>
                    <a:gd name="connsiteY55" fmla="*/ 3971925 h 4496940"/>
                    <a:gd name="connsiteX56" fmla="*/ 3630952 w 4519987"/>
                    <a:gd name="connsiteY56" fmla="*/ 4010025 h 4496940"/>
                    <a:gd name="connsiteX57" fmla="*/ 3621427 w 4519987"/>
                    <a:gd name="connsiteY57" fmla="*/ 4038600 h 4496940"/>
                    <a:gd name="connsiteX58" fmla="*/ 3554752 w 4519987"/>
                    <a:gd name="connsiteY58" fmla="*/ 4095750 h 4496940"/>
                    <a:gd name="connsiteX59" fmla="*/ 3516652 w 4519987"/>
                    <a:gd name="connsiteY59" fmla="*/ 4114800 h 4496940"/>
                    <a:gd name="connsiteX60" fmla="*/ 3497602 w 4519987"/>
                    <a:gd name="connsiteY60" fmla="*/ 4143375 h 4496940"/>
                    <a:gd name="connsiteX61" fmla="*/ 3383302 w 4519987"/>
                    <a:gd name="connsiteY61" fmla="*/ 4210050 h 4496940"/>
                    <a:gd name="connsiteX62" fmla="*/ 3335677 w 4519987"/>
                    <a:gd name="connsiteY62" fmla="*/ 4238625 h 4496940"/>
                    <a:gd name="connsiteX63" fmla="*/ 3288052 w 4519987"/>
                    <a:gd name="connsiteY63" fmla="*/ 4248150 h 4496940"/>
                    <a:gd name="connsiteX64" fmla="*/ 3240427 w 4519987"/>
                    <a:gd name="connsiteY64" fmla="*/ 4267200 h 4496940"/>
                    <a:gd name="connsiteX65" fmla="*/ 3068977 w 4519987"/>
                    <a:gd name="connsiteY65" fmla="*/ 4286250 h 4496940"/>
                    <a:gd name="connsiteX66" fmla="*/ 2935627 w 4519987"/>
                    <a:gd name="connsiteY66" fmla="*/ 4333875 h 4496940"/>
                    <a:gd name="connsiteX67" fmla="*/ 2811802 w 4519987"/>
                    <a:gd name="connsiteY67" fmla="*/ 4371975 h 4496940"/>
                    <a:gd name="connsiteX68" fmla="*/ 2745127 w 4519987"/>
                    <a:gd name="connsiteY68" fmla="*/ 4410075 h 4496940"/>
                    <a:gd name="connsiteX69" fmla="*/ 2697502 w 4519987"/>
                    <a:gd name="connsiteY69" fmla="*/ 4429125 h 4496940"/>
                    <a:gd name="connsiteX70" fmla="*/ 2640352 w 4519987"/>
                    <a:gd name="connsiteY70" fmla="*/ 4457700 h 4496940"/>
                    <a:gd name="connsiteX71" fmla="*/ 2583202 w 4519987"/>
                    <a:gd name="connsiteY71" fmla="*/ 4467225 h 4496940"/>
                    <a:gd name="connsiteX72" fmla="*/ 2545102 w 4519987"/>
                    <a:gd name="connsiteY72" fmla="*/ 4486275 h 4496940"/>
                    <a:gd name="connsiteX73" fmla="*/ 2306977 w 4519987"/>
                    <a:gd name="connsiteY73" fmla="*/ 4476750 h 4496940"/>
                    <a:gd name="connsiteX74" fmla="*/ 2202202 w 4519987"/>
                    <a:gd name="connsiteY74" fmla="*/ 4457700 h 4496940"/>
                    <a:gd name="connsiteX75" fmla="*/ 2126002 w 4519987"/>
                    <a:gd name="connsiteY75" fmla="*/ 4429125 h 4496940"/>
                    <a:gd name="connsiteX76" fmla="*/ 1935502 w 4519987"/>
                    <a:gd name="connsiteY76" fmla="*/ 4400550 h 4496940"/>
                    <a:gd name="connsiteX77" fmla="*/ 1821202 w 4519987"/>
                    <a:gd name="connsiteY77" fmla="*/ 4371975 h 4496940"/>
                    <a:gd name="connsiteX78" fmla="*/ 1754527 w 4519987"/>
                    <a:gd name="connsiteY78" fmla="*/ 4352925 h 4496940"/>
                    <a:gd name="connsiteX79" fmla="*/ 1687852 w 4519987"/>
                    <a:gd name="connsiteY79" fmla="*/ 4343400 h 4496940"/>
                    <a:gd name="connsiteX80" fmla="*/ 1573552 w 4519987"/>
                    <a:gd name="connsiteY80" fmla="*/ 4305300 h 4496940"/>
                    <a:gd name="connsiteX81" fmla="*/ 1402102 w 4519987"/>
                    <a:gd name="connsiteY81" fmla="*/ 4276725 h 4496940"/>
                    <a:gd name="connsiteX82" fmla="*/ 1287802 w 4519987"/>
                    <a:gd name="connsiteY82" fmla="*/ 4229100 h 4496940"/>
                    <a:gd name="connsiteX83" fmla="*/ 1221127 w 4519987"/>
                    <a:gd name="connsiteY83" fmla="*/ 4200525 h 4496940"/>
                    <a:gd name="connsiteX84" fmla="*/ 1144927 w 4519987"/>
                    <a:gd name="connsiteY84" fmla="*/ 4171950 h 4496940"/>
                    <a:gd name="connsiteX85" fmla="*/ 1087777 w 4519987"/>
                    <a:gd name="connsiteY85" fmla="*/ 4143375 h 4496940"/>
                    <a:gd name="connsiteX86" fmla="*/ 1030627 w 4519987"/>
                    <a:gd name="connsiteY86" fmla="*/ 4124325 h 4496940"/>
                    <a:gd name="connsiteX87" fmla="*/ 925852 w 4519987"/>
                    <a:gd name="connsiteY87" fmla="*/ 4067175 h 4496940"/>
                    <a:gd name="connsiteX88" fmla="*/ 830602 w 4519987"/>
                    <a:gd name="connsiteY88" fmla="*/ 3981450 h 4496940"/>
                    <a:gd name="connsiteX89" fmla="*/ 763927 w 4519987"/>
                    <a:gd name="connsiteY89" fmla="*/ 3914775 h 4496940"/>
                    <a:gd name="connsiteX90" fmla="*/ 725827 w 4519987"/>
                    <a:gd name="connsiteY90" fmla="*/ 3876675 h 4496940"/>
                    <a:gd name="connsiteX91" fmla="*/ 697252 w 4519987"/>
                    <a:gd name="connsiteY91" fmla="*/ 3838575 h 4496940"/>
                    <a:gd name="connsiteX92" fmla="*/ 640102 w 4519987"/>
                    <a:gd name="connsiteY92" fmla="*/ 3781425 h 4496940"/>
                    <a:gd name="connsiteX93" fmla="*/ 611527 w 4519987"/>
                    <a:gd name="connsiteY93" fmla="*/ 3733800 h 4496940"/>
                    <a:gd name="connsiteX94" fmla="*/ 554377 w 4519987"/>
                    <a:gd name="connsiteY94" fmla="*/ 3657600 h 4496940"/>
                    <a:gd name="connsiteX95" fmla="*/ 525802 w 4519987"/>
                    <a:gd name="connsiteY95" fmla="*/ 3609975 h 4496940"/>
                    <a:gd name="connsiteX96" fmla="*/ 497227 w 4519987"/>
                    <a:gd name="connsiteY96" fmla="*/ 3552825 h 4496940"/>
                    <a:gd name="connsiteX97" fmla="*/ 440077 w 4519987"/>
                    <a:gd name="connsiteY97" fmla="*/ 3495675 h 4496940"/>
                    <a:gd name="connsiteX98" fmla="*/ 411502 w 4519987"/>
                    <a:gd name="connsiteY98" fmla="*/ 3448050 h 4496940"/>
                    <a:gd name="connsiteX99" fmla="*/ 278152 w 4519987"/>
                    <a:gd name="connsiteY99" fmla="*/ 3257550 h 4496940"/>
                    <a:gd name="connsiteX100" fmla="*/ 249577 w 4519987"/>
                    <a:gd name="connsiteY100" fmla="*/ 3200400 h 4496940"/>
                    <a:gd name="connsiteX101" fmla="*/ 240052 w 4519987"/>
                    <a:gd name="connsiteY101" fmla="*/ 3162300 h 4496940"/>
                    <a:gd name="connsiteX102" fmla="*/ 221002 w 4519987"/>
                    <a:gd name="connsiteY102" fmla="*/ 3105150 h 4496940"/>
                    <a:gd name="connsiteX103" fmla="*/ 173377 w 4519987"/>
                    <a:gd name="connsiteY103" fmla="*/ 3019425 h 4496940"/>
                    <a:gd name="connsiteX104" fmla="*/ 144802 w 4519987"/>
                    <a:gd name="connsiteY104" fmla="*/ 2924175 h 4496940"/>
                    <a:gd name="connsiteX105" fmla="*/ 68602 w 4519987"/>
                    <a:gd name="connsiteY105" fmla="*/ 2724150 h 4496940"/>
                    <a:gd name="connsiteX106" fmla="*/ 49552 w 4519987"/>
                    <a:gd name="connsiteY106" fmla="*/ 2638425 h 4496940"/>
                    <a:gd name="connsiteX107" fmla="*/ 40027 w 4519987"/>
                    <a:gd name="connsiteY107" fmla="*/ 2562225 h 4496940"/>
                    <a:gd name="connsiteX108" fmla="*/ 30502 w 4519987"/>
                    <a:gd name="connsiteY108" fmla="*/ 2514600 h 4496940"/>
                    <a:gd name="connsiteX109" fmla="*/ 11452 w 4519987"/>
                    <a:gd name="connsiteY109" fmla="*/ 2400300 h 4496940"/>
                    <a:gd name="connsiteX110" fmla="*/ 20977 w 4519987"/>
                    <a:gd name="connsiteY110" fmla="*/ 1905000 h 4496940"/>
                    <a:gd name="connsiteX111" fmla="*/ 30502 w 4519987"/>
                    <a:gd name="connsiteY111" fmla="*/ 1838325 h 4496940"/>
                    <a:gd name="connsiteX112" fmla="*/ 49552 w 4519987"/>
                    <a:gd name="connsiteY112" fmla="*/ 1781175 h 4496940"/>
                    <a:gd name="connsiteX113" fmla="*/ 59077 w 4519987"/>
                    <a:gd name="connsiteY113" fmla="*/ 1743075 h 4496940"/>
                    <a:gd name="connsiteX114" fmla="*/ 78127 w 4519987"/>
                    <a:gd name="connsiteY114" fmla="*/ 1685925 h 4496940"/>
                    <a:gd name="connsiteX115" fmla="*/ 87652 w 4519987"/>
                    <a:gd name="connsiteY115" fmla="*/ 1638300 h 4496940"/>
                    <a:gd name="connsiteX116" fmla="*/ 106702 w 4519987"/>
                    <a:gd name="connsiteY116" fmla="*/ 1590675 h 4496940"/>
                    <a:gd name="connsiteX117" fmla="*/ 135277 w 4519987"/>
                    <a:gd name="connsiteY117" fmla="*/ 1504950 h 4496940"/>
                    <a:gd name="connsiteX118" fmla="*/ 154327 w 4519987"/>
                    <a:gd name="connsiteY118" fmla="*/ 1419225 h 4496940"/>
                    <a:gd name="connsiteX119" fmla="*/ 230527 w 4519987"/>
                    <a:gd name="connsiteY119" fmla="*/ 1276350 h 4496940"/>
                    <a:gd name="connsiteX120" fmla="*/ 240052 w 4519987"/>
                    <a:gd name="connsiteY120" fmla="*/ 1247775 h 4496940"/>
                    <a:gd name="connsiteX121" fmla="*/ 268627 w 4519987"/>
                    <a:gd name="connsiteY121" fmla="*/ 1200150 h 4496940"/>
                    <a:gd name="connsiteX122" fmla="*/ 287677 w 4519987"/>
                    <a:gd name="connsiteY122" fmla="*/ 1152525 h 4496940"/>
                    <a:gd name="connsiteX123" fmla="*/ 316252 w 4519987"/>
                    <a:gd name="connsiteY123" fmla="*/ 1114425 h 4496940"/>
                    <a:gd name="connsiteX124" fmla="*/ 363877 w 4519987"/>
                    <a:gd name="connsiteY124" fmla="*/ 1038225 h 4496940"/>
                    <a:gd name="connsiteX125" fmla="*/ 382927 w 4519987"/>
                    <a:gd name="connsiteY125" fmla="*/ 1009650 h 4496940"/>
                    <a:gd name="connsiteX126" fmla="*/ 440077 w 4519987"/>
                    <a:gd name="connsiteY126" fmla="*/ 904875 h 4496940"/>
                    <a:gd name="connsiteX127" fmla="*/ 478177 w 4519987"/>
                    <a:gd name="connsiteY127" fmla="*/ 857250 h 4496940"/>
                    <a:gd name="connsiteX128" fmla="*/ 497227 w 4519987"/>
                    <a:gd name="connsiteY128" fmla="*/ 828675 h 4496940"/>
                    <a:gd name="connsiteX129" fmla="*/ 535327 w 4519987"/>
                    <a:gd name="connsiteY129" fmla="*/ 800100 h 4496940"/>
                    <a:gd name="connsiteX130" fmla="*/ 602002 w 4519987"/>
                    <a:gd name="connsiteY130" fmla="*/ 733425 h 4496940"/>
                    <a:gd name="connsiteX131" fmla="*/ 668677 w 4519987"/>
                    <a:gd name="connsiteY131" fmla="*/ 676275 h 4496940"/>
                    <a:gd name="connsiteX132" fmla="*/ 697252 w 4519987"/>
                    <a:gd name="connsiteY132" fmla="*/ 657225 h 4496940"/>
                    <a:gd name="connsiteX133" fmla="*/ 840127 w 4519987"/>
                    <a:gd name="connsiteY133" fmla="*/ 533400 h 4496940"/>
                    <a:gd name="connsiteX134" fmla="*/ 887752 w 4519987"/>
                    <a:gd name="connsiteY134" fmla="*/ 504825 h 4496940"/>
                    <a:gd name="connsiteX135" fmla="*/ 1167152 w 4519987"/>
                    <a:gd name="connsiteY135" fmla="*/ 311150 h 4496940"/>
                    <a:gd name="connsiteX136" fmla="*/ 1268752 w 4519987"/>
                    <a:gd name="connsiteY136" fmla="*/ 285750 h 4496940"/>
                    <a:gd name="connsiteX137" fmla="*/ 1411627 w 4519987"/>
                    <a:gd name="connsiteY137" fmla="*/ 190500 h 4496940"/>
                    <a:gd name="connsiteX138" fmla="*/ 1449727 w 4519987"/>
                    <a:gd name="connsiteY138" fmla="*/ 161925 h 4496940"/>
                    <a:gd name="connsiteX139" fmla="*/ 1525927 w 4519987"/>
                    <a:gd name="connsiteY139" fmla="*/ 152400 h 4496940"/>
                    <a:gd name="connsiteX140" fmla="*/ 1583077 w 4519987"/>
                    <a:gd name="connsiteY140" fmla="*/ 142875 h 4496940"/>
                    <a:gd name="connsiteX141" fmla="*/ 1716427 w 4519987"/>
                    <a:gd name="connsiteY141" fmla="*/ 123825 h 4496940"/>
                    <a:gd name="connsiteX142" fmla="*/ 1811677 w 4519987"/>
                    <a:gd name="connsiteY142" fmla="*/ 114300 h 4496940"/>
                    <a:gd name="connsiteX143" fmla="*/ 1859302 w 4519987"/>
                    <a:gd name="connsiteY143" fmla="*/ 104775 h 4496940"/>
                    <a:gd name="connsiteX144" fmla="*/ 1916452 w 4519987"/>
                    <a:gd name="connsiteY144" fmla="*/ 95250 h 4496940"/>
                    <a:gd name="connsiteX145" fmla="*/ 2030752 w 4519987"/>
                    <a:gd name="connsiteY145" fmla="*/ 66675 h 4496940"/>
                    <a:gd name="connsiteX146" fmla="*/ 2097427 w 4519987"/>
                    <a:gd name="connsiteY146" fmla="*/ 47625 h 4496940"/>
                    <a:gd name="connsiteX147" fmla="*/ 2164102 w 4519987"/>
                    <a:gd name="connsiteY147" fmla="*/ 38100 h 4496940"/>
                    <a:gd name="connsiteX148" fmla="*/ 2392702 w 4519987"/>
                    <a:gd name="connsiteY14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135777 w 4519987"/>
                    <a:gd name="connsiteY21" fmla="*/ 9334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02452 w 4519987"/>
                    <a:gd name="connsiteY24" fmla="*/ 1085850 h 4496940"/>
                    <a:gd name="connsiteX25" fmla="*/ 4250077 w 4519987"/>
                    <a:gd name="connsiteY25" fmla="*/ 1143000 h 4496940"/>
                    <a:gd name="connsiteX26" fmla="*/ 4259602 w 4519987"/>
                    <a:gd name="connsiteY26" fmla="*/ 1190625 h 4496940"/>
                    <a:gd name="connsiteX27" fmla="*/ 4307227 w 4519987"/>
                    <a:gd name="connsiteY27" fmla="*/ 1266825 h 4496940"/>
                    <a:gd name="connsiteX28" fmla="*/ 4345327 w 4519987"/>
                    <a:gd name="connsiteY28" fmla="*/ 1362075 h 4496940"/>
                    <a:gd name="connsiteX29" fmla="*/ 4373902 w 4519987"/>
                    <a:gd name="connsiteY29" fmla="*/ 1428750 h 4496940"/>
                    <a:gd name="connsiteX30" fmla="*/ 4392952 w 4519987"/>
                    <a:gd name="connsiteY30" fmla="*/ 1552575 h 4496940"/>
                    <a:gd name="connsiteX31" fmla="*/ 4402477 w 4519987"/>
                    <a:gd name="connsiteY31" fmla="*/ 1590675 h 4496940"/>
                    <a:gd name="connsiteX32" fmla="*/ 4431052 w 4519987"/>
                    <a:gd name="connsiteY32" fmla="*/ 1685925 h 4496940"/>
                    <a:gd name="connsiteX33" fmla="*/ 4519952 w 4519987"/>
                    <a:gd name="connsiteY33" fmla="*/ 2181225 h 4496940"/>
                    <a:gd name="connsiteX34" fmla="*/ 4446927 w 4519987"/>
                    <a:gd name="connsiteY34" fmla="*/ 2768600 h 4496940"/>
                    <a:gd name="connsiteX35" fmla="*/ 4383427 w 4519987"/>
                    <a:gd name="connsiteY35" fmla="*/ 2990850 h 4496940"/>
                    <a:gd name="connsiteX36" fmla="*/ 4278652 w 4519987"/>
                    <a:gd name="connsiteY36" fmla="*/ 3248025 h 4496940"/>
                    <a:gd name="connsiteX37" fmla="*/ 4259602 w 4519987"/>
                    <a:gd name="connsiteY37" fmla="*/ 3276600 h 4496940"/>
                    <a:gd name="connsiteX38" fmla="*/ 4221502 w 4519987"/>
                    <a:gd name="connsiteY38" fmla="*/ 3333750 h 4496940"/>
                    <a:gd name="connsiteX39" fmla="*/ 4211977 w 4519987"/>
                    <a:gd name="connsiteY39" fmla="*/ 3362325 h 4496940"/>
                    <a:gd name="connsiteX40" fmla="*/ 4183402 w 4519987"/>
                    <a:gd name="connsiteY40" fmla="*/ 3400425 h 4496940"/>
                    <a:gd name="connsiteX41" fmla="*/ 4164352 w 4519987"/>
                    <a:gd name="connsiteY41" fmla="*/ 3429000 h 4496940"/>
                    <a:gd name="connsiteX42" fmla="*/ 4088152 w 4519987"/>
                    <a:gd name="connsiteY42" fmla="*/ 3495675 h 4496940"/>
                    <a:gd name="connsiteX43" fmla="*/ 4059577 w 4519987"/>
                    <a:gd name="connsiteY43" fmla="*/ 3533775 h 4496940"/>
                    <a:gd name="connsiteX44" fmla="*/ 4002427 w 4519987"/>
                    <a:gd name="connsiteY44" fmla="*/ 3600450 h 4496940"/>
                    <a:gd name="connsiteX45" fmla="*/ 3983377 w 4519987"/>
                    <a:gd name="connsiteY45" fmla="*/ 3629025 h 4496940"/>
                    <a:gd name="connsiteX46" fmla="*/ 3954802 w 4519987"/>
                    <a:gd name="connsiteY46" fmla="*/ 3648075 h 4496940"/>
                    <a:gd name="connsiteX47" fmla="*/ 3907177 w 4519987"/>
                    <a:gd name="connsiteY47" fmla="*/ 3686175 h 4496940"/>
                    <a:gd name="connsiteX48" fmla="*/ 3869077 w 4519987"/>
                    <a:gd name="connsiteY48" fmla="*/ 3724275 h 4496940"/>
                    <a:gd name="connsiteX49" fmla="*/ 3792877 w 4519987"/>
                    <a:gd name="connsiteY49" fmla="*/ 3781425 h 4496940"/>
                    <a:gd name="connsiteX50" fmla="*/ 3783352 w 4519987"/>
                    <a:gd name="connsiteY50" fmla="*/ 3810000 h 4496940"/>
                    <a:gd name="connsiteX51" fmla="*/ 3745252 w 4519987"/>
                    <a:gd name="connsiteY51" fmla="*/ 3819525 h 4496940"/>
                    <a:gd name="connsiteX52" fmla="*/ 3678577 w 4519987"/>
                    <a:gd name="connsiteY52" fmla="*/ 3848100 h 4496940"/>
                    <a:gd name="connsiteX53" fmla="*/ 3659527 w 4519987"/>
                    <a:gd name="connsiteY53" fmla="*/ 3971925 h 4496940"/>
                    <a:gd name="connsiteX54" fmla="*/ 3630952 w 4519987"/>
                    <a:gd name="connsiteY54" fmla="*/ 4010025 h 4496940"/>
                    <a:gd name="connsiteX55" fmla="*/ 3621427 w 4519987"/>
                    <a:gd name="connsiteY55" fmla="*/ 4038600 h 4496940"/>
                    <a:gd name="connsiteX56" fmla="*/ 3554752 w 4519987"/>
                    <a:gd name="connsiteY56" fmla="*/ 4095750 h 4496940"/>
                    <a:gd name="connsiteX57" fmla="*/ 3516652 w 4519987"/>
                    <a:gd name="connsiteY57" fmla="*/ 4114800 h 4496940"/>
                    <a:gd name="connsiteX58" fmla="*/ 3497602 w 4519987"/>
                    <a:gd name="connsiteY58" fmla="*/ 4143375 h 4496940"/>
                    <a:gd name="connsiteX59" fmla="*/ 3383302 w 4519987"/>
                    <a:gd name="connsiteY59" fmla="*/ 4210050 h 4496940"/>
                    <a:gd name="connsiteX60" fmla="*/ 3335677 w 4519987"/>
                    <a:gd name="connsiteY60" fmla="*/ 4238625 h 4496940"/>
                    <a:gd name="connsiteX61" fmla="*/ 3288052 w 4519987"/>
                    <a:gd name="connsiteY61" fmla="*/ 4248150 h 4496940"/>
                    <a:gd name="connsiteX62" fmla="*/ 3240427 w 4519987"/>
                    <a:gd name="connsiteY62" fmla="*/ 4267200 h 4496940"/>
                    <a:gd name="connsiteX63" fmla="*/ 3068977 w 4519987"/>
                    <a:gd name="connsiteY63" fmla="*/ 4286250 h 4496940"/>
                    <a:gd name="connsiteX64" fmla="*/ 2935627 w 4519987"/>
                    <a:gd name="connsiteY64" fmla="*/ 4333875 h 4496940"/>
                    <a:gd name="connsiteX65" fmla="*/ 2811802 w 4519987"/>
                    <a:gd name="connsiteY65" fmla="*/ 4371975 h 4496940"/>
                    <a:gd name="connsiteX66" fmla="*/ 2745127 w 4519987"/>
                    <a:gd name="connsiteY66" fmla="*/ 4410075 h 4496940"/>
                    <a:gd name="connsiteX67" fmla="*/ 2697502 w 4519987"/>
                    <a:gd name="connsiteY67" fmla="*/ 4429125 h 4496940"/>
                    <a:gd name="connsiteX68" fmla="*/ 2640352 w 4519987"/>
                    <a:gd name="connsiteY68" fmla="*/ 4457700 h 4496940"/>
                    <a:gd name="connsiteX69" fmla="*/ 2583202 w 4519987"/>
                    <a:gd name="connsiteY69" fmla="*/ 4467225 h 4496940"/>
                    <a:gd name="connsiteX70" fmla="*/ 2545102 w 4519987"/>
                    <a:gd name="connsiteY70" fmla="*/ 4486275 h 4496940"/>
                    <a:gd name="connsiteX71" fmla="*/ 2306977 w 4519987"/>
                    <a:gd name="connsiteY71" fmla="*/ 4476750 h 4496940"/>
                    <a:gd name="connsiteX72" fmla="*/ 2202202 w 4519987"/>
                    <a:gd name="connsiteY72" fmla="*/ 4457700 h 4496940"/>
                    <a:gd name="connsiteX73" fmla="*/ 2126002 w 4519987"/>
                    <a:gd name="connsiteY73" fmla="*/ 4429125 h 4496940"/>
                    <a:gd name="connsiteX74" fmla="*/ 1935502 w 4519987"/>
                    <a:gd name="connsiteY74" fmla="*/ 4400550 h 4496940"/>
                    <a:gd name="connsiteX75" fmla="*/ 1821202 w 4519987"/>
                    <a:gd name="connsiteY75" fmla="*/ 4371975 h 4496940"/>
                    <a:gd name="connsiteX76" fmla="*/ 1754527 w 4519987"/>
                    <a:gd name="connsiteY76" fmla="*/ 4352925 h 4496940"/>
                    <a:gd name="connsiteX77" fmla="*/ 1687852 w 4519987"/>
                    <a:gd name="connsiteY77" fmla="*/ 4343400 h 4496940"/>
                    <a:gd name="connsiteX78" fmla="*/ 1573552 w 4519987"/>
                    <a:gd name="connsiteY78" fmla="*/ 4305300 h 4496940"/>
                    <a:gd name="connsiteX79" fmla="*/ 1402102 w 4519987"/>
                    <a:gd name="connsiteY79" fmla="*/ 4276725 h 4496940"/>
                    <a:gd name="connsiteX80" fmla="*/ 1287802 w 4519987"/>
                    <a:gd name="connsiteY80" fmla="*/ 4229100 h 4496940"/>
                    <a:gd name="connsiteX81" fmla="*/ 1221127 w 4519987"/>
                    <a:gd name="connsiteY81" fmla="*/ 4200525 h 4496940"/>
                    <a:gd name="connsiteX82" fmla="*/ 1144927 w 4519987"/>
                    <a:gd name="connsiteY82" fmla="*/ 4171950 h 4496940"/>
                    <a:gd name="connsiteX83" fmla="*/ 1087777 w 4519987"/>
                    <a:gd name="connsiteY83" fmla="*/ 4143375 h 4496940"/>
                    <a:gd name="connsiteX84" fmla="*/ 1030627 w 4519987"/>
                    <a:gd name="connsiteY84" fmla="*/ 4124325 h 4496940"/>
                    <a:gd name="connsiteX85" fmla="*/ 925852 w 4519987"/>
                    <a:gd name="connsiteY85" fmla="*/ 4067175 h 4496940"/>
                    <a:gd name="connsiteX86" fmla="*/ 830602 w 4519987"/>
                    <a:gd name="connsiteY86" fmla="*/ 3981450 h 4496940"/>
                    <a:gd name="connsiteX87" fmla="*/ 763927 w 4519987"/>
                    <a:gd name="connsiteY87" fmla="*/ 3914775 h 4496940"/>
                    <a:gd name="connsiteX88" fmla="*/ 725827 w 4519987"/>
                    <a:gd name="connsiteY88" fmla="*/ 3876675 h 4496940"/>
                    <a:gd name="connsiteX89" fmla="*/ 697252 w 4519987"/>
                    <a:gd name="connsiteY89" fmla="*/ 3838575 h 4496940"/>
                    <a:gd name="connsiteX90" fmla="*/ 640102 w 4519987"/>
                    <a:gd name="connsiteY90" fmla="*/ 3781425 h 4496940"/>
                    <a:gd name="connsiteX91" fmla="*/ 611527 w 4519987"/>
                    <a:gd name="connsiteY91" fmla="*/ 3733800 h 4496940"/>
                    <a:gd name="connsiteX92" fmla="*/ 554377 w 4519987"/>
                    <a:gd name="connsiteY92" fmla="*/ 3657600 h 4496940"/>
                    <a:gd name="connsiteX93" fmla="*/ 525802 w 4519987"/>
                    <a:gd name="connsiteY93" fmla="*/ 3609975 h 4496940"/>
                    <a:gd name="connsiteX94" fmla="*/ 497227 w 4519987"/>
                    <a:gd name="connsiteY94" fmla="*/ 3552825 h 4496940"/>
                    <a:gd name="connsiteX95" fmla="*/ 440077 w 4519987"/>
                    <a:gd name="connsiteY95" fmla="*/ 3495675 h 4496940"/>
                    <a:gd name="connsiteX96" fmla="*/ 411502 w 4519987"/>
                    <a:gd name="connsiteY96" fmla="*/ 3448050 h 4496940"/>
                    <a:gd name="connsiteX97" fmla="*/ 278152 w 4519987"/>
                    <a:gd name="connsiteY97" fmla="*/ 3257550 h 4496940"/>
                    <a:gd name="connsiteX98" fmla="*/ 249577 w 4519987"/>
                    <a:gd name="connsiteY98" fmla="*/ 3200400 h 4496940"/>
                    <a:gd name="connsiteX99" fmla="*/ 240052 w 4519987"/>
                    <a:gd name="connsiteY99" fmla="*/ 3162300 h 4496940"/>
                    <a:gd name="connsiteX100" fmla="*/ 221002 w 4519987"/>
                    <a:gd name="connsiteY100" fmla="*/ 3105150 h 4496940"/>
                    <a:gd name="connsiteX101" fmla="*/ 173377 w 4519987"/>
                    <a:gd name="connsiteY101" fmla="*/ 3019425 h 4496940"/>
                    <a:gd name="connsiteX102" fmla="*/ 144802 w 4519987"/>
                    <a:gd name="connsiteY102" fmla="*/ 2924175 h 4496940"/>
                    <a:gd name="connsiteX103" fmla="*/ 68602 w 4519987"/>
                    <a:gd name="connsiteY103" fmla="*/ 2724150 h 4496940"/>
                    <a:gd name="connsiteX104" fmla="*/ 49552 w 4519987"/>
                    <a:gd name="connsiteY104" fmla="*/ 2638425 h 4496940"/>
                    <a:gd name="connsiteX105" fmla="*/ 40027 w 4519987"/>
                    <a:gd name="connsiteY105" fmla="*/ 2562225 h 4496940"/>
                    <a:gd name="connsiteX106" fmla="*/ 30502 w 4519987"/>
                    <a:gd name="connsiteY106" fmla="*/ 2514600 h 4496940"/>
                    <a:gd name="connsiteX107" fmla="*/ 11452 w 4519987"/>
                    <a:gd name="connsiteY107" fmla="*/ 2400300 h 4496940"/>
                    <a:gd name="connsiteX108" fmla="*/ 20977 w 4519987"/>
                    <a:gd name="connsiteY108" fmla="*/ 1905000 h 4496940"/>
                    <a:gd name="connsiteX109" fmla="*/ 30502 w 4519987"/>
                    <a:gd name="connsiteY109" fmla="*/ 1838325 h 4496940"/>
                    <a:gd name="connsiteX110" fmla="*/ 49552 w 4519987"/>
                    <a:gd name="connsiteY110" fmla="*/ 1781175 h 4496940"/>
                    <a:gd name="connsiteX111" fmla="*/ 59077 w 4519987"/>
                    <a:gd name="connsiteY111" fmla="*/ 1743075 h 4496940"/>
                    <a:gd name="connsiteX112" fmla="*/ 78127 w 4519987"/>
                    <a:gd name="connsiteY112" fmla="*/ 1685925 h 4496940"/>
                    <a:gd name="connsiteX113" fmla="*/ 87652 w 4519987"/>
                    <a:gd name="connsiteY113" fmla="*/ 1638300 h 4496940"/>
                    <a:gd name="connsiteX114" fmla="*/ 106702 w 4519987"/>
                    <a:gd name="connsiteY114" fmla="*/ 1590675 h 4496940"/>
                    <a:gd name="connsiteX115" fmla="*/ 135277 w 4519987"/>
                    <a:gd name="connsiteY115" fmla="*/ 1504950 h 4496940"/>
                    <a:gd name="connsiteX116" fmla="*/ 154327 w 4519987"/>
                    <a:gd name="connsiteY116" fmla="*/ 1419225 h 4496940"/>
                    <a:gd name="connsiteX117" fmla="*/ 230527 w 4519987"/>
                    <a:gd name="connsiteY117" fmla="*/ 1276350 h 4496940"/>
                    <a:gd name="connsiteX118" fmla="*/ 240052 w 4519987"/>
                    <a:gd name="connsiteY118" fmla="*/ 1247775 h 4496940"/>
                    <a:gd name="connsiteX119" fmla="*/ 268627 w 4519987"/>
                    <a:gd name="connsiteY119" fmla="*/ 1200150 h 4496940"/>
                    <a:gd name="connsiteX120" fmla="*/ 287677 w 4519987"/>
                    <a:gd name="connsiteY120" fmla="*/ 1152525 h 4496940"/>
                    <a:gd name="connsiteX121" fmla="*/ 316252 w 4519987"/>
                    <a:gd name="connsiteY121" fmla="*/ 1114425 h 4496940"/>
                    <a:gd name="connsiteX122" fmla="*/ 363877 w 4519987"/>
                    <a:gd name="connsiteY122" fmla="*/ 1038225 h 4496940"/>
                    <a:gd name="connsiteX123" fmla="*/ 382927 w 4519987"/>
                    <a:gd name="connsiteY123" fmla="*/ 1009650 h 4496940"/>
                    <a:gd name="connsiteX124" fmla="*/ 440077 w 4519987"/>
                    <a:gd name="connsiteY124" fmla="*/ 904875 h 4496940"/>
                    <a:gd name="connsiteX125" fmla="*/ 478177 w 4519987"/>
                    <a:gd name="connsiteY125" fmla="*/ 857250 h 4496940"/>
                    <a:gd name="connsiteX126" fmla="*/ 497227 w 4519987"/>
                    <a:gd name="connsiteY126" fmla="*/ 828675 h 4496940"/>
                    <a:gd name="connsiteX127" fmla="*/ 535327 w 4519987"/>
                    <a:gd name="connsiteY127" fmla="*/ 800100 h 4496940"/>
                    <a:gd name="connsiteX128" fmla="*/ 602002 w 4519987"/>
                    <a:gd name="connsiteY128" fmla="*/ 733425 h 4496940"/>
                    <a:gd name="connsiteX129" fmla="*/ 668677 w 4519987"/>
                    <a:gd name="connsiteY129" fmla="*/ 676275 h 4496940"/>
                    <a:gd name="connsiteX130" fmla="*/ 697252 w 4519987"/>
                    <a:gd name="connsiteY130" fmla="*/ 657225 h 4496940"/>
                    <a:gd name="connsiteX131" fmla="*/ 840127 w 4519987"/>
                    <a:gd name="connsiteY131" fmla="*/ 533400 h 4496940"/>
                    <a:gd name="connsiteX132" fmla="*/ 887752 w 4519987"/>
                    <a:gd name="connsiteY132" fmla="*/ 504825 h 4496940"/>
                    <a:gd name="connsiteX133" fmla="*/ 1167152 w 4519987"/>
                    <a:gd name="connsiteY133" fmla="*/ 311150 h 4496940"/>
                    <a:gd name="connsiteX134" fmla="*/ 1268752 w 4519987"/>
                    <a:gd name="connsiteY134" fmla="*/ 285750 h 4496940"/>
                    <a:gd name="connsiteX135" fmla="*/ 1411627 w 4519987"/>
                    <a:gd name="connsiteY135" fmla="*/ 190500 h 4496940"/>
                    <a:gd name="connsiteX136" fmla="*/ 1449727 w 4519987"/>
                    <a:gd name="connsiteY136" fmla="*/ 161925 h 4496940"/>
                    <a:gd name="connsiteX137" fmla="*/ 1525927 w 4519987"/>
                    <a:gd name="connsiteY137" fmla="*/ 152400 h 4496940"/>
                    <a:gd name="connsiteX138" fmla="*/ 1583077 w 4519987"/>
                    <a:gd name="connsiteY138" fmla="*/ 142875 h 4496940"/>
                    <a:gd name="connsiteX139" fmla="*/ 1716427 w 4519987"/>
                    <a:gd name="connsiteY139" fmla="*/ 123825 h 4496940"/>
                    <a:gd name="connsiteX140" fmla="*/ 1811677 w 4519987"/>
                    <a:gd name="connsiteY140" fmla="*/ 114300 h 4496940"/>
                    <a:gd name="connsiteX141" fmla="*/ 1859302 w 4519987"/>
                    <a:gd name="connsiteY141" fmla="*/ 104775 h 4496940"/>
                    <a:gd name="connsiteX142" fmla="*/ 1916452 w 4519987"/>
                    <a:gd name="connsiteY142" fmla="*/ 95250 h 4496940"/>
                    <a:gd name="connsiteX143" fmla="*/ 2030752 w 4519987"/>
                    <a:gd name="connsiteY143" fmla="*/ 66675 h 4496940"/>
                    <a:gd name="connsiteX144" fmla="*/ 2097427 w 4519987"/>
                    <a:gd name="connsiteY144" fmla="*/ 47625 h 4496940"/>
                    <a:gd name="connsiteX145" fmla="*/ 2164102 w 4519987"/>
                    <a:gd name="connsiteY145" fmla="*/ 38100 h 4496940"/>
                    <a:gd name="connsiteX146" fmla="*/ 2392702 w 4519987"/>
                    <a:gd name="connsiteY14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50077 w 4519987"/>
                    <a:gd name="connsiteY24" fmla="*/ 1143000 h 4496940"/>
                    <a:gd name="connsiteX25" fmla="*/ 4259602 w 4519987"/>
                    <a:gd name="connsiteY25" fmla="*/ 1190625 h 4496940"/>
                    <a:gd name="connsiteX26" fmla="*/ 4307227 w 4519987"/>
                    <a:gd name="connsiteY26" fmla="*/ 1266825 h 4496940"/>
                    <a:gd name="connsiteX27" fmla="*/ 4345327 w 4519987"/>
                    <a:gd name="connsiteY27" fmla="*/ 1362075 h 4496940"/>
                    <a:gd name="connsiteX28" fmla="*/ 4373902 w 4519987"/>
                    <a:gd name="connsiteY28" fmla="*/ 1428750 h 4496940"/>
                    <a:gd name="connsiteX29" fmla="*/ 4392952 w 4519987"/>
                    <a:gd name="connsiteY29" fmla="*/ 1552575 h 4496940"/>
                    <a:gd name="connsiteX30" fmla="*/ 4402477 w 4519987"/>
                    <a:gd name="connsiteY30" fmla="*/ 1590675 h 4496940"/>
                    <a:gd name="connsiteX31" fmla="*/ 4431052 w 4519987"/>
                    <a:gd name="connsiteY31" fmla="*/ 1685925 h 4496940"/>
                    <a:gd name="connsiteX32" fmla="*/ 4519952 w 4519987"/>
                    <a:gd name="connsiteY32" fmla="*/ 2181225 h 4496940"/>
                    <a:gd name="connsiteX33" fmla="*/ 4446927 w 4519987"/>
                    <a:gd name="connsiteY33" fmla="*/ 2768600 h 4496940"/>
                    <a:gd name="connsiteX34" fmla="*/ 4383427 w 4519987"/>
                    <a:gd name="connsiteY34" fmla="*/ 2990850 h 4496940"/>
                    <a:gd name="connsiteX35" fmla="*/ 4278652 w 4519987"/>
                    <a:gd name="connsiteY35" fmla="*/ 3248025 h 4496940"/>
                    <a:gd name="connsiteX36" fmla="*/ 4259602 w 4519987"/>
                    <a:gd name="connsiteY36" fmla="*/ 3276600 h 4496940"/>
                    <a:gd name="connsiteX37" fmla="*/ 4221502 w 4519987"/>
                    <a:gd name="connsiteY37" fmla="*/ 3333750 h 4496940"/>
                    <a:gd name="connsiteX38" fmla="*/ 4211977 w 4519987"/>
                    <a:gd name="connsiteY38" fmla="*/ 3362325 h 4496940"/>
                    <a:gd name="connsiteX39" fmla="*/ 4183402 w 4519987"/>
                    <a:gd name="connsiteY39" fmla="*/ 3400425 h 4496940"/>
                    <a:gd name="connsiteX40" fmla="*/ 4164352 w 4519987"/>
                    <a:gd name="connsiteY40" fmla="*/ 3429000 h 4496940"/>
                    <a:gd name="connsiteX41" fmla="*/ 4088152 w 4519987"/>
                    <a:gd name="connsiteY41" fmla="*/ 3495675 h 4496940"/>
                    <a:gd name="connsiteX42" fmla="*/ 4059577 w 4519987"/>
                    <a:gd name="connsiteY42" fmla="*/ 3533775 h 4496940"/>
                    <a:gd name="connsiteX43" fmla="*/ 4002427 w 4519987"/>
                    <a:gd name="connsiteY43" fmla="*/ 3600450 h 4496940"/>
                    <a:gd name="connsiteX44" fmla="*/ 3983377 w 4519987"/>
                    <a:gd name="connsiteY44" fmla="*/ 3629025 h 4496940"/>
                    <a:gd name="connsiteX45" fmla="*/ 3954802 w 4519987"/>
                    <a:gd name="connsiteY45" fmla="*/ 3648075 h 4496940"/>
                    <a:gd name="connsiteX46" fmla="*/ 3907177 w 4519987"/>
                    <a:gd name="connsiteY46" fmla="*/ 3686175 h 4496940"/>
                    <a:gd name="connsiteX47" fmla="*/ 3869077 w 4519987"/>
                    <a:gd name="connsiteY47" fmla="*/ 3724275 h 4496940"/>
                    <a:gd name="connsiteX48" fmla="*/ 3792877 w 4519987"/>
                    <a:gd name="connsiteY48" fmla="*/ 3781425 h 4496940"/>
                    <a:gd name="connsiteX49" fmla="*/ 3783352 w 4519987"/>
                    <a:gd name="connsiteY49" fmla="*/ 3810000 h 4496940"/>
                    <a:gd name="connsiteX50" fmla="*/ 3745252 w 4519987"/>
                    <a:gd name="connsiteY50" fmla="*/ 3819525 h 4496940"/>
                    <a:gd name="connsiteX51" fmla="*/ 3678577 w 4519987"/>
                    <a:gd name="connsiteY51" fmla="*/ 3848100 h 4496940"/>
                    <a:gd name="connsiteX52" fmla="*/ 3659527 w 4519987"/>
                    <a:gd name="connsiteY52" fmla="*/ 3971925 h 4496940"/>
                    <a:gd name="connsiteX53" fmla="*/ 3630952 w 4519987"/>
                    <a:gd name="connsiteY53" fmla="*/ 4010025 h 4496940"/>
                    <a:gd name="connsiteX54" fmla="*/ 3621427 w 4519987"/>
                    <a:gd name="connsiteY54" fmla="*/ 4038600 h 4496940"/>
                    <a:gd name="connsiteX55" fmla="*/ 3554752 w 4519987"/>
                    <a:gd name="connsiteY55" fmla="*/ 4095750 h 4496940"/>
                    <a:gd name="connsiteX56" fmla="*/ 3516652 w 4519987"/>
                    <a:gd name="connsiteY56" fmla="*/ 4114800 h 4496940"/>
                    <a:gd name="connsiteX57" fmla="*/ 3497602 w 4519987"/>
                    <a:gd name="connsiteY57" fmla="*/ 4143375 h 4496940"/>
                    <a:gd name="connsiteX58" fmla="*/ 3383302 w 4519987"/>
                    <a:gd name="connsiteY58" fmla="*/ 4210050 h 4496940"/>
                    <a:gd name="connsiteX59" fmla="*/ 3335677 w 4519987"/>
                    <a:gd name="connsiteY59" fmla="*/ 4238625 h 4496940"/>
                    <a:gd name="connsiteX60" fmla="*/ 3288052 w 4519987"/>
                    <a:gd name="connsiteY60" fmla="*/ 4248150 h 4496940"/>
                    <a:gd name="connsiteX61" fmla="*/ 3240427 w 4519987"/>
                    <a:gd name="connsiteY61" fmla="*/ 4267200 h 4496940"/>
                    <a:gd name="connsiteX62" fmla="*/ 3068977 w 4519987"/>
                    <a:gd name="connsiteY62" fmla="*/ 4286250 h 4496940"/>
                    <a:gd name="connsiteX63" fmla="*/ 2935627 w 4519987"/>
                    <a:gd name="connsiteY63" fmla="*/ 4333875 h 4496940"/>
                    <a:gd name="connsiteX64" fmla="*/ 2811802 w 4519987"/>
                    <a:gd name="connsiteY64" fmla="*/ 4371975 h 4496940"/>
                    <a:gd name="connsiteX65" fmla="*/ 2745127 w 4519987"/>
                    <a:gd name="connsiteY65" fmla="*/ 4410075 h 4496940"/>
                    <a:gd name="connsiteX66" fmla="*/ 2697502 w 4519987"/>
                    <a:gd name="connsiteY66" fmla="*/ 4429125 h 4496940"/>
                    <a:gd name="connsiteX67" fmla="*/ 2640352 w 4519987"/>
                    <a:gd name="connsiteY67" fmla="*/ 4457700 h 4496940"/>
                    <a:gd name="connsiteX68" fmla="*/ 2583202 w 4519987"/>
                    <a:gd name="connsiteY68" fmla="*/ 4467225 h 4496940"/>
                    <a:gd name="connsiteX69" fmla="*/ 2545102 w 4519987"/>
                    <a:gd name="connsiteY69" fmla="*/ 4486275 h 4496940"/>
                    <a:gd name="connsiteX70" fmla="*/ 2306977 w 4519987"/>
                    <a:gd name="connsiteY70" fmla="*/ 4476750 h 4496940"/>
                    <a:gd name="connsiteX71" fmla="*/ 2202202 w 4519987"/>
                    <a:gd name="connsiteY71" fmla="*/ 4457700 h 4496940"/>
                    <a:gd name="connsiteX72" fmla="*/ 2126002 w 4519987"/>
                    <a:gd name="connsiteY72" fmla="*/ 4429125 h 4496940"/>
                    <a:gd name="connsiteX73" fmla="*/ 1935502 w 4519987"/>
                    <a:gd name="connsiteY73" fmla="*/ 4400550 h 4496940"/>
                    <a:gd name="connsiteX74" fmla="*/ 1821202 w 4519987"/>
                    <a:gd name="connsiteY74" fmla="*/ 4371975 h 4496940"/>
                    <a:gd name="connsiteX75" fmla="*/ 1754527 w 4519987"/>
                    <a:gd name="connsiteY75" fmla="*/ 4352925 h 4496940"/>
                    <a:gd name="connsiteX76" fmla="*/ 1687852 w 4519987"/>
                    <a:gd name="connsiteY76" fmla="*/ 4343400 h 4496940"/>
                    <a:gd name="connsiteX77" fmla="*/ 1573552 w 4519987"/>
                    <a:gd name="connsiteY77" fmla="*/ 4305300 h 4496940"/>
                    <a:gd name="connsiteX78" fmla="*/ 1402102 w 4519987"/>
                    <a:gd name="connsiteY78" fmla="*/ 4276725 h 4496940"/>
                    <a:gd name="connsiteX79" fmla="*/ 1287802 w 4519987"/>
                    <a:gd name="connsiteY79" fmla="*/ 4229100 h 4496940"/>
                    <a:gd name="connsiteX80" fmla="*/ 1221127 w 4519987"/>
                    <a:gd name="connsiteY80" fmla="*/ 4200525 h 4496940"/>
                    <a:gd name="connsiteX81" fmla="*/ 1144927 w 4519987"/>
                    <a:gd name="connsiteY81" fmla="*/ 4171950 h 4496940"/>
                    <a:gd name="connsiteX82" fmla="*/ 1087777 w 4519987"/>
                    <a:gd name="connsiteY82" fmla="*/ 4143375 h 4496940"/>
                    <a:gd name="connsiteX83" fmla="*/ 1030627 w 4519987"/>
                    <a:gd name="connsiteY83" fmla="*/ 4124325 h 4496940"/>
                    <a:gd name="connsiteX84" fmla="*/ 925852 w 4519987"/>
                    <a:gd name="connsiteY84" fmla="*/ 4067175 h 4496940"/>
                    <a:gd name="connsiteX85" fmla="*/ 830602 w 4519987"/>
                    <a:gd name="connsiteY85" fmla="*/ 3981450 h 4496940"/>
                    <a:gd name="connsiteX86" fmla="*/ 763927 w 4519987"/>
                    <a:gd name="connsiteY86" fmla="*/ 3914775 h 4496940"/>
                    <a:gd name="connsiteX87" fmla="*/ 725827 w 4519987"/>
                    <a:gd name="connsiteY87" fmla="*/ 3876675 h 4496940"/>
                    <a:gd name="connsiteX88" fmla="*/ 697252 w 4519987"/>
                    <a:gd name="connsiteY88" fmla="*/ 3838575 h 4496940"/>
                    <a:gd name="connsiteX89" fmla="*/ 640102 w 4519987"/>
                    <a:gd name="connsiteY89" fmla="*/ 3781425 h 4496940"/>
                    <a:gd name="connsiteX90" fmla="*/ 611527 w 4519987"/>
                    <a:gd name="connsiteY90" fmla="*/ 3733800 h 4496940"/>
                    <a:gd name="connsiteX91" fmla="*/ 554377 w 4519987"/>
                    <a:gd name="connsiteY91" fmla="*/ 3657600 h 4496940"/>
                    <a:gd name="connsiteX92" fmla="*/ 525802 w 4519987"/>
                    <a:gd name="connsiteY92" fmla="*/ 3609975 h 4496940"/>
                    <a:gd name="connsiteX93" fmla="*/ 497227 w 4519987"/>
                    <a:gd name="connsiteY93" fmla="*/ 3552825 h 4496940"/>
                    <a:gd name="connsiteX94" fmla="*/ 440077 w 4519987"/>
                    <a:gd name="connsiteY94" fmla="*/ 3495675 h 4496940"/>
                    <a:gd name="connsiteX95" fmla="*/ 411502 w 4519987"/>
                    <a:gd name="connsiteY95" fmla="*/ 3448050 h 4496940"/>
                    <a:gd name="connsiteX96" fmla="*/ 278152 w 4519987"/>
                    <a:gd name="connsiteY96" fmla="*/ 3257550 h 4496940"/>
                    <a:gd name="connsiteX97" fmla="*/ 249577 w 4519987"/>
                    <a:gd name="connsiteY97" fmla="*/ 3200400 h 4496940"/>
                    <a:gd name="connsiteX98" fmla="*/ 240052 w 4519987"/>
                    <a:gd name="connsiteY98" fmla="*/ 3162300 h 4496940"/>
                    <a:gd name="connsiteX99" fmla="*/ 221002 w 4519987"/>
                    <a:gd name="connsiteY99" fmla="*/ 3105150 h 4496940"/>
                    <a:gd name="connsiteX100" fmla="*/ 173377 w 4519987"/>
                    <a:gd name="connsiteY100" fmla="*/ 3019425 h 4496940"/>
                    <a:gd name="connsiteX101" fmla="*/ 144802 w 4519987"/>
                    <a:gd name="connsiteY101" fmla="*/ 2924175 h 4496940"/>
                    <a:gd name="connsiteX102" fmla="*/ 68602 w 4519987"/>
                    <a:gd name="connsiteY102" fmla="*/ 2724150 h 4496940"/>
                    <a:gd name="connsiteX103" fmla="*/ 49552 w 4519987"/>
                    <a:gd name="connsiteY103" fmla="*/ 2638425 h 4496940"/>
                    <a:gd name="connsiteX104" fmla="*/ 40027 w 4519987"/>
                    <a:gd name="connsiteY104" fmla="*/ 2562225 h 4496940"/>
                    <a:gd name="connsiteX105" fmla="*/ 30502 w 4519987"/>
                    <a:gd name="connsiteY105" fmla="*/ 2514600 h 4496940"/>
                    <a:gd name="connsiteX106" fmla="*/ 11452 w 4519987"/>
                    <a:gd name="connsiteY106" fmla="*/ 2400300 h 4496940"/>
                    <a:gd name="connsiteX107" fmla="*/ 20977 w 4519987"/>
                    <a:gd name="connsiteY107" fmla="*/ 1905000 h 4496940"/>
                    <a:gd name="connsiteX108" fmla="*/ 30502 w 4519987"/>
                    <a:gd name="connsiteY108" fmla="*/ 1838325 h 4496940"/>
                    <a:gd name="connsiteX109" fmla="*/ 49552 w 4519987"/>
                    <a:gd name="connsiteY109" fmla="*/ 1781175 h 4496940"/>
                    <a:gd name="connsiteX110" fmla="*/ 59077 w 4519987"/>
                    <a:gd name="connsiteY110" fmla="*/ 1743075 h 4496940"/>
                    <a:gd name="connsiteX111" fmla="*/ 78127 w 4519987"/>
                    <a:gd name="connsiteY111" fmla="*/ 1685925 h 4496940"/>
                    <a:gd name="connsiteX112" fmla="*/ 87652 w 4519987"/>
                    <a:gd name="connsiteY112" fmla="*/ 1638300 h 4496940"/>
                    <a:gd name="connsiteX113" fmla="*/ 106702 w 4519987"/>
                    <a:gd name="connsiteY113" fmla="*/ 1590675 h 4496940"/>
                    <a:gd name="connsiteX114" fmla="*/ 135277 w 4519987"/>
                    <a:gd name="connsiteY114" fmla="*/ 1504950 h 4496940"/>
                    <a:gd name="connsiteX115" fmla="*/ 154327 w 4519987"/>
                    <a:gd name="connsiteY115" fmla="*/ 1419225 h 4496940"/>
                    <a:gd name="connsiteX116" fmla="*/ 230527 w 4519987"/>
                    <a:gd name="connsiteY116" fmla="*/ 1276350 h 4496940"/>
                    <a:gd name="connsiteX117" fmla="*/ 240052 w 4519987"/>
                    <a:gd name="connsiteY117" fmla="*/ 1247775 h 4496940"/>
                    <a:gd name="connsiteX118" fmla="*/ 268627 w 4519987"/>
                    <a:gd name="connsiteY118" fmla="*/ 1200150 h 4496940"/>
                    <a:gd name="connsiteX119" fmla="*/ 287677 w 4519987"/>
                    <a:gd name="connsiteY119" fmla="*/ 1152525 h 4496940"/>
                    <a:gd name="connsiteX120" fmla="*/ 316252 w 4519987"/>
                    <a:gd name="connsiteY120" fmla="*/ 1114425 h 4496940"/>
                    <a:gd name="connsiteX121" fmla="*/ 363877 w 4519987"/>
                    <a:gd name="connsiteY121" fmla="*/ 1038225 h 4496940"/>
                    <a:gd name="connsiteX122" fmla="*/ 382927 w 4519987"/>
                    <a:gd name="connsiteY122" fmla="*/ 1009650 h 4496940"/>
                    <a:gd name="connsiteX123" fmla="*/ 440077 w 4519987"/>
                    <a:gd name="connsiteY123" fmla="*/ 904875 h 4496940"/>
                    <a:gd name="connsiteX124" fmla="*/ 478177 w 4519987"/>
                    <a:gd name="connsiteY124" fmla="*/ 857250 h 4496940"/>
                    <a:gd name="connsiteX125" fmla="*/ 497227 w 4519987"/>
                    <a:gd name="connsiteY125" fmla="*/ 828675 h 4496940"/>
                    <a:gd name="connsiteX126" fmla="*/ 535327 w 4519987"/>
                    <a:gd name="connsiteY126" fmla="*/ 800100 h 4496940"/>
                    <a:gd name="connsiteX127" fmla="*/ 602002 w 4519987"/>
                    <a:gd name="connsiteY127" fmla="*/ 733425 h 4496940"/>
                    <a:gd name="connsiteX128" fmla="*/ 668677 w 4519987"/>
                    <a:gd name="connsiteY128" fmla="*/ 676275 h 4496940"/>
                    <a:gd name="connsiteX129" fmla="*/ 697252 w 4519987"/>
                    <a:gd name="connsiteY129" fmla="*/ 657225 h 4496940"/>
                    <a:gd name="connsiteX130" fmla="*/ 840127 w 4519987"/>
                    <a:gd name="connsiteY130" fmla="*/ 533400 h 4496940"/>
                    <a:gd name="connsiteX131" fmla="*/ 887752 w 4519987"/>
                    <a:gd name="connsiteY131" fmla="*/ 504825 h 4496940"/>
                    <a:gd name="connsiteX132" fmla="*/ 1167152 w 4519987"/>
                    <a:gd name="connsiteY132" fmla="*/ 311150 h 4496940"/>
                    <a:gd name="connsiteX133" fmla="*/ 1268752 w 4519987"/>
                    <a:gd name="connsiteY133" fmla="*/ 285750 h 4496940"/>
                    <a:gd name="connsiteX134" fmla="*/ 1411627 w 4519987"/>
                    <a:gd name="connsiteY134" fmla="*/ 190500 h 4496940"/>
                    <a:gd name="connsiteX135" fmla="*/ 1449727 w 4519987"/>
                    <a:gd name="connsiteY135" fmla="*/ 161925 h 4496940"/>
                    <a:gd name="connsiteX136" fmla="*/ 1525927 w 4519987"/>
                    <a:gd name="connsiteY136" fmla="*/ 152400 h 4496940"/>
                    <a:gd name="connsiteX137" fmla="*/ 1583077 w 4519987"/>
                    <a:gd name="connsiteY137" fmla="*/ 142875 h 4496940"/>
                    <a:gd name="connsiteX138" fmla="*/ 1716427 w 4519987"/>
                    <a:gd name="connsiteY138" fmla="*/ 123825 h 4496940"/>
                    <a:gd name="connsiteX139" fmla="*/ 1811677 w 4519987"/>
                    <a:gd name="connsiteY139" fmla="*/ 114300 h 4496940"/>
                    <a:gd name="connsiteX140" fmla="*/ 1859302 w 4519987"/>
                    <a:gd name="connsiteY140" fmla="*/ 104775 h 4496940"/>
                    <a:gd name="connsiteX141" fmla="*/ 1916452 w 4519987"/>
                    <a:gd name="connsiteY141" fmla="*/ 95250 h 4496940"/>
                    <a:gd name="connsiteX142" fmla="*/ 2030752 w 4519987"/>
                    <a:gd name="connsiteY142" fmla="*/ 66675 h 4496940"/>
                    <a:gd name="connsiteX143" fmla="*/ 2097427 w 4519987"/>
                    <a:gd name="connsiteY143" fmla="*/ 47625 h 4496940"/>
                    <a:gd name="connsiteX144" fmla="*/ 2164102 w 4519987"/>
                    <a:gd name="connsiteY144" fmla="*/ 38100 h 4496940"/>
                    <a:gd name="connsiteX145" fmla="*/ 2392702 w 4519987"/>
                    <a:gd name="connsiteY14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259602 w 4519987"/>
                    <a:gd name="connsiteY24" fmla="*/ 1190625 h 4496940"/>
                    <a:gd name="connsiteX25" fmla="*/ 4307227 w 4519987"/>
                    <a:gd name="connsiteY25" fmla="*/ 1266825 h 4496940"/>
                    <a:gd name="connsiteX26" fmla="*/ 4345327 w 4519987"/>
                    <a:gd name="connsiteY26" fmla="*/ 1362075 h 4496940"/>
                    <a:gd name="connsiteX27" fmla="*/ 4373902 w 4519987"/>
                    <a:gd name="connsiteY27" fmla="*/ 1428750 h 4496940"/>
                    <a:gd name="connsiteX28" fmla="*/ 4392952 w 4519987"/>
                    <a:gd name="connsiteY28" fmla="*/ 1552575 h 4496940"/>
                    <a:gd name="connsiteX29" fmla="*/ 4402477 w 4519987"/>
                    <a:gd name="connsiteY29" fmla="*/ 1590675 h 4496940"/>
                    <a:gd name="connsiteX30" fmla="*/ 4431052 w 4519987"/>
                    <a:gd name="connsiteY30" fmla="*/ 1685925 h 4496940"/>
                    <a:gd name="connsiteX31" fmla="*/ 4519952 w 4519987"/>
                    <a:gd name="connsiteY31" fmla="*/ 2181225 h 4496940"/>
                    <a:gd name="connsiteX32" fmla="*/ 4446927 w 4519987"/>
                    <a:gd name="connsiteY32" fmla="*/ 2768600 h 4496940"/>
                    <a:gd name="connsiteX33" fmla="*/ 4383427 w 4519987"/>
                    <a:gd name="connsiteY33" fmla="*/ 2990850 h 4496940"/>
                    <a:gd name="connsiteX34" fmla="*/ 4278652 w 4519987"/>
                    <a:gd name="connsiteY34" fmla="*/ 3248025 h 4496940"/>
                    <a:gd name="connsiteX35" fmla="*/ 4259602 w 4519987"/>
                    <a:gd name="connsiteY35" fmla="*/ 3276600 h 4496940"/>
                    <a:gd name="connsiteX36" fmla="*/ 4221502 w 4519987"/>
                    <a:gd name="connsiteY36" fmla="*/ 3333750 h 4496940"/>
                    <a:gd name="connsiteX37" fmla="*/ 4211977 w 4519987"/>
                    <a:gd name="connsiteY37" fmla="*/ 3362325 h 4496940"/>
                    <a:gd name="connsiteX38" fmla="*/ 4183402 w 4519987"/>
                    <a:gd name="connsiteY38" fmla="*/ 3400425 h 4496940"/>
                    <a:gd name="connsiteX39" fmla="*/ 4164352 w 4519987"/>
                    <a:gd name="connsiteY39" fmla="*/ 3429000 h 4496940"/>
                    <a:gd name="connsiteX40" fmla="*/ 4088152 w 4519987"/>
                    <a:gd name="connsiteY40" fmla="*/ 3495675 h 4496940"/>
                    <a:gd name="connsiteX41" fmla="*/ 4059577 w 4519987"/>
                    <a:gd name="connsiteY41" fmla="*/ 3533775 h 4496940"/>
                    <a:gd name="connsiteX42" fmla="*/ 4002427 w 4519987"/>
                    <a:gd name="connsiteY42" fmla="*/ 3600450 h 4496940"/>
                    <a:gd name="connsiteX43" fmla="*/ 3983377 w 4519987"/>
                    <a:gd name="connsiteY43" fmla="*/ 3629025 h 4496940"/>
                    <a:gd name="connsiteX44" fmla="*/ 3954802 w 4519987"/>
                    <a:gd name="connsiteY44" fmla="*/ 3648075 h 4496940"/>
                    <a:gd name="connsiteX45" fmla="*/ 3907177 w 4519987"/>
                    <a:gd name="connsiteY45" fmla="*/ 3686175 h 4496940"/>
                    <a:gd name="connsiteX46" fmla="*/ 3869077 w 4519987"/>
                    <a:gd name="connsiteY46" fmla="*/ 3724275 h 4496940"/>
                    <a:gd name="connsiteX47" fmla="*/ 3792877 w 4519987"/>
                    <a:gd name="connsiteY47" fmla="*/ 3781425 h 4496940"/>
                    <a:gd name="connsiteX48" fmla="*/ 3783352 w 4519987"/>
                    <a:gd name="connsiteY48" fmla="*/ 3810000 h 4496940"/>
                    <a:gd name="connsiteX49" fmla="*/ 3745252 w 4519987"/>
                    <a:gd name="connsiteY49" fmla="*/ 3819525 h 4496940"/>
                    <a:gd name="connsiteX50" fmla="*/ 3678577 w 4519987"/>
                    <a:gd name="connsiteY50" fmla="*/ 3848100 h 4496940"/>
                    <a:gd name="connsiteX51" fmla="*/ 3659527 w 4519987"/>
                    <a:gd name="connsiteY51" fmla="*/ 3971925 h 4496940"/>
                    <a:gd name="connsiteX52" fmla="*/ 3630952 w 4519987"/>
                    <a:gd name="connsiteY52" fmla="*/ 4010025 h 4496940"/>
                    <a:gd name="connsiteX53" fmla="*/ 3621427 w 4519987"/>
                    <a:gd name="connsiteY53" fmla="*/ 4038600 h 4496940"/>
                    <a:gd name="connsiteX54" fmla="*/ 3554752 w 4519987"/>
                    <a:gd name="connsiteY54" fmla="*/ 4095750 h 4496940"/>
                    <a:gd name="connsiteX55" fmla="*/ 3516652 w 4519987"/>
                    <a:gd name="connsiteY55" fmla="*/ 4114800 h 4496940"/>
                    <a:gd name="connsiteX56" fmla="*/ 3497602 w 4519987"/>
                    <a:gd name="connsiteY56" fmla="*/ 4143375 h 4496940"/>
                    <a:gd name="connsiteX57" fmla="*/ 3383302 w 4519987"/>
                    <a:gd name="connsiteY57" fmla="*/ 4210050 h 4496940"/>
                    <a:gd name="connsiteX58" fmla="*/ 3335677 w 4519987"/>
                    <a:gd name="connsiteY58" fmla="*/ 4238625 h 4496940"/>
                    <a:gd name="connsiteX59" fmla="*/ 3288052 w 4519987"/>
                    <a:gd name="connsiteY59" fmla="*/ 4248150 h 4496940"/>
                    <a:gd name="connsiteX60" fmla="*/ 3240427 w 4519987"/>
                    <a:gd name="connsiteY60" fmla="*/ 4267200 h 4496940"/>
                    <a:gd name="connsiteX61" fmla="*/ 3068977 w 4519987"/>
                    <a:gd name="connsiteY61" fmla="*/ 4286250 h 4496940"/>
                    <a:gd name="connsiteX62" fmla="*/ 2935627 w 4519987"/>
                    <a:gd name="connsiteY62" fmla="*/ 4333875 h 4496940"/>
                    <a:gd name="connsiteX63" fmla="*/ 2811802 w 4519987"/>
                    <a:gd name="connsiteY63" fmla="*/ 4371975 h 4496940"/>
                    <a:gd name="connsiteX64" fmla="*/ 2745127 w 4519987"/>
                    <a:gd name="connsiteY64" fmla="*/ 4410075 h 4496940"/>
                    <a:gd name="connsiteX65" fmla="*/ 2697502 w 4519987"/>
                    <a:gd name="connsiteY65" fmla="*/ 4429125 h 4496940"/>
                    <a:gd name="connsiteX66" fmla="*/ 2640352 w 4519987"/>
                    <a:gd name="connsiteY66" fmla="*/ 4457700 h 4496940"/>
                    <a:gd name="connsiteX67" fmla="*/ 2583202 w 4519987"/>
                    <a:gd name="connsiteY67" fmla="*/ 4467225 h 4496940"/>
                    <a:gd name="connsiteX68" fmla="*/ 2545102 w 4519987"/>
                    <a:gd name="connsiteY68" fmla="*/ 4486275 h 4496940"/>
                    <a:gd name="connsiteX69" fmla="*/ 2306977 w 4519987"/>
                    <a:gd name="connsiteY69" fmla="*/ 4476750 h 4496940"/>
                    <a:gd name="connsiteX70" fmla="*/ 2202202 w 4519987"/>
                    <a:gd name="connsiteY70" fmla="*/ 4457700 h 4496940"/>
                    <a:gd name="connsiteX71" fmla="*/ 2126002 w 4519987"/>
                    <a:gd name="connsiteY71" fmla="*/ 4429125 h 4496940"/>
                    <a:gd name="connsiteX72" fmla="*/ 1935502 w 4519987"/>
                    <a:gd name="connsiteY72" fmla="*/ 4400550 h 4496940"/>
                    <a:gd name="connsiteX73" fmla="*/ 1821202 w 4519987"/>
                    <a:gd name="connsiteY73" fmla="*/ 4371975 h 4496940"/>
                    <a:gd name="connsiteX74" fmla="*/ 1754527 w 4519987"/>
                    <a:gd name="connsiteY74" fmla="*/ 4352925 h 4496940"/>
                    <a:gd name="connsiteX75" fmla="*/ 1687852 w 4519987"/>
                    <a:gd name="connsiteY75" fmla="*/ 4343400 h 4496940"/>
                    <a:gd name="connsiteX76" fmla="*/ 1573552 w 4519987"/>
                    <a:gd name="connsiteY76" fmla="*/ 4305300 h 4496940"/>
                    <a:gd name="connsiteX77" fmla="*/ 1402102 w 4519987"/>
                    <a:gd name="connsiteY77" fmla="*/ 4276725 h 4496940"/>
                    <a:gd name="connsiteX78" fmla="*/ 1287802 w 4519987"/>
                    <a:gd name="connsiteY78" fmla="*/ 4229100 h 4496940"/>
                    <a:gd name="connsiteX79" fmla="*/ 1221127 w 4519987"/>
                    <a:gd name="connsiteY79" fmla="*/ 4200525 h 4496940"/>
                    <a:gd name="connsiteX80" fmla="*/ 1144927 w 4519987"/>
                    <a:gd name="connsiteY80" fmla="*/ 4171950 h 4496940"/>
                    <a:gd name="connsiteX81" fmla="*/ 1087777 w 4519987"/>
                    <a:gd name="connsiteY81" fmla="*/ 4143375 h 4496940"/>
                    <a:gd name="connsiteX82" fmla="*/ 1030627 w 4519987"/>
                    <a:gd name="connsiteY82" fmla="*/ 4124325 h 4496940"/>
                    <a:gd name="connsiteX83" fmla="*/ 925852 w 4519987"/>
                    <a:gd name="connsiteY83" fmla="*/ 4067175 h 4496940"/>
                    <a:gd name="connsiteX84" fmla="*/ 830602 w 4519987"/>
                    <a:gd name="connsiteY84" fmla="*/ 3981450 h 4496940"/>
                    <a:gd name="connsiteX85" fmla="*/ 763927 w 4519987"/>
                    <a:gd name="connsiteY85" fmla="*/ 3914775 h 4496940"/>
                    <a:gd name="connsiteX86" fmla="*/ 725827 w 4519987"/>
                    <a:gd name="connsiteY86" fmla="*/ 3876675 h 4496940"/>
                    <a:gd name="connsiteX87" fmla="*/ 697252 w 4519987"/>
                    <a:gd name="connsiteY87" fmla="*/ 3838575 h 4496940"/>
                    <a:gd name="connsiteX88" fmla="*/ 640102 w 4519987"/>
                    <a:gd name="connsiteY88" fmla="*/ 3781425 h 4496940"/>
                    <a:gd name="connsiteX89" fmla="*/ 611527 w 4519987"/>
                    <a:gd name="connsiteY89" fmla="*/ 3733800 h 4496940"/>
                    <a:gd name="connsiteX90" fmla="*/ 554377 w 4519987"/>
                    <a:gd name="connsiteY90" fmla="*/ 3657600 h 4496940"/>
                    <a:gd name="connsiteX91" fmla="*/ 525802 w 4519987"/>
                    <a:gd name="connsiteY91" fmla="*/ 3609975 h 4496940"/>
                    <a:gd name="connsiteX92" fmla="*/ 497227 w 4519987"/>
                    <a:gd name="connsiteY92" fmla="*/ 3552825 h 4496940"/>
                    <a:gd name="connsiteX93" fmla="*/ 440077 w 4519987"/>
                    <a:gd name="connsiteY93" fmla="*/ 3495675 h 4496940"/>
                    <a:gd name="connsiteX94" fmla="*/ 411502 w 4519987"/>
                    <a:gd name="connsiteY94" fmla="*/ 3448050 h 4496940"/>
                    <a:gd name="connsiteX95" fmla="*/ 278152 w 4519987"/>
                    <a:gd name="connsiteY95" fmla="*/ 3257550 h 4496940"/>
                    <a:gd name="connsiteX96" fmla="*/ 249577 w 4519987"/>
                    <a:gd name="connsiteY96" fmla="*/ 3200400 h 4496940"/>
                    <a:gd name="connsiteX97" fmla="*/ 240052 w 4519987"/>
                    <a:gd name="connsiteY97" fmla="*/ 3162300 h 4496940"/>
                    <a:gd name="connsiteX98" fmla="*/ 221002 w 4519987"/>
                    <a:gd name="connsiteY98" fmla="*/ 3105150 h 4496940"/>
                    <a:gd name="connsiteX99" fmla="*/ 173377 w 4519987"/>
                    <a:gd name="connsiteY99" fmla="*/ 3019425 h 4496940"/>
                    <a:gd name="connsiteX100" fmla="*/ 144802 w 4519987"/>
                    <a:gd name="connsiteY100" fmla="*/ 2924175 h 4496940"/>
                    <a:gd name="connsiteX101" fmla="*/ 68602 w 4519987"/>
                    <a:gd name="connsiteY101" fmla="*/ 2724150 h 4496940"/>
                    <a:gd name="connsiteX102" fmla="*/ 49552 w 4519987"/>
                    <a:gd name="connsiteY102" fmla="*/ 2638425 h 4496940"/>
                    <a:gd name="connsiteX103" fmla="*/ 40027 w 4519987"/>
                    <a:gd name="connsiteY103" fmla="*/ 2562225 h 4496940"/>
                    <a:gd name="connsiteX104" fmla="*/ 30502 w 4519987"/>
                    <a:gd name="connsiteY104" fmla="*/ 2514600 h 4496940"/>
                    <a:gd name="connsiteX105" fmla="*/ 11452 w 4519987"/>
                    <a:gd name="connsiteY105" fmla="*/ 2400300 h 4496940"/>
                    <a:gd name="connsiteX106" fmla="*/ 20977 w 4519987"/>
                    <a:gd name="connsiteY106" fmla="*/ 1905000 h 4496940"/>
                    <a:gd name="connsiteX107" fmla="*/ 30502 w 4519987"/>
                    <a:gd name="connsiteY107" fmla="*/ 1838325 h 4496940"/>
                    <a:gd name="connsiteX108" fmla="*/ 49552 w 4519987"/>
                    <a:gd name="connsiteY108" fmla="*/ 1781175 h 4496940"/>
                    <a:gd name="connsiteX109" fmla="*/ 59077 w 4519987"/>
                    <a:gd name="connsiteY109" fmla="*/ 1743075 h 4496940"/>
                    <a:gd name="connsiteX110" fmla="*/ 78127 w 4519987"/>
                    <a:gd name="connsiteY110" fmla="*/ 1685925 h 4496940"/>
                    <a:gd name="connsiteX111" fmla="*/ 87652 w 4519987"/>
                    <a:gd name="connsiteY111" fmla="*/ 1638300 h 4496940"/>
                    <a:gd name="connsiteX112" fmla="*/ 106702 w 4519987"/>
                    <a:gd name="connsiteY112" fmla="*/ 1590675 h 4496940"/>
                    <a:gd name="connsiteX113" fmla="*/ 135277 w 4519987"/>
                    <a:gd name="connsiteY113" fmla="*/ 1504950 h 4496940"/>
                    <a:gd name="connsiteX114" fmla="*/ 154327 w 4519987"/>
                    <a:gd name="connsiteY114" fmla="*/ 1419225 h 4496940"/>
                    <a:gd name="connsiteX115" fmla="*/ 230527 w 4519987"/>
                    <a:gd name="connsiteY115" fmla="*/ 1276350 h 4496940"/>
                    <a:gd name="connsiteX116" fmla="*/ 240052 w 4519987"/>
                    <a:gd name="connsiteY116" fmla="*/ 1247775 h 4496940"/>
                    <a:gd name="connsiteX117" fmla="*/ 268627 w 4519987"/>
                    <a:gd name="connsiteY117" fmla="*/ 1200150 h 4496940"/>
                    <a:gd name="connsiteX118" fmla="*/ 287677 w 4519987"/>
                    <a:gd name="connsiteY118" fmla="*/ 1152525 h 4496940"/>
                    <a:gd name="connsiteX119" fmla="*/ 316252 w 4519987"/>
                    <a:gd name="connsiteY119" fmla="*/ 1114425 h 4496940"/>
                    <a:gd name="connsiteX120" fmla="*/ 363877 w 4519987"/>
                    <a:gd name="connsiteY120" fmla="*/ 1038225 h 4496940"/>
                    <a:gd name="connsiteX121" fmla="*/ 382927 w 4519987"/>
                    <a:gd name="connsiteY121" fmla="*/ 1009650 h 4496940"/>
                    <a:gd name="connsiteX122" fmla="*/ 440077 w 4519987"/>
                    <a:gd name="connsiteY122" fmla="*/ 904875 h 4496940"/>
                    <a:gd name="connsiteX123" fmla="*/ 478177 w 4519987"/>
                    <a:gd name="connsiteY123" fmla="*/ 857250 h 4496940"/>
                    <a:gd name="connsiteX124" fmla="*/ 497227 w 4519987"/>
                    <a:gd name="connsiteY124" fmla="*/ 828675 h 4496940"/>
                    <a:gd name="connsiteX125" fmla="*/ 535327 w 4519987"/>
                    <a:gd name="connsiteY125" fmla="*/ 800100 h 4496940"/>
                    <a:gd name="connsiteX126" fmla="*/ 602002 w 4519987"/>
                    <a:gd name="connsiteY126" fmla="*/ 733425 h 4496940"/>
                    <a:gd name="connsiteX127" fmla="*/ 668677 w 4519987"/>
                    <a:gd name="connsiteY127" fmla="*/ 676275 h 4496940"/>
                    <a:gd name="connsiteX128" fmla="*/ 697252 w 4519987"/>
                    <a:gd name="connsiteY128" fmla="*/ 657225 h 4496940"/>
                    <a:gd name="connsiteX129" fmla="*/ 840127 w 4519987"/>
                    <a:gd name="connsiteY129" fmla="*/ 533400 h 4496940"/>
                    <a:gd name="connsiteX130" fmla="*/ 887752 w 4519987"/>
                    <a:gd name="connsiteY130" fmla="*/ 504825 h 4496940"/>
                    <a:gd name="connsiteX131" fmla="*/ 1167152 w 4519987"/>
                    <a:gd name="connsiteY131" fmla="*/ 311150 h 4496940"/>
                    <a:gd name="connsiteX132" fmla="*/ 1268752 w 4519987"/>
                    <a:gd name="connsiteY132" fmla="*/ 285750 h 4496940"/>
                    <a:gd name="connsiteX133" fmla="*/ 1411627 w 4519987"/>
                    <a:gd name="connsiteY133" fmla="*/ 190500 h 4496940"/>
                    <a:gd name="connsiteX134" fmla="*/ 1449727 w 4519987"/>
                    <a:gd name="connsiteY134" fmla="*/ 161925 h 4496940"/>
                    <a:gd name="connsiteX135" fmla="*/ 1525927 w 4519987"/>
                    <a:gd name="connsiteY135" fmla="*/ 152400 h 4496940"/>
                    <a:gd name="connsiteX136" fmla="*/ 1583077 w 4519987"/>
                    <a:gd name="connsiteY136" fmla="*/ 142875 h 4496940"/>
                    <a:gd name="connsiteX137" fmla="*/ 1716427 w 4519987"/>
                    <a:gd name="connsiteY137" fmla="*/ 123825 h 4496940"/>
                    <a:gd name="connsiteX138" fmla="*/ 1811677 w 4519987"/>
                    <a:gd name="connsiteY138" fmla="*/ 114300 h 4496940"/>
                    <a:gd name="connsiteX139" fmla="*/ 1859302 w 4519987"/>
                    <a:gd name="connsiteY139" fmla="*/ 104775 h 4496940"/>
                    <a:gd name="connsiteX140" fmla="*/ 1916452 w 4519987"/>
                    <a:gd name="connsiteY140" fmla="*/ 95250 h 4496940"/>
                    <a:gd name="connsiteX141" fmla="*/ 2030752 w 4519987"/>
                    <a:gd name="connsiteY141" fmla="*/ 66675 h 4496940"/>
                    <a:gd name="connsiteX142" fmla="*/ 2097427 w 4519987"/>
                    <a:gd name="connsiteY142" fmla="*/ 47625 h 4496940"/>
                    <a:gd name="connsiteX143" fmla="*/ 2164102 w 4519987"/>
                    <a:gd name="connsiteY143" fmla="*/ 38100 h 4496940"/>
                    <a:gd name="connsiteX144" fmla="*/ 2392702 w 4519987"/>
                    <a:gd name="connsiteY14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73902 w 4519987"/>
                    <a:gd name="connsiteY26" fmla="*/ 1428750 h 4496940"/>
                    <a:gd name="connsiteX27" fmla="*/ 4392952 w 4519987"/>
                    <a:gd name="connsiteY27" fmla="*/ 1552575 h 4496940"/>
                    <a:gd name="connsiteX28" fmla="*/ 4402477 w 4519987"/>
                    <a:gd name="connsiteY28" fmla="*/ 1590675 h 4496940"/>
                    <a:gd name="connsiteX29" fmla="*/ 4431052 w 4519987"/>
                    <a:gd name="connsiteY29" fmla="*/ 1685925 h 4496940"/>
                    <a:gd name="connsiteX30" fmla="*/ 4519952 w 4519987"/>
                    <a:gd name="connsiteY30" fmla="*/ 2181225 h 4496940"/>
                    <a:gd name="connsiteX31" fmla="*/ 4446927 w 4519987"/>
                    <a:gd name="connsiteY31" fmla="*/ 2768600 h 4496940"/>
                    <a:gd name="connsiteX32" fmla="*/ 4383427 w 4519987"/>
                    <a:gd name="connsiteY32" fmla="*/ 2990850 h 4496940"/>
                    <a:gd name="connsiteX33" fmla="*/ 4278652 w 4519987"/>
                    <a:gd name="connsiteY33" fmla="*/ 3248025 h 4496940"/>
                    <a:gd name="connsiteX34" fmla="*/ 4259602 w 4519987"/>
                    <a:gd name="connsiteY34" fmla="*/ 3276600 h 4496940"/>
                    <a:gd name="connsiteX35" fmla="*/ 4221502 w 4519987"/>
                    <a:gd name="connsiteY35" fmla="*/ 3333750 h 4496940"/>
                    <a:gd name="connsiteX36" fmla="*/ 4211977 w 4519987"/>
                    <a:gd name="connsiteY36" fmla="*/ 3362325 h 4496940"/>
                    <a:gd name="connsiteX37" fmla="*/ 4183402 w 4519987"/>
                    <a:gd name="connsiteY37" fmla="*/ 3400425 h 4496940"/>
                    <a:gd name="connsiteX38" fmla="*/ 4164352 w 4519987"/>
                    <a:gd name="connsiteY38" fmla="*/ 3429000 h 4496940"/>
                    <a:gd name="connsiteX39" fmla="*/ 4088152 w 4519987"/>
                    <a:gd name="connsiteY39" fmla="*/ 3495675 h 4496940"/>
                    <a:gd name="connsiteX40" fmla="*/ 4059577 w 4519987"/>
                    <a:gd name="connsiteY40" fmla="*/ 3533775 h 4496940"/>
                    <a:gd name="connsiteX41" fmla="*/ 4002427 w 4519987"/>
                    <a:gd name="connsiteY41" fmla="*/ 3600450 h 4496940"/>
                    <a:gd name="connsiteX42" fmla="*/ 3983377 w 4519987"/>
                    <a:gd name="connsiteY42" fmla="*/ 3629025 h 4496940"/>
                    <a:gd name="connsiteX43" fmla="*/ 3954802 w 4519987"/>
                    <a:gd name="connsiteY43" fmla="*/ 3648075 h 4496940"/>
                    <a:gd name="connsiteX44" fmla="*/ 3907177 w 4519987"/>
                    <a:gd name="connsiteY44" fmla="*/ 3686175 h 4496940"/>
                    <a:gd name="connsiteX45" fmla="*/ 3869077 w 4519987"/>
                    <a:gd name="connsiteY45" fmla="*/ 3724275 h 4496940"/>
                    <a:gd name="connsiteX46" fmla="*/ 3792877 w 4519987"/>
                    <a:gd name="connsiteY46" fmla="*/ 3781425 h 4496940"/>
                    <a:gd name="connsiteX47" fmla="*/ 3783352 w 4519987"/>
                    <a:gd name="connsiteY47" fmla="*/ 3810000 h 4496940"/>
                    <a:gd name="connsiteX48" fmla="*/ 3745252 w 4519987"/>
                    <a:gd name="connsiteY48" fmla="*/ 3819525 h 4496940"/>
                    <a:gd name="connsiteX49" fmla="*/ 3678577 w 4519987"/>
                    <a:gd name="connsiteY49" fmla="*/ 3848100 h 4496940"/>
                    <a:gd name="connsiteX50" fmla="*/ 3659527 w 4519987"/>
                    <a:gd name="connsiteY50" fmla="*/ 3971925 h 4496940"/>
                    <a:gd name="connsiteX51" fmla="*/ 3630952 w 4519987"/>
                    <a:gd name="connsiteY51" fmla="*/ 4010025 h 4496940"/>
                    <a:gd name="connsiteX52" fmla="*/ 3621427 w 4519987"/>
                    <a:gd name="connsiteY52" fmla="*/ 4038600 h 4496940"/>
                    <a:gd name="connsiteX53" fmla="*/ 3554752 w 4519987"/>
                    <a:gd name="connsiteY53" fmla="*/ 4095750 h 4496940"/>
                    <a:gd name="connsiteX54" fmla="*/ 3516652 w 4519987"/>
                    <a:gd name="connsiteY54" fmla="*/ 4114800 h 4496940"/>
                    <a:gd name="connsiteX55" fmla="*/ 3497602 w 4519987"/>
                    <a:gd name="connsiteY55" fmla="*/ 4143375 h 4496940"/>
                    <a:gd name="connsiteX56" fmla="*/ 3383302 w 4519987"/>
                    <a:gd name="connsiteY56" fmla="*/ 4210050 h 4496940"/>
                    <a:gd name="connsiteX57" fmla="*/ 3335677 w 4519987"/>
                    <a:gd name="connsiteY57" fmla="*/ 4238625 h 4496940"/>
                    <a:gd name="connsiteX58" fmla="*/ 3288052 w 4519987"/>
                    <a:gd name="connsiteY58" fmla="*/ 4248150 h 4496940"/>
                    <a:gd name="connsiteX59" fmla="*/ 3240427 w 4519987"/>
                    <a:gd name="connsiteY59" fmla="*/ 4267200 h 4496940"/>
                    <a:gd name="connsiteX60" fmla="*/ 3068977 w 4519987"/>
                    <a:gd name="connsiteY60" fmla="*/ 4286250 h 4496940"/>
                    <a:gd name="connsiteX61" fmla="*/ 2935627 w 4519987"/>
                    <a:gd name="connsiteY61" fmla="*/ 4333875 h 4496940"/>
                    <a:gd name="connsiteX62" fmla="*/ 2811802 w 4519987"/>
                    <a:gd name="connsiteY62" fmla="*/ 4371975 h 4496940"/>
                    <a:gd name="connsiteX63" fmla="*/ 2745127 w 4519987"/>
                    <a:gd name="connsiteY63" fmla="*/ 4410075 h 4496940"/>
                    <a:gd name="connsiteX64" fmla="*/ 2697502 w 4519987"/>
                    <a:gd name="connsiteY64" fmla="*/ 4429125 h 4496940"/>
                    <a:gd name="connsiteX65" fmla="*/ 2640352 w 4519987"/>
                    <a:gd name="connsiteY65" fmla="*/ 4457700 h 4496940"/>
                    <a:gd name="connsiteX66" fmla="*/ 2583202 w 4519987"/>
                    <a:gd name="connsiteY66" fmla="*/ 4467225 h 4496940"/>
                    <a:gd name="connsiteX67" fmla="*/ 2545102 w 4519987"/>
                    <a:gd name="connsiteY67" fmla="*/ 4486275 h 4496940"/>
                    <a:gd name="connsiteX68" fmla="*/ 2306977 w 4519987"/>
                    <a:gd name="connsiteY68" fmla="*/ 4476750 h 4496940"/>
                    <a:gd name="connsiteX69" fmla="*/ 2202202 w 4519987"/>
                    <a:gd name="connsiteY69" fmla="*/ 4457700 h 4496940"/>
                    <a:gd name="connsiteX70" fmla="*/ 2126002 w 4519987"/>
                    <a:gd name="connsiteY70" fmla="*/ 4429125 h 4496940"/>
                    <a:gd name="connsiteX71" fmla="*/ 1935502 w 4519987"/>
                    <a:gd name="connsiteY71" fmla="*/ 4400550 h 4496940"/>
                    <a:gd name="connsiteX72" fmla="*/ 1821202 w 4519987"/>
                    <a:gd name="connsiteY72" fmla="*/ 4371975 h 4496940"/>
                    <a:gd name="connsiteX73" fmla="*/ 1754527 w 4519987"/>
                    <a:gd name="connsiteY73" fmla="*/ 4352925 h 4496940"/>
                    <a:gd name="connsiteX74" fmla="*/ 1687852 w 4519987"/>
                    <a:gd name="connsiteY74" fmla="*/ 4343400 h 4496940"/>
                    <a:gd name="connsiteX75" fmla="*/ 1573552 w 4519987"/>
                    <a:gd name="connsiteY75" fmla="*/ 4305300 h 4496940"/>
                    <a:gd name="connsiteX76" fmla="*/ 1402102 w 4519987"/>
                    <a:gd name="connsiteY76" fmla="*/ 4276725 h 4496940"/>
                    <a:gd name="connsiteX77" fmla="*/ 1287802 w 4519987"/>
                    <a:gd name="connsiteY77" fmla="*/ 4229100 h 4496940"/>
                    <a:gd name="connsiteX78" fmla="*/ 1221127 w 4519987"/>
                    <a:gd name="connsiteY78" fmla="*/ 4200525 h 4496940"/>
                    <a:gd name="connsiteX79" fmla="*/ 1144927 w 4519987"/>
                    <a:gd name="connsiteY79" fmla="*/ 4171950 h 4496940"/>
                    <a:gd name="connsiteX80" fmla="*/ 1087777 w 4519987"/>
                    <a:gd name="connsiteY80" fmla="*/ 4143375 h 4496940"/>
                    <a:gd name="connsiteX81" fmla="*/ 1030627 w 4519987"/>
                    <a:gd name="connsiteY81" fmla="*/ 4124325 h 4496940"/>
                    <a:gd name="connsiteX82" fmla="*/ 925852 w 4519987"/>
                    <a:gd name="connsiteY82" fmla="*/ 4067175 h 4496940"/>
                    <a:gd name="connsiteX83" fmla="*/ 830602 w 4519987"/>
                    <a:gd name="connsiteY83" fmla="*/ 3981450 h 4496940"/>
                    <a:gd name="connsiteX84" fmla="*/ 763927 w 4519987"/>
                    <a:gd name="connsiteY84" fmla="*/ 3914775 h 4496940"/>
                    <a:gd name="connsiteX85" fmla="*/ 725827 w 4519987"/>
                    <a:gd name="connsiteY85" fmla="*/ 3876675 h 4496940"/>
                    <a:gd name="connsiteX86" fmla="*/ 697252 w 4519987"/>
                    <a:gd name="connsiteY86" fmla="*/ 3838575 h 4496940"/>
                    <a:gd name="connsiteX87" fmla="*/ 640102 w 4519987"/>
                    <a:gd name="connsiteY87" fmla="*/ 3781425 h 4496940"/>
                    <a:gd name="connsiteX88" fmla="*/ 611527 w 4519987"/>
                    <a:gd name="connsiteY88" fmla="*/ 3733800 h 4496940"/>
                    <a:gd name="connsiteX89" fmla="*/ 554377 w 4519987"/>
                    <a:gd name="connsiteY89" fmla="*/ 3657600 h 4496940"/>
                    <a:gd name="connsiteX90" fmla="*/ 525802 w 4519987"/>
                    <a:gd name="connsiteY90" fmla="*/ 3609975 h 4496940"/>
                    <a:gd name="connsiteX91" fmla="*/ 497227 w 4519987"/>
                    <a:gd name="connsiteY91" fmla="*/ 3552825 h 4496940"/>
                    <a:gd name="connsiteX92" fmla="*/ 440077 w 4519987"/>
                    <a:gd name="connsiteY92" fmla="*/ 3495675 h 4496940"/>
                    <a:gd name="connsiteX93" fmla="*/ 411502 w 4519987"/>
                    <a:gd name="connsiteY93" fmla="*/ 3448050 h 4496940"/>
                    <a:gd name="connsiteX94" fmla="*/ 278152 w 4519987"/>
                    <a:gd name="connsiteY94" fmla="*/ 3257550 h 4496940"/>
                    <a:gd name="connsiteX95" fmla="*/ 249577 w 4519987"/>
                    <a:gd name="connsiteY95" fmla="*/ 3200400 h 4496940"/>
                    <a:gd name="connsiteX96" fmla="*/ 240052 w 4519987"/>
                    <a:gd name="connsiteY96" fmla="*/ 3162300 h 4496940"/>
                    <a:gd name="connsiteX97" fmla="*/ 221002 w 4519987"/>
                    <a:gd name="connsiteY97" fmla="*/ 3105150 h 4496940"/>
                    <a:gd name="connsiteX98" fmla="*/ 173377 w 4519987"/>
                    <a:gd name="connsiteY98" fmla="*/ 3019425 h 4496940"/>
                    <a:gd name="connsiteX99" fmla="*/ 144802 w 4519987"/>
                    <a:gd name="connsiteY99" fmla="*/ 2924175 h 4496940"/>
                    <a:gd name="connsiteX100" fmla="*/ 68602 w 4519987"/>
                    <a:gd name="connsiteY100" fmla="*/ 2724150 h 4496940"/>
                    <a:gd name="connsiteX101" fmla="*/ 49552 w 4519987"/>
                    <a:gd name="connsiteY101" fmla="*/ 2638425 h 4496940"/>
                    <a:gd name="connsiteX102" fmla="*/ 40027 w 4519987"/>
                    <a:gd name="connsiteY102" fmla="*/ 2562225 h 4496940"/>
                    <a:gd name="connsiteX103" fmla="*/ 30502 w 4519987"/>
                    <a:gd name="connsiteY103" fmla="*/ 2514600 h 4496940"/>
                    <a:gd name="connsiteX104" fmla="*/ 11452 w 4519987"/>
                    <a:gd name="connsiteY104" fmla="*/ 2400300 h 4496940"/>
                    <a:gd name="connsiteX105" fmla="*/ 20977 w 4519987"/>
                    <a:gd name="connsiteY105" fmla="*/ 1905000 h 4496940"/>
                    <a:gd name="connsiteX106" fmla="*/ 30502 w 4519987"/>
                    <a:gd name="connsiteY106" fmla="*/ 1838325 h 4496940"/>
                    <a:gd name="connsiteX107" fmla="*/ 49552 w 4519987"/>
                    <a:gd name="connsiteY107" fmla="*/ 1781175 h 4496940"/>
                    <a:gd name="connsiteX108" fmla="*/ 59077 w 4519987"/>
                    <a:gd name="connsiteY108" fmla="*/ 1743075 h 4496940"/>
                    <a:gd name="connsiteX109" fmla="*/ 78127 w 4519987"/>
                    <a:gd name="connsiteY109" fmla="*/ 1685925 h 4496940"/>
                    <a:gd name="connsiteX110" fmla="*/ 87652 w 4519987"/>
                    <a:gd name="connsiteY110" fmla="*/ 1638300 h 4496940"/>
                    <a:gd name="connsiteX111" fmla="*/ 106702 w 4519987"/>
                    <a:gd name="connsiteY111" fmla="*/ 1590675 h 4496940"/>
                    <a:gd name="connsiteX112" fmla="*/ 135277 w 4519987"/>
                    <a:gd name="connsiteY112" fmla="*/ 1504950 h 4496940"/>
                    <a:gd name="connsiteX113" fmla="*/ 154327 w 4519987"/>
                    <a:gd name="connsiteY113" fmla="*/ 1419225 h 4496940"/>
                    <a:gd name="connsiteX114" fmla="*/ 230527 w 4519987"/>
                    <a:gd name="connsiteY114" fmla="*/ 1276350 h 4496940"/>
                    <a:gd name="connsiteX115" fmla="*/ 240052 w 4519987"/>
                    <a:gd name="connsiteY115" fmla="*/ 1247775 h 4496940"/>
                    <a:gd name="connsiteX116" fmla="*/ 268627 w 4519987"/>
                    <a:gd name="connsiteY116" fmla="*/ 1200150 h 4496940"/>
                    <a:gd name="connsiteX117" fmla="*/ 287677 w 4519987"/>
                    <a:gd name="connsiteY117" fmla="*/ 1152525 h 4496940"/>
                    <a:gd name="connsiteX118" fmla="*/ 316252 w 4519987"/>
                    <a:gd name="connsiteY118" fmla="*/ 1114425 h 4496940"/>
                    <a:gd name="connsiteX119" fmla="*/ 363877 w 4519987"/>
                    <a:gd name="connsiteY119" fmla="*/ 1038225 h 4496940"/>
                    <a:gd name="connsiteX120" fmla="*/ 382927 w 4519987"/>
                    <a:gd name="connsiteY120" fmla="*/ 1009650 h 4496940"/>
                    <a:gd name="connsiteX121" fmla="*/ 440077 w 4519987"/>
                    <a:gd name="connsiteY121" fmla="*/ 904875 h 4496940"/>
                    <a:gd name="connsiteX122" fmla="*/ 478177 w 4519987"/>
                    <a:gd name="connsiteY122" fmla="*/ 857250 h 4496940"/>
                    <a:gd name="connsiteX123" fmla="*/ 497227 w 4519987"/>
                    <a:gd name="connsiteY123" fmla="*/ 828675 h 4496940"/>
                    <a:gd name="connsiteX124" fmla="*/ 535327 w 4519987"/>
                    <a:gd name="connsiteY124" fmla="*/ 800100 h 4496940"/>
                    <a:gd name="connsiteX125" fmla="*/ 602002 w 4519987"/>
                    <a:gd name="connsiteY125" fmla="*/ 733425 h 4496940"/>
                    <a:gd name="connsiteX126" fmla="*/ 668677 w 4519987"/>
                    <a:gd name="connsiteY126" fmla="*/ 676275 h 4496940"/>
                    <a:gd name="connsiteX127" fmla="*/ 697252 w 4519987"/>
                    <a:gd name="connsiteY127" fmla="*/ 657225 h 4496940"/>
                    <a:gd name="connsiteX128" fmla="*/ 840127 w 4519987"/>
                    <a:gd name="connsiteY128" fmla="*/ 533400 h 4496940"/>
                    <a:gd name="connsiteX129" fmla="*/ 887752 w 4519987"/>
                    <a:gd name="connsiteY129" fmla="*/ 504825 h 4496940"/>
                    <a:gd name="connsiteX130" fmla="*/ 1167152 w 4519987"/>
                    <a:gd name="connsiteY130" fmla="*/ 311150 h 4496940"/>
                    <a:gd name="connsiteX131" fmla="*/ 1268752 w 4519987"/>
                    <a:gd name="connsiteY131" fmla="*/ 285750 h 4496940"/>
                    <a:gd name="connsiteX132" fmla="*/ 1411627 w 4519987"/>
                    <a:gd name="connsiteY132" fmla="*/ 190500 h 4496940"/>
                    <a:gd name="connsiteX133" fmla="*/ 1449727 w 4519987"/>
                    <a:gd name="connsiteY133" fmla="*/ 161925 h 4496940"/>
                    <a:gd name="connsiteX134" fmla="*/ 1525927 w 4519987"/>
                    <a:gd name="connsiteY134" fmla="*/ 152400 h 4496940"/>
                    <a:gd name="connsiteX135" fmla="*/ 1583077 w 4519987"/>
                    <a:gd name="connsiteY135" fmla="*/ 142875 h 4496940"/>
                    <a:gd name="connsiteX136" fmla="*/ 1716427 w 4519987"/>
                    <a:gd name="connsiteY136" fmla="*/ 123825 h 4496940"/>
                    <a:gd name="connsiteX137" fmla="*/ 1811677 w 4519987"/>
                    <a:gd name="connsiteY137" fmla="*/ 114300 h 4496940"/>
                    <a:gd name="connsiteX138" fmla="*/ 1859302 w 4519987"/>
                    <a:gd name="connsiteY138" fmla="*/ 104775 h 4496940"/>
                    <a:gd name="connsiteX139" fmla="*/ 1916452 w 4519987"/>
                    <a:gd name="connsiteY139" fmla="*/ 95250 h 4496940"/>
                    <a:gd name="connsiteX140" fmla="*/ 2030752 w 4519987"/>
                    <a:gd name="connsiteY140" fmla="*/ 66675 h 4496940"/>
                    <a:gd name="connsiteX141" fmla="*/ 2097427 w 4519987"/>
                    <a:gd name="connsiteY141" fmla="*/ 47625 h 4496940"/>
                    <a:gd name="connsiteX142" fmla="*/ 2164102 w 4519987"/>
                    <a:gd name="connsiteY142" fmla="*/ 38100 h 4496940"/>
                    <a:gd name="connsiteX143" fmla="*/ 2392702 w 4519987"/>
                    <a:gd name="connsiteY14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02477 w 4519987"/>
                    <a:gd name="connsiteY27" fmla="*/ 1590675 h 4496940"/>
                    <a:gd name="connsiteX28" fmla="*/ 4431052 w 4519987"/>
                    <a:gd name="connsiteY28" fmla="*/ 1685925 h 4496940"/>
                    <a:gd name="connsiteX29" fmla="*/ 4519952 w 4519987"/>
                    <a:gd name="connsiteY29" fmla="*/ 2181225 h 4496940"/>
                    <a:gd name="connsiteX30" fmla="*/ 4446927 w 4519987"/>
                    <a:gd name="connsiteY30" fmla="*/ 2768600 h 4496940"/>
                    <a:gd name="connsiteX31" fmla="*/ 4383427 w 4519987"/>
                    <a:gd name="connsiteY31" fmla="*/ 2990850 h 4496940"/>
                    <a:gd name="connsiteX32" fmla="*/ 4278652 w 4519987"/>
                    <a:gd name="connsiteY32" fmla="*/ 3248025 h 4496940"/>
                    <a:gd name="connsiteX33" fmla="*/ 4259602 w 4519987"/>
                    <a:gd name="connsiteY33" fmla="*/ 3276600 h 4496940"/>
                    <a:gd name="connsiteX34" fmla="*/ 4221502 w 4519987"/>
                    <a:gd name="connsiteY34" fmla="*/ 3333750 h 4496940"/>
                    <a:gd name="connsiteX35" fmla="*/ 4211977 w 4519987"/>
                    <a:gd name="connsiteY35" fmla="*/ 3362325 h 4496940"/>
                    <a:gd name="connsiteX36" fmla="*/ 4183402 w 4519987"/>
                    <a:gd name="connsiteY36" fmla="*/ 3400425 h 4496940"/>
                    <a:gd name="connsiteX37" fmla="*/ 4164352 w 4519987"/>
                    <a:gd name="connsiteY37" fmla="*/ 3429000 h 4496940"/>
                    <a:gd name="connsiteX38" fmla="*/ 4088152 w 4519987"/>
                    <a:gd name="connsiteY38" fmla="*/ 3495675 h 4496940"/>
                    <a:gd name="connsiteX39" fmla="*/ 4059577 w 4519987"/>
                    <a:gd name="connsiteY39" fmla="*/ 3533775 h 4496940"/>
                    <a:gd name="connsiteX40" fmla="*/ 4002427 w 4519987"/>
                    <a:gd name="connsiteY40" fmla="*/ 3600450 h 4496940"/>
                    <a:gd name="connsiteX41" fmla="*/ 3983377 w 4519987"/>
                    <a:gd name="connsiteY41" fmla="*/ 3629025 h 4496940"/>
                    <a:gd name="connsiteX42" fmla="*/ 3954802 w 4519987"/>
                    <a:gd name="connsiteY42" fmla="*/ 3648075 h 4496940"/>
                    <a:gd name="connsiteX43" fmla="*/ 3907177 w 4519987"/>
                    <a:gd name="connsiteY43" fmla="*/ 3686175 h 4496940"/>
                    <a:gd name="connsiteX44" fmla="*/ 3869077 w 4519987"/>
                    <a:gd name="connsiteY44" fmla="*/ 3724275 h 4496940"/>
                    <a:gd name="connsiteX45" fmla="*/ 3792877 w 4519987"/>
                    <a:gd name="connsiteY45" fmla="*/ 3781425 h 4496940"/>
                    <a:gd name="connsiteX46" fmla="*/ 3783352 w 4519987"/>
                    <a:gd name="connsiteY46" fmla="*/ 3810000 h 4496940"/>
                    <a:gd name="connsiteX47" fmla="*/ 3745252 w 4519987"/>
                    <a:gd name="connsiteY47" fmla="*/ 3819525 h 4496940"/>
                    <a:gd name="connsiteX48" fmla="*/ 3678577 w 4519987"/>
                    <a:gd name="connsiteY48" fmla="*/ 3848100 h 4496940"/>
                    <a:gd name="connsiteX49" fmla="*/ 3659527 w 4519987"/>
                    <a:gd name="connsiteY49" fmla="*/ 3971925 h 4496940"/>
                    <a:gd name="connsiteX50" fmla="*/ 3630952 w 4519987"/>
                    <a:gd name="connsiteY50" fmla="*/ 4010025 h 4496940"/>
                    <a:gd name="connsiteX51" fmla="*/ 3621427 w 4519987"/>
                    <a:gd name="connsiteY51" fmla="*/ 4038600 h 4496940"/>
                    <a:gd name="connsiteX52" fmla="*/ 3554752 w 4519987"/>
                    <a:gd name="connsiteY52" fmla="*/ 4095750 h 4496940"/>
                    <a:gd name="connsiteX53" fmla="*/ 3516652 w 4519987"/>
                    <a:gd name="connsiteY53" fmla="*/ 4114800 h 4496940"/>
                    <a:gd name="connsiteX54" fmla="*/ 3497602 w 4519987"/>
                    <a:gd name="connsiteY54" fmla="*/ 4143375 h 4496940"/>
                    <a:gd name="connsiteX55" fmla="*/ 3383302 w 4519987"/>
                    <a:gd name="connsiteY55" fmla="*/ 4210050 h 4496940"/>
                    <a:gd name="connsiteX56" fmla="*/ 3335677 w 4519987"/>
                    <a:gd name="connsiteY56" fmla="*/ 4238625 h 4496940"/>
                    <a:gd name="connsiteX57" fmla="*/ 3288052 w 4519987"/>
                    <a:gd name="connsiteY57" fmla="*/ 4248150 h 4496940"/>
                    <a:gd name="connsiteX58" fmla="*/ 3240427 w 4519987"/>
                    <a:gd name="connsiteY58" fmla="*/ 4267200 h 4496940"/>
                    <a:gd name="connsiteX59" fmla="*/ 3068977 w 4519987"/>
                    <a:gd name="connsiteY59" fmla="*/ 4286250 h 4496940"/>
                    <a:gd name="connsiteX60" fmla="*/ 2935627 w 4519987"/>
                    <a:gd name="connsiteY60" fmla="*/ 4333875 h 4496940"/>
                    <a:gd name="connsiteX61" fmla="*/ 2811802 w 4519987"/>
                    <a:gd name="connsiteY61" fmla="*/ 4371975 h 4496940"/>
                    <a:gd name="connsiteX62" fmla="*/ 2745127 w 4519987"/>
                    <a:gd name="connsiteY62" fmla="*/ 4410075 h 4496940"/>
                    <a:gd name="connsiteX63" fmla="*/ 2697502 w 4519987"/>
                    <a:gd name="connsiteY63" fmla="*/ 4429125 h 4496940"/>
                    <a:gd name="connsiteX64" fmla="*/ 2640352 w 4519987"/>
                    <a:gd name="connsiteY64" fmla="*/ 4457700 h 4496940"/>
                    <a:gd name="connsiteX65" fmla="*/ 2583202 w 4519987"/>
                    <a:gd name="connsiteY65" fmla="*/ 4467225 h 4496940"/>
                    <a:gd name="connsiteX66" fmla="*/ 2545102 w 4519987"/>
                    <a:gd name="connsiteY66" fmla="*/ 4486275 h 4496940"/>
                    <a:gd name="connsiteX67" fmla="*/ 2306977 w 4519987"/>
                    <a:gd name="connsiteY67" fmla="*/ 4476750 h 4496940"/>
                    <a:gd name="connsiteX68" fmla="*/ 2202202 w 4519987"/>
                    <a:gd name="connsiteY68" fmla="*/ 4457700 h 4496940"/>
                    <a:gd name="connsiteX69" fmla="*/ 2126002 w 4519987"/>
                    <a:gd name="connsiteY69" fmla="*/ 4429125 h 4496940"/>
                    <a:gd name="connsiteX70" fmla="*/ 1935502 w 4519987"/>
                    <a:gd name="connsiteY70" fmla="*/ 4400550 h 4496940"/>
                    <a:gd name="connsiteX71" fmla="*/ 1821202 w 4519987"/>
                    <a:gd name="connsiteY71" fmla="*/ 4371975 h 4496940"/>
                    <a:gd name="connsiteX72" fmla="*/ 1754527 w 4519987"/>
                    <a:gd name="connsiteY72" fmla="*/ 4352925 h 4496940"/>
                    <a:gd name="connsiteX73" fmla="*/ 1687852 w 4519987"/>
                    <a:gd name="connsiteY73" fmla="*/ 4343400 h 4496940"/>
                    <a:gd name="connsiteX74" fmla="*/ 1573552 w 4519987"/>
                    <a:gd name="connsiteY74" fmla="*/ 4305300 h 4496940"/>
                    <a:gd name="connsiteX75" fmla="*/ 1402102 w 4519987"/>
                    <a:gd name="connsiteY75" fmla="*/ 4276725 h 4496940"/>
                    <a:gd name="connsiteX76" fmla="*/ 1287802 w 4519987"/>
                    <a:gd name="connsiteY76" fmla="*/ 4229100 h 4496940"/>
                    <a:gd name="connsiteX77" fmla="*/ 1221127 w 4519987"/>
                    <a:gd name="connsiteY77" fmla="*/ 4200525 h 4496940"/>
                    <a:gd name="connsiteX78" fmla="*/ 1144927 w 4519987"/>
                    <a:gd name="connsiteY78" fmla="*/ 4171950 h 4496940"/>
                    <a:gd name="connsiteX79" fmla="*/ 1087777 w 4519987"/>
                    <a:gd name="connsiteY79" fmla="*/ 4143375 h 4496940"/>
                    <a:gd name="connsiteX80" fmla="*/ 1030627 w 4519987"/>
                    <a:gd name="connsiteY80" fmla="*/ 4124325 h 4496940"/>
                    <a:gd name="connsiteX81" fmla="*/ 925852 w 4519987"/>
                    <a:gd name="connsiteY81" fmla="*/ 4067175 h 4496940"/>
                    <a:gd name="connsiteX82" fmla="*/ 830602 w 4519987"/>
                    <a:gd name="connsiteY82" fmla="*/ 3981450 h 4496940"/>
                    <a:gd name="connsiteX83" fmla="*/ 763927 w 4519987"/>
                    <a:gd name="connsiteY83" fmla="*/ 3914775 h 4496940"/>
                    <a:gd name="connsiteX84" fmla="*/ 725827 w 4519987"/>
                    <a:gd name="connsiteY84" fmla="*/ 3876675 h 4496940"/>
                    <a:gd name="connsiteX85" fmla="*/ 697252 w 4519987"/>
                    <a:gd name="connsiteY85" fmla="*/ 3838575 h 4496940"/>
                    <a:gd name="connsiteX86" fmla="*/ 640102 w 4519987"/>
                    <a:gd name="connsiteY86" fmla="*/ 3781425 h 4496940"/>
                    <a:gd name="connsiteX87" fmla="*/ 611527 w 4519987"/>
                    <a:gd name="connsiteY87" fmla="*/ 3733800 h 4496940"/>
                    <a:gd name="connsiteX88" fmla="*/ 554377 w 4519987"/>
                    <a:gd name="connsiteY88" fmla="*/ 3657600 h 4496940"/>
                    <a:gd name="connsiteX89" fmla="*/ 525802 w 4519987"/>
                    <a:gd name="connsiteY89" fmla="*/ 3609975 h 4496940"/>
                    <a:gd name="connsiteX90" fmla="*/ 497227 w 4519987"/>
                    <a:gd name="connsiteY90" fmla="*/ 3552825 h 4496940"/>
                    <a:gd name="connsiteX91" fmla="*/ 440077 w 4519987"/>
                    <a:gd name="connsiteY91" fmla="*/ 3495675 h 4496940"/>
                    <a:gd name="connsiteX92" fmla="*/ 411502 w 4519987"/>
                    <a:gd name="connsiteY92" fmla="*/ 3448050 h 4496940"/>
                    <a:gd name="connsiteX93" fmla="*/ 278152 w 4519987"/>
                    <a:gd name="connsiteY93" fmla="*/ 3257550 h 4496940"/>
                    <a:gd name="connsiteX94" fmla="*/ 249577 w 4519987"/>
                    <a:gd name="connsiteY94" fmla="*/ 3200400 h 4496940"/>
                    <a:gd name="connsiteX95" fmla="*/ 240052 w 4519987"/>
                    <a:gd name="connsiteY95" fmla="*/ 3162300 h 4496940"/>
                    <a:gd name="connsiteX96" fmla="*/ 221002 w 4519987"/>
                    <a:gd name="connsiteY96" fmla="*/ 3105150 h 4496940"/>
                    <a:gd name="connsiteX97" fmla="*/ 173377 w 4519987"/>
                    <a:gd name="connsiteY97" fmla="*/ 3019425 h 4496940"/>
                    <a:gd name="connsiteX98" fmla="*/ 144802 w 4519987"/>
                    <a:gd name="connsiteY98" fmla="*/ 2924175 h 4496940"/>
                    <a:gd name="connsiteX99" fmla="*/ 68602 w 4519987"/>
                    <a:gd name="connsiteY99" fmla="*/ 2724150 h 4496940"/>
                    <a:gd name="connsiteX100" fmla="*/ 49552 w 4519987"/>
                    <a:gd name="connsiteY100" fmla="*/ 2638425 h 4496940"/>
                    <a:gd name="connsiteX101" fmla="*/ 40027 w 4519987"/>
                    <a:gd name="connsiteY101" fmla="*/ 2562225 h 4496940"/>
                    <a:gd name="connsiteX102" fmla="*/ 30502 w 4519987"/>
                    <a:gd name="connsiteY102" fmla="*/ 2514600 h 4496940"/>
                    <a:gd name="connsiteX103" fmla="*/ 11452 w 4519987"/>
                    <a:gd name="connsiteY103" fmla="*/ 2400300 h 4496940"/>
                    <a:gd name="connsiteX104" fmla="*/ 20977 w 4519987"/>
                    <a:gd name="connsiteY104" fmla="*/ 1905000 h 4496940"/>
                    <a:gd name="connsiteX105" fmla="*/ 30502 w 4519987"/>
                    <a:gd name="connsiteY105" fmla="*/ 1838325 h 4496940"/>
                    <a:gd name="connsiteX106" fmla="*/ 49552 w 4519987"/>
                    <a:gd name="connsiteY106" fmla="*/ 1781175 h 4496940"/>
                    <a:gd name="connsiteX107" fmla="*/ 59077 w 4519987"/>
                    <a:gd name="connsiteY107" fmla="*/ 1743075 h 4496940"/>
                    <a:gd name="connsiteX108" fmla="*/ 78127 w 4519987"/>
                    <a:gd name="connsiteY108" fmla="*/ 1685925 h 4496940"/>
                    <a:gd name="connsiteX109" fmla="*/ 87652 w 4519987"/>
                    <a:gd name="connsiteY109" fmla="*/ 1638300 h 4496940"/>
                    <a:gd name="connsiteX110" fmla="*/ 106702 w 4519987"/>
                    <a:gd name="connsiteY110" fmla="*/ 1590675 h 4496940"/>
                    <a:gd name="connsiteX111" fmla="*/ 135277 w 4519987"/>
                    <a:gd name="connsiteY111" fmla="*/ 1504950 h 4496940"/>
                    <a:gd name="connsiteX112" fmla="*/ 154327 w 4519987"/>
                    <a:gd name="connsiteY112" fmla="*/ 1419225 h 4496940"/>
                    <a:gd name="connsiteX113" fmla="*/ 230527 w 4519987"/>
                    <a:gd name="connsiteY113" fmla="*/ 1276350 h 4496940"/>
                    <a:gd name="connsiteX114" fmla="*/ 240052 w 4519987"/>
                    <a:gd name="connsiteY114" fmla="*/ 1247775 h 4496940"/>
                    <a:gd name="connsiteX115" fmla="*/ 268627 w 4519987"/>
                    <a:gd name="connsiteY115" fmla="*/ 1200150 h 4496940"/>
                    <a:gd name="connsiteX116" fmla="*/ 287677 w 4519987"/>
                    <a:gd name="connsiteY116" fmla="*/ 1152525 h 4496940"/>
                    <a:gd name="connsiteX117" fmla="*/ 316252 w 4519987"/>
                    <a:gd name="connsiteY117" fmla="*/ 1114425 h 4496940"/>
                    <a:gd name="connsiteX118" fmla="*/ 363877 w 4519987"/>
                    <a:gd name="connsiteY118" fmla="*/ 1038225 h 4496940"/>
                    <a:gd name="connsiteX119" fmla="*/ 382927 w 4519987"/>
                    <a:gd name="connsiteY119" fmla="*/ 1009650 h 4496940"/>
                    <a:gd name="connsiteX120" fmla="*/ 440077 w 4519987"/>
                    <a:gd name="connsiteY120" fmla="*/ 904875 h 4496940"/>
                    <a:gd name="connsiteX121" fmla="*/ 478177 w 4519987"/>
                    <a:gd name="connsiteY121" fmla="*/ 857250 h 4496940"/>
                    <a:gd name="connsiteX122" fmla="*/ 497227 w 4519987"/>
                    <a:gd name="connsiteY122" fmla="*/ 828675 h 4496940"/>
                    <a:gd name="connsiteX123" fmla="*/ 535327 w 4519987"/>
                    <a:gd name="connsiteY123" fmla="*/ 800100 h 4496940"/>
                    <a:gd name="connsiteX124" fmla="*/ 602002 w 4519987"/>
                    <a:gd name="connsiteY124" fmla="*/ 733425 h 4496940"/>
                    <a:gd name="connsiteX125" fmla="*/ 668677 w 4519987"/>
                    <a:gd name="connsiteY125" fmla="*/ 676275 h 4496940"/>
                    <a:gd name="connsiteX126" fmla="*/ 697252 w 4519987"/>
                    <a:gd name="connsiteY126" fmla="*/ 657225 h 4496940"/>
                    <a:gd name="connsiteX127" fmla="*/ 840127 w 4519987"/>
                    <a:gd name="connsiteY127" fmla="*/ 533400 h 4496940"/>
                    <a:gd name="connsiteX128" fmla="*/ 887752 w 4519987"/>
                    <a:gd name="connsiteY128" fmla="*/ 504825 h 4496940"/>
                    <a:gd name="connsiteX129" fmla="*/ 1167152 w 4519987"/>
                    <a:gd name="connsiteY129" fmla="*/ 311150 h 4496940"/>
                    <a:gd name="connsiteX130" fmla="*/ 1268752 w 4519987"/>
                    <a:gd name="connsiteY130" fmla="*/ 285750 h 4496940"/>
                    <a:gd name="connsiteX131" fmla="*/ 1411627 w 4519987"/>
                    <a:gd name="connsiteY131" fmla="*/ 190500 h 4496940"/>
                    <a:gd name="connsiteX132" fmla="*/ 1449727 w 4519987"/>
                    <a:gd name="connsiteY132" fmla="*/ 161925 h 4496940"/>
                    <a:gd name="connsiteX133" fmla="*/ 1525927 w 4519987"/>
                    <a:gd name="connsiteY133" fmla="*/ 152400 h 4496940"/>
                    <a:gd name="connsiteX134" fmla="*/ 1583077 w 4519987"/>
                    <a:gd name="connsiteY134" fmla="*/ 142875 h 4496940"/>
                    <a:gd name="connsiteX135" fmla="*/ 1716427 w 4519987"/>
                    <a:gd name="connsiteY135" fmla="*/ 123825 h 4496940"/>
                    <a:gd name="connsiteX136" fmla="*/ 1811677 w 4519987"/>
                    <a:gd name="connsiteY136" fmla="*/ 114300 h 4496940"/>
                    <a:gd name="connsiteX137" fmla="*/ 1859302 w 4519987"/>
                    <a:gd name="connsiteY137" fmla="*/ 104775 h 4496940"/>
                    <a:gd name="connsiteX138" fmla="*/ 1916452 w 4519987"/>
                    <a:gd name="connsiteY138" fmla="*/ 95250 h 4496940"/>
                    <a:gd name="connsiteX139" fmla="*/ 2030752 w 4519987"/>
                    <a:gd name="connsiteY139" fmla="*/ 66675 h 4496940"/>
                    <a:gd name="connsiteX140" fmla="*/ 2097427 w 4519987"/>
                    <a:gd name="connsiteY140" fmla="*/ 47625 h 4496940"/>
                    <a:gd name="connsiteX141" fmla="*/ 2164102 w 4519987"/>
                    <a:gd name="connsiteY141" fmla="*/ 38100 h 4496940"/>
                    <a:gd name="connsiteX142" fmla="*/ 2392702 w 4519987"/>
                    <a:gd name="connsiteY14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164352 w 4519987"/>
                    <a:gd name="connsiteY36" fmla="*/ 3429000 h 4496940"/>
                    <a:gd name="connsiteX37" fmla="*/ 4088152 w 4519987"/>
                    <a:gd name="connsiteY37" fmla="*/ 3495675 h 4496940"/>
                    <a:gd name="connsiteX38" fmla="*/ 4059577 w 4519987"/>
                    <a:gd name="connsiteY38" fmla="*/ 3533775 h 4496940"/>
                    <a:gd name="connsiteX39" fmla="*/ 4002427 w 4519987"/>
                    <a:gd name="connsiteY39" fmla="*/ 3600450 h 4496940"/>
                    <a:gd name="connsiteX40" fmla="*/ 3983377 w 4519987"/>
                    <a:gd name="connsiteY40" fmla="*/ 3629025 h 4496940"/>
                    <a:gd name="connsiteX41" fmla="*/ 3954802 w 4519987"/>
                    <a:gd name="connsiteY41" fmla="*/ 3648075 h 4496940"/>
                    <a:gd name="connsiteX42" fmla="*/ 3907177 w 4519987"/>
                    <a:gd name="connsiteY42" fmla="*/ 3686175 h 4496940"/>
                    <a:gd name="connsiteX43" fmla="*/ 3869077 w 4519987"/>
                    <a:gd name="connsiteY43" fmla="*/ 3724275 h 4496940"/>
                    <a:gd name="connsiteX44" fmla="*/ 3792877 w 4519987"/>
                    <a:gd name="connsiteY44" fmla="*/ 3781425 h 4496940"/>
                    <a:gd name="connsiteX45" fmla="*/ 3783352 w 4519987"/>
                    <a:gd name="connsiteY45" fmla="*/ 3810000 h 4496940"/>
                    <a:gd name="connsiteX46" fmla="*/ 3745252 w 4519987"/>
                    <a:gd name="connsiteY46" fmla="*/ 3819525 h 4496940"/>
                    <a:gd name="connsiteX47" fmla="*/ 3678577 w 4519987"/>
                    <a:gd name="connsiteY47" fmla="*/ 3848100 h 4496940"/>
                    <a:gd name="connsiteX48" fmla="*/ 3659527 w 4519987"/>
                    <a:gd name="connsiteY48" fmla="*/ 3971925 h 4496940"/>
                    <a:gd name="connsiteX49" fmla="*/ 3630952 w 4519987"/>
                    <a:gd name="connsiteY49" fmla="*/ 4010025 h 4496940"/>
                    <a:gd name="connsiteX50" fmla="*/ 3621427 w 4519987"/>
                    <a:gd name="connsiteY50" fmla="*/ 4038600 h 4496940"/>
                    <a:gd name="connsiteX51" fmla="*/ 3554752 w 4519987"/>
                    <a:gd name="connsiteY51" fmla="*/ 4095750 h 4496940"/>
                    <a:gd name="connsiteX52" fmla="*/ 3516652 w 4519987"/>
                    <a:gd name="connsiteY52" fmla="*/ 4114800 h 4496940"/>
                    <a:gd name="connsiteX53" fmla="*/ 3497602 w 4519987"/>
                    <a:gd name="connsiteY53" fmla="*/ 4143375 h 4496940"/>
                    <a:gd name="connsiteX54" fmla="*/ 3383302 w 4519987"/>
                    <a:gd name="connsiteY54" fmla="*/ 4210050 h 4496940"/>
                    <a:gd name="connsiteX55" fmla="*/ 3335677 w 4519987"/>
                    <a:gd name="connsiteY55" fmla="*/ 4238625 h 4496940"/>
                    <a:gd name="connsiteX56" fmla="*/ 3288052 w 4519987"/>
                    <a:gd name="connsiteY56" fmla="*/ 4248150 h 4496940"/>
                    <a:gd name="connsiteX57" fmla="*/ 3240427 w 4519987"/>
                    <a:gd name="connsiteY57" fmla="*/ 4267200 h 4496940"/>
                    <a:gd name="connsiteX58" fmla="*/ 3068977 w 4519987"/>
                    <a:gd name="connsiteY58" fmla="*/ 4286250 h 4496940"/>
                    <a:gd name="connsiteX59" fmla="*/ 2935627 w 4519987"/>
                    <a:gd name="connsiteY59" fmla="*/ 4333875 h 4496940"/>
                    <a:gd name="connsiteX60" fmla="*/ 2811802 w 4519987"/>
                    <a:gd name="connsiteY60" fmla="*/ 4371975 h 4496940"/>
                    <a:gd name="connsiteX61" fmla="*/ 2745127 w 4519987"/>
                    <a:gd name="connsiteY61" fmla="*/ 4410075 h 4496940"/>
                    <a:gd name="connsiteX62" fmla="*/ 2697502 w 4519987"/>
                    <a:gd name="connsiteY62" fmla="*/ 4429125 h 4496940"/>
                    <a:gd name="connsiteX63" fmla="*/ 2640352 w 4519987"/>
                    <a:gd name="connsiteY63" fmla="*/ 4457700 h 4496940"/>
                    <a:gd name="connsiteX64" fmla="*/ 2583202 w 4519987"/>
                    <a:gd name="connsiteY64" fmla="*/ 4467225 h 4496940"/>
                    <a:gd name="connsiteX65" fmla="*/ 2545102 w 4519987"/>
                    <a:gd name="connsiteY65" fmla="*/ 4486275 h 4496940"/>
                    <a:gd name="connsiteX66" fmla="*/ 2306977 w 4519987"/>
                    <a:gd name="connsiteY66" fmla="*/ 4476750 h 4496940"/>
                    <a:gd name="connsiteX67" fmla="*/ 2202202 w 4519987"/>
                    <a:gd name="connsiteY67" fmla="*/ 4457700 h 4496940"/>
                    <a:gd name="connsiteX68" fmla="*/ 2126002 w 4519987"/>
                    <a:gd name="connsiteY68" fmla="*/ 4429125 h 4496940"/>
                    <a:gd name="connsiteX69" fmla="*/ 1935502 w 4519987"/>
                    <a:gd name="connsiteY69" fmla="*/ 4400550 h 4496940"/>
                    <a:gd name="connsiteX70" fmla="*/ 1821202 w 4519987"/>
                    <a:gd name="connsiteY70" fmla="*/ 4371975 h 4496940"/>
                    <a:gd name="connsiteX71" fmla="*/ 1754527 w 4519987"/>
                    <a:gd name="connsiteY71" fmla="*/ 4352925 h 4496940"/>
                    <a:gd name="connsiteX72" fmla="*/ 1687852 w 4519987"/>
                    <a:gd name="connsiteY72" fmla="*/ 4343400 h 4496940"/>
                    <a:gd name="connsiteX73" fmla="*/ 1573552 w 4519987"/>
                    <a:gd name="connsiteY73" fmla="*/ 4305300 h 4496940"/>
                    <a:gd name="connsiteX74" fmla="*/ 1402102 w 4519987"/>
                    <a:gd name="connsiteY74" fmla="*/ 4276725 h 4496940"/>
                    <a:gd name="connsiteX75" fmla="*/ 1287802 w 4519987"/>
                    <a:gd name="connsiteY75" fmla="*/ 4229100 h 4496940"/>
                    <a:gd name="connsiteX76" fmla="*/ 1221127 w 4519987"/>
                    <a:gd name="connsiteY76" fmla="*/ 4200525 h 4496940"/>
                    <a:gd name="connsiteX77" fmla="*/ 1144927 w 4519987"/>
                    <a:gd name="connsiteY77" fmla="*/ 4171950 h 4496940"/>
                    <a:gd name="connsiteX78" fmla="*/ 1087777 w 4519987"/>
                    <a:gd name="connsiteY78" fmla="*/ 4143375 h 4496940"/>
                    <a:gd name="connsiteX79" fmla="*/ 1030627 w 4519987"/>
                    <a:gd name="connsiteY79" fmla="*/ 4124325 h 4496940"/>
                    <a:gd name="connsiteX80" fmla="*/ 925852 w 4519987"/>
                    <a:gd name="connsiteY80" fmla="*/ 4067175 h 4496940"/>
                    <a:gd name="connsiteX81" fmla="*/ 830602 w 4519987"/>
                    <a:gd name="connsiteY81" fmla="*/ 3981450 h 4496940"/>
                    <a:gd name="connsiteX82" fmla="*/ 763927 w 4519987"/>
                    <a:gd name="connsiteY82" fmla="*/ 3914775 h 4496940"/>
                    <a:gd name="connsiteX83" fmla="*/ 725827 w 4519987"/>
                    <a:gd name="connsiteY83" fmla="*/ 3876675 h 4496940"/>
                    <a:gd name="connsiteX84" fmla="*/ 697252 w 4519987"/>
                    <a:gd name="connsiteY84" fmla="*/ 3838575 h 4496940"/>
                    <a:gd name="connsiteX85" fmla="*/ 640102 w 4519987"/>
                    <a:gd name="connsiteY85" fmla="*/ 3781425 h 4496940"/>
                    <a:gd name="connsiteX86" fmla="*/ 611527 w 4519987"/>
                    <a:gd name="connsiteY86" fmla="*/ 3733800 h 4496940"/>
                    <a:gd name="connsiteX87" fmla="*/ 554377 w 4519987"/>
                    <a:gd name="connsiteY87" fmla="*/ 3657600 h 4496940"/>
                    <a:gd name="connsiteX88" fmla="*/ 525802 w 4519987"/>
                    <a:gd name="connsiteY88" fmla="*/ 3609975 h 4496940"/>
                    <a:gd name="connsiteX89" fmla="*/ 497227 w 4519987"/>
                    <a:gd name="connsiteY89" fmla="*/ 3552825 h 4496940"/>
                    <a:gd name="connsiteX90" fmla="*/ 440077 w 4519987"/>
                    <a:gd name="connsiteY90" fmla="*/ 3495675 h 4496940"/>
                    <a:gd name="connsiteX91" fmla="*/ 411502 w 4519987"/>
                    <a:gd name="connsiteY91" fmla="*/ 3448050 h 4496940"/>
                    <a:gd name="connsiteX92" fmla="*/ 278152 w 4519987"/>
                    <a:gd name="connsiteY92" fmla="*/ 3257550 h 4496940"/>
                    <a:gd name="connsiteX93" fmla="*/ 249577 w 4519987"/>
                    <a:gd name="connsiteY93" fmla="*/ 3200400 h 4496940"/>
                    <a:gd name="connsiteX94" fmla="*/ 240052 w 4519987"/>
                    <a:gd name="connsiteY94" fmla="*/ 3162300 h 4496940"/>
                    <a:gd name="connsiteX95" fmla="*/ 221002 w 4519987"/>
                    <a:gd name="connsiteY95" fmla="*/ 3105150 h 4496940"/>
                    <a:gd name="connsiteX96" fmla="*/ 173377 w 4519987"/>
                    <a:gd name="connsiteY96" fmla="*/ 3019425 h 4496940"/>
                    <a:gd name="connsiteX97" fmla="*/ 144802 w 4519987"/>
                    <a:gd name="connsiteY97" fmla="*/ 2924175 h 4496940"/>
                    <a:gd name="connsiteX98" fmla="*/ 68602 w 4519987"/>
                    <a:gd name="connsiteY98" fmla="*/ 2724150 h 4496940"/>
                    <a:gd name="connsiteX99" fmla="*/ 49552 w 4519987"/>
                    <a:gd name="connsiteY99" fmla="*/ 2638425 h 4496940"/>
                    <a:gd name="connsiteX100" fmla="*/ 40027 w 4519987"/>
                    <a:gd name="connsiteY100" fmla="*/ 2562225 h 4496940"/>
                    <a:gd name="connsiteX101" fmla="*/ 30502 w 4519987"/>
                    <a:gd name="connsiteY101" fmla="*/ 2514600 h 4496940"/>
                    <a:gd name="connsiteX102" fmla="*/ 11452 w 4519987"/>
                    <a:gd name="connsiteY102" fmla="*/ 2400300 h 4496940"/>
                    <a:gd name="connsiteX103" fmla="*/ 20977 w 4519987"/>
                    <a:gd name="connsiteY103" fmla="*/ 1905000 h 4496940"/>
                    <a:gd name="connsiteX104" fmla="*/ 30502 w 4519987"/>
                    <a:gd name="connsiteY104" fmla="*/ 1838325 h 4496940"/>
                    <a:gd name="connsiteX105" fmla="*/ 49552 w 4519987"/>
                    <a:gd name="connsiteY105" fmla="*/ 1781175 h 4496940"/>
                    <a:gd name="connsiteX106" fmla="*/ 59077 w 4519987"/>
                    <a:gd name="connsiteY106" fmla="*/ 1743075 h 4496940"/>
                    <a:gd name="connsiteX107" fmla="*/ 78127 w 4519987"/>
                    <a:gd name="connsiteY107" fmla="*/ 1685925 h 4496940"/>
                    <a:gd name="connsiteX108" fmla="*/ 87652 w 4519987"/>
                    <a:gd name="connsiteY108" fmla="*/ 1638300 h 4496940"/>
                    <a:gd name="connsiteX109" fmla="*/ 106702 w 4519987"/>
                    <a:gd name="connsiteY109" fmla="*/ 1590675 h 4496940"/>
                    <a:gd name="connsiteX110" fmla="*/ 135277 w 4519987"/>
                    <a:gd name="connsiteY110" fmla="*/ 1504950 h 4496940"/>
                    <a:gd name="connsiteX111" fmla="*/ 154327 w 4519987"/>
                    <a:gd name="connsiteY111" fmla="*/ 1419225 h 4496940"/>
                    <a:gd name="connsiteX112" fmla="*/ 230527 w 4519987"/>
                    <a:gd name="connsiteY112" fmla="*/ 1276350 h 4496940"/>
                    <a:gd name="connsiteX113" fmla="*/ 240052 w 4519987"/>
                    <a:gd name="connsiteY113" fmla="*/ 1247775 h 4496940"/>
                    <a:gd name="connsiteX114" fmla="*/ 268627 w 4519987"/>
                    <a:gd name="connsiteY114" fmla="*/ 1200150 h 4496940"/>
                    <a:gd name="connsiteX115" fmla="*/ 287677 w 4519987"/>
                    <a:gd name="connsiteY115" fmla="*/ 1152525 h 4496940"/>
                    <a:gd name="connsiteX116" fmla="*/ 316252 w 4519987"/>
                    <a:gd name="connsiteY116" fmla="*/ 1114425 h 4496940"/>
                    <a:gd name="connsiteX117" fmla="*/ 363877 w 4519987"/>
                    <a:gd name="connsiteY117" fmla="*/ 1038225 h 4496940"/>
                    <a:gd name="connsiteX118" fmla="*/ 382927 w 4519987"/>
                    <a:gd name="connsiteY118" fmla="*/ 1009650 h 4496940"/>
                    <a:gd name="connsiteX119" fmla="*/ 440077 w 4519987"/>
                    <a:gd name="connsiteY119" fmla="*/ 904875 h 4496940"/>
                    <a:gd name="connsiteX120" fmla="*/ 478177 w 4519987"/>
                    <a:gd name="connsiteY120" fmla="*/ 857250 h 4496940"/>
                    <a:gd name="connsiteX121" fmla="*/ 497227 w 4519987"/>
                    <a:gd name="connsiteY121" fmla="*/ 828675 h 4496940"/>
                    <a:gd name="connsiteX122" fmla="*/ 535327 w 4519987"/>
                    <a:gd name="connsiteY122" fmla="*/ 800100 h 4496940"/>
                    <a:gd name="connsiteX123" fmla="*/ 602002 w 4519987"/>
                    <a:gd name="connsiteY123" fmla="*/ 733425 h 4496940"/>
                    <a:gd name="connsiteX124" fmla="*/ 668677 w 4519987"/>
                    <a:gd name="connsiteY124" fmla="*/ 676275 h 4496940"/>
                    <a:gd name="connsiteX125" fmla="*/ 697252 w 4519987"/>
                    <a:gd name="connsiteY125" fmla="*/ 657225 h 4496940"/>
                    <a:gd name="connsiteX126" fmla="*/ 840127 w 4519987"/>
                    <a:gd name="connsiteY126" fmla="*/ 533400 h 4496940"/>
                    <a:gd name="connsiteX127" fmla="*/ 887752 w 4519987"/>
                    <a:gd name="connsiteY127" fmla="*/ 504825 h 4496940"/>
                    <a:gd name="connsiteX128" fmla="*/ 1167152 w 4519987"/>
                    <a:gd name="connsiteY128" fmla="*/ 311150 h 4496940"/>
                    <a:gd name="connsiteX129" fmla="*/ 1268752 w 4519987"/>
                    <a:gd name="connsiteY129" fmla="*/ 285750 h 4496940"/>
                    <a:gd name="connsiteX130" fmla="*/ 1411627 w 4519987"/>
                    <a:gd name="connsiteY130" fmla="*/ 190500 h 4496940"/>
                    <a:gd name="connsiteX131" fmla="*/ 1449727 w 4519987"/>
                    <a:gd name="connsiteY131" fmla="*/ 161925 h 4496940"/>
                    <a:gd name="connsiteX132" fmla="*/ 1525927 w 4519987"/>
                    <a:gd name="connsiteY132" fmla="*/ 152400 h 4496940"/>
                    <a:gd name="connsiteX133" fmla="*/ 1583077 w 4519987"/>
                    <a:gd name="connsiteY133" fmla="*/ 142875 h 4496940"/>
                    <a:gd name="connsiteX134" fmla="*/ 1716427 w 4519987"/>
                    <a:gd name="connsiteY134" fmla="*/ 123825 h 4496940"/>
                    <a:gd name="connsiteX135" fmla="*/ 1811677 w 4519987"/>
                    <a:gd name="connsiteY135" fmla="*/ 114300 h 4496940"/>
                    <a:gd name="connsiteX136" fmla="*/ 1859302 w 4519987"/>
                    <a:gd name="connsiteY136" fmla="*/ 104775 h 4496940"/>
                    <a:gd name="connsiteX137" fmla="*/ 1916452 w 4519987"/>
                    <a:gd name="connsiteY137" fmla="*/ 95250 h 4496940"/>
                    <a:gd name="connsiteX138" fmla="*/ 2030752 w 4519987"/>
                    <a:gd name="connsiteY138" fmla="*/ 66675 h 4496940"/>
                    <a:gd name="connsiteX139" fmla="*/ 2097427 w 4519987"/>
                    <a:gd name="connsiteY139" fmla="*/ 47625 h 4496940"/>
                    <a:gd name="connsiteX140" fmla="*/ 2164102 w 4519987"/>
                    <a:gd name="connsiteY140" fmla="*/ 38100 h 4496940"/>
                    <a:gd name="connsiteX141" fmla="*/ 2392702 w 4519987"/>
                    <a:gd name="connsiteY14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088152 w 4519987"/>
                    <a:gd name="connsiteY36" fmla="*/ 3495675 h 4496940"/>
                    <a:gd name="connsiteX37" fmla="*/ 4059577 w 4519987"/>
                    <a:gd name="connsiteY37" fmla="*/ 3533775 h 4496940"/>
                    <a:gd name="connsiteX38" fmla="*/ 4002427 w 4519987"/>
                    <a:gd name="connsiteY38" fmla="*/ 3600450 h 4496940"/>
                    <a:gd name="connsiteX39" fmla="*/ 3983377 w 4519987"/>
                    <a:gd name="connsiteY39" fmla="*/ 3629025 h 4496940"/>
                    <a:gd name="connsiteX40" fmla="*/ 3954802 w 4519987"/>
                    <a:gd name="connsiteY40" fmla="*/ 3648075 h 4496940"/>
                    <a:gd name="connsiteX41" fmla="*/ 3907177 w 4519987"/>
                    <a:gd name="connsiteY41" fmla="*/ 3686175 h 4496940"/>
                    <a:gd name="connsiteX42" fmla="*/ 3869077 w 4519987"/>
                    <a:gd name="connsiteY42" fmla="*/ 3724275 h 4496940"/>
                    <a:gd name="connsiteX43" fmla="*/ 3792877 w 4519987"/>
                    <a:gd name="connsiteY43" fmla="*/ 3781425 h 4496940"/>
                    <a:gd name="connsiteX44" fmla="*/ 3783352 w 4519987"/>
                    <a:gd name="connsiteY44" fmla="*/ 3810000 h 4496940"/>
                    <a:gd name="connsiteX45" fmla="*/ 3745252 w 4519987"/>
                    <a:gd name="connsiteY45" fmla="*/ 3819525 h 4496940"/>
                    <a:gd name="connsiteX46" fmla="*/ 3678577 w 4519987"/>
                    <a:gd name="connsiteY46" fmla="*/ 3848100 h 4496940"/>
                    <a:gd name="connsiteX47" fmla="*/ 3659527 w 4519987"/>
                    <a:gd name="connsiteY47" fmla="*/ 3971925 h 4496940"/>
                    <a:gd name="connsiteX48" fmla="*/ 3630952 w 4519987"/>
                    <a:gd name="connsiteY48" fmla="*/ 4010025 h 4496940"/>
                    <a:gd name="connsiteX49" fmla="*/ 3621427 w 4519987"/>
                    <a:gd name="connsiteY49" fmla="*/ 4038600 h 4496940"/>
                    <a:gd name="connsiteX50" fmla="*/ 3554752 w 4519987"/>
                    <a:gd name="connsiteY50" fmla="*/ 4095750 h 4496940"/>
                    <a:gd name="connsiteX51" fmla="*/ 3516652 w 4519987"/>
                    <a:gd name="connsiteY51" fmla="*/ 4114800 h 4496940"/>
                    <a:gd name="connsiteX52" fmla="*/ 3497602 w 4519987"/>
                    <a:gd name="connsiteY52" fmla="*/ 4143375 h 4496940"/>
                    <a:gd name="connsiteX53" fmla="*/ 3383302 w 4519987"/>
                    <a:gd name="connsiteY53" fmla="*/ 4210050 h 4496940"/>
                    <a:gd name="connsiteX54" fmla="*/ 3335677 w 4519987"/>
                    <a:gd name="connsiteY54" fmla="*/ 4238625 h 4496940"/>
                    <a:gd name="connsiteX55" fmla="*/ 3288052 w 4519987"/>
                    <a:gd name="connsiteY55" fmla="*/ 4248150 h 4496940"/>
                    <a:gd name="connsiteX56" fmla="*/ 3240427 w 4519987"/>
                    <a:gd name="connsiteY56" fmla="*/ 4267200 h 4496940"/>
                    <a:gd name="connsiteX57" fmla="*/ 3068977 w 4519987"/>
                    <a:gd name="connsiteY57" fmla="*/ 4286250 h 4496940"/>
                    <a:gd name="connsiteX58" fmla="*/ 2935627 w 4519987"/>
                    <a:gd name="connsiteY58" fmla="*/ 4333875 h 4496940"/>
                    <a:gd name="connsiteX59" fmla="*/ 2811802 w 4519987"/>
                    <a:gd name="connsiteY59" fmla="*/ 4371975 h 4496940"/>
                    <a:gd name="connsiteX60" fmla="*/ 2745127 w 4519987"/>
                    <a:gd name="connsiteY60" fmla="*/ 4410075 h 4496940"/>
                    <a:gd name="connsiteX61" fmla="*/ 2697502 w 4519987"/>
                    <a:gd name="connsiteY61" fmla="*/ 4429125 h 4496940"/>
                    <a:gd name="connsiteX62" fmla="*/ 2640352 w 4519987"/>
                    <a:gd name="connsiteY62" fmla="*/ 4457700 h 4496940"/>
                    <a:gd name="connsiteX63" fmla="*/ 2583202 w 4519987"/>
                    <a:gd name="connsiteY63" fmla="*/ 4467225 h 4496940"/>
                    <a:gd name="connsiteX64" fmla="*/ 2545102 w 4519987"/>
                    <a:gd name="connsiteY64" fmla="*/ 4486275 h 4496940"/>
                    <a:gd name="connsiteX65" fmla="*/ 2306977 w 4519987"/>
                    <a:gd name="connsiteY65" fmla="*/ 4476750 h 4496940"/>
                    <a:gd name="connsiteX66" fmla="*/ 2202202 w 4519987"/>
                    <a:gd name="connsiteY66" fmla="*/ 4457700 h 4496940"/>
                    <a:gd name="connsiteX67" fmla="*/ 2126002 w 4519987"/>
                    <a:gd name="connsiteY67" fmla="*/ 4429125 h 4496940"/>
                    <a:gd name="connsiteX68" fmla="*/ 1935502 w 4519987"/>
                    <a:gd name="connsiteY68" fmla="*/ 4400550 h 4496940"/>
                    <a:gd name="connsiteX69" fmla="*/ 1821202 w 4519987"/>
                    <a:gd name="connsiteY69" fmla="*/ 4371975 h 4496940"/>
                    <a:gd name="connsiteX70" fmla="*/ 1754527 w 4519987"/>
                    <a:gd name="connsiteY70" fmla="*/ 4352925 h 4496940"/>
                    <a:gd name="connsiteX71" fmla="*/ 1687852 w 4519987"/>
                    <a:gd name="connsiteY71" fmla="*/ 4343400 h 4496940"/>
                    <a:gd name="connsiteX72" fmla="*/ 1573552 w 4519987"/>
                    <a:gd name="connsiteY72" fmla="*/ 4305300 h 4496940"/>
                    <a:gd name="connsiteX73" fmla="*/ 1402102 w 4519987"/>
                    <a:gd name="connsiteY73" fmla="*/ 4276725 h 4496940"/>
                    <a:gd name="connsiteX74" fmla="*/ 1287802 w 4519987"/>
                    <a:gd name="connsiteY74" fmla="*/ 4229100 h 4496940"/>
                    <a:gd name="connsiteX75" fmla="*/ 1221127 w 4519987"/>
                    <a:gd name="connsiteY75" fmla="*/ 4200525 h 4496940"/>
                    <a:gd name="connsiteX76" fmla="*/ 1144927 w 4519987"/>
                    <a:gd name="connsiteY76" fmla="*/ 4171950 h 4496940"/>
                    <a:gd name="connsiteX77" fmla="*/ 1087777 w 4519987"/>
                    <a:gd name="connsiteY77" fmla="*/ 4143375 h 4496940"/>
                    <a:gd name="connsiteX78" fmla="*/ 1030627 w 4519987"/>
                    <a:gd name="connsiteY78" fmla="*/ 4124325 h 4496940"/>
                    <a:gd name="connsiteX79" fmla="*/ 925852 w 4519987"/>
                    <a:gd name="connsiteY79" fmla="*/ 4067175 h 4496940"/>
                    <a:gd name="connsiteX80" fmla="*/ 830602 w 4519987"/>
                    <a:gd name="connsiteY80" fmla="*/ 3981450 h 4496940"/>
                    <a:gd name="connsiteX81" fmla="*/ 763927 w 4519987"/>
                    <a:gd name="connsiteY81" fmla="*/ 3914775 h 4496940"/>
                    <a:gd name="connsiteX82" fmla="*/ 725827 w 4519987"/>
                    <a:gd name="connsiteY82" fmla="*/ 3876675 h 4496940"/>
                    <a:gd name="connsiteX83" fmla="*/ 697252 w 4519987"/>
                    <a:gd name="connsiteY83" fmla="*/ 3838575 h 4496940"/>
                    <a:gd name="connsiteX84" fmla="*/ 640102 w 4519987"/>
                    <a:gd name="connsiteY84" fmla="*/ 3781425 h 4496940"/>
                    <a:gd name="connsiteX85" fmla="*/ 611527 w 4519987"/>
                    <a:gd name="connsiteY85" fmla="*/ 3733800 h 4496940"/>
                    <a:gd name="connsiteX86" fmla="*/ 554377 w 4519987"/>
                    <a:gd name="connsiteY86" fmla="*/ 3657600 h 4496940"/>
                    <a:gd name="connsiteX87" fmla="*/ 525802 w 4519987"/>
                    <a:gd name="connsiteY87" fmla="*/ 3609975 h 4496940"/>
                    <a:gd name="connsiteX88" fmla="*/ 497227 w 4519987"/>
                    <a:gd name="connsiteY88" fmla="*/ 3552825 h 4496940"/>
                    <a:gd name="connsiteX89" fmla="*/ 440077 w 4519987"/>
                    <a:gd name="connsiteY89" fmla="*/ 3495675 h 4496940"/>
                    <a:gd name="connsiteX90" fmla="*/ 411502 w 4519987"/>
                    <a:gd name="connsiteY90" fmla="*/ 3448050 h 4496940"/>
                    <a:gd name="connsiteX91" fmla="*/ 278152 w 4519987"/>
                    <a:gd name="connsiteY91" fmla="*/ 3257550 h 4496940"/>
                    <a:gd name="connsiteX92" fmla="*/ 249577 w 4519987"/>
                    <a:gd name="connsiteY92" fmla="*/ 3200400 h 4496940"/>
                    <a:gd name="connsiteX93" fmla="*/ 240052 w 4519987"/>
                    <a:gd name="connsiteY93" fmla="*/ 3162300 h 4496940"/>
                    <a:gd name="connsiteX94" fmla="*/ 221002 w 4519987"/>
                    <a:gd name="connsiteY94" fmla="*/ 3105150 h 4496940"/>
                    <a:gd name="connsiteX95" fmla="*/ 173377 w 4519987"/>
                    <a:gd name="connsiteY95" fmla="*/ 3019425 h 4496940"/>
                    <a:gd name="connsiteX96" fmla="*/ 144802 w 4519987"/>
                    <a:gd name="connsiteY96" fmla="*/ 2924175 h 4496940"/>
                    <a:gd name="connsiteX97" fmla="*/ 68602 w 4519987"/>
                    <a:gd name="connsiteY97" fmla="*/ 2724150 h 4496940"/>
                    <a:gd name="connsiteX98" fmla="*/ 49552 w 4519987"/>
                    <a:gd name="connsiteY98" fmla="*/ 2638425 h 4496940"/>
                    <a:gd name="connsiteX99" fmla="*/ 40027 w 4519987"/>
                    <a:gd name="connsiteY99" fmla="*/ 2562225 h 4496940"/>
                    <a:gd name="connsiteX100" fmla="*/ 30502 w 4519987"/>
                    <a:gd name="connsiteY100" fmla="*/ 2514600 h 4496940"/>
                    <a:gd name="connsiteX101" fmla="*/ 11452 w 4519987"/>
                    <a:gd name="connsiteY101" fmla="*/ 2400300 h 4496940"/>
                    <a:gd name="connsiteX102" fmla="*/ 20977 w 4519987"/>
                    <a:gd name="connsiteY102" fmla="*/ 1905000 h 4496940"/>
                    <a:gd name="connsiteX103" fmla="*/ 30502 w 4519987"/>
                    <a:gd name="connsiteY103" fmla="*/ 1838325 h 4496940"/>
                    <a:gd name="connsiteX104" fmla="*/ 49552 w 4519987"/>
                    <a:gd name="connsiteY104" fmla="*/ 1781175 h 4496940"/>
                    <a:gd name="connsiteX105" fmla="*/ 59077 w 4519987"/>
                    <a:gd name="connsiteY105" fmla="*/ 1743075 h 4496940"/>
                    <a:gd name="connsiteX106" fmla="*/ 78127 w 4519987"/>
                    <a:gd name="connsiteY106" fmla="*/ 1685925 h 4496940"/>
                    <a:gd name="connsiteX107" fmla="*/ 87652 w 4519987"/>
                    <a:gd name="connsiteY107" fmla="*/ 1638300 h 4496940"/>
                    <a:gd name="connsiteX108" fmla="*/ 106702 w 4519987"/>
                    <a:gd name="connsiteY108" fmla="*/ 1590675 h 4496940"/>
                    <a:gd name="connsiteX109" fmla="*/ 135277 w 4519987"/>
                    <a:gd name="connsiteY109" fmla="*/ 1504950 h 4496940"/>
                    <a:gd name="connsiteX110" fmla="*/ 154327 w 4519987"/>
                    <a:gd name="connsiteY110" fmla="*/ 1419225 h 4496940"/>
                    <a:gd name="connsiteX111" fmla="*/ 230527 w 4519987"/>
                    <a:gd name="connsiteY111" fmla="*/ 1276350 h 4496940"/>
                    <a:gd name="connsiteX112" fmla="*/ 240052 w 4519987"/>
                    <a:gd name="connsiteY112" fmla="*/ 1247775 h 4496940"/>
                    <a:gd name="connsiteX113" fmla="*/ 268627 w 4519987"/>
                    <a:gd name="connsiteY113" fmla="*/ 1200150 h 4496940"/>
                    <a:gd name="connsiteX114" fmla="*/ 287677 w 4519987"/>
                    <a:gd name="connsiteY114" fmla="*/ 1152525 h 4496940"/>
                    <a:gd name="connsiteX115" fmla="*/ 316252 w 4519987"/>
                    <a:gd name="connsiteY115" fmla="*/ 1114425 h 4496940"/>
                    <a:gd name="connsiteX116" fmla="*/ 363877 w 4519987"/>
                    <a:gd name="connsiteY116" fmla="*/ 1038225 h 4496940"/>
                    <a:gd name="connsiteX117" fmla="*/ 382927 w 4519987"/>
                    <a:gd name="connsiteY117" fmla="*/ 1009650 h 4496940"/>
                    <a:gd name="connsiteX118" fmla="*/ 440077 w 4519987"/>
                    <a:gd name="connsiteY118" fmla="*/ 904875 h 4496940"/>
                    <a:gd name="connsiteX119" fmla="*/ 478177 w 4519987"/>
                    <a:gd name="connsiteY119" fmla="*/ 857250 h 4496940"/>
                    <a:gd name="connsiteX120" fmla="*/ 497227 w 4519987"/>
                    <a:gd name="connsiteY120" fmla="*/ 828675 h 4496940"/>
                    <a:gd name="connsiteX121" fmla="*/ 535327 w 4519987"/>
                    <a:gd name="connsiteY121" fmla="*/ 800100 h 4496940"/>
                    <a:gd name="connsiteX122" fmla="*/ 602002 w 4519987"/>
                    <a:gd name="connsiteY122" fmla="*/ 733425 h 4496940"/>
                    <a:gd name="connsiteX123" fmla="*/ 668677 w 4519987"/>
                    <a:gd name="connsiteY123" fmla="*/ 676275 h 4496940"/>
                    <a:gd name="connsiteX124" fmla="*/ 697252 w 4519987"/>
                    <a:gd name="connsiteY124" fmla="*/ 657225 h 4496940"/>
                    <a:gd name="connsiteX125" fmla="*/ 840127 w 4519987"/>
                    <a:gd name="connsiteY125" fmla="*/ 533400 h 4496940"/>
                    <a:gd name="connsiteX126" fmla="*/ 887752 w 4519987"/>
                    <a:gd name="connsiteY126" fmla="*/ 504825 h 4496940"/>
                    <a:gd name="connsiteX127" fmla="*/ 1167152 w 4519987"/>
                    <a:gd name="connsiteY127" fmla="*/ 311150 h 4496940"/>
                    <a:gd name="connsiteX128" fmla="*/ 1268752 w 4519987"/>
                    <a:gd name="connsiteY128" fmla="*/ 285750 h 4496940"/>
                    <a:gd name="connsiteX129" fmla="*/ 1411627 w 4519987"/>
                    <a:gd name="connsiteY129" fmla="*/ 190500 h 4496940"/>
                    <a:gd name="connsiteX130" fmla="*/ 1449727 w 4519987"/>
                    <a:gd name="connsiteY130" fmla="*/ 161925 h 4496940"/>
                    <a:gd name="connsiteX131" fmla="*/ 1525927 w 4519987"/>
                    <a:gd name="connsiteY131" fmla="*/ 152400 h 4496940"/>
                    <a:gd name="connsiteX132" fmla="*/ 1583077 w 4519987"/>
                    <a:gd name="connsiteY132" fmla="*/ 142875 h 4496940"/>
                    <a:gd name="connsiteX133" fmla="*/ 1716427 w 4519987"/>
                    <a:gd name="connsiteY133" fmla="*/ 123825 h 4496940"/>
                    <a:gd name="connsiteX134" fmla="*/ 1811677 w 4519987"/>
                    <a:gd name="connsiteY134" fmla="*/ 114300 h 4496940"/>
                    <a:gd name="connsiteX135" fmla="*/ 1859302 w 4519987"/>
                    <a:gd name="connsiteY135" fmla="*/ 104775 h 4496940"/>
                    <a:gd name="connsiteX136" fmla="*/ 1916452 w 4519987"/>
                    <a:gd name="connsiteY136" fmla="*/ 95250 h 4496940"/>
                    <a:gd name="connsiteX137" fmla="*/ 2030752 w 4519987"/>
                    <a:gd name="connsiteY137" fmla="*/ 66675 h 4496940"/>
                    <a:gd name="connsiteX138" fmla="*/ 2097427 w 4519987"/>
                    <a:gd name="connsiteY138" fmla="*/ 47625 h 4496940"/>
                    <a:gd name="connsiteX139" fmla="*/ 2164102 w 4519987"/>
                    <a:gd name="connsiteY139" fmla="*/ 38100 h 4496940"/>
                    <a:gd name="connsiteX140" fmla="*/ 2392702 w 4519987"/>
                    <a:gd name="connsiteY14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183402 w 4519987"/>
                    <a:gd name="connsiteY34" fmla="*/ 3400425 h 4496940"/>
                    <a:gd name="connsiteX35" fmla="*/ 4088152 w 4519987"/>
                    <a:gd name="connsiteY35" fmla="*/ 3495675 h 4496940"/>
                    <a:gd name="connsiteX36" fmla="*/ 4059577 w 4519987"/>
                    <a:gd name="connsiteY36" fmla="*/ 3533775 h 4496940"/>
                    <a:gd name="connsiteX37" fmla="*/ 4002427 w 4519987"/>
                    <a:gd name="connsiteY37" fmla="*/ 3600450 h 4496940"/>
                    <a:gd name="connsiteX38" fmla="*/ 3983377 w 4519987"/>
                    <a:gd name="connsiteY38" fmla="*/ 3629025 h 4496940"/>
                    <a:gd name="connsiteX39" fmla="*/ 3954802 w 4519987"/>
                    <a:gd name="connsiteY39" fmla="*/ 3648075 h 4496940"/>
                    <a:gd name="connsiteX40" fmla="*/ 3907177 w 4519987"/>
                    <a:gd name="connsiteY40" fmla="*/ 3686175 h 4496940"/>
                    <a:gd name="connsiteX41" fmla="*/ 3869077 w 4519987"/>
                    <a:gd name="connsiteY41" fmla="*/ 3724275 h 4496940"/>
                    <a:gd name="connsiteX42" fmla="*/ 3792877 w 4519987"/>
                    <a:gd name="connsiteY42" fmla="*/ 3781425 h 4496940"/>
                    <a:gd name="connsiteX43" fmla="*/ 3783352 w 4519987"/>
                    <a:gd name="connsiteY43" fmla="*/ 3810000 h 4496940"/>
                    <a:gd name="connsiteX44" fmla="*/ 3745252 w 4519987"/>
                    <a:gd name="connsiteY44" fmla="*/ 3819525 h 4496940"/>
                    <a:gd name="connsiteX45" fmla="*/ 3678577 w 4519987"/>
                    <a:gd name="connsiteY45" fmla="*/ 3848100 h 4496940"/>
                    <a:gd name="connsiteX46" fmla="*/ 3659527 w 4519987"/>
                    <a:gd name="connsiteY46" fmla="*/ 3971925 h 4496940"/>
                    <a:gd name="connsiteX47" fmla="*/ 3630952 w 4519987"/>
                    <a:gd name="connsiteY47" fmla="*/ 4010025 h 4496940"/>
                    <a:gd name="connsiteX48" fmla="*/ 3621427 w 4519987"/>
                    <a:gd name="connsiteY48" fmla="*/ 4038600 h 4496940"/>
                    <a:gd name="connsiteX49" fmla="*/ 3554752 w 4519987"/>
                    <a:gd name="connsiteY49" fmla="*/ 4095750 h 4496940"/>
                    <a:gd name="connsiteX50" fmla="*/ 3516652 w 4519987"/>
                    <a:gd name="connsiteY50" fmla="*/ 4114800 h 4496940"/>
                    <a:gd name="connsiteX51" fmla="*/ 3497602 w 4519987"/>
                    <a:gd name="connsiteY51" fmla="*/ 4143375 h 4496940"/>
                    <a:gd name="connsiteX52" fmla="*/ 3383302 w 4519987"/>
                    <a:gd name="connsiteY52" fmla="*/ 4210050 h 4496940"/>
                    <a:gd name="connsiteX53" fmla="*/ 3335677 w 4519987"/>
                    <a:gd name="connsiteY53" fmla="*/ 4238625 h 4496940"/>
                    <a:gd name="connsiteX54" fmla="*/ 3288052 w 4519987"/>
                    <a:gd name="connsiteY54" fmla="*/ 4248150 h 4496940"/>
                    <a:gd name="connsiteX55" fmla="*/ 3240427 w 4519987"/>
                    <a:gd name="connsiteY55" fmla="*/ 4267200 h 4496940"/>
                    <a:gd name="connsiteX56" fmla="*/ 3068977 w 4519987"/>
                    <a:gd name="connsiteY56" fmla="*/ 4286250 h 4496940"/>
                    <a:gd name="connsiteX57" fmla="*/ 2935627 w 4519987"/>
                    <a:gd name="connsiteY57" fmla="*/ 4333875 h 4496940"/>
                    <a:gd name="connsiteX58" fmla="*/ 2811802 w 4519987"/>
                    <a:gd name="connsiteY58" fmla="*/ 4371975 h 4496940"/>
                    <a:gd name="connsiteX59" fmla="*/ 2745127 w 4519987"/>
                    <a:gd name="connsiteY59" fmla="*/ 4410075 h 4496940"/>
                    <a:gd name="connsiteX60" fmla="*/ 2697502 w 4519987"/>
                    <a:gd name="connsiteY60" fmla="*/ 4429125 h 4496940"/>
                    <a:gd name="connsiteX61" fmla="*/ 2640352 w 4519987"/>
                    <a:gd name="connsiteY61" fmla="*/ 4457700 h 4496940"/>
                    <a:gd name="connsiteX62" fmla="*/ 2583202 w 4519987"/>
                    <a:gd name="connsiteY62" fmla="*/ 4467225 h 4496940"/>
                    <a:gd name="connsiteX63" fmla="*/ 2545102 w 4519987"/>
                    <a:gd name="connsiteY63" fmla="*/ 4486275 h 4496940"/>
                    <a:gd name="connsiteX64" fmla="*/ 2306977 w 4519987"/>
                    <a:gd name="connsiteY64" fmla="*/ 4476750 h 4496940"/>
                    <a:gd name="connsiteX65" fmla="*/ 2202202 w 4519987"/>
                    <a:gd name="connsiteY65" fmla="*/ 4457700 h 4496940"/>
                    <a:gd name="connsiteX66" fmla="*/ 2126002 w 4519987"/>
                    <a:gd name="connsiteY66" fmla="*/ 4429125 h 4496940"/>
                    <a:gd name="connsiteX67" fmla="*/ 1935502 w 4519987"/>
                    <a:gd name="connsiteY67" fmla="*/ 4400550 h 4496940"/>
                    <a:gd name="connsiteX68" fmla="*/ 1821202 w 4519987"/>
                    <a:gd name="connsiteY68" fmla="*/ 4371975 h 4496940"/>
                    <a:gd name="connsiteX69" fmla="*/ 1754527 w 4519987"/>
                    <a:gd name="connsiteY69" fmla="*/ 4352925 h 4496940"/>
                    <a:gd name="connsiteX70" fmla="*/ 1687852 w 4519987"/>
                    <a:gd name="connsiteY70" fmla="*/ 4343400 h 4496940"/>
                    <a:gd name="connsiteX71" fmla="*/ 1573552 w 4519987"/>
                    <a:gd name="connsiteY71" fmla="*/ 4305300 h 4496940"/>
                    <a:gd name="connsiteX72" fmla="*/ 1402102 w 4519987"/>
                    <a:gd name="connsiteY72" fmla="*/ 4276725 h 4496940"/>
                    <a:gd name="connsiteX73" fmla="*/ 1287802 w 4519987"/>
                    <a:gd name="connsiteY73" fmla="*/ 4229100 h 4496940"/>
                    <a:gd name="connsiteX74" fmla="*/ 1221127 w 4519987"/>
                    <a:gd name="connsiteY74" fmla="*/ 4200525 h 4496940"/>
                    <a:gd name="connsiteX75" fmla="*/ 1144927 w 4519987"/>
                    <a:gd name="connsiteY75" fmla="*/ 4171950 h 4496940"/>
                    <a:gd name="connsiteX76" fmla="*/ 1087777 w 4519987"/>
                    <a:gd name="connsiteY76" fmla="*/ 4143375 h 4496940"/>
                    <a:gd name="connsiteX77" fmla="*/ 1030627 w 4519987"/>
                    <a:gd name="connsiteY77" fmla="*/ 4124325 h 4496940"/>
                    <a:gd name="connsiteX78" fmla="*/ 925852 w 4519987"/>
                    <a:gd name="connsiteY78" fmla="*/ 4067175 h 4496940"/>
                    <a:gd name="connsiteX79" fmla="*/ 830602 w 4519987"/>
                    <a:gd name="connsiteY79" fmla="*/ 3981450 h 4496940"/>
                    <a:gd name="connsiteX80" fmla="*/ 763927 w 4519987"/>
                    <a:gd name="connsiteY80" fmla="*/ 3914775 h 4496940"/>
                    <a:gd name="connsiteX81" fmla="*/ 725827 w 4519987"/>
                    <a:gd name="connsiteY81" fmla="*/ 3876675 h 4496940"/>
                    <a:gd name="connsiteX82" fmla="*/ 697252 w 4519987"/>
                    <a:gd name="connsiteY82" fmla="*/ 3838575 h 4496940"/>
                    <a:gd name="connsiteX83" fmla="*/ 640102 w 4519987"/>
                    <a:gd name="connsiteY83" fmla="*/ 3781425 h 4496940"/>
                    <a:gd name="connsiteX84" fmla="*/ 611527 w 4519987"/>
                    <a:gd name="connsiteY84" fmla="*/ 3733800 h 4496940"/>
                    <a:gd name="connsiteX85" fmla="*/ 554377 w 4519987"/>
                    <a:gd name="connsiteY85" fmla="*/ 3657600 h 4496940"/>
                    <a:gd name="connsiteX86" fmla="*/ 525802 w 4519987"/>
                    <a:gd name="connsiteY86" fmla="*/ 3609975 h 4496940"/>
                    <a:gd name="connsiteX87" fmla="*/ 497227 w 4519987"/>
                    <a:gd name="connsiteY87" fmla="*/ 3552825 h 4496940"/>
                    <a:gd name="connsiteX88" fmla="*/ 440077 w 4519987"/>
                    <a:gd name="connsiteY88" fmla="*/ 3495675 h 4496940"/>
                    <a:gd name="connsiteX89" fmla="*/ 411502 w 4519987"/>
                    <a:gd name="connsiteY89" fmla="*/ 3448050 h 4496940"/>
                    <a:gd name="connsiteX90" fmla="*/ 278152 w 4519987"/>
                    <a:gd name="connsiteY90" fmla="*/ 3257550 h 4496940"/>
                    <a:gd name="connsiteX91" fmla="*/ 249577 w 4519987"/>
                    <a:gd name="connsiteY91" fmla="*/ 3200400 h 4496940"/>
                    <a:gd name="connsiteX92" fmla="*/ 240052 w 4519987"/>
                    <a:gd name="connsiteY92" fmla="*/ 3162300 h 4496940"/>
                    <a:gd name="connsiteX93" fmla="*/ 221002 w 4519987"/>
                    <a:gd name="connsiteY93" fmla="*/ 3105150 h 4496940"/>
                    <a:gd name="connsiteX94" fmla="*/ 173377 w 4519987"/>
                    <a:gd name="connsiteY94" fmla="*/ 3019425 h 4496940"/>
                    <a:gd name="connsiteX95" fmla="*/ 144802 w 4519987"/>
                    <a:gd name="connsiteY95" fmla="*/ 2924175 h 4496940"/>
                    <a:gd name="connsiteX96" fmla="*/ 68602 w 4519987"/>
                    <a:gd name="connsiteY96" fmla="*/ 2724150 h 4496940"/>
                    <a:gd name="connsiteX97" fmla="*/ 49552 w 4519987"/>
                    <a:gd name="connsiteY97" fmla="*/ 2638425 h 4496940"/>
                    <a:gd name="connsiteX98" fmla="*/ 40027 w 4519987"/>
                    <a:gd name="connsiteY98" fmla="*/ 2562225 h 4496940"/>
                    <a:gd name="connsiteX99" fmla="*/ 30502 w 4519987"/>
                    <a:gd name="connsiteY99" fmla="*/ 2514600 h 4496940"/>
                    <a:gd name="connsiteX100" fmla="*/ 11452 w 4519987"/>
                    <a:gd name="connsiteY100" fmla="*/ 2400300 h 4496940"/>
                    <a:gd name="connsiteX101" fmla="*/ 20977 w 4519987"/>
                    <a:gd name="connsiteY101" fmla="*/ 1905000 h 4496940"/>
                    <a:gd name="connsiteX102" fmla="*/ 30502 w 4519987"/>
                    <a:gd name="connsiteY102" fmla="*/ 1838325 h 4496940"/>
                    <a:gd name="connsiteX103" fmla="*/ 49552 w 4519987"/>
                    <a:gd name="connsiteY103" fmla="*/ 1781175 h 4496940"/>
                    <a:gd name="connsiteX104" fmla="*/ 59077 w 4519987"/>
                    <a:gd name="connsiteY104" fmla="*/ 1743075 h 4496940"/>
                    <a:gd name="connsiteX105" fmla="*/ 78127 w 4519987"/>
                    <a:gd name="connsiteY105" fmla="*/ 1685925 h 4496940"/>
                    <a:gd name="connsiteX106" fmla="*/ 87652 w 4519987"/>
                    <a:gd name="connsiteY106" fmla="*/ 1638300 h 4496940"/>
                    <a:gd name="connsiteX107" fmla="*/ 106702 w 4519987"/>
                    <a:gd name="connsiteY107" fmla="*/ 1590675 h 4496940"/>
                    <a:gd name="connsiteX108" fmla="*/ 135277 w 4519987"/>
                    <a:gd name="connsiteY108" fmla="*/ 1504950 h 4496940"/>
                    <a:gd name="connsiteX109" fmla="*/ 154327 w 4519987"/>
                    <a:gd name="connsiteY109" fmla="*/ 1419225 h 4496940"/>
                    <a:gd name="connsiteX110" fmla="*/ 230527 w 4519987"/>
                    <a:gd name="connsiteY110" fmla="*/ 1276350 h 4496940"/>
                    <a:gd name="connsiteX111" fmla="*/ 240052 w 4519987"/>
                    <a:gd name="connsiteY111" fmla="*/ 1247775 h 4496940"/>
                    <a:gd name="connsiteX112" fmla="*/ 268627 w 4519987"/>
                    <a:gd name="connsiteY112" fmla="*/ 1200150 h 4496940"/>
                    <a:gd name="connsiteX113" fmla="*/ 287677 w 4519987"/>
                    <a:gd name="connsiteY113" fmla="*/ 1152525 h 4496940"/>
                    <a:gd name="connsiteX114" fmla="*/ 316252 w 4519987"/>
                    <a:gd name="connsiteY114" fmla="*/ 1114425 h 4496940"/>
                    <a:gd name="connsiteX115" fmla="*/ 363877 w 4519987"/>
                    <a:gd name="connsiteY115" fmla="*/ 1038225 h 4496940"/>
                    <a:gd name="connsiteX116" fmla="*/ 382927 w 4519987"/>
                    <a:gd name="connsiteY116" fmla="*/ 1009650 h 4496940"/>
                    <a:gd name="connsiteX117" fmla="*/ 440077 w 4519987"/>
                    <a:gd name="connsiteY117" fmla="*/ 904875 h 4496940"/>
                    <a:gd name="connsiteX118" fmla="*/ 478177 w 4519987"/>
                    <a:gd name="connsiteY118" fmla="*/ 857250 h 4496940"/>
                    <a:gd name="connsiteX119" fmla="*/ 497227 w 4519987"/>
                    <a:gd name="connsiteY119" fmla="*/ 828675 h 4496940"/>
                    <a:gd name="connsiteX120" fmla="*/ 535327 w 4519987"/>
                    <a:gd name="connsiteY120" fmla="*/ 800100 h 4496940"/>
                    <a:gd name="connsiteX121" fmla="*/ 602002 w 4519987"/>
                    <a:gd name="connsiteY121" fmla="*/ 733425 h 4496940"/>
                    <a:gd name="connsiteX122" fmla="*/ 668677 w 4519987"/>
                    <a:gd name="connsiteY122" fmla="*/ 676275 h 4496940"/>
                    <a:gd name="connsiteX123" fmla="*/ 697252 w 4519987"/>
                    <a:gd name="connsiteY123" fmla="*/ 657225 h 4496940"/>
                    <a:gd name="connsiteX124" fmla="*/ 840127 w 4519987"/>
                    <a:gd name="connsiteY124" fmla="*/ 533400 h 4496940"/>
                    <a:gd name="connsiteX125" fmla="*/ 887752 w 4519987"/>
                    <a:gd name="connsiteY125" fmla="*/ 504825 h 4496940"/>
                    <a:gd name="connsiteX126" fmla="*/ 1167152 w 4519987"/>
                    <a:gd name="connsiteY126" fmla="*/ 311150 h 4496940"/>
                    <a:gd name="connsiteX127" fmla="*/ 1268752 w 4519987"/>
                    <a:gd name="connsiteY127" fmla="*/ 285750 h 4496940"/>
                    <a:gd name="connsiteX128" fmla="*/ 1411627 w 4519987"/>
                    <a:gd name="connsiteY128" fmla="*/ 190500 h 4496940"/>
                    <a:gd name="connsiteX129" fmla="*/ 1449727 w 4519987"/>
                    <a:gd name="connsiteY129" fmla="*/ 161925 h 4496940"/>
                    <a:gd name="connsiteX130" fmla="*/ 1525927 w 4519987"/>
                    <a:gd name="connsiteY130" fmla="*/ 152400 h 4496940"/>
                    <a:gd name="connsiteX131" fmla="*/ 1583077 w 4519987"/>
                    <a:gd name="connsiteY131" fmla="*/ 142875 h 4496940"/>
                    <a:gd name="connsiteX132" fmla="*/ 1716427 w 4519987"/>
                    <a:gd name="connsiteY132" fmla="*/ 123825 h 4496940"/>
                    <a:gd name="connsiteX133" fmla="*/ 1811677 w 4519987"/>
                    <a:gd name="connsiteY133" fmla="*/ 114300 h 4496940"/>
                    <a:gd name="connsiteX134" fmla="*/ 1859302 w 4519987"/>
                    <a:gd name="connsiteY134" fmla="*/ 104775 h 4496940"/>
                    <a:gd name="connsiteX135" fmla="*/ 1916452 w 4519987"/>
                    <a:gd name="connsiteY135" fmla="*/ 95250 h 4496940"/>
                    <a:gd name="connsiteX136" fmla="*/ 2030752 w 4519987"/>
                    <a:gd name="connsiteY136" fmla="*/ 66675 h 4496940"/>
                    <a:gd name="connsiteX137" fmla="*/ 2097427 w 4519987"/>
                    <a:gd name="connsiteY137" fmla="*/ 47625 h 4496940"/>
                    <a:gd name="connsiteX138" fmla="*/ 2164102 w 4519987"/>
                    <a:gd name="connsiteY138" fmla="*/ 38100 h 4496940"/>
                    <a:gd name="connsiteX139" fmla="*/ 2392702 w 4519987"/>
                    <a:gd name="connsiteY13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83377 w 4519987"/>
                    <a:gd name="connsiteY37" fmla="*/ 3629025 h 4496940"/>
                    <a:gd name="connsiteX38" fmla="*/ 3954802 w 4519987"/>
                    <a:gd name="connsiteY38" fmla="*/ 3648075 h 4496940"/>
                    <a:gd name="connsiteX39" fmla="*/ 3907177 w 4519987"/>
                    <a:gd name="connsiteY39" fmla="*/ 3686175 h 4496940"/>
                    <a:gd name="connsiteX40" fmla="*/ 3869077 w 4519987"/>
                    <a:gd name="connsiteY40" fmla="*/ 3724275 h 4496940"/>
                    <a:gd name="connsiteX41" fmla="*/ 3792877 w 4519987"/>
                    <a:gd name="connsiteY41" fmla="*/ 3781425 h 4496940"/>
                    <a:gd name="connsiteX42" fmla="*/ 3783352 w 4519987"/>
                    <a:gd name="connsiteY42" fmla="*/ 3810000 h 4496940"/>
                    <a:gd name="connsiteX43" fmla="*/ 3745252 w 4519987"/>
                    <a:gd name="connsiteY43" fmla="*/ 3819525 h 4496940"/>
                    <a:gd name="connsiteX44" fmla="*/ 3678577 w 4519987"/>
                    <a:gd name="connsiteY44" fmla="*/ 3848100 h 4496940"/>
                    <a:gd name="connsiteX45" fmla="*/ 3659527 w 4519987"/>
                    <a:gd name="connsiteY45" fmla="*/ 3971925 h 4496940"/>
                    <a:gd name="connsiteX46" fmla="*/ 3630952 w 4519987"/>
                    <a:gd name="connsiteY46" fmla="*/ 4010025 h 4496940"/>
                    <a:gd name="connsiteX47" fmla="*/ 3621427 w 4519987"/>
                    <a:gd name="connsiteY47" fmla="*/ 4038600 h 4496940"/>
                    <a:gd name="connsiteX48" fmla="*/ 3554752 w 4519987"/>
                    <a:gd name="connsiteY48" fmla="*/ 4095750 h 4496940"/>
                    <a:gd name="connsiteX49" fmla="*/ 3516652 w 4519987"/>
                    <a:gd name="connsiteY49" fmla="*/ 4114800 h 4496940"/>
                    <a:gd name="connsiteX50" fmla="*/ 3497602 w 4519987"/>
                    <a:gd name="connsiteY50" fmla="*/ 4143375 h 4496940"/>
                    <a:gd name="connsiteX51" fmla="*/ 3383302 w 4519987"/>
                    <a:gd name="connsiteY51" fmla="*/ 4210050 h 4496940"/>
                    <a:gd name="connsiteX52" fmla="*/ 3335677 w 4519987"/>
                    <a:gd name="connsiteY52" fmla="*/ 4238625 h 4496940"/>
                    <a:gd name="connsiteX53" fmla="*/ 3288052 w 4519987"/>
                    <a:gd name="connsiteY53" fmla="*/ 4248150 h 4496940"/>
                    <a:gd name="connsiteX54" fmla="*/ 3240427 w 4519987"/>
                    <a:gd name="connsiteY54" fmla="*/ 4267200 h 4496940"/>
                    <a:gd name="connsiteX55" fmla="*/ 3068977 w 4519987"/>
                    <a:gd name="connsiteY55" fmla="*/ 4286250 h 4496940"/>
                    <a:gd name="connsiteX56" fmla="*/ 2935627 w 4519987"/>
                    <a:gd name="connsiteY56" fmla="*/ 4333875 h 4496940"/>
                    <a:gd name="connsiteX57" fmla="*/ 2811802 w 4519987"/>
                    <a:gd name="connsiteY57" fmla="*/ 4371975 h 4496940"/>
                    <a:gd name="connsiteX58" fmla="*/ 2745127 w 4519987"/>
                    <a:gd name="connsiteY58" fmla="*/ 4410075 h 4496940"/>
                    <a:gd name="connsiteX59" fmla="*/ 2697502 w 4519987"/>
                    <a:gd name="connsiteY59" fmla="*/ 4429125 h 4496940"/>
                    <a:gd name="connsiteX60" fmla="*/ 2640352 w 4519987"/>
                    <a:gd name="connsiteY60" fmla="*/ 4457700 h 4496940"/>
                    <a:gd name="connsiteX61" fmla="*/ 2583202 w 4519987"/>
                    <a:gd name="connsiteY61" fmla="*/ 4467225 h 4496940"/>
                    <a:gd name="connsiteX62" fmla="*/ 2545102 w 4519987"/>
                    <a:gd name="connsiteY62" fmla="*/ 4486275 h 4496940"/>
                    <a:gd name="connsiteX63" fmla="*/ 2306977 w 4519987"/>
                    <a:gd name="connsiteY63" fmla="*/ 4476750 h 4496940"/>
                    <a:gd name="connsiteX64" fmla="*/ 2202202 w 4519987"/>
                    <a:gd name="connsiteY64" fmla="*/ 4457700 h 4496940"/>
                    <a:gd name="connsiteX65" fmla="*/ 2126002 w 4519987"/>
                    <a:gd name="connsiteY65" fmla="*/ 4429125 h 4496940"/>
                    <a:gd name="connsiteX66" fmla="*/ 1935502 w 4519987"/>
                    <a:gd name="connsiteY66" fmla="*/ 4400550 h 4496940"/>
                    <a:gd name="connsiteX67" fmla="*/ 1821202 w 4519987"/>
                    <a:gd name="connsiteY67" fmla="*/ 4371975 h 4496940"/>
                    <a:gd name="connsiteX68" fmla="*/ 1754527 w 4519987"/>
                    <a:gd name="connsiteY68" fmla="*/ 4352925 h 4496940"/>
                    <a:gd name="connsiteX69" fmla="*/ 1687852 w 4519987"/>
                    <a:gd name="connsiteY69" fmla="*/ 4343400 h 4496940"/>
                    <a:gd name="connsiteX70" fmla="*/ 1573552 w 4519987"/>
                    <a:gd name="connsiteY70" fmla="*/ 4305300 h 4496940"/>
                    <a:gd name="connsiteX71" fmla="*/ 1402102 w 4519987"/>
                    <a:gd name="connsiteY71" fmla="*/ 4276725 h 4496940"/>
                    <a:gd name="connsiteX72" fmla="*/ 1287802 w 4519987"/>
                    <a:gd name="connsiteY72" fmla="*/ 4229100 h 4496940"/>
                    <a:gd name="connsiteX73" fmla="*/ 1221127 w 4519987"/>
                    <a:gd name="connsiteY73" fmla="*/ 4200525 h 4496940"/>
                    <a:gd name="connsiteX74" fmla="*/ 1144927 w 4519987"/>
                    <a:gd name="connsiteY74" fmla="*/ 4171950 h 4496940"/>
                    <a:gd name="connsiteX75" fmla="*/ 1087777 w 4519987"/>
                    <a:gd name="connsiteY75" fmla="*/ 4143375 h 4496940"/>
                    <a:gd name="connsiteX76" fmla="*/ 1030627 w 4519987"/>
                    <a:gd name="connsiteY76" fmla="*/ 4124325 h 4496940"/>
                    <a:gd name="connsiteX77" fmla="*/ 925852 w 4519987"/>
                    <a:gd name="connsiteY77" fmla="*/ 4067175 h 4496940"/>
                    <a:gd name="connsiteX78" fmla="*/ 830602 w 4519987"/>
                    <a:gd name="connsiteY78" fmla="*/ 3981450 h 4496940"/>
                    <a:gd name="connsiteX79" fmla="*/ 763927 w 4519987"/>
                    <a:gd name="connsiteY79" fmla="*/ 3914775 h 4496940"/>
                    <a:gd name="connsiteX80" fmla="*/ 725827 w 4519987"/>
                    <a:gd name="connsiteY80" fmla="*/ 3876675 h 4496940"/>
                    <a:gd name="connsiteX81" fmla="*/ 697252 w 4519987"/>
                    <a:gd name="connsiteY81" fmla="*/ 3838575 h 4496940"/>
                    <a:gd name="connsiteX82" fmla="*/ 640102 w 4519987"/>
                    <a:gd name="connsiteY82" fmla="*/ 3781425 h 4496940"/>
                    <a:gd name="connsiteX83" fmla="*/ 611527 w 4519987"/>
                    <a:gd name="connsiteY83" fmla="*/ 3733800 h 4496940"/>
                    <a:gd name="connsiteX84" fmla="*/ 554377 w 4519987"/>
                    <a:gd name="connsiteY84" fmla="*/ 3657600 h 4496940"/>
                    <a:gd name="connsiteX85" fmla="*/ 525802 w 4519987"/>
                    <a:gd name="connsiteY85" fmla="*/ 3609975 h 4496940"/>
                    <a:gd name="connsiteX86" fmla="*/ 497227 w 4519987"/>
                    <a:gd name="connsiteY86" fmla="*/ 3552825 h 4496940"/>
                    <a:gd name="connsiteX87" fmla="*/ 440077 w 4519987"/>
                    <a:gd name="connsiteY87" fmla="*/ 3495675 h 4496940"/>
                    <a:gd name="connsiteX88" fmla="*/ 411502 w 4519987"/>
                    <a:gd name="connsiteY88" fmla="*/ 3448050 h 4496940"/>
                    <a:gd name="connsiteX89" fmla="*/ 278152 w 4519987"/>
                    <a:gd name="connsiteY89" fmla="*/ 3257550 h 4496940"/>
                    <a:gd name="connsiteX90" fmla="*/ 249577 w 4519987"/>
                    <a:gd name="connsiteY90" fmla="*/ 3200400 h 4496940"/>
                    <a:gd name="connsiteX91" fmla="*/ 240052 w 4519987"/>
                    <a:gd name="connsiteY91" fmla="*/ 3162300 h 4496940"/>
                    <a:gd name="connsiteX92" fmla="*/ 221002 w 4519987"/>
                    <a:gd name="connsiteY92" fmla="*/ 3105150 h 4496940"/>
                    <a:gd name="connsiteX93" fmla="*/ 173377 w 4519987"/>
                    <a:gd name="connsiteY93" fmla="*/ 3019425 h 4496940"/>
                    <a:gd name="connsiteX94" fmla="*/ 144802 w 4519987"/>
                    <a:gd name="connsiteY94" fmla="*/ 2924175 h 4496940"/>
                    <a:gd name="connsiteX95" fmla="*/ 68602 w 4519987"/>
                    <a:gd name="connsiteY95" fmla="*/ 2724150 h 4496940"/>
                    <a:gd name="connsiteX96" fmla="*/ 49552 w 4519987"/>
                    <a:gd name="connsiteY96" fmla="*/ 2638425 h 4496940"/>
                    <a:gd name="connsiteX97" fmla="*/ 40027 w 4519987"/>
                    <a:gd name="connsiteY97" fmla="*/ 2562225 h 4496940"/>
                    <a:gd name="connsiteX98" fmla="*/ 30502 w 4519987"/>
                    <a:gd name="connsiteY98" fmla="*/ 2514600 h 4496940"/>
                    <a:gd name="connsiteX99" fmla="*/ 11452 w 4519987"/>
                    <a:gd name="connsiteY99" fmla="*/ 2400300 h 4496940"/>
                    <a:gd name="connsiteX100" fmla="*/ 20977 w 4519987"/>
                    <a:gd name="connsiteY100" fmla="*/ 1905000 h 4496940"/>
                    <a:gd name="connsiteX101" fmla="*/ 30502 w 4519987"/>
                    <a:gd name="connsiteY101" fmla="*/ 1838325 h 4496940"/>
                    <a:gd name="connsiteX102" fmla="*/ 49552 w 4519987"/>
                    <a:gd name="connsiteY102" fmla="*/ 1781175 h 4496940"/>
                    <a:gd name="connsiteX103" fmla="*/ 59077 w 4519987"/>
                    <a:gd name="connsiteY103" fmla="*/ 1743075 h 4496940"/>
                    <a:gd name="connsiteX104" fmla="*/ 78127 w 4519987"/>
                    <a:gd name="connsiteY104" fmla="*/ 1685925 h 4496940"/>
                    <a:gd name="connsiteX105" fmla="*/ 87652 w 4519987"/>
                    <a:gd name="connsiteY105" fmla="*/ 1638300 h 4496940"/>
                    <a:gd name="connsiteX106" fmla="*/ 106702 w 4519987"/>
                    <a:gd name="connsiteY106" fmla="*/ 1590675 h 4496940"/>
                    <a:gd name="connsiteX107" fmla="*/ 135277 w 4519987"/>
                    <a:gd name="connsiteY107" fmla="*/ 1504950 h 4496940"/>
                    <a:gd name="connsiteX108" fmla="*/ 154327 w 4519987"/>
                    <a:gd name="connsiteY108" fmla="*/ 1419225 h 4496940"/>
                    <a:gd name="connsiteX109" fmla="*/ 230527 w 4519987"/>
                    <a:gd name="connsiteY109" fmla="*/ 1276350 h 4496940"/>
                    <a:gd name="connsiteX110" fmla="*/ 240052 w 4519987"/>
                    <a:gd name="connsiteY110" fmla="*/ 1247775 h 4496940"/>
                    <a:gd name="connsiteX111" fmla="*/ 268627 w 4519987"/>
                    <a:gd name="connsiteY111" fmla="*/ 1200150 h 4496940"/>
                    <a:gd name="connsiteX112" fmla="*/ 287677 w 4519987"/>
                    <a:gd name="connsiteY112" fmla="*/ 1152525 h 4496940"/>
                    <a:gd name="connsiteX113" fmla="*/ 316252 w 4519987"/>
                    <a:gd name="connsiteY113" fmla="*/ 1114425 h 4496940"/>
                    <a:gd name="connsiteX114" fmla="*/ 363877 w 4519987"/>
                    <a:gd name="connsiteY114" fmla="*/ 1038225 h 4496940"/>
                    <a:gd name="connsiteX115" fmla="*/ 382927 w 4519987"/>
                    <a:gd name="connsiteY115" fmla="*/ 1009650 h 4496940"/>
                    <a:gd name="connsiteX116" fmla="*/ 440077 w 4519987"/>
                    <a:gd name="connsiteY116" fmla="*/ 904875 h 4496940"/>
                    <a:gd name="connsiteX117" fmla="*/ 478177 w 4519987"/>
                    <a:gd name="connsiteY117" fmla="*/ 857250 h 4496940"/>
                    <a:gd name="connsiteX118" fmla="*/ 497227 w 4519987"/>
                    <a:gd name="connsiteY118" fmla="*/ 828675 h 4496940"/>
                    <a:gd name="connsiteX119" fmla="*/ 535327 w 4519987"/>
                    <a:gd name="connsiteY119" fmla="*/ 800100 h 4496940"/>
                    <a:gd name="connsiteX120" fmla="*/ 602002 w 4519987"/>
                    <a:gd name="connsiteY120" fmla="*/ 733425 h 4496940"/>
                    <a:gd name="connsiteX121" fmla="*/ 668677 w 4519987"/>
                    <a:gd name="connsiteY121" fmla="*/ 676275 h 4496940"/>
                    <a:gd name="connsiteX122" fmla="*/ 697252 w 4519987"/>
                    <a:gd name="connsiteY122" fmla="*/ 657225 h 4496940"/>
                    <a:gd name="connsiteX123" fmla="*/ 840127 w 4519987"/>
                    <a:gd name="connsiteY123" fmla="*/ 533400 h 4496940"/>
                    <a:gd name="connsiteX124" fmla="*/ 887752 w 4519987"/>
                    <a:gd name="connsiteY124" fmla="*/ 504825 h 4496940"/>
                    <a:gd name="connsiteX125" fmla="*/ 1167152 w 4519987"/>
                    <a:gd name="connsiteY125" fmla="*/ 311150 h 4496940"/>
                    <a:gd name="connsiteX126" fmla="*/ 1268752 w 4519987"/>
                    <a:gd name="connsiteY126" fmla="*/ 285750 h 4496940"/>
                    <a:gd name="connsiteX127" fmla="*/ 1411627 w 4519987"/>
                    <a:gd name="connsiteY127" fmla="*/ 190500 h 4496940"/>
                    <a:gd name="connsiteX128" fmla="*/ 1449727 w 4519987"/>
                    <a:gd name="connsiteY128" fmla="*/ 161925 h 4496940"/>
                    <a:gd name="connsiteX129" fmla="*/ 1525927 w 4519987"/>
                    <a:gd name="connsiteY129" fmla="*/ 152400 h 4496940"/>
                    <a:gd name="connsiteX130" fmla="*/ 1583077 w 4519987"/>
                    <a:gd name="connsiteY130" fmla="*/ 142875 h 4496940"/>
                    <a:gd name="connsiteX131" fmla="*/ 1716427 w 4519987"/>
                    <a:gd name="connsiteY131" fmla="*/ 123825 h 4496940"/>
                    <a:gd name="connsiteX132" fmla="*/ 1811677 w 4519987"/>
                    <a:gd name="connsiteY132" fmla="*/ 114300 h 4496940"/>
                    <a:gd name="connsiteX133" fmla="*/ 1859302 w 4519987"/>
                    <a:gd name="connsiteY133" fmla="*/ 104775 h 4496940"/>
                    <a:gd name="connsiteX134" fmla="*/ 1916452 w 4519987"/>
                    <a:gd name="connsiteY134" fmla="*/ 95250 h 4496940"/>
                    <a:gd name="connsiteX135" fmla="*/ 2030752 w 4519987"/>
                    <a:gd name="connsiteY135" fmla="*/ 66675 h 4496940"/>
                    <a:gd name="connsiteX136" fmla="*/ 2097427 w 4519987"/>
                    <a:gd name="connsiteY136" fmla="*/ 47625 h 4496940"/>
                    <a:gd name="connsiteX137" fmla="*/ 2164102 w 4519987"/>
                    <a:gd name="connsiteY137" fmla="*/ 38100 h 4496940"/>
                    <a:gd name="connsiteX138" fmla="*/ 2392702 w 4519987"/>
                    <a:gd name="connsiteY13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869077 w 4519987"/>
                    <a:gd name="connsiteY39" fmla="*/ 3724275 h 4496940"/>
                    <a:gd name="connsiteX40" fmla="*/ 3792877 w 4519987"/>
                    <a:gd name="connsiteY40" fmla="*/ 3781425 h 4496940"/>
                    <a:gd name="connsiteX41" fmla="*/ 3783352 w 4519987"/>
                    <a:gd name="connsiteY41" fmla="*/ 3810000 h 4496940"/>
                    <a:gd name="connsiteX42" fmla="*/ 3745252 w 4519987"/>
                    <a:gd name="connsiteY42" fmla="*/ 3819525 h 4496940"/>
                    <a:gd name="connsiteX43" fmla="*/ 3678577 w 4519987"/>
                    <a:gd name="connsiteY43" fmla="*/ 3848100 h 4496940"/>
                    <a:gd name="connsiteX44" fmla="*/ 3659527 w 4519987"/>
                    <a:gd name="connsiteY44" fmla="*/ 3971925 h 4496940"/>
                    <a:gd name="connsiteX45" fmla="*/ 3630952 w 4519987"/>
                    <a:gd name="connsiteY45" fmla="*/ 4010025 h 4496940"/>
                    <a:gd name="connsiteX46" fmla="*/ 3621427 w 4519987"/>
                    <a:gd name="connsiteY46" fmla="*/ 4038600 h 4496940"/>
                    <a:gd name="connsiteX47" fmla="*/ 3554752 w 4519987"/>
                    <a:gd name="connsiteY47" fmla="*/ 4095750 h 4496940"/>
                    <a:gd name="connsiteX48" fmla="*/ 3516652 w 4519987"/>
                    <a:gd name="connsiteY48" fmla="*/ 4114800 h 4496940"/>
                    <a:gd name="connsiteX49" fmla="*/ 3497602 w 4519987"/>
                    <a:gd name="connsiteY49" fmla="*/ 4143375 h 4496940"/>
                    <a:gd name="connsiteX50" fmla="*/ 3383302 w 4519987"/>
                    <a:gd name="connsiteY50" fmla="*/ 4210050 h 4496940"/>
                    <a:gd name="connsiteX51" fmla="*/ 3335677 w 4519987"/>
                    <a:gd name="connsiteY51" fmla="*/ 4238625 h 4496940"/>
                    <a:gd name="connsiteX52" fmla="*/ 3288052 w 4519987"/>
                    <a:gd name="connsiteY52" fmla="*/ 4248150 h 4496940"/>
                    <a:gd name="connsiteX53" fmla="*/ 3240427 w 4519987"/>
                    <a:gd name="connsiteY53" fmla="*/ 4267200 h 4496940"/>
                    <a:gd name="connsiteX54" fmla="*/ 3068977 w 4519987"/>
                    <a:gd name="connsiteY54" fmla="*/ 4286250 h 4496940"/>
                    <a:gd name="connsiteX55" fmla="*/ 2935627 w 4519987"/>
                    <a:gd name="connsiteY55" fmla="*/ 4333875 h 4496940"/>
                    <a:gd name="connsiteX56" fmla="*/ 2811802 w 4519987"/>
                    <a:gd name="connsiteY56" fmla="*/ 4371975 h 4496940"/>
                    <a:gd name="connsiteX57" fmla="*/ 2745127 w 4519987"/>
                    <a:gd name="connsiteY57" fmla="*/ 4410075 h 4496940"/>
                    <a:gd name="connsiteX58" fmla="*/ 2697502 w 4519987"/>
                    <a:gd name="connsiteY58" fmla="*/ 4429125 h 4496940"/>
                    <a:gd name="connsiteX59" fmla="*/ 2640352 w 4519987"/>
                    <a:gd name="connsiteY59" fmla="*/ 4457700 h 4496940"/>
                    <a:gd name="connsiteX60" fmla="*/ 2583202 w 4519987"/>
                    <a:gd name="connsiteY60" fmla="*/ 4467225 h 4496940"/>
                    <a:gd name="connsiteX61" fmla="*/ 2545102 w 4519987"/>
                    <a:gd name="connsiteY61" fmla="*/ 4486275 h 4496940"/>
                    <a:gd name="connsiteX62" fmla="*/ 2306977 w 4519987"/>
                    <a:gd name="connsiteY62" fmla="*/ 4476750 h 4496940"/>
                    <a:gd name="connsiteX63" fmla="*/ 2202202 w 4519987"/>
                    <a:gd name="connsiteY63" fmla="*/ 4457700 h 4496940"/>
                    <a:gd name="connsiteX64" fmla="*/ 2126002 w 4519987"/>
                    <a:gd name="connsiteY64" fmla="*/ 4429125 h 4496940"/>
                    <a:gd name="connsiteX65" fmla="*/ 1935502 w 4519987"/>
                    <a:gd name="connsiteY65" fmla="*/ 4400550 h 4496940"/>
                    <a:gd name="connsiteX66" fmla="*/ 1821202 w 4519987"/>
                    <a:gd name="connsiteY66" fmla="*/ 4371975 h 4496940"/>
                    <a:gd name="connsiteX67" fmla="*/ 1754527 w 4519987"/>
                    <a:gd name="connsiteY67" fmla="*/ 4352925 h 4496940"/>
                    <a:gd name="connsiteX68" fmla="*/ 1687852 w 4519987"/>
                    <a:gd name="connsiteY68" fmla="*/ 4343400 h 4496940"/>
                    <a:gd name="connsiteX69" fmla="*/ 1573552 w 4519987"/>
                    <a:gd name="connsiteY69" fmla="*/ 4305300 h 4496940"/>
                    <a:gd name="connsiteX70" fmla="*/ 1402102 w 4519987"/>
                    <a:gd name="connsiteY70" fmla="*/ 4276725 h 4496940"/>
                    <a:gd name="connsiteX71" fmla="*/ 1287802 w 4519987"/>
                    <a:gd name="connsiteY71" fmla="*/ 4229100 h 4496940"/>
                    <a:gd name="connsiteX72" fmla="*/ 1221127 w 4519987"/>
                    <a:gd name="connsiteY72" fmla="*/ 4200525 h 4496940"/>
                    <a:gd name="connsiteX73" fmla="*/ 1144927 w 4519987"/>
                    <a:gd name="connsiteY73" fmla="*/ 4171950 h 4496940"/>
                    <a:gd name="connsiteX74" fmla="*/ 1087777 w 4519987"/>
                    <a:gd name="connsiteY74" fmla="*/ 4143375 h 4496940"/>
                    <a:gd name="connsiteX75" fmla="*/ 1030627 w 4519987"/>
                    <a:gd name="connsiteY75" fmla="*/ 4124325 h 4496940"/>
                    <a:gd name="connsiteX76" fmla="*/ 925852 w 4519987"/>
                    <a:gd name="connsiteY76" fmla="*/ 4067175 h 4496940"/>
                    <a:gd name="connsiteX77" fmla="*/ 830602 w 4519987"/>
                    <a:gd name="connsiteY77" fmla="*/ 3981450 h 4496940"/>
                    <a:gd name="connsiteX78" fmla="*/ 763927 w 4519987"/>
                    <a:gd name="connsiteY78" fmla="*/ 3914775 h 4496940"/>
                    <a:gd name="connsiteX79" fmla="*/ 725827 w 4519987"/>
                    <a:gd name="connsiteY79" fmla="*/ 3876675 h 4496940"/>
                    <a:gd name="connsiteX80" fmla="*/ 697252 w 4519987"/>
                    <a:gd name="connsiteY80" fmla="*/ 3838575 h 4496940"/>
                    <a:gd name="connsiteX81" fmla="*/ 640102 w 4519987"/>
                    <a:gd name="connsiteY81" fmla="*/ 3781425 h 4496940"/>
                    <a:gd name="connsiteX82" fmla="*/ 611527 w 4519987"/>
                    <a:gd name="connsiteY82" fmla="*/ 3733800 h 4496940"/>
                    <a:gd name="connsiteX83" fmla="*/ 554377 w 4519987"/>
                    <a:gd name="connsiteY83" fmla="*/ 3657600 h 4496940"/>
                    <a:gd name="connsiteX84" fmla="*/ 525802 w 4519987"/>
                    <a:gd name="connsiteY84" fmla="*/ 3609975 h 4496940"/>
                    <a:gd name="connsiteX85" fmla="*/ 497227 w 4519987"/>
                    <a:gd name="connsiteY85" fmla="*/ 3552825 h 4496940"/>
                    <a:gd name="connsiteX86" fmla="*/ 440077 w 4519987"/>
                    <a:gd name="connsiteY86" fmla="*/ 3495675 h 4496940"/>
                    <a:gd name="connsiteX87" fmla="*/ 411502 w 4519987"/>
                    <a:gd name="connsiteY87" fmla="*/ 3448050 h 4496940"/>
                    <a:gd name="connsiteX88" fmla="*/ 278152 w 4519987"/>
                    <a:gd name="connsiteY88" fmla="*/ 3257550 h 4496940"/>
                    <a:gd name="connsiteX89" fmla="*/ 249577 w 4519987"/>
                    <a:gd name="connsiteY89" fmla="*/ 3200400 h 4496940"/>
                    <a:gd name="connsiteX90" fmla="*/ 240052 w 4519987"/>
                    <a:gd name="connsiteY90" fmla="*/ 3162300 h 4496940"/>
                    <a:gd name="connsiteX91" fmla="*/ 221002 w 4519987"/>
                    <a:gd name="connsiteY91" fmla="*/ 3105150 h 4496940"/>
                    <a:gd name="connsiteX92" fmla="*/ 173377 w 4519987"/>
                    <a:gd name="connsiteY92" fmla="*/ 3019425 h 4496940"/>
                    <a:gd name="connsiteX93" fmla="*/ 144802 w 4519987"/>
                    <a:gd name="connsiteY93" fmla="*/ 2924175 h 4496940"/>
                    <a:gd name="connsiteX94" fmla="*/ 68602 w 4519987"/>
                    <a:gd name="connsiteY94" fmla="*/ 2724150 h 4496940"/>
                    <a:gd name="connsiteX95" fmla="*/ 49552 w 4519987"/>
                    <a:gd name="connsiteY95" fmla="*/ 2638425 h 4496940"/>
                    <a:gd name="connsiteX96" fmla="*/ 40027 w 4519987"/>
                    <a:gd name="connsiteY96" fmla="*/ 2562225 h 4496940"/>
                    <a:gd name="connsiteX97" fmla="*/ 30502 w 4519987"/>
                    <a:gd name="connsiteY97" fmla="*/ 2514600 h 4496940"/>
                    <a:gd name="connsiteX98" fmla="*/ 11452 w 4519987"/>
                    <a:gd name="connsiteY98" fmla="*/ 2400300 h 4496940"/>
                    <a:gd name="connsiteX99" fmla="*/ 20977 w 4519987"/>
                    <a:gd name="connsiteY99" fmla="*/ 1905000 h 4496940"/>
                    <a:gd name="connsiteX100" fmla="*/ 30502 w 4519987"/>
                    <a:gd name="connsiteY100" fmla="*/ 1838325 h 4496940"/>
                    <a:gd name="connsiteX101" fmla="*/ 49552 w 4519987"/>
                    <a:gd name="connsiteY101" fmla="*/ 1781175 h 4496940"/>
                    <a:gd name="connsiteX102" fmla="*/ 59077 w 4519987"/>
                    <a:gd name="connsiteY102" fmla="*/ 1743075 h 4496940"/>
                    <a:gd name="connsiteX103" fmla="*/ 78127 w 4519987"/>
                    <a:gd name="connsiteY103" fmla="*/ 1685925 h 4496940"/>
                    <a:gd name="connsiteX104" fmla="*/ 87652 w 4519987"/>
                    <a:gd name="connsiteY104" fmla="*/ 1638300 h 4496940"/>
                    <a:gd name="connsiteX105" fmla="*/ 106702 w 4519987"/>
                    <a:gd name="connsiteY105" fmla="*/ 1590675 h 4496940"/>
                    <a:gd name="connsiteX106" fmla="*/ 135277 w 4519987"/>
                    <a:gd name="connsiteY106" fmla="*/ 1504950 h 4496940"/>
                    <a:gd name="connsiteX107" fmla="*/ 154327 w 4519987"/>
                    <a:gd name="connsiteY107" fmla="*/ 1419225 h 4496940"/>
                    <a:gd name="connsiteX108" fmla="*/ 230527 w 4519987"/>
                    <a:gd name="connsiteY108" fmla="*/ 1276350 h 4496940"/>
                    <a:gd name="connsiteX109" fmla="*/ 240052 w 4519987"/>
                    <a:gd name="connsiteY109" fmla="*/ 1247775 h 4496940"/>
                    <a:gd name="connsiteX110" fmla="*/ 268627 w 4519987"/>
                    <a:gd name="connsiteY110" fmla="*/ 1200150 h 4496940"/>
                    <a:gd name="connsiteX111" fmla="*/ 287677 w 4519987"/>
                    <a:gd name="connsiteY111" fmla="*/ 1152525 h 4496940"/>
                    <a:gd name="connsiteX112" fmla="*/ 316252 w 4519987"/>
                    <a:gd name="connsiteY112" fmla="*/ 1114425 h 4496940"/>
                    <a:gd name="connsiteX113" fmla="*/ 363877 w 4519987"/>
                    <a:gd name="connsiteY113" fmla="*/ 1038225 h 4496940"/>
                    <a:gd name="connsiteX114" fmla="*/ 382927 w 4519987"/>
                    <a:gd name="connsiteY114" fmla="*/ 1009650 h 4496940"/>
                    <a:gd name="connsiteX115" fmla="*/ 440077 w 4519987"/>
                    <a:gd name="connsiteY115" fmla="*/ 904875 h 4496940"/>
                    <a:gd name="connsiteX116" fmla="*/ 478177 w 4519987"/>
                    <a:gd name="connsiteY116" fmla="*/ 857250 h 4496940"/>
                    <a:gd name="connsiteX117" fmla="*/ 497227 w 4519987"/>
                    <a:gd name="connsiteY117" fmla="*/ 828675 h 4496940"/>
                    <a:gd name="connsiteX118" fmla="*/ 535327 w 4519987"/>
                    <a:gd name="connsiteY118" fmla="*/ 800100 h 4496940"/>
                    <a:gd name="connsiteX119" fmla="*/ 602002 w 4519987"/>
                    <a:gd name="connsiteY119" fmla="*/ 733425 h 4496940"/>
                    <a:gd name="connsiteX120" fmla="*/ 668677 w 4519987"/>
                    <a:gd name="connsiteY120" fmla="*/ 676275 h 4496940"/>
                    <a:gd name="connsiteX121" fmla="*/ 697252 w 4519987"/>
                    <a:gd name="connsiteY121" fmla="*/ 657225 h 4496940"/>
                    <a:gd name="connsiteX122" fmla="*/ 840127 w 4519987"/>
                    <a:gd name="connsiteY122" fmla="*/ 533400 h 4496940"/>
                    <a:gd name="connsiteX123" fmla="*/ 887752 w 4519987"/>
                    <a:gd name="connsiteY123" fmla="*/ 504825 h 4496940"/>
                    <a:gd name="connsiteX124" fmla="*/ 1167152 w 4519987"/>
                    <a:gd name="connsiteY124" fmla="*/ 311150 h 4496940"/>
                    <a:gd name="connsiteX125" fmla="*/ 1268752 w 4519987"/>
                    <a:gd name="connsiteY125" fmla="*/ 285750 h 4496940"/>
                    <a:gd name="connsiteX126" fmla="*/ 1411627 w 4519987"/>
                    <a:gd name="connsiteY126" fmla="*/ 190500 h 4496940"/>
                    <a:gd name="connsiteX127" fmla="*/ 1449727 w 4519987"/>
                    <a:gd name="connsiteY127" fmla="*/ 161925 h 4496940"/>
                    <a:gd name="connsiteX128" fmla="*/ 1525927 w 4519987"/>
                    <a:gd name="connsiteY128" fmla="*/ 152400 h 4496940"/>
                    <a:gd name="connsiteX129" fmla="*/ 1583077 w 4519987"/>
                    <a:gd name="connsiteY129" fmla="*/ 142875 h 4496940"/>
                    <a:gd name="connsiteX130" fmla="*/ 1716427 w 4519987"/>
                    <a:gd name="connsiteY130" fmla="*/ 123825 h 4496940"/>
                    <a:gd name="connsiteX131" fmla="*/ 1811677 w 4519987"/>
                    <a:gd name="connsiteY131" fmla="*/ 114300 h 4496940"/>
                    <a:gd name="connsiteX132" fmla="*/ 1859302 w 4519987"/>
                    <a:gd name="connsiteY132" fmla="*/ 104775 h 4496940"/>
                    <a:gd name="connsiteX133" fmla="*/ 1916452 w 4519987"/>
                    <a:gd name="connsiteY133" fmla="*/ 95250 h 4496940"/>
                    <a:gd name="connsiteX134" fmla="*/ 2030752 w 4519987"/>
                    <a:gd name="connsiteY134" fmla="*/ 66675 h 4496940"/>
                    <a:gd name="connsiteX135" fmla="*/ 2097427 w 4519987"/>
                    <a:gd name="connsiteY135" fmla="*/ 47625 h 4496940"/>
                    <a:gd name="connsiteX136" fmla="*/ 2164102 w 4519987"/>
                    <a:gd name="connsiteY136" fmla="*/ 38100 h 4496940"/>
                    <a:gd name="connsiteX137" fmla="*/ 2392702 w 4519987"/>
                    <a:gd name="connsiteY13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745252 w 4519987"/>
                    <a:gd name="connsiteY41" fmla="*/ 3819525 h 4496940"/>
                    <a:gd name="connsiteX42" fmla="*/ 3678577 w 4519987"/>
                    <a:gd name="connsiteY42" fmla="*/ 3848100 h 4496940"/>
                    <a:gd name="connsiteX43" fmla="*/ 3659527 w 4519987"/>
                    <a:gd name="connsiteY43" fmla="*/ 3971925 h 4496940"/>
                    <a:gd name="connsiteX44" fmla="*/ 3630952 w 4519987"/>
                    <a:gd name="connsiteY44" fmla="*/ 4010025 h 4496940"/>
                    <a:gd name="connsiteX45" fmla="*/ 3621427 w 4519987"/>
                    <a:gd name="connsiteY45" fmla="*/ 4038600 h 4496940"/>
                    <a:gd name="connsiteX46" fmla="*/ 3554752 w 4519987"/>
                    <a:gd name="connsiteY46" fmla="*/ 4095750 h 4496940"/>
                    <a:gd name="connsiteX47" fmla="*/ 3516652 w 4519987"/>
                    <a:gd name="connsiteY47" fmla="*/ 4114800 h 4496940"/>
                    <a:gd name="connsiteX48" fmla="*/ 3497602 w 4519987"/>
                    <a:gd name="connsiteY48" fmla="*/ 4143375 h 4496940"/>
                    <a:gd name="connsiteX49" fmla="*/ 3383302 w 4519987"/>
                    <a:gd name="connsiteY49" fmla="*/ 4210050 h 4496940"/>
                    <a:gd name="connsiteX50" fmla="*/ 3335677 w 4519987"/>
                    <a:gd name="connsiteY50" fmla="*/ 4238625 h 4496940"/>
                    <a:gd name="connsiteX51" fmla="*/ 3288052 w 4519987"/>
                    <a:gd name="connsiteY51" fmla="*/ 4248150 h 4496940"/>
                    <a:gd name="connsiteX52" fmla="*/ 3240427 w 4519987"/>
                    <a:gd name="connsiteY52" fmla="*/ 4267200 h 4496940"/>
                    <a:gd name="connsiteX53" fmla="*/ 3068977 w 4519987"/>
                    <a:gd name="connsiteY53" fmla="*/ 4286250 h 4496940"/>
                    <a:gd name="connsiteX54" fmla="*/ 2935627 w 4519987"/>
                    <a:gd name="connsiteY54" fmla="*/ 4333875 h 4496940"/>
                    <a:gd name="connsiteX55" fmla="*/ 2811802 w 4519987"/>
                    <a:gd name="connsiteY55" fmla="*/ 4371975 h 4496940"/>
                    <a:gd name="connsiteX56" fmla="*/ 2745127 w 4519987"/>
                    <a:gd name="connsiteY56" fmla="*/ 4410075 h 4496940"/>
                    <a:gd name="connsiteX57" fmla="*/ 2697502 w 4519987"/>
                    <a:gd name="connsiteY57" fmla="*/ 4429125 h 4496940"/>
                    <a:gd name="connsiteX58" fmla="*/ 2640352 w 4519987"/>
                    <a:gd name="connsiteY58" fmla="*/ 4457700 h 4496940"/>
                    <a:gd name="connsiteX59" fmla="*/ 2583202 w 4519987"/>
                    <a:gd name="connsiteY59" fmla="*/ 4467225 h 4496940"/>
                    <a:gd name="connsiteX60" fmla="*/ 2545102 w 4519987"/>
                    <a:gd name="connsiteY60" fmla="*/ 4486275 h 4496940"/>
                    <a:gd name="connsiteX61" fmla="*/ 2306977 w 4519987"/>
                    <a:gd name="connsiteY61" fmla="*/ 4476750 h 4496940"/>
                    <a:gd name="connsiteX62" fmla="*/ 2202202 w 4519987"/>
                    <a:gd name="connsiteY62" fmla="*/ 4457700 h 4496940"/>
                    <a:gd name="connsiteX63" fmla="*/ 2126002 w 4519987"/>
                    <a:gd name="connsiteY63" fmla="*/ 4429125 h 4496940"/>
                    <a:gd name="connsiteX64" fmla="*/ 1935502 w 4519987"/>
                    <a:gd name="connsiteY64" fmla="*/ 4400550 h 4496940"/>
                    <a:gd name="connsiteX65" fmla="*/ 1821202 w 4519987"/>
                    <a:gd name="connsiteY65" fmla="*/ 4371975 h 4496940"/>
                    <a:gd name="connsiteX66" fmla="*/ 1754527 w 4519987"/>
                    <a:gd name="connsiteY66" fmla="*/ 4352925 h 4496940"/>
                    <a:gd name="connsiteX67" fmla="*/ 1687852 w 4519987"/>
                    <a:gd name="connsiteY67" fmla="*/ 4343400 h 4496940"/>
                    <a:gd name="connsiteX68" fmla="*/ 1573552 w 4519987"/>
                    <a:gd name="connsiteY68" fmla="*/ 4305300 h 4496940"/>
                    <a:gd name="connsiteX69" fmla="*/ 1402102 w 4519987"/>
                    <a:gd name="connsiteY69" fmla="*/ 4276725 h 4496940"/>
                    <a:gd name="connsiteX70" fmla="*/ 1287802 w 4519987"/>
                    <a:gd name="connsiteY70" fmla="*/ 4229100 h 4496940"/>
                    <a:gd name="connsiteX71" fmla="*/ 1221127 w 4519987"/>
                    <a:gd name="connsiteY71" fmla="*/ 4200525 h 4496940"/>
                    <a:gd name="connsiteX72" fmla="*/ 1144927 w 4519987"/>
                    <a:gd name="connsiteY72" fmla="*/ 4171950 h 4496940"/>
                    <a:gd name="connsiteX73" fmla="*/ 1087777 w 4519987"/>
                    <a:gd name="connsiteY73" fmla="*/ 4143375 h 4496940"/>
                    <a:gd name="connsiteX74" fmla="*/ 1030627 w 4519987"/>
                    <a:gd name="connsiteY74" fmla="*/ 4124325 h 4496940"/>
                    <a:gd name="connsiteX75" fmla="*/ 925852 w 4519987"/>
                    <a:gd name="connsiteY75" fmla="*/ 4067175 h 4496940"/>
                    <a:gd name="connsiteX76" fmla="*/ 830602 w 4519987"/>
                    <a:gd name="connsiteY76" fmla="*/ 3981450 h 4496940"/>
                    <a:gd name="connsiteX77" fmla="*/ 763927 w 4519987"/>
                    <a:gd name="connsiteY77" fmla="*/ 3914775 h 4496940"/>
                    <a:gd name="connsiteX78" fmla="*/ 725827 w 4519987"/>
                    <a:gd name="connsiteY78" fmla="*/ 3876675 h 4496940"/>
                    <a:gd name="connsiteX79" fmla="*/ 697252 w 4519987"/>
                    <a:gd name="connsiteY79" fmla="*/ 3838575 h 4496940"/>
                    <a:gd name="connsiteX80" fmla="*/ 640102 w 4519987"/>
                    <a:gd name="connsiteY80" fmla="*/ 3781425 h 4496940"/>
                    <a:gd name="connsiteX81" fmla="*/ 611527 w 4519987"/>
                    <a:gd name="connsiteY81" fmla="*/ 3733800 h 4496940"/>
                    <a:gd name="connsiteX82" fmla="*/ 554377 w 4519987"/>
                    <a:gd name="connsiteY82" fmla="*/ 3657600 h 4496940"/>
                    <a:gd name="connsiteX83" fmla="*/ 525802 w 4519987"/>
                    <a:gd name="connsiteY83" fmla="*/ 3609975 h 4496940"/>
                    <a:gd name="connsiteX84" fmla="*/ 497227 w 4519987"/>
                    <a:gd name="connsiteY84" fmla="*/ 3552825 h 4496940"/>
                    <a:gd name="connsiteX85" fmla="*/ 440077 w 4519987"/>
                    <a:gd name="connsiteY85" fmla="*/ 3495675 h 4496940"/>
                    <a:gd name="connsiteX86" fmla="*/ 411502 w 4519987"/>
                    <a:gd name="connsiteY86" fmla="*/ 3448050 h 4496940"/>
                    <a:gd name="connsiteX87" fmla="*/ 278152 w 4519987"/>
                    <a:gd name="connsiteY87" fmla="*/ 3257550 h 4496940"/>
                    <a:gd name="connsiteX88" fmla="*/ 249577 w 4519987"/>
                    <a:gd name="connsiteY88" fmla="*/ 3200400 h 4496940"/>
                    <a:gd name="connsiteX89" fmla="*/ 240052 w 4519987"/>
                    <a:gd name="connsiteY89" fmla="*/ 3162300 h 4496940"/>
                    <a:gd name="connsiteX90" fmla="*/ 221002 w 4519987"/>
                    <a:gd name="connsiteY90" fmla="*/ 3105150 h 4496940"/>
                    <a:gd name="connsiteX91" fmla="*/ 173377 w 4519987"/>
                    <a:gd name="connsiteY91" fmla="*/ 3019425 h 4496940"/>
                    <a:gd name="connsiteX92" fmla="*/ 144802 w 4519987"/>
                    <a:gd name="connsiteY92" fmla="*/ 2924175 h 4496940"/>
                    <a:gd name="connsiteX93" fmla="*/ 68602 w 4519987"/>
                    <a:gd name="connsiteY93" fmla="*/ 2724150 h 4496940"/>
                    <a:gd name="connsiteX94" fmla="*/ 49552 w 4519987"/>
                    <a:gd name="connsiteY94" fmla="*/ 2638425 h 4496940"/>
                    <a:gd name="connsiteX95" fmla="*/ 40027 w 4519987"/>
                    <a:gd name="connsiteY95" fmla="*/ 2562225 h 4496940"/>
                    <a:gd name="connsiteX96" fmla="*/ 30502 w 4519987"/>
                    <a:gd name="connsiteY96" fmla="*/ 2514600 h 4496940"/>
                    <a:gd name="connsiteX97" fmla="*/ 11452 w 4519987"/>
                    <a:gd name="connsiteY97" fmla="*/ 2400300 h 4496940"/>
                    <a:gd name="connsiteX98" fmla="*/ 20977 w 4519987"/>
                    <a:gd name="connsiteY98" fmla="*/ 1905000 h 4496940"/>
                    <a:gd name="connsiteX99" fmla="*/ 30502 w 4519987"/>
                    <a:gd name="connsiteY99" fmla="*/ 1838325 h 4496940"/>
                    <a:gd name="connsiteX100" fmla="*/ 49552 w 4519987"/>
                    <a:gd name="connsiteY100" fmla="*/ 1781175 h 4496940"/>
                    <a:gd name="connsiteX101" fmla="*/ 59077 w 4519987"/>
                    <a:gd name="connsiteY101" fmla="*/ 1743075 h 4496940"/>
                    <a:gd name="connsiteX102" fmla="*/ 78127 w 4519987"/>
                    <a:gd name="connsiteY102" fmla="*/ 1685925 h 4496940"/>
                    <a:gd name="connsiteX103" fmla="*/ 87652 w 4519987"/>
                    <a:gd name="connsiteY103" fmla="*/ 1638300 h 4496940"/>
                    <a:gd name="connsiteX104" fmla="*/ 106702 w 4519987"/>
                    <a:gd name="connsiteY104" fmla="*/ 1590675 h 4496940"/>
                    <a:gd name="connsiteX105" fmla="*/ 135277 w 4519987"/>
                    <a:gd name="connsiteY105" fmla="*/ 1504950 h 4496940"/>
                    <a:gd name="connsiteX106" fmla="*/ 154327 w 4519987"/>
                    <a:gd name="connsiteY106" fmla="*/ 1419225 h 4496940"/>
                    <a:gd name="connsiteX107" fmla="*/ 230527 w 4519987"/>
                    <a:gd name="connsiteY107" fmla="*/ 1276350 h 4496940"/>
                    <a:gd name="connsiteX108" fmla="*/ 240052 w 4519987"/>
                    <a:gd name="connsiteY108" fmla="*/ 1247775 h 4496940"/>
                    <a:gd name="connsiteX109" fmla="*/ 268627 w 4519987"/>
                    <a:gd name="connsiteY109" fmla="*/ 1200150 h 4496940"/>
                    <a:gd name="connsiteX110" fmla="*/ 287677 w 4519987"/>
                    <a:gd name="connsiteY110" fmla="*/ 1152525 h 4496940"/>
                    <a:gd name="connsiteX111" fmla="*/ 316252 w 4519987"/>
                    <a:gd name="connsiteY111" fmla="*/ 1114425 h 4496940"/>
                    <a:gd name="connsiteX112" fmla="*/ 363877 w 4519987"/>
                    <a:gd name="connsiteY112" fmla="*/ 1038225 h 4496940"/>
                    <a:gd name="connsiteX113" fmla="*/ 382927 w 4519987"/>
                    <a:gd name="connsiteY113" fmla="*/ 1009650 h 4496940"/>
                    <a:gd name="connsiteX114" fmla="*/ 440077 w 4519987"/>
                    <a:gd name="connsiteY114" fmla="*/ 904875 h 4496940"/>
                    <a:gd name="connsiteX115" fmla="*/ 478177 w 4519987"/>
                    <a:gd name="connsiteY115" fmla="*/ 857250 h 4496940"/>
                    <a:gd name="connsiteX116" fmla="*/ 497227 w 4519987"/>
                    <a:gd name="connsiteY116" fmla="*/ 828675 h 4496940"/>
                    <a:gd name="connsiteX117" fmla="*/ 535327 w 4519987"/>
                    <a:gd name="connsiteY117" fmla="*/ 800100 h 4496940"/>
                    <a:gd name="connsiteX118" fmla="*/ 602002 w 4519987"/>
                    <a:gd name="connsiteY118" fmla="*/ 733425 h 4496940"/>
                    <a:gd name="connsiteX119" fmla="*/ 668677 w 4519987"/>
                    <a:gd name="connsiteY119" fmla="*/ 676275 h 4496940"/>
                    <a:gd name="connsiteX120" fmla="*/ 697252 w 4519987"/>
                    <a:gd name="connsiteY120" fmla="*/ 657225 h 4496940"/>
                    <a:gd name="connsiteX121" fmla="*/ 840127 w 4519987"/>
                    <a:gd name="connsiteY121" fmla="*/ 533400 h 4496940"/>
                    <a:gd name="connsiteX122" fmla="*/ 887752 w 4519987"/>
                    <a:gd name="connsiteY122" fmla="*/ 504825 h 4496940"/>
                    <a:gd name="connsiteX123" fmla="*/ 1167152 w 4519987"/>
                    <a:gd name="connsiteY123" fmla="*/ 311150 h 4496940"/>
                    <a:gd name="connsiteX124" fmla="*/ 1268752 w 4519987"/>
                    <a:gd name="connsiteY124" fmla="*/ 285750 h 4496940"/>
                    <a:gd name="connsiteX125" fmla="*/ 1411627 w 4519987"/>
                    <a:gd name="connsiteY125" fmla="*/ 190500 h 4496940"/>
                    <a:gd name="connsiteX126" fmla="*/ 1449727 w 4519987"/>
                    <a:gd name="connsiteY126" fmla="*/ 161925 h 4496940"/>
                    <a:gd name="connsiteX127" fmla="*/ 1525927 w 4519987"/>
                    <a:gd name="connsiteY127" fmla="*/ 152400 h 4496940"/>
                    <a:gd name="connsiteX128" fmla="*/ 1583077 w 4519987"/>
                    <a:gd name="connsiteY128" fmla="*/ 142875 h 4496940"/>
                    <a:gd name="connsiteX129" fmla="*/ 1716427 w 4519987"/>
                    <a:gd name="connsiteY129" fmla="*/ 123825 h 4496940"/>
                    <a:gd name="connsiteX130" fmla="*/ 1811677 w 4519987"/>
                    <a:gd name="connsiteY130" fmla="*/ 114300 h 4496940"/>
                    <a:gd name="connsiteX131" fmla="*/ 1859302 w 4519987"/>
                    <a:gd name="connsiteY131" fmla="*/ 104775 h 4496940"/>
                    <a:gd name="connsiteX132" fmla="*/ 1916452 w 4519987"/>
                    <a:gd name="connsiteY132" fmla="*/ 95250 h 4496940"/>
                    <a:gd name="connsiteX133" fmla="*/ 2030752 w 4519987"/>
                    <a:gd name="connsiteY133" fmla="*/ 66675 h 4496940"/>
                    <a:gd name="connsiteX134" fmla="*/ 2097427 w 4519987"/>
                    <a:gd name="connsiteY134" fmla="*/ 47625 h 4496940"/>
                    <a:gd name="connsiteX135" fmla="*/ 2164102 w 4519987"/>
                    <a:gd name="connsiteY135" fmla="*/ 38100 h 4496940"/>
                    <a:gd name="connsiteX136" fmla="*/ 2392702 w 4519987"/>
                    <a:gd name="connsiteY13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678577 w 4519987"/>
                    <a:gd name="connsiteY41" fmla="*/ 3848100 h 4496940"/>
                    <a:gd name="connsiteX42" fmla="*/ 3659527 w 4519987"/>
                    <a:gd name="connsiteY42" fmla="*/ 3971925 h 4496940"/>
                    <a:gd name="connsiteX43" fmla="*/ 3630952 w 4519987"/>
                    <a:gd name="connsiteY43" fmla="*/ 4010025 h 4496940"/>
                    <a:gd name="connsiteX44" fmla="*/ 3621427 w 4519987"/>
                    <a:gd name="connsiteY44" fmla="*/ 4038600 h 4496940"/>
                    <a:gd name="connsiteX45" fmla="*/ 3554752 w 4519987"/>
                    <a:gd name="connsiteY45" fmla="*/ 4095750 h 4496940"/>
                    <a:gd name="connsiteX46" fmla="*/ 3516652 w 4519987"/>
                    <a:gd name="connsiteY46" fmla="*/ 4114800 h 4496940"/>
                    <a:gd name="connsiteX47" fmla="*/ 3497602 w 4519987"/>
                    <a:gd name="connsiteY47" fmla="*/ 4143375 h 4496940"/>
                    <a:gd name="connsiteX48" fmla="*/ 3383302 w 4519987"/>
                    <a:gd name="connsiteY48" fmla="*/ 4210050 h 4496940"/>
                    <a:gd name="connsiteX49" fmla="*/ 3335677 w 4519987"/>
                    <a:gd name="connsiteY49" fmla="*/ 4238625 h 4496940"/>
                    <a:gd name="connsiteX50" fmla="*/ 3288052 w 4519987"/>
                    <a:gd name="connsiteY50" fmla="*/ 4248150 h 4496940"/>
                    <a:gd name="connsiteX51" fmla="*/ 3240427 w 4519987"/>
                    <a:gd name="connsiteY51" fmla="*/ 4267200 h 4496940"/>
                    <a:gd name="connsiteX52" fmla="*/ 3068977 w 4519987"/>
                    <a:gd name="connsiteY52" fmla="*/ 4286250 h 4496940"/>
                    <a:gd name="connsiteX53" fmla="*/ 2935627 w 4519987"/>
                    <a:gd name="connsiteY53" fmla="*/ 4333875 h 4496940"/>
                    <a:gd name="connsiteX54" fmla="*/ 2811802 w 4519987"/>
                    <a:gd name="connsiteY54" fmla="*/ 4371975 h 4496940"/>
                    <a:gd name="connsiteX55" fmla="*/ 2745127 w 4519987"/>
                    <a:gd name="connsiteY55" fmla="*/ 4410075 h 4496940"/>
                    <a:gd name="connsiteX56" fmla="*/ 2697502 w 4519987"/>
                    <a:gd name="connsiteY56" fmla="*/ 4429125 h 4496940"/>
                    <a:gd name="connsiteX57" fmla="*/ 2640352 w 4519987"/>
                    <a:gd name="connsiteY57" fmla="*/ 4457700 h 4496940"/>
                    <a:gd name="connsiteX58" fmla="*/ 2583202 w 4519987"/>
                    <a:gd name="connsiteY58" fmla="*/ 4467225 h 4496940"/>
                    <a:gd name="connsiteX59" fmla="*/ 2545102 w 4519987"/>
                    <a:gd name="connsiteY59" fmla="*/ 4486275 h 4496940"/>
                    <a:gd name="connsiteX60" fmla="*/ 2306977 w 4519987"/>
                    <a:gd name="connsiteY60" fmla="*/ 4476750 h 4496940"/>
                    <a:gd name="connsiteX61" fmla="*/ 2202202 w 4519987"/>
                    <a:gd name="connsiteY61" fmla="*/ 4457700 h 4496940"/>
                    <a:gd name="connsiteX62" fmla="*/ 2126002 w 4519987"/>
                    <a:gd name="connsiteY62" fmla="*/ 4429125 h 4496940"/>
                    <a:gd name="connsiteX63" fmla="*/ 1935502 w 4519987"/>
                    <a:gd name="connsiteY63" fmla="*/ 4400550 h 4496940"/>
                    <a:gd name="connsiteX64" fmla="*/ 1821202 w 4519987"/>
                    <a:gd name="connsiteY64" fmla="*/ 4371975 h 4496940"/>
                    <a:gd name="connsiteX65" fmla="*/ 1754527 w 4519987"/>
                    <a:gd name="connsiteY65" fmla="*/ 4352925 h 4496940"/>
                    <a:gd name="connsiteX66" fmla="*/ 1687852 w 4519987"/>
                    <a:gd name="connsiteY66" fmla="*/ 4343400 h 4496940"/>
                    <a:gd name="connsiteX67" fmla="*/ 1573552 w 4519987"/>
                    <a:gd name="connsiteY67" fmla="*/ 4305300 h 4496940"/>
                    <a:gd name="connsiteX68" fmla="*/ 1402102 w 4519987"/>
                    <a:gd name="connsiteY68" fmla="*/ 4276725 h 4496940"/>
                    <a:gd name="connsiteX69" fmla="*/ 1287802 w 4519987"/>
                    <a:gd name="connsiteY69" fmla="*/ 4229100 h 4496940"/>
                    <a:gd name="connsiteX70" fmla="*/ 1221127 w 4519987"/>
                    <a:gd name="connsiteY70" fmla="*/ 4200525 h 4496940"/>
                    <a:gd name="connsiteX71" fmla="*/ 1144927 w 4519987"/>
                    <a:gd name="connsiteY71" fmla="*/ 4171950 h 4496940"/>
                    <a:gd name="connsiteX72" fmla="*/ 1087777 w 4519987"/>
                    <a:gd name="connsiteY72" fmla="*/ 4143375 h 4496940"/>
                    <a:gd name="connsiteX73" fmla="*/ 1030627 w 4519987"/>
                    <a:gd name="connsiteY73" fmla="*/ 4124325 h 4496940"/>
                    <a:gd name="connsiteX74" fmla="*/ 925852 w 4519987"/>
                    <a:gd name="connsiteY74" fmla="*/ 4067175 h 4496940"/>
                    <a:gd name="connsiteX75" fmla="*/ 830602 w 4519987"/>
                    <a:gd name="connsiteY75" fmla="*/ 3981450 h 4496940"/>
                    <a:gd name="connsiteX76" fmla="*/ 763927 w 4519987"/>
                    <a:gd name="connsiteY76" fmla="*/ 3914775 h 4496940"/>
                    <a:gd name="connsiteX77" fmla="*/ 725827 w 4519987"/>
                    <a:gd name="connsiteY77" fmla="*/ 3876675 h 4496940"/>
                    <a:gd name="connsiteX78" fmla="*/ 697252 w 4519987"/>
                    <a:gd name="connsiteY78" fmla="*/ 3838575 h 4496940"/>
                    <a:gd name="connsiteX79" fmla="*/ 640102 w 4519987"/>
                    <a:gd name="connsiteY79" fmla="*/ 3781425 h 4496940"/>
                    <a:gd name="connsiteX80" fmla="*/ 611527 w 4519987"/>
                    <a:gd name="connsiteY80" fmla="*/ 3733800 h 4496940"/>
                    <a:gd name="connsiteX81" fmla="*/ 554377 w 4519987"/>
                    <a:gd name="connsiteY81" fmla="*/ 3657600 h 4496940"/>
                    <a:gd name="connsiteX82" fmla="*/ 525802 w 4519987"/>
                    <a:gd name="connsiteY82" fmla="*/ 3609975 h 4496940"/>
                    <a:gd name="connsiteX83" fmla="*/ 497227 w 4519987"/>
                    <a:gd name="connsiteY83" fmla="*/ 3552825 h 4496940"/>
                    <a:gd name="connsiteX84" fmla="*/ 440077 w 4519987"/>
                    <a:gd name="connsiteY84" fmla="*/ 3495675 h 4496940"/>
                    <a:gd name="connsiteX85" fmla="*/ 411502 w 4519987"/>
                    <a:gd name="connsiteY85" fmla="*/ 3448050 h 4496940"/>
                    <a:gd name="connsiteX86" fmla="*/ 278152 w 4519987"/>
                    <a:gd name="connsiteY86" fmla="*/ 3257550 h 4496940"/>
                    <a:gd name="connsiteX87" fmla="*/ 249577 w 4519987"/>
                    <a:gd name="connsiteY87" fmla="*/ 3200400 h 4496940"/>
                    <a:gd name="connsiteX88" fmla="*/ 240052 w 4519987"/>
                    <a:gd name="connsiteY88" fmla="*/ 3162300 h 4496940"/>
                    <a:gd name="connsiteX89" fmla="*/ 221002 w 4519987"/>
                    <a:gd name="connsiteY89" fmla="*/ 3105150 h 4496940"/>
                    <a:gd name="connsiteX90" fmla="*/ 173377 w 4519987"/>
                    <a:gd name="connsiteY90" fmla="*/ 3019425 h 4496940"/>
                    <a:gd name="connsiteX91" fmla="*/ 144802 w 4519987"/>
                    <a:gd name="connsiteY91" fmla="*/ 2924175 h 4496940"/>
                    <a:gd name="connsiteX92" fmla="*/ 68602 w 4519987"/>
                    <a:gd name="connsiteY92" fmla="*/ 2724150 h 4496940"/>
                    <a:gd name="connsiteX93" fmla="*/ 49552 w 4519987"/>
                    <a:gd name="connsiteY93" fmla="*/ 2638425 h 4496940"/>
                    <a:gd name="connsiteX94" fmla="*/ 40027 w 4519987"/>
                    <a:gd name="connsiteY94" fmla="*/ 2562225 h 4496940"/>
                    <a:gd name="connsiteX95" fmla="*/ 30502 w 4519987"/>
                    <a:gd name="connsiteY95" fmla="*/ 2514600 h 4496940"/>
                    <a:gd name="connsiteX96" fmla="*/ 11452 w 4519987"/>
                    <a:gd name="connsiteY96" fmla="*/ 2400300 h 4496940"/>
                    <a:gd name="connsiteX97" fmla="*/ 20977 w 4519987"/>
                    <a:gd name="connsiteY97" fmla="*/ 1905000 h 4496940"/>
                    <a:gd name="connsiteX98" fmla="*/ 30502 w 4519987"/>
                    <a:gd name="connsiteY98" fmla="*/ 1838325 h 4496940"/>
                    <a:gd name="connsiteX99" fmla="*/ 49552 w 4519987"/>
                    <a:gd name="connsiteY99" fmla="*/ 1781175 h 4496940"/>
                    <a:gd name="connsiteX100" fmla="*/ 59077 w 4519987"/>
                    <a:gd name="connsiteY100" fmla="*/ 1743075 h 4496940"/>
                    <a:gd name="connsiteX101" fmla="*/ 78127 w 4519987"/>
                    <a:gd name="connsiteY101" fmla="*/ 1685925 h 4496940"/>
                    <a:gd name="connsiteX102" fmla="*/ 87652 w 4519987"/>
                    <a:gd name="connsiteY102" fmla="*/ 1638300 h 4496940"/>
                    <a:gd name="connsiteX103" fmla="*/ 106702 w 4519987"/>
                    <a:gd name="connsiteY103" fmla="*/ 1590675 h 4496940"/>
                    <a:gd name="connsiteX104" fmla="*/ 135277 w 4519987"/>
                    <a:gd name="connsiteY104" fmla="*/ 1504950 h 4496940"/>
                    <a:gd name="connsiteX105" fmla="*/ 154327 w 4519987"/>
                    <a:gd name="connsiteY105" fmla="*/ 1419225 h 4496940"/>
                    <a:gd name="connsiteX106" fmla="*/ 230527 w 4519987"/>
                    <a:gd name="connsiteY106" fmla="*/ 1276350 h 4496940"/>
                    <a:gd name="connsiteX107" fmla="*/ 240052 w 4519987"/>
                    <a:gd name="connsiteY107" fmla="*/ 1247775 h 4496940"/>
                    <a:gd name="connsiteX108" fmla="*/ 268627 w 4519987"/>
                    <a:gd name="connsiteY108" fmla="*/ 1200150 h 4496940"/>
                    <a:gd name="connsiteX109" fmla="*/ 287677 w 4519987"/>
                    <a:gd name="connsiteY109" fmla="*/ 1152525 h 4496940"/>
                    <a:gd name="connsiteX110" fmla="*/ 316252 w 4519987"/>
                    <a:gd name="connsiteY110" fmla="*/ 1114425 h 4496940"/>
                    <a:gd name="connsiteX111" fmla="*/ 363877 w 4519987"/>
                    <a:gd name="connsiteY111" fmla="*/ 1038225 h 4496940"/>
                    <a:gd name="connsiteX112" fmla="*/ 382927 w 4519987"/>
                    <a:gd name="connsiteY112" fmla="*/ 1009650 h 4496940"/>
                    <a:gd name="connsiteX113" fmla="*/ 440077 w 4519987"/>
                    <a:gd name="connsiteY113" fmla="*/ 904875 h 4496940"/>
                    <a:gd name="connsiteX114" fmla="*/ 478177 w 4519987"/>
                    <a:gd name="connsiteY114" fmla="*/ 857250 h 4496940"/>
                    <a:gd name="connsiteX115" fmla="*/ 497227 w 4519987"/>
                    <a:gd name="connsiteY115" fmla="*/ 828675 h 4496940"/>
                    <a:gd name="connsiteX116" fmla="*/ 535327 w 4519987"/>
                    <a:gd name="connsiteY116" fmla="*/ 800100 h 4496940"/>
                    <a:gd name="connsiteX117" fmla="*/ 602002 w 4519987"/>
                    <a:gd name="connsiteY117" fmla="*/ 733425 h 4496940"/>
                    <a:gd name="connsiteX118" fmla="*/ 668677 w 4519987"/>
                    <a:gd name="connsiteY118" fmla="*/ 676275 h 4496940"/>
                    <a:gd name="connsiteX119" fmla="*/ 697252 w 4519987"/>
                    <a:gd name="connsiteY119" fmla="*/ 657225 h 4496940"/>
                    <a:gd name="connsiteX120" fmla="*/ 840127 w 4519987"/>
                    <a:gd name="connsiteY120" fmla="*/ 533400 h 4496940"/>
                    <a:gd name="connsiteX121" fmla="*/ 887752 w 4519987"/>
                    <a:gd name="connsiteY121" fmla="*/ 504825 h 4496940"/>
                    <a:gd name="connsiteX122" fmla="*/ 1167152 w 4519987"/>
                    <a:gd name="connsiteY122" fmla="*/ 311150 h 4496940"/>
                    <a:gd name="connsiteX123" fmla="*/ 1268752 w 4519987"/>
                    <a:gd name="connsiteY123" fmla="*/ 285750 h 4496940"/>
                    <a:gd name="connsiteX124" fmla="*/ 1411627 w 4519987"/>
                    <a:gd name="connsiteY124" fmla="*/ 190500 h 4496940"/>
                    <a:gd name="connsiteX125" fmla="*/ 1449727 w 4519987"/>
                    <a:gd name="connsiteY125" fmla="*/ 161925 h 4496940"/>
                    <a:gd name="connsiteX126" fmla="*/ 1525927 w 4519987"/>
                    <a:gd name="connsiteY126" fmla="*/ 152400 h 4496940"/>
                    <a:gd name="connsiteX127" fmla="*/ 1583077 w 4519987"/>
                    <a:gd name="connsiteY127" fmla="*/ 142875 h 4496940"/>
                    <a:gd name="connsiteX128" fmla="*/ 1716427 w 4519987"/>
                    <a:gd name="connsiteY128" fmla="*/ 123825 h 4496940"/>
                    <a:gd name="connsiteX129" fmla="*/ 1811677 w 4519987"/>
                    <a:gd name="connsiteY129" fmla="*/ 114300 h 4496940"/>
                    <a:gd name="connsiteX130" fmla="*/ 1859302 w 4519987"/>
                    <a:gd name="connsiteY130" fmla="*/ 104775 h 4496940"/>
                    <a:gd name="connsiteX131" fmla="*/ 1916452 w 4519987"/>
                    <a:gd name="connsiteY131" fmla="*/ 95250 h 4496940"/>
                    <a:gd name="connsiteX132" fmla="*/ 2030752 w 4519987"/>
                    <a:gd name="connsiteY132" fmla="*/ 66675 h 4496940"/>
                    <a:gd name="connsiteX133" fmla="*/ 2097427 w 4519987"/>
                    <a:gd name="connsiteY133" fmla="*/ 47625 h 4496940"/>
                    <a:gd name="connsiteX134" fmla="*/ 2164102 w 4519987"/>
                    <a:gd name="connsiteY134" fmla="*/ 38100 h 4496940"/>
                    <a:gd name="connsiteX135" fmla="*/ 2392702 w 4519987"/>
                    <a:gd name="connsiteY13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78577 w 4519987"/>
                    <a:gd name="connsiteY40" fmla="*/ 3848100 h 4496940"/>
                    <a:gd name="connsiteX41" fmla="*/ 3659527 w 4519987"/>
                    <a:gd name="connsiteY41" fmla="*/ 3971925 h 4496940"/>
                    <a:gd name="connsiteX42" fmla="*/ 3630952 w 4519987"/>
                    <a:gd name="connsiteY42" fmla="*/ 4010025 h 4496940"/>
                    <a:gd name="connsiteX43" fmla="*/ 3621427 w 4519987"/>
                    <a:gd name="connsiteY43" fmla="*/ 4038600 h 4496940"/>
                    <a:gd name="connsiteX44" fmla="*/ 3554752 w 4519987"/>
                    <a:gd name="connsiteY44" fmla="*/ 4095750 h 4496940"/>
                    <a:gd name="connsiteX45" fmla="*/ 3516652 w 4519987"/>
                    <a:gd name="connsiteY45" fmla="*/ 4114800 h 4496940"/>
                    <a:gd name="connsiteX46" fmla="*/ 3497602 w 4519987"/>
                    <a:gd name="connsiteY46" fmla="*/ 4143375 h 4496940"/>
                    <a:gd name="connsiteX47" fmla="*/ 3383302 w 4519987"/>
                    <a:gd name="connsiteY47" fmla="*/ 4210050 h 4496940"/>
                    <a:gd name="connsiteX48" fmla="*/ 3335677 w 4519987"/>
                    <a:gd name="connsiteY48" fmla="*/ 4238625 h 4496940"/>
                    <a:gd name="connsiteX49" fmla="*/ 3288052 w 4519987"/>
                    <a:gd name="connsiteY49" fmla="*/ 4248150 h 4496940"/>
                    <a:gd name="connsiteX50" fmla="*/ 3240427 w 4519987"/>
                    <a:gd name="connsiteY50" fmla="*/ 4267200 h 4496940"/>
                    <a:gd name="connsiteX51" fmla="*/ 3068977 w 4519987"/>
                    <a:gd name="connsiteY51" fmla="*/ 4286250 h 4496940"/>
                    <a:gd name="connsiteX52" fmla="*/ 2935627 w 4519987"/>
                    <a:gd name="connsiteY52" fmla="*/ 4333875 h 4496940"/>
                    <a:gd name="connsiteX53" fmla="*/ 2811802 w 4519987"/>
                    <a:gd name="connsiteY53" fmla="*/ 4371975 h 4496940"/>
                    <a:gd name="connsiteX54" fmla="*/ 2745127 w 4519987"/>
                    <a:gd name="connsiteY54" fmla="*/ 4410075 h 4496940"/>
                    <a:gd name="connsiteX55" fmla="*/ 2697502 w 4519987"/>
                    <a:gd name="connsiteY55" fmla="*/ 4429125 h 4496940"/>
                    <a:gd name="connsiteX56" fmla="*/ 2640352 w 4519987"/>
                    <a:gd name="connsiteY56" fmla="*/ 4457700 h 4496940"/>
                    <a:gd name="connsiteX57" fmla="*/ 2583202 w 4519987"/>
                    <a:gd name="connsiteY57" fmla="*/ 4467225 h 4496940"/>
                    <a:gd name="connsiteX58" fmla="*/ 2545102 w 4519987"/>
                    <a:gd name="connsiteY58" fmla="*/ 4486275 h 4496940"/>
                    <a:gd name="connsiteX59" fmla="*/ 2306977 w 4519987"/>
                    <a:gd name="connsiteY59" fmla="*/ 4476750 h 4496940"/>
                    <a:gd name="connsiteX60" fmla="*/ 2202202 w 4519987"/>
                    <a:gd name="connsiteY60" fmla="*/ 4457700 h 4496940"/>
                    <a:gd name="connsiteX61" fmla="*/ 2126002 w 4519987"/>
                    <a:gd name="connsiteY61" fmla="*/ 4429125 h 4496940"/>
                    <a:gd name="connsiteX62" fmla="*/ 1935502 w 4519987"/>
                    <a:gd name="connsiteY62" fmla="*/ 4400550 h 4496940"/>
                    <a:gd name="connsiteX63" fmla="*/ 1821202 w 4519987"/>
                    <a:gd name="connsiteY63" fmla="*/ 4371975 h 4496940"/>
                    <a:gd name="connsiteX64" fmla="*/ 1754527 w 4519987"/>
                    <a:gd name="connsiteY64" fmla="*/ 4352925 h 4496940"/>
                    <a:gd name="connsiteX65" fmla="*/ 1687852 w 4519987"/>
                    <a:gd name="connsiteY65" fmla="*/ 4343400 h 4496940"/>
                    <a:gd name="connsiteX66" fmla="*/ 1573552 w 4519987"/>
                    <a:gd name="connsiteY66" fmla="*/ 4305300 h 4496940"/>
                    <a:gd name="connsiteX67" fmla="*/ 1402102 w 4519987"/>
                    <a:gd name="connsiteY67" fmla="*/ 4276725 h 4496940"/>
                    <a:gd name="connsiteX68" fmla="*/ 1287802 w 4519987"/>
                    <a:gd name="connsiteY68" fmla="*/ 4229100 h 4496940"/>
                    <a:gd name="connsiteX69" fmla="*/ 1221127 w 4519987"/>
                    <a:gd name="connsiteY69" fmla="*/ 4200525 h 4496940"/>
                    <a:gd name="connsiteX70" fmla="*/ 1144927 w 4519987"/>
                    <a:gd name="connsiteY70" fmla="*/ 4171950 h 4496940"/>
                    <a:gd name="connsiteX71" fmla="*/ 1087777 w 4519987"/>
                    <a:gd name="connsiteY71" fmla="*/ 4143375 h 4496940"/>
                    <a:gd name="connsiteX72" fmla="*/ 1030627 w 4519987"/>
                    <a:gd name="connsiteY72" fmla="*/ 4124325 h 4496940"/>
                    <a:gd name="connsiteX73" fmla="*/ 925852 w 4519987"/>
                    <a:gd name="connsiteY73" fmla="*/ 4067175 h 4496940"/>
                    <a:gd name="connsiteX74" fmla="*/ 830602 w 4519987"/>
                    <a:gd name="connsiteY74" fmla="*/ 3981450 h 4496940"/>
                    <a:gd name="connsiteX75" fmla="*/ 763927 w 4519987"/>
                    <a:gd name="connsiteY75" fmla="*/ 3914775 h 4496940"/>
                    <a:gd name="connsiteX76" fmla="*/ 725827 w 4519987"/>
                    <a:gd name="connsiteY76" fmla="*/ 3876675 h 4496940"/>
                    <a:gd name="connsiteX77" fmla="*/ 697252 w 4519987"/>
                    <a:gd name="connsiteY77" fmla="*/ 3838575 h 4496940"/>
                    <a:gd name="connsiteX78" fmla="*/ 640102 w 4519987"/>
                    <a:gd name="connsiteY78" fmla="*/ 3781425 h 4496940"/>
                    <a:gd name="connsiteX79" fmla="*/ 611527 w 4519987"/>
                    <a:gd name="connsiteY79" fmla="*/ 3733800 h 4496940"/>
                    <a:gd name="connsiteX80" fmla="*/ 554377 w 4519987"/>
                    <a:gd name="connsiteY80" fmla="*/ 3657600 h 4496940"/>
                    <a:gd name="connsiteX81" fmla="*/ 525802 w 4519987"/>
                    <a:gd name="connsiteY81" fmla="*/ 3609975 h 4496940"/>
                    <a:gd name="connsiteX82" fmla="*/ 497227 w 4519987"/>
                    <a:gd name="connsiteY82" fmla="*/ 3552825 h 4496940"/>
                    <a:gd name="connsiteX83" fmla="*/ 440077 w 4519987"/>
                    <a:gd name="connsiteY83" fmla="*/ 3495675 h 4496940"/>
                    <a:gd name="connsiteX84" fmla="*/ 411502 w 4519987"/>
                    <a:gd name="connsiteY84" fmla="*/ 3448050 h 4496940"/>
                    <a:gd name="connsiteX85" fmla="*/ 278152 w 4519987"/>
                    <a:gd name="connsiteY85" fmla="*/ 3257550 h 4496940"/>
                    <a:gd name="connsiteX86" fmla="*/ 249577 w 4519987"/>
                    <a:gd name="connsiteY86" fmla="*/ 3200400 h 4496940"/>
                    <a:gd name="connsiteX87" fmla="*/ 240052 w 4519987"/>
                    <a:gd name="connsiteY87" fmla="*/ 3162300 h 4496940"/>
                    <a:gd name="connsiteX88" fmla="*/ 221002 w 4519987"/>
                    <a:gd name="connsiteY88" fmla="*/ 3105150 h 4496940"/>
                    <a:gd name="connsiteX89" fmla="*/ 173377 w 4519987"/>
                    <a:gd name="connsiteY89" fmla="*/ 3019425 h 4496940"/>
                    <a:gd name="connsiteX90" fmla="*/ 144802 w 4519987"/>
                    <a:gd name="connsiteY90" fmla="*/ 2924175 h 4496940"/>
                    <a:gd name="connsiteX91" fmla="*/ 68602 w 4519987"/>
                    <a:gd name="connsiteY91" fmla="*/ 2724150 h 4496940"/>
                    <a:gd name="connsiteX92" fmla="*/ 49552 w 4519987"/>
                    <a:gd name="connsiteY92" fmla="*/ 2638425 h 4496940"/>
                    <a:gd name="connsiteX93" fmla="*/ 40027 w 4519987"/>
                    <a:gd name="connsiteY93" fmla="*/ 2562225 h 4496940"/>
                    <a:gd name="connsiteX94" fmla="*/ 30502 w 4519987"/>
                    <a:gd name="connsiteY94" fmla="*/ 2514600 h 4496940"/>
                    <a:gd name="connsiteX95" fmla="*/ 11452 w 4519987"/>
                    <a:gd name="connsiteY95" fmla="*/ 2400300 h 4496940"/>
                    <a:gd name="connsiteX96" fmla="*/ 20977 w 4519987"/>
                    <a:gd name="connsiteY96" fmla="*/ 1905000 h 4496940"/>
                    <a:gd name="connsiteX97" fmla="*/ 30502 w 4519987"/>
                    <a:gd name="connsiteY97" fmla="*/ 1838325 h 4496940"/>
                    <a:gd name="connsiteX98" fmla="*/ 49552 w 4519987"/>
                    <a:gd name="connsiteY98" fmla="*/ 1781175 h 4496940"/>
                    <a:gd name="connsiteX99" fmla="*/ 59077 w 4519987"/>
                    <a:gd name="connsiteY99" fmla="*/ 1743075 h 4496940"/>
                    <a:gd name="connsiteX100" fmla="*/ 78127 w 4519987"/>
                    <a:gd name="connsiteY100" fmla="*/ 1685925 h 4496940"/>
                    <a:gd name="connsiteX101" fmla="*/ 87652 w 4519987"/>
                    <a:gd name="connsiteY101" fmla="*/ 1638300 h 4496940"/>
                    <a:gd name="connsiteX102" fmla="*/ 106702 w 4519987"/>
                    <a:gd name="connsiteY102" fmla="*/ 1590675 h 4496940"/>
                    <a:gd name="connsiteX103" fmla="*/ 135277 w 4519987"/>
                    <a:gd name="connsiteY103" fmla="*/ 1504950 h 4496940"/>
                    <a:gd name="connsiteX104" fmla="*/ 154327 w 4519987"/>
                    <a:gd name="connsiteY104" fmla="*/ 1419225 h 4496940"/>
                    <a:gd name="connsiteX105" fmla="*/ 230527 w 4519987"/>
                    <a:gd name="connsiteY105" fmla="*/ 1276350 h 4496940"/>
                    <a:gd name="connsiteX106" fmla="*/ 240052 w 4519987"/>
                    <a:gd name="connsiteY106" fmla="*/ 1247775 h 4496940"/>
                    <a:gd name="connsiteX107" fmla="*/ 268627 w 4519987"/>
                    <a:gd name="connsiteY107" fmla="*/ 1200150 h 4496940"/>
                    <a:gd name="connsiteX108" fmla="*/ 287677 w 4519987"/>
                    <a:gd name="connsiteY108" fmla="*/ 1152525 h 4496940"/>
                    <a:gd name="connsiteX109" fmla="*/ 316252 w 4519987"/>
                    <a:gd name="connsiteY109" fmla="*/ 1114425 h 4496940"/>
                    <a:gd name="connsiteX110" fmla="*/ 363877 w 4519987"/>
                    <a:gd name="connsiteY110" fmla="*/ 1038225 h 4496940"/>
                    <a:gd name="connsiteX111" fmla="*/ 382927 w 4519987"/>
                    <a:gd name="connsiteY111" fmla="*/ 1009650 h 4496940"/>
                    <a:gd name="connsiteX112" fmla="*/ 440077 w 4519987"/>
                    <a:gd name="connsiteY112" fmla="*/ 904875 h 4496940"/>
                    <a:gd name="connsiteX113" fmla="*/ 478177 w 4519987"/>
                    <a:gd name="connsiteY113" fmla="*/ 857250 h 4496940"/>
                    <a:gd name="connsiteX114" fmla="*/ 497227 w 4519987"/>
                    <a:gd name="connsiteY114" fmla="*/ 828675 h 4496940"/>
                    <a:gd name="connsiteX115" fmla="*/ 535327 w 4519987"/>
                    <a:gd name="connsiteY115" fmla="*/ 800100 h 4496940"/>
                    <a:gd name="connsiteX116" fmla="*/ 602002 w 4519987"/>
                    <a:gd name="connsiteY116" fmla="*/ 733425 h 4496940"/>
                    <a:gd name="connsiteX117" fmla="*/ 668677 w 4519987"/>
                    <a:gd name="connsiteY117" fmla="*/ 676275 h 4496940"/>
                    <a:gd name="connsiteX118" fmla="*/ 697252 w 4519987"/>
                    <a:gd name="connsiteY118" fmla="*/ 657225 h 4496940"/>
                    <a:gd name="connsiteX119" fmla="*/ 840127 w 4519987"/>
                    <a:gd name="connsiteY119" fmla="*/ 533400 h 4496940"/>
                    <a:gd name="connsiteX120" fmla="*/ 887752 w 4519987"/>
                    <a:gd name="connsiteY120" fmla="*/ 504825 h 4496940"/>
                    <a:gd name="connsiteX121" fmla="*/ 1167152 w 4519987"/>
                    <a:gd name="connsiteY121" fmla="*/ 311150 h 4496940"/>
                    <a:gd name="connsiteX122" fmla="*/ 1268752 w 4519987"/>
                    <a:gd name="connsiteY122" fmla="*/ 285750 h 4496940"/>
                    <a:gd name="connsiteX123" fmla="*/ 1411627 w 4519987"/>
                    <a:gd name="connsiteY123" fmla="*/ 190500 h 4496940"/>
                    <a:gd name="connsiteX124" fmla="*/ 1449727 w 4519987"/>
                    <a:gd name="connsiteY124" fmla="*/ 161925 h 4496940"/>
                    <a:gd name="connsiteX125" fmla="*/ 1525927 w 4519987"/>
                    <a:gd name="connsiteY125" fmla="*/ 152400 h 4496940"/>
                    <a:gd name="connsiteX126" fmla="*/ 1583077 w 4519987"/>
                    <a:gd name="connsiteY126" fmla="*/ 142875 h 4496940"/>
                    <a:gd name="connsiteX127" fmla="*/ 1716427 w 4519987"/>
                    <a:gd name="connsiteY127" fmla="*/ 123825 h 4496940"/>
                    <a:gd name="connsiteX128" fmla="*/ 1811677 w 4519987"/>
                    <a:gd name="connsiteY128" fmla="*/ 114300 h 4496940"/>
                    <a:gd name="connsiteX129" fmla="*/ 1859302 w 4519987"/>
                    <a:gd name="connsiteY129" fmla="*/ 104775 h 4496940"/>
                    <a:gd name="connsiteX130" fmla="*/ 1916452 w 4519987"/>
                    <a:gd name="connsiteY130" fmla="*/ 95250 h 4496940"/>
                    <a:gd name="connsiteX131" fmla="*/ 2030752 w 4519987"/>
                    <a:gd name="connsiteY131" fmla="*/ 66675 h 4496940"/>
                    <a:gd name="connsiteX132" fmla="*/ 2097427 w 4519987"/>
                    <a:gd name="connsiteY132" fmla="*/ 47625 h 4496940"/>
                    <a:gd name="connsiteX133" fmla="*/ 2164102 w 4519987"/>
                    <a:gd name="connsiteY133" fmla="*/ 38100 h 4496940"/>
                    <a:gd name="connsiteX134" fmla="*/ 2392702 w 4519987"/>
                    <a:gd name="connsiteY13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59527 w 4519987"/>
                    <a:gd name="connsiteY40" fmla="*/ 3971925 h 4496940"/>
                    <a:gd name="connsiteX41" fmla="*/ 3630952 w 4519987"/>
                    <a:gd name="connsiteY41" fmla="*/ 4010025 h 4496940"/>
                    <a:gd name="connsiteX42" fmla="*/ 3621427 w 4519987"/>
                    <a:gd name="connsiteY42" fmla="*/ 4038600 h 4496940"/>
                    <a:gd name="connsiteX43" fmla="*/ 3554752 w 4519987"/>
                    <a:gd name="connsiteY43" fmla="*/ 4095750 h 4496940"/>
                    <a:gd name="connsiteX44" fmla="*/ 3516652 w 4519987"/>
                    <a:gd name="connsiteY44" fmla="*/ 4114800 h 4496940"/>
                    <a:gd name="connsiteX45" fmla="*/ 3497602 w 4519987"/>
                    <a:gd name="connsiteY45" fmla="*/ 4143375 h 4496940"/>
                    <a:gd name="connsiteX46" fmla="*/ 3383302 w 4519987"/>
                    <a:gd name="connsiteY46" fmla="*/ 4210050 h 4496940"/>
                    <a:gd name="connsiteX47" fmla="*/ 3335677 w 4519987"/>
                    <a:gd name="connsiteY47" fmla="*/ 4238625 h 4496940"/>
                    <a:gd name="connsiteX48" fmla="*/ 3288052 w 4519987"/>
                    <a:gd name="connsiteY48" fmla="*/ 4248150 h 4496940"/>
                    <a:gd name="connsiteX49" fmla="*/ 3240427 w 4519987"/>
                    <a:gd name="connsiteY49" fmla="*/ 4267200 h 4496940"/>
                    <a:gd name="connsiteX50" fmla="*/ 3068977 w 4519987"/>
                    <a:gd name="connsiteY50" fmla="*/ 4286250 h 4496940"/>
                    <a:gd name="connsiteX51" fmla="*/ 2935627 w 4519987"/>
                    <a:gd name="connsiteY51" fmla="*/ 4333875 h 4496940"/>
                    <a:gd name="connsiteX52" fmla="*/ 2811802 w 4519987"/>
                    <a:gd name="connsiteY52" fmla="*/ 4371975 h 4496940"/>
                    <a:gd name="connsiteX53" fmla="*/ 2745127 w 4519987"/>
                    <a:gd name="connsiteY53" fmla="*/ 4410075 h 4496940"/>
                    <a:gd name="connsiteX54" fmla="*/ 2697502 w 4519987"/>
                    <a:gd name="connsiteY54" fmla="*/ 4429125 h 4496940"/>
                    <a:gd name="connsiteX55" fmla="*/ 2640352 w 4519987"/>
                    <a:gd name="connsiteY55" fmla="*/ 4457700 h 4496940"/>
                    <a:gd name="connsiteX56" fmla="*/ 2583202 w 4519987"/>
                    <a:gd name="connsiteY56" fmla="*/ 4467225 h 4496940"/>
                    <a:gd name="connsiteX57" fmla="*/ 2545102 w 4519987"/>
                    <a:gd name="connsiteY57" fmla="*/ 4486275 h 4496940"/>
                    <a:gd name="connsiteX58" fmla="*/ 2306977 w 4519987"/>
                    <a:gd name="connsiteY58" fmla="*/ 4476750 h 4496940"/>
                    <a:gd name="connsiteX59" fmla="*/ 2202202 w 4519987"/>
                    <a:gd name="connsiteY59" fmla="*/ 4457700 h 4496940"/>
                    <a:gd name="connsiteX60" fmla="*/ 2126002 w 4519987"/>
                    <a:gd name="connsiteY60" fmla="*/ 4429125 h 4496940"/>
                    <a:gd name="connsiteX61" fmla="*/ 1935502 w 4519987"/>
                    <a:gd name="connsiteY61" fmla="*/ 4400550 h 4496940"/>
                    <a:gd name="connsiteX62" fmla="*/ 1821202 w 4519987"/>
                    <a:gd name="connsiteY62" fmla="*/ 4371975 h 4496940"/>
                    <a:gd name="connsiteX63" fmla="*/ 1754527 w 4519987"/>
                    <a:gd name="connsiteY63" fmla="*/ 4352925 h 4496940"/>
                    <a:gd name="connsiteX64" fmla="*/ 1687852 w 4519987"/>
                    <a:gd name="connsiteY64" fmla="*/ 4343400 h 4496940"/>
                    <a:gd name="connsiteX65" fmla="*/ 1573552 w 4519987"/>
                    <a:gd name="connsiteY65" fmla="*/ 4305300 h 4496940"/>
                    <a:gd name="connsiteX66" fmla="*/ 1402102 w 4519987"/>
                    <a:gd name="connsiteY66" fmla="*/ 4276725 h 4496940"/>
                    <a:gd name="connsiteX67" fmla="*/ 1287802 w 4519987"/>
                    <a:gd name="connsiteY67" fmla="*/ 4229100 h 4496940"/>
                    <a:gd name="connsiteX68" fmla="*/ 1221127 w 4519987"/>
                    <a:gd name="connsiteY68" fmla="*/ 4200525 h 4496940"/>
                    <a:gd name="connsiteX69" fmla="*/ 1144927 w 4519987"/>
                    <a:gd name="connsiteY69" fmla="*/ 4171950 h 4496940"/>
                    <a:gd name="connsiteX70" fmla="*/ 1087777 w 4519987"/>
                    <a:gd name="connsiteY70" fmla="*/ 4143375 h 4496940"/>
                    <a:gd name="connsiteX71" fmla="*/ 1030627 w 4519987"/>
                    <a:gd name="connsiteY71" fmla="*/ 4124325 h 4496940"/>
                    <a:gd name="connsiteX72" fmla="*/ 925852 w 4519987"/>
                    <a:gd name="connsiteY72" fmla="*/ 4067175 h 4496940"/>
                    <a:gd name="connsiteX73" fmla="*/ 830602 w 4519987"/>
                    <a:gd name="connsiteY73" fmla="*/ 3981450 h 4496940"/>
                    <a:gd name="connsiteX74" fmla="*/ 763927 w 4519987"/>
                    <a:gd name="connsiteY74" fmla="*/ 3914775 h 4496940"/>
                    <a:gd name="connsiteX75" fmla="*/ 725827 w 4519987"/>
                    <a:gd name="connsiteY75" fmla="*/ 3876675 h 4496940"/>
                    <a:gd name="connsiteX76" fmla="*/ 697252 w 4519987"/>
                    <a:gd name="connsiteY76" fmla="*/ 3838575 h 4496940"/>
                    <a:gd name="connsiteX77" fmla="*/ 640102 w 4519987"/>
                    <a:gd name="connsiteY77" fmla="*/ 3781425 h 4496940"/>
                    <a:gd name="connsiteX78" fmla="*/ 611527 w 4519987"/>
                    <a:gd name="connsiteY78" fmla="*/ 3733800 h 4496940"/>
                    <a:gd name="connsiteX79" fmla="*/ 554377 w 4519987"/>
                    <a:gd name="connsiteY79" fmla="*/ 3657600 h 4496940"/>
                    <a:gd name="connsiteX80" fmla="*/ 525802 w 4519987"/>
                    <a:gd name="connsiteY80" fmla="*/ 3609975 h 4496940"/>
                    <a:gd name="connsiteX81" fmla="*/ 497227 w 4519987"/>
                    <a:gd name="connsiteY81" fmla="*/ 3552825 h 4496940"/>
                    <a:gd name="connsiteX82" fmla="*/ 440077 w 4519987"/>
                    <a:gd name="connsiteY82" fmla="*/ 3495675 h 4496940"/>
                    <a:gd name="connsiteX83" fmla="*/ 411502 w 4519987"/>
                    <a:gd name="connsiteY83" fmla="*/ 3448050 h 4496940"/>
                    <a:gd name="connsiteX84" fmla="*/ 278152 w 4519987"/>
                    <a:gd name="connsiteY84" fmla="*/ 3257550 h 4496940"/>
                    <a:gd name="connsiteX85" fmla="*/ 249577 w 4519987"/>
                    <a:gd name="connsiteY85" fmla="*/ 3200400 h 4496940"/>
                    <a:gd name="connsiteX86" fmla="*/ 240052 w 4519987"/>
                    <a:gd name="connsiteY86" fmla="*/ 3162300 h 4496940"/>
                    <a:gd name="connsiteX87" fmla="*/ 221002 w 4519987"/>
                    <a:gd name="connsiteY87" fmla="*/ 3105150 h 4496940"/>
                    <a:gd name="connsiteX88" fmla="*/ 173377 w 4519987"/>
                    <a:gd name="connsiteY88" fmla="*/ 3019425 h 4496940"/>
                    <a:gd name="connsiteX89" fmla="*/ 144802 w 4519987"/>
                    <a:gd name="connsiteY89" fmla="*/ 2924175 h 4496940"/>
                    <a:gd name="connsiteX90" fmla="*/ 68602 w 4519987"/>
                    <a:gd name="connsiteY90" fmla="*/ 2724150 h 4496940"/>
                    <a:gd name="connsiteX91" fmla="*/ 49552 w 4519987"/>
                    <a:gd name="connsiteY91" fmla="*/ 2638425 h 4496940"/>
                    <a:gd name="connsiteX92" fmla="*/ 40027 w 4519987"/>
                    <a:gd name="connsiteY92" fmla="*/ 2562225 h 4496940"/>
                    <a:gd name="connsiteX93" fmla="*/ 30502 w 4519987"/>
                    <a:gd name="connsiteY93" fmla="*/ 2514600 h 4496940"/>
                    <a:gd name="connsiteX94" fmla="*/ 11452 w 4519987"/>
                    <a:gd name="connsiteY94" fmla="*/ 2400300 h 4496940"/>
                    <a:gd name="connsiteX95" fmla="*/ 20977 w 4519987"/>
                    <a:gd name="connsiteY95" fmla="*/ 1905000 h 4496940"/>
                    <a:gd name="connsiteX96" fmla="*/ 30502 w 4519987"/>
                    <a:gd name="connsiteY96" fmla="*/ 1838325 h 4496940"/>
                    <a:gd name="connsiteX97" fmla="*/ 49552 w 4519987"/>
                    <a:gd name="connsiteY97" fmla="*/ 1781175 h 4496940"/>
                    <a:gd name="connsiteX98" fmla="*/ 59077 w 4519987"/>
                    <a:gd name="connsiteY98" fmla="*/ 1743075 h 4496940"/>
                    <a:gd name="connsiteX99" fmla="*/ 78127 w 4519987"/>
                    <a:gd name="connsiteY99" fmla="*/ 1685925 h 4496940"/>
                    <a:gd name="connsiteX100" fmla="*/ 87652 w 4519987"/>
                    <a:gd name="connsiteY100" fmla="*/ 1638300 h 4496940"/>
                    <a:gd name="connsiteX101" fmla="*/ 106702 w 4519987"/>
                    <a:gd name="connsiteY101" fmla="*/ 1590675 h 4496940"/>
                    <a:gd name="connsiteX102" fmla="*/ 135277 w 4519987"/>
                    <a:gd name="connsiteY102" fmla="*/ 1504950 h 4496940"/>
                    <a:gd name="connsiteX103" fmla="*/ 154327 w 4519987"/>
                    <a:gd name="connsiteY103" fmla="*/ 1419225 h 4496940"/>
                    <a:gd name="connsiteX104" fmla="*/ 230527 w 4519987"/>
                    <a:gd name="connsiteY104" fmla="*/ 1276350 h 4496940"/>
                    <a:gd name="connsiteX105" fmla="*/ 240052 w 4519987"/>
                    <a:gd name="connsiteY105" fmla="*/ 1247775 h 4496940"/>
                    <a:gd name="connsiteX106" fmla="*/ 268627 w 4519987"/>
                    <a:gd name="connsiteY106" fmla="*/ 1200150 h 4496940"/>
                    <a:gd name="connsiteX107" fmla="*/ 287677 w 4519987"/>
                    <a:gd name="connsiteY107" fmla="*/ 1152525 h 4496940"/>
                    <a:gd name="connsiteX108" fmla="*/ 316252 w 4519987"/>
                    <a:gd name="connsiteY108" fmla="*/ 1114425 h 4496940"/>
                    <a:gd name="connsiteX109" fmla="*/ 363877 w 4519987"/>
                    <a:gd name="connsiteY109" fmla="*/ 1038225 h 4496940"/>
                    <a:gd name="connsiteX110" fmla="*/ 382927 w 4519987"/>
                    <a:gd name="connsiteY110" fmla="*/ 1009650 h 4496940"/>
                    <a:gd name="connsiteX111" fmla="*/ 440077 w 4519987"/>
                    <a:gd name="connsiteY111" fmla="*/ 904875 h 4496940"/>
                    <a:gd name="connsiteX112" fmla="*/ 478177 w 4519987"/>
                    <a:gd name="connsiteY112" fmla="*/ 857250 h 4496940"/>
                    <a:gd name="connsiteX113" fmla="*/ 497227 w 4519987"/>
                    <a:gd name="connsiteY113" fmla="*/ 828675 h 4496940"/>
                    <a:gd name="connsiteX114" fmla="*/ 535327 w 4519987"/>
                    <a:gd name="connsiteY114" fmla="*/ 800100 h 4496940"/>
                    <a:gd name="connsiteX115" fmla="*/ 602002 w 4519987"/>
                    <a:gd name="connsiteY115" fmla="*/ 733425 h 4496940"/>
                    <a:gd name="connsiteX116" fmla="*/ 668677 w 4519987"/>
                    <a:gd name="connsiteY116" fmla="*/ 676275 h 4496940"/>
                    <a:gd name="connsiteX117" fmla="*/ 697252 w 4519987"/>
                    <a:gd name="connsiteY117" fmla="*/ 657225 h 4496940"/>
                    <a:gd name="connsiteX118" fmla="*/ 840127 w 4519987"/>
                    <a:gd name="connsiteY118" fmla="*/ 533400 h 4496940"/>
                    <a:gd name="connsiteX119" fmla="*/ 887752 w 4519987"/>
                    <a:gd name="connsiteY119" fmla="*/ 504825 h 4496940"/>
                    <a:gd name="connsiteX120" fmla="*/ 1167152 w 4519987"/>
                    <a:gd name="connsiteY120" fmla="*/ 311150 h 4496940"/>
                    <a:gd name="connsiteX121" fmla="*/ 1268752 w 4519987"/>
                    <a:gd name="connsiteY121" fmla="*/ 285750 h 4496940"/>
                    <a:gd name="connsiteX122" fmla="*/ 1411627 w 4519987"/>
                    <a:gd name="connsiteY122" fmla="*/ 190500 h 4496940"/>
                    <a:gd name="connsiteX123" fmla="*/ 1449727 w 4519987"/>
                    <a:gd name="connsiteY123" fmla="*/ 161925 h 4496940"/>
                    <a:gd name="connsiteX124" fmla="*/ 1525927 w 4519987"/>
                    <a:gd name="connsiteY124" fmla="*/ 152400 h 4496940"/>
                    <a:gd name="connsiteX125" fmla="*/ 1583077 w 4519987"/>
                    <a:gd name="connsiteY125" fmla="*/ 142875 h 4496940"/>
                    <a:gd name="connsiteX126" fmla="*/ 1716427 w 4519987"/>
                    <a:gd name="connsiteY126" fmla="*/ 123825 h 4496940"/>
                    <a:gd name="connsiteX127" fmla="*/ 1811677 w 4519987"/>
                    <a:gd name="connsiteY127" fmla="*/ 114300 h 4496940"/>
                    <a:gd name="connsiteX128" fmla="*/ 1859302 w 4519987"/>
                    <a:gd name="connsiteY128" fmla="*/ 104775 h 4496940"/>
                    <a:gd name="connsiteX129" fmla="*/ 1916452 w 4519987"/>
                    <a:gd name="connsiteY129" fmla="*/ 95250 h 4496940"/>
                    <a:gd name="connsiteX130" fmla="*/ 2030752 w 4519987"/>
                    <a:gd name="connsiteY130" fmla="*/ 66675 h 4496940"/>
                    <a:gd name="connsiteX131" fmla="*/ 2097427 w 4519987"/>
                    <a:gd name="connsiteY131" fmla="*/ 47625 h 4496940"/>
                    <a:gd name="connsiteX132" fmla="*/ 2164102 w 4519987"/>
                    <a:gd name="connsiteY132" fmla="*/ 38100 h 4496940"/>
                    <a:gd name="connsiteX133" fmla="*/ 2392702 w 4519987"/>
                    <a:gd name="connsiteY13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659527 w 4519987"/>
                    <a:gd name="connsiteY39" fmla="*/ 3971925 h 4496940"/>
                    <a:gd name="connsiteX40" fmla="*/ 3630952 w 4519987"/>
                    <a:gd name="connsiteY40" fmla="*/ 4010025 h 4496940"/>
                    <a:gd name="connsiteX41" fmla="*/ 3621427 w 4519987"/>
                    <a:gd name="connsiteY41" fmla="*/ 4038600 h 4496940"/>
                    <a:gd name="connsiteX42" fmla="*/ 3554752 w 4519987"/>
                    <a:gd name="connsiteY42" fmla="*/ 4095750 h 4496940"/>
                    <a:gd name="connsiteX43" fmla="*/ 3516652 w 4519987"/>
                    <a:gd name="connsiteY43" fmla="*/ 4114800 h 4496940"/>
                    <a:gd name="connsiteX44" fmla="*/ 3497602 w 4519987"/>
                    <a:gd name="connsiteY44" fmla="*/ 4143375 h 4496940"/>
                    <a:gd name="connsiteX45" fmla="*/ 3383302 w 4519987"/>
                    <a:gd name="connsiteY45" fmla="*/ 4210050 h 4496940"/>
                    <a:gd name="connsiteX46" fmla="*/ 3335677 w 4519987"/>
                    <a:gd name="connsiteY46" fmla="*/ 4238625 h 4496940"/>
                    <a:gd name="connsiteX47" fmla="*/ 3288052 w 4519987"/>
                    <a:gd name="connsiteY47" fmla="*/ 4248150 h 4496940"/>
                    <a:gd name="connsiteX48" fmla="*/ 3240427 w 4519987"/>
                    <a:gd name="connsiteY48" fmla="*/ 4267200 h 4496940"/>
                    <a:gd name="connsiteX49" fmla="*/ 3068977 w 4519987"/>
                    <a:gd name="connsiteY49" fmla="*/ 4286250 h 4496940"/>
                    <a:gd name="connsiteX50" fmla="*/ 2935627 w 4519987"/>
                    <a:gd name="connsiteY50" fmla="*/ 4333875 h 4496940"/>
                    <a:gd name="connsiteX51" fmla="*/ 2811802 w 4519987"/>
                    <a:gd name="connsiteY51" fmla="*/ 4371975 h 4496940"/>
                    <a:gd name="connsiteX52" fmla="*/ 2745127 w 4519987"/>
                    <a:gd name="connsiteY52" fmla="*/ 4410075 h 4496940"/>
                    <a:gd name="connsiteX53" fmla="*/ 2697502 w 4519987"/>
                    <a:gd name="connsiteY53" fmla="*/ 4429125 h 4496940"/>
                    <a:gd name="connsiteX54" fmla="*/ 2640352 w 4519987"/>
                    <a:gd name="connsiteY54" fmla="*/ 4457700 h 4496940"/>
                    <a:gd name="connsiteX55" fmla="*/ 2583202 w 4519987"/>
                    <a:gd name="connsiteY55" fmla="*/ 4467225 h 4496940"/>
                    <a:gd name="connsiteX56" fmla="*/ 2545102 w 4519987"/>
                    <a:gd name="connsiteY56" fmla="*/ 4486275 h 4496940"/>
                    <a:gd name="connsiteX57" fmla="*/ 2306977 w 4519987"/>
                    <a:gd name="connsiteY57" fmla="*/ 4476750 h 4496940"/>
                    <a:gd name="connsiteX58" fmla="*/ 2202202 w 4519987"/>
                    <a:gd name="connsiteY58" fmla="*/ 4457700 h 4496940"/>
                    <a:gd name="connsiteX59" fmla="*/ 2126002 w 4519987"/>
                    <a:gd name="connsiteY59" fmla="*/ 4429125 h 4496940"/>
                    <a:gd name="connsiteX60" fmla="*/ 1935502 w 4519987"/>
                    <a:gd name="connsiteY60" fmla="*/ 4400550 h 4496940"/>
                    <a:gd name="connsiteX61" fmla="*/ 1821202 w 4519987"/>
                    <a:gd name="connsiteY61" fmla="*/ 4371975 h 4496940"/>
                    <a:gd name="connsiteX62" fmla="*/ 1754527 w 4519987"/>
                    <a:gd name="connsiteY62" fmla="*/ 4352925 h 4496940"/>
                    <a:gd name="connsiteX63" fmla="*/ 1687852 w 4519987"/>
                    <a:gd name="connsiteY63" fmla="*/ 4343400 h 4496940"/>
                    <a:gd name="connsiteX64" fmla="*/ 1573552 w 4519987"/>
                    <a:gd name="connsiteY64" fmla="*/ 4305300 h 4496940"/>
                    <a:gd name="connsiteX65" fmla="*/ 1402102 w 4519987"/>
                    <a:gd name="connsiteY65" fmla="*/ 4276725 h 4496940"/>
                    <a:gd name="connsiteX66" fmla="*/ 1287802 w 4519987"/>
                    <a:gd name="connsiteY66" fmla="*/ 4229100 h 4496940"/>
                    <a:gd name="connsiteX67" fmla="*/ 1221127 w 4519987"/>
                    <a:gd name="connsiteY67" fmla="*/ 4200525 h 4496940"/>
                    <a:gd name="connsiteX68" fmla="*/ 1144927 w 4519987"/>
                    <a:gd name="connsiteY68" fmla="*/ 4171950 h 4496940"/>
                    <a:gd name="connsiteX69" fmla="*/ 1087777 w 4519987"/>
                    <a:gd name="connsiteY69" fmla="*/ 4143375 h 4496940"/>
                    <a:gd name="connsiteX70" fmla="*/ 1030627 w 4519987"/>
                    <a:gd name="connsiteY70" fmla="*/ 4124325 h 4496940"/>
                    <a:gd name="connsiteX71" fmla="*/ 925852 w 4519987"/>
                    <a:gd name="connsiteY71" fmla="*/ 4067175 h 4496940"/>
                    <a:gd name="connsiteX72" fmla="*/ 830602 w 4519987"/>
                    <a:gd name="connsiteY72" fmla="*/ 3981450 h 4496940"/>
                    <a:gd name="connsiteX73" fmla="*/ 763927 w 4519987"/>
                    <a:gd name="connsiteY73" fmla="*/ 3914775 h 4496940"/>
                    <a:gd name="connsiteX74" fmla="*/ 725827 w 4519987"/>
                    <a:gd name="connsiteY74" fmla="*/ 3876675 h 4496940"/>
                    <a:gd name="connsiteX75" fmla="*/ 697252 w 4519987"/>
                    <a:gd name="connsiteY75" fmla="*/ 3838575 h 4496940"/>
                    <a:gd name="connsiteX76" fmla="*/ 640102 w 4519987"/>
                    <a:gd name="connsiteY76" fmla="*/ 3781425 h 4496940"/>
                    <a:gd name="connsiteX77" fmla="*/ 611527 w 4519987"/>
                    <a:gd name="connsiteY77" fmla="*/ 3733800 h 4496940"/>
                    <a:gd name="connsiteX78" fmla="*/ 554377 w 4519987"/>
                    <a:gd name="connsiteY78" fmla="*/ 3657600 h 4496940"/>
                    <a:gd name="connsiteX79" fmla="*/ 525802 w 4519987"/>
                    <a:gd name="connsiteY79" fmla="*/ 3609975 h 4496940"/>
                    <a:gd name="connsiteX80" fmla="*/ 497227 w 4519987"/>
                    <a:gd name="connsiteY80" fmla="*/ 3552825 h 4496940"/>
                    <a:gd name="connsiteX81" fmla="*/ 440077 w 4519987"/>
                    <a:gd name="connsiteY81" fmla="*/ 3495675 h 4496940"/>
                    <a:gd name="connsiteX82" fmla="*/ 411502 w 4519987"/>
                    <a:gd name="connsiteY82" fmla="*/ 3448050 h 4496940"/>
                    <a:gd name="connsiteX83" fmla="*/ 278152 w 4519987"/>
                    <a:gd name="connsiteY83" fmla="*/ 3257550 h 4496940"/>
                    <a:gd name="connsiteX84" fmla="*/ 249577 w 4519987"/>
                    <a:gd name="connsiteY84" fmla="*/ 3200400 h 4496940"/>
                    <a:gd name="connsiteX85" fmla="*/ 240052 w 4519987"/>
                    <a:gd name="connsiteY85" fmla="*/ 3162300 h 4496940"/>
                    <a:gd name="connsiteX86" fmla="*/ 221002 w 4519987"/>
                    <a:gd name="connsiteY86" fmla="*/ 3105150 h 4496940"/>
                    <a:gd name="connsiteX87" fmla="*/ 173377 w 4519987"/>
                    <a:gd name="connsiteY87" fmla="*/ 3019425 h 4496940"/>
                    <a:gd name="connsiteX88" fmla="*/ 144802 w 4519987"/>
                    <a:gd name="connsiteY88" fmla="*/ 2924175 h 4496940"/>
                    <a:gd name="connsiteX89" fmla="*/ 68602 w 4519987"/>
                    <a:gd name="connsiteY89" fmla="*/ 2724150 h 4496940"/>
                    <a:gd name="connsiteX90" fmla="*/ 49552 w 4519987"/>
                    <a:gd name="connsiteY90" fmla="*/ 2638425 h 4496940"/>
                    <a:gd name="connsiteX91" fmla="*/ 40027 w 4519987"/>
                    <a:gd name="connsiteY91" fmla="*/ 2562225 h 4496940"/>
                    <a:gd name="connsiteX92" fmla="*/ 30502 w 4519987"/>
                    <a:gd name="connsiteY92" fmla="*/ 2514600 h 4496940"/>
                    <a:gd name="connsiteX93" fmla="*/ 11452 w 4519987"/>
                    <a:gd name="connsiteY93" fmla="*/ 2400300 h 4496940"/>
                    <a:gd name="connsiteX94" fmla="*/ 20977 w 4519987"/>
                    <a:gd name="connsiteY94" fmla="*/ 1905000 h 4496940"/>
                    <a:gd name="connsiteX95" fmla="*/ 30502 w 4519987"/>
                    <a:gd name="connsiteY95" fmla="*/ 1838325 h 4496940"/>
                    <a:gd name="connsiteX96" fmla="*/ 49552 w 4519987"/>
                    <a:gd name="connsiteY96" fmla="*/ 1781175 h 4496940"/>
                    <a:gd name="connsiteX97" fmla="*/ 59077 w 4519987"/>
                    <a:gd name="connsiteY97" fmla="*/ 1743075 h 4496940"/>
                    <a:gd name="connsiteX98" fmla="*/ 78127 w 4519987"/>
                    <a:gd name="connsiteY98" fmla="*/ 1685925 h 4496940"/>
                    <a:gd name="connsiteX99" fmla="*/ 87652 w 4519987"/>
                    <a:gd name="connsiteY99" fmla="*/ 1638300 h 4496940"/>
                    <a:gd name="connsiteX100" fmla="*/ 106702 w 4519987"/>
                    <a:gd name="connsiteY100" fmla="*/ 1590675 h 4496940"/>
                    <a:gd name="connsiteX101" fmla="*/ 135277 w 4519987"/>
                    <a:gd name="connsiteY101" fmla="*/ 1504950 h 4496940"/>
                    <a:gd name="connsiteX102" fmla="*/ 154327 w 4519987"/>
                    <a:gd name="connsiteY102" fmla="*/ 1419225 h 4496940"/>
                    <a:gd name="connsiteX103" fmla="*/ 230527 w 4519987"/>
                    <a:gd name="connsiteY103" fmla="*/ 1276350 h 4496940"/>
                    <a:gd name="connsiteX104" fmla="*/ 240052 w 4519987"/>
                    <a:gd name="connsiteY104" fmla="*/ 1247775 h 4496940"/>
                    <a:gd name="connsiteX105" fmla="*/ 268627 w 4519987"/>
                    <a:gd name="connsiteY105" fmla="*/ 1200150 h 4496940"/>
                    <a:gd name="connsiteX106" fmla="*/ 287677 w 4519987"/>
                    <a:gd name="connsiteY106" fmla="*/ 1152525 h 4496940"/>
                    <a:gd name="connsiteX107" fmla="*/ 316252 w 4519987"/>
                    <a:gd name="connsiteY107" fmla="*/ 1114425 h 4496940"/>
                    <a:gd name="connsiteX108" fmla="*/ 363877 w 4519987"/>
                    <a:gd name="connsiteY108" fmla="*/ 1038225 h 4496940"/>
                    <a:gd name="connsiteX109" fmla="*/ 382927 w 4519987"/>
                    <a:gd name="connsiteY109" fmla="*/ 1009650 h 4496940"/>
                    <a:gd name="connsiteX110" fmla="*/ 440077 w 4519987"/>
                    <a:gd name="connsiteY110" fmla="*/ 904875 h 4496940"/>
                    <a:gd name="connsiteX111" fmla="*/ 478177 w 4519987"/>
                    <a:gd name="connsiteY111" fmla="*/ 857250 h 4496940"/>
                    <a:gd name="connsiteX112" fmla="*/ 497227 w 4519987"/>
                    <a:gd name="connsiteY112" fmla="*/ 828675 h 4496940"/>
                    <a:gd name="connsiteX113" fmla="*/ 535327 w 4519987"/>
                    <a:gd name="connsiteY113" fmla="*/ 800100 h 4496940"/>
                    <a:gd name="connsiteX114" fmla="*/ 602002 w 4519987"/>
                    <a:gd name="connsiteY114" fmla="*/ 733425 h 4496940"/>
                    <a:gd name="connsiteX115" fmla="*/ 668677 w 4519987"/>
                    <a:gd name="connsiteY115" fmla="*/ 676275 h 4496940"/>
                    <a:gd name="connsiteX116" fmla="*/ 697252 w 4519987"/>
                    <a:gd name="connsiteY116" fmla="*/ 657225 h 4496940"/>
                    <a:gd name="connsiteX117" fmla="*/ 840127 w 4519987"/>
                    <a:gd name="connsiteY117" fmla="*/ 533400 h 4496940"/>
                    <a:gd name="connsiteX118" fmla="*/ 887752 w 4519987"/>
                    <a:gd name="connsiteY118" fmla="*/ 504825 h 4496940"/>
                    <a:gd name="connsiteX119" fmla="*/ 1167152 w 4519987"/>
                    <a:gd name="connsiteY119" fmla="*/ 311150 h 4496940"/>
                    <a:gd name="connsiteX120" fmla="*/ 1268752 w 4519987"/>
                    <a:gd name="connsiteY120" fmla="*/ 285750 h 4496940"/>
                    <a:gd name="connsiteX121" fmla="*/ 1411627 w 4519987"/>
                    <a:gd name="connsiteY121" fmla="*/ 190500 h 4496940"/>
                    <a:gd name="connsiteX122" fmla="*/ 1449727 w 4519987"/>
                    <a:gd name="connsiteY122" fmla="*/ 161925 h 4496940"/>
                    <a:gd name="connsiteX123" fmla="*/ 1525927 w 4519987"/>
                    <a:gd name="connsiteY123" fmla="*/ 152400 h 4496940"/>
                    <a:gd name="connsiteX124" fmla="*/ 1583077 w 4519987"/>
                    <a:gd name="connsiteY124" fmla="*/ 142875 h 4496940"/>
                    <a:gd name="connsiteX125" fmla="*/ 1716427 w 4519987"/>
                    <a:gd name="connsiteY125" fmla="*/ 123825 h 4496940"/>
                    <a:gd name="connsiteX126" fmla="*/ 1811677 w 4519987"/>
                    <a:gd name="connsiteY126" fmla="*/ 114300 h 4496940"/>
                    <a:gd name="connsiteX127" fmla="*/ 1859302 w 4519987"/>
                    <a:gd name="connsiteY127" fmla="*/ 104775 h 4496940"/>
                    <a:gd name="connsiteX128" fmla="*/ 1916452 w 4519987"/>
                    <a:gd name="connsiteY128" fmla="*/ 95250 h 4496940"/>
                    <a:gd name="connsiteX129" fmla="*/ 2030752 w 4519987"/>
                    <a:gd name="connsiteY129" fmla="*/ 66675 h 4496940"/>
                    <a:gd name="connsiteX130" fmla="*/ 2097427 w 4519987"/>
                    <a:gd name="connsiteY130" fmla="*/ 47625 h 4496940"/>
                    <a:gd name="connsiteX131" fmla="*/ 2164102 w 4519987"/>
                    <a:gd name="connsiteY131" fmla="*/ 38100 h 4496940"/>
                    <a:gd name="connsiteX132" fmla="*/ 2392702 w 4519987"/>
                    <a:gd name="connsiteY13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659527 w 4519987"/>
                    <a:gd name="connsiteY38" fmla="*/ 3971925 h 4496940"/>
                    <a:gd name="connsiteX39" fmla="*/ 3630952 w 4519987"/>
                    <a:gd name="connsiteY39" fmla="*/ 4010025 h 4496940"/>
                    <a:gd name="connsiteX40" fmla="*/ 3621427 w 4519987"/>
                    <a:gd name="connsiteY40" fmla="*/ 4038600 h 4496940"/>
                    <a:gd name="connsiteX41" fmla="*/ 3554752 w 4519987"/>
                    <a:gd name="connsiteY41" fmla="*/ 4095750 h 4496940"/>
                    <a:gd name="connsiteX42" fmla="*/ 3516652 w 4519987"/>
                    <a:gd name="connsiteY42" fmla="*/ 4114800 h 4496940"/>
                    <a:gd name="connsiteX43" fmla="*/ 3497602 w 4519987"/>
                    <a:gd name="connsiteY43" fmla="*/ 4143375 h 4496940"/>
                    <a:gd name="connsiteX44" fmla="*/ 3383302 w 4519987"/>
                    <a:gd name="connsiteY44" fmla="*/ 4210050 h 4496940"/>
                    <a:gd name="connsiteX45" fmla="*/ 3335677 w 4519987"/>
                    <a:gd name="connsiteY45" fmla="*/ 4238625 h 4496940"/>
                    <a:gd name="connsiteX46" fmla="*/ 3288052 w 4519987"/>
                    <a:gd name="connsiteY46" fmla="*/ 4248150 h 4496940"/>
                    <a:gd name="connsiteX47" fmla="*/ 3240427 w 4519987"/>
                    <a:gd name="connsiteY47" fmla="*/ 4267200 h 4496940"/>
                    <a:gd name="connsiteX48" fmla="*/ 3068977 w 4519987"/>
                    <a:gd name="connsiteY48" fmla="*/ 4286250 h 4496940"/>
                    <a:gd name="connsiteX49" fmla="*/ 2935627 w 4519987"/>
                    <a:gd name="connsiteY49" fmla="*/ 4333875 h 4496940"/>
                    <a:gd name="connsiteX50" fmla="*/ 2811802 w 4519987"/>
                    <a:gd name="connsiteY50" fmla="*/ 4371975 h 4496940"/>
                    <a:gd name="connsiteX51" fmla="*/ 2745127 w 4519987"/>
                    <a:gd name="connsiteY51" fmla="*/ 4410075 h 4496940"/>
                    <a:gd name="connsiteX52" fmla="*/ 2697502 w 4519987"/>
                    <a:gd name="connsiteY52" fmla="*/ 4429125 h 4496940"/>
                    <a:gd name="connsiteX53" fmla="*/ 2640352 w 4519987"/>
                    <a:gd name="connsiteY53" fmla="*/ 4457700 h 4496940"/>
                    <a:gd name="connsiteX54" fmla="*/ 2583202 w 4519987"/>
                    <a:gd name="connsiteY54" fmla="*/ 4467225 h 4496940"/>
                    <a:gd name="connsiteX55" fmla="*/ 2545102 w 4519987"/>
                    <a:gd name="connsiteY55" fmla="*/ 4486275 h 4496940"/>
                    <a:gd name="connsiteX56" fmla="*/ 2306977 w 4519987"/>
                    <a:gd name="connsiteY56" fmla="*/ 4476750 h 4496940"/>
                    <a:gd name="connsiteX57" fmla="*/ 2202202 w 4519987"/>
                    <a:gd name="connsiteY57" fmla="*/ 4457700 h 4496940"/>
                    <a:gd name="connsiteX58" fmla="*/ 2126002 w 4519987"/>
                    <a:gd name="connsiteY58" fmla="*/ 4429125 h 4496940"/>
                    <a:gd name="connsiteX59" fmla="*/ 1935502 w 4519987"/>
                    <a:gd name="connsiteY59" fmla="*/ 4400550 h 4496940"/>
                    <a:gd name="connsiteX60" fmla="*/ 1821202 w 4519987"/>
                    <a:gd name="connsiteY60" fmla="*/ 4371975 h 4496940"/>
                    <a:gd name="connsiteX61" fmla="*/ 1754527 w 4519987"/>
                    <a:gd name="connsiteY61" fmla="*/ 4352925 h 4496940"/>
                    <a:gd name="connsiteX62" fmla="*/ 1687852 w 4519987"/>
                    <a:gd name="connsiteY62" fmla="*/ 4343400 h 4496940"/>
                    <a:gd name="connsiteX63" fmla="*/ 1573552 w 4519987"/>
                    <a:gd name="connsiteY63" fmla="*/ 4305300 h 4496940"/>
                    <a:gd name="connsiteX64" fmla="*/ 1402102 w 4519987"/>
                    <a:gd name="connsiteY64" fmla="*/ 4276725 h 4496940"/>
                    <a:gd name="connsiteX65" fmla="*/ 1287802 w 4519987"/>
                    <a:gd name="connsiteY65" fmla="*/ 4229100 h 4496940"/>
                    <a:gd name="connsiteX66" fmla="*/ 1221127 w 4519987"/>
                    <a:gd name="connsiteY66" fmla="*/ 4200525 h 4496940"/>
                    <a:gd name="connsiteX67" fmla="*/ 1144927 w 4519987"/>
                    <a:gd name="connsiteY67" fmla="*/ 4171950 h 4496940"/>
                    <a:gd name="connsiteX68" fmla="*/ 1087777 w 4519987"/>
                    <a:gd name="connsiteY68" fmla="*/ 4143375 h 4496940"/>
                    <a:gd name="connsiteX69" fmla="*/ 1030627 w 4519987"/>
                    <a:gd name="connsiteY69" fmla="*/ 4124325 h 4496940"/>
                    <a:gd name="connsiteX70" fmla="*/ 925852 w 4519987"/>
                    <a:gd name="connsiteY70" fmla="*/ 4067175 h 4496940"/>
                    <a:gd name="connsiteX71" fmla="*/ 830602 w 4519987"/>
                    <a:gd name="connsiteY71" fmla="*/ 3981450 h 4496940"/>
                    <a:gd name="connsiteX72" fmla="*/ 763927 w 4519987"/>
                    <a:gd name="connsiteY72" fmla="*/ 3914775 h 4496940"/>
                    <a:gd name="connsiteX73" fmla="*/ 725827 w 4519987"/>
                    <a:gd name="connsiteY73" fmla="*/ 3876675 h 4496940"/>
                    <a:gd name="connsiteX74" fmla="*/ 697252 w 4519987"/>
                    <a:gd name="connsiteY74" fmla="*/ 3838575 h 4496940"/>
                    <a:gd name="connsiteX75" fmla="*/ 640102 w 4519987"/>
                    <a:gd name="connsiteY75" fmla="*/ 3781425 h 4496940"/>
                    <a:gd name="connsiteX76" fmla="*/ 611527 w 4519987"/>
                    <a:gd name="connsiteY76" fmla="*/ 3733800 h 4496940"/>
                    <a:gd name="connsiteX77" fmla="*/ 554377 w 4519987"/>
                    <a:gd name="connsiteY77" fmla="*/ 3657600 h 4496940"/>
                    <a:gd name="connsiteX78" fmla="*/ 525802 w 4519987"/>
                    <a:gd name="connsiteY78" fmla="*/ 3609975 h 4496940"/>
                    <a:gd name="connsiteX79" fmla="*/ 497227 w 4519987"/>
                    <a:gd name="connsiteY79" fmla="*/ 3552825 h 4496940"/>
                    <a:gd name="connsiteX80" fmla="*/ 440077 w 4519987"/>
                    <a:gd name="connsiteY80" fmla="*/ 3495675 h 4496940"/>
                    <a:gd name="connsiteX81" fmla="*/ 411502 w 4519987"/>
                    <a:gd name="connsiteY81" fmla="*/ 3448050 h 4496940"/>
                    <a:gd name="connsiteX82" fmla="*/ 278152 w 4519987"/>
                    <a:gd name="connsiteY82" fmla="*/ 3257550 h 4496940"/>
                    <a:gd name="connsiteX83" fmla="*/ 249577 w 4519987"/>
                    <a:gd name="connsiteY83" fmla="*/ 3200400 h 4496940"/>
                    <a:gd name="connsiteX84" fmla="*/ 240052 w 4519987"/>
                    <a:gd name="connsiteY84" fmla="*/ 3162300 h 4496940"/>
                    <a:gd name="connsiteX85" fmla="*/ 221002 w 4519987"/>
                    <a:gd name="connsiteY85" fmla="*/ 3105150 h 4496940"/>
                    <a:gd name="connsiteX86" fmla="*/ 173377 w 4519987"/>
                    <a:gd name="connsiteY86" fmla="*/ 3019425 h 4496940"/>
                    <a:gd name="connsiteX87" fmla="*/ 144802 w 4519987"/>
                    <a:gd name="connsiteY87" fmla="*/ 2924175 h 4496940"/>
                    <a:gd name="connsiteX88" fmla="*/ 68602 w 4519987"/>
                    <a:gd name="connsiteY88" fmla="*/ 2724150 h 4496940"/>
                    <a:gd name="connsiteX89" fmla="*/ 49552 w 4519987"/>
                    <a:gd name="connsiteY89" fmla="*/ 2638425 h 4496940"/>
                    <a:gd name="connsiteX90" fmla="*/ 40027 w 4519987"/>
                    <a:gd name="connsiteY90" fmla="*/ 2562225 h 4496940"/>
                    <a:gd name="connsiteX91" fmla="*/ 30502 w 4519987"/>
                    <a:gd name="connsiteY91" fmla="*/ 2514600 h 4496940"/>
                    <a:gd name="connsiteX92" fmla="*/ 11452 w 4519987"/>
                    <a:gd name="connsiteY92" fmla="*/ 2400300 h 4496940"/>
                    <a:gd name="connsiteX93" fmla="*/ 20977 w 4519987"/>
                    <a:gd name="connsiteY93" fmla="*/ 1905000 h 4496940"/>
                    <a:gd name="connsiteX94" fmla="*/ 30502 w 4519987"/>
                    <a:gd name="connsiteY94" fmla="*/ 1838325 h 4496940"/>
                    <a:gd name="connsiteX95" fmla="*/ 49552 w 4519987"/>
                    <a:gd name="connsiteY95" fmla="*/ 1781175 h 4496940"/>
                    <a:gd name="connsiteX96" fmla="*/ 59077 w 4519987"/>
                    <a:gd name="connsiteY96" fmla="*/ 1743075 h 4496940"/>
                    <a:gd name="connsiteX97" fmla="*/ 78127 w 4519987"/>
                    <a:gd name="connsiteY97" fmla="*/ 1685925 h 4496940"/>
                    <a:gd name="connsiteX98" fmla="*/ 87652 w 4519987"/>
                    <a:gd name="connsiteY98" fmla="*/ 1638300 h 4496940"/>
                    <a:gd name="connsiteX99" fmla="*/ 106702 w 4519987"/>
                    <a:gd name="connsiteY99" fmla="*/ 1590675 h 4496940"/>
                    <a:gd name="connsiteX100" fmla="*/ 135277 w 4519987"/>
                    <a:gd name="connsiteY100" fmla="*/ 1504950 h 4496940"/>
                    <a:gd name="connsiteX101" fmla="*/ 154327 w 4519987"/>
                    <a:gd name="connsiteY101" fmla="*/ 1419225 h 4496940"/>
                    <a:gd name="connsiteX102" fmla="*/ 230527 w 4519987"/>
                    <a:gd name="connsiteY102" fmla="*/ 1276350 h 4496940"/>
                    <a:gd name="connsiteX103" fmla="*/ 240052 w 4519987"/>
                    <a:gd name="connsiteY103" fmla="*/ 1247775 h 4496940"/>
                    <a:gd name="connsiteX104" fmla="*/ 268627 w 4519987"/>
                    <a:gd name="connsiteY104" fmla="*/ 1200150 h 4496940"/>
                    <a:gd name="connsiteX105" fmla="*/ 287677 w 4519987"/>
                    <a:gd name="connsiteY105" fmla="*/ 1152525 h 4496940"/>
                    <a:gd name="connsiteX106" fmla="*/ 316252 w 4519987"/>
                    <a:gd name="connsiteY106" fmla="*/ 1114425 h 4496940"/>
                    <a:gd name="connsiteX107" fmla="*/ 363877 w 4519987"/>
                    <a:gd name="connsiteY107" fmla="*/ 1038225 h 4496940"/>
                    <a:gd name="connsiteX108" fmla="*/ 382927 w 4519987"/>
                    <a:gd name="connsiteY108" fmla="*/ 1009650 h 4496940"/>
                    <a:gd name="connsiteX109" fmla="*/ 440077 w 4519987"/>
                    <a:gd name="connsiteY109" fmla="*/ 904875 h 4496940"/>
                    <a:gd name="connsiteX110" fmla="*/ 478177 w 4519987"/>
                    <a:gd name="connsiteY110" fmla="*/ 857250 h 4496940"/>
                    <a:gd name="connsiteX111" fmla="*/ 497227 w 4519987"/>
                    <a:gd name="connsiteY111" fmla="*/ 828675 h 4496940"/>
                    <a:gd name="connsiteX112" fmla="*/ 535327 w 4519987"/>
                    <a:gd name="connsiteY112" fmla="*/ 800100 h 4496940"/>
                    <a:gd name="connsiteX113" fmla="*/ 602002 w 4519987"/>
                    <a:gd name="connsiteY113" fmla="*/ 733425 h 4496940"/>
                    <a:gd name="connsiteX114" fmla="*/ 668677 w 4519987"/>
                    <a:gd name="connsiteY114" fmla="*/ 676275 h 4496940"/>
                    <a:gd name="connsiteX115" fmla="*/ 697252 w 4519987"/>
                    <a:gd name="connsiteY115" fmla="*/ 657225 h 4496940"/>
                    <a:gd name="connsiteX116" fmla="*/ 840127 w 4519987"/>
                    <a:gd name="connsiteY116" fmla="*/ 533400 h 4496940"/>
                    <a:gd name="connsiteX117" fmla="*/ 887752 w 4519987"/>
                    <a:gd name="connsiteY117" fmla="*/ 504825 h 4496940"/>
                    <a:gd name="connsiteX118" fmla="*/ 1167152 w 4519987"/>
                    <a:gd name="connsiteY118" fmla="*/ 311150 h 4496940"/>
                    <a:gd name="connsiteX119" fmla="*/ 1268752 w 4519987"/>
                    <a:gd name="connsiteY119" fmla="*/ 285750 h 4496940"/>
                    <a:gd name="connsiteX120" fmla="*/ 1411627 w 4519987"/>
                    <a:gd name="connsiteY120" fmla="*/ 190500 h 4496940"/>
                    <a:gd name="connsiteX121" fmla="*/ 1449727 w 4519987"/>
                    <a:gd name="connsiteY121" fmla="*/ 161925 h 4496940"/>
                    <a:gd name="connsiteX122" fmla="*/ 1525927 w 4519987"/>
                    <a:gd name="connsiteY122" fmla="*/ 152400 h 4496940"/>
                    <a:gd name="connsiteX123" fmla="*/ 1583077 w 4519987"/>
                    <a:gd name="connsiteY123" fmla="*/ 142875 h 4496940"/>
                    <a:gd name="connsiteX124" fmla="*/ 1716427 w 4519987"/>
                    <a:gd name="connsiteY124" fmla="*/ 123825 h 4496940"/>
                    <a:gd name="connsiteX125" fmla="*/ 1811677 w 4519987"/>
                    <a:gd name="connsiteY125" fmla="*/ 114300 h 4496940"/>
                    <a:gd name="connsiteX126" fmla="*/ 1859302 w 4519987"/>
                    <a:gd name="connsiteY126" fmla="*/ 104775 h 4496940"/>
                    <a:gd name="connsiteX127" fmla="*/ 1916452 w 4519987"/>
                    <a:gd name="connsiteY127" fmla="*/ 95250 h 4496940"/>
                    <a:gd name="connsiteX128" fmla="*/ 2030752 w 4519987"/>
                    <a:gd name="connsiteY128" fmla="*/ 66675 h 4496940"/>
                    <a:gd name="connsiteX129" fmla="*/ 2097427 w 4519987"/>
                    <a:gd name="connsiteY129" fmla="*/ 47625 h 4496940"/>
                    <a:gd name="connsiteX130" fmla="*/ 2164102 w 4519987"/>
                    <a:gd name="connsiteY130" fmla="*/ 38100 h 4496940"/>
                    <a:gd name="connsiteX131" fmla="*/ 2392702 w 4519987"/>
                    <a:gd name="connsiteY13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88152 w 4519987"/>
                    <a:gd name="connsiteY33" fmla="*/ 3495675 h 4496940"/>
                    <a:gd name="connsiteX34" fmla="*/ 4059577 w 4519987"/>
                    <a:gd name="connsiteY34" fmla="*/ 3533775 h 4496940"/>
                    <a:gd name="connsiteX35" fmla="*/ 4002427 w 4519987"/>
                    <a:gd name="connsiteY35" fmla="*/ 3600450 h 4496940"/>
                    <a:gd name="connsiteX36" fmla="*/ 3954802 w 4519987"/>
                    <a:gd name="connsiteY36" fmla="*/ 3648075 h 4496940"/>
                    <a:gd name="connsiteX37" fmla="*/ 3659527 w 4519987"/>
                    <a:gd name="connsiteY37" fmla="*/ 3971925 h 4496940"/>
                    <a:gd name="connsiteX38" fmla="*/ 3630952 w 4519987"/>
                    <a:gd name="connsiteY38" fmla="*/ 4010025 h 4496940"/>
                    <a:gd name="connsiteX39" fmla="*/ 3621427 w 4519987"/>
                    <a:gd name="connsiteY39" fmla="*/ 4038600 h 4496940"/>
                    <a:gd name="connsiteX40" fmla="*/ 3554752 w 4519987"/>
                    <a:gd name="connsiteY40" fmla="*/ 4095750 h 4496940"/>
                    <a:gd name="connsiteX41" fmla="*/ 3516652 w 4519987"/>
                    <a:gd name="connsiteY41" fmla="*/ 4114800 h 4496940"/>
                    <a:gd name="connsiteX42" fmla="*/ 3497602 w 4519987"/>
                    <a:gd name="connsiteY42" fmla="*/ 4143375 h 4496940"/>
                    <a:gd name="connsiteX43" fmla="*/ 3383302 w 4519987"/>
                    <a:gd name="connsiteY43" fmla="*/ 4210050 h 4496940"/>
                    <a:gd name="connsiteX44" fmla="*/ 3335677 w 4519987"/>
                    <a:gd name="connsiteY44" fmla="*/ 4238625 h 4496940"/>
                    <a:gd name="connsiteX45" fmla="*/ 3288052 w 4519987"/>
                    <a:gd name="connsiteY45" fmla="*/ 4248150 h 4496940"/>
                    <a:gd name="connsiteX46" fmla="*/ 3240427 w 4519987"/>
                    <a:gd name="connsiteY46" fmla="*/ 4267200 h 4496940"/>
                    <a:gd name="connsiteX47" fmla="*/ 3068977 w 4519987"/>
                    <a:gd name="connsiteY47" fmla="*/ 4286250 h 4496940"/>
                    <a:gd name="connsiteX48" fmla="*/ 2935627 w 4519987"/>
                    <a:gd name="connsiteY48" fmla="*/ 4333875 h 4496940"/>
                    <a:gd name="connsiteX49" fmla="*/ 2811802 w 4519987"/>
                    <a:gd name="connsiteY49" fmla="*/ 4371975 h 4496940"/>
                    <a:gd name="connsiteX50" fmla="*/ 2745127 w 4519987"/>
                    <a:gd name="connsiteY50" fmla="*/ 4410075 h 4496940"/>
                    <a:gd name="connsiteX51" fmla="*/ 2697502 w 4519987"/>
                    <a:gd name="connsiteY51" fmla="*/ 4429125 h 4496940"/>
                    <a:gd name="connsiteX52" fmla="*/ 2640352 w 4519987"/>
                    <a:gd name="connsiteY52" fmla="*/ 4457700 h 4496940"/>
                    <a:gd name="connsiteX53" fmla="*/ 2583202 w 4519987"/>
                    <a:gd name="connsiteY53" fmla="*/ 4467225 h 4496940"/>
                    <a:gd name="connsiteX54" fmla="*/ 2545102 w 4519987"/>
                    <a:gd name="connsiteY54" fmla="*/ 4486275 h 4496940"/>
                    <a:gd name="connsiteX55" fmla="*/ 2306977 w 4519987"/>
                    <a:gd name="connsiteY55" fmla="*/ 4476750 h 4496940"/>
                    <a:gd name="connsiteX56" fmla="*/ 2202202 w 4519987"/>
                    <a:gd name="connsiteY56" fmla="*/ 4457700 h 4496940"/>
                    <a:gd name="connsiteX57" fmla="*/ 2126002 w 4519987"/>
                    <a:gd name="connsiteY57" fmla="*/ 4429125 h 4496940"/>
                    <a:gd name="connsiteX58" fmla="*/ 1935502 w 4519987"/>
                    <a:gd name="connsiteY58" fmla="*/ 4400550 h 4496940"/>
                    <a:gd name="connsiteX59" fmla="*/ 1821202 w 4519987"/>
                    <a:gd name="connsiteY59" fmla="*/ 4371975 h 4496940"/>
                    <a:gd name="connsiteX60" fmla="*/ 1754527 w 4519987"/>
                    <a:gd name="connsiteY60" fmla="*/ 4352925 h 4496940"/>
                    <a:gd name="connsiteX61" fmla="*/ 1687852 w 4519987"/>
                    <a:gd name="connsiteY61" fmla="*/ 4343400 h 4496940"/>
                    <a:gd name="connsiteX62" fmla="*/ 1573552 w 4519987"/>
                    <a:gd name="connsiteY62" fmla="*/ 4305300 h 4496940"/>
                    <a:gd name="connsiteX63" fmla="*/ 1402102 w 4519987"/>
                    <a:gd name="connsiteY63" fmla="*/ 4276725 h 4496940"/>
                    <a:gd name="connsiteX64" fmla="*/ 1287802 w 4519987"/>
                    <a:gd name="connsiteY64" fmla="*/ 4229100 h 4496940"/>
                    <a:gd name="connsiteX65" fmla="*/ 1221127 w 4519987"/>
                    <a:gd name="connsiteY65" fmla="*/ 4200525 h 4496940"/>
                    <a:gd name="connsiteX66" fmla="*/ 1144927 w 4519987"/>
                    <a:gd name="connsiteY66" fmla="*/ 4171950 h 4496940"/>
                    <a:gd name="connsiteX67" fmla="*/ 1087777 w 4519987"/>
                    <a:gd name="connsiteY67" fmla="*/ 4143375 h 4496940"/>
                    <a:gd name="connsiteX68" fmla="*/ 1030627 w 4519987"/>
                    <a:gd name="connsiteY68" fmla="*/ 4124325 h 4496940"/>
                    <a:gd name="connsiteX69" fmla="*/ 925852 w 4519987"/>
                    <a:gd name="connsiteY69" fmla="*/ 4067175 h 4496940"/>
                    <a:gd name="connsiteX70" fmla="*/ 830602 w 4519987"/>
                    <a:gd name="connsiteY70" fmla="*/ 3981450 h 4496940"/>
                    <a:gd name="connsiteX71" fmla="*/ 763927 w 4519987"/>
                    <a:gd name="connsiteY71" fmla="*/ 3914775 h 4496940"/>
                    <a:gd name="connsiteX72" fmla="*/ 725827 w 4519987"/>
                    <a:gd name="connsiteY72" fmla="*/ 3876675 h 4496940"/>
                    <a:gd name="connsiteX73" fmla="*/ 697252 w 4519987"/>
                    <a:gd name="connsiteY73" fmla="*/ 3838575 h 4496940"/>
                    <a:gd name="connsiteX74" fmla="*/ 640102 w 4519987"/>
                    <a:gd name="connsiteY74" fmla="*/ 3781425 h 4496940"/>
                    <a:gd name="connsiteX75" fmla="*/ 611527 w 4519987"/>
                    <a:gd name="connsiteY75" fmla="*/ 3733800 h 4496940"/>
                    <a:gd name="connsiteX76" fmla="*/ 554377 w 4519987"/>
                    <a:gd name="connsiteY76" fmla="*/ 3657600 h 4496940"/>
                    <a:gd name="connsiteX77" fmla="*/ 525802 w 4519987"/>
                    <a:gd name="connsiteY77" fmla="*/ 3609975 h 4496940"/>
                    <a:gd name="connsiteX78" fmla="*/ 497227 w 4519987"/>
                    <a:gd name="connsiteY78" fmla="*/ 3552825 h 4496940"/>
                    <a:gd name="connsiteX79" fmla="*/ 440077 w 4519987"/>
                    <a:gd name="connsiteY79" fmla="*/ 3495675 h 4496940"/>
                    <a:gd name="connsiteX80" fmla="*/ 411502 w 4519987"/>
                    <a:gd name="connsiteY80" fmla="*/ 3448050 h 4496940"/>
                    <a:gd name="connsiteX81" fmla="*/ 278152 w 4519987"/>
                    <a:gd name="connsiteY81" fmla="*/ 3257550 h 4496940"/>
                    <a:gd name="connsiteX82" fmla="*/ 249577 w 4519987"/>
                    <a:gd name="connsiteY82" fmla="*/ 3200400 h 4496940"/>
                    <a:gd name="connsiteX83" fmla="*/ 240052 w 4519987"/>
                    <a:gd name="connsiteY83" fmla="*/ 3162300 h 4496940"/>
                    <a:gd name="connsiteX84" fmla="*/ 221002 w 4519987"/>
                    <a:gd name="connsiteY84" fmla="*/ 3105150 h 4496940"/>
                    <a:gd name="connsiteX85" fmla="*/ 173377 w 4519987"/>
                    <a:gd name="connsiteY85" fmla="*/ 3019425 h 4496940"/>
                    <a:gd name="connsiteX86" fmla="*/ 144802 w 4519987"/>
                    <a:gd name="connsiteY86" fmla="*/ 2924175 h 4496940"/>
                    <a:gd name="connsiteX87" fmla="*/ 68602 w 4519987"/>
                    <a:gd name="connsiteY87" fmla="*/ 2724150 h 4496940"/>
                    <a:gd name="connsiteX88" fmla="*/ 49552 w 4519987"/>
                    <a:gd name="connsiteY88" fmla="*/ 2638425 h 4496940"/>
                    <a:gd name="connsiteX89" fmla="*/ 40027 w 4519987"/>
                    <a:gd name="connsiteY89" fmla="*/ 2562225 h 4496940"/>
                    <a:gd name="connsiteX90" fmla="*/ 30502 w 4519987"/>
                    <a:gd name="connsiteY90" fmla="*/ 2514600 h 4496940"/>
                    <a:gd name="connsiteX91" fmla="*/ 11452 w 4519987"/>
                    <a:gd name="connsiteY91" fmla="*/ 2400300 h 4496940"/>
                    <a:gd name="connsiteX92" fmla="*/ 20977 w 4519987"/>
                    <a:gd name="connsiteY92" fmla="*/ 1905000 h 4496940"/>
                    <a:gd name="connsiteX93" fmla="*/ 30502 w 4519987"/>
                    <a:gd name="connsiteY93" fmla="*/ 1838325 h 4496940"/>
                    <a:gd name="connsiteX94" fmla="*/ 49552 w 4519987"/>
                    <a:gd name="connsiteY94" fmla="*/ 1781175 h 4496940"/>
                    <a:gd name="connsiteX95" fmla="*/ 59077 w 4519987"/>
                    <a:gd name="connsiteY95" fmla="*/ 1743075 h 4496940"/>
                    <a:gd name="connsiteX96" fmla="*/ 78127 w 4519987"/>
                    <a:gd name="connsiteY96" fmla="*/ 1685925 h 4496940"/>
                    <a:gd name="connsiteX97" fmla="*/ 87652 w 4519987"/>
                    <a:gd name="connsiteY97" fmla="*/ 1638300 h 4496940"/>
                    <a:gd name="connsiteX98" fmla="*/ 106702 w 4519987"/>
                    <a:gd name="connsiteY98" fmla="*/ 1590675 h 4496940"/>
                    <a:gd name="connsiteX99" fmla="*/ 135277 w 4519987"/>
                    <a:gd name="connsiteY99" fmla="*/ 1504950 h 4496940"/>
                    <a:gd name="connsiteX100" fmla="*/ 154327 w 4519987"/>
                    <a:gd name="connsiteY100" fmla="*/ 1419225 h 4496940"/>
                    <a:gd name="connsiteX101" fmla="*/ 230527 w 4519987"/>
                    <a:gd name="connsiteY101" fmla="*/ 1276350 h 4496940"/>
                    <a:gd name="connsiteX102" fmla="*/ 240052 w 4519987"/>
                    <a:gd name="connsiteY102" fmla="*/ 1247775 h 4496940"/>
                    <a:gd name="connsiteX103" fmla="*/ 268627 w 4519987"/>
                    <a:gd name="connsiteY103" fmla="*/ 1200150 h 4496940"/>
                    <a:gd name="connsiteX104" fmla="*/ 287677 w 4519987"/>
                    <a:gd name="connsiteY104" fmla="*/ 1152525 h 4496940"/>
                    <a:gd name="connsiteX105" fmla="*/ 316252 w 4519987"/>
                    <a:gd name="connsiteY105" fmla="*/ 1114425 h 4496940"/>
                    <a:gd name="connsiteX106" fmla="*/ 363877 w 4519987"/>
                    <a:gd name="connsiteY106" fmla="*/ 1038225 h 4496940"/>
                    <a:gd name="connsiteX107" fmla="*/ 382927 w 4519987"/>
                    <a:gd name="connsiteY107" fmla="*/ 1009650 h 4496940"/>
                    <a:gd name="connsiteX108" fmla="*/ 440077 w 4519987"/>
                    <a:gd name="connsiteY108" fmla="*/ 904875 h 4496940"/>
                    <a:gd name="connsiteX109" fmla="*/ 478177 w 4519987"/>
                    <a:gd name="connsiteY109" fmla="*/ 857250 h 4496940"/>
                    <a:gd name="connsiteX110" fmla="*/ 497227 w 4519987"/>
                    <a:gd name="connsiteY110" fmla="*/ 828675 h 4496940"/>
                    <a:gd name="connsiteX111" fmla="*/ 535327 w 4519987"/>
                    <a:gd name="connsiteY111" fmla="*/ 800100 h 4496940"/>
                    <a:gd name="connsiteX112" fmla="*/ 602002 w 4519987"/>
                    <a:gd name="connsiteY112" fmla="*/ 733425 h 4496940"/>
                    <a:gd name="connsiteX113" fmla="*/ 668677 w 4519987"/>
                    <a:gd name="connsiteY113" fmla="*/ 676275 h 4496940"/>
                    <a:gd name="connsiteX114" fmla="*/ 697252 w 4519987"/>
                    <a:gd name="connsiteY114" fmla="*/ 657225 h 4496940"/>
                    <a:gd name="connsiteX115" fmla="*/ 840127 w 4519987"/>
                    <a:gd name="connsiteY115" fmla="*/ 533400 h 4496940"/>
                    <a:gd name="connsiteX116" fmla="*/ 887752 w 4519987"/>
                    <a:gd name="connsiteY116" fmla="*/ 504825 h 4496940"/>
                    <a:gd name="connsiteX117" fmla="*/ 1167152 w 4519987"/>
                    <a:gd name="connsiteY117" fmla="*/ 311150 h 4496940"/>
                    <a:gd name="connsiteX118" fmla="*/ 1268752 w 4519987"/>
                    <a:gd name="connsiteY118" fmla="*/ 285750 h 4496940"/>
                    <a:gd name="connsiteX119" fmla="*/ 1411627 w 4519987"/>
                    <a:gd name="connsiteY119" fmla="*/ 190500 h 4496940"/>
                    <a:gd name="connsiteX120" fmla="*/ 1449727 w 4519987"/>
                    <a:gd name="connsiteY120" fmla="*/ 161925 h 4496940"/>
                    <a:gd name="connsiteX121" fmla="*/ 1525927 w 4519987"/>
                    <a:gd name="connsiteY121" fmla="*/ 152400 h 4496940"/>
                    <a:gd name="connsiteX122" fmla="*/ 1583077 w 4519987"/>
                    <a:gd name="connsiteY122" fmla="*/ 142875 h 4496940"/>
                    <a:gd name="connsiteX123" fmla="*/ 1716427 w 4519987"/>
                    <a:gd name="connsiteY123" fmla="*/ 123825 h 4496940"/>
                    <a:gd name="connsiteX124" fmla="*/ 1811677 w 4519987"/>
                    <a:gd name="connsiteY124" fmla="*/ 114300 h 4496940"/>
                    <a:gd name="connsiteX125" fmla="*/ 1859302 w 4519987"/>
                    <a:gd name="connsiteY125" fmla="*/ 104775 h 4496940"/>
                    <a:gd name="connsiteX126" fmla="*/ 1916452 w 4519987"/>
                    <a:gd name="connsiteY126" fmla="*/ 95250 h 4496940"/>
                    <a:gd name="connsiteX127" fmla="*/ 2030752 w 4519987"/>
                    <a:gd name="connsiteY127" fmla="*/ 66675 h 4496940"/>
                    <a:gd name="connsiteX128" fmla="*/ 2097427 w 4519987"/>
                    <a:gd name="connsiteY128" fmla="*/ 47625 h 4496940"/>
                    <a:gd name="connsiteX129" fmla="*/ 2164102 w 4519987"/>
                    <a:gd name="connsiteY129" fmla="*/ 38100 h 4496940"/>
                    <a:gd name="connsiteX130" fmla="*/ 2392702 w 4519987"/>
                    <a:gd name="connsiteY13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4002427 w 4519987"/>
                    <a:gd name="connsiteY34" fmla="*/ 3600450 h 4496940"/>
                    <a:gd name="connsiteX35" fmla="*/ 3954802 w 4519987"/>
                    <a:gd name="connsiteY35" fmla="*/ 3648075 h 4496940"/>
                    <a:gd name="connsiteX36" fmla="*/ 3659527 w 4519987"/>
                    <a:gd name="connsiteY36" fmla="*/ 3971925 h 4496940"/>
                    <a:gd name="connsiteX37" fmla="*/ 3630952 w 4519987"/>
                    <a:gd name="connsiteY37" fmla="*/ 4010025 h 4496940"/>
                    <a:gd name="connsiteX38" fmla="*/ 3621427 w 4519987"/>
                    <a:gd name="connsiteY38" fmla="*/ 4038600 h 4496940"/>
                    <a:gd name="connsiteX39" fmla="*/ 3554752 w 4519987"/>
                    <a:gd name="connsiteY39" fmla="*/ 4095750 h 4496940"/>
                    <a:gd name="connsiteX40" fmla="*/ 3516652 w 4519987"/>
                    <a:gd name="connsiteY40" fmla="*/ 4114800 h 4496940"/>
                    <a:gd name="connsiteX41" fmla="*/ 3497602 w 4519987"/>
                    <a:gd name="connsiteY41" fmla="*/ 4143375 h 4496940"/>
                    <a:gd name="connsiteX42" fmla="*/ 3383302 w 4519987"/>
                    <a:gd name="connsiteY42" fmla="*/ 4210050 h 4496940"/>
                    <a:gd name="connsiteX43" fmla="*/ 3335677 w 4519987"/>
                    <a:gd name="connsiteY43" fmla="*/ 4238625 h 4496940"/>
                    <a:gd name="connsiteX44" fmla="*/ 3288052 w 4519987"/>
                    <a:gd name="connsiteY44" fmla="*/ 4248150 h 4496940"/>
                    <a:gd name="connsiteX45" fmla="*/ 3240427 w 4519987"/>
                    <a:gd name="connsiteY45" fmla="*/ 4267200 h 4496940"/>
                    <a:gd name="connsiteX46" fmla="*/ 3068977 w 4519987"/>
                    <a:gd name="connsiteY46" fmla="*/ 4286250 h 4496940"/>
                    <a:gd name="connsiteX47" fmla="*/ 2935627 w 4519987"/>
                    <a:gd name="connsiteY47" fmla="*/ 4333875 h 4496940"/>
                    <a:gd name="connsiteX48" fmla="*/ 2811802 w 4519987"/>
                    <a:gd name="connsiteY48" fmla="*/ 4371975 h 4496940"/>
                    <a:gd name="connsiteX49" fmla="*/ 2745127 w 4519987"/>
                    <a:gd name="connsiteY49" fmla="*/ 4410075 h 4496940"/>
                    <a:gd name="connsiteX50" fmla="*/ 2697502 w 4519987"/>
                    <a:gd name="connsiteY50" fmla="*/ 4429125 h 4496940"/>
                    <a:gd name="connsiteX51" fmla="*/ 2640352 w 4519987"/>
                    <a:gd name="connsiteY51" fmla="*/ 4457700 h 4496940"/>
                    <a:gd name="connsiteX52" fmla="*/ 2583202 w 4519987"/>
                    <a:gd name="connsiteY52" fmla="*/ 4467225 h 4496940"/>
                    <a:gd name="connsiteX53" fmla="*/ 2545102 w 4519987"/>
                    <a:gd name="connsiteY53" fmla="*/ 4486275 h 4496940"/>
                    <a:gd name="connsiteX54" fmla="*/ 2306977 w 4519987"/>
                    <a:gd name="connsiteY54" fmla="*/ 4476750 h 4496940"/>
                    <a:gd name="connsiteX55" fmla="*/ 2202202 w 4519987"/>
                    <a:gd name="connsiteY55" fmla="*/ 4457700 h 4496940"/>
                    <a:gd name="connsiteX56" fmla="*/ 2126002 w 4519987"/>
                    <a:gd name="connsiteY56" fmla="*/ 4429125 h 4496940"/>
                    <a:gd name="connsiteX57" fmla="*/ 1935502 w 4519987"/>
                    <a:gd name="connsiteY57" fmla="*/ 4400550 h 4496940"/>
                    <a:gd name="connsiteX58" fmla="*/ 1821202 w 4519987"/>
                    <a:gd name="connsiteY58" fmla="*/ 4371975 h 4496940"/>
                    <a:gd name="connsiteX59" fmla="*/ 1754527 w 4519987"/>
                    <a:gd name="connsiteY59" fmla="*/ 4352925 h 4496940"/>
                    <a:gd name="connsiteX60" fmla="*/ 1687852 w 4519987"/>
                    <a:gd name="connsiteY60" fmla="*/ 4343400 h 4496940"/>
                    <a:gd name="connsiteX61" fmla="*/ 1573552 w 4519987"/>
                    <a:gd name="connsiteY61" fmla="*/ 4305300 h 4496940"/>
                    <a:gd name="connsiteX62" fmla="*/ 1402102 w 4519987"/>
                    <a:gd name="connsiteY62" fmla="*/ 4276725 h 4496940"/>
                    <a:gd name="connsiteX63" fmla="*/ 1287802 w 4519987"/>
                    <a:gd name="connsiteY63" fmla="*/ 4229100 h 4496940"/>
                    <a:gd name="connsiteX64" fmla="*/ 1221127 w 4519987"/>
                    <a:gd name="connsiteY64" fmla="*/ 4200525 h 4496940"/>
                    <a:gd name="connsiteX65" fmla="*/ 1144927 w 4519987"/>
                    <a:gd name="connsiteY65" fmla="*/ 4171950 h 4496940"/>
                    <a:gd name="connsiteX66" fmla="*/ 1087777 w 4519987"/>
                    <a:gd name="connsiteY66" fmla="*/ 4143375 h 4496940"/>
                    <a:gd name="connsiteX67" fmla="*/ 1030627 w 4519987"/>
                    <a:gd name="connsiteY67" fmla="*/ 4124325 h 4496940"/>
                    <a:gd name="connsiteX68" fmla="*/ 925852 w 4519987"/>
                    <a:gd name="connsiteY68" fmla="*/ 4067175 h 4496940"/>
                    <a:gd name="connsiteX69" fmla="*/ 830602 w 4519987"/>
                    <a:gd name="connsiteY69" fmla="*/ 3981450 h 4496940"/>
                    <a:gd name="connsiteX70" fmla="*/ 763927 w 4519987"/>
                    <a:gd name="connsiteY70" fmla="*/ 3914775 h 4496940"/>
                    <a:gd name="connsiteX71" fmla="*/ 725827 w 4519987"/>
                    <a:gd name="connsiteY71" fmla="*/ 3876675 h 4496940"/>
                    <a:gd name="connsiteX72" fmla="*/ 697252 w 4519987"/>
                    <a:gd name="connsiteY72" fmla="*/ 3838575 h 4496940"/>
                    <a:gd name="connsiteX73" fmla="*/ 640102 w 4519987"/>
                    <a:gd name="connsiteY73" fmla="*/ 3781425 h 4496940"/>
                    <a:gd name="connsiteX74" fmla="*/ 611527 w 4519987"/>
                    <a:gd name="connsiteY74" fmla="*/ 3733800 h 4496940"/>
                    <a:gd name="connsiteX75" fmla="*/ 554377 w 4519987"/>
                    <a:gd name="connsiteY75" fmla="*/ 3657600 h 4496940"/>
                    <a:gd name="connsiteX76" fmla="*/ 525802 w 4519987"/>
                    <a:gd name="connsiteY76" fmla="*/ 3609975 h 4496940"/>
                    <a:gd name="connsiteX77" fmla="*/ 497227 w 4519987"/>
                    <a:gd name="connsiteY77" fmla="*/ 3552825 h 4496940"/>
                    <a:gd name="connsiteX78" fmla="*/ 440077 w 4519987"/>
                    <a:gd name="connsiteY78" fmla="*/ 3495675 h 4496940"/>
                    <a:gd name="connsiteX79" fmla="*/ 411502 w 4519987"/>
                    <a:gd name="connsiteY79" fmla="*/ 3448050 h 4496940"/>
                    <a:gd name="connsiteX80" fmla="*/ 278152 w 4519987"/>
                    <a:gd name="connsiteY80" fmla="*/ 3257550 h 4496940"/>
                    <a:gd name="connsiteX81" fmla="*/ 249577 w 4519987"/>
                    <a:gd name="connsiteY81" fmla="*/ 3200400 h 4496940"/>
                    <a:gd name="connsiteX82" fmla="*/ 240052 w 4519987"/>
                    <a:gd name="connsiteY82" fmla="*/ 3162300 h 4496940"/>
                    <a:gd name="connsiteX83" fmla="*/ 221002 w 4519987"/>
                    <a:gd name="connsiteY83" fmla="*/ 3105150 h 4496940"/>
                    <a:gd name="connsiteX84" fmla="*/ 173377 w 4519987"/>
                    <a:gd name="connsiteY84" fmla="*/ 3019425 h 4496940"/>
                    <a:gd name="connsiteX85" fmla="*/ 144802 w 4519987"/>
                    <a:gd name="connsiteY85" fmla="*/ 2924175 h 4496940"/>
                    <a:gd name="connsiteX86" fmla="*/ 68602 w 4519987"/>
                    <a:gd name="connsiteY86" fmla="*/ 2724150 h 4496940"/>
                    <a:gd name="connsiteX87" fmla="*/ 49552 w 4519987"/>
                    <a:gd name="connsiteY87" fmla="*/ 2638425 h 4496940"/>
                    <a:gd name="connsiteX88" fmla="*/ 40027 w 4519987"/>
                    <a:gd name="connsiteY88" fmla="*/ 2562225 h 4496940"/>
                    <a:gd name="connsiteX89" fmla="*/ 30502 w 4519987"/>
                    <a:gd name="connsiteY89" fmla="*/ 2514600 h 4496940"/>
                    <a:gd name="connsiteX90" fmla="*/ 11452 w 4519987"/>
                    <a:gd name="connsiteY90" fmla="*/ 2400300 h 4496940"/>
                    <a:gd name="connsiteX91" fmla="*/ 20977 w 4519987"/>
                    <a:gd name="connsiteY91" fmla="*/ 1905000 h 4496940"/>
                    <a:gd name="connsiteX92" fmla="*/ 30502 w 4519987"/>
                    <a:gd name="connsiteY92" fmla="*/ 1838325 h 4496940"/>
                    <a:gd name="connsiteX93" fmla="*/ 49552 w 4519987"/>
                    <a:gd name="connsiteY93" fmla="*/ 1781175 h 4496940"/>
                    <a:gd name="connsiteX94" fmla="*/ 59077 w 4519987"/>
                    <a:gd name="connsiteY94" fmla="*/ 1743075 h 4496940"/>
                    <a:gd name="connsiteX95" fmla="*/ 78127 w 4519987"/>
                    <a:gd name="connsiteY95" fmla="*/ 1685925 h 4496940"/>
                    <a:gd name="connsiteX96" fmla="*/ 87652 w 4519987"/>
                    <a:gd name="connsiteY96" fmla="*/ 1638300 h 4496940"/>
                    <a:gd name="connsiteX97" fmla="*/ 106702 w 4519987"/>
                    <a:gd name="connsiteY97" fmla="*/ 1590675 h 4496940"/>
                    <a:gd name="connsiteX98" fmla="*/ 135277 w 4519987"/>
                    <a:gd name="connsiteY98" fmla="*/ 1504950 h 4496940"/>
                    <a:gd name="connsiteX99" fmla="*/ 154327 w 4519987"/>
                    <a:gd name="connsiteY99" fmla="*/ 1419225 h 4496940"/>
                    <a:gd name="connsiteX100" fmla="*/ 230527 w 4519987"/>
                    <a:gd name="connsiteY100" fmla="*/ 1276350 h 4496940"/>
                    <a:gd name="connsiteX101" fmla="*/ 240052 w 4519987"/>
                    <a:gd name="connsiteY101" fmla="*/ 1247775 h 4496940"/>
                    <a:gd name="connsiteX102" fmla="*/ 268627 w 4519987"/>
                    <a:gd name="connsiteY102" fmla="*/ 1200150 h 4496940"/>
                    <a:gd name="connsiteX103" fmla="*/ 287677 w 4519987"/>
                    <a:gd name="connsiteY103" fmla="*/ 1152525 h 4496940"/>
                    <a:gd name="connsiteX104" fmla="*/ 316252 w 4519987"/>
                    <a:gd name="connsiteY104" fmla="*/ 1114425 h 4496940"/>
                    <a:gd name="connsiteX105" fmla="*/ 363877 w 4519987"/>
                    <a:gd name="connsiteY105" fmla="*/ 1038225 h 4496940"/>
                    <a:gd name="connsiteX106" fmla="*/ 382927 w 4519987"/>
                    <a:gd name="connsiteY106" fmla="*/ 1009650 h 4496940"/>
                    <a:gd name="connsiteX107" fmla="*/ 440077 w 4519987"/>
                    <a:gd name="connsiteY107" fmla="*/ 904875 h 4496940"/>
                    <a:gd name="connsiteX108" fmla="*/ 478177 w 4519987"/>
                    <a:gd name="connsiteY108" fmla="*/ 857250 h 4496940"/>
                    <a:gd name="connsiteX109" fmla="*/ 497227 w 4519987"/>
                    <a:gd name="connsiteY109" fmla="*/ 828675 h 4496940"/>
                    <a:gd name="connsiteX110" fmla="*/ 535327 w 4519987"/>
                    <a:gd name="connsiteY110" fmla="*/ 800100 h 4496940"/>
                    <a:gd name="connsiteX111" fmla="*/ 602002 w 4519987"/>
                    <a:gd name="connsiteY111" fmla="*/ 733425 h 4496940"/>
                    <a:gd name="connsiteX112" fmla="*/ 668677 w 4519987"/>
                    <a:gd name="connsiteY112" fmla="*/ 676275 h 4496940"/>
                    <a:gd name="connsiteX113" fmla="*/ 697252 w 4519987"/>
                    <a:gd name="connsiteY113" fmla="*/ 657225 h 4496940"/>
                    <a:gd name="connsiteX114" fmla="*/ 840127 w 4519987"/>
                    <a:gd name="connsiteY114" fmla="*/ 533400 h 4496940"/>
                    <a:gd name="connsiteX115" fmla="*/ 887752 w 4519987"/>
                    <a:gd name="connsiteY115" fmla="*/ 504825 h 4496940"/>
                    <a:gd name="connsiteX116" fmla="*/ 1167152 w 4519987"/>
                    <a:gd name="connsiteY116" fmla="*/ 311150 h 4496940"/>
                    <a:gd name="connsiteX117" fmla="*/ 1268752 w 4519987"/>
                    <a:gd name="connsiteY117" fmla="*/ 285750 h 4496940"/>
                    <a:gd name="connsiteX118" fmla="*/ 1411627 w 4519987"/>
                    <a:gd name="connsiteY118" fmla="*/ 190500 h 4496940"/>
                    <a:gd name="connsiteX119" fmla="*/ 1449727 w 4519987"/>
                    <a:gd name="connsiteY119" fmla="*/ 161925 h 4496940"/>
                    <a:gd name="connsiteX120" fmla="*/ 1525927 w 4519987"/>
                    <a:gd name="connsiteY120" fmla="*/ 152400 h 4496940"/>
                    <a:gd name="connsiteX121" fmla="*/ 1583077 w 4519987"/>
                    <a:gd name="connsiteY121" fmla="*/ 142875 h 4496940"/>
                    <a:gd name="connsiteX122" fmla="*/ 1716427 w 4519987"/>
                    <a:gd name="connsiteY122" fmla="*/ 123825 h 4496940"/>
                    <a:gd name="connsiteX123" fmla="*/ 1811677 w 4519987"/>
                    <a:gd name="connsiteY123" fmla="*/ 114300 h 4496940"/>
                    <a:gd name="connsiteX124" fmla="*/ 1859302 w 4519987"/>
                    <a:gd name="connsiteY124" fmla="*/ 104775 h 4496940"/>
                    <a:gd name="connsiteX125" fmla="*/ 1916452 w 4519987"/>
                    <a:gd name="connsiteY125" fmla="*/ 95250 h 4496940"/>
                    <a:gd name="connsiteX126" fmla="*/ 2030752 w 4519987"/>
                    <a:gd name="connsiteY126" fmla="*/ 66675 h 4496940"/>
                    <a:gd name="connsiteX127" fmla="*/ 2097427 w 4519987"/>
                    <a:gd name="connsiteY127" fmla="*/ 47625 h 4496940"/>
                    <a:gd name="connsiteX128" fmla="*/ 2164102 w 4519987"/>
                    <a:gd name="connsiteY128" fmla="*/ 38100 h 4496940"/>
                    <a:gd name="connsiteX129" fmla="*/ 2392702 w 4519987"/>
                    <a:gd name="connsiteY12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497602 w 4519987"/>
                    <a:gd name="connsiteY40" fmla="*/ 4143375 h 4496940"/>
                    <a:gd name="connsiteX41" fmla="*/ 3383302 w 4519987"/>
                    <a:gd name="connsiteY41" fmla="*/ 4210050 h 4496940"/>
                    <a:gd name="connsiteX42" fmla="*/ 3335677 w 4519987"/>
                    <a:gd name="connsiteY42" fmla="*/ 4238625 h 4496940"/>
                    <a:gd name="connsiteX43" fmla="*/ 3288052 w 4519987"/>
                    <a:gd name="connsiteY43" fmla="*/ 4248150 h 4496940"/>
                    <a:gd name="connsiteX44" fmla="*/ 3240427 w 4519987"/>
                    <a:gd name="connsiteY44" fmla="*/ 4267200 h 4496940"/>
                    <a:gd name="connsiteX45" fmla="*/ 3068977 w 4519987"/>
                    <a:gd name="connsiteY45" fmla="*/ 4286250 h 4496940"/>
                    <a:gd name="connsiteX46" fmla="*/ 2935627 w 4519987"/>
                    <a:gd name="connsiteY46" fmla="*/ 4333875 h 4496940"/>
                    <a:gd name="connsiteX47" fmla="*/ 2811802 w 4519987"/>
                    <a:gd name="connsiteY47" fmla="*/ 4371975 h 4496940"/>
                    <a:gd name="connsiteX48" fmla="*/ 2745127 w 4519987"/>
                    <a:gd name="connsiteY48" fmla="*/ 4410075 h 4496940"/>
                    <a:gd name="connsiteX49" fmla="*/ 2697502 w 4519987"/>
                    <a:gd name="connsiteY49" fmla="*/ 4429125 h 4496940"/>
                    <a:gd name="connsiteX50" fmla="*/ 2640352 w 4519987"/>
                    <a:gd name="connsiteY50" fmla="*/ 4457700 h 4496940"/>
                    <a:gd name="connsiteX51" fmla="*/ 2583202 w 4519987"/>
                    <a:gd name="connsiteY51" fmla="*/ 4467225 h 4496940"/>
                    <a:gd name="connsiteX52" fmla="*/ 2545102 w 4519987"/>
                    <a:gd name="connsiteY52" fmla="*/ 4486275 h 4496940"/>
                    <a:gd name="connsiteX53" fmla="*/ 2306977 w 4519987"/>
                    <a:gd name="connsiteY53" fmla="*/ 4476750 h 4496940"/>
                    <a:gd name="connsiteX54" fmla="*/ 2202202 w 4519987"/>
                    <a:gd name="connsiteY54" fmla="*/ 4457700 h 4496940"/>
                    <a:gd name="connsiteX55" fmla="*/ 2126002 w 4519987"/>
                    <a:gd name="connsiteY55" fmla="*/ 4429125 h 4496940"/>
                    <a:gd name="connsiteX56" fmla="*/ 1935502 w 4519987"/>
                    <a:gd name="connsiteY56" fmla="*/ 4400550 h 4496940"/>
                    <a:gd name="connsiteX57" fmla="*/ 1821202 w 4519987"/>
                    <a:gd name="connsiteY57" fmla="*/ 4371975 h 4496940"/>
                    <a:gd name="connsiteX58" fmla="*/ 1754527 w 4519987"/>
                    <a:gd name="connsiteY58" fmla="*/ 4352925 h 4496940"/>
                    <a:gd name="connsiteX59" fmla="*/ 1687852 w 4519987"/>
                    <a:gd name="connsiteY59" fmla="*/ 4343400 h 4496940"/>
                    <a:gd name="connsiteX60" fmla="*/ 1573552 w 4519987"/>
                    <a:gd name="connsiteY60" fmla="*/ 4305300 h 4496940"/>
                    <a:gd name="connsiteX61" fmla="*/ 1402102 w 4519987"/>
                    <a:gd name="connsiteY61" fmla="*/ 4276725 h 4496940"/>
                    <a:gd name="connsiteX62" fmla="*/ 1287802 w 4519987"/>
                    <a:gd name="connsiteY62" fmla="*/ 4229100 h 4496940"/>
                    <a:gd name="connsiteX63" fmla="*/ 1221127 w 4519987"/>
                    <a:gd name="connsiteY63" fmla="*/ 4200525 h 4496940"/>
                    <a:gd name="connsiteX64" fmla="*/ 1144927 w 4519987"/>
                    <a:gd name="connsiteY64" fmla="*/ 4171950 h 4496940"/>
                    <a:gd name="connsiteX65" fmla="*/ 1087777 w 4519987"/>
                    <a:gd name="connsiteY65" fmla="*/ 4143375 h 4496940"/>
                    <a:gd name="connsiteX66" fmla="*/ 1030627 w 4519987"/>
                    <a:gd name="connsiteY66" fmla="*/ 4124325 h 4496940"/>
                    <a:gd name="connsiteX67" fmla="*/ 925852 w 4519987"/>
                    <a:gd name="connsiteY67" fmla="*/ 4067175 h 4496940"/>
                    <a:gd name="connsiteX68" fmla="*/ 830602 w 4519987"/>
                    <a:gd name="connsiteY68" fmla="*/ 3981450 h 4496940"/>
                    <a:gd name="connsiteX69" fmla="*/ 763927 w 4519987"/>
                    <a:gd name="connsiteY69" fmla="*/ 3914775 h 4496940"/>
                    <a:gd name="connsiteX70" fmla="*/ 725827 w 4519987"/>
                    <a:gd name="connsiteY70" fmla="*/ 3876675 h 4496940"/>
                    <a:gd name="connsiteX71" fmla="*/ 697252 w 4519987"/>
                    <a:gd name="connsiteY71" fmla="*/ 3838575 h 4496940"/>
                    <a:gd name="connsiteX72" fmla="*/ 640102 w 4519987"/>
                    <a:gd name="connsiteY72" fmla="*/ 3781425 h 4496940"/>
                    <a:gd name="connsiteX73" fmla="*/ 611527 w 4519987"/>
                    <a:gd name="connsiteY73" fmla="*/ 3733800 h 4496940"/>
                    <a:gd name="connsiteX74" fmla="*/ 554377 w 4519987"/>
                    <a:gd name="connsiteY74" fmla="*/ 3657600 h 4496940"/>
                    <a:gd name="connsiteX75" fmla="*/ 525802 w 4519987"/>
                    <a:gd name="connsiteY75" fmla="*/ 3609975 h 4496940"/>
                    <a:gd name="connsiteX76" fmla="*/ 497227 w 4519987"/>
                    <a:gd name="connsiteY76" fmla="*/ 3552825 h 4496940"/>
                    <a:gd name="connsiteX77" fmla="*/ 440077 w 4519987"/>
                    <a:gd name="connsiteY77" fmla="*/ 3495675 h 4496940"/>
                    <a:gd name="connsiteX78" fmla="*/ 411502 w 4519987"/>
                    <a:gd name="connsiteY78" fmla="*/ 3448050 h 4496940"/>
                    <a:gd name="connsiteX79" fmla="*/ 278152 w 4519987"/>
                    <a:gd name="connsiteY79" fmla="*/ 3257550 h 4496940"/>
                    <a:gd name="connsiteX80" fmla="*/ 249577 w 4519987"/>
                    <a:gd name="connsiteY80" fmla="*/ 3200400 h 4496940"/>
                    <a:gd name="connsiteX81" fmla="*/ 240052 w 4519987"/>
                    <a:gd name="connsiteY81" fmla="*/ 3162300 h 4496940"/>
                    <a:gd name="connsiteX82" fmla="*/ 221002 w 4519987"/>
                    <a:gd name="connsiteY82" fmla="*/ 3105150 h 4496940"/>
                    <a:gd name="connsiteX83" fmla="*/ 173377 w 4519987"/>
                    <a:gd name="connsiteY83" fmla="*/ 3019425 h 4496940"/>
                    <a:gd name="connsiteX84" fmla="*/ 144802 w 4519987"/>
                    <a:gd name="connsiteY84" fmla="*/ 2924175 h 4496940"/>
                    <a:gd name="connsiteX85" fmla="*/ 68602 w 4519987"/>
                    <a:gd name="connsiteY85" fmla="*/ 2724150 h 4496940"/>
                    <a:gd name="connsiteX86" fmla="*/ 49552 w 4519987"/>
                    <a:gd name="connsiteY86" fmla="*/ 2638425 h 4496940"/>
                    <a:gd name="connsiteX87" fmla="*/ 40027 w 4519987"/>
                    <a:gd name="connsiteY87" fmla="*/ 2562225 h 4496940"/>
                    <a:gd name="connsiteX88" fmla="*/ 30502 w 4519987"/>
                    <a:gd name="connsiteY88" fmla="*/ 2514600 h 4496940"/>
                    <a:gd name="connsiteX89" fmla="*/ 11452 w 4519987"/>
                    <a:gd name="connsiteY89" fmla="*/ 2400300 h 4496940"/>
                    <a:gd name="connsiteX90" fmla="*/ 20977 w 4519987"/>
                    <a:gd name="connsiteY90" fmla="*/ 1905000 h 4496940"/>
                    <a:gd name="connsiteX91" fmla="*/ 30502 w 4519987"/>
                    <a:gd name="connsiteY91" fmla="*/ 1838325 h 4496940"/>
                    <a:gd name="connsiteX92" fmla="*/ 49552 w 4519987"/>
                    <a:gd name="connsiteY92" fmla="*/ 1781175 h 4496940"/>
                    <a:gd name="connsiteX93" fmla="*/ 59077 w 4519987"/>
                    <a:gd name="connsiteY93" fmla="*/ 1743075 h 4496940"/>
                    <a:gd name="connsiteX94" fmla="*/ 78127 w 4519987"/>
                    <a:gd name="connsiteY94" fmla="*/ 1685925 h 4496940"/>
                    <a:gd name="connsiteX95" fmla="*/ 87652 w 4519987"/>
                    <a:gd name="connsiteY95" fmla="*/ 1638300 h 4496940"/>
                    <a:gd name="connsiteX96" fmla="*/ 106702 w 4519987"/>
                    <a:gd name="connsiteY96" fmla="*/ 1590675 h 4496940"/>
                    <a:gd name="connsiteX97" fmla="*/ 135277 w 4519987"/>
                    <a:gd name="connsiteY97" fmla="*/ 1504950 h 4496940"/>
                    <a:gd name="connsiteX98" fmla="*/ 154327 w 4519987"/>
                    <a:gd name="connsiteY98" fmla="*/ 1419225 h 4496940"/>
                    <a:gd name="connsiteX99" fmla="*/ 230527 w 4519987"/>
                    <a:gd name="connsiteY99" fmla="*/ 1276350 h 4496940"/>
                    <a:gd name="connsiteX100" fmla="*/ 240052 w 4519987"/>
                    <a:gd name="connsiteY100" fmla="*/ 1247775 h 4496940"/>
                    <a:gd name="connsiteX101" fmla="*/ 268627 w 4519987"/>
                    <a:gd name="connsiteY101" fmla="*/ 1200150 h 4496940"/>
                    <a:gd name="connsiteX102" fmla="*/ 287677 w 4519987"/>
                    <a:gd name="connsiteY102" fmla="*/ 1152525 h 4496940"/>
                    <a:gd name="connsiteX103" fmla="*/ 316252 w 4519987"/>
                    <a:gd name="connsiteY103" fmla="*/ 1114425 h 4496940"/>
                    <a:gd name="connsiteX104" fmla="*/ 363877 w 4519987"/>
                    <a:gd name="connsiteY104" fmla="*/ 1038225 h 4496940"/>
                    <a:gd name="connsiteX105" fmla="*/ 382927 w 4519987"/>
                    <a:gd name="connsiteY105" fmla="*/ 1009650 h 4496940"/>
                    <a:gd name="connsiteX106" fmla="*/ 440077 w 4519987"/>
                    <a:gd name="connsiteY106" fmla="*/ 904875 h 4496940"/>
                    <a:gd name="connsiteX107" fmla="*/ 478177 w 4519987"/>
                    <a:gd name="connsiteY107" fmla="*/ 857250 h 4496940"/>
                    <a:gd name="connsiteX108" fmla="*/ 497227 w 4519987"/>
                    <a:gd name="connsiteY108" fmla="*/ 828675 h 4496940"/>
                    <a:gd name="connsiteX109" fmla="*/ 535327 w 4519987"/>
                    <a:gd name="connsiteY109" fmla="*/ 800100 h 4496940"/>
                    <a:gd name="connsiteX110" fmla="*/ 602002 w 4519987"/>
                    <a:gd name="connsiteY110" fmla="*/ 733425 h 4496940"/>
                    <a:gd name="connsiteX111" fmla="*/ 668677 w 4519987"/>
                    <a:gd name="connsiteY111" fmla="*/ 676275 h 4496940"/>
                    <a:gd name="connsiteX112" fmla="*/ 697252 w 4519987"/>
                    <a:gd name="connsiteY112" fmla="*/ 657225 h 4496940"/>
                    <a:gd name="connsiteX113" fmla="*/ 840127 w 4519987"/>
                    <a:gd name="connsiteY113" fmla="*/ 533400 h 4496940"/>
                    <a:gd name="connsiteX114" fmla="*/ 887752 w 4519987"/>
                    <a:gd name="connsiteY114" fmla="*/ 504825 h 4496940"/>
                    <a:gd name="connsiteX115" fmla="*/ 1167152 w 4519987"/>
                    <a:gd name="connsiteY115" fmla="*/ 311150 h 4496940"/>
                    <a:gd name="connsiteX116" fmla="*/ 1268752 w 4519987"/>
                    <a:gd name="connsiteY116" fmla="*/ 285750 h 4496940"/>
                    <a:gd name="connsiteX117" fmla="*/ 1411627 w 4519987"/>
                    <a:gd name="connsiteY117" fmla="*/ 190500 h 4496940"/>
                    <a:gd name="connsiteX118" fmla="*/ 1449727 w 4519987"/>
                    <a:gd name="connsiteY118" fmla="*/ 161925 h 4496940"/>
                    <a:gd name="connsiteX119" fmla="*/ 1525927 w 4519987"/>
                    <a:gd name="connsiteY119" fmla="*/ 152400 h 4496940"/>
                    <a:gd name="connsiteX120" fmla="*/ 1583077 w 4519987"/>
                    <a:gd name="connsiteY120" fmla="*/ 142875 h 4496940"/>
                    <a:gd name="connsiteX121" fmla="*/ 1716427 w 4519987"/>
                    <a:gd name="connsiteY121" fmla="*/ 123825 h 4496940"/>
                    <a:gd name="connsiteX122" fmla="*/ 1811677 w 4519987"/>
                    <a:gd name="connsiteY122" fmla="*/ 114300 h 4496940"/>
                    <a:gd name="connsiteX123" fmla="*/ 1859302 w 4519987"/>
                    <a:gd name="connsiteY123" fmla="*/ 104775 h 4496940"/>
                    <a:gd name="connsiteX124" fmla="*/ 1916452 w 4519987"/>
                    <a:gd name="connsiteY124" fmla="*/ 95250 h 4496940"/>
                    <a:gd name="connsiteX125" fmla="*/ 2030752 w 4519987"/>
                    <a:gd name="connsiteY125" fmla="*/ 66675 h 4496940"/>
                    <a:gd name="connsiteX126" fmla="*/ 2097427 w 4519987"/>
                    <a:gd name="connsiteY126" fmla="*/ 47625 h 4496940"/>
                    <a:gd name="connsiteX127" fmla="*/ 2164102 w 4519987"/>
                    <a:gd name="connsiteY127" fmla="*/ 38100 h 4496940"/>
                    <a:gd name="connsiteX128" fmla="*/ 2392702 w 4519987"/>
                    <a:gd name="connsiteY12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383302 w 4519987"/>
                    <a:gd name="connsiteY40" fmla="*/ 4210050 h 4496940"/>
                    <a:gd name="connsiteX41" fmla="*/ 3335677 w 4519987"/>
                    <a:gd name="connsiteY41" fmla="*/ 4238625 h 4496940"/>
                    <a:gd name="connsiteX42" fmla="*/ 3288052 w 4519987"/>
                    <a:gd name="connsiteY42" fmla="*/ 4248150 h 4496940"/>
                    <a:gd name="connsiteX43" fmla="*/ 3240427 w 4519987"/>
                    <a:gd name="connsiteY43" fmla="*/ 4267200 h 4496940"/>
                    <a:gd name="connsiteX44" fmla="*/ 3068977 w 4519987"/>
                    <a:gd name="connsiteY44" fmla="*/ 4286250 h 4496940"/>
                    <a:gd name="connsiteX45" fmla="*/ 2935627 w 4519987"/>
                    <a:gd name="connsiteY45" fmla="*/ 4333875 h 4496940"/>
                    <a:gd name="connsiteX46" fmla="*/ 2811802 w 4519987"/>
                    <a:gd name="connsiteY46" fmla="*/ 4371975 h 4496940"/>
                    <a:gd name="connsiteX47" fmla="*/ 2745127 w 4519987"/>
                    <a:gd name="connsiteY47" fmla="*/ 4410075 h 4496940"/>
                    <a:gd name="connsiteX48" fmla="*/ 2697502 w 4519987"/>
                    <a:gd name="connsiteY48" fmla="*/ 4429125 h 4496940"/>
                    <a:gd name="connsiteX49" fmla="*/ 2640352 w 4519987"/>
                    <a:gd name="connsiteY49" fmla="*/ 4457700 h 4496940"/>
                    <a:gd name="connsiteX50" fmla="*/ 2583202 w 4519987"/>
                    <a:gd name="connsiteY50" fmla="*/ 4467225 h 4496940"/>
                    <a:gd name="connsiteX51" fmla="*/ 2545102 w 4519987"/>
                    <a:gd name="connsiteY51" fmla="*/ 4486275 h 4496940"/>
                    <a:gd name="connsiteX52" fmla="*/ 2306977 w 4519987"/>
                    <a:gd name="connsiteY52" fmla="*/ 4476750 h 4496940"/>
                    <a:gd name="connsiteX53" fmla="*/ 2202202 w 4519987"/>
                    <a:gd name="connsiteY53" fmla="*/ 4457700 h 4496940"/>
                    <a:gd name="connsiteX54" fmla="*/ 2126002 w 4519987"/>
                    <a:gd name="connsiteY54" fmla="*/ 4429125 h 4496940"/>
                    <a:gd name="connsiteX55" fmla="*/ 1935502 w 4519987"/>
                    <a:gd name="connsiteY55" fmla="*/ 4400550 h 4496940"/>
                    <a:gd name="connsiteX56" fmla="*/ 1821202 w 4519987"/>
                    <a:gd name="connsiteY56" fmla="*/ 4371975 h 4496940"/>
                    <a:gd name="connsiteX57" fmla="*/ 1754527 w 4519987"/>
                    <a:gd name="connsiteY57" fmla="*/ 4352925 h 4496940"/>
                    <a:gd name="connsiteX58" fmla="*/ 1687852 w 4519987"/>
                    <a:gd name="connsiteY58" fmla="*/ 4343400 h 4496940"/>
                    <a:gd name="connsiteX59" fmla="*/ 1573552 w 4519987"/>
                    <a:gd name="connsiteY59" fmla="*/ 4305300 h 4496940"/>
                    <a:gd name="connsiteX60" fmla="*/ 1402102 w 4519987"/>
                    <a:gd name="connsiteY60" fmla="*/ 4276725 h 4496940"/>
                    <a:gd name="connsiteX61" fmla="*/ 1287802 w 4519987"/>
                    <a:gd name="connsiteY61" fmla="*/ 4229100 h 4496940"/>
                    <a:gd name="connsiteX62" fmla="*/ 1221127 w 4519987"/>
                    <a:gd name="connsiteY62" fmla="*/ 4200525 h 4496940"/>
                    <a:gd name="connsiteX63" fmla="*/ 1144927 w 4519987"/>
                    <a:gd name="connsiteY63" fmla="*/ 4171950 h 4496940"/>
                    <a:gd name="connsiteX64" fmla="*/ 1087777 w 4519987"/>
                    <a:gd name="connsiteY64" fmla="*/ 4143375 h 4496940"/>
                    <a:gd name="connsiteX65" fmla="*/ 1030627 w 4519987"/>
                    <a:gd name="connsiteY65" fmla="*/ 4124325 h 4496940"/>
                    <a:gd name="connsiteX66" fmla="*/ 925852 w 4519987"/>
                    <a:gd name="connsiteY66" fmla="*/ 4067175 h 4496940"/>
                    <a:gd name="connsiteX67" fmla="*/ 830602 w 4519987"/>
                    <a:gd name="connsiteY67" fmla="*/ 3981450 h 4496940"/>
                    <a:gd name="connsiteX68" fmla="*/ 763927 w 4519987"/>
                    <a:gd name="connsiteY68" fmla="*/ 3914775 h 4496940"/>
                    <a:gd name="connsiteX69" fmla="*/ 725827 w 4519987"/>
                    <a:gd name="connsiteY69" fmla="*/ 3876675 h 4496940"/>
                    <a:gd name="connsiteX70" fmla="*/ 697252 w 4519987"/>
                    <a:gd name="connsiteY70" fmla="*/ 3838575 h 4496940"/>
                    <a:gd name="connsiteX71" fmla="*/ 640102 w 4519987"/>
                    <a:gd name="connsiteY71" fmla="*/ 3781425 h 4496940"/>
                    <a:gd name="connsiteX72" fmla="*/ 611527 w 4519987"/>
                    <a:gd name="connsiteY72" fmla="*/ 3733800 h 4496940"/>
                    <a:gd name="connsiteX73" fmla="*/ 554377 w 4519987"/>
                    <a:gd name="connsiteY73" fmla="*/ 3657600 h 4496940"/>
                    <a:gd name="connsiteX74" fmla="*/ 525802 w 4519987"/>
                    <a:gd name="connsiteY74" fmla="*/ 3609975 h 4496940"/>
                    <a:gd name="connsiteX75" fmla="*/ 497227 w 4519987"/>
                    <a:gd name="connsiteY75" fmla="*/ 3552825 h 4496940"/>
                    <a:gd name="connsiteX76" fmla="*/ 440077 w 4519987"/>
                    <a:gd name="connsiteY76" fmla="*/ 3495675 h 4496940"/>
                    <a:gd name="connsiteX77" fmla="*/ 411502 w 4519987"/>
                    <a:gd name="connsiteY77" fmla="*/ 3448050 h 4496940"/>
                    <a:gd name="connsiteX78" fmla="*/ 278152 w 4519987"/>
                    <a:gd name="connsiteY78" fmla="*/ 3257550 h 4496940"/>
                    <a:gd name="connsiteX79" fmla="*/ 249577 w 4519987"/>
                    <a:gd name="connsiteY79" fmla="*/ 3200400 h 4496940"/>
                    <a:gd name="connsiteX80" fmla="*/ 240052 w 4519987"/>
                    <a:gd name="connsiteY80" fmla="*/ 3162300 h 4496940"/>
                    <a:gd name="connsiteX81" fmla="*/ 221002 w 4519987"/>
                    <a:gd name="connsiteY81" fmla="*/ 3105150 h 4496940"/>
                    <a:gd name="connsiteX82" fmla="*/ 173377 w 4519987"/>
                    <a:gd name="connsiteY82" fmla="*/ 3019425 h 4496940"/>
                    <a:gd name="connsiteX83" fmla="*/ 144802 w 4519987"/>
                    <a:gd name="connsiteY83" fmla="*/ 2924175 h 4496940"/>
                    <a:gd name="connsiteX84" fmla="*/ 68602 w 4519987"/>
                    <a:gd name="connsiteY84" fmla="*/ 2724150 h 4496940"/>
                    <a:gd name="connsiteX85" fmla="*/ 49552 w 4519987"/>
                    <a:gd name="connsiteY85" fmla="*/ 2638425 h 4496940"/>
                    <a:gd name="connsiteX86" fmla="*/ 40027 w 4519987"/>
                    <a:gd name="connsiteY86" fmla="*/ 2562225 h 4496940"/>
                    <a:gd name="connsiteX87" fmla="*/ 30502 w 4519987"/>
                    <a:gd name="connsiteY87" fmla="*/ 2514600 h 4496940"/>
                    <a:gd name="connsiteX88" fmla="*/ 11452 w 4519987"/>
                    <a:gd name="connsiteY88" fmla="*/ 2400300 h 4496940"/>
                    <a:gd name="connsiteX89" fmla="*/ 20977 w 4519987"/>
                    <a:gd name="connsiteY89" fmla="*/ 1905000 h 4496940"/>
                    <a:gd name="connsiteX90" fmla="*/ 30502 w 4519987"/>
                    <a:gd name="connsiteY90" fmla="*/ 1838325 h 4496940"/>
                    <a:gd name="connsiteX91" fmla="*/ 49552 w 4519987"/>
                    <a:gd name="connsiteY91" fmla="*/ 1781175 h 4496940"/>
                    <a:gd name="connsiteX92" fmla="*/ 59077 w 4519987"/>
                    <a:gd name="connsiteY92" fmla="*/ 1743075 h 4496940"/>
                    <a:gd name="connsiteX93" fmla="*/ 78127 w 4519987"/>
                    <a:gd name="connsiteY93" fmla="*/ 1685925 h 4496940"/>
                    <a:gd name="connsiteX94" fmla="*/ 87652 w 4519987"/>
                    <a:gd name="connsiteY94" fmla="*/ 1638300 h 4496940"/>
                    <a:gd name="connsiteX95" fmla="*/ 106702 w 4519987"/>
                    <a:gd name="connsiteY95" fmla="*/ 1590675 h 4496940"/>
                    <a:gd name="connsiteX96" fmla="*/ 135277 w 4519987"/>
                    <a:gd name="connsiteY96" fmla="*/ 1504950 h 4496940"/>
                    <a:gd name="connsiteX97" fmla="*/ 154327 w 4519987"/>
                    <a:gd name="connsiteY97" fmla="*/ 1419225 h 4496940"/>
                    <a:gd name="connsiteX98" fmla="*/ 230527 w 4519987"/>
                    <a:gd name="connsiteY98" fmla="*/ 1276350 h 4496940"/>
                    <a:gd name="connsiteX99" fmla="*/ 240052 w 4519987"/>
                    <a:gd name="connsiteY99" fmla="*/ 1247775 h 4496940"/>
                    <a:gd name="connsiteX100" fmla="*/ 268627 w 4519987"/>
                    <a:gd name="connsiteY100" fmla="*/ 1200150 h 4496940"/>
                    <a:gd name="connsiteX101" fmla="*/ 287677 w 4519987"/>
                    <a:gd name="connsiteY101" fmla="*/ 1152525 h 4496940"/>
                    <a:gd name="connsiteX102" fmla="*/ 316252 w 4519987"/>
                    <a:gd name="connsiteY102" fmla="*/ 1114425 h 4496940"/>
                    <a:gd name="connsiteX103" fmla="*/ 363877 w 4519987"/>
                    <a:gd name="connsiteY103" fmla="*/ 1038225 h 4496940"/>
                    <a:gd name="connsiteX104" fmla="*/ 382927 w 4519987"/>
                    <a:gd name="connsiteY104" fmla="*/ 1009650 h 4496940"/>
                    <a:gd name="connsiteX105" fmla="*/ 440077 w 4519987"/>
                    <a:gd name="connsiteY105" fmla="*/ 904875 h 4496940"/>
                    <a:gd name="connsiteX106" fmla="*/ 478177 w 4519987"/>
                    <a:gd name="connsiteY106" fmla="*/ 857250 h 4496940"/>
                    <a:gd name="connsiteX107" fmla="*/ 497227 w 4519987"/>
                    <a:gd name="connsiteY107" fmla="*/ 828675 h 4496940"/>
                    <a:gd name="connsiteX108" fmla="*/ 535327 w 4519987"/>
                    <a:gd name="connsiteY108" fmla="*/ 800100 h 4496940"/>
                    <a:gd name="connsiteX109" fmla="*/ 602002 w 4519987"/>
                    <a:gd name="connsiteY109" fmla="*/ 733425 h 4496940"/>
                    <a:gd name="connsiteX110" fmla="*/ 668677 w 4519987"/>
                    <a:gd name="connsiteY110" fmla="*/ 676275 h 4496940"/>
                    <a:gd name="connsiteX111" fmla="*/ 697252 w 4519987"/>
                    <a:gd name="connsiteY111" fmla="*/ 657225 h 4496940"/>
                    <a:gd name="connsiteX112" fmla="*/ 840127 w 4519987"/>
                    <a:gd name="connsiteY112" fmla="*/ 533400 h 4496940"/>
                    <a:gd name="connsiteX113" fmla="*/ 887752 w 4519987"/>
                    <a:gd name="connsiteY113" fmla="*/ 504825 h 4496940"/>
                    <a:gd name="connsiteX114" fmla="*/ 1167152 w 4519987"/>
                    <a:gd name="connsiteY114" fmla="*/ 311150 h 4496940"/>
                    <a:gd name="connsiteX115" fmla="*/ 1268752 w 4519987"/>
                    <a:gd name="connsiteY115" fmla="*/ 285750 h 4496940"/>
                    <a:gd name="connsiteX116" fmla="*/ 1411627 w 4519987"/>
                    <a:gd name="connsiteY116" fmla="*/ 190500 h 4496940"/>
                    <a:gd name="connsiteX117" fmla="*/ 1449727 w 4519987"/>
                    <a:gd name="connsiteY117" fmla="*/ 161925 h 4496940"/>
                    <a:gd name="connsiteX118" fmla="*/ 1525927 w 4519987"/>
                    <a:gd name="connsiteY118" fmla="*/ 152400 h 4496940"/>
                    <a:gd name="connsiteX119" fmla="*/ 1583077 w 4519987"/>
                    <a:gd name="connsiteY119" fmla="*/ 142875 h 4496940"/>
                    <a:gd name="connsiteX120" fmla="*/ 1716427 w 4519987"/>
                    <a:gd name="connsiteY120" fmla="*/ 123825 h 4496940"/>
                    <a:gd name="connsiteX121" fmla="*/ 1811677 w 4519987"/>
                    <a:gd name="connsiteY121" fmla="*/ 114300 h 4496940"/>
                    <a:gd name="connsiteX122" fmla="*/ 1859302 w 4519987"/>
                    <a:gd name="connsiteY122" fmla="*/ 104775 h 4496940"/>
                    <a:gd name="connsiteX123" fmla="*/ 1916452 w 4519987"/>
                    <a:gd name="connsiteY123" fmla="*/ 95250 h 4496940"/>
                    <a:gd name="connsiteX124" fmla="*/ 2030752 w 4519987"/>
                    <a:gd name="connsiteY124" fmla="*/ 66675 h 4496940"/>
                    <a:gd name="connsiteX125" fmla="*/ 2097427 w 4519987"/>
                    <a:gd name="connsiteY125" fmla="*/ 47625 h 4496940"/>
                    <a:gd name="connsiteX126" fmla="*/ 2164102 w 4519987"/>
                    <a:gd name="connsiteY126" fmla="*/ 38100 h 4496940"/>
                    <a:gd name="connsiteX127" fmla="*/ 2392702 w 4519987"/>
                    <a:gd name="connsiteY12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383302 w 4519987"/>
                    <a:gd name="connsiteY39" fmla="*/ 4210050 h 4496940"/>
                    <a:gd name="connsiteX40" fmla="*/ 3335677 w 4519987"/>
                    <a:gd name="connsiteY40" fmla="*/ 4238625 h 4496940"/>
                    <a:gd name="connsiteX41" fmla="*/ 3288052 w 4519987"/>
                    <a:gd name="connsiteY41" fmla="*/ 4248150 h 4496940"/>
                    <a:gd name="connsiteX42" fmla="*/ 3240427 w 4519987"/>
                    <a:gd name="connsiteY42" fmla="*/ 4267200 h 4496940"/>
                    <a:gd name="connsiteX43" fmla="*/ 3068977 w 4519987"/>
                    <a:gd name="connsiteY43" fmla="*/ 4286250 h 4496940"/>
                    <a:gd name="connsiteX44" fmla="*/ 2935627 w 4519987"/>
                    <a:gd name="connsiteY44" fmla="*/ 4333875 h 4496940"/>
                    <a:gd name="connsiteX45" fmla="*/ 2811802 w 4519987"/>
                    <a:gd name="connsiteY45" fmla="*/ 4371975 h 4496940"/>
                    <a:gd name="connsiteX46" fmla="*/ 2745127 w 4519987"/>
                    <a:gd name="connsiteY46" fmla="*/ 4410075 h 4496940"/>
                    <a:gd name="connsiteX47" fmla="*/ 2697502 w 4519987"/>
                    <a:gd name="connsiteY47" fmla="*/ 4429125 h 4496940"/>
                    <a:gd name="connsiteX48" fmla="*/ 2640352 w 4519987"/>
                    <a:gd name="connsiteY48" fmla="*/ 4457700 h 4496940"/>
                    <a:gd name="connsiteX49" fmla="*/ 2583202 w 4519987"/>
                    <a:gd name="connsiteY49" fmla="*/ 4467225 h 4496940"/>
                    <a:gd name="connsiteX50" fmla="*/ 2545102 w 4519987"/>
                    <a:gd name="connsiteY50" fmla="*/ 4486275 h 4496940"/>
                    <a:gd name="connsiteX51" fmla="*/ 2306977 w 4519987"/>
                    <a:gd name="connsiteY51" fmla="*/ 4476750 h 4496940"/>
                    <a:gd name="connsiteX52" fmla="*/ 2202202 w 4519987"/>
                    <a:gd name="connsiteY52" fmla="*/ 4457700 h 4496940"/>
                    <a:gd name="connsiteX53" fmla="*/ 2126002 w 4519987"/>
                    <a:gd name="connsiteY53" fmla="*/ 4429125 h 4496940"/>
                    <a:gd name="connsiteX54" fmla="*/ 1935502 w 4519987"/>
                    <a:gd name="connsiteY54" fmla="*/ 4400550 h 4496940"/>
                    <a:gd name="connsiteX55" fmla="*/ 1821202 w 4519987"/>
                    <a:gd name="connsiteY55" fmla="*/ 4371975 h 4496940"/>
                    <a:gd name="connsiteX56" fmla="*/ 1754527 w 4519987"/>
                    <a:gd name="connsiteY56" fmla="*/ 4352925 h 4496940"/>
                    <a:gd name="connsiteX57" fmla="*/ 1687852 w 4519987"/>
                    <a:gd name="connsiteY57" fmla="*/ 4343400 h 4496940"/>
                    <a:gd name="connsiteX58" fmla="*/ 1573552 w 4519987"/>
                    <a:gd name="connsiteY58" fmla="*/ 4305300 h 4496940"/>
                    <a:gd name="connsiteX59" fmla="*/ 1402102 w 4519987"/>
                    <a:gd name="connsiteY59" fmla="*/ 4276725 h 4496940"/>
                    <a:gd name="connsiteX60" fmla="*/ 1287802 w 4519987"/>
                    <a:gd name="connsiteY60" fmla="*/ 4229100 h 4496940"/>
                    <a:gd name="connsiteX61" fmla="*/ 1221127 w 4519987"/>
                    <a:gd name="connsiteY61" fmla="*/ 4200525 h 4496940"/>
                    <a:gd name="connsiteX62" fmla="*/ 1144927 w 4519987"/>
                    <a:gd name="connsiteY62" fmla="*/ 4171950 h 4496940"/>
                    <a:gd name="connsiteX63" fmla="*/ 1087777 w 4519987"/>
                    <a:gd name="connsiteY63" fmla="*/ 4143375 h 4496940"/>
                    <a:gd name="connsiteX64" fmla="*/ 1030627 w 4519987"/>
                    <a:gd name="connsiteY64" fmla="*/ 4124325 h 4496940"/>
                    <a:gd name="connsiteX65" fmla="*/ 925852 w 4519987"/>
                    <a:gd name="connsiteY65" fmla="*/ 4067175 h 4496940"/>
                    <a:gd name="connsiteX66" fmla="*/ 830602 w 4519987"/>
                    <a:gd name="connsiteY66" fmla="*/ 3981450 h 4496940"/>
                    <a:gd name="connsiteX67" fmla="*/ 763927 w 4519987"/>
                    <a:gd name="connsiteY67" fmla="*/ 3914775 h 4496940"/>
                    <a:gd name="connsiteX68" fmla="*/ 725827 w 4519987"/>
                    <a:gd name="connsiteY68" fmla="*/ 3876675 h 4496940"/>
                    <a:gd name="connsiteX69" fmla="*/ 697252 w 4519987"/>
                    <a:gd name="connsiteY69" fmla="*/ 3838575 h 4496940"/>
                    <a:gd name="connsiteX70" fmla="*/ 640102 w 4519987"/>
                    <a:gd name="connsiteY70" fmla="*/ 3781425 h 4496940"/>
                    <a:gd name="connsiteX71" fmla="*/ 611527 w 4519987"/>
                    <a:gd name="connsiteY71" fmla="*/ 3733800 h 4496940"/>
                    <a:gd name="connsiteX72" fmla="*/ 554377 w 4519987"/>
                    <a:gd name="connsiteY72" fmla="*/ 3657600 h 4496940"/>
                    <a:gd name="connsiteX73" fmla="*/ 525802 w 4519987"/>
                    <a:gd name="connsiteY73" fmla="*/ 3609975 h 4496940"/>
                    <a:gd name="connsiteX74" fmla="*/ 497227 w 4519987"/>
                    <a:gd name="connsiteY74" fmla="*/ 3552825 h 4496940"/>
                    <a:gd name="connsiteX75" fmla="*/ 440077 w 4519987"/>
                    <a:gd name="connsiteY75" fmla="*/ 3495675 h 4496940"/>
                    <a:gd name="connsiteX76" fmla="*/ 411502 w 4519987"/>
                    <a:gd name="connsiteY76" fmla="*/ 3448050 h 4496940"/>
                    <a:gd name="connsiteX77" fmla="*/ 278152 w 4519987"/>
                    <a:gd name="connsiteY77" fmla="*/ 3257550 h 4496940"/>
                    <a:gd name="connsiteX78" fmla="*/ 249577 w 4519987"/>
                    <a:gd name="connsiteY78" fmla="*/ 3200400 h 4496940"/>
                    <a:gd name="connsiteX79" fmla="*/ 240052 w 4519987"/>
                    <a:gd name="connsiteY79" fmla="*/ 3162300 h 4496940"/>
                    <a:gd name="connsiteX80" fmla="*/ 221002 w 4519987"/>
                    <a:gd name="connsiteY80" fmla="*/ 3105150 h 4496940"/>
                    <a:gd name="connsiteX81" fmla="*/ 173377 w 4519987"/>
                    <a:gd name="connsiteY81" fmla="*/ 3019425 h 4496940"/>
                    <a:gd name="connsiteX82" fmla="*/ 144802 w 4519987"/>
                    <a:gd name="connsiteY82" fmla="*/ 2924175 h 4496940"/>
                    <a:gd name="connsiteX83" fmla="*/ 68602 w 4519987"/>
                    <a:gd name="connsiteY83" fmla="*/ 2724150 h 4496940"/>
                    <a:gd name="connsiteX84" fmla="*/ 49552 w 4519987"/>
                    <a:gd name="connsiteY84" fmla="*/ 2638425 h 4496940"/>
                    <a:gd name="connsiteX85" fmla="*/ 40027 w 4519987"/>
                    <a:gd name="connsiteY85" fmla="*/ 2562225 h 4496940"/>
                    <a:gd name="connsiteX86" fmla="*/ 30502 w 4519987"/>
                    <a:gd name="connsiteY86" fmla="*/ 2514600 h 4496940"/>
                    <a:gd name="connsiteX87" fmla="*/ 11452 w 4519987"/>
                    <a:gd name="connsiteY87" fmla="*/ 2400300 h 4496940"/>
                    <a:gd name="connsiteX88" fmla="*/ 20977 w 4519987"/>
                    <a:gd name="connsiteY88" fmla="*/ 1905000 h 4496940"/>
                    <a:gd name="connsiteX89" fmla="*/ 30502 w 4519987"/>
                    <a:gd name="connsiteY89" fmla="*/ 1838325 h 4496940"/>
                    <a:gd name="connsiteX90" fmla="*/ 49552 w 4519987"/>
                    <a:gd name="connsiteY90" fmla="*/ 1781175 h 4496940"/>
                    <a:gd name="connsiteX91" fmla="*/ 59077 w 4519987"/>
                    <a:gd name="connsiteY91" fmla="*/ 1743075 h 4496940"/>
                    <a:gd name="connsiteX92" fmla="*/ 78127 w 4519987"/>
                    <a:gd name="connsiteY92" fmla="*/ 1685925 h 4496940"/>
                    <a:gd name="connsiteX93" fmla="*/ 87652 w 4519987"/>
                    <a:gd name="connsiteY93" fmla="*/ 1638300 h 4496940"/>
                    <a:gd name="connsiteX94" fmla="*/ 106702 w 4519987"/>
                    <a:gd name="connsiteY94" fmla="*/ 1590675 h 4496940"/>
                    <a:gd name="connsiteX95" fmla="*/ 135277 w 4519987"/>
                    <a:gd name="connsiteY95" fmla="*/ 1504950 h 4496940"/>
                    <a:gd name="connsiteX96" fmla="*/ 154327 w 4519987"/>
                    <a:gd name="connsiteY96" fmla="*/ 1419225 h 4496940"/>
                    <a:gd name="connsiteX97" fmla="*/ 230527 w 4519987"/>
                    <a:gd name="connsiteY97" fmla="*/ 1276350 h 4496940"/>
                    <a:gd name="connsiteX98" fmla="*/ 240052 w 4519987"/>
                    <a:gd name="connsiteY98" fmla="*/ 1247775 h 4496940"/>
                    <a:gd name="connsiteX99" fmla="*/ 268627 w 4519987"/>
                    <a:gd name="connsiteY99" fmla="*/ 1200150 h 4496940"/>
                    <a:gd name="connsiteX100" fmla="*/ 287677 w 4519987"/>
                    <a:gd name="connsiteY100" fmla="*/ 1152525 h 4496940"/>
                    <a:gd name="connsiteX101" fmla="*/ 316252 w 4519987"/>
                    <a:gd name="connsiteY101" fmla="*/ 1114425 h 4496940"/>
                    <a:gd name="connsiteX102" fmla="*/ 363877 w 4519987"/>
                    <a:gd name="connsiteY102" fmla="*/ 1038225 h 4496940"/>
                    <a:gd name="connsiteX103" fmla="*/ 382927 w 4519987"/>
                    <a:gd name="connsiteY103" fmla="*/ 1009650 h 4496940"/>
                    <a:gd name="connsiteX104" fmla="*/ 440077 w 4519987"/>
                    <a:gd name="connsiteY104" fmla="*/ 904875 h 4496940"/>
                    <a:gd name="connsiteX105" fmla="*/ 478177 w 4519987"/>
                    <a:gd name="connsiteY105" fmla="*/ 857250 h 4496940"/>
                    <a:gd name="connsiteX106" fmla="*/ 497227 w 4519987"/>
                    <a:gd name="connsiteY106" fmla="*/ 828675 h 4496940"/>
                    <a:gd name="connsiteX107" fmla="*/ 535327 w 4519987"/>
                    <a:gd name="connsiteY107" fmla="*/ 800100 h 4496940"/>
                    <a:gd name="connsiteX108" fmla="*/ 602002 w 4519987"/>
                    <a:gd name="connsiteY108" fmla="*/ 733425 h 4496940"/>
                    <a:gd name="connsiteX109" fmla="*/ 668677 w 4519987"/>
                    <a:gd name="connsiteY109" fmla="*/ 676275 h 4496940"/>
                    <a:gd name="connsiteX110" fmla="*/ 697252 w 4519987"/>
                    <a:gd name="connsiteY110" fmla="*/ 657225 h 4496940"/>
                    <a:gd name="connsiteX111" fmla="*/ 840127 w 4519987"/>
                    <a:gd name="connsiteY111" fmla="*/ 533400 h 4496940"/>
                    <a:gd name="connsiteX112" fmla="*/ 887752 w 4519987"/>
                    <a:gd name="connsiteY112" fmla="*/ 504825 h 4496940"/>
                    <a:gd name="connsiteX113" fmla="*/ 1167152 w 4519987"/>
                    <a:gd name="connsiteY113" fmla="*/ 311150 h 4496940"/>
                    <a:gd name="connsiteX114" fmla="*/ 1268752 w 4519987"/>
                    <a:gd name="connsiteY114" fmla="*/ 285750 h 4496940"/>
                    <a:gd name="connsiteX115" fmla="*/ 1411627 w 4519987"/>
                    <a:gd name="connsiteY115" fmla="*/ 190500 h 4496940"/>
                    <a:gd name="connsiteX116" fmla="*/ 1449727 w 4519987"/>
                    <a:gd name="connsiteY116" fmla="*/ 161925 h 4496940"/>
                    <a:gd name="connsiteX117" fmla="*/ 1525927 w 4519987"/>
                    <a:gd name="connsiteY117" fmla="*/ 152400 h 4496940"/>
                    <a:gd name="connsiteX118" fmla="*/ 1583077 w 4519987"/>
                    <a:gd name="connsiteY118" fmla="*/ 142875 h 4496940"/>
                    <a:gd name="connsiteX119" fmla="*/ 1716427 w 4519987"/>
                    <a:gd name="connsiteY119" fmla="*/ 123825 h 4496940"/>
                    <a:gd name="connsiteX120" fmla="*/ 1811677 w 4519987"/>
                    <a:gd name="connsiteY120" fmla="*/ 114300 h 4496940"/>
                    <a:gd name="connsiteX121" fmla="*/ 1859302 w 4519987"/>
                    <a:gd name="connsiteY121" fmla="*/ 104775 h 4496940"/>
                    <a:gd name="connsiteX122" fmla="*/ 1916452 w 4519987"/>
                    <a:gd name="connsiteY122" fmla="*/ 95250 h 4496940"/>
                    <a:gd name="connsiteX123" fmla="*/ 2030752 w 4519987"/>
                    <a:gd name="connsiteY123" fmla="*/ 66675 h 4496940"/>
                    <a:gd name="connsiteX124" fmla="*/ 2097427 w 4519987"/>
                    <a:gd name="connsiteY124" fmla="*/ 47625 h 4496940"/>
                    <a:gd name="connsiteX125" fmla="*/ 2164102 w 4519987"/>
                    <a:gd name="connsiteY125" fmla="*/ 38100 h 4496940"/>
                    <a:gd name="connsiteX126" fmla="*/ 2392702 w 4519987"/>
                    <a:gd name="connsiteY12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554752 w 4519987"/>
                    <a:gd name="connsiteY37" fmla="*/ 4095750 h 4496940"/>
                    <a:gd name="connsiteX38" fmla="*/ 3383302 w 4519987"/>
                    <a:gd name="connsiteY38" fmla="*/ 4210050 h 4496940"/>
                    <a:gd name="connsiteX39" fmla="*/ 3335677 w 4519987"/>
                    <a:gd name="connsiteY39" fmla="*/ 4238625 h 4496940"/>
                    <a:gd name="connsiteX40" fmla="*/ 3288052 w 4519987"/>
                    <a:gd name="connsiteY40" fmla="*/ 4248150 h 4496940"/>
                    <a:gd name="connsiteX41" fmla="*/ 3240427 w 4519987"/>
                    <a:gd name="connsiteY41" fmla="*/ 4267200 h 4496940"/>
                    <a:gd name="connsiteX42" fmla="*/ 3068977 w 4519987"/>
                    <a:gd name="connsiteY42" fmla="*/ 4286250 h 4496940"/>
                    <a:gd name="connsiteX43" fmla="*/ 2935627 w 4519987"/>
                    <a:gd name="connsiteY43" fmla="*/ 4333875 h 4496940"/>
                    <a:gd name="connsiteX44" fmla="*/ 2811802 w 4519987"/>
                    <a:gd name="connsiteY44" fmla="*/ 4371975 h 4496940"/>
                    <a:gd name="connsiteX45" fmla="*/ 2745127 w 4519987"/>
                    <a:gd name="connsiteY45" fmla="*/ 4410075 h 4496940"/>
                    <a:gd name="connsiteX46" fmla="*/ 2697502 w 4519987"/>
                    <a:gd name="connsiteY46" fmla="*/ 4429125 h 4496940"/>
                    <a:gd name="connsiteX47" fmla="*/ 2640352 w 4519987"/>
                    <a:gd name="connsiteY47" fmla="*/ 4457700 h 4496940"/>
                    <a:gd name="connsiteX48" fmla="*/ 2583202 w 4519987"/>
                    <a:gd name="connsiteY48" fmla="*/ 4467225 h 4496940"/>
                    <a:gd name="connsiteX49" fmla="*/ 2545102 w 4519987"/>
                    <a:gd name="connsiteY49" fmla="*/ 4486275 h 4496940"/>
                    <a:gd name="connsiteX50" fmla="*/ 2306977 w 4519987"/>
                    <a:gd name="connsiteY50" fmla="*/ 4476750 h 4496940"/>
                    <a:gd name="connsiteX51" fmla="*/ 2202202 w 4519987"/>
                    <a:gd name="connsiteY51" fmla="*/ 4457700 h 4496940"/>
                    <a:gd name="connsiteX52" fmla="*/ 2126002 w 4519987"/>
                    <a:gd name="connsiteY52" fmla="*/ 4429125 h 4496940"/>
                    <a:gd name="connsiteX53" fmla="*/ 1935502 w 4519987"/>
                    <a:gd name="connsiteY53" fmla="*/ 4400550 h 4496940"/>
                    <a:gd name="connsiteX54" fmla="*/ 1821202 w 4519987"/>
                    <a:gd name="connsiteY54" fmla="*/ 4371975 h 4496940"/>
                    <a:gd name="connsiteX55" fmla="*/ 1754527 w 4519987"/>
                    <a:gd name="connsiteY55" fmla="*/ 4352925 h 4496940"/>
                    <a:gd name="connsiteX56" fmla="*/ 1687852 w 4519987"/>
                    <a:gd name="connsiteY56" fmla="*/ 4343400 h 4496940"/>
                    <a:gd name="connsiteX57" fmla="*/ 1573552 w 4519987"/>
                    <a:gd name="connsiteY57" fmla="*/ 4305300 h 4496940"/>
                    <a:gd name="connsiteX58" fmla="*/ 1402102 w 4519987"/>
                    <a:gd name="connsiteY58" fmla="*/ 4276725 h 4496940"/>
                    <a:gd name="connsiteX59" fmla="*/ 1287802 w 4519987"/>
                    <a:gd name="connsiteY59" fmla="*/ 4229100 h 4496940"/>
                    <a:gd name="connsiteX60" fmla="*/ 1221127 w 4519987"/>
                    <a:gd name="connsiteY60" fmla="*/ 4200525 h 4496940"/>
                    <a:gd name="connsiteX61" fmla="*/ 1144927 w 4519987"/>
                    <a:gd name="connsiteY61" fmla="*/ 4171950 h 4496940"/>
                    <a:gd name="connsiteX62" fmla="*/ 1087777 w 4519987"/>
                    <a:gd name="connsiteY62" fmla="*/ 4143375 h 4496940"/>
                    <a:gd name="connsiteX63" fmla="*/ 1030627 w 4519987"/>
                    <a:gd name="connsiteY63" fmla="*/ 4124325 h 4496940"/>
                    <a:gd name="connsiteX64" fmla="*/ 925852 w 4519987"/>
                    <a:gd name="connsiteY64" fmla="*/ 4067175 h 4496940"/>
                    <a:gd name="connsiteX65" fmla="*/ 830602 w 4519987"/>
                    <a:gd name="connsiteY65" fmla="*/ 3981450 h 4496940"/>
                    <a:gd name="connsiteX66" fmla="*/ 763927 w 4519987"/>
                    <a:gd name="connsiteY66" fmla="*/ 3914775 h 4496940"/>
                    <a:gd name="connsiteX67" fmla="*/ 725827 w 4519987"/>
                    <a:gd name="connsiteY67" fmla="*/ 3876675 h 4496940"/>
                    <a:gd name="connsiteX68" fmla="*/ 697252 w 4519987"/>
                    <a:gd name="connsiteY68" fmla="*/ 3838575 h 4496940"/>
                    <a:gd name="connsiteX69" fmla="*/ 640102 w 4519987"/>
                    <a:gd name="connsiteY69" fmla="*/ 3781425 h 4496940"/>
                    <a:gd name="connsiteX70" fmla="*/ 611527 w 4519987"/>
                    <a:gd name="connsiteY70" fmla="*/ 3733800 h 4496940"/>
                    <a:gd name="connsiteX71" fmla="*/ 554377 w 4519987"/>
                    <a:gd name="connsiteY71" fmla="*/ 3657600 h 4496940"/>
                    <a:gd name="connsiteX72" fmla="*/ 525802 w 4519987"/>
                    <a:gd name="connsiteY72" fmla="*/ 3609975 h 4496940"/>
                    <a:gd name="connsiteX73" fmla="*/ 497227 w 4519987"/>
                    <a:gd name="connsiteY73" fmla="*/ 3552825 h 4496940"/>
                    <a:gd name="connsiteX74" fmla="*/ 440077 w 4519987"/>
                    <a:gd name="connsiteY74" fmla="*/ 3495675 h 4496940"/>
                    <a:gd name="connsiteX75" fmla="*/ 411502 w 4519987"/>
                    <a:gd name="connsiteY75" fmla="*/ 3448050 h 4496940"/>
                    <a:gd name="connsiteX76" fmla="*/ 278152 w 4519987"/>
                    <a:gd name="connsiteY76" fmla="*/ 3257550 h 4496940"/>
                    <a:gd name="connsiteX77" fmla="*/ 249577 w 4519987"/>
                    <a:gd name="connsiteY77" fmla="*/ 3200400 h 4496940"/>
                    <a:gd name="connsiteX78" fmla="*/ 240052 w 4519987"/>
                    <a:gd name="connsiteY78" fmla="*/ 3162300 h 4496940"/>
                    <a:gd name="connsiteX79" fmla="*/ 221002 w 4519987"/>
                    <a:gd name="connsiteY79" fmla="*/ 3105150 h 4496940"/>
                    <a:gd name="connsiteX80" fmla="*/ 173377 w 4519987"/>
                    <a:gd name="connsiteY80" fmla="*/ 3019425 h 4496940"/>
                    <a:gd name="connsiteX81" fmla="*/ 144802 w 4519987"/>
                    <a:gd name="connsiteY81" fmla="*/ 2924175 h 4496940"/>
                    <a:gd name="connsiteX82" fmla="*/ 68602 w 4519987"/>
                    <a:gd name="connsiteY82" fmla="*/ 2724150 h 4496940"/>
                    <a:gd name="connsiteX83" fmla="*/ 49552 w 4519987"/>
                    <a:gd name="connsiteY83" fmla="*/ 2638425 h 4496940"/>
                    <a:gd name="connsiteX84" fmla="*/ 40027 w 4519987"/>
                    <a:gd name="connsiteY84" fmla="*/ 2562225 h 4496940"/>
                    <a:gd name="connsiteX85" fmla="*/ 30502 w 4519987"/>
                    <a:gd name="connsiteY85" fmla="*/ 2514600 h 4496940"/>
                    <a:gd name="connsiteX86" fmla="*/ 11452 w 4519987"/>
                    <a:gd name="connsiteY86" fmla="*/ 2400300 h 4496940"/>
                    <a:gd name="connsiteX87" fmla="*/ 20977 w 4519987"/>
                    <a:gd name="connsiteY87" fmla="*/ 1905000 h 4496940"/>
                    <a:gd name="connsiteX88" fmla="*/ 30502 w 4519987"/>
                    <a:gd name="connsiteY88" fmla="*/ 1838325 h 4496940"/>
                    <a:gd name="connsiteX89" fmla="*/ 49552 w 4519987"/>
                    <a:gd name="connsiteY89" fmla="*/ 1781175 h 4496940"/>
                    <a:gd name="connsiteX90" fmla="*/ 59077 w 4519987"/>
                    <a:gd name="connsiteY90" fmla="*/ 1743075 h 4496940"/>
                    <a:gd name="connsiteX91" fmla="*/ 78127 w 4519987"/>
                    <a:gd name="connsiteY91" fmla="*/ 1685925 h 4496940"/>
                    <a:gd name="connsiteX92" fmla="*/ 87652 w 4519987"/>
                    <a:gd name="connsiteY92" fmla="*/ 1638300 h 4496940"/>
                    <a:gd name="connsiteX93" fmla="*/ 106702 w 4519987"/>
                    <a:gd name="connsiteY93" fmla="*/ 1590675 h 4496940"/>
                    <a:gd name="connsiteX94" fmla="*/ 135277 w 4519987"/>
                    <a:gd name="connsiteY94" fmla="*/ 1504950 h 4496940"/>
                    <a:gd name="connsiteX95" fmla="*/ 154327 w 4519987"/>
                    <a:gd name="connsiteY95" fmla="*/ 1419225 h 4496940"/>
                    <a:gd name="connsiteX96" fmla="*/ 230527 w 4519987"/>
                    <a:gd name="connsiteY96" fmla="*/ 1276350 h 4496940"/>
                    <a:gd name="connsiteX97" fmla="*/ 240052 w 4519987"/>
                    <a:gd name="connsiteY97" fmla="*/ 1247775 h 4496940"/>
                    <a:gd name="connsiteX98" fmla="*/ 268627 w 4519987"/>
                    <a:gd name="connsiteY98" fmla="*/ 1200150 h 4496940"/>
                    <a:gd name="connsiteX99" fmla="*/ 287677 w 4519987"/>
                    <a:gd name="connsiteY99" fmla="*/ 1152525 h 4496940"/>
                    <a:gd name="connsiteX100" fmla="*/ 316252 w 4519987"/>
                    <a:gd name="connsiteY100" fmla="*/ 1114425 h 4496940"/>
                    <a:gd name="connsiteX101" fmla="*/ 363877 w 4519987"/>
                    <a:gd name="connsiteY101" fmla="*/ 1038225 h 4496940"/>
                    <a:gd name="connsiteX102" fmla="*/ 382927 w 4519987"/>
                    <a:gd name="connsiteY102" fmla="*/ 1009650 h 4496940"/>
                    <a:gd name="connsiteX103" fmla="*/ 440077 w 4519987"/>
                    <a:gd name="connsiteY103" fmla="*/ 904875 h 4496940"/>
                    <a:gd name="connsiteX104" fmla="*/ 478177 w 4519987"/>
                    <a:gd name="connsiteY104" fmla="*/ 857250 h 4496940"/>
                    <a:gd name="connsiteX105" fmla="*/ 497227 w 4519987"/>
                    <a:gd name="connsiteY105" fmla="*/ 828675 h 4496940"/>
                    <a:gd name="connsiteX106" fmla="*/ 535327 w 4519987"/>
                    <a:gd name="connsiteY106" fmla="*/ 800100 h 4496940"/>
                    <a:gd name="connsiteX107" fmla="*/ 602002 w 4519987"/>
                    <a:gd name="connsiteY107" fmla="*/ 733425 h 4496940"/>
                    <a:gd name="connsiteX108" fmla="*/ 668677 w 4519987"/>
                    <a:gd name="connsiteY108" fmla="*/ 676275 h 4496940"/>
                    <a:gd name="connsiteX109" fmla="*/ 697252 w 4519987"/>
                    <a:gd name="connsiteY109" fmla="*/ 657225 h 4496940"/>
                    <a:gd name="connsiteX110" fmla="*/ 840127 w 4519987"/>
                    <a:gd name="connsiteY110" fmla="*/ 533400 h 4496940"/>
                    <a:gd name="connsiteX111" fmla="*/ 887752 w 4519987"/>
                    <a:gd name="connsiteY111" fmla="*/ 504825 h 4496940"/>
                    <a:gd name="connsiteX112" fmla="*/ 1167152 w 4519987"/>
                    <a:gd name="connsiteY112" fmla="*/ 311150 h 4496940"/>
                    <a:gd name="connsiteX113" fmla="*/ 1268752 w 4519987"/>
                    <a:gd name="connsiteY113" fmla="*/ 285750 h 4496940"/>
                    <a:gd name="connsiteX114" fmla="*/ 1411627 w 4519987"/>
                    <a:gd name="connsiteY114" fmla="*/ 190500 h 4496940"/>
                    <a:gd name="connsiteX115" fmla="*/ 1449727 w 4519987"/>
                    <a:gd name="connsiteY115" fmla="*/ 161925 h 4496940"/>
                    <a:gd name="connsiteX116" fmla="*/ 1525927 w 4519987"/>
                    <a:gd name="connsiteY116" fmla="*/ 152400 h 4496940"/>
                    <a:gd name="connsiteX117" fmla="*/ 1583077 w 4519987"/>
                    <a:gd name="connsiteY117" fmla="*/ 142875 h 4496940"/>
                    <a:gd name="connsiteX118" fmla="*/ 1716427 w 4519987"/>
                    <a:gd name="connsiteY118" fmla="*/ 123825 h 4496940"/>
                    <a:gd name="connsiteX119" fmla="*/ 1811677 w 4519987"/>
                    <a:gd name="connsiteY119" fmla="*/ 114300 h 4496940"/>
                    <a:gd name="connsiteX120" fmla="*/ 1859302 w 4519987"/>
                    <a:gd name="connsiteY120" fmla="*/ 104775 h 4496940"/>
                    <a:gd name="connsiteX121" fmla="*/ 1916452 w 4519987"/>
                    <a:gd name="connsiteY121" fmla="*/ 95250 h 4496940"/>
                    <a:gd name="connsiteX122" fmla="*/ 2030752 w 4519987"/>
                    <a:gd name="connsiteY122" fmla="*/ 66675 h 4496940"/>
                    <a:gd name="connsiteX123" fmla="*/ 2097427 w 4519987"/>
                    <a:gd name="connsiteY123" fmla="*/ 47625 h 4496940"/>
                    <a:gd name="connsiteX124" fmla="*/ 2164102 w 4519987"/>
                    <a:gd name="connsiteY124" fmla="*/ 38100 h 4496940"/>
                    <a:gd name="connsiteX125" fmla="*/ 2392702 w 4519987"/>
                    <a:gd name="connsiteY12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54752 w 4519987"/>
                    <a:gd name="connsiteY36" fmla="*/ 40957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88052 w 4519987"/>
                    <a:gd name="connsiteY38" fmla="*/ 4248150 h 4496940"/>
                    <a:gd name="connsiteX39" fmla="*/ 3240427 w 4519987"/>
                    <a:gd name="connsiteY39" fmla="*/ 4267200 h 4496940"/>
                    <a:gd name="connsiteX40" fmla="*/ 3068977 w 4519987"/>
                    <a:gd name="connsiteY40" fmla="*/ 4286250 h 4496940"/>
                    <a:gd name="connsiteX41" fmla="*/ 2935627 w 4519987"/>
                    <a:gd name="connsiteY41" fmla="*/ 4333875 h 4496940"/>
                    <a:gd name="connsiteX42" fmla="*/ 2811802 w 4519987"/>
                    <a:gd name="connsiteY42" fmla="*/ 4371975 h 4496940"/>
                    <a:gd name="connsiteX43" fmla="*/ 2745127 w 4519987"/>
                    <a:gd name="connsiteY43" fmla="*/ 4410075 h 4496940"/>
                    <a:gd name="connsiteX44" fmla="*/ 2697502 w 4519987"/>
                    <a:gd name="connsiteY44" fmla="*/ 4429125 h 4496940"/>
                    <a:gd name="connsiteX45" fmla="*/ 2640352 w 4519987"/>
                    <a:gd name="connsiteY45" fmla="*/ 4457700 h 4496940"/>
                    <a:gd name="connsiteX46" fmla="*/ 2583202 w 4519987"/>
                    <a:gd name="connsiteY46" fmla="*/ 4467225 h 4496940"/>
                    <a:gd name="connsiteX47" fmla="*/ 2545102 w 4519987"/>
                    <a:gd name="connsiteY47" fmla="*/ 4486275 h 4496940"/>
                    <a:gd name="connsiteX48" fmla="*/ 2306977 w 4519987"/>
                    <a:gd name="connsiteY48" fmla="*/ 4476750 h 4496940"/>
                    <a:gd name="connsiteX49" fmla="*/ 2202202 w 4519987"/>
                    <a:gd name="connsiteY49" fmla="*/ 4457700 h 4496940"/>
                    <a:gd name="connsiteX50" fmla="*/ 2126002 w 4519987"/>
                    <a:gd name="connsiteY50" fmla="*/ 4429125 h 4496940"/>
                    <a:gd name="connsiteX51" fmla="*/ 1935502 w 4519987"/>
                    <a:gd name="connsiteY51" fmla="*/ 4400550 h 4496940"/>
                    <a:gd name="connsiteX52" fmla="*/ 1821202 w 4519987"/>
                    <a:gd name="connsiteY52" fmla="*/ 4371975 h 4496940"/>
                    <a:gd name="connsiteX53" fmla="*/ 1754527 w 4519987"/>
                    <a:gd name="connsiteY53" fmla="*/ 4352925 h 4496940"/>
                    <a:gd name="connsiteX54" fmla="*/ 1687852 w 4519987"/>
                    <a:gd name="connsiteY54" fmla="*/ 4343400 h 4496940"/>
                    <a:gd name="connsiteX55" fmla="*/ 1573552 w 4519987"/>
                    <a:gd name="connsiteY55" fmla="*/ 4305300 h 4496940"/>
                    <a:gd name="connsiteX56" fmla="*/ 1402102 w 4519987"/>
                    <a:gd name="connsiteY56" fmla="*/ 4276725 h 4496940"/>
                    <a:gd name="connsiteX57" fmla="*/ 1287802 w 4519987"/>
                    <a:gd name="connsiteY57" fmla="*/ 4229100 h 4496940"/>
                    <a:gd name="connsiteX58" fmla="*/ 1221127 w 4519987"/>
                    <a:gd name="connsiteY58" fmla="*/ 4200525 h 4496940"/>
                    <a:gd name="connsiteX59" fmla="*/ 1144927 w 4519987"/>
                    <a:gd name="connsiteY59" fmla="*/ 4171950 h 4496940"/>
                    <a:gd name="connsiteX60" fmla="*/ 1087777 w 4519987"/>
                    <a:gd name="connsiteY60" fmla="*/ 4143375 h 4496940"/>
                    <a:gd name="connsiteX61" fmla="*/ 1030627 w 4519987"/>
                    <a:gd name="connsiteY61" fmla="*/ 4124325 h 4496940"/>
                    <a:gd name="connsiteX62" fmla="*/ 925852 w 4519987"/>
                    <a:gd name="connsiteY62" fmla="*/ 4067175 h 4496940"/>
                    <a:gd name="connsiteX63" fmla="*/ 830602 w 4519987"/>
                    <a:gd name="connsiteY63" fmla="*/ 3981450 h 4496940"/>
                    <a:gd name="connsiteX64" fmla="*/ 763927 w 4519987"/>
                    <a:gd name="connsiteY64" fmla="*/ 3914775 h 4496940"/>
                    <a:gd name="connsiteX65" fmla="*/ 725827 w 4519987"/>
                    <a:gd name="connsiteY65" fmla="*/ 3876675 h 4496940"/>
                    <a:gd name="connsiteX66" fmla="*/ 697252 w 4519987"/>
                    <a:gd name="connsiteY66" fmla="*/ 3838575 h 4496940"/>
                    <a:gd name="connsiteX67" fmla="*/ 640102 w 4519987"/>
                    <a:gd name="connsiteY67" fmla="*/ 3781425 h 4496940"/>
                    <a:gd name="connsiteX68" fmla="*/ 611527 w 4519987"/>
                    <a:gd name="connsiteY68" fmla="*/ 3733800 h 4496940"/>
                    <a:gd name="connsiteX69" fmla="*/ 554377 w 4519987"/>
                    <a:gd name="connsiteY69" fmla="*/ 3657600 h 4496940"/>
                    <a:gd name="connsiteX70" fmla="*/ 525802 w 4519987"/>
                    <a:gd name="connsiteY70" fmla="*/ 3609975 h 4496940"/>
                    <a:gd name="connsiteX71" fmla="*/ 497227 w 4519987"/>
                    <a:gd name="connsiteY71" fmla="*/ 3552825 h 4496940"/>
                    <a:gd name="connsiteX72" fmla="*/ 440077 w 4519987"/>
                    <a:gd name="connsiteY72" fmla="*/ 3495675 h 4496940"/>
                    <a:gd name="connsiteX73" fmla="*/ 411502 w 4519987"/>
                    <a:gd name="connsiteY73" fmla="*/ 3448050 h 4496940"/>
                    <a:gd name="connsiteX74" fmla="*/ 278152 w 4519987"/>
                    <a:gd name="connsiteY74" fmla="*/ 3257550 h 4496940"/>
                    <a:gd name="connsiteX75" fmla="*/ 249577 w 4519987"/>
                    <a:gd name="connsiteY75" fmla="*/ 3200400 h 4496940"/>
                    <a:gd name="connsiteX76" fmla="*/ 240052 w 4519987"/>
                    <a:gd name="connsiteY76" fmla="*/ 3162300 h 4496940"/>
                    <a:gd name="connsiteX77" fmla="*/ 221002 w 4519987"/>
                    <a:gd name="connsiteY77" fmla="*/ 3105150 h 4496940"/>
                    <a:gd name="connsiteX78" fmla="*/ 173377 w 4519987"/>
                    <a:gd name="connsiteY78" fmla="*/ 3019425 h 4496940"/>
                    <a:gd name="connsiteX79" fmla="*/ 144802 w 4519987"/>
                    <a:gd name="connsiteY79" fmla="*/ 2924175 h 4496940"/>
                    <a:gd name="connsiteX80" fmla="*/ 68602 w 4519987"/>
                    <a:gd name="connsiteY80" fmla="*/ 2724150 h 4496940"/>
                    <a:gd name="connsiteX81" fmla="*/ 49552 w 4519987"/>
                    <a:gd name="connsiteY81" fmla="*/ 2638425 h 4496940"/>
                    <a:gd name="connsiteX82" fmla="*/ 40027 w 4519987"/>
                    <a:gd name="connsiteY82" fmla="*/ 2562225 h 4496940"/>
                    <a:gd name="connsiteX83" fmla="*/ 30502 w 4519987"/>
                    <a:gd name="connsiteY83" fmla="*/ 2514600 h 4496940"/>
                    <a:gd name="connsiteX84" fmla="*/ 11452 w 4519987"/>
                    <a:gd name="connsiteY84" fmla="*/ 2400300 h 4496940"/>
                    <a:gd name="connsiteX85" fmla="*/ 20977 w 4519987"/>
                    <a:gd name="connsiteY85" fmla="*/ 1905000 h 4496940"/>
                    <a:gd name="connsiteX86" fmla="*/ 30502 w 4519987"/>
                    <a:gd name="connsiteY86" fmla="*/ 1838325 h 4496940"/>
                    <a:gd name="connsiteX87" fmla="*/ 49552 w 4519987"/>
                    <a:gd name="connsiteY87" fmla="*/ 1781175 h 4496940"/>
                    <a:gd name="connsiteX88" fmla="*/ 59077 w 4519987"/>
                    <a:gd name="connsiteY88" fmla="*/ 1743075 h 4496940"/>
                    <a:gd name="connsiteX89" fmla="*/ 78127 w 4519987"/>
                    <a:gd name="connsiteY89" fmla="*/ 1685925 h 4496940"/>
                    <a:gd name="connsiteX90" fmla="*/ 87652 w 4519987"/>
                    <a:gd name="connsiteY90" fmla="*/ 1638300 h 4496940"/>
                    <a:gd name="connsiteX91" fmla="*/ 106702 w 4519987"/>
                    <a:gd name="connsiteY91" fmla="*/ 1590675 h 4496940"/>
                    <a:gd name="connsiteX92" fmla="*/ 135277 w 4519987"/>
                    <a:gd name="connsiteY92" fmla="*/ 1504950 h 4496940"/>
                    <a:gd name="connsiteX93" fmla="*/ 154327 w 4519987"/>
                    <a:gd name="connsiteY93" fmla="*/ 1419225 h 4496940"/>
                    <a:gd name="connsiteX94" fmla="*/ 230527 w 4519987"/>
                    <a:gd name="connsiteY94" fmla="*/ 1276350 h 4496940"/>
                    <a:gd name="connsiteX95" fmla="*/ 240052 w 4519987"/>
                    <a:gd name="connsiteY95" fmla="*/ 1247775 h 4496940"/>
                    <a:gd name="connsiteX96" fmla="*/ 268627 w 4519987"/>
                    <a:gd name="connsiteY96" fmla="*/ 1200150 h 4496940"/>
                    <a:gd name="connsiteX97" fmla="*/ 287677 w 4519987"/>
                    <a:gd name="connsiteY97" fmla="*/ 1152525 h 4496940"/>
                    <a:gd name="connsiteX98" fmla="*/ 316252 w 4519987"/>
                    <a:gd name="connsiteY98" fmla="*/ 1114425 h 4496940"/>
                    <a:gd name="connsiteX99" fmla="*/ 363877 w 4519987"/>
                    <a:gd name="connsiteY99" fmla="*/ 1038225 h 4496940"/>
                    <a:gd name="connsiteX100" fmla="*/ 382927 w 4519987"/>
                    <a:gd name="connsiteY100" fmla="*/ 1009650 h 4496940"/>
                    <a:gd name="connsiteX101" fmla="*/ 440077 w 4519987"/>
                    <a:gd name="connsiteY101" fmla="*/ 904875 h 4496940"/>
                    <a:gd name="connsiteX102" fmla="*/ 478177 w 4519987"/>
                    <a:gd name="connsiteY102" fmla="*/ 857250 h 4496940"/>
                    <a:gd name="connsiteX103" fmla="*/ 497227 w 4519987"/>
                    <a:gd name="connsiteY103" fmla="*/ 828675 h 4496940"/>
                    <a:gd name="connsiteX104" fmla="*/ 535327 w 4519987"/>
                    <a:gd name="connsiteY104" fmla="*/ 800100 h 4496940"/>
                    <a:gd name="connsiteX105" fmla="*/ 602002 w 4519987"/>
                    <a:gd name="connsiteY105" fmla="*/ 733425 h 4496940"/>
                    <a:gd name="connsiteX106" fmla="*/ 668677 w 4519987"/>
                    <a:gd name="connsiteY106" fmla="*/ 676275 h 4496940"/>
                    <a:gd name="connsiteX107" fmla="*/ 697252 w 4519987"/>
                    <a:gd name="connsiteY107" fmla="*/ 657225 h 4496940"/>
                    <a:gd name="connsiteX108" fmla="*/ 840127 w 4519987"/>
                    <a:gd name="connsiteY108" fmla="*/ 533400 h 4496940"/>
                    <a:gd name="connsiteX109" fmla="*/ 887752 w 4519987"/>
                    <a:gd name="connsiteY109" fmla="*/ 504825 h 4496940"/>
                    <a:gd name="connsiteX110" fmla="*/ 1167152 w 4519987"/>
                    <a:gd name="connsiteY110" fmla="*/ 311150 h 4496940"/>
                    <a:gd name="connsiteX111" fmla="*/ 1268752 w 4519987"/>
                    <a:gd name="connsiteY111" fmla="*/ 285750 h 4496940"/>
                    <a:gd name="connsiteX112" fmla="*/ 1411627 w 4519987"/>
                    <a:gd name="connsiteY112" fmla="*/ 190500 h 4496940"/>
                    <a:gd name="connsiteX113" fmla="*/ 1449727 w 4519987"/>
                    <a:gd name="connsiteY113" fmla="*/ 161925 h 4496940"/>
                    <a:gd name="connsiteX114" fmla="*/ 1525927 w 4519987"/>
                    <a:gd name="connsiteY114" fmla="*/ 152400 h 4496940"/>
                    <a:gd name="connsiteX115" fmla="*/ 1583077 w 4519987"/>
                    <a:gd name="connsiteY115" fmla="*/ 142875 h 4496940"/>
                    <a:gd name="connsiteX116" fmla="*/ 1716427 w 4519987"/>
                    <a:gd name="connsiteY116" fmla="*/ 123825 h 4496940"/>
                    <a:gd name="connsiteX117" fmla="*/ 1811677 w 4519987"/>
                    <a:gd name="connsiteY117" fmla="*/ 114300 h 4496940"/>
                    <a:gd name="connsiteX118" fmla="*/ 1859302 w 4519987"/>
                    <a:gd name="connsiteY118" fmla="*/ 104775 h 4496940"/>
                    <a:gd name="connsiteX119" fmla="*/ 1916452 w 4519987"/>
                    <a:gd name="connsiteY119" fmla="*/ 95250 h 4496940"/>
                    <a:gd name="connsiteX120" fmla="*/ 2030752 w 4519987"/>
                    <a:gd name="connsiteY120" fmla="*/ 66675 h 4496940"/>
                    <a:gd name="connsiteX121" fmla="*/ 2097427 w 4519987"/>
                    <a:gd name="connsiteY121" fmla="*/ 47625 h 4496940"/>
                    <a:gd name="connsiteX122" fmla="*/ 2164102 w 4519987"/>
                    <a:gd name="connsiteY122" fmla="*/ 38100 h 4496940"/>
                    <a:gd name="connsiteX123" fmla="*/ 2392702 w 4519987"/>
                    <a:gd name="connsiteY12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40427 w 4519987"/>
                    <a:gd name="connsiteY38" fmla="*/ 4267200 h 4496940"/>
                    <a:gd name="connsiteX39" fmla="*/ 3068977 w 4519987"/>
                    <a:gd name="connsiteY39" fmla="*/ 4286250 h 4496940"/>
                    <a:gd name="connsiteX40" fmla="*/ 2935627 w 4519987"/>
                    <a:gd name="connsiteY40" fmla="*/ 4333875 h 4496940"/>
                    <a:gd name="connsiteX41" fmla="*/ 2811802 w 4519987"/>
                    <a:gd name="connsiteY41" fmla="*/ 4371975 h 4496940"/>
                    <a:gd name="connsiteX42" fmla="*/ 2745127 w 4519987"/>
                    <a:gd name="connsiteY42" fmla="*/ 4410075 h 4496940"/>
                    <a:gd name="connsiteX43" fmla="*/ 2697502 w 4519987"/>
                    <a:gd name="connsiteY43" fmla="*/ 4429125 h 4496940"/>
                    <a:gd name="connsiteX44" fmla="*/ 2640352 w 4519987"/>
                    <a:gd name="connsiteY44" fmla="*/ 4457700 h 4496940"/>
                    <a:gd name="connsiteX45" fmla="*/ 2583202 w 4519987"/>
                    <a:gd name="connsiteY45" fmla="*/ 4467225 h 4496940"/>
                    <a:gd name="connsiteX46" fmla="*/ 2545102 w 4519987"/>
                    <a:gd name="connsiteY46" fmla="*/ 4486275 h 4496940"/>
                    <a:gd name="connsiteX47" fmla="*/ 2306977 w 4519987"/>
                    <a:gd name="connsiteY47" fmla="*/ 4476750 h 4496940"/>
                    <a:gd name="connsiteX48" fmla="*/ 2202202 w 4519987"/>
                    <a:gd name="connsiteY48" fmla="*/ 4457700 h 4496940"/>
                    <a:gd name="connsiteX49" fmla="*/ 2126002 w 4519987"/>
                    <a:gd name="connsiteY49" fmla="*/ 4429125 h 4496940"/>
                    <a:gd name="connsiteX50" fmla="*/ 1935502 w 4519987"/>
                    <a:gd name="connsiteY50" fmla="*/ 4400550 h 4496940"/>
                    <a:gd name="connsiteX51" fmla="*/ 1821202 w 4519987"/>
                    <a:gd name="connsiteY51" fmla="*/ 4371975 h 4496940"/>
                    <a:gd name="connsiteX52" fmla="*/ 1754527 w 4519987"/>
                    <a:gd name="connsiteY52" fmla="*/ 4352925 h 4496940"/>
                    <a:gd name="connsiteX53" fmla="*/ 1687852 w 4519987"/>
                    <a:gd name="connsiteY53" fmla="*/ 4343400 h 4496940"/>
                    <a:gd name="connsiteX54" fmla="*/ 1573552 w 4519987"/>
                    <a:gd name="connsiteY54" fmla="*/ 4305300 h 4496940"/>
                    <a:gd name="connsiteX55" fmla="*/ 1402102 w 4519987"/>
                    <a:gd name="connsiteY55" fmla="*/ 4276725 h 4496940"/>
                    <a:gd name="connsiteX56" fmla="*/ 1287802 w 4519987"/>
                    <a:gd name="connsiteY56" fmla="*/ 4229100 h 4496940"/>
                    <a:gd name="connsiteX57" fmla="*/ 1221127 w 4519987"/>
                    <a:gd name="connsiteY57" fmla="*/ 4200525 h 4496940"/>
                    <a:gd name="connsiteX58" fmla="*/ 1144927 w 4519987"/>
                    <a:gd name="connsiteY58" fmla="*/ 4171950 h 4496940"/>
                    <a:gd name="connsiteX59" fmla="*/ 1087777 w 4519987"/>
                    <a:gd name="connsiteY59" fmla="*/ 4143375 h 4496940"/>
                    <a:gd name="connsiteX60" fmla="*/ 1030627 w 4519987"/>
                    <a:gd name="connsiteY60" fmla="*/ 4124325 h 4496940"/>
                    <a:gd name="connsiteX61" fmla="*/ 925852 w 4519987"/>
                    <a:gd name="connsiteY61" fmla="*/ 4067175 h 4496940"/>
                    <a:gd name="connsiteX62" fmla="*/ 830602 w 4519987"/>
                    <a:gd name="connsiteY62" fmla="*/ 3981450 h 4496940"/>
                    <a:gd name="connsiteX63" fmla="*/ 763927 w 4519987"/>
                    <a:gd name="connsiteY63" fmla="*/ 3914775 h 4496940"/>
                    <a:gd name="connsiteX64" fmla="*/ 725827 w 4519987"/>
                    <a:gd name="connsiteY64" fmla="*/ 3876675 h 4496940"/>
                    <a:gd name="connsiteX65" fmla="*/ 697252 w 4519987"/>
                    <a:gd name="connsiteY65" fmla="*/ 3838575 h 4496940"/>
                    <a:gd name="connsiteX66" fmla="*/ 640102 w 4519987"/>
                    <a:gd name="connsiteY66" fmla="*/ 3781425 h 4496940"/>
                    <a:gd name="connsiteX67" fmla="*/ 611527 w 4519987"/>
                    <a:gd name="connsiteY67" fmla="*/ 3733800 h 4496940"/>
                    <a:gd name="connsiteX68" fmla="*/ 554377 w 4519987"/>
                    <a:gd name="connsiteY68" fmla="*/ 3657600 h 4496940"/>
                    <a:gd name="connsiteX69" fmla="*/ 525802 w 4519987"/>
                    <a:gd name="connsiteY69" fmla="*/ 3609975 h 4496940"/>
                    <a:gd name="connsiteX70" fmla="*/ 497227 w 4519987"/>
                    <a:gd name="connsiteY70" fmla="*/ 3552825 h 4496940"/>
                    <a:gd name="connsiteX71" fmla="*/ 440077 w 4519987"/>
                    <a:gd name="connsiteY71" fmla="*/ 3495675 h 4496940"/>
                    <a:gd name="connsiteX72" fmla="*/ 411502 w 4519987"/>
                    <a:gd name="connsiteY72" fmla="*/ 3448050 h 4496940"/>
                    <a:gd name="connsiteX73" fmla="*/ 278152 w 4519987"/>
                    <a:gd name="connsiteY73" fmla="*/ 3257550 h 4496940"/>
                    <a:gd name="connsiteX74" fmla="*/ 249577 w 4519987"/>
                    <a:gd name="connsiteY74" fmla="*/ 3200400 h 4496940"/>
                    <a:gd name="connsiteX75" fmla="*/ 240052 w 4519987"/>
                    <a:gd name="connsiteY75" fmla="*/ 3162300 h 4496940"/>
                    <a:gd name="connsiteX76" fmla="*/ 221002 w 4519987"/>
                    <a:gd name="connsiteY76" fmla="*/ 3105150 h 4496940"/>
                    <a:gd name="connsiteX77" fmla="*/ 173377 w 4519987"/>
                    <a:gd name="connsiteY77" fmla="*/ 3019425 h 4496940"/>
                    <a:gd name="connsiteX78" fmla="*/ 144802 w 4519987"/>
                    <a:gd name="connsiteY78" fmla="*/ 2924175 h 4496940"/>
                    <a:gd name="connsiteX79" fmla="*/ 68602 w 4519987"/>
                    <a:gd name="connsiteY79" fmla="*/ 2724150 h 4496940"/>
                    <a:gd name="connsiteX80" fmla="*/ 49552 w 4519987"/>
                    <a:gd name="connsiteY80" fmla="*/ 2638425 h 4496940"/>
                    <a:gd name="connsiteX81" fmla="*/ 40027 w 4519987"/>
                    <a:gd name="connsiteY81" fmla="*/ 2562225 h 4496940"/>
                    <a:gd name="connsiteX82" fmla="*/ 30502 w 4519987"/>
                    <a:gd name="connsiteY82" fmla="*/ 2514600 h 4496940"/>
                    <a:gd name="connsiteX83" fmla="*/ 11452 w 4519987"/>
                    <a:gd name="connsiteY83" fmla="*/ 2400300 h 4496940"/>
                    <a:gd name="connsiteX84" fmla="*/ 20977 w 4519987"/>
                    <a:gd name="connsiteY84" fmla="*/ 1905000 h 4496940"/>
                    <a:gd name="connsiteX85" fmla="*/ 30502 w 4519987"/>
                    <a:gd name="connsiteY85" fmla="*/ 1838325 h 4496940"/>
                    <a:gd name="connsiteX86" fmla="*/ 49552 w 4519987"/>
                    <a:gd name="connsiteY86" fmla="*/ 1781175 h 4496940"/>
                    <a:gd name="connsiteX87" fmla="*/ 59077 w 4519987"/>
                    <a:gd name="connsiteY87" fmla="*/ 1743075 h 4496940"/>
                    <a:gd name="connsiteX88" fmla="*/ 78127 w 4519987"/>
                    <a:gd name="connsiteY88" fmla="*/ 1685925 h 4496940"/>
                    <a:gd name="connsiteX89" fmla="*/ 87652 w 4519987"/>
                    <a:gd name="connsiteY89" fmla="*/ 1638300 h 4496940"/>
                    <a:gd name="connsiteX90" fmla="*/ 106702 w 4519987"/>
                    <a:gd name="connsiteY90" fmla="*/ 1590675 h 4496940"/>
                    <a:gd name="connsiteX91" fmla="*/ 135277 w 4519987"/>
                    <a:gd name="connsiteY91" fmla="*/ 1504950 h 4496940"/>
                    <a:gd name="connsiteX92" fmla="*/ 154327 w 4519987"/>
                    <a:gd name="connsiteY92" fmla="*/ 1419225 h 4496940"/>
                    <a:gd name="connsiteX93" fmla="*/ 230527 w 4519987"/>
                    <a:gd name="connsiteY93" fmla="*/ 1276350 h 4496940"/>
                    <a:gd name="connsiteX94" fmla="*/ 240052 w 4519987"/>
                    <a:gd name="connsiteY94" fmla="*/ 1247775 h 4496940"/>
                    <a:gd name="connsiteX95" fmla="*/ 268627 w 4519987"/>
                    <a:gd name="connsiteY95" fmla="*/ 1200150 h 4496940"/>
                    <a:gd name="connsiteX96" fmla="*/ 287677 w 4519987"/>
                    <a:gd name="connsiteY96" fmla="*/ 1152525 h 4496940"/>
                    <a:gd name="connsiteX97" fmla="*/ 316252 w 4519987"/>
                    <a:gd name="connsiteY97" fmla="*/ 1114425 h 4496940"/>
                    <a:gd name="connsiteX98" fmla="*/ 363877 w 4519987"/>
                    <a:gd name="connsiteY98" fmla="*/ 1038225 h 4496940"/>
                    <a:gd name="connsiteX99" fmla="*/ 382927 w 4519987"/>
                    <a:gd name="connsiteY99" fmla="*/ 1009650 h 4496940"/>
                    <a:gd name="connsiteX100" fmla="*/ 440077 w 4519987"/>
                    <a:gd name="connsiteY100" fmla="*/ 904875 h 4496940"/>
                    <a:gd name="connsiteX101" fmla="*/ 478177 w 4519987"/>
                    <a:gd name="connsiteY101" fmla="*/ 857250 h 4496940"/>
                    <a:gd name="connsiteX102" fmla="*/ 497227 w 4519987"/>
                    <a:gd name="connsiteY102" fmla="*/ 828675 h 4496940"/>
                    <a:gd name="connsiteX103" fmla="*/ 535327 w 4519987"/>
                    <a:gd name="connsiteY103" fmla="*/ 800100 h 4496940"/>
                    <a:gd name="connsiteX104" fmla="*/ 602002 w 4519987"/>
                    <a:gd name="connsiteY104" fmla="*/ 733425 h 4496940"/>
                    <a:gd name="connsiteX105" fmla="*/ 668677 w 4519987"/>
                    <a:gd name="connsiteY105" fmla="*/ 676275 h 4496940"/>
                    <a:gd name="connsiteX106" fmla="*/ 697252 w 4519987"/>
                    <a:gd name="connsiteY106" fmla="*/ 657225 h 4496940"/>
                    <a:gd name="connsiteX107" fmla="*/ 840127 w 4519987"/>
                    <a:gd name="connsiteY107" fmla="*/ 533400 h 4496940"/>
                    <a:gd name="connsiteX108" fmla="*/ 887752 w 4519987"/>
                    <a:gd name="connsiteY108" fmla="*/ 504825 h 4496940"/>
                    <a:gd name="connsiteX109" fmla="*/ 1167152 w 4519987"/>
                    <a:gd name="connsiteY109" fmla="*/ 311150 h 4496940"/>
                    <a:gd name="connsiteX110" fmla="*/ 1268752 w 4519987"/>
                    <a:gd name="connsiteY110" fmla="*/ 285750 h 4496940"/>
                    <a:gd name="connsiteX111" fmla="*/ 1411627 w 4519987"/>
                    <a:gd name="connsiteY111" fmla="*/ 190500 h 4496940"/>
                    <a:gd name="connsiteX112" fmla="*/ 1449727 w 4519987"/>
                    <a:gd name="connsiteY112" fmla="*/ 161925 h 4496940"/>
                    <a:gd name="connsiteX113" fmla="*/ 1525927 w 4519987"/>
                    <a:gd name="connsiteY113" fmla="*/ 152400 h 4496940"/>
                    <a:gd name="connsiteX114" fmla="*/ 1583077 w 4519987"/>
                    <a:gd name="connsiteY114" fmla="*/ 142875 h 4496940"/>
                    <a:gd name="connsiteX115" fmla="*/ 1716427 w 4519987"/>
                    <a:gd name="connsiteY115" fmla="*/ 123825 h 4496940"/>
                    <a:gd name="connsiteX116" fmla="*/ 1811677 w 4519987"/>
                    <a:gd name="connsiteY116" fmla="*/ 114300 h 4496940"/>
                    <a:gd name="connsiteX117" fmla="*/ 1859302 w 4519987"/>
                    <a:gd name="connsiteY117" fmla="*/ 104775 h 4496940"/>
                    <a:gd name="connsiteX118" fmla="*/ 1916452 w 4519987"/>
                    <a:gd name="connsiteY118" fmla="*/ 95250 h 4496940"/>
                    <a:gd name="connsiteX119" fmla="*/ 2030752 w 4519987"/>
                    <a:gd name="connsiteY119" fmla="*/ 66675 h 4496940"/>
                    <a:gd name="connsiteX120" fmla="*/ 2097427 w 4519987"/>
                    <a:gd name="connsiteY120" fmla="*/ 47625 h 4496940"/>
                    <a:gd name="connsiteX121" fmla="*/ 2164102 w 4519987"/>
                    <a:gd name="connsiteY121" fmla="*/ 38100 h 4496940"/>
                    <a:gd name="connsiteX122" fmla="*/ 2392702 w 4519987"/>
                    <a:gd name="connsiteY12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40427 w 4519987"/>
                    <a:gd name="connsiteY37" fmla="*/ 426720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40352 w 4519987"/>
                    <a:gd name="connsiteY42" fmla="*/ 4457700 h 4496940"/>
                    <a:gd name="connsiteX43" fmla="*/ 2583202 w 4519987"/>
                    <a:gd name="connsiteY43" fmla="*/ 4467225 h 4496940"/>
                    <a:gd name="connsiteX44" fmla="*/ 2545102 w 4519987"/>
                    <a:gd name="connsiteY44" fmla="*/ 4486275 h 4496940"/>
                    <a:gd name="connsiteX45" fmla="*/ 2306977 w 4519987"/>
                    <a:gd name="connsiteY45" fmla="*/ 4476750 h 4496940"/>
                    <a:gd name="connsiteX46" fmla="*/ 2202202 w 4519987"/>
                    <a:gd name="connsiteY46" fmla="*/ 4457700 h 4496940"/>
                    <a:gd name="connsiteX47" fmla="*/ 2126002 w 4519987"/>
                    <a:gd name="connsiteY47" fmla="*/ 4429125 h 4496940"/>
                    <a:gd name="connsiteX48" fmla="*/ 1935502 w 4519987"/>
                    <a:gd name="connsiteY48" fmla="*/ 4400550 h 4496940"/>
                    <a:gd name="connsiteX49" fmla="*/ 1821202 w 4519987"/>
                    <a:gd name="connsiteY49" fmla="*/ 4371975 h 4496940"/>
                    <a:gd name="connsiteX50" fmla="*/ 1754527 w 4519987"/>
                    <a:gd name="connsiteY50" fmla="*/ 4352925 h 4496940"/>
                    <a:gd name="connsiteX51" fmla="*/ 1687852 w 4519987"/>
                    <a:gd name="connsiteY51" fmla="*/ 4343400 h 4496940"/>
                    <a:gd name="connsiteX52" fmla="*/ 1573552 w 4519987"/>
                    <a:gd name="connsiteY52" fmla="*/ 4305300 h 4496940"/>
                    <a:gd name="connsiteX53" fmla="*/ 1402102 w 4519987"/>
                    <a:gd name="connsiteY53" fmla="*/ 4276725 h 4496940"/>
                    <a:gd name="connsiteX54" fmla="*/ 1287802 w 4519987"/>
                    <a:gd name="connsiteY54" fmla="*/ 4229100 h 4496940"/>
                    <a:gd name="connsiteX55" fmla="*/ 1221127 w 4519987"/>
                    <a:gd name="connsiteY55" fmla="*/ 4200525 h 4496940"/>
                    <a:gd name="connsiteX56" fmla="*/ 1144927 w 4519987"/>
                    <a:gd name="connsiteY56" fmla="*/ 4171950 h 4496940"/>
                    <a:gd name="connsiteX57" fmla="*/ 1087777 w 4519987"/>
                    <a:gd name="connsiteY57" fmla="*/ 4143375 h 4496940"/>
                    <a:gd name="connsiteX58" fmla="*/ 1030627 w 4519987"/>
                    <a:gd name="connsiteY58" fmla="*/ 4124325 h 4496940"/>
                    <a:gd name="connsiteX59" fmla="*/ 925852 w 4519987"/>
                    <a:gd name="connsiteY59" fmla="*/ 4067175 h 4496940"/>
                    <a:gd name="connsiteX60" fmla="*/ 830602 w 4519987"/>
                    <a:gd name="connsiteY60" fmla="*/ 3981450 h 4496940"/>
                    <a:gd name="connsiteX61" fmla="*/ 763927 w 4519987"/>
                    <a:gd name="connsiteY61" fmla="*/ 3914775 h 4496940"/>
                    <a:gd name="connsiteX62" fmla="*/ 725827 w 4519987"/>
                    <a:gd name="connsiteY62" fmla="*/ 3876675 h 4496940"/>
                    <a:gd name="connsiteX63" fmla="*/ 697252 w 4519987"/>
                    <a:gd name="connsiteY63" fmla="*/ 3838575 h 4496940"/>
                    <a:gd name="connsiteX64" fmla="*/ 640102 w 4519987"/>
                    <a:gd name="connsiteY64" fmla="*/ 3781425 h 4496940"/>
                    <a:gd name="connsiteX65" fmla="*/ 611527 w 4519987"/>
                    <a:gd name="connsiteY65" fmla="*/ 3733800 h 4496940"/>
                    <a:gd name="connsiteX66" fmla="*/ 554377 w 4519987"/>
                    <a:gd name="connsiteY66" fmla="*/ 3657600 h 4496940"/>
                    <a:gd name="connsiteX67" fmla="*/ 525802 w 4519987"/>
                    <a:gd name="connsiteY67" fmla="*/ 3609975 h 4496940"/>
                    <a:gd name="connsiteX68" fmla="*/ 497227 w 4519987"/>
                    <a:gd name="connsiteY68" fmla="*/ 3552825 h 4496940"/>
                    <a:gd name="connsiteX69" fmla="*/ 440077 w 4519987"/>
                    <a:gd name="connsiteY69" fmla="*/ 3495675 h 4496940"/>
                    <a:gd name="connsiteX70" fmla="*/ 411502 w 4519987"/>
                    <a:gd name="connsiteY70" fmla="*/ 3448050 h 4496940"/>
                    <a:gd name="connsiteX71" fmla="*/ 278152 w 4519987"/>
                    <a:gd name="connsiteY71" fmla="*/ 3257550 h 4496940"/>
                    <a:gd name="connsiteX72" fmla="*/ 249577 w 4519987"/>
                    <a:gd name="connsiteY72" fmla="*/ 3200400 h 4496940"/>
                    <a:gd name="connsiteX73" fmla="*/ 240052 w 4519987"/>
                    <a:gd name="connsiteY73" fmla="*/ 3162300 h 4496940"/>
                    <a:gd name="connsiteX74" fmla="*/ 221002 w 4519987"/>
                    <a:gd name="connsiteY74" fmla="*/ 3105150 h 4496940"/>
                    <a:gd name="connsiteX75" fmla="*/ 173377 w 4519987"/>
                    <a:gd name="connsiteY75" fmla="*/ 3019425 h 4496940"/>
                    <a:gd name="connsiteX76" fmla="*/ 144802 w 4519987"/>
                    <a:gd name="connsiteY76" fmla="*/ 2924175 h 4496940"/>
                    <a:gd name="connsiteX77" fmla="*/ 68602 w 4519987"/>
                    <a:gd name="connsiteY77" fmla="*/ 2724150 h 4496940"/>
                    <a:gd name="connsiteX78" fmla="*/ 49552 w 4519987"/>
                    <a:gd name="connsiteY78" fmla="*/ 2638425 h 4496940"/>
                    <a:gd name="connsiteX79" fmla="*/ 40027 w 4519987"/>
                    <a:gd name="connsiteY79" fmla="*/ 2562225 h 4496940"/>
                    <a:gd name="connsiteX80" fmla="*/ 30502 w 4519987"/>
                    <a:gd name="connsiteY80" fmla="*/ 2514600 h 4496940"/>
                    <a:gd name="connsiteX81" fmla="*/ 11452 w 4519987"/>
                    <a:gd name="connsiteY81" fmla="*/ 2400300 h 4496940"/>
                    <a:gd name="connsiteX82" fmla="*/ 20977 w 4519987"/>
                    <a:gd name="connsiteY82" fmla="*/ 1905000 h 4496940"/>
                    <a:gd name="connsiteX83" fmla="*/ 30502 w 4519987"/>
                    <a:gd name="connsiteY83" fmla="*/ 1838325 h 4496940"/>
                    <a:gd name="connsiteX84" fmla="*/ 49552 w 4519987"/>
                    <a:gd name="connsiteY84" fmla="*/ 1781175 h 4496940"/>
                    <a:gd name="connsiteX85" fmla="*/ 59077 w 4519987"/>
                    <a:gd name="connsiteY85" fmla="*/ 1743075 h 4496940"/>
                    <a:gd name="connsiteX86" fmla="*/ 78127 w 4519987"/>
                    <a:gd name="connsiteY86" fmla="*/ 1685925 h 4496940"/>
                    <a:gd name="connsiteX87" fmla="*/ 87652 w 4519987"/>
                    <a:gd name="connsiteY87" fmla="*/ 1638300 h 4496940"/>
                    <a:gd name="connsiteX88" fmla="*/ 106702 w 4519987"/>
                    <a:gd name="connsiteY88" fmla="*/ 1590675 h 4496940"/>
                    <a:gd name="connsiteX89" fmla="*/ 135277 w 4519987"/>
                    <a:gd name="connsiteY89" fmla="*/ 1504950 h 4496940"/>
                    <a:gd name="connsiteX90" fmla="*/ 154327 w 4519987"/>
                    <a:gd name="connsiteY90" fmla="*/ 1419225 h 4496940"/>
                    <a:gd name="connsiteX91" fmla="*/ 230527 w 4519987"/>
                    <a:gd name="connsiteY91" fmla="*/ 1276350 h 4496940"/>
                    <a:gd name="connsiteX92" fmla="*/ 240052 w 4519987"/>
                    <a:gd name="connsiteY92" fmla="*/ 1247775 h 4496940"/>
                    <a:gd name="connsiteX93" fmla="*/ 268627 w 4519987"/>
                    <a:gd name="connsiteY93" fmla="*/ 1200150 h 4496940"/>
                    <a:gd name="connsiteX94" fmla="*/ 287677 w 4519987"/>
                    <a:gd name="connsiteY94" fmla="*/ 1152525 h 4496940"/>
                    <a:gd name="connsiteX95" fmla="*/ 316252 w 4519987"/>
                    <a:gd name="connsiteY95" fmla="*/ 1114425 h 4496940"/>
                    <a:gd name="connsiteX96" fmla="*/ 363877 w 4519987"/>
                    <a:gd name="connsiteY96" fmla="*/ 1038225 h 4496940"/>
                    <a:gd name="connsiteX97" fmla="*/ 382927 w 4519987"/>
                    <a:gd name="connsiteY97" fmla="*/ 1009650 h 4496940"/>
                    <a:gd name="connsiteX98" fmla="*/ 440077 w 4519987"/>
                    <a:gd name="connsiteY98" fmla="*/ 904875 h 4496940"/>
                    <a:gd name="connsiteX99" fmla="*/ 478177 w 4519987"/>
                    <a:gd name="connsiteY99" fmla="*/ 857250 h 4496940"/>
                    <a:gd name="connsiteX100" fmla="*/ 497227 w 4519987"/>
                    <a:gd name="connsiteY100" fmla="*/ 828675 h 4496940"/>
                    <a:gd name="connsiteX101" fmla="*/ 535327 w 4519987"/>
                    <a:gd name="connsiteY101" fmla="*/ 800100 h 4496940"/>
                    <a:gd name="connsiteX102" fmla="*/ 602002 w 4519987"/>
                    <a:gd name="connsiteY102" fmla="*/ 733425 h 4496940"/>
                    <a:gd name="connsiteX103" fmla="*/ 668677 w 4519987"/>
                    <a:gd name="connsiteY103" fmla="*/ 676275 h 4496940"/>
                    <a:gd name="connsiteX104" fmla="*/ 697252 w 4519987"/>
                    <a:gd name="connsiteY104" fmla="*/ 657225 h 4496940"/>
                    <a:gd name="connsiteX105" fmla="*/ 840127 w 4519987"/>
                    <a:gd name="connsiteY105" fmla="*/ 533400 h 4496940"/>
                    <a:gd name="connsiteX106" fmla="*/ 887752 w 4519987"/>
                    <a:gd name="connsiteY106" fmla="*/ 504825 h 4496940"/>
                    <a:gd name="connsiteX107" fmla="*/ 1167152 w 4519987"/>
                    <a:gd name="connsiteY107" fmla="*/ 311150 h 4496940"/>
                    <a:gd name="connsiteX108" fmla="*/ 1268752 w 4519987"/>
                    <a:gd name="connsiteY108" fmla="*/ 285750 h 4496940"/>
                    <a:gd name="connsiteX109" fmla="*/ 1411627 w 4519987"/>
                    <a:gd name="connsiteY109" fmla="*/ 190500 h 4496940"/>
                    <a:gd name="connsiteX110" fmla="*/ 1449727 w 4519987"/>
                    <a:gd name="connsiteY110" fmla="*/ 161925 h 4496940"/>
                    <a:gd name="connsiteX111" fmla="*/ 1525927 w 4519987"/>
                    <a:gd name="connsiteY111" fmla="*/ 152400 h 4496940"/>
                    <a:gd name="connsiteX112" fmla="*/ 1583077 w 4519987"/>
                    <a:gd name="connsiteY112" fmla="*/ 142875 h 4496940"/>
                    <a:gd name="connsiteX113" fmla="*/ 1716427 w 4519987"/>
                    <a:gd name="connsiteY113" fmla="*/ 123825 h 4496940"/>
                    <a:gd name="connsiteX114" fmla="*/ 1811677 w 4519987"/>
                    <a:gd name="connsiteY114" fmla="*/ 114300 h 4496940"/>
                    <a:gd name="connsiteX115" fmla="*/ 1859302 w 4519987"/>
                    <a:gd name="connsiteY115" fmla="*/ 104775 h 4496940"/>
                    <a:gd name="connsiteX116" fmla="*/ 1916452 w 4519987"/>
                    <a:gd name="connsiteY116" fmla="*/ 95250 h 4496940"/>
                    <a:gd name="connsiteX117" fmla="*/ 2030752 w 4519987"/>
                    <a:gd name="connsiteY117" fmla="*/ 66675 h 4496940"/>
                    <a:gd name="connsiteX118" fmla="*/ 2097427 w 4519987"/>
                    <a:gd name="connsiteY118" fmla="*/ 47625 h 4496940"/>
                    <a:gd name="connsiteX119" fmla="*/ 2164102 w 4519987"/>
                    <a:gd name="connsiteY119" fmla="*/ 38100 h 4496940"/>
                    <a:gd name="connsiteX120" fmla="*/ 2392702 w 4519987"/>
                    <a:gd name="connsiteY120" fmla="*/ 28575 h 4496940"/>
                    <a:gd name="connsiteX0" fmla="*/ 2297452 w 4519987"/>
                    <a:gd name="connsiteY0" fmla="*/ 0 h 4487372"/>
                    <a:gd name="connsiteX1" fmla="*/ 2421277 w 4519987"/>
                    <a:gd name="connsiteY1" fmla="*/ 28575 h 4487372"/>
                    <a:gd name="connsiteX2" fmla="*/ 2497477 w 4519987"/>
                    <a:gd name="connsiteY2" fmla="*/ 47625 h 4487372"/>
                    <a:gd name="connsiteX3" fmla="*/ 2754652 w 4519987"/>
                    <a:gd name="connsiteY3" fmla="*/ 66675 h 4487372"/>
                    <a:gd name="connsiteX4" fmla="*/ 2830852 w 4519987"/>
                    <a:gd name="connsiteY4" fmla="*/ 76200 h 4487372"/>
                    <a:gd name="connsiteX5" fmla="*/ 2916577 w 4519987"/>
                    <a:gd name="connsiteY5" fmla="*/ 85725 h 4487372"/>
                    <a:gd name="connsiteX6" fmla="*/ 2973727 w 4519987"/>
                    <a:gd name="connsiteY6" fmla="*/ 114300 h 4487372"/>
                    <a:gd name="connsiteX7" fmla="*/ 3011827 w 4519987"/>
                    <a:gd name="connsiteY7" fmla="*/ 123825 h 4487372"/>
                    <a:gd name="connsiteX8" fmla="*/ 3135652 w 4519987"/>
                    <a:gd name="connsiteY8" fmla="*/ 171450 h 4487372"/>
                    <a:gd name="connsiteX9" fmla="*/ 3173752 w 4519987"/>
                    <a:gd name="connsiteY9" fmla="*/ 190500 h 4487372"/>
                    <a:gd name="connsiteX10" fmla="*/ 3240427 w 4519987"/>
                    <a:gd name="connsiteY10" fmla="*/ 228600 h 4487372"/>
                    <a:gd name="connsiteX11" fmla="*/ 3269002 w 4519987"/>
                    <a:gd name="connsiteY11" fmla="*/ 238125 h 4487372"/>
                    <a:gd name="connsiteX12" fmla="*/ 3297577 w 4519987"/>
                    <a:gd name="connsiteY12" fmla="*/ 257175 h 4487372"/>
                    <a:gd name="connsiteX13" fmla="*/ 3326152 w 4519987"/>
                    <a:gd name="connsiteY13" fmla="*/ 266700 h 4487372"/>
                    <a:gd name="connsiteX14" fmla="*/ 3354727 w 4519987"/>
                    <a:gd name="connsiteY14" fmla="*/ 285750 h 4487372"/>
                    <a:gd name="connsiteX15" fmla="*/ 3421402 w 4519987"/>
                    <a:gd name="connsiteY15" fmla="*/ 323850 h 4487372"/>
                    <a:gd name="connsiteX16" fmla="*/ 3469027 w 4519987"/>
                    <a:gd name="connsiteY16" fmla="*/ 361950 h 4487372"/>
                    <a:gd name="connsiteX17" fmla="*/ 3516652 w 4519987"/>
                    <a:gd name="connsiteY17" fmla="*/ 390525 h 4487372"/>
                    <a:gd name="connsiteX18" fmla="*/ 3630952 w 4519987"/>
                    <a:gd name="connsiteY18" fmla="*/ 485775 h 4487372"/>
                    <a:gd name="connsiteX19" fmla="*/ 3745252 w 4519987"/>
                    <a:gd name="connsiteY19" fmla="*/ 542925 h 4487372"/>
                    <a:gd name="connsiteX20" fmla="*/ 3811927 w 4519987"/>
                    <a:gd name="connsiteY20" fmla="*/ 581025 h 4487372"/>
                    <a:gd name="connsiteX21" fmla="*/ 4027827 w 4519987"/>
                    <a:gd name="connsiteY21" fmla="*/ 819150 h 4487372"/>
                    <a:gd name="connsiteX22" fmla="*/ 4164352 w 4519987"/>
                    <a:gd name="connsiteY22" fmla="*/ 990600 h 4487372"/>
                    <a:gd name="connsiteX23" fmla="*/ 4250077 w 4519987"/>
                    <a:gd name="connsiteY23" fmla="*/ 1143000 h 4487372"/>
                    <a:gd name="connsiteX24" fmla="*/ 4307227 w 4519987"/>
                    <a:gd name="connsiteY24" fmla="*/ 1266825 h 4487372"/>
                    <a:gd name="connsiteX25" fmla="*/ 4345327 w 4519987"/>
                    <a:gd name="connsiteY25" fmla="*/ 1362075 h 4487372"/>
                    <a:gd name="connsiteX26" fmla="*/ 4392952 w 4519987"/>
                    <a:gd name="connsiteY26" fmla="*/ 1552575 h 4487372"/>
                    <a:gd name="connsiteX27" fmla="*/ 4431052 w 4519987"/>
                    <a:gd name="connsiteY27" fmla="*/ 1685925 h 4487372"/>
                    <a:gd name="connsiteX28" fmla="*/ 4519952 w 4519987"/>
                    <a:gd name="connsiteY28" fmla="*/ 2181225 h 4487372"/>
                    <a:gd name="connsiteX29" fmla="*/ 4446927 w 4519987"/>
                    <a:gd name="connsiteY29" fmla="*/ 2768600 h 4487372"/>
                    <a:gd name="connsiteX30" fmla="*/ 4383427 w 4519987"/>
                    <a:gd name="connsiteY30" fmla="*/ 2990850 h 4487372"/>
                    <a:gd name="connsiteX31" fmla="*/ 4278652 w 4519987"/>
                    <a:gd name="connsiteY31" fmla="*/ 3248025 h 4487372"/>
                    <a:gd name="connsiteX32" fmla="*/ 4183402 w 4519987"/>
                    <a:gd name="connsiteY32" fmla="*/ 3400425 h 4487372"/>
                    <a:gd name="connsiteX33" fmla="*/ 4059577 w 4519987"/>
                    <a:gd name="connsiteY33" fmla="*/ 3533775 h 4487372"/>
                    <a:gd name="connsiteX34" fmla="*/ 3954802 w 4519987"/>
                    <a:gd name="connsiteY34" fmla="*/ 3648075 h 4487372"/>
                    <a:gd name="connsiteX35" fmla="*/ 3659527 w 4519987"/>
                    <a:gd name="connsiteY35" fmla="*/ 3971925 h 4487372"/>
                    <a:gd name="connsiteX36" fmla="*/ 3516652 w 4519987"/>
                    <a:gd name="connsiteY36" fmla="*/ 4083050 h 4487372"/>
                    <a:gd name="connsiteX37" fmla="*/ 3221377 w 4519987"/>
                    <a:gd name="connsiteY37" fmla="*/ 4222750 h 4487372"/>
                    <a:gd name="connsiteX38" fmla="*/ 3068977 w 4519987"/>
                    <a:gd name="connsiteY38" fmla="*/ 4286250 h 4487372"/>
                    <a:gd name="connsiteX39" fmla="*/ 2935627 w 4519987"/>
                    <a:gd name="connsiteY39" fmla="*/ 4333875 h 4487372"/>
                    <a:gd name="connsiteX40" fmla="*/ 2811802 w 4519987"/>
                    <a:gd name="connsiteY40" fmla="*/ 4371975 h 4487372"/>
                    <a:gd name="connsiteX41" fmla="*/ 2745127 w 4519987"/>
                    <a:gd name="connsiteY41" fmla="*/ 4410075 h 4487372"/>
                    <a:gd name="connsiteX42" fmla="*/ 2640352 w 4519987"/>
                    <a:gd name="connsiteY42" fmla="*/ 4457700 h 4487372"/>
                    <a:gd name="connsiteX43" fmla="*/ 2545102 w 4519987"/>
                    <a:gd name="connsiteY43" fmla="*/ 4486275 h 4487372"/>
                    <a:gd name="connsiteX44" fmla="*/ 2306977 w 4519987"/>
                    <a:gd name="connsiteY44" fmla="*/ 4476750 h 4487372"/>
                    <a:gd name="connsiteX45" fmla="*/ 2202202 w 4519987"/>
                    <a:gd name="connsiteY45" fmla="*/ 4457700 h 4487372"/>
                    <a:gd name="connsiteX46" fmla="*/ 2126002 w 4519987"/>
                    <a:gd name="connsiteY46" fmla="*/ 4429125 h 4487372"/>
                    <a:gd name="connsiteX47" fmla="*/ 1935502 w 4519987"/>
                    <a:gd name="connsiteY47" fmla="*/ 4400550 h 4487372"/>
                    <a:gd name="connsiteX48" fmla="*/ 1821202 w 4519987"/>
                    <a:gd name="connsiteY48" fmla="*/ 4371975 h 4487372"/>
                    <a:gd name="connsiteX49" fmla="*/ 1754527 w 4519987"/>
                    <a:gd name="connsiteY49" fmla="*/ 4352925 h 4487372"/>
                    <a:gd name="connsiteX50" fmla="*/ 1687852 w 4519987"/>
                    <a:gd name="connsiteY50" fmla="*/ 4343400 h 4487372"/>
                    <a:gd name="connsiteX51" fmla="*/ 1573552 w 4519987"/>
                    <a:gd name="connsiteY51" fmla="*/ 4305300 h 4487372"/>
                    <a:gd name="connsiteX52" fmla="*/ 1402102 w 4519987"/>
                    <a:gd name="connsiteY52" fmla="*/ 4276725 h 4487372"/>
                    <a:gd name="connsiteX53" fmla="*/ 1287802 w 4519987"/>
                    <a:gd name="connsiteY53" fmla="*/ 4229100 h 4487372"/>
                    <a:gd name="connsiteX54" fmla="*/ 1221127 w 4519987"/>
                    <a:gd name="connsiteY54" fmla="*/ 4200525 h 4487372"/>
                    <a:gd name="connsiteX55" fmla="*/ 1144927 w 4519987"/>
                    <a:gd name="connsiteY55" fmla="*/ 4171950 h 4487372"/>
                    <a:gd name="connsiteX56" fmla="*/ 1087777 w 4519987"/>
                    <a:gd name="connsiteY56" fmla="*/ 4143375 h 4487372"/>
                    <a:gd name="connsiteX57" fmla="*/ 1030627 w 4519987"/>
                    <a:gd name="connsiteY57" fmla="*/ 4124325 h 4487372"/>
                    <a:gd name="connsiteX58" fmla="*/ 925852 w 4519987"/>
                    <a:gd name="connsiteY58" fmla="*/ 4067175 h 4487372"/>
                    <a:gd name="connsiteX59" fmla="*/ 830602 w 4519987"/>
                    <a:gd name="connsiteY59" fmla="*/ 3981450 h 4487372"/>
                    <a:gd name="connsiteX60" fmla="*/ 763927 w 4519987"/>
                    <a:gd name="connsiteY60" fmla="*/ 3914775 h 4487372"/>
                    <a:gd name="connsiteX61" fmla="*/ 725827 w 4519987"/>
                    <a:gd name="connsiteY61" fmla="*/ 3876675 h 4487372"/>
                    <a:gd name="connsiteX62" fmla="*/ 697252 w 4519987"/>
                    <a:gd name="connsiteY62" fmla="*/ 3838575 h 4487372"/>
                    <a:gd name="connsiteX63" fmla="*/ 640102 w 4519987"/>
                    <a:gd name="connsiteY63" fmla="*/ 3781425 h 4487372"/>
                    <a:gd name="connsiteX64" fmla="*/ 611527 w 4519987"/>
                    <a:gd name="connsiteY64" fmla="*/ 3733800 h 4487372"/>
                    <a:gd name="connsiteX65" fmla="*/ 554377 w 4519987"/>
                    <a:gd name="connsiteY65" fmla="*/ 3657600 h 4487372"/>
                    <a:gd name="connsiteX66" fmla="*/ 525802 w 4519987"/>
                    <a:gd name="connsiteY66" fmla="*/ 3609975 h 4487372"/>
                    <a:gd name="connsiteX67" fmla="*/ 497227 w 4519987"/>
                    <a:gd name="connsiteY67" fmla="*/ 3552825 h 4487372"/>
                    <a:gd name="connsiteX68" fmla="*/ 440077 w 4519987"/>
                    <a:gd name="connsiteY68" fmla="*/ 3495675 h 4487372"/>
                    <a:gd name="connsiteX69" fmla="*/ 411502 w 4519987"/>
                    <a:gd name="connsiteY69" fmla="*/ 3448050 h 4487372"/>
                    <a:gd name="connsiteX70" fmla="*/ 278152 w 4519987"/>
                    <a:gd name="connsiteY70" fmla="*/ 3257550 h 4487372"/>
                    <a:gd name="connsiteX71" fmla="*/ 249577 w 4519987"/>
                    <a:gd name="connsiteY71" fmla="*/ 3200400 h 4487372"/>
                    <a:gd name="connsiteX72" fmla="*/ 240052 w 4519987"/>
                    <a:gd name="connsiteY72" fmla="*/ 3162300 h 4487372"/>
                    <a:gd name="connsiteX73" fmla="*/ 221002 w 4519987"/>
                    <a:gd name="connsiteY73" fmla="*/ 3105150 h 4487372"/>
                    <a:gd name="connsiteX74" fmla="*/ 173377 w 4519987"/>
                    <a:gd name="connsiteY74" fmla="*/ 3019425 h 4487372"/>
                    <a:gd name="connsiteX75" fmla="*/ 144802 w 4519987"/>
                    <a:gd name="connsiteY75" fmla="*/ 2924175 h 4487372"/>
                    <a:gd name="connsiteX76" fmla="*/ 68602 w 4519987"/>
                    <a:gd name="connsiteY76" fmla="*/ 2724150 h 4487372"/>
                    <a:gd name="connsiteX77" fmla="*/ 49552 w 4519987"/>
                    <a:gd name="connsiteY77" fmla="*/ 2638425 h 4487372"/>
                    <a:gd name="connsiteX78" fmla="*/ 40027 w 4519987"/>
                    <a:gd name="connsiteY78" fmla="*/ 2562225 h 4487372"/>
                    <a:gd name="connsiteX79" fmla="*/ 30502 w 4519987"/>
                    <a:gd name="connsiteY79" fmla="*/ 2514600 h 4487372"/>
                    <a:gd name="connsiteX80" fmla="*/ 11452 w 4519987"/>
                    <a:gd name="connsiteY80" fmla="*/ 2400300 h 4487372"/>
                    <a:gd name="connsiteX81" fmla="*/ 20977 w 4519987"/>
                    <a:gd name="connsiteY81" fmla="*/ 1905000 h 4487372"/>
                    <a:gd name="connsiteX82" fmla="*/ 30502 w 4519987"/>
                    <a:gd name="connsiteY82" fmla="*/ 1838325 h 4487372"/>
                    <a:gd name="connsiteX83" fmla="*/ 49552 w 4519987"/>
                    <a:gd name="connsiteY83" fmla="*/ 1781175 h 4487372"/>
                    <a:gd name="connsiteX84" fmla="*/ 59077 w 4519987"/>
                    <a:gd name="connsiteY84" fmla="*/ 1743075 h 4487372"/>
                    <a:gd name="connsiteX85" fmla="*/ 78127 w 4519987"/>
                    <a:gd name="connsiteY85" fmla="*/ 1685925 h 4487372"/>
                    <a:gd name="connsiteX86" fmla="*/ 87652 w 4519987"/>
                    <a:gd name="connsiteY86" fmla="*/ 1638300 h 4487372"/>
                    <a:gd name="connsiteX87" fmla="*/ 106702 w 4519987"/>
                    <a:gd name="connsiteY87" fmla="*/ 1590675 h 4487372"/>
                    <a:gd name="connsiteX88" fmla="*/ 135277 w 4519987"/>
                    <a:gd name="connsiteY88" fmla="*/ 1504950 h 4487372"/>
                    <a:gd name="connsiteX89" fmla="*/ 154327 w 4519987"/>
                    <a:gd name="connsiteY89" fmla="*/ 1419225 h 4487372"/>
                    <a:gd name="connsiteX90" fmla="*/ 230527 w 4519987"/>
                    <a:gd name="connsiteY90" fmla="*/ 1276350 h 4487372"/>
                    <a:gd name="connsiteX91" fmla="*/ 240052 w 4519987"/>
                    <a:gd name="connsiteY91" fmla="*/ 1247775 h 4487372"/>
                    <a:gd name="connsiteX92" fmla="*/ 268627 w 4519987"/>
                    <a:gd name="connsiteY92" fmla="*/ 1200150 h 4487372"/>
                    <a:gd name="connsiteX93" fmla="*/ 287677 w 4519987"/>
                    <a:gd name="connsiteY93" fmla="*/ 1152525 h 4487372"/>
                    <a:gd name="connsiteX94" fmla="*/ 316252 w 4519987"/>
                    <a:gd name="connsiteY94" fmla="*/ 1114425 h 4487372"/>
                    <a:gd name="connsiteX95" fmla="*/ 363877 w 4519987"/>
                    <a:gd name="connsiteY95" fmla="*/ 1038225 h 4487372"/>
                    <a:gd name="connsiteX96" fmla="*/ 382927 w 4519987"/>
                    <a:gd name="connsiteY96" fmla="*/ 1009650 h 4487372"/>
                    <a:gd name="connsiteX97" fmla="*/ 440077 w 4519987"/>
                    <a:gd name="connsiteY97" fmla="*/ 904875 h 4487372"/>
                    <a:gd name="connsiteX98" fmla="*/ 478177 w 4519987"/>
                    <a:gd name="connsiteY98" fmla="*/ 857250 h 4487372"/>
                    <a:gd name="connsiteX99" fmla="*/ 497227 w 4519987"/>
                    <a:gd name="connsiteY99" fmla="*/ 828675 h 4487372"/>
                    <a:gd name="connsiteX100" fmla="*/ 535327 w 4519987"/>
                    <a:gd name="connsiteY100" fmla="*/ 800100 h 4487372"/>
                    <a:gd name="connsiteX101" fmla="*/ 602002 w 4519987"/>
                    <a:gd name="connsiteY101" fmla="*/ 733425 h 4487372"/>
                    <a:gd name="connsiteX102" fmla="*/ 668677 w 4519987"/>
                    <a:gd name="connsiteY102" fmla="*/ 676275 h 4487372"/>
                    <a:gd name="connsiteX103" fmla="*/ 697252 w 4519987"/>
                    <a:gd name="connsiteY103" fmla="*/ 657225 h 4487372"/>
                    <a:gd name="connsiteX104" fmla="*/ 840127 w 4519987"/>
                    <a:gd name="connsiteY104" fmla="*/ 533400 h 4487372"/>
                    <a:gd name="connsiteX105" fmla="*/ 887752 w 4519987"/>
                    <a:gd name="connsiteY105" fmla="*/ 504825 h 4487372"/>
                    <a:gd name="connsiteX106" fmla="*/ 1167152 w 4519987"/>
                    <a:gd name="connsiteY106" fmla="*/ 311150 h 4487372"/>
                    <a:gd name="connsiteX107" fmla="*/ 1268752 w 4519987"/>
                    <a:gd name="connsiteY107" fmla="*/ 285750 h 4487372"/>
                    <a:gd name="connsiteX108" fmla="*/ 1411627 w 4519987"/>
                    <a:gd name="connsiteY108" fmla="*/ 190500 h 4487372"/>
                    <a:gd name="connsiteX109" fmla="*/ 1449727 w 4519987"/>
                    <a:gd name="connsiteY109" fmla="*/ 161925 h 4487372"/>
                    <a:gd name="connsiteX110" fmla="*/ 1525927 w 4519987"/>
                    <a:gd name="connsiteY110" fmla="*/ 152400 h 4487372"/>
                    <a:gd name="connsiteX111" fmla="*/ 1583077 w 4519987"/>
                    <a:gd name="connsiteY111" fmla="*/ 142875 h 4487372"/>
                    <a:gd name="connsiteX112" fmla="*/ 1716427 w 4519987"/>
                    <a:gd name="connsiteY112" fmla="*/ 123825 h 4487372"/>
                    <a:gd name="connsiteX113" fmla="*/ 1811677 w 4519987"/>
                    <a:gd name="connsiteY113" fmla="*/ 114300 h 4487372"/>
                    <a:gd name="connsiteX114" fmla="*/ 1859302 w 4519987"/>
                    <a:gd name="connsiteY114" fmla="*/ 104775 h 4487372"/>
                    <a:gd name="connsiteX115" fmla="*/ 1916452 w 4519987"/>
                    <a:gd name="connsiteY115" fmla="*/ 95250 h 4487372"/>
                    <a:gd name="connsiteX116" fmla="*/ 2030752 w 4519987"/>
                    <a:gd name="connsiteY116" fmla="*/ 66675 h 4487372"/>
                    <a:gd name="connsiteX117" fmla="*/ 2097427 w 4519987"/>
                    <a:gd name="connsiteY117" fmla="*/ 47625 h 4487372"/>
                    <a:gd name="connsiteX118" fmla="*/ 2164102 w 4519987"/>
                    <a:gd name="connsiteY118" fmla="*/ 38100 h 4487372"/>
                    <a:gd name="connsiteX119" fmla="*/ 2392702 w 4519987"/>
                    <a:gd name="connsiteY119" fmla="*/ 28575 h 4487372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745127 w 4519987"/>
                    <a:gd name="connsiteY41" fmla="*/ 4410075 h 4476750"/>
                    <a:gd name="connsiteX42" fmla="*/ 2640352 w 4519987"/>
                    <a:gd name="connsiteY42" fmla="*/ 4457700 h 4476750"/>
                    <a:gd name="connsiteX43" fmla="*/ 2306977 w 4519987"/>
                    <a:gd name="connsiteY43" fmla="*/ 4476750 h 4476750"/>
                    <a:gd name="connsiteX44" fmla="*/ 2202202 w 4519987"/>
                    <a:gd name="connsiteY44" fmla="*/ 4457700 h 4476750"/>
                    <a:gd name="connsiteX45" fmla="*/ 2126002 w 4519987"/>
                    <a:gd name="connsiteY45" fmla="*/ 4429125 h 4476750"/>
                    <a:gd name="connsiteX46" fmla="*/ 1935502 w 4519987"/>
                    <a:gd name="connsiteY46" fmla="*/ 4400550 h 4476750"/>
                    <a:gd name="connsiteX47" fmla="*/ 1821202 w 4519987"/>
                    <a:gd name="connsiteY47" fmla="*/ 4371975 h 4476750"/>
                    <a:gd name="connsiteX48" fmla="*/ 1754527 w 4519987"/>
                    <a:gd name="connsiteY48" fmla="*/ 4352925 h 4476750"/>
                    <a:gd name="connsiteX49" fmla="*/ 1687852 w 4519987"/>
                    <a:gd name="connsiteY49" fmla="*/ 4343400 h 4476750"/>
                    <a:gd name="connsiteX50" fmla="*/ 1573552 w 4519987"/>
                    <a:gd name="connsiteY50" fmla="*/ 4305300 h 4476750"/>
                    <a:gd name="connsiteX51" fmla="*/ 1402102 w 4519987"/>
                    <a:gd name="connsiteY51" fmla="*/ 4276725 h 4476750"/>
                    <a:gd name="connsiteX52" fmla="*/ 1287802 w 4519987"/>
                    <a:gd name="connsiteY52" fmla="*/ 4229100 h 4476750"/>
                    <a:gd name="connsiteX53" fmla="*/ 1221127 w 4519987"/>
                    <a:gd name="connsiteY53" fmla="*/ 4200525 h 4476750"/>
                    <a:gd name="connsiteX54" fmla="*/ 1144927 w 4519987"/>
                    <a:gd name="connsiteY54" fmla="*/ 4171950 h 4476750"/>
                    <a:gd name="connsiteX55" fmla="*/ 1087777 w 4519987"/>
                    <a:gd name="connsiteY55" fmla="*/ 4143375 h 4476750"/>
                    <a:gd name="connsiteX56" fmla="*/ 1030627 w 4519987"/>
                    <a:gd name="connsiteY56" fmla="*/ 4124325 h 4476750"/>
                    <a:gd name="connsiteX57" fmla="*/ 925852 w 4519987"/>
                    <a:gd name="connsiteY57" fmla="*/ 4067175 h 4476750"/>
                    <a:gd name="connsiteX58" fmla="*/ 830602 w 4519987"/>
                    <a:gd name="connsiteY58" fmla="*/ 3981450 h 4476750"/>
                    <a:gd name="connsiteX59" fmla="*/ 763927 w 4519987"/>
                    <a:gd name="connsiteY59" fmla="*/ 3914775 h 4476750"/>
                    <a:gd name="connsiteX60" fmla="*/ 725827 w 4519987"/>
                    <a:gd name="connsiteY60" fmla="*/ 3876675 h 4476750"/>
                    <a:gd name="connsiteX61" fmla="*/ 697252 w 4519987"/>
                    <a:gd name="connsiteY61" fmla="*/ 3838575 h 4476750"/>
                    <a:gd name="connsiteX62" fmla="*/ 640102 w 4519987"/>
                    <a:gd name="connsiteY62" fmla="*/ 3781425 h 4476750"/>
                    <a:gd name="connsiteX63" fmla="*/ 611527 w 4519987"/>
                    <a:gd name="connsiteY63" fmla="*/ 3733800 h 4476750"/>
                    <a:gd name="connsiteX64" fmla="*/ 554377 w 4519987"/>
                    <a:gd name="connsiteY64" fmla="*/ 3657600 h 4476750"/>
                    <a:gd name="connsiteX65" fmla="*/ 525802 w 4519987"/>
                    <a:gd name="connsiteY65" fmla="*/ 3609975 h 4476750"/>
                    <a:gd name="connsiteX66" fmla="*/ 497227 w 4519987"/>
                    <a:gd name="connsiteY66" fmla="*/ 3552825 h 4476750"/>
                    <a:gd name="connsiteX67" fmla="*/ 440077 w 4519987"/>
                    <a:gd name="connsiteY67" fmla="*/ 3495675 h 4476750"/>
                    <a:gd name="connsiteX68" fmla="*/ 411502 w 4519987"/>
                    <a:gd name="connsiteY68" fmla="*/ 3448050 h 4476750"/>
                    <a:gd name="connsiteX69" fmla="*/ 278152 w 4519987"/>
                    <a:gd name="connsiteY69" fmla="*/ 3257550 h 4476750"/>
                    <a:gd name="connsiteX70" fmla="*/ 249577 w 4519987"/>
                    <a:gd name="connsiteY70" fmla="*/ 3200400 h 4476750"/>
                    <a:gd name="connsiteX71" fmla="*/ 240052 w 4519987"/>
                    <a:gd name="connsiteY71" fmla="*/ 3162300 h 4476750"/>
                    <a:gd name="connsiteX72" fmla="*/ 221002 w 4519987"/>
                    <a:gd name="connsiteY72" fmla="*/ 3105150 h 4476750"/>
                    <a:gd name="connsiteX73" fmla="*/ 173377 w 4519987"/>
                    <a:gd name="connsiteY73" fmla="*/ 3019425 h 4476750"/>
                    <a:gd name="connsiteX74" fmla="*/ 144802 w 4519987"/>
                    <a:gd name="connsiteY74" fmla="*/ 2924175 h 4476750"/>
                    <a:gd name="connsiteX75" fmla="*/ 68602 w 4519987"/>
                    <a:gd name="connsiteY75" fmla="*/ 2724150 h 4476750"/>
                    <a:gd name="connsiteX76" fmla="*/ 49552 w 4519987"/>
                    <a:gd name="connsiteY76" fmla="*/ 2638425 h 4476750"/>
                    <a:gd name="connsiteX77" fmla="*/ 40027 w 4519987"/>
                    <a:gd name="connsiteY77" fmla="*/ 2562225 h 4476750"/>
                    <a:gd name="connsiteX78" fmla="*/ 30502 w 4519987"/>
                    <a:gd name="connsiteY78" fmla="*/ 2514600 h 4476750"/>
                    <a:gd name="connsiteX79" fmla="*/ 11452 w 4519987"/>
                    <a:gd name="connsiteY79" fmla="*/ 2400300 h 4476750"/>
                    <a:gd name="connsiteX80" fmla="*/ 20977 w 4519987"/>
                    <a:gd name="connsiteY80" fmla="*/ 1905000 h 4476750"/>
                    <a:gd name="connsiteX81" fmla="*/ 30502 w 4519987"/>
                    <a:gd name="connsiteY81" fmla="*/ 1838325 h 4476750"/>
                    <a:gd name="connsiteX82" fmla="*/ 49552 w 4519987"/>
                    <a:gd name="connsiteY82" fmla="*/ 1781175 h 4476750"/>
                    <a:gd name="connsiteX83" fmla="*/ 59077 w 4519987"/>
                    <a:gd name="connsiteY83" fmla="*/ 1743075 h 4476750"/>
                    <a:gd name="connsiteX84" fmla="*/ 78127 w 4519987"/>
                    <a:gd name="connsiteY84" fmla="*/ 1685925 h 4476750"/>
                    <a:gd name="connsiteX85" fmla="*/ 87652 w 4519987"/>
                    <a:gd name="connsiteY85" fmla="*/ 1638300 h 4476750"/>
                    <a:gd name="connsiteX86" fmla="*/ 106702 w 4519987"/>
                    <a:gd name="connsiteY86" fmla="*/ 1590675 h 4476750"/>
                    <a:gd name="connsiteX87" fmla="*/ 135277 w 4519987"/>
                    <a:gd name="connsiteY87" fmla="*/ 1504950 h 4476750"/>
                    <a:gd name="connsiteX88" fmla="*/ 154327 w 4519987"/>
                    <a:gd name="connsiteY88" fmla="*/ 1419225 h 4476750"/>
                    <a:gd name="connsiteX89" fmla="*/ 230527 w 4519987"/>
                    <a:gd name="connsiteY89" fmla="*/ 1276350 h 4476750"/>
                    <a:gd name="connsiteX90" fmla="*/ 240052 w 4519987"/>
                    <a:gd name="connsiteY90" fmla="*/ 1247775 h 4476750"/>
                    <a:gd name="connsiteX91" fmla="*/ 268627 w 4519987"/>
                    <a:gd name="connsiteY91" fmla="*/ 1200150 h 4476750"/>
                    <a:gd name="connsiteX92" fmla="*/ 287677 w 4519987"/>
                    <a:gd name="connsiteY92" fmla="*/ 1152525 h 4476750"/>
                    <a:gd name="connsiteX93" fmla="*/ 316252 w 4519987"/>
                    <a:gd name="connsiteY93" fmla="*/ 1114425 h 4476750"/>
                    <a:gd name="connsiteX94" fmla="*/ 363877 w 4519987"/>
                    <a:gd name="connsiteY94" fmla="*/ 1038225 h 4476750"/>
                    <a:gd name="connsiteX95" fmla="*/ 382927 w 4519987"/>
                    <a:gd name="connsiteY95" fmla="*/ 1009650 h 4476750"/>
                    <a:gd name="connsiteX96" fmla="*/ 440077 w 4519987"/>
                    <a:gd name="connsiteY96" fmla="*/ 904875 h 4476750"/>
                    <a:gd name="connsiteX97" fmla="*/ 478177 w 4519987"/>
                    <a:gd name="connsiteY97" fmla="*/ 857250 h 4476750"/>
                    <a:gd name="connsiteX98" fmla="*/ 497227 w 4519987"/>
                    <a:gd name="connsiteY98" fmla="*/ 828675 h 4476750"/>
                    <a:gd name="connsiteX99" fmla="*/ 535327 w 4519987"/>
                    <a:gd name="connsiteY99" fmla="*/ 800100 h 4476750"/>
                    <a:gd name="connsiteX100" fmla="*/ 602002 w 4519987"/>
                    <a:gd name="connsiteY100" fmla="*/ 733425 h 4476750"/>
                    <a:gd name="connsiteX101" fmla="*/ 668677 w 4519987"/>
                    <a:gd name="connsiteY101" fmla="*/ 676275 h 4476750"/>
                    <a:gd name="connsiteX102" fmla="*/ 697252 w 4519987"/>
                    <a:gd name="connsiteY102" fmla="*/ 657225 h 4476750"/>
                    <a:gd name="connsiteX103" fmla="*/ 840127 w 4519987"/>
                    <a:gd name="connsiteY103" fmla="*/ 533400 h 4476750"/>
                    <a:gd name="connsiteX104" fmla="*/ 887752 w 4519987"/>
                    <a:gd name="connsiteY104" fmla="*/ 504825 h 4476750"/>
                    <a:gd name="connsiteX105" fmla="*/ 1167152 w 4519987"/>
                    <a:gd name="connsiteY105" fmla="*/ 311150 h 4476750"/>
                    <a:gd name="connsiteX106" fmla="*/ 1268752 w 4519987"/>
                    <a:gd name="connsiteY106" fmla="*/ 285750 h 4476750"/>
                    <a:gd name="connsiteX107" fmla="*/ 1411627 w 4519987"/>
                    <a:gd name="connsiteY107" fmla="*/ 190500 h 4476750"/>
                    <a:gd name="connsiteX108" fmla="*/ 1449727 w 4519987"/>
                    <a:gd name="connsiteY108" fmla="*/ 161925 h 4476750"/>
                    <a:gd name="connsiteX109" fmla="*/ 1525927 w 4519987"/>
                    <a:gd name="connsiteY109" fmla="*/ 152400 h 4476750"/>
                    <a:gd name="connsiteX110" fmla="*/ 1583077 w 4519987"/>
                    <a:gd name="connsiteY110" fmla="*/ 142875 h 4476750"/>
                    <a:gd name="connsiteX111" fmla="*/ 1716427 w 4519987"/>
                    <a:gd name="connsiteY111" fmla="*/ 123825 h 4476750"/>
                    <a:gd name="connsiteX112" fmla="*/ 1811677 w 4519987"/>
                    <a:gd name="connsiteY112" fmla="*/ 114300 h 4476750"/>
                    <a:gd name="connsiteX113" fmla="*/ 1859302 w 4519987"/>
                    <a:gd name="connsiteY113" fmla="*/ 104775 h 4476750"/>
                    <a:gd name="connsiteX114" fmla="*/ 1916452 w 4519987"/>
                    <a:gd name="connsiteY114" fmla="*/ 95250 h 4476750"/>
                    <a:gd name="connsiteX115" fmla="*/ 2030752 w 4519987"/>
                    <a:gd name="connsiteY115" fmla="*/ 66675 h 4476750"/>
                    <a:gd name="connsiteX116" fmla="*/ 2097427 w 4519987"/>
                    <a:gd name="connsiteY116" fmla="*/ 47625 h 4476750"/>
                    <a:gd name="connsiteX117" fmla="*/ 2164102 w 4519987"/>
                    <a:gd name="connsiteY117" fmla="*/ 38100 h 4476750"/>
                    <a:gd name="connsiteX118" fmla="*/ 2392702 w 4519987"/>
                    <a:gd name="connsiteY118" fmla="*/ 28575 h 4476750"/>
                    <a:gd name="connsiteX0" fmla="*/ 2297452 w 4519987"/>
                    <a:gd name="connsiteY0" fmla="*/ 0 h 4478541"/>
                    <a:gd name="connsiteX1" fmla="*/ 2421277 w 4519987"/>
                    <a:gd name="connsiteY1" fmla="*/ 28575 h 4478541"/>
                    <a:gd name="connsiteX2" fmla="*/ 2497477 w 4519987"/>
                    <a:gd name="connsiteY2" fmla="*/ 47625 h 4478541"/>
                    <a:gd name="connsiteX3" fmla="*/ 2754652 w 4519987"/>
                    <a:gd name="connsiteY3" fmla="*/ 66675 h 4478541"/>
                    <a:gd name="connsiteX4" fmla="*/ 2830852 w 4519987"/>
                    <a:gd name="connsiteY4" fmla="*/ 76200 h 4478541"/>
                    <a:gd name="connsiteX5" fmla="*/ 2916577 w 4519987"/>
                    <a:gd name="connsiteY5" fmla="*/ 85725 h 4478541"/>
                    <a:gd name="connsiteX6" fmla="*/ 2973727 w 4519987"/>
                    <a:gd name="connsiteY6" fmla="*/ 114300 h 4478541"/>
                    <a:gd name="connsiteX7" fmla="*/ 3011827 w 4519987"/>
                    <a:gd name="connsiteY7" fmla="*/ 123825 h 4478541"/>
                    <a:gd name="connsiteX8" fmla="*/ 3135652 w 4519987"/>
                    <a:gd name="connsiteY8" fmla="*/ 171450 h 4478541"/>
                    <a:gd name="connsiteX9" fmla="*/ 3173752 w 4519987"/>
                    <a:gd name="connsiteY9" fmla="*/ 190500 h 4478541"/>
                    <a:gd name="connsiteX10" fmla="*/ 3240427 w 4519987"/>
                    <a:gd name="connsiteY10" fmla="*/ 228600 h 4478541"/>
                    <a:gd name="connsiteX11" fmla="*/ 3269002 w 4519987"/>
                    <a:gd name="connsiteY11" fmla="*/ 238125 h 4478541"/>
                    <a:gd name="connsiteX12" fmla="*/ 3297577 w 4519987"/>
                    <a:gd name="connsiteY12" fmla="*/ 257175 h 4478541"/>
                    <a:gd name="connsiteX13" fmla="*/ 3326152 w 4519987"/>
                    <a:gd name="connsiteY13" fmla="*/ 266700 h 4478541"/>
                    <a:gd name="connsiteX14" fmla="*/ 3354727 w 4519987"/>
                    <a:gd name="connsiteY14" fmla="*/ 285750 h 4478541"/>
                    <a:gd name="connsiteX15" fmla="*/ 3421402 w 4519987"/>
                    <a:gd name="connsiteY15" fmla="*/ 323850 h 4478541"/>
                    <a:gd name="connsiteX16" fmla="*/ 3469027 w 4519987"/>
                    <a:gd name="connsiteY16" fmla="*/ 361950 h 4478541"/>
                    <a:gd name="connsiteX17" fmla="*/ 3516652 w 4519987"/>
                    <a:gd name="connsiteY17" fmla="*/ 390525 h 4478541"/>
                    <a:gd name="connsiteX18" fmla="*/ 3630952 w 4519987"/>
                    <a:gd name="connsiteY18" fmla="*/ 485775 h 4478541"/>
                    <a:gd name="connsiteX19" fmla="*/ 3745252 w 4519987"/>
                    <a:gd name="connsiteY19" fmla="*/ 542925 h 4478541"/>
                    <a:gd name="connsiteX20" fmla="*/ 3811927 w 4519987"/>
                    <a:gd name="connsiteY20" fmla="*/ 581025 h 4478541"/>
                    <a:gd name="connsiteX21" fmla="*/ 4027827 w 4519987"/>
                    <a:gd name="connsiteY21" fmla="*/ 819150 h 4478541"/>
                    <a:gd name="connsiteX22" fmla="*/ 4164352 w 4519987"/>
                    <a:gd name="connsiteY22" fmla="*/ 990600 h 4478541"/>
                    <a:gd name="connsiteX23" fmla="*/ 4250077 w 4519987"/>
                    <a:gd name="connsiteY23" fmla="*/ 1143000 h 4478541"/>
                    <a:gd name="connsiteX24" fmla="*/ 4307227 w 4519987"/>
                    <a:gd name="connsiteY24" fmla="*/ 1266825 h 4478541"/>
                    <a:gd name="connsiteX25" fmla="*/ 4345327 w 4519987"/>
                    <a:gd name="connsiteY25" fmla="*/ 1362075 h 4478541"/>
                    <a:gd name="connsiteX26" fmla="*/ 4392952 w 4519987"/>
                    <a:gd name="connsiteY26" fmla="*/ 1552575 h 4478541"/>
                    <a:gd name="connsiteX27" fmla="*/ 4431052 w 4519987"/>
                    <a:gd name="connsiteY27" fmla="*/ 1685925 h 4478541"/>
                    <a:gd name="connsiteX28" fmla="*/ 4519952 w 4519987"/>
                    <a:gd name="connsiteY28" fmla="*/ 2181225 h 4478541"/>
                    <a:gd name="connsiteX29" fmla="*/ 4446927 w 4519987"/>
                    <a:gd name="connsiteY29" fmla="*/ 2768600 h 4478541"/>
                    <a:gd name="connsiteX30" fmla="*/ 4383427 w 4519987"/>
                    <a:gd name="connsiteY30" fmla="*/ 2990850 h 4478541"/>
                    <a:gd name="connsiteX31" fmla="*/ 4278652 w 4519987"/>
                    <a:gd name="connsiteY31" fmla="*/ 3248025 h 4478541"/>
                    <a:gd name="connsiteX32" fmla="*/ 4183402 w 4519987"/>
                    <a:gd name="connsiteY32" fmla="*/ 3400425 h 4478541"/>
                    <a:gd name="connsiteX33" fmla="*/ 4059577 w 4519987"/>
                    <a:gd name="connsiteY33" fmla="*/ 3533775 h 4478541"/>
                    <a:gd name="connsiteX34" fmla="*/ 3954802 w 4519987"/>
                    <a:gd name="connsiteY34" fmla="*/ 3648075 h 4478541"/>
                    <a:gd name="connsiteX35" fmla="*/ 3659527 w 4519987"/>
                    <a:gd name="connsiteY35" fmla="*/ 3971925 h 4478541"/>
                    <a:gd name="connsiteX36" fmla="*/ 3516652 w 4519987"/>
                    <a:gd name="connsiteY36" fmla="*/ 4083050 h 4478541"/>
                    <a:gd name="connsiteX37" fmla="*/ 3221377 w 4519987"/>
                    <a:gd name="connsiteY37" fmla="*/ 4222750 h 4478541"/>
                    <a:gd name="connsiteX38" fmla="*/ 3068977 w 4519987"/>
                    <a:gd name="connsiteY38" fmla="*/ 4286250 h 4478541"/>
                    <a:gd name="connsiteX39" fmla="*/ 2935627 w 4519987"/>
                    <a:gd name="connsiteY39" fmla="*/ 4333875 h 4478541"/>
                    <a:gd name="connsiteX40" fmla="*/ 2811802 w 4519987"/>
                    <a:gd name="connsiteY40" fmla="*/ 4371975 h 4478541"/>
                    <a:gd name="connsiteX41" fmla="*/ 2745127 w 4519987"/>
                    <a:gd name="connsiteY41" fmla="*/ 4410075 h 4478541"/>
                    <a:gd name="connsiteX42" fmla="*/ 2306977 w 4519987"/>
                    <a:gd name="connsiteY42" fmla="*/ 4476750 h 4478541"/>
                    <a:gd name="connsiteX43" fmla="*/ 2202202 w 4519987"/>
                    <a:gd name="connsiteY43" fmla="*/ 4457700 h 4478541"/>
                    <a:gd name="connsiteX44" fmla="*/ 2126002 w 4519987"/>
                    <a:gd name="connsiteY44" fmla="*/ 4429125 h 4478541"/>
                    <a:gd name="connsiteX45" fmla="*/ 1935502 w 4519987"/>
                    <a:gd name="connsiteY45" fmla="*/ 4400550 h 4478541"/>
                    <a:gd name="connsiteX46" fmla="*/ 1821202 w 4519987"/>
                    <a:gd name="connsiteY46" fmla="*/ 4371975 h 4478541"/>
                    <a:gd name="connsiteX47" fmla="*/ 1754527 w 4519987"/>
                    <a:gd name="connsiteY47" fmla="*/ 4352925 h 4478541"/>
                    <a:gd name="connsiteX48" fmla="*/ 1687852 w 4519987"/>
                    <a:gd name="connsiteY48" fmla="*/ 4343400 h 4478541"/>
                    <a:gd name="connsiteX49" fmla="*/ 1573552 w 4519987"/>
                    <a:gd name="connsiteY49" fmla="*/ 4305300 h 4478541"/>
                    <a:gd name="connsiteX50" fmla="*/ 1402102 w 4519987"/>
                    <a:gd name="connsiteY50" fmla="*/ 4276725 h 4478541"/>
                    <a:gd name="connsiteX51" fmla="*/ 1287802 w 4519987"/>
                    <a:gd name="connsiteY51" fmla="*/ 4229100 h 4478541"/>
                    <a:gd name="connsiteX52" fmla="*/ 1221127 w 4519987"/>
                    <a:gd name="connsiteY52" fmla="*/ 4200525 h 4478541"/>
                    <a:gd name="connsiteX53" fmla="*/ 1144927 w 4519987"/>
                    <a:gd name="connsiteY53" fmla="*/ 4171950 h 4478541"/>
                    <a:gd name="connsiteX54" fmla="*/ 1087777 w 4519987"/>
                    <a:gd name="connsiteY54" fmla="*/ 4143375 h 4478541"/>
                    <a:gd name="connsiteX55" fmla="*/ 1030627 w 4519987"/>
                    <a:gd name="connsiteY55" fmla="*/ 4124325 h 4478541"/>
                    <a:gd name="connsiteX56" fmla="*/ 925852 w 4519987"/>
                    <a:gd name="connsiteY56" fmla="*/ 4067175 h 4478541"/>
                    <a:gd name="connsiteX57" fmla="*/ 830602 w 4519987"/>
                    <a:gd name="connsiteY57" fmla="*/ 3981450 h 4478541"/>
                    <a:gd name="connsiteX58" fmla="*/ 763927 w 4519987"/>
                    <a:gd name="connsiteY58" fmla="*/ 3914775 h 4478541"/>
                    <a:gd name="connsiteX59" fmla="*/ 725827 w 4519987"/>
                    <a:gd name="connsiteY59" fmla="*/ 3876675 h 4478541"/>
                    <a:gd name="connsiteX60" fmla="*/ 697252 w 4519987"/>
                    <a:gd name="connsiteY60" fmla="*/ 3838575 h 4478541"/>
                    <a:gd name="connsiteX61" fmla="*/ 640102 w 4519987"/>
                    <a:gd name="connsiteY61" fmla="*/ 3781425 h 4478541"/>
                    <a:gd name="connsiteX62" fmla="*/ 611527 w 4519987"/>
                    <a:gd name="connsiteY62" fmla="*/ 3733800 h 4478541"/>
                    <a:gd name="connsiteX63" fmla="*/ 554377 w 4519987"/>
                    <a:gd name="connsiteY63" fmla="*/ 3657600 h 4478541"/>
                    <a:gd name="connsiteX64" fmla="*/ 525802 w 4519987"/>
                    <a:gd name="connsiteY64" fmla="*/ 3609975 h 4478541"/>
                    <a:gd name="connsiteX65" fmla="*/ 497227 w 4519987"/>
                    <a:gd name="connsiteY65" fmla="*/ 3552825 h 4478541"/>
                    <a:gd name="connsiteX66" fmla="*/ 440077 w 4519987"/>
                    <a:gd name="connsiteY66" fmla="*/ 3495675 h 4478541"/>
                    <a:gd name="connsiteX67" fmla="*/ 411502 w 4519987"/>
                    <a:gd name="connsiteY67" fmla="*/ 3448050 h 4478541"/>
                    <a:gd name="connsiteX68" fmla="*/ 278152 w 4519987"/>
                    <a:gd name="connsiteY68" fmla="*/ 3257550 h 4478541"/>
                    <a:gd name="connsiteX69" fmla="*/ 249577 w 4519987"/>
                    <a:gd name="connsiteY69" fmla="*/ 3200400 h 4478541"/>
                    <a:gd name="connsiteX70" fmla="*/ 240052 w 4519987"/>
                    <a:gd name="connsiteY70" fmla="*/ 3162300 h 4478541"/>
                    <a:gd name="connsiteX71" fmla="*/ 221002 w 4519987"/>
                    <a:gd name="connsiteY71" fmla="*/ 3105150 h 4478541"/>
                    <a:gd name="connsiteX72" fmla="*/ 173377 w 4519987"/>
                    <a:gd name="connsiteY72" fmla="*/ 3019425 h 4478541"/>
                    <a:gd name="connsiteX73" fmla="*/ 144802 w 4519987"/>
                    <a:gd name="connsiteY73" fmla="*/ 2924175 h 4478541"/>
                    <a:gd name="connsiteX74" fmla="*/ 68602 w 4519987"/>
                    <a:gd name="connsiteY74" fmla="*/ 2724150 h 4478541"/>
                    <a:gd name="connsiteX75" fmla="*/ 49552 w 4519987"/>
                    <a:gd name="connsiteY75" fmla="*/ 2638425 h 4478541"/>
                    <a:gd name="connsiteX76" fmla="*/ 40027 w 4519987"/>
                    <a:gd name="connsiteY76" fmla="*/ 2562225 h 4478541"/>
                    <a:gd name="connsiteX77" fmla="*/ 30502 w 4519987"/>
                    <a:gd name="connsiteY77" fmla="*/ 2514600 h 4478541"/>
                    <a:gd name="connsiteX78" fmla="*/ 11452 w 4519987"/>
                    <a:gd name="connsiteY78" fmla="*/ 2400300 h 4478541"/>
                    <a:gd name="connsiteX79" fmla="*/ 20977 w 4519987"/>
                    <a:gd name="connsiteY79" fmla="*/ 1905000 h 4478541"/>
                    <a:gd name="connsiteX80" fmla="*/ 30502 w 4519987"/>
                    <a:gd name="connsiteY80" fmla="*/ 1838325 h 4478541"/>
                    <a:gd name="connsiteX81" fmla="*/ 49552 w 4519987"/>
                    <a:gd name="connsiteY81" fmla="*/ 1781175 h 4478541"/>
                    <a:gd name="connsiteX82" fmla="*/ 59077 w 4519987"/>
                    <a:gd name="connsiteY82" fmla="*/ 1743075 h 4478541"/>
                    <a:gd name="connsiteX83" fmla="*/ 78127 w 4519987"/>
                    <a:gd name="connsiteY83" fmla="*/ 1685925 h 4478541"/>
                    <a:gd name="connsiteX84" fmla="*/ 87652 w 4519987"/>
                    <a:gd name="connsiteY84" fmla="*/ 1638300 h 4478541"/>
                    <a:gd name="connsiteX85" fmla="*/ 106702 w 4519987"/>
                    <a:gd name="connsiteY85" fmla="*/ 1590675 h 4478541"/>
                    <a:gd name="connsiteX86" fmla="*/ 135277 w 4519987"/>
                    <a:gd name="connsiteY86" fmla="*/ 1504950 h 4478541"/>
                    <a:gd name="connsiteX87" fmla="*/ 154327 w 4519987"/>
                    <a:gd name="connsiteY87" fmla="*/ 1419225 h 4478541"/>
                    <a:gd name="connsiteX88" fmla="*/ 230527 w 4519987"/>
                    <a:gd name="connsiteY88" fmla="*/ 1276350 h 4478541"/>
                    <a:gd name="connsiteX89" fmla="*/ 240052 w 4519987"/>
                    <a:gd name="connsiteY89" fmla="*/ 1247775 h 4478541"/>
                    <a:gd name="connsiteX90" fmla="*/ 268627 w 4519987"/>
                    <a:gd name="connsiteY90" fmla="*/ 1200150 h 4478541"/>
                    <a:gd name="connsiteX91" fmla="*/ 287677 w 4519987"/>
                    <a:gd name="connsiteY91" fmla="*/ 1152525 h 4478541"/>
                    <a:gd name="connsiteX92" fmla="*/ 316252 w 4519987"/>
                    <a:gd name="connsiteY92" fmla="*/ 1114425 h 4478541"/>
                    <a:gd name="connsiteX93" fmla="*/ 363877 w 4519987"/>
                    <a:gd name="connsiteY93" fmla="*/ 1038225 h 4478541"/>
                    <a:gd name="connsiteX94" fmla="*/ 382927 w 4519987"/>
                    <a:gd name="connsiteY94" fmla="*/ 1009650 h 4478541"/>
                    <a:gd name="connsiteX95" fmla="*/ 440077 w 4519987"/>
                    <a:gd name="connsiteY95" fmla="*/ 904875 h 4478541"/>
                    <a:gd name="connsiteX96" fmla="*/ 478177 w 4519987"/>
                    <a:gd name="connsiteY96" fmla="*/ 857250 h 4478541"/>
                    <a:gd name="connsiteX97" fmla="*/ 497227 w 4519987"/>
                    <a:gd name="connsiteY97" fmla="*/ 828675 h 4478541"/>
                    <a:gd name="connsiteX98" fmla="*/ 535327 w 4519987"/>
                    <a:gd name="connsiteY98" fmla="*/ 800100 h 4478541"/>
                    <a:gd name="connsiteX99" fmla="*/ 602002 w 4519987"/>
                    <a:gd name="connsiteY99" fmla="*/ 733425 h 4478541"/>
                    <a:gd name="connsiteX100" fmla="*/ 668677 w 4519987"/>
                    <a:gd name="connsiteY100" fmla="*/ 676275 h 4478541"/>
                    <a:gd name="connsiteX101" fmla="*/ 697252 w 4519987"/>
                    <a:gd name="connsiteY101" fmla="*/ 657225 h 4478541"/>
                    <a:gd name="connsiteX102" fmla="*/ 840127 w 4519987"/>
                    <a:gd name="connsiteY102" fmla="*/ 533400 h 4478541"/>
                    <a:gd name="connsiteX103" fmla="*/ 887752 w 4519987"/>
                    <a:gd name="connsiteY103" fmla="*/ 504825 h 4478541"/>
                    <a:gd name="connsiteX104" fmla="*/ 1167152 w 4519987"/>
                    <a:gd name="connsiteY104" fmla="*/ 311150 h 4478541"/>
                    <a:gd name="connsiteX105" fmla="*/ 1268752 w 4519987"/>
                    <a:gd name="connsiteY105" fmla="*/ 285750 h 4478541"/>
                    <a:gd name="connsiteX106" fmla="*/ 1411627 w 4519987"/>
                    <a:gd name="connsiteY106" fmla="*/ 190500 h 4478541"/>
                    <a:gd name="connsiteX107" fmla="*/ 1449727 w 4519987"/>
                    <a:gd name="connsiteY107" fmla="*/ 161925 h 4478541"/>
                    <a:gd name="connsiteX108" fmla="*/ 1525927 w 4519987"/>
                    <a:gd name="connsiteY108" fmla="*/ 152400 h 4478541"/>
                    <a:gd name="connsiteX109" fmla="*/ 1583077 w 4519987"/>
                    <a:gd name="connsiteY109" fmla="*/ 142875 h 4478541"/>
                    <a:gd name="connsiteX110" fmla="*/ 1716427 w 4519987"/>
                    <a:gd name="connsiteY110" fmla="*/ 123825 h 4478541"/>
                    <a:gd name="connsiteX111" fmla="*/ 1811677 w 4519987"/>
                    <a:gd name="connsiteY111" fmla="*/ 114300 h 4478541"/>
                    <a:gd name="connsiteX112" fmla="*/ 1859302 w 4519987"/>
                    <a:gd name="connsiteY112" fmla="*/ 104775 h 4478541"/>
                    <a:gd name="connsiteX113" fmla="*/ 1916452 w 4519987"/>
                    <a:gd name="connsiteY113" fmla="*/ 95250 h 4478541"/>
                    <a:gd name="connsiteX114" fmla="*/ 2030752 w 4519987"/>
                    <a:gd name="connsiteY114" fmla="*/ 66675 h 4478541"/>
                    <a:gd name="connsiteX115" fmla="*/ 2097427 w 4519987"/>
                    <a:gd name="connsiteY115" fmla="*/ 47625 h 4478541"/>
                    <a:gd name="connsiteX116" fmla="*/ 2164102 w 4519987"/>
                    <a:gd name="connsiteY116" fmla="*/ 38100 h 4478541"/>
                    <a:gd name="connsiteX117" fmla="*/ 2392702 w 4519987"/>
                    <a:gd name="connsiteY117" fmla="*/ 28575 h 4478541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580027 w 4519987"/>
                    <a:gd name="connsiteY41" fmla="*/ 4391025 h 4476750"/>
                    <a:gd name="connsiteX42" fmla="*/ 2306977 w 4519987"/>
                    <a:gd name="connsiteY42" fmla="*/ 4476750 h 4476750"/>
                    <a:gd name="connsiteX43" fmla="*/ 2202202 w 4519987"/>
                    <a:gd name="connsiteY43" fmla="*/ 4457700 h 4476750"/>
                    <a:gd name="connsiteX44" fmla="*/ 2126002 w 4519987"/>
                    <a:gd name="connsiteY44" fmla="*/ 4429125 h 4476750"/>
                    <a:gd name="connsiteX45" fmla="*/ 1935502 w 4519987"/>
                    <a:gd name="connsiteY45" fmla="*/ 4400550 h 4476750"/>
                    <a:gd name="connsiteX46" fmla="*/ 1821202 w 4519987"/>
                    <a:gd name="connsiteY46" fmla="*/ 4371975 h 4476750"/>
                    <a:gd name="connsiteX47" fmla="*/ 1754527 w 4519987"/>
                    <a:gd name="connsiteY47" fmla="*/ 4352925 h 4476750"/>
                    <a:gd name="connsiteX48" fmla="*/ 1687852 w 4519987"/>
                    <a:gd name="connsiteY48" fmla="*/ 4343400 h 4476750"/>
                    <a:gd name="connsiteX49" fmla="*/ 1573552 w 4519987"/>
                    <a:gd name="connsiteY49" fmla="*/ 4305300 h 4476750"/>
                    <a:gd name="connsiteX50" fmla="*/ 1402102 w 4519987"/>
                    <a:gd name="connsiteY50" fmla="*/ 4276725 h 4476750"/>
                    <a:gd name="connsiteX51" fmla="*/ 1287802 w 4519987"/>
                    <a:gd name="connsiteY51" fmla="*/ 4229100 h 4476750"/>
                    <a:gd name="connsiteX52" fmla="*/ 1221127 w 4519987"/>
                    <a:gd name="connsiteY52" fmla="*/ 4200525 h 4476750"/>
                    <a:gd name="connsiteX53" fmla="*/ 1144927 w 4519987"/>
                    <a:gd name="connsiteY53" fmla="*/ 4171950 h 4476750"/>
                    <a:gd name="connsiteX54" fmla="*/ 1087777 w 4519987"/>
                    <a:gd name="connsiteY54" fmla="*/ 4143375 h 4476750"/>
                    <a:gd name="connsiteX55" fmla="*/ 1030627 w 4519987"/>
                    <a:gd name="connsiteY55" fmla="*/ 4124325 h 4476750"/>
                    <a:gd name="connsiteX56" fmla="*/ 925852 w 4519987"/>
                    <a:gd name="connsiteY56" fmla="*/ 4067175 h 4476750"/>
                    <a:gd name="connsiteX57" fmla="*/ 830602 w 4519987"/>
                    <a:gd name="connsiteY57" fmla="*/ 3981450 h 4476750"/>
                    <a:gd name="connsiteX58" fmla="*/ 763927 w 4519987"/>
                    <a:gd name="connsiteY58" fmla="*/ 3914775 h 4476750"/>
                    <a:gd name="connsiteX59" fmla="*/ 725827 w 4519987"/>
                    <a:gd name="connsiteY59" fmla="*/ 3876675 h 4476750"/>
                    <a:gd name="connsiteX60" fmla="*/ 697252 w 4519987"/>
                    <a:gd name="connsiteY60" fmla="*/ 3838575 h 4476750"/>
                    <a:gd name="connsiteX61" fmla="*/ 640102 w 4519987"/>
                    <a:gd name="connsiteY61" fmla="*/ 3781425 h 4476750"/>
                    <a:gd name="connsiteX62" fmla="*/ 611527 w 4519987"/>
                    <a:gd name="connsiteY62" fmla="*/ 3733800 h 4476750"/>
                    <a:gd name="connsiteX63" fmla="*/ 554377 w 4519987"/>
                    <a:gd name="connsiteY63" fmla="*/ 3657600 h 4476750"/>
                    <a:gd name="connsiteX64" fmla="*/ 525802 w 4519987"/>
                    <a:gd name="connsiteY64" fmla="*/ 3609975 h 4476750"/>
                    <a:gd name="connsiteX65" fmla="*/ 497227 w 4519987"/>
                    <a:gd name="connsiteY65" fmla="*/ 3552825 h 4476750"/>
                    <a:gd name="connsiteX66" fmla="*/ 440077 w 4519987"/>
                    <a:gd name="connsiteY66" fmla="*/ 3495675 h 4476750"/>
                    <a:gd name="connsiteX67" fmla="*/ 411502 w 4519987"/>
                    <a:gd name="connsiteY67" fmla="*/ 3448050 h 4476750"/>
                    <a:gd name="connsiteX68" fmla="*/ 278152 w 4519987"/>
                    <a:gd name="connsiteY68" fmla="*/ 3257550 h 4476750"/>
                    <a:gd name="connsiteX69" fmla="*/ 249577 w 4519987"/>
                    <a:gd name="connsiteY69" fmla="*/ 3200400 h 4476750"/>
                    <a:gd name="connsiteX70" fmla="*/ 240052 w 4519987"/>
                    <a:gd name="connsiteY70" fmla="*/ 3162300 h 4476750"/>
                    <a:gd name="connsiteX71" fmla="*/ 221002 w 4519987"/>
                    <a:gd name="connsiteY71" fmla="*/ 3105150 h 4476750"/>
                    <a:gd name="connsiteX72" fmla="*/ 173377 w 4519987"/>
                    <a:gd name="connsiteY72" fmla="*/ 3019425 h 4476750"/>
                    <a:gd name="connsiteX73" fmla="*/ 144802 w 4519987"/>
                    <a:gd name="connsiteY73" fmla="*/ 2924175 h 4476750"/>
                    <a:gd name="connsiteX74" fmla="*/ 68602 w 4519987"/>
                    <a:gd name="connsiteY74" fmla="*/ 2724150 h 4476750"/>
                    <a:gd name="connsiteX75" fmla="*/ 49552 w 4519987"/>
                    <a:gd name="connsiteY75" fmla="*/ 2638425 h 4476750"/>
                    <a:gd name="connsiteX76" fmla="*/ 40027 w 4519987"/>
                    <a:gd name="connsiteY76" fmla="*/ 2562225 h 4476750"/>
                    <a:gd name="connsiteX77" fmla="*/ 30502 w 4519987"/>
                    <a:gd name="connsiteY77" fmla="*/ 2514600 h 4476750"/>
                    <a:gd name="connsiteX78" fmla="*/ 11452 w 4519987"/>
                    <a:gd name="connsiteY78" fmla="*/ 2400300 h 4476750"/>
                    <a:gd name="connsiteX79" fmla="*/ 20977 w 4519987"/>
                    <a:gd name="connsiteY79" fmla="*/ 1905000 h 4476750"/>
                    <a:gd name="connsiteX80" fmla="*/ 30502 w 4519987"/>
                    <a:gd name="connsiteY80" fmla="*/ 1838325 h 4476750"/>
                    <a:gd name="connsiteX81" fmla="*/ 49552 w 4519987"/>
                    <a:gd name="connsiteY81" fmla="*/ 1781175 h 4476750"/>
                    <a:gd name="connsiteX82" fmla="*/ 59077 w 4519987"/>
                    <a:gd name="connsiteY82" fmla="*/ 1743075 h 4476750"/>
                    <a:gd name="connsiteX83" fmla="*/ 78127 w 4519987"/>
                    <a:gd name="connsiteY83" fmla="*/ 1685925 h 4476750"/>
                    <a:gd name="connsiteX84" fmla="*/ 87652 w 4519987"/>
                    <a:gd name="connsiteY84" fmla="*/ 1638300 h 4476750"/>
                    <a:gd name="connsiteX85" fmla="*/ 106702 w 4519987"/>
                    <a:gd name="connsiteY85" fmla="*/ 1590675 h 4476750"/>
                    <a:gd name="connsiteX86" fmla="*/ 135277 w 4519987"/>
                    <a:gd name="connsiteY86" fmla="*/ 1504950 h 4476750"/>
                    <a:gd name="connsiteX87" fmla="*/ 154327 w 4519987"/>
                    <a:gd name="connsiteY87" fmla="*/ 1419225 h 4476750"/>
                    <a:gd name="connsiteX88" fmla="*/ 230527 w 4519987"/>
                    <a:gd name="connsiteY88" fmla="*/ 1276350 h 4476750"/>
                    <a:gd name="connsiteX89" fmla="*/ 240052 w 4519987"/>
                    <a:gd name="connsiteY89" fmla="*/ 1247775 h 4476750"/>
                    <a:gd name="connsiteX90" fmla="*/ 268627 w 4519987"/>
                    <a:gd name="connsiteY90" fmla="*/ 1200150 h 4476750"/>
                    <a:gd name="connsiteX91" fmla="*/ 287677 w 4519987"/>
                    <a:gd name="connsiteY91" fmla="*/ 1152525 h 4476750"/>
                    <a:gd name="connsiteX92" fmla="*/ 316252 w 4519987"/>
                    <a:gd name="connsiteY92" fmla="*/ 1114425 h 4476750"/>
                    <a:gd name="connsiteX93" fmla="*/ 363877 w 4519987"/>
                    <a:gd name="connsiteY93" fmla="*/ 1038225 h 4476750"/>
                    <a:gd name="connsiteX94" fmla="*/ 382927 w 4519987"/>
                    <a:gd name="connsiteY94" fmla="*/ 1009650 h 4476750"/>
                    <a:gd name="connsiteX95" fmla="*/ 440077 w 4519987"/>
                    <a:gd name="connsiteY95" fmla="*/ 904875 h 4476750"/>
                    <a:gd name="connsiteX96" fmla="*/ 478177 w 4519987"/>
                    <a:gd name="connsiteY96" fmla="*/ 857250 h 4476750"/>
                    <a:gd name="connsiteX97" fmla="*/ 497227 w 4519987"/>
                    <a:gd name="connsiteY97" fmla="*/ 828675 h 4476750"/>
                    <a:gd name="connsiteX98" fmla="*/ 535327 w 4519987"/>
                    <a:gd name="connsiteY98" fmla="*/ 800100 h 4476750"/>
                    <a:gd name="connsiteX99" fmla="*/ 602002 w 4519987"/>
                    <a:gd name="connsiteY99" fmla="*/ 733425 h 4476750"/>
                    <a:gd name="connsiteX100" fmla="*/ 668677 w 4519987"/>
                    <a:gd name="connsiteY100" fmla="*/ 676275 h 4476750"/>
                    <a:gd name="connsiteX101" fmla="*/ 697252 w 4519987"/>
                    <a:gd name="connsiteY101" fmla="*/ 657225 h 4476750"/>
                    <a:gd name="connsiteX102" fmla="*/ 840127 w 4519987"/>
                    <a:gd name="connsiteY102" fmla="*/ 533400 h 4476750"/>
                    <a:gd name="connsiteX103" fmla="*/ 887752 w 4519987"/>
                    <a:gd name="connsiteY103" fmla="*/ 504825 h 4476750"/>
                    <a:gd name="connsiteX104" fmla="*/ 1167152 w 4519987"/>
                    <a:gd name="connsiteY104" fmla="*/ 311150 h 4476750"/>
                    <a:gd name="connsiteX105" fmla="*/ 1268752 w 4519987"/>
                    <a:gd name="connsiteY105" fmla="*/ 285750 h 4476750"/>
                    <a:gd name="connsiteX106" fmla="*/ 1411627 w 4519987"/>
                    <a:gd name="connsiteY106" fmla="*/ 190500 h 4476750"/>
                    <a:gd name="connsiteX107" fmla="*/ 1449727 w 4519987"/>
                    <a:gd name="connsiteY107" fmla="*/ 161925 h 4476750"/>
                    <a:gd name="connsiteX108" fmla="*/ 1525927 w 4519987"/>
                    <a:gd name="connsiteY108" fmla="*/ 152400 h 4476750"/>
                    <a:gd name="connsiteX109" fmla="*/ 1583077 w 4519987"/>
                    <a:gd name="connsiteY109" fmla="*/ 142875 h 4476750"/>
                    <a:gd name="connsiteX110" fmla="*/ 1716427 w 4519987"/>
                    <a:gd name="connsiteY110" fmla="*/ 123825 h 4476750"/>
                    <a:gd name="connsiteX111" fmla="*/ 1811677 w 4519987"/>
                    <a:gd name="connsiteY111" fmla="*/ 114300 h 4476750"/>
                    <a:gd name="connsiteX112" fmla="*/ 1859302 w 4519987"/>
                    <a:gd name="connsiteY112" fmla="*/ 104775 h 4476750"/>
                    <a:gd name="connsiteX113" fmla="*/ 1916452 w 4519987"/>
                    <a:gd name="connsiteY113" fmla="*/ 95250 h 4476750"/>
                    <a:gd name="connsiteX114" fmla="*/ 2030752 w 4519987"/>
                    <a:gd name="connsiteY114" fmla="*/ 66675 h 4476750"/>
                    <a:gd name="connsiteX115" fmla="*/ 2097427 w 4519987"/>
                    <a:gd name="connsiteY115" fmla="*/ 47625 h 4476750"/>
                    <a:gd name="connsiteX116" fmla="*/ 2164102 w 4519987"/>
                    <a:gd name="connsiteY116" fmla="*/ 38100 h 4476750"/>
                    <a:gd name="connsiteX117" fmla="*/ 2392702 w 4519987"/>
                    <a:gd name="connsiteY117" fmla="*/ 28575 h 4476750"/>
                    <a:gd name="connsiteX0" fmla="*/ 2297452 w 4519987"/>
                    <a:gd name="connsiteY0" fmla="*/ 0 h 4457700"/>
                    <a:gd name="connsiteX1" fmla="*/ 2421277 w 4519987"/>
                    <a:gd name="connsiteY1" fmla="*/ 28575 h 4457700"/>
                    <a:gd name="connsiteX2" fmla="*/ 2497477 w 4519987"/>
                    <a:gd name="connsiteY2" fmla="*/ 47625 h 4457700"/>
                    <a:gd name="connsiteX3" fmla="*/ 2754652 w 4519987"/>
                    <a:gd name="connsiteY3" fmla="*/ 66675 h 4457700"/>
                    <a:gd name="connsiteX4" fmla="*/ 2830852 w 4519987"/>
                    <a:gd name="connsiteY4" fmla="*/ 76200 h 4457700"/>
                    <a:gd name="connsiteX5" fmla="*/ 2916577 w 4519987"/>
                    <a:gd name="connsiteY5" fmla="*/ 85725 h 4457700"/>
                    <a:gd name="connsiteX6" fmla="*/ 2973727 w 4519987"/>
                    <a:gd name="connsiteY6" fmla="*/ 114300 h 4457700"/>
                    <a:gd name="connsiteX7" fmla="*/ 3011827 w 4519987"/>
                    <a:gd name="connsiteY7" fmla="*/ 123825 h 4457700"/>
                    <a:gd name="connsiteX8" fmla="*/ 3135652 w 4519987"/>
                    <a:gd name="connsiteY8" fmla="*/ 171450 h 4457700"/>
                    <a:gd name="connsiteX9" fmla="*/ 3173752 w 4519987"/>
                    <a:gd name="connsiteY9" fmla="*/ 190500 h 4457700"/>
                    <a:gd name="connsiteX10" fmla="*/ 3240427 w 4519987"/>
                    <a:gd name="connsiteY10" fmla="*/ 228600 h 4457700"/>
                    <a:gd name="connsiteX11" fmla="*/ 3269002 w 4519987"/>
                    <a:gd name="connsiteY11" fmla="*/ 238125 h 4457700"/>
                    <a:gd name="connsiteX12" fmla="*/ 3297577 w 4519987"/>
                    <a:gd name="connsiteY12" fmla="*/ 257175 h 4457700"/>
                    <a:gd name="connsiteX13" fmla="*/ 3326152 w 4519987"/>
                    <a:gd name="connsiteY13" fmla="*/ 266700 h 4457700"/>
                    <a:gd name="connsiteX14" fmla="*/ 3354727 w 4519987"/>
                    <a:gd name="connsiteY14" fmla="*/ 285750 h 4457700"/>
                    <a:gd name="connsiteX15" fmla="*/ 3421402 w 4519987"/>
                    <a:gd name="connsiteY15" fmla="*/ 323850 h 4457700"/>
                    <a:gd name="connsiteX16" fmla="*/ 3469027 w 4519987"/>
                    <a:gd name="connsiteY16" fmla="*/ 361950 h 4457700"/>
                    <a:gd name="connsiteX17" fmla="*/ 3516652 w 4519987"/>
                    <a:gd name="connsiteY17" fmla="*/ 390525 h 4457700"/>
                    <a:gd name="connsiteX18" fmla="*/ 3630952 w 4519987"/>
                    <a:gd name="connsiteY18" fmla="*/ 485775 h 4457700"/>
                    <a:gd name="connsiteX19" fmla="*/ 3745252 w 4519987"/>
                    <a:gd name="connsiteY19" fmla="*/ 542925 h 4457700"/>
                    <a:gd name="connsiteX20" fmla="*/ 3811927 w 4519987"/>
                    <a:gd name="connsiteY20" fmla="*/ 581025 h 4457700"/>
                    <a:gd name="connsiteX21" fmla="*/ 4027827 w 4519987"/>
                    <a:gd name="connsiteY21" fmla="*/ 819150 h 4457700"/>
                    <a:gd name="connsiteX22" fmla="*/ 4164352 w 4519987"/>
                    <a:gd name="connsiteY22" fmla="*/ 990600 h 4457700"/>
                    <a:gd name="connsiteX23" fmla="*/ 4250077 w 4519987"/>
                    <a:gd name="connsiteY23" fmla="*/ 1143000 h 4457700"/>
                    <a:gd name="connsiteX24" fmla="*/ 4307227 w 4519987"/>
                    <a:gd name="connsiteY24" fmla="*/ 1266825 h 4457700"/>
                    <a:gd name="connsiteX25" fmla="*/ 4345327 w 4519987"/>
                    <a:gd name="connsiteY25" fmla="*/ 1362075 h 4457700"/>
                    <a:gd name="connsiteX26" fmla="*/ 4392952 w 4519987"/>
                    <a:gd name="connsiteY26" fmla="*/ 1552575 h 4457700"/>
                    <a:gd name="connsiteX27" fmla="*/ 4431052 w 4519987"/>
                    <a:gd name="connsiteY27" fmla="*/ 1685925 h 4457700"/>
                    <a:gd name="connsiteX28" fmla="*/ 4519952 w 4519987"/>
                    <a:gd name="connsiteY28" fmla="*/ 2181225 h 4457700"/>
                    <a:gd name="connsiteX29" fmla="*/ 4446927 w 4519987"/>
                    <a:gd name="connsiteY29" fmla="*/ 2768600 h 4457700"/>
                    <a:gd name="connsiteX30" fmla="*/ 4383427 w 4519987"/>
                    <a:gd name="connsiteY30" fmla="*/ 2990850 h 4457700"/>
                    <a:gd name="connsiteX31" fmla="*/ 4278652 w 4519987"/>
                    <a:gd name="connsiteY31" fmla="*/ 3248025 h 4457700"/>
                    <a:gd name="connsiteX32" fmla="*/ 4183402 w 4519987"/>
                    <a:gd name="connsiteY32" fmla="*/ 3400425 h 4457700"/>
                    <a:gd name="connsiteX33" fmla="*/ 4059577 w 4519987"/>
                    <a:gd name="connsiteY33" fmla="*/ 3533775 h 4457700"/>
                    <a:gd name="connsiteX34" fmla="*/ 3954802 w 4519987"/>
                    <a:gd name="connsiteY34" fmla="*/ 3648075 h 4457700"/>
                    <a:gd name="connsiteX35" fmla="*/ 3659527 w 4519987"/>
                    <a:gd name="connsiteY35" fmla="*/ 3971925 h 4457700"/>
                    <a:gd name="connsiteX36" fmla="*/ 3516652 w 4519987"/>
                    <a:gd name="connsiteY36" fmla="*/ 4083050 h 4457700"/>
                    <a:gd name="connsiteX37" fmla="*/ 3221377 w 4519987"/>
                    <a:gd name="connsiteY37" fmla="*/ 4222750 h 4457700"/>
                    <a:gd name="connsiteX38" fmla="*/ 3068977 w 4519987"/>
                    <a:gd name="connsiteY38" fmla="*/ 4286250 h 4457700"/>
                    <a:gd name="connsiteX39" fmla="*/ 2935627 w 4519987"/>
                    <a:gd name="connsiteY39" fmla="*/ 4333875 h 4457700"/>
                    <a:gd name="connsiteX40" fmla="*/ 2811802 w 4519987"/>
                    <a:gd name="connsiteY40" fmla="*/ 4371975 h 4457700"/>
                    <a:gd name="connsiteX41" fmla="*/ 2580027 w 4519987"/>
                    <a:gd name="connsiteY41" fmla="*/ 4391025 h 4457700"/>
                    <a:gd name="connsiteX42" fmla="*/ 2202202 w 4519987"/>
                    <a:gd name="connsiteY42" fmla="*/ 4457700 h 4457700"/>
                    <a:gd name="connsiteX43" fmla="*/ 2126002 w 4519987"/>
                    <a:gd name="connsiteY43" fmla="*/ 4429125 h 4457700"/>
                    <a:gd name="connsiteX44" fmla="*/ 1935502 w 4519987"/>
                    <a:gd name="connsiteY44" fmla="*/ 4400550 h 4457700"/>
                    <a:gd name="connsiteX45" fmla="*/ 1821202 w 4519987"/>
                    <a:gd name="connsiteY45" fmla="*/ 4371975 h 4457700"/>
                    <a:gd name="connsiteX46" fmla="*/ 1754527 w 4519987"/>
                    <a:gd name="connsiteY46" fmla="*/ 4352925 h 4457700"/>
                    <a:gd name="connsiteX47" fmla="*/ 1687852 w 4519987"/>
                    <a:gd name="connsiteY47" fmla="*/ 4343400 h 4457700"/>
                    <a:gd name="connsiteX48" fmla="*/ 1573552 w 4519987"/>
                    <a:gd name="connsiteY48" fmla="*/ 4305300 h 4457700"/>
                    <a:gd name="connsiteX49" fmla="*/ 1402102 w 4519987"/>
                    <a:gd name="connsiteY49" fmla="*/ 4276725 h 4457700"/>
                    <a:gd name="connsiteX50" fmla="*/ 1287802 w 4519987"/>
                    <a:gd name="connsiteY50" fmla="*/ 4229100 h 4457700"/>
                    <a:gd name="connsiteX51" fmla="*/ 1221127 w 4519987"/>
                    <a:gd name="connsiteY51" fmla="*/ 4200525 h 4457700"/>
                    <a:gd name="connsiteX52" fmla="*/ 1144927 w 4519987"/>
                    <a:gd name="connsiteY52" fmla="*/ 4171950 h 4457700"/>
                    <a:gd name="connsiteX53" fmla="*/ 1087777 w 4519987"/>
                    <a:gd name="connsiteY53" fmla="*/ 4143375 h 4457700"/>
                    <a:gd name="connsiteX54" fmla="*/ 1030627 w 4519987"/>
                    <a:gd name="connsiteY54" fmla="*/ 4124325 h 4457700"/>
                    <a:gd name="connsiteX55" fmla="*/ 925852 w 4519987"/>
                    <a:gd name="connsiteY55" fmla="*/ 4067175 h 4457700"/>
                    <a:gd name="connsiteX56" fmla="*/ 830602 w 4519987"/>
                    <a:gd name="connsiteY56" fmla="*/ 3981450 h 4457700"/>
                    <a:gd name="connsiteX57" fmla="*/ 763927 w 4519987"/>
                    <a:gd name="connsiteY57" fmla="*/ 3914775 h 4457700"/>
                    <a:gd name="connsiteX58" fmla="*/ 725827 w 4519987"/>
                    <a:gd name="connsiteY58" fmla="*/ 3876675 h 4457700"/>
                    <a:gd name="connsiteX59" fmla="*/ 697252 w 4519987"/>
                    <a:gd name="connsiteY59" fmla="*/ 3838575 h 4457700"/>
                    <a:gd name="connsiteX60" fmla="*/ 640102 w 4519987"/>
                    <a:gd name="connsiteY60" fmla="*/ 3781425 h 4457700"/>
                    <a:gd name="connsiteX61" fmla="*/ 611527 w 4519987"/>
                    <a:gd name="connsiteY61" fmla="*/ 3733800 h 4457700"/>
                    <a:gd name="connsiteX62" fmla="*/ 554377 w 4519987"/>
                    <a:gd name="connsiteY62" fmla="*/ 3657600 h 4457700"/>
                    <a:gd name="connsiteX63" fmla="*/ 525802 w 4519987"/>
                    <a:gd name="connsiteY63" fmla="*/ 3609975 h 4457700"/>
                    <a:gd name="connsiteX64" fmla="*/ 497227 w 4519987"/>
                    <a:gd name="connsiteY64" fmla="*/ 3552825 h 4457700"/>
                    <a:gd name="connsiteX65" fmla="*/ 440077 w 4519987"/>
                    <a:gd name="connsiteY65" fmla="*/ 3495675 h 4457700"/>
                    <a:gd name="connsiteX66" fmla="*/ 411502 w 4519987"/>
                    <a:gd name="connsiteY66" fmla="*/ 3448050 h 4457700"/>
                    <a:gd name="connsiteX67" fmla="*/ 278152 w 4519987"/>
                    <a:gd name="connsiteY67" fmla="*/ 3257550 h 4457700"/>
                    <a:gd name="connsiteX68" fmla="*/ 249577 w 4519987"/>
                    <a:gd name="connsiteY68" fmla="*/ 3200400 h 4457700"/>
                    <a:gd name="connsiteX69" fmla="*/ 240052 w 4519987"/>
                    <a:gd name="connsiteY69" fmla="*/ 3162300 h 4457700"/>
                    <a:gd name="connsiteX70" fmla="*/ 221002 w 4519987"/>
                    <a:gd name="connsiteY70" fmla="*/ 3105150 h 4457700"/>
                    <a:gd name="connsiteX71" fmla="*/ 173377 w 4519987"/>
                    <a:gd name="connsiteY71" fmla="*/ 3019425 h 4457700"/>
                    <a:gd name="connsiteX72" fmla="*/ 144802 w 4519987"/>
                    <a:gd name="connsiteY72" fmla="*/ 2924175 h 4457700"/>
                    <a:gd name="connsiteX73" fmla="*/ 68602 w 4519987"/>
                    <a:gd name="connsiteY73" fmla="*/ 2724150 h 4457700"/>
                    <a:gd name="connsiteX74" fmla="*/ 49552 w 4519987"/>
                    <a:gd name="connsiteY74" fmla="*/ 2638425 h 4457700"/>
                    <a:gd name="connsiteX75" fmla="*/ 40027 w 4519987"/>
                    <a:gd name="connsiteY75" fmla="*/ 2562225 h 4457700"/>
                    <a:gd name="connsiteX76" fmla="*/ 30502 w 4519987"/>
                    <a:gd name="connsiteY76" fmla="*/ 2514600 h 4457700"/>
                    <a:gd name="connsiteX77" fmla="*/ 11452 w 4519987"/>
                    <a:gd name="connsiteY77" fmla="*/ 2400300 h 4457700"/>
                    <a:gd name="connsiteX78" fmla="*/ 20977 w 4519987"/>
                    <a:gd name="connsiteY78" fmla="*/ 1905000 h 4457700"/>
                    <a:gd name="connsiteX79" fmla="*/ 30502 w 4519987"/>
                    <a:gd name="connsiteY79" fmla="*/ 1838325 h 4457700"/>
                    <a:gd name="connsiteX80" fmla="*/ 49552 w 4519987"/>
                    <a:gd name="connsiteY80" fmla="*/ 1781175 h 4457700"/>
                    <a:gd name="connsiteX81" fmla="*/ 59077 w 4519987"/>
                    <a:gd name="connsiteY81" fmla="*/ 1743075 h 4457700"/>
                    <a:gd name="connsiteX82" fmla="*/ 78127 w 4519987"/>
                    <a:gd name="connsiteY82" fmla="*/ 1685925 h 4457700"/>
                    <a:gd name="connsiteX83" fmla="*/ 87652 w 4519987"/>
                    <a:gd name="connsiteY83" fmla="*/ 1638300 h 4457700"/>
                    <a:gd name="connsiteX84" fmla="*/ 106702 w 4519987"/>
                    <a:gd name="connsiteY84" fmla="*/ 1590675 h 4457700"/>
                    <a:gd name="connsiteX85" fmla="*/ 135277 w 4519987"/>
                    <a:gd name="connsiteY85" fmla="*/ 1504950 h 4457700"/>
                    <a:gd name="connsiteX86" fmla="*/ 154327 w 4519987"/>
                    <a:gd name="connsiteY86" fmla="*/ 1419225 h 4457700"/>
                    <a:gd name="connsiteX87" fmla="*/ 230527 w 4519987"/>
                    <a:gd name="connsiteY87" fmla="*/ 1276350 h 4457700"/>
                    <a:gd name="connsiteX88" fmla="*/ 240052 w 4519987"/>
                    <a:gd name="connsiteY88" fmla="*/ 1247775 h 4457700"/>
                    <a:gd name="connsiteX89" fmla="*/ 268627 w 4519987"/>
                    <a:gd name="connsiteY89" fmla="*/ 1200150 h 4457700"/>
                    <a:gd name="connsiteX90" fmla="*/ 287677 w 4519987"/>
                    <a:gd name="connsiteY90" fmla="*/ 1152525 h 4457700"/>
                    <a:gd name="connsiteX91" fmla="*/ 316252 w 4519987"/>
                    <a:gd name="connsiteY91" fmla="*/ 1114425 h 4457700"/>
                    <a:gd name="connsiteX92" fmla="*/ 363877 w 4519987"/>
                    <a:gd name="connsiteY92" fmla="*/ 1038225 h 4457700"/>
                    <a:gd name="connsiteX93" fmla="*/ 382927 w 4519987"/>
                    <a:gd name="connsiteY93" fmla="*/ 1009650 h 4457700"/>
                    <a:gd name="connsiteX94" fmla="*/ 440077 w 4519987"/>
                    <a:gd name="connsiteY94" fmla="*/ 904875 h 4457700"/>
                    <a:gd name="connsiteX95" fmla="*/ 478177 w 4519987"/>
                    <a:gd name="connsiteY95" fmla="*/ 857250 h 4457700"/>
                    <a:gd name="connsiteX96" fmla="*/ 497227 w 4519987"/>
                    <a:gd name="connsiteY96" fmla="*/ 828675 h 4457700"/>
                    <a:gd name="connsiteX97" fmla="*/ 535327 w 4519987"/>
                    <a:gd name="connsiteY97" fmla="*/ 800100 h 4457700"/>
                    <a:gd name="connsiteX98" fmla="*/ 602002 w 4519987"/>
                    <a:gd name="connsiteY98" fmla="*/ 733425 h 4457700"/>
                    <a:gd name="connsiteX99" fmla="*/ 668677 w 4519987"/>
                    <a:gd name="connsiteY99" fmla="*/ 676275 h 4457700"/>
                    <a:gd name="connsiteX100" fmla="*/ 697252 w 4519987"/>
                    <a:gd name="connsiteY100" fmla="*/ 657225 h 4457700"/>
                    <a:gd name="connsiteX101" fmla="*/ 840127 w 4519987"/>
                    <a:gd name="connsiteY101" fmla="*/ 533400 h 4457700"/>
                    <a:gd name="connsiteX102" fmla="*/ 887752 w 4519987"/>
                    <a:gd name="connsiteY102" fmla="*/ 504825 h 4457700"/>
                    <a:gd name="connsiteX103" fmla="*/ 1167152 w 4519987"/>
                    <a:gd name="connsiteY103" fmla="*/ 311150 h 4457700"/>
                    <a:gd name="connsiteX104" fmla="*/ 1268752 w 4519987"/>
                    <a:gd name="connsiteY104" fmla="*/ 285750 h 4457700"/>
                    <a:gd name="connsiteX105" fmla="*/ 1411627 w 4519987"/>
                    <a:gd name="connsiteY105" fmla="*/ 190500 h 4457700"/>
                    <a:gd name="connsiteX106" fmla="*/ 1449727 w 4519987"/>
                    <a:gd name="connsiteY106" fmla="*/ 161925 h 4457700"/>
                    <a:gd name="connsiteX107" fmla="*/ 1525927 w 4519987"/>
                    <a:gd name="connsiteY107" fmla="*/ 152400 h 4457700"/>
                    <a:gd name="connsiteX108" fmla="*/ 1583077 w 4519987"/>
                    <a:gd name="connsiteY108" fmla="*/ 142875 h 4457700"/>
                    <a:gd name="connsiteX109" fmla="*/ 1716427 w 4519987"/>
                    <a:gd name="connsiteY109" fmla="*/ 123825 h 4457700"/>
                    <a:gd name="connsiteX110" fmla="*/ 1811677 w 4519987"/>
                    <a:gd name="connsiteY110" fmla="*/ 114300 h 4457700"/>
                    <a:gd name="connsiteX111" fmla="*/ 1859302 w 4519987"/>
                    <a:gd name="connsiteY111" fmla="*/ 104775 h 4457700"/>
                    <a:gd name="connsiteX112" fmla="*/ 1916452 w 4519987"/>
                    <a:gd name="connsiteY112" fmla="*/ 95250 h 4457700"/>
                    <a:gd name="connsiteX113" fmla="*/ 2030752 w 4519987"/>
                    <a:gd name="connsiteY113" fmla="*/ 66675 h 4457700"/>
                    <a:gd name="connsiteX114" fmla="*/ 2097427 w 4519987"/>
                    <a:gd name="connsiteY114" fmla="*/ 47625 h 4457700"/>
                    <a:gd name="connsiteX115" fmla="*/ 2164102 w 4519987"/>
                    <a:gd name="connsiteY115" fmla="*/ 38100 h 4457700"/>
                    <a:gd name="connsiteX116" fmla="*/ 2392702 w 4519987"/>
                    <a:gd name="connsiteY116" fmla="*/ 28575 h 4457700"/>
                    <a:gd name="connsiteX0" fmla="*/ 2297452 w 4519987"/>
                    <a:gd name="connsiteY0" fmla="*/ 0 h 4429260"/>
                    <a:gd name="connsiteX1" fmla="*/ 2421277 w 4519987"/>
                    <a:gd name="connsiteY1" fmla="*/ 28575 h 4429260"/>
                    <a:gd name="connsiteX2" fmla="*/ 2497477 w 4519987"/>
                    <a:gd name="connsiteY2" fmla="*/ 47625 h 4429260"/>
                    <a:gd name="connsiteX3" fmla="*/ 2754652 w 4519987"/>
                    <a:gd name="connsiteY3" fmla="*/ 66675 h 4429260"/>
                    <a:gd name="connsiteX4" fmla="*/ 2830852 w 4519987"/>
                    <a:gd name="connsiteY4" fmla="*/ 76200 h 4429260"/>
                    <a:gd name="connsiteX5" fmla="*/ 2916577 w 4519987"/>
                    <a:gd name="connsiteY5" fmla="*/ 85725 h 4429260"/>
                    <a:gd name="connsiteX6" fmla="*/ 2973727 w 4519987"/>
                    <a:gd name="connsiteY6" fmla="*/ 114300 h 4429260"/>
                    <a:gd name="connsiteX7" fmla="*/ 3011827 w 4519987"/>
                    <a:gd name="connsiteY7" fmla="*/ 123825 h 4429260"/>
                    <a:gd name="connsiteX8" fmla="*/ 3135652 w 4519987"/>
                    <a:gd name="connsiteY8" fmla="*/ 171450 h 4429260"/>
                    <a:gd name="connsiteX9" fmla="*/ 3173752 w 4519987"/>
                    <a:gd name="connsiteY9" fmla="*/ 190500 h 4429260"/>
                    <a:gd name="connsiteX10" fmla="*/ 3240427 w 4519987"/>
                    <a:gd name="connsiteY10" fmla="*/ 228600 h 4429260"/>
                    <a:gd name="connsiteX11" fmla="*/ 3269002 w 4519987"/>
                    <a:gd name="connsiteY11" fmla="*/ 238125 h 4429260"/>
                    <a:gd name="connsiteX12" fmla="*/ 3297577 w 4519987"/>
                    <a:gd name="connsiteY12" fmla="*/ 257175 h 4429260"/>
                    <a:gd name="connsiteX13" fmla="*/ 3326152 w 4519987"/>
                    <a:gd name="connsiteY13" fmla="*/ 266700 h 4429260"/>
                    <a:gd name="connsiteX14" fmla="*/ 3354727 w 4519987"/>
                    <a:gd name="connsiteY14" fmla="*/ 285750 h 4429260"/>
                    <a:gd name="connsiteX15" fmla="*/ 3421402 w 4519987"/>
                    <a:gd name="connsiteY15" fmla="*/ 323850 h 4429260"/>
                    <a:gd name="connsiteX16" fmla="*/ 3469027 w 4519987"/>
                    <a:gd name="connsiteY16" fmla="*/ 361950 h 4429260"/>
                    <a:gd name="connsiteX17" fmla="*/ 3516652 w 4519987"/>
                    <a:gd name="connsiteY17" fmla="*/ 390525 h 4429260"/>
                    <a:gd name="connsiteX18" fmla="*/ 3630952 w 4519987"/>
                    <a:gd name="connsiteY18" fmla="*/ 485775 h 4429260"/>
                    <a:gd name="connsiteX19" fmla="*/ 3745252 w 4519987"/>
                    <a:gd name="connsiteY19" fmla="*/ 542925 h 4429260"/>
                    <a:gd name="connsiteX20" fmla="*/ 3811927 w 4519987"/>
                    <a:gd name="connsiteY20" fmla="*/ 581025 h 4429260"/>
                    <a:gd name="connsiteX21" fmla="*/ 4027827 w 4519987"/>
                    <a:gd name="connsiteY21" fmla="*/ 819150 h 4429260"/>
                    <a:gd name="connsiteX22" fmla="*/ 4164352 w 4519987"/>
                    <a:gd name="connsiteY22" fmla="*/ 990600 h 4429260"/>
                    <a:gd name="connsiteX23" fmla="*/ 4250077 w 4519987"/>
                    <a:gd name="connsiteY23" fmla="*/ 1143000 h 4429260"/>
                    <a:gd name="connsiteX24" fmla="*/ 4307227 w 4519987"/>
                    <a:gd name="connsiteY24" fmla="*/ 1266825 h 4429260"/>
                    <a:gd name="connsiteX25" fmla="*/ 4345327 w 4519987"/>
                    <a:gd name="connsiteY25" fmla="*/ 1362075 h 4429260"/>
                    <a:gd name="connsiteX26" fmla="*/ 4392952 w 4519987"/>
                    <a:gd name="connsiteY26" fmla="*/ 1552575 h 4429260"/>
                    <a:gd name="connsiteX27" fmla="*/ 4431052 w 4519987"/>
                    <a:gd name="connsiteY27" fmla="*/ 1685925 h 4429260"/>
                    <a:gd name="connsiteX28" fmla="*/ 4519952 w 4519987"/>
                    <a:gd name="connsiteY28" fmla="*/ 2181225 h 4429260"/>
                    <a:gd name="connsiteX29" fmla="*/ 4446927 w 4519987"/>
                    <a:gd name="connsiteY29" fmla="*/ 2768600 h 4429260"/>
                    <a:gd name="connsiteX30" fmla="*/ 4383427 w 4519987"/>
                    <a:gd name="connsiteY30" fmla="*/ 2990850 h 4429260"/>
                    <a:gd name="connsiteX31" fmla="*/ 4278652 w 4519987"/>
                    <a:gd name="connsiteY31" fmla="*/ 3248025 h 4429260"/>
                    <a:gd name="connsiteX32" fmla="*/ 4183402 w 4519987"/>
                    <a:gd name="connsiteY32" fmla="*/ 3400425 h 4429260"/>
                    <a:gd name="connsiteX33" fmla="*/ 4059577 w 4519987"/>
                    <a:gd name="connsiteY33" fmla="*/ 3533775 h 4429260"/>
                    <a:gd name="connsiteX34" fmla="*/ 3954802 w 4519987"/>
                    <a:gd name="connsiteY34" fmla="*/ 3648075 h 4429260"/>
                    <a:gd name="connsiteX35" fmla="*/ 3659527 w 4519987"/>
                    <a:gd name="connsiteY35" fmla="*/ 3971925 h 4429260"/>
                    <a:gd name="connsiteX36" fmla="*/ 3516652 w 4519987"/>
                    <a:gd name="connsiteY36" fmla="*/ 4083050 h 4429260"/>
                    <a:gd name="connsiteX37" fmla="*/ 3221377 w 4519987"/>
                    <a:gd name="connsiteY37" fmla="*/ 4222750 h 4429260"/>
                    <a:gd name="connsiteX38" fmla="*/ 3068977 w 4519987"/>
                    <a:gd name="connsiteY38" fmla="*/ 4286250 h 4429260"/>
                    <a:gd name="connsiteX39" fmla="*/ 2935627 w 4519987"/>
                    <a:gd name="connsiteY39" fmla="*/ 4333875 h 4429260"/>
                    <a:gd name="connsiteX40" fmla="*/ 2811802 w 4519987"/>
                    <a:gd name="connsiteY40" fmla="*/ 4371975 h 4429260"/>
                    <a:gd name="connsiteX41" fmla="*/ 2580027 w 4519987"/>
                    <a:gd name="connsiteY41" fmla="*/ 4391025 h 4429260"/>
                    <a:gd name="connsiteX42" fmla="*/ 2126002 w 4519987"/>
                    <a:gd name="connsiteY42" fmla="*/ 4429125 h 4429260"/>
                    <a:gd name="connsiteX43" fmla="*/ 1935502 w 4519987"/>
                    <a:gd name="connsiteY43" fmla="*/ 4400550 h 4429260"/>
                    <a:gd name="connsiteX44" fmla="*/ 1821202 w 4519987"/>
                    <a:gd name="connsiteY44" fmla="*/ 4371975 h 4429260"/>
                    <a:gd name="connsiteX45" fmla="*/ 1754527 w 4519987"/>
                    <a:gd name="connsiteY45" fmla="*/ 4352925 h 4429260"/>
                    <a:gd name="connsiteX46" fmla="*/ 1687852 w 4519987"/>
                    <a:gd name="connsiteY46" fmla="*/ 4343400 h 4429260"/>
                    <a:gd name="connsiteX47" fmla="*/ 1573552 w 4519987"/>
                    <a:gd name="connsiteY47" fmla="*/ 4305300 h 4429260"/>
                    <a:gd name="connsiteX48" fmla="*/ 1402102 w 4519987"/>
                    <a:gd name="connsiteY48" fmla="*/ 4276725 h 4429260"/>
                    <a:gd name="connsiteX49" fmla="*/ 1287802 w 4519987"/>
                    <a:gd name="connsiteY49" fmla="*/ 4229100 h 4429260"/>
                    <a:gd name="connsiteX50" fmla="*/ 1221127 w 4519987"/>
                    <a:gd name="connsiteY50" fmla="*/ 4200525 h 4429260"/>
                    <a:gd name="connsiteX51" fmla="*/ 1144927 w 4519987"/>
                    <a:gd name="connsiteY51" fmla="*/ 4171950 h 4429260"/>
                    <a:gd name="connsiteX52" fmla="*/ 1087777 w 4519987"/>
                    <a:gd name="connsiteY52" fmla="*/ 4143375 h 4429260"/>
                    <a:gd name="connsiteX53" fmla="*/ 1030627 w 4519987"/>
                    <a:gd name="connsiteY53" fmla="*/ 4124325 h 4429260"/>
                    <a:gd name="connsiteX54" fmla="*/ 925852 w 4519987"/>
                    <a:gd name="connsiteY54" fmla="*/ 4067175 h 4429260"/>
                    <a:gd name="connsiteX55" fmla="*/ 830602 w 4519987"/>
                    <a:gd name="connsiteY55" fmla="*/ 3981450 h 4429260"/>
                    <a:gd name="connsiteX56" fmla="*/ 763927 w 4519987"/>
                    <a:gd name="connsiteY56" fmla="*/ 3914775 h 4429260"/>
                    <a:gd name="connsiteX57" fmla="*/ 725827 w 4519987"/>
                    <a:gd name="connsiteY57" fmla="*/ 3876675 h 4429260"/>
                    <a:gd name="connsiteX58" fmla="*/ 697252 w 4519987"/>
                    <a:gd name="connsiteY58" fmla="*/ 3838575 h 4429260"/>
                    <a:gd name="connsiteX59" fmla="*/ 640102 w 4519987"/>
                    <a:gd name="connsiteY59" fmla="*/ 3781425 h 4429260"/>
                    <a:gd name="connsiteX60" fmla="*/ 611527 w 4519987"/>
                    <a:gd name="connsiteY60" fmla="*/ 3733800 h 4429260"/>
                    <a:gd name="connsiteX61" fmla="*/ 554377 w 4519987"/>
                    <a:gd name="connsiteY61" fmla="*/ 3657600 h 4429260"/>
                    <a:gd name="connsiteX62" fmla="*/ 525802 w 4519987"/>
                    <a:gd name="connsiteY62" fmla="*/ 3609975 h 4429260"/>
                    <a:gd name="connsiteX63" fmla="*/ 497227 w 4519987"/>
                    <a:gd name="connsiteY63" fmla="*/ 3552825 h 4429260"/>
                    <a:gd name="connsiteX64" fmla="*/ 440077 w 4519987"/>
                    <a:gd name="connsiteY64" fmla="*/ 3495675 h 4429260"/>
                    <a:gd name="connsiteX65" fmla="*/ 411502 w 4519987"/>
                    <a:gd name="connsiteY65" fmla="*/ 3448050 h 4429260"/>
                    <a:gd name="connsiteX66" fmla="*/ 278152 w 4519987"/>
                    <a:gd name="connsiteY66" fmla="*/ 3257550 h 4429260"/>
                    <a:gd name="connsiteX67" fmla="*/ 249577 w 4519987"/>
                    <a:gd name="connsiteY67" fmla="*/ 3200400 h 4429260"/>
                    <a:gd name="connsiteX68" fmla="*/ 240052 w 4519987"/>
                    <a:gd name="connsiteY68" fmla="*/ 3162300 h 4429260"/>
                    <a:gd name="connsiteX69" fmla="*/ 221002 w 4519987"/>
                    <a:gd name="connsiteY69" fmla="*/ 3105150 h 4429260"/>
                    <a:gd name="connsiteX70" fmla="*/ 173377 w 4519987"/>
                    <a:gd name="connsiteY70" fmla="*/ 3019425 h 4429260"/>
                    <a:gd name="connsiteX71" fmla="*/ 144802 w 4519987"/>
                    <a:gd name="connsiteY71" fmla="*/ 2924175 h 4429260"/>
                    <a:gd name="connsiteX72" fmla="*/ 68602 w 4519987"/>
                    <a:gd name="connsiteY72" fmla="*/ 2724150 h 4429260"/>
                    <a:gd name="connsiteX73" fmla="*/ 49552 w 4519987"/>
                    <a:gd name="connsiteY73" fmla="*/ 2638425 h 4429260"/>
                    <a:gd name="connsiteX74" fmla="*/ 40027 w 4519987"/>
                    <a:gd name="connsiteY74" fmla="*/ 2562225 h 4429260"/>
                    <a:gd name="connsiteX75" fmla="*/ 30502 w 4519987"/>
                    <a:gd name="connsiteY75" fmla="*/ 2514600 h 4429260"/>
                    <a:gd name="connsiteX76" fmla="*/ 11452 w 4519987"/>
                    <a:gd name="connsiteY76" fmla="*/ 2400300 h 4429260"/>
                    <a:gd name="connsiteX77" fmla="*/ 20977 w 4519987"/>
                    <a:gd name="connsiteY77" fmla="*/ 1905000 h 4429260"/>
                    <a:gd name="connsiteX78" fmla="*/ 30502 w 4519987"/>
                    <a:gd name="connsiteY78" fmla="*/ 1838325 h 4429260"/>
                    <a:gd name="connsiteX79" fmla="*/ 49552 w 4519987"/>
                    <a:gd name="connsiteY79" fmla="*/ 1781175 h 4429260"/>
                    <a:gd name="connsiteX80" fmla="*/ 59077 w 4519987"/>
                    <a:gd name="connsiteY80" fmla="*/ 1743075 h 4429260"/>
                    <a:gd name="connsiteX81" fmla="*/ 78127 w 4519987"/>
                    <a:gd name="connsiteY81" fmla="*/ 1685925 h 4429260"/>
                    <a:gd name="connsiteX82" fmla="*/ 87652 w 4519987"/>
                    <a:gd name="connsiteY82" fmla="*/ 1638300 h 4429260"/>
                    <a:gd name="connsiteX83" fmla="*/ 106702 w 4519987"/>
                    <a:gd name="connsiteY83" fmla="*/ 1590675 h 4429260"/>
                    <a:gd name="connsiteX84" fmla="*/ 135277 w 4519987"/>
                    <a:gd name="connsiteY84" fmla="*/ 1504950 h 4429260"/>
                    <a:gd name="connsiteX85" fmla="*/ 154327 w 4519987"/>
                    <a:gd name="connsiteY85" fmla="*/ 1419225 h 4429260"/>
                    <a:gd name="connsiteX86" fmla="*/ 230527 w 4519987"/>
                    <a:gd name="connsiteY86" fmla="*/ 1276350 h 4429260"/>
                    <a:gd name="connsiteX87" fmla="*/ 240052 w 4519987"/>
                    <a:gd name="connsiteY87" fmla="*/ 1247775 h 4429260"/>
                    <a:gd name="connsiteX88" fmla="*/ 268627 w 4519987"/>
                    <a:gd name="connsiteY88" fmla="*/ 1200150 h 4429260"/>
                    <a:gd name="connsiteX89" fmla="*/ 287677 w 4519987"/>
                    <a:gd name="connsiteY89" fmla="*/ 1152525 h 4429260"/>
                    <a:gd name="connsiteX90" fmla="*/ 316252 w 4519987"/>
                    <a:gd name="connsiteY90" fmla="*/ 1114425 h 4429260"/>
                    <a:gd name="connsiteX91" fmla="*/ 363877 w 4519987"/>
                    <a:gd name="connsiteY91" fmla="*/ 1038225 h 4429260"/>
                    <a:gd name="connsiteX92" fmla="*/ 382927 w 4519987"/>
                    <a:gd name="connsiteY92" fmla="*/ 1009650 h 4429260"/>
                    <a:gd name="connsiteX93" fmla="*/ 440077 w 4519987"/>
                    <a:gd name="connsiteY93" fmla="*/ 904875 h 4429260"/>
                    <a:gd name="connsiteX94" fmla="*/ 478177 w 4519987"/>
                    <a:gd name="connsiteY94" fmla="*/ 857250 h 4429260"/>
                    <a:gd name="connsiteX95" fmla="*/ 497227 w 4519987"/>
                    <a:gd name="connsiteY95" fmla="*/ 828675 h 4429260"/>
                    <a:gd name="connsiteX96" fmla="*/ 535327 w 4519987"/>
                    <a:gd name="connsiteY96" fmla="*/ 800100 h 4429260"/>
                    <a:gd name="connsiteX97" fmla="*/ 602002 w 4519987"/>
                    <a:gd name="connsiteY97" fmla="*/ 733425 h 4429260"/>
                    <a:gd name="connsiteX98" fmla="*/ 668677 w 4519987"/>
                    <a:gd name="connsiteY98" fmla="*/ 676275 h 4429260"/>
                    <a:gd name="connsiteX99" fmla="*/ 697252 w 4519987"/>
                    <a:gd name="connsiteY99" fmla="*/ 657225 h 4429260"/>
                    <a:gd name="connsiteX100" fmla="*/ 840127 w 4519987"/>
                    <a:gd name="connsiteY100" fmla="*/ 533400 h 4429260"/>
                    <a:gd name="connsiteX101" fmla="*/ 887752 w 4519987"/>
                    <a:gd name="connsiteY101" fmla="*/ 504825 h 4429260"/>
                    <a:gd name="connsiteX102" fmla="*/ 1167152 w 4519987"/>
                    <a:gd name="connsiteY102" fmla="*/ 311150 h 4429260"/>
                    <a:gd name="connsiteX103" fmla="*/ 1268752 w 4519987"/>
                    <a:gd name="connsiteY103" fmla="*/ 285750 h 4429260"/>
                    <a:gd name="connsiteX104" fmla="*/ 1411627 w 4519987"/>
                    <a:gd name="connsiteY104" fmla="*/ 190500 h 4429260"/>
                    <a:gd name="connsiteX105" fmla="*/ 1449727 w 4519987"/>
                    <a:gd name="connsiteY105" fmla="*/ 161925 h 4429260"/>
                    <a:gd name="connsiteX106" fmla="*/ 1525927 w 4519987"/>
                    <a:gd name="connsiteY106" fmla="*/ 152400 h 4429260"/>
                    <a:gd name="connsiteX107" fmla="*/ 1583077 w 4519987"/>
                    <a:gd name="connsiteY107" fmla="*/ 142875 h 4429260"/>
                    <a:gd name="connsiteX108" fmla="*/ 1716427 w 4519987"/>
                    <a:gd name="connsiteY108" fmla="*/ 123825 h 4429260"/>
                    <a:gd name="connsiteX109" fmla="*/ 1811677 w 4519987"/>
                    <a:gd name="connsiteY109" fmla="*/ 114300 h 4429260"/>
                    <a:gd name="connsiteX110" fmla="*/ 1859302 w 4519987"/>
                    <a:gd name="connsiteY110" fmla="*/ 104775 h 4429260"/>
                    <a:gd name="connsiteX111" fmla="*/ 1916452 w 4519987"/>
                    <a:gd name="connsiteY111" fmla="*/ 95250 h 4429260"/>
                    <a:gd name="connsiteX112" fmla="*/ 2030752 w 4519987"/>
                    <a:gd name="connsiteY112" fmla="*/ 66675 h 4429260"/>
                    <a:gd name="connsiteX113" fmla="*/ 2097427 w 4519987"/>
                    <a:gd name="connsiteY113" fmla="*/ 47625 h 4429260"/>
                    <a:gd name="connsiteX114" fmla="*/ 2164102 w 4519987"/>
                    <a:gd name="connsiteY114" fmla="*/ 38100 h 4429260"/>
                    <a:gd name="connsiteX115" fmla="*/ 2392702 w 4519987"/>
                    <a:gd name="connsiteY115" fmla="*/ 28575 h 4429260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687852 w 4519987"/>
                    <a:gd name="connsiteY45" fmla="*/ 4343400 h 4429225"/>
                    <a:gd name="connsiteX46" fmla="*/ 1573552 w 4519987"/>
                    <a:gd name="connsiteY46" fmla="*/ 4305300 h 4429225"/>
                    <a:gd name="connsiteX47" fmla="*/ 1402102 w 4519987"/>
                    <a:gd name="connsiteY47" fmla="*/ 4276725 h 4429225"/>
                    <a:gd name="connsiteX48" fmla="*/ 1287802 w 4519987"/>
                    <a:gd name="connsiteY48" fmla="*/ 4229100 h 4429225"/>
                    <a:gd name="connsiteX49" fmla="*/ 1221127 w 4519987"/>
                    <a:gd name="connsiteY49" fmla="*/ 4200525 h 4429225"/>
                    <a:gd name="connsiteX50" fmla="*/ 1144927 w 4519987"/>
                    <a:gd name="connsiteY50" fmla="*/ 4171950 h 4429225"/>
                    <a:gd name="connsiteX51" fmla="*/ 1087777 w 4519987"/>
                    <a:gd name="connsiteY51" fmla="*/ 4143375 h 4429225"/>
                    <a:gd name="connsiteX52" fmla="*/ 1030627 w 4519987"/>
                    <a:gd name="connsiteY52" fmla="*/ 4124325 h 4429225"/>
                    <a:gd name="connsiteX53" fmla="*/ 925852 w 4519987"/>
                    <a:gd name="connsiteY53" fmla="*/ 4067175 h 4429225"/>
                    <a:gd name="connsiteX54" fmla="*/ 830602 w 4519987"/>
                    <a:gd name="connsiteY54" fmla="*/ 3981450 h 4429225"/>
                    <a:gd name="connsiteX55" fmla="*/ 763927 w 4519987"/>
                    <a:gd name="connsiteY55" fmla="*/ 3914775 h 4429225"/>
                    <a:gd name="connsiteX56" fmla="*/ 725827 w 4519987"/>
                    <a:gd name="connsiteY56" fmla="*/ 3876675 h 4429225"/>
                    <a:gd name="connsiteX57" fmla="*/ 697252 w 4519987"/>
                    <a:gd name="connsiteY57" fmla="*/ 3838575 h 4429225"/>
                    <a:gd name="connsiteX58" fmla="*/ 640102 w 4519987"/>
                    <a:gd name="connsiteY58" fmla="*/ 3781425 h 4429225"/>
                    <a:gd name="connsiteX59" fmla="*/ 611527 w 4519987"/>
                    <a:gd name="connsiteY59" fmla="*/ 3733800 h 4429225"/>
                    <a:gd name="connsiteX60" fmla="*/ 554377 w 4519987"/>
                    <a:gd name="connsiteY60" fmla="*/ 3657600 h 4429225"/>
                    <a:gd name="connsiteX61" fmla="*/ 525802 w 4519987"/>
                    <a:gd name="connsiteY61" fmla="*/ 3609975 h 4429225"/>
                    <a:gd name="connsiteX62" fmla="*/ 497227 w 4519987"/>
                    <a:gd name="connsiteY62" fmla="*/ 3552825 h 4429225"/>
                    <a:gd name="connsiteX63" fmla="*/ 440077 w 4519987"/>
                    <a:gd name="connsiteY63" fmla="*/ 3495675 h 4429225"/>
                    <a:gd name="connsiteX64" fmla="*/ 411502 w 4519987"/>
                    <a:gd name="connsiteY64" fmla="*/ 3448050 h 4429225"/>
                    <a:gd name="connsiteX65" fmla="*/ 278152 w 4519987"/>
                    <a:gd name="connsiteY65" fmla="*/ 3257550 h 4429225"/>
                    <a:gd name="connsiteX66" fmla="*/ 249577 w 4519987"/>
                    <a:gd name="connsiteY66" fmla="*/ 3200400 h 4429225"/>
                    <a:gd name="connsiteX67" fmla="*/ 240052 w 4519987"/>
                    <a:gd name="connsiteY67" fmla="*/ 3162300 h 4429225"/>
                    <a:gd name="connsiteX68" fmla="*/ 221002 w 4519987"/>
                    <a:gd name="connsiteY68" fmla="*/ 3105150 h 4429225"/>
                    <a:gd name="connsiteX69" fmla="*/ 173377 w 4519987"/>
                    <a:gd name="connsiteY69" fmla="*/ 3019425 h 4429225"/>
                    <a:gd name="connsiteX70" fmla="*/ 144802 w 4519987"/>
                    <a:gd name="connsiteY70" fmla="*/ 2924175 h 4429225"/>
                    <a:gd name="connsiteX71" fmla="*/ 68602 w 4519987"/>
                    <a:gd name="connsiteY71" fmla="*/ 2724150 h 4429225"/>
                    <a:gd name="connsiteX72" fmla="*/ 49552 w 4519987"/>
                    <a:gd name="connsiteY72" fmla="*/ 2638425 h 4429225"/>
                    <a:gd name="connsiteX73" fmla="*/ 40027 w 4519987"/>
                    <a:gd name="connsiteY73" fmla="*/ 2562225 h 4429225"/>
                    <a:gd name="connsiteX74" fmla="*/ 30502 w 4519987"/>
                    <a:gd name="connsiteY74" fmla="*/ 2514600 h 4429225"/>
                    <a:gd name="connsiteX75" fmla="*/ 11452 w 4519987"/>
                    <a:gd name="connsiteY75" fmla="*/ 2400300 h 4429225"/>
                    <a:gd name="connsiteX76" fmla="*/ 20977 w 4519987"/>
                    <a:gd name="connsiteY76" fmla="*/ 1905000 h 4429225"/>
                    <a:gd name="connsiteX77" fmla="*/ 30502 w 4519987"/>
                    <a:gd name="connsiteY77" fmla="*/ 1838325 h 4429225"/>
                    <a:gd name="connsiteX78" fmla="*/ 49552 w 4519987"/>
                    <a:gd name="connsiteY78" fmla="*/ 1781175 h 4429225"/>
                    <a:gd name="connsiteX79" fmla="*/ 59077 w 4519987"/>
                    <a:gd name="connsiteY79" fmla="*/ 1743075 h 4429225"/>
                    <a:gd name="connsiteX80" fmla="*/ 78127 w 4519987"/>
                    <a:gd name="connsiteY80" fmla="*/ 1685925 h 4429225"/>
                    <a:gd name="connsiteX81" fmla="*/ 87652 w 4519987"/>
                    <a:gd name="connsiteY81" fmla="*/ 1638300 h 4429225"/>
                    <a:gd name="connsiteX82" fmla="*/ 106702 w 4519987"/>
                    <a:gd name="connsiteY82" fmla="*/ 1590675 h 4429225"/>
                    <a:gd name="connsiteX83" fmla="*/ 135277 w 4519987"/>
                    <a:gd name="connsiteY83" fmla="*/ 1504950 h 4429225"/>
                    <a:gd name="connsiteX84" fmla="*/ 154327 w 4519987"/>
                    <a:gd name="connsiteY84" fmla="*/ 1419225 h 4429225"/>
                    <a:gd name="connsiteX85" fmla="*/ 230527 w 4519987"/>
                    <a:gd name="connsiteY85" fmla="*/ 1276350 h 4429225"/>
                    <a:gd name="connsiteX86" fmla="*/ 240052 w 4519987"/>
                    <a:gd name="connsiteY86" fmla="*/ 1247775 h 4429225"/>
                    <a:gd name="connsiteX87" fmla="*/ 268627 w 4519987"/>
                    <a:gd name="connsiteY87" fmla="*/ 1200150 h 4429225"/>
                    <a:gd name="connsiteX88" fmla="*/ 287677 w 4519987"/>
                    <a:gd name="connsiteY88" fmla="*/ 1152525 h 4429225"/>
                    <a:gd name="connsiteX89" fmla="*/ 316252 w 4519987"/>
                    <a:gd name="connsiteY89" fmla="*/ 1114425 h 4429225"/>
                    <a:gd name="connsiteX90" fmla="*/ 363877 w 4519987"/>
                    <a:gd name="connsiteY90" fmla="*/ 1038225 h 4429225"/>
                    <a:gd name="connsiteX91" fmla="*/ 382927 w 4519987"/>
                    <a:gd name="connsiteY91" fmla="*/ 1009650 h 4429225"/>
                    <a:gd name="connsiteX92" fmla="*/ 440077 w 4519987"/>
                    <a:gd name="connsiteY92" fmla="*/ 904875 h 4429225"/>
                    <a:gd name="connsiteX93" fmla="*/ 478177 w 4519987"/>
                    <a:gd name="connsiteY93" fmla="*/ 857250 h 4429225"/>
                    <a:gd name="connsiteX94" fmla="*/ 497227 w 4519987"/>
                    <a:gd name="connsiteY94" fmla="*/ 828675 h 4429225"/>
                    <a:gd name="connsiteX95" fmla="*/ 535327 w 4519987"/>
                    <a:gd name="connsiteY95" fmla="*/ 800100 h 4429225"/>
                    <a:gd name="connsiteX96" fmla="*/ 602002 w 4519987"/>
                    <a:gd name="connsiteY96" fmla="*/ 733425 h 4429225"/>
                    <a:gd name="connsiteX97" fmla="*/ 668677 w 4519987"/>
                    <a:gd name="connsiteY97" fmla="*/ 676275 h 4429225"/>
                    <a:gd name="connsiteX98" fmla="*/ 697252 w 4519987"/>
                    <a:gd name="connsiteY98" fmla="*/ 657225 h 4429225"/>
                    <a:gd name="connsiteX99" fmla="*/ 840127 w 4519987"/>
                    <a:gd name="connsiteY99" fmla="*/ 533400 h 4429225"/>
                    <a:gd name="connsiteX100" fmla="*/ 887752 w 4519987"/>
                    <a:gd name="connsiteY100" fmla="*/ 504825 h 4429225"/>
                    <a:gd name="connsiteX101" fmla="*/ 1167152 w 4519987"/>
                    <a:gd name="connsiteY101" fmla="*/ 311150 h 4429225"/>
                    <a:gd name="connsiteX102" fmla="*/ 1268752 w 4519987"/>
                    <a:gd name="connsiteY102" fmla="*/ 285750 h 4429225"/>
                    <a:gd name="connsiteX103" fmla="*/ 1411627 w 4519987"/>
                    <a:gd name="connsiteY103" fmla="*/ 190500 h 4429225"/>
                    <a:gd name="connsiteX104" fmla="*/ 1449727 w 4519987"/>
                    <a:gd name="connsiteY104" fmla="*/ 161925 h 4429225"/>
                    <a:gd name="connsiteX105" fmla="*/ 1525927 w 4519987"/>
                    <a:gd name="connsiteY105" fmla="*/ 152400 h 4429225"/>
                    <a:gd name="connsiteX106" fmla="*/ 1583077 w 4519987"/>
                    <a:gd name="connsiteY106" fmla="*/ 142875 h 4429225"/>
                    <a:gd name="connsiteX107" fmla="*/ 1716427 w 4519987"/>
                    <a:gd name="connsiteY107" fmla="*/ 123825 h 4429225"/>
                    <a:gd name="connsiteX108" fmla="*/ 1811677 w 4519987"/>
                    <a:gd name="connsiteY108" fmla="*/ 114300 h 4429225"/>
                    <a:gd name="connsiteX109" fmla="*/ 1859302 w 4519987"/>
                    <a:gd name="connsiteY109" fmla="*/ 104775 h 4429225"/>
                    <a:gd name="connsiteX110" fmla="*/ 1916452 w 4519987"/>
                    <a:gd name="connsiteY110" fmla="*/ 95250 h 4429225"/>
                    <a:gd name="connsiteX111" fmla="*/ 2030752 w 4519987"/>
                    <a:gd name="connsiteY111" fmla="*/ 66675 h 4429225"/>
                    <a:gd name="connsiteX112" fmla="*/ 2097427 w 4519987"/>
                    <a:gd name="connsiteY112" fmla="*/ 47625 h 4429225"/>
                    <a:gd name="connsiteX113" fmla="*/ 2164102 w 4519987"/>
                    <a:gd name="connsiteY113" fmla="*/ 38100 h 4429225"/>
                    <a:gd name="connsiteX114" fmla="*/ 2392702 w 4519987"/>
                    <a:gd name="connsiteY11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402102 w 4519987"/>
                    <a:gd name="connsiteY46" fmla="*/ 4276725 h 4429225"/>
                    <a:gd name="connsiteX47" fmla="*/ 1287802 w 4519987"/>
                    <a:gd name="connsiteY47" fmla="*/ 4229100 h 4429225"/>
                    <a:gd name="connsiteX48" fmla="*/ 1221127 w 4519987"/>
                    <a:gd name="connsiteY48" fmla="*/ 4200525 h 4429225"/>
                    <a:gd name="connsiteX49" fmla="*/ 1144927 w 4519987"/>
                    <a:gd name="connsiteY49" fmla="*/ 4171950 h 4429225"/>
                    <a:gd name="connsiteX50" fmla="*/ 1087777 w 4519987"/>
                    <a:gd name="connsiteY50" fmla="*/ 4143375 h 4429225"/>
                    <a:gd name="connsiteX51" fmla="*/ 1030627 w 4519987"/>
                    <a:gd name="connsiteY51" fmla="*/ 4124325 h 4429225"/>
                    <a:gd name="connsiteX52" fmla="*/ 925852 w 4519987"/>
                    <a:gd name="connsiteY52" fmla="*/ 4067175 h 4429225"/>
                    <a:gd name="connsiteX53" fmla="*/ 830602 w 4519987"/>
                    <a:gd name="connsiteY53" fmla="*/ 3981450 h 4429225"/>
                    <a:gd name="connsiteX54" fmla="*/ 763927 w 4519987"/>
                    <a:gd name="connsiteY54" fmla="*/ 3914775 h 4429225"/>
                    <a:gd name="connsiteX55" fmla="*/ 725827 w 4519987"/>
                    <a:gd name="connsiteY55" fmla="*/ 3876675 h 4429225"/>
                    <a:gd name="connsiteX56" fmla="*/ 697252 w 4519987"/>
                    <a:gd name="connsiteY56" fmla="*/ 3838575 h 4429225"/>
                    <a:gd name="connsiteX57" fmla="*/ 640102 w 4519987"/>
                    <a:gd name="connsiteY57" fmla="*/ 3781425 h 4429225"/>
                    <a:gd name="connsiteX58" fmla="*/ 611527 w 4519987"/>
                    <a:gd name="connsiteY58" fmla="*/ 3733800 h 4429225"/>
                    <a:gd name="connsiteX59" fmla="*/ 554377 w 4519987"/>
                    <a:gd name="connsiteY59" fmla="*/ 3657600 h 4429225"/>
                    <a:gd name="connsiteX60" fmla="*/ 525802 w 4519987"/>
                    <a:gd name="connsiteY60" fmla="*/ 3609975 h 4429225"/>
                    <a:gd name="connsiteX61" fmla="*/ 497227 w 4519987"/>
                    <a:gd name="connsiteY61" fmla="*/ 3552825 h 4429225"/>
                    <a:gd name="connsiteX62" fmla="*/ 440077 w 4519987"/>
                    <a:gd name="connsiteY62" fmla="*/ 3495675 h 4429225"/>
                    <a:gd name="connsiteX63" fmla="*/ 411502 w 4519987"/>
                    <a:gd name="connsiteY63" fmla="*/ 3448050 h 4429225"/>
                    <a:gd name="connsiteX64" fmla="*/ 278152 w 4519987"/>
                    <a:gd name="connsiteY64" fmla="*/ 3257550 h 4429225"/>
                    <a:gd name="connsiteX65" fmla="*/ 249577 w 4519987"/>
                    <a:gd name="connsiteY65" fmla="*/ 3200400 h 4429225"/>
                    <a:gd name="connsiteX66" fmla="*/ 240052 w 4519987"/>
                    <a:gd name="connsiteY66" fmla="*/ 3162300 h 4429225"/>
                    <a:gd name="connsiteX67" fmla="*/ 221002 w 4519987"/>
                    <a:gd name="connsiteY67" fmla="*/ 3105150 h 4429225"/>
                    <a:gd name="connsiteX68" fmla="*/ 173377 w 4519987"/>
                    <a:gd name="connsiteY68" fmla="*/ 3019425 h 4429225"/>
                    <a:gd name="connsiteX69" fmla="*/ 144802 w 4519987"/>
                    <a:gd name="connsiteY69" fmla="*/ 2924175 h 4429225"/>
                    <a:gd name="connsiteX70" fmla="*/ 68602 w 4519987"/>
                    <a:gd name="connsiteY70" fmla="*/ 2724150 h 4429225"/>
                    <a:gd name="connsiteX71" fmla="*/ 49552 w 4519987"/>
                    <a:gd name="connsiteY71" fmla="*/ 2638425 h 4429225"/>
                    <a:gd name="connsiteX72" fmla="*/ 40027 w 4519987"/>
                    <a:gd name="connsiteY72" fmla="*/ 2562225 h 4429225"/>
                    <a:gd name="connsiteX73" fmla="*/ 30502 w 4519987"/>
                    <a:gd name="connsiteY73" fmla="*/ 2514600 h 4429225"/>
                    <a:gd name="connsiteX74" fmla="*/ 11452 w 4519987"/>
                    <a:gd name="connsiteY74" fmla="*/ 2400300 h 4429225"/>
                    <a:gd name="connsiteX75" fmla="*/ 20977 w 4519987"/>
                    <a:gd name="connsiteY75" fmla="*/ 1905000 h 4429225"/>
                    <a:gd name="connsiteX76" fmla="*/ 30502 w 4519987"/>
                    <a:gd name="connsiteY76" fmla="*/ 1838325 h 4429225"/>
                    <a:gd name="connsiteX77" fmla="*/ 49552 w 4519987"/>
                    <a:gd name="connsiteY77" fmla="*/ 1781175 h 4429225"/>
                    <a:gd name="connsiteX78" fmla="*/ 59077 w 4519987"/>
                    <a:gd name="connsiteY78" fmla="*/ 1743075 h 4429225"/>
                    <a:gd name="connsiteX79" fmla="*/ 78127 w 4519987"/>
                    <a:gd name="connsiteY79" fmla="*/ 1685925 h 4429225"/>
                    <a:gd name="connsiteX80" fmla="*/ 87652 w 4519987"/>
                    <a:gd name="connsiteY80" fmla="*/ 1638300 h 4429225"/>
                    <a:gd name="connsiteX81" fmla="*/ 106702 w 4519987"/>
                    <a:gd name="connsiteY81" fmla="*/ 1590675 h 4429225"/>
                    <a:gd name="connsiteX82" fmla="*/ 135277 w 4519987"/>
                    <a:gd name="connsiteY82" fmla="*/ 1504950 h 4429225"/>
                    <a:gd name="connsiteX83" fmla="*/ 154327 w 4519987"/>
                    <a:gd name="connsiteY83" fmla="*/ 1419225 h 4429225"/>
                    <a:gd name="connsiteX84" fmla="*/ 230527 w 4519987"/>
                    <a:gd name="connsiteY84" fmla="*/ 1276350 h 4429225"/>
                    <a:gd name="connsiteX85" fmla="*/ 240052 w 4519987"/>
                    <a:gd name="connsiteY85" fmla="*/ 1247775 h 4429225"/>
                    <a:gd name="connsiteX86" fmla="*/ 268627 w 4519987"/>
                    <a:gd name="connsiteY86" fmla="*/ 1200150 h 4429225"/>
                    <a:gd name="connsiteX87" fmla="*/ 287677 w 4519987"/>
                    <a:gd name="connsiteY87" fmla="*/ 1152525 h 4429225"/>
                    <a:gd name="connsiteX88" fmla="*/ 316252 w 4519987"/>
                    <a:gd name="connsiteY88" fmla="*/ 1114425 h 4429225"/>
                    <a:gd name="connsiteX89" fmla="*/ 363877 w 4519987"/>
                    <a:gd name="connsiteY89" fmla="*/ 1038225 h 4429225"/>
                    <a:gd name="connsiteX90" fmla="*/ 382927 w 4519987"/>
                    <a:gd name="connsiteY90" fmla="*/ 1009650 h 4429225"/>
                    <a:gd name="connsiteX91" fmla="*/ 440077 w 4519987"/>
                    <a:gd name="connsiteY91" fmla="*/ 904875 h 4429225"/>
                    <a:gd name="connsiteX92" fmla="*/ 478177 w 4519987"/>
                    <a:gd name="connsiteY92" fmla="*/ 857250 h 4429225"/>
                    <a:gd name="connsiteX93" fmla="*/ 497227 w 4519987"/>
                    <a:gd name="connsiteY93" fmla="*/ 828675 h 4429225"/>
                    <a:gd name="connsiteX94" fmla="*/ 535327 w 4519987"/>
                    <a:gd name="connsiteY94" fmla="*/ 800100 h 4429225"/>
                    <a:gd name="connsiteX95" fmla="*/ 602002 w 4519987"/>
                    <a:gd name="connsiteY95" fmla="*/ 733425 h 4429225"/>
                    <a:gd name="connsiteX96" fmla="*/ 668677 w 4519987"/>
                    <a:gd name="connsiteY96" fmla="*/ 676275 h 4429225"/>
                    <a:gd name="connsiteX97" fmla="*/ 697252 w 4519987"/>
                    <a:gd name="connsiteY97" fmla="*/ 657225 h 4429225"/>
                    <a:gd name="connsiteX98" fmla="*/ 840127 w 4519987"/>
                    <a:gd name="connsiteY98" fmla="*/ 533400 h 4429225"/>
                    <a:gd name="connsiteX99" fmla="*/ 887752 w 4519987"/>
                    <a:gd name="connsiteY99" fmla="*/ 504825 h 4429225"/>
                    <a:gd name="connsiteX100" fmla="*/ 1167152 w 4519987"/>
                    <a:gd name="connsiteY100" fmla="*/ 311150 h 4429225"/>
                    <a:gd name="connsiteX101" fmla="*/ 1268752 w 4519987"/>
                    <a:gd name="connsiteY101" fmla="*/ 285750 h 4429225"/>
                    <a:gd name="connsiteX102" fmla="*/ 1411627 w 4519987"/>
                    <a:gd name="connsiteY102" fmla="*/ 190500 h 4429225"/>
                    <a:gd name="connsiteX103" fmla="*/ 1449727 w 4519987"/>
                    <a:gd name="connsiteY103" fmla="*/ 161925 h 4429225"/>
                    <a:gd name="connsiteX104" fmla="*/ 1525927 w 4519987"/>
                    <a:gd name="connsiteY104" fmla="*/ 152400 h 4429225"/>
                    <a:gd name="connsiteX105" fmla="*/ 1583077 w 4519987"/>
                    <a:gd name="connsiteY105" fmla="*/ 142875 h 4429225"/>
                    <a:gd name="connsiteX106" fmla="*/ 1716427 w 4519987"/>
                    <a:gd name="connsiteY106" fmla="*/ 123825 h 4429225"/>
                    <a:gd name="connsiteX107" fmla="*/ 1811677 w 4519987"/>
                    <a:gd name="connsiteY107" fmla="*/ 114300 h 4429225"/>
                    <a:gd name="connsiteX108" fmla="*/ 1859302 w 4519987"/>
                    <a:gd name="connsiteY108" fmla="*/ 104775 h 4429225"/>
                    <a:gd name="connsiteX109" fmla="*/ 1916452 w 4519987"/>
                    <a:gd name="connsiteY109" fmla="*/ 95250 h 4429225"/>
                    <a:gd name="connsiteX110" fmla="*/ 2030752 w 4519987"/>
                    <a:gd name="connsiteY110" fmla="*/ 66675 h 4429225"/>
                    <a:gd name="connsiteX111" fmla="*/ 2097427 w 4519987"/>
                    <a:gd name="connsiteY111" fmla="*/ 47625 h 4429225"/>
                    <a:gd name="connsiteX112" fmla="*/ 2164102 w 4519987"/>
                    <a:gd name="connsiteY112" fmla="*/ 38100 h 4429225"/>
                    <a:gd name="connsiteX113" fmla="*/ 2392702 w 4519987"/>
                    <a:gd name="connsiteY11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144927 w 4519987"/>
                    <a:gd name="connsiteY48" fmla="*/ 4171950 h 4429225"/>
                    <a:gd name="connsiteX49" fmla="*/ 1087777 w 4519987"/>
                    <a:gd name="connsiteY49" fmla="*/ 4143375 h 4429225"/>
                    <a:gd name="connsiteX50" fmla="*/ 1030627 w 4519987"/>
                    <a:gd name="connsiteY50" fmla="*/ 4124325 h 4429225"/>
                    <a:gd name="connsiteX51" fmla="*/ 925852 w 4519987"/>
                    <a:gd name="connsiteY51" fmla="*/ 4067175 h 4429225"/>
                    <a:gd name="connsiteX52" fmla="*/ 830602 w 4519987"/>
                    <a:gd name="connsiteY52" fmla="*/ 3981450 h 4429225"/>
                    <a:gd name="connsiteX53" fmla="*/ 763927 w 4519987"/>
                    <a:gd name="connsiteY53" fmla="*/ 3914775 h 4429225"/>
                    <a:gd name="connsiteX54" fmla="*/ 725827 w 4519987"/>
                    <a:gd name="connsiteY54" fmla="*/ 3876675 h 4429225"/>
                    <a:gd name="connsiteX55" fmla="*/ 697252 w 4519987"/>
                    <a:gd name="connsiteY55" fmla="*/ 3838575 h 4429225"/>
                    <a:gd name="connsiteX56" fmla="*/ 640102 w 4519987"/>
                    <a:gd name="connsiteY56" fmla="*/ 3781425 h 4429225"/>
                    <a:gd name="connsiteX57" fmla="*/ 611527 w 4519987"/>
                    <a:gd name="connsiteY57" fmla="*/ 3733800 h 4429225"/>
                    <a:gd name="connsiteX58" fmla="*/ 554377 w 4519987"/>
                    <a:gd name="connsiteY58" fmla="*/ 3657600 h 4429225"/>
                    <a:gd name="connsiteX59" fmla="*/ 525802 w 4519987"/>
                    <a:gd name="connsiteY59" fmla="*/ 3609975 h 4429225"/>
                    <a:gd name="connsiteX60" fmla="*/ 497227 w 4519987"/>
                    <a:gd name="connsiteY60" fmla="*/ 3552825 h 4429225"/>
                    <a:gd name="connsiteX61" fmla="*/ 440077 w 4519987"/>
                    <a:gd name="connsiteY61" fmla="*/ 3495675 h 4429225"/>
                    <a:gd name="connsiteX62" fmla="*/ 411502 w 4519987"/>
                    <a:gd name="connsiteY62" fmla="*/ 3448050 h 4429225"/>
                    <a:gd name="connsiteX63" fmla="*/ 278152 w 4519987"/>
                    <a:gd name="connsiteY63" fmla="*/ 3257550 h 4429225"/>
                    <a:gd name="connsiteX64" fmla="*/ 249577 w 4519987"/>
                    <a:gd name="connsiteY64" fmla="*/ 3200400 h 4429225"/>
                    <a:gd name="connsiteX65" fmla="*/ 240052 w 4519987"/>
                    <a:gd name="connsiteY65" fmla="*/ 3162300 h 4429225"/>
                    <a:gd name="connsiteX66" fmla="*/ 221002 w 4519987"/>
                    <a:gd name="connsiteY66" fmla="*/ 3105150 h 4429225"/>
                    <a:gd name="connsiteX67" fmla="*/ 173377 w 4519987"/>
                    <a:gd name="connsiteY67" fmla="*/ 3019425 h 4429225"/>
                    <a:gd name="connsiteX68" fmla="*/ 144802 w 4519987"/>
                    <a:gd name="connsiteY68" fmla="*/ 2924175 h 4429225"/>
                    <a:gd name="connsiteX69" fmla="*/ 68602 w 4519987"/>
                    <a:gd name="connsiteY69" fmla="*/ 2724150 h 4429225"/>
                    <a:gd name="connsiteX70" fmla="*/ 49552 w 4519987"/>
                    <a:gd name="connsiteY70" fmla="*/ 2638425 h 4429225"/>
                    <a:gd name="connsiteX71" fmla="*/ 40027 w 4519987"/>
                    <a:gd name="connsiteY71" fmla="*/ 2562225 h 4429225"/>
                    <a:gd name="connsiteX72" fmla="*/ 30502 w 4519987"/>
                    <a:gd name="connsiteY72" fmla="*/ 2514600 h 4429225"/>
                    <a:gd name="connsiteX73" fmla="*/ 11452 w 4519987"/>
                    <a:gd name="connsiteY73" fmla="*/ 2400300 h 4429225"/>
                    <a:gd name="connsiteX74" fmla="*/ 20977 w 4519987"/>
                    <a:gd name="connsiteY74" fmla="*/ 1905000 h 4429225"/>
                    <a:gd name="connsiteX75" fmla="*/ 30502 w 4519987"/>
                    <a:gd name="connsiteY75" fmla="*/ 1838325 h 4429225"/>
                    <a:gd name="connsiteX76" fmla="*/ 49552 w 4519987"/>
                    <a:gd name="connsiteY76" fmla="*/ 1781175 h 4429225"/>
                    <a:gd name="connsiteX77" fmla="*/ 59077 w 4519987"/>
                    <a:gd name="connsiteY77" fmla="*/ 1743075 h 4429225"/>
                    <a:gd name="connsiteX78" fmla="*/ 78127 w 4519987"/>
                    <a:gd name="connsiteY78" fmla="*/ 1685925 h 4429225"/>
                    <a:gd name="connsiteX79" fmla="*/ 87652 w 4519987"/>
                    <a:gd name="connsiteY79" fmla="*/ 1638300 h 4429225"/>
                    <a:gd name="connsiteX80" fmla="*/ 106702 w 4519987"/>
                    <a:gd name="connsiteY80" fmla="*/ 1590675 h 4429225"/>
                    <a:gd name="connsiteX81" fmla="*/ 135277 w 4519987"/>
                    <a:gd name="connsiteY81" fmla="*/ 1504950 h 4429225"/>
                    <a:gd name="connsiteX82" fmla="*/ 154327 w 4519987"/>
                    <a:gd name="connsiteY82" fmla="*/ 1419225 h 4429225"/>
                    <a:gd name="connsiteX83" fmla="*/ 230527 w 4519987"/>
                    <a:gd name="connsiteY83" fmla="*/ 1276350 h 4429225"/>
                    <a:gd name="connsiteX84" fmla="*/ 240052 w 4519987"/>
                    <a:gd name="connsiteY84" fmla="*/ 1247775 h 4429225"/>
                    <a:gd name="connsiteX85" fmla="*/ 268627 w 4519987"/>
                    <a:gd name="connsiteY85" fmla="*/ 1200150 h 4429225"/>
                    <a:gd name="connsiteX86" fmla="*/ 287677 w 4519987"/>
                    <a:gd name="connsiteY86" fmla="*/ 1152525 h 4429225"/>
                    <a:gd name="connsiteX87" fmla="*/ 316252 w 4519987"/>
                    <a:gd name="connsiteY87" fmla="*/ 1114425 h 4429225"/>
                    <a:gd name="connsiteX88" fmla="*/ 363877 w 4519987"/>
                    <a:gd name="connsiteY88" fmla="*/ 1038225 h 4429225"/>
                    <a:gd name="connsiteX89" fmla="*/ 382927 w 4519987"/>
                    <a:gd name="connsiteY89" fmla="*/ 1009650 h 4429225"/>
                    <a:gd name="connsiteX90" fmla="*/ 440077 w 4519987"/>
                    <a:gd name="connsiteY90" fmla="*/ 904875 h 4429225"/>
                    <a:gd name="connsiteX91" fmla="*/ 478177 w 4519987"/>
                    <a:gd name="connsiteY91" fmla="*/ 857250 h 4429225"/>
                    <a:gd name="connsiteX92" fmla="*/ 497227 w 4519987"/>
                    <a:gd name="connsiteY92" fmla="*/ 828675 h 4429225"/>
                    <a:gd name="connsiteX93" fmla="*/ 535327 w 4519987"/>
                    <a:gd name="connsiteY93" fmla="*/ 800100 h 4429225"/>
                    <a:gd name="connsiteX94" fmla="*/ 602002 w 4519987"/>
                    <a:gd name="connsiteY94" fmla="*/ 733425 h 4429225"/>
                    <a:gd name="connsiteX95" fmla="*/ 668677 w 4519987"/>
                    <a:gd name="connsiteY95" fmla="*/ 676275 h 4429225"/>
                    <a:gd name="connsiteX96" fmla="*/ 697252 w 4519987"/>
                    <a:gd name="connsiteY96" fmla="*/ 657225 h 4429225"/>
                    <a:gd name="connsiteX97" fmla="*/ 840127 w 4519987"/>
                    <a:gd name="connsiteY97" fmla="*/ 533400 h 4429225"/>
                    <a:gd name="connsiteX98" fmla="*/ 887752 w 4519987"/>
                    <a:gd name="connsiteY98" fmla="*/ 504825 h 4429225"/>
                    <a:gd name="connsiteX99" fmla="*/ 1167152 w 4519987"/>
                    <a:gd name="connsiteY99" fmla="*/ 311150 h 4429225"/>
                    <a:gd name="connsiteX100" fmla="*/ 1268752 w 4519987"/>
                    <a:gd name="connsiteY100" fmla="*/ 285750 h 4429225"/>
                    <a:gd name="connsiteX101" fmla="*/ 1411627 w 4519987"/>
                    <a:gd name="connsiteY101" fmla="*/ 190500 h 4429225"/>
                    <a:gd name="connsiteX102" fmla="*/ 1449727 w 4519987"/>
                    <a:gd name="connsiteY102" fmla="*/ 161925 h 4429225"/>
                    <a:gd name="connsiteX103" fmla="*/ 1525927 w 4519987"/>
                    <a:gd name="connsiteY103" fmla="*/ 152400 h 4429225"/>
                    <a:gd name="connsiteX104" fmla="*/ 1583077 w 4519987"/>
                    <a:gd name="connsiteY104" fmla="*/ 142875 h 4429225"/>
                    <a:gd name="connsiteX105" fmla="*/ 1716427 w 4519987"/>
                    <a:gd name="connsiteY105" fmla="*/ 123825 h 4429225"/>
                    <a:gd name="connsiteX106" fmla="*/ 1811677 w 4519987"/>
                    <a:gd name="connsiteY106" fmla="*/ 114300 h 4429225"/>
                    <a:gd name="connsiteX107" fmla="*/ 1859302 w 4519987"/>
                    <a:gd name="connsiteY107" fmla="*/ 104775 h 4429225"/>
                    <a:gd name="connsiteX108" fmla="*/ 1916452 w 4519987"/>
                    <a:gd name="connsiteY108" fmla="*/ 95250 h 4429225"/>
                    <a:gd name="connsiteX109" fmla="*/ 2030752 w 4519987"/>
                    <a:gd name="connsiteY109" fmla="*/ 66675 h 4429225"/>
                    <a:gd name="connsiteX110" fmla="*/ 2097427 w 4519987"/>
                    <a:gd name="connsiteY110" fmla="*/ 47625 h 4429225"/>
                    <a:gd name="connsiteX111" fmla="*/ 2164102 w 4519987"/>
                    <a:gd name="connsiteY111" fmla="*/ 38100 h 4429225"/>
                    <a:gd name="connsiteX112" fmla="*/ 2392702 w 4519987"/>
                    <a:gd name="connsiteY11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087777 w 4519987"/>
                    <a:gd name="connsiteY48" fmla="*/ 4143375 h 4429225"/>
                    <a:gd name="connsiteX49" fmla="*/ 1030627 w 4519987"/>
                    <a:gd name="connsiteY49" fmla="*/ 4124325 h 4429225"/>
                    <a:gd name="connsiteX50" fmla="*/ 925852 w 4519987"/>
                    <a:gd name="connsiteY50" fmla="*/ 4067175 h 4429225"/>
                    <a:gd name="connsiteX51" fmla="*/ 830602 w 4519987"/>
                    <a:gd name="connsiteY51" fmla="*/ 3981450 h 4429225"/>
                    <a:gd name="connsiteX52" fmla="*/ 763927 w 4519987"/>
                    <a:gd name="connsiteY52" fmla="*/ 3914775 h 4429225"/>
                    <a:gd name="connsiteX53" fmla="*/ 725827 w 4519987"/>
                    <a:gd name="connsiteY53" fmla="*/ 3876675 h 4429225"/>
                    <a:gd name="connsiteX54" fmla="*/ 697252 w 4519987"/>
                    <a:gd name="connsiteY54" fmla="*/ 3838575 h 4429225"/>
                    <a:gd name="connsiteX55" fmla="*/ 640102 w 4519987"/>
                    <a:gd name="connsiteY55" fmla="*/ 3781425 h 4429225"/>
                    <a:gd name="connsiteX56" fmla="*/ 611527 w 4519987"/>
                    <a:gd name="connsiteY56" fmla="*/ 3733800 h 4429225"/>
                    <a:gd name="connsiteX57" fmla="*/ 554377 w 4519987"/>
                    <a:gd name="connsiteY57" fmla="*/ 3657600 h 4429225"/>
                    <a:gd name="connsiteX58" fmla="*/ 525802 w 4519987"/>
                    <a:gd name="connsiteY58" fmla="*/ 3609975 h 4429225"/>
                    <a:gd name="connsiteX59" fmla="*/ 497227 w 4519987"/>
                    <a:gd name="connsiteY59" fmla="*/ 3552825 h 4429225"/>
                    <a:gd name="connsiteX60" fmla="*/ 440077 w 4519987"/>
                    <a:gd name="connsiteY60" fmla="*/ 3495675 h 4429225"/>
                    <a:gd name="connsiteX61" fmla="*/ 411502 w 4519987"/>
                    <a:gd name="connsiteY61" fmla="*/ 3448050 h 4429225"/>
                    <a:gd name="connsiteX62" fmla="*/ 278152 w 4519987"/>
                    <a:gd name="connsiteY62" fmla="*/ 3257550 h 4429225"/>
                    <a:gd name="connsiteX63" fmla="*/ 249577 w 4519987"/>
                    <a:gd name="connsiteY63" fmla="*/ 3200400 h 4429225"/>
                    <a:gd name="connsiteX64" fmla="*/ 240052 w 4519987"/>
                    <a:gd name="connsiteY64" fmla="*/ 3162300 h 4429225"/>
                    <a:gd name="connsiteX65" fmla="*/ 221002 w 4519987"/>
                    <a:gd name="connsiteY65" fmla="*/ 3105150 h 4429225"/>
                    <a:gd name="connsiteX66" fmla="*/ 173377 w 4519987"/>
                    <a:gd name="connsiteY66" fmla="*/ 3019425 h 4429225"/>
                    <a:gd name="connsiteX67" fmla="*/ 144802 w 4519987"/>
                    <a:gd name="connsiteY67" fmla="*/ 2924175 h 4429225"/>
                    <a:gd name="connsiteX68" fmla="*/ 68602 w 4519987"/>
                    <a:gd name="connsiteY68" fmla="*/ 2724150 h 4429225"/>
                    <a:gd name="connsiteX69" fmla="*/ 49552 w 4519987"/>
                    <a:gd name="connsiteY69" fmla="*/ 2638425 h 4429225"/>
                    <a:gd name="connsiteX70" fmla="*/ 40027 w 4519987"/>
                    <a:gd name="connsiteY70" fmla="*/ 2562225 h 4429225"/>
                    <a:gd name="connsiteX71" fmla="*/ 30502 w 4519987"/>
                    <a:gd name="connsiteY71" fmla="*/ 2514600 h 4429225"/>
                    <a:gd name="connsiteX72" fmla="*/ 11452 w 4519987"/>
                    <a:gd name="connsiteY72" fmla="*/ 2400300 h 4429225"/>
                    <a:gd name="connsiteX73" fmla="*/ 20977 w 4519987"/>
                    <a:gd name="connsiteY73" fmla="*/ 1905000 h 4429225"/>
                    <a:gd name="connsiteX74" fmla="*/ 30502 w 4519987"/>
                    <a:gd name="connsiteY74" fmla="*/ 1838325 h 4429225"/>
                    <a:gd name="connsiteX75" fmla="*/ 49552 w 4519987"/>
                    <a:gd name="connsiteY75" fmla="*/ 1781175 h 4429225"/>
                    <a:gd name="connsiteX76" fmla="*/ 59077 w 4519987"/>
                    <a:gd name="connsiteY76" fmla="*/ 1743075 h 4429225"/>
                    <a:gd name="connsiteX77" fmla="*/ 78127 w 4519987"/>
                    <a:gd name="connsiteY77" fmla="*/ 1685925 h 4429225"/>
                    <a:gd name="connsiteX78" fmla="*/ 87652 w 4519987"/>
                    <a:gd name="connsiteY78" fmla="*/ 1638300 h 4429225"/>
                    <a:gd name="connsiteX79" fmla="*/ 106702 w 4519987"/>
                    <a:gd name="connsiteY79" fmla="*/ 1590675 h 4429225"/>
                    <a:gd name="connsiteX80" fmla="*/ 135277 w 4519987"/>
                    <a:gd name="connsiteY80" fmla="*/ 1504950 h 4429225"/>
                    <a:gd name="connsiteX81" fmla="*/ 154327 w 4519987"/>
                    <a:gd name="connsiteY81" fmla="*/ 1419225 h 4429225"/>
                    <a:gd name="connsiteX82" fmla="*/ 230527 w 4519987"/>
                    <a:gd name="connsiteY82" fmla="*/ 1276350 h 4429225"/>
                    <a:gd name="connsiteX83" fmla="*/ 240052 w 4519987"/>
                    <a:gd name="connsiteY83" fmla="*/ 1247775 h 4429225"/>
                    <a:gd name="connsiteX84" fmla="*/ 268627 w 4519987"/>
                    <a:gd name="connsiteY84" fmla="*/ 1200150 h 4429225"/>
                    <a:gd name="connsiteX85" fmla="*/ 287677 w 4519987"/>
                    <a:gd name="connsiteY85" fmla="*/ 1152525 h 4429225"/>
                    <a:gd name="connsiteX86" fmla="*/ 316252 w 4519987"/>
                    <a:gd name="connsiteY86" fmla="*/ 1114425 h 4429225"/>
                    <a:gd name="connsiteX87" fmla="*/ 363877 w 4519987"/>
                    <a:gd name="connsiteY87" fmla="*/ 1038225 h 4429225"/>
                    <a:gd name="connsiteX88" fmla="*/ 382927 w 4519987"/>
                    <a:gd name="connsiteY88" fmla="*/ 1009650 h 4429225"/>
                    <a:gd name="connsiteX89" fmla="*/ 440077 w 4519987"/>
                    <a:gd name="connsiteY89" fmla="*/ 904875 h 4429225"/>
                    <a:gd name="connsiteX90" fmla="*/ 478177 w 4519987"/>
                    <a:gd name="connsiteY90" fmla="*/ 857250 h 4429225"/>
                    <a:gd name="connsiteX91" fmla="*/ 497227 w 4519987"/>
                    <a:gd name="connsiteY91" fmla="*/ 828675 h 4429225"/>
                    <a:gd name="connsiteX92" fmla="*/ 535327 w 4519987"/>
                    <a:gd name="connsiteY92" fmla="*/ 800100 h 4429225"/>
                    <a:gd name="connsiteX93" fmla="*/ 602002 w 4519987"/>
                    <a:gd name="connsiteY93" fmla="*/ 733425 h 4429225"/>
                    <a:gd name="connsiteX94" fmla="*/ 668677 w 4519987"/>
                    <a:gd name="connsiteY94" fmla="*/ 676275 h 4429225"/>
                    <a:gd name="connsiteX95" fmla="*/ 697252 w 4519987"/>
                    <a:gd name="connsiteY95" fmla="*/ 657225 h 4429225"/>
                    <a:gd name="connsiteX96" fmla="*/ 840127 w 4519987"/>
                    <a:gd name="connsiteY96" fmla="*/ 533400 h 4429225"/>
                    <a:gd name="connsiteX97" fmla="*/ 887752 w 4519987"/>
                    <a:gd name="connsiteY97" fmla="*/ 504825 h 4429225"/>
                    <a:gd name="connsiteX98" fmla="*/ 1167152 w 4519987"/>
                    <a:gd name="connsiteY98" fmla="*/ 311150 h 4429225"/>
                    <a:gd name="connsiteX99" fmla="*/ 1268752 w 4519987"/>
                    <a:gd name="connsiteY99" fmla="*/ 285750 h 4429225"/>
                    <a:gd name="connsiteX100" fmla="*/ 1411627 w 4519987"/>
                    <a:gd name="connsiteY100" fmla="*/ 190500 h 4429225"/>
                    <a:gd name="connsiteX101" fmla="*/ 1449727 w 4519987"/>
                    <a:gd name="connsiteY101" fmla="*/ 161925 h 4429225"/>
                    <a:gd name="connsiteX102" fmla="*/ 1525927 w 4519987"/>
                    <a:gd name="connsiteY102" fmla="*/ 152400 h 4429225"/>
                    <a:gd name="connsiteX103" fmla="*/ 1583077 w 4519987"/>
                    <a:gd name="connsiteY103" fmla="*/ 142875 h 4429225"/>
                    <a:gd name="connsiteX104" fmla="*/ 1716427 w 4519987"/>
                    <a:gd name="connsiteY104" fmla="*/ 123825 h 4429225"/>
                    <a:gd name="connsiteX105" fmla="*/ 1811677 w 4519987"/>
                    <a:gd name="connsiteY105" fmla="*/ 114300 h 4429225"/>
                    <a:gd name="connsiteX106" fmla="*/ 1859302 w 4519987"/>
                    <a:gd name="connsiteY106" fmla="*/ 104775 h 4429225"/>
                    <a:gd name="connsiteX107" fmla="*/ 1916452 w 4519987"/>
                    <a:gd name="connsiteY107" fmla="*/ 95250 h 4429225"/>
                    <a:gd name="connsiteX108" fmla="*/ 2030752 w 4519987"/>
                    <a:gd name="connsiteY108" fmla="*/ 66675 h 4429225"/>
                    <a:gd name="connsiteX109" fmla="*/ 2097427 w 4519987"/>
                    <a:gd name="connsiteY109" fmla="*/ 47625 h 4429225"/>
                    <a:gd name="connsiteX110" fmla="*/ 2164102 w 4519987"/>
                    <a:gd name="connsiteY110" fmla="*/ 38100 h 4429225"/>
                    <a:gd name="connsiteX111" fmla="*/ 2392702 w 4519987"/>
                    <a:gd name="connsiteY11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1030627 w 4519987"/>
                    <a:gd name="connsiteY48" fmla="*/ 4124325 h 4429225"/>
                    <a:gd name="connsiteX49" fmla="*/ 925852 w 4519987"/>
                    <a:gd name="connsiteY49" fmla="*/ 4067175 h 4429225"/>
                    <a:gd name="connsiteX50" fmla="*/ 830602 w 4519987"/>
                    <a:gd name="connsiteY50" fmla="*/ 3981450 h 4429225"/>
                    <a:gd name="connsiteX51" fmla="*/ 763927 w 4519987"/>
                    <a:gd name="connsiteY51" fmla="*/ 3914775 h 4429225"/>
                    <a:gd name="connsiteX52" fmla="*/ 725827 w 4519987"/>
                    <a:gd name="connsiteY52" fmla="*/ 3876675 h 4429225"/>
                    <a:gd name="connsiteX53" fmla="*/ 697252 w 4519987"/>
                    <a:gd name="connsiteY53" fmla="*/ 3838575 h 4429225"/>
                    <a:gd name="connsiteX54" fmla="*/ 640102 w 4519987"/>
                    <a:gd name="connsiteY54" fmla="*/ 3781425 h 4429225"/>
                    <a:gd name="connsiteX55" fmla="*/ 611527 w 4519987"/>
                    <a:gd name="connsiteY55" fmla="*/ 3733800 h 4429225"/>
                    <a:gd name="connsiteX56" fmla="*/ 554377 w 4519987"/>
                    <a:gd name="connsiteY56" fmla="*/ 3657600 h 4429225"/>
                    <a:gd name="connsiteX57" fmla="*/ 525802 w 4519987"/>
                    <a:gd name="connsiteY57" fmla="*/ 3609975 h 4429225"/>
                    <a:gd name="connsiteX58" fmla="*/ 497227 w 4519987"/>
                    <a:gd name="connsiteY58" fmla="*/ 3552825 h 4429225"/>
                    <a:gd name="connsiteX59" fmla="*/ 440077 w 4519987"/>
                    <a:gd name="connsiteY59" fmla="*/ 3495675 h 4429225"/>
                    <a:gd name="connsiteX60" fmla="*/ 411502 w 4519987"/>
                    <a:gd name="connsiteY60" fmla="*/ 3448050 h 4429225"/>
                    <a:gd name="connsiteX61" fmla="*/ 278152 w 4519987"/>
                    <a:gd name="connsiteY61" fmla="*/ 3257550 h 4429225"/>
                    <a:gd name="connsiteX62" fmla="*/ 249577 w 4519987"/>
                    <a:gd name="connsiteY62" fmla="*/ 3200400 h 4429225"/>
                    <a:gd name="connsiteX63" fmla="*/ 240052 w 4519987"/>
                    <a:gd name="connsiteY63" fmla="*/ 3162300 h 4429225"/>
                    <a:gd name="connsiteX64" fmla="*/ 221002 w 4519987"/>
                    <a:gd name="connsiteY64" fmla="*/ 3105150 h 4429225"/>
                    <a:gd name="connsiteX65" fmla="*/ 173377 w 4519987"/>
                    <a:gd name="connsiteY65" fmla="*/ 3019425 h 4429225"/>
                    <a:gd name="connsiteX66" fmla="*/ 144802 w 4519987"/>
                    <a:gd name="connsiteY66" fmla="*/ 2924175 h 4429225"/>
                    <a:gd name="connsiteX67" fmla="*/ 68602 w 4519987"/>
                    <a:gd name="connsiteY67" fmla="*/ 2724150 h 4429225"/>
                    <a:gd name="connsiteX68" fmla="*/ 49552 w 4519987"/>
                    <a:gd name="connsiteY68" fmla="*/ 2638425 h 4429225"/>
                    <a:gd name="connsiteX69" fmla="*/ 40027 w 4519987"/>
                    <a:gd name="connsiteY69" fmla="*/ 2562225 h 4429225"/>
                    <a:gd name="connsiteX70" fmla="*/ 30502 w 4519987"/>
                    <a:gd name="connsiteY70" fmla="*/ 2514600 h 4429225"/>
                    <a:gd name="connsiteX71" fmla="*/ 11452 w 4519987"/>
                    <a:gd name="connsiteY71" fmla="*/ 2400300 h 4429225"/>
                    <a:gd name="connsiteX72" fmla="*/ 20977 w 4519987"/>
                    <a:gd name="connsiteY72" fmla="*/ 1905000 h 4429225"/>
                    <a:gd name="connsiteX73" fmla="*/ 30502 w 4519987"/>
                    <a:gd name="connsiteY73" fmla="*/ 1838325 h 4429225"/>
                    <a:gd name="connsiteX74" fmla="*/ 49552 w 4519987"/>
                    <a:gd name="connsiteY74" fmla="*/ 1781175 h 4429225"/>
                    <a:gd name="connsiteX75" fmla="*/ 59077 w 4519987"/>
                    <a:gd name="connsiteY75" fmla="*/ 1743075 h 4429225"/>
                    <a:gd name="connsiteX76" fmla="*/ 78127 w 4519987"/>
                    <a:gd name="connsiteY76" fmla="*/ 1685925 h 4429225"/>
                    <a:gd name="connsiteX77" fmla="*/ 87652 w 4519987"/>
                    <a:gd name="connsiteY77" fmla="*/ 1638300 h 4429225"/>
                    <a:gd name="connsiteX78" fmla="*/ 106702 w 4519987"/>
                    <a:gd name="connsiteY78" fmla="*/ 1590675 h 4429225"/>
                    <a:gd name="connsiteX79" fmla="*/ 135277 w 4519987"/>
                    <a:gd name="connsiteY79" fmla="*/ 1504950 h 4429225"/>
                    <a:gd name="connsiteX80" fmla="*/ 154327 w 4519987"/>
                    <a:gd name="connsiteY80" fmla="*/ 1419225 h 4429225"/>
                    <a:gd name="connsiteX81" fmla="*/ 230527 w 4519987"/>
                    <a:gd name="connsiteY81" fmla="*/ 1276350 h 4429225"/>
                    <a:gd name="connsiteX82" fmla="*/ 240052 w 4519987"/>
                    <a:gd name="connsiteY82" fmla="*/ 1247775 h 4429225"/>
                    <a:gd name="connsiteX83" fmla="*/ 268627 w 4519987"/>
                    <a:gd name="connsiteY83" fmla="*/ 1200150 h 4429225"/>
                    <a:gd name="connsiteX84" fmla="*/ 287677 w 4519987"/>
                    <a:gd name="connsiteY84" fmla="*/ 1152525 h 4429225"/>
                    <a:gd name="connsiteX85" fmla="*/ 316252 w 4519987"/>
                    <a:gd name="connsiteY85" fmla="*/ 1114425 h 4429225"/>
                    <a:gd name="connsiteX86" fmla="*/ 363877 w 4519987"/>
                    <a:gd name="connsiteY86" fmla="*/ 1038225 h 4429225"/>
                    <a:gd name="connsiteX87" fmla="*/ 382927 w 4519987"/>
                    <a:gd name="connsiteY87" fmla="*/ 1009650 h 4429225"/>
                    <a:gd name="connsiteX88" fmla="*/ 440077 w 4519987"/>
                    <a:gd name="connsiteY88" fmla="*/ 904875 h 4429225"/>
                    <a:gd name="connsiteX89" fmla="*/ 478177 w 4519987"/>
                    <a:gd name="connsiteY89" fmla="*/ 857250 h 4429225"/>
                    <a:gd name="connsiteX90" fmla="*/ 497227 w 4519987"/>
                    <a:gd name="connsiteY90" fmla="*/ 828675 h 4429225"/>
                    <a:gd name="connsiteX91" fmla="*/ 535327 w 4519987"/>
                    <a:gd name="connsiteY91" fmla="*/ 800100 h 4429225"/>
                    <a:gd name="connsiteX92" fmla="*/ 602002 w 4519987"/>
                    <a:gd name="connsiteY92" fmla="*/ 733425 h 4429225"/>
                    <a:gd name="connsiteX93" fmla="*/ 668677 w 4519987"/>
                    <a:gd name="connsiteY93" fmla="*/ 676275 h 4429225"/>
                    <a:gd name="connsiteX94" fmla="*/ 697252 w 4519987"/>
                    <a:gd name="connsiteY94" fmla="*/ 657225 h 4429225"/>
                    <a:gd name="connsiteX95" fmla="*/ 840127 w 4519987"/>
                    <a:gd name="connsiteY95" fmla="*/ 533400 h 4429225"/>
                    <a:gd name="connsiteX96" fmla="*/ 887752 w 4519987"/>
                    <a:gd name="connsiteY96" fmla="*/ 504825 h 4429225"/>
                    <a:gd name="connsiteX97" fmla="*/ 1167152 w 4519987"/>
                    <a:gd name="connsiteY97" fmla="*/ 311150 h 4429225"/>
                    <a:gd name="connsiteX98" fmla="*/ 1268752 w 4519987"/>
                    <a:gd name="connsiteY98" fmla="*/ 285750 h 4429225"/>
                    <a:gd name="connsiteX99" fmla="*/ 1411627 w 4519987"/>
                    <a:gd name="connsiteY99" fmla="*/ 190500 h 4429225"/>
                    <a:gd name="connsiteX100" fmla="*/ 1449727 w 4519987"/>
                    <a:gd name="connsiteY100" fmla="*/ 161925 h 4429225"/>
                    <a:gd name="connsiteX101" fmla="*/ 1525927 w 4519987"/>
                    <a:gd name="connsiteY101" fmla="*/ 152400 h 4429225"/>
                    <a:gd name="connsiteX102" fmla="*/ 1583077 w 4519987"/>
                    <a:gd name="connsiteY102" fmla="*/ 142875 h 4429225"/>
                    <a:gd name="connsiteX103" fmla="*/ 1716427 w 4519987"/>
                    <a:gd name="connsiteY103" fmla="*/ 123825 h 4429225"/>
                    <a:gd name="connsiteX104" fmla="*/ 1811677 w 4519987"/>
                    <a:gd name="connsiteY104" fmla="*/ 114300 h 4429225"/>
                    <a:gd name="connsiteX105" fmla="*/ 1859302 w 4519987"/>
                    <a:gd name="connsiteY105" fmla="*/ 104775 h 4429225"/>
                    <a:gd name="connsiteX106" fmla="*/ 1916452 w 4519987"/>
                    <a:gd name="connsiteY106" fmla="*/ 95250 h 4429225"/>
                    <a:gd name="connsiteX107" fmla="*/ 2030752 w 4519987"/>
                    <a:gd name="connsiteY107" fmla="*/ 66675 h 4429225"/>
                    <a:gd name="connsiteX108" fmla="*/ 2097427 w 4519987"/>
                    <a:gd name="connsiteY108" fmla="*/ 47625 h 4429225"/>
                    <a:gd name="connsiteX109" fmla="*/ 2164102 w 4519987"/>
                    <a:gd name="connsiteY109" fmla="*/ 38100 h 4429225"/>
                    <a:gd name="connsiteX110" fmla="*/ 2392702 w 4519987"/>
                    <a:gd name="connsiteY11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925852 w 4519987"/>
                    <a:gd name="connsiteY48" fmla="*/ 4067175 h 4429225"/>
                    <a:gd name="connsiteX49" fmla="*/ 830602 w 4519987"/>
                    <a:gd name="connsiteY49" fmla="*/ 3981450 h 4429225"/>
                    <a:gd name="connsiteX50" fmla="*/ 763927 w 4519987"/>
                    <a:gd name="connsiteY50" fmla="*/ 3914775 h 4429225"/>
                    <a:gd name="connsiteX51" fmla="*/ 725827 w 4519987"/>
                    <a:gd name="connsiteY51" fmla="*/ 3876675 h 4429225"/>
                    <a:gd name="connsiteX52" fmla="*/ 697252 w 4519987"/>
                    <a:gd name="connsiteY52" fmla="*/ 3838575 h 4429225"/>
                    <a:gd name="connsiteX53" fmla="*/ 640102 w 4519987"/>
                    <a:gd name="connsiteY53" fmla="*/ 3781425 h 4429225"/>
                    <a:gd name="connsiteX54" fmla="*/ 611527 w 4519987"/>
                    <a:gd name="connsiteY54" fmla="*/ 3733800 h 4429225"/>
                    <a:gd name="connsiteX55" fmla="*/ 554377 w 4519987"/>
                    <a:gd name="connsiteY55" fmla="*/ 3657600 h 4429225"/>
                    <a:gd name="connsiteX56" fmla="*/ 525802 w 4519987"/>
                    <a:gd name="connsiteY56" fmla="*/ 3609975 h 4429225"/>
                    <a:gd name="connsiteX57" fmla="*/ 497227 w 4519987"/>
                    <a:gd name="connsiteY57" fmla="*/ 3552825 h 4429225"/>
                    <a:gd name="connsiteX58" fmla="*/ 440077 w 4519987"/>
                    <a:gd name="connsiteY58" fmla="*/ 3495675 h 4429225"/>
                    <a:gd name="connsiteX59" fmla="*/ 411502 w 4519987"/>
                    <a:gd name="connsiteY59" fmla="*/ 3448050 h 4429225"/>
                    <a:gd name="connsiteX60" fmla="*/ 278152 w 4519987"/>
                    <a:gd name="connsiteY60" fmla="*/ 3257550 h 4429225"/>
                    <a:gd name="connsiteX61" fmla="*/ 249577 w 4519987"/>
                    <a:gd name="connsiteY61" fmla="*/ 3200400 h 4429225"/>
                    <a:gd name="connsiteX62" fmla="*/ 240052 w 4519987"/>
                    <a:gd name="connsiteY62" fmla="*/ 3162300 h 4429225"/>
                    <a:gd name="connsiteX63" fmla="*/ 221002 w 4519987"/>
                    <a:gd name="connsiteY63" fmla="*/ 3105150 h 4429225"/>
                    <a:gd name="connsiteX64" fmla="*/ 173377 w 4519987"/>
                    <a:gd name="connsiteY64" fmla="*/ 3019425 h 4429225"/>
                    <a:gd name="connsiteX65" fmla="*/ 144802 w 4519987"/>
                    <a:gd name="connsiteY65" fmla="*/ 2924175 h 4429225"/>
                    <a:gd name="connsiteX66" fmla="*/ 68602 w 4519987"/>
                    <a:gd name="connsiteY66" fmla="*/ 2724150 h 4429225"/>
                    <a:gd name="connsiteX67" fmla="*/ 49552 w 4519987"/>
                    <a:gd name="connsiteY67" fmla="*/ 2638425 h 4429225"/>
                    <a:gd name="connsiteX68" fmla="*/ 40027 w 4519987"/>
                    <a:gd name="connsiteY68" fmla="*/ 2562225 h 4429225"/>
                    <a:gd name="connsiteX69" fmla="*/ 30502 w 4519987"/>
                    <a:gd name="connsiteY69" fmla="*/ 2514600 h 4429225"/>
                    <a:gd name="connsiteX70" fmla="*/ 11452 w 4519987"/>
                    <a:gd name="connsiteY70" fmla="*/ 2400300 h 4429225"/>
                    <a:gd name="connsiteX71" fmla="*/ 20977 w 4519987"/>
                    <a:gd name="connsiteY71" fmla="*/ 1905000 h 4429225"/>
                    <a:gd name="connsiteX72" fmla="*/ 30502 w 4519987"/>
                    <a:gd name="connsiteY72" fmla="*/ 1838325 h 4429225"/>
                    <a:gd name="connsiteX73" fmla="*/ 49552 w 4519987"/>
                    <a:gd name="connsiteY73" fmla="*/ 1781175 h 4429225"/>
                    <a:gd name="connsiteX74" fmla="*/ 59077 w 4519987"/>
                    <a:gd name="connsiteY74" fmla="*/ 1743075 h 4429225"/>
                    <a:gd name="connsiteX75" fmla="*/ 78127 w 4519987"/>
                    <a:gd name="connsiteY75" fmla="*/ 1685925 h 4429225"/>
                    <a:gd name="connsiteX76" fmla="*/ 87652 w 4519987"/>
                    <a:gd name="connsiteY76" fmla="*/ 1638300 h 4429225"/>
                    <a:gd name="connsiteX77" fmla="*/ 106702 w 4519987"/>
                    <a:gd name="connsiteY77" fmla="*/ 1590675 h 4429225"/>
                    <a:gd name="connsiteX78" fmla="*/ 135277 w 4519987"/>
                    <a:gd name="connsiteY78" fmla="*/ 1504950 h 4429225"/>
                    <a:gd name="connsiteX79" fmla="*/ 154327 w 4519987"/>
                    <a:gd name="connsiteY79" fmla="*/ 1419225 h 4429225"/>
                    <a:gd name="connsiteX80" fmla="*/ 230527 w 4519987"/>
                    <a:gd name="connsiteY80" fmla="*/ 1276350 h 4429225"/>
                    <a:gd name="connsiteX81" fmla="*/ 240052 w 4519987"/>
                    <a:gd name="connsiteY81" fmla="*/ 1247775 h 4429225"/>
                    <a:gd name="connsiteX82" fmla="*/ 268627 w 4519987"/>
                    <a:gd name="connsiteY82" fmla="*/ 1200150 h 4429225"/>
                    <a:gd name="connsiteX83" fmla="*/ 287677 w 4519987"/>
                    <a:gd name="connsiteY83" fmla="*/ 1152525 h 4429225"/>
                    <a:gd name="connsiteX84" fmla="*/ 316252 w 4519987"/>
                    <a:gd name="connsiteY84" fmla="*/ 1114425 h 4429225"/>
                    <a:gd name="connsiteX85" fmla="*/ 363877 w 4519987"/>
                    <a:gd name="connsiteY85" fmla="*/ 1038225 h 4429225"/>
                    <a:gd name="connsiteX86" fmla="*/ 382927 w 4519987"/>
                    <a:gd name="connsiteY86" fmla="*/ 1009650 h 4429225"/>
                    <a:gd name="connsiteX87" fmla="*/ 440077 w 4519987"/>
                    <a:gd name="connsiteY87" fmla="*/ 904875 h 4429225"/>
                    <a:gd name="connsiteX88" fmla="*/ 478177 w 4519987"/>
                    <a:gd name="connsiteY88" fmla="*/ 857250 h 4429225"/>
                    <a:gd name="connsiteX89" fmla="*/ 497227 w 4519987"/>
                    <a:gd name="connsiteY89" fmla="*/ 828675 h 4429225"/>
                    <a:gd name="connsiteX90" fmla="*/ 535327 w 4519987"/>
                    <a:gd name="connsiteY90" fmla="*/ 800100 h 4429225"/>
                    <a:gd name="connsiteX91" fmla="*/ 602002 w 4519987"/>
                    <a:gd name="connsiteY91" fmla="*/ 733425 h 4429225"/>
                    <a:gd name="connsiteX92" fmla="*/ 668677 w 4519987"/>
                    <a:gd name="connsiteY92" fmla="*/ 676275 h 4429225"/>
                    <a:gd name="connsiteX93" fmla="*/ 697252 w 4519987"/>
                    <a:gd name="connsiteY93" fmla="*/ 657225 h 4429225"/>
                    <a:gd name="connsiteX94" fmla="*/ 840127 w 4519987"/>
                    <a:gd name="connsiteY94" fmla="*/ 533400 h 4429225"/>
                    <a:gd name="connsiteX95" fmla="*/ 887752 w 4519987"/>
                    <a:gd name="connsiteY95" fmla="*/ 504825 h 4429225"/>
                    <a:gd name="connsiteX96" fmla="*/ 1167152 w 4519987"/>
                    <a:gd name="connsiteY96" fmla="*/ 311150 h 4429225"/>
                    <a:gd name="connsiteX97" fmla="*/ 1268752 w 4519987"/>
                    <a:gd name="connsiteY97" fmla="*/ 285750 h 4429225"/>
                    <a:gd name="connsiteX98" fmla="*/ 1411627 w 4519987"/>
                    <a:gd name="connsiteY98" fmla="*/ 190500 h 4429225"/>
                    <a:gd name="connsiteX99" fmla="*/ 1449727 w 4519987"/>
                    <a:gd name="connsiteY99" fmla="*/ 161925 h 4429225"/>
                    <a:gd name="connsiteX100" fmla="*/ 1525927 w 4519987"/>
                    <a:gd name="connsiteY100" fmla="*/ 152400 h 4429225"/>
                    <a:gd name="connsiteX101" fmla="*/ 1583077 w 4519987"/>
                    <a:gd name="connsiteY101" fmla="*/ 142875 h 4429225"/>
                    <a:gd name="connsiteX102" fmla="*/ 1716427 w 4519987"/>
                    <a:gd name="connsiteY102" fmla="*/ 123825 h 4429225"/>
                    <a:gd name="connsiteX103" fmla="*/ 1811677 w 4519987"/>
                    <a:gd name="connsiteY103" fmla="*/ 114300 h 4429225"/>
                    <a:gd name="connsiteX104" fmla="*/ 1859302 w 4519987"/>
                    <a:gd name="connsiteY104" fmla="*/ 104775 h 4429225"/>
                    <a:gd name="connsiteX105" fmla="*/ 1916452 w 4519987"/>
                    <a:gd name="connsiteY105" fmla="*/ 95250 h 4429225"/>
                    <a:gd name="connsiteX106" fmla="*/ 2030752 w 4519987"/>
                    <a:gd name="connsiteY106" fmla="*/ 66675 h 4429225"/>
                    <a:gd name="connsiteX107" fmla="*/ 2097427 w 4519987"/>
                    <a:gd name="connsiteY107" fmla="*/ 47625 h 4429225"/>
                    <a:gd name="connsiteX108" fmla="*/ 2164102 w 4519987"/>
                    <a:gd name="connsiteY108" fmla="*/ 38100 h 4429225"/>
                    <a:gd name="connsiteX109" fmla="*/ 2392702 w 4519987"/>
                    <a:gd name="connsiteY10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725827 w 4519987"/>
                    <a:gd name="connsiteY50" fmla="*/ 3876675 h 4429225"/>
                    <a:gd name="connsiteX51" fmla="*/ 697252 w 4519987"/>
                    <a:gd name="connsiteY51" fmla="*/ 3838575 h 4429225"/>
                    <a:gd name="connsiteX52" fmla="*/ 640102 w 4519987"/>
                    <a:gd name="connsiteY52" fmla="*/ 3781425 h 4429225"/>
                    <a:gd name="connsiteX53" fmla="*/ 611527 w 4519987"/>
                    <a:gd name="connsiteY53" fmla="*/ 3733800 h 4429225"/>
                    <a:gd name="connsiteX54" fmla="*/ 554377 w 4519987"/>
                    <a:gd name="connsiteY54" fmla="*/ 3657600 h 4429225"/>
                    <a:gd name="connsiteX55" fmla="*/ 525802 w 4519987"/>
                    <a:gd name="connsiteY55" fmla="*/ 3609975 h 4429225"/>
                    <a:gd name="connsiteX56" fmla="*/ 497227 w 4519987"/>
                    <a:gd name="connsiteY56" fmla="*/ 3552825 h 4429225"/>
                    <a:gd name="connsiteX57" fmla="*/ 440077 w 4519987"/>
                    <a:gd name="connsiteY57" fmla="*/ 3495675 h 4429225"/>
                    <a:gd name="connsiteX58" fmla="*/ 411502 w 4519987"/>
                    <a:gd name="connsiteY58" fmla="*/ 3448050 h 4429225"/>
                    <a:gd name="connsiteX59" fmla="*/ 278152 w 4519987"/>
                    <a:gd name="connsiteY59" fmla="*/ 3257550 h 4429225"/>
                    <a:gd name="connsiteX60" fmla="*/ 249577 w 4519987"/>
                    <a:gd name="connsiteY60" fmla="*/ 3200400 h 4429225"/>
                    <a:gd name="connsiteX61" fmla="*/ 240052 w 4519987"/>
                    <a:gd name="connsiteY61" fmla="*/ 3162300 h 4429225"/>
                    <a:gd name="connsiteX62" fmla="*/ 221002 w 4519987"/>
                    <a:gd name="connsiteY62" fmla="*/ 3105150 h 4429225"/>
                    <a:gd name="connsiteX63" fmla="*/ 173377 w 4519987"/>
                    <a:gd name="connsiteY63" fmla="*/ 3019425 h 4429225"/>
                    <a:gd name="connsiteX64" fmla="*/ 144802 w 4519987"/>
                    <a:gd name="connsiteY64" fmla="*/ 2924175 h 4429225"/>
                    <a:gd name="connsiteX65" fmla="*/ 68602 w 4519987"/>
                    <a:gd name="connsiteY65" fmla="*/ 2724150 h 4429225"/>
                    <a:gd name="connsiteX66" fmla="*/ 49552 w 4519987"/>
                    <a:gd name="connsiteY66" fmla="*/ 2638425 h 4429225"/>
                    <a:gd name="connsiteX67" fmla="*/ 40027 w 4519987"/>
                    <a:gd name="connsiteY67" fmla="*/ 2562225 h 4429225"/>
                    <a:gd name="connsiteX68" fmla="*/ 30502 w 4519987"/>
                    <a:gd name="connsiteY68" fmla="*/ 2514600 h 4429225"/>
                    <a:gd name="connsiteX69" fmla="*/ 11452 w 4519987"/>
                    <a:gd name="connsiteY69" fmla="*/ 2400300 h 4429225"/>
                    <a:gd name="connsiteX70" fmla="*/ 20977 w 4519987"/>
                    <a:gd name="connsiteY70" fmla="*/ 1905000 h 4429225"/>
                    <a:gd name="connsiteX71" fmla="*/ 30502 w 4519987"/>
                    <a:gd name="connsiteY71" fmla="*/ 1838325 h 4429225"/>
                    <a:gd name="connsiteX72" fmla="*/ 49552 w 4519987"/>
                    <a:gd name="connsiteY72" fmla="*/ 1781175 h 4429225"/>
                    <a:gd name="connsiteX73" fmla="*/ 59077 w 4519987"/>
                    <a:gd name="connsiteY73" fmla="*/ 1743075 h 4429225"/>
                    <a:gd name="connsiteX74" fmla="*/ 78127 w 4519987"/>
                    <a:gd name="connsiteY74" fmla="*/ 1685925 h 4429225"/>
                    <a:gd name="connsiteX75" fmla="*/ 87652 w 4519987"/>
                    <a:gd name="connsiteY75" fmla="*/ 1638300 h 4429225"/>
                    <a:gd name="connsiteX76" fmla="*/ 106702 w 4519987"/>
                    <a:gd name="connsiteY76" fmla="*/ 1590675 h 4429225"/>
                    <a:gd name="connsiteX77" fmla="*/ 135277 w 4519987"/>
                    <a:gd name="connsiteY77" fmla="*/ 1504950 h 4429225"/>
                    <a:gd name="connsiteX78" fmla="*/ 154327 w 4519987"/>
                    <a:gd name="connsiteY78" fmla="*/ 1419225 h 4429225"/>
                    <a:gd name="connsiteX79" fmla="*/ 230527 w 4519987"/>
                    <a:gd name="connsiteY79" fmla="*/ 1276350 h 4429225"/>
                    <a:gd name="connsiteX80" fmla="*/ 240052 w 4519987"/>
                    <a:gd name="connsiteY80" fmla="*/ 1247775 h 4429225"/>
                    <a:gd name="connsiteX81" fmla="*/ 268627 w 4519987"/>
                    <a:gd name="connsiteY81" fmla="*/ 1200150 h 4429225"/>
                    <a:gd name="connsiteX82" fmla="*/ 287677 w 4519987"/>
                    <a:gd name="connsiteY82" fmla="*/ 1152525 h 4429225"/>
                    <a:gd name="connsiteX83" fmla="*/ 316252 w 4519987"/>
                    <a:gd name="connsiteY83" fmla="*/ 1114425 h 4429225"/>
                    <a:gd name="connsiteX84" fmla="*/ 363877 w 4519987"/>
                    <a:gd name="connsiteY84" fmla="*/ 1038225 h 4429225"/>
                    <a:gd name="connsiteX85" fmla="*/ 382927 w 4519987"/>
                    <a:gd name="connsiteY85" fmla="*/ 1009650 h 4429225"/>
                    <a:gd name="connsiteX86" fmla="*/ 440077 w 4519987"/>
                    <a:gd name="connsiteY86" fmla="*/ 904875 h 4429225"/>
                    <a:gd name="connsiteX87" fmla="*/ 478177 w 4519987"/>
                    <a:gd name="connsiteY87" fmla="*/ 857250 h 4429225"/>
                    <a:gd name="connsiteX88" fmla="*/ 497227 w 4519987"/>
                    <a:gd name="connsiteY88" fmla="*/ 828675 h 4429225"/>
                    <a:gd name="connsiteX89" fmla="*/ 535327 w 4519987"/>
                    <a:gd name="connsiteY89" fmla="*/ 800100 h 4429225"/>
                    <a:gd name="connsiteX90" fmla="*/ 602002 w 4519987"/>
                    <a:gd name="connsiteY90" fmla="*/ 733425 h 4429225"/>
                    <a:gd name="connsiteX91" fmla="*/ 668677 w 4519987"/>
                    <a:gd name="connsiteY91" fmla="*/ 676275 h 4429225"/>
                    <a:gd name="connsiteX92" fmla="*/ 697252 w 4519987"/>
                    <a:gd name="connsiteY92" fmla="*/ 657225 h 4429225"/>
                    <a:gd name="connsiteX93" fmla="*/ 840127 w 4519987"/>
                    <a:gd name="connsiteY93" fmla="*/ 533400 h 4429225"/>
                    <a:gd name="connsiteX94" fmla="*/ 887752 w 4519987"/>
                    <a:gd name="connsiteY94" fmla="*/ 504825 h 4429225"/>
                    <a:gd name="connsiteX95" fmla="*/ 1167152 w 4519987"/>
                    <a:gd name="connsiteY95" fmla="*/ 311150 h 4429225"/>
                    <a:gd name="connsiteX96" fmla="*/ 1268752 w 4519987"/>
                    <a:gd name="connsiteY96" fmla="*/ 285750 h 4429225"/>
                    <a:gd name="connsiteX97" fmla="*/ 1411627 w 4519987"/>
                    <a:gd name="connsiteY97" fmla="*/ 190500 h 4429225"/>
                    <a:gd name="connsiteX98" fmla="*/ 1449727 w 4519987"/>
                    <a:gd name="connsiteY98" fmla="*/ 161925 h 4429225"/>
                    <a:gd name="connsiteX99" fmla="*/ 1525927 w 4519987"/>
                    <a:gd name="connsiteY99" fmla="*/ 152400 h 4429225"/>
                    <a:gd name="connsiteX100" fmla="*/ 1583077 w 4519987"/>
                    <a:gd name="connsiteY100" fmla="*/ 142875 h 4429225"/>
                    <a:gd name="connsiteX101" fmla="*/ 1716427 w 4519987"/>
                    <a:gd name="connsiteY101" fmla="*/ 123825 h 4429225"/>
                    <a:gd name="connsiteX102" fmla="*/ 1811677 w 4519987"/>
                    <a:gd name="connsiteY102" fmla="*/ 114300 h 4429225"/>
                    <a:gd name="connsiteX103" fmla="*/ 1859302 w 4519987"/>
                    <a:gd name="connsiteY103" fmla="*/ 104775 h 4429225"/>
                    <a:gd name="connsiteX104" fmla="*/ 1916452 w 4519987"/>
                    <a:gd name="connsiteY104" fmla="*/ 95250 h 4429225"/>
                    <a:gd name="connsiteX105" fmla="*/ 2030752 w 4519987"/>
                    <a:gd name="connsiteY105" fmla="*/ 66675 h 4429225"/>
                    <a:gd name="connsiteX106" fmla="*/ 2097427 w 4519987"/>
                    <a:gd name="connsiteY106" fmla="*/ 47625 h 4429225"/>
                    <a:gd name="connsiteX107" fmla="*/ 2164102 w 4519987"/>
                    <a:gd name="connsiteY107" fmla="*/ 38100 h 4429225"/>
                    <a:gd name="connsiteX108" fmla="*/ 2392702 w 4519987"/>
                    <a:gd name="connsiteY10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40102 w 4519987"/>
                    <a:gd name="connsiteY51" fmla="*/ 3781425 h 4429225"/>
                    <a:gd name="connsiteX52" fmla="*/ 611527 w 4519987"/>
                    <a:gd name="connsiteY52" fmla="*/ 3733800 h 4429225"/>
                    <a:gd name="connsiteX53" fmla="*/ 554377 w 4519987"/>
                    <a:gd name="connsiteY53" fmla="*/ 3657600 h 4429225"/>
                    <a:gd name="connsiteX54" fmla="*/ 525802 w 4519987"/>
                    <a:gd name="connsiteY54" fmla="*/ 3609975 h 4429225"/>
                    <a:gd name="connsiteX55" fmla="*/ 497227 w 4519987"/>
                    <a:gd name="connsiteY55" fmla="*/ 3552825 h 4429225"/>
                    <a:gd name="connsiteX56" fmla="*/ 440077 w 4519987"/>
                    <a:gd name="connsiteY56" fmla="*/ 3495675 h 4429225"/>
                    <a:gd name="connsiteX57" fmla="*/ 411502 w 4519987"/>
                    <a:gd name="connsiteY57" fmla="*/ 3448050 h 4429225"/>
                    <a:gd name="connsiteX58" fmla="*/ 278152 w 4519987"/>
                    <a:gd name="connsiteY58" fmla="*/ 3257550 h 4429225"/>
                    <a:gd name="connsiteX59" fmla="*/ 249577 w 4519987"/>
                    <a:gd name="connsiteY59" fmla="*/ 3200400 h 4429225"/>
                    <a:gd name="connsiteX60" fmla="*/ 240052 w 4519987"/>
                    <a:gd name="connsiteY60" fmla="*/ 3162300 h 4429225"/>
                    <a:gd name="connsiteX61" fmla="*/ 221002 w 4519987"/>
                    <a:gd name="connsiteY61" fmla="*/ 3105150 h 4429225"/>
                    <a:gd name="connsiteX62" fmla="*/ 173377 w 4519987"/>
                    <a:gd name="connsiteY62" fmla="*/ 3019425 h 4429225"/>
                    <a:gd name="connsiteX63" fmla="*/ 144802 w 4519987"/>
                    <a:gd name="connsiteY63" fmla="*/ 2924175 h 4429225"/>
                    <a:gd name="connsiteX64" fmla="*/ 68602 w 4519987"/>
                    <a:gd name="connsiteY64" fmla="*/ 2724150 h 4429225"/>
                    <a:gd name="connsiteX65" fmla="*/ 49552 w 4519987"/>
                    <a:gd name="connsiteY65" fmla="*/ 2638425 h 4429225"/>
                    <a:gd name="connsiteX66" fmla="*/ 40027 w 4519987"/>
                    <a:gd name="connsiteY66" fmla="*/ 2562225 h 4429225"/>
                    <a:gd name="connsiteX67" fmla="*/ 30502 w 4519987"/>
                    <a:gd name="connsiteY67" fmla="*/ 2514600 h 4429225"/>
                    <a:gd name="connsiteX68" fmla="*/ 11452 w 4519987"/>
                    <a:gd name="connsiteY68" fmla="*/ 2400300 h 4429225"/>
                    <a:gd name="connsiteX69" fmla="*/ 20977 w 4519987"/>
                    <a:gd name="connsiteY69" fmla="*/ 1905000 h 4429225"/>
                    <a:gd name="connsiteX70" fmla="*/ 30502 w 4519987"/>
                    <a:gd name="connsiteY70" fmla="*/ 1838325 h 4429225"/>
                    <a:gd name="connsiteX71" fmla="*/ 49552 w 4519987"/>
                    <a:gd name="connsiteY71" fmla="*/ 1781175 h 4429225"/>
                    <a:gd name="connsiteX72" fmla="*/ 59077 w 4519987"/>
                    <a:gd name="connsiteY72" fmla="*/ 1743075 h 4429225"/>
                    <a:gd name="connsiteX73" fmla="*/ 78127 w 4519987"/>
                    <a:gd name="connsiteY73" fmla="*/ 1685925 h 4429225"/>
                    <a:gd name="connsiteX74" fmla="*/ 87652 w 4519987"/>
                    <a:gd name="connsiteY74" fmla="*/ 1638300 h 4429225"/>
                    <a:gd name="connsiteX75" fmla="*/ 106702 w 4519987"/>
                    <a:gd name="connsiteY75" fmla="*/ 1590675 h 4429225"/>
                    <a:gd name="connsiteX76" fmla="*/ 135277 w 4519987"/>
                    <a:gd name="connsiteY76" fmla="*/ 1504950 h 4429225"/>
                    <a:gd name="connsiteX77" fmla="*/ 154327 w 4519987"/>
                    <a:gd name="connsiteY77" fmla="*/ 1419225 h 4429225"/>
                    <a:gd name="connsiteX78" fmla="*/ 230527 w 4519987"/>
                    <a:gd name="connsiteY78" fmla="*/ 1276350 h 4429225"/>
                    <a:gd name="connsiteX79" fmla="*/ 240052 w 4519987"/>
                    <a:gd name="connsiteY79" fmla="*/ 1247775 h 4429225"/>
                    <a:gd name="connsiteX80" fmla="*/ 268627 w 4519987"/>
                    <a:gd name="connsiteY80" fmla="*/ 1200150 h 4429225"/>
                    <a:gd name="connsiteX81" fmla="*/ 287677 w 4519987"/>
                    <a:gd name="connsiteY81" fmla="*/ 1152525 h 4429225"/>
                    <a:gd name="connsiteX82" fmla="*/ 316252 w 4519987"/>
                    <a:gd name="connsiteY82" fmla="*/ 1114425 h 4429225"/>
                    <a:gd name="connsiteX83" fmla="*/ 363877 w 4519987"/>
                    <a:gd name="connsiteY83" fmla="*/ 1038225 h 4429225"/>
                    <a:gd name="connsiteX84" fmla="*/ 382927 w 4519987"/>
                    <a:gd name="connsiteY84" fmla="*/ 1009650 h 4429225"/>
                    <a:gd name="connsiteX85" fmla="*/ 440077 w 4519987"/>
                    <a:gd name="connsiteY85" fmla="*/ 904875 h 4429225"/>
                    <a:gd name="connsiteX86" fmla="*/ 478177 w 4519987"/>
                    <a:gd name="connsiteY86" fmla="*/ 857250 h 4429225"/>
                    <a:gd name="connsiteX87" fmla="*/ 497227 w 4519987"/>
                    <a:gd name="connsiteY87" fmla="*/ 828675 h 4429225"/>
                    <a:gd name="connsiteX88" fmla="*/ 535327 w 4519987"/>
                    <a:gd name="connsiteY88" fmla="*/ 800100 h 4429225"/>
                    <a:gd name="connsiteX89" fmla="*/ 602002 w 4519987"/>
                    <a:gd name="connsiteY89" fmla="*/ 733425 h 4429225"/>
                    <a:gd name="connsiteX90" fmla="*/ 668677 w 4519987"/>
                    <a:gd name="connsiteY90" fmla="*/ 676275 h 4429225"/>
                    <a:gd name="connsiteX91" fmla="*/ 697252 w 4519987"/>
                    <a:gd name="connsiteY91" fmla="*/ 657225 h 4429225"/>
                    <a:gd name="connsiteX92" fmla="*/ 840127 w 4519987"/>
                    <a:gd name="connsiteY92" fmla="*/ 533400 h 4429225"/>
                    <a:gd name="connsiteX93" fmla="*/ 887752 w 4519987"/>
                    <a:gd name="connsiteY93" fmla="*/ 504825 h 4429225"/>
                    <a:gd name="connsiteX94" fmla="*/ 1167152 w 4519987"/>
                    <a:gd name="connsiteY94" fmla="*/ 311150 h 4429225"/>
                    <a:gd name="connsiteX95" fmla="*/ 1268752 w 4519987"/>
                    <a:gd name="connsiteY95" fmla="*/ 285750 h 4429225"/>
                    <a:gd name="connsiteX96" fmla="*/ 1411627 w 4519987"/>
                    <a:gd name="connsiteY96" fmla="*/ 190500 h 4429225"/>
                    <a:gd name="connsiteX97" fmla="*/ 1449727 w 4519987"/>
                    <a:gd name="connsiteY97" fmla="*/ 161925 h 4429225"/>
                    <a:gd name="connsiteX98" fmla="*/ 1525927 w 4519987"/>
                    <a:gd name="connsiteY98" fmla="*/ 152400 h 4429225"/>
                    <a:gd name="connsiteX99" fmla="*/ 1583077 w 4519987"/>
                    <a:gd name="connsiteY99" fmla="*/ 142875 h 4429225"/>
                    <a:gd name="connsiteX100" fmla="*/ 1716427 w 4519987"/>
                    <a:gd name="connsiteY100" fmla="*/ 123825 h 4429225"/>
                    <a:gd name="connsiteX101" fmla="*/ 1811677 w 4519987"/>
                    <a:gd name="connsiteY101" fmla="*/ 114300 h 4429225"/>
                    <a:gd name="connsiteX102" fmla="*/ 1859302 w 4519987"/>
                    <a:gd name="connsiteY102" fmla="*/ 104775 h 4429225"/>
                    <a:gd name="connsiteX103" fmla="*/ 1916452 w 4519987"/>
                    <a:gd name="connsiteY103" fmla="*/ 95250 h 4429225"/>
                    <a:gd name="connsiteX104" fmla="*/ 2030752 w 4519987"/>
                    <a:gd name="connsiteY104" fmla="*/ 66675 h 4429225"/>
                    <a:gd name="connsiteX105" fmla="*/ 2097427 w 4519987"/>
                    <a:gd name="connsiteY105" fmla="*/ 47625 h 4429225"/>
                    <a:gd name="connsiteX106" fmla="*/ 2164102 w 4519987"/>
                    <a:gd name="connsiteY106" fmla="*/ 38100 h 4429225"/>
                    <a:gd name="connsiteX107" fmla="*/ 2392702 w 4519987"/>
                    <a:gd name="connsiteY10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11527 w 4519987"/>
                    <a:gd name="connsiteY51" fmla="*/ 3733800 h 4429225"/>
                    <a:gd name="connsiteX52" fmla="*/ 554377 w 4519987"/>
                    <a:gd name="connsiteY52" fmla="*/ 3657600 h 4429225"/>
                    <a:gd name="connsiteX53" fmla="*/ 525802 w 4519987"/>
                    <a:gd name="connsiteY53" fmla="*/ 3609975 h 4429225"/>
                    <a:gd name="connsiteX54" fmla="*/ 497227 w 4519987"/>
                    <a:gd name="connsiteY54" fmla="*/ 3552825 h 4429225"/>
                    <a:gd name="connsiteX55" fmla="*/ 440077 w 4519987"/>
                    <a:gd name="connsiteY55" fmla="*/ 3495675 h 4429225"/>
                    <a:gd name="connsiteX56" fmla="*/ 411502 w 4519987"/>
                    <a:gd name="connsiteY56" fmla="*/ 3448050 h 4429225"/>
                    <a:gd name="connsiteX57" fmla="*/ 278152 w 4519987"/>
                    <a:gd name="connsiteY57" fmla="*/ 3257550 h 4429225"/>
                    <a:gd name="connsiteX58" fmla="*/ 249577 w 4519987"/>
                    <a:gd name="connsiteY58" fmla="*/ 3200400 h 4429225"/>
                    <a:gd name="connsiteX59" fmla="*/ 240052 w 4519987"/>
                    <a:gd name="connsiteY59" fmla="*/ 3162300 h 4429225"/>
                    <a:gd name="connsiteX60" fmla="*/ 221002 w 4519987"/>
                    <a:gd name="connsiteY60" fmla="*/ 3105150 h 4429225"/>
                    <a:gd name="connsiteX61" fmla="*/ 173377 w 4519987"/>
                    <a:gd name="connsiteY61" fmla="*/ 3019425 h 4429225"/>
                    <a:gd name="connsiteX62" fmla="*/ 144802 w 4519987"/>
                    <a:gd name="connsiteY62" fmla="*/ 2924175 h 4429225"/>
                    <a:gd name="connsiteX63" fmla="*/ 68602 w 4519987"/>
                    <a:gd name="connsiteY63" fmla="*/ 2724150 h 4429225"/>
                    <a:gd name="connsiteX64" fmla="*/ 49552 w 4519987"/>
                    <a:gd name="connsiteY64" fmla="*/ 2638425 h 4429225"/>
                    <a:gd name="connsiteX65" fmla="*/ 40027 w 4519987"/>
                    <a:gd name="connsiteY65" fmla="*/ 2562225 h 4429225"/>
                    <a:gd name="connsiteX66" fmla="*/ 30502 w 4519987"/>
                    <a:gd name="connsiteY66" fmla="*/ 2514600 h 4429225"/>
                    <a:gd name="connsiteX67" fmla="*/ 11452 w 4519987"/>
                    <a:gd name="connsiteY67" fmla="*/ 2400300 h 4429225"/>
                    <a:gd name="connsiteX68" fmla="*/ 20977 w 4519987"/>
                    <a:gd name="connsiteY68" fmla="*/ 1905000 h 4429225"/>
                    <a:gd name="connsiteX69" fmla="*/ 30502 w 4519987"/>
                    <a:gd name="connsiteY69" fmla="*/ 1838325 h 4429225"/>
                    <a:gd name="connsiteX70" fmla="*/ 49552 w 4519987"/>
                    <a:gd name="connsiteY70" fmla="*/ 1781175 h 4429225"/>
                    <a:gd name="connsiteX71" fmla="*/ 59077 w 4519987"/>
                    <a:gd name="connsiteY71" fmla="*/ 1743075 h 4429225"/>
                    <a:gd name="connsiteX72" fmla="*/ 78127 w 4519987"/>
                    <a:gd name="connsiteY72" fmla="*/ 1685925 h 4429225"/>
                    <a:gd name="connsiteX73" fmla="*/ 87652 w 4519987"/>
                    <a:gd name="connsiteY73" fmla="*/ 1638300 h 4429225"/>
                    <a:gd name="connsiteX74" fmla="*/ 106702 w 4519987"/>
                    <a:gd name="connsiteY74" fmla="*/ 1590675 h 4429225"/>
                    <a:gd name="connsiteX75" fmla="*/ 135277 w 4519987"/>
                    <a:gd name="connsiteY75" fmla="*/ 1504950 h 4429225"/>
                    <a:gd name="connsiteX76" fmla="*/ 154327 w 4519987"/>
                    <a:gd name="connsiteY76" fmla="*/ 1419225 h 4429225"/>
                    <a:gd name="connsiteX77" fmla="*/ 230527 w 4519987"/>
                    <a:gd name="connsiteY77" fmla="*/ 1276350 h 4429225"/>
                    <a:gd name="connsiteX78" fmla="*/ 240052 w 4519987"/>
                    <a:gd name="connsiteY78" fmla="*/ 1247775 h 4429225"/>
                    <a:gd name="connsiteX79" fmla="*/ 268627 w 4519987"/>
                    <a:gd name="connsiteY79" fmla="*/ 1200150 h 4429225"/>
                    <a:gd name="connsiteX80" fmla="*/ 287677 w 4519987"/>
                    <a:gd name="connsiteY80" fmla="*/ 1152525 h 4429225"/>
                    <a:gd name="connsiteX81" fmla="*/ 316252 w 4519987"/>
                    <a:gd name="connsiteY81" fmla="*/ 1114425 h 4429225"/>
                    <a:gd name="connsiteX82" fmla="*/ 363877 w 4519987"/>
                    <a:gd name="connsiteY82" fmla="*/ 1038225 h 4429225"/>
                    <a:gd name="connsiteX83" fmla="*/ 382927 w 4519987"/>
                    <a:gd name="connsiteY83" fmla="*/ 1009650 h 4429225"/>
                    <a:gd name="connsiteX84" fmla="*/ 440077 w 4519987"/>
                    <a:gd name="connsiteY84" fmla="*/ 904875 h 4429225"/>
                    <a:gd name="connsiteX85" fmla="*/ 478177 w 4519987"/>
                    <a:gd name="connsiteY85" fmla="*/ 857250 h 4429225"/>
                    <a:gd name="connsiteX86" fmla="*/ 497227 w 4519987"/>
                    <a:gd name="connsiteY86" fmla="*/ 828675 h 4429225"/>
                    <a:gd name="connsiteX87" fmla="*/ 535327 w 4519987"/>
                    <a:gd name="connsiteY87" fmla="*/ 800100 h 4429225"/>
                    <a:gd name="connsiteX88" fmla="*/ 602002 w 4519987"/>
                    <a:gd name="connsiteY88" fmla="*/ 733425 h 4429225"/>
                    <a:gd name="connsiteX89" fmla="*/ 668677 w 4519987"/>
                    <a:gd name="connsiteY89" fmla="*/ 676275 h 4429225"/>
                    <a:gd name="connsiteX90" fmla="*/ 697252 w 4519987"/>
                    <a:gd name="connsiteY90" fmla="*/ 657225 h 4429225"/>
                    <a:gd name="connsiteX91" fmla="*/ 840127 w 4519987"/>
                    <a:gd name="connsiteY91" fmla="*/ 533400 h 4429225"/>
                    <a:gd name="connsiteX92" fmla="*/ 887752 w 4519987"/>
                    <a:gd name="connsiteY92" fmla="*/ 504825 h 4429225"/>
                    <a:gd name="connsiteX93" fmla="*/ 1167152 w 4519987"/>
                    <a:gd name="connsiteY93" fmla="*/ 311150 h 4429225"/>
                    <a:gd name="connsiteX94" fmla="*/ 1268752 w 4519987"/>
                    <a:gd name="connsiteY94" fmla="*/ 285750 h 4429225"/>
                    <a:gd name="connsiteX95" fmla="*/ 1411627 w 4519987"/>
                    <a:gd name="connsiteY95" fmla="*/ 190500 h 4429225"/>
                    <a:gd name="connsiteX96" fmla="*/ 1449727 w 4519987"/>
                    <a:gd name="connsiteY96" fmla="*/ 161925 h 4429225"/>
                    <a:gd name="connsiteX97" fmla="*/ 1525927 w 4519987"/>
                    <a:gd name="connsiteY97" fmla="*/ 152400 h 4429225"/>
                    <a:gd name="connsiteX98" fmla="*/ 1583077 w 4519987"/>
                    <a:gd name="connsiteY98" fmla="*/ 142875 h 4429225"/>
                    <a:gd name="connsiteX99" fmla="*/ 1716427 w 4519987"/>
                    <a:gd name="connsiteY99" fmla="*/ 123825 h 4429225"/>
                    <a:gd name="connsiteX100" fmla="*/ 1811677 w 4519987"/>
                    <a:gd name="connsiteY100" fmla="*/ 114300 h 4429225"/>
                    <a:gd name="connsiteX101" fmla="*/ 1859302 w 4519987"/>
                    <a:gd name="connsiteY101" fmla="*/ 104775 h 4429225"/>
                    <a:gd name="connsiteX102" fmla="*/ 1916452 w 4519987"/>
                    <a:gd name="connsiteY102" fmla="*/ 95250 h 4429225"/>
                    <a:gd name="connsiteX103" fmla="*/ 2030752 w 4519987"/>
                    <a:gd name="connsiteY103" fmla="*/ 66675 h 4429225"/>
                    <a:gd name="connsiteX104" fmla="*/ 2097427 w 4519987"/>
                    <a:gd name="connsiteY104" fmla="*/ 47625 h 4429225"/>
                    <a:gd name="connsiteX105" fmla="*/ 2164102 w 4519987"/>
                    <a:gd name="connsiteY105" fmla="*/ 38100 h 4429225"/>
                    <a:gd name="connsiteX106" fmla="*/ 2392702 w 4519987"/>
                    <a:gd name="connsiteY10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525802 w 4519987"/>
                    <a:gd name="connsiteY52" fmla="*/ 3609975 h 4429225"/>
                    <a:gd name="connsiteX53" fmla="*/ 497227 w 4519987"/>
                    <a:gd name="connsiteY53" fmla="*/ 3552825 h 4429225"/>
                    <a:gd name="connsiteX54" fmla="*/ 440077 w 4519987"/>
                    <a:gd name="connsiteY54" fmla="*/ 3495675 h 4429225"/>
                    <a:gd name="connsiteX55" fmla="*/ 411502 w 4519987"/>
                    <a:gd name="connsiteY55" fmla="*/ 3448050 h 4429225"/>
                    <a:gd name="connsiteX56" fmla="*/ 278152 w 4519987"/>
                    <a:gd name="connsiteY56" fmla="*/ 3257550 h 4429225"/>
                    <a:gd name="connsiteX57" fmla="*/ 249577 w 4519987"/>
                    <a:gd name="connsiteY57" fmla="*/ 3200400 h 4429225"/>
                    <a:gd name="connsiteX58" fmla="*/ 240052 w 4519987"/>
                    <a:gd name="connsiteY58" fmla="*/ 3162300 h 4429225"/>
                    <a:gd name="connsiteX59" fmla="*/ 221002 w 4519987"/>
                    <a:gd name="connsiteY59" fmla="*/ 3105150 h 4429225"/>
                    <a:gd name="connsiteX60" fmla="*/ 173377 w 4519987"/>
                    <a:gd name="connsiteY60" fmla="*/ 3019425 h 4429225"/>
                    <a:gd name="connsiteX61" fmla="*/ 144802 w 4519987"/>
                    <a:gd name="connsiteY61" fmla="*/ 2924175 h 4429225"/>
                    <a:gd name="connsiteX62" fmla="*/ 68602 w 4519987"/>
                    <a:gd name="connsiteY62" fmla="*/ 2724150 h 4429225"/>
                    <a:gd name="connsiteX63" fmla="*/ 49552 w 4519987"/>
                    <a:gd name="connsiteY63" fmla="*/ 2638425 h 4429225"/>
                    <a:gd name="connsiteX64" fmla="*/ 40027 w 4519987"/>
                    <a:gd name="connsiteY64" fmla="*/ 2562225 h 4429225"/>
                    <a:gd name="connsiteX65" fmla="*/ 30502 w 4519987"/>
                    <a:gd name="connsiteY65" fmla="*/ 2514600 h 4429225"/>
                    <a:gd name="connsiteX66" fmla="*/ 11452 w 4519987"/>
                    <a:gd name="connsiteY66" fmla="*/ 2400300 h 4429225"/>
                    <a:gd name="connsiteX67" fmla="*/ 20977 w 4519987"/>
                    <a:gd name="connsiteY67" fmla="*/ 1905000 h 4429225"/>
                    <a:gd name="connsiteX68" fmla="*/ 30502 w 4519987"/>
                    <a:gd name="connsiteY68" fmla="*/ 1838325 h 4429225"/>
                    <a:gd name="connsiteX69" fmla="*/ 49552 w 4519987"/>
                    <a:gd name="connsiteY69" fmla="*/ 1781175 h 4429225"/>
                    <a:gd name="connsiteX70" fmla="*/ 59077 w 4519987"/>
                    <a:gd name="connsiteY70" fmla="*/ 1743075 h 4429225"/>
                    <a:gd name="connsiteX71" fmla="*/ 78127 w 4519987"/>
                    <a:gd name="connsiteY71" fmla="*/ 1685925 h 4429225"/>
                    <a:gd name="connsiteX72" fmla="*/ 87652 w 4519987"/>
                    <a:gd name="connsiteY72" fmla="*/ 1638300 h 4429225"/>
                    <a:gd name="connsiteX73" fmla="*/ 106702 w 4519987"/>
                    <a:gd name="connsiteY73" fmla="*/ 1590675 h 4429225"/>
                    <a:gd name="connsiteX74" fmla="*/ 135277 w 4519987"/>
                    <a:gd name="connsiteY74" fmla="*/ 1504950 h 4429225"/>
                    <a:gd name="connsiteX75" fmla="*/ 154327 w 4519987"/>
                    <a:gd name="connsiteY75" fmla="*/ 1419225 h 4429225"/>
                    <a:gd name="connsiteX76" fmla="*/ 230527 w 4519987"/>
                    <a:gd name="connsiteY76" fmla="*/ 1276350 h 4429225"/>
                    <a:gd name="connsiteX77" fmla="*/ 240052 w 4519987"/>
                    <a:gd name="connsiteY77" fmla="*/ 1247775 h 4429225"/>
                    <a:gd name="connsiteX78" fmla="*/ 268627 w 4519987"/>
                    <a:gd name="connsiteY78" fmla="*/ 1200150 h 4429225"/>
                    <a:gd name="connsiteX79" fmla="*/ 287677 w 4519987"/>
                    <a:gd name="connsiteY79" fmla="*/ 1152525 h 4429225"/>
                    <a:gd name="connsiteX80" fmla="*/ 316252 w 4519987"/>
                    <a:gd name="connsiteY80" fmla="*/ 1114425 h 4429225"/>
                    <a:gd name="connsiteX81" fmla="*/ 363877 w 4519987"/>
                    <a:gd name="connsiteY81" fmla="*/ 1038225 h 4429225"/>
                    <a:gd name="connsiteX82" fmla="*/ 382927 w 4519987"/>
                    <a:gd name="connsiteY82" fmla="*/ 1009650 h 4429225"/>
                    <a:gd name="connsiteX83" fmla="*/ 440077 w 4519987"/>
                    <a:gd name="connsiteY83" fmla="*/ 904875 h 4429225"/>
                    <a:gd name="connsiteX84" fmla="*/ 478177 w 4519987"/>
                    <a:gd name="connsiteY84" fmla="*/ 857250 h 4429225"/>
                    <a:gd name="connsiteX85" fmla="*/ 497227 w 4519987"/>
                    <a:gd name="connsiteY85" fmla="*/ 828675 h 4429225"/>
                    <a:gd name="connsiteX86" fmla="*/ 535327 w 4519987"/>
                    <a:gd name="connsiteY86" fmla="*/ 800100 h 4429225"/>
                    <a:gd name="connsiteX87" fmla="*/ 602002 w 4519987"/>
                    <a:gd name="connsiteY87" fmla="*/ 733425 h 4429225"/>
                    <a:gd name="connsiteX88" fmla="*/ 668677 w 4519987"/>
                    <a:gd name="connsiteY88" fmla="*/ 676275 h 4429225"/>
                    <a:gd name="connsiteX89" fmla="*/ 697252 w 4519987"/>
                    <a:gd name="connsiteY89" fmla="*/ 657225 h 4429225"/>
                    <a:gd name="connsiteX90" fmla="*/ 840127 w 4519987"/>
                    <a:gd name="connsiteY90" fmla="*/ 533400 h 4429225"/>
                    <a:gd name="connsiteX91" fmla="*/ 887752 w 4519987"/>
                    <a:gd name="connsiteY91" fmla="*/ 504825 h 4429225"/>
                    <a:gd name="connsiteX92" fmla="*/ 1167152 w 4519987"/>
                    <a:gd name="connsiteY92" fmla="*/ 311150 h 4429225"/>
                    <a:gd name="connsiteX93" fmla="*/ 1268752 w 4519987"/>
                    <a:gd name="connsiteY93" fmla="*/ 285750 h 4429225"/>
                    <a:gd name="connsiteX94" fmla="*/ 1411627 w 4519987"/>
                    <a:gd name="connsiteY94" fmla="*/ 190500 h 4429225"/>
                    <a:gd name="connsiteX95" fmla="*/ 1449727 w 4519987"/>
                    <a:gd name="connsiteY95" fmla="*/ 161925 h 4429225"/>
                    <a:gd name="connsiteX96" fmla="*/ 1525927 w 4519987"/>
                    <a:gd name="connsiteY96" fmla="*/ 152400 h 4429225"/>
                    <a:gd name="connsiteX97" fmla="*/ 1583077 w 4519987"/>
                    <a:gd name="connsiteY97" fmla="*/ 142875 h 4429225"/>
                    <a:gd name="connsiteX98" fmla="*/ 1716427 w 4519987"/>
                    <a:gd name="connsiteY98" fmla="*/ 123825 h 4429225"/>
                    <a:gd name="connsiteX99" fmla="*/ 1811677 w 4519987"/>
                    <a:gd name="connsiteY99" fmla="*/ 114300 h 4429225"/>
                    <a:gd name="connsiteX100" fmla="*/ 1859302 w 4519987"/>
                    <a:gd name="connsiteY100" fmla="*/ 104775 h 4429225"/>
                    <a:gd name="connsiteX101" fmla="*/ 1916452 w 4519987"/>
                    <a:gd name="connsiteY101" fmla="*/ 95250 h 4429225"/>
                    <a:gd name="connsiteX102" fmla="*/ 2030752 w 4519987"/>
                    <a:gd name="connsiteY102" fmla="*/ 66675 h 4429225"/>
                    <a:gd name="connsiteX103" fmla="*/ 2097427 w 4519987"/>
                    <a:gd name="connsiteY103" fmla="*/ 47625 h 4429225"/>
                    <a:gd name="connsiteX104" fmla="*/ 2164102 w 4519987"/>
                    <a:gd name="connsiteY104" fmla="*/ 38100 h 4429225"/>
                    <a:gd name="connsiteX105" fmla="*/ 2392702 w 4519987"/>
                    <a:gd name="connsiteY105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411502 w 4519987"/>
                    <a:gd name="connsiteY54" fmla="*/ 3448050 h 4429225"/>
                    <a:gd name="connsiteX55" fmla="*/ 278152 w 4519987"/>
                    <a:gd name="connsiteY55" fmla="*/ 3257550 h 4429225"/>
                    <a:gd name="connsiteX56" fmla="*/ 249577 w 4519987"/>
                    <a:gd name="connsiteY56" fmla="*/ 3200400 h 4429225"/>
                    <a:gd name="connsiteX57" fmla="*/ 240052 w 4519987"/>
                    <a:gd name="connsiteY57" fmla="*/ 3162300 h 4429225"/>
                    <a:gd name="connsiteX58" fmla="*/ 221002 w 4519987"/>
                    <a:gd name="connsiteY58" fmla="*/ 3105150 h 4429225"/>
                    <a:gd name="connsiteX59" fmla="*/ 173377 w 4519987"/>
                    <a:gd name="connsiteY59" fmla="*/ 3019425 h 4429225"/>
                    <a:gd name="connsiteX60" fmla="*/ 144802 w 4519987"/>
                    <a:gd name="connsiteY60" fmla="*/ 2924175 h 4429225"/>
                    <a:gd name="connsiteX61" fmla="*/ 68602 w 4519987"/>
                    <a:gd name="connsiteY61" fmla="*/ 2724150 h 4429225"/>
                    <a:gd name="connsiteX62" fmla="*/ 49552 w 4519987"/>
                    <a:gd name="connsiteY62" fmla="*/ 2638425 h 4429225"/>
                    <a:gd name="connsiteX63" fmla="*/ 40027 w 4519987"/>
                    <a:gd name="connsiteY63" fmla="*/ 2562225 h 4429225"/>
                    <a:gd name="connsiteX64" fmla="*/ 30502 w 4519987"/>
                    <a:gd name="connsiteY64" fmla="*/ 2514600 h 4429225"/>
                    <a:gd name="connsiteX65" fmla="*/ 11452 w 4519987"/>
                    <a:gd name="connsiteY65" fmla="*/ 2400300 h 4429225"/>
                    <a:gd name="connsiteX66" fmla="*/ 20977 w 4519987"/>
                    <a:gd name="connsiteY66" fmla="*/ 1905000 h 4429225"/>
                    <a:gd name="connsiteX67" fmla="*/ 30502 w 4519987"/>
                    <a:gd name="connsiteY67" fmla="*/ 1838325 h 4429225"/>
                    <a:gd name="connsiteX68" fmla="*/ 49552 w 4519987"/>
                    <a:gd name="connsiteY68" fmla="*/ 1781175 h 4429225"/>
                    <a:gd name="connsiteX69" fmla="*/ 59077 w 4519987"/>
                    <a:gd name="connsiteY69" fmla="*/ 1743075 h 4429225"/>
                    <a:gd name="connsiteX70" fmla="*/ 78127 w 4519987"/>
                    <a:gd name="connsiteY70" fmla="*/ 1685925 h 4429225"/>
                    <a:gd name="connsiteX71" fmla="*/ 87652 w 4519987"/>
                    <a:gd name="connsiteY71" fmla="*/ 1638300 h 4429225"/>
                    <a:gd name="connsiteX72" fmla="*/ 106702 w 4519987"/>
                    <a:gd name="connsiteY72" fmla="*/ 1590675 h 4429225"/>
                    <a:gd name="connsiteX73" fmla="*/ 135277 w 4519987"/>
                    <a:gd name="connsiteY73" fmla="*/ 1504950 h 4429225"/>
                    <a:gd name="connsiteX74" fmla="*/ 154327 w 4519987"/>
                    <a:gd name="connsiteY74" fmla="*/ 1419225 h 4429225"/>
                    <a:gd name="connsiteX75" fmla="*/ 230527 w 4519987"/>
                    <a:gd name="connsiteY75" fmla="*/ 1276350 h 4429225"/>
                    <a:gd name="connsiteX76" fmla="*/ 240052 w 4519987"/>
                    <a:gd name="connsiteY76" fmla="*/ 1247775 h 4429225"/>
                    <a:gd name="connsiteX77" fmla="*/ 268627 w 4519987"/>
                    <a:gd name="connsiteY77" fmla="*/ 1200150 h 4429225"/>
                    <a:gd name="connsiteX78" fmla="*/ 287677 w 4519987"/>
                    <a:gd name="connsiteY78" fmla="*/ 1152525 h 4429225"/>
                    <a:gd name="connsiteX79" fmla="*/ 316252 w 4519987"/>
                    <a:gd name="connsiteY79" fmla="*/ 1114425 h 4429225"/>
                    <a:gd name="connsiteX80" fmla="*/ 363877 w 4519987"/>
                    <a:gd name="connsiteY80" fmla="*/ 1038225 h 4429225"/>
                    <a:gd name="connsiteX81" fmla="*/ 382927 w 4519987"/>
                    <a:gd name="connsiteY81" fmla="*/ 1009650 h 4429225"/>
                    <a:gd name="connsiteX82" fmla="*/ 440077 w 4519987"/>
                    <a:gd name="connsiteY82" fmla="*/ 904875 h 4429225"/>
                    <a:gd name="connsiteX83" fmla="*/ 478177 w 4519987"/>
                    <a:gd name="connsiteY83" fmla="*/ 857250 h 4429225"/>
                    <a:gd name="connsiteX84" fmla="*/ 497227 w 4519987"/>
                    <a:gd name="connsiteY84" fmla="*/ 828675 h 4429225"/>
                    <a:gd name="connsiteX85" fmla="*/ 535327 w 4519987"/>
                    <a:gd name="connsiteY85" fmla="*/ 800100 h 4429225"/>
                    <a:gd name="connsiteX86" fmla="*/ 602002 w 4519987"/>
                    <a:gd name="connsiteY86" fmla="*/ 733425 h 4429225"/>
                    <a:gd name="connsiteX87" fmla="*/ 668677 w 4519987"/>
                    <a:gd name="connsiteY87" fmla="*/ 676275 h 4429225"/>
                    <a:gd name="connsiteX88" fmla="*/ 697252 w 4519987"/>
                    <a:gd name="connsiteY88" fmla="*/ 657225 h 4429225"/>
                    <a:gd name="connsiteX89" fmla="*/ 840127 w 4519987"/>
                    <a:gd name="connsiteY89" fmla="*/ 533400 h 4429225"/>
                    <a:gd name="connsiteX90" fmla="*/ 887752 w 4519987"/>
                    <a:gd name="connsiteY90" fmla="*/ 504825 h 4429225"/>
                    <a:gd name="connsiteX91" fmla="*/ 1167152 w 4519987"/>
                    <a:gd name="connsiteY91" fmla="*/ 311150 h 4429225"/>
                    <a:gd name="connsiteX92" fmla="*/ 1268752 w 4519987"/>
                    <a:gd name="connsiteY92" fmla="*/ 285750 h 4429225"/>
                    <a:gd name="connsiteX93" fmla="*/ 1411627 w 4519987"/>
                    <a:gd name="connsiteY93" fmla="*/ 190500 h 4429225"/>
                    <a:gd name="connsiteX94" fmla="*/ 1449727 w 4519987"/>
                    <a:gd name="connsiteY94" fmla="*/ 161925 h 4429225"/>
                    <a:gd name="connsiteX95" fmla="*/ 1525927 w 4519987"/>
                    <a:gd name="connsiteY95" fmla="*/ 152400 h 4429225"/>
                    <a:gd name="connsiteX96" fmla="*/ 1583077 w 4519987"/>
                    <a:gd name="connsiteY96" fmla="*/ 142875 h 4429225"/>
                    <a:gd name="connsiteX97" fmla="*/ 1716427 w 4519987"/>
                    <a:gd name="connsiteY97" fmla="*/ 123825 h 4429225"/>
                    <a:gd name="connsiteX98" fmla="*/ 1811677 w 4519987"/>
                    <a:gd name="connsiteY98" fmla="*/ 114300 h 4429225"/>
                    <a:gd name="connsiteX99" fmla="*/ 1859302 w 4519987"/>
                    <a:gd name="connsiteY99" fmla="*/ 104775 h 4429225"/>
                    <a:gd name="connsiteX100" fmla="*/ 1916452 w 4519987"/>
                    <a:gd name="connsiteY100" fmla="*/ 95250 h 4429225"/>
                    <a:gd name="connsiteX101" fmla="*/ 2030752 w 4519987"/>
                    <a:gd name="connsiteY101" fmla="*/ 66675 h 4429225"/>
                    <a:gd name="connsiteX102" fmla="*/ 2097427 w 4519987"/>
                    <a:gd name="connsiteY102" fmla="*/ 47625 h 4429225"/>
                    <a:gd name="connsiteX103" fmla="*/ 2164102 w 4519987"/>
                    <a:gd name="connsiteY103" fmla="*/ 38100 h 4429225"/>
                    <a:gd name="connsiteX104" fmla="*/ 2392702 w 4519987"/>
                    <a:gd name="connsiteY10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278152 w 4519987"/>
                    <a:gd name="connsiteY54" fmla="*/ 3257550 h 4429225"/>
                    <a:gd name="connsiteX55" fmla="*/ 249577 w 4519987"/>
                    <a:gd name="connsiteY55" fmla="*/ 3200400 h 4429225"/>
                    <a:gd name="connsiteX56" fmla="*/ 240052 w 4519987"/>
                    <a:gd name="connsiteY56" fmla="*/ 3162300 h 4429225"/>
                    <a:gd name="connsiteX57" fmla="*/ 221002 w 4519987"/>
                    <a:gd name="connsiteY57" fmla="*/ 3105150 h 4429225"/>
                    <a:gd name="connsiteX58" fmla="*/ 173377 w 4519987"/>
                    <a:gd name="connsiteY58" fmla="*/ 3019425 h 4429225"/>
                    <a:gd name="connsiteX59" fmla="*/ 144802 w 4519987"/>
                    <a:gd name="connsiteY59" fmla="*/ 2924175 h 4429225"/>
                    <a:gd name="connsiteX60" fmla="*/ 68602 w 4519987"/>
                    <a:gd name="connsiteY60" fmla="*/ 2724150 h 4429225"/>
                    <a:gd name="connsiteX61" fmla="*/ 49552 w 4519987"/>
                    <a:gd name="connsiteY61" fmla="*/ 2638425 h 4429225"/>
                    <a:gd name="connsiteX62" fmla="*/ 40027 w 4519987"/>
                    <a:gd name="connsiteY62" fmla="*/ 2562225 h 4429225"/>
                    <a:gd name="connsiteX63" fmla="*/ 30502 w 4519987"/>
                    <a:gd name="connsiteY63" fmla="*/ 2514600 h 4429225"/>
                    <a:gd name="connsiteX64" fmla="*/ 11452 w 4519987"/>
                    <a:gd name="connsiteY64" fmla="*/ 2400300 h 4429225"/>
                    <a:gd name="connsiteX65" fmla="*/ 20977 w 4519987"/>
                    <a:gd name="connsiteY65" fmla="*/ 1905000 h 4429225"/>
                    <a:gd name="connsiteX66" fmla="*/ 30502 w 4519987"/>
                    <a:gd name="connsiteY66" fmla="*/ 1838325 h 4429225"/>
                    <a:gd name="connsiteX67" fmla="*/ 49552 w 4519987"/>
                    <a:gd name="connsiteY67" fmla="*/ 1781175 h 4429225"/>
                    <a:gd name="connsiteX68" fmla="*/ 59077 w 4519987"/>
                    <a:gd name="connsiteY68" fmla="*/ 1743075 h 4429225"/>
                    <a:gd name="connsiteX69" fmla="*/ 78127 w 4519987"/>
                    <a:gd name="connsiteY69" fmla="*/ 1685925 h 4429225"/>
                    <a:gd name="connsiteX70" fmla="*/ 87652 w 4519987"/>
                    <a:gd name="connsiteY70" fmla="*/ 1638300 h 4429225"/>
                    <a:gd name="connsiteX71" fmla="*/ 106702 w 4519987"/>
                    <a:gd name="connsiteY71" fmla="*/ 1590675 h 4429225"/>
                    <a:gd name="connsiteX72" fmla="*/ 135277 w 4519987"/>
                    <a:gd name="connsiteY72" fmla="*/ 1504950 h 4429225"/>
                    <a:gd name="connsiteX73" fmla="*/ 154327 w 4519987"/>
                    <a:gd name="connsiteY73" fmla="*/ 1419225 h 4429225"/>
                    <a:gd name="connsiteX74" fmla="*/ 230527 w 4519987"/>
                    <a:gd name="connsiteY74" fmla="*/ 1276350 h 4429225"/>
                    <a:gd name="connsiteX75" fmla="*/ 240052 w 4519987"/>
                    <a:gd name="connsiteY75" fmla="*/ 1247775 h 4429225"/>
                    <a:gd name="connsiteX76" fmla="*/ 268627 w 4519987"/>
                    <a:gd name="connsiteY76" fmla="*/ 1200150 h 4429225"/>
                    <a:gd name="connsiteX77" fmla="*/ 287677 w 4519987"/>
                    <a:gd name="connsiteY77" fmla="*/ 1152525 h 4429225"/>
                    <a:gd name="connsiteX78" fmla="*/ 316252 w 4519987"/>
                    <a:gd name="connsiteY78" fmla="*/ 1114425 h 4429225"/>
                    <a:gd name="connsiteX79" fmla="*/ 363877 w 4519987"/>
                    <a:gd name="connsiteY79" fmla="*/ 1038225 h 4429225"/>
                    <a:gd name="connsiteX80" fmla="*/ 382927 w 4519987"/>
                    <a:gd name="connsiteY80" fmla="*/ 1009650 h 4429225"/>
                    <a:gd name="connsiteX81" fmla="*/ 440077 w 4519987"/>
                    <a:gd name="connsiteY81" fmla="*/ 904875 h 4429225"/>
                    <a:gd name="connsiteX82" fmla="*/ 478177 w 4519987"/>
                    <a:gd name="connsiteY82" fmla="*/ 857250 h 4429225"/>
                    <a:gd name="connsiteX83" fmla="*/ 497227 w 4519987"/>
                    <a:gd name="connsiteY83" fmla="*/ 828675 h 4429225"/>
                    <a:gd name="connsiteX84" fmla="*/ 535327 w 4519987"/>
                    <a:gd name="connsiteY84" fmla="*/ 800100 h 4429225"/>
                    <a:gd name="connsiteX85" fmla="*/ 602002 w 4519987"/>
                    <a:gd name="connsiteY85" fmla="*/ 733425 h 4429225"/>
                    <a:gd name="connsiteX86" fmla="*/ 668677 w 4519987"/>
                    <a:gd name="connsiteY86" fmla="*/ 676275 h 4429225"/>
                    <a:gd name="connsiteX87" fmla="*/ 697252 w 4519987"/>
                    <a:gd name="connsiteY87" fmla="*/ 657225 h 4429225"/>
                    <a:gd name="connsiteX88" fmla="*/ 840127 w 4519987"/>
                    <a:gd name="connsiteY88" fmla="*/ 533400 h 4429225"/>
                    <a:gd name="connsiteX89" fmla="*/ 887752 w 4519987"/>
                    <a:gd name="connsiteY89" fmla="*/ 504825 h 4429225"/>
                    <a:gd name="connsiteX90" fmla="*/ 1167152 w 4519987"/>
                    <a:gd name="connsiteY90" fmla="*/ 311150 h 4429225"/>
                    <a:gd name="connsiteX91" fmla="*/ 1268752 w 4519987"/>
                    <a:gd name="connsiteY91" fmla="*/ 285750 h 4429225"/>
                    <a:gd name="connsiteX92" fmla="*/ 1411627 w 4519987"/>
                    <a:gd name="connsiteY92" fmla="*/ 190500 h 4429225"/>
                    <a:gd name="connsiteX93" fmla="*/ 1449727 w 4519987"/>
                    <a:gd name="connsiteY93" fmla="*/ 161925 h 4429225"/>
                    <a:gd name="connsiteX94" fmla="*/ 1525927 w 4519987"/>
                    <a:gd name="connsiteY94" fmla="*/ 152400 h 4429225"/>
                    <a:gd name="connsiteX95" fmla="*/ 1583077 w 4519987"/>
                    <a:gd name="connsiteY95" fmla="*/ 142875 h 4429225"/>
                    <a:gd name="connsiteX96" fmla="*/ 1716427 w 4519987"/>
                    <a:gd name="connsiteY96" fmla="*/ 123825 h 4429225"/>
                    <a:gd name="connsiteX97" fmla="*/ 1811677 w 4519987"/>
                    <a:gd name="connsiteY97" fmla="*/ 114300 h 4429225"/>
                    <a:gd name="connsiteX98" fmla="*/ 1859302 w 4519987"/>
                    <a:gd name="connsiteY98" fmla="*/ 104775 h 4429225"/>
                    <a:gd name="connsiteX99" fmla="*/ 1916452 w 4519987"/>
                    <a:gd name="connsiteY99" fmla="*/ 95250 h 4429225"/>
                    <a:gd name="connsiteX100" fmla="*/ 2030752 w 4519987"/>
                    <a:gd name="connsiteY100" fmla="*/ 66675 h 4429225"/>
                    <a:gd name="connsiteX101" fmla="*/ 2097427 w 4519987"/>
                    <a:gd name="connsiteY101" fmla="*/ 47625 h 4429225"/>
                    <a:gd name="connsiteX102" fmla="*/ 2164102 w 4519987"/>
                    <a:gd name="connsiteY102" fmla="*/ 38100 h 4429225"/>
                    <a:gd name="connsiteX103" fmla="*/ 2392702 w 4519987"/>
                    <a:gd name="connsiteY10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40077 w 4519987"/>
                    <a:gd name="connsiteY52" fmla="*/ 3495675 h 4429225"/>
                    <a:gd name="connsiteX53" fmla="*/ 278152 w 4519987"/>
                    <a:gd name="connsiteY53" fmla="*/ 3257550 h 4429225"/>
                    <a:gd name="connsiteX54" fmla="*/ 249577 w 4519987"/>
                    <a:gd name="connsiteY54" fmla="*/ 3200400 h 4429225"/>
                    <a:gd name="connsiteX55" fmla="*/ 240052 w 4519987"/>
                    <a:gd name="connsiteY55" fmla="*/ 3162300 h 4429225"/>
                    <a:gd name="connsiteX56" fmla="*/ 221002 w 4519987"/>
                    <a:gd name="connsiteY56" fmla="*/ 3105150 h 4429225"/>
                    <a:gd name="connsiteX57" fmla="*/ 173377 w 4519987"/>
                    <a:gd name="connsiteY57" fmla="*/ 3019425 h 4429225"/>
                    <a:gd name="connsiteX58" fmla="*/ 144802 w 4519987"/>
                    <a:gd name="connsiteY58" fmla="*/ 2924175 h 4429225"/>
                    <a:gd name="connsiteX59" fmla="*/ 68602 w 4519987"/>
                    <a:gd name="connsiteY59" fmla="*/ 2724150 h 4429225"/>
                    <a:gd name="connsiteX60" fmla="*/ 49552 w 4519987"/>
                    <a:gd name="connsiteY60" fmla="*/ 2638425 h 4429225"/>
                    <a:gd name="connsiteX61" fmla="*/ 40027 w 4519987"/>
                    <a:gd name="connsiteY61" fmla="*/ 2562225 h 4429225"/>
                    <a:gd name="connsiteX62" fmla="*/ 30502 w 4519987"/>
                    <a:gd name="connsiteY62" fmla="*/ 2514600 h 4429225"/>
                    <a:gd name="connsiteX63" fmla="*/ 11452 w 4519987"/>
                    <a:gd name="connsiteY63" fmla="*/ 2400300 h 4429225"/>
                    <a:gd name="connsiteX64" fmla="*/ 20977 w 4519987"/>
                    <a:gd name="connsiteY64" fmla="*/ 1905000 h 4429225"/>
                    <a:gd name="connsiteX65" fmla="*/ 30502 w 4519987"/>
                    <a:gd name="connsiteY65" fmla="*/ 1838325 h 4429225"/>
                    <a:gd name="connsiteX66" fmla="*/ 49552 w 4519987"/>
                    <a:gd name="connsiteY66" fmla="*/ 1781175 h 4429225"/>
                    <a:gd name="connsiteX67" fmla="*/ 59077 w 4519987"/>
                    <a:gd name="connsiteY67" fmla="*/ 1743075 h 4429225"/>
                    <a:gd name="connsiteX68" fmla="*/ 78127 w 4519987"/>
                    <a:gd name="connsiteY68" fmla="*/ 1685925 h 4429225"/>
                    <a:gd name="connsiteX69" fmla="*/ 87652 w 4519987"/>
                    <a:gd name="connsiteY69" fmla="*/ 1638300 h 4429225"/>
                    <a:gd name="connsiteX70" fmla="*/ 106702 w 4519987"/>
                    <a:gd name="connsiteY70" fmla="*/ 1590675 h 4429225"/>
                    <a:gd name="connsiteX71" fmla="*/ 135277 w 4519987"/>
                    <a:gd name="connsiteY71" fmla="*/ 1504950 h 4429225"/>
                    <a:gd name="connsiteX72" fmla="*/ 154327 w 4519987"/>
                    <a:gd name="connsiteY72" fmla="*/ 1419225 h 4429225"/>
                    <a:gd name="connsiteX73" fmla="*/ 230527 w 4519987"/>
                    <a:gd name="connsiteY73" fmla="*/ 1276350 h 4429225"/>
                    <a:gd name="connsiteX74" fmla="*/ 240052 w 4519987"/>
                    <a:gd name="connsiteY74" fmla="*/ 1247775 h 4429225"/>
                    <a:gd name="connsiteX75" fmla="*/ 268627 w 4519987"/>
                    <a:gd name="connsiteY75" fmla="*/ 1200150 h 4429225"/>
                    <a:gd name="connsiteX76" fmla="*/ 287677 w 4519987"/>
                    <a:gd name="connsiteY76" fmla="*/ 1152525 h 4429225"/>
                    <a:gd name="connsiteX77" fmla="*/ 316252 w 4519987"/>
                    <a:gd name="connsiteY77" fmla="*/ 1114425 h 4429225"/>
                    <a:gd name="connsiteX78" fmla="*/ 363877 w 4519987"/>
                    <a:gd name="connsiteY78" fmla="*/ 1038225 h 4429225"/>
                    <a:gd name="connsiteX79" fmla="*/ 382927 w 4519987"/>
                    <a:gd name="connsiteY79" fmla="*/ 1009650 h 4429225"/>
                    <a:gd name="connsiteX80" fmla="*/ 440077 w 4519987"/>
                    <a:gd name="connsiteY80" fmla="*/ 904875 h 4429225"/>
                    <a:gd name="connsiteX81" fmla="*/ 478177 w 4519987"/>
                    <a:gd name="connsiteY81" fmla="*/ 857250 h 4429225"/>
                    <a:gd name="connsiteX82" fmla="*/ 497227 w 4519987"/>
                    <a:gd name="connsiteY82" fmla="*/ 828675 h 4429225"/>
                    <a:gd name="connsiteX83" fmla="*/ 535327 w 4519987"/>
                    <a:gd name="connsiteY83" fmla="*/ 800100 h 4429225"/>
                    <a:gd name="connsiteX84" fmla="*/ 602002 w 4519987"/>
                    <a:gd name="connsiteY84" fmla="*/ 733425 h 4429225"/>
                    <a:gd name="connsiteX85" fmla="*/ 668677 w 4519987"/>
                    <a:gd name="connsiteY85" fmla="*/ 676275 h 4429225"/>
                    <a:gd name="connsiteX86" fmla="*/ 697252 w 4519987"/>
                    <a:gd name="connsiteY86" fmla="*/ 657225 h 4429225"/>
                    <a:gd name="connsiteX87" fmla="*/ 840127 w 4519987"/>
                    <a:gd name="connsiteY87" fmla="*/ 533400 h 4429225"/>
                    <a:gd name="connsiteX88" fmla="*/ 887752 w 4519987"/>
                    <a:gd name="connsiteY88" fmla="*/ 504825 h 4429225"/>
                    <a:gd name="connsiteX89" fmla="*/ 1167152 w 4519987"/>
                    <a:gd name="connsiteY89" fmla="*/ 311150 h 4429225"/>
                    <a:gd name="connsiteX90" fmla="*/ 1268752 w 4519987"/>
                    <a:gd name="connsiteY90" fmla="*/ 285750 h 4429225"/>
                    <a:gd name="connsiteX91" fmla="*/ 1411627 w 4519987"/>
                    <a:gd name="connsiteY91" fmla="*/ 190500 h 4429225"/>
                    <a:gd name="connsiteX92" fmla="*/ 1449727 w 4519987"/>
                    <a:gd name="connsiteY92" fmla="*/ 161925 h 4429225"/>
                    <a:gd name="connsiteX93" fmla="*/ 1525927 w 4519987"/>
                    <a:gd name="connsiteY93" fmla="*/ 152400 h 4429225"/>
                    <a:gd name="connsiteX94" fmla="*/ 1583077 w 4519987"/>
                    <a:gd name="connsiteY94" fmla="*/ 142875 h 4429225"/>
                    <a:gd name="connsiteX95" fmla="*/ 1716427 w 4519987"/>
                    <a:gd name="connsiteY95" fmla="*/ 123825 h 4429225"/>
                    <a:gd name="connsiteX96" fmla="*/ 1811677 w 4519987"/>
                    <a:gd name="connsiteY96" fmla="*/ 114300 h 4429225"/>
                    <a:gd name="connsiteX97" fmla="*/ 1859302 w 4519987"/>
                    <a:gd name="connsiteY97" fmla="*/ 104775 h 4429225"/>
                    <a:gd name="connsiteX98" fmla="*/ 1916452 w 4519987"/>
                    <a:gd name="connsiteY98" fmla="*/ 95250 h 4429225"/>
                    <a:gd name="connsiteX99" fmla="*/ 2030752 w 4519987"/>
                    <a:gd name="connsiteY99" fmla="*/ 66675 h 4429225"/>
                    <a:gd name="connsiteX100" fmla="*/ 2097427 w 4519987"/>
                    <a:gd name="connsiteY100" fmla="*/ 47625 h 4429225"/>
                    <a:gd name="connsiteX101" fmla="*/ 2164102 w 4519987"/>
                    <a:gd name="connsiteY101" fmla="*/ 38100 h 4429225"/>
                    <a:gd name="connsiteX102" fmla="*/ 2392702 w 4519987"/>
                    <a:gd name="connsiteY10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40052 w 4519987"/>
                    <a:gd name="connsiteY54" fmla="*/ 3162300 h 4429225"/>
                    <a:gd name="connsiteX55" fmla="*/ 221002 w 4519987"/>
                    <a:gd name="connsiteY55" fmla="*/ 3105150 h 4429225"/>
                    <a:gd name="connsiteX56" fmla="*/ 173377 w 4519987"/>
                    <a:gd name="connsiteY56" fmla="*/ 3019425 h 4429225"/>
                    <a:gd name="connsiteX57" fmla="*/ 144802 w 4519987"/>
                    <a:gd name="connsiteY57" fmla="*/ 2924175 h 4429225"/>
                    <a:gd name="connsiteX58" fmla="*/ 68602 w 4519987"/>
                    <a:gd name="connsiteY58" fmla="*/ 2724150 h 4429225"/>
                    <a:gd name="connsiteX59" fmla="*/ 49552 w 4519987"/>
                    <a:gd name="connsiteY59" fmla="*/ 2638425 h 4429225"/>
                    <a:gd name="connsiteX60" fmla="*/ 40027 w 4519987"/>
                    <a:gd name="connsiteY60" fmla="*/ 2562225 h 4429225"/>
                    <a:gd name="connsiteX61" fmla="*/ 30502 w 4519987"/>
                    <a:gd name="connsiteY61" fmla="*/ 2514600 h 4429225"/>
                    <a:gd name="connsiteX62" fmla="*/ 11452 w 4519987"/>
                    <a:gd name="connsiteY62" fmla="*/ 2400300 h 4429225"/>
                    <a:gd name="connsiteX63" fmla="*/ 20977 w 4519987"/>
                    <a:gd name="connsiteY63" fmla="*/ 1905000 h 4429225"/>
                    <a:gd name="connsiteX64" fmla="*/ 30502 w 4519987"/>
                    <a:gd name="connsiteY64" fmla="*/ 1838325 h 4429225"/>
                    <a:gd name="connsiteX65" fmla="*/ 49552 w 4519987"/>
                    <a:gd name="connsiteY65" fmla="*/ 1781175 h 4429225"/>
                    <a:gd name="connsiteX66" fmla="*/ 59077 w 4519987"/>
                    <a:gd name="connsiteY66" fmla="*/ 1743075 h 4429225"/>
                    <a:gd name="connsiteX67" fmla="*/ 78127 w 4519987"/>
                    <a:gd name="connsiteY67" fmla="*/ 1685925 h 4429225"/>
                    <a:gd name="connsiteX68" fmla="*/ 87652 w 4519987"/>
                    <a:gd name="connsiteY68" fmla="*/ 1638300 h 4429225"/>
                    <a:gd name="connsiteX69" fmla="*/ 106702 w 4519987"/>
                    <a:gd name="connsiteY69" fmla="*/ 1590675 h 4429225"/>
                    <a:gd name="connsiteX70" fmla="*/ 135277 w 4519987"/>
                    <a:gd name="connsiteY70" fmla="*/ 1504950 h 4429225"/>
                    <a:gd name="connsiteX71" fmla="*/ 154327 w 4519987"/>
                    <a:gd name="connsiteY71" fmla="*/ 1419225 h 4429225"/>
                    <a:gd name="connsiteX72" fmla="*/ 230527 w 4519987"/>
                    <a:gd name="connsiteY72" fmla="*/ 1276350 h 4429225"/>
                    <a:gd name="connsiteX73" fmla="*/ 240052 w 4519987"/>
                    <a:gd name="connsiteY73" fmla="*/ 1247775 h 4429225"/>
                    <a:gd name="connsiteX74" fmla="*/ 268627 w 4519987"/>
                    <a:gd name="connsiteY74" fmla="*/ 1200150 h 4429225"/>
                    <a:gd name="connsiteX75" fmla="*/ 287677 w 4519987"/>
                    <a:gd name="connsiteY75" fmla="*/ 1152525 h 4429225"/>
                    <a:gd name="connsiteX76" fmla="*/ 316252 w 4519987"/>
                    <a:gd name="connsiteY76" fmla="*/ 1114425 h 4429225"/>
                    <a:gd name="connsiteX77" fmla="*/ 363877 w 4519987"/>
                    <a:gd name="connsiteY77" fmla="*/ 1038225 h 4429225"/>
                    <a:gd name="connsiteX78" fmla="*/ 382927 w 4519987"/>
                    <a:gd name="connsiteY78" fmla="*/ 1009650 h 4429225"/>
                    <a:gd name="connsiteX79" fmla="*/ 440077 w 4519987"/>
                    <a:gd name="connsiteY79" fmla="*/ 904875 h 4429225"/>
                    <a:gd name="connsiteX80" fmla="*/ 478177 w 4519987"/>
                    <a:gd name="connsiteY80" fmla="*/ 857250 h 4429225"/>
                    <a:gd name="connsiteX81" fmla="*/ 497227 w 4519987"/>
                    <a:gd name="connsiteY81" fmla="*/ 828675 h 4429225"/>
                    <a:gd name="connsiteX82" fmla="*/ 535327 w 4519987"/>
                    <a:gd name="connsiteY82" fmla="*/ 800100 h 4429225"/>
                    <a:gd name="connsiteX83" fmla="*/ 602002 w 4519987"/>
                    <a:gd name="connsiteY83" fmla="*/ 733425 h 4429225"/>
                    <a:gd name="connsiteX84" fmla="*/ 668677 w 4519987"/>
                    <a:gd name="connsiteY84" fmla="*/ 676275 h 4429225"/>
                    <a:gd name="connsiteX85" fmla="*/ 697252 w 4519987"/>
                    <a:gd name="connsiteY85" fmla="*/ 657225 h 4429225"/>
                    <a:gd name="connsiteX86" fmla="*/ 840127 w 4519987"/>
                    <a:gd name="connsiteY86" fmla="*/ 533400 h 4429225"/>
                    <a:gd name="connsiteX87" fmla="*/ 887752 w 4519987"/>
                    <a:gd name="connsiteY87" fmla="*/ 504825 h 4429225"/>
                    <a:gd name="connsiteX88" fmla="*/ 1167152 w 4519987"/>
                    <a:gd name="connsiteY88" fmla="*/ 311150 h 4429225"/>
                    <a:gd name="connsiteX89" fmla="*/ 1268752 w 4519987"/>
                    <a:gd name="connsiteY89" fmla="*/ 285750 h 4429225"/>
                    <a:gd name="connsiteX90" fmla="*/ 1411627 w 4519987"/>
                    <a:gd name="connsiteY90" fmla="*/ 190500 h 4429225"/>
                    <a:gd name="connsiteX91" fmla="*/ 1449727 w 4519987"/>
                    <a:gd name="connsiteY91" fmla="*/ 161925 h 4429225"/>
                    <a:gd name="connsiteX92" fmla="*/ 1525927 w 4519987"/>
                    <a:gd name="connsiteY92" fmla="*/ 152400 h 4429225"/>
                    <a:gd name="connsiteX93" fmla="*/ 1583077 w 4519987"/>
                    <a:gd name="connsiteY93" fmla="*/ 142875 h 4429225"/>
                    <a:gd name="connsiteX94" fmla="*/ 1716427 w 4519987"/>
                    <a:gd name="connsiteY94" fmla="*/ 123825 h 4429225"/>
                    <a:gd name="connsiteX95" fmla="*/ 1811677 w 4519987"/>
                    <a:gd name="connsiteY95" fmla="*/ 114300 h 4429225"/>
                    <a:gd name="connsiteX96" fmla="*/ 1859302 w 4519987"/>
                    <a:gd name="connsiteY96" fmla="*/ 104775 h 4429225"/>
                    <a:gd name="connsiteX97" fmla="*/ 1916452 w 4519987"/>
                    <a:gd name="connsiteY97" fmla="*/ 95250 h 4429225"/>
                    <a:gd name="connsiteX98" fmla="*/ 2030752 w 4519987"/>
                    <a:gd name="connsiteY98" fmla="*/ 66675 h 4429225"/>
                    <a:gd name="connsiteX99" fmla="*/ 2097427 w 4519987"/>
                    <a:gd name="connsiteY99" fmla="*/ 47625 h 4429225"/>
                    <a:gd name="connsiteX100" fmla="*/ 2164102 w 4519987"/>
                    <a:gd name="connsiteY100" fmla="*/ 38100 h 4429225"/>
                    <a:gd name="connsiteX101" fmla="*/ 2392702 w 4519987"/>
                    <a:gd name="connsiteY10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21002 w 4519987"/>
                    <a:gd name="connsiteY54" fmla="*/ 3105150 h 4429225"/>
                    <a:gd name="connsiteX55" fmla="*/ 173377 w 4519987"/>
                    <a:gd name="connsiteY55" fmla="*/ 3019425 h 4429225"/>
                    <a:gd name="connsiteX56" fmla="*/ 144802 w 4519987"/>
                    <a:gd name="connsiteY56" fmla="*/ 2924175 h 4429225"/>
                    <a:gd name="connsiteX57" fmla="*/ 68602 w 4519987"/>
                    <a:gd name="connsiteY57" fmla="*/ 2724150 h 4429225"/>
                    <a:gd name="connsiteX58" fmla="*/ 49552 w 4519987"/>
                    <a:gd name="connsiteY58" fmla="*/ 2638425 h 4429225"/>
                    <a:gd name="connsiteX59" fmla="*/ 40027 w 4519987"/>
                    <a:gd name="connsiteY59" fmla="*/ 2562225 h 4429225"/>
                    <a:gd name="connsiteX60" fmla="*/ 30502 w 4519987"/>
                    <a:gd name="connsiteY60" fmla="*/ 2514600 h 4429225"/>
                    <a:gd name="connsiteX61" fmla="*/ 11452 w 4519987"/>
                    <a:gd name="connsiteY61" fmla="*/ 2400300 h 4429225"/>
                    <a:gd name="connsiteX62" fmla="*/ 20977 w 4519987"/>
                    <a:gd name="connsiteY62" fmla="*/ 1905000 h 4429225"/>
                    <a:gd name="connsiteX63" fmla="*/ 30502 w 4519987"/>
                    <a:gd name="connsiteY63" fmla="*/ 1838325 h 4429225"/>
                    <a:gd name="connsiteX64" fmla="*/ 49552 w 4519987"/>
                    <a:gd name="connsiteY64" fmla="*/ 1781175 h 4429225"/>
                    <a:gd name="connsiteX65" fmla="*/ 59077 w 4519987"/>
                    <a:gd name="connsiteY65" fmla="*/ 1743075 h 4429225"/>
                    <a:gd name="connsiteX66" fmla="*/ 78127 w 4519987"/>
                    <a:gd name="connsiteY66" fmla="*/ 1685925 h 4429225"/>
                    <a:gd name="connsiteX67" fmla="*/ 87652 w 4519987"/>
                    <a:gd name="connsiteY67" fmla="*/ 1638300 h 4429225"/>
                    <a:gd name="connsiteX68" fmla="*/ 106702 w 4519987"/>
                    <a:gd name="connsiteY68" fmla="*/ 1590675 h 4429225"/>
                    <a:gd name="connsiteX69" fmla="*/ 135277 w 4519987"/>
                    <a:gd name="connsiteY69" fmla="*/ 1504950 h 4429225"/>
                    <a:gd name="connsiteX70" fmla="*/ 154327 w 4519987"/>
                    <a:gd name="connsiteY70" fmla="*/ 1419225 h 4429225"/>
                    <a:gd name="connsiteX71" fmla="*/ 230527 w 4519987"/>
                    <a:gd name="connsiteY71" fmla="*/ 1276350 h 4429225"/>
                    <a:gd name="connsiteX72" fmla="*/ 240052 w 4519987"/>
                    <a:gd name="connsiteY72" fmla="*/ 1247775 h 4429225"/>
                    <a:gd name="connsiteX73" fmla="*/ 268627 w 4519987"/>
                    <a:gd name="connsiteY73" fmla="*/ 1200150 h 4429225"/>
                    <a:gd name="connsiteX74" fmla="*/ 287677 w 4519987"/>
                    <a:gd name="connsiteY74" fmla="*/ 1152525 h 4429225"/>
                    <a:gd name="connsiteX75" fmla="*/ 316252 w 4519987"/>
                    <a:gd name="connsiteY75" fmla="*/ 1114425 h 4429225"/>
                    <a:gd name="connsiteX76" fmla="*/ 363877 w 4519987"/>
                    <a:gd name="connsiteY76" fmla="*/ 1038225 h 4429225"/>
                    <a:gd name="connsiteX77" fmla="*/ 382927 w 4519987"/>
                    <a:gd name="connsiteY77" fmla="*/ 1009650 h 4429225"/>
                    <a:gd name="connsiteX78" fmla="*/ 440077 w 4519987"/>
                    <a:gd name="connsiteY78" fmla="*/ 904875 h 4429225"/>
                    <a:gd name="connsiteX79" fmla="*/ 478177 w 4519987"/>
                    <a:gd name="connsiteY79" fmla="*/ 857250 h 4429225"/>
                    <a:gd name="connsiteX80" fmla="*/ 497227 w 4519987"/>
                    <a:gd name="connsiteY80" fmla="*/ 828675 h 4429225"/>
                    <a:gd name="connsiteX81" fmla="*/ 535327 w 4519987"/>
                    <a:gd name="connsiteY81" fmla="*/ 800100 h 4429225"/>
                    <a:gd name="connsiteX82" fmla="*/ 602002 w 4519987"/>
                    <a:gd name="connsiteY82" fmla="*/ 733425 h 4429225"/>
                    <a:gd name="connsiteX83" fmla="*/ 668677 w 4519987"/>
                    <a:gd name="connsiteY83" fmla="*/ 676275 h 4429225"/>
                    <a:gd name="connsiteX84" fmla="*/ 697252 w 4519987"/>
                    <a:gd name="connsiteY84" fmla="*/ 657225 h 4429225"/>
                    <a:gd name="connsiteX85" fmla="*/ 840127 w 4519987"/>
                    <a:gd name="connsiteY85" fmla="*/ 533400 h 4429225"/>
                    <a:gd name="connsiteX86" fmla="*/ 887752 w 4519987"/>
                    <a:gd name="connsiteY86" fmla="*/ 504825 h 4429225"/>
                    <a:gd name="connsiteX87" fmla="*/ 1167152 w 4519987"/>
                    <a:gd name="connsiteY87" fmla="*/ 311150 h 4429225"/>
                    <a:gd name="connsiteX88" fmla="*/ 1268752 w 4519987"/>
                    <a:gd name="connsiteY88" fmla="*/ 285750 h 4429225"/>
                    <a:gd name="connsiteX89" fmla="*/ 1411627 w 4519987"/>
                    <a:gd name="connsiteY89" fmla="*/ 190500 h 4429225"/>
                    <a:gd name="connsiteX90" fmla="*/ 1449727 w 4519987"/>
                    <a:gd name="connsiteY90" fmla="*/ 161925 h 4429225"/>
                    <a:gd name="connsiteX91" fmla="*/ 1525927 w 4519987"/>
                    <a:gd name="connsiteY91" fmla="*/ 152400 h 4429225"/>
                    <a:gd name="connsiteX92" fmla="*/ 1583077 w 4519987"/>
                    <a:gd name="connsiteY92" fmla="*/ 142875 h 4429225"/>
                    <a:gd name="connsiteX93" fmla="*/ 1716427 w 4519987"/>
                    <a:gd name="connsiteY93" fmla="*/ 123825 h 4429225"/>
                    <a:gd name="connsiteX94" fmla="*/ 1811677 w 4519987"/>
                    <a:gd name="connsiteY94" fmla="*/ 114300 h 4429225"/>
                    <a:gd name="connsiteX95" fmla="*/ 1859302 w 4519987"/>
                    <a:gd name="connsiteY95" fmla="*/ 104775 h 4429225"/>
                    <a:gd name="connsiteX96" fmla="*/ 1916452 w 4519987"/>
                    <a:gd name="connsiteY96" fmla="*/ 95250 h 4429225"/>
                    <a:gd name="connsiteX97" fmla="*/ 2030752 w 4519987"/>
                    <a:gd name="connsiteY97" fmla="*/ 66675 h 4429225"/>
                    <a:gd name="connsiteX98" fmla="*/ 2097427 w 4519987"/>
                    <a:gd name="connsiteY98" fmla="*/ 47625 h 4429225"/>
                    <a:gd name="connsiteX99" fmla="*/ 2164102 w 4519987"/>
                    <a:gd name="connsiteY99" fmla="*/ 38100 h 4429225"/>
                    <a:gd name="connsiteX100" fmla="*/ 2392702 w 4519987"/>
                    <a:gd name="connsiteY10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73377 w 4519987"/>
                    <a:gd name="connsiteY54" fmla="*/ 3019425 h 4429225"/>
                    <a:gd name="connsiteX55" fmla="*/ 144802 w 4519987"/>
                    <a:gd name="connsiteY55" fmla="*/ 2924175 h 4429225"/>
                    <a:gd name="connsiteX56" fmla="*/ 68602 w 4519987"/>
                    <a:gd name="connsiteY56" fmla="*/ 2724150 h 4429225"/>
                    <a:gd name="connsiteX57" fmla="*/ 49552 w 4519987"/>
                    <a:gd name="connsiteY57" fmla="*/ 2638425 h 4429225"/>
                    <a:gd name="connsiteX58" fmla="*/ 40027 w 4519987"/>
                    <a:gd name="connsiteY58" fmla="*/ 2562225 h 4429225"/>
                    <a:gd name="connsiteX59" fmla="*/ 30502 w 4519987"/>
                    <a:gd name="connsiteY59" fmla="*/ 2514600 h 4429225"/>
                    <a:gd name="connsiteX60" fmla="*/ 11452 w 4519987"/>
                    <a:gd name="connsiteY60" fmla="*/ 2400300 h 4429225"/>
                    <a:gd name="connsiteX61" fmla="*/ 20977 w 4519987"/>
                    <a:gd name="connsiteY61" fmla="*/ 1905000 h 4429225"/>
                    <a:gd name="connsiteX62" fmla="*/ 30502 w 4519987"/>
                    <a:gd name="connsiteY62" fmla="*/ 1838325 h 4429225"/>
                    <a:gd name="connsiteX63" fmla="*/ 49552 w 4519987"/>
                    <a:gd name="connsiteY63" fmla="*/ 1781175 h 4429225"/>
                    <a:gd name="connsiteX64" fmla="*/ 59077 w 4519987"/>
                    <a:gd name="connsiteY64" fmla="*/ 1743075 h 4429225"/>
                    <a:gd name="connsiteX65" fmla="*/ 78127 w 4519987"/>
                    <a:gd name="connsiteY65" fmla="*/ 1685925 h 4429225"/>
                    <a:gd name="connsiteX66" fmla="*/ 87652 w 4519987"/>
                    <a:gd name="connsiteY66" fmla="*/ 1638300 h 4429225"/>
                    <a:gd name="connsiteX67" fmla="*/ 106702 w 4519987"/>
                    <a:gd name="connsiteY67" fmla="*/ 1590675 h 4429225"/>
                    <a:gd name="connsiteX68" fmla="*/ 135277 w 4519987"/>
                    <a:gd name="connsiteY68" fmla="*/ 1504950 h 4429225"/>
                    <a:gd name="connsiteX69" fmla="*/ 154327 w 4519987"/>
                    <a:gd name="connsiteY69" fmla="*/ 1419225 h 4429225"/>
                    <a:gd name="connsiteX70" fmla="*/ 230527 w 4519987"/>
                    <a:gd name="connsiteY70" fmla="*/ 1276350 h 4429225"/>
                    <a:gd name="connsiteX71" fmla="*/ 240052 w 4519987"/>
                    <a:gd name="connsiteY71" fmla="*/ 1247775 h 4429225"/>
                    <a:gd name="connsiteX72" fmla="*/ 268627 w 4519987"/>
                    <a:gd name="connsiteY72" fmla="*/ 1200150 h 4429225"/>
                    <a:gd name="connsiteX73" fmla="*/ 287677 w 4519987"/>
                    <a:gd name="connsiteY73" fmla="*/ 1152525 h 4429225"/>
                    <a:gd name="connsiteX74" fmla="*/ 316252 w 4519987"/>
                    <a:gd name="connsiteY74" fmla="*/ 1114425 h 4429225"/>
                    <a:gd name="connsiteX75" fmla="*/ 363877 w 4519987"/>
                    <a:gd name="connsiteY75" fmla="*/ 1038225 h 4429225"/>
                    <a:gd name="connsiteX76" fmla="*/ 382927 w 4519987"/>
                    <a:gd name="connsiteY76" fmla="*/ 1009650 h 4429225"/>
                    <a:gd name="connsiteX77" fmla="*/ 440077 w 4519987"/>
                    <a:gd name="connsiteY77" fmla="*/ 904875 h 4429225"/>
                    <a:gd name="connsiteX78" fmla="*/ 478177 w 4519987"/>
                    <a:gd name="connsiteY78" fmla="*/ 857250 h 4429225"/>
                    <a:gd name="connsiteX79" fmla="*/ 497227 w 4519987"/>
                    <a:gd name="connsiteY79" fmla="*/ 828675 h 4429225"/>
                    <a:gd name="connsiteX80" fmla="*/ 535327 w 4519987"/>
                    <a:gd name="connsiteY80" fmla="*/ 800100 h 4429225"/>
                    <a:gd name="connsiteX81" fmla="*/ 602002 w 4519987"/>
                    <a:gd name="connsiteY81" fmla="*/ 733425 h 4429225"/>
                    <a:gd name="connsiteX82" fmla="*/ 668677 w 4519987"/>
                    <a:gd name="connsiteY82" fmla="*/ 676275 h 4429225"/>
                    <a:gd name="connsiteX83" fmla="*/ 697252 w 4519987"/>
                    <a:gd name="connsiteY83" fmla="*/ 657225 h 4429225"/>
                    <a:gd name="connsiteX84" fmla="*/ 840127 w 4519987"/>
                    <a:gd name="connsiteY84" fmla="*/ 533400 h 4429225"/>
                    <a:gd name="connsiteX85" fmla="*/ 887752 w 4519987"/>
                    <a:gd name="connsiteY85" fmla="*/ 504825 h 4429225"/>
                    <a:gd name="connsiteX86" fmla="*/ 1167152 w 4519987"/>
                    <a:gd name="connsiteY86" fmla="*/ 311150 h 4429225"/>
                    <a:gd name="connsiteX87" fmla="*/ 1268752 w 4519987"/>
                    <a:gd name="connsiteY87" fmla="*/ 285750 h 4429225"/>
                    <a:gd name="connsiteX88" fmla="*/ 1411627 w 4519987"/>
                    <a:gd name="connsiteY88" fmla="*/ 190500 h 4429225"/>
                    <a:gd name="connsiteX89" fmla="*/ 1449727 w 4519987"/>
                    <a:gd name="connsiteY89" fmla="*/ 161925 h 4429225"/>
                    <a:gd name="connsiteX90" fmla="*/ 1525927 w 4519987"/>
                    <a:gd name="connsiteY90" fmla="*/ 152400 h 4429225"/>
                    <a:gd name="connsiteX91" fmla="*/ 1583077 w 4519987"/>
                    <a:gd name="connsiteY91" fmla="*/ 142875 h 4429225"/>
                    <a:gd name="connsiteX92" fmla="*/ 1716427 w 4519987"/>
                    <a:gd name="connsiteY92" fmla="*/ 123825 h 4429225"/>
                    <a:gd name="connsiteX93" fmla="*/ 1811677 w 4519987"/>
                    <a:gd name="connsiteY93" fmla="*/ 114300 h 4429225"/>
                    <a:gd name="connsiteX94" fmla="*/ 1859302 w 4519987"/>
                    <a:gd name="connsiteY94" fmla="*/ 104775 h 4429225"/>
                    <a:gd name="connsiteX95" fmla="*/ 1916452 w 4519987"/>
                    <a:gd name="connsiteY95" fmla="*/ 95250 h 4429225"/>
                    <a:gd name="connsiteX96" fmla="*/ 2030752 w 4519987"/>
                    <a:gd name="connsiteY96" fmla="*/ 66675 h 4429225"/>
                    <a:gd name="connsiteX97" fmla="*/ 2097427 w 4519987"/>
                    <a:gd name="connsiteY97" fmla="*/ 47625 h 4429225"/>
                    <a:gd name="connsiteX98" fmla="*/ 2164102 w 4519987"/>
                    <a:gd name="connsiteY98" fmla="*/ 38100 h 4429225"/>
                    <a:gd name="connsiteX99" fmla="*/ 2392702 w 4519987"/>
                    <a:gd name="connsiteY9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9552 w 4519987"/>
                    <a:gd name="connsiteY56" fmla="*/ 2638425 h 4429225"/>
                    <a:gd name="connsiteX57" fmla="*/ 40027 w 4519987"/>
                    <a:gd name="connsiteY57" fmla="*/ 2562225 h 4429225"/>
                    <a:gd name="connsiteX58" fmla="*/ 30502 w 4519987"/>
                    <a:gd name="connsiteY58" fmla="*/ 2514600 h 4429225"/>
                    <a:gd name="connsiteX59" fmla="*/ 11452 w 4519987"/>
                    <a:gd name="connsiteY59" fmla="*/ 2400300 h 4429225"/>
                    <a:gd name="connsiteX60" fmla="*/ 20977 w 4519987"/>
                    <a:gd name="connsiteY60" fmla="*/ 1905000 h 4429225"/>
                    <a:gd name="connsiteX61" fmla="*/ 30502 w 4519987"/>
                    <a:gd name="connsiteY61" fmla="*/ 1838325 h 4429225"/>
                    <a:gd name="connsiteX62" fmla="*/ 49552 w 4519987"/>
                    <a:gd name="connsiteY62" fmla="*/ 1781175 h 4429225"/>
                    <a:gd name="connsiteX63" fmla="*/ 59077 w 4519987"/>
                    <a:gd name="connsiteY63" fmla="*/ 1743075 h 4429225"/>
                    <a:gd name="connsiteX64" fmla="*/ 78127 w 4519987"/>
                    <a:gd name="connsiteY64" fmla="*/ 1685925 h 4429225"/>
                    <a:gd name="connsiteX65" fmla="*/ 87652 w 4519987"/>
                    <a:gd name="connsiteY65" fmla="*/ 1638300 h 4429225"/>
                    <a:gd name="connsiteX66" fmla="*/ 106702 w 4519987"/>
                    <a:gd name="connsiteY66" fmla="*/ 1590675 h 4429225"/>
                    <a:gd name="connsiteX67" fmla="*/ 135277 w 4519987"/>
                    <a:gd name="connsiteY67" fmla="*/ 1504950 h 4429225"/>
                    <a:gd name="connsiteX68" fmla="*/ 154327 w 4519987"/>
                    <a:gd name="connsiteY68" fmla="*/ 1419225 h 4429225"/>
                    <a:gd name="connsiteX69" fmla="*/ 230527 w 4519987"/>
                    <a:gd name="connsiteY69" fmla="*/ 1276350 h 4429225"/>
                    <a:gd name="connsiteX70" fmla="*/ 240052 w 4519987"/>
                    <a:gd name="connsiteY70" fmla="*/ 1247775 h 4429225"/>
                    <a:gd name="connsiteX71" fmla="*/ 268627 w 4519987"/>
                    <a:gd name="connsiteY71" fmla="*/ 1200150 h 4429225"/>
                    <a:gd name="connsiteX72" fmla="*/ 287677 w 4519987"/>
                    <a:gd name="connsiteY72" fmla="*/ 1152525 h 4429225"/>
                    <a:gd name="connsiteX73" fmla="*/ 316252 w 4519987"/>
                    <a:gd name="connsiteY73" fmla="*/ 1114425 h 4429225"/>
                    <a:gd name="connsiteX74" fmla="*/ 363877 w 4519987"/>
                    <a:gd name="connsiteY74" fmla="*/ 1038225 h 4429225"/>
                    <a:gd name="connsiteX75" fmla="*/ 382927 w 4519987"/>
                    <a:gd name="connsiteY75" fmla="*/ 1009650 h 4429225"/>
                    <a:gd name="connsiteX76" fmla="*/ 440077 w 4519987"/>
                    <a:gd name="connsiteY76" fmla="*/ 904875 h 4429225"/>
                    <a:gd name="connsiteX77" fmla="*/ 478177 w 4519987"/>
                    <a:gd name="connsiteY77" fmla="*/ 857250 h 4429225"/>
                    <a:gd name="connsiteX78" fmla="*/ 497227 w 4519987"/>
                    <a:gd name="connsiteY78" fmla="*/ 828675 h 4429225"/>
                    <a:gd name="connsiteX79" fmla="*/ 535327 w 4519987"/>
                    <a:gd name="connsiteY79" fmla="*/ 800100 h 4429225"/>
                    <a:gd name="connsiteX80" fmla="*/ 602002 w 4519987"/>
                    <a:gd name="connsiteY80" fmla="*/ 733425 h 4429225"/>
                    <a:gd name="connsiteX81" fmla="*/ 668677 w 4519987"/>
                    <a:gd name="connsiteY81" fmla="*/ 676275 h 4429225"/>
                    <a:gd name="connsiteX82" fmla="*/ 697252 w 4519987"/>
                    <a:gd name="connsiteY82" fmla="*/ 657225 h 4429225"/>
                    <a:gd name="connsiteX83" fmla="*/ 840127 w 4519987"/>
                    <a:gd name="connsiteY83" fmla="*/ 533400 h 4429225"/>
                    <a:gd name="connsiteX84" fmla="*/ 887752 w 4519987"/>
                    <a:gd name="connsiteY84" fmla="*/ 504825 h 4429225"/>
                    <a:gd name="connsiteX85" fmla="*/ 1167152 w 4519987"/>
                    <a:gd name="connsiteY85" fmla="*/ 311150 h 4429225"/>
                    <a:gd name="connsiteX86" fmla="*/ 1268752 w 4519987"/>
                    <a:gd name="connsiteY86" fmla="*/ 285750 h 4429225"/>
                    <a:gd name="connsiteX87" fmla="*/ 1411627 w 4519987"/>
                    <a:gd name="connsiteY87" fmla="*/ 190500 h 4429225"/>
                    <a:gd name="connsiteX88" fmla="*/ 1449727 w 4519987"/>
                    <a:gd name="connsiteY88" fmla="*/ 161925 h 4429225"/>
                    <a:gd name="connsiteX89" fmla="*/ 1525927 w 4519987"/>
                    <a:gd name="connsiteY89" fmla="*/ 152400 h 4429225"/>
                    <a:gd name="connsiteX90" fmla="*/ 1583077 w 4519987"/>
                    <a:gd name="connsiteY90" fmla="*/ 142875 h 4429225"/>
                    <a:gd name="connsiteX91" fmla="*/ 1716427 w 4519987"/>
                    <a:gd name="connsiteY91" fmla="*/ 123825 h 4429225"/>
                    <a:gd name="connsiteX92" fmla="*/ 1811677 w 4519987"/>
                    <a:gd name="connsiteY92" fmla="*/ 114300 h 4429225"/>
                    <a:gd name="connsiteX93" fmla="*/ 1859302 w 4519987"/>
                    <a:gd name="connsiteY93" fmla="*/ 104775 h 4429225"/>
                    <a:gd name="connsiteX94" fmla="*/ 1916452 w 4519987"/>
                    <a:gd name="connsiteY94" fmla="*/ 95250 h 4429225"/>
                    <a:gd name="connsiteX95" fmla="*/ 2030752 w 4519987"/>
                    <a:gd name="connsiteY95" fmla="*/ 66675 h 4429225"/>
                    <a:gd name="connsiteX96" fmla="*/ 2097427 w 4519987"/>
                    <a:gd name="connsiteY96" fmla="*/ 47625 h 4429225"/>
                    <a:gd name="connsiteX97" fmla="*/ 2164102 w 4519987"/>
                    <a:gd name="connsiteY97" fmla="*/ 38100 h 4429225"/>
                    <a:gd name="connsiteX98" fmla="*/ 2392702 w 4519987"/>
                    <a:gd name="connsiteY9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30502 w 4519987"/>
                    <a:gd name="connsiteY57" fmla="*/ 2514600 h 4429225"/>
                    <a:gd name="connsiteX58" fmla="*/ 11452 w 4519987"/>
                    <a:gd name="connsiteY58" fmla="*/ 2400300 h 4429225"/>
                    <a:gd name="connsiteX59" fmla="*/ 20977 w 4519987"/>
                    <a:gd name="connsiteY59" fmla="*/ 1905000 h 4429225"/>
                    <a:gd name="connsiteX60" fmla="*/ 30502 w 4519987"/>
                    <a:gd name="connsiteY60" fmla="*/ 1838325 h 4429225"/>
                    <a:gd name="connsiteX61" fmla="*/ 49552 w 4519987"/>
                    <a:gd name="connsiteY61" fmla="*/ 1781175 h 4429225"/>
                    <a:gd name="connsiteX62" fmla="*/ 59077 w 4519987"/>
                    <a:gd name="connsiteY62" fmla="*/ 1743075 h 4429225"/>
                    <a:gd name="connsiteX63" fmla="*/ 78127 w 4519987"/>
                    <a:gd name="connsiteY63" fmla="*/ 1685925 h 4429225"/>
                    <a:gd name="connsiteX64" fmla="*/ 87652 w 4519987"/>
                    <a:gd name="connsiteY64" fmla="*/ 1638300 h 4429225"/>
                    <a:gd name="connsiteX65" fmla="*/ 106702 w 4519987"/>
                    <a:gd name="connsiteY65" fmla="*/ 1590675 h 4429225"/>
                    <a:gd name="connsiteX66" fmla="*/ 135277 w 4519987"/>
                    <a:gd name="connsiteY66" fmla="*/ 1504950 h 4429225"/>
                    <a:gd name="connsiteX67" fmla="*/ 154327 w 4519987"/>
                    <a:gd name="connsiteY67" fmla="*/ 1419225 h 4429225"/>
                    <a:gd name="connsiteX68" fmla="*/ 230527 w 4519987"/>
                    <a:gd name="connsiteY68" fmla="*/ 1276350 h 4429225"/>
                    <a:gd name="connsiteX69" fmla="*/ 240052 w 4519987"/>
                    <a:gd name="connsiteY69" fmla="*/ 1247775 h 4429225"/>
                    <a:gd name="connsiteX70" fmla="*/ 268627 w 4519987"/>
                    <a:gd name="connsiteY70" fmla="*/ 1200150 h 4429225"/>
                    <a:gd name="connsiteX71" fmla="*/ 287677 w 4519987"/>
                    <a:gd name="connsiteY71" fmla="*/ 1152525 h 4429225"/>
                    <a:gd name="connsiteX72" fmla="*/ 316252 w 4519987"/>
                    <a:gd name="connsiteY72" fmla="*/ 1114425 h 4429225"/>
                    <a:gd name="connsiteX73" fmla="*/ 363877 w 4519987"/>
                    <a:gd name="connsiteY73" fmla="*/ 1038225 h 4429225"/>
                    <a:gd name="connsiteX74" fmla="*/ 382927 w 4519987"/>
                    <a:gd name="connsiteY74" fmla="*/ 1009650 h 4429225"/>
                    <a:gd name="connsiteX75" fmla="*/ 440077 w 4519987"/>
                    <a:gd name="connsiteY75" fmla="*/ 904875 h 4429225"/>
                    <a:gd name="connsiteX76" fmla="*/ 478177 w 4519987"/>
                    <a:gd name="connsiteY76" fmla="*/ 857250 h 4429225"/>
                    <a:gd name="connsiteX77" fmla="*/ 497227 w 4519987"/>
                    <a:gd name="connsiteY77" fmla="*/ 828675 h 4429225"/>
                    <a:gd name="connsiteX78" fmla="*/ 535327 w 4519987"/>
                    <a:gd name="connsiteY78" fmla="*/ 800100 h 4429225"/>
                    <a:gd name="connsiteX79" fmla="*/ 602002 w 4519987"/>
                    <a:gd name="connsiteY79" fmla="*/ 733425 h 4429225"/>
                    <a:gd name="connsiteX80" fmla="*/ 668677 w 4519987"/>
                    <a:gd name="connsiteY80" fmla="*/ 676275 h 4429225"/>
                    <a:gd name="connsiteX81" fmla="*/ 697252 w 4519987"/>
                    <a:gd name="connsiteY81" fmla="*/ 657225 h 4429225"/>
                    <a:gd name="connsiteX82" fmla="*/ 840127 w 4519987"/>
                    <a:gd name="connsiteY82" fmla="*/ 533400 h 4429225"/>
                    <a:gd name="connsiteX83" fmla="*/ 887752 w 4519987"/>
                    <a:gd name="connsiteY83" fmla="*/ 504825 h 4429225"/>
                    <a:gd name="connsiteX84" fmla="*/ 1167152 w 4519987"/>
                    <a:gd name="connsiteY84" fmla="*/ 311150 h 4429225"/>
                    <a:gd name="connsiteX85" fmla="*/ 1268752 w 4519987"/>
                    <a:gd name="connsiteY85" fmla="*/ 285750 h 4429225"/>
                    <a:gd name="connsiteX86" fmla="*/ 1411627 w 4519987"/>
                    <a:gd name="connsiteY86" fmla="*/ 190500 h 4429225"/>
                    <a:gd name="connsiteX87" fmla="*/ 1449727 w 4519987"/>
                    <a:gd name="connsiteY87" fmla="*/ 161925 h 4429225"/>
                    <a:gd name="connsiteX88" fmla="*/ 1525927 w 4519987"/>
                    <a:gd name="connsiteY88" fmla="*/ 152400 h 4429225"/>
                    <a:gd name="connsiteX89" fmla="*/ 1583077 w 4519987"/>
                    <a:gd name="connsiteY89" fmla="*/ 142875 h 4429225"/>
                    <a:gd name="connsiteX90" fmla="*/ 1716427 w 4519987"/>
                    <a:gd name="connsiteY90" fmla="*/ 123825 h 4429225"/>
                    <a:gd name="connsiteX91" fmla="*/ 1811677 w 4519987"/>
                    <a:gd name="connsiteY91" fmla="*/ 114300 h 4429225"/>
                    <a:gd name="connsiteX92" fmla="*/ 1859302 w 4519987"/>
                    <a:gd name="connsiteY92" fmla="*/ 104775 h 4429225"/>
                    <a:gd name="connsiteX93" fmla="*/ 1916452 w 4519987"/>
                    <a:gd name="connsiteY93" fmla="*/ 95250 h 4429225"/>
                    <a:gd name="connsiteX94" fmla="*/ 2030752 w 4519987"/>
                    <a:gd name="connsiteY94" fmla="*/ 66675 h 4429225"/>
                    <a:gd name="connsiteX95" fmla="*/ 2097427 w 4519987"/>
                    <a:gd name="connsiteY95" fmla="*/ 47625 h 4429225"/>
                    <a:gd name="connsiteX96" fmla="*/ 2164102 w 4519987"/>
                    <a:gd name="connsiteY96" fmla="*/ 38100 h 4429225"/>
                    <a:gd name="connsiteX97" fmla="*/ 2392702 w 4519987"/>
                    <a:gd name="connsiteY9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11452 w 4519987"/>
                    <a:gd name="connsiteY57" fmla="*/ 2400300 h 4429225"/>
                    <a:gd name="connsiteX58" fmla="*/ 20977 w 4519987"/>
                    <a:gd name="connsiteY58" fmla="*/ 1905000 h 4429225"/>
                    <a:gd name="connsiteX59" fmla="*/ 30502 w 4519987"/>
                    <a:gd name="connsiteY59" fmla="*/ 1838325 h 4429225"/>
                    <a:gd name="connsiteX60" fmla="*/ 49552 w 4519987"/>
                    <a:gd name="connsiteY60" fmla="*/ 1781175 h 4429225"/>
                    <a:gd name="connsiteX61" fmla="*/ 59077 w 4519987"/>
                    <a:gd name="connsiteY61" fmla="*/ 1743075 h 4429225"/>
                    <a:gd name="connsiteX62" fmla="*/ 78127 w 4519987"/>
                    <a:gd name="connsiteY62" fmla="*/ 1685925 h 4429225"/>
                    <a:gd name="connsiteX63" fmla="*/ 87652 w 4519987"/>
                    <a:gd name="connsiteY63" fmla="*/ 1638300 h 4429225"/>
                    <a:gd name="connsiteX64" fmla="*/ 106702 w 4519987"/>
                    <a:gd name="connsiteY64" fmla="*/ 1590675 h 4429225"/>
                    <a:gd name="connsiteX65" fmla="*/ 135277 w 4519987"/>
                    <a:gd name="connsiteY65" fmla="*/ 1504950 h 4429225"/>
                    <a:gd name="connsiteX66" fmla="*/ 154327 w 4519987"/>
                    <a:gd name="connsiteY66" fmla="*/ 1419225 h 4429225"/>
                    <a:gd name="connsiteX67" fmla="*/ 230527 w 4519987"/>
                    <a:gd name="connsiteY67" fmla="*/ 1276350 h 4429225"/>
                    <a:gd name="connsiteX68" fmla="*/ 240052 w 4519987"/>
                    <a:gd name="connsiteY68" fmla="*/ 1247775 h 4429225"/>
                    <a:gd name="connsiteX69" fmla="*/ 268627 w 4519987"/>
                    <a:gd name="connsiteY69" fmla="*/ 1200150 h 4429225"/>
                    <a:gd name="connsiteX70" fmla="*/ 287677 w 4519987"/>
                    <a:gd name="connsiteY70" fmla="*/ 1152525 h 4429225"/>
                    <a:gd name="connsiteX71" fmla="*/ 316252 w 4519987"/>
                    <a:gd name="connsiteY71" fmla="*/ 1114425 h 4429225"/>
                    <a:gd name="connsiteX72" fmla="*/ 363877 w 4519987"/>
                    <a:gd name="connsiteY72" fmla="*/ 1038225 h 4429225"/>
                    <a:gd name="connsiteX73" fmla="*/ 382927 w 4519987"/>
                    <a:gd name="connsiteY73" fmla="*/ 1009650 h 4429225"/>
                    <a:gd name="connsiteX74" fmla="*/ 440077 w 4519987"/>
                    <a:gd name="connsiteY74" fmla="*/ 904875 h 4429225"/>
                    <a:gd name="connsiteX75" fmla="*/ 478177 w 4519987"/>
                    <a:gd name="connsiteY75" fmla="*/ 857250 h 4429225"/>
                    <a:gd name="connsiteX76" fmla="*/ 497227 w 4519987"/>
                    <a:gd name="connsiteY76" fmla="*/ 828675 h 4429225"/>
                    <a:gd name="connsiteX77" fmla="*/ 535327 w 4519987"/>
                    <a:gd name="connsiteY77" fmla="*/ 800100 h 4429225"/>
                    <a:gd name="connsiteX78" fmla="*/ 602002 w 4519987"/>
                    <a:gd name="connsiteY78" fmla="*/ 733425 h 4429225"/>
                    <a:gd name="connsiteX79" fmla="*/ 668677 w 4519987"/>
                    <a:gd name="connsiteY79" fmla="*/ 676275 h 4429225"/>
                    <a:gd name="connsiteX80" fmla="*/ 697252 w 4519987"/>
                    <a:gd name="connsiteY80" fmla="*/ 657225 h 4429225"/>
                    <a:gd name="connsiteX81" fmla="*/ 840127 w 4519987"/>
                    <a:gd name="connsiteY81" fmla="*/ 533400 h 4429225"/>
                    <a:gd name="connsiteX82" fmla="*/ 887752 w 4519987"/>
                    <a:gd name="connsiteY82" fmla="*/ 504825 h 4429225"/>
                    <a:gd name="connsiteX83" fmla="*/ 1167152 w 4519987"/>
                    <a:gd name="connsiteY83" fmla="*/ 311150 h 4429225"/>
                    <a:gd name="connsiteX84" fmla="*/ 1268752 w 4519987"/>
                    <a:gd name="connsiteY84" fmla="*/ 285750 h 4429225"/>
                    <a:gd name="connsiteX85" fmla="*/ 1411627 w 4519987"/>
                    <a:gd name="connsiteY85" fmla="*/ 190500 h 4429225"/>
                    <a:gd name="connsiteX86" fmla="*/ 1449727 w 4519987"/>
                    <a:gd name="connsiteY86" fmla="*/ 161925 h 4429225"/>
                    <a:gd name="connsiteX87" fmla="*/ 1525927 w 4519987"/>
                    <a:gd name="connsiteY87" fmla="*/ 152400 h 4429225"/>
                    <a:gd name="connsiteX88" fmla="*/ 1583077 w 4519987"/>
                    <a:gd name="connsiteY88" fmla="*/ 142875 h 4429225"/>
                    <a:gd name="connsiteX89" fmla="*/ 1716427 w 4519987"/>
                    <a:gd name="connsiteY89" fmla="*/ 123825 h 4429225"/>
                    <a:gd name="connsiteX90" fmla="*/ 1811677 w 4519987"/>
                    <a:gd name="connsiteY90" fmla="*/ 114300 h 4429225"/>
                    <a:gd name="connsiteX91" fmla="*/ 1859302 w 4519987"/>
                    <a:gd name="connsiteY91" fmla="*/ 104775 h 4429225"/>
                    <a:gd name="connsiteX92" fmla="*/ 1916452 w 4519987"/>
                    <a:gd name="connsiteY92" fmla="*/ 95250 h 4429225"/>
                    <a:gd name="connsiteX93" fmla="*/ 2030752 w 4519987"/>
                    <a:gd name="connsiteY93" fmla="*/ 66675 h 4429225"/>
                    <a:gd name="connsiteX94" fmla="*/ 2097427 w 4519987"/>
                    <a:gd name="connsiteY94" fmla="*/ 47625 h 4429225"/>
                    <a:gd name="connsiteX95" fmla="*/ 2164102 w 4519987"/>
                    <a:gd name="connsiteY95" fmla="*/ 38100 h 4429225"/>
                    <a:gd name="connsiteX96" fmla="*/ 2392702 w 4519987"/>
                    <a:gd name="connsiteY9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11452 w 4519987"/>
                    <a:gd name="connsiteY56" fmla="*/ 2400300 h 4429225"/>
                    <a:gd name="connsiteX57" fmla="*/ 20977 w 4519987"/>
                    <a:gd name="connsiteY57" fmla="*/ 1905000 h 4429225"/>
                    <a:gd name="connsiteX58" fmla="*/ 30502 w 4519987"/>
                    <a:gd name="connsiteY58" fmla="*/ 1838325 h 4429225"/>
                    <a:gd name="connsiteX59" fmla="*/ 49552 w 4519987"/>
                    <a:gd name="connsiteY59" fmla="*/ 1781175 h 4429225"/>
                    <a:gd name="connsiteX60" fmla="*/ 59077 w 4519987"/>
                    <a:gd name="connsiteY60" fmla="*/ 1743075 h 4429225"/>
                    <a:gd name="connsiteX61" fmla="*/ 78127 w 4519987"/>
                    <a:gd name="connsiteY61" fmla="*/ 1685925 h 4429225"/>
                    <a:gd name="connsiteX62" fmla="*/ 87652 w 4519987"/>
                    <a:gd name="connsiteY62" fmla="*/ 1638300 h 4429225"/>
                    <a:gd name="connsiteX63" fmla="*/ 106702 w 4519987"/>
                    <a:gd name="connsiteY63" fmla="*/ 1590675 h 4429225"/>
                    <a:gd name="connsiteX64" fmla="*/ 135277 w 4519987"/>
                    <a:gd name="connsiteY64" fmla="*/ 1504950 h 4429225"/>
                    <a:gd name="connsiteX65" fmla="*/ 154327 w 4519987"/>
                    <a:gd name="connsiteY65" fmla="*/ 1419225 h 4429225"/>
                    <a:gd name="connsiteX66" fmla="*/ 230527 w 4519987"/>
                    <a:gd name="connsiteY66" fmla="*/ 1276350 h 4429225"/>
                    <a:gd name="connsiteX67" fmla="*/ 240052 w 4519987"/>
                    <a:gd name="connsiteY67" fmla="*/ 1247775 h 4429225"/>
                    <a:gd name="connsiteX68" fmla="*/ 268627 w 4519987"/>
                    <a:gd name="connsiteY68" fmla="*/ 1200150 h 4429225"/>
                    <a:gd name="connsiteX69" fmla="*/ 287677 w 4519987"/>
                    <a:gd name="connsiteY69" fmla="*/ 1152525 h 4429225"/>
                    <a:gd name="connsiteX70" fmla="*/ 316252 w 4519987"/>
                    <a:gd name="connsiteY70" fmla="*/ 1114425 h 4429225"/>
                    <a:gd name="connsiteX71" fmla="*/ 363877 w 4519987"/>
                    <a:gd name="connsiteY71" fmla="*/ 1038225 h 4429225"/>
                    <a:gd name="connsiteX72" fmla="*/ 382927 w 4519987"/>
                    <a:gd name="connsiteY72" fmla="*/ 1009650 h 4429225"/>
                    <a:gd name="connsiteX73" fmla="*/ 440077 w 4519987"/>
                    <a:gd name="connsiteY73" fmla="*/ 904875 h 4429225"/>
                    <a:gd name="connsiteX74" fmla="*/ 478177 w 4519987"/>
                    <a:gd name="connsiteY74" fmla="*/ 857250 h 4429225"/>
                    <a:gd name="connsiteX75" fmla="*/ 497227 w 4519987"/>
                    <a:gd name="connsiteY75" fmla="*/ 828675 h 4429225"/>
                    <a:gd name="connsiteX76" fmla="*/ 535327 w 4519987"/>
                    <a:gd name="connsiteY76" fmla="*/ 800100 h 4429225"/>
                    <a:gd name="connsiteX77" fmla="*/ 602002 w 4519987"/>
                    <a:gd name="connsiteY77" fmla="*/ 733425 h 4429225"/>
                    <a:gd name="connsiteX78" fmla="*/ 668677 w 4519987"/>
                    <a:gd name="connsiteY78" fmla="*/ 676275 h 4429225"/>
                    <a:gd name="connsiteX79" fmla="*/ 697252 w 4519987"/>
                    <a:gd name="connsiteY79" fmla="*/ 657225 h 4429225"/>
                    <a:gd name="connsiteX80" fmla="*/ 840127 w 4519987"/>
                    <a:gd name="connsiteY80" fmla="*/ 533400 h 4429225"/>
                    <a:gd name="connsiteX81" fmla="*/ 887752 w 4519987"/>
                    <a:gd name="connsiteY81" fmla="*/ 504825 h 4429225"/>
                    <a:gd name="connsiteX82" fmla="*/ 1167152 w 4519987"/>
                    <a:gd name="connsiteY82" fmla="*/ 311150 h 4429225"/>
                    <a:gd name="connsiteX83" fmla="*/ 1268752 w 4519987"/>
                    <a:gd name="connsiteY83" fmla="*/ 285750 h 4429225"/>
                    <a:gd name="connsiteX84" fmla="*/ 1411627 w 4519987"/>
                    <a:gd name="connsiteY84" fmla="*/ 190500 h 4429225"/>
                    <a:gd name="connsiteX85" fmla="*/ 1449727 w 4519987"/>
                    <a:gd name="connsiteY85" fmla="*/ 161925 h 4429225"/>
                    <a:gd name="connsiteX86" fmla="*/ 1525927 w 4519987"/>
                    <a:gd name="connsiteY86" fmla="*/ 152400 h 4429225"/>
                    <a:gd name="connsiteX87" fmla="*/ 1583077 w 4519987"/>
                    <a:gd name="connsiteY87" fmla="*/ 142875 h 4429225"/>
                    <a:gd name="connsiteX88" fmla="*/ 1716427 w 4519987"/>
                    <a:gd name="connsiteY88" fmla="*/ 123825 h 4429225"/>
                    <a:gd name="connsiteX89" fmla="*/ 1811677 w 4519987"/>
                    <a:gd name="connsiteY89" fmla="*/ 114300 h 4429225"/>
                    <a:gd name="connsiteX90" fmla="*/ 1859302 w 4519987"/>
                    <a:gd name="connsiteY90" fmla="*/ 104775 h 4429225"/>
                    <a:gd name="connsiteX91" fmla="*/ 1916452 w 4519987"/>
                    <a:gd name="connsiteY91" fmla="*/ 95250 h 4429225"/>
                    <a:gd name="connsiteX92" fmla="*/ 2030752 w 4519987"/>
                    <a:gd name="connsiteY92" fmla="*/ 66675 h 4429225"/>
                    <a:gd name="connsiteX93" fmla="*/ 2097427 w 4519987"/>
                    <a:gd name="connsiteY93" fmla="*/ 47625 h 4429225"/>
                    <a:gd name="connsiteX94" fmla="*/ 2164102 w 4519987"/>
                    <a:gd name="connsiteY94" fmla="*/ 38100 h 4429225"/>
                    <a:gd name="connsiteX95" fmla="*/ 2392702 w 4519987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49994 w 4501379"/>
                    <a:gd name="connsiteY55" fmla="*/ 2724150 h 4429225"/>
                    <a:gd name="connsiteX56" fmla="*/ 56344 w 4501379"/>
                    <a:gd name="connsiteY56" fmla="*/ 2368550 h 4429225"/>
                    <a:gd name="connsiteX57" fmla="*/ 2369 w 4501379"/>
                    <a:gd name="connsiteY57" fmla="*/ 1905000 h 4429225"/>
                    <a:gd name="connsiteX58" fmla="*/ 11894 w 4501379"/>
                    <a:gd name="connsiteY58" fmla="*/ 1838325 h 4429225"/>
                    <a:gd name="connsiteX59" fmla="*/ 30944 w 4501379"/>
                    <a:gd name="connsiteY59" fmla="*/ 1781175 h 4429225"/>
                    <a:gd name="connsiteX60" fmla="*/ 40469 w 4501379"/>
                    <a:gd name="connsiteY60" fmla="*/ 1743075 h 4429225"/>
                    <a:gd name="connsiteX61" fmla="*/ 59519 w 4501379"/>
                    <a:gd name="connsiteY61" fmla="*/ 1685925 h 4429225"/>
                    <a:gd name="connsiteX62" fmla="*/ 69044 w 4501379"/>
                    <a:gd name="connsiteY62" fmla="*/ 1638300 h 4429225"/>
                    <a:gd name="connsiteX63" fmla="*/ 88094 w 4501379"/>
                    <a:gd name="connsiteY63" fmla="*/ 1590675 h 4429225"/>
                    <a:gd name="connsiteX64" fmla="*/ 116669 w 4501379"/>
                    <a:gd name="connsiteY64" fmla="*/ 1504950 h 4429225"/>
                    <a:gd name="connsiteX65" fmla="*/ 135719 w 4501379"/>
                    <a:gd name="connsiteY65" fmla="*/ 1419225 h 4429225"/>
                    <a:gd name="connsiteX66" fmla="*/ 211919 w 4501379"/>
                    <a:gd name="connsiteY66" fmla="*/ 1276350 h 4429225"/>
                    <a:gd name="connsiteX67" fmla="*/ 221444 w 4501379"/>
                    <a:gd name="connsiteY67" fmla="*/ 1247775 h 4429225"/>
                    <a:gd name="connsiteX68" fmla="*/ 250019 w 4501379"/>
                    <a:gd name="connsiteY68" fmla="*/ 1200150 h 4429225"/>
                    <a:gd name="connsiteX69" fmla="*/ 269069 w 4501379"/>
                    <a:gd name="connsiteY69" fmla="*/ 1152525 h 4429225"/>
                    <a:gd name="connsiteX70" fmla="*/ 297644 w 4501379"/>
                    <a:gd name="connsiteY70" fmla="*/ 1114425 h 4429225"/>
                    <a:gd name="connsiteX71" fmla="*/ 345269 w 4501379"/>
                    <a:gd name="connsiteY71" fmla="*/ 1038225 h 4429225"/>
                    <a:gd name="connsiteX72" fmla="*/ 364319 w 4501379"/>
                    <a:gd name="connsiteY72" fmla="*/ 1009650 h 4429225"/>
                    <a:gd name="connsiteX73" fmla="*/ 421469 w 4501379"/>
                    <a:gd name="connsiteY73" fmla="*/ 904875 h 4429225"/>
                    <a:gd name="connsiteX74" fmla="*/ 459569 w 4501379"/>
                    <a:gd name="connsiteY74" fmla="*/ 857250 h 4429225"/>
                    <a:gd name="connsiteX75" fmla="*/ 478619 w 4501379"/>
                    <a:gd name="connsiteY75" fmla="*/ 828675 h 4429225"/>
                    <a:gd name="connsiteX76" fmla="*/ 516719 w 4501379"/>
                    <a:gd name="connsiteY76" fmla="*/ 800100 h 4429225"/>
                    <a:gd name="connsiteX77" fmla="*/ 583394 w 4501379"/>
                    <a:gd name="connsiteY77" fmla="*/ 733425 h 4429225"/>
                    <a:gd name="connsiteX78" fmla="*/ 650069 w 4501379"/>
                    <a:gd name="connsiteY78" fmla="*/ 676275 h 4429225"/>
                    <a:gd name="connsiteX79" fmla="*/ 678644 w 4501379"/>
                    <a:gd name="connsiteY79" fmla="*/ 657225 h 4429225"/>
                    <a:gd name="connsiteX80" fmla="*/ 821519 w 4501379"/>
                    <a:gd name="connsiteY80" fmla="*/ 533400 h 4429225"/>
                    <a:gd name="connsiteX81" fmla="*/ 869144 w 4501379"/>
                    <a:gd name="connsiteY81" fmla="*/ 504825 h 4429225"/>
                    <a:gd name="connsiteX82" fmla="*/ 1148544 w 4501379"/>
                    <a:gd name="connsiteY82" fmla="*/ 311150 h 4429225"/>
                    <a:gd name="connsiteX83" fmla="*/ 1250144 w 4501379"/>
                    <a:gd name="connsiteY83" fmla="*/ 285750 h 4429225"/>
                    <a:gd name="connsiteX84" fmla="*/ 1393019 w 4501379"/>
                    <a:gd name="connsiteY84" fmla="*/ 190500 h 4429225"/>
                    <a:gd name="connsiteX85" fmla="*/ 1431119 w 4501379"/>
                    <a:gd name="connsiteY85" fmla="*/ 161925 h 4429225"/>
                    <a:gd name="connsiteX86" fmla="*/ 1507319 w 4501379"/>
                    <a:gd name="connsiteY86" fmla="*/ 152400 h 4429225"/>
                    <a:gd name="connsiteX87" fmla="*/ 1564469 w 4501379"/>
                    <a:gd name="connsiteY87" fmla="*/ 142875 h 4429225"/>
                    <a:gd name="connsiteX88" fmla="*/ 1697819 w 4501379"/>
                    <a:gd name="connsiteY88" fmla="*/ 123825 h 4429225"/>
                    <a:gd name="connsiteX89" fmla="*/ 1793069 w 4501379"/>
                    <a:gd name="connsiteY89" fmla="*/ 114300 h 4429225"/>
                    <a:gd name="connsiteX90" fmla="*/ 1840694 w 4501379"/>
                    <a:gd name="connsiteY90" fmla="*/ 104775 h 4429225"/>
                    <a:gd name="connsiteX91" fmla="*/ 1897844 w 4501379"/>
                    <a:gd name="connsiteY91" fmla="*/ 95250 h 4429225"/>
                    <a:gd name="connsiteX92" fmla="*/ 2012144 w 4501379"/>
                    <a:gd name="connsiteY92" fmla="*/ 66675 h 4429225"/>
                    <a:gd name="connsiteX93" fmla="*/ 2078819 w 4501379"/>
                    <a:gd name="connsiteY93" fmla="*/ 47625 h 4429225"/>
                    <a:gd name="connsiteX94" fmla="*/ 2145494 w 4501379"/>
                    <a:gd name="connsiteY94" fmla="*/ 38100 h 4429225"/>
                    <a:gd name="connsiteX95" fmla="*/ 2374094 w 4501379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56344 w 4501379"/>
                    <a:gd name="connsiteY55" fmla="*/ 2368550 h 4429225"/>
                    <a:gd name="connsiteX56" fmla="*/ 2369 w 4501379"/>
                    <a:gd name="connsiteY56" fmla="*/ 1905000 h 4429225"/>
                    <a:gd name="connsiteX57" fmla="*/ 11894 w 4501379"/>
                    <a:gd name="connsiteY57" fmla="*/ 1838325 h 4429225"/>
                    <a:gd name="connsiteX58" fmla="*/ 30944 w 4501379"/>
                    <a:gd name="connsiteY58" fmla="*/ 1781175 h 4429225"/>
                    <a:gd name="connsiteX59" fmla="*/ 40469 w 4501379"/>
                    <a:gd name="connsiteY59" fmla="*/ 1743075 h 4429225"/>
                    <a:gd name="connsiteX60" fmla="*/ 59519 w 4501379"/>
                    <a:gd name="connsiteY60" fmla="*/ 1685925 h 4429225"/>
                    <a:gd name="connsiteX61" fmla="*/ 69044 w 4501379"/>
                    <a:gd name="connsiteY61" fmla="*/ 1638300 h 4429225"/>
                    <a:gd name="connsiteX62" fmla="*/ 88094 w 4501379"/>
                    <a:gd name="connsiteY62" fmla="*/ 1590675 h 4429225"/>
                    <a:gd name="connsiteX63" fmla="*/ 116669 w 4501379"/>
                    <a:gd name="connsiteY63" fmla="*/ 1504950 h 4429225"/>
                    <a:gd name="connsiteX64" fmla="*/ 135719 w 4501379"/>
                    <a:gd name="connsiteY64" fmla="*/ 1419225 h 4429225"/>
                    <a:gd name="connsiteX65" fmla="*/ 211919 w 4501379"/>
                    <a:gd name="connsiteY65" fmla="*/ 1276350 h 4429225"/>
                    <a:gd name="connsiteX66" fmla="*/ 221444 w 4501379"/>
                    <a:gd name="connsiteY66" fmla="*/ 1247775 h 4429225"/>
                    <a:gd name="connsiteX67" fmla="*/ 250019 w 4501379"/>
                    <a:gd name="connsiteY67" fmla="*/ 1200150 h 4429225"/>
                    <a:gd name="connsiteX68" fmla="*/ 269069 w 4501379"/>
                    <a:gd name="connsiteY68" fmla="*/ 1152525 h 4429225"/>
                    <a:gd name="connsiteX69" fmla="*/ 297644 w 4501379"/>
                    <a:gd name="connsiteY69" fmla="*/ 1114425 h 4429225"/>
                    <a:gd name="connsiteX70" fmla="*/ 345269 w 4501379"/>
                    <a:gd name="connsiteY70" fmla="*/ 1038225 h 4429225"/>
                    <a:gd name="connsiteX71" fmla="*/ 364319 w 4501379"/>
                    <a:gd name="connsiteY71" fmla="*/ 1009650 h 4429225"/>
                    <a:gd name="connsiteX72" fmla="*/ 421469 w 4501379"/>
                    <a:gd name="connsiteY72" fmla="*/ 904875 h 4429225"/>
                    <a:gd name="connsiteX73" fmla="*/ 459569 w 4501379"/>
                    <a:gd name="connsiteY73" fmla="*/ 857250 h 4429225"/>
                    <a:gd name="connsiteX74" fmla="*/ 478619 w 4501379"/>
                    <a:gd name="connsiteY74" fmla="*/ 828675 h 4429225"/>
                    <a:gd name="connsiteX75" fmla="*/ 516719 w 4501379"/>
                    <a:gd name="connsiteY75" fmla="*/ 800100 h 4429225"/>
                    <a:gd name="connsiteX76" fmla="*/ 583394 w 4501379"/>
                    <a:gd name="connsiteY76" fmla="*/ 733425 h 4429225"/>
                    <a:gd name="connsiteX77" fmla="*/ 650069 w 4501379"/>
                    <a:gd name="connsiteY77" fmla="*/ 676275 h 4429225"/>
                    <a:gd name="connsiteX78" fmla="*/ 678644 w 4501379"/>
                    <a:gd name="connsiteY78" fmla="*/ 657225 h 4429225"/>
                    <a:gd name="connsiteX79" fmla="*/ 821519 w 4501379"/>
                    <a:gd name="connsiteY79" fmla="*/ 533400 h 4429225"/>
                    <a:gd name="connsiteX80" fmla="*/ 869144 w 4501379"/>
                    <a:gd name="connsiteY80" fmla="*/ 504825 h 4429225"/>
                    <a:gd name="connsiteX81" fmla="*/ 1148544 w 4501379"/>
                    <a:gd name="connsiteY81" fmla="*/ 311150 h 4429225"/>
                    <a:gd name="connsiteX82" fmla="*/ 1250144 w 4501379"/>
                    <a:gd name="connsiteY82" fmla="*/ 285750 h 4429225"/>
                    <a:gd name="connsiteX83" fmla="*/ 1393019 w 4501379"/>
                    <a:gd name="connsiteY83" fmla="*/ 190500 h 4429225"/>
                    <a:gd name="connsiteX84" fmla="*/ 1431119 w 4501379"/>
                    <a:gd name="connsiteY84" fmla="*/ 161925 h 4429225"/>
                    <a:gd name="connsiteX85" fmla="*/ 1507319 w 4501379"/>
                    <a:gd name="connsiteY85" fmla="*/ 152400 h 4429225"/>
                    <a:gd name="connsiteX86" fmla="*/ 1564469 w 4501379"/>
                    <a:gd name="connsiteY86" fmla="*/ 142875 h 4429225"/>
                    <a:gd name="connsiteX87" fmla="*/ 1697819 w 4501379"/>
                    <a:gd name="connsiteY87" fmla="*/ 123825 h 4429225"/>
                    <a:gd name="connsiteX88" fmla="*/ 1793069 w 4501379"/>
                    <a:gd name="connsiteY88" fmla="*/ 114300 h 4429225"/>
                    <a:gd name="connsiteX89" fmla="*/ 1840694 w 4501379"/>
                    <a:gd name="connsiteY89" fmla="*/ 104775 h 4429225"/>
                    <a:gd name="connsiteX90" fmla="*/ 1897844 w 4501379"/>
                    <a:gd name="connsiteY90" fmla="*/ 95250 h 4429225"/>
                    <a:gd name="connsiteX91" fmla="*/ 2012144 w 4501379"/>
                    <a:gd name="connsiteY91" fmla="*/ 66675 h 4429225"/>
                    <a:gd name="connsiteX92" fmla="*/ 2078819 w 4501379"/>
                    <a:gd name="connsiteY92" fmla="*/ 47625 h 4429225"/>
                    <a:gd name="connsiteX93" fmla="*/ 2145494 w 4501379"/>
                    <a:gd name="connsiteY93" fmla="*/ 38100 h 4429225"/>
                    <a:gd name="connsiteX94" fmla="*/ 2374094 w 4501379"/>
                    <a:gd name="connsiteY94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26194 w 4501379"/>
                    <a:gd name="connsiteY53" fmla="*/ 292417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6869 w 4501379"/>
                    <a:gd name="connsiteY51" fmla="*/ 34702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313644 w 4501379"/>
                    <a:gd name="connsiteY46" fmla="*/ 42164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91" fmla="*/ 2374094 w 4501379"/>
                    <a:gd name="connsiteY91" fmla="*/ 28575 h 4429294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0" fmla="*/ 2278844 w 4501379"/>
                    <a:gd name="connsiteY0" fmla="*/ 0 h 4429294"/>
                    <a:gd name="connsiteX1" fmla="*/ 2478869 w 4501379"/>
                    <a:gd name="connsiteY1" fmla="*/ 47625 h 4429294"/>
                    <a:gd name="connsiteX2" fmla="*/ 2736044 w 4501379"/>
                    <a:gd name="connsiteY2" fmla="*/ 66675 h 4429294"/>
                    <a:gd name="connsiteX3" fmla="*/ 2812244 w 4501379"/>
                    <a:gd name="connsiteY3" fmla="*/ 76200 h 4429294"/>
                    <a:gd name="connsiteX4" fmla="*/ 2897969 w 4501379"/>
                    <a:gd name="connsiteY4" fmla="*/ 85725 h 4429294"/>
                    <a:gd name="connsiteX5" fmla="*/ 2955119 w 4501379"/>
                    <a:gd name="connsiteY5" fmla="*/ 114300 h 4429294"/>
                    <a:gd name="connsiteX6" fmla="*/ 2993219 w 4501379"/>
                    <a:gd name="connsiteY6" fmla="*/ 123825 h 4429294"/>
                    <a:gd name="connsiteX7" fmla="*/ 3117044 w 4501379"/>
                    <a:gd name="connsiteY7" fmla="*/ 171450 h 4429294"/>
                    <a:gd name="connsiteX8" fmla="*/ 3155144 w 4501379"/>
                    <a:gd name="connsiteY8" fmla="*/ 190500 h 4429294"/>
                    <a:gd name="connsiteX9" fmla="*/ 3221819 w 4501379"/>
                    <a:gd name="connsiteY9" fmla="*/ 228600 h 4429294"/>
                    <a:gd name="connsiteX10" fmla="*/ 3250394 w 4501379"/>
                    <a:gd name="connsiteY10" fmla="*/ 238125 h 4429294"/>
                    <a:gd name="connsiteX11" fmla="*/ 3278969 w 4501379"/>
                    <a:gd name="connsiteY11" fmla="*/ 257175 h 4429294"/>
                    <a:gd name="connsiteX12" fmla="*/ 3307544 w 4501379"/>
                    <a:gd name="connsiteY12" fmla="*/ 266700 h 4429294"/>
                    <a:gd name="connsiteX13" fmla="*/ 3336119 w 4501379"/>
                    <a:gd name="connsiteY13" fmla="*/ 285750 h 4429294"/>
                    <a:gd name="connsiteX14" fmla="*/ 3402794 w 4501379"/>
                    <a:gd name="connsiteY14" fmla="*/ 323850 h 4429294"/>
                    <a:gd name="connsiteX15" fmla="*/ 3450419 w 4501379"/>
                    <a:gd name="connsiteY15" fmla="*/ 361950 h 4429294"/>
                    <a:gd name="connsiteX16" fmla="*/ 3498044 w 4501379"/>
                    <a:gd name="connsiteY16" fmla="*/ 390525 h 4429294"/>
                    <a:gd name="connsiteX17" fmla="*/ 3612344 w 4501379"/>
                    <a:gd name="connsiteY17" fmla="*/ 485775 h 4429294"/>
                    <a:gd name="connsiteX18" fmla="*/ 3726644 w 4501379"/>
                    <a:gd name="connsiteY18" fmla="*/ 542925 h 4429294"/>
                    <a:gd name="connsiteX19" fmla="*/ 3793319 w 4501379"/>
                    <a:gd name="connsiteY19" fmla="*/ 581025 h 4429294"/>
                    <a:gd name="connsiteX20" fmla="*/ 4009219 w 4501379"/>
                    <a:gd name="connsiteY20" fmla="*/ 819150 h 4429294"/>
                    <a:gd name="connsiteX21" fmla="*/ 4145744 w 4501379"/>
                    <a:gd name="connsiteY21" fmla="*/ 990600 h 4429294"/>
                    <a:gd name="connsiteX22" fmla="*/ 4231469 w 4501379"/>
                    <a:gd name="connsiteY22" fmla="*/ 1143000 h 4429294"/>
                    <a:gd name="connsiteX23" fmla="*/ 4288619 w 4501379"/>
                    <a:gd name="connsiteY23" fmla="*/ 1266825 h 4429294"/>
                    <a:gd name="connsiteX24" fmla="*/ 4326719 w 4501379"/>
                    <a:gd name="connsiteY24" fmla="*/ 1362075 h 4429294"/>
                    <a:gd name="connsiteX25" fmla="*/ 4374344 w 4501379"/>
                    <a:gd name="connsiteY25" fmla="*/ 1552575 h 4429294"/>
                    <a:gd name="connsiteX26" fmla="*/ 4412444 w 4501379"/>
                    <a:gd name="connsiteY26" fmla="*/ 1685925 h 4429294"/>
                    <a:gd name="connsiteX27" fmla="*/ 4501344 w 4501379"/>
                    <a:gd name="connsiteY27" fmla="*/ 2181225 h 4429294"/>
                    <a:gd name="connsiteX28" fmla="*/ 4428319 w 4501379"/>
                    <a:gd name="connsiteY28" fmla="*/ 2768600 h 4429294"/>
                    <a:gd name="connsiteX29" fmla="*/ 4364819 w 4501379"/>
                    <a:gd name="connsiteY29" fmla="*/ 2990850 h 4429294"/>
                    <a:gd name="connsiteX30" fmla="*/ 4260044 w 4501379"/>
                    <a:gd name="connsiteY30" fmla="*/ 3248025 h 4429294"/>
                    <a:gd name="connsiteX31" fmla="*/ 4164794 w 4501379"/>
                    <a:gd name="connsiteY31" fmla="*/ 3400425 h 4429294"/>
                    <a:gd name="connsiteX32" fmla="*/ 4040969 w 4501379"/>
                    <a:gd name="connsiteY32" fmla="*/ 3533775 h 4429294"/>
                    <a:gd name="connsiteX33" fmla="*/ 3936194 w 4501379"/>
                    <a:gd name="connsiteY33" fmla="*/ 3648075 h 4429294"/>
                    <a:gd name="connsiteX34" fmla="*/ 3640919 w 4501379"/>
                    <a:gd name="connsiteY34" fmla="*/ 3971925 h 4429294"/>
                    <a:gd name="connsiteX35" fmla="*/ 3498044 w 4501379"/>
                    <a:gd name="connsiteY35" fmla="*/ 4083050 h 4429294"/>
                    <a:gd name="connsiteX36" fmla="*/ 3202769 w 4501379"/>
                    <a:gd name="connsiteY36" fmla="*/ 4222750 h 4429294"/>
                    <a:gd name="connsiteX37" fmla="*/ 3050369 w 4501379"/>
                    <a:gd name="connsiteY37" fmla="*/ 4286250 h 4429294"/>
                    <a:gd name="connsiteX38" fmla="*/ 2917019 w 4501379"/>
                    <a:gd name="connsiteY38" fmla="*/ 4333875 h 4429294"/>
                    <a:gd name="connsiteX39" fmla="*/ 2793194 w 4501379"/>
                    <a:gd name="connsiteY39" fmla="*/ 4371975 h 4429294"/>
                    <a:gd name="connsiteX40" fmla="*/ 2561419 w 4501379"/>
                    <a:gd name="connsiteY40" fmla="*/ 4391025 h 4429294"/>
                    <a:gd name="connsiteX41" fmla="*/ 2107394 w 4501379"/>
                    <a:gd name="connsiteY41" fmla="*/ 4429125 h 4429294"/>
                    <a:gd name="connsiteX42" fmla="*/ 1916894 w 4501379"/>
                    <a:gd name="connsiteY42" fmla="*/ 4400550 h 4429294"/>
                    <a:gd name="connsiteX43" fmla="*/ 1554944 w 4501379"/>
                    <a:gd name="connsiteY43" fmla="*/ 4305300 h 4429294"/>
                    <a:gd name="connsiteX44" fmla="*/ 1313644 w 4501379"/>
                    <a:gd name="connsiteY44" fmla="*/ 4216400 h 4429294"/>
                    <a:gd name="connsiteX45" fmla="*/ 1145369 w 4501379"/>
                    <a:gd name="connsiteY45" fmla="*/ 4111625 h 4429294"/>
                    <a:gd name="connsiteX46" fmla="*/ 926294 w 4501379"/>
                    <a:gd name="connsiteY46" fmla="*/ 3968750 h 4429294"/>
                    <a:gd name="connsiteX47" fmla="*/ 592919 w 4501379"/>
                    <a:gd name="connsiteY47" fmla="*/ 3657600 h 4429294"/>
                    <a:gd name="connsiteX48" fmla="*/ 446869 w 4501379"/>
                    <a:gd name="connsiteY48" fmla="*/ 3470275 h 4429294"/>
                    <a:gd name="connsiteX49" fmla="*/ 316694 w 4501379"/>
                    <a:gd name="connsiteY49" fmla="*/ 3244850 h 4429294"/>
                    <a:gd name="connsiteX50" fmla="*/ 164294 w 4501379"/>
                    <a:gd name="connsiteY50" fmla="*/ 2892425 h 4429294"/>
                    <a:gd name="connsiteX51" fmla="*/ 56344 w 4501379"/>
                    <a:gd name="connsiteY51" fmla="*/ 2368550 h 4429294"/>
                    <a:gd name="connsiteX52" fmla="*/ 2369 w 4501379"/>
                    <a:gd name="connsiteY52" fmla="*/ 1905000 h 4429294"/>
                    <a:gd name="connsiteX53" fmla="*/ 11894 w 4501379"/>
                    <a:gd name="connsiteY53" fmla="*/ 1838325 h 4429294"/>
                    <a:gd name="connsiteX54" fmla="*/ 30944 w 4501379"/>
                    <a:gd name="connsiteY54" fmla="*/ 1781175 h 4429294"/>
                    <a:gd name="connsiteX55" fmla="*/ 40469 w 4501379"/>
                    <a:gd name="connsiteY55" fmla="*/ 1743075 h 4429294"/>
                    <a:gd name="connsiteX56" fmla="*/ 59519 w 4501379"/>
                    <a:gd name="connsiteY56" fmla="*/ 1685925 h 4429294"/>
                    <a:gd name="connsiteX57" fmla="*/ 69044 w 4501379"/>
                    <a:gd name="connsiteY57" fmla="*/ 1638300 h 4429294"/>
                    <a:gd name="connsiteX58" fmla="*/ 88094 w 4501379"/>
                    <a:gd name="connsiteY58" fmla="*/ 1590675 h 4429294"/>
                    <a:gd name="connsiteX59" fmla="*/ 116669 w 4501379"/>
                    <a:gd name="connsiteY59" fmla="*/ 1504950 h 4429294"/>
                    <a:gd name="connsiteX60" fmla="*/ 135719 w 4501379"/>
                    <a:gd name="connsiteY60" fmla="*/ 1419225 h 4429294"/>
                    <a:gd name="connsiteX61" fmla="*/ 211919 w 4501379"/>
                    <a:gd name="connsiteY61" fmla="*/ 1276350 h 4429294"/>
                    <a:gd name="connsiteX62" fmla="*/ 221444 w 4501379"/>
                    <a:gd name="connsiteY62" fmla="*/ 1247775 h 4429294"/>
                    <a:gd name="connsiteX63" fmla="*/ 250019 w 4501379"/>
                    <a:gd name="connsiteY63" fmla="*/ 1200150 h 4429294"/>
                    <a:gd name="connsiteX64" fmla="*/ 269069 w 4501379"/>
                    <a:gd name="connsiteY64" fmla="*/ 1152525 h 4429294"/>
                    <a:gd name="connsiteX65" fmla="*/ 297644 w 4501379"/>
                    <a:gd name="connsiteY65" fmla="*/ 1114425 h 4429294"/>
                    <a:gd name="connsiteX66" fmla="*/ 345269 w 4501379"/>
                    <a:gd name="connsiteY66" fmla="*/ 1038225 h 4429294"/>
                    <a:gd name="connsiteX67" fmla="*/ 364319 w 4501379"/>
                    <a:gd name="connsiteY67" fmla="*/ 1009650 h 4429294"/>
                    <a:gd name="connsiteX68" fmla="*/ 421469 w 4501379"/>
                    <a:gd name="connsiteY68" fmla="*/ 904875 h 4429294"/>
                    <a:gd name="connsiteX69" fmla="*/ 459569 w 4501379"/>
                    <a:gd name="connsiteY69" fmla="*/ 857250 h 4429294"/>
                    <a:gd name="connsiteX70" fmla="*/ 478619 w 4501379"/>
                    <a:gd name="connsiteY70" fmla="*/ 828675 h 4429294"/>
                    <a:gd name="connsiteX71" fmla="*/ 516719 w 4501379"/>
                    <a:gd name="connsiteY71" fmla="*/ 800100 h 4429294"/>
                    <a:gd name="connsiteX72" fmla="*/ 583394 w 4501379"/>
                    <a:gd name="connsiteY72" fmla="*/ 733425 h 4429294"/>
                    <a:gd name="connsiteX73" fmla="*/ 650069 w 4501379"/>
                    <a:gd name="connsiteY73" fmla="*/ 676275 h 4429294"/>
                    <a:gd name="connsiteX74" fmla="*/ 678644 w 4501379"/>
                    <a:gd name="connsiteY74" fmla="*/ 657225 h 4429294"/>
                    <a:gd name="connsiteX75" fmla="*/ 821519 w 4501379"/>
                    <a:gd name="connsiteY75" fmla="*/ 533400 h 4429294"/>
                    <a:gd name="connsiteX76" fmla="*/ 869144 w 4501379"/>
                    <a:gd name="connsiteY76" fmla="*/ 504825 h 4429294"/>
                    <a:gd name="connsiteX77" fmla="*/ 1148544 w 4501379"/>
                    <a:gd name="connsiteY77" fmla="*/ 311150 h 4429294"/>
                    <a:gd name="connsiteX78" fmla="*/ 1250144 w 4501379"/>
                    <a:gd name="connsiteY78" fmla="*/ 285750 h 4429294"/>
                    <a:gd name="connsiteX79" fmla="*/ 1393019 w 4501379"/>
                    <a:gd name="connsiteY79" fmla="*/ 190500 h 4429294"/>
                    <a:gd name="connsiteX80" fmla="*/ 1431119 w 4501379"/>
                    <a:gd name="connsiteY80" fmla="*/ 161925 h 4429294"/>
                    <a:gd name="connsiteX81" fmla="*/ 1507319 w 4501379"/>
                    <a:gd name="connsiteY81" fmla="*/ 152400 h 4429294"/>
                    <a:gd name="connsiteX82" fmla="*/ 1564469 w 4501379"/>
                    <a:gd name="connsiteY82" fmla="*/ 142875 h 4429294"/>
                    <a:gd name="connsiteX83" fmla="*/ 1697819 w 4501379"/>
                    <a:gd name="connsiteY83" fmla="*/ 123825 h 4429294"/>
                    <a:gd name="connsiteX84" fmla="*/ 1793069 w 4501379"/>
                    <a:gd name="connsiteY84" fmla="*/ 114300 h 4429294"/>
                    <a:gd name="connsiteX85" fmla="*/ 1840694 w 4501379"/>
                    <a:gd name="connsiteY85" fmla="*/ 104775 h 4429294"/>
                    <a:gd name="connsiteX86" fmla="*/ 1897844 w 4501379"/>
                    <a:gd name="connsiteY86" fmla="*/ 95250 h 4429294"/>
                    <a:gd name="connsiteX87" fmla="*/ 2012144 w 4501379"/>
                    <a:gd name="connsiteY87" fmla="*/ 66675 h 4429294"/>
                    <a:gd name="connsiteX88" fmla="*/ 2078819 w 4501379"/>
                    <a:gd name="connsiteY88" fmla="*/ 47625 h 4429294"/>
                    <a:gd name="connsiteX89" fmla="*/ 2145494 w 4501379"/>
                    <a:gd name="connsiteY89" fmla="*/ 38100 h 4429294"/>
                    <a:gd name="connsiteX0" fmla="*/ 2278844 w 4501379"/>
                    <a:gd name="connsiteY0" fmla="*/ 0 h 4429294"/>
                    <a:gd name="connsiteX1" fmla="*/ 2736044 w 4501379"/>
                    <a:gd name="connsiteY1" fmla="*/ 666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2993219 w 4501379"/>
                    <a:gd name="connsiteY4" fmla="*/ 123825 h 4429294"/>
                    <a:gd name="connsiteX5" fmla="*/ 3117044 w 4501379"/>
                    <a:gd name="connsiteY5" fmla="*/ 171450 h 4429294"/>
                    <a:gd name="connsiteX6" fmla="*/ 3155144 w 4501379"/>
                    <a:gd name="connsiteY6" fmla="*/ 190500 h 4429294"/>
                    <a:gd name="connsiteX7" fmla="*/ 3221819 w 4501379"/>
                    <a:gd name="connsiteY7" fmla="*/ 228600 h 4429294"/>
                    <a:gd name="connsiteX8" fmla="*/ 3250394 w 4501379"/>
                    <a:gd name="connsiteY8" fmla="*/ 238125 h 4429294"/>
                    <a:gd name="connsiteX9" fmla="*/ 3278969 w 4501379"/>
                    <a:gd name="connsiteY9" fmla="*/ 257175 h 4429294"/>
                    <a:gd name="connsiteX10" fmla="*/ 3307544 w 4501379"/>
                    <a:gd name="connsiteY10" fmla="*/ 266700 h 4429294"/>
                    <a:gd name="connsiteX11" fmla="*/ 3336119 w 4501379"/>
                    <a:gd name="connsiteY11" fmla="*/ 285750 h 4429294"/>
                    <a:gd name="connsiteX12" fmla="*/ 3402794 w 4501379"/>
                    <a:gd name="connsiteY12" fmla="*/ 323850 h 4429294"/>
                    <a:gd name="connsiteX13" fmla="*/ 3450419 w 4501379"/>
                    <a:gd name="connsiteY13" fmla="*/ 361950 h 4429294"/>
                    <a:gd name="connsiteX14" fmla="*/ 3498044 w 4501379"/>
                    <a:gd name="connsiteY14" fmla="*/ 390525 h 4429294"/>
                    <a:gd name="connsiteX15" fmla="*/ 3612344 w 4501379"/>
                    <a:gd name="connsiteY15" fmla="*/ 485775 h 4429294"/>
                    <a:gd name="connsiteX16" fmla="*/ 3726644 w 4501379"/>
                    <a:gd name="connsiteY16" fmla="*/ 542925 h 4429294"/>
                    <a:gd name="connsiteX17" fmla="*/ 3793319 w 4501379"/>
                    <a:gd name="connsiteY17" fmla="*/ 581025 h 4429294"/>
                    <a:gd name="connsiteX18" fmla="*/ 4009219 w 4501379"/>
                    <a:gd name="connsiteY18" fmla="*/ 819150 h 4429294"/>
                    <a:gd name="connsiteX19" fmla="*/ 4145744 w 4501379"/>
                    <a:gd name="connsiteY19" fmla="*/ 990600 h 4429294"/>
                    <a:gd name="connsiteX20" fmla="*/ 4231469 w 4501379"/>
                    <a:gd name="connsiteY20" fmla="*/ 1143000 h 4429294"/>
                    <a:gd name="connsiteX21" fmla="*/ 4288619 w 4501379"/>
                    <a:gd name="connsiteY21" fmla="*/ 1266825 h 4429294"/>
                    <a:gd name="connsiteX22" fmla="*/ 4326719 w 4501379"/>
                    <a:gd name="connsiteY22" fmla="*/ 1362075 h 4429294"/>
                    <a:gd name="connsiteX23" fmla="*/ 4374344 w 4501379"/>
                    <a:gd name="connsiteY23" fmla="*/ 1552575 h 4429294"/>
                    <a:gd name="connsiteX24" fmla="*/ 4412444 w 4501379"/>
                    <a:gd name="connsiteY24" fmla="*/ 1685925 h 4429294"/>
                    <a:gd name="connsiteX25" fmla="*/ 4501344 w 4501379"/>
                    <a:gd name="connsiteY25" fmla="*/ 2181225 h 4429294"/>
                    <a:gd name="connsiteX26" fmla="*/ 4428319 w 4501379"/>
                    <a:gd name="connsiteY26" fmla="*/ 2768600 h 4429294"/>
                    <a:gd name="connsiteX27" fmla="*/ 4364819 w 4501379"/>
                    <a:gd name="connsiteY27" fmla="*/ 2990850 h 4429294"/>
                    <a:gd name="connsiteX28" fmla="*/ 4260044 w 4501379"/>
                    <a:gd name="connsiteY28" fmla="*/ 3248025 h 4429294"/>
                    <a:gd name="connsiteX29" fmla="*/ 4164794 w 4501379"/>
                    <a:gd name="connsiteY29" fmla="*/ 3400425 h 4429294"/>
                    <a:gd name="connsiteX30" fmla="*/ 4040969 w 4501379"/>
                    <a:gd name="connsiteY30" fmla="*/ 3533775 h 4429294"/>
                    <a:gd name="connsiteX31" fmla="*/ 3936194 w 4501379"/>
                    <a:gd name="connsiteY31" fmla="*/ 3648075 h 4429294"/>
                    <a:gd name="connsiteX32" fmla="*/ 3640919 w 4501379"/>
                    <a:gd name="connsiteY32" fmla="*/ 3971925 h 4429294"/>
                    <a:gd name="connsiteX33" fmla="*/ 3498044 w 4501379"/>
                    <a:gd name="connsiteY33" fmla="*/ 4083050 h 4429294"/>
                    <a:gd name="connsiteX34" fmla="*/ 3202769 w 4501379"/>
                    <a:gd name="connsiteY34" fmla="*/ 4222750 h 4429294"/>
                    <a:gd name="connsiteX35" fmla="*/ 3050369 w 4501379"/>
                    <a:gd name="connsiteY35" fmla="*/ 4286250 h 4429294"/>
                    <a:gd name="connsiteX36" fmla="*/ 2917019 w 4501379"/>
                    <a:gd name="connsiteY36" fmla="*/ 4333875 h 4429294"/>
                    <a:gd name="connsiteX37" fmla="*/ 2793194 w 4501379"/>
                    <a:gd name="connsiteY37" fmla="*/ 4371975 h 4429294"/>
                    <a:gd name="connsiteX38" fmla="*/ 2561419 w 4501379"/>
                    <a:gd name="connsiteY38" fmla="*/ 4391025 h 4429294"/>
                    <a:gd name="connsiteX39" fmla="*/ 2107394 w 4501379"/>
                    <a:gd name="connsiteY39" fmla="*/ 4429125 h 4429294"/>
                    <a:gd name="connsiteX40" fmla="*/ 1916894 w 4501379"/>
                    <a:gd name="connsiteY40" fmla="*/ 4400550 h 4429294"/>
                    <a:gd name="connsiteX41" fmla="*/ 1554944 w 4501379"/>
                    <a:gd name="connsiteY41" fmla="*/ 4305300 h 4429294"/>
                    <a:gd name="connsiteX42" fmla="*/ 1313644 w 4501379"/>
                    <a:gd name="connsiteY42" fmla="*/ 4216400 h 4429294"/>
                    <a:gd name="connsiteX43" fmla="*/ 1145369 w 4501379"/>
                    <a:gd name="connsiteY43" fmla="*/ 4111625 h 4429294"/>
                    <a:gd name="connsiteX44" fmla="*/ 926294 w 4501379"/>
                    <a:gd name="connsiteY44" fmla="*/ 3968750 h 4429294"/>
                    <a:gd name="connsiteX45" fmla="*/ 592919 w 4501379"/>
                    <a:gd name="connsiteY45" fmla="*/ 3657600 h 4429294"/>
                    <a:gd name="connsiteX46" fmla="*/ 446869 w 4501379"/>
                    <a:gd name="connsiteY46" fmla="*/ 3470275 h 4429294"/>
                    <a:gd name="connsiteX47" fmla="*/ 316694 w 4501379"/>
                    <a:gd name="connsiteY47" fmla="*/ 3244850 h 4429294"/>
                    <a:gd name="connsiteX48" fmla="*/ 164294 w 4501379"/>
                    <a:gd name="connsiteY48" fmla="*/ 2892425 h 4429294"/>
                    <a:gd name="connsiteX49" fmla="*/ 56344 w 4501379"/>
                    <a:gd name="connsiteY49" fmla="*/ 2368550 h 4429294"/>
                    <a:gd name="connsiteX50" fmla="*/ 2369 w 4501379"/>
                    <a:gd name="connsiteY50" fmla="*/ 1905000 h 4429294"/>
                    <a:gd name="connsiteX51" fmla="*/ 11894 w 4501379"/>
                    <a:gd name="connsiteY51" fmla="*/ 1838325 h 4429294"/>
                    <a:gd name="connsiteX52" fmla="*/ 30944 w 4501379"/>
                    <a:gd name="connsiteY52" fmla="*/ 1781175 h 4429294"/>
                    <a:gd name="connsiteX53" fmla="*/ 40469 w 4501379"/>
                    <a:gd name="connsiteY53" fmla="*/ 1743075 h 4429294"/>
                    <a:gd name="connsiteX54" fmla="*/ 59519 w 4501379"/>
                    <a:gd name="connsiteY54" fmla="*/ 1685925 h 4429294"/>
                    <a:gd name="connsiteX55" fmla="*/ 69044 w 4501379"/>
                    <a:gd name="connsiteY55" fmla="*/ 1638300 h 4429294"/>
                    <a:gd name="connsiteX56" fmla="*/ 88094 w 4501379"/>
                    <a:gd name="connsiteY56" fmla="*/ 1590675 h 4429294"/>
                    <a:gd name="connsiteX57" fmla="*/ 116669 w 4501379"/>
                    <a:gd name="connsiteY57" fmla="*/ 1504950 h 4429294"/>
                    <a:gd name="connsiteX58" fmla="*/ 135719 w 4501379"/>
                    <a:gd name="connsiteY58" fmla="*/ 1419225 h 4429294"/>
                    <a:gd name="connsiteX59" fmla="*/ 211919 w 4501379"/>
                    <a:gd name="connsiteY59" fmla="*/ 1276350 h 4429294"/>
                    <a:gd name="connsiteX60" fmla="*/ 221444 w 4501379"/>
                    <a:gd name="connsiteY60" fmla="*/ 1247775 h 4429294"/>
                    <a:gd name="connsiteX61" fmla="*/ 250019 w 4501379"/>
                    <a:gd name="connsiteY61" fmla="*/ 1200150 h 4429294"/>
                    <a:gd name="connsiteX62" fmla="*/ 269069 w 4501379"/>
                    <a:gd name="connsiteY62" fmla="*/ 1152525 h 4429294"/>
                    <a:gd name="connsiteX63" fmla="*/ 297644 w 4501379"/>
                    <a:gd name="connsiteY63" fmla="*/ 1114425 h 4429294"/>
                    <a:gd name="connsiteX64" fmla="*/ 345269 w 4501379"/>
                    <a:gd name="connsiteY64" fmla="*/ 1038225 h 4429294"/>
                    <a:gd name="connsiteX65" fmla="*/ 364319 w 4501379"/>
                    <a:gd name="connsiteY65" fmla="*/ 1009650 h 4429294"/>
                    <a:gd name="connsiteX66" fmla="*/ 421469 w 4501379"/>
                    <a:gd name="connsiteY66" fmla="*/ 904875 h 4429294"/>
                    <a:gd name="connsiteX67" fmla="*/ 459569 w 4501379"/>
                    <a:gd name="connsiteY67" fmla="*/ 857250 h 4429294"/>
                    <a:gd name="connsiteX68" fmla="*/ 478619 w 4501379"/>
                    <a:gd name="connsiteY68" fmla="*/ 828675 h 4429294"/>
                    <a:gd name="connsiteX69" fmla="*/ 516719 w 4501379"/>
                    <a:gd name="connsiteY69" fmla="*/ 800100 h 4429294"/>
                    <a:gd name="connsiteX70" fmla="*/ 583394 w 4501379"/>
                    <a:gd name="connsiteY70" fmla="*/ 733425 h 4429294"/>
                    <a:gd name="connsiteX71" fmla="*/ 650069 w 4501379"/>
                    <a:gd name="connsiteY71" fmla="*/ 676275 h 4429294"/>
                    <a:gd name="connsiteX72" fmla="*/ 678644 w 4501379"/>
                    <a:gd name="connsiteY72" fmla="*/ 657225 h 4429294"/>
                    <a:gd name="connsiteX73" fmla="*/ 821519 w 4501379"/>
                    <a:gd name="connsiteY73" fmla="*/ 533400 h 4429294"/>
                    <a:gd name="connsiteX74" fmla="*/ 869144 w 4501379"/>
                    <a:gd name="connsiteY74" fmla="*/ 504825 h 4429294"/>
                    <a:gd name="connsiteX75" fmla="*/ 1148544 w 4501379"/>
                    <a:gd name="connsiteY75" fmla="*/ 311150 h 4429294"/>
                    <a:gd name="connsiteX76" fmla="*/ 1250144 w 4501379"/>
                    <a:gd name="connsiteY76" fmla="*/ 285750 h 4429294"/>
                    <a:gd name="connsiteX77" fmla="*/ 1393019 w 4501379"/>
                    <a:gd name="connsiteY77" fmla="*/ 190500 h 4429294"/>
                    <a:gd name="connsiteX78" fmla="*/ 1431119 w 4501379"/>
                    <a:gd name="connsiteY78" fmla="*/ 161925 h 4429294"/>
                    <a:gd name="connsiteX79" fmla="*/ 1507319 w 4501379"/>
                    <a:gd name="connsiteY79" fmla="*/ 152400 h 4429294"/>
                    <a:gd name="connsiteX80" fmla="*/ 1564469 w 4501379"/>
                    <a:gd name="connsiteY80" fmla="*/ 142875 h 4429294"/>
                    <a:gd name="connsiteX81" fmla="*/ 1697819 w 4501379"/>
                    <a:gd name="connsiteY81" fmla="*/ 123825 h 4429294"/>
                    <a:gd name="connsiteX82" fmla="*/ 1793069 w 4501379"/>
                    <a:gd name="connsiteY82" fmla="*/ 114300 h 4429294"/>
                    <a:gd name="connsiteX83" fmla="*/ 1840694 w 4501379"/>
                    <a:gd name="connsiteY83" fmla="*/ 104775 h 4429294"/>
                    <a:gd name="connsiteX84" fmla="*/ 1897844 w 4501379"/>
                    <a:gd name="connsiteY84" fmla="*/ 95250 h 4429294"/>
                    <a:gd name="connsiteX85" fmla="*/ 2012144 w 4501379"/>
                    <a:gd name="connsiteY85" fmla="*/ 66675 h 4429294"/>
                    <a:gd name="connsiteX86" fmla="*/ 2078819 w 4501379"/>
                    <a:gd name="connsiteY86" fmla="*/ 47625 h 4429294"/>
                    <a:gd name="connsiteX87" fmla="*/ 2145494 w 4501379"/>
                    <a:gd name="connsiteY8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3117044 w 4501379"/>
                    <a:gd name="connsiteY4" fmla="*/ 171450 h 4429294"/>
                    <a:gd name="connsiteX5" fmla="*/ 3155144 w 4501379"/>
                    <a:gd name="connsiteY5" fmla="*/ 190500 h 4429294"/>
                    <a:gd name="connsiteX6" fmla="*/ 3221819 w 4501379"/>
                    <a:gd name="connsiteY6" fmla="*/ 228600 h 4429294"/>
                    <a:gd name="connsiteX7" fmla="*/ 3250394 w 4501379"/>
                    <a:gd name="connsiteY7" fmla="*/ 238125 h 4429294"/>
                    <a:gd name="connsiteX8" fmla="*/ 3278969 w 4501379"/>
                    <a:gd name="connsiteY8" fmla="*/ 257175 h 4429294"/>
                    <a:gd name="connsiteX9" fmla="*/ 3307544 w 4501379"/>
                    <a:gd name="connsiteY9" fmla="*/ 266700 h 4429294"/>
                    <a:gd name="connsiteX10" fmla="*/ 3336119 w 4501379"/>
                    <a:gd name="connsiteY10" fmla="*/ 285750 h 4429294"/>
                    <a:gd name="connsiteX11" fmla="*/ 3402794 w 4501379"/>
                    <a:gd name="connsiteY11" fmla="*/ 323850 h 4429294"/>
                    <a:gd name="connsiteX12" fmla="*/ 3450419 w 4501379"/>
                    <a:gd name="connsiteY12" fmla="*/ 361950 h 4429294"/>
                    <a:gd name="connsiteX13" fmla="*/ 3498044 w 4501379"/>
                    <a:gd name="connsiteY13" fmla="*/ 390525 h 4429294"/>
                    <a:gd name="connsiteX14" fmla="*/ 3612344 w 4501379"/>
                    <a:gd name="connsiteY14" fmla="*/ 485775 h 4429294"/>
                    <a:gd name="connsiteX15" fmla="*/ 3726644 w 4501379"/>
                    <a:gd name="connsiteY15" fmla="*/ 542925 h 4429294"/>
                    <a:gd name="connsiteX16" fmla="*/ 3793319 w 4501379"/>
                    <a:gd name="connsiteY16" fmla="*/ 581025 h 4429294"/>
                    <a:gd name="connsiteX17" fmla="*/ 4009219 w 4501379"/>
                    <a:gd name="connsiteY17" fmla="*/ 819150 h 4429294"/>
                    <a:gd name="connsiteX18" fmla="*/ 4145744 w 4501379"/>
                    <a:gd name="connsiteY18" fmla="*/ 990600 h 4429294"/>
                    <a:gd name="connsiteX19" fmla="*/ 4231469 w 4501379"/>
                    <a:gd name="connsiteY19" fmla="*/ 1143000 h 4429294"/>
                    <a:gd name="connsiteX20" fmla="*/ 4288619 w 4501379"/>
                    <a:gd name="connsiteY20" fmla="*/ 1266825 h 4429294"/>
                    <a:gd name="connsiteX21" fmla="*/ 4326719 w 4501379"/>
                    <a:gd name="connsiteY21" fmla="*/ 1362075 h 4429294"/>
                    <a:gd name="connsiteX22" fmla="*/ 4374344 w 4501379"/>
                    <a:gd name="connsiteY22" fmla="*/ 1552575 h 4429294"/>
                    <a:gd name="connsiteX23" fmla="*/ 4412444 w 4501379"/>
                    <a:gd name="connsiteY23" fmla="*/ 1685925 h 4429294"/>
                    <a:gd name="connsiteX24" fmla="*/ 4501344 w 4501379"/>
                    <a:gd name="connsiteY24" fmla="*/ 2181225 h 4429294"/>
                    <a:gd name="connsiteX25" fmla="*/ 4428319 w 4501379"/>
                    <a:gd name="connsiteY25" fmla="*/ 2768600 h 4429294"/>
                    <a:gd name="connsiteX26" fmla="*/ 4364819 w 4501379"/>
                    <a:gd name="connsiteY26" fmla="*/ 2990850 h 4429294"/>
                    <a:gd name="connsiteX27" fmla="*/ 4260044 w 4501379"/>
                    <a:gd name="connsiteY27" fmla="*/ 3248025 h 4429294"/>
                    <a:gd name="connsiteX28" fmla="*/ 4164794 w 4501379"/>
                    <a:gd name="connsiteY28" fmla="*/ 3400425 h 4429294"/>
                    <a:gd name="connsiteX29" fmla="*/ 4040969 w 4501379"/>
                    <a:gd name="connsiteY29" fmla="*/ 3533775 h 4429294"/>
                    <a:gd name="connsiteX30" fmla="*/ 3936194 w 4501379"/>
                    <a:gd name="connsiteY30" fmla="*/ 3648075 h 4429294"/>
                    <a:gd name="connsiteX31" fmla="*/ 3640919 w 4501379"/>
                    <a:gd name="connsiteY31" fmla="*/ 3971925 h 4429294"/>
                    <a:gd name="connsiteX32" fmla="*/ 3498044 w 4501379"/>
                    <a:gd name="connsiteY32" fmla="*/ 4083050 h 4429294"/>
                    <a:gd name="connsiteX33" fmla="*/ 3202769 w 4501379"/>
                    <a:gd name="connsiteY33" fmla="*/ 4222750 h 4429294"/>
                    <a:gd name="connsiteX34" fmla="*/ 3050369 w 4501379"/>
                    <a:gd name="connsiteY34" fmla="*/ 4286250 h 4429294"/>
                    <a:gd name="connsiteX35" fmla="*/ 2917019 w 4501379"/>
                    <a:gd name="connsiteY35" fmla="*/ 4333875 h 4429294"/>
                    <a:gd name="connsiteX36" fmla="*/ 2793194 w 4501379"/>
                    <a:gd name="connsiteY36" fmla="*/ 4371975 h 4429294"/>
                    <a:gd name="connsiteX37" fmla="*/ 2561419 w 4501379"/>
                    <a:gd name="connsiteY37" fmla="*/ 4391025 h 4429294"/>
                    <a:gd name="connsiteX38" fmla="*/ 2107394 w 4501379"/>
                    <a:gd name="connsiteY38" fmla="*/ 4429125 h 4429294"/>
                    <a:gd name="connsiteX39" fmla="*/ 1916894 w 4501379"/>
                    <a:gd name="connsiteY39" fmla="*/ 4400550 h 4429294"/>
                    <a:gd name="connsiteX40" fmla="*/ 1554944 w 4501379"/>
                    <a:gd name="connsiteY40" fmla="*/ 4305300 h 4429294"/>
                    <a:gd name="connsiteX41" fmla="*/ 1313644 w 4501379"/>
                    <a:gd name="connsiteY41" fmla="*/ 4216400 h 4429294"/>
                    <a:gd name="connsiteX42" fmla="*/ 1145369 w 4501379"/>
                    <a:gd name="connsiteY42" fmla="*/ 4111625 h 4429294"/>
                    <a:gd name="connsiteX43" fmla="*/ 926294 w 4501379"/>
                    <a:gd name="connsiteY43" fmla="*/ 3968750 h 4429294"/>
                    <a:gd name="connsiteX44" fmla="*/ 592919 w 4501379"/>
                    <a:gd name="connsiteY44" fmla="*/ 3657600 h 4429294"/>
                    <a:gd name="connsiteX45" fmla="*/ 446869 w 4501379"/>
                    <a:gd name="connsiteY45" fmla="*/ 3470275 h 4429294"/>
                    <a:gd name="connsiteX46" fmla="*/ 316694 w 4501379"/>
                    <a:gd name="connsiteY46" fmla="*/ 3244850 h 4429294"/>
                    <a:gd name="connsiteX47" fmla="*/ 164294 w 4501379"/>
                    <a:gd name="connsiteY47" fmla="*/ 2892425 h 4429294"/>
                    <a:gd name="connsiteX48" fmla="*/ 56344 w 4501379"/>
                    <a:gd name="connsiteY48" fmla="*/ 2368550 h 4429294"/>
                    <a:gd name="connsiteX49" fmla="*/ 2369 w 4501379"/>
                    <a:gd name="connsiteY49" fmla="*/ 1905000 h 4429294"/>
                    <a:gd name="connsiteX50" fmla="*/ 11894 w 4501379"/>
                    <a:gd name="connsiteY50" fmla="*/ 1838325 h 4429294"/>
                    <a:gd name="connsiteX51" fmla="*/ 30944 w 4501379"/>
                    <a:gd name="connsiteY51" fmla="*/ 1781175 h 4429294"/>
                    <a:gd name="connsiteX52" fmla="*/ 40469 w 4501379"/>
                    <a:gd name="connsiteY52" fmla="*/ 1743075 h 4429294"/>
                    <a:gd name="connsiteX53" fmla="*/ 59519 w 4501379"/>
                    <a:gd name="connsiteY53" fmla="*/ 1685925 h 4429294"/>
                    <a:gd name="connsiteX54" fmla="*/ 69044 w 4501379"/>
                    <a:gd name="connsiteY54" fmla="*/ 1638300 h 4429294"/>
                    <a:gd name="connsiteX55" fmla="*/ 88094 w 4501379"/>
                    <a:gd name="connsiteY55" fmla="*/ 1590675 h 4429294"/>
                    <a:gd name="connsiteX56" fmla="*/ 116669 w 4501379"/>
                    <a:gd name="connsiteY56" fmla="*/ 1504950 h 4429294"/>
                    <a:gd name="connsiteX57" fmla="*/ 135719 w 4501379"/>
                    <a:gd name="connsiteY57" fmla="*/ 1419225 h 4429294"/>
                    <a:gd name="connsiteX58" fmla="*/ 211919 w 4501379"/>
                    <a:gd name="connsiteY58" fmla="*/ 1276350 h 4429294"/>
                    <a:gd name="connsiteX59" fmla="*/ 221444 w 4501379"/>
                    <a:gd name="connsiteY59" fmla="*/ 1247775 h 4429294"/>
                    <a:gd name="connsiteX60" fmla="*/ 250019 w 4501379"/>
                    <a:gd name="connsiteY60" fmla="*/ 1200150 h 4429294"/>
                    <a:gd name="connsiteX61" fmla="*/ 269069 w 4501379"/>
                    <a:gd name="connsiteY61" fmla="*/ 1152525 h 4429294"/>
                    <a:gd name="connsiteX62" fmla="*/ 297644 w 4501379"/>
                    <a:gd name="connsiteY62" fmla="*/ 1114425 h 4429294"/>
                    <a:gd name="connsiteX63" fmla="*/ 345269 w 4501379"/>
                    <a:gd name="connsiteY63" fmla="*/ 1038225 h 4429294"/>
                    <a:gd name="connsiteX64" fmla="*/ 364319 w 4501379"/>
                    <a:gd name="connsiteY64" fmla="*/ 1009650 h 4429294"/>
                    <a:gd name="connsiteX65" fmla="*/ 421469 w 4501379"/>
                    <a:gd name="connsiteY65" fmla="*/ 904875 h 4429294"/>
                    <a:gd name="connsiteX66" fmla="*/ 459569 w 4501379"/>
                    <a:gd name="connsiteY66" fmla="*/ 857250 h 4429294"/>
                    <a:gd name="connsiteX67" fmla="*/ 478619 w 4501379"/>
                    <a:gd name="connsiteY67" fmla="*/ 828675 h 4429294"/>
                    <a:gd name="connsiteX68" fmla="*/ 516719 w 4501379"/>
                    <a:gd name="connsiteY68" fmla="*/ 800100 h 4429294"/>
                    <a:gd name="connsiteX69" fmla="*/ 583394 w 4501379"/>
                    <a:gd name="connsiteY69" fmla="*/ 733425 h 4429294"/>
                    <a:gd name="connsiteX70" fmla="*/ 650069 w 4501379"/>
                    <a:gd name="connsiteY70" fmla="*/ 676275 h 4429294"/>
                    <a:gd name="connsiteX71" fmla="*/ 678644 w 4501379"/>
                    <a:gd name="connsiteY71" fmla="*/ 657225 h 4429294"/>
                    <a:gd name="connsiteX72" fmla="*/ 821519 w 4501379"/>
                    <a:gd name="connsiteY72" fmla="*/ 533400 h 4429294"/>
                    <a:gd name="connsiteX73" fmla="*/ 869144 w 4501379"/>
                    <a:gd name="connsiteY73" fmla="*/ 504825 h 4429294"/>
                    <a:gd name="connsiteX74" fmla="*/ 1148544 w 4501379"/>
                    <a:gd name="connsiteY74" fmla="*/ 311150 h 4429294"/>
                    <a:gd name="connsiteX75" fmla="*/ 1250144 w 4501379"/>
                    <a:gd name="connsiteY75" fmla="*/ 285750 h 4429294"/>
                    <a:gd name="connsiteX76" fmla="*/ 1393019 w 4501379"/>
                    <a:gd name="connsiteY76" fmla="*/ 190500 h 4429294"/>
                    <a:gd name="connsiteX77" fmla="*/ 1431119 w 4501379"/>
                    <a:gd name="connsiteY77" fmla="*/ 161925 h 4429294"/>
                    <a:gd name="connsiteX78" fmla="*/ 1507319 w 4501379"/>
                    <a:gd name="connsiteY78" fmla="*/ 152400 h 4429294"/>
                    <a:gd name="connsiteX79" fmla="*/ 1564469 w 4501379"/>
                    <a:gd name="connsiteY79" fmla="*/ 142875 h 4429294"/>
                    <a:gd name="connsiteX80" fmla="*/ 1697819 w 4501379"/>
                    <a:gd name="connsiteY80" fmla="*/ 123825 h 4429294"/>
                    <a:gd name="connsiteX81" fmla="*/ 1793069 w 4501379"/>
                    <a:gd name="connsiteY81" fmla="*/ 114300 h 4429294"/>
                    <a:gd name="connsiteX82" fmla="*/ 1840694 w 4501379"/>
                    <a:gd name="connsiteY82" fmla="*/ 104775 h 4429294"/>
                    <a:gd name="connsiteX83" fmla="*/ 1897844 w 4501379"/>
                    <a:gd name="connsiteY83" fmla="*/ 95250 h 4429294"/>
                    <a:gd name="connsiteX84" fmla="*/ 2012144 w 4501379"/>
                    <a:gd name="connsiteY84" fmla="*/ 66675 h 4429294"/>
                    <a:gd name="connsiteX85" fmla="*/ 2078819 w 4501379"/>
                    <a:gd name="connsiteY85" fmla="*/ 47625 h 4429294"/>
                    <a:gd name="connsiteX86" fmla="*/ 2145494 w 4501379"/>
                    <a:gd name="connsiteY8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155144 w 4501379"/>
                    <a:gd name="connsiteY4" fmla="*/ 190500 h 4429294"/>
                    <a:gd name="connsiteX5" fmla="*/ 3221819 w 4501379"/>
                    <a:gd name="connsiteY5" fmla="*/ 228600 h 4429294"/>
                    <a:gd name="connsiteX6" fmla="*/ 3250394 w 4501379"/>
                    <a:gd name="connsiteY6" fmla="*/ 238125 h 4429294"/>
                    <a:gd name="connsiteX7" fmla="*/ 3278969 w 4501379"/>
                    <a:gd name="connsiteY7" fmla="*/ 257175 h 4429294"/>
                    <a:gd name="connsiteX8" fmla="*/ 3307544 w 4501379"/>
                    <a:gd name="connsiteY8" fmla="*/ 266700 h 4429294"/>
                    <a:gd name="connsiteX9" fmla="*/ 3336119 w 4501379"/>
                    <a:gd name="connsiteY9" fmla="*/ 285750 h 4429294"/>
                    <a:gd name="connsiteX10" fmla="*/ 3402794 w 4501379"/>
                    <a:gd name="connsiteY10" fmla="*/ 323850 h 4429294"/>
                    <a:gd name="connsiteX11" fmla="*/ 3450419 w 4501379"/>
                    <a:gd name="connsiteY11" fmla="*/ 361950 h 4429294"/>
                    <a:gd name="connsiteX12" fmla="*/ 3498044 w 4501379"/>
                    <a:gd name="connsiteY12" fmla="*/ 390525 h 4429294"/>
                    <a:gd name="connsiteX13" fmla="*/ 3612344 w 4501379"/>
                    <a:gd name="connsiteY13" fmla="*/ 485775 h 4429294"/>
                    <a:gd name="connsiteX14" fmla="*/ 3726644 w 4501379"/>
                    <a:gd name="connsiteY14" fmla="*/ 542925 h 4429294"/>
                    <a:gd name="connsiteX15" fmla="*/ 3793319 w 4501379"/>
                    <a:gd name="connsiteY15" fmla="*/ 581025 h 4429294"/>
                    <a:gd name="connsiteX16" fmla="*/ 4009219 w 4501379"/>
                    <a:gd name="connsiteY16" fmla="*/ 819150 h 4429294"/>
                    <a:gd name="connsiteX17" fmla="*/ 4145744 w 4501379"/>
                    <a:gd name="connsiteY17" fmla="*/ 990600 h 4429294"/>
                    <a:gd name="connsiteX18" fmla="*/ 4231469 w 4501379"/>
                    <a:gd name="connsiteY18" fmla="*/ 1143000 h 4429294"/>
                    <a:gd name="connsiteX19" fmla="*/ 4288619 w 4501379"/>
                    <a:gd name="connsiteY19" fmla="*/ 1266825 h 4429294"/>
                    <a:gd name="connsiteX20" fmla="*/ 4326719 w 4501379"/>
                    <a:gd name="connsiteY20" fmla="*/ 1362075 h 4429294"/>
                    <a:gd name="connsiteX21" fmla="*/ 4374344 w 4501379"/>
                    <a:gd name="connsiteY21" fmla="*/ 1552575 h 4429294"/>
                    <a:gd name="connsiteX22" fmla="*/ 4412444 w 4501379"/>
                    <a:gd name="connsiteY22" fmla="*/ 1685925 h 4429294"/>
                    <a:gd name="connsiteX23" fmla="*/ 4501344 w 4501379"/>
                    <a:gd name="connsiteY23" fmla="*/ 2181225 h 4429294"/>
                    <a:gd name="connsiteX24" fmla="*/ 4428319 w 4501379"/>
                    <a:gd name="connsiteY24" fmla="*/ 2768600 h 4429294"/>
                    <a:gd name="connsiteX25" fmla="*/ 4364819 w 4501379"/>
                    <a:gd name="connsiteY25" fmla="*/ 2990850 h 4429294"/>
                    <a:gd name="connsiteX26" fmla="*/ 4260044 w 4501379"/>
                    <a:gd name="connsiteY26" fmla="*/ 3248025 h 4429294"/>
                    <a:gd name="connsiteX27" fmla="*/ 4164794 w 4501379"/>
                    <a:gd name="connsiteY27" fmla="*/ 3400425 h 4429294"/>
                    <a:gd name="connsiteX28" fmla="*/ 4040969 w 4501379"/>
                    <a:gd name="connsiteY28" fmla="*/ 3533775 h 4429294"/>
                    <a:gd name="connsiteX29" fmla="*/ 3936194 w 4501379"/>
                    <a:gd name="connsiteY29" fmla="*/ 3648075 h 4429294"/>
                    <a:gd name="connsiteX30" fmla="*/ 3640919 w 4501379"/>
                    <a:gd name="connsiteY30" fmla="*/ 3971925 h 4429294"/>
                    <a:gd name="connsiteX31" fmla="*/ 3498044 w 4501379"/>
                    <a:gd name="connsiteY31" fmla="*/ 4083050 h 4429294"/>
                    <a:gd name="connsiteX32" fmla="*/ 3202769 w 4501379"/>
                    <a:gd name="connsiteY32" fmla="*/ 4222750 h 4429294"/>
                    <a:gd name="connsiteX33" fmla="*/ 3050369 w 4501379"/>
                    <a:gd name="connsiteY33" fmla="*/ 4286250 h 4429294"/>
                    <a:gd name="connsiteX34" fmla="*/ 2917019 w 4501379"/>
                    <a:gd name="connsiteY34" fmla="*/ 4333875 h 4429294"/>
                    <a:gd name="connsiteX35" fmla="*/ 2793194 w 4501379"/>
                    <a:gd name="connsiteY35" fmla="*/ 4371975 h 4429294"/>
                    <a:gd name="connsiteX36" fmla="*/ 2561419 w 4501379"/>
                    <a:gd name="connsiteY36" fmla="*/ 4391025 h 4429294"/>
                    <a:gd name="connsiteX37" fmla="*/ 2107394 w 4501379"/>
                    <a:gd name="connsiteY37" fmla="*/ 4429125 h 4429294"/>
                    <a:gd name="connsiteX38" fmla="*/ 1916894 w 4501379"/>
                    <a:gd name="connsiteY38" fmla="*/ 4400550 h 4429294"/>
                    <a:gd name="connsiteX39" fmla="*/ 1554944 w 4501379"/>
                    <a:gd name="connsiteY39" fmla="*/ 4305300 h 4429294"/>
                    <a:gd name="connsiteX40" fmla="*/ 1313644 w 4501379"/>
                    <a:gd name="connsiteY40" fmla="*/ 4216400 h 4429294"/>
                    <a:gd name="connsiteX41" fmla="*/ 1145369 w 4501379"/>
                    <a:gd name="connsiteY41" fmla="*/ 4111625 h 4429294"/>
                    <a:gd name="connsiteX42" fmla="*/ 926294 w 4501379"/>
                    <a:gd name="connsiteY42" fmla="*/ 3968750 h 4429294"/>
                    <a:gd name="connsiteX43" fmla="*/ 592919 w 4501379"/>
                    <a:gd name="connsiteY43" fmla="*/ 3657600 h 4429294"/>
                    <a:gd name="connsiteX44" fmla="*/ 446869 w 4501379"/>
                    <a:gd name="connsiteY44" fmla="*/ 3470275 h 4429294"/>
                    <a:gd name="connsiteX45" fmla="*/ 316694 w 4501379"/>
                    <a:gd name="connsiteY45" fmla="*/ 3244850 h 4429294"/>
                    <a:gd name="connsiteX46" fmla="*/ 164294 w 4501379"/>
                    <a:gd name="connsiteY46" fmla="*/ 2892425 h 4429294"/>
                    <a:gd name="connsiteX47" fmla="*/ 56344 w 4501379"/>
                    <a:gd name="connsiteY47" fmla="*/ 2368550 h 4429294"/>
                    <a:gd name="connsiteX48" fmla="*/ 2369 w 4501379"/>
                    <a:gd name="connsiteY48" fmla="*/ 1905000 h 4429294"/>
                    <a:gd name="connsiteX49" fmla="*/ 11894 w 4501379"/>
                    <a:gd name="connsiteY49" fmla="*/ 1838325 h 4429294"/>
                    <a:gd name="connsiteX50" fmla="*/ 30944 w 4501379"/>
                    <a:gd name="connsiteY50" fmla="*/ 1781175 h 4429294"/>
                    <a:gd name="connsiteX51" fmla="*/ 40469 w 4501379"/>
                    <a:gd name="connsiteY51" fmla="*/ 1743075 h 4429294"/>
                    <a:gd name="connsiteX52" fmla="*/ 59519 w 4501379"/>
                    <a:gd name="connsiteY52" fmla="*/ 1685925 h 4429294"/>
                    <a:gd name="connsiteX53" fmla="*/ 69044 w 4501379"/>
                    <a:gd name="connsiteY53" fmla="*/ 1638300 h 4429294"/>
                    <a:gd name="connsiteX54" fmla="*/ 88094 w 4501379"/>
                    <a:gd name="connsiteY54" fmla="*/ 1590675 h 4429294"/>
                    <a:gd name="connsiteX55" fmla="*/ 116669 w 4501379"/>
                    <a:gd name="connsiteY55" fmla="*/ 1504950 h 4429294"/>
                    <a:gd name="connsiteX56" fmla="*/ 135719 w 4501379"/>
                    <a:gd name="connsiteY56" fmla="*/ 1419225 h 4429294"/>
                    <a:gd name="connsiteX57" fmla="*/ 211919 w 4501379"/>
                    <a:gd name="connsiteY57" fmla="*/ 1276350 h 4429294"/>
                    <a:gd name="connsiteX58" fmla="*/ 221444 w 4501379"/>
                    <a:gd name="connsiteY58" fmla="*/ 1247775 h 4429294"/>
                    <a:gd name="connsiteX59" fmla="*/ 250019 w 4501379"/>
                    <a:gd name="connsiteY59" fmla="*/ 1200150 h 4429294"/>
                    <a:gd name="connsiteX60" fmla="*/ 269069 w 4501379"/>
                    <a:gd name="connsiteY60" fmla="*/ 1152525 h 4429294"/>
                    <a:gd name="connsiteX61" fmla="*/ 297644 w 4501379"/>
                    <a:gd name="connsiteY61" fmla="*/ 1114425 h 4429294"/>
                    <a:gd name="connsiteX62" fmla="*/ 345269 w 4501379"/>
                    <a:gd name="connsiteY62" fmla="*/ 1038225 h 4429294"/>
                    <a:gd name="connsiteX63" fmla="*/ 364319 w 4501379"/>
                    <a:gd name="connsiteY63" fmla="*/ 1009650 h 4429294"/>
                    <a:gd name="connsiteX64" fmla="*/ 421469 w 4501379"/>
                    <a:gd name="connsiteY64" fmla="*/ 904875 h 4429294"/>
                    <a:gd name="connsiteX65" fmla="*/ 459569 w 4501379"/>
                    <a:gd name="connsiteY65" fmla="*/ 857250 h 4429294"/>
                    <a:gd name="connsiteX66" fmla="*/ 478619 w 4501379"/>
                    <a:gd name="connsiteY66" fmla="*/ 828675 h 4429294"/>
                    <a:gd name="connsiteX67" fmla="*/ 516719 w 4501379"/>
                    <a:gd name="connsiteY67" fmla="*/ 800100 h 4429294"/>
                    <a:gd name="connsiteX68" fmla="*/ 583394 w 4501379"/>
                    <a:gd name="connsiteY68" fmla="*/ 733425 h 4429294"/>
                    <a:gd name="connsiteX69" fmla="*/ 650069 w 4501379"/>
                    <a:gd name="connsiteY69" fmla="*/ 676275 h 4429294"/>
                    <a:gd name="connsiteX70" fmla="*/ 678644 w 4501379"/>
                    <a:gd name="connsiteY70" fmla="*/ 657225 h 4429294"/>
                    <a:gd name="connsiteX71" fmla="*/ 821519 w 4501379"/>
                    <a:gd name="connsiteY71" fmla="*/ 533400 h 4429294"/>
                    <a:gd name="connsiteX72" fmla="*/ 869144 w 4501379"/>
                    <a:gd name="connsiteY72" fmla="*/ 504825 h 4429294"/>
                    <a:gd name="connsiteX73" fmla="*/ 1148544 w 4501379"/>
                    <a:gd name="connsiteY73" fmla="*/ 311150 h 4429294"/>
                    <a:gd name="connsiteX74" fmla="*/ 1250144 w 4501379"/>
                    <a:gd name="connsiteY74" fmla="*/ 285750 h 4429294"/>
                    <a:gd name="connsiteX75" fmla="*/ 1393019 w 4501379"/>
                    <a:gd name="connsiteY75" fmla="*/ 190500 h 4429294"/>
                    <a:gd name="connsiteX76" fmla="*/ 1431119 w 4501379"/>
                    <a:gd name="connsiteY76" fmla="*/ 161925 h 4429294"/>
                    <a:gd name="connsiteX77" fmla="*/ 1507319 w 4501379"/>
                    <a:gd name="connsiteY77" fmla="*/ 152400 h 4429294"/>
                    <a:gd name="connsiteX78" fmla="*/ 1564469 w 4501379"/>
                    <a:gd name="connsiteY78" fmla="*/ 142875 h 4429294"/>
                    <a:gd name="connsiteX79" fmla="*/ 1697819 w 4501379"/>
                    <a:gd name="connsiteY79" fmla="*/ 123825 h 4429294"/>
                    <a:gd name="connsiteX80" fmla="*/ 1793069 w 4501379"/>
                    <a:gd name="connsiteY80" fmla="*/ 114300 h 4429294"/>
                    <a:gd name="connsiteX81" fmla="*/ 1840694 w 4501379"/>
                    <a:gd name="connsiteY81" fmla="*/ 104775 h 4429294"/>
                    <a:gd name="connsiteX82" fmla="*/ 1897844 w 4501379"/>
                    <a:gd name="connsiteY82" fmla="*/ 95250 h 4429294"/>
                    <a:gd name="connsiteX83" fmla="*/ 2012144 w 4501379"/>
                    <a:gd name="connsiteY83" fmla="*/ 66675 h 4429294"/>
                    <a:gd name="connsiteX84" fmla="*/ 2078819 w 4501379"/>
                    <a:gd name="connsiteY84" fmla="*/ 47625 h 4429294"/>
                    <a:gd name="connsiteX85" fmla="*/ 2145494 w 4501379"/>
                    <a:gd name="connsiteY8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278969 w 4501379"/>
                    <a:gd name="connsiteY6" fmla="*/ 257175 h 4429294"/>
                    <a:gd name="connsiteX7" fmla="*/ 3307544 w 4501379"/>
                    <a:gd name="connsiteY7" fmla="*/ 266700 h 4429294"/>
                    <a:gd name="connsiteX8" fmla="*/ 3336119 w 4501379"/>
                    <a:gd name="connsiteY8" fmla="*/ 285750 h 4429294"/>
                    <a:gd name="connsiteX9" fmla="*/ 3402794 w 4501379"/>
                    <a:gd name="connsiteY9" fmla="*/ 323850 h 4429294"/>
                    <a:gd name="connsiteX10" fmla="*/ 3450419 w 4501379"/>
                    <a:gd name="connsiteY10" fmla="*/ 361950 h 4429294"/>
                    <a:gd name="connsiteX11" fmla="*/ 3498044 w 4501379"/>
                    <a:gd name="connsiteY11" fmla="*/ 390525 h 4429294"/>
                    <a:gd name="connsiteX12" fmla="*/ 3612344 w 4501379"/>
                    <a:gd name="connsiteY12" fmla="*/ 485775 h 4429294"/>
                    <a:gd name="connsiteX13" fmla="*/ 3726644 w 4501379"/>
                    <a:gd name="connsiteY13" fmla="*/ 542925 h 4429294"/>
                    <a:gd name="connsiteX14" fmla="*/ 3793319 w 4501379"/>
                    <a:gd name="connsiteY14" fmla="*/ 581025 h 4429294"/>
                    <a:gd name="connsiteX15" fmla="*/ 4009219 w 4501379"/>
                    <a:gd name="connsiteY15" fmla="*/ 819150 h 4429294"/>
                    <a:gd name="connsiteX16" fmla="*/ 4145744 w 4501379"/>
                    <a:gd name="connsiteY16" fmla="*/ 990600 h 4429294"/>
                    <a:gd name="connsiteX17" fmla="*/ 4231469 w 4501379"/>
                    <a:gd name="connsiteY17" fmla="*/ 1143000 h 4429294"/>
                    <a:gd name="connsiteX18" fmla="*/ 4288619 w 4501379"/>
                    <a:gd name="connsiteY18" fmla="*/ 1266825 h 4429294"/>
                    <a:gd name="connsiteX19" fmla="*/ 4326719 w 4501379"/>
                    <a:gd name="connsiteY19" fmla="*/ 1362075 h 4429294"/>
                    <a:gd name="connsiteX20" fmla="*/ 4374344 w 4501379"/>
                    <a:gd name="connsiteY20" fmla="*/ 1552575 h 4429294"/>
                    <a:gd name="connsiteX21" fmla="*/ 4412444 w 4501379"/>
                    <a:gd name="connsiteY21" fmla="*/ 1685925 h 4429294"/>
                    <a:gd name="connsiteX22" fmla="*/ 4501344 w 4501379"/>
                    <a:gd name="connsiteY22" fmla="*/ 2181225 h 4429294"/>
                    <a:gd name="connsiteX23" fmla="*/ 4428319 w 4501379"/>
                    <a:gd name="connsiteY23" fmla="*/ 2768600 h 4429294"/>
                    <a:gd name="connsiteX24" fmla="*/ 4364819 w 4501379"/>
                    <a:gd name="connsiteY24" fmla="*/ 2990850 h 4429294"/>
                    <a:gd name="connsiteX25" fmla="*/ 4260044 w 4501379"/>
                    <a:gd name="connsiteY25" fmla="*/ 3248025 h 4429294"/>
                    <a:gd name="connsiteX26" fmla="*/ 4164794 w 4501379"/>
                    <a:gd name="connsiteY26" fmla="*/ 3400425 h 4429294"/>
                    <a:gd name="connsiteX27" fmla="*/ 4040969 w 4501379"/>
                    <a:gd name="connsiteY27" fmla="*/ 3533775 h 4429294"/>
                    <a:gd name="connsiteX28" fmla="*/ 3936194 w 4501379"/>
                    <a:gd name="connsiteY28" fmla="*/ 3648075 h 4429294"/>
                    <a:gd name="connsiteX29" fmla="*/ 3640919 w 4501379"/>
                    <a:gd name="connsiteY29" fmla="*/ 3971925 h 4429294"/>
                    <a:gd name="connsiteX30" fmla="*/ 3498044 w 4501379"/>
                    <a:gd name="connsiteY30" fmla="*/ 4083050 h 4429294"/>
                    <a:gd name="connsiteX31" fmla="*/ 3202769 w 4501379"/>
                    <a:gd name="connsiteY31" fmla="*/ 4222750 h 4429294"/>
                    <a:gd name="connsiteX32" fmla="*/ 3050369 w 4501379"/>
                    <a:gd name="connsiteY32" fmla="*/ 4286250 h 4429294"/>
                    <a:gd name="connsiteX33" fmla="*/ 2917019 w 4501379"/>
                    <a:gd name="connsiteY33" fmla="*/ 4333875 h 4429294"/>
                    <a:gd name="connsiteX34" fmla="*/ 2793194 w 4501379"/>
                    <a:gd name="connsiteY34" fmla="*/ 4371975 h 4429294"/>
                    <a:gd name="connsiteX35" fmla="*/ 2561419 w 4501379"/>
                    <a:gd name="connsiteY35" fmla="*/ 4391025 h 4429294"/>
                    <a:gd name="connsiteX36" fmla="*/ 2107394 w 4501379"/>
                    <a:gd name="connsiteY36" fmla="*/ 4429125 h 4429294"/>
                    <a:gd name="connsiteX37" fmla="*/ 1916894 w 4501379"/>
                    <a:gd name="connsiteY37" fmla="*/ 4400550 h 4429294"/>
                    <a:gd name="connsiteX38" fmla="*/ 1554944 w 4501379"/>
                    <a:gd name="connsiteY38" fmla="*/ 4305300 h 4429294"/>
                    <a:gd name="connsiteX39" fmla="*/ 1313644 w 4501379"/>
                    <a:gd name="connsiteY39" fmla="*/ 4216400 h 4429294"/>
                    <a:gd name="connsiteX40" fmla="*/ 1145369 w 4501379"/>
                    <a:gd name="connsiteY40" fmla="*/ 4111625 h 4429294"/>
                    <a:gd name="connsiteX41" fmla="*/ 926294 w 4501379"/>
                    <a:gd name="connsiteY41" fmla="*/ 3968750 h 4429294"/>
                    <a:gd name="connsiteX42" fmla="*/ 592919 w 4501379"/>
                    <a:gd name="connsiteY42" fmla="*/ 3657600 h 4429294"/>
                    <a:gd name="connsiteX43" fmla="*/ 446869 w 4501379"/>
                    <a:gd name="connsiteY43" fmla="*/ 3470275 h 4429294"/>
                    <a:gd name="connsiteX44" fmla="*/ 316694 w 4501379"/>
                    <a:gd name="connsiteY44" fmla="*/ 3244850 h 4429294"/>
                    <a:gd name="connsiteX45" fmla="*/ 164294 w 4501379"/>
                    <a:gd name="connsiteY45" fmla="*/ 2892425 h 4429294"/>
                    <a:gd name="connsiteX46" fmla="*/ 56344 w 4501379"/>
                    <a:gd name="connsiteY46" fmla="*/ 2368550 h 4429294"/>
                    <a:gd name="connsiteX47" fmla="*/ 2369 w 4501379"/>
                    <a:gd name="connsiteY47" fmla="*/ 1905000 h 4429294"/>
                    <a:gd name="connsiteX48" fmla="*/ 11894 w 4501379"/>
                    <a:gd name="connsiteY48" fmla="*/ 1838325 h 4429294"/>
                    <a:gd name="connsiteX49" fmla="*/ 30944 w 4501379"/>
                    <a:gd name="connsiteY49" fmla="*/ 1781175 h 4429294"/>
                    <a:gd name="connsiteX50" fmla="*/ 40469 w 4501379"/>
                    <a:gd name="connsiteY50" fmla="*/ 1743075 h 4429294"/>
                    <a:gd name="connsiteX51" fmla="*/ 59519 w 4501379"/>
                    <a:gd name="connsiteY51" fmla="*/ 1685925 h 4429294"/>
                    <a:gd name="connsiteX52" fmla="*/ 69044 w 4501379"/>
                    <a:gd name="connsiteY52" fmla="*/ 1638300 h 4429294"/>
                    <a:gd name="connsiteX53" fmla="*/ 88094 w 4501379"/>
                    <a:gd name="connsiteY53" fmla="*/ 1590675 h 4429294"/>
                    <a:gd name="connsiteX54" fmla="*/ 116669 w 4501379"/>
                    <a:gd name="connsiteY54" fmla="*/ 1504950 h 4429294"/>
                    <a:gd name="connsiteX55" fmla="*/ 135719 w 4501379"/>
                    <a:gd name="connsiteY55" fmla="*/ 1419225 h 4429294"/>
                    <a:gd name="connsiteX56" fmla="*/ 211919 w 4501379"/>
                    <a:gd name="connsiteY56" fmla="*/ 1276350 h 4429294"/>
                    <a:gd name="connsiteX57" fmla="*/ 221444 w 4501379"/>
                    <a:gd name="connsiteY57" fmla="*/ 1247775 h 4429294"/>
                    <a:gd name="connsiteX58" fmla="*/ 250019 w 4501379"/>
                    <a:gd name="connsiteY58" fmla="*/ 1200150 h 4429294"/>
                    <a:gd name="connsiteX59" fmla="*/ 269069 w 4501379"/>
                    <a:gd name="connsiteY59" fmla="*/ 1152525 h 4429294"/>
                    <a:gd name="connsiteX60" fmla="*/ 297644 w 4501379"/>
                    <a:gd name="connsiteY60" fmla="*/ 1114425 h 4429294"/>
                    <a:gd name="connsiteX61" fmla="*/ 345269 w 4501379"/>
                    <a:gd name="connsiteY61" fmla="*/ 1038225 h 4429294"/>
                    <a:gd name="connsiteX62" fmla="*/ 364319 w 4501379"/>
                    <a:gd name="connsiteY62" fmla="*/ 1009650 h 4429294"/>
                    <a:gd name="connsiteX63" fmla="*/ 421469 w 4501379"/>
                    <a:gd name="connsiteY63" fmla="*/ 904875 h 4429294"/>
                    <a:gd name="connsiteX64" fmla="*/ 459569 w 4501379"/>
                    <a:gd name="connsiteY64" fmla="*/ 857250 h 4429294"/>
                    <a:gd name="connsiteX65" fmla="*/ 478619 w 4501379"/>
                    <a:gd name="connsiteY65" fmla="*/ 828675 h 4429294"/>
                    <a:gd name="connsiteX66" fmla="*/ 516719 w 4501379"/>
                    <a:gd name="connsiteY66" fmla="*/ 800100 h 4429294"/>
                    <a:gd name="connsiteX67" fmla="*/ 583394 w 4501379"/>
                    <a:gd name="connsiteY67" fmla="*/ 733425 h 4429294"/>
                    <a:gd name="connsiteX68" fmla="*/ 650069 w 4501379"/>
                    <a:gd name="connsiteY68" fmla="*/ 676275 h 4429294"/>
                    <a:gd name="connsiteX69" fmla="*/ 678644 w 4501379"/>
                    <a:gd name="connsiteY69" fmla="*/ 657225 h 4429294"/>
                    <a:gd name="connsiteX70" fmla="*/ 821519 w 4501379"/>
                    <a:gd name="connsiteY70" fmla="*/ 533400 h 4429294"/>
                    <a:gd name="connsiteX71" fmla="*/ 869144 w 4501379"/>
                    <a:gd name="connsiteY71" fmla="*/ 504825 h 4429294"/>
                    <a:gd name="connsiteX72" fmla="*/ 1148544 w 4501379"/>
                    <a:gd name="connsiteY72" fmla="*/ 311150 h 4429294"/>
                    <a:gd name="connsiteX73" fmla="*/ 1250144 w 4501379"/>
                    <a:gd name="connsiteY73" fmla="*/ 285750 h 4429294"/>
                    <a:gd name="connsiteX74" fmla="*/ 1393019 w 4501379"/>
                    <a:gd name="connsiteY74" fmla="*/ 190500 h 4429294"/>
                    <a:gd name="connsiteX75" fmla="*/ 1431119 w 4501379"/>
                    <a:gd name="connsiteY75" fmla="*/ 161925 h 4429294"/>
                    <a:gd name="connsiteX76" fmla="*/ 1507319 w 4501379"/>
                    <a:gd name="connsiteY76" fmla="*/ 152400 h 4429294"/>
                    <a:gd name="connsiteX77" fmla="*/ 1564469 w 4501379"/>
                    <a:gd name="connsiteY77" fmla="*/ 142875 h 4429294"/>
                    <a:gd name="connsiteX78" fmla="*/ 1697819 w 4501379"/>
                    <a:gd name="connsiteY78" fmla="*/ 123825 h 4429294"/>
                    <a:gd name="connsiteX79" fmla="*/ 1793069 w 4501379"/>
                    <a:gd name="connsiteY79" fmla="*/ 114300 h 4429294"/>
                    <a:gd name="connsiteX80" fmla="*/ 1840694 w 4501379"/>
                    <a:gd name="connsiteY80" fmla="*/ 104775 h 4429294"/>
                    <a:gd name="connsiteX81" fmla="*/ 1897844 w 4501379"/>
                    <a:gd name="connsiteY81" fmla="*/ 95250 h 4429294"/>
                    <a:gd name="connsiteX82" fmla="*/ 2012144 w 4501379"/>
                    <a:gd name="connsiteY82" fmla="*/ 66675 h 4429294"/>
                    <a:gd name="connsiteX83" fmla="*/ 2078819 w 4501379"/>
                    <a:gd name="connsiteY83" fmla="*/ 47625 h 4429294"/>
                    <a:gd name="connsiteX84" fmla="*/ 2145494 w 4501379"/>
                    <a:gd name="connsiteY8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336119 w 4501379"/>
                    <a:gd name="connsiteY7" fmla="*/ 285750 h 4429294"/>
                    <a:gd name="connsiteX8" fmla="*/ 3402794 w 4501379"/>
                    <a:gd name="connsiteY8" fmla="*/ 323850 h 4429294"/>
                    <a:gd name="connsiteX9" fmla="*/ 3450419 w 4501379"/>
                    <a:gd name="connsiteY9" fmla="*/ 361950 h 4429294"/>
                    <a:gd name="connsiteX10" fmla="*/ 3498044 w 4501379"/>
                    <a:gd name="connsiteY10" fmla="*/ 390525 h 4429294"/>
                    <a:gd name="connsiteX11" fmla="*/ 3612344 w 4501379"/>
                    <a:gd name="connsiteY11" fmla="*/ 485775 h 4429294"/>
                    <a:gd name="connsiteX12" fmla="*/ 3726644 w 4501379"/>
                    <a:gd name="connsiteY12" fmla="*/ 542925 h 4429294"/>
                    <a:gd name="connsiteX13" fmla="*/ 3793319 w 4501379"/>
                    <a:gd name="connsiteY13" fmla="*/ 581025 h 4429294"/>
                    <a:gd name="connsiteX14" fmla="*/ 4009219 w 4501379"/>
                    <a:gd name="connsiteY14" fmla="*/ 819150 h 4429294"/>
                    <a:gd name="connsiteX15" fmla="*/ 4145744 w 4501379"/>
                    <a:gd name="connsiteY15" fmla="*/ 990600 h 4429294"/>
                    <a:gd name="connsiteX16" fmla="*/ 4231469 w 4501379"/>
                    <a:gd name="connsiteY16" fmla="*/ 1143000 h 4429294"/>
                    <a:gd name="connsiteX17" fmla="*/ 4288619 w 4501379"/>
                    <a:gd name="connsiteY17" fmla="*/ 1266825 h 4429294"/>
                    <a:gd name="connsiteX18" fmla="*/ 4326719 w 4501379"/>
                    <a:gd name="connsiteY18" fmla="*/ 1362075 h 4429294"/>
                    <a:gd name="connsiteX19" fmla="*/ 4374344 w 4501379"/>
                    <a:gd name="connsiteY19" fmla="*/ 1552575 h 4429294"/>
                    <a:gd name="connsiteX20" fmla="*/ 4412444 w 4501379"/>
                    <a:gd name="connsiteY20" fmla="*/ 1685925 h 4429294"/>
                    <a:gd name="connsiteX21" fmla="*/ 4501344 w 4501379"/>
                    <a:gd name="connsiteY21" fmla="*/ 2181225 h 4429294"/>
                    <a:gd name="connsiteX22" fmla="*/ 4428319 w 4501379"/>
                    <a:gd name="connsiteY22" fmla="*/ 2768600 h 4429294"/>
                    <a:gd name="connsiteX23" fmla="*/ 4364819 w 4501379"/>
                    <a:gd name="connsiteY23" fmla="*/ 2990850 h 4429294"/>
                    <a:gd name="connsiteX24" fmla="*/ 4260044 w 4501379"/>
                    <a:gd name="connsiteY24" fmla="*/ 3248025 h 4429294"/>
                    <a:gd name="connsiteX25" fmla="*/ 4164794 w 4501379"/>
                    <a:gd name="connsiteY25" fmla="*/ 3400425 h 4429294"/>
                    <a:gd name="connsiteX26" fmla="*/ 4040969 w 4501379"/>
                    <a:gd name="connsiteY26" fmla="*/ 3533775 h 4429294"/>
                    <a:gd name="connsiteX27" fmla="*/ 3936194 w 4501379"/>
                    <a:gd name="connsiteY27" fmla="*/ 3648075 h 4429294"/>
                    <a:gd name="connsiteX28" fmla="*/ 3640919 w 4501379"/>
                    <a:gd name="connsiteY28" fmla="*/ 3971925 h 4429294"/>
                    <a:gd name="connsiteX29" fmla="*/ 3498044 w 4501379"/>
                    <a:gd name="connsiteY29" fmla="*/ 4083050 h 4429294"/>
                    <a:gd name="connsiteX30" fmla="*/ 3202769 w 4501379"/>
                    <a:gd name="connsiteY30" fmla="*/ 4222750 h 4429294"/>
                    <a:gd name="connsiteX31" fmla="*/ 3050369 w 4501379"/>
                    <a:gd name="connsiteY31" fmla="*/ 4286250 h 4429294"/>
                    <a:gd name="connsiteX32" fmla="*/ 2917019 w 4501379"/>
                    <a:gd name="connsiteY32" fmla="*/ 4333875 h 4429294"/>
                    <a:gd name="connsiteX33" fmla="*/ 2793194 w 4501379"/>
                    <a:gd name="connsiteY33" fmla="*/ 4371975 h 4429294"/>
                    <a:gd name="connsiteX34" fmla="*/ 2561419 w 4501379"/>
                    <a:gd name="connsiteY34" fmla="*/ 4391025 h 4429294"/>
                    <a:gd name="connsiteX35" fmla="*/ 2107394 w 4501379"/>
                    <a:gd name="connsiteY35" fmla="*/ 4429125 h 4429294"/>
                    <a:gd name="connsiteX36" fmla="*/ 1916894 w 4501379"/>
                    <a:gd name="connsiteY36" fmla="*/ 4400550 h 4429294"/>
                    <a:gd name="connsiteX37" fmla="*/ 1554944 w 4501379"/>
                    <a:gd name="connsiteY37" fmla="*/ 4305300 h 4429294"/>
                    <a:gd name="connsiteX38" fmla="*/ 1313644 w 4501379"/>
                    <a:gd name="connsiteY38" fmla="*/ 4216400 h 4429294"/>
                    <a:gd name="connsiteX39" fmla="*/ 1145369 w 4501379"/>
                    <a:gd name="connsiteY39" fmla="*/ 4111625 h 4429294"/>
                    <a:gd name="connsiteX40" fmla="*/ 926294 w 4501379"/>
                    <a:gd name="connsiteY40" fmla="*/ 3968750 h 4429294"/>
                    <a:gd name="connsiteX41" fmla="*/ 592919 w 4501379"/>
                    <a:gd name="connsiteY41" fmla="*/ 3657600 h 4429294"/>
                    <a:gd name="connsiteX42" fmla="*/ 446869 w 4501379"/>
                    <a:gd name="connsiteY42" fmla="*/ 3470275 h 4429294"/>
                    <a:gd name="connsiteX43" fmla="*/ 316694 w 4501379"/>
                    <a:gd name="connsiteY43" fmla="*/ 3244850 h 4429294"/>
                    <a:gd name="connsiteX44" fmla="*/ 164294 w 4501379"/>
                    <a:gd name="connsiteY44" fmla="*/ 2892425 h 4429294"/>
                    <a:gd name="connsiteX45" fmla="*/ 56344 w 4501379"/>
                    <a:gd name="connsiteY45" fmla="*/ 2368550 h 4429294"/>
                    <a:gd name="connsiteX46" fmla="*/ 2369 w 4501379"/>
                    <a:gd name="connsiteY46" fmla="*/ 1905000 h 4429294"/>
                    <a:gd name="connsiteX47" fmla="*/ 11894 w 4501379"/>
                    <a:gd name="connsiteY47" fmla="*/ 1838325 h 4429294"/>
                    <a:gd name="connsiteX48" fmla="*/ 30944 w 4501379"/>
                    <a:gd name="connsiteY48" fmla="*/ 1781175 h 4429294"/>
                    <a:gd name="connsiteX49" fmla="*/ 40469 w 4501379"/>
                    <a:gd name="connsiteY49" fmla="*/ 1743075 h 4429294"/>
                    <a:gd name="connsiteX50" fmla="*/ 59519 w 4501379"/>
                    <a:gd name="connsiteY50" fmla="*/ 1685925 h 4429294"/>
                    <a:gd name="connsiteX51" fmla="*/ 69044 w 4501379"/>
                    <a:gd name="connsiteY51" fmla="*/ 1638300 h 4429294"/>
                    <a:gd name="connsiteX52" fmla="*/ 88094 w 4501379"/>
                    <a:gd name="connsiteY52" fmla="*/ 1590675 h 4429294"/>
                    <a:gd name="connsiteX53" fmla="*/ 116669 w 4501379"/>
                    <a:gd name="connsiteY53" fmla="*/ 1504950 h 4429294"/>
                    <a:gd name="connsiteX54" fmla="*/ 135719 w 4501379"/>
                    <a:gd name="connsiteY54" fmla="*/ 1419225 h 4429294"/>
                    <a:gd name="connsiteX55" fmla="*/ 211919 w 4501379"/>
                    <a:gd name="connsiteY55" fmla="*/ 1276350 h 4429294"/>
                    <a:gd name="connsiteX56" fmla="*/ 221444 w 4501379"/>
                    <a:gd name="connsiteY56" fmla="*/ 1247775 h 4429294"/>
                    <a:gd name="connsiteX57" fmla="*/ 250019 w 4501379"/>
                    <a:gd name="connsiteY57" fmla="*/ 1200150 h 4429294"/>
                    <a:gd name="connsiteX58" fmla="*/ 269069 w 4501379"/>
                    <a:gd name="connsiteY58" fmla="*/ 1152525 h 4429294"/>
                    <a:gd name="connsiteX59" fmla="*/ 297644 w 4501379"/>
                    <a:gd name="connsiteY59" fmla="*/ 1114425 h 4429294"/>
                    <a:gd name="connsiteX60" fmla="*/ 345269 w 4501379"/>
                    <a:gd name="connsiteY60" fmla="*/ 1038225 h 4429294"/>
                    <a:gd name="connsiteX61" fmla="*/ 364319 w 4501379"/>
                    <a:gd name="connsiteY61" fmla="*/ 1009650 h 4429294"/>
                    <a:gd name="connsiteX62" fmla="*/ 421469 w 4501379"/>
                    <a:gd name="connsiteY62" fmla="*/ 904875 h 4429294"/>
                    <a:gd name="connsiteX63" fmla="*/ 459569 w 4501379"/>
                    <a:gd name="connsiteY63" fmla="*/ 857250 h 4429294"/>
                    <a:gd name="connsiteX64" fmla="*/ 478619 w 4501379"/>
                    <a:gd name="connsiteY64" fmla="*/ 828675 h 4429294"/>
                    <a:gd name="connsiteX65" fmla="*/ 516719 w 4501379"/>
                    <a:gd name="connsiteY65" fmla="*/ 800100 h 4429294"/>
                    <a:gd name="connsiteX66" fmla="*/ 583394 w 4501379"/>
                    <a:gd name="connsiteY66" fmla="*/ 733425 h 4429294"/>
                    <a:gd name="connsiteX67" fmla="*/ 650069 w 4501379"/>
                    <a:gd name="connsiteY67" fmla="*/ 676275 h 4429294"/>
                    <a:gd name="connsiteX68" fmla="*/ 678644 w 4501379"/>
                    <a:gd name="connsiteY68" fmla="*/ 657225 h 4429294"/>
                    <a:gd name="connsiteX69" fmla="*/ 821519 w 4501379"/>
                    <a:gd name="connsiteY69" fmla="*/ 533400 h 4429294"/>
                    <a:gd name="connsiteX70" fmla="*/ 869144 w 4501379"/>
                    <a:gd name="connsiteY70" fmla="*/ 504825 h 4429294"/>
                    <a:gd name="connsiteX71" fmla="*/ 1148544 w 4501379"/>
                    <a:gd name="connsiteY71" fmla="*/ 311150 h 4429294"/>
                    <a:gd name="connsiteX72" fmla="*/ 1250144 w 4501379"/>
                    <a:gd name="connsiteY72" fmla="*/ 285750 h 4429294"/>
                    <a:gd name="connsiteX73" fmla="*/ 1393019 w 4501379"/>
                    <a:gd name="connsiteY73" fmla="*/ 190500 h 4429294"/>
                    <a:gd name="connsiteX74" fmla="*/ 1431119 w 4501379"/>
                    <a:gd name="connsiteY74" fmla="*/ 161925 h 4429294"/>
                    <a:gd name="connsiteX75" fmla="*/ 1507319 w 4501379"/>
                    <a:gd name="connsiteY75" fmla="*/ 152400 h 4429294"/>
                    <a:gd name="connsiteX76" fmla="*/ 1564469 w 4501379"/>
                    <a:gd name="connsiteY76" fmla="*/ 142875 h 4429294"/>
                    <a:gd name="connsiteX77" fmla="*/ 1697819 w 4501379"/>
                    <a:gd name="connsiteY77" fmla="*/ 123825 h 4429294"/>
                    <a:gd name="connsiteX78" fmla="*/ 1793069 w 4501379"/>
                    <a:gd name="connsiteY78" fmla="*/ 114300 h 4429294"/>
                    <a:gd name="connsiteX79" fmla="*/ 1840694 w 4501379"/>
                    <a:gd name="connsiteY79" fmla="*/ 104775 h 4429294"/>
                    <a:gd name="connsiteX80" fmla="*/ 1897844 w 4501379"/>
                    <a:gd name="connsiteY80" fmla="*/ 95250 h 4429294"/>
                    <a:gd name="connsiteX81" fmla="*/ 2012144 w 4501379"/>
                    <a:gd name="connsiteY81" fmla="*/ 66675 h 4429294"/>
                    <a:gd name="connsiteX82" fmla="*/ 2078819 w 4501379"/>
                    <a:gd name="connsiteY82" fmla="*/ 47625 h 4429294"/>
                    <a:gd name="connsiteX83" fmla="*/ 2145494 w 4501379"/>
                    <a:gd name="connsiteY8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402794 w 4501379"/>
                    <a:gd name="connsiteY7" fmla="*/ 323850 h 4429294"/>
                    <a:gd name="connsiteX8" fmla="*/ 3450419 w 4501379"/>
                    <a:gd name="connsiteY8" fmla="*/ 361950 h 4429294"/>
                    <a:gd name="connsiteX9" fmla="*/ 3498044 w 4501379"/>
                    <a:gd name="connsiteY9" fmla="*/ 390525 h 4429294"/>
                    <a:gd name="connsiteX10" fmla="*/ 3612344 w 4501379"/>
                    <a:gd name="connsiteY10" fmla="*/ 485775 h 4429294"/>
                    <a:gd name="connsiteX11" fmla="*/ 3726644 w 4501379"/>
                    <a:gd name="connsiteY11" fmla="*/ 542925 h 4429294"/>
                    <a:gd name="connsiteX12" fmla="*/ 3793319 w 4501379"/>
                    <a:gd name="connsiteY12" fmla="*/ 581025 h 4429294"/>
                    <a:gd name="connsiteX13" fmla="*/ 4009219 w 4501379"/>
                    <a:gd name="connsiteY13" fmla="*/ 819150 h 4429294"/>
                    <a:gd name="connsiteX14" fmla="*/ 4145744 w 4501379"/>
                    <a:gd name="connsiteY14" fmla="*/ 990600 h 4429294"/>
                    <a:gd name="connsiteX15" fmla="*/ 4231469 w 4501379"/>
                    <a:gd name="connsiteY15" fmla="*/ 1143000 h 4429294"/>
                    <a:gd name="connsiteX16" fmla="*/ 4288619 w 4501379"/>
                    <a:gd name="connsiteY16" fmla="*/ 1266825 h 4429294"/>
                    <a:gd name="connsiteX17" fmla="*/ 4326719 w 4501379"/>
                    <a:gd name="connsiteY17" fmla="*/ 1362075 h 4429294"/>
                    <a:gd name="connsiteX18" fmla="*/ 4374344 w 4501379"/>
                    <a:gd name="connsiteY18" fmla="*/ 1552575 h 4429294"/>
                    <a:gd name="connsiteX19" fmla="*/ 4412444 w 4501379"/>
                    <a:gd name="connsiteY19" fmla="*/ 1685925 h 4429294"/>
                    <a:gd name="connsiteX20" fmla="*/ 4501344 w 4501379"/>
                    <a:gd name="connsiteY20" fmla="*/ 2181225 h 4429294"/>
                    <a:gd name="connsiteX21" fmla="*/ 4428319 w 4501379"/>
                    <a:gd name="connsiteY21" fmla="*/ 2768600 h 4429294"/>
                    <a:gd name="connsiteX22" fmla="*/ 4364819 w 4501379"/>
                    <a:gd name="connsiteY22" fmla="*/ 2990850 h 4429294"/>
                    <a:gd name="connsiteX23" fmla="*/ 4260044 w 4501379"/>
                    <a:gd name="connsiteY23" fmla="*/ 3248025 h 4429294"/>
                    <a:gd name="connsiteX24" fmla="*/ 4164794 w 4501379"/>
                    <a:gd name="connsiteY24" fmla="*/ 3400425 h 4429294"/>
                    <a:gd name="connsiteX25" fmla="*/ 4040969 w 4501379"/>
                    <a:gd name="connsiteY25" fmla="*/ 3533775 h 4429294"/>
                    <a:gd name="connsiteX26" fmla="*/ 3936194 w 4501379"/>
                    <a:gd name="connsiteY26" fmla="*/ 3648075 h 4429294"/>
                    <a:gd name="connsiteX27" fmla="*/ 3640919 w 4501379"/>
                    <a:gd name="connsiteY27" fmla="*/ 3971925 h 4429294"/>
                    <a:gd name="connsiteX28" fmla="*/ 3498044 w 4501379"/>
                    <a:gd name="connsiteY28" fmla="*/ 4083050 h 4429294"/>
                    <a:gd name="connsiteX29" fmla="*/ 3202769 w 4501379"/>
                    <a:gd name="connsiteY29" fmla="*/ 4222750 h 4429294"/>
                    <a:gd name="connsiteX30" fmla="*/ 3050369 w 4501379"/>
                    <a:gd name="connsiteY30" fmla="*/ 4286250 h 4429294"/>
                    <a:gd name="connsiteX31" fmla="*/ 2917019 w 4501379"/>
                    <a:gd name="connsiteY31" fmla="*/ 4333875 h 4429294"/>
                    <a:gd name="connsiteX32" fmla="*/ 2793194 w 4501379"/>
                    <a:gd name="connsiteY32" fmla="*/ 4371975 h 4429294"/>
                    <a:gd name="connsiteX33" fmla="*/ 2561419 w 4501379"/>
                    <a:gd name="connsiteY33" fmla="*/ 4391025 h 4429294"/>
                    <a:gd name="connsiteX34" fmla="*/ 2107394 w 4501379"/>
                    <a:gd name="connsiteY34" fmla="*/ 4429125 h 4429294"/>
                    <a:gd name="connsiteX35" fmla="*/ 1916894 w 4501379"/>
                    <a:gd name="connsiteY35" fmla="*/ 4400550 h 4429294"/>
                    <a:gd name="connsiteX36" fmla="*/ 1554944 w 4501379"/>
                    <a:gd name="connsiteY36" fmla="*/ 4305300 h 4429294"/>
                    <a:gd name="connsiteX37" fmla="*/ 1313644 w 4501379"/>
                    <a:gd name="connsiteY37" fmla="*/ 4216400 h 4429294"/>
                    <a:gd name="connsiteX38" fmla="*/ 1145369 w 4501379"/>
                    <a:gd name="connsiteY38" fmla="*/ 4111625 h 4429294"/>
                    <a:gd name="connsiteX39" fmla="*/ 926294 w 4501379"/>
                    <a:gd name="connsiteY39" fmla="*/ 3968750 h 4429294"/>
                    <a:gd name="connsiteX40" fmla="*/ 592919 w 4501379"/>
                    <a:gd name="connsiteY40" fmla="*/ 3657600 h 4429294"/>
                    <a:gd name="connsiteX41" fmla="*/ 446869 w 4501379"/>
                    <a:gd name="connsiteY41" fmla="*/ 3470275 h 4429294"/>
                    <a:gd name="connsiteX42" fmla="*/ 316694 w 4501379"/>
                    <a:gd name="connsiteY42" fmla="*/ 3244850 h 4429294"/>
                    <a:gd name="connsiteX43" fmla="*/ 164294 w 4501379"/>
                    <a:gd name="connsiteY43" fmla="*/ 2892425 h 4429294"/>
                    <a:gd name="connsiteX44" fmla="*/ 56344 w 4501379"/>
                    <a:gd name="connsiteY44" fmla="*/ 2368550 h 4429294"/>
                    <a:gd name="connsiteX45" fmla="*/ 2369 w 4501379"/>
                    <a:gd name="connsiteY45" fmla="*/ 1905000 h 4429294"/>
                    <a:gd name="connsiteX46" fmla="*/ 11894 w 4501379"/>
                    <a:gd name="connsiteY46" fmla="*/ 1838325 h 4429294"/>
                    <a:gd name="connsiteX47" fmla="*/ 30944 w 4501379"/>
                    <a:gd name="connsiteY47" fmla="*/ 1781175 h 4429294"/>
                    <a:gd name="connsiteX48" fmla="*/ 40469 w 4501379"/>
                    <a:gd name="connsiteY48" fmla="*/ 1743075 h 4429294"/>
                    <a:gd name="connsiteX49" fmla="*/ 59519 w 4501379"/>
                    <a:gd name="connsiteY49" fmla="*/ 1685925 h 4429294"/>
                    <a:gd name="connsiteX50" fmla="*/ 69044 w 4501379"/>
                    <a:gd name="connsiteY50" fmla="*/ 1638300 h 4429294"/>
                    <a:gd name="connsiteX51" fmla="*/ 88094 w 4501379"/>
                    <a:gd name="connsiteY51" fmla="*/ 1590675 h 4429294"/>
                    <a:gd name="connsiteX52" fmla="*/ 116669 w 4501379"/>
                    <a:gd name="connsiteY52" fmla="*/ 1504950 h 4429294"/>
                    <a:gd name="connsiteX53" fmla="*/ 135719 w 4501379"/>
                    <a:gd name="connsiteY53" fmla="*/ 1419225 h 4429294"/>
                    <a:gd name="connsiteX54" fmla="*/ 211919 w 4501379"/>
                    <a:gd name="connsiteY54" fmla="*/ 1276350 h 4429294"/>
                    <a:gd name="connsiteX55" fmla="*/ 221444 w 4501379"/>
                    <a:gd name="connsiteY55" fmla="*/ 1247775 h 4429294"/>
                    <a:gd name="connsiteX56" fmla="*/ 250019 w 4501379"/>
                    <a:gd name="connsiteY56" fmla="*/ 1200150 h 4429294"/>
                    <a:gd name="connsiteX57" fmla="*/ 269069 w 4501379"/>
                    <a:gd name="connsiteY57" fmla="*/ 1152525 h 4429294"/>
                    <a:gd name="connsiteX58" fmla="*/ 297644 w 4501379"/>
                    <a:gd name="connsiteY58" fmla="*/ 1114425 h 4429294"/>
                    <a:gd name="connsiteX59" fmla="*/ 345269 w 4501379"/>
                    <a:gd name="connsiteY59" fmla="*/ 1038225 h 4429294"/>
                    <a:gd name="connsiteX60" fmla="*/ 364319 w 4501379"/>
                    <a:gd name="connsiteY60" fmla="*/ 1009650 h 4429294"/>
                    <a:gd name="connsiteX61" fmla="*/ 421469 w 4501379"/>
                    <a:gd name="connsiteY61" fmla="*/ 904875 h 4429294"/>
                    <a:gd name="connsiteX62" fmla="*/ 459569 w 4501379"/>
                    <a:gd name="connsiteY62" fmla="*/ 857250 h 4429294"/>
                    <a:gd name="connsiteX63" fmla="*/ 478619 w 4501379"/>
                    <a:gd name="connsiteY63" fmla="*/ 828675 h 4429294"/>
                    <a:gd name="connsiteX64" fmla="*/ 516719 w 4501379"/>
                    <a:gd name="connsiteY64" fmla="*/ 800100 h 4429294"/>
                    <a:gd name="connsiteX65" fmla="*/ 583394 w 4501379"/>
                    <a:gd name="connsiteY65" fmla="*/ 733425 h 4429294"/>
                    <a:gd name="connsiteX66" fmla="*/ 650069 w 4501379"/>
                    <a:gd name="connsiteY66" fmla="*/ 676275 h 4429294"/>
                    <a:gd name="connsiteX67" fmla="*/ 678644 w 4501379"/>
                    <a:gd name="connsiteY67" fmla="*/ 657225 h 4429294"/>
                    <a:gd name="connsiteX68" fmla="*/ 821519 w 4501379"/>
                    <a:gd name="connsiteY68" fmla="*/ 533400 h 4429294"/>
                    <a:gd name="connsiteX69" fmla="*/ 869144 w 4501379"/>
                    <a:gd name="connsiteY69" fmla="*/ 504825 h 4429294"/>
                    <a:gd name="connsiteX70" fmla="*/ 1148544 w 4501379"/>
                    <a:gd name="connsiteY70" fmla="*/ 311150 h 4429294"/>
                    <a:gd name="connsiteX71" fmla="*/ 1250144 w 4501379"/>
                    <a:gd name="connsiteY71" fmla="*/ 285750 h 4429294"/>
                    <a:gd name="connsiteX72" fmla="*/ 1393019 w 4501379"/>
                    <a:gd name="connsiteY72" fmla="*/ 190500 h 4429294"/>
                    <a:gd name="connsiteX73" fmla="*/ 1431119 w 4501379"/>
                    <a:gd name="connsiteY73" fmla="*/ 161925 h 4429294"/>
                    <a:gd name="connsiteX74" fmla="*/ 1507319 w 4501379"/>
                    <a:gd name="connsiteY74" fmla="*/ 152400 h 4429294"/>
                    <a:gd name="connsiteX75" fmla="*/ 1564469 w 4501379"/>
                    <a:gd name="connsiteY75" fmla="*/ 142875 h 4429294"/>
                    <a:gd name="connsiteX76" fmla="*/ 1697819 w 4501379"/>
                    <a:gd name="connsiteY76" fmla="*/ 123825 h 4429294"/>
                    <a:gd name="connsiteX77" fmla="*/ 1793069 w 4501379"/>
                    <a:gd name="connsiteY77" fmla="*/ 114300 h 4429294"/>
                    <a:gd name="connsiteX78" fmla="*/ 1840694 w 4501379"/>
                    <a:gd name="connsiteY78" fmla="*/ 104775 h 4429294"/>
                    <a:gd name="connsiteX79" fmla="*/ 1897844 w 4501379"/>
                    <a:gd name="connsiteY79" fmla="*/ 95250 h 4429294"/>
                    <a:gd name="connsiteX80" fmla="*/ 2012144 w 4501379"/>
                    <a:gd name="connsiteY80" fmla="*/ 66675 h 4429294"/>
                    <a:gd name="connsiteX81" fmla="*/ 2078819 w 4501379"/>
                    <a:gd name="connsiteY81" fmla="*/ 47625 h 4429294"/>
                    <a:gd name="connsiteX82" fmla="*/ 2145494 w 4501379"/>
                    <a:gd name="connsiteY8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307544 w 4501379"/>
                    <a:gd name="connsiteY5" fmla="*/ 266700 h 4429294"/>
                    <a:gd name="connsiteX6" fmla="*/ 3402794 w 4501379"/>
                    <a:gd name="connsiteY6" fmla="*/ 323850 h 4429294"/>
                    <a:gd name="connsiteX7" fmla="*/ 3450419 w 4501379"/>
                    <a:gd name="connsiteY7" fmla="*/ 361950 h 4429294"/>
                    <a:gd name="connsiteX8" fmla="*/ 3498044 w 4501379"/>
                    <a:gd name="connsiteY8" fmla="*/ 390525 h 4429294"/>
                    <a:gd name="connsiteX9" fmla="*/ 3612344 w 4501379"/>
                    <a:gd name="connsiteY9" fmla="*/ 485775 h 4429294"/>
                    <a:gd name="connsiteX10" fmla="*/ 3726644 w 4501379"/>
                    <a:gd name="connsiteY10" fmla="*/ 542925 h 4429294"/>
                    <a:gd name="connsiteX11" fmla="*/ 3793319 w 4501379"/>
                    <a:gd name="connsiteY11" fmla="*/ 581025 h 4429294"/>
                    <a:gd name="connsiteX12" fmla="*/ 4009219 w 4501379"/>
                    <a:gd name="connsiteY12" fmla="*/ 819150 h 4429294"/>
                    <a:gd name="connsiteX13" fmla="*/ 4145744 w 4501379"/>
                    <a:gd name="connsiteY13" fmla="*/ 990600 h 4429294"/>
                    <a:gd name="connsiteX14" fmla="*/ 4231469 w 4501379"/>
                    <a:gd name="connsiteY14" fmla="*/ 1143000 h 4429294"/>
                    <a:gd name="connsiteX15" fmla="*/ 4288619 w 4501379"/>
                    <a:gd name="connsiteY15" fmla="*/ 1266825 h 4429294"/>
                    <a:gd name="connsiteX16" fmla="*/ 4326719 w 4501379"/>
                    <a:gd name="connsiteY16" fmla="*/ 1362075 h 4429294"/>
                    <a:gd name="connsiteX17" fmla="*/ 4374344 w 4501379"/>
                    <a:gd name="connsiteY17" fmla="*/ 1552575 h 4429294"/>
                    <a:gd name="connsiteX18" fmla="*/ 4412444 w 4501379"/>
                    <a:gd name="connsiteY18" fmla="*/ 1685925 h 4429294"/>
                    <a:gd name="connsiteX19" fmla="*/ 4501344 w 4501379"/>
                    <a:gd name="connsiteY19" fmla="*/ 2181225 h 4429294"/>
                    <a:gd name="connsiteX20" fmla="*/ 4428319 w 4501379"/>
                    <a:gd name="connsiteY20" fmla="*/ 2768600 h 4429294"/>
                    <a:gd name="connsiteX21" fmla="*/ 4364819 w 4501379"/>
                    <a:gd name="connsiteY21" fmla="*/ 2990850 h 4429294"/>
                    <a:gd name="connsiteX22" fmla="*/ 4260044 w 4501379"/>
                    <a:gd name="connsiteY22" fmla="*/ 3248025 h 4429294"/>
                    <a:gd name="connsiteX23" fmla="*/ 4164794 w 4501379"/>
                    <a:gd name="connsiteY23" fmla="*/ 3400425 h 4429294"/>
                    <a:gd name="connsiteX24" fmla="*/ 4040969 w 4501379"/>
                    <a:gd name="connsiteY24" fmla="*/ 3533775 h 4429294"/>
                    <a:gd name="connsiteX25" fmla="*/ 3936194 w 4501379"/>
                    <a:gd name="connsiteY25" fmla="*/ 3648075 h 4429294"/>
                    <a:gd name="connsiteX26" fmla="*/ 3640919 w 4501379"/>
                    <a:gd name="connsiteY26" fmla="*/ 3971925 h 4429294"/>
                    <a:gd name="connsiteX27" fmla="*/ 3498044 w 4501379"/>
                    <a:gd name="connsiteY27" fmla="*/ 4083050 h 4429294"/>
                    <a:gd name="connsiteX28" fmla="*/ 3202769 w 4501379"/>
                    <a:gd name="connsiteY28" fmla="*/ 4222750 h 4429294"/>
                    <a:gd name="connsiteX29" fmla="*/ 3050369 w 4501379"/>
                    <a:gd name="connsiteY29" fmla="*/ 4286250 h 4429294"/>
                    <a:gd name="connsiteX30" fmla="*/ 2917019 w 4501379"/>
                    <a:gd name="connsiteY30" fmla="*/ 4333875 h 4429294"/>
                    <a:gd name="connsiteX31" fmla="*/ 2793194 w 4501379"/>
                    <a:gd name="connsiteY31" fmla="*/ 4371975 h 4429294"/>
                    <a:gd name="connsiteX32" fmla="*/ 2561419 w 4501379"/>
                    <a:gd name="connsiteY32" fmla="*/ 4391025 h 4429294"/>
                    <a:gd name="connsiteX33" fmla="*/ 2107394 w 4501379"/>
                    <a:gd name="connsiteY33" fmla="*/ 4429125 h 4429294"/>
                    <a:gd name="connsiteX34" fmla="*/ 1916894 w 4501379"/>
                    <a:gd name="connsiteY34" fmla="*/ 4400550 h 4429294"/>
                    <a:gd name="connsiteX35" fmla="*/ 1554944 w 4501379"/>
                    <a:gd name="connsiteY35" fmla="*/ 4305300 h 4429294"/>
                    <a:gd name="connsiteX36" fmla="*/ 1313644 w 4501379"/>
                    <a:gd name="connsiteY36" fmla="*/ 4216400 h 4429294"/>
                    <a:gd name="connsiteX37" fmla="*/ 1145369 w 4501379"/>
                    <a:gd name="connsiteY37" fmla="*/ 4111625 h 4429294"/>
                    <a:gd name="connsiteX38" fmla="*/ 926294 w 4501379"/>
                    <a:gd name="connsiteY38" fmla="*/ 3968750 h 4429294"/>
                    <a:gd name="connsiteX39" fmla="*/ 592919 w 4501379"/>
                    <a:gd name="connsiteY39" fmla="*/ 3657600 h 4429294"/>
                    <a:gd name="connsiteX40" fmla="*/ 446869 w 4501379"/>
                    <a:gd name="connsiteY40" fmla="*/ 3470275 h 4429294"/>
                    <a:gd name="connsiteX41" fmla="*/ 316694 w 4501379"/>
                    <a:gd name="connsiteY41" fmla="*/ 3244850 h 4429294"/>
                    <a:gd name="connsiteX42" fmla="*/ 164294 w 4501379"/>
                    <a:gd name="connsiteY42" fmla="*/ 2892425 h 4429294"/>
                    <a:gd name="connsiteX43" fmla="*/ 56344 w 4501379"/>
                    <a:gd name="connsiteY43" fmla="*/ 2368550 h 4429294"/>
                    <a:gd name="connsiteX44" fmla="*/ 2369 w 4501379"/>
                    <a:gd name="connsiteY44" fmla="*/ 1905000 h 4429294"/>
                    <a:gd name="connsiteX45" fmla="*/ 11894 w 4501379"/>
                    <a:gd name="connsiteY45" fmla="*/ 1838325 h 4429294"/>
                    <a:gd name="connsiteX46" fmla="*/ 30944 w 4501379"/>
                    <a:gd name="connsiteY46" fmla="*/ 1781175 h 4429294"/>
                    <a:gd name="connsiteX47" fmla="*/ 40469 w 4501379"/>
                    <a:gd name="connsiteY47" fmla="*/ 1743075 h 4429294"/>
                    <a:gd name="connsiteX48" fmla="*/ 59519 w 4501379"/>
                    <a:gd name="connsiteY48" fmla="*/ 1685925 h 4429294"/>
                    <a:gd name="connsiteX49" fmla="*/ 69044 w 4501379"/>
                    <a:gd name="connsiteY49" fmla="*/ 1638300 h 4429294"/>
                    <a:gd name="connsiteX50" fmla="*/ 88094 w 4501379"/>
                    <a:gd name="connsiteY50" fmla="*/ 1590675 h 4429294"/>
                    <a:gd name="connsiteX51" fmla="*/ 116669 w 4501379"/>
                    <a:gd name="connsiteY51" fmla="*/ 1504950 h 4429294"/>
                    <a:gd name="connsiteX52" fmla="*/ 135719 w 4501379"/>
                    <a:gd name="connsiteY52" fmla="*/ 1419225 h 4429294"/>
                    <a:gd name="connsiteX53" fmla="*/ 211919 w 4501379"/>
                    <a:gd name="connsiteY53" fmla="*/ 1276350 h 4429294"/>
                    <a:gd name="connsiteX54" fmla="*/ 221444 w 4501379"/>
                    <a:gd name="connsiteY54" fmla="*/ 1247775 h 4429294"/>
                    <a:gd name="connsiteX55" fmla="*/ 250019 w 4501379"/>
                    <a:gd name="connsiteY55" fmla="*/ 1200150 h 4429294"/>
                    <a:gd name="connsiteX56" fmla="*/ 269069 w 4501379"/>
                    <a:gd name="connsiteY56" fmla="*/ 1152525 h 4429294"/>
                    <a:gd name="connsiteX57" fmla="*/ 297644 w 4501379"/>
                    <a:gd name="connsiteY57" fmla="*/ 1114425 h 4429294"/>
                    <a:gd name="connsiteX58" fmla="*/ 345269 w 4501379"/>
                    <a:gd name="connsiteY58" fmla="*/ 1038225 h 4429294"/>
                    <a:gd name="connsiteX59" fmla="*/ 364319 w 4501379"/>
                    <a:gd name="connsiteY59" fmla="*/ 1009650 h 4429294"/>
                    <a:gd name="connsiteX60" fmla="*/ 421469 w 4501379"/>
                    <a:gd name="connsiteY60" fmla="*/ 904875 h 4429294"/>
                    <a:gd name="connsiteX61" fmla="*/ 459569 w 4501379"/>
                    <a:gd name="connsiteY61" fmla="*/ 857250 h 4429294"/>
                    <a:gd name="connsiteX62" fmla="*/ 478619 w 4501379"/>
                    <a:gd name="connsiteY62" fmla="*/ 828675 h 4429294"/>
                    <a:gd name="connsiteX63" fmla="*/ 516719 w 4501379"/>
                    <a:gd name="connsiteY63" fmla="*/ 800100 h 4429294"/>
                    <a:gd name="connsiteX64" fmla="*/ 583394 w 4501379"/>
                    <a:gd name="connsiteY64" fmla="*/ 733425 h 4429294"/>
                    <a:gd name="connsiteX65" fmla="*/ 650069 w 4501379"/>
                    <a:gd name="connsiteY65" fmla="*/ 676275 h 4429294"/>
                    <a:gd name="connsiteX66" fmla="*/ 678644 w 4501379"/>
                    <a:gd name="connsiteY66" fmla="*/ 657225 h 4429294"/>
                    <a:gd name="connsiteX67" fmla="*/ 821519 w 4501379"/>
                    <a:gd name="connsiteY67" fmla="*/ 533400 h 4429294"/>
                    <a:gd name="connsiteX68" fmla="*/ 869144 w 4501379"/>
                    <a:gd name="connsiteY68" fmla="*/ 504825 h 4429294"/>
                    <a:gd name="connsiteX69" fmla="*/ 1148544 w 4501379"/>
                    <a:gd name="connsiteY69" fmla="*/ 311150 h 4429294"/>
                    <a:gd name="connsiteX70" fmla="*/ 1250144 w 4501379"/>
                    <a:gd name="connsiteY70" fmla="*/ 285750 h 4429294"/>
                    <a:gd name="connsiteX71" fmla="*/ 1393019 w 4501379"/>
                    <a:gd name="connsiteY71" fmla="*/ 190500 h 4429294"/>
                    <a:gd name="connsiteX72" fmla="*/ 1431119 w 4501379"/>
                    <a:gd name="connsiteY72" fmla="*/ 161925 h 4429294"/>
                    <a:gd name="connsiteX73" fmla="*/ 1507319 w 4501379"/>
                    <a:gd name="connsiteY73" fmla="*/ 152400 h 4429294"/>
                    <a:gd name="connsiteX74" fmla="*/ 1564469 w 4501379"/>
                    <a:gd name="connsiteY74" fmla="*/ 142875 h 4429294"/>
                    <a:gd name="connsiteX75" fmla="*/ 1697819 w 4501379"/>
                    <a:gd name="connsiteY75" fmla="*/ 123825 h 4429294"/>
                    <a:gd name="connsiteX76" fmla="*/ 1793069 w 4501379"/>
                    <a:gd name="connsiteY76" fmla="*/ 114300 h 4429294"/>
                    <a:gd name="connsiteX77" fmla="*/ 1840694 w 4501379"/>
                    <a:gd name="connsiteY77" fmla="*/ 104775 h 4429294"/>
                    <a:gd name="connsiteX78" fmla="*/ 1897844 w 4501379"/>
                    <a:gd name="connsiteY78" fmla="*/ 95250 h 4429294"/>
                    <a:gd name="connsiteX79" fmla="*/ 2012144 w 4501379"/>
                    <a:gd name="connsiteY79" fmla="*/ 66675 h 4429294"/>
                    <a:gd name="connsiteX80" fmla="*/ 2078819 w 4501379"/>
                    <a:gd name="connsiteY80" fmla="*/ 47625 h 4429294"/>
                    <a:gd name="connsiteX81" fmla="*/ 2145494 w 4501379"/>
                    <a:gd name="connsiteY8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498044 w 4501379"/>
                    <a:gd name="connsiteY7" fmla="*/ 390525 h 4429294"/>
                    <a:gd name="connsiteX8" fmla="*/ 3612344 w 4501379"/>
                    <a:gd name="connsiteY8" fmla="*/ 485775 h 4429294"/>
                    <a:gd name="connsiteX9" fmla="*/ 3726644 w 4501379"/>
                    <a:gd name="connsiteY9" fmla="*/ 542925 h 4429294"/>
                    <a:gd name="connsiteX10" fmla="*/ 3793319 w 4501379"/>
                    <a:gd name="connsiteY10" fmla="*/ 581025 h 4429294"/>
                    <a:gd name="connsiteX11" fmla="*/ 4009219 w 4501379"/>
                    <a:gd name="connsiteY11" fmla="*/ 819150 h 4429294"/>
                    <a:gd name="connsiteX12" fmla="*/ 4145744 w 4501379"/>
                    <a:gd name="connsiteY12" fmla="*/ 990600 h 4429294"/>
                    <a:gd name="connsiteX13" fmla="*/ 4231469 w 4501379"/>
                    <a:gd name="connsiteY13" fmla="*/ 1143000 h 4429294"/>
                    <a:gd name="connsiteX14" fmla="*/ 4288619 w 4501379"/>
                    <a:gd name="connsiteY14" fmla="*/ 1266825 h 4429294"/>
                    <a:gd name="connsiteX15" fmla="*/ 4326719 w 4501379"/>
                    <a:gd name="connsiteY15" fmla="*/ 1362075 h 4429294"/>
                    <a:gd name="connsiteX16" fmla="*/ 4374344 w 4501379"/>
                    <a:gd name="connsiteY16" fmla="*/ 1552575 h 4429294"/>
                    <a:gd name="connsiteX17" fmla="*/ 4412444 w 4501379"/>
                    <a:gd name="connsiteY17" fmla="*/ 1685925 h 4429294"/>
                    <a:gd name="connsiteX18" fmla="*/ 4501344 w 4501379"/>
                    <a:gd name="connsiteY18" fmla="*/ 2181225 h 4429294"/>
                    <a:gd name="connsiteX19" fmla="*/ 4428319 w 4501379"/>
                    <a:gd name="connsiteY19" fmla="*/ 2768600 h 4429294"/>
                    <a:gd name="connsiteX20" fmla="*/ 4364819 w 4501379"/>
                    <a:gd name="connsiteY20" fmla="*/ 2990850 h 4429294"/>
                    <a:gd name="connsiteX21" fmla="*/ 4260044 w 4501379"/>
                    <a:gd name="connsiteY21" fmla="*/ 3248025 h 4429294"/>
                    <a:gd name="connsiteX22" fmla="*/ 4164794 w 4501379"/>
                    <a:gd name="connsiteY22" fmla="*/ 3400425 h 4429294"/>
                    <a:gd name="connsiteX23" fmla="*/ 4040969 w 4501379"/>
                    <a:gd name="connsiteY23" fmla="*/ 3533775 h 4429294"/>
                    <a:gd name="connsiteX24" fmla="*/ 3936194 w 4501379"/>
                    <a:gd name="connsiteY24" fmla="*/ 3648075 h 4429294"/>
                    <a:gd name="connsiteX25" fmla="*/ 3640919 w 4501379"/>
                    <a:gd name="connsiteY25" fmla="*/ 3971925 h 4429294"/>
                    <a:gd name="connsiteX26" fmla="*/ 3498044 w 4501379"/>
                    <a:gd name="connsiteY26" fmla="*/ 4083050 h 4429294"/>
                    <a:gd name="connsiteX27" fmla="*/ 3202769 w 4501379"/>
                    <a:gd name="connsiteY27" fmla="*/ 4222750 h 4429294"/>
                    <a:gd name="connsiteX28" fmla="*/ 3050369 w 4501379"/>
                    <a:gd name="connsiteY28" fmla="*/ 4286250 h 4429294"/>
                    <a:gd name="connsiteX29" fmla="*/ 2917019 w 4501379"/>
                    <a:gd name="connsiteY29" fmla="*/ 4333875 h 4429294"/>
                    <a:gd name="connsiteX30" fmla="*/ 2793194 w 4501379"/>
                    <a:gd name="connsiteY30" fmla="*/ 4371975 h 4429294"/>
                    <a:gd name="connsiteX31" fmla="*/ 2561419 w 4501379"/>
                    <a:gd name="connsiteY31" fmla="*/ 4391025 h 4429294"/>
                    <a:gd name="connsiteX32" fmla="*/ 2107394 w 4501379"/>
                    <a:gd name="connsiteY32" fmla="*/ 4429125 h 4429294"/>
                    <a:gd name="connsiteX33" fmla="*/ 1916894 w 4501379"/>
                    <a:gd name="connsiteY33" fmla="*/ 4400550 h 4429294"/>
                    <a:gd name="connsiteX34" fmla="*/ 1554944 w 4501379"/>
                    <a:gd name="connsiteY34" fmla="*/ 4305300 h 4429294"/>
                    <a:gd name="connsiteX35" fmla="*/ 1313644 w 4501379"/>
                    <a:gd name="connsiteY35" fmla="*/ 4216400 h 4429294"/>
                    <a:gd name="connsiteX36" fmla="*/ 1145369 w 4501379"/>
                    <a:gd name="connsiteY36" fmla="*/ 4111625 h 4429294"/>
                    <a:gd name="connsiteX37" fmla="*/ 926294 w 4501379"/>
                    <a:gd name="connsiteY37" fmla="*/ 3968750 h 4429294"/>
                    <a:gd name="connsiteX38" fmla="*/ 592919 w 4501379"/>
                    <a:gd name="connsiteY38" fmla="*/ 3657600 h 4429294"/>
                    <a:gd name="connsiteX39" fmla="*/ 446869 w 4501379"/>
                    <a:gd name="connsiteY39" fmla="*/ 3470275 h 4429294"/>
                    <a:gd name="connsiteX40" fmla="*/ 316694 w 4501379"/>
                    <a:gd name="connsiteY40" fmla="*/ 3244850 h 4429294"/>
                    <a:gd name="connsiteX41" fmla="*/ 164294 w 4501379"/>
                    <a:gd name="connsiteY41" fmla="*/ 2892425 h 4429294"/>
                    <a:gd name="connsiteX42" fmla="*/ 56344 w 4501379"/>
                    <a:gd name="connsiteY42" fmla="*/ 2368550 h 4429294"/>
                    <a:gd name="connsiteX43" fmla="*/ 2369 w 4501379"/>
                    <a:gd name="connsiteY43" fmla="*/ 1905000 h 4429294"/>
                    <a:gd name="connsiteX44" fmla="*/ 11894 w 4501379"/>
                    <a:gd name="connsiteY44" fmla="*/ 1838325 h 4429294"/>
                    <a:gd name="connsiteX45" fmla="*/ 30944 w 4501379"/>
                    <a:gd name="connsiteY45" fmla="*/ 1781175 h 4429294"/>
                    <a:gd name="connsiteX46" fmla="*/ 40469 w 4501379"/>
                    <a:gd name="connsiteY46" fmla="*/ 1743075 h 4429294"/>
                    <a:gd name="connsiteX47" fmla="*/ 59519 w 4501379"/>
                    <a:gd name="connsiteY47" fmla="*/ 1685925 h 4429294"/>
                    <a:gd name="connsiteX48" fmla="*/ 69044 w 4501379"/>
                    <a:gd name="connsiteY48" fmla="*/ 1638300 h 4429294"/>
                    <a:gd name="connsiteX49" fmla="*/ 88094 w 4501379"/>
                    <a:gd name="connsiteY49" fmla="*/ 1590675 h 4429294"/>
                    <a:gd name="connsiteX50" fmla="*/ 116669 w 4501379"/>
                    <a:gd name="connsiteY50" fmla="*/ 1504950 h 4429294"/>
                    <a:gd name="connsiteX51" fmla="*/ 135719 w 4501379"/>
                    <a:gd name="connsiteY51" fmla="*/ 1419225 h 4429294"/>
                    <a:gd name="connsiteX52" fmla="*/ 211919 w 4501379"/>
                    <a:gd name="connsiteY52" fmla="*/ 1276350 h 4429294"/>
                    <a:gd name="connsiteX53" fmla="*/ 221444 w 4501379"/>
                    <a:gd name="connsiteY53" fmla="*/ 1247775 h 4429294"/>
                    <a:gd name="connsiteX54" fmla="*/ 250019 w 4501379"/>
                    <a:gd name="connsiteY54" fmla="*/ 1200150 h 4429294"/>
                    <a:gd name="connsiteX55" fmla="*/ 269069 w 4501379"/>
                    <a:gd name="connsiteY55" fmla="*/ 1152525 h 4429294"/>
                    <a:gd name="connsiteX56" fmla="*/ 297644 w 4501379"/>
                    <a:gd name="connsiteY56" fmla="*/ 1114425 h 4429294"/>
                    <a:gd name="connsiteX57" fmla="*/ 345269 w 4501379"/>
                    <a:gd name="connsiteY57" fmla="*/ 1038225 h 4429294"/>
                    <a:gd name="connsiteX58" fmla="*/ 364319 w 4501379"/>
                    <a:gd name="connsiteY58" fmla="*/ 1009650 h 4429294"/>
                    <a:gd name="connsiteX59" fmla="*/ 421469 w 4501379"/>
                    <a:gd name="connsiteY59" fmla="*/ 904875 h 4429294"/>
                    <a:gd name="connsiteX60" fmla="*/ 459569 w 4501379"/>
                    <a:gd name="connsiteY60" fmla="*/ 857250 h 4429294"/>
                    <a:gd name="connsiteX61" fmla="*/ 478619 w 4501379"/>
                    <a:gd name="connsiteY61" fmla="*/ 828675 h 4429294"/>
                    <a:gd name="connsiteX62" fmla="*/ 516719 w 4501379"/>
                    <a:gd name="connsiteY62" fmla="*/ 800100 h 4429294"/>
                    <a:gd name="connsiteX63" fmla="*/ 583394 w 4501379"/>
                    <a:gd name="connsiteY63" fmla="*/ 733425 h 4429294"/>
                    <a:gd name="connsiteX64" fmla="*/ 650069 w 4501379"/>
                    <a:gd name="connsiteY64" fmla="*/ 676275 h 4429294"/>
                    <a:gd name="connsiteX65" fmla="*/ 678644 w 4501379"/>
                    <a:gd name="connsiteY65" fmla="*/ 657225 h 4429294"/>
                    <a:gd name="connsiteX66" fmla="*/ 821519 w 4501379"/>
                    <a:gd name="connsiteY66" fmla="*/ 533400 h 4429294"/>
                    <a:gd name="connsiteX67" fmla="*/ 869144 w 4501379"/>
                    <a:gd name="connsiteY67" fmla="*/ 504825 h 4429294"/>
                    <a:gd name="connsiteX68" fmla="*/ 1148544 w 4501379"/>
                    <a:gd name="connsiteY68" fmla="*/ 311150 h 4429294"/>
                    <a:gd name="connsiteX69" fmla="*/ 1250144 w 4501379"/>
                    <a:gd name="connsiteY69" fmla="*/ 285750 h 4429294"/>
                    <a:gd name="connsiteX70" fmla="*/ 1393019 w 4501379"/>
                    <a:gd name="connsiteY70" fmla="*/ 190500 h 4429294"/>
                    <a:gd name="connsiteX71" fmla="*/ 1431119 w 4501379"/>
                    <a:gd name="connsiteY71" fmla="*/ 161925 h 4429294"/>
                    <a:gd name="connsiteX72" fmla="*/ 1507319 w 4501379"/>
                    <a:gd name="connsiteY72" fmla="*/ 152400 h 4429294"/>
                    <a:gd name="connsiteX73" fmla="*/ 1564469 w 4501379"/>
                    <a:gd name="connsiteY73" fmla="*/ 142875 h 4429294"/>
                    <a:gd name="connsiteX74" fmla="*/ 1697819 w 4501379"/>
                    <a:gd name="connsiteY74" fmla="*/ 123825 h 4429294"/>
                    <a:gd name="connsiteX75" fmla="*/ 1793069 w 4501379"/>
                    <a:gd name="connsiteY75" fmla="*/ 114300 h 4429294"/>
                    <a:gd name="connsiteX76" fmla="*/ 1840694 w 4501379"/>
                    <a:gd name="connsiteY76" fmla="*/ 104775 h 4429294"/>
                    <a:gd name="connsiteX77" fmla="*/ 1897844 w 4501379"/>
                    <a:gd name="connsiteY77" fmla="*/ 95250 h 4429294"/>
                    <a:gd name="connsiteX78" fmla="*/ 2012144 w 4501379"/>
                    <a:gd name="connsiteY78" fmla="*/ 66675 h 4429294"/>
                    <a:gd name="connsiteX79" fmla="*/ 2078819 w 4501379"/>
                    <a:gd name="connsiteY79" fmla="*/ 47625 h 4429294"/>
                    <a:gd name="connsiteX80" fmla="*/ 2145494 w 4501379"/>
                    <a:gd name="connsiteY8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612344 w 4501379"/>
                    <a:gd name="connsiteY7" fmla="*/ 485775 h 4429294"/>
                    <a:gd name="connsiteX8" fmla="*/ 3726644 w 4501379"/>
                    <a:gd name="connsiteY8" fmla="*/ 542925 h 4429294"/>
                    <a:gd name="connsiteX9" fmla="*/ 3793319 w 4501379"/>
                    <a:gd name="connsiteY9" fmla="*/ 581025 h 4429294"/>
                    <a:gd name="connsiteX10" fmla="*/ 4009219 w 4501379"/>
                    <a:gd name="connsiteY10" fmla="*/ 819150 h 4429294"/>
                    <a:gd name="connsiteX11" fmla="*/ 4145744 w 4501379"/>
                    <a:gd name="connsiteY11" fmla="*/ 990600 h 4429294"/>
                    <a:gd name="connsiteX12" fmla="*/ 4231469 w 4501379"/>
                    <a:gd name="connsiteY12" fmla="*/ 1143000 h 4429294"/>
                    <a:gd name="connsiteX13" fmla="*/ 4288619 w 4501379"/>
                    <a:gd name="connsiteY13" fmla="*/ 1266825 h 4429294"/>
                    <a:gd name="connsiteX14" fmla="*/ 4326719 w 4501379"/>
                    <a:gd name="connsiteY14" fmla="*/ 1362075 h 4429294"/>
                    <a:gd name="connsiteX15" fmla="*/ 4374344 w 4501379"/>
                    <a:gd name="connsiteY15" fmla="*/ 1552575 h 4429294"/>
                    <a:gd name="connsiteX16" fmla="*/ 4412444 w 4501379"/>
                    <a:gd name="connsiteY16" fmla="*/ 1685925 h 4429294"/>
                    <a:gd name="connsiteX17" fmla="*/ 4501344 w 4501379"/>
                    <a:gd name="connsiteY17" fmla="*/ 2181225 h 4429294"/>
                    <a:gd name="connsiteX18" fmla="*/ 4428319 w 4501379"/>
                    <a:gd name="connsiteY18" fmla="*/ 2768600 h 4429294"/>
                    <a:gd name="connsiteX19" fmla="*/ 4364819 w 4501379"/>
                    <a:gd name="connsiteY19" fmla="*/ 2990850 h 4429294"/>
                    <a:gd name="connsiteX20" fmla="*/ 4260044 w 4501379"/>
                    <a:gd name="connsiteY20" fmla="*/ 3248025 h 4429294"/>
                    <a:gd name="connsiteX21" fmla="*/ 4164794 w 4501379"/>
                    <a:gd name="connsiteY21" fmla="*/ 3400425 h 4429294"/>
                    <a:gd name="connsiteX22" fmla="*/ 4040969 w 4501379"/>
                    <a:gd name="connsiteY22" fmla="*/ 3533775 h 4429294"/>
                    <a:gd name="connsiteX23" fmla="*/ 3936194 w 4501379"/>
                    <a:gd name="connsiteY23" fmla="*/ 3648075 h 4429294"/>
                    <a:gd name="connsiteX24" fmla="*/ 3640919 w 4501379"/>
                    <a:gd name="connsiteY24" fmla="*/ 3971925 h 4429294"/>
                    <a:gd name="connsiteX25" fmla="*/ 3498044 w 4501379"/>
                    <a:gd name="connsiteY25" fmla="*/ 4083050 h 4429294"/>
                    <a:gd name="connsiteX26" fmla="*/ 3202769 w 4501379"/>
                    <a:gd name="connsiteY26" fmla="*/ 4222750 h 4429294"/>
                    <a:gd name="connsiteX27" fmla="*/ 3050369 w 4501379"/>
                    <a:gd name="connsiteY27" fmla="*/ 4286250 h 4429294"/>
                    <a:gd name="connsiteX28" fmla="*/ 2917019 w 4501379"/>
                    <a:gd name="connsiteY28" fmla="*/ 4333875 h 4429294"/>
                    <a:gd name="connsiteX29" fmla="*/ 2793194 w 4501379"/>
                    <a:gd name="connsiteY29" fmla="*/ 4371975 h 4429294"/>
                    <a:gd name="connsiteX30" fmla="*/ 2561419 w 4501379"/>
                    <a:gd name="connsiteY30" fmla="*/ 4391025 h 4429294"/>
                    <a:gd name="connsiteX31" fmla="*/ 2107394 w 4501379"/>
                    <a:gd name="connsiteY31" fmla="*/ 4429125 h 4429294"/>
                    <a:gd name="connsiteX32" fmla="*/ 1916894 w 4501379"/>
                    <a:gd name="connsiteY32" fmla="*/ 4400550 h 4429294"/>
                    <a:gd name="connsiteX33" fmla="*/ 1554944 w 4501379"/>
                    <a:gd name="connsiteY33" fmla="*/ 4305300 h 4429294"/>
                    <a:gd name="connsiteX34" fmla="*/ 1313644 w 4501379"/>
                    <a:gd name="connsiteY34" fmla="*/ 4216400 h 4429294"/>
                    <a:gd name="connsiteX35" fmla="*/ 1145369 w 4501379"/>
                    <a:gd name="connsiteY35" fmla="*/ 4111625 h 4429294"/>
                    <a:gd name="connsiteX36" fmla="*/ 926294 w 4501379"/>
                    <a:gd name="connsiteY36" fmla="*/ 3968750 h 4429294"/>
                    <a:gd name="connsiteX37" fmla="*/ 592919 w 4501379"/>
                    <a:gd name="connsiteY37" fmla="*/ 3657600 h 4429294"/>
                    <a:gd name="connsiteX38" fmla="*/ 446869 w 4501379"/>
                    <a:gd name="connsiteY38" fmla="*/ 3470275 h 4429294"/>
                    <a:gd name="connsiteX39" fmla="*/ 316694 w 4501379"/>
                    <a:gd name="connsiteY39" fmla="*/ 3244850 h 4429294"/>
                    <a:gd name="connsiteX40" fmla="*/ 164294 w 4501379"/>
                    <a:gd name="connsiteY40" fmla="*/ 2892425 h 4429294"/>
                    <a:gd name="connsiteX41" fmla="*/ 56344 w 4501379"/>
                    <a:gd name="connsiteY41" fmla="*/ 2368550 h 4429294"/>
                    <a:gd name="connsiteX42" fmla="*/ 2369 w 4501379"/>
                    <a:gd name="connsiteY42" fmla="*/ 1905000 h 4429294"/>
                    <a:gd name="connsiteX43" fmla="*/ 11894 w 4501379"/>
                    <a:gd name="connsiteY43" fmla="*/ 1838325 h 4429294"/>
                    <a:gd name="connsiteX44" fmla="*/ 30944 w 4501379"/>
                    <a:gd name="connsiteY44" fmla="*/ 1781175 h 4429294"/>
                    <a:gd name="connsiteX45" fmla="*/ 40469 w 4501379"/>
                    <a:gd name="connsiteY45" fmla="*/ 1743075 h 4429294"/>
                    <a:gd name="connsiteX46" fmla="*/ 59519 w 4501379"/>
                    <a:gd name="connsiteY46" fmla="*/ 1685925 h 4429294"/>
                    <a:gd name="connsiteX47" fmla="*/ 69044 w 4501379"/>
                    <a:gd name="connsiteY47" fmla="*/ 1638300 h 4429294"/>
                    <a:gd name="connsiteX48" fmla="*/ 88094 w 4501379"/>
                    <a:gd name="connsiteY48" fmla="*/ 1590675 h 4429294"/>
                    <a:gd name="connsiteX49" fmla="*/ 116669 w 4501379"/>
                    <a:gd name="connsiteY49" fmla="*/ 1504950 h 4429294"/>
                    <a:gd name="connsiteX50" fmla="*/ 135719 w 4501379"/>
                    <a:gd name="connsiteY50" fmla="*/ 1419225 h 4429294"/>
                    <a:gd name="connsiteX51" fmla="*/ 211919 w 4501379"/>
                    <a:gd name="connsiteY51" fmla="*/ 1276350 h 4429294"/>
                    <a:gd name="connsiteX52" fmla="*/ 221444 w 4501379"/>
                    <a:gd name="connsiteY52" fmla="*/ 1247775 h 4429294"/>
                    <a:gd name="connsiteX53" fmla="*/ 250019 w 4501379"/>
                    <a:gd name="connsiteY53" fmla="*/ 1200150 h 4429294"/>
                    <a:gd name="connsiteX54" fmla="*/ 269069 w 4501379"/>
                    <a:gd name="connsiteY54" fmla="*/ 1152525 h 4429294"/>
                    <a:gd name="connsiteX55" fmla="*/ 297644 w 4501379"/>
                    <a:gd name="connsiteY55" fmla="*/ 1114425 h 4429294"/>
                    <a:gd name="connsiteX56" fmla="*/ 345269 w 4501379"/>
                    <a:gd name="connsiteY56" fmla="*/ 1038225 h 4429294"/>
                    <a:gd name="connsiteX57" fmla="*/ 364319 w 4501379"/>
                    <a:gd name="connsiteY57" fmla="*/ 1009650 h 4429294"/>
                    <a:gd name="connsiteX58" fmla="*/ 421469 w 4501379"/>
                    <a:gd name="connsiteY58" fmla="*/ 904875 h 4429294"/>
                    <a:gd name="connsiteX59" fmla="*/ 459569 w 4501379"/>
                    <a:gd name="connsiteY59" fmla="*/ 857250 h 4429294"/>
                    <a:gd name="connsiteX60" fmla="*/ 478619 w 4501379"/>
                    <a:gd name="connsiteY60" fmla="*/ 828675 h 4429294"/>
                    <a:gd name="connsiteX61" fmla="*/ 516719 w 4501379"/>
                    <a:gd name="connsiteY61" fmla="*/ 800100 h 4429294"/>
                    <a:gd name="connsiteX62" fmla="*/ 583394 w 4501379"/>
                    <a:gd name="connsiteY62" fmla="*/ 733425 h 4429294"/>
                    <a:gd name="connsiteX63" fmla="*/ 650069 w 4501379"/>
                    <a:gd name="connsiteY63" fmla="*/ 676275 h 4429294"/>
                    <a:gd name="connsiteX64" fmla="*/ 678644 w 4501379"/>
                    <a:gd name="connsiteY64" fmla="*/ 657225 h 4429294"/>
                    <a:gd name="connsiteX65" fmla="*/ 821519 w 4501379"/>
                    <a:gd name="connsiteY65" fmla="*/ 533400 h 4429294"/>
                    <a:gd name="connsiteX66" fmla="*/ 869144 w 4501379"/>
                    <a:gd name="connsiteY66" fmla="*/ 504825 h 4429294"/>
                    <a:gd name="connsiteX67" fmla="*/ 1148544 w 4501379"/>
                    <a:gd name="connsiteY67" fmla="*/ 311150 h 4429294"/>
                    <a:gd name="connsiteX68" fmla="*/ 1250144 w 4501379"/>
                    <a:gd name="connsiteY68" fmla="*/ 285750 h 4429294"/>
                    <a:gd name="connsiteX69" fmla="*/ 1393019 w 4501379"/>
                    <a:gd name="connsiteY69" fmla="*/ 190500 h 4429294"/>
                    <a:gd name="connsiteX70" fmla="*/ 1431119 w 4501379"/>
                    <a:gd name="connsiteY70" fmla="*/ 161925 h 4429294"/>
                    <a:gd name="connsiteX71" fmla="*/ 1507319 w 4501379"/>
                    <a:gd name="connsiteY71" fmla="*/ 152400 h 4429294"/>
                    <a:gd name="connsiteX72" fmla="*/ 1564469 w 4501379"/>
                    <a:gd name="connsiteY72" fmla="*/ 142875 h 4429294"/>
                    <a:gd name="connsiteX73" fmla="*/ 1697819 w 4501379"/>
                    <a:gd name="connsiteY73" fmla="*/ 123825 h 4429294"/>
                    <a:gd name="connsiteX74" fmla="*/ 1793069 w 4501379"/>
                    <a:gd name="connsiteY74" fmla="*/ 114300 h 4429294"/>
                    <a:gd name="connsiteX75" fmla="*/ 1840694 w 4501379"/>
                    <a:gd name="connsiteY75" fmla="*/ 104775 h 4429294"/>
                    <a:gd name="connsiteX76" fmla="*/ 1897844 w 4501379"/>
                    <a:gd name="connsiteY76" fmla="*/ 95250 h 4429294"/>
                    <a:gd name="connsiteX77" fmla="*/ 2012144 w 4501379"/>
                    <a:gd name="connsiteY77" fmla="*/ 66675 h 4429294"/>
                    <a:gd name="connsiteX78" fmla="*/ 2078819 w 4501379"/>
                    <a:gd name="connsiteY78" fmla="*/ 47625 h 4429294"/>
                    <a:gd name="connsiteX79" fmla="*/ 2145494 w 4501379"/>
                    <a:gd name="connsiteY7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26644 w 4501379"/>
                    <a:gd name="connsiteY7" fmla="*/ 542925 h 4429294"/>
                    <a:gd name="connsiteX8" fmla="*/ 3793319 w 4501379"/>
                    <a:gd name="connsiteY8" fmla="*/ 581025 h 4429294"/>
                    <a:gd name="connsiteX9" fmla="*/ 4009219 w 4501379"/>
                    <a:gd name="connsiteY9" fmla="*/ 819150 h 4429294"/>
                    <a:gd name="connsiteX10" fmla="*/ 4145744 w 4501379"/>
                    <a:gd name="connsiteY10" fmla="*/ 990600 h 4429294"/>
                    <a:gd name="connsiteX11" fmla="*/ 4231469 w 4501379"/>
                    <a:gd name="connsiteY11" fmla="*/ 1143000 h 4429294"/>
                    <a:gd name="connsiteX12" fmla="*/ 4288619 w 4501379"/>
                    <a:gd name="connsiteY12" fmla="*/ 1266825 h 4429294"/>
                    <a:gd name="connsiteX13" fmla="*/ 4326719 w 4501379"/>
                    <a:gd name="connsiteY13" fmla="*/ 1362075 h 4429294"/>
                    <a:gd name="connsiteX14" fmla="*/ 4374344 w 4501379"/>
                    <a:gd name="connsiteY14" fmla="*/ 1552575 h 4429294"/>
                    <a:gd name="connsiteX15" fmla="*/ 4412444 w 4501379"/>
                    <a:gd name="connsiteY15" fmla="*/ 1685925 h 4429294"/>
                    <a:gd name="connsiteX16" fmla="*/ 4501344 w 4501379"/>
                    <a:gd name="connsiteY16" fmla="*/ 2181225 h 4429294"/>
                    <a:gd name="connsiteX17" fmla="*/ 4428319 w 4501379"/>
                    <a:gd name="connsiteY17" fmla="*/ 2768600 h 4429294"/>
                    <a:gd name="connsiteX18" fmla="*/ 4364819 w 4501379"/>
                    <a:gd name="connsiteY18" fmla="*/ 2990850 h 4429294"/>
                    <a:gd name="connsiteX19" fmla="*/ 4260044 w 4501379"/>
                    <a:gd name="connsiteY19" fmla="*/ 3248025 h 4429294"/>
                    <a:gd name="connsiteX20" fmla="*/ 4164794 w 4501379"/>
                    <a:gd name="connsiteY20" fmla="*/ 3400425 h 4429294"/>
                    <a:gd name="connsiteX21" fmla="*/ 4040969 w 4501379"/>
                    <a:gd name="connsiteY21" fmla="*/ 3533775 h 4429294"/>
                    <a:gd name="connsiteX22" fmla="*/ 3936194 w 4501379"/>
                    <a:gd name="connsiteY22" fmla="*/ 3648075 h 4429294"/>
                    <a:gd name="connsiteX23" fmla="*/ 3640919 w 4501379"/>
                    <a:gd name="connsiteY23" fmla="*/ 3971925 h 4429294"/>
                    <a:gd name="connsiteX24" fmla="*/ 3498044 w 4501379"/>
                    <a:gd name="connsiteY24" fmla="*/ 4083050 h 4429294"/>
                    <a:gd name="connsiteX25" fmla="*/ 3202769 w 4501379"/>
                    <a:gd name="connsiteY25" fmla="*/ 4222750 h 4429294"/>
                    <a:gd name="connsiteX26" fmla="*/ 3050369 w 4501379"/>
                    <a:gd name="connsiteY26" fmla="*/ 4286250 h 4429294"/>
                    <a:gd name="connsiteX27" fmla="*/ 2917019 w 4501379"/>
                    <a:gd name="connsiteY27" fmla="*/ 4333875 h 4429294"/>
                    <a:gd name="connsiteX28" fmla="*/ 2793194 w 4501379"/>
                    <a:gd name="connsiteY28" fmla="*/ 4371975 h 4429294"/>
                    <a:gd name="connsiteX29" fmla="*/ 2561419 w 4501379"/>
                    <a:gd name="connsiteY29" fmla="*/ 4391025 h 4429294"/>
                    <a:gd name="connsiteX30" fmla="*/ 2107394 w 4501379"/>
                    <a:gd name="connsiteY30" fmla="*/ 4429125 h 4429294"/>
                    <a:gd name="connsiteX31" fmla="*/ 1916894 w 4501379"/>
                    <a:gd name="connsiteY31" fmla="*/ 4400550 h 4429294"/>
                    <a:gd name="connsiteX32" fmla="*/ 1554944 w 4501379"/>
                    <a:gd name="connsiteY32" fmla="*/ 4305300 h 4429294"/>
                    <a:gd name="connsiteX33" fmla="*/ 1313644 w 4501379"/>
                    <a:gd name="connsiteY33" fmla="*/ 4216400 h 4429294"/>
                    <a:gd name="connsiteX34" fmla="*/ 1145369 w 4501379"/>
                    <a:gd name="connsiteY34" fmla="*/ 4111625 h 4429294"/>
                    <a:gd name="connsiteX35" fmla="*/ 926294 w 4501379"/>
                    <a:gd name="connsiteY35" fmla="*/ 3968750 h 4429294"/>
                    <a:gd name="connsiteX36" fmla="*/ 592919 w 4501379"/>
                    <a:gd name="connsiteY36" fmla="*/ 3657600 h 4429294"/>
                    <a:gd name="connsiteX37" fmla="*/ 446869 w 4501379"/>
                    <a:gd name="connsiteY37" fmla="*/ 3470275 h 4429294"/>
                    <a:gd name="connsiteX38" fmla="*/ 316694 w 4501379"/>
                    <a:gd name="connsiteY38" fmla="*/ 3244850 h 4429294"/>
                    <a:gd name="connsiteX39" fmla="*/ 164294 w 4501379"/>
                    <a:gd name="connsiteY39" fmla="*/ 2892425 h 4429294"/>
                    <a:gd name="connsiteX40" fmla="*/ 56344 w 4501379"/>
                    <a:gd name="connsiteY40" fmla="*/ 2368550 h 4429294"/>
                    <a:gd name="connsiteX41" fmla="*/ 2369 w 4501379"/>
                    <a:gd name="connsiteY41" fmla="*/ 1905000 h 4429294"/>
                    <a:gd name="connsiteX42" fmla="*/ 11894 w 4501379"/>
                    <a:gd name="connsiteY42" fmla="*/ 1838325 h 4429294"/>
                    <a:gd name="connsiteX43" fmla="*/ 30944 w 4501379"/>
                    <a:gd name="connsiteY43" fmla="*/ 1781175 h 4429294"/>
                    <a:gd name="connsiteX44" fmla="*/ 40469 w 4501379"/>
                    <a:gd name="connsiteY44" fmla="*/ 1743075 h 4429294"/>
                    <a:gd name="connsiteX45" fmla="*/ 59519 w 4501379"/>
                    <a:gd name="connsiteY45" fmla="*/ 1685925 h 4429294"/>
                    <a:gd name="connsiteX46" fmla="*/ 69044 w 4501379"/>
                    <a:gd name="connsiteY46" fmla="*/ 1638300 h 4429294"/>
                    <a:gd name="connsiteX47" fmla="*/ 88094 w 4501379"/>
                    <a:gd name="connsiteY47" fmla="*/ 1590675 h 4429294"/>
                    <a:gd name="connsiteX48" fmla="*/ 116669 w 4501379"/>
                    <a:gd name="connsiteY48" fmla="*/ 1504950 h 4429294"/>
                    <a:gd name="connsiteX49" fmla="*/ 135719 w 4501379"/>
                    <a:gd name="connsiteY49" fmla="*/ 1419225 h 4429294"/>
                    <a:gd name="connsiteX50" fmla="*/ 211919 w 4501379"/>
                    <a:gd name="connsiteY50" fmla="*/ 1276350 h 4429294"/>
                    <a:gd name="connsiteX51" fmla="*/ 221444 w 4501379"/>
                    <a:gd name="connsiteY51" fmla="*/ 1247775 h 4429294"/>
                    <a:gd name="connsiteX52" fmla="*/ 250019 w 4501379"/>
                    <a:gd name="connsiteY52" fmla="*/ 1200150 h 4429294"/>
                    <a:gd name="connsiteX53" fmla="*/ 269069 w 4501379"/>
                    <a:gd name="connsiteY53" fmla="*/ 1152525 h 4429294"/>
                    <a:gd name="connsiteX54" fmla="*/ 297644 w 4501379"/>
                    <a:gd name="connsiteY54" fmla="*/ 1114425 h 4429294"/>
                    <a:gd name="connsiteX55" fmla="*/ 345269 w 4501379"/>
                    <a:gd name="connsiteY55" fmla="*/ 1038225 h 4429294"/>
                    <a:gd name="connsiteX56" fmla="*/ 364319 w 4501379"/>
                    <a:gd name="connsiteY56" fmla="*/ 1009650 h 4429294"/>
                    <a:gd name="connsiteX57" fmla="*/ 421469 w 4501379"/>
                    <a:gd name="connsiteY57" fmla="*/ 904875 h 4429294"/>
                    <a:gd name="connsiteX58" fmla="*/ 459569 w 4501379"/>
                    <a:gd name="connsiteY58" fmla="*/ 857250 h 4429294"/>
                    <a:gd name="connsiteX59" fmla="*/ 478619 w 4501379"/>
                    <a:gd name="connsiteY59" fmla="*/ 828675 h 4429294"/>
                    <a:gd name="connsiteX60" fmla="*/ 516719 w 4501379"/>
                    <a:gd name="connsiteY60" fmla="*/ 800100 h 4429294"/>
                    <a:gd name="connsiteX61" fmla="*/ 583394 w 4501379"/>
                    <a:gd name="connsiteY61" fmla="*/ 733425 h 4429294"/>
                    <a:gd name="connsiteX62" fmla="*/ 650069 w 4501379"/>
                    <a:gd name="connsiteY62" fmla="*/ 676275 h 4429294"/>
                    <a:gd name="connsiteX63" fmla="*/ 678644 w 4501379"/>
                    <a:gd name="connsiteY63" fmla="*/ 657225 h 4429294"/>
                    <a:gd name="connsiteX64" fmla="*/ 821519 w 4501379"/>
                    <a:gd name="connsiteY64" fmla="*/ 533400 h 4429294"/>
                    <a:gd name="connsiteX65" fmla="*/ 869144 w 4501379"/>
                    <a:gd name="connsiteY65" fmla="*/ 504825 h 4429294"/>
                    <a:gd name="connsiteX66" fmla="*/ 1148544 w 4501379"/>
                    <a:gd name="connsiteY66" fmla="*/ 311150 h 4429294"/>
                    <a:gd name="connsiteX67" fmla="*/ 1250144 w 4501379"/>
                    <a:gd name="connsiteY67" fmla="*/ 285750 h 4429294"/>
                    <a:gd name="connsiteX68" fmla="*/ 1393019 w 4501379"/>
                    <a:gd name="connsiteY68" fmla="*/ 190500 h 4429294"/>
                    <a:gd name="connsiteX69" fmla="*/ 1431119 w 4501379"/>
                    <a:gd name="connsiteY69" fmla="*/ 161925 h 4429294"/>
                    <a:gd name="connsiteX70" fmla="*/ 1507319 w 4501379"/>
                    <a:gd name="connsiteY70" fmla="*/ 152400 h 4429294"/>
                    <a:gd name="connsiteX71" fmla="*/ 1564469 w 4501379"/>
                    <a:gd name="connsiteY71" fmla="*/ 142875 h 4429294"/>
                    <a:gd name="connsiteX72" fmla="*/ 1697819 w 4501379"/>
                    <a:gd name="connsiteY72" fmla="*/ 123825 h 4429294"/>
                    <a:gd name="connsiteX73" fmla="*/ 1793069 w 4501379"/>
                    <a:gd name="connsiteY73" fmla="*/ 114300 h 4429294"/>
                    <a:gd name="connsiteX74" fmla="*/ 1840694 w 4501379"/>
                    <a:gd name="connsiteY74" fmla="*/ 104775 h 4429294"/>
                    <a:gd name="connsiteX75" fmla="*/ 1897844 w 4501379"/>
                    <a:gd name="connsiteY75" fmla="*/ 95250 h 4429294"/>
                    <a:gd name="connsiteX76" fmla="*/ 2012144 w 4501379"/>
                    <a:gd name="connsiteY76" fmla="*/ 66675 h 4429294"/>
                    <a:gd name="connsiteX77" fmla="*/ 2078819 w 4501379"/>
                    <a:gd name="connsiteY77" fmla="*/ 47625 h 4429294"/>
                    <a:gd name="connsiteX78" fmla="*/ 2145494 w 4501379"/>
                    <a:gd name="connsiteY7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93319 w 4501379"/>
                    <a:gd name="connsiteY7" fmla="*/ 581025 h 4429294"/>
                    <a:gd name="connsiteX8" fmla="*/ 4009219 w 4501379"/>
                    <a:gd name="connsiteY8" fmla="*/ 819150 h 4429294"/>
                    <a:gd name="connsiteX9" fmla="*/ 4145744 w 4501379"/>
                    <a:gd name="connsiteY9" fmla="*/ 990600 h 4429294"/>
                    <a:gd name="connsiteX10" fmla="*/ 4231469 w 4501379"/>
                    <a:gd name="connsiteY10" fmla="*/ 1143000 h 4429294"/>
                    <a:gd name="connsiteX11" fmla="*/ 4288619 w 4501379"/>
                    <a:gd name="connsiteY11" fmla="*/ 1266825 h 4429294"/>
                    <a:gd name="connsiteX12" fmla="*/ 4326719 w 4501379"/>
                    <a:gd name="connsiteY12" fmla="*/ 1362075 h 4429294"/>
                    <a:gd name="connsiteX13" fmla="*/ 4374344 w 4501379"/>
                    <a:gd name="connsiteY13" fmla="*/ 1552575 h 4429294"/>
                    <a:gd name="connsiteX14" fmla="*/ 4412444 w 4501379"/>
                    <a:gd name="connsiteY14" fmla="*/ 1685925 h 4429294"/>
                    <a:gd name="connsiteX15" fmla="*/ 4501344 w 4501379"/>
                    <a:gd name="connsiteY15" fmla="*/ 2181225 h 4429294"/>
                    <a:gd name="connsiteX16" fmla="*/ 4428319 w 4501379"/>
                    <a:gd name="connsiteY16" fmla="*/ 2768600 h 4429294"/>
                    <a:gd name="connsiteX17" fmla="*/ 4364819 w 4501379"/>
                    <a:gd name="connsiteY17" fmla="*/ 2990850 h 4429294"/>
                    <a:gd name="connsiteX18" fmla="*/ 4260044 w 4501379"/>
                    <a:gd name="connsiteY18" fmla="*/ 3248025 h 4429294"/>
                    <a:gd name="connsiteX19" fmla="*/ 4164794 w 4501379"/>
                    <a:gd name="connsiteY19" fmla="*/ 3400425 h 4429294"/>
                    <a:gd name="connsiteX20" fmla="*/ 4040969 w 4501379"/>
                    <a:gd name="connsiteY20" fmla="*/ 3533775 h 4429294"/>
                    <a:gd name="connsiteX21" fmla="*/ 3936194 w 4501379"/>
                    <a:gd name="connsiteY21" fmla="*/ 3648075 h 4429294"/>
                    <a:gd name="connsiteX22" fmla="*/ 3640919 w 4501379"/>
                    <a:gd name="connsiteY22" fmla="*/ 3971925 h 4429294"/>
                    <a:gd name="connsiteX23" fmla="*/ 3498044 w 4501379"/>
                    <a:gd name="connsiteY23" fmla="*/ 4083050 h 4429294"/>
                    <a:gd name="connsiteX24" fmla="*/ 3202769 w 4501379"/>
                    <a:gd name="connsiteY24" fmla="*/ 4222750 h 4429294"/>
                    <a:gd name="connsiteX25" fmla="*/ 3050369 w 4501379"/>
                    <a:gd name="connsiteY25" fmla="*/ 4286250 h 4429294"/>
                    <a:gd name="connsiteX26" fmla="*/ 2917019 w 4501379"/>
                    <a:gd name="connsiteY26" fmla="*/ 4333875 h 4429294"/>
                    <a:gd name="connsiteX27" fmla="*/ 2793194 w 4501379"/>
                    <a:gd name="connsiteY27" fmla="*/ 4371975 h 4429294"/>
                    <a:gd name="connsiteX28" fmla="*/ 2561419 w 4501379"/>
                    <a:gd name="connsiteY28" fmla="*/ 4391025 h 4429294"/>
                    <a:gd name="connsiteX29" fmla="*/ 2107394 w 4501379"/>
                    <a:gd name="connsiteY29" fmla="*/ 4429125 h 4429294"/>
                    <a:gd name="connsiteX30" fmla="*/ 1916894 w 4501379"/>
                    <a:gd name="connsiteY30" fmla="*/ 4400550 h 4429294"/>
                    <a:gd name="connsiteX31" fmla="*/ 1554944 w 4501379"/>
                    <a:gd name="connsiteY31" fmla="*/ 4305300 h 4429294"/>
                    <a:gd name="connsiteX32" fmla="*/ 1313644 w 4501379"/>
                    <a:gd name="connsiteY32" fmla="*/ 4216400 h 4429294"/>
                    <a:gd name="connsiteX33" fmla="*/ 1145369 w 4501379"/>
                    <a:gd name="connsiteY33" fmla="*/ 4111625 h 4429294"/>
                    <a:gd name="connsiteX34" fmla="*/ 926294 w 4501379"/>
                    <a:gd name="connsiteY34" fmla="*/ 3968750 h 4429294"/>
                    <a:gd name="connsiteX35" fmla="*/ 592919 w 4501379"/>
                    <a:gd name="connsiteY35" fmla="*/ 3657600 h 4429294"/>
                    <a:gd name="connsiteX36" fmla="*/ 446869 w 4501379"/>
                    <a:gd name="connsiteY36" fmla="*/ 3470275 h 4429294"/>
                    <a:gd name="connsiteX37" fmla="*/ 316694 w 4501379"/>
                    <a:gd name="connsiteY37" fmla="*/ 3244850 h 4429294"/>
                    <a:gd name="connsiteX38" fmla="*/ 164294 w 4501379"/>
                    <a:gd name="connsiteY38" fmla="*/ 2892425 h 4429294"/>
                    <a:gd name="connsiteX39" fmla="*/ 56344 w 4501379"/>
                    <a:gd name="connsiteY39" fmla="*/ 2368550 h 4429294"/>
                    <a:gd name="connsiteX40" fmla="*/ 2369 w 4501379"/>
                    <a:gd name="connsiteY40" fmla="*/ 1905000 h 4429294"/>
                    <a:gd name="connsiteX41" fmla="*/ 11894 w 4501379"/>
                    <a:gd name="connsiteY41" fmla="*/ 1838325 h 4429294"/>
                    <a:gd name="connsiteX42" fmla="*/ 30944 w 4501379"/>
                    <a:gd name="connsiteY42" fmla="*/ 1781175 h 4429294"/>
                    <a:gd name="connsiteX43" fmla="*/ 40469 w 4501379"/>
                    <a:gd name="connsiteY43" fmla="*/ 1743075 h 4429294"/>
                    <a:gd name="connsiteX44" fmla="*/ 59519 w 4501379"/>
                    <a:gd name="connsiteY44" fmla="*/ 1685925 h 4429294"/>
                    <a:gd name="connsiteX45" fmla="*/ 69044 w 4501379"/>
                    <a:gd name="connsiteY45" fmla="*/ 1638300 h 4429294"/>
                    <a:gd name="connsiteX46" fmla="*/ 88094 w 4501379"/>
                    <a:gd name="connsiteY46" fmla="*/ 1590675 h 4429294"/>
                    <a:gd name="connsiteX47" fmla="*/ 116669 w 4501379"/>
                    <a:gd name="connsiteY47" fmla="*/ 1504950 h 4429294"/>
                    <a:gd name="connsiteX48" fmla="*/ 135719 w 4501379"/>
                    <a:gd name="connsiteY48" fmla="*/ 1419225 h 4429294"/>
                    <a:gd name="connsiteX49" fmla="*/ 211919 w 4501379"/>
                    <a:gd name="connsiteY49" fmla="*/ 1276350 h 4429294"/>
                    <a:gd name="connsiteX50" fmla="*/ 221444 w 4501379"/>
                    <a:gd name="connsiteY50" fmla="*/ 1247775 h 4429294"/>
                    <a:gd name="connsiteX51" fmla="*/ 250019 w 4501379"/>
                    <a:gd name="connsiteY51" fmla="*/ 1200150 h 4429294"/>
                    <a:gd name="connsiteX52" fmla="*/ 269069 w 4501379"/>
                    <a:gd name="connsiteY52" fmla="*/ 1152525 h 4429294"/>
                    <a:gd name="connsiteX53" fmla="*/ 297644 w 4501379"/>
                    <a:gd name="connsiteY53" fmla="*/ 1114425 h 4429294"/>
                    <a:gd name="connsiteX54" fmla="*/ 345269 w 4501379"/>
                    <a:gd name="connsiteY54" fmla="*/ 1038225 h 4429294"/>
                    <a:gd name="connsiteX55" fmla="*/ 364319 w 4501379"/>
                    <a:gd name="connsiteY55" fmla="*/ 1009650 h 4429294"/>
                    <a:gd name="connsiteX56" fmla="*/ 421469 w 4501379"/>
                    <a:gd name="connsiteY56" fmla="*/ 904875 h 4429294"/>
                    <a:gd name="connsiteX57" fmla="*/ 459569 w 4501379"/>
                    <a:gd name="connsiteY57" fmla="*/ 857250 h 4429294"/>
                    <a:gd name="connsiteX58" fmla="*/ 478619 w 4501379"/>
                    <a:gd name="connsiteY58" fmla="*/ 828675 h 4429294"/>
                    <a:gd name="connsiteX59" fmla="*/ 516719 w 4501379"/>
                    <a:gd name="connsiteY59" fmla="*/ 800100 h 4429294"/>
                    <a:gd name="connsiteX60" fmla="*/ 583394 w 4501379"/>
                    <a:gd name="connsiteY60" fmla="*/ 733425 h 4429294"/>
                    <a:gd name="connsiteX61" fmla="*/ 650069 w 4501379"/>
                    <a:gd name="connsiteY61" fmla="*/ 676275 h 4429294"/>
                    <a:gd name="connsiteX62" fmla="*/ 678644 w 4501379"/>
                    <a:gd name="connsiteY62" fmla="*/ 657225 h 4429294"/>
                    <a:gd name="connsiteX63" fmla="*/ 821519 w 4501379"/>
                    <a:gd name="connsiteY63" fmla="*/ 533400 h 4429294"/>
                    <a:gd name="connsiteX64" fmla="*/ 869144 w 4501379"/>
                    <a:gd name="connsiteY64" fmla="*/ 504825 h 4429294"/>
                    <a:gd name="connsiteX65" fmla="*/ 1148544 w 4501379"/>
                    <a:gd name="connsiteY65" fmla="*/ 311150 h 4429294"/>
                    <a:gd name="connsiteX66" fmla="*/ 1250144 w 4501379"/>
                    <a:gd name="connsiteY66" fmla="*/ 285750 h 4429294"/>
                    <a:gd name="connsiteX67" fmla="*/ 1393019 w 4501379"/>
                    <a:gd name="connsiteY67" fmla="*/ 190500 h 4429294"/>
                    <a:gd name="connsiteX68" fmla="*/ 1431119 w 4501379"/>
                    <a:gd name="connsiteY68" fmla="*/ 161925 h 4429294"/>
                    <a:gd name="connsiteX69" fmla="*/ 1507319 w 4501379"/>
                    <a:gd name="connsiteY69" fmla="*/ 152400 h 4429294"/>
                    <a:gd name="connsiteX70" fmla="*/ 1564469 w 4501379"/>
                    <a:gd name="connsiteY70" fmla="*/ 142875 h 4429294"/>
                    <a:gd name="connsiteX71" fmla="*/ 1697819 w 4501379"/>
                    <a:gd name="connsiteY71" fmla="*/ 123825 h 4429294"/>
                    <a:gd name="connsiteX72" fmla="*/ 1793069 w 4501379"/>
                    <a:gd name="connsiteY72" fmla="*/ 114300 h 4429294"/>
                    <a:gd name="connsiteX73" fmla="*/ 1840694 w 4501379"/>
                    <a:gd name="connsiteY73" fmla="*/ 104775 h 4429294"/>
                    <a:gd name="connsiteX74" fmla="*/ 1897844 w 4501379"/>
                    <a:gd name="connsiteY74" fmla="*/ 95250 h 4429294"/>
                    <a:gd name="connsiteX75" fmla="*/ 2012144 w 4501379"/>
                    <a:gd name="connsiteY75" fmla="*/ 66675 h 4429294"/>
                    <a:gd name="connsiteX76" fmla="*/ 2078819 w 4501379"/>
                    <a:gd name="connsiteY76" fmla="*/ 47625 h 4429294"/>
                    <a:gd name="connsiteX77" fmla="*/ 2145494 w 4501379"/>
                    <a:gd name="connsiteY7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393019 w 4501379"/>
                    <a:gd name="connsiteY66" fmla="*/ 190500 h 4429294"/>
                    <a:gd name="connsiteX67" fmla="*/ 1431119 w 4501379"/>
                    <a:gd name="connsiteY67" fmla="*/ 161925 h 4429294"/>
                    <a:gd name="connsiteX68" fmla="*/ 1507319 w 4501379"/>
                    <a:gd name="connsiteY68" fmla="*/ 152400 h 4429294"/>
                    <a:gd name="connsiteX69" fmla="*/ 1564469 w 4501379"/>
                    <a:gd name="connsiteY69" fmla="*/ 142875 h 4429294"/>
                    <a:gd name="connsiteX70" fmla="*/ 1697819 w 4501379"/>
                    <a:gd name="connsiteY70" fmla="*/ 123825 h 4429294"/>
                    <a:gd name="connsiteX71" fmla="*/ 1793069 w 4501379"/>
                    <a:gd name="connsiteY71" fmla="*/ 114300 h 4429294"/>
                    <a:gd name="connsiteX72" fmla="*/ 1840694 w 4501379"/>
                    <a:gd name="connsiteY72" fmla="*/ 104775 h 4429294"/>
                    <a:gd name="connsiteX73" fmla="*/ 1897844 w 4501379"/>
                    <a:gd name="connsiteY73" fmla="*/ 95250 h 4429294"/>
                    <a:gd name="connsiteX74" fmla="*/ 2012144 w 4501379"/>
                    <a:gd name="connsiteY74" fmla="*/ 66675 h 4429294"/>
                    <a:gd name="connsiteX75" fmla="*/ 2078819 w 4501379"/>
                    <a:gd name="connsiteY75" fmla="*/ 47625 h 4429294"/>
                    <a:gd name="connsiteX76" fmla="*/ 2145494 w 4501379"/>
                    <a:gd name="connsiteY7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431119 w 4501379"/>
                    <a:gd name="connsiteY66" fmla="*/ 161925 h 4429294"/>
                    <a:gd name="connsiteX67" fmla="*/ 1507319 w 4501379"/>
                    <a:gd name="connsiteY67" fmla="*/ 152400 h 4429294"/>
                    <a:gd name="connsiteX68" fmla="*/ 1564469 w 4501379"/>
                    <a:gd name="connsiteY68" fmla="*/ 142875 h 4429294"/>
                    <a:gd name="connsiteX69" fmla="*/ 1697819 w 4501379"/>
                    <a:gd name="connsiteY69" fmla="*/ 123825 h 4429294"/>
                    <a:gd name="connsiteX70" fmla="*/ 1793069 w 4501379"/>
                    <a:gd name="connsiteY70" fmla="*/ 114300 h 4429294"/>
                    <a:gd name="connsiteX71" fmla="*/ 1840694 w 4501379"/>
                    <a:gd name="connsiteY71" fmla="*/ 104775 h 4429294"/>
                    <a:gd name="connsiteX72" fmla="*/ 1897844 w 4501379"/>
                    <a:gd name="connsiteY72" fmla="*/ 95250 h 4429294"/>
                    <a:gd name="connsiteX73" fmla="*/ 2012144 w 4501379"/>
                    <a:gd name="connsiteY73" fmla="*/ 66675 h 4429294"/>
                    <a:gd name="connsiteX74" fmla="*/ 2078819 w 4501379"/>
                    <a:gd name="connsiteY74" fmla="*/ 47625 h 4429294"/>
                    <a:gd name="connsiteX75" fmla="*/ 2145494 w 4501379"/>
                    <a:gd name="connsiteY7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507319 w 4501379"/>
                    <a:gd name="connsiteY66" fmla="*/ 152400 h 4429294"/>
                    <a:gd name="connsiteX67" fmla="*/ 1564469 w 4501379"/>
                    <a:gd name="connsiteY67" fmla="*/ 142875 h 4429294"/>
                    <a:gd name="connsiteX68" fmla="*/ 1697819 w 4501379"/>
                    <a:gd name="connsiteY68" fmla="*/ 123825 h 4429294"/>
                    <a:gd name="connsiteX69" fmla="*/ 1793069 w 4501379"/>
                    <a:gd name="connsiteY69" fmla="*/ 114300 h 4429294"/>
                    <a:gd name="connsiteX70" fmla="*/ 1840694 w 4501379"/>
                    <a:gd name="connsiteY70" fmla="*/ 104775 h 4429294"/>
                    <a:gd name="connsiteX71" fmla="*/ 1897844 w 4501379"/>
                    <a:gd name="connsiteY71" fmla="*/ 95250 h 4429294"/>
                    <a:gd name="connsiteX72" fmla="*/ 2012144 w 4501379"/>
                    <a:gd name="connsiteY72" fmla="*/ 66675 h 4429294"/>
                    <a:gd name="connsiteX73" fmla="*/ 2078819 w 4501379"/>
                    <a:gd name="connsiteY73" fmla="*/ 47625 h 4429294"/>
                    <a:gd name="connsiteX74" fmla="*/ 2145494 w 4501379"/>
                    <a:gd name="connsiteY7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697819 w 4501379"/>
                    <a:gd name="connsiteY67" fmla="*/ 123825 h 4429294"/>
                    <a:gd name="connsiteX68" fmla="*/ 1793069 w 4501379"/>
                    <a:gd name="connsiteY68" fmla="*/ 114300 h 4429294"/>
                    <a:gd name="connsiteX69" fmla="*/ 1840694 w 4501379"/>
                    <a:gd name="connsiteY69" fmla="*/ 104775 h 4429294"/>
                    <a:gd name="connsiteX70" fmla="*/ 1897844 w 4501379"/>
                    <a:gd name="connsiteY70" fmla="*/ 95250 h 4429294"/>
                    <a:gd name="connsiteX71" fmla="*/ 2012144 w 4501379"/>
                    <a:gd name="connsiteY71" fmla="*/ 66675 h 4429294"/>
                    <a:gd name="connsiteX72" fmla="*/ 2078819 w 4501379"/>
                    <a:gd name="connsiteY72" fmla="*/ 47625 h 4429294"/>
                    <a:gd name="connsiteX73" fmla="*/ 2145494 w 4501379"/>
                    <a:gd name="connsiteY7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793069 w 4501379"/>
                    <a:gd name="connsiteY67" fmla="*/ 114300 h 4429294"/>
                    <a:gd name="connsiteX68" fmla="*/ 1840694 w 4501379"/>
                    <a:gd name="connsiteY68" fmla="*/ 104775 h 4429294"/>
                    <a:gd name="connsiteX69" fmla="*/ 1897844 w 4501379"/>
                    <a:gd name="connsiteY69" fmla="*/ 95250 h 4429294"/>
                    <a:gd name="connsiteX70" fmla="*/ 2012144 w 4501379"/>
                    <a:gd name="connsiteY70" fmla="*/ 66675 h 4429294"/>
                    <a:gd name="connsiteX71" fmla="*/ 2078819 w 4501379"/>
                    <a:gd name="connsiteY71" fmla="*/ 47625 h 4429294"/>
                    <a:gd name="connsiteX72" fmla="*/ 2145494 w 4501379"/>
                    <a:gd name="connsiteY7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40694 w 4501379"/>
                    <a:gd name="connsiteY67" fmla="*/ 104775 h 4429294"/>
                    <a:gd name="connsiteX68" fmla="*/ 1897844 w 4501379"/>
                    <a:gd name="connsiteY68" fmla="*/ 95250 h 4429294"/>
                    <a:gd name="connsiteX69" fmla="*/ 2012144 w 4501379"/>
                    <a:gd name="connsiteY69" fmla="*/ 66675 h 4429294"/>
                    <a:gd name="connsiteX70" fmla="*/ 2078819 w 4501379"/>
                    <a:gd name="connsiteY70" fmla="*/ 47625 h 4429294"/>
                    <a:gd name="connsiteX71" fmla="*/ 2145494 w 4501379"/>
                    <a:gd name="connsiteY7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97844 w 4501379"/>
                    <a:gd name="connsiteY67" fmla="*/ 95250 h 4429294"/>
                    <a:gd name="connsiteX68" fmla="*/ 2012144 w 4501379"/>
                    <a:gd name="connsiteY68" fmla="*/ 66675 h 4429294"/>
                    <a:gd name="connsiteX69" fmla="*/ 2078819 w 4501379"/>
                    <a:gd name="connsiteY69" fmla="*/ 47625 h 4429294"/>
                    <a:gd name="connsiteX70" fmla="*/ 2145494 w 4501379"/>
                    <a:gd name="connsiteY7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12144 w 4501379"/>
                    <a:gd name="connsiteY67" fmla="*/ 66675 h 4429294"/>
                    <a:gd name="connsiteX68" fmla="*/ 2078819 w 4501379"/>
                    <a:gd name="connsiteY68" fmla="*/ 47625 h 4429294"/>
                    <a:gd name="connsiteX69" fmla="*/ 2145494 w 4501379"/>
                    <a:gd name="connsiteY6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78819 w 4501379"/>
                    <a:gd name="connsiteY67" fmla="*/ 47625 h 4429294"/>
                    <a:gd name="connsiteX68" fmla="*/ 2145494 w 4501379"/>
                    <a:gd name="connsiteY6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145494 w 4501379"/>
                    <a:gd name="connsiteY6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621619 w 4501379"/>
                    <a:gd name="connsiteY66" fmla="*/ 11112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678644 w 4501379"/>
                    <a:gd name="connsiteY60" fmla="*/ 657225 h 4429294"/>
                    <a:gd name="connsiteX61" fmla="*/ 821519 w 4501379"/>
                    <a:gd name="connsiteY61" fmla="*/ 533400 h 4429294"/>
                    <a:gd name="connsiteX62" fmla="*/ 869144 w 4501379"/>
                    <a:gd name="connsiteY62" fmla="*/ 504825 h 4429294"/>
                    <a:gd name="connsiteX63" fmla="*/ 1148544 w 4501379"/>
                    <a:gd name="connsiteY63" fmla="*/ 311150 h 4429294"/>
                    <a:gd name="connsiteX64" fmla="*/ 1507319 w 4501379"/>
                    <a:gd name="connsiteY64" fmla="*/ 152400 h 4429294"/>
                    <a:gd name="connsiteX65" fmla="*/ 1621619 w 4501379"/>
                    <a:gd name="connsiteY65" fmla="*/ 111125 h 4429294"/>
                    <a:gd name="connsiteX66" fmla="*/ 2253444 w 4501379"/>
                    <a:gd name="connsiteY6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21519 w 4501379"/>
                    <a:gd name="connsiteY60" fmla="*/ 533400 h 4429294"/>
                    <a:gd name="connsiteX61" fmla="*/ 869144 w 4501379"/>
                    <a:gd name="connsiteY61" fmla="*/ 504825 h 4429294"/>
                    <a:gd name="connsiteX62" fmla="*/ 1148544 w 4501379"/>
                    <a:gd name="connsiteY62" fmla="*/ 311150 h 4429294"/>
                    <a:gd name="connsiteX63" fmla="*/ 1507319 w 4501379"/>
                    <a:gd name="connsiteY63" fmla="*/ 152400 h 4429294"/>
                    <a:gd name="connsiteX64" fmla="*/ 1621619 w 4501379"/>
                    <a:gd name="connsiteY64" fmla="*/ 111125 h 4429294"/>
                    <a:gd name="connsiteX65" fmla="*/ 2253444 w 4501379"/>
                    <a:gd name="connsiteY6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69144 w 4501379"/>
                    <a:gd name="connsiteY60" fmla="*/ 504825 h 4429294"/>
                    <a:gd name="connsiteX61" fmla="*/ 1148544 w 4501379"/>
                    <a:gd name="connsiteY61" fmla="*/ 311150 h 4429294"/>
                    <a:gd name="connsiteX62" fmla="*/ 1507319 w 4501379"/>
                    <a:gd name="connsiteY62" fmla="*/ 152400 h 4429294"/>
                    <a:gd name="connsiteX63" fmla="*/ 1621619 w 4501379"/>
                    <a:gd name="connsiteY63" fmla="*/ 111125 h 4429294"/>
                    <a:gd name="connsiteX64" fmla="*/ 2253444 w 4501379"/>
                    <a:gd name="connsiteY6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64319 w 4501379"/>
                    <a:gd name="connsiteY53" fmla="*/ 1009650 h 4429294"/>
                    <a:gd name="connsiteX54" fmla="*/ 421469 w 4501379"/>
                    <a:gd name="connsiteY54" fmla="*/ 904875 h 4429294"/>
                    <a:gd name="connsiteX55" fmla="*/ 459569 w 4501379"/>
                    <a:gd name="connsiteY55" fmla="*/ 857250 h 4429294"/>
                    <a:gd name="connsiteX56" fmla="*/ 478619 w 4501379"/>
                    <a:gd name="connsiteY56" fmla="*/ 828675 h 4429294"/>
                    <a:gd name="connsiteX57" fmla="*/ 516719 w 4501379"/>
                    <a:gd name="connsiteY57" fmla="*/ 800100 h 4429294"/>
                    <a:gd name="connsiteX58" fmla="*/ 650069 w 4501379"/>
                    <a:gd name="connsiteY58" fmla="*/ 676275 h 4429294"/>
                    <a:gd name="connsiteX59" fmla="*/ 869144 w 4501379"/>
                    <a:gd name="connsiteY59" fmla="*/ 504825 h 4429294"/>
                    <a:gd name="connsiteX60" fmla="*/ 1148544 w 4501379"/>
                    <a:gd name="connsiteY60" fmla="*/ 311150 h 4429294"/>
                    <a:gd name="connsiteX61" fmla="*/ 1507319 w 4501379"/>
                    <a:gd name="connsiteY61" fmla="*/ 152400 h 4429294"/>
                    <a:gd name="connsiteX62" fmla="*/ 1621619 w 4501379"/>
                    <a:gd name="connsiteY62" fmla="*/ 111125 h 4429294"/>
                    <a:gd name="connsiteX63" fmla="*/ 2253444 w 4501379"/>
                    <a:gd name="connsiteY63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21469 w 4501379"/>
                    <a:gd name="connsiteY53" fmla="*/ 904875 h 4429294"/>
                    <a:gd name="connsiteX54" fmla="*/ 459569 w 4501379"/>
                    <a:gd name="connsiteY54" fmla="*/ 857250 h 4429294"/>
                    <a:gd name="connsiteX55" fmla="*/ 478619 w 4501379"/>
                    <a:gd name="connsiteY55" fmla="*/ 828675 h 4429294"/>
                    <a:gd name="connsiteX56" fmla="*/ 516719 w 4501379"/>
                    <a:gd name="connsiteY56" fmla="*/ 800100 h 4429294"/>
                    <a:gd name="connsiteX57" fmla="*/ 650069 w 4501379"/>
                    <a:gd name="connsiteY57" fmla="*/ 676275 h 4429294"/>
                    <a:gd name="connsiteX58" fmla="*/ 869144 w 4501379"/>
                    <a:gd name="connsiteY58" fmla="*/ 504825 h 4429294"/>
                    <a:gd name="connsiteX59" fmla="*/ 1148544 w 4501379"/>
                    <a:gd name="connsiteY59" fmla="*/ 311150 h 4429294"/>
                    <a:gd name="connsiteX60" fmla="*/ 1507319 w 4501379"/>
                    <a:gd name="connsiteY60" fmla="*/ 152400 h 4429294"/>
                    <a:gd name="connsiteX61" fmla="*/ 1621619 w 4501379"/>
                    <a:gd name="connsiteY61" fmla="*/ 111125 h 4429294"/>
                    <a:gd name="connsiteX62" fmla="*/ 2253444 w 4501379"/>
                    <a:gd name="connsiteY62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478619 w 4501379"/>
                    <a:gd name="connsiteY54" fmla="*/ 828675 h 4429294"/>
                    <a:gd name="connsiteX55" fmla="*/ 516719 w 4501379"/>
                    <a:gd name="connsiteY55" fmla="*/ 800100 h 4429294"/>
                    <a:gd name="connsiteX56" fmla="*/ 650069 w 4501379"/>
                    <a:gd name="connsiteY56" fmla="*/ 676275 h 4429294"/>
                    <a:gd name="connsiteX57" fmla="*/ 869144 w 4501379"/>
                    <a:gd name="connsiteY57" fmla="*/ 504825 h 4429294"/>
                    <a:gd name="connsiteX58" fmla="*/ 1148544 w 4501379"/>
                    <a:gd name="connsiteY58" fmla="*/ 311150 h 4429294"/>
                    <a:gd name="connsiteX59" fmla="*/ 1507319 w 4501379"/>
                    <a:gd name="connsiteY59" fmla="*/ 152400 h 4429294"/>
                    <a:gd name="connsiteX60" fmla="*/ 1621619 w 4501379"/>
                    <a:gd name="connsiteY60" fmla="*/ 111125 h 4429294"/>
                    <a:gd name="connsiteX61" fmla="*/ 2253444 w 4501379"/>
                    <a:gd name="connsiteY61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516719 w 4501379"/>
                    <a:gd name="connsiteY54" fmla="*/ 800100 h 4429294"/>
                    <a:gd name="connsiteX55" fmla="*/ 650069 w 4501379"/>
                    <a:gd name="connsiteY55" fmla="*/ 676275 h 4429294"/>
                    <a:gd name="connsiteX56" fmla="*/ 869144 w 4501379"/>
                    <a:gd name="connsiteY56" fmla="*/ 504825 h 4429294"/>
                    <a:gd name="connsiteX57" fmla="*/ 1148544 w 4501379"/>
                    <a:gd name="connsiteY57" fmla="*/ 311150 h 4429294"/>
                    <a:gd name="connsiteX58" fmla="*/ 1507319 w 4501379"/>
                    <a:gd name="connsiteY58" fmla="*/ 152400 h 4429294"/>
                    <a:gd name="connsiteX59" fmla="*/ 1621619 w 4501379"/>
                    <a:gd name="connsiteY59" fmla="*/ 111125 h 4429294"/>
                    <a:gd name="connsiteX60" fmla="*/ 2253444 w 4501379"/>
                    <a:gd name="connsiteY60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69069 w 4501379"/>
                    <a:gd name="connsiteY50" fmla="*/ 1152525 h 4429294"/>
                    <a:gd name="connsiteX51" fmla="*/ 297644 w 4501379"/>
                    <a:gd name="connsiteY51" fmla="*/ 1114425 h 4429294"/>
                    <a:gd name="connsiteX52" fmla="*/ 459569 w 4501379"/>
                    <a:gd name="connsiteY52" fmla="*/ 857250 h 4429294"/>
                    <a:gd name="connsiteX53" fmla="*/ 516719 w 4501379"/>
                    <a:gd name="connsiteY53" fmla="*/ 800100 h 4429294"/>
                    <a:gd name="connsiteX54" fmla="*/ 650069 w 4501379"/>
                    <a:gd name="connsiteY54" fmla="*/ 676275 h 4429294"/>
                    <a:gd name="connsiteX55" fmla="*/ 869144 w 4501379"/>
                    <a:gd name="connsiteY55" fmla="*/ 504825 h 4429294"/>
                    <a:gd name="connsiteX56" fmla="*/ 1148544 w 4501379"/>
                    <a:gd name="connsiteY56" fmla="*/ 311150 h 4429294"/>
                    <a:gd name="connsiteX57" fmla="*/ 1507319 w 4501379"/>
                    <a:gd name="connsiteY57" fmla="*/ 152400 h 4429294"/>
                    <a:gd name="connsiteX58" fmla="*/ 1621619 w 4501379"/>
                    <a:gd name="connsiteY58" fmla="*/ 111125 h 4429294"/>
                    <a:gd name="connsiteX59" fmla="*/ 2253444 w 4501379"/>
                    <a:gd name="connsiteY59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97644 w 4501379"/>
                    <a:gd name="connsiteY50" fmla="*/ 1114425 h 4429294"/>
                    <a:gd name="connsiteX51" fmla="*/ 459569 w 4501379"/>
                    <a:gd name="connsiteY51" fmla="*/ 857250 h 4429294"/>
                    <a:gd name="connsiteX52" fmla="*/ 516719 w 4501379"/>
                    <a:gd name="connsiteY52" fmla="*/ 800100 h 4429294"/>
                    <a:gd name="connsiteX53" fmla="*/ 650069 w 4501379"/>
                    <a:gd name="connsiteY53" fmla="*/ 676275 h 4429294"/>
                    <a:gd name="connsiteX54" fmla="*/ 869144 w 4501379"/>
                    <a:gd name="connsiteY54" fmla="*/ 504825 h 4429294"/>
                    <a:gd name="connsiteX55" fmla="*/ 1148544 w 4501379"/>
                    <a:gd name="connsiteY55" fmla="*/ 311150 h 4429294"/>
                    <a:gd name="connsiteX56" fmla="*/ 1507319 w 4501379"/>
                    <a:gd name="connsiteY56" fmla="*/ 152400 h 4429294"/>
                    <a:gd name="connsiteX57" fmla="*/ 1621619 w 4501379"/>
                    <a:gd name="connsiteY57" fmla="*/ 111125 h 4429294"/>
                    <a:gd name="connsiteX58" fmla="*/ 2253444 w 4501379"/>
                    <a:gd name="connsiteY58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97644 w 4501379"/>
                    <a:gd name="connsiteY49" fmla="*/ 1114425 h 4429294"/>
                    <a:gd name="connsiteX50" fmla="*/ 459569 w 4501379"/>
                    <a:gd name="connsiteY50" fmla="*/ 857250 h 4429294"/>
                    <a:gd name="connsiteX51" fmla="*/ 516719 w 4501379"/>
                    <a:gd name="connsiteY51" fmla="*/ 800100 h 4429294"/>
                    <a:gd name="connsiteX52" fmla="*/ 650069 w 4501379"/>
                    <a:gd name="connsiteY52" fmla="*/ 676275 h 4429294"/>
                    <a:gd name="connsiteX53" fmla="*/ 869144 w 4501379"/>
                    <a:gd name="connsiteY53" fmla="*/ 504825 h 4429294"/>
                    <a:gd name="connsiteX54" fmla="*/ 1148544 w 4501379"/>
                    <a:gd name="connsiteY54" fmla="*/ 311150 h 4429294"/>
                    <a:gd name="connsiteX55" fmla="*/ 1507319 w 4501379"/>
                    <a:gd name="connsiteY55" fmla="*/ 152400 h 4429294"/>
                    <a:gd name="connsiteX56" fmla="*/ 1621619 w 4501379"/>
                    <a:gd name="connsiteY56" fmla="*/ 111125 h 4429294"/>
                    <a:gd name="connsiteX57" fmla="*/ 2253444 w 4501379"/>
                    <a:gd name="connsiteY5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35719 w 4501379"/>
                    <a:gd name="connsiteY46" fmla="*/ 1419225 h 4429294"/>
                    <a:gd name="connsiteX47" fmla="*/ 211919 w 4501379"/>
                    <a:gd name="connsiteY47" fmla="*/ 1276350 h 4429294"/>
                    <a:gd name="connsiteX48" fmla="*/ 297644 w 4501379"/>
                    <a:gd name="connsiteY48" fmla="*/ 1114425 h 4429294"/>
                    <a:gd name="connsiteX49" fmla="*/ 459569 w 4501379"/>
                    <a:gd name="connsiteY49" fmla="*/ 857250 h 4429294"/>
                    <a:gd name="connsiteX50" fmla="*/ 516719 w 4501379"/>
                    <a:gd name="connsiteY50" fmla="*/ 800100 h 4429294"/>
                    <a:gd name="connsiteX51" fmla="*/ 650069 w 4501379"/>
                    <a:gd name="connsiteY51" fmla="*/ 676275 h 4429294"/>
                    <a:gd name="connsiteX52" fmla="*/ 869144 w 4501379"/>
                    <a:gd name="connsiteY52" fmla="*/ 504825 h 4429294"/>
                    <a:gd name="connsiteX53" fmla="*/ 1148544 w 4501379"/>
                    <a:gd name="connsiteY53" fmla="*/ 311150 h 4429294"/>
                    <a:gd name="connsiteX54" fmla="*/ 1507319 w 4501379"/>
                    <a:gd name="connsiteY54" fmla="*/ 152400 h 4429294"/>
                    <a:gd name="connsiteX55" fmla="*/ 1621619 w 4501379"/>
                    <a:gd name="connsiteY55" fmla="*/ 111125 h 4429294"/>
                    <a:gd name="connsiteX56" fmla="*/ 2253444 w 4501379"/>
                    <a:gd name="connsiteY5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88094 w 4501379"/>
                    <a:gd name="connsiteY44" fmla="*/ 1590675 h 4429294"/>
                    <a:gd name="connsiteX45" fmla="*/ 135719 w 4501379"/>
                    <a:gd name="connsiteY45" fmla="*/ 1419225 h 4429294"/>
                    <a:gd name="connsiteX46" fmla="*/ 211919 w 4501379"/>
                    <a:gd name="connsiteY46" fmla="*/ 1276350 h 4429294"/>
                    <a:gd name="connsiteX47" fmla="*/ 297644 w 4501379"/>
                    <a:gd name="connsiteY47" fmla="*/ 1114425 h 4429294"/>
                    <a:gd name="connsiteX48" fmla="*/ 459569 w 4501379"/>
                    <a:gd name="connsiteY48" fmla="*/ 857250 h 4429294"/>
                    <a:gd name="connsiteX49" fmla="*/ 516719 w 4501379"/>
                    <a:gd name="connsiteY49" fmla="*/ 800100 h 4429294"/>
                    <a:gd name="connsiteX50" fmla="*/ 650069 w 4501379"/>
                    <a:gd name="connsiteY50" fmla="*/ 676275 h 4429294"/>
                    <a:gd name="connsiteX51" fmla="*/ 869144 w 4501379"/>
                    <a:gd name="connsiteY51" fmla="*/ 504825 h 4429294"/>
                    <a:gd name="connsiteX52" fmla="*/ 1148544 w 4501379"/>
                    <a:gd name="connsiteY52" fmla="*/ 311150 h 4429294"/>
                    <a:gd name="connsiteX53" fmla="*/ 1507319 w 4501379"/>
                    <a:gd name="connsiteY53" fmla="*/ 152400 h 4429294"/>
                    <a:gd name="connsiteX54" fmla="*/ 1621619 w 4501379"/>
                    <a:gd name="connsiteY54" fmla="*/ 111125 h 4429294"/>
                    <a:gd name="connsiteX55" fmla="*/ 2253444 w 4501379"/>
                    <a:gd name="connsiteY5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88094 w 4501379"/>
                    <a:gd name="connsiteY43" fmla="*/ 1590675 h 4429294"/>
                    <a:gd name="connsiteX44" fmla="*/ 135719 w 4501379"/>
                    <a:gd name="connsiteY44" fmla="*/ 1419225 h 4429294"/>
                    <a:gd name="connsiteX45" fmla="*/ 211919 w 4501379"/>
                    <a:gd name="connsiteY45" fmla="*/ 1276350 h 4429294"/>
                    <a:gd name="connsiteX46" fmla="*/ 297644 w 4501379"/>
                    <a:gd name="connsiteY46" fmla="*/ 1114425 h 4429294"/>
                    <a:gd name="connsiteX47" fmla="*/ 459569 w 4501379"/>
                    <a:gd name="connsiteY47" fmla="*/ 857250 h 4429294"/>
                    <a:gd name="connsiteX48" fmla="*/ 516719 w 4501379"/>
                    <a:gd name="connsiteY48" fmla="*/ 800100 h 4429294"/>
                    <a:gd name="connsiteX49" fmla="*/ 650069 w 4501379"/>
                    <a:gd name="connsiteY49" fmla="*/ 676275 h 4429294"/>
                    <a:gd name="connsiteX50" fmla="*/ 869144 w 4501379"/>
                    <a:gd name="connsiteY50" fmla="*/ 504825 h 4429294"/>
                    <a:gd name="connsiteX51" fmla="*/ 1148544 w 4501379"/>
                    <a:gd name="connsiteY51" fmla="*/ 311150 h 4429294"/>
                    <a:gd name="connsiteX52" fmla="*/ 1507319 w 4501379"/>
                    <a:gd name="connsiteY52" fmla="*/ 152400 h 4429294"/>
                    <a:gd name="connsiteX53" fmla="*/ 1621619 w 4501379"/>
                    <a:gd name="connsiteY53" fmla="*/ 111125 h 4429294"/>
                    <a:gd name="connsiteX54" fmla="*/ 2253444 w 4501379"/>
                    <a:gd name="connsiteY5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88094 w 4501379"/>
                    <a:gd name="connsiteY42" fmla="*/ 1590675 h 4429294"/>
                    <a:gd name="connsiteX43" fmla="*/ 135719 w 4501379"/>
                    <a:gd name="connsiteY43" fmla="*/ 1419225 h 4429294"/>
                    <a:gd name="connsiteX44" fmla="*/ 211919 w 4501379"/>
                    <a:gd name="connsiteY44" fmla="*/ 1276350 h 4429294"/>
                    <a:gd name="connsiteX45" fmla="*/ 297644 w 4501379"/>
                    <a:gd name="connsiteY45" fmla="*/ 1114425 h 4429294"/>
                    <a:gd name="connsiteX46" fmla="*/ 459569 w 4501379"/>
                    <a:gd name="connsiteY46" fmla="*/ 857250 h 4429294"/>
                    <a:gd name="connsiteX47" fmla="*/ 516719 w 4501379"/>
                    <a:gd name="connsiteY47" fmla="*/ 800100 h 4429294"/>
                    <a:gd name="connsiteX48" fmla="*/ 650069 w 4501379"/>
                    <a:gd name="connsiteY48" fmla="*/ 676275 h 4429294"/>
                    <a:gd name="connsiteX49" fmla="*/ 869144 w 4501379"/>
                    <a:gd name="connsiteY49" fmla="*/ 504825 h 4429294"/>
                    <a:gd name="connsiteX50" fmla="*/ 1148544 w 4501379"/>
                    <a:gd name="connsiteY50" fmla="*/ 311150 h 4429294"/>
                    <a:gd name="connsiteX51" fmla="*/ 1507319 w 4501379"/>
                    <a:gd name="connsiteY51" fmla="*/ 152400 h 4429294"/>
                    <a:gd name="connsiteX52" fmla="*/ 1621619 w 4501379"/>
                    <a:gd name="connsiteY52" fmla="*/ 111125 h 4429294"/>
                    <a:gd name="connsiteX53" fmla="*/ 2253444 w 4501379"/>
                    <a:gd name="connsiteY53" fmla="*/ 12700 h 4429294"/>
                    <a:gd name="connsiteX0" fmla="*/ 2277090 w 4499625"/>
                    <a:gd name="connsiteY0" fmla="*/ 0 h 4429294"/>
                    <a:gd name="connsiteX1" fmla="*/ 2600940 w 4499625"/>
                    <a:gd name="connsiteY1" fmla="*/ 15875 h 4429294"/>
                    <a:gd name="connsiteX2" fmla="*/ 2896215 w 4499625"/>
                    <a:gd name="connsiteY2" fmla="*/ 85725 h 4429294"/>
                    <a:gd name="connsiteX3" fmla="*/ 3115290 w 4499625"/>
                    <a:gd name="connsiteY3" fmla="*/ 171450 h 4429294"/>
                    <a:gd name="connsiteX4" fmla="*/ 3220065 w 4499625"/>
                    <a:gd name="connsiteY4" fmla="*/ 228600 h 4429294"/>
                    <a:gd name="connsiteX5" fmla="*/ 3401040 w 4499625"/>
                    <a:gd name="connsiteY5" fmla="*/ 323850 h 4429294"/>
                    <a:gd name="connsiteX6" fmla="*/ 3791565 w 4499625"/>
                    <a:gd name="connsiteY6" fmla="*/ 581025 h 4429294"/>
                    <a:gd name="connsiteX7" fmla="*/ 4007465 w 4499625"/>
                    <a:gd name="connsiteY7" fmla="*/ 819150 h 4429294"/>
                    <a:gd name="connsiteX8" fmla="*/ 4143990 w 4499625"/>
                    <a:gd name="connsiteY8" fmla="*/ 990600 h 4429294"/>
                    <a:gd name="connsiteX9" fmla="*/ 4229715 w 4499625"/>
                    <a:gd name="connsiteY9" fmla="*/ 1143000 h 4429294"/>
                    <a:gd name="connsiteX10" fmla="*/ 4286865 w 4499625"/>
                    <a:gd name="connsiteY10" fmla="*/ 1266825 h 4429294"/>
                    <a:gd name="connsiteX11" fmla="*/ 4324965 w 4499625"/>
                    <a:gd name="connsiteY11" fmla="*/ 1362075 h 4429294"/>
                    <a:gd name="connsiteX12" fmla="*/ 4372590 w 4499625"/>
                    <a:gd name="connsiteY12" fmla="*/ 1552575 h 4429294"/>
                    <a:gd name="connsiteX13" fmla="*/ 4410690 w 4499625"/>
                    <a:gd name="connsiteY13" fmla="*/ 1685925 h 4429294"/>
                    <a:gd name="connsiteX14" fmla="*/ 4499590 w 4499625"/>
                    <a:gd name="connsiteY14" fmla="*/ 2181225 h 4429294"/>
                    <a:gd name="connsiteX15" fmla="*/ 4426565 w 4499625"/>
                    <a:gd name="connsiteY15" fmla="*/ 2768600 h 4429294"/>
                    <a:gd name="connsiteX16" fmla="*/ 4363065 w 4499625"/>
                    <a:gd name="connsiteY16" fmla="*/ 2990850 h 4429294"/>
                    <a:gd name="connsiteX17" fmla="*/ 4258290 w 4499625"/>
                    <a:gd name="connsiteY17" fmla="*/ 3248025 h 4429294"/>
                    <a:gd name="connsiteX18" fmla="*/ 4163040 w 4499625"/>
                    <a:gd name="connsiteY18" fmla="*/ 3400425 h 4429294"/>
                    <a:gd name="connsiteX19" fmla="*/ 4039215 w 4499625"/>
                    <a:gd name="connsiteY19" fmla="*/ 3533775 h 4429294"/>
                    <a:gd name="connsiteX20" fmla="*/ 3934440 w 4499625"/>
                    <a:gd name="connsiteY20" fmla="*/ 3648075 h 4429294"/>
                    <a:gd name="connsiteX21" fmla="*/ 3639165 w 4499625"/>
                    <a:gd name="connsiteY21" fmla="*/ 3971925 h 4429294"/>
                    <a:gd name="connsiteX22" fmla="*/ 3496290 w 4499625"/>
                    <a:gd name="connsiteY22" fmla="*/ 4083050 h 4429294"/>
                    <a:gd name="connsiteX23" fmla="*/ 3201015 w 4499625"/>
                    <a:gd name="connsiteY23" fmla="*/ 4222750 h 4429294"/>
                    <a:gd name="connsiteX24" fmla="*/ 3048615 w 4499625"/>
                    <a:gd name="connsiteY24" fmla="*/ 4286250 h 4429294"/>
                    <a:gd name="connsiteX25" fmla="*/ 2915265 w 4499625"/>
                    <a:gd name="connsiteY25" fmla="*/ 4333875 h 4429294"/>
                    <a:gd name="connsiteX26" fmla="*/ 2791440 w 4499625"/>
                    <a:gd name="connsiteY26" fmla="*/ 4371975 h 4429294"/>
                    <a:gd name="connsiteX27" fmla="*/ 2559665 w 4499625"/>
                    <a:gd name="connsiteY27" fmla="*/ 4391025 h 4429294"/>
                    <a:gd name="connsiteX28" fmla="*/ 2105640 w 4499625"/>
                    <a:gd name="connsiteY28" fmla="*/ 4429125 h 4429294"/>
                    <a:gd name="connsiteX29" fmla="*/ 1915140 w 4499625"/>
                    <a:gd name="connsiteY29" fmla="*/ 4400550 h 4429294"/>
                    <a:gd name="connsiteX30" fmla="*/ 1553190 w 4499625"/>
                    <a:gd name="connsiteY30" fmla="*/ 4305300 h 4429294"/>
                    <a:gd name="connsiteX31" fmla="*/ 1311890 w 4499625"/>
                    <a:gd name="connsiteY31" fmla="*/ 4216400 h 4429294"/>
                    <a:gd name="connsiteX32" fmla="*/ 1143615 w 4499625"/>
                    <a:gd name="connsiteY32" fmla="*/ 4111625 h 4429294"/>
                    <a:gd name="connsiteX33" fmla="*/ 924540 w 4499625"/>
                    <a:gd name="connsiteY33" fmla="*/ 3968750 h 4429294"/>
                    <a:gd name="connsiteX34" fmla="*/ 591165 w 4499625"/>
                    <a:gd name="connsiteY34" fmla="*/ 3657600 h 4429294"/>
                    <a:gd name="connsiteX35" fmla="*/ 445115 w 4499625"/>
                    <a:gd name="connsiteY35" fmla="*/ 3470275 h 4429294"/>
                    <a:gd name="connsiteX36" fmla="*/ 314940 w 4499625"/>
                    <a:gd name="connsiteY36" fmla="*/ 3244850 h 4429294"/>
                    <a:gd name="connsiteX37" fmla="*/ 162540 w 4499625"/>
                    <a:gd name="connsiteY37" fmla="*/ 2892425 h 4429294"/>
                    <a:gd name="connsiteX38" fmla="*/ 54590 w 4499625"/>
                    <a:gd name="connsiteY38" fmla="*/ 2368550 h 4429294"/>
                    <a:gd name="connsiteX39" fmla="*/ 615 w 4499625"/>
                    <a:gd name="connsiteY39" fmla="*/ 1905000 h 4429294"/>
                    <a:gd name="connsiteX40" fmla="*/ 29190 w 4499625"/>
                    <a:gd name="connsiteY40" fmla="*/ 1781175 h 4429294"/>
                    <a:gd name="connsiteX41" fmla="*/ 86340 w 4499625"/>
                    <a:gd name="connsiteY41" fmla="*/ 1590675 h 4429294"/>
                    <a:gd name="connsiteX42" fmla="*/ 133965 w 4499625"/>
                    <a:gd name="connsiteY42" fmla="*/ 1419225 h 4429294"/>
                    <a:gd name="connsiteX43" fmla="*/ 210165 w 4499625"/>
                    <a:gd name="connsiteY43" fmla="*/ 1276350 h 4429294"/>
                    <a:gd name="connsiteX44" fmla="*/ 295890 w 4499625"/>
                    <a:gd name="connsiteY44" fmla="*/ 1114425 h 4429294"/>
                    <a:gd name="connsiteX45" fmla="*/ 457815 w 4499625"/>
                    <a:gd name="connsiteY45" fmla="*/ 857250 h 4429294"/>
                    <a:gd name="connsiteX46" fmla="*/ 514965 w 4499625"/>
                    <a:gd name="connsiteY46" fmla="*/ 800100 h 4429294"/>
                    <a:gd name="connsiteX47" fmla="*/ 648315 w 4499625"/>
                    <a:gd name="connsiteY47" fmla="*/ 676275 h 4429294"/>
                    <a:gd name="connsiteX48" fmla="*/ 867390 w 4499625"/>
                    <a:gd name="connsiteY48" fmla="*/ 504825 h 4429294"/>
                    <a:gd name="connsiteX49" fmla="*/ 1146790 w 4499625"/>
                    <a:gd name="connsiteY49" fmla="*/ 311150 h 4429294"/>
                    <a:gd name="connsiteX50" fmla="*/ 1505565 w 4499625"/>
                    <a:gd name="connsiteY50" fmla="*/ 152400 h 4429294"/>
                    <a:gd name="connsiteX51" fmla="*/ 1619865 w 4499625"/>
                    <a:gd name="connsiteY51" fmla="*/ 111125 h 4429294"/>
                    <a:gd name="connsiteX52" fmla="*/ 2251690 w 4499625"/>
                    <a:gd name="connsiteY52" fmla="*/ 12700 h 4429294"/>
                    <a:gd name="connsiteX0" fmla="*/ 2249427 w 4471962"/>
                    <a:gd name="connsiteY0" fmla="*/ 0 h 4429294"/>
                    <a:gd name="connsiteX1" fmla="*/ 2573277 w 4471962"/>
                    <a:gd name="connsiteY1" fmla="*/ 15875 h 4429294"/>
                    <a:gd name="connsiteX2" fmla="*/ 2868552 w 4471962"/>
                    <a:gd name="connsiteY2" fmla="*/ 85725 h 4429294"/>
                    <a:gd name="connsiteX3" fmla="*/ 3087627 w 4471962"/>
                    <a:gd name="connsiteY3" fmla="*/ 171450 h 4429294"/>
                    <a:gd name="connsiteX4" fmla="*/ 3192402 w 4471962"/>
                    <a:gd name="connsiteY4" fmla="*/ 228600 h 4429294"/>
                    <a:gd name="connsiteX5" fmla="*/ 3373377 w 4471962"/>
                    <a:gd name="connsiteY5" fmla="*/ 323850 h 4429294"/>
                    <a:gd name="connsiteX6" fmla="*/ 3763902 w 4471962"/>
                    <a:gd name="connsiteY6" fmla="*/ 581025 h 4429294"/>
                    <a:gd name="connsiteX7" fmla="*/ 3979802 w 4471962"/>
                    <a:gd name="connsiteY7" fmla="*/ 819150 h 4429294"/>
                    <a:gd name="connsiteX8" fmla="*/ 4116327 w 4471962"/>
                    <a:gd name="connsiteY8" fmla="*/ 990600 h 4429294"/>
                    <a:gd name="connsiteX9" fmla="*/ 4202052 w 4471962"/>
                    <a:gd name="connsiteY9" fmla="*/ 1143000 h 4429294"/>
                    <a:gd name="connsiteX10" fmla="*/ 4259202 w 4471962"/>
                    <a:gd name="connsiteY10" fmla="*/ 1266825 h 4429294"/>
                    <a:gd name="connsiteX11" fmla="*/ 4297302 w 4471962"/>
                    <a:gd name="connsiteY11" fmla="*/ 1362075 h 4429294"/>
                    <a:gd name="connsiteX12" fmla="*/ 4344927 w 4471962"/>
                    <a:gd name="connsiteY12" fmla="*/ 1552575 h 4429294"/>
                    <a:gd name="connsiteX13" fmla="*/ 4383027 w 4471962"/>
                    <a:gd name="connsiteY13" fmla="*/ 1685925 h 4429294"/>
                    <a:gd name="connsiteX14" fmla="*/ 4471927 w 4471962"/>
                    <a:gd name="connsiteY14" fmla="*/ 2181225 h 4429294"/>
                    <a:gd name="connsiteX15" fmla="*/ 4398902 w 4471962"/>
                    <a:gd name="connsiteY15" fmla="*/ 2768600 h 4429294"/>
                    <a:gd name="connsiteX16" fmla="*/ 4335402 w 4471962"/>
                    <a:gd name="connsiteY16" fmla="*/ 2990850 h 4429294"/>
                    <a:gd name="connsiteX17" fmla="*/ 4230627 w 4471962"/>
                    <a:gd name="connsiteY17" fmla="*/ 3248025 h 4429294"/>
                    <a:gd name="connsiteX18" fmla="*/ 4135377 w 4471962"/>
                    <a:gd name="connsiteY18" fmla="*/ 3400425 h 4429294"/>
                    <a:gd name="connsiteX19" fmla="*/ 4011552 w 4471962"/>
                    <a:gd name="connsiteY19" fmla="*/ 3533775 h 4429294"/>
                    <a:gd name="connsiteX20" fmla="*/ 3906777 w 4471962"/>
                    <a:gd name="connsiteY20" fmla="*/ 3648075 h 4429294"/>
                    <a:gd name="connsiteX21" fmla="*/ 3611502 w 4471962"/>
                    <a:gd name="connsiteY21" fmla="*/ 3971925 h 4429294"/>
                    <a:gd name="connsiteX22" fmla="*/ 3468627 w 4471962"/>
                    <a:gd name="connsiteY22" fmla="*/ 4083050 h 4429294"/>
                    <a:gd name="connsiteX23" fmla="*/ 3173352 w 4471962"/>
                    <a:gd name="connsiteY23" fmla="*/ 4222750 h 4429294"/>
                    <a:gd name="connsiteX24" fmla="*/ 3020952 w 4471962"/>
                    <a:gd name="connsiteY24" fmla="*/ 4286250 h 4429294"/>
                    <a:gd name="connsiteX25" fmla="*/ 2887602 w 4471962"/>
                    <a:gd name="connsiteY25" fmla="*/ 4333875 h 4429294"/>
                    <a:gd name="connsiteX26" fmla="*/ 2763777 w 4471962"/>
                    <a:gd name="connsiteY26" fmla="*/ 4371975 h 4429294"/>
                    <a:gd name="connsiteX27" fmla="*/ 2532002 w 4471962"/>
                    <a:gd name="connsiteY27" fmla="*/ 4391025 h 4429294"/>
                    <a:gd name="connsiteX28" fmla="*/ 2077977 w 4471962"/>
                    <a:gd name="connsiteY28" fmla="*/ 4429125 h 4429294"/>
                    <a:gd name="connsiteX29" fmla="*/ 1887477 w 4471962"/>
                    <a:gd name="connsiteY29" fmla="*/ 4400550 h 4429294"/>
                    <a:gd name="connsiteX30" fmla="*/ 1525527 w 4471962"/>
                    <a:gd name="connsiteY30" fmla="*/ 4305300 h 4429294"/>
                    <a:gd name="connsiteX31" fmla="*/ 1284227 w 4471962"/>
                    <a:gd name="connsiteY31" fmla="*/ 4216400 h 4429294"/>
                    <a:gd name="connsiteX32" fmla="*/ 1115952 w 4471962"/>
                    <a:gd name="connsiteY32" fmla="*/ 4111625 h 4429294"/>
                    <a:gd name="connsiteX33" fmla="*/ 896877 w 4471962"/>
                    <a:gd name="connsiteY33" fmla="*/ 3968750 h 4429294"/>
                    <a:gd name="connsiteX34" fmla="*/ 563502 w 4471962"/>
                    <a:gd name="connsiteY34" fmla="*/ 3657600 h 4429294"/>
                    <a:gd name="connsiteX35" fmla="*/ 417452 w 4471962"/>
                    <a:gd name="connsiteY35" fmla="*/ 3470275 h 4429294"/>
                    <a:gd name="connsiteX36" fmla="*/ 287277 w 4471962"/>
                    <a:gd name="connsiteY36" fmla="*/ 3244850 h 4429294"/>
                    <a:gd name="connsiteX37" fmla="*/ 134877 w 4471962"/>
                    <a:gd name="connsiteY37" fmla="*/ 2892425 h 4429294"/>
                    <a:gd name="connsiteX38" fmla="*/ 26927 w 4471962"/>
                    <a:gd name="connsiteY38" fmla="*/ 2368550 h 4429294"/>
                    <a:gd name="connsiteX39" fmla="*/ 1527 w 4471962"/>
                    <a:gd name="connsiteY39" fmla="*/ 1781175 h 4429294"/>
                    <a:gd name="connsiteX40" fmla="*/ 58677 w 4471962"/>
                    <a:gd name="connsiteY40" fmla="*/ 1590675 h 4429294"/>
                    <a:gd name="connsiteX41" fmla="*/ 106302 w 4471962"/>
                    <a:gd name="connsiteY41" fmla="*/ 1419225 h 4429294"/>
                    <a:gd name="connsiteX42" fmla="*/ 182502 w 4471962"/>
                    <a:gd name="connsiteY42" fmla="*/ 1276350 h 4429294"/>
                    <a:gd name="connsiteX43" fmla="*/ 268227 w 4471962"/>
                    <a:gd name="connsiteY43" fmla="*/ 1114425 h 4429294"/>
                    <a:gd name="connsiteX44" fmla="*/ 430152 w 4471962"/>
                    <a:gd name="connsiteY44" fmla="*/ 857250 h 4429294"/>
                    <a:gd name="connsiteX45" fmla="*/ 487302 w 4471962"/>
                    <a:gd name="connsiteY45" fmla="*/ 800100 h 4429294"/>
                    <a:gd name="connsiteX46" fmla="*/ 620652 w 4471962"/>
                    <a:gd name="connsiteY46" fmla="*/ 676275 h 4429294"/>
                    <a:gd name="connsiteX47" fmla="*/ 839727 w 4471962"/>
                    <a:gd name="connsiteY47" fmla="*/ 504825 h 4429294"/>
                    <a:gd name="connsiteX48" fmla="*/ 1119127 w 4471962"/>
                    <a:gd name="connsiteY48" fmla="*/ 311150 h 4429294"/>
                    <a:gd name="connsiteX49" fmla="*/ 1477902 w 4471962"/>
                    <a:gd name="connsiteY49" fmla="*/ 152400 h 4429294"/>
                    <a:gd name="connsiteX50" fmla="*/ 1592202 w 4471962"/>
                    <a:gd name="connsiteY50" fmla="*/ 111125 h 4429294"/>
                    <a:gd name="connsiteX51" fmla="*/ 2224027 w 4471962"/>
                    <a:gd name="connsiteY51" fmla="*/ 12700 h 4429294"/>
                    <a:gd name="connsiteX0" fmla="*/ 2231942 w 4454477"/>
                    <a:gd name="connsiteY0" fmla="*/ 0 h 4429294"/>
                    <a:gd name="connsiteX1" fmla="*/ 2555792 w 4454477"/>
                    <a:gd name="connsiteY1" fmla="*/ 15875 h 4429294"/>
                    <a:gd name="connsiteX2" fmla="*/ 2851067 w 4454477"/>
                    <a:gd name="connsiteY2" fmla="*/ 85725 h 4429294"/>
                    <a:gd name="connsiteX3" fmla="*/ 3070142 w 4454477"/>
                    <a:gd name="connsiteY3" fmla="*/ 171450 h 4429294"/>
                    <a:gd name="connsiteX4" fmla="*/ 3174917 w 4454477"/>
                    <a:gd name="connsiteY4" fmla="*/ 228600 h 4429294"/>
                    <a:gd name="connsiteX5" fmla="*/ 3355892 w 4454477"/>
                    <a:gd name="connsiteY5" fmla="*/ 323850 h 4429294"/>
                    <a:gd name="connsiteX6" fmla="*/ 3746417 w 4454477"/>
                    <a:gd name="connsiteY6" fmla="*/ 581025 h 4429294"/>
                    <a:gd name="connsiteX7" fmla="*/ 3962317 w 4454477"/>
                    <a:gd name="connsiteY7" fmla="*/ 819150 h 4429294"/>
                    <a:gd name="connsiteX8" fmla="*/ 4098842 w 4454477"/>
                    <a:gd name="connsiteY8" fmla="*/ 990600 h 4429294"/>
                    <a:gd name="connsiteX9" fmla="*/ 4184567 w 4454477"/>
                    <a:gd name="connsiteY9" fmla="*/ 1143000 h 4429294"/>
                    <a:gd name="connsiteX10" fmla="*/ 4241717 w 4454477"/>
                    <a:gd name="connsiteY10" fmla="*/ 1266825 h 4429294"/>
                    <a:gd name="connsiteX11" fmla="*/ 4279817 w 4454477"/>
                    <a:gd name="connsiteY11" fmla="*/ 1362075 h 4429294"/>
                    <a:gd name="connsiteX12" fmla="*/ 4327442 w 4454477"/>
                    <a:gd name="connsiteY12" fmla="*/ 1552575 h 4429294"/>
                    <a:gd name="connsiteX13" fmla="*/ 4365542 w 4454477"/>
                    <a:gd name="connsiteY13" fmla="*/ 1685925 h 4429294"/>
                    <a:gd name="connsiteX14" fmla="*/ 4454442 w 4454477"/>
                    <a:gd name="connsiteY14" fmla="*/ 2181225 h 4429294"/>
                    <a:gd name="connsiteX15" fmla="*/ 4381417 w 4454477"/>
                    <a:gd name="connsiteY15" fmla="*/ 2768600 h 4429294"/>
                    <a:gd name="connsiteX16" fmla="*/ 4317917 w 4454477"/>
                    <a:gd name="connsiteY16" fmla="*/ 2990850 h 4429294"/>
                    <a:gd name="connsiteX17" fmla="*/ 4213142 w 4454477"/>
                    <a:gd name="connsiteY17" fmla="*/ 3248025 h 4429294"/>
                    <a:gd name="connsiteX18" fmla="*/ 4117892 w 4454477"/>
                    <a:gd name="connsiteY18" fmla="*/ 3400425 h 4429294"/>
                    <a:gd name="connsiteX19" fmla="*/ 3994067 w 4454477"/>
                    <a:gd name="connsiteY19" fmla="*/ 3533775 h 4429294"/>
                    <a:gd name="connsiteX20" fmla="*/ 3889292 w 4454477"/>
                    <a:gd name="connsiteY20" fmla="*/ 3648075 h 4429294"/>
                    <a:gd name="connsiteX21" fmla="*/ 3594017 w 4454477"/>
                    <a:gd name="connsiteY21" fmla="*/ 3971925 h 4429294"/>
                    <a:gd name="connsiteX22" fmla="*/ 3451142 w 4454477"/>
                    <a:gd name="connsiteY22" fmla="*/ 4083050 h 4429294"/>
                    <a:gd name="connsiteX23" fmla="*/ 3155867 w 4454477"/>
                    <a:gd name="connsiteY23" fmla="*/ 4222750 h 4429294"/>
                    <a:gd name="connsiteX24" fmla="*/ 3003467 w 4454477"/>
                    <a:gd name="connsiteY24" fmla="*/ 4286250 h 4429294"/>
                    <a:gd name="connsiteX25" fmla="*/ 2870117 w 4454477"/>
                    <a:gd name="connsiteY25" fmla="*/ 4333875 h 4429294"/>
                    <a:gd name="connsiteX26" fmla="*/ 2746292 w 4454477"/>
                    <a:gd name="connsiteY26" fmla="*/ 4371975 h 4429294"/>
                    <a:gd name="connsiteX27" fmla="*/ 2514517 w 4454477"/>
                    <a:gd name="connsiteY27" fmla="*/ 4391025 h 4429294"/>
                    <a:gd name="connsiteX28" fmla="*/ 2060492 w 4454477"/>
                    <a:gd name="connsiteY28" fmla="*/ 4429125 h 4429294"/>
                    <a:gd name="connsiteX29" fmla="*/ 1869992 w 4454477"/>
                    <a:gd name="connsiteY29" fmla="*/ 4400550 h 4429294"/>
                    <a:gd name="connsiteX30" fmla="*/ 1508042 w 4454477"/>
                    <a:gd name="connsiteY30" fmla="*/ 4305300 h 4429294"/>
                    <a:gd name="connsiteX31" fmla="*/ 1266742 w 4454477"/>
                    <a:gd name="connsiteY31" fmla="*/ 4216400 h 4429294"/>
                    <a:gd name="connsiteX32" fmla="*/ 1098467 w 4454477"/>
                    <a:gd name="connsiteY32" fmla="*/ 4111625 h 4429294"/>
                    <a:gd name="connsiteX33" fmla="*/ 879392 w 4454477"/>
                    <a:gd name="connsiteY33" fmla="*/ 3968750 h 4429294"/>
                    <a:gd name="connsiteX34" fmla="*/ 546017 w 4454477"/>
                    <a:gd name="connsiteY34" fmla="*/ 3657600 h 4429294"/>
                    <a:gd name="connsiteX35" fmla="*/ 399967 w 4454477"/>
                    <a:gd name="connsiteY35" fmla="*/ 3470275 h 4429294"/>
                    <a:gd name="connsiteX36" fmla="*/ 269792 w 4454477"/>
                    <a:gd name="connsiteY36" fmla="*/ 3244850 h 4429294"/>
                    <a:gd name="connsiteX37" fmla="*/ 117392 w 4454477"/>
                    <a:gd name="connsiteY37" fmla="*/ 2892425 h 4429294"/>
                    <a:gd name="connsiteX38" fmla="*/ 9442 w 4454477"/>
                    <a:gd name="connsiteY38" fmla="*/ 2368550 h 4429294"/>
                    <a:gd name="connsiteX39" fmla="*/ 15792 w 4454477"/>
                    <a:gd name="connsiteY39" fmla="*/ 1870075 h 4429294"/>
                    <a:gd name="connsiteX40" fmla="*/ 41192 w 4454477"/>
                    <a:gd name="connsiteY40" fmla="*/ 1590675 h 4429294"/>
                    <a:gd name="connsiteX41" fmla="*/ 88817 w 4454477"/>
                    <a:gd name="connsiteY41" fmla="*/ 1419225 h 4429294"/>
                    <a:gd name="connsiteX42" fmla="*/ 165017 w 4454477"/>
                    <a:gd name="connsiteY42" fmla="*/ 1276350 h 4429294"/>
                    <a:gd name="connsiteX43" fmla="*/ 250742 w 4454477"/>
                    <a:gd name="connsiteY43" fmla="*/ 1114425 h 4429294"/>
                    <a:gd name="connsiteX44" fmla="*/ 412667 w 4454477"/>
                    <a:gd name="connsiteY44" fmla="*/ 857250 h 4429294"/>
                    <a:gd name="connsiteX45" fmla="*/ 469817 w 4454477"/>
                    <a:gd name="connsiteY45" fmla="*/ 800100 h 4429294"/>
                    <a:gd name="connsiteX46" fmla="*/ 603167 w 4454477"/>
                    <a:gd name="connsiteY46" fmla="*/ 676275 h 4429294"/>
                    <a:gd name="connsiteX47" fmla="*/ 822242 w 4454477"/>
                    <a:gd name="connsiteY47" fmla="*/ 504825 h 4429294"/>
                    <a:gd name="connsiteX48" fmla="*/ 1101642 w 4454477"/>
                    <a:gd name="connsiteY48" fmla="*/ 311150 h 4429294"/>
                    <a:gd name="connsiteX49" fmla="*/ 1460417 w 4454477"/>
                    <a:gd name="connsiteY49" fmla="*/ 152400 h 4429294"/>
                    <a:gd name="connsiteX50" fmla="*/ 1574717 w 4454477"/>
                    <a:gd name="connsiteY50" fmla="*/ 111125 h 4429294"/>
                    <a:gd name="connsiteX51" fmla="*/ 2206542 w 4454477"/>
                    <a:gd name="connsiteY51" fmla="*/ 12700 h 4429294"/>
                    <a:gd name="connsiteX0" fmla="*/ 2233750 w 4456285"/>
                    <a:gd name="connsiteY0" fmla="*/ 0 h 4429294"/>
                    <a:gd name="connsiteX1" fmla="*/ 2557600 w 4456285"/>
                    <a:gd name="connsiteY1" fmla="*/ 15875 h 4429294"/>
                    <a:gd name="connsiteX2" fmla="*/ 2852875 w 4456285"/>
                    <a:gd name="connsiteY2" fmla="*/ 85725 h 4429294"/>
                    <a:gd name="connsiteX3" fmla="*/ 3071950 w 4456285"/>
                    <a:gd name="connsiteY3" fmla="*/ 171450 h 4429294"/>
                    <a:gd name="connsiteX4" fmla="*/ 3176725 w 4456285"/>
                    <a:gd name="connsiteY4" fmla="*/ 228600 h 4429294"/>
                    <a:gd name="connsiteX5" fmla="*/ 3357700 w 4456285"/>
                    <a:gd name="connsiteY5" fmla="*/ 323850 h 4429294"/>
                    <a:gd name="connsiteX6" fmla="*/ 3748225 w 4456285"/>
                    <a:gd name="connsiteY6" fmla="*/ 581025 h 4429294"/>
                    <a:gd name="connsiteX7" fmla="*/ 3964125 w 4456285"/>
                    <a:gd name="connsiteY7" fmla="*/ 819150 h 4429294"/>
                    <a:gd name="connsiteX8" fmla="*/ 4100650 w 4456285"/>
                    <a:gd name="connsiteY8" fmla="*/ 990600 h 4429294"/>
                    <a:gd name="connsiteX9" fmla="*/ 4186375 w 4456285"/>
                    <a:gd name="connsiteY9" fmla="*/ 1143000 h 4429294"/>
                    <a:gd name="connsiteX10" fmla="*/ 4243525 w 4456285"/>
                    <a:gd name="connsiteY10" fmla="*/ 1266825 h 4429294"/>
                    <a:gd name="connsiteX11" fmla="*/ 4281625 w 4456285"/>
                    <a:gd name="connsiteY11" fmla="*/ 1362075 h 4429294"/>
                    <a:gd name="connsiteX12" fmla="*/ 4329250 w 4456285"/>
                    <a:gd name="connsiteY12" fmla="*/ 1552575 h 4429294"/>
                    <a:gd name="connsiteX13" fmla="*/ 4367350 w 4456285"/>
                    <a:gd name="connsiteY13" fmla="*/ 1685925 h 4429294"/>
                    <a:gd name="connsiteX14" fmla="*/ 4456250 w 4456285"/>
                    <a:gd name="connsiteY14" fmla="*/ 2181225 h 4429294"/>
                    <a:gd name="connsiteX15" fmla="*/ 4383225 w 4456285"/>
                    <a:gd name="connsiteY15" fmla="*/ 2768600 h 4429294"/>
                    <a:gd name="connsiteX16" fmla="*/ 4319725 w 4456285"/>
                    <a:gd name="connsiteY16" fmla="*/ 2990850 h 4429294"/>
                    <a:gd name="connsiteX17" fmla="*/ 4214950 w 4456285"/>
                    <a:gd name="connsiteY17" fmla="*/ 3248025 h 4429294"/>
                    <a:gd name="connsiteX18" fmla="*/ 4119700 w 4456285"/>
                    <a:gd name="connsiteY18" fmla="*/ 3400425 h 4429294"/>
                    <a:gd name="connsiteX19" fmla="*/ 3995875 w 4456285"/>
                    <a:gd name="connsiteY19" fmla="*/ 3533775 h 4429294"/>
                    <a:gd name="connsiteX20" fmla="*/ 3891100 w 4456285"/>
                    <a:gd name="connsiteY20" fmla="*/ 3648075 h 4429294"/>
                    <a:gd name="connsiteX21" fmla="*/ 3595825 w 4456285"/>
                    <a:gd name="connsiteY21" fmla="*/ 3971925 h 4429294"/>
                    <a:gd name="connsiteX22" fmla="*/ 3452950 w 4456285"/>
                    <a:gd name="connsiteY22" fmla="*/ 4083050 h 4429294"/>
                    <a:gd name="connsiteX23" fmla="*/ 3157675 w 4456285"/>
                    <a:gd name="connsiteY23" fmla="*/ 4222750 h 4429294"/>
                    <a:gd name="connsiteX24" fmla="*/ 3005275 w 4456285"/>
                    <a:gd name="connsiteY24" fmla="*/ 4286250 h 4429294"/>
                    <a:gd name="connsiteX25" fmla="*/ 2871925 w 4456285"/>
                    <a:gd name="connsiteY25" fmla="*/ 4333875 h 4429294"/>
                    <a:gd name="connsiteX26" fmla="*/ 2748100 w 4456285"/>
                    <a:gd name="connsiteY26" fmla="*/ 4371975 h 4429294"/>
                    <a:gd name="connsiteX27" fmla="*/ 2516325 w 4456285"/>
                    <a:gd name="connsiteY27" fmla="*/ 4391025 h 4429294"/>
                    <a:gd name="connsiteX28" fmla="*/ 2062300 w 4456285"/>
                    <a:gd name="connsiteY28" fmla="*/ 4429125 h 4429294"/>
                    <a:gd name="connsiteX29" fmla="*/ 1871800 w 4456285"/>
                    <a:gd name="connsiteY29" fmla="*/ 4400550 h 4429294"/>
                    <a:gd name="connsiteX30" fmla="*/ 1509850 w 4456285"/>
                    <a:gd name="connsiteY30" fmla="*/ 4305300 h 4429294"/>
                    <a:gd name="connsiteX31" fmla="*/ 1268550 w 4456285"/>
                    <a:gd name="connsiteY31" fmla="*/ 4216400 h 4429294"/>
                    <a:gd name="connsiteX32" fmla="*/ 1100275 w 4456285"/>
                    <a:gd name="connsiteY32" fmla="*/ 4111625 h 4429294"/>
                    <a:gd name="connsiteX33" fmla="*/ 881200 w 4456285"/>
                    <a:gd name="connsiteY33" fmla="*/ 3968750 h 4429294"/>
                    <a:gd name="connsiteX34" fmla="*/ 547825 w 4456285"/>
                    <a:gd name="connsiteY34" fmla="*/ 3657600 h 4429294"/>
                    <a:gd name="connsiteX35" fmla="*/ 401775 w 4456285"/>
                    <a:gd name="connsiteY35" fmla="*/ 3470275 h 4429294"/>
                    <a:gd name="connsiteX36" fmla="*/ 271600 w 4456285"/>
                    <a:gd name="connsiteY36" fmla="*/ 3244850 h 4429294"/>
                    <a:gd name="connsiteX37" fmla="*/ 119200 w 4456285"/>
                    <a:gd name="connsiteY37" fmla="*/ 2892425 h 4429294"/>
                    <a:gd name="connsiteX38" fmla="*/ 11250 w 4456285"/>
                    <a:gd name="connsiteY38" fmla="*/ 2368550 h 4429294"/>
                    <a:gd name="connsiteX39" fmla="*/ 17600 w 4456285"/>
                    <a:gd name="connsiteY39" fmla="*/ 1870075 h 4429294"/>
                    <a:gd name="connsiteX40" fmla="*/ 90625 w 4456285"/>
                    <a:gd name="connsiteY40" fmla="*/ 1419225 h 4429294"/>
                    <a:gd name="connsiteX41" fmla="*/ 166825 w 4456285"/>
                    <a:gd name="connsiteY41" fmla="*/ 1276350 h 4429294"/>
                    <a:gd name="connsiteX42" fmla="*/ 252550 w 4456285"/>
                    <a:gd name="connsiteY42" fmla="*/ 1114425 h 4429294"/>
                    <a:gd name="connsiteX43" fmla="*/ 414475 w 4456285"/>
                    <a:gd name="connsiteY43" fmla="*/ 857250 h 4429294"/>
                    <a:gd name="connsiteX44" fmla="*/ 471625 w 4456285"/>
                    <a:gd name="connsiteY44" fmla="*/ 800100 h 4429294"/>
                    <a:gd name="connsiteX45" fmla="*/ 604975 w 4456285"/>
                    <a:gd name="connsiteY45" fmla="*/ 676275 h 4429294"/>
                    <a:gd name="connsiteX46" fmla="*/ 824050 w 4456285"/>
                    <a:gd name="connsiteY46" fmla="*/ 504825 h 4429294"/>
                    <a:gd name="connsiteX47" fmla="*/ 1103450 w 4456285"/>
                    <a:gd name="connsiteY47" fmla="*/ 311150 h 4429294"/>
                    <a:gd name="connsiteX48" fmla="*/ 1462225 w 4456285"/>
                    <a:gd name="connsiteY48" fmla="*/ 152400 h 4429294"/>
                    <a:gd name="connsiteX49" fmla="*/ 1576525 w 4456285"/>
                    <a:gd name="connsiteY49" fmla="*/ 111125 h 4429294"/>
                    <a:gd name="connsiteX50" fmla="*/ 2208350 w 4456285"/>
                    <a:gd name="connsiteY50" fmla="*/ 12700 h 4429294"/>
                    <a:gd name="connsiteX0" fmla="*/ 2237540 w 4460075"/>
                    <a:gd name="connsiteY0" fmla="*/ 0 h 4429294"/>
                    <a:gd name="connsiteX1" fmla="*/ 2561390 w 4460075"/>
                    <a:gd name="connsiteY1" fmla="*/ 15875 h 4429294"/>
                    <a:gd name="connsiteX2" fmla="*/ 2856665 w 4460075"/>
                    <a:gd name="connsiteY2" fmla="*/ 85725 h 4429294"/>
                    <a:gd name="connsiteX3" fmla="*/ 3075740 w 4460075"/>
                    <a:gd name="connsiteY3" fmla="*/ 171450 h 4429294"/>
                    <a:gd name="connsiteX4" fmla="*/ 3180515 w 4460075"/>
                    <a:gd name="connsiteY4" fmla="*/ 228600 h 4429294"/>
                    <a:gd name="connsiteX5" fmla="*/ 3361490 w 4460075"/>
                    <a:gd name="connsiteY5" fmla="*/ 323850 h 4429294"/>
                    <a:gd name="connsiteX6" fmla="*/ 3752015 w 4460075"/>
                    <a:gd name="connsiteY6" fmla="*/ 581025 h 4429294"/>
                    <a:gd name="connsiteX7" fmla="*/ 3967915 w 4460075"/>
                    <a:gd name="connsiteY7" fmla="*/ 819150 h 4429294"/>
                    <a:gd name="connsiteX8" fmla="*/ 4104440 w 4460075"/>
                    <a:gd name="connsiteY8" fmla="*/ 990600 h 4429294"/>
                    <a:gd name="connsiteX9" fmla="*/ 4190165 w 4460075"/>
                    <a:gd name="connsiteY9" fmla="*/ 1143000 h 4429294"/>
                    <a:gd name="connsiteX10" fmla="*/ 4247315 w 4460075"/>
                    <a:gd name="connsiteY10" fmla="*/ 1266825 h 4429294"/>
                    <a:gd name="connsiteX11" fmla="*/ 4285415 w 4460075"/>
                    <a:gd name="connsiteY11" fmla="*/ 1362075 h 4429294"/>
                    <a:gd name="connsiteX12" fmla="*/ 4333040 w 4460075"/>
                    <a:gd name="connsiteY12" fmla="*/ 1552575 h 4429294"/>
                    <a:gd name="connsiteX13" fmla="*/ 4371140 w 4460075"/>
                    <a:gd name="connsiteY13" fmla="*/ 1685925 h 4429294"/>
                    <a:gd name="connsiteX14" fmla="*/ 4460040 w 4460075"/>
                    <a:gd name="connsiteY14" fmla="*/ 2181225 h 4429294"/>
                    <a:gd name="connsiteX15" fmla="*/ 4387015 w 4460075"/>
                    <a:gd name="connsiteY15" fmla="*/ 2768600 h 4429294"/>
                    <a:gd name="connsiteX16" fmla="*/ 4323515 w 4460075"/>
                    <a:gd name="connsiteY16" fmla="*/ 2990850 h 4429294"/>
                    <a:gd name="connsiteX17" fmla="*/ 4218740 w 4460075"/>
                    <a:gd name="connsiteY17" fmla="*/ 3248025 h 4429294"/>
                    <a:gd name="connsiteX18" fmla="*/ 4123490 w 4460075"/>
                    <a:gd name="connsiteY18" fmla="*/ 3400425 h 4429294"/>
                    <a:gd name="connsiteX19" fmla="*/ 3999665 w 4460075"/>
                    <a:gd name="connsiteY19" fmla="*/ 3533775 h 4429294"/>
                    <a:gd name="connsiteX20" fmla="*/ 3894890 w 4460075"/>
                    <a:gd name="connsiteY20" fmla="*/ 3648075 h 4429294"/>
                    <a:gd name="connsiteX21" fmla="*/ 3599615 w 4460075"/>
                    <a:gd name="connsiteY21" fmla="*/ 3971925 h 4429294"/>
                    <a:gd name="connsiteX22" fmla="*/ 3456740 w 4460075"/>
                    <a:gd name="connsiteY22" fmla="*/ 4083050 h 4429294"/>
                    <a:gd name="connsiteX23" fmla="*/ 3161465 w 4460075"/>
                    <a:gd name="connsiteY23" fmla="*/ 4222750 h 4429294"/>
                    <a:gd name="connsiteX24" fmla="*/ 3009065 w 4460075"/>
                    <a:gd name="connsiteY24" fmla="*/ 4286250 h 4429294"/>
                    <a:gd name="connsiteX25" fmla="*/ 2875715 w 4460075"/>
                    <a:gd name="connsiteY25" fmla="*/ 4333875 h 4429294"/>
                    <a:gd name="connsiteX26" fmla="*/ 2751890 w 4460075"/>
                    <a:gd name="connsiteY26" fmla="*/ 4371975 h 4429294"/>
                    <a:gd name="connsiteX27" fmla="*/ 2520115 w 4460075"/>
                    <a:gd name="connsiteY27" fmla="*/ 4391025 h 4429294"/>
                    <a:gd name="connsiteX28" fmla="*/ 2066090 w 4460075"/>
                    <a:gd name="connsiteY28" fmla="*/ 4429125 h 4429294"/>
                    <a:gd name="connsiteX29" fmla="*/ 1875590 w 4460075"/>
                    <a:gd name="connsiteY29" fmla="*/ 4400550 h 4429294"/>
                    <a:gd name="connsiteX30" fmla="*/ 1513640 w 4460075"/>
                    <a:gd name="connsiteY30" fmla="*/ 4305300 h 4429294"/>
                    <a:gd name="connsiteX31" fmla="*/ 1272340 w 4460075"/>
                    <a:gd name="connsiteY31" fmla="*/ 4216400 h 4429294"/>
                    <a:gd name="connsiteX32" fmla="*/ 1104065 w 4460075"/>
                    <a:gd name="connsiteY32" fmla="*/ 4111625 h 4429294"/>
                    <a:gd name="connsiteX33" fmla="*/ 884990 w 4460075"/>
                    <a:gd name="connsiteY33" fmla="*/ 3968750 h 4429294"/>
                    <a:gd name="connsiteX34" fmla="*/ 551615 w 4460075"/>
                    <a:gd name="connsiteY34" fmla="*/ 3657600 h 4429294"/>
                    <a:gd name="connsiteX35" fmla="*/ 405565 w 4460075"/>
                    <a:gd name="connsiteY35" fmla="*/ 3470275 h 4429294"/>
                    <a:gd name="connsiteX36" fmla="*/ 275390 w 4460075"/>
                    <a:gd name="connsiteY36" fmla="*/ 3244850 h 4429294"/>
                    <a:gd name="connsiteX37" fmla="*/ 122990 w 4460075"/>
                    <a:gd name="connsiteY37" fmla="*/ 2892425 h 4429294"/>
                    <a:gd name="connsiteX38" fmla="*/ 15040 w 4460075"/>
                    <a:gd name="connsiteY38" fmla="*/ 2368550 h 4429294"/>
                    <a:gd name="connsiteX39" fmla="*/ 21390 w 4460075"/>
                    <a:gd name="connsiteY39" fmla="*/ 1870075 h 4429294"/>
                    <a:gd name="connsiteX40" fmla="*/ 170615 w 4460075"/>
                    <a:gd name="connsiteY40" fmla="*/ 1276350 h 4429294"/>
                    <a:gd name="connsiteX41" fmla="*/ 256340 w 4460075"/>
                    <a:gd name="connsiteY41" fmla="*/ 1114425 h 4429294"/>
                    <a:gd name="connsiteX42" fmla="*/ 418265 w 4460075"/>
                    <a:gd name="connsiteY42" fmla="*/ 857250 h 4429294"/>
                    <a:gd name="connsiteX43" fmla="*/ 475415 w 4460075"/>
                    <a:gd name="connsiteY43" fmla="*/ 800100 h 4429294"/>
                    <a:gd name="connsiteX44" fmla="*/ 608765 w 4460075"/>
                    <a:gd name="connsiteY44" fmla="*/ 676275 h 4429294"/>
                    <a:gd name="connsiteX45" fmla="*/ 827840 w 4460075"/>
                    <a:gd name="connsiteY45" fmla="*/ 504825 h 4429294"/>
                    <a:gd name="connsiteX46" fmla="*/ 1107240 w 4460075"/>
                    <a:gd name="connsiteY46" fmla="*/ 311150 h 4429294"/>
                    <a:gd name="connsiteX47" fmla="*/ 1466015 w 4460075"/>
                    <a:gd name="connsiteY47" fmla="*/ 152400 h 4429294"/>
                    <a:gd name="connsiteX48" fmla="*/ 1580315 w 4460075"/>
                    <a:gd name="connsiteY48" fmla="*/ 111125 h 4429294"/>
                    <a:gd name="connsiteX49" fmla="*/ 2212140 w 4460075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5706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76140 w 4460800"/>
                    <a:gd name="connsiteY42" fmla="*/ 800100 h 4429294"/>
                    <a:gd name="connsiteX43" fmla="*/ 609490 w 4460800"/>
                    <a:gd name="connsiteY43" fmla="*/ 676275 h 4429294"/>
                    <a:gd name="connsiteX44" fmla="*/ 828565 w 4460800"/>
                    <a:gd name="connsiteY44" fmla="*/ 504825 h 4429294"/>
                    <a:gd name="connsiteX45" fmla="*/ 1107965 w 4460800"/>
                    <a:gd name="connsiteY45" fmla="*/ 311150 h 4429294"/>
                    <a:gd name="connsiteX46" fmla="*/ 1466740 w 4460800"/>
                    <a:gd name="connsiteY46" fmla="*/ 152400 h 4429294"/>
                    <a:gd name="connsiteX47" fmla="*/ 1581040 w 4460800"/>
                    <a:gd name="connsiteY47" fmla="*/ 111125 h 4429294"/>
                    <a:gd name="connsiteX48" fmla="*/ 2212865 w 4460800"/>
                    <a:gd name="connsiteY48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76" name="Freeform: Shape 175">
                  <a:extLst>
                    <a:ext uri="{FF2B5EF4-FFF2-40B4-BE49-F238E27FC236}">
                      <a16:creationId xmlns:a16="http://schemas.microsoft.com/office/drawing/2014/main" id="{3E0B5547-D45E-B6D2-2681-9D5A6433962D}"/>
                    </a:ext>
                  </a:extLst>
                </p:cNvPr>
                <p:cNvSpPr/>
                <p:nvPr/>
              </p:nvSpPr>
              <p:spPr>
                <a:xfrm>
                  <a:off x="5459953" y="2254250"/>
                  <a:ext cx="362722" cy="318128"/>
                </a:xfrm>
                <a:custGeom>
                  <a:avLst/>
                  <a:gdLst>
                    <a:gd name="connsiteX0" fmla="*/ 0 w 362634"/>
                    <a:gd name="connsiteY0" fmla="*/ 0 h 341644"/>
                    <a:gd name="connsiteX1" fmla="*/ 100484 w 362634"/>
                    <a:gd name="connsiteY1" fmla="*/ 60290 h 341644"/>
                    <a:gd name="connsiteX2" fmla="*/ 160774 w 362634"/>
                    <a:gd name="connsiteY2" fmla="*/ 110532 h 341644"/>
                    <a:gd name="connsiteX3" fmla="*/ 190919 w 362634"/>
                    <a:gd name="connsiteY3" fmla="*/ 140677 h 341644"/>
                    <a:gd name="connsiteX4" fmla="*/ 221064 w 362634"/>
                    <a:gd name="connsiteY4" fmla="*/ 160774 h 341644"/>
                    <a:gd name="connsiteX5" fmla="*/ 291402 w 362634"/>
                    <a:gd name="connsiteY5" fmla="*/ 251209 h 341644"/>
                    <a:gd name="connsiteX6" fmla="*/ 331596 w 362634"/>
                    <a:gd name="connsiteY6" fmla="*/ 301451 h 341644"/>
                    <a:gd name="connsiteX7" fmla="*/ 361741 w 362634"/>
                    <a:gd name="connsiteY7" fmla="*/ 331596 h 341644"/>
                    <a:gd name="connsiteX8" fmla="*/ 361741 w 362634"/>
                    <a:gd name="connsiteY8" fmla="*/ 341644 h 341644"/>
                    <a:gd name="connsiteX0" fmla="*/ 0 w 369096"/>
                    <a:gd name="connsiteY0" fmla="*/ 0 h 397133"/>
                    <a:gd name="connsiteX1" fmla="*/ 106946 w 369096"/>
                    <a:gd name="connsiteY1" fmla="*/ 115779 h 397133"/>
                    <a:gd name="connsiteX2" fmla="*/ 167236 w 369096"/>
                    <a:gd name="connsiteY2" fmla="*/ 166021 h 397133"/>
                    <a:gd name="connsiteX3" fmla="*/ 197381 w 369096"/>
                    <a:gd name="connsiteY3" fmla="*/ 196166 h 397133"/>
                    <a:gd name="connsiteX4" fmla="*/ 227526 w 369096"/>
                    <a:gd name="connsiteY4" fmla="*/ 216263 h 397133"/>
                    <a:gd name="connsiteX5" fmla="*/ 297864 w 369096"/>
                    <a:gd name="connsiteY5" fmla="*/ 306698 h 397133"/>
                    <a:gd name="connsiteX6" fmla="*/ 338058 w 369096"/>
                    <a:gd name="connsiteY6" fmla="*/ 356940 h 397133"/>
                    <a:gd name="connsiteX7" fmla="*/ 368203 w 369096"/>
                    <a:gd name="connsiteY7" fmla="*/ 387085 h 397133"/>
                    <a:gd name="connsiteX8" fmla="*/ 368203 w 369096"/>
                    <a:gd name="connsiteY8" fmla="*/ 397133 h 397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369096" h="397133">
                      <a:moveTo>
                        <a:pt x="0" y="0"/>
                      </a:moveTo>
                      <a:cubicBezTo>
                        <a:pt x="33495" y="20097"/>
                        <a:pt x="79073" y="88109"/>
                        <a:pt x="106946" y="115779"/>
                      </a:cubicBezTo>
                      <a:cubicBezTo>
                        <a:pt x="134819" y="143449"/>
                        <a:pt x="147684" y="148641"/>
                        <a:pt x="167236" y="166021"/>
                      </a:cubicBezTo>
                      <a:cubicBezTo>
                        <a:pt x="177857" y="175462"/>
                        <a:pt x="186464" y="187069"/>
                        <a:pt x="197381" y="196166"/>
                      </a:cubicBezTo>
                      <a:cubicBezTo>
                        <a:pt x="206659" y="203897"/>
                        <a:pt x="219402" y="207327"/>
                        <a:pt x="227526" y="216263"/>
                      </a:cubicBezTo>
                      <a:cubicBezTo>
                        <a:pt x="253215" y="244521"/>
                        <a:pt x="274270" y="276669"/>
                        <a:pt x="297864" y="306698"/>
                      </a:cubicBezTo>
                      <a:cubicBezTo>
                        <a:pt x="311115" y="323562"/>
                        <a:pt x="322893" y="341775"/>
                        <a:pt x="338058" y="356940"/>
                      </a:cubicBezTo>
                      <a:cubicBezTo>
                        <a:pt x="348106" y="366988"/>
                        <a:pt x="359677" y="375717"/>
                        <a:pt x="368203" y="387085"/>
                      </a:cubicBezTo>
                      <a:cubicBezTo>
                        <a:pt x="370213" y="389764"/>
                        <a:pt x="368203" y="393784"/>
                        <a:pt x="368203" y="397133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77" name="Freeform: Shape 176">
                  <a:extLst>
                    <a:ext uri="{FF2B5EF4-FFF2-40B4-BE49-F238E27FC236}">
                      <a16:creationId xmlns:a16="http://schemas.microsoft.com/office/drawing/2014/main" id="{A6F2953E-585E-9F0F-747F-86D4AC05AED2}"/>
                    </a:ext>
                  </a:extLst>
                </p:cNvPr>
                <p:cNvSpPr/>
                <p:nvPr/>
              </p:nvSpPr>
              <p:spPr>
                <a:xfrm>
                  <a:off x="6794500" y="1701800"/>
                  <a:ext cx="6350" cy="514350"/>
                </a:xfrm>
                <a:custGeom>
                  <a:avLst/>
                  <a:gdLst>
                    <a:gd name="connsiteX0" fmla="*/ 20061 w 27350"/>
                    <a:gd name="connsiteY0" fmla="*/ 0 h 514350"/>
                    <a:gd name="connsiteX1" fmla="*/ 26411 w 27350"/>
                    <a:gd name="connsiteY1" fmla="*/ 114300 h 514350"/>
                    <a:gd name="connsiteX2" fmla="*/ 7361 w 27350"/>
                    <a:gd name="connsiteY2" fmla="*/ 133350 h 514350"/>
                    <a:gd name="connsiteX3" fmla="*/ 20061 w 27350"/>
                    <a:gd name="connsiteY3" fmla="*/ 311150 h 514350"/>
                    <a:gd name="connsiteX4" fmla="*/ 20061 w 27350"/>
                    <a:gd name="connsiteY4" fmla="*/ 514350 h 514350"/>
                    <a:gd name="connsiteX0" fmla="*/ 0 w 6350"/>
                    <a:gd name="connsiteY0" fmla="*/ 0 h 514350"/>
                    <a:gd name="connsiteX1" fmla="*/ 6350 w 6350"/>
                    <a:gd name="connsiteY1" fmla="*/ 114300 h 514350"/>
                    <a:gd name="connsiteX2" fmla="*/ 0 w 6350"/>
                    <a:gd name="connsiteY2" fmla="*/ 311150 h 514350"/>
                    <a:gd name="connsiteX3" fmla="*/ 0 w 6350"/>
                    <a:gd name="connsiteY3" fmla="*/ 514350 h 5143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350" h="514350">
                      <a:moveTo>
                        <a:pt x="0" y="0"/>
                      </a:moveTo>
                      <a:cubicBezTo>
                        <a:pt x="2117" y="38100"/>
                        <a:pt x="6350" y="62442"/>
                        <a:pt x="6350" y="114300"/>
                      </a:cubicBezTo>
                      <a:cubicBezTo>
                        <a:pt x="6350" y="166158"/>
                        <a:pt x="1058" y="244475"/>
                        <a:pt x="0" y="311150"/>
                      </a:cubicBezTo>
                      <a:cubicBezTo>
                        <a:pt x="1736" y="378861"/>
                        <a:pt x="0" y="446617"/>
                        <a:pt x="0" y="514350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78" name="Freeform: Shape 177">
                  <a:extLst>
                    <a:ext uri="{FF2B5EF4-FFF2-40B4-BE49-F238E27FC236}">
                      <a16:creationId xmlns:a16="http://schemas.microsoft.com/office/drawing/2014/main" id="{7786DA58-8955-0FE6-8B3A-3BAFA8DACCFF}"/>
                    </a:ext>
                  </a:extLst>
                </p:cNvPr>
                <p:cNvSpPr/>
                <p:nvPr/>
              </p:nvSpPr>
              <p:spPr>
                <a:xfrm>
                  <a:off x="4749800" y="3263900"/>
                  <a:ext cx="501650" cy="139792"/>
                </a:xfrm>
                <a:custGeom>
                  <a:avLst/>
                  <a:gdLst>
                    <a:gd name="connsiteX0" fmla="*/ 0 w 501650"/>
                    <a:gd name="connsiteY0" fmla="*/ 0 h 139792"/>
                    <a:gd name="connsiteX1" fmla="*/ 82550 w 501650"/>
                    <a:gd name="connsiteY1" fmla="*/ 19050 h 139792"/>
                    <a:gd name="connsiteX2" fmla="*/ 114300 w 501650"/>
                    <a:gd name="connsiteY2" fmla="*/ 25400 h 139792"/>
                    <a:gd name="connsiteX3" fmla="*/ 203200 w 501650"/>
                    <a:gd name="connsiteY3" fmla="*/ 44450 h 139792"/>
                    <a:gd name="connsiteX4" fmla="*/ 279400 w 501650"/>
                    <a:gd name="connsiteY4" fmla="*/ 76200 h 139792"/>
                    <a:gd name="connsiteX5" fmla="*/ 349250 w 501650"/>
                    <a:gd name="connsiteY5" fmla="*/ 101600 h 139792"/>
                    <a:gd name="connsiteX6" fmla="*/ 425450 w 501650"/>
                    <a:gd name="connsiteY6" fmla="*/ 107950 h 139792"/>
                    <a:gd name="connsiteX7" fmla="*/ 444500 w 501650"/>
                    <a:gd name="connsiteY7" fmla="*/ 127000 h 139792"/>
                    <a:gd name="connsiteX8" fmla="*/ 501650 w 501650"/>
                    <a:gd name="connsiteY8" fmla="*/ 139700 h 1397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01650" h="139792">
                      <a:moveTo>
                        <a:pt x="0" y="0"/>
                      </a:moveTo>
                      <a:cubicBezTo>
                        <a:pt x="102828" y="12853"/>
                        <a:pt x="7759" y="-3387"/>
                        <a:pt x="82550" y="19050"/>
                      </a:cubicBezTo>
                      <a:cubicBezTo>
                        <a:pt x="92888" y="22151"/>
                        <a:pt x="103783" y="22973"/>
                        <a:pt x="114300" y="25400"/>
                      </a:cubicBezTo>
                      <a:cubicBezTo>
                        <a:pt x="196578" y="44387"/>
                        <a:pt x="133877" y="32896"/>
                        <a:pt x="203200" y="44450"/>
                      </a:cubicBezTo>
                      <a:cubicBezTo>
                        <a:pt x="265429" y="75564"/>
                        <a:pt x="216370" y="53280"/>
                        <a:pt x="279400" y="76200"/>
                      </a:cubicBezTo>
                      <a:cubicBezTo>
                        <a:pt x="296495" y="82416"/>
                        <a:pt x="332146" y="98749"/>
                        <a:pt x="349250" y="101600"/>
                      </a:cubicBezTo>
                      <a:cubicBezTo>
                        <a:pt x="374391" y="105790"/>
                        <a:pt x="400050" y="105833"/>
                        <a:pt x="425450" y="107950"/>
                      </a:cubicBezTo>
                      <a:cubicBezTo>
                        <a:pt x="431800" y="114300"/>
                        <a:pt x="436650" y="122639"/>
                        <a:pt x="444500" y="127000"/>
                      </a:cubicBezTo>
                      <a:cubicBezTo>
                        <a:pt x="470974" y="141708"/>
                        <a:pt x="477585" y="139700"/>
                        <a:pt x="501650" y="139700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79" name="Freeform: Shape 178">
                  <a:extLst>
                    <a:ext uri="{FF2B5EF4-FFF2-40B4-BE49-F238E27FC236}">
                      <a16:creationId xmlns:a16="http://schemas.microsoft.com/office/drawing/2014/main" id="{3253C4C4-7EEB-83AC-A606-98776C84A9B9}"/>
                    </a:ext>
                  </a:extLst>
                </p:cNvPr>
                <p:cNvSpPr/>
                <p:nvPr/>
              </p:nvSpPr>
              <p:spPr>
                <a:xfrm>
                  <a:off x="5765800" y="5416550"/>
                  <a:ext cx="298450" cy="393700"/>
                </a:xfrm>
                <a:custGeom>
                  <a:avLst/>
                  <a:gdLst>
                    <a:gd name="connsiteX0" fmla="*/ 0 w 298450"/>
                    <a:gd name="connsiteY0" fmla="*/ 393700 h 393700"/>
                    <a:gd name="connsiteX1" fmla="*/ 31750 w 298450"/>
                    <a:gd name="connsiteY1" fmla="*/ 381000 h 393700"/>
                    <a:gd name="connsiteX2" fmla="*/ 44450 w 298450"/>
                    <a:gd name="connsiteY2" fmla="*/ 342900 h 393700"/>
                    <a:gd name="connsiteX3" fmla="*/ 57150 w 298450"/>
                    <a:gd name="connsiteY3" fmla="*/ 317500 h 393700"/>
                    <a:gd name="connsiteX4" fmla="*/ 63500 w 298450"/>
                    <a:gd name="connsiteY4" fmla="*/ 298450 h 393700"/>
                    <a:gd name="connsiteX5" fmla="*/ 82550 w 298450"/>
                    <a:gd name="connsiteY5" fmla="*/ 279400 h 393700"/>
                    <a:gd name="connsiteX6" fmla="*/ 95250 w 298450"/>
                    <a:gd name="connsiteY6" fmla="*/ 260350 h 393700"/>
                    <a:gd name="connsiteX7" fmla="*/ 120650 w 298450"/>
                    <a:gd name="connsiteY7" fmla="*/ 234950 h 393700"/>
                    <a:gd name="connsiteX8" fmla="*/ 158750 w 298450"/>
                    <a:gd name="connsiteY8" fmla="*/ 196850 h 393700"/>
                    <a:gd name="connsiteX9" fmla="*/ 171450 w 298450"/>
                    <a:gd name="connsiteY9" fmla="*/ 177800 h 393700"/>
                    <a:gd name="connsiteX10" fmla="*/ 196850 w 298450"/>
                    <a:gd name="connsiteY10" fmla="*/ 158750 h 393700"/>
                    <a:gd name="connsiteX11" fmla="*/ 234950 w 298450"/>
                    <a:gd name="connsiteY11" fmla="*/ 127000 h 393700"/>
                    <a:gd name="connsiteX12" fmla="*/ 266700 w 298450"/>
                    <a:gd name="connsiteY12" fmla="*/ 82550 h 393700"/>
                    <a:gd name="connsiteX13" fmla="*/ 292100 w 298450"/>
                    <a:gd name="connsiteY13" fmla="*/ 25400 h 393700"/>
                    <a:gd name="connsiteX14" fmla="*/ 298450 w 298450"/>
                    <a:gd name="connsiteY14" fmla="*/ 0 h 3937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298450" h="393700">
                      <a:moveTo>
                        <a:pt x="0" y="393700"/>
                      </a:moveTo>
                      <a:cubicBezTo>
                        <a:pt x="10583" y="389467"/>
                        <a:pt x="24244" y="389578"/>
                        <a:pt x="31750" y="381000"/>
                      </a:cubicBezTo>
                      <a:cubicBezTo>
                        <a:pt x="40565" y="370925"/>
                        <a:pt x="39478" y="355329"/>
                        <a:pt x="44450" y="342900"/>
                      </a:cubicBezTo>
                      <a:cubicBezTo>
                        <a:pt x="47966" y="334111"/>
                        <a:pt x="53421" y="326201"/>
                        <a:pt x="57150" y="317500"/>
                      </a:cubicBezTo>
                      <a:cubicBezTo>
                        <a:pt x="59787" y="311348"/>
                        <a:pt x="59787" y="304019"/>
                        <a:pt x="63500" y="298450"/>
                      </a:cubicBezTo>
                      <a:cubicBezTo>
                        <a:pt x="68481" y="290978"/>
                        <a:pt x="76801" y="286299"/>
                        <a:pt x="82550" y="279400"/>
                      </a:cubicBezTo>
                      <a:cubicBezTo>
                        <a:pt x="87436" y="273537"/>
                        <a:pt x="90283" y="266144"/>
                        <a:pt x="95250" y="260350"/>
                      </a:cubicBezTo>
                      <a:cubicBezTo>
                        <a:pt x="103042" y="251259"/>
                        <a:pt x="112765" y="243961"/>
                        <a:pt x="120650" y="234950"/>
                      </a:cubicBezTo>
                      <a:cubicBezTo>
                        <a:pt x="153731" y="197144"/>
                        <a:pt x="124078" y="219964"/>
                        <a:pt x="158750" y="196850"/>
                      </a:cubicBezTo>
                      <a:cubicBezTo>
                        <a:pt x="162983" y="190500"/>
                        <a:pt x="166054" y="183196"/>
                        <a:pt x="171450" y="177800"/>
                      </a:cubicBezTo>
                      <a:cubicBezTo>
                        <a:pt x="178934" y="170316"/>
                        <a:pt x="188586" y="165361"/>
                        <a:pt x="196850" y="158750"/>
                      </a:cubicBezTo>
                      <a:cubicBezTo>
                        <a:pt x="209759" y="148423"/>
                        <a:pt x="223260" y="138690"/>
                        <a:pt x="234950" y="127000"/>
                      </a:cubicBezTo>
                      <a:cubicBezTo>
                        <a:pt x="239493" y="122457"/>
                        <a:pt x="261893" y="90963"/>
                        <a:pt x="266700" y="82550"/>
                      </a:cubicBezTo>
                      <a:cubicBezTo>
                        <a:pt x="275552" y="67060"/>
                        <a:pt x="286657" y="41729"/>
                        <a:pt x="292100" y="25400"/>
                      </a:cubicBezTo>
                      <a:cubicBezTo>
                        <a:pt x="294860" y="17121"/>
                        <a:pt x="298450" y="0"/>
                        <a:pt x="298450" y="0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</p:grpSp>
          <p:grpSp>
            <p:nvGrpSpPr>
              <p:cNvPr id="186" name="Group 185">
                <a:extLst>
                  <a:ext uri="{FF2B5EF4-FFF2-40B4-BE49-F238E27FC236}">
                    <a16:creationId xmlns:a16="http://schemas.microsoft.com/office/drawing/2014/main" id="{67DD6909-7EBB-1745-8A70-3133114F52A1}"/>
                  </a:ext>
                </a:extLst>
              </p:cNvPr>
              <p:cNvGrpSpPr/>
              <p:nvPr/>
            </p:nvGrpSpPr>
            <p:grpSpPr>
              <a:xfrm rot="1046565">
                <a:off x="7203751" y="4881549"/>
                <a:ext cx="1206771" cy="1287897"/>
                <a:chOff x="1011668" y="4202364"/>
                <a:chExt cx="1503209" cy="1604263"/>
              </a:xfrm>
            </p:grpSpPr>
            <p:sp>
              <p:nvSpPr>
                <p:cNvPr id="187" name="Freeform: Shape 186">
                  <a:extLst>
                    <a:ext uri="{FF2B5EF4-FFF2-40B4-BE49-F238E27FC236}">
                      <a16:creationId xmlns:a16="http://schemas.microsoft.com/office/drawing/2014/main" id="{EC220130-FA4A-E86C-1DBE-B2A6ABDC2888}"/>
                    </a:ext>
                  </a:extLst>
                </p:cNvPr>
                <p:cNvSpPr/>
                <p:nvPr/>
              </p:nvSpPr>
              <p:spPr>
                <a:xfrm rot="21018860">
                  <a:off x="1629141" y="4202364"/>
                  <a:ext cx="309566" cy="179574"/>
                </a:xfrm>
                <a:custGeom>
                  <a:avLst/>
                  <a:gdLst>
                    <a:gd name="connsiteX0" fmla="*/ 14288 w 309566"/>
                    <a:gd name="connsiteY0" fmla="*/ 120277 h 179574"/>
                    <a:gd name="connsiteX1" fmla="*/ 4763 w 309566"/>
                    <a:gd name="connsiteY1" fmla="*/ 77415 h 179574"/>
                    <a:gd name="connsiteX2" fmla="*/ 0 w 309566"/>
                    <a:gd name="connsiteY2" fmla="*/ 63127 h 179574"/>
                    <a:gd name="connsiteX3" fmla="*/ 300038 w 309566"/>
                    <a:gd name="connsiteY3" fmla="*/ 48840 h 179574"/>
                    <a:gd name="connsiteX4" fmla="*/ 309563 w 309566"/>
                    <a:gd name="connsiteY4" fmla="*/ 77415 h 179574"/>
                    <a:gd name="connsiteX5" fmla="*/ 52388 w 309566"/>
                    <a:gd name="connsiteY5" fmla="*/ 144090 h 179574"/>
                    <a:gd name="connsiteX6" fmla="*/ 42863 w 309566"/>
                    <a:gd name="connsiteY6" fmla="*/ 120277 h 179574"/>
                    <a:gd name="connsiteX7" fmla="*/ 14288 w 309566"/>
                    <a:gd name="connsiteY7" fmla="*/ 120277 h 179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9566" h="179574">
                      <a:moveTo>
                        <a:pt x="14288" y="120277"/>
                      </a:moveTo>
                      <a:cubicBezTo>
                        <a:pt x="7938" y="113133"/>
                        <a:pt x="9244" y="93098"/>
                        <a:pt x="4763" y="77415"/>
                      </a:cubicBezTo>
                      <a:cubicBezTo>
                        <a:pt x="3384" y="72588"/>
                        <a:pt x="1588" y="67890"/>
                        <a:pt x="0" y="63127"/>
                      </a:cubicBezTo>
                      <a:cubicBezTo>
                        <a:pt x="28185" y="-49600"/>
                        <a:pt x="5068" y="16577"/>
                        <a:pt x="300038" y="48840"/>
                      </a:cubicBezTo>
                      <a:cubicBezTo>
                        <a:pt x="310019" y="49932"/>
                        <a:pt x="309563" y="77415"/>
                        <a:pt x="309563" y="77415"/>
                      </a:cubicBezTo>
                      <a:cubicBezTo>
                        <a:pt x="281799" y="225485"/>
                        <a:pt x="316532" y="178978"/>
                        <a:pt x="52388" y="144090"/>
                      </a:cubicBezTo>
                      <a:cubicBezTo>
                        <a:pt x="43913" y="142971"/>
                        <a:pt x="47262" y="127608"/>
                        <a:pt x="42863" y="120277"/>
                      </a:cubicBezTo>
                      <a:cubicBezTo>
                        <a:pt x="42046" y="118916"/>
                        <a:pt x="20638" y="127421"/>
                        <a:pt x="14288" y="120277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  <p:sp>
              <p:nvSpPr>
                <p:cNvPr id="188" name="Freeform: Shape 187">
                  <a:extLst>
                    <a:ext uri="{FF2B5EF4-FFF2-40B4-BE49-F238E27FC236}">
                      <a16:creationId xmlns:a16="http://schemas.microsoft.com/office/drawing/2014/main" id="{CD86E7F7-46A6-9DFF-FF74-56C323A265A1}"/>
                    </a:ext>
                  </a:extLst>
                </p:cNvPr>
                <p:cNvSpPr/>
                <p:nvPr/>
              </p:nvSpPr>
              <p:spPr>
                <a:xfrm rot="21018860">
                  <a:off x="1629141" y="4202364"/>
                  <a:ext cx="309566" cy="179574"/>
                </a:xfrm>
                <a:custGeom>
                  <a:avLst/>
                  <a:gdLst>
                    <a:gd name="connsiteX0" fmla="*/ 14288 w 309566"/>
                    <a:gd name="connsiteY0" fmla="*/ 120277 h 179574"/>
                    <a:gd name="connsiteX1" fmla="*/ 4763 w 309566"/>
                    <a:gd name="connsiteY1" fmla="*/ 77415 h 179574"/>
                    <a:gd name="connsiteX2" fmla="*/ 0 w 309566"/>
                    <a:gd name="connsiteY2" fmla="*/ 63127 h 179574"/>
                    <a:gd name="connsiteX3" fmla="*/ 300038 w 309566"/>
                    <a:gd name="connsiteY3" fmla="*/ 48840 h 179574"/>
                    <a:gd name="connsiteX4" fmla="*/ 309563 w 309566"/>
                    <a:gd name="connsiteY4" fmla="*/ 77415 h 179574"/>
                    <a:gd name="connsiteX5" fmla="*/ 52388 w 309566"/>
                    <a:gd name="connsiteY5" fmla="*/ 144090 h 179574"/>
                    <a:gd name="connsiteX6" fmla="*/ 42863 w 309566"/>
                    <a:gd name="connsiteY6" fmla="*/ 120277 h 179574"/>
                    <a:gd name="connsiteX7" fmla="*/ 14288 w 309566"/>
                    <a:gd name="connsiteY7" fmla="*/ 120277 h 17957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09566" h="179574">
                      <a:moveTo>
                        <a:pt x="14288" y="120277"/>
                      </a:moveTo>
                      <a:cubicBezTo>
                        <a:pt x="7938" y="113133"/>
                        <a:pt x="9244" y="93098"/>
                        <a:pt x="4763" y="77415"/>
                      </a:cubicBezTo>
                      <a:cubicBezTo>
                        <a:pt x="3384" y="72588"/>
                        <a:pt x="1588" y="67890"/>
                        <a:pt x="0" y="63127"/>
                      </a:cubicBezTo>
                      <a:cubicBezTo>
                        <a:pt x="28185" y="-49600"/>
                        <a:pt x="5068" y="16577"/>
                        <a:pt x="300038" y="48840"/>
                      </a:cubicBezTo>
                      <a:cubicBezTo>
                        <a:pt x="310019" y="49932"/>
                        <a:pt x="309563" y="77415"/>
                        <a:pt x="309563" y="77415"/>
                      </a:cubicBezTo>
                      <a:cubicBezTo>
                        <a:pt x="281799" y="225485"/>
                        <a:pt x="316532" y="178978"/>
                        <a:pt x="52388" y="144090"/>
                      </a:cubicBezTo>
                      <a:cubicBezTo>
                        <a:pt x="43913" y="142971"/>
                        <a:pt x="47262" y="127608"/>
                        <a:pt x="42863" y="120277"/>
                      </a:cubicBezTo>
                      <a:cubicBezTo>
                        <a:pt x="42046" y="118916"/>
                        <a:pt x="20638" y="127421"/>
                        <a:pt x="14288" y="120277"/>
                      </a:cubicBezTo>
                      <a:close/>
                    </a:path>
                  </a:pathLst>
                </a:custGeom>
                <a:noFill/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9" name="Freeform: Shape 188">
                  <a:extLst>
                    <a:ext uri="{FF2B5EF4-FFF2-40B4-BE49-F238E27FC236}">
                      <a16:creationId xmlns:a16="http://schemas.microsoft.com/office/drawing/2014/main" id="{F8271D5E-D689-2BF1-4448-14679B94BDC1}"/>
                    </a:ext>
                  </a:extLst>
                </p:cNvPr>
                <p:cNvSpPr/>
                <p:nvPr/>
              </p:nvSpPr>
              <p:spPr>
                <a:xfrm>
                  <a:off x="1011668" y="4314034"/>
                  <a:ext cx="1503209" cy="1492593"/>
                </a:xfrm>
                <a:custGeom>
                  <a:avLst/>
                  <a:gdLst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  <a:gd name="connsiteX49" fmla="*/ 2236472 w 4460800"/>
                    <a:gd name="connsiteY49" fmla="*/ 504825 h 4429294"/>
                    <a:gd name="connsiteX50" fmla="*/ 2216862 w 4460800"/>
                    <a:gd name="connsiteY50" fmla="*/ 514630 h 4429294"/>
                    <a:gd name="connsiteX51" fmla="*/ 1729061 w 4460800"/>
                    <a:gd name="connsiteY51" fmla="*/ 590619 h 4429294"/>
                    <a:gd name="connsiteX52" fmla="*/ 1640815 w 4460800"/>
                    <a:gd name="connsiteY52" fmla="*/ 622486 h 4429294"/>
                    <a:gd name="connsiteX53" fmla="*/ 1363822 w 4460800"/>
                    <a:gd name="connsiteY53" fmla="*/ 745049 h 4429294"/>
                    <a:gd name="connsiteX54" fmla="*/ 1148111 w 4460800"/>
                    <a:gd name="connsiteY54" fmla="*/ 894576 h 4429294"/>
                    <a:gd name="connsiteX55" fmla="*/ 978974 w 4460800"/>
                    <a:gd name="connsiteY55" fmla="*/ 1026944 h 4429294"/>
                    <a:gd name="connsiteX56" fmla="*/ 731396 w 4460800"/>
                    <a:gd name="connsiteY56" fmla="*/ 1365219 h 4429294"/>
                    <a:gd name="connsiteX57" fmla="*/ 650504 w 4460800"/>
                    <a:gd name="connsiteY57" fmla="*/ 1524551 h 4429294"/>
                    <a:gd name="connsiteX58" fmla="*/ 525490 w 4460800"/>
                    <a:gd name="connsiteY58" fmla="*/ 1948620 h 4429294"/>
                    <a:gd name="connsiteX59" fmla="*/ 520587 w 4460800"/>
                    <a:gd name="connsiteY59" fmla="*/ 2333468 h 4429294"/>
                    <a:gd name="connsiteX60" fmla="*/ 603930 w 4460800"/>
                    <a:gd name="connsiteY60" fmla="*/ 2737927 h 4429294"/>
                    <a:gd name="connsiteX61" fmla="*/ 721591 w 4460800"/>
                    <a:gd name="connsiteY61" fmla="*/ 3010017 h 4429294"/>
                    <a:gd name="connsiteX62" fmla="*/ 822093 w 4460800"/>
                    <a:gd name="connsiteY62" fmla="*/ 3184057 h 4429294"/>
                    <a:gd name="connsiteX63" fmla="*/ 934851 w 4460800"/>
                    <a:gd name="connsiteY63" fmla="*/ 3328681 h 4429294"/>
                    <a:gd name="connsiteX64" fmla="*/ 1192234 w 4460800"/>
                    <a:gd name="connsiteY64" fmla="*/ 3568905 h 4429294"/>
                    <a:gd name="connsiteX65" fmla="*/ 1361371 w 4460800"/>
                    <a:gd name="connsiteY65" fmla="*/ 3679212 h 4429294"/>
                    <a:gd name="connsiteX66" fmla="*/ 1491288 w 4460800"/>
                    <a:gd name="connsiteY66" fmla="*/ 3760104 h 4429294"/>
                    <a:gd name="connsiteX67" fmla="*/ 1677584 w 4460800"/>
                    <a:gd name="connsiteY67" fmla="*/ 3828739 h 4429294"/>
                    <a:gd name="connsiteX68" fmla="*/ 1957028 w 4460800"/>
                    <a:gd name="connsiteY68" fmla="*/ 3902277 h 4429294"/>
                    <a:gd name="connsiteX69" fmla="*/ 2104104 w 4460800"/>
                    <a:gd name="connsiteY69" fmla="*/ 3924339 h 4429294"/>
                    <a:gd name="connsiteX70" fmla="*/ 2454635 w 4460800"/>
                    <a:gd name="connsiteY70" fmla="*/ 3894923 h 4429294"/>
                    <a:gd name="connsiteX71" fmla="*/ 2633577 w 4460800"/>
                    <a:gd name="connsiteY71" fmla="*/ 3880216 h 4429294"/>
                    <a:gd name="connsiteX72" fmla="*/ 2729176 w 4460800"/>
                    <a:gd name="connsiteY72" fmla="*/ 3850801 h 4429294"/>
                    <a:gd name="connsiteX73" fmla="*/ 2832129 w 4460800"/>
                    <a:gd name="connsiteY73" fmla="*/ 3814032 h 4429294"/>
                    <a:gd name="connsiteX74" fmla="*/ 2949790 w 4460800"/>
                    <a:gd name="connsiteY74" fmla="*/ 3765006 h 4429294"/>
                    <a:gd name="connsiteX75" fmla="*/ 3177758 w 4460800"/>
                    <a:gd name="connsiteY75" fmla="*/ 3657151 h 4429294"/>
                    <a:gd name="connsiteX76" fmla="*/ 3288065 w 4460800"/>
                    <a:gd name="connsiteY76" fmla="*/ 3571357 h 4429294"/>
                    <a:gd name="connsiteX77" fmla="*/ 3516032 w 4460800"/>
                    <a:gd name="connsiteY77" fmla="*/ 3321328 h 4429294"/>
                    <a:gd name="connsiteX78" fmla="*/ 3596924 w 4460800"/>
                    <a:gd name="connsiteY78" fmla="*/ 3233082 h 4429294"/>
                    <a:gd name="connsiteX79" fmla="*/ 3692523 w 4460800"/>
                    <a:gd name="connsiteY79" fmla="*/ 3130129 h 4429294"/>
                    <a:gd name="connsiteX80" fmla="*/ 3766061 w 4460800"/>
                    <a:gd name="connsiteY80" fmla="*/ 3012468 h 4429294"/>
                    <a:gd name="connsiteX81" fmla="*/ 3846953 w 4460800"/>
                    <a:gd name="connsiteY81" fmla="*/ 2813916 h 4429294"/>
                    <a:gd name="connsiteX82" fmla="*/ 3895978 w 4460800"/>
                    <a:gd name="connsiteY82" fmla="*/ 2642327 h 4429294"/>
                    <a:gd name="connsiteX83" fmla="*/ 3952357 w 4460800"/>
                    <a:gd name="connsiteY83" fmla="*/ 2188844 h 4429294"/>
                    <a:gd name="connsiteX84" fmla="*/ 3883722 w 4460800"/>
                    <a:gd name="connsiteY84" fmla="*/ 1806446 h 4429294"/>
                    <a:gd name="connsiteX85" fmla="*/ 3854307 w 4460800"/>
                    <a:gd name="connsiteY85" fmla="*/ 1703493 h 4429294"/>
                    <a:gd name="connsiteX86" fmla="*/ 3817538 w 4460800"/>
                    <a:gd name="connsiteY86" fmla="*/ 1556418 h 4429294"/>
                    <a:gd name="connsiteX87" fmla="*/ 3788122 w 4460800"/>
                    <a:gd name="connsiteY87" fmla="*/ 1482880 h 4429294"/>
                    <a:gd name="connsiteX88" fmla="*/ 3744000 w 4460800"/>
                    <a:gd name="connsiteY88" fmla="*/ 1387280 h 4429294"/>
                    <a:gd name="connsiteX89" fmla="*/ 3677816 w 4460800"/>
                    <a:gd name="connsiteY89" fmla="*/ 1269620 h 4429294"/>
                    <a:gd name="connsiteX90" fmla="*/ 3572411 w 4460800"/>
                    <a:gd name="connsiteY90" fmla="*/ 1137251 h 4429294"/>
                    <a:gd name="connsiteX91" fmla="*/ 3405725 w 4460800"/>
                    <a:gd name="connsiteY91" fmla="*/ 953406 h 4429294"/>
                    <a:gd name="connsiteX92" fmla="*/ 3104220 w 4460800"/>
                    <a:gd name="connsiteY92" fmla="*/ 754854 h 4429294"/>
                    <a:gd name="connsiteX93" fmla="*/ 2964498 w 4460800"/>
                    <a:gd name="connsiteY93" fmla="*/ 681316 h 4429294"/>
                    <a:gd name="connsiteX94" fmla="*/ 2883606 w 4460800"/>
                    <a:gd name="connsiteY94" fmla="*/ 637193 h 4429294"/>
                    <a:gd name="connsiteX95" fmla="*/ 2714469 w 4460800"/>
                    <a:gd name="connsiteY95" fmla="*/ 571009 h 4429294"/>
                    <a:gd name="connsiteX96" fmla="*/ 2486501 w 4460800"/>
                    <a:gd name="connsiteY96" fmla="*/ 517081 h 4429294"/>
                    <a:gd name="connsiteX97" fmla="*/ 2236472 w 4460800"/>
                    <a:gd name="connsiteY97" fmla="*/ 504825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  <a:moveTo>
                        <a:pt x="2236472" y="504825"/>
                      </a:moveTo>
                      <a:lnTo>
                        <a:pt x="2216862" y="514630"/>
                      </a:lnTo>
                      <a:cubicBezTo>
                        <a:pt x="2010139" y="499106"/>
                        <a:pt x="1906368" y="557119"/>
                        <a:pt x="1729061" y="590619"/>
                      </a:cubicBezTo>
                      <a:cubicBezTo>
                        <a:pt x="1633053" y="608595"/>
                        <a:pt x="1701688" y="596748"/>
                        <a:pt x="1640815" y="622486"/>
                      </a:cubicBezTo>
                      <a:cubicBezTo>
                        <a:pt x="1579942" y="648224"/>
                        <a:pt x="1445940" y="699701"/>
                        <a:pt x="1363822" y="745049"/>
                      </a:cubicBezTo>
                      <a:cubicBezTo>
                        <a:pt x="1278845" y="798160"/>
                        <a:pt x="1212252" y="847594"/>
                        <a:pt x="1148111" y="894576"/>
                      </a:cubicBezTo>
                      <a:cubicBezTo>
                        <a:pt x="1083970" y="941559"/>
                        <a:pt x="1048426" y="948504"/>
                        <a:pt x="978974" y="1026944"/>
                      </a:cubicBezTo>
                      <a:cubicBezTo>
                        <a:pt x="909522" y="1105385"/>
                        <a:pt x="786141" y="1282284"/>
                        <a:pt x="731396" y="1365219"/>
                      </a:cubicBezTo>
                      <a:cubicBezTo>
                        <a:pt x="676651" y="1448153"/>
                        <a:pt x="684822" y="1427317"/>
                        <a:pt x="650504" y="1524551"/>
                      </a:cubicBezTo>
                      <a:cubicBezTo>
                        <a:pt x="616187" y="1621785"/>
                        <a:pt x="547143" y="1813800"/>
                        <a:pt x="525490" y="1948620"/>
                      </a:cubicBezTo>
                      <a:cubicBezTo>
                        <a:pt x="503837" y="2083439"/>
                        <a:pt x="503429" y="2190478"/>
                        <a:pt x="520587" y="2333468"/>
                      </a:cubicBezTo>
                      <a:cubicBezTo>
                        <a:pt x="537746" y="2476458"/>
                        <a:pt x="570430" y="2625169"/>
                        <a:pt x="603930" y="2737927"/>
                      </a:cubicBezTo>
                      <a:cubicBezTo>
                        <a:pt x="637431" y="2850685"/>
                        <a:pt x="685231" y="2935662"/>
                        <a:pt x="721591" y="3010017"/>
                      </a:cubicBezTo>
                      <a:cubicBezTo>
                        <a:pt x="757952" y="3084372"/>
                        <a:pt x="786550" y="3130946"/>
                        <a:pt x="822093" y="3184057"/>
                      </a:cubicBezTo>
                      <a:cubicBezTo>
                        <a:pt x="857636" y="3237168"/>
                        <a:pt x="873161" y="3264540"/>
                        <a:pt x="934851" y="3328681"/>
                      </a:cubicBezTo>
                      <a:cubicBezTo>
                        <a:pt x="996541" y="3392823"/>
                        <a:pt x="1121147" y="3510483"/>
                        <a:pt x="1192234" y="3568905"/>
                      </a:cubicBezTo>
                      <a:cubicBezTo>
                        <a:pt x="1263320" y="3627327"/>
                        <a:pt x="1311529" y="3647346"/>
                        <a:pt x="1361371" y="3679212"/>
                      </a:cubicBezTo>
                      <a:cubicBezTo>
                        <a:pt x="1411213" y="3711079"/>
                        <a:pt x="1439811" y="3738043"/>
                        <a:pt x="1491288" y="3760104"/>
                      </a:cubicBezTo>
                      <a:cubicBezTo>
                        <a:pt x="1553386" y="3782982"/>
                        <a:pt x="1599960" y="3805044"/>
                        <a:pt x="1677584" y="3828739"/>
                      </a:cubicBezTo>
                      <a:cubicBezTo>
                        <a:pt x="1755208" y="3852435"/>
                        <a:pt x="1885941" y="3886344"/>
                        <a:pt x="1957028" y="3902277"/>
                      </a:cubicBezTo>
                      <a:cubicBezTo>
                        <a:pt x="2028115" y="3918210"/>
                        <a:pt x="2021169" y="3925564"/>
                        <a:pt x="2104104" y="3924339"/>
                      </a:cubicBezTo>
                      <a:cubicBezTo>
                        <a:pt x="2187039" y="3923113"/>
                        <a:pt x="2366389" y="3902277"/>
                        <a:pt x="2454635" y="3894923"/>
                      </a:cubicBezTo>
                      <a:cubicBezTo>
                        <a:pt x="2542880" y="3887570"/>
                        <a:pt x="2587820" y="3887570"/>
                        <a:pt x="2633577" y="3880216"/>
                      </a:cubicBezTo>
                      <a:cubicBezTo>
                        <a:pt x="2679334" y="3872862"/>
                        <a:pt x="2711316" y="3856382"/>
                        <a:pt x="2729176" y="3850801"/>
                      </a:cubicBezTo>
                      <a:cubicBezTo>
                        <a:pt x="2789144" y="3832061"/>
                        <a:pt x="2784407" y="3833121"/>
                        <a:pt x="2832129" y="3814032"/>
                      </a:cubicBezTo>
                      <a:cubicBezTo>
                        <a:pt x="2854043" y="3812206"/>
                        <a:pt x="2892186" y="3791154"/>
                        <a:pt x="2949790" y="3765006"/>
                      </a:cubicBezTo>
                      <a:cubicBezTo>
                        <a:pt x="3007394" y="3738859"/>
                        <a:pt x="3121379" y="3689426"/>
                        <a:pt x="3177758" y="3657151"/>
                      </a:cubicBezTo>
                      <a:cubicBezTo>
                        <a:pt x="3234137" y="3624876"/>
                        <a:pt x="3231685" y="3627327"/>
                        <a:pt x="3288065" y="3571357"/>
                      </a:cubicBezTo>
                      <a:cubicBezTo>
                        <a:pt x="3344444" y="3515386"/>
                        <a:pt x="3440043" y="3404671"/>
                        <a:pt x="3516032" y="3321328"/>
                      </a:cubicBezTo>
                      <a:lnTo>
                        <a:pt x="3596924" y="3233082"/>
                      </a:lnTo>
                      <a:cubicBezTo>
                        <a:pt x="3626339" y="3201216"/>
                        <a:pt x="3664334" y="3166898"/>
                        <a:pt x="3692523" y="3130129"/>
                      </a:cubicBezTo>
                      <a:cubicBezTo>
                        <a:pt x="3720713" y="3093360"/>
                        <a:pt x="3740323" y="3065170"/>
                        <a:pt x="3766061" y="3012468"/>
                      </a:cubicBezTo>
                      <a:cubicBezTo>
                        <a:pt x="3791799" y="2959767"/>
                        <a:pt x="3825300" y="2875606"/>
                        <a:pt x="3846953" y="2813916"/>
                      </a:cubicBezTo>
                      <a:cubicBezTo>
                        <a:pt x="3868606" y="2752226"/>
                        <a:pt x="3878411" y="2746506"/>
                        <a:pt x="3895978" y="2642327"/>
                      </a:cubicBezTo>
                      <a:cubicBezTo>
                        <a:pt x="3913545" y="2538149"/>
                        <a:pt x="3953582" y="2342047"/>
                        <a:pt x="3952357" y="2188844"/>
                      </a:cubicBezTo>
                      <a:cubicBezTo>
                        <a:pt x="3951132" y="2035640"/>
                        <a:pt x="3900064" y="1887338"/>
                        <a:pt x="3883722" y="1806446"/>
                      </a:cubicBezTo>
                      <a:cubicBezTo>
                        <a:pt x="3867380" y="1725555"/>
                        <a:pt x="3865338" y="1745165"/>
                        <a:pt x="3854307" y="1703493"/>
                      </a:cubicBezTo>
                      <a:cubicBezTo>
                        <a:pt x="3843276" y="1661822"/>
                        <a:pt x="3828568" y="1593186"/>
                        <a:pt x="3817538" y="1556418"/>
                      </a:cubicBezTo>
                      <a:cubicBezTo>
                        <a:pt x="3806507" y="1519649"/>
                        <a:pt x="3800379" y="1511069"/>
                        <a:pt x="3788122" y="1482880"/>
                      </a:cubicBezTo>
                      <a:cubicBezTo>
                        <a:pt x="3775866" y="1454690"/>
                        <a:pt x="3762385" y="1422824"/>
                        <a:pt x="3744000" y="1387280"/>
                      </a:cubicBezTo>
                      <a:cubicBezTo>
                        <a:pt x="3731743" y="1361542"/>
                        <a:pt x="3706414" y="1311291"/>
                        <a:pt x="3677816" y="1269620"/>
                      </a:cubicBezTo>
                      <a:cubicBezTo>
                        <a:pt x="3649217" y="1227948"/>
                        <a:pt x="3617760" y="1189954"/>
                        <a:pt x="3572411" y="1137251"/>
                      </a:cubicBezTo>
                      <a:cubicBezTo>
                        <a:pt x="3527063" y="1084550"/>
                        <a:pt x="3483757" y="1017139"/>
                        <a:pt x="3405725" y="953406"/>
                      </a:cubicBezTo>
                      <a:cubicBezTo>
                        <a:pt x="3327693" y="889674"/>
                        <a:pt x="3177758" y="800203"/>
                        <a:pt x="3104220" y="754854"/>
                      </a:cubicBezTo>
                      <a:cubicBezTo>
                        <a:pt x="3030682" y="709506"/>
                        <a:pt x="3001267" y="700926"/>
                        <a:pt x="2964498" y="681316"/>
                      </a:cubicBezTo>
                      <a:cubicBezTo>
                        <a:pt x="2927729" y="661706"/>
                        <a:pt x="2925277" y="655577"/>
                        <a:pt x="2883606" y="637193"/>
                      </a:cubicBezTo>
                      <a:cubicBezTo>
                        <a:pt x="2850514" y="623712"/>
                        <a:pt x="2780653" y="591028"/>
                        <a:pt x="2714469" y="571009"/>
                      </a:cubicBezTo>
                      <a:cubicBezTo>
                        <a:pt x="2669121" y="558345"/>
                        <a:pt x="2566167" y="528112"/>
                        <a:pt x="2486501" y="517081"/>
                      </a:cubicBezTo>
                      <a:cubicBezTo>
                        <a:pt x="2406836" y="506051"/>
                        <a:pt x="2319815" y="508911"/>
                        <a:pt x="2236472" y="504825"/>
                      </a:cubicBez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90" name="Freeform: Shape 189">
                  <a:extLst>
                    <a:ext uri="{FF2B5EF4-FFF2-40B4-BE49-F238E27FC236}">
                      <a16:creationId xmlns:a16="http://schemas.microsoft.com/office/drawing/2014/main" id="{6379555D-FA70-7E6C-B362-A7F35983D963}"/>
                    </a:ext>
                  </a:extLst>
                </p:cNvPr>
                <p:cNvSpPr/>
                <p:nvPr/>
              </p:nvSpPr>
              <p:spPr>
                <a:xfrm>
                  <a:off x="1011668" y="4314034"/>
                  <a:ext cx="1503209" cy="1492593"/>
                </a:xfrm>
                <a:custGeom>
                  <a:avLst/>
                  <a:gdLst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944902 w 4469152"/>
                    <a:gd name="connsiteY150" fmla="*/ 476250 h 4496940"/>
                    <a:gd name="connsiteX151" fmla="*/ 1087777 w 4469152"/>
                    <a:gd name="connsiteY151" fmla="*/ 409575 h 4496940"/>
                    <a:gd name="connsiteX152" fmla="*/ 1202077 w 4469152"/>
                    <a:gd name="connsiteY152" fmla="*/ 314325 h 4496940"/>
                    <a:gd name="connsiteX153" fmla="*/ 1268752 w 4469152"/>
                    <a:gd name="connsiteY153" fmla="*/ 285750 h 4496940"/>
                    <a:gd name="connsiteX154" fmla="*/ 1411627 w 4469152"/>
                    <a:gd name="connsiteY154" fmla="*/ 190500 h 4496940"/>
                    <a:gd name="connsiteX155" fmla="*/ 1449727 w 4469152"/>
                    <a:gd name="connsiteY155" fmla="*/ 161925 h 4496940"/>
                    <a:gd name="connsiteX156" fmla="*/ 1525927 w 4469152"/>
                    <a:gd name="connsiteY156" fmla="*/ 152400 h 4496940"/>
                    <a:gd name="connsiteX157" fmla="*/ 1583077 w 4469152"/>
                    <a:gd name="connsiteY157" fmla="*/ 142875 h 4496940"/>
                    <a:gd name="connsiteX158" fmla="*/ 1716427 w 4469152"/>
                    <a:gd name="connsiteY158" fmla="*/ 123825 h 4496940"/>
                    <a:gd name="connsiteX159" fmla="*/ 1811677 w 4469152"/>
                    <a:gd name="connsiteY159" fmla="*/ 114300 h 4496940"/>
                    <a:gd name="connsiteX160" fmla="*/ 1859302 w 4469152"/>
                    <a:gd name="connsiteY160" fmla="*/ 104775 h 4496940"/>
                    <a:gd name="connsiteX161" fmla="*/ 1916452 w 4469152"/>
                    <a:gd name="connsiteY161" fmla="*/ 95250 h 4496940"/>
                    <a:gd name="connsiteX162" fmla="*/ 2030752 w 4469152"/>
                    <a:gd name="connsiteY162" fmla="*/ 66675 h 4496940"/>
                    <a:gd name="connsiteX163" fmla="*/ 2097427 w 4469152"/>
                    <a:gd name="connsiteY163" fmla="*/ 47625 h 4496940"/>
                    <a:gd name="connsiteX164" fmla="*/ 2164102 w 4469152"/>
                    <a:gd name="connsiteY164" fmla="*/ 38100 h 4496940"/>
                    <a:gd name="connsiteX165" fmla="*/ 2392702 w 4469152"/>
                    <a:gd name="connsiteY165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087777 w 4469152"/>
                    <a:gd name="connsiteY150" fmla="*/ 409575 h 4496940"/>
                    <a:gd name="connsiteX151" fmla="*/ 1202077 w 4469152"/>
                    <a:gd name="connsiteY151" fmla="*/ 314325 h 4496940"/>
                    <a:gd name="connsiteX152" fmla="*/ 1268752 w 4469152"/>
                    <a:gd name="connsiteY152" fmla="*/ 285750 h 4496940"/>
                    <a:gd name="connsiteX153" fmla="*/ 1411627 w 4469152"/>
                    <a:gd name="connsiteY153" fmla="*/ 190500 h 4496940"/>
                    <a:gd name="connsiteX154" fmla="*/ 1449727 w 4469152"/>
                    <a:gd name="connsiteY154" fmla="*/ 161925 h 4496940"/>
                    <a:gd name="connsiteX155" fmla="*/ 1525927 w 4469152"/>
                    <a:gd name="connsiteY155" fmla="*/ 152400 h 4496940"/>
                    <a:gd name="connsiteX156" fmla="*/ 1583077 w 4469152"/>
                    <a:gd name="connsiteY156" fmla="*/ 142875 h 4496940"/>
                    <a:gd name="connsiteX157" fmla="*/ 1716427 w 4469152"/>
                    <a:gd name="connsiteY157" fmla="*/ 123825 h 4496940"/>
                    <a:gd name="connsiteX158" fmla="*/ 1811677 w 4469152"/>
                    <a:gd name="connsiteY158" fmla="*/ 114300 h 4496940"/>
                    <a:gd name="connsiteX159" fmla="*/ 1859302 w 4469152"/>
                    <a:gd name="connsiteY159" fmla="*/ 104775 h 4496940"/>
                    <a:gd name="connsiteX160" fmla="*/ 1916452 w 4469152"/>
                    <a:gd name="connsiteY160" fmla="*/ 95250 h 4496940"/>
                    <a:gd name="connsiteX161" fmla="*/ 2030752 w 4469152"/>
                    <a:gd name="connsiteY161" fmla="*/ 66675 h 4496940"/>
                    <a:gd name="connsiteX162" fmla="*/ 2097427 w 4469152"/>
                    <a:gd name="connsiteY162" fmla="*/ 47625 h 4496940"/>
                    <a:gd name="connsiteX163" fmla="*/ 2164102 w 4469152"/>
                    <a:gd name="connsiteY163" fmla="*/ 38100 h 4496940"/>
                    <a:gd name="connsiteX164" fmla="*/ 2392702 w 4469152"/>
                    <a:gd name="connsiteY164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02077 w 4469152"/>
                    <a:gd name="connsiteY150" fmla="*/ 314325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68752 w 4469152"/>
                    <a:gd name="connsiteY150" fmla="*/ 285750 h 4496940"/>
                    <a:gd name="connsiteX151" fmla="*/ 1411627 w 4469152"/>
                    <a:gd name="connsiteY151" fmla="*/ 190500 h 4496940"/>
                    <a:gd name="connsiteX152" fmla="*/ 1449727 w 4469152"/>
                    <a:gd name="connsiteY152" fmla="*/ 161925 h 4496940"/>
                    <a:gd name="connsiteX153" fmla="*/ 1525927 w 4469152"/>
                    <a:gd name="connsiteY153" fmla="*/ 152400 h 4496940"/>
                    <a:gd name="connsiteX154" fmla="*/ 1583077 w 4469152"/>
                    <a:gd name="connsiteY154" fmla="*/ 142875 h 4496940"/>
                    <a:gd name="connsiteX155" fmla="*/ 1716427 w 4469152"/>
                    <a:gd name="connsiteY155" fmla="*/ 123825 h 4496940"/>
                    <a:gd name="connsiteX156" fmla="*/ 1811677 w 4469152"/>
                    <a:gd name="connsiteY156" fmla="*/ 114300 h 4496940"/>
                    <a:gd name="connsiteX157" fmla="*/ 1859302 w 4469152"/>
                    <a:gd name="connsiteY157" fmla="*/ 104775 h 4496940"/>
                    <a:gd name="connsiteX158" fmla="*/ 1916452 w 4469152"/>
                    <a:gd name="connsiteY158" fmla="*/ 95250 h 4496940"/>
                    <a:gd name="connsiteX159" fmla="*/ 2030752 w 4469152"/>
                    <a:gd name="connsiteY159" fmla="*/ 66675 h 4496940"/>
                    <a:gd name="connsiteX160" fmla="*/ 2097427 w 4469152"/>
                    <a:gd name="connsiteY160" fmla="*/ 47625 h 4496940"/>
                    <a:gd name="connsiteX161" fmla="*/ 2164102 w 4469152"/>
                    <a:gd name="connsiteY161" fmla="*/ 38100 h 4496940"/>
                    <a:gd name="connsiteX162" fmla="*/ 2392702 w 4469152"/>
                    <a:gd name="connsiteY162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167152 w 4469152"/>
                    <a:gd name="connsiteY150" fmla="*/ 311150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40577 w 4519952"/>
                    <a:gd name="connsiteY46" fmla="*/ 1762125 h 4496940"/>
                    <a:gd name="connsiteX47" fmla="*/ 4459627 w 4519952"/>
                    <a:gd name="connsiteY47" fmla="*/ 1828800 h 4496940"/>
                    <a:gd name="connsiteX48" fmla="*/ 4519952 w 4519952"/>
                    <a:gd name="connsiteY48" fmla="*/ 2181225 h 4496940"/>
                    <a:gd name="connsiteX49" fmla="*/ 4440577 w 4519952"/>
                    <a:gd name="connsiteY49" fmla="*/ 2876550 h 4496940"/>
                    <a:gd name="connsiteX50" fmla="*/ 4383427 w 4519952"/>
                    <a:gd name="connsiteY50" fmla="*/ 2990850 h 4496940"/>
                    <a:gd name="connsiteX51" fmla="*/ 4354852 w 4519952"/>
                    <a:gd name="connsiteY51" fmla="*/ 3057525 h 4496940"/>
                    <a:gd name="connsiteX52" fmla="*/ 4335802 w 4519952"/>
                    <a:gd name="connsiteY52" fmla="*/ 3095625 h 4496940"/>
                    <a:gd name="connsiteX53" fmla="*/ 4278652 w 4519952"/>
                    <a:gd name="connsiteY53" fmla="*/ 3248025 h 4496940"/>
                    <a:gd name="connsiteX54" fmla="*/ 4259602 w 4519952"/>
                    <a:gd name="connsiteY54" fmla="*/ 3276600 h 4496940"/>
                    <a:gd name="connsiteX55" fmla="*/ 4221502 w 4519952"/>
                    <a:gd name="connsiteY55" fmla="*/ 3333750 h 4496940"/>
                    <a:gd name="connsiteX56" fmla="*/ 4211977 w 4519952"/>
                    <a:gd name="connsiteY56" fmla="*/ 3362325 h 4496940"/>
                    <a:gd name="connsiteX57" fmla="*/ 4183402 w 4519952"/>
                    <a:gd name="connsiteY57" fmla="*/ 3400425 h 4496940"/>
                    <a:gd name="connsiteX58" fmla="*/ 4164352 w 4519952"/>
                    <a:gd name="connsiteY58" fmla="*/ 3429000 h 4496940"/>
                    <a:gd name="connsiteX59" fmla="*/ 4088152 w 4519952"/>
                    <a:gd name="connsiteY59" fmla="*/ 3495675 h 4496940"/>
                    <a:gd name="connsiteX60" fmla="*/ 4059577 w 4519952"/>
                    <a:gd name="connsiteY60" fmla="*/ 3533775 h 4496940"/>
                    <a:gd name="connsiteX61" fmla="*/ 4002427 w 4519952"/>
                    <a:gd name="connsiteY61" fmla="*/ 3600450 h 4496940"/>
                    <a:gd name="connsiteX62" fmla="*/ 3983377 w 4519952"/>
                    <a:gd name="connsiteY62" fmla="*/ 3629025 h 4496940"/>
                    <a:gd name="connsiteX63" fmla="*/ 3954802 w 4519952"/>
                    <a:gd name="connsiteY63" fmla="*/ 3648075 h 4496940"/>
                    <a:gd name="connsiteX64" fmla="*/ 3907177 w 4519952"/>
                    <a:gd name="connsiteY64" fmla="*/ 3686175 h 4496940"/>
                    <a:gd name="connsiteX65" fmla="*/ 3869077 w 4519952"/>
                    <a:gd name="connsiteY65" fmla="*/ 3724275 h 4496940"/>
                    <a:gd name="connsiteX66" fmla="*/ 3792877 w 4519952"/>
                    <a:gd name="connsiteY66" fmla="*/ 3781425 h 4496940"/>
                    <a:gd name="connsiteX67" fmla="*/ 3783352 w 4519952"/>
                    <a:gd name="connsiteY67" fmla="*/ 3810000 h 4496940"/>
                    <a:gd name="connsiteX68" fmla="*/ 3745252 w 4519952"/>
                    <a:gd name="connsiteY68" fmla="*/ 3819525 h 4496940"/>
                    <a:gd name="connsiteX69" fmla="*/ 3678577 w 4519952"/>
                    <a:gd name="connsiteY69" fmla="*/ 3848100 h 4496940"/>
                    <a:gd name="connsiteX70" fmla="*/ 3659527 w 4519952"/>
                    <a:gd name="connsiteY70" fmla="*/ 3971925 h 4496940"/>
                    <a:gd name="connsiteX71" fmla="*/ 3630952 w 4519952"/>
                    <a:gd name="connsiteY71" fmla="*/ 4010025 h 4496940"/>
                    <a:gd name="connsiteX72" fmla="*/ 3621427 w 4519952"/>
                    <a:gd name="connsiteY72" fmla="*/ 4038600 h 4496940"/>
                    <a:gd name="connsiteX73" fmla="*/ 3554752 w 4519952"/>
                    <a:gd name="connsiteY73" fmla="*/ 4095750 h 4496940"/>
                    <a:gd name="connsiteX74" fmla="*/ 3516652 w 4519952"/>
                    <a:gd name="connsiteY74" fmla="*/ 4114800 h 4496940"/>
                    <a:gd name="connsiteX75" fmla="*/ 3497602 w 4519952"/>
                    <a:gd name="connsiteY75" fmla="*/ 4143375 h 4496940"/>
                    <a:gd name="connsiteX76" fmla="*/ 3383302 w 4519952"/>
                    <a:gd name="connsiteY76" fmla="*/ 4210050 h 4496940"/>
                    <a:gd name="connsiteX77" fmla="*/ 3335677 w 4519952"/>
                    <a:gd name="connsiteY77" fmla="*/ 4238625 h 4496940"/>
                    <a:gd name="connsiteX78" fmla="*/ 3288052 w 4519952"/>
                    <a:gd name="connsiteY78" fmla="*/ 4248150 h 4496940"/>
                    <a:gd name="connsiteX79" fmla="*/ 3240427 w 4519952"/>
                    <a:gd name="connsiteY79" fmla="*/ 4267200 h 4496940"/>
                    <a:gd name="connsiteX80" fmla="*/ 3068977 w 4519952"/>
                    <a:gd name="connsiteY80" fmla="*/ 4286250 h 4496940"/>
                    <a:gd name="connsiteX81" fmla="*/ 2935627 w 4519952"/>
                    <a:gd name="connsiteY81" fmla="*/ 4333875 h 4496940"/>
                    <a:gd name="connsiteX82" fmla="*/ 2811802 w 4519952"/>
                    <a:gd name="connsiteY82" fmla="*/ 4371975 h 4496940"/>
                    <a:gd name="connsiteX83" fmla="*/ 2745127 w 4519952"/>
                    <a:gd name="connsiteY83" fmla="*/ 4410075 h 4496940"/>
                    <a:gd name="connsiteX84" fmla="*/ 2697502 w 4519952"/>
                    <a:gd name="connsiteY84" fmla="*/ 4429125 h 4496940"/>
                    <a:gd name="connsiteX85" fmla="*/ 2640352 w 4519952"/>
                    <a:gd name="connsiteY85" fmla="*/ 4457700 h 4496940"/>
                    <a:gd name="connsiteX86" fmla="*/ 2583202 w 4519952"/>
                    <a:gd name="connsiteY86" fmla="*/ 4467225 h 4496940"/>
                    <a:gd name="connsiteX87" fmla="*/ 2545102 w 4519952"/>
                    <a:gd name="connsiteY87" fmla="*/ 4486275 h 4496940"/>
                    <a:gd name="connsiteX88" fmla="*/ 2306977 w 4519952"/>
                    <a:gd name="connsiteY88" fmla="*/ 4476750 h 4496940"/>
                    <a:gd name="connsiteX89" fmla="*/ 2202202 w 4519952"/>
                    <a:gd name="connsiteY89" fmla="*/ 4457700 h 4496940"/>
                    <a:gd name="connsiteX90" fmla="*/ 2126002 w 4519952"/>
                    <a:gd name="connsiteY90" fmla="*/ 4429125 h 4496940"/>
                    <a:gd name="connsiteX91" fmla="*/ 1935502 w 4519952"/>
                    <a:gd name="connsiteY91" fmla="*/ 4400550 h 4496940"/>
                    <a:gd name="connsiteX92" fmla="*/ 1821202 w 4519952"/>
                    <a:gd name="connsiteY92" fmla="*/ 4371975 h 4496940"/>
                    <a:gd name="connsiteX93" fmla="*/ 1754527 w 4519952"/>
                    <a:gd name="connsiteY93" fmla="*/ 4352925 h 4496940"/>
                    <a:gd name="connsiteX94" fmla="*/ 1687852 w 4519952"/>
                    <a:gd name="connsiteY94" fmla="*/ 4343400 h 4496940"/>
                    <a:gd name="connsiteX95" fmla="*/ 1573552 w 4519952"/>
                    <a:gd name="connsiteY95" fmla="*/ 4305300 h 4496940"/>
                    <a:gd name="connsiteX96" fmla="*/ 1402102 w 4519952"/>
                    <a:gd name="connsiteY96" fmla="*/ 4276725 h 4496940"/>
                    <a:gd name="connsiteX97" fmla="*/ 1287802 w 4519952"/>
                    <a:gd name="connsiteY97" fmla="*/ 4229100 h 4496940"/>
                    <a:gd name="connsiteX98" fmla="*/ 1221127 w 4519952"/>
                    <a:gd name="connsiteY98" fmla="*/ 4200525 h 4496940"/>
                    <a:gd name="connsiteX99" fmla="*/ 1144927 w 4519952"/>
                    <a:gd name="connsiteY99" fmla="*/ 4171950 h 4496940"/>
                    <a:gd name="connsiteX100" fmla="*/ 1087777 w 4519952"/>
                    <a:gd name="connsiteY100" fmla="*/ 4143375 h 4496940"/>
                    <a:gd name="connsiteX101" fmla="*/ 1030627 w 4519952"/>
                    <a:gd name="connsiteY101" fmla="*/ 4124325 h 4496940"/>
                    <a:gd name="connsiteX102" fmla="*/ 925852 w 4519952"/>
                    <a:gd name="connsiteY102" fmla="*/ 4067175 h 4496940"/>
                    <a:gd name="connsiteX103" fmla="*/ 830602 w 4519952"/>
                    <a:gd name="connsiteY103" fmla="*/ 3981450 h 4496940"/>
                    <a:gd name="connsiteX104" fmla="*/ 763927 w 4519952"/>
                    <a:gd name="connsiteY104" fmla="*/ 3914775 h 4496940"/>
                    <a:gd name="connsiteX105" fmla="*/ 725827 w 4519952"/>
                    <a:gd name="connsiteY105" fmla="*/ 3876675 h 4496940"/>
                    <a:gd name="connsiteX106" fmla="*/ 697252 w 4519952"/>
                    <a:gd name="connsiteY106" fmla="*/ 3838575 h 4496940"/>
                    <a:gd name="connsiteX107" fmla="*/ 640102 w 4519952"/>
                    <a:gd name="connsiteY107" fmla="*/ 3781425 h 4496940"/>
                    <a:gd name="connsiteX108" fmla="*/ 611527 w 4519952"/>
                    <a:gd name="connsiteY108" fmla="*/ 3733800 h 4496940"/>
                    <a:gd name="connsiteX109" fmla="*/ 554377 w 4519952"/>
                    <a:gd name="connsiteY109" fmla="*/ 3657600 h 4496940"/>
                    <a:gd name="connsiteX110" fmla="*/ 525802 w 4519952"/>
                    <a:gd name="connsiteY110" fmla="*/ 3609975 h 4496940"/>
                    <a:gd name="connsiteX111" fmla="*/ 497227 w 4519952"/>
                    <a:gd name="connsiteY111" fmla="*/ 3552825 h 4496940"/>
                    <a:gd name="connsiteX112" fmla="*/ 440077 w 4519952"/>
                    <a:gd name="connsiteY112" fmla="*/ 3495675 h 4496940"/>
                    <a:gd name="connsiteX113" fmla="*/ 411502 w 4519952"/>
                    <a:gd name="connsiteY113" fmla="*/ 3448050 h 4496940"/>
                    <a:gd name="connsiteX114" fmla="*/ 278152 w 4519952"/>
                    <a:gd name="connsiteY114" fmla="*/ 3257550 h 4496940"/>
                    <a:gd name="connsiteX115" fmla="*/ 249577 w 4519952"/>
                    <a:gd name="connsiteY115" fmla="*/ 3200400 h 4496940"/>
                    <a:gd name="connsiteX116" fmla="*/ 240052 w 4519952"/>
                    <a:gd name="connsiteY116" fmla="*/ 3162300 h 4496940"/>
                    <a:gd name="connsiteX117" fmla="*/ 221002 w 4519952"/>
                    <a:gd name="connsiteY117" fmla="*/ 3105150 h 4496940"/>
                    <a:gd name="connsiteX118" fmla="*/ 173377 w 4519952"/>
                    <a:gd name="connsiteY118" fmla="*/ 3019425 h 4496940"/>
                    <a:gd name="connsiteX119" fmla="*/ 144802 w 4519952"/>
                    <a:gd name="connsiteY119" fmla="*/ 2924175 h 4496940"/>
                    <a:gd name="connsiteX120" fmla="*/ 68602 w 4519952"/>
                    <a:gd name="connsiteY120" fmla="*/ 2724150 h 4496940"/>
                    <a:gd name="connsiteX121" fmla="*/ 49552 w 4519952"/>
                    <a:gd name="connsiteY121" fmla="*/ 2638425 h 4496940"/>
                    <a:gd name="connsiteX122" fmla="*/ 40027 w 4519952"/>
                    <a:gd name="connsiteY122" fmla="*/ 2562225 h 4496940"/>
                    <a:gd name="connsiteX123" fmla="*/ 30502 w 4519952"/>
                    <a:gd name="connsiteY123" fmla="*/ 2514600 h 4496940"/>
                    <a:gd name="connsiteX124" fmla="*/ 11452 w 4519952"/>
                    <a:gd name="connsiteY124" fmla="*/ 2400300 h 4496940"/>
                    <a:gd name="connsiteX125" fmla="*/ 20977 w 4519952"/>
                    <a:gd name="connsiteY125" fmla="*/ 1905000 h 4496940"/>
                    <a:gd name="connsiteX126" fmla="*/ 30502 w 4519952"/>
                    <a:gd name="connsiteY126" fmla="*/ 1838325 h 4496940"/>
                    <a:gd name="connsiteX127" fmla="*/ 49552 w 4519952"/>
                    <a:gd name="connsiteY127" fmla="*/ 1781175 h 4496940"/>
                    <a:gd name="connsiteX128" fmla="*/ 59077 w 4519952"/>
                    <a:gd name="connsiteY128" fmla="*/ 1743075 h 4496940"/>
                    <a:gd name="connsiteX129" fmla="*/ 78127 w 4519952"/>
                    <a:gd name="connsiteY129" fmla="*/ 1685925 h 4496940"/>
                    <a:gd name="connsiteX130" fmla="*/ 87652 w 4519952"/>
                    <a:gd name="connsiteY130" fmla="*/ 1638300 h 4496940"/>
                    <a:gd name="connsiteX131" fmla="*/ 106702 w 4519952"/>
                    <a:gd name="connsiteY131" fmla="*/ 1590675 h 4496940"/>
                    <a:gd name="connsiteX132" fmla="*/ 135277 w 4519952"/>
                    <a:gd name="connsiteY132" fmla="*/ 1504950 h 4496940"/>
                    <a:gd name="connsiteX133" fmla="*/ 154327 w 4519952"/>
                    <a:gd name="connsiteY133" fmla="*/ 1419225 h 4496940"/>
                    <a:gd name="connsiteX134" fmla="*/ 230527 w 4519952"/>
                    <a:gd name="connsiteY134" fmla="*/ 1276350 h 4496940"/>
                    <a:gd name="connsiteX135" fmla="*/ 240052 w 4519952"/>
                    <a:gd name="connsiteY135" fmla="*/ 1247775 h 4496940"/>
                    <a:gd name="connsiteX136" fmla="*/ 268627 w 4519952"/>
                    <a:gd name="connsiteY136" fmla="*/ 1200150 h 4496940"/>
                    <a:gd name="connsiteX137" fmla="*/ 287677 w 4519952"/>
                    <a:gd name="connsiteY137" fmla="*/ 1152525 h 4496940"/>
                    <a:gd name="connsiteX138" fmla="*/ 316252 w 4519952"/>
                    <a:gd name="connsiteY138" fmla="*/ 1114425 h 4496940"/>
                    <a:gd name="connsiteX139" fmla="*/ 363877 w 4519952"/>
                    <a:gd name="connsiteY139" fmla="*/ 1038225 h 4496940"/>
                    <a:gd name="connsiteX140" fmla="*/ 382927 w 4519952"/>
                    <a:gd name="connsiteY140" fmla="*/ 1009650 h 4496940"/>
                    <a:gd name="connsiteX141" fmla="*/ 440077 w 4519952"/>
                    <a:gd name="connsiteY141" fmla="*/ 904875 h 4496940"/>
                    <a:gd name="connsiteX142" fmla="*/ 478177 w 4519952"/>
                    <a:gd name="connsiteY142" fmla="*/ 857250 h 4496940"/>
                    <a:gd name="connsiteX143" fmla="*/ 497227 w 4519952"/>
                    <a:gd name="connsiteY143" fmla="*/ 828675 h 4496940"/>
                    <a:gd name="connsiteX144" fmla="*/ 535327 w 4519952"/>
                    <a:gd name="connsiteY144" fmla="*/ 800100 h 4496940"/>
                    <a:gd name="connsiteX145" fmla="*/ 602002 w 4519952"/>
                    <a:gd name="connsiteY145" fmla="*/ 733425 h 4496940"/>
                    <a:gd name="connsiteX146" fmla="*/ 668677 w 4519952"/>
                    <a:gd name="connsiteY146" fmla="*/ 676275 h 4496940"/>
                    <a:gd name="connsiteX147" fmla="*/ 697252 w 4519952"/>
                    <a:gd name="connsiteY147" fmla="*/ 657225 h 4496940"/>
                    <a:gd name="connsiteX148" fmla="*/ 840127 w 4519952"/>
                    <a:gd name="connsiteY148" fmla="*/ 533400 h 4496940"/>
                    <a:gd name="connsiteX149" fmla="*/ 887752 w 4519952"/>
                    <a:gd name="connsiteY149" fmla="*/ 504825 h 4496940"/>
                    <a:gd name="connsiteX150" fmla="*/ 1167152 w 4519952"/>
                    <a:gd name="connsiteY150" fmla="*/ 311150 h 4496940"/>
                    <a:gd name="connsiteX151" fmla="*/ 1268752 w 4519952"/>
                    <a:gd name="connsiteY151" fmla="*/ 285750 h 4496940"/>
                    <a:gd name="connsiteX152" fmla="*/ 1411627 w 4519952"/>
                    <a:gd name="connsiteY152" fmla="*/ 190500 h 4496940"/>
                    <a:gd name="connsiteX153" fmla="*/ 1449727 w 4519952"/>
                    <a:gd name="connsiteY153" fmla="*/ 161925 h 4496940"/>
                    <a:gd name="connsiteX154" fmla="*/ 1525927 w 4519952"/>
                    <a:gd name="connsiteY154" fmla="*/ 152400 h 4496940"/>
                    <a:gd name="connsiteX155" fmla="*/ 1583077 w 4519952"/>
                    <a:gd name="connsiteY155" fmla="*/ 142875 h 4496940"/>
                    <a:gd name="connsiteX156" fmla="*/ 1716427 w 4519952"/>
                    <a:gd name="connsiteY156" fmla="*/ 123825 h 4496940"/>
                    <a:gd name="connsiteX157" fmla="*/ 1811677 w 4519952"/>
                    <a:gd name="connsiteY157" fmla="*/ 114300 h 4496940"/>
                    <a:gd name="connsiteX158" fmla="*/ 1859302 w 4519952"/>
                    <a:gd name="connsiteY158" fmla="*/ 104775 h 4496940"/>
                    <a:gd name="connsiteX159" fmla="*/ 1916452 w 4519952"/>
                    <a:gd name="connsiteY159" fmla="*/ 95250 h 4496940"/>
                    <a:gd name="connsiteX160" fmla="*/ 2030752 w 4519952"/>
                    <a:gd name="connsiteY160" fmla="*/ 66675 h 4496940"/>
                    <a:gd name="connsiteX161" fmla="*/ 2097427 w 4519952"/>
                    <a:gd name="connsiteY161" fmla="*/ 47625 h 4496940"/>
                    <a:gd name="connsiteX162" fmla="*/ 2164102 w 4519952"/>
                    <a:gd name="connsiteY162" fmla="*/ 38100 h 4496940"/>
                    <a:gd name="connsiteX163" fmla="*/ 2392702 w 45199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59627 w 4519952"/>
                    <a:gd name="connsiteY46" fmla="*/ 1828800 h 4496940"/>
                    <a:gd name="connsiteX47" fmla="*/ 4519952 w 4519952"/>
                    <a:gd name="connsiteY47" fmla="*/ 2181225 h 4496940"/>
                    <a:gd name="connsiteX48" fmla="*/ 4440577 w 4519952"/>
                    <a:gd name="connsiteY48" fmla="*/ 2876550 h 4496940"/>
                    <a:gd name="connsiteX49" fmla="*/ 4383427 w 4519952"/>
                    <a:gd name="connsiteY49" fmla="*/ 2990850 h 4496940"/>
                    <a:gd name="connsiteX50" fmla="*/ 4354852 w 4519952"/>
                    <a:gd name="connsiteY50" fmla="*/ 3057525 h 4496940"/>
                    <a:gd name="connsiteX51" fmla="*/ 4335802 w 4519952"/>
                    <a:gd name="connsiteY51" fmla="*/ 3095625 h 4496940"/>
                    <a:gd name="connsiteX52" fmla="*/ 4278652 w 4519952"/>
                    <a:gd name="connsiteY52" fmla="*/ 3248025 h 4496940"/>
                    <a:gd name="connsiteX53" fmla="*/ 4259602 w 4519952"/>
                    <a:gd name="connsiteY53" fmla="*/ 3276600 h 4496940"/>
                    <a:gd name="connsiteX54" fmla="*/ 4221502 w 4519952"/>
                    <a:gd name="connsiteY54" fmla="*/ 3333750 h 4496940"/>
                    <a:gd name="connsiteX55" fmla="*/ 4211977 w 4519952"/>
                    <a:gd name="connsiteY55" fmla="*/ 3362325 h 4496940"/>
                    <a:gd name="connsiteX56" fmla="*/ 4183402 w 4519952"/>
                    <a:gd name="connsiteY56" fmla="*/ 3400425 h 4496940"/>
                    <a:gd name="connsiteX57" fmla="*/ 4164352 w 4519952"/>
                    <a:gd name="connsiteY57" fmla="*/ 3429000 h 4496940"/>
                    <a:gd name="connsiteX58" fmla="*/ 4088152 w 4519952"/>
                    <a:gd name="connsiteY58" fmla="*/ 3495675 h 4496940"/>
                    <a:gd name="connsiteX59" fmla="*/ 4059577 w 4519952"/>
                    <a:gd name="connsiteY59" fmla="*/ 3533775 h 4496940"/>
                    <a:gd name="connsiteX60" fmla="*/ 4002427 w 4519952"/>
                    <a:gd name="connsiteY60" fmla="*/ 3600450 h 4496940"/>
                    <a:gd name="connsiteX61" fmla="*/ 3983377 w 4519952"/>
                    <a:gd name="connsiteY61" fmla="*/ 3629025 h 4496940"/>
                    <a:gd name="connsiteX62" fmla="*/ 3954802 w 4519952"/>
                    <a:gd name="connsiteY62" fmla="*/ 3648075 h 4496940"/>
                    <a:gd name="connsiteX63" fmla="*/ 3907177 w 4519952"/>
                    <a:gd name="connsiteY63" fmla="*/ 3686175 h 4496940"/>
                    <a:gd name="connsiteX64" fmla="*/ 3869077 w 4519952"/>
                    <a:gd name="connsiteY64" fmla="*/ 3724275 h 4496940"/>
                    <a:gd name="connsiteX65" fmla="*/ 3792877 w 4519952"/>
                    <a:gd name="connsiteY65" fmla="*/ 3781425 h 4496940"/>
                    <a:gd name="connsiteX66" fmla="*/ 3783352 w 4519952"/>
                    <a:gd name="connsiteY66" fmla="*/ 3810000 h 4496940"/>
                    <a:gd name="connsiteX67" fmla="*/ 3745252 w 4519952"/>
                    <a:gd name="connsiteY67" fmla="*/ 3819525 h 4496940"/>
                    <a:gd name="connsiteX68" fmla="*/ 3678577 w 4519952"/>
                    <a:gd name="connsiteY68" fmla="*/ 3848100 h 4496940"/>
                    <a:gd name="connsiteX69" fmla="*/ 3659527 w 4519952"/>
                    <a:gd name="connsiteY69" fmla="*/ 3971925 h 4496940"/>
                    <a:gd name="connsiteX70" fmla="*/ 3630952 w 4519952"/>
                    <a:gd name="connsiteY70" fmla="*/ 4010025 h 4496940"/>
                    <a:gd name="connsiteX71" fmla="*/ 3621427 w 4519952"/>
                    <a:gd name="connsiteY71" fmla="*/ 4038600 h 4496940"/>
                    <a:gd name="connsiteX72" fmla="*/ 3554752 w 4519952"/>
                    <a:gd name="connsiteY72" fmla="*/ 4095750 h 4496940"/>
                    <a:gd name="connsiteX73" fmla="*/ 3516652 w 4519952"/>
                    <a:gd name="connsiteY73" fmla="*/ 4114800 h 4496940"/>
                    <a:gd name="connsiteX74" fmla="*/ 3497602 w 4519952"/>
                    <a:gd name="connsiteY74" fmla="*/ 4143375 h 4496940"/>
                    <a:gd name="connsiteX75" fmla="*/ 3383302 w 4519952"/>
                    <a:gd name="connsiteY75" fmla="*/ 4210050 h 4496940"/>
                    <a:gd name="connsiteX76" fmla="*/ 3335677 w 4519952"/>
                    <a:gd name="connsiteY76" fmla="*/ 4238625 h 4496940"/>
                    <a:gd name="connsiteX77" fmla="*/ 3288052 w 4519952"/>
                    <a:gd name="connsiteY77" fmla="*/ 4248150 h 4496940"/>
                    <a:gd name="connsiteX78" fmla="*/ 3240427 w 4519952"/>
                    <a:gd name="connsiteY78" fmla="*/ 4267200 h 4496940"/>
                    <a:gd name="connsiteX79" fmla="*/ 3068977 w 4519952"/>
                    <a:gd name="connsiteY79" fmla="*/ 4286250 h 4496940"/>
                    <a:gd name="connsiteX80" fmla="*/ 2935627 w 4519952"/>
                    <a:gd name="connsiteY80" fmla="*/ 4333875 h 4496940"/>
                    <a:gd name="connsiteX81" fmla="*/ 2811802 w 4519952"/>
                    <a:gd name="connsiteY81" fmla="*/ 4371975 h 4496940"/>
                    <a:gd name="connsiteX82" fmla="*/ 2745127 w 4519952"/>
                    <a:gd name="connsiteY82" fmla="*/ 4410075 h 4496940"/>
                    <a:gd name="connsiteX83" fmla="*/ 2697502 w 4519952"/>
                    <a:gd name="connsiteY83" fmla="*/ 4429125 h 4496940"/>
                    <a:gd name="connsiteX84" fmla="*/ 2640352 w 4519952"/>
                    <a:gd name="connsiteY84" fmla="*/ 4457700 h 4496940"/>
                    <a:gd name="connsiteX85" fmla="*/ 2583202 w 4519952"/>
                    <a:gd name="connsiteY85" fmla="*/ 4467225 h 4496940"/>
                    <a:gd name="connsiteX86" fmla="*/ 2545102 w 4519952"/>
                    <a:gd name="connsiteY86" fmla="*/ 4486275 h 4496940"/>
                    <a:gd name="connsiteX87" fmla="*/ 2306977 w 4519952"/>
                    <a:gd name="connsiteY87" fmla="*/ 4476750 h 4496940"/>
                    <a:gd name="connsiteX88" fmla="*/ 2202202 w 4519952"/>
                    <a:gd name="connsiteY88" fmla="*/ 4457700 h 4496940"/>
                    <a:gd name="connsiteX89" fmla="*/ 2126002 w 4519952"/>
                    <a:gd name="connsiteY89" fmla="*/ 4429125 h 4496940"/>
                    <a:gd name="connsiteX90" fmla="*/ 1935502 w 4519952"/>
                    <a:gd name="connsiteY90" fmla="*/ 4400550 h 4496940"/>
                    <a:gd name="connsiteX91" fmla="*/ 1821202 w 4519952"/>
                    <a:gd name="connsiteY91" fmla="*/ 4371975 h 4496940"/>
                    <a:gd name="connsiteX92" fmla="*/ 1754527 w 4519952"/>
                    <a:gd name="connsiteY92" fmla="*/ 4352925 h 4496940"/>
                    <a:gd name="connsiteX93" fmla="*/ 1687852 w 4519952"/>
                    <a:gd name="connsiteY93" fmla="*/ 4343400 h 4496940"/>
                    <a:gd name="connsiteX94" fmla="*/ 1573552 w 4519952"/>
                    <a:gd name="connsiteY94" fmla="*/ 4305300 h 4496940"/>
                    <a:gd name="connsiteX95" fmla="*/ 1402102 w 4519952"/>
                    <a:gd name="connsiteY95" fmla="*/ 4276725 h 4496940"/>
                    <a:gd name="connsiteX96" fmla="*/ 1287802 w 4519952"/>
                    <a:gd name="connsiteY96" fmla="*/ 4229100 h 4496940"/>
                    <a:gd name="connsiteX97" fmla="*/ 1221127 w 4519952"/>
                    <a:gd name="connsiteY97" fmla="*/ 4200525 h 4496940"/>
                    <a:gd name="connsiteX98" fmla="*/ 1144927 w 4519952"/>
                    <a:gd name="connsiteY98" fmla="*/ 4171950 h 4496940"/>
                    <a:gd name="connsiteX99" fmla="*/ 1087777 w 4519952"/>
                    <a:gd name="connsiteY99" fmla="*/ 4143375 h 4496940"/>
                    <a:gd name="connsiteX100" fmla="*/ 1030627 w 4519952"/>
                    <a:gd name="connsiteY100" fmla="*/ 4124325 h 4496940"/>
                    <a:gd name="connsiteX101" fmla="*/ 925852 w 4519952"/>
                    <a:gd name="connsiteY101" fmla="*/ 4067175 h 4496940"/>
                    <a:gd name="connsiteX102" fmla="*/ 830602 w 4519952"/>
                    <a:gd name="connsiteY102" fmla="*/ 3981450 h 4496940"/>
                    <a:gd name="connsiteX103" fmla="*/ 763927 w 4519952"/>
                    <a:gd name="connsiteY103" fmla="*/ 3914775 h 4496940"/>
                    <a:gd name="connsiteX104" fmla="*/ 725827 w 4519952"/>
                    <a:gd name="connsiteY104" fmla="*/ 3876675 h 4496940"/>
                    <a:gd name="connsiteX105" fmla="*/ 697252 w 4519952"/>
                    <a:gd name="connsiteY105" fmla="*/ 3838575 h 4496940"/>
                    <a:gd name="connsiteX106" fmla="*/ 640102 w 4519952"/>
                    <a:gd name="connsiteY106" fmla="*/ 3781425 h 4496940"/>
                    <a:gd name="connsiteX107" fmla="*/ 611527 w 4519952"/>
                    <a:gd name="connsiteY107" fmla="*/ 3733800 h 4496940"/>
                    <a:gd name="connsiteX108" fmla="*/ 554377 w 4519952"/>
                    <a:gd name="connsiteY108" fmla="*/ 3657600 h 4496940"/>
                    <a:gd name="connsiteX109" fmla="*/ 525802 w 4519952"/>
                    <a:gd name="connsiteY109" fmla="*/ 3609975 h 4496940"/>
                    <a:gd name="connsiteX110" fmla="*/ 497227 w 4519952"/>
                    <a:gd name="connsiteY110" fmla="*/ 3552825 h 4496940"/>
                    <a:gd name="connsiteX111" fmla="*/ 440077 w 4519952"/>
                    <a:gd name="connsiteY111" fmla="*/ 3495675 h 4496940"/>
                    <a:gd name="connsiteX112" fmla="*/ 411502 w 4519952"/>
                    <a:gd name="connsiteY112" fmla="*/ 3448050 h 4496940"/>
                    <a:gd name="connsiteX113" fmla="*/ 278152 w 4519952"/>
                    <a:gd name="connsiteY113" fmla="*/ 3257550 h 4496940"/>
                    <a:gd name="connsiteX114" fmla="*/ 249577 w 4519952"/>
                    <a:gd name="connsiteY114" fmla="*/ 3200400 h 4496940"/>
                    <a:gd name="connsiteX115" fmla="*/ 240052 w 4519952"/>
                    <a:gd name="connsiteY115" fmla="*/ 3162300 h 4496940"/>
                    <a:gd name="connsiteX116" fmla="*/ 221002 w 4519952"/>
                    <a:gd name="connsiteY116" fmla="*/ 3105150 h 4496940"/>
                    <a:gd name="connsiteX117" fmla="*/ 173377 w 4519952"/>
                    <a:gd name="connsiteY117" fmla="*/ 3019425 h 4496940"/>
                    <a:gd name="connsiteX118" fmla="*/ 144802 w 4519952"/>
                    <a:gd name="connsiteY118" fmla="*/ 2924175 h 4496940"/>
                    <a:gd name="connsiteX119" fmla="*/ 68602 w 4519952"/>
                    <a:gd name="connsiteY119" fmla="*/ 2724150 h 4496940"/>
                    <a:gd name="connsiteX120" fmla="*/ 49552 w 4519952"/>
                    <a:gd name="connsiteY120" fmla="*/ 2638425 h 4496940"/>
                    <a:gd name="connsiteX121" fmla="*/ 40027 w 4519952"/>
                    <a:gd name="connsiteY121" fmla="*/ 2562225 h 4496940"/>
                    <a:gd name="connsiteX122" fmla="*/ 30502 w 4519952"/>
                    <a:gd name="connsiteY122" fmla="*/ 2514600 h 4496940"/>
                    <a:gd name="connsiteX123" fmla="*/ 11452 w 4519952"/>
                    <a:gd name="connsiteY123" fmla="*/ 2400300 h 4496940"/>
                    <a:gd name="connsiteX124" fmla="*/ 20977 w 4519952"/>
                    <a:gd name="connsiteY124" fmla="*/ 1905000 h 4496940"/>
                    <a:gd name="connsiteX125" fmla="*/ 30502 w 4519952"/>
                    <a:gd name="connsiteY125" fmla="*/ 1838325 h 4496940"/>
                    <a:gd name="connsiteX126" fmla="*/ 49552 w 4519952"/>
                    <a:gd name="connsiteY126" fmla="*/ 1781175 h 4496940"/>
                    <a:gd name="connsiteX127" fmla="*/ 59077 w 4519952"/>
                    <a:gd name="connsiteY127" fmla="*/ 1743075 h 4496940"/>
                    <a:gd name="connsiteX128" fmla="*/ 78127 w 4519952"/>
                    <a:gd name="connsiteY128" fmla="*/ 1685925 h 4496940"/>
                    <a:gd name="connsiteX129" fmla="*/ 87652 w 4519952"/>
                    <a:gd name="connsiteY129" fmla="*/ 1638300 h 4496940"/>
                    <a:gd name="connsiteX130" fmla="*/ 106702 w 4519952"/>
                    <a:gd name="connsiteY130" fmla="*/ 1590675 h 4496940"/>
                    <a:gd name="connsiteX131" fmla="*/ 135277 w 4519952"/>
                    <a:gd name="connsiteY131" fmla="*/ 1504950 h 4496940"/>
                    <a:gd name="connsiteX132" fmla="*/ 154327 w 4519952"/>
                    <a:gd name="connsiteY132" fmla="*/ 1419225 h 4496940"/>
                    <a:gd name="connsiteX133" fmla="*/ 230527 w 4519952"/>
                    <a:gd name="connsiteY133" fmla="*/ 1276350 h 4496940"/>
                    <a:gd name="connsiteX134" fmla="*/ 240052 w 4519952"/>
                    <a:gd name="connsiteY134" fmla="*/ 1247775 h 4496940"/>
                    <a:gd name="connsiteX135" fmla="*/ 268627 w 4519952"/>
                    <a:gd name="connsiteY135" fmla="*/ 1200150 h 4496940"/>
                    <a:gd name="connsiteX136" fmla="*/ 287677 w 4519952"/>
                    <a:gd name="connsiteY136" fmla="*/ 1152525 h 4496940"/>
                    <a:gd name="connsiteX137" fmla="*/ 316252 w 4519952"/>
                    <a:gd name="connsiteY137" fmla="*/ 1114425 h 4496940"/>
                    <a:gd name="connsiteX138" fmla="*/ 363877 w 4519952"/>
                    <a:gd name="connsiteY138" fmla="*/ 1038225 h 4496940"/>
                    <a:gd name="connsiteX139" fmla="*/ 382927 w 4519952"/>
                    <a:gd name="connsiteY139" fmla="*/ 1009650 h 4496940"/>
                    <a:gd name="connsiteX140" fmla="*/ 440077 w 4519952"/>
                    <a:gd name="connsiteY140" fmla="*/ 904875 h 4496940"/>
                    <a:gd name="connsiteX141" fmla="*/ 478177 w 4519952"/>
                    <a:gd name="connsiteY141" fmla="*/ 857250 h 4496940"/>
                    <a:gd name="connsiteX142" fmla="*/ 497227 w 4519952"/>
                    <a:gd name="connsiteY142" fmla="*/ 828675 h 4496940"/>
                    <a:gd name="connsiteX143" fmla="*/ 535327 w 4519952"/>
                    <a:gd name="connsiteY143" fmla="*/ 800100 h 4496940"/>
                    <a:gd name="connsiteX144" fmla="*/ 602002 w 4519952"/>
                    <a:gd name="connsiteY144" fmla="*/ 733425 h 4496940"/>
                    <a:gd name="connsiteX145" fmla="*/ 668677 w 4519952"/>
                    <a:gd name="connsiteY145" fmla="*/ 676275 h 4496940"/>
                    <a:gd name="connsiteX146" fmla="*/ 697252 w 4519952"/>
                    <a:gd name="connsiteY146" fmla="*/ 657225 h 4496940"/>
                    <a:gd name="connsiteX147" fmla="*/ 840127 w 4519952"/>
                    <a:gd name="connsiteY147" fmla="*/ 533400 h 4496940"/>
                    <a:gd name="connsiteX148" fmla="*/ 887752 w 4519952"/>
                    <a:gd name="connsiteY148" fmla="*/ 504825 h 4496940"/>
                    <a:gd name="connsiteX149" fmla="*/ 1167152 w 4519952"/>
                    <a:gd name="connsiteY149" fmla="*/ 311150 h 4496940"/>
                    <a:gd name="connsiteX150" fmla="*/ 1268752 w 4519952"/>
                    <a:gd name="connsiteY150" fmla="*/ 285750 h 4496940"/>
                    <a:gd name="connsiteX151" fmla="*/ 1411627 w 4519952"/>
                    <a:gd name="connsiteY151" fmla="*/ 190500 h 4496940"/>
                    <a:gd name="connsiteX152" fmla="*/ 1449727 w 4519952"/>
                    <a:gd name="connsiteY152" fmla="*/ 161925 h 4496940"/>
                    <a:gd name="connsiteX153" fmla="*/ 1525927 w 4519952"/>
                    <a:gd name="connsiteY153" fmla="*/ 152400 h 4496940"/>
                    <a:gd name="connsiteX154" fmla="*/ 1583077 w 4519952"/>
                    <a:gd name="connsiteY154" fmla="*/ 142875 h 4496940"/>
                    <a:gd name="connsiteX155" fmla="*/ 1716427 w 4519952"/>
                    <a:gd name="connsiteY155" fmla="*/ 123825 h 4496940"/>
                    <a:gd name="connsiteX156" fmla="*/ 1811677 w 4519952"/>
                    <a:gd name="connsiteY156" fmla="*/ 114300 h 4496940"/>
                    <a:gd name="connsiteX157" fmla="*/ 1859302 w 4519952"/>
                    <a:gd name="connsiteY157" fmla="*/ 104775 h 4496940"/>
                    <a:gd name="connsiteX158" fmla="*/ 1916452 w 4519952"/>
                    <a:gd name="connsiteY158" fmla="*/ 95250 h 4496940"/>
                    <a:gd name="connsiteX159" fmla="*/ 2030752 w 4519952"/>
                    <a:gd name="connsiteY159" fmla="*/ 66675 h 4496940"/>
                    <a:gd name="connsiteX160" fmla="*/ 2097427 w 4519952"/>
                    <a:gd name="connsiteY160" fmla="*/ 47625 h 4496940"/>
                    <a:gd name="connsiteX161" fmla="*/ 2164102 w 4519952"/>
                    <a:gd name="connsiteY161" fmla="*/ 38100 h 4496940"/>
                    <a:gd name="connsiteX162" fmla="*/ 2392702 w 4519952"/>
                    <a:gd name="connsiteY162" fmla="*/ 28575 h 4496940"/>
                    <a:gd name="connsiteX0" fmla="*/ 2297452 w 4519983"/>
                    <a:gd name="connsiteY0" fmla="*/ 0 h 4496940"/>
                    <a:gd name="connsiteX1" fmla="*/ 2421277 w 4519983"/>
                    <a:gd name="connsiteY1" fmla="*/ 28575 h 4496940"/>
                    <a:gd name="connsiteX2" fmla="*/ 2497477 w 4519983"/>
                    <a:gd name="connsiteY2" fmla="*/ 47625 h 4496940"/>
                    <a:gd name="connsiteX3" fmla="*/ 2754652 w 4519983"/>
                    <a:gd name="connsiteY3" fmla="*/ 66675 h 4496940"/>
                    <a:gd name="connsiteX4" fmla="*/ 2830852 w 4519983"/>
                    <a:gd name="connsiteY4" fmla="*/ 76200 h 4496940"/>
                    <a:gd name="connsiteX5" fmla="*/ 2916577 w 4519983"/>
                    <a:gd name="connsiteY5" fmla="*/ 85725 h 4496940"/>
                    <a:gd name="connsiteX6" fmla="*/ 2973727 w 4519983"/>
                    <a:gd name="connsiteY6" fmla="*/ 114300 h 4496940"/>
                    <a:gd name="connsiteX7" fmla="*/ 3011827 w 4519983"/>
                    <a:gd name="connsiteY7" fmla="*/ 123825 h 4496940"/>
                    <a:gd name="connsiteX8" fmla="*/ 3135652 w 4519983"/>
                    <a:gd name="connsiteY8" fmla="*/ 171450 h 4496940"/>
                    <a:gd name="connsiteX9" fmla="*/ 3173752 w 4519983"/>
                    <a:gd name="connsiteY9" fmla="*/ 190500 h 4496940"/>
                    <a:gd name="connsiteX10" fmla="*/ 3240427 w 4519983"/>
                    <a:gd name="connsiteY10" fmla="*/ 228600 h 4496940"/>
                    <a:gd name="connsiteX11" fmla="*/ 3269002 w 4519983"/>
                    <a:gd name="connsiteY11" fmla="*/ 238125 h 4496940"/>
                    <a:gd name="connsiteX12" fmla="*/ 3297577 w 4519983"/>
                    <a:gd name="connsiteY12" fmla="*/ 257175 h 4496940"/>
                    <a:gd name="connsiteX13" fmla="*/ 3326152 w 4519983"/>
                    <a:gd name="connsiteY13" fmla="*/ 266700 h 4496940"/>
                    <a:gd name="connsiteX14" fmla="*/ 3354727 w 4519983"/>
                    <a:gd name="connsiteY14" fmla="*/ 285750 h 4496940"/>
                    <a:gd name="connsiteX15" fmla="*/ 3421402 w 4519983"/>
                    <a:gd name="connsiteY15" fmla="*/ 323850 h 4496940"/>
                    <a:gd name="connsiteX16" fmla="*/ 3469027 w 4519983"/>
                    <a:gd name="connsiteY16" fmla="*/ 361950 h 4496940"/>
                    <a:gd name="connsiteX17" fmla="*/ 3516652 w 4519983"/>
                    <a:gd name="connsiteY17" fmla="*/ 390525 h 4496940"/>
                    <a:gd name="connsiteX18" fmla="*/ 3545227 w 4519983"/>
                    <a:gd name="connsiteY18" fmla="*/ 419100 h 4496940"/>
                    <a:gd name="connsiteX19" fmla="*/ 3602377 w 4519983"/>
                    <a:gd name="connsiteY19" fmla="*/ 457200 h 4496940"/>
                    <a:gd name="connsiteX20" fmla="*/ 3630952 w 4519983"/>
                    <a:gd name="connsiteY20" fmla="*/ 485775 h 4496940"/>
                    <a:gd name="connsiteX21" fmla="*/ 3678577 w 4519983"/>
                    <a:gd name="connsiteY21" fmla="*/ 504825 h 4496940"/>
                    <a:gd name="connsiteX22" fmla="*/ 3745252 w 4519983"/>
                    <a:gd name="connsiteY22" fmla="*/ 542925 h 4496940"/>
                    <a:gd name="connsiteX23" fmla="*/ 3811927 w 4519983"/>
                    <a:gd name="connsiteY23" fmla="*/ 581025 h 4496940"/>
                    <a:gd name="connsiteX24" fmla="*/ 3840502 w 4519983"/>
                    <a:gd name="connsiteY24" fmla="*/ 600075 h 4496940"/>
                    <a:gd name="connsiteX25" fmla="*/ 3869077 w 4519983"/>
                    <a:gd name="connsiteY25" fmla="*/ 628650 h 4496940"/>
                    <a:gd name="connsiteX26" fmla="*/ 3907177 w 4519983"/>
                    <a:gd name="connsiteY26" fmla="*/ 647700 h 4496940"/>
                    <a:gd name="connsiteX27" fmla="*/ 3935752 w 4519983"/>
                    <a:gd name="connsiteY27" fmla="*/ 676275 h 4496940"/>
                    <a:gd name="connsiteX28" fmla="*/ 3992902 w 4519983"/>
                    <a:gd name="connsiteY28" fmla="*/ 714375 h 4496940"/>
                    <a:gd name="connsiteX29" fmla="*/ 4050052 w 4519983"/>
                    <a:gd name="connsiteY29" fmla="*/ 790575 h 4496940"/>
                    <a:gd name="connsiteX30" fmla="*/ 4078627 w 4519983"/>
                    <a:gd name="connsiteY30" fmla="*/ 838200 h 4496940"/>
                    <a:gd name="connsiteX31" fmla="*/ 4107202 w 4519983"/>
                    <a:gd name="connsiteY31" fmla="*/ 876300 h 4496940"/>
                    <a:gd name="connsiteX32" fmla="*/ 4116727 w 4519983"/>
                    <a:gd name="connsiteY32" fmla="*/ 904875 h 4496940"/>
                    <a:gd name="connsiteX33" fmla="*/ 4135777 w 4519983"/>
                    <a:gd name="connsiteY33" fmla="*/ 933450 h 4496940"/>
                    <a:gd name="connsiteX34" fmla="*/ 4164352 w 4519983"/>
                    <a:gd name="connsiteY34" fmla="*/ 990600 h 4496940"/>
                    <a:gd name="connsiteX35" fmla="*/ 4173877 w 4519983"/>
                    <a:gd name="connsiteY35" fmla="*/ 1019175 h 4496940"/>
                    <a:gd name="connsiteX36" fmla="*/ 4192927 w 4519983"/>
                    <a:gd name="connsiteY36" fmla="*/ 1057275 h 4496940"/>
                    <a:gd name="connsiteX37" fmla="*/ 4202452 w 4519983"/>
                    <a:gd name="connsiteY37" fmla="*/ 1085850 h 4496940"/>
                    <a:gd name="connsiteX38" fmla="*/ 4250077 w 4519983"/>
                    <a:gd name="connsiteY38" fmla="*/ 1143000 h 4496940"/>
                    <a:gd name="connsiteX39" fmla="*/ 4259602 w 4519983"/>
                    <a:gd name="connsiteY39" fmla="*/ 1190625 h 4496940"/>
                    <a:gd name="connsiteX40" fmla="*/ 4307227 w 4519983"/>
                    <a:gd name="connsiteY40" fmla="*/ 1266825 h 4496940"/>
                    <a:gd name="connsiteX41" fmla="*/ 4345327 w 4519983"/>
                    <a:gd name="connsiteY41" fmla="*/ 1362075 h 4496940"/>
                    <a:gd name="connsiteX42" fmla="*/ 4373902 w 4519983"/>
                    <a:gd name="connsiteY42" fmla="*/ 1428750 h 4496940"/>
                    <a:gd name="connsiteX43" fmla="*/ 4392952 w 4519983"/>
                    <a:gd name="connsiteY43" fmla="*/ 1552575 h 4496940"/>
                    <a:gd name="connsiteX44" fmla="*/ 4402477 w 4519983"/>
                    <a:gd name="connsiteY44" fmla="*/ 1590675 h 4496940"/>
                    <a:gd name="connsiteX45" fmla="*/ 4431052 w 4519983"/>
                    <a:gd name="connsiteY45" fmla="*/ 1685925 h 4496940"/>
                    <a:gd name="connsiteX46" fmla="*/ 4519952 w 4519983"/>
                    <a:gd name="connsiteY46" fmla="*/ 2181225 h 4496940"/>
                    <a:gd name="connsiteX47" fmla="*/ 4440577 w 4519983"/>
                    <a:gd name="connsiteY47" fmla="*/ 2876550 h 4496940"/>
                    <a:gd name="connsiteX48" fmla="*/ 4383427 w 4519983"/>
                    <a:gd name="connsiteY48" fmla="*/ 2990850 h 4496940"/>
                    <a:gd name="connsiteX49" fmla="*/ 4354852 w 4519983"/>
                    <a:gd name="connsiteY49" fmla="*/ 3057525 h 4496940"/>
                    <a:gd name="connsiteX50" fmla="*/ 4335802 w 4519983"/>
                    <a:gd name="connsiteY50" fmla="*/ 3095625 h 4496940"/>
                    <a:gd name="connsiteX51" fmla="*/ 4278652 w 4519983"/>
                    <a:gd name="connsiteY51" fmla="*/ 3248025 h 4496940"/>
                    <a:gd name="connsiteX52" fmla="*/ 4259602 w 4519983"/>
                    <a:gd name="connsiteY52" fmla="*/ 3276600 h 4496940"/>
                    <a:gd name="connsiteX53" fmla="*/ 4221502 w 4519983"/>
                    <a:gd name="connsiteY53" fmla="*/ 3333750 h 4496940"/>
                    <a:gd name="connsiteX54" fmla="*/ 4211977 w 4519983"/>
                    <a:gd name="connsiteY54" fmla="*/ 3362325 h 4496940"/>
                    <a:gd name="connsiteX55" fmla="*/ 4183402 w 4519983"/>
                    <a:gd name="connsiteY55" fmla="*/ 3400425 h 4496940"/>
                    <a:gd name="connsiteX56" fmla="*/ 4164352 w 4519983"/>
                    <a:gd name="connsiteY56" fmla="*/ 3429000 h 4496940"/>
                    <a:gd name="connsiteX57" fmla="*/ 4088152 w 4519983"/>
                    <a:gd name="connsiteY57" fmla="*/ 3495675 h 4496940"/>
                    <a:gd name="connsiteX58" fmla="*/ 4059577 w 4519983"/>
                    <a:gd name="connsiteY58" fmla="*/ 3533775 h 4496940"/>
                    <a:gd name="connsiteX59" fmla="*/ 4002427 w 4519983"/>
                    <a:gd name="connsiteY59" fmla="*/ 3600450 h 4496940"/>
                    <a:gd name="connsiteX60" fmla="*/ 3983377 w 4519983"/>
                    <a:gd name="connsiteY60" fmla="*/ 3629025 h 4496940"/>
                    <a:gd name="connsiteX61" fmla="*/ 3954802 w 4519983"/>
                    <a:gd name="connsiteY61" fmla="*/ 3648075 h 4496940"/>
                    <a:gd name="connsiteX62" fmla="*/ 3907177 w 4519983"/>
                    <a:gd name="connsiteY62" fmla="*/ 3686175 h 4496940"/>
                    <a:gd name="connsiteX63" fmla="*/ 3869077 w 4519983"/>
                    <a:gd name="connsiteY63" fmla="*/ 3724275 h 4496940"/>
                    <a:gd name="connsiteX64" fmla="*/ 3792877 w 4519983"/>
                    <a:gd name="connsiteY64" fmla="*/ 3781425 h 4496940"/>
                    <a:gd name="connsiteX65" fmla="*/ 3783352 w 4519983"/>
                    <a:gd name="connsiteY65" fmla="*/ 3810000 h 4496940"/>
                    <a:gd name="connsiteX66" fmla="*/ 3745252 w 4519983"/>
                    <a:gd name="connsiteY66" fmla="*/ 3819525 h 4496940"/>
                    <a:gd name="connsiteX67" fmla="*/ 3678577 w 4519983"/>
                    <a:gd name="connsiteY67" fmla="*/ 3848100 h 4496940"/>
                    <a:gd name="connsiteX68" fmla="*/ 3659527 w 4519983"/>
                    <a:gd name="connsiteY68" fmla="*/ 3971925 h 4496940"/>
                    <a:gd name="connsiteX69" fmla="*/ 3630952 w 4519983"/>
                    <a:gd name="connsiteY69" fmla="*/ 4010025 h 4496940"/>
                    <a:gd name="connsiteX70" fmla="*/ 3621427 w 4519983"/>
                    <a:gd name="connsiteY70" fmla="*/ 4038600 h 4496940"/>
                    <a:gd name="connsiteX71" fmla="*/ 3554752 w 4519983"/>
                    <a:gd name="connsiteY71" fmla="*/ 4095750 h 4496940"/>
                    <a:gd name="connsiteX72" fmla="*/ 3516652 w 4519983"/>
                    <a:gd name="connsiteY72" fmla="*/ 4114800 h 4496940"/>
                    <a:gd name="connsiteX73" fmla="*/ 3497602 w 4519983"/>
                    <a:gd name="connsiteY73" fmla="*/ 4143375 h 4496940"/>
                    <a:gd name="connsiteX74" fmla="*/ 3383302 w 4519983"/>
                    <a:gd name="connsiteY74" fmla="*/ 4210050 h 4496940"/>
                    <a:gd name="connsiteX75" fmla="*/ 3335677 w 4519983"/>
                    <a:gd name="connsiteY75" fmla="*/ 4238625 h 4496940"/>
                    <a:gd name="connsiteX76" fmla="*/ 3288052 w 4519983"/>
                    <a:gd name="connsiteY76" fmla="*/ 4248150 h 4496940"/>
                    <a:gd name="connsiteX77" fmla="*/ 3240427 w 4519983"/>
                    <a:gd name="connsiteY77" fmla="*/ 4267200 h 4496940"/>
                    <a:gd name="connsiteX78" fmla="*/ 3068977 w 4519983"/>
                    <a:gd name="connsiteY78" fmla="*/ 4286250 h 4496940"/>
                    <a:gd name="connsiteX79" fmla="*/ 2935627 w 4519983"/>
                    <a:gd name="connsiteY79" fmla="*/ 4333875 h 4496940"/>
                    <a:gd name="connsiteX80" fmla="*/ 2811802 w 4519983"/>
                    <a:gd name="connsiteY80" fmla="*/ 4371975 h 4496940"/>
                    <a:gd name="connsiteX81" fmla="*/ 2745127 w 4519983"/>
                    <a:gd name="connsiteY81" fmla="*/ 4410075 h 4496940"/>
                    <a:gd name="connsiteX82" fmla="*/ 2697502 w 4519983"/>
                    <a:gd name="connsiteY82" fmla="*/ 4429125 h 4496940"/>
                    <a:gd name="connsiteX83" fmla="*/ 2640352 w 4519983"/>
                    <a:gd name="connsiteY83" fmla="*/ 4457700 h 4496940"/>
                    <a:gd name="connsiteX84" fmla="*/ 2583202 w 4519983"/>
                    <a:gd name="connsiteY84" fmla="*/ 4467225 h 4496940"/>
                    <a:gd name="connsiteX85" fmla="*/ 2545102 w 4519983"/>
                    <a:gd name="connsiteY85" fmla="*/ 4486275 h 4496940"/>
                    <a:gd name="connsiteX86" fmla="*/ 2306977 w 4519983"/>
                    <a:gd name="connsiteY86" fmla="*/ 4476750 h 4496940"/>
                    <a:gd name="connsiteX87" fmla="*/ 2202202 w 4519983"/>
                    <a:gd name="connsiteY87" fmla="*/ 4457700 h 4496940"/>
                    <a:gd name="connsiteX88" fmla="*/ 2126002 w 4519983"/>
                    <a:gd name="connsiteY88" fmla="*/ 4429125 h 4496940"/>
                    <a:gd name="connsiteX89" fmla="*/ 1935502 w 4519983"/>
                    <a:gd name="connsiteY89" fmla="*/ 4400550 h 4496940"/>
                    <a:gd name="connsiteX90" fmla="*/ 1821202 w 4519983"/>
                    <a:gd name="connsiteY90" fmla="*/ 4371975 h 4496940"/>
                    <a:gd name="connsiteX91" fmla="*/ 1754527 w 4519983"/>
                    <a:gd name="connsiteY91" fmla="*/ 4352925 h 4496940"/>
                    <a:gd name="connsiteX92" fmla="*/ 1687852 w 4519983"/>
                    <a:gd name="connsiteY92" fmla="*/ 4343400 h 4496940"/>
                    <a:gd name="connsiteX93" fmla="*/ 1573552 w 4519983"/>
                    <a:gd name="connsiteY93" fmla="*/ 4305300 h 4496940"/>
                    <a:gd name="connsiteX94" fmla="*/ 1402102 w 4519983"/>
                    <a:gd name="connsiteY94" fmla="*/ 4276725 h 4496940"/>
                    <a:gd name="connsiteX95" fmla="*/ 1287802 w 4519983"/>
                    <a:gd name="connsiteY95" fmla="*/ 4229100 h 4496940"/>
                    <a:gd name="connsiteX96" fmla="*/ 1221127 w 4519983"/>
                    <a:gd name="connsiteY96" fmla="*/ 4200525 h 4496940"/>
                    <a:gd name="connsiteX97" fmla="*/ 1144927 w 4519983"/>
                    <a:gd name="connsiteY97" fmla="*/ 4171950 h 4496940"/>
                    <a:gd name="connsiteX98" fmla="*/ 1087777 w 4519983"/>
                    <a:gd name="connsiteY98" fmla="*/ 4143375 h 4496940"/>
                    <a:gd name="connsiteX99" fmla="*/ 1030627 w 4519983"/>
                    <a:gd name="connsiteY99" fmla="*/ 4124325 h 4496940"/>
                    <a:gd name="connsiteX100" fmla="*/ 925852 w 4519983"/>
                    <a:gd name="connsiteY100" fmla="*/ 4067175 h 4496940"/>
                    <a:gd name="connsiteX101" fmla="*/ 830602 w 4519983"/>
                    <a:gd name="connsiteY101" fmla="*/ 3981450 h 4496940"/>
                    <a:gd name="connsiteX102" fmla="*/ 763927 w 4519983"/>
                    <a:gd name="connsiteY102" fmla="*/ 3914775 h 4496940"/>
                    <a:gd name="connsiteX103" fmla="*/ 725827 w 4519983"/>
                    <a:gd name="connsiteY103" fmla="*/ 3876675 h 4496940"/>
                    <a:gd name="connsiteX104" fmla="*/ 697252 w 4519983"/>
                    <a:gd name="connsiteY104" fmla="*/ 3838575 h 4496940"/>
                    <a:gd name="connsiteX105" fmla="*/ 640102 w 4519983"/>
                    <a:gd name="connsiteY105" fmla="*/ 3781425 h 4496940"/>
                    <a:gd name="connsiteX106" fmla="*/ 611527 w 4519983"/>
                    <a:gd name="connsiteY106" fmla="*/ 3733800 h 4496940"/>
                    <a:gd name="connsiteX107" fmla="*/ 554377 w 4519983"/>
                    <a:gd name="connsiteY107" fmla="*/ 3657600 h 4496940"/>
                    <a:gd name="connsiteX108" fmla="*/ 525802 w 4519983"/>
                    <a:gd name="connsiteY108" fmla="*/ 3609975 h 4496940"/>
                    <a:gd name="connsiteX109" fmla="*/ 497227 w 4519983"/>
                    <a:gd name="connsiteY109" fmla="*/ 3552825 h 4496940"/>
                    <a:gd name="connsiteX110" fmla="*/ 440077 w 4519983"/>
                    <a:gd name="connsiteY110" fmla="*/ 3495675 h 4496940"/>
                    <a:gd name="connsiteX111" fmla="*/ 411502 w 4519983"/>
                    <a:gd name="connsiteY111" fmla="*/ 3448050 h 4496940"/>
                    <a:gd name="connsiteX112" fmla="*/ 278152 w 4519983"/>
                    <a:gd name="connsiteY112" fmla="*/ 3257550 h 4496940"/>
                    <a:gd name="connsiteX113" fmla="*/ 249577 w 4519983"/>
                    <a:gd name="connsiteY113" fmla="*/ 3200400 h 4496940"/>
                    <a:gd name="connsiteX114" fmla="*/ 240052 w 4519983"/>
                    <a:gd name="connsiteY114" fmla="*/ 3162300 h 4496940"/>
                    <a:gd name="connsiteX115" fmla="*/ 221002 w 4519983"/>
                    <a:gd name="connsiteY115" fmla="*/ 3105150 h 4496940"/>
                    <a:gd name="connsiteX116" fmla="*/ 173377 w 4519983"/>
                    <a:gd name="connsiteY116" fmla="*/ 3019425 h 4496940"/>
                    <a:gd name="connsiteX117" fmla="*/ 144802 w 4519983"/>
                    <a:gd name="connsiteY117" fmla="*/ 2924175 h 4496940"/>
                    <a:gd name="connsiteX118" fmla="*/ 68602 w 4519983"/>
                    <a:gd name="connsiteY118" fmla="*/ 2724150 h 4496940"/>
                    <a:gd name="connsiteX119" fmla="*/ 49552 w 4519983"/>
                    <a:gd name="connsiteY119" fmla="*/ 2638425 h 4496940"/>
                    <a:gd name="connsiteX120" fmla="*/ 40027 w 4519983"/>
                    <a:gd name="connsiteY120" fmla="*/ 2562225 h 4496940"/>
                    <a:gd name="connsiteX121" fmla="*/ 30502 w 4519983"/>
                    <a:gd name="connsiteY121" fmla="*/ 2514600 h 4496940"/>
                    <a:gd name="connsiteX122" fmla="*/ 11452 w 4519983"/>
                    <a:gd name="connsiteY122" fmla="*/ 2400300 h 4496940"/>
                    <a:gd name="connsiteX123" fmla="*/ 20977 w 4519983"/>
                    <a:gd name="connsiteY123" fmla="*/ 1905000 h 4496940"/>
                    <a:gd name="connsiteX124" fmla="*/ 30502 w 4519983"/>
                    <a:gd name="connsiteY124" fmla="*/ 1838325 h 4496940"/>
                    <a:gd name="connsiteX125" fmla="*/ 49552 w 4519983"/>
                    <a:gd name="connsiteY125" fmla="*/ 1781175 h 4496940"/>
                    <a:gd name="connsiteX126" fmla="*/ 59077 w 4519983"/>
                    <a:gd name="connsiteY126" fmla="*/ 1743075 h 4496940"/>
                    <a:gd name="connsiteX127" fmla="*/ 78127 w 4519983"/>
                    <a:gd name="connsiteY127" fmla="*/ 1685925 h 4496940"/>
                    <a:gd name="connsiteX128" fmla="*/ 87652 w 4519983"/>
                    <a:gd name="connsiteY128" fmla="*/ 1638300 h 4496940"/>
                    <a:gd name="connsiteX129" fmla="*/ 106702 w 4519983"/>
                    <a:gd name="connsiteY129" fmla="*/ 1590675 h 4496940"/>
                    <a:gd name="connsiteX130" fmla="*/ 135277 w 4519983"/>
                    <a:gd name="connsiteY130" fmla="*/ 1504950 h 4496940"/>
                    <a:gd name="connsiteX131" fmla="*/ 154327 w 4519983"/>
                    <a:gd name="connsiteY131" fmla="*/ 1419225 h 4496940"/>
                    <a:gd name="connsiteX132" fmla="*/ 230527 w 4519983"/>
                    <a:gd name="connsiteY132" fmla="*/ 1276350 h 4496940"/>
                    <a:gd name="connsiteX133" fmla="*/ 240052 w 4519983"/>
                    <a:gd name="connsiteY133" fmla="*/ 1247775 h 4496940"/>
                    <a:gd name="connsiteX134" fmla="*/ 268627 w 4519983"/>
                    <a:gd name="connsiteY134" fmla="*/ 1200150 h 4496940"/>
                    <a:gd name="connsiteX135" fmla="*/ 287677 w 4519983"/>
                    <a:gd name="connsiteY135" fmla="*/ 1152525 h 4496940"/>
                    <a:gd name="connsiteX136" fmla="*/ 316252 w 4519983"/>
                    <a:gd name="connsiteY136" fmla="*/ 1114425 h 4496940"/>
                    <a:gd name="connsiteX137" fmla="*/ 363877 w 4519983"/>
                    <a:gd name="connsiteY137" fmla="*/ 1038225 h 4496940"/>
                    <a:gd name="connsiteX138" fmla="*/ 382927 w 4519983"/>
                    <a:gd name="connsiteY138" fmla="*/ 1009650 h 4496940"/>
                    <a:gd name="connsiteX139" fmla="*/ 440077 w 4519983"/>
                    <a:gd name="connsiteY139" fmla="*/ 904875 h 4496940"/>
                    <a:gd name="connsiteX140" fmla="*/ 478177 w 4519983"/>
                    <a:gd name="connsiteY140" fmla="*/ 857250 h 4496940"/>
                    <a:gd name="connsiteX141" fmla="*/ 497227 w 4519983"/>
                    <a:gd name="connsiteY141" fmla="*/ 828675 h 4496940"/>
                    <a:gd name="connsiteX142" fmla="*/ 535327 w 4519983"/>
                    <a:gd name="connsiteY142" fmla="*/ 800100 h 4496940"/>
                    <a:gd name="connsiteX143" fmla="*/ 602002 w 4519983"/>
                    <a:gd name="connsiteY143" fmla="*/ 733425 h 4496940"/>
                    <a:gd name="connsiteX144" fmla="*/ 668677 w 4519983"/>
                    <a:gd name="connsiteY144" fmla="*/ 676275 h 4496940"/>
                    <a:gd name="connsiteX145" fmla="*/ 697252 w 4519983"/>
                    <a:gd name="connsiteY145" fmla="*/ 657225 h 4496940"/>
                    <a:gd name="connsiteX146" fmla="*/ 840127 w 4519983"/>
                    <a:gd name="connsiteY146" fmla="*/ 533400 h 4496940"/>
                    <a:gd name="connsiteX147" fmla="*/ 887752 w 4519983"/>
                    <a:gd name="connsiteY147" fmla="*/ 504825 h 4496940"/>
                    <a:gd name="connsiteX148" fmla="*/ 1167152 w 4519983"/>
                    <a:gd name="connsiteY148" fmla="*/ 311150 h 4496940"/>
                    <a:gd name="connsiteX149" fmla="*/ 1268752 w 4519983"/>
                    <a:gd name="connsiteY149" fmla="*/ 285750 h 4496940"/>
                    <a:gd name="connsiteX150" fmla="*/ 1411627 w 4519983"/>
                    <a:gd name="connsiteY150" fmla="*/ 190500 h 4496940"/>
                    <a:gd name="connsiteX151" fmla="*/ 1449727 w 4519983"/>
                    <a:gd name="connsiteY151" fmla="*/ 161925 h 4496940"/>
                    <a:gd name="connsiteX152" fmla="*/ 1525927 w 4519983"/>
                    <a:gd name="connsiteY152" fmla="*/ 152400 h 4496940"/>
                    <a:gd name="connsiteX153" fmla="*/ 1583077 w 4519983"/>
                    <a:gd name="connsiteY153" fmla="*/ 142875 h 4496940"/>
                    <a:gd name="connsiteX154" fmla="*/ 1716427 w 4519983"/>
                    <a:gd name="connsiteY154" fmla="*/ 123825 h 4496940"/>
                    <a:gd name="connsiteX155" fmla="*/ 1811677 w 4519983"/>
                    <a:gd name="connsiteY155" fmla="*/ 114300 h 4496940"/>
                    <a:gd name="connsiteX156" fmla="*/ 1859302 w 4519983"/>
                    <a:gd name="connsiteY156" fmla="*/ 104775 h 4496940"/>
                    <a:gd name="connsiteX157" fmla="*/ 1916452 w 4519983"/>
                    <a:gd name="connsiteY157" fmla="*/ 95250 h 4496940"/>
                    <a:gd name="connsiteX158" fmla="*/ 2030752 w 4519983"/>
                    <a:gd name="connsiteY158" fmla="*/ 66675 h 4496940"/>
                    <a:gd name="connsiteX159" fmla="*/ 2097427 w 4519983"/>
                    <a:gd name="connsiteY159" fmla="*/ 47625 h 4496940"/>
                    <a:gd name="connsiteX160" fmla="*/ 2164102 w 4519983"/>
                    <a:gd name="connsiteY160" fmla="*/ 38100 h 4496940"/>
                    <a:gd name="connsiteX161" fmla="*/ 2392702 w 4519983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335802 w 4519987"/>
                    <a:gd name="connsiteY50" fmla="*/ 3095625 h 4496940"/>
                    <a:gd name="connsiteX51" fmla="*/ 4278652 w 4519987"/>
                    <a:gd name="connsiteY51" fmla="*/ 3248025 h 4496940"/>
                    <a:gd name="connsiteX52" fmla="*/ 4259602 w 4519987"/>
                    <a:gd name="connsiteY52" fmla="*/ 3276600 h 4496940"/>
                    <a:gd name="connsiteX53" fmla="*/ 4221502 w 4519987"/>
                    <a:gd name="connsiteY53" fmla="*/ 3333750 h 4496940"/>
                    <a:gd name="connsiteX54" fmla="*/ 4211977 w 4519987"/>
                    <a:gd name="connsiteY54" fmla="*/ 3362325 h 4496940"/>
                    <a:gd name="connsiteX55" fmla="*/ 4183402 w 4519987"/>
                    <a:gd name="connsiteY55" fmla="*/ 3400425 h 4496940"/>
                    <a:gd name="connsiteX56" fmla="*/ 4164352 w 4519987"/>
                    <a:gd name="connsiteY56" fmla="*/ 3429000 h 4496940"/>
                    <a:gd name="connsiteX57" fmla="*/ 4088152 w 4519987"/>
                    <a:gd name="connsiteY57" fmla="*/ 3495675 h 4496940"/>
                    <a:gd name="connsiteX58" fmla="*/ 4059577 w 4519987"/>
                    <a:gd name="connsiteY58" fmla="*/ 3533775 h 4496940"/>
                    <a:gd name="connsiteX59" fmla="*/ 4002427 w 4519987"/>
                    <a:gd name="connsiteY59" fmla="*/ 3600450 h 4496940"/>
                    <a:gd name="connsiteX60" fmla="*/ 3983377 w 4519987"/>
                    <a:gd name="connsiteY60" fmla="*/ 3629025 h 4496940"/>
                    <a:gd name="connsiteX61" fmla="*/ 3954802 w 4519987"/>
                    <a:gd name="connsiteY61" fmla="*/ 3648075 h 4496940"/>
                    <a:gd name="connsiteX62" fmla="*/ 3907177 w 4519987"/>
                    <a:gd name="connsiteY62" fmla="*/ 3686175 h 4496940"/>
                    <a:gd name="connsiteX63" fmla="*/ 3869077 w 4519987"/>
                    <a:gd name="connsiteY63" fmla="*/ 3724275 h 4496940"/>
                    <a:gd name="connsiteX64" fmla="*/ 3792877 w 4519987"/>
                    <a:gd name="connsiteY64" fmla="*/ 3781425 h 4496940"/>
                    <a:gd name="connsiteX65" fmla="*/ 3783352 w 4519987"/>
                    <a:gd name="connsiteY65" fmla="*/ 3810000 h 4496940"/>
                    <a:gd name="connsiteX66" fmla="*/ 3745252 w 4519987"/>
                    <a:gd name="connsiteY66" fmla="*/ 3819525 h 4496940"/>
                    <a:gd name="connsiteX67" fmla="*/ 3678577 w 4519987"/>
                    <a:gd name="connsiteY67" fmla="*/ 3848100 h 4496940"/>
                    <a:gd name="connsiteX68" fmla="*/ 3659527 w 4519987"/>
                    <a:gd name="connsiteY68" fmla="*/ 3971925 h 4496940"/>
                    <a:gd name="connsiteX69" fmla="*/ 3630952 w 4519987"/>
                    <a:gd name="connsiteY69" fmla="*/ 4010025 h 4496940"/>
                    <a:gd name="connsiteX70" fmla="*/ 3621427 w 4519987"/>
                    <a:gd name="connsiteY70" fmla="*/ 4038600 h 4496940"/>
                    <a:gd name="connsiteX71" fmla="*/ 3554752 w 4519987"/>
                    <a:gd name="connsiteY71" fmla="*/ 4095750 h 4496940"/>
                    <a:gd name="connsiteX72" fmla="*/ 3516652 w 4519987"/>
                    <a:gd name="connsiteY72" fmla="*/ 4114800 h 4496940"/>
                    <a:gd name="connsiteX73" fmla="*/ 3497602 w 4519987"/>
                    <a:gd name="connsiteY73" fmla="*/ 4143375 h 4496940"/>
                    <a:gd name="connsiteX74" fmla="*/ 3383302 w 4519987"/>
                    <a:gd name="connsiteY74" fmla="*/ 4210050 h 4496940"/>
                    <a:gd name="connsiteX75" fmla="*/ 3335677 w 4519987"/>
                    <a:gd name="connsiteY75" fmla="*/ 4238625 h 4496940"/>
                    <a:gd name="connsiteX76" fmla="*/ 3288052 w 4519987"/>
                    <a:gd name="connsiteY76" fmla="*/ 4248150 h 4496940"/>
                    <a:gd name="connsiteX77" fmla="*/ 3240427 w 4519987"/>
                    <a:gd name="connsiteY77" fmla="*/ 4267200 h 4496940"/>
                    <a:gd name="connsiteX78" fmla="*/ 3068977 w 4519987"/>
                    <a:gd name="connsiteY78" fmla="*/ 4286250 h 4496940"/>
                    <a:gd name="connsiteX79" fmla="*/ 2935627 w 4519987"/>
                    <a:gd name="connsiteY79" fmla="*/ 4333875 h 4496940"/>
                    <a:gd name="connsiteX80" fmla="*/ 2811802 w 4519987"/>
                    <a:gd name="connsiteY80" fmla="*/ 4371975 h 4496940"/>
                    <a:gd name="connsiteX81" fmla="*/ 2745127 w 4519987"/>
                    <a:gd name="connsiteY81" fmla="*/ 4410075 h 4496940"/>
                    <a:gd name="connsiteX82" fmla="*/ 2697502 w 4519987"/>
                    <a:gd name="connsiteY82" fmla="*/ 4429125 h 4496940"/>
                    <a:gd name="connsiteX83" fmla="*/ 2640352 w 4519987"/>
                    <a:gd name="connsiteY83" fmla="*/ 4457700 h 4496940"/>
                    <a:gd name="connsiteX84" fmla="*/ 2583202 w 4519987"/>
                    <a:gd name="connsiteY84" fmla="*/ 4467225 h 4496940"/>
                    <a:gd name="connsiteX85" fmla="*/ 2545102 w 4519987"/>
                    <a:gd name="connsiteY85" fmla="*/ 4486275 h 4496940"/>
                    <a:gd name="connsiteX86" fmla="*/ 2306977 w 4519987"/>
                    <a:gd name="connsiteY86" fmla="*/ 4476750 h 4496940"/>
                    <a:gd name="connsiteX87" fmla="*/ 2202202 w 4519987"/>
                    <a:gd name="connsiteY87" fmla="*/ 4457700 h 4496940"/>
                    <a:gd name="connsiteX88" fmla="*/ 2126002 w 4519987"/>
                    <a:gd name="connsiteY88" fmla="*/ 4429125 h 4496940"/>
                    <a:gd name="connsiteX89" fmla="*/ 1935502 w 4519987"/>
                    <a:gd name="connsiteY89" fmla="*/ 4400550 h 4496940"/>
                    <a:gd name="connsiteX90" fmla="*/ 1821202 w 4519987"/>
                    <a:gd name="connsiteY90" fmla="*/ 4371975 h 4496940"/>
                    <a:gd name="connsiteX91" fmla="*/ 1754527 w 4519987"/>
                    <a:gd name="connsiteY91" fmla="*/ 4352925 h 4496940"/>
                    <a:gd name="connsiteX92" fmla="*/ 1687852 w 4519987"/>
                    <a:gd name="connsiteY92" fmla="*/ 4343400 h 4496940"/>
                    <a:gd name="connsiteX93" fmla="*/ 1573552 w 4519987"/>
                    <a:gd name="connsiteY93" fmla="*/ 4305300 h 4496940"/>
                    <a:gd name="connsiteX94" fmla="*/ 1402102 w 4519987"/>
                    <a:gd name="connsiteY94" fmla="*/ 4276725 h 4496940"/>
                    <a:gd name="connsiteX95" fmla="*/ 1287802 w 4519987"/>
                    <a:gd name="connsiteY95" fmla="*/ 4229100 h 4496940"/>
                    <a:gd name="connsiteX96" fmla="*/ 1221127 w 4519987"/>
                    <a:gd name="connsiteY96" fmla="*/ 4200525 h 4496940"/>
                    <a:gd name="connsiteX97" fmla="*/ 1144927 w 4519987"/>
                    <a:gd name="connsiteY97" fmla="*/ 4171950 h 4496940"/>
                    <a:gd name="connsiteX98" fmla="*/ 1087777 w 4519987"/>
                    <a:gd name="connsiteY98" fmla="*/ 4143375 h 4496940"/>
                    <a:gd name="connsiteX99" fmla="*/ 1030627 w 4519987"/>
                    <a:gd name="connsiteY99" fmla="*/ 4124325 h 4496940"/>
                    <a:gd name="connsiteX100" fmla="*/ 925852 w 4519987"/>
                    <a:gd name="connsiteY100" fmla="*/ 4067175 h 4496940"/>
                    <a:gd name="connsiteX101" fmla="*/ 830602 w 4519987"/>
                    <a:gd name="connsiteY101" fmla="*/ 3981450 h 4496940"/>
                    <a:gd name="connsiteX102" fmla="*/ 763927 w 4519987"/>
                    <a:gd name="connsiteY102" fmla="*/ 3914775 h 4496940"/>
                    <a:gd name="connsiteX103" fmla="*/ 725827 w 4519987"/>
                    <a:gd name="connsiteY103" fmla="*/ 3876675 h 4496940"/>
                    <a:gd name="connsiteX104" fmla="*/ 697252 w 4519987"/>
                    <a:gd name="connsiteY104" fmla="*/ 3838575 h 4496940"/>
                    <a:gd name="connsiteX105" fmla="*/ 640102 w 4519987"/>
                    <a:gd name="connsiteY105" fmla="*/ 3781425 h 4496940"/>
                    <a:gd name="connsiteX106" fmla="*/ 611527 w 4519987"/>
                    <a:gd name="connsiteY106" fmla="*/ 3733800 h 4496940"/>
                    <a:gd name="connsiteX107" fmla="*/ 554377 w 4519987"/>
                    <a:gd name="connsiteY107" fmla="*/ 3657600 h 4496940"/>
                    <a:gd name="connsiteX108" fmla="*/ 525802 w 4519987"/>
                    <a:gd name="connsiteY108" fmla="*/ 3609975 h 4496940"/>
                    <a:gd name="connsiteX109" fmla="*/ 497227 w 4519987"/>
                    <a:gd name="connsiteY109" fmla="*/ 3552825 h 4496940"/>
                    <a:gd name="connsiteX110" fmla="*/ 440077 w 4519987"/>
                    <a:gd name="connsiteY110" fmla="*/ 3495675 h 4496940"/>
                    <a:gd name="connsiteX111" fmla="*/ 411502 w 4519987"/>
                    <a:gd name="connsiteY111" fmla="*/ 3448050 h 4496940"/>
                    <a:gd name="connsiteX112" fmla="*/ 278152 w 4519987"/>
                    <a:gd name="connsiteY112" fmla="*/ 3257550 h 4496940"/>
                    <a:gd name="connsiteX113" fmla="*/ 249577 w 4519987"/>
                    <a:gd name="connsiteY113" fmla="*/ 3200400 h 4496940"/>
                    <a:gd name="connsiteX114" fmla="*/ 240052 w 4519987"/>
                    <a:gd name="connsiteY114" fmla="*/ 3162300 h 4496940"/>
                    <a:gd name="connsiteX115" fmla="*/ 221002 w 4519987"/>
                    <a:gd name="connsiteY115" fmla="*/ 3105150 h 4496940"/>
                    <a:gd name="connsiteX116" fmla="*/ 173377 w 4519987"/>
                    <a:gd name="connsiteY116" fmla="*/ 3019425 h 4496940"/>
                    <a:gd name="connsiteX117" fmla="*/ 144802 w 4519987"/>
                    <a:gd name="connsiteY117" fmla="*/ 2924175 h 4496940"/>
                    <a:gd name="connsiteX118" fmla="*/ 68602 w 4519987"/>
                    <a:gd name="connsiteY118" fmla="*/ 2724150 h 4496940"/>
                    <a:gd name="connsiteX119" fmla="*/ 49552 w 4519987"/>
                    <a:gd name="connsiteY119" fmla="*/ 2638425 h 4496940"/>
                    <a:gd name="connsiteX120" fmla="*/ 40027 w 4519987"/>
                    <a:gd name="connsiteY120" fmla="*/ 2562225 h 4496940"/>
                    <a:gd name="connsiteX121" fmla="*/ 30502 w 4519987"/>
                    <a:gd name="connsiteY121" fmla="*/ 2514600 h 4496940"/>
                    <a:gd name="connsiteX122" fmla="*/ 11452 w 4519987"/>
                    <a:gd name="connsiteY122" fmla="*/ 2400300 h 4496940"/>
                    <a:gd name="connsiteX123" fmla="*/ 20977 w 4519987"/>
                    <a:gd name="connsiteY123" fmla="*/ 1905000 h 4496940"/>
                    <a:gd name="connsiteX124" fmla="*/ 30502 w 4519987"/>
                    <a:gd name="connsiteY124" fmla="*/ 1838325 h 4496940"/>
                    <a:gd name="connsiteX125" fmla="*/ 49552 w 4519987"/>
                    <a:gd name="connsiteY125" fmla="*/ 1781175 h 4496940"/>
                    <a:gd name="connsiteX126" fmla="*/ 59077 w 4519987"/>
                    <a:gd name="connsiteY126" fmla="*/ 1743075 h 4496940"/>
                    <a:gd name="connsiteX127" fmla="*/ 78127 w 4519987"/>
                    <a:gd name="connsiteY127" fmla="*/ 1685925 h 4496940"/>
                    <a:gd name="connsiteX128" fmla="*/ 87652 w 4519987"/>
                    <a:gd name="connsiteY128" fmla="*/ 1638300 h 4496940"/>
                    <a:gd name="connsiteX129" fmla="*/ 106702 w 4519987"/>
                    <a:gd name="connsiteY129" fmla="*/ 1590675 h 4496940"/>
                    <a:gd name="connsiteX130" fmla="*/ 135277 w 4519987"/>
                    <a:gd name="connsiteY130" fmla="*/ 1504950 h 4496940"/>
                    <a:gd name="connsiteX131" fmla="*/ 154327 w 4519987"/>
                    <a:gd name="connsiteY131" fmla="*/ 1419225 h 4496940"/>
                    <a:gd name="connsiteX132" fmla="*/ 230527 w 4519987"/>
                    <a:gd name="connsiteY132" fmla="*/ 1276350 h 4496940"/>
                    <a:gd name="connsiteX133" fmla="*/ 240052 w 4519987"/>
                    <a:gd name="connsiteY133" fmla="*/ 1247775 h 4496940"/>
                    <a:gd name="connsiteX134" fmla="*/ 268627 w 4519987"/>
                    <a:gd name="connsiteY134" fmla="*/ 1200150 h 4496940"/>
                    <a:gd name="connsiteX135" fmla="*/ 287677 w 4519987"/>
                    <a:gd name="connsiteY135" fmla="*/ 1152525 h 4496940"/>
                    <a:gd name="connsiteX136" fmla="*/ 316252 w 4519987"/>
                    <a:gd name="connsiteY136" fmla="*/ 1114425 h 4496940"/>
                    <a:gd name="connsiteX137" fmla="*/ 363877 w 4519987"/>
                    <a:gd name="connsiteY137" fmla="*/ 1038225 h 4496940"/>
                    <a:gd name="connsiteX138" fmla="*/ 382927 w 4519987"/>
                    <a:gd name="connsiteY138" fmla="*/ 1009650 h 4496940"/>
                    <a:gd name="connsiteX139" fmla="*/ 440077 w 4519987"/>
                    <a:gd name="connsiteY139" fmla="*/ 904875 h 4496940"/>
                    <a:gd name="connsiteX140" fmla="*/ 478177 w 4519987"/>
                    <a:gd name="connsiteY140" fmla="*/ 857250 h 4496940"/>
                    <a:gd name="connsiteX141" fmla="*/ 497227 w 4519987"/>
                    <a:gd name="connsiteY141" fmla="*/ 828675 h 4496940"/>
                    <a:gd name="connsiteX142" fmla="*/ 535327 w 4519987"/>
                    <a:gd name="connsiteY142" fmla="*/ 800100 h 4496940"/>
                    <a:gd name="connsiteX143" fmla="*/ 602002 w 4519987"/>
                    <a:gd name="connsiteY143" fmla="*/ 733425 h 4496940"/>
                    <a:gd name="connsiteX144" fmla="*/ 668677 w 4519987"/>
                    <a:gd name="connsiteY144" fmla="*/ 676275 h 4496940"/>
                    <a:gd name="connsiteX145" fmla="*/ 697252 w 4519987"/>
                    <a:gd name="connsiteY145" fmla="*/ 657225 h 4496940"/>
                    <a:gd name="connsiteX146" fmla="*/ 840127 w 4519987"/>
                    <a:gd name="connsiteY146" fmla="*/ 533400 h 4496940"/>
                    <a:gd name="connsiteX147" fmla="*/ 887752 w 4519987"/>
                    <a:gd name="connsiteY147" fmla="*/ 504825 h 4496940"/>
                    <a:gd name="connsiteX148" fmla="*/ 1167152 w 4519987"/>
                    <a:gd name="connsiteY148" fmla="*/ 311150 h 4496940"/>
                    <a:gd name="connsiteX149" fmla="*/ 1268752 w 4519987"/>
                    <a:gd name="connsiteY149" fmla="*/ 285750 h 4496940"/>
                    <a:gd name="connsiteX150" fmla="*/ 1411627 w 4519987"/>
                    <a:gd name="connsiteY150" fmla="*/ 190500 h 4496940"/>
                    <a:gd name="connsiteX151" fmla="*/ 1449727 w 4519987"/>
                    <a:gd name="connsiteY151" fmla="*/ 161925 h 4496940"/>
                    <a:gd name="connsiteX152" fmla="*/ 1525927 w 4519987"/>
                    <a:gd name="connsiteY152" fmla="*/ 152400 h 4496940"/>
                    <a:gd name="connsiteX153" fmla="*/ 1583077 w 4519987"/>
                    <a:gd name="connsiteY153" fmla="*/ 142875 h 4496940"/>
                    <a:gd name="connsiteX154" fmla="*/ 1716427 w 4519987"/>
                    <a:gd name="connsiteY154" fmla="*/ 123825 h 4496940"/>
                    <a:gd name="connsiteX155" fmla="*/ 1811677 w 4519987"/>
                    <a:gd name="connsiteY155" fmla="*/ 114300 h 4496940"/>
                    <a:gd name="connsiteX156" fmla="*/ 1859302 w 4519987"/>
                    <a:gd name="connsiteY156" fmla="*/ 104775 h 4496940"/>
                    <a:gd name="connsiteX157" fmla="*/ 1916452 w 4519987"/>
                    <a:gd name="connsiteY157" fmla="*/ 95250 h 4496940"/>
                    <a:gd name="connsiteX158" fmla="*/ 2030752 w 4519987"/>
                    <a:gd name="connsiteY158" fmla="*/ 66675 h 4496940"/>
                    <a:gd name="connsiteX159" fmla="*/ 2097427 w 4519987"/>
                    <a:gd name="connsiteY159" fmla="*/ 47625 h 4496940"/>
                    <a:gd name="connsiteX160" fmla="*/ 2164102 w 4519987"/>
                    <a:gd name="connsiteY160" fmla="*/ 38100 h 4496940"/>
                    <a:gd name="connsiteX161" fmla="*/ 2392702 w 4519987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278652 w 4519987"/>
                    <a:gd name="connsiteY50" fmla="*/ 3248025 h 4496940"/>
                    <a:gd name="connsiteX51" fmla="*/ 4259602 w 4519987"/>
                    <a:gd name="connsiteY51" fmla="*/ 3276600 h 4496940"/>
                    <a:gd name="connsiteX52" fmla="*/ 4221502 w 4519987"/>
                    <a:gd name="connsiteY52" fmla="*/ 3333750 h 4496940"/>
                    <a:gd name="connsiteX53" fmla="*/ 4211977 w 4519987"/>
                    <a:gd name="connsiteY53" fmla="*/ 3362325 h 4496940"/>
                    <a:gd name="connsiteX54" fmla="*/ 4183402 w 4519987"/>
                    <a:gd name="connsiteY54" fmla="*/ 3400425 h 4496940"/>
                    <a:gd name="connsiteX55" fmla="*/ 4164352 w 4519987"/>
                    <a:gd name="connsiteY55" fmla="*/ 3429000 h 4496940"/>
                    <a:gd name="connsiteX56" fmla="*/ 4088152 w 4519987"/>
                    <a:gd name="connsiteY56" fmla="*/ 3495675 h 4496940"/>
                    <a:gd name="connsiteX57" fmla="*/ 4059577 w 4519987"/>
                    <a:gd name="connsiteY57" fmla="*/ 3533775 h 4496940"/>
                    <a:gd name="connsiteX58" fmla="*/ 4002427 w 4519987"/>
                    <a:gd name="connsiteY58" fmla="*/ 3600450 h 4496940"/>
                    <a:gd name="connsiteX59" fmla="*/ 3983377 w 4519987"/>
                    <a:gd name="connsiteY59" fmla="*/ 3629025 h 4496940"/>
                    <a:gd name="connsiteX60" fmla="*/ 3954802 w 4519987"/>
                    <a:gd name="connsiteY60" fmla="*/ 3648075 h 4496940"/>
                    <a:gd name="connsiteX61" fmla="*/ 3907177 w 4519987"/>
                    <a:gd name="connsiteY61" fmla="*/ 3686175 h 4496940"/>
                    <a:gd name="connsiteX62" fmla="*/ 3869077 w 4519987"/>
                    <a:gd name="connsiteY62" fmla="*/ 3724275 h 4496940"/>
                    <a:gd name="connsiteX63" fmla="*/ 3792877 w 4519987"/>
                    <a:gd name="connsiteY63" fmla="*/ 3781425 h 4496940"/>
                    <a:gd name="connsiteX64" fmla="*/ 3783352 w 4519987"/>
                    <a:gd name="connsiteY64" fmla="*/ 3810000 h 4496940"/>
                    <a:gd name="connsiteX65" fmla="*/ 3745252 w 4519987"/>
                    <a:gd name="connsiteY65" fmla="*/ 3819525 h 4496940"/>
                    <a:gd name="connsiteX66" fmla="*/ 3678577 w 4519987"/>
                    <a:gd name="connsiteY66" fmla="*/ 3848100 h 4496940"/>
                    <a:gd name="connsiteX67" fmla="*/ 3659527 w 4519987"/>
                    <a:gd name="connsiteY67" fmla="*/ 3971925 h 4496940"/>
                    <a:gd name="connsiteX68" fmla="*/ 3630952 w 4519987"/>
                    <a:gd name="connsiteY68" fmla="*/ 4010025 h 4496940"/>
                    <a:gd name="connsiteX69" fmla="*/ 3621427 w 4519987"/>
                    <a:gd name="connsiteY69" fmla="*/ 4038600 h 4496940"/>
                    <a:gd name="connsiteX70" fmla="*/ 3554752 w 4519987"/>
                    <a:gd name="connsiteY70" fmla="*/ 4095750 h 4496940"/>
                    <a:gd name="connsiteX71" fmla="*/ 3516652 w 4519987"/>
                    <a:gd name="connsiteY71" fmla="*/ 4114800 h 4496940"/>
                    <a:gd name="connsiteX72" fmla="*/ 3497602 w 4519987"/>
                    <a:gd name="connsiteY72" fmla="*/ 4143375 h 4496940"/>
                    <a:gd name="connsiteX73" fmla="*/ 3383302 w 4519987"/>
                    <a:gd name="connsiteY73" fmla="*/ 4210050 h 4496940"/>
                    <a:gd name="connsiteX74" fmla="*/ 3335677 w 4519987"/>
                    <a:gd name="connsiteY74" fmla="*/ 4238625 h 4496940"/>
                    <a:gd name="connsiteX75" fmla="*/ 3288052 w 4519987"/>
                    <a:gd name="connsiteY75" fmla="*/ 4248150 h 4496940"/>
                    <a:gd name="connsiteX76" fmla="*/ 3240427 w 4519987"/>
                    <a:gd name="connsiteY76" fmla="*/ 4267200 h 4496940"/>
                    <a:gd name="connsiteX77" fmla="*/ 3068977 w 4519987"/>
                    <a:gd name="connsiteY77" fmla="*/ 4286250 h 4496940"/>
                    <a:gd name="connsiteX78" fmla="*/ 2935627 w 4519987"/>
                    <a:gd name="connsiteY78" fmla="*/ 4333875 h 4496940"/>
                    <a:gd name="connsiteX79" fmla="*/ 2811802 w 4519987"/>
                    <a:gd name="connsiteY79" fmla="*/ 4371975 h 4496940"/>
                    <a:gd name="connsiteX80" fmla="*/ 2745127 w 4519987"/>
                    <a:gd name="connsiteY80" fmla="*/ 4410075 h 4496940"/>
                    <a:gd name="connsiteX81" fmla="*/ 2697502 w 4519987"/>
                    <a:gd name="connsiteY81" fmla="*/ 4429125 h 4496940"/>
                    <a:gd name="connsiteX82" fmla="*/ 2640352 w 4519987"/>
                    <a:gd name="connsiteY82" fmla="*/ 4457700 h 4496940"/>
                    <a:gd name="connsiteX83" fmla="*/ 2583202 w 4519987"/>
                    <a:gd name="connsiteY83" fmla="*/ 4467225 h 4496940"/>
                    <a:gd name="connsiteX84" fmla="*/ 2545102 w 4519987"/>
                    <a:gd name="connsiteY84" fmla="*/ 4486275 h 4496940"/>
                    <a:gd name="connsiteX85" fmla="*/ 2306977 w 4519987"/>
                    <a:gd name="connsiteY85" fmla="*/ 4476750 h 4496940"/>
                    <a:gd name="connsiteX86" fmla="*/ 2202202 w 4519987"/>
                    <a:gd name="connsiteY86" fmla="*/ 4457700 h 4496940"/>
                    <a:gd name="connsiteX87" fmla="*/ 2126002 w 4519987"/>
                    <a:gd name="connsiteY87" fmla="*/ 4429125 h 4496940"/>
                    <a:gd name="connsiteX88" fmla="*/ 1935502 w 4519987"/>
                    <a:gd name="connsiteY88" fmla="*/ 4400550 h 4496940"/>
                    <a:gd name="connsiteX89" fmla="*/ 1821202 w 4519987"/>
                    <a:gd name="connsiteY89" fmla="*/ 4371975 h 4496940"/>
                    <a:gd name="connsiteX90" fmla="*/ 1754527 w 4519987"/>
                    <a:gd name="connsiteY90" fmla="*/ 4352925 h 4496940"/>
                    <a:gd name="connsiteX91" fmla="*/ 1687852 w 4519987"/>
                    <a:gd name="connsiteY91" fmla="*/ 4343400 h 4496940"/>
                    <a:gd name="connsiteX92" fmla="*/ 1573552 w 4519987"/>
                    <a:gd name="connsiteY92" fmla="*/ 4305300 h 4496940"/>
                    <a:gd name="connsiteX93" fmla="*/ 1402102 w 4519987"/>
                    <a:gd name="connsiteY93" fmla="*/ 4276725 h 4496940"/>
                    <a:gd name="connsiteX94" fmla="*/ 1287802 w 4519987"/>
                    <a:gd name="connsiteY94" fmla="*/ 4229100 h 4496940"/>
                    <a:gd name="connsiteX95" fmla="*/ 1221127 w 4519987"/>
                    <a:gd name="connsiteY95" fmla="*/ 4200525 h 4496940"/>
                    <a:gd name="connsiteX96" fmla="*/ 1144927 w 4519987"/>
                    <a:gd name="connsiteY96" fmla="*/ 4171950 h 4496940"/>
                    <a:gd name="connsiteX97" fmla="*/ 1087777 w 4519987"/>
                    <a:gd name="connsiteY97" fmla="*/ 4143375 h 4496940"/>
                    <a:gd name="connsiteX98" fmla="*/ 1030627 w 4519987"/>
                    <a:gd name="connsiteY98" fmla="*/ 4124325 h 4496940"/>
                    <a:gd name="connsiteX99" fmla="*/ 925852 w 4519987"/>
                    <a:gd name="connsiteY99" fmla="*/ 4067175 h 4496940"/>
                    <a:gd name="connsiteX100" fmla="*/ 830602 w 4519987"/>
                    <a:gd name="connsiteY100" fmla="*/ 3981450 h 4496940"/>
                    <a:gd name="connsiteX101" fmla="*/ 763927 w 4519987"/>
                    <a:gd name="connsiteY101" fmla="*/ 3914775 h 4496940"/>
                    <a:gd name="connsiteX102" fmla="*/ 725827 w 4519987"/>
                    <a:gd name="connsiteY102" fmla="*/ 3876675 h 4496940"/>
                    <a:gd name="connsiteX103" fmla="*/ 697252 w 4519987"/>
                    <a:gd name="connsiteY103" fmla="*/ 3838575 h 4496940"/>
                    <a:gd name="connsiteX104" fmla="*/ 640102 w 4519987"/>
                    <a:gd name="connsiteY104" fmla="*/ 3781425 h 4496940"/>
                    <a:gd name="connsiteX105" fmla="*/ 611527 w 4519987"/>
                    <a:gd name="connsiteY105" fmla="*/ 3733800 h 4496940"/>
                    <a:gd name="connsiteX106" fmla="*/ 554377 w 4519987"/>
                    <a:gd name="connsiteY106" fmla="*/ 3657600 h 4496940"/>
                    <a:gd name="connsiteX107" fmla="*/ 525802 w 4519987"/>
                    <a:gd name="connsiteY107" fmla="*/ 3609975 h 4496940"/>
                    <a:gd name="connsiteX108" fmla="*/ 497227 w 4519987"/>
                    <a:gd name="connsiteY108" fmla="*/ 3552825 h 4496940"/>
                    <a:gd name="connsiteX109" fmla="*/ 440077 w 4519987"/>
                    <a:gd name="connsiteY109" fmla="*/ 3495675 h 4496940"/>
                    <a:gd name="connsiteX110" fmla="*/ 411502 w 4519987"/>
                    <a:gd name="connsiteY110" fmla="*/ 3448050 h 4496940"/>
                    <a:gd name="connsiteX111" fmla="*/ 278152 w 4519987"/>
                    <a:gd name="connsiteY111" fmla="*/ 3257550 h 4496940"/>
                    <a:gd name="connsiteX112" fmla="*/ 249577 w 4519987"/>
                    <a:gd name="connsiteY112" fmla="*/ 3200400 h 4496940"/>
                    <a:gd name="connsiteX113" fmla="*/ 240052 w 4519987"/>
                    <a:gd name="connsiteY113" fmla="*/ 3162300 h 4496940"/>
                    <a:gd name="connsiteX114" fmla="*/ 221002 w 4519987"/>
                    <a:gd name="connsiteY114" fmla="*/ 3105150 h 4496940"/>
                    <a:gd name="connsiteX115" fmla="*/ 173377 w 4519987"/>
                    <a:gd name="connsiteY115" fmla="*/ 3019425 h 4496940"/>
                    <a:gd name="connsiteX116" fmla="*/ 144802 w 4519987"/>
                    <a:gd name="connsiteY116" fmla="*/ 2924175 h 4496940"/>
                    <a:gd name="connsiteX117" fmla="*/ 68602 w 4519987"/>
                    <a:gd name="connsiteY117" fmla="*/ 2724150 h 4496940"/>
                    <a:gd name="connsiteX118" fmla="*/ 49552 w 4519987"/>
                    <a:gd name="connsiteY118" fmla="*/ 2638425 h 4496940"/>
                    <a:gd name="connsiteX119" fmla="*/ 40027 w 4519987"/>
                    <a:gd name="connsiteY119" fmla="*/ 2562225 h 4496940"/>
                    <a:gd name="connsiteX120" fmla="*/ 30502 w 4519987"/>
                    <a:gd name="connsiteY120" fmla="*/ 2514600 h 4496940"/>
                    <a:gd name="connsiteX121" fmla="*/ 11452 w 4519987"/>
                    <a:gd name="connsiteY121" fmla="*/ 2400300 h 4496940"/>
                    <a:gd name="connsiteX122" fmla="*/ 20977 w 4519987"/>
                    <a:gd name="connsiteY122" fmla="*/ 1905000 h 4496940"/>
                    <a:gd name="connsiteX123" fmla="*/ 30502 w 4519987"/>
                    <a:gd name="connsiteY123" fmla="*/ 1838325 h 4496940"/>
                    <a:gd name="connsiteX124" fmla="*/ 49552 w 4519987"/>
                    <a:gd name="connsiteY124" fmla="*/ 1781175 h 4496940"/>
                    <a:gd name="connsiteX125" fmla="*/ 59077 w 4519987"/>
                    <a:gd name="connsiteY125" fmla="*/ 1743075 h 4496940"/>
                    <a:gd name="connsiteX126" fmla="*/ 78127 w 4519987"/>
                    <a:gd name="connsiteY126" fmla="*/ 1685925 h 4496940"/>
                    <a:gd name="connsiteX127" fmla="*/ 87652 w 4519987"/>
                    <a:gd name="connsiteY127" fmla="*/ 1638300 h 4496940"/>
                    <a:gd name="connsiteX128" fmla="*/ 106702 w 4519987"/>
                    <a:gd name="connsiteY128" fmla="*/ 1590675 h 4496940"/>
                    <a:gd name="connsiteX129" fmla="*/ 135277 w 4519987"/>
                    <a:gd name="connsiteY129" fmla="*/ 1504950 h 4496940"/>
                    <a:gd name="connsiteX130" fmla="*/ 154327 w 4519987"/>
                    <a:gd name="connsiteY130" fmla="*/ 1419225 h 4496940"/>
                    <a:gd name="connsiteX131" fmla="*/ 230527 w 4519987"/>
                    <a:gd name="connsiteY131" fmla="*/ 1276350 h 4496940"/>
                    <a:gd name="connsiteX132" fmla="*/ 240052 w 4519987"/>
                    <a:gd name="connsiteY132" fmla="*/ 1247775 h 4496940"/>
                    <a:gd name="connsiteX133" fmla="*/ 268627 w 4519987"/>
                    <a:gd name="connsiteY133" fmla="*/ 1200150 h 4496940"/>
                    <a:gd name="connsiteX134" fmla="*/ 287677 w 4519987"/>
                    <a:gd name="connsiteY134" fmla="*/ 1152525 h 4496940"/>
                    <a:gd name="connsiteX135" fmla="*/ 316252 w 4519987"/>
                    <a:gd name="connsiteY135" fmla="*/ 1114425 h 4496940"/>
                    <a:gd name="connsiteX136" fmla="*/ 363877 w 4519987"/>
                    <a:gd name="connsiteY136" fmla="*/ 1038225 h 4496940"/>
                    <a:gd name="connsiteX137" fmla="*/ 382927 w 4519987"/>
                    <a:gd name="connsiteY137" fmla="*/ 1009650 h 4496940"/>
                    <a:gd name="connsiteX138" fmla="*/ 440077 w 4519987"/>
                    <a:gd name="connsiteY138" fmla="*/ 904875 h 4496940"/>
                    <a:gd name="connsiteX139" fmla="*/ 478177 w 4519987"/>
                    <a:gd name="connsiteY139" fmla="*/ 857250 h 4496940"/>
                    <a:gd name="connsiteX140" fmla="*/ 497227 w 4519987"/>
                    <a:gd name="connsiteY140" fmla="*/ 828675 h 4496940"/>
                    <a:gd name="connsiteX141" fmla="*/ 535327 w 4519987"/>
                    <a:gd name="connsiteY141" fmla="*/ 800100 h 4496940"/>
                    <a:gd name="connsiteX142" fmla="*/ 602002 w 4519987"/>
                    <a:gd name="connsiteY142" fmla="*/ 733425 h 4496940"/>
                    <a:gd name="connsiteX143" fmla="*/ 668677 w 4519987"/>
                    <a:gd name="connsiteY143" fmla="*/ 676275 h 4496940"/>
                    <a:gd name="connsiteX144" fmla="*/ 697252 w 4519987"/>
                    <a:gd name="connsiteY144" fmla="*/ 657225 h 4496940"/>
                    <a:gd name="connsiteX145" fmla="*/ 840127 w 4519987"/>
                    <a:gd name="connsiteY145" fmla="*/ 533400 h 4496940"/>
                    <a:gd name="connsiteX146" fmla="*/ 887752 w 4519987"/>
                    <a:gd name="connsiteY146" fmla="*/ 504825 h 4496940"/>
                    <a:gd name="connsiteX147" fmla="*/ 1167152 w 4519987"/>
                    <a:gd name="connsiteY147" fmla="*/ 311150 h 4496940"/>
                    <a:gd name="connsiteX148" fmla="*/ 1268752 w 4519987"/>
                    <a:gd name="connsiteY148" fmla="*/ 285750 h 4496940"/>
                    <a:gd name="connsiteX149" fmla="*/ 1411627 w 4519987"/>
                    <a:gd name="connsiteY149" fmla="*/ 190500 h 4496940"/>
                    <a:gd name="connsiteX150" fmla="*/ 1449727 w 4519987"/>
                    <a:gd name="connsiteY150" fmla="*/ 161925 h 4496940"/>
                    <a:gd name="connsiteX151" fmla="*/ 1525927 w 4519987"/>
                    <a:gd name="connsiteY151" fmla="*/ 152400 h 4496940"/>
                    <a:gd name="connsiteX152" fmla="*/ 1583077 w 4519987"/>
                    <a:gd name="connsiteY152" fmla="*/ 142875 h 4496940"/>
                    <a:gd name="connsiteX153" fmla="*/ 1716427 w 4519987"/>
                    <a:gd name="connsiteY153" fmla="*/ 123825 h 4496940"/>
                    <a:gd name="connsiteX154" fmla="*/ 1811677 w 4519987"/>
                    <a:gd name="connsiteY154" fmla="*/ 114300 h 4496940"/>
                    <a:gd name="connsiteX155" fmla="*/ 1859302 w 4519987"/>
                    <a:gd name="connsiteY155" fmla="*/ 104775 h 4496940"/>
                    <a:gd name="connsiteX156" fmla="*/ 1916452 w 4519987"/>
                    <a:gd name="connsiteY156" fmla="*/ 95250 h 4496940"/>
                    <a:gd name="connsiteX157" fmla="*/ 2030752 w 4519987"/>
                    <a:gd name="connsiteY157" fmla="*/ 66675 h 4496940"/>
                    <a:gd name="connsiteX158" fmla="*/ 2097427 w 4519987"/>
                    <a:gd name="connsiteY158" fmla="*/ 47625 h 4496940"/>
                    <a:gd name="connsiteX159" fmla="*/ 2164102 w 4519987"/>
                    <a:gd name="connsiteY159" fmla="*/ 38100 h 4496940"/>
                    <a:gd name="connsiteX160" fmla="*/ 2392702 w 4519987"/>
                    <a:gd name="connsiteY16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278652 w 4519987"/>
                    <a:gd name="connsiteY49" fmla="*/ 3248025 h 4496940"/>
                    <a:gd name="connsiteX50" fmla="*/ 4259602 w 4519987"/>
                    <a:gd name="connsiteY50" fmla="*/ 3276600 h 4496940"/>
                    <a:gd name="connsiteX51" fmla="*/ 4221502 w 4519987"/>
                    <a:gd name="connsiteY51" fmla="*/ 3333750 h 4496940"/>
                    <a:gd name="connsiteX52" fmla="*/ 4211977 w 4519987"/>
                    <a:gd name="connsiteY52" fmla="*/ 3362325 h 4496940"/>
                    <a:gd name="connsiteX53" fmla="*/ 4183402 w 4519987"/>
                    <a:gd name="connsiteY53" fmla="*/ 3400425 h 4496940"/>
                    <a:gd name="connsiteX54" fmla="*/ 4164352 w 4519987"/>
                    <a:gd name="connsiteY54" fmla="*/ 3429000 h 4496940"/>
                    <a:gd name="connsiteX55" fmla="*/ 4088152 w 4519987"/>
                    <a:gd name="connsiteY55" fmla="*/ 3495675 h 4496940"/>
                    <a:gd name="connsiteX56" fmla="*/ 4059577 w 4519987"/>
                    <a:gd name="connsiteY56" fmla="*/ 3533775 h 4496940"/>
                    <a:gd name="connsiteX57" fmla="*/ 4002427 w 4519987"/>
                    <a:gd name="connsiteY57" fmla="*/ 3600450 h 4496940"/>
                    <a:gd name="connsiteX58" fmla="*/ 3983377 w 4519987"/>
                    <a:gd name="connsiteY58" fmla="*/ 3629025 h 4496940"/>
                    <a:gd name="connsiteX59" fmla="*/ 3954802 w 4519987"/>
                    <a:gd name="connsiteY59" fmla="*/ 3648075 h 4496940"/>
                    <a:gd name="connsiteX60" fmla="*/ 3907177 w 4519987"/>
                    <a:gd name="connsiteY60" fmla="*/ 3686175 h 4496940"/>
                    <a:gd name="connsiteX61" fmla="*/ 3869077 w 4519987"/>
                    <a:gd name="connsiteY61" fmla="*/ 3724275 h 4496940"/>
                    <a:gd name="connsiteX62" fmla="*/ 3792877 w 4519987"/>
                    <a:gd name="connsiteY62" fmla="*/ 3781425 h 4496940"/>
                    <a:gd name="connsiteX63" fmla="*/ 3783352 w 4519987"/>
                    <a:gd name="connsiteY63" fmla="*/ 3810000 h 4496940"/>
                    <a:gd name="connsiteX64" fmla="*/ 3745252 w 4519987"/>
                    <a:gd name="connsiteY64" fmla="*/ 3819525 h 4496940"/>
                    <a:gd name="connsiteX65" fmla="*/ 3678577 w 4519987"/>
                    <a:gd name="connsiteY65" fmla="*/ 3848100 h 4496940"/>
                    <a:gd name="connsiteX66" fmla="*/ 3659527 w 4519987"/>
                    <a:gd name="connsiteY66" fmla="*/ 3971925 h 4496940"/>
                    <a:gd name="connsiteX67" fmla="*/ 3630952 w 4519987"/>
                    <a:gd name="connsiteY67" fmla="*/ 4010025 h 4496940"/>
                    <a:gd name="connsiteX68" fmla="*/ 3621427 w 4519987"/>
                    <a:gd name="connsiteY68" fmla="*/ 4038600 h 4496940"/>
                    <a:gd name="connsiteX69" fmla="*/ 3554752 w 4519987"/>
                    <a:gd name="connsiteY69" fmla="*/ 4095750 h 4496940"/>
                    <a:gd name="connsiteX70" fmla="*/ 3516652 w 4519987"/>
                    <a:gd name="connsiteY70" fmla="*/ 4114800 h 4496940"/>
                    <a:gd name="connsiteX71" fmla="*/ 3497602 w 4519987"/>
                    <a:gd name="connsiteY71" fmla="*/ 4143375 h 4496940"/>
                    <a:gd name="connsiteX72" fmla="*/ 3383302 w 4519987"/>
                    <a:gd name="connsiteY72" fmla="*/ 4210050 h 4496940"/>
                    <a:gd name="connsiteX73" fmla="*/ 3335677 w 4519987"/>
                    <a:gd name="connsiteY73" fmla="*/ 4238625 h 4496940"/>
                    <a:gd name="connsiteX74" fmla="*/ 3288052 w 4519987"/>
                    <a:gd name="connsiteY74" fmla="*/ 4248150 h 4496940"/>
                    <a:gd name="connsiteX75" fmla="*/ 3240427 w 4519987"/>
                    <a:gd name="connsiteY75" fmla="*/ 4267200 h 4496940"/>
                    <a:gd name="connsiteX76" fmla="*/ 3068977 w 4519987"/>
                    <a:gd name="connsiteY76" fmla="*/ 4286250 h 4496940"/>
                    <a:gd name="connsiteX77" fmla="*/ 2935627 w 4519987"/>
                    <a:gd name="connsiteY77" fmla="*/ 4333875 h 4496940"/>
                    <a:gd name="connsiteX78" fmla="*/ 2811802 w 4519987"/>
                    <a:gd name="connsiteY78" fmla="*/ 4371975 h 4496940"/>
                    <a:gd name="connsiteX79" fmla="*/ 2745127 w 4519987"/>
                    <a:gd name="connsiteY79" fmla="*/ 4410075 h 4496940"/>
                    <a:gd name="connsiteX80" fmla="*/ 2697502 w 4519987"/>
                    <a:gd name="connsiteY80" fmla="*/ 4429125 h 4496940"/>
                    <a:gd name="connsiteX81" fmla="*/ 2640352 w 4519987"/>
                    <a:gd name="connsiteY81" fmla="*/ 4457700 h 4496940"/>
                    <a:gd name="connsiteX82" fmla="*/ 2583202 w 4519987"/>
                    <a:gd name="connsiteY82" fmla="*/ 4467225 h 4496940"/>
                    <a:gd name="connsiteX83" fmla="*/ 2545102 w 4519987"/>
                    <a:gd name="connsiteY83" fmla="*/ 4486275 h 4496940"/>
                    <a:gd name="connsiteX84" fmla="*/ 2306977 w 4519987"/>
                    <a:gd name="connsiteY84" fmla="*/ 4476750 h 4496940"/>
                    <a:gd name="connsiteX85" fmla="*/ 2202202 w 4519987"/>
                    <a:gd name="connsiteY85" fmla="*/ 4457700 h 4496940"/>
                    <a:gd name="connsiteX86" fmla="*/ 2126002 w 4519987"/>
                    <a:gd name="connsiteY86" fmla="*/ 4429125 h 4496940"/>
                    <a:gd name="connsiteX87" fmla="*/ 1935502 w 4519987"/>
                    <a:gd name="connsiteY87" fmla="*/ 4400550 h 4496940"/>
                    <a:gd name="connsiteX88" fmla="*/ 1821202 w 4519987"/>
                    <a:gd name="connsiteY88" fmla="*/ 4371975 h 4496940"/>
                    <a:gd name="connsiteX89" fmla="*/ 1754527 w 4519987"/>
                    <a:gd name="connsiteY89" fmla="*/ 4352925 h 4496940"/>
                    <a:gd name="connsiteX90" fmla="*/ 1687852 w 4519987"/>
                    <a:gd name="connsiteY90" fmla="*/ 4343400 h 4496940"/>
                    <a:gd name="connsiteX91" fmla="*/ 1573552 w 4519987"/>
                    <a:gd name="connsiteY91" fmla="*/ 4305300 h 4496940"/>
                    <a:gd name="connsiteX92" fmla="*/ 1402102 w 4519987"/>
                    <a:gd name="connsiteY92" fmla="*/ 4276725 h 4496940"/>
                    <a:gd name="connsiteX93" fmla="*/ 1287802 w 4519987"/>
                    <a:gd name="connsiteY93" fmla="*/ 4229100 h 4496940"/>
                    <a:gd name="connsiteX94" fmla="*/ 1221127 w 4519987"/>
                    <a:gd name="connsiteY94" fmla="*/ 4200525 h 4496940"/>
                    <a:gd name="connsiteX95" fmla="*/ 1144927 w 4519987"/>
                    <a:gd name="connsiteY95" fmla="*/ 4171950 h 4496940"/>
                    <a:gd name="connsiteX96" fmla="*/ 1087777 w 4519987"/>
                    <a:gd name="connsiteY96" fmla="*/ 4143375 h 4496940"/>
                    <a:gd name="connsiteX97" fmla="*/ 1030627 w 4519987"/>
                    <a:gd name="connsiteY97" fmla="*/ 4124325 h 4496940"/>
                    <a:gd name="connsiteX98" fmla="*/ 925852 w 4519987"/>
                    <a:gd name="connsiteY98" fmla="*/ 4067175 h 4496940"/>
                    <a:gd name="connsiteX99" fmla="*/ 830602 w 4519987"/>
                    <a:gd name="connsiteY99" fmla="*/ 3981450 h 4496940"/>
                    <a:gd name="connsiteX100" fmla="*/ 763927 w 4519987"/>
                    <a:gd name="connsiteY100" fmla="*/ 3914775 h 4496940"/>
                    <a:gd name="connsiteX101" fmla="*/ 725827 w 4519987"/>
                    <a:gd name="connsiteY101" fmla="*/ 3876675 h 4496940"/>
                    <a:gd name="connsiteX102" fmla="*/ 697252 w 4519987"/>
                    <a:gd name="connsiteY102" fmla="*/ 3838575 h 4496940"/>
                    <a:gd name="connsiteX103" fmla="*/ 640102 w 4519987"/>
                    <a:gd name="connsiteY103" fmla="*/ 3781425 h 4496940"/>
                    <a:gd name="connsiteX104" fmla="*/ 611527 w 4519987"/>
                    <a:gd name="connsiteY104" fmla="*/ 3733800 h 4496940"/>
                    <a:gd name="connsiteX105" fmla="*/ 554377 w 4519987"/>
                    <a:gd name="connsiteY105" fmla="*/ 3657600 h 4496940"/>
                    <a:gd name="connsiteX106" fmla="*/ 525802 w 4519987"/>
                    <a:gd name="connsiteY106" fmla="*/ 3609975 h 4496940"/>
                    <a:gd name="connsiteX107" fmla="*/ 497227 w 4519987"/>
                    <a:gd name="connsiteY107" fmla="*/ 3552825 h 4496940"/>
                    <a:gd name="connsiteX108" fmla="*/ 440077 w 4519987"/>
                    <a:gd name="connsiteY108" fmla="*/ 3495675 h 4496940"/>
                    <a:gd name="connsiteX109" fmla="*/ 411502 w 4519987"/>
                    <a:gd name="connsiteY109" fmla="*/ 3448050 h 4496940"/>
                    <a:gd name="connsiteX110" fmla="*/ 278152 w 4519987"/>
                    <a:gd name="connsiteY110" fmla="*/ 3257550 h 4496940"/>
                    <a:gd name="connsiteX111" fmla="*/ 249577 w 4519987"/>
                    <a:gd name="connsiteY111" fmla="*/ 3200400 h 4496940"/>
                    <a:gd name="connsiteX112" fmla="*/ 240052 w 4519987"/>
                    <a:gd name="connsiteY112" fmla="*/ 3162300 h 4496940"/>
                    <a:gd name="connsiteX113" fmla="*/ 221002 w 4519987"/>
                    <a:gd name="connsiteY113" fmla="*/ 3105150 h 4496940"/>
                    <a:gd name="connsiteX114" fmla="*/ 173377 w 4519987"/>
                    <a:gd name="connsiteY114" fmla="*/ 3019425 h 4496940"/>
                    <a:gd name="connsiteX115" fmla="*/ 144802 w 4519987"/>
                    <a:gd name="connsiteY115" fmla="*/ 2924175 h 4496940"/>
                    <a:gd name="connsiteX116" fmla="*/ 68602 w 4519987"/>
                    <a:gd name="connsiteY116" fmla="*/ 2724150 h 4496940"/>
                    <a:gd name="connsiteX117" fmla="*/ 49552 w 4519987"/>
                    <a:gd name="connsiteY117" fmla="*/ 2638425 h 4496940"/>
                    <a:gd name="connsiteX118" fmla="*/ 40027 w 4519987"/>
                    <a:gd name="connsiteY118" fmla="*/ 2562225 h 4496940"/>
                    <a:gd name="connsiteX119" fmla="*/ 30502 w 4519987"/>
                    <a:gd name="connsiteY119" fmla="*/ 2514600 h 4496940"/>
                    <a:gd name="connsiteX120" fmla="*/ 11452 w 4519987"/>
                    <a:gd name="connsiteY120" fmla="*/ 2400300 h 4496940"/>
                    <a:gd name="connsiteX121" fmla="*/ 20977 w 4519987"/>
                    <a:gd name="connsiteY121" fmla="*/ 1905000 h 4496940"/>
                    <a:gd name="connsiteX122" fmla="*/ 30502 w 4519987"/>
                    <a:gd name="connsiteY122" fmla="*/ 1838325 h 4496940"/>
                    <a:gd name="connsiteX123" fmla="*/ 49552 w 4519987"/>
                    <a:gd name="connsiteY123" fmla="*/ 1781175 h 4496940"/>
                    <a:gd name="connsiteX124" fmla="*/ 59077 w 4519987"/>
                    <a:gd name="connsiteY124" fmla="*/ 1743075 h 4496940"/>
                    <a:gd name="connsiteX125" fmla="*/ 78127 w 4519987"/>
                    <a:gd name="connsiteY125" fmla="*/ 1685925 h 4496940"/>
                    <a:gd name="connsiteX126" fmla="*/ 87652 w 4519987"/>
                    <a:gd name="connsiteY126" fmla="*/ 1638300 h 4496940"/>
                    <a:gd name="connsiteX127" fmla="*/ 106702 w 4519987"/>
                    <a:gd name="connsiteY127" fmla="*/ 1590675 h 4496940"/>
                    <a:gd name="connsiteX128" fmla="*/ 135277 w 4519987"/>
                    <a:gd name="connsiteY128" fmla="*/ 1504950 h 4496940"/>
                    <a:gd name="connsiteX129" fmla="*/ 154327 w 4519987"/>
                    <a:gd name="connsiteY129" fmla="*/ 1419225 h 4496940"/>
                    <a:gd name="connsiteX130" fmla="*/ 230527 w 4519987"/>
                    <a:gd name="connsiteY130" fmla="*/ 1276350 h 4496940"/>
                    <a:gd name="connsiteX131" fmla="*/ 240052 w 4519987"/>
                    <a:gd name="connsiteY131" fmla="*/ 1247775 h 4496940"/>
                    <a:gd name="connsiteX132" fmla="*/ 268627 w 4519987"/>
                    <a:gd name="connsiteY132" fmla="*/ 1200150 h 4496940"/>
                    <a:gd name="connsiteX133" fmla="*/ 287677 w 4519987"/>
                    <a:gd name="connsiteY133" fmla="*/ 1152525 h 4496940"/>
                    <a:gd name="connsiteX134" fmla="*/ 316252 w 4519987"/>
                    <a:gd name="connsiteY134" fmla="*/ 1114425 h 4496940"/>
                    <a:gd name="connsiteX135" fmla="*/ 363877 w 4519987"/>
                    <a:gd name="connsiteY135" fmla="*/ 1038225 h 4496940"/>
                    <a:gd name="connsiteX136" fmla="*/ 382927 w 4519987"/>
                    <a:gd name="connsiteY136" fmla="*/ 1009650 h 4496940"/>
                    <a:gd name="connsiteX137" fmla="*/ 440077 w 4519987"/>
                    <a:gd name="connsiteY137" fmla="*/ 904875 h 4496940"/>
                    <a:gd name="connsiteX138" fmla="*/ 478177 w 4519987"/>
                    <a:gd name="connsiteY138" fmla="*/ 857250 h 4496940"/>
                    <a:gd name="connsiteX139" fmla="*/ 497227 w 4519987"/>
                    <a:gd name="connsiteY139" fmla="*/ 828675 h 4496940"/>
                    <a:gd name="connsiteX140" fmla="*/ 535327 w 4519987"/>
                    <a:gd name="connsiteY140" fmla="*/ 800100 h 4496940"/>
                    <a:gd name="connsiteX141" fmla="*/ 602002 w 4519987"/>
                    <a:gd name="connsiteY141" fmla="*/ 733425 h 4496940"/>
                    <a:gd name="connsiteX142" fmla="*/ 668677 w 4519987"/>
                    <a:gd name="connsiteY142" fmla="*/ 676275 h 4496940"/>
                    <a:gd name="connsiteX143" fmla="*/ 697252 w 4519987"/>
                    <a:gd name="connsiteY143" fmla="*/ 657225 h 4496940"/>
                    <a:gd name="connsiteX144" fmla="*/ 840127 w 4519987"/>
                    <a:gd name="connsiteY144" fmla="*/ 533400 h 4496940"/>
                    <a:gd name="connsiteX145" fmla="*/ 887752 w 4519987"/>
                    <a:gd name="connsiteY145" fmla="*/ 504825 h 4496940"/>
                    <a:gd name="connsiteX146" fmla="*/ 1167152 w 4519987"/>
                    <a:gd name="connsiteY146" fmla="*/ 311150 h 4496940"/>
                    <a:gd name="connsiteX147" fmla="*/ 1268752 w 4519987"/>
                    <a:gd name="connsiteY147" fmla="*/ 285750 h 4496940"/>
                    <a:gd name="connsiteX148" fmla="*/ 1411627 w 4519987"/>
                    <a:gd name="connsiteY148" fmla="*/ 190500 h 4496940"/>
                    <a:gd name="connsiteX149" fmla="*/ 1449727 w 4519987"/>
                    <a:gd name="connsiteY149" fmla="*/ 161925 h 4496940"/>
                    <a:gd name="connsiteX150" fmla="*/ 1525927 w 4519987"/>
                    <a:gd name="connsiteY150" fmla="*/ 152400 h 4496940"/>
                    <a:gd name="connsiteX151" fmla="*/ 1583077 w 4519987"/>
                    <a:gd name="connsiteY151" fmla="*/ 142875 h 4496940"/>
                    <a:gd name="connsiteX152" fmla="*/ 1716427 w 4519987"/>
                    <a:gd name="connsiteY152" fmla="*/ 123825 h 4496940"/>
                    <a:gd name="connsiteX153" fmla="*/ 1811677 w 4519987"/>
                    <a:gd name="connsiteY153" fmla="*/ 114300 h 4496940"/>
                    <a:gd name="connsiteX154" fmla="*/ 1859302 w 4519987"/>
                    <a:gd name="connsiteY154" fmla="*/ 104775 h 4496940"/>
                    <a:gd name="connsiteX155" fmla="*/ 1916452 w 4519987"/>
                    <a:gd name="connsiteY155" fmla="*/ 95250 h 4496940"/>
                    <a:gd name="connsiteX156" fmla="*/ 2030752 w 4519987"/>
                    <a:gd name="connsiteY156" fmla="*/ 66675 h 4496940"/>
                    <a:gd name="connsiteX157" fmla="*/ 2097427 w 4519987"/>
                    <a:gd name="connsiteY157" fmla="*/ 47625 h 4496940"/>
                    <a:gd name="connsiteX158" fmla="*/ 2164102 w 4519987"/>
                    <a:gd name="connsiteY158" fmla="*/ 38100 h 4496940"/>
                    <a:gd name="connsiteX159" fmla="*/ 2392702 w 4519987"/>
                    <a:gd name="connsiteY15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50052 w 4519987"/>
                    <a:gd name="connsiteY28" fmla="*/ 790575 h 4496940"/>
                    <a:gd name="connsiteX29" fmla="*/ 4078627 w 4519987"/>
                    <a:gd name="connsiteY29" fmla="*/ 838200 h 4496940"/>
                    <a:gd name="connsiteX30" fmla="*/ 4107202 w 4519987"/>
                    <a:gd name="connsiteY30" fmla="*/ 876300 h 4496940"/>
                    <a:gd name="connsiteX31" fmla="*/ 4116727 w 4519987"/>
                    <a:gd name="connsiteY31" fmla="*/ 904875 h 4496940"/>
                    <a:gd name="connsiteX32" fmla="*/ 4135777 w 4519987"/>
                    <a:gd name="connsiteY32" fmla="*/ 933450 h 4496940"/>
                    <a:gd name="connsiteX33" fmla="*/ 4164352 w 4519987"/>
                    <a:gd name="connsiteY33" fmla="*/ 990600 h 4496940"/>
                    <a:gd name="connsiteX34" fmla="*/ 4173877 w 4519987"/>
                    <a:gd name="connsiteY34" fmla="*/ 1019175 h 4496940"/>
                    <a:gd name="connsiteX35" fmla="*/ 4192927 w 4519987"/>
                    <a:gd name="connsiteY35" fmla="*/ 1057275 h 4496940"/>
                    <a:gd name="connsiteX36" fmla="*/ 4202452 w 4519987"/>
                    <a:gd name="connsiteY36" fmla="*/ 1085850 h 4496940"/>
                    <a:gd name="connsiteX37" fmla="*/ 4250077 w 4519987"/>
                    <a:gd name="connsiteY37" fmla="*/ 1143000 h 4496940"/>
                    <a:gd name="connsiteX38" fmla="*/ 4259602 w 4519987"/>
                    <a:gd name="connsiteY38" fmla="*/ 1190625 h 4496940"/>
                    <a:gd name="connsiteX39" fmla="*/ 4307227 w 4519987"/>
                    <a:gd name="connsiteY39" fmla="*/ 1266825 h 4496940"/>
                    <a:gd name="connsiteX40" fmla="*/ 4345327 w 4519987"/>
                    <a:gd name="connsiteY40" fmla="*/ 1362075 h 4496940"/>
                    <a:gd name="connsiteX41" fmla="*/ 4373902 w 4519987"/>
                    <a:gd name="connsiteY41" fmla="*/ 1428750 h 4496940"/>
                    <a:gd name="connsiteX42" fmla="*/ 4392952 w 4519987"/>
                    <a:gd name="connsiteY42" fmla="*/ 1552575 h 4496940"/>
                    <a:gd name="connsiteX43" fmla="*/ 4402477 w 4519987"/>
                    <a:gd name="connsiteY43" fmla="*/ 1590675 h 4496940"/>
                    <a:gd name="connsiteX44" fmla="*/ 4431052 w 4519987"/>
                    <a:gd name="connsiteY44" fmla="*/ 1685925 h 4496940"/>
                    <a:gd name="connsiteX45" fmla="*/ 4519952 w 4519987"/>
                    <a:gd name="connsiteY45" fmla="*/ 2181225 h 4496940"/>
                    <a:gd name="connsiteX46" fmla="*/ 4446927 w 4519987"/>
                    <a:gd name="connsiteY46" fmla="*/ 2768600 h 4496940"/>
                    <a:gd name="connsiteX47" fmla="*/ 4383427 w 4519987"/>
                    <a:gd name="connsiteY47" fmla="*/ 2990850 h 4496940"/>
                    <a:gd name="connsiteX48" fmla="*/ 4278652 w 4519987"/>
                    <a:gd name="connsiteY48" fmla="*/ 3248025 h 4496940"/>
                    <a:gd name="connsiteX49" fmla="*/ 4259602 w 4519987"/>
                    <a:gd name="connsiteY49" fmla="*/ 3276600 h 4496940"/>
                    <a:gd name="connsiteX50" fmla="*/ 4221502 w 4519987"/>
                    <a:gd name="connsiteY50" fmla="*/ 3333750 h 4496940"/>
                    <a:gd name="connsiteX51" fmla="*/ 4211977 w 4519987"/>
                    <a:gd name="connsiteY51" fmla="*/ 3362325 h 4496940"/>
                    <a:gd name="connsiteX52" fmla="*/ 4183402 w 4519987"/>
                    <a:gd name="connsiteY52" fmla="*/ 3400425 h 4496940"/>
                    <a:gd name="connsiteX53" fmla="*/ 4164352 w 4519987"/>
                    <a:gd name="connsiteY53" fmla="*/ 3429000 h 4496940"/>
                    <a:gd name="connsiteX54" fmla="*/ 4088152 w 4519987"/>
                    <a:gd name="connsiteY54" fmla="*/ 3495675 h 4496940"/>
                    <a:gd name="connsiteX55" fmla="*/ 4059577 w 4519987"/>
                    <a:gd name="connsiteY55" fmla="*/ 3533775 h 4496940"/>
                    <a:gd name="connsiteX56" fmla="*/ 4002427 w 4519987"/>
                    <a:gd name="connsiteY56" fmla="*/ 3600450 h 4496940"/>
                    <a:gd name="connsiteX57" fmla="*/ 3983377 w 4519987"/>
                    <a:gd name="connsiteY57" fmla="*/ 3629025 h 4496940"/>
                    <a:gd name="connsiteX58" fmla="*/ 3954802 w 4519987"/>
                    <a:gd name="connsiteY58" fmla="*/ 3648075 h 4496940"/>
                    <a:gd name="connsiteX59" fmla="*/ 3907177 w 4519987"/>
                    <a:gd name="connsiteY59" fmla="*/ 3686175 h 4496940"/>
                    <a:gd name="connsiteX60" fmla="*/ 3869077 w 4519987"/>
                    <a:gd name="connsiteY60" fmla="*/ 3724275 h 4496940"/>
                    <a:gd name="connsiteX61" fmla="*/ 3792877 w 4519987"/>
                    <a:gd name="connsiteY61" fmla="*/ 3781425 h 4496940"/>
                    <a:gd name="connsiteX62" fmla="*/ 3783352 w 4519987"/>
                    <a:gd name="connsiteY62" fmla="*/ 3810000 h 4496940"/>
                    <a:gd name="connsiteX63" fmla="*/ 3745252 w 4519987"/>
                    <a:gd name="connsiteY63" fmla="*/ 3819525 h 4496940"/>
                    <a:gd name="connsiteX64" fmla="*/ 3678577 w 4519987"/>
                    <a:gd name="connsiteY64" fmla="*/ 3848100 h 4496940"/>
                    <a:gd name="connsiteX65" fmla="*/ 3659527 w 4519987"/>
                    <a:gd name="connsiteY65" fmla="*/ 3971925 h 4496940"/>
                    <a:gd name="connsiteX66" fmla="*/ 3630952 w 4519987"/>
                    <a:gd name="connsiteY66" fmla="*/ 4010025 h 4496940"/>
                    <a:gd name="connsiteX67" fmla="*/ 3621427 w 4519987"/>
                    <a:gd name="connsiteY67" fmla="*/ 4038600 h 4496940"/>
                    <a:gd name="connsiteX68" fmla="*/ 3554752 w 4519987"/>
                    <a:gd name="connsiteY68" fmla="*/ 4095750 h 4496940"/>
                    <a:gd name="connsiteX69" fmla="*/ 3516652 w 4519987"/>
                    <a:gd name="connsiteY69" fmla="*/ 4114800 h 4496940"/>
                    <a:gd name="connsiteX70" fmla="*/ 3497602 w 4519987"/>
                    <a:gd name="connsiteY70" fmla="*/ 4143375 h 4496940"/>
                    <a:gd name="connsiteX71" fmla="*/ 3383302 w 4519987"/>
                    <a:gd name="connsiteY71" fmla="*/ 4210050 h 4496940"/>
                    <a:gd name="connsiteX72" fmla="*/ 3335677 w 4519987"/>
                    <a:gd name="connsiteY72" fmla="*/ 4238625 h 4496940"/>
                    <a:gd name="connsiteX73" fmla="*/ 3288052 w 4519987"/>
                    <a:gd name="connsiteY73" fmla="*/ 4248150 h 4496940"/>
                    <a:gd name="connsiteX74" fmla="*/ 3240427 w 4519987"/>
                    <a:gd name="connsiteY74" fmla="*/ 4267200 h 4496940"/>
                    <a:gd name="connsiteX75" fmla="*/ 3068977 w 4519987"/>
                    <a:gd name="connsiteY75" fmla="*/ 4286250 h 4496940"/>
                    <a:gd name="connsiteX76" fmla="*/ 2935627 w 4519987"/>
                    <a:gd name="connsiteY76" fmla="*/ 4333875 h 4496940"/>
                    <a:gd name="connsiteX77" fmla="*/ 2811802 w 4519987"/>
                    <a:gd name="connsiteY77" fmla="*/ 4371975 h 4496940"/>
                    <a:gd name="connsiteX78" fmla="*/ 2745127 w 4519987"/>
                    <a:gd name="connsiteY78" fmla="*/ 4410075 h 4496940"/>
                    <a:gd name="connsiteX79" fmla="*/ 2697502 w 4519987"/>
                    <a:gd name="connsiteY79" fmla="*/ 4429125 h 4496940"/>
                    <a:gd name="connsiteX80" fmla="*/ 2640352 w 4519987"/>
                    <a:gd name="connsiteY80" fmla="*/ 4457700 h 4496940"/>
                    <a:gd name="connsiteX81" fmla="*/ 2583202 w 4519987"/>
                    <a:gd name="connsiteY81" fmla="*/ 4467225 h 4496940"/>
                    <a:gd name="connsiteX82" fmla="*/ 2545102 w 4519987"/>
                    <a:gd name="connsiteY82" fmla="*/ 4486275 h 4496940"/>
                    <a:gd name="connsiteX83" fmla="*/ 2306977 w 4519987"/>
                    <a:gd name="connsiteY83" fmla="*/ 4476750 h 4496940"/>
                    <a:gd name="connsiteX84" fmla="*/ 2202202 w 4519987"/>
                    <a:gd name="connsiteY84" fmla="*/ 4457700 h 4496940"/>
                    <a:gd name="connsiteX85" fmla="*/ 2126002 w 4519987"/>
                    <a:gd name="connsiteY85" fmla="*/ 4429125 h 4496940"/>
                    <a:gd name="connsiteX86" fmla="*/ 1935502 w 4519987"/>
                    <a:gd name="connsiteY86" fmla="*/ 4400550 h 4496940"/>
                    <a:gd name="connsiteX87" fmla="*/ 1821202 w 4519987"/>
                    <a:gd name="connsiteY87" fmla="*/ 4371975 h 4496940"/>
                    <a:gd name="connsiteX88" fmla="*/ 1754527 w 4519987"/>
                    <a:gd name="connsiteY88" fmla="*/ 4352925 h 4496940"/>
                    <a:gd name="connsiteX89" fmla="*/ 1687852 w 4519987"/>
                    <a:gd name="connsiteY89" fmla="*/ 4343400 h 4496940"/>
                    <a:gd name="connsiteX90" fmla="*/ 1573552 w 4519987"/>
                    <a:gd name="connsiteY90" fmla="*/ 4305300 h 4496940"/>
                    <a:gd name="connsiteX91" fmla="*/ 1402102 w 4519987"/>
                    <a:gd name="connsiteY91" fmla="*/ 4276725 h 4496940"/>
                    <a:gd name="connsiteX92" fmla="*/ 1287802 w 4519987"/>
                    <a:gd name="connsiteY92" fmla="*/ 4229100 h 4496940"/>
                    <a:gd name="connsiteX93" fmla="*/ 1221127 w 4519987"/>
                    <a:gd name="connsiteY93" fmla="*/ 4200525 h 4496940"/>
                    <a:gd name="connsiteX94" fmla="*/ 1144927 w 4519987"/>
                    <a:gd name="connsiteY94" fmla="*/ 4171950 h 4496940"/>
                    <a:gd name="connsiteX95" fmla="*/ 1087777 w 4519987"/>
                    <a:gd name="connsiteY95" fmla="*/ 4143375 h 4496940"/>
                    <a:gd name="connsiteX96" fmla="*/ 1030627 w 4519987"/>
                    <a:gd name="connsiteY96" fmla="*/ 4124325 h 4496940"/>
                    <a:gd name="connsiteX97" fmla="*/ 925852 w 4519987"/>
                    <a:gd name="connsiteY97" fmla="*/ 4067175 h 4496940"/>
                    <a:gd name="connsiteX98" fmla="*/ 830602 w 4519987"/>
                    <a:gd name="connsiteY98" fmla="*/ 3981450 h 4496940"/>
                    <a:gd name="connsiteX99" fmla="*/ 763927 w 4519987"/>
                    <a:gd name="connsiteY99" fmla="*/ 3914775 h 4496940"/>
                    <a:gd name="connsiteX100" fmla="*/ 725827 w 4519987"/>
                    <a:gd name="connsiteY100" fmla="*/ 3876675 h 4496940"/>
                    <a:gd name="connsiteX101" fmla="*/ 697252 w 4519987"/>
                    <a:gd name="connsiteY101" fmla="*/ 3838575 h 4496940"/>
                    <a:gd name="connsiteX102" fmla="*/ 640102 w 4519987"/>
                    <a:gd name="connsiteY102" fmla="*/ 3781425 h 4496940"/>
                    <a:gd name="connsiteX103" fmla="*/ 611527 w 4519987"/>
                    <a:gd name="connsiteY103" fmla="*/ 3733800 h 4496940"/>
                    <a:gd name="connsiteX104" fmla="*/ 554377 w 4519987"/>
                    <a:gd name="connsiteY104" fmla="*/ 3657600 h 4496940"/>
                    <a:gd name="connsiteX105" fmla="*/ 525802 w 4519987"/>
                    <a:gd name="connsiteY105" fmla="*/ 3609975 h 4496940"/>
                    <a:gd name="connsiteX106" fmla="*/ 497227 w 4519987"/>
                    <a:gd name="connsiteY106" fmla="*/ 3552825 h 4496940"/>
                    <a:gd name="connsiteX107" fmla="*/ 440077 w 4519987"/>
                    <a:gd name="connsiteY107" fmla="*/ 3495675 h 4496940"/>
                    <a:gd name="connsiteX108" fmla="*/ 411502 w 4519987"/>
                    <a:gd name="connsiteY108" fmla="*/ 3448050 h 4496940"/>
                    <a:gd name="connsiteX109" fmla="*/ 278152 w 4519987"/>
                    <a:gd name="connsiteY109" fmla="*/ 3257550 h 4496940"/>
                    <a:gd name="connsiteX110" fmla="*/ 249577 w 4519987"/>
                    <a:gd name="connsiteY110" fmla="*/ 3200400 h 4496940"/>
                    <a:gd name="connsiteX111" fmla="*/ 240052 w 4519987"/>
                    <a:gd name="connsiteY111" fmla="*/ 3162300 h 4496940"/>
                    <a:gd name="connsiteX112" fmla="*/ 221002 w 4519987"/>
                    <a:gd name="connsiteY112" fmla="*/ 3105150 h 4496940"/>
                    <a:gd name="connsiteX113" fmla="*/ 173377 w 4519987"/>
                    <a:gd name="connsiteY113" fmla="*/ 3019425 h 4496940"/>
                    <a:gd name="connsiteX114" fmla="*/ 144802 w 4519987"/>
                    <a:gd name="connsiteY114" fmla="*/ 2924175 h 4496940"/>
                    <a:gd name="connsiteX115" fmla="*/ 68602 w 4519987"/>
                    <a:gd name="connsiteY115" fmla="*/ 2724150 h 4496940"/>
                    <a:gd name="connsiteX116" fmla="*/ 49552 w 4519987"/>
                    <a:gd name="connsiteY116" fmla="*/ 2638425 h 4496940"/>
                    <a:gd name="connsiteX117" fmla="*/ 40027 w 4519987"/>
                    <a:gd name="connsiteY117" fmla="*/ 2562225 h 4496940"/>
                    <a:gd name="connsiteX118" fmla="*/ 30502 w 4519987"/>
                    <a:gd name="connsiteY118" fmla="*/ 2514600 h 4496940"/>
                    <a:gd name="connsiteX119" fmla="*/ 11452 w 4519987"/>
                    <a:gd name="connsiteY119" fmla="*/ 2400300 h 4496940"/>
                    <a:gd name="connsiteX120" fmla="*/ 20977 w 4519987"/>
                    <a:gd name="connsiteY120" fmla="*/ 1905000 h 4496940"/>
                    <a:gd name="connsiteX121" fmla="*/ 30502 w 4519987"/>
                    <a:gd name="connsiteY121" fmla="*/ 1838325 h 4496940"/>
                    <a:gd name="connsiteX122" fmla="*/ 49552 w 4519987"/>
                    <a:gd name="connsiteY122" fmla="*/ 1781175 h 4496940"/>
                    <a:gd name="connsiteX123" fmla="*/ 59077 w 4519987"/>
                    <a:gd name="connsiteY123" fmla="*/ 1743075 h 4496940"/>
                    <a:gd name="connsiteX124" fmla="*/ 78127 w 4519987"/>
                    <a:gd name="connsiteY124" fmla="*/ 1685925 h 4496940"/>
                    <a:gd name="connsiteX125" fmla="*/ 87652 w 4519987"/>
                    <a:gd name="connsiteY125" fmla="*/ 1638300 h 4496940"/>
                    <a:gd name="connsiteX126" fmla="*/ 106702 w 4519987"/>
                    <a:gd name="connsiteY126" fmla="*/ 1590675 h 4496940"/>
                    <a:gd name="connsiteX127" fmla="*/ 135277 w 4519987"/>
                    <a:gd name="connsiteY127" fmla="*/ 1504950 h 4496940"/>
                    <a:gd name="connsiteX128" fmla="*/ 154327 w 4519987"/>
                    <a:gd name="connsiteY128" fmla="*/ 1419225 h 4496940"/>
                    <a:gd name="connsiteX129" fmla="*/ 230527 w 4519987"/>
                    <a:gd name="connsiteY129" fmla="*/ 1276350 h 4496940"/>
                    <a:gd name="connsiteX130" fmla="*/ 240052 w 4519987"/>
                    <a:gd name="connsiteY130" fmla="*/ 1247775 h 4496940"/>
                    <a:gd name="connsiteX131" fmla="*/ 268627 w 4519987"/>
                    <a:gd name="connsiteY131" fmla="*/ 1200150 h 4496940"/>
                    <a:gd name="connsiteX132" fmla="*/ 287677 w 4519987"/>
                    <a:gd name="connsiteY132" fmla="*/ 1152525 h 4496940"/>
                    <a:gd name="connsiteX133" fmla="*/ 316252 w 4519987"/>
                    <a:gd name="connsiteY133" fmla="*/ 1114425 h 4496940"/>
                    <a:gd name="connsiteX134" fmla="*/ 363877 w 4519987"/>
                    <a:gd name="connsiteY134" fmla="*/ 1038225 h 4496940"/>
                    <a:gd name="connsiteX135" fmla="*/ 382927 w 4519987"/>
                    <a:gd name="connsiteY135" fmla="*/ 1009650 h 4496940"/>
                    <a:gd name="connsiteX136" fmla="*/ 440077 w 4519987"/>
                    <a:gd name="connsiteY136" fmla="*/ 904875 h 4496940"/>
                    <a:gd name="connsiteX137" fmla="*/ 478177 w 4519987"/>
                    <a:gd name="connsiteY137" fmla="*/ 857250 h 4496940"/>
                    <a:gd name="connsiteX138" fmla="*/ 497227 w 4519987"/>
                    <a:gd name="connsiteY138" fmla="*/ 828675 h 4496940"/>
                    <a:gd name="connsiteX139" fmla="*/ 535327 w 4519987"/>
                    <a:gd name="connsiteY139" fmla="*/ 800100 h 4496940"/>
                    <a:gd name="connsiteX140" fmla="*/ 602002 w 4519987"/>
                    <a:gd name="connsiteY140" fmla="*/ 733425 h 4496940"/>
                    <a:gd name="connsiteX141" fmla="*/ 668677 w 4519987"/>
                    <a:gd name="connsiteY141" fmla="*/ 676275 h 4496940"/>
                    <a:gd name="connsiteX142" fmla="*/ 697252 w 4519987"/>
                    <a:gd name="connsiteY142" fmla="*/ 657225 h 4496940"/>
                    <a:gd name="connsiteX143" fmla="*/ 840127 w 4519987"/>
                    <a:gd name="connsiteY143" fmla="*/ 533400 h 4496940"/>
                    <a:gd name="connsiteX144" fmla="*/ 887752 w 4519987"/>
                    <a:gd name="connsiteY144" fmla="*/ 504825 h 4496940"/>
                    <a:gd name="connsiteX145" fmla="*/ 1167152 w 4519987"/>
                    <a:gd name="connsiteY145" fmla="*/ 311150 h 4496940"/>
                    <a:gd name="connsiteX146" fmla="*/ 1268752 w 4519987"/>
                    <a:gd name="connsiteY146" fmla="*/ 285750 h 4496940"/>
                    <a:gd name="connsiteX147" fmla="*/ 1411627 w 4519987"/>
                    <a:gd name="connsiteY147" fmla="*/ 190500 h 4496940"/>
                    <a:gd name="connsiteX148" fmla="*/ 1449727 w 4519987"/>
                    <a:gd name="connsiteY148" fmla="*/ 161925 h 4496940"/>
                    <a:gd name="connsiteX149" fmla="*/ 1525927 w 4519987"/>
                    <a:gd name="connsiteY149" fmla="*/ 152400 h 4496940"/>
                    <a:gd name="connsiteX150" fmla="*/ 1583077 w 4519987"/>
                    <a:gd name="connsiteY150" fmla="*/ 142875 h 4496940"/>
                    <a:gd name="connsiteX151" fmla="*/ 1716427 w 4519987"/>
                    <a:gd name="connsiteY151" fmla="*/ 123825 h 4496940"/>
                    <a:gd name="connsiteX152" fmla="*/ 1811677 w 4519987"/>
                    <a:gd name="connsiteY152" fmla="*/ 114300 h 4496940"/>
                    <a:gd name="connsiteX153" fmla="*/ 1859302 w 4519987"/>
                    <a:gd name="connsiteY153" fmla="*/ 104775 h 4496940"/>
                    <a:gd name="connsiteX154" fmla="*/ 1916452 w 4519987"/>
                    <a:gd name="connsiteY154" fmla="*/ 95250 h 4496940"/>
                    <a:gd name="connsiteX155" fmla="*/ 2030752 w 4519987"/>
                    <a:gd name="connsiteY155" fmla="*/ 66675 h 4496940"/>
                    <a:gd name="connsiteX156" fmla="*/ 2097427 w 4519987"/>
                    <a:gd name="connsiteY156" fmla="*/ 47625 h 4496940"/>
                    <a:gd name="connsiteX157" fmla="*/ 2164102 w 4519987"/>
                    <a:gd name="connsiteY157" fmla="*/ 38100 h 4496940"/>
                    <a:gd name="connsiteX158" fmla="*/ 2392702 w 4519987"/>
                    <a:gd name="connsiteY15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16727 w 4519987"/>
                    <a:gd name="connsiteY30" fmla="*/ 904875 h 4496940"/>
                    <a:gd name="connsiteX31" fmla="*/ 4135777 w 4519987"/>
                    <a:gd name="connsiteY31" fmla="*/ 933450 h 4496940"/>
                    <a:gd name="connsiteX32" fmla="*/ 4164352 w 4519987"/>
                    <a:gd name="connsiteY32" fmla="*/ 990600 h 4496940"/>
                    <a:gd name="connsiteX33" fmla="*/ 4173877 w 4519987"/>
                    <a:gd name="connsiteY33" fmla="*/ 1019175 h 4496940"/>
                    <a:gd name="connsiteX34" fmla="*/ 4192927 w 4519987"/>
                    <a:gd name="connsiteY34" fmla="*/ 1057275 h 4496940"/>
                    <a:gd name="connsiteX35" fmla="*/ 4202452 w 4519987"/>
                    <a:gd name="connsiteY35" fmla="*/ 1085850 h 4496940"/>
                    <a:gd name="connsiteX36" fmla="*/ 4250077 w 4519987"/>
                    <a:gd name="connsiteY36" fmla="*/ 1143000 h 4496940"/>
                    <a:gd name="connsiteX37" fmla="*/ 4259602 w 4519987"/>
                    <a:gd name="connsiteY37" fmla="*/ 1190625 h 4496940"/>
                    <a:gd name="connsiteX38" fmla="*/ 4307227 w 4519987"/>
                    <a:gd name="connsiteY38" fmla="*/ 1266825 h 4496940"/>
                    <a:gd name="connsiteX39" fmla="*/ 4345327 w 4519987"/>
                    <a:gd name="connsiteY39" fmla="*/ 1362075 h 4496940"/>
                    <a:gd name="connsiteX40" fmla="*/ 4373902 w 4519987"/>
                    <a:gd name="connsiteY40" fmla="*/ 1428750 h 4496940"/>
                    <a:gd name="connsiteX41" fmla="*/ 4392952 w 4519987"/>
                    <a:gd name="connsiteY41" fmla="*/ 1552575 h 4496940"/>
                    <a:gd name="connsiteX42" fmla="*/ 4402477 w 4519987"/>
                    <a:gd name="connsiteY42" fmla="*/ 1590675 h 4496940"/>
                    <a:gd name="connsiteX43" fmla="*/ 4431052 w 4519987"/>
                    <a:gd name="connsiteY43" fmla="*/ 1685925 h 4496940"/>
                    <a:gd name="connsiteX44" fmla="*/ 4519952 w 4519987"/>
                    <a:gd name="connsiteY44" fmla="*/ 2181225 h 4496940"/>
                    <a:gd name="connsiteX45" fmla="*/ 4446927 w 4519987"/>
                    <a:gd name="connsiteY45" fmla="*/ 2768600 h 4496940"/>
                    <a:gd name="connsiteX46" fmla="*/ 4383427 w 4519987"/>
                    <a:gd name="connsiteY46" fmla="*/ 2990850 h 4496940"/>
                    <a:gd name="connsiteX47" fmla="*/ 4278652 w 4519987"/>
                    <a:gd name="connsiteY47" fmla="*/ 3248025 h 4496940"/>
                    <a:gd name="connsiteX48" fmla="*/ 4259602 w 4519987"/>
                    <a:gd name="connsiteY48" fmla="*/ 3276600 h 4496940"/>
                    <a:gd name="connsiteX49" fmla="*/ 4221502 w 4519987"/>
                    <a:gd name="connsiteY49" fmla="*/ 3333750 h 4496940"/>
                    <a:gd name="connsiteX50" fmla="*/ 4211977 w 4519987"/>
                    <a:gd name="connsiteY50" fmla="*/ 3362325 h 4496940"/>
                    <a:gd name="connsiteX51" fmla="*/ 4183402 w 4519987"/>
                    <a:gd name="connsiteY51" fmla="*/ 3400425 h 4496940"/>
                    <a:gd name="connsiteX52" fmla="*/ 4164352 w 4519987"/>
                    <a:gd name="connsiteY52" fmla="*/ 3429000 h 4496940"/>
                    <a:gd name="connsiteX53" fmla="*/ 4088152 w 4519987"/>
                    <a:gd name="connsiteY53" fmla="*/ 3495675 h 4496940"/>
                    <a:gd name="connsiteX54" fmla="*/ 4059577 w 4519987"/>
                    <a:gd name="connsiteY54" fmla="*/ 3533775 h 4496940"/>
                    <a:gd name="connsiteX55" fmla="*/ 4002427 w 4519987"/>
                    <a:gd name="connsiteY55" fmla="*/ 3600450 h 4496940"/>
                    <a:gd name="connsiteX56" fmla="*/ 3983377 w 4519987"/>
                    <a:gd name="connsiteY56" fmla="*/ 3629025 h 4496940"/>
                    <a:gd name="connsiteX57" fmla="*/ 3954802 w 4519987"/>
                    <a:gd name="connsiteY57" fmla="*/ 3648075 h 4496940"/>
                    <a:gd name="connsiteX58" fmla="*/ 3907177 w 4519987"/>
                    <a:gd name="connsiteY58" fmla="*/ 3686175 h 4496940"/>
                    <a:gd name="connsiteX59" fmla="*/ 3869077 w 4519987"/>
                    <a:gd name="connsiteY59" fmla="*/ 3724275 h 4496940"/>
                    <a:gd name="connsiteX60" fmla="*/ 3792877 w 4519987"/>
                    <a:gd name="connsiteY60" fmla="*/ 3781425 h 4496940"/>
                    <a:gd name="connsiteX61" fmla="*/ 3783352 w 4519987"/>
                    <a:gd name="connsiteY61" fmla="*/ 3810000 h 4496940"/>
                    <a:gd name="connsiteX62" fmla="*/ 3745252 w 4519987"/>
                    <a:gd name="connsiteY62" fmla="*/ 3819525 h 4496940"/>
                    <a:gd name="connsiteX63" fmla="*/ 3678577 w 4519987"/>
                    <a:gd name="connsiteY63" fmla="*/ 3848100 h 4496940"/>
                    <a:gd name="connsiteX64" fmla="*/ 3659527 w 4519987"/>
                    <a:gd name="connsiteY64" fmla="*/ 3971925 h 4496940"/>
                    <a:gd name="connsiteX65" fmla="*/ 3630952 w 4519987"/>
                    <a:gd name="connsiteY65" fmla="*/ 4010025 h 4496940"/>
                    <a:gd name="connsiteX66" fmla="*/ 3621427 w 4519987"/>
                    <a:gd name="connsiteY66" fmla="*/ 4038600 h 4496940"/>
                    <a:gd name="connsiteX67" fmla="*/ 3554752 w 4519987"/>
                    <a:gd name="connsiteY67" fmla="*/ 4095750 h 4496940"/>
                    <a:gd name="connsiteX68" fmla="*/ 3516652 w 4519987"/>
                    <a:gd name="connsiteY68" fmla="*/ 4114800 h 4496940"/>
                    <a:gd name="connsiteX69" fmla="*/ 3497602 w 4519987"/>
                    <a:gd name="connsiteY69" fmla="*/ 4143375 h 4496940"/>
                    <a:gd name="connsiteX70" fmla="*/ 3383302 w 4519987"/>
                    <a:gd name="connsiteY70" fmla="*/ 4210050 h 4496940"/>
                    <a:gd name="connsiteX71" fmla="*/ 3335677 w 4519987"/>
                    <a:gd name="connsiteY71" fmla="*/ 4238625 h 4496940"/>
                    <a:gd name="connsiteX72" fmla="*/ 3288052 w 4519987"/>
                    <a:gd name="connsiteY72" fmla="*/ 4248150 h 4496940"/>
                    <a:gd name="connsiteX73" fmla="*/ 3240427 w 4519987"/>
                    <a:gd name="connsiteY73" fmla="*/ 4267200 h 4496940"/>
                    <a:gd name="connsiteX74" fmla="*/ 3068977 w 4519987"/>
                    <a:gd name="connsiteY74" fmla="*/ 4286250 h 4496940"/>
                    <a:gd name="connsiteX75" fmla="*/ 2935627 w 4519987"/>
                    <a:gd name="connsiteY75" fmla="*/ 4333875 h 4496940"/>
                    <a:gd name="connsiteX76" fmla="*/ 2811802 w 4519987"/>
                    <a:gd name="connsiteY76" fmla="*/ 4371975 h 4496940"/>
                    <a:gd name="connsiteX77" fmla="*/ 2745127 w 4519987"/>
                    <a:gd name="connsiteY77" fmla="*/ 4410075 h 4496940"/>
                    <a:gd name="connsiteX78" fmla="*/ 2697502 w 4519987"/>
                    <a:gd name="connsiteY78" fmla="*/ 4429125 h 4496940"/>
                    <a:gd name="connsiteX79" fmla="*/ 2640352 w 4519987"/>
                    <a:gd name="connsiteY79" fmla="*/ 4457700 h 4496940"/>
                    <a:gd name="connsiteX80" fmla="*/ 2583202 w 4519987"/>
                    <a:gd name="connsiteY80" fmla="*/ 4467225 h 4496940"/>
                    <a:gd name="connsiteX81" fmla="*/ 2545102 w 4519987"/>
                    <a:gd name="connsiteY81" fmla="*/ 4486275 h 4496940"/>
                    <a:gd name="connsiteX82" fmla="*/ 2306977 w 4519987"/>
                    <a:gd name="connsiteY82" fmla="*/ 4476750 h 4496940"/>
                    <a:gd name="connsiteX83" fmla="*/ 2202202 w 4519987"/>
                    <a:gd name="connsiteY83" fmla="*/ 4457700 h 4496940"/>
                    <a:gd name="connsiteX84" fmla="*/ 2126002 w 4519987"/>
                    <a:gd name="connsiteY84" fmla="*/ 4429125 h 4496940"/>
                    <a:gd name="connsiteX85" fmla="*/ 1935502 w 4519987"/>
                    <a:gd name="connsiteY85" fmla="*/ 4400550 h 4496940"/>
                    <a:gd name="connsiteX86" fmla="*/ 1821202 w 4519987"/>
                    <a:gd name="connsiteY86" fmla="*/ 4371975 h 4496940"/>
                    <a:gd name="connsiteX87" fmla="*/ 1754527 w 4519987"/>
                    <a:gd name="connsiteY87" fmla="*/ 4352925 h 4496940"/>
                    <a:gd name="connsiteX88" fmla="*/ 1687852 w 4519987"/>
                    <a:gd name="connsiteY88" fmla="*/ 4343400 h 4496940"/>
                    <a:gd name="connsiteX89" fmla="*/ 1573552 w 4519987"/>
                    <a:gd name="connsiteY89" fmla="*/ 4305300 h 4496940"/>
                    <a:gd name="connsiteX90" fmla="*/ 1402102 w 4519987"/>
                    <a:gd name="connsiteY90" fmla="*/ 4276725 h 4496940"/>
                    <a:gd name="connsiteX91" fmla="*/ 1287802 w 4519987"/>
                    <a:gd name="connsiteY91" fmla="*/ 4229100 h 4496940"/>
                    <a:gd name="connsiteX92" fmla="*/ 1221127 w 4519987"/>
                    <a:gd name="connsiteY92" fmla="*/ 4200525 h 4496940"/>
                    <a:gd name="connsiteX93" fmla="*/ 1144927 w 4519987"/>
                    <a:gd name="connsiteY93" fmla="*/ 4171950 h 4496940"/>
                    <a:gd name="connsiteX94" fmla="*/ 1087777 w 4519987"/>
                    <a:gd name="connsiteY94" fmla="*/ 4143375 h 4496940"/>
                    <a:gd name="connsiteX95" fmla="*/ 1030627 w 4519987"/>
                    <a:gd name="connsiteY95" fmla="*/ 4124325 h 4496940"/>
                    <a:gd name="connsiteX96" fmla="*/ 925852 w 4519987"/>
                    <a:gd name="connsiteY96" fmla="*/ 4067175 h 4496940"/>
                    <a:gd name="connsiteX97" fmla="*/ 830602 w 4519987"/>
                    <a:gd name="connsiteY97" fmla="*/ 3981450 h 4496940"/>
                    <a:gd name="connsiteX98" fmla="*/ 763927 w 4519987"/>
                    <a:gd name="connsiteY98" fmla="*/ 3914775 h 4496940"/>
                    <a:gd name="connsiteX99" fmla="*/ 725827 w 4519987"/>
                    <a:gd name="connsiteY99" fmla="*/ 3876675 h 4496940"/>
                    <a:gd name="connsiteX100" fmla="*/ 697252 w 4519987"/>
                    <a:gd name="connsiteY100" fmla="*/ 3838575 h 4496940"/>
                    <a:gd name="connsiteX101" fmla="*/ 640102 w 4519987"/>
                    <a:gd name="connsiteY101" fmla="*/ 3781425 h 4496940"/>
                    <a:gd name="connsiteX102" fmla="*/ 611527 w 4519987"/>
                    <a:gd name="connsiteY102" fmla="*/ 3733800 h 4496940"/>
                    <a:gd name="connsiteX103" fmla="*/ 554377 w 4519987"/>
                    <a:gd name="connsiteY103" fmla="*/ 3657600 h 4496940"/>
                    <a:gd name="connsiteX104" fmla="*/ 525802 w 4519987"/>
                    <a:gd name="connsiteY104" fmla="*/ 3609975 h 4496940"/>
                    <a:gd name="connsiteX105" fmla="*/ 497227 w 4519987"/>
                    <a:gd name="connsiteY105" fmla="*/ 3552825 h 4496940"/>
                    <a:gd name="connsiteX106" fmla="*/ 440077 w 4519987"/>
                    <a:gd name="connsiteY106" fmla="*/ 3495675 h 4496940"/>
                    <a:gd name="connsiteX107" fmla="*/ 411502 w 4519987"/>
                    <a:gd name="connsiteY107" fmla="*/ 3448050 h 4496940"/>
                    <a:gd name="connsiteX108" fmla="*/ 278152 w 4519987"/>
                    <a:gd name="connsiteY108" fmla="*/ 3257550 h 4496940"/>
                    <a:gd name="connsiteX109" fmla="*/ 249577 w 4519987"/>
                    <a:gd name="connsiteY109" fmla="*/ 3200400 h 4496940"/>
                    <a:gd name="connsiteX110" fmla="*/ 240052 w 4519987"/>
                    <a:gd name="connsiteY110" fmla="*/ 3162300 h 4496940"/>
                    <a:gd name="connsiteX111" fmla="*/ 221002 w 4519987"/>
                    <a:gd name="connsiteY111" fmla="*/ 3105150 h 4496940"/>
                    <a:gd name="connsiteX112" fmla="*/ 173377 w 4519987"/>
                    <a:gd name="connsiteY112" fmla="*/ 3019425 h 4496940"/>
                    <a:gd name="connsiteX113" fmla="*/ 144802 w 4519987"/>
                    <a:gd name="connsiteY113" fmla="*/ 2924175 h 4496940"/>
                    <a:gd name="connsiteX114" fmla="*/ 68602 w 4519987"/>
                    <a:gd name="connsiteY114" fmla="*/ 2724150 h 4496940"/>
                    <a:gd name="connsiteX115" fmla="*/ 49552 w 4519987"/>
                    <a:gd name="connsiteY115" fmla="*/ 2638425 h 4496940"/>
                    <a:gd name="connsiteX116" fmla="*/ 40027 w 4519987"/>
                    <a:gd name="connsiteY116" fmla="*/ 2562225 h 4496940"/>
                    <a:gd name="connsiteX117" fmla="*/ 30502 w 4519987"/>
                    <a:gd name="connsiteY117" fmla="*/ 2514600 h 4496940"/>
                    <a:gd name="connsiteX118" fmla="*/ 11452 w 4519987"/>
                    <a:gd name="connsiteY118" fmla="*/ 2400300 h 4496940"/>
                    <a:gd name="connsiteX119" fmla="*/ 20977 w 4519987"/>
                    <a:gd name="connsiteY119" fmla="*/ 1905000 h 4496940"/>
                    <a:gd name="connsiteX120" fmla="*/ 30502 w 4519987"/>
                    <a:gd name="connsiteY120" fmla="*/ 1838325 h 4496940"/>
                    <a:gd name="connsiteX121" fmla="*/ 49552 w 4519987"/>
                    <a:gd name="connsiteY121" fmla="*/ 1781175 h 4496940"/>
                    <a:gd name="connsiteX122" fmla="*/ 59077 w 4519987"/>
                    <a:gd name="connsiteY122" fmla="*/ 1743075 h 4496940"/>
                    <a:gd name="connsiteX123" fmla="*/ 78127 w 4519987"/>
                    <a:gd name="connsiteY123" fmla="*/ 1685925 h 4496940"/>
                    <a:gd name="connsiteX124" fmla="*/ 87652 w 4519987"/>
                    <a:gd name="connsiteY124" fmla="*/ 1638300 h 4496940"/>
                    <a:gd name="connsiteX125" fmla="*/ 106702 w 4519987"/>
                    <a:gd name="connsiteY125" fmla="*/ 1590675 h 4496940"/>
                    <a:gd name="connsiteX126" fmla="*/ 135277 w 4519987"/>
                    <a:gd name="connsiteY126" fmla="*/ 1504950 h 4496940"/>
                    <a:gd name="connsiteX127" fmla="*/ 154327 w 4519987"/>
                    <a:gd name="connsiteY127" fmla="*/ 1419225 h 4496940"/>
                    <a:gd name="connsiteX128" fmla="*/ 230527 w 4519987"/>
                    <a:gd name="connsiteY128" fmla="*/ 1276350 h 4496940"/>
                    <a:gd name="connsiteX129" fmla="*/ 240052 w 4519987"/>
                    <a:gd name="connsiteY129" fmla="*/ 1247775 h 4496940"/>
                    <a:gd name="connsiteX130" fmla="*/ 268627 w 4519987"/>
                    <a:gd name="connsiteY130" fmla="*/ 1200150 h 4496940"/>
                    <a:gd name="connsiteX131" fmla="*/ 287677 w 4519987"/>
                    <a:gd name="connsiteY131" fmla="*/ 1152525 h 4496940"/>
                    <a:gd name="connsiteX132" fmla="*/ 316252 w 4519987"/>
                    <a:gd name="connsiteY132" fmla="*/ 1114425 h 4496940"/>
                    <a:gd name="connsiteX133" fmla="*/ 363877 w 4519987"/>
                    <a:gd name="connsiteY133" fmla="*/ 1038225 h 4496940"/>
                    <a:gd name="connsiteX134" fmla="*/ 382927 w 4519987"/>
                    <a:gd name="connsiteY134" fmla="*/ 1009650 h 4496940"/>
                    <a:gd name="connsiteX135" fmla="*/ 440077 w 4519987"/>
                    <a:gd name="connsiteY135" fmla="*/ 904875 h 4496940"/>
                    <a:gd name="connsiteX136" fmla="*/ 478177 w 4519987"/>
                    <a:gd name="connsiteY136" fmla="*/ 857250 h 4496940"/>
                    <a:gd name="connsiteX137" fmla="*/ 497227 w 4519987"/>
                    <a:gd name="connsiteY137" fmla="*/ 828675 h 4496940"/>
                    <a:gd name="connsiteX138" fmla="*/ 535327 w 4519987"/>
                    <a:gd name="connsiteY138" fmla="*/ 800100 h 4496940"/>
                    <a:gd name="connsiteX139" fmla="*/ 602002 w 4519987"/>
                    <a:gd name="connsiteY139" fmla="*/ 733425 h 4496940"/>
                    <a:gd name="connsiteX140" fmla="*/ 668677 w 4519987"/>
                    <a:gd name="connsiteY140" fmla="*/ 676275 h 4496940"/>
                    <a:gd name="connsiteX141" fmla="*/ 697252 w 4519987"/>
                    <a:gd name="connsiteY141" fmla="*/ 657225 h 4496940"/>
                    <a:gd name="connsiteX142" fmla="*/ 840127 w 4519987"/>
                    <a:gd name="connsiteY142" fmla="*/ 533400 h 4496940"/>
                    <a:gd name="connsiteX143" fmla="*/ 887752 w 4519987"/>
                    <a:gd name="connsiteY143" fmla="*/ 504825 h 4496940"/>
                    <a:gd name="connsiteX144" fmla="*/ 1167152 w 4519987"/>
                    <a:gd name="connsiteY144" fmla="*/ 311150 h 4496940"/>
                    <a:gd name="connsiteX145" fmla="*/ 1268752 w 4519987"/>
                    <a:gd name="connsiteY145" fmla="*/ 285750 h 4496940"/>
                    <a:gd name="connsiteX146" fmla="*/ 1411627 w 4519987"/>
                    <a:gd name="connsiteY146" fmla="*/ 190500 h 4496940"/>
                    <a:gd name="connsiteX147" fmla="*/ 1449727 w 4519987"/>
                    <a:gd name="connsiteY147" fmla="*/ 161925 h 4496940"/>
                    <a:gd name="connsiteX148" fmla="*/ 1525927 w 4519987"/>
                    <a:gd name="connsiteY148" fmla="*/ 152400 h 4496940"/>
                    <a:gd name="connsiteX149" fmla="*/ 1583077 w 4519987"/>
                    <a:gd name="connsiteY149" fmla="*/ 142875 h 4496940"/>
                    <a:gd name="connsiteX150" fmla="*/ 1716427 w 4519987"/>
                    <a:gd name="connsiteY150" fmla="*/ 123825 h 4496940"/>
                    <a:gd name="connsiteX151" fmla="*/ 1811677 w 4519987"/>
                    <a:gd name="connsiteY151" fmla="*/ 114300 h 4496940"/>
                    <a:gd name="connsiteX152" fmla="*/ 1859302 w 4519987"/>
                    <a:gd name="connsiteY152" fmla="*/ 104775 h 4496940"/>
                    <a:gd name="connsiteX153" fmla="*/ 1916452 w 4519987"/>
                    <a:gd name="connsiteY153" fmla="*/ 95250 h 4496940"/>
                    <a:gd name="connsiteX154" fmla="*/ 2030752 w 4519987"/>
                    <a:gd name="connsiteY154" fmla="*/ 66675 h 4496940"/>
                    <a:gd name="connsiteX155" fmla="*/ 2097427 w 4519987"/>
                    <a:gd name="connsiteY155" fmla="*/ 47625 h 4496940"/>
                    <a:gd name="connsiteX156" fmla="*/ 2164102 w 4519987"/>
                    <a:gd name="connsiteY156" fmla="*/ 38100 h 4496940"/>
                    <a:gd name="connsiteX157" fmla="*/ 2392702 w 4519987"/>
                    <a:gd name="connsiteY15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35777 w 4519987"/>
                    <a:gd name="connsiteY30" fmla="*/ 933450 h 4496940"/>
                    <a:gd name="connsiteX31" fmla="*/ 4164352 w 4519987"/>
                    <a:gd name="connsiteY31" fmla="*/ 990600 h 4496940"/>
                    <a:gd name="connsiteX32" fmla="*/ 4173877 w 4519987"/>
                    <a:gd name="connsiteY32" fmla="*/ 1019175 h 4496940"/>
                    <a:gd name="connsiteX33" fmla="*/ 4192927 w 4519987"/>
                    <a:gd name="connsiteY33" fmla="*/ 1057275 h 4496940"/>
                    <a:gd name="connsiteX34" fmla="*/ 4202452 w 4519987"/>
                    <a:gd name="connsiteY34" fmla="*/ 1085850 h 4496940"/>
                    <a:gd name="connsiteX35" fmla="*/ 4250077 w 4519987"/>
                    <a:gd name="connsiteY35" fmla="*/ 1143000 h 4496940"/>
                    <a:gd name="connsiteX36" fmla="*/ 4259602 w 4519987"/>
                    <a:gd name="connsiteY36" fmla="*/ 1190625 h 4496940"/>
                    <a:gd name="connsiteX37" fmla="*/ 4307227 w 4519987"/>
                    <a:gd name="connsiteY37" fmla="*/ 1266825 h 4496940"/>
                    <a:gd name="connsiteX38" fmla="*/ 4345327 w 4519987"/>
                    <a:gd name="connsiteY38" fmla="*/ 1362075 h 4496940"/>
                    <a:gd name="connsiteX39" fmla="*/ 4373902 w 4519987"/>
                    <a:gd name="connsiteY39" fmla="*/ 1428750 h 4496940"/>
                    <a:gd name="connsiteX40" fmla="*/ 4392952 w 4519987"/>
                    <a:gd name="connsiteY40" fmla="*/ 1552575 h 4496940"/>
                    <a:gd name="connsiteX41" fmla="*/ 4402477 w 4519987"/>
                    <a:gd name="connsiteY41" fmla="*/ 1590675 h 4496940"/>
                    <a:gd name="connsiteX42" fmla="*/ 4431052 w 4519987"/>
                    <a:gd name="connsiteY42" fmla="*/ 1685925 h 4496940"/>
                    <a:gd name="connsiteX43" fmla="*/ 4519952 w 4519987"/>
                    <a:gd name="connsiteY43" fmla="*/ 2181225 h 4496940"/>
                    <a:gd name="connsiteX44" fmla="*/ 4446927 w 4519987"/>
                    <a:gd name="connsiteY44" fmla="*/ 2768600 h 4496940"/>
                    <a:gd name="connsiteX45" fmla="*/ 4383427 w 4519987"/>
                    <a:gd name="connsiteY45" fmla="*/ 2990850 h 4496940"/>
                    <a:gd name="connsiteX46" fmla="*/ 4278652 w 4519987"/>
                    <a:gd name="connsiteY46" fmla="*/ 3248025 h 4496940"/>
                    <a:gd name="connsiteX47" fmla="*/ 4259602 w 4519987"/>
                    <a:gd name="connsiteY47" fmla="*/ 3276600 h 4496940"/>
                    <a:gd name="connsiteX48" fmla="*/ 4221502 w 4519987"/>
                    <a:gd name="connsiteY48" fmla="*/ 3333750 h 4496940"/>
                    <a:gd name="connsiteX49" fmla="*/ 4211977 w 4519987"/>
                    <a:gd name="connsiteY49" fmla="*/ 3362325 h 4496940"/>
                    <a:gd name="connsiteX50" fmla="*/ 4183402 w 4519987"/>
                    <a:gd name="connsiteY50" fmla="*/ 3400425 h 4496940"/>
                    <a:gd name="connsiteX51" fmla="*/ 4164352 w 4519987"/>
                    <a:gd name="connsiteY51" fmla="*/ 3429000 h 4496940"/>
                    <a:gd name="connsiteX52" fmla="*/ 4088152 w 4519987"/>
                    <a:gd name="connsiteY52" fmla="*/ 3495675 h 4496940"/>
                    <a:gd name="connsiteX53" fmla="*/ 4059577 w 4519987"/>
                    <a:gd name="connsiteY53" fmla="*/ 3533775 h 4496940"/>
                    <a:gd name="connsiteX54" fmla="*/ 4002427 w 4519987"/>
                    <a:gd name="connsiteY54" fmla="*/ 3600450 h 4496940"/>
                    <a:gd name="connsiteX55" fmla="*/ 3983377 w 4519987"/>
                    <a:gd name="connsiteY55" fmla="*/ 3629025 h 4496940"/>
                    <a:gd name="connsiteX56" fmla="*/ 3954802 w 4519987"/>
                    <a:gd name="connsiteY56" fmla="*/ 3648075 h 4496940"/>
                    <a:gd name="connsiteX57" fmla="*/ 3907177 w 4519987"/>
                    <a:gd name="connsiteY57" fmla="*/ 3686175 h 4496940"/>
                    <a:gd name="connsiteX58" fmla="*/ 3869077 w 4519987"/>
                    <a:gd name="connsiteY58" fmla="*/ 3724275 h 4496940"/>
                    <a:gd name="connsiteX59" fmla="*/ 3792877 w 4519987"/>
                    <a:gd name="connsiteY59" fmla="*/ 3781425 h 4496940"/>
                    <a:gd name="connsiteX60" fmla="*/ 3783352 w 4519987"/>
                    <a:gd name="connsiteY60" fmla="*/ 3810000 h 4496940"/>
                    <a:gd name="connsiteX61" fmla="*/ 3745252 w 4519987"/>
                    <a:gd name="connsiteY61" fmla="*/ 3819525 h 4496940"/>
                    <a:gd name="connsiteX62" fmla="*/ 3678577 w 4519987"/>
                    <a:gd name="connsiteY62" fmla="*/ 3848100 h 4496940"/>
                    <a:gd name="connsiteX63" fmla="*/ 3659527 w 4519987"/>
                    <a:gd name="connsiteY63" fmla="*/ 3971925 h 4496940"/>
                    <a:gd name="connsiteX64" fmla="*/ 3630952 w 4519987"/>
                    <a:gd name="connsiteY64" fmla="*/ 4010025 h 4496940"/>
                    <a:gd name="connsiteX65" fmla="*/ 3621427 w 4519987"/>
                    <a:gd name="connsiteY65" fmla="*/ 4038600 h 4496940"/>
                    <a:gd name="connsiteX66" fmla="*/ 3554752 w 4519987"/>
                    <a:gd name="connsiteY66" fmla="*/ 4095750 h 4496940"/>
                    <a:gd name="connsiteX67" fmla="*/ 3516652 w 4519987"/>
                    <a:gd name="connsiteY67" fmla="*/ 4114800 h 4496940"/>
                    <a:gd name="connsiteX68" fmla="*/ 3497602 w 4519987"/>
                    <a:gd name="connsiteY68" fmla="*/ 4143375 h 4496940"/>
                    <a:gd name="connsiteX69" fmla="*/ 3383302 w 4519987"/>
                    <a:gd name="connsiteY69" fmla="*/ 4210050 h 4496940"/>
                    <a:gd name="connsiteX70" fmla="*/ 3335677 w 4519987"/>
                    <a:gd name="connsiteY70" fmla="*/ 4238625 h 4496940"/>
                    <a:gd name="connsiteX71" fmla="*/ 3288052 w 4519987"/>
                    <a:gd name="connsiteY71" fmla="*/ 4248150 h 4496940"/>
                    <a:gd name="connsiteX72" fmla="*/ 3240427 w 4519987"/>
                    <a:gd name="connsiteY72" fmla="*/ 4267200 h 4496940"/>
                    <a:gd name="connsiteX73" fmla="*/ 3068977 w 4519987"/>
                    <a:gd name="connsiteY73" fmla="*/ 4286250 h 4496940"/>
                    <a:gd name="connsiteX74" fmla="*/ 2935627 w 4519987"/>
                    <a:gd name="connsiteY74" fmla="*/ 4333875 h 4496940"/>
                    <a:gd name="connsiteX75" fmla="*/ 2811802 w 4519987"/>
                    <a:gd name="connsiteY75" fmla="*/ 4371975 h 4496940"/>
                    <a:gd name="connsiteX76" fmla="*/ 2745127 w 4519987"/>
                    <a:gd name="connsiteY76" fmla="*/ 4410075 h 4496940"/>
                    <a:gd name="connsiteX77" fmla="*/ 2697502 w 4519987"/>
                    <a:gd name="connsiteY77" fmla="*/ 4429125 h 4496940"/>
                    <a:gd name="connsiteX78" fmla="*/ 2640352 w 4519987"/>
                    <a:gd name="connsiteY78" fmla="*/ 4457700 h 4496940"/>
                    <a:gd name="connsiteX79" fmla="*/ 2583202 w 4519987"/>
                    <a:gd name="connsiteY79" fmla="*/ 4467225 h 4496940"/>
                    <a:gd name="connsiteX80" fmla="*/ 2545102 w 4519987"/>
                    <a:gd name="connsiteY80" fmla="*/ 4486275 h 4496940"/>
                    <a:gd name="connsiteX81" fmla="*/ 2306977 w 4519987"/>
                    <a:gd name="connsiteY81" fmla="*/ 4476750 h 4496940"/>
                    <a:gd name="connsiteX82" fmla="*/ 2202202 w 4519987"/>
                    <a:gd name="connsiteY82" fmla="*/ 4457700 h 4496940"/>
                    <a:gd name="connsiteX83" fmla="*/ 2126002 w 4519987"/>
                    <a:gd name="connsiteY83" fmla="*/ 4429125 h 4496940"/>
                    <a:gd name="connsiteX84" fmla="*/ 1935502 w 4519987"/>
                    <a:gd name="connsiteY84" fmla="*/ 4400550 h 4496940"/>
                    <a:gd name="connsiteX85" fmla="*/ 1821202 w 4519987"/>
                    <a:gd name="connsiteY85" fmla="*/ 4371975 h 4496940"/>
                    <a:gd name="connsiteX86" fmla="*/ 1754527 w 4519987"/>
                    <a:gd name="connsiteY86" fmla="*/ 4352925 h 4496940"/>
                    <a:gd name="connsiteX87" fmla="*/ 1687852 w 4519987"/>
                    <a:gd name="connsiteY87" fmla="*/ 4343400 h 4496940"/>
                    <a:gd name="connsiteX88" fmla="*/ 1573552 w 4519987"/>
                    <a:gd name="connsiteY88" fmla="*/ 4305300 h 4496940"/>
                    <a:gd name="connsiteX89" fmla="*/ 1402102 w 4519987"/>
                    <a:gd name="connsiteY89" fmla="*/ 4276725 h 4496940"/>
                    <a:gd name="connsiteX90" fmla="*/ 1287802 w 4519987"/>
                    <a:gd name="connsiteY90" fmla="*/ 4229100 h 4496940"/>
                    <a:gd name="connsiteX91" fmla="*/ 1221127 w 4519987"/>
                    <a:gd name="connsiteY91" fmla="*/ 4200525 h 4496940"/>
                    <a:gd name="connsiteX92" fmla="*/ 1144927 w 4519987"/>
                    <a:gd name="connsiteY92" fmla="*/ 4171950 h 4496940"/>
                    <a:gd name="connsiteX93" fmla="*/ 1087777 w 4519987"/>
                    <a:gd name="connsiteY93" fmla="*/ 4143375 h 4496940"/>
                    <a:gd name="connsiteX94" fmla="*/ 1030627 w 4519987"/>
                    <a:gd name="connsiteY94" fmla="*/ 4124325 h 4496940"/>
                    <a:gd name="connsiteX95" fmla="*/ 925852 w 4519987"/>
                    <a:gd name="connsiteY95" fmla="*/ 4067175 h 4496940"/>
                    <a:gd name="connsiteX96" fmla="*/ 830602 w 4519987"/>
                    <a:gd name="connsiteY96" fmla="*/ 3981450 h 4496940"/>
                    <a:gd name="connsiteX97" fmla="*/ 763927 w 4519987"/>
                    <a:gd name="connsiteY97" fmla="*/ 3914775 h 4496940"/>
                    <a:gd name="connsiteX98" fmla="*/ 725827 w 4519987"/>
                    <a:gd name="connsiteY98" fmla="*/ 3876675 h 4496940"/>
                    <a:gd name="connsiteX99" fmla="*/ 697252 w 4519987"/>
                    <a:gd name="connsiteY99" fmla="*/ 3838575 h 4496940"/>
                    <a:gd name="connsiteX100" fmla="*/ 640102 w 4519987"/>
                    <a:gd name="connsiteY100" fmla="*/ 3781425 h 4496940"/>
                    <a:gd name="connsiteX101" fmla="*/ 611527 w 4519987"/>
                    <a:gd name="connsiteY101" fmla="*/ 3733800 h 4496940"/>
                    <a:gd name="connsiteX102" fmla="*/ 554377 w 4519987"/>
                    <a:gd name="connsiteY102" fmla="*/ 3657600 h 4496940"/>
                    <a:gd name="connsiteX103" fmla="*/ 525802 w 4519987"/>
                    <a:gd name="connsiteY103" fmla="*/ 3609975 h 4496940"/>
                    <a:gd name="connsiteX104" fmla="*/ 497227 w 4519987"/>
                    <a:gd name="connsiteY104" fmla="*/ 3552825 h 4496940"/>
                    <a:gd name="connsiteX105" fmla="*/ 440077 w 4519987"/>
                    <a:gd name="connsiteY105" fmla="*/ 3495675 h 4496940"/>
                    <a:gd name="connsiteX106" fmla="*/ 411502 w 4519987"/>
                    <a:gd name="connsiteY106" fmla="*/ 3448050 h 4496940"/>
                    <a:gd name="connsiteX107" fmla="*/ 278152 w 4519987"/>
                    <a:gd name="connsiteY107" fmla="*/ 3257550 h 4496940"/>
                    <a:gd name="connsiteX108" fmla="*/ 249577 w 4519987"/>
                    <a:gd name="connsiteY108" fmla="*/ 3200400 h 4496940"/>
                    <a:gd name="connsiteX109" fmla="*/ 240052 w 4519987"/>
                    <a:gd name="connsiteY109" fmla="*/ 3162300 h 4496940"/>
                    <a:gd name="connsiteX110" fmla="*/ 221002 w 4519987"/>
                    <a:gd name="connsiteY110" fmla="*/ 3105150 h 4496940"/>
                    <a:gd name="connsiteX111" fmla="*/ 173377 w 4519987"/>
                    <a:gd name="connsiteY111" fmla="*/ 3019425 h 4496940"/>
                    <a:gd name="connsiteX112" fmla="*/ 144802 w 4519987"/>
                    <a:gd name="connsiteY112" fmla="*/ 2924175 h 4496940"/>
                    <a:gd name="connsiteX113" fmla="*/ 68602 w 4519987"/>
                    <a:gd name="connsiteY113" fmla="*/ 2724150 h 4496940"/>
                    <a:gd name="connsiteX114" fmla="*/ 49552 w 4519987"/>
                    <a:gd name="connsiteY114" fmla="*/ 2638425 h 4496940"/>
                    <a:gd name="connsiteX115" fmla="*/ 40027 w 4519987"/>
                    <a:gd name="connsiteY115" fmla="*/ 2562225 h 4496940"/>
                    <a:gd name="connsiteX116" fmla="*/ 30502 w 4519987"/>
                    <a:gd name="connsiteY116" fmla="*/ 2514600 h 4496940"/>
                    <a:gd name="connsiteX117" fmla="*/ 11452 w 4519987"/>
                    <a:gd name="connsiteY117" fmla="*/ 2400300 h 4496940"/>
                    <a:gd name="connsiteX118" fmla="*/ 20977 w 4519987"/>
                    <a:gd name="connsiteY118" fmla="*/ 1905000 h 4496940"/>
                    <a:gd name="connsiteX119" fmla="*/ 30502 w 4519987"/>
                    <a:gd name="connsiteY119" fmla="*/ 1838325 h 4496940"/>
                    <a:gd name="connsiteX120" fmla="*/ 49552 w 4519987"/>
                    <a:gd name="connsiteY120" fmla="*/ 1781175 h 4496940"/>
                    <a:gd name="connsiteX121" fmla="*/ 59077 w 4519987"/>
                    <a:gd name="connsiteY121" fmla="*/ 1743075 h 4496940"/>
                    <a:gd name="connsiteX122" fmla="*/ 78127 w 4519987"/>
                    <a:gd name="connsiteY122" fmla="*/ 1685925 h 4496940"/>
                    <a:gd name="connsiteX123" fmla="*/ 87652 w 4519987"/>
                    <a:gd name="connsiteY123" fmla="*/ 1638300 h 4496940"/>
                    <a:gd name="connsiteX124" fmla="*/ 106702 w 4519987"/>
                    <a:gd name="connsiteY124" fmla="*/ 1590675 h 4496940"/>
                    <a:gd name="connsiteX125" fmla="*/ 135277 w 4519987"/>
                    <a:gd name="connsiteY125" fmla="*/ 1504950 h 4496940"/>
                    <a:gd name="connsiteX126" fmla="*/ 154327 w 4519987"/>
                    <a:gd name="connsiteY126" fmla="*/ 1419225 h 4496940"/>
                    <a:gd name="connsiteX127" fmla="*/ 230527 w 4519987"/>
                    <a:gd name="connsiteY127" fmla="*/ 1276350 h 4496940"/>
                    <a:gd name="connsiteX128" fmla="*/ 240052 w 4519987"/>
                    <a:gd name="connsiteY128" fmla="*/ 1247775 h 4496940"/>
                    <a:gd name="connsiteX129" fmla="*/ 268627 w 4519987"/>
                    <a:gd name="connsiteY129" fmla="*/ 1200150 h 4496940"/>
                    <a:gd name="connsiteX130" fmla="*/ 287677 w 4519987"/>
                    <a:gd name="connsiteY130" fmla="*/ 1152525 h 4496940"/>
                    <a:gd name="connsiteX131" fmla="*/ 316252 w 4519987"/>
                    <a:gd name="connsiteY131" fmla="*/ 1114425 h 4496940"/>
                    <a:gd name="connsiteX132" fmla="*/ 363877 w 4519987"/>
                    <a:gd name="connsiteY132" fmla="*/ 1038225 h 4496940"/>
                    <a:gd name="connsiteX133" fmla="*/ 382927 w 4519987"/>
                    <a:gd name="connsiteY133" fmla="*/ 1009650 h 4496940"/>
                    <a:gd name="connsiteX134" fmla="*/ 440077 w 4519987"/>
                    <a:gd name="connsiteY134" fmla="*/ 904875 h 4496940"/>
                    <a:gd name="connsiteX135" fmla="*/ 478177 w 4519987"/>
                    <a:gd name="connsiteY135" fmla="*/ 857250 h 4496940"/>
                    <a:gd name="connsiteX136" fmla="*/ 497227 w 4519987"/>
                    <a:gd name="connsiteY136" fmla="*/ 828675 h 4496940"/>
                    <a:gd name="connsiteX137" fmla="*/ 535327 w 4519987"/>
                    <a:gd name="connsiteY137" fmla="*/ 800100 h 4496940"/>
                    <a:gd name="connsiteX138" fmla="*/ 602002 w 4519987"/>
                    <a:gd name="connsiteY138" fmla="*/ 733425 h 4496940"/>
                    <a:gd name="connsiteX139" fmla="*/ 668677 w 4519987"/>
                    <a:gd name="connsiteY139" fmla="*/ 676275 h 4496940"/>
                    <a:gd name="connsiteX140" fmla="*/ 697252 w 4519987"/>
                    <a:gd name="connsiteY140" fmla="*/ 657225 h 4496940"/>
                    <a:gd name="connsiteX141" fmla="*/ 840127 w 4519987"/>
                    <a:gd name="connsiteY141" fmla="*/ 533400 h 4496940"/>
                    <a:gd name="connsiteX142" fmla="*/ 887752 w 4519987"/>
                    <a:gd name="connsiteY142" fmla="*/ 504825 h 4496940"/>
                    <a:gd name="connsiteX143" fmla="*/ 1167152 w 4519987"/>
                    <a:gd name="connsiteY143" fmla="*/ 311150 h 4496940"/>
                    <a:gd name="connsiteX144" fmla="*/ 1268752 w 4519987"/>
                    <a:gd name="connsiteY144" fmla="*/ 285750 h 4496940"/>
                    <a:gd name="connsiteX145" fmla="*/ 1411627 w 4519987"/>
                    <a:gd name="connsiteY145" fmla="*/ 190500 h 4496940"/>
                    <a:gd name="connsiteX146" fmla="*/ 1449727 w 4519987"/>
                    <a:gd name="connsiteY146" fmla="*/ 161925 h 4496940"/>
                    <a:gd name="connsiteX147" fmla="*/ 1525927 w 4519987"/>
                    <a:gd name="connsiteY147" fmla="*/ 152400 h 4496940"/>
                    <a:gd name="connsiteX148" fmla="*/ 1583077 w 4519987"/>
                    <a:gd name="connsiteY148" fmla="*/ 142875 h 4496940"/>
                    <a:gd name="connsiteX149" fmla="*/ 1716427 w 4519987"/>
                    <a:gd name="connsiteY149" fmla="*/ 123825 h 4496940"/>
                    <a:gd name="connsiteX150" fmla="*/ 1811677 w 4519987"/>
                    <a:gd name="connsiteY150" fmla="*/ 114300 h 4496940"/>
                    <a:gd name="connsiteX151" fmla="*/ 1859302 w 4519987"/>
                    <a:gd name="connsiteY151" fmla="*/ 104775 h 4496940"/>
                    <a:gd name="connsiteX152" fmla="*/ 1916452 w 4519987"/>
                    <a:gd name="connsiteY152" fmla="*/ 95250 h 4496940"/>
                    <a:gd name="connsiteX153" fmla="*/ 2030752 w 4519987"/>
                    <a:gd name="connsiteY153" fmla="*/ 66675 h 4496940"/>
                    <a:gd name="connsiteX154" fmla="*/ 2097427 w 4519987"/>
                    <a:gd name="connsiteY154" fmla="*/ 47625 h 4496940"/>
                    <a:gd name="connsiteX155" fmla="*/ 2164102 w 4519987"/>
                    <a:gd name="connsiteY155" fmla="*/ 38100 h 4496940"/>
                    <a:gd name="connsiteX156" fmla="*/ 2392702 w 4519987"/>
                    <a:gd name="connsiteY15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35777 w 4519987"/>
                    <a:gd name="connsiteY29" fmla="*/ 933450 h 4496940"/>
                    <a:gd name="connsiteX30" fmla="*/ 4164352 w 4519987"/>
                    <a:gd name="connsiteY30" fmla="*/ 990600 h 4496940"/>
                    <a:gd name="connsiteX31" fmla="*/ 4173877 w 4519987"/>
                    <a:gd name="connsiteY31" fmla="*/ 1019175 h 4496940"/>
                    <a:gd name="connsiteX32" fmla="*/ 4192927 w 4519987"/>
                    <a:gd name="connsiteY32" fmla="*/ 1057275 h 4496940"/>
                    <a:gd name="connsiteX33" fmla="*/ 4202452 w 4519987"/>
                    <a:gd name="connsiteY33" fmla="*/ 1085850 h 4496940"/>
                    <a:gd name="connsiteX34" fmla="*/ 4250077 w 4519987"/>
                    <a:gd name="connsiteY34" fmla="*/ 1143000 h 4496940"/>
                    <a:gd name="connsiteX35" fmla="*/ 4259602 w 4519987"/>
                    <a:gd name="connsiteY35" fmla="*/ 1190625 h 4496940"/>
                    <a:gd name="connsiteX36" fmla="*/ 4307227 w 4519987"/>
                    <a:gd name="connsiteY36" fmla="*/ 1266825 h 4496940"/>
                    <a:gd name="connsiteX37" fmla="*/ 4345327 w 4519987"/>
                    <a:gd name="connsiteY37" fmla="*/ 1362075 h 4496940"/>
                    <a:gd name="connsiteX38" fmla="*/ 4373902 w 4519987"/>
                    <a:gd name="connsiteY38" fmla="*/ 1428750 h 4496940"/>
                    <a:gd name="connsiteX39" fmla="*/ 4392952 w 4519987"/>
                    <a:gd name="connsiteY39" fmla="*/ 1552575 h 4496940"/>
                    <a:gd name="connsiteX40" fmla="*/ 4402477 w 4519987"/>
                    <a:gd name="connsiteY40" fmla="*/ 1590675 h 4496940"/>
                    <a:gd name="connsiteX41" fmla="*/ 4431052 w 4519987"/>
                    <a:gd name="connsiteY41" fmla="*/ 1685925 h 4496940"/>
                    <a:gd name="connsiteX42" fmla="*/ 4519952 w 4519987"/>
                    <a:gd name="connsiteY42" fmla="*/ 2181225 h 4496940"/>
                    <a:gd name="connsiteX43" fmla="*/ 4446927 w 4519987"/>
                    <a:gd name="connsiteY43" fmla="*/ 2768600 h 4496940"/>
                    <a:gd name="connsiteX44" fmla="*/ 4383427 w 4519987"/>
                    <a:gd name="connsiteY44" fmla="*/ 2990850 h 4496940"/>
                    <a:gd name="connsiteX45" fmla="*/ 4278652 w 4519987"/>
                    <a:gd name="connsiteY45" fmla="*/ 3248025 h 4496940"/>
                    <a:gd name="connsiteX46" fmla="*/ 4259602 w 4519987"/>
                    <a:gd name="connsiteY46" fmla="*/ 3276600 h 4496940"/>
                    <a:gd name="connsiteX47" fmla="*/ 4221502 w 4519987"/>
                    <a:gd name="connsiteY47" fmla="*/ 3333750 h 4496940"/>
                    <a:gd name="connsiteX48" fmla="*/ 4211977 w 4519987"/>
                    <a:gd name="connsiteY48" fmla="*/ 3362325 h 4496940"/>
                    <a:gd name="connsiteX49" fmla="*/ 4183402 w 4519987"/>
                    <a:gd name="connsiteY49" fmla="*/ 3400425 h 4496940"/>
                    <a:gd name="connsiteX50" fmla="*/ 4164352 w 4519987"/>
                    <a:gd name="connsiteY50" fmla="*/ 3429000 h 4496940"/>
                    <a:gd name="connsiteX51" fmla="*/ 4088152 w 4519987"/>
                    <a:gd name="connsiteY51" fmla="*/ 3495675 h 4496940"/>
                    <a:gd name="connsiteX52" fmla="*/ 4059577 w 4519987"/>
                    <a:gd name="connsiteY52" fmla="*/ 3533775 h 4496940"/>
                    <a:gd name="connsiteX53" fmla="*/ 4002427 w 4519987"/>
                    <a:gd name="connsiteY53" fmla="*/ 3600450 h 4496940"/>
                    <a:gd name="connsiteX54" fmla="*/ 3983377 w 4519987"/>
                    <a:gd name="connsiteY54" fmla="*/ 3629025 h 4496940"/>
                    <a:gd name="connsiteX55" fmla="*/ 3954802 w 4519987"/>
                    <a:gd name="connsiteY55" fmla="*/ 3648075 h 4496940"/>
                    <a:gd name="connsiteX56" fmla="*/ 3907177 w 4519987"/>
                    <a:gd name="connsiteY56" fmla="*/ 3686175 h 4496940"/>
                    <a:gd name="connsiteX57" fmla="*/ 3869077 w 4519987"/>
                    <a:gd name="connsiteY57" fmla="*/ 3724275 h 4496940"/>
                    <a:gd name="connsiteX58" fmla="*/ 3792877 w 4519987"/>
                    <a:gd name="connsiteY58" fmla="*/ 3781425 h 4496940"/>
                    <a:gd name="connsiteX59" fmla="*/ 3783352 w 4519987"/>
                    <a:gd name="connsiteY59" fmla="*/ 3810000 h 4496940"/>
                    <a:gd name="connsiteX60" fmla="*/ 3745252 w 4519987"/>
                    <a:gd name="connsiteY60" fmla="*/ 3819525 h 4496940"/>
                    <a:gd name="connsiteX61" fmla="*/ 3678577 w 4519987"/>
                    <a:gd name="connsiteY61" fmla="*/ 3848100 h 4496940"/>
                    <a:gd name="connsiteX62" fmla="*/ 3659527 w 4519987"/>
                    <a:gd name="connsiteY62" fmla="*/ 3971925 h 4496940"/>
                    <a:gd name="connsiteX63" fmla="*/ 3630952 w 4519987"/>
                    <a:gd name="connsiteY63" fmla="*/ 4010025 h 4496940"/>
                    <a:gd name="connsiteX64" fmla="*/ 3621427 w 4519987"/>
                    <a:gd name="connsiteY64" fmla="*/ 4038600 h 4496940"/>
                    <a:gd name="connsiteX65" fmla="*/ 3554752 w 4519987"/>
                    <a:gd name="connsiteY65" fmla="*/ 4095750 h 4496940"/>
                    <a:gd name="connsiteX66" fmla="*/ 3516652 w 4519987"/>
                    <a:gd name="connsiteY66" fmla="*/ 4114800 h 4496940"/>
                    <a:gd name="connsiteX67" fmla="*/ 3497602 w 4519987"/>
                    <a:gd name="connsiteY67" fmla="*/ 4143375 h 4496940"/>
                    <a:gd name="connsiteX68" fmla="*/ 3383302 w 4519987"/>
                    <a:gd name="connsiteY68" fmla="*/ 4210050 h 4496940"/>
                    <a:gd name="connsiteX69" fmla="*/ 3335677 w 4519987"/>
                    <a:gd name="connsiteY69" fmla="*/ 4238625 h 4496940"/>
                    <a:gd name="connsiteX70" fmla="*/ 3288052 w 4519987"/>
                    <a:gd name="connsiteY70" fmla="*/ 4248150 h 4496940"/>
                    <a:gd name="connsiteX71" fmla="*/ 3240427 w 4519987"/>
                    <a:gd name="connsiteY71" fmla="*/ 4267200 h 4496940"/>
                    <a:gd name="connsiteX72" fmla="*/ 3068977 w 4519987"/>
                    <a:gd name="connsiteY72" fmla="*/ 4286250 h 4496940"/>
                    <a:gd name="connsiteX73" fmla="*/ 2935627 w 4519987"/>
                    <a:gd name="connsiteY73" fmla="*/ 4333875 h 4496940"/>
                    <a:gd name="connsiteX74" fmla="*/ 2811802 w 4519987"/>
                    <a:gd name="connsiteY74" fmla="*/ 4371975 h 4496940"/>
                    <a:gd name="connsiteX75" fmla="*/ 2745127 w 4519987"/>
                    <a:gd name="connsiteY75" fmla="*/ 4410075 h 4496940"/>
                    <a:gd name="connsiteX76" fmla="*/ 2697502 w 4519987"/>
                    <a:gd name="connsiteY76" fmla="*/ 4429125 h 4496940"/>
                    <a:gd name="connsiteX77" fmla="*/ 2640352 w 4519987"/>
                    <a:gd name="connsiteY77" fmla="*/ 4457700 h 4496940"/>
                    <a:gd name="connsiteX78" fmla="*/ 2583202 w 4519987"/>
                    <a:gd name="connsiteY78" fmla="*/ 4467225 h 4496940"/>
                    <a:gd name="connsiteX79" fmla="*/ 2545102 w 4519987"/>
                    <a:gd name="connsiteY79" fmla="*/ 4486275 h 4496940"/>
                    <a:gd name="connsiteX80" fmla="*/ 2306977 w 4519987"/>
                    <a:gd name="connsiteY80" fmla="*/ 4476750 h 4496940"/>
                    <a:gd name="connsiteX81" fmla="*/ 2202202 w 4519987"/>
                    <a:gd name="connsiteY81" fmla="*/ 4457700 h 4496940"/>
                    <a:gd name="connsiteX82" fmla="*/ 2126002 w 4519987"/>
                    <a:gd name="connsiteY82" fmla="*/ 4429125 h 4496940"/>
                    <a:gd name="connsiteX83" fmla="*/ 1935502 w 4519987"/>
                    <a:gd name="connsiteY83" fmla="*/ 4400550 h 4496940"/>
                    <a:gd name="connsiteX84" fmla="*/ 1821202 w 4519987"/>
                    <a:gd name="connsiteY84" fmla="*/ 4371975 h 4496940"/>
                    <a:gd name="connsiteX85" fmla="*/ 1754527 w 4519987"/>
                    <a:gd name="connsiteY85" fmla="*/ 4352925 h 4496940"/>
                    <a:gd name="connsiteX86" fmla="*/ 1687852 w 4519987"/>
                    <a:gd name="connsiteY86" fmla="*/ 4343400 h 4496940"/>
                    <a:gd name="connsiteX87" fmla="*/ 1573552 w 4519987"/>
                    <a:gd name="connsiteY87" fmla="*/ 4305300 h 4496940"/>
                    <a:gd name="connsiteX88" fmla="*/ 1402102 w 4519987"/>
                    <a:gd name="connsiteY88" fmla="*/ 4276725 h 4496940"/>
                    <a:gd name="connsiteX89" fmla="*/ 1287802 w 4519987"/>
                    <a:gd name="connsiteY89" fmla="*/ 4229100 h 4496940"/>
                    <a:gd name="connsiteX90" fmla="*/ 1221127 w 4519987"/>
                    <a:gd name="connsiteY90" fmla="*/ 4200525 h 4496940"/>
                    <a:gd name="connsiteX91" fmla="*/ 1144927 w 4519987"/>
                    <a:gd name="connsiteY91" fmla="*/ 4171950 h 4496940"/>
                    <a:gd name="connsiteX92" fmla="*/ 1087777 w 4519987"/>
                    <a:gd name="connsiteY92" fmla="*/ 4143375 h 4496940"/>
                    <a:gd name="connsiteX93" fmla="*/ 1030627 w 4519987"/>
                    <a:gd name="connsiteY93" fmla="*/ 4124325 h 4496940"/>
                    <a:gd name="connsiteX94" fmla="*/ 925852 w 4519987"/>
                    <a:gd name="connsiteY94" fmla="*/ 4067175 h 4496940"/>
                    <a:gd name="connsiteX95" fmla="*/ 830602 w 4519987"/>
                    <a:gd name="connsiteY95" fmla="*/ 3981450 h 4496940"/>
                    <a:gd name="connsiteX96" fmla="*/ 763927 w 4519987"/>
                    <a:gd name="connsiteY96" fmla="*/ 3914775 h 4496940"/>
                    <a:gd name="connsiteX97" fmla="*/ 725827 w 4519987"/>
                    <a:gd name="connsiteY97" fmla="*/ 3876675 h 4496940"/>
                    <a:gd name="connsiteX98" fmla="*/ 697252 w 4519987"/>
                    <a:gd name="connsiteY98" fmla="*/ 3838575 h 4496940"/>
                    <a:gd name="connsiteX99" fmla="*/ 640102 w 4519987"/>
                    <a:gd name="connsiteY99" fmla="*/ 3781425 h 4496940"/>
                    <a:gd name="connsiteX100" fmla="*/ 611527 w 4519987"/>
                    <a:gd name="connsiteY100" fmla="*/ 3733800 h 4496940"/>
                    <a:gd name="connsiteX101" fmla="*/ 554377 w 4519987"/>
                    <a:gd name="connsiteY101" fmla="*/ 3657600 h 4496940"/>
                    <a:gd name="connsiteX102" fmla="*/ 525802 w 4519987"/>
                    <a:gd name="connsiteY102" fmla="*/ 3609975 h 4496940"/>
                    <a:gd name="connsiteX103" fmla="*/ 497227 w 4519987"/>
                    <a:gd name="connsiteY103" fmla="*/ 3552825 h 4496940"/>
                    <a:gd name="connsiteX104" fmla="*/ 440077 w 4519987"/>
                    <a:gd name="connsiteY104" fmla="*/ 3495675 h 4496940"/>
                    <a:gd name="connsiteX105" fmla="*/ 411502 w 4519987"/>
                    <a:gd name="connsiteY105" fmla="*/ 3448050 h 4496940"/>
                    <a:gd name="connsiteX106" fmla="*/ 278152 w 4519987"/>
                    <a:gd name="connsiteY106" fmla="*/ 3257550 h 4496940"/>
                    <a:gd name="connsiteX107" fmla="*/ 249577 w 4519987"/>
                    <a:gd name="connsiteY107" fmla="*/ 3200400 h 4496940"/>
                    <a:gd name="connsiteX108" fmla="*/ 240052 w 4519987"/>
                    <a:gd name="connsiteY108" fmla="*/ 3162300 h 4496940"/>
                    <a:gd name="connsiteX109" fmla="*/ 221002 w 4519987"/>
                    <a:gd name="connsiteY109" fmla="*/ 3105150 h 4496940"/>
                    <a:gd name="connsiteX110" fmla="*/ 173377 w 4519987"/>
                    <a:gd name="connsiteY110" fmla="*/ 3019425 h 4496940"/>
                    <a:gd name="connsiteX111" fmla="*/ 144802 w 4519987"/>
                    <a:gd name="connsiteY111" fmla="*/ 2924175 h 4496940"/>
                    <a:gd name="connsiteX112" fmla="*/ 68602 w 4519987"/>
                    <a:gd name="connsiteY112" fmla="*/ 2724150 h 4496940"/>
                    <a:gd name="connsiteX113" fmla="*/ 49552 w 4519987"/>
                    <a:gd name="connsiteY113" fmla="*/ 2638425 h 4496940"/>
                    <a:gd name="connsiteX114" fmla="*/ 40027 w 4519987"/>
                    <a:gd name="connsiteY114" fmla="*/ 2562225 h 4496940"/>
                    <a:gd name="connsiteX115" fmla="*/ 30502 w 4519987"/>
                    <a:gd name="connsiteY115" fmla="*/ 2514600 h 4496940"/>
                    <a:gd name="connsiteX116" fmla="*/ 11452 w 4519987"/>
                    <a:gd name="connsiteY116" fmla="*/ 2400300 h 4496940"/>
                    <a:gd name="connsiteX117" fmla="*/ 20977 w 4519987"/>
                    <a:gd name="connsiteY117" fmla="*/ 1905000 h 4496940"/>
                    <a:gd name="connsiteX118" fmla="*/ 30502 w 4519987"/>
                    <a:gd name="connsiteY118" fmla="*/ 1838325 h 4496940"/>
                    <a:gd name="connsiteX119" fmla="*/ 49552 w 4519987"/>
                    <a:gd name="connsiteY119" fmla="*/ 1781175 h 4496940"/>
                    <a:gd name="connsiteX120" fmla="*/ 59077 w 4519987"/>
                    <a:gd name="connsiteY120" fmla="*/ 1743075 h 4496940"/>
                    <a:gd name="connsiteX121" fmla="*/ 78127 w 4519987"/>
                    <a:gd name="connsiteY121" fmla="*/ 1685925 h 4496940"/>
                    <a:gd name="connsiteX122" fmla="*/ 87652 w 4519987"/>
                    <a:gd name="connsiteY122" fmla="*/ 1638300 h 4496940"/>
                    <a:gd name="connsiteX123" fmla="*/ 106702 w 4519987"/>
                    <a:gd name="connsiteY123" fmla="*/ 1590675 h 4496940"/>
                    <a:gd name="connsiteX124" fmla="*/ 135277 w 4519987"/>
                    <a:gd name="connsiteY124" fmla="*/ 1504950 h 4496940"/>
                    <a:gd name="connsiteX125" fmla="*/ 154327 w 4519987"/>
                    <a:gd name="connsiteY125" fmla="*/ 1419225 h 4496940"/>
                    <a:gd name="connsiteX126" fmla="*/ 230527 w 4519987"/>
                    <a:gd name="connsiteY126" fmla="*/ 1276350 h 4496940"/>
                    <a:gd name="connsiteX127" fmla="*/ 240052 w 4519987"/>
                    <a:gd name="connsiteY127" fmla="*/ 1247775 h 4496940"/>
                    <a:gd name="connsiteX128" fmla="*/ 268627 w 4519987"/>
                    <a:gd name="connsiteY128" fmla="*/ 1200150 h 4496940"/>
                    <a:gd name="connsiteX129" fmla="*/ 287677 w 4519987"/>
                    <a:gd name="connsiteY129" fmla="*/ 1152525 h 4496940"/>
                    <a:gd name="connsiteX130" fmla="*/ 316252 w 4519987"/>
                    <a:gd name="connsiteY130" fmla="*/ 1114425 h 4496940"/>
                    <a:gd name="connsiteX131" fmla="*/ 363877 w 4519987"/>
                    <a:gd name="connsiteY131" fmla="*/ 1038225 h 4496940"/>
                    <a:gd name="connsiteX132" fmla="*/ 382927 w 4519987"/>
                    <a:gd name="connsiteY132" fmla="*/ 1009650 h 4496940"/>
                    <a:gd name="connsiteX133" fmla="*/ 440077 w 4519987"/>
                    <a:gd name="connsiteY133" fmla="*/ 904875 h 4496940"/>
                    <a:gd name="connsiteX134" fmla="*/ 478177 w 4519987"/>
                    <a:gd name="connsiteY134" fmla="*/ 857250 h 4496940"/>
                    <a:gd name="connsiteX135" fmla="*/ 497227 w 4519987"/>
                    <a:gd name="connsiteY135" fmla="*/ 828675 h 4496940"/>
                    <a:gd name="connsiteX136" fmla="*/ 535327 w 4519987"/>
                    <a:gd name="connsiteY136" fmla="*/ 800100 h 4496940"/>
                    <a:gd name="connsiteX137" fmla="*/ 602002 w 4519987"/>
                    <a:gd name="connsiteY137" fmla="*/ 733425 h 4496940"/>
                    <a:gd name="connsiteX138" fmla="*/ 668677 w 4519987"/>
                    <a:gd name="connsiteY138" fmla="*/ 676275 h 4496940"/>
                    <a:gd name="connsiteX139" fmla="*/ 697252 w 4519987"/>
                    <a:gd name="connsiteY139" fmla="*/ 657225 h 4496940"/>
                    <a:gd name="connsiteX140" fmla="*/ 840127 w 4519987"/>
                    <a:gd name="connsiteY140" fmla="*/ 533400 h 4496940"/>
                    <a:gd name="connsiteX141" fmla="*/ 887752 w 4519987"/>
                    <a:gd name="connsiteY141" fmla="*/ 504825 h 4496940"/>
                    <a:gd name="connsiteX142" fmla="*/ 1167152 w 4519987"/>
                    <a:gd name="connsiteY142" fmla="*/ 311150 h 4496940"/>
                    <a:gd name="connsiteX143" fmla="*/ 1268752 w 4519987"/>
                    <a:gd name="connsiteY143" fmla="*/ 285750 h 4496940"/>
                    <a:gd name="connsiteX144" fmla="*/ 1411627 w 4519987"/>
                    <a:gd name="connsiteY144" fmla="*/ 190500 h 4496940"/>
                    <a:gd name="connsiteX145" fmla="*/ 1449727 w 4519987"/>
                    <a:gd name="connsiteY145" fmla="*/ 161925 h 4496940"/>
                    <a:gd name="connsiteX146" fmla="*/ 1525927 w 4519987"/>
                    <a:gd name="connsiteY146" fmla="*/ 152400 h 4496940"/>
                    <a:gd name="connsiteX147" fmla="*/ 1583077 w 4519987"/>
                    <a:gd name="connsiteY147" fmla="*/ 142875 h 4496940"/>
                    <a:gd name="connsiteX148" fmla="*/ 1716427 w 4519987"/>
                    <a:gd name="connsiteY148" fmla="*/ 123825 h 4496940"/>
                    <a:gd name="connsiteX149" fmla="*/ 1811677 w 4519987"/>
                    <a:gd name="connsiteY149" fmla="*/ 114300 h 4496940"/>
                    <a:gd name="connsiteX150" fmla="*/ 1859302 w 4519987"/>
                    <a:gd name="connsiteY150" fmla="*/ 104775 h 4496940"/>
                    <a:gd name="connsiteX151" fmla="*/ 1916452 w 4519987"/>
                    <a:gd name="connsiteY151" fmla="*/ 95250 h 4496940"/>
                    <a:gd name="connsiteX152" fmla="*/ 2030752 w 4519987"/>
                    <a:gd name="connsiteY152" fmla="*/ 66675 h 4496940"/>
                    <a:gd name="connsiteX153" fmla="*/ 2097427 w 4519987"/>
                    <a:gd name="connsiteY153" fmla="*/ 47625 h 4496940"/>
                    <a:gd name="connsiteX154" fmla="*/ 2164102 w 4519987"/>
                    <a:gd name="connsiteY154" fmla="*/ 38100 h 4496940"/>
                    <a:gd name="connsiteX155" fmla="*/ 2392702 w 4519987"/>
                    <a:gd name="connsiteY15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907177 w 4519987"/>
                    <a:gd name="connsiteY25" fmla="*/ 647700 h 4496940"/>
                    <a:gd name="connsiteX26" fmla="*/ 3935752 w 4519987"/>
                    <a:gd name="connsiteY26" fmla="*/ 676275 h 4496940"/>
                    <a:gd name="connsiteX27" fmla="*/ 4078627 w 4519987"/>
                    <a:gd name="connsiteY27" fmla="*/ 838200 h 4496940"/>
                    <a:gd name="connsiteX28" fmla="*/ 4135777 w 4519987"/>
                    <a:gd name="connsiteY28" fmla="*/ 933450 h 4496940"/>
                    <a:gd name="connsiteX29" fmla="*/ 4164352 w 4519987"/>
                    <a:gd name="connsiteY29" fmla="*/ 990600 h 4496940"/>
                    <a:gd name="connsiteX30" fmla="*/ 4173877 w 4519987"/>
                    <a:gd name="connsiteY30" fmla="*/ 1019175 h 4496940"/>
                    <a:gd name="connsiteX31" fmla="*/ 4192927 w 4519987"/>
                    <a:gd name="connsiteY31" fmla="*/ 1057275 h 4496940"/>
                    <a:gd name="connsiteX32" fmla="*/ 4202452 w 4519987"/>
                    <a:gd name="connsiteY32" fmla="*/ 1085850 h 4496940"/>
                    <a:gd name="connsiteX33" fmla="*/ 4250077 w 4519987"/>
                    <a:gd name="connsiteY33" fmla="*/ 1143000 h 4496940"/>
                    <a:gd name="connsiteX34" fmla="*/ 4259602 w 4519987"/>
                    <a:gd name="connsiteY34" fmla="*/ 1190625 h 4496940"/>
                    <a:gd name="connsiteX35" fmla="*/ 4307227 w 4519987"/>
                    <a:gd name="connsiteY35" fmla="*/ 1266825 h 4496940"/>
                    <a:gd name="connsiteX36" fmla="*/ 4345327 w 4519987"/>
                    <a:gd name="connsiteY36" fmla="*/ 1362075 h 4496940"/>
                    <a:gd name="connsiteX37" fmla="*/ 4373902 w 4519987"/>
                    <a:gd name="connsiteY37" fmla="*/ 1428750 h 4496940"/>
                    <a:gd name="connsiteX38" fmla="*/ 4392952 w 4519987"/>
                    <a:gd name="connsiteY38" fmla="*/ 1552575 h 4496940"/>
                    <a:gd name="connsiteX39" fmla="*/ 4402477 w 4519987"/>
                    <a:gd name="connsiteY39" fmla="*/ 1590675 h 4496940"/>
                    <a:gd name="connsiteX40" fmla="*/ 4431052 w 4519987"/>
                    <a:gd name="connsiteY40" fmla="*/ 1685925 h 4496940"/>
                    <a:gd name="connsiteX41" fmla="*/ 4519952 w 4519987"/>
                    <a:gd name="connsiteY41" fmla="*/ 2181225 h 4496940"/>
                    <a:gd name="connsiteX42" fmla="*/ 4446927 w 4519987"/>
                    <a:gd name="connsiteY42" fmla="*/ 2768600 h 4496940"/>
                    <a:gd name="connsiteX43" fmla="*/ 4383427 w 4519987"/>
                    <a:gd name="connsiteY43" fmla="*/ 2990850 h 4496940"/>
                    <a:gd name="connsiteX44" fmla="*/ 4278652 w 4519987"/>
                    <a:gd name="connsiteY44" fmla="*/ 3248025 h 4496940"/>
                    <a:gd name="connsiteX45" fmla="*/ 4259602 w 4519987"/>
                    <a:gd name="connsiteY45" fmla="*/ 3276600 h 4496940"/>
                    <a:gd name="connsiteX46" fmla="*/ 4221502 w 4519987"/>
                    <a:gd name="connsiteY46" fmla="*/ 3333750 h 4496940"/>
                    <a:gd name="connsiteX47" fmla="*/ 4211977 w 4519987"/>
                    <a:gd name="connsiteY47" fmla="*/ 3362325 h 4496940"/>
                    <a:gd name="connsiteX48" fmla="*/ 4183402 w 4519987"/>
                    <a:gd name="connsiteY48" fmla="*/ 3400425 h 4496940"/>
                    <a:gd name="connsiteX49" fmla="*/ 4164352 w 4519987"/>
                    <a:gd name="connsiteY49" fmla="*/ 3429000 h 4496940"/>
                    <a:gd name="connsiteX50" fmla="*/ 4088152 w 4519987"/>
                    <a:gd name="connsiteY50" fmla="*/ 3495675 h 4496940"/>
                    <a:gd name="connsiteX51" fmla="*/ 4059577 w 4519987"/>
                    <a:gd name="connsiteY51" fmla="*/ 3533775 h 4496940"/>
                    <a:gd name="connsiteX52" fmla="*/ 4002427 w 4519987"/>
                    <a:gd name="connsiteY52" fmla="*/ 3600450 h 4496940"/>
                    <a:gd name="connsiteX53" fmla="*/ 3983377 w 4519987"/>
                    <a:gd name="connsiteY53" fmla="*/ 3629025 h 4496940"/>
                    <a:gd name="connsiteX54" fmla="*/ 3954802 w 4519987"/>
                    <a:gd name="connsiteY54" fmla="*/ 3648075 h 4496940"/>
                    <a:gd name="connsiteX55" fmla="*/ 3907177 w 4519987"/>
                    <a:gd name="connsiteY55" fmla="*/ 3686175 h 4496940"/>
                    <a:gd name="connsiteX56" fmla="*/ 3869077 w 4519987"/>
                    <a:gd name="connsiteY56" fmla="*/ 3724275 h 4496940"/>
                    <a:gd name="connsiteX57" fmla="*/ 3792877 w 4519987"/>
                    <a:gd name="connsiteY57" fmla="*/ 3781425 h 4496940"/>
                    <a:gd name="connsiteX58" fmla="*/ 3783352 w 4519987"/>
                    <a:gd name="connsiteY58" fmla="*/ 3810000 h 4496940"/>
                    <a:gd name="connsiteX59" fmla="*/ 3745252 w 4519987"/>
                    <a:gd name="connsiteY59" fmla="*/ 3819525 h 4496940"/>
                    <a:gd name="connsiteX60" fmla="*/ 3678577 w 4519987"/>
                    <a:gd name="connsiteY60" fmla="*/ 3848100 h 4496940"/>
                    <a:gd name="connsiteX61" fmla="*/ 3659527 w 4519987"/>
                    <a:gd name="connsiteY61" fmla="*/ 3971925 h 4496940"/>
                    <a:gd name="connsiteX62" fmla="*/ 3630952 w 4519987"/>
                    <a:gd name="connsiteY62" fmla="*/ 4010025 h 4496940"/>
                    <a:gd name="connsiteX63" fmla="*/ 3621427 w 4519987"/>
                    <a:gd name="connsiteY63" fmla="*/ 4038600 h 4496940"/>
                    <a:gd name="connsiteX64" fmla="*/ 3554752 w 4519987"/>
                    <a:gd name="connsiteY64" fmla="*/ 4095750 h 4496940"/>
                    <a:gd name="connsiteX65" fmla="*/ 3516652 w 4519987"/>
                    <a:gd name="connsiteY65" fmla="*/ 4114800 h 4496940"/>
                    <a:gd name="connsiteX66" fmla="*/ 3497602 w 4519987"/>
                    <a:gd name="connsiteY66" fmla="*/ 4143375 h 4496940"/>
                    <a:gd name="connsiteX67" fmla="*/ 3383302 w 4519987"/>
                    <a:gd name="connsiteY67" fmla="*/ 4210050 h 4496940"/>
                    <a:gd name="connsiteX68" fmla="*/ 3335677 w 4519987"/>
                    <a:gd name="connsiteY68" fmla="*/ 4238625 h 4496940"/>
                    <a:gd name="connsiteX69" fmla="*/ 3288052 w 4519987"/>
                    <a:gd name="connsiteY69" fmla="*/ 4248150 h 4496940"/>
                    <a:gd name="connsiteX70" fmla="*/ 3240427 w 4519987"/>
                    <a:gd name="connsiteY70" fmla="*/ 4267200 h 4496940"/>
                    <a:gd name="connsiteX71" fmla="*/ 3068977 w 4519987"/>
                    <a:gd name="connsiteY71" fmla="*/ 4286250 h 4496940"/>
                    <a:gd name="connsiteX72" fmla="*/ 2935627 w 4519987"/>
                    <a:gd name="connsiteY72" fmla="*/ 4333875 h 4496940"/>
                    <a:gd name="connsiteX73" fmla="*/ 2811802 w 4519987"/>
                    <a:gd name="connsiteY73" fmla="*/ 4371975 h 4496940"/>
                    <a:gd name="connsiteX74" fmla="*/ 2745127 w 4519987"/>
                    <a:gd name="connsiteY74" fmla="*/ 4410075 h 4496940"/>
                    <a:gd name="connsiteX75" fmla="*/ 2697502 w 4519987"/>
                    <a:gd name="connsiteY75" fmla="*/ 4429125 h 4496940"/>
                    <a:gd name="connsiteX76" fmla="*/ 2640352 w 4519987"/>
                    <a:gd name="connsiteY76" fmla="*/ 4457700 h 4496940"/>
                    <a:gd name="connsiteX77" fmla="*/ 2583202 w 4519987"/>
                    <a:gd name="connsiteY77" fmla="*/ 4467225 h 4496940"/>
                    <a:gd name="connsiteX78" fmla="*/ 2545102 w 4519987"/>
                    <a:gd name="connsiteY78" fmla="*/ 4486275 h 4496940"/>
                    <a:gd name="connsiteX79" fmla="*/ 2306977 w 4519987"/>
                    <a:gd name="connsiteY79" fmla="*/ 4476750 h 4496940"/>
                    <a:gd name="connsiteX80" fmla="*/ 2202202 w 4519987"/>
                    <a:gd name="connsiteY80" fmla="*/ 4457700 h 4496940"/>
                    <a:gd name="connsiteX81" fmla="*/ 2126002 w 4519987"/>
                    <a:gd name="connsiteY81" fmla="*/ 4429125 h 4496940"/>
                    <a:gd name="connsiteX82" fmla="*/ 1935502 w 4519987"/>
                    <a:gd name="connsiteY82" fmla="*/ 4400550 h 4496940"/>
                    <a:gd name="connsiteX83" fmla="*/ 1821202 w 4519987"/>
                    <a:gd name="connsiteY83" fmla="*/ 4371975 h 4496940"/>
                    <a:gd name="connsiteX84" fmla="*/ 1754527 w 4519987"/>
                    <a:gd name="connsiteY84" fmla="*/ 4352925 h 4496940"/>
                    <a:gd name="connsiteX85" fmla="*/ 1687852 w 4519987"/>
                    <a:gd name="connsiteY85" fmla="*/ 4343400 h 4496940"/>
                    <a:gd name="connsiteX86" fmla="*/ 1573552 w 4519987"/>
                    <a:gd name="connsiteY86" fmla="*/ 4305300 h 4496940"/>
                    <a:gd name="connsiteX87" fmla="*/ 1402102 w 4519987"/>
                    <a:gd name="connsiteY87" fmla="*/ 4276725 h 4496940"/>
                    <a:gd name="connsiteX88" fmla="*/ 1287802 w 4519987"/>
                    <a:gd name="connsiteY88" fmla="*/ 4229100 h 4496940"/>
                    <a:gd name="connsiteX89" fmla="*/ 1221127 w 4519987"/>
                    <a:gd name="connsiteY89" fmla="*/ 4200525 h 4496940"/>
                    <a:gd name="connsiteX90" fmla="*/ 1144927 w 4519987"/>
                    <a:gd name="connsiteY90" fmla="*/ 4171950 h 4496940"/>
                    <a:gd name="connsiteX91" fmla="*/ 1087777 w 4519987"/>
                    <a:gd name="connsiteY91" fmla="*/ 4143375 h 4496940"/>
                    <a:gd name="connsiteX92" fmla="*/ 1030627 w 4519987"/>
                    <a:gd name="connsiteY92" fmla="*/ 4124325 h 4496940"/>
                    <a:gd name="connsiteX93" fmla="*/ 925852 w 4519987"/>
                    <a:gd name="connsiteY93" fmla="*/ 4067175 h 4496940"/>
                    <a:gd name="connsiteX94" fmla="*/ 830602 w 4519987"/>
                    <a:gd name="connsiteY94" fmla="*/ 3981450 h 4496940"/>
                    <a:gd name="connsiteX95" fmla="*/ 763927 w 4519987"/>
                    <a:gd name="connsiteY95" fmla="*/ 3914775 h 4496940"/>
                    <a:gd name="connsiteX96" fmla="*/ 725827 w 4519987"/>
                    <a:gd name="connsiteY96" fmla="*/ 3876675 h 4496940"/>
                    <a:gd name="connsiteX97" fmla="*/ 697252 w 4519987"/>
                    <a:gd name="connsiteY97" fmla="*/ 3838575 h 4496940"/>
                    <a:gd name="connsiteX98" fmla="*/ 640102 w 4519987"/>
                    <a:gd name="connsiteY98" fmla="*/ 3781425 h 4496940"/>
                    <a:gd name="connsiteX99" fmla="*/ 611527 w 4519987"/>
                    <a:gd name="connsiteY99" fmla="*/ 3733800 h 4496940"/>
                    <a:gd name="connsiteX100" fmla="*/ 554377 w 4519987"/>
                    <a:gd name="connsiteY100" fmla="*/ 3657600 h 4496940"/>
                    <a:gd name="connsiteX101" fmla="*/ 525802 w 4519987"/>
                    <a:gd name="connsiteY101" fmla="*/ 3609975 h 4496940"/>
                    <a:gd name="connsiteX102" fmla="*/ 497227 w 4519987"/>
                    <a:gd name="connsiteY102" fmla="*/ 3552825 h 4496940"/>
                    <a:gd name="connsiteX103" fmla="*/ 440077 w 4519987"/>
                    <a:gd name="connsiteY103" fmla="*/ 3495675 h 4496940"/>
                    <a:gd name="connsiteX104" fmla="*/ 411502 w 4519987"/>
                    <a:gd name="connsiteY104" fmla="*/ 3448050 h 4496940"/>
                    <a:gd name="connsiteX105" fmla="*/ 278152 w 4519987"/>
                    <a:gd name="connsiteY105" fmla="*/ 3257550 h 4496940"/>
                    <a:gd name="connsiteX106" fmla="*/ 249577 w 4519987"/>
                    <a:gd name="connsiteY106" fmla="*/ 3200400 h 4496940"/>
                    <a:gd name="connsiteX107" fmla="*/ 240052 w 4519987"/>
                    <a:gd name="connsiteY107" fmla="*/ 3162300 h 4496940"/>
                    <a:gd name="connsiteX108" fmla="*/ 221002 w 4519987"/>
                    <a:gd name="connsiteY108" fmla="*/ 3105150 h 4496940"/>
                    <a:gd name="connsiteX109" fmla="*/ 173377 w 4519987"/>
                    <a:gd name="connsiteY109" fmla="*/ 3019425 h 4496940"/>
                    <a:gd name="connsiteX110" fmla="*/ 144802 w 4519987"/>
                    <a:gd name="connsiteY110" fmla="*/ 2924175 h 4496940"/>
                    <a:gd name="connsiteX111" fmla="*/ 68602 w 4519987"/>
                    <a:gd name="connsiteY111" fmla="*/ 2724150 h 4496940"/>
                    <a:gd name="connsiteX112" fmla="*/ 49552 w 4519987"/>
                    <a:gd name="connsiteY112" fmla="*/ 2638425 h 4496940"/>
                    <a:gd name="connsiteX113" fmla="*/ 40027 w 4519987"/>
                    <a:gd name="connsiteY113" fmla="*/ 2562225 h 4496940"/>
                    <a:gd name="connsiteX114" fmla="*/ 30502 w 4519987"/>
                    <a:gd name="connsiteY114" fmla="*/ 2514600 h 4496940"/>
                    <a:gd name="connsiteX115" fmla="*/ 11452 w 4519987"/>
                    <a:gd name="connsiteY115" fmla="*/ 2400300 h 4496940"/>
                    <a:gd name="connsiteX116" fmla="*/ 20977 w 4519987"/>
                    <a:gd name="connsiteY116" fmla="*/ 1905000 h 4496940"/>
                    <a:gd name="connsiteX117" fmla="*/ 30502 w 4519987"/>
                    <a:gd name="connsiteY117" fmla="*/ 1838325 h 4496940"/>
                    <a:gd name="connsiteX118" fmla="*/ 49552 w 4519987"/>
                    <a:gd name="connsiteY118" fmla="*/ 1781175 h 4496940"/>
                    <a:gd name="connsiteX119" fmla="*/ 59077 w 4519987"/>
                    <a:gd name="connsiteY119" fmla="*/ 1743075 h 4496940"/>
                    <a:gd name="connsiteX120" fmla="*/ 78127 w 4519987"/>
                    <a:gd name="connsiteY120" fmla="*/ 1685925 h 4496940"/>
                    <a:gd name="connsiteX121" fmla="*/ 87652 w 4519987"/>
                    <a:gd name="connsiteY121" fmla="*/ 1638300 h 4496940"/>
                    <a:gd name="connsiteX122" fmla="*/ 106702 w 4519987"/>
                    <a:gd name="connsiteY122" fmla="*/ 1590675 h 4496940"/>
                    <a:gd name="connsiteX123" fmla="*/ 135277 w 4519987"/>
                    <a:gd name="connsiteY123" fmla="*/ 1504950 h 4496940"/>
                    <a:gd name="connsiteX124" fmla="*/ 154327 w 4519987"/>
                    <a:gd name="connsiteY124" fmla="*/ 1419225 h 4496940"/>
                    <a:gd name="connsiteX125" fmla="*/ 230527 w 4519987"/>
                    <a:gd name="connsiteY125" fmla="*/ 1276350 h 4496940"/>
                    <a:gd name="connsiteX126" fmla="*/ 240052 w 4519987"/>
                    <a:gd name="connsiteY126" fmla="*/ 1247775 h 4496940"/>
                    <a:gd name="connsiteX127" fmla="*/ 268627 w 4519987"/>
                    <a:gd name="connsiteY127" fmla="*/ 1200150 h 4496940"/>
                    <a:gd name="connsiteX128" fmla="*/ 287677 w 4519987"/>
                    <a:gd name="connsiteY128" fmla="*/ 1152525 h 4496940"/>
                    <a:gd name="connsiteX129" fmla="*/ 316252 w 4519987"/>
                    <a:gd name="connsiteY129" fmla="*/ 1114425 h 4496940"/>
                    <a:gd name="connsiteX130" fmla="*/ 363877 w 4519987"/>
                    <a:gd name="connsiteY130" fmla="*/ 1038225 h 4496940"/>
                    <a:gd name="connsiteX131" fmla="*/ 382927 w 4519987"/>
                    <a:gd name="connsiteY131" fmla="*/ 1009650 h 4496940"/>
                    <a:gd name="connsiteX132" fmla="*/ 440077 w 4519987"/>
                    <a:gd name="connsiteY132" fmla="*/ 904875 h 4496940"/>
                    <a:gd name="connsiteX133" fmla="*/ 478177 w 4519987"/>
                    <a:gd name="connsiteY133" fmla="*/ 857250 h 4496940"/>
                    <a:gd name="connsiteX134" fmla="*/ 497227 w 4519987"/>
                    <a:gd name="connsiteY134" fmla="*/ 828675 h 4496940"/>
                    <a:gd name="connsiteX135" fmla="*/ 535327 w 4519987"/>
                    <a:gd name="connsiteY135" fmla="*/ 800100 h 4496940"/>
                    <a:gd name="connsiteX136" fmla="*/ 602002 w 4519987"/>
                    <a:gd name="connsiteY136" fmla="*/ 733425 h 4496940"/>
                    <a:gd name="connsiteX137" fmla="*/ 668677 w 4519987"/>
                    <a:gd name="connsiteY137" fmla="*/ 676275 h 4496940"/>
                    <a:gd name="connsiteX138" fmla="*/ 697252 w 4519987"/>
                    <a:gd name="connsiteY138" fmla="*/ 657225 h 4496940"/>
                    <a:gd name="connsiteX139" fmla="*/ 840127 w 4519987"/>
                    <a:gd name="connsiteY139" fmla="*/ 533400 h 4496940"/>
                    <a:gd name="connsiteX140" fmla="*/ 887752 w 4519987"/>
                    <a:gd name="connsiteY140" fmla="*/ 504825 h 4496940"/>
                    <a:gd name="connsiteX141" fmla="*/ 1167152 w 4519987"/>
                    <a:gd name="connsiteY141" fmla="*/ 311150 h 4496940"/>
                    <a:gd name="connsiteX142" fmla="*/ 1268752 w 4519987"/>
                    <a:gd name="connsiteY142" fmla="*/ 285750 h 4496940"/>
                    <a:gd name="connsiteX143" fmla="*/ 1411627 w 4519987"/>
                    <a:gd name="connsiteY143" fmla="*/ 190500 h 4496940"/>
                    <a:gd name="connsiteX144" fmla="*/ 1449727 w 4519987"/>
                    <a:gd name="connsiteY144" fmla="*/ 161925 h 4496940"/>
                    <a:gd name="connsiteX145" fmla="*/ 1525927 w 4519987"/>
                    <a:gd name="connsiteY145" fmla="*/ 152400 h 4496940"/>
                    <a:gd name="connsiteX146" fmla="*/ 1583077 w 4519987"/>
                    <a:gd name="connsiteY146" fmla="*/ 142875 h 4496940"/>
                    <a:gd name="connsiteX147" fmla="*/ 1716427 w 4519987"/>
                    <a:gd name="connsiteY147" fmla="*/ 123825 h 4496940"/>
                    <a:gd name="connsiteX148" fmla="*/ 1811677 w 4519987"/>
                    <a:gd name="connsiteY148" fmla="*/ 114300 h 4496940"/>
                    <a:gd name="connsiteX149" fmla="*/ 1859302 w 4519987"/>
                    <a:gd name="connsiteY149" fmla="*/ 104775 h 4496940"/>
                    <a:gd name="connsiteX150" fmla="*/ 1916452 w 4519987"/>
                    <a:gd name="connsiteY150" fmla="*/ 95250 h 4496940"/>
                    <a:gd name="connsiteX151" fmla="*/ 2030752 w 4519987"/>
                    <a:gd name="connsiteY151" fmla="*/ 66675 h 4496940"/>
                    <a:gd name="connsiteX152" fmla="*/ 2097427 w 4519987"/>
                    <a:gd name="connsiteY152" fmla="*/ 47625 h 4496940"/>
                    <a:gd name="connsiteX153" fmla="*/ 2164102 w 4519987"/>
                    <a:gd name="connsiteY153" fmla="*/ 38100 h 4496940"/>
                    <a:gd name="connsiteX154" fmla="*/ 2392702 w 4519987"/>
                    <a:gd name="connsiteY15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907177 w 4519987"/>
                    <a:gd name="connsiteY24" fmla="*/ 647700 h 4496940"/>
                    <a:gd name="connsiteX25" fmla="*/ 3935752 w 4519987"/>
                    <a:gd name="connsiteY25" fmla="*/ 676275 h 4496940"/>
                    <a:gd name="connsiteX26" fmla="*/ 4078627 w 4519987"/>
                    <a:gd name="connsiteY26" fmla="*/ 838200 h 4496940"/>
                    <a:gd name="connsiteX27" fmla="*/ 4135777 w 4519987"/>
                    <a:gd name="connsiteY27" fmla="*/ 933450 h 4496940"/>
                    <a:gd name="connsiteX28" fmla="*/ 4164352 w 4519987"/>
                    <a:gd name="connsiteY28" fmla="*/ 990600 h 4496940"/>
                    <a:gd name="connsiteX29" fmla="*/ 4173877 w 4519987"/>
                    <a:gd name="connsiteY29" fmla="*/ 1019175 h 4496940"/>
                    <a:gd name="connsiteX30" fmla="*/ 4192927 w 4519987"/>
                    <a:gd name="connsiteY30" fmla="*/ 1057275 h 4496940"/>
                    <a:gd name="connsiteX31" fmla="*/ 4202452 w 4519987"/>
                    <a:gd name="connsiteY31" fmla="*/ 1085850 h 4496940"/>
                    <a:gd name="connsiteX32" fmla="*/ 4250077 w 4519987"/>
                    <a:gd name="connsiteY32" fmla="*/ 1143000 h 4496940"/>
                    <a:gd name="connsiteX33" fmla="*/ 4259602 w 4519987"/>
                    <a:gd name="connsiteY33" fmla="*/ 1190625 h 4496940"/>
                    <a:gd name="connsiteX34" fmla="*/ 4307227 w 4519987"/>
                    <a:gd name="connsiteY34" fmla="*/ 1266825 h 4496940"/>
                    <a:gd name="connsiteX35" fmla="*/ 4345327 w 4519987"/>
                    <a:gd name="connsiteY35" fmla="*/ 1362075 h 4496940"/>
                    <a:gd name="connsiteX36" fmla="*/ 4373902 w 4519987"/>
                    <a:gd name="connsiteY36" fmla="*/ 1428750 h 4496940"/>
                    <a:gd name="connsiteX37" fmla="*/ 4392952 w 4519987"/>
                    <a:gd name="connsiteY37" fmla="*/ 1552575 h 4496940"/>
                    <a:gd name="connsiteX38" fmla="*/ 4402477 w 4519987"/>
                    <a:gd name="connsiteY38" fmla="*/ 1590675 h 4496940"/>
                    <a:gd name="connsiteX39" fmla="*/ 4431052 w 4519987"/>
                    <a:gd name="connsiteY39" fmla="*/ 1685925 h 4496940"/>
                    <a:gd name="connsiteX40" fmla="*/ 4519952 w 4519987"/>
                    <a:gd name="connsiteY40" fmla="*/ 2181225 h 4496940"/>
                    <a:gd name="connsiteX41" fmla="*/ 4446927 w 4519987"/>
                    <a:gd name="connsiteY41" fmla="*/ 2768600 h 4496940"/>
                    <a:gd name="connsiteX42" fmla="*/ 4383427 w 4519987"/>
                    <a:gd name="connsiteY42" fmla="*/ 2990850 h 4496940"/>
                    <a:gd name="connsiteX43" fmla="*/ 4278652 w 4519987"/>
                    <a:gd name="connsiteY43" fmla="*/ 3248025 h 4496940"/>
                    <a:gd name="connsiteX44" fmla="*/ 4259602 w 4519987"/>
                    <a:gd name="connsiteY44" fmla="*/ 3276600 h 4496940"/>
                    <a:gd name="connsiteX45" fmla="*/ 4221502 w 4519987"/>
                    <a:gd name="connsiteY45" fmla="*/ 3333750 h 4496940"/>
                    <a:gd name="connsiteX46" fmla="*/ 4211977 w 4519987"/>
                    <a:gd name="connsiteY46" fmla="*/ 3362325 h 4496940"/>
                    <a:gd name="connsiteX47" fmla="*/ 4183402 w 4519987"/>
                    <a:gd name="connsiteY47" fmla="*/ 3400425 h 4496940"/>
                    <a:gd name="connsiteX48" fmla="*/ 4164352 w 4519987"/>
                    <a:gd name="connsiteY48" fmla="*/ 3429000 h 4496940"/>
                    <a:gd name="connsiteX49" fmla="*/ 4088152 w 4519987"/>
                    <a:gd name="connsiteY49" fmla="*/ 3495675 h 4496940"/>
                    <a:gd name="connsiteX50" fmla="*/ 4059577 w 4519987"/>
                    <a:gd name="connsiteY50" fmla="*/ 3533775 h 4496940"/>
                    <a:gd name="connsiteX51" fmla="*/ 4002427 w 4519987"/>
                    <a:gd name="connsiteY51" fmla="*/ 3600450 h 4496940"/>
                    <a:gd name="connsiteX52" fmla="*/ 3983377 w 4519987"/>
                    <a:gd name="connsiteY52" fmla="*/ 3629025 h 4496940"/>
                    <a:gd name="connsiteX53" fmla="*/ 3954802 w 4519987"/>
                    <a:gd name="connsiteY53" fmla="*/ 3648075 h 4496940"/>
                    <a:gd name="connsiteX54" fmla="*/ 3907177 w 4519987"/>
                    <a:gd name="connsiteY54" fmla="*/ 3686175 h 4496940"/>
                    <a:gd name="connsiteX55" fmla="*/ 3869077 w 4519987"/>
                    <a:gd name="connsiteY55" fmla="*/ 3724275 h 4496940"/>
                    <a:gd name="connsiteX56" fmla="*/ 3792877 w 4519987"/>
                    <a:gd name="connsiteY56" fmla="*/ 3781425 h 4496940"/>
                    <a:gd name="connsiteX57" fmla="*/ 3783352 w 4519987"/>
                    <a:gd name="connsiteY57" fmla="*/ 3810000 h 4496940"/>
                    <a:gd name="connsiteX58" fmla="*/ 3745252 w 4519987"/>
                    <a:gd name="connsiteY58" fmla="*/ 3819525 h 4496940"/>
                    <a:gd name="connsiteX59" fmla="*/ 3678577 w 4519987"/>
                    <a:gd name="connsiteY59" fmla="*/ 3848100 h 4496940"/>
                    <a:gd name="connsiteX60" fmla="*/ 3659527 w 4519987"/>
                    <a:gd name="connsiteY60" fmla="*/ 3971925 h 4496940"/>
                    <a:gd name="connsiteX61" fmla="*/ 3630952 w 4519987"/>
                    <a:gd name="connsiteY61" fmla="*/ 4010025 h 4496940"/>
                    <a:gd name="connsiteX62" fmla="*/ 3621427 w 4519987"/>
                    <a:gd name="connsiteY62" fmla="*/ 4038600 h 4496940"/>
                    <a:gd name="connsiteX63" fmla="*/ 3554752 w 4519987"/>
                    <a:gd name="connsiteY63" fmla="*/ 4095750 h 4496940"/>
                    <a:gd name="connsiteX64" fmla="*/ 3516652 w 4519987"/>
                    <a:gd name="connsiteY64" fmla="*/ 4114800 h 4496940"/>
                    <a:gd name="connsiteX65" fmla="*/ 3497602 w 4519987"/>
                    <a:gd name="connsiteY65" fmla="*/ 4143375 h 4496940"/>
                    <a:gd name="connsiteX66" fmla="*/ 3383302 w 4519987"/>
                    <a:gd name="connsiteY66" fmla="*/ 4210050 h 4496940"/>
                    <a:gd name="connsiteX67" fmla="*/ 3335677 w 4519987"/>
                    <a:gd name="connsiteY67" fmla="*/ 4238625 h 4496940"/>
                    <a:gd name="connsiteX68" fmla="*/ 3288052 w 4519987"/>
                    <a:gd name="connsiteY68" fmla="*/ 4248150 h 4496940"/>
                    <a:gd name="connsiteX69" fmla="*/ 3240427 w 4519987"/>
                    <a:gd name="connsiteY69" fmla="*/ 4267200 h 4496940"/>
                    <a:gd name="connsiteX70" fmla="*/ 3068977 w 4519987"/>
                    <a:gd name="connsiteY70" fmla="*/ 4286250 h 4496940"/>
                    <a:gd name="connsiteX71" fmla="*/ 2935627 w 4519987"/>
                    <a:gd name="connsiteY71" fmla="*/ 4333875 h 4496940"/>
                    <a:gd name="connsiteX72" fmla="*/ 2811802 w 4519987"/>
                    <a:gd name="connsiteY72" fmla="*/ 4371975 h 4496940"/>
                    <a:gd name="connsiteX73" fmla="*/ 2745127 w 4519987"/>
                    <a:gd name="connsiteY73" fmla="*/ 4410075 h 4496940"/>
                    <a:gd name="connsiteX74" fmla="*/ 2697502 w 4519987"/>
                    <a:gd name="connsiteY74" fmla="*/ 4429125 h 4496940"/>
                    <a:gd name="connsiteX75" fmla="*/ 2640352 w 4519987"/>
                    <a:gd name="connsiteY75" fmla="*/ 4457700 h 4496940"/>
                    <a:gd name="connsiteX76" fmla="*/ 2583202 w 4519987"/>
                    <a:gd name="connsiteY76" fmla="*/ 4467225 h 4496940"/>
                    <a:gd name="connsiteX77" fmla="*/ 2545102 w 4519987"/>
                    <a:gd name="connsiteY77" fmla="*/ 4486275 h 4496940"/>
                    <a:gd name="connsiteX78" fmla="*/ 2306977 w 4519987"/>
                    <a:gd name="connsiteY78" fmla="*/ 4476750 h 4496940"/>
                    <a:gd name="connsiteX79" fmla="*/ 2202202 w 4519987"/>
                    <a:gd name="connsiteY79" fmla="*/ 4457700 h 4496940"/>
                    <a:gd name="connsiteX80" fmla="*/ 2126002 w 4519987"/>
                    <a:gd name="connsiteY80" fmla="*/ 4429125 h 4496940"/>
                    <a:gd name="connsiteX81" fmla="*/ 1935502 w 4519987"/>
                    <a:gd name="connsiteY81" fmla="*/ 4400550 h 4496940"/>
                    <a:gd name="connsiteX82" fmla="*/ 1821202 w 4519987"/>
                    <a:gd name="connsiteY82" fmla="*/ 4371975 h 4496940"/>
                    <a:gd name="connsiteX83" fmla="*/ 1754527 w 4519987"/>
                    <a:gd name="connsiteY83" fmla="*/ 4352925 h 4496940"/>
                    <a:gd name="connsiteX84" fmla="*/ 1687852 w 4519987"/>
                    <a:gd name="connsiteY84" fmla="*/ 4343400 h 4496940"/>
                    <a:gd name="connsiteX85" fmla="*/ 1573552 w 4519987"/>
                    <a:gd name="connsiteY85" fmla="*/ 4305300 h 4496940"/>
                    <a:gd name="connsiteX86" fmla="*/ 1402102 w 4519987"/>
                    <a:gd name="connsiteY86" fmla="*/ 4276725 h 4496940"/>
                    <a:gd name="connsiteX87" fmla="*/ 1287802 w 4519987"/>
                    <a:gd name="connsiteY87" fmla="*/ 4229100 h 4496940"/>
                    <a:gd name="connsiteX88" fmla="*/ 1221127 w 4519987"/>
                    <a:gd name="connsiteY88" fmla="*/ 4200525 h 4496940"/>
                    <a:gd name="connsiteX89" fmla="*/ 1144927 w 4519987"/>
                    <a:gd name="connsiteY89" fmla="*/ 4171950 h 4496940"/>
                    <a:gd name="connsiteX90" fmla="*/ 1087777 w 4519987"/>
                    <a:gd name="connsiteY90" fmla="*/ 4143375 h 4496940"/>
                    <a:gd name="connsiteX91" fmla="*/ 1030627 w 4519987"/>
                    <a:gd name="connsiteY91" fmla="*/ 4124325 h 4496940"/>
                    <a:gd name="connsiteX92" fmla="*/ 925852 w 4519987"/>
                    <a:gd name="connsiteY92" fmla="*/ 4067175 h 4496940"/>
                    <a:gd name="connsiteX93" fmla="*/ 830602 w 4519987"/>
                    <a:gd name="connsiteY93" fmla="*/ 3981450 h 4496940"/>
                    <a:gd name="connsiteX94" fmla="*/ 763927 w 4519987"/>
                    <a:gd name="connsiteY94" fmla="*/ 3914775 h 4496940"/>
                    <a:gd name="connsiteX95" fmla="*/ 725827 w 4519987"/>
                    <a:gd name="connsiteY95" fmla="*/ 3876675 h 4496940"/>
                    <a:gd name="connsiteX96" fmla="*/ 697252 w 4519987"/>
                    <a:gd name="connsiteY96" fmla="*/ 3838575 h 4496940"/>
                    <a:gd name="connsiteX97" fmla="*/ 640102 w 4519987"/>
                    <a:gd name="connsiteY97" fmla="*/ 3781425 h 4496940"/>
                    <a:gd name="connsiteX98" fmla="*/ 611527 w 4519987"/>
                    <a:gd name="connsiteY98" fmla="*/ 3733800 h 4496940"/>
                    <a:gd name="connsiteX99" fmla="*/ 554377 w 4519987"/>
                    <a:gd name="connsiteY99" fmla="*/ 3657600 h 4496940"/>
                    <a:gd name="connsiteX100" fmla="*/ 525802 w 4519987"/>
                    <a:gd name="connsiteY100" fmla="*/ 3609975 h 4496940"/>
                    <a:gd name="connsiteX101" fmla="*/ 497227 w 4519987"/>
                    <a:gd name="connsiteY101" fmla="*/ 3552825 h 4496940"/>
                    <a:gd name="connsiteX102" fmla="*/ 440077 w 4519987"/>
                    <a:gd name="connsiteY102" fmla="*/ 3495675 h 4496940"/>
                    <a:gd name="connsiteX103" fmla="*/ 411502 w 4519987"/>
                    <a:gd name="connsiteY103" fmla="*/ 3448050 h 4496940"/>
                    <a:gd name="connsiteX104" fmla="*/ 278152 w 4519987"/>
                    <a:gd name="connsiteY104" fmla="*/ 3257550 h 4496940"/>
                    <a:gd name="connsiteX105" fmla="*/ 249577 w 4519987"/>
                    <a:gd name="connsiteY105" fmla="*/ 3200400 h 4496940"/>
                    <a:gd name="connsiteX106" fmla="*/ 240052 w 4519987"/>
                    <a:gd name="connsiteY106" fmla="*/ 3162300 h 4496940"/>
                    <a:gd name="connsiteX107" fmla="*/ 221002 w 4519987"/>
                    <a:gd name="connsiteY107" fmla="*/ 3105150 h 4496940"/>
                    <a:gd name="connsiteX108" fmla="*/ 173377 w 4519987"/>
                    <a:gd name="connsiteY108" fmla="*/ 3019425 h 4496940"/>
                    <a:gd name="connsiteX109" fmla="*/ 144802 w 4519987"/>
                    <a:gd name="connsiteY109" fmla="*/ 2924175 h 4496940"/>
                    <a:gd name="connsiteX110" fmla="*/ 68602 w 4519987"/>
                    <a:gd name="connsiteY110" fmla="*/ 2724150 h 4496940"/>
                    <a:gd name="connsiteX111" fmla="*/ 49552 w 4519987"/>
                    <a:gd name="connsiteY111" fmla="*/ 2638425 h 4496940"/>
                    <a:gd name="connsiteX112" fmla="*/ 40027 w 4519987"/>
                    <a:gd name="connsiteY112" fmla="*/ 2562225 h 4496940"/>
                    <a:gd name="connsiteX113" fmla="*/ 30502 w 4519987"/>
                    <a:gd name="connsiteY113" fmla="*/ 2514600 h 4496940"/>
                    <a:gd name="connsiteX114" fmla="*/ 11452 w 4519987"/>
                    <a:gd name="connsiteY114" fmla="*/ 2400300 h 4496940"/>
                    <a:gd name="connsiteX115" fmla="*/ 20977 w 4519987"/>
                    <a:gd name="connsiteY115" fmla="*/ 1905000 h 4496940"/>
                    <a:gd name="connsiteX116" fmla="*/ 30502 w 4519987"/>
                    <a:gd name="connsiteY116" fmla="*/ 1838325 h 4496940"/>
                    <a:gd name="connsiteX117" fmla="*/ 49552 w 4519987"/>
                    <a:gd name="connsiteY117" fmla="*/ 1781175 h 4496940"/>
                    <a:gd name="connsiteX118" fmla="*/ 59077 w 4519987"/>
                    <a:gd name="connsiteY118" fmla="*/ 1743075 h 4496940"/>
                    <a:gd name="connsiteX119" fmla="*/ 78127 w 4519987"/>
                    <a:gd name="connsiteY119" fmla="*/ 1685925 h 4496940"/>
                    <a:gd name="connsiteX120" fmla="*/ 87652 w 4519987"/>
                    <a:gd name="connsiteY120" fmla="*/ 1638300 h 4496940"/>
                    <a:gd name="connsiteX121" fmla="*/ 106702 w 4519987"/>
                    <a:gd name="connsiteY121" fmla="*/ 1590675 h 4496940"/>
                    <a:gd name="connsiteX122" fmla="*/ 135277 w 4519987"/>
                    <a:gd name="connsiteY122" fmla="*/ 1504950 h 4496940"/>
                    <a:gd name="connsiteX123" fmla="*/ 154327 w 4519987"/>
                    <a:gd name="connsiteY123" fmla="*/ 1419225 h 4496940"/>
                    <a:gd name="connsiteX124" fmla="*/ 230527 w 4519987"/>
                    <a:gd name="connsiteY124" fmla="*/ 1276350 h 4496940"/>
                    <a:gd name="connsiteX125" fmla="*/ 240052 w 4519987"/>
                    <a:gd name="connsiteY125" fmla="*/ 1247775 h 4496940"/>
                    <a:gd name="connsiteX126" fmla="*/ 268627 w 4519987"/>
                    <a:gd name="connsiteY126" fmla="*/ 1200150 h 4496940"/>
                    <a:gd name="connsiteX127" fmla="*/ 287677 w 4519987"/>
                    <a:gd name="connsiteY127" fmla="*/ 1152525 h 4496940"/>
                    <a:gd name="connsiteX128" fmla="*/ 316252 w 4519987"/>
                    <a:gd name="connsiteY128" fmla="*/ 1114425 h 4496940"/>
                    <a:gd name="connsiteX129" fmla="*/ 363877 w 4519987"/>
                    <a:gd name="connsiteY129" fmla="*/ 1038225 h 4496940"/>
                    <a:gd name="connsiteX130" fmla="*/ 382927 w 4519987"/>
                    <a:gd name="connsiteY130" fmla="*/ 1009650 h 4496940"/>
                    <a:gd name="connsiteX131" fmla="*/ 440077 w 4519987"/>
                    <a:gd name="connsiteY131" fmla="*/ 904875 h 4496940"/>
                    <a:gd name="connsiteX132" fmla="*/ 478177 w 4519987"/>
                    <a:gd name="connsiteY132" fmla="*/ 857250 h 4496940"/>
                    <a:gd name="connsiteX133" fmla="*/ 497227 w 4519987"/>
                    <a:gd name="connsiteY133" fmla="*/ 828675 h 4496940"/>
                    <a:gd name="connsiteX134" fmla="*/ 535327 w 4519987"/>
                    <a:gd name="connsiteY134" fmla="*/ 800100 h 4496940"/>
                    <a:gd name="connsiteX135" fmla="*/ 602002 w 4519987"/>
                    <a:gd name="connsiteY135" fmla="*/ 733425 h 4496940"/>
                    <a:gd name="connsiteX136" fmla="*/ 668677 w 4519987"/>
                    <a:gd name="connsiteY136" fmla="*/ 676275 h 4496940"/>
                    <a:gd name="connsiteX137" fmla="*/ 697252 w 4519987"/>
                    <a:gd name="connsiteY137" fmla="*/ 657225 h 4496940"/>
                    <a:gd name="connsiteX138" fmla="*/ 840127 w 4519987"/>
                    <a:gd name="connsiteY138" fmla="*/ 533400 h 4496940"/>
                    <a:gd name="connsiteX139" fmla="*/ 887752 w 4519987"/>
                    <a:gd name="connsiteY139" fmla="*/ 504825 h 4496940"/>
                    <a:gd name="connsiteX140" fmla="*/ 1167152 w 4519987"/>
                    <a:gd name="connsiteY140" fmla="*/ 311150 h 4496940"/>
                    <a:gd name="connsiteX141" fmla="*/ 1268752 w 4519987"/>
                    <a:gd name="connsiteY141" fmla="*/ 285750 h 4496940"/>
                    <a:gd name="connsiteX142" fmla="*/ 1411627 w 4519987"/>
                    <a:gd name="connsiteY142" fmla="*/ 190500 h 4496940"/>
                    <a:gd name="connsiteX143" fmla="*/ 1449727 w 4519987"/>
                    <a:gd name="connsiteY143" fmla="*/ 161925 h 4496940"/>
                    <a:gd name="connsiteX144" fmla="*/ 1525927 w 4519987"/>
                    <a:gd name="connsiteY144" fmla="*/ 152400 h 4496940"/>
                    <a:gd name="connsiteX145" fmla="*/ 1583077 w 4519987"/>
                    <a:gd name="connsiteY145" fmla="*/ 142875 h 4496940"/>
                    <a:gd name="connsiteX146" fmla="*/ 1716427 w 4519987"/>
                    <a:gd name="connsiteY146" fmla="*/ 123825 h 4496940"/>
                    <a:gd name="connsiteX147" fmla="*/ 1811677 w 4519987"/>
                    <a:gd name="connsiteY147" fmla="*/ 114300 h 4496940"/>
                    <a:gd name="connsiteX148" fmla="*/ 1859302 w 4519987"/>
                    <a:gd name="connsiteY148" fmla="*/ 104775 h 4496940"/>
                    <a:gd name="connsiteX149" fmla="*/ 1916452 w 4519987"/>
                    <a:gd name="connsiteY149" fmla="*/ 95250 h 4496940"/>
                    <a:gd name="connsiteX150" fmla="*/ 2030752 w 4519987"/>
                    <a:gd name="connsiteY150" fmla="*/ 66675 h 4496940"/>
                    <a:gd name="connsiteX151" fmla="*/ 2097427 w 4519987"/>
                    <a:gd name="connsiteY151" fmla="*/ 47625 h 4496940"/>
                    <a:gd name="connsiteX152" fmla="*/ 2164102 w 4519987"/>
                    <a:gd name="connsiteY152" fmla="*/ 38100 h 4496940"/>
                    <a:gd name="connsiteX153" fmla="*/ 2392702 w 4519987"/>
                    <a:gd name="connsiteY15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678577 w 4519987"/>
                    <a:gd name="connsiteY20" fmla="*/ 504825 h 4496940"/>
                    <a:gd name="connsiteX21" fmla="*/ 3745252 w 4519987"/>
                    <a:gd name="connsiteY21" fmla="*/ 542925 h 4496940"/>
                    <a:gd name="connsiteX22" fmla="*/ 3811927 w 4519987"/>
                    <a:gd name="connsiteY22" fmla="*/ 581025 h 4496940"/>
                    <a:gd name="connsiteX23" fmla="*/ 3907177 w 4519987"/>
                    <a:gd name="connsiteY23" fmla="*/ 647700 h 4496940"/>
                    <a:gd name="connsiteX24" fmla="*/ 3935752 w 4519987"/>
                    <a:gd name="connsiteY24" fmla="*/ 676275 h 4496940"/>
                    <a:gd name="connsiteX25" fmla="*/ 4078627 w 4519987"/>
                    <a:gd name="connsiteY25" fmla="*/ 838200 h 4496940"/>
                    <a:gd name="connsiteX26" fmla="*/ 4135777 w 4519987"/>
                    <a:gd name="connsiteY26" fmla="*/ 933450 h 4496940"/>
                    <a:gd name="connsiteX27" fmla="*/ 4164352 w 4519987"/>
                    <a:gd name="connsiteY27" fmla="*/ 990600 h 4496940"/>
                    <a:gd name="connsiteX28" fmla="*/ 4173877 w 4519987"/>
                    <a:gd name="connsiteY28" fmla="*/ 1019175 h 4496940"/>
                    <a:gd name="connsiteX29" fmla="*/ 4192927 w 4519987"/>
                    <a:gd name="connsiteY29" fmla="*/ 1057275 h 4496940"/>
                    <a:gd name="connsiteX30" fmla="*/ 4202452 w 4519987"/>
                    <a:gd name="connsiteY30" fmla="*/ 1085850 h 4496940"/>
                    <a:gd name="connsiteX31" fmla="*/ 4250077 w 4519987"/>
                    <a:gd name="connsiteY31" fmla="*/ 1143000 h 4496940"/>
                    <a:gd name="connsiteX32" fmla="*/ 4259602 w 4519987"/>
                    <a:gd name="connsiteY32" fmla="*/ 1190625 h 4496940"/>
                    <a:gd name="connsiteX33" fmla="*/ 4307227 w 4519987"/>
                    <a:gd name="connsiteY33" fmla="*/ 1266825 h 4496940"/>
                    <a:gd name="connsiteX34" fmla="*/ 4345327 w 4519987"/>
                    <a:gd name="connsiteY34" fmla="*/ 1362075 h 4496940"/>
                    <a:gd name="connsiteX35" fmla="*/ 4373902 w 4519987"/>
                    <a:gd name="connsiteY35" fmla="*/ 1428750 h 4496940"/>
                    <a:gd name="connsiteX36" fmla="*/ 4392952 w 4519987"/>
                    <a:gd name="connsiteY36" fmla="*/ 1552575 h 4496940"/>
                    <a:gd name="connsiteX37" fmla="*/ 4402477 w 4519987"/>
                    <a:gd name="connsiteY37" fmla="*/ 1590675 h 4496940"/>
                    <a:gd name="connsiteX38" fmla="*/ 4431052 w 4519987"/>
                    <a:gd name="connsiteY38" fmla="*/ 1685925 h 4496940"/>
                    <a:gd name="connsiteX39" fmla="*/ 4519952 w 4519987"/>
                    <a:gd name="connsiteY39" fmla="*/ 2181225 h 4496940"/>
                    <a:gd name="connsiteX40" fmla="*/ 4446927 w 4519987"/>
                    <a:gd name="connsiteY40" fmla="*/ 2768600 h 4496940"/>
                    <a:gd name="connsiteX41" fmla="*/ 4383427 w 4519987"/>
                    <a:gd name="connsiteY41" fmla="*/ 2990850 h 4496940"/>
                    <a:gd name="connsiteX42" fmla="*/ 4278652 w 4519987"/>
                    <a:gd name="connsiteY42" fmla="*/ 3248025 h 4496940"/>
                    <a:gd name="connsiteX43" fmla="*/ 4259602 w 4519987"/>
                    <a:gd name="connsiteY43" fmla="*/ 3276600 h 4496940"/>
                    <a:gd name="connsiteX44" fmla="*/ 4221502 w 4519987"/>
                    <a:gd name="connsiteY44" fmla="*/ 3333750 h 4496940"/>
                    <a:gd name="connsiteX45" fmla="*/ 4211977 w 4519987"/>
                    <a:gd name="connsiteY45" fmla="*/ 3362325 h 4496940"/>
                    <a:gd name="connsiteX46" fmla="*/ 4183402 w 4519987"/>
                    <a:gd name="connsiteY46" fmla="*/ 3400425 h 4496940"/>
                    <a:gd name="connsiteX47" fmla="*/ 4164352 w 4519987"/>
                    <a:gd name="connsiteY47" fmla="*/ 3429000 h 4496940"/>
                    <a:gd name="connsiteX48" fmla="*/ 4088152 w 4519987"/>
                    <a:gd name="connsiteY48" fmla="*/ 3495675 h 4496940"/>
                    <a:gd name="connsiteX49" fmla="*/ 4059577 w 4519987"/>
                    <a:gd name="connsiteY49" fmla="*/ 3533775 h 4496940"/>
                    <a:gd name="connsiteX50" fmla="*/ 4002427 w 4519987"/>
                    <a:gd name="connsiteY50" fmla="*/ 3600450 h 4496940"/>
                    <a:gd name="connsiteX51" fmla="*/ 3983377 w 4519987"/>
                    <a:gd name="connsiteY51" fmla="*/ 3629025 h 4496940"/>
                    <a:gd name="connsiteX52" fmla="*/ 3954802 w 4519987"/>
                    <a:gd name="connsiteY52" fmla="*/ 3648075 h 4496940"/>
                    <a:gd name="connsiteX53" fmla="*/ 3907177 w 4519987"/>
                    <a:gd name="connsiteY53" fmla="*/ 3686175 h 4496940"/>
                    <a:gd name="connsiteX54" fmla="*/ 3869077 w 4519987"/>
                    <a:gd name="connsiteY54" fmla="*/ 3724275 h 4496940"/>
                    <a:gd name="connsiteX55" fmla="*/ 3792877 w 4519987"/>
                    <a:gd name="connsiteY55" fmla="*/ 3781425 h 4496940"/>
                    <a:gd name="connsiteX56" fmla="*/ 3783352 w 4519987"/>
                    <a:gd name="connsiteY56" fmla="*/ 3810000 h 4496940"/>
                    <a:gd name="connsiteX57" fmla="*/ 3745252 w 4519987"/>
                    <a:gd name="connsiteY57" fmla="*/ 3819525 h 4496940"/>
                    <a:gd name="connsiteX58" fmla="*/ 3678577 w 4519987"/>
                    <a:gd name="connsiteY58" fmla="*/ 3848100 h 4496940"/>
                    <a:gd name="connsiteX59" fmla="*/ 3659527 w 4519987"/>
                    <a:gd name="connsiteY59" fmla="*/ 3971925 h 4496940"/>
                    <a:gd name="connsiteX60" fmla="*/ 3630952 w 4519987"/>
                    <a:gd name="connsiteY60" fmla="*/ 4010025 h 4496940"/>
                    <a:gd name="connsiteX61" fmla="*/ 3621427 w 4519987"/>
                    <a:gd name="connsiteY61" fmla="*/ 4038600 h 4496940"/>
                    <a:gd name="connsiteX62" fmla="*/ 3554752 w 4519987"/>
                    <a:gd name="connsiteY62" fmla="*/ 4095750 h 4496940"/>
                    <a:gd name="connsiteX63" fmla="*/ 3516652 w 4519987"/>
                    <a:gd name="connsiteY63" fmla="*/ 4114800 h 4496940"/>
                    <a:gd name="connsiteX64" fmla="*/ 3497602 w 4519987"/>
                    <a:gd name="connsiteY64" fmla="*/ 4143375 h 4496940"/>
                    <a:gd name="connsiteX65" fmla="*/ 3383302 w 4519987"/>
                    <a:gd name="connsiteY65" fmla="*/ 4210050 h 4496940"/>
                    <a:gd name="connsiteX66" fmla="*/ 3335677 w 4519987"/>
                    <a:gd name="connsiteY66" fmla="*/ 4238625 h 4496940"/>
                    <a:gd name="connsiteX67" fmla="*/ 3288052 w 4519987"/>
                    <a:gd name="connsiteY67" fmla="*/ 4248150 h 4496940"/>
                    <a:gd name="connsiteX68" fmla="*/ 3240427 w 4519987"/>
                    <a:gd name="connsiteY68" fmla="*/ 4267200 h 4496940"/>
                    <a:gd name="connsiteX69" fmla="*/ 3068977 w 4519987"/>
                    <a:gd name="connsiteY69" fmla="*/ 4286250 h 4496940"/>
                    <a:gd name="connsiteX70" fmla="*/ 2935627 w 4519987"/>
                    <a:gd name="connsiteY70" fmla="*/ 4333875 h 4496940"/>
                    <a:gd name="connsiteX71" fmla="*/ 2811802 w 4519987"/>
                    <a:gd name="connsiteY71" fmla="*/ 4371975 h 4496940"/>
                    <a:gd name="connsiteX72" fmla="*/ 2745127 w 4519987"/>
                    <a:gd name="connsiteY72" fmla="*/ 4410075 h 4496940"/>
                    <a:gd name="connsiteX73" fmla="*/ 2697502 w 4519987"/>
                    <a:gd name="connsiteY73" fmla="*/ 4429125 h 4496940"/>
                    <a:gd name="connsiteX74" fmla="*/ 2640352 w 4519987"/>
                    <a:gd name="connsiteY74" fmla="*/ 4457700 h 4496940"/>
                    <a:gd name="connsiteX75" fmla="*/ 2583202 w 4519987"/>
                    <a:gd name="connsiteY75" fmla="*/ 4467225 h 4496940"/>
                    <a:gd name="connsiteX76" fmla="*/ 2545102 w 4519987"/>
                    <a:gd name="connsiteY76" fmla="*/ 4486275 h 4496940"/>
                    <a:gd name="connsiteX77" fmla="*/ 2306977 w 4519987"/>
                    <a:gd name="connsiteY77" fmla="*/ 4476750 h 4496940"/>
                    <a:gd name="connsiteX78" fmla="*/ 2202202 w 4519987"/>
                    <a:gd name="connsiteY78" fmla="*/ 4457700 h 4496940"/>
                    <a:gd name="connsiteX79" fmla="*/ 2126002 w 4519987"/>
                    <a:gd name="connsiteY79" fmla="*/ 4429125 h 4496940"/>
                    <a:gd name="connsiteX80" fmla="*/ 1935502 w 4519987"/>
                    <a:gd name="connsiteY80" fmla="*/ 4400550 h 4496940"/>
                    <a:gd name="connsiteX81" fmla="*/ 1821202 w 4519987"/>
                    <a:gd name="connsiteY81" fmla="*/ 4371975 h 4496940"/>
                    <a:gd name="connsiteX82" fmla="*/ 1754527 w 4519987"/>
                    <a:gd name="connsiteY82" fmla="*/ 4352925 h 4496940"/>
                    <a:gd name="connsiteX83" fmla="*/ 1687852 w 4519987"/>
                    <a:gd name="connsiteY83" fmla="*/ 4343400 h 4496940"/>
                    <a:gd name="connsiteX84" fmla="*/ 1573552 w 4519987"/>
                    <a:gd name="connsiteY84" fmla="*/ 4305300 h 4496940"/>
                    <a:gd name="connsiteX85" fmla="*/ 1402102 w 4519987"/>
                    <a:gd name="connsiteY85" fmla="*/ 4276725 h 4496940"/>
                    <a:gd name="connsiteX86" fmla="*/ 1287802 w 4519987"/>
                    <a:gd name="connsiteY86" fmla="*/ 4229100 h 4496940"/>
                    <a:gd name="connsiteX87" fmla="*/ 1221127 w 4519987"/>
                    <a:gd name="connsiteY87" fmla="*/ 4200525 h 4496940"/>
                    <a:gd name="connsiteX88" fmla="*/ 1144927 w 4519987"/>
                    <a:gd name="connsiteY88" fmla="*/ 4171950 h 4496940"/>
                    <a:gd name="connsiteX89" fmla="*/ 1087777 w 4519987"/>
                    <a:gd name="connsiteY89" fmla="*/ 4143375 h 4496940"/>
                    <a:gd name="connsiteX90" fmla="*/ 1030627 w 4519987"/>
                    <a:gd name="connsiteY90" fmla="*/ 4124325 h 4496940"/>
                    <a:gd name="connsiteX91" fmla="*/ 925852 w 4519987"/>
                    <a:gd name="connsiteY91" fmla="*/ 4067175 h 4496940"/>
                    <a:gd name="connsiteX92" fmla="*/ 830602 w 4519987"/>
                    <a:gd name="connsiteY92" fmla="*/ 3981450 h 4496940"/>
                    <a:gd name="connsiteX93" fmla="*/ 763927 w 4519987"/>
                    <a:gd name="connsiteY93" fmla="*/ 3914775 h 4496940"/>
                    <a:gd name="connsiteX94" fmla="*/ 725827 w 4519987"/>
                    <a:gd name="connsiteY94" fmla="*/ 3876675 h 4496940"/>
                    <a:gd name="connsiteX95" fmla="*/ 697252 w 4519987"/>
                    <a:gd name="connsiteY95" fmla="*/ 3838575 h 4496940"/>
                    <a:gd name="connsiteX96" fmla="*/ 640102 w 4519987"/>
                    <a:gd name="connsiteY96" fmla="*/ 3781425 h 4496940"/>
                    <a:gd name="connsiteX97" fmla="*/ 611527 w 4519987"/>
                    <a:gd name="connsiteY97" fmla="*/ 3733800 h 4496940"/>
                    <a:gd name="connsiteX98" fmla="*/ 554377 w 4519987"/>
                    <a:gd name="connsiteY98" fmla="*/ 3657600 h 4496940"/>
                    <a:gd name="connsiteX99" fmla="*/ 525802 w 4519987"/>
                    <a:gd name="connsiteY99" fmla="*/ 3609975 h 4496940"/>
                    <a:gd name="connsiteX100" fmla="*/ 497227 w 4519987"/>
                    <a:gd name="connsiteY100" fmla="*/ 3552825 h 4496940"/>
                    <a:gd name="connsiteX101" fmla="*/ 440077 w 4519987"/>
                    <a:gd name="connsiteY101" fmla="*/ 3495675 h 4496940"/>
                    <a:gd name="connsiteX102" fmla="*/ 411502 w 4519987"/>
                    <a:gd name="connsiteY102" fmla="*/ 3448050 h 4496940"/>
                    <a:gd name="connsiteX103" fmla="*/ 278152 w 4519987"/>
                    <a:gd name="connsiteY103" fmla="*/ 3257550 h 4496940"/>
                    <a:gd name="connsiteX104" fmla="*/ 249577 w 4519987"/>
                    <a:gd name="connsiteY104" fmla="*/ 3200400 h 4496940"/>
                    <a:gd name="connsiteX105" fmla="*/ 240052 w 4519987"/>
                    <a:gd name="connsiteY105" fmla="*/ 3162300 h 4496940"/>
                    <a:gd name="connsiteX106" fmla="*/ 221002 w 4519987"/>
                    <a:gd name="connsiteY106" fmla="*/ 3105150 h 4496940"/>
                    <a:gd name="connsiteX107" fmla="*/ 173377 w 4519987"/>
                    <a:gd name="connsiteY107" fmla="*/ 3019425 h 4496940"/>
                    <a:gd name="connsiteX108" fmla="*/ 144802 w 4519987"/>
                    <a:gd name="connsiteY108" fmla="*/ 2924175 h 4496940"/>
                    <a:gd name="connsiteX109" fmla="*/ 68602 w 4519987"/>
                    <a:gd name="connsiteY109" fmla="*/ 2724150 h 4496940"/>
                    <a:gd name="connsiteX110" fmla="*/ 49552 w 4519987"/>
                    <a:gd name="connsiteY110" fmla="*/ 2638425 h 4496940"/>
                    <a:gd name="connsiteX111" fmla="*/ 40027 w 4519987"/>
                    <a:gd name="connsiteY111" fmla="*/ 2562225 h 4496940"/>
                    <a:gd name="connsiteX112" fmla="*/ 30502 w 4519987"/>
                    <a:gd name="connsiteY112" fmla="*/ 2514600 h 4496940"/>
                    <a:gd name="connsiteX113" fmla="*/ 11452 w 4519987"/>
                    <a:gd name="connsiteY113" fmla="*/ 2400300 h 4496940"/>
                    <a:gd name="connsiteX114" fmla="*/ 20977 w 4519987"/>
                    <a:gd name="connsiteY114" fmla="*/ 1905000 h 4496940"/>
                    <a:gd name="connsiteX115" fmla="*/ 30502 w 4519987"/>
                    <a:gd name="connsiteY115" fmla="*/ 1838325 h 4496940"/>
                    <a:gd name="connsiteX116" fmla="*/ 49552 w 4519987"/>
                    <a:gd name="connsiteY116" fmla="*/ 1781175 h 4496940"/>
                    <a:gd name="connsiteX117" fmla="*/ 59077 w 4519987"/>
                    <a:gd name="connsiteY117" fmla="*/ 1743075 h 4496940"/>
                    <a:gd name="connsiteX118" fmla="*/ 78127 w 4519987"/>
                    <a:gd name="connsiteY118" fmla="*/ 1685925 h 4496940"/>
                    <a:gd name="connsiteX119" fmla="*/ 87652 w 4519987"/>
                    <a:gd name="connsiteY119" fmla="*/ 1638300 h 4496940"/>
                    <a:gd name="connsiteX120" fmla="*/ 106702 w 4519987"/>
                    <a:gd name="connsiteY120" fmla="*/ 1590675 h 4496940"/>
                    <a:gd name="connsiteX121" fmla="*/ 135277 w 4519987"/>
                    <a:gd name="connsiteY121" fmla="*/ 1504950 h 4496940"/>
                    <a:gd name="connsiteX122" fmla="*/ 154327 w 4519987"/>
                    <a:gd name="connsiteY122" fmla="*/ 1419225 h 4496940"/>
                    <a:gd name="connsiteX123" fmla="*/ 230527 w 4519987"/>
                    <a:gd name="connsiteY123" fmla="*/ 1276350 h 4496940"/>
                    <a:gd name="connsiteX124" fmla="*/ 240052 w 4519987"/>
                    <a:gd name="connsiteY124" fmla="*/ 1247775 h 4496940"/>
                    <a:gd name="connsiteX125" fmla="*/ 268627 w 4519987"/>
                    <a:gd name="connsiteY125" fmla="*/ 1200150 h 4496940"/>
                    <a:gd name="connsiteX126" fmla="*/ 287677 w 4519987"/>
                    <a:gd name="connsiteY126" fmla="*/ 1152525 h 4496940"/>
                    <a:gd name="connsiteX127" fmla="*/ 316252 w 4519987"/>
                    <a:gd name="connsiteY127" fmla="*/ 1114425 h 4496940"/>
                    <a:gd name="connsiteX128" fmla="*/ 363877 w 4519987"/>
                    <a:gd name="connsiteY128" fmla="*/ 1038225 h 4496940"/>
                    <a:gd name="connsiteX129" fmla="*/ 382927 w 4519987"/>
                    <a:gd name="connsiteY129" fmla="*/ 1009650 h 4496940"/>
                    <a:gd name="connsiteX130" fmla="*/ 440077 w 4519987"/>
                    <a:gd name="connsiteY130" fmla="*/ 904875 h 4496940"/>
                    <a:gd name="connsiteX131" fmla="*/ 478177 w 4519987"/>
                    <a:gd name="connsiteY131" fmla="*/ 857250 h 4496940"/>
                    <a:gd name="connsiteX132" fmla="*/ 497227 w 4519987"/>
                    <a:gd name="connsiteY132" fmla="*/ 828675 h 4496940"/>
                    <a:gd name="connsiteX133" fmla="*/ 535327 w 4519987"/>
                    <a:gd name="connsiteY133" fmla="*/ 800100 h 4496940"/>
                    <a:gd name="connsiteX134" fmla="*/ 602002 w 4519987"/>
                    <a:gd name="connsiteY134" fmla="*/ 733425 h 4496940"/>
                    <a:gd name="connsiteX135" fmla="*/ 668677 w 4519987"/>
                    <a:gd name="connsiteY135" fmla="*/ 676275 h 4496940"/>
                    <a:gd name="connsiteX136" fmla="*/ 697252 w 4519987"/>
                    <a:gd name="connsiteY136" fmla="*/ 657225 h 4496940"/>
                    <a:gd name="connsiteX137" fmla="*/ 840127 w 4519987"/>
                    <a:gd name="connsiteY137" fmla="*/ 533400 h 4496940"/>
                    <a:gd name="connsiteX138" fmla="*/ 887752 w 4519987"/>
                    <a:gd name="connsiteY138" fmla="*/ 504825 h 4496940"/>
                    <a:gd name="connsiteX139" fmla="*/ 1167152 w 4519987"/>
                    <a:gd name="connsiteY139" fmla="*/ 311150 h 4496940"/>
                    <a:gd name="connsiteX140" fmla="*/ 1268752 w 4519987"/>
                    <a:gd name="connsiteY140" fmla="*/ 285750 h 4496940"/>
                    <a:gd name="connsiteX141" fmla="*/ 1411627 w 4519987"/>
                    <a:gd name="connsiteY141" fmla="*/ 190500 h 4496940"/>
                    <a:gd name="connsiteX142" fmla="*/ 1449727 w 4519987"/>
                    <a:gd name="connsiteY142" fmla="*/ 161925 h 4496940"/>
                    <a:gd name="connsiteX143" fmla="*/ 1525927 w 4519987"/>
                    <a:gd name="connsiteY143" fmla="*/ 152400 h 4496940"/>
                    <a:gd name="connsiteX144" fmla="*/ 1583077 w 4519987"/>
                    <a:gd name="connsiteY144" fmla="*/ 142875 h 4496940"/>
                    <a:gd name="connsiteX145" fmla="*/ 1716427 w 4519987"/>
                    <a:gd name="connsiteY145" fmla="*/ 123825 h 4496940"/>
                    <a:gd name="connsiteX146" fmla="*/ 1811677 w 4519987"/>
                    <a:gd name="connsiteY146" fmla="*/ 114300 h 4496940"/>
                    <a:gd name="connsiteX147" fmla="*/ 1859302 w 4519987"/>
                    <a:gd name="connsiteY147" fmla="*/ 104775 h 4496940"/>
                    <a:gd name="connsiteX148" fmla="*/ 1916452 w 4519987"/>
                    <a:gd name="connsiteY148" fmla="*/ 95250 h 4496940"/>
                    <a:gd name="connsiteX149" fmla="*/ 2030752 w 4519987"/>
                    <a:gd name="connsiteY149" fmla="*/ 66675 h 4496940"/>
                    <a:gd name="connsiteX150" fmla="*/ 2097427 w 4519987"/>
                    <a:gd name="connsiteY150" fmla="*/ 47625 h 4496940"/>
                    <a:gd name="connsiteX151" fmla="*/ 2164102 w 4519987"/>
                    <a:gd name="connsiteY151" fmla="*/ 38100 h 4496940"/>
                    <a:gd name="connsiteX152" fmla="*/ 2392702 w 4519987"/>
                    <a:gd name="connsiteY15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745252 w 4519987"/>
                    <a:gd name="connsiteY20" fmla="*/ 542925 h 4496940"/>
                    <a:gd name="connsiteX21" fmla="*/ 3811927 w 4519987"/>
                    <a:gd name="connsiteY21" fmla="*/ 581025 h 4496940"/>
                    <a:gd name="connsiteX22" fmla="*/ 3907177 w 4519987"/>
                    <a:gd name="connsiteY22" fmla="*/ 647700 h 4496940"/>
                    <a:gd name="connsiteX23" fmla="*/ 3935752 w 4519987"/>
                    <a:gd name="connsiteY23" fmla="*/ 676275 h 4496940"/>
                    <a:gd name="connsiteX24" fmla="*/ 4078627 w 4519987"/>
                    <a:gd name="connsiteY24" fmla="*/ 838200 h 4496940"/>
                    <a:gd name="connsiteX25" fmla="*/ 4135777 w 4519987"/>
                    <a:gd name="connsiteY25" fmla="*/ 933450 h 4496940"/>
                    <a:gd name="connsiteX26" fmla="*/ 4164352 w 4519987"/>
                    <a:gd name="connsiteY26" fmla="*/ 990600 h 4496940"/>
                    <a:gd name="connsiteX27" fmla="*/ 4173877 w 4519987"/>
                    <a:gd name="connsiteY27" fmla="*/ 1019175 h 4496940"/>
                    <a:gd name="connsiteX28" fmla="*/ 4192927 w 4519987"/>
                    <a:gd name="connsiteY28" fmla="*/ 1057275 h 4496940"/>
                    <a:gd name="connsiteX29" fmla="*/ 4202452 w 4519987"/>
                    <a:gd name="connsiteY29" fmla="*/ 1085850 h 4496940"/>
                    <a:gd name="connsiteX30" fmla="*/ 4250077 w 4519987"/>
                    <a:gd name="connsiteY30" fmla="*/ 1143000 h 4496940"/>
                    <a:gd name="connsiteX31" fmla="*/ 4259602 w 4519987"/>
                    <a:gd name="connsiteY31" fmla="*/ 1190625 h 4496940"/>
                    <a:gd name="connsiteX32" fmla="*/ 4307227 w 4519987"/>
                    <a:gd name="connsiteY32" fmla="*/ 1266825 h 4496940"/>
                    <a:gd name="connsiteX33" fmla="*/ 4345327 w 4519987"/>
                    <a:gd name="connsiteY33" fmla="*/ 1362075 h 4496940"/>
                    <a:gd name="connsiteX34" fmla="*/ 4373902 w 4519987"/>
                    <a:gd name="connsiteY34" fmla="*/ 1428750 h 4496940"/>
                    <a:gd name="connsiteX35" fmla="*/ 4392952 w 4519987"/>
                    <a:gd name="connsiteY35" fmla="*/ 1552575 h 4496940"/>
                    <a:gd name="connsiteX36" fmla="*/ 4402477 w 4519987"/>
                    <a:gd name="connsiteY36" fmla="*/ 1590675 h 4496940"/>
                    <a:gd name="connsiteX37" fmla="*/ 4431052 w 4519987"/>
                    <a:gd name="connsiteY37" fmla="*/ 1685925 h 4496940"/>
                    <a:gd name="connsiteX38" fmla="*/ 4519952 w 4519987"/>
                    <a:gd name="connsiteY38" fmla="*/ 2181225 h 4496940"/>
                    <a:gd name="connsiteX39" fmla="*/ 4446927 w 4519987"/>
                    <a:gd name="connsiteY39" fmla="*/ 2768600 h 4496940"/>
                    <a:gd name="connsiteX40" fmla="*/ 4383427 w 4519987"/>
                    <a:gd name="connsiteY40" fmla="*/ 2990850 h 4496940"/>
                    <a:gd name="connsiteX41" fmla="*/ 4278652 w 4519987"/>
                    <a:gd name="connsiteY41" fmla="*/ 3248025 h 4496940"/>
                    <a:gd name="connsiteX42" fmla="*/ 4259602 w 4519987"/>
                    <a:gd name="connsiteY42" fmla="*/ 3276600 h 4496940"/>
                    <a:gd name="connsiteX43" fmla="*/ 4221502 w 4519987"/>
                    <a:gd name="connsiteY43" fmla="*/ 3333750 h 4496940"/>
                    <a:gd name="connsiteX44" fmla="*/ 4211977 w 4519987"/>
                    <a:gd name="connsiteY44" fmla="*/ 3362325 h 4496940"/>
                    <a:gd name="connsiteX45" fmla="*/ 4183402 w 4519987"/>
                    <a:gd name="connsiteY45" fmla="*/ 3400425 h 4496940"/>
                    <a:gd name="connsiteX46" fmla="*/ 4164352 w 4519987"/>
                    <a:gd name="connsiteY46" fmla="*/ 3429000 h 4496940"/>
                    <a:gd name="connsiteX47" fmla="*/ 4088152 w 4519987"/>
                    <a:gd name="connsiteY47" fmla="*/ 3495675 h 4496940"/>
                    <a:gd name="connsiteX48" fmla="*/ 4059577 w 4519987"/>
                    <a:gd name="connsiteY48" fmla="*/ 3533775 h 4496940"/>
                    <a:gd name="connsiteX49" fmla="*/ 4002427 w 4519987"/>
                    <a:gd name="connsiteY49" fmla="*/ 3600450 h 4496940"/>
                    <a:gd name="connsiteX50" fmla="*/ 3983377 w 4519987"/>
                    <a:gd name="connsiteY50" fmla="*/ 3629025 h 4496940"/>
                    <a:gd name="connsiteX51" fmla="*/ 3954802 w 4519987"/>
                    <a:gd name="connsiteY51" fmla="*/ 3648075 h 4496940"/>
                    <a:gd name="connsiteX52" fmla="*/ 3907177 w 4519987"/>
                    <a:gd name="connsiteY52" fmla="*/ 3686175 h 4496940"/>
                    <a:gd name="connsiteX53" fmla="*/ 3869077 w 4519987"/>
                    <a:gd name="connsiteY53" fmla="*/ 3724275 h 4496940"/>
                    <a:gd name="connsiteX54" fmla="*/ 3792877 w 4519987"/>
                    <a:gd name="connsiteY54" fmla="*/ 3781425 h 4496940"/>
                    <a:gd name="connsiteX55" fmla="*/ 3783352 w 4519987"/>
                    <a:gd name="connsiteY55" fmla="*/ 3810000 h 4496940"/>
                    <a:gd name="connsiteX56" fmla="*/ 3745252 w 4519987"/>
                    <a:gd name="connsiteY56" fmla="*/ 3819525 h 4496940"/>
                    <a:gd name="connsiteX57" fmla="*/ 3678577 w 4519987"/>
                    <a:gd name="connsiteY57" fmla="*/ 3848100 h 4496940"/>
                    <a:gd name="connsiteX58" fmla="*/ 3659527 w 4519987"/>
                    <a:gd name="connsiteY58" fmla="*/ 3971925 h 4496940"/>
                    <a:gd name="connsiteX59" fmla="*/ 3630952 w 4519987"/>
                    <a:gd name="connsiteY59" fmla="*/ 4010025 h 4496940"/>
                    <a:gd name="connsiteX60" fmla="*/ 3621427 w 4519987"/>
                    <a:gd name="connsiteY60" fmla="*/ 4038600 h 4496940"/>
                    <a:gd name="connsiteX61" fmla="*/ 3554752 w 4519987"/>
                    <a:gd name="connsiteY61" fmla="*/ 4095750 h 4496940"/>
                    <a:gd name="connsiteX62" fmla="*/ 3516652 w 4519987"/>
                    <a:gd name="connsiteY62" fmla="*/ 4114800 h 4496940"/>
                    <a:gd name="connsiteX63" fmla="*/ 3497602 w 4519987"/>
                    <a:gd name="connsiteY63" fmla="*/ 4143375 h 4496940"/>
                    <a:gd name="connsiteX64" fmla="*/ 3383302 w 4519987"/>
                    <a:gd name="connsiteY64" fmla="*/ 4210050 h 4496940"/>
                    <a:gd name="connsiteX65" fmla="*/ 3335677 w 4519987"/>
                    <a:gd name="connsiteY65" fmla="*/ 4238625 h 4496940"/>
                    <a:gd name="connsiteX66" fmla="*/ 3288052 w 4519987"/>
                    <a:gd name="connsiteY66" fmla="*/ 4248150 h 4496940"/>
                    <a:gd name="connsiteX67" fmla="*/ 3240427 w 4519987"/>
                    <a:gd name="connsiteY67" fmla="*/ 4267200 h 4496940"/>
                    <a:gd name="connsiteX68" fmla="*/ 3068977 w 4519987"/>
                    <a:gd name="connsiteY68" fmla="*/ 4286250 h 4496940"/>
                    <a:gd name="connsiteX69" fmla="*/ 2935627 w 4519987"/>
                    <a:gd name="connsiteY69" fmla="*/ 4333875 h 4496940"/>
                    <a:gd name="connsiteX70" fmla="*/ 2811802 w 4519987"/>
                    <a:gd name="connsiteY70" fmla="*/ 4371975 h 4496940"/>
                    <a:gd name="connsiteX71" fmla="*/ 2745127 w 4519987"/>
                    <a:gd name="connsiteY71" fmla="*/ 4410075 h 4496940"/>
                    <a:gd name="connsiteX72" fmla="*/ 2697502 w 4519987"/>
                    <a:gd name="connsiteY72" fmla="*/ 4429125 h 4496940"/>
                    <a:gd name="connsiteX73" fmla="*/ 2640352 w 4519987"/>
                    <a:gd name="connsiteY73" fmla="*/ 4457700 h 4496940"/>
                    <a:gd name="connsiteX74" fmla="*/ 2583202 w 4519987"/>
                    <a:gd name="connsiteY74" fmla="*/ 4467225 h 4496940"/>
                    <a:gd name="connsiteX75" fmla="*/ 2545102 w 4519987"/>
                    <a:gd name="connsiteY75" fmla="*/ 4486275 h 4496940"/>
                    <a:gd name="connsiteX76" fmla="*/ 2306977 w 4519987"/>
                    <a:gd name="connsiteY76" fmla="*/ 4476750 h 4496940"/>
                    <a:gd name="connsiteX77" fmla="*/ 2202202 w 4519987"/>
                    <a:gd name="connsiteY77" fmla="*/ 4457700 h 4496940"/>
                    <a:gd name="connsiteX78" fmla="*/ 2126002 w 4519987"/>
                    <a:gd name="connsiteY78" fmla="*/ 4429125 h 4496940"/>
                    <a:gd name="connsiteX79" fmla="*/ 1935502 w 4519987"/>
                    <a:gd name="connsiteY79" fmla="*/ 4400550 h 4496940"/>
                    <a:gd name="connsiteX80" fmla="*/ 1821202 w 4519987"/>
                    <a:gd name="connsiteY80" fmla="*/ 4371975 h 4496940"/>
                    <a:gd name="connsiteX81" fmla="*/ 1754527 w 4519987"/>
                    <a:gd name="connsiteY81" fmla="*/ 4352925 h 4496940"/>
                    <a:gd name="connsiteX82" fmla="*/ 1687852 w 4519987"/>
                    <a:gd name="connsiteY82" fmla="*/ 4343400 h 4496940"/>
                    <a:gd name="connsiteX83" fmla="*/ 1573552 w 4519987"/>
                    <a:gd name="connsiteY83" fmla="*/ 4305300 h 4496940"/>
                    <a:gd name="connsiteX84" fmla="*/ 1402102 w 4519987"/>
                    <a:gd name="connsiteY84" fmla="*/ 4276725 h 4496940"/>
                    <a:gd name="connsiteX85" fmla="*/ 1287802 w 4519987"/>
                    <a:gd name="connsiteY85" fmla="*/ 4229100 h 4496940"/>
                    <a:gd name="connsiteX86" fmla="*/ 1221127 w 4519987"/>
                    <a:gd name="connsiteY86" fmla="*/ 4200525 h 4496940"/>
                    <a:gd name="connsiteX87" fmla="*/ 1144927 w 4519987"/>
                    <a:gd name="connsiteY87" fmla="*/ 4171950 h 4496940"/>
                    <a:gd name="connsiteX88" fmla="*/ 1087777 w 4519987"/>
                    <a:gd name="connsiteY88" fmla="*/ 4143375 h 4496940"/>
                    <a:gd name="connsiteX89" fmla="*/ 1030627 w 4519987"/>
                    <a:gd name="connsiteY89" fmla="*/ 4124325 h 4496940"/>
                    <a:gd name="connsiteX90" fmla="*/ 925852 w 4519987"/>
                    <a:gd name="connsiteY90" fmla="*/ 4067175 h 4496940"/>
                    <a:gd name="connsiteX91" fmla="*/ 830602 w 4519987"/>
                    <a:gd name="connsiteY91" fmla="*/ 3981450 h 4496940"/>
                    <a:gd name="connsiteX92" fmla="*/ 763927 w 4519987"/>
                    <a:gd name="connsiteY92" fmla="*/ 3914775 h 4496940"/>
                    <a:gd name="connsiteX93" fmla="*/ 725827 w 4519987"/>
                    <a:gd name="connsiteY93" fmla="*/ 3876675 h 4496940"/>
                    <a:gd name="connsiteX94" fmla="*/ 697252 w 4519987"/>
                    <a:gd name="connsiteY94" fmla="*/ 3838575 h 4496940"/>
                    <a:gd name="connsiteX95" fmla="*/ 640102 w 4519987"/>
                    <a:gd name="connsiteY95" fmla="*/ 3781425 h 4496940"/>
                    <a:gd name="connsiteX96" fmla="*/ 611527 w 4519987"/>
                    <a:gd name="connsiteY96" fmla="*/ 3733800 h 4496940"/>
                    <a:gd name="connsiteX97" fmla="*/ 554377 w 4519987"/>
                    <a:gd name="connsiteY97" fmla="*/ 3657600 h 4496940"/>
                    <a:gd name="connsiteX98" fmla="*/ 525802 w 4519987"/>
                    <a:gd name="connsiteY98" fmla="*/ 3609975 h 4496940"/>
                    <a:gd name="connsiteX99" fmla="*/ 497227 w 4519987"/>
                    <a:gd name="connsiteY99" fmla="*/ 3552825 h 4496940"/>
                    <a:gd name="connsiteX100" fmla="*/ 440077 w 4519987"/>
                    <a:gd name="connsiteY100" fmla="*/ 3495675 h 4496940"/>
                    <a:gd name="connsiteX101" fmla="*/ 411502 w 4519987"/>
                    <a:gd name="connsiteY101" fmla="*/ 3448050 h 4496940"/>
                    <a:gd name="connsiteX102" fmla="*/ 278152 w 4519987"/>
                    <a:gd name="connsiteY102" fmla="*/ 3257550 h 4496940"/>
                    <a:gd name="connsiteX103" fmla="*/ 249577 w 4519987"/>
                    <a:gd name="connsiteY103" fmla="*/ 3200400 h 4496940"/>
                    <a:gd name="connsiteX104" fmla="*/ 240052 w 4519987"/>
                    <a:gd name="connsiteY104" fmla="*/ 3162300 h 4496940"/>
                    <a:gd name="connsiteX105" fmla="*/ 221002 w 4519987"/>
                    <a:gd name="connsiteY105" fmla="*/ 3105150 h 4496940"/>
                    <a:gd name="connsiteX106" fmla="*/ 173377 w 4519987"/>
                    <a:gd name="connsiteY106" fmla="*/ 3019425 h 4496940"/>
                    <a:gd name="connsiteX107" fmla="*/ 144802 w 4519987"/>
                    <a:gd name="connsiteY107" fmla="*/ 2924175 h 4496940"/>
                    <a:gd name="connsiteX108" fmla="*/ 68602 w 4519987"/>
                    <a:gd name="connsiteY108" fmla="*/ 2724150 h 4496940"/>
                    <a:gd name="connsiteX109" fmla="*/ 49552 w 4519987"/>
                    <a:gd name="connsiteY109" fmla="*/ 2638425 h 4496940"/>
                    <a:gd name="connsiteX110" fmla="*/ 40027 w 4519987"/>
                    <a:gd name="connsiteY110" fmla="*/ 2562225 h 4496940"/>
                    <a:gd name="connsiteX111" fmla="*/ 30502 w 4519987"/>
                    <a:gd name="connsiteY111" fmla="*/ 2514600 h 4496940"/>
                    <a:gd name="connsiteX112" fmla="*/ 11452 w 4519987"/>
                    <a:gd name="connsiteY112" fmla="*/ 2400300 h 4496940"/>
                    <a:gd name="connsiteX113" fmla="*/ 20977 w 4519987"/>
                    <a:gd name="connsiteY113" fmla="*/ 1905000 h 4496940"/>
                    <a:gd name="connsiteX114" fmla="*/ 30502 w 4519987"/>
                    <a:gd name="connsiteY114" fmla="*/ 1838325 h 4496940"/>
                    <a:gd name="connsiteX115" fmla="*/ 49552 w 4519987"/>
                    <a:gd name="connsiteY115" fmla="*/ 1781175 h 4496940"/>
                    <a:gd name="connsiteX116" fmla="*/ 59077 w 4519987"/>
                    <a:gd name="connsiteY116" fmla="*/ 1743075 h 4496940"/>
                    <a:gd name="connsiteX117" fmla="*/ 78127 w 4519987"/>
                    <a:gd name="connsiteY117" fmla="*/ 1685925 h 4496940"/>
                    <a:gd name="connsiteX118" fmla="*/ 87652 w 4519987"/>
                    <a:gd name="connsiteY118" fmla="*/ 1638300 h 4496940"/>
                    <a:gd name="connsiteX119" fmla="*/ 106702 w 4519987"/>
                    <a:gd name="connsiteY119" fmla="*/ 1590675 h 4496940"/>
                    <a:gd name="connsiteX120" fmla="*/ 135277 w 4519987"/>
                    <a:gd name="connsiteY120" fmla="*/ 1504950 h 4496940"/>
                    <a:gd name="connsiteX121" fmla="*/ 154327 w 4519987"/>
                    <a:gd name="connsiteY121" fmla="*/ 1419225 h 4496940"/>
                    <a:gd name="connsiteX122" fmla="*/ 230527 w 4519987"/>
                    <a:gd name="connsiteY122" fmla="*/ 1276350 h 4496940"/>
                    <a:gd name="connsiteX123" fmla="*/ 240052 w 4519987"/>
                    <a:gd name="connsiteY123" fmla="*/ 1247775 h 4496940"/>
                    <a:gd name="connsiteX124" fmla="*/ 268627 w 4519987"/>
                    <a:gd name="connsiteY124" fmla="*/ 1200150 h 4496940"/>
                    <a:gd name="connsiteX125" fmla="*/ 287677 w 4519987"/>
                    <a:gd name="connsiteY125" fmla="*/ 1152525 h 4496940"/>
                    <a:gd name="connsiteX126" fmla="*/ 316252 w 4519987"/>
                    <a:gd name="connsiteY126" fmla="*/ 1114425 h 4496940"/>
                    <a:gd name="connsiteX127" fmla="*/ 363877 w 4519987"/>
                    <a:gd name="connsiteY127" fmla="*/ 1038225 h 4496940"/>
                    <a:gd name="connsiteX128" fmla="*/ 382927 w 4519987"/>
                    <a:gd name="connsiteY128" fmla="*/ 1009650 h 4496940"/>
                    <a:gd name="connsiteX129" fmla="*/ 440077 w 4519987"/>
                    <a:gd name="connsiteY129" fmla="*/ 904875 h 4496940"/>
                    <a:gd name="connsiteX130" fmla="*/ 478177 w 4519987"/>
                    <a:gd name="connsiteY130" fmla="*/ 857250 h 4496940"/>
                    <a:gd name="connsiteX131" fmla="*/ 497227 w 4519987"/>
                    <a:gd name="connsiteY131" fmla="*/ 828675 h 4496940"/>
                    <a:gd name="connsiteX132" fmla="*/ 535327 w 4519987"/>
                    <a:gd name="connsiteY132" fmla="*/ 800100 h 4496940"/>
                    <a:gd name="connsiteX133" fmla="*/ 602002 w 4519987"/>
                    <a:gd name="connsiteY133" fmla="*/ 733425 h 4496940"/>
                    <a:gd name="connsiteX134" fmla="*/ 668677 w 4519987"/>
                    <a:gd name="connsiteY134" fmla="*/ 676275 h 4496940"/>
                    <a:gd name="connsiteX135" fmla="*/ 697252 w 4519987"/>
                    <a:gd name="connsiteY135" fmla="*/ 657225 h 4496940"/>
                    <a:gd name="connsiteX136" fmla="*/ 840127 w 4519987"/>
                    <a:gd name="connsiteY136" fmla="*/ 533400 h 4496940"/>
                    <a:gd name="connsiteX137" fmla="*/ 887752 w 4519987"/>
                    <a:gd name="connsiteY137" fmla="*/ 504825 h 4496940"/>
                    <a:gd name="connsiteX138" fmla="*/ 1167152 w 4519987"/>
                    <a:gd name="connsiteY138" fmla="*/ 311150 h 4496940"/>
                    <a:gd name="connsiteX139" fmla="*/ 1268752 w 4519987"/>
                    <a:gd name="connsiteY139" fmla="*/ 285750 h 4496940"/>
                    <a:gd name="connsiteX140" fmla="*/ 1411627 w 4519987"/>
                    <a:gd name="connsiteY140" fmla="*/ 190500 h 4496940"/>
                    <a:gd name="connsiteX141" fmla="*/ 1449727 w 4519987"/>
                    <a:gd name="connsiteY141" fmla="*/ 161925 h 4496940"/>
                    <a:gd name="connsiteX142" fmla="*/ 1525927 w 4519987"/>
                    <a:gd name="connsiteY142" fmla="*/ 152400 h 4496940"/>
                    <a:gd name="connsiteX143" fmla="*/ 1583077 w 4519987"/>
                    <a:gd name="connsiteY143" fmla="*/ 142875 h 4496940"/>
                    <a:gd name="connsiteX144" fmla="*/ 1716427 w 4519987"/>
                    <a:gd name="connsiteY144" fmla="*/ 123825 h 4496940"/>
                    <a:gd name="connsiteX145" fmla="*/ 1811677 w 4519987"/>
                    <a:gd name="connsiteY145" fmla="*/ 114300 h 4496940"/>
                    <a:gd name="connsiteX146" fmla="*/ 1859302 w 4519987"/>
                    <a:gd name="connsiteY146" fmla="*/ 104775 h 4496940"/>
                    <a:gd name="connsiteX147" fmla="*/ 1916452 w 4519987"/>
                    <a:gd name="connsiteY147" fmla="*/ 95250 h 4496940"/>
                    <a:gd name="connsiteX148" fmla="*/ 2030752 w 4519987"/>
                    <a:gd name="connsiteY148" fmla="*/ 66675 h 4496940"/>
                    <a:gd name="connsiteX149" fmla="*/ 2097427 w 4519987"/>
                    <a:gd name="connsiteY149" fmla="*/ 47625 h 4496940"/>
                    <a:gd name="connsiteX150" fmla="*/ 2164102 w 4519987"/>
                    <a:gd name="connsiteY150" fmla="*/ 38100 h 4496940"/>
                    <a:gd name="connsiteX151" fmla="*/ 2392702 w 4519987"/>
                    <a:gd name="connsiteY15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3935752 w 4519987"/>
                    <a:gd name="connsiteY22" fmla="*/ 676275 h 4496940"/>
                    <a:gd name="connsiteX23" fmla="*/ 4078627 w 4519987"/>
                    <a:gd name="connsiteY23" fmla="*/ 838200 h 4496940"/>
                    <a:gd name="connsiteX24" fmla="*/ 4135777 w 4519987"/>
                    <a:gd name="connsiteY24" fmla="*/ 933450 h 4496940"/>
                    <a:gd name="connsiteX25" fmla="*/ 4164352 w 4519987"/>
                    <a:gd name="connsiteY25" fmla="*/ 990600 h 4496940"/>
                    <a:gd name="connsiteX26" fmla="*/ 4173877 w 4519987"/>
                    <a:gd name="connsiteY26" fmla="*/ 1019175 h 4496940"/>
                    <a:gd name="connsiteX27" fmla="*/ 4192927 w 4519987"/>
                    <a:gd name="connsiteY27" fmla="*/ 1057275 h 4496940"/>
                    <a:gd name="connsiteX28" fmla="*/ 4202452 w 4519987"/>
                    <a:gd name="connsiteY28" fmla="*/ 1085850 h 4496940"/>
                    <a:gd name="connsiteX29" fmla="*/ 4250077 w 4519987"/>
                    <a:gd name="connsiteY29" fmla="*/ 1143000 h 4496940"/>
                    <a:gd name="connsiteX30" fmla="*/ 4259602 w 4519987"/>
                    <a:gd name="connsiteY30" fmla="*/ 1190625 h 4496940"/>
                    <a:gd name="connsiteX31" fmla="*/ 4307227 w 4519987"/>
                    <a:gd name="connsiteY31" fmla="*/ 1266825 h 4496940"/>
                    <a:gd name="connsiteX32" fmla="*/ 4345327 w 4519987"/>
                    <a:gd name="connsiteY32" fmla="*/ 1362075 h 4496940"/>
                    <a:gd name="connsiteX33" fmla="*/ 4373902 w 4519987"/>
                    <a:gd name="connsiteY33" fmla="*/ 1428750 h 4496940"/>
                    <a:gd name="connsiteX34" fmla="*/ 4392952 w 4519987"/>
                    <a:gd name="connsiteY34" fmla="*/ 1552575 h 4496940"/>
                    <a:gd name="connsiteX35" fmla="*/ 4402477 w 4519987"/>
                    <a:gd name="connsiteY35" fmla="*/ 1590675 h 4496940"/>
                    <a:gd name="connsiteX36" fmla="*/ 4431052 w 4519987"/>
                    <a:gd name="connsiteY36" fmla="*/ 1685925 h 4496940"/>
                    <a:gd name="connsiteX37" fmla="*/ 4519952 w 4519987"/>
                    <a:gd name="connsiteY37" fmla="*/ 2181225 h 4496940"/>
                    <a:gd name="connsiteX38" fmla="*/ 4446927 w 4519987"/>
                    <a:gd name="connsiteY38" fmla="*/ 2768600 h 4496940"/>
                    <a:gd name="connsiteX39" fmla="*/ 4383427 w 4519987"/>
                    <a:gd name="connsiteY39" fmla="*/ 2990850 h 4496940"/>
                    <a:gd name="connsiteX40" fmla="*/ 4278652 w 4519987"/>
                    <a:gd name="connsiteY40" fmla="*/ 3248025 h 4496940"/>
                    <a:gd name="connsiteX41" fmla="*/ 4259602 w 4519987"/>
                    <a:gd name="connsiteY41" fmla="*/ 3276600 h 4496940"/>
                    <a:gd name="connsiteX42" fmla="*/ 4221502 w 4519987"/>
                    <a:gd name="connsiteY42" fmla="*/ 3333750 h 4496940"/>
                    <a:gd name="connsiteX43" fmla="*/ 4211977 w 4519987"/>
                    <a:gd name="connsiteY43" fmla="*/ 3362325 h 4496940"/>
                    <a:gd name="connsiteX44" fmla="*/ 4183402 w 4519987"/>
                    <a:gd name="connsiteY44" fmla="*/ 3400425 h 4496940"/>
                    <a:gd name="connsiteX45" fmla="*/ 4164352 w 4519987"/>
                    <a:gd name="connsiteY45" fmla="*/ 3429000 h 4496940"/>
                    <a:gd name="connsiteX46" fmla="*/ 4088152 w 4519987"/>
                    <a:gd name="connsiteY46" fmla="*/ 3495675 h 4496940"/>
                    <a:gd name="connsiteX47" fmla="*/ 4059577 w 4519987"/>
                    <a:gd name="connsiteY47" fmla="*/ 3533775 h 4496940"/>
                    <a:gd name="connsiteX48" fmla="*/ 4002427 w 4519987"/>
                    <a:gd name="connsiteY48" fmla="*/ 3600450 h 4496940"/>
                    <a:gd name="connsiteX49" fmla="*/ 3983377 w 4519987"/>
                    <a:gd name="connsiteY49" fmla="*/ 3629025 h 4496940"/>
                    <a:gd name="connsiteX50" fmla="*/ 3954802 w 4519987"/>
                    <a:gd name="connsiteY50" fmla="*/ 3648075 h 4496940"/>
                    <a:gd name="connsiteX51" fmla="*/ 3907177 w 4519987"/>
                    <a:gd name="connsiteY51" fmla="*/ 3686175 h 4496940"/>
                    <a:gd name="connsiteX52" fmla="*/ 3869077 w 4519987"/>
                    <a:gd name="connsiteY52" fmla="*/ 3724275 h 4496940"/>
                    <a:gd name="connsiteX53" fmla="*/ 3792877 w 4519987"/>
                    <a:gd name="connsiteY53" fmla="*/ 3781425 h 4496940"/>
                    <a:gd name="connsiteX54" fmla="*/ 3783352 w 4519987"/>
                    <a:gd name="connsiteY54" fmla="*/ 3810000 h 4496940"/>
                    <a:gd name="connsiteX55" fmla="*/ 3745252 w 4519987"/>
                    <a:gd name="connsiteY55" fmla="*/ 3819525 h 4496940"/>
                    <a:gd name="connsiteX56" fmla="*/ 3678577 w 4519987"/>
                    <a:gd name="connsiteY56" fmla="*/ 3848100 h 4496940"/>
                    <a:gd name="connsiteX57" fmla="*/ 3659527 w 4519987"/>
                    <a:gd name="connsiteY57" fmla="*/ 3971925 h 4496940"/>
                    <a:gd name="connsiteX58" fmla="*/ 3630952 w 4519987"/>
                    <a:gd name="connsiteY58" fmla="*/ 4010025 h 4496940"/>
                    <a:gd name="connsiteX59" fmla="*/ 3621427 w 4519987"/>
                    <a:gd name="connsiteY59" fmla="*/ 4038600 h 4496940"/>
                    <a:gd name="connsiteX60" fmla="*/ 3554752 w 4519987"/>
                    <a:gd name="connsiteY60" fmla="*/ 4095750 h 4496940"/>
                    <a:gd name="connsiteX61" fmla="*/ 3516652 w 4519987"/>
                    <a:gd name="connsiteY61" fmla="*/ 4114800 h 4496940"/>
                    <a:gd name="connsiteX62" fmla="*/ 3497602 w 4519987"/>
                    <a:gd name="connsiteY62" fmla="*/ 4143375 h 4496940"/>
                    <a:gd name="connsiteX63" fmla="*/ 3383302 w 4519987"/>
                    <a:gd name="connsiteY63" fmla="*/ 4210050 h 4496940"/>
                    <a:gd name="connsiteX64" fmla="*/ 3335677 w 4519987"/>
                    <a:gd name="connsiteY64" fmla="*/ 4238625 h 4496940"/>
                    <a:gd name="connsiteX65" fmla="*/ 3288052 w 4519987"/>
                    <a:gd name="connsiteY65" fmla="*/ 4248150 h 4496940"/>
                    <a:gd name="connsiteX66" fmla="*/ 3240427 w 4519987"/>
                    <a:gd name="connsiteY66" fmla="*/ 4267200 h 4496940"/>
                    <a:gd name="connsiteX67" fmla="*/ 3068977 w 4519987"/>
                    <a:gd name="connsiteY67" fmla="*/ 4286250 h 4496940"/>
                    <a:gd name="connsiteX68" fmla="*/ 2935627 w 4519987"/>
                    <a:gd name="connsiteY68" fmla="*/ 4333875 h 4496940"/>
                    <a:gd name="connsiteX69" fmla="*/ 2811802 w 4519987"/>
                    <a:gd name="connsiteY69" fmla="*/ 4371975 h 4496940"/>
                    <a:gd name="connsiteX70" fmla="*/ 2745127 w 4519987"/>
                    <a:gd name="connsiteY70" fmla="*/ 4410075 h 4496940"/>
                    <a:gd name="connsiteX71" fmla="*/ 2697502 w 4519987"/>
                    <a:gd name="connsiteY71" fmla="*/ 4429125 h 4496940"/>
                    <a:gd name="connsiteX72" fmla="*/ 2640352 w 4519987"/>
                    <a:gd name="connsiteY72" fmla="*/ 4457700 h 4496940"/>
                    <a:gd name="connsiteX73" fmla="*/ 2583202 w 4519987"/>
                    <a:gd name="connsiteY73" fmla="*/ 4467225 h 4496940"/>
                    <a:gd name="connsiteX74" fmla="*/ 2545102 w 4519987"/>
                    <a:gd name="connsiteY74" fmla="*/ 4486275 h 4496940"/>
                    <a:gd name="connsiteX75" fmla="*/ 2306977 w 4519987"/>
                    <a:gd name="connsiteY75" fmla="*/ 4476750 h 4496940"/>
                    <a:gd name="connsiteX76" fmla="*/ 2202202 w 4519987"/>
                    <a:gd name="connsiteY76" fmla="*/ 4457700 h 4496940"/>
                    <a:gd name="connsiteX77" fmla="*/ 2126002 w 4519987"/>
                    <a:gd name="connsiteY77" fmla="*/ 4429125 h 4496940"/>
                    <a:gd name="connsiteX78" fmla="*/ 1935502 w 4519987"/>
                    <a:gd name="connsiteY78" fmla="*/ 4400550 h 4496940"/>
                    <a:gd name="connsiteX79" fmla="*/ 1821202 w 4519987"/>
                    <a:gd name="connsiteY79" fmla="*/ 4371975 h 4496940"/>
                    <a:gd name="connsiteX80" fmla="*/ 1754527 w 4519987"/>
                    <a:gd name="connsiteY80" fmla="*/ 4352925 h 4496940"/>
                    <a:gd name="connsiteX81" fmla="*/ 1687852 w 4519987"/>
                    <a:gd name="connsiteY81" fmla="*/ 4343400 h 4496940"/>
                    <a:gd name="connsiteX82" fmla="*/ 1573552 w 4519987"/>
                    <a:gd name="connsiteY82" fmla="*/ 4305300 h 4496940"/>
                    <a:gd name="connsiteX83" fmla="*/ 1402102 w 4519987"/>
                    <a:gd name="connsiteY83" fmla="*/ 4276725 h 4496940"/>
                    <a:gd name="connsiteX84" fmla="*/ 1287802 w 4519987"/>
                    <a:gd name="connsiteY84" fmla="*/ 4229100 h 4496940"/>
                    <a:gd name="connsiteX85" fmla="*/ 1221127 w 4519987"/>
                    <a:gd name="connsiteY85" fmla="*/ 4200525 h 4496940"/>
                    <a:gd name="connsiteX86" fmla="*/ 1144927 w 4519987"/>
                    <a:gd name="connsiteY86" fmla="*/ 4171950 h 4496940"/>
                    <a:gd name="connsiteX87" fmla="*/ 1087777 w 4519987"/>
                    <a:gd name="connsiteY87" fmla="*/ 4143375 h 4496940"/>
                    <a:gd name="connsiteX88" fmla="*/ 1030627 w 4519987"/>
                    <a:gd name="connsiteY88" fmla="*/ 4124325 h 4496940"/>
                    <a:gd name="connsiteX89" fmla="*/ 925852 w 4519987"/>
                    <a:gd name="connsiteY89" fmla="*/ 4067175 h 4496940"/>
                    <a:gd name="connsiteX90" fmla="*/ 830602 w 4519987"/>
                    <a:gd name="connsiteY90" fmla="*/ 3981450 h 4496940"/>
                    <a:gd name="connsiteX91" fmla="*/ 763927 w 4519987"/>
                    <a:gd name="connsiteY91" fmla="*/ 3914775 h 4496940"/>
                    <a:gd name="connsiteX92" fmla="*/ 725827 w 4519987"/>
                    <a:gd name="connsiteY92" fmla="*/ 3876675 h 4496940"/>
                    <a:gd name="connsiteX93" fmla="*/ 697252 w 4519987"/>
                    <a:gd name="connsiteY93" fmla="*/ 3838575 h 4496940"/>
                    <a:gd name="connsiteX94" fmla="*/ 640102 w 4519987"/>
                    <a:gd name="connsiteY94" fmla="*/ 3781425 h 4496940"/>
                    <a:gd name="connsiteX95" fmla="*/ 611527 w 4519987"/>
                    <a:gd name="connsiteY95" fmla="*/ 3733800 h 4496940"/>
                    <a:gd name="connsiteX96" fmla="*/ 554377 w 4519987"/>
                    <a:gd name="connsiteY96" fmla="*/ 3657600 h 4496940"/>
                    <a:gd name="connsiteX97" fmla="*/ 525802 w 4519987"/>
                    <a:gd name="connsiteY97" fmla="*/ 3609975 h 4496940"/>
                    <a:gd name="connsiteX98" fmla="*/ 497227 w 4519987"/>
                    <a:gd name="connsiteY98" fmla="*/ 3552825 h 4496940"/>
                    <a:gd name="connsiteX99" fmla="*/ 440077 w 4519987"/>
                    <a:gd name="connsiteY99" fmla="*/ 3495675 h 4496940"/>
                    <a:gd name="connsiteX100" fmla="*/ 411502 w 4519987"/>
                    <a:gd name="connsiteY100" fmla="*/ 3448050 h 4496940"/>
                    <a:gd name="connsiteX101" fmla="*/ 278152 w 4519987"/>
                    <a:gd name="connsiteY101" fmla="*/ 3257550 h 4496940"/>
                    <a:gd name="connsiteX102" fmla="*/ 249577 w 4519987"/>
                    <a:gd name="connsiteY102" fmla="*/ 3200400 h 4496940"/>
                    <a:gd name="connsiteX103" fmla="*/ 240052 w 4519987"/>
                    <a:gd name="connsiteY103" fmla="*/ 3162300 h 4496940"/>
                    <a:gd name="connsiteX104" fmla="*/ 221002 w 4519987"/>
                    <a:gd name="connsiteY104" fmla="*/ 3105150 h 4496940"/>
                    <a:gd name="connsiteX105" fmla="*/ 173377 w 4519987"/>
                    <a:gd name="connsiteY105" fmla="*/ 3019425 h 4496940"/>
                    <a:gd name="connsiteX106" fmla="*/ 144802 w 4519987"/>
                    <a:gd name="connsiteY106" fmla="*/ 2924175 h 4496940"/>
                    <a:gd name="connsiteX107" fmla="*/ 68602 w 4519987"/>
                    <a:gd name="connsiteY107" fmla="*/ 2724150 h 4496940"/>
                    <a:gd name="connsiteX108" fmla="*/ 49552 w 4519987"/>
                    <a:gd name="connsiteY108" fmla="*/ 2638425 h 4496940"/>
                    <a:gd name="connsiteX109" fmla="*/ 40027 w 4519987"/>
                    <a:gd name="connsiteY109" fmla="*/ 2562225 h 4496940"/>
                    <a:gd name="connsiteX110" fmla="*/ 30502 w 4519987"/>
                    <a:gd name="connsiteY110" fmla="*/ 2514600 h 4496940"/>
                    <a:gd name="connsiteX111" fmla="*/ 11452 w 4519987"/>
                    <a:gd name="connsiteY111" fmla="*/ 2400300 h 4496940"/>
                    <a:gd name="connsiteX112" fmla="*/ 20977 w 4519987"/>
                    <a:gd name="connsiteY112" fmla="*/ 1905000 h 4496940"/>
                    <a:gd name="connsiteX113" fmla="*/ 30502 w 4519987"/>
                    <a:gd name="connsiteY113" fmla="*/ 1838325 h 4496940"/>
                    <a:gd name="connsiteX114" fmla="*/ 49552 w 4519987"/>
                    <a:gd name="connsiteY114" fmla="*/ 1781175 h 4496940"/>
                    <a:gd name="connsiteX115" fmla="*/ 59077 w 4519987"/>
                    <a:gd name="connsiteY115" fmla="*/ 1743075 h 4496940"/>
                    <a:gd name="connsiteX116" fmla="*/ 78127 w 4519987"/>
                    <a:gd name="connsiteY116" fmla="*/ 1685925 h 4496940"/>
                    <a:gd name="connsiteX117" fmla="*/ 87652 w 4519987"/>
                    <a:gd name="connsiteY117" fmla="*/ 1638300 h 4496940"/>
                    <a:gd name="connsiteX118" fmla="*/ 106702 w 4519987"/>
                    <a:gd name="connsiteY118" fmla="*/ 1590675 h 4496940"/>
                    <a:gd name="connsiteX119" fmla="*/ 135277 w 4519987"/>
                    <a:gd name="connsiteY119" fmla="*/ 1504950 h 4496940"/>
                    <a:gd name="connsiteX120" fmla="*/ 154327 w 4519987"/>
                    <a:gd name="connsiteY120" fmla="*/ 1419225 h 4496940"/>
                    <a:gd name="connsiteX121" fmla="*/ 230527 w 4519987"/>
                    <a:gd name="connsiteY121" fmla="*/ 1276350 h 4496940"/>
                    <a:gd name="connsiteX122" fmla="*/ 240052 w 4519987"/>
                    <a:gd name="connsiteY122" fmla="*/ 1247775 h 4496940"/>
                    <a:gd name="connsiteX123" fmla="*/ 268627 w 4519987"/>
                    <a:gd name="connsiteY123" fmla="*/ 1200150 h 4496940"/>
                    <a:gd name="connsiteX124" fmla="*/ 287677 w 4519987"/>
                    <a:gd name="connsiteY124" fmla="*/ 1152525 h 4496940"/>
                    <a:gd name="connsiteX125" fmla="*/ 316252 w 4519987"/>
                    <a:gd name="connsiteY125" fmla="*/ 1114425 h 4496940"/>
                    <a:gd name="connsiteX126" fmla="*/ 363877 w 4519987"/>
                    <a:gd name="connsiteY126" fmla="*/ 1038225 h 4496940"/>
                    <a:gd name="connsiteX127" fmla="*/ 382927 w 4519987"/>
                    <a:gd name="connsiteY127" fmla="*/ 1009650 h 4496940"/>
                    <a:gd name="connsiteX128" fmla="*/ 440077 w 4519987"/>
                    <a:gd name="connsiteY128" fmla="*/ 904875 h 4496940"/>
                    <a:gd name="connsiteX129" fmla="*/ 478177 w 4519987"/>
                    <a:gd name="connsiteY129" fmla="*/ 857250 h 4496940"/>
                    <a:gd name="connsiteX130" fmla="*/ 497227 w 4519987"/>
                    <a:gd name="connsiteY130" fmla="*/ 828675 h 4496940"/>
                    <a:gd name="connsiteX131" fmla="*/ 535327 w 4519987"/>
                    <a:gd name="connsiteY131" fmla="*/ 800100 h 4496940"/>
                    <a:gd name="connsiteX132" fmla="*/ 602002 w 4519987"/>
                    <a:gd name="connsiteY132" fmla="*/ 733425 h 4496940"/>
                    <a:gd name="connsiteX133" fmla="*/ 668677 w 4519987"/>
                    <a:gd name="connsiteY133" fmla="*/ 676275 h 4496940"/>
                    <a:gd name="connsiteX134" fmla="*/ 697252 w 4519987"/>
                    <a:gd name="connsiteY134" fmla="*/ 657225 h 4496940"/>
                    <a:gd name="connsiteX135" fmla="*/ 840127 w 4519987"/>
                    <a:gd name="connsiteY135" fmla="*/ 533400 h 4496940"/>
                    <a:gd name="connsiteX136" fmla="*/ 887752 w 4519987"/>
                    <a:gd name="connsiteY136" fmla="*/ 504825 h 4496940"/>
                    <a:gd name="connsiteX137" fmla="*/ 1167152 w 4519987"/>
                    <a:gd name="connsiteY137" fmla="*/ 311150 h 4496940"/>
                    <a:gd name="connsiteX138" fmla="*/ 1268752 w 4519987"/>
                    <a:gd name="connsiteY138" fmla="*/ 285750 h 4496940"/>
                    <a:gd name="connsiteX139" fmla="*/ 1411627 w 4519987"/>
                    <a:gd name="connsiteY139" fmla="*/ 190500 h 4496940"/>
                    <a:gd name="connsiteX140" fmla="*/ 1449727 w 4519987"/>
                    <a:gd name="connsiteY140" fmla="*/ 161925 h 4496940"/>
                    <a:gd name="connsiteX141" fmla="*/ 1525927 w 4519987"/>
                    <a:gd name="connsiteY141" fmla="*/ 152400 h 4496940"/>
                    <a:gd name="connsiteX142" fmla="*/ 1583077 w 4519987"/>
                    <a:gd name="connsiteY142" fmla="*/ 142875 h 4496940"/>
                    <a:gd name="connsiteX143" fmla="*/ 1716427 w 4519987"/>
                    <a:gd name="connsiteY143" fmla="*/ 123825 h 4496940"/>
                    <a:gd name="connsiteX144" fmla="*/ 1811677 w 4519987"/>
                    <a:gd name="connsiteY144" fmla="*/ 114300 h 4496940"/>
                    <a:gd name="connsiteX145" fmla="*/ 1859302 w 4519987"/>
                    <a:gd name="connsiteY145" fmla="*/ 104775 h 4496940"/>
                    <a:gd name="connsiteX146" fmla="*/ 1916452 w 4519987"/>
                    <a:gd name="connsiteY146" fmla="*/ 95250 h 4496940"/>
                    <a:gd name="connsiteX147" fmla="*/ 2030752 w 4519987"/>
                    <a:gd name="connsiteY147" fmla="*/ 66675 h 4496940"/>
                    <a:gd name="connsiteX148" fmla="*/ 2097427 w 4519987"/>
                    <a:gd name="connsiteY148" fmla="*/ 47625 h 4496940"/>
                    <a:gd name="connsiteX149" fmla="*/ 2164102 w 4519987"/>
                    <a:gd name="connsiteY149" fmla="*/ 38100 h 4496940"/>
                    <a:gd name="connsiteX150" fmla="*/ 2392702 w 4519987"/>
                    <a:gd name="connsiteY15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4078627 w 4519987"/>
                    <a:gd name="connsiteY22" fmla="*/ 838200 h 4496940"/>
                    <a:gd name="connsiteX23" fmla="*/ 4135777 w 4519987"/>
                    <a:gd name="connsiteY23" fmla="*/ 933450 h 4496940"/>
                    <a:gd name="connsiteX24" fmla="*/ 4164352 w 4519987"/>
                    <a:gd name="connsiteY24" fmla="*/ 990600 h 4496940"/>
                    <a:gd name="connsiteX25" fmla="*/ 4173877 w 4519987"/>
                    <a:gd name="connsiteY25" fmla="*/ 1019175 h 4496940"/>
                    <a:gd name="connsiteX26" fmla="*/ 4192927 w 4519987"/>
                    <a:gd name="connsiteY26" fmla="*/ 1057275 h 4496940"/>
                    <a:gd name="connsiteX27" fmla="*/ 4202452 w 4519987"/>
                    <a:gd name="connsiteY27" fmla="*/ 1085850 h 4496940"/>
                    <a:gd name="connsiteX28" fmla="*/ 4250077 w 4519987"/>
                    <a:gd name="connsiteY28" fmla="*/ 1143000 h 4496940"/>
                    <a:gd name="connsiteX29" fmla="*/ 4259602 w 4519987"/>
                    <a:gd name="connsiteY29" fmla="*/ 1190625 h 4496940"/>
                    <a:gd name="connsiteX30" fmla="*/ 4307227 w 4519987"/>
                    <a:gd name="connsiteY30" fmla="*/ 1266825 h 4496940"/>
                    <a:gd name="connsiteX31" fmla="*/ 4345327 w 4519987"/>
                    <a:gd name="connsiteY31" fmla="*/ 1362075 h 4496940"/>
                    <a:gd name="connsiteX32" fmla="*/ 4373902 w 4519987"/>
                    <a:gd name="connsiteY32" fmla="*/ 1428750 h 4496940"/>
                    <a:gd name="connsiteX33" fmla="*/ 4392952 w 4519987"/>
                    <a:gd name="connsiteY33" fmla="*/ 1552575 h 4496940"/>
                    <a:gd name="connsiteX34" fmla="*/ 4402477 w 4519987"/>
                    <a:gd name="connsiteY34" fmla="*/ 1590675 h 4496940"/>
                    <a:gd name="connsiteX35" fmla="*/ 4431052 w 4519987"/>
                    <a:gd name="connsiteY35" fmla="*/ 1685925 h 4496940"/>
                    <a:gd name="connsiteX36" fmla="*/ 4519952 w 4519987"/>
                    <a:gd name="connsiteY36" fmla="*/ 2181225 h 4496940"/>
                    <a:gd name="connsiteX37" fmla="*/ 4446927 w 4519987"/>
                    <a:gd name="connsiteY37" fmla="*/ 2768600 h 4496940"/>
                    <a:gd name="connsiteX38" fmla="*/ 4383427 w 4519987"/>
                    <a:gd name="connsiteY38" fmla="*/ 2990850 h 4496940"/>
                    <a:gd name="connsiteX39" fmla="*/ 4278652 w 4519987"/>
                    <a:gd name="connsiteY39" fmla="*/ 3248025 h 4496940"/>
                    <a:gd name="connsiteX40" fmla="*/ 4259602 w 4519987"/>
                    <a:gd name="connsiteY40" fmla="*/ 3276600 h 4496940"/>
                    <a:gd name="connsiteX41" fmla="*/ 4221502 w 4519987"/>
                    <a:gd name="connsiteY41" fmla="*/ 3333750 h 4496940"/>
                    <a:gd name="connsiteX42" fmla="*/ 4211977 w 4519987"/>
                    <a:gd name="connsiteY42" fmla="*/ 3362325 h 4496940"/>
                    <a:gd name="connsiteX43" fmla="*/ 4183402 w 4519987"/>
                    <a:gd name="connsiteY43" fmla="*/ 3400425 h 4496940"/>
                    <a:gd name="connsiteX44" fmla="*/ 4164352 w 4519987"/>
                    <a:gd name="connsiteY44" fmla="*/ 3429000 h 4496940"/>
                    <a:gd name="connsiteX45" fmla="*/ 4088152 w 4519987"/>
                    <a:gd name="connsiteY45" fmla="*/ 3495675 h 4496940"/>
                    <a:gd name="connsiteX46" fmla="*/ 4059577 w 4519987"/>
                    <a:gd name="connsiteY46" fmla="*/ 3533775 h 4496940"/>
                    <a:gd name="connsiteX47" fmla="*/ 4002427 w 4519987"/>
                    <a:gd name="connsiteY47" fmla="*/ 3600450 h 4496940"/>
                    <a:gd name="connsiteX48" fmla="*/ 3983377 w 4519987"/>
                    <a:gd name="connsiteY48" fmla="*/ 3629025 h 4496940"/>
                    <a:gd name="connsiteX49" fmla="*/ 3954802 w 4519987"/>
                    <a:gd name="connsiteY49" fmla="*/ 3648075 h 4496940"/>
                    <a:gd name="connsiteX50" fmla="*/ 3907177 w 4519987"/>
                    <a:gd name="connsiteY50" fmla="*/ 3686175 h 4496940"/>
                    <a:gd name="connsiteX51" fmla="*/ 3869077 w 4519987"/>
                    <a:gd name="connsiteY51" fmla="*/ 3724275 h 4496940"/>
                    <a:gd name="connsiteX52" fmla="*/ 3792877 w 4519987"/>
                    <a:gd name="connsiteY52" fmla="*/ 3781425 h 4496940"/>
                    <a:gd name="connsiteX53" fmla="*/ 3783352 w 4519987"/>
                    <a:gd name="connsiteY53" fmla="*/ 3810000 h 4496940"/>
                    <a:gd name="connsiteX54" fmla="*/ 3745252 w 4519987"/>
                    <a:gd name="connsiteY54" fmla="*/ 3819525 h 4496940"/>
                    <a:gd name="connsiteX55" fmla="*/ 3678577 w 4519987"/>
                    <a:gd name="connsiteY55" fmla="*/ 3848100 h 4496940"/>
                    <a:gd name="connsiteX56" fmla="*/ 3659527 w 4519987"/>
                    <a:gd name="connsiteY56" fmla="*/ 3971925 h 4496940"/>
                    <a:gd name="connsiteX57" fmla="*/ 3630952 w 4519987"/>
                    <a:gd name="connsiteY57" fmla="*/ 4010025 h 4496940"/>
                    <a:gd name="connsiteX58" fmla="*/ 3621427 w 4519987"/>
                    <a:gd name="connsiteY58" fmla="*/ 4038600 h 4496940"/>
                    <a:gd name="connsiteX59" fmla="*/ 3554752 w 4519987"/>
                    <a:gd name="connsiteY59" fmla="*/ 4095750 h 4496940"/>
                    <a:gd name="connsiteX60" fmla="*/ 3516652 w 4519987"/>
                    <a:gd name="connsiteY60" fmla="*/ 4114800 h 4496940"/>
                    <a:gd name="connsiteX61" fmla="*/ 3497602 w 4519987"/>
                    <a:gd name="connsiteY61" fmla="*/ 4143375 h 4496940"/>
                    <a:gd name="connsiteX62" fmla="*/ 3383302 w 4519987"/>
                    <a:gd name="connsiteY62" fmla="*/ 4210050 h 4496940"/>
                    <a:gd name="connsiteX63" fmla="*/ 3335677 w 4519987"/>
                    <a:gd name="connsiteY63" fmla="*/ 4238625 h 4496940"/>
                    <a:gd name="connsiteX64" fmla="*/ 3288052 w 4519987"/>
                    <a:gd name="connsiteY64" fmla="*/ 4248150 h 4496940"/>
                    <a:gd name="connsiteX65" fmla="*/ 3240427 w 4519987"/>
                    <a:gd name="connsiteY65" fmla="*/ 4267200 h 4496940"/>
                    <a:gd name="connsiteX66" fmla="*/ 3068977 w 4519987"/>
                    <a:gd name="connsiteY66" fmla="*/ 4286250 h 4496940"/>
                    <a:gd name="connsiteX67" fmla="*/ 2935627 w 4519987"/>
                    <a:gd name="connsiteY67" fmla="*/ 4333875 h 4496940"/>
                    <a:gd name="connsiteX68" fmla="*/ 2811802 w 4519987"/>
                    <a:gd name="connsiteY68" fmla="*/ 4371975 h 4496940"/>
                    <a:gd name="connsiteX69" fmla="*/ 2745127 w 4519987"/>
                    <a:gd name="connsiteY69" fmla="*/ 4410075 h 4496940"/>
                    <a:gd name="connsiteX70" fmla="*/ 2697502 w 4519987"/>
                    <a:gd name="connsiteY70" fmla="*/ 4429125 h 4496940"/>
                    <a:gd name="connsiteX71" fmla="*/ 2640352 w 4519987"/>
                    <a:gd name="connsiteY71" fmla="*/ 4457700 h 4496940"/>
                    <a:gd name="connsiteX72" fmla="*/ 2583202 w 4519987"/>
                    <a:gd name="connsiteY72" fmla="*/ 4467225 h 4496940"/>
                    <a:gd name="connsiteX73" fmla="*/ 2545102 w 4519987"/>
                    <a:gd name="connsiteY73" fmla="*/ 4486275 h 4496940"/>
                    <a:gd name="connsiteX74" fmla="*/ 2306977 w 4519987"/>
                    <a:gd name="connsiteY74" fmla="*/ 4476750 h 4496940"/>
                    <a:gd name="connsiteX75" fmla="*/ 2202202 w 4519987"/>
                    <a:gd name="connsiteY75" fmla="*/ 4457700 h 4496940"/>
                    <a:gd name="connsiteX76" fmla="*/ 2126002 w 4519987"/>
                    <a:gd name="connsiteY76" fmla="*/ 4429125 h 4496940"/>
                    <a:gd name="connsiteX77" fmla="*/ 1935502 w 4519987"/>
                    <a:gd name="connsiteY77" fmla="*/ 4400550 h 4496940"/>
                    <a:gd name="connsiteX78" fmla="*/ 1821202 w 4519987"/>
                    <a:gd name="connsiteY78" fmla="*/ 4371975 h 4496940"/>
                    <a:gd name="connsiteX79" fmla="*/ 1754527 w 4519987"/>
                    <a:gd name="connsiteY79" fmla="*/ 4352925 h 4496940"/>
                    <a:gd name="connsiteX80" fmla="*/ 1687852 w 4519987"/>
                    <a:gd name="connsiteY80" fmla="*/ 4343400 h 4496940"/>
                    <a:gd name="connsiteX81" fmla="*/ 1573552 w 4519987"/>
                    <a:gd name="connsiteY81" fmla="*/ 4305300 h 4496940"/>
                    <a:gd name="connsiteX82" fmla="*/ 1402102 w 4519987"/>
                    <a:gd name="connsiteY82" fmla="*/ 4276725 h 4496940"/>
                    <a:gd name="connsiteX83" fmla="*/ 1287802 w 4519987"/>
                    <a:gd name="connsiteY83" fmla="*/ 4229100 h 4496940"/>
                    <a:gd name="connsiteX84" fmla="*/ 1221127 w 4519987"/>
                    <a:gd name="connsiteY84" fmla="*/ 4200525 h 4496940"/>
                    <a:gd name="connsiteX85" fmla="*/ 1144927 w 4519987"/>
                    <a:gd name="connsiteY85" fmla="*/ 4171950 h 4496940"/>
                    <a:gd name="connsiteX86" fmla="*/ 1087777 w 4519987"/>
                    <a:gd name="connsiteY86" fmla="*/ 4143375 h 4496940"/>
                    <a:gd name="connsiteX87" fmla="*/ 1030627 w 4519987"/>
                    <a:gd name="connsiteY87" fmla="*/ 4124325 h 4496940"/>
                    <a:gd name="connsiteX88" fmla="*/ 925852 w 4519987"/>
                    <a:gd name="connsiteY88" fmla="*/ 4067175 h 4496940"/>
                    <a:gd name="connsiteX89" fmla="*/ 830602 w 4519987"/>
                    <a:gd name="connsiteY89" fmla="*/ 3981450 h 4496940"/>
                    <a:gd name="connsiteX90" fmla="*/ 763927 w 4519987"/>
                    <a:gd name="connsiteY90" fmla="*/ 3914775 h 4496940"/>
                    <a:gd name="connsiteX91" fmla="*/ 725827 w 4519987"/>
                    <a:gd name="connsiteY91" fmla="*/ 3876675 h 4496940"/>
                    <a:gd name="connsiteX92" fmla="*/ 697252 w 4519987"/>
                    <a:gd name="connsiteY92" fmla="*/ 3838575 h 4496940"/>
                    <a:gd name="connsiteX93" fmla="*/ 640102 w 4519987"/>
                    <a:gd name="connsiteY93" fmla="*/ 3781425 h 4496940"/>
                    <a:gd name="connsiteX94" fmla="*/ 611527 w 4519987"/>
                    <a:gd name="connsiteY94" fmla="*/ 3733800 h 4496940"/>
                    <a:gd name="connsiteX95" fmla="*/ 554377 w 4519987"/>
                    <a:gd name="connsiteY95" fmla="*/ 3657600 h 4496940"/>
                    <a:gd name="connsiteX96" fmla="*/ 525802 w 4519987"/>
                    <a:gd name="connsiteY96" fmla="*/ 3609975 h 4496940"/>
                    <a:gd name="connsiteX97" fmla="*/ 497227 w 4519987"/>
                    <a:gd name="connsiteY97" fmla="*/ 3552825 h 4496940"/>
                    <a:gd name="connsiteX98" fmla="*/ 440077 w 4519987"/>
                    <a:gd name="connsiteY98" fmla="*/ 3495675 h 4496940"/>
                    <a:gd name="connsiteX99" fmla="*/ 411502 w 4519987"/>
                    <a:gd name="connsiteY99" fmla="*/ 3448050 h 4496940"/>
                    <a:gd name="connsiteX100" fmla="*/ 278152 w 4519987"/>
                    <a:gd name="connsiteY100" fmla="*/ 3257550 h 4496940"/>
                    <a:gd name="connsiteX101" fmla="*/ 249577 w 4519987"/>
                    <a:gd name="connsiteY101" fmla="*/ 3200400 h 4496940"/>
                    <a:gd name="connsiteX102" fmla="*/ 240052 w 4519987"/>
                    <a:gd name="connsiteY102" fmla="*/ 3162300 h 4496940"/>
                    <a:gd name="connsiteX103" fmla="*/ 221002 w 4519987"/>
                    <a:gd name="connsiteY103" fmla="*/ 3105150 h 4496940"/>
                    <a:gd name="connsiteX104" fmla="*/ 173377 w 4519987"/>
                    <a:gd name="connsiteY104" fmla="*/ 3019425 h 4496940"/>
                    <a:gd name="connsiteX105" fmla="*/ 144802 w 4519987"/>
                    <a:gd name="connsiteY105" fmla="*/ 2924175 h 4496940"/>
                    <a:gd name="connsiteX106" fmla="*/ 68602 w 4519987"/>
                    <a:gd name="connsiteY106" fmla="*/ 2724150 h 4496940"/>
                    <a:gd name="connsiteX107" fmla="*/ 49552 w 4519987"/>
                    <a:gd name="connsiteY107" fmla="*/ 2638425 h 4496940"/>
                    <a:gd name="connsiteX108" fmla="*/ 40027 w 4519987"/>
                    <a:gd name="connsiteY108" fmla="*/ 2562225 h 4496940"/>
                    <a:gd name="connsiteX109" fmla="*/ 30502 w 4519987"/>
                    <a:gd name="connsiteY109" fmla="*/ 2514600 h 4496940"/>
                    <a:gd name="connsiteX110" fmla="*/ 11452 w 4519987"/>
                    <a:gd name="connsiteY110" fmla="*/ 2400300 h 4496940"/>
                    <a:gd name="connsiteX111" fmla="*/ 20977 w 4519987"/>
                    <a:gd name="connsiteY111" fmla="*/ 1905000 h 4496940"/>
                    <a:gd name="connsiteX112" fmla="*/ 30502 w 4519987"/>
                    <a:gd name="connsiteY112" fmla="*/ 1838325 h 4496940"/>
                    <a:gd name="connsiteX113" fmla="*/ 49552 w 4519987"/>
                    <a:gd name="connsiteY113" fmla="*/ 1781175 h 4496940"/>
                    <a:gd name="connsiteX114" fmla="*/ 59077 w 4519987"/>
                    <a:gd name="connsiteY114" fmla="*/ 1743075 h 4496940"/>
                    <a:gd name="connsiteX115" fmla="*/ 78127 w 4519987"/>
                    <a:gd name="connsiteY115" fmla="*/ 1685925 h 4496940"/>
                    <a:gd name="connsiteX116" fmla="*/ 87652 w 4519987"/>
                    <a:gd name="connsiteY116" fmla="*/ 1638300 h 4496940"/>
                    <a:gd name="connsiteX117" fmla="*/ 106702 w 4519987"/>
                    <a:gd name="connsiteY117" fmla="*/ 1590675 h 4496940"/>
                    <a:gd name="connsiteX118" fmla="*/ 135277 w 4519987"/>
                    <a:gd name="connsiteY118" fmla="*/ 1504950 h 4496940"/>
                    <a:gd name="connsiteX119" fmla="*/ 154327 w 4519987"/>
                    <a:gd name="connsiteY119" fmla="*/ 1419225 h 4496940"/>
                    <a:gd name="connsiteX120" fmla="*/ 230527 w 4519987"/>
                    <a:gd name="connsiteY120" fmla="*/ 1276350 h 4496940"/>
                    <a:gd name="connsiteX121" fmla="*/ 240052 w 4519987"/>
                    <a:gd name="connsiteY121" fmla="*/ 1247775 h 4496940"/>
                    <a:gd name="connsiteX122" fmla="*/ 268627 w 4519987"/>
                    <a:gd name="connsiteY122" fmla="*/ 1200150 h 4496940"/>
                    <a:gd name="connsiteX123" fmla="*/ 287677 w 4519987"/>
                    <a:gd name="connsiteY123" fmla="*/ 1152525 h 4496940"/>
                    <a:gd name="connsiteX124" fmla="*/ 316252 w 4519987"/>
                    <a:gd name="connsiteY124" fmla="*/ 1114425 h 4496940"/>
                    <a:gd name="connsiteX125" fmla="*/ 363877 w 4519987"/>
                    <a:gd name="connsiteY125" fmla="*/ 1038225 h 4496940"/>
                    <a:gd name="connsiteX126" fmla="*/ 382927 w 4519987"/>
                    <a:gd name="connsiteY126" fmla="*/ 1009650 h 4496940"/>
                    <a:gd name="connsiteX127" fmla="*/ 440077 w 4519987"/>
                    <a:gd name="connsiteY127" fmla="*/ 904875 h 4496940"/>
                    <a:gd name="connsiteX128" fmla="*/ 478177 w 4519987"/>
                    <a:gd name="connsiteY128" fmla="*/ 857250 h 4496940"/>
                    <a:gd name="connsiteX129" fmla="*/ 497227 w 4519987"/>
                    <a:gd name="connsiteY129" fmla="*/ 828675 h 4496940"/>
                    <a:gd name="connsiteX130" fmla="*/ 535327 w 4519987"/>
                    <a:gd name="connsiteY130" fmla="*/ 800100 h 4496940"/>
                    <a:gd name="connsiteX131" fmla="*/ 602002 w 4519987"/>
                    <a:gd name="connsiteY131" fmla="*/ 733425 h 4496940"/>
                    <a:gd name="connsiteX132" fmla="*/ 668677 w 4519987"/>
                    <a:gd name="connsiteY132" fmla="*/ 676275 h 4496940"/>
                    <a:gd name="connsiteX133" fmla="*/ 697252 w 4519987"/>
                    <a:gd name="connsiteY133" fmla="*/ 657225 h 4496940"/>
                    <a:gd name="connsiteX134" fmla="*/ 840127 w 4519987"/>
                    <a:gd name="connsiteY134" fmla="*/ 533400 h 4496940"/>
                    <a:gd name="connsiteX135" fmla="*/ 887752 w 4519987"/>
                    <a:gd name="connsiteY135" fmla="*/ 504825 h 4496940"/>
                    <a:gd name="connsiteX136" fmla="*/ 1167152 w 4519987"/>
                    <a:gd name="connsiteY136" fmla="*/ 311150 h 4496940"/>
                    <a:gd name="connsiteX137" fmla="*/ 1268752 w 4519987"/>
                    <a:gd name="connsiteY137" fmla="*/ 285750 h 4496940"/>
                    <a:gd name="connsiteX138" fmla="*/ 1411627 w 4519987"/>
                    <a:gd name="connsiteY138" fmla="*/ 190500 h 4496940"/>
                    <a:gd name="connsiteX139" fmla="*/ 1449727 w 4519987"/>
                    <a:gd name="connsiteY139" fmla="*/ 161925 h 4496940"/>
                    <a:gd name="connsiteX140" fmla="*/ 1525927 w 4519987"/>
                    <a:gd name="connsiteY140" fmla="*/ 152400 h 4496940"/>
                    <a:gd name="connsiteX141" fmla="*/ 1583077 w 4519987"/>
                    <a:gd name="connsiteY141" fmla="*/ 142875 h 4496940"/>
                    <a:gd name="connsiteX142" fmla="*/ 1716427 w 4519987"/>
                    <a:gd name="connsiteY142" fmla="*/ 123825 h 4496940"/>
                    <a:gd name="connsiteX143" fmla="*/ 1811677 w 4519987"/>
                    <a:gd name="connsiteY143" fmla="*/ 114300 h 4496940"/>
                    <a:gd name="connsiteX144" fmla="*/ 1859302 w 4519987"/>
                    <a:gd name="connsiteY144" fmla="*/ 104775 h 4496940"/>
                    <a:gd name="connsiteX145" fmla="*/ 1916452 w 4519987"/>
                    <a:gd name="connsiteY145" fmla="*/ 95250 h 4496940"/>
                    <a:gd name="connsiteX146" fmla="*/ 2030752 w 4519987"/>
                    <a:gd name="connsiteY146" fmla="*/ 66675 h 4496940"/>
                    <a:gd name="connsiteX147" fmla="*/ 2097427 w 4519987"/>
                    <a:gd name="connsiteY147" fmla="*/ 47625 h 4496940"/>
                    <a:gd name="connsiteX148" fmla="*/ 2164102 w 4519987"/>
                    <a:gd name="connsiteY148" fmla="*/ 38100 h 4496940"/>
                    <a:gd name="connsiteX149" fmla="*/ 2392702 w 4519987"/>
                    <a:gd name="connsiteY14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78627 w 4519987"/>
                    <a:gd name="connsiteY21" fmla="*/ 838200 h 4496940"/>
                    <a:gd name="connsiteX22" fmla="*/ 4135777 w 4519987"/>
                    <a:gd name="connsiteY22" fmla="*/ 933450 h 4496940"/>
                    <a:gd name="connsiteX23" fmla="*/ 4164352 w 4519987"/>
                    <a:gd name="connsiteY23" fmla="*/ 990600 h 4496940"/>
                    <a:gd name="connsiteX24" fmla="*/ 4173877 w 4519987"/>
                    <a:gd name="connsiteY24" fmla="*/ 1019175 h 4496940"/>
                    <a:gd name="connsiteX25" fmla="*/ 4192927 w 4519987"/>
                    <a:gd name="connsiteY25" fmla="*/ 1057275 h 4496940"/>
                    <a:gd name="connsiteX26" fmla="*/ 4202452 w 4519987"/>
                    <a:gd name="connsiteY26" fmla="*/ 1085850 h 4496940"/>
                    <a:gd name="connsiteX27" fmla="*/ 4250077 w 4519987"/>
                    <a:gd name="connsiteY27" fmla="*/ 1143000 h 4496940"/>
                    <a:gd name="connsiteX28" fmla="*/ 4259602 w 4519987"/>
                    <a:gd name="connsiteY28" fmla="*/ 1190625 h 4496940"/>
                    <a:gd name="connsiteX29" fmla="*/ 4307227 w 4519987"/>
                    <a:gd name="connsiteY29" fmla="*/ 1266825 h 4496940"/>
                    <a:gd name="connsiteX30" fmla="*/ 4345327 w 4519987"/>
                    <a:gd name="connsiteY30" fmla="*/ 1362075 h 4496940"/>
                    <a:gd name="connsiteX31" fmla="*/ 4373902 w 4519987"/>
                    <a:gd name="connsiteY31" fmla="*/ 1428750 h 4496940"/>
                    <a:gd name="connsiteX32" fmla="*/ 4392952 w 4519987"/>
                    <a:gd name="connsiteY32" fmla="*/ 1552575 h 4496940"/>
                    <a:gd name="connsiteX33" fmla="*/ 4402477 w 4519987"/>
                    <a:gd name="connsiteY33" fmla="*/ 1590675 h 4496940"/>
                    <a:gd name="connsiteX34" fmla="*/ 4431052 w 4519987"/>
                    <a:gd name="connsiteY34" fmla="*/ 1685925 h 4496940"/>
                    <a:gd name="connsiteX35" fmla="*/ 4519952 w 4519987"/>
                    <a:gd name="connsiteY35" fmla="*/ 2181225 h 4496940"/>
                    <a:gd name="connsiteX36" fmla="*/ 4446927 w 4519987"/>
                    <a:gd name="connsiteY36" fmla="*/ 2768600 h 4496940"/>
                    <a:gd name="connsiteX37" fmla="*/ 4383427 w 4519987"/>
                    <a:gd name="connsiteY37" fmla="*/ 2990850 h 4496940"/>
                    <a:gd name="connsiteX38" fmla="*/ 4278652 w 4519987"/>
                    <a:gd name="connsiteY38" fmla="*/ 3248025 h 4496940"/>
                    <a:gd name="connsiteX39" fmla="*/ 4259602 w 4519987"/>
                    <a:gd name="connsiteY39" fmla="*/ 3276600 h 4496940"/>
                    <a:gd name="connsiteX40" fmla="*/ 4221502 w 4519987"/>
                    <a:gd name="connsiteY40" fmla="*/ 3333750 h 4496940"/>
                    <a:gd name="connsiteX41" fmla="*/ 4211977 w 4519987"/>
                    <a:gd name="connsiteY41" fmla="*/ 3362325 h 4496940"/>
                    <a:gd name="connsiteX42" fmla="*/ 4183402 w 4519987"/>
                    <a:gd name="connsiteY42" fmla="*/ 3400425 h 4496940"/>
                    <a:gd name="connsiteX43" fmla="*/ 4164352 w 4519987"/>
                    <a:gd name="connsiteY43" fmla="*/ 3429000 h 4496940"/>
                    <a:gd name="connsiteX44" fmla="*/ 4088152 w 4519987"/>
                    <a:gd name="connsiteY44" fmla="*/ 3495675 h 4496940"/>
                    <a:gd name="connsiteX45" fmla="*/ 4059577 w 4519987"/>
                    <a:gd name="connsiteY45" fmla="*/ 3533775 h 4496940"/>
                    <a:gd name="connsiteX46" fmla="*/ 4002427 w 4519987"/>
                    <a:gd name="connsiteY46" fmla="*/ 3600450 h 4496940"/>
                    <a:gd name="connsiteX47" fmla="*/ 3983377 w 4519987"/>
                    <a:gd name="connsiteY47" fmla="*/ 3629025 h 4496940"/>
                    <a:gd name="connsiteX48" fmla="*/ 3954802 w 4519987"/>
                    <a:gd name="connsiteY48" fmla="*/ 3648075 h 4496940"/>
                    <a:gd name="connsiteX49" fmla="*/ 3907177 w 4519987"/>
                    <a:gd name="connsiteY49" fmla="*/ 3686175 h 4496940"/>
                    <a:gd name="connsiteX50" fmla="*/ 3869077 w 4519987"/>
                    <a:gd name="connsiteY50" fmla="*/ 3724275 h 4496940"/>
                    <a:gd name="connsiteX51" fmla="*/ 3792877 w 4519987"/>
                    <a:gd name="connsiteY51" fmla="*/ 3781425 h 4496940"/>
                    <a:gd name="connsiteX52" fmla="*/ 3783352 w 4519987"/>
                    <a:gd name="connsiteY52" fmla="*/ 3810000 h 4496940"/>
                    <a:gd name="connsiteX53" fmla="*/ 3745252 w 4519987"/>
                    <a:gd name="connsiteY53" fmla="*/ 3819525 h 4496940"/>
                    <a:gd name="connsiteX54" fmla="*/ 3678577 w 4519987"/>
                    <a:gd name="connsiteY54" fmla="*/ 3848100 h 4496940"/>
                    <a:gd name="connsiteX55" fmla="*/ 3659527 w 4519987"/>
                    <a:gd name="connsiteY55" fmla="*/ 3971925 h 4496940"/>
                    <a:gd name="connsiteX56" fmla="*/ 3630952 w 4519987"/>
                    <a:gd name="connsiteY56" fmla="*/ 4010025 h 4496940"/>
                    <a:gd name="connsiteX57" fmla="*/ 3621427 w 4519987"/>
                    <a:gd name="connsiteY57" fmla="*/ 4038600 h 4496940"/>
                    <a:gd name="connsiteX58" fmla="*/ 3554752 w 4519987"/>
                    <a:gd name="connsiteY58" fmla="*/ 4095750 h 4496940"/>
                    <a:gd name="connsiteX59" fmla="*/ 3516652 w 4519987"/>
                    <a:gd name="connsiteY59" fmla="*/ 4114800 h 4496940"/>
                    <a:gd name="connsiteX60" fmla="*/ 3497602 w 4519987"/>
                    <a:gd name="connsiteY60" fmla="*/ 4143375 h 4496940"/>
                    <a:gd name="connsiteX61" fmla="*/ 3383302 w 4519987"/>
                    <a:gd name="connsiteY61" fmla="*/ 4210050 h 4496940"/>
                    <a:gd name="connsiteX62" fmla="*/ 3335677 w 4519987"/>
                    <a:gd name="connsiteY62" fmla="*/ 4238625 h 4496940"/>
                    <a:gd name="connsiteX63" fmla="*/ 3288052 w 4519987"/>
                    <a:gd name="connsiteY63" fmla="*/ 4248150 h 4496940"/>
                    <a:gd name="connsiteX64" fmla="*/ 3240427 w 4519987"/>
                    <a:gd name="connsiteY64" fmla="*/ 4267200 h 4496940"/>
                    <a:gd name="connsiteX65" fmla="*/ 3068977 w 4519987"/>
                    <a:gd name="connsiteY65" fmla="*/ 4286250 h 4496940"/>
                    <a:gd name="connsiteX66" fmla="*/ 2935627 w 4519987"/>
                    <a:gd name="connsiteY66" fmla="*/ 4333875 h 4496940"/>
                    <a:gd name="connsiteX67" fmla="*/ 2811802 w 4519987"/>
                    <a:gd name="connsiteY67" fmla="*/ 4371975 h 4496940"/>
                    <a:gd name="connsiteX68" fmla="*/ 2745127 w 4519987"/>
                    <a:gd name="connsiteY68" fmla="*/ 4410075 h 4496940"/>
                    <a:gd name="connsiteX69" fmla="*/ 2697502 w 4519987"/>
                    <a:gd name="connsiteY69" fmla="*/ 4429125 h 4496940"/>
                    <a:gd name="connsiteX70" fmla="*/ 2640352 w 4519987"/>
                    <a:gd name="connsiteY70" fmla="*/ 4457700 h 4496940"/>
                    <a:gd name="connsiteX71" fmla="*/ 2583202 w 4519987"/>
                    <a:gd name="connsiteY71" fmla="*/ 4467225 h 4496940"/>
                    <a:gd name="connsiteX72" fmla="*/ 2545102 w 4519987"/>
                    <a:gd name="connsiteY72" fmla="*/ 4486275 h 4496940"/>
                    <a:gd name="connsiteX73" fmla="*/ 2306977 w 4519987"/>
                    <a:gd name="connsiteY73" fmla="*/ 4476750 h 4496940"/>
                    <a:gd name="connsiteX74" fmla="*/ 2202202 w 4519987"/>
                    <a:gd name="connsiteY74" fmla="*/ 4457700 h 4496940"/>
                    <a:gd name="connsiteX75" fmla="*/ 2126002 w 4519987"/>
                    <a:gd name="connsiteY75" fmla="*/ 4429125 h 4496940"/>
                    <a:gd name="connsiteX76" fmla="*/ 1935502 w 4519987"/>
                    <a:gd name="connsiteY76" fmla="*/ 4400550 h 4496940"/>
                    <a:gd name="connsiteX77" fmla="*/ 1821202 w 4519987"/>
                    <a:gd name="connsiteY77" fmla="*/ 4371975 h 4496940"/>
                    <a:gd name="connsiteX78" fmla="*/ 1754527 w 4519987"/>
                    <a:gd name="connsiteY78" fmla="*/ 4352925 h 4496940"/>
                    <a:gd name="connsiteX79" fmla="*/ 1687852 w 4519987"/>
                    <a:gd name="connsiteY79" fmla="*/ 4343400 h 4496940"/>
                    <a:gd name="connsiteX80" fmla="*/ 1573552 w 4519987"/>
                    <a:gd name="connsiteY80" fmla="*/ 4305300 h 4496940"/>
                    <a:gd name="connsiteX81" fmla="*/ 1402102 w 4519987"/>
                    <a:gd name="connsiteY81" fmla="*/ 4276725 h 4496940"/>
                    <a:gd name="connsiteX82" fmla="*/ 1287802 w 4519987"/>
                    <a:gd name="connsiteY82" fmla="*/ 4229100 h 4496940"/>
                    <a:gd name="connsiteX83" fmla="*/ 1221127 w 4519987"/>
                    <a:gd name="connsiteY83" fmla="*/ 4200525 h 4496940"/>
                    <a:gd name="connsiteX84" fmla="*/ 1144927 w 4519987"/>
                    <a:gd name="connsiteY84" fmla="*/ 4171950 h 4496940"/>
                    <a:gd name="connsiteX85" fmla="*/ 1087777 w 4519987"/>
                    <a:gd name="connsiteY85" fmla="*/ 4143375 h 4496940"/>
                    <a:gd name="connsiteX86" fmla="*/ 1030627 w 4519987"/>
                    <a:gd name="connsiteY86" fmla="*/ 4124325 h 4496940"/>
                    <a:gd name="connsiteX87" fmla="*/ 925852 w 4519987"/>
                    <a:gd name="connsiteY87" fmla="*/ 4067175 h 4496940"/>
                    <a:gd name="connsiteX88" fmla="*/ 830602 w 4519987"/>
                    <a:gd name="connsiteY88" fmla="*/ 3981450 h 4496940"/>
                    <a:gd name="connsiteX89" fmla="*/ 763927 w 4519987"/>
                    <a:gd name="connsiteY89" fmla="*/ 3914775 h 4496940"/>
                    <a:gd name="connsiteX90" fmla="*/ 725827 w 4519987"/>
                    <a:gd name="connsiteY90" fmla="*/ 3876675 h 4496940"/>
                    <a:gd name="connsiteX91" fmla="*/ 697252 w 4519987"/>
                    <a:gd name="connsiteY91" fmla="*/ 3838575 h 4496940"/>
                    <a:gd name="connsiteX92" fmla="*/ 640102 w 4519987"/>
                    <a:gd name="connsiteY92" fmla="*/ 3781425 h 4496940"/>
                    <a:gd name="connsiteX93" fmla="*/ 611527 w 4519987"/>
                    <a:gd name="connsiteY93" fmla="*/ 3733800 h 4496940"/>
                    <a:gd name="connsiteX94" fmla="*/ 554377 w 4519987"/>
                    <a:gd name="connsiteY94" fmla="*/ 3657600 h 4496940"/>
                    <a:gd name="connsiteX95" fmla="*/ 525802 w 4519987"/>
                    <a:gd name="connsiteY95" fmla="*/ 3609975 h 4496940"/>
                    <a:gd name="connsiteX96" fmla="*/ 497227 w 4519987"/>
                    <a:gd name="connsiteY96" fmla="*/ 3552825 h 4496940"/>
                    <a:gd name="connsiteX97" fmla="*/ 440077 w 4519987"/>
                    <a:gd name="connsiteY97" fmla="*/ 3495675 h 4496940"/>
                    <a:gd name="connsiteX98" fmla="*/ 411502 w 4519987"/>
                    <a:gd name="connsiteY98" fmla="*/ 3448050 h 4496940"/>
                    <a:gd name="connsiteX99" fmla="*/ 278152 w 4519987"/>
                    <a:gd name="connsiteY99" fmla="*/ 3257550 h 4496940"/>
                    <a:gd name="connsiteX100" fmla="*/ 249577 w 4519987"/>
                    <a:gd name="connsiteY100" fmla="*/ 3200400 h 4496940"/>
                    <a:gd name="connsiteX101" fmla="*/ 240052 w 4519987"/>
                    <a:gd name="connsiteY101" fmla="*/ 3162300 h 4496940"/>
                    <a:gd name="connsiteX102" fmla="*/ 221002 w 4519987"/>
                    <a:gd name="connsiteY102" fmla="*/ 3105150 h 4496940"/>
                    <a:gd name="connsiteX103" fmla="*/ 173377 w 4519987"/>
                    <a:gd name="connsiteY103" fmla="*/ 3019425 h 4496940"/>
                    <a:gd name="connsiteX104" fmla="*/ 144802 w 4519987"/>
                    <a:gd name="connsiteY104" fmla="*/ 2924175 h 4496940"/>
                    <a:gd name="connsiteX105" fmla="*/ 68602 w 4519987"/>
                    <a:gd name="connsiteY105" fmla="*/ 2724150 h 4496940"/>
                    <a:gd name="connsiteX106" fmla="*/ 49552 w 4519987"/>
                    <a:gd name="connsiteY106" fmla="*/ 2638425 h 4496940"/>
                    <a:gd name="connsiteX107" fmla="*/ 40027 w 4519987"/>
                    <a:gd name="connsiteY107" fmla="*/ 2562225 h 4496940"/>
                    <a:gd name="connsiteX108" fmla="*/ 30502 w 4519987"/>
                    <a:gd name="connsiteY108" fmla="*/ 2514600 h 4496940"/>
                    <a:gd name="connsiteX109" fmla="*/ 11452 w 4519987"/>
                    <a:gd name="connsiteY109" fmla="*/ 2400300 h 4496940"/>
                    <a:gd name="connsiteX110" fmla="*/ 20977 w 4519987"/>
                    <a:gd name="connsiteY110" fmla="*/ 1905000 h 4496940"/>
                    <a:gd name="connsiteX111" fmla="*/ 30502 w 4519987"/>
                    <a:gd name="connsiteY111" fmla="*/ 1838325 h 4496940"/>
                    <a:gd name="connsiteX112" fmla="*/ 49552 w 4519987"/>
                    <a:gd name="connsiteY112" fmla="*/ 1781175 h 4496940"/>
                    <a:gd name="connsiteX113" fmla="*/ 59077 w 4519987"/>
                    <a:gd name="connsiteY113" fmla="*/ 1743075 h 4496940"/>
                    <a:gd name="connsiteX114" fmla="*/ 78127 w 4519987"/>
                    <a:gd name="connsiteY114" fmla="*/ 1685925 h 4496940"/>
                    <a:gd name="connsiteX115" fmla="*/ 87652 w 4519987"/>
                    <a:gd name="connsiteY115" fmla="*/ 1638300 h 4496940"/>
                    <a:gd name="connsiteX116" fmla="*/ 106702 w 4519987"/>
                    <a:gd name="connsiteY116" fmla="*/ 1590675 h 4496940"/>
                    <a:gd name="connsiteX117" fmla="*/ 135277 w 4519987"/>
                    <a:gd name="connsiteY117" fmla="*/ 1504950 h 4496940"/>
                    <a:gd name="connsiteX118" fmla="*/ 154327 w 4519987"/>
                    <a:gd name="connsiteY118" fmla="*/ 1419225 h 4496940"/>
                    <a:gd name="connsiteX119" fmla="*/ 230527 w 4519987"/>
                    <a:gd name="connsiteY119" fmla="*/ 1276350 h 4496940"/>
                    <a:gd name="connsiteX120" fmla="*/ 240052 w 4519987"/>
                    <a:gd name="connsiteY120" fmla="*/ 1247775 h 4496940"/>
                    <a:gd name="connsiteX121" fmla="*/ 268627 w 4519987"/>
                    <a:gd name="connsiteY121" fmla="*/ 1200150 h 4496940"/>
                    <a:gd name="connsiteX122" fmla="*/ 287677 w 4519987"/>
                    <a:gd name="connsiteY122" fmla="*/ 1152525 h 4496940"/>
                    <a:gd name="connsiteX123" fmla="*/ 316252 w 4519987"/>
                    <a:gd name="connsiteY123" fmla="*/ 1114425 h 4496940"/>
                    <a:gd name="connsiteX124" fmla="*/ 363877 w 4519987"/>
                    <a:gd name="connsiteY124" fmla="*/ 1038225 h 4496940"/>
                    <a:gd name="connsiteX125" fmla="*/ 382927 w 4519987"/>
                    <a:gd name="connsiteY125" fmla="*/ 1009650 h 4496940"/>
                    <a:gd name="connsiteX126" fmla="*/ 440077 w 4519987"/>
                    <a:gd name="connsiteY126" fmla="*/ 904875 h 4496940"/>
                    <a:gd name="connsiteX127" fmla="*/ 478177 w 4519987"/>
                    <a:gd name="connsiteY127" fmla="*/ 857250 h 4496940"/>
                    <a:gd name="connsiteX128" fmla="*/ 497227 w 4519987"/>
                    <a:gd name="connsiteY128" fmla="*/ 828675 h 4496940"/>
                    <a:gd name="connsiteX129" fmla="*/ 535327 w 4519987"/>
                    <a:gd name="connsiteY129" fmla="*/ 800100 h 4496940"/>
                    <a:gd name="connsiteX130" fmla="*/ 602002 w 4519987"/>
                    <a:gd name="connsiteY130" fmla="*/ 733425 h 4496940"/>
                    <a:gd name="connsiteX131" fmla="*/ 668677 w 4519987"/>
                    <a:gd name="connsiteY131" fmla="*/ 676275 h 4496940"/>
                    <a:gd name="connsiteX132" fmla="*/ 697252 w 4519987"/>
                    <a:gd name="connsiteY132" fmla="*/ 657225 h 4496940"/>
                    <a:gd name="connsiteX133" fmla="*/ 840127 w 4519987"/>
                    <a:gd name="connsiteY133" fmla="*/ 533400 h 4496940"/>
                    <a:gd name="connsiteX134" fmla="*/ 887752 w 4519987"/>
                    <a:gd name="connsiteY134" fmla="*/ 504825 h 4496940"/>
                    <a:gd name="connsiteX135" fmla="*/ 1167152 w 4519987"/>
                    <a:gd name="connsiteY135" fmla="*/ 311150 h 4496940"/>
                    <a:gd name="connsiteX136" fmla="*/ 1268752 w 4519987"/>
                    <a:gd name="connsiteY136" fmla="*/ 285750 h 4496940"/>
                    <a:gd name="connsiteX137" fmla="*/ 1411627 w 4519987"/>
                    <a:gd name="connsiteY137" fmla="*/ 190500 h 4496940"/>
                    <a:gd name="connsiteX138" fmla="*/ 1449727 w 4519987"/>
                    <a:gd name="connsiteY138" fmla="*/ 161925 h 4496940"/>
                    <a:gd name="connsiteX139" fmla="*/ 1525927 w 4519987"/>
                    <a:gd name="connsiteY139" fmla="*/ 152400 h 4496940"/>
                    <a:gd name="connsiteX140" fmla="*/ 1583077 w 4519987"/>
                    <a:gd name="connsiteY140" fmla="*/ 142875 h 4496940"/>
                    <a:gd name="connsiteX141" fmla="*/ 1716427 w 4519987"/>
                    <a:gd name="connsiteY141" fmla="*/ 123825 h 4496940"/>
                    <a:gd name="connsiteX142" fmla="*/ 1811677 w 4519987"/>
                    <a:gd name="connsiteY142" fmla="*/ 114300 h 4496940"/>
                    <a:gd name="connsiteX143" fmla="*/ 1859302 w 4519987"/>
                    <a:gd name="connsiteY143" fmla="*/ 104775 h 4496940"/>
                    <a:gd name="connsiteX144" fmla="*/ 1916452 w 4519987"/>
                    <a:gd name="connsiteY144" fmla="*/ 95250 h 4496940"/>
                    <a:gd name="connsiteX145" fmla="*/ 2030752 w 4519987"/>
                    <a:gd name="connsiteY145" fmla="*/ 66675 h 4496940"/>
                    <a:gd name="connsiteX146" fmla="*/ 2097427 w 4519987"/>
                    <a:gd name="connsiteY146" fmla="*/ 47625 h 4496940"/>
                    <a:gd name="connsiteX147" fmla="*/ 2164102 w 4519987"/>
                    <a:gd name="connsiteY147" fmla="*/ 38100 h 4496940"/>
                    <a:gd name="connsiteX148" fmla="*/ 2392702 w 4519987"/>
                    <a:gd name="connsiteY14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135777 w 4519987"/>
                    <a:gd name="connsiteY21" fmla="*/ 9334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02452 w 4519987"/>
                    <a:gd name="connsiteY24" fmla="*/ 1085850 h 4496940"/>
                    <a:gd name="connsiteX25" fmla="*/ 4250077 w 4519987"/>
                    <a:gd name="connsiteY25" fmla="*/ 1143000 h 4496940"/>
                    <a:gd name="connsiteX26" fmla="*/ 4259602 w 4519987"/>
                    <a:gd name="connsiteY26" fmla="*/ 1190625 h 4496940"/>
                    <a:gd name="connsiteX27" fmla="*/ 4307227 w 4519987"/>
                    <a:gd name="connsiteY27" fmla="*/ 1266825 h 4496940"/>
                    <a:gd name="connsiteX28" fmla="*/ 4345327 w 4519987"/>
                    <a:gd name="connsiteY28" fmla="*/ 1362075 h 4496940"/>
                    <a:gd name="connsiteX29" fmla="*/ 4373902 w 4519987"/>
                    <a:gd name="connsiteY29" fmla="*/ 1428750 h 4496940"/>
                    <a:gd name="connsiteX30" fmla="*/ 4392952 w 4519987"/>
                    <a:gd name="connsiteY30" fmla="*/ 1552575 h 4496940"/>
                    <a:gd name="connsiteX31" fmla="*/ 4402477 w 4519987"/>
                    <a:gd name="connsiteY31" fmla="*/ 1590675 h 4496940"/>
                    <a:gd name="connsiteX32" fmla="*/ 4431052 w 4519987"/>
                    <a:gd name="connsiteY32" fmla="*/ 1685925 h 4496940"/>
                    <a:gd name="connsiteX33" fmla="*/ 4519952 w 4519987"/>
                    <a:gd name="connsiteY33" fmla="*/ 2181225 h 4496940"/>
                    <a:gd name="connsiteX34" fmla="*/ 4446927 w 4519987"/>
                    <a:gd name="connsiteY34" fmla="*/ 2768600 h 4496940"/>
                    <a:gd name="connsiteX35" fmla="*/ 4383427 w 4519987"/>
                    <a:gd name="connsiteY35" fmla="*/ 2990850 h 4496940"/>
                    <a:gd name="connsiteX36" fmla="*/ 4278652 w 4519987"/>
                    <a:gd name="connsiteY36" fmla="*/ 3248025 h 4496940"/>
                    <a:gd name="connsiteX37" fmla="*/ 4259602 w 4519987"/>
                    <a:gd name="connsiteY37" fmla="*/ 3276600 h 4496940"/>
                    <a:gd name="connsiteX38" fmla="*/ 4221502 w 4519987"/>
                    <a:gd name="connsiteY38" fmla="*/ 3333750 h 4496940"/>
                    <a:gd name="connsiteX39" fmla="*/ 4211977 w 4519987"/>
                    <a:gd name="connsiteY39" fmla="*/ 3362325 h 4496940"/>
                    <a:gd name="connsiteX40" fmla="*/ 4183402 w 4519987"/>
                    <a:gd name="connsiteY40" fmla="*/ 3400425 h 4496940"/>
                    <a:gd name="connsiteX41" fmla="*/ 4164352 w 4519987"/>
                    <a:gd name="connsiteY41" fmla="*/ 3429000 h 4496940"/>
                    <a:gd name="connsiteX42" fmla="*/ 4088152 w 4519987"/>
                    <a:gd name="connsiteY42" fmla="*/ 3495675 h 4496940"/>
                    <a:gd name="connsiteX43" fmla="*/ 4059577 w 4519987"/>
                    <a:gd name="connsiteY43" fmla="*/ 3533775 h 4496940"/>
                    <a:gd name="connsiteX44" fmla="*/ 4002427 w 4519987"/>
                    <a:gd name="connsiteY44" fmla="*/ 3600450 h 4496940"/>
                    <a:gd name="connsiteX45" fmla="*/ 3983377 w 4519987"/>
                    <a:gd name="connsiteY45" fmla="*/ 3629025 h 4496940"/>
                    <a:gd name="connsiteX46" fmla="*/ 3954802 w 4519987"/>
                    <a:gd name="connsiteY46" fmla="*/ 3648075 h 4496940"/>
                    <a:gd name="connsiteX47" fmla="*/ 3907177 w 4519987"/>
                    <a:gd name="connsiteY47" fmla="*/ 3686175 h 4496940"/>
                    <a:gd name="connsiteX48" fmla="*/ 3869077 w 4519987"/>
                    <a:gd name="connsiteY48" fmla="*/ 3724275 h 4496940"/>
                    <a:gd name="connsiteX49" fmla="*/ 3792877 w 4519987"/>
                    <a:gd name="connsiteY49" fmla="*/ 3781425 h 4496940"/>
                    <a:gd name="connsiteX50" fmla="*/ 3783352 w 4519987"/>
                    <a:gd name="connsiteY50" fmla="*/ 3810000 h 4496940"/>
                    <a:gd name="connsiteX51" fmla="*/ 3745252 w 4519987"/>
                    <a:gd name="connsiteY51" fmla="*/ 3819525 h 4496940"/>
                    <a:gd name="connsiteX52" fmla="*/ 3678577 w 4519987"/>
                    <a:gd name="connsiteY52" fmla="*/ 3848100 h 4496940"/>
                    <a:gd name="connsiteX53" fmla="*/ 3659527 w 4519987"/>
                    <a:gd name="connsiteY53" fmla="*/ 3971925 h 4496940"/>
                    <a:gd name="connsiteX54" fmla="*/ 3630952 w 4519987"/>
                    <a:gd name="connsiteY54" fmla="*/ 4010025 h 4496940"/>
                    <a:gd name="connsiteX55" fmla="*/ 3621427 w 4519987"/>
                    <a:gd name="connsiteY55" fmla="*/ 4038600 h 4496940"/>
                    <a:gd name="connsiteX56" fmla="*/ 3554752 w 4519987"/>
                    <a:gd name="connsiteY56" fmla="*/ 4095750 h 4496940"/>
                    <a:gd name="connsiteX57" fmla="*/ 3516652 w 4519987"/>
                    <a:gd name="connsiteY57" fmla="*/ 4114800 h 4496940"/>
                    <a:gd name="connsiteX58" fmla="*/ 3497602 w 4519987"/>
                    <a:gd name="connsiteY58" fmla="*/ 4143375 h 4496940"/>
                    <a:gd name="connsiteX59" fmla="*/ 3383302 w 4519987"/>
                    <a:gd name="connsiteY59" fmla="*/ 4210050 h 4496940"/>
                    <a:gd name="connsiteX60" fmla="*/ 3335677 w 4519987"/>
                    <a:gd name="connsiteY60" fmla="*/ 4238625 h 4496940"/>
                    <a:gd name="connsiteX61" fmla="*/ 3288052 w 4519987"/>
                    <a:gd name="connsiteY61" fmla="*/ 4248150 h 4496940"/>
                    <a:gd name="connsiteX62" fmla="*/ 3240427 w 4519987"/>
                    <a:gd name="connsiteY62" fmla="*/ 4267200 h 4496940"/>
                    <a:gd name="connsiteX63" fmla="*/ 3068977 w 4519987"/>
                    <a:gd name="connsiteY63" fmla="*/ 4286250 h 4496940"/>
                    <a:gd name="connsiteX64" fmla="*/ 2935627 w 4519987"/>
                    <a:gd name="connsiteY64" fmla="*/ 4333875 h 4496940"/>
                    <a:gd name="connsiteX65" fmla="*/ 2811802 w 4519987"/>
                    <a:gd name="connsiteY65" fmla="*/ 4371975 h 4496940"/>
                    <a:gd name="connsiteX66" fmla="*/ 2745127 w 4519987"/>
                    <a:gd name="connsiteY66" fmla="*/ 4410075 h 4496940"/>
                    <a:gd name="connsiteX67" fmla="*/ 2697502 w 4519987"/>
                    <a:gd name="connsiteY67" fmla="*/ 4429125 h 4496940"/>
                    <a:gd name="connsiteX68" fmla="*/ 2640352 w 4519987"/>
                    <a:gd name="connsiteY68" fmla="*/ 4457700 h 4496940"/>
                    <a:gd name="connsiteX69" fmla="*/ 2583202 w 4519987"/>
                    <a:gd name="connsiteY69" fmla="*/ 4467225 h 4496940"/>
                    <a:gd name="connsiteX70" fmla="*/ 2545102 w 4519987"/>
                    <a:gd name="connsiteY70" fmla="*/ 4486275 h 4496940"/>
                    <a:gd name="connsiteX71" fmla="*/ 2306977 w 4519987"/>
                    <a:gd name="connsiteY71" fmla="*/ 4476750 h 4496940"/>
                    <a:gd name="connsiteX72" fmla="*/ 2202202 w 4519987"/>
                    <a:gd name="connsiteY72" fmla="*/ 4457700 h 4496940"/>
                    <a:gd name="connsiteX73" fmla="*/ 2126002 w 4519987"/>
                    <a:gd name="connsiteY73" fmla="*/ 4429125 h 4496940"/>
                    <a:gd name="connsiteX74" fmla="*/ 1935502 w 4519987"/>
                    <a:gd name="connsiteY74" fmla="*/ 4400550 h 4496940"/>
                    <a:gd name="connsiteX75" fmla="*/ 1821202 w 4519987"/>
                    <a:gd name="connsiteY75" fmla="*/ 4371975 h 4496940"/>
                    <a:gd name="connsiteX76" fmla="*/ 1754527 w 4519987"/>
                    <a:gd name="connsiteY76" fmla="*/ 4352925 h 4496940"/>
                    <a:gd name="connsiteX77" fmla="*/ 1687852 w 4519987"/>
                    <a:gd name="connsiteY77" fmla="*/ 4343400 h 4496940"/>
                    <a:gd name="connsiteX78" fmla="*/ 1573552 w 4519987"/>
                    <a:gd name="connsiteY78" fmla="*/ 4305300 h 4496940"/>
                    <a:gd name="connsiteX79" fmla="*/ 1402102 w 4519987"/>
                    <a:gd name="connsiteY79" fmla="*/ 4276725 h 4496940"/>
                    <a:gd name="connsiteX80" fmla="*/ 1287802 w 4519987"/>
                    <a:gd name="connsiteY80" fmla="*/ 4229100 h 4496940"/>
                    <a:gd name="connsiteX81" fmla="*/ 1221127 w 4519987"/>
                    <a:gd name="connsiteY81" fmla="*/ 4200525 h 4496940"/>
                    <a:gd name="connsiteX82" fmla="*/ 1144927 w 4519987"/>
                    <a:gd name="connsiteY82" fmla="*/ 4171950 h 4496940"/>
                    <a:gd name="connsiteX83" fmla="*/ 1087777 w 4519987"/>
                    <a:gd name="connsiteY83" fmla="*/ 4143375 h 4496940"/>
                    <a:gd name="connsiteX84" fmla="*/ 1030627 w 4519987"/>
                    <a:gd name="connsiteY84" fmla="*/ 4124325 h 4496940"/>
                    <a:gd name="connsiteX85" fmla="*/ 925852 w 4519987"/>
                    <a:gd name="connsiteY85" fmla="*/ 4067175 h 4496940"/>
                    <a:gd name="connsiteX86" fmla="*/ 830602 w 4519987"/>
                    <a:gd name="connsiteY86" fmla="*/ 3981450 h 4496940"/>
                    <a:gd name="connsiteX87" fmla="*/ 763927 w 4519987"/>
                    <a:gd name="connsiteY87" fmla="*/ 3914775 h 4496940"/>
                    <a:gd name="connsiteX88" fmla="*/ 725827 w 4519987"/>
                    <a:gd name="connsiteY88" fmla="*/ 3876675 h 4496940"/>
                    <a:gd name="connsiteX89" fmla="*/ 697252 w 4519987"/>
                    <a:gd name="connsiteY89" fmla="*/ 3838575 h 4496940"/>
                    <a:gd name="connsiteX90" fmla="*/ 640102 w 4519987"/>
                    <a:gd name="connsiteY90" fmla="*/ 3781425 h 4496940"/>
                    <a:gd name="connsiteX91" fmla="*/ 611527 w 4519987"/>
                    <a:gd name="connsiteY91" fmla="*/ 3733800 h 4496940"/>
                    <a:gd name="connsiteX92" fmla="*/ 554377 w 4519987"/>
                    <a:gd name="connsiteY92" fmla="*/ 3657600 h 4496940"/>
                    <a:gd name="connsiteX93" fmla="*/ 525802 w 4519987"/>
                    <a:gd name="connsiteY93" fmla="*/ 3609975 h 4496940"/>
                    <a:gd name="connsiteX94" fmla="*/ 497227 w 4519987"/>
                    <a:gd name="connsiteY94" fmla="*/ 3552825 h 4496940"/>
                    <a:gd name="connsiteX95" fmla="*/ 440077 w 4519987"/>
                    <a:gd name="connsiteY95" fmla="*/ 3495675 h 4496940"/>
                    <a:gd name="connsiteX96" fmla="*/ 411502 w 4519987"/>
                    <a:gd name="connsiteY96" fmla="*/ 3448050 h 4496940"/>
                    <a:gd name="connsiteX97" fmla="*/ 278152 w 4519987"/>
                    <a:gd name="connsiteY97" fmla="*/ 3257550 h 4496940"/>
                    <a:gd name="connsiteX98" fmla="*/ 249577 w 4519987"/>
                    <a:gd name="connsiteY98" fmla="*/ 3200400 h 4496940"/>
                    <a:gd name="connsiteX99" fmla="*/ 240052 w 4519987"/>
                    <a:gd name="connsiteY99" fmla="*/ 3162300 h 4496940"/>
                    <a:gd name="connsiteX100" fmla="*/ 221002 w 4519987"/>
                    <a:gd name="connsiteY100" fmla="*/ 3105150 h 4496940"/>
                    <a:gd name="connsiteX101" fmla="*/ 173377 w 4519987"/>
                    <a:gd name="connsiteY101" fmla="*/ 3019425 h 4496940"/>
                    <a:gd name="connsiteX102" fmla="*/ 144802 w 4519987"/>
                    <a:gd name="connsiteY102" fmla="*/ 2924175 h 4496940"/>
                    <a:gd name="connsiteX103" fmla="*/ 68602 w 4519987"/>
                    <a:gd name="connsiteY103" fmla="*/ 2724150 h 4496940"/>
                    <a:gd name="connsiteX104" fmla="*/ 49552 w 4519987"/>
                    <a:gd name="connsiteY104" fmla="*/ 2638425 h 4496940"/>
                    <a:gd name="connsiteX105" fmla="*/ 40027 w 4519987"/>
                    <a:gd name="connsiteY105" fmla="*/ 2562225 h 4496940"/>
                    <a:gd name="connsiteX106" fmla="*/ 30502 w 4519987"/>
                    <a:gd name="connsiteY106" fmla="*/ 2514600 h 4496940"/>
                    <a:gd name="connsiteX107" fmla="*/ 11452 w 4519987"/>
                    <a:gd name="connsiteY107" fmla="*/ 2400300 h 4496940"/>
                    <a:gd name="connsiteX108" fmla="*/ 20977 w 4519987"/>
                    <a:gd name="connsiteY108" fmla="*/ 1905000 h 4496940"/>
                    <a:gd name="connsiteX109" fmla="*/ 30502 w 4519987"/>
                    <a:gd name="connsiteY109" fmla="*/ 1838325 h 4496940"/>
                    <a:gd name="connsiteX110" fmla="*/ 49552 w 4519987"/>
                    <a:gd name="connsiteY110" fmla="*/ 1781175 h 4496940"/>
                    <a:gd name="connsiteX111" fmla="*/ 59077 w 4519987"/>
                    <a:gd name="connsiteY111" fmla="*/ 1743075 h 4496940"/>
                    <a:gd name="connsiteX112" fmla="*/ 78127 w 4519987"/>
                    <a:gd name="connsiteY112" fmla="*/ 1685925 h 4496940"/>
                    <a:gd name="connsiteX113" fmla="*/ 87652 w 4519987"/>
                    <a:gd name="connsiteY113" fmla="*/ 1638300 h 4496940"/>
                    <a:gd name="connsiteX114" fmla="*/ 106702 w 4519987"/>
                    <a:gd name="connsiteY114" fmla="*/ 1590675 h 4496940"/>
                    <a:gd name="connsiteX115" fmla="*/ 135277 w 4519987"/>
                    <a:gd name="connsiteY115" fmla="*/ 1504950 h 4496940"/>
                    <a:gd name="connsiteX116" fmla="*/ 154327 w 4519987"/>
                    <a:gd name="connsiteY116" fmla="*/ 1419225 h 4496940"/>
                    <a:gd name="connsiteX117" fmla="*/ 230527 w 4519987"/>
                    <a:gd name="connsiteY117" fmla="*/ 1276350 h 4496940"/>
                    <a:gd name="connsiteX118" fmla="*/ 240052 w 4519987"/>
                    <a:gd name="connsiteY118" fmla="*/ 1247775 h 4496940"/>
                    <a:gd name="connsiteX119" fmla="*/ 268627 w 4519987"/>
                    <a:gd name="connsiteY119" fmla="*/ 1200150 h 4496940"/>
                    <a:gd name="connsiteX120" fmla="*/ 287677 w 4519987"/>
                    <a:gd name="connsiteY120" fmla="*/ 1152525 h 4496940"/>
                    <a:gd name="connsiteX121" fmla="*/ 316252 w 4519987"/>
                    <a:gd name="connsiteY121" fmla="*/ 1114425 h 4496940"/>
                    <a:gd name="connsiteX122" fmla="*/ 363877 w 4519987"/>
                    <a:gd name="connsiteY122" fmla="*/ 1038225 h 4496940"/>
                    <a:gd name="connsiteX123" fmla="*/ 382927 w 4519987"/>
                    <a:gd name="connsiteY123" fmla="*/ 1009650 h 4496940"/>
                    <a:gd name="connsiteX124" fmla="*/ 440077 w 4519987"/>
                    <a:gd name="connsiteY124" fmla="*/ 904875 h 4496940"/>
                    <a:gd name="connsiteX125" fmla="*/ 478177 w 4519987"/>
                    <a:gd name="connsiteY125" fmla="*/ 857250 h 4496940"/>
                    <a:gd name="connsiteX126" fmla="*/ 497227 w 4519987"/>
                    <a:gd name="connsiteY126" fmla="*/ 828675 h 4496940"/>
                    <a:gd name="connsiteX127" fmla="*/ 535327 w 4519987"/>
                    <a:gd name="connsiteY127" fmla="*/ 800100 h 4496940"/>
                    <a:gd name="connsiteX128" fmla="*/ 602002 w 4519987"/>
                    <a:gd name="connsiteY128" fmla="*/ 733425 h 4496940"/>
                    <a:gd name="connsiteX129" fmla="*/ 668677 w 4519987"/>
                    <a:gd name="connsiteY129" fmla="*/ 676275 h 4496940"/>
                    <a:gd name="connsiteX130" fmla="*/ 697252 w 4519987"/>
                    <a:gd name="connsiteY130" fmla="*/ 657225 h 4496940"/>
                    <a:gd name="connsiteX131" fmla="*/ 840127 w 4519987"/>
                    <a:gd name="connsiteY131" fmla="*/ 533400 h 4496940"/>
                    <a:gd name="connsiteX132" fmla="*/ 887752 w 4519987"/>
                    <a:gd name="connsiteY132" fmla="*/ 504825 h 4496940"/>
                    <a:gd name="connsiteX133" fmla="*/ 1167152 w 4519987"/>
                    <a:gd name="connsiteY133" fmla="*/ 311150 h 4496940"/>
                    <a:gd name="connsiteX134" fmla="*/ 1268752 w 4519987"/>
                    <a:gd name="connsiteY134" fmla="*/ 285750 h 4496940"/>
                    <a:gd name="connsiteX135" fmla="*/ 1411627 w 4519987"/>
                    <a:gd name="connsiteY135" fmla="*/ 190500 h 4496940"/>
                    <a:gd name="connsiteX136" fmla="*/ 1449727 w 4519987"/>
                    <a:gd name="connsiteY136" fmla="*/ 161925 h 4496940"/>
                    <a:gd name="connsiteX137" fmla="*/ 1525927 w 4519987"/>
                    <a:gd name="connsiteY137" fmla="*/ 152400 h 4496940"/>
                    <a:gd name="connsiteX138" fmla="*/ 1583077 w 4519987"/>
                    <a:gd name="connsiteY138" fmla="*/ 142875 h 4496940"/>
                    <a:gd name="connsiteX139" fmla="*/ 1716427 w 4519987"/>
                    <a:gd name="connsiteY139" fmla="*/ 123825 h 4496940"/>
                    <a:gd name="connsiteX140" fmla="*/ 1811677 w 4519987"/>
                    <a:gd name="connsiteY140" fmla="*/ 114300 h 4496940"/>
                    <a:gd name="connsiteX141" fmla="*/ 1859302 w 4519987"/>
                    <a:gd name="connsiteY141" fmla="*/ 104775 h 4496940"/>
                    <a:gd name="connsiteX142" fmla="*/ 1916452 w 4519987"/>
                    <a:gd name="connsiteY142" fmla="*/ 95250 h 4496940"/>
                    <a:gd name="connsiteX143" fmla="*/ 2030752 w 4519987"/>
                    <a:gd name="connsiteY143" fmla="*/ 66675 h 4496940"/>
                    <a:gd name="connsiteX144" fmla="*/ 2097427 w 4519987"/>
                    <a:gd name="connsiteY144" fmla="*/ 47625 h 4496940"/>
                    <a:gd name="connsiteX145" fmla="*/ 2164102 w 4519987"/>
                    <a:gd name="connsiteY145" fmla="*/ 38100 h 4496940"/>
                    <a:gd name="connsiteX146" fmla="*/ 2392702 w 4519987"/>
                    <a:gd name="connsiteY14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50077 w 4519987"/>
                    <a:gd name="connsiteY24" fmla="*/ 1143000 h 4496940"/>
                    <a:gd name="connsiteX25" fmla="*/ 4259602 w 4519987"/>
                    <a:gd name="connsiteY25" fmla="*/ 1190625 h 4496940"/>
                    <a:gd name="connsiteX26" fmla="*/ 4307227 w 4519987"/>
                    <a:gd name="connsiteY26" fmla="*/ 1266825 h 4496940"/>
                    <a:gd name="connsiteX27" fmla="*/ 4345327 w 4519987"/>
                    <a:gd name="connsiteY27" fmla="*/ 1362075 h 4496940"/>
                    <a:gd name="connsiteX28" fmla="*/ 4373902 w 4519987"/>
                    <a:gd name="connsiteY28" fmla="*/ 1428750 h 4496940"/>
                    <a:gd name="connsiteX29" fmla="*/ 4392952 w 4519987"/>
                    <a:gd name="connsiteY29" fmla="*/ 1552575 h 4496940"/>
                    <a:gd name="connsiteX30" fmla="*/ 4402477 w 4519987"/>
                    <a:gd name="connsiteY30" fmla="*/ 1590675 h 4496940"/>
                    <a:gd name="connsiteX31" fmla="*/ 4431052 w 4519987"/>
                    <a:gd name="connsiteY31" fmla="*/ 1685925 h 4496940"/>
                    <a:gd name="connsiteX32" fmla="*/ 4519952 w 4519987"/>
                    <a:gd name="connsiteY32" fmla="*/ 2181225 h 4496940"/>
                    <a:gd name="connsiteX33" fmla="*/ 4446927 w 4519987"/>
                    <a:gd name="connsiteY33" fmla="*/ 2768600 h 4496940"/>
                    <a:gd name="connsiteX34" fmla="*/ 4383427 w 4519987"/>
                    <a:gd name="connsiteY34" fmla="*/ 2990850 h 4496940"/>
                    <a:gd name="connsiteX35" fmla="*/ 4278652 w 4519987"/>
                    <a:gd name="connsiteY35" fmla="*/ 3248025 h 4496940"/>
                    <a:gd name="connsiteX36" fmla="*/ 4259602 w 4519987"/>
                    <a:gd name="connsiteY36" fmla="*/ 3276600 h 4496940"/>
                    <a:gd name="connsiteX37" fmla="*/ 4221502 w 4519987"/>
                    <a:gd name="connsiteY37" fmla="*/ 3333750 h 4496940"/>
                    <a:gd name="connsiteX38" fmla="*/ 4211977 w 4519987"/>
                    <a:gd name="connsiteY38" fmla="*/ 3362325 h 4496940"/>
                    <a:gd name="connsiteX39" fmla="*/ 4183402 w 4519987"/>
                    <a:gd name="connsiteY39" fmla="*/ 3400425 h 4496940"/>
                    <a:gd name="connsiteX40" fmla="*/ 4164352 w 4519987"/>
                    <a:gd name="connsiteY40" fmla="*/ 3429000 h 4496940"/>
                    <a:gd name="connsiteX41" fmla="*/ 4088152 w 4519987"/>
                    <a:gd name="connsiteY41" fmla="*/ 3495675 h 4496940"/>
                    <a:gd name="connsiteX42" fmla="*/ 4059577 w 4519987"/>
                    <a:gd name="connsiteY42" fmla="*/ 3533775 h 4496940"/>
                    <a:gd name="connsiteX43" fmla="*/ 4002427 w 4519987"/>
                    <a:gd name="connsiteY43" fmla="*/ 3600450 h 4496940"/>
                    <a:gd name="connsiteX44" fmla="*/ 3983377 w 4519987"/>
                    <a:gd name="connsiteY44" fmla="*/ 3629025 h 4496940"/>
                    <a:gd name="connsiteX45" fmla="*/ 3954802 w 4519987"/>
                    <a:gd name="connsiteY45" fmla="*/ 3648075 h 4496940"/>
                    <a:gd name="connsiteX46" fmla="*/ 3907177 w 4519987"/>
                    <a:gd name="connsiteY46" fmla="*/ 3686175 h 4496940"/>
                    <a:gd name="connsiteX47" fmla="*/ 3869077 w 4519987"/>
                    <a:gd name="connsiteY47" fmla="*/ 3724275 h 4496940"/>
                    <a:gd name="connsiteX48" fmla="*/ 3792877 w 4519987"/>
                    <a:gd name="connsiteY48" fmla="*/ 3781425 h 4496940"/>
                    <a:gd name="connsiteX49" fmla="*/ 3783352 w 4519987"/>
                    <a:gd name="connsiteY49" fmla="*/ 3810000 h 4496940"/>
                    <a:gd name="connsiteX50" fmla="*/ 3745252 w 4519987"/>
                    <a:gd name="connsiteY50" fmla="*/ 3819525 h 4496940"/>
                    <a:gd name="connsiteX51" fmla="*/ 3678577 w 4519987"/>
                    <a:gd name="connsiteY51" fmla="*/ 3848100 h 4496940"/>
                    <a:gd name="connsiteX52" fmla="*/ 3659527 w 4519987"/>
                    <a:gd name="connsiteY52" fmla="*/ 3971925 h 4496940"/>
                    <a:gd name="connsiteX53" fmla="*/ 3630952 w 4519987"/>
                    <a:gd name="connsiteY53" fmla="*/ 4010025 h 4496940"/>
                    <a:gd name="connsiteX54" fmla="*/ 3621427 w 4519987"/>
                    <a:gd name="connsiteY54" fmla="*/ 4038600 h 4496940"/>
                    <a:gd name="connsiteX55" fmla="*/ 3554752 w 4519987"/>
                    <a:gd name="connsiteY55" fmla="*/ 4095750 h 4496940"/>
                    <a:gd name="connsiteX56" fmla="*/ 3516652 w 4519987"/>
                    <a:gd name="connsiteY56" fmla="*/ 4114800 h 4496940"/>
                    <a:gd name="connsiteX57" fmla="*/ 3497602 w 4519987"/>
                    <a:gd name="connsiteY57" fmla="*/ 4143375 h 4496940"/>
                    <a:gd name="connsiteX58" fmla="*/ 3383302 w 4519987"/>
                    <a:gd name="connsiteY58" fmla="*/ 4210050 h 4496940"/>
                    <a:gd name="connsiteX59" fmla="*/ 3335677 w 4519987"/>
                    <a:gd name="connsiteY59" fmla="*/ 4238625 h 4496940"/>
                    <a:gd name="connsiteX60" fmla="*/ 3288052 w 4519987"/>
                    <a:gd name="connsiteY60" fmla="*/ 4248150 h 4496940"/>
                    <a:gd name="connsiteX61" fmla="*/ 3240427 w 4519987"/>
                    <a:gd name="connsiteY61" fmla="*/ 4267200 h 4496940"/>
                    <a:gd name="connsiteX62" fmla="*/ 3068977 w 4519987"/>
                    <a:gd name="connsiteY62" fmla="*/ 4286250 h 4496940"/>
                    <a:gd name="connsiteX63" fmla="*/ 2935627 w 4519987"/>
                    <a:gd name="connsiteY63" fmla="*/ 4333875 h 4496940"/>
                    <a:gd name="connsiteX64" fmla="*/ 2811802 w 4519987"/>
                    <a:gd name="connsiteY64" fmla="*/ 4371975 h 4496940"/>
                    <a:gd name="connsiteX65" fmla="*/ 2745127 w 4519987"/>
                    <a:gd name="connsiteY65" fmla="*/ 4410075 h 4496940"/>
                    <a:gd name="connsiteX66" fmla="*/ 2697502 w 4519987"/>
                    <a:gd name="connsiteY66" fmla="*/ 4429125 h 4496940"/>
                    <a:gd name="connsiteX67" fmla="*/ 2640352 w 4519987"/>
                    <a:gd name="connsiteY67" fmla="*/ 4457700 h 4496940"/>
                    <a:gd name="connsiteX68" fmla="*/ 2583202 w 4519987"/>
                    <a:gd name="connsiteY68" fmla="*/ 4467225 h 4496940"/>
                    <a:gd name="connsiteX69" fmla="*/ 2545102 w 4519987"/>
                    <a:gd name="connsiteY69" fmla="*/ 4486275 h 4496940"/>
                    <a:gd name="connsiteX70" fmla="*/ 2306977 w 4519987"/>
                    <a:gd name="connsiteY70" fmla="*/ 4476750 h 4496940"/>
                    <a:gd name="connsiteX71" fmla="*/ 2202202 w 4519987"/>
                    <a:gd name="connsiteY71" fmla="*/ 4457700 h 4496940"/>
                    <a:gd name="connsiteX72" fmla="*/ 2126002 w 4519987"/>
                    <a:gd name="connsiteY72" fmla="*/ 4429125 h 4496940"/>
                    <a:gd name="connsiteX73" fmla="*/ 1935502 w 4519987"/>
                    <a:gd name="connsiteY73" fmla="*/ 4400550 h 4496940"/>
                    <a:gd name="connsiteX74" fmla="*/ 1821202 w 4519987"/>
                    <a:gd name="connsiteY74" fmla="*/ 4371975 h 4496940"/>
                    <a:gd name="connsiteX75" fmla="*/ 1754527 w 4519987"/>
                    <a:gd name="connsiteY75" fmla="*/ 4352925 h 4496940"/>
                    <a:gd name="connsiteX76" fmla="*/ 1687852 w 4519987"/>
                    <a:gd name="connsiteY76" fmla="*/ 4343400 h 4496940"/>
                    <a:gd name="connsiteX77" fmla="*/ 1573552 w 4519987"/>
                    <a:gd name="connsiteY77" fmla="*/ 4305300 h 4496940"/>
                    <a:gd name="connsiteX78" fmla="*/ 1402102 w 4519987"/>
                    <a:gd name="connsiteY78" fmla="*/ 4276725 h 4496940"/>
                    <a:gd name="connsiteX79" fmla="*/ 1287802 w 4519987"/>
                    <a:gd name="connsiteY79" fmla="*/ 4229100 h 4496940"/>
                    <a:gd name="connsiteX80" fmla="*/ 1221127 w 4519987"/>
                    <a:gd name="connsiteY80" fmla="*/ 4200525 h 4496940"/>
                    <a:gd name="connsiteX81" fmla="*/ 1144927 w 4519987"/>
                    <a:gd name="connsiteY81" fmla="*/ 4171950 h 4496940"/>
                    <a:gd name="connsiteX82" fmla="*/ 1087777 w 4519987"/>
                    <a:gd name="connsiteY82" fmla="*/ 4143375 h 4496940"/>
                    <a:gd name="connsiteX83" fmla="*/ 1030627 w 4519987"/>
                    <a:gd name="connsiteY83" fmla="*/ 4124325 h 4496940"/>
                    <a:gd name="connsiteX84" fmla="*/ 925852 w 4519987"/>
                    <a:gd name="connsiteY84" fmla="*/ 4067175 h 4496940"/>
                    <a:gd name="connsiteX85" fmla="*/ 830602 w 4519987"/>
                    <a:gd name="connsiteY85" fmla="*/ 3981450 h 4496940"/>
                    <a:gd name="connsiteX86" fmla="*/ 763927 w 4519987"/>
                    <a:gd name="connsiteY86" fmla="*/ 3914775 h 4496940"/>
                    <a:gd name="connsiteX87" fmla="*/ 725827 w 4519987"/>
                    <a:gd name="connsiteY87" fmla="*/ 3876675 h 4496940"/>
                    <a:gd name="connsiteX88" fmla="*/ 697252 w 4519987"/>
                    <a:gd name="connsiteY88" fmla="*/ 3838575 h 4496940"/>
                    <a:gd name="connsiteX89" fmla="*/ 640102 w 4519987"/>
                    <a:gd name="connsiteY89" fmla="*/ 3781425 h 4496940"/>
                    <a:gd name="connsiteX90" fmla="*/ 611527 w 4519987"/>
                    <a:gd name="connsiteY90" fmla="*/ 3733800 h 4496940"/>
                    <a:gd name="connsiteX91" fmla="*/ 554377 w 4519987"/>
                    <a:gd name="connsiteY91" fmla="*/ 3657600 h 4496940"/>
                    <a:gd name="connsiteX92" fmla="*/ 525802 w 4519987"/>
                    <a:gd name="connsiteY92" fmla="*/ 3609975 h 4496940"/>
                    <a:gd name="connsiteX93" fmla="*/ 497227 w 4519987"/>
                    <a:gd name="connsiteY93" fmla="*/ 3552825 h 4496940"/>
                    <a:gd name="connsiteX94" fmla="*/ 440077 w 4519987"/>
                    <a:gd name="connsiteY94" fmla="*/ 3495675 h 4496940"/>
                    <a:gd name="connsiteX95" fmla="*/ 411502 w 4519987"/>
                    <a:gd name="connsiteY95" fmla="*/ 3448050 h 4496940"/>
                    <a:gd name="connsiteX96" fmla="*/ 278152 w 4519987"/>
                    <a:gd name="connsiteY96" fmla="*/ 3257550 h 4496940"/>
                    <a:gd name="connsiteX97" fmla="*/ 249577 w 4519987"/>
                    <a:gd name="connsiteY97" fmla="*/ 3200400 h 4496940"/>
                    <a:gd name="connsiteX98" fmla="*/ 240052 w 4519987"/>
                    <a:gd name="connsiteY98" fmla="*/ 3162300 h 4496940"/>
                    <a:gd name="connsiteX99" fmla="*/ 221002 w 4519987"/>
                    <a:gd name="connsiteY99" fmla="*/ 3105150 h 4496940"/>
                    <a:gd name="connsiteX100" fmla="*/ 173377 w 4519987"/>
                    <a:gd name="connsiteY100" fmla="*/ 3019425 h 4496940"/>
                    <a:gd name="connsiteX101" fmla="*/ 144802 w 4519987"/>
                    <a:gd name="connsiteY101" fmla="*/ 2924175 h 4496940"/>
                    <a:gd name="connsiteX102" fmla="*/ 68602 w 4519987"/>
                    <a:gd name="connsiteY102" fmla="*/ 2724150 h 4496940"/>
                    <a:gd name="connsiteX103" fmla="*/ 49552 w 4519987"/>
                    <a:gd name="connsiteY103" fmla="*/ 2638425 h 4496940"/>
                    <a:gd name="connsiteX104" fmla="*/ 40027 w 4519987"/>
                    <a:gd name="connsiteY104" fmla="*/ 2562225 h 4496940"/>
                    <a:gd name="connsiteX105" fmla="*/ 30502 w 4519987"/>
                    <a:gd name="connsiteY105" fmla="*/ 2514600 h 4496940"/>
                    <a:gd name="connsiteX106" fmla="*/ 11452 w 4519987"/>
                    <a:gd name="connsiteY106" fmla="*/ 2400300 h 4496940"/>
                    <a:gd name="connsiteX107" fmla="*/ 20977 w 4519987"/>
                    <a:gd name="connsiteY107" fmla="*/ 1905000 h 4496940"/>
                    <a:gd name="connsiteX108" fmla="*/ 30502 w 4519987"/>
                    <a:gd name="connsiteY108" fmla="*/ 1838325 h 4496940"/>
                    <a:gd name="connsiteX109" fmla="*/ 49552 w 4519987"/>
                    <a:gd name="connsiteY109" fmla="*/ 1781175 h 4496940"/>
                    <a:gd name="connsiteX110" fmla="*/ 59077 w 4519987"/>
                    <a:gd name="connsiteY110" fmla="*/ 1743075 h 4496940"/>
                    <a:gd name="connsiteX111" fmla="*/ 78127 w 4519987"/>
                    <a:gd name="connsiteY111" fmla="*/ 1685925 h 4496940"/>
                    <a:gd name="connsiteX112" fmla="*/ 87652 w 4519987"/>
                    <a:gd name="connsiteY112" fmla="*/ 1638300 h 4496940"/>
                    <a:gd name="connsiteX113" fmla="*/ 106702 w 4519987"/>
                    <a:gd name="connsiteY113" fmla="*/ 1590675 h 4496940"/>
                    <a:gd name="connsiteX114" fmla="*/ 135277 w 4519987"/>
                    <a:gd name="connsiteY114" fmla="*/ 1504950 h 4496940"/>
                    <a:gd name="connsiteX115" fmla="*/ 154327 w 4519987"/>
                    <a:gd name="connsiteY115" fmla="*/ 1419225 h 4496940"/>
                    <a:gd name="connsiteX116" fmla="*/ 230527 w 4519987"/>
                    <a:gd name="connsiteY116" fmla="*/ 1276350 h 4496940"/>
                    <a:gd name="connsiteX117" fmla="*/ 240052 w 4519987"/>
                    <a:gd name="connsiteY117" fmla="*/ 1247775 h 4496940"/>
                    <a:gd name="connsiteX118" fmla="*/ 268627 w 4519987"/>
                    <a:gd name="connsiteY118" fmla="*/ 1200150 h 4496940"/>
                    <a:gd name="connsiteX119" fmla="*/ 287677 w 4519987"/>
                    <a:gd name="connsiteY119" fmla="*/ 1152525 h 4496940"/>
                    <a:gd name="connsiteX120" fmla="*/ 316252 w 4519987"/>
                    <a:gd name="connsiteY120" fmla="*/ 1114425 h 4496940"/>
                    <a:gd name="connsiteX121" fmla="*/ 363877 w 4519987"/>
                    <a:gd name="connsiteY121" fmla="*/ 1038225 h 4496940"/>
                    <a:gd name="connsiteX122" fmla="*/ 382927 w 4519987"/>
                    <a:gd name="connsiteY122" fmla="*/ 1009650 h 4496940"/>
                    <a:gd name="connsiteX123" fmla="*/ 440077 w 4519987"/>
                    <a:gd name="connsiteY123" fmla="*/ 904875 h 4496940"/>
                    <a:gd name="connsiteX124" fmla="*/ 478177 w 4519987"/>
                    <a:gd name="connsiteY124" fmla="*/ 857250 h 4496940"/>
                    <a:gd name="connsiteX125" fmla="*/ 497227 w 4519987"/>
                    <a:gd name="connsiteY125" fmla="*/ 828675 h 4496940"/>
                    <a:gd name="connsiteX126" fmla="*/ 535327 w 4519987"/>
                    <a:gd name="connsiteY126" fmla="*/ 800100 h 4496940"/>
                    <a:gd name="connsiteX127" fmla="*/ 602002 w 4519987"/>
                    <a:gd name="connsiteY127" fmla="*/ 733425 h 4496940"/>
                    <a:gd name="connsiteX128" fmla="*/ 668677 w 4519987"/>
                    <a:gd name="connsiteY128" fmla="*/ 676275 h 4496940"/>
                    <a:gd name="connsiteX129" fmla="*/ 697252 w 4519987"/>
                    <a:gd name="connsiteY129" fmla="*/ 657225 h 4496940"/>
                    <a:gd name="connsiteX130" fmla="*/ 840127 w 4519987"/>
                    <a:gd name="connsiteY130" fmla="*/ 533400 h 4496940"/>
                    <a:gd name="connsiteX131" fmla="*/ 887752 w 4519987"/>
                    <a:gd name="connsiteY131" fmla="*/ 504825 h 4496940"/>
                    <a:gd name="connsiteX132" fmla="*/ 1167152 w 4519987"/>
                    <a:gd name="connsiteY132" fmla="*/ 311150 h 4496940"/>
                    <a:gd name="connsiteX133" fmla="*/ 1268752 w 4519987"/>
                    <a:gd name="connsiteY133" fmla="*/ 285750 h 4496940"/>
                    <a:gd name="connsiteX134" fmla="*/ 1411627 w 4519987"/>
                    <a:gd name="connsiteY134" fmla="*/ 190500 h 4496940"/>
                    <a:gd name="connsiteX135" fmla="*/ 1449727 w 4519987"/>
                    <a:gd name="connsiteY135" fmla="*/ 161925 h 4496940"/>
                    <a:gd name="connsiteX136" fmla="*/ 1525927 w 4519987"/>
                    <a:gd name="connsiteY136" fmla="*/ 152400 h 4496940"/>
                    <a:gd name="connsiteX137" fmla="*/ 1583077 w 4519987"/>
                    <a:gd name="connsiteY137" fmla="*/ 142875 h 4496940"/>
                    <a:gd name="connsiteX138" fmla="*/ 1716427 w 4519987"/>
                    <a:gd name="connsiteY138" fmla="*/ 123825 h 4496940"/>
                    <a:gd name="connsiteX139" fmla="*/ 1811677 w 4519987"/>
                    <a:gd name="connsiteY139" fmla="*/ 114300 h 4496940"/>
                    <a:gd name="connsiteX140" fmla="*/ 1859302 w 4519987"/>
                    <a:gd name="connsiteY140" fmla="*/ 104775 h 4496940"/>
                    <a:gd name="connsiteX141" fmla="*/ 1916452 w 4519987"/>
                    <a:gd name="connsiteY141" fmla="*/ 95250 h 4496940"/>
                    <a:gd name="connsiteX142" fmla="*/ 2030752 w 4519987"/>
                    <a:gd name="connsiteY142" fmla="*/ 66675 h 4496940"/>
                    <a:gd name="connsiteX143" fmla="*/ 2097427 w 4519987"/>
                    <a:gd name="connsiteY143" fmla="*/ 47625 h 4496940"/>
                    <a:gd name="connsiteX144" fmla="*/ 2164102 w 4519987"/>
                    <a:gd name="connsiteY144" fmla="*/ 38100 h 4496940"/>
                    <a:gd name="connsiteX145" fmla="*/ 2392702 w 4519987"/>
                    <a:gd name="connsiteY14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259602 w 4519987"/>
                    <a:gd name="connsiteY24" fmla="*/ 1190625 h 4496940"/>
                    <a:gd name="connsiteX25" fmla="*/ 4307227 w 4519987"/>
                    <a:gd name="connsiteY25" fmla="*/ 1266825 h 4496940"/>
                    <a:gd name="connsiteX26" fmla="*/ 4345327 w 4519987"/>
                    <a:gd name="connsiteY26" fmla="*/ 1362075 h 4496940"/>
                    <a:gd name="connsiteX27" fmla="*/ 4373902 w 4519987"/>
                    <a:gd name="connsiteY27" fmla="*/ 1428750 h 4496940"/>
                    <a:gd name="connsiteX28" fmla="*/ 4392952 w 4519987"/>
                    <a:gd name="connsiteY28" fmla="*/ 1552575 h 4496940"/>
                    <a:gd name="connsiteX29" fmla="*/ 4402477 w 4519987"/>
                    <a:gd name="connsiteY29" fmla="*/ 1590675 h 4496940"/>
                    <a:gd name="connsiteX30" fmla="*/ 4431052 w 4519987"/>
                    <a:gd name="connsiteY30" fmla="*/ 1685925 h 4496940"/>
                    <a:gd name="connsiteX31" fmla="*/ 4519952 w 4519987"/>
                    <a:gd name="connsiteY31" fmla="*/ 2181225 h 4496940"/>
                    <a:gd name="connsiteX32" fmla="*/ 4446927 w 4519987"/>
                    <a:gd name="connsiteY32" fmla="*/ 2768600 h 4496940"/>
                    <a:gd name="connsiteX33" fmla="*/ 4383427 w 4519987"/>
                    <a:gd name="connsiteY33" fmla="*/ 2990850 h 4496940"/>
                    <a:gd name="connsiteX34" fmla="*/ 4278652 w 4519987"/>
                    <a:gd name="connsiteY34" fmla="*/ 3248025 h 4496940"/>
                    <a:gd name="connsiteX35" fmla="*/ 4259602 w 4519987"/>
                    <a:gd name="connsiteY35" fmla="*/ 3276600 h 4496940"/>
                    <a:gd name="connsiteX36" fmla="*/ 4221502 w 4519987"/>
                    <a:gd name="connsiteY36" fmla="*/ 3333750 h 4496940"/>
                    <a:gd name="connsiteX37" fmla="*/ 4211977 w 4519987"/>
                    <a:gd name="connsiteY37" fmla="*/ 3362325 h 4496940"/>
                    <a:gd name="connsiteX38" fmla="*/ 4183402 w 4519987"/>
                    <a:gd name="connsiteY38" fmla="*/ 3400425 h 4496940"/>
                    <a:gd name="connsiteX39" fmla="*/ 4164352 w 4519987"/>
                    <a:gd name="connsiteY39" fmla="*/ 3429000 h 4496940"/>
                    <a:gd name="connsiteX40" fmla="*/ 4088152 w 4519987"/>
                    <a:gd name="connsiteY40" fmla="*/ 3495675 h 4496940"/>
                    <a:gd name="connsiteX41" fmla="*/ 4059577 w 4519987"/>
                    <a:gd name="connsiteY41" fmla="*/ 3533775 h 4496940"/>
                    <a:gd name="connsiteX42" fmla="*/ 4002427 w 4519987"/>
                    <a:gd name="connsiteY42" fmla="*/ 3600450 h 4496940"/>
                    <a:gd name="connsiteX43" fmla="*/ 3983377 w 4519987"/>
                    <a:gd name="connsiteY43" fmla="*/ 3629025 h 4496940"/>
                    <a:gd name="connsiteX44" fmla="*/ 3954802 w 4519987"/>
                    <a:gd name="connsiteY44" fmla="*/ 3648075 h 4496940"/>
                    <a:gd name="connsiteX45" fmla="*/ 3907177 w 4519987"/>
                    <a:gd name="connsiteY45" fmla="*/ 3686175 h 4496940"/>
                    <a:gd name="connsiteX46" fmla="*/ 3869077 w 4519987"/>
                    <a:gd name="connsiteY46" fmla="*/ 3724275 h 4496940"/>
                    <a:gd name="connsiteX47" fmla="*/ 3792877 w 4519987"/>
                    <a:gd name="connsiteY47" fmla="*/ 3781425 h 4496940"/>
                    <a:gd name="connsiteX48" fmla="*/ 3783352 w 4519987"/>
                    <a:gd name="connsiteY48" fmla="*/ 3810000 h 4496940"/>
                    <a:gd name="connsiteX49" fmla="*/ 3745252 w 4519987"/>
                    <a:gd name="connsiteY49" fmla="*/ 3819525 h 4496940"/>
                    <a:gd name="connsiteX50" fmla="*/ 3678577 w 4519987"/>
                    <a:gd name="connsiteY50" fmla="*/ 3848100 h 4496940"/>
                    <a:gd name="connsiteX51" fmla="*/ 3659527 w 4519987"/>
                    <a:gd name="connsiteY51" fmla="*/ 3971925 h 4496940"/>
                    <a:gd name="connsiteX52" fmla="*/ 3630952 w 4519987"/>
                    <a:gd name="connsiteY52" fmla="*/ 4010025 h 4496940"/>
                    <a:gd name="connsiteX53" fmla="*/ 3621427 w 4519987"/>
                    <a:gd name="connsiteY53" fmla="*/ 4038600 h 4496940"/>
                    <a:gd name="connsiteX54" fmla="*/ 3554752 w 4519987"/>
                    <a:gd name="connsiteY54" fmla="*/ 4095750 h 4496940"/>
                    <a:gd name="connsiteX55" fmla="*/ 3516652 w 4519987"/>
                    <a:gd name="connsiteY55" fmla="*/ 4114800 h 4496940"/>
                    <a:gd name="connsiteX56" fmla="*/ 3497602 w 4519987"/>
                    <a:gd name="connsiteY56" fmla="*/ 4143375 h 4496940"/>
                    <a:gd name="connsiteX57" fmla="*/ 3383302 w 4519987"/>
                    <a:gd name="connsiteY57" fmla="*/ 4210050 h 4496940"/>
                    <a:gd name="connsiteX58" fmla="*/ 3335677 w 4519987"/>
                    <a:gd name="connsiteY58" fmla="*/ 4238625 h 4496940"/>
                    <a:gd name="connsiteX59" fmla="*/ 3288052 w 4519987"/>
                    <a:gd name="connsiteY59" fmla="*/ 4248150 h 4496940"/>
                    <a:gd name="connsiteX60" fmla="*/ 3240427 w 4519987"/>
                    <a:gd name="connsiteY60" fmla="*/ 4267200 h 4496940"/>
                    <a:gd name="connsiteX61" fmla="*/ 3068977 w 4519987"/>
                    <a:gd name="connsiteY61" fmla="*/ 4286250 h 4496940"/>
                    <a:gd name="connsiteX62" fmla="*/ 2935627 w 4519987"/>
                    <a:gd name="connsiteY62" fmla="*/ 4333875 h 4496940"/>
                    <a:gd name="connsiteX63" fmla="*/ 2811802 w 4519987"/>
                    <a:gd name="connsiteY63" fmla="*/ 4371975 h 4496940"/>
                    <a:gd name="connsiteX64" fmla="*/ 2745127 w 4519987"/>
                    <a:gd name="connsiteY64" fmla="*/ 4410075 h 4496940"/>
                    <a:gd name="connsiteX65" fmla="*/ 2697502 w 4519987"/>
                    <a:gd name="connsiteY65" fmla="*/ 4429125 h 4496940"/>
                    <a:gd name="connsiteX66" fmla="*/ 2640352 w 4519987"/>
                    <a:gd name="connsiteY66" fmla="*/ 4457700 h 4496940"/>
                    <a:gd name="connsiteX67" fmla="*/ 2583202 w 4519987"/>
                    <a:gd name="connsiteY67" fmla="*/ 4467225 h 4496940"/>
                    <a:gd name="connsiteX68" fmla="*/ 2545102 w 4519987"/>
                    <a:gd name="connsiteY68" fmla="*/ 4486275 h 4496940"/>
                    <a:gd name="connsiteX69" fmla="*/ 2306977 w 4519987"/>
                    <a:gd name="connsiteY69" fmla="*/ 4476750 h 4496940"/>
                    <a:gd name="connsiteX70" fmla="*/ 2202202 w 4519987"/>
                    <a:gd name="connsiteY70" fmla="*/ 4457700 h 4496940"/>
                    <a:gd name="connsiteX71" fmla="*/ 2126002 w 4519987"/>
                    <a:gd name="connsiteY71" fmla="*/ 4429125 h 4496940"/>
                    <a:gd name="connsiteX72" fmla="*/ 1935502 w 4519987"/>
                    <a:gd name="connsiteY72" fmla="*/ 4400550 h 4496940"/>
                    <a:gd name="connsiteX73" fmla="*/ 1821202 w 4519987"/>
                    <a:gd name="connsiteY73" fmla="*/ 4371975 h 4496940"/>
                    <a:gd name="connsiteX74" fmla="*/ 1754527 w 4519987"/>
                    <a:gd name="connsiteY74" fmla="*/ 4352925 h 4496940"/>
                    <a:gd name="connsiteX75" fmla="*/ 1687852 w 4519987"/>
                    <a:gd name="connsiteY75" fmla="*/ 4343400 h 4496940"/>
                    <a:gd name="connsiteX76" fmla="*/ 1573552 w 4519987"/>
                    <a:gd name="connsiteY76" fmla="*/ 4305300 h 4496940"/>
                    <a:gd name="connsiteX77" fmla="*/ 1402102 w 4519987"/>
                    <a:gd name="connsiteY77" fmla="*/ 4276725 h 4496940"/>
                    <a:gd name="connsiteX78" fmla="*/ 1287802 w 4519987"/>
                    <a:gd name="connsiteY78" fmla="*/ 4229100 h 4496940"/>
                    <a:gd name="connsiteX79" fmla="*/ 1221127 w 4519987"/>
                    <a:gd name="connsiteY79" fmla="*/ 4200525 h 4496940"/>
                    <a:gd name="connsiteX80" fmla="*/ 1144927 w 4519987"/>
                    <a:gd name="connsiteY80" fmla="*/ 4171950 h 4496940"/>
                    <a:gd name="connsiteX81" fmla="*/ 1087777 w 4519987"/>
                    <a:gd name="connsiteY81" fmla="*/ 4143375 h 4496940"/>
                    <a:gd name="connsiteX82" fmla="*/ 1030627 w 4519987"/>
                    <a:gd name="connsiteY82" fmla="*/ 4124325 h 4496940"/>
                    <a:gd name="connsiteX83" fmla="*/ 925852 w 4519987"/>
                    <a:gd name="connsiteY83" fmla="*/ 4067175 h 4496940"/>
                    <a:gd name="connsiteX84" fmla="*/ 830602 w 4519987"/>
                    <a:gd name="connsiteY84" fmla="*/ 3981450 h 4496940"/>
                    <a:gd name="connsiteX85" fmla="*/ 763927 w 4519987"/>
                    <a:gd name="connsiteY85" fmla="*/ 3914775 h 4496940"/>
                    <a:gd name="connsiteX86" fmla="*/ 725827 w 4519987"/>
                    <a:gd name="connsiteY86" fmla="*/ 3876675 h 4496940"/>
                    <a:gd name="connsiteX87" fmla="*/ 697252 w 4519987"/>
                    <a:gd name="connsiteY87" fmla="*/ 3838575 h 4496940"/>
                    <a:gd name="connsiteX88" fmla="*/ 640102 w 4519987"/>
                    <a:gd name="connsiteY88" fmla="*/ 3781425 h 4496940"/>
                    <a:gd name="connsiteX89" fmla="*/ 611527 w 4519987"/>
                    <a:gd name="connsiteY89" fmla="*/ 3733800 h 4496940"/>
                    <a:gd name="connsiteX90" fmla="*/ 554377 w 4519987"/>
                    <a:gd name="connsiteY90" fmla="*/ 3657600 h 4496940"/>
                    <a:gd name="connsiteX91" fmla="*/ 525802 w 4519987"/>
                    <a:gd name="connsiteY91" fmla="*/ 3609975 h 4496940"/>
                    <a:gd name="connsiteX92" fmla="*/ 497227 w 4519987"/>
                    <a:gd name="connsiteY92" fmla="*/ 3552825 h 4496940"/>
                    <a:gd name="connsiteX93" fmla="*/ 440077 w 4519987"/>
                    <a:gd name="connsiteY93" fmla="*/ 3495675 h 4496940"/>
                    <a:gd name="connsiteX94" fmla="*/ 411502 w 4519987"/>
                    <a:gd name="connsiteY94" fmla="*/ 3448050 h 4496940"/>
                    <a:gd name="connsiteX95" fmla="*/ 278152 w 4519987"/>
                    <a:gd name="connsiteY95" fmla="*/ 3257550 h 4496940"/>
                    <a:gd name="connsiteX96" fmla="*/ 249577 w 4519987"/>
                    <a:gd name="connsiteY96" fmla="*/ 3200400 h 4496940"/>
                    <a:gd name="connsiteX97" fmla="*/ 240052 w 4519987"/>
                    <a:gd name="connsiteY97" fmla="*/ 3162300 h 4496940"/>
                    <a:gd name="connsiteX98" fmla="*/ 221002 w 4519987"/>
                    <a:gd name="connsiteY98" fmla="*/ 3105150 h 4496940"/>
                    <a:gd name="connsiteX99" fmla="*/ 173377 w 4519987"/>
                    <a:gd name="connsiteY99" fmla="*/ 3019425 h 4496940"/>
                    <a:gd name="connsiteX100" fmla="*/ 144802 w 4519987"/>
                    <a:gd name="connsiteY100" fmla="*/ 2924175 h 4496940"/>
                    <a:gd name="connsiteX101" fmla="*/ 68602 w 4519987"/>
                    <a:gd name="connsiteY101" fmla="*/ 2724150 h 4496940"/>
                    <a:gd name="connsiteX102" fmla="*/ 49552 w 4519987"/>
                    <a:gd name="connsiteY102" fmla="*/ 2638425 h 4496940"/>
                    <a:gd name="connsiteX103" fmla="*/ 40027 w 4519987"/>
                    <a:gd name="connsiteY103" fmla="*/ 2562225 h 4496940"/>
                    <a:gd name="connsiteX104" fmla="*/ 30502 w 4519987"/>
                    <a:gd name="connsiteY104" fmla="*/ 2514600 h 4496940"/>
                    <a:gd name="connsiteX105" fmla="*/ 11452 w 4519987"/>
                    <a:gd name="connsiteY105" fmla="*/ 2400300 h 4496940"/>
                    <a:gd name="connsiteX106" fmla="*/ 20977 w 4519987"/>
                    <a:gd name="connsiteY106" fmla="*/ 1905000 h 4496940"/>
                    <a:gd name="connsiteX107" fmla="*/ 30502 w 4519987"/>
                    <a:gd name="connsiteY107" fmla="*/ 1838325 h 4496940"/>
                    <a:gd name="connsiteX108" fmla="*/ 49552 w 4519987"/>
                    <a:gd name="connsiteY108" fmla="*/ 1781175 h 4496940"/>
                    <a:gd name="connsiteX109" fmla="*/ 59077 w 4519987"/>
                    <a:gd name="connsiteY109" fmla="*/ 1743075 h 4496940"/>
                    <a:gd name="connsiteX110" fmla="*/ 78127 w 4519987"/>
                    <a:gd name="connsiteY110" fmla="*/ 1685925 h 4496940"/>
                    <a:gd name="connsiteX111" fmla="*/ 87652 w 4519987"/>
                    <a:gd name="connsiteY111" fmla="*/ 1638300 h 4496940"/>
                    <a:gd name="connsiteX112" fmla="*/ 106702 w 4519987"/>
                    <a:gd name="connsiteY112" fmla="*/ 1590675 h 4496940"/>
                    <a:gd name="connsiteX113" fmla="*/ 135277 w 4519987"/>
                    <a:gd name="connsiteY113" fmla="*/ 1504950 h 4496940"/>
                    <a:gd name="connsiteX114" fmla="*/ 154327 w 4519987"/>
                    <a:gd name="connsiteY114" fmla="*/ 1419225 h 4496940"/>
                    <a:gd name="connsiteX115" fmla="*/ 230527 w 4519987"/>
                    <a:gd name="connsiteY115" fmla="*/ 1276350 h 4496940"/>
                    <a:gd name="connsiteX116" fmla="*/ 240052 w 4519987"/>
                    <a:gd name="connsiteY116" fmla="*/ 1247775 h 4496940"/>
                    <a:gd name="connsiteX117" fmla="*/ 268627 w 4519987"/>
                    <a:gd name="connsiteY117" fmla="*/ 1200150 h 4496940"/>
                    <a:gd name="connsiteX118" fmla="*/ 287677 w 4519987"/>
                    <a:gd name="connsiteY118" fmla="*/ 1152525 h 4496940"/>
                    <a:gd name="connsiteX119" fmla="*/ 316252 w 4519987"/>
                    <a:gd name="connsiteY119" fmla="*/ 1114425 h 4496940"/>
                    <a:gd name="connsiteX120" fmla="*/ 363877 w 4519987"/>
                    <a:gd name="connsiteY120" fmla="*/ 1038225 h 4496940"/>
                    <a:gd name="connsiteX121" fmla="*/ 382927 w 4519987"/>
                    <a:gd name="connsiteY121" fmla="*/ 1009650 h 4496940"/>
                    <a:gd name="connsiteX122" fmla="*/ 440077 w 4519987"/>
                    <a:gd name="connsiteY122" fmla="*/ 904875 h 4496940"/>
                    <a:gd name="connsiteX123" fmla="*/ 478177 w 4519987"/>
                    <a:gd name="connsiteY123" fmla="*/ 857250 h 4496940"/>
                    <a:gd name="connsiteX124" fmla="*/ 497227 w 4519987"/>
                    <a:gd name="connsiteY124" fmla="*/ 828675 h 4496940"/>
                    <a:gd name="connsiteX125" fmla="*/ 535327 w 4519987"/>
                    <a:gd name="connsiteY125" fmla="*/ 800100 h 4496940"/>
                    <a:gd name="connsiteX126" fmla="*/ 602002 w 4519987"/>
                    <a:gd name="connsiteY126" fmla="*/ 733425 h 4496940"/>
                    <a:gd name="connsiteX127" fmla="*/ 668677 w 4519987"/>
                    <a:gd name="connsiteY127" fmla="*/ 676275 h 4496940"/>
                    <a:gd name="connsiteX128" fmla="*/ 697252 w 4519987"/>
                    <a:gd name="connsiteY128" fmla="*/ 657225 h 4496940"/>
                    <a:gd name="connsiteX129" fmla="*/ 840127 w 4519987"/>
                    <a:gd name="connsiteY129" fmla="*/ 533400 h 4496940"/>
                    <a:gd name="connsiteX130" fmla="*/ 887752 w 4519987"/>
                    <a:gd name="connsiteY130" fmla="*/ 504825 h 4496940"/>
                    <a:gd name="connsiteX131" fmla="*/ 1167152 w 4519987"/>
                    <a:gd name="connsiteY131" fmla="*/ 311150 h 4496940"/>
                    <a:gd name="connsiteX132" fmla="*/ 1268752 w 4519987"/>
                    <a:gd name="connsiteY132" fmla="*/ 285750 h 4496940"/>
                    <a:gd name="connsiteX133" fmla="*/ 1411627 w 4519987"/>
                    <a:gd name="connsiteY133" fmla="*/ 190500 h 4496940"/>
                    <a:gd name="connsiteX134" fmla="*/ 1449727 w 4519987"/>
                    <a:gd name="connsiteY134" fmla="*/ 161925 h 4496940"/>
                    <a:gd name="connsiteX135" fmla="*/ 1525927 w 4519987"/>
                    <a:gd name="connsiteY135" fmla="*/ 152400 h 4496940"/>
                    <a:gd name="connsiteX136" fmla="*/ 1583077 w 4519987"/>
                    <a:gd name="connsiteY136" fmla="*/ 142875 h 4496940"/>
                    <a:gd name="connsiteX137" fmla="*/ 1716427 w 4519987"/>
                    <a:gd name="connsiteY137" fmla="*/ 123825 h 4496940"/>
                    <a:gd name="connsiteX138" fmla="*/ 1811677 w 4519987"/>
                    <a:gd name="connsiteY138" fmla="*/ 114300 h 4496940"/>
                    <a:gd name="connsiteX139" fmla="*/ 1859302 w 4519987"/>
                    <a:gd name="connsiteY139" fmla="*/ 104775 h 4496940"/>
                    <a:gd name="connsiteX140" fmla="*/ 1916452 w 4519987"/>
                    <a:gd name="connsiteY140" fmla="*/ 95250 h 4496940"/>
                    <a:gd name="connsiteX141" fmla="*/ 2030752 w 4519987"/>
                    <a:gd name="connsiteY141" fmla="*/ 66675 h 4496940"/>
                    <a:gd name="connsiteX142" fmla="*/ 2097427 w 4519987"/>
                    <a:gd name="connsiteY142" fmla="*/ 47625 h 4496940"/>
                    <a:gd name="connsiteX143" fmla="*/ 2164102 w 4519987"/>
                    <a:gd name="connsiteY143" fmla="*/ 38100 h 4496940"/>
                    <a:gd name="connsiteX144" fmla="*/ 2392702 w 4519987"/>
                    <a:gd name="connsiteY14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73902 w 4519987"/>
                    <a:gd name="connsiteY26" fmla="*/ 1428750 h 4496940"/>
                    <a:gd name="connsiteX27" fmla="*/ 4392952 w 4519987"/>
                    <a:gd name="connsiteY27" fmla="*/ 1552575 h 4496940"/>
                    <a:gd name="connsiteX28" fmla="*/ 4402477 w 4519987"/>
                    <a:gd name="connsiteY28" fmla="*/ 1590675 h 4496940"/>
                    <a:gd name="connsiteX29" fmla="*/ 4431052 w 4519987"/>
                    <a:gd name="connsiteY29" fmla="*/ 1685925 h 4496940"/>
                    <a:gd name="connsiteX30" fmla="*/ 4519952 w 4519987"/>
                    <a:gd name="connsiteY30" fmla="*/ 2181225 h 4496940"/>
                    <a:gd name="connsiteX31" fmla="*/ 4446927 w 4519987"/>
                    <a:gd name="connsiteY31" fmla="*/ 2768600 h 4496940"/>
                    <a:gd name="connsiteX32" fmla="*/ 4383427 w 4519987"/>
                    <a:gd name="connsiteY32" fmla="*/ 2990850 h 4496940"/>
                    <a:gd name="connsiteX33" fmla="*/ 4278652 w 4519987"/>
                    <a:gd name="connsiteY33" fmla="*/ 3248025 h 4496940"/>
                    <a:gd name="connsiteX34" fmla="*/ 4259602 w 4519987"/>
                    <a:gd name="connsiteY34" fmla="*/ 3276600 h 4496940"/>
                    <a:gd name="connsiteX35" fmla="*/ 4221502 w 4519987"/>
                    <a:gd name="connsiteY35" fmla="*/ 3333750 h 4496940"/>
                    <a:gd name="connsiteX36" fmla="*/ 4211977 w 4519987"/>
                    <a:gd name="connsiteY36" fmla="*/ 3362325 h 4496940"/>
                    <a:gd name="connsiteX37" fmla="*/ 4183402 w 4519987"/>
                    <a:gd name="connsiteY37" fmla="*/ 3400425 h 4496940"/>
                    <a:gd name="connsiteX38" fmla="*/ 4164352 w 4519987"/>
                    <a:gd name="connsiteY38" fmla="*/ 3429000 h 4496940"/>
                    <a:gd name="connsiteX39" fmla="*/ 4088152 w 4519987"/>
                    <a:gd name="connsiteY39" fmla="*/ 3495675 h 4496940"/>
                    <a:gd name="connsiteX40" fmla="*/ 4059577 w 4519987"/>
                    <a:gd name="connsiteY40" fmla="*/ 3533775 h 4496940"/>
                    <a:gd name="connsiteX41" fmla="*/ 4002427 w 4519987"/>
                    <a:gd name="connsiteY41" fmla="*/ 3600450 h 4496940"/>
                    <a:gd name="connsiteX42" fmla="*/ 3983377 w 4519987"/>
                    <a:gd name="connsiteY42" fmla="*/ 3629025 h 4496940"/>
                    <a:gd name="connsiteX43" fmla="*/ 3954802 w 4519987"/>
                    <a:gd name="connsiteY43" fmla="*/ 3648075 h 4496940"/>
                    <a:gd name="connsiteX44" fmla="*/ 3907177 w 4519987"/>
                    <a:gd name="connsiteY44" fmla="*/ 3686175 h 4496940"/>
                    <a:gd name="connsiteX45" fmla="*/ 3869077 w 4519987"/>
                    <a:gd name="connsiteY45" fmla="*/ 3724275 h 4496940"/>
                    <a:gd name="connsiteX46" fmla="*/ 3792877 w 4519987"/>
                    <a:gd name="connsiteY46" fmla="*/ 3781425 h 4496940"/>
                    <a:gd name="connsiteX47" fmla="*/ 3783352 w 4519987"/>
                    <a:gd name="connsiteY47" fmla="*/ 3810000 h 4496940"/>
                    <a:gd name="connsiteX48" fmla="*/ 3745252 w 4519987"/>
                    <a:gd name="connsiteY48" fmla="*/ 3819525 h 4496940"/>
                    <a:gd name="connsiteX49" fmla="*/ 3678577 w 4519987"/>
                    <a:gd name="connsiteY49" fmla="*/ 3848100 h 4496940"/>
                    <a:gd name="connsiteX50" fmla="*/ 3659527 w 4519987"/>
                    <a:gd name="connsiteY50" fmla="*/ 3971925 h 4496940"/>
                    <a:gd name="connsiteX51" fmla="*/ 3630952 w 4519987"/>
                    <a:gd name="connsiteY51" fmla="*/ 4010025 h 4496940"/>
                    <a:gd name="connsiteX52" fmla="*/ 3621427 w 4519987"/>
                    <a:gd name="connsiteY52" fmla="*/ 4038600 h 4496940"/>
                    <a:gd name="connsiteX53" fmla="*/ 3554752 w 4519987"/>
                    <a:gd name="connsiteY53" fmla="*/ 4095750 h 4496940"/>
                    <a:gd name="connsiteX54" fmla="*/ 3516652 w 4519987"/>
                    <a:gd name="connsiteY54" fmla="*/ 4114800 h 4496940"/>
                    <a:gd name="connsiteX55" fmla="*/ 3497602 w 4519987"/>
                    <a:gd name="connsiteY55" fmla="*/ 4143375 h 4496940"/>
                    <a:gd name="connsiteX56" fmla="*/ 3383302 w 4519987"/>
                    <a:gd name="connsiteY56" fmla="*/ 4210050 h 4496940"/>
                    <a:gd name="connsiteX57" fmla="*/ 3335677 w 4519987"/>
                    <a:gd name="connsiteY57" fmla="*/ 4238625 h 4496940"/>
                    <a:gd name="connsiteX58" fmla="*/ 3288052 w 4519987"/>
                    <a:gd name="connsiteY58" fmla="*/ 4248150 h 4496940"/>
                    <a:gd name="connsiteX59" fmla="*/ 3240427 w 4519987"/>
                    <a:gd name="connsiteY59" fmla="*/ 4267200 h 4496940"/>
                    <a:gd name="connsiteX60" fmla="*/ 3068977 w 4519987"/>
                    <a:gd name="connsiteY60" fmla="*/ 4286250 h 4496940"/>
                    <a:gd name="connsiteX61" fmla="*/ 2935627 w 4519987"/>
                    <a:gd name="connsiteY61" fmla="*/ 4333875 h 4496940"/>
                    <a:gd name="connsiteX62" fmla="*/ 2811802 w 4519987"/>
                    <a:gd name="connsiteY62" fmla="*/ 4371975 h 4496940"/>
                    <a:gd name="connsiteX63" fmla="*/ 2745127 w 4519987"/>
                    <a:gd name="connsiteY63" fmla="*/ 4410075 h 4496940"/>
                    <a:gd name="connsiteX64" fmla="*/ 2697502 w 4519987"/>
                    <a:gd name="connsiteY64" fmla="*/ 4429125 h 4496940"/>
                    <a:gd name="connsiteX65" fmla="*/ 2640352 w 4519987"/>
                    <a:gd name="connsiteY65" fmla="*/ 4457700 h 4496940"/>
                    <a:gd name="connsiteX66" fmla="*/ 2583202 w 4519987"/>
                    <a:gd name="connsiteY66" fmla="*/ 4467225 h 4496940"/>
                    <a:gd name="connsiteX67" fmla="*/ 2545102 w 4519987"/>
                    <a:gd name="connsiteY67" fmla="*/ 4486275 h 4496940"/>
                    <a:gd name="connsiteX68" fmla="*/ 2306977 w 4519987"/>
                    <a:gd name="connsiteY68" fmla="*/ 4476750 h 4496940"/>
                    <a:gd name="connsiteX69" fmla="*/ 2202202 w 4519987"/>
                    <a:gd name="connsiteY69" fmla="*/ 4457700 h 4496940"/>
                    <a:gd name="connsiteX70" fmla="*/ 2126002 w 4519987"/>
                    <a:gd name="connsiteY70" fmla="*/ 4429125 h 4496940"/>
                    <a:gd name="connsiteX71" fmla="*/ 1935502 w 4519987"/>
                    <a:gd name="connsiteY71" fmla="*/ 4400550 h 4496940"/>
                    <a:gd name="connsiteX72" fmla="*/ 1821202 w 4519987"/>
                    <a:gd name="connsiteY72" fmla="*/ 4371975 h 4496940"/>
                    <a:gd name="connsiteX73" fmla="*/ 1754527 w 4519987"/>
                    <a:gd name="connsiteY73" fmla="*/ 4352925 h 4496940"/>
                    <a:gd name="connsiteX74" fmla="*/ 1687852 w 4519987"/>
                    <a:gd name="connsiteY74" fmla="*/ 4343400 h 4496940"/>
                    <a:gd name="connsiteX75" fmla="*/ 1573552 w 4519987"/>
                    <a:gd name="connsiteY75" fmla="*/ 4305300 h 4496940"/>
                    <a:gd name="connsiteX76" fmla="*/ 1402102 w 4519987"/>
                    <a:gd name="connsiteY76" fmla="*/ 4276725 h 4496940"/>
                    <a:gd name="connsiteX77" fmla="*/ 1287802 w 4519987"/>
                    <a:gd name="connsiteY77" fmla="*/ 4229100 h 4496940"/>
                    <a:gd name="connsiteX78" fmla="*/ 1221127 w 4519987"/>
                    <a:gd name="connsiteY78" fmla="*/ 4200525 h 4496940"/>
                    <a:gd name="connsiteX79" fmla="*/ 1144927 w 4519987"/>
                    <a:gd name="connsiteY79" fmla="*/ 4171950 h 4496940"/>
                    <a:gd name="connsiteX80" fmla="*/ 1087777 w 4519987"/>
                    <a:gd name="connsiteY80" fmla="*/ 4143375 h 4496940"/>
                    <a:gd name="connsiteX81" fmla="*/ 1030627 w 4519987"/>
                    <a:gd name="connsiteY81" fmla="*/ 4124325 h 4496940"/>
                    <a:gd name="connsiteX82" fmla="*/ 925852 w 4519987"/>
                    <a:gd name="connsiteY82" fmla="*/ 4067175 h 4496940"/>
                    <a:gd name="connsiteX83" fmla="*/ 830602 w 4519987"/>
                    <a:gd name="connsiteY83" fmla="*/ 3981450 h 4496940"/>
                    <a:gd name="connsiteX84" fmla="*/ 763927 w 4519987"/>
                    <a:gd name="connsiteY84" fmla="*/ 3914775 h 4496940"/>
                    <a:gd name="connsiteX85" fmla="*/ 725827 w 4519987"/>
                    <a:gd name="connsiteY85" fmla="*/ 3876675 h 4496940"/>
                    <a:gd name="connsiteX86" fmla="*/ 697252 w 4519987"/>
                    <a:gd name="connsiteY86" fmla="*/ 3838575 h 4496940"/>
                    <a:gd name="connsiteX87" fmla="*/ 640102 w 4519987"/>
                    <a:gd name="connsiteY87" fmla="*/ 3781425 h 4496940"/>
                    <a:gd name="connsiteX88" fmla="*/ 611527 w 4519987"/>
                    <a:gd name="connsiteY88" fmla="*/ 3733800 h 4496940"/>
                    <a:gd name="connsiteX89" fmla="*/ 554377 w 4519987"/>
                    <a:gd name="connsiteY89" fmla="*/ 3657600 h 4496940"/>
                    <a:gd name="connsiteX90" fmla="*/ 525802 w 4519987"/>
                    <a:gd name="connsiteY90" fmla="*/ 3609975 h 4496940"/>
                    <a:gd name="connsiteX91" fmla="*/ 497227 w 4519987"/>
                    <a:gd name="connsiteY91" fmla="*/ 3552825 h 4496940"/>
                    <a:gd name="connsiteX92" fmla="*/ 440077 w 4519987"/>
                    <a:gd name="connsiteY92" fmla="*/ 3495675 h 4496940"/>
                    <a:gd name="connsiteX93" fmla="*/ 411502 w 4519987"/>
                    <a:gd name="connsiteY93" fmla="*/ 3448050 h 4496940"/>
                    <a:gd name="connsiteX94" fmla="*/ 278152 w 4519987"/>
                    <a:gd name="connsiteY94" fmla="*/ 3257550 h 4496940"/>
                    <a:gd name="connsiteX95" fmla="*/ 249577 w 4519987"/>
                    <a:gd name="connsiteY95" fmla="*/ 3200400 h 4496940"/>
                    <a:gd name="connsiteX96" fmla="*/ 240052 w 4519987"/>
                    <a:gd name="connsiteY96" fmla="*/ 3162300 h 4496940"/>
                    <a:gd name="connsiteX97" fmla="*/ 221002 w 4519987"/>
                    <a:gd name="connsiteY97" fmla="*/ 3105150 h 4496940"/>
                    <a:gd name="connsiteX98" fmla="*/ 173377 w 4519987"/>
                    <a:gd name="connsiteY98" fmla="*/ 3019425 h 4496940"/>
                    <a:gd name="connsiteX99" fmla="*/ 144802 w 4519987"/>
                    <a:gd name="connsiteY99" fmla="*/ 2924175 h 4496940"/>
                    <a:gd name="connsiteX100" fmla="*/ 68602 w 4519987"/>
                    <a:gd name="connsiteY100" fmla="*/ 2724150 h 4496940"/>
                    <a:gd name="connsiteX101" fmla="*/ 49552 w 4519987"/>
                    <a:gd name="connsiteY101" fmla="*/ 2638425 h 4496940"/>
                    <a:gd name="connsiteX102" fmla="*/ 40027 w 4519987"/>
                    <a:gd name="connsiteY102" fmla="*/ 2562225 h 4496940"/>
                    <a:gd name="connsiteX103" fmla="*/ 30502 w 4519987"/>
                    <a:gd name="connsiteY103" fmla="*/ 2514600 h 4496940"/>
                    <a:gd name="connsiteX104" fmla="*/ 11452 w 4519987"/>
                    <a:gd name="connsiteY104" fmla="*/ 2400300 h 4496940"/>
                    <a:gd name="connsiteX105" fmla="*/ 20977 w 4519987"/>
                    <a:gd name="connsiteY105" fmla="*/ 1905000 h 4496940"/>
                    <a:gd name="connsiteX106" fmla="*/ 30502 w 4519987"/>
                    <a:gd name="connsiteY106" fmla="*/ 1838325 h 4496940"/>
                    <a:gd name="connsiteX107" fmla="*/ 49552 w 4519987"/>
                    <a:gd name="connsiteY107" fmla="*/ 1781175 h 4496940"/>
                    <a:gd name="connsiteX108" fmla="*/ 59077 w 4519987"/>
                    <a:gd name="connsiteY108" fmla="*/ 1743075 h 4496940"/>
                    <a:gd name="connsiteX109" fmla="*/ 78127 w 4519987"/>
                    <a:gd name="connsiteY109" fmla="*/ 1685925 h 4496940"/>
                    <a:gd name="connsiteX110" fmla="*/ 87652 w 4519987"/>
                    <a:gd name="connsiteY110" fmla="*/ 1638300 h 4496940"/>
                    <a:gd name="connsiteX111" fmla="*/ 106702 w 4519987"/>
                    <a:gd name="connsiteY111" fmla="*/ 1590675 h 4496940"/>
                    <a:gd name="connsiteX112" fmla="*/ 135277 w 4519987"/>
                    <a:gd name="connsiteY112" fmla="*/ 1504950 h 4496940"/>
                    <a:gd name="connsiteX113" fmla="*/ 154327 w 4519987"/>
                    <a:gd name="connsiteY113" fmla="*/ 1419225 h 4496940"/>
                    <a:gd name="connsiteX114" fmla="*/ 230527 w 4519987"/>
                    <a:gd name="connsiteY114" fmla="*/ 1276350 h 4496940"/>
                    <a:gd name="connsiteX115" fmla="*/ 240052 w 4519987"/>
                    <a:gd name="connsiteY115" fmla="*/ 1247775 h 4496940"/>
                    <a:gd name="connsiteX116" fmla="*/ 268627 w 4519987"/>
                    <a:gd name="connsiteY116" fmla="*/ 1200150 h 4496940"/>
                    <a:gd name="connsiteX117" fmla="*/ 287677 w 4519987"/>
                    <a:gd name="connsiteY117" fmla="*/ 1152525 h 4496940"/>
                    <a:gd name="connsiteX118" fmla="*/ 316252 w 4519987"/>
                    <a:gd name="connsiteY118" fmla="*/ 1114425 h 4496940"/>
                    <a:gd name="connsiteX119" fmla="*/ 363877 w 4519987"/>
                    <a:gd name="connsiteY119" fmla="*/ 1038225 h 4496940"/>
                    <a:gd name="connsiteX120" fmla="*/ 382927 w 4519987"/>
                    <a:gd name="connsiteY120" fmla="*/ 1009650 h 4496940"/>
                    <a:gd name="connsiteX121" fmla="*/ 440077 w 4519987"/>
                    <a:gd name="connsiteY121" fmla="*/ 904875 h 4496940"/>
                    <a:gd name="connsiteX122" fmla="*/ 478177 w 4519987"/>
                    <a:gd name="connsiteY122" fmla="*/ 857250 h 4496940"/>
                    <a:gd name="connsiteX123" fmla="*/ 497227 w 4519987"/>
                    <a:gd name="connsiteY123" fmla="*/ 828675 h 4496940"/>
                    <a:gd name="connsiteX124" fmla="*/ 535327 w 4519987"/>
                    <a:gd name="connsiteY124" fmla="*/ 800100 h 4496940"/>
                    <a:gd name="connsiteX125" fmla="*/ 602002 w 4519987"/>
                    <a:gd name="connsiteY125" fmla="*/ 733425 h 4496940"/>
                    <a:gd name="connsiteX126" fmla="*/ 668677 w 4519987"/>
                    <a:gd name="connsiteY126" fmla="*/ 676275 h 4496940"/>
                    <a:gd name="connsiteX127" fmla="*/ 697252 w 4519987"/>
                    <a:gd name="connsiteY127" fmla="*/ 657225 h 4496940"/>
                    <a:gd name="connsiteX128" fmla="*/ 840127 w 4519987"/>
                    <a:gd name="connsiteY128" fmla="*/ 533400 h 4496940"/>
                    <a:gd name="connsiteX129" fmla="*/ 887752 w 4519987"/>
                    <a:gd name="connsiteY129" fmla="*/ 504825 h 4496940"/>
                    <a:gd name="connsiteX130" fmla="*/ 1167152 w 4519987"/>
                    <a:gd name="connsiteY130" fmla="*/ 311150 h 4496940"/>
                    <a:gd name="connsiteX131" fmla="*/ 1268752 w 4519987"/>
                    <a:gd name="connsiteY131" fmla="*/ 285750 h 4496940"/>
                    <a:gd name="connsiteX132" fmla="*/ 1411627 w 4519987"/>
                    <a:gd name="connsiteY132" fmla="*/ 190500 h 4496940"/>
                    <a:gd name="connsiteX133" fmla="*/ 1449727 w 4519987"/>
                    <a:gd name="connsiteY133" fmla="*/ 161925 h 4496940"/>
                    <a:gd name="connsiteX134" fmla="*/ 1525927 w 4519987"/>
                    <a:gd name="connsiteY134" fmla="*/ 152400 h 4496940"/>
                    <a:gd name="connsiteX135" fmla="*/ 1583077 w 4519987"/>
                    <a:gd name="connsiteY135" fmla="*/ 142875 h 4496940"/>
                    <a:gd name="connsiteX136" fmla="*/ 1716427 w 4519987"/>
                    <a:gd name="connsiteY136" fmla="*/ 123825 h 4496940"/>
                    <a:gd name="connsiteX137" fmla="*/ 1811677 w 4519987"/>
                    <a:gd name="connsiteY137" fmla="*/ 114300 h 4496940"/>
                    <a:gd name="connsiteX138" fmla="*/ 1859302 w 4519987"/>
                    <a:gd name="connsiteY138" fmla="*/ 104775 h 4496940"/>
                    <a:gd name="connsiteX139" fmla="*/ 1916452 w 4519987"/>
                    <a:gd name="connsiteY139" fmla="*/ 95250 h 4496940"/>
                    <a:gd name="connsiteX140" fmla="*/ 2030752 w 4519987"/>
                    <a:gd name="connsiteY140" fmla="*/ 66675 h 4496940"/>
                    <a:gd name="connsiteX141" fmla="*/ 2097427 w 4519987"/>
                    <a:gd name="connsiteY141" fmla="*/ 47625 h 4496940"/>
                    <a:gd name="connsiteX142" fmla="*/ 2164102 w 4519987"/>
                    <a:gd name="connsiteY142" fmla="*/ 38100 h 4496940"/>
                    <a:gd name="connsiteX143" fmla="*/ 2392702 w 4519987"/>
                    <a:gd name="connsiteY14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02477 w 4519987"/>
                    <a:gd name="connsiteY27" fmla="*/ 1590675 h 4496940"/>
                    <a:gd name="connsiteX28" fmla="*/ 4431052 w 4519987"/>
                    <a:gd name="connsiteY28" fmla="*/ 1685925 h 4496940"/>
                    <a:gd name="connsiteX29" fmla="*/ 4519952 w 4519987"/>
                    <a:gd name="connsiteY29" fmla="*/ 2181225 h 4496940"/>
                    <a:gd name="connsiteX30" fmla="*/ 4446927 w 4519987"/>
                    <a:gd name="connsiteY30" fmla="*/ 2768600 h 4496940"/>
                    <a:gd name="connsiteX31" fmla="*/ 4383427 w 4519987"/>
                    <a:gd name="connsiteY31" fmla="*/ 2990850 h 4496940"/>
                    <a:gd name="connsiteX32" fmla="*/ 4278652 w 4519987"/>
                    <a:gd name="connsiteY32" fmla="*/ 3248025 h 4496940"/>
                    <a:gd name="connsiteX33" fmla="*/ 4259602 w 4519987"/>
                    <a:gd name="connsiteY33" fmla="*/ 3276600 h 4496940"/>
                    <a:gd name="connsiteX34" fmla="*/ 4221502 w 4519987"/>
                    <a:gd name="connsiteY34" fmla="*/ 3333750 h 4496940"/>
                    <a:gd name="connsiteX35" fmla="*/ 4211977 w 4519987"/>
                    <a:gd name="connsiteY35" fmla="*/ 3362325 h 4496940"/>
                    <a:gd name="connsiteX36" fmla="*/ 4183402 w 4519987"/>
                    <a:gd name="connsiteY36" fmla="*/ 3400425 h 4496940"/>
                    <a:gd name="connsiteX37" fmla="*/ 4164352 w 4519987"/>
                    <a:gd name="connsiteY37" fmla="*/ 3429000 h 4496940"/>
                    <a:gd name="connsiteX38" fmla="*/ 4088152 w 4519987"/>
                    <a:gd name="connsiteY38" fmla="*/ 3495675 h 4496940"/>
                    <a:gd name="connsiteX39" fmla="*/ 4059577 w 4519987"/>
                    <a:gd name="connsiteY39" fmla="*/ 3533775 h 4496940"/>
                    <a:gd name="connsiteX40" fmla="*/ 4002427 w 4519987"/>
                    <a:gd name="connsiteY40" fmla="*/ 3600450 h 4496940"/>
                    <a:gd name="connsiteX41" fmla="*/ 3983377 w 4519987"/>
                    <a:gd name="connsiteY41" fmla="*/ 3629025 h 4496940"/>
                    <a:gd name="connsiteX42" fmla="*/ 3954802 w 4519987"/>
                    <a:gd name="connsiteY42" fmla="*/ 3648075 h 4496940"/>
                    <a:gd name="connsiteX43" fmla="*/ 3907177 w 4519987"/>
                    <a:gd name="connsiteY43" fmla="*/ 3686175 h 4496940"/>
                    <a:gd name="connsiteX44" fmla="*/ 3869077 w 4519987"/>
                    <a:gd name="connsiteY44" fmla="*/ 3724275 h 4496940"/>
                    <a:gd name="connsiteX45" fmla="*/ 3792877 w 4519987"/>
                    <a:gd name="connsiteY45" fmla="*/ 3781425 h 4496940"/>
                    <a:gd name="connsiteX46" fmla="*/ 3783352 w 4519987"/>
                    <a:gd name="connsiteY46" fmla="*/ 3810000 h 4496940"/>
                    <a:gd name="connsiteX47" fmla="*/ 3745252 w 4519987"/>
                    <a:gd name="connsiteY47" fmla="*/ 3819525 h 4496940"/>
                    <a:gd name="connsiteX48" fmla="*/ 3678577 w 4519987"/>
                    <a:gd name="connsiteY48" fmla="*/ 3848100 h 4496940"/>
                    <a:gd name="connsiteX49" fmla="*/ 3659527 w 4519987"/>
                    <a:gd name="connsiteY49" fmla="*/ 3971925 h 4496940"/>
                    <a:gd name="connsiteX50" fmla="*/ 3630952 w 4519987"/>
                    <a:gd name="connsiteY50" fmla="*/ 4010025 h 4496940"/>
                    <a:gd name="connsiteX51" fmla="*/ 3621427 w 4519987"/>
                    <a:gd name="connsiteY51" fmla="*/ 4038600 h 4496940"/>
                    <a:gd name="connsiteX52" fmla="*/ 3554752 w 4519987"/>
                    <a:gd name="connsiteY52" fmla="*/ 4095750 h 4496940"/>
                    <a:gd name="connsiteX53" fmla="*/ 3516652 w 4519987"/>
                    <a:gd name="connsiteY53" fmla="*/ 4114800 h 4496940"/>
                    <a:gd name="connsiteX54" fmla="*/ 3497602 w 4519987"/>
                    <a:gd name="connsiteY54" fmla="*/ 4143375 h 4496940"/>
                    <a:gd name="connsiteX55" fmla="*/ 3383302 w 4519987"/>
                    <a:gd name="connsiteY55" fmla="*/ 4210050 h 4496940"/>
                    <a:gd name="connsiteX56" fmla="*/ 3335677 w 4519987"/>
                    <a:gd name="connsiteY56" fmla="*/ 4238625 h 4496940"/>
                    <a:gd name="connsiteX57" fmla="*/ 3288052 w 4519987"/>
                    <a:gd name="connsiteY57" fmla="*/ 4248150 h 4496940"/>
                    <a:gd name="connsiteX58" fmla="*/ 3240427 w 4519987"/>
                    <a:gd name="connsiteY58" fmla="*/ 4267200 h 4496940"/>
                    <a:gd name="connsiteX59" fmla="*/ 3068977 w 4519987"/>
                    <a:gd name="connsiteY59" fmla="*/ 4286250 h 4496940"/>
                    <a:gd name="connsiteX60" fmla="*/ 2935627 w 4519987"/>
                    <a:gd name="connsiteY60" fmla="*/ 4333875 h 4496940"/>
                    <a:gd name="connsiteX61" fmla="*/ 2811802 w 4519987"/>
                    <a:gd name="connsiteY61" fmla="*/ 4371975 h 4496940"/>
                    <a:gd name="connsiteX62" fmla="*/ 2745127 w 4519987"/>
                    <a:gd name="connsiteY62" fmla="*/ 4410075 h 4496940"/>
                    <a:gd name="connsiteX63" fmla="*/ 2697502 w 4519987"/>
                    <a:gd name="connsiteY63" fmla="*/ 4429125 h 4496940"/>
                    <a:gd name="connsiteX64" fmla="*/ 2640352 w 4519987"/>
                    <a:gd name="connsiteY64" fmla="*/ 4457700 h 4496940"/>
                    <a:gd name="connsiteX65" fmla="*/ 2583202 w 4519987"/>
                    <a:gd name="connsiteY65" fmla="*/ 4467225 h 4496940"/>
                    <a:gd name="connsiteX66" fmla="*/ 2545102 w 4519987"/>
                    <a:gd name="connsiteY66" fmla="*/ 4486275 h 4496940"/>
                    <a:gd name="connsiteX67" fmla="*/ 2306977 w 4519987"/>
                    <a:gd name="connsiteY67" fmla="*/ 4476750 h 4496940"/>
                    <a:gd name="connsiteX68" fmla="*/ 2202202 w 4519987"/>
                    <a:gd name="connsiteY68" fmla="*/ 4457700 h 4496940"/>
                    <a:gd name="connsiteX69" fmla="*/ 2126002 w 4519987"/>
                    <a:gd name="connsiteY69" fmla="*/ 4429125 h 4496940"/>
                    <a:gd name="connsiteX70" fmla="*/ 1935502 w 4519987"/>
                    <a:gd name="connsiteY70" fmla="*/ 4400550 h 4496940"/>
                    <a:gd name="connsiteX71" fmla="*/ 1821202 w 4519987"/>
                    <a:gd name="connsiteY71" fmla="*/ 4371975 h 4496940"/>
                    <a:gd name="connsiteX72" fmla="*/ 1754527 w 4519987"/>
                    <a:gd name="connsiteY72" fmla="*/ 4352925 h 4496940"/>
                    <a:gd name="connsiteX73" fmla="*/ 1687852 w 4519987"/>
                    <a:gd name="connsiteY73" fmla="*/ 4343400 h 4496940"/>
                    <a:gd name="connsiteX74" fmla="*/ 1573552 w 4519987"/>
                    <a:gd name="connsiteY74" fmla="*/ 4305300 h 4496940"/>
                    <a:gd name="connsiteX75" fmla="*/ 1402102 w 4519987"/>
                    <a:gd name="connsiteY75" fmla="*/ 4276725 h 4496940"/>
                    <a:gd name="connsiteX76" fmla="*/ 1287802 w 4519987"/>
                    <a:gd name="connsiteY76" fmla="*/ 4229100 h 4496940"/>
                    <a:gd name="connsiteX77" fmla="*/ 1221127 w 4519987"/>
                    <a:gd name="connsiteY77" fmla="*/ 4200525 h 4496940"/>
                    <a:gd name="connsiteX78" fmla="*/ 1144927 w 4519987"/>
                    <a:gd name="connsiteY78" fmla="*/ 4171950 h 4496940"/>
                    <a:gd name="connsiteX79" fmla="*/ 1087777 w 4519987"/>
                    <a:gd name="connsiteY79" fmla="*/ 4143375 h 4496940"/>
                    <a:gd name="connsiteX80" fmla="*/ 1030627 w 4519987"/>
                    <a:gd name="connsiteY80" fmla="*/ 4124325 h 4496940"/>
                    <a:gd name="connsiteX81" fmla="*/ 925852 w 4519987"/>
                    <a:gd name="connsiteY81" fmla="*/ 4067175 h 4496940"/>
                    <a:gd name="connsiteX82" fmla="*/ 830602 w 4519987"/>
                    <a:gd name="connsiteY82" fmla="*/ 3981450 h 4496940"/>
                    <a:gd name="connsiteX83" fmla="*/ 763927 w 4519987"/>
                    <a:gd name="connsiteY83" fmla="*/ 3914775 h 4496940"/>
                    <a:gd name="connsiteX84" fmla="*/ 725827 w 4519987"/>
                    <a:gd name="connsiteY84" fmla="*/ 3876675 h 4496940"/>
                    <a:gd name="connsiteX85" fmla="*/ 697252 w 4519987"/>
                    <a:gd name="connsiteY85" fmla="*/ 3838575 h 4496940"/>
                    <a:gd name="connsiteX86" fmla="*/ 640102 w 4519987"/>
                    <a:gd name="connsiteY86" fmla="*/ 3781425 h 4496940"/>
                    <a:gd name="connsiteX87" fmla="*/ 611527 w 4519987"/>
                    <a:gd name="connsiteY87" fmla="*/ 3733800 h 4496940"/>
                    <a:gd name="connsiteX88" fmla="*/ 554377 w 4519987"/>
                    <a:gd name="connsiteY88" fmla="*/ 3657600 h 4496940"/>
                    <a:gd name="connsiteX89" fmla="*/ 525802 w 4519987"/>
                    <a:gd name="connsiteY89" fmla="*/ 3609975 h 4496940"/>
                    <a:gd name="connsiteX90" fmla="*/ 497227 w 4519987"/>
                    <a:gd name="connsiteY90" fmla="*/ 3552825 h 4496940"/>
                    <a:gd name="connsiteX91" fmla="*/ 440077 w 4519987"/>
                    <a:gd name="connsiteY91" fmla="*/ 3495675 h 4496940"/>
                    <a:gd name="connsiteX92" fmla="*/ 411502 w 4519987"/>
                    <a:gd name="connsiteY92" fmla="*/ 3448050 h 4496940"/>
                    <a:gd name="connsiteX93" fmla="*/ 278152 w 4519987"/>
                    <a:gd name="connsiteY93" fmla="*/ 3257550 h 4496940"/>
                    <a:gd name="connsiteX94" fmla="*/ 249577 w 4519987"/>
                    <a:gd name="connsiteY94" fmla="*/ 3200400 h 4496940"/>
                    <a:gd name="connsiteX95" fmla="*/ 240052 w 4519987"/>
                    <a:gd name="connsiteY95" fmla="*/ 3162300 h 4496940"/>
                    <a:gd name="connsiteX96" fmla="*/ 221002 w 4519987"/>
                    <a:gd name="connsiteY96" fmla="*/ 3105150 h 4496940"/>
                    <a:gd name="connsiteX97" fmla="*/ 173377 w 4519987"/>
                    <a:gd name="connsiteY97" fmla="*/ 3019425 h 4496940"/>
                    <a:gd name="connsiteX98" fmla="*/ 144802 w 4519987"/>
                    <a:gd name="connsiteY98" fmla="*/ 2924175 h 4496940"/>
                    <a:gd name="connsiteX99" fmla="*/ 68602 w 4519987"/>
                    <a:gd name="connsiteY99" fmla="*/ 2724150 h 4496940"/>
                    <a:gd name="connsiteX100" fmla="*/ 49552 w 4519987"/>
                    <a:gd name="connsiteY100" fmla="*/ 2638425 h 4496940"/>
                    <a:gd name="connsiteX101" fmla="*/ 40027 w 4519987"/>
                    <a:gd name="connsiteY101" fmla="*/ 2562225 h 4496940"/>
                    <a:gd name="connsiteX102" fmla="*/ 30502 w 4519987"/>
                    <a:gd name="connsiteY102" fmla="*/ 2514600 h 4496940"/>
                    <a:gd name="connsiteX103" fmla="*/ 11452 w 4519987"/>
                    <a:gd name="connsiteY103" fmla="*/ 2400300 h 4496940"/>
                    <a:gd name="connsiteX104" fmla="*/ 20977 w 4519987"/>
                    <a:gd name="connsiteY104" fmla="*/ 1905000 h 4496940"/>
                    <a:gd name="connsiteX105" fmla="*/ 30502 w 4519987"/>
                    <a:gd name="connsiteY105" fmla="*/ 1838325 h 4496940"/>
                    <a:gd name="connsiteX106" fmla="*/ 49552 w 4519987"/>
                    <a:gd name="connsiteY106" fmla="*/ 1781175 h 4496940"/>
                    <a:gd name="connsiteX107" fmla="*/ 59077 w 4519987"/>
                    <a:gd name="connsiteY107" fmla="*/ 1743075 h 4496940"/>
                    <a:gd name="connsiteX108" fmla="*/ 78127 w 4519987"/>
                    <a:gd name="connsiteY108" fmla="*/ 1685925 h 4496940"/>
                    <a:gd name="connsiteX109" fmla="*/ 87652 w 4519987"/>
                    <a:gd name="connsiteY109" fmla="*/ 1638300 h 4496940"/>
                    <a:gd name="connsiteX110" fmla="*/ 106702 w 4519987"/>
                    <a:gd name="connsiteY110" fmla="*/ 1590675 h 4496940"/>
                    <a:gd name="connsiteX111" fmla="*/ 135277 w 4519987"/>
                    <a:gd name="connsiteY111" fmla="*/ 1504950 h 4496940"/>
                    <a:gd name="connsiteX112" fmla="*/ 154327 w 4519987"/>
                    <a:gd name="connsiteY112" fmla="*/ 1419225 h 4496940"/>
                    <a:gd name="connsiteX113" fmla="*/ 230527 w 4519987"/>
                    <a:gd name="connsiteY113" fmla="*/ 1276350 h 4496940"/>
                    <a:gd name="connsiteX114" fmla="*/ 240052 w 4519987"/>
                    <a:gd name="connsiteY114" fmla="*/ 1247775 h 4496940"/>
                    <a:gd name="connsiteX115" fmla="*/ 268627 w 4519987"/>
                    <a:gd name="connsiteY115" fmla="*/ 1200150 h 4496940"/>
                    <a:gd name="connsiteX116" fmla="*/ 287677 w 4519987"/>
                    <a:gd name="connsiteY116" fmla="*/ 1152525 h 4496940"/>
                    <a:gd name="connsiteX117" fmla="*/ 316252 w 4519987"/>
                    <a:gd name="connsiteY117" fmla="*/ 1114425 h 4496940"/>
                    <a:gd name="connsiteX118" fmla="*/ 363877 w 4519987"/>
                    <a:gd name="connsiteY118" fmla="*/ 1038225 h 4496940"/>
                    <a:gd name="connsiteX119" fmla="*/ 382927 w 4519987"/>
                    <a:gd name="connsiteY119" fmla="*/ 1009650 h 4496940"/>
                    <a:gd name="connsiteX120" fmla="*/ 440077 w 4519987"/>
                    <a:gd name="connsiteY120" fmla="*/ 904875 h 4496940"/>
                    <a:gd name="connsiteX121" fmla="*/ 478177 w 4519987"/>
                    <a:gd name="connsiteY121" fmla="*/ 857250 h 4496940"/>
                    <a:gd name="connsiteX122" fmla="*/ 497227 w 4519987"/>
                    <a:gd name="connsiteY122" fmla="*/ 828675 h 4496940"/>
                    <a:gd name="connsiteX123" fmla="*/ 535327 w 4519987"/>
                    <a:gd name="connsiteY123" fmla="*/ 800100 h 4496940"/>
                    <a:gd name="connsiteX124" fmla="*/ 602002 w 4519987"/>
                    <a:gd name="connsiteY124" fmla="*/ 733425 h 4496940"/>
                    <a:gd name="connsiteX125" fmla="*/ 668677 w 4519987"/>
                    <a:gd name="connsiteY125" fmla="*/ 676275 h 4496940"/>
                    <a:gd name="connsiteX126" fmla="*/ 697252 w 4519987"/>
                    <a:gd name="connsiteY126" fmla="*/ 657225 h 4496940"/>
                    <a:gd name="connsiteX127" fmla="*/ 840127 w 4519987"/>
                    <a:gd name="connsiteY127" fmla="*/ 533400 h 4496940"/>
                    <a:gd name="connsiteX128" fmla="*/ 887752 w 4519987"/>
                    <a:gd name="connsiteY128" fmla="*/ 504825 h 4496940"/>
                    <a:gd name="connsiteX129" fmla="*/ 1167152 w 4519987"/>
                    <a:gd name="connsiteY129" fmla="*/ 311150 h 4496940"/>
                    <a:gd name="connsiteX130" fmla="*/ 1268752 w 4519987"/>
                    <a:gd name="connsiteY130" fmla="*/ 285750 h 4496940"/>
                    <a:gd name="connsiteX131" fmla="*/ 1411627 w 4519987"/>
                    <a:gd name="connsiteY131" fmla="*/ 190500 h 4496940"/>
                    <a:gd name="connsiteX132" fmla="*/ 1449727 w 4519987"/>
                    <a:gd name="connsiteY132" fmla="*/ 161925 h 4496940"/>
                    <a:gd name="connsiteX133" fmla="*/ 1525927 w 4519987"/>
                    <a:gd name="connsiteY133" fmla="*/ 152400 h 4496940"/>
                    <a:gd name="connsiteX134" fmla="*/ 1583077 w 4519987"/>
                    <a:gd name="connsiteY134" fmla="*/ 142875 h 4496940"/>
                    <a:gd name="connsiteX135" fmla="*/ 1716427 w 4519987"/>
                    <a:gd name="connsiteY135" fmla="*/ 123825 h 4496940"/>
                    <a:gd name="connsiteX136" fmla="*/ 1811677 w 4519987"/>
                    <a:gd name="connsiteY136" fmla="*/ 114300 h 4496940"/>
                    <a:gd name="connsiteX137" fmla="*/ 1859302 w 4519987"/>
                    <a:gd name="connsiteY137" fmla="*/ 104775 h 4496940"/>
                    <a:gd name="connsiteX138" fmla="*/ 1916452 w 4519987"/>
                    <a:gd name="connsiteY138" fmla="*/ 95250 h 4496940"/>
                    <a:gd name="connsiteX139" fmla="*/ 2030752 w 4519987"/>
                    <a:gd name="connsiteY139" fmla="*/ 66675 h 4496940"/>
                    <a:gd name="connsiteX140" fmla="*/ 2097427 w 4519987"/>
                    <a:gd name="connsiteY140" fmla="*/ 47625 h 4496940"/>
                    <a:gd name="connsiteX141" fmla="*/ 2164102 w 4519987"/>
                    <a:gd name="connsiteY141" fmla="*/ 38100 h 4496940"/>
                    <a:gd name="connsiteX142" fmla="*/ 2392702 w 4519987"/>
                    <a:gd name="connsiteY14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164352 w 4519987"/>
                    <a:gd name="connsiteY36" fmla="*/ 3429000 h 4496940"/>
                    <a:gd name="connsiteX37" fmla="*/ 4088152 w 4519987"/>
                    <a:gd name="connsiteY37" fmla="*/ 3495675 h 4496940"/>
                    <a:gd name="connsiteX38" fmla="*/ 4059577 w 4519987"/>
                    <a:gd name="connsiteY38" fmla="*/ 3533775 h 4496940"/>
                    <a:gd name="connsiteX39" fmla="*/ 4002427 w 4519987"/>
                    <a:gd name="connsiteY39" fmla="*/ 3600450 h 4496940"/>
                    <a:gd name="connsiteX40" fmla="*/ 3983377 w 4519987"/>
                    <a:gd name="connsiteY40" fmla="*/ 3629025 h 4496940"/>
                    <a:gd name="connsiteX41" fmla="*/ 3954802 w 4519987"/>
                    <a:gd name="connsiteY41" fmla="*/ 3648075 h 4496940"/>
                    <a:gd name="connsiteX42" fmla="*/ 3907177 w 4519987"/>
                    <a:gd name="connsiteY42" fmla="*/ 3686175 h 4496940"/>
                    <a:gd name="connsiteX43" fmla="*/ 3869077 w 4519987"/>
                    <a:gd name="connsiteY43" fmla="*/ 3724275 h 4496940"/>
                    <a:gd name="connsiteX44" fmla="*/ 3792877 w 4519987"/>
                    <a:gd name="connsiteY44" fmla="*/ 3781425 h 4496940"/>
                    <a:gd name="connsiteX45" fmla="*/ 3783352 w 4519987"/>
                    <a:gd name="connsiteY45" fmla="*/ 3810000 h 4496940"/>
                    <a:gd name="connsiteX46" fmla="*/ 3745252 w 4519987"/>
                    <a:gd name="connsiteY46" fmla="*/ 3819525 h 4496940"/>
                    <a:gd name="connsiteX47" fmla="*/ 3678577 w 4519987"/>
                    <a:gd name="connsiteY47" fmla="*/ 3848100 h 4496940"/>
                    <a:gd name="connsiteX48" fmla="*/ 3659527 w 4519987"/>
                    <a:gd name="connsiteY48" fmla="*/ 3971925 h 4496940"/>
                    <a:gd name="connsiteX49" fmla="*/ 3630952 w 4519987"/>
                    <a:gd name="connsiteY49" fmla="*/ 4010025 h 4496940"/>
                    <a:gd name="connsiteX50" fmla="*/ 3621427 w 4519987"/>
                    <a:gd name="connsiteY50" fmla="*/ 4038600 h 4496940"/>
                    <a:gd name="connsiteX51" fmla="*/ 3554752 w 4519987"/>
                    <a:gd name="connsiteY51" fmla="*/ 4095750 h 4496940"/>
                    <a:gd name="connsiteX52" fmla="*/ 3516652 w 4519987"/>
                    <a:gd name="connsiteY52" fmla="*/ 4114800 h 4496940"/>
                    <a:gd name="connsiteX53" fmla="*/ 3497602 w 4519987"/>
                    <a:gd name="connsiteY53" fmla="*/ 4143375 h 4496940"/>
                    <a:gd name="connsiteX54" fmla="*/ 3383302 w 4519987"/>
                    <a:gd name="connsiteY54" fmla="*/ 4210050 h 4496940"/>
                    <a:gd name="connsiteX55" fmla="*/ 3335677 w 4519987"/>
                    <a:gd name="connsiteY55" fmla="*/ 4238625 h 4496940"/>
                    <a:gd name="connsiteX56" fmla="*/ 3288052 w 4519987"/>
                    <a:gd name="connsiteY56" fmla="*/ 4248150 h 4496940"/>
                    <a:gd name="connsiteX57" fmla="*/ 3240427 w 4519987"/>
                    <a:gd name="connsiteY57" fmla="*/ 4267200 h 4496940"/>
                    <a:gd name="connsiteX58" fmla="*/ 3068977 w 4519987"/>
                    <a:gd name="connsiteY58" fmla="*/ 4286250 h 4496940"/>
                    <a:gd name="connsiteX59" fmla="*/ 2935627 w 4519987"/>
                    <a:gd name="connsiteY59" fmla="*/ 4333875 h 4496940"/>
                    <a:gd name="connsiteX60" fmla="*/ 2811802 w 4519987"/>
                    <a:gd name="connsiteY60" fmla="*/ 4371975 h 4496940"/>
                    <a:gd name="connsiteX61" fmla="*/ 2745127 w 4519987"/>
                    <a:gd name="connsiteY61" fmla="*/ 4410075 h 4496940"/>
                    <a:gd name="connsiteX62" fmla="*/ 2697502 w 4519987"/>
                    <a:gd name="connsiteY62" fmla="*/ 4429125 h 4496940"/>
                    <a:gd name="connsiteX63" fmla="*/ 2640352 w 4519987"/>
                    <a:gd name="connsiteY63" fmla="*/ 4457700 h 4496940"/>
                    <a:gd name="connsiteX64" fmla="*/ 2583202 w 4519987"/>
                    <a:gd name="connsiteY64" fmla="*/ 4467225 h 4496940"/>
                    <a:gd name="connsiteX65" fmla="*/ 2545102 w 4519987"/>
                    <a:gd name="connsiteY65" fmla="*/ 4486275 h 4496940"/>
                    <a:gd name="connsiteX66" fmla="*/ 2306977 w 4519987"/>
                    <a:gd name="connsiteY66" fmla="*/ 4476750 h 4496940"/>
                    <a:gd name="connsiteX67" fmla="*/ 2202202 w 4519987"/>
                    <a:gd name="connsiteY67" fmla="*/ 4457700 h 4496940"/>
                    <a:gd name="connsiteX68" fmla="*/ 2126002 w 4519987"/>
                    <a:gd name="connsiteY68" fmla="*/ 4429125 h 4496940"/>
                    <a:gd name="connsiteX69" fmla="*/ 1935502 w 4519987"/>
                    <a:gd name="connsiteY69" fmla="*/ 4400550 h 4496940"/>
                    <a:gd name="connsiteX70" fmla="*/ 1821202 w 4519987"/>
                    <a:gd name="connsiteY70" fmla="*/ 4371975 h 4496940"/>
                    <a:gd name="connsiteX71" fmla="*/ 1754527 w 4519987"/>
                    <a:gd name="connsiteY71" fmla="*/ 4352925 h 4496940"/>
                    <a:gd name="connsiteX72" fmla="*/ 1687852 w 4519987"/>
                    <a:gd name="connsiteY72" fmla="*/ 4343400 h 4496940"/>
                    <a:gd name="connsiteX73" fmla="*/ 1573552 w 4519987"/>
                    <a:gd name="connsiteY73" fmla="*/ 4305300 h 4496940"/>
                    <a:gd name="connsiteX74" fmla="*/ 1402102 w 4519987"/>
                    <a:gd name="connsiteY74" fmla="*/ 4276725 h 4496940"/>
                    <a:gd name="connsiteX75" fmla="*/ 1287802 w 4519987"/>
                    <a:gd name="connsiteY75" fmla="*/ 4229100 h 4496940"/>
                    <a:gd name="connsiteX76" fmla="*/ 1221127 w 4519987"/>
                    <a:gd name="connsiteY76" fmla="*/ 4200525 h 4496940"/>
                    <a:gd name="connsiteX77" fmla="*/ 1144927 w 4519987"/>
                    <a:gd name="connsiteY77" fmla="*/ 4171950 h 4496940"/>
                    <a:gd name="connsiteX78" fmla="*/ 1087777 w 4519987"/>
                    <a:gd name="connsiteY78" fmla="*/ 4143375 h 4496940"/>
                    <a:gd name="connsiteX79" fmla="*/ 1030627 w 4519987"/>
                    <a:gd name="connsiteY79" fmla="*/ 4124325 h 4496940"/>
                    <a:gd name="connsiteX80" fmla="*/ 925852 w 4519987"/>
                    <a:gd name="connsiteY80" fmla="*/ 4067175 h 4496940"/>
                    <a:gd name="connsiteX81" fmla="*/ 830602 w 4519987"/>
                    <a:gd name="connsiteY81" fmla="*/ 3981450 h 4496940"/>
                    <a:gd name="connsiteX82" fmla="*/ 763927 w 4519987"/>
                    <a:gd name="connsiteY82" fmla="*/ 3914775 h 4496940"/>
                    <a:gd name="connsiteX83" fmla="*/ 725827 w 4519987"/>
                    <a:gd name="connsiteY83" fmla="*/ 3876675 h 4496940"/>
                    <a:gd name="connsiteX84" fmla="*/ 697252 w 4519987"/>
                    <a:gd name="connsiteY84" fmla="*/ 3838575 h 4496940"/>
                    <a:gd name="connsiteX85" fmla="*/ 640102 w 4519987"/>
                    <a:gd name="connsiteY85" fmla="*/ 3781425 h 4496940"/>
                    <a:gd name="connsiteX86" fmla="*/ 611527 w 4519987"/>
                    <a:gd name="connsiteY86" fmla="*/ 3733800 h 4496940"/>
                    <a:gd name="connsiteX87" fmla="*/ 554377 w 4519987"/>
                    <a:gd name="connsiteY87" fmla="*/ 3657600 h 4496940"/>
                    <a:gd name="connsiteX88" fmla="*/ 525802 w 4519987"/>
                    <a:gd name="connsiteY88" fmla="*/ 3609975 h 4496940"/>
                    <a:gd name="connsiteX89" fmla="*/ 497227 w 4519987"/>
                    <a:gd name="connsiteY89" fmla="*/ 3552825 h 4496940"/>
                    <a:gd name="connsiteX90" fmla="*/ 440077 w 4519987"/>
                    <a:gd name="connsiteY90" fmla="*/ 3495675 h 4496940"/>
                    <a:gd name="connsiteX91" fmla="*/ 411502 w 4519987"/>
                    <a:gd name="connsiteY91" fmla="*/ 3448050 h 4496940"/>
                    <a:gd name="connsiteX92" fmla="*/ 278152 w 4519987"/>
                    <a:gd name="connsiteY92" fmla="*/ 3257550 h 4496940"/>
                    <a:gd name="connsiteX93" fmla="*/ 249577 w 4519987"/>
                    <a:gd name="connsiteY93" fmla="*/ 3200400 h 4496940"/>
                    <a:gd name="connsiteX94" fmla="*/ 240052 w 4519987"/>
                    <a:gd name="connsiteY94" fmla="*/ 3162300 h 4496940"/>
                    <a:gd name="connsiteX95" fmla="*/ 221002 w 4519987"/>
                    <a:gd name="connsiteY95" fmla="*/ 3105150 h 4496940"/>
                    <a:gd name="connsiteX96" fmla="*/ 173377 w 4519987"/>
                    <a:gd name="connsiteY96" fmla="*/ 3019425 h 4496940"/>
                    <a:gd name="connsiteX97" fmla="*/ 144802 w 4519987"/>
                    <a:gd name="connsiteY97" fmla="*/ 2924175 h 4496940"/>
                    <a:gd name="connsiteX98" fmla="*/ 68602 w 4519987"/>
                    <a:gd name="connsiteY98" fmla="*/ 2724150 h 4496940"/>
                    <a:gd name="connsiteX99" fmla="*/ 49552 w 4519987"/>
                    <a:gd name="connsiteY99" fmla="*/ 2638425 h 4496940"/>
                    <a:gd name="connsiteX100" fmla="*/ 40027 w 4519987"/>
                    <a:gd name="connsiteY100" fmla="*/ 2562225 h 4496940"/>
                    <a:gd name="connsiteX101" fmla="*/ 30502 w 4519987"/>
                    <a:gd name="connsiteY101" fmla="*/ 2514600 h 4496940"/>
                    <a:gd name="connsiteX102" fmla="*/ 11452 w 4519987"/>
                    <a:gd name="connsiteY102" fmla="*/ 2400300 h 4496940"/>
                    <a:gd name="connsiteX103" fmla="*/ 20977 w 4519987"/>
                    <a:gd name="connsiteY103" fmla="*/ 1905000 h 4496940"/>
                    <a:gd name="connsiteX104" fmla="*/ 30502 w 4519987"/>
                    <a:gd name="connsiteY104" fmla="*/ 1838325 h 4496940"/>
                    <a:gd name="connsiteX105" fmla="*/ 49552 w 4519987"/>
                    <a:gd name="connsiteY105" fmla="*/ 1781175 h 4496940"/>
                    <a:gd name="connsiteX106" fmla="*/ 59077 w 4519987"/>
                    <a:gd name="connsiteY106" fmla="*/ 1743075 h 4496940"/>
                    <a:gd name="connsiteX107" fmla="*/ 78127 w 4519987"/>
                    <a:gd name="connsiteY107" fmla="*/ 1685925 h 4496940"/>
                    <a:gd name="connsiteX108" fmla="*/ 87652 w 4519987"/>
                    <a:gd name="connsiteY108" fmla="*/ 1638300 h 4496940"/>
                    <a:gd name="connsiteX109" fmla="*/ 106702 w 4519987"/>
                    <a:gd name="connsiteY109" fmla="*/ 1590675 h 4496940"/>
                    <a:gd name="connsiteX110" fmla="*/ 135277 w 4519987"/>
                    <a:gd name="connsiteY110" fmla="*/ 1504950 h 4496940"/>
                    <a:gd name="connsiteX111" fmla="*/ 154327 w 4519987"/>
                    <a:gd name="connsiteY111" fmla="*/ 1419225 h 4496940"/>
                    <a:gd name="connsiteX112" fmla="*/ 230527 w 4519987"/>
                    <a:gd name="connsiteY112" fmla="*/ 1276350 h 4496940"/>
                    <a:gd name="connsiteX113" fmla="*/ 240052 w 4519987"/>
                    <a:gd name="connsiteY113" fmla="*/ 1247775 h 4496940"/>
                    <a:gd name="connsiteX114" fmla="*/ 268627 w 4519987"/>
                    <a:gd name="connsiteY114" fmla="*/ 1200150 h 4496940"/>
                    <a:gd name="connsiteX115" fmla="*/ 287677 w 4519987"/>
                    <a:gd name="connsiteY115" fmla="*/ 1152525 h 4496940"/>
                    <a:gd name="connsiteX116" fmla="*/ 316252 w 4519987"/>
                    <a:gd name="connsiteY116" fmla="*/ 1114425 h 4496940"/>
                    <a:gd name="connsiteX117" fmla="*/ 363877 w 4519987"/>
                    <a:gd name="connsiteY117" fmla="*/ 1038225 h 4496940"/>
                    <a:gd name="connsiteX118" fmla="*/ 382927 w 4519987"/>
                    <a:gd name="connsiteY118" fmla="*/ 1009650 h 4496940"/>
                    <a:gd name="connsiteX119" fmla="*/ 440077 w 4519987"/>
                    <a:gd name="connsiteY119" fmla="*/ 904875 h 4496940"/>
                    <a:gd name="connsiteX120" fmla="*/ 478177 w 4519987"/>
                    <a:gd name="connsiteY120" fmla="*/ 857250 h 4496940"/>
                    <a:gd name="connsiteX121" fmla="*/ 497227 w 4519987"/>
                    <a:gd name="connsiteY121" fmla="*/ 828675 h 4496940"/>
                    <a:gd name="connsiteX122" fmla="*/ 535327 w 4519987"/>
                    <a:gd name="connsiteY122" fmla="*/ 800100 h 4496940"/>
                    <a:gd name="connsiteX123" fmla="*/ 602002 w 4519987"/>
                    <a:gd name="connsiteY123" fmla="*/ 733425 h 4496940"/>
                    <a:gd name="connsiteX124" fmla="*/ 668677 w 4519987"/>
                    <a:gd name="connsiteY124" fmla="*/ 676275 h 4496940"/>
                    <a:gd name="connsiteX125" fmla="*/ 697252 w 4519987"/>
                    <a:gd name="connsiteY125" fmla="*/ 657225 h 4496940"/>
                    <a:gd name="connsiteX126" fmla="*/ 840127 w 4519987"/>
                    <a:gd name="connsiteY126" fmla="*/ 533400 h 4496940"/>
                    <a:gd name="connsiteX127" fmla="*/ 887752 w 4519987"/>
                    <a:gd name="connsiteY127" fmla="*/ 504825 h 4496940"/>
                    <a:gd name="connsiteX128" fmla="*/ 1167152 w 4519987"/>
                    <a:gd name="connsiteY128" fmla="*/ 311150 h 4496940"/>
                    <a:gd name="connsiteX129" fmla="*/ 1268752 w 4519987"/>
                    <a:gd name="connsiteY129" fmla="*/ 285750 h 4496940"/>
                    <a:gd name="connsiteX130" fmla="*/ 1411627 w 4519987"/>
                    <a:gd name="connsiteY130" fmla="*/ 190500 h 4496940"/>
                    <a:gd name="connsiteX131" fmla="*/ 1449727 w 4519987"/>
                    <a:gd name="connsiteY131" fmla="*/ 161925 h 4496940"/>
                    <a:gd name="connsiteX132" fmla="*/ 1525927 w 4519987"/>
                    <a:gd name="connsiteY132" fmla="*/ 152400 h 4496940"/>
                    <a:gd name="connsiteX133" fmla="*/ 1583077 w 4519987"/>
                    <a:gd name="connsiteY133" fmla="*/ 142875 h 4496940"/>
                    <a:gd name="connsiteX134" fmla="*/ 1716427 w 4519987"/>
                    <a:gd name="connsiteY134" fmla="*/ 123825 h 4496940"/>
                    <a:gd name="connsiteX135" fmla="*/ 1811677 w 4519987"/>
                    <a:gd name="connsiteY135" fmla="*/ 114300 h 4496940"/>
                    <a:gd name="connsiteX136" fmla="*/ 1859302 w 4519987"/>
                    <a:gd name="connsiteY136" fmla="*/ 104775 h 4496940"/>
                    <a:gd name="connsiteX137" fmla="*/ 1916452 w 4519987"/>
                    <a:gd name="connsiteY137" fmla="*/ 95250 h 4496940"/>
                    <a:gd name="connsiteX138" fmla="*/ 2030752 w 4519987"/>
                    <a:gd name="connsiteY138" fmla="*/ 66675 h 4496940"/>
                    <a:gd name="connsiteX139" fmla="*/ 2097427 w 4519987"/>
                    <a:gd name="connsiteY139" fmla="*/ 47625 h 4496940"/>
                    <a:gd name="connsiteX140" fmla="*/ 2164102 w 4519987"/>
                    <a:gd name="connsiteY140" fmla="*/ 38100 h 4496940"/>
                    <a:gd name="connsiteX141" fmla="*/ 2392702 w 4519987"/>
                    <a:gd name="connsiteY14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088152 w 4519987"/>
                    <a:gd name="connsiteY36" fmla="*/ 3495675 h 4496940"/>
                    <a:gd name="connsiteX37" fmla="*/ 4059577 w 4519987"/>
                    <a:gd name="connsiteY37" fmla="*/ 3533775 h 4496940"/>
                    <a:gd name="connsiteX38" fmla="*/ 4002427 w 4519987"/>
                    <a:gd name="connsiteY38" fmla="*/ 3600450 h 4496940"/>
                    <a:gd name="connsiteX39" fmla="*/ 3983377 w 4519987"/>
                    <a:gd name="connsiteY39" fmla="*/ 3629025 h 4496940"/>
                    <a:gd name="connsiteX40" fmla="*/ 3954802 w 4519987"/>
                    <a:gd name="connsiteY40" fmla="*/ 3648075 h 4496940"/>
                    <a:gd name="connsiteX41" fmla="*/ 3907177 w 4519987"/>
                    <a:gd name="connsiteY41" fmla="*/ 3686175 h 4496940"/>
                    <a:gd name="connsiteX42" fmla="*/ 3869077 w 4519987"/>
                    <a:gd name="connsiteY42" fmla="*/ 3724275 h 4496940"/>
                    <a:gd name="connsiteX43" fmla="*/ 3792877 w 4519987"/>
                    <a:gd name="connsiteY43" fmla="*/ 3781425 h 4496940"/>
                    <a:gd name="connsiteX44" fmla="*/ 3783352 w 4519987"/>
                    <a:gd name="connsiteY44" fmla="*/ 3810000 h 4496940"/>
                    <a:gd name="connsiteX45" fmla="*/ 3745252 w 4519987"/>
                    <a:gd name="connsiteY45" fmla="*/ 3819525 h 4496940"/>
                    <a:gd name="connsiteX46" fmla="*/ 3678577 w 4519987"/>
                    <a:gd name="connsiteY46" fmla="*/ 3848100 h 4496940"/>
                    <a:gd name="connsiteX47" fmla="*/ 3659527 w 4519987"/>
                    <a:gd name="connsiteY47" fmla="*/ 3971925 h 4496940"/>
                    <a:gd name="connsiteX48" fmla="*/ 3630952 w 4519987"/>
                    <a:gd name="connsiteY48" fmla="*/ 4010025 h 4496940"/>
                    <a:gd name="connsiteX49" fmla="*/ 3621427 w 4519987"/>
                    <a:gd name="connsiteY49" fmla="*/ 4038600 h 4496940"/>
                    <a:gd name="connsiteX50" fmla="*/ 3554752 w 4519987"/>
                    <a:gd name="connsiteY50" fmla="*/ 4095750 h 4496940"/>
                    <a:gd name="connsiteX51" fmla="*/ 3516652 w 4519987"/>
                    <a:gd name="connsiteY51" fmla="*/ 4114800 h 4496940"/>
                    <a:gd name="connsiteX52" fmla="*/ 3497602 w 4519987"/>
                    <a:gd name="connsiteY52" fmla="*/ 4143375 h 4496940"/>
                    <a:gd name="connsiteX53" fmla="*/ 3383302 w 4519987"/>
                    <a:gd name="connsiteY53" fmla="*/ 4210050 h 4496940"/>
                    <a:gd name="connsiteX54" fmla="*/ 3335677 w 4519987"/>
                    <a:gd name="connsiteY54" fmla="*/ 4238625 h 4496940"/>
                    <a:gd name="connsiteX55" fmla="*/ 3288052 w 4519987"/>
                    <a:gd name="connsiteY55" fmla="*/ 4248150 h 4496940"/>
                    <a:gd name="connsiteX56" fmla="*/ 3240427 w 4519987"/>
                    <a:gd name="connsiteY56" fmla="*/ 4267200 h 4496940"/>
                    <a:gd name="connsiteX57" fmla="*/ 3068977 w 4519987"/>
                    <a:gd name="connsiteY57" fmla="*/ 4286250 h 4496940"/>
                    <a:gd name="connsiteX58" fmla="*/ 2935627 w 4519987"/>
                    <a:gd name="connsiteY58" fmla="*/ 4333875 h 4496940"/>
                    <a:gd name="connsiteX59" fmla="*/ 2811802 w 4519987"/>
                    <a:gd name="connsiteY59" fmla="*/ 4371975 h 4496940"/>
                    <a:gd name="connsiteX60" fmla="*/ 2745127 w 4519987"/>
                    <a:gd name="connsiteY60" fmla="*/ 4410075 h 4496940"/>
                    <a:gd name="connsiteX61" fmla="*/ 2697502 w 4519987"/>
                    <a:gd name="connsiteY61" fmla="*/ 4429125 h 4496940"/>
                    <a:gd name="connsiteX62" fmla="*/ 2640352 w 4519987"/>
                    <a:gd name="connsiteY62" fmla="*/ 4457700 h 4496940"/>
                    <a:gd name="connsiteX63" fmla="*/ 2583202 w 4519987"/>
                    <a:gd name="connsiteY63" fmla="*/ 4467225 h 4496940"/>
                    <a:gd name="connsiteX64" fmla="*/ 2545102 w 4519987"/>
                    <a:gd name="connsiteY64" fmla="*/ 4486275 h 4496940"/>
                    <a:gd name="connsiteX65" fmla="*/ 2306977 w 4519987"/>
                    <a:gd name="connsiteY65" fmla="*/ 4476750 h 4496940"/>
                    <a:gd name="connsiteX66" fmla="*/ 2202202 w 4519987"/>
                    <a:gd name="connsiteY66" fmla="*/ 4457700 h 4496940"/>
                    <a:gd name="connsiteX67" fmla="*/ 2126002 w 4519987"/>
                    <a:gd name="connsiteY67" fmla="*/ 4429125 h 4496940"/>
                    <a:gd name="connsiteX68" fmla="*/ 1935502 w 4519987"/>
                    <a:gd name="connsiteY68" fmla="*/ 4400550 h 4496940"/>
                    <a:gd name="connsiteX69" fmla="*/ 1821202 w 4519987"/>
                    <a:gd name="connsiteY69" fmla="*/ 4371975 h 4496940"/>
                    <a:gd name="connsiteX70" fmla="*/ 1754527 w 4519987"/>
                    <a:gd name="connsiteY70" fmla="*/ 4352925 h 4496940"/>
                    <a:gd name="connsiteX71" fmla="*/ 1687852 w 4519987"/>
                    <a:gd name="connsiteY71" fmla="*/ 4343400 h 4496940"/>
                    <a:gd name="connsiteX72" fmla="*/ 1573552 w 4519987"/>
                    <a:gd name="connsiteY72" fmla="*/ 4305300 h 4496940"/>
                    <a:gd name="connsiteX73" fmla="*/ 1402102 w 4519987"/>
                    <a:gd name="connsiteY73" fmla="*/ 4276725 h 4496940"/>
                    <a:gd name="connsiteX74" fmla="*/ 1287802 w 4519987"/>
                    <a:gd name="connsiteY74" fmla="*/ 4229100 h 4496940"/>
                    <a:gd name="connsiteX75" fmla="*/ 1221127 w 4519987"/>
                    <a:gd name="connsiteY75" fmla="*/ 4200525 h 4496940"/>
                    <a:gd name="connsiteX76" fmla="*/ 1144927 w 4519987"/>
                    <a:gd name="connsiteY76" fmla="*/ 4171950 h 4496940"/>
                    <a:gd name="connsiteX77" fmla="*/ 1087777 w 4519987"/>
                    <a:gd name="connsiteY77" fmla="*/ 4143375 h 4496940"/>
                    <a:gd name="connsiteX78" fmla="*/ 1030627 w 4519987"/>
                    <a:gd name="connsiteY78" fmla="*/ 4124325 h 4496940"/>
                    <a:gd name="connsiteX79" fmla="*/ 925852 w 4519987"/>
                    <a:gd name="connsiteY79" fmla="*/ 4067175 h 4496940"/>
                    <a:gd name="connsiteX80" fmla="*/ 830602 w 4519987"/>
                    <a:gd name="connsiteY80" fmla="*/ 3981450 h 4496940"/>
                    <a:gd name="connsiteX81" fmla="*/ 763927 w 4519987"/>
                    <a:gd name="connsiteY81" fmla="*/ 3914775 h 4496940"/>
                    <a:gd name="connsiteX82" fmla="*/ 725827 w 4519987"/>
                    <a:gd name="connsiteY82" fmla="*/ 3876675 h 4496940"/>
                    <a:gd name="connsiteX83" fmla="*/ 697252 w 4519987"/>
                    <a:gd name="connsiteY83" fmla="*/ 3838575 h 4496940"/>
                    <a:gd name="connsiteX84" fmla="*/ 640102 w 4519987"/>
                    <a:gd name="connsiteY84" fmla="*/ 3781425 h 4496940"/>
                    <a:gd name="connsiteX85" fmla="*/ 611527 w 4519987"/>
                    <a:gd name="connsiteY85" fmla="*/ 3733800 h 4496940"/>
                    <a:gd name="connsiteX86" fmla="*/ 554377 w 4519987"/>
                    <a:gd name="connsiteY86" fmla="*/ 3657600 h 4496940"/>
                    <a:gd name="connsiteX87" fmla="*/ 525802 w 4519987"/>
                    <a:gd name="connsiteY87" fmla="*/ 3609975 h 4496940"/>
                    <a:gd name="connsiteX88" fmla="*/ 497227 w 4519987"/>
                    <a:gd name="connsiteY88" fmla="*/ 3552825 h 4496940"/>
                    <a:gd name="connsiteX89" fmla="*/ 440077 w 4519987"/>
                    <a:gd name="connsiteY89" fmla="*/ 3495675 h 4496940"/>
                    <a:gd name="connsiteX90" fmla="*/ 411502 w 4519987"/>
                    <a:gd name="connsiteY90" fmla="*/ 3448050 h 4496940"/>
                    <a:gd name="connsiteX91" fmla="*/ 278152 w 4519987"/>
                    <a:gd name="connsiteY91" fmla="*/ 3257550 h 4496940"/>
                    <a:gd name="connsiteX92" fmla="*/ 249577 w 4519987"/>
                    <a:gd name="connsiteY92" fmla="*/ 3200400 h 4496940"/>
                    <a:gd name="connsiteX93" fmla="*/ 240052 w 4519987"/>
                    <a:gd name="connsiteY93" fmla="*/ 3162300 h 4496940"/>
                    <a:gd name="connsiteX94" fmla="*/ 221002 w 4519987"/>
                    <a:gd name="connsiteY94" fmla="*/ 3105150 h 4496940"/>
                    <a:gd name="connsiteX95" fmla="*/ 173377 w 4519987"/>
                    <a:gd name="connsiteY95" fmla="*/ 3019425 h 4496940"/>
                    <a:gd name="connsiteX96" fmla="*/ 144802 w 4519987"/>
                    <a:gd name="connsiteY96" fmla="*/ 2924175 h 4496940"/>
                    <a:gd name="connsiteX97" fmla="*/ 68602 w 4519987"/>
                    <a:gd name="connsiteY97" fmla="*/ 2724150 h 4496940"/>
                    <a:gd name="connsiteX98" fmla="*/ 49552 w 4519987"/>
                    <a:gd name="connsiteY98" fmla="*/ 2638425 h 4496940"/>
                    <a:gd name="connsiteX99" fmla="*/ 40027 w 4519987"/>
                    <a:gd name="connsiteY99" fmla="*/ 2562225 h 4496940"/>
                    <a:gd name="connsiteX100" fmla="*/ 30502 w 4519987"/>
                    <a:gd name="connsiteY100" fmla="*/ 2514600 h 4496940"/>
                    <a:gd name="connsiteX101" fmla="*/ 11452 w 4519987"/>
                    <a:gd name="connsiteY101" fmla="*/ 2400300 h 4496940"/>
                    <a:gd name="connsiteX102" fmla="*/ 20977 w 4519987"/>
                    <a:gd name="connsiteY102" fmla="*/ 1905000 h 4496940"/>
                    <a:gd name="connsiteX103" fmla="*/ 30502 w 4519987"/>
                    <a:gd name="connsiteY103" fmla="*/ 1838325 h 4496940"/>
                    <a:gd name="connsiteX104" fmla="*/ 49552 w 4519987"/>
                    <a:gd name="connsiteY104" fmla="*/ 1781175 h 4496940"/>
                    <a:gd name="connsiteX105" fmla="*/ 59077 w 4519987"/>
                    <a:gd name="connsiteY105" fmla="*/ 1743075 h 4496940"/>
                    <a:gd name="connsiteX106" fmla="*/ 78127 w 4519987"/>
                    <a:gd name="connsiteY106" fmla="*/ 1685925 h 4496940"/>
                    <a:gd name="connsiteX107" fmla="*/ 87652 w 4519987"/>
                    <a:gd name="connsiteY107" fmla="*/ 1638300 h 4496940"/>
                    <a:gd name="connsiteX108" fmla="*/ 106702 w 4519987"/>
                    <a:gd name="connsiteY108" fmla="*/ 1590675 h 4496940"/>
                    <a:gd name="connsiteX109" fmla="*/ 135277 w 4519987"/>
                    <a:gd name="connsiteY109" fmla="*/ 1504950 h 4496940"/>
                    <a:gd name="connsiteX110" fmla="*/ 154327 w 4519987"/>
                    <a:gd name="connsiteY110" fmla="*/ 1419225 h 4496940"/>
                    <a:gd name="connsiteX111" fmla="*/ 230527 w 4519987"/>
                    <a:gd name="connsiteY111" fmla="*/ 1276350 h 4496940"/>
                    <a:gd name="connsiteX112" fmla="*/ 240052 w 4519987"/>
                    <a:gd name="connsiteY112" fmla="*/ 1247775 h 4496940"/>
                    <a:gd name="connsiteX113" fmla="*/ 268627 w 4519987"/>
                    <a:gd name="connsiteY113" fmla="*/ 1200150 h 4496940"/>
                    <a:gd name="connsiteX114" fmla="*/ 287677 w 4519987"/>
                    <a:gd name="connsiteY114" fmla="*/ 1152525 h 4496940"/>
                    <a:gd name="connsiteX115" fmla="*/ 316252 w 4519987"/>
                    <a:gd name="connsiteY115" fmla="*/ 1114425 h 4496940"/>
                    <a:gd name="connsiteX116" fmla="*/ 363877 w 4519987"/>
                    <a:gd name="connsiteY116" fmla="*/ 1038225 h 4496940"/>
                    <a:gd name="connsiteX117" fmla="*/ 382927 w 4519987"/>
                    <a:gd name="connsiteY117" fmla="*/ 1009650 h 4496940"/>
                    <a:gd name="connsiteX118" fmla="*/ 440077 w 4519987"/>
                    <a:gd name="connsiteY118" fmla="*/ 904875 h 4496940"/>
                    <a:gd name="connsiteX119" fmla="*/ 478177 w 4519987"/>
                    <a:gd name="connsiteY119" fmla="*/ 857250 h 4496940"/>
                    <a:gd name="connsiteX120" fmla="*/ 497227 w 4519987"/>
                    <a:gd name="connsiteY120" fmla="*/ 828675 h 4496940"/>
                    <a:gd name="connsiteX121" fmla="*/ 535327 w 4519987"/>
                    <a:gd name="connsiteY121" fmla="*/ 800100 h 4496940"/>
                    <a:gd name="connsiteX122" fmla="*/ 602002 w 4519987"/>
                    <a:gd name="connsiteY122" fmla="*/ 733425 h 4496940"/>
                    <a:gd name="connsiteX123" fmla="*/ 668677 w 4519987"/>
                    <a:gd name="connsiteY123" fmla="*/ 676275 h 4496940"/>
                    <a:gd name="connsiteX124" fmla="*/ 697252 w 4519987"/>
                    <a:gd name="connsiteY124" fmla="*/ 657225 h 4496940"/>
                    <a:gd name="connsiteX125" fmla="*/ 840127 w 4519987"/>
                    <a:gd name="connsiteY125" fmla="*/ 533400 h 4496940"/>
                    <a:gd name="connsiteX126" fmla="*/ 887752 w 4519987"/>
                    <a:gd name="connsiteY126" fmla="*/ 504825 h 4496940"/>
                    <a:gd name="connsiteX127" fmla="*/ 1167152 w 4519987"/>
                    <a:gd name="connsiteY127" fmla="*/ 311150 h 4496940"/>
                    <a:gd name="connsiteX128" fmla="*/ 1268752 w 4519987"/>
                    <a:gd name="connsiteY128" fmla="*/ 285750 h 4496940"/>
                    <a:gd name="connsiteX129" fmla="*/ 1411627 w 4519987"/>
                    <a:gd name="connsiteY129" fmla="*/ 190500 h 4496940"/>
                    <a:gd name="connsiteX130" fmla="*/ 1449727 w 4519987"/>
                    <a:gd name="connsiteY130" fmla="*/ 161925 h 4496940"/>
                    <a:gd name="connsiteX131" fmla="*/ 1525927 w 4519987"/>
                    <a:gd name="connsiteY131" fmla="*/ 152400 h 4496940"/>
                    <a:gd name="connsiteX132" fmla="*/ 1583077 w 4519987"/>
                    <a:gd name="connsiteY132" fmla="*/ 142875 h 4496940"/>
                    <a:gd name="connsiteX133" fmla="*/ 1716427 w 4519987"/>
                    <a:gd name="connsiteY133" fmla="*/ 123825 h 4496940"/>
                    <a:gd name="connsiteX134" fmla="*/ 1811677 w 4519987"/>
                    <a:gd name="connsiteY134" fmla="*/ 114300 h 4496940"/>
                    <a:gd name="connsiteX135" fmla="*/ 1859302 w 4519987"/>
                    <a:gd name="connsiteY135" fmla="*/ 104775 h 4496940"/>
                    <a:gd name="connsiteX136" fmla="*/ 1916452 w 4519987"/>
                    <a:gd name="connsiteY136" fmla="*/ 95250 h 4496940"/>
                    <a:gd name="connsiteX137" fmla="*/ 2030752 w 4519987"/>
                    <a:gd name="connsiteY137" fmla="*/ 66675 h 4496940"/>
                    <a:gd name="connsiteX138" fmla="*/ 2097427 w 4519987"/>
                    <a:gd name="connsiteY138" fmla="*/ 47625 h 4496940"/>
                    <a:gd name="connsiteX139" fmla="*/ 2164102 w 4519987"/>
                    <a:gd name="connsiteY139" fmla="*/ 38100 h 4496940"/>
                    <a:gd name="connsiteX140" fmla="*/ 2392702 w 4519987"/>
                    <a:gd name="connsiteY14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183402 w 4519987"/>
                    <a:gd name="connsiteY34" fmla="*/ 3400425 h 4496940"/>
                    <a:gd name="connsiteX35" fmla="*/ 4088152 w 4519987"/>
                    <a:gd name="connsiteY35" fmla="*/ 3495675 h 4496940"/>
                    <a:gd name="connsiteX36" fmla="*/ 4059577 w 4519987"/>
                    <a:gd name="connsiteY36" fmla="*/ 3533775 h 4496940"/>
                    <a:gd name="connsiteX37" fmla="*/ 4002427 w 4519987"/>
                    <a:gd name="connsiteY37" fmla="*/ 3600450 h 4496940"/>
                    <a:gd name="connsiteX38" fmla="*/ 3983377 w 4519987"/>
                    <a:gd name="connsiteY38" fmla="*/ 3629025 h 4496940"/>
                    <a:gd name="connsiteX39" fmla="*/ 3954802 w 4519987"/>
                    <a:gd name="connsiteY39" fmla="*/ 3648075 h 4496940"/>
                    <a:gd name="connsiteX40" fmla="*/ 3907177 w 4519987"/>
                    <a:gd name="connsiteY40" fmla="*/ 3686175 h 4496940"/>
                    <a:gd name="connsiteX41" fmla="*/ 3869077 w 4519987"/>
                    <a:gd name="connsiteY41" fmla="*/ 3724275 h 4496940"/>
                    <a:gd name="connsiteX42" fmla="*/ 3792877 w 4519987"/>
                    <a:gd name="connsiteY42" fmla="*/ 3781425 h 4496940"/>
                    <a:gd name="connsiteX43" fmla="*/ 3783352 w 4519987"/>
                    <a:gd name="connsiteY43" fmla="*/ 3810000 h 4496940"/>
                    <a:gd name="connsiteX44" fmla="*/ 3745252 w 4519987"/>
                    <a:gd name="connsiteY44" fmla="*/ 3819525 h 4496940"/>
                    <a:gd name="connsiteX45" fmla="*/ 3678577 w 4519987"/>
                    <a:gd name="connsiteY45" fmla="*/ 3848100 h 4496940"/>
                    <a:gd name="connsiteX46" fmla="*/ 3659527 w 4519987"/>
                    <a:gd name="connsiteY46" fmla="*/ 3971925 h 4496940"/>
                    <a:gd name="connsiteX47" fmla="*/ 3630952 w 4519987"/>
                    <a:gd name="connsiteY47" fmla="*/ 4010025 h 4496940"/>
                    <a:gd name="connsiteX48" fmla="*/ 3621427 w 4519987"/>
                    <a:gd name="connsiteY48" fmla="*/ 4038600 h 4496940"/>
                    <a:gd name="connsiteX49" fmla="*/ 3554752 w 4519987"/>
                    <a:gd name="connsiteY49" fmla="*/ 4095750 h 4496940"/>
                    <a:gd name="connsiteX50" fmla="*/ 3516652 w 4519987"/>
                    <a:gd name="connsiteY50" fmla="*/ 4114800 h 4496940"/>
                    <a:gd name="connsiteX51" fmla="*/ 3497602 w 4519987"/>
                    <a:gd name="connsiteY51" fmla="*/ 4143375 h 4496940"/>
                    <a:gd name="connsiteX52" fmla="*/ 3383302 w 4519987"/>
                    <a:gd name="connsiteY52" fmla="*/ 4210050 h 4496940"/>
                    <a:gd name="connsiteX53" fmla="*/ 3335677 w 4519987"/>
                    <a:gd name="connsiteY53" fmla="*/ 4238625 h 4496940"/>
                    <a:gd name="connsiteX54" fmla="*/ 3288052 w 4519987"/>
                    <a:gd name="connsiteY54" fmla="*/ 4248150 h 4496940"/>
                    <a:gd name="connsiteX55" fmla="*/ 3240427 w 4519987"/>
                    <a:gd name="connsiteY55" fmla="*/ 4267200 h 4496940"/>
                    <a:gd name="connsiteX56" fmla="*/ 3068977 w 4519987"/>
                    <a:gd name="connsiteY56" fmla="*/ 4286250 h 4496940"/>
                    <a:gd name="connsiteX57" fmla="*/ 2935627 w 4519987"/>
                    <a:gd name="connsiteY57" fmla="*/ 4333875 h 4496940"/>
                    <a:gd name="connsiteX58" fmla="*/ 2811802 w 4519987"/>
                    <a:gd name="connsiteY58" fmla="*/ 4371975 h 4496940"/>
                    <a:gd name="connsiteX59" fmla="*/ 2745127 w 4519987"/>
                    <a:gd name="connsiteY59" fmla="*/ 4410075 h 4496940"/>
                    <a:gd name="connsiteX60" fmla="*/ 2697502 w 4519987"/>
                    <a:gd name="connsiteY60" fmla="*/ 4429125 h 4496940"/>
                    <a:gd name="connsiteX61" fmla="*/ 2640352 w 4519987"/>
                    <a:gd name="connsiteY61" fmla="*/ 4457700 h 4496940"/>
                    <a:gd name="connsiteX62" fmla="*/ 2583202 w 4519987"/>
                    <a:gd name="connsiteY62" fmla="*/ 4467225 h 4496940"/>
                    <a:gd name="connsiteX63" fmla="*/ 2545102 w 4519987"/>
                    <a:gd name="connsiteY63" fmla="*/ 4486275 h 4496940"/>
                    <a:gd name="connsiteX64" fmla="*/ 2306977 w 4519987"/>
                    <a:gd name="connsiteY64" fmla="*/ 4476750 h 4496940"/>
                    <a:gd name="connsiteX65" fmla="*/ 2202202 w 4519987"/>
                    <a:gd name="connsiteY65" fmla="*/ 4457700 h 4496940"/>
                    <a:gd name="connsiteX66" fmla="*/ 2126002 w 4519987"/>
                    <a:gd name="connsiteY66" fmla="*/ 4429125 h 4496940"/>
                    <a:gd name="connsiteX67" fmla="*/ 1935502 w 4519987"/>
                    <a:gd name="connsiteY67" fmla="*/ 4400550 h 4496940"/>
                    <a:gd name="connsiteX68" fmla="*/ 1821202 w 4519987"/>
                    <a:gd name="connsiteY68" fmla="*/ 4371975 h 4496940"/>
                    <a:gd name="connsiteX69" fmla="*/ 1754527 w 4519987"/>
                    <a:gd name="connsiteY69" fmla="*/ 4352925 h 4496940"/>
                    <a:gd name="connsiteX70" fmla="*/ 1687852 w 4519987"/>
                    <a:gd name="connsiteY70" fmla="*/ 4343400 h 4496940"/>
                    <a:gd name="connsiteX71" fmla="*/ 1573552 w 4519987"/>
                    <a:gd name="connsiteY71" fmla="*/ 4305300 h 4496940"/>
                    <a:gd name="connsiteX72" fmla="*/ 1402102 w 4519987"/>
                    <a:gd name="connsiteY72" fmla="*/ 4276725 h 4496940"/>
                    <a:gd name="connsiteX73" fmla="*/ 1287802 w 4519987"/>
                    <a:gd name="connsiteY73" fmla="*/ 4229100 h 4496940"/>
                    <a:gd name="connsiteX74" fmla="*/ 1221127 w 4519987"/>
                    <a:gd name="connsiteY74" fmla="*/ 4200525 h 4496940"/>
                    <a:gd name="connsiteX75" fmla="*/ 1144927 w 4519987"/>
                    <a:gd name="connsiteY75" fmla="*/ 4171950 h 4496940"/>
                    <a:gd name="connsiteX76" fmla="*/ 1087777 w 4519987"/>
                    <a:gd name="connsiteY76" fmla="*/ 4143375 h 4496940"/>
                    <a:gd name="connsiteX77" fmla="*/ 1030627 w 4519987"/>
                    <a:gd name="connsiteY77" fmla="*/ 4124325 h 4496940"/>
                    <a:gd name="connsiteX78" fmla="*/ 925852 w 4519987"/>
                    <a:gd name="connsiteY78" fmla="*/ 4067175 h 4496940"/>
                    <a:gd name="connsiteX79" fmla="*/ 830602 w 4519987"/>
                    <a:gd name="connsiteY79" fmla="*/ 3981450 h 4496940"/>
                    <a:gd name="connsiteX80" fmla="*/ 763927 w 4519987"/>
                    <a:gd name="connsiteY80" fmla="*/ 3914775 h 4496940"/>
                    <a:gd name="connsiteX81" fmla="*/ 725827 w 4519987"/>
                    <a:gd name="connsiteY81" fmla="*/ 3876675 h 4496940"/>
                    <a:gd name="connsiteX82" fmla="*/ 697252 w 4519987"/>
                    <a:gd name="connsiteY82" fmla="*/ 3838575 h 4496940"/>
                    <a:gd name="connsiteX83" fmla="*/ 640102 w 4519987"/>
                    <a:gd name="connsiteY83" fmla="*/ 3781425 h 4496940"/>
                    <a:gd name="connsiteX84" fmla="*/ 611527 w 4519987"/>
                    <a:gd name="connsiteY84" fmla="*/ 3733800 h 4496940"/>
                    <a:gd name="connsiteX85" fmla="*/ 554377 w 4519987"/>
                    <a:gd name="connsiteY85" fmla="*/ 3657600 h 4496940"/>
                    <a:gd name="connsiteX86" fmla="*/ 525802 w 4519987"/>
                    <a:gd name="connsiteY86" fmla="*/ 3609975 h 4496940"/>
                    <a:gd name="connsiteX87" fmla="*/ 497227 w 4519987"/>
                    <a:gd name="connsiteY87" fmla="*/ 3552825 h 4496940"/>
                    <a:gd name="connsiteX88" fmla="*/ 440077 w 4519987"/>
                    <a:gd name="connsiteY88" fmla="*/ 3495675 h 4496940"/>
                    <a:gd name="connsiteX89" fmla="*/ 411502 w 4519987"/>
                    <a:gd name="connsiteY89" fmla="*/ 3448050 h 4496940"/>
                    <a:gd name="connsiteX90" fmla="*/ 278152 w 4519987"/>
                    <a:gd name="connsiteY90" fmla="*/ 3257550 h 4496940"/>
                    <a:gd name="connsiteX91" fmla="*/ 249577 w 4519987"/>
                    <a:gd name="connsiteY91" fmla="*/ 3200400 h 4496940"/>
                    <a:gd name="connsiteX92" fmla="*/ 240052 w 4519987"/>
                    <a:gd name="connsiteY92" fmla="*/ 3162300 h 4496940"/>
                    <a:gd name="connsiteX93" fmla="*/ 221002 w 4519987"/>
                    <a:gd name="connsiteY93" fmla="*/ 3105150 h 4496940"/>
                    <a:gd name="connsiteX94" fmla="*/ 173377 w 4519987"/>
                    <a:gd name="connsiteY94" fmla="*/ 3019425 h 4496940"/>
                    <a:gd name="connsiteX95" fmla="*/ 144802 w 4519987"/>
                    <a:gd name="connsiteY95" fmla="*/ 2924175 h 4496940"/>
                    <a:gd name="connsiteX96" fmla="*/ 68602 w 4519987"/>
                    <a:gd name="connsiteY96" fmla="*/ 2724150 h 4496940"/>
                    <a:gd name="connsiteX97" fmla="*/ 49552 w 4519987"/>
                    <a:gd name="connsiteY97" fmla="*/ 2638425 h 4496940"/>
                    <a:gd name="connsiteX98" fmla="*/ 40027 w 4519987"/>
                    <a:gd name="connsiteY98" fmla="*/ 2562225 h 4496940"/>
                    <a:gd name="connsiteX99" fmla="*/ 30502 w 4519987"/>
                    <a:gd name="connsiteY99" fmla="*/ 2514600 h 4496940"/>
                    <a:gd name="connsiteX100" fmla="*/ 11452 w 4519987"/>
                    <a:gd name="connsiteY100" fmla="*/ 2400300 h 4496940"/>
                    <a:gd name="connsiteX101" fmla="*/ 20977 w 4519987"/>
                    <a:gd name="connsiteY101" fmla="*/ 1905000 h 4496940"/>
                    <a:gd name="connsiteX102" fmla="*/ 30502 w 4519987"/>
                    <a:gd name="connsiteY102" fmla="*/ 1838325 h 4496940"/>
                    <a:gd name="connsiteX103" fmla="*/ 49552 w 4519987"/>
                    <a:gd name="connsiteY103" fmla="*/ 1781175 h 4496940"/>
                    <a:gd name="connsiteX104" fmla="*/ 59077 w 4519987"/>
                    <a:gd name="connsiteY104" fmla="*/ 1743075 h 4496940"/>
                    <a:gd name="connsiteX105" fmla="*/ 78127 w 4519987"/>
                    <a:gd name="connsiteY105" fmla="*/ 1685925 h 4496940"/>
                    <a:gd name="connsiteX106" fmla="*/ 87652 w 4519987"/>
                    <a:gd name="connsiteY106" fmla="*/ 1638300 h 4496940"/>
                    <a:gd name="connsiteX107" fmla="*/ 106702 w 4519987"/>
                    <a:gd name="connsiteY107" fmla="*/ 1590675 h 4496940"/>
                    <a:gd name="connsiteX108" fmla="*/ 135277 w 4519987"/>
                    <a:gd name="connsiteY108" fmla="*/ 1504950 h 4496940"/>
                    <a:gd name="connsiteX109" fmla="*/ 154327 w 4519987"/>
                    <a:gd name="connsiteY109" fmla="*/ 1419225 h 4496940"/>
                    <a:gd name="connsiteX110" fmla="*/ 230527 w 4519987"/>
                    <a:gd name="connsiteY110" fmla="*/ 1276350 h 4496940"/>
                    <a:gd name="connsiteX111" fmla="*/ 240052 w 4519987"/>
                    <a:gd name="connsiteY111" fmla="*/ 1247775 h 4496940"/>
                    <a:gd name="connsiteX112" fmla="*/ 268627 w 4519987"/>
                    <a:gd name="connsiteY112" fmla="*/ 1200150 h 4496940"/>
                    <a:gd name="connsiteX113" fmla="*/ 287677 w 4519987"/>
                    <a:gd name="connsiteY113" fmla="*/ 1152525 h 4496940"/>
                    <a:gd name="connsiteX114" fmla="*/ 316252 w 4519987"/>
                    <a:gd name="connsiteY114" fmla="*/ 1114425 h 4496940"/>
                    <a:gd name="connsiteX115" fmla="*/ 363877 w 4519987"/>
                    <a:gd name="connsiteY115" fmla="*/ 1038225 h 4496940"/>
                    <a:gd name="connsiteX116" fmla="*/ 382927 w 4519987"/>
                    <a:gd name="connsiteY116" fmla="*/ 1009650 h 4496940"/>
                    <a:gd name="connsiteX117" fmla="*/ 440077 w 4519987"/>
                    <a:gd name="connsiteY117" fmla="*/ 904875 h 4496940"/>
                    <a:gd name="connsiteX118" fmla="*/ 478177 w 4519987"/>
                    <a:gd name="connsiteY118" fmla="*/ 857250 h 4496940"/>
                    <a:gd name="connsiteX119" fmla="*/ 497227 w 4519987"/>
                    <a:gd name="connsiteY119" fmla="*/ 828675 h 4496940"/>
                    <a:gd name="connsiteX120" fmla="*/ 535327 w 4519987"/>
                    <a:gd name="connsiteY120" fmla="*/ 800100 h 4496940"/>
                    <a:gd name="connsiteX121" fmla="*/ 602002 w 4519987"/>
                    <a:gd name="connsiteY121" fmla="*/ 733425 h 4496940"/>
                    <a:gd name="connsiteX122" fmla="*/ 668677 w 4519987"/>
                    <a:gd name="connsiteY122" fmla="*/ 676275 h 4496940"/>
                    <a:gd name="connsiteX123" fmla="*/ 697252 w 4519987"/>
                    <a:gd name="connsiteY123" fmla="*/ 657225 h 4496940"/>
                    <a:gd name="connsiteX124" fmla="*/ 840127 w 4519987"/>
                    <a:gd name="connsiteY124" fmla="*/ 533400 h 4496940"/>
                    <a:gd name="connsiteX125" fmla="*/ 887752 w 4519987"/>
                    <a:gd name="connsiteY125" fmla="*/ 504825 h 4496940"/>
                    <a:gd name="connsiteX126" fmla="*/ 1167152 w 4519987"/>
                    <a:gd name="connsiteY126" fmla="*/ 311150 h 4496940"/>
                    <a:gd name="connsiteX127" fmla="*/ 1268752 w 4519987"/>
                    <a:gd name="connsiteY127" fmla="*/ 285750 h 4496940"/>
                    <a:gd name="connsiteX128" fmla="*/ 1411627 w 4519987"/>
                    <a:gd name="connsiteY128" fmla="*/ 190500 h 4496940"/>
                    <a:gd name="connsiteX129" fmla="*/ 1449727 w 4519987"/>
                    <a:gd name="connsiteY129" fmla="*/ 161925 h 4496940"/>
                    <a:gd name="connsiteX130" fmla="*/ 1525927 w 4519987"/>
                    <a:gd name="connsiteY130" fmla="*/ 152400 h 4496940"/>
                    <a:gd name="connsiteX131" fmla="*/ 1583077 w 4519987"/>
                    <a:gd name="connsiteY131" fmla="*/ 142875 h 4496940"/>
                    <a:gd name="connsiteX132" fmla="*/ 1716427 w 4519987"/>
                    <a:gd name="connsiteY132" fmla="*/ 123825 h 4496940"/>
                    <a:gd name="connsiteX133" fmla="*/ 1811677 w 4519987"/>
                    <a:gd name="connsiteY133" fmla="*/ 114300 h 4496940"/>
                    <a:gd name="connsiteX134" fmla="*/ 1859302 w 4519987"/>
                    <a:gd name="connsiteY134" fmla="*/ 104775 h 4496940"/>
                    <a:gd name="connsiteX135" fmla="*/ 1916452 w 4519987"/>
                    <a:gd name="connsiteY135" fmla="*/ 95250 h 4496940"/>
                    <a:gd name="connsiteX136" fmla="*/ 2030752 w 4519987"/>
                    <a:gd name="connsiteY136" fmla="*/ 66675 h 4496940"/>
                    <a:gd name="connsiteX137" fmla="*/ 2097427 w 4519987"/>
                    <a:gd name="connsiteY137" fmla="*/ 47625 h 4496940"/>
                    <a:gd name="connsiteX138" fmla="*/ 2164102 w 4519987"/>
                    <a:gd name="connsiteY138" fmla="*/ 38100 h 4496940"/>
                    <a:gd name="connsiteX139" fmla="*/ 2392702 w 4519987"/>
                    <a:gd name="connsiteY13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83377 w 4519987"/>
                    <a:gd name="connsiteY37" fmla="*/ 3629025 h 4496940"/>
                    <a:gd name="connsiteX38" fmla="*/ 3954802 w 4519987"/>
                    <a:gd name="connsiteY38" fmla="*/ 3648075 h 4496940"/>
                    <a:gd name="connsiteX39" fmla="*/ 3907177 w 4519987"/>
                    <a:gd name="connsiteY39" fmla="*/ 3686175 h 4496940"/>
                    <a:gd name="connsiteX40" fmla="*/ 3869077 w 4519987"/>
                    <a:gd name="connsiteY40" fmla="*/ 3724275 h 4496940"/>
                    <a:gd name="connsiteX41" fmla="*/ 3792877 w 4519987"/>
                    <a:gd name="connsiteY41" fmla="*/ 3781425 h 4496940"/>
                    <a:gd name="connsiteX42" fmla="*/ 3783352 w 4519987"/>
                    <a:gd name="connsiteY42" fmla="*/ 3810000 h 4496940"/>
                    <a:gd name="connsiteX43" fmla="*/ 3745252 w 4519987"/>
                    <a:gd name="connsiteY43" fmla="*/ 3819525 h 4496940"/>
                    <a:gd name="connsiteX44" fmla="*/ 3678577 w 4519987"/>
                    <a:gd name="connsiteY44" fmla="*/ 3848100 h 4496940"/>
                    <a:gd name="connsiteX45" fmla="*/ 3659527 w 4519987"/>
                    <a:gd name="connsiteY45" fmla="*/ 3971925 h 4496940"/>
                    <a:gd name="connsiteX46" fmla="*/ 3630952 w 4519987"/>
                    <a:gd name="connsiteY46" fmla="*/ 4010025 h 4496940"/>
                    <a:gd name="connsiteX47" fmla="*/ 3621427 w 4519987"/>
                    <a:gd name="connsiteY47" fmla="*/ 4038600 h 4496940"/>
                    <a:gd name="connsiteX48" fmla="*/ 3554752 w 4519987"/>
                    <a:gd name="connsiteY48" fmla="*/ 4095750 h 4496940"/>
                    <a:gd name="connsiteX49" fmla="*/ 3516652 w 4519987"/>
                    <a:gd name="connsiteY49" fmla="*/ 4114800 h 4496940"/>
                    <a:gd name="connsiteX50" fmla="*/ 3497602 w 4519987"/>
                    <a:gd name="connsiteY50" fmla="*/ 4143375 h 4496940"/>
                    <a:gd name="connsiteX51" fmla="*/ 3383302 w 4519987"/>
                    <a:gd name="connsiteY51" fmla="*/ 4210050 h 4496940"/>
                    <a:gd name="connsiteX52" fmla="*/ 3335677 w 4519987"/>
                    <a:gd name="connsiteY52" fmla="*/ 4238625 h 4496940"/>
                    <a:gd name="connsiteX53" fmla="*/ 3288052 w 4519987"/>
                    <a:gd name="connsiteY53" fmla="*/ 4248150 h 4496940"/>
                    <a:gd name="connsiteX54" fmla="*/ 3240427 w 4519987"/>
                    <a:gd name="connsiteY54" fmla="*/ 4267200 h 4496940"/>
                    <a:gd name="connsiteX55" fmla="*/ 3068977 w 4519987"/>
                    <a:gd name="connsiteY55" fmla="*/ 4286250 h 4496940"/>
                    <a:gd name="connsiteX56" fmla="*/ 2935627 w 4519987"/>
                    <a:gd name="connsiteY56" fmla="*/ 4333875 h 4496940"/>
                    <a:gd name="connsiteX57" fmla="*/ 2811802 w 4519987"/>
                    <a:gd name="connsiteY57" fmla="*/ 4371975 h 4496940"/>
                    <a:gd name="connsiteX58" fmla="*/ 2745127 w 4519987"/>
                    <a:gd name="connsiteY58" fmla="*/ 4410075 h 4496940"/>
                    <a:gd name="connsiteX59" fmla="*/ 2697502 w 4519987"/>
                    <a:gd name="connsiteY59" fmla="*/ 4429125 h 4496940"/>
                    <a:gd name="connsiteX60" fmla="*/ 2640352 w 4519987"/>
                    <a:gd name="connsiteY60" fmla="*/ 4457700 h 4496940"/>
                    <a:gd name="connsiteX61" fmla="*/ 2583202 w 4519987"/>
                    <a:gd name="connsiteY61" fmla="*/ 4467225 h 4496940"/>
                    <a:gd name="connsiteX62" fmla="*/ 2545102 w 4519987"/>
                    <a:gd name="connsiteY62" fmla="*/ 4486275 h 4496940"/>
                    <a:gd name="connsiteX63" fmla="*/ 2306977 w 4519987"/>
                    <a:gd name="connsiteY63" fmla="*/ 4476750 h 4496940"/>
                    <a:gd name="connsiteX64" fmla="*/ 2202202 w 4519987"/>
                    <a:gd name="connsiteY64" fmla="*/ 4457700 h 4496940"/>
                    <a:gd name="connsiteX65" fmla="*/ 2126002 w 4519987"/>
                    <a:gd name="connsiteY65" fmla="*/ 4429125 h 4496940"/>
                    <a:gd name="connsiteX66" fmla="*/ 1935502 w 4519987"/>
                    <a:gd name="connsiteY66" fmla="*/ 4400550 h 4496940"/>
                    <a:gd name="connsiteX67" fmla="*/ 1821202 w 4519987"/>
                    <a:gd name="connsiteY67" fmla="*/ 4371975 h 4496940"/>
                    <a:gd name="connsiteX68" fmla="*/ 1754527 w 4519987"/>
                    <a:gd name="connsiteY68" fmla="*/ 4352925 h 4496940"/>
                    <a:gd name="connsiteX69" fmla="*/ 1687852 w 4519987"/>
                    <a:gd name="connsiteY69" fmla="*/ 4343400 h 4496940"/>
                    <a:gd name="connsiteX70" fmla="*/ 1573552 w 4519987"/>
                    <a:gd name="connsiteY70" fmla="*/ 4305300 h 4496940"/>
                    <a:gd name="connsiteX71" fmla="*/ 1402102 w 4519987"/>
                    <a:gd name="connsiteY71" fmla="*/ 4276725 h 4496940"/>
                    <a:gd name="connsiteX72" fmla="*/ 1287802 w 4519987"/>
                    <a:gd name="connsiteY72" fmla="*/ 4229100 h 4496940"/>
                    <a:gd name="connsiteX73" fmla="*/ 1221127 w 4519987"/>
                    <a:gd name="connsiteY73" fmla="*/ 4200525 h 4496940"/>
                    <a:gd name="connsiteX74" fmla="*/ 1144927 w 4519987"/>
                    <a:gd name="connsiteY74" fmla="*/ 4171950 h 4496940"/>
                    <a:gd name="connsiteX75" fmla="*/ 1087777 w 4519987"/>
                    <a:gd name="connsiteY75" fmla="*/ 4143375 h 4496940"/>
                    <a:gd name="connsiteX76" fmla="*/ 1030627 w 4519987"/>
                    <a:gd name="connsiteY76" fmla="*/ 4124325 h 4496940"/>
                    <a:gd name="connsiteX77" fmla="*/ 925852 w 4519987"/>
                    <a:gd name="connsiteY77" fmla="*/ 4067175 h 4496940"/>
                    <a:gd name="connsiteX78" fmla="*/ 830602 w 4519987"/>
                    <a:gd name="connsiteY78" fmla="*/ 3981450 h 4496940"/>
                    <a:gd name="connsiteX79" fmla="*/ 763927 w 4519987"/>
                    <a:gd name="connsiteY79" fmla="*/ 3914775 h 4496940"/>
                    <a:gd name="connsiteX80" fmla="*/ 725827 w 4519987"/>
                    <a:gd name="connsiteY80" fmla="*/ 3876675 h 4496940"/>
                    <a:gd name="connsiteX81" fmla="*/ 697252 w 4519987"/>
                    <a:gd name="connsiteY81" fmla="*/ 3838575 h 4496940"/>
                    <a:gd name="connsiteX82" fmla="*/ 640102 w 4519987"/>
                    <a:gd name="connsiteY82" fmla="*/ 3781425 h 4496940"/>
                    <a:gd name="connsiteX83" fmla="*/ 611527 w 4519987"/>
                    <a:gd name="connsiteY83" fmla="*/ 3733800 h 4496940"/>
                    <a:gd name="connsiteX84" fmla="*/ 554377 w 4519987"/>
                    <a:gd name="connsiteY84" fmla="*/ 3657600 h 4496940"/>
                    <a:gd name="connsiteX85" fmla="*/ 525802 w 4519987"/>
                    <a:gd name="connsiteY85" fmla="*/ 3609975 h 4496940"/>
                    <a:gd name="connsiteX86" fmla="*/ 497227 w 4519987"/>
                    <a:gd name="connsiteY86" fmla="*/ 3552825 h 4496940"/>
                    <a:gd name="connsiteX87" fmla="*/ 440077 w 4519987"/>
                    <a:gd name="connsiteY87" fmla="*/ 3495675 h 4496940"/>
                    <a:gd name="connsiteX88" fmla="*/ 411502 w 4519987"/>
                    <a:gd name="connsiteY88" fmla="*/ 3448050 h 4496940"/>
                    <a:gd name="connsiteX89" fmla="*/ 278152 w 4519987"/>
                    <a:gd name="connsiteY89" fmla="*/ 3257550 h 4496940"/>
                    <a:gd name="connsiteX90" fmla="*/ 249577 w 4519987"/>
                    <a:gd name="connsiteY90" fmla="*/ 3200400 h 4496940"/>
                    <a:gd name="connsiteX91" fmla="*/ 240052 w 4519987"/>
                    <a:gd name="connsiteY91" fmla="*/ 3162300 h 4496940"/>
                    <a:gd name="connsiteX92" fmla="*/ 221002 w 4519987"/>
                    <a:gd name="connsiteY92" fmla="*/ 3105150 h 4496940"/>
                    <a:gd name="connsiteX93" fmla="*/ 173377 w 4519987"/>
                    <a:gd name="connsiteY93" fmla="*/ 3019425 h 4496940"/>
                    <a:gd name="connsiteX94" fmla="*/ 144802 w 4519987"/>
                    <a:gd name="connsiteY94" fmla="*/ 2924175 h 4496940"/>
                    <a:gd name="connsiteX95" fmla="*/ 68602 w 4519987"/>
                    <a:gd name="connsiteY95" fmla="*/ 2724150 h 4496940"/>
                    <a:gd name="connsiteX96" fmla="*/ 49552 w 4519987"/>
                    <a:gd name="connsiteY96" fmla="*/ 2638425 h 4496940"/>
                    <a:gd name="connsiteX97" fmla="*/ 40027 w 4519987"/>
                    <a:gd name="connsiteY97" fmla="*/ 2562225 h 4496940"/>
                    <a:gd name="connsiteX98" fmla="*/ 30502 w 4519987"/>
                    <a:gd name="connsiteY98" fmla="*/ 2514600 h 4496940"/>
                    <a:gd name="connsiteX99" fmla="*/ 11452 w 4519987"/>
                    <a:gd name="connsiteY99" fmla="*/ 2400300 h 4496940"/>
                    <a:gd name="connsiteX100" fmla="*/ 20977 w 4519987"/>
                    <a:gd name="connsiteY100" fmla="*/ 1905000 h 4496940"/>
                    <a:gd name="connsiteX101" fmla="*/ 30502 w 4519987"/>
                    <a:gd name="connsiteY101" fmla="*/ 1838325 h 4496940"/>
                    <a:gd name="connsiteX102" fmla="*/ 49552 w 4519987"/>
                    <a:gd name="connsiteY102" fmla="*/ 1781175 h 4496940"/>
                    <a:gd name="connsiteX103" fmla="*/ 59077 w 4519987"/>
                    <a:gd name="connsiteY103" fmla="*/ 1743075 h 4496940"/>
                    <a:gd name="connsiteX104" fmla="*/ 78127 w 4519987"/>
                    <a:gd name="connsiteY104" fmla="*/ 1685925 h 4496940"/>
                    <a:gd name="connsiteX105" fmla="*/ 87652 w 4519987"/>
                    <a:gd name="connsiteY105" fmla="*/ 1638300 h 4496940"/>
                    <a:gd name="connsiteX106" fmla="*/ 106702 w 4519987"/>
                    <a:gd name="connsiteY106" fmla="*/ 1590675 h 4496940"/>
                    <a:gd name="connsiteX107" fmla="*/ 135277 w 4519987"/>
                    <a:gd name="connsiteY107" fmla="*/ 1504950 h 4496940"/>
                    <a:gd name="connsiteX108" fmla="*/ 154327 w 4519987"/>
                    <a:gd name="connsiteY108" fmla="*/ 1419225 h 4496940"/>
                    <a:gd name="connsiteX109" fmla="*/ 230527 w 4519987"/>
                    <a:gd name="connsiteY109" fmla="*/ 1276350 h 4496940"/>
                    <a:gd name="connsiteX110" fmla="*/ 240052 w 4519987"/>
                    <a:gd name="connsiteY110" fmla="*/ 1247775 h 4496940"/>
                    <a:gd name="connsiteX111" fmla="*/ 268627 w 4519987"/>
                    <a:gd name="connsiteY111" fmla="*/ 1200150 h 4496940"/>
                    <a:gd name="connsiteX112" fmla="*/ 287677 w 4519987"/>
                    <a:gd name="connsiteY112" fmla="*/ 1152525 h 4496940"/>
                    <a:gd name="connsiteX113" fmla="*/ 316252 w 4519987"/>
                    <a:gd name="connsiteY113" fmla="*/ 1114425 h 4496940"/>
                    <a:gd name="connsiteX114" fmla="*/ 363877 w 4519987"/>
                    <a:gd name="connsiteY114" fmla="*/ 1038225 h 4496940"/>
                    <a:gd name="connsiteX115" fmla="*/ 382927 w 4519987"/>
                    <a:gd name="connsiteY115" fmla="*/ 1009650 h 4496940"/>
                    <a:gd name="connsiteX116" fmla="*/ 440077 w 4519987"/>
                    <a:gd name="connsiteY116" fmla="*/ 904875 h 4496940"/>
                    <a:gd name="connsiteX117" fmla="*/ 478177 w 4519987"/>
                    <a:gd name="connsiteY117" fmla="*/ 857250 h 4496940"/>
                    <a:gd name="connsiteX118" fmla="*/ 497227 w 4519987"/>
                    <a:gd name="connsiteY118" fmla="*/ 828675 h 4496940"/>
                    <a:gd name="connsiteX119" fmla="*/ 535327 w 4519987"/>
                    <a:gd name="connsiteY119" fmla="*/ 800100 h 4496940"/>
                    <a:gd name="connsiteX120" fmla="*/ 602002 w 4519987"/>
                    <a:gd name="connsiteY120" fmla="*/ 733425 h 4496940"/>
                    <a:gd name="connsiteX121" fmla="*/ 668677 w 4519987"/>
                    <a:gd name="connsiteY121" fmla="*/ 676275 h 4496940"/>
                    <a:gd name="connsiteX122" fmla="*/ 697252 w 4519987"/>
                    <a:gd name="connsiteY122" fmla="*/ 657225 h 4496940"/>
                    <a:gd name="connsiteX123" fmla="*/ 840127 w 4519987"/>
                    <a:gd name="connsiteY123" fmla="*/ 533400 h 4496940"/>
                    <a:gd name="connsiteX124" fmla="*/ 887752 w 4519987"/>
                    <a:gd name="connsiteY124" fmla="*/ 504825 h 4496940"/>
                    <a:gd name="connsiteX125" fmla="*/ 1167152 w 4519987"/>
                    <a:gd name="connsiteY125" fmla="*/ 311150 h 4496940"/>
                    <a:gd name="connsiteX126" fmla="*/ 1268752 w 4519987"/>
                    <a:gd name="connsiteY126" fmla="*/ 285750 h 4496940"/>
                    <a:gd name="connsiteX127" fmla="*/ 1411627 w 4519987"/>
                    <a:gd name="connsiteY127" fmla="*/ 190500 h 4496940"/>
                    <a:gd name="connsiteX128" fmla="*/ 1449727 w 4519987"/>
                    <a:gd name="connsiteY128" fmla="*/ 161925 h 4496940"/>
                    <a:gd name="connsiteX129" fmla="*/ 1525927 w 4519987"/>
                    <a:gd name="connsiteY129" fmla="*/ 152400 h 4496940"/>
                    <a:gd name="connsiteX130" fmla="*/ 1583077 w 4519987"/>
                    <a:gd name="connsiteY130" fmla="*/ 142875 h 4496940"/>
                    <a:gd name="connsiteX131" fmla="*/ 1716427 w 4519987"/>
                    <a:gd name="connsiteY131" fmla="*/ 123825 h 4496940"/>
                    <a:gd name="connsiteX132" fmla="*/ 1811677 w 4519987"/>
                    <a:gd name="connsiteY132" fmla="*/ 114300 h 4496940"/>
                    <a:gd name="connsiteX133" fmla="*/ 1859302 w 4519987"/>
                    <a:gd name="connsiteY133" fmla="*/ 104775 h 4496940"/>
                    <a:gd name="connsiteX134" fmla="*/ 1916452 w 4519987"/>
                    <a:gd name="connsiteY134" fmla="*/ 95250 h 4496940"/>
                    <a:gd name="connsiteX135" fmla="*/ 2030752 w 4519987"/>
                    <a:gd name="connsiteY135" fmla="*/ 66675 h 4496940"/>
                    <a:gd name="connsiteX136" fmla="*/ 2097427 w 4519987"/>
                    <a:gd name="connsiteY136" fmla="*/ 47625 h 4496940"/>
                    <a:gd name="connsiteX137" fmla="*/ 2164102 w 4519987"/>
                    <a:gd name="connsiteY137" fmla="*/ 38100 h 4496940"/>
                    <a:gd name="connsiteX138" fmla="*/ 2392702 w 4519987"/>
                    <a:gd name="connsiteY13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869077 w 4519987"/>
                    <a:gd name="connsiteY39" fmla="*/ 3724275 h 4496940"/>
                    <a:gd name="connsiteX40" fmla="*/ 3792877 w 4519987"/>
                    <a:gd name="connsiteY40" fmla="*/ 3781425 h 4496940"/>
                    <a:gd name="connsiteX41" fmla="*/ 3783352 w 4519987"/>
                    <a:gd name="connsiteY41" fmla="*/ 3810000 h 4496940"/>
                    <a:gd name="connsiteX42" fmla="*/ 3745252 w 4519987"/>
                    <a:gd name="connsiteY42" fmla="*/ 3819525 h 4496940"/>
                    <a:gd name="connsiteX43" fmla="*/ 3678577 w 4519987"/>
                    <a:gd name="connsiteY43" fmla="*/ 3848100 h 4496940"/>
                    <a:gd name="connsiteX44" fmla="*/ 3659527 w 4519987"/>
                    <a:gd name="connsiteY44" fmla="*/ 3971925 h 4496940"/>
                    <a:gd name="connsiteX45" fmla="*/ 3630952 w 4519987"/>
                    <a:gd name="connsiteY45" fmla="*/ 4010025 h 4496940"/>
                    <a:gd name="connsiteX46" fmla="*/ 3621427 w 4519987"/>
                    <a:gd name="connsiteY46" fmla="*/ 4038600 h 4496940"/>
                    <a:gd name="connsiteX47" fmla="*/ 3554752 w 4519987"/>
                    <a:gd name="connsiteY47" fmla="*/ 4095750 h 4496940"/>
                    <a:gd name="connsiteX48" fmla="*/ 3516652 w 4519987"/>
                    <a:gd name="connsiteY48" fmla="*/ 4114800 h 4496940"/>
                    <a:gd name="connsiteX49" fmla="*/ 3497602 w 4519987"/>
                    <a:gd name="connsiteY49" fmla="*/ 4143375 h 4496940"/>
                    <a:gd name="connsiteX50" fmla="*/ 3383302 w 4519987"/>
                    <a:gd name="connsiteY50" fmla="*/ 4210050 h 4496940"/>
                    <a:gd name="connsiteX51" fmla="*/ 3335677 w 4519987"/>
                    <a:gd name="connsiteY51" fmla="*/ 4238625 h 4496940"/>
                    <a:gd name="connsiteX52" fmla="*/ 3288052 w 4519987"/>
                    <a:gd name="connsiteY52" fmla="*/ 4248150 h 4496940"/>
                    <a:gd name="connsiteX53" fmla="*/ 3240427 w 4519987"/>
                    <a:gd name="connsiteY53" fmla="*/ 4267200 h 4496940"/>
                    <a:gd name="connsiteX54" fmla="*/ 3068977 w 4519987"/>
                    <a:gd name="connsiteY54" fmla="*/ 4286250 h 4496940"/>
                    <a:gd name="connsiteX55" fmla="*/ 2935627 w 4519987"/>
                    <a:gd name="connsiteY55" fmla="*/ 4333875 h 4496940"/>
                    <a:gd name="connsiteX56" fmla="*/ 2811802 w 4519987"/>
                    <a:gd name="connsiteY56" fmla="*/ 4371975 h 4496940"/>
                    <a:gd name="connsiteX57" fmla="*/ 2745127 w 4519987"/>
                    <a:gd name="connsiteY57" fmla="*/ 4410075 h 4496940"/>
                    <a:gd name="connsiteX58" fmla="*/ 2697502 w 4519987"/>
                    <a:gd name="connsiteY58" fmla="*/ 4429125 h 4496940"/>
                    <a:gd name="connsiteX59" fmla="*/ 2640352 w 4519987"/>
                    <a:gd name="connsiteY59" fmla="*/ 4457700 h 4496940"/>
                    <a:gd name="connsiteX60" fmla="*/ 2583202 w 4519987"/>
                    <a:gd name="connsiteY60" fmla="*/ 4467225 h 4496940"/>
                    <a:gd name="connsiteX61" fmla="*/ 2545102 w 4519987"/>
                    <a:gd name="connsiteY61" fmla="*/ 4486275 h 4496940"/>
                    <a:gd name="connsiteX62" fmla="*/ 2306977 w 4519987"/>
                    <a:gd name="connsiteY62" fmla="*/ 4476750 h 4496940"/>
                    <a:gd name="connsiteX63" fmla="*/ 2202202 w 4519987"/>
                    <a:gd name="connsiteY63" fmla="*/ 4457700 h 4496940"/>
                    <a:gd name="connsiteX64" fmla="*/ 2126002 w 4519987"/>
                    <a:gd name="connsiteY64" fmla="*/ 4429125 h 4496940"/>
                    <a:gd name="connsiteX65" fmla="*/ 1935502 w 4519987"/>
                    <a:gd name="connsiteY65" fmla="*/ 4400550 h 4496940"/>
                    <a:gd name="connsiteX66" fmla="*/ 1821202 w 4519987"/>
                    <a:gd name="connsiteY66" fmla="*/ 4371975 h 4496940"/>
                    <a:gd name="connsiteX67" fmla="*/ 1754527 w 4519987"/>
                    <a:gd name="connsiteY67" fmla="*/ 4352925 h 4496940"/>
                    <a:gd name="connsiteX68" fmla="*/ 1687852 w 4519987"/>
                    <a:gd name="connsiteY68" fmla="*/ 4343400 h 4496940"/>
                    <a:gd name="connsiteX69" fmla="*/ 1573552 w 4519987"/>
                    <a:gd name="connsiteY69" fmla="*/ 4305300 h 4496940"/>
                    <a:gd name="connsiteX70" fmla="*/ 1402102 w 4519987"/>
                    <a:gd name="connsiteY70" fmla="*/ 4276725 h 4496940"/>
                    <a:gd name="connsiteX71" fmla="*/ 1287802 w 4519987"/>
                    <a:gd name="connsiteY71" fmla="*/ 4229100 h 4496940"/>
                    <a:gd name="connsiteX72" fmla="*/ 1221127 w 4519987"/>
                    <a:gd name="connsiteY72" fmla="*/ 4200525 h 4496940"/>
                    <a:gd name="connsiteX73" fmla="*/ 1144927 w 4519987"/>
                    <a:gd name="connsiteY73" fmla="*/ 4171950 h 4496940"/>
                    <a:gd name="connsiteX74" fmla="*/ 1087777 w 4519987"/>
                    <a:gd name="connsiteY74" fmla="*/ 4143375 h 4496940"/>
                    <a:gd name="connsiteX75" fmla="*/ 1030627 w 4519987"/>
                    <a:gd name="connsiteY75" fmla="*/ 4124325 h 4496940"/>
                    <a:gd name="connsiteX76" fmla="*/ 925852 w 4519987"/>
                    <a:gd name="connsiteY76" fmla="*/ 4067175 h 4496940"/>
                    <a:gd name="connsiteX77" fmla="*/ 830602 w 4519987"/>
                    <a:gd name="connsiteY77" fmla="*/ 3981450 h 4496940"/>
                    <a:gd name="connsiteX78" fmla="*/ 763927 w 4519987"/>
                    <a:gd name="connsiteY78" fmla="*/ 3914775 h 4496940"/>
                    <a:gd name="connsiteX79" fmla="*/ 725827 w 4519987"/>
                    <a:gd name="connsiteY79" fmla="*/ 3876675 h 4496940"/>
                    <a:gd name="connsiteX80" fmla="*/ 697252 w 4519987"/>
                    <a:gd name="connsiteY80" fmla="*/ 3838575 h 4496940"/>
                    <a:gd name="connsiteX81" fmla="*/ 640102 w 4519987"/>
                    <a:gd name="connsiteY81" fmla="*/ 3781425 h 4496940"/>
                    <a:gd name="connsiteX82" fmla="*/ 611527 w 4519987"/>
                    <a:gd name="connsiteY82" fmla="*/ 3733800 h 4496940"/>
                    <a:gd name="connsiteX83" fmla="*/ 554377 w 4519987"/>
                    <a:gd name="connsiteY83" fmla="*/ 3657600 h 4496940"/>
                    <a:gd name="connsiteX84" fmla="*/ 525802 w 4519987"/>
                    <a:gd name="connsiteY84" fmla="*/ 3609975 h 4496940"/>
                    <a:gd name="connsiteX85" fmla="*/ 497227 w 4519987"/>
                    <a:gd name="connsiteY85" fmla="*/ 3552825 h 4496940"/>
                    <a:gd name="connsiteX86" fmla="*/ 440077 w 4519987"/>
                    <a:gd name="connsiteY86" fmla="*/ 3495675 h 4496940"/>
                    <a:gd name="connsiteX87" fmla="*/ 411502 w 4519987"/>
                    <a:gd name="connsiteY87" fmla="*/ 3448050 h 4496940"/>
                    <a:gd name="connsiteX88" fmla="*/ 278152 w 4519987"/>
                    <a:gd name="connsiteY88" fmla="*/ 3257550 h 4496940"/>
                    <a:gd name="connsiteX89" fmla="*/ 249577 w 4519987"/>
                    <a:gd name="connsiteY89" fmla="*/ 3200400 h 4496940"/>
                    <a:gd name="connsiteX90" fmla="*/ 240052 w 4519987"/>
                    <a:gd name="connsiteY90" fmla="*/ 3162300 h 4496940"/>
                    <a:gd name="connsiteX91" fmla="*/ 221002 w 4519987"/>
                    <a:gd name="connsiteY91" fmla="*/ 3105150 h 4496940"/>
                    <a:gd name="connsiteX92" fmla="*/ 173377 w 4519987"/>
                    <a:gd name="connsiteY92" fmla="*/ 3019425 h 4496940"/>
                    <a:gd name="connsiteX93" fmla="*/ 144802 w 4519987"/>
                    <a:gd name="connsiteY93" fmla="*/ 2924175 h 4496940"/>
                    <a:gd name="connsiteX94" fmla="*/ 68602 w 4519987"/>
                    <a:gd name="connsiteY94" fmla="*/ 2724150 h 4496940"/>
                    <a:gd name="connsiteX95" fmla="*/ 49552 w 4519987"/>
                    <a:gd name="connsiteY95" fmla="*/ 2638425 h 4496940"/>
                    <a:gd name="connsiteX96" fmla="*/ 40027 w 4519987"/>
                    <a:gd name="connsiteY96" fmla="*/ 2562225 h 4496940"/>
                    <a:gd name="connsiteX97" fmla="*/ 30502 w 4519987"/>
                    <a:gd name="connsiteY97" fmla="*/ 2514600 h 4496940"/>
                    <a:gd name="connsiteX98" fmla="*/ 11452 w 4519987"/>
                    <a:gd name="connsiteY98" fmla="*/ 2400300 h 4496940"/>
                    <a:gd name="connsiteX99" fmla="*/ 20977 w 4519987"/>
                    <a:gd name="connsiteY99" fmla="*/ 1905000 h 4496940"/>
                    <a:gd name="connsiteX100" fmla="*/ 30502 w 4519987"/>
                    <a:gd name="connsiteY100" fmla="*/ 1838325 h 4496940"/>
                    <a:gd name="connsiteX101" fmla="*/ 49552 w 4519987"/>
                    <a:gd name="connsiteY101" fmla="*/ 1781175 h 4496940"/>
                    <a:gd name="connsiteX102" fmla="*/ 59077 w 4519987"/>
                    <a:gd name="connsiteY102" fmla="*/ 1743075 h 4496940"/>
                    <a:gd name="connsiteX103" fmla="*/ 78127 w 4519987"/>
                    <a:gd name="connsiteY103" fmla="*/ 1685925 h 4496940"/>
                    <a:gd name="connsiteX104" fmla="*/ 87652 w 4519987"/>
                    <a:gd name="connsiteY104" fmla="*/ 1638300 h 4496940"/>
                    <a:gd name="connsiteX105" fmla="*/ 106702 w 4519987"/>
                    <a:gd name="connsiteY105" fmla="*/ 1590675 h 4496940"/>
                    <a:gd name="connsiteX106" fmla="*/ 135277 w 4519987"/>
                    <a:gd name="connsiteY106" fmla="*/ 1504950 h 4496940"/>
                    <a:gd name="connsiteX107" fmla="*/ 154327 w 4519987"/>
                    <a:gd name="connsiteY107" fmla="*/ 1419225 h 4496940"/>
                    <a:gd name="connsiteX108" fmla="*/ 230527 w 4519987"/>
                    <a:gd name="connsiteY108" fmla="*/ 1276350 h 4496940"/>
                    <a:gd name="connsiteX109" fmla="*/ 240052 w 4519987"/>
                    <a:gd name="connsiteY109" fmla="*/ 1247775 h 4496940"/>
                    <a:gd name="connsiteX110" fmla="*/ 268627 w 4519987"/>
                    <a:gd name="connsiteY110" fmla="*/ 1200150 h 4496940"/>
                    <a:gd name="connsiteX111" fmla="*/ 287677 w 4519987"/>
                    <a:gd name="connsiteY111" fmla="*/ 1152525 h 4496940"/>
                    <a:gd name="connsiteX112" fmla="*/ 316252 w 4519987"/>
                    <a:gd name="connsiteY112" fmla="*/ 1114425 h 4496940"/>
                    <a:gd name="connsiteX113" fmla="*/ 363877 w 4519987"/>
                    <a:gd name="connsiteY113" fmla="*/ 1038225 h 4496940"/>
                    <a:gd name="connsiteX114" fmla="*/ 382927 w 4519987"/>
                    <a:gd name="connsiteY114" fmla="*/ 1009650 h 4496940"/>
                    <a:gd name="connsiteX115" fmla="*/ 440077 w 4519987"/>
                    <a:gd name="connsiteY115" fmla="*/ 904875 h 4496940"/>
                    <a:gd name="connsiteX116" fmla="*/ 478177 w 4519987"/>
                    <a:gd name="connsiteY116" fmla="*/ 857250 h 4496940"/>
                    <a:gd name="connsiteX117" fmla="*/ 497227 w 4519987"/>
                    <a:gd name="connsiteY117" fmla="*/ 828675 h 4496940"/>
                    <a:gd name="connsiteX118" fmla="*/ 535327 w 4519987"/>
                    <a:gd name="connsiteY118" fmla="*/ 800100 h 4496940"/>
                    <a:gd name="connsiteX119" fmla="*/ 602002 w 4519987"/>
                    <a:gd name="connsiteY119" fmla="*/ 733425 h 4496940"/>
                    <a:gd name="connsiteX120" fmla="*/ 668677 w 4519987"/>
                    <a:gd name="connsiteY120" fmla="*/ 676275 h 4496940"/>
                    <a:gd name="connsiteX121" fmla="*/ 697252 w 4519987"/>
                    <a:gd name="connsiteY121" fmla="*/ 657225 h 4496940"/>
                    <a:gd name="connsiteX122" fmla="*/ 840127 w 4519987"/>
                    <a:gd name="connsiteY122" fmla="*/ 533400 h 4496940"/>
                    <a:gd name="connsiteX123" fmla="*/ 887752 w 4519987"/>
                    <a:gd name="connsiteY123" fmla="*/ 504825 h 4496940"/>
                    <a:gd name="connsiteX124" fmla="*/ 1167152 w 4519987"/>
                    <a:gd name="connsiteY124" fmla="*/ 311150 h 4496940"/>
                    <a:gd name="connsiteX125" fmla="*/ 1268752 w 4519987"/>
                    <a:gd name="connsiteY125" fmla="*/ 285750 h 4496940"/>
                    <a:gd name="connsiteX126" fmla="*/ 1411627 w 4519987"/>
                    <a:gd name="connsiteY126" fmla="*/ 190500 h 4496940"/>
                    <a:gd name="connsiteX127" fmla="*/ 1449727 w 4519987"/>
                    <a:gd name="connsiteY127" fmla="*/ 161925 h 4496940"/>
                    <a:gd name="connsiteX128" fmla="*/ 1525927 w 4519987"/>
                    <a:gd name="connsiteY128" fmla="*/ 152400 h 4496940"/>
                    <a:gd name="connsiteX129" fmla="*/ 1583077 w 4519987"/>
                    <a:gd name="connsiteY129" fmla="*/ 142875 h 4496940"/>
                    <a:gd name="connsiteX130" fmla="*/ 1716427 w 4519987"/>
                    <a:gd name="connsiteY130" fmla="*/ 123825 h 4496940"/>
                    <a:gd name="connsiteX131" fmla="*/ 1811677 w 4519987"/>
                    <a:gd name="connsiteY131" fmla="*/ 114300 h 4496940"/>
                    <a:gd name="connsiteX132" fmla="*/ 1859302 w 4519987"/>
                    <a:gd name="connsiteY132" fmla="*/ 104775 h 4496940"/>
                    <a:gd name="connsiteX133" fmla="*/ 1916452 w 4519987"/>
                    <a:gd name="connsiteY133" fmla="*/ 95250 h 4496940"/>
                    <a:gd name="connsiteX134" fmla="*/ 2030752 w 4519987"/>
                    <a:gd name="connsiteY134" fmla="*/ 66675 h 4496940"/>
                    <a:gd name="connsiteX135" fmla="*/ 2097427 w 4519987"/>
                    <a:gd name="connsiteY135" fmla="*/ 47625 h 4496940"/>
                    <a:gd name="connsiteX136" fmla="*/ 2164102 w 4519987"/>
                    <a:gd name="connsiteY136" fmla="*/ 38100 h 4496940"/>
                    <a:gd name="connsiteX137" fmla="*/ 2392702 w 4519987"/>
                    <a:gd name="connsiteY13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745252 w 4519987"/>
                    <a:gd name="connsiteY41" fmla="*/ 3819525 h 4496940"/>
                    <a:gd name="connsiteX42" fmla="*/ 3678577 w 4519987"/>
                    <a:gd name="connsiteY42" fmla="*/ 3848100 h 4496940"/>
                    <a:gd name="connsiteX43" fmla="*/ 3659527 w 4519987"/>
                    <a:gd name="connsiteY43" fmla="*/ 3971925 h 4496940"/>
                    <a:gd name="connsiteX44" fmla="*/ 3630952 w 4519987"/>
                    <a:gd name="connsiteY44" fmla="*/ 4010025 h 4496940"/>
                    <a:gd name="connsiteX45" fmla="*/ 3621427 w 4519987"/>
                    <a:gd name="connsiteY45" fmla="*/ 4038600 h 4496940"/>
                    <a:gd name="connsiteX46" fmla="*/ 3554752 w 4519987"/>
                    <a:gd name="connsiteY46" fmla="*/ 4095750 h 4496940"/>
                    <a:gd name="connsiteX47" fmla="*/ 3516652 w 4519987"/>
                    <a:gd name="connsiteY47" fmla="*/ 4114800 h 4496940"/>
                    <a:gd name="connsiteX48" fmla="*/ 3497602 w 4519987"/>
                    <a:gd name="connsiteY48" fmla="*/ 4143375 h 4496940"/>
                    <a:gd name="connsiteX49" fmla="*/ 3383302 w 4519987"/>
                    <a:gd name="connsiteY49" fmla="*/ 4210050 h 4496940"/>
                    <a:gd name="connsiteX50" fmla="*/ 3335677 w 4519987"/>
                    <a:gd name="connsiteY50" fmla="*/ 4238625 h 4496940"/>
                    <a:gd name="connsiteX51" fmla="*/ 3288052 w 4519987"/>
                    <a:gd name="connsiteY51" fmla="*/ 4248150 h 4496940"/>
                    <a:gd name="connsiteX52" fmla="*/ 3240427 w 4519987"/>
                    <a:gd name="connsiteY52" fmla="*/ 4267200 h 4496940"/>
                    <a:gd name="connsiteX53" fmla="*/ 3068977 w 4519987"/>
                    <a:gd name="connsiteY53" fmla="*/ 4286250 h 4496940"/>
                    <a:gd name="connsiteX54" fmla="*/ 2935627 w 4519987"/>
                    <a:gd name="connsiteY54" fmla="*/ 4333875 h 4496940"/>
                    <a:gd name="connsiteX55" fmla="*/ 2811802 w 4519987"/>
                    <a:gd name="connsiteY55" fmla="*/ 4371975 h 4496940"/>
                    <a:gd name="connsiteX56" fmla="*/ 2745127 w 4519987"/>
                    <a:gd name="connsiteY56" fmla="*/ 4410075 h 4496940"/>
                    <a:gd name="connsiteX57" fmla="*/ 2697502 w 4519987"/>
                    <a:gd name="connsiteY57" fmla="*/ 4429125 h 4496940"/>
                    <a:gd name="connsiteX58" fmla="*/ 2640352 w 4519987"/>
                    <a:gd name="connsiteY58" fmla="*/ 4457700 h 4496940"/>
                    <a:gd name="connsiteX59" fmla="*/ 2583202 w 4519987"/>
                    <a:gd name="connsiteY59" fmla="*/ 4467225 h 4496940"/>
                    <a:gd name="connsiteX60" fmla="*/ 2545102 w 4519987"/>
                    <a:gd name="connsiteY60" fmla="*/ 4486275 h 4496940"/>
                    <a:gd name="connsiteX61" fmla="*/ 2306977 w 4519987"/>
                    <a:gd name="connsiteY61" fmla="*/ 4476750 h 4496940"/>
                    <a:gd name="connsiteX62" fmla="*/ 2202202 w 4519987"/>
                    <a:gd name="connsiteY62" fmla="*/ 4457700 h 4496940"/>
                    <a:gd name="connsiteX63" fmla="*/ 2126002 w 4519987"/>
                    <a:gd name="connsiteY63" fmla="*/ 4429125 h 4496940"/>
                    <a:gd name="connsiteX64" fmla="*/ 1935502 w 4519987"/>
                    <a:gd name="connsiteY64" fmla="*/ 4400550 h 4496940"/>
                    <a:gd name="connsiteX65" fmla="*/ 1821202 w 4519987"/>
                    <a:gd name="connsiteY65" fmla="*/ 4371975 h 4496940"/>
                    <a:gd name="connsiteX66" fmla="*/ 1754527 w 4519987"/>
                    <a:gd name="connsiteY66" fmla="*/ 4352925 h 4496940"/>
                    <a:gd name="connsiteX67" fmla="*/ 1687852 w 4519987"/>
                    <a:gd name="connsiteY67" fmla="*/ 4343400 h 4496940"/>
                    <a:gd name="connsiteX68" fmla="*/ 1573552 w 4519987"/>
                    <a:gd name="connsiteY68" fmla="*/ 4305300 h 4496940"/>
                    <a:gd name="connsiteX69" fmla="*/ 1402102 w 4519987"/>
                    <a:gd name="connsiteY69" fmla="*/ 4276725 h 4496940"/>
                    <a:gd name="connsiteX70" fmla="*/ 1287802 w 4519987"/>
                    <a:gd name="connsiteY70" fmla="*/ 4229100 h 4496940"/>
                    <a:gd name="connsiteX71" fmla="*/ 1221127 w 4519987"/>
                    <a:gd name="connsiteY71" fmla="*/ 4200525 h 4496940"/>
                    <a:gd name="connsiteX72" fmla="*/ 1144927 w 4519987"/>
                    <a:gd name="connsiteY72" fmla="*/ 4171950 h 4496940"/>
                    <a:gd name="connsiteX73" fmla="*/ 1087777 w 4519987"/>
                    <a:gd name="connsiteY73" fmla="*/ 4143375 h 4496940"/>
                    <a:gd name="connsiteX74" fmla="*/ 1030627 w 4519987"/>
                    <a:gd name="connsiteY74" fmla="*/ 4124325 h 4496940"/>
                    <a:gd name="connsiteX75" fmla="*/ 925852 w 4519987"/>
                    <a:gd name="connsiteY75" fmla="*/ 4067175 h 4496940"/>
                    <a:gd name="connsiteX76" fmla="*/ 830602 w 4519987"/>
                    <a:gd name="connsiteY76" fmla="*/ 3981450 h 4496940"/>
                    <a:gd name="connsiteX77" fmla="*/ 763927 w 4519987"/>
                    <a:gd name="connsiteY77" fmla="*/ 3914775 h 4496940"/>
                    <a:gd name="connsiteX78" fmla="*/ 725827 w 4519987"/>
                    <a:gd name="connsiteY78" fmla="*/ 3876675 h 4496940"/>
                    <a:gd name="connsiteX79" fmla="*/ 697252 w 4519987"/>
                    <a:gd name="connsiteY79" fmla="*/ 3838575 h 4496940"/>
                    <a:gd name="connsiteX80" fmla="*/ 640102 w 4519987"/>
                    <a:gd name="connsiteY80" fmla="*/ 3781425 h 4496940"/>
                    <a:gd name="connsiteX81" fmla="*/ 611527 w 4519987"/>
                    <a:gd name="connsiteY81" fmla="*/ 3733800 h 4496940"/>
                    <a:gd name="connsiteX82" fmla="*/ 554377 w 4519987"/>
                    <a:gd name="connsiteY82" fmla="*/ 3657600 h 4496940"/>
                    <a:gd name="connsiteX83" fmla="*/ 525802 w 4519987"/>
                    <a:gd name="connsiteY83" fmla="*/ 3609975 h 4496940"/>
                    <a:gd name="connsiteX84" fmla="*/ 497227 w 4519987"/>
                    <a:gd name="connsiteY84" fmla="*/ 3552825 h 4496940"/>
                    <a:gd name="connsiteX85" fmla="*/ 440077 w 4519987"/>
                    <a:gd name="connsiteY85" fmla="*/ 3495675 h 4496940"/>
                    <a:gd name="connsiteX86" fmla="*/ 411502 w 4519987"/>
                    <a:gd name="connsiteY86" fmla="*/ 3448050 h 4496940"/>
                    <a:gd name="connsiteX87" fmla="*/ 278152 w 4519987"/>
                    <a:gd name="connsiteY87" fmla="*/ 3257550 h 4496940"/>
                    <a:gd name="connsiteX88" fmla="*/ 249577 w 4519987"/>
                    <a:gd name="connsiteY88" fmla="*/ 3200400 h 4496940"/>
                    <a:gd name="connsiteX89" fmla="*/ 240052 w 4519987"/>
                    <a:gd name="connsiteY89" fmla="*/ 3162300 h 4496940"/>
                    <a:gd name="connsiteX90" fmla="*/ 221002 w 4519987"/>
                    <a:gd name="connsiteY90" fmla="*/ 3105150 h 4496940"/>
                    <a:gd name="connsiteX91" fmla="*/ 173377 w 4519987"/>
                    <a:gd name="connsiteY91" fmla="*/ 3019425 h 4496940"/>
                    <a:gd name="connsiteX92" fmla="*/ 144802 w 4519987"/>
                    <a:gd name="connsiteY92" fmla="*/ 2924175 h 4496940"/>
                    <a:gd name="connsiteX93" fmla="*/ 68602 w 4519987"/>
                    <a:gd name="connsiteY93" fmla="*/ 2724150 h 4496940"/>
                    <a:gd name="connsiteX94" fmla="*/ 49552 w 4519987"/>
                    <a:gd name="connsiteY94" fmla="*/ 2638425 h 4496940"/>
                    <a:gd name="connsiteX95" fmla="*/ 40027 w 4519987"/>
                    <a:gd name="connsiteY95" fmla="*/ 2562225 h 4496940"/>
                    <a:gd name="connsiteX96" fmla="*/ 30502 w 4519987"/>
                    <a:gd name="connsiteY96" fmla="*/ 2514600 h 4496940"/>
                    <a:gd name="connsiteX97" fmla="*/ 11452 w 4519987"/>
                    <a:gd name="connsiteY97" fmla="*/ 2400300 h 4496940"/>
                    <a:gd name="connsiteX98" fmla="*/ 20977 w 4519987"/>
                    <a:gd name="connsiteY98" fmla="*/ 1905000 h 4496940"/>
                    <a:gd name="connsiteX99" fmla="*/ 30502 w 4519987"/>
                    <a:gd name="connsiteY99" fmla="*/ 1838325 h 4496940"/>
                    <a:gd name="connsiteX100" fmla="*/ 49552 w 4519987"/>
                    <a:gd name="connsiteY100" fmla="*/ 1781175 h 4496940"/>
                    <a:gd name="connsiteX101" fmla="*/ 59077 w 4519987"/>
                    <a:gd name="connsiteY101" fmla="*/ 1743075 h 4496940"/>
                    <a:gd name="connsiteX102" fmla="*/ 78127 w 4519987"/>
                    <a:gd name="connsiteY102" fmla="*/ 1685925 h 4496940"/>
                    <a:gd name="connsiteX103" fmla="*/ 87652 w 4519987"/>
                    <a:gd name="connsiteY103" fmla="*/ 1638300 h 4496940"/>
                    <a:gd name="connsiteX104" fmla="*/ 106702 w 4519987"/>
                    <a:gd name="connsiteY104" fmla="*/ 1590675 h 4496940"/>
                    <a:gd name="connsiteX105" fmla="*/ 135277 w 4519987"/>
                    <a:gd name="connsiteY105" fmla="*/ 1504950 h 4496940"/>
                    <a:gd name="connsiteX106" fmla="*/ 154327 w 4519987"/>
                    <a:gd name="connsiteY106" fmla="*/ 1419225 h 4496940"/>
                    <a:gd name="connsiteX107" fmla="*/ 230527 w 4519987"/>
                    <a:gd name="connsiteY107" fmla="*/ 1276350 h 4496940"/>
                    <a:gd name="connsiteX108" fmla="*/ 240052 w 4519987"/>
                    <a:gd name="connsiteY108" fmla="*/ 1247775 h 4496940"/>
                    <a:gd name="connsiteX109" fmla="*/ 268627 w 4519987"/>
                    <a:gd name="connsiteY109" fmla="*/ 1200150 h 4496940"/>
                    <a:gd name="connsiteX110" fmla="*/ 287677 w 4519987"/>
                    <a:gd name="connsiteY110" fmla="*/ 1152525 h 4496940"/>
                    <a:gd name="connsiteX111" fmla="*/ 316252 w 4519987"/>
                    <a:gd name="connsiteY111" fmla="*/ 1114425 h 4496940"/>
                    <a:gd name="connsiteX112" fmla="*/ 363877 w 4519987"/>
                    <a:gd name="connsiteY112" fmla="*/ 1038225 h 4496940"/>
                    <a:gd name="connsiteX113" fmla="*/ 382927 w 4519987"/>
                    <a:gd name="connsiteY113" fmla="*/ 1009650 h 4496940"/>
                    <a:gd name="connsiteX114" fmla="*/ 440077 w 4519987"/>
                    <a:gd name="connsiteY114" fmla="*/ 904875 h 4496940"/>
                    <a:gd name="connsiteX115" fmla="*/ 478177 w 4519987"/>
                    <a:gd name="connsiteY115" fmla="*/ 857250 h 4496940"/>
                    <a:gd name="connsiteX116" fmla="*/ 497227 w 4519987"/>
                    <a:gd name="connsiteY116" fmla="*/ 828675 h 4496940"/>
                    <a:gd name="connsiteX117" fmla="*/ 535327 w 4519987"/>
                    <a:gd name="connsiteY117" fmla="*/ 800100 h 4496940"/>
                    <a:gd name="connsiteX118" fmla="*/ 602002 w 4519987"/>
                    <a:gd name="connsiteY118" fmla="*/ 733425 h 4496940"/>
                    <a:gd name="connsiteX119" fmla="*/ 668677 w 4519987"/>
                    <a:gd name="connsiteY119" fmla="*/ 676275 h 4496940"/>
                    <a:gd name="connsiteX120" fmla="*/ 697252 w 4519987"/>
                    <a:gd name="connsiteY120" fmla="*/ 657225 h 4496940"/>
                    <a:gd name="connsiteX121" fmla="*/ 840127 w 4519987"/>
                    <a:gd name="connsiteY121" fmla="*/ 533400 h 4496940"/>
                    <a:gd name="connsiteX122" fmla="*/ 887752 w 4519987"/>
                    <a:gd name="connsiteY122" fmla="*/ 504825 h 4496940"/>
                    <a:gd name="connsiteX123" fmla="*/ 1167152 w 4519987"/>
                    <a:gd name="connsiteY123" fmla="*/ 311150 h 4496940"/>
                    <a:gd name="connsiteX124" fmla="*/ 1268752 w 4519987"/>
                    <a:gd name="connsiteY124" fmla="*/ 285750 h 4496940"/>
                    <a:gd name="connsiteX125" fmla="*/ 1411627 w 4519987"/>
                    <a:gd name="connsiteY125" fmla="*/ 190500 h 4496940"/>
                    <a:gd name="connsiteX126" fmla="*/ 1449727 w 4519987"/>
                    <a:gd name="connsiteY126" fmla="*/ 161925 h 4496940"/>
                    <a:gd name="connsiteX127" fmla="*/ 1525927 w 4519987"/>
                    <a:gd name="connsiteY127" fmla="*/ 152400 h 4496940"/>
                    <a:gd name="connsiteX128" fmla="*/ 1583077 w 4519987"/>
                    <a:gd name="connsiteY128" fmla="*/ 142875 h 4496940"/>
                    <a:gd name="connsiteX129" fmla="*/ 1716427 w 4519987"/>
                    <a:gd name="connsiteY129" fmla="*/ 123825 h 4496940"/>
                    <a:gd name="connsiteX130" fmla="*/ 1811677 w 4519987"/>
                    <a:gd name="connsiteY130" fmla="*/ 114300 h 4496940"/>
                    <a:gd name="connsiteX131" fmla="*/ 1859302 w 4519987"/>
                    <a:gd name="connsiteY131" fmla="*/ 104775 h 4496940"/>
                    <a:gd name="connsiteX132" fmla="*/ 1916452 w 4519987"/>
                    <a:gd name="connsiteY132" fmla="*/ 95250 h 4496940"/>
                    <a:gd name="connsiteX133" fmla="*/ 2030752 w 4519987"/>
                    <a:gd name="connsiteY133" fmla="*/ 66675 h 4496940"/>
                    <a:gd name="connsiteX134" fmla="*/ 2097427 w 4519987"/>
                    <a:gd name="connsiteY134" fmla="*/ 47625 h 4496940"/>
                    <a:gd name="connsiteX135" fmla="*/ 2164102 w 4519987"/>
                    <a:gd name="connsiteY135" fmla="*/ 38100 h 4496940"/>
                    <a:gd name="connsiteX136" fmla="*/ 2392702 w 4519987"/>
                    <a:gd name="connsiteY13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678577 w 4519987"/>
                    <a:gd name="connsiteY41" fmla="*/ 3848100 h 4496940"/>
                    <a:gd name="connsiteX42" fmla="*/ 3659527 w 4519987"/>
                    <a:gd name="connsiteY42" fmla="*/ 3971925 h 4496940"/>
                    <a:gd name="connsiteX43" fmla="*/ 3630952 w 4519987"/>
                    <a:gd name="connsiteY43" fmla="*/ 4010025 h 4496940"/>
                    <a:gd name="connsiteX44" fmla="*/ 3621427 w 4519987"/>
                    <a:gd name="connsiteY44" fmla="*/ 4038600 h 4496940"/>
                    <a:gd name="connsiteX45" fmla="*/ 3554752 w 4519987"/>
                    <a:gd name="connsiteY45" fmla="*/ 4095750 h 4496940"/>
                    <a:gd name="connsiteX46" fmla="*/ 3516652 w 4519987"/>
                    <a:gd name="connsiteY46" fmla="*/ 4114800 h 4496940"/>
                    <a:gd name="connsiteX47" fmla="*/ 3497602 w 4519987"/>
                    <a:gd name="connsiteY47" fmla="*/ 4143375 h 4496940"/>
                    <a:gd name="connsiteX48" fmla="*/ 3383302 w 4519987"/>
                    <a:gd name="connsiteY48" fmla="*/ 4210050 h 4496940"/>
                    <a:gd name="connsiteX49" fmla="*/ 3335677 w 4519987"/>
                    <a:gd name="connsiteY49" fmla="*/ 4238625 h 4496940"/>
                    <a:gd name="connsiteX50" fmla="*/ 3288052 w 4519987"/>
                    <a:gd name="connsiteY50" fmla="*/ 4248150 h 4496940"/>
                    <a:gd name="connsiteX51" fmla="*/ 3240427 w 4519987"/>
                    <a:gd name="connsiteY51" fmla="*/ 4267200 h 4496940"/>
                    <a:gd name="connsiteX52" fmla="*/ 3068977 w 4519987"/>
                    <a:gd name="connsiteY52" fmla="*/ 4286250 h 4496940"/>
                    <a:gd name="connsiteX53" fmla="*/ 2935627 w 4519987"/>
                    <a:gd name="connsiteY53" fmla="*/ 4333875 h 4496940"/>
                    <a:gd name="connsiteX54" fmla="*/ 2811802 w 4519987"/>
                    <a:gd name="connsiteY54" fmla="*/ 4371975 h 4496940"/>
                    <a:gd name="connsiteX55" fmla="*/ 2745127 w 4519987"/>
                    <a:gd name="connsiteY55" fmla="*/ 4410075 h 4496940"/>
                    <a:gd name="connsiteX56" fmla="*/ 2697502 w 4519987"/>
                    <a:gd name="connsiteY56" fmla="*/ 4429125 h 4496940"/>
                    <a:gd name="connsiteX57" fmla="*/ 2640352 w 4519987"/>
                    <a:gd name="connsiteY57" fmla="*/ 4457700 h 4496940"/>
                    <a:gd name="connsiteX58" fmla="*/ 2583202 w 4519987"/>
                    <a:gd name="connsiteY58" fmla="*/ 4467225 h 4496940"/>
                    <a:gd name="connsiteX59" fmla="*/ 2545102 w 4519987"/>
                    <a:gd name="connsiteY59" fmla="*/ 4486275 h 4496940"/>
                    <a:gd name="connsiteX60" fmla="*/ 2306977 w 4519987"/>
                    <a:gd name="connsiteY60" fmla="*/ 4476750 h 4496940"/>
                    <a:gd name="connsiteX61" fmla="*/ 2202202 w 4519987"/>
                    <a:gd name="connsiteY61" fmla="*/ 4457700 h 4496940"/>
                    <a:gd name="connsiteX62" fmla="*/ 2126002 w 4519987"/>
                    <a:gd name="connsiteY62" fmla="*/ 4429125 h 4496940"/>
                    <a:gd name="connsiteX63" fmla="*/ 1935502 w 4519987"/>
                    <a:gd name="connsiteY63" fmla="*/ 4400550 h 4496940"/>
                    <a:gd name="connsiteX64" fmla="*/ 1821202 w 4519987"/>
                    <a:gd name="connsiteY64" fmla="*/ 4371975 h 4496940"/>
                    <a:gd name="connsiteX65" fmla="*/ 1754527 w 4519987"/>
                    <a:gd name="connsiteY65" fmla="*/ 4352925 h 4496940"/>
                    <a:gd name="connsiteX66" fmla="*/ 1687852 w 4519987"/>
                    <a:gd name="connsiteY66" fmla="*/ 4343400 h 4496940"/>
                    <a:gd name="connsiteX67" fmla="*/ 1573552 w 4519987"/>
                    <a:gd name="connsiteY67" fmla="*/ 4305300 h 4496940"/>
                    <a:gd name="connsiteX68" fmla="*/ 1402102 w 4519987"/>
                    <a:gd name="connsiteY68" fmla="*/ 4276725 h 4496940"/>
                    <a:gd name="connsiteX69" fmla="*/ 1287802 w 4519987"/>
                    <a:gd name="connsiteY69" fmla="*/ 4229100 h 4496940"/>
                    <a:gd name="connsiteX70" fmla="*/ 1221127 w 4519987"/>
                    <a:gd name="connsiteY70" fmla="*/ 4200525 h 4496940"/>
                    <a:gd name="connsiteX71" fmla="*/ 1144927 w 4519987"/>
                    <a:gd name="connsiteY71" fmla="*/ 4171950 h 4496940"/>
                    <a:gd name="connsiteX72" fmla="*/ 1087777 w 4519987"/>
                    <a:gd name="connsiteY72" fmla="*/ 4143375 h 4496940"/>
                    <a:gd name="connsiteX73" fmla="*/ 1030627 w 4519987"/>
                    <a:gd name="connsiteY73" fmla="*/ 4124325 h 4496940"/>
                    <a:gd name="connsiteX74" fmla="*/ 925852 w 4519987"/>
                    <a:gd name="connsiteY74" fmla="*/ 4067175 h 4496940"/>
                    <a:gd name="connsiteX75" fmla="*/ 830602 w 4519987"/>
                    <a:gd name="connsiteY75" fmla="*/ 3981450 h 4496940"/>
                    <a:gd name="connsiteX76" fmla="*/ 763927 w 4519987"/>
                    <a:gd name="connsiteY76" fmla="*/ 3914775 h 4496940"/>
                    <a:gd name="connsiteX77" fmla="*/ 725827 w 4519987"/>
                    <a:gd name="connsiteY77" fmla="*/ 3876675 h 4496940"/>
                    <a:gd name="connsiteX78" fmla="*/ 697252 w 4519987"/>
                    <a:gd name="connsiteY78" fmla="*/ 3838575 h 4496940"/>
                    <a:gd name="connsiteX79" fmla="*/ 640102 w 4519987"/>
                    <a:gd name="connsiteY79" fmla="*/ 3781425 h 4496940"/>
                    <a:gd name="connsiteX80" fmla="*/ 611527 w 4519987"/>
                    <a:gd name="connsiteY80" fmla="*/ 3733800 h 4496940"/>
                    <a:gd name="connsiteX81" fmla="*/ 554377 w 4519987"/>
                    <a:gd name="connsiteY81" fmla="*/ 3657600 h 4496940"/>
                    <a:gd name="connsiteX82" fmla="*/ 525802 w 4519987"/>
                    <a:gd name="connsiteY82" fmla="*/ 3609975 h 4496940"/>
                    <a:gd name="connsiteX83" fmla="*/ 497227 w 4519987"/>
                    <a:gd name="connsiteY83" fmla="*/ 3552825 h 4496940"/>
                    <a:gd name="connsiteX84" fmla="*/ 440077 w 4519987"/>
                    <a:gd name="connsiteY84" fmla="*/ 3495675 h 4496940"/>
                    <a:gd name="connsiteX85" fmla="*/ 411502 w 4519987"/>
                    <a:gd name="connsiteY85" fmla="*/ 3448050 h 4496940"/>
                    <a:gd name="connsiteX86" fmla="*/ 278152 w 4519987"/>
                    <a:gd name="connsiteY86" fmla="*/ 3257550 h 4496940"/>
                    <a:gd name="connsiteX87" fmla="*/ 249577 w 4519987"/>
                    <a:gd name="connsiteY87" fmla="*/ 3200400 h 4496940"/>
                    <a:gd name="connsiteX88" fmla="*/ 240052 w 4519987"/>
                    <a:gd name="connsiteY88" fmla="*/ 3162300 h 4496940"/>
                    <a:gd name="connsiteX89" fmla="*/ 221002 w 4519987"/>
                    <a:gd name="connsiteY89" fmla="*/ 3105150 h 4496940"/>
                    <a:gd name="connsiteX90" fmla="*/ 173377 w 4519987"/>
                    <a:gd name="connsiteY90" fmla="*/ 3019425 h 4496940"/>
                    <a:gd name="connsiteX91" fmla="*/ 144802 w 4519987"/>
                    <a:gd name="connsiteY91" fmla="*/ 2924175 h 4496940"/>
                    <a:gd name="connsiteX92" fmla="*/ 68602 w 4519987"/>
                    <a:gd name="connsiteY92" fmla="*/ 2724150 h 4496940"/>
                    <a:gd name="connsiteX93" fmla="*/ 49552 w 4519987"/>
                    <a:gd name="connsiteY93" fmla="*/ 2638425 h 4496940"/>
                    <a:gd name="connsiteX94" fmla="*/ 40027 w 4519987"/>
                    <a:gd name="connsiteY94" fmla="*/ 2562225 h 4496940"/>
                    <a:gd name="connsiteX95" fmla="*/ 30502 w 4519987"/>
                    <a:gd name="connsiteY95" fmla="*/ 2514600 h 4496940"/>
                    <a:gd name="connsiteX96" fmla="*/ 11452 w 4519987"/>
                    <a:gd name="connsiteY96" fmla="*/ 2400300 h 4496940"/>
                    <a:gd name="connsiteX97" fmla="*/ 20977 w 4519987"/>
                    <a:gd name="connsiteY97" fmla="*/ 1905000 h 4496940"/>
                    <a:gd name="connsiteX98" fmla="*/ 30502 w 4519987"/>
                    <a:gd name="connsiteY98" fmla="*/ 1838325 h 4496940"/>
                    <a:gd name="connsiteX99" fmla="*/ 49552 w 4519987"/>
                    <a:gd name="connsiteY99" fmla="*/ 1781175 h 4496940"/>
                    <a:gd name="connsiteX100" fmla="*/ 59077 w 4519987"/>
                    <a:gd name="connsiteY100" fmla="*/ 1743075 h 4496940"/>
                    <a:gd name="connsiteX101" fmla="*/ 78127 w 4519987"/>
                    <a:gd name="connsiteY101" fmla="*/ 1685925 h 4496940"/>
                    <a:gd name="connsiteX102" fmla="*/ 87652 w 4519987"/>
                    <a:gd name="connsiteY102" fmla="*/ 1638300 h 4496940"/>
                    <a:gd name="connsiteX103" fmla="*/ 106702 w 4519987"/>
                    <a:gd name="connsiteY103" fmla="*/ 1590675 h 4496940"/>
                    <a:gd name="connsiteX104" fmla="*/ 135277 w 4519987"/>
                    <a:gd name="connsiteY104" fmla="*/ 1504950 h 4496940"/>
                    <a:gd name="connsiteX105" fmla="*/ 154327 w 4519987"/>
                    <a:gd name="connsiteY105" fmla="*/ 1419225 h 4496940"/>
                    <a:gd name="connsiteX106" fmla="*/ 230527 w 4519987"/>
                    <a:gd name="connsiteY106" fmla="*/ 1276350 h 4496940"/>
                    <a:gd name="connsiteX107" fmla="*/ 240052 w 4519987"/>
                    <a:gd name="connsiteY107" fmla="*/ 1247775 h 4496940"/>
                    <a:gd name="connsiteX108" fmla="*/ 268627 w 4519987"/>
                    <a:gd name="connsiteY108" fmla="*/ 1200150 h 4496940"/>
                    <a:gd name="connsiteX109" fmla="*/ 287677 w 4519987"/>
                    <a:gd name="connsiteY109" fmla="*/ 1152525 h 4496940"/>
                    <a:gd name="connsiteX110" fmla="*/ 316252 w 4519987"/>
                    <a:gd name="connsiteY110" fmla="*/ 1114425 h 4496940"/>
                    <a:gd name="connsiteX111" fmla="*/ 363877 w 4519987"/>
                    <a:gd name="connsiteY111" fmla="*/ 1038225 h 4496940"/>
                    <a:gd name="connsiteX112" fmla="*/ 382927 w 4519987"/>
                    <a:gd name="connsiteY112" fmla="*/ 1009650 h 4496940"/>
                    <a:gd name="connsiteX113" fmla="*/ 440077 w 4519987"/>
                    <a:gd name="connsiteY113" fmla="*/ 904875 h 4496940"/>
                    <a:gd name="connsiteX114" fmla="*/ 478177 w 4519987"/>
                    <a:gd name="connsiteY114" fmla="*/ 857250 h 4496940"/>
                    <a:gd name="connsiteX115" fmla="*/ 497227 w 4519987"/>
                    <a:gd name="connsiteY115" fmla="*/ 828675 h 4496940"/>
                    <a:gd name="connsiteX116" fmla="*/ 535327 w 4519987"/>
                    <a:gd name="connsiteY116" fmla="*/ 800100 h 4496940"/>
                    <a:gd name="connsiteX117" fmla="*/ 602002 w 4519987"/>
                    <a:gd name="connsiteY117" fmla="*/ 733425 h 4496940"/>
                    <a:gd name="connsiteX118" fmla="*/ 668677 w 4519987"/>
                    <a:gd name="connsiteY118" fmla="*/ 676275 h 4496940"/>
                    <a:gd name="connsiteX119" fmla="*/ 697252 w 4519987"/>
                    <a:gd name="connsiteY119" fmla="*/ 657225 h 4496940"/>
                    <a:gd name="connsiteX120" fmla="*/ 840127 w 4519987"/>
                    <a:gd name="connsiteY120" fmla="*/ 533400 h 4496940"/>
                    <a:gd name="connsiteX121" fmla="*/ 887752 w 4519987"/>
                    <a:gd name="connsiteY121" fmla="*/ 504825 h 4496940"/>
                    <a:gd name="connsiteX122" fmla="*/ 1167152 w 4519987"/>
                    <a:gd name="connsiteY122" fmla="*/ 311150 h 4496940"/>
                    <a:gd name="connsiteX123" fmla="*/ 1268752 w 4519987"/>
                    <a:gd name="connsiteY123" fmla="*/ 285750 h 4496940"/>
                    <a:gd name="connsiteX124" fmla="*/ 1411627 w 4519987"/>
                    <a:gd name="connsiteY124" fmla="*/ 190500 h 4496940"/>
                    <a:gd name="connsiteX125" fmla="*/ 1449727 w 4519987"/>
                    <a:gd name="connsiteY125" fmla="*/ 161925 h 4496940"/>
                    <a:gd name="connsiteX126" fmla="*/ 1525927 w 4519987"/>
                    <a:gd name="connsiteY126" fmla="*/ 152400 h 4496940"/>
                    <a:gd name="connsiteX127" fmla="*/ 1583077 w 4519987"/>
                    <a:gd name="connsiteY127" fmla="*/ 142875 h 4496940"/>
                    <a:gd name="connsiteX128" fmla="*/ 1716427 w 4519987"/>
                    <a:gd name="connsiteY128" fmla="*/ 123825 h 4496940"/>
                    <a:gd name="connsiteX129" fmla="*/ 1811677 w 4519987"/>
                    <a:gd name="connsiteY129" fmla="*/ 114300 h 4496940"/>
                    <a:gd name="connsiteX130" fmla="*/ 1859302 w 4519987"/>
                    <a:gd name="connsiteY130" fmla="*/ 104775 h 4496940"/>
                    <a:gd name="connsiteX131" fmla="*/ 1916452 w 4519987"/>
                    <a:gd name="connsiteY131" fmla="*/ 95250 h 4496940"/>
                    <a:gd name="connsiteX132" fmla="*/ 2030752 w 4519987"/>
                    <a:gd name="connsiteY132" fmla="*/ 66675 h 4496940"/>
                    <a:gd name="connsiteX133" fmla="*/ 2097427 w 4519987"/>
                    <a:gd name="connsiteY133" fmla="*/ 47625 h 4496940"/>
                    <a:gd name="connsiteX134" fmla="*/ 2164102 w 4519987"/>
                    <a:gd name="connsiteY134" fmla="*/ 38100 h 4496940"/>
                    <a:gd name="connsiteX135" fmla="*/ 2392702 w 4519987"/>
                    <a:gd name="connsiteY13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78577 w 4519987"/>
                    <a:gd name="connsiteY40" fmla="*/ 3848100 h 4496940"/>
                    <a:gd name="connsiteX41" fmla="*/ 3659527 w 4519987"/>
                    <a:gd name="connsiteY41" fmla="*/ 3971925 h 4496940"/>
                    <a:gd name="connsiteX42" fmla="*/ 3630952 w 4519987"/>
                    <a:gd name="connsiteY42" fmla="*/ 4010025 h 4496940"/>
                    <a:gd name="connsiteX43" fmla="*/ 3621427 w 4519987"/>
                    <a:gd name="connsiteY43" fmla="*/ 4038600 h 4496940"/>
                    <a:gd name="connsiteX44" fmla="*/ 3554752 w 4519987"/>
                    <a:gd name="connsiteY44" fmla="*/ 4095750 h 4496940"/>
                    <a:gd name="connsiteX45" fmla="*/ 3516652 w 4519987"/>
                    <a:gd name="connsiteY45" fmla="*/ 4114800 h 4496940"/>
                    <a:gd name="connsiteX46" fmla="*/ 3497602 w 4519987"/>
                    <a:gd name="connsiteY46" fmla="*/ 4143375 h 4496940"/>
                    <a:gd name="connsiteX47" fmla="*/ 3383302 w 4519987"/>
                    <a:gd name="connsiteY47" fmla="*/ 4210050 h 4496940"/>
                    <a:gd name="connsiteX48" fmla="*/ 3335677 w 4519987"/>
                    <a:gd name="connsiteY48" fmla="*/ 4238625 h 4496940"/>
                    <a:gd name="connsiteX49" fmla="*/ 3288052 w 4519987"/>
                    <a:gd name="connsiteY49" fmla="*/ 4248150 h 4496940"/>
                    <a:gd name="connsiteX50" fmla="*/ 3240427 w 4519987"/>
                    <a:gd name="connsiteY50" fmla="*/ 4267200 h 4496940"/>
                    <a:gd name="connsiteX51" fmla="*/ 3068977 w 4519987"/>
                    <a:gd name="connsiteY51" fmla="*/ 4286250 h 4496940"/>
                    <a:gd name="connsiteX52" fmla="*/ 2935627 w 4519987"/>
                    <a:gd name="connsiteY52" fmla="*/ 4333875 h 4496940"/>
                    <a:gd name="connsiteX53" fmla="*/ 2811802 w 4519987"/>
                    <a:gd name="connsiteY53" fmla="*/ 4371975 h 4496940"/>
                    <a:gd name="connsiteX54" fmla="*/ 2745127 w 4519987"/>
                    <a:gd name="connsiteY54" fmla="*/ 4410075 h 4496940"/>
                    <a:gd name="connsiteX55" fmla="*/ 2697502 w 4519987"/>
                    <a:gd name="connsiteY55" fmla="*/ 4429125 h 4496940"/>
                    <a:gd name="connsiteX56" fmla="*/ 2640352 w 4519987"/>
                    <a:gd name="connsiteY56" fmla="*/ 4457700 h 4496940"/>
                    <a:gd name="connsiteX57" fmla="*/ 2583202 w 4519987"/>
                    <a:gd name="connsiteY57" fmla="*/ 4467225 h 4496940"/>
                    <a:gd name="connsiteX58" fmla="*/ 2545102 w 4519987"/>
                    <a:gd name="connsiteY58" fmla="*/ 4486275 h 4496940"/>
                    <a:gd name="connsiteX59" fmla="*/ 2306977 w 4519987"/>
                    <a:gd name="connsiteY59" fmla="*/ 4476750 h 4496940"/>
                    <a:gd name="connsiteX60" fmla="*/ 2202202 w 4519987"/>
                    <a:gd name="connsiteY60" fmla="*/ 4457700 h 4496940"/>
                    <a:gd name="connsiteX61" fmla="*/ 2126002 w 4519987"/>
                    <a:gd name="connsiteY61" fmla="*/ 4429125 h 4496940"/>
                    <a:gd name="connsiteX62" fmla="*/ 1935502 w 4519987"/>
                    <a:gd name="connsiteY62" fmla="*/ 4400550 h 4496940"/>
                    <a:gd name="connsiteX63" fmla="*/ 1821202 w 4519987"/>
                    <a:gd name="connsiteY63" fmla="*/ 4371975 h 4496940"/>
                    <a:gd name="connsiteX64" fmla="*/ 1754527 w 4519987"/>
                    <a:gd name="connsiteY64" fmla="*/ 4352925 h 4496940"/>
                    <a:gd name="connsiteX65" fmla="*/ 1687852 w 4519987"/>
                    <a:gd name="connsiteY65" fmla="*/ 4343400 h 4496940"/>
                    <a:gd name="connsiteX66" fmla="*/ 1573552 w 4519987"/>
                    <a:gd name="connsiteY66" fmla="*/ 4305300 h 4496940"/>
                    <a:gd name="connsiteX67" fmla="*/ 1402102 w 4519987"/>
                    <a:gd name="connsiteY67" fmla="*/ 4276725 h 4496940"/>
                    <a:gd name="connsiteX68" fmla="*/ 1287802 w 4519987"/>
                    <a:gd name="connsiteY68" fmla="*/ 4229100 h 4496940"/>
                    <a:gd name="connsiteX69" fmla="*/ 1221127 w 4519987"/>
                    <a:gd name="connsiteY69" fmla="*/ 4200525 h 4496940"/>
                    <a:gd name="connsiteX70" fmla="*/ 1144927 w 4519987"/>
                    <a:gd name="connsiteY70" fmla="*/ 4171950 h 4496940"/>
                    <a:gd name="connsiteX71" fmla="*/ 1087777 w 4519987"/>
                    <a:gd name="connsiteY71" fmla="*/ 4143375 h 4496940"/>
                    <a:gd name="connsiteX72" fmla="*/ 1030627 w 4519987"/>
                    <a:gd name="connsiteY72" fmla="*/ 4124325 h 4496940"/>
                    <a:gd name="connsiteX73" fmla="*/ 925852 w 4519987"/>
                    <a:gd name="connsiteY73" fmla="*/ 4067175 h 4496940"/>
                    <a:gd name="connsiteX74" fmla="*/ 830602 w 4519987"/>
                    <a:gd name="connsiteY74" fmla="*/ 3981450 h 4496940"/>
                    <a:gd name="connsiteX75" fmla="*/ 763927 w 4519987"/>
                    <a:gd name="connsiteY75" fmla="*/ 3914775 h 4496940"/>
                    <a:gd name="connsiteX76" fmla="*/ 725827 w 4519987"/>
                    <a:gd name="connsiteY76" fmla="*/ 3876675 h 4496940"/>
                    <a:gd name="connsiteX77" fmla="*/ 697252 w 4519987"/>
                    <a:gd name="connsiteY77" fmla="*/ 3838575 h 4496940"/>
                    <a:gd name="connsiteX78" fmla="*/ 640102 w 4519987"/>
                    <a:gd name="connsiteY78" fmla="*/ 3781425 h 4496940"/>
                    <a:gd name="connsiteX79" fmla="*/ 611527 w 4519987"/>
                    <a:gd name="connsiteY79" fmla="*/ 3733800 h 4496940"/>
                    <a:gd name="connsiteX80" fmla="*/ 554377 w 4519987"/>
                    <a:gd name="connsiteY80" fmla="*/ 3657600 h 4496940"/>
                    <a:gd name="connsiteX81" fmla="*/ 525802 w 4519987"/>
                    <a:gd name="connsiteY81" fmla="*/ 3609975 h 4496940"/>
                    <a:gd name="connsiteX82" fmla="*/ 497227 w 4519987"/>
                    <a:gd name="connsiteY82" fmla="*/ 3552825 h 4496940"/>
                    <a:gd name="connsiteX83" fmla="*/ 440077 w 4519987"/>
                    <a:gd name="connsiteY83" fmla="*/ 3495675 h 4496940"/>
                    <a:gd name="connsiteX84" fmla="*/ 411502 w 4519987"/>
                    <a:gd name="connsiteY84" fmla="*/ 3448050 h 4496940"/>
                    <a:gd name="connsiteX85" fmla="*/ 278152 w 4519987"/>
                    <a:gd name="connsiteY85" fmla="*/ 3257550 h 4496940"/>
                    <a:gd name="connsiteX86" fmla="*/ 249577 w 4519987"/>
                    <a:gd name="connsiteY86" fmla="*/ 3200400 h 4496940"/>
                    <a:gd name="connsiteX87" fmla="*/ 240052 w 4519987"/>
                    <a:gd name="connsiteY87" fmla="*/ 3162300 h 4496940"/>
                    <a:gd name="connsiteX88" fmla="*/ 221002 w 4519987"/>
                    <a:gd name="connsiteY88" fmla="*/ 3105150 h 4496940"/>
                    <a:gd name="connsiteX89" fmla="*/ 173377 w 4519987"/>
                    <a:gd name="connsiteY89" fmla="*/ 3019425 h 4496940"/>
                    <a:gd name="connsiteX90" fmla="*/ 144802 w 4519987"/>
                    <a:gd name="connsiteY90" fmla="*/ 2924175 h 4496940"/>
                    <a:gd name="connsiteX91" fmla="*/ 68602 w 4519987"/>
                    <a:gd name="connsiteY91" fmla="*/ 2724150 h 4496940"/>
                    <a:gd name="connsiteX92" fmla="*/ 49552 w 4519987"/>
                    <a:gd name="connsiteY92" fmla="*/ 2638425 h 4496940"/>
                    <a:gd name="connsiteX93" fmla="*/ 40027 w 4519987"/>
                    <a:gd name="connsiteY93" fmla="*/ 2562225 h 4496940"/>
                    <a:gd name="connsiteX94" fmla="*/ 30502 w 4519987"/>
                    <a:gd name="connsiteY94" fmla="*/ 2514600 h 4496940"/>
                    <a:gd name="connsiteX95" fmla="*/ 11452 w 4519987"/>
                    <a:gd name="connsiteY95" fmla="*/ 2400300 h 4496940"/>
                    <a:gd name="connsiteX96" fmla="*/ 20977 w 4519987"/>
                    <a:gd name="connsiteY96" fmla="*/ 1905000 h 4496940"/>
                    <a:gd name="connsiteX97" fmla="*/ 30502 w 4519987"/>
                    <a:gd name="connsiteY97" fmla="*/ 1838325 h 4496940"/>
                    <a:gd name="connsiteX98" fmla="*/ 49552 w 4519987"/>
                    <a:gd name="connsiteY98" fmla="*/ 1781175 h 4496940"/>
                    <a:gd name="connsiteX99" fmla="*/ 59077 w 4519987"/>
                    <a:gd name="connsiteY99" fmla="*/ 1743075 h 4496940"/>
                    <a:gd name="connsiteX100" fmla="*/ 78127 w 4519987"/>
                    <a:gd name="connsiteY100" fmla="*/ 1685925 h 4496940"/>
                    <a:gd name="connsiteX101" fmla="*/ 87652 w 4519987"/>
                    <a:gd name="connsiteY101" fmla="*/ 1638300 h 4496940"/>
                    <a:gd name="connsiteX102" fmla="*/ 106702 w 4519987"/>
                    <a:gd name="connsiteY102" fmla="*/ 1590675 h 4496940"/>
                    <a:gd name="connsiteX103" fmla="*/ 135277 w 4519987"/>
                    <a:gd name="connsiteY103" fmla="*/ 1504950 h 4496940"/>
                    <a:gd name="connsiteX104" fmla="*/ 154327 w 4519987"/>
                    <a:gd name="connsiteY104" fmla="*/ 1419225 h 4496940"/>
                    <a:gd name="connsiteX105" fmla="*/ 230527 w 4519987"/>
                    <a:gd name="connsiteY105" fmla="*/ 1276350 h 4496940"/>
                    <a:gd name="connsiteX106" fmla="*/ 240052 w 4519987"/>
                    <a:gd name="connsiteY106" fmla="*/ 1247775 h 4496940"/>
                    <a:gd name="connsiteX107" fmla="*/ 268627 w 4519987"/>
                    <a:gd name="connsiteY107" fmla="*/ 1200150 h 4496940"/>
                    <a:gd name="connsiteX108" fmla="*/ 287677 w 4519987"/>
                    <a:gd name="connsiteY108" fmla="*/ 1152525 h 4496940"/>
                    <a:gd name="connsiteX109" fmla="*/ 316252 w 4519987"/>
                    <a:gd name="connsiteY109" fmla="*/ 1114425 h 4496940"/>
                    <a:gd name="connsiteX110" fmla="*/ 363877 w 4519987"/>
                    <a:gd name="connsiteY110" fmla="*/ 1038225 h 4496940"/>
                    <a:gd name="connsiteX111" fmla="*/ 382927 w 4519987"/>
                    <a:gd name="connsiteY111" fmla="*/ 1009650 h 4496940"/>
                    <a:gd name="connsiteX112" fmla="*/ 440077 w 4519987"/>
                    <a:gd name="connsiteY112" fmla="*/ 904875 h 4496940"/>
                    <a:gd name="connsiteX113" fmla="*/ 478177 w 4519987"/>
                    <a:gd name="connsiteY113" fmla="*/ 857250 h 4496940"/>
                    <a:gd name="connsiteX114" fmla="*/ 497227 w 4519987"/>
                    <a:gd name="connsiteY114" fmla="*/ 828675 h 4496940"/>
                    <a:gd name="connsiteX115" fmla="*/ 535327 w 4519987"/>
                    <a:gd name="connsiteY115" fmla="*/ 800100 h 4496940"/>
                    <a:gd name="connsiteX116" fmla="*/ 602002 w 4519987"/>
                    <a:gd name="connsiteY116" fmla="*/ 733425 h 4496940"/>
                    <a:gd name="connsiteX117" fmla="*/ 668677 w 4519987"/>
                    <a:gd name="connsiteY117" fmla="*/ 676275 h 4496940"/>
                    <a:gd name="connsiteX118" fmla="*/ 697252 w 4519987"/>
                    <a:gd name="connsiteY118" fmla="*/ 657225 h 4496940"/>
                    <a:gd name="connsiteX119" fmla="*/ 840127 w 4519987"/>
                    <a:gd name="connsiteY119" fmla="*/ 533400 h 4496940"/>
                    <a:gd name="connsiteX120" fmla="*/ 887752 w 4519987"/>
                    <a:gd name="connsiteY120" fmla="*/ 504825 h 4496940"/>
                    <a:gd name="connsiteX121" fmla="*/ 1167152 w 4519987"/>
                    <a:gd name="connsiteY121" fmla="*/ 311150 h 4496940"/>
                    <a:gd name="connsiteX122" fmla="*/ 1268752 w 4519987"/>
                    <a:gd name="connsiteY122" fmla="*/ 285750 h 4496940"/>
                    <a:gd name="connsiteX123" fmla="*/ 1411627 w 4519987"/>
                    <a:gd name="connsiteY123" fmla="*/ 190500 h 4496940"/>
                    <a:gd name="connsiteX124" fmla="*/ 1449727 w 4519987"/>
                    <a:gd name="connsiteY124" fmla="*/ 161925 h 4496940"/>
                    <a:gd name="connsiteX125" fmla="*/ 1525927 w 4519987"/>
                    <a:gd name="connsiteY125" fmla="*/ 152400 h 4496940"/>
                    <a:gd name="connsiteX126" fmla="*/ 1583077 w 4519987"/>
                    <a:gd name="connsiteY126" fmla="*/ 142875 h 4496940"/>
                    <a:gd name="connsiteX127" fmla="*/ 1716427 w 4519987"/>
                    <a:gd name="connsiteY127" fmla="*/ 123825 h 4496940"/>
                    <a:gd name="connsiteX128" fmla="*/ 1811677 w 4519987"/>
                    <a:gd name="connsiteY128" fmla="*/ 114300 h 4496940"/>
                    <a:gd name="connsiteX129" fmla="*/ 1859302 w 4519987"/>
                    <a:gd name="connsiteY129" fmla="*/ 104775 h 4496940"/>
                    <a:gd name="connsiteX130" fmla="*/ 1916452 w 4519987"/>
                    <a:gd name="connsiteY130" fmla="*/ 95250 h 4496940"/>
                    <a:gd name="connsiteX131" fmla="*/ 2030752 w 4519987"/>
                    <a:gd name="connsiteY131" fmla="*/ 66675 h 4496940"/>
                    <a:gd name="connsiteX132" fmla="*/ 2097427 w 4519987"/>
                    <a:gd name="connsiteY132" fmla="*/ 47625 h 4496940"/>
                    <a:gd name="connsiteX133" fmla="*/ 2164102 w 4519987"/>
                    <a:gd name="connsiteY133" fmla="*/ 38100 h 4496940"/>
                    <a:gd name="connsiteX134" fmla="*/ 2392702 w 4519987"/>
                    <a:gd name="connsiteY13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59527 w 4519987"/>
                    <a:gd name="connsiteY40" fmla="*/ 3971925 h 4496940"/>
                    <a:gd name="connsiteX41" fmla="*/ 3630952 w 4519987"/>
                    <a:gd name="connsiteY41" fmla="*/ 4010025 h 4496940"/>
                    <a:gd name="connsiteX42" fmla="*/ 3621427 w 4519987"/>
                    <a:gd name="connsiteY42" fmla="*/ 4038600 h 4496940"/>
                    <a:gd name="connsiteX43" fmla="*/ 3554752 w 4519987"/>
                    <a:gd name="connsiteY43" fmla="*/ 4095750 h 4496940"/>
                    <a:gd name="connsiteX44" fmla="*/ 3516652 w 4519987"/>
                    <a:gd name="connsiteY44" fmla="*/ 4114800 h 4496940"/>
                    <a:gd name="connsiteX45" fmla="*/ 3497602 w 4519987"/>
                    <a:gd name="connsiteY45" fmla="*/ 4143375 h 4496940"/>
                    <a:gd name="connsiteX46" fmla="*/ 3383302 w 4519987"/>
                    <a:gd name="connsiteY46" fmla="*/ 4210050 h 4496940"/>
                    <a:gd name="connsiteX47" fmla="*/ 3335677 w 4519987"/>
                    <a:gd name="connsiteY47" fmla="*/ 4238625 h 4496940"/>
                    <a:gd name="connsiteX48" fmla="*/ 3288052 w 4519987"/>
                    <a:gd name="connsiteY48" fmla="*/ 4248150 h 4496940"/>
                    <a:gd name="connsiteX49" fmla="*/ 3240427 w 4519987"/>
                    <a:gd name="connsiteY49" fmla="*/ 4267200 h 4496940"/>
                    <a:gd name="connsiteX50" fmla="*/ 3068977 w 4519987"/>
                    <a:gd name="connsiteY50" fmla="*/ 4286250 h 4496940"/>
                    <a:gd name="connsiteX51" fmla="*/ 2935627 w 4519987"/>
                    <a:gd name="connsiteY51" fmla="*/ 4333875 h 4496940"/>
                    <a:gd name="connsiteX52" fmla="*/ 2811802 w 4519987"/>
                    <a:gd name="connsiteY52" fmla="*/ 4371975 h 4496940"/>
                    <a:gd name="connsiteX53" fmla="*/ 2745127 w 4519987"/>
                    <a:gd name="connsiteY53" fmla="*/ 4410075 h 4496940"/>
                    <a:gd name="connsiteX54" fmla="*/ 2697502 w 4519987"/>
                    <a:gd name="connsiteY54" fmla="*/ 4429125 h 4496940"/>
                    <a:gd name="connsiteX55" fmla="*/ 2640352 w 4519987"/>
                    <a:gd name="connsiteY55" fmla="*/ 4457700 h 4496940"/>
                    <a:gd name="connsiteX56" fmla="*/ 2583202 w 4519987"/>
                    <a:gd name="connsiteY56" fmla="*/ 4467225 h 4496940"/>
                    <a:gd name="connsiteX57" fmla="*/ 2545102 w 4519987"/>
                    <a:gd name="connsiteY57" fmla="*/ 4486275 h 4496940"/>
                    <a:gd name="connsiteX58" fmla="*/ 2306977 w 4519987"/>
                    <a:gd name="connsiteY58" fmla="*/ 4476750 h 4496940"/>
                    <a:gd name="connsiteX59" fmla="*/ 2202202 w 4519987"/>
                    <a:gd name="connsiteY59" fmla="*/ 4457700 h 4496940"/>
                    <a:gd name="connsiteX60" fmla="*/ 2126002 w 4519987"/>
                    <a:gd name="connsiteY60" fmla="*/ 4429125 h 4496940"/>
                    <a:gd name="connsiteX61" fmla="*/ 1935502 w 4519987"/>
                    <a:gd name="connsiteY61" fmla="*/ 4400550 h 4496940"/>
                    <a:gd name="connsiteX62" fmla="*/ 1821202 w 4519987"/>
                    <a:gd name="connsiteY62" fmla="*/ 4371975 h 4496940"/>
                    <a:gd name="connsiteX63" fmla="*/ 1754527 w 4519987"/>
                    <a:gd name="connsiteY63" fmla="*/ 4352925 h 4496940"/>
                    <a:gd name="connsiteX64" fmla="*/ 1687852 w 4519987"/>
                    <a:gd name="connsiteY64" fmla="*/ 4343400 h 4496940"/>
                    <a:gd name="connsiteX65" fmla="*/ 1573552 w 4519987"/>
                    <a:gd name="connsiteY65" fmla="*/ 4305300 h 4496940"/>
                    <a:gd name="connsiteX66" fmla="*/ 1402102 w 4519987"/>
                    <a:gd name="connsiteY66" fmla="*/ 4276725 h 4496940"/>
                    <a:gd name="connsiteX67" fmla="*/ 1287802 w 4519987"/>
                    <a:gd name="connsiteY67" fmla="*/ 4229100 h 4496940"/>
                    <a:gd name="connsiteX68" fmla="*/ 1221127 w 4519987"/>
                    <a:gd name="connsiteY68" fmla="*/ 4200525 h 4496940"/>
                    <a:gd name="connsiteX69" fmla="*/ 1144927 w 4519987"/>
                    <a:gd name="connsiteY69" fmla="*/ 4171950 h 4496940"/>
                    <a:gd name="connsiteX70" fmla="*/ 1087777 w 4519987"/>
                    <a:gd name="connsiteY70" fmla="*/ 4143375 h 4496940"/>
                    <a:gd name="connsiteX71" fmla="*/ 1030627 w 4519987"/>
                    <a:gd name="connsiteY71" fmla="*/ 4124325 h 4496940"/>
                    <a:gd name="connsiteX72" fmla="*/ 925852 w 4519987"/>
                    <a:gd name="connsiteY72" fmla="*/ 4067175 h 4496940"/>
                    <a:gd name="connsiteX73" fmla="*/ 830602 w 4519987"/>
                    <a:gd name="connsiteY73" fmla="*/ 3981450 h 4496940"/>
                    <a:gd name="connsiteX74" fmla="*/ 763927 w 4519987"/>
                    <a:gd name="connsiteY74" fmla="*/ 3914775 h 4496940"/>
                    <a:gd name="connsiteX75" fmla="*/ 725827 w 4519987"/>
                    <a:gd name="connsiteY75" fmla="*/ 3876675 h 4496940"/>
                    <a:gd name="connsiteX76" fmla="*/ 697252 w 4519987"/>
                    <a:gd name="connsiteY76" fmla="*/ 3838575 h 4496940"/>
                    <a:gd name="connsiteX77" fmla="*/ 640102 w 4519987"/>
                    <a:gd name="connsiteY77" fmla="*/ 3781425 h 4496940"/>
                    <a:gd name="connsiteX78" fmla="*/ 611527 w 4519987"/>
                    <a:gd name="connsiteY78" fmla="*/ 3733800 h 4496940"/>
                    <a:gd name="connsiteX79" fmla="*/ 554377 w 4519987"/>
                    <a:gd name="connsiteY79" fmla="*/ 3657600 h 4496940"/>
                    <a:gd name="connsiteX80" fmla="*/ 525802 w 4519987"/>
                    <a:gd name="connsiteY80" fmla="*/ 3609975 h 4496940"/>
                    <a:gd name="connsiteX81" fmla="*/ 497227 w 4519987"/>
                    <a:gd name="connsiteY81" fmla="*/ 3552825 h 4496940"/>
                    <a:gd name="connsiteX82" fmla="*/ 440077 w 4519987"/>
                    <a:gd name="connsiteY82" fmla="*/ 3495675 h 4496940"/>
                    <a:gd name="connsiteX83" fmla="*/ 411502 w 4519987"/>
                    <a:gd name="connsiteY83" fmla="*/ 3448050 h 4496940"/>
                    <a:gd name="connsiteX84" fmla="*/ 278152 w 4519987"/>
                    <a:gd name="connsiteY84" fmla="*/ 3257550 h 4496940"/>
                    <a:gd name="connsiteX85" fmla="*/ 249577 w 4519987"/>
                    <a:gd name="connsiteY85" fmla="*/ 3200400 h 4496940"/>
                    <a:gd name="connsiteX86" fmla="*/ 240052 w 4519987"/>
                    <a:gd name="connsiteY86" fmla="*/ 3162300 h 4496940"/>
                    <a:gd name="connsiteX87" fmla="*/ 221002 w 4519987"/>
                    <a:gd name="connsiteY87" fmla="*/ 3105150 h 4496940"/>
                    <a:gd name="connsiteX88" fmla="*/ 173377 w 4519987"/>
                    <a:gd name="connsiteY88" fmla="*/ 3019425 h 4496940"/>
                    <a:gd name="connsiteX89" fmla="*/ 144802 w 4519987"/>
                    <a:gd name="connsiteY89" fmla="*/ 2924175 h 4496940"/>
                    <a:gd name="connsiteX90" fmla="*/ 68602 w 4519987"/>
                    <a:gd name="connsiteY90" fmla="*/ 2724150 h 4496940"/>
                    <a:gd name="connsiteX91" fmla="*/ 49552 w 4519987"/>
                    <a:gd name="connsiteY91" fmla="*/ 2638425 h 4496940"/>
                    <a:gd name="connsiteX92" fmla="*/ 40027 w 4519987"/>
                    <a:gd name="connsiteY92" fmla="*/ 2562225 h 4496940"/>
                    <a:gd name="connsiteX93" fmla="*/ 30502 w 4519987"/>
                    <a:gd name="connsiteY93" fmla="*/ 2514600 h 4496940"/>
                    <a:gd name="connsiteX94" fmla="*/ 11452 w 4519987"/>
                    <a:gd name="connsiteY94" fmla="*/ 2400300 h 4496940"/>
                    <a:gd name="connsiteX95" fmla="*/ 20977 w 4519987"/>
                    <a:gd name="connsiteY95" fmla="*/ 1905000 h 4496940"/>
                    <a:gd name="connsiteX96" fmla="*/ 30502 w 4519987"/>
                    <a:gd name="connsiteY96" fmla="*/ 1838325 h 4496940"/>
                    <a:gd name="connsiteX97" fmla="*/ 49552 w 4519987"/>
                    <a:gd name="connsiteY97" fmla="*/ 1781175 h 4496940"/>
                    <a:gd name="connsiteX98" fmla="*/ 59077 w 4519987"/>
                    <a:gd name="connsiteY98" fmla="*/ 1743075 h 4496940"/>
                    <a:gd name="connsiteX99" fmla="*/ 78127 w 4519987"/>
                    <a:gd name="connsiteY99" fmla="*/ 1685925 h 4496940"/>
                    <a:gd name="connsiteX100" fmla="*/ 87652 w 4519987"/>
                    <a:gd name="connsiteY100" fmla="*/ 1638300 h 4496940"/>
                    <a:gd name="connsiteX101" fmla="*/ 106702 w 4519987"/>
                    <a:gd name="connsiteY101" fmla="*/ 1590675 h 4496940"/>
                    <a:gd name="connsiteX102" fmla="*/ 135277 w 4519987"/>
                    <a:gd name="connsiteY102" fmla="*/ 1504950 h 4496940"/>
                    <a:gd name="connsiteX103" fmla="*/ 154327 w 4519987"/>
                    <a:gd name="connsiteY103" fmla="*/ 1419225 h 4496940"/>
                    <a:gd name="connsiteX104" fmla="*/ 230527 w 4519987"/>
                    <a:gd name="connsiteY104" fmla="*/ 1276350 h 4496940"/>
                    <a:gd name="connsiteX105" fmla="*/ 240052 w 4519987"/>
                    <a:gd name="connsiteY105" fmla="*/ 1247775 h 4496940"/>
                    <a:gd name="connsiteX106" fmla="*/ 268627 w 4519987"/>
                    <a:gd name="connsiteY106" fmla="*/ 1200150 h 4496940"/>
                    <a:gd name="connsiteX107" fmla="*/ 287677 w 4519987"/>
                    <a:gd name="connsiteY107" fmla="*/ 1152525 h 4496940"/>
                    <a:gd name="connsiteX108" fmla="*/ 316252 w 4519987"/>
                    <a:gd name="connsiteY108" fmla="*/ 1114425 h 4496940"/>
                    <a:gd name="connsiteX109" fmla="*/ 363877 w 4519987"/>
                    <a:gd name="connsiteY109" fmla="*/ 1038225 h 4496940"/>
                    <a:gd name="connsiteX110" fmla="*/ 382927 w 4519987"/>
                    <a:gd name="connsiteY110" fmla="*/ 1009650 h 4496940"/>
                    <a:gd name="connsiteX111" fmla="*/ 440077 w 4519987"/>
                    <a:gd name="connsiteY111" fmla="*/ 904875 h 4496940"/>
                    <a:gd name="connsiteX112" fmla="*/ 478177 w 4519987"/>
                    <a:gd name="connsiteY112" fmla="*/ 857250 h 4496940"/>
                    <a:gd name="connsiteX113" fmla="*/ 497227 w 4519987"/>
                    <a:gd name="connsiteY113" fmla="*/ 828675 h 4496940"/>
                    <a:gd name="connsiteX114" fmla="*/ 535327 w 4519987"/>
                    <a:gd name="connsiteY114" fmla="*/ 800100 h 4496940"/>
                    <a:gd name="connsiteX115" fmla="*/ 602002 w 4519987"/>
                    <a:gd name="connsiteY115" fmla="*/ 733425 h 4496940"/>
                    <a:gd name="connsiteX116" fmla="*/ 668677 w 4519987"/>
                    <a:gd name="connsiteY116" fmla="*/ 676275 h 4496940"/>
                    <a:gd name="connsiteX117" fmla="*/ 697252 w 4519987"/>
                    <a:gd name="connsiteY117" fmla="*/ 657225 h 4496940"/>
                    <a:gd name="connsiteX118" fmla="*/ 840127 w 4519987"/>
                    <a:gd name="connsiteY118" fmla="*/ 533400 h 4496940"/>
                    <a:gd name="connsiteX119" fmla="*/ 887752 w 4519987"/>
                    <a:gd name="connsiteY119" fmla="*/ 504825 h 4496940"/>
                    <a:gd name="connsiteX120" fmla="*/ 1167152 w 4519987"/>
                    <a:gd name="connsiteY120" fmla="*/ 311150 h 4496940"/>
                    <a:gd name="connsiteX121" fmla="*/ 1268752 w 4519987"/>
                    <a:gd name="connsiteY121" fmla="*/ 285750 h 4496940"/>
                    <a:gd name="connsiteX122" fmla="*/ 1411627 w 4519987"/>
                    <a:gd name="connsiteY122" fmla="*/ 190500 h 4496940"/>
                    <a:gd name="connsiteX123" fmla="*/ 1449727 w 4519987"/>
                    <a:gd name="connsiteY123" fmla="*/ 161925 h 4496940"/>
                    <a:gd name="connsiteX124" fmla="*/ 1525927 w 4519987"/>
                    <a:gd name="connsiteY124" fmla="*/ 152400 h 4496940"/>
                    <a:gd name="connsiteX125" fmla="*/ 1583077 w 4519987"/>
                    <a:gd name="connsiteY125" fmla="*/ 142875 h 4496940"/>
                    <a:gd name="connsiteX126" fmla="*/ 1716427 w 4519987"/>
                    <a:gd name="connsiteY126" fmla="*/ 123825 h 4496940"/>
                    <a:gd name="connsiteX127" fmla="*/ 1811677 w 4519987"/>
                    <a:gd name="connsiteY127" fmla="*/ 114300 h 4496940"/>
                    <a:gd name="connsiteX128" fmla="*/ 1859302 w 4519987"/>
                    <a:gd name="connsiteY128" fmla="*/ 104775 h 4496940"/>
                    <a:gd name="connsiteX129" fmla="*/ 1916452 w 4519987"/>
                    <a:gd name="connsiteY129" fmla="*/ 95250 h 4496940"/>
                    <a:gd name="connsiteX130" fmla="*/ 2030752 w 4519987"/>
                    <a:gd name="connsiteY130" fmla="*/ 66675 h 4496940"/>
                    <a:gd name="connsiteX131" fmla="*/ 2097427 w 4519987"/>
                    <a:gd name="connsiteY131" fmla="*/ 47625 h 4496940"/>
                    <a:gd name="connsiteX132" fmla="*/ 2164102 w 4519987"/>
                    <a:gd name="connsiteY132" fmla="*/ 38100 h 4496940"/>
                    <a:gd name="connsiteX133" fmla="*/ 2392702 w 4519987"/>
                    <a:gd name="connsiteY13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659527 w 4519987"/>
                    <a:gd name="connsiteY39" fmla="*/ 3971925 h 4496940"/>
                    <a:gd name="connsiteX40" fmla="*/ 3630952 w 4519987"/>
                    <a:gd name="connsiteY40" fmla="*/ 4010025 h 4496940"/>
                    <a:gd name="connsiteX41" fmla="*/ 3621427 w 4519987"/>
                    <a:gd name="connsiteY41" fmla="*/ 4038600 h 4496940"/>
                    <a:gd name="connsiteX42" fmla="*/ 3554752 w 4519987"/>
                    <a:gd name="connsiteY42" fmla="*/ 4095750 h 4496940"/>
                    <a:gd name="connsiteX43" fmla="*/ 3516652 w 4519987"/>
                    <a:gd name="connsiteY43" fmla="*/ 4114800 h 4496940"/>
                    <a:gd name="connsiteX44" fmla="*/ 3497602 w 4519987"/>
                    <a:gd name="connsiteY44" fmla="*/ 4143375 h 4496940"/>
                    <a:gd name="connsiteX45" fmla="*/ 3383302 w 4519987"/>
                    <a:gd name="connsiteY45" fmla="*/ 4210050 h 4496940"/>
                    <a:gd name="connsiteX46" fmla="*/ 3335677 w 4519987"/>
                    <a:gd name="connsiteY46" fmla="*/ 4238625 h 4496940"/>
                    <a:gd name="connsiteX47" fmla="*/ 3288052 w 4519987"/>
                    <a:gd name="connsiteY47" fmla="*/ 4248150 h 4496940"/>
                    <a:gd name="connsiteX48" fmla="*/ 3240427 w 4519987"/>
                    <a:gd name="connsiteY48" fmla="*/ 4267200 h 4496940"/>
                    <a:gd name="connsiteX49" fmla="*/ 3068977 w 4519987"/>
                    <a:gd name="connsiteY49" fmla="*/ 4286250 h 4496940"/>
                    <a:gd name="connsiteX50" fmla="*/ 2935627 w 4519987"/>
                    <a:gd name="connsiteY50" fmla="*/ 4333875 h 4496940"/>
                    <a:gd name="connsiteX51" fmla="*/ 2811802 w 4519987"/>
                    <a:gd name="connsiteY51" fmla="*/ 4371975 h 4496940"/>
                    <a:gd name="connsiteX52" fmla="*/ 2745127 w 4519987"/>
                    <a:gd name="connsiteY52" fmla="*/ 4410075 h 4496940"/>
                    <a:gd name="connsiteX53" fmla="*/ 2697502 w 4519987"/>
                    <a:gd name="connsiteY53" fmla="*/ 4429125 h 4496940"/>
                    <a:gd name="connsiteX54" fmla="*/ 2640352 w 4519987"/>
                    <a:gd name="connsiteY54" fmla="*/ 4457700 h 4496940"/>
                    <a:gd name="connsiteX55" fmla="*/ 2583202 w 4519987"/>
                    <a:gd name="connsiteY55" fmla="*/ 4467225 h 4496940"/>
                    <a:gd name="connsiteX56" fmla="*/ 2545102 w 4519987"/>
                    <a:gd name="connsiteY56" fmla="*/ 4486275 h 4496940"/>
                    <a:gd name="connsiteX57" fmla="*/ 2306977 w 4519987"/>
                    <a:gd name="connsiteY57" fmla="*/ 4476750 h 4496940"/>
                    <a:gd name="connsiteX58" fmla="*/ 2202202 w 4519987"/>
                    <a:gd name="connsiteY58" fmla="*/ 4457700 h 4496940"/>
                    <a:gd name="connsiteX59" fmla="*/ 2126002 w 4519987"/>
                    <a:gd name="connsiteY59" fmla="*/ 4429125 h 4496940"/>
                    <a:gd name="connsiteX60" fmla="*/ 1935502 w 4519987"/>
                    <a:gd name="connsiteY60" fmla="*/ 4400550 h 4496940"/>
                    <a:gd name="connsiteX61" fmla="*/ 1821202 w 4519987"/>
                    <a:gd name="connsiteY61" fmla="*/ 4371975 h 4496940"/>
                    <a:gd name="connsiteX62" fmla="*/ 1754527 w 4519987"/>
                    <a:gd name="connsiteY62" fmla="*/ 4352925 h 4496940"/>
                    <a:gd name="connsiteX63" fmla="*/ 1687852 w 4519987"/>
                    <a:gd name="connsiteY63" fmla="*/ 4343400 h 4496940"/>
                    <a:gd name="connsiteX64" fmla="*/ 1573552 w 4519987"/>
                    <a:gd name="connsiteY64" fmla="*/ 4305300 h 4496940"/>
                    <a:gd name="connsiteX65" fmla="*/ 1402102 w 4519987"/>
                    <a:gd name="connsiteY65" fmla="*/ 4276725 h 4496940"/>
                    <a:gd name="connsiteX66" fmla="*/ 1287802 w 4519987"/>
                    <a:gd name="connsiteY66" fmla="*/ 4229100 h 4496940"/>
                    <a:gd name="connsiteX67" fmla="*/ 1221127 w 4519987"/>
                    <a:gd name="connsiteY67" fmla="*/ 4200525 h 4496940"/>
                    <a:gd name="connsiteX68" fmla="*/ 1144927 w 4519987"/>
                    <a:gd name="connsiteY68" fmla="*/ 4171950 h 4496940"/>
                    <a:gd name="connsiteX69" fmla="*/ 1087777 w 4519987"/>
                    <a:gd name="connsiteY69" fmla="*/ 4143375 h 4496940"/>
                    <a:gd name="connsiteX70" fmla="*/ 1030627 w 4519987"/>
                    <a:gd name="connsiteY70" fmla="*/ 4124325 h 4496940"/>
                    <a:gd name="connsiteX71" fmla="*/ 925852 w 4519987"/>
                    <a:gd name="connsiteY71" fmla="*/ 4067175 h 4496940"/>
                    <a:gd name="connsiteX72" fmla="*/ 830602 w 4519987"/>
                    <a:gd name="connsiteY72" fmla="*/ 3981450 h 4496940"/>
                    <a:gd name="connsiteX73" fmla="*/ 763927 w 4519987"/>
                    <a:gd name="connsiteY73" fmla="*/ 3914775 h 4496940"/>
                    <a:gd name="connsiteX74" fmla="*/ 725827 w 4519987"/>
                    <a:gd name="connsiteY74" fmla="*/ 3876675 h 4496940"/>
                    <a:gd name="connsiteX75" fmla="*/ 697252 w 4519987"/>
                    <a:gd name="connsiteY75" fmla="*/ 3838575 h 4496940"/>
                    <a:gd name="connsiteX76" fmla="*/ 640102 w 4519987"/>
                    <a:gd name="connsiteY76" fmla="*/ 3781425 h 4496940"/>
                    <a:gd name="connsiteX77" fmla="*/ 611527 w 4519987"/>
                    <a:gd name="connsiteY77" fmla="*/ 3733800 h 4496940"/>
                    <a:gd name="connsiteX78" fmla="*/ 554377 w 4519987"/>
                    <a:gd name="connsiteY78" fmla="*/ 3657600 h 4496940"/>
                    <a:gd name="connsiteX79" fmla="*/ 525802 w 4519987"/>
                    <a:gd name="connsiteY79" fmla="*/ 3609975 h 4496940"/>
                    <a:gd name="connsiteX80" fmla="*/ 497227 w 4519987"/>
                    <a:gd name="connsiteY80" fmla="*/ 3552825 h 4496940"/>
                    <a:gd name="connsiteX81" fmla="*/ 440077 w 4519987"/>
                    <a:gd name="connsiteY81" fmla="*/ 3495675 h 4496940"/>
                    <a:gd name="connsiteX82" fmla="*/ 411502 w 4519987"/>
                    <a:gd name="connsiteY82" fmla="*/ 3448050 h 4496940"/>
                    <a:gd name="connsiteX83" fmla="*/ 278152 w 4519987"/>
                    <a:gd name="connsiteY83" fmla="*/ 3257550 h 4496940"/>
                    <a:gd name="connsiteX84" fmla="*/ 249577 w 4519987"/>
                    <a:gd name="connsiteY84" fmla="*/ 3200400 h 4496940"/>
                    <a:gd name="connsiteX85" fmla="*/ 240052 w 4519987"/>
                    <a:gd name="connsiteY85" fmla="*/ 3162300 h 4496940"/>
                    <a:gd name="connsiteX86" fmla="*/ 221002 w 4519987"/>
                    <a:gd name="connsiteY86" fmla="*/ 3105150 h 4496940"/>
                    <a:gd name="connsiteX87" fmla="*/ 173377 w 4519987"/>
                    <a:gd name="connsiteY87" fmla="*/ 3019425 h 4496940"/>
                    <a:gd name="connsiteX88" fmla="*/ 144802 w 4519987"/>
                    <a:gd name="connsiteY88" fmla="*/ 2924175 h 4496940"/>
                    <a:gd name="connsiteX89" fmla="*/ 68602 w 4519987"/>
                    <a:gd name="connsiteY89" fmla="*/ 2724150 h 4496940"/>
                    <a:gd name="connsiteX90" fmla="*/ 49552 w 4519987"/>
                    <a:gd name="connsiteY90" fmla="*/ 2638425 h 4496940"/>
                    <a:gd name="connsiteX91" fmla="*/ 40027 w 4519987"/>
                    <a:gd name="connsiteY91" fmla="*/ 2562225 h 4496940"/>
                    <a:gd name="connsiteX92" fmla="*/ 30502 w 4519987"/>
                    <a:gd name="connsiteY92" fmla="*/ 2514600 h 4496940"/>
                    <a:gd name="connsiteX93" fmla="*/ 11452 w 4519987"/>
                    <a:gd name="connsiteY93" fmla="*/ 2400300 h 4496940"/>
                    <a:gd name="connsiteX94" fmla="*/ 20977 w 4519987"/>
                    <a:gd name="connsiteY94" fmla="*/ 1905000 h 4496940"/>
                    <a:gd name="connsiteX95" fmla="*/ 30502 w 4519987"/>
                    <a:gd name="connsiteY95" fmla="*/ 1838325 h 4496940"/>
                    <a:gd name="connsiteX96" fmla="*/ 49552 w 4519987"/>
                    <a:gd name="connsiteY96" fmla="*/ 1781175 h 4496940"/>
                    <a:gd name="connsiteX97" fmla="*/ 59077 w 4519987"/>
                    <a:gd name="connsiteY97" fmla="*/ 1743075 h 4496940"/>
                    <a:gd name="connsiteX98" fmla="*/ 78127 w 4519987"/>
                    <a:gd name="connsiteY98" fmla="*/ 1685925 h 4496940"/>
                    <a:gd name="connsiteX99" fmla="*/ 87652 w 4519987"/>
                    <a:gd name="connsiteY99" fmla="*/ 1638300 h 4496940"/>
                    <a:gd name="connsiteX100" fmla="*/ 106702 w 4519987"/>
                    <a:gd name="connsiteY100" fmla="*/ 1590675 h 4496940"/>
                    <a:gd name="connsiteX101" fmla="*/ 135277 w 4519987"/>
                    <a:gd name="connsiteY101" fmla="*/ 1504950 h 4496940"/>
                    <a:gd name="connsiteX102" fmla="*/ 154327 w 4519987"/>
                    <a:gd name="connsiteY102" fmla="*/ 1419225 h 4496940"/>
                    <a:gd name="connsiteX103" fmla="*/ 230527 w 4519987"/>
                    <a:gd name="connsiteY103" fmla="*/ 1276350 h 4496940"/>
                    <a:gd name="connsiteX104" fmla="*/ 240052 w 4519987"/>
                    <a:gd name="connsiteY104" fmla="*/ 1247775 h 4496940"/>
                    <a:gd name="connsiteX105" fmla="*/ 268627 w 4519987"/>
                    <a:gd name="connsiteY105" fmla="*/ 1200150 h 4496940"/>
                    <a:gd name="connsiteX106" fmla="*/ 287677 w 4519987"/>
                    <a:gd name="connsiteY106" fmla="*/ 1152525 h 4496940"/>
                    <a:gd name="connsiteX107" fmla="*/ 316252 w 4519987"/>
                    <a:gd name="connsiteY107" fmla="*/ 1114425 h 4496940"/>
                    <a:gd name="connsiteX108" fmla="*/ 363877 w 4519987"/>
                    <a:gd name="connsiteY108" fmla="*/ 1038225 h 4496940"/>
                    <a:gd name="connsiteX109" fmla="*/ 382927 w 4519987"/>
                    <a:gd name="connsiteY109" fmla="*/ 1009650 h 4496940"/>
                    <a:gd name="connsiteX110" fmla="*/ 440077 w 4519987"/>
                    <a:gd name="connsiteY110" fmla="*/ 904875 h 4496940"/>
                    <a:gd name="connsiteX111" fmla="*/ 478177 w 4519987"/>
                    <a:gd name="connsiteY111" fmla="*/ 857250 h 4496940"/>
                    <a:gd name="connsiteX112" fmla="*/ 497227 w 4519987"/>
                    <a:gd name="connsiteY112" fmla="*/ 828675 h 4496940"/>
                    <a:gd name="connsiteX113" fmla="*/ 535327 w 4519987"/>
                    <a:gd name="connsiteY113" fmla="*/ 800100 h 4496940"/>
                    <a:gd name="connsiteX114" fmla="*/ 602002 w 4519987"/>
                    <a:gd name="connsiteY114" fmla="*/ 733425 h 4496940"/>
                    <a:gd name="connsiteX115" fmla="*/ 668677 w 4519987"/>
                    <a:gd name="connsiteY115" fmla="*/ 676275 h 4496940"/>
                    <a:gd name="connsiteX116" fmla="*/ 697252 w 4519987"/>
                    <a:gd name="connsiteY116" fmla="*/ 657225 h 4496940"/>
                    <a:gd name="connsiteX117" fmla="*/ 840127 w 4519987"/>
                    <a:gd name="connsiteY117" fmla="*/ 533400 h 4496940"/>
                    <a:gd name="connsiteX118" fmla="*/ 887752 w 4519987"/>
                    <a:gd name="connsiteY118" fmla="*/ 504825 h 4496940"/>
                    <a:gd name="connsiteX119" fmla="*/ 1167152 w 4519987"/>
                    <a:gd name="connsiteY119" fmla="*/ 311150 h 4496940"/>
                    <a:gd name="connsiteX120" fmla="*/ 1268752 w 4519987"/>
                    <a:gd name="connsiteY120" fmla="*/ 285750 h 4496940"/>
                    <a:gd name="connsiteX121" fmla="*/ 1411627 w 4519987"/>
                    <a:gd name="connsiteY121" fmla="*/ 190500 h 4496940"/>
                    <a:gd name="connsiteX122" fmla="*/ 1449727 w 4519987"/>
                    <a:gd name="connsiteY122" fmla="*/ 161925 h 4496940"/>
                    <a:gd name="connsiteX123" fmla="*/ 1525927 w 4519987"/>
                    <a:gd name="connsiteY123" fmla="*/ 152400 h 4496940"/>
                    <a:gd name="connsiteX124" fmla="*/ 1583077 w 4519987"/>
                    <a:gd name="connsiteY124" fmla="*/ 142875 h 4496940"/>
                    <a:gd name="connsiteX125" fmla="*/ 1716427 w 4519987"/>
                    <a:gd name="connsiteY125" fmla="*/ 123825 h 4496940"/>
                    <a:gd name="connsiteX126" fmla="*/ 1811677 w 4519987"/>
                    <a:gd name="connsiteY126" fmla="*/ 114300 h 4496940"/>
                    <a:gd name="connsiteX127" fmla="*/ 1859302 w 4519987"/>
                    <a:gd name="connsiteY127" fmla="*/ 104775 h 4496940"/>
                    <a:gd name="connsiteX128" fmla="*/ 1916452 w 4519987"/>
                    <a:gd name="connsiteY128" fmla="*/ 95250 h 4496940"/>
                    <a:gd name="connsiteX129" fmla="*/ 2030752 w 4519987"/>
                    <a:gd name="connsiteY129" fmla="*/ 66675 h 4496940"/>
                    <a:gd name="connsiteX130" fmla="*/ 2097427 w 4519987"/>
                    <a:gd name="connsiteY130" fmla="*/ 47625 h 4496940"/>
                    <a:gd name="connsiteX131" fmla="*/ 2164102 w 4519987"/>
                    <a:gd name="connsiteY131" fmla="*/ 38100 h 4496940"/>
                    <a:gd name="connsiteX132" fmla="*/ 2392702 w 4519987"/>
                    <a:gd name="connsiteY13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659527 w 4519987"/>
                    <a:gd name="connsiteY38" fmla="*/ 3971925 h 4496940"/>
                    <a:gd name="connsiteX39" fmla="*/ 3630952 w 4519987"/>
                    <a:gd name="connsiteY39" fmla="*/ 4010025 h 4496940"/>
                    <a:gd name="connsiteX40" fmla="*/ 3621427 w 4519987"/>
                    <a:gd name="connsiteY40" fmla="*/ 4038600 h 4496940"/>
                    <a:gd name="connsiteX41" fmla="*/ 3554752 w 4519987"/>
                    <a:gd name="connsiteY41" fmla="*/ 4095750 h 4496940"/>
                    <a:gd name="connsiteX42" fmla="*/ 3516652 w 4519987"/>
                    <a:gd name="connsiteY42" fmla="*/ 4114800 h 4496940"/>
                    <a:gd name="connsiteX43" fmla="*/ 3497602 w 4519987"/>
                    <a:gd name="connsiteY43" fmla="*/ 4143375 h 4496940"/>
                    <a:gd name="connsiteX44" fmla="*/ 3383302 w 4519987"/>
                    <a:gd name="connsiteY44" fmla="*/ 4210050 h 4496940"/>
                    <a:gd name="connsiteX45" fmla="*/ 3335677 w 4519987"/>
                    <a:gd name="connsiteY45" fmla="*/ 4238625 h 4496940"/>
                    <a:gd name="connsiteX46" fmla="*/ 3288052 w 4519987"/>
                    <a:gd name="connsiteY46" fmla="*/ 4248150 h 4496940"/>
                    <a:gd name="connsiteX47" fmla="*/ 3240427 w 4519987"/>
                    <a:gd name="connsiteY47" fmla="*/ 4267200 h 4496940"/>
                    <a:gd name="connsiteX48" fmla="*/ 3068977 w 4519987"/>
                    <a:gd name="connsiteY48" fmla="*/ 4286250 h 4496940"/>
                    <a:gd name="connsiteX49" fmla="*/ 2935627 w 4519987"/>
                    <a:gd name="connsiteY49" fmla="*/ 4333875 h 4496940"/>
                    <a:gd name="connsiteX50" fmla="*/ 2811802 w 4519987"/>
                    <a:gd name="connsiteY50" fmla="*/ 4371975 h 4496940"/>
                    <a:gd name="connsiteX51" fmla="*/ 2745127 w 4519987"/>
                    <a:gd name="connsiteY51" fmla="*/ 4410075 h 4496940"/>
                    <a:gd name="connsiteX52" fmla="*/ 2697502 w 4519987"/>
                    <a:gd name="connsiteY52" fmla="*/ 4429125 h 4496940"/>
                    <a:gd name="connsiteX53" fmla="*/ 2640352 w 4519987"/>
                    <a:gd name="connsiteY53" fmla="*/ 4457700 h 4496940"/>
                    <a:gd name="connsiteX54" fmla="*/ 2583202 w 4519987"/>
                    <a:gd name="connsiteY54" fmla="*/ 4467225 h 4496940"/>
                    <a:gd name="connsiteX55" fmla="*/ 2545102 w 4519987"/>
                    <a:gd name="connsiteY55" fmla="*/ 4486275 h 4496940"/>
                    <a:gd name="connsiteX56" fmla="*/ 2306977 w 4519987"/>
                    <a:gd name="connsiteY56" fmla="*/ 4476750 h 4496940"/>
                    <a:gd name="connsiteX57" fmla="*/ 2202202 w 4519987"/>
                    <a:gd name="connsiteY57" fmla="*/ 4457700 h 4496940"/>
                    <a:gd name="connsiteX58" fmla="*/ 2126002 w 4519987"/>
                    <a:gd name="connsiteY58" fmla="*/ 4429125 h 4496940"/>
                    <a:gd name="connsiteX59" fmla="*/ 1935502 w 4519987"/>
                    <a:gd name="connsiteY59" fmla="*/ 4400550 h 4496940"/>
                    <a:gd name="connsiteX60" fmla="*/ 1821202 w 4519987"/>
                    <a:gd name="connsiteY60" fmla="*/ 4371975 h 4496940"/>
                    <a:gd name="connsiteX61" fmla="*/ 1754527 w 4519987"/>
                    <a:gd name="connsiteY61" fmla="*/ 4352925 h 4496940"/>
                    <a:gd name="connsiteX62" fmla="*/ 1687852 w 4519987"/>
                    <a:gd name="connsiteY62" fmla="*/ 4343400 h 4496940"/>
                    <a:gd name="connsiteX63" fmla="*/ 1573552 w 4519987"/>
                    <a:gd name="connsiteY63" fmla="*/ 4305300 h 4496940"/>
                    <a:gd name="connsiteX64" fmla="*/ 1402102 w 4519987"/>
                    <a:gd name="connsiteY64" fmla="*/ 4276725 h 4496940"/>
                    <a:gd name="connsiteX65" fmla="*/ 1287802 w 4519987"/>
                    <a:gd name="connsiteY65" fmla="*/ 4229100 h 4496940"/>
                    <a:gd name="connsiteX66" fmla="*/ 1221127 w 4519987"/>
                    <a:gd name="connsiteY66" fmla="*/ 4200525 h 4496940"/>
                    <a:gd name="connsiteX67" fmla="*/ 1144927 w 4519987"/>
                    <a:gd name="connsiteY67" fmla="*/ 4171950 h 4496940"/>
                    <a:gd name="connsiteX68" fmla="*/ 1087777 w 4519987"/>
                    <a:gd name="connsiteY68" fmla="*/ 4143375 h 4496940"/>
                    <a:gd name="connsiteX69" fmla="*/ 1030627 w 4519987"/>
                    <a:gd name="connsiteY69" fmla="*/ 4124325 h 4496940"/>
                    <a:gd name="connsiteX70" fmla="*/ 925852 w 4519987"/>
                    <a:gd name="connsiteY70" fmla="*/ 4067175 h 4496940"/>
                    <a:gd name="connsiteX71" fmla="*/ 830602 w 4519987"/>
                    <a:gd name="connsiteY71" fmla="*/ 3981450 h 4496940"/>
                    <a:gd name="connsiteX72" fmla="*/ 763927 w 4519987"/>
                    <a:gd name="connsiteY72" fmla="*/ 3914775 h 4496940"/>
                    <a:gd name="connsiteX73" fmla="*/ 725827 w 4519987"/>
                    <a:gd name="connsiteY73" fmla="*/ 3876675 h 4496940"/>
                    <a:gd name="connsiteX74" fmla="*/ 697252 w 4519987"/>
                    <a:gd name="connsiteY74" fmla="*/ 3838575 h 4496940"/>
                    <a:gd name="connsiteX75" fmla="*/ 640102 w 4519987"/>
                    <a:gd name="connsiteY75" fmla="*/ 3781425 h 4496940"/>
                    <a:gd name="connsiteX76" fmla="*/ 611527 w 4519987"/>
                    <a:gd name="connsiteY76" fmla="*/ 3733800 h 4496940"/>
                    <a:gd name="connsiteX77" fmla="*/ 554377 w 4519987"/>
                    <a:gd name="connsiteY77" fmla="*/ 3657600 h 4496940"/>
                    <a:gd name="connsiteX78" fmla="*/ 525802 w 4519987"/>
                    <a:gd name="connsiteY78" fmla="*/ 3609975 h 4496940"/>
                    <a:gd name="connsiteX79" fmla="*/ 497227 w 4519987"/>
                    <a:gd name="connsiteY79" fmla="*/ 3552825 h 4496940"/>
                    <a:gd name="connsiteX80" fmla="*/ 440077 w 4519987"/>
                    <a:gd name="connsiteY80" fmla="*/ 3495675 h 4496940"/>
                    <a:gd name="connsiteX81" fmla="*/ 411502 w 4519987"/>
                    <a:gd name="connsiteY81" fmla="*/ 3448050 h 4496940"/>
                    <a:gd name="connsiteX82" fmla="*/ 278152 w 4519987"/>
                    <a:gd name="connsiteY82" fmla="*/ 3257550 h 4496940"/>
                    <a:gd name="connsiteX83" fmla="*/ 249577 w 4519987"/>
                    <a:gd name="connsiteY83" fmla="*/ 3200400 h 4496940"/>
                    <a:gd name="connsiteX84" fmla="*/ 240052 w 4519987"/>
                    <a:gd name="connsiteY84" fmla="*/ 3162300 h 4496940"/>
                    <a:gd name="connsiteX85" fmla="*/ 221002 w 4519987"/>
                    <a:gd name="connsiteY85" fmla="*/ 3105150 h 4496940"/>
                    <a:gd name="connsiteX86" fmla="*/ 173377 w 4519987"/>
                    <a:gd name="connsiteY86" fmla="*/ 3019425 h 4496940"/>
                    <a:gd name="connsiteX87" fmla="*/ 144802 w 4519987"/>
                    <a:gd name="connsiteY87" fmla="*/ 2924175 h 4496940"/>
                    <a:gd name="connsiteX88" fmla="*/ 68602 w 4519987"/>
                    <a:gd name="connsiteY88" fmla="*/ 2724150 h 4496940"/>
                    <a:gd name="connsiteX89" fmla="*/ 49552 w 4519987"/>
                    <a:gd name="connsiteY89" fmla="*/ 2638425 h 4496940"/>
                    <a:gd name="connsiteX90" fmla="*/ 40027 w 4519987"/>
                    <a:gd name="connsiteY90" fmla="*/ 2562225 h 4496940"/>
                    <a:gd name="connsiteX91" fmla="*/ 30502 w 4519987"/>
                    <a:gd name="connsiteY91" fmla="*/ 2514600 h 4496940"/>
                    <a:gd name="connsiteX92" fmla="*/ 11452 w 4519987"/>
                    <a:gd name="connsiteY92" fmla="*/ 2400300 h 4496940"/>
                    <a:gd name="connsiteX93" fmla="*/ 20977 w 4519987"/>
                    <a:gd name="connsiteY93" fmla="*/ 1905000 h 4496940"/>
                    <a:gd name="connsiteX94" fmla="*/ 30502 w 4519987"/>
                    <a:gd name="connsiteY94" fmla="*/ 1838325 h 4496940"/>
                    <a:gd name="connsiteX95" fmla="*/ 49552 w 4519987"/>
                    <a:gd name="connsiteY95" fmla="*/ 1781175 h 4496940"/>
                    <a:gd name="connsiteX96" fmla="*/ 59077 w 4519987"/>
                    <a:gd name="connsiteY96" fmla="*/ 1743075 h 4496940"/>
                    <a:gd name="connsiteX97" fmla="*/ 78127 w 4519987"/>
                    <a:gd name="connsiteY97" fmla="*/ 1685925 h 4496940"/>
                    <a:gd name="connsiteX98" fmla="*/ 87652 w 4519987"/>
                    <a:gd name="connsiteY98" fmla="*/ 1638300 h 4496940"/>
                    <a:gd name="connsiteX99" fmla="*/ 106702 w 4519987"/>
                    <a:gd name="connsiteY99" fmla="*/ 1590675 h 4496940"/>
                    <a:gd name="connsiteX100" fmla="*/ 135277 w 4519987"/>
                    <a:gd name="connsiteY100" fmla="*/ 1504950 h 4496940"/>
                    <a:gd name="connsiteX101" fmla="*/ 154327 w 4519987"/>
                    <a:gd name="connsiteY101" fmla="*/ 1419225 h 4496940"/>
                    <a:gd name="connsiteX102" fmla="*/ 230527 w 4519987"/>
                    <a:gd name="connsiteY102" fmla="*/ 1276350 h 4496940"/>
                    <a:gd name="connsiteX103" fmla="*/ 240052 w 4519987"/>
                    <a:gd name="connsiteY103" fmla="*/ 1247775 h 4496940"/>
                    <a:gd name="connsiteX104" fmla="*/ 268627 w 4519987"/>
                    <a:gd name="connsiteY104" fmla="*/ 1200150 h 4496940"/>
                    <a:gd name="connsiteX105" fmla="*/ 287677 w 4519987"/>
                    <a:gd name="connsiteY105" fmla="*/ 1152525 h 4496940"/>
                    <a:gd name="connsiteX106" fmla="*/ 316252 w 4519987"/>
                    <a:gd name="connsiteY106" fmla="*/ 1114425 h 4496940"/>
                    <a:gd name="connsiteX107" fmla="*/ 363877 w 4519987"/>
                    <a:gd name="connsiteY107" fmla="*/ 1038225 h 4496940"/>
                    <a:gd name="connsiteX108" fmla="*/ 382927 w 4519987"/>
                    <a:gd name="connsiteY108" fmla="*/ 1009650 h 4496940"/>
                    <a:gd name="connsiteX109" fmla="*/ 440077 w 4519987"/>
                    <a:gd name="connsiteY109" fmla="*/ 904875 h 4496940"/>
                    <a:gd name="connsiteX110" fmla="*/ 478177 w 4519987"/>
                    <a:gd name="connsiteY110" fmla="*/ 857250 h 4496940"/>
                    <a:gd name="connsiteX111" fmla="*/ 497227 w 4519987"/>
                    <a:gd name="connsiteY111" fmla="*/ 828675 h 4496940"/>
                    <a:gd name="connsiteX112" fmla="*/ 535327 w 4519987"/>
                    <a:gd name="connsiteY112" fmla="*/ 800100 h 4496940"/>
                    <a:gd name="connsiteX113" fmla="*/ 602002 w 4519987"/>
                    <a:gd name="connsiteY113" fmla="*/ 733425 h 4496940"/>
                    <a:gd name="connsiteX114" fmla="*/ 668677 w 4519987"/>
                    <a:gd name="connsiteY114" fmla="*/ 676275 h 4496940"/>
                    <a:gd name="connsiteX115" fmla="*/ 697252 w 4519987"/>
                    <a:gd name="connsiteY115" fmla="*/ 657225 h 4496940"/>
                    <a:gd name="connsiteX116" fmla="*/ 840127 w 4519987"/>
                    <a:gd name="connsiteY116" fmla="*/ 533400 h 4496940"/>
                    <a:gd name="connsiteX117" fmla="*/ 887752 w 4519987"/>
                    <a:gd name="connsiteY117" fmla="*/ 504825 h 4496940"/>
                    <a:gd name="connsiteX118" fmla="*/ 1167152 w 4519987"/>
                    <a:gd name="connsiteY118" fmla="*/ 311150 h 4496940"/>
                    <a:gd name="connsiteX119" fmla="*/ 1268752 w 4519987"/>
                    <a:gd name="connsiteY119" fmla="*/ 285750 h 4496940"/>
                    <a:gd name="connsiteX120" fmla="*/ 1411627 w 4519987"/>
                    <a:gd name="connsiteY120" fmla="*/ 190500 h 4496940"/>
                    <a:gd name="connsiteX121" fmla="*/ 1449727 w 4519987"/>
                    <a:gd name="connsiteY121" fmla="*/ 161925 h 4496940"/>
                    <a:gd name="connsiteX122" fmla="*/ 1525927 w 4519987"/>
                    <a:gd name="connsiteY122" fmla="*/ 152400 h 4496940"/>
                    <a:gd name="connsiteX123" fmla="*/ 1583077 w 4519987"/>
                    <a:gd name="connsiteY123" fmla="*/ 142875 h 4496940"/>
                    <a:gd name="connsiteX124" fmla="*/ 1716427 w 4519987"/>
                    <a:gd name="connsiteY124" fmla="*/ 123825 h 4496940"/>
                    <a:gd name="connsiteX125" fmla="*/ 1811677 w 4519987"/>
                    <a:gd name="connsiteY125" fmla="*/ 114300 h 4496940"/>
                    <a:gd name="connsiteX126" fmla="*/ 1859302 w 4519987"/>
                    <a:gd name="connsiteY126" fmla="*/ 104775 h 4496940"/>
                    <a:gd name="connsiteX127" fmla="*/ 1916452 w 4519987"/>
                    <a:gd name="connsiteY127" fmla="*/ 95250 h 4496940"/>
                    <a:gd name="connsiteX128" fmla="*/ 2030752 w 4519987"/>
                    <a:gd name="connsiteY128" fmla="*/ 66675 h 4496940"/>
                    <a:gd name="connsiteX129" fmla="*/ 2097427 w 4519987"/>
                    <a:gd name="connsiteY129" fmla="*/ 47625 h 4496940"/>
                    <a:gd name="connsiteX130" fmla="*/ 2164102 w 4519987"/>
                    <a:gd name="connsiteY130" fmla="*/ 38100 h 4496940"/>
                    <a:gd name="connsiteX131" fmla="*/ 2392702 w 4519987"/>
                    <a:gd name="connsiteY13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88152 w 4519987"/>
                    <a:gd name="connsiteY33" fmla="*/ 3495675 h 4496940"/>
                    <a:gd name="connsiteX34" fmla="*/ 4059577 w 4519987"/>
                    <a:gd name="connsiteY34" fmla="*/ 3533775 h 4496940"/>
                    <a:gd name="connsiteX35" fmla="*/ 4002427 w 4519987"/>
                    <a:gd name="connsiteY35" fmla="*/ 3600450 h 4496940"/>
                    <a:gd name="connsiteX36" fmla="*/ 3954802 w 4519987"/>
                    <a:gd name="connsiteY36" fmla="*/ 3648075 h 4496940"/>
                    <a:gd name="connsiteX37" fmla="*/ 3659527 w 4519987"/>
                    <a:gd name="connsiteY37" fmla="*/ 3971925 h 4496940"/>
                    <a:gd name="connsiteX38" fmla="*/ 3630952 w 4519987"/>
                    <a:gd name="connsiteY38" fmla="*/ 4010025 h 4496940"/>
                    <a:gd name="connsiteX39" fmla="*/ 3621427 w 4519987"/>
                    <a:gd name="connsiteY39" fmla="*/ 4038600 h 4496940"/>
                    <a:gd name="connsiteX40" fmla="*/ 3554752 w 4519987"/>
                    <a:gd name="connsiteY40" fmla="*/ 4095750 h 4496940"/>
                    <a:gd name="connsiteX41" fmla="*/ 3516652 w 4519987"/>
                    <a:gd name="connsiteY41" fmla="*/ 4114800 h 4496940"/>
                    <a:gd name="connsiteX42" fmla="*/ 3497602 w 4519987"/>
                    <a:gd name="connsiteY42" fmla="*/ 4143375 h 4496940"/>
                    <a:gd name="connsiteX43" fmla="*/ 3383302 w 4519987"/>
                    <a:gd name="connsiteY43" fmla="*/ 4210050 h 4496940"/>
                    <a:gd name="connsiteX44" fmla="*/ 3335677 w 4519987"/>
                    <a:gd name="connsiteY44" fmla="*/ 4238625 h 4496940"/>
                    <a:gd name="connsiteX45" fmla="*/ 3288052 w 4519987"/>
                    <a:gd name="connsiteY45" fmla="*/ 4248150 h 4496940"/>
                    <a:gd name="connsiteX46" fmla="*/ 3240427 w 4519987"/>
                    <a:gd name="connsiteY46" fmla="*/ 4267200 h 4496940"/>
                    <a:gd name="connsiteX47" fmla="*/ 3068977 w 4519987"/>
                    <a:gd name="connsiteY47" fmla="*/ 4286250 h 4496940"/>
                    <a:gd name="connsiteX48" fmla="*/ 2935627 w 4519987"/>
                    <a:gd name="connsiteY48" fmla="*/ 4333875 h 4496940"/>
                    <a:gd name="connsiteX49" fmla="*/ 2811802 w 4519987"/>
                    <a:gd name="connsiteY49" fmla="*/ 4371975 h 4496940"/>
                    <a:gd name="connsiteX50" fmla="*/ 2745127 w 4519987"/>
                    <a:gd name="connsiteY50" fmla="*/ 4410075 h 4496940"/>
                    <a:gd name="connsiteX51" fmla="*/ 2697502 w 4519987"/>
                    <a:gd name="connsiteY51" fmla="*/ 4429125 h 4496940"/>
                    <a:gd name="connsiteX52" fmla="*/ 2640352 w 4519987"/>
                    <a:gd name="connsiteY52" fmla="*/ 4457700 h 4496940"/>
                    <a:gd name="connsiteX53" fmla="*/ 2583202 w 4519987"/>
                    <a:gd name="connsiteY53" fmla="*/ 4467225 h 4496940"/>
                    <a:gd name="connsiteX54" fmla="*/ 2545102 w 4519987"/>
                    <a:gd name="connsiteY54" fmla="*/ 4486275 h 4496940"/>
                    <a:gd name="connsiteX55" fmla="*/ 2306977 w 4519987"/>
                    <a:gd name="connsiteY55" fmla="*/ 4476750 h 4496940"/>
                    <a:gd name="connsiteX56" fmla="*/ 2202202 w 4519987"/>
                    <a:gd name="connsiteY56" fmla="*/ 4457700 h 4496940"/>
                    <a:gd name="connsiteX57" fmla="*/ 2126002 w 4519987"/>
                    <a:gd name="connsiteY57" fmla="*/ 4429125 h 4496940"/>
                    <a:gd name="connsiteX58" fmla="*/ 1935502 w 4519987"/>
                    <a:gd name="connsiteY58" fmla="*/ 4400550 h 4496940"/>
                    <a:gd name="connsiteX59" fmla="*/ 1821202 w 4519987"/>
                    <a:gd name="connsiteY59" fmla="*/ 4371975 h 4496940"/>
                    <a:gd name="connsiteX60" fmla="*/ 1754527 w 4519987"/>
                    <a:gd name="connsiteY60" fmla="*/ 4352925 h 4496940"/>
                    <a:gd name="connsiteX61" fmla="*/ 1687852 w 4519987"/>
                    <a:gd name="connsiteY61" fmla="*/ 4343400 h 4496940"/>
                    <a:gd name="connsiteX62" fmla="*/ 1573552 w 4519987"/>
                    <a:gd name="connsiteY62" fmla="*/ 4305300 h 4496940"/>
                    <a:gd name="connsiteX63" fmla="*/ 1402102 w 4519987"/>
                    <a:gd name="connsiteY63" fmla="*/ 4276725 h 4496940"/>
                    <a:gd name="connsiteX64" fmla="*/ 1287802 w 4519987"/>
                    <a:gd name="connsiteY64" fmla="*/ 4229100 h 4496940"/>
                    <a:gd name="connsiteX65" fmla="*/ 1221127 w 4519987"/>
                    <a:gd name="connsiteY65" fmla="*/ 4200525 h 4496940"/>
                    <a:gd name="connsiteX66" fmla="*/ 1144927 w 4519987"/>
                    <a:gd name="connsiteY66" fmla="*/ 4171950 h 4496940"/>
                    <a:gd name="connsiteX67" fmla="*/ 1087777 w 4519987"/>
                    <a:gd name="connsiteY67" fmla="*/ 4143375 h 4496940"/>
                    <a:gd name="connsiteX68" fmla="*/ 1030627 w 4519987"/>
                    <a:gd name="connsiteY68" fmla="*/ 4124325 h 4496940"/>
                    <a:gd name="connsiteX69" fmla="*/ 925852 w 4519987"/>
                    <a:gd name="connsiteY69" fmla="*/ 4067175 h 4496940"/>
                    <a:gd name="connsiteX70" fmla="*/ 830602 w 4519987"/>
                    <a:gd name="connsiteY70" fmla="*/ 3981450 h 4496940"/>
                    <a:gd name="connsiteX71" fmla="*/ 763927 w 4519987"/>
                    <a:gd name="connsiteY71" fmla="*/ 3914775 h 4496940"/>
                    <a:gd name="connsiteX72" fmla="*/ 725827 w 4519987"/>
                    <a:gd name="connsiteY72" fmla="*/ 3876675 h 4496940"/>
                    <a:gd name="connsiteX73" fmla="*/ 697252 w 4519987"/>
                    <a:gd name="connsiteY73" fmla="*/ 3838575 h 4496940"/>
                    <a:gd name="connsiteX74" fmla="*/ 640102 w 4519987"/>
                    <a:gd name="connsiteY74" fmla="*/ 3781425 h 4496940"/>
                    <a:gd name="connsiteX75" fmla="*/ 611527 w 4519987"/>
                    <a:gd name="connsiteY75" fmla="*/ 3733800 h 4496940"/>
                    <a:gd name="connsiteX76" fmla="*/ 554377 w 4519987"/>
                    <a:gd name="connsiteY76" fmla="*/ 3657600 h 4496940"/>
                    <a:gd name="connsiteX77" fmla="*/ 525802 w 4519987"/>
                    <a:gd name="connsiteY77" fmla="*/ 3609975 h 4496940"/>
                    <a:gd name="connsiteX78" fmla="*/ 497227 w 4519987"/>
                    <a:gd name="connsiteY78" fmla="*/ 3552825 h 4496940"/>
                    <a:gd name="connsiteX79" fmla="*/ 440077 w 4519987"/>
                    <a:gd name="connsiteY79" fmla="*/ 3495675 h 4496940"/>
                    <a:gd name="connsiteX80" fmla="*/ 411502 w 4519987"/>
                    <a:gd name="connsiteY80" fmla="*/ 3448050 h 4496940"/>
                    <a:gd name="connsiteX81" fmla="*/ 278152 w 4519987"/>
                    <a:gd name="connsiteY81" fmla="*/ 3257550 h 4496940"/>
                    <a:gd name="connsiteX82" fmla="*/ 249577 w 4519987"/>
                    <a:gd name="connsiteY82" fmla="*/ 3200400 h 4496940"/>
                    <a:gd name="connsiteX83" fmla="*/ 240052 w 4519987"/>
                    <a:gd name="connsiteY83" fmla="*/ 3162300 h 4496940"/>
                    <a:gd name="connsiteX84" fmla="*/ 221002 w 4519987"/>
                    <a:gd name="connsiteY84" fmla="*/ 3105150 h 4496940"/>
                    <a:gd name="connsiteX85" fmla="*/ 173377 w 4519987"/>
                    <a:gd name="connsiteY85" fmla="*/ 3019425 h 4496940"/>
                    <a:gd name="connsiteX86" fmla="*/ 144802 w 4519987"/>
                    <a:gd name="connsiteY86" fmla="*/ 2924175 h 4496940"/>
                    <a:gd name="connsiteX87" fmla="*/ 68602 w 4519987"/>
                    <a:gd name="connsiteY87" fmla="*/ 2724150 h 4496940"/>
                    <a:gd name="connsiteX88" fmla="*/ 49552 w 4519987"/>
                    <a:gd name="connsiteY88" fmla="*/ 2638425 h 4496940"/>
                    <a:gd name="connsiteX89" fmla="*/ 40027 w 4519987"/>
                    <a:gd name="connsiteY89" fmla="*/ 2562225 h 4496940"/>
                    <a:gd name="connsiteX90" fmla="*/ 30502 w 4519987"/>
                    <a:gd name="connsiteY90" fmla="*/ 2514600 h 4496940"/>
                    <a:gd name="connsiteX91" fmla="*/ 11452 w 4519987"/>
                    <a:gd name="connsiteY91" fmla="*/ 2400300 h 4496940"/>
                    <a:gd name="connsiteX92" fmla="*/ 20977 w 4519987"/>
                    <a:gd name="connsiteY92" fmla="*/ 1905000 h 4496940"/>
                    <a:gd name="connsiteX93" fmla="*/ 30502 w 4519987"/>
                    <a:gd name="connsiteY93" fmla="*/ 1838325 h 4496940"/>
                    <a:gd name="connsiteX94" fmla="*/ 49552 w 4519987"/>
                    <a:gd name="connsiteY94" fmla="*/ 1781175 h 4496940"/>
                    <a:gd name="connsiteX95" fmla="*/ 59077 w 4519987"/>
                    <a:gd name="connsiteY95" fmla="*/ 1743075 h 4496940"/>
                    <a:gd name="connsiteX96" fmla="*/ 78127 w 4519987"/>
                    <a:gd name="connsiteY96" fmla="*/ 1685925 h 4496940"/>
                    <a:gd name="connsiteX97" fmla="*/ 87652 w 4519987"/>
                    <a:gd name="connsiteY97" fmla="*/ 1638300 h 4496940"/>
                    <a:gd name="connsiteX98" fmla="*/ 106702 w 4519987"/>
                    <a:gd name="connsiteY98" fmla="*/ 1590675 h 4496940"/>
                    <a:gd name="connsiteX99" fmla="*/ 135277 w 4519987"/>
                    <a:gd name="connsiteY99" fmla="*/ 1504950 h 4496940"/>
                    <a:gd name="connsiteX100" fmla="*/ 154327 w 4519987"/>
                    <a:gd name="connsiteY100" fmla="*/ 1419225 h 4496940"/>
                    <a:gd name="connsiteX101" fmla="*/ 230527 w 4519987"/>
                    <a:gd name="connsiteY101" fmla="*/ 1276350 h 4496940"/>
                    <a:gd name="connsiteX102" fmla="*/ 240052 w 4519987"/>
                    <a:gd name="connsiteY102" fmla="*/ 1247775 h 4496940"/>
                    <a:gd name="connsiteX103" fmla="*/ 268627 w 4519987"/>
                    <a:gd name="connsiteY103" fmla="*/ 1200150 h 4496940"/>
                    <a:gd name="connsiteX104" fmla="*/ 287677 w 4519987"/>
                    <a:gd name="connsiteY104" fmla="*/ 1152525 h 4496940"/>
                    <a:gd name="connsiteX105" fmla="*/ 316252 w 4519987"/>
                    <a:gd name="connsiteY105" fmla="*/ 1114425 h 4496940"/>
                    <a:gd name="connsiteX106" fmla="*/ 363877 w 4519987"/>
                    <a:gd name="connsiteY106" fmla="*/ 1038225 h 4496940"/>
                    <a:gd name="connsiteX107" fmla="*/ 382927 w 4519987"/>
                    <a:gd name="connsiteY107" fmla="*/ 1009650 h 4496940"/>
                    <a:gd name="connsiteX108" fmla="*/ 440077 w 4519987"/>
                    <a:gd name="connsiteY108" fmla="*/ 904875 h 4496940"/>
                    <a:gd name="connsiteX109" fmla="*/ 478177 w 4519987"/>
                    <a:gd name="connsiteY109" fmla="*/ 857250 h 4496940"/>
                    <a:gd name="connsiteX110" fmla="*/ 497227 w 4519987"/>
                    <a:gd name="connsiteY110" fmla="*/ 828675 h 4496940"/>
                    <a:gd name="connsiteX111" fmla="*/ 535327 w 4519987"/>
                    <a:gd name="connsiteY111" fmla="*/ 800100 h 4496940"/>
                    <a:gd name="connsiteX112" fmla="*/ 602002 w 4519987"/>
                    <a:gd name="connsiteY112" fmla="*/ 733425 h 4496940"/>
                    <a:gd name="connsiteX113" fmla="*/ 668677 w 4519987"/>
                    <a:gd name="connsiteY113" fmla="*/ 676275 h 4496940"/>
                    <a:gd name="connsiteX114" fmla="*/ 697252 w 4519987"/>
                    <a:gd name="connsiteY114" fmla="*/ 657225 h 4496940"/>
                    <a:gd name="connsiteX115" fmla="*/ 840127 w 4519987"/>
                    <a:gd name="connsiteY115" fmla="*/ 533400 h 4496940"/>
                    <a:gd name="connsiteX116" fmla="*/ 887752 w 4519987"/>
                    <a:gd name="connsiteY116" fmla="*/ 504825 h 4496940"/>
                    <a:gd name="connsiteX117" fmla="*/ 1167152 w 4519987"/>
                    <a:gd name="connsiteY117" fmla="*/ 311150 h 4496940"/>
                    <a:gd name="connsiteX118" fmla="*/ 1268752 w 4519987"/>
                    <a:gd name="connsiteY118" fmla="*/ 285750 h 4496940"/>
                    <a:gd name="connsiteX119" fmla="*/ 1411627 w 4519987"/>
                    <a:gd name="connsiteY119" fmla="*/ 190500 h 4496940"/>
                    <a:gd name="connsiteX120" fmla="*/ 1449727 w 4519987"/>
                    <a:gd name="connsiteY120" fmla="*/ 161925 h 4496940"/>
                    <a:gd name="connsiteX121" fmla="*/ 1525927 w 4519987"/>
                    <a:gd name="connsiteY121" fmla="*/ 152400 h 4496940"/>
                    <a:gd name="connsiteX122" fmla="*/ 1583077 w 4519987"/>
                    <a:gd name="connsiteY122" fmla="*/ 142875 h 4496940"/>
                    <a:gd name="connsiteX123" fmla="*/ 1716427 w 4519987"/>
                    <a:gd name="connsiteY123" fmla="*/ 123825 h 4496940"/>
                    <a:gd name="connsiteX124" fmla="*/ 1811677 w 4519987"/>
                    <a:gd name="connsiteY124" fmla="*/ 114300 h 4496940"/>
                    <a:gd name="connsiteX125" fmla="*/ 1859302 w 4519987"/>
                    <a:gd name="connsiteY125" fmla="*/ 104775 h 4496940"/>
                    <a:gd name="connsiteX126" fmla="*/ 1916452 w 4519987"/>
                    <a:gd name="connsiteY126" fmla="*/ 95250 h 4496940"/>
                    <a:gd name="connsiteX127" fmla="*/ 2030752 w 4519987"/>
                    <a:gd name="connsiteY127" fmla="*/ 66675 h 4496940"/>
                    <a:gd name="connsiteX128" fmla="*/ 2097427 w 4519987"/>
                    <a:gd name="connsiteY128" fmla="*/ 47625 h 4496940"/>
                    <a:gd name="connsiteX129" fmla="*/ 2164102 w 4519987"/>
                    <a:gd name="connsiteY129" fmla="*/ 38100 h 4496940"/>
                    <a:gd name="connsiteX130" fmla="*/ 2392702 w 4519987"/>
                    <a:gd name="connsiteY13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4002427 w 4519987"/>
                    <a:gd name="connsiteY34" fmla="*/ 3600450 h 4496940"/>
                    <a:gd name="connsiteX35" fmla="*/ 3954802 w 4519987"/>
                    <a:gd name="connsiteY35" fmla="*/ 3648075 h 4496940"/>
                    <a:gd name="connsiteX36" fmla="*/ 3659527 w 4519987"/>
                    <a:gd name="connsiteY36" fmla="*/ 3971925 h 4496940"/>
                    <a:gd name="connsiteX37" fmla="*/ 3630952 w 4519987"/>
                    <a:gd name="connsiteY37" fmla="*/ 4010025 h 4496940"/>
                    <a:gd name="connsiteX38" fmla="*/ 3621427 w 4519987"/>
                    <a:gd name="connsiteY38" fmla="*/ 4038600 h 4496940"/>
                    <a:gd name="connsiteX39" fmla="*/ 3554752 w 4519987"/>
                    <a:gd name="connsiteY39" fmla="*/ 4095750 h 4496940"/>
                    <a:gd name="connsiteX40" fmla="*/ 3516652 w 4519987"/>
                    <a:gd name="connsiteY40" fmla="*/ 4114800 h 4496940"/>
                    <a:gd name="connsiteX41" fmla="*/ 3497602 w 4519987"/>
                    <a:gd name="connsiteY41" fmla="*/ 4143375 h 4496940"/>
                    <a:gd name="connsiteX42" fmla="*/ 3383302 w 4519987"/>
                    <a:gd name="connsiteY42" fmla="*/ 4210050 h 4496940"/>
                    <a:gd name="connsiteX43" fmla="*/ 3335677 w 4519987"/>
                    <a:gd name="connsiteY43" fmla="*/ 4238625 h 4496940"/>
                    <a:gd name="connsiteX44" fmla="*/ 3288052 w 4519987"/>
                    <a:gd name="connsiteY44" fmla="*/ 4248150 h 4496940"/>
                    <a:gd name="connsiteX45" fmla="*/ 3240427 w 4519987"/>
                    <a:gd name="connsiteY45" fmla="*/ 4267200 h 4496940"/>
                    <a:gd name="connsiteX46" fmla="*/ 3068977 w 4519987"/>
                    <a:gd name="connsiteY46" fmla="*/ 4286250 h 4496940"/>
                    <a:gd name="connsiteX47" fmla="*/ 2935627 w 4519987"/>
                    <a:gd name="connsiteY47" fmla="*/ 4333875 h 4496940"/>
                    <a:gd name="connsiteX48" fmla="*/ 2811802 w 4519987"/>
                    <a:gd name="connsiteY48" fmla="*/ 4371975 h 4496940"/>
                    <a:gd name="connsiteX49" fmla="*/ 2745127 w 4519987"/>
                    <a:gd name="connsiteY49" fmla="*/ 4410075 h 4496940"/>
                    <a:gd name="connsiteX50" fmla="*/ 2697502 w 4519987"/>
                    <a:gd name="connsiteY50" fmla="*/ 4429125 h 4496940"/>
                    <a:gd name="connsiteX51" fmla="*/ 2640352 w 4519987"/>
                    <a:gd name="connsiteY51" fmla="*/ 4457700 h 4496940"/>
                    <a:gd name="connsiteX52" fmla="*/ 2583202 w 4519987"/>
                    <a:gd name="connsiteY52" fmla="*/ 4467225 h 4496940"/>
                    <a:gd name="connsiteX53" fmla="*/ 2545102 w 4519987"/>
                    <a:gd name="connsiteY53" fmla="*/ 4486275 h 4496940"/>
                    <a:gd name="connsiteX54" fmla="*/ 2306977 w 4519987"/>
                    <a:gd name="connsiteY54" fmla="*/ 4476750 h 4496940"/>
                    <a:gd name="connsiteX55" fmla="*/ 2202202 w 4519987"/>
                    <a:gd name="connsiteY55" fmla="*/ 4457700 h 4496940"/>
                    <a:gd name="connsiteX56" fmla="*/ 2126002 w 4519987"/>
                    <a:gd name="connsiteY56" fmla="*/ 4429125 h 4496940"/>
                    <a:gd name="connsiteX57" fmla="*/ 1935502 w 4519987"/>
                    <a:gd name="connsiteY57" fmla="*/ 4400550 h 4496940"/>
                    <a:gd name="connsiteX58" fmla="*/ 1821202 w 4519987"/>
                    <a:gd name="connsiteY58" fmla="*/ 4371975 h 4496940"/>
                    <a:gd name="connsiteX59" fmla="*/ 1754527 w 4519987"/>
                    <a:gd name="connsiteY59" fmla="*/ 4352925 h 4496940"/>
                    <a:gd name="connsiteX60" fmla="*/ 1687852 w 4519987"/>
                    <a:gd name="connsiteY60" fmla="*/ 4343400 h 4496940"/>
                    <a:gd name="connsiteX61" fmla="*/ 1573552 w 4519987"/>
                    <a:gd name="connsiteY61" fmla="*/ 4305300 h 4496940"/>
                    <a:gd name="connsiteX62" fmla="*/ 1402102 w 4519987"/>
                    <a:gd name="connsiteY62" fmla="*/ 4276725 h 4496940"/>
                    <a:gd name="connsiteX63" fmla="*/ 1287802 w 4519987"/>
                    <a:gd name="connsiteY63" fmla="*/ 4229100 h 4496940"/>
                    <a:gd name="connsiteX64" fmla="*/ 1221127 w 4519987"/>
                    <a:gd name="connsiteY64" fmla="*/ 4200525 h 4496940"/>
                    <a:gd name="connsiteX65" fmla="*/ 1144927 w 4519987"/>
                    <a:gd name="connsiteY65" fmla="*/ 4171950 h 4496940"/>
                    <a:gd name="connsiteX66" fmla="*/ 1087777 w 4519987"/>
                    <a:gd name="connsiteY66" fmla="*/ 4143375 h 4496940"/>
                    <a:gd name="connsiteX67" fmla="*/ 1030627 w 4519987"/>
                    <a:gd name="connsiteY67" fmla="*/ 4124325 h 4496940"/>
                    <a:gd name="connsiteX68" fmla="*/ 925852 w 4519987"/>
                    <a:gd name="connsiteY68" fmla="*/ 4067175 h 4496940"/>
                    <a:gd name="connsiteX69" fmla="*/ 830602 w 4519987"/>
                    <a:gd name="connsiteY69" fmla="*/ 3981450 h 4496940"/>
                    <a:gd name="connsiteX70" fmla="*/ 763927 w 4519987"/>
                    <a:gd name="connsiteY70" fmla="*/ 3914775 h 4496940"/>
                    <a:gd name="connsiteX71" fmla="*/ 725827 w 4519987"/>
                    <a:gd name="connsiteY71" fmla="*/ 3876675 h 4496940"/>
                    <a:gd name="connsiteX72" fmla="*/ 697252 w 4519987"/>
                    <a:gd name="connsiteY72" fmla="*/ 3838575 h 4496940"/>
                    <a:gd name="connsiteX73" fmla="*/ 640102 w 4519987"/>
                    <a:gd name="connsiteY73" fmla="*/ 3781425 h 4496940"/>
                    <a:gd name="connsiteX74" fmla="*/ 611527 w 4519987"/>
                    <a:gd name="connsiteY74" fmla="*/ 3733800 h 4496940"/>
                    <a:gd name="connsiteX75" fmla="*/ 554377 w 4519987"/>
                    <a:gd name="connsiteY75" fmla="*/ 3657600 h 4496940"/>
                    <a:gd name="connsiteX76" fmla="*/ 525802 w 4519987"/>
                    <a:gd name="connsiteY76" fmla="*/ 3609975 h 4496940"/>
                    <a:gd name="connsiteX77" fmla="*/ 497227 w 4519987"/>
                    <a:gd name="connsiteY77" fmla="*/ 3552825 h 4496940"/>
                    <a:gd name="connsiteX78" fmla="*/ 440077 w 4519987"/>
                    <a:gd name="connsiteY78" fmla="*/ 3495675 h 4496940"/>
                    <a:gd name="connsiteX79" fmla="*/ 411502 w 4519987"/>
                    <a:gd name="connsiteY79" fmla="*/ 3448050 h 4496940"/>
                    <a:gd name="connsiteX80" fmla="*/ 278152 w 4519987"/>
                    <a:gd name="connsiteY80" fmla="*/ 3257550 h 4496940"/>
                    <a:gd name="connsiteX81" fmla="*/ 249577 w 4519987"/>
                    <a:gd name="connsiteY81" fmla="*/ 3200400 h 4496940"/>
                    <a:gd name="connsiteX82" fmla="*/ 240052 w 4519987"/>
                    <a:gd name="connsiteY82" fmla="*/ 3162300 h 4496940"/>
                    <a:gd name="connsiteX83" fmla="*/ 221002 w 4519987"/>
                    <a:gd name="connsiteY83" fmla="*/ 3105150 h 4496940"/>
                    <a:gd name="connsiteX84" fmla="*/ 173377 w 4519987"/>
                    <a:gd name="connsiteY84" fmla="*/ 3019425 h 4496940"/>
                    <a:gd name="connsiteX85" fmla="*/ 144802 w 4519987"/>
                    <a:gd name="connsiteY85" fmla="*/ 2924175 h 4496940"/>
                    <a:gd name="connsiteX86" fmla="*/ 68602 w 4519987"/>
                    <a:gd name="connsiteY86" fmla="*/ 2724150 h 4496940"/>
                    <a:gd name="connsiteX87" fmla="*/ 49552 w 4519987"/>
                    <a:gd name="connsiteY87" fmla="*/ 2638425 h 4496940"/>
                    <a:gd name="connsiteX88" fmla="*/ 40027 w 4519987"/>
                    <a:gd name="connsiteY88" fmla="*/ 2562225 h 4496940"/>
                    <a:gd name="connsiteX89" fmla="*/ 30502 w 4519987"/>
                    <a:gd name="connsiteY89" fmla="*/ 2514600 h 4496940"/>
                    <a:gd name="connsiteX90" fmla="*/ 11452 w 4519987"/>
                    <a:gd name="connsiteY90" fmla="*/ 2400300 h 4496940"/>
                    <a:gd name="connsiteX91" fmla="*/ 20977 w 4519987"/>
                    <a:gd name="connsiteY91" fmla="*/ 1905000 h 4496940"/>
                    <a:gd name="connsiteX92" fmla="*/ 30502 w 4519987"/>
                    <a:gd name="connsiteY92" fmla="*/ 1838325 h 4496940"/>
                    <a:gd name="connsiteX93" fmla="*/ 49552 w 4519987"/>
                    <a:gd name="connsiteY93" fmla="*/ 1781175 h 4496940"/>
                    <a:gd name="connsiteX94" fmla="*/ 59077 w 4519987"/>
                    <a:gd name="connsiteY94" fmla="*/ 1743075 h 4496940"/>
                    <a:gd name="connsiteX95" fmla="*/ 78127 w 4519987"/>
                    <a:gd name="connsiteY95" fmla="*/ 1685925 h 4496940"/>
                    <a:gd name="connsiteX96" fmla="*/ 87652 w 4519987"/>
                    <a:gd name="connsiteY96" fmla="*/ 1638300 h 4496940"/>
                    <a:gd name="connsiteX97" fmla="*/ 106702 w 4519987"/>
                    <a:gd name="connsiteY97" fmla="*/ 1590675 h 4496940"/>
                    <a:gd name="connsiteX98" fmla="*/ 135277 w 4519987"/>
                    <a:gd name="connsiteY98" fmla="*/ 1504950 h 4496940"/>
                    <a:gd name="connsiteX99" fmla="*/ 154327 w 4519987"/>
                    <a:gd name="connsiteY99" fmla="*/ 1419225 h 4496940"/>
                    <a:gd name="connsiteX100" fmla="*/ 230527 w 4519987"/>
                    <a:gd name="connsiteY100" fmla="*/ 1276350 h 4496940"/>
                    <a:gd name="connsiteX101" fmla="*/ 240052 w 4519987"/>
                    <a:gd name="connsiteY101" fmla="*/ 1247775 h 4496940"/>
                    <a:gd name="connsiteX102" fmla="*/ 268627 w 4519987"/>
                    <a:gd name="connsiteY102" fmla="*/ 1200150 h 4496940"/>
                    <a:gd name="connsiteX103" fmla="*/ 287677 w 4519987"/>
                    <a:gd name="connsiteY103" fmla="*/ 1152525 h 4496940"/>
                    <a:gd name="connsiteX104" fmla="*/ 316252 w 4519987"/>
                    <a:gd name="connsiteY104" fmla="*/ 1114425 h 4496940"/>
                    <a:gd name="connsiteX105" fmla="*/ 363877 w 4519987"/>
                    <a:gd name="connsiteY105" fmla="*/ 1038225 h 4496940"/>
                    <a:gd name="connsiteX106" fmla="*/ 382927 w 4519987"/>
                    <a:gd name="connsiteY106" fmla="*/ 1009650 h 4496940"/>
                    <a:gd name="connsiteX107" fmla="*/ 440077 w 4519987"/>
                    <a:gd name="connsiteY107" fmla="*/ 904875 h 4496940"/>
                    <a:gd name="connsiteX108" fmla="*/ 478177 w 4519987"/>
                    <a:gd name="connsiteY108" fmla="*/ 857250 h 4496940"/>
                    <a:gd name="connsiteX109" fmla="*/ 497227 w 4519987"/>
                    <a:gd name="connsiteY109" fmla="*/ 828675 h 4496940"/>
                    <a:gd name="connsiteX110" fmla="*/ 535327 w 4519987"/>
                    <a:gd name="connsiteY110" fmla="*/ 800100 h 4496940"/>
                    <a:gd name="connsiteX111" fmla="*/ 602002 w 4519987"/>
                    <a:gd name="connsiteY111" fmla="*/ 733425 h 4496940"/>
                    <a:gd name="connsiteX112" fmla="*/ 668677 w 4519987"/>
                    <a:gd name="connsiteY112" fmla="*/ 676275 h 4496940"/>
                    <a:gd name="connsiteX113" fmla="*/ 697252 w 4519987"/>
                    <a:gd name="connsiteY113" fmla="*/ 657225 h 4496940"/>
                    <a:gd name="connsiteX114" fmla="*/ 840127 w 4519987"/>
                    <a:gd name="connsiteY114" fmla="*/ 533400 h 4496940"/>
                    <a:gd name="connsiteX115" fmla="*/ 887752 w 4519987"/>
                    <a:gd name="connsiteY115" fmla="*/ 504825 h 4496940"/>
                    <a:gd name="connsiteX116" fmla="*/ 1167152 w 4519987"/>
                    <a:gd name="connsiteY116" fmla="*/ 311150 h 4496940"/>
                    <a:gd name="connsiteX117" fmla="*/ 1268752 w 4519987"/>
                    <a:gd name="connsiteY117" fmla="*/ 285750 h 4496940"/>
                    <a:gd name="connsiteX118" fmla="*/ 1411627 w 4519987"/>
                    <a:gd name="connsiteY118" fmla="*/ 190500 h 4496940"/>
                    <a:gd name="connsiteX119" fmla="*/ 1449727 w 4519987"/>
                    <a:gd name="connsiteY119" fmla="*/ 161925 h 4496940"/>
                    <a:gd name="connsiteX120" fmla="*/ 1525927 w 4519987"/>
                    <a:gd name="connsiteY120" fmla="*/ 152400 h 4496940"/>
                    <a:gd name="connsiteX121" fmla="*/ 1583077 w 4519987"/>
                    <a:gd name="connsiteY121" fmla="*/ 142875 h 4496940"/>
                    <a:gd name="connsiteX122" fmla="*/ 1716427 w 4519987"/>
                    <a:gd name="connsiteY122" fmla="*/ 123825 h 4496940"/>
                    <a:gd name="connsiteX123" fmla="*/ 1811677 w 4519987"/>
                    <a:gd name="connsiteY123" fmla="*/ 114300 h 4496940"/>
                    <a:gd name="connsiteX124" fmla="*/ 1859302 w 4519987"/>
                    <a:gd name="connsiteY124" fmla="*/ 104775 h 4496940"/>
                    <a:gd name="connsiteX125" fmla="*/ 1916452 w 4519987"/>
                    <a:gd name="connsiteY125" fmla="*/ 95250 h 4496940"/>
                    <a:gd name="connsiteX126" fmla="*/ 2030752 w 4519987"/>
                    <a:gd name="connsiteY126" fmla="*/ 66675 h 4496940"/>
                    <a:gd name="connsiteX127" fmla="*/ 2097427 w 4519987"/>
                    <a:gd name="connsiteY127" fmla="*/ 47625 h 4496940"/>
                    <a:gd name="connsiteX128" fmla="*/ 2164102 w 4519987"/>
                    <a:gd name="connsiteY128" fmla="*/ 38100 h 4496940"/>
                    <a:gd name="connsiteX129" fmla="*/ 2392702 w 4519987"/>
                    <a:gd name="connsiteY12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497602 w 4519987"/>
                    <a:gd name="connsiteY40" fmla="*/ 4143375 h 4496940"/>
                    <a:gd name="connsiteX41" fmla="*/ 3383302 w 4519987"/>
                    <a:gd name="connsiteY41" fmla="*/ 4210050 h 4496940"/>
                    <a:gd name="connsiteX42" fmla="*/ 3335677 w 4519987"/>
                    <a:gd name="connsiteY42" fmla="*/ 4238625 h 4496940"/>
                    <a:gd name="connsiteX43" fmla="*/ 3288052 w 4519987"/>
                    <a:gd name="connsiteY43" fmla="*/ 4248150 h 4496940"/>
                    <a:gd name="connsiteX44" fmla="*/ 3240427 w 4519987"/>
                    <a:gd name="connsiteY44" fmla="*/ 4267200 h 4496940"/>
                    <a:gd name="connsiteX45" fmla="*/ 3068977 w 4519987"/>
                    <a:gd name="connsiteY45" fmla="*/ 4286250 h 4496940"/>
                    <a:gd name="connsiteX46" fmla="*/ 2935627 w 4519987"/>
                    <a:gd name="connsiteY46" fmla="*/ 4333875 h 4496940"/>
                    <a:gd name="connsiteX47" fmla="*/ 2811802 w 4519987"/>
                    <a:gd name="connsiteY47" fmla="*/ 4371975 h 4496940"/>
                    <a:gd name="connsiteX48" fmla="*/ 2745127 w 4519987"/>
                    <a:gd name="connsiteY48" fmla="*/ 4410075 h 4496940"/>
                    <a:gd name="connsiteX49" fmla="*/ 2697502 w 4519987"/>
                    <a:gd name="connsiteY49" fmla="*/ 4429125 h 4496940"/>
                    <a:gd name="connsiteX50" fmla="*/ 2640352 w 4519987"/>
                    <a:gd name="connsiteY50" fmla="*/ 4457700 h 4496940"/>
                    <a:gd name="connsiteX51" fmla="*/ 2583202 w 4519987"/>
                    <a:gd name="connsiteY51" fmla="*/ 4467225 h 4496940"/>
                    <a:gd name="connsiteX52" fmla="*/ 2545102 w 4519987"/>
                    <a:gd name="connsiteY52" fmla="*/ 4486275 h 4496940"/>
                    <a:gd name="connsiteX53" fmla="*/ 2306977 w 4519987"/>
                    <a:gd name="connsiteY53" fmla="*/ 4476750 h 4496940"/>
                    <a:gd name="connsiteX54" fmla="*/ 2202202 w 4519987"/>
                    <a:gd name="connsiteY54" fmla="*/ 4457700 h 4496940"/>
                    <a:gd name="connsiteX55" fmla="*/ 2126002 w 4519987"/>
                    <a:gd name="connsiteY55" fmla="*/ 4429125 h 4496940"/>
                    <a:gd name="connsiteX56" fmla="*/ 1935502 w 4519987"/>
                    <a:gd name="connsiteY56" fmla="*/ 4400550 h 4496940"/>
                    <a:gd name="connsiteX57" fmla="*/ 1821202 w 4519987"/>
                    <a:gd name="connsiteY57" fmla="*/ 4371975 h 4496940"/>
                    <a:gd name="connsiteX58" fmla="*/ 1754527 w 4519987"/>
                    <a:gd name="connsiteY58" fmla="*/ 4352925 h 4496940"/>
                    <a:gd name="connsiteX59" fmla="*/ 1687852 w 4519987"/>
                    <a:gd name="connsiteY59" fmla="*/ 4343400 h 4496940"/>
                    <a:gd name="connsiteX60" fmla="*/ 1573552 w 4519987"/>
                    <a:gd name="connsiteY60" fmla="*/ 4305300 h 4496940"/>
                    <a:gd name="connsiteX61" fmla="*/ 1402102 w 4519987"/>
                    <a:gd name="connsiteY61" fmla="*/ 4276725 h 4496940"/>
                    <a:gd name="connsiteX62" fmla="*/ 1287802 w 4519987"/>
                    <a:gd name="connsiteY62" fmla="*/ 4229100 h 4496940"/>
                    <a:gd name="connsiteX63" fmla="*/ 1221127 w 4519987"/>
                    <a:gd name="connsiteY63" fmla="*/ 4200525 h 4496940"/>
                    <a:gd name="connsiteX64" fmla="*/ 1144927 w 4519987"/>
                    <a:gd name="connsiteY64" fmla="*/ 4171950 h 4496940"/>
                    <a:gd name="connsiteX65" fmla="*/ 1087777 w 4519987"/>
                    <a:gd name="connsiteY65" fmla="*/ 4143375 h 4496940"/>
                    <a:gd name="connsiteX66" fmla="*/ 1030627 w 4519987"/>
                    <a:gd name="connsiteY66" fmla="*/ 4124325 h 4496940"/>
                    <a:gd name="connsiteX67" fmla="*/ 925852 w 4519987"/>
                    <a:gd name="connsiteY67" fmla="*/ 4067175 h 4496940"/>
                    <a:gd name="connsiteX68" fmla="*/ 830602 w 4519987"/>
                    <a:gd name="connsiteY68" fmla="*/ 3981450 h 4496940"/>
                    <a:gd name="connsiteX69" fmla="*/ 763927 w 4519987"/>
                    <a:gd name="connsiteY69" fmla="*/ 3914775 h 4496940"/>
                    <a:gd name="connsiteX70" fmla="*/ 725827 w 4519987"/>
                    <a:gd name="connsiteY70" fmla="*/ 3876675 h 4496940"/>
                    <a:gd name="connsiteX71" fmla="*/ 697252 w 4519987"/>
                    <a:gd name="connsiteY71" fmla="*/ 3838575 h 4496940"/>
                    <a:gd name="connsiteX72" fmla="*/ 640102 w 4519987"/>
                    <a:gd name="connsiteY72" fmla="*/ 3781425 h 4496940"/>
                    <a:gd name="connsiteX73" fmla="*/ 611527 w 4519987"/>
                    <a:gd name="connsiteY73" fmla="*/ 3733800 h 4496940"/>
                    <a:gd name="connsiteX74" fmla="*/ 554377 w 4519987"/>
                    <a:gd name="connsiteY74" fmla="*/ 3657600 h 4496940"/>
                    <a:gd name="connsiteX75" fmla="*/ 525802 w 4519987"/>
                    <a:gd name="connsiteY75" fmla="*/ 3609975 h 4496940"/>
                    <a:gd name="connsiteX76" fmla="*/ 497227 w 4519987"/>
                    <a:gd name="connsiteY76" fmla="*/ 3552825 h 4496940"/>
                    <a:gd name="connsiteX77" fmla="*/ 440077 w 4519987"/>
                    <a:gd name="connsiteY77" fmla="*/ 3495675 h 4496940"/>
                    <a:gd name="connsiteX78" fmla="*/ 411502 w 4519987"/>
                    <a:gd name="connsiteY78" fmla="*/ 3448050 h 4496940"/>
                    <a:gd name="connsiteX79" fmla="*/ 278152 w 4519987"/>
                    <a:gd name="connsiteY79" fmla="*/ 3257550 h 4496940"/>
                    <a:gd name="connsiteX80" fmla="*/ 249577 w 4519987"/>
                    <a:gd name="connsiteY80" fmla="*/ 3200400 h 4496940"/>
                    <a:gd name="connsiteX81" fmla="*/ 240052 w 4519987"/>
                    <a:gd name="connsiteY81" fmla="*/ 3162300 h 4496940"/>
                    <a:gd name="connsiteX82" fmla="*/ 221002 w 4519987"/>
                    <a:gd name="connsiteY82" fmla="*/ 3105150 h 4496940"/>
                    <a:gd name="connsiteX83" fmla="*/ 173377 w 4519987"/>
                    <a:gd name="connsiteY83" fmla="*/ 3019425 h 4496940"/>
                    <a:gd name="connsiteX84" fmla="*/ 144802 w 4519987"/>
                    <a:gd name="connsiteY84" fmla="*/ 2924175 h 4496940"/>
                    <a:gd name="connsiteX85" fmla="*/ 68602 w 4519987"/>
                    <a:gd name="connsiteY85" fmla="*/ 2724150 h 4496940"/>
                    <a:gd name="connsiteX86" fmla="*/ 49552 w 4519987"/>
                    <a:gd name="connsiteY86" fmla="*/ 2638425 h 4496940"/>
                    <a:gd name="connsiteX87" fmla="*/ 40027 w 4519987"/>
                    <a:gd name="connsiteY87" fmla="*/ 2562225 h 4496940"/>
                    <a:gd name="connsiteX88" fmla="*/ 30502 w 4519987"/>
                    <a:gd name="connsiteY88" fmla="*/ 2514600 h 4496940"/>
                    <a:gd name="connsiteX89" fmla="*/ 11452 w 4519987"/>
                    <a:gd name="connsiteY89" fmla="*/ 2400300 h 4496940"/>
                    <a:gd name="connsiteX90" fmla="*/ 20977 w 4519987"/>
                    <a:gd name="connsiteY90" fmla="*/ 1905000 h 4496940"/>
                    <a:gd name="connsiteX91" fmla="*/ 30502 w 4519987"/>
                    <a:gd name="connsiteY91" fmla="*/ 1838325 h 4496940"/>
                    <a:gd name="connsiteX92" fmla="*/ 49552 w 4519987"/>
                    <a:gd name="connsiteY92" fmla="*/ 1781175 h 4496940"/>
                    <a:gd name="connsiteX93" fmla="*/ 59077 w 4519987"/>
                    <a:gd name="connsiteY93" fmla="*/ 1743075 h 4496940"/>
                    <a:gd name="connsiteX94" fmla="*/ 78127 w 4519987"/>
                    <a:gd name="connsiteY94" fmla="*/ 1685925 h 4496940"/>
                    <a:gd name="connsiteX95" fmla="*/ 87652 w 4519987"/>
                    <a:gd name="connsiteY95" fmla="*/ 1638300 h 4496940"/>
                    <a:gd name="connsiteX96" fmla="*/ 106702 w 4519987"/>
                    <a:gd name="connsiteY96" fmla="*/ 1590675 h 4496940"/>
                    <a:gd name="connsiteX97" fmla="*/ 135277 w 4519987"/>
                    <a:gd name="connsiteY97" fmla="*/ 1504950 h 4496940"/>
                    <a:gd name="connsiteX98" fmla="*/ 154327 w 4519987"/>
                    <a:gd name="connsiteY98" fmla="*/ 1419225 h 4496940"/>
                    <a:gd name="connsiteX99" fmla="*/ 230527 w 4519987"/>
                    <a:gd name="connsiteY99" fmla="*/ 1276350 h 4496940"/>
                    <a:gd name="connsiteX100" fmla="*/ 240052 w 4519987"/>
                    <a:gd name="connsiteY100" fmla="*/ 1247775 h 4496940"/>
                    <a:gd name="connsiteX101" fmla="*/ 268627 w 4519987"/>
                    <a:gd name="connsiteY101" fmla="*/ 1200150 h 4496940"/>
                    <a:gd name="connsiteX102" fmla="*/ 287677 w 4519987"/>
                    <a:gd name="connsiteY102" fmla="*/ 1152525 h 4496940"/>
                    <a:gd name="connsiteX103" fmla="*/ 316252 w 4519987"/>
                    <a:gd name="connsiteY103" fmla="*/ 1114425 h 4496940"/>
                    <a:gd name="connsiteX104" fmla="*/ 363877 w 4519987"/>
                    <a:gd name="connsiteY104" fmla="*/ 1038225 h 4496940"/>
                    <a:gd name="connsiteX105" fmla="*/ 382927 w 4519987"/>
                    <a:gd name="connsiteY105" fmla="*/ 1009650 h 4496940"/>
                    <a:gd name="connsiteX106" fmla="*/ 440077 w 4519987"/>
                    <a:gd name="connsiteY106" fmla="*/ 904875 h 4496940"/>
                    <a:gd name="connsiteX107" fmla="*/ 478177 w 4519987"/>
                    <a:gd name="connsiteY107" fmla="*/ 857250 h 4496940"/>
                    <a:gd name="connsiteX108" fmla="*/ 497227 w 4519987"/>
                    <a:gd name="connsiteY108" fmla="*/ 828675 h 4496940"/>
                    <a:gd name="connsiteX109" fmla="*/ 535327 w 4519987"/>
                    <a:gd name="connsiteY109" fmla="*/ 800100 h 4496940"/>
                    <a:gd name="connsiteX110" fmla="*/ 602002 w 4519987"/>
                    <a:gd name="connsiteY110" fmla="*/ 733425 h 4496940"/>
                    <a:gd name="connsiteX111" fmla="*/ 668677 w 4519987"/>
                    <a:gd name="connsiteY111" fmla="*/ 676275 h 4496940"/>
                    <a:gd name="connsiteX112" fmla="*/ 697252 w 4519987"/>
                    <a:gd name="connsiteY112" fmla="*/ 657225 h 4496940"/>
                    <a:gd name="connsiteX113" fmla="*/ 840127 w 4519987"/>
                    <a:gd name="connsiteY113" fmla="*/ 533400 h 4496940"/>
                    <a:gd name="connsiteX114" fmla="*/ 887752 w 4519987"/>
                    <a:gd name="connsiteY114" fmla="*/ 504825 h 4496940"/>
                    <a:gd name="connsiteX115" fmla="*/ 1167152 w 4519987"/>
                    <a:gd name="connsiteY115" fmla="*/ 311150 h 4496940"/>
                    <a:gd name="connsiteX116" fmla="*/ 1268752 w 4519987"/>
                    <a:gd name="connsiteY116" fmla="*/ 285750 h 4496940"/>
                    <a:gd name="connsiteX117" fmla="*/ 1411627 w 4519987"/>
                    <a:gd name="connsiteY117" fmla="*/ 190500 h 4496940"/>
                    <a:gd name="connsiteX118" fmla="*/ 1449727 w 4519987"/>
                    <a:gd name="connsiteY118" fmla="*/ 161925 h 4496940"/>
                    <a:gd name="connsiteX119" fmla="*/ 1525927 w 4519987"/>
                    <a:gd name="connsiteY119" fmla="*/ 152400 h 4496940"/>
                    <a:gd name="connsiteX120" fmla="*/ 1583077 w 4519987"/>
                    <a:gd name="connsiteY120" fmla="*/ 142875 h 4496940"/>
                    <a:gd name="connsiteX121" fmla="*/ 1716427 w 4519987"/>
                    <a:gd name="connsiteY121" fmla="*/ 123825 h 4496940"/>
                    <a:gd name="connsiteX122" fmla="*/ 1811677 w 4519987"/>
                    <a:gd name="connsiteY122" fmla="*/ 114300 h 4496940"/>
                    <a:gd name="connsiteX123" fmla="*/ 1859302 w 4519987"/>
                    <a:gd name="connsiteY123" fmla="*/ 104775 h 4496940"/>
                    <a:gd name="connsiteX124" fmla="*/ 1916452 w 4519987"/>
                    <a:gd name="connsiteY124" fmla="*/ 95250 h 4496940"/>
                    <a:gd name="connsiteX125" fmla="*/ 2030752 w 4519987"/>
                    <a:gd name="connsiteY125" fmla="*/ 66675 h 4496940"/>
                    <a:gd name="connsiteX126" fmla="*/ 2097427 w 4519987"/>
                    <a:gd name="connsiteY126" fmla="*/ 47625 h 4496940"/>
                    <a:gd name="connsiteX127" fmla="*/ 2164102 w 4519987"/>
                    <a:gd name="connsiteY127" fmla="*/ 38100 h 4496940"/>
                    <a:gd name="connsiteX128" fmla="*/ 2392702 w 4519987"/>
                    <a:gd name="connsiteY12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383302 w 4519987"/>
                    <a:gd name="connsiteY40" fmla="*/ 4210050 h 4496940"/>
                    <a:gd name="connsiteX41" fmla="*/ 3335677 w 4519987"/>
                    <a:gd name="connsiteY41" fmla="*/ 4238625 h 4496940"/>
                    <a:gd name="connsiteX42" fmla="*/ 3288052 w 4519987"/>
                    <a:gd name="connsiteY42" fmla="*/ 4248150 h 4496940"/>
                    <a:gd name="connsiteX43" fmla="*/ 3240427 w 4519987"/>
                    <a:gd name="connsiteY43" fmla="*/ 4267200 h 4496940"/>
                    <a:gd name="connsiteX44" fmla="*/ 3068977 w 4519987"/>
                    <a:gd name="connsiteY44" fmla="*/ 4286250 h 4496940"/>
                    <a:gd name="connsiteX45" fmla="*/ 2935627 w 4519987"/>
                    <a:gd name="connsiteY45" fmla="*/ 4333875 h 4496940"/>
                    <a:gd name="connsiteX46" fmla="*/ 2811802 w 4519987"/>
                    <a:gd name="connsiteY46" fmla="*/ 4371975 h 4496940"/>
                    <a:gd name="connsiteX47" fmla="*/ 2745127 w 4519987"/>
                    <a:gd name="connsiteY47" fmla="*/ 4410075 h 4496940"/>
                    <a:gd name="connsiteX48" fmla="*/ 2697502 w 4519987"/>
                    <a:gd name="connsiteY48" fmla="*/ 4429125 h 4496940"/>
                    <a:gd name="connsiteX49" fmla="*/ 2640352 w 4519987"/>
                    <a:gd name="connsiteY49" fmla="*/ 4457700 h 4496940"/>
                    <a:gd name="connsiteX50" fmla="*/ 2583202 w 4519987"/>
                    <a:gd name="connsiteY50" fmla="*/ 4467225 h 4496940"/>
                    <a:gd name="connsiteX51" fmla="*/ 2545102 w 4519987"/>
                    <a:gd name="connsiteY51" fmla="*/ 4486275 h 4496940"/>
                    <a:gd name="connsiteX52" fmla="*/ 2306977 w 4519987"/>
                    <a:gd name="connsiteY52" fmla="*/ 4476750 h 4496940"/>
                    <a:gd name="connsiteX53" fmla="*/ 2202202 w 4519987"/>
                    <a:gd name="connsiteY53" fmla="*/ 4457700 h 4496940"/>
                    <a:gd name="connsiteX54" fmla="*/ 2126002 w 4519987"/>
                    <a:gd name="connsiteY54" fmla="*/ 4429125 h 4496940"/>
                    <a:gd name="connsiteX55" fmla="*/ 1935502 w 4519987"/>
                    <a:gd name="connsiteY55" fmla="*/ 4400550 h 4496940"/>
                    <a:gd name="connsiteX56" fmla="*/ 1821202 w 4519987"/>
                    <a:gd name="connsiteY56" fmla="*/ 4371975 h 4496940"/>
                    <a:gd name="connsiteX57" fmla="*/ 1754527 w 4519987"/>
                    <a:gd name="connsiteY57" fmla="*/ 4352925 h 4496940"/>
                    <a:gd name="connsiteX58" fmla="*/ 1687852 w 4519987"/>
                    <a:gd name="connsiteY58" fmla="*/ 4343400 h 4496940"/>
                    <a:gd name="connsiteX59" fmla="*/ 1573552 w 4519987"/>
                    <a:gd name="connsiteY59" fmla="*/ 4305300 h 4496940"/>
                    <a:gd name="connsiteX60" fmla="*/ 1402102 w 4519987"/>
                    <a:gd name="connsiteY60" fmla="*/ 4276725 h 4496940"/>
                    <a:gd name="connsiteX61" fmla="*/ 1287802 w 4519987"/>
                    <a:gd name="connsiteY61" fmla="*/ 4229100 h 4496940"/>
                    <a:gd name="connsiteX62" fmla="*/ 1221127 w 4519987"/>
                    <a:gd name="connsiteY62" fmla="*/ 4200525 h 4496940"/>
                    <a:gd name="connsiteX63" fmla="*/ 1144927 w 4519987"/>
                    <a:gd name="connsiteY63" fmla="*/ 4171950 h 4496940"/>
                    <a:gd name="connsiteX64" fmla="*/ 1087777 w 4519987"/>
                    <a:gd name="connsiteY64" fmla="*/ 4143375 h 4496940"/>
                    <a:gd name="connsiteX65" fmla="*/ 1030627 w 4519987"/>
                    <a:gd name="connsiteY65" fmla="*/ 4124325 h 4496940"/>
                    <a:gd name="connsiteX66" fmla="*/ 925852 w 4519987"/>
                    <a:gd name="connsiteY66" fmla="*/ 4067175 h 4496940"/>
                    <a:gd name="connsiteX67" fmla="*/ 830602 w 4519987"/>
                    <a:gd name="connsiteY67" fmla="*/ 3981450 h 4496940"/>
                    <a:gd name="connsiteX68" fmla="*/ 763927 w 4519987"/>
                    <a:gd name="connsiteY68" fmla="*/ 3914775 h 4496940"/>
                    <a:gd name="connsiteX69" fmla="*/ 725827 w 4519987"/>
                    <a:gd name="connsiteY69" fmla="*/ 3876675 h 4496940"/>
                    <a:gd name="connsiteX70" fmla="*/ 697252 w 4519987"/>
                    <a:gd name="connsiteY70" fmla="*/ 3838575 h 4496940"/>
                    <a:gd name="connsiteX71" fmla="*/ 640102 w 4519987"/>
                    <a:gd name="connsiteY71" fmla="*/ 3781425 h 4496940"/>
                    <a:gd name="connsiteX72" fmla="*/ 611527 w 4519987"/>
                    <a:gd name="connsiteY72" fmla="*/ 3733800 h 4496940"/>
                    <a:gd name="connsiteX73" fmla="*/ 554377 w 4519987"/>
                    <a:gd name="connsiteY73" fmla="*/ 3657600 h 4496940"/>
                    <a:gd name="connsiteX74" fmla="*/ 525802 w 4519987"/>
                    <a:gd name="connsiteY74" fmla="*/ 3609975 h 4496940"/>
                    <a:gd name="connsiteX75" fmla="*/ 497227 w 4519987"/>
                    <a:gd name="connsiteY75" fmla="*/ 3552825 h 4496940"/>
                    <a:gd name="connsiteX76" fmla="*/ 440077 w 4519987"/>
                    <a:gd name="connsiteY76" fmla="*/ 3495675 h 4496940"/>
                    <a:gd name="connsiteX77" fmla="*/ 411502 w 4519987"/>
                    <a:gd name="connsiteY77" fmla="*/ 3448050 h 4496940"/>
                    <a:gd name="connsiteX78" fmla="*/ 278152 w 4519987"/>
                    <a:gd name="connsiteY78" fmla="*/ 3257550 h 4496940"/>
                    <a:gd name="connsiteX79" fmla="*/ 249577 w 4519987"/>
                    <a:gd name="connsiteY79" fmla="*/ 3200400 h 4496940"/>
                    <a:gd name="connsiteX80" fmla="*/ 240052 w 4519987"/>
                    <a:gd name="connsiteY80" fmla="*/ 3162300 h 4496940"/>
                    <a:gd name="connsiteX81" fmla="*/ 221002 w 4519987"/>
                    <a:gd name="connsiteY81" fmla="*/ 3105150 h 4496940"/>
                    <a:gd name="connsiteX82" fmla="*/ 173377 w 4519987"/>
                    <a:gd name="connsiteY82" fmla="*/ 3019425 h 4496940"/>
                    <a:gd name="connsiteX83" fmla="*/ 144802 w 4519987"/>
                    <a:gd name="connsiteY83" fmla="*/ 2924175 h 4496940"/>
                    <a:gd name="connsiteX84" fmla="*/ 68602 w 4519987"/>
                    <a:gd name="connsiteY84" fmla="*/ 2724150 h 4496940"/>
                    <a:gd name="connsiteX85" fmla="*/ 49552 w 4519987"/>
                    <a:gd name="connsiteY85" fmla="*/ 2638425 h 4496940"/>
                    <a:gd name="connsiteX86" fmla="*/ 40027 w 4519987"/>
                    <a:gd name="connsiteY86" fmla="*/ 2562225 h 4496940"/>
                    <a:gd name="connsiteX87" fmla="*/ 30502 w 4519987"/>
                    <a:gd name="connsiteY87" fmla="*/ 2514600 h 4496940"/>
                    <a:gd name="connsiteX88" fmla="*/ 11452 w 4519987"/>
                    <a:gd name="connsiteY88" fmla="*/ 2400300 h 4496940"/>
                    <a:gd name="connsiteX89" fmla="*/ 20977 w 4519987"/>
                    <a:gd name="connsiteY89" fmla="*/ 1905000 h 4496940"/>
                    <a:gd name="connsiteX90" fmla="*/ 30502 w 4519987"/>
                    <a:gd name="connsiteY90" fmla="*/ 1838325 h 4496940"/>
                    <a:gd name="connsiteX91" fmla="*/ 49552 w 4519987"/>
                    <a:gd name="connsiteY91" fmla="*/ 1781175 h 4496940"/>
                    <a:gd name="connsiteX92" fmla="*/ 59077 w 4519987"/>
                    <a:gd name="connsiteY92" fmla="*/ 1743075 h 4496940"/>
                    <a:gd name="connsiteX93" fmla="*/ 78127 w 4519987"/>
                    <a:gd name="connsiteY93" fmla="*/ 1685925 h 4496940"/>
                    <a:gd name="connsiteX94" fmla="*/ 87652 w 4519987"/>
                    <a:gd name="connsiteY94" fmla="*/ 1638300 h 4496940"/>
                    <a:gd name="connsiteX95" fmla="*/ 106702 w 4519987"/>
                    <a:gd name="connsiteY95" fmla="*/ 1590675 h 4496940"/>
                    <a:gd name="connsiteX96" fmla="*/ 135277 w 4519987"/>
                    <a:gd name="connsiteY96" fmla="*/ 1504950 h 4496940"/>
                    <a:gd name="connsiteX97" fmla="*/ 154327 w 4519987"/>
                    <a:gd name="connsiteY97" fmla="*/ 1419225 h 4496940"/>
                    <a:gd name="connsiteX98" fmla="*/ 230527 w 4519987"/>
                    <a:gd name="connsiteY98" fmla="*/ 1276350 h 4496940"/>
                    <a:gd name="connsiteX99" fmla="*/ 240052 w 4519987"/>
                    <a:gd name="connsiteY99" fmla="*/ 1247775 h 4496940"/>
                    <a:gd name="connsiteX100" fmla="*/ 268627 w 4519987"/>
                    <a:gd name="connsiteY100" fmla="*/ 1200150 h 4496940"/>
                    <a:gd name="connsiteX101" fmla="*/ 287677 w 4519987"/>
                    <a:gd name="connsiteY101" fmla="*/ 1152525 h 4496940"/>
                    <a:gd name="connsiteX102" fmla="*/ 316252 w 4519987"/>
                    <a:gd name="connsiteY102" fmla="*/ 1114425 h 4496940"/>
                    <a:gd name="connsiteX103" fmla="*/ 363877 w 4519987"/>
                    <a:gd name="connsiteY103" fmla="*/ 1038225 h 4496940"/>
                    <a:gd name="connsiteX104" fmla="*/ 382927 w 4519987"/>
                    <a:gd name="connsiteY104" fmla="*/ 1009650 h 4496940"/>
                    <a:gd name="connsiteX105" fmla="*/ 440077 w 4519987"/>
                    <a:gd name="connsiteY105" fmla="*/ 904875 h 4496940"/>
                    <a:gd name="connsiteX106" fmla="*/ 478177 w 4519987"/>
                    <a:gd name="connsiteY106" fmla="*/ 857250 h 4496940"/>
                    <a:gd name="connsiteX107" fmla="*/ 497227 w 4519987"/>
                    <a:gd name="connsiteY107" fmla="*/ 828675 h 4496940"/>
                    <a:gd name="connsiteX108" fmla="*/ 535327 w 4519987"/>
                    <a:gd name="connsiteY108" fmla="*/ 800100 h 4496940"/>
                    <a:gd name="connsiteX109" fmla="*/ 602002 w 4519987"/>
                    <a:gd name="connsiteY109" fmla="*/ 733425 h 4496940"/>
                    <a:gd name="connsiteX110" fmla="*/ 668677 w 4519987"/>
                    <a:gd name="connsiteY110" fmla="*/ 676275 h 4496940"/>
                    <a:gd name="connsiteX111" fmla="*/ 697252 w 4519987"/>
                    <a:gd name="connsiteY111" fmla="*/ 657225 h 4496940"/>
                    <a:gd name="connsiteX112" fmla="*/ 840127 w 4519987"/>
                    <a:gd name="connsiteY112" fmla="*/ 533400 h 4496940"/>
                    <a:gd name="connsiteX113" fmla="*/ 887752 w 4519987"/>
                    <a:gd name="connsiteY113" fmla="*/ 504825 h 4496940"/>
                    <a:gd name="connsiteX114" fmla="*/ 1167152 w 4519987"/>
                    <a:gd name="connsiteY114" fmla="*/ 311150 h 4496940"/>
                    <a:gd name="connsiteX115" fmla="*/ 1268752 w 4519987"/>
                    <a:gd name="connsiteY115" fmla="*/ 285750 h 4496940"/>
                    <a:gd name="connsiteX116" fmla="*/ 1411627 w 4519987"/>
                    <a:gd name="connsiteY116" fmla="*/ 190500 h 4496940"/>
                    <a:gd name="connsiteX117" fmla="*/ 1449727 w 4519987"/>
                    <a:gd name="connsiteY117" fmla="*/ 161925 h 4496940"/>
                    <a:gd name="connsiteX118" fmla="*/ 1525927 w 4519987"/>
                    <a:gd name="connsiteY118" fmla="*/ 152400 h 4496940"/>
                    <a:gd name="connsiteX119" fmla="*/ 1583077 w 4519987"/>
                    <a:gd name="connsiteY119" fmla="*/ 142875 h 4496940"/>
                    <a:gd name="connsiteX120" fmla="*/ 1716427 w 4519987"/>
                    <a:gd name="connsiteY120" fmla="*/ 123825 h 4496940"/>
                    <a:gd name="connsiteX121" fmla="*/ 1811677 w 4519987"/>
                    <a:gd name="connsiteY121" fmla="*/ 114300 h 4496940"/>
                    <a:gd name="connsiteX122" fmla="*/ 1859302 w 4519987"/>
                    <a:gd name="connsiteY122" fmla="*/ 104775 h 4496940"/>
                    <a:gd name="connsiteX123" fmla="*/ 1916452 w 4519987"/>
                    <a:gd name="connsiteY123" fmla="*/ 95250 h 4496940"/>
                    <a:gd name="connsiteX124" fmla="*/ 2030752 w 4519987"/>
                    <a:gd name="connsiteY124" fmla="*/ 66675 h 4496940"/>
                    <a:gd name="connsiteX125" fmla="*/ 2097427 w 4519987"/>
                    <a:gd name="connsiteY125" fmla="*/ 47625 h 4496940"/>
                    <a:gd name="connsiteX126" fmla="*/ 2164102 w 4519987"/>
                    <a:gd name="connsiteY126" fmla="*/ 38100 h 4496940"/>
                    <a:gd name="connsiteX127" fmla="*/ 2392702 w 4519987"/>
                    <a:gd name="connsiteY12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383302 w 4519987"/>
                    <a:gd name="connsiteY39" fmla="*/ 4210050 h 4496940"/>
                    <a:gd name="connsiteX40" fmla="*/ 3335677 w 4519987"/>
                    <a:gd name="connsiteY40" fmla="*/ 4238625 h 4496940"/>
                    <a:gd name="connsiteX41" fmla="*/ 3288052 w 4519987"/>
                    <a:gd name="connsiteY41" fmla="*/ 4248150 h 4496940"/>
                    <a:gd name="connsiteX42" fmla="*/ 3240427 w 4519987"/>
                    <a:gd name="connsiteY42" fmla="*/ 4267200 h 4496940"/>
                    <a:gd name="connsiteX43" fmla="*/ 3068977 w 4519987"/>
                    <a:gd name="connsiteY43" fmla="*/ 4286250 h 4496940"/>
                    <a:gd name="connsiteX44" fmla="*/ 2935627 w 4519987"/>
                    <a:gd name="connsiteY44" fmla="*/ 4333875 h 4496940"/>
                    <a:gd name="connsiteX45" fmla="*/ 2811802 w 4519987"/>
                    <a:gd name="connsiteY45" fmla="*/ 4371975 h 4496940"/>
                    <a:gd name="connsiteX46" fmla="*/ 2745127 w 4519987"/>
                    <a:gd name="connsiteY46" fmla="*/ 4410075 h 4496940"/>
                    <a:gd name="connsiteX47" fmla="*/ 2697502 w 4519987"/>
                    <a:gd name="connsiteY47" fmla="*/ 4429125 h 4496940"/>
                    <a:gd name="connsiteX48" fmla="*/ 2640352 w 4519987"/>
                    <a:gd name="connsiteY48" fmla="*/ 4457700 h 4496940"/>
                    <a:gd name="connsiteX49" fmla="*/ 2583202 w 4519987"/>
                    <a:gd name="connsiteY49" fmla="*/ 4467225 h 4496940"/>
                    <a:gd name="connsiteX50" fmla="*/ 2545102 w 4519987"/>
                    <a:gd name="connsiteY50" fmla="*/ 4486275 h 4496940"/>
                    <a:gd name="connsiteX51" fmla="*/ 2306977 w 4519987"/>
                    <a:gd name="connsiteY51" fmla="*/ 4476750 h 4496940"/>
                    <a:gd name="connsiteX52" fmla="*/ 2202202 w 4519987"/>
                    <a:gd name="connsiteY52" fmla="*/ 4457700 h 4496940"/>
                    <a:gd name="connsiteX53" fmla="*/ 2126002 w 4519987"/>
                    <a:gd name="connsiteY53" fmla="*/ 4429125 h 4496940"/>
                    <a:gd name="connsiteX54" fmla="*/ 1935502 w 4519987"/>
                    <a:gd name="connsiteY54" fmla="*/ 4400550 h 4496940"/>
                    <a:gd name="connsiteX55" fmla="*/ 1821202 w 4519987"/>
                    <a:gd name="connsiteY55" fmla="*/ 4371975 h 4496940"/>
                    <a:gd name="connsiteX56" fmla="*/ 1754527 w 4519987"/>
                    <a:gd name="connsiteY56" fmla="*/ 4352925 h 4496940"/>
                    <a:gd name="connsiteX57" fmla="*/ 1687852 w 4519987"/>
                    <a:gd name="connsiteY57" fmla="*/ 4343400 h 4496940"/>
                    <a:gd name="connsiteX58" fmla="*/ 1573552 w 4519987"/>
                    <a:gd name="connsiteY58" fmla="*/ 4305300 h 4496940"/>
                    <a:gd name="connsiteX59" fmla="*/ 1402102 w 4519987"/>
                    <a:gd name="connsiteY59" fmla="*/ 4276725 h 4496940"/>
                    <a:gd name="connsiteX60" fmla="*/ 1287802 w 4519987"/>
                    <a:gd name="connsiteY60" fmla="*/ 4229100 h 4496940"/>
                    <a:gd name="connsiteX61" fmla="*/ 1221127 w 4519987"/>
                    <a:gd name="connsiteY61" fmla="*/ 4200525 h 4496940"/>
                    <a:gd name="connsiteX62" fmla="*/ 1144927 w 4519987"/>
                    <a:gd name="connsiteY62" fmla="*/ 4171950 h 4496940"/>
                    <a:gd name="connsiteX63" fmla="*/ 1087777 w 4519987"/>
                    <a:gd name="connsiteY63" fmla="*/ 4143375 h 4496940"/>
                    <a:gd name="connsiteX64" fmla="*/ 1030627 w 4519987"/>
                    <a:gd name="connsiteY64" fmla="*/ 4124325 h 4496940"/>
                    <a:gd name="connsiteX65" fmla="*/ 925852 w 4519987"/>
                    <a:gd name="connsiteY65" fmla="*/ 4067175 h 4496940"/>
                    <a:gd name="connsiteX66" fmla="*/ 830602 w 4519987"/>
                    <a:gd name="connsiteY66" fmla="*/ 3981450 h 4496940"/>
                    <a:gd name="connsiteX67" fmla="*/ 763927 w 4519987"/>
                    <a:gd name="connsiteY67" fmla="*/ 3914775 h 4496940"/>
                    <a:gd name="connsiteX68" fmla="*/ 725827 w 4519987"/>
                    <a:gd name="connsiteY68" fmla="*/ 3876675 h 4496940"/>
                    <a:gd name="connsiteX69" fmla="*/ 697252 w 4519987"/>
                    <a:gd name="connsiteY69" fmla="*/ 3838575 h 4496940"/>
                    <a:gd name="connsiteX70" fmla="*/ 640102 w 4519987"/>
                    <a:gd name="connsiteY70" fmla="*/ 3781425 h 4496940"/>
                    <a:gd name="connsiteX71" fmla="*/ 611527 w 4519987"/>
                    <a:gd name="connsiteY71" fmla="*/ 3733800 h 4496940"/>
                    <a:gd name="connsiteX72" fmla="*/ 554377 w 4519987"/>
                    <a:gd name="connsiteY72" fmla="*/ 3657600 h 4496940"/>
                    <a:gd name="connsiteX73" fmla="*/ 525802 w 4519987"/>
                    <a:gd name="connsiteY73" fmla="*/ 3609975 h 4496940"/>
                    <a:gd name="connsiteX74" fmla="*/ 497227 w 4519987"/>
                    <a:gd name="connsiteY74" fmla="*/ 3552825 h 4496940"/>
                    <a:gd name="connsiteX75" fmla="*/ 440077 w 4519987"/>
                    <a:gd name="connsiteY75" fmla="*/ 3495675 h 4496940"/>
                    <a:gd name="connsiteX76" fmla="*/ 411502 w 4519987"/>
                    <a:gd name="connsiteY76" fmla="*/ 3448050 h 4496940"/>
                    <a:gd name="connsiteX77" fmla="*/ 278152 w 4519987"/>
                    <a:gd name="connsiteY77" fmla="*/ 3257550 h 4496940"/>
                    <a:gd name="connsiteX78" fmla="*/ 249577 w 4519987"/>
                    <a:gd name="connsiteY78" fmla="*/ 3200400 h 4496940"/>
                    <a:gd name="connsiteX79" fmla="*/ 240052 w 4519987"/>
                    <a:gd name="connsiteY79" fmla="*/ 3162300 h 4496940"/>
                    <a:gd name="connsiteX80" fmla="*/ 221002 w 4519987"/>
                    <a:gd name="connsiteY80" fmla="*/ 3105150 h 4496940"/>
                    <a:gd name="connsiteX81" fmla="*/ 173377 w 4519987"/>
                    <a:gd name="connsiteY81" fmla="*/ 3019425 h 4496940"/>
                    <a:gd name="connsiteX82" fmla="*/ 144802 w 4519987"/>
                    <a:gd name="connsiteY82" fmla="*/ 2924175 h 4496940"/>
                    <a:gd name="connsiteX83" fmla="*/ 68602 w 4519987"/>
                    <a:gd name="connsiteY83" fmla="*/ 2724150 h 4496940"/>
                    <a:gd name="connsiteX84" fmla="*/ 49552 w 4519987"/>
                    <a:gd name="connsiteY84" fmla="*/ 2638425 h 4496940"/>
                    <a:gd name="connsiteX85" fmla="*/ 40027 w 4519987"/>
                    <a:gd name="connsiteY85" fmla="*/ 2562225 h 4496940"/>
                    <a:gd name="connsiteX86" fmla="*/ 30502 w 4519987"/>
                    <a:gd name="connsiteY86" fmla="*/ 2514600 h 4496940"/>
                    <a:gd name="connsiteX87" fmla="*/ 11452 w 4519987"/>
                    <a:gd name="connsiteY87" fmla="*/ 2400300 h 4496940"/>
                    <a:gd name="connsiteX88" fmla="*/ 20977 w 4519987"/>
                    <a:gd name="connsiteY88" fmla="*/ 1905000 h 4496940"/>
                    <a:gd name="connsiteX89" fmla="*/ 30502 w 4519987"/>
                    <a:gd name="connsiteY89" fmla="*/ 1838325 h 4496940"/>
                    <a:gd name="connsiteX90" fmla="*/ 49552 w 4519987"/>
                    <a:gd name="connsiteY90" fmla="*/ 1781175 h 4496940"/>
                    <a:gd name="connsiteX91" fmla="*/ 59077 w 4519987"/>
                    <a:gd name="connsiteY91" fmla="*/ 1743075 h 4496940"/>
                    <a:gd name="connsiteX92" fmla="*/ 78127 w 4519987"/>
                    <a:gd name="connsiteY92" fmla="*/ 1685925 h 4496940"/>
                    <a:gd name="connsiteX93" fmla="*/ 87652 w 4519987"/>
                    <a:gd name="connsiteY93" fmla="*/ 1638300 h 4496940"/>
                    <a:gd name="connsiteX94" fmla="*/ 106702 w 4519987"/>
                    <a:gd name="connsiteY94" fmla="*/ 1590675 h 4496940"/>
                    <a:gd name="connsiteX95" fmla="*/ 135277 w 4519987"/>
                    <a:gd name="connsiteY95" fmla="*/ 1504950 h 4496940"/>
                    <a:gd name="connsiteX96" fmla="*/ 154327 w 4519987"/>
                    <a:gd name="connsiteY96" fmla="*/ 1419225 h 4496940"/>
                    <a:gd name="connsiteX97" fmla="*/ 230527 w 4519987"/>
                    <a:gd name="connsiteY97" fmla="*/ 1276350 h 4496940"/>
                    <a:gd name="connsiteX98" fmla="*/ 240052 w 4519987"/>
                    <a:gd name="connsiteY98" fmla="*/ 1247775 h 4496940"/>
                    <a:gd name="connsiteX99" fmla="*/ 268627 w 4519987"/>
                    <a:gd name="connsiteY99" fmla="*/ 1200150 h 4496940"/>
                    <a:gd name="connsiteX100" fmla="*/ 287677 w 4519987"/>
                    <a:gd name="connsiteY100" fmla="*/ 1152525 h 4496940"/>
                    <a:gd name="connsiteX101" fmla="*/ 316252 w 4519987"/>
                    <a:gd name="connsiteY101" fmla="*/ 1114425 h 4496940"/>
                    <a:gd name="connsiteX102" fmla="*/ 363877 w 4519987"/>
                    <a:gd name="connsiteY102" fmla="*/ 1038225 h 4496940"/>
                    <a:gd name="connsiteX103" fmla="*/ 382927 w 4519987"/>
                    <a:gd name="connsiteY103" fmla="*/ 1009650 h 4496940"/>
                    <a:gd name="connsiteX104" fmla="*/ 440077 w 4519987"/>
                    <a:gd name="connsiteY104" fmla="*/ 904875 h 4496940"/>
                    <a:gd name="connsiteX105" fmla="*/ 478177 w 4519987"/>
                    <a:gd name="connsiteY105" fmla="*/ 857250 h 4496940"/>
                    <a:gd name="connsiteX106" fmla="*/ 497227 w 4519987"/>
                    <a:gd name="connsiteY106" fmla="*/ 828675 h 4496940"/>
                    <a:gd name="connsiteX107" fmla="*/ 535327 w 4519987"/>
                    <a:gd name="connsiteY107" fmla="*/ 800100 h 4496940"/>
                    <a:gd name="connsiteX108" fmla="*/ 602002 w 4519987"/>
                    <a:gd name="connsiteY108" fmla="*/ 733425 h 4496940"/>
                    <a:gd name="connsiteX109" fmla="*/ 668677 w 4519987"/>
                    <a:gd name="connsiteY109" fmla="*/ 676275 h 4496940"/>
                    <a:gd name="connsiteX110" fmla="*/ 697252 w 4519987"/>
                    <a:gd name="connsiteY110" fmla="*/ 657225 h 4496940"/>
                    <a:gd name="connsiteX111" fmla="*/ 840127 w 4519987"/>
                    <a:gd name="connsiteY111" fmla="*/ 533400 h 4496940"/>
                    <a:gd name="connsiteX112" fmla="*/ 887752 w 4519987"/>
                    <a:gd name="connsiteY112" fmla="*/ 504825 h 4496940"/>
                    <a:gd name="connsiteX113" fmla="*/ 1167152 w 4519987"/>
                    <a:gd name="connsiteY113" fmla="*/ 311150 h 4496940"/>
                    <a:gd name="connsiteX114" fmla="*/ 1268752 w 4519987"/>
                    <a:gd name="connsiteY114" fmla="*/ 285750 h 4496940"/>
                    <a:gd name="connsiteX115" fmla="*/ 1411627 w 4519987"/>
                    <a:gd name="connsiteY115" fmla="*/ 190500 h 4496940"/>
                    <a:gd name="connsiteX116" fmla="*/ 1449727 w 4519987"/>
                    <a:gd name="connsiteY116" fmla="*/ 161925 h 4496940"/>
                    <a:gd name="connsiteX117" fmla="*/ 1525927 w 4519987"/>
                    <a:gd name="connsiteY117" fmla="*/ 152400 h 4496940"/>
                    <a:gd name="connsiteX118" fmla="*/ 1583077 w 4519987"/>
                    <a:gd name="connsiteY118" fmla="*/ 142875 h 4496940"/>
                    <a:gd name="connsiteX119" fmla="*/ 1716427 w 4519987"/>
                    <a:gd name="connsiteY119" fmla="*/ 123825 h 4496940"/>
                    <a:gd name="connsiteX120" fmla="*/ 1811677 w 4519987"/>
                    <a:gd name="connsiteY120" fmla="*/ 114300 h 4496940"/>
                    <a:gd name="connsiteX121" fmla="*/ 1859302 w 4519987"/>
                    <a:gd name="connsiteY121" fmla="*/ 104775 h 4496940"/>
                    <a:gd name="connsiteX122" fmla="*/ 1916452 w 4519987"/>
                    <a:gd name="connsiteY122" fmla="*/ 95250 h 4496940"/>
                    <a:gd name="connsiteX123" fmla="*/ 2030752 w 4519987"/>
                    <a:gd name="connsiteY123" fmla="*/ 66675 h 4496940"/>
                    <a:gd name="connsiteX124" fmla="*/ 2097427 w 4519987"/>
                    <a:gd name="connsiteY124" fmla="*/ 47625 h 4496940"/>
                    <a:gd name="connsiteX125" fmla="*/ 2164102 w 4519987"/>
                    <a:gd name="connsiteY125" fmla="*/ 38100 h 4496940"/>
                    <a:gd name="connsiteX126" fmla="*/ 2392702 w 4519987"/>
                    <a:gd name="connsiteY12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554752 w 4519987"/>
                    <a:gd name="connsiteY37" fmla="*/ 4095750 h 4496940"/>
                    <a:gd name="connsiteX38" fmla="*/ 3383302 w 4519987"/>
                    <a:gd name="connsiteY38" fmla="*/ 4210050 h 4496940"/>
                    <a:gd name="connsiteX39" fmla="*/ 3335677 w 4519987"/>
                    <a:gd name="connsiteY39" fmla="*/ 4238625 h 4496940"/>
                    <a:gd name="connsiteX40" fmla="*/ 3288052 w 4519987"/>
                    <a:gd name="connsiteY40" fmla="*/ 4248150 h 4496940"/>
                    <a:gd name="connsiteX41" fmla="*/ 3240427 w 4519987"/>
                    <a:gd name="connsiteY41" fmla="*/ 4267200 h 4496940"/>
                    <a:gd name="connsiteX42" fmla="*/ 3068977 w 4519987"/>
                    <a:gd name="connsiteY42" fmla="*/ 4286250 h 4496940"/>
                    <a:gd name="connsiteX43" fmla="*/ 2935627 w 4519987"/>
                    <a:gd name="connsiteY43" fmla="*/ 4333875 h 4496940"/>
                    <a:gd name="connsiteX44" fmla="*/ 2811802 w 4519987"/>
                    <a:gd name="connsiteY44" fmla="*/ 4371975 h 4496940"/>
                    <a:gd name="connsiteX45" fmla="*/ 2745127 w 4519987"/>
                    <a:gd name="connsiteY45" fmla="*/ 4410075 h 4496940"/>
                    <a:gd name="connsiteX46" fmla="*/ 2697502 w 4519987"/>
                    <a:gd name="connsiteY46" fmla="*/ 4429125 h 4496940"/>
                    <a:gd name="connsiteX47" fmla="*/ 2640352 w 4519987"/>
                    <a:gd name="connsiteY47" fmla="*/ 4457700 h 4496940"/>
                    <a:gd name="connsiteX48" fmla="*/ 2583202 w 4519987"/>
                    <a:gd name="connsiteY48" fmla="*/ 4467225 h 4496940"/>
                    <a:gd name="connsiteX49" fmla="*/ 2545102 w 4519987"/>
                    <a:gd name="connsiteY49" fmla="*/ 4486275 h 4496940"/>
                    <a:gd name="connsiteX50" fmla="*/ 2306977 w 4519987"/>
                    <a:gd name="connsiteY50" fmla="*/ 4476750 h 4496940"/>
                    <a:gd name="connsiteX51" fmla="*/ 2202202 w 4519987"/>
                    <a:gd name="connsiteY51" fmla="*/ 4457700 h 4496940"/>
                    <a:gd name="connsiteX52" fmla="*/ 2126002 w 4519987"/>
                    <a:gd name="connsiteY52" fmla="*/ 4429125 h 4496940"/>
                    <a:gd name="connsiteX53" fmla="*/ 1935502 w 4519987"/>
                    <a:gd name="connsiteY53" fmla="*/ 4400550 h 4496940"/>
                    <a:gd name="connsiteX54" fmla="*/ 1821202 w 4519987"/>
                    <a:gd name="connsiteY54" fmla="*/ 4371975 h 4496940"/>
                    <a:gd name="connsiteX55" fmla="*/ 1754527 w 4519987"/>
                    <a:gd name="connsiteY55" fmla="*/ 4352925 h 4496940"/>
                    <a:gd name="connsiteX56" fmla="*/ 1687852 w 4519987"/>
                    <a:gd name="connsiteY56" fmla="*/ 4343400 h 4496940"/>
                    <a:gd name="connsiteX57" fmla="*/ 1573552 w 4519987"/>
                    <a:gd name="connsiteY57" fmla="*/ 4305300 h 4496940"/>
                    <a:gd name="connsiteX58" fmla="*/ 1402102 w 4519987"/>
                    <a:gd name="connsiteY58" fmla="*/ 4276725 h 4496940"/>
                    <a:gd name="connsiteX59" fmla="*/ 1287802 w 4519987"/>
                    <a:gd name="connsiteY59" fmla="*/ 4229100 h 4496940"/>
                    <a:gd name="connsiteX60" fmla="*/ 1221127 w 4519987"/>
                    <a:gd name="connsiteY60" fmla="*/ 4200525 h 4496940"/>
                    <a:gd name="connsiteX61" fmla="*/ 1144927 w 4519987"/>
                    <a:gd name="connsiteY61" fmla="*/ 4171950 h 4496940"/>
                    <a:gd name="connsiteX62" fmla="*/ 1087777 w 4519987"/>
                    <a:gd name="connsiteY62" fmla="*/ 4143375 h 4496940"/>
                    <a:gd name="connsiteX63" fmla="*/ 1030627 w 4519987"/>
                    <a:gd name="connsiteY63" fmla="*/ 4124325 h 4496940"/>
                    <a:gd name="connsiteX64" fmla="*/ 925852 w 4519987"/>
                    <a:gd name="connsiteY64" fmla="*/ 4067175 h 4496940"/>
                    <a:gd name="connsiteX65" fmla="*/ 830602 w 4519987"/>
                    <a:gd name="connsiteY65" fmla="*/ 3981450 h 4496940"/>
                    <a:gd name="connsiteX66" fmla="*/ 763927 w 4519987"/>
                    <a:gd name="connsiteY66" fmla="*/ 3914775 h 4496940"/>
                    <a:gd name="connsiteX67" fmla="*/ 725827 w 4519987"/>
                    <a:gd name="connsiteY67" fmla="*/ 3876675 h 4496940"/>
                    <a:gd name="connsiteX68" fmla="*/ 697252 w 4519987"/>
                    <a:gd name="connsiteY68" fmla="*/ 3838575 h 4496940"/>
                    <a:gd name="connsiteX69" fmla="*/ 640102 w 4519987"/>
                    <a:gd name="connsiteY69" fmla="*/ 3781425 h 4496940"/>
                    <a:gd name="connsiteX70" fmla="*/ 611527 w 4519987"/>
                    <a:gd name="connsiteY70" fmla="*/ 3733800 h 4496940"/>
                    <a:gd name="connsiteX71" fmla="*/ 554377 w 4519987"/>
                    <a:gd name="connsiteY71" fmla="*/ 3657600 h 4496940"/>
                    <a:gd name="connsiteX72" fmla="*/ 525802 w 4519987"/>
                    <a:gd name="connsiteY72" fmla="*/ 3609975 h 4496940"/>
                    <a:gd name="connsiteX73" fmla="*/ 497227 w 4519987"/>
                    <a:gd name="connsiteY73" fmla="*/ 3552825 h 4496940"/>
                    <a:gd name="connsiteX74" fmla="*/ 440077 w 4519987"/>
                    <a:gd name="connsiteY74" fmla="*/ 3495675 h 4496940"/>
                    <a:gd name="connsiteX75" fmla="*/ 411502 w 4519987"/>
                    <a:gd name="connsiteY75" fmla="*/ 3448050 h 4496940"/>
                    <a:gd name="connsiteX76" fmla="*/ 278152 w 4519987"/>
                    <a:gd name="connsiteY76" fmla="*/ 3257550 h 4496940"/>
                    <a:gd name="connsiteX77" fmla="*/ 249577 w 4519987"/>
                    <a:gd name="connsiteY77" fmla="*/ 3200400 h 4496940"/>
                    <a:gd name="connsiteX78" fmla="*/ 240052 w 4519987"/>
                    <a:gd name="connsiteY78" fmla="*/ 3162300 h 4496940"/>
                    <a:gd name="connsiteX79" fmla="*/ 221002 w 4519987"/>
                    <a:gd name="connsiteY79" fmla="*/ 3105150 h 4496940"/>
                    <a:gd name="connsiteX80" fmla="*/ 173377 w 4519987"/>
                    <a:gd name="connsiteY80" fmla="*/ 3019425 h 4496940"/>
                    <a:gd name="connsiteX81" fmla="*/ 144802 w 4519987"/>
                    <a:gd name="connsiteY81" fmla="*/ 2924175 h 4496940"/>
                    <a:gd name="connsiteX82" fmla="*/ 68602 w 4519987"/>
                    <a:gd name="connsiteY82" fmla="*/ 2724150 h 4496940"/>
                    <a:gd name="connsiteX83" fmla="*/ 49552 w 4519987"/>
                    <a:gd name="connsiteY83" fmla="*/ 2638425 h 4496940"/>
                    <a:gd name="connsiteX84" fmla="*/ 40027 w 4519987"/>
                    <a:gd name="connsiteY84" fmla="*/ 2562225 h 4496940"/>
                    <a:gd name="connsiteX85" fmla="*/ 30502 w 4519987"/>
                    <a:gd name="connsiteY85" fmla="*/ 2514600 h 4496940"/>
                    <a:gd name="connsiteX86" fmla="*/ 11452 w 4519987"/>
                    <a:gd name="connsiteY86" fmla="*/ 2400300 h 4496940"/>
                    <a:gd name="connsiteX87" fmla="*/ 20977 w 4519987"/>
                    <a:gd name="connsiteY87" fmla="*/ 1905000 h 4496940"/>
                    <a:gd name="connsiteX88" fmla="*/ 30502 w 4519987"/>
                    <a:gd name="connsiteY88" fmla="*/ 1838325 h 4496940"/>
                    <a:gd name="connsiteX89" fmla="*/ 49552 w 4519987"/>
                    <a:gd name="connsiteY89" fmla="*/ 1781175 h 4496940"/>
                    <a:gd name="connsiteX90" fmla="*/ 59077 w 4519987"/>
                    <a:gd name="connsiteY90" fmla="*/ 1743075 h 4496940"/>
                    <a:gd name="connsiteX91" fmla="*/ 78127 w 4519987"/>
                    <a:gd name="connsiteY91" fmla="*/ 1685925 h 4496940"/>
                    <a:gd name="connsiteX92" fmla="*/ 87652 w 4519987"/>
                    <a:gd name="connsiteY92" fmla="*/ 1638300 h 4496940"/>
                    <a:gd name="connsiteX93" fmla="*/ 106702 w 4519987"/>
                    <a:gd name="connsiteY93" fmla="*/ 1590675 h 4496940"/>
                    <a:gd name="connsiteX94" fmla="*/ 135277 w 4519987"/>
                    <a:gd name="connsiteY94" fmla="*/ 1504950 h 4496940"/>
                    <a:gd name="connsiteX95" fmla="*/ 154327 w 4519987"/>
                    <a:gd name="connsiteY95" fmla="*/ 1419225 h 4496940"/>
                    <a:gd name="connsiteX96" fmla="*/ 230527 w 4519987"/>
                    <a:gd name="connsiteY96" fmla="*/ 1276350 h 4496940"/>
                    <a:gd name="connsiteX97" fmla="*/ 240052 w 4519987"/>
                    <a:gd name="connsiteY97" fmla="*/ 1247775 h 4496940"/>
                    <a:gd name="connsiteX98" fmla="*/ 268627 w 4519987"/>
                    <a:gd name="connsiteY98" fmla="*/ 1200150 h 4496940"/>
                    <a:gd name="connsiteX99" fmla="*/ 287677 w 4519987"/>
                    <a:gd name="connsiteY99" fmla="*/ 1152525 h 4496940"/>
                    <a:gd name="connsiteX100" fmla="*/ 316252 w 4519987"/>
                    <a:gd name="connsiteY100" fmla="*/ 1114425 h 4496940"/>
                    <a:gd name="connsiteX101" fmla="*/ 363877 w 4519987"/>
                    <a:gd name="connsiteY101" fmla="*/ 1038225 h 4496940"/>
                    <a:gd name="connsiteX102" fmla="*/ 382927 w 4519987"/>
                    <a:gd name="connsiteY102" fmla="*/ 1009650 h 4496940"/>
                    <a:gd name="connsiteX103" fmla="*/ 440077 w 4519987"/>
                    <a:gd name="connsiteY103" fmla="*/ 904875 h 4496940"/>
                    <a:gd name="connsiteX104" fmla="*/ 478177 w 4519987"/>
                    <a:gd name="connsiteY104" fmla="*/ 857250 h 4496940"/>
                    <a:gd name="connsiteX105" fmla="*/ 497227 w 4519987"/>
                    <a:gd name="connsiteY105" fmla="*/ 828675 h 4496940"/>
                    <a:gd name="connsiteX106" fmla="*/ 535327 w 4519987"/>
                    <a:gd name="connsiteY106" fmla="*/ 800100 h 4496940"/>
                    <a:gd name="connsiteX107" fmla="*/ 602002 w 4519987"/>
                    <a:gd name="connsiteY107" fmla="*/ 733425 h 4496940"/>
                    <a:gd name="connsiteX108" fmla="*/ 668677 w 4519987"/>
                    <a:gd name="connsiteY108" fmla="*/ 676275 h 4496940"/>
                    <a:gd name="connsiteX109" fmla="*/ 697252 w 4519987"/>
                    <a:gd name="connsiteY109" fmla="*/ 657225 h 4496940"/>
                    <a:gd name="connsiteX110" fmla="*/ 840127 w 4519987"/>
                    <a:gd name="connsiteY110" fmla="*/ 533400 h 4496940"/>
                    <a:gd name="connsiteX111" fmla="*/ 887752 w 4519987"/>
                    <a:gd name="connsiteY111" fmla="*/ 504825 h 4496940"/>
                    <a:gd name="connsiteX112" fmla="*/ 1167152 w 4519987"/>
                    <a:gd name="connsiteY112" fmla="*/ 311150 h 4496940"/>
                    <a:gd name="connsiteX113" fmla="*/ 1268752 w 4519987"/>
                    <a:gd name="connsiteY113" fmla="*/ 285750 h 4496940"/>
                    <a:gd name="connsiteX114" fmla="*/ 1411627 w 4519987"/>
                    <a:gd name="connsiteY114" fmla="*/ 190500 h 4496940"/>
                    <a:gd name="connsiteX115" fmla="*/ 1449727 w 4519987"/>
                    <a:gd name="connsiteY115" fmla="*/ 161925 h 4496940"/>
                    <a:gd name="connsiteX116" fmla="*/ 1525927 w 4519987"/>
                    <a:gd name="connsiteY116" fmla="*/ 152400 h 4496940"/>
                    <a:gd name="connsiteX117" fmla="*/ 1583077 w 4519987"/>
                    <a:gd name="connsiteY117" fmla="*/ 142875 h 4496940"/>
                    <a:gd name="connsiteX118" fmla="*/ 1716427 w 4519987"/>
                    <a:gd name="connsiteY118" fmla="*/ 123825 h 4496940"/>
                    <a:gd name="connsiteX119" fmla="*/ 1811677 w 4519987"/>
                    <a:gd name="connsiteY119" fmla="*/ 114300 h 4496940"/>
                    <a:gd name="connsiteX120" fmla="*/ 1859302 w 4519987"/>
                    <a:gd name="connsiteY120" fmla="*/ 104775 h 4496940"/>
                    <a:gd name="connsiteX121" fmla="*/ 1916452 w 4519987"/>
                    <a:gd name="connsiteY121" fmla="*/ 95250 h 4496940"/>
                    <a:gd name="connsiteX122" fmla="*/ 2030752 w 4519987"/>
                    <a:gd name="connsiteY122" fmla="*/ 66675 h 4496940"/>
                    <a:gd name="connsiteX123" fmla="*/ 2097427 w 4519987"/>
                    <a:gd name="connsiteY123" fmla="*/ 47625 h 4496940"/>
                    <a:gd name="connsiteX124" fmla="*/ 2164102 w 4519987"/>
                    <a:gd name="connsiteY124" fmla="*/ 38100 h 4496940"/>
                    <a:gd name="connsiteX125" fmla="*/ 2392702 w 4519987"/>
                    <a:gd name="connsiteY12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54752 w 4519987"/>
                    <a:gd name="connsiteY36" fmla="*/ 40957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88052 w 4519987"/>
                    <a:gd name="connsiteY38" fmla="*/ 4248150 h 4496940"/>
                    <a:gd name="connsiteX39" fmla="*/ 3240427 w 4519987"/>
                    <a:gd name="connsiteY39" fmla="*/ 4267200 h 4496940"/>
                    <a:gd name="connsiteX40" fmla="*/ 3068977 w 4519987"/>
                    <a:gd name="connsiteY40" fmla="*/ 4286250 h 4496940"/>
                    <a:gd name="connsiteX41" fmla="*/ 2935627 w 4519987"/>
                    <a:gd name="connsiteY41" fmla="*/ 4333875 h 4496940"/>
                    <a:gd name="connsiteX42" fmla="*/ 2811802 w 4519987"/>
                    <a:gd name="connsiteY42" fmla="*/ 4371975 h 4496940"/>
                    <a:gd name="connsiteX43" fmla="*/ 2745127 w 4519987"/>
                    <a:gd name="connsiteY43" fmla="*/ 4410075 h 4496940"/>
                    <a:gd name="connsiteX44" fmla="*/ 2697502 w 4519987"/>
                    <a:gd name="connsiteY44" fmla="*/ 4429125 h 4496940"/>
                    <a:gd name="connsiteX45" fmla="*/ 2640352 w 4519987"/>
                    <a:gd name="connsiteY45" fmla="*/ 4457700 h 4496940"/>
                    <a:gd name="connsiteX46" fmla="*/ 2583202 w 4519987"/>
                    <a:gd name="connsiteY46" fmla="*/ 4467225 h 4496940"/>
                    <a:gd name="connsiteX47" fmla="*/ 2545102 w 4519987"/>
                    <a:gd name="connsiteY47" fmla="*/ 4486275 h 4496940"/>
                    <a:gd name="connsiteX48" fmla="*/ 2306977 w 4519987"/>
                    <a:gd name="connsiteY48" fmla="*/ 4476750 h 4496940"/>
                    <a:gd name="connsiteX49" fmla="*/ 2202202 w 4519987"/>
                    <a:gd name="connsiteY49" fmla="*/ 4457700 h 4496940"/>
                    <a:gd name="connsiteX50" fmla="*/ 2126002 w 4519987"/>
                    <a:gd name="connsiteY50" fmla="*/ 4429125 h 4496940"/>
                    <a:gd name="connsiteX51" fmla="*/ 1935502 w 4519987"/>
                    <a:gd name="connsiteY51" fmla="*/ 4400550 h 4496940"/>
                    <a:gd name="connsiteX52" fmla="*/ 1821202 w 4519987"/>
                    <a:gd name="connsiteY52" fmla="*/ 4371975 h 4496940"/>
                    <a:gd name="connsiteX53" fmla="*/ 1754527 w 4519987"/>
                    <a:gd name="connsiteY53" fmla="*/ 4352925 h 4496940"/>
                    <a:gd name="connsiteX54" fmla="*/ 1687852 w 4519987"/>
                    <a:gd name="connsiteY54" fmla="*/ 4343400 h 4496940"/>
                    <a:gd name="connsiteX55" fmla="*/ 1573552 w 4519987"/>
                    <a:gd name="connsiteY55" fmla="*/ 4305300 h 4496940"/>
                    <a:gd name="connsiteX56" fmla="*/ 1402102 w 4519987"/>
                    <a:gd name="connsiteY56" fmla="*/ 4276725 h 4496940"/>
                    <a:gd name="connsiteX57" fmla="*/ 1287802 w 4519987"/>
                    <a:gd name="connsiteY57" fmla="*/ 4229100 h 4496940"/>
                    <a:gd name="connsiteX58" fmla="*/ 1221127 w 4519987"/>
                    <a:gd name="connsiteY58" fmla="*/ 4200525 h 4496940"/>
                    <a:gd name="connsiteX59" fmla="*/ 1144927 w 4519987"/>
                    <a:gd name="connsiteY59" fmla="*/ 4171950 h 4496940"/>
                    <a:gd name="connsiteX60" fmla="*/ 1087777 w 4519987"/>
                    <a:gd name="connsiteY60" fmla="*/ 4143375 h 4496940"/>
                    <a:gd name="connsiteX61" fmla="*/ 1030627 w 4519987"/>
                    <a:gd name="connsiteY61" fmla="*/ 4124325 h 4496940"/>
                    <a:gd name="connsiteX62" fmla="*/ 925852 w 4519987"/>
                    <a:gd name="connsiteY62" fmla="*/ 4067175 h 4496940"/>
                    <a:gd name="connsiteX63" fmla="*/ 830602 w 4519987"/>
                    <a:gd name="connsiteY63" fmla="*/ 3981450 h 4496940"/>
                    <a:gd name="connsiteX64" fmla="*/ 763927 w 4519987"/>
                    <a:gd name="connsiteY64" fmla="*/ 3914775 h 4496940"/>
                    <a:gd name="connsiteX65" fmla="*/ 725827 w 4519987"/>
                    <a:gd name="connsiteY65" fmla="*/ 3876675 h 4496940"/>
                    <a:gd name="connsiteX66" fmla="*/ 697252 w 4519987"/>
                    <a:gd name="connsiteY66" fmla="*/ 3838575 h 4496940"/>
                    <a:gd name="connsiteX67" fmla="*/ 640102 w 4519987"/>
                    <a:gd name="connsiteY67" fmla="*/ 3781425 h 4496940"/>
                    <a:gd name="connsiteX68" fmla="*/ 611527 w 4519987"/>
                    <a:gd name="connsiteY68" fmla="*/ 3733800 h 4496940"/>
                    <a:gd name="connsiteX69" fmla="*/ 554377 w 4519987"/>
                    <a:gd name="connsiteY69" fmla="*/ 3657600 h 4496940"/>
                    <a:gd name="connsiteX70" fmla="*/ 525802 w 4519987"/>
                    <a:gd name="connsiteY70" fmla="*/ 3609975 h 4496940"/>
                    <a:gd name="connsiteX71" fmla="*/ 497227 w 4519987"/>
                    <a:gd name="connsiteY71" fmla="*/ 3552825 h 4496940"/>
                    <a:gd name="connsiteX72" fmla="*/ 440077 w 4519987"/>
                    <a:gd name="connsiteY72" fmla="*/ 3495675 h 4496940"/>
                    <a:gd name="connsiteX73" fmla="*/ 411502 w 4519987"/>
                    <a:gd name="connsiteY73" fmla="*/ 3448050 h 4496940"/>
                    <a:gd name="connsiteX74" fmla="*/ 278152 w 4519987"/>
                    <a:gd name="connsiteY74" fmla="*/ 3257550 h 4496940"/>
                    <a:gd name="connsiteX75" fmla="*/ 249577 w 4519987"/>
                    <a:gd name="connsiteY75" fmla="*/ 3200400 h 4496940"/>
                    <a:gd name="connsiteX76" fmla="*/ 240052 w 4519987"/>
                    <a:gd name="connsiteY76" fmla="*/ 3162300 h 4496940"/>
                    <a:gd name="connsiteX77" fmla="*/ 221002 w 4519987"/>
                    <a:gd name="connsiteY77" fmla="*/ 3105150 h 4496940"/>
                    <a:gd name="connsiteX78" fmla="*/ 173377 w 4519987"/>
                    <a:gd name="connsiteY78" fmla="*/ 3019425 h 4496940"/>
                    <a:gd name="connsiteX79" fmla="*/ 144802 w 4519987"/>
                    <a:gd name="connsiteY79" fmla="*/ 2924175 h 4496940"/>
                    <a:gd name="connsiteX80" fmla="*/ 68602 w 4519987"/>
                    <a:gd name="connsiteY80" fmla="*/ 2724150 h 4496940"/>
                    <a:gd name="connsiteX81" fmla="*/ 49552 w 4519987"/>
                    <a:gd name="connsiteY81" fmla="*/ 2638425 h 4496940"/>
                    <a:gd name="connsiteX82" fmla="*/ 40027 w 4519987"/>
                    <a:gd name="connsiteY82" fmla="*/ 2562225 h 4496940"/>
                    <a:gd name="connsiteX83" fmla="*/ 30502 w 4519987"/>
                    <a:gd name="connsiteY83" fmla="*/ 2514600 h 4496940"/>
                    <a:gd name="connsiteX84" fmla="*/ 11452 w 4519987"/>
                    <a:gd name="connsiteY84" fmla="*/ 2400300 h 4496940"/>
                    <a:gd name="connsiteX85" fmla="*/ 20977 w 4519987"/>
                    <a:gd name="connsiteY85" fmla="*/ 1905000 h 4496940"/>
                    <a:gd name="connsiteX86" fmla="*/ 30502 w 4519987"/>
                    <a:gd name="connsiteY86" fmla="*/ 1838325 h 4496940"/>
                    <a:gd name="connsiteX87" fmla="*/ 49552 w 4519987"/>
                    <a:gd name="connsiteY87" fmla="*/ 1781175 h 4496940"/>
                    <a:gd name="connsiteX88" fmla="*/ 59077 w 4519987"/>
                    <a:gd name="connsiteY88" fmla="*/ 1743075 h 4496940"/>
                    <a:gd name="connsiteX89" fmla="*/ 78127 w 4519987"/>
                    <a:gd name="connsiteY89" fmla="*/ 1685925 h 4496940"/>
                    <a:gd name="connsiteX90" fmla="*/ 87652 w 4519987"/>
                    <a:gd name="connsiteY90" fmla="*/ 1638300 h 4496940"/>
                    <a:gd name="connsiteX91" fmla="*/ 106702 w 4519987"/>
                    <a:gd name="connsiteY91" fmla="*/ 1590675 h 4496940"/>
                    <a:gd name="connsiteX92" fmla="*/ 135277 w 4519987"/>
                    <a:gd name="connsiteY92" fmla="*/ 1504950 h 4496940"/>
                    <a:gd name="connsiteX93" fmla="*/ 154327 w 4519987"/>
                    <a:gd name="connsiteY93" fmla="*/ 1419225 h 4496940"/>
                    <a:gd name="connsiteX94" fmla="*/ 230527 w 4519987"/>
                    <a:gd name="connsiteY94" fmla="*/ 1276350 h 4496940"/>
                    <a:gd name="connsiteX95" fmla="*/ 240052 w 4519987"/>
                    <a:gd name="connsiteY95" fmla="*/ 1247775 h 4496940"/>
                    <a:gd name="connsiteX96" fmla="*/ 268627 w 4519987"/>
                    <a:gd name="connsiteY96" fmla="*/ 1200150 h 4496940"/>
                    <a:gd name="connsiteX97" fmla="*/ 287677 w 4519987"/>
                    <a:gd name="connsiteY97" fmla="*/ 1152525 h 4496940"/>
                    <a:gd name="connsiteX98" fmla="*/ 316252 w 4519987"/>
                    <a:gd name="connsiteY98" fmla="*/ 1114425 h 4496940"/>
                    <a:gd name="connsiteX99" fmla="*/ 363877 w 4519987"/>
                    <a:gd name="connsiteY99" fmla="*/ 1038225 h 4496940"/>
                    <a:gd name="connsiteX100" fmla="*/ 382927 w 4519987"/>
                    <a:gd name="connsiteY100" fmla="*/ 1009650 h 4496940"/>
                    <a:gd name="connsiteX101" fmla="*/ 440077 w 4519987"/>
                    <a:gd name="connsiteY101" fmla="*/ 904875 h 4496940"/>
                    <a:gd name="connsiteX102" fmla="*/ 478177 w 4519987"/>
                    <a:gd name="connsiteY102" fmla="*/ 857250 h 4496940"/>
                    <a:gd name="connsiteX103" fmla="*/ 497227 w 4519987"/>
                    <a:gd name="connsiteY103" fmla="*/ 828675 h 4496940"/>
                    <a:gd name="connsiteX104" fmla="*/ 535327 w 4519987"/>
                    <a:gd name="connsiteY104" fmla="*/ 800100 h 4496940"/>
                    <a:gd name="connsiteX105" fmla="*/ 602002 w 4519987"/>
                    <a:gd name="connsiteY105" fmla="*/ 733425 h 4496940"/>
                    <a:gd name="connsiteX106" fmla="*/ 668677 w 4519987"/>
                    <a:gd name="connsiteY106" fmla="*/ 676275 h 4496940"/>
                    <a:gd name="connsiteX107" fmla="*/ 697252 w 4519987"/>
                    <a:gd name="connsiteY107" fmla="*/ 657225 h 4496940"/>
                    <a:gd name="connsiteX108" fmla="*/ 840127 w 4519987"/>
                    <a:gd name="connsiteY108" fmla="*/ 533400 h 4496940"/>
                    <a:gd name="connsiteX109" fmla="*/ 887752 w 4519987"/>
                    <a:gd name="connsiteY109" fmla="*/ 504825 h 4496940"/>
                    <a:gd name="connsiteX110" fmla="*/ 1167152 w 4519987"/>
                    <a:gd name="connsiteY110" fmla="*/ 311150 h 4496940"/>
                    <a:gd name="connsiteX111" fmla="*/ 1268752 w 4519987"/>
                    <a:gd name="connsiteY111" fmla="*/ 285750 h 4496940"/>
                    <a:gd name="connsiteX112" fmla="*/ 1411627 w 4519987"/>
                    <a:gd name="connsiteY112" fmla="*/ 190500 h 4496940"/>
                    <a:gd name="connsiteX113" fmla="*/ 1449727 w 4519987"/>
                    <a:gd name="connsiteY113" fmla="*/ 161925 h 4496940"/>
                    <a:gd name="connsiteX114" fmla="*/ 1525927 w 4519987"/>
                    <a:gd name="connsiteY114" fmla="*/ 152400 h 4496940"/>
                    <a:gd name="connsiteX115" fmla="*/ 1583077 w 4519987"/>
                    <a:gd name="connsiteY115" fmla="*/ 142875 h 4496940"/>
                    <a:gd name="connsiteX116" fmla="*/ 1716427 w 4519987"/>
                    <a:gd name="connsiteY116" fmla="*/ 123825 h 4496940"/>
                    <a:gd name="connsiteX117" fmla="*/ 1811677 w 4519987"/>
                    <a:gd name="connsiteY117" fmla="*/ 114300 h 4496940"/>
                    <a:gd name="connsiteX118" fmla="*/ 1859302 w 4519987"/>
                    <a:gd name="connsiteY118" fmla="*/ 104775 h 4496940"/>
                    <a:gd name="connsiteX119" fmla="*/ 1916452 w 4519987"/>
                    <a:gd name="connsiteY119" fmla="*/ 95250 h 4496940"/>
                    <a:gd name="connsiteX120" fmla="*/ 2030752 w 4519987"/>
                    <a:gd name="connsiteY120" fmla="*/ 66675 h 4496940"/>
                    <a:gd name="connsiteX121" fmla="*/ 2097427 w 4519987"/>
                    <a:gd name="connsiteY121" fmla="*/ 47625 h 4496940"/>
                    <a:gd name="connsiteX122" fmla="*/ 2164102 w 4519987"/>
                    <a:gd name="connsiteY122" fmla="*/ 38100 h 4496940"/>
                    <a:gd name="connsiteX123" fmla="*/ 2392702 w 4519987"/>
                    <a:gd name="connsiteY12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40427 w 4519987"/>
                    <a:gd name="connsiteY38" fmla="*/ 4267200 h 4496940"/>
                    <a:gd name="connsiteX39" fmla="*/ 3068977 w 4519987"/>
                    <a:gd name="connsiteY39" fmla="*/ 4286250 h 4496940"/>
                    <a:gd name="connsiteX40" fmla="*/ 2935627 w 4519987"/>
                    <a:gd name="connsiteY40" fmla="*/ 4333875 h 4496940"/>
                    <a:gd name="connsiteX41" fmla="*/ 2811802 w 4519987"/>
                    <a:gd name="connsiteY41" fmla="*/ 4371975 h 4496940"/>
                    <a:gd name="connsiteX42" fmla="*/ 2745127 w 4519987"/>
                    <a:gd name="connsiteY42" fmla="*/ 4410075 h 4496940"/>
                    <a:gd name="connsiteX43" fmla="*/ 2697502 w 4519987"/>
                    <a:gd name="connsiteY43" fmla="*/ 4429125 h 4496940"/>
                    <a:gd name="connsiteX44" fmla="*/ 2640352 w 4519987"/>
                    <a:gd name="connsiteY44" fmla="*/ 4457700 h 4496940"/>
                    <a:gd name="connsiteX45" fmla="*/ 2583202 w 4519987"/>
                    <a:gd name="connsiteY45" fmla="*/ 4467225 h 4496940"/>
                    <a:gd name="connsiteX46" fmla="*/ 2545102 w 4519987"/>
                    <a:gd name="connsiteY46" fmla="*/ 4486275 h 4496940"/>
                    <a:gd name="connsiteX47" fmla="*/ 2306977 w 4519987"/>
                    <a:gd name="connsiteY47" fmla="*/ 4476750 h 4496940"/>
                    <a:gd name="connsiteX48" fmla="*/ 2202202 w 4519987"/>
                    <a:gd name="connsiteY48" fmla="*/ 4457700 h 4496940"/>
                    <a:gd name="connsiteX49" fmla="*/ 2126002 w 4519987"/>
                    <a:gd name="connsiteY49" fmla="*/ 4429125 h 4496940"/>
                    <a:gd name="connsiteX50" fmla="*/ 1935502 w 4519987"/>
                    <a:gd name="connsiteY50" fmla="*/ 4400550 h 4496940"/>
                    <a:gd name="connsiteX51" fmla="*/ 1821202 w 4519987"/>
                    <a:gd name="connsiteY51" fmla="*/ 4371975 h 4496940"/>
                    <a:gd name="connsiteX52" fmla="*/ 1754527 w 4519987"/>
                    <a:gd name="connsiteY52" fmla="*/ 4352925 h 4496940"/>
                    <a:gd name="connsiteX53" fmla="*/ 1687852 w 4519987"/>
                    <a:gd name="connsiteY53" fmla="*/ 4343400 h 4496940"/>
                    <a:gd name="connsiteX54" fmla="*/ 1573552 w 4519987"/>
                    <a:gd name="connsiteY54" fmla="*/ 4305300 h 4496940"/>
                    <a:gd name="connsiteX55" fmla="*/ 1402102 w 4519987"/>
                    <a:gd name="connsiteY55" fmla="*/ 4276725 h 4496940"/>
                    <a:gd name="connsiteX56" fmla="*/ 1287802 w 4519987"/>
                    <a:gd name="connsiteY56" fmla="*/ 4229100 h 4496940"/>
                    <a:gd name="connsiteX57" fmla="*/ 1221127 w 4519987"/>
                    <a:gd name="connsiteY57" fmla="*/ 4200525 h 4496940"/>
                    <a:gd name="connsiteX58" fmla="*/ 1144927 w 4519987"/>
                    <a:gd name="connsiteY58" fmla="*/ 4171950 h 4496940"/>
                    <a:gd name="connsiteX59" fmla="*/ 1087777 w 4519987"/>
                    <a:gd name="connsiteY59" fmla="*/ 4143375 h 4496940"/>
                    <a:gd name="connsiteX60" fmla="*/ 1030627 w 4519987"/>
                    <a:gd name="connsiteY60" fmla="*/ 4124325 h 4496940"/>
                    <a:gd name="connsiteX61" fmla="*/ 925852 w 4519987"/>
                    <a:gd name="connsiteY61" fmla="*/ 4067175 h 4496940"/>
                    <a:gd name="connsiteX62" fmla="*/ 830602 w 4519987"/>
                    <a:gd name="connsiteY62" fmla="*/ 3981450 h 4496940"/>
                    <a:gd name="connsiteX63" fmla="*/ 763927 w 4519987"/>
                    <a:gd name="connsiteY63" fmla="*/ 3914775 h 4496940"/>
                    <a:gd name="connsiteX64" fmla="*/ 725827 w 4519987"/>
                    <a:gd name="connsiteY64" fmla="*/ 3876675 h 4496940"/>
                    <a:gd name="connsiteX65" fmla="*/ 697252 w 4519987"/>
                    <a:gd name="connsiteY65" fmla="*/ 3838575 h 4496940"/>
                    <a:gd name="connsiteX66" fmla="*/ 640102 w 4519987"/>
                    <a:gd name="connsiteY66" fmla="*/ 3781425 h 4496940"/>
                    <a:gd name="connsiteX67" fmla="*/ 611527 w 4519987"/>
                    <a:gd name="connsiteY67" fmla="*/ 3733800 h 4496940"/>
                    <a:gd name="connsiteX68" fmla="*/ 554377 w 4519987"/>
                    <a:gd name="connsiteY68" fmla="*/ 3657600 h 4496940"/>
                    <a:gd name="connsiteX69" fmla="*/ 525802 w 4519987"/>
                    <a:gd name="connsiteY69" fmla="*/ 3609975 h 4496940"/>
                    <a:gd name="connsiteX70" fmla="*/ 497227 w 4519987"/>
                    <a:gd name="connsiteY70" fmla="*/ 3552825 h 4496940"/>
                    <a:gd name="connsiteX71" fmla="*/ 440077 w 4519987"/>
                    <a:gd name="connsiteY71" fmla="*/ 3495675 h 4496940"/>
                    <a:gd name="connsiteX72" fmla="*/ 411502 w 4519987"/>
                    <a:gd name="connsiteY72" fmla="*/ 3448050 h 4496940"/>
                    <a:gd name="connsiteX73" fmla="*/ 278152 w 4519987"/>
                    <a:gd name="connsiteY73" fmla="*/ 3257550 h 4496940"/>
                    <a:gd name="connsiteX74" fmla="*/ 249577 w 4519987"/>
                    <a:gd name="connsiteY74" fmla="*/ 3200400 h 4496940"/>
                    <a:gd name="connsiteX75" fmla="*/ 240052 w 4519987"/>
                    <a:gd name="connsiteY75" fmla="*/ 3162300 h 4496940"/>
                    <a:gd name="connsiteX76" fmla="*/ 221002 w 4519987"/>
                    <a:gd name="connsiteY76" fmla="*/ 3105150 h 4496940"/>
                    <a:gd name="connsiteX77" fmla="*/ 173377 w 4519987"/>
                    <a:gd name="connsiteY77" fmla="*/ 3019425 h 4496940"/>
                    <a:gd name="connsiteX78" fmla="*/ 144802 w 4519987"/>
                    <a:gd name="connsiteY78" fmla="*/ 2924175 h 4496940"/>
                    <a:gd name="connsiteX79" fmla="*/ 68602 w 4519987"/>
                    <a:gd name="connsiteY79" fmla="*/ 2724150 h 4496940"/>
                    <a:gd name="connsiteX80" fmla="*/ 49552 w 4519987"/>
                    <a:gd name="connsiteY80" fmla="*/ 2638425 h 4496940"/>
                    <a:gd name="connsiteX81" fmla="*/ 40027 w 4519987"/>
                    <a:gd name="connsiteY81" fmla="*/ 2562225 h 4496940"/>
                    <a:gd name="connsiteX82" fmla="*/ 30502 w 4519987"/>
                    <a:gd name="connsiteY82" fmla="*/ 2514600 h 4496940"/>
                    <a:gd name="connsiteX83" fmla="*/ 11452 w 4519987"/>
                    <a:gd name="connsiteY83" fmla="*/ 2400300 h 4496940"/>
                    <a:gd name="connsiteX84" fmla="*/ 20977 w 4519987"/>
                    <a:gd name="connsiteY84" fmla="*/ 1905000 h 4496940"/>
                    <a:gd name="connsiteX85" fmla="*/ 30502 w 4519987"/>
                    <a:gd name="connsiteY85" fmla="*/ 1838325 h 4496940"/>
                    <a:gd name="connsiteX86" fmla="*/ 49552 w 4519987"/>
                    <a:gd name="connsiteY86" fmla="*/ 1781175 h 4496940"/>
                    <a:gd name="connsiteX87" fmla="*/ 59077 w 4519987"/>
                    <a:gd name="connsiteY87" fmla="*/ 1743075 h 4496940"/>
                    <a:gd name="connsiteX88" fmla="*/ 78127 w 4519987"/>
                    <a:gd name="connsiteY88" fmla="*/ 1685925 h 4496940"/>
                    <a:gd name="connsiteX89" fmla="*/ 87652 w 4519987"/>
                    <a:gd name="connsiteY89" fmla="*/ 1638300 h 4496940"/>
                    <a:gd name="connsiteX90" fmla="*/ 106702 w 4519987"/>
                    <a:gd name="connsiteY90" fmla="*/ 1590675 h 4496940"/>
                    <a:gd name="connsiteX91" fmla="*/ 135277 w 4519987"/>
                    <a:gd name="connsiteY91" fmla="*/ 1504950 h 4496940"/>
                    <a:gd name="connsiteX92" fmla="*/ 154327 w 4519987"/>
                    <a:gd name="connsiteY92" fmla="*/ 1419225 h 4496940"/>
                    <a:gd name="connsiteX93" fmla="*/ 230527 w 4519987"/>
                    <a:gd name="connsiteY93" fmla="*/ 1276350 h 4496940"/>
                    <a:gd name="connsiteX94" fmla="*/ 240052 w 4519987"/>
                    <a:gd name="connsiteY94" fmla="*/ 1247775 h 4496940"/>
                    <a:gd name="connsiteX95" fmla="*/ 268627 w 4519987"/>
                    <a:gd name="connsiteY95" fmla="*/ 1200150 h 4496940"/>
                    <a:gd name="connsiteX96" fmla="*/ 287677 w 4519987"/>
                    <a:gd name="connsiteY96" fmla="*/ 1152525 h 4496940"/>
                    <a:gd name="connsiteX97" fmla="*/ 316252 w 4519987"/>
                    <a:gd name="connsiteY97" fmla="*/ 1114425 h 4496940"/>
                    <a:gd name="connsiteX98" fmla="*/ 363877 w 4519987"/>
                    <a:gd name="connsiteY98" fmla="*/ 1038225 h 4496940"/>
                    <a:gd name="connsiteX99" fmla="*/ 382927 w 4519987"/>
                    <a:gd name="connsiteY99" fmla="*/ 1009650 h 4496940"/>
                    <a:gd name="connsiteX100" fmla="*/ 440077 w 4519987"/>
                    <a:gd name="connsiteY100" fmla="*/ 904875 h 4496940"/>
                    <a:gd name="connsiteX101" fmla="*/ 478177 w 4519987"/>
                    <a:gd name="connsiteY101" fmla="*/ 857250 h 4496940"/>
                    <a:gd name="connsiteX102" fmla="*/ 497227 w 4519987"/>
                    <a:gd name="connsiteY102" fmla="*/ 828675 h 4496940"/>
                    <a:gd name="connsiteX103" fmla="*/ 535327 w 4519987"/>
                    <a:gd name="connsiteY103" fmla="*/ 800100 h 4496940"/>
                    <a:gd name="connsiteX104" fmla="*/ 602002 w 4519987"/>
                    <a:gd name="connsiteY104" fmla="*/ 733425 h 4496940"/>
                    <a:gd name="connsiteX105" fmla="*/ 668677 w 4519987"/>
                    <a:gd name="connsiteY105" fmla="*/ 676275 h 4496940"/>
                    <a:gd name="connsiteX106" fmla="*/ 697252 w 4519987"/>
                    <a:gd name="connsiteY106" fmla="*/ 657225 h 4496940"/>
                    <a:gd name="connsiteX107" fmla="*/ 840127 w 4519987"/>
                    <a:gd name="connsiteY107" fmla="*/ 533400 h 4496940"/>
                    <a:gd name="connsiteX108" fmla="*/ 887752 w 4519987"/>
                    <a:gd name="connsiteY108" fmla="*/ 504825 h 4496940"/>
                    <a:gd name="connsiteX109" fmla="*/ 1167152 w 4519987"/>
                    <a:gd name="connsiteY109" fmla="*/ 311150 h 4496940"/>
                    <a:gd name="connsiteX110" fmla="*/ 1268752 w 4519987"/>
                    <a:gd name="connsiteY110" fmla="*/ 285750 h 4496940"/>
                    <a:gd name="connsiteX111" fmla="*/ 1411627 w 4519987"/>
                    <a:gd name="connsiteY111" fmla="*/ 190500 h 4496940"/>
                    <a:gd name="connsiteX112" fmla="*/ 1449727 w 4519987"/>
                    <a:gd name="connsiteY112" fmla="*/ 161925 h 4496940"/>
                    <a:gd name="connsiteX113" fmla="*/ 1525927 w 4519987"/>
                    <a:gd name="connsiteY113" fmla="*/ 152400 h 4496940"/>
                    <a:gd name="connsiteX114" fmla="*/ 1583077 w 4519987"/>
                    <a:gd name="connsiteY114" fmla="*/ 142875 h 4496940"/>
                    <a:gd name="connsiteX115" fmla="*/ 1716427 w 4519987"/>
                    <a:gd name="connsiteY115" fmla="*/ 123825 h 4496940"/>
                    <a:gd name="connsiteX116" fmla="*/ 1811677 w 4519987"/>
                    <a:gd name="connsiteY116" fmla="*/ 114300 h 4496940"/>
                    <a:gd name="connsiteX117" fmla="*/ 1859302 w 4519987"/>
                    <a:gd name="connsiteY117" fmla="*/ 104775 h 4496940"/>
                    <a:gd name="connsiteX118" fmla="*/ 1916452 w 4519987"/>
                    <a:gd name="connsiteY118" fmla="*/ 95250 h 4496940"/>
                    <a:gd name="connsiteX119" fmla="*/ 2030752 w 4519987"/>
                    <a:gd name="connsiteY119" fmla="*/ 66675 h 4496940"/>
                    <a:gd name="connsiteX120" fmla="*/ 2097427 w 4519987"/>
                    <a:gd name="connsiteY120" fmla="*/ 47625 h 4496940"/>
                    <a:gd name="connsiteX121" fmla="*/ 2164102 w 4519987"/>
                    <a:gd name="connsiteY121" fmla="*/ 38100 h 4496940"/>
                    <a:gd name="connsiteX122" fmla="*/ 2392702 w 4519987"/>
                    <a:gd name="connsiteY12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40427 w 4519987"/>
                    <a:gd name="connsiteY37" fmla="*/ 426720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40352 w 4519987"/>
                    <a:gd name="connsiteY42" fmla="*/ 4457700 h 4496940"/>
                    <a:gd name="connsiteX43" fmla="*/ 2583202 w 4519987"/>
                    <a:gd name="connsiteY43" fmla="*/ 4467225 h 4496940"/>
                    <a:gd name="connsiteX44" fmla="*/ 2545102 w 4519987"/>
                    <a:gd name="connsiteY44" fmla="*/ 4486275 h 4496940"/>
                    <a:gd name="connsiteX45" fmla="*/ 2306977 w 4519987"/>
                    <a:gd name="connsiteY45" fmla="*/ 4476750 h 4496940"/>
                    <a:gd name="connsiteX46" fmla="*/ 2202202 w 4519987"/>
                    <a:gd name="connsiteY46" fmla="*/ 4457700 h 4496940"/>
                    <a:gd name="connsiteX47" fmla="*/ 2126002 w 4519987"/>
                    <a:gd name="connsiteY47" fmla="*/ 4429125 h 4496940"/>
                    <a:gd name="connsiteX48" fmla="*/ 1935502 w 4519987"/>
                    <a:gd name="connsiteY48" fmla="*/ 4400550 h 4496940"/>
                    <a:gd name="connsiteX49" fmla="*/ 1821202 w 4519987"/>
                    <a:gd name="connsiteY49" fmla="*/ 4371975 h 4496940"/>
                    <a:gd name="connsiteX50" fmla="*/ 1754527 w 4519987"/>
                    <a:gd name="connsiteY50" fmla="*/ 4352925 h 4496940"/>
                    <a:gd name="connsiteX51" fmla="*/ 1687852 w 4519987"/>
                    <a:gd name="connsiteY51" fmla="*/ 4343400 h 4496940"/>
                    <a:gd name="connsiteX52" fmla="*/ 1573552 w 4519987"/>
                    <a:gd name="connsiteY52" fmla="*/ 4305300 h 4496940"/>
                    <a:gd name="connsiteX53" fmla="*/ 1402102 w 4519987"/>
                    <a:gd name="connsiteY53" fmla="*/ 4276725 h 4496940"/>
                    <a:gd name="connsiteX54" fmla="*/ 1287802 w 4519987"/>
                    <a:gd name="connsiteY54" fmla="*/ 4229100 h 4496940"/>
                    <a:gd name="connsiteX55" fmla="*/ 1221127 w 4519987"/>
                    <a:gd name="connsiteY55" fmla="*/ 4200525 h 4496940"/>
                    <a:gd name="connsiteX56" fmla="*/ 1144927 w 4519987"/>
                    <a:gd name="connsiteY56" fmla="*/ 4171950 h 4496940"/>
                    <a:gd name="connsiteX57" fmla="*/ 1087777 w 4519987"/>
                    <a:gd name="connsiteY57" fmla="*/ 4143375 h 4496940"/>
                    <a:gd name="connsiteX58" fmla="*/ 1030627 w 4519987"/>
                    <a:gd name="connsiteY58" fmla="*/ 4124325 h 4496940"/>
                    <a:gd name="connsiteX59" fmla="*/ 925852 w 4519987"/>
                    <a:gd name="connsiteY59" fmla="*/ 4067175 h 4496940"/>
                    <a:gd name="connsiteX60" fmla="*/ 830602 w 4519987"/>
                    <a:gd name="connsiteY60" fmla="*/ 3981450 h 4496940"/>
                    <a:gd name="connsiteX61" fmla="*/ 763927 w 4519987"/>
                    <a:gd name="connsiteY61" fmla="*/ 3914775 h 4496940"/>
                    <a:gd name="connsiteX62" fmla="*/ 725827 w 4519987"/>
                    <a:gd name="connsiteY62" fmla="*/ 3876675 h 4496940"/>
                    <a:gd name="connsiteX63" fmla="*/ 697252 w 4519987"/>
                    <a:gd name="connsiteY63" fmla="*/ 3838575 h 4496940"/>
                    <a:gd name="connsiteX64" fmla="*/ 640102 w 4519987"/>
                    <a:gd name="connsiteY64" fmla="*/ 3781425 h 4496940"/>
                    <a:gd name="connsiteX65" fmla="*/ 611527 w 4519987"/>
                    <a:gd name="connsiteY65" fmla="*/ 3733800 h 4496940"/>
                    <a:gd name="connsiteX66" fmla="*/ 554377 w 4519987"/>
                    <a:gd name="connsiteY66" fmla="*/ 3657600 h 4496940"/>
                    <a:gd name="connsiteX67" fmla="*/ 525802 w 4519987"/>
                    <a:gd name="connsiteY67" fmla="*/ 3609975 h 4496940"/>
                    <a:gd name="connsiteX68" fmla="*/ 497227 w 4519987"/>
                    <a:gd name="connsiteY68" fmla="*/ 3552825 h 4496940"/>
                    <a:gd name="connsiteX69" fmla="*/ 440077 w 4519987"/>
                    <a:gd name="connsiteY69" fmla="*/ 3495675 h 4496940"/>
                    <a:gd name="connsiteX70" fmla="*/ 411502 w 4519987"/>
                    <a:gd name="connsiteY70" fmla="*/ 3448050 h 4496940"/>
                    <a:gd name="connsiteX71" fmla="*/ 278152 w 4519987"/>
                    <a:gd name="connsiteY71" fmla="*/ 3257550 h 4496940"/>
                    <a:gd name="connsiteX72" fmla="*/ 249577 w 4519987"/>
                    <a:gd name="connsiteY72" fmla="*/ 3200400 h 4496940"/>
                    <a:gd name="connsiteX73" fmla="*/ 240052 w 4519987"/>
                    <a:gd name="connsiteY73" fmla="*/ 3162300 h 4496940"/>
                    <a:gd name="connsiteX74" fmla="*/ 221002 w 4519987"/>
                    <a:gd name="connsiteY74" fmla="*/ 3105150 h 4496940"/>
                    <a:gd name="connsiteX75" fmla="*/ 173377 w 4519987"/>
                    <a:gd name="connsiteY75" fmla="*/ 3019425 h 4496940"/>
                    <a:gd name="connsiteX76" fmla="*/ 144802 w 4519987"/>
                    <a:gd name="connsiteY76" fmla="*/ 2924175 h 4496940"/>
                    <a:gd name="connsiteX77" fmla="*/ 68602 w 4519987"/>
                    <a:gd name="connsiteY77" fmla="*/ 2724150 h 4496940"/>
                    <a:gd name="connsiteX78" fmla="*/ 49552 w 4519987"/>
                    <a:gd name="connsiteY78" fmla="*/ 2638425 h 4496940"/>
                    <a:gd name="connsiteX79" fmla="*/ 40027 w 4519987"/>
                    <a:gd name="connsiteY79" fmla="*/ 2562225 h 4496940"/>
                    <a:gd name="connsiteX80" fmla="*/ 30502 w 4519987"/>
                    <a:gd name="connsiteY80" fmla="*/ 2514600 h 4496940"/>
                    <a:gd name="connsiteX81" fmla="*/ 11452 w 4519987"/>
                    <a:gd name="connsiteY81" fmla="*/ 2400300 h 4496940"/>
                    <a:gd name="connsiteX82" fmla="*/ 20977 w 4519987"/>
                    <a:gd name="connsiteY82" fmla="*/ 1905000 h 4496940"/>
                    <a:gd name="connsiteX83" fmla="*/ 30502 w 4519987"/>
                    <a:gd name="connsiteY83" fmla="*/ 1838325 h 4496940"/>
                    <a:gd name="connsiteX84" fmla="*/ 49552 w 4519987"/>
                    <a:gd name="connsiteY84" fmla="*/ 1781175 h 4496940"/>
                    <a:gd name="connsiteX85" fmla="*/ 59077 w 4519987"/>
                    <a:gd name="connsiteY85" fmla="*/ 1743075 h 4496940"/>
                    <a:gd name="connsiteX86" fmla="*/ 78127 w 4519987"/>
                    <a:gd name="connsiteY86" fmla="*/ 1685925 h 4496940"/>
                    <a:gd name="connsiteX87" fmla="*/ 87652 w 4519987"/>
                    <a:gd name="connsiteY87" fmla="*/ 1638300 h 4496940"/>
                    <a:gd name="connsiteX88" fmla="*/ 106702 w 4519987"/>
                    <a:gd name="connsiteY88" fmla="*/ 1590675 h 4496940"/>
                    <a:gd name="connsiteX89" fmla="*/ 135277 w 4519987"/>
                    <a:gd name="connsiteY89" fmla="*/ 1504950 h 4496940"/>
                    <a:gd name="connsiteX90" fmla="*/ 154327 w 4519987"/>
                    <a:gd name="connsiteY90" fmla="*/ 1419225 h 4496940"/>
                    <a:gd name="connsiteX91" fmla="*/ 230527 w 4519987"/>
                    <a:gd name="connsiteY91" fmla="*/ 1276350 h 4496940"/>
                    <a:gd name="connsiteX92" fmla="*/ 240052 w 4519987"/>
                    <a:gd name="connsiteY92" fmla="*/ 1247775 h 4496940"/>
                    <a:gd name="connsiteX93" fmla="*/ 268627 w 4519987"/>
                    <a:gd name="connsiteY93" fmla="*/ 1200150 h 4496940"/>
                    <a:gd name="connsiteX94" fmla="*/ 287677 w 4519987"/>
                    <a:gd name="connsiteY94" fmla="*/ 1152525 h 4496940"/>
                    <a:gd name="connsiteX95" fmla="*/ 316252 w 4519987"/>
                    <a:gd name="connsiteY95" fmla="*/ 1114425 h 4496940"/>
                    <a:gd name="connsiteX96" fmla="*/ 363877 w 4519987"/>
                    <a:gd name="connsiteY96" fmla="*/ 1038225 h 4496940"/>
                    <a:gd name="connsiteX97" fmla="*/ 382927 w 4519987"/>
                    <a:gd name="connsiteY97" fmla="*/ 1009650 h 4496940"/>
                    <a:gd name="connsiteX98" fmla="*/ 440077 w 4519987"/>
                    <a:gd name="connsiteY98" fmla="*/ 904875 h 4496940"/>
                    <a:gd name="connsiteX99" fmla="*/ 478177 w 4519987"/>
                    <a:gd name="connsiteY99" fmla="*/ 857250 h 4496940"/>
                    <a:gd name="connsiteX100" fmla="*/ 497227 w 4519987"/>
                    <a:gd name="connsiteY100" fmla="*/ 828675 h 4496940"/>
                    <a:gd name="connsiteX101" fmla="*/ 535327 w 4519987"/>
                    <a:gd name="connsiteY101" fmla="*/ 800100 h 4496940"/>
                    <a:gd name="connsiteX102" fmla="*/ 602002 w 4519987"/>
                    <a:gd name="connsiteY102" fmla="*/ 733425 h 4496940"/>
                    <a:gd name="connsiteX103" fmla="*/ 668677 w 4519987"/>
                    <a:gd name="connsiteY103" fmla="*/ 676275 h 4496940"/>
                    <a:gd name="connsiteX104" fmla="*/ 697252 w 4519987"/>
                    <a:gd name="connsiteY104" fmla="*/ 657225 h 4496940"/>
                    <a:gd name="connsiteX105" fmla="*/ 840127 w 4519987"/>
                    <a:gd name="connsiteY105" fmla="*/ 533400 h 4496940"/>
                    <a:gd name="connsiteX106" fmla="*/ 887752 w 4519987"/>
                    <a:gd name="connsiteY106" fmla="*/ 504825 h 4496940"/>
                    <a:gd name="connsiteX107" fmla="*/ 1167152 w 4519987"/>
                    <a:gd name="connsiteY107" fmla="*/ 311150 h 4496940"/>
                    <a:gd name="connsiteX108" fmla="*/ 1268752 w 4519987"/>
                    <a:gd name="connsiteY108" fmla="*/ 285750 h 4496940"/>
                    <a:gd name="connsiteX109" fmla="*/ 1411627 w 4519987"/>
                    <a:gd name="connsiteY109" fmla="*/ 190500 h 4496940"/>
                    <a:gd name="connsiteX110" fmla="*/ 1449727 w 4519987"/>
                    <a:gd name="connsiteY110" fmla="*/ 161925 h 4496940"/>
                    <a:gd name="connsiteX111" fmla="*/ 1525927 w 4519987"/>
                    <a:gd name="connsiteY111" fmla="*/ 152400 h 4496940"/>
                    <a:gd name="connsiteX112" fmla="*/ 1583077 w 4519987"/>
                    <a:gd name="connsiteY112" fmla="*/ 142875 h 4496940"/>
                    <a:gd name="connsiteX113" fmla="*/ 1716427 w 4519987"/>
                    <a:gd name="connsiteY113" fmla="*/ 123825 h 4496940"/>
                    <a:gd name="connsiteX114" fmla="*/ 1811677 w 4519987"/>
                    <a:gd name="connsiteY114" fmla="*/ 114300 h 4496940"/>
                    <a:gd name="connsiteX115" fmla="*/ 1859302 w 4519987"/>
                    <a:gd name="connsiteY115" fmla="*/ 104775 h 4496940"/>
                    <a:gd name="connsiteX116" fmla="*/ 1916452 w 4519987"/>
                    <a:gd name="connsiteY116" fmla="*/ 95250 h 4496940"/>
                    <a:gd name="connsiteX117" fmla="*/ 2030752 w 4519987"/>
                    <a:gd name="connsiteY117" fmla="*/ 66675 h 4496940"/>
                    <a:gd name="connsiteX118" fmla="*/ 2097427 w 4519987"/>
                    <a:gd name="connsiteY118" fmla="*/ 47625 h 4496940"/>
                    <a:gd name="connsiteX119" fmla="*/ 2164102 w 4519987"/>
                    <a:gd name="connsiteY119" fmla="*/ 38100 h 4496940"/>
                    <a:gd name="connsiteX120" fmla="*/ 2392702 w 4519987"/>
                    <a:gd name="connsiteY120" fmla="*/ 28575 h 4496940"/>
                    <a:gd name="connsiteX0" fmla="*/ 2297452 w 4519987"/>
                    <a:gd name="connsiteY0" fmla="*/ 0 h 4487372"/>
                    <a:gd name="connsiteX1" fmla="*/ 2421277 w 4519987"/>
                    <a:gd name="connsiteY1" fmla="*/ 28575 h 4487372"/>
                    <a:gd name="connsiteX2" fmla="*/ 2497477 w 4519987"/>
                    <a:gd name="connsiteY2" fmla="*/ 47625 h 4487372"/>
                    <a:gd name="connsiteX3" fmla="*/ 2754652 w 4519987"/>
                    <a:gd name="connsiteY3" fmla="*/ 66675 h 4487372"/>
                    <a:gd name="connsiteX4" fmla="*/ 2830852 w 4519987"/>
                    <a:gd name="connsiteY4" fmla="*/ 76200 h 4487372"/>
                    <a:gd name="connsiteX5" fmla="*/ 2916577 w 4519987"/>
                    <a:gd name="connsiteY5" fmla="*/ 85725 h 4487372"/>
                    <a:gd name="connsiteX6" fmla="*/ 2973727 w 4519987"/>
                    <a:gd name="connsiteY6" fmla="*/ 114300 h 4487372"/>
                    <a:gd name="connsiteX7" fmla="*/ 3011827 w 4519987"/>
                    <a:gd name="connsiteY7" fmla="*/ 123825 h 4487372"/>
                    <a:gd name="connsiteX8" fmla="*/ 3135652 w 4519987"/>
                    <a:gd name="connsiteY8" fmla="*/ 171450 h 4487372"/>
                    <a:gd name="connsiteX9" fmla="*/ 3173752 w 4519987"/>
                    <a:gd name="connsiteY9" fmla="*/ 190500 h 4487372"/>
                    <a:gd name="connsiteX10" fmla="*/ 3240427 w 4519987"/>
                    <a:gd name="connsiteY10" fmla="*/ 228600 h 4487372"/>
                    <a:gd name="connsiteX11" fmla="*/ 3269002 w 4519987"/>
                    <a:gd name="connsiteY11" fmla="*/ 238125 h 4487372"/>
                    <a:gd name="connsiteX12" fmla="*/ 3297577 w 4519987"/>
                    <a:gd name="connsiteY12" fmla="*/ 257175 h 4487372"/>
                    <a:gd name="connsiteX13" fmla="*/ 3326152 w 4519987"/>
                    <a:gd name="connsiteY13" fmla="*/ 266700 h 4487372"/>
                    <a:gd name="connsiteX14" fmla="*/ 3354727 w 4519987"/>
                    <a:gd name="connsiteY14" fmla="*/ 285750 h 4487372"/>
                    <a:gd name="connsiteX15" fmla="*/ 3421402 w 4519987"/>
                    <a:gd name="connsiteY15" fmla="*/ 323850 h 4487372"/>
                    <a:gd name="connsiteX16" fmla="*/ 3469027 w 4519987"/>
                    <a:gd name="connsiteY16" fmla="*/ 361950 h 4487372"/>
                    <a:gd name="connsiteX17" fmla="*/ 3516652 w 4519987"/>
                    <a:gd name="connsiteY17" fmla="*/ 390525 h 4487372"/>
                    <a:gd name="connsiteX18" fmla="*/ 3630952 w 4519987"/>
                    <a:gd name="connsiteY18" fmla="*/ 485775 h 4487372"/>
                    <a:gd name="connsiteX19" fmla="*/ 3745252 w 4519987"/>
                    <a:gd name="connsiteY19" fmla="*/ 542925 h 4487372"/>
                    <a:gd name="connsiteX20" fmla="*/ 3811927 w 4519987"/>
                    <a:gd name="connsiteY20" fmla="*/ 581025 h 4487372"/>
                    <a:gd name="connsiteX21" fmla="*/ 4027827 w 4519987"/>
                    <a:gd name="connsiteY21" fmla="*/ 819150 h 4487372"/>
                    <a:gd name="connsiteX22" fmla="*/ 4164352 w 4519987"/>
                    <a:gd name="connsiteY22" fmla="*/ 990600 h 4487372"/>
                    <a:gd name="connsiteX23" fmla="*/ 4250077 w 4519987"/>
                    <a:gd name="connsiteY23" fmla="*/ 1143000 h 4487372"/>
                    <a:gd name="connsiteX24" fmla="*/ 4307227 w 4519987"/>
                    <a:gd name="connsiteY24" fmla="*/ 1266825 h 4487372"/>
                    <a:gd name="connsiteX25" fmla="*/ 4345327 w 4519987"/>
                    <a:gd name="connsiteY25" fmla="*/ 1362075 h 4487372"/>
                    <a:gd name="connsiteX26" fmla="*/ 4392952 w 4519987"/>
                    <a:gd name="connsiteY26" fmla="*/ 1552575 h 4487372"/>
                    <a:gd name="connsiteX27" fmla="*/ 4431052 w 4519987"/>
                    <a:gd name="connsiteY27" fmla="*/ 1685925 h 4487372"/>
                    <a:gd name="connsiteX28" fmla="*/ 4519952 w 4519987"/>
                    <a:gd name="connsiteY28" fmla="*/ 2181225 h 4487372"/>
                    <a:gd name="connsiteX29" fmla="*/ 4446927 w 4519987"/>
                    <a:gd name="connsiteY29" fmla="*/ 2768600 h 4487372"/>
                    <a:gd name="connsiteX30" fmla="*/ 4383427 w 4519987"/>
                    <a:gd name="connsiteY30" fmla="*/ 2990850 h 4487372"/>
                    <a:gd name="connsiteX31" fmla="*/ 4278652 w 4519987"/>
                    <a:gd name="connsiteY31" fmla="*/ 3248025 h 4487372"/>
                    <a:gd name="connsiteX32" fmla="*/ 4183402 w 4519987"/>
                    <a:gd name="connsiteY32" fmla="*/ 3400425 h 4487372"/>
                    <a:gd name="connsiteX33" fmla="*/ 4059577 w 4519987"/>
                    <a:gd name="connsiteY33" fmla="*/ 3533775 h 4487372"/>
                    <a:gd name="connsiteX34" fmla="*/ 3954802 w 4519987"/>
                    <a:gd name="connsiteY34" fmla="*/ 3648075 h 4487372"/>
                    <a:gd name="connsiteX35" fmla="*/ 3659527 w 4519987"/>
                    <a:gd name="connsiteY35" fmla="*/ 3971925 h 4487372"/>
                    <a:gd name="connsiteX36" fmla="*/ 3516652 w 4519987"/>
                    <a:gd name="connsiteY36" fmla="*/ 4083050 h 4487372"/>
                    <a:gd name="connsiteX37" fmla="*/ 3221377 w 4519987"/>
                    <a:gd name="connsiteY37" fmla="*/ 4222750 h 4487372"/>
                    <a:gd name="connsiteX38" fmla="*/ 3068977 w 4519987"/>
                    <a:gd name="connsiteY38" fmla="*/ 4286250 h 4487372"/>
                    <a:gd name="connsiteX39" fmla="*/ 2935627 w 4519987"/>
                    <a:gd name="connsiteY39" fmla="*/ 4333875 h 4487372"/>
                    <a:gd name="connsiteX40" fmla="*/ 2811802 w 4519987"/>
                    <a:gd name="connsiteY40" fmla="*/ 4371975 h 4487372"/>
                    <a:gd name="connsiteX41" fmla="*/ 2745127 w 4519987"/>
                    <a:gd name="connsiteY41" fmla="*/ 4410075 h 4487372"/>
                    <a:gd name="connsiteX42" fmla="*/ 2640352 w 4519987"/>
                    <a:gd name="connsiteY42" fmla="*/ 4457700 h 4487372"/>
                    <a:gd name="connsiteX43" fmla="*/ 2545102 w 4519987"/>
                    <a:gd name="connsiteY43" fmla="*/ 4486275 h 4487372"/>
                    <a:gd name="connsiteX44" fmla="*/ 2306977 w 4519987"/>
                    <a:gd name="connsiteY44" fmla="*/ 4476750 h 4487372"/>
                    <a:gd name="connsiteX45" fmla="*/ 2202202 w 4519987"/>
                    <a:gd name="connsiteY45" fmla="*/ 4457700 h 4487372"/>
                    <a:gd name="connsiteX46" fmla="*/ 2126002 w 4519987"/>
                    <a:gd name="connsiteY46" fmla="*/ 4429125 h 4487372"/>
                    <a:gd name="connsiteX47" fmla="*/ 1935502 w 4519987"/>
                    <a:gd name="connsiteY47" fmla="*/ 4400550 h 4487372"/>
                    <a:gd name="connsiteX48" fmla="*/ 1821202 w 4519987"/>
                    <a:gd name="connsiteY48" fmla="*/ 4371975 h 4487372"/>
                    <a:gd name="connsiteX49" fmla="*/ 1754527 w 4519987"/>
                    <a:gd name="connsiteY49" fmla="*/ 4352925 h 4487372"/>
                    <a:gd name="connsiteX50" fmla="*/ 1687852 w 4519987"/>
                    <a:gd name="connsiteY50" fmla="*/ 4343400 h 4487372"/>
                    <a:gd name="connsiteX51" fmla="*/ 1573552 w 4519987"/>
                    <a:gd name="connsiteY51" fmla="*/ 4305300 h 4487372"/>
                    <a:gd name="connsiteX52" fmla="*/ 1402102 w 4519987"/>
                    <a:gd name="connsiteY52" fmla="*/ 4276725 h 4487372"/>
                    <a:gd name="connsiteX53" fmla="*/ 1287802 w 4519987"/>
                    <a:gd name="connsiteY53" fmla="*/ 4229100 h 4487372"/>
                    <a:gd name="connsiteX54" fmla="*/ 1221127 w 4519987"/>
                    <a:gd name="connsiteY54" fmla="*/ 4200525 h 4487372"/>
                    <a:gd name="connsiteX55" fmla="*/ 1144927 w 4519987"/>
                    <a:gd name="connsiteY55" fmla="*/ 4171950 h 4487372"/>
                    <a:gd name="connsiteX56" fmla="*/ 1087777 w 4519987"/>
                    <a:gd name="connsiteY56" fmla="*/ 4143375 h 4487372"/>
                    <a:gd name="connsiteX57" fmla="*/ 1030627 w 4519987"/>
                    <a:gd name="connsiteY57" fmla="*/ 4124325 h 4487372"/>
                    <a:gd name="connsiteX58" fmla="*/ 925852 w 4519987"/>
                    <a:gd name="connsiteY58" fmla="*/ 4067175 h 4487372"/>
                    <a:gd name="connsiteX59" fmla="*/ 830602 w 4519987"/>
                    <a:gd name="connsiteY59" fmla="*/ 3981450 h 4487372"/>
                    <a:gd name="connsiteX60" fmla="*/ 763927 w 4519987"/>
                    <a:gd name="connsiteY60" fmla="*/ 3914775 h 4487372"/>
                    <a:gd name="connsiteX61" fmla="*/ 725827 w 4519987"/>
                    <a:gd name="connsiteY61" fmla="*/ 3876675 h 4487372"/>
                    <a:gd name="connsiteX62" fmla="*/ 697252 w 4519987"/>
                    <a:gd name="connsiteY62" fmla="*/ 3838575 h 4487372"/>
                    <a:gd name="connsiteX63" fmla="*/ 640102 w 4519987"/>
                    <a:gd name="connsiteY63" fmla="*/ 3781425 h 4487372"/>
                    <a:gd name="connsiteX64" fmla="*/ 611527 w 4519987"/>
                    <a:gd name="connsiteY64" fmla="*/ 3733800 h 4487372"/>
                    <a:gd name="connsiteX65" fmla="*/ 554377 w 4519987"/>
                    <a:gd name="connsiteY65" fmla="*/ 3657600 h 4487372"/>
                    <a:gd name="connsiteX66" fmla="*/ 525802 w 4519987"/>
                    <a:gd name="connsiteY66" fmla="*/ 3609975 h 4487372"/>
                    <a:gd name="connsiteX67" fmla="*/ 497227 w 4519987"/>
                    <a:gd name="connsiteY67" fmla="*/ 3552825 h 4487372"/>
                    <a:gd name="connsiteX68" fmla="*/ 440077 w 4519987"/>
                    <a:gd name="connsiteY68" fmla="*/ 3495675 h 4487372"/>
                    <a:gd name="connsiteX69" fmla="*/ 411502 w 4519987"/>
                    <a:gd name="connsiteY69" fmla="*/ 3448050 h 4487372"/>
                    <a:gd name="connsiteX70" fmla="*/ 278152 w 4519987"/>
                    <a:gd name="connsiteY70" fmla="*/ 3257550 h 4487372"/>
                    <a:gd name="connsiteX71" fmla="*/ 249577 w 4519987"/>
                    <a:gd name="connsiteY71" fmla="*/ 3200400 h 4487372"/>
                    <a:gd name="connsiteX72" fmla="*/ 240052 w 4519987"/>
                    <a:gd name="connsiteY72" fmla="*/ 3162300 h 4487372"/>
                    <a:gd name="connsiteX73" fmla="*/ 221002 w 4519987"/>
                    <a:gd name="connsiteY73" fmla="*/ 3105150 h 4487372"/>
                    <a:gd name="connsiteX74" fmla="*/ 173377 w 4519987"/>
                    <a:gd name="connsiteY74" fmla="*/ 3019425 h 4487372"/>
                    <a:gd name="connsiteX75" fmla="*/ 144802 w 4519987"/>
                    <a:gd name="connsiteY75" fmla="*/ 2924175 h 4487372"/>
                    <a:gd name="connsiteX76" fmla="*/ 68602 w 4519987"/>
                    <a:gd name="connsiteY76" fmla="*/ 2724150 h 4487372"/>
                    <a:gd name="connsiteX77" fmla="*/ 49552 w 4519987"/>
                    <a:gd name="connsiteY77" fmla="*/ 2638425 h 4487372"/>
                    <a:gd name="connsiteX78" fmla="*/ 40027 w 4519987"/>
                    <a:gd name="connsiteY78" fmla="*/ 2562225 h 4487372"/>
                    <a:gd name="connsiteX79" fmla="*/ 30502 w 4519987"/>
                    <a:gd name="connsiteY79" fmla="*/ 2514600 h 4487372"/>
                    <a:gd name="connsiteX80" fmla="*/ 11452 w 4519987"/>
                    <a:gd name="connsiteY80" fmla="*/ 2400300 h 4487372"/>
                    <a:gd name="connsiteX81" fmla="*/ 20977 w 4519987"/>
                    <a:gd name="connsiteY81" fmla="*/ 1905000 h 4487372"/>
                    <a:gd name="connsiteX82" fmla="*/ 30502 w 4519987"/>
                    <a:gd name="connsiteY82" fmla="*/ 1838325 h 4487372"/>
                    <a:gd name="connsiteX83" fmla="*/ 49552 w 4519987"/>
                    <a:gd name="connsiteY83" fmla="*/ 1781175 h 4487372"/>
                    <a:gd name="connsiteX84" fmla="*/ 59077 w 4519987"/>
                    <a:gd name="connsiteY84" fmla="*/ 1743075 h 4487372"/>
                    <a:gd name="connsiteX85" fmla="*/ 78127 w 4519987"/>
                    <a:gd name="connsiteY85" fmla="*/ 1685925 h 4487372"/>
                    <a:gd name="connsiteX86" fmla="*/ 87652 w 4519987"/>
                    <a:gd name="connsiteY86" fmla="*/ 1638300 h 4487372"/>
                    <a:gd name="connsiteX87" fmla="*/ 106702 w 4519987"/>
                    <a:gd name="connsiteY87" fmla="*/ 1590675 h 4487372"/>
                    <a:gd name="connsiteX88" fmla="*/ 135277 w 4519987"/>
                    <a:gd name="connsiteY88" fmla="*/ 1504950 h 4487372"/>
                    <a:gd name="connsiteX89" fmla="*/ 154327 w 4519987"/>
                    <a:gd name="connsiteY89" fmla="*/ 1419225 h 4487372"/>
                    <a:gd name="connsiteX90" fmla="*/ 230527 w 4519987"/>
                    <a:gd name="connsiteY90" fmla="*/ 1276350 h 4487372"/>
                    <a:gd name="connsiteX91" fmla="*/ 240052 w 4519987"/>
                    <a:gd name="connsiteY91" fmla="*/ 1247775 h 4487372"/>
                    <a:gd name="connsiteX92" fmla="*/ 268627 w 4519987"/>
                    <a:gd name="connsiteY92" fmla="*/ 1200150 h 4487372"/>
                    <a:gd name="connsiteX93" fmla="*/ 287677 w 4519987"/>
                    <a:gd name="connsiteY93" fmla="*/ 1152525 h 4487372"/>
                    <a:gd name="connsiteX94" fmla="*/ 316252 w 4519987"/>
                    <a:gd name="connsiteY94" fmla="*/ 1114425 h 4487372"/>
                    <a:gd name="connsiteX95" fmla="*/ 363877 w 4519987"/>
                    <a:gd name="connsiteY95" fmla="*/ 1038225 h 4487372"/>
                    <a:gd name="connsiteX96" fmla="*/ 382927 w 4519987"/>
                    <a:gd name="connsiteY96" fmla="*/ 1009650 h 4487372"/>
                    <a:gd name="connsiteX97" fmla="*/ 440077 w 4519987"/>
                    <a:gd name="connsiteY97" fmla="*/ 904875 h 4487372"/>
                    <a:gd name="connsiteX98" fmla="*/ 478177 w 4519987"/>
                    <a:gd name="connsiteY98" fmla="*/ 857250 h 4487372"/>
                    <a:gd name="connsiteX99" fmla="*/ 497227 w 4519987"/>
                    <a:gd name="connsiteY99" fmla="*/ 828675 h 4487372"/>
                    <a:gd name="connsiteX100" fmla="*/ 535327 w 4519987"/>
                    <a:gd name="connsiteY100" fmla="*/ 800100 h 4487372"/>
                    <a:gd name="connsiteX101" fmla="*/ 602002 w 4519987"/>
                    <a:gd name="connsiteY101" fmla="*/ 733425 h 4487372"/>
                    <a:gd name="connsiteX102" fmla="*/ 668677 w 4519987"/>
                    <a:gd name="connsiteY102" fmla="*/ 676275 h 4487372"/>
                    <a:gd name="connsiteX103" fmla="*/ 697252 w 4519987"/>
                    <a:gd name="connsiteY103" fmla="*/ 657225 h 4487372"/>
                    <a:gd name="connsiteX104" fmla="*/ 840127 w 4519987"/>
                    <a:gd name="connsiteY104" fmla="*/ 533400 h 4487372"/>
                    <a:gd name="connsiteX105" fmla="*/ 887752 w 4519987"/>
                    <a:gd name="connsiteY105" fmla="*/ 504825 h 4487372"/>
                    <a:gd name="connsiteX106" fmla="*/ 1167152 w 4519987"/>
                    <a:gd name="connsiteY106" fmla="*/ 311150 h 4487372"/>
                    <a:gd name="connsiteX107" fmla="*/ 1268752 w 4519987"/>
                    <a:gd name="connsiteY107" fmla="*/ 285750 h 4487372"/>
                    <a:gd name="connsiteX108" fmla="*/ 1411627 w 4519987"/>
                    <a:gd name="connsiteY108" fmla="*/ 190500 h 4487372"/>
                    <a:gd name="connsiteX109" fmla="*/ 1449727 w 4519987"/>
                    <a:gd name="connsiteY109" fmla="*/ 161925 h 4487372"/>
                    <a:gd name="connsiteX110" fmla="*/ 1525927 w 4519987"/>
                    <a:gd name="connsiteY110" fmla="*/ 152400 h 4487372"/>
                    <a:gd name="connsiteX111" fmla="*/ 1583077 w 4519987"/>
                    <a:gd name="connsiteY111" fmla="*/ 142875 h 4487372"/>
                    <a:gd name="connsiteX112" fmla="*/ 1716427 w 4519987"/>
                    <a:gd name="connsiteY112" fmla="*/ 123825 h 4487372"/>
                    <a:gd name="connsiteX113" fmla="*/ 1811677 w 4519987"/>
                    <a:gd name="connsiteY113" fmla="*/ 114300 h 4487372"/>
                    <a:gd name="connsiteX114" fmla="*/ 1859302 w 4519987"/>
                    <a:gd name="connsiteY114" fmla="*/ 104775 h 4487372"/>
                    <a:gd name="connsiteX115" fmla="*/ 1916452 w 4519987"/>
                    <a:gd name="connsiteY115" fmla="*/ 95250 h 4487372"/>
                    <a:gd name="connsiteX116" fmla="*/ 2030752 w 4519987"/>
                    <a:gd name="connsiteY116" fmla="*/ 66675 h 4487372"/>
                    <a:gd name="connsiteX117" fmla="*/ 2097427 w 4519987"/>
                    <a:gd name="connsiteY117" fmla="*/ 47625 h 4487372"/>
                    <a:gd name="connsiteX118" fmla="*/ 2164102 w 4519987"/>
                    <a:gd name="connsiteY118" fmla="*/ 38100 h 4487372"/>
                    <a:gd name="connsiteX119" fmla="*/ 2392702 w 4519987"/>
                    <a:gd name="connsiteY119" fmla="*/ 28575 h 4487372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745127 w 4519987"/>
                    <a:gd name="connsiteY41" fmla="*/ 4410075 h 4476750"/>
                    <a:gd name="connsiteX42" fmla="*/ 2640352 w 4519987"/>
                    <a:gd name="connsiteY42" fmla="*/ 4457700 h 4476750"/>
                    <a:gd name="connsiteX43" fmla="*/ 2306977 w 4519987"/>
                    <a:gd name="connsiteY43" fmla="*/ 4476750 h 4476750"/>
                    <a:gd name="connsiteX44" fmla="*/ 2202202 w 4519987"/>
                    <a:gd name="connsiteY44" fmla="*/ 4457700 h 4476750"/>
                    <a:gd name="connsiteX45" fmla="*/ 2126002 w 4519987"/>
                    <a:gd name="connsiteY45" fmla="*/ 4429125 h 4476750"/>
                    <a:gd name="connsiteX46" fmla="*/ 1935502 w 4519987"/>
                    <a:gd name="connsiteY46" fmla="*/ 4400550 h 4476750"/>
                    <a:gd name="connsiteX47" fmla="*/ 1821202 w 4519987"/>
                    <a:gd name="connsiteY47" fmla="*/ 4371975 h 4476750"/>
                    <a:gd name="connsiteX48" fmla="*/ 1754527 w 4519987"/>
                    <a:gd name="connsiteY48" fmla="*/ 4352925 h 4476750"/>
                    <a:gd name="connsiteX49" fmla="*/ 1687852 w 4519987"/>
                    <a:gd name="connsiteY49" fmla="*/ 4343400 h 4476750"/>
                    <a:gd name="connsiteX50" fmla="*/ 1573552 w 4519987"/>
                    <a:gd name="connsiteY50" fmla="*/ 4305300 h 4476750"/>
                    <a:gd name="connsiteX51" fmla="*/ 1402102 w 4519987"/>
                    <a:gd name="connsiteY51" fmla="*/ 4276725 h 4476750"/>
                    <a:gd name="connsiteX52" fmla="*/ 1287802 w 4519987"/>
                    <a:gd name="connsiteY52" fmla="*/ 4229100 h 4476750"/>
                    <a:gd name="connsiteX53" fmla="*/ 1221127 w 4519987"/>
                    <a:gd name="connsiteY53" fmla="*/ 4200525 h 4476750"/>
                    <a:gd name="connsiteX54" fmla="*/ 1144927 w 4519987"/>
                    <a:gd name="connsiteY54" fmla="*/ 4171950 h 4476750"/>
                    <a:gd name="connsiteX55" fmla="*/ 1087777 w 4519987"/>
                    <a:gd name="connsiteY55" fmla="*/ 4143375 h 4476750"/>
                    <a:gd name="connsiteX56" fmla="*/ 1030627 w 4519987"/>
                    <a:gd name="connsiteY56" fmla="*/ 4124325 h 4476750"/>
                    <a:gd name="connsiteX57" fmla="*/ 925852 w 4519987"/>
                    <a:gd name="connsiteY57" fmla="*/ 4067175 h 4476750"/>
                    <a:gd name="connsiteX58" fmla="*/ 830602 w 4519987"/>
                    <a:gd name="connsiteY58" fmla="*/ 3981450 h 4476750"/>
                    <a:gd name="connsiteX59" fmla="*/ 763927 w 4519987"/>
                    <a:gd name="connsiteY59" fmla="*/ 3914775 h 4476750"/>
                    <a:gd name="connsiteX60" fmla="*/ 725827 w 4519987"/>
                    <a:gd name="connsiteY60" fmla="*/ 3876675 h 4476750"/>
                    <a:gd name="connsiteX61" fmla="*/ 697252 w 4519987"/>
                    <a:gd name="connsiteY61" fmla="*/ 3838575 h 4476750"/>
                    <a:gd name="connsiteX62" fmla="*/ 640102 w 4519987"/>
                    <a:gd name="connsiteY62" fmla="*/ 3781425 h 4476750"/>
                    <a:gd name="connsiteX63" fmla="*/ 611527 w 4519987"/>
                    <a:gd name="connsiteY63" fmla="*/ 3733800 h 4476750"/>
                    <a:gd name="connsiteX64" fmla="*/ 554377 w 4519987"/>
                    <a:gd name="connsiteY64" fmla="*/ 3657600 h 4476750"/>
                    <a:gd name="connsiteX65" fmla="*/ 525802 w 4519987"/>
                    <a:gd name="connsiteY65" fmla="*/ 3609975 h 4476750"/>
                    <a:gd name="connsiteX66" fmla="*/ 497227 w 4519987"/>
                    <a:gd name="connsiteY66" fmla="*/ 3552825 h 4476750"/>
                    <a:gd name="connsiteX67" fmla="*/ 440077 w 4519987"/>
                    <a:gd name="connsiteY67" fmla="*/ 3495675 h 4476750"/>
                    <a:gd name="connsiteX68" fmla="*/ 411502 w 4519987"/>
                    <a:gd name="connsiteY68" fmla="*/ 3448050 h 4476750"/>
                    <a:gd name="connsiteX69" fmla="*/ 278152 w 4519987"/>
                    <a:gd name="connsiteY69" fmla="*/ 3257550 h 4476750"/>
                    <a:gd name="connsiteX70" fmla="*/ 249577 w 4519987"/>
                    <a:gd name="connsiteY70" fmla="*/ 3200400 h 4476750"/>
                    <a:gd name="connsiteX71" fmla="*/ 240052 w 4519987"/>
                    <a:gd name="connsiteY71" fmla="*/ 3162300 h 4476750"/>
                    <a:gd name="connsiteX72" fmla="*/ 221002 w 4519987"/>
                    <a:gd name="connsiteY72" fmla="*/ 3105150 h 4476750"/>
                    <a:gd name="connsiteX73" fmla="*/ 173377 w 4519987"/>
                    <a:gd name="connsiteY73" fmla="*/ 3019425 h 4476750"/>
                    <a:gd name="connsiteX74" fmla="*/ 144802 w 4519987"/>
                    <a:gd name="connsiteY74" fmla="*/ 2924175 h 4476750"/>
                    <a:gd name="connsiteX75" fmla="*/ 68602 w 4519987"/>
                    <a:gd name="connsiteY75" fmla="*/ 2724150 h 4476750"/>
                    <a:gd name="connsiteX76" fmla="*/ 49552 w 4519987"/>
                    <a:gd name="connsiteY76" fmla="*/ 2638425 h 4476750"/>
                    <a:gd name="connsiteX77" fmla="*/ 40027 w 4519987"/>
                    <a:gd name="connsiteY77" fmla="*/ 2562225 h 4476750"/>
                    <a:gd name="connsiteX78" fmla="*/ 30502 w 4519987"/>
                    <a:gd name="connsiteY78" fmla="*/ 2514600 h 4476750"/>
                    <a:gd name="connsiteX79" fmla="*/ 11452 w 4519987"/>
                    <a:gd name="connsiteY79" fmla="*/ 2400300 h 4476750"/>
                    <a:gd name="connsiteX80" fmla="*/ 20977 w 4519987"/>
                    <a:gd name="connsiteY80" fmla="*/ 1905000 h 4476750"/>
                    <a:gd name="connsiteX81" fmla="*/ 30502 w 4519987"/>
                    <a:gd name="connsiteY81" fmla="*/ 1838325 h 4476750"/>
                    <a:gd name="connsiteX82" fmla="*/ 49552 w 4519987"/>
                    <a:gd name="connsiteY82" fmla="*/ 1781175 h 4476750"/>
                    <a:gd name="connsiteX83" fmla="*/ 59077 w 4519987"/>
                    <a:gd name="connsiteY83" fmla="*/ 1743075 h 4476750"/>
                    <a:gd name="connsiteX84" fmla="*/ 78127 w 4519987"/>
                    <a:gd name="connsiteY84" fmla="*/ 1685925 h 4476750"/>
                    <a:gd name="connsiteX85" fmla="*/ 87652 w 4519987"/>
                    <a:gd name="connsiteY85" fmla="*/ 1638300 h 4476750"/>
                    <a:gd name="connsiteX86" fmla="*/ 106702 w 4519987"/>
                    <a:gd name="connsiteY86" fmla="*/ 1590675 h 4476750"/>
                    <a:gd name="connsiteX87" fmla="*/ 135277 w 4519987"/>
                    <a:gd name="connsiteY87" fmla="*/ 1504950 h 4476750"/>
                    <a:gd name="connsiteX88" fmla="*/ 154327 w 4519987"/>
                    <a:gd name="connsiteY88" fmla="*/ 1419225 h 4476750"/>
                    <a:gd name="connsiteX89" fmla="*/ 230527 w 4519987"/>
                    <a:gd name="connsiteY89" fmla="*/ 1276350 h 4476750"/>
                    <a:gd name="connsiteX90" fmla="*/ 240052 w 4519987"/>
                    <a:gd name="connsiteY90" fmla="*/ 1247775 h 4476750"/>
                    <a:gd name="connsiteX91" fmla="*/ 268627 w 4519987"/>
                    <a:gd name="connsiteY91" fmla="*/ 1200150 h 4476750"/>
                    <a:gd name="connsiteX92" fmla="*/ 287677 w 4519987"/>
                    <a:gd name="connsiteY92" fmla="*/ 1152525 h 4476750"/>
                    <a:gd name="connsiteX93" fmla="*/ 316252 w 4519987"/>
                    <a:gd name="connsiteY93" fmla="*/ 1114425 h 4476750"/>
                    <a:gd name="connsiteX94" fmla="*/ 363877 w 4519987"/>
                    <a:gd name="connsiteY94" fmla="*/ 1038225 h 4476750"/>
                    <a:gd name="connsiteX95" fmla="*/ 382927 w 4519987"/>
                    <a:gd name="connsiteY95" fmla="*/ 1009650 h 4476750"/>
                    <a:gd name="connsiteX96" fmla="*/ 440077 w 4519987"/>
                    <a:gd name="connsiteY96" fmla="*/ 904875 h 4476750"/>
                    <a:gd name="connsiteX97" fmla="*/ 478177 w 4519987"/>
                    <a:gd name="connsiteY97" fmla="*/ 857250 h 4476750"/>
                    <a:gd name="connsiteX98" fmla="*/ 497227 w 4519987"/>
                    <a:gd name="connsiteY98" fmla="*/ 828675 h 4476750"/>
                    <a:gd name="connsiteX99" fmla="*/ 535327 w 4519987"/>
                    <a:gd name="connsiteY99" fmla="*/ 800100 h 4476750"/>
                    <a:gd name="connsiteX100" fmla="*/ 602002 w 4519987"/>
                    <a:gd name="connsiteY100" fmla="*/ 733425 h 4476750"/>
                    <a:gd name="connsiteX101" fmla="*/ 668677 w 4519987"/>
                    <a:gd name="connsiteY101" fmla="*/ 676275 h 4476750"/>
                    <a:gd name="connsiteX102" fmla="*/ 697252 w 4519987"/>
                    <a:gd name="connsiteY102" fmla="*/ 657225 h 4476750"/>
                    <a:gd name="connsiteX103" fmla="*/ 840127 w 4519987"/>
                    <a:gd name="connsiteY103" fmla="*/ 533400 h 4476750"/>
                    <a:gd name="connsiteX104" fmla="*/ 887752 w 4519987"/>
                    <a:gd name="connsiteY104" fmla="*/ 504825 h 4476750"/>
                    <a:gd name="connsiteX105" fmla="*/ 1167152 w 4519987"/>
                    <a:gd name="connsiteY105" fmla="*/ 311150 h 4476750"/>
                    <a:gd name="connsiteX106" fmla="*/ 1268752 w 4519987"/>
                    <a:gd name="connsiteY106" fmla="*/ 285750 h 4476750"/>
                    <a:gd name="connsiteX107" fmla="*/ 1411627 w 4519987"/>
                    <a:gd name="connsiteY107" fmla="*/ 190500 h 4476750"/>
                    <a:gd name="connsiteX108" fmla="*/ 1449727 w 4519987"/>
                    <a:gd name="connsiteY108" fmla="*/ 161925 h 4476750"/>
                    <a:gd name="connsiteX109" fmla="*/ 1525927 w 4519987"/>
                    <a:gd name="connsiteY109" fmla="*/ 152400 h 4476750"/>
                    <a:gd name="connsiteX110" fmla="*/ 1583077 w 4519987"/>
                    <a:gd name="connsiteY110" fmla="*/ 142875 h 4476750"/>
                    <a:gd name="connsiteX111" fmla="*/ 1716427 w 4519987"/>
                    <a:gd name="connsiteY111" fmla="*/ 123825 h 4476750"/>
                    <a:gd name="connsiteX112" fmla="*/ 1811677 w 4519987"/>
                    <a:gd name="connsiteY112" fmla="*/ 114300 h 4476750"/>
                    <a:gd name="connsiteX113" fmla="*/ 1859302 w 4519987"/>
                    <a:gd name="connsiteY113" fmla="*/ 104775 h 4476750"/>
                    <a:gd name="connsiteX114" fmla="*/ 1916452 w 4519987"/>
                    <a:gd name="connsiteY114" fmla="*/ 95250 h 4476750"/>
                    <a:gd name="connsiteX115" fmla="*/ 2030752 w 4519987"/>
                    <a:gd name="connsiteY115" fmla="*/ 66675 h 4476750"/>
                    <a:gd name="connsiteX116" fmla="*/ 2097427 w 4519987"/>
                    <a:gd name="connsiteY116" fmla="*/ 47625 h 4476750"/>
                    <a:gd name="connsiteX117" fmla="*/ 2164102 w 4519987"/>
                    <a:gd name="connsiteY117" fmla="*/ 38100 h 4476750"/>
                    <a:gd name="connsiteX118" fmla="*/ 2392702 w 4519987"/>
                    <a:gd name="connsiteY118" fmla="*/ 28575 h 4476750"/>
                    <a:gd name="connsiteX0" fmla="*/ 2297452 w 4519987"/>
                    <a:gd name="connsiteY0" fmla="*/ 0 h 4478541"/>
                    <a:gd name="connsiteX1" fmla="*/ 2421277 w 4519987"/>
                    <a:gd name="connsiteY1" fmla="*/ 28575 h 4478541"/>
                    <a:gd name="connsiteX2" fmla="*/ 2497477 w 4519987"/>
                    <a:gd name="connsiteY2" fmla="*/ 47625 h 4478541"/>
                    <a:gd name="connsiteX3" fmla="*/ 2754652 w 4519987"/>
                    <a:gd name="connsiteY3" fmla="*/ 66675 h 4478541"/>
                    <a:gd name="connsiteX4" fmla="*/ 2830852 w 4519987"/>
                    <a:gd name="connsiteY4" fmla="*/ 76200 h 4478541"/>
                    <a:gd name="connsiteX5" fmla="*/ 2916577 w 4519987"/>
                    <a:gd name="connsiteY5" fmla="*/ 85725 h 4478541"/>
                    <a:gd name="connsiteX6" fmla="*/ 2973727 w 4519987"/>
                    <a:gd name="connsiteY6" fmla="*/ 114300 h 4478541"/>
                    <a:gd name="connsiteX7" fmla="*/ 3011827 w 4519987"/>
                    <a:gd name="connsiteY7" fmla="*/ 123825 h 4478541"/>
                    <a:gd name="connsiteX8" fmla="*/ 3135652 w 4519987"/>
                    <a:gd name="connsiteY8" fmla="*/ 171450 h 4478541"/>
                    <a:gd name="connsiteX9" fmla="*/ 3173752 w 4519987"/>
                    <a:gd name="connsiteY9" fmla="*/ 190500 h 4478541"/>
                    <a:gd name="connsiteX10" fmla="*/ 3240427 w 4519987"/>
                    <a:gd name="connsiteY10" fmla="*/ 228600 h 4478541"/>
                    <a:gd name="connsiteX11" fmla="*/ 3269002 w 4519987"/>
                    <a:gd name="connsiteY11" fmla="*/ 238125 h 4478541"/>
                    <a:gd name="connsiteX12" fmla="*/ 3297577 w 4519987"/>
                    <a:gd name="connsiteY12" fmla="*/ 257175 h 4478541"/>
                    <a:gd name="connsiteX13" fmla="*/ 3326152 w 4519987"/>
                    <a:gd name="connsiteY13" fmla="*/ 266700 h 4478541"/>
                    <a:gd name="connsiteX14" fmla="*/ 3354727 w 4519987"/>
                    <a:gd name="connsiteY14" fmla="*/ 285750 h 4478541"/>
                    <a:gd name="connsiteX15" fmla="*/ 3421402 w 4519987"/>
                    <a:gd name="connsiteY15" fmla="*/ 323850 h 4478541"/>
                    <a:gd name="connsiteX16" fmla="*/ 3469027 w 4519987"/>
                    <a:gd name="connsiteY16" fmla="*/ 361950 h 4478541"/>
                    <a:gd name="connsiteX17" fmla="*/ 3516652 w 4519987"/>
                    <a:gd name="connsiteY17" fmla="*/ 390525 h 4478541"/>
                    <a:gd name="connsiteX18" fmla="*/ 3630952 w 4519987"/>
                    <a:gd name="connsiteY18" fmla="*/ 485775 h 4478541"/>
                    <a:gd name="connsiteX19" fmla="*/ 3745252 w 4519987"/>
                    <a:gd name="connsiteY19" fmla="*/ 542925 h 4478541"/>
                    <a:gd name="connsiteX20" fmla="*/ 3811927 w 4519987"/>
                    <a:gd name="connsiteY20" fmla="*/ 581025 h 4478541"/>
                    <a:gd name="connsiteX21" fmla="*/ 4027827 w 4519987"/>
                    <a:gd name="connsiteY21" fmla="*/ 819150 h 4478541"/>
                    <a:gd name="connsiteX22" fmla="*/ 4164352 w 4519987"/>
                    <a:gd name="connsiteY22" fmla="*/ 990600 h 4478541"/>
                    <a:gd name="connsiteX23" fmla="*/ 4250077 w 4519987"/>
                    <a:gd name="connsiteY23" fmla="*/ 1143000 h 4478541"/>
                    <a:gd name="connsiteX24" fmla="*/ 4307227 w 4519987"/>
                    <a:gd name="connsiteY24" fmla="*/ 1266825 h 4478541"/>
                    <a:gd name="connsiteX25" fmla="*/ 4345327 w 4519987"/>
                    <a:gd name="connsiteY25" fmla="*/ 1362075 h 4478541"/>
                    <a:gd name="connsiteX26" fmla="*/ 4392952 w 4519987"/>
                    <a:gd name="connsiteY26" fmla="*/ 1552575 h 4478541"/>
                    <a:gd name="connsiteX27" fmla="*/ 4431052 w 4519987"/>
                    <a:gd name="connsiteY27" fmla="*/ 1685925 h 4478541"/>
                    <a:gd name="connsiteX28" fmla="*/ 4519952 w 4519987"/>
                    <a:gd name="connsiteY28" fmla="*/ 2181225 h 4478541"/>
                    <a:gd name="connsiteX29" fmla="*/ 4446927 w 4519987"/>
                    <a:gd name="connsiteY29" fmla="*/ 2768600 h 4478541"/>
                    <a:gd name="connsiteX30" fmla="*/ 4383427 w 4519987"/>
                    <a:gd name="connsiteY30" fmla="*/ 2990850 h 4478541"/>
                    <a:gd name="connsiteX31" fmla="*/ 4278652 w 4519987"/>
                    <a:gd name="connsiteY31" fmla="*/ 3248025 h 4478541"/>
                    <a:gd name="connsiteX32" fmla="*/ 4183402 w 4519987"/>
                    <a:gd name="connsiteY32" fmla="*/ 3400425 h 4478541"/>
                    <a:gd name="connsiteX33" fmla="*/ 4059577 w 4519987"/>
                    <a:gd name="connsiteY33" fmla="*/ 3533775 h 4478541"/>
                    <a:gd name="connsiteX34" fmla="*/ 3954802 w 4519987"/>
                    <a:gd name="connsiteY34" fmla="*/ 3648075 h 4478541"/>
                    <a:gd name="connsiteX35" fmla="*/ 3659527 w 4519987"/>
                    <a:gd name="connsiteY35" fmla="*/ 3971925 h 4478541"/>
                    <a:gd name="connsiteX36" fmla="*/ 3516652 w 4519987"/>
                    <a:gd name="connsiteY36" fmla="*/ 4083050 h 4478541"/>
                    <a:gd name="connsiteX37" fmla="*/ 3221377 w 4519987"/>
                    <a:gd name="connsiteY37" fmla="*/ 4222750 h 4478541"/>
                    <a:gd name="connsiteX38" fmla="*/ 3068977 w 4519987"/>
                    <a:gd name="connsiteY38" fmla="*/ 4286250 h 4478541"/>
                    <a:gd name="connsiteX39" fmla="*/ 2935627 w 4519987"/>
                    <a:gd name="connsiteY39" fmla="*/ 4333875 h 4478541"/>
                    <a:gd name="connsiteX40" fmla="*/ 2811802 w 4519987"/>
                    <a:gd name="connsiteY40" fmla="*/ 4371975 h 4478541"/>
                    <a:gd name="connsiteX41" fmla="*/ 2745127 w 4519987"/>
                    <a:gd name="connsiteY41" fmla="*/ 4410075 h 4478541"/>
                    <a:gd name="connsiteX42" fmla="*/ 2306977 w 4519987"/>
                    <a:gd name="connsiteY42" fmla="*/ 4476750 h 4478541"/>
                    <a:gd name="connsiteX43" fmla="*/ 2202202 w 4519987"/>
                    <a:gd name="connsiteY43" fmla="*/ 4457700 h 4478541"/>
                    <a:gd name="connsiteX44" fmla="*/ 2126002 w 4519987"/>
                    <a:gd name="connsiteY44" fmla="*/ 4429125 h 4478541"/>
                    <a:gd name="connsiteX45" fmla="*/ 1935502 w 4519987"/>
                    <a:gd name="connsiteY45" fmla="*/ 4400550 h 4478541"/>
                    <a:gd name="connsiteX46" fmla="*/ 1821202 w 4519987"/>
                    <a:gd name="connsiteY46" fmla="*/ 4371975 h 4478541"/>
                    <a:gd name="connsiteX47" fmla="*/ 1754527 w 4519987"/>
                    <a:gd name="connsiteY47" fmla="*/ 4352925 h 4478541"/>
                    <a:gd name="connsiteX48" fmla="*/ 1687852 w 4519987"/>
                    <a:gd name="connsiteY48" fmla="*/ 4343400 h 4478541"/>
                    <a:gd name="connsiteX49" fmla="*/ 1573552 w 4519987"/>
                    <a:gd name="connsiteY49" fmla="*/ 4305300 h 4478541"/>
                    <a:gd name="connsiteX50" fmla="*/ 1402102 w 4519987"/>
                    <a:gd name="connsiteY50" fmla="*/ 4276725 h 4478541"/>
                    <a:gd name="connsiteX51" fmla="*/ 1287802 w 4519987"/>
                    <a:gd name="connsiteY51" fmla="*/ 4229100 h 4478541"/>
                    <a:gd name="connsiteX52" fmla="*/ 1221127 w 4519987"/>
                    <a:gd name="connsiteY52" fmla="*/ 4200525 h 4478541"/>
                    <a:gd name="connsiteX53" fmla="*/ 1144927 w 4519987"/>
                    <a:gd name="connsiteY53" fmla="*/ 4171950 h 4478541"/>
                    <a:gd name="connsiteX54" fmla="*/ 1087777 w 4519987"/>
                    <a:gd name="connsiteY54" fmla="*/ 4143375 h 4478541"/>
                    <a:gd name="connsiteX55" fmla="*/ 1030627 w 4519987"/>
                    <a:gd name="connsiteY55" fmla="*/ 4124325 h 4478541"/>
                    <a:gd name="connsiteX56" fmla="*/ 925852 w 4519987"/>
                    <a:gd name="connsiteY56" fmla="*/ 4067175 h 4478541"/>
                    <a:gd name="connsiteX57" fmla="*/ 830602 w 4519987"/>
                    <a:gd name="connsiteY57" fmla="*/ 3981450 h 4478541"/>
                    <a:gd name="connsiteX58" fmla="*/ 763927 w 4519987"/>
                    <a:gd name="connsiteY58" fmla="*/ 3914775 h 4478541"/>
                    <a:gd name="connsiteX59" fmla="*/ 725827 w 4519987"/>
                    <a:gd name="connsiteY59" fmla="*/ 3876675 h 4478541"/>
                    <a:gd name="connsiteX60" fmla="*/ 697252 w 4519987"/>
                    <a:gd name="connsiteY60" fmla="*/ 3838575 h 4478541"/>
                    <a:gd name="connsiteX61" fmla="*/ 640102 w 4519987"/>
                    <a:gd name="connsiteY61" fmla="*/ 3781425 h 4478541"/>
                    <a:gd name="connsiteX62" fmla="*/ 611527 w 4519987"/>
                    <a:gd name="connsiteY62" fmla="*/ 3733800 h 4478541"/>
                    <a:gd name="connsiteX63" fmla="*/ 554377 w 4519987"/>
                    <a:gd name="connsiteY63" fmla="*/ 3657600 h 4478541"/>
                    <a:gd name="connsiteX64" fmla="*/ 525802 w 4519987"/>
                    <a:gd name="connsiteY64" fmla="*/ 3609975 h 4478541"/>
                    <a:gd name="connsiteX65" fmla="*/ 497227 w 4519987"/>
                    <a:gd name="connsiteY65" fmla="*/ 3552825 h 4478541"/>
                    <a:gd name="connsiteX66" fmla="*/ 440077 w 4519987"/>
                    <a:gd name="connsiteY66" fmla="*/ 3495675 h 4478541"/>
                    <a:gd name="connsiteX67" fmla="*/ 411502 w 4519987"/>
                    <a:gd name="connsiteY67" fmla="*/ 3448050 h 4478541"/>
                    <a:gd name="connsiteX68" fmla="*/ 278152 w 4519987"/>
                    <a:gd name="connsiteY68" fmla="*/ 3257550 h 4478541"/>
                    <a:gd name="connsiteX69" fmla="*/ 249577 w 4519987"/>
                    <a:gd name="connsiteY69" fmla="*/ 3200400 h 4478541"/>
                    <a:gd name="connsiteX70" fmla="*/ 240052 w 4519987"/>
                    <a:gd name="connsiteY70" fmla="*/ 3162300 h 4478541"/>
                    <a:gd name="connsiteX71" fmla="*/ 221002 w 4519987"/>
                    <a:gd name="connsiteY71" fmla="*/ 3105150 h 4478541"/>
                    <a:gd name="connsiteX72" fmla="*/ 173377 w 4519987"/>
                    <a:gd name="connsiteY72" fmla="*/ 3019425 h 4478541"/>
                    <a:gd name="connsiteX73" fmla="*/ 144802 w 4519987"/>
                    <a:gd name="connsiteY73" fmla="*/ 2924175 h 4478541"/>
                    <a:gd name="connsiteX74" fmla="*/ 68602 w 4519987"/>
                    <a:gd name="connsiteY74" fmla="*/ 2724150 h 4478541"/>
                    <a:gd name="connsiteX75" fmla="*/ 49552 w 4519987"/>
                    <a:gd name="connsiteY75" fmla="*/ 2638425 h 4478541"/>
                    <a:gd name="connsiteX76" fmla="*/ 40027 w 4519987"/>
                    <a:gd name="connsiteY76" fmla="*/ 2562225 h 4478541"/>
                    <a:gd name="connsiteX77" fmla="*/ 30502 w 4519987"/>
                    <a:gd name="connsiteY77" fmla="*/ 2514600 h 4478541"/>
                    <a:gd name="connsiteX78" fmla="*/ 11452 w 4519987"/>
                    <a:gd name="connsiteY78" fmla="*/ 2400300 h 4478541"/>
                    <a:gd name="connsiteX79" fmla="*/ 20977 w 4519987"/>
                    <a:gd name="connsiteY79" fmla="*/ 1905000 h 4478541"/>
                    <a:gd name="connsiteX80" fmla="*/ 30502 w 4519987"/>
                    <a:gd name="connsiteY80" fmla="*/ 1838325 h 4478541"/>
                    <a:gd name="connsiteX81" fmla="*/ 49552 w 4519987"/>
                    <a:gd name="connsiteY81" fmla="*/ 1781175 h 4478541"/>
                    <a:gd name="connsiteX82" fmla="*/ 59077 w 4519987"/>
                    <a:gd name="connsiteY82" fmla="*/ 1743075 h 4478541"/>
                    <a:gd name="connsiteX83" fmla="*/ 78127 w 4519987"/>
                    <a:gd name="connsiteY83" fmla="*/ 1685925 h 4478541"/>
                    <a:gd name="connsiteX84" fmla="*/ 87652 w 4519987"/>
                    <a:gd name="connsiteY84" fmla="*/ 1638300 h 4478541"/>
                    <a:gd name="connsiteX85" fmla="*/ 106702 w 4519987"/>
                    <a:gd name="connsiteY85" fmla="*/ 1590675 h 4478541"/>
                    <a:gd name="connsiteX86" fmla="*/ 135277 w 4519987"/>
                    <a:gd name="connsiteY86" fmla="*/ 1504950 h 4478541"/>
                    <a:gd name="connsiteX87" fmla="*/ 154327 w 4519987"/>
                    <a:gd name="connsiteY87" fmla="*/ 1419225 h 4478541"/>
                    <a:gd name="connsiteX88" fmla="*/ 230527 w 4519987"/>
                    <a:gd name="connsiteY88" fmla="*/ 1276350 h 4478541"/>
                    <a:gd name="connsiteX89" fmla="*/ 240052 w 4519987"/>
                    <a:gd name="connsiteY89" fmla="*/ 1247775 h 4478541"/>
                    <a:gd name="connsiteX90" fmla="*/ 268627 w 4519987"/>
                    <a:gd name="connsiteY90" fmla="*/ 1200150 h 4478541"/>
                    <a:gd name="connsiteX91" fmla="*/ 287677 w 4519987"/>
                    <a:gd name="connsiteY91" fmla="*/ 1152525 h 4478541"/>
                    <a:gd name="connsiteX92" fmla="*/ 316252 w 4519987"/>
                    <a:gd name="connsiteY92" fmla="*/ 1114425 h 4478541"/>
                    <a:gd name="connsiteX93" fmla="*/ 363877 w 4519987"/>
                    <a:gd name="connsiteY93" fmla="*/ 1038225 h 4478541"/>
                    <a:gd name="connsiteX94" fmla="*/ 382927 w 4519987"/>
                    <a:gd name="connsiteY94" fmla="*/ 1009650 h 4478541"/>
                    <a:gd name="connsiteX95" fmla="*/ 440077 w 4519987"/>
                    <a:gd name="connsiteY95" fmla="*/ 904875 h 4478541"/>
                    <a:gd name="connsiteX96" fmla="*/ 478177 w 4519987"/>
                    <a:gd name="connsiteY96" fmla="*/ 857250 h 4478541"/>
                    <a:gd name="connsiteX97" fmla="*/ 497227 w 4519987"/>
                    <a:gd name="connsiteY97" fmla="*/ 828675 h 4478541"/>
                    <a:gd name="connsiteX98" fmla="*/ 535327 w 4519987"/>
                    <a:gd name="connsiteY98" fmla="*/ 800100 h 4478541"/>
                    <a:gd name="connsiteX99" fmla="*/ 602002 w 4519987"/>
                    <a:gd name="connsiteY99" fmla="*/ 733425 h 4478541"/>
                    <a:gd name="connsiteX100" fmla="*/ 668677 w 4519987"/>
                    <a:gd name="connsiteY100" fmla="*/ 676275 h 4478541"/>
                    <a:gd name="connsiteX101" fmla="*/ 697252 w 4519987"/>
                    <a:gd name="connsiteY101" fmla="*/ 657225 h 4478541"/>
                    <a:gd name="connsiteX102" fmla="*/ 840127 w 4519987"/>
                    <a:gd name="connsiteY102" fmla="*/ 533400 h 4478541"/>
                    <a:gd name="connsiteX103" fmla="*/ 887752 w 4519987"/>
                    <a:gd name="connsiteY103" fmla="*/ 504825 h 4478541"/>
                    <a:gd name="connsiteX104" fmla="*/ 1167152 w 4519987"/>
                    <a:gd name="connsiteY104" fmla="*/ 311150 h 4478541"/>
                    <a:gd name="connsiteX105" fmla="*/ 1268752 w 4519987"/>
                    <a:gd name="connsiteY105" fmla="*/ 285750 h 4478541"/>
                    <a:gd name="connsiteX106" fmla="*/ 1411627 w 4519987"/>
                    <a:gd name="connsiteY106" fmla="*/ 190500 h 4478541"/>
                    <a:gd name="connsiteX107" fmla="*/ 1449727 w 4519987"/>
                    <a:gd name="connsiteY107" fmla="*/ 161925 h 4478541"/>
                    <a:gd name="connsiteX108" fmla="*/ 1525927 w 4519987"/>
                    <a:gd name="connsiteY108" fmla="*/ 152400 h 4478541"/>
                    <a:gd name="connsiteX109" fmla="*/ 1583077 w 4519987"/>
                    <a:gd name="connsiteY109" fmla="*/ 142875 h 4478541"/>
                    <a:gd name="connsiteX110" fmla="*/ 1716427 w 4519987"/>
                    <a:gd name="connsiteY110" fmla="*/ 123825 h 4478541"/>
                    <a:gd name="connsiteX111" fmla="*/ 1811677 w 4519987"/>
                    <a:gd name="connsiteY111" fmla="*/ 114300 h 4478541"/>
                    <a:gd name="connsiteX112" fmla="*/ 1859302 w 4519987"/>
                    <a:gd name="connsiteY112" fmla="*/ 104775 h 4478541"/>
                    <a:gd name="connsiteX113" fmla="*/ 1916452 w 4519987"/>
                    <a:gd name="connsiteY113" fmla="*/ 95250 h 4478541"/>
                    <a:gd name="connsiteX114" fmla="*/ 2030752 w 4519987"/>
                    <a:gd name="connsiteY114" fmla="*/ 66675 h 4478541"/>
                    <a:gd name="connsiteX115" fmla="*/ 2097427 w 4519987"/>
                    <a:gd name="connsiteY115" fmla="*/ 47625 h 4478541"/>
                    <a:gd name="connsiteX116" fmla="*/ 2164102 w 4519987"/>
                    <a:gd name="connsiteY116" fmla="*/ 38100 h 4478541"/>
                    <a:gd name="connsiteX117" fmla="*/ 2392702 w 4519987"/>
                    <a:gd name="connsiteY117" fmla="*/ 28575 h 4478541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580027 w 4519987"/>
                    <a:gd name="connsiteY41" fmla="*/ 4391025 h 4476750"/>
                    <a:gd name="connsiteX42" fmla="*/ 2306977 w 4519987"/>
                    <a:gd name="connsiteY42" fmla="*/ 4476750 h 4476750"/>
                    <a:gd name="connsiteX43" fmla="*/ 2202202 w 4519987"/>
                    <a:gd name="connsiteY43" fmla="*/ 4457700 h 4476750"/>
                    <a:gd name="connsiteX44" fmla="*/ 2126002 w 4519987"/>
                    <a:gd name="connsiteY44" fmla="*/ 4429125 h 4476750"/>
                    <a:gd name="connsiteX45" fmla="*/ 1935502 w 4519987"/>
                    <a:gd name="connsiteY45" fmla="*/ 4400550 h 4476750"/>
                    <a:gd name="connsiteX46" fmla="*/ 1821202 w 4519987"/>
                    <a:gd name="connsiteY46" fmla="*/ 4371975 h 4476750"/>
                    <a:gd name="connsiteX47" fmla="*/ 1754527 w 4519987"/>
                    <a:gd name="connsiteY47" fmla="*/ 4352925 h 4476750"/>
                    <a:gd name="connsiteX48" fmla="*/ 1687852 w 4519987"/>
                    <a:gd name="connsiteY48" fmla="*/ 4343400 h 4476750"/>
                    <a:gd name="connsiteX49" fmla="*/ 1573552 w 4519987"/>
                    <a:gd name="connsiteY49" fmla="*/ 4305300 h 4476750"/>
                    <a:gd name="connsiteX50" fmla="*/ 1402102 w 4519987"/>
                    <a:gd name="connsiteY50" fmla="*/ 4276725 h 4476750"/>
                    <a:gd name="connsiteX51" fmla="*/ 1287802 w 4519987"/>
                    <a:gd name="connsiteY51" fmla="*/ 4229100 h 4476750"/>
                    <a:gd name="connsiteX52" fmla="*/ 1221127 w 4519987"/>
                    <a:gd name="connsiteY52" fmla="*/ 4200525 h 4476750"/>
                    <a:gd name="connsiteX53" fmla="*/ 1144927 w 4519987"/>
                    <a:gd name="connsiteY53" fmla="*/ 4171950 h 4476750"/>
                    <a:gd name="connsiteX54" fmla="*/ 1087777 w 4519987"/>
                    <a:gd name="connsiteY54" fmla="*/ 4143375 h 4476750"/>
                    <a:gd name="connsiteX55" fmla="*/ 1030627 w 4519987"/>
                    <a:gd name="connsiteY55" fmla="*/ 4124325 h 4476750"/>
                    <a:gd name="connsiteX56" fmla="*/ 925852 w 4519987"/>
                    <a:gd name="connsiteY56" fmla="*/ 4067175 h 4476750"/>
                    <a:gd name="connsiteX57" fmla="*/ 830602 w 4519987"/>
                    <a:gd name="connsiteY57" fmla="*/ 3981450 h 4476750"/>
                    <a:gd name="connsiteX58" fmla="*/ 763927 w 4519987"/>
                    <a:gd name="connsiteY58" fmla="*/ 3914775 h 4476750"/>
                    <a:gd name="connsiteX59" fmla="*/ 725827 w 4519987"/>
                    <a:gd name="connsiteY59" fmla="*/ 3876675 h 4476750"/>
                    <a:gd name="connsiteX60" fmla="*/ 697252 w 4519987"/>
                    <a:gd name="connsiteY60" fmla="*/ 3838575 h 4476750"/>
                    <a:gd name="connsiteX61" fmla="*/ 640102 w 4519987"/>
                    <a:gd name="connsiteY61" fmla="*/ 3781425 h 4476750"/>
                    <a:gd name="connsiteX62" fmla="*/ 611527 w 4519987"/>
                    <a:gd name="connsiteY62" fmla="*/ 3733800 h 4476750"/>
                    <a:gd name="connsiteX63" fmla="*/ 554377 w 4519987"/>
                    <a:gd name="connsiteY63" fmla="*/ 3657600 h 4476750"/>
                    <a:gd name="connsiteX64" fmla="*/ 525802 w 4519987"/>
                    <a:gd name="connsiteY64" fmla="*/ 3609975 h 4476750"/>
                    <a:gd name="connsiteX65" fmla="*/ 497227 w 4519987"/>
                    <a:gd name="connsiteY65" fmla="*/ 3552825 h 4476750"/>
                    <a:gd name="connsiteX66" fmla="*/ 440077 w 4519987"/>
                    <a:gd name="connsiteY66" fmla="*/ 3495675 h 4476750"/>
                    <a:gd name="connsiteX67" fmla="*/ 411502 w 4519987"/>
                    <a:gd name="connsiteY67" fmla="*/ 3448050 h 4476750"/>
                    <a:gd name="connsiteX68" fmla="*/ 278152 w 4519987"/>
                    <a:gd name="connsiteY68" fmla="*/ 3257550 h 4476750"/>
                    <a:gd name="connsiteX69" fmla="*/ 249577 w 4519987"/>
                    <a:gd name="connsiteY69" fmla="*/ 3200400 h 4476750"/>
                    <a:gd name="connsiteX70" fmla="*/ 240052 w 4519987"/>
                    <a:gd name="connsiteY70" fmla="*/ 3162300 h 4476750"/>
                    <a:gd name="connsiteX71" fmla="*/ 221002 w 4519987"/>
                    <a:gd name="connsiteY71" fmla="*/ 3105150 h 4476750"/>
                    <a:gd name="connsiteX72" fmla="*/ 173377 w 4519987"/>
                    <a:gd name="connsiteY72" fmla="*/ 3019425 h 4476750"/>
                    <a:gd name="connsiteX73" fmla="*/ 144802 w 4519987"/>
                    <a:gd name="connsiteY73" fmla="*/ 2924175 h 4476750"/>
                    <a:gd name="connsiteX74" fmla="*/ 68602 w 4519987"/>
                    <a:gd name="connsiteY74" fmla="*/ 2724150 h 4476750"/>
                    <a:gd name="connsiteX75" fmla="*/ 49552 w 4519987"/>
                    <a:gd name="connsiteY75" fmla="*/ 2638425 h 4476750"/>
                    <a:gd name="connsiteX76" fmla="*/ 40027 w 4519987"/>
                    <a:gd name="connsiteY76" fmla="*/ 2562225 h 4476750"/>
                    <a:gd name="connsiteX77" fmla="*/ 30502 w 4519987"/>
                    <a:gd name="connsiteY77" fmla="*/ 2514600 h 4476750"/>
                    <a:gd name="connsiteX78" fmla="*/ 11452 w 4519987"/>
                    <a:gd name="connsiteY78" fmla="*/ 2400300 h 4476750"/>
                    <a:gd name="connsiteX79" fmla="*/ 20977 w 4519987"/>
                    <a:gd name="connsiteY79" fmla="*/ 1905000 h 4476750"/>
                    <a:gd name="connsiteX80" fmla="*/ 30502 w 4519987"/>
                    <a:gd name="connsiteY80" fmla="*/ 1838325 h 4476750"/>
                    <a:gd name="connsiteX81" fmla="*/ 49552 w 4519987"/>
                    <a:gd name="connsiteY81" fmla="*/ 1781175 h 4476750"/>
                    <a:gd name="connsiteX82" fmla="*/ 59077 w 4519987"/>
                    <a:gd name="connsiteY82" fmla="*/ 1743075 h 4476750"/>
                    <a:gd name="connsiteX83" fmla="*/ 78127 w 4519987"/>
                    <a:gd name="connsiteY83" fmla="*/ 1685925 h 4476750"/>
                    <a:gd name="connsiteX84" fmla="*/ 87652 w 4519987"/>
                    <a:gd name="connsiteY84" fmla="*/ 1638300 h 4476750"/>
                    <a:gd name="connsiteX85" fmla="*/ 106702 w 4519987"/>
                    <a:gd name="connsiteY85" fmla="*/ 1590675 h 4476750"/>
                    <a:gd name="connsiteX86" fmla="*/ 135277 w 4519987"/>
                    <a:gd name="connsiteY86" fmla="*/ 1504950 h 4476750"/>
                    <a:gd name="connsiteX87" fmla="*/ 154327 w 4519987"/>
                    <a:gd name="connsiteY87" fmla="*/ 1419225 h 4476750"/>
                    <a:gd name="connsiteX88" fmla="*/ 230527 w 4519987"/>
                    <a:gd name="connsiteY88" fmla="*/ 1276350 h 4476750"/>
                    <a:gd name="connsiteX89" fmla="*/ 240052 w 4519987"/>
                    <a:gd name="connsiteY89" fmla="*/ 1247775 h 4476750"/>
                    <a:gd name="connsiteX90" fmla="*/ 268627 w 4519987"/>
                    <a:gd name="connsiteY90" fmla="*/ 1200150 h 4476750"/>
                    <a:gd name="connsiteX91" fmla="*/ 287677 w 4519987"/>
                    <a:gd name="connsiteY91" fmla="*/ 1152525 h 4476750"/>
                    <a:gd name="connsiteX92" fmla="*/ 316252 w 4519987"/>
                    <a:gd name="connsiteY92" fmla="*/ 1114425 h 4476750"/>
                    <a:gd name="connsiteX93" fmla="*/ 363877 w 4519987"/>
                    <a:gd name="connsiteY93" fmla="*/ 1038225 h 4476750"/>
                    <a:gd name="connsiteX94" fmla="*/ 382927 w 4519987"/>
                    <a:gd name="connsiteY94" fmla="*/ 1009650 h 4476750"/>
                    <a:gd name="connsiteX95" fmla="*/ 440077 w 4519987"/>
                    <a:gd name="connsiteY95" fmla="*/ 904875 h 4476750"/>
                    <a:gd name="connsiteX96" fmla="*/ 478177 w 4519987"/>
                    <a:gd name="connsiteY96" fmla="*/ 857250 h 4476750"/>
                    <a:gd name="connsiteX97" fmla="*/ 497227 w 4519987"/>
                    <a:gd name="connsiteY97" fmla="*/ 828675 h 4476750"/>
                    <a:gd name="connsiteX98" fmla="*/ 535327 w 4519987"/>
                    <a:gd name="connsiteY98" fmla="*/ 800100 h 4476750"/>
                    <a:gd name="connsiteX99" fmla="*/ 602002 w 4519987"/>
                    <a:gd name="connsiteY99" fmla="*/ 733425 h 4476750"/>
                    <a:gd name="connsiteX100" fmla="*/ 668677 w 4519987"/>
                    <a:gd name="connsiteY100" fmla="*/ 676275 h 4476750"/>
                    <a:gd name="connsiteX101" fmla="*/ 697252 w 4519987"/>
                    <a:gd name="connsiteY101" fmla="*/ 657225 h 4476750"/>
                    <a:gd name="connsiteX102" fmla="*/ 840127 w 4519987"/>
                    <a:gd name="connsiteY102" fmla="*/ 533400 h 4476750"/>
                    <a:gd name="connsiteX103" fmla="*/ 887752 w 4519987"/>
                    <a:gd name="connsiteY103" fmla="*/ 504825 h 4476750"/>
                    <a:gd name="connsiteX104" fmla="*/ 1167152 w 4519987"/>
                    <a:gd name="connsiteY104" fmla="*/ 311150 h 4476750"/>
                    <a:gd name="connsiteX105" fmla="*/ 1268752 w 4519987"/>
                    <a:gd name="connsiteY105" fmla="*/ 285750 h 4476750"/>
                    <a:gd name="connsiteX106" fmla="*/ 1411627 w 4519987"/>
                    <a:gd name="connsiteY106" fmla="*/ 190500 h 4476750"/>
                    <a:gd name="connsiteX107" fmla="*/ 1449727 w 4519987"/>
                    <a:gd name="connsiteY107" fmla="*/ 161925 h 4476750"/>
                    <a:gd name="connsiteX108" fmla="*/ 1525927 w 4519987"/>
                    <a:gd name="connsiteY108" fmla="*/ 152400 h 4476750"/>
                    <a:gd name="connsiteX109" fmla="*/ 1583077 w 4519987"/>
                    <a:gd name="connsiteY109" fmla="*/ 142875 h 4476750"/>
                    <a:gd name="connsiteX110" fmla="*/ 1716427 w 4519987"/>
                    <a:gd name="connsiteY110" fmla="*/ 123825 h 4476750"/>
                    <a:gd name="connsiteX111" fmla="*/ 1811677 w 4519987"/>
                    <a:gd name="connsiteY111" fmla="*/ 114300 h 4476750"/>
                    <a:gd name="connsiteX112" fmla="*/ 1859302 w 4519987"/>
                    <a:gd name="connsiteY112" fmla="*/ 104775 h 4476750"/>
                    <a:gd name="connsiteX113" fmla="*/ 1916452 w 4519987"/>
                    <a:gd name="connsiteY113" fmla="*/ 95250 h 4476750"/>
                    <a:gd name="connsiteX114" fmla="*/ 2030752 w 4519987"/>
                    <a:gd name="connsiteY114" fmla="*/ 66675 h 4476750"/>
                    <a:gd name="connsiteX115" fmla="*/ 2097427 w 4519987"/>
                    <a:gd name="connsiteY115" fmla="*/ 47625 h 4476750"/>
                    <a:gd name="connsiteX116" fmla="*/ 2164102 w 4519987"/>
                    <a:gd name="connsiteY116" fmla="*/ 38100 h 4476750"/>
                    <a:gd name="connsiteX117" fmla="*/ 2392702 w 4519987"/>
                    <a:gd name="connsiteY117" fmla="*/ 28575 h 4476750"/>
                    <a:gd name="connsiteX0" fmla="*/ 2297452 w 4519987"/>
                    <a:gd name="connsiteY0" fmla="*/ 0 h 4457700"/>
                    <a:gd name="connsiteX1" fmla="*/ 2421277 w 4519987"/>
                    <a:gd name="connsiteY1" fmla="*/ 28575 h 4457700"/>
                    <a:gd name="connsiteX2" fmla="*/ 2497477 w 4519987"/>
                    <a:gd name="connsiteY2" fmla="*/ 47625 h 4457700"/>
                    <a:gd name="connsiteX3" fmla="*/ 2754652 w 4519987"/>
                    <a:gd name="connsiteY3" fmla="*/ 66675 h 4457700"/>
                    <a:gd name="connsiteX4" fmla="*/ 2830852 w 4519987"/>
                    <a:gd name="connsiteY4" fmla="*/ 76200 h 4457700"/>
                    <a:gd name="connsiteX5" fmla="*/ 2916577 w 4519987"/>
                    <a:gd name="connsiteY5" fmla="*/ 85725 h 4457700"/>
                    <a:gd name="connsiteX6" fmla="*/ 2973727 w 4519987"/>
                    <a:gd name="connsiteY6" fmla="*/ 114300 h 4457700"/>
                    <a:gd name="connsiteX7" fmla="*/ 3011827 w 4519987"/>
                    <a:gd name="connsiteY7" fmla="*/ 123825 h 4457700"/>
                    <a:gd name="connsiteX8" fmla="*/ 3135652 w 4519987"/>
                    <a:gd name="connsiteY8" fmla="*/ 171450 h 4457700"/>
                    <a:gd name="connsiteX9" fmla="*/ 3173752 w 4519987"/>
                    <a:gd name="connsiteY9" fmla="*/ 190500 h 4457700"/>
                    <a:gd name="connsiteX10" fmla="*/ 3240427 w 4519987"/>
                    <a:gd name="connsiteY10" fmla="*/ 228600 h 4457700"/>
                    <a:gd name="connsiteX11" fmla="*/ 3269002 w 4519987"/>
                    <a:gd name="connsiteY11" fmla="*/ 238125 h 4457700"/>
                    <a:gd name="connsiteX12" fmla="*/ 3297577 w 4519987"/>
                    <a:gd name="connsiteY12" fmla="*/ 257175 h 4457700"/>
                    <a:gd name="connsiteX13" fmla="*/ 3326152 w 4519987"/>
                    <a:gd name="connsiteY13" fmla="*/ 266700 h 4457700"/>
                    <a:gd name="connsiteX14" fmla="*/ 3354727 w 4519987"/>
                    <a:gd name="connsiteY14" fmla="*/ 285750 h 4457700"/>
                    <a:gd name="connsiteX15" fmla="*/ 3421402 w 4519987"/>
                    <a:gd name="connsiteY15" fmla="*/ 323850 h 4457700"/>
                    <a:gd name="connsiteX16" fmla="*/ 3469027 w 4519987"/>
                    <a:gd name="connsiteY16" fmla="*/ 361950 h 4457700"/>
                    <a:gd name="connsiteX17" fmla="*/ 3516652 w 4519987"/>
                    <a:gd name="connsiteY17" fmla="*/ 390525 h 4457700"/>
                    <a:gd name="connsiteX18" fmla="*/ 3630952 w 4519987"/>
                    <a:gd name="connsiteY18" fmla="*/ 485775 h 4457700"/>
                    <a:gd name="connsiteX19" fmla="*/ 3745252 w 4519987"/>
                    <a:gd name="connsiteY19" fmla="*/ 542925 h 4457700"/>
                    <a:gd name="connsiteX20" fmla="*/ 3811927 w 4519987"/>
                    <a:gd name="connsiteY20" fmla="*/ 581025 h 4457700"/>
                    <a:gd name="connsiteX21" fmla="*/ 4027827 w 4519987"/>
                    <a:gd name="connsiteY21" fmla="*/ 819150 h 4457700"/>
                    <a:gd name="connsiteX22" fmla="*/ 4164352 w 4519987"/>
                    <a:gd name="connsiteY22" fmla="*/ 990600 h 4457700"/>
                    <a:gd name="connsiteX23" fmla="*/ 4250077 w 4519987"/>
                    <a:gd name="connsiteY23" fmla="*/ 1143000 h 4457700"/>
                    <a:gd name="connsiteX24" fmla="*/ 4307227 w 4519987"/>
                    <a:gd name="connsiteY24" fmla="*/ 1266825 h 4457700"/>
                    <a:gd name="connsiteX25" fmla="*/ 4345327 w 4519987"/>
                    <a:gd name="connsiteY25" fmla="*/ 1362075 h 4457700"/>
                    <a:gd name="connsiteX26" fmla="*/ 4392952 w 4519987"/>
                    <a:gd name="connsiteY26" fmla="*/ 1552575 h 4457700"/>
                    <a:gd name="connsiteX27" fmla="*/ 4431052 w 4519987"/>
                    <a:gd name="connsiteY27" fmla="*/ 1685925 h 4457700"/>
                    <a:gd name="connsiteX28" fmla="*/ 4519952 w 4519987"/>
                    <a:gd name="connsiteY28" fmla="*/ 2181225 h 4457700"/>
                    <a:gd name="connsiteX29" fmla="*/ 4446927 w 4519987"/>
                    <a:gd name="connsiteY29" fmla="*/ 2768600 h 4457700"/>
                    <a:gd name="connsiteX30" fmla="*/ 4383427 w 4519987"/>
                    <a:gd name="connsiteY30" fmla="*/ 2990850 h 4457700"/>
                    <a:gd name="connsiteX31" fmla="*/ 4278652 w 4519987"/>
                    <a:gd name="connsiteY31" fmla="*/ 3248025 h 4457700"/>
                    <a:gd name="connsiteX32" fmla="*/ 4183402 w 4519987"/>
                    <a:gd name="connsiteY32" fmla="*/ 3400425 h 4457700"/>
                    <a:gd name="connsiteX33" fmla="*/ 4059577 w 4519987"/>
                    <a:gd name="connsiteY33" fmla="*/ 3533775 h 4457700"/>
                    <a:gd name="connsiteX34" fmla="*/ 3954802 w 4519987"/>
                    <a:gd name="connsiteY34" fmla="*/ 3648075 h 4457700"/>
                    <a:gd name="connsiteX35" fmla="*/ 3659527 w 4519987"/>
                    <a:gd name="connsiteY35" fmla="*/ 3971925 h 4457700"/>
                    <a:gd name="connsiteX36" fmla="*/ 3516652 w 4519987"/>
                    <a:gd name="connsiteY36" fmla="*/ 4083050 h 4457700"/>
                    <a:gd name="connsiteX37" fmla="*/ 3221377 w 4519987"/>
                    <a:gd name="connsiteY37" fmla="*/ 4222750 h 4457700"/>
                    <a:gd name="connsiteX38" fmla="*/ 3068977 w 4519987"/>
                    <a:gd name="connsiteY38" fmla="*/ 4286250 h 4457700"/>
                    <a:gd name="connsiteX39" fmla="*/ 2935627 w 4519987"/>
                    <a:gd name="connsiteY39" fmla="*/ 4333875 h 4457700"/>
                    <a:gd name="connsiteX40" fmla="*/ 2811802 w 4519987"/>
                    <a:gd name="connsiteY40" fmla="*/ 4371975 h 4457700"/>
                    <a:gd name="connsiteX41" fmla="*/ 2580027 w 4519987"/>
                    <a:gd name="connsiteY41" fmla="*/ 4391025 h 4457700"/>
                    <a:gd name="connsiteX42" fmla="*/ 2202202 w 4519987"/>
                    <a:gd name="connsiteY42" fmla="*/ 4457700 h 4457700"/>
                    <a:gd name="connsiteX43" fmla="*/ 2126002 w 4519987"/>
                    <a:gd name="connsiteY43" fmla="*/ 4429125 h 4457700"/>
                    <a:gd name="connsiteX44" fmla="*/ 1935502 w 4519987"/>
                    <a:gd name="connsiteY44" fmla="*/ 4400550 h 4457700"/>
                    <a:gd name="connsiteX45" fmla="*/ 1821202 w 4519987"/>
                    <a:gd name="connsiteY45" fmla="*/ 4371975 h 4457700"/>
                    <a:gd name="connsiteX46" fmla="*/ 1754527 w 4519987"/>
                    <a:gd name="connsiteY46" fmla="*/ 4352925 h 4457700"/>
                    <a:gd name="connsiteX47" fmla="*/ 1687852 w 4519987"/>
                    <a:gd name="connsiteY47" fmla="*/ 4343400 h 4457700"/>
                    <a:gd name="connsiteX48" fmla="*/ 1573552 w 4519987"/>
                    <a:gd name="connsiteY48" fmla="*/ 4305300 h 4457700"/>
                    <a:gd name="connsiteX49" fmla="*/ 1402102 w 4519987"/>
                    <a:gd name="connsiteY49" fmla="*/ 4276725 h 4457700"/>
                    <a:gd name="connsiteX50" fmla="*/ 1287802 w 4519987"/>
                    <a:gd name="connsiteY50" fmla="*/ 4229100 h 4457700"/>
                    <a:gd name="connsiteX51" fmla="*/ 1221127 w 4519987"/>
                    <a:gd name="connsiteY51" fmla="*/ 4200525 h 4457700"/>
                    <a:gd name="connsiteX52" fmla="*/ 1144927 w 4519987"/>
                    <a:gd name="connsiteY52" fmla="*/ 4171950 h 4457700"/>
                    <a:gd name="connsiteX53" fmla="*/ 1087777 w 4519987"/>
                    <a:gd name="connsiteY53" fmla="*/ 4143375 h 4457700"/>
                    <a:gd name="connsiteX54" fmla="*/ 1030627 w 4519987"/>
                    <a:gd name="connsiteY54" fmla="*/ 4124325 h 4457700"/>
                    <a:gd name="connsiteX55" fmla="*/ 925852 w 4519987"/>
                    <a:gd name="connsiteY55" fmla="*/ 4067175 h 4457700"/>
                    <a:gd name="connsiteX56" fmla="*/ 830602 w 4519987"/>
                    <a:gd name="connsiteY56" fmla="*/ 3981450 h 4457700"/>
                    <a:gd name="connsiteX57" fmla="*/ 763927 w 4519987"/>
                    <a:gd name="connsiteY57" fmla="*/ 3914775 h 4457700"/>
                    <a:gd name="connsiteX58" fmla="*/ 725827 w 4519987"/>
                    <a:gd name="connsiteY58" fmla="*/ 3876675 h 4457700"/>
                    <a:gd name="connsiteX59" fmla="*/ 697252 w 4519987"/>
                    <a:gd name="connsiteY59" fmla="*/ 3838575 h 4457700"/>
                    <a:gd name="connsiteX60" fmla="*/ 640102 w 4519987"/>
                    <a:gd name="connsiteY60" fmla="*/ 3781425 h 4457700"/>
                    <a:gd name="connsiteX61" fmla="*/ 611527 w 4519987"/>
                    <a:gd name="connsiteY61" fmla="*/ 3733800 h 4457700"/>
                    <a:gd name="connsiteX62" fmla="*/ 554377 w 4519987"/>
                    <a:gd name="connsiteY62" fmla="*/ 3657600 h 4457700"/>
                    <a:gd name="connsiteX63" fmla="*/ 525802 w 4519987"/>
                    <a:gd name="connsiteY63" fmla="*/ 3609975 h 4457700"/>
                    <a:gd name="connsiteX64" fmla="*/ 497227 w 4519987"/>
                    <a:gd name="connsiteY64" fmla="*/ 3552825 h 4457700"/>
                    <a:gd name="connsiteX65" fmla="*/ 440077 w 4519987"/>
                    <a:gd name="connsiteY65" fmla="*/ 3495675 h 4457700"/>
                    <a:gd name="connsiteX66" fmla="*/ 411502 w 4519987"/>
                    <a:gd name="connsiteY66" fmla="*/ 3448050 h 4457700"/>
                    <a:gd name="connsiteX67" fmla="*/ 278152 w 4519987"/>
                    <a:gd name="connsiteY67" fmla="*/ 3257550 h 4457700"/>
                    <a:gd name="connsiteX68" fmla="*/ 249577 w 4519987"/>
                    <a:gd name="connsiteY68" fmla="*/ 3200400 h 4457700"/>
                    <a:gd name="connsiteX69" fmla="*/ 240052 w 4519987"/>
                    <a:gd name="connsiteY69" fmla="*/ 3162300 h 4457700"/>
                    <a:gd name="connsiteX70" fmla="*/ 221002 w 4519987"/>
                    <a:gd name="connsiteY70" fmla="*/ 3105150 h 4457700"/>
                    <a:gd name="connsiteX71" fmla="*/ 173377 w 4519987"/>
                    <a:gd name="connsiteY71" fmla="*/ 3019425 h 4457700"/>
                    <a:gd name="connsiteX72" fmla="*/ 144802 w 4519987"/>
                    <a:gd name="connsiteY72" fmla="*/ 2924175 h 4457700"/>
                    <a:gd name="connsiteX73" fmla="*/ 68602 w 4519987"/>
                    <a:gd name="connsiteY73" fmla="*/ 2724150 h 4457700"/>
                    <a:gd name="connsiteX74" fmla="*/ 49552 w 4519987"/>
                    <a:gd name="connsiteY74" fmla="*/ 2638425 h 4457700"/>
                    <a:gd name="connsiteX75" fmla="*/ 40027 w 4519987"/>
                    <a:gd name="connsiteY75" fmla="*/ 2562225 h 4457700"/>
                    <a:gd name="connsiteX76" fmla="*/ 30502 w 4519987"/>
                    <a:gd name="connsiteY76" fmla="*/ 2514600 h 4457700"/>
                    <a:gd name="connsiteX77" fmla="*/ 11452 w 4519987"/>
                    <a:gd name="connsiteY77" fmla="*/ 2400300 h 4457700"/>
                    <a:gd name="connsiteX78" fmla="*/ 20977 w 4519987"/>
                    <a:gd name="connsiteY78" fmla="*/ 1905000 h 4457700"/>
                    <a:gd name="connsiteX79" fmla="*/ 30502 w 4519987"/>
                    <a:gd name="connsiteY79" fmla="*/ 1838325 h 4457700"/>
                    <a:gd name="connsiteX80" fmla="*/ 49552 w 4519987"/>
                    <a:gd name="connsiteY80" fmla="*/ 1781175 h 4457700"/>
                    <a:gd name="connsiteX81" fmla="*/ 59077 w 4519987"/>
                    <a:gd name="connsiteY81" fmla="*/ 1743075 h 4457700"/>
                    <a:gd name="connsiteX82" fmla="*/ 78127 w 4519987"/>
                    <a:gd name="connsiteY82" fmla="*/ 1685925 h 4457700"/>
                    <a:gd name="connsiteX83" fmla="*/ 87652 w 4519987"/>
                    <a:gd name="connsiteY83" fmla="*/ 1638300 h 4457700"/>
                    <a:gd name="connsiteX84" fmla="*/ 106702 w 4519987"/>
                    <a:gd name="connsiteY84" fmla="*/ 1590675 h 4457700"/>
                    <a:gd name="connsiteX85" fmla="*/ 135277 w 4519987"/>
                    <a:gd name="connsiteY85" fmla="*/ 1504950 h 4457700"/>
                    <a:gd name="connsiteX86" fmla="*/ 154327 w 4519987"/>
                    <a:gd name="connsiteY86" fmla="*/ 1419225 h 4457700"/>
                    <a:gd name="connsiteX87" fmla="*/ 230527 w 4519987"/>
                    <a:gd name="connsiteY87" fmla="*/ 1276350 h 4457700"/>
                    <a:gd name="connsiteX88" fmla="*/ 240052 w 4519987"/>
                    <a:gd name="connsiteY88" fmla="*/ 1247775 h 4457700"/>
                    <a:gd name="connsiteX89" fmla="*/ 268627 w 4519987"/>
                    <a:gd name="connsiteY89" fmla="*/ 1200150 h 4457700"/>
                    <a:gd name="connsiteX90" fmla="*/ 287677 w 4519987"/>
                    <a:gd name="connsiteY90" fmla="*/ 1152525 h 4457700"/>
                    <a:gd name="connsiteX91" fmla="*/ 316252 w 4519987"/>
                    <a:gd name="connsiteY91" fmla="*/ 1114425 h 4457700"/>
                    <a:gd name="connsiteX92" fmla="*/ 363877 w 4519987"/>
                    <a:gd name="connsiteY92" fmla="*/ 1038225 h 4457700"/>
                    <a:gd name="connsiteX93" fmla="*/ 382927 w 4519987"/>
                    <a:gd name="connsiteY93" fmla="*/ 1009650 h 4457700"/>
                    <a:gd name="connsiteX94" fmla="*/ 440077 w 4519987"/>
                    <a:gd name="connsiteY94" fmla="*/ 904875 h 4457700"/>
                    <a:gd name="connsiteX95" fmla="*/ 478177 w 4519987"/>
                    <a:gd name="connsiteY95" fmla="*/ 857250 h 4457700"/>
                    <a:gd name="connsiteX96" fmla="*/ 497227 w 4519987"/>
                    <a:gd name="connsiteY96" fmla="*/ 828675 h 4457700"/>
                    <a:gd name="connsiteX97" fmla="*/ 535327 w 4519987"/>
                    <a:gd name="connsiteY97" fmla="*/ 800100 h 4457700"/>
                    <a:gd name="connsiteX98" fmla="*/ 602002 w 4519987"/>
                    <a:gd name="connsiteY98" fmla="*/ 733425 h 4457700"/>
                    <a:gd name="connsiteX99" fmla="*/ 668677 w 4519987"/>
                    <a:gd name="connsiteY99" fmla="*/ 676275 h 4457700"/>
                    <a:gd name="connsiteX100" fmla="*/ 697252 w 4519987"/>
                    <a:gd name="connsiteY100" fmla="*/ 657225 h 4457700"/>
                    <a:gd name="connsiteX101" fmla="*/ 840127 w 4519987"/>
                    <a:gd name="connsiteY101" fmla="*/ 533400 h 4457700"/>
                    <a:gd name="connsiteX102" fmla="*/ 887752 w 4519987"/>
                    <a:gd name="connsiteY102" fmla="*/ 504825 h 4457700"/>
                    <a:gd name="connsiteX103" fmla="*/ 1167152 w 4519987"/>
                    <a:gd name="connsiteY103" fmla="*/ 311150 h 4457700"/>
                    <a:gd name="connsiteX104" fmla="*/ 1268752 w 4519987"/>
                    <a:gd name="connsiteY104" fmla="*/ 285750 h 4457700"/>
                    <a:gd name="connsiteX105" fmla="*/ 1411627 w 4519987"/>
                    <a:gd name="connsiteY105" fmla="*/ 190500 h 4457700"/>
                    <a:gd name="connsiteX106" fmla="*/ 1449727 w 4519987"/>
                    <a:gd name="connsiteY106" fmla="*/ 161925 h 4457700"/>
                    <a:gd name="connsiteX107" fmla="*/ 1525927 w 4519987"/>
                    <a:gd name="connsiteY107" fmla="*/ 152400 h 4457700"/>
                    <a:gd name="connsiteX108" fmla="*/ 1583077 w 4519987"/>
                    <a:gd name="connsiteY108" fmla="*/ 142875 h 4457700"/>
                    <a:gd name="connsiteX109" fmla="*/ 1716427 w 4519987"/>
                    <a:gd name="connsiteY109" fmla="*/ 123825 h 4457700"/>
                    <a:gd name="connsiteX110" fmla="*/ 1811677 w 4519987"/>
                    <a:gd name="connsiteY110" fmla="*/ 114300 h 4457700"/>
                    <a:gd name="connsiteX111" fmla="*/ 1859302 w 4519987"/>
                    <a:gd name="connsiteY111" fmla="*/ 104775 h 4457700"/>
                    <a:gd name="connsiteX112" fmla="*/ 1916452 w 4519987"/>
                    <a:gd name="connsiteY112" fmla="*/ 95250 h 4457700"/>
                    <a:gd name="connsiteX113" fmla="*/ 2030752 w 4519987"/>
                    <a:gd name="connsiteY113" fmla="*/ 66675 h 4457700"/>
                    <a:gd name="connsiteX114" fmla="*/ 2097427 w 4519987"/>
                    <a:gd name="connsiteY114" fmla="*/ 47625 h 4457700"/>
                    <a:gd name="connsiteX115" fmla="*/ 2164102 w 4519987"/>
                    <a:gd name="connsiteY115" fmla="*/ 38100 h 4457700"/>
                    <a:gd name="connsiteX116" fmla="*/ 2392702 w 4519987"/>
                    <a:gd name="connsiteY116" fmla="*/ 28575 h 4457700"/>
                    <a:gd name="connsiteX0" fmla="*/ 2297452 w 4519987"/>
                    <a:gd name="connsiteY0" fmla="*/ 0 h 4429260"/>
                    <a:gd name="connsiteX1" fmla="*/ 2421277 w 4519987"/>
                    <a:gd name="connsiteY1" fmla="*/ 28575 h 4429260"/>
                    <a:gd name="connsiteX2" fmla="*/ 2497477 w 4519987"/>
                    <a:gd name="connsiteY2" fmla="*/ 47625 h 4429260"/>
                    <a:gd name="connsiteX3" fmla="*/ 2754652 w 4519987"/>
                    <a:gd name="connsiteY3" fmla="*/ 66675 h 4429260"/>
                    <a:gd name="connsiteX4" fmla="*/ 2830852 w 4519987"/>
                    <a:gd name="connsiteY4" fmla="*/ 76200 h 4429260"/>
                    <a:gd name="connsiteX5" fmla="*/ 2916577 w 4519987"/>
                    <a:gd name="connsiteY5" fmla="*/ 85725 h 4429260"/>
                    <a:gd name="connsiteX6" fmla="*/ 2973727 w 4519987"/>
                    <a:gd name="connsiteY6" fmla="*/ 114300 h 4429260"/>
                    <a:gd name="connsiteX7" fmla="*/ 3011827 w 4519987"/>
                    <a:gd name="connsiteY7" fmla="*/ 123825 h 4429260"/>
                    <a:gd name="connsiteX8" fmla="*/ 3135652 w 4519987"/>
                    <a:gd name="connsiteY8" fmla="*/ 171450 h 4429260"/>
                    <a:gd name="connsiteX9" fmla="*/ 3173752 w 4519987"/>
                    <a:gd name="connsiteY9" fmla="*/ 190500 h 4429260"/>
                    <a:gd name="connsiteX10" fmla="*/ 3240427 w 4519987"/>
                    <a:gd name="connsiteY10" fmla="*/ 228600 h 4429260"/>
                    <a:gd name="connsiteX11" fmla="*/ 3269002 w 4519987"/>
                    <a:gd name="connsiteY11" fmla="*/ 238125 h 4429260"/>
                    <a:gd name="connsiteX12" fmla="*/ 3297577 w 4519987"/>
                    <a:gd name="connsiteY12" fmla="*/ 257175 h 4429260"/>
                    <a:gd name="connsiteX13" fmla="*/ 3326152 w 4519987"/>
                    <a:gd name="connsiteY13" fmla="*/ 266700 h 4429260"/>
                    <a:gd name="connsiteX14" fmla="*/ 3354727 w 4519987"/>
                    <a:gd name="connsiteY14" fmla="*/ 285750 h 4429260"/>
                    <a:gd name="connsiteX15" fmla="*/ 3421402 w 4519987"/>
                    <a:gd name="connsiteY15" fmla="*/ 323850 h 4429260"/>
                    <a:gd name="connsiteX16" fmla="*/ 3469027 w 4519987"/>
                    <a:gd name="connsiteY16" fmla="*/ 361950 h 4429260"/>
                    <a:gd name="connsiteX17" fmla="*/ 3516652 w 4519987"/>
                    <a:gd name="connsiteY17" fmla="*/ 390525 h 4429260"/>
                    <a:gd name="connsiteX18" fmla="*/ 3630952 w 4519987"/>
                    <a:gd name="connsiteY18" fmla="*/ 485775 h 4429260"/>
                    <a:gd name="connsiteX19" fmla="*/ 3745252 w 4519987"/>
                    <a:gd name="connsiteY19" fmla="*/ 542925 h 4429260"/>
                    <a:gd name="connsiteX20" fmla="*/ 3811927 w 4519987"/>
                    <a:gd name="connsiteY20" fmla="*/ 581025 h 4429260"/>
                    <a:gd name="connsiteX21" fmla="*/ 4027827 w 4519987"/>
                    <a:gd name="connsiteY21" fmla="*/ 819150 h 4429260"/>
                    <a:gd name="connsiteX22" fmla="*/ 4164352 w 4519987"/>
                    <a:gd name="connsiteY22" fmla="*/ 990600 h 4429260"/>
                    <a:gd name="connsiteX23" fmla="*/ 4250077 w 4519987"/>
                    <a:gd name="connsiteY23" fmla="*/ 1143000 h 4429260"/>
                    <a:gd name="connsiteX24" fmla="*/ 4307227 w 4519987"/>
                    <a:gd name="connsiteY24" fmla="*/ 1266825 h 4429260"/>
                    <a:gd name="connsiteX25" fmla="*/ 4345327 w 4519987"/>
                    <a:gd name="connsiteY25" fmla="*/ 1362075 h 4429260"/>
                    <a:gd name="connsiteX26" fmla="*/ 4392952 w 4519987"/>
                    <a:gd name="connsiteY26" fmla="*/ 1552575 h 4429260"/>
                    <a:gd name="connsiteX27" fmla="*/ 4431052 w 4519987"/>
                    <a:gd name="connsiteY27" fmla="*/ 1685925 h 4429260"/>
                    <a:gd name="connsiteX28" fmla="*/ 4519952 w 4519987"/>
                    <a:gd name="connsiteY28" fmla="*/ 2181225 h 4429260"/>
                    <a:gd name="connsiteX29" fmla="*/ 4446927 w 4519987"/>
                    <a:gd name="connsiteY29" fmla="*/ 2768600 h 4429260"/>
                    <a:gd name="connsiteX30" fmla="*/ 4383427 w 4519987"/>
                    <a:gd name="connsiteY30" fmla="*/ 2990850 h 4429260"/>
                    <a:gd name="connsiteX31" fmla="*/ 4278652 w 4519987"/>
                    <a:gd name="connsiteY31" fmla="*/ 3248025 h 4429260"/>
                    <a:gd name="connsiteX32" fmla="*/ 4183402 w 4519987"/>
                    <a:gd name="connsiteY32" fmla="*/ 3400425 h 4429260"/>
                    <a:gd name="connsiteX33" fmla="*/ 4059577 w 4519987"/>
                    <a:gd name="connsiteY33" fmla="*/ 3533775 h 4429260"/>
                    <a:gd name="connsiteX34" fmla="*/ 3954802 w 4519987"/>
                    <a:gd name="connsiteY34" fmla="*/ 3648075 h 4429260"/>
                    <a:gd name="connsiteX35" fmla="*/ 3659527 w 4519987"/>
                    <a:gd name="connsiteY35" fmla="*/ 3971925 h 4429260"/>
                    <a:gd name="connsiteX36" fmla="*/ 3516652 w 4519987"/>
                    <a:gd name="connsiteY36" fmla="*/ 4083050 h 4429260"/>
                    <a:gd name="connsiteX37" fmla="*/ 3221377 w 4519987"/>
                    <a:gd name="connsiteY37" fmla="*/ 4222750 h 4429260"/>
                    <a:gd name="connsiteX38" fmla="*/ 3068977 w 4519987"/>
                    <a:gd name="connsiteY38" fmla="*/ 4286250 h 4429260"/>
                    <a:gd name="connsiteX39" fmla="*/ 2935627 w 4519987"/>
                    <a:gd name="connsiteY39" fmla="*/ 4333875 h 4429260"/>
                    <a:gd name="connsiteX40" fmla="*/ 2811802 w 4519987"/>
                    <a:gd name="connsiteY40" fmla="*/ 4371975 h 4429260"/>
                    <a:gd name="connsiteX41" fmla="*/ 2580027 w 4519987"/>
                    <a:gd name="connsiteY41" fmla="*/ 4391025 h 4429260"/>
                    <a:gd name="connsiteX42" fmla="*/ 2126002 w 4519987"/>
                    <a:gd name="connsiteY42" fmla="*/ 4429125 h 4429260"/>
                    <a:gd name="connsiteX43" fmla="*/ 1935502 w 4519987"/>
                    <a:gd name="connsiteY43" fmla="*/ 4400550 h 4429260"/>
                    <a:gd name="connsiteX44" fmla="*/ 1821202 w 4519987"/>
                    <a:gd name="connsiteY44" fmla="*/ 4371975 h 4429260"/>
                    <a:gd name="connsiteX45" fmla="*/ 1754527 w 4519987"/>
                    <a:gd name="connsiteY45" fmla="*/ 4352925 h 4429260"/>
                    <a:gd name="connsiteX46" fmla="*/ 1687852 w 4519987"/>
                    <a:gd name="connsiteY46" fmla="*/ 4343400 h 4429260"/>
                    <a:gd name="connsiteX47" fmla="*/ 1573552 w 4519987"/>
                    <a:gd name="connsiteY47" fmla="*/ 4305300 h 4429260"/>
                    <a:gd name="connsiteX48" fmla="*/ 1402102 w 4519987"/>
                    <a:gd name="connsiteY48" fmla="*/ 4276725 h 4429260"/>
                    <a:gd name="connsiteX49" fmla="*/ 1287802 w 4519987"/>
                    <a:gd name="connsiteY49" fmla="*/ 4229100 h 4429260"/>
                    <a:gd name="connsiteX50" fmla="*/ 1221127 w 4519987"/>
                    <a:gd name="connsiteY50" fmla="*/ 4200525 h 4429260"/>
                    <a:gd name="connsiteX51" fmla="*/ 1144927 w 4519987"/>
                    <a:gd name="connsiteY51" fmla="*/ 4171950 h 4429260"/>
                    <a:gd name="connsiteX52" fmla="*/ 1087777 w 4519987"/>
                    <a:gd name="connsiteY52" fmla="*/ 4143375 h 4429260"/>
                    <a:gd name="connsiteX53" fmla="*/ 1030627 w 4519987"/>
                    <a:gd name="connsiteY53" fmla="*/ 4124325 h 4429260"/>
                    <a:gd name="connsiteX54" fmla="*/ 925852 w 4519987"/>
                    <a:gd name="connsiteY54" fmla="*/ 4067175 h 4429260"/>
                    <a:gd name="connsiteX55" fmla="*/ 830602 w 4519987"/>
                    <a:gd name="connsiteY55" fmla="*/ 3981450 h 4429260"/>
                    <a:gd name="connsiteX56" fmla="*/ 763927 w 4519987"/>
                    <a:gd name="connsiteY56" fmla="*/ 3914775 h 4429260"/>
                    <a:gd name="connsiteX57" fmla="*/ 725827 w 4519987"/>
                    <a:gd name="connsiteY57" fmla="*/ 3876675 h 4429260"/>
                    <a:gd name="connsiteX58" fmla="*/ 697252 w 4519987"/>
                    <a:gd name="connsiteY58" fmla="*/ 3838575 h 4429260"/>
                    <a:gd name="connsiteX59" fmla="*/ 640102 w 4519987"/>
                    <a:gd name="connsiteY59" fmla="*/ 3781425 h 4429260"/>
                    <a:gd name="connsiteX60" fmla="*/ 611527 w 4519987"/>
                    <a:gd name="connsiteY60" fmla="*/ 3733800 h 4429260"/>
                    <a:gd name="connsiteX61" fmla="*/ 554377 w 4519987"/>
                    <a:gd name="connsiteY61" fmla="*/ 3657600 h 4429260"/>
                    <a:gd name="connsiteX62" fmla="*/ 525802 w 4519987"/>
                    <a:gd name="connsiteY62" fmla="*/ 3609975 h 4429260"/>
                    <a:gd name="connsiteX63" fmla="*/ 497227 w 4519987"/>
                    <a:gd name="connsiteY63" fmla="*/ 3552825 h 4429260"/>
                    <a:gd name="connsiteX64" fmla="*/ 440077 w 4519987"/>
                    <a:gd name="connsiteY64" fmla="*/ 3495675 h 4429260"/>
                    <a:gd name="connsiteX65" fmla="*/ 411502 w 4519987"/>
                    <a:gd name="connsiteY65" fmla="*/ 3448050 h 4429260"/>
                    <a:gd name="connsiteX66" fmla="*/ 278152 w 4519987"/>
                    <a:gd name="connsiteY66" fmla="*/ 3257550 h 4429260"/>
                    <a:gd name="connsiteX67" fmla="*/ 249577 w 4519987"/>
                    <a:gd name="connsiteY67" fmla="*/ 3200400 h 4429260"/>
                    <a:gd name="connsiteX68" fmla="*/ 240052 w 4519987"/>
                    <a:gd name="connsiteY68" fmla="*/ 3162300 h 4429260"/>
                    <a:gd name="connsiteX69" fmla="*/ 221002 w 4519987"/>
                    <a:gd name="connsiteY69" fmla="*/ 3105150 h 4429260"/>
                    <a:gd name="connsiteX70" fmla="*/ 173377 w 4519987"/>
                    <a:gd name="connsiteY70" fmla="*/ 3019425 h 4429260"/>
                    <a:gd name="connsiteX71" fmla="*/ 144802 w 4519987"/>
                    <a:gd name="connsiteY71" fmla="*/ 2924175 h 4429260"/>
                    <a:gd name="connsiteX72" fmla="*/ 68602 w 4519987"/>
                    <a:gd name="connsiteY72" fmla="*/ 2724150 h 4429260"/>
                    <a:gd name="connsiteX73" fmla="*/ 49552 w 4519987"/>
                    <a:gd name="connsiteY73" fmla="*/ 2638425 h 4429260"/>
                    <a:gd name="connsiteX74" fmla="*/ 40027 w 4519987"/>
                    <a:gd name="connsiteY74" fmla="*/ 2562225 h 4429260"/>
                    <a:gd name="connsiteX75" fmla="*/ 30502 w 4519987"/>
                    <a:gd name="connsiteY75" fmla="*/ 2514600 h 4429260"/>
                    <a:gd name="connsiteX76" fmla="*/ 11452 w 4519987"/>
                    <a:gd name="connsiteY76" fmla="*/ 2400300 h 4429260"/>
                    <a:gd name="connsiteX77" fmla="*/ 20977 w 4519987"/>
                    <a:gd name="connsiteY77" fmla="*/ 1905000 h 4429260"/>
                    <a:gd name="connsiteX78" fmla="*/ 30502 w 4519987"/>
                    <a:gd name="connsiteY78" fmla="*/ 1838325 h 4429260"/>
                    <a:gd name="connsiteX79" fmla="*/ 49552 w 4519987"/>
                    <a:gd name="connsiteY79" fmla="*/ 1781175 h 4429260"/>
                    <a:gd name="connsiteX80" fmla="*/ 59077 w 4519987"/>
                    <a:gd name="connsiteY80" fmla="*/ 1743075 h 4429260"/>
                    <a:gd name="connsiteX81" fmla="*/ 78127 w 4519987"/>
                    <a:gd name="connsiteY81" fmla="*/ 1685925 h 4429260"/>
                    <a:gd name="connsiteX82" fmla="*/ 87652 w 4519987"/>
                    <a:gd name="connsiteY82" fmla="*/ 1638300 h 4429260"/>
                    <a:gd name="connsiteX83" fmla="*/ 106702 w 4519987"/>
                    <a:gd name="connsiteY83" fmla="*/ 1590675 h 4429260"/>
                    <a:gd name="connsiteX84" fmla="*/ 135277 w 4519987"/>
                    <a:gd name="connsiteY84" fmla="*/ 1504950 h 4429260"/>
                    <a:gd name="connsiteX85" fmla="*/ 154327 w 4519987"/>
                    <a:gd name="connsiteY85" fmla="*/ 1419225 h 4429260"/>
                    <a:gd name="connsiteX86" fmla="*/ 230527 w 4519987"/>
                    <a:gd name="connsiteY86" fmla="*/ 1276350 h 4429260"/>
                    <a:gd name="connsiteX87" fmla="*/ 240052 w 4519987"/>
                    <a:gd name="connsiteY87" fmla="*/ 1247775 h 4429260"/>
                    <a:gd name="connsiteX88" fmla="*/ 268627 w 4519987"/>
                    <a:gd name="connsiteY88" fmla="*/ 1200150 h 4429260"/>
                    <a:gd name="connsiteX89" fmla="*/ 287677 w 4519987"/>
                    <a:gd name="connsiteY89" fmla="*/ 1152525 h 4429260"/>
                    <a:gd name="connsiteX90" fmla="*/ 316252 w 4519987"/>
                    <a:gd name="connsiteY90" fmla="*/ 1114425 h 4429260"/>
                    <a:gd name="connsiteX91" fmla="*/ 363877 w 4519987"/>
                    <a:gd name="connsiteY91" fmla="*/ 1038225 h 4429260"/>
                    <a:gd name="connsiteX92" fmla="*/ 382927 w 4519987"/>
                    <a:gd name="connsiteY92" fmla="*/ 1009650 h 4429260"/>
                    <a:gd name="connsiteX93" fmla="*/ 440077 w 4519987"/>
                    <a:gd name="connsiteY93" fmla="*/ 904875 h 4429260"/>
                    <a:gd name="connsiteX94" fmla="*/ 478177 w 4519987"/>
                    <a:gd name="connsiteY94" fmla="*/ 857250 h 4429260"/>
                    <a:gd name="connsiteX95" fmla="*/ 497227 w 4519987"/>
                    <a:gd name="connsiteY95" fmla="*/ 828675 h 4429260"/>
                    <a:gd name="connsiteX96" fmla="*/ 535327 w 4519987"/>
                    <a:gd name="connsiteY96" fmla="*/ 800100 h 4429260"/>
                    <a:gd name="connsiteX97" fmla="*/ 602002 w 4519987"/>
                    <a:gd name="connsiteY97" fmla="*/ 733425 h 4429260"/>
                    <a:gd name="connsiteX98" fmla="*/ 668677 w 4519987"/>
                    <a:gd name="connsiteY98" fmla="*/ 676275 h 4429260"/>
                    <a:gd name="connsiteX99" fmla="*/ 697252 w 4519987"/>
                    <a:gd name="connsiteY99" fmla="*/ 657225 h 4429260"/>
                    <a:gd name="connsiteX100" fmla="*/ 840127 w 4519987"/>
                    <a:gd name="connsiteY100" fmla="*/ 533400 h 4429260"/>
                    <a:gd name="connsiteX101" fmla="*/ 887752 w 4519987"/>
                    <a:gd name="connsiteY101" fmla="*/ 504825 h 4429260"/>
                    <a:gd name="connsiteX102" fmla="*/ 1167152 w 4519987"/>
                    <a:gd name="connsiteY102" fmla="*/ 311150 h 4429260"/>
                    <a:gd name="connsiteX103" fmla="*/ 1268752 w 4519987"/>
                    <a:gd name="connsiteY103" fmla="*/ 285750 h 4429260"/>
                    <a:gd name="connsiteX104" fmla="*/ 1411627 w 4519987"/>
                    <a:gd name="connsiteY104" fmla="*/ 190500 h 4429260"/>
                    <a:gd name="connsiteX105" fmla="*/ 1449727 w 4519987"/>
                    <a:gd name="connsiteY105" fmla="*/ 161925 h 4429260"/>
                    <a:gd name="connsiteX106" fmla="*/ 1525927 w 4519987"/>
                    <a:gd name="connsiteY106" fmla="*/ 152400 h 4429260"/>
                    <a:gd name="connsiteX107" fmla="*/ 1583077 w 4519987"/>
                    <a:gd name="connsiteY107" fmla="*/ 142875 h 4429260"/>
                    <a:gd name="connsiteX108" fmla="*/ 1716427 w 4519987"/>
                    <a:gd name="connsiteY108" fmla="*/ 123825 h 4429260"/>
                    <a:gd name="connsiteX109" fmla="*/ 1811677 w 4519987"/>
                    <a:gd name="connsiteY109" fmla="*/ 114300 h 4429260"/>
                    <a:gd name="connsiteX110" fmla="*/ 1859302 w 4519987"/>
                    <a:gd name="connsiteY110" fmla="*/ 104775 h 4429260"/>
                    <a:gd name="connsiteX111" fmla="*/ 1916452 w 4519987"/>
                    <a:gd name="connsiteY111" fmla="*/ 95250 h 4429260"/>
                    <a:gd name="connsiteX112" fmla="*/ 2030752 w 4519987"/>
                    <a:gd name="connsiteY112" fmla="*/ 66675 h 4429260"/>
                    <a:gd name="connsiteX113" fmla="*/ 2097427 w 4519987"/>
                    <a:gd name="connsiteY113" fmla="*/ 47625 h 4429260"/>
                    <a:gd name="connsiteX114" fmla="*/ 2164102 w 4519987"/>
                    <a:gd name="connsiteY114" fmla="*/ 38100 h 4429260"/>
                    <a:gd name="connsiteX115" fmla="*/ 2392702 w 4519987"/>
                    <a:gd name="connsiteY115" fmla="*/ 28575 h 4429260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687852 w 4519987"/>
                    <a:gd name="connsiteY45" fmla="*/ 4343400 h 4429225"/>
                    <a:gd name="connsiteX46" fmla="*/ 1573552 w 4519987"/>
                    <a:gd name="connsiteY46" fmla="*/ 4305300 h 4429225"/>
                    <a:gd name="connsiteX47" fmla="*/ 1402102 w 4519987"/>
                    <a:gd name="connsiteY47" fmla="*/ 4276725 h 4429225"/>
                    <a:gd name="connsiteX48" fmla="*/ 1287802 w 4519987"/>
                    <a:gd name="connsiteY48" fmla="*/ 4229100 h 4429225"/>
                    <a:gd name="connsiteX49" fmla="*/ 1221127 w 4519987"/>
                    <a:gd name="connsiteY49" fmla="*/ 4200525 h 4429225"/>
                    <a:gd name="connsiteX50" fmla="*/ 1144927 w 4519987"/>
                    <a:gd name="connsiteY50" fmla="*/ 4171950 h 4429225"/>
                    <a:gd name="connsiteX51" fmla="*/ 1087777 w 4519987"/>
                    <a:gd name="connsiteY51" fmla="*/ 4143375 h 4429225"/>
                    <a:gd name="connsiteX52" fmla="*/ 1030627 w 4519987"/>
                    <a:gd name="connsiteY52" fmla="*/ 4124325 h 4429225"/>
                    <a:gd name="connsiteX53" fmla="*/ 925852 w 4519987"/>
                    <a:gd name="connsiteY53" fmla="*/ 4067175 h 4429225"/>
                    <a:gd name="connsiteX54" fmla="*/ 830602 w 4519987"/>
                    <a:gd name="connsiteY54" fmla="*/ 3981450 h 4429225"/>
                    <a:gd name="connsiteX55" fmla="*/ 763927 w 4519987"/>
                    <a:gd name="connsiteY55" fmla="*/ 3914775 h 4429225"/>
                    <a:gd name="connsiteX56" fmla="*/ 725827 w 4519987"/>
                    <a:gd name="connsiteY56" fmla="*/ 3876675 h 4429225"/>
                    <a:gd name="connsiteX57" fmla="*/ 697252 w 4519987"/>
                    <a:gd name="connsiteY57" fmla="*/ 3838575 h 4429225"/>
                    <a:gd name="connsiteX58" fmla="*/ 640102 w 4519987"/>
                    <a:gd name="connsiteY58" fmla="*/ 3781425 h 4429225"/>
                    <a:gd name="connsiteX59" fmla="*/ 611527 w 4519987"/>
                    <a:gd name="connsiteY59" fmla="*/ 3733800 h 4429225"/>
                    <a:gd name="connsiteX60" fmla="*/ 554377 w 4519987"/>
                    <a:gd name="connsiteY60" fmla="*/ 3657600 h 4429225"/>
                    <a:gd name="connsiteX61" fmla="*/ 525802 w 4519987"/>
                    <a:gd name="connsiteY61" fmla="*/ 3609975 h 4429225"/>
                    <a:gd name="connsiteX62" fmla="*/ 497227 w 4519987"/>
                    <a:gd name="connsiteY62" fmla="*/ 3552825 h 4429225"/>
                    <a:gd name="connsiteX63" fmla="*/ 440077 w 4519987"/>
                    <a:gd name="connsiteY63" fmla="*/ 3495675 h 4429225"/>
                    <a:gd name="connsiteX64" fmla="*/ 411502 w 4519987"/>
                    <a:gd name="connsiteY64" fmla="*/ 3448050 h 4429225"/>
                    <a:gd name="connsiteX65" fmla="*/ 278152 w 4519987"/>
                    <a:gd name="connsiteY65" fmla="*/ 3257550 h 4429225"/>
                    <a:gd name="connsiteX66" fmla="*/ 249577 w 4519987"/>
                    <a:gd name="connsiteY66" fmla="*/ 3200400 h 4429225"/>
                    <a:gd name="connsiteX67" fmla="*/ 240052 w 4519987"/>
                    <a:gd name="connsiteY67" fmla="*/ 3162300 h 4429225"/>
                    <a:gd name="connsiteX68" fmla="*/ 221002 w 4519987"/>
                    <a:gd name="connsiteY68" fmla="*/ 3105150 h 4429225"/>
                    <a:gd name="connsiteX69" fmla="*/ 173377 w 4519987"/>
                    <a:gd name="connsiteY69" fmla="*/ 3019425 h 4429225"/>
                    <a:gd name="connsiteX70" fmla="*/ 144802 w 4519987"/>
                    <a:gd name="connsiteY70" fmla="*/ 2924175 h 4429225"/>
                    <a:gd name="connsiteX71" fmla="*/ 68602 w 4519987"/>
                    <a:gd name="connsiteY71" fmla="*/ 2724150 h 4429225"/>
                    <a:gd name="connsiteX72" fmla="*/ 49552 w 4519987"/>
                    <a:gd name="connsiteY72" fmla="*/ 2638425 h 4429225"/>
                    <a:gd name="connsiteX73" fmla="*/ 40027 w 4519987"/>
                    <a:gd name="connsiteY73" fmla="*/ 2562225 h 4429225"/>
                    <a:gd name="connsiteX74" fmla="*/ 30502 w 4519987"/>
                    <a:gd name="connsiteY74" fmla="*/ 2514600 h 4429225"/>
                    <a:gd name="connsiteX75" fmla="*/ 11452 w 4519987"/>
                    <a:gd name="connsiteY75" fmla="*/ 2400300 h 4429225"/>
                    <a:gd name="connsiteX76" fmla="*/ 20977 w 4519987"/>
                    <a:gd name="connsiteY76" fmla="*/ 1905000 h 4429225"/>
                    <a:gd name="connsiteX77" fmla="*/ 30502 w 4519987"/>
                    <a:gd name="connsiteY77" fmla="*/ 1838325 h 4429225"/>
                    <a:gd name="connsiteX78" fmla="*/ 49552 w 4519987"/>
                    <a:gd name="connsiteY78" fmla="*/ 1781175 h 4429225"/>
                    <a:gd name="connsiteX79" fmla="*/ 59077 w 4519987"/>
                    <a:gd name="connsiteY79" fmla="*/ 1743075 h 4429225"/>
                    <a:gd name="connsiteX80" fmla="*/ 78127 w 4519987"/>
                    <a:gd name="connsiteY80" fmla="*/ 1685925 h 4429225"/>
                    <a:gd name="connsiteX81" fmla="*/ 87652 w 4519987"/>
                    <a:gd name="connsiteY81" fmla="*/ 1638300 h 4429225"/>
                    <a:gd name="connsiteX82" fmla="*/ 106702 w 4519987"/>
                    <a:gd name="connsiteY82" fmla="*/ 1590675 h 4429225"/>
                    <a:gd name="connsiteX83" fmla="*/ 135277 w 4519987"/>
                    <a:gd name="connsiteY83" fmla="*/ 1504950 h 4429225"/>
                    <a:gd name="connsiteX84" fmla="*/ 154327 w 4519987"/>
                    <a:gd name="connsiteY84" fmla="*/ 1419225 h 4429225"/>
                    <a:gd name="connsiteX85" fmla="*/ 230527 w 4519987"/>
                    <a:gd name="connsiteY85" fmla="*/ 1276350 h 4429225"/>
                    <a:gd name="connsiteX86" fmla="*/ 240052 w 4519987"/>
                    <a:gd name="connsiteY86" fmla="*/ 1247775 h 4429225"/>
                    <a:gd name="connsiteX87" fmla="*/ 268627 w 4519987"/>
                    <a:gd name="connsiteY87" fmla="*/ 1200150 h 4429225"/>
                    <a:gd name="connsiteX88" fmla="*/ 287677 w 4519987"/>
                    <a:gd name="connsiteY88" fmla="*/ 1152525 h 4429225"/>
                    <a:gd name="connsiteX89" fmla="*/ 316252 w 4519987"/>
                    <a:gd name="connsiteY89" fmla="*/ 1114425 h 4429225"/>
                    <a:gd name="connsiteX90" fmla="*/ 363877 w 4519987"/>
                    <a:gd name="connsiteY90" fmla="*/ 1038225 h 4429225"/>
                    <a:gd name="connsiteX91" fmla="*/ 382927 w 4519987"/>
                    <a:gd name="connsiteY91" fmla="*/ 1009650 h 4429225"/>
                    <a:gd name="connsiteX92" fmla="*/ 440077 w 4519987"/>
                    <a:gd name="connsiteY92" fmla="*/ 904875 h 4429225"/>
                    <a:gd name="connsiteX93" fmla="*/ 478177 w 4519987"/>
                    <a:gd name="connsiteY93" fmla="*/ 857250 h 4429225"/>
                    <a:gd name="connsiteX94" fmla="*/ 497227 w 4519987"/>
                    <a:gd name="connsiteY94" fmla="*/ 828675 h 4429225"/>
                    <a:gd name="connsiteX95" fmla="*/ 535327 w 4519987"/>
                    <a:gd name="connsiteY95" fmla="*/ 800100 h 4429225"/>
                    <a:gd name="connsiteX96" fmla="*/ 602002 w 4519987"/>
                    <a:gd name="connsiteY96" fmla="*/ 733425 h 4429225"/>
                    <a:gd name="connsiteX97" fmla="*/ 668677 w 4519987"/>
                    <a:gd name="connsiteY97" fmla="*/ 676275 h 4429225"/>
                    <a:gd name="connsiteX98" fmla="*/ 697252 w 4519987"/>
                    <a:gd name="connsiteY98" fmla="*/ 657225 h 4429225"/>
                    <a:gd name="connsiteX99" fmla="*/ 840127 w 4519987"/>
                    <a:gd name="connsiteY99" fmla="*/ 533400 h 4429225"/>
                    <a:gd name="connsiteX100" fmla="*/ 887752 w 4519987"/>
                    <a:gd name="connsiteY100" fmla="*/ 504825 h 4429225"/>
                    <a:gd name="connsiteX101" fmla="*/ 1167152 w 4519987"/>
                    <a:gd name="connsiteY101" fmla="*/ 311150 h 4429225"/>
                    <a:gd name="connsiteX102" fmla="*/ 1268752 w 4519987"/>
                    <a:gd name="connsiteY102" fmla="*/ 285750 h 4429225"/>
                    <a:gd name="connsiteX103" fmla="*/ 1411627 w 4519987"/>
                    <a:gd name="connsiteY103" fmla="*/ 190500 h 4429225"/>
                    <a:gd name="connsiteX104" fmla="*/ 1449727 w 4519987"/>
                    <a:gd name="connsiteY104" fmla="*/ 161925 h 4429225"/>
                    <a:gd name="connsiteX105" fmla="*/ 1525927 w 4519987"/>
                    <a:gd name="connsiteY105" fmla="*/ 152400 h 4429225"/>
                    <a:gd name="connsiteX106" fmla="*/ 1583077 w 4519987"/>
                    <a:gd name="connsiteY106" fmla="*/ 142875 h 4429225"/>
                    <a:gd name="connsiteX107" fmla="*/ 1716427 w 4519987"/>
                    <a:gd name="connsiteY107" fmla="*/ 123825 h 4429225"/>
                    <a:gd name="connsiteX108" fmla="*/ 1811677 w 4519987"/>
                    <a:gd name="connsiteY108" fmla="*/ 114300 h 4429225"/>
                    <a:gd name="connsiteX109" fmla="*/ 1859302 w 4519987"/>
                    <a:gd name="connsiteY109" fmla="*/ 104775 h 4429225"/>
                    <a:gd name="connsiteX110" fmla="*/ 1916452 w 4519987"/>
                    <a:gd name="connsiteY110" fmla="*/ 95250 h 4429225"/>
                    <a:gd name="connsiteX111" fmla="*/ 2030752 w 4519987"/>
                    <a:gd name="connsiteY111" fmla="*/ 66675 h 4429225"/>
                    <a:gd name="connsiteX112" fmla="*/ 2097427 w 4519987"/>
                    <a:gd name="connsiteY112" fmla="*/ 47625 h 4429225"/>
                    <a:gd name="connsiteX113" fmla="*/ 2164102 w 4519987"/>
                    <a:gd name="connsiteY113" fmla="*/ 38100 h 4429225"/>
                    <a:gd name="connsiteX114" fmla="*/ 2392702 w 4519987"/>
                    <a:gd name="connsiteY11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402102 w 4519987"/>
                    <a:gd name="connsiteY46" fmla="*/ 4276725 h 4429225"/>
                    <a:gd name="connsiteX47" fmla="*/ 1287802 w 4519987"/>
                    <a:gd name="connsiteY47" fmla="*/ 4229100 h 4429225"/>
                    <a:gd name="connsiteX48" fmla="*/ 1221127 w 4519987"/>
                    <a:gd name="connsiteY48" fmla="*/ 4200525 h 4429225"/>
                    <a:gd name="connsiteX49" fmla="*/ 1144927 w 4519987"/>
                    <a:gd name="connsiteY49" fmla="*/ 4171950 h 4429225"/>
                    <a:gd name="connsiteX50" fmla="*/ 1087777 w 4519987"/>
                    <a:gd name="connsiteY50" fmla="*/ 4143375 h 4429225"/>
                    <a:gd name="connsiteX51" fmla="*/ 1030627 w 4519987"/>
                    <a:gd name="connsiteY51" fmla="*/ 4124325 h 4429225"/>
                    <a:gd name="connsiteX52" fmla="*/ 925852 w 4519987"/>
                    <a:gd name="connsiteY52" fmla="*/ 4067175 h 4429225"/>
                    <a:gd name="connsiteX53" fmla="*/ 830602 w 4519987"/>
                    <a:gd name="connsiteY53" fmla="*/ 3981450 h 4429225"/>
                    <a:gd name="connsiteX54" fmla="*/ 763927 w 4519987"/>
                    <a:gd name="connsiteY54" fmla="*/ 3914775 h 4429225"/>
                    <a:gd name="connsiteX55" fmla="*/ 725827 w 4519987"/>
                    <a:gd name="connsiteY55" fmla="*/ 3876675 h 4429225"/>
                    <a:gd name="connsiteX56" fmla="*/ 697252 w 4519987"/>
                    <a:gd name="connsiteY56" fmla="*/ 3838575 h 4429225"/>
                    <a:gd name="connsiteX57" fmla="*/ 640102 w 4519987"/>
                    <a:gd name="connsiteY57" fmla="*/ 3781425 h 4429225"/>
                    <a:gd name="connsiteX58" fmla="*/ 611527 w 4519987"/>
                    <a:gd name="connsiteY58" fmla="*/ 3733800 h 4429225"/>
                    <a:gd name="connsiteX59" fmla="*/ 554377 w 4519987"/>
                    <a:gd name="connsiteY59" fmla="*/ 3657600 h 4429225"/>
                    <a:gd name="connsiteX60" fmla="*/ 525802 w 4519987"/>
                    <a:gd name="connsiteY60" fmla="*/ 3609975 h 4429225"/>
                    <a:gd name="connsiteX61" fmla="*/ 497227 w 4519987"/>
                    <a:gd name="connsiteY61" fmla="*/ 3552825 h 4429225"/>
                    <a:gd name="connsiteX62" fmla="*/ 440077 w 4519987"/>
                    <a:gd name="connsiteY62" fmla="*/ 3495675 h 4429225"/>
                    <a:gd name="connsiteX63" fmla="*/ 411502 w 4519987"/>
                    <a:gd name="connsiteY63" fmla="*/ 3448050 h 4429225"/>
                    <a:gd name="connsiteX64" fmla="*/ 278152 w 4519987"/>
                    <a:gd name="connsiteY64" fmla="*/ 3257550 h 4429225"/>
                    <a:gd name="connsiteX65" fmla="*/ 249577 w 4519987"/>
                    <a:gd name="connsiteY65" fmla="*/ 3200400 h 4429225"/>
                    <a:gd name="connsiteX66" fmla="*/ 240052 w 4519987"/>
                    <a:gd name="connsiteY66" fmla="*/ 3162300 h 4429225"/>
                    <a:gd name="connsiteX67" fmla="*/ 221002 w 4519987"/>
                    <a:gd name="connsiteY67" fmla="*/ 3105150 h 4429225"/>
                    <a:gd name="connsiteX68" fmla="*/ 173377 w 4519987"/>
                    <a:gd name="connsiteY68" fmla="*/ 3019425 h 4429225"/>
                    <a:gd name="connsiteX69" fmla="*/ 144802 w 4519987"/>
                    <a:gd name="connsiteY69" fmla="*/ 2924175 h 4429225"/>
                    <a:gd name="connsiteX70" fmla="*/ 68602 w 4519987"/>
                    <a:gd name="connsiteY70" fmla="*/ 2724150 h 4429225"/>
                    <a:gd name="connsiteX71" fmla="*/ 49552 w 4519987"/>
                    <a:gd name="connsiteY71" fmla="*/ 2638425 h 4429225"/>
                    <a:gd name="connsiteX72" fmla="*/ 40027 w 4519987"/>
                    <a:gd name="connsiteY72" fmla="*/ 2562225 h 4429225"/>
                    <a:gd name="connsiteX73" fmla="*/ 30502 w 4519987"/>
                    <a:gd name="connsiteY73" fmla="*/ 2514600 h 4429225"/>
                    <a:gd name="connsiteX74" fmla="*/ 11452 w 4519987"/>
                    <a:gd name="connsiteY74" fmla="*/ 2400300 h 4429225"/>
                    <a:gd name="connsiteX75" fmla="*/ 20977 w 4519987"/>
                    <a:gd name="connsiteY75" fmla="*/ 1905000 h 4429225"/>
                    <a:gd name="connsiteX76" fmla="*/ 30502 w 4519987"/>
                    <a:gd name="connsiteY76" fmla="*/ 1838325 h 4429225"/>
                    <a:gd name="connsiteX77" fmla="*/ 49552 w 4519987"/>
                    <a:gd name="connsiteY77" fmla="*/ 1781175 h 4429225"/>
                    <a:gd name="connsiteX78" fmla="*/ 59077 w 4519987"/>
                    <a:gd name="connsiteY78" fmla="*/ 1743075 h 4429225"/>
                    <a:gd name="connsiteX79" fmla="*/ 78127 w 4519987"/>
                    <a:gd name="connsiteY79" fmla="*/ 1685925 h 4429225"/>
                    <a:gd name="connsiteX80" fmla="*/ 87652 w 4519987"/>
                    <a:gd name="connsiteY80" fmla="*/ 1638300 h 4429225"/>
                    <a:gd name="connsiteX81" fmla="*/ 106702 w 4519987"/>
                    <a:gd name="connsiteY81" fmla="*/ 1590675 h 4429225"/>
                    <a:gd name="connsiteX82" fmla="*/ 135277 w 4519987"/>
                    <a:gd name="connsiteY82" fmla="*/ 1504950 h 4429225"/>
                    <a:gd name="connsiteX83" fmla="*/ 154327 w 4519987"/>
                    <a:gd name="connsiteY83" fmla="*/ 1419225 h 4429225"/>
                    <a:gd name="connsiteX84" fmla="*/ 230527 w 4519987"/>
                    <a:gd name="connsiteY84" fmla="*/ 1276350 h 4429225"/>
                    <a:gd name="connsiteX85" fmla="*/ 240052 w 4519987"/>
                    <a:gd name="connsiteY85" fmla="*/ 1247775 h 4429225"/>
                    <a:gd name="connsiteX86" fmla="*/ 268627 w 4519987"/>
                    <a:gd name="connsiteY86" fmla="*/ 1200150 h 4429225"/>
                    <a:gd name="connsiteX87" fmla="*/ 287677 w 4519987"/>
                    <a:gd name="connsiteY87" fmla="*/ 1152525 h 4429225"/>
                    <a:gd name="connsiteX88" fmla="*/ 316252 w 4519987"/>
                    <a:gd name="connsiteY88" fmla="*/ 1114425 h 4429225"/>
                    <a:gd name="connsiteX89" fmla="*/ 363877 w 4519987"/>
                    <a:gd name="connsiteY89" fmla="*/ 1038225 h 4429225"/>
                    <a:gd name="connsiteX90" fmla="*/ 382927 w 4519987"/>
                    <a:gd name="connsiteY90" fmla="*/ 1009650 h 4429225"/>
                    <a:gd name="connsiteX91" fmla="*/ 440077 w 4519987"/>
                    <a:gd name="connsiteY91" fmla="*/ 904875 h 4429225"/>
                    <a:gd name="connsiteX92" fmla="*/ 478177 w 4519987"/>
                    <a:gd name="connsiteY92" fmla="*/ 857250 h 4429225"/>
                    <a:gd name="connsiteX93" fmla="*/ 497227 w 4519987"/>
                    <a:gd name="connsiteY93" fmla="*/ 828675 h 4429225"/>
                    <a:gd name="connsiteX94" fmla="*/ 535327 w 4519987"/>
                    <a:gd name="connsiteY94" fmla="*/ 800100 h 4429225"/>
                    <a:gd name="connsiteX95" fmla="*/ 602002 w 4519987"/>
                    <a:gd name="connsiteY95" fmla="*/ 733425 h 4429225"/>
                    <a:gd name="connsiteX96" fmla="*/ 668677 w 4519987"/>
                    <a:gd name="connsiteY96" fmla="*/ 676275 h 4429225"/>
                    <a:gd name="connsiteX97" fmla="*/ 697252 w 4519987"/>
                    <a:gd name="connsiteY97" fmla="*/ 657225 h 4429225"/>
                    <a:gd name="connsiteX98" fmla="*/ 840127 w 4519987"/>
                    <a:gd name="connsiteY98" fmla="*/ 533400 h 4429225"/>
                    <a:gd name="connsiteX99" fmla="*/ 887752 w 4519987"/>
                    <a:gd name="connsiteY99" fmla="*/ 504825 h 4429225"/>
                    <a:gd name="connsiteX100" fmla="*/ 1167152 w 4519987"/>
                    <a:gd name="connsiteY100" fmla="*/ 311150 h 4429225"/>
                    <a:gd name="connsiteX101" fmla="*/ 1268752 w 4519987"/>
                    <a:gd name="connsiteY101" fmla="*/ 285750 h 4429225"/>
                    <a:gd name="connsiteX102" fmla="*/ 1411627 w 4519987"/>
                    <a:gd name="connsiteY102" fmla="*/ 190500 h 4429225"/>
                    <a:gd name="connsiteX103" fmla="*/ 1449727 w 4519987"/>
                    <a:gd name="connsiteY103" fmla="*/ 161925 h 4429225"/>
                    <a:gd name="connsiteX104" fmla="*/ 1525927 w 4519987"/>
                    <a:gd name="connsiteY104" fmla="*/ 152400 h 4429225"/>
                    <a:gd name="connsiteX105" fmla="*/ 1583077 w 4519987"/>
                    <a:gd name="connsiteY105" fmla="*/ 142875 h 4429225"/>
                    <a:gd name="connsiteX106" fmla="*/ 1716427 w 4519987"/>
                    <a:gd name="connsiteY106" fmla="*/ 123825 h 4429225"/>
                    <a:gd name="connsiteX107" fmla="*/ 1811677 w 4519987"/>
                    <a:gd name="connsiteY107" fmla="*/ 114300 h 4429225"/>
                    <a:gd name="connsiteX108" fmla="*/ 1859302 w 4519987"/>
                    <a:gd name="connsiteY108" fmla="*/ 104775 h 4429225"/>
                    <a:gd name="connsiteX109" fmla="*/ 1916452 w 4519987"/>
                    <a:gd name="connsiteY109" fmla="*/ 95250 h 4429225"/>
                    <a:gd name="connsiteX110" fmla="*/ 2030752 w 4519987"/>
                    <a:gd name="connsiteY110" fmla="*/ 66675 h 4429225"/>
                    <a:gd name="connsiteX111" fmla="*/ 2097427 w 4519987"/>
                    <a:gd name="connsiteY111" fmla="*/ 47625 h 4429225"/>
                    <a:gd name="connsiteX112" fmla="*/ 2164102 w 4519987"/>
                    <a:gd name="connsiteY112" fmla="*/ 38100 h 4429225"/>
                    <a:gd name="connsiteX113" fmla="*/ 2392702 w 4519987"/>
                    <a:gd name="connsiteY11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144927 w 4519987"/>
                    <a:gd name="connsiteY48" fmla="*/ 4171950 h 4429225"/>
                    <a:gd name="connsiteX49" fmla="*/ 1087777 w 4519987"/>
                    <a:gd name="connsiteY49" fmla="*/ 4143375 h 4429225"/>
                    <a:gd name="connsiteX50" fmla="*/ 1030627 w 4519987"/>
                    <a:gd name="connsiteY50" fmla="*/ 4124325 h 4429225"/>
                    <a:gd name="connsiteX51" fmla="*/ 925852 w 4519987"/>
                    <a:gd name="connsiteY51" fmla="*/ 4067175 h 4429225"/>
                    <a:gd name="connsiteX52" fmla="*/ 830602 w 4519987"/>
                    <a:gd name="connsiteY52" fmla="*/ 3981450 h 4429225"/>
                    <a:gd name="connsiteX53" fmla="*/ 763927 w 4519987"/>
                    <a:gd name="connsiteY53" fmla="*/ 3914775 h 4429225"/>
                    <a:gd name="connsiteX54" fmla="*/ 725827 w 4519987"/>
                    <a:gd name="connsiteY54" fmla="*/ 3876675 h 4429225"/>
                    <a:gd name="connsiteX55" fmla="*/ 697252 w 4519987"/>
                    <a:gd name="connsiteY55" fmla="*/ 3838575 h 4429225"/>
                    <a:gd name="connsiteX56" fmla="*/ 640102 w 4519987"/>
                    <a:gd name="connsiteY56" fmla="*/ 3781425 h 4429225"/>
                    <a:gd name="connsiteX57" fmla="*/ 611527 w 4519987"/>
                    <a:gd name="connsiteY57" fmla="*/ 3733800 h 4429225"/>
                    <a:gd name="connsiteX58" fmla="*/ 554377 w 4519987"/>
                    <a:gd name="connsiteY58" fmla="*/ 3657600 h 4429225"/>
                    <a:gd name="connsiteX59" fmla="*/ 525802 w 4519987"/>
                    <a:gd name="connsiteY59" fmla="*/ 3609975 h 4429225"/>
                    <a:gd name="connsiteX60" fmla="*/ 497227 w 4519987"/>
                    <a:gd name="connsiteY60" fmla="*/ 3552825 h 4429225"/>
                    <a:gd name="connsiteX61" fmla="*/ 440077 w 4519987"/>
                    <a:gd name="connsiteY61" fmla="*/ 3495675 h 4429225"/>
                    <a:gd name="connsiteX62" fmla="*/ 411502 w 4519987"/>
                    <a:gd name="connsiteY62" fmla="*/ 3448050 h 4429225"/>
                    <a:gd name="connsiteX63" fmla="*/ 278152 w 4519987"/>
                    <a:gd name="connsiteY63" fmla="*/ 3257550 h 4429225"/>
                    <a:gd name="connsiteX64" fmla="*/ 249577 w 4519987"/>
                    <a:gd name="connsiteY64" fmla="*/ 3200400 h 4429225"/>
                    <a:gd name="connsiteX65" fmla="*/ 240052 w 4519987"/>
                    <a:gd name="connsiteY65" fmla="*/ 3162300 h 4429225"/>
                    <a:gd name="connsiteX66" fmla="*/ 221002 w 4519987"/>
                    <a:gd name="connsiteY66" fmla="*/ 3105150 h 4429225"/>
                    <a:gd name="connsiteX67" fmla="*/ 173377 w 4519987"/>
                    <a:gd name="connsiteY67" fmla="*/ 3019425 h 4429225"/>
                    <a:gd name="connsiteX68" fmla="*/ 144802 w 4519987"/>
                    <a:gd name="connsiteY68" fmla="*/ 2924175 h 4429225"/>
                    <a:gd name="connsiteX69" fmla="*/ 68602 w 4519987"/>
                    <a:gd name="connsiteY69" fmla="*/ 2724150 h 4429225"/>
                    <a:gd name="connsiteX70" fmla="*/ 49552 w 4519987"/>
                    <a:gd name="connsiteY70" fmla="*/ 2638425 h 4429225"/>
                    <a:gd name="connsiteX71" fmla="*/ 40027 w 4519987"/>
                    <a:gd name="connsiteY71" fmla="*/ 2562225 h 4429225"/>
                    <a:gd name="connsiteX72" fmla="*/ 30502 w 4519987"/>
                    <a:gd name="connsiteY72" fmla="*/ 2514600 h 4429225"/>
                    <a:gd name="connsiteX73" fmla="*/ 11452 w 4519987"/>
                    <a:gd name="connsiteY73" fmla="*/ 2400300 h 4429225"/>
                    <a:gd name="connsiteX74" fmla="*/ 20977 w 4519987"/>
                    <a:gd name="connsiteY74" fmla="*/ 1905000 h 4429225"/>
                    <a:gd name="connsiteX75" fmla="*/ 30502 w 4519987"/>
                    <a:gd name="connsiteY75" fmla="*/ 1838325 h 4429225"/>
                    <a:gd name="connsiteX76" fmla="*/ 49552 w 4519987"/>
                    <a:gd name="connsiteY76" fmla="*/ 1781175 h 4429225"/>
                    <a:gd name="connsiteX77" fmla="*/ 59077 w 4519987"/>
                    <a:gd name="connsiteY77" fmla="*/ 1743075 h 4429225"/>
                    <a:gd name="connsiteX78" fmla="*/ 78127 w 4519987"/>
                    <a:gd name="connsiteY78" fmla="*/ 1685925 h 4429225"/>
                    <a:gd name="connsiteX79" fmla="*/ 87652 w 4519987"/>
                    <a:gd name="connsiteY79" fmla="*/ 1638300 h 4429225"/>
                    <a:gd name="connsiteX80" fmla="*/ 106702 w 4519987"/>
                    <a:gd name="connsiteY80" fmla="*/ 1590675 h 4429225"/>
                    <a:gd name="connsiteX81" fmla="*/ 135277 w 4519987"/>
                    <a:gd name="connsiteY81" fmla="*/ 1504950 h 4429225"/>
                    <a:gd name="connsiteX82" fmla="*/ 154327 w 4519987"/>
                    <a:gd name="connsiteY82" fmla="*/ 1419225 h 4429225"/>
                    <a:gd name="connsiteX83" fmla="*/ 230527 w 4519987"/>
                    <a:gd name="connsiteY83" fmla="*/ 1276350 h 4429225"/>
                    <a:gd name="connsiteX84" fmla="*/ 240052 w 4519987"/>
                    <a:gd name="connsiteY84" fmla="*/ 1247775 h 4429225"/>
                    <a:gd name="connsiteX85" fmla="*/ 268627 w 4519987"/>
                    <a:gd name="connsiteY85" fmla="*/ 1200150 h 4429225"/>
                    <a:gd name="connsiteX86" fmla="*/ 287677 w 4519987"/>
                    <a:gd name="connsiteY86" fmla="*/ 1152525 h 4429225"/>
                    <a:gd name="connsiteX87" fmla="*/ 316252 w 4519987"/>
                    <a:gd name="connsiteY87" fmla="*/ 1114425 h 4429225"/>
                    <a:gd name="connsiteX88" fmla="*/ 363877 w 4519987"/>
                    <a:gd name="connsiteY88" fmla="*/ 1038225 h 4429225"/>
                    <a:gd name="connsiteX89" fmla="*/ 382927 w 4519987"/>
                    <a:gd name="connsiteY89" fmla="*/ 1009650 h 4429225"/>
                    <a:gd name="connsiteX90" fmla="*/ 440077 w 4519987"/>
                    <a:gd name="connsiteY90" fmla="*/ 904875 h 4429225"/>
                    <a:gd name="connsiteX91" fmla="*/ 478177 w 4519987"/>
                    <a:gd name="connsiteY91" fmla="*/ 857250 h 4429225"/>
                    <a:gd name="connsiteX92" fmla="*/ 497227 w 4519987"/>
                    <a:gd name="connsiteY92" fmla="*/ 828675 h 4429225"/>
                    <a:gd name="connsiteX93" fmla="*/ 535327 w 4519987"/>
                    <a:gd name="connsiteY93" fmla="*/ 800100 h 4429225"/>
                    <a:gd name="connsiteX94" fmla="*/ 602002 w 4519987"/>
                    <a:gd name="connsiteY94" fmla="*/ 733425 h 4429225"/>
                    <a:gd name="connsiteX95" fmla="*/ 668677 w 4519987"/>
                    <a:gd name="connsiteY95" fmla="*/ 676275 h 4429225"/>
                    <a:gd name="connsiteX96" fmla="*/ 697252 w 4519987"/>
                    <a:gd name="connsiteY96" fmla="*/ 657225 h 4429225"/>
                    <a:gd name="connsiteX97" fmla="*/ 840127 w 4519987"/>
                    <a:gd name="connsiteY97" fmla="*/ 533400 h 4429225"/>
                    <a:gd name="connsiteX98" fmla="*/ 887752 w 4519987"/>
                    <a:gd name="connsiteY98" fmla="*/ 504825 h 4429225"/>
                    <a:gd name="connsiteX99" fmla="*/ 1167152 w 4519987"/>
                    <a:gd name="connsiteY99" fmla="*/ 311150 h 4429225"/>
                    <a:gd name="connsiteX100" fmla="*/ 1268752 w 4519987"/>
                    <a:gd name="connsiteY100" fmla="*/ 285750 h 4429225"/>
                    <a:gd name="connsiteX101" fmla="*/ 1411627 w 4519987"/>
                    <a:gd name="connsiteY101" fmla="*/ 190500 h 4429225"/>
                    <a:gd name="connsiteX102" fmla="*/ 1449727 w 4519987"/>
                    <a:gd name="connsiteY102" fmla="*/ 161925 h 4429225"/>
                    <a:gd name="connsiteX103" fmla="*/ 1525927 w 4519987"/>
                    <a:gd name="connsiteY103" fmla="*/ 152400 h 4429225"/>
                    <a:gd name="connsiteX104" fmla="*/ 1583077 w 4519987"/>
                    <a:gd name="connsiteY104" fmla="*/ 142875 h 4429225"/>
                    <a:gd name="connsiteX105" fmla="*/ 1716427 w 4519987"/>
                    <a:gd name="connsiteY105" fmla="*/ 123825 h 4429225"/>
                    <a:gd name="connsiteX106" fmla="*/ 1811677 w 4519987"/>
                    <a:gd name="connsiteY106" fmla="*/ 114300 h 4429225"/>
                    <a:gd name="connsiteX107" fmla="*/ 1859302 w 4519987"/>
                    <a:gd name="connsiteY107" fmla="*/ 104775 h 4429225"/>
                    <a:gd name="connsiteX108" fmla="*/ 1916452 w 4519987"/>
                    <a:gd name="connsiteY108" fmla="*/ 95250 h 4429225"/>
                    <a:gd name="connsiteX109" fmla="*/ 2030752 w 4519987"/>
                    <a:gd name="connsiteY109" fmla="*/ 66675 h 4429225"/>
                    <a:gd name="connsiteX110" fmla="*/ 2097427 w 4519987"/>
                    <a:gd name="connsiteY110" fmla="*/ 47625 h 4429225"/>
                    <a:gd name="connsiteX111" fmla="*/ 2164102 w 4519987"/>
                    <a:gd name="connsiteY111" fmla="*/ 38100 h 4429225"/>
                    <a:gd name="connsiteX112" fmla="*/ 2392702 w 4519987"/>
                    <a:gd name="connsiteY11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087777 w 4519987"/>
                    <a:gd name="connsiteY48" fmla="*/ 4143375 h 4429225"/>
                    <a:gd name="connsiteX49" fmla="*/ 1030627 w 4519987"/>
                    <a:gd name="connsiteY49" fmla="*/ 4124325 h 4429225"/>
                    <a:gd name="connsiteX50" fmla="*/ 925852 w 4519987"/>
                    <a:gd name="connsiteY50" fmla="*/ 4067175 h 4429225"/>
                    <a:gd name="connsiteX51" fmla="*/ 830602 w 4519987"/>
                    <a:gd name="connsiteY51" fmla="*/ 3981450 h 4429225"/>
                    <a:gd name="connsiteX52" fmla="*/ 763927 w 4519987"/>
                    <a:gd name="connsiteY52" fmla="*/ 3914775 h 4429225"/>
                    <a:gd name="connsiteX53" fmla="*/ 725827 w 4519987"/>
                    <a:gd name="connsiteY53" fmla="*/ 3876675 h 4429225"/>
                    <a:gd name="connsiteX54" fmla="*/ 697252 w 4519987"/>
                    <a:gd name="connsiteY54" fmla="*/ 3838575 h 4429225"/>
                    <a:gd name="connsiteX55" fmla="*/ 640102 w 4519987"/>
                    <a:gd name="connsiteY55" fmla="*/ 3781425 h 4429225"/>
                    <a:gd name="connsiteX56" fmla="*/ 611527 w 4519987"/>
                    <a:gd name="connsiteY56" fmla="*/ 3733800 h 4429225"/>
                    <a:gd name="connsiteX57" fmla="*/ 554377 w 4519987"/>
                    <a:gd name="connsiteY57" fmla="*/ 3657600 h 4429225"/>
                    <a:gd name="connsiteX58" fmla="*/ 525802 w 4519987"/>
                    <a:gd name="connsiteY58" fmla="*/ 3609975 h 4429225"/>
                    <a:gd name="connsiteX59" fmla="*/ 497227 w 4519987"/>
                    <a:gd name="connsiteY59" fmla="*/ 3552825 h 4429225"/>
                    <a:gd name="connsiteX60" fmla="*/ 440077 w 4519987"/>
                    <a:gd name="connsiteY60" fmla="*/ 3495675 h 4429225"/>
                    <a:gd name="connsiteX61" fmla="*/ 411502 w 4519987"/>
                    <a:gd name="connsiteY61" fmla="*/ 3448050 h 4429225"/>
                    <a:gd name="connsiteX62" fmla="*/ 278152 w 4519987"/>
                    <a:gd name="connsiteY62" fmla="*/ 3257550 h 4429225"/>
                    <a:gd name="connsiteX63" fmla="*/ 249577 w 4519987"/>
                    <a:gd name="connsiteY63" fmla="*/ 3200400 h 4429225"/>
                    <a:gd name="connsiteX64" fmla="*/ 240052 w 4519987"/>
                    <a:gd name="connsiteY64" fmla="*/ 3162300 h 4429225"/>
                    <a:gd name="connsiteX65" fmla="*/ 221002 w 4519987"/>
                    <a:gd name="connsiteY65" fmla="*/ 3105150 h 4429225"/>
                    <a:gd name="connsiteX66" fmla="*/ 173377 w 4519987"/>
                    <a:gd name="connsiteY66" fmla="*/ 3019425 h 4429225"/>
                    <a:gd name="connsiteX67" fmla="*/ 144802 w 4519987"/>
                    <a:gd name="connsiteY67" fmla="*/ 2924175 h 4429225"/>
                    <a:gd name="connsiteX68" fmla="*/ 68602 w 4519987"/>
                    <a:gd name="connsiteY68" fmla="*/ 2724150 h 4429225"/>
                    <a:gd name="connsiteX69" fmla="*/ 49552 w 4519987"/>
                    <a:gd name="connsiteY69" fmla="*/ 2638425 h 4429225"/>
                    <a:gd name="connsiteX70" fmla="*/ 40027 w 4519987"/>
                    <a:gd name="connsiteY70" fmla="*/ 2562225 h 4429225"/>
                    <a:gd name="connsiteX71" fmla="*/ 30502 w 4519987"/>
                    <a:gd name="connsiteY71" fmla="*/ 2514600 h 4429225"/>
                    <a:gd name="connsiteX72" fmla="*/ 11452 w 4519987"/>
                    <a:gd name="connsiteY72" fmla="*/ 2400300 h 4429225"/>
                    <a:gd name="connsiteX73" fmla="*/ 20977 w 4519987"/>
                    <a:gd name="connsiteY73" fmla="*/ 1905000 h 4429225"/>
                    <a:gd name="connsiteX74" fmla="*/ 30502 w 4519987"/>
                    <a:gd name="connsiteY74" fmla="*/ 1838325 h 4429225"/>
                    <a:gd name="connsiteX75" fmla="*/ 49552 w 4519987"/>
                    <a:gd name="connsiteY75" fmla="*/ 1781175 h 4429225"/>
                    <a:gd name="connsiteX76" fmla="*/ 59077 w 4519987"/>
                    <a:gd name="connsiteY76" fmla="*/ 1743075 h 4429225"/>
                    <a:gd name="connsiteX77" fmla="*/ 78127 w 4519987"/>
                    <a:gd name="connsiteY77" fmla="*/ 1685925 h 4429225"/>
                    <a:gd name="connsiteX78" fmla="*/ 87652 w 4519987"/>
                    <a:gd name="connsiteY78" fmla="*/ 1638300 h 4429225"/>
                    <a:gd name="connsiteX79" fmla="*/ 106702 w 4519987"/>
                    <a:gd name="connsiteY79" fmla="*/ 1590675 h 4429225"/>
                    <a:gd name="connsiteX80" fmla="*/ 135277 w 4519987"/>
                    <a:gd name="connsiteY80" fmla="*/ 1504950 h 4429225"/>
                    <a:gd name="connsiteX81" fmla="*/ 154327 w 4519987"/>
                    <a:gd name="connsiteY81" fmla="*/ 1419225 h 4429225"/>
                    <a:gd name="connsiteX82" fmla="*/ 230527 w 4519987"/>
                    <a:gd name="connsiteY82" fmla="*/ 1276350 h 4429225"/>
                    <a:gd name="connsiteX83" fmla="*/ 240052 w 4519987"/>
                    <a:gd name="connsiteY83" fmla="*/ 1247775 h 4429225"/>
                    <a:gd name="connsiteX84" fmla="*/ 268627 w 4519987"/>
                    <a:gd name="connsiteY84" fmla="*/ 1200150 h 4429225"/>
                    <a:gd name="connsiteX85" fmla="*/ 287677 w 4519987"/>
                    <a:gd name="connsiteY85" fmla="*/ 1152525 h 4429225"/>
                    <a:gd name="connsiteX86" fmla="*/ 316252 w 4519987"/>
                    <a:gd name="connsiteY86" fmla="*/ 1114425 h 4429225"/>
                    <a:gd name="connsiteX87" fmla="*/ 363877 w 4519987"/>
                    <a:gd name="connsiteY87" fmla="*/ 1038225 h 4429225"/>
                    <a:gd name="connsiteX88" fmla="*/ 382927 w 4519987"/>
                    <a:gd name="connsiteY88" fmla="*/ 1009650 h 4429225"/>
                    <a:gd name="connsiteX89" fmla="*/ 440077 w 4519987"/>
                    <a:gd name="connsiteY89" fmla="*/ 904875 h 4429225"/>
                    <a:gd name="connsiteX90" fmla="*/ 478177 w 4519987"/>
                    <a:gd name="connsiteY90" fmla="*/ 857250 h 4429225"/>
                    <a:gd name="connsiteX91" fmla="*/ 497227 w 4519987"/>
                    <a:gd name="connsiteY91" fmla="*/ 828675 h 4429225"/>
                    <a:gd name="connsiteX92" fmla="*/ 535327 w 4519987"/>
                    <a:gd name="connsiteY92" fmla="*/ 800100 h 4429225"/>
                    <a:gd name="connsiteX93" fmla="*/ 602002 w 4519987"/>
                    <a:gd name="connsiteY93" fmla="*/ 733425 h 4429225"/>
                    <a:gd name="connsiteX94" fmla="*/ 668677 w 4519987"/>
                    <a:gd name="connsiteY94" fmla="*/ 676275 h 4429225"/>
                    <a:gd name="connsiteX95" fmla="*/ 697252 w 4519987"/>
                    <a:gd name="connsiteY95" fmla="*/ 657225 h 4429225"/>
                    <a:gd name="connsiteX96" fmla="*/ 840127 w 4519987"/>
                    <a:gd name="connsiteY96" fmla="*/ 533400 h 4429225"/>
                    <a:gd name="connsiteX97" fmla="*/ 887752 w 4519987"/>
                    <a:gd name="connsiteY97" fmla="*/ 504825 h 4429225"/>
                    <a:gd name="connsiteX98" fmla="*/ 1167152 w 4519987"/>
                    <a:gd name="connsiteY98" fmla="*/ 311150 h 4429225"/>
                    <a:gd name="connsiteX99" fmla="*/ 1268752 w 4519987"/>
                    <a:gd name="connsiteY99" fmla="*/ 285750 h 4429225"/>
                    <a:gd name="connsiteX100" fmla="*/ 1411627 w 4519987"/>
                    <a:gd name="connsiteY100" fmla="*/ 190500 h 4429225"/>
                    <a:gd name="connsiteX101" fmla="*/ 1449727 w 4519987"/>
                    <a:gd name="connsiteY101" fmla="*/ 161925 h 4429225"/>
                    <a:gd name="connsiteX102" fmla="*/ 1525927 w 4519987"/>
                    <a:gd name="connsiteY102" fmla="*/ 152400 h 4429225"/>
                    <a:gd name="connsiteX103" fmla="*/ 1583077 w 4519987"/>
                    <a:gd name="connsiteY103" fmla="*/ 142875 h 4429225"/>
                    <a:gd name="connsiteX104" fmla="*/ 1716427 w 4519987"/>
                    <a:gd name="connsiteY104" fmla="*/ 123825 h 4429225"/>
                    <a:gd name="connsiteX105" fmla="*/ 1811677 w 4519987"/>
                    <a:gd name="connsiteY105" fmla="*/ 114300 h 4429225"/>
                    <a:gd name="connsiteX106" fmla="*/ 1859302 w 4519987"/>
                    <a:gd name="connsiteY106" fmla="*/ 104775 h 4429225"/>
                    <a:gd name="connsiteX107" fmla="*/ 1916452 w 4519987"/>
                    <a:gd name="connsiteY107" fmla="*/ 95250 h 4429225"/>
                    <a:gd name="connsiteX108" fmla="*/ 2030752 w 4519987"/>
                    <a:gd name="connsiteY108" fmla="*/ 66675 h 4429225"/>
                    <a:gd name="connsiteX109" fmla="*/ 2097427 w 4519987"/>
                    <a:gd name="connsiteY109" fmla="*/ 47625 h 4429225"/>
                    <a:gd name="connsiteX110" fmla="*/ 2164102 w 4519987"/>
                    <a:gd name="connsiteY110" fmla="*/ 38100 h 4429225"/>
                    <a:gd name="connsiteX111" fmla="*/ 2392702 w 4519987"/>
                    <a:gd name="connsiteY11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1030627 w 4519987"/>
                    <a:gd name="connsiteY48" fmla="*/ 4124325 h 4429225"/>
                    <a:gd name="connsiteX49" fmla="*/ 925852 w 4519987"/>
                    <a:gd name="connsiteY49" fmla="*/ 4067175 h 4429225"/>
                    <a:gd name="connsiteX50" fmla="*/ 830602 w 4519987"/>
                    <a:gd name="connsiteY50" fmla="*/ 3981450 h 4429225"/>
                    <a:gd name="connsiteX51" fmla="*/ 763927 w 4519987"/>
                    <a:gd name="connsiteY51" fmla="*/ 3914775 h 4429225"/>
                    <a:gd name="connsiteX52" fmla="*/ 725827 w 4519987"/>
                    <a:gd name="connsiteY52" fmla="*/ 3876675 h 4429225"/>
                    <a:gd name="connsiteX53" fmla="*/ 697252 w 4519987"/>
                    <a:gd name="connsiteY53" fmla="*/ 3838575 h 4429225"/>
                    <a:gd name="connsiteX54" fmla="*/ 640102 w 4519987"/>
                    <a:gd name="connsiteY54" fmla="*/ 3781425 h 4429225"/>
                    <a:gd name="connsiteX55" fmla="*/ 611527 w 4519987"/>
                    <a:gd name="connsiteY55" fmla="*/ 3733800 h 4429225"/>
                    <a:gd name="connsiteX56" fmla="*/ 554377 w 4519987"/>
                    <a:gd name="connsiteY56" fmla="*/ 3657600 h 4429225"/>
                    <a:gd name="connsiteX57" fmla="*/ 525802 w 4519987"/>
                    <a:gd name="connsiteY57" fmla="*/ 3609975 h 4429225"/>
                    <a:gd name="connsiteX58" fmla="*/ 497227 w 4519987"/>
                    <a:gd name="connsiteY58" fmla="*/ 3552825 h 4429225"/>
                    <a:gd name="connsiteX59" fmla="*/ 440077 w 4519987"/>
                    <a:gd name="connsiteY59" fmla="*/ 3495675 h 4429225"/>
                    <a:gd name="connsiteX60" fmla="*/ 411502 w 4519987"/>
                    <a:gd name="connsiteY60" fmla="*/ 3448050 h 4429225"/>
                    <a:gd name="connsiteX61" fmla="*/ 278152 w 4519987"/>
                    <a:gd name="connsiteY61" fmla="*/ 3257550 h 4429225"/>
                    <a:gd name="connsiteX62" fmla="*/ 249577 w 4519987"/>
                    <a:gd name="connsiteY62" fmla="*/ 3200400 h 4429225"/>
                    <a:gd name="connsiteX63" fmla="*/ 240052 w 4519987"/>
                    <a:gd name="connsiteY63" fmla="*/ 3162300 h 4429225"/>
                    <a:gd name="connsiteX64" fmla="*/ 221002 w 4519987"/>
                    <a:gd name="connsiteY64" fmla="*/ 3105150 h 4429225"/>
                    <a:gd name="connsiteX65" fmla="*/ 173377 w 4519987"/>
                    <a:gd name="connsiteY65" fmla="*/ 3019425 h 4429225"/>
                    <a:gd name="connsiteX66" fmla="*/ 144802 w 4519987"/>
                    <a:gd name="connsiteY66" fmla="*/ 2924175 h 4429225"/>
                    <a:gd name="connsiteX67" fmla="*/ 68602 w 4519987"/>
                    <a:gd name="connsiteY67" fmla="*/ 2724150 h 4429225"/>
                    <a:gd name="connsiteX68" fmla="*/ 49552 w 4519987"/>
                    <a:gd name="connsiteY68" fmla="*/ 2638425 h 4429225"/>
                    <a:gd name="connsiteX69" fmla="*/ 40027 w 4519987"/>
                    <a:gd name="connsiteY69" fmla="*/ 2562225 h 4429225"/>
                    <a:gd name="connsiteX70" fmla="*/ 30502 w 4519987"/>
                    <a:gd name="connsiteY70" fmla="*/ 2514600 h 4429225"/>
                    <a:gd name="connsiteX71" fmla="*/ 11452 w 4519987"/>
                    <a:gd name="connsiteY71" fmla="*/ 2400300 h 4429225"/>
                    <a:gd name="connsiteX72" fmla="*/ 20977 w 4519987"/>
                    <a:gd name="connsiteY72" fmla="*/ 1905000 h 4429225"/>
                    <a:gd name="connsiteX73" fmla="*/ 30502 w 4519987"/>
                    <a:gd name="connsiteY73" fmla="*/ 1838325 h 4429225"/>
                    <a:gd name="connsiteX74" fmla="*/ 49552 w 4519987"/>
                    <a:gd name="connsiteY74" fmla="*/ 1781175 h 4429225"/>
                    <a:gd name="connsiteX75" fmla="*/ 59077 w 4519987"/>
                    <a:gd name="connsiteY75" fmla="*/ 1743075 h 4429225"/>
                    <a:gd name="connsiteX76" fmla="*/ 78127 w 4519987"/>
                    <a:gd name="connsiteY76" fmla="*/ 1685925 h 4429225"/>
                    <a:gd name="connsiteX77" fmla="*/ 87652 w 4519987"/>
                    <a:gd name="connsiteY77" fmla="*/ 1638300 h 4429225"/>
                    <a:gd name="connsiteX78" fmla="*/ 106702 w 4519987"/>
                    <a:gd name="connsiteY78" fmla="*/ 1590675 h 4429225"/>
                    <a:gd name="connsiteX79" fmla="*/ 135277 w 4519987"/>
                    <a:gd name="connsiteY79" fmla="*/ 1504950 h 4429225"/>
                    <a:gd name="connsiteX80" fmla="*/ 154327 w 4519987"/>
                    <a:gd name="connsiteY80" fmla="*/ 1419225 h 4429225"/>
                    <a:gd name="connsiteX81" fmla="*/ 230527 w 4519987"/>
                    <a:gd name="connsiteY81" fmla="*/ 1276350 h 4429225"/>
                    <a:gd name="connsiteX82" fmla="*/ 240052 w 4519987"/>
                    <a:gd name="connsiteY82" fmla="*/ 1247775 h 4429225"/>
                    <a:gd name="connsiteX83" fmla="*/ 268627 w 4519987"/>
                    <a:gd name="connsiteY83" fmla="*/ 1200150 h 4429225"/>
                    <a:gd name="connsiteX84" fmla="*/ 287677 w 4519987"/>
                    <a:gd name="connsiteY84" fmla="*/ 1152525 h 4429225"/>
                    <a:gd name="connsiteX85" fmla="*/ 316252 w 4519987"/>
                    <a:gd name="connsiteY85" fmla="*/ 1114425 h 4429225"/>
                    <a:gd name="connsiteX86" fmla="*/ 363877 w 4519987"/>
                    <a:gd name="connsiteY86" fmla="*/ 1038225 h 4429225"/>
                    <a:gd name="connsiteX87" fmla="*/ 382927 w 4519987"/>
                    <a:gd name="connsiteY87" fmla="*/ 1009650 h 4429225"/>
                    <a:gd name="connsiteX88" fmla="*/ 440077 w 4519987"/>
                    <a:gd name="connsiteY88" fmla="*/ 904875 h 4429225"/>
                    <a:gd name="connsiteX89" fmla="*/ 478177 w 4519987"/>
                    <a:gd name="connsiteY89" fmla="*/ 857250 h 4429225"/>
                    <a:gd name="connsiteX90" fmla="*/ 497227 w 4519987"/>
                    <a:gd name="connsiteY90" fmla="*/ 828675 h 4429225"/>
                    <a:gd name="connsiteX91" fmla="*/ 535327 w 4519987"/>
                    <a:gd name="connsiteY91" fmla="*/ 800100 h 4429225"/>
                    <a:gd name="connsiteX92" fmla="*/ 602002 w 4519987"/>
                    <a:gd name="connsiteY92" fmla="*/ 733425 h 4429225"/>
                    <a:gd name="connsiteX93" fmla="*/ 668677 w 4519987"/>
                    <a:gd name="connsiteY93" fmla="*/ 676275 h 4429225"/>
                    <a:gd name="connsiteX94" fmla="*/ 697252 w 4519987"/>
                    <a:gd name="connsiteY94" fmla="*/ 657225 h 4429225"/>
                    <a:gd name="connsiteX95" fmla="*/ 840127 w 4519987"/>
                    <a:gd name="connsiteY95" fmla="*/ 533400 h 4429225"/>
                    <a:gd name="connsiteX96" fmla="*/ 887752 w 4519987"/>
                    <a:gd name="connsiteY96" fmla="*/ 504825 h 4429225"/>
                    <a:gd name="connsiteX97" fmla="*/ 1167152 w 4519987"/>
                    <a:gd name="connsiteY97" fmla="*/ 311150 h 4429225"/>
                    <a:gd name="connsiteX98" fmla="*/ 1268752 w 4519987"/>
                    <a:gd name="connsiteY98" fmla="*/ 285750 h 4429225"/>
                    <a:gd name="connsiteX99" fmla="*/ 1411627 w 4519987"/>
                    <a:gd name="connsiteY99" fmla="*/ 190500 h 4429225"/>
                    <a:gd name="connsiteX100" fmla="*/ 1449727 w 4519987"/>
                    <a:gd name="connsiteY100" fmla="*/ 161925 h 4429225"/>
                    <a:gd name="connsiteX101" fmla="*/ 1525927 w 4519987"/>
                    <a:gd name="connsiteY101" fmla="*/ 152400 h 4429225"/>
                    <a:gd name="connsiteX102" fmla="*/ 1583077 w 4519987"/>
                    <a:gd name="connsiteY102" fmla="*/ 142875 h 4429225"/>
                    <a:gd name="connsiteX103" fmla="*/ 1716427 w 4519987"/>
                    <a:gd name="connsiteY103" fmla="*/ 123825 h 4429225"/>
                    <a:gd name="connsiteX104" fmla="*/ 1811677 w 4519987"/>
                    <a:gd name="connsiteY104" fmla="*/ 114300 h 4429225"/>
                    <a:gd name="connsiteX105" fmla="*/ 1859302 w 4519987"/>
                    <a:gd name="connsiteY105" fmla="*/ 104775 h 4429225"/>
                    <a:gd name="connsiteX106" fmla="*/ 1916452 w 4519987"/>
                    <a:gd name="connsiteY106" fmla="*/ 95250 h 4429225"/>
                    <a:gd name="connsiteX107" fmla="*/ 2030752 w 4519987"/>
                    <a:gd name="connsiteY107" fmla="*/ 66675 h 4429225"/>
                    <a:gd name="connsiteX108" fmla="*/ 2097427 w 4519987"/>
                    <a:gd name="connsiteY108" fmla="*/ 47625 h 4429225"/>
                    <a:gd name="connsiteX109" fmla="*/ 2164102 w 4519987"/>
                    <a:gd name="connsiteY109" fmla="*/ 38100 h 4429225"/>
                    <a:gd name="connsiteX110" fmla="*/ 2392702 w 4519987"/>
                    <a:gd name="connsiteY11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925852 w 4519987"/>
                    <a:gd name="connsiteY48" fmla="*/ 4067175 h 4429225"/>
                    <a:gd name="connsiteX49" fmla="*/ 830602 w 4519987"/>
                    <a:gd name="connsiteY49" fmla="*/ 3981450 h 4429225"/>
                    <a:gd name="connsiteX50" fmla="*/ 763927 w 4519987"/>
                    <a:gd name="connsiteY50" fmla="*/ 3914775 h 4429225"/>
                    <a:gd name="connsiteX51" fmla="*/ 725827 w 4519987"/>
                    <a:gd name="connsiteY51" fmla="*/ 3876675 h 4429225"/>
                    <a:gd name="connsiteX52" fmla="*/ 697252 w 4519987"/>
                    <a:gd name="connsiteY52" fmla="*/ 3838575 h 4429225"/>
                    <a:gd name="connsiteX53" fmla="*/ 640102 w 4519987"/>
                    <a:gd name="connsiteY53" fmla="*/ 3781425 h 4429225"/>
                    <a:gd name="connsiteX54" fmla="*/ 611527 w 4519987"/>
                    <a:gd name="connsiteY54" fmla="*/ 3733800 h 4429225"/>
                    <a:gd name="connsiteX55" fmla="*/ 554377 w 4519987"/>
                    <a:gd name="connsiteY55" fmla="*/ 3657600 h 4429225"/>
                    <a:gd name="connsiteX56" fmla="*/ 525802 w 4519987"/>
                    <a:gd name="connsiteY56" fmla="*/ 3609975 h 4429225"/>
                    <a:gd name="connsiteX57" fmla="*/ 497227 w 4519987"/>
                    <a:gd name="connsiteY57" fmla="*/ 3552825 h 4429225"/>
                    <a:gd name="connsiteX58" fmla="*/ 440077 w 4519987"/>
                    <a:gd name="connsiteY58" fmla="*/ 3495675 h 4429225"/>
                    <a:gd name="connsiteX59" fmla="*/ 411502 w 4519987"/>
                    <a:gd name="connsiteY59" fmla="*/ 3448050 h 4429225"/>
                    <a:gd name="connsiteX60" fmla="*/ 278152 w 4519987"/>
                    <a:gd name="connsiteY60" fmla="*/ 3257550 h 4429225"/>
                    <a:gd name="connsiteX61" fmla="*/ 249577 w 4519987"/>
                    <a:gd name="connsiteY61" fmla="*/ 3200400 h 4429225"/>
                    <a:gd name="connsiteX62" fmla="*/ 240052 w 4519987"/>
                    <a:gd name="connsiteY62" fmla="*/ 3162300 h 4429225"/>
                    <a:gd name="connsiteX63" fmla="*/ 221002 w 4519987"/>
                    <a:gd name="connsiteY63" fmla="*/ 3105150 h 4429225"/>
                    <a:gd name="connsiteX64" fmla="*/ 173377 w 4519987"/>
                    <a:gd name="connsiteY64" fmla="*/ 3019425 h 4429225"/>
                    <a:gd name="connsiteX65" fmla="*/ 144802 w 4519987"/>
                    <a:gd name="connsiteY65" fmla="*/ 2924175 h 4429225"/>
                    <a:gd name="connsiteX66" fmla="*/ 68602 w 4519987"/>
                    <a:gd name="connsiteY66" fmla="*/ 2724150 h 4429225"/>
                    <a:gd name="connsiteX67" fmla="*/ 49552 w 4519987"/>
                    <a:gd name="connsiteY67" fmla="*/ 2638425 h 4429225"/>
                    <a:gd name="connsiteX68" fmla="*/ 40027 w 4519987"/>
                    <a:gd name="connsiteY68" fmla="*/ 2562225 h 4429225"/>
                    <a:gd name="connsiteX69" fmla="*/ 30502 w 4519987"/>
                    <a:gd name="connsiteY69" fmla="*/ 2514600 h 4429225"/>
                    <a:gd name="connsiteX70" fmla="*/ 11452 w 4519987"/>
                    <a:gd name="connsiteY70" fmla="*/ 2400300 h 4429225"/>
                    <a:gd name="connsiteX71" fmla="*/ 20977 w 4519987"/>
                    <a:gd name="connsiteY71" fmla="*/ 1905000 h 4429225"/>
                    <a:gd name="connsiteX72" fmla="*/ 30502 w 4519987"/>
                    <a:gd name="connsiteY72" fmla="*/ 1838325 h 4429225"/>
                    <a:gd name="connsiteX73" fmla="*/ 49552 w 4519987"/>
                    <a:gd name="connsiteY73" fmla="*/ 1781175 h 4429225"/>
                    <a:gd name="connsiteX74" fmla="*/ 59077 w 4519987"/>
                    <a:gd name="connsiteY74" fmla="*/ 1743075 h 4429225"/>
                    <a:gd name="connsiteX75" fmla="*/ 78127 w 4519987"/>
                    <a:gd name="connsiteY75" fmla="*/ 1685925 h 4429225"/>
                    <a:gd name="connsiteX76" fmla="*/ 87652 w 4519987"/>
                    <a:gd name="connsiteY76" fmla="*/ 1638300 h 4429225"/>
                    <a:gd name="connsiteX77" fmla="*/ 106702 w 4519987"/>
                    <a:gd name="connsiteY77" fmla="*/ 1590675 h 4429225"/>
                    <a:gd name="connsiteX78" fmla="*/ 135277 w 4519987"/>
                    <a:gd name="connsiteY78" fmla="*/ 1504950 h 4429225"/>
                    <a:gd name="connsiteX79" fmla="*/ 154327 w 4519987"/>
                    <a:gd name="connsiteY79" fmla="*/ 1419225 h 4429225"/>
                    <a:gd name="connsiteX80" fmla="*/ 230527 w 4519987"/>
                    <a:gd name="connsiteY80" fmla="*/ 1276350 h 4429225"/>
                    <a:gd name="connsiteX81" fmla="*/ 240052 w 4519987"/>
                    <a:gd name="connsiteY81" fmla="*/ 1247775 h 4429225"/>
                    <a:gd name="connsiteX82" fmla="*/ 268627 w 4519987"/>
                    <a:gd name="connsiteY82" fmla="*/ 1200150 h 4429225"/>
                    <a:gd name="connsiteX83" fmla="*/ 287677 w 4519987"/>
                    <a:gd name="connsiteY83" fmla="*/ 1152525 h 4429225"/>
                    <a:gd name="connsiteX84" fmla="*/ 316252 w 4519987"/>
                    <a:gd name="connsiteY84" fmla="*/ 1114425 h 4429225"/>
                    <a:gd name="connsiteX85" fmla="*/ 363877 w 4519987"/>
                    <a:gd name="connsiteY85" fmla="*/ 1038225 h 4429225"/>
                    <a:gd name="connsiteX86" fmla="*/ 382927 w 4519987"/>
                    <a:gd name="connsiteY86" fmla="*/ 1009650 h 4429225"/>
                    <a:gd name="connsiteX87" fmla="*/ 440077 w 4519987"/>
                    <a:gd name="connsiteY87" fmla="*/ 904875 h 4429225"/>
                    <a:gd name="connsiteX88" fmla="*/ 478177 w 4519987"/>
                    <a:gd name="connsiteY88" fmla="*/ 857250 h 4429225"/>
                    <a:gd name="connsiteX89" fmla="*/ 497227 w 4519987"/>
                    <a:gd name="connsiteY89" fmla="*/ 828675 h 4429225"/>
                    <a:gd name="connsiteX90" fmla="*/ 535327 w 4519987"/>
                    <a:gd name="connsiteY90" fmla="*/ 800100 h 4429225"/>
                    <a:gd name="connsiteX91" fmla="*/ 602002 w 4519987"/>
                    <a:gd name="connsiteY91" fmla="*/ 733425 h 4429225"/>
                    <a:gd name="connsiteX92" fmla="*/ 668677 w 4519987"/>
                    <a:gd name="connsiteY92" fmla="*/ 676275 h 4429225"/>
                    <a:gd name="connsiteX93" fmla="*/ 697252 w 4519987"/>
                    <a:gd name="connsiteY93" fmla="*/ 657225 h 4429225"/>
                    <a:gd name="connsiteX94" fmla="*/ 840127 w 4519987"/>
                    <a:gd name="connsiteY94" fmla="*/ 533400 h 4429225"/>
                    <a:gd name="connsiteX95" fmla="*/ 887752 w 4519987"/>
                    <a:gd name="connsiteY95" fmla="*/ 504825 h 4429225"/>
                    <a:gd name="connsiteX96" fmla="*/ 1167152 w 4519987"/>
                    <a:gd name="connsiteY96" fmla="*/ 311150 h 4429225"/>
                    <a:gd name="connsiteX97" fmla="*/ 1268752 w 4519987"/>
                    <a:gd name="connsiteY97" fmla="*/ 285750 h 4429225"/>
                    <a:gd name="connsiteX98" fmla="*/ 1411627 w 4519987"/>
                    <a:gd name="connsiteY98" fmla="*/ 190500 h 4429225"/>
                    <a:gd name="connsiteX99" fmla="*/ 1449727 w 4519987"/>
                    <a:gd name="connsiteY99" fmla="*/ 161925 h 4429225"/>
                    <a:gd name="connsiteX100" fmla="*/ 1525927 w 4519987"/>
                    <a:gd name="connsiteY100" fmla="*/ 152400 h 4429225"/>
                    <a:gd name="connsiteX101" fmla="*/ 1583077 w 4519987"/>
                    <a:gd name="connsiteY101" fmla="*/ 142875 h 4429225"/>
                    <a:gd name="connsiteX102" fmla="*/ 1716427 w 4519987"/>
                    <a:gd name="connsiteY102" fmla="*/ 123825 h 4429225"/>
                    <a:gd name="connsiteX103" fmla="*/ 1811677 w 4519987"/>
                    <a:gd name="connsiteY103" fmla="*/ 114300 h 4429225"/>
                    <a:gd name="connsiteX104" fmla="*/ 1859302 w 4519987"/>
                    <a:gd name="connsiteY104" fmla="*/ 104775 h 4429225"/>
                    <a:gd name="connsiteX105" fmla="*/ 1916452 w 4519987"/>
                    <a:gd name="connsiteY105" fmla="*/ 95250 h 4429225"/>
                    <a:gd name="connsiteX106" fmla="*/ 2030752 w 4519987"/>
                    <a:gd name="connsiteY106" fmla="*/ 66675 h 4429225"/>
                    <a:gd name="connsiteX107" fmla="*/ 2097427 w 4519987"/>
                    <a:gd name="connsiteY107" fmla="*/ 47625 h 4429225"/>
                    <a:gd name="connsiteX108" fmla="*/ 2164102 w 4519987"/>
                    <a:gd name="connsiteY108" fmla="*/ 38100 h 4429225"/>
                    <a:gd name="connsiteX109" fmla="*/ 2392702 w 4519987"/>
                    <a:gd name="connsiteY10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725827 w 4519987"/>
                    <a:gd name="connsiteY50" fmla="*/ 3876675 h 4429225"/>
                    <a:gd name="connsiteX51" fmla="*/ 697252 w 4519987"/>
                    <a:gd name="connsiteY51" fmla="*/ 3838575 h 4429225"/>
                    <a:gd name="connsiteX52" fmla="*/ 640102 w 4519987"/>
                    <a:gd name="connsiteY52" fmla="*/ 3781425 h 4429225"/>
                    <a:gd name="connsiteX53" fmla="*/ 611527 w 4519987"/>
                    <a:gd name="connsiteY53" fmla="*/ 3733800 h 4429225"/>
                    <a:gd name="connsiteX54" fmla="*/ 554377 w 4519987"/>
                    <a:gd name="connsiteY54" fmla="*/ 3657600 h 4429225"/>
                    <a:gd name="connsiteX55" fmla="*/ 525802 w 4519987"/>
                    <a:gd name="connsiteY55" fmla="*/ 3609975 h 4429225"/>
                    <a:gd name="connsiteX56" fmla="*/ 497227 w 4519987"/>
                    <a:gd name="connsiteY56" fmla="*/ 3552825 h 4429225"/>
                    <a:gd name="connsiteX57" fmla="*/ 440077 w 4519987"/>
                    <a:gd name="connsiteY57" fmla="*/ 3495675 h 4429225"/>
                    <a:gd name="connsiteX58" fmla="*/ 411502 w 4519987"/>
                    <a:gd name="connsiteY58" fmla="*/ 3448050 h 4429225"/>
                    <a:gd name="connsiteX59" fmla="*/ 278152 w 4519987"/>
                    <a:gd name="connsiteY59" fmla="*/ 3257550 h 4429225"/>
                    <a:gd name="connsiteX60" fmla="*/ 249577 w 4519987"/>
                    <a:gd name="connsiteY60" fmla="*/ 3200400 h 4429225"/>
                    <a:gd name="connsiteX61" fmla="*/ 240052 w 4519987"/>
                    <a:gd name="connsiteY61" fmla="*/ 3162300 h 4429225"/>
                    <a:gd name="connsiteX62" fmla="*/ 221002 w 4519987"/>
                    <a:gd name="connsiteY62" fmla="*/ 3105150 h 4429225"/>
                    <a:gd name="connsiteX63" fmla="*/ 173377 w 4519987"/>
                    <a:gd name="connsiteY63" fmla="*/ 3019425 h 4429225"/>
                    <a:gd name="connsiteX64" fmla="*/ 144802 w 4519987"/>
                    <a:gd name="connsiteY64" fmla="*/ 2924175 h 4429225"/>
                    <a:gd name="connsiteX65" fmla="*/ 68602 w 4519987"/>
                    <a:gd name="connsiteY65" fmla="*/ 2724150 h 4429225"/>
                    <a:gd name="connsiteX66" fmla="*/ 49552 w 4519987"/>
                    <a:gd name="connsiteY66" fmla="*/ 2638425 h 4429225"/>
                    <a:gd name="connsiteX67" fmla="*/ 40027 w 4519987"/>
                    <a:gd name="connsiteY67" fmla="*/ 2562225 h 4429225"/>
                    <a:gd name="connsiteX68" fmla="*/ 30502 w 4519987"/>
                    <a:gd name="connsiteY68" fmla="*/ 2514600 h 4429225"/>
                    <a:gd name="connsiteX69" fmla="*/ 11452 w 4519987"/>
                    <a:gd name="connsiteY69" fmla="*/ 2400300 h 4429225"/>
                    <a:gd name="connsiteX70" fmla="*/ 20977 w 4519987"/>
                    <a:gd name="connsiteY70" fmla="*/ 1905000 h 4429225"/>
                    <a:gd name="connsiteX71" fmla="*/ 30502 w 4519987"/>
                    <a:gd name="connsiteY71" fmla="*/ 1838325 h 4429225"/>
                    <a:gd name="connsiteX72" fmla="*/ 49552 w 4519987"/>
                    <a:gd name="connsiteY72" fmla="*/ 1781175 h 4429225"/>
                    <a:gd name="connsiteX73" fmla="*/ 59077 w 4519987"/>
                    <a:gd name="connsiteY73" fmla="*/ 1743075 h 4429225"/>
                    <a:gd name="connsiteX74" fmla="*/ 78127 w 4519987"/>
                    <a:gd name="connsiteY74" fmla="*/ 1685925 h 4429225"/>
                    <a:gd name="connsiteX75" fmla="*/ 87652 w 4519987"/>
                    <a:gd name="connsiteY75" fmla="*/ 1638300 h 4429225"/>
                    <a:gd name="connsiteX76" fmla="*/ 106702 w 4519987"/>
                    <a:gd name="connsiteY76" fmla="*/ 1590675 h 4429225"/>
                    <a:gd name="connsiteX77" fmla="*/ 135277 w 4519987"/>
                    <a:gd name="connsiteY77" fmla="*/ 1504950 h 4429225"/>
                    <a:gd name="connsiteX78" fmla="*/ 154327 w 4519987"/>
                    <a:gd name="connsiteY78" fmla="*/ 1419225 h 4429225"/>
                    <a:gd name="connsiteX79" fmla="*/ 230527 w 4519987"/>
                    <a:gd name="connsiteY79" fmla="*/ 1276350 h 4429225"/>
                    <a:gd name="connsiteX80" fmla="*/ 240052 w 4519987"/>
                    <a:gd name="connsiteY80" fmla="*/ 1247775 h 4429225"/>
                    <a:gd name="connsiteX81" fmla="*/ 268627 w 4519987"/>
                    <a:gd name="connsiteY81" fmla="*/ 1200150 h 4429225"/>
                    <a:gd name="connsiteX82" fmla="*/ 287677 w 4519987"/>
                    <a:gd name="connsiteY82" fmla="*/ 1152525 h 4429225"/>
                    <a:gd name="connsiteX83" fmla="*/ 316252 w 4519987"/>
                    <a:gd name="connsiteY83" fmla="*/ 1114425 h 4429225"/>
                    <a:gd name="connsiteX84" fmla="*/ 363877 w 4519987"/>
                    <a:gd name="connsiteY84" fmla="*/ 1038225 h 4429225"/>
                    <a:gd name="connsiteX85" fmla="*/ 382927 w 4519987"/>
                    <a:gd name="connsiteY85" fmla="*/ 1009650 h 4429225"/>
                    <a:gd name="connsiteX86" fmla="*/ 440077 w 4519987"/>
                    <a:gd name="connsiteY86" fmla="*/ 904875 h 4429225"/>
                    <a:gd name="connsiteX87" fmla="*/ 478177 w 4519987"/>
                    <a:gd name="connsiteY87" fmla="*/ 857250 h 4429225"/>
                    <a:gd name="connsiteX88" fmla="*/ 497227 w 4519987"/>
                    <a:gd name="connsiteY88" fmla="*/ 828675 h 4429225"/>
                    <a:gd name="connsiteX89" fmla="*/ 535327 w 4519987"/>
                    <a:gd name="connsiteY89" fmla="*/ 800100 h 4429225"/>
                    <a:gd name="connsiteX90" fmla="*/ 602002 w 4519987"/>
                    <a:gd name="connsiteY90" fmla="*/ 733425 h 4429225"/>
                    <a:gd name="connsiteX91" fmla="*/ 668677 w 4519987"/>
                    <a:gd name="connsiteY91" fmla="*/ 676275 h 4429225"/>
                    <a:gd name="connsiteX92" fmla="*/ 697252 w 4519987"/>
                    <a:gd name="connsiteY92" fmla="*/ 657225 h 4429225"/>
                    <a:gd name="connsiteX93" fmla="*/ 840127 w 4519987"/>
                    <a:gd name="connsiteY93" fmla="*/ 533400 h 4429225"/>
                    <a:gd name="connsiteX94" fmla="*/ 887752 w 4519987"/>
                    <a:gd name="connsiteY94" fmla="*/ 504825 h 4429225"/>
                    <a:gd name="connsiteX95" fmla="*/ 1167152 w 4519987"/>
                    <a:gd name="connsiteY95" fmla="*/ 311150 h 4429225"/>
                    <a:gd name="connsiteX96" fmla="*/ 1268752 w 4519987"/>
                    <a:gd name="connsiteY96" fmla="*/ 285750 h 4429225"/>
                    <a:gd name="connsiteX97" fmla="*/ 1411627 w 4519987"/>
                    <a:gd name="connsiteY97" fmla="*/ 190500 h 4429225"/>
                    <a:gd name="connsiteX98" fmla="*/ 1449727 w 4519987"/>
                    <a:gd name="connsiteY98" fmla="*/ 161925 h 4429225"/>
                    <a:gd name="connsiteX99" fmla="*/ 1525927 w 4519987"/>
                    <a:gd name="connsiteY99" fmla="*/ 152400 h 4429225"/>
                    <a:gd name="connsiteX100" fmla="*/ 1583077 w 4519987"/>
                    <a:gd name="connsiteY100" fmla="*/ 142875 h 4429225"/>
                    <a:gd name="connsiteX101" fmla="*/ 1716427 w 4519987"/>
                    <a:gd name="connsiteY101" fmla="*/ 123825 h 4429225"/>
                    <a:gd name="connsiteX102" fmla="*/ 1811677 w 4519987"/>
                    <a:gd name="connsiteY102" fmla="*/ 114300 h 4429225"/>
                    <a:gd name="connsiteX103" fmla="*/ 1859302 w 4519987"/>
                    <a:gd name="connsiteY103" fmla="*/ 104775 h 4429225"/>
                    <a:gd name="connsiteX104" fmla="*/ 1916452 w 4519987"/>
                    <a:gd name="connsiteY104" fmla="*/ 95250 h 4429225"/>
                    <a:gd name="connsiteX105" fmla="*/ 2030752 w 4519987"/>
                    <a:gd name="connsiteY105" fmla="*/ 66675 h 4429225"/>
                    <a:gd name="connsiteX106" fmla="*/ 2097427 w 4519987"/>
                    <a:gd name="connsiteY106" fmla="*/ 47625 h 4429225"/>
                    <a:gd name="connsiteX107" fmla="*/ 2164102 w 4519987"/>
                    <a:gd name="connsiteY107" fmla="*/ 38100 h 4429225"/>
                    <a:gd name="connsiteX108" fmla="*/ 2392702 w 4519987"/>
                    <a:gd name="connsiteY10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40102 w 4519987"/>
                    <a:gd name="connsiteY51" fmla="*/ 3781425 h 4429225"/>
                    <a:gd name="connsiteX52" fmla="*/ 611527 w 4519987"/>
                    <a:gd name="connsiteY52" fmla="*/ 3733800 h 4429225"/>
                    <a:gd name="connsiteX53" fmla="*/ 554377 w 4519987"/>
                    <a:gd name="connsiteY53" fmla="*/ 3657600 h 4429225"/>
                    <a:gd name="connsiteX54" fmla="*/ 525802 w 4519987"/>
                    <a:gd name="connsiteY54" fmla="*/ 3609975 h 4429225"/>
                    <a:gd name="connsiteX55" fmla="*/ 497227 w 4519987"/>
                    <a:gd name="connsiteY55" fmla="*/ 3552825 h 4429225"/>
                    <a:gd name="connsiteX56" fmla="*/ 440077 w 4519987"/>
                    <a:gd name="connsiteY56" fmla="*/ 3495675 h 4429225"/>
                    <a:gd name="connsiteX57" fmla="*/ 411502 w 4519987"/>
                    <a:gd name="connsiteY57" fmla="*/ 3448050 h 4429225"/>
                    <a:gd name="connsiteX58" fmla="*/ 278152 w 4519987"/>
                    <a:gd name="connsiteY58" fmla="*/ 3257550 h 4429225"/>
                    <a:gd name="connsiteX59" fmla="*/ 249577 w 4519987"/>
                    <a:gd name="connsiteY59" fmla="*/ 3200400 h 4429225"/>
                    <a:gd name="connsiteX60" fmla="*/ 240052 w 4519987"/>
                    <a:gd name="connsiteY60" fmla="*/ 3162300 h 4429225"/>
                    <a:gd name="connsiteX61" fmla="*/ 221002 w 4519987"/>
                    <a:gd name="connsiteY61" fmla="*/ 3105150 h 4429225"/>
                    <a:gd name="connsiteX62" fmla="*/ 173377 w 4519987"/>
                    <a:gd name="connsiteY62" fmla="*/ 3019425 h 4429225"/>
                    <a:gd name="connsiteX63" fmla="*/ 144802 w 4519987"/>
                    <a:gd name="connsiteY63" fmla="*/ 2924175 h 4429225"/>
                    <a:gd name="connsiteX64" fmla="*/ 68602 w 4519987"/>
                    <a:gd name="connsiteY64" fmla="*/ 2724150 h 4429225"/>
                    <a:gd name="connsiteX65" fmla="*/ 49552 w 4519987"/>
                    <a:gd name="connsiteY65" fmla="*/ 2638425 h 4429225"/>
                    <a:gd name="connsiteX66" fmla="*/ 40027 w 4519987"/>
                    <a:gd name="connsiteY66" fmla="*/ 2562225 h 4429225"/>
                    <a:gd name="connsiteX67" fmla="*/ 30502 w 4519987"/>
                    <a:gd name="connsiteY67" fmla="*/ 2514600 h 4429225"/>
                    <a:gd name="connsiteX68" fmla="*/ 11452 w 4519987"/>
                    <a:gd name="connsiteY68" fmla="*/ 2400300 h 4429225"/>
                    <a:gd name="connsiteX69" fmla="*/ 20977 w 4519987"/>
                    <a:gd name="connsiteY69" fmla="*/ 1905000 h 4429225"/>
                    <a:gd name="connsiteX70" fmla="*/ 30502 w 4519987"/>
                    <a:gd name="connsiteY70" fmla="*/ 1838325 h 4429225"/>
                    <a:gd name="connsiteX71" fmla="*/ 49552 w 4519987"/>
                    <a:gd name="connsiteY71" fmla="*/ 1781175 h 4429225"/>
                    <a:gd name="connsiteX72" fmla="*/ 59077 w 4519987"/>
                    <a:gd name="connsiteY72" fmla="*/ 1743075 h 4429225"/>
                    <a:gd name="connsiteX73" fmla="*/ 78127 w 4519987"/>
                    <a:gd name="connsiteY73" fmla="*/ 1685925 h 4429225"/>
                    <a:gd name="connsiteX74" fmla="*/ 87652 w 4519987"/>
                    <a:gd name="connsiteY74" fmla="*/ 1638300 h 4429225"/>
                    <a:gd name="connsiteX75" fmla="*/ 106702 w 4519987"/>
                    <a:gd name="connsiteY75" fmla="*/ 1590675 h 4429225"/>
                    <a:gd name="connsiteX76" fmla="*/ 135277 w 4519987"/>
                    <a:gd name="connsiteY76" fmla="*/ 1504950 h 4429225"/>
                    <a:gd name="connsiteX77" fmla="*/ 154327 w 4519987"/>
                    <a:gd name="connsiteY77" fmla="*/ 1419225 h 4429225"/>
                    <a:gd name="connsiteX78" fmla="*/ 230527 w 4519987"/>
                    <a:gd name="connsiteY78" fmla="*/ 1276350 h 4429225"/>
                    <a:gd name="connsiteX79" fmla="*/ 240052 w 4519987"/>
                    <a:gd name="connsiteY79" fmla="*/ 1247775 h 4429225"/>
                    <a:gd name="connsiteX80" fmla="*/ 268627 w 4519987"/>
                    <a:gd name="connsiteY80" fmla="*/ 1200150 h 4429225"/>
                    <a:gd name="connsiteX81" fmla="*/ 287677 w 4519987"/>
                    <a:gd name="connsiteY81" fmla="*/ 1152525 h 4429225"/>
                    <a:gd name="connsiteX82" fmla="*/ 316252 w 4519987"/>
                    <a:gd name="connsiteY82" fmla="*/ 1114425 h 4429225"/>
                    <a:gd name="connsiteX83" fmla="*/ 363877 w 4519987"/>
                    <a:gd name="connsiteY83" fmla="*/ 1038225 h 4429225"/>
                    <a:gd name="connsiteX84" fmla="*/ 382927 w 4519987"/>
                    <a:gd name="connsiteY84" fmla="*/ 1009650 h 4429225"/>
                    <a:gd name="connsiteX85" fmla="*/ 440077 w 4519987"/>
                    <a:gd name="connsiteY85" fmla="*/ 904875 h 4429225"/>
                    <a:gd name="connsiteX86" fmla="*/ 478177 w 4519987"/>
                    <a:gd name="connsiteY86" fmla="*/ 857250 h 4429225"/>
                    <a:gd name="connsiteX87" fmla="*/ 497227 w 4519987"/>
                    <a:gd name="connsiteY87" fmla="*/ 828675 h 4429225"/>
                    <a:gd name="connsiteX88" fmla="*/ 535327 w 4519987"/>
                    <a:gd name="connsiteY88" fmla="*/ 800100 h 4429225"/>
                    <a:gd name="connsiteX89" fmla="*/ 602002 w 4519987"/>
                    <a:gd name="connsiteY89" fmla="*/ 733425 h 4429225"/>
                    <a:gd name="connsiteX90" fmla="*/ 668677 w 4519987"/>
                    <a:gd name="connsiteY90" fmla="*/ 676275 h 4429225"/>
                    <a:gd name="connsiteX91" fmla="*/ 697252 w 4519987"/>
                    <a:gd name="connsiteY91" fmla="*/ 657225 h 4429225"/>
                    <a:gd name="connsiteX92" fmla="*/ 840127 w 4519987"/>
                    <a:gd name="connsiteY92" fmla="*/ 533400 h 4429225"/>
                    <a:gd name="connsiteX93" fmla="*/ 887752 w 4519987"/>
                    <a:gd name="connsiteY93" fmla="*/ 504825 h 4429225"/>
                    <a:gd name="connsiteX94" fmla="*/ 1167152 w 4519987"/>
                    <a:gd name="connsiteY94" fmla="*/ 311150 h 4429225"/>
                    <a:gd name="connsiteX95" fmla="*/ 1268752 w 4519987"/>
                    <a:gd name="connsiteY95" fmla="*/ 285750 h 4429225"/>
                    <a:gd name="connsiteX96" fmla="*/ 1411627 w 4519987"/>
                    <a:gd name="connsiteY96" fmla="*/ 190500 h 4429225"/>
                    <a:gd name="connsiteX97" fmla="*/ 1449727 w 4519987"/>
                    <a:gd name="connsiteY97" fmla="*/ 161925 h 4429225"/>
                    <a:gd name="connsiteX98" fmla="*/ 1525927 w 4519987"/>
                    <a:gd name="connsiteY98" fmla="*/ 152400 h 4429225"/>
                    <a:gd name="connsiteX99" fmla="*/ 1583077 w 4519987"/>
                    <a:gd name="connsiteY99" fmla="*/ 142875 h 4429225"/>
                    <a:gd name="connsiteX100" fmla="*/ 1716427 w 4519987"/>
                    <a:gd name="connsiteY100" fmla="*/ 123825 h 4429225"/>
                    <a:gd name="connsiteX101" fmla="*/ 1811677 w 4519987"/>
                    <a:gd name="connsiteY101" fmla="*/ 114300 h 4429225"/>
                    <a:gd name="connsiteX102" fmla="*/ 1859302 w 4519987"/>
                    <a:gd name="connsiteY102" fmla="*/ 104775 h 4429225"/>
                    <a:gd name="connsiteX103" fmla="*/ 1916452 w 4519987"/>
                    <a:gd name="connsiteY103" fmla="*/ 95250 h 4429225"/>
                    <a:gd name="connsiteX104" fmla="*/ 2030752 w 4519987"/>
                    <a:gd name="connsiteY104" fmla="*/ 66675 h 4429225"/>
                    <a:gd name="connsiteX105" fmla="*/ 2097427 w 4519987"/>
                    <a:gd name="connsiteY105" fmla="*/ 47625 h 4429225"/>
                    <a:gd name="connsiteX106" fmla="*/ 2164102 w 4519987"/>
                    <a:gd name="connsiteY106" fmla="*/ 38100 h 4429225"/>
                    <a:gd name="connsiteX107" fmla="*/ 2392702 w 4519987"/>
                    <a:gd name="connsiteY10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11527 w 4519987"/>
                    <a:gd name="connsiteY51" fmla="*/ 3733800 h 4429225"/>
                    <a:gd name="connsiteX52" fmla="*/ 554377 w 4519987"/>
                    <a:gd name="connsiteY52" fmla="*/ 3657600 h 4429225"/>
                    <a:gd name="connsiteX53" fmla="*/ 525802 w 4519987"/>
                    <a:gd name="connsiteY53" fmla="*/ 3609975 h 4429225"/>
                    <a:gd name="connsiteX54" fmla="*/ 497227 w 4519987"/>
                    <a:gd name="connsiteY54" fmla="*/ 3552825 h 4429225"/>
                    <a:gd name="connsiteX55" fmla="*/ 440077 w 4519987"/>
                    <a:gd name="connsiteY55" fmla="*/ 3495675 h 4429225"/>
                    <a:gd name="connsiteX56" fmla="*/ 411502 w 4519987"/>
                    <a:gd name="connsiteY56" fmla="*/ 3448050 h 4429225"/>
                    <a:gd name="connsiteX57" fmla="*/ 278152 w 4519987"/>
                    <a:gd name="connsiteY57" fmla="*/ 3257550 h 4429225"/>
                    <a:gd name="connsiteX58" fmla="*/ 249577 w 4519987"/>
                    <a:gd name="connsiteY58" fmla="*/ 3200400 h 4429225"/>
                    <a:gd name="connsiteX59" fmla="*/ 240052 w 4519987"/>
                    <a:gd name="connsiteY59" fmla="*/ 3162300 h 4429225"/>
                    <a:gd name="connsiteX60" fmla="*/ 221002 w 4519987"/>
                    <a:gd name="connsiteY60" fmla="*/ 3105150 h 4429225"/>
                    <a:gd name="connsiteX61" fmla="*/ 173377 w 4519987"/>
                    <a:gd name="connsiteY61" fmla="*/ 3019425 h 4429225"/>
                    <a:gd name="connsiteX62" fmla="*/ 144802 w 4519987"/>
                    <a:gd name="connsiteY62" fmla="*/ 2924175 h 4429225"/>
                    <a:gd name="connsiteX63" fmla="*/ 68602 w 4519987"/>
                    <a:gd name="connsiteY63" fmla="*/ 2724150 h 4429225"/>
                    <a:gd name="connsiteX64" fmla="*/ 49552 w 4519987"/>
                    <a:gd name="connsiteY64" fmla="*/ 2638425 h 4429225"/>
                    <a:gd name="connsiteX65" fmla="*/ 40027 w 4519987"/>
                    <a:gd name="connsiteY65" fmla="*/ 2562225 h 4429225"/>
                    <a:gd name="connsiteX66" fmla="*/ 30502 w 4519987"/>
                    <a:gd name="connsiteY66" fmla="*/ 2514600 h 4429225"/>
                    <a:gd name="connsiteX67" fmla="*/ 11452 w 4519987"/>
                    <a:gd name="connsiteY67" fmla="*/ 2400300 h 4429225"/>
                    <a:gd name="connsiteX68" fmla="*/ 20977 w 4519987"/>
                    <a:gd name="connsiteY68" fmla="*/ 1905000 h 4429225"/>
                    <a:gd name="connsiteX69" fmla="*/ 30502 w 4519987"/>
                    <a:gd name="connsiteY69" fmla="*/ 1838325 h 4429225"/>
                    <a:gd name="connsiteX70" fmla="*/ 49552 w 4519987"/>
                    <a:gd name="connsiteY70" fmla="*/ 1781175 h 4429225"/>
                    <a:gd name="connsiteX71" fmla="*/ 59077 w 4519987"/>
                    <a:gd name="connsiteY71" fmla="*/ 1743075 h 4429225"/>
                    <a:gd name="connsiteX72" fmla="*/ 78127 w 4519987"/>
                    <a:gd name="connsiteY72" fmla="*/ 1685925 h 4429225"/>
                    <a:gd name="connsiteX73" fmla="*/ 87652 w 4519987"/>
                    <a:gd name="connsiteY73" fmla="*/ 1638300 h 4429225"/>
                    <a:gd name="connsiteX74" fmla="*/ 106702 w 4519987"/>
                    <a:gd name="connsiteY74" fmla="*/ 1590675 h 4429225"/>
                    <a:gd name="connsiteX75" fmla="*/ 135277 w 4519987"/>
                    <a:gd name="connsiteY75" fmla="*/ 1504950 h 4429225"/>
                    <a:gd name="connsiteX76" fmla="*/ 154327 w 4519987"/>
                    <a:gd name="connsiteY76" fmla="*/ 1419225 h 4429225"/>
                    <a:gd name="connsiteX77" fmla="*/ 230527 w 4519987"/>
                    <a:gd name="connsiteY77" fmla="*/ 1276350 h 4429225"/>
                    <a:gd name="connsiteX78" fmla="*/ 240052 w 4519987"/>
                    <a:gd name="connsiteY78" fmla="*/ 1247775 h 4429225"/>
                    <a:gd name="connsiteX79" fmla="*/ 268627 w 4519987"/>
                    <a:gd name="connsiteY79" fmla="*/ 1200150 h 4429225"/>
                    <a:gd name="connsiteX80" fmla="*/ 287677 w 4519987"/>
                    <a:gd name="connsiteY80" fmla="*/ 1152525 h 4429225"/>
                    <a:gd name="connsiteX81" fmla="*/ 316252 w 4519987"/>
                    <a:gd name="connsiteY81" fmla="*/ 1114425 h 4429225"/>
                    <a:gd name="connsiteX82" fmla="*/ 363877 w 4519987"/>
                    <a:gd name="connsiteY82" fmla="*/ 1038225 h 4429225"/>
                    <a:gd name="connsiteX83" fmla="*/ 382927 w 4519987"/>
                    <a:gd name="connsiteY83" fmla="*/ 1009650 h 4429225"/>
                    <a:gd name="connsiteX84" fmla="*/ 440077 w 4519987"/>
                    <a:gd name="connsiteY84" fmla="*/ 904875 h 4429225"/>
                    <a:gd name="connsiteX85" fmla="*/ 478177 w 4519987"/>
                    <a:gd name="connsiteY85" fmla="*/ 857250 h 4429225"/>
                    <a:gd name="connsiteX86" fmla="*/ 497227 w 4519987"/>
                    <a:gd name="connsiteY86" fmla="*/ 828675 h 4429225"/>
                    <a:gd name="connsiteX87" fmla="*/ 535327 w 4519987"/>
                    <a:gd name="connsiteY87" fmla="*/ 800100 h 4429225"/>
                    <a:gd name="connsiteX88" fmla="*/ 602002 w 4519987"/>
                    <a:gd name="connsiteY88" fmla="*/ 733425 h 4429225"/>
                    <a:gd name="connsiteX89" fmla="*/ 668677 w 4519987"/>
                    <a:gd name="connsiteY89" fmla="*/ 676275 h 4429225"/>
                    <a:gd name="connsiteX90" fmla="*/ 697252 w 4519987"/>
                    <a:gd name="connsiteY90" fmla="*/ 657225 h 4429225"/>
                    <a:gd name="connsiteX91" fmla="*/ 840127 w 4519987"/>
                    <a:gd name="connsiteY91" fmla="*/ 533400 h 4429225"/>
                    <a:gd name="connsiteX92" fmla="*/ 887752 w 4519987"/>
                    <a:gd name="connsiteY92" fmla="*/ 504825 h 4429225"/>
                    <a:gd name="connsiteX93" fmla="*/ 1167152 w 4519987"/>
                    <a:gd name="connsiteY93" fmla="*/ 311150 h 4429225"/>
                    <a:gd name="connsiteX94" fmla="*/ 1268752 w 4519987"/>
                    <a:gd name="connsiteY94" fmla="*/ 285750 h 4429225"/>
                    <a:gd name="connsiteX95" fmla="*/ 1411627 w 4519987"/>
                    <a:gd name="connsiteY95" fmla="*/ 190500 h 4429225"/>
                    <a:gd name="connsiteX96" fmla="*/ 1449727 w 4519987"/>
                    <a:gd name="connsiteY96" fmla="*/ 161925 h 4429225"/>
                    <a:gd name="connsiteX97" fmla="*/ 1525927 w 4519987"/>
                    <a:gd name="connsiteY97" fmla="*/ 152400 h 4429225"/>
                    <a:gd name="connsiteX98" fmla="*/ 1583077 w 4519987"/>
                    <a:gd name="connsiteY98" fmla="*/ 142875 h 4429225"/>
                    <a:gd name="connsiteX99" fmla="*/ 1716427 w 4519987"/>
                    <a:gd name="connsiteY99" fmla="*/ 123825 h 4429225"/>
                    <a:gd name="connsiteX100" fmla="*/ 1811677 w 4519987"/>
                    <a:gd name="connsiteY100" fmla="*/ 114300 h 4429225"/>
                    <a:gd name="connsiteX101" fmla="*/ 1859302 w 4519987"/>
                    <a:gd name="connsiteY101" fmla="*/ 104775 h 4429225"/>
                    <a:gd name="connsiteX102" fmla="*/ 1916452 w 4519987"/>
                    <a:gd name="connsiteY102" fmla="*/ 95250 h 4429225"/>
                    <a:gd name="connsiteX103" fmla="*/ 2030752 w 4519987"/>
                    <a:gd name="connsiteY103" fmla="*/ 66675 h 4429225"/>
                    <a:gd name="connsiteX104" fmla="*/ 2097427 w 4519987"/>
                    <a:gd name="connsiteY104" fmla="*/ 47625 h 4429225"/>
                    <a:gd name="connsiteX105" fmla="*/ 2164102 w 4519987"/>
                    <a:gd name="connsiteY105" fmla="*/ 38100 h 4429225"/>
                    <a:gd name="connsiteX106" fmla="*/ 2392702 w 4519987"/>
                    <a:gd name="connsiteY10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525802 w 4519987"/>
                    <a:gd name="connsiteY52" fmla="*/ 3609975 h 4429225"/>
                    <a:gd name="connsiteX53" fmla="*/ 497227 w 4519987"/>
                    <a:gd name="connsiteY53" fmla="*/ 3552825 h 4429225"/>
                    <a:gd name="connsiteX54" fmla="*/ 440077 w 4519987"/>
                    <a:gd name="connsiteY54" fmla="*/ 3495675 h 4429225"/>
                    <a:gd name="connsiteX55" fmla="*/ 411502 w 4519987"/>
                    <a:gd name="connsiteY55" fmla="*/ 3448050 h 4429225"/>
                    <a:gd name="connsiteX56" fmla="*/ 278152 w 4519987"/>
                    <a:gd name="connsiteY56" fmla="*/ 3257550 h 4429225"/>
                    <a:gd name="connsiteX57" fmla="*/ 249577 w 4519987"/>
                    <a:gd name="connsiteY57" fmla="*/ 3200400 h 4429225"/>
                    <a:gd name="connsiteX58" fmla="*/ 240052 w 4519987"/>
                    <a:gd name="connsiteY58" fmla="*/ 3162300 h 4429225"/>
                    <a:gd name="connsiteX59" fmla="*/ 221002 w 4519987"/>
                    <a:gd name="connsiteY59" fmla="*/ 3105150 h 4429225"/>
                    <a:gd name="connsiteX60" fmla="*/ 173377 w 4519987"/>
                    <a:gd name="connsiteY60" fmla="*/ 3019425 h 4429225"/>
                    <a:gd name="connsiteX61" fmla="*/ 144802 w 4519987"/>
                    <a:gd name="connsiteY61" fmla="*/ 2924175 h 4429225"/>
                    <a:gd name="connsiteX62" fmla="*/ 68602 w 4519987"/>
                    <a:gd name="connsiteY62" fmla="*/ 2724150 h 4429225"/>
                    <a:gd name="connsiteX63" fmla="*/ 49552 w 4519987"/>
                    <a:gd name="connsiteY63" fmla="*/ 2638425 h 4429225"/>
                    <a:gd name="connsiteX64" fmla="*/ 40027 w 4519987"/>
                    <a:gd name="connsiteY64" fmla="*/ 2562225 h 4429225"/>
                    <a:gd name="connsiteX65" fmla="*/ 30502 w 4519987"/>
                    <a:gd name="connsiteY65" fmla="*/ 2514600 h 4429225"/>
                    <a:gd name="connsiteX66" fmla="*/ 11452 w 4519987"/>
                    <a:gd name="connsiteY66" fmla="*/ 2400300 h 4429225"/>
                    <a:gd name="connsiteX67" fmla="*/ 20977 w 4519987"/>
                    <a:gd name="connsiteY67" fmla="*/ 1905000 h 4429225"/>
                    <a:gd name="connsiteX68" fmla="*/ 30502 w 4519987"/>
                    <a:gd name="connsiteY68" fmla="*/ 1838325 h 4429225"/>
                    <a:gd name="connsiteX69" fmla="*/ 49552 w 4519987"/>
                    <a:gd name="connsiteY69" fmla="*/ 1781175 h 4429225"/>
                    <a:gd name="connsiteX70" fmla="*/ 59077 w 4519987"/>
                    <a:gd name="connsiteY70" fmla="*/ 1743075 h 4429225"/>
                    <a:gd name="connsiteX71" fmla="*/ 78127 w 4519987"/>
                    <a:gd name="connsiteY71" fmla="*/ 1685925 h 4429225"/>
                    <a:gd name="connsiteX72" fmla="*/ 87652 w 4519987"/>
                    <a:gd name="connsiteY72" fmla="*/ 1638300 h 4429225"/>
                    <a:gd name="connsiteX73" fmla="*/ 106702 w 4519987"/>
                    <a:gd name="connsiteY73" fmla="*/ 1590675 h 4429225"/>
                    <a:gd name="connsiteX74" fmla="*/ 135277 w 4519987"/>
                    <a:gd name="connsiteY74" fmla="*/ 1504950 h 4429225"/>
                    <a:gd name="connsiteX75" fmla="*/ 154327 w 4519987"/>
                    <a:gd name="connsiteY75" fmla="*/ 1419225 h 4429225"/>
                    <a:gd name="connsiteX76" fmla="*/ 230527 w 4519987"/>
                    <a:gd name="connsiteY76" fmla="*/ 1276350 h 4429225"/>
                    <a:gd name="connsiteX77" fmla="*/ 240052 w 4519987"/>
                    <a:gd name="connsiteY77" fmla="*/ 1247775 h 4429225"/>
                    <a:gd name="connsiteX78" fmla="*/ 268627 w 4519987"/>
                    <a:gd name="connsiteY78" fmla="*/ 1200150 h 4429225"/>
                    <a:gd name="connsiteX79" fmla="*/ 287677 w 4519987"/>
                    <a:gd name="connsiteY79" fmla="*/ 1152525 h 4429225"/>
                    <a:gd name="connsiteX80" fmla="*/ 316252 w 4519987"/>
                    <a:gd name="connsiteY80" fmla="*/ 1114425 h 4429225"/>
                    <a:gd name="connsiteX81" fmla="*/ 363877 w 4519987"/>
                    <a:gd name="connsiteY81" fmla="*/ 1038225 h 4429225"/>
                    <a:gd name="connsiteX82" fmla="*/ 382927 w 4519987"/>
                    <a:gd name="connsiteY82" fmla="*/ 1009650 h 4429225"/>
                    <a:gd name="connsiteX83" fmla="*/ 440077 w 4519987"/>
                    <a:gd name="connsiteY83" fmla="*/ 904875 h 4429225"/>
                    <a:gd name="connsiteX84" fmla="*/ 478177 w 4519987"/>
                    <a:gd name="connsiteY84" fmla="*/ 857250 h 4429225"/>
                    <a:gd name="connsiteX85" fmla="*/ 497227 w 4519987"/>
                    <a:gd name="connsiteY85" fmla="*/ 828675 h 4429225"/>
                    <a:gd name="connsiteX86" fmla="*/ 535327 w 4519987"/>
                    <a:gd name="connsiteY86" fmla="*/ 800100 h 4429225"/>
                    <a:gd name="connsiteX87" fmla="*/ 602002 w 4519987"/>
                    <a:gd name="connsiteY87" fmla="*/ 733425 h 4429225"/>
                    <a:gd name="connsiteX88" fmla="*/ 668677 w 4519987"/>
                    <a:gd name="connsiteY88" fmla="*/ 676275 h 4429225"/>
                    <a:gd name="connsiteX89" fmla="*/ 697252 w 4519987"/>
                    <a:gd name="connsiteY89" fmla="*/ 657225 h 4429225"/>
                    <a:gd name="connsiteX90" fmla="*/ 840127 w 4519987"/>
                    <a:gd name="connsiteY90" fmla="*/ 533400 h 4429225"/>
                    <a:gd name="connsiteX91" fmla="*/ 887752 w 4519987"/>
                    <a:gd name="connsiteY91" fmla="*/ 504825 h 4429225"/>
                    <a:gd name="connsiteX92" fmla="*/ 1167152 w 4519987"/>
                    <a:gd name="connsiteY92" fmla="*/ 311150 h 4429225"/>
                    <a:gd name="connsiteX93" fmla="*/ 1268752 w 4519987"/>
                    <a:gd name="connsiteY93" fmla="*/ 285750 h 4429225"/>
                    <a:gd name="connsiteX94" fmla="*/ 1411627 w 4519987"/>
                    <a:gd name="connsiteY94" fmla="*/ 190500 h 4429225"/>
                    <a:gd name="connsiteX95" fmla="*/ 1449727 w 4519987"/>
                    <a:gd name="connsiteY95" fmla="*/ 161925 h 4429225"/>
                    <a:gd name="connsiteX96" fmla="*/ 1525927 w 4519987"/>
                    <a:gd name="connsiteY96" fmla="*/ 152400 h 4429225"/>
                    <a:gd name="connsiteX97" fmla="*/ 1583077 w 4519987"/>
                    <a:gd name="connsiteY97" fmla="*/ 142875 h 4429225"/>
                    <a:gd name="connsiteX98" fmla="*/ 1716427 w 4519987"/>
                    <a:gd name="connsiteY98" fmla="*/ 123825 h 4429225"/>
                    <a:gd name="connsiteX99" fmla="*/ 1811677 w 4519987"/>
                    <a:gd name="connsiteY99" fmla="*/ 114300 h 4429225"/>
                    <a:gd name="connsiteX100" fmla="*/ 1859302 w 4519987"/>
                    <a:gd name="connsiteY100" fmla="*/ 104775 h 4429225"/>
                    <a:gd name="connsiteX101" fmla="*/ 1916452 w 4519987"/>
                    <a:gd name="connsiteY101" fmla="*/ 95250 h 4429225"/>
                    <a:gd name="connsiteX102" fmla="*/ 2030752 w 4519987"/>
                    <a:gd name="connsiteY102" fmla="*/ 66675 h 4429225"/>
                    <a:gd name="connsiteX103" fmla="*/ 2097427 w 4519987"/>
                    <a:gd name="connsiteY103" fmla="*/ 47625 h 4429225"/>
                    <a:gd name="connsiteX104" fmla="*/ 2164102 w 4519987"/>
                    <a:gd name="connsiteY104" fmla="*/ 38100 h 4429225"/>
                    <a:gd name="connsiteX105" fmla="*/ 2392702 w 4519987"/>
                    <a:gd name="connsiteY105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411502 w 4519987"/>
                    <a:gd name="connsiteY54" fmla="*/ 3448050 h 4429225"/>
                    <a:gd name="connsiteX55" fmla="*/ 278152 w 4519987"/>
                    <a:gd name="connsiteY55" fmla="*/ 3257550 h 4429225"/>
                    <a:gd name="connsiteX56" fmla="*/ 249577 w 4519987"/>
                    <a:gd name="connsiteY56" fmla="*/ 3200400 h 4429225"/>
                    <a:gd name="connsiteX57" fmla="*/ 240052 w 4519987"/>
                    <a:gd name="connsiteY57" fmla="*/ 3162300 h 4429225"/>
                    <a:gd name="connsiteX58" fmla="*/ 221002 w 4519987"/>
                    <a:gd name="connsiteY58" fmla="*/ 3105150 h 4429225"/>
                    <a:gd name="connsiteX59" fmla="*/ 173377 w 4519987"/>
                    <a:gd name="connsiteY59" fmla="*/ 3019425 h 4429225"/>
                    <a:gd name="connsiteX60" fmla="*/ 144802 w 4519987"/>
                    <a:gd name="connsiteY60" fmla="*/ 2924175 h 4429225"/>
                    <a:gd name="connsiteX61" fmla="*/ 68602 w 4519987"/>
                    <a:gd name="connsiteY61" fmla="*/ 2724150 h 4429225"/>
                    <a:gd name="connsiteX62" fmla="*/ 49552 w 4519987"/>
                    <a:gd name="connsiteY62" fmla="*/ 2638425 h 4429225"/>
                    <a:gd name="connsiteX63" fmla="*/ 40027 w 4519987"/>
                    <a:gd name="connsiteY63" fmla="*/ 2562225 h 4429225"/>
                    <a:gd name="connsiteX64" fmla="*/ 30502 w 4519987"/>
                    <a:gd name="connsiteY64" fmla="*/ 2514600 h 4429225"/>
                    <a:gd name="connsiteX65" fmla="*/ 11452 w 4519987"/>
                    <a:gd name="connsiteY65" fmla="*/ 2400300 h 4429225"/>
                    <a:gd name="connsiteX66" fmla="*/ 20977 w 4519987"/>
                    <a:gd name="connsiteY66" fmla="*/ 1905000 h 4429225"/>
                    <a:gd name="connsiteX67" fmla="*/ 30502 w 4519987"/>
                    <a:gd name="connsiteY67" fmla="*/ 1838325 h 4429225"/>
                    <a:gd name="connsiteX68" fmla="*/ 49552 w 4519987"/>
                    <a:gd name="connsiteY68" fmla="*/ 1781175 h 4429225"/>
                    <a:gd name="connsiteX69" fmla="*/ 59077 w 4519987"/>
                    <a:gd name="connsiteY69" fmla="*/ 1743075 h 4429225"/>
                    <a:gd name="connsiteX70" fmla="*/ 78127 w 4519987"/>
                    <a:gd name="connsiteY70" fmla="*/ 1685925 h 4429225"/>
                    <a:gd name="connsiteX71" fmla="*/ 87652 w 4519987"/>
                    <a:gd name="connsiteY71" fmla="*/ 1638300 h 4429225"/>
                    <a:gd name="connsiteX72" fmla="*/ 106702 w 4519987"/>
                    <a:gd name="connsiteY72" fmla="*/ 1590675 h 4429225"/>
                    <a:gd name="connsiteX73" fmla="*/ 135277 w 4519987"/>
                    <a:gd name="connsiteY73" fmla="*/ 1504950 h 4429225"/>
                    <a:gd name="connsiteX74" fmla="*/ 154327 w 4519987"/>
                    <a:gd name="connsiteY74" fmla="*/ 1419225 h 4429225"/>
                    <a:gd name="connsiteX75" fmla="*/ 230527 w 4519987"/>
                    <a:gd name="connsiteY75" fmla="*/ 1276350 h 4429225"/>
                    <a:gd name="connsiteX76" fmla="*/ 240052 w 4519987"/>
                    <a:gd name="connsiteY76" fmla="*/ 1247775 h 4429225"/>
                    <a:gd name="connsiteX77" fmla="*/ 268627 w 4519987"/>
                    <a:gd name="connsiteY77" fmla="*/ 1200150 h 4429225"/>
                    <a:gd name="connsiteX78" fmla="*/ 287677 w 4519987"/>
                    <a:gd name="connsiteY78" fmla="*/ 1152525 h 4429225"/>
                    <a:gd name="connsiteX79" fmla="*/ 316252 w 4519987"/>
                    <a:gd name="connsiteY79" fmla="*/ 1114425 h 4429225"/>
                    <a:gd name="connsiteX80" fmla="*/ 363877 w 4519987"/>
                    <a:gd name="connsiteY80" fmla="*/ 1038225 h 4429225"/>
                    <a:gd name="connsiteX81" fmla="*/ 382927 w 4519987"/>
                    <a:gd name="connsiteY81" fmla="*/ 1009650 h 4429225"/>
                    <a:gd name="connsiteX82" fmla="*/ 440077 w 4519987"/>
                    <a:gd name="connsiteY82" fmla="*/ 904875 h 4429225"/>
                    <a:gd name="connsiteX83" fmla="*/ 478177 w 4519987"/>
                    <a:gd name="connsiteY83" fmla="*/ 857250 h 4429225"/>
                    <a:gd name="connsiteX84" fmla="*/ 497227 w 4519987"/>
                    <a:gd name="connsiteY84" fmla="*/ 828675 h 4429225"/>
                    <a:gd name="connsiteX85" fmla="*/ 535327 w 4519987"/>
                    <a:gd name="connsiteY85" fmla="*/ 800100 h 4429225"/>
                    <a:gd name="connsiteX86" fmla="*/ 602002 w 4519987"/>
                    <a:gd name="connsiteY86" fmla="*/ 733425 h 4429225"/>
                    <a:gd name="connsiteX87" fmla="*/ 668677 w 4519987"/>
                    <a:gd name="connsiteY87" fmla="*/ 676275 h 4429225"/>
                    <a:gd name="connsiteX88" fmla="*/ 697252 w 4519987"/>
                    <a:gd name="connsiteY88" fmla="*/ 657225 h 4429225"/>
                    <a:gd name="connsiteX89" fmla="*/ 840127 w 4519987"/>
                    <a:gd name="connsiteY89" fmla="*/ 533400 h 4429225"/>
                    <a:gd name="connsiteX90" fmla="*/ 887752 w 4519987"/>
                    <a:gd name="connsiteY90" fmla="*/ 504825 h 4429225"/>
                    <a:gd name="connsiteX91" fmla="*/ 1167152 w 4519987"/>
                    <a:gd name="connsiteY91" fmla="*/ 311150 h 4429225"/>
                    <a:gd name="connsiteX92" fmla="*/ 1268752 w 4519987"/>
                    <a:gd name="connsiteY92" fmla="*/ 285750 h 4429225"/>
                    <a:gd name="connsiteX93" fmla="*/ 1411627 w 4519987"/>
                    <a:gd name="connsiteY93" fmla="*/ 190500 h 4429225"/>
                    <a:gd name="connsiteX94" fmla="*/ 1449727 w 4519987"/>
                    <a:gd name="connsiteY94" fmla="*/ 161925 h 4429225"/>
                    <a:gd name="connsiteX95" fmla="*/ 1525927 w 4519987"/>
                    <a:gd name="connsiteY95" fmla="*/ 152400 h 4429225"/>
                    <a:gd name="connsiteX96" fmla="*/ 1583077 w 4519987"/>
                    <a:gd name="connsiteY96" fmla="*/ 142875 h 4429225"/>
                    <a:gd name="connsiteX97" fmla="*/ 1716427 w 4519987"/>
                    <a:gd name="connsiteY97" fmla="*/ 123825 h 4429225"/>
                    <a:gd name="connsiteX98" fmla="*/ 1811677 w 4519987"/>
                    <a:gd name="connsiteY98" fmla="*/ 114300 h 4429225"/>
                    <a:gd name="connsiteX99" fmla="*/ 1859302 w 4519987"/>
                    <a:gd name="connsiteY99" fmla="*/ 104775 h 4429225"/>
                    <a:gd name="connsiteX100" fmla="*/ 1916452 w 4519987"/>
                    <a:gd name="connsiteY100" fmla="*/ 95250 h 4429225"/>
                    <a:gd name="connsiteX101" fmla="*/ 2030752 w 4519987"/>
                    <a:gd name="connsiteY101" fmla="*/ 66675 h 4429225"/>
                    <a:gd name="connsiteX102" fmla="*/ 2097427 w 4519987"/>
                    <a:gd name="connsiteY102" fmla="*/ 47625 h 4429225"/>
                    <a:gd name="connsiteX103" fmla="*/ 2164102 w 4519987"/>
                    <a:gd name="connsiteY103" fmla="*/ 38100 h 4429225"/>
                    <a:gd name="connsiteX104" fmla="*/ 2392702 w 4519987"/>
                    <a:gd name="connsiteY10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278152 w 4519987"/>
                    <a:gd name="connsiteY54" fmla="*/ 3257550 h 4429225"/>
                    <a:gd name="connsiteX55" fmla="*/ 249577 w 4519987"/>
                    <a:gd name="connsiteY55" fmla="*/ 3200400 h 4429225"/>
                    <a:gd name="connsiteX56" fmla="*/ 240052 w 4519987"/>
                    <a:gd name="connsiteY56" fmla="*/ 3162300 h 4429225"/>
                    <a:gd name="connsiteX57" fmla="*/ 221002 w 4519987"/>
                    <a:gd name="connsiteY57" fmla="*/ 3105150 h 4429225"/>
                    <a:gd name="connsiteX58" fmla="*/ 173377 w 4519987"/>
                    <a:gd name="connsiteY58" fmla="*/ 3019425 h 4429225"/>
                    <a:gd name="connsiteX59" fmla="*/ 144802 w 4519987"/>
                    <a:gd name="connsiteY59" fmla="*/ 2924175 h 4429225"/>
                    <a:gd name="connsiteX60" fmla="*/ 68602 w 4519987"/>
                    <a:gd name="connsiteY60" fmla="*/ 2724150 h 4429225"/>
                    <a:gd name="connsiteX61" fmla="*/ 49552 w 4519987"/>
                    <a:gd name="connsiteY61" fmla="*/ 2638425 h 4429225"/>
                    <a:gd name="connsiteX62" fmla="*/ 40027 w 4519987"/>
                    <a:gd name="connsiteY62" fmla="*/ 2562225 h 4429225"/>
                    <a:gd name="connsiteX63" fmla="*/ 30502 w 4519987"/>
                    <a:gd name="connsiteY63" fmla="*/ 2514600 h 4429225"/>
                    <a:gd name="connsiteX64" fmla="*/ 11452 w 4519987"/>
                    <a:gd name="connsiteY64" fmla="*/ 2400300 h 4429225"/>
                    <a:gd name="connsiteX65" fmla="*/ 20977 w 4519987"/>
                    <a:gd name="connsiteY65" fmla="*/ 1905000 h 4429225"/>
                    <a:gd name="connsiteX66" fmla="*/ 30502 w 4519987"/>
                    <a:gd name="connsiteY66" fmla="*/ 1838325 h 4429225"/>
                    <a:gd name="connsiteX67" fmla="*/ 49552 w 4519987"/>
                    <a:gd name="connsiteY67" fmla="*/ 1781175 h 4429225"/>
                    <a:gd name="connsiteX68" fmla="*/ 59077 w 4519987"/>
                    <a:gd name="connsiteY68" fmla="*/ 1743075 h 4429225"/>
                    <a:gd name="connsiteX69" fmla="*/ 78127 w 4519987"/>
                    <a:gd name="connsiteY69" fmla="*/ 1685925 h 4429225"/>
                    <a:gd name="connsiteX70" fmla="*/ 87652 w 4519987"/>
                    <a:gd name="connsiteY70" fmla="*/ 1638300 h 4429225"/>
                    <a:gd name="connsiteX71" fmla="*/ 106702 w 4519987"/>
                    <a:gd name="connsiteY71" fmla="*/ 1590675 h 4429225"/>
                    <a:gd name="connsiteX72" fmla="*/ 135277 w 4519987"/>
                    <a:gd name="connsiteY72" fmla="*/ 1504950 h 4429225"/>
                    <a:gd name="connsiteX73" fmla="*/ 154327 w 4519987"/>
                    <a:gd name="connsiteY73" fmla="*/ 1419225 h 4429225"/>
                    <a:gd name="connsiteX74" fmla="*/ 230527 w 4519987"/>
                    <a:gd name="connsiteY74" fmla="*/ 1276350 h 4429225"/>
                    <a:gd name="connsiteX75" fmla="*/ 240052 w 4519987"/>
                    <a:gd name="connsiteY75" fmla="*/ 1247775 h 4429225"/>
                    <a:gd name="connsiteX76" fmla="*/ 268627 w 4519987"/>
                    <a:gd name="connsiteY76" fmla="*/ 1200150 h 4429225"/>
                    <a:gd name="connsiteX77" fmla="*/ 287677 w 4519987"/>
                    <a:gd name="connsiteY77" fmla="*/ 1152525 h 4429225"/>
                    <a:gd name="connsiteX78" fmla="*/ 316252 w 4519987"/>
                    <a:gd name="connsiteY78" fmla="*/ 1114425 h 4429225"/>
                    <a:gd name="connsiteX79" fmla="*/ 363877 w 4519987"/>
                    <a:gd name="connsiteY79" fmla="*/ 1038225 h 4429225"/>
                    <a:gd name="connsiteX80" fmla="*/ 382927 w 4519987"/>
                    <a:gd name="connsiteY80" fmla="*/ 1009650 h 4429225"/>
                    <a:gd name="connsiteX81" fmla="*/ 440077 w 4519987"/>
                    <a:gd name="connsiteY81" fmla="*/ 904875 h 4429225"/>
                    <a:gd name="connsiteX82" fmla="*/ 478177 w 4519987"/>
                    <a:gd name="connsiteY82" fmla="*/ 857250 h 4429225"/>
                    <a:gd name="connsiteX83" fmla="*/ 497227 w 4519987"/>
                    <a:gd name="connsiteY83" fmla="*/ 828675 h 4429225"/>
                    <a:gd name="connsiteX84" fmla="*/ 535327 w 4519987"/>
                    <a:gd name="connsiteY84" fmla="*/ 800100 h 4429225"/>
                    <a:gd name="connsiteX85" fmla="*/ 602002 w 4519987"/>
                    <a:gd name="connsiteY85" fmla="*/ 733425 h 4429225"/>
                    <a:gd name="connsiteX86" fmla="*/ 668677 w 4519987"/>
                    <a:gd name="connsiteY86" fmla="*/ 676275 h 4429225"/>
                    <a:gd name="connsiteX87" fmla="*/ 697252 w 4519987"/>
                    <a:gd name="connsiteY87" fmla="*/ 657225 h 4429225"/>
                    <a:gd name="connsiteX88" fmla="*/ 840127 w 4519987"/>
                    <a:gd name="connsiteY88" fmla="*/ 533400 h 4429225"/>
                    <a:gd name="connsiteX89" fmla="*/ 887752 w 4519987"/>
                    <a:gd name="connsiteY89" fmla="*/ 504825 h 4429225"/>
                    <a:gd name="connsiteX90" fmla="*/ 1167152 w 4519987"/>
                    <a:gd name="connsiteY90" fmla="*/ 311150 h 4429225"/>
                    <a:gd name="connsiteX91" fmla="*/ 1268752 w 4519987"/>
                    <a:gd name="connsiteY91" fmla="*/ 285750 h 4429225"/>
                    <a:gd name="connsiteX92" fmla="*/ 1411627 w 4519987"/>
                    <a:gd name="connsiteY92" fmla="*/ 190500 h 4429225"/>
                    <a:gd name="connsiteX93" fmla="*/ 1449727 w 4519987"/>
                    <a:gd name="connsiteY93" fmla="*/ 161925 h 4429225"/>
                    <a:gd name="connsiteX94" fmla="*/ 1525927 w 4519987"/>
                    <a:gd name="connsiteY94" fmla="*/ 152400 h 4429225"/>
                    <a:gd name="connsiteX95" fmla="*/ 1583077 w 4519987"/>
                    <a:gd name="connsiteY95" fmla="*/ 142875 h 4429225"/>
                    <a:gd name="connsiteX96" fmla="*/ 1716427 w 4519987"/>
                    <a:gd name="connsiteY96" fmla="*/ 123825 h 4429225"/>
                    <a:gd name="connsiteX97" fmla="*/ 1811677 w 4519987"/>
                    <a:gd name="connsiteY97" fmla="*/ 114300 h 4429225"/>
                    <a:gd name="connsiteX98" fmla="*/ 1859302 w 4519987"/>
                    <a:gd name="connsiteY98" fmla="*/ 104775 h 4429225"/>
                    <a:gd name="connsiteX99" fmla="*/ 1916452 w 4519987"/>
                    <a:gd name="connsiteY99" fmla="*/ 95250 h 4429225"/>
                    <a:gd name="connsiteX100" fmla="*/ 2030752 w 4519987"/>
                    <a:gd name="connsiteY100" fmla="*/ 66675 h 4429225"/>
                    <a:gd name="connsiteX101" fmla="*/ 2097427 w 4519987"/>
                    <a:gd name="connsiteY101" fmla="*/ 47625 h 4429225"/>
                    <a:gd name="connsiteX102" fmla="*/ 2164102 w 4519987"/>
                    <a:gd name="connsiteY102" fmla="*/ 38100 h 4429225"/>
                    <a:gd name="connsiteX103" fmla="*/ 2392702 w 4519987"/>
                    <a:gd name="connsiteY10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40077 w 4519987"/>
                    <a:gd name="connsiteY52" fmla="*/ 3495675 h 4429225"/>
                    <a:gd name="connsiteX53" fmla="*/ 278152 w 4519987"/>
                    <a:gd name="connsiteY53" fmla="*/ 3257550 h 4429225"/>
                    <a:gd name="connsiteX54" fmla="*/ 249577 w 4519987"/>
                    <a:gd name="connsiteY54" fmla="*/ 3200400 h 4429225"/>
                    <a:gd name="connsiteX55" fmla="*/ 240052 w 4519987"/>
                    <a:gd name="connsiteY55" fmla="*/ 3162300 h 4429225"/>
                    <a:gd name="connsiteX56" fmla="*/ 221002 w 4519987"/>
                    <a:gd name="connsiteY56" fmla="*/ 3105150 h 4429225"/>
                    <a:gd name="connsiteX57" fmla="*/ 173377 w 4519987"/>
                    <a:gd name="connsiteY57" fmla="*/ 3019425 h 4429225"/>
                    <a:gd name="connsiteX58" fmla="*/ 144802 w 4519987"/>
                    <a:gd name="connsiteY58" fmla="*/ 2924175 h 4429225"/>
                    <a:gd name="connsiteX59" fmla="*/ 68602 w 4519987"/>
                    <a:gd name="connsiteY59" fmla="*/ 2724150 h 4429225"/>
                    <a:gd name="connsiteX60" fmla="*/ 49552 w 4519987"/>
                    <a:gd name="connsiteY60" fmla="*/ 2638425 h 4429225"/>
                    <a:gd name="connsiteX61" fmla="*/ 40027 w 4519987"/>
                    <a:gd name="connsiteY61" fmla="*/ 2562225 h 4429225"/>
                    <a:gd name="connsiteX62" fmla="*/ 30502 w 4519987"/>
                    <a:gd name="connsiteY62" fmla="*/ 2514600 h 4429225"/>
                    <a:gd name="connsiteX63" fmla="*/ 11452 w 4519987"/>
                    <a:gd name="connsiteY63" fmla="*/ 2400300 h 4429225"/>
                    <a:gd name="connsiteX64" fmla="*/ 20977 w 4519987"/>
                    <a:gd name="connsiteY64" fmla="*/ 1905000 h 4429225"/>
                    <a:gd name="connsiteX65" fmla="*/ 30502 w 4519987"/>
                    <a:gd name="connsiteY65" fmla="*/ 1838325 h 4429225"/>
                    <a:gd name="connsiteX66" fmla="*/ 49552 w 4519987"/>
                    <a:gd name="connsiteY66" fmla="*/ 1781175 h 4429225"/>
                    <a:gd name="connsiteX67" fmla="*/ 59077 w 4519987"/>
                    <a:gd name="connsiteY67" fmla="*/ 1743075 h 4429225"/>
                    <a:gd name="connsiteX68" fmla="*/ 78127 w 4519987"/>
                    <a:gd name="connsiteY68" fmla="*/ 1685925 h 4429225"/>
                    <a:gd name="connsiteX69" fmla="*/ 87652 w 4519987"/>
                    <a:gd name="connsiteY69" fmla="*/ 1638300 h 4429225"/>
                    <a:gd name="connsiteX70" fmla="*/ 106702 w 4519987"/>
                    <a:gd name="connsiteY70" fmla="*/ 1590675 h 4429225"/>
                    <a:gd name="connsiteX71" fmla="*/ 135277 w 4519987"/>
                    <a:gd name="connsiteY71" fmla="*/ 1504950 h 4429225"/>
                    <a:gd name="connsiteX72" fmla="*/ 154327 w 4519987"/>
                    <a:gd name="connsiteY72" fmla="*/ 1419225 h 4429225"/>
                    <a:gd name="connsiteX73" fmla="*/ 230527 w 4519987"/>
                    <a:gd name="connsiteY73" fmla="*/ 1276350 h 4429225"/>
                    <a:gd name="connsiteX74" fmla="*/ 240052 w 4519987"/>
                    <a:gd name="connsiteY74" fmla="*/ 1247775 h 4429225"/>
                    <a:gd name="connsiteX75" fmla="*/ 268627 w 4519987"/>
                    <a:gd name="connsiteY75" fmla="*/ 1200150 h 4429225"/>
                    <a:gd name="connsiteX76" fmla="*/ 287677 w 4519987"/>
                    <a:gd name="connsiteY76" fmla="*/ 1152525 h 4429225"/>
                    <a:gd name="connsiteX77" fmla="*/ 316252 w 4519987"/>
                    <a:gd name="connsiteY77" fmla="*/ 1114425 h 4429225"/>
                    <a:gd name="connsiteX78" fmla="*/ 363877 w 4519987"/>
                    <a:gd name="connsiteY78" fmla="*/ 1038225 h 4429225"/>
                    <a:gd name="connsiteX79" fmla="*/ 382927 w 4519987"/>
                    <a:gd name="connsiteY79" fmla="*/ 1009650 h 4429225"/>
                    <a:gd name="connsiteX80" fmla="*/ 440077 w 4519987"/>
                    <a:gd name="connsiteY80" fmla="*/ 904875 h 4429225"/>
                    <a:gd name="connsiteX81" fmla="*/ 478177 w 4519987"/>
                    <a:gd name="connsiteY81" fmla="*/ 857250 h 4429225"/>
                    <a:gd name="connsiteX82" fmla="*/ 497227 w 4519987"/>
                    <a:gd name="connsiteY82" fmla="*/ 828675 h 4429225"/>
                    <a:gd name="connsiteX83" fmla="*/ 535327 w 4519987"/>
                    <a:gd name="connsiteY83" fmla="*/ 800100 h 4429225"/>
                    <a:gd name="connsiteX84" fmla="*/ 602002 w 4519987"/>
                    <a:gd name="connsiteY84" fmla="*/ 733425 h 4429225"/>
                    <a:gd name="connsiteX85" fmla="*/ 668677 w 4519987"/>
                    <a:gd name="connsiteY85" fmla="*/ 676275 h 4429225"/>
                    <a:gd name="connsiteX86" fmla="*/ 697252 w 4519987"/>
                    <a:gd name="connsiteY86" fmla="*/ 657225 h 4429225"/>
                    <a:gd name="connsiteX87" fmla="*/ 840127 w 4519987"/>
                    <a:gd name="connsiteY87" fmla="*/ 533400 h 4429225"/>
                    <a:gd name="connsiteX88" fmla="*/ 887752 w 4519987"/>
                    <a:gd name="connsiteY88" fmla="*/ 504825 h 4429225"/>
                    <a:gd name="connsiteX89" fmla="*/ 1167152 w 4519987"/>
                    <a:gd name="connsiteY89" fmla="*/ 311150 h 4429225"/>
                    <a:gd name="connsiteX90" fmla="*/ 1268752 w 4519987"/>
                    <a:gd name="connsiteY90" fmla="*/ 285750 h 4429225"/>
                    <a:gd name="connsiteX91" fmla="*/ 1411627 w 4519987"/>
                    <a:gd name="connsiteY91" fmla="*/ 190500 h 4429225"/>
                    <a:gd name="connsiteX92" fmla="*/ 1449727 w 4519987"/>
                    <a:gd name="connsiteY92" fmla="*/ 161925 h 4429225"/>
                    <a:gd name="connsiteX93" fmla="*/ 1525927 w 4519987"/>
                    <a:gd name="connsiteY93" fmla="*/ 152400 h 4429225"/>
                    <a:gd name="connsiteX94" fmla="*/ 1583077 w 4519987"/>
                    <a:gd name="connsiteY94" fmla="*/ 142875 h 4429225"/>
                    <a:gd name="connsiteX95" fmla="*/ 1716427 w 4519987"/>
                    <a:gd name="connsiteY95" fmla="*/ 123825 h 4429225"/>
                    <a:gd name="connsiteX96" fmla="*/ 1811677 w 4519987"/>
                    <a:gd name="connsiteY96" fmla="*/ 114300 h 4429225"/>
                    <a:gd name="connsiteX97" fmla="*/ 1859302 w 4519987"/>
                    <a:gd name="connsiteY97" fmla="*/ 104775 h 4429225"/>
                    <a:gd name="connsiteX98" fmla="*/ 1916452 w 4519987"/>
                    <a:gd name="connsiteY98" fmla="*/ 95250 h 4429225"/>
                    <a:gd name="connsiteX99" fmla="*/ 2030752 w 4519987"/>
                    <a:gd name="connsiteY99" fmla="*/ 66675 h 4429225"/>
                    <a:gd name="connsiteX100" fmla="*/ 2097427 w 4519987"/>
                    <a:gd name="connsiteY100" fmla="*/ 47625 h 4429225"/>
                    <a:gd name="connsiteX101" fmla="*/ 2164102 w 4519987"/>
                    <a:gd name="connsiteY101" fmla="*/ 38100 h 4429225"/>
                    <a:gd name="connsiteX102" fmla="*/ 2392702 w 4519987"/>
                    <a:gd name="connsiteY10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40052 w 4519987"/>
                    <a:gd name="connsiteY54" fmla="*/ 3162300 h 4429225"/>
                    <a:gd name="connsiteX55" fmla="*/ 221002 w 4519987"/>
                    <a:gd name="connsiteY55" fmla="*/ 3105150 h 4429225"/>
                    <a:gd name="connsiteX56" fmla="*/ 173377 w 4519987"/>
                    <a:gd name="connsiteY56" fmla="*/ 3019425 h 4429225"/>
                    <a:gd name="connsiteX57" fmla="*/ 144802 w 4519987"/>
                    <a:gd name="connsiteY57" fmla="*/ 2924175 h 4429225"/>
                    <a:gd name="connsiteX58" fmla="*/ 68602 w 4519987"/>
                    <a:gd name="connsiteY58" fmla="*/ 2724150 h 4429225"/>
                    <a:gd name="connsiteX59" fmla="*/ 49552 w 4519987"/>
                    <a:gd name="connsiteY59" fmla="*/ 2638425 h 4429225"/>
                    <a:gd name="connsiteX60" fmla="*/ 40027 w 4519987"/>
                    <a:gd name="connsiteY60" fmla="*/ 2562225 h 4429225"/>
                    <a:gd name="connsiteX61" fmla="*/ 30502 w 4519987"/>
                    <a:gd name="connsiteY61" fmla="*/ 2514600 h 4429225"/>
                    <a:gd name="connsiteX62" fmla="*/ 11452 w 4519987"/>
                    <a:gd name="connsiteY62" fmla="*/ 2400300 h 4429225"/>
                    <a:gd name="connsiteX63" fmla="*/ 20977 w 4519987"/>
                    <a:gd name="connsiteY63" fmla="*/ 1905000 h 4429225"/>
                    <a:gd name="connsiteX64" fmla="*/ 30502 w 4519987"/>
                    <a:gd name="connsiteY64" fmla="*/ 1838325 h 4429225"/>
                    <a:gd name="connsiteX65" fmla="*/ 49552 w 4519987"/>
                    <a:gd name="connsiteY65" fmla="*/ 1781175 h 4429225"/>
                    <a:gd name="connsiteX66" fmla="*/ 59077 w 4519987"/>
                    <a:gd name="connsiteY66" fmla="*/ 1743075 h 4429225"/>
                    <a:gd name="connsiteX67" fmla="*/ 78127 w 4519987"/>
                    <a:gd name="connsiteY67" fmla="*/ 1685925 h 4429225"/>
                    <a:gd name="connsiteX68" fmla="*/ 87652 w 4519987"/>
                    <a:gd name="connsiteY68" fmla="*/ 1638300 h 4429225"/>
                    <a:gd name="connsiteX69" fmla="*/ 106702 w 4519987"/>
                    <a:gd name="connsiteY69" fmla="*/ 1590675 h 4429225"/>
                    <a:gd name="connsiteX70" fmla="*/ 135277 w 4519987"/>
                    <a:gd name="connsiteY70" fmla="*/ 1504950 h 4429225"/>
                    <a:gd name="connsiteX71" fmla="*/ 154327 w 4519987"/>
                    <a:gd name="connsiteY71" fmla="*/ 1419225 h 4429225"/>
                    <a:gd name="connsiteX72" fmla="*/ 230527 w 4519987"/>
                    <a:gd name="connsiteY72" fmla="*/ 1276350 h 4429225"/>
                    <a:gd name="connsiteX73" fmla="*/ 240052 w 4519987"/>
                    <a:gd name="connsiteY73" fmla="*/ 1247775 h 4429225"/>
                    <a:gd name="connsiteX74" fmla="*/ 268627 w 4519987"/>
                    <a:gd name="connsiteY74" fmla="*/ 1200150 h 4429225"/>
                    <a:gd name="connsiteX75" fmla="*/ 287677 w 4519987"/>
                    <a:gd name="connsiteY75" fmla="*/ 1152525 h 4429225"/>
                    <a:gd name="connsiteX76" fmla="*/ 316252 w 4519987"/>
                    <a:gd name="connsiteY76" fmla="*/ 1114425 h 4429225"/>
                    <a:gd name="connsiteX77" fmla="*/ 363877 w 4519987"/>
                    <a:gd name="connsiteY77" fmla="*/ 1038225 h 4429225"/>
                    <a:gd name="connsiteX78" fmla="*/ 382927 w 4519987"/>
                    <a:gd name="connsiteY78" fmla="*/ 1009650 h 4429225"/>
                    <a:gd name="connsiteX79" fmla="*/ 440077 w 4519987"/>
                    <a:gd name="connsiteY79" fmla="*/ 904875 h 4429225"/>
                    <a:gd name="connsiteX80" fmla="*/ 478177 w 4519987"/>
                    <a:gd name="connsiteY80" fmla="*/ 857250 h 4429225"/>
                    <a:gd name="connsiteX81" fmla="*/ 497227 w 4519987"/>
                    <a:gd name="connsiteY81" fmla="*/ 828675 h 4429225"/>
                    <a:gd name="connsiteX82" fmla="*/ 535327 w 4519987"/>
                    <a:gd name="connsiteY82" fmla="*/ 800100 h 4429225"/>
                    <a:gd name="connsiteX83" fmla="*/ 602002 w 4519987"/>
                    <a:gd name="connsiteY83" fmla="*/ 733425 h 4429225"/>
                    <a:gd name="connsiteX84" fmla="*/ 668677 w 4519987"/>
                    <a:gd name="connsiteY84" fmla="*/ 676275 h 4429225"/>
                    <a:gd name="connsiteX85" fmla="*/ 697252 w 4519987"/>
                    <a:gd name="connsiteY85" fmla="*/ 657225 h 4429225"/>
                    <a:gd name="connsiteX86" fmla="*/ 840127 w 4519987"/>
                    <a:gd name="connsiteY86" fmla="*/ 533400 h 4429225"/>
                    <a:gd name="connsiteX87" fmla="*/ 887752 w 4519987"/>
                    <a:gd name="connsiteY87" fmla="*/ 504825 h 4429225"/>
                    <a:gd name="connsiteX88" fmla="*/ 1167152 w 4519987"/>
                    <a:gd name="connsiteY88" fmla="*/ 311150 h 4429225"/>
                    <a:gd name="connsiteX89" fmla="*/ 1268752 w 4519987"/>
                    <a:gd name="connsiteY89" fmla="*/ 285750 h 4429225"/>
                    <a:gd name="connsiteX90" fmla="*/ 1411627 w 4519987"/>
                    <a:gd name="connsiteY90" fmla="*/ 190500 h 4429225"/>
                    <a:gd name="connsiteX91" fmla="*/ 1449727 w 4519987"/>
                    <a:gd name="connsiteY91" fmla="*/ 161925 h 4429225"/>
                    <a:gd name="connsiteX92" fmla="*/ 1525927 w 4519987"/>
                    <a:gd name="connsiteY92" fmla="*/ 152400 h 4429225"/>
                    <a:gd name="connsiteX93" fmla="*/ 1583077 w 4519987"/>
                    <a:gd name="connsiteY93" fmla="*/ 142875 h 4429225"/>
                    <a:gd name="connsiteX94" fmla="*/ 1716427 w 4519987"/>
                    <a:gd name="connsiteY94" fmla="*/ 123825 h 4429225"/>
                    <a:gd name="connsiteX95" fmla="*/ 1811677 w 4519987"/>
                    <a:gd name="connsiteY95" fmla="*/ 114300 h 4429225"/>
                    <a:gd name="connsiteX96" fmla="*/ 1859302 w 4519987"/>
                    <a:gd name="connsiteY96" fmla="*/ 104775 h 4429225"/>
                    <a:gd name="connsiteX97" fmla="*/ 1916452 w 4519987"/>
                    <a:gd name="connsiteY97" fmla="*/ 95250 h 4429225"/>
                    <a:gd name="connsiteX98" fmla="*/ 2030752 w 4519987"/>
                    <a:gd name="connsiteY98" fmla="*/ 66675 h 4429225"/>
                    <a:gd name="connsiteX99" fmla="*/ 2097427 w 4519987"/>
                    <a:gd name="connsiteY99" fmla="*/ 47625 h 4429225"/>
                    <a:gd name="connsiteX100" fmla="*/ 2164102 w 4519987"/>
                    <a:gd name="connsiteY100" fmla="*/ 38100 h 4429225"/>
                    <a:gd name="connsiteX101" fmla="*/ 2392702 w 4519987"/>
                    <a:gd name="connsiteY10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21002 w 4519987"/>
                    <a:gd name="connsiteY54" fmla="*/ 3105150 h 4429225"/>
                    <a:gd name="connsiteX55" fmla="*/ 173377 w 4519987"/>
                    <a:gd name="connsiteY55" fmla="*/ 3019425 h 4429225"/>
                    <a:gd name="connsiteX56" fmla="*/ 144802 w 4519987"/>
                    <a:gd name="connsiteY56" fmla="*/ 2924175 h 4429225"/>
                    <a:gd name="connsiteX57" fmla="*/ 68602 w 4519987"/>
                    <a:gd name="connsiteY57" fmla="*/ 2724150 h 4429225"/>
                    <a:gd name="connsiteX58" fmla="*/ 49552 w 4519987"/>
                    <a:gd name="connsiteY58" fmla="*/ 2638425 h 4429225"/>
                    <a:gd name="connsiteX59" fmla="*/ 40027 w 4519987"/>
                    <a:gd name="connsiteY59" fmla="*/ 2562225 h 4429225"/>
                    <a:gd name="connsiteX60" fmla="*/ 30502 w 4519987"/>
                    <a:gd name="connsiteY60" fmla="*/ 2514600 h 4429225"/>
                    <a:gd name="connsiteX61" fmla="*/ 11452 w 4519987"/>
                    <a:gd name="connsiteY61" fmla="*/ 2400300 h 4429225"/>
                    <a:gd name="connsiteX62" fmla="*/ 20977 w 4519987"/>
                    <a:gd name="connsiteY62" fmla="*/ 1905000 h 4429225"/>
                    <a:gd name="connsiteX63" fmla="*/ 30502 w 4519987"/>
                    <a:gd name="connsiteY63" fmla="*/ 1838325 h 4429225"/>
                    <a:gd name="connsiteX64" fmla="*/ 49552 w 4519987"/>
                    <a:gd name="connsiteY64" fmla="*/ 1781175 h 4429225"/>
                    <a:gd name="connsiteX65" fmla="*/ 59077 w 4519987"/>
                    <a:gd name="connsiteY65" fmla="*/ 1743075 h 4429225"/>
                    <a:gd name="connsiteX66" fmla="*/ 78127 w 4519987"/>
                    <a:gd name="connsiteY66" fmla="*/ 1685925 h 4429225"/>
                    <a:gd name="connsiteX67" fmla="*/ 87652 w 4519987"/>
                    <a:gd name="connsiteY67" fmla="*/ 1638300 h 4429225"/>
                    <a:gd name="connsiteX68" fmla="*/ 106702 w 4519987"/>
                    <a:gd name="connsiteY68" fmla="*/ 1590675 h 4429225"/>
                    <a:gd name="connsiteX69" fmla="*/ 135277 w 4519987"/>
                    <a:gd name="connsiteY69" fmla="*/ 1504950 h 4429225"/>
                    <a:gd name="connsiteX70" fmla="*/ 154327 w 4519987"/>
                    <a:gd name="connsiteY70" fmla="*/ 1419225 h 4429225"/>
                    <a:gd name="connsiteX71" fmla="*/ 230527 w 4519987"/>
                    <a:gd name="connsiteY71" fmla="*/ 1276350 h 4429225"/>
                    <a:gd name="connsiteX72" fmla="*/ 240052 w 4519987"/>
                    <a:gd name="connsiteY72" fmla="*/ 1247775 h 4429225"/>
                    <a:gd name="connsiteX73" fmla="*/ 268627 w 4519987"/>
                    <a:gd name="connsiteY73" fmla="*/ 1200150 h 4429225"/>
                    <a:gd name="connsiteX74" fmla="*/ 287677 w 4519987"/>
                    <a:gd name="connsiteY74" fmla="*/ 1152525 h 4429225"/>
                    <a:gd name="connsiteX75" fmla="*/ 316252 w 4519987"/>
                    <a:gd name="connsiteY75" fmla="*/ 1114425 h 4429225"/>
                    <a:gd name="connsiteX76" fmla="*/ 363877 w 4519987"/>
                    <a:gd name="connsiteY76" fmla="*/ 1038225 h 4429225"/>
                    <a:gd name="connsiteX77" fmla="*/ 382927 w 4519987"/>
                    <a:gd name="connsiteY77" fmla="*/ 1009650 h 4429225"/>
                    <a:gd name="connsiteX78" fmla="*/ 440077 w 4519987"/>
                    <a:gd name="connsiteY78" fmla="*/ 904875 h 4429225"/>
                    <a:gd name="connsiteX79" fmla="*/ 478177 w 4519987"/>
                    <a:gd name="connsiteY79" fmla="*/ 857250 h 4429225"/>
                    <a:gd name="connsiteX80" fmla="*/ 497227 w 4519987"/>
                    <a:gd name="connsiteY80" fmla="*/ 828675 h 4429225"/>
                    <a:gd name="connsiteX81" fmla="*/ 535327 w 4519987"/>
                    <a:gd name="connsiteY81" fmla="*/ 800100 h 4429225"/>
                    <a:gd name="connsiteX82" fmla="*/ 602002 w 4519987"/>
                    <a:gd name="connsiteY82" fmla="*/ 733425 h 4429225"/>
                    <a:gd name="connsiteX83" fmla="*/ 668677 w 4519987"/>
                    <a:gd name="connsiteY83" fmla="*/ 676275 h 4429225"/>
                    <a:gd name="connsiteX84" fmla="*/ 697252 w 4519987"/>
                    <a:gd name="connsiteY84" fmla="*/ 657225 h 4429225"/>
                    <a:gd name="connsiteX85" fmla="*/ 840127 w 4519987"/>
                    <a:gd name="connsiteY85" fmla="*/ 533400 h 4429225"/>
                    <a:gd name="connsiteX86" fmla="*/ 887752 w 4519987"/>
                    <a:gd name="connsiteY86" fmla="*/ 504825 h 4429225"/>
                    <a:gd name="connsiteX87" fmla="*/ 1167152 w 4519987"/>
                    <a:gd name="connsiteY87" fmla="*/ 311150 h 4429225"/>
                    <a:gd name="connsiteX88" fmla="*/ 1268752 w 4519987"/>
                    <a:gd name="connsiteY88" fmla="*/ 285750 h 4429225"/>
                    <a:gd name="connsiteX89" fmla="*/ 1411627 w 4519987"/>
                    <a:gd name="connsiteY89" fmla="*/ 190500 h 4429225"/>
                    <a:gd name="connsiteX90" fmla="*/ 1449727 w 4519987"/>
                    <a:gd name="connsiteY90" fmla="*/ 161925 h 4429225"/>
                    <a:gd name="connsiteX91" fmla="*/ 1525927 w 4519987"/>
                    <a:gd name="connsiteY91" fmla="*/ 152400 h 4429225"/>
                    <a:gd name="connsiteX92" fmla="*/ 1583077 w 4519987"/>
                    <a:gd name="connsiteY92" fmla="*/ 142875 h 4429225"/>
                    <a:gd name="connsiteX93" fmla="*/ 1716427 w 4519987"/>
                    <a:gd name="connsiteY93" fmla="*/ 123825 h 4429225"/>
                    <a:gd name="connsiteX94" fmla="*/ 1811677 w 4519987"/>
                    <a:gd name="connsiteY94" fmla="*/ 114300 h 4429225"/>
                    <a:gd name="connsiteX95" fmla="*/ 1859302 w 4519987"/>
                    <a:gd name="connsiteY95" fmla="*/ 104775 h 4429225"/>
                    <a:gd name="connsiteX96" fmla="*/ 1916452 w 4519987"/>
                    <a:gd name="connsiteY96" fmla="*/ 95250 h 4429225"/>
                    <a:gd name="connsiteX97" fmla="*/ 2030752 w 4519987"/>
                    <a:gd name="connsiteY97" fmla="*/ 66675 h 4429225"/>
                    <a:gd name="connsiteX98" fmla="*/ 2097427 w 4519987"/>
                    <a:gd name="connsiteY98" fmla="*/ 47625 h 4429225"/>
                    <a:gd name="connsiteX99" fmla="*/ 2164102 w 4519987"/>
                    <a:gd name="connsiteY99" fmla="*/ 38100 h 4429225"/>
                    <a:gd name="connsiteX100" fmla="*/ 2392702 w 4519987"/>
                    <a:gd name="connsiteY10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73377 w 4519987"/>
                    <a:gd name="connsiteY54" fmla="*/ 3019425 h 4429225"/>
                    <a:gd name="connsiteX55" fmla="*/ 144802 w 4519987"/>
                    <a:gd name="connsiteY55" fmla="*/ 2924175 h 4429225"/>
                    <a:gd name="connsiteX56" fmla="*/ 68602 w 4519987"/>
                    <a:gd name="connsiteY56" fmla="*/ 2724150 h 4429225"/>
                    <a:gd name="connsiteX57" fmla="*/ 49552 w 4519987"/>
                    <a:gd name="connsiteY57" fmla="*/ 2638425 h 4429225"/>
                    <a:gd name="connsiteX58" fmla="*/ 40027 w 4519987"/>
                    <a:gd name="connsiteY58" fmla="*/ 2562225 h 4429225"/>
                    <a:gd name="connsiteX59" fmla="*/ 30502 w 4519987"/>
                    <a:gd name="connsiteY59" fmla="*/ 2514600 h 4429225"/>
                    <a:gd name="connsiteX60" fmla="*/ 11452 w 4519987"/>
                    <a:gd name="connsiteY60" fmla="*/ 2400300 h 4429225"/>
                    <a:gd name="connsiteX61" fmla="*/ 20977 w 4519987"/>
                    <a:gd name="connsiteY61" fmla="*/ 1905000 h 4429225"/>
                    <a:gd name="connsiteX62" fmla="*/ 30502 w 4519987"/>
                    <a:gd name="connsiteY62" fmla="*/ 1838325 h 4429225"/>
                    <a:gd name="connsiteX63" fmla="*/ 49552 w 4519987"/>
                    <a:gd name="connsiteY63" fmla="*/ 1781175 h 4429225"/>
                    <a:gd name="connsiteX64" fmla="*/ 59077 w 4519987"/>
                    <a:gd name="connsiteY64" fmla="*/ 1743075 h 4429225"/>
                    <a:gd name="connsiteX65" fmla="*/ 78127 w 4519987"/>
                    <a:gd name="connsiteY65" fmla="*/ 1685925 h 4429225"/>
                    <a:gd name="connsiteX66" fmla="*/ 87652 w 4519987"/>
                    <a:gd name="connsiteY66" fmla="*/ 1638300 h 4429225"/>
                    <a:gd name="connsiteX67" fmla="*/ 106702 w 4519987"/>
                    <a:gd name="connsiteY67" fmla="*/ 1590675 h 4429225"/>
                    <a:gd name="connsiteX68" fmla="*/ 135277 w 4519987"/>
                    <a:gd name="connsiteY68" fmla="*/ 1504950 h 4429225"/>
                    <a:gd name="connsiteX69" fmla="*/ 154327 w 4519987"/>
                    <a:gd name="connsiteY69" fmla="*/ 1419225 h 4429225"/>
                    <a:gd name="connsiteX70" fmla="*/ 230527 w 4519987"/>
                    <a:gd name="connsiteY70" fmla="*/ 1276350 h 4429225"/>
                    <a:gd name="connsiteX71" fmla="*/ 240052 w 4519987"/>
                    <a:gd name="connsiteY71" fmla="*/ 1247775 h 4429225"/>
                    <a:gd name="connsiteX72" fmla="*/ 268627 w 4519987"/>
                    <a:gd name="connsiteY72" fmla="*/ 1200150 h 4429225"/>
                    <a:gd name="connsiteX73" fmla="*/ 287677 w 4519987"/>
                    <a:gd name="connsiteY73" fmla="*/ 1152525 h 4429225"/>
                    <a:gd name="connsiteX74" fmla="*/ 316252 w 4519987"/>
                    <a:gd name="connsiteY74" fmla="*/ 1114425 h 4429225"/>
                    <a:gd name="connsiteX75" fmla="*/ 363877 w 4519987"/>
                    <a:gd name="connsiteY75" fmla="*/ 1038225 h 4429225"/>
                    <a:gd name="connsiteX76" fmla="*/ 382927 w 4519987"/>
                    <a:gd name="connsiteY76" fmla="*/ 1009650 h 4429225"/>
                    <a:gd name="connsiteX77" fmla="*/ 440077 w 4519987"/>
                    <a:gd name="connsiteY77" fmla="*/ 904875 h 4429225"/>
                    <a:gd name="connsiteX78" fmla="*/ 478177 w 4519987"/>
                    <a:gd name="connsiteY78" fmla="*/ 857250 h 4429225"/>
                    <a:gd name="connsiteX79" fmla="*/ 497227 w 4519987"/>
                    <a:gd name="connsiteY79" fmla="*/ 828675 h 4429225"/>
                    <a:gd name="connsiteX80" fmla="*/ 535327 w 4519987"/>
                    <a:gd name="connsiteY80" fmla="*/ 800100 h 4429225"/>
                    <a:gd name="connsiteX81" fmla="*/ 602002 w 4519987"/>
                    <a:gd name="connsiteY81" fmla="*/ 733425 h 4429225"/>
                    <a:gd name="connsiteX82" fmla="*/ 668677 w 4519987"/>
                    <a:gd name="connsiteY82" fmla="*/ 676275 h 4429225"/>
                    <a:gd name="connsiteX83" fmla="*/ 697252 w 4519987"/>
                    <a:gd name="connsiteY83" fmla="*/ 657225 h 4429225"/>
                    <a:gd name="connsiteX84" fmla="*/ 840127 w 4519987"/>
                    <a:gd name="connsiteY84" fmla="*/ 533400 h 4429225"/>
                    <a:gd name="connsiteX85" fmla="*/ 887752 w 4519987"/>
                    <a:gd name="connsiteY85" fmla="*/ 504825 h 4429225"/>
                    <a:gd name="connsiteX86" fmla="*/ 1167152 w 4519987"/>
                    <a:gd name="connsiteY86" fmla="*/ 311150 h 4429225"/>
                    <a:gd name="connsiteX87" fmla="*/ 1268752 w 4519987"/>
                    <a:gd name="connsiteY87" fmla="*/ 285750 h 4429225"/>
                    <a:gd name="connsiteX88" fmla="*/ 1411627 w 4519987"/>
                    <a:gd name="connsiteY88" fmla="*/ 190500 h 4429225"/>
                    <a:gd name="connsiteX89" fmla="*/ 1449727 w 4519987"/>
                    <a:gd name="connsiteY89" fmla="*/ 161925 h 4429225"/>
                    <a:gd name="connsiteX90" fmla="*/ 1525927 w 4519987"/>
                    <a:gd name="connsiteY90" fmla="*/ 152400 h 4429225"/>
                    <a:gd name="connsiteX91" fmla="*/ 1583077 w 4519987"/>
                    <a:gd name="connsiteY91" fmla="*/ 142875 h 4429225"/>
                    <a:gd name="connsiteX92" fmla="*/ 1716427 w 4519987"/>
                    <a:gd name="connsiteY92" fmla="*/ 123825 h 4429225"/>
                    <a:gd name="connsiteX93" fmla="*/ 1811677 w 4519987"/>
                    <a:gd name="connsiteY93" fmla="*/ 114300 h 4429225"/>
                    <a:gd name="connsiteX94" fmla="*/ 1859302 w 4519987"/>
                    <a:gd name="connsiteY94" fmla="*/ 104775 h 4429225"/>
                    <a:gd name="connsiteX95" fmla="*/ 1916452 w 4519987"/>
                    <a:gd name="connsiteY95" fmla="*/ 95250 h 4429225"/>
                    <a:gd name="connsiteX96" fmla="*/ 2030752 w 4519987"/>
                    <a:gd name="connsiteY96" fmla="*/ 66675 h 4429225"/>
                    <a:gd name="connsiteX97" fmla="*/ 2097427 w 4519987"/>
                    <a:gd name="connsiteY97" fmla="*/ 47625 h 4429225"/>
                    <a:gd name="connsiteX98" fmla="*/ 2164102 w 4519987"/>
                    <a:gd name="connsiteY98" fmla="*/ 38100 h 4429225"/>
                    <a:gd name="connsiteX99" fmla="*/ 2392702 w 4519987"/>
                    <a:gd name="connsiteY9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9552 w 4519987"/>
                    <a:gd name="connsiteY56" fmla="*/ 2638425 h 4429225"/>
                    <a:gd name="connsiteX57" fmla="*/ 40027 w 4519987"/>
                    <a:gd name="connsiteY57" fmla="*/ 2562225 h 4429225"/>
                    <a:gd name="connsiteX58" fmla="*/ 30502 w 4519987"/>
                    <a:gd name="connsiteY58" fmla="*/ 2514600 h 4429225"/>
                    <a:gd name="connsiteX59" fmla="*/ 11452 w 4519987"/>
                    <a:gd name="connsiteY59" fmla="*/ 2400300 h 4429225"/>
                    <a:gd name="connsiteX60" fmla="*/ 20977 w 4519987"/>
                    <a:gd name="connsiteY60" fmla="*/ 1905000 h 4429225"/>
                    <a:gd name="connsiteX61" fmla="*/ 30502 w 4519987"/>
                    <a:gd name="connsiteY61" fmla="*/ 1838325 h 4429225"/>
                    <a:gd name="connsiteX62" fmla="*/ 49552 w 4519987"/>
                    <a:gd name="connsiteY62" fmla="*/ 1781175 h 4429225"/>
                    <a:gd name="connsiteX63" fmla="*/ 59077 w 4519987"/>
                    <a:gd name="connsiteY63" fmla="*/ 1743075 h 4429225"/>
                    <a:gd name="connsiteX64" fmla="*/ 78127 w 4519987"/>
                    <a:gd name="connsiteY64" fmla="*/ 1685925 h 4429225"/>
                    <a:gd name="connsiteX65" fmla="*/ 87652 w 4519987"/>
                    <a:gd name="connsiteY65" fmla="*/ 1638300 h 4429225"/>
                    <a:gd name="connsiteX66" fmla="*/ 106702 w 4519987"/>
                    <a:gd name="connsiteY66" fmla="*/ 1590675 h 4429225"/>
                    <a:gd name="connsiteX67" fmla="*/ 135277 w 4519987"/>
                    <a:gd name="connsiteY67" fmla="*/ 1504950 h 4429225"/>
                    <a:gd name="connsiteX68" fmla="*/ 154327 w 4519987"/>
                    <a:gd name="connsiteY68" fmla="*/ 1419225 h 4429225"/>
                    <a:gd name="connsiteX69" fmla="*/ 230527 w 4519987"/>
                    <a:gd name="connsiteY69" fmla="*/ 1276350 h 4429225"/>
                    <a:gd name="connsiteX70" fmla="*/ 240052 w 4519987"/>
                    <a:gd name="connsiteY70" fmla="*/ 1247775 h 4429225"/>
                    <a:gd name="connsiteX71" fmla="*/ 268627 w 4519987"/>
                    <a:gd name="connsiteY71" fmla="*/ 1200150 h 4429225"/>
                    <a:gd name="connsiteX72" fmla="*/ 287677 w 4519987"/>
                    <a:gd name="connsiteY72" fmla="*/ 1152525 h 4429225"/>
                    <a:gd name="connsiteX73" fmla="*/ 316252 w 4519987"/>
                    <a:gd name="connsiteY73" fmla="*/ 1114425 h 4429225"/>
                    <a:gd name="connsiteX74" fmla="*/ 363877 w 4519987"/>
                    <a:gd name="connsiteY74" fmla="*/ 1038225 h 4429225"/>
                    <a:gd name="connsiteX75" fmla="*/ 382927 w 4519987"/>
                    <a:gd name="connsiteY75" fmla="*/ 1009650 h 4429225"/>
                    <a:gd name="connsiteX76" fmla="*/ 440077 w 4519987"/>
                    <a:gd name="connsiteY76" fmla="*/ 904875 h 4429225"/>
                    <a:gd name="connsiteX77" fmla="*/ 478177 w 4519987"/>
                    <a:gd name="connsiteY77" fmla="*/ 857250 h 4429225"/>
                    <a:gd name="connsiteX78" fmla="*/ 497227 w 4519987"/>
                    <a:gd name="connsiteY78" fmla="*/ 828675 h 4429225"/>
                    <a:gd name="connsiteX79" fmla="*/ 535327 w 4519987"/>
                    <a:gd name="connsiteY79" fmla="*/ 800100 h 4429225"/>
                    <a:gd name="connsiteX80" fmla="*/ 602002 w 4519987"/>
                    <a:gd name="connsiteY80" fmla="*/ 733425 h 4429225"/>
                    <a:gd name="connsiteX81" fmla="*/ 668677 w 4519987"/>
                    <a:gd name="connsiteY81" fmla="*/ 676275 h 4429225"/>
                    <a:gd name="connsiteX82" fmla="*/ 697252 w 4519987"/>
                    <a:gd name="connsiteY82" fmla="*/ 657225 h 4429225"/>
                    <a:gd name="connsiteX83" fmla="*/ 840127 w 4519987"/>
                    <a:gd name="connsiteY83" fmla="*/ 533400 h 4429225"/>
                    <a:gd name="connsiteX84" fmla="*/ 887752 w 4519987"/>
                    <a:gd name="connsiteY84" fmla="*/ 504825 h 4429225"/>
                    <a:gd name="connsiteX85" fmla="*/ 1167152 w 4519987"/>
                    <a:gd name="connsiteY85" fmla="*/ 311150 h 4429225"/>
                    <a:gd name="connsiteX86" fmla="*/ 1268752 w 4519987"/>
                    <a:gd name="connsiteY86" fmla="*/ 285750 h 4429225"/>
                    <a:gd name="connsiteX87" fmla="*/ 1411627 w 4519987"/>
                    <a:gd name="connsiteY87" fmla="*/ 190500 h 4429225"/>
                    <a:gd name="connsiteX88" fmla="*/ 1449727 w 4519987"/>
                    <a:gd name="connsiteY88" fmla="*/ 161925 h 4429225"/>
                    <a:gd name="connsiteX89" fmla="*/ 1525927 w 4519987"/>
                    <a:gd name="connsiteY89" fmla="*/ 152400 h 4429225"/>
                    <a:gd name="connsiteX90" fmla="*/ 1583077 w 4519987"/>
                    <a:gd name="connsiteY90" fmla="*/ 142875 h 4429225"/>
                    <a:gd name="connsiteX91" fmla="*/ 1716427 w 4519987"/>
                    <a:gd name="connsiteY91" fmla="*/ 123825 h 4429225"/>
                    <a:gd name="connsiteX92" fmla="*/ 1811677 w 4519987"/>
                    <a:gd name="connsiteY92" fmla="*/ 114300 h 4429225"/>
                    <a:gd name="connsiteX93" fmla="*/ 1859302 w 4519987"/>
                    <a:gd name="connsiteY93" fmla="*/ 104775 h 4429225"/>
                    <a:gd name="connsiteX94" fmla="*/ 1916452 w 4519987"/>
                    <a:gd name="connsiteY94" fmla="*/ 95250 h 4429225"/>
                    <a:gd name="connsiteX95" fmla="*/ 2030752 w 4519987"/>
                    <a:gd name="connsiteY95" fmla="*/ 66675 h 4429225"/>
                    <a:gd name="connsiteX96" fmla="*/ 2097427 w 4519987"/>
                    <a:gd name="connsiteY96" fmla="*/ 47625 h 4429225"/>
                    <a:gd name="connsiteX97" fmla="*/ 2164102 w 4519987"/>
                    <a:gd name="connsiteY97" fmla="*/ 38100 h 4429225"/>
                    <a:gd name="connsiteX98" fmla="*/ 2392702 w 4519987"/>
                    <a:gd name="connsiteY9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30502 w 4519987"/>
                    <a:gd name="connsiteY57" fmla="*/ 2514600 h 4429225"/>
                    <a:gd name="connsiteX58" fmla="*/ 11452 w 4519987"/>
                    <a:gd name="connsiteY58" fmla="*/ 2400300 h 4429225"/>
                    <a:gd name="connsiteX59" fmla="*/ 20977 w 4519987"/>
                    <a:gd name="connsiteY59" fmla="*/ 1905000 h 4429225"/>
                    <a:gd name="connsiteX60" fmla="*/ 30502 w 4519987"/>
                    <a:gd name="connsiteY60" fmla="*/ 1838325 h 4429225"/>
                    <a:gd name="connsiteX61" fmla="*/ 49552 w 4519987"/>
                    <a:gd name="connsiteY61" fmla="*/ 1781175 h 4429225"/>
                    <a:gd name="connsiteX62" fmla="*/ 59077 w 4519987"/>
                    <a:gd name="connsiteY62" fmla="*/ 1743075 h 4429225"/>
                    <a:gd name="connsiteX63" fmla="*/ 78127 w 4519987"/>
                    <a:gd name="connsiteY63" fmla="*/ 1685925 h 4429225"/>
                    <a:gd name="connsiteX64" fmla="*/ 87652 w 4519987"/>
                    <a:gd name="connsiteY64" fmla="*/ 1638300 h 4429225"/>
                    <a:gd name="connsiteX65" fmla="*/ 106702 w 4519987"/>
                    <a:gd name="connsiteY65" fmla="*/ 1590675 h 4429225"/>
                    <a:gd name="connsiteX66" fmla="*/ 135277 w 4519987"/>
                    <a:gd name="connsiteY66" fmla="*/ 1504950 h 4429225"/>
                    <a:gd name="connsiteX67" fmla="*/ 154327 w 4519987"/>
                    <a:gd name="connsiteY67" fmla="*/ 1419225 h 4429225"/>
                    <a:gd name="connsiteX68" fmla="*/ 230527 w 4519987"/>
                    <a:gd name="connsiteY68" fmla="*/ 1276350 h 4429225"/>
                    <a:gd name="connsiteX69" fmla="*/ 240052 w 4519987"/>
                    <a:gd name="connsiteY69" fmla="*/ 1247775 h 4429225"/>
                    <a:gd name="connsiteX70" fmla="*/ 268627 w 4519987"/>
                    <a:gd name="connsiteY70" fmla="*/ 1200150 h 4429225"/>
                    <a:gd name="connsiteX71" fmla="*/ 287677 w 4519987"/>
                    <a:gd name="connsiteY71" fmla="*/ 1152525 h 4429225"/>
                    <a:gd name="connsiteX72" fmla="*/ 316252 w 4519987"/>
                    <a:gd name="connsiteY72" fmla="*/ 1114425 h 4429225"/>
                    <a:gd name="connsiteX73" fmla="*/ 363877 w 4519987"/>
                    <a:gd name="connsiteY73" fmla="*/ 1038225 h 4429225"/>
                    <a:gd name="connsiteX74" fmla="*/ 382927 w 4519987"/>
                    <a:gd name="connsiteY74" fmla="*/ 1009650 h 4429225"/>
                    <a:gd name="connsiteX75" fmla="*/ 440077 w 4519987"/>
                    <a:gd name="connsiteY75" fmla="*/ 904875 h 4429225"/>
                    <a:gd name="connsiteX76" fmla="*/ 478177 w 4519987"/>
                    <a:gd name="connsiteY76" fmla="*/ 857250 h 4429225"/>
                    <a:gd name="connsiteX77" fmla="*/ 497227 w 4519987"/>
                    <a:gd name="connsiteY77" fmla="*/ 828675 h 4429225"/>
                    <a:gd name="connsiteX78" fmla="*/ 535327 w 4519987"/>
                    <a:gd name="connsiteY78" fmla="*/ 800100 h 4429225"/>
                    <a:gd name="connsiteX79" fmla="*/ 602002 w 4519987"/>
                    <a:gd name="connsiteY79" fmla="*/ 733425 h 4429225"/>
                    <a:gd name="connsiteX80" fmla="*/ 668677 w 4519987"/>
                    <a:gd name="connsiteY80" fmla="*/ 676275 h 4429225"/>
                    <a:gd name="connsiteX81" fmla="*/ 697252 w 4519987"/>
                    <a:gd name="connsiteY81" fmla="*/ 657225 h 4429225"/>
                    <a:gd name="connsiteX82" fmla="*/ 840127 w 4519987"/>
                    <a:gd name="connsiteY82" fmla="*/ 533400 h 4429225"/>
                    <a:gd name="connsiteX83" fmla="*/ 887752 w 4519987"/>
                    <a:gd name="connsiteY83" fmla="*/ 504825 h 4429225"/>
                    <a:gd name="connsiteX84" fmla="*/ 1167152 w 4519987"/>
                    <a:gd name="connsiteY84" fmla="*/ 311150 h 4429225"/>
                    <a:gd name="connsiteX85" fmla="*/ 1268752 w 4519987"/>
                    <a:gd name="connsiteY85" fmla="*/ 285750 h 4429225"/>
                    <a:gd name="connsiteX86" fmla="*/ 1411627 w 4519987"/>
                    <a:gd name="connsiteY86" fmla="*/ 190500 h 4429225"/>
                    <a:gd name="connsiteX87" fmla="*/ 1449727 w 4519987"/>
                    <a:gd name="connsiteY87" fmla="*/ 161925 h 4429225"/>
                    <a:gd name="connsiteX88" fmla="*/ 1525927 w 4519987"/>
                    <a:gd name="connsiteY88" fmla="*/ 152400 h 4429225"/>
                    <a:gd name="connsiteX89" fmla="*/ 1583077 w 4519987"/>
                    <a:gd name="connsiteY89" fmla="*/ 142875 h 4429225"/>
                    <a:gd name="connsiteX90" fmla="*/ 1716427 w 4519987"/>
                    <a:gd name="connsiteY90" fmla="*/ 123825 h 4429225"/>
                    <a:gd name="connsiteX91" fmla="*/ 1811677 w 4519987"/>
                    <a:gd name="connsiteY91" fmla="*/ 114300 h 4429225"/>
                    <a:gd name="connsiteX92" fmla="*/ 1859302 w 4519987"/>
                    <a:gd name="connsiteY92" fmla="*/ 104775 h 4429225"/>
                    <a:gd name="connsiteX93" fmla="*/ 1916452 w 4519987"/>
                    <a:gd name="connsiteY93" fmla="*/ 95250 h 4429225"/>
                    <a:gd name="connsiteX94" fmla="*/ 2030752 w 4519987"/>
                    <a:gd name="connsiteY94" fmla="*/ 66675 h 4429225"/>
                    <a:gd name="connsiteX95" fmla="*/ 2097427 w 4519987"/>
                    <a:gd name="connsiteY95" fmla="*/ 47625 h 4429225"/>
                    <a:gd name="connsiteX96" fmla="*/ 2164102 w 4519987"/>
                    <a:gd name="connsiteY96" fmla="*/ 38100 h 4429225"/>
                    <a:gd name="connsiteX97" fmla="*/ 2392702 w 4519987"/>
                    <a:gd name="connsiteY9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11452 w 4519987"/>
                    <a:gd name="connsiteY57" fmla="*/ 2400300 h 4429225"/>
                    <a:gd name="connsiteX58" fmla="*/ 20977 w 4519987"/>
                    <a:gd name="connsiteY58" fmla="*/ 1905000 h 4429225"/>
                    <a:gd name="connsiteX59" fmla="*/ 30502 w 4519987"/>
                    <a:gd name="connsiteY59" fmla="*/ 1838325 h 4429225"/>
                    <a:gd name="connsiteX60" fmla="*/ 49552 w 4519987"/>
                    <a:gd name="connsiteY60" fmla="*/ 1781175 h 4429225"/>
                    <a:gd name="connsiteX61" fmla="*/ 59077 w 4519987"/>
                    <a:gd name="connsiteY61" fmla="*/ 1743075 h 4429225"/>
                    <a:gd name="connsiteX62" fmla="*/ 78127 w 4519987"/>
                    <a:gd name="connsiteY62" fmla="*/ 1685925 h 4429225"/>
                    <a:gd name="connsiteX63" fmla="*/ 87652 w 4519987"/>
                    <a:gd name="connsiteY63" fmla="*/ 1638300 h 4429225"/>
                    <a:gd name="connsiteX64" fmla="*/ 106702 w 4519987"/>
                    <a:gd name="connsiteY64" fmla="*/ 1590675 h 4429225"/>
                    <a:gd name="connsiteX65" fmla="*/ 135277 w 4519987"/>
                    <a:gd name="connsiteY65" fmla="*/ 1504950 h 4429225"/>
                    <a:gd name="connsiteX66" fmla="*/ 154327 w 4519987"/>
                    <a:gd name="connsiteY66" fmla="*/ 1419225 h 4429225"/>
                    <a:gd name="connsiteX67" fmla="*/ 230527 w 4519987"/>
                    <a:gd name="connsiteY67" fmla="*/ 1276350 h 4429225"/>
                    <a:gd name="connsiteX68" fmla="*/ 240052 w 4519987"/>
                    <a:gd name="connsiteY68" fmla="*/ 1247775 h 4429225"/>
                    <a:gd name="connsiteX69" fmla="*/ 268627 w 4519987"/>
                    <a:gd name="connsiteY69" fmla="*/ 1200150 h 4429225"/>
                    <a:gd name="connsiteX70" fmla="*/ 287677 w 4519987"/>
                    <a:gd name="connsiteY70" fmla="*/ 1152525 h 4429225"/>
                    <a:gd name="connsiteX71" fmla="*/ 316252 w 4519987"/>
                    <a:gd name="connsiteY71" fmla="*/ 1114425 h 4429225"/>
                    <a:gd name="connsiteX72" fmla="*/ 363877 w 4519987"/>
                    <a:gd name="connsiteY72" fmla="*/ 1038225 h 4429225"/>
                    <a:gd name="connsiteX73" fmla="*/ 382927 w 4519987"/>
                    <a:gd name="connsiteY73" fmla="*/ 1009650 h 4429225"/>
                    <a:gd name="connsiteX74" fmla="*/ 440077 w 4519987"/>
                    <a:gd name="connsiteY74" fmla="*/ 904875 h 4429225"/>
                    <a:gd name="connsiteX75" fmla="*/ 478177 w 4519987"/>
                    <a:gd name="connsiteY75" fmla="*/ 857250 h 4429225"/>
                    <a:gd name="connsiteX76" fmla="*/ 497227 w 4519987"/>
                    <a:gd name="connsiteY76" fmla="*/ 828675 h 4429225"/>
                    <a:gd name="connsiteX77" fmla="*/ 535327 w 4519987"/>
                    <a:gd name="connsiteY77" fmla="*/ 800100 h 4429225"/>
                    <a:gd name="connsiteX78" fmla="*/ 602002 w 4519987"/>
                    <a:gd name="connsiteY78" fmla="*/ 733425 h 4429225"/>
                    <a:gd name="connsiteX79" fmla="*/ 668677 w 4519987"/>
                    <a:gd name="connsiteY79" fmla="*/ 676275 h 4429225"/>
                    <a:gd name="connsiteX80" fmla="*/ 697252 w 4519987"/>
                    <a:gd name="connsiteY80" fmla="*/ 657225 h 4429225"/>
                    <a:gd name="connsiteX81" fmla="*/ 840127 w 4519987"/>
                    <a:gd name="connsiteY81" fmla="*/ 533400 h 4429225"/>
                    <a:gd name="connsiteX82" fmla="*/ 887752 w 4519987"/>
                    <a:gd name="connsiteY82" fmla="*/ 504825 h 4429225"/>
                    <a:gd name="connsiteX83" fmla="*/ 1167152 w 4519987"/>
                    <a:gd name="connsiteY83" fmla="*/ 311150 h 4429225"/>
                    <a:gd name="connsiteX84" fmla="*/ 1268752 w 4519987"/>
                    <a:gd name="connsiteY84" fmla="*/ 285750 h 4429225"/>
                    <a:gd name="connsiteX85" fmla="*/ 1411627 w 4519987"/>
                    <a:gd name="connsiteY85" fmla="*/ 190500 h 4429225"/>
                    <a:gd name="connsiteX86" fmla="*/ 1449727 w 4519987"/>
                    <a:gd name="connsiteY86" fmla="*/ 161925 h 4429225"/>
                    <a:gd name="connsiteX87" fmla="*/ 1525927 w 4519987"/>
                    <a:gd name="connsiteY87" fmla="*/ 152400 h 4429225"/>
                    <a:gd name="connsiteX88" fmla="*/ 1583077 w 4519987"/>
                    <a:gd name="connsiteY88" fmla="*/ 142875 h 4429225"/>
                    <a:gd name="connsiteX89" fmla="*/ 1716427 w 4519987"/>
                    <a:gd name="connsiteY89" fmla="*/ 123825 h 4429225"/>
                    <a:gd name="connsiteX90" fmla="*/ 1811677 w 4519987"/>
                    <a:gd name="connsiteY90" fmla="*/ 114300 h 4429225"/>
                    <a:gd name="connsiteX91" fmla="*/ 1859302 w 4519987"/>
                    <a:gd name="connsiteY91" fmla="*/ 104775 h 4429225"/>
                    <a:gd name="connsiteX92" fmla="*/ 1916452 w 4519987"/>
                    <a:gd name="connsiteY92" fmla="*/ 95250 h 4429225"/>
                    <a:gd name="connsiteX93" fmla="*/ 2030752 w 4519987"/>
                    <a:gd name="connsiteY93" fmla="*/ 66675 h 4429225"/>
                    <a:gd name="connsiteX94" fmla="*/ 2097427 w 4519987"/>
                    <a:gd name="connsiteY94" fmla="*/ 47625 h 4429225"/>
                    <a:gd name="connsiteX95" fmla="*/ 2164102 w 4519987"/>
                    <a:gd name="connsiteY95" fmla="*/ 38100 h 4429225"/>
                    <a:gd name="connsiteX96" fmla="*/ 2392702 w 4519987"/>
                    <a:gd name="connsiteY9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11452 w 4519987"/>
                    <a:gd name="connsiteY56" fmla="*/ 2400300 h 4429225"/>
                    <a:gd name="connsiteX57" fmla="*/ 20977 w 4519987"/>
                    <a:gd name="connsiteY57" fmla="*/ 1905000 h 4429225"/>
                    <a:gd name="connsiteX58" fmla="*/ 30502 w 4519987"/>
                    <a:gd name="connsiteY58" fmla="*/ 1838325 h 4429225"/>
                    <a:gd name="connsiteX59" fmla="*/ 49552 w 4519987"/>
                    <a:gd name="connsiteY59" fmla="*/ 1781175 h 4429225"/>
                    <a:gd name="connsiteX60" fmla="*/ 59077 w 4519987"/>
                    <a:gd name="connsiteY60" fmla="*/ 1743075 h 4429225"/>
                    <a:gd name="connsiteX61" fmla="*/ 78127 w 4519987"/>
                    <a:gd name="connsiteY61" fmla="*/ 1685925 h 4429225"/>
                    <a:gd name="connsiteX62" fmla="*/ 87652 w 4519987"/>
                    <a:gd name="connsiteY62" fmla="*/ 1638300 h 4429225"/>
                    <a:gd name="connsiteX63" fmla="*/ 106702 w 4519987"/>
                    <a:gd name="connsiteY63" fmla="*/ 1590675 h 4429225"/>
                    <a:gd name="connsiteX64" fmla="*/ 135277 w 4519987"/>
                    <a:gd name="connsiteY64" fmla="*/ 1504950 h 4429225"/>
                    <a:gd name="connsiteX65" fmla="*/ 154327 w 4519987"/>
                    <a:gd name="connsiteY65" fmla="*/ 1419225 h 4429225"/>
                    <a:gd name="connsiteX66" fmla="*/ 230527 w 4519987"/>
                    <a:gd name="connsiteY66" fmla="*/ 1276350 h 4429225"/>
                    <a:gd name="connsiteX67" fmla="*/ 240052 w 4519987"/>
                    <a:gd name="connsiteY67" fmla="*/ 1247775 h 4429225"/>
                    <a:gd name="connsiteX68" fmla="*/ 268627 w 4519987"/>
                    <a:gd name="connsiteY68" fmla="*/ 1200150 h 4429225"/>
                    <a:gd name="connsiteX69" fmla="*/ 287677 w 4519987"/>
                    <a:gd name="connsiteY69" fmla="*/ 1152525 h 4429225"/>
                    <a:gd name="connsiteX70" fmla="*/ 316252 w 4519987"/>
                    <a:gd name="connsiteY70" fmla="*/ 1114425 h 4429225"/>
                    <a:gd name="connsiteX71" fmla="*/ 363877 w 4519987"/>
                    <a:gd name="connsiteY71" fmla="*/ 1038225 h 4429225"/>
                    <a:gd name="connsiteX72" fmla="*/ 382927 w 4519987"/>
                    <a:gd name="connsiteY72" fmla="*/ 1009650 h 4429225"/>
                    <a:gd name="connsiteX73" fmla="*/ 440077 w 4519987"/>
                    <a:gd name="connsiteY73" fmla="*/ 904875 h 4429225"/>
                    <a:gd name="connsiteX74" fmla="*/ 478177 w 4519987"/>
                    <a:gd name="connsiteY74" fmla="*/ 857250 h 4429225"/>
                    <a:gd name="connsiteX75" fmla="*/ 497227 w 4519987"/>
                    <a:gd name="connsiteY75" fmla="*/ 828675 h 4429225"/>
                    <a:gd name="connsiteX76" fmla="*/ 535327 w 4519987"/>
                    <a:gd name="connsiteY76" fmla="*/ 800100 h 4429225"/>
                    <a:gd name="connsiteX77" fmla="*/ 602002 w 4519987"/>
                    <a:gd name="connsiteY77" fmla="*/ 733425 h 4429225"/>
                    <a:gd name="connsiteX78" fmla="*/ 668677 w 4519987"/>
                    <a:gd name="connsiteY78" fmla="*/ 676275 h 4429225"/>
                    <a:gd name="connsiteX79" fmla="*/ 697252 w 4519987"/>
                    <a:gd name="connsiteY79" fmla="*/ 657225 h 4429225"/>
                    <a:gd name="connsiteX80" fmla="*/ 840127 w 4519987"/>
                    <a:gd name="connsiteY80" fmla="*/ 533400 h 4429225"/>
                    <a:gd name="connsiteX81" fmla="*/ 887752 w 4519987"/>
                    <a:gd name="connsiteY81" fmla="*/ 504825 h 4429225"/>
                    <a:gd name="connsiteX82" fmla="*/ 1167152 w 4519987"/>
                    <a:gd name="connsiteY82" fmla="*/ 311150 h 4429225"/>
                    <a:gd name="connsiteX83" fmla="*/ 1268752 w 4519987"/>
                    <a:gd name="connsiteY83" fmla="*/ 285750 h 4429225"/>
                    <a:gd name="connsiteX84" fmla="*/ 1411627 w 4519987"/>
                    <a:gd name="connsiteY84" fmla="*/ 190500 h 4429225"/>
                    <a:gd name="connsiteX85" fmla="*/ 1449727 w 4519987"/>
                    <a:gd name="connsiteY85" fmla="*/ 161925 h 4429225"/>
                    <a:gd name="connsiteX86" fmla="*/ 1525927 w 4519987"/>
                    <a:gd name="connsiteY86" fmla="*/ 152400 h 4429225"/>
                    <a:gd name="connsiteX87" fmla="*/ 1583077 w 4519987"/>
                    <a:gd name="connsiteY87" fmla="*/ 142875 h 4429225"/>
                    <a:gd name="connsiteX88" fmla="*/ 1716427 w 4519987"/>
                    <a:gd name="connsiteY88" fmla="*/ 123825 h 4429225"/>
                    <a:gd name="connsiteX89" fmla="*/ 1811677 w 4519987"/>
                    <a:gd name="connsiteY89" fmla="*/ 114300 h 4429225"/>
                    <a:gd name="connsiteX90" fmla="*/ 1859302 w 4519987"/>
                    <a:gd name="connsiteY90" fmla="*/ 104775 h 4429225"/>
                    <a:gd name="connsiteX91" fmla="*/ 1916452 w 4519987"/>
                    <a:gd name="connsiteY91" fmla="*/ 95250 h 4429225"/>
                    <a:gd name="connsiteX92" fmla="*/ 2030752 w 4519987"/>
                    <a:gd name="connsiteY92" fmla="*/ 66675 h 4429225"/>
                    <a:gd name="connsiteX93" fmla="*/ 2097427 w 4519987"/>
                    <a:gd name="connsiteY93" fmla="*/ 47625 h 4429225"/>
                    <a:gd name="connsiteX94" fmla="*/ 2164102 w 4519987"/>
                    <a:gd name="connsiteY94" fmla="*/ 38100 h 4429225"/>
                    <a:gd name="connsiteX95" fmla="*/ 2392702 w 4519987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49994 w 4501379"/>
                    <a:gd name="connsiteY55" fmla="*/ 2724150 h 4429225"/>
                    <a:gd name="connsiteX56" fmla="*/ 56344 w 4501379"/>
                    <a:gd name="connsiteY56" fmla="*/ 2368550 h 4429225"/>
                    <a:gd name="connsiteX57" fmla="*/ 2369 w 4501379"/>
                    <a:gd name="connsiteY57" fmla="*/ 1905000 h 4429225"/>
                    <a:gd name="connsiteX58" fmla="*/ 11894 w 4501379"/>
                    <a:gd name="connsiteY58" fmla="*/ 1838325 h 4429225"/>
                    <a:gd name="connsiteX59" fmla="*/ 30944 w 4501379"/>
                    <a:gd name="connsiteY59" fmla="*/ 1781175 h 4429225"/>
                    <a:gd name="connsiteX60" fmla="*/ 40469 w 4501379"/>
                    <a:gd name="connsiteY60" fmla="*/ 1743075 h 4429225"/>
                    <a:gd name="connsiteX61" fmla="*/ 59519 w 4501379"/>
                    <a:gd name="connsiteY61" fmla="*/ 1685925 h 4429225"/>
                    <a:gd name="connsiteX62" fmla="*/ 69044 w 4501379"/>
                    <a:gd name="connsiteY62" fmla="*/ 1638300 h 4429225"/>
                    <a:gd name="connsiteX63" fmla="*/ 88094 w 4501379"/>
                    <a:gd name="connsiteY63" fmla="*/ 1590675 h 4429225"/>
                    <a:gd name="connsiteX64" fmla="*/ 116669 w 4501379"/>
                    <a:gd name="connsiteY64" fmla="*/ 1504950 h 4429225"/>
                    <a:gd name="connsiteX65" fmla="*/ 135719 w 4501379"/>
                    <a:gd name="connsiteY65" fmla="*/ 1419225 h 4429225"/>
                    <a:gd name="connsiteX66" fmla="*/ 211919 w 4501379"/>
                    <a:gd name="connsiteY66" fmla="*/ 1276350 h 4429225"/>
                    <a:gd name="connsiteX67" fmla="*/ 221444 w 4501379"/>
                    <a:gd name="connsiteY67" fmla="*/ 1247775 h 4429225"/>
                    <a:gd name="connsiteX68" fmla="*/ 250019 w 4501379"/>
                    <a:gd name="connsiteY68" fmla="*/ 1200150 h 4429225"/>
                    <a:gd name="connsiteX69" fmla="*/ 269069 w 4501379"/>
                    <a:gd name="connsiteY69" fmla="*/ 1152525 h 4429225"/>
                    <a:gd name="connsiteX70" fmla="*/ 297644 w 4501379"/>
                    <a:gd name="connsiteY70" fmla="*/ 1114425 h 4429225"/>
                    <a:gd name="connsiteX71" fmla="*/ 345269 w 4501379"/>
                    <a:gd name="connsiteY71" fmla="*/ 1038225 h 4429225"/>
                    <a:gd name="connsiteX72" fmla="*/ 364319 w 4501379"/>
                    <a:gd name="connsiteY72" fmla="*/ 1009650 h 4429225"/>
                    <a:gd name="connsiteX73" fmla="*/ 421469 w 4501379"/>
                    <a:gd name="connsiteY73" fmla="*/ 904875 h 4429225"/>
                    <a:gd name="connsiteX74" fmla="*/ 459569 w 4501379"/>
                    <a:gd name="connsiteY74" fmla="*/ 857250 h 4429225"/>
                    <a:gd name="connsiteX75" fmla="*/ 478619 w 4501379"/>
                    <a:gd name="connsiteY75" fmla="*/ 828675 h 4429225"/>
                    <a:gd name="connsiteX76" fmla="*/ 516719 w 4501379"/>
                    <a:gd name="connsiteY76" fmla="*/ 800100 h 4429225"/>
                    <a:gd name="connsiteX77" fmla="*/ 583394 w 4501379"/>
                    <a:gd name="connsiteY77" fmla="*/ 733425 h 4429225"/>
                    <a:gd name="connsiteX78" fmla="*/ 650069 w 4501379"/>
                    <a:gd name="connsiteY78" fmla="*/ 676275 h 4429225"/>
                    <a:gd name="connsiteX79" fmla="*/ 678644 w 4501379"/>
                    <a:gd name="connsiteY79" fmla="*/ 657225 h 4429225"/>
                    <a:gd name="connsiteX80" fmla="*/ 821519 w 4501379"/>
                    <a:gd name="connsiteY80" fmla="*/ 533400 h 4429225"/>
                    <a:gd name="connsiteX81" fmla="*/ 869144 w 4501379"/>
                    <a:gd name="connsiteY81" fmla="*/ 504825 h 4429225"/>
                    <a:gd name="connsiteX82" fmla="*/ 1148544 w 4501379"/>
                    <a:gd name="connsiteY82" fmla="*/ 311150 h 4429225"/>
                    <a:gd name="connsiteX83" fmla="*/ 1250144 w 4501379"/>
                    <a:gd name="connsiteY83" fmla="*/ 285750 h 4429225"/>
                    <a:gd name="connsiteX84" fmla="*/ 1393019 w 4501379"/>
                    <a:gd name="connsiteY84" fmla="*/ 190500 h 4429225"/>
                    <a:gd name="connsiteX85" fmla="*/ 1431119 w 4501379"/>
                    <a:gd name="connsiteY85" fmla="*/ 161925 h 4429225"/>
                    <a:gd name="connsiteX86" fmla="*/ 1507319 w 4501379"/>
                    <a:gd name="connsiteY86" fmla="*/ 152400 h 4429225"/>
                    <a:gd name="connsiteX87" fmla="*/ 1564469 w 4501379"/>
                    <a:gd name="connsiteY87" fmla="*/ 142875 h 4429225"/>
                    <a:gd name="connsiteX88" fmla="*/ 1697819 w 4501379"/>
                    <a:gd name="connsiteY88" fmla="*/ 123825 h 4429225"/>
                    <a:gd name="connsiteX89" fmla="*/ 1793069 w 4501379"/>
                    <a:gd name="connsiteY89" fmla="*/ 114300 h 4429225"/>
                    <a:gd name="connsiteX90" fmla="*/ 1840694 w 4501379"/>
                    <a:gd name="connsiteY90" fmla="*/ 104775 h 4429225"/>
                    <a:gd name="connsiteX91" fmla="*/ 1897844 w 4501379"/>
                    <a:gd name="connsiteY91" fmla="*/ 95250 h 4429225"/>
                    <a:gd name="connsiteX92" fmla="*/ 2012144 w 4501379"/>
                    <a:gd name="connsiteY92" fmla="*/ 66675 h 4429225"/>
                    <a:gd name="connsiteX93" fmla="*/ 2078819 w 4501379"/>
                    <a:gd name="connsiteY93" fmla="*/ 47625 h 4429225"/>
                    <a:gd name="connsiteX94" fmla="*/ 2145494 w 4501379"/>
                    <a:gd name="connsiteY94" fmla="*/ 38100 h 4429225"/>
                    <a:gd name="connsiteX95" fmla="*/ 2374094 w 4501379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56344 w 4501379"/>
                    <a:gd name="connsiteY55" fmla="*/ 2368550 h 4429225"/>
                    <a:gd name="connsiteX56" fmla="*/ 2369 w 4501379"/>
                    <a:gd name="connsiteY56" fmla="*/ 1905000 h 4429225"/>
                    <a:gd name="connsiteX57" fmla="*/ 11894 w 4501379"/>
                    <a:gd name="connsiteY57" fmla="*/ 1838325 h 4429225"/>
                    <a:gd name="connsiteX58" fmla="*/ 30944 w 4501379"/>
                    <a:gd name="connsiteY58" fmla="*/ 1781175 h 4429225"/>
                    <a:gd name="connsiteX59" fmla="*/ 40469 w 4501379"/>
                    <a:gd name="connsiteY59" fmla="*/ 1743075 h 4429225"/>
                    <a:gd name="connsiteX60" fmla="*/ 59519 w 4501379"/>
                    <a:gd name="connsiteY60" fmla="*/ 1685925 h 4429225"/>
                    <a:gd name="connsiteX61" fmla="*/ 69044 w 4501379"/>
                    <a:gd name="connsiteY61" fmla="*/ 1638300 h 4429225"/>
                    <a:gd name="connsiteX62" fmla="*/ 88094 w 4501379"/>
                    <a:gd name="connsiteY62" fmla="*/ 1590675 h 4429225"/>
                    <a:gd name="connsiteX63" fmla="*/ 116669 w 4501379"/>
                    <a:gd name="connsiteY63" fmla="*/ 1504950 h 4429225"/>
                    <a:gd name="connsiteX64" fmla="*/ 135719 w 4501379"/>
                    <a:gd name="connsiteY64" fmla="*/ 1419225 h 4429225"/>
                    <a:gd name="connsiteX65" fmla="*/ 211919 w 4501379"/>
                    <a:gd name="connsiteY65" fmla="*/ 1276350 h 4429225"/>
                    <a:gd name="connsiteX66" fmla="*/ 221444 w 4501379"/>
                    <a:gd name="connsiteY66" fmla="*/ 1247775 h 4429225"/>
                    <a:gd name="connsiteX67" fmla="*/ 250019 w 4501379"/>
                    <a:gd name="connsiteY67" fmla="*/ 1200150 h 4429225"/>
                    <a:gd name="connsiteX68" fmla="*/ 269069 w 4501379"/>
                    <a:gd name="connsiteY68" fmla="*/ 1152525 h 4429225"/>
                    <a:gd name="connsiteX69" fmla="*/ 297644 w 4501379"/>
                    <a:gd name="connsiteY69" fmla="*/ 1114425 h 4429225"/>
                    <a:gd name="connsiteX70" fmla="*/ 345269 w 4501379"/>
                    <a:gd name="connsiteY70" fmla="*/ 1038225 h 4429225"/>
                    <a:gd name="connsiteX71" fmla="*/ 364319 w 4501379"/>
                    <a:gd name="connsiteY71" fmla="*/ 1009650 h 4429225"/>
                    <a:gd name="connsiteX72" fmla="*/ 421469 w 4501379"/>
                    <a:gd name="connsiteY72" fmla="*/ 904875 h 4429225"/>
                    <a:gd name="connsiteX73" fmla="*/ 459569 w 4501379"/>
                    <a:gd name="connsiteY73" fmla="*/ 857250 h 4429225"/>
                    <a:gd name="connsiteX74" fmla="*/ 478619 w 4501379"/>
                    <a:gd name="connsiteY74" fmla="*/ 828675 h 4429225"/>
                    <a:gd name="connsiteX75" fmla="*/ 516719 w 4501379"/>
                    <a:gd name="connsiteY75" fmla="*/ 800100 h 4429225"/>
                    <a:gd name="connsiteX76" fmla="*/ 583394 w 4501379"/>
                    <a:gd name="connsiteY76" fmla="*/ 733425 h 4429225"/>
                    <a:gd name="connsiteX77" fmla="*/ 650069 w 4501379"/>
                    <a:gd name="connsiteY77" fmla="*/ 676275 h 4429225"/>
                    <a:gd name="connsiteX78" fmla="*/ 678644 w 4501379"/>
                    <a:gd name="connsiteY78" fmla="*/ 657225 h 4429225"/>
                    <a:gd name="connsiteX79" fmla="*/ 821519 w 4501379"/>
                    <a:gd name="connsiteY79" fmla="*/ 533400 h 4429225"/>
                    <a:gd name="connsiteX80" fmla="*/ 869144 w 4501379"/>
                    <a:gd name="connsiteY80" fmla="*/ 504825 h 4429225"/>
                    <a:gd name="connsiteX81" fmla="*/ 1148544 w 4501379"/>
                    <a:gd name="connsiteY81" fmla="*/ 311150 h 4429225"/>
                    <a:gd name="connsiteX82" fmla="*/ 1250144 w 4501379"/>
                    <a:gd name="connsiteY82" fmla="*/ 285750 h 4429225"/>
                    <a:gd name="connsiteX83" fmla="*/ 1393019 w 4501379"/>
                    <a:gd name="connsiteY83" fmla="*/ 190500 h 4429225"/>
                    <a:gd name="connsiteX84" fmla="*/ 1431119 w 4501379"/>
                    <a:gd name="connsiteY84" fmla="*/ 161925 h 4429225"/>
                    <a:gd name="connsiteX85" fmla="*/ 1507319 w 4501379"/>
                    <a:gd name="connsiteY85" fmla="*/ 152400 h 4429225"/>
                    <a:gd name="connsiteX86" fmla="*/ 1564469 w 4501379"/>
                    <a:gd name="connsiteY86" fmla="*/ 142875 h 4429225"/>
                    <a:gd name="connsiteX87" fmla="*/ 1697819 w 4501379"/>
                    <a:gd name="connsiteY87" fmla="*/ 123825 h 4429225"/>
                    <a:gd name="connsiteX88" fmla="*/ 1793069 w 4501379"/>
                    <a:gd name="connsiteY88" fmla="*/ 114300 h 4429225"/>
                    <a:gd name="connsiteX89" fmla="*/ 1840694 w 4501379"/>
                    <a:gd name="connsiteY89" fmla="*/ 104775 h 4429225"/>
                    <a:gd name="connsiteX90" fmla="*/ 1897844 w 4501379"/>
                    <a:gd name="connsiteY90" fmla="*/ 95250 h 4429225"/>
                    <a:gd name="connsiteX91" fmla="*/ 2012144 w 4501379"/>
                    <a:gd name="connsiteY91" fmla="*/ 66675 h 4429225"/>
                    <a:gd name="connsiteX92" fmla="*/ 2078819 w 4501379"/>
                    <a:gd name="connsiteY92" fmla="*/ 47625 h 4429225"/>
                    <a:gd name="connsiteX93" fmla="*/ 2145494 w 4501379"/>
                    <a:gd name="connsiteY93" fmla="*/ 38100 h 4429225"/>
                    <a:gd name="connsiteX94" fmla="*/ 2374094 w 4501379"/>
                    <a:gd name="connsiteY94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26194 w 4501379"/>
                    <a:gd name="connsiteY53" fmla="*/ 292417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6869 w 4501379"/>
                    <a:gd name="connsiteY51" fmla="*/ 34702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313644 w 4501379"/>
                    <a:gd name="connsiteY46" fmla="*/ 42164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91" fmla="*/ 2374094 w 4501379"/>
                    <a:gd name="connsiteY91" fmla="*/ 28575 h 4429294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0" fmla="*/ 2278844 w 4501379"/>
                    <a:gd name="connsiteY0" fmla="*/ 0 h 4429294"/>
                    <a:gd name="connsiteX1" fmla="*/ 2478869 w 4501379"/>
                    <a:gd name="connsiteY1" fmla="*/ 47625 h 4429294"/>
                    <a:gd name="connsiteX2" fmla="*/ 2736044 w 4501379"/>
                    <a:gd name="connsiteY2" fmla="*/ 66675 h 4429294"/>
                    <a:gd name="connsiteX3" fmla="*/ 2812244 w 4501379"/>
                    <a:gd name="connsiteY3" fmla="*/ 76200 h 4429294"/>
                    <a:gd name="connsiteX4" fmla="*/ 2897969 w 4501379"/>
                    <a:gd name="connsiteY4" fmla="*/ 85725 h 4429294"/>
                    <a:gd name="connsiteX5" fmla="*/ 2955119 w 4501379"/>
                    <a:gd name="connsiteY5" fmla="*/ 114300 h 4429294"/>
                    <a:gd name="connsiteX6" fmla="*/ 2993219 w 4501379"/>
                    <a:gd name="connsiteY6" fmla="*/ 123825 h 4429294"/>
                    <a:gd name="connsiteX7" fmla="*/ 3117044 w 4501379"/>
                    <a:gd name="connsiteY7" fmla="*/ 171450 h 4429294"/>
                    <a:gd name="connsiteX8" fmla="*/ 3155144 w 4501379"/>
                    <a:gd name="connsiteY8" fmla="*/ 190500 h 4429294"/>
                    <a:gd name="connsiteX9" fmla="*/ 3221819 w 4501379"/>
                    <a:gd name="connsiteY9" fmla="*/ 228600 h 4429294"/>
                    <a:gd name="connsiteX10" fmla="*/ 3250394 w 4501379"/>
                    <a:gd name="connsiteY10" fmla="*/ 238125 h 4429294"/>
                    <a:gd name="connsiteX11" fmla="*/ 3278969 w 4501379"/>
                    <a:gd name="connsiteY11" fmla="*/ 257175 h 4429294"/>
                    <a:gd name="connsiteX12" fmla="*/ 3307544 w 4501379"/>
                    <a:gd name="connsiteY12" fmla="*/ 266700 h 4429294"/>
                    <a:gd name="connsiteX13" fmla="*/ 3336119 w 4501379"/>
                    <a:gd name="connsiteY13" fmla="*/ 285750 h 4429294"/>
                    <a:gd name="connsiteX14" fmla="*/ 3402794 w 4501379"/>
                    <a:gd name="connsiteY14" fmla="*/ 323850 h 4429294"/>
                    <a:gd name="connsiteX15" fmla="*/ 3450419 w 4501379"/>
                    <a:gd name="connsiteY15" fmla="*/ 361950 h 4429294"/>
                    <a:gd name="connsiteX16" fmla="*/ 3498044 w 4501379"/>
                    <a:gd name="connsiteY16" fmla="*/ 390525 h 4429294"/>
                    <a:gd name="connsiteX17" fmla="*/ 3612344 w 4501379"/>
                    <a:gd name="connsiteY17" fmla="*/ 485775 h 4429294"/>
                    <a:gd name="connsiteX18" fmla="*/ 3726644 w 4501379"/>
                    <a:gd name="connsiteY18" fmla="*/ 542925 h 4429294"/>
                    <a:gd name="connsiteX19" fmla="*/ 3793319 w 4501379"/>
                    <a:gd name="connsiteY19" fmla="*/ 581025 h 4429294"/>
                    <a:gd name="connsiteX20" fmla="*/ 4009219 w 4501379"/>
                    <a:gd name="connsiteY20" fmla="*/ 819150 h 4429294"/>
                    <a:gd name="connsiteX21" fmla="*/ 4145744 w 4501379"/>
                    <a:gd name="connsiteY21" fmla="*/ 990600 h 4429294"/>
                    <a:gd name="connsiteX22" fmla="*/ 4231469 w 4501379"/>
                    <a:gd name="connsiteY22" fmla="*/ 1143000 h 4429294"/>
                    <a:gd name="connsiteX23" fmla="*/ 4288619 w 4501379"/>
                    <a:gd name="connsiteY23" fmla="*/ 1266825 h 4429294"/>
                    <a:gd name="connsiteX24" fmla="*/ 4326719 w 4501379"/>
                    <a:gd name="connsiteY24" fmla="*/ 1362075 h 4429294"/>
                    <a:gd name="connsiteX25" fmla="*/ 4374344 w 4501379"/>
                    <a:gd name="connsiteY25" fmla="*/ 1552575 h 4429294"/>
                    <a:gd name="connsiteX26" fmla="*/ 4412444 w 4501379"/>
                    <a:gd name="connsiteY26" fmla="*/ 1685925 h 4429294"/>
                    <a:gd name="connsiteX27" fmla="*/ 4501344 w 4501379"/>
                    <a:gd name="connsiteY27" fmla="*/ 2181225 h 4429294"/>
                    <a:gd name="connsiteX28" fmla="*/ 4428319 w 4501379"/>
                    <a:gd name="connsiteY28" fmla="*/ 2768600 h 4429294"/>
                    <a:gd name="connsiteX29" fmla="*/ 4364819 w 4501379"/>
                    <a:gd name="connsiteY29" fmla="*/ 2990850 h 4429294"/>
                    <a:gd name="connsiteX30" fmla="*/ 4260044 w 4501379"/>
                    <a:gd name="connsiteY30" fmla="*/ 3248025 h 4429294"/>
                    <a:gd name="connsiteX31" fmla="*/ 4164794 w 4501379"/>
                    <a:gd name="connsiteY31" fmla="*/ 3400425 h 4429294"/>
                    <a:gd name="connsiteX32" fmla="*/ 4040969 w 4501379"/>
                    <a:gd name="connsiteY32" fmla="*/ 3533775 h 4429294"/>
                    <a:gd name="connsiteX33" fmla="*/ 3936194 w 4501379"/>
                    <a:gd name="connsiteY33" fmla="*/ 3648075 h 4429294"/>
                    <a:gd name="connsiteX34" fmla="*/ 3640919 w 4501379"/>
                    <a:gd name="connsiteY34" fmla="*/ 3971925 h 4429294"/>
                    <a:gd name="connsiteX35" fmla="*/ 3498044 w 4501379"/>
                    <a:gd name="connsiteY35" fmla="*/ 4083050 h 4429294"/>
                    <a:gd name="connsiteX36" fmla="*/ 3202769 w 4501379"/>
                    <a:gd name="connsiteY36" fmla="*/ 4222750 h 4429294"/>
                    <a:gd name="connsiteX37" fmla="*/ 3050369 w 4501379"/>
                    <a:gd name="connsiteY37" fmla="*/ 4286250 h 4429294"/>
                    <a:gd name="connsiteX38" fmla="*/ 2917019 w 4501379"/>
                    <a:gd name="connsiteY38" fmla="*/ 4333875 h 4429294"/>
                    <a:gd name="connsiteX39" fmla="*/ 2793194 w 4501379"/>
                    <a:gd name="connsiteY39" fmla="*/ 4371975 h 4429294"/>
                    <a:gd name="connsiteX40" fmla="*/ 2561419 w 4501379"/>
                    <a:gd name="connsiteY40" fmla="*/ 4391025 h 4429294"/>
                    <a:gd name="connsiteX41" fmla="*/ 2107394 w 4501379"/>
                    <a:gd name="connsiteY41" fmla="*/ 4429125 h 4429294"/>
                    <a:gd name="connsiteX42" fmla="*/ 1916894 w 4501379"/>
                    <a:gd name="connsiteY42" fmla="*/ 4400550 h 4429294"/>
                    <a:gd name="connsiteX43" fmla="*/ 1554944 w 4501379"/>
                    <a:gd name="connsiteY43" fmla="*/ 4305300 h 4429294"/>
                    <a:gd name="connsiteX44" fmla="*/ 1313644 w 4501379"/>
                    <a:gd name="connsiteY44" fmla="*/ 4216400 h 4429294"/>
                    <a:gd name="connsiteX45" fmla="*/ 1145369 w 4501379"/>
                    <a:gd name="connsiteY45" fmla="*/ 4111625 h 4429294"/>
                    <a:gd name="connsiteX46" fmla="*/ 926294 w 4501379"/>
                    <a:gd name="connsiteY46" fmla="*/ 3968750 h 4429294"/>
                    <a:gd name="connsiteX47" fmla="*/ 592919 w 4501379"/>
                    <a:gd name="connsiteY47" fmla="*/ 3657600 h 4429294"/>
                    <a:gd name="connsiteX48" fmla="*/ 446869 w 4501379"/>
                    <a:gd name="connsiteY48" fmla="*/ 3470275 h 4429294"/>
                    <a:gd name="connsiteX49" fmla="*/ 316694 w 4501379"/>
                    <a:gd name="connsiteY49" fmla="*/ 3244850 h 4429294"/>
                    <a:gd name="connsiteX50" fmla="*/ 164294 w 4501379"/>
                    <a:gd name="connsiteY50" fmla="*/ 2892425 h 4429294"/>
                    <a:gd name="connsiteX51" fmla="*/ 56344 w 4501379"/>
                    <a:gd name="connsiteY51" fmla="*/ 2368550 h 4429294"/>
                    <a:gd name="connsiteX52" fmla="*/ 2369 w 4501379"/>
                    <a:gd name="connsiteY52" fmla="*/ 1905000 h 4429294"/>
                    <a:gd name="connsiteX53" fmla="*/ 11894 w 4501379"/>
                    <a:gd name="connsiteY53" fmla="*/ 1838325 h 4429294"/>
                    <a:gd name="connsiteX54" fmla="*/ 30944 w 4501379"/>
                    <a:gd name="connsiteY54" fmla="*/ 1781175 h 4429294"/>
                    <a:gd name="connsiteX55" fmla="*/ 40469 w 4501379"/>
                    <a:gd name="connsiteY55" fmla="*/ 1743075 h 4429294"/>
                    <a:gd name="connsiteX56" fmla="*/ 59519 w 4501379"/>
                    <a:gd name="connsiteY56" fmla="*/ 1685925 h 4429294"/>
                    <a:gd name="connsiteX57" fmla="*/ 69044 w 4501379"/>
                    <a:gd name="connsiteY57" fmla="*/ 1638300 h 4429294"/>
                    <a:gd name="connsiteX58" fmla="*/ 88094 w 4501379"/>
                    <a:gd name="connsiteY58" fmla="*/ 1590675 h 4429294"/>
                    <a:gd name="connsiteX59" fmla="*/ 116669 w 4501379"/>
                    <a:gd name="connsiteY59" fmla="*/ 1504950 h 4429294"/>
                    <a:gd name="connsiteX60" fmla="*/ 135719 w 4501379"/>
                    <a:gd name="connsiteY60" fmla="*/ 1419225 h 4429294"/>
                    <a:gd name="connsiteX61" fmla="*/ 211919 w 4501379"/>
                    <a:gd name="connsiteY61" fmla="*/ 1276350 h 4429294"/>
                    <a:gd name="connsiteX62" fmla="*/ 221444 w 4501379"/>
                    <a:gd name="connsiteY62" fmla="*/ 1247775 h 4429294"/>
                    <a:gd name="connsiteX63" fmla="*/ 250019 w 4501379"/>
                    <a:gd name="connsiteY63" fmla="*/ 1200150 h 4429294"/>
                    <a:gd name="connsiteX64" fmla="*/ 269069 w 4501379"/>
                    <a:gd name="connsiteY64" fmla="*/ 1152525 h 4429294"/>
                    <a:gd name="connsiteX65" fmla="*/ 297644 w 4501379"/>
                    <a:gd name="connsiteY65" fmla="*/ 1114425 h 4429294"/>
                    <a:gd name="connsiteX66" fmla="*/ 345269 w 4501379"/>
                    <a:gd name="connsiteY66" fmla="*/ 1038225 h 4429294"/>
                    <a:gd name="connsiteX67" fmla="*/ 364319 w 4501379"/>
                    <a:gd name="connsiteY67" fmla="*/ 1009650 h 4429294"/>
                    <a:gd name="connsiteX68" fmla="*/ 421469 w 4501379"/>
                    <a:gd name="connsiteY68" fmla="*/ 904875 h 4429294"/>
                    <a:gd name="connsiteX69" fmla="*/ 459569 w 4501379"/>
                    <a:gd name="connsiteY69" fmla="*/ 857250 h 4429294"/>
                    <a:gd name="connsiteX70" fmla="*/ 478619 w 4501379"/>
                    <a:gd name="connsiteY70" fmla="*/ 828675 h 4429294"/>
                    <a:gd name="connsiteX71" fmla="*/ 516719 w 4501379"/>
                    <a:gd name="connsiteY71" fmla="*/ 800100 h 4429294"/>
                    <a:gd name="connsiteX72" fmla="*/ 583394 w 4501379"/>
                    <a:gd name="connsiteY72" fmla="*/ 733425 h 4429294"/>
                    <a:gd name="connsiteX73" fmla="*/ 650069 w 4501379"/>
                    <a:gd name="connsiteY73" fmla="*/ 676275 h 4429294"/>
                    <a:gd name="connsiteX74" fmla="*/ 678644 w 4501379"/>
                    <a:gd name="connsiteY74" fmla="*/ 657225 h 4429294"/>
                    <a:gd name="connsiteX75" fmla="*/ 821519 w 4501379"/>
                    <a:gd name="connsiteY75" fmla="*/ 533400 h 4429294"/>
                    <a:gd name="connsiteX76" fmla="*/ 869144 w 4501379"/>
                    <a:gd name="connsiteY76" fmla="*/ 504825 h 4429294"/>
                    <a:gd name="connsiteX77" fmla="*/ 1148544 w 4501379"/>
                    <a:gd name="connsiteY77" fmla="*/ 311150 h 4429294"/>
                    <a:gd name="connsiteX78" fmla="*/ 1250144 w 4501379"/>
                    <a:gd name="connsiteY78" fmla="*/ 285750 h 4429294"/>
                    <a:gd name="connsiteX79" fmla="*/ 1393019 w 4501379"/>
                    <a:gd name="connsiteY79" fmla="*/ 190500 h 4429294"/>
                    <a:gd name="connsiteX80" fmla="*/ 1431119 w 4501379"/>
                    <a:gd name="connsiteY80" fmla="*/ 161925 h 4429294"/>
                    <a:gd name="connsiteX81" fmla="*/ 1507319 w 4501379"/>
                    <a:gd name="connsiteY81" fmla="*/ 152400 h 4429294"/>
                    <a:gd name="connsiteX82" fmla="*/ 1564469 w 4501379"/>
                    <a:gd name="connsiteY82" fmla="*/ 142875 h 4429294"/>
                    <a:gd name="connsiteX83" fmla="*/ 1697819 w 4501379"/>
                    <a:gd name="connsiteY83" fmla="*/ 123825 h 4429294"/>
                    <a:gd name="connsiteX84" fmla="*/ 1793069 w 4501379"/>
                    <a:gd name="connsiteY84" fmla="*/ 114300 h 4429294"/>
                    <a:gd name="connsiteX85" fmla="*/ 1840694 w 4501379"/>
                    <a:gd name="connsiteY85" fmla="*/ 104775 h 4429294"/>
                    <a:gd name="connsiteX86" fmla="*/ 1897844 w 4501379"/>
                    <a:gd name="connsiteY86" fmla="*/ 95250 h 4429294"/>
                    <a:gd name="connsiteX87" fmla="*/ 2012144 w 4501379"/>
                    <a:gd name="connsiteY87" fmla="*/ 66675 h 4429294"/>
                    <a:gd name="connsiteX88" fmla="*/ 2078819 w 4501379"/>
                    <a:gd name="connsiteY88" fmla="*/ 47625 h 4429294"/>
                    <a:gd name="connsiteX89" fmla="*/ 2145494 w 4501379"/>
                    <a:gd name="connsiteY89" fmla="*/ 38100 h 4429294"/>
                    <a:gd name="connsiteX0" fmla="*/ 2278844 w 4501379"/>
                    <a:gd name="connsiteY0" fmla="*/ 0 h 4429294"/>
                    <a:gd name="connsiteX1" fmla="*/ 2736044 w 4501379"/>
                    <a:gd name="connsiteY1" fmla="*/ 666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2993219 w 4501379"/>
                    <a:gd name="connsiteY4" fmla="*/ 123825 h 4429294"/>
                    <a:gd name="connsiteX5" fmla="*/ 3117044 w 4501379"/>
                    <a:gd name="connsiteY5" fmla="*/ 171450 h 4429294"/>
                    <a:gd name="connsiteX6" fmla="*/ 3155144 w 4501379"/>
                    <a:gd name="connsiteY6" fmla="*/ 190500 h 4429294"/>
                    <a:gd name="connsiteX7" fmla="*/ 3221819 w 4501379"/>
                    <a:gd name="connsiteY7" fmla="*/ 228600 h 4429294"/>
                    <a:gd name="connsiteX8" fmla="*/ 3250394 w 4501379"/>
                    <a:gd name="connsiteY8" fmla="*/ 238125 h 4429294"/>
                    <a:gd name="connsiteX9" fmla="*/ 3278969 w 4501379"/>
                    <a:gd name="connsiteY9" fmla="*/ 257175 h 4429294"/>
                    <a:gd name="connsiteX10" fmla="*/ 3307544 w 4501379"/>
                    <a:gd name="connsiteY10" fmla="*/ 266700 h 4429294"/>
                    <a:gd name="connsiteX11" fmla="*/ 3336119 w 4501379"/>
                    <a:gd name="connsiteY11" fmla="*/ 285750 h 4429294"/>
                    <a:gd name="connsiteX12" fmla="*/ 3402794 w 4501379"/>
                    <a:gd name="connsiteY12" fmla="*/ 323850 h 4429294"/>
                    <a:gd name="connsiteX13" fmla="*/ 3450419 w 4501379"/>
                    <a:gd name="connsiteY13" fmla="*/ 361950 h 4429294"/>
                    <a:gd name="connsiteX14" fmla="*/ 3498044 w 4501379"/>
                    <a:gd name="connsiteY14" fmla="*/ 390525 h 4429294"/>
                    <a:gd name="connsiteX15" fmla="*/ 3612344 w 4501379"/>
                    <a:gd name="connsiteY15" fmla="*/ 485775 h 4429294"/>
                    <a:gd name="connsiteX16" fmla="*/ 3726644 w 4501379"/>
                    <a:gd name="connsiteY16" fmla="*/ 542925 h 4429294"/>
                    <a:gd name="connsiteX17" fmla="*/ 3793319 w 4501379"/>
                    <a:gd name="connsiteY17" fmla="*/ 581025 h 4429294"/>
                    <a:gd name="connsiteX18" fmla="*/ 4009219 w 4501379"/>
                    <a:gd name="connsiteY18" fmla="*/ 819150 h 4429294"/>
                    <a:gd name="connsiteX19" fmla="*/ 4145744 w 4501379"/>
                    <a:gd name="connsiteY19" fmla="*/ 990600 h 4429294"/>
                    <a:gd name="connsiteX20" fmla="*/ 4231469 w 4501379"/>
                    <a:gd name="connsiteY20" fmla="*/ 1143000 h 4429294"/>
                    <a:gd name="connsiteX21" fmla="*/ 4288619 w 4501379"/>
                    <a:gd name="connsiteY21" fmla="*/ 1266825 h 4429294"/>
                    <a:gd name="connsiteX22" fmla="*/ 4326719 w 4501379"/>
                    <a:gd name="connsiteY22" fmla="*/ 1362075 h 4429294"/>
                    <a:gd name="connsiteX23" fmla="*/ 4374344 w 4501379"/>
                    <a:gd name="connsiteY23" fmla="*/ 1552575 h 4429294"/>
                    <a:gd name="connsiteX24" fmla="*/ 4412444 w 4501379"/>
                    <a:gd name="connsiteY24" fmla="*/ 1685925 h 4429294"/>
                    <a:gd name="connsiteX25" fmla="*/ 4501344 w 4501379"/>
                    <a:gd name="connsiteY25" fmla="*/ 2181225 h 4429294"/>
                    <a:gd name="connsiteX26" fmla="*/ 4428319 w 4501379"/>
                    <a:gd name="connsiteY26" fmla="*/ 2768600 h 4429294"/>
                    <a:gd name="connsiteX27" fmla="*/ 4364819 w 4501379"/>
                    <a:gd name="connsiteY27" fmla="*/ 2990850 h 4429294"/>
                    <a:gd name="connsiteX28" fmla="*/ 4260044 w 4501379"/>
                    <a:gd name="connsiteY28" fmla="*/ 3248025 h 4429294"/>
                    <a:gd name="connsiteX29" fmla="*/ 4164794 w 4501379"/>
                    <a:gd name="connsiteY29" fmla="*/ 3400425 h 4429294"/>
                    <a:gd name="connsiteX30" fmla="*/ 4040969 w 4501379"/>
                    <a:gd name="connsiteY30" fmla="*/ 3533775 h 4429294"/>
                    <a:gd name="connsiteX31" fmla="*/ 3936194 w 4501379"/>
                    <a:gd name="connsiteY31" fmla="*/ 3648075 h 4429294"/>
                    <a:gd name="connsiteX32" fmla="*/ 3640919 w 4501379"/>
                    <a:gd name="connsiteY32" fmla="*/ 3971925 h 4429294"/>
                    <a:gd name="connsiteX33" fmla="*/ 3498044 w 4501379"/>
                    <a:gd name="connsiteY33" fmla="*/ 4083050 h 4429294"/>
                    <a:gd name="connsiteX34" fmla="*/ 3202769 w 4501379"/>
                    <a:gd name="connsiteY34" fmla="*/ 4222750 h 4429294"/>
                    <a:gd name="connsiteX35" fmla="*/ 3050369 w 4501379"/>
                    <a:gd name="connsiteY35" fmla="*/ 4286250 h 4429294"/>
                    <a:gd name="connsiteX36" fmla="*/ 2917019 w 4501379"/>
                    <a:gd name="connsiteY36" fmla="*/ 4333875 h 4429294"/>
                    <a:gd name="connsiteX37" fmla="*/ 2793194 w 4501379"/>
                    <a:gd name="connsiteY37" fmla="*/ 4371975 h 4429294"/>
                    <a:gd name="connsiteX38" fmla="*/ 2561419 w 4501379"/>
                    <a:gd name="connsiteY38" fmla="*/ 4391025 h 4429294"/>
                    <a:gd name="connsiteX39" fmla="*/ 2107394 w 4501379"/>
                    <a:gd name="connsiteY39" fmla="*/ 4429125 h 4429294"/>
                    <a:gd name="connsiteX40" fmla="*/ 1916894 w 4501379"/>
                    <a:gd name="connsiteY40" fmla="*/ 4400550 h 4429294"/>
                    <a:gd name="connsiteX41" fmla="*/ 1554944 w 4501379"/>
                    <a:gd name="connsiteY41" fmla="*/ 4305300 h 4429294"/>
                    <a:gd name="connsiteX42" fmla="*/ 1313644 w 4501379"/>
                    <a:gd name="connsiteY42" fmla="*/ 4216400 h 4429294"/>
                    <a:gd name="connsiteX43" fmla="*/ 1145369 w 4501379"/>
                    <a:gd name="connsiteY43" fmla="*/ 4111625 h 4429294"/>
                    <a:gd name="connsiteX44" fmla="*/ 926294 w 4501379"/>
                    <a:gd name="connsiteY44" fmla="*/ 3968750 h 4429294"/>
                    <a:gd name="connsiteX45" fmla="*/ 592919 w 4501379"/>
                    <a:gd name="connsiteY45" fmla="*/ 3657600 h 4429294"/>
                    <a:gd name="connsiteX46" fmla="*/ 446869 w 4501379"/>
                    <a:gd name="connsiteY46" fmla="*/ 3470275 h 4429294"/>
                    <a:gd name="connsiteX47" fmla="*/ 316694 w 4501379"/>
                    <a:gd name="connsiteY47" fmla="*/ 3244850 h 4429294"/>
                    <a:gd name="connsiteX48" fmla="*/ 164294 w 4501379"/>
                    <a:gd name="connsiteY48" fmla="*/ 2892425 h 4429294"/>
                    <a:gd name="connsiteX49" fmla="*/ 56344 w 4501379"/>
                    <a:gd name="connsiteY49" fmla="*/ 2368550 h 4429294"/>
                    <a:gd name="connsiteX50" fmla="*/ 2369 w 4501379"/>
                    <a:gd name="connsiteY50" fmla="*/ 1905000 h 4429294"/>
                    <a:gd name="connsiteX51" fmla="*/ 11894 w 4501379"/>
                    <a:gd name="connsiteY51" fmla="*/ 1838325 h 4429294"/>
                    <a:gd name="connsiteX52" fmla="*/ 30944 w 4501379"/>
                    <a:gd name="connsiteY52" fmla="*/ 1781175 h 4429294"/>
                    <a:gd name="connsiteX53" fmla="*/ 40469 w 4501379"/>
                    <a:gd name="connsiteY53" fmla="*/ 1743075 h 4429294"/>
                    <a:gd name="connsiteX54" fmla="*/ 59519 w 4501379"/>
                    <a:gd name="connsiteY54" fmla="*/ 1685925 h 4429294"/>
                    <a:gd name="connsiteX55" fmla="*/ 69044 w 4501379"/>
                    <a:gd name="connsiteY55" fmla="*/ 1638300 h 4429294"/>
                    <a:gd name="connsiteX56" fmla="*/ 88094 w 4501379"/>
                    <a:gd name="connsiteY56" fmla="*/ 1590675 h 4429294"/>
                    <a:gd name="connsiteX57" fmla="*/ 116669 w 4501379"/>
                    <a:gd name="connsiteY57" fmla="*/ 1504950 h 4429294"/>
                    <a:gd name="connsiteX58" fmla="*/ 135719 w 4501379"/>
                    <a:gd name="connsiteY58" fmla="*/ 1419225 h 4429294"/>
                    <a:gd name="connsiteX59" fmla="*/ 211919 w 4501379"/>
                    <a:gd name="connsiteY59" fmla="*/ 1276350 h 4429294"/>
                    <a:gd name="connsiteX60" fmla="*/ 221444 w 4501379"/>
                    <a:gd name="connsiteY60" fmla="*/ 1247775 h 4429294"/>
                    <a:gd name="connsiteX61" fmla="*/ 250019 w 4501379"/>
                    <a:gd name="connsiteY61" fmla="*/ 1200150 h 4429294"/>
                    <a:gd name="connsiteX62" fmla="*/ 269069 w 4501379"/>
                    <a:gd name="connsiteY62" fmla="*/ 1152525 h 4429294"/>
                    <a:gd name="connsiteX63" fmla="*/ 297644 w 4501379"/>
                    <a:gd name="connsiteY63" fmla="*/ 1114425 h 4429294"/>
                    <a:gd name="connsiteX64" fmla="*/ 345269 w 4501379"/>
                    <a:gd name="connsiteY64" fmla="*/ 1038225 h 4429294"/>
                    <a:gd name="connsiteX65" fmla="*/ 364319 w 4501379"/>
                    <a:gd name="connsiteY65" fmla="*/ 1009650 h 4429294"/>
                    <a:gd name="connsiteX66" fmla="*/ 421469 w 4501379"/>
                    <a:gd name="connsiteY66" fmla="*/ 904875 h 4429294"/>
                    <a:gd name="connsiteX67" fmla="*/ 459569 w 4501379"/>
                    <a:gd name="connsiteY67" fmla="*/ 857250 h 4429294"/>
                    <a:gd name="connsiteX68" fmla="*/ 478619 w 4501379"/>
                    <a:gd name="connsiteY68" fmla="*/ 828675 h 4429294"/>
                    <a:gd name="connsiteX69" fmla="*/ 516719 w 4501379"/>
                    <a:gd name="connsiteY69" fmla="*/ 800100 h 4429294"/>
                    <a:gd name="connsiteX70" fmla="*/ 583394 w 4501379"/>
                    <a:gd name="connsiteY70" fmla="*/ 733425 h 4429294"/>
                    <a:gd name="connsiteX71" fmla="*/ 650069 w 4501379"/>
                    <a:gd name="connsiteY71" fmla="*/ 676275 h 4429294"/>
                    <a:gd name="connsiteX72" fmla="*/ 678644 w 4501379"/>
                    <a:gd name="connsiteY72" fmla="*/ 657225 h 4429294"/>
                    <a:gd name="connsiteX73" fmla="*/ 821519 w 4501379"/>
                    <a:gd name="connsiteY73" fmla="*/ 533400 h 4429294"/>
                    <a:gd name="connsiteX74" fmla="*/ 869144 w 4501379"/>
                    <a:gd name="connsiteY74" fmla="*/ 504825 h 4429294"/>
                    <a:gd name="connsiteX75" fmla="*/ 1148544 w 4501379"/>
                    <a:gd name="connsiteY75" fmla="*/ 311150 h 4429294"/>
                    <a:gd name="connsiteX76" fmla="*/ 1250144 w 4501379"/>
                    <a:gd name="connsiteY76" fmla="*/ 285750 h 4429294"/>
                    <a:gd name="connsiteX77" fmla="*/ 1393019 w 4501379"/>
                    <a:gd name="connsiteY77" fmla="*/ 190500 h 4429294"/>
                    <a:gd name="connsiteX78" fmla="*/ 1431119 w 4501379"/>
                    <a:gd name="connsiteY78" fmla="*/ 161925 h 4429294"/>
                    <a:gd name="connsiteX79" fmla="*/ 1507319 w 4501379"/>
                    <a:gd name="connsiteY79" fmla="*/ 152400 h 4429294"/>
                    <a:gd name="connsiteX80" fmla="*/ 1564469 w 4501379"/>
                    <a:gd name="connsiteY80" fmla="*/ 142875 h 4429294"/>
                    <a:gd name="connsiteX81" fmla="*/ 1697819 w 4501379"/>
                    <a:gd name="connsiteY81" fmla="*/ 123825 h 4429294"/>
                    <a:gd name="connsiteX82" fmla="*/ 1793069 w 4501379"/>
                    <a:gd name="connsiteY82" fmla="*/ 114300 h 4429294"/>
                    <a:gd name="connsiteX83" fmla="*/ 1840694 w 4501379"/>
                    <a:gd name="connsiteY83" fmla="*/ 104775 h 4429294"/>
                    <a:gd name="connsiteX84" fmla="*/ 1897844 w 4501379"/>
                    <a:gd name="connsiteY84" fmla="*/ 95250 h 4429294"/>
                    <a:gd name="connsiteX85" fmla="*/ 2012144 w 4501379"/>
                    <a:gd name="connsiteY85" fmla="*/ 66675 h 4429294"/>
                    <a:gd name="connsiteX86" fmla="*/ 2078819 w 4501379"/>
                    <a:gd name="connsiteY86" fmla="*/ 47625 h 4429294"/>
                    <a:gd name="connsiteX87" fmla="*/ 2145494 w 4501379"/>
                    <a:gd name="connsiteY8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3117044 w 4501379"/>
                    <a:gd name="connsiteY4" fmla="*/ 171450 h 4429294"/>
                    <a:gd name="connsiteX5" fmla="*/ 3155144 w 4501379"/>
                    <a:gd name="connsiteY5" fmla="*/ 190500 h 4429294"/>
                    <a:gd name="connsiteX6" fmla="*/ 3221819 w 4501379"/>
                    <a:gd name="connsiteY6" fmla="*/ 228600 h 4429294"/>
                    <a:gd name="connsiteX7" fmla="*/ 3250394 w 4501379"/>
                    <a:gd name="connsiteY7" fmla="*/ 238125 h 4429294"/>
                    <a:gd name="connsiteX8" fmla="*/ 3278969 w 4501379"/>
                    <a:gd name="connsiteY8" fmla="*/ 257175 h 4429294"/>
                    <a:gd name="connsiteX9" fmla="*/ 3307544 w 4501379"/>
                    <a:gd name="connsiteY9" fmla="*/ 266700 h 4429294"/>
                    <a:gd name="connsiteX10" fmla="*/ 3336119 w 4501379"/>
                    <a:gd name="connsiteY10" fmla="*/ 285750 h 4429294"/>
                    <a:gd name="connsiteX11" fmla="*/ 3402794 w 4501379"/>
                    <a:gd name="connsiteY11" fmla="*/ 323850 h 4429294"/>
                    <a:gd name="connsiteX12" fmla="*/ 3450419 w 4501379"/>
                    <a:gd name="connsiteY12" fmla="*/ 361950 h 4429294"/>
                    <a:gd name="connsiteX13" fmla="*/ 3498044 w 4501379"/>
                    <a:gd name="connsiteY13" fmla="*/ 390525 h 4429294"/>
                    <a:gd name="connsiteX14" fmla="*/ 3612344 w 4501379"/>
                    <a:gd name="connsiteY14" fmla="*/ 485775 h 4429294"/>
                    <a:gd name="connsiteX15" fmla="*/ 3726644 w 4501379"/>
                    <a:gd name="connsiteY15" fmla="*/ 542925 h 4429294"/>
                    <a:gd name="connsiteX16" fmla="*/ 3793319 w 4501379"/>
                    <a:gd name="connsiteY16" fmla="*/ 581025 h 4429294"/>
                    <a:gd name="connsiteX17" fmla="*/ 4009219 w 4501379"/>
                    <a:gd name="connsiteY17" fmla="*/ 819150 h 4429294"/>
                    <a:gd name="connsiteX18" fmla="*/ 4145744 w 4501379"/>
                    <a:gd name="connsiteY18" fmla="*/ 990600 h 4429294"/>
                    <a:gd name="connsiteX19" fmla="*/ 4231469 w 4501379"/>
                    <a:gd name="connsiteY19" fmla="*/ 1143000 h 4429294"/>
                    <a:gd name="connsiteX20" fmla="*/ 4288619 w 4501379"/>
                    <a:gd name="connsiteY20" fmla="*/ 1266825 h 4429294"/>
                    <a:gd name="connsiteX21" fmla="*/ 4326719 w 4501379"/>
                    <a:gd name="connsiteY21" fmla="*/ 1362075 h 4429294"/>
                    <a:gd name="connsiteX22" fmla="*/ 4374344 w 4501379"/>
                    <a:gd name="connsiteY22" fmla="*/ 1552575 h 4429294"/>
                    <a:gd name="connsiteX23" fmla="*/ 4412444 w 4501379"/>
                    <a:gd name="connsiteY23" fmla="*/ 1685925 h 4429294"/>
                    <a:gd name="connsiteX24" fmla="*/ 4501344 w 4501379"/>
                    <a:gd name="connsiteY24" fmla="*/ 2181225 h 4429294"/>
                    <a:gd name="connsiteX25" fmla="*/ 4428319 w 4501379"/>
                    <a:gd name="connsiteY25" fmla="*/ 2768600 h 4429294"/>
                    <a:gd name="connsiteX26" fmla="*/ 4364819 w 4501379"/>
                    <a:gd name="connsiteY26" fmla="*/ 2990850 h 4429294"/>
                    <a:gd name="connsiteX27" fmla="*/ 4260044 w 4501379"/>
                    <a:gd name="connsiteY27" fmla="*/ 3248025 h 4429294"/>
                    <a:gd name="connsiteX28" fmla="*/ 4164794 w 4501379"/>
                    <a:gd name="connsiteY28" fmla="*/ 3400425 h 4429294"/>
                    <a:gd name="connsiteX29" fmla="*/ 4040969 w 4501379"/>
                    <a:gd name="connsiteY29" fmla="*/ 3533775 h 4429294"/>
                    <a:gd name="connsiteX30" fmla="*/ 3936194 w 4501379"/>
                    <a:gd name="connsiteY30" fmla="*/ 3648075 h 4429294"/>
                    <a:gd name="connsiteX31" fmla="*/ 3640919 w 4501379"/>
                    <a:gd name="connsiteY31" fmla="*/ 3971925 h 4429294"/>
                    <a:gd name="connsiteX32" fmla="*/ 3498044 w 4501379"/>
                    <a:gd name="connsiteY32" fmla="*/ 4083050 h 4429294"/>
                    <a:gd name="connsiteX33" fmla="*/ 3202769 w 4501379"/>
                    <a:gd name="connsiteY33" fmla="*/ 4222750 h 4429294"/>
                    <a:gd name="connsiteX34" fmla="*/ 3050369 w 4501379"/>
                    <a:gd name="connsiteY34" fmla="*/ 4286250 h 4429294"/>
                    <a:gd name="connsiteX35" fmla="*/ 2917019 w 4501379"/>
                    <a:gd name="connsiteY35" fmla="*/ 4333875 h 4429294"/>
                    <a:gd name="connsiteX36" fmla="*/ 2793194 w 4501379"/>
                    <a:gd name="connsiteY36" fmla="*/ 4371975 h 4429294"/>
                    <a:gd name="connsiteX37" fmla="*/ 2561419 w 4501379"/>
                    <a:gd name="connsiteY37" fmla="*/ 4391025 h 4429294"/>
                    <a:gd name="connsiteX38" fmla="*/ 2107394 w 4501379"/>
                    <a:gd name="connsiteY38" fmla="*/ 4429125 h 4429294"/>
                    <a:gd name="connsiteX39" fmla="*/ 1916894 w 4501379"/>
                    <a:gd name="connsiteY39" fmla="*/ 4400550 h 4429294"/>
                    <a:gd name="connsiteX40" fmla="*/ 1554944 w 4501379"/>
                    <a:gd name="connsiteY40" fmla="*/ 4305300 h 4429294"/>
                    <a:gd name="connsiteX41" fmla="*/ 1313644 w 4501379"/>
                    <a:gd name="connsiteY41" fmla="*/ 4216400 h 4429294"/>
                    <a:gd name="connsiteX42" fmla="*/ 1145369 w 4501379"/>
                    <a:gd name="connsiteY42" fmla="*/ 4111625 h 4429294"/>
                    <a:gd name="connsiteX43" fmla="*/ 926294 w 4501379"/>
                    <a:gd name="connsiteY43" fmla="*/ 3968750 h 4429294"/>
                    <a:gd name="connsiteX44" fmla="*/ 592919 w 4501379"/>
                    <a:gd name="connsiteY44" fmla="*/ 3657600 h 4429294"/>
                    <a:gd name="connsiteX45" fmla="*/ 446869 w 4501379"/>
                    <a:gd name="connsiteY45" fmla="*/ 3470275 h 4429294"/>
                    <a:gd name="connsiteX46" fmla="*/ 316694 w 4501379"/>
                    <a:gd name="connsiteY46" fmla="*/ 3244850 h 4429294"/>
                    <a:gd name="connsiteX47" fmla="*/ 164294 w 4501379"/>
                    <a:gd name="connsiteY47" fmla="*/ 2892425 h 4429294"/>
                    <a:gd name="connsiteX48" fmla="*/ 56344 w 4501379"/>
                    <a:gd name="connsiteY48" fmla="*/ 2368550 h 4429294"/>
                    <a:gd name="connsiteX49" fmla="*/ 2369 w 4501379"/>
                    <a:gd name="connsiteY49" fmla="*/ 1905000 h 4429294"/>
                    <a:gd name="connsiteX50" fmla="*/ 11894 w 4501379"/>
                    <a:gd name="connsiteY50" fmla="*/ 1838325 h 4429294"/>
                    <a:gd name="connsiteX51" fmla="*/ 30944 w 4501379"/>
                    <a:gd name="connsiteY51" fmla="*/ 1781175 h 4429294"/>
                    <a:gd name="connsiteX52" fmla="*/ 40469 w 4501379"/>
                    <a:gd name="connsiteY52" fmla="*/ 1743075 h 4429294"/>
                    <a:gd name="connsiteX53" fmla="*/ 59519 w 4501379"/>
                    <a:gd name="connsiteY53" fmla="*/ 1685925 h 4429294"/>
                    <a:gd name="connsiteX54" fmla="*/ 69044 w 4501379"/>
                    <a:gd name="connsiteY54" fmla="*/ 1638300 h 4429294"/>
                    <a:gd name="connsiteX55" fmla="*/ 88094 w 4501379"/>
                    <a:gd name="connsiteY55" fmla="*/ 1590675 h 4429294"/>
                    <a:gd name="connsiteX56" fmla="*/ 116669 w 4501379"/>
                    <a:gd name="connsiteY56" fmla="*/ 1504950 h 4429294"/>
                    <a:gd name="connsiteX57" fmla="*/ 135719 w 4501379"/>
                    <a:gd name="connsiteY57" fmla="*/ 1419225 h 4429294"/>
                    <a:gd name="connsiteX58" fmla="*/ 211919 w 4501379"/>
                    <a:gd name="connsiteY58" fmla="*/ 1276350 h 4429294"/>
                    <a:gd name="connsiteX59" fmla="*/ 221444 w 4501379"/>
                    <a:gd name="connsiteY59" fmla="*/ 1247775 h 4429294"/>
                    <a:gd name="connsiteX60" fmla="*/ 250019 w 4501379"/>
                    <a:gd name="connsiteY60" fmla="*/ 1200150 h 4429294"/>
                    <a:gd name="connsiteX61" fmla="*/ 269069 w 4501379"/>
                    <a:gd name="connsiteY61" fmla="*/ 1152525 h 4429294"/>
                    <a:gd name="connsiteX62" fmla="*/ 297644 w 4501379"/>
                    <a:gd name="connsiteY62" fmla="*/ 1114425 h 4429294"/>
                    <a:gd name="connsiteX63" fmla="*/ 345269 w 4501379"/>
                    <a:gd name="connsiteY63" fmla="*/ 1038225 h 4429294"/>
                    <a:gd name="connsiteX64" fmla="*/ 364319 w 4501379"/>
                    <a:gd name="connsiteY64" fmla="*/ 1009650 h 4429294"/>
                    <a:gd name="connsiteX65" fmla="*/ 421469 w 4501379"/>
                    <a:gd name="connsiteY65" fmla="*/ 904875 h 4429294"/>
                    <a:gd name="connsiteX66" fmla="*/ 459569 w 4501379"/>
                    <a:gd name="connsiteY66" fmla="*/ 857250 h 4429294"/>
                    <a:gd name="connsiteX67" fmla="*/ 478619 w 4501379"/>
                    <a:gd name="connsiteY67" fmla="*/ 828675 h 4429294"/>
                    <a:gd name="connsiteX68" fmla="*/ 516719 w 4501379"/>
                    <a:gd name="connsiteY68" fmla="*/ 800100 h 4429294"/>
                    <a:gd name="connsiteX69" fmla="*/ 583394 w 4501379"/>
                    <a:gd name="connsiteY69" fmla="*/ 733425 h 4429294"/>
                    <a:gd name="connsiteX70" fmla="*/ 650069 w 4501379"/>
                    <a:gd name="connsiteY70" fmla="*/ 676275 h 4429294"/>
                    <a:gd name="connsiteX71" fmla="*/ 678644 w 4501379"/>
                    <a:gd name="connsiteY71" fmla="*/ 657225 h 4429294"/>
                    <a:gd name="connsiteX72" fmla="*/ 821519 w 4501379"/>
                    <a:gd name="connsiteY72" fmla="*/ 533400 h 4429294"/>
                    <a:gd name="connsiteX73" fmla="*/ 869144 w 4501379"/>
                    <a:gd name="connsiteY73" fmla="*/ 504825 h 4429294"/>
                    <a:gd name="connsiteX74" fmla="*/ 1148544 w 4501379"/>
                    <a:gd name="connsiteY74" fmla="*/ 311150 h 4429294"/>
                    <a:gd name="connsiteX75" fmla="*/ 1250144 w 4501379"/>
                    <a:gd name="connsiteY75" fmla="*/ 285750 h 4429294"/>
                    <a:gd name="connsiteX76" fmla="*/ 1393019 w 4501379"/>
                    <a:gd name="connsiteY76" fmla="*/ 190500 h 4429294"/>
                    <a:gd name="connsiteX77" fmla="*/ 1431119 w 4501379"/>
                    <a:gd name="connsiteY77" fmla="*/ 161925 h 4429294"/>
                    <a:gd name="connsiteX78" fmla="*/ 1507319 w 4501379"/>
                    <a:gd name="connsiteY78" fmla="*/ 152400 h 4429294"/>
                    <a:gd name="connsiteX79" fmla="*/ 1564469 w 4501379"/>
                    <a:gd name="connsiteY79" fmla="*/ 142875 h 4429294"/>
                    <a:gd name="connsiteX80" fmla="*/ 1697819 w 4501379"/>
                    <a:gd name="connsiteY80" fmla="*/ 123825 h 4429294"/>
                    <a:gd name="connsiteX81" fmla="*/ 1793069 w 4501379"/>
                    <a:gd name="connsiteY81" fmla="*/ 114300 h 4429294"/>
                    <a:gd name="connsiteX82" fmla="*/ 1840694 w 4501379"/>
                    <a:gd name="connsiteY82" fmla="*/ 104775 h 4429294"/>
                    <a:gd name="connsiteX83" fmla="*/ 1897844 w 4501379"/>
                    <a:gd name="connsiteY83" fmla="*/ 95250 h 4429294"/>
                    <a:gd name="connsiteX84" fmla="*/ 2012144 w 4501379"/>
                    <a:gd name="connsiteY84" fmla="*/ 66675 h 4429294"/>
                    <a:gd name="connsiteX85" fmla="*/ 2078819 w 4501379"/>
                    <a:gd name="connsiteY85" fmla="*/ 47625 h 4429294"/>
                    <a:gd name="connsiteX86" fmla="*/ 2145494 w 4501379"/>
                    <a:gd name="connsiteY8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155144 w 4501379"/>
                    <a:gd name="connsiteY4" fmla="*/ 190500 h 4429294"/>
                    <a:gd name="connsiteX5" fmla="*/ 3221819 w 4501379"/>
                    <a:gd name="connsiteY5" fmla="*/ 228600 h 4429294"/>
                    <a:gd name="connsiteX6" fmla="*/ 3250394 w 4501379"/>
                    <a:gd name="connsiteY6" fmla="*/ 238125 h 4429294"/>
                    <a:gd name="connsiteX7" fmla="*/ 3278969 w 4501379"/>
                    <a:gd name="connsiteY7" fmla="*/ 257175 h 4429294"/>
                    <a:gd name="connsiteX8" fmla="*/ 3307544 w 4501379"/>
                    <a:gd name="connsiteY8" fmla="*/ 266700 h 4429294"/>
                    <a:gd name="connsiteX9" fmla="*/ 3336119 w 4501379"/>
                    <a:gd name="connsiteY9" fmla="*/ 285750 h 4429294"/>
                    <a:gd name="connsiteX10" fmla="*/ 3402794 w 4501379"/>
                    <a:gd name="connsiteY10" fmla="*/ 323850 h 4429294"/>
                    <a:gd name="connsiteX11" fmla="*/ 3450419 w 4501379"/>
                    <a:gd name="connsiteY11" fmla="*/ 361950 h 4429294"/>
                    <a:gd name="connsiteX12" fmla="*/ 3498044 w 4501379"/>
                    <a:gd name="connsiteY12" fmla="*/ 390525 h 4429294"/>
                    <a:gd name="connsiteX13" fmla="*/ 3612344 w 4501379"/>
                    <a:gd name="connsiteY13" fmla="*/ 485775 h 4429294"/>
                    <a:gd name="connsiteX14" fmla="*/ 3726644 w 4501379"/>
                    <a:gd name="connsiteY14" fmla="*/ 542925 h 4429294"/>
                    <a:gd name="connsiteX15" fmla="*/ 3793319 w 4501379"/>
                    <a:gd name="connsiteY15" fmla="*/ 581025 h 4429294"/>
                    <a:gd name="connsiteX16" fmla="*/ 4009219 w 4501379"/>
                    <a:gd name="connsiteY16" fmla="*/ 819150 h 4429294"/>
                    <a:gd name="connsiteX17" fmla="*/ 4145744 w 4501379"/>
                    <a:gd name="connsiteY17" fmla="*/ 990600 h 4429294"/>
                    <a:gd name="connsiteX18" fmla="*/ 4231469 w 4501379"/>
                    <a:gd name="connsiteY18" fmla="*/ 1143000 h 4429294"/>
                    <a:gd name="connsiteX19" fmla="*/ 4288619 w 4501379"/>
                    <a:gd name="connsiteY19" fmla="*/ 1266825 h 4429294"/>
                    <a:gd name="connsiteX20" fmla="*/ 4326719 w 4501379"/>
                    <a:gd name="connsiteY20" fmla="*/ 1362075 h 4429294"/>
                    <a:gd name="connsiteX21" fmla="*/ 4374344 w 4501379"/>
                    <a:gd name="connsiteY21" fmla="*/ 1552575 h 4429294"/>
                    <a:gd name="connsiteX22" fmla="*/ 4412444 w 4501379"/>
                    <a:gd name="connsiteY22" fmla="*/ 1685925 h 4429294"/>
                    <a:gd name="connsiteX23" fmla="*/ 4501344 w 4501379"/>
                    <a:gd name="connsiteY23" fmla="*/ 2181225 h 4429294"/>
                    <a:gd name="connsiteX24" fmla="*/ 4428319 w 4501379"/>
                    <a:gd name="connsiteY24" fmla="*/ 2768600 h 4429294"/>
                    <a:gd name="connsiteX25" fmla="*/ 4364819 w 4501379"/>
                    <a:gd name="connsiteY25" fmla="*/ 2990850 h 4429294"/>
                    <a:gd name="connsiteX26" fmla="*/ 4260044 w 4501379"/>
                    <a:gd name="connsiteY26" fmla="*/ 3248025 h 4429294"/>
                    <a:gd name="connsiteX27" fmla="*/ 4164794 w 4501379"/>
                    <a:gd name="connsiteY27" fmla="*/ 3400425 h 4429294"/>
                    <a:gd name="connsiteX28" fmla="*/ 4040969 w 4501379"/>
                    <a:gd name="connsiteY28" fmla="*/ 3533775 h 4429294"/>
                    <a:gd name="connsiteX29" fmla="*/ 3936194 w 4501379"/>
                    <a:gd name="connsiteY29" fmla="*/ 3648075 h 4429294"/>
                    <a:gd name="connsiteX30" fmla="*/ 3640919 w 4501379"/>
                    <a:gd name="connsiteY30" fmla="*/ 3971925 h 4429294"/>
                    <a:gd name="connsiteX31" fmla="*/ 3498044 w 4501379"/>
                    <a:gd name="connsiteY31" fmla="*/ 4083050 h 4429294"/>
                    <a:gd name="connsiteX32" fmla="*/ 3202769 w 4501379"/>
                    <a:gd name="connsiteY32" fmla="*/ 4222750 h 4429294"/>
                    <a:gd name="connsiteX33" fmla="*/ 3050369 w 4501379"/>
                    <a:gd name="connsiteY33" fmla="*/ 4286250 h 4429294"/>
                    <a:gd name="connsiteX34" fmla="*/ 2917019 w 4501379"/>
                    <a:gd name="connsiteY34" fmla="*/ 4333875 h 4429294"/>
                    <a:gd name="connsiteX35" fmla="*/ 2793194 w 4501379"/>
                    <a:gd name="connsiteY35" fmla="*/ 4371975 h 4429294"/>
                    <a:gd name="connsiteX36" fmla="*/ 2561419 w 4501379"/>
                    <a:gd name="connsiteY36" fmla="*/ 4391025 h 4429294"/>
                    <a:gd name="connsiteX37" fmla="*/ 2107394 w 4501379"/>
                    <a:gd name="connsiteY37" fmla="*/ 4429125 h 4429294"/>
                    <a:gd name="connsiteX38" fmla="*/ 1916894 w 4501379"/>
                    <a:gd name="connsiteY38" fmla="*/ 4400550 h 4429294"/>
                    <a:gd name="connsiteX39" fmla="*/ 1554944 w 4501379"/>
                    <a:gd name="connsiteY39" fmla="*/ 4305300 h 4429294"/>
                    <a:gd name="connsiteX40" fmla="*/ 1313644 w 4501379"/>
                    <a:gd name="connsiteY40" fmla="*/ 4216400 h 4429294"/>
                    <a:gd name="connsiteX41" fmla="*/ 1145369 w 4501379"/>
                    <a:gd name="connsiteY41" fmla="*/ 4111625 h 4429294"/>
                    <a:gd name="connsiteX42" fmla="*/ 926294 w 4501379"/>
                    <a:gd name="connsiteY42" fmla="*/ 3968750 h 4429294"/>
                    <a:gd name="connsiteX43" fmla="*/ 592919 w 4501379"/>
                    <a:gd name="connsiteY43" fmla="*/ 3657600 h 4429294"/>
                    <a:gd name="connsiteX44" fmla="*/ 446869 w 4501379"/>
                    <a:gd name="connsiteY44" fmla="*/ 3470275 h 4429294"/>
                    <a:gd name="connsiteX45" fmla="*/ 316694 w 4501379"/>
                    <a:gd name="connsiteY45" fmla="*/ 3244850 h 4429294"/>
                    <a:gd name="connsiteX46" fmla="*/ 164294 w 4501379"/>
                    <a:gd name="connsiteY46" fmla="*/ 2892425 h 4429294"/>
                    <a:gd name="connsiteX47" fmla="*/ 56344 w 4501379"/>
                    <a:gd name="connsiteY47" fmla="*/ 2368550 h 4429294"/>
                    <a:gd name="connsiteX48" fmla="*/ 2369 w 4501379"/>
                    <a:gd name="connsiteY48" fmla="*/ 1905000 h 4429294"/>
                    <a:gd name="connsiteX49" fmla="*/ 11894 w 4501379"/>
                    <a:gd name="connsiteY49" fmla="*/ 1838325 h 4429294"/>
                    <a:gd name="connsiteX50" fmla="*/ 30944 w 4501379"/>
                    <a:gd name="connsiteY50" fmla="*/ 1781175 h 4429294"/>
                    <a:gd name="connsiteX51" fmla="*/ 40469 w 4501379"/>
                    <a:gd name="connsiteY51" fmla="*/ 1743075 h 4429294"/>
                    <a:gd name="connsiteX52" fmla="*/ 59519 w 4501379"/>
                    <a:gd name="connsiteY52" fmla="*/ 1685925 h 4429294"/>
                    <a:gd name="connsiteX53" fmla="*/ 69044 w 4501379"/>
                    <a:gd name="connsiteY53" fmla="*/ 1638300 h 4429294"/>
                    <a:gd name="connsiteX54" fmla="*/ 88094 w 4501379"/>
                    <a:gd name="connsiteY54" fmla="*/ 1590675 h 4429294"/>
                    <a:gd name="connsiteX55" fmla="*/ 116669 w 4501379"/>
                    <a:gd name="connsiteY55" fmla="*/ 1504950 h 4429294"/>
                    <a:gd name="connsiteX56" fmla="*/ 135719 w 4501379"/>
                    <a:gd name="connsiteY56" fmla="*/ 1419225 h 4429294"/>
                    <a:gd name="connsiteX57" fmla="*/ 211919 w 4501379"/>
                    <a:gd name="connsiteY57" fmla="*/ 1276350 h 4429294"/>
                    <a:gd name="connsiteX58" fmla="*/ 221444 w 4501379"/>
                    <a:gd name="connsiteY58" fmla="*/ 1247775 h 4429294"/>
                    <a:gd name="connsiteX59" fmla="*/ 250019 w 4501379"/>
                    <a:gd name="connsiteY59" fmla="*/ 1200150 h 4429294"/>
                    <a:gd name="connsiteX60" fmla="*/ 269069 w 4501379"/>
                    <a:gd name="connsiteY60" fmla="*/ 1152525 h 4429294"/>
                    <a:gd name="connsiteX61" fmla="*/ 297644 w 4501379"/>
                    <a:gd name="connsiteY61" fmla="*/ 1114425 h 4429294"/>
                    <a:gd name="connsiteX62" fmla="*/ 345269 w 4501379"/>
                    <a:gd name="connsiteY62" fmla="*/ 1038225 h 4429294"/>
                    <a:gd name="connsiteX63" fmla="*/ 364319 w 4501379"/>
                    <a:gd name="connsiteY63" fmla="*/ 1009650 h 4429294"/>
                    <a:gd name="connsiteX64" fmla="*/ 421469 w 4501379"/>
                    <a:gd name="connsiteY64" fmla="*/ 904875 h 4429294"/>
                    <a:gd name="connsiteX65" fmla="*/ 459569 w 4501379"/>
                    <a:gd name="connsiteY65" fmla="*/ 857250 h 4429294"/>
                    <a:gd name="connsiteX66" fmla="*/ 478619 w 4501379"/>
                    <a:gd name="connsiteY66" fmla="*/ 828675 h 4429294"/>
                    <a:gd name="connsiteX67" fmla="*/ 516719 w 4501379"/>
                    <a:gd name="connsiteY67" fmla="*/ 800100 h 4429294"/>
                    <a:gd name="connsiteX68" fmla="*/ 583394 w 4501379"/>
                    <a:gd name="connsiteY68" fmla="*/ 733425 h 4429294"/>
                    <a:gd name="connsiteX69" fmla="*/ 650069 w 4501379"/>
                    <a:gd name="connsiteY69" fmla="*/ 676275 h 4429294"/>
                    <a:gd name="connsiteX70" fmla="*/ 678644 w 4501379"/>
                    <a:gd name="connsiteY70" fmla="*/ 657225 h 4429294"/>
                    <a:gd name="connsiteX71" fmla="*/ 821519 w 4501379"/>
                    <a:gd name="connsiteY71" fmla="*/ 533400 h 4429294"/>
                    <a:gd name="connsiteX72" fmla="*/ 869144 w 4501379"/>
                    <a:gd name="connsiteY72" fmla="*/ 504825 h 4429294"/>
                    <a:gd name="connsiteX73" fmla="*/ 1148544 w 4501379"/>
                    <a:gd name="connsiteY73" fmla="*/ 311150 h 4429294"/>
                    <a:gd name="connsiteX74" fmla="*/ 1250144 w 4501379"/>
                    <a:gd name="connsiteY74" fmla="*/ 285750 h 4429294"/>
                    <a:gd name="connsiteX75" fmla="*/ 1393019 w 4501379"/>
                    <a:gd name="connsiteY75" fmla="*/ 190500 h 4429294"/>
                    <a:gd name="connsiteX76" fmla="*/ 1431119 w 4501379"/>
                    <a:gd name="connsiteY76" fmla="*/ 161925 h 4429294"/>
                    <a:gd name="connsiteX77" fmla="*/ 1507319 w 4501379"/>
                    <a:gd name="connsiteY77" fmla="*/ 152400 h 4429294"/>
                    <a:gd name="connsiteX78" fmla="*/ 1564469 w 4501379"/>
                    <a:gd name="connsiteY78" fmla="*/ 142875 h 4429294"/>
                    <a:gd name="connsiteX79" fmla="*/ 1697819 w 4501379"/>
                    <a:gd name="connsiteY79" fmla="*/ 123825 h 4429294"/>
                    <a:gd name="connsiteX80" fmla="*/ 1793069 w 4501379"/>
                    <a:gd name="connsiteY80" fmla="*/ 114300 h 4429294"/>
                    <a:gd name="connsiteX81" fmla="*/ 1840694 w 4501379"/>
                    <a:gd name="connsiteY81" fmla="*/ 104775 h 4429294"/>
                    <a:gd name="connsiteX82" fmla="*/ 1897844 w 4501379"/>
                    <a:gd name="connsiteY82" fmla="*/ 95250 h 4429294"/>
                    <a:gd name="connsiteX83" fmla="*/ 2012144 w 4501379"/>
                    <a:gd name="connsiteY83" fmla="*/ 66675 h 4429294"/>
                    <a:gd name="connsiteX84" fmla="*/ 2078819 w 4501379"/>
                    <a:gd name="connsiteY84" fmla="*/ 47625 h 4429294"/>
                    <a:gd name="connsiteX85" fmla="*/ 2145494 w 4501379"/>
                    <a:gd name="connsiteY8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278969 w 4501379"/>
                    <a:gd name="connsiteY6" fmla="*/ 257175 h 4429294"/>
                    <a:gd name="connsiteX7" fmla="*/ 3307544 w 4501379"/>
                    <a:gd name="connsiteY7" fmla="*/ 266700 h 4429294"/>
                    <a:gd name="connsiteX8" fmla="*/ 3336119 w 4501379"/>
                    <a:gd name="connsiteY8" fmla="*/ 285750 h 4429294"/>
                    <a:gd name="connsiteX9" fmla="*/ 3402794 w 4501379"/>
                    <a:gd name="connsiteY9" fmla="*/ 323850 h 4429294"/>
                    <a:gd name="connsiteX10" fmla="*/ 3450419 w 4501379"/>
                    <a:gd name="connsiteY10" fmla="*/ 361950 h 4429294"/>
                    <a:gd name="connsiteX11" fmla="*/ 3498044 w 4501379"/>
                    <a:gd name="connsiteY11" fmla="*/ 390525 h 4429294"/>
                    <a:gd name="connsiteX12" fmla="*/ 3612344 w 4501379"/>
                    <a:gd name="connsiteY12" fmla="*/ 485775 h 4429294"/>
                    <a:gd name="connsiteX13" fmla="*/ 3726644 w 4501379"/>
                    <a:gd name="connsiteY13" fmla="*/ 542925 h 4429294"/>
                    <a:gd name="connsiteX14" fmla="*/ 3793319 w 4501379"/>
                    <a:gd name="connsiteY14" fmla="*/ 581025 h 4429294"/>
                    <a:gd name="connsiteX15" fmla="*/ 4009219 w 4501379"/>
                    <a:gd name="connsiteY15" fmla="*/ 819150 h 4429294"/>
                    <a:gd name="connsiteX16" fmla="*/ 4145744 w 4501379"/>
                    <a:gd name="connsiteY16" fmla="*/ 990600 h 4429294"/>
                    <a:gd name="connsiteX17" fmla="*/ 4231469 w 4501379"/>
                    <a:gd name="connsiteY17" fmla="*/ 1143000 h 4429294"/>
                    <a:gd name="connsiteX18" fmla="*/ 4288619 w 4501379"/>
                    <a:gd name="connsiteY18" fmla="*/ 1266825 h 4429294"/>
                    <a:gd name="connsiteX19" fmla="*/ 4326719 w 4501379"/>
                    <a:gd name="connsiteY19" fmla="*/ 1362075 h 4429294"/>
                    <a:gd name="connsiteX20" fmla="*/ 4374344 w 4501379"/>
                    <a:gd name="connsiteY20" fmla="*/ 1552575 h 4429294"/>
                    <a:gd name="connsiteX21" fmla="*/ 4412444 w 4501379"/>
                    <a:gd name="connsiteY21" fmla="*/ 1685925 h 4429294"/>
                    <a:gd name="connsiteX22" fmla="*/ 4501344 w 4501379"/>
                    <a:gd name="connsiteY22" fmla="*/ 2181225 h 4429294"/>
                    <a:gd name="connsiteX23" fmla="*/ 4428319 w 4501379"/>
                    <a:gd name="connsiteY23" fmla="*/ 2768600 h 4429294"/>
                    <a:gd name="connsiteX24" fmla="*/ 4364819 w 4501379"/>
                    <a:gd name="connsiteY24" fmla="*/ 2990850 h 4429294"/>
                    <a:gd name="connsiteX25" fmla="*/ 4260044 w 4501379"/>
                    <a:gd name="connsiteY25" fmla="*/ 3248025 h 4429294"/>
                    <a:gd name="connsiteX26" fmla="*/ 4164794 w 4501379"/>
                    <a:gd name="connsiteY26" fmla="*/ 3400425 h 4429294"/>
                    <a:gd name="connsiteX27" fmla="*/ 4040969 w 4501379"/>
                    <a:gd name="connsiteY27" fmla="*/ 3533775 h 4429294"/>
                    <a:gd name="connsiteX28" fmla="*/ 3936194 w 4501379"/>
                    <a:gd name="connsiteY28" fmla="*/ 3648075 h 4429294"/>
                    <a:gd name="connsiteX29" fmla="*/ 3640919 w 4501379"/>
                    <a:gd name="connsiteY29" fmla="*/ 3971925 h 4429294"/>
                    <a:gd name="connsiteX30" fmla="*/ 3498044 w 4501379"/>
                    <a:gd name="connsiteY30" fmla="*/ 4083050 h 4429294"/>
                    <a:gd name="connsiteX31" fmla="*/ 3202769 w 4501379"/>
                    <a:gd name="connsiteY31" fmla="*/ 4222750 h 4429294"/>
                    <a:gd name="connsiteX32" fmla="*/ 3050369 w 4501379"/>
                    <a:gd name="connsiteY32" fmla="*/ 4286250 h 4429294"/>
                    <a:gd name="connsiteX33" fmla="*/ 2917019 w 4501379"/>
                    <a:gd name="connsiteY33" fmla="*/ 4333875 h 4429294"/>
                    <a:gd name="connsiteX34" fmla="*/ 2793194 w 4501379"/>
                    <a:gd name="connsiteY34" fmla="*/ 4371975 h 4429294"/>
                    <a:gd name="connsiteX35" fmla="*/ 2561419 w 4501379"/>
                    <a:gd name="connsiteY35" fmla="*/ 4391025 h 4429294"/>
                    <a:gd name="connsiteX36" fmla="*/ 2107394 w 4501379"/>
                    <a:gd name="connsiteY36" fmla="*/ 4429125 h 4429294"/>
                    <a:gd name="connsiteX37" fmla="*/ 1916894 w 4501379"/>
                    <a:gd name="connsiteY37" fmla="*/ 4400550 h 4429294"/>
                    <a:gd name="connsiteX38" fmla="*/ 1554944 w 4501379"/>
                    <a:gd name="connsiteY38" fmla="*/ 4305300 h 4429294"/>
                    <a:gd name="connsiteX39" fmla="*/ 1313644 w 4501379"/>
                    <a:gd name="connsiteY39" fmla="*/ 4216400 h 4429294"/>
                    <a:gd name="connsiteX40" fmla="*/ 1145369 w 4501379"/>
                    <a:gd name="connsiteY40" fmla="*/ 4111625 h 4429294"/>
                    <a:gd name="connsiteX41" fmla="*/ 926294 w 4501379"/>
                    <a:gd name="connsiteY41" fmla="*/ 3968750 h 4429294"/>
                    <a:gd name="connsiteX42" fmla="*/ 592919 w 4501379"/>
                    <a:gd name="connsiteY42" fmla="*/ 3657600 h 4429294"/>
                    <a:gd name="connsiteX43" fmla="*/ 446869 w 4501379"/>
                    <a:gd name="connsiteY43" fmla="*/ 3470275 h 4429294"/>
                    <a:gd name="connsiteX44" fmla="*/ 316694 w 4501379"/>
                    <a:gd name="connsiteY44" fmla="*/ 3244850 h 4429294"/>
                    <a:gd name="connsiteX45" fmla="*/ 164294 w 4501379"/>
                    <a:gd name="connsiteY45" fmla="*/ 2892425 h 4429294"/>
                    <a:gd name="connsiteX46" fmla="*/ 56344 w 4501379"/>
                    <a:gd name="connsiteY46" fmla="*/ 2368550 h 4429294"/>
                    <a:gd name="connsiteX47" fmla="*/ 2369 w 4501379"/>
                    <a:gd name="connsiteY47" fmla="*/ 1905000 h 4429294"/>
                    <a:gd name="connsiteX48" fmla="*/ 11894 w 4501379"/>
                    <a:gd name="connsiteY48" fmla="*/ 1838325 h 4429294"/>
                    <a:gd name="connsiteX49" fmla="*/ 30944 w 4501379"/>
                    <a:gd name="connsiteY49" fmla="*/ 1781175 h 4429294"/>
                    <a:gd name="connsiteX50" fmla="*/ 40469 w 4501379"/>
                    <a:gd name="connsiteY50" fmla="*/ 1743075 h 4429294"/>
                    <a:gd name="connsiteX51" fmla="*/ 59519 w 4501379"/>
                    <a:gd name="connsiteY51" fmla="*/ 1685925 h 4429294"/>
                    <a:gd name="connsiteX52" fmla="*/ 69044 w 4501379"/>
                    <a:gd name="connsiteY52" fmla="*/ 1638300 h 4429294"/>
                    <a:gd name="connsiteX53" fmla="*/ 88094 w 4501379"/>
                    <a:gd name="connsiteY53" fmla="*/ 1590675 h 4429294"/>
                    <a:gd name="connsiteX54" fmla="*/ 116669 w 4501379"/>
                    <a:gd name="connsiteY54" fmla="*/ 1504950 h 4429294"/>
                    <a:gd name="connsiteX55" fmla="*/ 135719 w 4501379"/>
                    <a:gd name="connsiteY55" fmla="*/ 1419225 h 4429294"/>
                    <a:gd name="connsiteX56" fmla="*/ 211919 w 4501379"/>
                    <a:gd name="connsiteY56" fmla="*/ 1276350 h 4429294"/>
                    <a:gd name="connsiteX57" fmla="*/ 221444 w 4501379"/>
                    <a:gd name="connsiteY57" fmla="*/ 1247775 h 4429294"/>
                    <a:gd name="connsiteX58" fmla="*/ 250019 w 4501379"/>
                    <a:gd name="connsiteY58" fmla="*/ 1200150 h 4429294"/>
                    <a:gd name="connsiteX59" fmla="*/ 269069 w 4501379"/>
                    <a:gd name="connsiteY59" fmla="*/ 1152525 h 4429294"/>
                    <a:gd name="connsiteX60" fmla="*/ 297644 w 4501379"/>
                    <a:gd name="connsiteY60" fmla="*/ 1114425 h 4429294"/>
                    <a:gd name="connsiteX61" fmla="*/ 345269 w 4501379"/>
                    <a:gd name="connsiteY61" fmla="*/ 1038225 h 4429294"/>
                    <a:gd name="connsiteX62" fmla="*/ 364319 w 4501379"/>
                    <a:gd name="connsiteY62" fmla="*/ 1009650 h 4429294"/>
                    <a:gd name="connsiteX63" fmla="*/ 421469 w 4501379"/>
                    <a:gd name="connsiteY63" fmla="*/ 904875 h 4429294"/>
                    <a:gd name="connsiteX64" fmla="*/ 459569 w 4501379"/>
                    <a:gd name="connsiteY64" fmla="*/ 857250 h 4429294"/>
                    <a:gd name="connsiteX65" fmla="*/ 478619 w 4501379"/>
                    <a:gd name="connsiteY65" fmla="*/ 828675 h 4429294"/>
                    <a:gd name="connsiteX66" fmla="*/ 516719 w 4501379"/>
                    <a:gd name="connsiteY66" fmla="*/ 800100 h 4429294"/>
                    <a:gd name="connsiteX67" fmla="*/ 583394 w 4501379"/>
                    <a:gd name="connsiteY67" fmla="*/ 733425 h 4429294"/>
                    <a:gd name="connsiteX68" fmla="*/ 650069 w 4501379"/>
                    <a:gd name="connsiteY68" fmla="*/ 676275 h 4429294"/>
                    <a:gd name="connsiteX69" fmla="*/ 678644 w 4501379"/>
                    <a:gd name="connsiteY69" fmla="*/ 657225 h 4429294"/>
                    <a:gd name="connsiteX70" fmla="*/ 821519 w 4501379"/>
                    <a:gd name="connsiteY70" fmla="*/ 533400 h 4429294"/>
                    <a:gd name="connsiteX71" fmla="*/ 869144 w 4501379"/>
                    <a:gd name="connsiteY71" fmla="*/ 504825 h 4429294"/>
                    <a:gd name="connsiteX72" fmla="*/ 1148544 w 4501379"/>
                    <a:gd name="connsiteY72" fmla="*/ 311150 h 4429294"/>
                    <a:gd name="connsiteX73" fmla="*/ 1250144 w 4501379"/>
                    <a:gd name="connsiteY73" fmla="*/ 285750 h 4429294"/>
                    <a:gd name="connsiteX74" fmla="*/ 1393019 w 4501379"/>
                    <a:gd name="connsiteY74" fmla="*/ 190500 h 4429294"/>
                    <a:gd name="connsiteX75" fmla="*/ 1431119 w 4501379"/>
                    <a:gd name="connsiteY75" fmla="*/ 161925 h 4429294"/>
                    <a:gd name="connsiteX76" fmla="*/ 1507319 w 4501379"/>
                    <a:gd name="connsiteY76" fmla="*/ 152400 h 4429294"/>
                    <a:gd name="connsiteX77" fmla="*/ 1564469 w 4501379"/>
                    <a:gd name="connsiteY77" fmla="*/ 142875 h 4429294"/>
                    <a:gd name="connsiteX78" fmla="*/ 1697819 w 4501379"/>
                    <a:gd name="connsiteY78" fmla="*/ 123825 h 4429294"/>
                    <a:gd name="connsiteX79" fmla="*/ 1793069 w 4501379"/>
                    <a:gd name="connsiteY79" fmla="*/ 114300 h 4429294"/>
                    <a:gd name="connsiteX80" fmla="*/ 1840694 w 4501379"/>
                    <a:gd name="connsiteY80" fmla="*/ 104775 h 4429294"/>
                    <a:gd name="connsiteX81" fmla="*/ 1897844 w 4501379"/>
                    <a:gd name="connsiteY81" fmla="*/ 95250 h 4429294"/>
                    <a:gd name="connsiteX82" fmla="*/ 2012144 w 4501379"/>
                    <a:gd name="connsiteY82" fmla="*/ 66675 h 4429294"/>
                    <a:gd name="connsiteX83" fmla="*/ 2078819 w 4501379"/>
                    <a:gd name="connsiteY83" fmla="*/ 47625 h 4429294"/>
                    <a:gd name="connsiteX84" fmla="*/ 2145494 w 4501379"/>
                    <a:gd name="connsiteY8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336119 w 4501379"/>
                    <a:gd name="connsiteY7" fmla="*/ 285750 h 4429294"/>
                    <a:gd name="connsiteX8" fmla="*/ 3402794 w 4501379"/>
                    <a:gd name="connsiteY8" fmla="*/ 323850 h 4429294"/>
                    <a:gd name="connsiteX9" fmla="*/ 3450419 w 4501379"/>
                    <a:gd name="connsiteY9" fmla="*/ 361950 h 4429294"/>
                    <a:gd name="connsiteX10" fmla="*/ 3498044 w 4501379"/>
                    <a:gd name="connsiteY10" fmla="*/ 390525 h 4429294"/>
                    <a:gd name="connsiteX11" fmla="*/ 3612344 w 4501379"/>
                    <a:gd name="connsiteY11" fmla="*/ 485775 h 4429294"/>
                    <a:gd name="connsiteX12" fmla="*/ 3726644 w 4501379"/>
                    <a:gd name="connsiteY12" fmla="*/ 542925 h 4429294"/>
                    <a:gd name="connsiteX13" fmla="*/ 3793319 w 4501379"/>
                    <a:gd name="connsiteY13" fmla="*/ 581025 h 4429294"/>
                    <a:gd name="connsiteX14" fmla="*/ 4009219 w 4501379"/>
                    <a:gd name="connsiteY14" fmla="*/ 819150 h 4429294"/>
                    <a:gd name="connsiteX15" fmla="*/ 4145744 w 4501379"/>
                    <a:gd name="connsiteY15" fmla="*/ 990600 h 4429294"/>
                    <a:gd name="connsiteX16" fmla="*/ 4231469 w 4501379"/>
                    <a:gd name="connsiteY16" fmla="*/ 1143000 h 4429294"/>
                    <a:gd name="connsiteX17" fmla="*/ 4288619 w 4501379"/>
                    <a:gd name="connsiteY17" fmla="*/ 1266825 h 4429294"/>
                    <a:gd name="connsiteX18" fmla="*/ 4326719 w 4501379"/>
                    <a:gd name="connsiteY18" fmla="*/ 1362075 h 4429294"/>
                    <a:gd name="connsiteX19" fmla="*/ 4374344 w 4501379"/>
                    <a:gd name="connsiteY19" fmla="*/ 1552575 h 4429294"/>
                    <a:gd name="connsiteX20" fmla="*/ 4412444 w 4501379"/>
                    <a:gd name="connsiteY20" fmla="*/ 1685925 h 4429294"/>
                    <a:gd name="connsiteX21" fmla="*/ 4501344 w 4501379"/>
                    <a:gd name="connsiteY21" fmla="*/ 2181225 h 4429294"/>
                    <a:gd name="connsiteX22" fmla="*/ 4428319 w 4501379"/>
                    <a:gd name="connsiteY22" fmla="*/ 2768600 h 4429294"/>
                    <a:gd name="connsiteX23" fmla="*/ 4364819 w 4501379"/>
                    <a:gd name="connsiteY23" fmla="*/ 2990850 h 4429294"/>
                    <a:gd name="connsiteX24" fmla="*/ 4260044 w 4501379"/>
                    <a:gd name="connsiteY24" fmla="*/ 3248025 h 4429294"/>
                    <a:gd name="connsiteX25" fmla="*/ 4164794 w 4501379"/>
                    <a:gd name="connsiteY25" fmla="*/ 3400425 h 4429294"/>
                    <a:gd name="connsiteX26" fmla="*/ 4040969 w 4501379"/>
                    <a:gd name="connsiteY26" fmla="*/ 3533775 h 4429294"/>
                    <a:gd name="connsiteX27" fmla="*/ 3936194 w 4501379"/>
                    <a:gd name="connsiteY27" fmla="*/ 3648075 h 4429294"/>
                    <a:gd name="connsiteX28" fmla="*/ 3640919 w 4501379"/>
                    <a:gd name="connsiteY28" fmla="*/ 3971925 h 4429294"/>
                    <a:gd name="connsiteX29" fmla="*/ 3498044 w 4501379"/>
                    <a:gd name="connsiteY29" fmla="*/ 4083050 h 4429294"/>
                    <a:gd name="connsiteX30" fmla="*/ 3202769 w 4501379"/>
                    <a:gd name="connsiteY30" fmla="*/ 4222750 h 4429294"/>
                    <a:gd name="connsiteX31" fmla="*/ 3050369 w 4501379"/>
                    <a:gd name="connsiteY31" fmla="*/ 4286250 h 4429294"/>
                    <a:gd name="connsiteX32" fmla="*/ 2917019 w 4501379"/>
                    <a:gd name="connsiteY32" fmla="*/ 4333875 h 4429294"/>
                    <a:gd name="connsiteX33" fmla="*/ 2793194 w 4501379"/>
                    <a:gd name="connsiteY33" fmla="*/ 4371975 h 4429294"/>
                    <a:gd name="connsiteX34" fmla="*/ 2561419 w 4501379"/>
                    <a:gd name="connsiteY34" fmla="*/ 4391025 h 4429294"/>
                    <a:gd name="connsiteX35" fmla="*/ 2107394 w 4501379"/>
                    <a:gd name="connsiteY35" fmla="*/ 4429125 h 4429294"/>
                    <a:gd name="connsiteX36" fmla="*/ 1916894 w 4501379"/>
                    <a:gd name="connsiteY36" fmla="*/ 4400550 h 4429294"/>
                    <a:gd name="connsiteX37" fmla="*/ 1554944 w 4501379"/>
                    <a:gd name="connsiteY37" fmla="*/ 4305300 h 4429294"/>
                    <a:gd name="connsiteX38" fmla="*/ 1313644 w 4501379"/>
                    <a:gd name="connsiteY38" fmla="*/ 4216400 h 4429294"/>
                    <a:gd name="connsiteX39" fmla="*/ 1145369 w 4501379"/>
                    <a:gd name="connsiteY39" fmla="*/ 4111625 h 4429294"/>
                    <a:gd name="connsiteX40" fmla="*/ 926294 w 4501379"/>
                    <a:gd name="connsiteY40" fmla="*/ 3968750 h 4429294"/>
                    <a:gd name="connsiteX41" fmla="*/ 592919 w 4501379"/>
                    <a:gd name="connsiteY41" fmla="*/ 3657600 h 4429294"/>
                    <a:gd name="connsiteX42" fmla="*/ 446869 w 4501379"/>
                    <a:gd name="connsiteY42" fmla="*/ 3470275 h 4429294"/>
                    <a:gd name="connsiteX43" fmla="*/ 316694 w 4501379"/>
                    <a:gd name="connsiteY43" fmla="*/ 3244850 h 4429294"/>
                    <a:gd name="connsiteX44" fmla="*/ 164294 w 4501379"/>
                    <a:gd name="connsiteY44" fmla="*/ 2892425 h 4429294"/>
                    <a:gd name="connsiteX45" fmla="*/ 56344 w 4501379"/>
                    <a:gd name="connsiteY45" fmla="*/ 2368550 h 4429294"/>
                    <a:gd name="connsiteX46" fmla="*/ 2369 w 4501379"/>
                    <a:gd name="connsiteY46" fmla="*/ 1905000 h 4429294"/>
                    <a:gd name="connsiteX47" fmla="*/ 11894 w 4501379"/>
                    <a:gd name="connsiteY47" fmla="*/ 1838325 h 4429294"/>
                    <a:gd name="connsiteX48" fmla="*/ 30944 w 4501379"/>
                    <a:gd name="connsiteY48" fmla="*/ 1781175 h 4429294"/>
                    <a:gd name="connsiteX49" fmla="*/ 40469 w 4501379"/>
                    <a:gd name="connsiteY49" fmla="*/ 1743075 h 4429294"/>
                    <a:gd name="connsiteX50" fmla="*/ 59519 w 4501379"/>
                    <a:gd name="connsiteY50" fmla="*/ 1685925 h 4429294"/>
                    <a:gd name="connsiteX51" fmla="*/ 69044 w 4501379"/>
                    <a:gd name="connsiteY51" fmla="*/ 1638300 h 4429294"/>
                    <a:gd name="connsiteX52" fmla="*/ 88094 w 4501379"/>
                    <a:gd name="connsiteY52" fmla="*/ 1590675 h 4429294"/>
                    <a:gd name="connsiteX53" fmla="*/ 116669 w 4501379"/>
                    <a:gd name="connsiteY53" fmla="*/ 1504950 h 4429294"/>
                    <a:gd name="connsiteX54" fmla="*/ 135719 w 4501379"/>
                    <a:gd name="connsiteY54" fmla="*/ 1419225 h 4429294"/>
                    <a:gd name="connsiteX55" fmla="*/ 211919 w 4501379"/>
                    <a:gd name="connsiteY55" fmla="*/ 1276350 h 4429294"/>
                    <a:gd name="connsiteX56" fmla="*/ 221444 w 4501379"/>
                    <a:gd name="connsiteY56" fmla="*/ 1247775 h 4429294"/>
                    <a:gd name="connsiteX57" fmla="*/ 250019 w 4501379"/>
                    <a:gd name="connsiteY57" fmla="*/ 1200150 h 4429294"/>
                    <a:gd name="connsiteX58" fmla="*/ 269069 w 4501379"/>
                    <a:gd name="connsiteY58" fmla="*/ 1152525 h 4429294"/>
                    <a:gd name="connsiteX59" fmla="*/ 297644 w 4501379"/>
                    <a:gd name="connsiteY59" fmla="*/ 1114425 h 4429294"/>
                    <a:gd name="connsiteX60" fmla="*/ 345269 w 4501379"/>
                    <a:gd name="connsiteY60" fmla="*/ 1038225 h 4429294"/>
                    <a:gd name="connsiteX61" fmla="*/ 364319 w 4501379"/>
                    <a:gd name="connsiteY61" fmla="*/ 1009650 h 4429294"/>
                    <a:gd name="connsiteX62" fmla="*/ 421469 w 4501379"/>
                    <a:gd name="connsiteY62" fmla="*/ 904875 h 4429294"/>
                    <a:gd name="connsiteX63" fmla="*/ 459569 w 4501379"/>
                    <a:gd name="connsiteY63" fmla="*/ 857250 h 4429294"/>
                    <a:gd name="connsiteX64" fmla="*/ 478619 w 4501379"/>
                    <a:gd name="connsiteY64" fmla="*/ 828675 h 4429294"/>
                    <a:gd name="connsiteX65" fmla="*/ 516719 w 4501379"/>
                    <a:gd name="connsiteY65" fmla="*/ 800100 h 4429294"/>
                    <a:gd name="connsiteX66" fmla="*/ 583394 w 4501379"/>
                    <a:gd name="connsiteY66" fmla="*/ 733425 h 4429294"/>
                    <a:gd name="connsiteX67" fmla="*/ 650069 w 4501379"/>
                    <a:gd name="connsiteY67" fmla="*/ 676275 h 4429294"/>
                    <a:gd name="connsiteX68" fmla="*/ 678644 w 4501379"/>
                    <a:gd name="connsiteY68" fmla="*/ 657225 h 4429294"/>
                    <a:gd name="connsiteX69" fmla="*/ 821519 w 4501379"/>
                    <a:gd name="connsiteY69" fmla="*/ 533400 h 4429294"/>
                    <a:gd name="connsiteX70" fmla="*/ 869144 w 4501379"/>
                    <a:gd name="connsiteY70" fmla="*/ 504825 h 4429294"/>
                    <a:gd name="connsiteX71" fmla="*/ 1148544 w 4501379"/>
                    <a:gd name="connsiteY71" fmla="*/ 311150 h 4429294"/>
                    <a:gd name="connsiteX72" fmla="*/ 1250144 w 4501379"/>
                    <a:gd name="connsiteY72" fmla="*/ 285750 h 4429294"/>
                    <a:gd name="connsiteX73" fmla="*/ 1393019 w 4501379"/>
                    <a:gd name="connsiteY73" fmla="*/ 190500 h 4429294"/>
                    <a:gd name="connsiteX74" fmla="*/ 1431119 w 4501379"/>
                    <a:gd name="connsiteY74" fmla="*/ 161925 h 4429294"/>
                    <a:gd name="connsiteX75" fmla="*/ 1507319 w 4501379"/>
                    <a:gd name="connsiteY75" fmla="*/ 152400 h 4429294"/>
                    <a:gd name="connsiteX76" fmla="*/ 1564469 w 4501379"/>
                    <a:gd name="connsiteY76" fmla="*/ 142875 h 4429294"/>
                    <a:gd name="connsiteX77" fmla="*/ 1697819 w 4501379"/>
                    <a:gd name="connsiteY77" fmla="*/ 123825 h 4429294"/>
                    <a:gd name="connsiteX78" fmla="*/ 1793069 w 4501379"/>
                    <a:gd name="connsiteY78" fmla="*/ 114300 h 4429294"/>
                    <a:gd name="connsiteX79" fmla="*/ 1840694 w 4501379"/>
                    <a:gd name="connsiteY79" fmla="*/ 104775 h 4429294"/>
                    <a:gd name="connsiteX80" fmla="*/ 1897844 w 4501379"/>
                    <a:gd name="connsiteY80" fmla="*/ 95250 h 4429294"/>
                    <a:gd name="connsiteX81" fmla="*/ 2012144 w 4501379"/>
                    <a:gd name="connsiteY81" fmla="*/ 66675 h 4429294"/>
                    <a:gd name="connsiteX82" fmla="*/ 2078819 w 4501379"/>
                    <a:gd name="connsiteY82" fmla="*/ 47625 h 4429294"/>
                    <a:gd name="connsiteX83" fmla="*/ 2145494 w 4501379"/>
                    <a:gd name="connsiteY8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402794 w 4501379"/>
                    <a:gd name="connsiteY7" fmla="*/ 323850 h 4429294"/>
                    <a:gd name="connsiteX8" fmla="*/ 3450419 w 4501379"/>
                    <a:gd name="connsiteY8" fmla="*/ 361950 h 4429294"/>
                    <a:gd name="connsiteX9" fmla="*/ 3498044 w 4501379"/>
                    <a:gd name="connsiteY9" fmla="*/ 390525 h 4429294"/>
                    <a:gd name="connsiteX10" fmla="*/ 3612344 w 4501379"/>
                    <a:gd name="connsiteY10" fmla="*/ 485775 h 4429294"/>
                    <a:gd name="connsiteX11" fmla="*/ 3726644 w 4501379"/>
                    <a:gd name="connsiteY11" fmla="*/ 542925 h 4429294"/>
                    <a:gd name="connsiteX12" fmla="*/ 3793319 w 4501379"/>
                    <a:gd name="connsiteY12" fmla="*/ 581025 h 4429294"/>
                    <a:gd name="connsiteX13" fmla="*/ 4009219 w 4501379"/>
                    <a:gd name="connsiteY13" fmla="*/ 819150 h 4429294"/>
                    <a:gd name="connsiteX14" fmla="*/ 4145744 w 4501379"/>
                    <a:gd name="connsiteY14" fmla="*/ 990600 h 4429294"/>
                    <a:gd name="connsiteX15" fmla="*/ 4231469 w 4501379"/>
                    <a:gd name="connsiteY15" fmla="*/ 1143000 h 4429294"/>
                    <a:gd name="connsiteX16" fmla="*/ 4288619 w 4501379"/>
                    <a:gd name="connsiteY16" fmla="*/ 1266825 h 4429294"/>
                    <a:gd name="connsiteX17" fmla="*/ 4326719 w 4501379"/>
                    <a:gd name="connsiteY17" fmla="*/ 1362075 h 4429294"/>
                    <a:gd name="connsiteX18" fmla="*/ 4374344 w 4501379"/>
                    <a:gd name="connsiteY18" fmla="*/ 1552575 h 4429294"/>
                    <a:gd name="connsiteX19" fmla="*/ 4412444 w 4501379"/>
                    <a:gd name="connsiteY19" fmla="*/ 1685925 h 4429294"/>
                    <a:gd name="connsiteX20" fmla="*/ 4501344 w 4501379"/>
                    <a:gd name="connsiteY20" fmla="*/ 2181225 h 4429294"/>
                    <a:gd name="connsiteX21" fmla="*/ 4428319 w 4501379"/>
                    <a:gd name="connsiteY21" fmla="*/ 2768600 h 4429294"/>
                    <a:gd name="connsiteX22" fmla="*/ 4364819 w 4501379"/>
                    <a:gd name="connsiteY22" fmla="*/ 2990850 h 4429294"/>
                    <a:gd name="connsiteX23" fmla="*/ 4260044 w 4501379"/>
                    <a:gd name="connsiteY23" fmla="*/ 3248025 h 4429294"/>
                    <a:gd name="connsiteX24" fmla="*/ 4164794 w 4501379"/>
                    <a:gd name="connsiteY24" fmla="*/ 3400425 h 4429294"/>
                    <a:gd name="connsiteX25" fmla="*/ 4040969 w 4501379"/>
                    <a:gd name="connsiteY25" fmla="*/ 3533775 h 4429294"/>
                    <a:gd name="connsiteX26" fmla="*/ 3936194 w 4501379"/>
                    <a:gd name="connsiteY26" fmla="*/ 3648075 h 4429294"/>
                    <a:gd name="connsiteX27" fmla="*/ 3640919 w 4501379"/>
                    <a:gd name="connsiteY27" fmla="*/ 3971925 h 4429294"/>
                    <a:gd name="connsiteX28" fmla="*/ 3498044 w 4501379"/>
                    <a:gd name="connsiteY28" fmla="*/ 4083050 h 4429294"/>
                    <a:gd name="connsiteX29" fmla="*/ 3202769 w 4501379"/>
                    <a:gd name="connsiteY29" fmla="*/ 4222750 h 4429294"/>
                    <a:gd name="connsiteX30" fmla="*/ 3050369 w 4501379"/>
                    <a:gd name="connsiteY30" fmla="*/ 4286250 h 4429294"/>
                    <a:gd name="connsiteX31" fmla="*/ 2917019 w 4501379"/>
                    <a:gd name="connsiteY31" fmla="*/ 4333875 h 4429294"/>
                    <a:gd name="connsiteX32" fmla="*/ 2793194 w 4501379"/>
                    <a:gd name="connsiteY32" fmla="*/ 4371975 h 4429294"/>
                    <a:gd name="connsiteX33" fmla="*/ 2561419 w 4501379"/>
                    <a:gd name="connsiteY33" fmla="*/ 4391025 h 4429294"/>
                    <a:gd name="connsiteX34" fmla="*/ 2107394 w 4501379"/>
                    <a:gd name="connsiteY34" fmla="*/ 4429125 h 4429294"/>
                    <a:gd name="connsiteX35" fmla="*/ 1916894 w 4501379"/>
                    <a:gd name="connsiteY35" fmla="*/ 4400550 h 4429294"/>
                    <a:gd name="connsiteX36" fmla="*/ 1554944 w 4501379"/>
                    <a:gd name="connsiteY36" fmla="*/ 4305300 h 4429294"/>
                    <a:gd name="connsiteX37" fmla="*/ 1313644 w 4501379"/>
                    <a:gd name="connsiteY37" fmla="*/ 4216400 h 4429294"/>
                    <a:gd name="connsiteX38" fmla="*/ 1145369 w 4501379"/>
                    <a:gd name="connsiteY38" fmla="*/ 4111625 h 4429294"/>
                    <a:gd name="connsiteX39" fmla="*/ 926294 w 4501379"/>
                    <a:gd name="connsiteY39" fmla="*/ 3968750 h 4429294"/>
                    <a:gd name="connsiteX40" fmla="*/ 592919 w 4501379"/>
                    <a:gd name="connsiteY40" fmla="*/ 3657600 h 4429294"/>
                    <a:gd name="connsiteX41" fmla="*/ 446869 w 4501379"/>
                    <a:gd name="connsiteY41" fmla="*/ 3470275 h 4429294"/>
                    <a:gd name="connsiteX42" fmla="*/ 316694 w 4501379"/>
                    <a:gd name="connsiteY42" fmla="*/ 3244850 h 4429294"/>
                    <a:gd name="connsiteX43" fmla="*/ 164294 w 4501379"/>
                    <a:gd name="connsiteY43" fmla="*/ 2892425 h 4429294"/>
                    <a:gd name="connsiteX44" fmla="*/ 56344 w 4501379"/>
                    <a:gd name="connsiteY44" fmla="*/ 2368550 h 4429294"/>
                    <a:gd name="connsiteX45" fmla="*/ 2369 w 4501379"/>
                    <a:gd name="connsiteY45" fmla="*/ 1905000 h 4429294"/>
                    <a:gd name="connsiteX46" fmla="*/ 11894 w 4501379"/>
                    <a:gd name="connsiteY46" fmla="*/ 1838325 h 4429294"/>
                    <a:gd name="connsiteX47" fmla="*/ 30944 w 4501379"/>
                    <a:gd name="connsiteY47" fmla="*/ 1781175 h 4429294"/>
                    <a:gd name="connsiteX48" fmla="*/ 40469 w 4501379"/>
                    <a:gd name="connsiteY48" fmla="*/ 1743075 h 4429294"/>
                    <a:gd name="connsiteX49" fmla="*/ 59519 w 4501379"/>
                    <a:gd name="connsiteY49" fmla="*/ 1685925 h 4429294"/>
                    <a:gd name="connsiteX50" fmla="*/ 69044 w 4501379"/>
                    <a:gd name="connsiteY50" fmla="*/ 1638300 h 4429294"/>
                    <a:gd name="connsiteX51" fmla="*/ 88094 w 4501379"/>
                    <a:gd name="connsiteY51" fmla="*/ 1590675 h 4429294"/>
                    <a:gd name="connsiteX52" fmla="*/ 116669 w 4501379"/>
                    <a:gd name="connsiteY52" fmla="*/ 1504950 h 4429294"/>
                    <a:gd name="connsiteX53" fmla="*/ 135719 w 4501379"/>
                    <a:gd name="connsiteY53" fmla="*/ 1419225 h 4429294"/>
                    <a:gd name="connsiteX54" fmla="*/ 211919 w 4501379"/>
                    <a:gd name="connsiteY54" fmla="*/ 1276350 h 4429294"/>
                    <a:gd name="connsiteX55" fmla="*/ 221444 w 4501379"/>
                    <a:gd name="connsiteY55" fmla="*/ 1247775 h 4429294"/>
                    <a:gd name="connsiteX56" fmla="*/ 250019 w 4501379"/>
                    <a:gd name="connsiteY56" fmla="*/ 1200150 h 4429294"/>
                    <a:gd name="connsiteX57" fmla="*/ 269069 w 4501379"/>
                    <a:gd name="connsiteY57" fmla="*/ 1152525 h 4429294"/>
                    <a:gd name="connsiteX58" fmla="*/ 297644 w 4501379"/>
                    <a:gd name="connsiteY58" fmla="*/ 1114425 h 4429294"/>
                    <a:gd name="connsiteX59" fmla="*/ 345269 w 4501379"/>
                    <a:gd name="connsiteY59" fmla="*/ 1038225 h 4429294"/>
                    <a:gd name="connsiteX60" fmla="*/ 364319 w 4501379"/>
                    <a:gd name="connsiteY60" fmla="*/ 1009650 h 4429294"/>
                    <a:gd name="connsiteX61" fmla="*/ 421469 w 4501379"/>
                    <a:gd name="connsiteY61" fmla="*/ 904875 h 4429294"/>
                    <a:gd name="connsiteX62" fmla="*/ 459569 w 4501379"/>
                    <a:gd name="connsiteY62" fmla="*/ 857250 h 4429294"/>
                    <a:gd name="connsiteX63" fmla="*/ 478619 w 4501379"/>
                    <a:gd name="connsiteY63" fmla="*/ 828675 h 4429294"/>
                    <a:gd name="connsiteX64" fmla="*/ 516719 w 4501379"/>
                    <a:gd name="connsiteY64" fmla="*/ 800100 h 4429294"/>
                    <a:gd name="connsiteX65" fmla="*/ 583394 w 4501379"/>
                    <a:gd name="connsiteY65" fmla="*/ 733425 h 4429294"/>
                    <a:gd name="connsiteX66" fmla="*/ 650069 w 4501379"/>
                    <a:gd name="connsiteY66" fmla="*/ 676275 h 4429294"/>
                    <a:gd name="connsiteX67" fmla="*/ 678644 w 4501379"/>
                    <a:gd name="connsiteY67" fmla="*/ 657225 h 4429294"/>
                    <a:gd name="connsiteX68" fmla="*/ 821519 w 4501379"/>
                    <a:gd name="connsiteY68" fmla="*/ 533400 h 4429294"/>
                    <a:gd name="connsiteX69" fmla="*/ 869144 w 4501379"/>
                    <a:gd name="connsiteY69" fmla="*/ 504825 h 4429294"/>
                    <a:gd name="connsiteX70" fmla="*/ 1148544 w 4501379"/>
                    <a:gd name="connsiteY70" fmla="*/ 311150 h 4429294"/>
                    <a:gd name="connsiteX71" fmla="*/ 1250144 w 4501379"/>
                    <a:gd name="connsiteY71" fmla="*/ 285750 h 4429294"/>
                    <a:gd name="connsiteX72" fmla="*/ 1393019 w 4501379"/>
                    <a:gd name="connsiteY72" fmla="*/ 190500 h 4429294"/>
                    <a:gd name="connsiteX73" fmla="*/ 1431119 w 4501379"/>
                    <a:gd name="connsiteY73" fmla="*/ 161925 h 4429294"/>
                    <a:gd name="connsiteX74" fmla="*/ 1507319 w 4501379"/>
                    <a:gd name="connsiteY74" fmla="*/ 152400 h 4429294"/>
                    <a:gd name="connsiteX75" fmla="*/ 1564469 w 4501379"/>
                    <a:gd name="connsiteY75" fmla="*/ 142875 h 4429294"/>
                    <a:gd name="connsiteX76" fmla="*/ 1697819 w 4501379"/>
                    <a:gd name="connsiteY76" fmla="*/ 123825 h 4429294"/>
                    <a:gd name="connsiteX77" fmla="*/ 1793069 w 4501379"/>
                    <a:gd name="connsiteY77" fmla="*/ 114300 h 4429294"/>
                    <a:gd name="connsiteX78" fmla="*/ 1840694 w 4501379"/>
                    <a:gd name="connsiteY78" fmla="*/ 104775 h 4429294"/>
                    <a:gd name="connsiteX79" fmla="*/ 1897844 w 4501379"/>
                    <a:gd name="connsiteY79" fmla="*/ 95250 h 4429294"/>
                    <a:gd name="connsiteX80" fmla="*/ 2012144 w 4501379"/>
                    <a:gd name="connsiteY80" fmla="*/ 66675 h 4429294"/>
                    <a:gd name="connsiteX81" fmla="*/ 2078819 w 4501379"/>
                    <a:gd name="connsiteY81" fmla="*/ 47625 h 4429294"/>
                    <a:gd name="connsiteX82" fmla="*/ 2145494 w 4501379"/>
                    <a:gd name="connsiteY8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307544 w 4501379"/>
                    <a:gd name="connsiteY5" fmla="*/ 266700 h 4429294"/>
                    <a:gd name="connsiteX6" fmla="*/ 3402794 w 4501379"/>
                    <a:gd name="connsiteY6" fmla="*/ 323850 h 4429294"/>
                    <a:gd name="connsiteX7" fmla="*/ 3450419 w 4501379"/>
                    <a:gd name="connsiteY7" fmla="*/ 361950 h 4429294"/>
                    <a:gd name="connsiteX8" fmla="*/ 3498044 w 4501379"/>
                    <a:gd name="connsiteY8" fmla="*/ 390525 h 4429294"/>
                    <a:gd name="connsiteX9" fmla="*/ 3612344 w 4501379"/>
                    <a:gd name="connsiteY9" fmla="*/ 485775 h 4429294"/>
                    <a:gd name="connsiteX10" fmla="*/ 3726644 w 4501379"/>
                    <a:gd name="connsiteY10" fmla="*/ 542925 h 4429294"/>
                    <a:gd name="connsiteX11" fmla="*/ 3793319 w 4501379"/>
                    <a:gd name="connsiteY11" fmla="*/ 581025 h 4429294"/>
                    <a:gd name="connsiteX12" fmla="*/ 4009219 w 4501379"/>
                    <a:gd name="connsiteY12" fmla="*/ 819150 h 4429294"/>
                    <a:gd name="connsiteX13" fmla="*/ 4145744 w 4501379"/>
                    <a:gd name="connsiteY13" fmla="*/ 990600 h 4429294"/>
                    <a:gd name="connsiteX14" fmla="*/ 4231469 w 4501379"/>
                    <a:gd name="connsiteY14" fmla="*/ 1143000 h 4429294"/>
                    <a:gd name="connsiteX15" fmla="*/ 4288619 w 4501379"/>
                    <a:gd name="connsiteY15" fmla="*/ 1266825 h 4429294"/>
                    <a:gd name="connsiteX16" fmla="*/ 4326719 w 4501379"/>
                    <a:gd name="connsiteY16" fmla="*/ 1362075 h 4429294"/>
                    <a:gd name="connsiteX17" fmla="*/ 4374344 w 4501379"/>
                    <a:gd name="connsiteY17" fmla="*/ 1552575 h 4429294"/>
                    <a:gd name="connsiteX18" fmla="*/ 4412444 w 4501379"/>
                    <a:gd name="connsiteY18" fmla="*/ 1685925 h 4429294"/>
                    <a:gd name="connsiteX19" fmla="*/ 4501344 w 4501379"/>
                    <a:gd name="connsiteY19" fmla="*/ 2181225 h 4429294"/>
                    <a:gd name="connsiteX20" fmla="*/ 4428319 w 4501379"/>
                    <a:gd name="connsiteY20" fmla="*/ 2768600 h 4429294"/>
                    <a:gd name="connsiteX21" fmla="*/ 4364819 w 4501379"/>
                    <a:gd name="connsiteY21" fmla="*/ 2990850 h 4429294"/>
                    <a:gd name="connsiteX22" fmla="*/ 4260044 w 4501379"/>
                    <a:gd name="connsiteY22" fmla="*/ 3248025 h 4429294"/>
                    <a:gd name="connsiteX23" fmla="*/ 4164794 w 4501379"/>
                    <a:gd name="connsiteY23" fmla="*/ 3400425 h 4429294"/>
                    <a:gd name="connsiteX24" fmla="*/ 4040969 w 4501379"/>
                    <a:gd name="connsiteY24" fmla="*/ 3533775 h 4429294"/>
                    <a:gd name="connsiteX25" fmla="*/ 3936194 w 4501379"/>
                    <a:gd name="connsiteY25" fmla="*/ 3648075 h 4429294"/>
                    <a:gd name="connsiteX26" fmla="*/ 3640919 w 4501379"/>
                    <a:gd name="connsiteY26" fmla="*/ 3971925 h 4429294"/>
                    <a:gd name="connsiteX27" fmla="*/ 3498044 w 4501379"/>
                    <a:gd name="connsiteY27" fmla="*/ 4083050 h 4429294"/>
                    <a:gd name="connsiteX28" fmla="*/ 3202769 w 4501379"/>
                    <a:gd name="connsiteY28" fmla="*/ 4222750 h 4429294"/>
                    <a:gd name="connsiteX29" fmla="*/ 3050369 w 4501379"/>
                    <a:gd name="connsiteY29" fmla="*/ 4286250 h 4429294"/>
                    <a:gd name="connsiteX30" fmla="*/ 2917019 w 4501379"/>
                    <a:gd name="connsiteY30" fmla="*/ 4333875 h 4429294"/>
                    <a:gd name="connsiteX31" fmla="*/ 2793194 w 4501379"/>
                    <a:gd name="connsiteY31" fmla="*/ 4371975 h 4429294"/>
                    <a:gd name="connsiteX32" fmla="*/ 2561419 w 4501379"/>
                    <a:gd name="connsiteY32" fmla="*/ 4391025 h 4429294"/>
                    <a:gd name="connsiteX33" fmla="*/ 2107394 w 4501379"/>
                    <a:gd name="connsiteY33" fmla="*/ 4429125 h 4429294"/>
                    <a:gd name="connsiteX34" fmla="*/ 1916894 w 4501379"/>
                    <a:gd name="connsiteY34" fmla="*/ 4400550 h 4429294"/>
                    <a:gd name="connsiteX35" fmla="*/ 1554944 w 4501379"/>
                    <a:gd name="connsiteY35" fmla="*/ 4305300 h 4429294"/>
                    <a:gd name="connsiteX36" fmla="*/ 1313644 w 4501379"/>
                    <a:gd name="connsiteY36" fmla="*/ 4216400 h 4429294"/>
                    <a:gd name="connsiteX37" fmla="*/ 1145369 w 4501379"/>
                    <a:gd name="connsiteY37" fmla="*/ 4111625 h 4429294"/>
                    <a:gd name="connsiteX38" fmla="*/ 926294 w 4501379"/>
                    <a:gd name="connsiteY38" fmla="*/ 3968750 h 4429294"/>
                    <a:gd name="connsiteX39" fmla="*/ 592919 w 4501379"/>
                    <a:gd name="connsiteY39" fmla="*/ 3657600 h 4429294"/>
                    <a:gd name="connsiteX40" fmla="*/ 446869 w 4501379"/>
                    <a:gd name="connsiteY40" fmla="*/ 3470275 h 4429294"/>
                    <a:gd name="connsiteX41" fmla="*/ 316694 w 4501379"/>
                    <a:gd name="connsiteY41" fmla="*/ 3244850 h 4429294"/>
                    <a:gd name="connsiteX42" fmla="*/ 164294 w 4501379"/>
                    <a:gd name="connsiteY42" fmla="*/ 2892425 h 4429294"/>
                    <a:gd name="connsiteX43" fmla="*/ 56344 w 4501379"/>
                    <a:gd name="connsiteY43" fmla="*/ 2368550 h 4429294"/>
                    <a:gd name="connsiteX44" fmla="*/ 2369 w 4501379"/>
                    <a:gd name="connsiteY44" fmla="*/ 1905000 h 4429294"/>
                    <a:gd name="connsiteX45" fmla="*/ 11894 w 4501379"/>
                    <a:gd name="connsiteY45" fmla="*/ 1838325 h 4429294"/>
                    <a:gd name="connsiteX46" fmla="*/ 30944 w 4501379"/>
                    <a:gd name="connsiteY46" fmla="*/ 1781175 h 4429294"/>
                    <a:gd name="connsiteX47" fmla="*/ 40469 w 4501379"/>
                    <a:gd name="connsiteY47" fmla="*/ 1743075 h 4429294"/>
                    <a:gd name="connsiteX48" fmla="*/ 59519 w 4501379"/>
                    <a:gd name="connsiteY48" fmla="*/ 1685925 h 4429294"/>
                    <a:gd name="connsiteX49" fmla="*/ 69044 w 4501379"/>
                    <a:gd name="connsiteY49" fmla="*/ 1638300 h 4429294"/>
                    <a:gd name="connsiteX50" fmla="*/ 88094 w 4501379"/>
                    <a:gd name="connsiteY50" fmla="*/ 1590675 h 4429294"/>
                    <a:gd name="connsiteX51" fmla="*/ 116669 w 4501379"/>
                    <a:gd name="connsiteY51" fmla="*/ 1504950 h 4429294"/>
                    <a:gd name="connsiteX52" fmla="*/ 135719 w 4501379"/>
                    <a:gd name="connsiteY52" fmla="*/ 1419225 h 4429294"/>
                    <a:gd name="connsiteX53" fmla="*/ 211919 w 4501379"/>
                    <a:gd name="connsiteY53" fmla="*/ 1276350 h 4429294"/>
                    <a:gd name="connsiteX54" fmla="*/ 221444 w 4501379"/>
                    <a:gd name="connsiteY54" fmla="*/ 1247775 h 4429294"/>
                    <a:gd name="connsiteX55" fmla="*/ 250019 w 4501379"/>
                    <a:gd name="connsiteY55" fmla="*/ 1200150 h 4429294"/>
                    <a:gd name="connsiteX56" fmla="*/ 269069 w 4501379"/>
                    <a:gd name="connsiteY56" fmla="*/ 1152525 h 4429294"/>
                    <a:gd name="connsiteX57" fmla="*/ 297644 w 4501379"/>
                    <a:gd name="connsiteY57" fmla="*/ 1114425 h 4429294"/>
                    <a:gd name="connsiteX58" fmla="*/ 345269 w 4501379"/>
                    <a:gd name="connsiteY58" fmla="*/ 1038225 h 4429294"/>
                    <a:gd name="connsiteX59" fmla="*/ 364319 w 4501379"/>
                    <a:gd name="connsiteY59" fmla="*/ 1009650 h 4429294"/>
                    <a:gd name="connsiteX60" fmla="*/ 421469 w 4501379"/>
                    <a:gd name="connsiteY60" fmla="*/ 904875 h 4429294"/>
                    <a:gd name="connsiteX61" fmla="*/ 459569 w 4501379"/>
                    <a:gd name="connsiteY61" fmla="*/ 857250 h 4429294"/>
                    <a:gd name="connsiteX62" fmla="*/ 478619 w 4501379"/>
                    <a:gd name="connsiteY62" fmla="*/ 828675 h 4429294"/>
                    <a:gd name="connsiteX63" fmla="*/ 516719 w 4501379"/>
                    <a:gd name="connsiteY63" fmla="*/ 800100 h 4429294"/>
                    <a:gd name="connsiteX64" fmla="*/ 583394 w 4501379"/>
                    <a:gd name="connsiteY64" fmla="*/ 733425 h 4429294"/>
                    <a:gd name="connsiteX65" fmla="*/ 650069 w 4501379"/>
                    <a:gd name="connsiteY65" fmla="*/ 676275 h 4429294"/>
                    <a:gd name="connsiteX66" fmla="*/ 678644 w 4501379"/>
                    <a:gd name="connsiteY66" fmla="*/ 657225 h 4429294"/>
                    <a:gd name="connsiteX67" fmla="*/ 821519 w 4501379"/>
                    <a:gd name="connsiteY67" fmla="*/ 533400 h 4429294"/>
                    <a:gd name="connsiteX68" fmla="*/ 869144 w 4501379"/>
                    <a:gd name="connsiteY68" fmla="*/ 504825 h 4429294"/>
                    <a:gd name="connsiteX69" fmla="*/ 1148544 w 4501379"/>
                    <a:gd name="connsiteY69" fmla="*/ 311150 h 4429294"/>
                    <a:gd name="connsiteX70" fmla="*/ 1250144 w 4501379"/>
                    <a:gd name="connsiteY70" fmla="*/ 285750 h 4429294"/>
                    <a:gd name="connsiteX71" fmla="*/ 1393019 w 4501379"/>
                    <a:gd name="connsiteY71" fmla="*/ 190500 h 4429294"/>
                    <a:gd name="connsiteX72" fmla="*/ 1431119 w 4501379"/>
                    <a:gd name="connsiteY72" fmla="*/ 161925 h 4429294"/>
                    <a:gd name="connsiteX73" fmla="*/ 1507319 w 4501379"/>
                    <a:gd name="connsiteY73" fmla="*/ 152400 h 4429294"/>
                    <a:gd name="connsiteX74" fmla="*/ 1564469 w 4501379"/>
                    <a:gd name="connsiteY74" fmla="*/ 142875 h 4429294"/>
                    <a:gd name="connsiteX75" fmla="*/ 1697819 w 4501379"/>
                    <a:gd name="connsiteY75" fmla="*/ 123825 h 4429294"/>
                    <a:gd name="connsiteX76" fmla="*/ 1793069 w 4501379"/>
                    <a:gd name="connsiteY76" fmla="*/ 114300 h 4429294"/>
                    <a:gd name="connsiteX77" fmla="*/ 1840694 w 4501379"/>
                    <a:gd name="connsiteY77" fmla="*/ 104775 h 4429294"/>
                    <a:gd name="connsiteX78" fmla="*/ 1897844 w 4501379"/>
                    <a:gd name="connsiteY78" fmla="*/ 95250 h 4429294"/>
                    <a:gd name="connsiteX79" fmla="*/ 2012144 w 4501379"/>
                    <a:gd name="connsiteY79" fmla="*/ 66675 h 4429294"/>
                    <a:gd name="connsiteX80" fmla="*/ 2078819 w 4501379"/>
                    <a:gd name="connsiteY80" fmla="*/ 47625 h 4429294"/>
                    <a:gd name="connsiteX81" fmla="*/ 2145494 w 4501379"/>
                    <a:gd name="connsiteY8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498044 w 4501379"/>
                    <a:gd name="connsiteY7" fmla="*/ 390525 h 4429294"/>
                    <a:gd name="connsiteX8" fmla="*/ 3612344 w 4501379"/>
                    <a:gd name="connsiteY8" fmla="*/ 485775 h 4429294"/>
                    <a:gd name="connsiteX9" fmla="*/ 3726644 w 4501379"/>
                    <a:gd name="connsiteY9" fmla="*/ 542925 h 4429294"/>
                    <a:gd name="connsiteX10" fmla="*/ 3793319 w 4501379"/>
                    <a:gd name="connsiteY10" fmla="*/ 581025 h 4429294"/>
                    <a:gd name="connsiteX11" fmla="*/ 4009219 w 4501379"/>
                    <a:gd name="connsiteY11" fmla="*/ 819150 h 4429294"/>
                    <a:gd name="connsiteX12" fmla="*/ 4145744 w 4501379"/>
                    <a:gd name="connsiteY12" fmla="*/ 990600 h 4429294"/>
                    <a:gd name="connsiteX13" fmla="*/ 4231469 w 4501379"/>
                    <a:gd name="connsiteY13" fmla="*/ 1143000 h 4429294"/>
                    <a:gd name="connsiteX14" fmla="*/ 4288619 w 4501379"/>
                    <a:gd name="connsiteY14" fmla="*/ 1266825 h 4429294"/>
                    <a:gd name="connsiteX15" fmla="*/ 4326719 w 4501379"/>
                    <a:gd name="connsiteY15" fmla="*/ 1362075 h 4429294"/>
                    <a:gd name="connsiteX16" fmla="*/ 4374344 w 4501379"/>
                    <a:gd name="connsiteY16" fmla="*/ 1552575 h 4429294"/>
                    <a:gd name="connsiteX17" fmla="*/ 4412444 w 4501379"/>
                    <a:gd name="connsiteY17" fmla="*/ 1685925 h 4429294"/>
                    <a:gd name="connsiteX18" fmla="*/ 4501344 w 4501379"/>
                    <a:gd name="connsiteY18" fmla="*/ 2181225 h 4429294"/>
                    <a:gd name="connsiteX19" fmla="*/ 4428319 w 4501379"/>
                    <a:gd name="connsiteY19" fmla="*/ 2768600 h 4429294"/>
                    <a:gd name="connsiteX20" fmla="*/ 4364819 w 4501379"/>
                    <a:gd name="connsiteY20" fmla="*/ 2990850 h 4429294"/>
                    <a:gd name="connsiteX21" fmla="*/ 4260044 w 4501379"/>
                    <a:gd name="connsiteY21" fmla="*/ 3248025 h 4429294"/>
                    <a:gd name="connsiteX22" fmla="*/ 4164794 w 4501379"/>
                    <a:gd name="connsiteY22" fmla="*/ 3400425 h 4429294"/>
                    <a:gd name="connsiteX23" fmla="*/ 4040969 w 4501379"/>
                    <a:gd name="connsiteY23" fmla="*/ 3533775 h 4429294"/>
                    <a:gd name="connsiteX24" fmla="*/ 3936194 w 4501379"/>
                    <a:gd name="connsiteY24" fmla="*/ 3648075 h 4429294"/>
                    <a:gd name="connsiteX25" fmla="*/ 3640919 w 4501379"/>
                    <a:gd name="connsiteY25" fmla="*/ 3971925 h 4429294"/>
                    <a:gd name="connsiteX26" fmla="*/ 3498044 w 4501379"/>
                    <a:gd name="connsiteY26" fmla="*/ 4083050 h 4429294"/>
                    <a:gd name="connsiteX27" fmla="*/ 3202769 w 4501379"/>
                    <a:gd name="connsiteY27" fmla="*/ 4222750 h 4429294"/>
                    <a:gd name="connsiteX28" fmla="*/ 3050369 w 4501379"/>
                    <a:gd name="connsiteY28" fmla="*/ 4286250 h 4429294"/>
                    <a:gd name="connsiteX29" fmla="*/ 2917019 w 4501379"/>
                    <a:gd name="connsiteY29" fmla="*/ 4333875 h 4429294"/>
                    <a:gd name="connsiteX30" fmla="*/ 2793194 w 4501379"/>
                    <a:gd name="connsiteY30" fmla="*/ 4371975 h 4429294"/>
                    <a:gd name="connsiteX31" fmla="*/ 2561419 w 4501379"/>
                    <a:gd name="connsiteY31" fmla="*/ 4391025 h 4429294"/>
                    <a:gd name="connsiteX32" fmla="*/ 2107394 w 4501379"/>
                    <a:gd name="connsiteY32" fmla="*/ 4429125 h 4429294"/>
                    <a:gd name="connsiteX33" fmla="*/ 1916894 w 4501379"/>
                    <a:gd name="connsiteY33" fmla="*/ 4400550 h 4429294"/>
                    <a:gd name="connsiteX34" fmla="*/ 1554944 w 4501379"/>
                    <a:gd name="connsiteY34" fmla="*/ 4305300 h 4429294"/>
                    <a:gd name="connsiteX35" fmla="*/ 1313644 w 4501379"/>
                    <a:gd name="connsiteY35" fmla="*/ 4216400 h 4429294"/>
                    <a:gd name="connsiteX36" fmla="*/ 1145369 w 4501379"/>
                    <a:gd name="connsiteY36" fmla="*/ 4111625 h 4429294"/>
                    <a:gd name="connsiteX37" fmla="*/ 926294 w 4501379"/>
                    <a:gd name="connsiteY37" fmla="*/ 3968750 h 4429294"/>
                    <a:gd name="connsiteX38" fmla="*/ 592919 w 4501379"/>
                    <a:gd name="connsiteY38" fmla="*/ 3657600 h 4429294"/>
                    <a:gd name="connsiteX39" fmla="*/ 446869 w 4501379"/>
                    <a:gd name="connsiteY39" fmla="*/ 3470275 h 4429294"/>
                    <a:gd name="connsiteX40" fmla="*/ 316694 w 4501379"/>
                    <a:gd name="connsiteY40" fmla="*/ 3244850 h 4429294"/>
                    <a:gd name="connsiteX41" fmla="*/ 164294 w 4501379"/>
                    <a:gd name="connsiteY41" fmla="*/ 2892425 h 4429294"/>
                    <a:gd name="connsiteX42" fmla="*/ 56344 w 4501379"/>
                    <a:gd name="connsiteY42" fmla="*/ 2368550 h 4429294"/>
                    <a:gd name="connsiteX43" fmla="*/ 2369 w 4501379"/>
                    <a:gd name="connsiteY43" fmla="*/ 1905000 h 4429294"/>
                    <a:gd name="connsiteX44" fmla="*/ 11894 w 4501379"/>
                    <a:gd name="connsiteY44" fmla="*/ 1838325 h 4429294"/>
                    <a:gd name="connsiteX45" fmla="*/ 30944 w 4501379"/>
                    <a:gd name="connsiteY45" fmla="*/ 1781175 h 4429294"/>
                    <a:gd name="connsiteX46" fmla="*/ 40469 w 4501379"/>
                    <a:gd name="connsiteY46" fmla="*/ 1743075 h 4429294"/>
                    <a:gd name="connsiteX47" fmla="*/ 59519 w 4501379"/>
                    <a:gd name="connsiteY47" fmla="*/ 1685925 h 4429294"/>
                    <a:gd name="connsiteX48" fmla="*/ 69044 w 4501379"/>
                    <a:gd name="connsiteY48" fmla="*/ 1638300 h 4429294"/>
                    <a:gd name="connsiteX49" fmla="*/ 88094 w 4501379"/>
                    <a:gd name="connsiteY49" fmla="*/ 1590675 h 4429294"/>
                    <a:gd name="connsiteX50" fmla="*/ 116669 w 4501379"/>
                    <a:gd name="connsiteY50" fmla="*/ 1504950 h 4429294"/>
                    <a:gd name="connsiteX51" fmla="*/ 135719 w 4501379"/>
                    <a:gd name="connsiteY51" fmla="*/ 1419225 h 4429294"/>
                    <a:gd name="connsiteX52" fmla="*/ 211919 w 4501379"/>
                    <a:gd name="connsiteY52" fmla="*/ 1276350 h 4429294"/>
                    <a:gd name="connsiteX53" fmla="*/ 221444 w 4501379"/>
                    <a:gd name="connsiteY53" fmla="*/ 1247775 h 4429294"/>
                    <a:gd name="connsiteX54" fmla="*/ 250019 w 4501379"/>
                    <a:gd name="connsiteY54" fmla="*/ 1200150 h 4429294"/>
                    <a:gd name="connsiteX55" fmla="*/ 269069 w 4501379"/>
                    <a:gd name="connsiteY55" fmla="*/ 1152525 h 4429294"/>
                    <a:gd name="connsiteX56" fmla="*/ 297644 w 4501379"/>
                    <a:gd name="connsiteY56" fmla="*/ 1114425 h 4429294"/>
                    <a:gd name="connsiteX57" fmla="*/ 345269 w 4501379"/>
                    <a:gd name="connsiteY57" fmla="*/ 1038225 h 4429294"/>
                    <a:gd name="connsiteX58" fmla="*/ 364319 w 4501379"/>
                    <a:gd name="connsiteY58" fmla="*/ 1009650 h 4429294"/>
                    <a:gd name="connsiteX59" fmla="*/ 421469 w 4501379"/>
                    <a:gd name="connsiteY59" fmla="*/ 904875 h 4429294"/>
                    <a:gd name="connsiteX60" fmla="*/ 459569 w 4501379"/>
                    <a:gd name="connsiteY60" fmla="*/ 857250 h 4429294"/>
                    <a:gd name="connsiteX61" fmla="*/ 478619 w 4501379"/>
                    <a:gd name="connsiteY61" fmla="*/ 828675 h 4429294"/>
                    <a:gd name="connsiteX62" fmla="*/ 516719 w 4501379"/>
                    <a:gd name="connsiteY62" fmla="*/ 800100 h 4429294"/>
                    <a:gd name="connsiteX63" fmla="*/ 583394 w 4501379"/>
                    <a:gd name="connsiteY63" fmla="*/ 733425 h 4429294"/>
                    <a:gd name="connsiteX64" fmla="*/ 650069 w 4501379"/>
                    <a:gd name="connsiteY64" fmla="*/ 676275 h 4429294"/>
                    <a:gd name="connsiteX65" fmla="*/ 678644 w 4501379"/>
                    <a:gd name="connsiteY65" fmla="*/ 657225 h 4429294"/>
                    <a:gd name="connsiteX66" fmla="*/ 821519 w 4501379"/>
                    <a:gd name="connsiteY66" fmla="*/ 533400 h 4429294"/>
                    <a:gd name="connsiteX67" fmla="*/ 869144 w 4501379"/>
                    <a:gd name="connsiteY67" fmla="*/ 504825 h 4429294"/>
                    <a:gd name="connsiteX68" fmla="*/ 1148544 w 4501379"/>
                    <a:gd name="connsiteY68" fmla="*/ 311150 h 4429294"/>
                    <a:gd name="connsiteX69" fmla="*/ 1250144 w 4501379"/>
                    <a:gd name="connsiteY69" fmla="*/ 285750 h 4429294"/>
                    <a:gd name="connsiteX70" fmla="*/ 1393019 w 4501379"/>
                    <a:gd name="connsiteY70" fmla="*/ 190500 h 4429294"/>
                    <a:gd name="connsiteX71" fmla="*/ 1431119 w 4501379"/>
                    <a:gd name="connsiteY71" fmla="*/ 161925 h 4429294"/>
                    <a:gd name="connsiteX72" fmla="*/ 1507319 w 4501379"/>
                    <a:gd name="connsiteY72" fmla="*/ 152400 h 4429294"/>
                    <a:gd name="connsiteX73" fmla="*/ 1564469 w 4501379"/>
                    <a:gd name="connsiteY73" fmla="*/ 142875 h 4429294"/>
                    <a:gd name="connsiteX74" fmla="*/ 1697819 w 4501379"/>
                    <a:gd name="connsiteY74" fmla="*/ 123825 h 4429294"/>
                    <a:gd name="connsiteX75" fmla="*/ 1793069 w 4501379"/>
                    <a:gd name="connsiteY75" fmla="*/ 114300 h 4429294"/>
                    <a:gd name="connsiteX76" fmla="*/ 1840694 w 4501379"/>
                    <a:gd name="connsiteY76" fmla="*/ 104775 h 4429294"/>
                    <a:gd name="connsiteX77" fmla="*/ 1897844 w 4501379"/>
                    <a:gd name="connsiteY77" fmla="*/ 95250 h 4429294"/>
                    <a:gd name="connsiteX78" fmla="*/ 2012144 w 4501379"/>
                    <a:gd name="connsiteY78" fmla="*/ 66675 h 4429294"/>
                    <a:gd name="connsiteX79" fmla="*/ 2078819 w 4501379"/>
                    <a:gd name="connsiteY79" fmla="*/ 47625 h 4429294"/>
                    <a:gd name="connsiteX80" fmla="*/ 2145494 w 4501379"/>
                    <a:gd name="connsiteY8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612344 w 4501379"/>
                    <a:gd name="connsiteY7" fmla="*/ 485775 h 4429294"/>
                    <a:gd name="connsiteX8" fmla="*/ 3726644 w 4501379"/>
                    <a:gd name="connsiteY8" fmla="*/ 542925 h 4429294"/>
                    <a:gd name="connsiteX9" fmla="*/ 3793319 w 4501379"/>
                    <a:gd name="connsiteY9" fmla="*/ 581025 h 4429294"/>
                    <a:gd name="connsiteX10" fmla="*/ 4009219 w 4501379"/>
                    <a:gd name="connsiteY10" fmla="*/ 819150 h 4429294"/>
                    <a:gd name="connsiteX11" fmla="*/ 4145744 w 4501379"/>
                    <a:gd name="connsiteY11" fmla="*/ 990600 h 4429294"/>
                    <a:gd name="connsiteX12" fmla="*/ 4231469 w 4501379"/>
                    <a:gd name="connsiteY12" fmla="*/ 1143000 h 4429294"/>
                    <a:gd name="connsiteX13" fmla="*/ 4288619 w 4501379"/>
                    <a:gd name="connsiteY13" fmla="*/ 1266825 h 4429294"/>
                    <a:gd name="connsiteX14" fmla="*/ 4326719 w 4501379"/>
                    <a:gd name="connsiteY14" fmla="*/ 1362075 h 4429294"/>
                    <a:gd name="connsiteX15" fmla="*/ 4374344 w 4501379"/>
                    <a:gd name="connsiteY15" fmla="*/ 1552575 h 4429294"/>
                    <a:gd name="connsiteX16" fmla="*/ 4412444 w 4501379"/>
                    <a:gd name="connsiteY16" fmla="*/ 1685925 h 4429294"/>
                    <a:gd name="connsiteX17" fmla="*/ 4501344 w 4501379"/>
                    <a:gd name="connsiteY17" fmla="*/ 2181225 h 4429294"/>
                    <a:gd name="connsiteX18" fmla="*/ 4428319 w 4501379"/>
                    <a:gd name="connsiteY18" fmla="*/ 2768600 h 4429294"/>
                    <a:gd name="connsiteX19" fmla="*/ 4364819 w 4501379"/>
                    <a:gd name="connsiteY19" fmla="*/ 2990850 h 4429294"/>
                    <a:gd name="connsiteX20" fmla="*/ 4260044 w 4501379"/>
                    <a:gd name="connsiteY20" fmla="*/ 3248025 h 4429294"/>
                    <a:gd name="connsiteX21" fmla="*/ 4164794 w 4501379"/>
                    <a:gd name="connsiteY21" fmla="*/ 3400425 h 4429294"/>
                    <a:gd name="connsiteX22" fmla="*/ 4040969 w 4501379"/>
                    <a:gd name="connsiteY22" fmla="*/ 3533775 h 4429294"/>
                    <a:gd name="connsiteX23" fmla="*/ 3936194 w 4501379"/>
                    <a:gd name="connsiteY23" fmla="*/ 3648075 h 4429294"/>
                    <a:gd name="connsiteX24" fmla="*/ 3640919 w 4501379"/>
                    <a:gd name="connsiteY24" fmla="*/ 3971925 h 4429294"/>
                    <a:gd name="connsiteX25" fmla="*/ 3498044 w 4501379"/>
                    <a:gd name="connsiteY25" fmla="*/ 4083050 h 4429294"/>
                    <a:gd name="connsiteX26" fmla="*/ 3202769 w 4501379"/>
                    <a:gd name="connsiteY26" fmla="*/ 4222750 h 4429294"/>
                    <a:gd name="connsiteX27" fmla="*/ 3050369 w 4501379"/>
                    <a:gd name="connsiteY27" fmla="*/ 4286250 h 4429294"/>
                    <a:gd name="connsiteX28" fmla="*/ 2917019 w 4501379"/>
                    <a:gd name="connsiteY28" fmla="*/ 4333875 h 4429294"/>
                    <a:gd name="connsiteX29" fmla="*/ 2793194 w 4501379"/>
                    <a:gd name="connsiteY29" fmla="*/ 4371975 h 4429294"/>
                    <a:gd name="connsiteX30" fmla="*/ 2561419 w 4501379"/>
                    <a:gd name="connsiteY30" fmla="*/ 4391025 h 4429294"/>
                    <a:gd name="connsiteX31" fmla="*/ 2107394 w 4501379"/>
                    <a:gd name="connsiteY31" fmla="*/ 4429125 h 4429294"/>
                    <a:gd name="connsiteX32" fmla="*/ 1916894 w 4501379"/>
                    <a:gd name="connsiteY32" fmla="*/ 4400550 h 4429294"/>
                    <a:gd name="connsiteX33" fmla="*/ 1554944 w 4501379"/>
                    <a:gd name="connsiteY33" fmla="*/ 4305300 h 4429294"/>
                    <a:gd name="connsiteX34" fmla="*/ 1313644 w 4501379"/>
                    <a:gd name="connsiteY34" fmla="*/ 4216400 h 4429294"/>
                    <a:gd name="connsiteX35" fmla="*/ 1145369 w 4501379"/>
                    <a:gd name="connsiteY35" fmla="*/ 4111625 h 4429294"/>
                    <a:gd name="connsiteX36" fmla="*/ 926294 w 4501379"/>
                    <a:gd name="connsiteY36" fmla="*/ 3968750 h 4429294"/>
                    <a:gd name="connsiteX37" fmla="*/ 592919 w 4501379"/>
                    <a:gd name="connsiteY37" fmla="*/ 3657600 h 4429294"/>
                    <a:gd name="connsiteX38" fmla="*/ 446869 w 4501379"/>
                    <a:gd name="connsiteY38" fmla="*/ 3470275 h 4429294"/>
                    <a:gd name="connsiteX39" fmla="*/ 316694 w 4501379"/>
                    <a:gd name="connsiteY39" fmla="*/ 3244850 h 4429294"/>
                    <a:gd name="connsiteX40" fmla="*/ 164294 w 4501379"/>
                    <a:gd name="connsiteY40" fmla="*/ 2892425 h 4429294"/>
                    <a:gd name="connsiteX41" fmla="*/ 56344 w 4501379"/>
                    <a:gd name="connsiteY41" fmla="*/ 2368550 h 4429294"/>
                    <a:gd name="connsiteX42" fmla="*/ 2369 w 4501379"/>
                    <a:gd name="connsiteY42" fmla="*/ 1905000 h 4429294"/>
                    <a:gd name="connsiteX43" fmla="*/ 11894 w 4501379"/>
                    <a:gd name="connsiteY43" fmla="*/ 1838325 h 4429294"/>
                    <a:gd name="connsiteX44" fmla="*/ 30944 w 4501379"/>
                    <a:gd name="connsiteY44" fmla="*/ 1781175 h 4429294"/>
                    <a:gd name="connsiteX45" fmla="*/ 40469 w 4501379"/>
                    <a:gd name="connsiteY45" fmla="*/ 1743075 h 4429294"/>
                    <a:gd name="connsiteX46" fmla="*/ 59519 w 4501379"/>
                    <a:gd name="connsiteY46" fmla="*/ 1685925 h 4429294"/>
                    <a:gd name="connsiteX47" fmla="*/ 69044 w 4501379"/>
                    <a:gd name="connsiteY47" fmla="*/ 1638300 h 4429294"/>
                    <a:gd name="connsiteX48" fmla="*/ 88094 w 4501379"/>
                    <a:gd name="connsiteY48" fmla="*/ 1590675 h 4429294"/>
                    <a:gd name="connsiteX49" fmla="*/ 116669 w 4501379"/>
                    <a:gd name="connsiteY49" fmla="*/ 1504950 h 4429294"/>
                    <a:gd name="connsiteX50" fmla="*/ 135719 w 4501379"/>
                    <a:gd name="connsiteY50" fmla="*/ 1419225 h 4429294"/>
                    <a:gd name="connsiteX51" fmla="*/ 211919 w 4501379"/>
                    <a:gd name="connsiteY51" fmla="*/ 1276350 h 4429294"/>
                    <a:gd name="connsiteX52" fmla="*/ 221444 w 4501379"/>
                    <a:gd name="connsiteY52" fmla="*/ 1247775 h 4429294"/>
                    <a:gd name="connsiteX53" fmla="*/ 250019 w 4501379"/>
                    <a:gd name="connsiteY53" fmla="*/ 1200150 h 4429294"/>
                    <a:gd name="connsiteX54" fmla="*/ 269069 w 4501379"/>
                    <a:gd name="connsiteY54" fmla="*/ 1152525 h 4429294"/>
                    <a:gd name="connsiteX55" fmla="*/ 297644 w 4501379"/>
                    <a:gd name="connsiteY55" fmla="*/ 1114425 h 4429294"/>
                    <a:gd name="connsiteX56" fmla="*/ 345269 w 4501379"/>
                    <a:gd name="connsiteY56" fmla="*/ 1038225 h 4429294"/>
                    <a:gd name="connsiteX57" fmla="*/ 364319 w 4501379"/>
                    <a:gd name="connsiteY57" fmla="*/ 1009650 h 4429294"/>
                    <a:gd name="connsiteX58" fmla="*/ 421469 w 4501379"/>
                    <a:gd name="connsiteY58" fmla="*/ 904875 h 4429294"/>
                    <a:gd name="connsiteX59" fmla="*/ 459569 w 4501379"/>
                    <a:gd name="connsiteY59" fmla="*/ 857250 h 4429294"/>
                    <a:gd name="connsiteX60" fmla="*/ 478619 w 4501379"/>
                    <a:gd name="connsiteY60" fmla="*/ 828675 h 4429294"/>
                    <a:gd name="connsiteX61" fmla="*/ 516719 w 4501379"/>
                    <a:gd name="connsiteY61" fmla="*/ 800100 h 4429294"/>
                    <a:gd name="connsiteX62" fmla="*/ 583394 w 4501379"/>
                    <a:gd name="connsiteY62" fmla="*/ 733425 h 4429294"/>
                    <a:gd name="connsiteX63" fmla="*/ 650069 w 4501379"/>
                    <a:gd name="connsiteY63" fmla="*/ 676275 h 4429294"/>
                    <a:gd name="connsiteX64" fmla="*/ 678644 w 4501379"/>
                    <a:gd name="connsiteY64" fmla="*/ 657225 h 4429294"/>
                    <a:gd name="connsiteX65" fmla="*/ 821519 w 4501379"/>
                    <a:gd name="connsiteY65" fmla="*/ 533400 h 4429294"/>
                    <a:gd name="connsiteX66" fmla="*/ 869144 w 4501379"/>
                    <a:gd name="connsiteY66" fmla="*/ 504825 h 4429294"/>
                    <a:gd name="connsiteX67" fmla="*/ 1148544 w 4501379"/>
                    <a:gd name="connsiteY67" fmla="*/ 311150 h 4429294"/>
                    <a:gd name="connsiteX68" fmla="*/ 1250144 w 4501379"/>
                    <a:gd name="connsiteY68" fmla="*/ 285750 h 4429294"/>
                    <a:gd name="connsiteX69" fmla="*/ 1393019 w 4501379"/>
                    <a:gd name="connsiteY69" fmla="*/ 190500 h 4429294"/>
                    <a:gd name="connsiteX70" fmla="*/ 1431119 w 4501379"/>
                    <a:gd name="connsiteY70" fmla="*/ 161925 h 4429294"/>
                    <a:gd name="connsiteX71" fmla="*/ 1507319 w 4501379"/>
                    <a:gd name="connsiteY71" fmla="*/ 152400 h 4429294"/>
                    <a:gd name="connsiteX72" fmla="*/ 1564469 w 4501379"/>
                    <a:gd name="connsiteY72" fmla="*/ 142875 h 4429294"/>
                    <a:gd name="connsiteX73" fmla="*/ 1697819 w 4501379"/>
                    <a:gd name="connsiteY73" fmla="*/ 123825 h 4429294"/>
                    <a:gd name="connsiteX74" fmla="*/ 1793069 w 4501379"/>
                    <a:gd name="connsiteY74" fmla="*/ 114300 h 4429294"/>
                    <a:gd name="connsiteX75" fmla="*/ 1840694 w 4501379"/>
                    <a:gd name="connsiteY75" fmla="*/ 104775 h 4429294"/>
                    <a:gd name="connsiteX76" fmla="*/ 1897844 w 4501379"/>
                    <a:gd name="connsiteY76" fmla="*/ 95250 h 4429294"/>
                    <a:gd name="connsiteX77" fmla="*/ 2012144 w 4501379"/>
                    <a:gd name="connsiteY77" fmla="*/ 66675 h 4429294"/>
                    <a:gd name="connsiteX78" fmla="*/ 2078819 w 4501379"/>
                    <a:gd name="connsiteY78" fmla="*/ 47625 h 4429294"/>
                    <a:gd name="connsiteX79" fmla="*/ 2145494 w 4501379"/>
                    <a:gd name="connsiteY7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26644 w 4501379"/>
                    <a:gd name="connsiteY7" fmla="*/ 542925 h 4429294"/>
                    <a:gd name="connsiteX8" fmla="*/ 3793319 w 4501379"/>
                    <a:gd name="connsiteY8" fmla="*/ 581025 h 4429294"/>
                    <a:gd name="connsiteX9" fmla="*/ 4009219 w 4501379"/>
                    <a:gd name="connsiteY9" fmla="*/ 819150 h 4429294"/>
                    <a:gd name="connsiteX10" fmla="*/ 4145744 w 4501379"/>
                    <a:gd name="connsiteY10" fmla="*/ 990600 h 4429294"/>
                    <a:gd name="connsiteX11" fmla="*/ 4231469 w 4501379"/>
                    <a:gd name="connsiteY11" fmla="*/ 1143000 h 4429294"/>
                    <a:gd name="connsiteX12" fmla="*/ 4288619 w 4501379"/>
                    <a:gd name="connsiteY12" fmla="*/ 1266825 h 4429294"/>
                    <a:gd name="connsiteX13" fmla="*/ 4326719 w 4501379"/>
                    <a:gd name="connsiteY13" fmla="*/ 1362075 h 4429294"/>
                    <a:gd name="connsiteX14" fmla="*/ 4374344 w 4501379"/>
                    <a:gd name="connsiteY14" fmla="*/ 1552575 h 4429294"/>
                    <a:gd name="connsiteX15" fmla="*/ 4412444 w 4501379"/>
                    <a:gd name="connsiteY15" fmla="*/ 1685925 h 4429294"/>
                    <a:gd name="connsiteX16" fmla="*/ 4501344 w 4501379"/>
                    <a:gd name="connsiteY16" fmla="*/ 2181225 h 4429294"/>
                    <a:gd name="connsiteX17" fmla="*/ 4428319 w 4501379"/>
                    <a:gd name="connsiteY17" fmla="*/ 2768600 h 4429294"/>
                    <a:gd name="connsiteX18" fmla="*/ 4364819 w 4501379"/>
                    <a:gd name="connsiteY18" fmla="*/ 2990850 h 4429294"/>
                    <a:gd name="connsiteX19" fmla="*/ 4260044 w 4501379"/>
                    <a:gd name="connsiteY19" fmla="*/ 3248025 h 4429294"/>
                    <a:gd name="connsiteX20" fmla="*/ 4164794 w 4501379"/>
                    <a:gd name="connsiteY20" fmla="*/ 3400425 h 4429294"/>
                    <a:gd name="connsiteX21" fmla="*/ 4040969 w 4501379"/>
                    <a:gd name="connsiteY21" fmla="*/ 3533775 h 4429294"/>
                    <a:gd name="connsiteX22" fmla="*/ 3936194 w 4501379"/>
                    <a:gd name="connsiteY22" fmla="*/ 3648075 h 4429294"/>
                    <a:gd name="connsiteX23" fmla="*/ 3640919 w 4501379"/>
                    <a:gd name="connsiteY23" fmla="*/ 3971925 h 4429294"/>
                    <a:gd name="connsiteX24" fmla="*/ 3498044 w 4501379"/>
                    <a:gd name="connsiteY24" fmla="*/ 4083050 h 4429294"/>
                    <a:gd name="connsiteX25" fmla="*/ 3202769 w 4501379"/>
                    <a:gd name="connsiteY25" fmla="*/ 4222750 h 4429294"/>
                    <a:gd name="connsiteX26" fmla="*/ 3050369 w 4501379"/>
                    <a:gd name="connsiteY26" fmla="*/ 4286250 h 4429294"/>
                    <a:gd name="connsiteX27" fmla="*/ 2917019 w 4501379"/>
                    <a:gd name="connsiteY27" fmla="*/ 4333875 h 4429294"/>
                    <a:gd name="connsiteX28" fmla="*/ 2793194 w 4501379"/>
                    <a:gd name="connsiteY28" fmla="*/ 4371975 h 4429294"/>
                    <a:gd name="connsiteX29" fmla="*/ 2561419 w 4501379"/>
                    <a:gd name="connsiteY29" fmla="*/ 4391025 h 4429294"/>
                    <a:gd name="connsiteX30" fmla="*/ 2107394 w 4501379"/>
                    <a:gd name="connsiteY30" fmla="*/ 4429125 h 4429294"/>
                    <a:gd name="connsiteX31" fmla="*/ 1916894 w 4501379"/>
                    <a:gd name="connsiteY31" fmla="*/ 4400550 h 4429294"/>
                    <a:gd name="connsiteX32" fmla="*/ 1554944 w 4501379"/>
                    <a:gd name="connsiteY32" fmla="*/ 4305300 h 4429294"/>
                    <a:gd name="connsiteX33" fmla="*/ 1313644 w 4501379"/>
                    <a:gd name="connsiteY33" fmla="*/ 4216400 h 4429294"/>
                    <a:gd name="connsiteX34" fmla="*/ 1145369 w 4501379"/>
                    <a:gd name="connsiteY34" fmla="*/ 4111625 h 4429294"/>
                    <a:gd name="connsiteX35" fmla="*/ 926294 w 4501379"/>
                    <a:gd name="connsiteY35" fmla="*/ 3968750 h 4429294"/>
                    <a:gd name="connsiteX36" fmla="*/ 592919 w 4501379"/>
                    <a:gd name="connsiteY36" fmla="*/ 3657600 h 4429294"/>
                    <a:gd name="connsiteX37" fmla="*/ 446869 w 4501379"/>
                    <a:gd name="connsiteY37" fmla="*/ 3470275 h 4429294"/>
                    <a:gd name="connsiteX38" fmla="*/ 316694 w 4501379"/>
                    <a:gd name="connsiteY38" fmla="*/ 3244850 h 4429294"/>
                    <a:gd name="connsiteX39" fmla="*/ 164294 w 4501379"/>
                    <a:gd name="connsiteY39" fmla="*/ 2892425 h 4429294"/>
                    <a:gd name="connsiteX40" fmla="*/ 56344 w 4501379"/>
                    <a:gd name="connsiteY40" fmla="*/ 2368550 h 4429294"/>
                    <a:gd name="connsiteX41" fmla="*/ 2369 w 4501379"/>
                    <a:gd name="connsiteY41" fmla="*/ 1905000 h 4429294"/>
                    <a:gd name="connsiteX42" fmla="*/ 11894 w 4501379"/>
                    <a:gd name="connsiteY42" fmla="*/ 1838325 h 4429294"/>
                    <a:gd name="connsiteX43" fmla="*/ 30944 w 4501379"/>
                    <a:gd name="connsiteY43" fmla="*/ 1781175 h 4429294"/>
                    <a:gd name="connsiteX44" fmla="*/ 40469 w 4501379"/>
                    <a:gd name="connsiteY44" fmla="*/ 1743075 h 4429294"/>
                    <a:gd name="connsiteX45" fmla="*/ 59519 w 4501379"/>
                    <a:gd name="connsiteY45" fmla="*/ 1685925 h 4429294"/>
                    <a:gd name="connsiteX46" fmla="*/ 69044 w 4501379"/>
                    <a:gd name="connsiteY46" fmla="*/ 1638300 h 4429294"/>
                    <a:gd name="connsiteX47" fmla="*/ 88094 w 4501379"/>
                    <a:gd name="connsiteY47" fmla="*/ 1590675 h 4429294"/>
                    <a:gd name="connsiteX48" fmla="*/ 116669 w 4501379"/>
                    <a:gd name="connsiteY48" fmla="*/ 1504950 h 4429294"/>
                    <a:gd name="connsiteX49" fmla="*/ 135719 w 4501379"/>
                    <a:gd name="connsiteY49" fmla="*/ 1419225 h 4429294"/>
                    <a:gd name="connsiteX50" fmla="*/ 211919 w 4501379"/>
                    <a:gd name="connsiteY50" fmla="*/ 1276350 h 4429294"/>
                    <a:gd name="connsiteX51" fmla="*/ 221444 w 4501379"/>
                    <a:gd name="connsiteY51" fmla="*/ 1247775 h 4429294"/>
                    <a:gd name="connsiteX52" fmla="*/ 250019 w 4501379"/>
                    <a:gd name="connsiteY52" fmla="*/ 1200150 h 4429294"/>
                    <a:gd name="connsiteX53" fmla="*/ 269069 w 4501379"/>
                    <a:gd name="connsiteY53" fmla="*/ 1152525 h 4429294"/>
                    <a:gd name="connsiteX54" fmla="*/ 297644 w 4501379"/>
                    <a:gd name="connsiteY54" fmla="*/ 1114425 h 4429294"/>
                    <a:gd name="connsiteX55" fmla="*/ 345269 w 4501379"/>
                    <a:gd name="connsiteY55" fmla="*/ 1038225 h 4429294"/>
                    <a:gd name="connsiteX56" fmla="*/ 364319 w 4501379"/>
                    <a:gd name="connsiteY56" fmla="*/ 1009650 h 4429294"/>
                    <a:gd name="connsiteX57" fmla="*/ 421469 w 4501379"/>
                    <a:gd name="connsiteY57" fmla="*/ 904875 h 4429294"/>
                    <a:gd name="connsiteX58" fmla="*/ 459569 w 4501379"/>
                    <a:gd name="connsiteY58" fmla="*/ 857250 h 4429294"/>
                    <a:gd name="connsiteX59" fmla="*/ 478619 w 4501379"/>
                    <a:gd name="connsiteY59" fmla="*/ 828675 h 4429294"/>
                    <a:gd name="connsiteX60" fmla="*/ 516719 w 4501379"/>
                    <a:gd name="connsiteY60" fmla="*/ 800100 h 4429294"/>
                    <a:gd name="connsiteX61" fmla="*/ 583394 w 4501379"/>
                    <a:gd name="connsiteY61" fmla="*/ 733425 h 4429294"/>
                    <a:gd name="connsiteX62" fmla="*/ 650069 w 4501379"/>
                    <a:gd name="connsiteY62" fmla="*/ 676275 h 4429294"/>
                    <a:gd name="connsiteX63" fmla="*/ 678644 w 4501379"/>
                    <a:gd name="connsiteY63" fmla="*/ 657225 h 4429294"/>
                    <a:gd name="connsiteX64" fmla="*/ 821519 w 4501379"/>
                    <a:gd name="connsiteY64" fmla="*/ 533400 h 4429294"/>
                    <a:gd name="connsiteX65" fmla="*/ 869144 w 4501379"/>
                    <a:gd name="connsiteY65" fmla="*/ 504825 h 4429294"/>
                    <a:gd name="connsiteX66" fmla="*/ 1148544 w 4501379"/>
                    <a:gd name="connsiteY66" fmla="*/ 311150 h 4429294"/>
                    <a:gd name="connsiteX67" fmla="*/ 1250144 w 4501379"/>
                    <a:gd name="connsiteY67" fmla="*/ 285750 h 4429294"/>
                    <a:gd name="connsiteX68" fmla="*/ 1393019 w 4501379"/>
                    <a:gd name="connsiteY68" fmla="*/ 190500 h 4429294"/>
                    <a:gd name="connsiteX69" fmla="*/ 1431119 w 4501379"/>
                    <a:gd name="connsiteY69" fmla="*/ 161925 h 4429294"/>
                    <a:gd name="connsiteX70" fmla="*/ 1507319 w 4501379"/>
                    <a:gd name="connsiteY70" fmla="*/ 152400 h 4429294"/>
                    <a:gd name="connsiteX71" fmla="*/ 1564469 w 4501379"/>
                    <a:gd name="connsiteY71" fmla="*/ 142875 h 4429294"/>
                    <a:gd name="connsiteX72" fmla="*/ 1697819 w 4501379"/>
                    <a:gd name="connsiteY72" fmla="*/ 123825 h 4429294"/>
                    <a:gd name="connsiteX73" fmla="*/ 1793069 w 4501379"/>
                    <a:gd name="connsiteY73" fmla="*/ 114300 h 4429294"/>
                    <a:gd name="connsiteX74" fmla="*/ 1840694 w 4501379"/>
                    <a:gd name="connsiteY74" fmla="*/ 104775 h 4429294"/>
                    <a:gd name="connsiteX75" fmla="*/ 1897844 w 4501379"/>
                    <a:gd name="connsiteY75" fmla="*/ 95250 h 4429294"/>
                    <a:gd name="connsiteX76" fmla="*/ 2012144 w 4501379"/>
                    <a:gd name="connsiteY76" fmla="*/ 66675 h 4429294"/>
                    <a:gd name="connsiteX77" fmla="*/ 2078819 w 4501379"/>
                    <a:gd name="connsiteY77" fmla="*/ 47625 h 4429294"/>
                    <a:gd name="connsiteX78" fmla="*/ 2145494 w 4501379"/>
                    <a:gd name="connsiteY7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93319 w 4501379"/>
                    <a:gd name="connsiteY7" fmla="*/ 581025 h 4429294"/>
                    <a:gd name="connsiteX8" fmla="*/ 4009219 w 4501379"/>
                    <a:gd name="connsiteY8" fmla="*/ 819150 h 4429294"/>
                    <a:gd name="connsiteX9" fmla="*/ 4145744 w 4501379"/>
                    <a:gd name="connsiteY9" fmla="*/ 990600 h 4429294"/>
                    <a:gd name="connsiteX10" fmla="*/ 4231469 w 4501379"/>
                    <a:gd name="connsiteY10" fmla="*/ 1143000 h 4429294"/>
                    <a:gd name="connsiteX11" fmla="*/ 4288619 w 4501379"/>
                    <a:gd name="connsiteY11" fmla="*/ 1266825 h 4429294"/>
                    <a:gd name="connsiteX12" fmla="*/ 4326719 w 4501379"/>
                    <a:gd name="connsiteY12" fmla="*/ 1362075 h 4429294"/>
                    <a:gd name="connsiteX13" fmla="*/ 4374344 w 4501379"/>
                    <a:gd name="connsiteY13" fmla="*/ 1552575 h 4429294"/>
                    <a:gd name="connsiteX14" fmla="*/ 4412444 w 4501379"/>
                    <a:gd name="connsiteY14" fmla="*/ 1685925 h 4429294"/>
                    <a:gd name="connsiteX15" fmla="*/ 4501344 w 4501379"/>
                    <a:gd name="connsiteY15" fmla="*/ 2181225 h 4429294"/>
                    <a:gd name="connsiteX16" fmla="*/ 4428319 w 4501379"/>
                    <a:gd name="connsiteY16" fmla="*/ 2768600 h 4429294"/>
                    <a:gd name="connsiteX17" fmla="*/ 4364819 w 4501379"/>
                    <a:gd name="connsiteY17" fmla="*/ 2990850 h 4429294"/>
                    <a:gd name="connsiteX18" fmla="*/ 4260044 w 4501379"/>
                    <a:gd name="connsiteY18" fmla="*/ 3248025 h 4429294"/>
                    <a:gd name="connsiteX19" fmla="*/ 4164794 w 4501379"/>
                    <a:gd name="connsiteY19" fmla="*/ 3400425 h 4429294"/>
                    <a:gd name="connsiteX20" fmla="*/ 4040969 w 4501379"/>
                    <a:gd name="connsiteY20" fmla="*/ 3533775 h 4429294"/>
                    <a:gd name="connsiteX21" fmla="*/ 3936194 w 4501379"/>
                    <a:gd name="connsiteY21" fmla="*/ 3648075 h 4429294"/>
                    <a:gd name="connsiteX22" fmla="*/ 3640919 w 4501379"/>
                    <a:gd name="connsiteY22" fmla="*/ 3971925 h 4429294"/>
                    <a:gd name="connsiteX23" fmla="*/ 3498044 w 4501379"/>
                    <a:gd name="connsiteY23" fmla="*/ 4083050 h 4429294"/>
                    <a:gd name="connsiteX24" fmla="*/ 3202769 w 4501379"/>
                    <a:gd name="connsiteY24" fmla="*/ 4222750 h 4429294"/>
                    <a:gd name="connsiteX25" fmla="*/ 3050369 w 4501379"/>
                    <a:gd name="connsiteY25" fmla="*/ 4286250 h 4429294"/>
                    <a:gd name="connsiteX26" fmla="*/ 2917019 w 4501379"/>
                    <a:gd name="connsiteY26" fmla="*/ 4333875 h 4429294"/>
                    <a:gd name="connsiteX27" fmla="*/ 2793194 w 4501379"/>
                    <a:gd name="connsiteY27" fmla="*/ 4371975 h 4429294"/>
                    <a:gd name="connsiteX28" fmla="*/ 2561419 w 4501379"/>
                    <a:gd name="connsiteY28" fmla="*/ 4391025 h 4429294"/>
                    <a:gd name="connsiteX29" fmla="*/ 2107394 w 4501379"/>
                    <a:gd name="connsiteY29" fmla="*/ 4429125 h 4429294"/>
                    <a:gd name="connsiteX30" fmla="*/ 1916894 w 4501379"/>
                    <a:gd name="connsiteY30" fmla="*/ 4400550 h 4429294"/>
                    <a:gd name="connsiteX31" fmla="*/ 1554944 w 4501379"/>
                    <a:gd name="connsiteY31" fmla="*/ 4305300 h 4429294"/>
                    <a:gd name="connsiteX32" fmla="*/ 1313644 w 4501379"/>
                    <a:gd name="connsiteY32" fmla="*/ 4216400 h 4429294"/>
                    <a:gd name="connsiteX33" fmla="*/ 1145369 w 4501379"/>
                    <a:gd name="connsiteY33" fmla="*/ 4111625 h 4429294"/>
                    <a:gd name="connsiteX34" fmla="*/ 926294 w 4501379"/>
                    <a:gd name="connsiteY34" fmla="*/ 3968750 h 4429294"/>
                    <a:gd name="connsiteX35" fmla="*/ 592919 w 4501379"/>
                    <a:gd name="connsiteY35" fmla="*/ 3657600 h 4429294"/>
                    <a:gd name="connsiteX36" fmla="*/ 446869 w 4501379"/>
                    <a:gd name="connsiteY36" fmla="*/ 3470275 h 4429294"/>
                    <a:gd name="connsiteX37" fmla="*/ 316694 w 4501379"/>
                    <a:gd name="connsiteY37" fmla="*/ 3244850 h 4429294"/>
                    <a:gd name="connsiteX38" fmla="*/ 164294 w 4501379"/>
                    <a:gd name="connsiteY38" fmla="*/ 2892425 h 4429294"/>
                    <a:gd name="connsiteX39" fmla="*/ 56344 w 4501379"/>
                    <a:gd name="connsiteY39" fmla="*/ 2368550 h 4429294"/>
                    <a:gd name="connsiteX40" fmla="*/ 2369 w 4501379"/>
                    <a:gd name="connsiteY40" fmla="*/ 1905000 h 4429294"/>
                    <a:gd name="connsiteX41" fmla="*/ 11894 w 4501379"/>
                    <a:gd name="connsiteY41" fmla="*/ 1838325 h 4429294"/>
                    <a:gd name="connsiteX42" fmla="*/ 30944 w 4501379"/>
                    <a:gd name="connsiteY42" fmla="*/ 1781175 h 4429294"/>
                    <a:gd name="connsiteX43" fmla="*/ 40469 w 4501379"/>
                    <a:gd name="connsiteY43" fmla="*/ 1743075 h 4429294"/>
                    <a:gd name="connsiteX44" fmla="*/ 59519 w 4501379"/>
                    <a:gd name="connsiteY44" fmla="*/ 1685925 h 4429294"/>
                    <a:gd name="connsiteX45" fmla="*/ 69044 w 4501379"/>
                    <a:gd name="connsiteY45" fmla="*/ 1638300 h 4429294"/>
                    <a:gd name="connsiteX46" fmla="*/ 88094 w 4501379"/>
                    <a:gd name="connsiteY46" fmla="*/ 1590675 h 4429294"/>
                    <a:gd name="connsiteX47" fmla="*/ 116669 w 4501379"/>
                    <a:gd name="connsiteY47" fmla="*/ 1504950 h 4429294"/>
                    <a:gd name="connsiteX48" fmla="*/ 135719 w 4501379"/>
                    <a:gd name="connsiteY48" fmla="*/ 1419225 h 4429294"/>
                    <a:gd name="connsiteX49" fmla="*/ 211919 w 4501379"/>
                    <a:gd name="connsiteY49" fmla="*/ 1276350 h 4429294"/>
                    <a:gd name="connsiteX50" fmla="*/ 221444 w 4501379"/>
                    <a:gd name="connsiteY50" fmla="*/ 1247775 h 4429294"/>
                    <a:gd name="connsiteX51" fmla="*/ 250019 w 4501379"/>
                    <a:gd name="connsiteY51" fmla="*/ 1200150 h 4429294"/>
                    <a:gd name="connsiteX52" fmla="*/ 269069 w 4501379"/>
                    <a:gd name="connsiteY52" fmla="*/ 1152525 h 4429294"/>
                    <a:gd name="connsiteX53" fmla="*/ 297644 w 4501379"/>
                    <a:gd name="connsiteY53" fmla="*/ 1114425 h 4429294"/>
                    <a:gd name="connsiteX54" fmla="*/ 345269 w 4501379"/>
                    <a:gd name="connsiteY54" fmla="*/ 1038225 h 4429294"/>
                    <a:gd name="connsiteX55" fmla="*/ 364319 w 4501379"/>
                    <a:gd name="connsiteY55" fmla="*/ 1009650 h 4429294"/>
                    <a:gd name="connsiteX56" fmla="*/ 421469 w 4501379"/>
                    <a:gd name="connsiteY56" fmla="*/ 904875 h 4429294"/>
                    <a:gd name="connsiteX57" fmla="*/ 459569 w 4501379"/>
                    <a:gd name="connsiteY57" fmla="*/ 857250 h 4429294"/>
                    <a:gd name="connsiteX58" fmla="*/ 478619 w 4501379"/>
                    <a:gd name="connsiteY58" fmla="*/ 828675 h 4429294"/>
                    <a:gd name="connsiteX59" fmla="*/ 516719 w 4501379"/>
                    <a:gd name="connsiteY59" fmla="*/ 800100 h 4429294"/>
                    <a:gd name="connsiteX60" fmla="*/ 583394 w 4501379"/>
                    <a:gd name="connsiteY60" fmla="*/ 733425 h 4429294"/>
                    <a:gd name="connsiteX61" fmla="*/ 650069 w 4501379"/>
                    <a:gd name="connsiteY61" fmla="*/ 676275 h 4429294"/>
                    <a:gd name="connsiteX62" fmla="*/ 678644 w 4501379"/>
                    <a:gd name="connsiteY62" fmla="*/ 657225 h 4429294"/>
                    <a:gd name="connsiteX63" fmla="*/ 821519 w 4501379"/>
                    <a:gd name="connsiteY63" fmla="*/ 533400 h 4429294"/>
                    <a:gd name="connsiteX64" fmla="*/ 869144 w 4501379"/>
                    <a:gd name="connsiteY64" fmla="*/ 504825 h 4429294"/>
                    <a:gd name="connsiteX65" fmla="*/ 1148544 w 4501379"/>
                    <a:gd name="connsiteY65" fmla="*/ 311150 h 4429294"/>
                    <a:gd name="connsiteX66" fmla="*/ 1250144 w 4501379"/>
                    <a:gd name="connsiteY66" fmla="*/ 285750 h 4429294"/>
                    <a:gd name="connsiteX67" fmla="*/ 1393019 w 4501379"/>
                    <a:gd name="connsiteY67" fmla="*/ 190500 h 4429294"/>
                    <a:gd name="connsiteX68" fmla="*/ 1431119 w 4501379"/>
                    <a:gd name="connsiteY68" fmla="*/ 161925 h 4429294"/>
                    <a:gd name="connsiteX69" fmla="*/ 1507319 w 4501379"/>
                    <a:gd name="connsiteY69" fmla="*/ 152400 h 4429294"/>
                    <a:gd name="connsiteX70" fmla="*/ 1564469 w 4501379"/>
                    <a:gd name="connsiteY70" fmla="*/ 142875 h 4429294"/>
                    <a:gd name="connsiteX71" fmla="*/ 1697819 w 4501379"/>
                    <a:gd name="connsiteY71" fmla="*/ 123825 h 4429294"/>
                    <a:gd name="connsiteX72" fmla="*/ 1793069 w 4501379"/>
                    <a:gd name="connsiteY72" fmla="*/ 114300 h 4429294"/>
                    <a:gd name="connsiteX73" fmla="*/ 1840694 w 4501379"/>
                    <a:gd name="connsiteY73" fmla="*/ 104775 h 4429294"/>
                    <a:gd name="connsiteX74" fmla="*/ 1897844 w 4501379"/>
                    <a:gd name="connsiteY74" fmla="*/ 95250 h 4429294"/>
                    <a:gd name="connsiteX75" fmla="*/ 2012144 w 4501379"/>
                    <a:gd name="connsiteY75" fmla="*/ 66675 h 4429294"/>
                    <a:gd name="connsiteX76" fmla="*/ 2078819 w 4501379"/>
                    <a:gd name="connsiteY76" fmla="*/ 47625 h 4429294"/>
                    <a:gd name="connsiteX77" fmla="*/ 2145494 w 4501379"/>
                    <a:gd name="connsiteY7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393019 w 4501379"/>
                    <a:gd name="connsiteY66" fmla="*/ 190500 h 4429294"/>
                    <a:gd name="connsiteX67" fmla="*/ 1431119 w 4501379"/>
                    <a:gd name="connsiteY67" fmla="*/ 161925 h 4429294"/>
                    <a:gd name="connsiteX68" fmla="*/ 1507319 w 4501379"/>
                    <a:gd name="connsiteY68" fmla="*/ 152400 h 4429294"/>
                    <a:gd name="connsiteX69" fmla="*/ 1564469 w 4501379"/>
                    <a:gd name="connsiteY69" fmla="*/ 142875 h 4429294"/>
                    <a:gd name="connsiteX70" fmla="*/ 1697819 w 4501379"/>
                    <a:gd name="connsiteY70" fmla="*/ 123825 h 4429294"/>
                    <a:gd name="connsiteX71" fmla="*/ 1793069 w 4501379"/>
                    <a:gd name="connsiteY71" fmla="*/ 114300 h 4429294"/>
                    <a:gd name="connsiteX72" fmla="*/ 1840694 w 4501379"/>
                    <a:gd name="connsiteY72" fmla="*/ 104775 h 4429294"/>
                    <a:gd name="connsiteX73" fmla="*/ 1897844 w 4501379"/>
                    <a:gd name="connsiteY73" fmla="*/ 95250 h 4429294"/>
                    <a:gd name="connsiteX74" fmla="*/ 2012144 w 4501379"/>
                    <a:gd name="connsiteY74" fmla="*/ 66675 h 4429294"/>
                    <a:gd name="connsiteX75" fmla="*/ 2078819 w 4501379"/>
                    <a:gd name="connsiteY75" fmla="*/ 47625 h 4429294"/>
                    <a:gd name="connsiteX76" fmla="*/ 2145494 w 4501379"/>
                    <a:gd name="connsiteY7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431119 w 4501379"/>
                    <a:gd name="connsiteY66" fmla="*/ 161925 h 4429294"/>
                    <a:gd name="connsiteX67" fmla="*/ 1507319 w 4501379"/>
                    <a:gd name="connsiteY67" fmla="*/ 152400 h 4429294"/>
                    <a:gd name="connsiteX68" fmla="*/ 1564469 w 4501379"/>
                    <a:gd name="connsiteY68" fmla="*/ 142875 h 4429294"/>
                    <a:gd name="connsiteX69" fmla="*/ 1697819 w 4501379"/>
                    <a:gd name="connsiteY69" fmla="*/ 123825 h 4429294"/>
                    <a:gd name="connsiteX70" fmla="*/ 1793069 w 4501379"/>
                    <a:gd name="connsiteY70" fmla="*/ 114300 h 4429294"/>
                    <a:gd name="connsiteX71" fmla="*/ 1840694 w 4501379"/>
                    <a:gd name="connsiteY71" fmla="*/ 104775 h 4429294"/>
                    <a:gd name="connsiteX72" fmla="*/ 1897844 w 4501379"/>
                    <a:gd name="connsiteY72" fmla="*/ 95250 h 4429294"/>
                    <a:gd name="connsiteX73" fmla="*/ 2012144 w 4501379"/>
                    <a:gd name="connsiteY73" fmla="*/ 66675 h 4429294"/>
                    <a:gd name="connsiteX74" fmla="*/ 2078819 w 4501379"/>
                    <a:gd name="connsiteY74" fmla="*/ 47625 h 4429294"/>
                    <a:gd name="connsiteX75" fmla="*/ 2145494 w 4501379"/>
                    <a:gd name="connsiteY7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507319 w 4501379"/>
                    <a:gd name="connsiteY66" fmla="*/ 152400 h 4429294"/>
                    <a:gd name="connsiteX67" fmla="*/ 1564469 w 4501379"/>
                    <a:gd name="connsiteY67" fmla="*/ 142875 h 4429294"/>
                    <a:gd name="connsiteX68" fmla="*/ 1697819 w 4501379"/>
                    <a:gd name="connsiteY68" fmla="*/ 123825 h 4429294"/>
                    <a:gd name="connsiteX69" fmla="*/ 1793069 w 4501379"/>
                    <a:gd name="connsiteY69" fmla="*/ 114300 h 4429294"/>
                    <a:gd name="connsiteX70" fmla="*/ 1840694 w 4501379"/>
                    <a:gd name="connsiteY70" fmla="*/ 104775 h 4429294"/>
                    <a:gd name="connsiteX71" fmla="*/ 1897844 w 4501379"/>
                    <a:gd name="connsiteY71" fmla="*/ 95250 h 4429294"/>
                    <a:gd name="connsiteX72" fmla="*/ 2012144 w 4501379"/>
                    <a:gd name="connsiteY72" fmla="*/ 66675 h 4429294"/>
                    <a:gd name="connsiteX73" fmla="*/ 2078819 w 4501379"/>
                    <a:gd name="connsiteY73" fmla="*/ 47625 h 4429294"/>
                    <a:gd name="connsiteX74" fmla="*/ 2145494 w 4501379"/>
                    <a:gd name="connsiteY7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697819 w 4501379"/>
                    <a:gd name="connsiteY67" fmla="*/ 123825 h 4429294"/>
                    <a:gd name="connsiteX68" fmla="*/ 1793069 w 4501379"/>
                    <a:gd name="connsiteY68" fmla="*/ 114300 h 4429294"/>
                    <a:gd name="connsiteX69" fmla="*/ 1840694 w 4501379"/>
                    <a:gd name="connsiteY69" fmla="*/ 104775 h 4429294"/>
                    <a:gd name="connsiteX70" fmla="*/ 1897844 w 4501379"/>
                    <a:gd name="connsiteY70" fmla="*/ 95250 h 4429294"/>
                    <a:gd name="connsiteX71" fmla="*/ 2012144 w 4501379"/>
                    <a:gd name="connsiteY71" fmla="*/ 66675 h 4429294"/>
                    <a:gd name="connsiteX72" fmla="*/ 2078819 w 4501379"/>
                    <a:gd name="connsiteY72" fmla="*/ 47625 h 4429294"/>
                    <a:gd name="connsiteX73" fmla="*/ 2145494 w 4501379"/>
                    <a:gd name="connsiteY7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793069 w 4501379"/>
                    <a:gd name="connsiteY67" fmla="*/ 114300 h 4429294"/>
                    <a:gd name="connsiteX68" fmla="*/ 1840694 w 4501379"/>
                    <a:gd name="connsiteY68" fmla="*/ 104775 h 4429294"/>
                    <a:gd name="connsiteX69" fmla="*/ 1897844 w 4501379"/>
                    <a:gd name="connsiteY69" fmla="*/ 95250 h 4429294"/>
                    <a:gd name="connsiteX70" fmla="*/ 2012144 w 4501379"/>
                    <a:gd name="connsiteY70" fmla="*/ 66675 h 4429294"/>
                    <a:gd name="connsiteX71" fmla="*/ 2078819 w 4501379"/>
                    <a:gd name="connsiteY71" fmla="*/ 47625 h 4429294"/>
                    <a:gd name="connsiteX72" fmla="*/ 2145494 w 4501379"/>
                    <a:gd name="connsiteY7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40694 w 4501379"/>
                    <a:gd name="connsiteY67" fmla="*/ 104775 h 4429294"/>
                    <a:gd name="connsiteX68" fmla="*/ 1897844 w 4501379"/>
                    <a:gd name="connsiteY68" fmla="*/ 95250 h 4429294"/>
                    <a:gd name="connsiteX69" fmla="*/ 2012144 w 4501379"/>
                    <a:gd name="connsiteY69" fmla="*/ 66675 h 4429294"/>
                    <a:gd name="connsiteX70" fmla="*/ 2078819 w 4501379"/>
                    <a:gd name="connsiteY70" fmla="*/ 47625 h 4429294"/>
                    <a:gd name="connsiteX71" fmla="*/ 2145494 w 4501379"/>
                    <a:gd name="connsiteY7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97844 w 4501379"/>
                    <a:gd name="connsiteY67" fmla="*/ 95250 h 4429294"/>
                    <a:gd name="connsiteX68" fmla="*/ 2012144 w 4501379"/>
                    <a:gd name="connsiteY68" fmla="*/ 66675 h 4429294"/>
                    <a:gd name="connsiteX69" fmla="*/ 2078819 w 4501379"/>
                    <a:gd name="connsiteY69" fmla="*/ 47625 h 4429294"/>
                    <a:gd name="connsiteX70" fmla="*/ 2145494 w 4501379"/>
                    <a:gd name="connsiteY7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12144 w 4501379"/>
                    <a:gd name="connsiteY67" fmla="*/ 66675 h 4429294"/>
                    <a:gd name="connsiteX68" fmla="*/ 2078819 w 4501379"/>
                    <a:gd name="connsiteY68" fmla="*/ 47625 h 4429294"/>
                    <a:gd name="connsiteX69" fmla="*/ 2145494 w 4501379"/>
                    <a:gd name="connsiteY6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78819 w 4501379"/>
                    <a:gd name="connsiteY67" fmla="*/ 47625 h 4429294"/>
                    <a:gd name="connsiteX68" fmla="*/ 2145494 w 4501379"/>
                    <a:gd name="connsiteY6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145494 w 4501379"/>
                    <a:gd name="connsiteY6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621619 w 4501379"/>
                    <a:gd name="connsiteY66" fmla="*/ 11112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678644 w 4501379"/>
                    <a:gd name="connsiteY60" fmla="*/ 657225 h 4429294"/>
                    <a:gd name="connsiteX61" fmla="*/ 821519 w 4501379"/>
                    <a:gd name="connsiteY61" fmla="*/ 533400 h 4429294"/>
                    <a:gd name="connsiteX62" fmla="*/ 869144 w 4501379"/>
                    <a:gd name="connsiteY62" fmla="*/ 504825 h 4429294"/>
                    <a:gd name="connsiteX63" fmla="*/ 1148544 w 4501379"/>
                    <a:gd name="connsiteY63" fmla="*/ 311150 h 4429294"/>
                    <a:gd name="connsiteX64" fmla="*/ 1507319 w 4501379"/>
                    <a:gd name="connsiteY64" fmla="*/ 152400 h 4429294"/>
                    <a:gd name="connsiteX65" fmla="*/ 1621619 w 4501379"/>
                    <a:gd name="connsiteY65" fmla="*/ 111125 h 4429294"/>
                    <a:gd name="connsiteX66" fmla="*/ 2253444 w 4501379"/>
                    <a:gd name="connsiteY6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21519 w 4501379"/>
                    <a:gd name="connsiteY60" fmla="*/ 533400 h 4429294"/>
                    <a:gd name="connsiteX61" fmla="*/ 869144 w 4501379"/>
                    <a:gd name="connsiteY61" fmla="*/ 504825 h 4429294"/>
                    <a:gd name="connsiteX62" fmla="*/ 1148544 w 4501379"/>
                    <a:gd name="connsiteY62" fmla="*/ 311150 h 4429294"/>
                    <a:gd name="connsiteX63" fmla="*/ 1507319 w 4501379"/>
                    <a:gd name="connsiteY63" fmla="*/ 152400 h 4429294"/>
                    <a:gd name="connsiteX64" fmla="*/ 1621619 w 4501379"/>
                    <a:gd name="connsiteY64" fmla="*/ 111125 h 4429294"/>
                    <a:gd name="connsiteX65" fmla="*/ 2253444 w 4501379"/>
                    <a:gd name="connsiteY6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69144 w 4501379"/>
                    <a:gd name="connsiteY60" fmla="*/ 504825 h 4429294"/>
                    <a:gd name="connsiteX61" fmla="*/ 1148544 w 4501379"/>
                    <a:gd name="connsiteY61" fmla="*/ 311150 h 4429294"/>
                    <a:gd name="connsiteX62" fmla="*/ 1507319 w 4501379"/>
                    <a:gd name="connsiteY62" fmla="*/ 152400 h 4429294"/>
                    <a:gd name="connsiteX63" fmla="*/ 1621619 w 4501379"/>
                    <a:gd name="connsiteY63" fmla="*/ 111125 h 4429294"/>
                    <a:gd name="connsiteX64" fmla="*/ 2253444 w 4501379"/>
                    <a:gd name="connsiteY6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64319 w 4501379"/>
                    <a:gd name="connsiteY53" fmla="*/ 1009650 h 4429294"/>
                    <a:gd name="connsiteX54" fmla="*/ 421469 w 4501379"/>
                    <a:gd name="connsiteY54" fmla="*/ 904875 h 4429294"/>
                    <a:gd name="connsiteX55" fmla="*/ 459569 w 4501379"/>
                    <a:gd name="connsiteY55" fmla="*/ 857250 h 4429294"/>
                    <a:gd name="connsiteX56" fmla="*/ 478619 w 4501379"/>
                    <a:gd name="connsiteY56" fmla="*/ 828675 h 4429294"/>
                    <a:gd name="connsiteX57" fmla="*/ 516719 w 4501379"/>
                    <a:gd name="connsiteY57" fmla="*/ 800100 h 4429294"/>
                    <a:gd name="connsiteX58" fmla="*/ 650069 w 4501379"/>
                    <a:gd name="connsiteY58" fmla="*/ 676275 h 4429294"/>
                    <a:gd name="connsiteX59" fmla="*/ 869144 w 4501379"/>
                    <a:gd name="connsiteY59" fmla="*/ 504825 h 4429294"/>
                    <a:gd name="connsiteX60" fmla="*/ 1148544 w 4501379"/>
                    <a:gd name="connsiteY60" fmla="*/ 311150 h 4429294"/>
                    <a:gd name="connsiteX61" fmla="*/ 1507319 w 4501379"/>
                    <a:gd name="connsiteY61" fmla="*/ 152400 h 4429294"/>
                    <a:gd name="connsiteX62" fmla="*/ 1621619 w 4501379"/>
                    <a:gd name="connsiteY62" fmla="*/ 111125 h 4429294"/>
                    <a:gd name="connsiteX63" fmla="*/ 2253444 w 4501379"/>
                    <a:gd name="connsiteY63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21469 w 4501379"/>
                    <a:gd name="connsiteY53" fmla="*/ 904875 h 4429294"/>
                    <a:gd name="connsiteX54" fmla="*/ 459569 w 4501379"/>
                    <a:gd name="connsiteY54" fmla="*/ 857250 h 4429294"/>
                    <a:gd name="connsiteX55" fmla="*/ 478619 w 4501379"/>
                    <a:gd name="connsiteY55" fmla="*/ 828675 h 4429294"/>
                    <a:gd name="connsiteX56" fmla="*/ 516719 w 4501379"/>
                    <a:gd name="connsiteY56" fmla="*/ 800100 h 4429294"/>
                    <a:gd name="connsiteX57" fmla="*/ 650069 w 4501379"/>
                    <a:gd name="connsiteY57" fmla="*/ 676275 h 4429294"/>
                    <a:gd name="connsiteX58" fmla="*/ 869144 w 4501379"/>
                    <a:gd name="connsiteY58" fmla="*/ 504825 h 4429294"/>
                    <a:gd name="connsiteX59" fmla="*/ 1148544 w 4501379"/>
                    <a:gd name="connsiteY59" fmla="*/ 311150 h 4429294"/>
                    <a:gd name="connsiteX60" fmla="*/ 1507319 w 4501379"/>
                    <a:gd name="connsiteY60" fmla="*/ 152400 h 4429294"/>
                    <a:gd name="connsiteX61" fmla="*/ 1621619 w 4501379"/>
                    <a:gd name="connsiteY61" fmla="*/ 111125 h 4429294"/>
                    <a:gd name="connsiteX62" fmla="*/ 2253444 w 4501379"/>
                    <a:gd name="connsiteY62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478619 w 4501379"/>
                    <a:gd name="connsiteY54" fmla="*/ 828675 h 4429294"/>
                    <a:gd name="connsiteX55" fmla="*/ 516719 w 4501379"/>
                    <a:gd name="connsiteY55" fmla="*/ 800100 h 4429294"/>
                    <a:gd name="connsiteX56" fmla="*/ 650069 w 4501379"/>
                    <a:gd name="connsiteY56" fmla="*/ 676275 h 4429294"/>
                    <a:gd name="connsiteX57" fmla="*/ 869144 w 4501379"/>
                    <a:gd name="connsiteY57" fmla="*/ 504825 h 4429294"/>
                    <a:gd name="connsiteX58" fmla="*/ 1148544 w 4501379"/>
                    <a:gd name="connsiteY58" fmla="*/ 311150 h 4429294"/>
                    <a:gd name="connsiteX59" fmla="*/ 1507319 w 4501379"/>
                    <a:gd name="connsiteY59" fmla="*/ 152400 h 4429294"/>
                    <a:gd name="connsiteX60" fmla="*/ 1621619 w 4501379"/>
                    <a:gd name="connsiteY60" fmla="*/ 111125 h 4429294"/>
                    <a:gd name="connsiteX61" fmla="*/ 2253444 w 4501379"/>
                    <a:gd name="connsiteY61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516719 w 4501379"/>
                    <a:gd name="connsiteY54" fmla="*/ 800100 h 4429294"/>
                    <a:gd name="connsiteX55" fmla="*/ 650069 w 4501379"/>
                    <a:gd name="connsiteY55" fmla="*/ 676275 h 4429294"/>
                    <a:gd name="connsiteX56" fmla="*/ 869144 w 4501379"/>
                    <a:gd name="connsiteY56" fmla="*/ 504825 h 4429294"/>
                    <a:gd name="connsiteX57" fmla="*/ 1148544 w 4501379"/>
                    <a:gd name="connsiteY57" fmla="*/ 311150 h 4429294"/>
                    <a:gd name="connsiteX58" fmla="*/ 1507319 w 4501379"/>
                    <a:gd name="connsiteY58" fmla="*/ 152400 h 4429294"/>
                    <a:gd name="connsiteX59" fmla="*/ 1621619 w 4501379"/>
                    <a:gd name="connsiteY59" fmla="*/ 111125 h 4429294"/>
                    <a:gd name="connsiteX60" fmla="*/ 2253444 w 4501379"/>
                    <a:gd name="connsiteY60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69069 w 4501379"/>
                    <a:gd name="connsiteY50" fmla="*/ 1152525 h 4429294"/>
                    <a:gd name="connsiteX51" fmla="*/ 297644 w 4501379"/>
                    <a:gd name="connsiteY51" fmla="*/ 1114425 h 4429294"/>
                    <a:gd name="connsiteX52" fmla="*/ 459569 w 4501379"/>
                    <a:gd name="connsiteY52" fmla="*/ 857250 h 4429294"/>
                    <a:gd name="connsiteX53" fmla="*/ 516719 w 4501379"/>
                    <a:gd name="connsiteY53" fmla="*/ 800100 h 4429294"/>
                    <a:gd name="connsiteX54" fmla="*/ 650069 w 4501379"/>
                    <a:gd name="connsiteY54" fmla="*/ 676275 h 4429294"/>
                    <a:gd name="connsiteX55" fmla="*/ 869144 w 4501379"/>
                    <a:gd name="connsiteY55" fmla="*/ 504825 h 4429294"/>
                    <a:gd name="connsiteX56" fmla="*/ 1148544 w 4501379"/>
                    <a:gd name="connsiteY56" fmla="*/ 311150 h 4429294"/>
                    <a:gd name="connsiteX57" fmla="*/ 1507319 w 4501379"/>
                    <a:gd name="connsiteY57" fmla="*/ 152400 h 4429294"/>
                    <a:gd name="connsiteX58" fmla="*/ 1621619 w 4501379"/>
                    <a:gd name="connsiteY58" fmla="*/ 111125 h 4429294"/>
                    <a:gd name="connsiteX59" fmla="*/ 2253444 w 4501379"/>
                    <a:gd name="connsiteY59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97644 w 4501379"/>
                    <a:gd name="connsiteY50" fmla="*/ 1114425 h 4429294"/>
                    <a:gd name="connsiteX51" fmla="*/ 459569 w 4501379"/>
                    <a:gd name="connsiteY51" fmla="*/ 857250 h 4429294"/>
                    <a:gd name="connsiteX52" fmla="*/ 516719 w 4501379"/>
                    <a:gd name="connsiteY52" fmla="*/ 800100 h 4429294"/>
                    <a:gd name="connsiteX53" fmla="*/ 650069 w 4501379"/>
                    <a:gd name="connsiteY53" fmla="*/ 676275 h 4429294"/>
                    <a:gd name="connsiteX54" fmla="*/ 869144 w 4501379"/>
                    <a:gd name="connsiteY54" fmla="*/ 504825 h 4429294"/>
                    <a:gd name="connsiteX55" fmla="*/ 1148544 w 4501379"/>
                    <a:gd name="connsiteY55" fmla="*/ 311150 h 4429294"/>
                    <a:gd name="connsiteX56" fmla="*/ 1507319 w 4501379"/>
                    <a:gd name="connsiteY56" fmla="*/ 152400 h 4429294"/>
                    <a:gd name="connsiteX57" fmla="*/ 1621619 w 4501379"/>
                    <a:gd name="connsiteY57" fmla="*/ 111125 h 4429294"/>
                    <a:gd name="connsiteX58" fmla="*/ 2253444 w 4501379"/>
                    <a:gd name="connsiteY58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97644 w 4501379"/>
                    <a:gd name="connsiteY49" fmla="*/ 1114425 h 4429294"/>
                    <a:gd name="connsiteX50" fmla="*/ 459569 w 4501379"/>
                    <a:gd name="connsiteY50" fmla="*/ 857250 h 4429294"/>
                    <a:gd name="connsiteX51" fmla="*/ 516719 w 4501379"/>
                    <a:gd name="connsiteY51" fmla="*/ 800100 h 4429294"/>
                    <a:gd name="connsiteX52" fmla="*/ 650069 w 4501379"/>
                    <a:gd name="connsiteY52" fmla="*/ 676275 h 4429294"/>
                    <a:gd name="connsiteX53" fmla="*/ 869144 w 4501379"/>
                    <a:gd name="connsiteY53" fmla="*/ 504825 h 4429294"/>
                    <a:gd name="connsiteX54" fmla="*/ 1148544 w 4501379"/>
                    <a:gd name="connsiteY54" fmla="*/ 311150 h 4429294"/>
                    <a:gd name="connsiteX55" fmla="*/ 1507319 w 4501379"/>
                    <a:gd name="connsiteY55" fmla="*/ 152400 h 4429294"/>
                    <a:gd name="connsiteX56" fmla="*/ 1621619 w 4501379"/>
                    <a:gd name="connsiteY56" fmla="*/ 111125 h 4429294"/>
                    <a:gd name="connsiteX57" fmla="*/ 2253444 w 4501379"/>
                    <a:gd name="connsiteY5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35719 w 4501379"/>
                    <a:gd name="connsiteY46" fmla="*/ 1419225 h 4429294"/>
                    <a:gd name="connsiteX47" fmla="*/ 211919 w 4501379"/>
                    <a:gd name="connsiteY47" fmla="*/ 1276350 h 4429294"/>
                    <a:gd name="connsiteX48" fmla="*/ 297644 w 4501379"/>
                    <a:gd name="connsiteY48" fmla="*/ 1114425 h 4429294"/>
                    <a:gd name="connsiteX49" fmla="*/ 459569 w 4501379"/>
                    <a:gd name="connsiteY49" fmla="*/ 857250 h 4429294"/>
                    <a:gd name="connsiteX50" fmla="*/ 516719 w 4501379"/>
                    <a:gd name="connsiteY50" fmla="*/ 800100 h 4429294"/>
                    <a:gd name="connsiteX51" fmla="*/ 650069 w 4501379"/>
                    <a:gd name="connsiteY51" fmla="*/ 676275 h 4429294"/>
                    <a:gd name="connsiteX52" fmla="*/ 869144 w 4501379"/>
                    <a:gd name="connsiteY52" fmla="*/ 504825 h 4429294"/>
                    <a:gd name="connsiteX53" fmla="*/ 1148544 w 4501379"/>
                    <a:gd name="connsiteY53" fmla="*/ 311150 h 4429294"/>
                    <a:gd name="connsiteX54" fmla="*/ 1507319 w 4501379"/>
                    <a:gd name="connsiteY54" fmla="*/ 152400 h 4429294"/>
                    <a:gd name="connsiteX55" fmla="*/ 1621619 w 4501379"/>
                    <a:gd name="connsiteY55" fmla="*/ 111125 h 4429294"/>
                    <a:gd name="connsiteX56" fmla="*/ 2253444 w 4501379"/>
                    <a:gd name="connsiteY5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88094 w 4501379"/>
                    <a:gd name="connsiteY44" fmla="*/ 1590675 h 4429294"/>
                    <a:gd name="connsiteX45" fmla="*/ 135719 w 4501379"/>
                    <a:gd name="connsiteY45" fmla="*/ 1419225 h 4429294"/>
                    <a:gd name="connsiteX46" fmla="*/ 211919 w 4501379"/>
                    <a:gd name="connsiteY46" fmla="*/ 1276350 h 4429294"/>
                    <a:gd name="connsiteX47" fmla="*/ 297644 w 4501379"/>
                    <a:gd name="connsiteY47" fmla="*/ 1114425 h 4429294"/>
                    <a:gd name="connsiteX48" fmla="*/ 459569 w 4501379"/>
                    <a:gd name="connsiteY48" fmla="*/ 857250 h 4429294"/>
                    <a:gd name="connsiteX49" fmla="*/ 516719 w 4501379"/>
                    <a:gd name="connsiteY49" fmla="*/ 800100 h 4429294"/>
                    <a:gd name="connsiteX50" fmla="*/ 650069 w 4501379"/>
                    <a:gd name="connsiteY50" fmla="*/ 676275 h 4429294"/>
                    <a:gd name="connsiteX51" fmla="*/ 869144 w 4501379"/>
                    <a:gd name="connsiteY51" fmla="*/ 504825 h 4429294"/>
                    <a:gd name="connsiteX52" fmla="*/ 1148544 w 4501379"/>
                    <a:gd name="connsiteY52" fmla="*/ 311150 h 4429294"/>
                    <a:gd name="connsiteX53" fmla="*/ 1507319 w 4501379"/>
                    <a:gd name="connsiteY53" fmla="*/ 152400 h 4429294"/>
                    <a:gd name="connsiteX54" fmla="*/ 1621619 w 4501379"/>
                    <a:gd name="connsiteY54" fmla="*/ 111125 h 4429294"/>
                    <a:gd name="connsiteX55" fmla="*/ 2253444 w 4501379"/>
                    <a:gd name="connsiteY5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88094 w 4501379"/>
                    <a:gd name="connsiteY43" fmla="*/ 1590675 h 4429294"/>
                    <a:gd name="connsiteX44" fmla="*/ 135719 w 4501379"/>
                    <a:gd name="connsiteY44" fmla="*/ 1419225 h 4429294"/>
                    <a:gd name="connsiteX45" fmla="*/ 211919 w 4501379"/>
                    <a:gd name="connsiteY45" fmla="*/ 1276350 h 4429294"/>
                    <a:gd name="connsiteX46" fmla="*/ 297644 w 4501379"/>
                    <a:gd name="connsiteY46" fmla="*/ 1114425 h 4429294"/>
                    <a:gd name="connsiteX47" fmla="*/ 459569 w 4501379"/>
                    <a:gd name="connsiteY47" fmla="*/ 857250 h 4429294"/>
                    <a:gd name="connsiteX48" fmla="*/ 516719 w 4501379"/>
                    <a:gd name="connsiteY48" fmla="*/ 800100 h 4429294"/>
                    <a:gd name="connsiteX49" fmla="*/ 650069 w 4501379"/>
                    <a:gd name="connsiteY49" fmla="*/ 676275 h 4429294"/>
                    <a:gd name="connsiteX50" fmla="*/ 869144 w 4501379"/>
                    <a:gd name="connsiteY50" fmla="*/ 504825 h 4429294"/>
                    <a:gd name="connsiteX51" fmla="*/ 1148544 w 4501379"/>
                    <a:gd name="connsiteY51" fmla="*/ 311150 h 4429294"/>
                    <a:gd name="connsiteX52" fmla="*/ 1507319 w 4501379"/>
                    <a:gd name="connsiteY52" fmla="*/ 152400 h 4429294"/>
                    <a:gd name="connsiteX53" fmla="*/ 1621619 w 4501379"/>
                    <a:gd name="connsiteY53" fmla="*/ 111125 h 4429294"/>
                    <a:gd name="connsiteX54" fmla="*/ 2253444 w 4501379"/>
                    <a:gd name="connsiteY5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88094 w 4501379"/>
                    <a:gd name="connsiteY42" fmla="*/ 1590675 h 4429294"/>
                    <a:gd name="connsiteX43" fmla="*/ 135719 w 4501379"/>
                    <a:gd name="connsiteY43" fmla="*/ 1419225 h 4429294"/>
                    <a:gd name="connsiteX44" fmla="*/ 211919 w 4501379"/>
                    <a:gd name="connsiteY44" fmla="*/ 1276350 h 4429294"/>
                    <a:gd name="connsiteX45" fmla="*/ 297644 w 4501379"/>
                    <a:gd name="connsiteY45" fmla="*/ 1114425 h 4429294"/>
                    <a:gd name="connsiteX46" fmla="*/ 459569 w 4501379"/>
                    <a:gd name="connsiteY46" fmla="*/ 857250 h 4429294"/>
                    <a:gd name="connsiteX47" fmla="*/ 516719 w 4501379"/>
                    <a:gd name="connsiteY47" fmla="*/ 800100 h 4429294"/>
                    <a:gd name="connsiteX48" fmla="*/ 650069 w 4501379"/>
                    <a:gd name="connsiteY48" fmla="*/ 676275 h 4429294"/>
                    <a:gd name="connsiteX49" fmla="*/ 869144 w 4501379"/>
                    <a:gd name="connsiteY49" fmla="*/ 504825 h 4429294"/>
                    <a:gd name="connsiteX50" fmla="*/ 1148544 w 4501379"/>
                    <a:gd name="connsiteY50" fmla="*/ 311150 h 4429294"/>
                    <a:gd name="connsiteX51" fmla="*/ 1507319 w 4501379"/>
                    <a:gd name="connsiteY51" fmla="*/ 152400 h 4429294"/>
                    <a:gd name="connsiteX52" fmla="*/ 1621619 w 4501379"/>
                    <a:gd name="connsiteY52" fmla="*/ 111125 h 4429294"/>
                    <a:gd name="connsiteX53" fmla="*/ 2253444 w 4501379"/>
                    <a:gd name="connsiteY53" fmla="*/ 12700 h 4429294"/>
                    <a:gd name="connsiteX0" fmla="*/ 2277090 w 4499625"/>
                    <a:gd name="connsiteY0" fmla="*/ 0 h 4429294"/>
                    <a:gd name="connsiteX1" fmla="*/ 2600940 w 4499625"/>
                    <a:gd name="connsiteY1" fmla="*/ 15875 h 4429294"/>
                    <a:gd name="connsiteX2" fmla="*/ 2896215 w 4499625"/>
                    <a:gd name="connsiteY2" fmla="*/ 85725 h 4429294"/>
                    <a:gd name="connsiteX3" fmla="*/ 3115290 w 4499625"/>
                    <a:gd name="connsiteY3" fmla="*/ 171450 h 4429294"/>
                    <a:gd name="connsiteX4" fmla="*/ 3220065 w 4499625"/>
                    <a:gd name="connsiteY4" fmla="*/ 228600 h 4429294"/>
                    <a:gd name="connsiteX5" fmla="*/ 3401040 w 4499625"/>
                    <a:gd name="connsiteY5" fmla="*/ 323850 h 4429294"/>
                    <a:gd name="connsiteX6" fmla="*/ 3791565 w 4499625"/>
                    <a:gd name="connsiteY6" fmla="*/ 581025 h 4429294"/>
                    <a:gd name="connsiteX7" fmla="*/ 4007465 w 4499625"/>
                    <a:gd name="connsiteY7" fmla="*/ 819150 h 4429294"/>
                    <a:gd name="connsiteX8" fmla="*/ 4143990 w 4499625"/>
                    <a:gd name="connsiteY8" fmla="*/ 990600 h 4429294"/>
                    <a:gd name="connsiteX9" fmla="*/ 4229715 w 4499625"/>
                    <a:gd name="connsiteY9" fmla="*/ 1143000 h 4429294"/>
                    <a:gd name="connsiteX10" fmla="*/ 4286865 w 4499625"/>
                    <a:gd name="connsiteY10" fmla="*/ 1266825 h 4429294"/>
                    <a:gd name="connsiteX11" fmla="*/ 4324965 w 4499625"/>
                    <a:gd name="connsiteY11" fmla="*/ 1362075 h 4429294"/>
                    <a:gd name="connsiteX12" fmla="*/ 4372590 w 4499625"/>
                    <a:gd name="connsiteY12" fmla="*/ 1552575 h 4429294"/>
                    <a:gd name="connsiteX13" fmla="*/ 4410690 w 4499625"/>
                    <a:gd name="connsiteY13" fmla="*/ 1685925 h 4429294"/>
                    <a:gd name="connsiteX14" fmla="*/ 4499590 w 4499625"/>
                    <a:gd name="connsiteY14" fmla="*/ 2181225 h 4429294"/>
                    <a:gd name="connsiteX15" fmla="*/ 4426565 w 4499625"/>
                    <a:gd name="connsiteY15" fmla="*/ 2768600 h 4429294"/>
                    <a:gd name="connsiteX16" fmla="*/ 4363065 w 4499625"/>
                    <a:gd name="connsiteY16" fmla="*/ 2990850 h 4429294"/>
                    <a:gd name="connsiteX17" fmla="*/ 4258290 w 4499625"/>
                    <a:gd name="connsiteY17" fmla="*/ 3248025 h 4429294"/>
                    <a:gd name="connsiteX18" fmla="*/ 4163040 w 4499625"/>
                    <a:gd name="connsiteY18" fmla="*/ 3400425 h 4429294"/>
                    <a:gd name="connsiteX19" fmla="*/ 4039215 w 4499625"/>
                    <a:gd name="connsiteY19" fmla="*/ 3533775 h 4429294"/>
                    <a:gd name="connsiteX20" fmla="*/ 3934440 w 4499625"/>
                    <a:gd name="connsiteY20" fmla="*/ 3648075 h 4429294"/>
                    <a:gd name="connsiteX21" fmla="*/ 3639165 w 4499625"/>
                    <a:gd name="connsiteY21" fmla="*/ 3971925 h 4429294"/>
                    <a:gd name="connsiteX22" fmla="*/ 3496290 w 4499625"/>
                    <a:gd name="connsiteY22" fmla="*/ 4083050 h 4429294"/>
                    <a:gd name="connsiteX23" fmla="*/ 3201015 w 4499625"/>
                    <a:gd name="connsiteY23" fmla="*/ 4222750 h 4429294"/>
                    <a:gd name="connsiteX24" fmla="*/ 3048615 w 4499625"/>
                    <a:gd name="connsiteY24" fmla="*/ 4286250 h 4429294"/>
                    <a:gd name="connsiteX25" fmla="*/ 2915265 w 4499625"/>
                    <a:gd name="connsiteY25" fmla="*/ 4333875 h 4429294"/>
                    <a:gd name="connsiteX26" fmla="*/ 2791440 w 4499625"/>
                    <a:gd name="connsiteY26" fmla="*/ 4371975 h 4429294"/>
                    <a:gd name="connsiteX27" fmla="*/ 2559665 w 4499625"/>
                    <a:gd name="connsiteY27" fmla="*/ 4391025 h 4429294"/>
                    <a:gd name="connsiteX28" fmla="*/ 2105640 w 4499625"/>
                    <a:gd name="connsiteY28" fmla="*/ 4429125 h 4429294"/>
                    <a:gd name="connsiteX29" fmla="*/ 1915140 w 4499625"/>
                    <a:gd name="connsiteY29" fmla="*/ 4400550 h 4429294"/>
                    <a:gd name="connsiteX30" fmla="*/ 1553190 w 4499625"/>
                    <a:gd name="connsiteY30" fmla="*/ 4305300 h 4429294"/>
                    <a:gd name="connsiteX31" fmla="*/ 1311890 w 4499625"/>
                    <a:gd name="connsiteY31" fmla="*/ 4216400 h 4429294"/>
                    <a:gd name="connsiteX32" fmla="*/ 1143615 w 4499625"/>
                    <a:gd name="connsiteY32" fmla="*/ 4111625 h 4429294"/>
                    <a:gd name="connsiteX33" fmla="*/ 924540 w 4499625"/>
                    <a:gd name="connsiteY33" fmla="*/ 3968750 h 4429294"/>
                    <a:gd name="connsiteX34" fmla="*/ 591165 w 4499625"/>
                    <a:gd name="connsiteY34" fmla="*/ 3657600 h 4429294"/>
                    <a:gd name="connsiteX35" fmla="*/ 445115 w 4499625"/>
                    <a:gd name="connsiteY35" fmla="*/ 3470275 h 4429294"/>
                    <a:gd name="connsiteX36" fmla="*/ 314940 w 4499625"/>
                    <a:gd name="connsiteY36" fmla="*/ 3244850 h 4429294"/>
                    <a:gd name="connsiteX37" fmla="*/ 162540 w 4499625"/>
                    <a:gd name="connsiteY37" fmla="*/ 2892425 h 4429294"/>
                    <a:gd name="connsiteX38" fmla="*/ 54590 w 4499625"/>
                    <a:gd name="connsiteY38" fmla="*/ 2368550 h 4429294"/>
                    <a:gd name="connsiteX39" fmla="*/ 615 w 4499625"/>
                    <a:gd name="connsiteY39" fmla="*/ 1905000 h 4429294"/>
                    <a:gd name="connsiteX40" fmla="*/ 29190 w 4499625"/>
                    <a:gd name="connsiteY40" fmla="*/ 1781175 h 4429294"/>
                    <a:gd name="connsiteX41" fmla="*/ 86340 w 4499625"/>
                    <a:gd name="connsiteY41" fmla="*/ 1590675 h 4429294"/>
                    <a:gd name="connsiteX42" fmla="*/ 133965 w 4499625"/>
                    <a:gd name="connsiteY42" fmla="*/ 1419225 h 4429294"/>
                    <a:gd name="connsiteX43" fmla="*/ 210165 w 4499625"/>
                    <a:gd name="connsiteY43" fmla="*/ 1276350 h 4429294"/>
                    <a:gd name="connsiteX44" fmla="*/ 295890 w 4499625"/>
                    <a:gd name="connsiteY44" fmla="*/ 1114425 h 4429294"/>
                    <a:gd name="connsiteX45" fmla="*/ 457815 w 4499625"/>
                    <a:gd name="connsiteY45" fmla="*/ 857250 h 4429294"/>
                    <a:gd name="connsiteX46" fmla="*/ 514965 w 4499625"/>
                    <a:gd name="connsiteY46" fmla="*/ 800100 h 4429294"/>
                    <a:gd name="connsiteX47" fmla="*/ 648315 w 4499625"/>
                    <a:gd name="connsiteY47" fmla="*/ 676275 h 4429294"/>
                    <a:gd name="connsiteX48" fmla="*/ 867390 w 4499625"/>
                    <a:gd name="connsiteY48" fmla="*/ 504825 h 4429294"/>
                    <a:gd name="connsiteX49" fmla="*/ 1146790 w 4499625"/>
                    <a:gd name="connsiteY49" fmla="*/ 311150 h 4429294"/>
                    <a:gd name="connsiteX50" fmla="*/ 1505565 w 4499625"/>
                    <a:gd name="connsiteY50" fmla="*/ 152400 h 4429294"/>
                    <a:gd name="connsiteX51" fmla="*/ 1619865 w 4499625"/>
                    <a:gd name="connsiteY51" fmla="*/ 111125 h 4429294"/>
                    <a:gd name="connsiteX52" fmla="*/ 2251690 w 4499625"/>
                    <a:gd name="connsiteY52" fmla="*/ 12700 h 4429294"/>
                    <a:gd name="connsiteX0" fmla="*/ 2249427 w 4471962"/>
                    <a:gd name="connsiteY0" fmla="*/ 0 h 4429294"/>
                    <a:gd name="connsiteX1" fmla="*/ 2573277 w 4471962"/>
                    <a:gd name="connsiteY1" fmla="*/ 15875 h 4429294"/>
                    <a:gd name="connsiteX2" fmla="*/ 2868552 w 4471962"/>
                    <a:gd name="connsiteY2" fmla="*/ 85725 h 4429294"/>
                    <a:gd name="connsiteX3" fmla="*/ 3087627 w 4471962"/>
                    <a:gd name="connsiteY3" fmla="*/ 171450 h 4429294"/>
                    <a:gd name="connsiteX4" fmla="*/ 3192402 w 4471962"/>
                    <a:gd name="connsiteY4" fmla="*/ 228600 h 4429294"/>
                    <a:gd name="connsiteX5" fmla="*/ 3373377 w 4471962"/>
                    <a:gd name="connsiteY5" fmla="*/ 323850 h 4429294"/>
                    <a:gd name="connsiteX6" fmla="*/ 3763902 w 4471962"/>
                    <a:gd name="connsiteY6" fmla="*/ 581025 h 4429294"/>
                    <a:gd name="connsiteX7" fmla="*/ 3979802 w 4471962"/>
                    <a:gd name="connsiteY7" fmla="*/ 819150 h 4429294"/>
                    <a:gd name="connsiteX8" fmla="*/ 4116327 w 4471962"/>
                    <a:gd name="connsiteY8" fmla="*/ 990600 h 4429294"/>
                    <a:gd name="connsiteX9" fmla="*/ 4202052 w 4471962"/>
                    <a:gd name="connsiteY9" fmla="*/ 1143000 h 4429294"/>
                    <a:gd name="connsiteX10" fmla="*/ 4259202 w 4471962"/>
                    <a:gd name="connsiteY10" fmla="*/ 1266825 h 4429294"/>
                    <a:gd name="connsiteX11" fmla="*/ 4297302 w 4471962"/>
                    <a:gd name="connsiteY11" fmla="*/ 1362075 h 4429294"/>
                    <a:gd name="connsiteX12" fmla="*/ 4344927 w 4471962"/>
                    <a:gd name="connsiteY12" fmla="*/ 1552575 h 4429294"/>
                    <a:gd name="connsiteX13" fmla="*/ 4383027 w 4471962"/>
                    <a:gd name="connsiteY13" fmla="*/ 1685925 h 4429294"/>
                    <a:gd name="connsiteX14" fmla="*/ 4471927 w 4471962"/>
                    <a:gd name="connsiteY14" fmla="*/ 2181225 h 4429294"/>
                    <a:gd name="connsiteX15" fmla="*/ 4398902 w 4471962"/>
                    <a:gd name="connsiteY15" fmla="*/ 2768600 h 4429294"/>
                    <a:gd name="connsiteX16" fmla="*/ 4335402 w 4471962"/>
                    <a:gd name="connsiteY16" fmla="*/ 2990850 h 4429294"/>
                    <a:gd name="connsiteX17" fmla="*/ 4230627 w 4471962"/>
                    <a:gd name="connsiteY17" fmla="*/ 3248025 h 4429294"/>
                    <a:gd name="connsiteX18" fmla="*/ 4135377 w 4471962"/>
                    <a:gd name="connsiteY18" fmla="*/ 3400425 h 4429294"/>
                    <a:gd name="connsiteX19" fmla="*/ 4011552 w 4471962"/>
                    <a:gd name="connsiteY19" fmla="*/ 3533775 h 4429294"/>
                    <a:gd name="connsiteX20" fmla="*/ 3906777 w 4471962"/>
                    <a:gd name="connsiteY20" fmla="*/ 3648075 h 4429294"/>
                    <a:gd name="connsiteX21" fmla="*/ 3611502 w 4471962"/>
                    <a:gd name="connsiteY21" fmla="*/ 3971925 h 4429294"/>
                    <a:gd name="connsiteX22" fmla="*/ 3468627 w 4471962"/>
                    <a:gd name="connsiteY22" fmla="*/ 4083050 h 4429294"/>
                    <a:gd name="connsiteX23" fmla="*/ 3173352 w 4471962"/>
                    <a:gd name="connsiteY23" fmla="*/ 4222750 h 4429294"/>
                    <a:gd name="connsiteX24" fmla="*/ 3020952 w 4471962"/>
                    <a:gd name="connsiteY24" fmla="*/ 4286250 h 4429294"/>
                    <a:gd name="connsiteX25" fmla="*/ 2887602 w 4471962"/>
                    <a:gd name="connsiteY25" fmla="*/ 4333875 h 4429294"/>
                    <a:gd name="connsiteX26" fmla="*/ 2763777 w 4471962"/>
                    <a:gd name="connsiteY26" fmla="*/ 4371975 h 4429294"/>
                    <a:gd name="connsiteX27" fmla="*/ 2532002 w 4471962"/>
                    <a:gd name="connsiteY27" fmla="*/ 4391025 h 4429294"/>
                    <a:gd name="connsiteX28" fmla="*/ 2077977 w 4471962"/>
                    <a:gd name="connsiteY28" fmla="*/ 4429125 h 4429294"/>
                    <a:gd name="connsiteX29" fmla="*/ 1887477 w 4471962"/>
                    <a:gd name="connsiteY29" fmla="*/ 4400550 h 4429294"/>
                    <a:gd name="connsiteX30" fmla="*/ 1525527 w 4471962"/>
                    <a:gd name="connsiteY30" fmla="*/ 4305300 h 4429294"/>
                    <a:gd name="connsiteX31" fmla="*/ 1284227 w 4471962"/>
                    <a:gd name="connsiteY31" fmla="*/ 4216400 h 4429294"/>
                    <a:gd name="connsiteX32" fmla="*/ 1115952 w 4471962"/>
                    <a:gd name="connsiteY32" fmla="*/ 4111625 h 4429294"/>
                    <a:gd name="connsiteX33" fmla="*/ 896877 w 4471962"/>
                    <a:gd name="connsiteY33" fmla="*/ 3968750 h 4429294"/>
                    <a:gd name="connsiteX34" fmla="*/ 563502 w 4471962"/>
                    <a:gd name="connsiteY34" fmla="*/ 3657600 h 4429294"/>
                    <a:gd name="connsiteX35" fmla="*/ 417452 w 4471962"/>
                    <a:gd name="connsiteY35" fmla="*/ 3470275 h 4429294"/>
                    <a:gd name="connsiteX36" fmla="*/ 287277 w 4471962"/>
                    <a:gd name="connsiteY36" fmla="*/ 3244850 h 4429294"/>
                    <a:gd name="connsiteX37" fmla="*/ 134877 w 4471962"/>
                    <a:gd name="connsiteY37" fmla="*/ 2892425 h 4429294"/>
                    <a:gd name="connsiteX38" fmla="*/ 26927 w 4471962"/>
                    <a:gd name="connsiteY38" fmla="*/ 2368550 h 4429294"/>
                    <a:gd name="connsiteX39" fmla="*/ 1527 w 4471962"/>
                    <a:gd name="connsiteY39" fmla="*/ 1781175 h 4429294"/>
                    <a:gd name="connsiteX40" fmla="*/ 58677 w 4471962"/>
                    <a:gd name="connsiteY40" fmla="*/ 1590675 h 4429294"/>
                    <a:gd name="connsiteX41" fmla="*/ 106302 w 4471962"/>
                    <a:gd name="connsiteY41" fmla="*/ 1419225 h 4429294"/>
                    <a:gd name="connsiteX42" fmla="*/ 182502 w 4471962"/>
                    <a:gd name="connsiteY42" fmla="*/ 1276350 h 4429294"/>
                    <a:gd name="connsiteX43" fmla="*/ 268227 w 4471962"/>
                    <a:gd name="connsiteY43" fmla="*/ 1114425 h 4429294"/>
                    <a:gd name="connsiteX44" fmla="*/ 430152 w 4471962"/>
                    <a:gd name="connsiteY44" fmla="*/ 857250 h 4429294"/>
                    <a:gd name="connsiteX45" fmla="*/ 487302 w 4471962"/>
                    <a:gd name="connsiteY45" fmla="*/ 800100 h 4429294"/>
                    <a:gd name="connsiteX46" fmla="*/ 620652 w 4471962"/>
                    <a:gd name="connsiteY46" fmla="*/ 676275 h 4429294"/>
                    <a:gd name="connsiteX47" fmla="*/ 839727 w 4471962"/>
                    <a:gd name="connsiteY47" fmla="*/ 504825 h 4429294"/>
                    <a:gd name="connsiteX48" fmla="*/ 1119127 w 4471962"/>
                    <a:gd name="connsiteY48" fmla="*/ 311150 h 4429294"/>
                    <a:gd name="connsiteX49" fmla="*/ 1477902 w 4471962"/>
                    <a:gd name="connsiteY49" fmla="*/ 152400 h 4429294"/>
                    <a:gd name="connsiteX50" fmla="*/ 1592202 w 4471962"/>
                    <a:gd name="connsiteY50" fmla="*/ 111125 h 4429294"/>
                    <a:gd name="connsiteX51" fmla="*/ 2224027 w 4471962"/>
                    <a:gd name="connsiteY51" fmla="*/ 12700 h 4429294"/>
                    <a:gd name="connsiteX0" fmla="*/ 2231942 w 4454477"/>
                    <a:gd name="connsiteY0" fmla="*/ 0 h 4429294"/>
                    <a:gd name="connsiteX1" fmla="*/ 2555792 w 4454477"/>
                    <a:gd name="connsiteY1" fmla="*/ 15875 h 4429294"/>
                    <a:gd name="connsiteX2" fmla="*/ 2851067 w 4454477"/>
                    <a:gd name="connsiteY2" fmla="*/ 85725 h 4429294"/>
                    <a:gd name="connsiteX3" fmla="*/ 3070142 w 4454477"/>
                    <a:gd name="connsiteY3" fmla="*/ 171450 h 4429294"/>
                    <a:gd name="connsiteX4" fmla="*/ 3174917 w 4454477"/>
                    <a:gd name="connsiteY4" fmla="*/ 228600 h 4429294"/>
                    <a:gd name="connsiteX5" fmla="*/ 3355892 w 4454477"/>
                    <a:gd name="connsiteY5" fmla="*/ 323850 h 4429294"/>
                    <a:gd name="connsiteX6" fmla="*/ 3746417 w 4454477"/>
                    <a:gd name="connsiteY6" fmla="*/ 581025 h 4429294"/>
                    <a:gd name="connsiteX7" fmla="*/ 3962317 w 4454477"/>
                    <a:gd name="connsiteY7" fmla="*/ 819150 h 4429294"/>
                    <a:gd name="connsiteX8" fmla="*/ 4098842 w 4454477"/>
                    <a:gd name="connsiteY8" fmla="*/ 990600 h 4429294"/>
                    <a:gd name="connsiteX9" fmla="*/ 4184567 w 4454477"/>
                    <a:gd name="connsiteY9" fmla="*/ 1143000 h 4429294"/>
                    <a:gd name="connsiteX10" fmla="*/ 4241717 w 4454477"/>
                    <a:gd name="connsiteY10" fmla="*/ 1266825 h 4429294"/>
                    <a:gd name="connsiteX11" fmla="*/ 4279817 w 4454477"/>
                    <a:gd name="connsiteY11" fmla="*/ 1362075 h 4429294"/>
                    <a:gd name="connsiteX12" fmla="*/ 4327442 w 4454477"/>
                    <a:gd name="connsiteY12" fmla="*/ 1552575 h 4429294"/>
                    <a:gd name="connsiteX13" fmla="*/ 4365542 w 4454477"/>
                    <a:gd name="connsiteY13" fmla="*/ 1685925 h 4429294"/>
                    <a:gd name="connsiteX14" fmla="*/ 4454442 w 4454477"/>
                    <a:gd name="connsiteY14" fmla="*/ 2181225 h 4429294"/>
                    <a:gd name="connsiteX15" fmla="*/ 4381417 w 4454477"/>
                    <a:gd name="connsiteY15" fmla="*/ 2768600 h 4429294"/>
                    <a:gd name="connsiteX16" fmla="*/ 4317917 w 4454477"/>
                    <a:gd name="connsiteY16" fmla="*/ 2990850 h 4429294"/>
                    <a:gd name="connsiteX17" fmla="*/ 4213142 w 4454477"/>
                    <a:gd name="connsiteY17" fmla="*/ 3248025 h 4429294"/>
                    <a:gd name="connsiteX18" fmla="*/ 4117892 w 4454477"/>
                    <a:gd name="connsiteY18" fmla="*/ 3400425 h 4429294"/>
                    <a:gd name="connsiteX19" fmla="*/ 3994067 w 4454477"/>
                    <a:gd name="connsiteY19" fmla="*/ 3533775 h 4429294"/>
                    <a:gd name="connsiteX20" fmla="*/ 3889292 w 4454477"/>
                    <a:gd name="connsiteY20" fmla="*/ 3648075 h 4429294"/>
                    <a:gd name="connsiteX21" fmla="*/ 3594017 w 4454477"/>
                    <a:gd name="connsiteY21" fmla="*/ 3971925 h 4429294"/>
                    <a:gd name="connsiteX22" fmla="*/ 3451142 w 4454477"/>
                    <a:gd name="connsiteY22" fmla="*/ 4083050 h 4429294"/>
                    <a:gd name="connsiteX23" fmla="*/ 3155867 w 4454477"/>
                    <a:gd name="connsiteY23" fmla="*/ 4222750 h 4429294"/>
                    <a:gd name="connsiteX24" fmla="*/ 3003467 w 4454477"/>
                    <a:gd name="connsiteY24" fmla="*/ 4286250 h 4429294"/>
                    <a:gd name="connsiteX25" fmla="*/ 2870117 w 4454477"/>
                    <a:gd name="connsiteY25" fmla="*/ 4333875 h 4429294"/>
                    <a:gd name="connsiteX26" fmla="*/ 2746292 w 4454477"/>
                    <a:gd name="connsiteY26" fmla="*/ 4371975 h 4429294"/>
                    <a:gd name="connsiteX27" fmla="*/ 2514517 w 4454477"/>
                    <a:gd name="connsiteY27" fmla="*/ 4391025 h 4429294"/>
                    <a:gd name="connsiteX28" fmla="*/ 2060492 w 4454477"/>
                    <a:gd name="connsiteY28" fmla="*/ 4429125 h 4429294"/>
                    <a:gd name="connsiteX29" fmla="*/ 1869992 w 4454477"/>
                    <a:gd name="connsiteY29" fmla="*/ 4400550 h 4429294"/>
                    <a:gd name="connsiteX30" fmla="*/ 1508042 w 4454477"/>
                    <a:gd name="connsiteY30" fmla="*/ 4305300 h 4429294"/>
                    <a:gd name="connsiteX31" fmla="*/ 1266742 w 4454477"/>
                    <a:gd name="connsiteY31" fmla="*/ 4216400 h 4429294"/>
                    <a:gd name="connsiteX32" fmla="*/ 1098467 w 4454477"/>
                    <a:gd name="connsiteY32" fmla="*/ 4111625 h 4429294"/>
                    <a:gd name="connsiteX33" fmla="*/ 879392 w 4454477"/>
                    <a:gd name="connsiteY33" fmla="*/ 3968750 h 4429294"/>
                    <a:gd name="connsiteX34" fmla="*/ 546017 w 4454477"/>
                    <a:gd name="connsiteY34" fmla="*/ 3657600 h 4429294"/>
                    <a:gd name="connsiteX35" fmla="*/ 399967 w 4454477"/>
                    <a:gd name="connsiteY35" fmla="*/ 3470275 h 4429294"/>
                    <a:gd name="connsiteX36" fmla="*/ 269792 w 4454477"/>
                    <a:gd name="connsiteY36" fmla="*/ 3244850 h 4429294"/>
                    <a:gd name="connsiteX37" fmla="*/ 117392 w 4454477"/>
                    <a:gd name="connsiteY37" fmla="*/ 2892425 h 4429294"/>
                    <a:gd name="connsiteX38" fmla="*/ 9442 w 4454477"/>
                    <a:gd name="connsiteY38" fmla="*/ 2368550 h 4429294"/>
                    <a:gd name="connsiteX39" fmla="*/ 15792 w 4454477"/>
                    <a:gd name="connsiteY39" fmla="*/ 1870075 h 4429294"/>
                    <a:gd name="connsiteX40" fmla="*/ 41192 w 4454477"/>
                    <a:gd name="connsiteY40" fmla="*/ 1590675 h 4429294"/>
                    <a:gd name="connsiteX41" fmla="*/ 88817 w 4454477"/>
                    <a:gd name="connsiteY41" fmla="*/ 1419225 h 4429294"/>
                    <a:gd name="connsiteX42" fmla="*/ 165017 w 4454477"/>
                    <a:gd name="connsiteY42" fmla="*/ 1276350 h 4429294"/>
                    <a:gd name="connsiteX43" fmla="*/ 250742 w 4454477"/>
                    <a:gd name="connsiteY43" fmla="*/ 1114425 h 4429294"/>
                    <a:gd name="connsiteX44" fmla="*/ 412667 w 4454477"/>
                    <a:gd name="connsiteY44" fmla="*/ 857250 h 4429294"/>
                    <a:gd name="connsiteX45" fmla="*/ 469817 w 4454477"/>
                    <a:gd name="connsiteY45" fmla="*/ 800100 h 4429294"/>
                    <a:gd name="connsiteX46" fmla="*/ 603167 w 4454477"/>
                    <a:gd name="connsiteY46" fmla="*/ 676275 h 4429294"/>
                    <a:gd name="connsiteX47" fmla="*/ 822242 w 4454477"/>
                    <a:gd name="connsiteY47" fmla="*/ 504825 h 4429294"/>
                    <a:gd name="connsiteX48" fmla="*/ 1101642 w 4454477"/>
                    <a:gd name="connsiteY48" fmla="*/ 311150 h 4429294"/>
                    <a:gd name="connsiteX49" fmla="*/ 1460417 w 4454477"/>
                    <a:gd name="connsiteY49" fmla="*/ 152400 h 4429294"/>
                    <a:gd name="connsiteX50" fmla="*/ 1574717 w 4454477"/>
                    <a:gd name="connsiteY50" fmla="*/ 111125 h 4429294"/>
                    <a:gd name="connsiteX51" fmla="*/ 2206542 w 4454477"/>
                    <a:gd name="connsiteY51" fmla="*/ 12700 h 4429294"/>
                    <a:gd name="connsiteX0" fmla="*/ 2233750 w 4456285"/>
                    <a:gd name="connsiteY0" fmla="*/ 0 h 4429294"/>
                    <a:gd name="connsiteX1" fmla="*/ 2557600 w 4456285"/>
                    <a:gd name="connsiteY1" fmla="*/ 15875 h 4429294"/>
                    <a:gd name="connsiteX2" fmla="*/ 2852875 w 4456285"/>
                    <a:gd name="connsiteY2" fmla="*/ 85725 h 4429294"/>
                    <a:gd name="connsiteX3" fmla="*/ 3071950 w 4456285"/>
                    <a:gd name="connsiteY3" fmla="*/ 171450 h 4429294"/>
                    <a:gd name="connsiteX4" fmla="*/ 3176725 w 4456285"/>
                    <a:gd name="connsiteY4" fmla="*/ 228600 h 4429294"/>
                    <a:gd name="connsiteX5" fmla="*/ 3357700 w 4456285"/>
                    <a:gd name="connsiteY5" fmla="*/ 323850 h 4429294"/>
                    <a:gd name="connsiteX6" fmla="*/ 3748225 w 4456285"/>
                    <a:gd name="connsiteY6" fmla="*/ 581025 h 4429294"/>
                    <a:gd name="connsiteX7" fmla="*/ 3964125 w 4456285"/>
                    <a:gd name="connsiteY7" fmla="*/ 819150 h 4429294"/>
                    <a:gd name="connsiteX8" fmla="*/ 4100650 w 4456285"/>
                    <a:gd name="connsiteY8" fmla="*/ 990600 h 4429294"/>
                    <a:gd name="connsiteX9" fmla="*/ 4186375 w 4456285"/>
                    <a:gd name="connsiteY9" fmla="*/ 1143000 h 4429294"/>
                    <a:gd name="connsiteX10" fmla="*/ 4243525 w 4456285"/>
                    <a:gd name="connsiteY10" fmla="*/ 1266825 h 4429294"/>
                    <a:gd name="connsiteX11" fmla="*/ 4281625 w 4456285"/>
                    <a:gd name="connsiteY11" fmla="*/ 1362075 h 4429294"/>
                    <a:gd name="connsiteX12" fmla="*/ 4329250 w 4456285"/>
                    <a:gd name="connsiteY12" fmla="*/ 1552575 h 4429294"/>
                    <a:gd name="connsiteX13" fmla="*/ 4367350 w 4456285"/>
                    <a:gd name="connsiteY13" fmla="*/ 1685925 h 4429294"/>
                    <a:gd name="connsiteX14" fmla="*/ 4456250 w 4456285"/>
                    <a:gd name="connsiteY14" fmla="*/ 2181225 h 4429294"/>
                    <a:gd name="connsiteX15" fmla="*/ 4383225 w 4456285"/>
                    <a:gd name="connsiteY15" fmla="*/ 2768600 h 4429294"/>
                    <a:gd name="connsiteX16" fmla="*/ 4319725 w 4456285"/>
                    <a:gd name="connsiteY16" fmla="*/ 2990850 h 4429294"/>
                    <a:gd name="connsiteX17" fmla="*/ 4214950 w 4456285"/>
                    <a:gd name="connsiteY17" fmla="*/ 3248025 h 4429294"/>
                    <a:gd name="connsiteX18" fmla="*/ 4119700 w 4456285"/>
                    <a:gd name="connsiteY18" fmla="*/ 3400425 h 4429294"/>
                    <a:gd name="connsiteX19" fmla="*/ 3995875 w 4456285"/>
                    <a:gd name="connsiteY19" fmla="*/ 3533775 h 4429294"/>
                    <a:gd name="connsiteX20" fmla="*/ 3891100 w 4456285"/>
                    <a:gd name="connsiteY20" fmla="*/ 3648075 h 4429294"/>
                    <a:gd name="connsiteX21" fmla="*/ 3595825 w 4456285"/>
                    <a:gd name="connsiteY21" fmla="*/ 3971925 h 4429294"/>
                    <a:gd name="connsiteX22" fmla="*/ 3452950 w 4456285"/>
                    <a:gd name="connsiteY22" fmla="*/ 4083050 h 4429294"/>
                    <a:gd name="connsiteX23" fmla="*/ 3157675 w 4456285"/>
                    <a:gd name="connsiteY23" fmla="*/ 4222750 h 4429294"/>
                    <a:gd name="connsiteX24" fmla="*/ 3005275 w 4456285"/>
                    <a:gd name="connsiteY24" fmla="*/ 4286250 h 4429294"/>
                    <a:gd name="connsiteX25" fmla="*/ 2871925 w 4456285"/>
                    <a:gd name="connsiteY25" fmla="*/ 4333875 h 4429294"/>
                    <a:gd name="connsiteX26" fmla="*/ 2748100 w 4456285"/>
                    <a:gd name="connsiteY26" fmla="*/ 4371975 h 4429294"/>
                    <a:gd name="connsiteX27" fmla="*/ 2516325 w 4456285"/>
                    <a:gd name="connsiteY27" fmla="*/ 4391025 h 4429294"/>
                    <a:gd name="connsiteX28" fmla="*/ 2062300 w 4456285"/>
                    <a:gd name="connsiteY28" fmla="*/ 4429125 h 4429294"/>
                    <a:gd name="connsiteX29" fmla="*/ 1871800 w 4456285"/>
                    <a:gd name="connsiteY29" fmla="*/ 4400550 h 4429294"/>
                    <a:gd name="connsiteX30" fmla="*/ 1509850 w 4456285"/>
                    <a:gd name="connsiteY30" fmla="*/ 4305300 h 4429294"/>
                    <a:gd name="connsiteX31" fmla="*/ 1268550 w 4456285"/>
                    <a:gd name="connsiteY31" fmla="*/ 4216400 h 4429294"/>
                    <a:gd name="connsiteX32" fmla="*/ 1100275 w 4456285"/>
                    <a:gd name="connsiteY32" fmla="*/ 4111625 h 4429294"/>
                    <a:gd name="connsiteX33" fmla="*/ 881200 w 4456285"/>
                    <a:gd name="connsiteY33" fmla="*/ 3968750 h 4429294"/>
                    <a:gd name="connsiteX34" fmla="*/ 547825 w 4456285"/>
                    <a:gd name="connsiteY34" fmla="*/ 3657600 h 4429294"/>
                    <a:gd name="connsiteX35" fmla="*/ 401775 w 4456285"/>
                    <a:gd name="connsiteY35" fmla="*/ 3470275 h 4429294"/>
                    <a:gd name="connsiteX36" fmla="*/ 271600 w 4456285"/>
                    <a:gd name="connsiteY36" fmla="*/ 3244850 h 4429294"/>
                    <a:gd name="connsiteX37" fmla="*/ 119200 w 4456285"/>
                    <a:gd name="connsiteY37" fmla="*/ 2892425 h 4429294"/>
                    <a:gd name="connsiteX38" fmla="*/ 11250 w 4456285"/>
                    <a:gd name="connsiteY38" fmla="*/ 2368550 h 4429294"/>
                    <a:gd name="connsiteX39" fmla="*/ 17600 w 4456285"/>
                    <a:gd name="connsiteY39" fmla="*/ 1870075 h 4429294"/>
                    <a:gd name="connsiteX40" fmla="*/ 90625 w 4456285"/>
                    <a:gd name="connsiteY40" fmla="*/ 1419225 h 4429294"/>
                    <a:gd name="connsiteX41" fmla="*/ 166825 w 4456285"/>
                    <a:gd name="connsiteY41" fmla="*/ 1276350 h 4429294"/>
                    <a:gd name="connsiteX42" fmla="*/ 252550 w 4456285"/>
                    <a:gd name="connsiteY42" fmla="*/ 1114425 h 4429294"/>
                    <a:gd name="connsiteX43" fmla="*/ 414475 w 4456285"/>
                    <a:gd name="connsiteY43" fmla="*/ 857250 h 4429294"/>
                    <a:gd name="connsiteX44" fmla="*/ 471625 w 4456285"/>
                    <a:gd name="connsiteY44" fmla="*/ 800100 h 4429294"/>
                    <a:gd name="connsiteX45" fmla="*/ 604975 w 4456285"/>
                    <a:gd name="connsiteY45" fmla="*/ 676275 h 4429294"/>
                    <a:gd name="connsiteX46" fmla="*/ 824050 w 4456285"/>
                    <a:gd name="connsiteY46" fmla="*/ 504825 h 4429294"/>
                    <a:gd name="connsiteX47" fmla="*/ 1103450 w 4456285"/>
                    <a:gd name="connsiteY47" fmla="*/ 311150 h 4429294"/>
                    <a:gd name="connsiteX48" fmla="*/ 1462225 w 4456285"/>
                    <a:gd name="connsiteY48" fmla="*/ 152400 h 4429294"/>
                    <a:gd name="connsiteX49" fmla="*/ 1576525 w 4456285"/>
                    <a:gd name="connsiteY49" fmla="*/ 111125 h 4429294"/>
                    <a:gd name="connsiteX50" fmla="*/ 2208350 w 4456285"/>
                    <a:gd name="connsiteY50" fmla="*/ 12700 h 4429294"/>
                    <a:gd name="connsiteX0" fmla="*/ 2237540 w 4460075"/>
                    <a:gd name="connsiteY0" fmla="*/ 0 h 4429294"/>
                    <a:gd name="connsiteX1" fmla="*/ 2561390 w 4460075"/>
                    <a:gd name="connsiteY1" fmla="*/ 15875 h 4429294"/>
                    <a:gd name="connsiteX2" fmla="*/ 2856665 w 4460075"/>
                    <a:gd name="connsiteY2" fmla="*/ 85725 h 4429294"/>
                    <a:gd name="connsiteX3" fmla="*/ 3075740 w 4460075"/>
                    <a:gd name="connsiteY3" fmla="*/ 171450 h 4429294"/>
                    <a:gd name="connsiteX4" fmla="*/ 3180515 w 4460075"/>
                    <a:gd name="connsiteY4" fmla="*/ 228600 h 4429294"/>
                    <a:gd name="connsiteX5" fmla="*/ 3361490 w 4460075"/>
                    <a:gd name="connsiteY5" fmla="*/ 323850 h 4429294"/>
                    <a:gd name="connsiteX6" fmla="*/ 3752015 w 4460075"/>
                    <a:gd name="connsiteY6" fmla="*/ 581025 h 4429294"/>
                    <a:gd name="connsiteX7" fmla="*/ 3967915 w 4460075"/>
                    <a:gd name="connsiteY7" fmla="*/ 819150 h 4429294"/>
                    <a:gd name="connsiteX8" fmla="*/ 4104440 w 4460075"/>
                    <a:gd name="connsiteY8" fmla="*/ 990600 h 4429294"/>
                    <a:gd name="connsiteX9" fmla="*/ 4190165 w 4460075"/>
                    <a:gd name="connsiteY9" fmla="*/ 1143000 h 4429294"/>
                    <a:gd name="connsiteX10" fmla="*/ 4247315 w 4460075"/>
                    <a:gd name="connsiteY10" fmla="*/ 1266825 h 4429294"/>
                    <a:gd name="connsiteX11" fmla="*/ 4285415 w 4460075"/>
                    <a:gd name="connsiteY11" fmla="*/ 1362075 h 4429294"/>
                    <a:gd name="connsiteX12" fmla="*/ 4333040 w 4460075"/>
                    <a:gd name="connsiteY12" fmla="*/ 1552575 h 4429294"/>
                    <a:gd name="connsiteX13" fmla="*/ 4371140 w 4460075"/>
                    <a:gd name="connsiteY13" fmla="*/ 1685925 h 4429294"/>
                    <a:gd name="connsiteX14" fmla="*/ 4460040 w 4460075"/>
                    <a:gd name="connsiteY14" fmla="*/ 2181225 h 4429294"/>
                    <a:gd name="connsiteX15" fmla="*/ 4387015 w 4460075"/>
                    <a:gd name="connsiteY15" fmla="*/ 2768600 h 4429294"/>
                    <a:gd name="connsiteX16" fmla="*/ 4323515 w 4460075"/>
                    <a:gd name="connsiteY16" fmla="*/ 2990850 h 4429294"/>
                    <a:gd name="connsiteX17" fmla="*/ 4218740 w 4460075"/>
                    <a:gd name="connsiteY17" fmla="*/ 3248025 h 4429294"/>
                    <a:gd name="connsiteX18" fmla="*/ 4123490 w 4460075"/>
                    <a:gd name="connsiteY18" fmla="*/ 3400425 h 4429294"/>
                    <a:gd name="connsiteX19" fmla="*/ 3999665 w 4460075"/>
                    <a:gd name="connsiteY19" fmla="*/ 3533775 h 4429294"/>
                    <a:gd name="connsiteX20" fmla="*/ 3894890 w 4460075"/>
                    <a:gd name="connsiteY20" fmla="*/ 3648075 h 4429294"/>
                    <a:gd name="connsiteX21" fmla="*/ 3599615 w 4460075"/>
                    <a:gd name="connsiteY21" fmla="*/ 3971925 h 4429294"/>
                    <a:gd name="connsiteX22" fmla="*/ 3456740 w 4460075"/>
                    <a:gd name="connsiteY22" fmla="*/ 4083050 h 4429294"/>
                    <a:gd name="connsiteX23" fmla="*/ 3161465 w 4460075"/>
                    <a:gd name="connsiteY23" fmla="*/ 4222750 h 4429294"/>
                    <a:gd name="connsiteX24" fmla="*/ 3009065 w 4460075"/>
                    <a:gd name="connsiteY24" fmla="*/ 4286250 h 4429294"/>
                    <a:gd name="connsiteX25" fmla="*/ 2875715 w 4460075"/>
                    <a:gd name="connsiteY25" fmla="*/ 4333875 h 4429294"/>
                    <a:gd name="connsiteX26" fmla="*/ 2751890 w 4460075"/>
                    <a:gd name="connsiteY26" fmla="*/ 4371975 h 4429294"/>
                    <a:gd name="connsiteX27" fmla="*/ 2520115 w 4460075"/>
                    <a:gd name="connsiteY27" fmla="*/ 4391025 h 4429294"/>
                    <a:gd name="connsiteX28" fmla="*/ 2066090 w 4460075"/>
                    <a:gd name="connsiteY28" fmla="*/ 4429125 h 4429294"/>
                    <a:gd name="connsiteX29" fmla="*/ 1875590 w 4460075"/>
                    <a:gd name="connsiteY29" fmla="*/ 4400550 h 4429294"/>
                    <a:gd name="connsiteX30" fmla="*/ 1513640 w 4460075"/>
                    <a:gd name="connsiteY30" fmla="*/ 4305300 h 4429294"/>
                    <a:gd name="connsiteX31" fmla="*/ 1272340 w 4460075"/>
                    <a:gd name="connsiteY31" fmla="*/ 4216400 h 4429294"/>
                    <a:gd name="connsiteX32" fmla="*/ 1104065 w 4460075"/>
                    <a:gd name="connsiteY32" fmla="*/ 4111625 h 4429294"/>
                    <a:gd name="connsiteX33" fmla="*/ 884990 w 4460075"/>
                    <a:gd name="connsiteY33" fmla="*/ 3968750 h 4429294"/>
                    <a:gd name="connsiteX34" fmla="*/ 551615 w 4460075"/>
                    <a:gd name="connsiteY34" fmla="*/ 3657600 h 4429294"/>
                    <a:gd name="connsiteX35" fmla="*/ 405565 w 4460075"/>
                    <a:gd name="connsiteY35" fmla="*/ 3470275 h 4429294"/>
                    <a:gd name="connsiteX36" fmla="*/ 275390 w 4460075"/>
                    <a:gd name="connsiteY36" fmla="*/ 3244850 h 4429294"/>
                    <a:gd name="connsiteX37" fmla="*/ 122990 w 4460075"/>
                    <a:gd name="connsiteY37" fmla="*/ 2892425 h 4429294"/>
                    <a:gd name="connsiteX38" fmla="*/ 15040 w 4460075"/>
                    <a:gd name="connsiteY38" fmla="*/ 2368550 h 4429294"/>
                    <a:gd name="connsiteX39" fmla="*/ 21390 w 4460075"/>
                    <a:gd name="connsiteY39" fmla="*/ 1870075 h 4429294"/>
                    <a:gd name="connsiteX40" fmla="*/ 170615 w 4460075"/>
                    <a:gd name="connsiteY40" fmla="*/ 1276350 h 4429294"/>
                    <a:gd name="connsiteX41" fmla="*/ 256340 w 4460075"/>
                    <a:gd name="connsiteY41" fmla="*/ 1114425 h 4429294"/>
                    <a:gd name="connsiteX42" fmla="*/ 418265 w 4460075"/>
                    <a:gd name="connsiteY42" fmla="*/ 857250 h 4429294"/>
                    <a:gd name="connsiteX43" fmla="*/ 475415 w 4460075"/>
                    <a:gd name="connsiteY43" fmla="*/ 800100 h 4429294"/>
                    <a:gd name="connsiteX44" fmla="*/ 608765 w 4460075"/>
                    <a:gd name="connsiteY44" fmla="*/ 676275 h 4429294"/>
                    <a:gd name="connsiteX45" fmla="*/ 827840 w 4460075"/>
                    <a:gd name="connsiteY45" fmla="*/ 504825 h 4429294"/>
                    <a:gd name="connsiteX46" fmla="*/ 1107240 w 4460075"/>
                    <a:gd name="connsiteY46" fmla="*/ 311150 h 4429294"/>
                    <a:gd name="connsiteX47" fmla="*/ 1466015 w 4460075"/>
                    <a:gd name="connsiteY47" fmla="*/ 152400 h 4429294"/>
                    <a:gd name="connsiteX48" fmla="*/ 1580315 w 4460075"/>
                    <a:gd name="connsiteY48" fmla="*/ 111125 h 4429294"/>
                    <a:gd name="connsiteX49" fmla="*/ 2212140 w 4460075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5706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76140 w 4460800"/>
                    <a:gd name="connsiteY42" fmla="*/ 800100 h 4429294"/>
                    <a:gd name="connsiteX43" fmla="*/ 609490 w 4460800"/>
                    <a:gd name="connsiteY43" fmla="*/ 676275 h 4429294"/>
                    <a:gd name="connsiteX44" fmla="*/ 828565 w 4460800"/>
                    <a:gd name="connsiteY44" fmla="*/ 504825 h 4429294"/>
                    <a:gd name="connsiteX45" fmla="*/ 1107965 w 4460800"/>
                    <a:gd name="connsiteY45" fmla="*/ 311150 h 4429294"/>
                    <a:gd name="connsiteX46" fmla="*/ 1466740 w 4460800"/>
                    <a:gd name="connsiteY46" fmla="*/ 152400 h 4429294"/>
                    <a:gd name="connsiteX47" fmla="*/ 1581040 w 4460800"/>
                    <a:gd name="connsiteY47" fmla="*/ 111125 h 4429294"/>
                    <a:gd name="connsiteX48" fmla="*/ 2212865 w 4460800"/>
                    <a:gd name="connsiteY48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</a:path>
                  </a:pathLst>
                </a:custGeom>
                <a:noFill/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  <p:sp>
              <p:nvSpPr>
                <p:cNvPr id="191" name="Freeform: Shape 190">
                  <a:extLst>
                    <a:ext uri="{FF2B5EF4-FFF2-40B4-BE49-F238E27FC236}">
                      <a16:creationId xmlns:a16="http://schemas.microsoft.com/office/drawing/2014/main" id="{83A957E7-116B-2FBC-0980-0F3F70CF9E20}"/>
                    </a:ext>
                  </a:extLst>
                </p:cNvPr>
                <p:cNvSpPr/>
                <p:nvPr/>
              </p:nvSpPr>
              <p:spPr>
                <a:xfrm>
                  <a:off x="1669170" y="4966893"/>
                  <a:ext cx="188206" cy="186876"/>
                </a:xfrm>
                <a:custGeom>
                  <a:avLst/>
                  <a:gdLst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944902 w 4469152"/>
                    <a:gd name="connsiteY150" fmla="*/ 476250 h 4496940"/>
                    <a:gd name="connsiteX151" fmla="*/ 1087777 w 4469152"/>
                    <a:gd name="connsiteY151" fmla="*/ 409575 h 4496940"/>
                    <a:gd name="connsiteX152" fmla="*/ 1202077 w 4469152"/>
                    <a:gd name="connsiteY152" fmla="*/ 314325 h 4496940"/>
                    <a:gd name="connsiteX153" fmla="*/ 1268752 w 4469152"/>
                    <a:gd name="connsiteY153" fmla="*/ 285750 h 4496940"/>
                    <a:gd name="connsiteX154" fmla="*/ 1411627 w 4469152"/>
                    <a:gd name="connsiteY154" fmla="*/ 190500 h 4496940"/>
                    <a:gd name="connsiteX155" fmla="*/ 1449727 w 4469152"/>
                    <a:gd name="connsiteY155" fmla="*/ 161925 h 4496940"/>
                    <a:gd name="connsiteX156" fmla="*/ 1525927 w 4469152"/>
                    <a:gd name="connsiteY156" fmla="*/ 152400 h 4496940"/>
                    <a:gd name="connsiteX157" fmla="*/ 1583077 w 4469152"/>
                    <a:gd name="connsiteY157" fmla="*/ 142875 h 4496940"/>
                    <a:gd name="connsiteX158" fmla="*/ 1716427 w 4469152"/>
                    <a:gd name="connsiteY158" fmla="*/ 123825 h 4496940"/>
                    <a:gd name="connsiteX159" fmla="*/ 1811677 w 4469152"/>
                    <a:gd name="connsiteY159" fmla="*/ 114300 h 4496940"/>
                    <a:gd name="connsiteX160" fmla="*/ 1859302 w 4469152"/>
                    <a:gd name="connsiteY160" fmla="*/ 104775 h 4496940"/>
                    <a:gd name="connsiteX161" fmla="*/ 1916452 w 4469152"/>
                    <a:gd name="connsiteY161" fmla="*/ 95250 h 4496940"/>
                    <a:gd name="connsiteX162" fmla="*/ 2030752 w 4469152"/>
                    <a:gd name="connsiteY162" fmla="*/ 66675 h 4496940"/>
                    <a:gd name="connsiteX163" fmla="*/ 2097427 w 4469152"/>
                    <a:gd name="connsiteY163" fmla="*/ 47625 h 4496940"/>
                    <a:gd name="connsiteX164" fmla="*/ 2164102 w 4469152"/>
                    <a:gd name="connsiteY164" fmla="*/ 38100 h 4496940"/>
                    <a:gd name="connsiteX165" fmla="*/ 2392702 w 4469152"/>
                    <a:gd name="connsiteY165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087777 w 4469152"/>
                    <a:gd name="connsiteY150" fmla="*/ 409575 h 4496940"/>
                    <a:gd name="connsiteX151" fmla="*/ 1202077 w 4469152"/>
                    <a:gd name="connsiteY151" fmla="*/ 314325 h 4496940"/>
                    <a:gd name="connsiteX152" fmla="*/ 1268752 w 4469152"/>
                    <a:gd name="connsiteY152" fmla="*/ 285750 h 4496940"/>
                    <a:gd name="connsiteX153" fmla="*/ 1411627 w 4469152"/>
                    <a:gd name="connsiteY153" fmla="*/ 190500 h 4496940"/>
                    <a:gd name="connsiteX154" fmla="*/ 1449727 w 4469152"/>
                    <a:gd name="connsiteY154" fmla="*/ 161925 h 4496940"/>
                    <a:gd name="connsiteX155" fmla="*/ 1525927 w 4469152"/>
                    <a:gd name="connsiteY155" fmla="*/ 152400 h 4496940"/>
                    <a:gd name="connsiteX156" fmla="*/ 1583077 w 4469152"/>
                    <a:gd name="connsiteY156" fmla="*/ 142875 h 4496940"/>
                    <a:gd name="connsiteX157" fmla="*/ 1716427 w 4469152"/>
                    <a:gd name="connsiteY157" fmla="*/ 123825 h 4496940"/>
                    <a:gd name="connsiteX158" fmla="*/ 1811677 w 4469152"/>
                    <a:gd name="connsiteY158" fmla="*/ 114300 h 4496940"/>
                    <a:gd name="connsiteX159" fmla="*/ 1859302 w 4469152"/>
                    <a:gd name="connsiteY159" fmla="*/ 104775 h 4496940"/>
                    <a:gd name="connsiteX160" fmla="*/ 1916452 w 4469152"/>
                    <a:gd name="connsiteY160" fmla="*/ 95250 h 4496940"/>
                    <a:gd name="connsiteX161" fmla="*/ 2030752 w 4469152"/>
                    <a:gd name="connsiteY161" fmla="*/ 66675 h 4496940"/>
                    <a:gd name="connsiteX162" fmla="*/ 2097427 w 4469152"/>
                    <a:gd name="connsiteY162" fmla="*/ 47625 h 4496940"/>
                    <a:gd name="connsiteX163" fmla="*/ 2164102 w 4469152"/>
                    <a:gd name="connsiteY163" fmla="*/ 38100 h 4496940"/>
                    <a:gd name="connsiteX164" fmla="*/ 2392702 w 4469152"/>
                    <a:gd name="connsiteY164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02077 w 4469152"/>
                    <a:gd name="connsiteY150" fmla="*/ 314325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68752 w 4469152"/>
                    <a:gd name="connsiteY150" fmla="*/ 285750 h 4496940"/>
                    <a:gd name="connsiteX151" fmla="*/ 1411627 w 4469152"/>
                    <a:gd name="connsiteY151" fmla="*/ 190500 h 4496940"/>
                    <a:gd name="connsiteX152" fmla="*/ 1449727 w 4469152"/>
                    <a:gd name="connsiteY152" fmla="*/ 161925 h 4496940"/>
                    <a:gd name="connsiteX153" fmla="*/ 1525927 w 4469152"/>
                    <a:gd name="connsiteY153" fmla="*/ 152400 h 4496940"/>
                    <a:gd name="connsiteX154" fmla="*/ 1583077 w 4469152"/>
                    <a:gd name="connsiteY154" fmla="*/ 142875 h 4496940"/>
                    <a:gd name="connsiteX155" fmla="*/ 1716427 w 4469152"/>
                    <a:gd name="connsiteY155" fmla="*/ 123825 h 4496940"/>
                    <a:gd name="connsiteX156" fmla="*/ 1811677 w 4469152"/>
                    <a:gd name="connsiteY156" fmla="*/ 114300 h 4496940"/>
                    <a:gd name="connsiteX157" fmla="*/ 1859302 w 4469152"/>
                    <a:gd name="connsiteY157" fmla="*/ 104775 h 4496940"/>
                    <a:gd name="connsiteX158" fmla="*/ 1916452 w 4469152"/>
                    <a:gd name="connsiteY158" fmla="*/ 95250 h 4496940"/>
                    <a:gd name="connsiteX159" fmla="*/ 2030752 w 4469152"/>
                    <a:gd name="connsiteY159" fmla="*/ 66675 h 4496940"/>
                    <a:gd name="connsiteX160" fmla="*/ 2097427 w 4469152"/>
                    <a:gd name="connsiteY160" fmla="*/ 47625 h 4496940"/>
                    <a:gd name="connsiteX161" fmla="*/ 2164102 w 4469152"/>
                    <a:gd name="connsiteY161" fmla="*/ 38100 h 4496940"/>
                    <a:gd name="connsiteX162" fmla="*/ 2392702 w 4469152"/>
                    <a:gd name="connsiteY162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167152 w 4469152"/>
                    <a:gd name="connsiteY150" fmla="*/ 311150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40577 w 4519952"/>
                    <a:gd name="connsiteY46" fmla="*/ 1762125 h 4496940"/>
                    <a:gd name="connsiteX47" fmla="*/ 4459627 w 4519952"/>
                    <a:gd name="connsiteY47" fmla="*/ 1828800 h 4496940"/>
                    <a:gd name="connsiteX48" fmla="*/ 4519952 w 4519952"/>
                    <a:gd name="connsiteY48" fmla="*/ 2181225 h 4496940"/>
                    <a:gd name="connsiteX49" fmla="*/ 4440577 w 4519952"/>
                    <a:gd name="connsiteY49" fmla="*/ 2876550 h 4496940"/>
                    <a:gd name="connsiteX50" fmla="*/ 4383427 w 4519952"/>
                    <a:gd name="connsiteY50" fmla="*/ 2990850 h 4496940"/>
                    <a:gd name="connsiteX51" fmla="*/ 4354852 w 4519952"/>
                    <a:gd name="connsiteY51" fmla="*/ 3057525 h 4496940"/>
                    <a:gd name="connsiteX52" fmla="*/ 4335802 w 4519952"/>
                    <a:gd name="connsiteY52" fmla="*/ 3095625 h 4496940"/>
                    <a:gd name="connsiteX53" fmla="*/ 4278652 w 4519952"/>
                    <a:gd name="connsiteY53" fmla="*/ 3248025 h 4496940"/>
                    <a:gd name="connsiteX54" fmla="*/ 4259602 w 4519952"/>
                    <a:gd name="connsiteY54" fmla="*/ 3276600 h 4496940"/>
                    <a:gd name="connsiteX55" fmla="*/ 4221502 w 4519952"/>
                    <a:gd name="connsiteY55" fmla="*/ 3333750 h 4496940"/>
                    <a:gd name="connsiteX56" fmla="*/ 4211977 w 4519952"/>
                    <a:gd name="connsiteY56" fmla="*/ 3362325 h 4496940"/>
                    <a:gd name="connsiteX57" fmla="*/ 4183402 w 4519952"/>
                    <a:gd name="connsiteY57" fmla="*/ 3400425 h 4496940"/>
                    <a:gd name="connsiteX58" fmla="*/ 4164352 w 4519952"/>
                    <a:gd name="connsiteY58" fmla="*/ 3429000 h 4496940"/>
                    <a:gd name="connsiteX59" fmla="*/ 4088152 w 4519952"/>
                    <a:gd name="connsiteY59" fmla="*/ 3495675 h 4496940"/>
                    <a:gd name="connsiteX60" fmla="*/ 4059577 w 4519952"/>
                    <a:gd name="connsiteY60" fmla="*/ 3533775 h 4496940"/>
                    <a:gd name="connsiteX61" fmla="*/ 4002427 w 4519952"/>
                    <a:gd name="connsiteY61" fmla="*/ 3600450 h 4496940"/>
                    <a:gd name="connsiteX62" fmla="*/ 3983377 w 4519952"/>
                    <a:gd name="connsiteY62" fmla="*/ 3629025 h 4496940"/>
                    <a:gd name="connsiteX63" fmla="*/ 3954802 w 4519952"/>
                    <a:gd name="connsiteY63" fmla="*/ 3648075 h 4496940"/>
                    <a:gd name="connsiteX64" fmla="*/ 3907177 w 4519952"/>
                    <a:gd name="connsiteY64" fmla="*/ 3686175 h 4496940"/>
                    <a:gd name="connsiteX65" fmla="*/ 3869077 w 4519952"/>
                    <a:gd name="connsiteY65" fmla="*/ 3724275 h 4496940"/>
                    <a:gd name="connsiteX66" fmla="*/ 3792877 w 4519952"/>
                    <a:gd name="connsiteY66" fmla="*/ 3781425 h 4496940"/>
                    <a:gd name="connsiteX67" fmla="*/ 3783352 w 4519952"/>
                    <a:gd name="connsiteY67" fmla="*/ 3810000 h 4496940"/>
                    <a:gd name="connsiteX68" fmla="*/ 3745252 w 4519952"/>
                    <a:gd name="connsiteY68" fmla="*/ 3819525 h 4496940"/>
                    <a:gd name="connsiteX69" fmla="*/ 3678577 w 4519952"/>
                    <a:gd name="connsiteY69" fmla="*/ 3848100 h 4496940"/>
                    <a:gd name="connsiteX70" fmla="*/ 3659527 w 4519952"/>
                    <a:gd name="connsiteY70" fmla="*/ 3971925 h 4496940"/>
                    <a:gd name="connsiteX71" fmla="*/ 3630952 w 4519952"/>
                    <a:gd name="connsiteY71" fmla="*/ 4010025 h 4496940"/>
                    <a:gd name="connsiteX72" fmla="*/ 3621427 w 4519952"/>
                    <a:gd name="connsiteY72" fmla="*/ 4038600 h 4496940"/>
                    <a:gd name="connsiteX73" fmla="*/ 3554752 w 4519952"/>
                    <a:gd name="connsiteY73" fmla="*/ 4095750 h 4496940"/>
                    <a:gd name="connsiteX74" fmla="*/ 3516652 w 4519952"/>
                    <a:gd name="connsiteY74" fmla="*/ 4114800 h 4496940"/>
                    <a:gd name="connsiteX75" fmla="*/ 3497602 w 4519952"/>
                    <a:gd name="connsiteY75" fmla="*/ 4143375 h 4496940"/>
                    <a:gd name="connsiteX76" fmla="*/ 3383302 w 4519952"/>
                    <a:gd name="connsiteY76" fmla="*/ 4210050 h 4496940"/>
                    <a:gd name="connsiteX77" fmla="*/ 3335677 w 4519952"/>
                    <a:gd name="connsiteY77" fmla="*/ 4238625 h 4496940"/>
                    <a:gd name="connsiteX78" fmla="*/ 3288052 w 4519952"/>
                    <a:gd name="connsiteY78" fmla="*/ 4248150 h 4496940"/>
                    <a:gd name="connsiteX79" fmla="*/ 3240427 w 4519952"/>
                    <a:gd name="connsiteY79" fmla="*/ 4267200 h 4496940"/>
                    <a:gd name="connsiteX80" fmla="*/ 3068977 w 4519952"/>
                    <a:gd name="connsiteY80" fmla="*/ 4286250 h 4496940"/>
                    <a:gd name="connsiteX81" fmla="*/ 2935627 w 4519952"/>
                    <a:gd name="connsiteY81" fmla="*/ 4333875 h 4496940"/>
                    <a:gd name="connsiteX82" fmla="*/ 2811802 w 4519952"/>
                    <a:gd name="connsiteY82" fmla="*/ 4371975 h 4496940"/>
                    <a:gd name="connsiteX83" fmla="*/ 2745127 w 4519952"/>
                    <a:gd name="connsiteY83" fmla="*/ 4410075 h 4496940"/>
                    <a:gd name="connsiteX84" fmla="*/ 2697502 w 4519952"/>
                    <a:gd name="connsiteY84" fmla="*/ 4429125 h 4496940"/>
                    <a:gd name="connsiteX85" fmla="*/ 2640352 w 4519952"/>
                    <a:gd name="connsiteY85" fmla="*/ 4457700 h 4496940"/>
                    <a:gd name="connsiteX86" fmla="*/ 2583202 w 4519952"/>
                    <a:gd name="connsiteY86" fmla="*/ 4467225 h 4496940"/>
                    <a:gd name="connsiteX87" fmla="*/ 2545102 w 4519952"/>
                    <a:gd name="connsiteY87" fmla="*/ 4486275 h 4496940"/>
                    <a:gd name="connsiteX88" fmla="*/ 2306977 w 4519952"/>
                    <a:gd name="connsiteY88" fmla="*/ 4476750 h 4496940"/>
                    <a:gd name="connsiteX89" fmla="*/ 2202202 w 4519952"/>
                    <a:gd name="connsiteY89" fmla="*/ 4457700 h 4496940"/>
                    <a:gd name="connsiteX90" fmla="*/ 2126002 w 4519952"/>
                    <a:gd name="connsiteY90" fmla="*/ 4429125 h 4496940"/>
                    <a:gd name="connsiteX91" fmla="*/ 1935502 w 4519952"/>
                    <a:gd name="connsiteY91" fmla="*/ 4400550 h 4496940"/>
                    <a:gd name="connsiteX92" fmla="*/ 1821202 w 4519952"/>
                    <a:gd name="connsiteY92" fmla="*/ 4371975 h 4496940"/>
                    <a:gd name="connsiteX93" fmla="*/ 1754527 w 4519952"/>
                    <a:gd name="connsiteY93" fmla="*/ 4352925 h 4496940"/>
                    <a:gd name="connsiteX94" fmla="*/ 1687852 w 4519952"/>
                    <a:gd name="connsiteY94" fmla="*/ 4343400 h 4496940"/>
                    <a:gd name="connsiteX95" fmla="*/ 1573552 w 4519952"/>
                    <a:gd name="connsiteY95" fmla="*/ 4305300 h 4496940"/>
                    <a:gd name="connsiteX96" fmla="*/ 1402102 w 4519952"/>
                    <a:gd name="connsiteY96" fmla="*/ 4276725 h 4496940"/>
                    <a:gd name="connsiteX97" fmla="*/ 1287802 w 4519952"/>
                    <a:gd name="connsiteY97" fmla="*/ 4229100 h 4496940"/>
                    <a:gd name="connsiteX98" fmla="*/ 1221127 w 4519952"/>
                    <a:gd name="connsiteY98" fmla="*/ 4200525 h 4496940"/>
                    <a:gd name="connsiteX99" fmla="*/ 1144927 w 4519952"/>
                    <a:gd name="connsiteY99" fmla="*/ 4171950 h 4496940"/>
                    <a:gd name="connsiteX100" fmla="*/ 1087777 w 4519952"/>
                    <a:gd name="connsiteY100" fmla="*/ 4143375 h 4496940"/>
                    <a:gd name="connsiteX101" fmla="*/ 1030627 w 4519952"/>
                    <a:gd name="connsiteY101" fmla="*/ 4124325 h 4496940"/>
                    <a:gd name="connsiteX102" fmla="*/ 925852 w 4519952"/>
                    <a:gd name="connsiteY102" fmla="*/ 4067175 h 4496940"/>
                    <a:gd name="connsiteX103" fmla="*/ 830602 w 4519952"/>
                    <a:gd name="connsiteY103" fmla="*/ 3981450 h 4496940"/>
                    <a:gd name="connsiteX104" fmla="*/ 763927 w 4519952"/>
                    <a:gd name="connsiteY104" fmla="*/ 3914775 h 4496940"/>
                    <a:gd name="connsiteX105" fmla="*/ 725827 w 4519952"/>
                    <a:gd name="connsiteY105" fmla="*/ 3876675 h 4496940"/>
                    <a:gd name="connsiteX106" fmla="*/ 697252 w 4519952"/>
                    <a:gd name="connsiteY106" fmla="*/ 3838575 h 4496940"/>
                    <a:gd name="connsiteX107" fmla="*/ 640102 w 4519952"/>
                    <a:gd name="connsiteY107" fmla="*/ 3781425 h 4496940"/>
                    <a:gd name="connsiteX108" fmla="*/ 611527 w 4519952"/>
                    <a:gd name="connsiteY108" fmla="*/ 3733800 h 4496940"/>
                    <a:gd name="connsiteX109" fmla="*/ 554377 w 4519952"/>
                    <a:gd name="connsiteY109" fmla="*/ 3657600 h 4496940"/>
                    <a:gd name="connsiteX110" fmla="*/ 525802 w 4519952"/>
                    <a:gd name="connsiteY110" fmla="*/ 3609975 h 4496940"/>
                    <a:gd name="connsiteX111" fmla="*/ 497227 w 4519952"/>
                    <a:gd name="connsiteY111" fmla="*/ 3552825 h 4496940"/>
                    <a:gd name="connsiteX112" fmla="*/ 440077 w 4519952"/>
                    <a:gd name="connsiteY112" fmla="*/ 3495675 h 4496940"/>
                    <a:gd name="connsiteX113" fmla="*/ 411502 w 4519952"/>
                    <a:gd name="connsiteY113" fmla="*/ 3448050 h 4496940"/>
                    <a:gd name="connsiteX114" fmla="*/ 278152 w 4519952"/>
                    <a:gd name="connsiteY114" fmla="*/ 3257550 h 4496940"/>
                    <a:gd name="connsiteX115" fmla="*/ 249577 w 4519952"/>
                    <a:gd name="connsiteY115" fmla="*/ 3200400 h 4496940"/>
                    <a:gd name="connsiteX116" fmla="*/ 240052 w 4519952"/>
                    <a:gd name="connsiteY116" fmla="*/ 3162300 h 4496940"/>
                    <a:gd name="connsiteX117" fmla="*/ 221002 w 4519952"/>
                    <a:gd name="connsiteY117" fmla="*/ 3105150 h 4496940"/>
                    <a:gd name="connsiteX118" fmla="*/ 173377 w 4519952"/>
                    <a:gd name="connsiteY118" fmla="*/ 3019425 h 4496940"/>
                    <a:gd name="connsiteX119" fmla="*/ 144802 w 4519952"/>
                    <a:gd name="connsiteY119" fmla="*/ 2924175 h 4496940"/>
                    <a:gd name="connsiteX120" fmla="*/ 68602 w 4519952"/>
                    <a:gd name="connsiteY120" fmla="*/ 2724150 h 4496940"/>
                    <a:gd name="connsiteX121" fmla="*/ 49552 w 4519952"/>
                    <a:gd name="connsiteY121" fmla="*/ 2638425 h 4496940"/>
                    <a:gd name="connsiteX122" fmla="*/ 40027 w 4519952"/>
                    <a:gd name="connsiteY122" fmla="*/ 2562225 h 4496940"/>
                    <a:gd name="connsiteX123" fmla="*/ 30502 w 4519952"/>
                    <a:gd name="connsiteY123" fmla="*/ 2514600 h 4496940"/>
                    <a:gd name="connsiteX124" fmla="*/ 11452 w 4519952"/>
                    <a:gd name="connsiteY124" fmla="*/ 2400300 h 4496940"/>
                    <a:gd name="connsiteX125" fmla="*/ 20977 w 4519952"/>
                    <a:gd name="connsiteY125" fmla="*/ 1905000 h 4496940"/>
                    <a:gd name="connsiteX126" fmla="*/ 30502 w 4519952"/>
                    <a:gd name="connsiteY126" fmla="*/ 1838325 h 4496940"/>
                    <a:gd name="connsiteX127" fmla="*/ 49552 w 4519952"/>
                    <a:gd name="connsiteY127" fmla="*/ 1781175 h 4496940"/>
                    <a:gd name="connsiteX128" fmla="*/ 59077 w 4519952"/>
                    <a:gd name="connsiteY128" fmla="*/ 1743075 h 4496940"/>
                    <a:gd name="connsiteX129" fmla="*/ 78127 w 4519952"/>
                    <a:gd name="connsiteY129" fmla="*/ 1685925 h 4496940"/>
                    <a:gd name="connsiteX130" fmla="*/ 87652 w 4519952"/>
                    <a:gd name="connsiteY130" fmla="*/ 1638300 h 4496940"/>
                    <a:gd name="connsiteX131" fmla="*/ 106702 w 4519952"/>
                    <a:gd name="connsiteY131" fmla="*/ 1590675 h 4496940"/>
                    <a:gd name="connsiteX132" fmla="*/ 135277 w 4519952"/>
                    <a:gd name="connsiteY132" fmla="*/ 1504950 h 4496940"/>
                    <a:gd name="connsiteX133" fmla="*/ 154327 w 4519952"/>
                    <a:gd name="connsiteY133" fmla="*/ 1419225 h 4496940"/>
                    <a:gd name="connsiteX134" fmla="*/ 230527 w 4519952"/>
                    <a:gd name="connsiteY134" fmla="*/ 1276350 h 4496940"/>
                    <a:gd name="connsiteX135" fmla="*/ 240052 w 4519952"/>
                    <a:gd name="connsiteY135" fmla="*/ 1247775 h 4496940"/>
                    <a:gd name="connsiteX136" fmla="*/ 268627 w 4519952"/>
                    <a:gd name="connsiteY136" fmla="*/ 1200150 h 4496940"/>
                    <a:gd name="connsiteX137" fmla="*/ 287677 w 4519952"/>
                    <a:gd name="connsiteY137" fmla="*/ 1152525 h 4496940"/>
                    <a:gd name="connsiteX138" fmla="*/ 316252 w 4519952"/>
                    <a:gd name="connsiteY138" fmla="*/ 1114425 h 4496940"/>
                    <a:gd name="connsiteX139" fmla="*/ 363877 w 4519952"/>
                    <a:gd name="connsiteY139" fmla="*/ 1038225 h 4496940"/>
                    <a:gd name="connsiteX140" fmla="*/ 382927 w 4519952"/>
                    <a:gd name="connsiteY140" fmla="*/ 1009650 h 4496940"/>
                    <a:gd name="connsiteX141" fmla="*/ 440077 w 4519952"/>
                    <a:gd name="connsiteY141" fmla="*/ 904875 h 4496940"/>
                    <a:gd name="connsiteX142" fmla="*/ 478177 w 4519952"/>
                    <a:gd name="connsiteY142" fmla="*/ 857250 h 4496940"/>
                    <a:gd name="connsiteX143" fmla="*/ 497227 w 4519952"/>
                    <a:gd name="connsiteY143" fmla="*/ 828675 h 4496940"/>
                    <a:gd name="connsiteX144" fmla="*/ 535327 w 4519952"/>
                    <a:gd name="connsiteY144" fmla="*/ 800100 h 4496940"/>
                    <a:gd name="connsiteX145" fmla="*/ 602002 w 4519952"/>
                    <a:gd name="connsiteY145" fmla="*/ 733425 h 4496940"/>
                    <a:gd name="connsiteX146" fmla="*/ 668677 w 4519952"/>
                    <a:gd name="connsiteY146" fmla="*/ 676275 h 4496940"/>
                    <a:gd name="connsiteX147" fmla="*/ 697252 w 4519952"/>
                    <a:gd name="connsiteY147" fmla="*/ 657225 h 4496940"/>
                    <a:gd name="connsiteX148" fmla="*/ 840127 w 4519952"/>
                    <a:gd name="connsiteY148" fmla="*/ 533400 h 4496940"/>
                    <a:gd name="connsiteX149" fmla="*/ 887752 w 4519952"/>
                    <a:gd name="connsiteY149" fmla="*/ 504825 h 4496940"/>
                    <a:gd name="connsiteX150" fmla="*/ 1167152 w 4519952"/>
                    <a:gd name="connsiteY150" fmla="*/ 311150 h 4496940"/>
                    <a:gd name="connsiteX151" fmla="*/ 1268752 w 4519952"/>
                    <a:gd name="connsiteY151" fmla="*/ 285750 h 4496940"/>
                    <a:gd name="connsiteX152" fmla="*/ 1411627 w 4519952"/>
                    <a:gd name="connsiteY152" fmla="*/ 190500 h 4496940"/>
                    <a:gd name="connsiteX153" fmla="*/ 1449727 w 4519952"/>
                    <a:gd name="connsiteY153" fmla="*/ 161925 h 4496940"/>
                    <a:gd name="connsiteX154" fmla="*/ 1525927 w 4519952"/>
                    <a:gd name="connsiteY154" fmla="*/ 152400 h 4496940"/>
                    <a:gd name="connsiteX155" fmla="*/ 1583077 w 4519952"/>
                    <a:gd name="connsiteY155" fmla="*/ 142875 h 4496940"/>
                    <a:gd name="connsiteX156" fmla="*/ 1716427 w 4519952"/>
                    <a:gd name="connsiteY156" fmla="*/ 123825 h 4496940"/>
                    <a:gd name="connsiteX157" fmla="*/ 1811677 w 4519952"/>
                    <a:gd name="connsiteY157" fmla="*/ 114300 h 4496940"/>
                    <a:gd name="connsiteX158" fmla="*/ 1859302 w 4519952"/>
                    <a:gd name="connsiteY158" fmla="*/ 104775 h 4496940"/>
                    <a:gd name="connsiteX159" fmla="*/ 1916452 w 4519952"/>
                    <a:gd name="connsiteY159" fmla="*/ 95250 h 4496940"/>
                    <a:gd name="connsiteX160" fmla="*/ 2030752 w 4519952"/>
                    <a:gd name="connsiteY160" fmla="*/ 66675 h 4496940"/>
                    <a:gd name="connsiteX161" fmla="*/ 2097427 w 4519952"/>
                    <a:gd name="connsiteY161" fmla="*/ 47625 h 4496940"/>
                    <a:gd name="connsiteX162" fmla="*/ 2164102 w 4519952"/>
                    <a:gd name="connsiteY162" fmla="*/ 38100 h 4496940"/>
                    <a:gd name="connsiteX163" fmla="*/ 2392702 w 45199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59627 w 4519952"/>
                    <a:gd name="connsiteY46" fmla="*/ 1828800 h 4496940"/>
                    <a:gd name="connsiteX47" fmla="*/ 4519952 w 4519952"/>
                    <a:gd name="connsiteY47" fmla="*/ 2181225 h 4496940"/>
                    <a:gd name="connsiteX48" fmla="*/ 4440577 w 4519952"/>
                    <a:gd name="connsiteY48" fmla="*/ 2876550 h 4496940"/>
                    <a:gd name="connsiteX49" fmla="*/ 4383427 w 4519952"/>
                    <a:gd name="connsiteY49" fmla="*/ 2990850 h 4496940"/>
                    <a:gd name="connsiteX50" fmla="*/ 4354852 w 4519952"/>
                    <a:gd name="connsiteY50" fmla="*/ 3057525 h 4496940"/>
                    <a:gd name="connsiteX51" fmla="*/ 4335802 w 4519952"/>
                    <a:gd name="connsiteY51" fmla="*/ 3095625 h 4496940"/>
                    <a:gd name="connsiteX52" fmla="*/ 4278652 w 4519952"/>
                    <a:gd name="connsiteY52" fmla="*/ 3248025 h 4496940"/>
                    <a:gd name="connsiteX53" fmla="*/ 4259602 w 4519952"/>
                    <a:gd name="connsiteY53" fmla="*/ 3276600 h 4496940"/>
                    <a:gd name="connsiteX54" fmla="*/ 4221502 w 4519952"/>
                    <a:gd name="connsiteY54" fmla="*/ 3333750 h 4496940"/>
                    <a:gd name="connsiteX55" fmla="*/ 4211977 w 4519952"/>
                    <a:gd name="connsiteY55" fmla="*/ 3362325 h 4496940"/>
                    <a:gd name="connsiteX56" fmla="*/ 4183402 w 4519952"/>
                    <a:gd name="connsiteY56" fmla="*/ 3400425 h 4496940"/>
                    <a:gd name="connsiteX57" fmla="*/ 4164352 w 4519952"/>
                    <a:gd name="connsiteY57" fmla="*/ 3429000 h 4496940"/>
                    <a:gd name="connsiteX58" fmla="*/ 4088152 w 4519952"/>
                    <a:gd name="connsiteY58" fmla="*/ 3495675 h 4496940"/>
                    <a:gd name="connsiteX59" fmla="*/ 4059577 w 4519952"/>
                    <a:gd name="connsiteY59" fmla="*/ 3533775 h 4496940"/>
                    <a:gd name="connsiteX60" fmla="*/ 4002427 w 4519952"/>
                    <a:gd name="connsiteY60" fmla="*/ 3600450 h 4496940"/>
                    <a:gd name="connsiteX61" fmla="*/ 3983377 w 4519952"/>
                    <a:gd name="connsiteY61" fmla="*/ 3629025 h 4496940"/>
                    <a:gd name="connsiteX62" fmla="*/ 3954802 w 4519952"/>
                    <a:gd name="connsiteY62" fmla="*/ 3648075 h 4496940"/>
                    <a:gd name="connsiteX63" fmla="*/ 3907177 w 4519952"/>
                    <a:gd name="connsiteY63" fmla="*/ 3686175 h 4496940"/>
                    <a:gd name="connsiteX64" fmla="*/ 3869077 w 4519952"/>
                    <a:gd name="connsiteY64" fmla="*/ 3724275 h 4496940"/>
                    <a:gd name="connsiteX65" fmla="*/ 3792877 w 4519952"/>
                    <a:gd name="connsiteY65" fmla="*/ 3781425 h 4496940"/>
                    <a:gd name="connsiteX66" fmla="*/ 3783352 w 4519952"/>
                    <a:gd name="connsiteY66" fmla="*/ 3810000 h 4496940"/>
                    <a:gd name="connsiteX67" fmla="*/ 3745252 w 4519952"/>
                    <a:gd name="connsiteY67" fmla="*/ 3819525 h 4496940"/>
                    <a:gd name="connsiteX68" fmla="*/ 3678577 w 4519952"/>
                    <a:gd name="connsiteY68" fmla="*/ 3848100 h 4496940"/>
                    <a:gd name="connsiteX69" fmla="*/ 3659527 w 4519952"/>
                    <a:gd name="connsiteY69" fmla="*/ 3971925 h 4496940"/>
                    <a:gd name="connsiteX70" fmla="*/ 3630952 w 4519952"/>
                    <a:gd name="connsiteY70" fmla="*/ 4010025 h 4496940"/>
                    <a:gd name="connsiteX71" fmla="*/ 3621427 w 4519952"/>
                    <a:gd name="connsiteY71" fmla="*/ 4038600 h 4496940"/>
                    <a:gd name="connsiteX72" fmla="*/ 3554752 w 4519952"/>
                    <a:gd name="connsiteY72" fmla="*/ 4095750 h 4496940"/>
                    <a:gd name="connsiteX73" fmla="*/ 3516652 w 4519952"/>
                    <a:gd name="connsiteY73" fmla="*/ 4114800 h 4496940"/>
                    <a:gd name="connsiteX74" fmla="*/ 3497602 w 4519952"/>
                    <a:gd name="connsiteY74" fmla="*/ 4143375 h 4496940"/>
                    <a:gd name="connsiteX75" fmla="*/ 3383302 w 4519952"/>
                    <a:gd name="connsiteY75" fmla="*/ 4210050 h 4496940"/>
                    <a:gd name="connsiteX76" fmla="*/ 3335677 w 4519952"/>
                    <a:gd name="connsiteY76" fmla="*/ 4238625 h 4496940"/>
                    <a:gd name="connsiteX77" fmla="*/ 3288052 w 4519952"/>
                    <a:gd name="connsiteY77" fmla="*/ 4248150 h 4496940"/>
                    <a:gd name="connsiteX78" fmla="*/ 3240427 w 4519952"/>
                    <a:gd name="connsiteY78" fmla="*/ 4267200 h 4496940"/>
                    <a:gd name="connsiteX79" fmla="*/ 3068977 w 4519952"/>
                    <a:gd name="connsiteY79" fmla="*/ 4286250 h 4496940"/>
                    <a:gd name="connsiteX80" fmla="*/ 2935627 w 4519952"/>
                    <a:gd name="connsiteY80" fmla="*/ 4333875 h 4496940"/>
                    <a:gd name="connsiteX81" fmla="*/ 2811802 w 4519952"/>
                    <a:gd name="connsiteY81" fmla="*/ 4371975 h 4496940"/>
                    <a:gd name="connsiteX82" fmla="*/ 2745127 w 4519952"/>
                    <a:gd name="connsiteY82" fmla="*/ 4410075 h 4496940"/>
                    <a:gd name="connsiteX83" fmla="*/ 2697502 w 4519952"/>
                    <a:gd name="connsiteY83" fmla="*/ 4429125 h 4496940"/>
                    <a:gd name="connsiteX84" fmla="*/ 2640352 w 4519952"/>
                    <a:gd name="connsiteY84" fmla="*/ 4457700 h 4496940"/>
                    <a:gd name="connsiteX85" fmla="*/ 2583202 w 4519952"/>
                    <a:gd name="connsiteY85" fmla="*/ 4467225 h 4496940"/>
                    <a:gd name="connsiteX86" fmla="*/ 2545102 w 4519952"/>
                    <a:gd name="connsiteY86" fmla="*/ 4486275 h 4496940"/>
                    <a:gd name="connsiteX87" fmla="*/ 2306977 w 4519952"/>
                    <a:gd name="connsiteY87" fmla="*/ 4476750 h 4496940"/>
                    <a:gd name="connsiteX88" fmla="*/ 2202202 w 4519952"/>
                    <a:gd name="connsiteY88" fmla="*/ 4457700 h 4496940"/>
                    <a:gd name="connsiteX89" fmla="*/ 2126002 w 4519952"/>
                    <a:gd name="connsiteY89" fmla="*/ 4429125 h 4496940"/>
                    <a:gd name="connsiteX90" fmla="*/ 1935502 w 4519952"/>
                    <a:gd name="connsiteY90" fmla="*/ 4400550 h 4496940"/>
                    <a:gd name="connsiteX91" fmla="*/ 1821202 w 4519952"/>
                    <a:gd name="connsiteY91" fmla="*/ 4371975 h 4496940"/>
                    <a:gd name="connsiteX92" fmla="*/ 1754527 w 4519952"/>
                    <a:gd name="connsiteY92" fmla="*/ 4352925 h 4496940"/>
                    <a:gd name="connsiteX93" fmla="*/ 1687852 w 4519952"/>
                    <a:gd name="connsiteY93" fmla="*/ 4343400 h 4496940"/>
                    <a:gd name="connsiteX94" fmla="*/ 1573552 w 4519952"/>
                    <a:gd name="connsiteY94" fmla="*/ 4305300 h 4496940"/>
                    <a:gd name="connsiteX95" fmla="*/ 1402102 w 4519952"/>
                    <a:gd name="connsiteY95" fmla="*/ 4276725 h 4496940"/>
                    <a:gd name="connsiteX96" fmla="*/ 1287802 w 4519952"/>
                    <a:gd name="connsiteY96" fmla="*/ 4229100 h 4496940"/>
                    <a:gd name="connsiteX97" fmla="*/ 1221127 w 4519952"/>
                    <a:gd name="connsiteY97" fmla="*/ 4200525 h 4496940"/>
                    <a:gd name="connsiteX98" fmla="*/ 1144927 w 4519952"/>
                    <a:gd name="connsiteY98" fmla="*/ 4171950 h 4496940"/>
                    <a:gd name="connsiteX99" fmla="*/ 1087777 w 4519952"/>
                    <a:gd name="connsiteY99" fmla="*/ 4143375 h 4496940"/>
                    <a:gd name="connsiteX100" fmla="*/ 1030627 w 4519952"/>
                    <a:gd name="connsiteY100" fmla="*/ 4124325 h 4496940"/>
                    <a:gd name="connsiteX101" fmla="*/ 925852 w 4519952"/>
                    <a:gd name="connsiteY101" fmla="*/ 4067175 h 4496940"/>
                    <a:gd name="connsiteX102" fmla="*/ 830602 w 4519952"/>
                    <a:gd name="connsiteY102" fmla="*/ 3981450 h 4496940"/>
                    <a:gd name="connsiteX103" fmla="*/ 763927 w 4519952"/>
                    <a:gd name="connsiteY103" fmla="*/ 3914775 h 4496940"/>
                    <a:gd name="connsiteX104" fmla="*/ 725827 w 4519952"/>
                    <a:gd name="connsiteY104" fmla="*/ 3876675 h 4496940"/>
                    <a:gd name="connsiteX105" fmla="*/ 697252 w 4519952"/>
                    <a:gd name="connsiteY105" fmla="*/ 3838575 h 4496940"/>
                    <a:gd name="connsiteX106" fmla="*/ 640102 w 4519952"/>
                    <a:gd name="connsiteY106" fmla="*/ 3781425 h 4496940"/>
                    <a:gd name="connsiteX107" fmla="*/ 611527 w 4519952"/>
                    <a:gd name="connsiteY107" fmla="*/ 3733800 h 4496940"/>
                    <a:gd name="connsiteX108" fmla="*/ 554377 w 4519952"/>
                    <a:gd name="connsiteY108" fmla="*/ 3657600 h 4496940"/>
                    <a:gd name="connsiteX109" fmla="*/ 525802 w 4519952"/>
                    <a:gd name="connsiteY109" fmla="*/ 3609975 h 4496940"/>
                    <a:gd name="connsiteX110" fmla="*/ 497227 w 4519952"/>
                    <a:gd name="connsiteY110" fmla="*/ 3552825 h 4496940"/>
                    <a:gd name="connsiteX111" fmla="*/ 440077 w 4519952"/>
                    <a:gd name="connsiteY111" fmla="*/ 3495675 h 4496940"/>
                    <a:gd name="connsiteX112" fmla="*/ 411502 w 4519952"/>
                    <a:gd name="connsiteY112" fmla="*/ 3448050 h 4496940"/>
                    <a:gd name="connsiteX113" fmla="*/ 278152 w 4519952"/>
                    <a:gd name="connsiteY113" fmla="*/ 3257550 h 4496940"/>
                    <a:gd name="connsiteX114" fmla="*/ 249577 w 4519952"/>
                    <a:gd name="connsiteY114" fmla="*/ 3200400 h 4496940"/>
                    <a:gd name="connsiteX115" fmla="*/ 240052 w 4519952"/>
                    <a:gd name="connsiteY115" fmla="*/ 3162300 h 4496940"/>
                    <a:gd name="connsiteX116" fmla="*/ 221002 w 4519952"/>
                    <a:gd name="connsiteY116" fmla="*/ 3105150 h 4496940"/>
                    <a:gd name="connsiteX117" fmla="*/ 173377 w 4519952"/>
                    <a:gd name="connsiteY117" fmla="*/ 3019425 h 4496940"/>
                    <a:gd name="connsiteX118" fmla="*/ 144802 w 4519952"/>
                    <a:gd name="connsiteY118" fmla="*/ 2924175 h 4496940"/>
                    <a:gd name="connsiteX119" fmla="*/ 68602 w 4519952"/>
                    <a:gd name="connsiteY119" fmla="*/ 2724150 h 4496940"/>
                    <a:gd name="connsiteX120" fmla="*/ 49552 w 4519952"/>
                    <a:gd name="connsiteY120" fmla="*/ 2638425 h 4496940"/>
                    <a:gd name="connsiteX121" fmla="*/ 40027 w 4519952"/>
                    <a:gd name="connsiteY121" fmla="*/ 2562225 h 4496940"/>
                    <a:gd name="connsiteX122" fmla="*/ 30502 w 4519952"/>
                    <a:gd name="connsiteY122" fmla="*/ 2514600 h 4496940"/>
                    <a:gd name="connsiteX123" fmla="*/ 11452 w 4519952"/>
                    <a:gd name="connsiteY123" fmla="*/ 2400300 h 4496940"/>
                    <a:gd name="connsiteX124" fmla="*/ 20977 w 4519952"/>
                    <a:gd name="connsiteY124" fmla="*/ 1905000 h 4496940"/>
                    <a:gd name="connsiteX125" fmla="*/ 30502 w 4519952"/>
                    <a:gd name="connsiteY125" fmla="*/ 1838325 h 4496940"/>
                    <a:gd name="connsiteX126" fmla="*/ 49552 w 4519952"/>
                    <a:gd name="connsiteY126" fmla="*/ 1781175 h 4496940"/>
                    <a:gd name="connsiteX127" fmla="*/ 59077 w 4519952"/>
                    <a:gd name="connsiteY127" fmla="*/ 1743075 h 4496940"/>
                    <a:gd name="connsiteX128" fmla="*/ 78127 w 4519952"/>
                    <a:gd name="connsiteY128" fmla="*/ 1685925 h 4496940"/>
                    <a:gd name="connsiteX129" fmla="*/ 87652 w 4519952"/>
                    <a:gd name="connsiteY129" fmla="*/ 1638300 h 4496940"/>
                    <a:gd name="connsiteX130" fmla="*/ 106702 w 4519952"/>
                    <a:gd name="connsiteY130" fmla="*/ 1590675 h 4496940"/>
                    <a:gd name="connsiteX131" fmla="*/ 135277 w 4519952"/>
                    <a:gd name="connsiteY131" fmla="*/ 1504950 h 4496940"/>
                    <a:gd name="connsiteX132" fmla="*/ 154327 w 4519952"/>
                    <a:gd name="connsiteY132" fmla="*/ 1419225 h 4496940"/>
                    <a:gd name="connsiteX133" fmla="*/ 230527 w 4519952"/>
                    <a:gd name="connsiteY133" fmla="*/ 1276350 h 4496940"/>
                    <a:gd name="connsiteX134" fmla="*/ 240052 w 4519952"/>
                    <a:gd name="connsiteY134" fmla="*/ 1247775 h 4496940"/>
                    <a:gd name="connsiteX135" fmla="*/ 268627 w 4519952"/>
                    <a:gd name="connsiteY135" fmla="*/ 1200150 h 4496940"/>
                    <a:gd name="connsiteX136" fmla="*/ 287677 w 4519952"/>
                    <a:gd name="connsiteY136" fmla="*/ 1152525 h 4496940"/>
                    <a:gd name="connsiteX137" fmla="*/ 316252 w 4519952"/>
                    <a:gd name="connsiteY137" fmla="*/ 1114425 h 4496940"/>
                    <a:gd name="connsiteX138" fmla="*/ 363877 w 4519952"/>
                    <a:gd name="connsiteY138" fmla="*/ 1038225 h 4496940"/>
                    <a:gd name="connsiteX139" fmla="*/ 382927 w 4519952"/>
                    <a:gd name="connsiteY139" fmla="*/ 1009650 h 4496940"/>
                    <a:gd name="connsiteX140" fmla="*/ 440077 w 4519952"/>
                    <a:gd name="connsiteY140" fmla="*/ 904875 h 4496940"/>
                    <a:gd name="connsiteX141" fmla="*/ 478177 w 4519952"/>
                    <a:gd name="connsiteY141" fmla="*/ 857250 h 4496940"/>
                    <a:gd name="connsiteX142" fmla="*/ 497227 w 4519952"/>
                    <a:gd name="connsiteY142" fmla="*/ 828675 h 4496940"/>
                    <a:gd name="connsiteX143" fmla="*/ 535327 w 4519952"/>
                    <a:gd name="connsiteY143" fmla="*/ 800100 h 4496940"/>
                    <a:gd name="connsiteX144" fmla="*/ 602002 w 4519952"/>
                    <a:gd name="connsiteY144" fmla="*/ 733425 h 4496940"/>
                    <a:gd name="connsiteX145" fmla="*/ 668677 w 4519952"/>
                    <a:gd name="connsiteY145" fmla="*/ 676275 h 4496940"/>
                    <a:gd name="connsiteX146" fmla="*/ 697252 w 4519952"/>
                    <a:gd name="connsiteY146" fmla="*/ 657225 h 4496940"/>
                    <a:gd name="connsiteX147" fmla="*/ 840127 w 4519952"/>
                    <a:gd name="connsiteY147" fmla="*/ 533400 h 4496940"/>
                    <a:gd name="connsiteX148" fmla="*/ 887752 w 4519952"/>
                    <a:gd name="connsiteY148" fmla="*/ 504825 h 4496940"/>
                    <a:gd name="connsiteX149" fmla="*/ 1167152 w 4519952"/>
                    <a:gd name="connsiteY149" fmla="*/ 311150 h 4496940"/>
                    <a:gd name="connsiteX150" fmla="*/ 1268752 w 4519952"/>
                    <a:gd name="connsiteY150" fmla="*/ 285750 h 4496940"/>
                    <a:gd name="connsiteX151" fmla="*/ 1411627 w 4519952"/>
                    <a:gd name="connsiteY151" fmla="*/ 190500 h 4496940"/>
                    <a:gd name="connsiteX152" fmla="*/ 1449727 w 4519952"/>
                    <a:gd name="connsiteY152" fmla="*/ 161925 h 4496940"/>
                    <a:gd name="connsiteX153" fmla="*/ 1525927 w 4519952"/>
                    <a:gd name="connsiteY153" fmla="*/ 152400 h 4496940"/>
                    <a:gd name="connsiteX154" fmla="*/ 1583077 w 4519952"/>
                    <a:gd name="connsiteY154" fmla="*/ 142875 h 4496940"/>
                    <a:gd name="connsiteX155" fmla="*/ 1716427 w 4519952"/>
                    <a:gd name="connsiteY155" fmla="*/ 123825 h 4496940"/>
                    <a:gd name="connsiteX156" fmla="*/ 1811677 w 4519952"/>
                    <a:gd name="connsiteY156" fmla="*/ 114300 h 4496940"/>
                    <a:gd name="connsiteX157" fmla="*/ 1859302 w 4519952"/>
                    <a:gd name="connsiteY157" fmla="*/ 104775 h 4496940"/>
                    <a:gd name="connsiteX158" fmla="*/ 1916452 w 4519952"/>
                    <a:gd name="connsiteY158" fmla="*/ 95250 h 4496940"/>
                    <a:gd name="connsiteX159" fmla="*/ 2030752 w 4519952"/>
                    <a:gd name="connsiteY159" fmla="*/ 66675 h 4496940"/>
                    <a:gd name="connsiteX160" fmla="*/ 2097427 w 4519952"/>
                    <a:gd name="connsiteY160" fmla="*/ 47625 h 4496940"/>
                    <a:gd name="connsiteX161" fmla="*/ 2164102 w 4519952"/>
                    <a:gd name="connsiteY161" fmla="*/ 38100 h 4496940"/>
                    <a:gd name="connsiteX162" fmla="*/ 2392702 w 4519952"/>
                    <a:gd name="connsiteY162" fmla="*/ 28575 h 4496940"/>
                    <a:gd name="connsiteX0" fmla="*/ 2297452 w 4519983"/>
                    <a:gd name="connsiteY0" fmla="*/ 0 h 4496940"/>
                    <a:gd name="connsiteX1" fmla="*/ 2421277 w 4519983"/>
                    <a:gd name="connsiteY1" fmla="*/ 28575 h 4496940"/>
                    <a:gd name="connsiteX2" fmla="*/ 2497477 w 4519983"/>
                    <a:gd name="connsiteY2" fmla="*/ 47625 h 4496940"/>
                    <a:gd name="connsiteX3" fmla="*/ 2754652 w 4519983"/>
                    <a:gd name="connsiteY3" fmla="*/ 66675 h 4496940"/>
                    <a:gd name="connsiteX4" fmla="*/ 2830852 w 4519983"/>
                    <a:gd name="connsiteY4" fmla="*/ 76200 h 4496940"/>
                    <a:gd name="connsiteX5" fmla="*/ 2916577 w 4519983"/>
                    <a:gd name="connsiteY5" fmla="*/ 85725 h 4496940"/>
                    <a:gd name="connsiteX6" fmla="*/ 2973727 w 4519983"/>
                    <a:gd name="connsiteY6" fmla="*/ 114300 h 4496940"/>
                    <a:gd name="connsiteX7" fmla="*/ 3011827 w 4519983"/>
                    <a:gd name="connsiteY7" fmla="*/ 123825 h 4496940"/>
                    <a:gd name="connsiteX8" fmla="*/ 3135652 w 4519983"/>
                    <a:gd name="connsiteY8" fmla="*/ 171450 h 4496940"/>
                    <a:gd name="connsiteX9" fmla="*/ 3173752 w 4519983"/>
                    <a:gd name="connsiteY9" fmla="*/ 190500 h 4496940"/>
                    <a:gd name="connsiteX10" fmla="*/ 3240427 w 4519983"/>
                    <a:gd name="connsiteY10" fmla="*/ 228600 h 4496940"/>
                    <a:gd name="connsiteX11" fmla="*/ 3269002 w 4519983"/>
                    <a:gd name="connsiteY11" fmla="*/ 238125 h 4496940"/>
                    <a:gd name="connsiteX12" fmla="*/ 3297577 w 4519983"/>
                    <a:gd name="connsiteY12" fmla="*/ 257175 h 4496940"/>
                    <a:gd name="connsiteX13" fmla="*/ 3326152 w 4519983"/>
                    <a:gd name="connsiteY13" fmla="*/ 266700 h 4496940"/>
                    <a:gd name="connsiteX14" fmla="*/ 3354727 w 4519983"/>
                    <a:gd name="connsiteY14" fmla="*/ 285750 h 4496940"/>
                    <a:gd name="connsiteX15" fmla="*/ 3421402 w 4519983"/>
                    <a:gd name="connsiteY15" fmla="*/ 323850 h 4496940"/>
                    <a:gd name="connsiteX16" fmla="*/ 3469027 w 4519983"/>
                    <a:gd name="connsiteY16" fmla="*/ 361950 h 4496940"/>
                    <a:gd name="connsiteX17" fmla="*/ 3516652 w 4519983"/>
                    <a:gd name="connsiteY17" fmla="*/ 390525 h 4496940"/>
                    <a:gd name="connsiteX18" fmla="*/ 3545227 w 4519983"/>
                    <a:gd name="connsiteY18" fmla="*/ 419100 h 4496940"/>
                    <a:gd name="connsiteX19" fmla="*/ 3602377 w 4519983"/>
                    <a:gd name="connsiteY19" fmla="*/ 457200 h 4496940"/>
                    <a:gd name="connsiteX20" fmla="*/ 3630952 w 4519983"/>
                    <a:gd name="connsiteY20" fmla="*/ 485775 h 4496940"/>
                    <a:gd name="connsiteX21" fmla="*/ 3678577 w 4519983"/>
                    <a:gd name="connsiteY21" fmla="*/ 504825 h 4496940"/>
                    <a:gd name="connsiteX22" fmla="*/ 3745252 w 4519983"/>
                    <a:gd name="connsiteY22" fmla="*/ 542925 h 4496940"/>
                    <a:gd name="connsiteX23" fmla="*/ 3811927 w 4519983"/>
                    <a:gd name="connsiteY23" fmla="*/ 581025 h 4496940"/>
                    <a:gd name="connsiteX24" fmla="*/ 3840502 w 4519983"/>
                    <a:gd name="connsiteY24" fmla="*/ 600075 h 4496940"/>
                    <a:gd name="connsiteX25" fmla="*/ 3869077 w 4519983"/>
                    <a:gd name="connsiteY25" fmla="*/ 628650 h 4496940"/>
                    <a:gd name="connsiteX26" fmla="*/ 3907177 w 4519983"/>
                    <a:gd name="connsiteY26" fmla="*/ 647700 h 4496940"/>
                    <a:gd name="connsiteX27" fmla="*/ 3935752 w 4519983"/>
                    <a:gd name="connsiteY27" fmla="*/ 676275 h 4496940"/>
                    <a:gd name="connsiteX28" fmla="*/ 3992902 w 4519983"/>
                    <a:gd name="connsiteY28" fmla="*/ 714375 h 4496940"/>
                    <a:gd name="connsiteX29" fmla="*/ 4050052 w 4519983"/>
                    <a:gd name="connsiteY29" fmla="*/ 790575 h 4496940"/>
                    <a:gd name="connsiteX30" fmla="*/ 4078627 w 4519983"/>
                    <a:gd name="connsiteY30" fmla="*/ 838200 h 4496940"/>
                    <a:gd name="connsiteX31" fmla="*/ 4107202 w 4519983"/>
                    <a:gd name="connsiteY31" fmla="*/ 876300 h 4496940"/>
                    <a:gd name="connsiteX32" fmla="*/ 4116727 w 4519983"/>
                    <a:gd name="connsiteY32" fmla="*/ 904875 h 4496940"/>
                    <a:gd name="connsiteX33" fmla="*/ 4135777 w 4519983"/>
                    <a:gd name="connsiteY33" fmla="*/ 933450 h 4496940"/>
                    <a:gd name="connsiteX34" fmla="*/ 4164352 w 4519983"/>
                    <a:gd name="connsiteY34" fmla="*/ 990600 h 4496940"/>
                    <a:gd name="connsiteX35" fmla="*/ 4173877 w 4519983"/>
                    <a:gd name="connsiteY35" fmla="*/ 1019175 h 4496940"/>
                    <a:gd name="connsiteX36" fmla="*/ 4192927 w 4519983"/>
                    <a:gd name="connsiteY36" fmla="*/ 1057275 h 4496940"/>
                    <a:gd name="connsiteX37" fmla="*/ 4202452 w 4519983"/>
                    <a:gd name="connsiteY37" fmla="*/ 1085850 h 4496940"/>
                    <a:gd name="connsiteX38" fmla="*/ 4250077 w 4519983"/>
                    <a:gd name="connsiteY38" fmla="*/ 1143000 h 4496940"/>
                    <a:gd name="connsiteX39" fmla="*/ 4259602 w 4519983"/>
                    <a:gd name="connsiteY39" fmla="*/ 1190625 h 4496940"/>
                    <a:gd name="connsiteX40" fmla="*/ 4307227 w 4519983"/>
                    <a:gd name="connsiteY40" fmla="*/ 1266825 h 4496940"/>
                    <a:gd name="connsiteX41" fmla="*/ 4345327 w 4519983"/>
                    <a:gd name="connsiteY41" fmla="*/ 1362075 h 4496940"/>
                    <a:gd name="connsiteX42" fmla="*/ 4373902 w 4519983"/>
                    <a:gd name="connsiteY42" fmla="*/ 1428750 h 4496940"/>
                    <a:gd name="connsiteX43" fmla="*/ 4392952 w 4519983"/>
                    <a:gd name="connsiteY43" fmla="*/ 1552575 h 4496940"/>
                    <a:gd name="connsiteX44" fmla="*/ 4402477 w 4519983"/>
                    <a:gd name="connsiteY44" fmla="*/ 1590675 h 4496940"/>
                    <a:gd name="connsiteX45" fmla="*/ 4431052 w 4519983"/>
                    <a:gd name="connsiteY45" fmla="*/ 1685925 h 4496940"/>
                    <a:gd name="connsiteX46" fmla="*/ 4519952 w 4519983"/>
                    <a:gd name="connsiteY46" fmla="*/ 2181225 h 4496940"/>
                    <a:gd name="connsiteX47" fmla="*/ 4440577 w 4519983"/>
                    <a:gd name="connsiteY47" fmla="*/ 2876550 h 4496940"/>
                    <a:gd name="connsiteX48" fmla="*/ 4383427 w 4519983"/>
                    <a:gd name="connsiteY48" fmla="*/ 2990850 h 4496940"/>
                    <a:gd name="connsiteX49" fmla="*/ 4354852 w 4519983"/>
                    <a:gd name="connsiteY49" fmla="*/ 3057525 h 4496940"/>
                    <a:gd name="connsiteX50" fmla="*/ 4335802 w 4519983"/>
                    <a:gd name="connsiteY50" fmla="*/ 3095625 h 4496940"/>
                    <a:gd name="connsiteX51" fmla="*/ 4278652 w 4519983"/>
                    <a:gd name="connsiteY51" fmla="*/ 3248025 h 4496940"/>
                    <a:gd name="connsiteX52" fmla="*/ 4259602 w 4519983"/>
                    <a:gd name="connsiteY52" fmla="*/ 3276600 h 4496940"/>
                    <a:gd name="connsiteX53" fmla="*/ 4221502 w 4519983"/>
                    <a:gd name="connsiteY53" fmla="*/ 3333750 h 4496940"/>
                    <a:gd name="connsiteX54" fmla="*/ 4211977 w 4519983"/>
                    <a:gd name="connsiteY54" fmla="*/ 3362325 h 4496940"/>
                    <a:gd name="connsiteX55" fmla="*/ 4183402 w 4519983"/>
                    <a:gd name="connsiteY55" fmla="*/ 3400425 h 4496940"/>
                    <a:gd name="connsiteX56" fmla="*/ 4164352 w 4519983"/>
                    <a:gd name="connsiteY56" fmla="*/ 3429000 h 4496940"/>
                    <a:gd name="connsiteX57" fmla="*/ 4088152 w 4519983"/>
                    <a:gd name="connsiteY57" fmla="*/ 3495675 h 4496940"/>
                    <a:gd name="connsiteX58" fmla="*/ 4059577 w 4519983"/>
                    <a:gd name="connsiteY58" fmla="*/ 3533775 h 4496940"/>
                    <a:gd name="connsiteX59" fmla="*/ 4002427 w 4519983"/>
                    <a:gd name="connsiteY59" fmla="*/ 3600450 h 4496940"/>
                    <a:gd name="connsiteX60" fmla="*/ 3983377 w 4519983"/>
                    <a:gd name="connsiteY60" fmla="*/ 3629025 h 4496940"/>
                    <a:gd name="connsiteX61" fmla="*/ 3954802 w 4519983"/>
                    <a:gd name="connsiteY61" fmla="*/ 3648075 h 4496940"/>
                    <a:gd name="connsiteX62" fmla="*/ 3907177 w 4519983"/>
                    <a:gd name="connsiteY62" fmla="*/ 3686175 h 4496940"/>
                    <a:gd name="connsiteX63" fmla="*/ 3869077 w 4519983"/>
                    <a:gd name="connsiteY63" fmla="*/ 3724275 h 4496940"/>
                    <a:gd name="connsiteX64" fmla="*/ 3792877 w 4519983"/>
                    <a:gd name="connsiteY64" fmla="*/ 3781425 h 4496940"/>
                    <a:gd name="connsiteX65" fmla="*/ 3783352 w 4519983"/>
                    <a:gd name="connsiteY65" fmla="*/ 3810000 h 4496940"/>
                    <a:gd name="connsiteX66" fmla="*/ 3745252 w 4519983"/>
                    <a:gd name="connsiteY66" fmla="*/ 3819525 h 4496940"/>
                    <a:gd name="connsiteX67" fmla="*/ 3678577 w 4519983"/>
                    <a:gd name="connsiteY67" fmla="*/ 3848100 h 4496940"/>
                    <a:gd name="connsiteX68" fmla="*/ 3659527 w 4519983"/>
                    <a:gd name="connsiteY68" fmla="*/ 3971925 h 4496940"/>
                    <a:gd name="connsiteX69" fmla="*/ 3630952 w 4519983"/>
                    <a:gd name="connsiteY69" fmla="*/ 4010025 h 4496940"/>
                    <a:gd name="connsiteX70" fmla="*/ 3621427 w 4519983"/>
                    <a:gd name="connsiteY70" fmla="*/ 4038600 h 4496940"/>
                    <a:gd name="connsiteX71" fmla="*/ 3554752 w 4519983"/>
                    <a:gd name="connsiteY71" fmla="*/ 4095750 h 4496940"/>
                    <a:gd name="connsiteX72" fmla="*/ 3516652 w 4519983"/>
                    <a:gd name="connsiteY72" fmla="*/ 4114800 h 4496940"/>
                    <a:gd name="connsiteX73" fmla="*/ 3497602 w 4519983"/>
                    <a:gd name="connsiteY73" fmla="*/ 4143375 h 4496940"/>
                    <a:gd name="connsiteX74" fmla="*/ 3383302 w 4519983"/>
                    <a:gd name="connsiteY74" fmla="*/ 4210050 h 4496940"/>
                    <a:gd name="connsiteX75" fmla="*/ 3335677 w 4519983"/>
                    <a:gd name="connsiteY75" fmla="*/ 4238625 h 4496940"/>
                    <a:gd name="connsiteX76" fmla="*/ 3288052 w 4519983"/>
                    <a:gd name="connsiteY76" fmla="*/ 4248150 h 4496940"/>
                    <a:gd name="connsiteX77" fmla="*/ 3240427 w 4519983"/>
                    <a:gd name="connsiteY77" fmla="*/ 4267200 h 4496940"/>
                    <a:gd name="connsiteX78" fmla="*/ 3068977 w 4519983"/>
                    <a:gd name="connsiteY78" fmla="*/ 4286250 h 4496940"/>
                    <a:gd name="connsiteX79" fmla="*/ 2935627 w 4519983"/>
                    <a:gd name="connsiteY79" fmla="*/ 4333875 h 4496940"/>
                    <a:gd name="connsiteX80" fmla="*/ 2811802 w 4519983"/>
                    <a:gd name="connsiteY80" fmla="*/ 4371975 h 4496940"/>
                    <a:gd name="connsiteX81" fmla="*/ 2745127 w 4519983"/>
                    <a:gd name="connsiteY81" fmla="*/ 4410075 h 4496940"/>
                    <a:gd name="connsiteX82" fmla="*/ 2697502 w 4519983"/>
                    <a:gd name="connsiteY82" fmla="*/ 4429125 h 4496940"/>
                    <a:gd name="connsiteX83" fmla="*/ 2640352 w 4519983"/>
                    <a:gd name="connsiteY83" fmla="*/ 4457700 h 4496940"/>
                    <a:gd name="connsiteX84" fmla="*/ 2583202 w 4519983"/>
                    <a:gd name="connsiteY84" fmla="*/ 4467225 h 4496940"/>
                    <a:gd name="connsiteX85" fmla="*/ 2545102 w 4519983"/>
                    <a:gd name="connsiteY85" fmla="*/ 4486275 h 4496940"/>
                    <a:gd name="connsiteX86" fmla="*/ 2306977 w 4519983"/>
                    <a:gd name="connsiteY86" fmla="*/ 4476750 h 4496940"/>
                    <a:gd name="connsiteX87" fmla="*/ 2202202 w 4519983"/>
                    <a:gd name="connsiteY87" fmla="*/ 4457700 h 4496940"/>
                    <a:gd name="connsiteX88" fmla="*/ 2126002 w 4519983"/>
                    <a:gd name="connsiteY88" fmla="*/ 4429125 h 4496940"/>
                    <a:gd name="connsiteX89" fmla="*/ 1935502 w 4519983"/>
                    <a:gd name="connsiteY89" fmla="*/ 4400550 h 4496940"/>
                    <a:gd name="connsiteX90" fmla="*/ 1821202 w 4519983"/>
                    <a:gd name="connsiteY90" fmla="*/ 4371975 h 4496940"/>
                    <a:gd name="connsiteX91" fmla="*/ 1754527 w 4519983"/>
                    <a:gd name="connsiteY91" fmla="*/ 4352925 h 4496940"/>
                    <a:gd name="connsiteX92" fmla="*/ 1687852 w 4519983"/>
                    <a:gd name="connsiteY92" fmla="*/ 4343400 h 4496940"/>
                    <a:gd name="connsiteX93" fmla="*/ 1573552 w 4519983"/>
                    <a:gd name="connsiteY93" fmla="*/ 4305300 h 4496940"/>
                    <a:gd name="connsiteX94" fmla="*/ 1402102 w 4519983"/>
                    <a:gd name="connsiteY94" fmla="*/ 4276725 h 4496940"/>
                    <a:gd name="connsiteX95" fmla="*/ 1287802 w 4519983"/>
                    <a:gd name="connsiteY95" fmla="*/ 4229100 h 4496940"/>
                    <a:gd name="connsiteX96" fmla="*/ 1221127 w 4519983"/>
                    <a:gd name="connsiteY96" fmla="*/ 4200525 h 4496940"/>
                    <a:gd name="connsiteX97" fmla="*/ 1144927 w 4519983"/>
                    <a:gd name="connsiteY97" fmla="*/ 4171950 h 4496940"/>
                    <a:gd name="connsiteX98" fmla="*/ 1087777 w 4519983"/>
                    <a:gd name="connsiteY98" fmla="*/ 4143375 h 4496940"/>
                    <a:gd name="connsiteX99" fmla="*/ 1030627 w 4519983"/>
                    <a:gd name="connsiteY99" fmla="*/ 4124325 h 4496940"/>
                    <a:gd name="connsiteX100" fmla="*/ 925852 w 4519983"/>
                    <a:gd name="connsiteY100" fmla="*/ 4067175 h 4496940"/>
                    <a:gd name="connsiteX101" fmla="*/ 830602 w 4519983"/>
                    <a:gd name="connsiteY101" fmla="*/ 3981450 h 4496940"/>
                    <a:gd name="connsiteX102" fmla="*/ 763927 w 4519983"/>
                    <a:gd name="connsiteY102" fmla="*/ 3914775 h 4496940"/>
                    <a:gd name="connsiteX103" fmla="*/ 725827 w 4519983"/>
                    <a:gd name="connsiteY103" fmla="*/ 3876675 h 4496940"/>
                    <a:gd name="connsiteX104" fmla="*/ 697252 w 4519983"/>
                    <a:gd name="connsiteY104" fmla="*/ 3838575 h 4496940"/>
                    <a:gd name="connsiteX105" fmla="*/ 640102 w 4519983"/>
                    <a:gd name="connsiteY105" fmla="*/ 3781425 h 4496940"/>
                    <a:gd name="connsiteX106" fmla="*/ 611527 w 4519983"/>
                    <a:gd name="connsiteY106" fmla="*/ 3733800 h 4496940"/>
                    <a:gd name="connsiteX107" fmla="*/ 554377 w 4519983"/>
                    <a:gd name="connsiteY107" fmla="*/ 3657600 h 4496940"/>
                    <a:gd name="connsiteX108" fmla="*/ 525802 w 4519983"/>
                    <a:gd name="connsiteY108" fmla="*/ 3609975 h 4496940"/>
                    <a:gd name="connsiteX109" fmla="*/ 497227 w 4519983"/>
                    <a:gd name="connsiteY109" fmla="*/ 3552825 h 4496940"/>
                    <a:gd name="connsiteX110" fmla="*/ 440077 w 4519983"/>
                    <a:gd name="connsiteY110" fmla="*/ 3495675 h 4496940"/>
                    <a:gd name="connsiteX111" fmla="*/ 411502 w 4519983"/>
                    <a:gd name="connsiteY111" fmla="*/ 3448050 h 4496940"/>
                    <a:gd name="connsiteX112" fmla="*/ 278152 w 4519983"/>
                    <a:gd name="connsiteY112" fmla="*/ 3257550 h 4496940"/>
                    <a:gd name="connsiteX113" fmla="*/ 249577 w 4519983"/>
                    <a:gd name="connsiteY113" fmla="*/ 3200400 h 4496940"/>
                    <a:gd name="connsiteX114" fmla="*/ 240052 w 4519983"/>
                    <a:gd name="connsiteY114" fmla="*/ 3162300 h 4496940"/>
                    <a:gd name="connsiteX115" fmla="*/ 221002 w 4519983"/>
                    <a:gd name="connsiteY115" fmla="*/ 3105150 h 4496940"/>
                    <a:gd name="connsiteX116" fmla="*/ 173377 w 4519983"/>
                    <a:gd name="connsiteY116" fmla="*/ 3019425 h 4496940"/>
                    <a:gd name="connsiteX117" fmla="*/ 144802 w 4519983"/>
                    <a:gd name="connsiteY117" fmla="*/ 2924175 h 4496940"/>
                    <a:gd name="connsiteX118" fmla="*/ 68602 w 4519983"/>
                    <a:gd name="connsiteY118" fmla="*/ 2724150 h 4496940"/>
                    <a:gd name="connsiteX119" fmla="*/ 49552 w 4519983"/>
                    <a:gd name="connsiteY119" fmla="*/ 2638425 h 4496940"/>
                    <a:gd name="connsiteX120" fmla="*/ 40027 w 4519983"/>
                    <a:gd name="connsiteY120" fmla="*/ 2562225 h 4496940"/>
                    <a:gd name="connsiteX121" fmla="*/ 30502 w 4519983"/>
                    <a:gd name="connsiteY121" fmla="*/ 2514600 h 4496940"/>
                    <a:gd name="connsiteX122" fmla="*/ 11452 w 4519983"/>
                    <a:gd name="connsiteY122" fmla="*/ 2400300 h 4496940"/>
                    <a:gd name="connsiteX123" fmla="*/ 20977 w 4519983"/>
                    <a:gd name="connsiteY123" fmla="*/ 1905000 h 4496940"/>
                    <a:gd name="connsiteX124" fmla="*/ 30502 w 4519983"/>
                    <a:gd name="connsiteY124" fmla="*/ 1838325 h 4496940"/>
                    <a:gd name="connsiteX125" fmla="*/ 49552 w 4519983"/>
                    <a:gd name="connsiteY125" fmla="*/ 1781175 h 4496940"/>
                    <a:gd name="connsiteX126" fmla="*/ 59077 w 4519983"/>
                    <a:gd name="connsiteY126" fmla="*/ 1743075 h 4496940"/>
                    <a:gd name="connsiteX127" fmla="*/ 78127 w 4519983"/>
                    <a:gd name="connsiteY127" fmla="*/ 1685925 h 4496940"/>
                    <a:gd name="connsiteX128" fmla="*/ 87652 w 4519983"/>
                    <a:gd name="connsiteY128" fmla="*/ 1638300 h 4496940"/>
                    <a:gd name="connsiteX129" fmla="*/ 106702 w 4519983"/>
                    <a:gd name="connsiteY129" fmla="*/ 1590675 h 4496940"/>
                    <a:gd name="connsiteX130" fmla="*/ 135277 w 4519983"/>
                    <a:gd name="connsiteY130" fmla="*/ 1504950 h 4496940"/>
                    <a:gd name="connsiteX131" fmla="*/ 154327 w 4519983"/>
                    <a:gd name="connsiteY131" fmla="*/ 1419225 h 4496940"/>
                    <a:gd name="connsiteX132" fmla="*/ 230527 w 4519983"/>
                    <a:gd name="connsiteY132" fmla="*/ 1276350 h 4496940"/>
                    <a:gd name="connsiteX133" fmla="*/ 240052 w 4519983"/>
                    <a:gd name="connsiteY133" fmla="*/ 1247775 h 4496940"/>
                    <a:gd name="connsiteX134" fmla="*/ 268627 w 4519983"/>
                    <a:gd name="connsiteY134" fmla="*/ 1200150 h 4496940"/>
                    <a:gd name="connsiteX135" fmla="*/ 287677 w 4519983"/>
                    <a:gd name="connsiteY135" fmla="*/ 1152525 h 4496940"/>
                    <a:gd name="connsiteX136" fmla="*/ 316252 w 4519983"/>
                    <a:gd name="connsiteY136" fmla="*/ 1114425 h 4496940"/>
                    <a:gd name="connsiteX137" fmla="*/ 363877 w 4519983"/>
                    <a:gd name="connsiteY137" fmla="*/ 1038225 h 4496940"/>
                    <a:gd name="connsiteX138" fmla="*/ 382927 w 4519983"/>
                    <a:gd name="connsiteY138" fmla="*/ 1009650 h 4496940"/>
                    <a:gd name="connsiteX139" fmla="*/ 440077 w 4519983"/>
                    <a:gd name="connsiteY139" fmla="*/ 904875 h 4496940"/>
                    <a:gd name="connsiteX140" fmla="*/ 478177 w 4519983"/>
                    <a:gd name="connsiteY140" fmla="*/ 857250 h 4496940"/>
                    <a:gd name="connsiteX141" fmla="*/ 497227 w 4519983"/>
                    <a:gd name="connsiteY141" fmla="*/ 828675 h 4496940"/>
                    <a:gd name="connsiteX142" fmla="*/ 535327 w 4519983"/>
                    <a:gd name="connsiteY142" fmla="*/ 800100 h 4496940"/>
                    <a:gd name="connsiteX143" fmla="*/ 602002 w 4519983"/>
                    <a:gd name="connsiteY143" fmla="*/ 733425 h 4496940"/>
                    <a:gd name="connsiteX144" fmla="*/ 668677 w 4519983"/>
                    <a:gd name="connsiteY144" fmla="*/ 676275 h 4496940"/>
                    <a:gd name="connsiteX145" fmla="*/ 697252 w 4519983"/>
                    <a:gd name="connsiteY145" fmla="*/ 657225 h 4496940"/>
                    <a:gd name="connsiteX146" fmla="*/ 840127 w 4519983"/>
                    <a:gd name="connsiteY146" fmla="*/ 533400 h 4496940"/>
                    <a:gd name="connsiteX147" fmla="*/ 887752 w 4519983"/>
                    <a:gd name="connsiteY147" fmla="*/ 504825 h 4496940"/>
                    <a:gd name="connsiteX148" fmla="*/ 1167152 w 4519983"/>
                    <a:gd name="connsiteY148" fmla="*/ 311150 h 4496940"/>
                    <a:gd name="connsiteX149" fmla="*/ 1268752 w 4519983"/>
                    <a:gd name="connsiteY149" fmla="*/ 285750 h 4496940"/>
                    <a:gd name="connsiteX150" fmla="*/ 1411627 w 4519983"/>
                    <a:gd name="connsiteY150" fmla="*/ 190500 h 4496940"/>
                    <a:gd name="connsiteX151" fmla="*/ 1449727 w 4519983"/>
                    <a:gd name="connsiteY151" fmla="*/ 161925 h 4496940"/>
                    <a:gd name="connsiteX152" fmla="*/ 1525927 w 4519983"/>
                    <a:gd name="connsiteY152" fmla="*/ 152400 h 4496940"/>
                    <a:gd name="connsiteX153" fmla="*/ 1583077 w 4519983"/>
                    <a:gd name="connsiteY153" fmla="*/ 142875 h 4496940"/>
                    <a:gd name="connsiteX154" fmla="*/ 1716427 w 4519983"/>
                    <a:gd name="connsiteY154" fmla="*/ 123825 h 4496940"/>
                    <a:gd name="connsiteX155" fmla="*/ 1811677 w 4519983"/>
                    <a:gd name="connsiteY155" fmla="*/ 114300 h 4496940"/>
                    <a:gd name="connsiteX156" fmla="*/ 1859302 w 4519983"/>
                    <a:gd name="connsiteY156" fmla="*/ 104775 h 4496940"/>
                    <a:gd name="connsiteX157" fmla="*/ 1916452 w 4519983"/>
                    <a:gd name="connsiteY157" fmla="*/ 95250 h 4496940"/>
                    <a:gd name="connsiteX158" fmla="*/ 2030752 w 4519983"/>
                    <a:gd name="connsiteY158" fmla="*/ 66675 h 4496940"/>
                    <a:gd name="connsiteX159" fmla="*/ 2097427 w 4519983"/>
                    <a:gd name="connsiteY159" fmla="*/ 47625 h 4496940"/>
                    <a:gd name="connsiteX160" fmla="*/ 2164102 w 4519983"/>
                    <a:gd name="connsiteY160" fmla="*/ 38100 h 4496940"/>
                    <a:gd name="connsiteX161" fmla="*/ 2392702 w 4519983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335802 w 4519987"/>
                    <a:gd name="connsiteY50" fmla="*/ 3095625 h 4496940"/>
                    <a:gd name="connsiteX51" fmla="*/ 4278652 w 4519987"/>
                    <a:gd name="connsiteY51" fmla="*/ 3248025 h 4496940"/>
                    <a:gd name="connsiteX52" fmla="*/ 4259602 w 4519987"/>
                    <a:gd name="connsiteY52" fmla="*/ 3276600 h 4496940"/>
                    <a:gd name="connsiteX53" fmla="*/ 4221502 w 4519987"/>
                    <a:gd name="connsiteY53" fmla="*/ 3333750 h 4496940"/>
                    <a:gd name="connsiteX54" fmla="*/ 4211977 w 4519987"/>
                    <a:gd name="connsiteY54" fmla="*/ 3362325 h 4496940"/>
                    <a:gd name="connsiteX55" fmla="*/ 4183402 w 4519987"/>
                    <a:gd name="connsiteY55" fmla="*/ 3400425 h 4496940"/>
                    <a:gd name="connsiteX56" fmla="*/ 4164352 w 4519987"/>
                    <a:gd name="connsiteY56" fmla="*/ 3429000 h 4496940"/>
                    <a:gd name="connsiteX57" fmla="*/ 4088152 w 4519987"/>
                    <a:gd name="connsiteY57" fmla="*/ 3495675 h 4496940"/>
                    <a:gd name="connsiteX58" fmla="*/ 4059577 w 4519987"/>
                    <a:gd name="connsiteY58" fmla="*/ 3533775 h 4496940"/>
                    <a:gd name="connsiteX59" fmla="*/ 4002427 w 4519987"/>
                    <a:gd name="connsiteY59" fmla="*/ 3600450 h 4496940"/>
                    <a:gd name="connsiteX60" fmla="*/ 3983377 w 4519987"/>
                    <a:gd name="connsiteY60" fmla="*/ 3629025 h 4496940"/>
                    <a:gd name="connsiteX61" fmla="*/ 3954802 w 4519987"/>
                    <a:gd name="connsiteY61" fmla="*/ 3648075 h 4496940"/>
                    <a:gd name="connsiteX62" fmla="*/ 3907177 w 4519987"/>
                    <a:gd name="connsiteY62" fmla="*/ 3686175 h 4496940"/>
                    <a:gd name="connsiteX63" fmla="*/ 3869077 w 4519987"/>
                    <a:gd name="connsiteY63" fmla="*/ 3724275 h 4496940"/>
                    <a:gd name="connsiteX64" fmla="*/ 3792877 w 4519987"/>
                    <a:gd name="connsiteY64" fmla="*/ 3781425 h 4496940"/>
                    <a:gd name="connsiteX65" fmla="*/ 3783352 w 4519987"/>
                    <a:gd name="connsiteY65" fmla="*/ 3810000 h 4496940"/>
                    <a:gd name="connsiteX66" fmla="*/ 3745252 w 4519987"/>
                    <a:gd name="connsiteY66" fmla="*/ 3819525 h 4496940"/>
                    <a:gd name="connsiteX67" fmla="*/ 3678577 w 4519987"/>
                    <a:gd name="connsiteY67" fmla="*/ 3848100 h 4496940"/>
                    <a:gd name="connsiteX68" fmla="*/ 3659527 w 4519987"/>
                    <a:gd name="connsiteY68" fmla="*/ 3971925 h 4496940"/>
                    <a:gd name="connsiteX69" fmla="*/ 3630952 w 4519987"/>
                    <a:gd name="connsiteY69" fmla="*/ 4010025 h 4496940"/>
                    <a:gd name="connsiteX70" fmla="*/ 3621427 w 4519987"/>
                    <a:gd name="connsiteY70" fmla="*/ 4038600 h 4496940"/>
                    <a:gd name="connsiteX71" fmla="*/ 3554752 w 4519987"/>
                    <a:gd name="connsiteY71" fmla="*/ 4095750 h 4496940"/>
                    <a:gd name="connsiteX72" fmla="*/ 3516652 w 4519987"/>
                    <a:gd name="connsiteY72" fmla="*/ 4114800 h 4496940"/>
                    <a:gd name="connsiteX73" fmla="*/ 3497602 w 4519987"/>
                    <a:gd name="connsiteY73" fmla="*/ 4143375 h 4496940"/>
                    <a:gd name="connsiteX74" fmla="*/ 3383302 w 4519987"/>
                    <a:gd name="connsiteY74" fmla="*/ 4210050 h 4496940"/>
                    <a:gd name="connsiteX75" fmla="*/ 3335677 w 4519987"/>
                    <a:gd name="connsiteY75" fmla="*/ 4238625 h 4496940"/>
                    <a:gd name="connsiteX76" fmla="*/ 3288052 w 4519987"/>
                    <a:gd name="connsiteY76" fmla="*/ 4248150 h 4496940"/>
                    <a:gd name="connsiteX77" fmla="*/ 3240427 w 4519987"/>
                    <a:gd name="connsiteY77" fmla="*/ 4267200 h 4496940"/>
                    <a:gd name="connsiteX78" fmla="*/ 3068977 w 4519987"/>
                    <a:gd name="connsiteY78" fmla="*/ 4286250 h 4496940"/>
                    <a:gd name="connsiteX79" fmla="*/ 2935627 w 4519987"/>
                    <a:gd name="connsiteY79" fmla="*/ 4333875 h 4496940"/>
                    <a:gd name="connsiteX80" fmla="*/ 2811802 w 4519987"/>
                    <a:gd name="connsiteY80" fmla="*/ 4371975 h 4496940"/>
                    <a:gd name="connsiteX81" fmla="*/ 2745127 w 4519987"/>
                    <a:gd name="connsiteY81" fmla="*/ 4410075 h 4496940"/>
                    <a:gd name="connsiteX82" fmla="*/ 2697502 w 4519987"/>
                    <a:gd name="connsiteY82" fmla="*/ 4429125 h 4496940"/>
                    <a:gd name="connsiteX83" fmla="*/ 2640352 w 4519987"/>
                    <a:gd name="connsiteY83" fmla="*/ 4457700 h 4496940"/>
                    <a:gd name="connsiteX84" fmla="*/ 2583202 w 4519987"/>
                    <a:gd name="connsiteY84" fmla="*/ 4467225 h 4496940"/>
                    <a:gd name="connsiteX85" fmla="*/ 2545102 w 4519987"/>
                    <a:gd name="connsiteY85" fmla="*/ 4486275 h 4496940"/>
                    <a:gd name="connsiteX86" fmla="*/ 2306977 w 4519987"/>
                    <a:gd name="connsiteY86" fmla="*/ 4476750 h 4496940"/>
                    <a:gd name="connsiteX87" fmla="*/ 2202202 w 4519987"/>
                    <a:gd name="connsiteY87" fmla="*/ 4457700 h 4496940"/>
                    <a:gd name="connsiteX88" fmla="*/ 2126002 w 4519987"/>
                    <a:gd name="connsiteY88" fmla="*/ 4429125 h 4496940"/>
                    <a:gd name="connsiteX89" fmla="*/ 1935502 w 4519987"/>
                    <a:gd name="connsiteY89" fmla="*/ 4400550 h 4496940"/>
                    <a:gd name="connsiteX90" fmla="*/ 1821202 w 4519987"/>
                    <a:gd name="connsiteY90" fmla="*/ 4371975 h 4496940"/>
                    <a:gd name="connsiteX91" fmla="*/ 1754527 w 4519987"/>
                    <a:gd name="connsiteY91" fmla="*/ 4352925 h 4496940"/>
                    <a:gd name="connsiteX92" fmla="*/ 1687852 w 4519987"/>
                    <a:gd name="connsiteY92" fmla="*/ 4343400 h 4496940"/>
                    <a:gd name="connsiteX93" fmla="*/ 1573552 w 4519987"/>
                    <a:gd name="connsiteY93" fmla="*/ 4305300 h 4496940"/>
                    <a:gd name="connsiteX94" fmla="*/ 1402102 w 4519987"/>
                    <a:gd name="connsiteY94" fmla="*/ 4276725 h 4496940"/>
                    <a:gd name="connsiteX95" fmla="*/ 1287802 w 4519987"/>
                    <a:gd name="connsiteY95" fmla="*/ 4229100 h 4496940"/>
                    <a:gd name="connsiteX96" fmla="*/ 1221127 w 4519987"/>
                    <a:gd name="connsiteY96" fmla="*/ 4200525 h 4496940"/>
                    <a:gd name="connsiteX97" fmla="*/ 1144927 w 4519987"/>
                    <a:gd name="connsiteY97" fmla="*/ 4171950 h 4496940"/>
                    <a:gd name="connsiteX98" fmla="*/ 1087777 w 4519987"/>
                    <a:gd name="connsiteY98" fmla="*/ 4143375 h 4496940"/>
                    <a:gd name="connsiteX99" fmla="*/ 1030627 w 4519987"/>
                    <a:gd name="connsiteY99" fmla="*/ 4124325 h 4496940"/>
                    <a:gd name="connsiteX100" fmla="*/ 925852 w 4519987"/>
                    <a:gd name="connsiteY100" fmla="*/ 4067175 h 4496940"/>
                    <a:gd name="connsiteX101" fmla="*/ 830602 w 4519987"/>
                    <a:gd name="connsiteY101" fmla="*/ 3981450 h 4496940"/>
                    <a:gd name="connsiteX102" fmla="*/ 763927 w 4519987"/>
                    <a:gd name="connsiteY102" fmla="*/ 3914775 h 4496940"/>
                    <a:gd name="connsiteX103" fmla="*/ 725827 w 4519987"/>
                    <a:gd name="connsiteY103" fmla="*/ 3876675 h 4496940"/>
                    <a:gd name="connsiteX104" fmla="*/ 697252 w 4519987"/>
                    <a:gd name="connsiteY104" fmla="*/ 3838575 h 4496940"/>
                    <a:gd name="connsiteX105" fmla="*/ 640102 w 4519987"/>
                    <a:gd name="connsiteY105" fmla="*/ 3781425 h 4496940"/>
                    <a:gd name="connsiteX106" fmla="*/ 611527 w 4519987"/>
                    <a:gd name="connsiteY106" fmla="*/ 3733800 h 4496940"/>
                    <a:gd name="connsiteX107" fmla="*/ 554377 w 4519987"/>
                    <a:gd name="connsiteY107" fmla="*/ 3657600 h 4496940"/>
                    <a:gd name="connsiteX108" fmla="*/ 525802 w 4519987"/>
                    <a:gd name="connsiteY108" fmla="*/ 3609975 h 4496940"/>
                    <a:gd name="connsiteX109" fmla="*/ 497227 w 4519987"/>
                    <a:gd name="connsiteY109" fmla="*/ 3552825 h 4496940"/>
                    <a:gd name="connsiteX110" fmla="*/ 440077 w 4519987"/>
                    <a:gd name="connsiteY110" fmla="*/ 3495675 h 4496940"/>
                    <a:gd name="connsiteX111" fmla="*/ 411502 w 4519987"/>
                    <a:gd name="connsiteY111" fmla="*/ 3448050 h 4496940"/>
                    <a:gd name="connsiteX112" fmla="*/ 278152 w 4519987"/>
                    <a:gd name="connsiteY112" fmla="*/ 3257550 h 4496940"/>
                    <a:gd name="connsiteX113" fmla="*/ 249577 w 4519987"/>
                    <a:gd name="connsiteY113" fmla="*/ 3200400 h 4496940"/>
                    <a:gd name="connsiteX114" fmla="*/ 240052 w 4519987"/>
                    <a:gd name="connsiteY114" fmla="*/ 3162300 h 4496940"/>
                    <a:gd name="connsiteX115" fmla="*/ 221002 w 4519987"/>
                    <a:gd name="connsiteY115" fmla="*/ 3105150 h 4496940"/>
                    <a:gd name="connsiteX116" fmla="*/ 173377 w 4519987"/>
                    <a:gd name="connsiteY116" fmla="*/ 3019425 h 4496940"/>
                    <a:gd name="connsiteX117" fmla="*/ 144802 w 4519987"/>
                    <a:gd name="connsiteY117" fmla="*/ 2924175 h 4496940"/>
                    <a:gd name="connsiteX118" fmla="*/ 68602 w 4519987"/>
                    <a:gd name="connsiteY118" fmla="*/ 2724150 h 4496940"/>
                    <a:gd name="connsiteX119" fmla="*/ 49552 w 4519987"/>
                    <a:gd name="connsiteY119" fmla="*/ 2638425 h 4496940"/>
                    <a:gd name="connsiteX120" fmla="*/ 40027 w 4519987"/>
                    <a:gd name="connsiteY120" fmla="*/ 2562225 h 4496940"/>
                    <a:gd name="connsiteX121" fmla="*/ 30502 w 4519987"/>
                    <a:gd name="connsiteY121" fmla="*/ 2514600 h 4496940"/>
                    <a:gd name="connsiteX122" fmla="*/ 11452 w 4519987"/>
                    <a:gd name="connsiteY122" fmla="*/ 2400300 h 4496940"/>
                    <a:gd name="connsiteX123" fmla="*/ 20977 w 4519987"/>
                    <a:gd name="connsiteY123" fmla="*/ 1905000 h 4496940"/>
                    <a:gd name="connsiteX124" fmla="*/ 30502 w 4519987"/>
                    <a:gd name="connsiteY124" fmla="*/ 1838325 h 4496940"/>
                    <a:gd name="connsiteX125" fmla="*/ 49552 w 4519987"/>
                    <a:gd name="connsiteY125" fmla="*/ 1781175 h 4496940"/>
                    <a:gd name="connsiteX126" fmla="*/ 59077 w 4519987"/>
                    <a:gd name="connsiteY126" fmla="*/ 1743075 h 4496940"/>
                    <a:gd name="connsiteX127" fmla="*/ 78127 w 4519987"/>
                    <a:gd name="connsiteY127" fmla="*/ 1685925 h 4496940"/>
                    <a:gd name="connsiteX128" fmla="*/ 87652 w 4519987"/>
                    <a:gd name="connsiteY128" fmla="*/ 1638300 h 4496940"/>
                    <a:gd name="connsiteX129" fmla="*/ 106702 w 4519987"/>
                    <a:gd name="connsiteY129" fmla="*/ 1590675 h 4496940"/>
                    <a:gd name="connsiteX130" fmla="*/ 135277 w 4519987"/>
                    <a:gd name="connsiteY130" fmla="*/ 1504950 h 4496940"/>
                    <a:gd name="connsiteX131" fmla="*/ 154327 w 4519987"/>
                    <a:gd name="connsiteY131" fmla="*/ 1419225 h 4496940"/>
                    <a:gd name="connsiteX132" fmla="*/ 230527 w 4519987"/>
                    <a:gd name="connsiteY132" fmla="*/ 1276350 h 4496940"/>
                    <a:gd name="connsiteX133" fmla="*/ 240052 w 4519987"/>
                    <a:gd name="connsiteY133" fmla="*/ 1247775 h 4496940"/>
                    <a:gd name="connsiteX134" fmla="*/ 268627 w 4519987"/>
                    <a:gd name="connsiteY134" fmla="*/ 1200150 h 4496940"/>
                    <a:gd name="connsiteX135" fmla="*/ 287677 w 4519987"/>
                    <a:gd name="connsiteY135" fmla="*/ 1152525 h 4496940"/>
                    <a:gd name="connsiteX136" fmla="*/ 316252 w 4519987"/>
                    <a:gd name="connsiteY136" fmla="*/ 1114425 h 4496940"/>
                    <a:gd name="connsiteX137" fmla="*/ 363877 w 4519987"/>
                    <a:gd name="connsiteY137" fmla="*/ 1038225 h 4496940"/>
                    <a:gd name="connsiteX138" fmla="*/ 382927 w 4519987"/>
                    <a:gd name="connsiteY138" fmla="*/ 1009650 h 4496940"/>
                    <a:gd name="connsiteX139" fmla="*/ 440077 w 4519987"/>
                    <a:gd name="connsiteY139" fmla="*/ 904875 h 4496940"/>
                    <a:gd name="connsiteX140" fmla="*/ 478177 w 4519987"/>
                    <a:gd name="connsiteY140" fmla="*/ 857250 h 4496940"/>
                    <a:gd name="connsiteX141" fmla="*/ 497227 w 4519987"/>
                    <a:gd name="connsiteY141" fmla="*/ 828675 h 4496940"/>
                    <a:gd name="connsiteX142" fmla="*/ 535327 w 4519987"/>
                    <a:gd name="connsiteY142" fmla="*/ 800100 h 4496940"/>
                    <a:gd name="connsiteX143" fmla="*/ 602002 w 4519987"/>
                    <a:gd name="connsiteY143" fmla="*/ 733425 h 4496940"/>
                    <a:gd name="connsiteX144" fmla="*/ 668677 w 4519987"/>
                    <a:gd name="connsiteY144" fmla="*/ 676275 h 4496940"/>
                    <a:gd name="connsiteX145" fmla="*/ 697252 w 4519987"/>
                    <a:gd name="connsiteY145" fmla="*/ 657225 h 4496940"/>
                    <a:gd name="connsiteX146" fmla="*/ 840127 w 4519987"/>
                    <a:gd name="connsiteY146" fmla="*/ 533400 h 4496940"/>
                    <a:gd name="connsiteX147" fmla="*/ 887752 w 4519987"/>
                    <a:gd name="connsiteY147" fmla="*/ 504825 h 4496940"/>
                    <a:gd name="connsiteX148" fmla="*/ 1167152 w 4519987"/>
                    <a:gd name="connsiteY148" fmla="*/ 311150 h 4496940"/>
                    <a:gd name="connsiteX149" fmla="*/ 1268752 w 4519987"/>
                    <a:gd name="connsiteY149" fmla="*/ 285750 h 4496940"/>
                    <a:gd name="connsiteX150" fmla="*/ 1411627 w 4519987"/>
                    <a:gd name="connsiteY150" fmla="*/ 190500 h 4496940"/>
                    <a:gd name="connsiteX151" fmla="*/ 1449727 w 4519987"/>
                    <a:gd name="connsiteY151" fmla="*/ 161925 h 4496940"/>
                    <a:gd name="connsiteX152" fmla="*/ 1525927 w 4519987"/>
                    <a:gd name="connsiteY152" fmla="*/ 152400 h 4496940"/>
                    <a:gd name="connsiteX153" fmla="*/ 1583077 w 4519987"/>
                    <a:gd name="connsiteY153" fmla="*/ 142875 h 4496940"/>
                    <a:gd name="connsiteX154" fmla="*/ 1716427 w 4519987"/>
                    <a:gd name="connsiteY154" fmla="*/ 123825 h 4496940"/>
                    <a:gd name="connsiteX155" fmla="*/ 1811677 w 4519987"/>
                    <a:gd name="connsiteY155" fmla="*/ 114300 h 4496940"/>
                    <a:gd name="connsiteX156" fmla="*/ 1859302 w 4519987"/>
                    <a:gd name="connsiteY156" fmla="*/ 104775 h 4496940"/>
                    <a:gd name="connsiteX157" fmla="*/ 1916452 w 4519987"/>
                    <a:gd name="connsiteY157" fmla="*/ 95250 h 4496940"/>
                    <a:gd name="connsiteX158" fmla="*/ 2030752 w 4519987"/>
                    <a:gd name="connsiteY158" fmla="*/ 66675 h 4496940"/>
                    <a:gd name="connsiteX159" fmla="*/ 2097427 w 4519987"/>
                    <a:gd name="connsiteY159" fmla="*/ 47625 h 4496940"/>
                    <a:gd name="connsiteX160" fmla="*/ 2164102 w 4519987"/>
                    <a:gd name="connsiteY160" fmla="*/ 38100 h 4496940"/>
                    <a:gd name="connsiteX161" fmla="*/ 2392702 w 4519987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278652 w 4519987"/>
                    <a:gd name="connsiteY50" fmla="*/ 3248025 h 4496940"/>
                    <a:gd name="connsiteX51" fmla="*/ 4259602 w 4519987"/>
                    <a:gd name="connsiteY51" fmla="*/ 3276600 h 4496940"/>
                    <a:gd name="connsiteX52" fmla="*/ 4221502 w 4519987"/>
                    <a:gd name="connsiteY52" fmla="*/ 3333750 h 4496940"/>
                    <a:gd name="connsiteX53" fmla="*/ 4211977 w 4519987"/>
                    <a:gd name="connsiteY53" fmla="*/ 3362325 h 4496940"/>
                    <a:gd name="connsiteX54" fmla="*/ 4183402 w 4519987"/>
                    <a:gd name="connsiteY54" fmla="*/ 3400425 h 4496940"/>
                    <a:gd name="connsiteX55" fmla="*/ 4164352 w 4519987"/>
                    <a:gd name="connsiteY55" fmla="*/ 3429000 h 4496940"/>
                    <a:gd name="connsiteX56" fmla="*/ 4088152 w 4519987"/>
                    <a:gd name="connsiteY56" fmla="*/ 3495675 h 4496940"/>
                    <a:gd name="connsiteX57" fmla="*/ 4059577 w 4519987"/>
                    <a:gd name="connsiteY57" fmla="*/ 3533775 h 4496940"/>
                    <a:gd name="connsiteX58" fmla="*/ 4002427 w 4519987"/>
                    <a:gd name="connsiteY58" fmla="*/ 3600450 h 4496940"/>
                    <a:gd name="connsiteX59" fmla="*/ 3983377 w 4519987"/>
                    <a:gd name="connsiteY59" fmla="*/ 3629025 h 4496940"/>
                    <a:gd name="connsiteX60" fmla="*/ 3954802 w 4519987"/>
                    <a:gd name="connsiteY60" fmla="*/ 3648075 h 4496940"/>
                    <a:gd name="connsiteX61" fmla="*/ 3907177 w 4519987"/>
                    <a:gd name="connsiteY61" fmla="*/ 3686175 h 4496940"/>
                    <a:gd name="connsiteX62" fmla="*/ 3869077 w 4519987"/>
                    <a:gd name="connsiteY62" fmla="*/ 3724275 h 4496940"/>
                    <a:gd name="connsiteX63" fmla="*/ 3792877 w 4519987"/>
                    <a:gd name="connsiteY63" fmla="*/ 3781425 h 4496940"/>
                    <a:gd name="connsiteX64" fmla="*/ 3783352 w 4519987"/>
                    <a:gd name="connsiteY64" fmla="*/ 3810000 h 4496940"/>
                    <a:gd name="connsiteX65" fmla="*/ 3745252 w 4519987"/>
                    <a:gd name="connsiteY65" fmla="*/ 3819525 h 4496940"/>
                    <a:gd name="connsiteX66" fmla="*/ 3678577 w 4519987"/>
                    <a:gd name="connsiteY66" fmla="*/ 3848100 h 4496940"/>
                    <a:gd name="connsiteX67" fmla="*/ 3659527 w 4519987"/>
                    <a:gd name="connsiteY67" fmla="*/ 3971925 h 4496940"/>
                    <a:gd name="connsiteX68" fmla="*/ 3630952 w 4519987"/>
                    <a:gd name="connsiteY68" fmla="*/ 4010025 h 4496940"/>
                    <a:gd name="connsiteX69" fmla="*/ 3621427 w 4519987"/>
                    <a:gd name="connsiteY69" fmla="*/ 4038600 h 4496940"/>
                    <a:gd name="connsiteX70" fmla="*/ 3554752 w 4519987"/>
                    <a:gd name="connsiteY70" fmla="*/ 4095750 h 4496940"/>
                    <a:gd name="connsiteX71" fmla="*/ 3516652 w 4519987"/>
                    <a:gd name="connsiteY71" fmla="*/ 4114800 h 4496940"/>
                    <a:gd name="connsiteX72" fmla="*/ 3497602 w 4519987"/>
                    <a:gd name="connsiteY72" fmla="*/ 4143375 h 4496940"/>
                    <a:gd name="connsiteX73" fmla="*/ 3383302 w 4519987"/>
                    <a:gd name="connsiteY73" fmla="*/ 4210050 h 4496940"/>
                    <a:gd name="connsiteX74" fmla="*/ 3335677 w 4519987"/>
                    <a:gd name="connsiteY74" fmla="*/ 4238625 h 4496940"/>
                    <a:gd name="connsiteX75" fmla="*/ 3288052 w 4519987"/>
                    <a:gd name="connsiteY75" fmla="*/ 4248150 h 4496940"/>
                    <a:gd name="connsiteX76" fmla="*/ 3240427 w 4519987"/>
                    <a:gd name="connsiteY76" fmla="*/ 4267200 h 4496940"/>
                    <a:gd name="connsiteX77" fmla="*/ 3068977 w 4519987"/>
                    <a:gd name="connsiteY77" fmla="*/ 4286250 h 4496940"/>
                    <a:gd name="connsiteX78" fmla="*/ 2935627 w 4519987"/>
                    <a:gd name="connsiteY78" fmla="*/ 4333875 h 4496940"/>
                    <a:gd name="connsiteX79" fmla="*/ 2811802 w 4519987"/>
                    <a:gd name="connsiteY79" fmla="*/ 4371975 h 4496940"/>
                    <a:gd name="connsiteX80" fmla="*/ 2745127 w 4519987"/>
                    <a:gd name="connsiteY80" fmla="*/ 4410075 h 4496940"/>
                    <a:gd name="connsiteX81" fmla="*/ 2697502 w 4519987"/>
                    <a:gd name="connsiteY81" fmla="*/ 4429125 h 4496940"/>
                    <a:gd name="connsiteX82" fmla="*/ 2640352 w 4519987"/>
                    <a:gd name="connsiteY82" fmla="*/ 4457700 h 4496940"/>
                    <a:gd name="connsiteX83" fmla="*/ 2583202 w 4519987"/>
                    <a:gd name="connsiteY83" fmla="*/ 4467225 h 4496940"/>
                    <a:gd name="connsiteX84" fmla="*/ 2545102 w 4519987"/>
                    <a:gd name="connsiteY84" fmla="*/ 4486275 h 4496940"/>
                    <a:gd name="connsiteX85" fmla="*/ 2306977 w 4519987"/>
                    <a:gd name="connsiteY85" fmla="*/ 4476750 h 4496940"/>
                    <a:gd name="connsiteX86" fmla="*/ 2202202 w 4519987"/>
                    <a:gd name="connsiteY86" fmla="*/ 4457700 h 4496940"/>
                    <a:gd name="connsiteX87" fmla="*/ 2126002 w 4519987"/>
                    <a:gd name="connsiteY87" fmla="*/ 4429125 h 4496940"/>
                    <a:gd name="connsiteX88" fmla="*/ 1935502 w 4519987"/>
                    <a:gd name="connsiteY88" fmla="*/ 4400550 h 4496940"/>
                    <a:gd name="connsiteX89" fmla="*/ 1821202 w 4519987"/>
                    <a:gd name="connsiteY89" fmla="*/ 4371975 h 4496940"/>
                    <a:gd name="connsiteX90" fmla="*/ 1754527 w 4519987"/>
                    <a:gd name="connsiteY90" fmla="*/ 4352925 h 4496940"/>
                    <a:gd name="connsiteX91" fmla="*/ 1687852 w 4519987"/>
                    <a:gd name="connsiteY91" fmla="*/ 4343400 h 4496940"/>
                    <a:gd name="connsiteX92" fmla="*/ 1573552 w 4519987"/>
                    <a:gd name="connsiteY92" fmla="*/ 4305300 h 4496940"/>
                    <a:gd name="connsiteX93" fmla="*/ 1402102 w 4519987"/>
                    <a:gd name="connsiteY93" fmla="*/ 4276725 h 4496940"/>
                    <a:gd name="connsiteX94" fmla="*/ 1287802 w 4519987"/>
                    <a:gd name="connsiteY94" fmla="*/ 4229100 h 4496940"/>
                    <a:gd name="connsiteX95" fmla="*/ 1221127 w 4519987"/>
                    <a:gd name="connsiteY95" fmla="*/ 4200525 h 4496940"/>
                    <a:gd name="connsiteX96" fmla="*/ 1144927 w 4519987"/>
                    <a:gd name="connsiteY96" fmla="*/ 4171950 h 4496940"/>
                    <a:gd name="connsiteX97" fmla="*/ 1087777 w 4519987"/>
                    <a:gd name="connsiteY97" fmla="*/ 4143375 h 4496940"/>
                    <a:gd name="connsiteX98" fmla="*/ 1030627 w 4519987"/>
                    <a:gd name="connsiteY98" fmla="*/ 4124325 h 4496940"/>
                    <a:gd name="connsiteX99" fmla="*/ 925852 w 4519987"/>
                    <a:gd name="connsiteY99" fmla="*/ 4067175 h 4496940"/>
                    <a:gd name="connsiteX100" fmla="*/ 830602 w 4519987"/>
                    <a:gd name="connsiteY100" fmla="*/ 3981450 h 4496940"/>
                    <a:gd name="connsiteX101" fmla="*/ 763927 w 4519987"/>
                    <a:gd name="connsiteY101" fmla="*/ 3914775 h 4496940"/>
                    <a:gd name="connsiteX102" fmla="*/ 725827 w 4519987"/>
                    <a:gd name="connsiteY102" fmla="*/ 3876675 h 4496940"/>
                    <a:gd name="connsiteX103" fmla="*/ 697252 w 4519987"/>
                    <a:gd name="connsiteY103" fmla="*/ 3838575 h 4496940"/>
                    <a:gd name="connsiteX104" fmla="*/ 640102 w 4519987"/>
                    <a:gd name="connsiteY104" fmla="*/ 3781425 h 4496940"/>
                    <a:gd name="connsiteX105" fmla="*/ 611527 w 4519987"/>
                    <a:gd name="connsiteY105" fmla="*/ 3733800 h 4496940"/>
                    <a:gd name="connsiteX106" fmla="*/ 554377 w 4519987"/>
                    <a:gd name="connsiteY106" fmla="*/ 3657600 h 4496940"/>
                    <a:gd name="connsiteX107" fmla="*/ 525802 w 4519987"/>
                    <a:gd name="connsiteY107" fmla="*/ 3609975 h 4496940"/>
                    <a:gd name="connsiteX108" fmla="*/ 497227 w 4519987"/>
                    <a:gd name="connsiteY108" fmla="*/ 3552825 h 4496940"/>
                    <a:gd name="connsiteX109" fmla="*/ 440077 w 4519987"/>
                    <a:gd name="connsiteY109" fmla="*/ 3495675 h 4496940"/>
                    <a:gd name="connsiteX110" fmla="*/ 411502 w 4519987"/>
                    <a:gd name="connsiteY110" fmla="*/ 3448050 h 4496940"/>
                    <a:gd name="connsiteX111" fmla="*/ 278152 w 4519987"/>
                    <a:gd name="connsiteY111" fmla="*/ 3257550 h 4496940"/>
                    <a:gd name="connsiteX112" fmla="*/ 249577 w 4519987"/>
                    <a:gd name="connsiteY112" fmla="*/ 3200400 h 4496940"/>
                    <a:gd name="connsiteX113" fmla="*/ 240052 w 4519987"/>
                    <a:gd name="connsiteY113" fmla="*/ 3162300 h 4496940"/>
                    <a:gd name="connsiteX114" fmla="*/ 221002 w 4519987"/>
                    <a:gd name="connsiteY114" fmla="*/ 3105150 h 4496940"/>
                    <a:gd name="connsiteX115" fmla="*/ 173377 w 4519987"/>
                    <a:gd name="connsiteY115" fmla="*/ 3019425 h 4496940"/>
                    <a:gd name="connsiteX116" fmla="*/ 144802 w 4519987"/>
                    <a:gd name="connsiteY116" fmla="*/ 2924175 h 4496940"/>
                    <a:gd name="connsiteX117" fmla="*/ 68602 w 4519987"/>
                    <a:gd name="connsiteY117" fmla="*/ 2724150 h 4496940"/>
                    <a:gd name="connsiteX118" fmla="*/ 49552 w 4519987"/>
                    <a:gd name="connsiteY118" fmla="*/ 2638425 h 4496940"/>
                    <a:gd name="connsiteX119" fmla="*/ 40027 w 4519987"/>
                    <a:gd name="connsiteY119" fmla="*/ 2562225 h 4496940"/>
                    <a:gd name="connsiteX120" fmla="*/ 30502 w 4519987"/>
                    <a:gd name="connsiteY120" fmla="*/ 2514600 h 4496940"/>
                    <a:gd name="connsiteX121" fmla="*/ 11452 w 4519987"/>
                    <a:gd name="connsiteY121" fmla="*/ 2400300 h 4496940"/>
                    <a:gd name="connsiteX122" fmla="*/ 20977 w 4519987"/>
                    <a:gd name="connsiteY122" fmla="*/ 1905000 h 4496940"/>
                    <a:gd name="connsiteX123" fmla="*/ 30502 w 4519987"/>
                    <a:gd name="connsiteY123" fmla="*/ 1838325 h 4496940"/>
                    <a:gd name="connsiteX124" fmla="*/ 49552 w 4519987"/>
                    <a:gd name="connsiteY124" fmla="*/ 1781175 h 4496940"/>
                    <a:gd name="connsiteX125" fmla="*/ 59077 w 4519987"/>
                    <a:gd name="connsiteY125" fmla="*/ 1743075 h 4496940"/>
                    <a:gd name="connsiteX126" fmla="*/ 78127 w 4519987"/>
                    <a:gd name="connsiteY126" fmla="*/ 1685925 h 4496940"/>
                    <a:gd name="connsiteX127" fmla="*/ 87652 w 4519987"/>
                    <a:gd name="connsiteY127" fmla="*/ 1638300 h 4496940"/>
                    <a:gd name="connsiteX128" fmla="*/ 106702 w 4519987"/>
                    <a:gd name="connsiteY128" fmla="*/ 1590675 h 4496940"/>
                    <a:gd name="connsiteX129" fmla="*/ 135277 w 4519987"/>
                    <a:gd name="connsiteY129" fmla="*/ 1504950 h 4496940"/>
                    <a:gd name="connsiteX130" fmla="*/ 154327 w 4519987"/>
                    <a:gd name="connsiteY130" fmla="*/ 1419225 h 4496940"/>
                    <a:gd name="connsiteX131" fmla="*/ 230527 w 4519987"/>
                    <a:gd name="connsiteY131" fmla="*/ 1276350 h 4496940"/>
                    <a:gd name="connsiteX132" fmla="*/ 240052 w 4519987"/>
                    <a:gd name="connsiteY132" fmla="*/ 1247775 h 4496940"/>
                    <a:gd name="connsiteX133" fmla="*/ 268627 w 4519987"/>
                    <a:gd name="connsiteY133" fmla="*/ 1200150 h 4496940"/>
                    <a:gd name="connsiteX134" fmla="*/ 287677 w 4519987"/>
                    <a:gd name="connsiteY134" fmla="*/ 1152525 h 4496940"/>
                    <a:gd name="connsiteX135" fmla="*/ 316252 w 4519987"/>
                    <a:gd name="connsiteY135" fmla="*/ 1114425 h 4496940"/>
                    <a:gd name="connsiteX136" fmla="*/ 363877 w 4519987"/>
                    <a:gd name="connsiteY136" fmla="*/ 1038225 h 4496940"/>
                    <a:gd name="connsiteX137" fmla="*/ 382927 w 4519987"/>
                    <a:gd name="connsiteY137" fmla="*/ 1009650 h 4496940"/>
                    <a:gd name="connsiteX138" fmla="*/ 440077 w 4519987"/>
                    <a:gd name="connsiteY138" fmla="*/ 904875 h 4496940"/>
                    <a:gd name="connsiteX139" fmla="*/ 478177 w 4519987"/>
                    <a:gd name="connsiteY139" fmla="*/ 857250 h 4496940"/>
                    <a:gd name="connsiteX140" fmla="*/ 497227 w 4519987"/>
                    <a:gd name="connsiteY140" fmla="*/ 828675 h 4496940"/>
                    <a:gd name="connsiteX141" fmla="*/ 535327 w 4519987"/>
                    <a:gd name="connsiteY141" fmla="*/ 800100 h 4496940"/>
                    <a:gd name="connsiteX142" fmla="*/ 602002 w 4519987"/>
                    <a:gd name="connsiteY142" fmla="*/ 733425 h 4496940"/>
                    <a:gd name="connsiteX143" fmla="*/ 668677 w 4519987"/>
                    <a:gd name="connsiteY143" fmla="*/ 676275 h 4496940"/>
                    <a:gd name="connsiteX144" fmla="*/ 697252 w 4519987"/>
                    <a:gd name="connsiteY144" fmla="*/ 657225 h 4496940"/>
                    <a:gd name="connsiteX145" fmla="*/ 840127 w 4519987"/>
                    <a:gd name="connsiteY145" fmla="*/ 533400 h 4496940"/>
                    <a:gd name="connsiteX146" fmla="*/ 887752 w 4519987"/>
                    <a:gd name="connsiteY146" fmla="*/ 504825 h 4496940"/>
                    <a:gd name="connsiteX147" fmla="*/ 1167152 w 4519987"/>
                    <a:gd name="connsiteY147" fmla="*/ 311150 h 4496940"/>
                    <a:gd name="connsiteX148" fmla="*/ 1268752 w 4519987"/>
                    <a:gd name="connsiteY148" fmla="*/ 285750 h 4496940"/>
                    <a:gd name="connsiteX149" fmla="*/ 1411627 w 4519987"/>
                    <a:gd name="connsiteY149" fmla="*/ 190500 h 4496940"/>
                    <a:gd name="connsiteX150" fmla="*/ 1449727 w 4519987"/>
                    <a:gd name="connsiteY150" fmla="*/ 161925 h 4496940"/>
                    <a:gd name="connsiteX151" fmla="*/ 1525927 w 4519987"/>
                    <a:gd name="connsiteY151" fmla="*/ 152400 h 4496940"/>
                    <a:gd name="connsiteX152" fmla="*/ 1583077 w 4519987"/>
                    <a:gd name="connsiteY152" fmla="*/ 142875 h 4496940"/>
                    <a:gd name="connsiteX153" fmla="*/ 1716427 w 4519987"/>
                    <a:gd name="connsiteY153" fmla="*/ 123825 h 4496940"/>
                    <a:gd name="connsiteX154" fmla="*/ 1811677 w 4519987"/>
                    <a:gd name="connsiteY154" fmla="*/ 114300 h 4496940"/>
                    <a:gd name="connsiteX155" fmla="*/ 1859302 w 4519987"/>
                    <a:gd name="connsiteY155" fmla="*/ 104775 h 4496940"/>
                    <a:gd name="connsiteX156" fmla="*/ 1916452 w 4519987"/>
                    <a:gd name="connsiteY156" fmla="*/ 95250 h 4496940"/>
                    <a:gd name="connsiteX157" fmla="*/ 2030752 w 4519987"/>
                    <a:gd name="connsiteY157" fmla="*/ 66675 h 4496940"/>
                    <a:gd name="connsiteX158" fmla="*/ 2097427 w 4519987"/>
                    <a:gd name="connsiteY158" fmla="*/ 47625 h 4496940"/>
                    <a:gd name="connsiteX159" fmla="*/ 2164102 w 4519987"/>
                    <a:gd name="connsiteY159" fmla="*/ 38100 h 4496940"/>
                    <a:gd name="connsiteX160" fmla="*/ 2392702 w 4519987"/>
                    <a:gd name="connsiteY16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278652 w 4519987"/>
                    <a:gd name="connsiteY49" fmla="*/ 3248025 h 4496940"/>
                    <a:gd name="connsiteX50" fmla="*/ 4259602 w 4519987"/>
                    <a:gd name="connsiteY50" fmla="*/ 3276600 h 4496940"/>
                    <a:gd name="connsiteX51" fmla="*/ 4221502 w 4519987"/>
                    <a:gd name="connsiteY51" fmla="*/ 3333750 h 4496940"/>
                    <a:gd name="connsiteX52" fmla="*/ 4211977 w 4519987"/>
                    <a:gd name="connsiteY52" fmla="*/ 3362325 h 4496940"/>
                    <a:gd name="connsiteX53" fmla="*/ 4183402 w 4519987"/>
                    <a:gd name="connsiteY53" fmla="*/ 3400425 h 4496940"/>
                    <a:gd name="connsiteX54" fmla="*/ 4164352 w 4519987"/>
                    <a:gd name="connsiteY54" fmla="*/ 3429000 h 4496940"/>
                    <a:gd name="connsiteX55" fmla="*/ 4088152 w 4519987"/>
                    <a:gd name="connsiteY55" fmla="*/ 3495675 h 4496940"/>
                    <a:gd name="connsiteX56" fmla="*/ 4059577 w 4519987"/>
                    <a:gd name="connsiteY56" fmla="*/ 3533775 h 4496940"/>
                    <a:gd name="connsiteX57" fmla="*/ 4002427 w 4519987"/>
                    <a:gd name="connsiteY57" fmla="*/ 3600450 h 4496940"/>
                    <a:gd name="connsiteX58" fmla="*/ 3983377 w 4519987"/>
                    <a:gd name="connsiteY58" fmla="*/ 3629025 h 4496940"/>
                    <a:gd name="connsiteX59" fmla="*/ 3954802 w 4519987"/>
                    <a:gd name="connsiteY59" fmla="*/ 3648075 h 4496940"/>
                    <a:gd name="connsiteX60" fmla="*/ 3907177 w 4519987"/>
                    <a:gd name="connsiteY60" fmla="*/ 3686175 h 4496940"/>
                    <a:gd name="connsiteX61" fmla="*/ 3869077 w 4519987"/>
                    <a:gd name="connsiteY61" fmla="*/ 3724275 h 4496940"/>
                    <a:gd name="connsiteX62" fmla="*/ 3792877 w 4519987"/>
                    <a:gd name="connsiteY62" fmla="*/ 3781425 h 4496940"/>
                    <a:gd name="connsiteX63" fmla="*/ 3783352 w 4519987"/>
                    <a:gd name="connsiteY63" fmla="*/ 3810000 h 4496940"/>
                    <a:gd name="connsiteX64" fmla="*/ 3745252 w 4519987"/>
                    <a:gd name="connsiteY64" fmla="*/ 3819525 h 4496940"/>
                    <a:gd name="connsiteX65" fmla="*/ 3678577 w 4519987"/>
                    <a:gd name="connsiteY65" fmla="*/ 3848100 h 4496940"/>
                    <a:gd name="connsiteX66" fmla="*/ 3659527 w 4519987"/>
                    <a:gd name="connsiteY66" fmla="*/ 3971925 h 4496940"/>
                    <a:gd name="connsiteX67" fmla="*/ 3630952 w 4519987"/>
                    <a:gd name="connsiteY67" fmla="*/ 4010025 h 4496940"/>
                    <a:gd name="connsiteX68" fmla="*/ 3621427 w 4519987"/>
                    <a:gd name="connsiteY68" fmla="*/ 4038600 h 4496940"/>
                    <a:gd name="connsiteX69" fmla="*/ 3554752 w 4519987"/>
                    <a:gd name="connsiteY69" fmla="*/ 4095750 h 4496940"/>
                    <a:gd name="connsiteX70" fmla="*/ 3516652 w 4519987"/>
                    <a:gd name="connsiteY70" fmla="*/ 4114800 h 4496940"/>
                    <a:gd name="connsiteX71" fmla="*/ 3497602 w 4519987"/>
                    <a:gd name="connsiteY71" fmla="*/ 4143375 h 4496940"/>
                    <a:gd name="connsiteX72" fmla="*/ 3383302 w 4519987"/>
                    <a:gd name="connsiteY72" fmla="*/ 4210050 h 4496940"/>
                    <a:gd name="connsiteX73" fmla="*/ 3335677 w 4519987"/>
                    <a:gd name="connsiteY73" fmla="*/ 4238625 h 4496940"/>
                    <a:gd name="connsiteX74" fmla="*/ 3288052 w 4519987"/>
                    <a:gd name="connsiteY74" fmla="*/ 4248150 h 4496940"/>
                    <a:gd name="connsiteX75" fmla="*/ 3240427 w 4519987"/>
                    <a:gd name="connsiteY75" fmla="*/ 4267200 h 4496940"/>
                    <a:gd name="connsiteX76" fmla="*/ 3068977 w 4519987"/>
                    <a:gd name="connsiteY76" fmla="*/ 4286250 h 4496940"/>
                    <a:gd name="connsiteX77" fmla="*/ 2935627 w 4519987"/>
                    <a:gd name="connsiteY77" fmla="*/ 4333875 h 4496940"/>
                    <a:gd name="connsiteX78" fmla="*/ 2811802 w 4519987"/>
                    <a:gd name="connsiteY78" fmla="*/ 4371975 h 4496940"/>
                    <a:gd name="connsiteX79" fmla="*/ 2745127 w 4519987"/>
                    <a:gd name="connsiteY79" fmla="*/ 4410075 h 4496940"/>
                    <a:gd name="connsiteX80" fmla="*/ 2697502 w 4519987"/>
                    <a:gd name="connsiteY80" fmla="*/ 4429125 h 4496940"/>
                    <a:gd name="connsiteX81" fmla="*/ 2640352 w 4519987"/>
                    <a:gd name="connsiteY81" fmla="*/ 4457700 h 4496940"/>
                    <a:gd name="connsiteX82" fmla="*/ 2583202 w 4519987"/>
                    <a:gd name="connsiteY82" fmla="*/ 4467225 h 4496940"/>
                    <a:gd name="connsiteX83" fmla="*/ 2545102 w 4519987"/>
                    <a:gd name="connsiteY83" fmla="*/ 4486275 h 4496940"/>
                    <a:gd name="connsiteX84" fmla="*/ 2306977 w 4519987"/>
                    <a:gd name="connsiteY84" fmla="*/ 4476750 h 4496940"/>
                    <a:gd name="connsiteX85" fmla="*/ 2202202 w 4519987"/>
                    <a:gd name="connsiteY85" fmla="*/ 4457700 h 4496940"/>
                    <a:gd name="connsiteX86" fmla="*/ 2126002 w 4519987"/>
                    <a:gd name="connsiteY86" fmla="*/ 4429125 h 4496940"/>
                    <a:gd name="connsiteX87" fmla="*/ 1935502 w 4519987"/>
                    <a:gd name="connsiteY87" fmla="*/ 4400550 h 4496940"/>
                    <a:gd name="connsiteX88" fmla="*/ 1821202 w 4519987"/>
                    <a:gd name="connsiteY88" fmla="*/ 4371975 h 4496940"/>
                    <a:gd name="connsiteX89" fmla="*/ 1754527 w 4519987"/>
                    <a:gd name="connsiteY89" fmla="*/ 4352925 h 4496940"/>
                    <a:gd name="connsiteX90" fmla="*/ 1687852 w 4519987"/>
                    <a:gd name="connsiteY90" fmla="*/ 4343400 h 4496940"/>
                    <a:gd name="connsiteX91" fmla="*/ 1573552 w 4519987"/>
                    <a:gd name="connsiteY91" fmla="*/ 4305300 h 4496940"/>
                    <a:gd name="connsiteX92" fmla="*/ 1402102 w 4519987"/>
                    <a:gd name="connsiteY92" fmla="*/ 4276725 h 4496940"/>
                    <a:gd name="connsiteX93" fmla="*/ 1287802 w 4519987"/>
                    <a:gd name="connsiteY93" fmla="*/ 4229100 h 4496940"/>
                    <a:gd name="connsiteX94" fmla="*/ 1221127 w 4519987"/>
                    <a:gd name="connsiteY94" fmla="*/ 4200525 h 4496940"/>
                    <a:gd name="connsiteX95" fmla="*/ 1144927 w 4519987"/>
                    <a:gd name="connsiteY95" fmla="*/ 4171950 h 4496940"/>
                    <a:gd name="connsiteX96" fmla="*/ 1087777 w 4519987"/>
                    <a:gd name="connsiteY96" fmla="*/ 4143375 h 4496940"/>
                    <a:gd name="connsiteX97" fmla="*/ 1030627 w 4519987"/>
                    <a:gd name="connsiteY97" fmla="*/ 4124325 h 4496940"/>
                    <a:gd name="connsiteX98" fmla="*/ 925852 w 4519987"/>
                    <a:gd name="connsiteY98" fmla="*/ 4067175 h 4496940"/>
                    <a:gd name="connsiteX99" fmla="*/ 830602 w 4519987"/>
                    <a:gd name="connsiteY99" fmla="*/ 3981450 h 4496940"/>
                    <a:gd name="connsiteX100" fmla="*/ 763927 w 4519987"/>
                    <a:gd name="connsiteY100" fmla="*/ 3914775 h 4496940"/>
                    <a:gd name="connsiteX101" fmla="*/ 725827 w 4519987"/>
                    <a:gd name="connsiteY101" fmla="*/ 3876675 h 4496940"/>
                    <a:gd name="connsiteX102" fmla="*/ 697252 w 4519987"/>
                    <a:gd name="connsiteY102" fmla="*/ 3838575 h 4496940"/>
                    <a:gd name="connsiteX103" fmla="*/ 640102 w 4519987"/>
                    <a:gd name="connsiteY103" fmla="*/ 3781425 h 4496940"/>
                    <a:gd name="connsiteX104" fmla="*/ 611527 w 4519987"/>
                    <a:gd name="connsiteY104" fmla="*/ 3733800 h 4496940"/>
                    <a:gd name="connsiteX105" fmla="*/ 554377 w 4519987"/>
                    <a:gd name="connsiteY105" fmla="*/ 3657600 h 4496940"/>
                    <a:gd name="connsiteX106" fmla="*/ 525802 w 4519987"/>
                    <a:gd name="connsiteY106" fmla="*/ 3609975 h 4496940"/>
                    <a:gd name="connsiteX107" fmla="*/ 497227 w 4519987"/>
                    <a:gd name="connsiteY107" fmla="*/ 3552825 h 4496940"/>
                    <a:gd name="connsiteX108" fmla="*/ 440077 w 4519987"/>
                    <a:gd name="connsiteY108" fmla="*/ 3495675 h 4496940"/>
                    <a:gd name="connsiteX109" fmla="*/ 411502 w 4519987"/>
                    <a:gd name="connsiteY109" fmla="*/ 3448050 h 4496940"/>
                    <a:gd name="connsiteX110" fmla="*/ 278152 w 4519987"/>
                    <a:gd name="connsiteY110" fmla="*/ 3257550 h 4496940"/>
                    <a:gd name="connsiteX111" fmla="*/ 249577 w 4519987"/>
                    <a:gd name="connsiteY111" fmla="*/ 3200400 h 4496940"/>
                    <a:gd name="connsiteX112" fmla="*/ 240052 w 4519987"/>
                    <a:gd name="connsiteY112" fmla="*/ 3162300 h 4496940"/>
                    <a:gd name="connsiteX113" fmla="*/ 221002 w 4519987"/>
                    <a:gd name="connsiteY113" fmla="*/ 3105150 h 4496940"/>
                    <a:gd name="connsiteX114" fmla="*/ 173377 w 4519987"/>
                    <a:gd name="connsiteY114" fmla="*/ 3019425 h 4496940"/>
                    <a:gd name="connsiteX115" fmla="*/ 144802 w 4519987"/>
                    <a:gd name="connsiteY115" fmla="*/ 2924175 h 4496940"/>
                    <a:gd name="connsiteX116" fmla="*/ 68602 w 4519987"/>
                    <a:gd name="connsiteY116" fmla="*/ 2724150 h 4496940"/>
                    <a:gd name="connsiteX117" fmla="*/ 49552 w 4519987"/>
                    <a:gd name="connsiteY117" fmla="*/ 2638425 h 4496940"/>
                    <a:gd name="connsiteX118" fmla="*/ 40027 w 4519987"/>
                    <a:gd name="connsiteY118" fmla="*/ 2562225 h 4496940"/>
                    <a:gd name="connsiteX119" fmla="*/ 30502 w 4519987"/>
                    <a:gd name="connsiteY119" fmla="*/ 2514600 h 4496940"/>
                    <a:gd name="connsiteX120" fmla="*/ 11452 w 4519987"/>
                    <a:gd name="connsiteY120" fmla="*/ 2400300 h 4496940"/>
                    <a:gd name="connsiteX121" fmla="*/ 20977 w 4519987"/>
                    <a:gd name="connsiteY121" fmla="*/ 1905000 h 4496940"/>
                    <a:gd name="connsiteX122" fmla="*/ 30502 w 4519987"/>
                    <a:gd name="connsiteY122" fmla="*/ 1838325 h 4496940"/>
                    <a:gd name="connsiteX123" fmla="*/ 49552 w 4519987"/>
                    <a:gd name="connsiteY123" fmla="*/ 1781175 h 4496940"/>
                    <a:gd name="connsiteX124" fmla="*/ 59077 w 4519987"/>
                    <a:gd name="connsiteY124" fmla="*/ 1743075 h 4496940"/>
                    <a:gd name="connsiteX125" fmla="*/ 78127 w 4519987"/>
                    <a:gd name="connsiteY125" fmla="*/ 1685925 h 4496940"/>
                    <a:gd name="connsiteX126" fmla="*/ 87652 w 4519987"/>
                    <a:gd name="connsiteY126" fmla="*/ 1638300 h 4496940"/>
                    <a:gd name="connsiteX127" fmla="*/ 106702 w 4519987"/>
                    <a:gd name="connsiteY127" fmla="*/ 1590675 h 4496940"/>
                    <a:gd name="connsiteX128" fmla="*/ 135277 w 4519987"/>
                    <a:gd name="connsiteY128" fmla="*/ 1504950 h 4496940"/>
                    <a:gd name="connsiteX129" fmla="*/ 154327 w 4519987"/>
                    <a:gd name="connsiteY129" fmla="*/ 1419225 h 4496940"/>
                    <a:gd name="connsiteX130" fmla="*/ 230527 w 4519987"/>
                    <a:gd name="connsiteY130" fmla="*/ 1276350 h 4496940"/>
                    <a:gd name="connsiteX131" fmla="*/ 240052 w 4519987"/>
                    <a:gd name="connsiteY131" fmla="*/ 1247775 h 4496940"/>
                    <a:gd name="connsiteX132" fmla="*/ 268627 w 4519987"/>
                    <a:gd name="connsiteY132" fmla="*/ 1200150 h 4496940"/>
                    <a:gd name="connsiteX133" fmla="*/ 287677 w 4519987"/>
                    <a:gd name="connsiteY133" fmla="*/ 1152525 h 4496940"/>
                    <a:gd name="connsiteX134" fmla="*/ 316252 w 4519987"/>
                    <a:gd name="connsiteY134" fmla="*/ 1114425 h 4496940"/>
                    <a:gd name="connsiteX135" fmla="*/ 363877 w 4519987"/>
                    <a:gd name="connsiteY135" fmla="*/ 1038225 h 4496940"/>
                    <a:gd name="connsiteX136" fmla="*/ 382927 w 4519987"/>
                    <a:gd name="connsiteY136" fmla="*/ 1009650 h 4496940"/>
                    <a:gd name="connsiteX137" fmla="*/ 440077 w 4519987"/>
                    <a:gd name="connsiteY137" fmla="*/ 904875 h 4496940"/>
                    <a:gd name="connsiteX138" fmla="*/ 478177 w 4519987"/>
                    <a:gd name="connsiteY138" fmla="*/ 857250 h 4496940"/>
                    <a:gd name="connsiteX139" fmla="*/ 497227 w 4519987"/>
                    <a:gd name="connsiteY139" fmla="*/ 828675 h 4496940"/>
                    <a:gd name="connsiteX140" fmla="*/ 535327 w 4519987"/>
                    <a:gd name="connsiteY140" fmla="*/ 800100 h 4496940"/>
                    <a:gd name="connsiteX141" fmla="*/ 602002 w 4519987"/>
                    <a:gd name="connsiteY141" fmla="*/ 733425 h 4496940"/>
                    <a:gd name="connsiteX142" fmla="*/ 668677 w 4519987"/>
                    <a:gd name="connsiteY142" fmla="*/ 676275 h 4496940"/>
                    <a:gd name="connsiteX143" fmla="*/ 697252 w 4519987"/>
                    <a:gd name="connsiteY143" fmla="*/ 657225 h 4496940"/>
                    <a:gd name="connsiteX144" fmla="*/ 840127 w 4519987"/>
                    <a:gd name="connsiteY144" fmla="*/ 533400 h 4496940"/>
                    <a:gd name="connsiteX145" fmla="*/ 887752 w 4519987"/>
                    <a:gd name="connsiteY145" fmla="*/ 504825 h 4496940"/>
                    <a:gd name="connsiteX146" fmla="*/ 1167152 w 4519987"/>
                    <a:gd name="connsiteY146" fmla="*/ 311150 h 4496940"/>
                    <a:gd name="connsiteX147" fmla="*/ 1268752 w 4519987"/>
                    <a:gd name="connsiteY147" fmla="*/ 285750 h 4496940"/>
                    <a:gd name="connsiteX148" fmla="*/ 1411627 w 4519987"/>
                    <a:gd name="connsiteY148" fmla="*/ 190500 h 4496940"/>
                    <a:gd name="connsiteX149" fmla="*/ 1449727 w 4519987"/>
                    <a:gd name="connsiteY149" fmla="*/ 161925 h 4496940"/>
                    <a:gd name="connsiteX150" fmla="*/ 1525927 w 4519987"/>
                    <a:gd name="connsiteY150" fmla="*/ 152400 h 4496940"/>
                    <a:gd name="connsiteX151" fmla="*/ 1583077 w 4519987"/>
                    <a:gd name="connsiteY151" fmla="*/ 142875 h 4496940"/>
                    <a:gd name="connsiteX152" fmla="*/ 1716427 w 4519987"/>
                    <a:gd name="connsiteY152" fmla="*/ 123825 h 4496940"/>
                    <a:gd name="connsiteX153" fmla="*/ 1811677 w 4519987"/>
                    <a:gd name="connsiteY153" fmla="*/ 114300 h 4496940"/>
                    <a:gd name="connsiteX154" fmla="*/ 1859302 w 4519987"/>
                    <a:gd name="connsiteY154" fmla="*/ 104775 h 4496940"/>
                    <a:gd name="connsiteX155" fmla="*/ 1916452 w 4519987"/>
                    <a:gd name="connsiteY155" fmla="*/ 95250 h 4496940"/>
                    <a:gd name="connsiteX156" fmla="*/ 2030752 w 4519987"/>
                    <a:gd name="connsiteY156" fmla="*/ 66675 h 4496940"/>
                    <a:gd name="connsiteX157" fmla="*/ 2097427 w 4519987"/>
                    <a:gd name="connsiteY157" fmla="*/ 47625 h 4496940"/>
                    <a:gd name="connsiteX158" fmla="*/ 2164102 w 4519987"/>
                    <a:gd name="connsiteY158" fmla="*/ 38100 h 4496940"/>
                    <a:gd name="connsiteX159" fmla="*/ 2392702 w 4519987"/>
                    <a:gd name="connsiteY15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50052 w 4519987"/>
                    <a:gd name="connsiteY28" fmla="*/ 790575 h 4496940"/>
                    <a:gd name="connsiteX29" fmla="*/ 4078627 w 4519987"/>
                    <a:gd name="connsiteY29" fmla="*/ 838200 h 4496940"/>
                    <a:gd name="connsiteX30" fmla="*/ 4107202 w 4519987"/>
                    <a:gd name="connsiteY30" fmla="*/ 876300 h 4496940"/>
                    <a:gd name="connsiteX31" fmla="*/ 4116727 w 4519987"/>
                    <a:gd name="connsiteY31" fmla="*/ 904875 h 4496940"/>
                    <a:gd name="connsiteX32" fmla="*/ 4135777 w 4519987"/>
                    <a:gd name="connsiteY32" fmla="*/ 933450 h 4496940"/>
                    <a:gd name="connsiteX33" fmla="*/ 4164352 w 4519987"/>
                    <a:gd name="connsiteY33" fmla="*/ 990600 h 4496940"/>
                    <a:gd name="connsiteX34" fmla="*/ 4173877 w 4519987"/>
                    <a:gd name="connsiteY34" fmla="*/ 1019175 h 4496940"/>
                    <a:gd name="connsiteX35" fmla="*/ 4192927 w 4519987"/>
                    <a:gd name="connsiteY35" fmla="*/ 1057275 h 4496940"/>
                    <a:gd name="connsiteX36" fmla="*/ 4202452 w 4519987"/>
                    <a:gd name="connsiteY36" fmla="*/ 1085850 h 4496940"/>
                    <a:gd name="connsiteX37" fmla="*/ 4250077 w 4519987"/>
                    <a:gd name="connsiteY37" fmla="*/ 1143000 h 4496940"/>
                    <a:gd name="connsiteX38" fmla="*/ 4259602 w 4519987"/>
                    <a:gd name="connsiteY38" fmla="*/ 1190625 h 4496940"/>
                    <a:gd name="connsiteX39" fmla="*/ 4307227 w 4519987"/>
                    <a:gd name="connsiteY39" fmla="*/ 1266825 h 4496940"/>
                    <a:gd name="connsiteX40" fmla="*/ 4345327 w 4519987"/>
                    <a:gd name="connsiteY40" fmla="*/ 1362075 h 4496940"/>
                    <a:gd name="connsiteX41" fmla="*/ 4373902 w 4519987"/>
                    <a:gd name="connsiteY41" fmla="*/ 1428750 h 4496940"/>
                    <a:gd name="connsiteX42" fmla="*/ 4392952 w 4519987"/>
                    <a:gd name="connsiteY42" fmla="*/ 1552575 h 4496940"/>
                    <a:gd name="connsiteX43" fmla="*/ 4402477 w 4519987"/>
                    <a:gd name="connsiteY43" fmla="*/ 1590675 h 4496940"/>
                    <a:gd name="connsiteX44" fmla="*/ 4431052 w 4519987"/>
                    <a:gd name="connsiteY44" fmla="*/ 1685925 h 4496940"/>
                    <a:gd name="connsiteX45" fmla="*/ 4519952 w 4519987"/>
                    <a:gd name="connsiteY45" fmla="*/ 2181225 h 4496940"/>
                    <a:gd name="connsiteX46" fmla="*/ 4446927 w 4519987"/>
                    <a:gd name="connsiteY46" fmla="*/ 2768600 h 4496940"/>
                    <a:gd name="connsiteX47" fmla="*/ 4383427 w 4519987"/>
                    <a:gd name="connsiteY47" fmla="*/ 2990850 h 4496940"/>
                    <a:gd name="connsiteX48" fmla="*/ 4278652 w 4519987"/>
                    <a:gd name="connsiteY48" fmla="*/ 3248025 h 4496940"/>
                    <a:gd name="connsiteX49" fmla="*/ 4259602 w 4519987"/>
                    <a:gd name="connsiteY49" fmla="*/ 3276600 h 4496940"/>
                    <a:gd name="connsiteX50" fmla="*/ 4221502 w 4519987"/>
                    <a:gd name="connsiteY50" fmla="*/ 3333750 h 4496940"/>
                    <a:gd name="connsiteX51" fmla="*/ 4211977 w 4519987"/>
                    <a:gd name="connsiteY51" fmla="*/ 3362325 h 4496940"/>
                    <a:gd name="connsiteX52" fmla="*/ 4183402 w 4519987"/>
                    <a:gd name="connsiteY52" fmla="*/ 3400425 h 4496940"/>
                    <a:gd name="connsiteX53" fmla="*/ 4164352 w 4519987"/>
                    <a:gd name="connsiteY53" fmla="*/ 3429000 h 4496940"/>
                    <a:gd name="connsiteX54" fmla="*/ 4088152 w 4519987"/>
                    <a:gd name="connsiteY54" fmla="*/ 3495675 h 4496940"/>
                    <a:gd name="connsiteX55" fmla="*/ 4059577 w 4519987"/>
                    <a:gd name="connsiteY55" fmla="*/ 3533775 h 4496940"/>
                    <a:gd name="connsiteX56" fmla="*/ 4002427 w 4519987"/>
                    <a:gd name="connsiteY56" fmla="*/ 3600450 h 4496940"/>
                    <a:gd name="connsiteX57" fmla="*/ 3983377 w 4519987"/>
                    <a:gd name="connsiteY57" fmla="*/ 3629025 h 4496940"/>
                    <a:gd name="connsiteX58" fmla="*/ 3954802 w 4519987"/>
                    <a:gd name="connsiteY58" fmla="*/ 3648075 h 4496940"/>
                    <a:gd name="connsiteX59" fmla="*/ 3907177 w 4519987"/>
                    <a:gd name="connsiteY59" fmla="*/ 3686175 h 4496940"/>
                    <a:gd name="connsiteX60" fmla="*/ 3869077 w 4519987"/>
                    <a:gd name="connsiteY60" fmla="*/ 3724275 h 4496940"/>
                    <a:gd name="connsiteX61" fmla="*/ 3792877 w 4519987"/>
                    <a:gd name="connsiteY61" fmla="*/ 3781425 h 4496940"/>
                    <a:gd name="connsiteX62" fmla="*/ 3783352 w 4519987"/>
                    <a:gd name="connsiteY62" fmla="*/ 3810000 h 4496940"/>
                    <a:gd name="connsiteX63" fmla="*/ 3745252 w 4519987"/>
                    <a:gd name="connsiteY63" fmla="*/ 3819525 h 4496940"/>
                    <a:gd name="connsiteX64" fmla="*/ 3678577 w 4519987"/>
                    <a:gd name="connsiteY64" fmla="*/ 3848100 h 4496940"/>
                    <a:gd name="connsiteX65" fmla="*/ 3659527 w 4519987"/>
                    <a:gd name="connsiteY65" fmla="*/ 3971925 h 4496940"/>
                    <a:gd name="connsiteX66" fmla="*/ 3630952 w 4519987"/>
                    <a:gd name="connsiteY66" fmla="*/ 4010025 h 4496940"/>
                    <a:gd name="connsiteX67" fmla="*/ 3621427 w 4519987"/>
                    <a:gd name="connsiteY67" fmla="*/ 4038600 h 4496940"/>
                    <a:gd name="connsiteX68" fmla="*/ 3554752 w 4519987"/>
                    <a:gd name="connsiteY68" fmla="*/ 4095750 h 4496940"/>
                    <a:gd name="connsiteX69" fmla="*/ 3516652 w 4519987"/>
                    <a:gd name="connsiteY69" fmla="*/ 4114800 h 4496940"/>
                    <a:gd name="connsiteX70" fmla="*/ 3497602 w 4519987"/>
                    <a:gd name="connsiteY70" fmla="*/ 4143375 h 4496940"/>
                    <a:gd name="connsiteX71" fmla="*/ 3383302 w 4519987"/>
                    <a:gd name="connsiteY71" fmla="*/ 4210050 h 4496940"/>
                    <a:gd name="connsiteX72" fmla="*/ 3335677 w 4519987"/>
                    <a:gd name="connsiteY72" fmla="*/ 4238625 h 4496940"/>
                    <a:gd name="connsiteX73" fmla="*/ 3288052 w 4519987"/>
                    <a:gd name="connsiteY73" fmla="*/ 4248150 h 4496940"/>
                    <a:gd name="connsiteX74" fmla="*/ 3240427 w 4519987"/>
                    <a:gd name="connsiteY74" fmla="*/ 4267200 h 4496940"/>
                    <a:gd name="connsiteX75" fmla="*/ 3068977 w 4519987"/>
                    <a:gd name="connsiteY75" fmla="*/ 4286250 h 4496940"/>
                    <a:gd name="connsiteX76" fmla="*/ 2935627 w 4519987"/>
                    <a:gd name="connsiteY76" fmla="*/ 4333875 h 4496940"/>
                    <a:gd name="connsiteX77" fmla="*/ 2811802 w 4519987"/>
                    <a:gd name="connsiteY77" fmla="*/ 4371975 h 4496940"/>
                    <a:gd name="connsiteX78" fmla="*/ 2745127 w 4519987"/>
                    <a:gd name="connsiteY78" fmla="*/ 4410075 h 4496940"/>
                    <a:gd name="connsiteX79" fmla="*/ 2697502 w 4519987"/>
                    <a:gd name="connsiteY79" fmla="*/ 4429125 h 4496940"/>
                    <a:gd name="connsiteX80" fmla="*/ 2640352 w 4519987"/>
                    <a:gd name="connsiteY80" fmla="*/ 4457700 h 4496940"/>
                    <a:gd name="connsiteX81" fmla="*/ 2583202 w 4519987"/>
                    <a:gd name="connsiteY81" fmla="*/ 4467225 h 4496940"/>
                    <a:gd name="connsiteX82" fmla="*/ 2545102 w 4519987"/>
                    <a:gd name="connsiteY82" fmla="*/ 4486275 h 4496940"/>
                    <a:gd name="connsiteX83" fmla="*/ 2306977 w 4519987"/>
                    <a:gd name="connsiteY83" fmla="*/ 4476750 h 4496940"/>
                    <a:gd name="connsiteX84" fmla="*/ 2202202 w 4519987"/>
                    <a:gd name="connsiteY84" fmla="*/ 4457700 h 4496940"/>
                    <a:gd name="connsiteX85" fmla="*/ 2126002 w 4519987"/>
                    <a:gd name="connsiteY85" fmla="*/ 4429125 h 4496940"/>
                    <a:gd name="connsiteX86" fmla="*/ 1935502 w 4519987"/>
                    <a:gd name="connsiteY86" fmla="*/ 4400550 h 4496940"/>
                    <a:gd name="connsiteX87" fmla="*/ 1821202 w 4519987"/>
                    <a:gd name="connsiteY87" fmla="*/ 4371975 h 4496940"/>
                    <a:gd name="connsiteX88" fmla="*/ 1754527 w 4519987"/>
                    <a:gd name="connsiteY88" fmla="*/ 4352925 h 4496940"/>
                    <a:gd name="connsiteX89" fmla="*/ 1687852 w 4519987"/>
                    <a:gd name="connsiteY89" fmla="*/ 4343400 h 4496940"/>
                    <a:gd name="connsiteX90" fmla="*/ 1573552 w 4519987"/>
                    <a:gd name="connsiteY90" fmla="*/ 4305300 h 4496940"/>
                    <a:gd name="connsiteX91" fmla="*/ 1402102 w 4519987"/>
                    <a:gd name="connsiteY91" fmla="*/ 4276725 h 4496940"/>
                    <a:gd name="connsiteX92" fmla="*/ 1287802 w 4519987"/>
                    <a:gd name="connsiteY92" fmla="*/ 4229100 h 4496940"/>
                    <a:gd name="connsiteX93" fmla="*/ 1221127 w 4519987"/>
                    <a:gd name="connsiteY93" fmla="*/ 4200525 h 4496940"/>
                    <a:gd name="connsiteX94" fmla="*/ 1144927 w 4519987"/>
                    <a:gd name="connsiteY94" fmla="*/ 4171950 h 4496940"/>
                    <a:gd name="connsiteX95" fmla="*/ 1087777 w 4519987"/>
                    <a:gd name="connsiteY95" fmla="*/ 4143375 h 4496940"/>
                    <a:gd name="connsiteX96" fmla="*/ 1030627 w 4519987"/>
                    <a:gd name="connsiteY96" fmla="*/ 4124325 h 4496940"/>
                    <a:gd name="connsiteX97" fmla="*/ 925852 w 4519987"/>
                    <a:gd name="connsiteY97" fmla="*/ 4067175 h 4496940"/>
                    <a:gd name="connsiteX98" fmla="*/ 830602 w 4519987"/>
                    <a:gd name="connsiteY98" fmla="*/ 3981450 h 4496940"/>
                    <a:gd name="connsiteX99" fmla="*/ 763927 w 4519987"/>
                    <a:gd name="connsiteY99" fmla="*/ 3914775 h 4496940"/>
                    <a:gd name="connsiteX100" fmla="*/ 725827 w 4519987"/>
                    <a:gd name="connsiteY100" fmla="*/ 3876675 h 4496940"/>
                    <a:gd name="connsiteX101" fmla="*/ 697252 w 4519987"/>
                    <a:gd name="connsiteY101" fmla="*/ 3838575 h 4496940"/>
                    <a:gd name="connsiteX102" fmla="*/ 640102 w 4519987"/>
                    <a:gd name="connsiteY102" fmla="*/ 3781425 h 4496940"/>
                    <a:gd name="connsiteX103" fmla="*/ 611527 w 4519987"/>
                    <a:gd name="connsiteY103" fmla="*/ 3733800 h 4496940"/>
                    <a:gd name="connsiteX104" fmla="*/ 554377 w 4519987"/>
                    <a:gd name="connsiteY104" fmla="*/ 3657600 h 4496940"/>
                    <a:gd name="connsiteX105" fmla="*/ 525802 w 4519987"/>
                    <a:gd name="connsiteY105" fmla="*/ 3609975 h 4496940"/>
                    <a:gd name="connsiteX106" fmla="*/ 497227 w 4519987"/>
                    <a:gd name="connsiteY106" fmla="*/ 3552825 h 4496940"/>
                    <a:gd name="connsiteX107" fmla="*/ 440077 w 4519987"/>
                    <a:gd name="connsiteY107" fmla="*/ 3495675 h 4496940"/>
                    <a:gd name="connsiteX108" fmla="*/ 411502 w 4519987"/>
                    <a:gd name="connsiteY108" fmla="*/ 3448050 h 4496940"/>
                    <a:gd name="connsiteX109" fmla="*/ 278152 w 4519987"/>
                    <a:gd name="connsiteY109" fmla="*/ 3257550 h 4496940"/>
                    <a:gd name="connsiteX110" fmla="*/ 249577 w 4519987"/>
                    <a:gd name="connsiteY110" fmla="*/ 3200400 h 4496940"/>
                    <a:gd name="connsiteX111" fmla="*/ 240052 w 4519987"/>
                    <a:gd name="connsiteY111" fmla="*/ 3162300 h 4496940"/>
                    <a:gd name="connsiteX112" fmla="*/ 221002 w 4519987"/>
                    <a:gd name="connsiteY112" fmla="*/ 3105150 h 4496940"/>
                    <a:gd name="connsiteX113" fmla="*/ 173377 w 4519987"/>
                    <a:gd name="connsiteY113" fmla="*/ 3019425 h 4496940"/>
                    <a:gd name="connsiteX114" fmla="*/ 144802 w 4519987"/>
                    <a:gd name="connsiteY114" fmla="*/ 2924175 h 4496940"/>
                    <a:gd name="connsiteX115" fmla="*/ 68602 w 4519987"/>
                    <a:gd name="connsiteY115" fmla="*/ 2724150 h 4496940"/>
                    <a:gd name="connsiteX116" fmla="*/ 49552 w 4519987"/>
                    <a:gd name="connsiteY116" fmla="*/ 2638425 h 4496940"/>
                    <a:gd name="connsiteX117" fmla="*/ 40027 w 4519987"/>
                    <a:gd name="connsiteY117" fmla="*/ 2562225 h 4496940"/>
                    <a:gd name="connsiteX118" fmla="*/ 30502 w 4519987"/>
                    <a:gd name="connsiteY118" fmla="*/ 2514600 h 4496940"/>
                    <a:gd name="connsiteX119" fmla="*/ 11452 w 4519987"/>
                    <a:gd name="connsiteY119" fmla="*/ 2400300 h 4496940"/>
                    <a:gd name="connsiteX120" fmla="*/ 20977 w 4519987"/>
                    <a:gd name="connsiteY120" fmla="*/ 1905000 h 4496940"/>
                    <a:gd name="connsiteX121" fmla="*/ 30502 w 4519987"/>
                    <a:gd name="connsiteY121" fmla="*/ 1838325 h 4496940"/>
                    <a:gd name="connsiteX122" fmla="*/ 49552 w 4519987"/>
                    <a:gd name="connsiteY122" fmla="*/ 1781175 h 4496940"/>
                    <a:gd name="connsiteX123" fmla="*/ 59077 w 4519987"/>
                    <a:gd name="connsiteY123" fmla="*/ 1743075 h 4496940"/>
                    <a:gd name="connsiteX124" fmla="*/ 78127 w 4519987"/>
                    <a:gd name="connsiteY124" fmla="*/ 1685925 h 4496940"/>
                    <a:gd name="connsiteX125" fmla="*/ 87652 w 4519987"/>
                    <a:gd name="connsiteY125" fmla="*/ 1638300 h 4496940"/>
                    <a:gd name="connsiteX126" fmla="*/ 106702 w 4519987"/>
                    <a:gd name="connsiteY126" fmla="*/ 1590675 h 4496940"/>
                    <a:gd name="connsiteX127" fmla="*/ 135277 w 4519987"/>
                    <a:gd name="connsiteY127" fmla="*/ 1504950 h 4496940"/>
                    <a:gd name="connsiteX128" fmla="*/ 154327 w 4519987"/>
                    <a:gd name="connsiteY128" fmla="*/ 1419225 h 4496940"/>
                    <a:gd name="connsiteX129" fmla="*/ 230527 w 4519987"/>
                    <a:gd name="connsiteY129" fmla="*/ 1276350 h 4496940"/>
                    <a:gd name="connsiteX130" fmla="*/ 240052 w 4519987"/>
                    <a:gd name="connsiteY130" fmla="*/ 1247775 h 4496940"/>
                    <a:gd name="connsiteX131" fmla="*/ 268627 w 4519987"/>
                    <a:gd name="connsiteY131" fmla="*/ 1200150 h 4496940"/>
                    <a:gd name="connsiteX132" fmla="*/ 287677 w 4519987"/>
                    <a:gd name="connsiteY132" fmla="*/ 1152525 h 4496940"/>
                    <a:gd name="connsiteX133" fmla="*/ 316252 w 4519987"/>
                    <a:gd name="connsiteY133" fmla="*/ 1114425 h 4496940"/>
                    <a:gd name="connsiteX134" fmla="*/ 363877 w 4519987"/>
                    <a:gd name="connsiteY134" fmla="*/ 1038225 h 4496940"/>
                    <a:gd name="connsiteX135" fmla="*/ 382927 w 4519987"/>
                    <a:gd name="connsiteY135" fmla="*/ 1009650 h 4496940"/>
                    <a:gd name="connsiteX136" fmla="*/ 440077 w 4519987"/>
                    <a:gd name="connsiteY136" fmla="*/ 904875 h 4496940"/>
                    <a:gd name="connsiteX137" fmla="*/ 478177 w 4519987"/>
                    <a:gd name="connsiteY137" fmla="*/ 857250 h 4496940"/>
                    <a:gd name="connsiteX138" fmla="*/ 497227 w 4519987"/>
                    <a:gd name="connsiteY138" fmla="*/ 828675 h 4496940"/>
                    <a:gd name="connsiteX139" fmla="*/ 535327 w 4519987"/>
                    <a:gd name="connsiteY139" fmla="*/ 800100 h 4496940"/>
                    <a:gd name="connsiteX140" fmla="*/ 602002 w 4519987"/>
                    <a:gd name="connsiteY140" fmla="*/ 733425 h 4496940"/>
                    <a:gd name="connsiteX141" fmla="*/ 668677 w 4519987"/>
                    <a:gd name="connsiteY141" fmla="*/ 676275 h 4496940"/>
                    <a:gd name="connsiteX142" fmla="*/ 697252 w 4519987"/>
                    <a:gd name="connsiteY142" fmla="*/ 657225 h 4496940"/>
                    <a:gd name="connsiteX143" fmla="*/ 840127 w 4519987"/>
                    <a:gd name="connsiteY143" fmla="*/ 533400 h 4496940"/>
                    <a:gd name="connsiteX144" fmla="*/ 887752 w 4519987"/>
                    <a:gd name="connsiteY144" fmla="*/ 504825 h 4496940"/>
                    <a:gd name="connsiteX145" fmla="*/ 1167152 w 4519987"/>
                    <a:gd name="connsiteY145" fmla="*/ 311150 h 4496940"/>
                    <a:gd name="connsiteX146" fmla="*/ 1268752 w 4519987"/>
                    <a:gd name="connsiteY146" fmla="*/ 285750 h 4496940"/>
                    <a:gd name="connsiteX147" fmla="*/ 1411627 w 4519987"/>
                    <a:gd name="connsiteY147" fmla="*/ 190500 h 4496940"/>
                    <a:gd name="connsiteX148" fmla="*/ 1449727 w 4519987"/>
                    <a:gd name="connsiteY148" fmla="*/ 161925 h 4496940"/>
                    <a:gd name="connsiteX149" fmla="*/ 1525927 w 4519987"/>
                    <a:gd name="connsiteY149" fmla="*/ 152400 h 4496940"/>
                    <a:gd name="connsiteX150" fmla="*/ 1583077 w 4519987"/>
                    <a:gd name="connsiteY150" fmla="*/ 142875 h 4496940"/>
                    <a:gd name="connsiteX151" fmla="*/ 1716427 w 4519987"/>
                    <a:gd name="connsiteY151" fmla="*/ 123825 h 4496940"/>
                    <a:gd name="connsiteX152" fmla="*/ 1811677 w 4519987"/>
                    <a:gd name="connsiteY152" fmla="*/ 114300 h 4496940"/>
                    <a:gd name="connsiteX153" fmla="*/ 1859302 w 4519987"/>
                    <a:gd name="connsiteY153" fmla="*/ 104775 h 4496940"/>
                    <a:gd name="connsiteX154" fmla="*/ 1916452 w 4519987"/>
                    <a:gd name="connsiteY154" fmla="*/ 95250 h 4496940"/>
                    <a:gd name="connsiteX155" fmla="*/ 2030752 w 4519987"/>
                    <a:gd name="connsiteY155" fmla="*/ 66675 h 4496940"/>
                    <a:gd name="connsiteX156" fmla="*/ 2097427 w 4519987"/>
                    <a:gd name="connsiteY156" fmla="*/ 47625 h 4496940"/>
                    <a:gd name="connsiteX157" fmla="*/ 2164102 w 4519987"/>
                    <a:gd name="connsiteY157" fmla="*/ 38100 h 4496940"/>
                    <a:gd name="connsiteX158" fmla="*/ 2392702 w 4519987"/>
                    <a:gd name="connsiteY15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16727 w 4519987"/>
                    <a:gd name="connsiteY30" fmla="*/ 904875 h 4496940"/>
                    <a:gd name="connsiteX31" fmla="*/ 4135777 w 4519987"/>
                    <a:gd name="connsiteY31" fmla="*/ 933450 h 4496940"/>
                    <a:gd name="connsiteX32" fmla="*/ 4164352 w 4519987"/>
                    <a:gd name="connsiteY32" fmla="*/ 990600 h 4496940"/>
                    <a:gd name="connsiteX33" fmla="*/ 4173877 w 4519987"/>
                    <a:gd name="connsiteY33" fmla="*/ 1019175 h 4496940"/>
                    <a:gd name="connsiteX34" fmla="*/ 4192927 w 4519987"/>
                    <a:gd name="connsiteY34" fmla="*/ 1057275 h 4496940"/>
                    <a:gd name="connsiteX35" fmla="*/ 4202452 w 4519987"/>
                    <a:gd name="connsiteY35" fmla="*/ 1085850 h 4496940"/>
                    <a:gd name="connsiteX36" fmla="*/ 4250077 w 4519987"/>
                    <a:gd name="connsiteY36" fmla="*/ 1143000 h 4496940"/>
                    <a:gd name="connsiteX37" fmla="*/ 4259602 w 4519987"/>
                    <a:gd name="connsiteY37" fmla="*/ 1190625 h 4496940"/>
                    <a:gd name="connsiteX38" fmla="*/ 4307227 w 4519987"/>
                    <a:gd name="connsiteY38" fmla="*/ 1266825 h 4496940"/>
                    <a:gd name="connsiteX39" fmla="*/ 4345327 w 4519987"/>
                    <a:gd name="connsiteY39" fmla="*/ 1362075 h 4496940"/>
                    <a:gd name="connsiteX40" fmla="*/ 4373902 w 4519987"/>
                    <a:gd name="connsiteY40" fmla="*/ 1428750 h 4496940"/>
                    <a:gd name="connsiteX41" fmla="*/ 4392952 w 4519987"/>
                    <a:gd name="connsiteY41" fmla="*/ 1552575 h 4496940"/>
                    <a:gd name="connsiteX42" fmla="*/ 4402477 w 4519987"/>
                    <a:gd name="connsiteY42" fmla="*/ 1590675 h 4496940"/>
                    <a:gd name="connsiteX43" fmla="*/ 4431052 w 4519987"/>
                    <a:gd name="connsiteY43" fmla="*/ 1685925 h 4496940"/>
                    <a:gd name="connsiteX44" fmla="*/ 4519952 w 4519987"/>
                    <a:gd name="connsiteY44" fmla="*/ 2181225 h 4496940"/>
                    <a:gd name="connsiteX45" fmla="*/ 4446927 w 4519987"/>
                    <a:gd name="connsiteY45" fmla="*/ 2768600 h 4496940"/>
                    <a:gd name="connsiteX46" fmla="*/ 4383427 w 4519987"/>
                    <a:gd name="connsiteY46" fmla="*/ 2990850 h 4496940"/>
                    <a:gd name="connsiteX47" fmla="*/ 4278652 w 4519987"/>
                    <a:gd name="connsiteY47" fmla="*/ 3248025 h 4496940"/>
                    <a:gd name="connsiteX48" fmla="*/ 4259602 w 4519987"/>
                    <a:gd name="connsiteY48" fmla="*/ 3276600 h 4496940"/>
                    <a:gd name="connsiteX49" fmla="*/ 4221502 w 4519987"/>
                    <a:gd name="connsiteY49" fmla="*/ 3333750 h 4496940"/>
                    <a:gd name="connsiteX50" fmla="*/ 4211977 w 4519987"/>
                    <a:gd name="connsiteY50" fmla="*/ 3362325 h 4496940"/>
                    <a:gd name="connsiteX51" fmla="*/ 4183402 w 4519987"/>
                    <a:gd name="connsiteY51" fmla="*/ 3400425 h 4496940"/>
                    <a:gd name="connsiteX52" fmla="*/ 4164352 w 4519987"/>
                    <a:gd name="connsiteY52" fmla="*/ 3429000 h 4496940"/>
                    <a:gd name="connsiteX53" fmla="*/ 4088152 w 4519987"/>
                    <a:gd name="connsiteY53" fmla="*/ 3495675 h 4496940"/>
                    <a:gd name="connsiteX54" fmla="*/ 4059577 w 4519987"/>
                    <a:gd name="connsiteY54" fmla="*/ 3533775 h 4496940"/>
                    <a:gd name="connsiteX55" fmla="*/ 4002427 w 4519987"/>
                    <a:gd name="connsiteY55" fmla="*/ 3600450 h 4496940"/>
                    <a:gd name="connsiteX56" fmla="*/ 3983377 w 4519987"/>
                    <a:gd name="connsiteY56" fmla="*/ 3629025 h 4496940"/>
                    <a:gd name="connsiteX57" fmla="*/ 3954802 w 4519987"/>
                    <a:gd name="connsiteY57" fmla="*/ 3648075 h 4496940"/>
                    <a:gd name="connsiteX58" fmla="*/ 3907177 w 4519987"/>
                    <a:gd name="connsiteY58" fmla="*/ 3686175 h 4496940"/>
                    <a:gd name="connsiteX59" fmla="*/ 3869077 w 4519987"/>
                    <a:gd name="connsiteY59" fmla="*/ 3724275 h 4496940"/>
                    <a:gd name="connsiteX60" fmla="*/ 3792877 w 4519987"/>
                    <a:gd name="connsiteY60" fmla="*/ 3781425 h 4496940"/>
                    <a:gd name="connsiteX61" fmla="*/ 3783352 w 4519987"/>
                    <a:gd name="connsiteY61" fmla="*/ 3810000 h 4496940"/>
                    <a:gd name="connsiteX62" fmla="*/ 3745252 w 4519987"/>
                    <a:gd name="connsiteY62" fmla="*/ 3819525 h 4496940"/>
                    <a:gd name="connsiteX63" fmla="*/ 3678577 w 4519987"/>
                    <a:gd name="connsiteY63" fmla="*/ 3848100 h 4496940"/>
                    <a:gd name="connsiteX64" fmla="*/ 3659527 w 4519987"/>
                    <a:gd name="connsiteY64" fmla="*/ 3971925 h 4496940"/>
                    <a:gd name="connsiteX65" fmla="*/ 3630952 w 4519987"/>
                    <a:gd name="connsiteY65" fmla="*/ 4010025 h 4496940"/>
                    <a:gd name="connsiteX66" fmla="*/ 3621427 w 4519987"/>
                    <a:gd name="connsiteY66" fmla="*/ 4038600 h 4496940"/>
                    <a:gd name="connsiteX67" fmla="*/ 3554752 w 4519987"/>
                    <a:gd name="connsiteY67" fmla="*/ 4095750 h 4496940"/>
                    <a:gd name="connsiteX68" fmla="*/ 3516652 w 4519987"/>
                    <a:gd name="connsiteY68" fmla="*/ 4114800 h 4496940"/>
                    <a:gd name="connsiteX69" fmla="*/ 3497602 w 4519987"/>
                    <a:gd name="connsiteY69" fmla="*/ 4143375 h 4496940"/>
                    <a:gd name="connsiteX70" fmla="*/ 3383302 w 4519987"/>
                    <a:gd name="connsiteY70" fmla="*/ 4210050 h 4496940"/>
                    <a:gd name="connsiteX71" fmla="*/ 3335677 w 4519987"/>
                    <a:gd name="connsiteY71" fmla="*/ 4238625 h 4496940"/>
                    <a:gd name="connsiteX72" fmla="*/ 3288052 w 4519987"/>
                    <a:gd name="connsiteY72" fmla="*/ 4248150 h 4496940"/>
                    <a:gd name="connsiteX73" fmla="*/ 3240427 w 4519987"/>
                    <a:gd name="connsiteY73" fmla="*/ 4267200 h 4496940"/>
                    <a:gd name="connsiteX74" fmla="*/ 3068977 w 4519987"/>
                    <a:gd name="connsiteY74" fmla="*/ 4286250 h 4496940"/>
                    <a:gd name="connsiteX75" fmla="*/ 2935627 w 4519987"/>
                    <a:gd name="connsiteY75" fmla="*/ 4333875 h 4496940"/>
                    <a:gd name="connsiteX76" fmla="*/ 2811802 w 4519987"/>
                    <a:gd name="connsiteY76" fmla="*/ 4371975 h 4496940"/>
                    <a:gd name="connsiteX77" fmla="*/ 2745127 w 4519987"/>
                    <a:gd name="connsiteY77" fmla="*/ 4410075 h 4496940"/>
                    <a:gd name="connsiteX78" fmla="*/ 2697502 w 4519987"/>
                    <a:gd name="connsiteY78" fmla="*/ 4429125 h 4496940"/>
                    <a:gd name="connsiteX79" fmla="*/ 2640352 w 4519987"/>
                    <a:gd name="connsiteY79" fmla="*/ 4457700 h 4496940"/>
                    <a:gd name="connsiteX80" fmla="*/ 2583202 w 4519987"/>
                    <a:gd name="connsiteY80" fmla="*/ 4467225 h 4496940"/>
                    <a:gd name="connsiteX81" fmla="*/ 2545102 w 4519987"/>
                    <a:gd name="connsiteY81" fmla="*/ 4486275 h 4496940"/>
                    <a:gd name="connsiteX82" fmla="*/ 2306977 w 4519987"/>
                    <a:gd name="connsiteY82" fmla="*/ 4476750 h 4496940"/>
                    <a:gd name="connsiteX83" fmla="*/ 2202202 w 4519987"/>
                    <a:gd name="connsiteY83" fmla="*/ 4457700 h 4496940"/>
                    <a:gd name="connsiteX84" fmla="*/ 2126002 w 4519987"/>
                    <a:gd name="connsiteY84" fmla="*/ 4429125 h 4496940"/>
                    <a:gd name="connsiteX85" fmla="*/ 1935502 w 4519987"/>
                    <a:gd name="connsiteY85" fmla="*/ 4400550 h 4496940"/>
                    <a:gd name="connsiteX86" fmla="*/ 1821202 w 4519987"/>
                    <a:gd name="connsiteY86" fmla="*/ 4371975 h 4496940"/>
                    <a:gd name="connsiteX87" fmla="*/ 1754527 w 4519987"/>
                    <a:gd name="connsiteY87" fmla="*/ 4352925 h 4496940"/>
                    <a:gd name="connsiteX88" fmla="*/ 1687852 w 4519987"/>
                    <a:gd name="connsiteY88" fmla="*/ 4343400 h 4496940"/>
                    <a:gd name="connsiteX89" fmla="*/ 1573552 w 4519987"/>
                    <a:gd name="connsiteY89" fmla="*/ 4305300 h 4496940"/>
                    <a:gd name="connsiteX90" fmla="*/ 1402102 w 4519987"/>
                    <a:gd name="connsiteY90" fmla="*/ 4276725 h 4496940"/>
                    <a:gd name="connsiteX91" fmla="*/ 1287802 w 4519987"/>
                    <a:gd name="connsiteY91" fmla="*/ 4229100 h 4496940"/>
                    <a:gd name="connsiteX92" fmla="*/ 1221127 w 4519987"/>
                    <a:gd name="connsiteY92" fmla="*/ 4200525 h 4496940"/>
                    <a:gd name="connsiteX93" fmla="*/ 1144927 w 4519987"/>
                    <a:gd name="connsiteY93" fmla="*/ 4171950 h 4496940"/>
                    <a:gd name="connsiteX94" fmla="*/ 1087777 w 4519987"/>
                    <a:gd name="connsiteY94" fmla="*/ 4143375 h 4496940"/>
                    <a:gd name="connsiteX95" fmla="*/ 1030627 w 4519987"/>
                    <a:gd name="connsiteY95" fmla="*/ 4124325 h 4496940"/>
                    <a:gd name="connsiteX96" fmla="*/ 925852 w 4519987"/>
                    <a:gd name="connsiteY96" fmla="*/ 4067175 h 4496940"/>
                    <a:gd name="connsiteX97" fmla="*/ 830602 w 4519987"/>
                    <a:gd name="connsiteY97" fmla="*/ 3981450 h 4496940"/>
                    <a:gd name="connsiteX98" fmla="*/ 763927 w 4519987"/>
                    <a:gd name="connsiteY98" fmla="*/ 3914775 h 4496940"/>
                    <a:gd name="connsiteX99" fmla="*/ 725827 w 4519987"/>
                    <a:gd name="connsiteY99" fmla="*/ 3876675 h 4496940"/>
                    <a:gd name="connsiteX100" fmla="*/ 697252 w 4519987"/>
                    <a:gd name="connsiteY100" fmla="*/ 3838575 h 4496940"/>
                    <a:gd name="connsiteX101" fmla="*/ 640102 w 4519987"/>
                    <a:gd name="connsiteY101" fmla="*/ 3781425 h 4496940"/>
                    <a:gd name="connsiteX102" fmla="*/ 611527 w 4519987"/>
                    <a:gd name="connsiteY102" fmla="*/ 3733800 h 4496940"/>
                    <a:gd name="connsiteX103" fmla="*/ 554377 w 4519987"/>
                    <a:gd name="connsiteY103" fmla="*/ 3657600 h 4496940"/>
                    <a:gd name="connsiteX104" fmla="*/ 525802 w 4519987"/>
                    <a:gd name="connsiteY104" fmla="*/ 3609975 h 4496940"/>
                    <a:gd name="connsiteX105" fmla="*/ 497227 w 4519987"/>
                    <a:gd name="connsiteY105" fmla="*/ 3552825 h 4496940"/>
                    <a:gd name="connsiteX106" fmla="*/ 440077 w 4519987"/>
                    <a:gd name="connsiteY106" fmla="*/ 3495675 h 4496940"/>
                    <a:gd name="connsiteX107" fmla="*/ 411502 w 4519987"/>
                    <a:gd name="connsiteY107" fmla="*/ 3448050 h 4496940"/>
                    <a:gd name="connsiteX108" fmla="*/ 278152 w 4519987"/>
                    <a:gd name="connsiteY108" fmla="*/ 3257550 h 4496940"/>
                    <a:gd name="connsiteX109" fmla="*/ 249577 w 4519987"/>
                    <a:gd name="connsiteY109" fmla="*/ 3200400 h 4496940"/>
                    <a:gd name="connsiteX110" fmla="*/ 240052 w 4519987"/>
                    <a:gd name="connsiteY110" fmla="*/ 3162300 h 4496940"/>
                    <a:gd name="connsiteX111" fmla="*/ 221002 w 4519987"/>
                    <a:gd name="connsiteY111" fmla="*/ 3105150 h 4496940"/>
                    <a:gd name="connsiteX112" fmla="*/ 173377 w 4519987"/>
                    <a:gd name="connsiteY112" fmla="*/ 3019425 h 4496940"/>
                    <a:gd name="connsiteX113" fmla="*/ 144802 w 4519987"/>
                    <a:gd name="connsiteY113" fmla="*/ 2924175 h 4496940"/>
                    <a:gd name="connsiteX114" fmla="*/ 68602 w 4519987"/>
                    <a:gd name="connsiteY114" fmla="*/ 2724150 h 4496940"/>
                    <a:gd name="connsiteX115" fmla="*/ 49552 w 4519987"/>
                    <a:gd name="connsiteY115" fmla="*/ 2638425 h 4496940"/>
                    <a:gd name="connsiteX116" fmla="*/ 40027 w 4519987"/>
                    <a:gd name="connsiteY116" fmla="*/ 2562225 h 4496940"/>
                    <a:gd name="connsiteX117" fmla="*/ 30502 w 4519987"/>
                    <a:gd name="connsiteY117" fmla="*/ 2514600 h 4496940"/>
                    <a:gd name="connsiteX118" fmla="*/ 11452 w 4519987"/>
                    <a:gd name="connsiteY118" fmla="*/ 2400300 h 4496940"/>
                    <a:gd name="connsiteX119" fmla="*/ 20977 w 4519987"/>
                    <a:gd name="connsiteY119" fmla="*/ 1905000 h 4496940"/>
                    <a:gd name="connsiteX120" fmla="*/ 30502 w 4519987"/>
                    <a:gd name="connsiteY120" fmla="*/ 1838325 h 4496940"/>
                    <a:gd name="connsiteX121" fmla="*/ 49552 w 4519987"/>
                    <a:gd name="connsiteY121" fmla="*/ 1781175 h 4496940"/>
                    <a:gd name="connsiteX122" fmla="*/ 59077 w 4519987"/>
                    <a:gd name="connsiteY122" fmla="*/ 1743075 h 4496940"/>
                    <a:gd name="connsiteX123" fmla="*/ 78127 w 4519987"/>
                    <a:gd name="connsiteY123" fmla="*/ 1685925 h 4496940"/>
                    <a:gd name="connsiteX124" fmla="*/ 87652 w 4519987"/>
                    <a:gd name="connsiteY124" fmla="*/ 1638300 h 4496940"/>
                    <a:gd name="connsiteX125" fmla="*/ 106702 w 4519987"/>
                    <a:gd name="connsiteY125" fmla="*/ 1590675 h 4496940"/>
                    <a:gd name="connsiteX126" fmla="*/ 135277 w 4519987"/>
                    <a:gd name="connsiteY126" fmla="*/ 1504950 h 4496940"/>
                    <a:gd name="connsiteX127" fmla="*/ 154327 w 4519987"/>
                    <a:gd name="connsiteY127" fmla="*/ 1419225 h 4496940"/>
                    <a:gd name="connsiteX128" fmla="*/ 230527 w 4519987"/>
                    <a:gd name="connsiteY128" fmla="*/ 1276350 h 4496940"/>
                    <a:gd name="connsiteX129" fmla="*/ 240052 w 4519987"/>
                    <a:gd name="connsiteY129" fmla="*/ 1247775 h 4496940"/>
                    <a:gd name="connsiteX130" fmla="*/ 268627 w 4519987"/>
                    <a:gd name="connsiteY130" fmla="*/ 1200150 h 4496940"/>
                    <a:gd name="connsiteX131" fmla="*/ 287677 w 4519987"/>
                    <a:gd name="connsiteY131" fmla="*/ 1152525 h 4496940"/>
                    <a:gd name="connsiteX132" fmla="*/ 316252 w 4519987"/>
                    <a:gd name="connsiteY132" fmla="*/ 1114425 h 4496940"/>
                    <a:gd name="connsiteX133" fmla="*/ 363877 w 4519987"/>
                    <a:gd name="connsiteY133" fmla="*/ 1038225 h 4496940"/>
                    <a:gd name="connsiteX134" fmla="*/ 382927 w 4519987"/>
                    <a:gd name="connsiteY134" fmla="*/ 1009650 h 4496940"/>
                    <a:gd name="connsiteX135" fmla="*/ 440077 w 4519987"/>
                    <a:gd name="connsiteY135" fmla="*/ 904875 h 4496940"/>
                    <a:gd name="connsiteX136" fmla="*/ 478177 w 4519987"/>
                    <a:gd name="connsiteY136" fmla="*/ 857250 h 4496940"/>
                    <a:gd name="connsiteX137" fmla="*/ 497227 w 4519987"/>
                    <a:gd name="connsiteY137" fmla="*/ 828675 h 4496940"/>
                    <a:gd name="connsiteX138" fmla="*/ 535327 w 4519987"/>
                    <a:gd name="connsiteY138" fmla="*/ 800100 h 4496940"/>
                    <a:gd name="connsiteX139" fmla="*/ 602002 w 4519987"/>
                    <a:gd name="connsiteY139" fmla="*/ 733425 h 4496940"/>
                    <a:gd name="connsiteX140" fmla="*/ 668677 w 4519987"/>
                    <a:gd name="connsiteY140" fmla="*/ 676275 h 4496940"/>
                    <a:gd name="connsiteX141" fmla="*/ 697252 w 4519987"/>
                    <a:gd name="connsiteY141" fmla="*/ 657225 h 4496940"/>
                    <a:gd name="connsiteX142" fmla="*/ 840127 w 4519987"/>
                    <a:gd name="connsiteY142" fmla="*/ 533400 h 4496940"/>
                    <a:gd name="connsiteX143" fmla="*/ 887752 w 4519987"/>
                    <a:gd name="connsiteY143" fmla="*/ 504825 h 4496940"/>
                    <a:gd name="connsiteX144" fmla="*/ 1167152 w 4519987"/>
                    <a:gd name="connsiteY144" fmla="*/ 311150 h 4496940"/>
                    <a:gd name="connsiteX145" fmla="*/ 1268752 w 4519987"/>
                    <a:gd name="connsiteY145" fmla="*/ 285750 h 4496940"/>
                    <a:gd name="connsiteX146" fmla="*/ 1411627 w 4519987"/>
                    <a:gd name="connsiteY146" fmla="*/ 190500 h 4496940"/>
                    <a:gd name="connsiteX147" fmla="*/ 1449727 w 4519987"/>
                    <a:gd name="connsiteY147" fmla="*/ 161925 h 4496940"/>
                    <a:gd name="connsiteX148" fmla="*/ 1525927 w 4519987"/>
                    <a:gd name="connsiteY148" fmla="*/ 152400 h 4496940"/>
                    <a:gd name="connsiteX149" fmla="*/ 1583077 w 4519987"/>
                    <a:gd name="connsiteY149" fmla="*/ 142875 h 4496940"/>
                    <a:gd name="connsiteX150" fmla="*/ 1716427 w 4519987"/>
                    <a:gd name="connsiteY150" fmla="*/ 123825 h 4496940"/>
                    <a:gd name="connsiteX151" fmla="*/ 1811677 w 4519987"/>
                    <a:gd name="connsiteY151" fmla="*/ 114300 h 4496940"/>
                    <a:gd name="connsiteX152" fmla="*/ 1859302 w 4519987"/>
                    <a:gd name="connsiteY152" fmla="*/ 104775 h 4496940"/>
                    <a:gd name="connsiteX153" fmla="*/ 1916452 w 4519987"/>
                    <a:gd name="connsiteY153" fmla="*/ 95250 h 4496940"/>
                    <a:gd name="connsiteX154" fmla="*/ 2030752 w 4519987"/>
                    <a:gd name="connsiteY154" fmla="*/ 66675 h 4496940"/>
                    <a:gd name="connsiteX155" fmla="*/ 2097427 w 4519987"/>
                    <a:gd name="connsiteY155" fmla="*/ 47625 h 4496940"/>
                    <a:gd name="connsiteX156" fmla="*/ 2164102 w 4519987"/>
                    <a:gd name="connsiteY156" fmla="*/ 38100 h 4496940"/>
                    <a:gd name="connsiteX157" fmla="*/ 2392702 w 4519987"/>
                    <a:gd name="connsiteY15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35777 w 4519987"/>
                    <a:gd name="connsiteY30" fmla="*/ 933450 h 4496940"/>
                    <a:gd name="connsiteX31" fmla="*/ 4164352 w 4519987"/>
                    <a:gd name="connsiteY31" fmla="*/ 990600 h 4496940"/>
                    <a:gd name="connsiteX32" fmla="*/ 4173877 w 4519987"/>
                    <a:gd name="connsiteY32" fmla="*/ 1019175 h 4496940"/>
                    <a:gd name="connsiteX33" fmla="*/ 4192927 w 4519987"/>
                    <a:gd name="connsiteY33" fmla="*/ 1057275 h 4496940"/>
                    <a:gd name="connsiteX34" fmla="*/ 4202452 w 4519987"/>
                    <a:gd name="connsiteY34" fmla="*/ 1085850 h 4496940"/>
                    <a:gd name="connsiteX35" fmla="*/ 4250077 w 4519987"/>
                    <a:gd name="connsiteY35" fmla="*/ 1143000 h 4496940"/>
                    <a:gd name="connsiteX36" fmla="*/ 4259602 w 4519987"/>
                    <a:gd name="connsiteY36" fmla="*/ 1190625 h 4496940"/>
                    <a:gd name="connsiteX37" fmla="*/ 4307227 w 4519987"/>
                    <a:gd name="connsiteY37" fmla="*/ 1266825 h 4496940"/>
                    <a:gd name="connsiteX38" fmla="*/ 4345327 w 4519987"/>
                    <a:gd name="connsiteY38" fmla="*/ 1362075 h 4496940"/>
                    <a:gd name="connsiteX39" fmla="*/ 4373902 w 4519987"/>
                    <a:gd name="connsiteY39" fmla="*/ 1428750 h 4496940"/>
                    <a:gd name="connsiteX40" fmla="*/ 4392952 w 4519987"/>
                    <a:gd name="connsiteY40" fmla="*/ 1552575 h 4496940"/>
                    <a:gd name="connsiteX41" fmla="*/ 4402477 w 4519987"/>
                    <a:gd name="connsiteY41" fmla="*/ 1590675 h 4496940"/>
                    <a:gd name="connsiteX42" fmla="*/ 4431052 w 4519987"/>
                    <a:gd name="connsiteY42" fmla="*/ 1685925 h 4496940"/>
                    <a:gd name="connsiteX43" fmla="*/ 4519952 w 4519987"/>
                    <a:gd name="connsiteY43" fmla="*/ 2181225 h 4496940"/>
                    <a:gd name="connsiteX44" fmla="*/ 4446927 w 4519987"/>
                    <a:gd name="connsiteY44" fmla="*/ 2768600 h 4496940"/>
                    <a:gd name="connsiteX45" fmla="*/ 4383427 w 4519987"/>
                    <a:gd name="connsiteY45" fmla="*/ 2990850 h 4496940"/>
                    <a:gd name="connsiteX46" fmla="*/ 4278652 w 4519987"/>
                    <a:gd name="connsiteY46" fmla="*/ 3248025 h 4496940"/>
                    <a:gd name="connsiteX47" fmla="*/ 4259602 w 4519987"/>
                    <a:gd name="connsiteY47" fmla="*/ 3276600 h 4496940"/>
                    <a:gd name="connsiteX48" fmla="*/ 4221502 w 4519987"/>
                    <a:gd name="connsiteY48" fmla="*/ 3333750 h 4496940"/>
                    <a:gd name="connsiteX49" fmla="*/ 4211977 w 4519987"/>
                    <a:gd name="connsiteY49" fmla="*/ 3362325 h 4496940"/>
                    <a:gd name="connsiteX50" fmla="*/ 4183402 w 4519987"/>
                    <a:gd name="connsiteY50" fmla="*/ 3400425 h 4496940"/>
                    <a:gd name="connsiteX51" fmla="*/ 4164352 w 4519987"/>
                    <a:gd name="connsiteY51" fmla="*/ 3429000 h 4496940"/>
                    <a:gd name="connsiteX52" fmla="*/ 4088152 w 4519987"/>
                    <a:gd name="connsiteY52" fmla="*/ 3495675 h 4496940"/>
                    <a:gd name="connsiteX53" fmla="*/ 4059577 w 4519987"/>
                    <a:gd name="connsiteY53" fmla="*/ 3533775 h 4496940"/>
                    <a:gd name="connsiteX54" fmla="*/ 4002427 w 4519987"/>
                    <a:gd name="connsiteY54" fmla="*/ 3600450 h 4496940"/>
                    <a:gd name="connsiteX55" fmla="*/ 3983377 w 4519987"/>
                    <a:gd name="connsiteY55" fmla="*/ 3629025 h 4496940"/>
                    <a:gd name="connsiteX56" fmla="*/ 3954802 w 4519987"/>
                    <a:gd name="connsiteY56" fmla="*/ 3648075 h 4496940"/>
                    <a:gd name="connsiteX57" fmla="*/ 3907177 w 4519987"/>
                    <a:gd name="connsiteY57" fmla="*/ 3686175 h 4496940"/>
                    <a:gd name="connsiteX58" fmla="*/ 3869077 w 4519987"/>
                    <a:gd name="connsiteY58" fmla="*/ 3724275 h 4496940"/>
                    <a:gd name="connsiteX59" fmla="*/ 3792877 w 4519987"/>
                    <a:gd name="connsiteY59" fmla="*/ 3781425 h 4496940"/>
                    <a:gd name="connsiteX60" fmla="*/ 3783352 w 4519987"/>
                    <a:gd name="connsiteY60" fmla="*/ 3810000 h 4496940"/>
                    <a:gd name="connsiteX61" fmla="*/ 3745252 w 4519987"/>
                    <a:gd name="connsiteY61" fmla="*/ 3819525 h 4496940"/>
                    <a:gd name="connsiteX62" fmla="*/ 3678577 w 4519987"/>
                    <a:gd name="connsiteY62" fmla="*/ 3848100 h 4496940"/>
                    <a:gd name="connsiteX63" fmla="*/ 3659527 w 4519987"/>
                    <a:gd name="connsiteY63" fmla="*/ 3971925 h 4496940"/>
                    <a:gd name="connsiteX64" fmla="*/ 3630952 w 4519987"/>
                    <a:gd name="connsiteY64" fmla="*/ 4010025 h 4496940"/>
                    <a:gd name="connsiteX65" fmla="*/ 3621427 w 4519987"/>
                    <a:gd name="connsiteY65" fmla="*/ 4038600 h 4496940"/>
                    <a:gd name="connsiteX66" fmla="*/ 3554752 w 4519987"/>
                    <a:gd name="connsiteY66" fmla="*/ 4095750 h 4496940"/>
                    <a:gd name="connsiteX67" fmla="*/ 3516652 w 4519987"/>
                    <a:gd name="connsiteY67" fmla="*/ 4114800 h 4496940"/>
                    <a:gd name="connsiteX68" fmla="*/ 3497602 w 4519987"/>
                    <a:gd name="connsiteY68" fmla="*/ 4143375 h 4496940"/>
                    <a:gd name="connsiteX69" fmla="*/ 3383302 w 4519987"/>
                    <a:gd name="connsiteY69" fmla="*/ 4210050 h 4496940"/>
                    <a:gd name="connsiteX70" fmla="*/ 3335677 w 4519987"/>
                    <a:gd name="connsiteY70" fmla="*/ 4238625 h 4496940"/>
                    <a:gd name="connsiteX71" fmla="*/ 3288052 w 4519987"/>
                    <a:gd name="connsiteY71" fmla="*/ 4248150 h 4496940"/>
                    <a:gd name="connsiteX72" fmla="*/ 3240427 w 4519987"/>
                    <a:gd name="connsiteY72" fmla="*/ 4267200 h 4496940"/>
                    <a:gd name="connsiteX73" fmla="*/ 3068977 w 4519987"/>
                    <a:gd name="connsiteY73" fmla="*/ 4286250 h 4496940"/>
                    <a:gd name="connsiteX74" fmla="*/ 2935627 w 4519987"/>
                    <a:gd name="connsiteY74" fmla="*/ 4333875 h 4496940"/>
                    <a:gd name="connsiteX75" fmla="*/ 2811802 w 4519987"/>
                    <a:gd name="connsiteY75" fmla="*/ 4371975 h 4496940"/>
                    <a:gd name="connsiteX76" fmla="*/ 2745127 w 4519987"/>
                    <a:gd name="connsiteY76" fmla="*/ 4410075 h 4496940"/>
                    <a:gd name="connsiteX77" fmla="*/ 2697502 w 4519987"/>
                    <a:gd name="connsiteY77" fmla="*/ 4429125 h 4496940"/>
                    <a:gd name="connsiteX78" fmla="*/ 2640352 w 4519987"/>
                    <a:gd name="connsiteY78" fmla="*/ 4457700 h 4496940"/>
                    <a:gd name="connsiteX79" fmla="*/ 2583202 w 4519987"/>
                    <a:gd name="connsiteY79" fmla="*/ 4467225 h 4496940"/>
                    <a:gd name="connsiteX80" fmla="*/ 2545102 w 4519987"/>
                    <a:gd name="connsiteY80" fmla="*/ 4486275 h 4496940"/>
                    <a:gd name="connsiteX81" fmla="*/ 2306977 w 4519987"/>
                    <a:gd name="connsiteY81" fmla="*/ 4476750 h 4496940"/>
                    <a:gd name="connsiteX82" fmla="*/ 2202202 w 4519987"/>
                    <a:gd name="connsiteY82" fmla="*/ 4457700 h 4496940"/>
                    <a:gd name="connsiteX83" fmla="*/ 2126002 w 4519987"/>
                    <a:gd name="connsiteY83" fmla="*/ 4429125 h 4496940"/>
                    <a:gd name="connsiteX84" fmla="*/ 1935502 w 4519987"/>
                    <a:gd name="connsiteY84" fmla="*/ 4400550 h 4496940"/>
                    <a:gd name="connsiteX85" fmla="*/ 1821202 w 4519987"/>
                    <a:gd name="connsiteY85" fmla="*/ 4371975 h 4496940"/>
                    <a:gd name="connsiteX86" fmla="*/ 1754527 w 4519987"/>
                    <a:gd name="connsiteY86" fmla="*/ 4352925 h 4496940"/>
                    <a:gd name="connsiteX87" fmla="*/ 1687852 w 4519987"/>
                    <a:gd name="connsiteY87" fmla="*/ 4343400 h 4496940"/>
                    <a:gd name="connsiteX88" fmla="*/ 1573552 w 4519987"/>
                    <a:gd name="connsiteY88" fmla="*/ 4305300 h 4496940"/>
                    <a:gd name="connsiteX89" fmla="*/ 1402102 w 4519987"/>
                    <a:gd name="connsiteY89" fmla="*/ 4276725 h 4496940"/>
                    <a:gd name="connsiteX90" fmla="*/ 1287802 w 4519987"/>
                    <a:gd name="connsiteY90" fmla="*/ 4229100 h 4496940"/>
                    <a:gd name="connsiteX91" fmla="*/ 1221127 w 4519987"/>
                    <a:gd name="connsiteY91" fmla="*/ 4200525 h 4496940"/>
                    <a:gd name="connsiteX92" fmla="*/ 1144927 w 4519987"/>
                    <a:gd name="connsiteY92" fmla="*/ 4171950 h 4496940"/>
                    <a:gd name="connsiteX93" fmla="*/ 1087777 w 4519987"/>
                    <a:gd name="connsiteY93" fmla="*/ 4143375 h 4496940"/>
                    <a:gd name="connsiteX94" fmla="*/ 1030627 w 4519987"/>
                    <a:gd name="connsiteY94" fmla="*/ 4124325 h 4496940"/>
                    <a:gd name="connsiteX95" fmla="*/ 925852 w 4519987"/>
                    <a:gd name="connsiteY95" fmla="*/ 4067175 h 4496940"/>
                    <a:gd name="connsiteX96" fmla="*/ 830602 w 4519987"/>
                    <a:gd name="connsiteY96" fmla="*/ 3981450 h 4496940"/>
                    <a:gd name="connsiteX97" fmla="*/ 763927 w 4519987"/>
                    <a:gd name="connsiteY97" fmla="*/ 3914775 h 4496940"/>
                    <a:gd name="connsiteX98" fmla="*/ 725827 w 4519987"/>
                    <a:gd name="connsiteY98" fmla="*/ 3876675 h 4496940"/>
                    <a:gd name="connsiteX99" fmla="*/ 697252 w 4519987"/>
                    <a:gd name="connsiteY99" fmla="*/ 3838575 h 4496940"/>
                    <a:gd name="connsiteX100" fmla="*/ 640102 w 4519987"/>
                    <a:gd name="connsiteY100" fmla="*/ 3781425 h 4496940"/>
                    <a:gd name="connsiteX101" fmla="*/ 611527 w 4519987"/>
                    <a:gd name="connsiteY101" fmla="*/ 3733800 h 4496940"/>
                    <a:gd name="connsiteX102" fmla="*/ 554377 w 4519987"/>
                    <a:gd name="connsiteY102" fmla="*/ 3657600 h 4496940"/>
                    <a:gd name="connsiteX103" fmla="*/ 525802 w 4519987"/>
                    <a:gd name="connsiteY103" fmla="*/ 3609975 h 4496940"/>
                    <a:gd name="connsiteX104" fmla="*/ 497227 w 4519987"/>
                    <a:gd name="connsiteY104" fmla="*/ 3552825 h 4496940"/>
                    <a:gd name="connsiteX105" fmla="*/ 440077 w 4519987"/>
                    <a:gd name="connsiteY105" fmla="*/ 3495675 h 4496940"/>
                    <a:gd name="connsiteX106" fmla="*/ 411502 w 4519987"/>
                    <a:gd name="connsiteY106" fmla="*/ 3448050 h 4496940"/>
                    <a:gd name="connsiteX107" fmla="*/ 278152 w 4519987"/>
                    <a:gd name="connsiteY107" fmla="*/ 3257550 h 4496940"/>
                    <a:gd name="connsiteX108" fmla="*/ 249577 w 4519987"/>
                    <a:gd name="connsiteY108" fmla="*/ 3200400 h 4496940"/>
                    <a:gd name="connsiteX109" fmla="*/ 240052 w 4519987"/>
                    <a:gd name="connsiteY109" fmla="*/ 3162300 h 4496940"/>
                    <a:gd name="connsiteX110" fmla="*/ 221002 w 4519987"/>
                    <a:gd name="connsiteY110" fmla="*/ 3105150 h 4496940"/>
                    <a:gd name="connsiteX111" fmla="*/ 173377 w 4519987"/>
                    <a:gd name="connsiteY111" fmla="*/ 3019425 h 4496940"/>
                    <a:gd name="connsiteX112" fmla="*/ 144802 w 4519987"/>
                    <a:gd name="connsiteY112" fmla="*/ 2924175 h 4496940"/>
                    <a:gd name="connsiteX113" fmla="*/ 68602 w 4519987"/>
                    <a:gd name="connsiteY113" fmla="*/ 2724150 h 4496940"/>
                    <a:gd name="connsiteX114" fmla="*/ 49552 w 4519987"/>
                    <a:gd name="connsiteY114" fmla="*/ 2638425 h 4496940"/>
                    <a:gd name="connsiteX115" fmla="*/ 40027 w 4519987"/>
                    <a:gd name="connsiteY115" fmla="*/ 2562225 h 4496940"/>
                    <a:gd name="connsiteX116" fmla="*/ 30502 w 4519987"/>
                    <a:gd name="connsiteY116" fmla="*/ 2514600 h 4496940"/>
                    <a:gd name="connsiteX117" fmla="*/ 11452 w 4519987"/>
                    <a:gd name="connsiteY117" fmla="*/ 2400300 h 4496940"/>
                    <a:gd name="connsiteX118" fmla="*/ 20977 w 4519987"/>
                    <a:gd name="connsiteY118" fmla="*/ 1905000 h 4496940"/>
                    <a:gd name="connsiteX119" fmla="*/ 30502 w 4519987"/>
                    <a:gd name="connsiteY119" fmla="*/ 1838325 h 4496940"/>
                    <a:gd name="connsiteX120" fmla="*/ 49552 w 4519987"/>
                    <a:gd name="connsiteY120" fmla="*/ 1781175 h 4496940"/>
                    <a:gd name="connsiteX121" fmla="*/ 59077 w 4519987"/>
                    <a:gd name="connsiteY121" fmla="*/ 1743075 h 4496940"/>
                    <a:gd name="connsiteX122" fmla="*/ 78127 w 4519987"/>
                    <a:gd name="connsiteY122" fmla="*/ 1685925 h 4496940"/>
                    <a:gd name="connsiteX123" fmla="*/ 87652 w 4519987"/>
                    <a:gd name="connsiteY123" fmla="*/ 1638300 h 4496940"/>
                    <a:gd name="connsiteX124" fmla="*/ 106702 w 4519987"/>
                    <a:gd name="connsiteY124" fmla="*/ 1590675 h 4496940"/>
                    <a:gd name="connsiteX125" fmla="*/ 135277 w 4519987"/>
                    <a:gd name="connsiteY125" fmla="*/ 1504950 h 4496940"/>
                    <a:gd name="connsiteX126" fmla="*/ 154327 w 4519987"/>
                    <a:gd name="connsiteY126" fmla="*/ 1419225 h 4496940"/>
                    <a:gd name="connsiteX127" fmla="*/ 230527 w 4519987"/>
                    <a:gd name="connsiteY127" fmla="*/ 1276350 h 4496940"/>
                    <a:gd name="connsiteX128" fmla="*/ 240052 w 4519987"/>
                    <a:gd name="connsiteY128" fmla="*/ 1247775 h 4496940"/>
                    <a:gd name="connsiteX129" fmla="*/ 268627 w 4519987"/>
                    <a:gd name="connsiteY129" fmla="*/ 1200150 h 4496940"/>
                    <a:gd name="connsiteX130" fmla="*/ 287677 w 4519987"/>
                    <a:gd name="connsiteY130" fmla="*/ 1152525 h 4496940"/>
                    <a:gd name="connsiteX131" fmla="*/ 316252 w 4519987"/>
                    <a:gd name="connsiteY131" fmla="*/ 1114425 h 4496940"/>
                    <a:gd name="connsiteX132" fmla="*/ 363877 w 4519987"/>
                    <a:gd name="connsiteY132" fmla="*/ 1038225 h 4496940"/>
                    <a:gd name="connsiteX133" fmla="*/ 382927 w 4519987"/>
                    <a:gd name="connsiteY133" fmla="*/ 1009650 h 4496940"/>
                    <a:gd name="connsiteX134" fmla="*/ 440077 w 4519987"/>
                    <a:gd name="connsiteY134" fmla="*/ 904875 h 4496940"/>
                    <a:gd name="connsiteX135" fmla="*/ 478177 w 4519987"/>
                    <a:gd name="connsiteY135" fmla="*/ 857250 h 4496940"/>
                    <a:gd name="connsiteX136" fmla="*/ 497227 w 4519987"/>
                    <a:gd name="connsiteY136" fmla="*/ 828675 h 4496940"/>
                    <a:gd name="connsiteX137" fmla="*/ 535327 w 4519987"/>
                    <a:gd name="connsiteY137" fmla="*/ 800100 h 4496940"/>
                    <a:gd name="connsiteX138" fmla="*/ 602002 w 4519987"/>
                    <a:gd name="connsiteY138" fmla="*/ 733425 h 4496940"/>
                    <a:gd name="connsiteX139" fmla="*/ 668677 w 4519987"/>
                    <a:gd name="connsiteY139" fmla="*/ 676275 h 4496940"/>
                    <a:gd name="connsiteX140" fmla="*/ 697252 w 4519987"/>
                    <a:gd name="connsiteY140" fmla="*/ 657225 h 4496940"/>
                    <a:gd name="connsiteX141" fmla="*/ 840127 w 4519987"/>
                    <a:gd name="connsiteY141" fmla="*/ 533400 h 4496940"/>
                    <a:gd name="connsiteX142" fmla="*/ 887752 w 4519987"/>
                    <a:gd name="connsiteY142" fmla="*/ 504825 h 4496940"/>
                    <a:gd name="connsiteX143" fmla="*/ 1167152 w 4519987"/>
                    <a:gd name="connsiteY143" fmla="*/ 311150 h 4496940"/>
                    <a:gd name="connsiteX144" fmla="*/ 1268752 w 4519987"/>
                    <a:gd name="connsiteY144" fmla="*/ 285750 h 4496940"/>
                    <a:gd name="connsiteX145" fmla="*/ 1411627 w 4519987"/>
                    <a:gd name="connsiteY145" fmla="*/ 190500 h 4496940"/>
                    <a:gd name="connsiteX146" fmla="*/ 1449727 w 4519987"/>
                    <a:gd name="connsiteY146" fmla="*/ 161925 h 4496940"/>
                    <a:gd name="connsiteX147" fmla="*/ 1525927 w 4519987"/>
                    <a:gd name="connsiteY147" fmla="*/ 152400 h 4496940"/>
                    <a:gd name="connsiteX148" fmla="*/ 1583077 w 4519987"/>
                    <a:gd name="connsiteY148" fmla="*/ 142875 h 4496940"/>
                    <a:gd name="connsiteX149" fmla="*/ 1716427 w 4519987"/>
                    <a:gd name="connsiteY149" fmla="*/ 123825 h 4496940"/>
                    <a:gd name="connsiteX150" fmla="*/ 1811677 w 4519987"/>
                    <a:gd name="connsiteY150" fmla="*/ 114300 h 4496940"/>
                    <a:gd name="connsiteX151" fmla="*/ 1859302 w 4519987"/>
                    <a:gd name="connsiteY151" fmla="*/ 104775 h 4496940"/>
                    <a:gd name="connsiteX152" fmla="*/ 1916452 w 4519987"/>
                    <a:gd name="connsiteY152" fmla="*/ 95250 h 4496940"/>
                    <a:gd name="connsiteX153" fmla="*/ 2030752 w 4519987"/>
                    <a:gd name="connsiteY153" fmla="*/ 66675 h 4496940"/>
                    <a:gd name="connsiteX154" fmla="*/ 2097427 w 4519987"/>
                    <a:gd name="connsiteY154" fmla="*/ 47625 h 4496940"/>
                    <a:gd name="connsiteX155" fmla="*/ 2164102 w 4519987"/>
                    <a:gd name="connsiteY155" fmla="*/ 38100 h 4496940"/>
                    <a:gd name="connsiteX156" fmla="*/ 2392702 w 4519987"/>
                    <a:gd name="connsiteY15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35777 w 4519987"/>
                    <a:gd name="connsiteY29" fmla="*/ 933450 h 4496940"/>
                    <a:gd name="connsiteX30" fmla="*/ 4164352 w 4519987"/>
                    <a:gd name="connsiteY30" fmla="*/ 990600 h 4496940"/>
                    <a:gd name="connsiteX31" fmla="*/ 4173877 w 4519987"/>
                    <a:gd name="connsiteY31" fmla="*/ 1019175 h 4496940"/>
                    <a:gd name="connsiteX32" fmla="*/ 4192927 w 4519987"/>
                    <a:gd name="connsiteY32" fmla="*/ 1057275 h 4496940"/>
                    <a:gd name="connsiteX33" fmla="*/ 4202452 w 4519987"/>
                    <a:gd name="connsiteY33" fmla="*/ 1085850 h 4496940"/>
                    <a:gd name="connsiteX34" fmla="*/ 4250077 w 4519987"/>
                    <a:gd name="connsiteY34" fmla="*/ 1143000 h 4496940"/>
                    <a:gd name="connsiteX35" fmla="*/ 4259602 w 4519987"/>
                    <a:gd name="connsiteY35" fmla="*/ 1190625 h 4496940"/>
                    <a:gd name="connsiteX36" fmla="*/ 4307227 w 4519987"/>
                    <a:gd name="connsiteY36" fmla="*/ 1266825 h 4496940"/>
                    <a:gd name="connsiteX37" fmla="*/ 4345327 w 4519987"/>
                    <a:gd name="connsiteY37" fmla="*/ 1362075 h 4496940"/>
                    <a:gd name="connsiteX38" fmla="*/ 4373902 w 4519987"/>
                    <a:gd name="connsiteY38" fmla="*/ 1428750 h 4496940"/>
                    <a:gd name="connsiteX39" fmla="*/ 4392952 w 4519987"/>
                    <a:gd name="connsiteY39" fmla="*/ 1552575 h 4496940"/>
                    <a:gd name="connsiteX40" fmla="*/ 4402477 w 4519987"/>
                    <a:gd name="connsiteY40" fmla="*/ 1590675 h 4496940"/>
                    <a:gd name="connsiteX41" fmla="*/ 4431052 w 4519987"/>
                    <a:gd name="connsiteY41" fmla="*/ 1685925 h 4496940"/>
                    <a:gd name="connsiteX42" fmla="*/ 4519952 w 4519987"/>
                    <a:gd name="connsiteY42" fmla="*/ 2181225 h 4496940"/>
                    <a:gd name="connsiteX43" fmla="*/ 4446927 w 4519987"/>
                    <a:gd name="connsiteY43" fmla="*/ 2768600 h 4496940"/>
                    <a:gd name="connsiteX44" fmla="*/ 4383427 w 4519987"/>
                    <a:gd name="connsiteY44" fmla="*/ 2990850 h 4496940"/>
                    <a:gd name="connsiteX45" fmla="*/ 4278652 w 4519987"/>
                    <a:gd name="connsiteY45" fmla="*/ 3248025 h 4496940"/>
                    <a:gd name="connsiteX46" fmla="*/ 4259602 w 4519987"/>
                    <a:gd name="connsiteY46" fmla="*/ 3276600 h 4496940"/>
                    <a:gd name="connsiteX47" fmla="*/ 4221502 w 4519987"/>
                    <a:gd name="connsiteY47" fmla="*/ 3333750 h 4496940"/>
                    <a:gd name="connsiteX48" fmla="*/ 4211977 w 4519987"/>
                    <a:gd name="connsiteY48" fmla="*/ 3362325 h 4496940"/>
                    <a:gd name="connsiteX49" fmla="*/ 4183402 w 4519987"/>
                    <a:gd name="connsiteY49" fmla="*/ 3400425 h 4496940"/>
                    <a:gd name="connsiteX50" fmla="*/ 4164352 w 4519987"/>
                    <a:gd name="connsiteY50" fmla="*/ 3429000 h 4496940"/>
                    <a:gd name="connsiteX51" fmla="*/ 4088152 w 4519987"/>
                    <a:gd name="connsiteY51" fmla="*/ 3495675 h 4496940"/>
                    <a:gd name="connsiteX52" fmla="*/ 4059577 w 4519987"/>
                    <a:gd name="connsiteY52" fmla="*/ 3533775 h 4496940"/>
                    <a:gd name="connsiteX53" fmla="*/ 4002427 w 4519987"/>
                    <a:gd name="connsiteY53" fmla="*/ 3600450 h 4496940"/>
                    <a:gd name="connsiteX54" fmla="*/ 3983377 w 4519987"/>
                    <a:gd name="connsiteY54" fmla="*/ 3629025 h 4496940"/>
                    <a:gd name="connsiteX55" fmla="*/ 3954802 w 4519987"/>
                    <a:gd name="connsiteY55" fmla="*/ 3648075 h 4496940"/>
                    <a:gd name="connsiteX56" fmla="*/ 3907177 w 4519987"/>
                    <a:gd name="connsiteY56" fmla="*/ 3686175 h 4496940"/>
                    <a:gd name="connsiteX57" fmla="*/ 3869077 w 4519987"/>
                    <a:gd name="connsiteY57" fmla="*/ 3724275 h 4496940"/>
                    <a:gd name="connsiteX58" fmla="*/ 3792877 w 4519987"/>
                    <a:gd name="connsiteY58" fmla="*/ 3781425 h 4496940"/>
                    <a:gd name="connsiteX59" fmla="*/ 3783352 w 4519987"/>
                    <a:gd name="connsiteY59" fmla="*/ 3810000 h 4496940"/>
                    <a:gd name="connsiteX60" fmla="*/ 3745252 w 4519987"/>
                    <a:gd name="connsiteY60" fmla="*/ 3819525 h 4496940"/>
                    <a:gd name="connsiteX61" fmla="*/ 3678577 w 4519987"/>
                    <a:gd name="connsiteY61" fmla="*/ 3848100 h 4496940"/>
                    <a:gd name="connsiteX62" fmla="*/ 3659527 w 4519987"/>
                    <a:gd name="connsiteY62" fmla="*/ 3971925 h 4496940"/>
                    <a:gd name="connsiteX63" fmla="*/ 3630952 w 4519987"/>
                    <a:gd name="connsiteY63" fmla="*/ 4010025 h 4496940"/>
                    <a:gd name="connsiteX64" fmla="*/ 3621427 w 4519987"/>
                    <a:gd name="connsiteY64" fmla="*/ 4038600 h 4496940"/>
                    <a:gd name="connsiteX65" fmla="*/ 3554752 w 4519987"/>
                    <a:gd name="connsiteY65" fmla="*/ 4095750 h 4496940"/>
                    <a:gd name="connsiteX66" fmla="*/ 3516652 w 4519987"/>
                    <a:gd name="connsiteY66" fmla="*/ 4114800 h 4496940"/>
                    <a:gd name="connsiteX67" fmla="*/ 3497602 w 4519987"/>
                    <a:gd name="connsiteY67" fmla="*/ 4143375 h 4496940"/>
                    <a:gd name="connsiteX68" fmla="*/ 3383302 w 4519987"/>
                    <a:gd name="connsiteY68" fmla="*/ 4210050 h 4496940"/>
                    <a:gd name="connsiteX69" fmla="*/ 3335677 w 4519987"/>
                    <a:gd name="connsiteY69" fmla="*/ 4238625 h 4496940"/>
                    <a:gd name="connsiteX70" fmla="*/ 3288052 w 4519987"/>
                    <a:gd name="connsiteY70" fmla="*/ 4248150 h 4496940"/>
                    <a:gd name="connsiteX71" fmla="*/ 3240427 w 4519987"/>
                    <a:gd name="connsiteY71" fmla="*/ 4267200 h 4496940"/>
                    <a:gd name="connsiteX72" fmla="*/ 3068977 w 4519987"/>
                    <a:gd name="connsiteY72" fmla="*/ 4286250 h 4496940"/>
                    <a:gd name="connsiteX73" fmla="*/ 2935627 w 4519987"/>
                    <a:gd name="connsiteY73" fmla="*/ 4333875 h 4496940"/>
                    <a:gd name="connsiteX74" fmla="*/ 2811802 w 4519987"/>
                    <a:gd name="connsiteY74" fmla="*/ 4371975 h 4496940"/>
                    <a:gd name="connsiteX75" fmla="*/ 2745127 w 4519987"/>
                    <a:gd name="connsiteY75" fmla="*/ 4410075 h 4496940"/>
                    <a:gd name="connsiteX76" fmla="*/ 2697502 w 4519987"/>
                    <a:gd name="connsiteY76" fmla="*/ 4429125 h 4496940"/>
                    <a:gd name="connsiteX77" fmla="*/ 2640352 w 4519987"/>
                    <a:gd name="connsiteY77" fmla="*/ 4457700 h 4496940"/>
                    <a:gd name="connsiteX78" fmla="*/ 2583202 w 4519987"/>
                    <a:gd name="connsiteY78" fmla="*/ 4467225 h 4496940"/>
                    <a:gd name="connsiteX79" fmla="*/ 2545102 w 4519987"/>
                    <a:gd name="connsiteY79" fmla="*/ 4486275 h 4496940"/>
                    <a:gd name="connsiteX80" fmla="*/ 2306977 w 4519987"/>
                    <a:gd name="connsiteY80" fmla="*/ 4476750 h 4496940"/>
                    <a:gd name="connsiteX81" fmla="*/ 2202202 w 4519987"/>
                    <a:gd name="connsiteY81" fmla="*/ 4457700 h 4496940"/>
                    <a:gd name="connsiteX82" fmla="*/ 2126002 w 4519987"/>
                    <a:gd name="connsiteY82" fmla="*/ 4429125 h 4496940"/>
                    <a:gd name="connsiteX83" fmla="*/ 1935502 w 4519987"/>
                    <a:gd name="connsiteY83" fmla="*/ 4400550 h 4496940"/>
                    <a:gd name="connsiteX84" fmla="*/ 1821202 w 4519987"/>
                    <a:gd name="connsiteY84" fmla="*/ 4371975 h 4496940"/>
                    <a:gd name="connsiteX85" fmla="*/ 1754527 w 4519987"/>
                    <a:gd name="connsiteY85" fmla="*/ 4352925 h 4496940"/>
                    <a:gd name="connsiteX86" fmla="*/ 1687852 w 4519987"/>
                    <a:gd name="connsiteY86" fmla="*/ 4343400 h 4496940"/>
                    <a:gd name="connsiteX87" fmla="*/ 1573552 w 4519987"/>
                    <a:gd name="connsiteY87" fmla="*/ 4305300 h 4496940"/>
                    <a:gd name="connsiteX88" fmla="*/ 1402102 w 4519987"/>
                    <a:gd name="connsiteY88" fmla="*/ 4276725 h 4496940"/>
                    <a:gd name="connsiteX89" fmla="*/ 1287802 w 4519987"/>
                    <a:gd name="connsiteY89" fmla="*/ 4229100 h 4496940"/>
                    <a:gd name="connsiteX90" fmla="*/ 1221127 w 4519987"/>
                    <a:gd name="connsiteY90" fmla="*/ 4200525 h 4496940"/>
                    <a:gd name="connsiteX91" fmla="*/ 1144927 w 4519987"/>
                    <a:gd name="connsiteY91" fmla="*/ 4171950 h 4496940"/>
                    <a:gd name="connsiteX92" fmla="*/ 1087777 w 4519987"/>
                    <a:gd name="connsiteY92" fmla="*/ 4143375 h 4496940"/>
                    <a:gd name="connsiteX93" fmla="*/ 1030627 w 4519987"/>
                    <a:gd name="connsiteY93" fmla="*/ 4124325 h 4496940"/>
                    <a:gd name="connsiteX94" fmla="*/ 925852 w 4519987"/>
                    <a:gd name="connsiteY94" fmla="*/ 4067175 h 4496940"/>
                    <a:gd name="connsiteX95" fmla="*/ 830602 w 4519987"/>
                    <a:gd name="connsiteY95" fmla="*/ 3981450 h 4496940"/>
                    <a:gd name="connsiteX96" fmla="*/ 763927 w 4519987"/>
                    <a:gd name="connsiteY96" fmla="*/ 3914775 h 4496940"/>
                    <a:gd name="connsiteX97" fmla="*/ 725827 w 4519987"/>
                    <a:gd name="connsiteY97" fmla="*/ 3876675 h 4496940"/>
                    <a:gd name="connsiteX98" fmla="*/ 697252 w 4519987"/>
                    <a:gd name="connsiteY98" fmla="*/ 3838575 h 4496940"/>
                    <a:gd name="connsiteX99" fmla="*/ 640102 w 4519987"/>
                    <a:gd name="connsiteY99" fmla="*/ 3781425 h 4496940"/>
                    <a:gd name="connsiteX100" fmla="*/ 611527 w 4519987"/>
                    <a:gd name="connsiteY100" fmla="*/ 3733800 h 4496940"/>
                    <a:gd name="connsiteX101" fmla="*/ 554377 w 4519987"/>
                    <a:gd name="connsiteY101" fmla="*/ 3657600 h 4496940"/>
                    <a:gd name="connsiteX102" fmla="*/ 525802 w 4519987"/>
                    <a:gd name="connsiteY102" fmla="*/ 3609975 h 4496940"/>
                    <a:gd name="connsiteX103" fmla="*/ 497227 w 4519987"/>
                    <a:gd name="connsiteY103" fmla="*/ 3552825 h 4496940"/>
                    <a:gd name="connsiteX104" fmla="*/ 440077 w 4519987"/>
                    <a:gd name="connsiteY104" fmla="*/ 3495675 h 4496940"/>
                    <a:gd name="connsiteX105" fmla="*/ 411502 w 4519987"/>
                    <a:gd name="connsiteY105" fmla="*/ 3448050 h 4496940"/>
                    <a:gd name="connsiteX106" fmla="*/ 278152 w 4519987"/>
                    <a:gd name="connsiteY106" fmla="*/ 3257550 h 4496940"/>
                    <a:gd name="connsiteX107" fmla="*/ 249577 w 4519987"/>
                    <a:gd name="connsiteY107" fmla="*/ 3200400 h 4496940"/>
                    <a:gd name="connsiteX108" fmla="*/ 240052 w 4519987"/>
                    <a:gd name="connsiteY108" fmla="*/ 3162300 h 4496940"/>
                    <a:gd name="connsiteX109" fmla="*/ 221002 w 4519987"/>
                    <a:gd name="connsiteY109" fmla="*/ 3105150 h 4496940"/>
                    <a:gd name="connsiteX110" fmla="*/ 173377 w 4519987"/>
                    <a:gd name="connsiteY110" fmla="*/ 3019425 h 4496940"/>
                    <a:gd name="connsiteX111" fmla="*/ 144802 w 4519987"/>
                    <a:gd name="connsiteY111" fmla="*/ 2924175 h 4496940"/>
                    <a:gd name="connsiteX112" fmla="*/ 68602 w 4519987"/>
                    <a:gd name="connsiteY112" fmla="*/ 2724150 h 4496940"/>
                    <a:gd name="connsiteX113" fmla="*/ 49552 w 4519987"/>
                    <a:gd name="connsiteY113" fmla="*/ 2638425 h 4496940"/>
                    <a:gd name="connsiteX114" fmla="*/ 40027 w 4519987"/>
                    <a:gd name="connsiteY114" fmla="*/ 2562225 h 4496940"/>
                    <a:gd name="connsiteX115" fmla="*/ 30502 w 4519987"/>
                    <a:gd name="connsiteY115" fmla="*/ 2514600 h 4496940"/>
                    <a:gd name="connsiteX116" fmla="*/ 11452 w 4519987"/>
                    <a:gd name="connsiteY116" fmla="*/ 2400300 h 4496940"/>
                    <a:gd name="connsiteX117" fmla="*/ 20977 w 4519987"/>
                    <a:gd name="connsiteY117" fmla="*/ 1905000 h 4496940"/>
                    <a:gd name="connsiteX118" fmla="*/ 30502 w 4519987"/>
                    <a:gd name="connsiteY118" fmla="*/ 1838325 h 4496940"/>
                    <a:gd name="connsiteX119" fmla="*/ 49552 w 4519987"/>
                    <a:gd name="connsiteY119" fmla="*/ 1781175 h 4496940"/>
                    <a:gd name="connsiteX120" fmla="*/ 59077 w 4519987"/>
                    <a:gd name="connsiteY120" fmla="*/ 1743075 h 4496940"/>
                    <a:gd name="connsiteX121" fmla="*/ 78127 w 4519987"/>
                    <a:gd name="connsiteY121" fmla="*/ 1685925 h 4496940"/>
                    <a:gd name="connsiteX122" fmla="*/ 87652 w 4519987"/>
                    <a:gd name="connsiteY122" fmla="*/ 1638300 h 4496940"/>
                    <a:gd name="connsiteX123" fmla="*/ 106702 w 4519987"/>
                    <a:gd name="connsiteY123" fmla="*/ 1590675 h 4496940"/>
                    <a:gd name="connsiteX124" fmla="*/ 135277 w 4519987"/>
                    <a:gd name="connsiteY124" fmla="*/ 1504950 h 4496940"/>
                    <a:gd name="connsiteX125" fmla="*/ 154327 w 4519987"/>
                    <a:gd name="connsiteY125" fmla="*/ 1419225 h 4496940"/>
                    <a:gd name="connsiteX126" fmla="*/ 230527 w 4519987"/>
                    <a:gd name="connsiteY126" fmla="*/ 1276350 h 4496940"/>
                    <a:gd name="connsiteX127" fmla="*/ 240052 w 4519987"/>
                    <a:gd name="connsiteY127" fmla="*/ 1247775 h 4496940"/>
                    <a:gd name="connsiteX128" fmla="*/ 268627 w 4519987"/>
                    <a:gd name="connsiteY128" fmla="*/ 1200150 h 4496940"/>
                    <a:gd name="connsiteX129" fmla="*/ 287677 w 4519987"/>
                    <a:gd name="connsiteY129" fmla="*/ 1152525 h 4496940"/>
                    <a:gd name="connsiteX130" fmla="*/ 316252 w 4519987"/>
                    <a:gd name="connsiteY130" fmla="*/ 1114425 h 4496940"/>
                    <a:gd name="connsiteX131" fmla="*/ 363877 w 4519987"/>
                    <a:gd name="connsiteY131" fmla="*/ 1038225 h 4496940"/>
                    <a:gd name="connsiteX132" fmla="*/ 382927 w 4519987"/>
                    <a:gd name="connsiteY132" fmla="*/ 1009650 h 4496940"/>
                    <a:gd name="connsiteX133" fmla="*/ 440077 w 4519987"/>
                    <a:gd name="connsiteY133" fmla="*/ 904875 h 4496940"/>
                    <a:gd name="connsiteX134" fmla="*/ 478177 w 4519987"/>
                    <a:gd name="connsiteY134" fmla="*/ 857250 h 4496940"/>
                    <a:gd name="connsiteX135" fmla="*/ 497227 w 4519987"/>
                    <a:gd name="connsiteY135" fmla="*/ 828675 h 4496940"/>
                    <a:gd name="connsiteX136" fmla="*/ 535327 w 4519987"/>
                    <a:gd name="connsiteY136" fmla="*/ 800100 h 4496940"/>
                    <a:gd name="connsiteX137" fmla="*/ 602002 w 4519987"/>
                    <a:gd name="connsiteY137" fmla="*/ 733425 h 4496940"/>
                    <a:gd name="connsiteX138" fmla="*/ 668677 w 4519987"/>
                    <a:gd name="connsiteY138" fmla="*/ 676275 h 4496940"/>
                    <a:gd name="connsiteX139" fmla="*/ 697252 w 4519987"/>
                    <a:gd name="connsiteY139" fmla="*/ 657225 h 4496940"/>
                    <a:gd name="connsiteX140" fmla="*/ 840127 w 4519987"/>
                    <a:gd name="connsiteY140" fmla="*/ 533400 h 4496940"/>
                    <a:gd name="connsiteX141" fmla="*/ 887752 w 4519987"/>
                    <a:gd name="connsiteY141" fmla="*/ 504825 h 4496940"/>
                    <a:gd name="connsiteX142" fmla="*/ 1167152 w 4519987"/>
                    <a:gd name="connsiteY142" fmla="*/ 311150 h 4496940"/>
                    <a:gd name="connsiteX143" fmla="*/ 1268752 w 4519987"/>
                    <a:gd name="connsiteY143" fmla="*/ 285750 h 4496940"/>
                    <a:gd name="connsiteX144" fmla="*/ 1411627 w 4519987"/>
                    <a:gd name="connsiteY144" fmla="*/ 190500 h 4496940"/>
                    <a:gd name="connsiteX145" fmla="*/ 1449727 w 4519987"/>
                    <a:gd name="connsiteY145" fmla="*/ 161925 h 4496940"/>
                    <a:gd name="connsiteX146" fmla="*/ 1525927 w 4519987"/>
                    <a:gd name="connsiteY146" fmla="*/ 152400 h 4496940"/>
                    <a:gd name="connsiteX147" fmla="*/ 1583077 w 4519987"/>
                    <a:gd name="connsiteY147" fmla="*/ 142875 h 4496940"/>
                    <a:gd name="connsiteX148" fmla="*/ 1716427 w 4519987"/>
                    <a:gd name="connsiteY148" fmla="*/ 123825 h 4496940"/>
                    <a:gd name="connsiteX149" fmla="*/ 1811677 w 4519987"/>
                    <a:gd name="connsiteY149" fmla="*/ 114300 h 4496940"/>
                    <a:gd name="connsiteX150" fmla="*/ 1859302 w 4519987"/>
                    <a:gd name="connsiteY150" fmla="*/ 104775 h 4496940"/>
                    <a:gd name="connsiteX151" fmla="*/ 1916452 w 4519987"/>
                    <a:gd name="connsiteY151" fmla="*/ 95250 h 4496940"/>
                    <a:gd name="connsiteX152" fmla="*/ 2030752 w 4519987"/>
                    <a:gd name="connsiteY152" fmla="*/ 66675 h 4496940"/>
                    <a:gd name="connsiteX153" fmla="*/ 2097427 w 4519987"/>
                    <a:gd name="connsiteY153" fmla="*/ 47625 h 4496940"/>
                    <a:gd name="connsiteX154" fmla="*/ 2164102 w 4519987"/>
                    <a:gd name="connsiteY154" fmla="*/ 38100 h 4496940"/>
                    <a:gd name="connsiteX155" fmla="*/ 2392702 w 4519987"/>
                    <a:gd name="connsiteY15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907177 w 4519987"/>
                    <a:gd name="connsiteY25" fmla="*/ 647700 h 4496940"/>
                    <a:gd name="connsiteX26" fmla="*/ 3935752 w 4519987"/>
                    <a:gd name="connsiteY26" fmla="*/ 676275 h 4496940"/>
                    <a:gd name="connsiteX27" fmla="*/ 4078627 w 4519987"/>
                    <a:gd name="connsiteY27" fmla="*/ 838200 h 4496940"/>
                    <a:gd name="connsiteX28" fmla="*/ 4135777 w 4519987"/>
                    <a:gd name="connsiteY28" fmla="*/ 933450 h 4496940"/>
                    <a:gd name="connsiteX29" fmla="*/ 4164352 w 4519987"/>
                    <a:gd name="connsiteY29" fmla="*/ 990600 h 4496940"/>
                    <a:gd name="connsiteX30" fmla="*/ 4173877 w 4519987"/>
                    <a:gd name="connsiteY30" fmla="*/ 1019175 h 4496940"/>
                    <a:gd name="connsiteX31" fmla="*/ 4192927 w 4519987"/>
                    <a:gd name="connsiteY31" fmla="*/ 1057275 h 4496940"/>
                    <a:gd name="connsiteX32" fmla="*/ 4202452 w 4519987"/>
                    <a:gd name="connsiteY32" fmla="*/ 1085850 h 4496940"/>
                    <a:gd name="connsiteX33" fmla="*/ 4250077 w 4519987"/>
                    <a:gd name="connsiteY33" fmla="*/ 1143000 h 4496940"/>
                    <a:gd name="connsiteX34" fmla="*/ 4259602 w 4519987"/>
                    <a:gd name="connsiteY34" fmla="*/ 1190625 h 4496940"/>
                    <a:gd name="connsiteX35" fmla="*/ 4307227 w 4519987"/>
                    <a:gd name="connsiteY35" fmla="*/ 1266825 h 4496940"/>
                    <a:gd name="connsiteX36" fmla="*/ 4345327 w 4519987"/>
                    <a:gd name="connsiteY36" fmla="*/ 1362075 h 4496940"/>
                    <a:gd name="connsiteX37" fmla="*/ 4373902 w 4519987"/>
                    <a:gd name="connsiteY37" fmla="*/ 1428750 h 4496940"/>
                    <a:gd name="connsiteX38" fmla="*/ 4392952 w 4519987"/>
                    <a:gd name="connsiteY38" fmla="*/ 1552575 h 4496940"/>
                    <a:gd name="connsiteX39" fmla="*/ 4402477 w 4519987"/>
                    <a:gd name="connsiteY39" fmla="*/ 1590675 h 4496940"/>
                    <a:gd name="connsiteX40" fmla="*/ 4431052 w 4519987"/>
                    <a:gd name="connsiteY40" fmla="*/ 1685925 h 4496940"/>
                    <a:gd name="connsiteX41" fmla="*/ 4519952 w 4519987"/>
                    <a:gd name="connsiteY41" fmla="*/ 2181225 h 4496940"/>
                    <a:gd name="connsiteX42" fmla="*/ 4446927 w 4519987"/>
                    <a:gd name="connsiteY42" fmla="*/ 2768600 h 4496940"/>
                    <a:gd name="connsiteX43" fmla="*/ 4383427 w 4519987"/>
                    <a:gd name="connsiteY43" fmla="*/ 2990850 h 4496940"/>
                    <a:gd name="connsiteX44" fmla="*/ 4278652 w 4519987"/>
                    <a:gd name="connsiteY44" fmla="*/ 3248025 h 4496940"/>
                    <a:gd name="connsiteX45" fmla="*/ 4259602 w 4519987"/>
                    <a:gd name="connsiteY45" fmla="*/ 3276600 h 4496940"/>
                    <a:gd name="connsiteX46" fmla="*/ 4221502 w 4519987"/>
                    <a:gd name="connsiteY46" fmla="*/ 3333750 h 4496940"/>
                    <a:gd name="connsiteX47" fmla="*/ 4211977 w 4519987"/>
                    <a:gd name="connsiteY47" fmla="*/ 3362325 h 4496940"/>
                    <a:gd name="connsiteX48" fmla="*/ 4183402 w 4519987"/>
                    <a:gd name="connsiteY48" fmla="*/ 3400425 h 4496940"/>
                    <a:gd name="connsiteX49" fmla="*/ 4164352 w 4519987"/>
                    <a:gd name="connsiteY49" fmla="*/ 3429000 h 4496940"/>
                    <a:gd name="connsiteX50" fmla="*/ 4088152 w 4519987"/>
                    <a:gd name="connsiteY50" fmla="*/ 3495675 h 4496940"/>
                    <a:gd name="connsiteX51" fmla="*/ 4059577 w 4519987"/>
                    <a:gd name="connsiteY51" fmla="*/ 3533775 h 4496940"/>
                    <a:gd name="connsiteX52" fmla="*/ 4002427 w 4519987"/>
                    <a:gd name="connsiteY52" fmla="*/ 3600450 h 4496940"/>
                    <a:gd name="connsiteX53" fmla="*/ 3983377 w 4519987"/>
                    <a:gd name="connsiteY53" fmla="*/ 3629025 h 4496940"/>
                    <a:gd name="connsiteX54" fmla="*/ 3954802 w 4519987"/>
                    <a:gd name="connsiteY54" fmla="*/ 3648075 h 4496940"/>
                    <a:gd name="connsiteX55" fmla="*/ 3907177 w 4519987"/>
                    <a:gd name="connsiteY55" fmla="*/ 3686175 h 4496940"/>
                    <a:gd name="connsiteX56" fmla="*/ 3869077 w 4519987"/>
                    <a:gd name="connsiteY56" fmla="*/ 3724275 h 4496940"/>
                    <a:gd name="connsiteX57" fmla="*/ 3792877 w 4519987"/>
                    <a:gd name="connsiteY57" fmla="*/ 3781425 h 4496940"/>
                    <a:gd name="connsiteX58" fmla="*/ 3783352 w 4519987"/>
                    <a:gd name="connsiteY58" fmla="*/ 3810000 h 4496940"/>
                    <a:gd name="connsiteX59" fmla="*/ 3745252 w 4519987"/>
                    <a:gd name="connsiteY59" fmla="*/ 3819525 h 4496940"/>
                    <a:gd name="connsiteX60" fmla="*/ 3678577 w 4519987"/>
                    <a:gd name="connsiteY60" fmla="*/ 3848100 h 4496940"/>
                    <a:gd name="connsiteX61" fmla="*/ 3659527 w 4519987"/>
                    <a:gd name="connsiteY61" fmla="*/ 3971925 h 4496940"/>
                    <a:gd name="connsiteX62" fmla="*/ 3630952 w 4519987"/>
                    <a:gd name="connsiteY62" fmla="*/ 4010025 h 4496940"/>
                    <a:gd name="connsiteX63" fmla="*/ 3621427 w 4519987"/>
                    <a:gd name="connsiteY63" fmla="*/ 4038600 h 4496940"/>
                    <a:gd name="connsiteX64" fmla="*/ 3554752 w 4519987"/>
                    <a:gd name="connsiteY64" fmla="*/ 4095750 h 4496940"/>
                    <a:gd name="connsiteX65" fmla="*/ 3516652 w 4519987"/>
                    <a:gd name="connsiteY65" fmla="*/ 4114800 h 4496940"/>
                    <a:gd name="connsiteX66" fmla="*/ 3497602 w 4519987"/>
                    <a:gd name="connsiteY66" fmla="*/ 4143375 h 4496940"/>
                    <a:gd name="connsiteX67" fmla="*/ 3383302 w 4519987"/>
                    <a:gd name="connsiteY67" fmla="*/ 4210050 h 4496940"/>
                    <a:gd name="connsiteX68" fmla="*/ 3335677 w 4519987"/>
                    <a:gd name="connsiteY68" fmla="*/ 4238625 h 4496940"/>
                    <a:gd name="connsiteX69" fmla="*/ 3288052 w 4519987"/>
                    <a:gd name="connsiteY69" fmla="*/ 4248150 h 4496940"/>
                    <a:gd name="connsiteX70" fmla="*/ 3240427 w 4519987"/>
                    <a:gd name="connsiteY70" fmla="*/ 4267200 h 4496940"/>
                    <a:gd name="connsiteX71" fmla="*/ 3068977 w 4519987"/>
                    <a:gd name="connsiteY71" fmla="*/ 4286250 h 4496940"/>
                    <a:gd name="connsiteX72" fmla="*/ 2935627 w 4519987"/>
                    <a:gd name="connsiteY72" fmla="*/ 4333875 h 4496940"/>
                    <a:gd name="connsiteX73" fmla="*/ 2811802 w 4519987"/>
                    <a:gd name="connsiteY73" fmla="*/ 4371975 h 4496940"/>
                    <a:gd name="connsiteX74" fmla="*/ 2745127 w 4519987"/>
                    <a:gd name="connsiteY74" fmla="*/ 4410075 h 4496940"/>
                    <a:gd name="connsiteX75" fmla="*/ 2697502 w 4519987"/>
                    <a:gd name="connsiteY75" fmla="*/ 4429125 h 4496940"/>
                    <a:gd name="connsiteX76" fmla="*/ 2640352 w 4519987"/>
                    <a:gd name="connsiteY76" fmla="*/ 4457700 h 4496940"/>
                    <a:gd name="connsiteX77" fmla="*/ 2583202 w 4519987"/>
                    <a:gd name="connsiteY77" fmla="*/ 4467225 h 4496940"/>
                    <a:gd name="connsiteX78" fmla="*/ 2545102 w 4519987"/>
                    <a:gd name="connsiteY78" fmla="*/ 4486275 h 4496940"/>
                    <a:gd name="connsiteX79" fmla="*/ 2306977 w 4519987"/>
                    <a:gd name="connsiteY79" fmla="*/ 4476750 h 4496940"/>
                    <a:gd name="connsiteX80" fmla="*/ 2202202 w 4519987"/>
                    <a:gd name="connsiteY80" fmla="*/ 4457700 h 4496940"/>
                    <a:gd name="connsiteX81" fmla="*/ 2126002 w 4519987"/>
                    <a:gd name="connsiteY81" fmla="*/ 4429125 h 4496940"/>
                    <a:gd name="connsiteX82" fmla="*/ 1935502 w 4519987"/>
                    <a:gd name="connsiteY82" fmla="*/ 4400550 h 4496940"/>
                    <a:gd name="connsiteX83" fmla="*/ 1821202 w 4519987"/>
                    <a:gd name="connsiteY83" fmla="*/ 4371975 h 4496940"/>
                    <a:gd name="connsiteX84" fmla="*/ 1754527 w 4519987"/>
                    <a:gd name="connsiteY84" fmla="*/ 4352925 h 4496940"/>
                    <a:gd name="connsiteX85" fmla="*/ 1687852 w 4519987"/>
                    <a:gd name="connsiteY85" fmla="*/ 4343400 h 4496940"/>
                    <a:gd name="connsiteX86" fmla="*/ 1573552 w 4519987"/>
                    <a:gd name="connsiteY86" fmla="*/ 4305300 h 4496940"/>
                    <a:gd name="connsiteX87" fmla="*/ 1402102 w 4519987"/>
                    <a:gd name="connsiteY87" fmla="*/ 4276725 h 4496940"/>
                    <a:gd name="connsiteX88" fmla="*/ 1287802 w 4519987"/>
                    <a:gd name="connsiteY88" fmla="*/ 4229100 h 4496940"/>
                    <a:gd name="connsiteX89" fmla="*/ 1221127 w 4519987"/>
                    <a:gd name="connsiteY89" fmla="*/ 4200525 h 4496940"/>
                    <a:gd name="connsiteX90" fmla="*/ 1144927 w 4519987"/>
                    <a:gd name="connsiteY90" fmla="*/ 4171950 h 4496940"/>
                    <a:gd name="connsiteX91" fmla="*/ 1087777 w 4519987"/>
                    <a:gd name="connsiteY91" fmla="*/ 4143375 h 4496940"/>
                    <a:gd name="connsiteX92" fmla="*/ 1030627 w 4519987"/>
                    <a:gd name="connsiteY92" fmla="*/ 4124325 h 4496940"/>
                    <a:gd name="connsiteX93" fmla="*/ 925852 w 4519987"/>
                    <a:gd name="connsiteY93" fmla="*/ 4067175 h 4496940"/>
                    <a:gd name="connsiteX94" fmla="*/ 830602 w 4519987"/>
                    <a:gd name="connsiteY94" fmla="*/ 3981450 h 4496940"/>
                    <a:gd name="connsiteX95" fmla="*/ 763927 w 4519987"/>
                    <a:gd name="connsiteY95" fmla="*/ 3914775 h 4496940"/>
                    <a:gd name="connsiteX96" fmla="*/ 725827 w 4519987"/>
                    <a:gd name="connsiteY96" fmla="*/ 3876675 h 4496940"/>
                    <a:gd name="connsiteX97" fmla="*/ 697252 w 4519987"/>
                    <a:gd name="connsiteY97" fmla="*/ 3838575 h 4496940"/>
                    <a:gd name="connsiteX98" fmla="*/ 640102 w 4519987"/>
                    <a:gd name="connsiteY98" fmla="*/ 3781425 h 4496940"/>
                    <a:gd name="connsiteX99" fmla="*/ 611527 w 4519987"/>
                    <a:gd name="connsiteY99" fmla="*/ 3733800 h 4496940"/>
                    <a:gd name="connsiteX100" fmla="*/ 554377 w 4519987"/>
                    <a:gd name="connsiteY100" fmla="*/ 3657600 h 4496940"/>
                    <a:gd name="connsiteX101" fmla="*/ 525802 w 4519987"/>
                    <a:gd name="connsiteY101" fmla="*/ 3609975 h 4496940"/>
                    <a:gd name="connsiteX102" fmla="*/ 497227 w 4519987"/>
                    <a:gd name="connsiteY102" fmla="*/ 3552825 h 4496940"/>
                    <a:gd name="connsiteX103" fmla="*/ 440077 w 4519987"/>
                    <a:gd name="connsiteY103" fmla="*/ 3495675 h 4496940"/>
                    <a:gd name="connsiteX104" fmla="*/ 411502 w 4519987"/>
                    <a:gd name="connsiteY104" fmla="*/ 3448050 h 4496940"/>
                    <a:gd name="connsiteX105" fmla="*/ 278152 w 4519987"/>
                    <a:gd name="connsiteY105" fmla="*/ 3257550 h 4496940"/>
                    <a:gd name="connsiteX106" fmla="*/ 249577 w 4519987"/>
                    <a:gd name="connsiteY106" fmla="*/ 3200400 h 4496940"/>
                    <a:gd name="connsiteX107" fmla="*/ 240052 w 4519987"/>
                    <a:gd name="connsiteY107" fmla="*/ 3162300 h 4496940"/>
                    <a:gd name="connsiteX108" fmla="*/ 221002 w 4519987"/>
                    <a:gd name="connsiteY108" fmla="*/ 3105150 h 4496940"/>
                    <a:gd name="connsiteX109" fmla="*/ 173377 w 4519987"/>
                    <a:gd name="connsiteY109" fmla="*/ 3019425 h 4496940"/>
                    <a:gd name="connsiteX110" fmla="*/ 144802 w 4519987"/>
                    <a:gd name="connsiteY110" fmla="*/ 2924175 h 4496940"/>
                    <a:gd name="connsiteX111" fmla="*/ 68602 w 4519987"/>
                    <a:gd name="connsiteY111" fmla="*/ 2724150 h 4496940"/>
                    <a:gd name="connsiteX112" fmla="*/ 49552 w 4519987"/>
                    <a:gd name="connsiteY112" fmla="*/ 2638425 h 4496940"/>
                    <a:gd name="connsiteX113" fmla="*/ 40027 w 4519987"/>
                    <a:gd name="connsiteY113" fmla="*/ 2562225 h 4496940"/>
                    <a:gd name="connsiteX114" fmla="*/ 30502 w 4519987"/>
                    <a:gd name="connsiteY114" fmla="*/ 2514600 h 4496940"/>
                    <a:gd name="connsiteX115" fmla="*/ 11452 w 4519987"/>
                    <a:gd name="connsiteY115" fmla="*/ 2400300 h 4496940"/>
                    <a:gd name="connsiteX116" fmla="*/ 20977 w 4519987"/>
                    <a:gd name="connsiteY116" fmla="*/ 1905000 h 4496940"/>
                    <a:gd name="connsiteX117" fmla="*/ 30502 w 4519987"/>
                    <a:gd name="connsiteY117" fmla="*/ 1838325 h 4496940"/>
                    <a:gd name="connsiteX118" fmla="*/ 49552 w 4519987"/>
                    <a:gd name="connsiteY118" fmla="*/ 1781175 h 4496940"/>
                    <a:gd name="connsiteX119" fmla="*/ 59077 w 4519987"/>
                    <a:gd name="connsiteY119" fmla="*/ 1743075 h 4496940"/>
                    <a:gd name="connsiteX120" fmla="*/ 78127 w 4519987"/>
                    <a:gd name="connsiteY120" fmla="*/ 1685925 h 4496940"/>
                    <a:gd name="connsiteX121" fmla="*/ 87652 w 4519987"/>
                    <a:gd name="connsiteY121" fmla="*/ 1638300 h 4496940"/>
                    <a:gd name="connsiteX122" fmla="*/ 106702 w 4519987"/>
                    <a:gd name="connsiteY122" fmla="*/ 1590675 h 4496940"/>
                    <a:gd name="connsiteX123" fmla="*/ 135277 w 4519987"/>
                    <a:gd name="connsiteY123" fmla="*/ 1504950 h 4496940"/>
                    <a:gd name="connsiteX124" fmla="*/ 154327 w 4519987"/>
                    <a:gd name="connsiteY124" fmla="*/ 1419225 h 4496940"/>
                    <a:gd name="connsiteX125" fmla="*/ 230527 w 4519987"/>
                    <a:gd name="connsiteY125" fmla="*/ 1276350 h 4496940"/>
                    <a:gd name="connsiteX126" fmla="*/ 240052 w 4519987"/>
                    <a:gd name="connsiteY126" fmla="*/ 1247775 h 4496940"/>
                    <a:gd name="connsiteX127" fmla="*/ 268627 w 4519987"/>
                    <a:gd name="connsiteY127" fmla="*/ 1200150 h 4496940"/>
                    <a:gd name="connsiteX128" fmla="*/ 287677 w 4519987"/>
                    <a:gd name="connsiteY128" fmla="*/ 1152525 h 4496940"/>
                    <a:gd name="connsiteX129" fmla="*/ 316252 w 4519987"/>
                    <a:gd name="connsiteY129" fmla="*/ 1114425 h 4496940"/>
                    <a:gd name="connsiteX130" fmla="*/ 363877 w 4519987"/>
                    <a:gd name="connsiteY130" fmla="*/ 1038225 h 4496940"/>
                    <a:gd name="connsiteX131" fmla="*/ 382927 w 4519987"/>
                    <a:gd name="connsiteY131" fmla="*/ 1009650 h 4496940"/>
                    <a:gd name="connsiteX132" fmla="*/ 440077 w 4519987"/>
                    <a:gd name="connsiteY132" fmla="*/ 904875 h 4496940"/>
                    <a:gd name="connsiteX133" fmla="*/ 478177 w 4519987"/>
                    <a:gd name="connsiteY133" fmla="*/ 857250 h 4496940"/>
                    <a:gd name="connsiteX134" fmla="*/ 497227 w 4519987"/>
                    <a:gd name="connsiteY134" fmla="*/ 828675 h 4496940"/>
                    <a:gd name="connsiteX135" fmla="*/ 535327 w 4519987"/>
                    <a:gd name="connsiteY135" fmla="*/ 800100 h 4496940"/>
                    <a:gd name="connsiteX136" fmla="*/ 602002 w 4519987"/>
                    <a:gd name="connsiteY136" fmla="*/ 733425 h 4496940"/>
                    <a:gd name="connsiteX137" fmla="*/ 668677 w 4519987"/>
                    <a:gd name="connsiteY137" fmla="*/ 676275 h 4496940"/>
                    <a:gd name="connsiteX138" fmla="*/ 697252 w 4519987"/>
                    <a:gd name="connsiteY138" fmla="*/ 657225 h 4496940"/>
                    <a:gd name="connsiteX139" fmla="*/ 840127 w 4519987"/>
                    <a:gd name="connsiteY139" fmla="*/ 533400 h 4496940"/>
                    <a:gd name="connsiteX140" fmla="*/ 887752 w 4519987"/>
                    <a:gd name="connsiteY140" fmla="*/ 504825 h 4496940"/>
                    <a:gd name="connsiteX141" fmla="*/ 1167152 w 4519987"/>
                    <a:gd name="connsiteY141" fmla="*/ 311150 h 4496940"/>
                    <a:gd name="connsiteX142" fmla="*/ 1268752 w 4519987"/>
                    <a:gd name="connsiteY142" fmla="*/ 285750 h 4496940"/>
                    <a:gd name="connsiteX143" fmla="*/ 1411627 w 4519987"/>
                    <a:gd name="connsiteY143" fmla="*/ 190500 h 4496940"/>
                    <a:gd name="connsiteX144" fmla="*/ 1449727 w 4519987"/>
                    <a:gd name="connsiteY144" fmla="*/ 161925 h 4496940"/>
                    <a:gd name="connsiteX145" fmla="*/ 1525927 w 4519987"/>
                    <a:gd name="connsiteY145" fmla="*/ 152400 h 4496940"/>
                    <a:gd name="connsiteX146" fmla="*/ 1583077 w 4519987"/>
                    <a:gd name="connsiteY146" fmla="*/ 142875 h 4496940"/>
                    <a:gd name="connsiteX147" fmla="*/ 1716427 w 4519987"/>
                    <a:gd name="connsiteY147" fmla="*/ 123825 h 4496940"/>
                    <a:gd name="connsiteX148" fmla="*/ 1811677 w 4519987"/>
                    <a:gd name="connsiteY148" fmla="*/ 114300 h 4496940"/>
                    <a:gd name="connsiteX149" fmla="*/ 1859302 w 4519987"/>
                    <a:gd name="connsiteY149" fmla="*/ 104775 h 4496940"/>
                    <a:gd name="connsiteX150" fmla="*/ 1916452 w 4519987"/>
                    <a:gd name="connsiteY150" fmla="*/ 95250 h 4496940"/>
                    <a:gd name="connsiteX151" fmla="*/ 2030752 w 4519987"/>
                    <a:gd name="connsiteY151" fmla="*/ 66675 h 4496940"/>
                    <a:gd name="connsiteX152" fmla="*/ 2097427 w 4519987"/>
                    <a:gd name="connsiteY152" fmla="*/ 47625 h 4496940"/>
                    <a:gd name="connsiteX153" fmla="*/ 2164102 w 4519987"/>
                    <a:gd name="connsiteY153" fmla="*/ 38100 h 4496940"/>
                    <a:gd name="connsiteX154" fmla="*/ 2392702 w 4519987"/>
                    <a:gd name="connsiteY15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907177 w 4519987"/>
                    <a:gd name="connsiteY24" fmla="*/ 647700 h 4496940"/>
                    <a:gd name="connsiteX25" fmla="*/ 3935752 w 4519987"/>
                    <a:gd name="connsiteY25" fmla="*/ 676275 h 4496940"/>
                    <a:gd name="connsiteX26" fmla="*/ 4078627 w 4519987"/>
                    <a:gd name="connsiteY26" fmla="*/ 838200 h 4496940"/>
                    <a:gd name="connsiteX27" fmla="*/ 4135777 w 4519987"/>
                    <a:gd name="connsiteY27" fmla="*/ 933450 h 4496940"/>
                    <a:gd name="connsiteX28" fmla="*/ 4164352 w 4519987"/>
                    <a:gd name="connsiteY28" fmla="*/ 990600 h 4496940"/>
                    <a:gd name="connsiteX29" fmla="*/ 4173877 w 4519987"/>
                    <a:gd name="connsiteY29" fmla="*/ 1019175 h 4496940"/>
                    <a:gd name="connsiteX30" fmla="*/ 4192927 w 4519987"/>
                    <a:gd name="connsiteY30" fmla="*/ 1057275 h 4496940"/>
                    <a:gd name="connsiteX31" fmla="*/ 4202452 w 4519987"/>
                    <a:gd name="connsiteY31" fmla="*/ 1085850 h 4496940"/>
                    <a:gd name="connsiteX32" fmla="*/ 4250077 w 4519987"/>
                    <a:gd name="connsiteY32" fmla="*/ 1143000 h 4496940"/>
                    <a:gd name="connsiteX33" fmla="*/ 4259602 w 4519987"/>
                    <a:gd name="connsiteY33" fmla="*/ 1190625 h 4496940"/>
                    <a:gd name="connsiteX34" fmla="*/ 4307227 w 4519987"/>
                    <a:gd name="connsiteY34" fmla="*/ 1266825 h 4496940"/>
                    <a:gd name="connsiteX35" fmla="*/ 4345327 w 4519987"/>
                    <a:gd name="connsiteY35" fmla="*/ 1362075 h 4496940"/>
                    <a:gd name="connsiteX36" fmla="*/ 4373902 w 4519987"/>
                    <a:gd name="connsiteY36" fmla="*/ 1428750 h 4496940"/>
                    <a:gd name="connsiteX37" fmla="*/ 4392952 w 4519987"/>
                    <a:gd name="connsiteY37" fmla="*/ 1552575 h 4496940"/>
                    <a:gd name="connsiteX38" fmla="*/ 4402477 w 4519987"/>
                    <a:gd name="connsiteY38" fmla="*/ 1590675 h 4496940"/>
                    <a:gd name="connsiteX39" fmla="*/ 4431052 w 4519987"/>
                    <a:gd name="connsiteY39" fmla="*/ 1685925 h 4496940"/>
                    <a:gd name="connsiteX40" fmla="*/ 4519952 w 4519987"/>
                    <a:gd name="connsiteY40" fmla="*/ 2181225 h 4496940"/>
                    <a:gd name="connsiteX41" fmla="*/ 4446927 w 4519987"/>
                    <a:gd name="connsiteY41" fmla="*/ 2768600 h 4496940"/>
                    <a:gd name="connsiteX42" fmla="*/ 4383427 w 4519987"/>
                    <a:gd name="connsiteY42" fmla="*/ 2990850 h 4496940"/>
                    <a:gd name="connsiteX43" fmla="*/ 4278652 w 4519987"/>
                    <a:gd name="connsiteY43" fmla="*/ 3248025 h 4496940"/>
                    <a:gd name="connsiteX44" fmla="*/ 4259602 w 4519987"/>
                    <a:gd name="connsiteY44" fmla="*/ 3276600 h 4496940"/>
                    <a:gd name="connsiteX45" fmla="*/ 4221502 w 4519987"/>
                    <a:gd name="connsiteY45" fmla="*/ 3333750 h 4496940"/>
                    <a:gd name="connsiteX46" fmla="*/ 4211977 w 4519987"/>
                    <a:gd name="connsiteY46" fmla="*/ 3362325 h 4496940"/>
                    <a:gd name="connsiteX47" fmla="*/ 4183402 w 4519987"/>
                    <a:gd name="connsiteY47" fmla="*/ 3400425 h 4496940"/>
                    <a:gd name="connsiteX48" fmla="*/ 4164352 w 4519987"/>
                    <a:gd name="connsiteY48" fmla="*/ 3429000 h 4496940"/>
                    <a:gd name="connsiteX49" fmla="*/ 4088152 w 4519987"/>
                    <a:gd name="connsiteY49" fmla="*/ 3495675 h 4496940"/>
                    <a:gd name="connsiteX50" fmla="*/ 4059577 w 4519987"/>
                    <a:gd name="connsiteY50" fmla="*/ 3533775 h 4496940"/>
                    <a:gd name="connsiteX51" fmla="*/ 4002427 w 4519987"/>
                    <a:gd name="connsiteY51" fmla="*/ 3600450 h 4496940"/>
                    <a:gd name="connsiteX52" fmla="*/ 3983377 w 4519987"/>
                    <a:gd name="connsiteY52" fmla="*/ 3629025 h 4496940"/>
                    <a:gd name="connsiteX53" fmla="*/ 3954802 w 4519987"/>
                    <a:gd name="connsiteY53" fmla="*/ 3648075 h 4496940"/>
                    <a:gd name="connsiteX54" fmla="*/ 3907177 w 4519987"/>
                    <a:gd name="connsiteY54" fmla="*/ 3686175 h 4496940"/>
                    <a:gd name="connsiteX55" fmla="*/ 3869077 w 4519987"/>
                    <a:gd name="connsiteY55" fmla="*/ 3724275 h 4496940"/>
                    <a:gd name="connsiteX56" fmla="*/ 3792877 w 4519987"/>
                    <a:gd name="connsiteY56" fmla="*/ 3781425 h 4496940"/>
                    <a:gd name="connsiteX57" fmla="*/ 3783352 w 4519987"/>
                    <a:gd name="connsiteY57" fmla="*/ 3810000 h 4496940"/>
                    <a:gd name="connsiteX58" fmla="*/ 3745252 w 4519987"/>
                    <a:gd name="connsiteY58" fmla="*/ 3819525 h 4496940"/>
                    <a:gd name="connsiteX59" fmla="*/ 3678577 w 4519987"/>
                    <a:gd name="connsiteY59" fmla="*/ 3848100 h 4496940"/>
                    <a:gd name="connsiteX60" fmla="*/ 3659527 w 4519987"/>
                    <a:gd name="connsiteY60" fmla="*/ 3971925 h 4496940"/>
                    <a:gd name="connsiteX61" fmla="*/ 3630952 w 4519987"/>
                    <a:gd name="connsiteY61" fmla="*/ 4010025 h 4496940"/>
                    <a:gd name="connsiteX62" fmla="*/ 3621427 w 4519987"/>
                    <a:gd name="connsiteY62" fmla="*/ 4038600 h 4496940"/>
                    <a:gd name="connsiteX63" fmla="*/ 3554752 w 4519987"/>
                    <a:gd name="connsiteY63" fmla="*/ 4095750 h 4496940"/>
                    <a:gd name="connsiteX64" fmla="*/ 3516652 w 4519987"/>
                    <a:gd name="connsiteY64" fmla="*/ 4114800 h 4496940"/>
                    <a:gd name="connsiteX65" fmla="*/ 3497602 w 4519987"/>
                    <a:gd name="connsiteY65" fmla="*/ 4143375 h 4496940"/>
                    <a:gd name="connsiteX66" fmla="*/ 3383302 w 4519987"/>
                    <a:gd name="connsiteY66" fmla="*/ 4210050 h 4496940"/>
                    <a:gd name="connsiteX67" fmla="*/ 3335677 w 4519987"/>
                    <a:gd name="connsiteY67" fmla="*/ 4238625 h 4496940"/>
                    <a:gd name="connsiteX68" fmla="*/ 3288052 w 4519987"/>
                    <a:gd name="connsiteY68" fmla="*/ 4248150 h 4496940"/>
                    <a:gd name="connsiteX69" fmla="*/ 3240427 w 4519987"/>
                    <a:gd name="connsiteY69" fmla="*/ 4267200 h 4496940"/>
                    <a:gd name="connsiteX70" fmla="*/ 3068977 w 4519987"/>
                    <a:gd name="connsiteY70" fmla="*/ 4286250 h 4496940"/>
                    <a:gd name="connsiteX71" fmla="*/ 2935627 w 4519987"/>
                    <a:gd name="connsiteY71" fmla="*/ 4333875 h 4496940"/>
                    <a:gd name="connsiteX72" fmla="*/ 2811802 w 4519987"/>
                    <a:gd name="connsiteY72" fmla="*/ 4371975 h 4496940"/>
                    <a:gd name="connsiteX73" fmla="*/ 2745127 w 4519987"/>
                    <a:gd name="connsiteY73" fmla="*/ 4410075 h 4496940"/>
                    <a:gd name="connsiteX74" fmla="*/ 2697502 w 4519987"/>
                    <a:gd name="connsiteY74" fmla="*/ 4429125 h 4496940"/>
                    <a:gd name="connsiteX75" fmla="*/ 2640352 w 4519987"/>
                    <a:gd name="connsiteY75" fmla="*/ 4457700 h 4496940"/>
                    <a:gd name="connsiteX76" fmla="*/ 2583202 w 4519987"/>
                    <a:gd name="connsiteY76" fmla="*/ 4467225 h 4496940"/>
                    <a:gd name="connsiteX77" fmla="*/ 2545102 w 4519987"/>
                    <a:gd name="connsiteY77" fmla="*/ 4486275 h 4496940"/>
                    <a:gd name="connsiteX78" fmla="*/ 2306977 w 4519987"/>
                    <a:gd name="connsiteY78" fmla="*/ 4476750 h 4496940"/>
                    <a:gd name="connsiteX79" fmla="*/ 2202202 w 4519987"/>
                    <a:gd name="connsiteY79" fmla="*/ 4457700 h 4496940"/>
                    <a:gd name="connsiteX80" fmla="*/ 2126002 w 4519987"/>
                    <a:gd name="connsiteY80" fmla="*/ 4429125 h 4496940"/>
                    <a:gd name="connsiteX81" fmla="*/ 1935502 w 4519987"/>
                    <a:gd name="connsiteY81" fmla="*/ 4400550 h 4496940"/>
                    <a:gd name="connsiteX82" fmla="*/ 1821202 w 4519987"/>
                    <a:gd name="connsiteY82" fmla="*/ 4371975 h 4496940"/>
                    <a:gd name="connsiteX83" fmla="*/ 1754527 w 4519987"/>
                    <a:gd name="connsiteY83" fmla="*/ 4352925 h 4496940"/>
                    <a:gd name="connsiteX84" fmla="*/ 1687852 w 4519987"/>
                    <a:gd name="connsiteY84" fmla="*/ 4343400 h 4496940"/>
                    <a:gd name="connsiteX85" fmla="*/ 1573552 w 4519987"/>
                    <a:gd name="connsiteY85" fmla="*/ 4305300 h 4496940"/>
                    <a:gd name="connsiteX86" fmla="*/ 1402102 w 4519987"/>
                    <a:gd name="connsiteY86" fmla="*/ 4276725 h 4496940"/>
                    <a:gd name="connsiteX87" fmla="*/ 1287802 w 4519987"/>
                    <a:gd name="connsiteY87" fmla="*/ 4229100 h 4496940"/>
                    <a:gd name="connsiteX88" fmla="*/ 1221127 w 4519987"/>
                    <a:gd name="connsiteY88" fmla="*/ 4200525 h 4496940"/>
                    <a:gd name="connsiteX89" fmla="*/ 1144927 w 4519987"/>
                    <a:gd name="connsiteY89" fmla="*/ 4171950 h 4496940"/>
                    <a:gd name="connsiteX90" fmla="*/ 1087777 w 4519987"/>
                    <a:gd name="connsiteY90" fmla="*/ 4143375 h 4496940"/>
                    <a:gd name="connsiteX91" fmla="*/ 1030627 w 4519987"/>
                    <a:gd name="connsiteY91" fmla="*/ 4124325 h 4496940"/>
                    <a:gd name="connsiteX92" fmla="*/ 925852 w 4519987"/>
                    <a:gd name="connsiteY92" fmla="*/ 4067175 h 4496940"/>
                    <a:gd name="connsiteX93" fmla="*/ 830602 w 4519987"/>
                    <a:gd name="connsiteY93" fmla="*/ 3981450 h 4496940"/>
                    <a:gd name="connsiteX94" fmla="*/ 763927 w 4519987"/>
                    <a:gd name="connsiteY94" fmla="*/ 3914775 h 4496940"/>
                    <a:gd name="connsiteX95" fmla="*/ 725827 w 4519987"/>
                    <a:gd name="connsiteY95" fmla="*/ 3876675 h 4496940"/>
                    <a:gd name="connsiteX96" fmla="*/ 697252 w 4519987"/>
                    <a:gd name="connsiteY96" fmla="*/ 3838575 h 4496940"/>
                    <a:gd name="connsiteX97" fmla="*/ 640102 w 4519987"/>
                    <a:gd name="connsiteY97" fmla="*/ 3781425 h 4496940"/>
                    <a:gd name="connsiteX98" fmla="*/ 611527 w 4519987"/>
                    <a:gd name="connsiteY98" fmla="*/ 3733800 h 4496940"/>
                    <a:gd name="connsiteX99" fmla="*/ 554377 w 4519987"/>
                    <a:gd name="connsiteY99" fmla="*/ 3657600 h 4496940"/>
                    <a:gd name="connsiteX100" fmla="*/ 525802 w 4519987"/>
                    <a:gd name="connsiteY100" fmla="*/ 3609975 h 4496940"/>
                    <a:gd name="connsiteX101" fmla="*/ 497227 w 4519987"/>
                    <a:gd name="connsiteY101" fmla="*/ 3552825 h 4496940"/>
                    <a:gd name="connsiteX102" fmla="*/ 440077 w 4519987"/>
                    <a:gd name="connsiteY102" fmla="*/ 3495675 h 4496940"/>
                    <a:gd name="connsiteX103" fmla="*/ 411502 w 4519987"/>
                    <a:gd name="connsiteY103" fmla="*/ 3448050 h 4496940"/>
                    <a:gd name="connsiteX104" fmla="*/ 278152 w 4519987"/>
                    <a:gd name="connsiteY104" fmla="*/ 3257550 h 4496940"/>
                    <a:gd name="connsiteX105" fmla="*/ 249577 w 4519987"/>
                    <a:gd name="connsiteY105" fmla="*/ 3200400 h 4496940"/>
                    <a:gd name="connsiteX106" fmla="*/ 240052 w 4519987"/>
                    <a:gd name="connsiteY106" fmla="*/ 3162300 h 4496940"/>
                    <a:gd name="connsiteX107" fmla="*/ 221002 w 4519987"/>
                    <a:gd name="connsiteY107" fmla="*/ 3105150 h 4496940"/>
                    <a:gd name="connsiteX108" fmla="*/ 173377 w 4519987"/>
                    <a:gd name="connsiteY108" fmla="*/ 3019425 h 4496940"/>
                    <a:gd name="connsiteX109" fmla="*/ 144802 w 4519987"/>
                    <a:gd name="connsiteY109" fmla="*/ 2924175 h 4496940"/>
                    <a:gd name="connsiteX110" fmla="*/ 68602 w 4519987"/>
                    <a:gd name="connsiteY110" fmla="*/ 2724150 h 4496940"/>
                    <a:gd name="connsiteX111" fmla="*/ 49552 w 4519987"/>
                    <a:gd name="connsiteY111" fmla="*/ 2638425 h 4496940"/>
                    <a:gd name="connsiteX112" fmla="*/ 40027 w 4519987"/>
                    <a:gd name="connsiteY112" fmla="*/ 2562225 h 4496940"/>
                    <a:gd name="connsiteX113" fmla="*/ 30502 w 4519987"/>
                    <a:gd name="connsiteY113" fmla="*/ 2514600 h 4496940"/>
                    <a:gd name="connsiteX114" fmla="*/ 11452 w 4519987"/>
                    <a:gd name="connsiteY114" fmla="*/ 2400300 h 4496940"/>
                    <a:gd name="connsiteX115" fmla="*/ 20977 w 4519987"/>
                    <a:gd name="connsiteY115" fmla="*/ 1905000 h 4496940"/>
                    <a:gd name="connsiteX116" fmla="*/ 30502 w 4519987"/>
                    <a:gd name="connsiteY116" fmla="*/ 1838325 h 4496940"/>
                    <a:gd name="connsiteX117" fmla="*/ 49552 w 4519987"/>
                    <a:gd name="connsiteY117" fmla="*/ 1781175 h 4496940"/>
                    <a:gd name="connsiteX118" fmla="*/ 59077 w 4519987"/>
                    <a:gd name="connsiteY118" fmla="*/ 1743075 h 4496940"/>
                    <a:gd name="connsiteX119" fmla="*/ 78127 w 4519987"/>
                    <a:gd name="connsiteY119" fmla="*/ 1685925 h 4496940"/>
                    <a:gd name="connsiteX120" fmla="*/ 87652 w 4519987"/>
                    <a:gd name="connsiteY120" fmla="*/ 1638300 h 4496940"/>
                    <a:gd name="connsiteX121" fmla="*/ 106702 w 4519987"/>
                    <a:gd name="connsiteY121" fmla="*/ 1590675 h 4496940"/>
                    <a:gd name="connsiteX122" fmla="*/ 135277 w 4519987"/>
                    <a:gd name="connsiteY122" fmla="*/ 1504950 h 4496940"/>
                    <a:gd name="connsiteX123" fmla="*/ 154327 w 4519987"/>
                    <a:gd name="connsiteY123" fmla="*/ 1419225 h 4496940"/>
                    <a:gd name="connsiteX124" fmla="*/ 230527 w 4519987"/>
                    <a:gd name="connsiteY124" fmla="*/ 1276350 h 4496940"/>
                    <a:gd name="connsiteX125" fmla="*/ 240052 w 4519987"/>
                    <a:gd name="connsiteY125" fmla="*/ 1247775 h 4496940"/>
                    <a:gd name="connsiteX126" fmla="*/ 268627 w 4519987"/>
                    <a:gd name="connsiteY126" fmla="*/ 1200150 h 4496940"/>
                    <a:gd name="connsiteX127" fmla="*/ 287677 w 4519987"/>
                    <a:gd name="connsiteY127" fmla="*/ 1152525 h 4496940"/>
                    <a:gd name="connsiteX128" fmla="*/ 316252 w 4519987"/>
                    <a:gd name="connsiteY128" fmla="*/ 1114425 h 4496940"/>
                    <a:gd name="connsiteX129" fmla="*/ 363877 w 4519987"/>
                    <a:gd name="connsiteY129" fmla="*/ 1038225 h 4496940"/>
                    <a:gd name="connsiteX130" fmla="*/ 382927 w 4519987"/>
                    <a:gd name="connsiteY130" fmla="*/ 1009650 h 4496940"/>
                    <a:gd name="connsiteX131" fmla="*/ 440077 w 4519987"/>
                    <a:gd name="connsiteY131" fmla="*/ 904875 h 4496940"/>
                    <a:gd name="connsiteX132" fmla="*/ 478177 w 4519987"/>
                    <a:gd name="connsiteY132" fmla="*/ 857250 h 4496940"/>
                    <a:gd name="connsiteX133" fmla="*/ 497227 w 4519987"/>
                    <a:gd name="connsiteY133" fmla="*/ 828675 h 4496940"/>
                    <a:gd name="connsiteX134" fmla="*/ 535327 w 4519987"/>
                    <a:gd name="connsiteY134" fmla="*/ 800100 h 4496940"/>
                    <a:gd name="connsiteX135" fmla="*/ 602002 w 4519987"/>
                    <a:gd name="connsiteY135" fmla="*/ 733425 h 4496940"/>
                    <a:gd name="connsiteX136" fmla="*/ 668677 w 4519987"/>
                    <a:gd name="connsiteY136" fmla="*/ 676275 h 4496940"/>
                    <a:gd name="connsiteX137" fmla="*/ 697252 w 4519987"/>
                    <a:gd name="connsiteY137" fmla="*/ 657225 h 4496940"/>
                    <a:gd name="connsiteX138" fmla="*/ 840127 w 4519987"/>
                    <a:gd name="connsiteY138" fmla="*/ 533400 h 4496940"/>
                    <a:gd name="connsiteX139" fmla="*/ 887752 w 4519987"/>
                    <a:gd name="connsiteY139" fmla="*/ 504825 h 4496940"/>
                    <a:gd name="connsiteX140" fmla="*/ 1167152 w 4519987"/>
                    <a:gd name="connsiteY140" fmla="*/ 311150 h 4496940"/>
                    <a:gd name="connsiteX141" fmla="*/ 1268752 w 4519987"/>
                    <a:gd name="connsiteY141" fmla="*/ 285750 h 4496940"/>
                    <a:gd name="connsiteX142" fmla="*/ 1411627 w 4519987"/>
                    <a:gd name="connsiteY142" fmla="*/ 190500 h 4496940"/>
                    <a:gd name="connsiteX143" fmla="*/ 1449727 w 4519987"/>
                    <a:gd name="connsiteY143" fmla="*/ 161925 h 4496940"/>
                    <a:gd name="connsiteX144" fmla="*/ 1525927 w 4519987"/>
                    <a:gd name="connsiteY144" fmla="*/ 152400 h 4496940"/>
                    <a:gd name="connsiteX145" fmla="*/ 1583077 w 4519987"/>
                    <a:gd name="connsiteY145" fmla="*/ 142875 h 4496940"/>
                    <a:gd name="connsiteX146" fmla="*/ 1716427 w 4519987"/>
                    <a:gd name="connsiteY146" fmla="*/ 123825 h 4496940"/>
                    <a:gd name="connsiteX147" fmla="*/ 1811677 w 4519987"/>
                    <a:gd name="connsiteY147" fmla="*/ 114300 h 4496940"/>
                    <a:gd name="connsiteX148" fmla="*/ 1859302 w 4519987"/>
                    <a:gd name="connsiteY148" fmla="*/ 104775 h 4496940"/>
                    <a:gd name="connsiteX149" fmla="*/ 1916452 w 4519987"/>
                    <a:gd name="connsiteY149" fmla="*/ 95250 h 4496940"/>
                    <a:gd name="connsiteX150" fmla="*/ 2030752 w 4519987"/>
                    <a:gd name="connsiteY150" fmla="*/ 66675 h 4496940"/>
                    <a:gd name="connsiteX151" fmla="*/ 2097427 w 4519987"/>
                    <a:gd name="connsiteY151" fmla="*/ 47625 h 4496940"/>
                    <a:gd name="connsiteX152" fmla="*/ 2164102 w 4519987"/>
                    <a:gd name="connsiteY152" fmla="*/ 38100 h 4496940"/>
                    <a:gd name="connsiteX153" fmla="*/ 2392702 w 4519987"/>
                    <a:gd name="connsiteY15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678577 w 4519987"/>
                    <a:gd name="connsiteY20" fmla="*/ 504825 h 4496940"/>
                    <a:gd name="connsiteX21" fmla="*/ 3745252 w 4519987"/>
                    <a:gd name="connsiteY21" fmla="*/ 542925 h 4496940"/>
                    <a:gd name="connsiteX22" fmla="*/ 3811927 w 4519987"/>
                    <a:gd name="connsiteY22" fmla="*/ 581025 h 4496940"/>
                    <a:gd name="connsiteX23" fmla="*/ 3907177 w 4519987"/>
                    <a:gd name="connsiteY23" fmla="*/ 647700 h 4496940"/>
                    <a:gd name="connsiteX24" fmla="*/ 3935752 w 4519987"/>
                    <a:gd name="connsiteY24" fmla="*/ 676275 h 4496940"/>
                    <a:gd name="connsiteX25" fmla="*/ 4078627 w 4519987"/>
                    <a:gd name="connsiteY25" fmla="*/ 838200 h 4496940"/>
                    <a:gd name="connsiteX26" fmla="*/ 4135777 w 4519987"/>
                    <a:gd name="connsiteY26" fmla="*/ 933450 h 4496940"/>
                    <a:gd name="connsiteX27" fmla="*/ 4164352 w 4519987"/>
                    <a:gd name="connsiteY27" fmla="*/ 990600 h 4496940"/>
                    <a:gd name="connsiteX28" fmla="*/ 4173877 w 4519987"/>
                    <a:gd name="connsiteY28" fmla="*/ 1019175 h 4496940"/>
                    <a:gd name="connsiteX29" fmla="*/ 4192927 w 4519987"/>
                    <a:gd name="connsiteY29" fmla="*/ 1057275 h 4496940"/>
                    <a:gd name="connsiteX30" fmla="*/ 4202452 w 4519987"/>
                    <a:gd name="connsiteY30" fmla="*/ 1085850 h 4496940"/>
                    <a:gd name="connsiteX31" fmla="*/ 4250077 w 4519987"/>
                    <a:gd name="connsiteY31" fmla="*/ 1143000 h 4496940"/>
                    <a:gd name="connsiteX32" fmla="*/ 4259602 w 4519987"/>
                    <a:gd name="connsiteY32" fmla="*/ 1190625 h 4496940"/>
                    <a:gd name="connsiteX33" fmla="*/ 4307227 w 4519987"/>
                    <a:gd name="connsiteY33" fmla="*/ 1266825 h 4496940"/>
                    <a:gd name="connsiteX34" fmla="*/ 4345327 w 4519987"/>
                    <a:gd name="connsiteY34" fmla="*/ 1362075 h 4496940"/>
                    <a:gd name="connsiteX35" fmla="*/ 4373902 w 4519987"/>
                    <a:gd name="connsiteY35" fmla="*/ 1428750 h 4496940"/>
                    <a:gd name="connsiteX36" fmla="*/ 4392952 w 4519987"/>
                    <a:gd name="connsiteY36" fmla="*/ 1552575 h 4496940"/>
                    <a:gd name="connsiteX37" fmla="*/ 4402477 w 4519987"/>
                    <a:gd name="connsiteY37" fmla="*/ 1590675 h 4496940"/>
                    <a:gd name="connsiteX38" fmla="*/ 4431052 w 4519987"/>
                    <a:gd name="connsiteY38" fmla="*/ 1685925 h 4496940"/>
                    <a:gd name="connsiteX39" fmla="*/ 4519952 w 4519987"/>
                    <a:gd name="connsiteY39" fmla="*/ 2181225 h 4496940"/>
                    <a:gd name="connsiteX40" fmla="*/ 4446927 w 4519987"/>
                    <a:gd name="connsiteY40" fmla="*/ 2768600 h 4496940"/>
                    <a:gd name="connsiteX41" fmla="*/ 4383427 w 4519987"/>
                    <a:gd name="connsiteY41" fmla="*/ 2990850 h 4496940"/>
                    <a:gd name="connsiteX42" fmla="*/ 4278652 w 4519987"/>
                    <a:gd name="connsiteY42" fmla="*/ 3248025 h 4496940"/>
                    <a:gd name="connsiteX43" fmla="*/ 4259602 w 4519987"/>
                    <a:gd name="connsiteY43" fmla="*/ 3276600 h 4496940"/>
                    <a:gd name="connsiteX44" fmla="*/ 4221502 w 4519987"/>
                    <a:gd name="connsiteY44" fmla="*/ 3333750 h 4496940"/>
                    <a:gd name="connsiteX45" fmla="*/ 4211977 w 4519987"/>
                    <a:gd name="connsiteY45" fmla="*/ 3362325 h 4496940"/>
                    <a:gd name="connsiteX46" fmla="*/ 4183402 w 4519987"/>
                    <a:gd name="connsiteY46" fmla="*/ 3400425 h 4496940"/>
                    <a:gd name="connsiteX47" fmla="*/ 4164352 w 4519987"/>
                    <a:gd name="connsiteY47" fmla="*/ 3429000 h 4496940"/>
                    <a:gd name="connsiteX48" fmla="*/ 4088152 w 4519987"/>
                    <a:gd name="connsiteY48" fmla="*/ 3495675 h 4496940"/>
                    <a:gd name="connsiteX49" fmla="*/ 4059577 w 4519987"/>
                    <a:gd name="connsiteY49" fmla="*/ 3533775 h 4496940"/>
                    <a:gd name="connsiteX50" fmla="*/ 4002427 w 4519987"/>
                    <a:gd name="connsiteY50" fmla="*/ 3600450 h 4496940"/>
                    <a:gd name="connsiteX51" fmla="*/ 3983377 w 4519987"/>
                    <a:gd name="connsiteY51" fmla="*/ 3629025 h 4496940"/>
                    <a:gd name="connsiteX52" fmla="*/ 3954802 w 4519987"/>
                    <a:gd name="connsiteY52" fmla="*/ 3648075 h 4496940"/>
                    <a:gd name="connsiteX53" fmla="*/ 3907177 w 4519987"/>
                    <a:gd name="connsiteY53" fmla="*/ 3686175 h 4496940"/>
                    <a:gd name="connsiteX54" fmla="*/ 3869077 w 4519987"/>
                    <a:gd name="connsiteY54" fmla="*/ 3724275 h 4496940"/>
                    <a:gd name="connsiteX55" fmla="*/ 3792877 w 4519987"/>
                    <a:gd name="connsiteY55" fmla="*/ 3781425 h 4496940"/>
                    <a:gd name="connsiteX56" fmla="*/ 3783352 w 4519987"/>
                    <a:gd name="connsiteY56" fmla="*/ 3810000 h 4496940"/>
                    <a:gd name="connsiteX57" fmla="*/ 3745252 w 4519987"/>
                    <a:gd name="connsiteY57" fmla="*/ 3819525 h 4496940"/>
                    <a:gd name="connsiteX58" fmla="*/ 3678577 w 4519987"/>
                    <a:gd name="connsiteY58" fmla="*/ 3848100 h 4496940"/>
                    <a:gd name="connsiteX59" fmla="*/ 3659527 w 4519987"/>
                    <a:gd name="connsiteY59" fmla="*/ 3971925 h 4496940"/>
                    <a:gd name="connsiteX60" fmla="*/ 3630952 w 4519987"/>
                    <a:gd name="connsiteY60" fmla="*/ 4010025 h 4496940"/>
                    <a:gd name="connsiteX61" fmla="*/ 3621427 w 4519987"/>
                    <a:gd name="connsiteY61" fmla="*/ 4038600 h 4496940"/>
                    <a:gd name="connsiteX62" fmla="*/ 3554752 w 4519987"/>
                    <a:gd name="connsiteY62" fmla="*/ 4095750 h 4496940"/>
                    <a:gd name="connsiteX63" fmla="*/ 3516652 w 4519987"/>
                    <a:gd name="connsiteY63" fmla="*/ 4114800 h 4496940"/>
                    <a:gd name="connsiteX64" fmla="*/ 3497602 w 4519987"/>
                    <a:gd name="connsiteY64" fmla="*/ 4143375 h 4496940"/>
                    <a:gd name="connsiteX65" fmla="*/ 3383302 w 4519987"/>
                    <a:gd name="connsiteY65" fmla="*/ 4210050 h 4496940"/>
                    <a:gd name="connsiteX66" fmla="*/ 3335677 w 4519987"/>
                    <a:gd name="connsiteY66" fmla="*/ 4238625 h 4496940"/>
                    <a:gd name="connsiteX67" fmla="*/ 3288052 w 4519987"/>
                    <a:gd name="connsiteY67" fmla="*/ 4248150 h 4496940"/>
                    <a:gd name="connsiteX68" fmla="*/ 3240427 w 4519987"/>
                    <a:gd name="connsiteY68" fmla="*/ 4267200 h 4496940"/>
                    <a:gd name="connsiteX69" fmla="*/ 3068977 w 4519987"/>
                    <a:gd name="connsiteY69" fmla="*/ 4286250 h 4496940"/>
                    <a:gd name="connsiteX70" fmla="*/ 2935627 w 4519987"/>
                    <a:gd name="connsiteY70" fmla="*/ 4333875 h 4496940"/>
                    <a:gd name="connsiteX71" fmla="*/ 2811802 w 4519987"/>
                    <a:gd name="connsiteY71" fmla="*/ 4371975 h 4496940"/>
                    <a:gd name="connsiteX72" fmla="*/ 2745127 w 4519987"/>
                    <a:gd name="connsiteY72" fmla="*/ 4410075 h 4496940"/>
                    <a:gd name="connsiteX73" fmla="*/ 2697502 w 4519987"/>
                    <a:gd name="connsiteY73" fmla="*/ 4429125 h 4496940"/>
                    <a:gd name="connsiteX74" fmla="*/ 2640352 w 4519987"/>
                    <a:gd name="connsiteY74" fmla="*/ 4457700 h 4496940"/>
                    <a:gd name="connsiteX75" fmla="*/ 2583202 w 4519987"/>
                    <a:gd name="connsiteY75" fmla="*/ 4467225 h 4496940"/>
                    <a:gd name="connsiteX76" fmla="*/ 2545102 w 4519987"/>
                    <a:gd name="connsiteY76" fmla="*/ 4486275 h 4496940"/>
                    <a:gd name="connsiteX77" fmla="*/ 2306977 w 4519987"/>
                    <a:gd name="connsiteY77" fmla="*/ 4476750 h 4496940"/>
                    <a:gd name="connsiteX78" fmla="*/ 2202202 w 4519987"/>
                    <a:gd name="connsiteY78" fmla="*/ 4457700 h 4496940"/>
                    <a:gd name="connsiteX79" fmla="*/ 2126002 w 4519987"/>
                    <a:gd name="connsiteY79" fmla="*/ 4429125 h 4496940"/>
                    <a:gd name="connsiteX80" fmla="*/ 1935502 w 4519987"/>
                    <a:gd name="connsiteY80" fmla="*/ 4400550 h 4496940"/>
                    <a:gd name="connsiteX81" fmla="*/ 1821202 w 4519987"/>
                    <a:gd name="connsiteY81" fmla="*/ 4371975 h 4496940"/>
                    <a:gd name="connsiteX82" fmla="*/ 1754527 w 4519987"/>
                    <a:gd name="connsiteY82" fmla="*/ 4352925 h 4496940"/>
                    <a:gd name="connsiteX83" fmla="*/ 1687852 w 4519987"/>
                    <a:gd name="connsiteY83" fmla="*/ 4343400 h 4496940"/>
                    <a:gd name="connsiteX84" fmla="*/ 1573552 w 4519987"/>
                    <a:gd name="connsiteY84" fmla="*/ 4305300 h 4496940"/>
                    <a:gd name="connsiteX85" fmla="*/ 1402102 w 4519987"/>
                    <a:gd name="connsiteY85" fmla="*/ 4276725 h 4496940"/>
                    <a:gd name="connsiteX86" fmla="*/ 1287802 w 4519987"/>
                    <a:gd name="connsiteY86" fmla="*/ 4229100 h 4496940"/>
                    <a:gd name="connsiteX87" fmla="*/ 1221127 w 4519987"/>
                    <a:gd name="connsiteY87" fmla="*/ 4200525 h 4496940"/>
                    <a:gd name="connsiteX88" fmla="*/ 1144927 w 4519987"/>
                    <a:gd name="connsiteY88" fmla="*/ 4171950 h 4496940"/>
                    <a:gd name="connsiteX89" fmla="*/ 1087777 w 4519987"/>
                    <a:gd name="connsiteY89" fmla="*/ 4143375 h 4496940"/>
                    <a:gd name="connsiteX90" fmla="*/ 1030627 w 4519987"/>
                    <a:gd name="connsiteY90" fmla="*/ 4124325 h 4496940"/>
                    <a:gd name="connsiteX91" fmla="*/ 925852 w 4519987"/>
                    <a:gd name="connsiteY91" fmla="*/ 4067175 h 4496940"/>
                    <a:gd name="connsiteX92" fmla="*/ 830602 w 4519987"/>
                    <a:gd name="connsiteY92" fmla="*/ 3981450 h 4496940"/>
                    <a:gd name="connsiteX93" fmla="*/ 763927 w 4519987"/>
                    <a:gd name="connsiteY93" fmla="*/ 3914775 h 4496940"/>
                    <a:gd name="connsiteX94" fmla="*/ 725827 w 4519987"/>
                    <a:gd name="connsiteY94" fmla="*/ 3876675 h 4496940"/>
                    <a:gd name="connsiteX95" fmla="*/ 697252 w 4519987"/>
                    <a:gd name="connsiteY95" fmla="*/ 3838575 h 4496940"/>
                    <a:gd name="connsiteX96" fmla="*/ 640102 w 4519987"/>
                    <a:gd name="connsiteY96" fmla="*/ 3781425 h 4496940"/>
                    <a:gd name="connsiteX97" fmla="*/ 611527 w 4519987"/>
                    <a:gd name="connsiteY97" fmla="*/ 3733800 h 4496940"/>
                    <a:gd name="connsiteX98" fmla="*/ 554377 w 4519987"/>
                    <a:gd name="connsiteY98" fmla="*/ 3657600 h 4496940"/>
                    <a:gd name="connsiteX99" fmla="*/ 525802 w 4519987"/>
                    <a:gd name="connsiteY99" fmla="*/ 3609975 h 4496940"/>
                    <a:gd name="connsiteX100" fmla="*/ 497227 w 4519987"/>
                    <a:gd name="connsiteY100" fmla="*/ 3552825 h 4496940"/>
                    <a:gd name="connsiteX101" fmla="*/ 440077 w 4519987"/>
                    <a:gd name="connsiteY101" fmla="*/ 3495675 h 4496940"/>
                    <a:gd name="connsiteX102" fmla="*/ 411502 w 4519987"/>
                    <a:gd name="connsiteY102" fmla="*/ 3448050 h 4496940"/>
                    <a:gd name="connsiteX103" fmla="*/ 278152 w 4519987"/>
                    <a:gd name="connsiteY103" fmla="*/ 3257550 h 4496940"/>
                    <a:gd name="connsiteX104" fmla="*/ 249577 w 4519987"/>
                    <a:gd name="connsiteY104" fmla="*/ 3200400 h 4496940"/>
                    <a:gd name="connsiteX105" fmla="*/ 240052 w 4519987"/>
                    <a:gd name="connsiteY105" fmla="*/ 3162300 h 4496940"/>
                    <a:gd name="connsiteX106" fmla="*/ 221002 w 4519987"/>
                    <a:gd name="connsiteY106" fmla="*/ 3105150 h 4496940"/>
                    <a:gd name="connsiteX107" fmla="*/ 173377 w 4519987"/>
                    <a:gd name="connsiteY107" fmla="*/ 3019425 h 4496940"/>
                    <a:gd name="connsiteX108" fmla="*/ 144802 w 4519987"/>
                    <a:gd name="connsiteY108" fmla="*/ 2924175 h 4496940"/>
                    <a:gd name="connsiteX109" fmla="*/ 68602 w 4519987"/>
                    <a:gd name="connsiteY109" fmla="*/ 2724150 h 4496940"/>
                    <a:gd name="connsiteX110" fmla="*/ 49552 w 4519987"/>
                    <a:gd name="connsiteY110" fmla="*/ 2638425 h 4496940"/>
                    <a:gd name="connsiteX111" fmla="*/ 40027 w 4519987"/>
                    <a:gd name="connsiteY111" fmla="*/ 2562225 h 4496940"/>
                    <a:gd name="connsiteX112" fmla="*/ 30502 w 4519987"/>
                    <a:gd name="connsiteY112" fmla="*/ 2514600 h 4496940"/>
                    <a:gd name="connsiteX113" fmla="*/ 11452 w 4519987"/>
                    <a:gd name="connsiteY113" fmla="*/ 2400300 h 4496940"/>
                    <a:gd name="connsiteX114" fmla="*/ 20977 w 4519987"/>
                    <a:gd name="connsiteY114" fmla="*/ 1905000 h 4496940"/>
                    <a:gd name="connsiteX115" fmla="*/ 30502 w 4519987"/>
                    <a:gd name="connsiteY115" fmla="*/ 1838325 h 4496940"/>
                    <a:gd name="connsiteX116" fmla="*/ 49552 w 4519987"/>
                    <a:gd name="connsiteY116" fmla="*/ 1781175 h 4496940"/>
                    <a:gd name="connsiteX117" fmla="*/ 59077 w 4519987"/>
                    <a:gd name="connsiteY117" fmla="*/ 1743075 h 4496940"/>
                    <a:gd name="connsiteX118" fmla="*/ 78127 w 4519987"/>
                    <a:gd name="connsiteY118" fmla="*/ 1685925 h 4496940"/>
                    <a:gd name="connsiteX119" fmla="*/ 87652 w 4519987"/>
                    <a:gd name="connsiteY119" fmla="*/ 1638300 h 4496940"/>
                    <a:gd name="connsiteX120" fmla="*/ 106702 w 4519987"/>
                    <a:gd name="connsiteY120" fmla="*/ 1590675 h 4496940"/>
                    <a:gd name="connsiteX121" fmla="*/ 135277 w 4519987"/>
                    <a:gd name="connsiteY121" fmla="*/ 1504950 h 4496940"/>
                    <a:gd name="connsiteX122" fmla="*/ 154327 w 4519987"/>
                    <a:gd name="connsiteY122" fmla="*/ 1419225 h 4496940"/>
                    <a:gd name="connsiteX123" fmla="*/ 230527 w 4519987"/>
                    <a:gd name="connsiteY123" fmla="*/ 1276350 h 4496940"/>
                    <a:gd name="connsiteX124" fmla="*/ 240052 w 4519987"/>
                    <a:gd name="connsiteY124" fmla="*/ 1247775 h 4496940"/>
                    <a:gd name="connsiteX125" fmla="*/ 268627 w 4519987"/>
                    <a:gd name="connsiteY125" fmla="*/ 1200150 h 4496940"/>
                    <a:gd name="connsiteX126" fmla="*/ 287677 w 4519987"/>
                    <a:gd name="connsiteY126" fmla="*/ 1152525 h 4496940"/>
                    <a:gd name="connsiteX127" fmla="*/ 316252 w 4519987"/>
                    <a:gd name="connsiteY127" fmla="*/ 1114425 h 4496940"/>
                    <a:gd name="connsiteX128" fmla="*/ 363877 w 4519987"/>
                    <a:gd name="connsiteY128" fmla="*/ 1038225 h 4496940"/>
                    <a:gd name="connsiteX129" fmla="*/ 382927 w 4519987"/>
                    <a:gd name="connsiteY129" fmla="*/ 1009650 h 4496940"/>
                    <a:gd name="connsiteX130" fmla="*/ 440077 w 4519987"/>
                    <a:gd name="connsiteY130" fmla="*/ 904875 h 4496940"/>
                    <a:gd name="connsiteX131" fmla="*/ 478177 w 4519987"/>
                    <a:gd name="connsiteY131" fmla="*/ 857250 h 4496940"/>
                    <a:gd name="connsiteX132" fmla="*/ 497227 w 4519987"/>
                    <a:gd name="connsiteY132" fmla="*/ 828675 h 4496940"/>
                    <a:gd name="connsiteX133" fmla="*/ 535327 w 4519987"/>
                    <a:gd name="connsiteY133" fmla="*/ 800100 h 4496940"/>
                    <a:gd name="connsiteX134" fmla="*/ 602002 w 4519987"/>
                    <a:gd name="connsiteY134" fmla="*/ 733425 h 4496940"/>
                    <a:gd name="connsiteX135" fmla="*/ 668677 w 4519987"/>
                    <a:gd name="connsiteY135" fmla="*/ 676275 h 4496940"/>
                    <a:gd name="connsiteX136" fmla="*/ 697252 w 4519987"/>
                    <a:gd name="connsiteY136" fmla="*/ 657225 h 4496940"/>
                    <a:gd name="connsiteX137" fmla="*/ 840127 w 4519987"/>
                    <a:gd name="connsiteY137" fmla="*/ 533400 h 4496940"/>
                    <a:gd name="connsiteX138" fmla="*/ 887752 w 4519987"/>
                    <a:gd name="connsiteY138" fmla="*/ 504825 h 4496940"/>
                    <a:gd name="connsiteX139" fmla="*/ 1167152 w 4519987"/>
                    <a:gd name="connsiteY139" fmla="*/ 311150 h 4496940"/>
                    <a:gd name="connsiteX140" fmla="*/ 1268752 w 4519987"/>
                    <a:gd name="connsiteY140" fmla="*/ 285750 h 4496940"/>
                    <a:gd name="connsiteX141" fmla="*/ 1411627 w 4519987"/>
                    <a:gd name="connsiteY141" fmla="*/ 190500 h 4496940"/>
                    <a:gd name="connsiteX142" fmla="*/ 1449727 w 4519987"/>
                    <a:gd name="connsiteY142" fmla="*/ 161925 h 4496940"/>
                    <a:gd name="connsiteX143" fmla="*/ 1525927 w 4519987"/>
                    <a:gd name="connsiteY143" fmla="*/ 152400 h 4496940"/>
                    <a:gd name="connsiteX144" fmla="*/ 1583077 w 4519987"/>
                    <a:gd name="connsiteY144" fmla="*/ 142875 h 4496940"/>
                    <a:gd name="connsiteX145" fmla="*/ 1716427 w 4519987"/>
                    <a:gd name="connsiteY145" fmla="*/ 123825 h 4496940"/>
                    <a:gd name="connsiteX146" fmla="*/ 1811677 w 4519987"/>
                    <a:gd name="connsiteY146" fmla="*/ 114300 h 4496940"/>
                    <a:gd name="connsiteX147" fmla="*/ 1859302 w 4519987"/>
                    <a:gd name="connsiteY147" fmla="*/ 104775 h 4496940"/>
                    <a:gd name="connsiteX148" fmla="*/ 1916452 w 4519987"/>
                    <a:gd name="connsiteY148" fmla="*/ 95250 h 4496940"/>
                    <a:gd name="connsiteX149" fmla="*/ 2030752 w 4519987"/>
                    <a:gd name="connsiteY149" fmla="*/ 66675 h 4496940"/>
                    <a:gd name="connsiteX150" fmla="*/ 2097427 w 4519987"/>
                    <a:gd name="connsiteY150" fmla="*/ 47625 h 4496940"/>
                    <a:gd name="connsiteX151" fmla="*/ 2164102 w 4519987"/>
                    <a:gd name="connsiteY151" fmla="*/ 38100 h 4496940"/>
                    <a:gd name="connsiteX152" fmla="*/ 2392702 w 4519987"/>
                    <a:gd name="connsiteY15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745252 w 4519987"/>
                    <a:gd name="connsiteY20" fmla="*/ 542925 h 4496940"/>
                    <a:gd name="connsiteX21" fmla="*/ 3811927 w 4519987"/>
                    <a:gd name="connsiteY21" fmla="*/ 581025 h 4496940"/>
                    <a:gd name="connsiteX22" fmla="*/ 3907177 w 4519987"/>
                    <a:gd name="connsiteY22" fmla="*/ 647700 h 4496940"/>
                    <a:gd name="connsiteX23" fmla="*/ 3935752 w 4519987"/>
                    <a:gd name="connsiteY23" fmla="*/ 676275 h 4496940"/>
                    <a:gd name="connsiteX24" fmla="*/ 4078627 w 4519987"/>
                    <a:gd name="connsiteY24" fmla="*/ 838200 h 4496940"/>
                    <a:gd name="connsiteX25" fmla="*/ 4135777 w 4519987"/>
                    <a:gd name="connsiteY25" fmla="*/ 933450 h 4496940"/>
                    <a:gd name="connsiteX26" fmla="*/ 4164352 w 4519987"/>
                    <a:gd name="connsiteY26" fmla="*/ 990600 h 4496940"/>
                    <a:gd name="connsiteX27" fmla="*/ 4173877 w 4519987"/>
                    <a:gd name="connsiteY27" fmla="*/ 1019175 h 4496940"/>
                    <a:gd name="connsiteX28" fmla="*/ 4192927 w 4519987"/>
                    <a:gd name="connsiteY28" fmla="*/ 1057275 h 4496940"/>
                    <a:gd name="connsiteX29" fmla="*/ 4202452 w 4519987"/>
                    <a:gd name="connsiteY29" fmla="*/ 1085850 h 4496940"/>
                    <a:gd name="connsiteX30" fmla="*/ 4250077 w 4519987"/>
                    <a:gd name="connsiteY30" fmla="*/ 1143000 h 4496940"/>
                    <a:gd name="connsiteX31" fmla="*/ 4259602 w 4519987"/>
                    <a:gd name="connsiteY31" fmla="*/ 1190625 h 4496940"/>
                    <a:gd name="connsiteX32" fmla="*/ 4307227 w 4519987"/>
                    <a:gd name="connsiteY32" fmla="*/ 1266825 h 4496940"/>
                    <a:gd name="connsiteX33" fmla="*/ 4345327 w 4519987"/>
                    <a:gd name="connsiteY33" fmla="*/ 1362075 h 4496940"/>
                    <a:gd name="connsiteX34" fmla="*/ 4373902 w 4519987"/>
                    <a:gd name="connsiteY34" fmla="*/ 1428750 h 4496940"/>
                    <a:gd name="connsiteX35" fmla="*/ 4392952 w 4519987"/>
                    <a:gd name="connsiteY35" fmla="*/ 1552575 h 4496940"/>
                    <a:gd name="connsiteX36" fmla="*/ 4402477 w 4519987"/>
                    <a:gd name="connsiteY36" fmla="*/ 1590675 h 4496940"/>
                    <a:gd name="connsiteX37" fmla="*/ 4431052 w 4519987"/>
                    <a:gd name="connsiteY37" fmla="*/ 1685925 h 4496940"/>
                    <a:gd name="connsiteX38" fmla="*/ 4519952 w 4519987"/>
                    <a:gd name="connsiteY38" fmla="*/ 2181225 h 4496940"/>
                    <a:gd name="connsiteX39" fmla="*/ 4446927 w 4519987"/>
                    <a:gd name="connsiteY39" fmla="*/ 2768600 h 4496940"/>
                    <a:gd name="connsiteX40" fmla="*/ 4383427 w 4519987"/>
                    <a:gd name="connsiteY40" fmla="*/ 2990850 h 4496940"/>
                    <a:gd name="connsiteX41" fmla="*/ 4278652 w 4519987"/>
                    <a:gd name="connsiteY41" fmla="*/ 3248025 h 4496940"/>
                    <a:gd name="connsiteX42" fmla="*/ 4259602 w 4519987"/>
                    <a:gd name="connsiteY42" fmla="*/ 3276600 h 4496940"/>
                    <a:gd name="connsiteX43" fmla="*/ 4221502 w 4519987"/>
                    <a:gd name="connsiteY43" fmla="*/ 3333750 h 4496940"/>
                    <a:gd name="connsiteX44" fmla="*/ 4211977 w 4519987"/>
                    <a:gd name="connsiteY44" fmla="*/ 3362325 h 4496940"/>
                    <a:gd name="connsiteX45" fmla="*/ 4183402 w 4519987"/>
                    <a:gd name="connsiteY45" fmla="*/ 3400425 h 4496940"/>
                    <a:gd name="connsiteX46" fmla="*/ 4164352 w 4519987"/>
                    <a:gd name="connsiteY46" fmla="*/ 3429000 h 4496940"/>
                    <a:gd name="connsiteX47" fmla="*/ 4088152 w 4519987"/>
                    <a:gd name="connsiteY47" fmla="*/ 3495675 h 4496940"/>
                    <a:gd name="connsiteX48" fmla="*/ 4059577 w 4519987"/>
                    <a:gd name="connsiteY48" fmla="*/ 3533775 h 4496940"/>
                    <a:gd name="connsiteX49" fmla="*/ 4002427 w 4519987"/>
                    <a:gd name="connsiteY49" fmla="*/ 3600450 h 4496940"/>
                    <a:gd name="connsiteX50" fmla="*/ 3983377 w 4519987"/>
                    <a:gd name="connsiteY50" fmla="*/ 3629025 h 4496940"/>
                    <a:gd name="connsiteX51" fmla="*/ 3954802 w 4519987"/>
                    <a:gd name="connsiteY51" fmla="*/ 3648075 h 4496940"/>
                    <a:gd name="connsiteX52" fmla="*/ 3907177 w 4519987"/>
                    <a:gd name="connsiteY52" fmla="*/ 3686175 h 4496940"/>
                    <a:gd name="connsiteX53" fmla="*/ 3869077 w 4519987"/>
                    <a:gd name="connsiteY53" fmla="*/ 3724275 h 4496940"/>
                    <a:gd name="connsiteX54" fmla="*/ 3792877 w 4519987"/>
                    <a:gd name="connsiteY54" fmla="*/ 3781425 h 4496940"/>
                    <a:gd name="connsiteX55" fmla="*/ 3783352 w 4519987"/>
                    <a:gd name="connsiteY55" fmla="*/ 3810000 h 4496940"/>
                    <a:gd name="connsiteX56" fmla="*/ 3745252 w 4519987"/>
                    <a:gd name="connsiteY56" fmla="*/ 3819525 h 4496940"/>
                    <a:gd name="connsiteX57" fmla="*/ 3678577 w 4519987"/>
                    <a:gd name="connsiteY57" fmla="*/ 3848100 h 4496940"/>
                    <a:gd name="connsiteX58" fmla="*/ 3659527 w 4519987"/>
                    <a:gd name="connsiteY58" fmla="*/ 3971925 h 4496940"/>
                    <a:gd name="connsiteX59" fmla="*/ 3630952 w 4519987"/>
                    <a:gd name="connsiteY59" fmla="*/ 4010025 h 4496940"/>
                    <a:gd name="connsiteX60" fmla="*/ 3621427 w 4519987"/>
                    <a:gd name="connsiteY60" fmla="*/ 4038600 h 4496940"/>
                    <a:gd name="connsiteX61" fmla="*/ 3554752 w 4519987"/>
                    <a:gd name="connsiteY61" fmla="*/ 4095750 h 4496940"/>
                    <a:gd name="connsiteX62" fmla="*/ 3516652 w 4519987"/>
                    <a:gd name="connsiteY62" fmla="*/ 4114800 h 4496940"/>
                    <a:gd name="connsiteX63" fmla="*/ 3497602 w 4519987"/>
                    <a:gd name="connsiteY63" fmla="*/ 4143375 h 4496940"/>
                    <a:gd name="connsiteX64" fmla="*/ 3383302 w 4519987"/>
                    <a:gd name="connsiteY64" fmla="*/ 4210050 h 4496940"/>
                    <a:gd name="connsiteX65" fmla="*/ 3335677 w 4519987"/>
                    <a:gd name="connsiteY65" fmla="*/ 4238625 h 4496940"/>
                    <a:gd name="connsiteX66" fmla="*/ 3288052 w 4519987"/>
                    <a:gd name="connsiteY66" fmla="*/ 4248150 h 4496940"/>
                    <a:gd name="connsiteX67" fmla="*/ 3240427 w 4519987"/>
                    <a:gd name="connsiteY67" fmla="*/ 4267200 h 4496940"/>
                    <a:gd name="connsiteX68" fmla="*/ 3068977 w 4519987"/>
                    <a:gd name="connsiteY68" fmla="*/ 4286250 h 4496940"/>
                    <a:gd name="connsiteX69" fmla="*/ 2935627 w 4519987"/>
                    <a:gd name="connsiteY69" fmla="*/ 4333875 h 4496940"/>
                    <a:gd name="connsiteX70" fmla="*/ 2811802 w 4519987"/>
                    <a:gd name="connsiteY70" fmla="*/ 4371975 h 4496940"/>
                    <a:gd name="connsiteX71" fmla="*/ 2745127 w 4519987"/>
                    <a:gd name="connsiteY71" fmla="*/ 4410075 h 4496940"/>
                    <a:gd name="connsiteX72" fmla="*/ 2697502 w 4519987"/>
                    <a:gd name="connsiteY72" fmla="*/ 4429125 h 4496940"/>
                    <a:gd name="connsiteX73" fmla="*/ 2640352 w 4519987"/>
                    <a:gd name="connsiteY73" fmla="*/ 4457700 h 4496940"/>
                    <a:gd name="connsiteX74" fmla="*/ 2583202 w 4519987"/>
                    <a:gd name="connsiteY74" fmla="*/ 4467225 h 4496940"/>
                    <a:gd name="connsiteX75" fmla="*/ 2545102 w 4519987"/>
                    <a:gd name="connsiteY75" fmla="*/ 4486275 h 4496940"/>
                    <a:gd name="connsiteX76" fmla="*/ 2306977 w 4519987"/>
                    <a:gd name="connsiteY76" fmla="*/ 4476750 h 4496940"/>
                    <a:gd name="connsiteX77" fmla="*/ 2202202 w 4519987"/>
                    <a:gd name="connsiteY77" fmla="*/ 4457700 h 4496940"/>
                    <a:gd name="connsiteX78" fmla="*/ 2126002 w 4519987"/>
                    <a:gd name="connsiteY78" fmla="*/ 4429125 h 4496940"/>
                    <a:gd name="connsiteX79" fmla="*/ 1935502 w 4519987"/>
                    <a:gd name="connsiteY79" fmla="*/ 4400550 h 4496940"/>
                    <a:gd name="connsiteX80" fmla="*/ 1821202 w 4519987"/>
                    <a:gd name="connsiteY80" fmla="*/ 4371975 h 4496940"/>
                    <a:gd name="connsiteX81" fmla="*/ 1754527 w 4519987"/>
                    <a:gd name="connsiteY81" fmla="*/ 4352925 h 4496940"/>
                    <a:gd name="connsiteX82" fmla="*/ 1687852 w 4519987"/>
                    <a:gd name="connsiteY82" fmla="*/ 4343400 h 4496940"/>
                    <a:gd name="connsiteX83" fmla="*/ 1573552 w 4519987"/>
                    <a:gd name="connsiteY83" fmla="*/ 4305300 h 4496940"/>
                    <a:gd name="connsiteX84" fmla="*/ 1402102 w 4519987"/>
                    <a:gd name="connsiteY84" fmla="*/ 4276725 h 4496940"/>
                    <a:gd name="connsiteX85" fmla="*/ 1287802 w 4519987"/>
                    <a:gd name="connsiteY85" fmla="*/ 4229100 h 4496940"/>
                    <a:gd name="connsiteX86" fmla="*/ 1221127 w 4519987"/>
                    <a:gd name="connsiteY86" fmla="*/ 4200525 h 4496940"/>
                    <a:gd name="connsiteX87" fmla="*/ 1144927 w 4519987"/>
                    <a:gd name="connsiteY87" fmla="*/ 4171950 h 4496940"/>
                    <a:gd name="connsiteX88" fmla="*/ 1087777 w 4519987"/>
                    <a:gd name="connsiteY88" fmla="*/ 4143375 h 4496940"/>
                    <a:gd name="connsiteX89" fmla="*/ 1030627 w 4519987"/>
                    <a:gd name="connsiteY89" fmla="*/ 4124325 h 4496940"/>
                    <a:gd name="connsiteX90" fmla="*/ 925852 w 4519987"/>
                    <a:gd name="connsiteY90" fmla="*/ 4067175 h 4496940"/>
                    <a:gd name="connsiteX91" fmla="*/ 830602 w 4519987"/>
                    <a:gd name="connsiteY91" fmla="*/ 3981450 h 4496940"/>
                    <a:gd name="connsiteX92" fmla="*/ 763927 w 4519987"/>
                    <a:gd name="connsiteY92" fmla="*/ 3914775 h 4496940"/>
                    <a:gd name="connsiteX93" fmla="*/ 725827 w 4519987"/>
                    <a:gd name="connsiteY93" fmla="*/ 3876675 h 4496940"/>
                    <a:gd name="connsiteX94" fmla="*/ 697252 w 4519987"/>
                    <a:gd name="connsiteY94" fmla="*/ 3838575 h 4496940"/>
                    <a:gd name="connsiteX95" fmla="*/ 640102 w 4519987"/>
                    <a:gd name="connsiteY95" fmla="*/ 3781425 h 4496940"/>
                    <a:gd name="connsiteX96" fmla="*/ 611527 w 4519987"/>
                    <a:gd name="connsiteY96" fmla="*/ 3733800 h 4496940"/>
                    <a:gd name="connsiteX97" fmla="*/ 554377 w 4519987"/>
                    <a:gd name="connsiteY97" fmla="*/ 3657600 h 4496940"/>
                    <a:gd name="connsiteX98" fmla="*/ 525802 w 4519987"/>
                    <a:gd name="connsiteY98" fmla="*/ 3609975 h 4496940"/>
                    <a:gd name="connsiteX99" fmla="*/ 497227 w 4519987"/>
                    <a:gd name="connsiteY99" fmla="*/ 3552825 h 4496940"/>
                    <a:gd name="connsiteX100" fmla="*/ 440077 w 4519987"/>
                    <a:gd name="connsiteY100" fmla="*/ 3495675 h 4496940"/>
                    <a:gd name="connsiteX101" fmla="*/ 411502 w 4519987"/>
                    <a:gd name="connsiteY101" fmla="*/ 3448050 h 4496940"/>
                    <a:gd name="connsiteX102" fmla="*/ 278152 w 4519987"/>
                    <a:gd name="connsiteY102" fmla="*/ 3257550 h 4496940"/>
                    <a:gd name="connsiteX103" fmla="*/ 249577 w 4519987"/>
                    <a:gd name="connsiteY103" fmla="*/ 3200400 h 4496940"/>
                    <a:gd name="connsiteX104" fmla="*/ 240052 w 4519987"/>
                    <a:gd name="connsiteY104" fmla="*/ 3162300 h 4496940"/>
                    <a:gd name="connsiteX105" fmla="*/ 221002 w 4519987"/>
                    <a:gd name="connsiteY105" fmla="*/ 3105150 h 4496940"/>
                    <a:gd name="connsiteX106" fmla="*/ 173377 w 4519987"/>
                    <a:gd name="connsiteY106" fmla="*/ 3019425 h 4496940"/>
                    <a:gd name="connsiteX107" fmla="*/ 144802 w 4519987"/>
                    <a:gd name="connsiteY107" fmla="*/ 2924175 h 4496940"/>
                    <a:gd name="connsiteX108" fmla="*/ 68602 w 4519987"/>
                    <a:gd name="connsiteY108" fmla="*/ 2724150 h 4496940"/>
                    <a:gd name="connsiteX109" fmla="*/ 49552 w 4519987"/>
                    <a:gd name="connsiteY109" fmla="*/ 2638425 h 4496940"/>
                    <a:gd name="connsiteX110" fmla="*/ 40027 w 4519987"/>
                    <a:gd name="connsiteY110" fmla="*/ 2562225 h 4496940"/>
                    <a:gd name="connsiteX111" fmla="*/ 30502 w 4519987"/>
                    <a:gd name="connsiteY111" fmla="*/ 2514600 h 4496940"/>
                    <a:gd name="connsiteX112" fmla="*/ 11452 w 4519987"/>
                    <a:gd name="connsiteY112" fmla="*/ 2400300 h 4496940"/>
                    <a:gd name="connsiteX113" fmla="*/ 20977 w 4519987"/>
                    <a:gd name="connsiteY113" fmla="*/ 1905000 h 4496940"/>
                    <a:gd name="connsiteX114" fmla="*/ 30502 w 4519987"/>
                    <a:gd name="connsiteY114" fmla="*/ 1838325 h 4496940"/>
                    <a:gd name="connsiteX115" fmla="*/ 49552 w 4519987"/>
                    <a:gd name="connsiteY115" fmla="*/ 1781175 h 4496940"/>
                    <a:gd name="connsiteX116" fmla="*/ 59077 w 4519987"/>
                    <a:gd name="connsiteY116" fmla="*/ 1743075 h 4496940"/>
                    <a:gd name="connsiteX117" fmla="*/ 78127 w 4519987"/>
                    <a:gd name="connsiteY117" fmla="*/ 1685925 h 4496940"/>
                    <a:gd name="connsiteX118" fmla="*/ 87652 w 4519987"/>
                    <a:gd name="connsiteY118" fmla="*/ 1638300 h 4496940"/>
                    <a:gd name="connsiteX119" fmla="*/ 106702 w 4519987"/>
                    <a:gd name="connsiteY119" fmla="*/ 1590675 h 4496940"/>
                    <a:gd name="connsiteX120" fmla="*/ 135277 w 4519987"/>
                    <a:gd name="connsiteY120" fmla="*/ 1504950 h 4496940"/>
                    <a:gd name="connsiteX121" fmla="*/ 154327 w 4519987"/>
                    <a:gd name="connsiteY121" fmla="*/ 1419225 h 4496940"/>
                    <a:gd name="connsiteX122" fmla="*/ 230527 w 4519987"/>
                    <a:gd name="connsiteY122" fmla="*/ 1276350 h 4496940"/>
                    <a:gd name="connsiteX123" fmla="*/ 240052 w 4519987"/>
                    <a:gd name="connsiteY123" fmla="*/ 1247775 h 4496940"/>
                    <a:gd name="connsiteX124" fmla="*/ 268627 w 4519987"/>
                    <a:gd name="connsiteY124" fmla="*/ 1200150 h 4496940"/>
                    <a:gd name="connsiteX125" fmla="*/ 287677 w 4519987"/>
                    <a:gd name="connsiteY125" fmla="*/ 1152525 h 4496940"/>
                    <a:gd name="connsiteX126" fmla="*/ 316252 w 4519987"/>
                    <a:gd name="connsiteY126" fmla="*/ 1114425 h 4496940"/>
                    <a:gd name="connsiteX127" fmla="*/ 363877 w 4519987"/>
                    <a:gd name="connsiteY127" fmla="*/ 1038225 h 4496940"/>
                    <a:gd name="connsiteX128" fmla="*/ 382927 w 4519987"/>
                    <a:gd name="connsiteY128" fmla="*/ 1009650 h 4496940"/>
                    <a:gd name="connsiteX129" fmla="*/ 440077 w 4519987"/>
                    <a:gd name="connsiteY129" fmla="*/ 904875 h 4496940"/>
                    <a:gd name="connsiteX130" fmla="*/ 478177 w 4519987"/>
                    <a:gd name="connsiteY130" fmla="*/ 857250 h 4496940"/>
                    <a:gd name="connsiteX131" fmla="*/ 497227 w 4519987"/>
                    <a:gd name="connsiteY131" fmla="*/ 828675 h 4496940"/>
                    <a:gd name="connsiteX132" fmla="*/ 535327 w 4519987"/>
                    <a:gd name="connsiteY132" fmla="*/ 800100 h 4496940"/>
                    <a:gd name="connsiteX133" fmla="*/ 602002 w 4519987"/>
                    <a:gd name="connsiteY133" fmla="*/ 733425 h 4496940"/>
                    <a:gd name="connsiteX134" fmla="*/ 668677 w 4519987"/>
                    <a:gd name="connsiteY134" fmla="*/ 676275 h 4496940"/>
                    <a:gd name="connsiteX135" fmla="*/ 697252 w 4519987"/>
                    <a:gd name="connsiteY135" fmla="*/ 657225 h 4496940"/>
                    <a:gd name="connsiteX136" fmla="*/ 840127 w 4519987"/>
                    <a:gd name="connsiteY136" fmla="*/ 533400 h 4496940"/>
                    <a:gd name="connsiteX137" fmla="*/ 887752 w 4519987"/>
                    <a:gd name="connsiteY137" fmla="*/ 504825 h 4496940"/>
                    <a:gd name="connsiteX138" fmla="*/ 1167152 w 4519987"/>
                    <a:gd name="connsiteY138" fmla="*/ 311150 h 4496940"/>
                    <a:gd name="connsiteX139" fmla="*/ 1268752 w 4519987"/>
                    <a:gd name="connsiteY139" fmla="*/ 285750 h 4496940"/>
                    <a:gd name="connsiteX140" fmla="*/ 1411627 w 4519987"/>
                    <a:gd name="connsiteY140" fmla="*/ 190500 h 4496940"/>
                    <a:gd name="connsiteX141" fmla="*/ 1449727 w 4519987"/>
                    <a:gd name="connsiteY141" fmla="*/ 161925 h 4496940"/>
                    <a:gd name="connsiteX142" fmla="*/ 1525927 w 4519987"/>
                    <a:gd name="connsiteY142" fmla="*/ 152400 h 4496940"/>
                    <a:gd name="connsiteX143" fmla="*/ 1583077 w 4519987"/>
                    <a:gd name="connsiteY143" fmla="*/ 142875 h 4496940"/>
                    <a:gd name="connsiteX144" fmla="*/ 1716427 w 4519987"/>
                    <a:gd name="connsiteY144" fmla="*/ 123825 h 4496940"/>
                    <a:gd name="connsiteX145" fmla="*/ 1811677 w 4519987"/>
                    <a:gd name="connsiteY145" fmla="*/ 114300 h 4496940"/>
                    <a:gd name="connsiteX146" fmla="*/ 1859302 w 4519987"/>
                    <a:gd name="connsiteY146" fmla="*/ 104775 h 4496940"/>
                    <a:gd name="connsiteX147" fmla="*/ 1916452 w 4519987"/>
                    <a:gd name="connsiteY147" fmla="*/ 95250 h 4496940"/>
                    <a:gd name="connsiteX148" fmla="*/ 2030752 w 4519987"/>
                    <a:gd name="connsiteY148" fmla="*/ 66675 h 4496940"/>
                    <a:gd name="connsiteX149" fmla="*/ 2097427 w 4519987"/>
                    <a:gd name="connsiteY149" fmla="*/ 47625 h 4496940"/>
                    <a:gd name="connsiteX150" fmla="*/ 2164102 w 4519987"/>
                    <a:gd name="connsiteY150" fmla="*/ 38100 h 4496940"/>
                    <a:gd name="connsiteX151" fmla="*/ 2392702 w 4519987"/>
                    <a:gd name="connsiteY15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3935752 w 4519987"/>
                    <a:gd name="connsiteY22" fmla="*/ 676275 h 4496940"/>
                    <a:gd name="connsiteX23" fmla="*/ 4078627 w 4519987"/>
                    <a:gd name="connsiteY23" fmla="*/ 838200 h 4496940"/>
                    <a:gd name="connsiteX24" fmla="*/ 4135777 w 4519987"/>
                    <a:gd name="connsiteY24" fmla="*/ 933450 h 4496940"/>
                    <a:gd name="connsiteX25" fmla="*/ 4164352 w 4519987"/>
                    <a:gd name="connsiteY25" fmla="*/ 990600 h 4496940"/>
                    <a:gd name="connsiteX26" fmla="*/ 4173877 w 4519987"/>
                    <a:gd name="connsiteY26" fmla="*/ 1019175 h 4496940"/>
                    <a:gd name="connsiteX27" fmla="*/ 4192927 w 4519987"/>
                    <a:gd name="connsiteY27" fmla="*/ 1057275 h 4496940"/>
                    <a:gd name="connsiteX28" fmla="*/ 4202452 w 4519987"/>
                    <a:gd name="connsiteY28" fmla="*/ 1085850 h 4496940"/>
                    <a:gd name="connsiteX29" fmla="*/ 4250077 w 4519987"/>
                    <a:gd name="connsiteY29" fmla="*/ 1143000 h 4496940"/>
                    <a:gd name="connsiteX30" fmla="*/ 4259602 w 4519987"/>
                    <a:gd name="connsiteY30" fmla="*/ 1190625 h 4496940"/>
                    <a:gd name="connsiteX31" fmla="*/ 4307227 w 4519987"/>
                    <a:gd name="connsiteY31" fmla="*/ 1266825 h 4496940"/>
                    <a:gd name="connsiteX32" fmla="*/ 4345327 w 4519987"/>
                    <a:gd name="connsiteY32" fmla="*/ 1362075 h 4496940"/>
                    <a:gd name="connsiteX33" fmla="*/ 4373902 w 4519987"/>
                    <a:gd name="connsiteY33" fmla="*/ 1428750 h 4496940"/>
                    <a:gd name="connsiteX34" fmla="*/ 4392952 w 4519987"/>
                    <a:gd name="connsiteY34" fmla="*/ 1552575 h 4496940"/>
                    <a:gd name="connsiteX35" fmla="*/ 4402477 w 4519987"/>
                    <a:gd name="connsiteY35" fmla="*/ 1590675 h 4496940"/>
                    <a:gd name="connsiteX36" fmla="*/ 4431052 w 4519987"/>
                    <a:gd name="connsiteY36" fmla="*/ 1685925 h 4496940"/>
                    <a:gd name="connsiteX37" fmla="*/ 4519952 w 4519987"/>
                    <a:gd name="connsiteY37" fmla="*/ 2181225 h 4496940"/>
                    <a:gd name="connsiteX38" fmla="*/ 4446927 w 4519987"/>
                    <a:gd name="connsiteY38" fmla="*/ 2768600 h 4496940"/>
                    <a:gd name="connsiteX39" fmla="*/ 4383427 w 4519987"/>
                    <a:gd name="connsiteY39" fmla="*/ 2990850 h 4496940"/>
                    <a:gd name="connsiteX40" fmla="*/ 4278652 w 4519987"/>
                    <a:gd name="connsiteY40" fmla="*/ 3248025 h 4496940"/>
                    <a:gd name="connsiteX41" fmla="*/ 4259602 w 4519987"/>
                    <a:gd name="connsiteY41" fmla="*/ 3276600 h 4496940"/>
                    <a:gd name="connsiteX42" fmla="*/ 4221502 w 4519987"/>
                    <a:gd name="connsiteY42" fmla="*/ 3333750 h 4496940"/>
                    <a:gd name="connsiteX43" fmla="*/ 4211977 w 4519987"/>
                    <a:gd name="connsiteY43" fmla="*/ 3362325 h 4496940"/>
                    <a:gd name="connsiteX44" fmla="*/ 4183402 w 4519987"/>
                    <a:gd name="connsiteY44" fmla="*/ 3400425 h 4496940"/>
                    <a:gd name="connsiteX45" fmla="*/ 4164352 w 4519987"/>
                    <a:gd name="connsiteY45" fmla="*/ 3429000 h 4496940"/>
                    <a:gd name="connsiteX46" fmla="*/ 4088152 w 4519987"/>
                    <a:gd name="connsiteY46" fmla="*/ 3495675 h 4496940"/>
                    <a:gd name="connsiteX47" fmla="*/ 4059577 w 4519987"/>
                    <a:gd name="connsiteY47" fmla="*/ 3533775 h 4496940"/>
                    <a:gd name="connsiteX48" fmla="*/ 4002427 w 4519987"/>
                    <a:gd name="connsiteY48" fmla="*/ 3600450 h 4496940"/>
                    <a:gd name="connsiteX49" fmla="*/ 3983377 w 4519987"/>
                    <a:gd name="connsiteY49" fmla="*/ 3629025 h 4496940"/>
                    <a:gd name="connsiteX50" fmla="*/ 3954802 w 4519987"/>
                    <a:gd name="connsiteY50" fmla="*/ 3648075 h 4496940"/>
                    <a:gd name="connsiteX51" fmla="*/ 3907177 w 4519987"/>
                    <a:gd name="connsiteY51" fmla="*/ 3686175 h 4496940"/>
                    <a:gd name="connsiteX52" fmla="*/ 3869077 w 4519987"/>
                    <a:gd name="connsiteY52" fmla="*/ 3724275 h 4496940"/>
                    <a:gd name="connsiteX53" fmla="*/ 3792877 w 4519987"/>
                    <a:gd name="connsiteY53" fmla="*/ 3781425 h 4496940"/>
                    <a:gd name="connsiteX54" fmla="*/ 3783352 w 4519987"/>
                    <a:gd name="connsiteY54" fmla="*/ 3810000 h 4496940"/>
                    <a:gd name="connsiteX55" fmla="*/ 3745252 w 4519987"/>
                    <a:gd name="connsiteY55" fmla="*/ 3819525 h 4496940"/>
                    <a:gd name="connsiteX56" fmla="*/ 3678577 w 4519987"/>
                    <a:gd name="connsiteY56" fmla="*/ 3848100 h 4496940"/>
                    <a:gd name="connsiteX57" fmla="*/ 3659527 w 4519987"/>
                    <a:gd name="connsiteY57" fmla="*/ 3971925 h 4496940"/>
                    <a:gd name="connsiteX58" fmla="*/ 3630952 w 4519987"/>
                    <a:gd name="connsiteY58" fmla="*/ 4010025 h 4496940"/>
                    <a:gd name="connsiteX59" fmla="*/ 3621427 w 4519987"/>
                    <a:gd name="connsiteY59" fmla="*/ 4038600 h 4496940"/>
                    <a:gd name="connsiteX60" fmla="*/ 3554752 w 4519987"/>
                    <a:gd name="connsiteY60" fmla="*/ 4095750 h 4496940"/>
                    <a:gd name="connsiteX61" fmla="*/ 3516652 w 4519987"/>
                    <a:gd name="connsiteY61" fmla="*/ 4114800 h 4496940"/>
                    <a:gd name="connsiteX62" fmla="*/ 3497602 w 4519987"/>
                    <a:gd name="connsiteY62" fmla="*/ 4143375 h 4496940"/>
                    <a:gd name="connsiteX63" fmla="*/ 3383302 w 4519987"/>
                    <a:gd name="connsiteY63" fmla="*/ 4210050 h 4496940"/>
                    <a:gd name="connsiteX64" fmla="*/ 3335677 w 4519987"/>
                    <a:gd name="connsiteY64" fmla="*/ 4238625 h 4496940"/>
                    <a:gd name="connsiteX65" fmla="*/ 3288052 w 4519987"/>
                    <a:gd name="connsiteY65" fmla="*/ 4248150 h 4496940"/>
                    <a:gd name="connsiteX66" fmla="*/ 3240427 w 4519987"/>
                    <a:gd name="connsiteY66" fmla="*/ 4267200 h 4496940"/>
                    <a:gd name="connsiteX67" fmla="*/ 3068977 w 4519987"/>
                    <a:gd name="connsiteY67" fmla="*/ 4286250 h 4496940"/>
                    <a:gd name="connsiteX68" fmla="*/ 2935627 w 4519987"/>
                    <a:gd name="connsiteY68" fmla="*/ 4333875 h 4496940"/>
                    <a:gd name="connsiteX69" fmla="*/ 2811802 w 4519987"/>
                    <a:gd name="connsiteY69" fmla="*/ 4371975 h 4496940"/>
                    <a:gd name="connsiteX70" fmla="*/ 2745127 w 4519987"/>
                    <a:gd name="connsiteY70" fmla="*/ 4410075 h 4496940"/>
                    <a:gd name="connsiteX71" fmla="*/ 2697502 w 4519987"/>
                    <a:gd name="connsiteY71" fmla="*/ 4429125 h 4496940"/>
                    <a:gd name="connsiteX72" fmla="*/ 2640352 w 4519987"/>
                    <a:gd name="connsiteY72" fmla="*/ 4457700 h 4496940"/>
                    <a:gd name="connsiteX73" fmla="*/ 2583202 w 4519987"/>
                    <a:gd name="connsiteY73" fmla="*/ 4467225 h 4496940"/>
                    <a:gd name="connsiteX74" fmla="*/ 2545102 w 4519987"/>
                    <a:gd name="connsiteY74" fmla="*/ 4486275 h 4496940"/>
                    <a:gd name="connsiteX75" fmla="*/ 2306977 w 4519987"/>
                    <a:gd name="connsiteY75" fmla="*/ 4476750 h 4496940"/>
                    <a:gd name="connsiteX76" fmla="*/ 2202202 w 4519987"/>
                    <a:gd name="connsiteY76" fmla="*/ 4457700 h 4496940"/>
                    <a:gd name="connsiteX77" fmla="*/ 2126002 w 4519987"/>
                    <a:gd name="connsiteY77" fmla="*/ 4429125 h 4496940"/>
                    <a:gd name="connsiteX78" fmla="*/ 1935502 w 4519987"/>
                    <a:gd name="connsiteY78" fmla="*/ 4400550 h 4496940"/>
                    <a:gd name="connsiteX79" fmla="*/ 1821202 w 4519987"/>
                    <a:gd name="connsiteY79" fmla="*/ 4371975 h 4496940"/>
                    <a:gd name="connsiteX80" fmla="*/ 1754527 w 4519987"/>
                    <a:gd name="connsiteY80" fmla="*/ 4352925 h 4496940"/>
                    <a:gd name="connsiteX81" fmla="*/ 1687852 w 4519987"/>
                    <a:gd name="connsiteY81" fmla="*/ 4343400 h 4496940"/>
                    <a:gd name="connsiteX82" fmla="*/ 1573552 w 4519987"/>
                    <a:gd name="connsiteY82" fmla="*/ 4305300 h 4496940"/>
                    <a:gd name="connsiteX83" fmla="*/ 1402102 w 4519987"/>
                    <a:gd name="connsiteY83" fmla="*/ 4276725 h 4496940"/>
                    <a:gd name="connsiteX84" fmla="*/ 1287802 w 4519987"/>
                    <a:gd name="connsiteY84" fmla="*/ 4229100 h 4496940"/>
                    <a:gd name="connsiteX85" fmla="*/ 1221127 w 4519987"/>
                    <a:gd name="connsiteY85" fmla="*/ 4200525 h 4496940"/>
                    <a:gd name="connsiteX86" fmla="*/ 1144927 w 4519987"/>
                    <a:gd name="connsiteY86" fmla="*/ 4171950 h 4496940"/>
                    <a:gd name="connsiteX87" fmla="*/ 1087777 w 4519987"/>
                    <a:gd name="connsiteY87" fmla="*/ 4143375 h 4496940"/>
                    <a:gd name="connsiteX88" fmla="*/ 1030627 w 4519987"/>
                    <a:gd name="connsiteY88" fmla="*/ 4124325 h 4496940"/>
                    <a:gd name="connsiteX89" fmla="*/ 925852 w 4519987"/>
                    <a:gd name="connsiteY89" fmla="*/ 4067175 h 4496940"/>
                    <a:gd name="connsiteX90" fmla="*/ 830602 w 4519987"/>
                    <a:gd name="connsiteY90" fmla="*/ 3981450 h 4496940"/>
                    <a:gd name="connsiteX91" fmla="*/ 763927 w 4519987"/>
                    <a:gd name="connsiteY91" fmla="*/ 3914775 h 4496940"/>
                    <a:gd name="connsiteX92" fmla="*/ 725827 w 4519987"/>
                    <a:gd name="connsiteY92" fmla="*/ 3876675 h 4496940"/>
                    <a:gd name="connsiteX93" fmla="*/ 697252 w 4519987"/>
                    <a:gd name="connsiteY93" fmla="*/ 3838575 h 4496940"/>
                    <a:gd name="connsiteX94" fmla="*/ 640102 w 4519987"/>
                    <a:gd name="connsiteY94" fmla="*/ 3781425 h 4496940"/>
                    <a:gd name="connsiteX95" fmla="*/ 611527 w 4519987"/>
                    <a:gd name="connsiteY95" fmla="*/ 3733800 h 4496940"/>
                    <a:gd name="connsiteX96" fmla="*/ 554377 w 4519987"/>
                    <a:gd name="connsiteY96" fmla="*/ 3657600 h 4496940"/>
                    <a:gd name="connsiteX97" fmla="*/ 525802 w 4519987"/>
                    <a:gd name="connsiteY97" fmla="*/ 3609975 h 4496940"/>
                    <a:gd name="connsiteX98" fmla="*/ 497227 w 4519987"/>
                    <a:gd name="connsiteY98" fmla="*/ 3552825 h 4496940"/>
                    <a:gd name="connsiteX99" fmla="*/ 440077 w 4519987"/>
                    <a:gd name="connsiteY99" fmla="*/ 3495675 h 4496940"/>
                    <a:gd name="connsiteX100" fmla="*/ 411502 w 4519987"/>
                    <a:gd name="connsiteY100" fmla="*/ 3448050 h 4496940"/>
                    <a:gd name="connsiteX101" fmla="*/ 278152 w 4519987"/>
                    <a:gd name="connsiteY101" fmla="*/ 3257550 h 4496940"/>
                    <a:gd name="connsiteX102" fmla="*/ 249577 w 4519987"/>
                    <a:gd name="connsiteY102" fmla="*/ 3200400 h 4496940"/>
                    <a:gd name="connsiteX103" fmla="*/ 240052 w 4519987"/>
                    <a:gd name="connsiteY103" fmla="*/ 3162300 h 4496940"/>
                    <a:gd name="connsiteX104" fmla="*/ 221002 w 4519987"/>
                    <a:gd name="connsiteY104" fmla="*/ 3105150 h 4496940"/>
                    <a:gd name="connsiteX105" fmla="*/ 173377 w 4519987"/>
                    <a:gd name="connsiteY105" fmla="*/ 3019425 h 4496940"/>
                    <a:gd name="connsiteX106" fmla="*/ 144802 w 4519987"/>
                    <a:gd name="connsiteY106" fmla="*/ 2924175 h 4496940"/>
                    <a:gd name="connsiteX107" fmla="*/ 68602 w 4519987"/>
                    <a:gd name="connsiteY107" fmla="*/ 2724150 h 4496940"/>
                    <a:gd name="connsiteX108" fmla="*/ 49552 w 4519987"/>
                    <a:gd name="connsiteY108" fmla="*/ 2638425 h 4496940"/>
                    <a:gd name="connsiteX109" fmla="*/ 40027 w 4519987"/>
                    <a:gd name="connsiteY109" fmla="*/ 2562225 h 4496940"/>
                    <a:gd name="connsiteX110" fmla="*/ 30502 w 4519987"/>
                    <a:gd name="connsiteY110" fmla="*/ 2514600 h 4496940"/>
                    <a:gd name="connsiteX111" fmla="*/ 11452 w 4519987"/>
                    <a:gd name="connsiteY111" fmla="*/ 2400300 h 4496940"/>
                    <a:gd name="connsiteX112" fmla="*/ 20977 w 4519987"/>
                    <a:gd name="connsiteY112" fmla="*/ 1905000 h 4496940"/>
                    <a:gd name="connsiteX113" fmla="*/ 30502 w 4519987"/>
                    <a:gd name="connsiteY113" fmla="*/ 1838325 h 4496940"/>
                    <a:gd name="connsiteX114" fmla="*/ 49552 w 4519987"/>
                    <a:gd name="connsiteY114" fmla="*/ 1781175 h 4496940"/>
                    <a:gd name="connsiteX115" fmla="*/ 59077 w 4519987"/>
                    <a:gd name="connsiteY115" fmla="*/ 1743075 h 4496940"/>
                    <a:gd name="connsiteX116" fmla="*/ 78127 w 4519987"/>
                    <a:gd name="connsiteY116" fmla="*/ 1685925 h 4496940"/>
                    <a:gd name="connsiteX117" fmla="*/ 87652 w 4519987"/>
                    <a:gd name="connsiteY117" fmla="*/ 1638300 h 4496940"/>
                    <a:gd name="connsiteX118" fmla="*/ 106702 w 4519987"/>
                    <a:gd name="connsiteY118" fmla="*/ 1590675 h 4496940"/>
                    <a:gd name="connsiteX119" fmla="*/ 135277 w 4519987"/>
                    <a:gd name="connsiteY119" fmla="*/ 1504950 h 4496940"/>
                    <a:gd name="connsiteX120" fmla="*/ 154327 w 4519987"/>
                    <a:gd name="connsiteY120" fmla="*/ 1419225 h 4496940"/>
                    <a:gd name="connsiteX121" fmla="*/ 230527 w 4519987"/>
                    <a:gd name="connsiteY121" fmla="*/ 1276350 h 4496940"/>
                    <a:gd name="connsiteX122" fmla="*/ 240052 w 4519987"/>
                    <a:gd name="connsiteY122" fmla="*/ 1247775 h 4496940"/>
                    <a:gd name="connsiteX123" fmla="*/ 268627 w 4519987"/>
                    <a:gd name="connsiteY123" fmla="*/ 1200150 h 4496940"/>
                    <a:gd name="connsiteX124" fmla="*/ 287677 w 4519987"/>
                    <a:gd name="connsiteY124" fmla="*/ 1152525 h 4496940"/>
                    <a:gd name="connsiteX125" fmla="*/ 316252 w 4519987"/>
                    <a:gd name="connsiteY125" fmla="*/ 1114425 h 4496940"/>
                    <a:gd name="connsiteX126" fmla="*/ 363877 w 4519987"/>
                    <a:gd name="connsiteY126" fmla="*/ 1038225 h 4496940"/>
                    <a:gd name="connsiteX127" fmla="*/ 382927 w 4519987"/>
                    <a:gd name="connsiteY127" fmla="*/ 1009650 h 4496940"/>
                    <a:gd name="connsiteX128" fmla="*/ 440077 w 4519987"/>
                    <a:gd name="connsiteY128" fmla="*/ 904875 h 4496940"/>
                    <a:gd name="connsiteX129" fmla="*/ 478177 w 4519987"/>
                    <a:gd name="connsiteY129" fmla="*/ 857250 h 4496940"/>
                    <a:gd name="connsiteX130" fmla="*/ 497227 w 4519987"/>
                    <a:gd name="connsiteY130" fmla="*/ 828675 h 4496940"/>
                    <a:gd name="connsiteX131" fmla="*/ 535327 w 4519987"/>
                    <a:gd name="connsiteY131" fmla="*/ 800100 h 4496940"/>
                    <a:gd name="connsiteX132" fmla="*/ 602002 w 4519987"/>
                    <a:gd name="connsiteY132" fmla="*/ 733425 h 4496940"/>
                    <a:gd name="connsiteX133" fmla="*/ 668677 w 4519987"/>
                    <a:gd name="connsiteY133" fmla="*/ 676275 h 4496940"/>
                    <a:gd name="connsiteX134" fmla="*/ 697252 w 4519987"/>
                    <a:gd name="connsiteY134" fmla="*/ 657225 h 4496940"/>
                    <a:gd name="connsiteX135" fmla="*/ 840127 w 4519987"/>
                    <a:gd name="connsiteY135" fmla="*/ 533400 h 4496940"/>
                    <a:gd name="connsiteX136" fmla="*/ 887752 w 4519987"/>
                    <a:gd name="connsiteY136" fmla="*/ 504825 h 4496940"/>
                    <a:gd name="connsiteX137" fmla="*/ 1167152 w 4519987"/>
                    <a:gd name="connsiteY137" fmla="*/ 311150 h 4496940"/>
                    <a:gd name="connsiteX138" fmla="*/ 1268752 w 4519987"/>
                    <a:gd name="connsiteY138" fmla="*/ 285750 h 4496940"/>
                    <a:gd name="connsiteX139" fmla="*/ 1411627 w 4519987"/>
                    <a:gd name="connsiteY139" fmla="*/ 190500 h 4496940"/>
                    <a:gd name="connsiteX140" fmla="*/ 1449727 w 4519987"/>
                    <a:gd name="connsiteY140" fmla="*/ 161925 h 4496940"/>
                    <a:gd name="connsiteX141" fmla="*/ 1525927 w 4519987"/>
                    <a:gd name="connsiteY141" fmla="*/ 152400 h 4496940"/>
                    <a:gd name="connsiteX142" fmla="*/ 1583077 w 4519987"/>
                    <a:gd name="connsiteY142" fmla="*/ 142875 h 4496940"/>
                    <a:gd name="connsiteX143" fmla="*/ 1716427 w 4519987"/>
                    <a:gd name="connsiteY143" fmla="*/ 123825 h 4496940"/>
                    <a:gd name="connsiteX144" fmla="*/ 1811677 w 4519987"/>
                    <a:gd name="connsiteY144" fmla="*/ 114300 h 4496940"/>
                    <a:gd name="connsiteX145" fmla="*/ 1859302 w 4519987"/>
                    <a:gd name="connsiteY145" fmla="*/ 104775 h 4496940"/>
                    <a:gd name="connsiteX146" fmla="*/ 1916452 w 4519987"/>
                    <a:gd name="connsiteY146" fmla="*/ 95250 h 4496940"/>
                    <a:gd name="connsiteX147" fmla="*/ 2030752 w 4519987"/>
                    <a:gd name="connsiteY147" fmla="*/ 66675 h 4496940"/>
                    <a:gd name="connsiteX148" fmla="*/ 2097427 w 4519987"/>
                    <a:gd name="connsiteY148" fmla="*/ 47625 h 4496940"/>
                    <a:gd name="connsiteX149" fmla="*/ 2164102 w 4519987"/>
                    <a:gd name="connsiteY149" fmla="*/ 38100 h 4496940"/>
                    <a:gd name="connsiteX150" fmla="*/ 2392702 w 4519987"/>
                    <a:gd name="connsiteY15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4078627 w 4519987"/>
                    <a:gd name="connsiteY22" fmla="*/ 838200 h 4496940"/>
                    <a:gd name="connsiteX23" fmla="*/ 4135777 w 4519987"/>
                    <a:gd name="connsiteY23" fmla="*/ 933450 h 4496940"/>
                    <a:gd name="connsiteX24" fmla="*/ 4164352 w 4519987"/>
                    <a:gd name="connsiteY24" fmla="*/ 990600 h 4496940"/>
                    <a:gd name="connsiteX25" fmla="*/ 4173877 w 4519987"/>
                    <a:gd name="connsiteY25" fmla="*/ 1019175 h 4496940"/>
                    <a:gd name="connsiteX26" fmla="*/ 4192927 w 4519987"/>
                    <a:gd name="connsiteY26" fmla="*/ 1057275 h 4496940"/>
                    <a:gd name="connsiteX27" fmla="*/ 4202452 w 4519987"/>
                    <a:gd name="connsiteY27" fmla="*/ 1085850 h 4496940"/>
                    <a:gd name="connsiteX28" fmla="*/ 4250077 w 4519987"/>
                    <a:gd name="connsiteY28" fmla="*/ 1143000 h 4496940"/>
                    <a:gd name="connsiteX29" fmla="*/ 4259602 w 4519987"/>
                    <a:gd name="connsiteY29" fmla="*/ 1190625 h 4496940"/>
                    <a:gd name="connsiteX30" fmla="*/ 4307227 w 4519987"/>
                    <a:gd name="connsiteY30" fmla="*/ 1266825 h 4496940"/>
                    <a:gd name="connsiteX31" fmla="*/ 4345327 w 4519987"/>
                    <a:gd name="connsiteY31" fmla="*/ 1362075 h 4496940"/>
                    <a:gd name="connsiteX32" fmla="*/ 4373902 w 4519987"/>
                    <a:gd name="connsiteY32" fmla="*/ 1428750 h 4496940"/>
                    <a:gd name="connsiteX33" fmla="*/ 4392952 w 4519987"/>
                    <a:gd name="connsiteY33" fmla="*/ 1552575 h 4496940"/>
                    <a:gd name="connsiteX34" fmla="*/ 4402477 w 4519987"/>
                    <a:gd name="connsiteY34" fmla="*/ 1590675 h 4496940"/>
                    <a:gd name="connsiteX35" fmla="*/ 4431052 w 4519987"/>
                    <a:gd name="connsiteY35" fmla="*/ 1685925 h 4496940"/>
                    <a:gd name="connsiteX36" fmla="*/ 4519952 w 4519987"/>
                    <a:gd name="connsiteY36" fmla="*/ 2181225 h 4496940"/>
                    <a:gd name="connsiteX37" fmla="*/ 4446927 w 4519987"/>
                    <a:gd name="connsiteY37" fmla="*/ 2768600 h 4496940"/>
                    <a:gd name="connsiteX38" fmla="*/ 4383427 w 4519987"/>
                    <a:gd name="connsiteY38" fmla="*/ 2990850 h 4496940"/>
                    <a:gd name="connsiteX39" fmla="*/ 4278652 w 4519987"/>
                    <a:gd name="connsiteY39" fmla="*/ 3248025 h 4496940"/>
                    <a:gd name="connsiteX40" fmla="*/ 4259602 w 4519987"/>
                    <a:gd name="connsiteY40" fmla="*/ 3276600 h 4496940"/>
                    <a:gd name="connsiteX41" fmla="*/ 4221502 w 4519987"/>
                    <a:gd name="connsiteY41" fmla="*/ 3333750 h 4496940"/>
                    <a:gd name="connsiteX42" fmla="*/ 4211977 w 4519987"/>
                    <a:gd name="connsiteY42" fmla="*/ 3362325 h 4496940"/>
                    <a:gd name="connsiteX43" fmla="*/ 4183402 w 4519987"/>
                    <a:gd name="connsiteY43" fmla="*/ 3400425 h 4496940"/>
                    <a:gd name="connsiteX44" fmla="*/ 4164352 w 4519987"/>
                    <a:gd name="connsiteY44" fmla="*/ 3429000 h 4496940"/>
                    <a:gd name="connsiteX45" fmla="*/ 4088152 w 4519987"/>
                    <a:gd name="connsiteY45" fmla="*/ 3495675 h 4496940"/>
                    <a:gd name="connsiteX46" fmla="*/ 4059577 w 4519987"/>
                    <a:gd name="connsiteY46" fmla="*/ 3533775 h 4496940"/>
                    <a:gd name="connsiteX47" fmla="*/ 4002427 w 4519987"/>
                    <a:gd name="connsiteY47" fmla="*/ 3600450 h 4496940"/>
                    <a:gd name="connsiteX48" fmla="*/ 3983377 w 4519987"/>
                    <a:gd name="connsiteY48" fmla="*/ 3629025 h 4496940"/>
                    <a:gd name="connsiteX49" fmla="*/ 3954802 w 4519987"/>
                    <a:gd name="connsiteY49" fmla="*/ 3648075 h 4496940"/>
                    <a:gd name="connsiteX50" fmla="*/ 3907177 w 4519987"/>
                    <a:gd name="connsiteY50" fmla="*/ 3686175 h 4496940"/>
                    <a:gd name="connsiteX51" fmla="*/ 3869077 w 4519987"/>
                    <a:gd name="connsiteY51" fmla="*/ 3724275 h 4496940"/>
                    <a:gd name="connsiteX52" fmla="*/ 3792877 w 4519987"/>
                    <a:gd name="connsiteY52" fmla="*/ 3781425 h 4496940"/>
                    <a:gd name="connsiteX53" fmla="*/ 3783352 w 4519987"/>
                    <a:gd name="connsiteY53" fmla="*/ 3810000 h 4496940"/>
                    <a:gd name="connsiteX54" fmla="*/ 3745252 w 4519987"/>
                    <a:gd name="connsiteY54" fmla="*/ 3819525 h 4496940"/>
                    <a:gd name="connsiteX55" fmla="*/ 3678577 w 4519987"/>
                    <a:gd name="connsiteY55" fmla="*/ 3848100 h 4496940"/>
                    <a:gd name="connsiteX56" fmla="*/ 3659527 w 4519987"/>
                    <a:gd name="connsiteY56" fmla="*/ 3971925 h 4496940"/>
                    <a:gd name="connsiteX57" fmla="*/ 3630952 w 4519987"/>
                    <a:gd name="connsiteY57" fmla="*/ 4010025 h 4496940"/>
                    <a:gd name="connsiteX58" fmla="*/ 3621427 w 4519987"/>
                    <a:gd name="connsiteY58" fmla="*/ 4038600 h 4496940"/>
                    <a:gd name="connsiteX59" fmla="*/ 3554752 w 4519987"/>
                    <a:gd name="connsiteY59" fmla="*/ 4095750 h 4496940"/>
                    <a:gd name="connsiteX60" fmla="*/ 3516652 w 4519987"/>
                    <a:gd name="connsiteY60" fmla="*/ 4114800 h 4496940"/>
                    <a:gd name="connsiteX61" fmla="*/ 3497602 w 4519987"/>
                    <a:gd name="connsiteY61" fmla="*/ 4143375 h 4496940"/>
                    <a:gd name="connsiteX62" fmla="*/ 3383302 w 4519987"/>
                    <a:gd name="connsiteY62" fmla="*/ 4210050 h 4496940"/>
                    <a:gd name="connsiteX63" fmla="*/ 3335677 w 4519987"/>
                    <a:gd name="connsiteY63" fmla="*/ 4238625 h 4496940"/>
                    <a:gd name="connsiteX64" fmla="*/ 3288052 w 4519987"/>
                    <a:gd name="connsiteY64" fmla="*/ 4248150 h 4496940"/>
                    <a:gd name="connsiteX65" fmla="*/ 3240427 w 4519987"/>
                    <a:gd name="connsiteY65" fmla="*/ 4267200 h 4496940"/>
                    <a:gd name="connsiteX66" fmla="*/ 3068977 w 4519987"/>
                    <a:gd name="connsiteY66" fmla="*/ 4286250 h 4496940"/>
                    <a:gd name="connsiteX67" fmla="*/ 2935627 w 4519987"/>
                    <a:gd name="connsiteY67" fmla="*/ 4333875 h 4496940"/>
                    <a:gd name="connsiteX68" fmla="*/ 2811802 w 4519987"/>
                    <a:gd name="connsiteY68" fmla="*/ 4371975 h 4496940"/>
                    <a:gd name="connsiteX69" fmla="*/ 2745127 w 4519987"/>
                    <a:gd name="connsiteY69" fmla="*/ 4410075 h 4496940"/>
                    <a:gd name="connsiteX70" fmla="*/ 2697502 w 4519987"/>
                    <a:gd name="connsiteY70" fmla="*/ 4429125 h 4496940"/>
                    <a:gd name="connsiteX71" fmla="*/ 2640352 w 4519987"/>
                    <a:gd name="connsiteY71" fmla="*/ 4457700 h 4496940"/>
                    <a:gd name="connsiteX72" fmla="*/ 2583202 w 4519987"/>
                    <a:gd name="connsiteY72" fmla="*/ 4467225 h 4496940"/>
                    <a:gd name="connsiteX73" fmla="*/ 2545102 w 4519987"/>
                    <a:gd name="connsiteY73" fmla="*/ 4486275 h 4496940"/>
                    <a:gd name="connsiteX74" fmla="*/ 2306977 w 4519987"/>
                    <a:gd name="connsiteY74" fmla="*/ 4476750 h 4496940"/>
                    <a:gd name="connsiteX75" fmla="*/ 2202202 w 4519987"/>
                    <a:gd name="connsiteY75" fmla="*/ 4457700 h 4496940"/>
                    <a:gd name="connsiteX76" fmla="*/ 2126002 w 4519987"/>
                    <a:gd name="connsiteY76" fmla="*/ 4429125 h 4496940"/>
                    <a:gd name="connsiteX77" fmla="*/ 1935502 w 4519987"/>
                    <a:gd name="connsiteY77" fmla="*/ 4400550 h 4496940"/>
                    <a:gd name="connsiteX78" fmla="*/ 1821202 w 4519987"/>
                    <a:gd name="connsiteY78" fmla="*/ 4371975 h 4496940"/>
                    <a:gd name="connsiteX79" fmla="*/ 1754527 w 4519987"/>
                    <a:gd name="connsiteY79" fmla="*/ 4352925 h 4496940"/>
                    <a:gd name="connsiteX80" fmla="*/ 1687852 w 4519987"/>
                    <a:gd name="connsiteY80" fmla="*/ 4343400 h 4496940"/>
                    <a:gd name="connsiteX81" fmla="*/ 1573552 w 4519987"/>
                    <a:gd name="connsiteY81" fmla="*/ 4305300 h 4496940"/>
                    <a:gd name="connsiteX82" fmla="*/ 1402102 w 4519987"/>
                    <a:gd name="connsiteY82" fmla="*/ 4276725 h 4496940"/>
                    <a:gd name="connsiteX83" fmla="*/ 1287802 w 4519987"/>
                    <a:gd name="connsiteY83" fmla="*/ 4229100 h 4496940"/>
                    <a:gd name="connsiteX84" fmla="*/ 1221127 w 4519987"/>
                    <a:gd name="connsiteY84" fmla="*/ 4200525 h 4496940"/>
                    <a:gd name="connsiteX85" fmla="*/ 1144927 w 4519987"/>
                    <a:gd name="connsiteY85" fmla="*/ 4171950 h 4496940"/>
                    <a:gd name="connsiteX86" fmla="*/ 1087777 w 4519987"/>
                    <a:gd name="connsiteY86" fmla="*/ 4143375 h 4496940"/>
                    <a:gd name="connsiteX87" fmla="*/ 1030627 w 4519987"/>
                    <a:gd name="connsiteY87" fmla="*/ 4124325 h 4496940"/>
                    <a:gd name="connsiteX88" fmla="*/ 925852 w 4519987"/>
                    <a:gd name="connsiteY88" fmla="*/ 4067175 h 4496940"/>
                    <a:gd name="connsiteX89" fmla="*/ 830602 w 4519987"/>
                    <a:gd name="connsiteY89" fmla="*/ 3981450 h 4496940"/>
                    <a:gd name="connsiteX90" fmla="*/ 763927 w 4519987"/>
                    <a:gd name="connsiteY90" fmla="*/ 3914775 h 4496940"/>
                    <a:gd name="connsiteX91" fmla="*/ 725827 w 4519987"/>
                    <a:gd name="connsiteY91" fmla="*/ 3876675 h 4496940"/>
                    <a:gd name="connsiteX92" fmla="*/ 697252 w 4519987"/>
                    <a:gd name="connsiteY92" fmla="*/ 3838575 h 4496940"/>
                    <a:gd name="connsiteX93" fmla="*/ 640102 w 4519987"/>
                    <a:gd name="connsiteY93" fmla="*/ 3781425 h 4496940"/>
                    <a:gd name="connsiteX94" fmla="*/ 611527 w 4519987"/>
                    <a:gd name="connsiteY94" fmla="*/ 3733800 h 4496940"/>
                    <a:gd name="connsiteX95" fmla="*/ 554377 w 4519987"/>
                    <a:gd name="connsiteY95" fmla="*/ 3657600 h 4496940"/>
                    <a:gd name="connsiteX96" fmla="*/ 525802 w 4519987"/>
                    <a:gd name="connsiteY96" fmla="*/ 3609975 h 4496940"/>
                    <a:gd name="connsiteX97" fmla="*/ 497227 w 4519987"/>
                    <a:gd name="connsiteY97" fmla="*/ 3552825 h 4496940"/>
                    <a:gd name="connsiteX98" fmla="*/ 440077 w 4519987"/>
                    <a:gd name="connsiteY98" fmla="*/ 3495675 h 4496940"/>
                    <a:gd name="connsiteX99" fmla="*/ 411502 w 4519987"/>
                    <a:gd name="connsiteY99" fmla="*/ 3448050 h 4496940"/>
                    <a:gd name="connsiteX100" fmla="*/ 278152 w 4519987"/>
                    <a:gd name="connsiteY100" fmla="*/ 3257550 h 4496940"/>
                    <a:gd name="connsiteX101" fmla="*/ 249577 w 4519987"/>
                    <a:gd name="connsiteY101" fmla="*/ 3200400 h 4496940"/>
                    <a:gd name="connsiteX102" fmla="*/ 240052 w 4519987"/>
                    <a:gd name="connsiteY102" fmla="*/ 3162300 h 4496940"/>
                    <a:gd name="connsiteX103" fmla="*/ 221002 w 4519987"/>
                    <a:gd name="connsiteY103" fmla="*/ 3105150 h 4496940"/>
                    <a:gd name="connsiteX104" fmla="*/ 173377 w 4519987"/>
                    <a:gd name="connsiteY104" fmla="*/ 3019425 h 4496940"/>
                    <a:gd name="connsiteX105" fmla="*/ 144802 w 4519987"/>
                    <a:gd name="connsiteY105" fmla="*/ 2924175 h 4496940"/>
                    <a:gd name="connsiteX106" fmla="*/ 68602 w 4519987"/>
                    <a:gd name="connsiteY106" fmla="*/ 2724150 h 4496940"/>
                    <a:gd name="connsiteX107" fmla="*/ 49552 w 4519987"/>
                    <a:gd name="connsiteY107" fmla="*/ 2638425 h 4496940"/>
                    <a:gd name="connsiteX108" fmla="*/ 40027 w 4519987"/>
                    <a:gd name="connsiteY108" fmla="*/ 2562225 h 4496940"/>
                    <a:gd name="connsiteX109" fmla="*/ 30502 w 4519987"/>
                    <a:gd name="connsiteY109" fmla="*/ 2514600 h 4496940"/>
                    <a:gd name="connsiteX110" fmla="*/ 11452 w 4519987"/>
                    <a:gd name="connsiteY110" fmla="*/ 2400300 h 4496940"/>
                    <a:gd name="connsiteX111" fmla="*/ 20977 w 4519987"/>
                    <a:gd name="connsiteY111" fmla="*/ 1905000 h 4496940"/>
                    <a:gd name="connsiteX112" fmla="*/ 30502 w 4519987"/>
                    <a:gd name="connsiteY112" fmla="*/ 1838325 h 4496940"/>
                    <a:gd name="connsiteX113" fmla="*/ 49552 w 4519987"/>
                    <a:gd name="connsiteY113" fmla="*/ 1781175 h 4496940"/>
                    <a:gd name="connsiteX114" fmla="*/ 59077 w 4519987"/>
                    <a:gd name="connsiteY114" fmla="*/ 1743075 h 4496940"/>
                    <a:gd name="connsiteX115" fmla="*/ 78127 w 4519987"/>
                    <a:gd name="connsiteY115" fmla="*/ 1685925 h 4496940"/>
                    <a:gd name="connsiteX116" fmla="*/ 87652 w 4519987"/>
                    <a:gd name="connsiteY116" fmla="*/ 1638300 h 4496940"/>
                    <a:gd name="connsiteX117" fmla="*/ 106702 w 4519987"/>
                    <a:gd name="connsiteY117" fmla="*/ 1590675 h 4496940"/>
                    <a:gd name="connsiteX118" fmla="*/ 135277 w 4519987"/>
                    <a:gd name="connsiteY118" fmla="*/ 1504950 h 4496940"/>
                    <a:gd name="connsiteX119" fmla="*/ 154327 w 4519987"/>
                    <a:gd name="connsiteY119" fmla="*/ 1419225 h 4496940"/>
                    <a:gd name="connsiteX120" fmla="*/ 230527 w 4519987"/>
                    <a:gd name="connsiteY120" fmla="*/ 1276350 h 4496940"/>
                    <a:gd name="connsiteX121" fmla="*/ 240052 w 4519987"/>
                    <a:gd name="connsiteY121" fmla="*/ 1247775 h 4496940"/>
                    <a:gd name="connsiteX122" fmla="*/ 268627 w 4519987"/>
                    <a:gd name="connsiteY122" fmla="*/ 1200150 h 4496940"/>
                    <a:gd name="connsiteX123" fmla="*/ 287677 w 4519987"/>
                    <a:gd name="connsiteY123" fmla="*/ 1152525 h 4496940"/>
                    <a:gd name="connsiteX124" fmla="*/ 316252 w 4519987"/>
                    <a:gd name="connsiteY124" fmla="*/ 1114425 h 4496940"/>
                    <a:gd name="connsiteX125" fmla="*/ 363877 w 4519987"/>
                    <a:gd name="connsiteY125" fmla="*/ 1038225 h 4496940"/>
                    <a:gd name="connsiteX126" fmla="*/ 382927 w 4519987"/>
                    <a:gd name="connsiteY126" fmla="*/ 1009650 h 4496940"/>
                    <a:gd name="connsiteX127" fmla="*/ 440077 w 4519987"/>
                    <a:gd name="connsiteY127" fmla="*/ 904875 h 4496940"/>
                    <a:gd name="connsiteX128" fmla="*/ 478177 w 4519987"/>
                    <a:gd name="connsiteY128" fmla="*/ 857250 h 4496940"/>
                    <a:gd name="connsiteX129" fmla="*/ 497227 w 4519987"/>
                    <a:gd name="connsiteY129" fmla="*/ 828675 h 4496940"/>
                    <a:gd name="connsiteX130" fmla="*/ 535327 w 4519987"/>
                    <a:gd name="connsiteY130" fmla="*/ 800100 h 4496940"/>
                    <a:gd name="connsiteX131" fmla="*/ 602002 w 4519987"/>
                    <a:gd name="connsiteY131" fmla="*/ 733425 h 4496940"/>
                    <a:gd name="connsiteX132" fmla="*/ 668677 w 4519987"/>
                    <a:gd name="connsiteY132" fmla="*/ 676275 h 4496940"/>
                    <a:gd name="connsiteX133" fmla="*/ 697252 w 4519987"/>
                    <a:gd name="connsiteY133" fmla="*/ 657225 h 4496940"/>
                    <a:gd name="connsiteX134" fmla="*/ 840127 w 4519987"/>
                    <a:gd name="connsiteY134" fmla="*/ 533400 h 4496940"/>
                    <a:gd name="connsiteX135" fmla="*/ 887752 w 4519987"/>
                    <a:gd name="connsiteY135" fmla="*/ 504825 h 4496940"/>
                    <a:gd name="connsiteX136" fmla="*/ 1167152 w 4519987"/>
                    <a:gd name="connsiteY136" fmla="*/ 311150 h 4496940"/>
                    <a:gd name="connsiteX137" fmla="*/ 1268752 w 4519987"/>
                    <a:gd name="connsiteY137" fmla="*/ 285750 h 4496940"/>
                    <a:gd name="connsiteX138" fmla="*/ 1411627 w 4519987"/>
                    <a:gd name="connsiteY138" fmla="*/ 190500 h 4496940"/>
                    <a:gd name="connsiteX139" fmla="*/ 1449727 w 4519987"/>
                    <a:gd name="connsiteY139" fmla="*/ 161925 h 4496940"/>
                    <a:gd name="connsiteX140" fmla="*/ 1525927 w 4519987"/>
                    <a:gd name="connsiteY140" fmla="*/ 152400 h 4496940"/>
                    <a:gd name="connsiteX141" fmla="*/ 1583077 w 4519987"/>
                    <a:gd name="connsiteY141" fmla="*/ 142875 h 4496940"/>
                    <a:gd name="connsiteX142" fmla="*/ 1716427 w 4519987"/>
                    <a:gd name="connsiteY142" fmla="*/ 123825 h 4496940"/>
                    <a:gd name="connsiteX143" fmla="*/ 1811677 w 4519987"/>
                    <a:gd name="connsiteY143" fmla="*/ 114300 h 4496940"/>
                    <a:gd name="connsiteX144" fmla="*/ 1859302 w 4519987"/>
                    <a:gd name="connsiteY144" fmla="*/ 104775 h 4496940"/>
                    <a:gd name="connsiteX145" fmla="*/ 1916452 w 4519987"/>
                    <a:gd name="connsiteY145" fmla="*/ 95250 h 4496940"/>
                    <a:gd name="connsiteX146" fmla="*/ 2030752 w 4519987"/>
                    <a:gd name="connsiteY146" fmla="*/ 66675 h 4496940"/>
                    <a:gd name="connsiteX147" fmla="*/ 2097427 w 4519987"/>
                    <a:gd name="connsiteY147" fmla="*/ 47625 h 4496940"/>
                    <a:gd name="connsiteX148" fmla="*/ 2164102 w 4519987"/>
                    <a:gd name="connsiteY148" fmla="*/ 38100 h 4496940"/>
                    <a:gd name="connsiteX149" fmla="*/ 2392702 w 4519987"/>
                    <a:gd name="connsiteY14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78627 w 4519987"/>
                    <a:gd name="connsiteY21" fmla="*/ 838200 h 4496940"/>
                    <a:gd name="connsiteX22" fmla="*/ 4135777 w 4519987"/>
                    <a:gd name="connsiteY22" fmla="*/ 933450 h 4496940"/>
                    <a:gd name="connsiteX23" fmla="*/ 4164352 w 4519987"/>
                    <a:gd name="connsiteY23" fmla="*/ 990600 h 4496940"/>
                    <a:gd name="connsiteX24" fmla="*/ 4173877 w 4519987"/>
                    <a:gd name="connsiteY24" fmla="*/ 1019175 h 4496940"/>
                    <a:gd name="connsiteX25" fmla="*/ 4192927 w 4519987"/>
                    <a:gd name="connsiteY25" fmla="*/ 1057275 h 4496940"/>
                    <a:gd name="connsiteX26" fmla="*/ 4202452 w 4519987"/>
                    <a:gd name="connsiteY26" fmla="*/ 1085850 h 4496940"/>
                    <a:gd name="connsiteX27" fmla="*/ 4250077 w 4519987"/>
                    <a:gd name="connsiteY27" fmla="*/ 1143000 h 4496940"/>
                    <a:gd name="connsiteX28" fmla="*/ 4259602 w 4519987"/>
                    <a:gd name="connsiteY28" fmla="*/ 1190625 h 4496940"/>
                    <a:gd name="connsiteX29" fmla="*/ 4307227 w 4519987"/>
                    <a:gd name="connsiteY29" fmla="*/ 1266825 h 4496940"/>
                    <a:gd name="connsiteX30" fmla="*/ 4345327 w 4519987"/>
                    <a:gd name="connsiteY30" fmla="*/ 1362075 h 4496940"/>
                    <a:gd name="connsiteX31" fmla="*/ 4373902 w 4519987"/>
                    <a:gd name="connsiteY31" fmla="*/ 1428750 h 4496940"/>
                    <a:gd name="connsiteX32" fmla="*/ 4392952 w 4519987"/>
                    <a:gd name="connsiteY32" fmla="*/ 1552575 h 4496940"/>
                    <a:gd name="connsiteX33" fmla="*/ 4402477 w 4519987"/>
                    <a:gd name="connsiteY33" fmla="*/ 1590675 h 4496940"/>
                    <a:gd name="connsiteX34" fmla="*/ 4431052 w 4519987"/>
                    <a:gd name="connsiteY34" fmla="*/ 1685925 h 4496940"/>
                    <a:gd name="connsiteX35" fmla="*/ 4519952 w 4519987"/>
                    <a:gd name="connsiteY35" fmla="*/ 2181225 h 4496940"/>
                    <a:gd name="connsiteX36" fmla="*/ 4446927 w 4519987"/>
                    <a:gd name="connsiteY36" fmla="*/ 2768600 h 4496940"/>
                    <a:gd name="connsiteX37" fmla="*/ 4383427 w 4519987"/>
                    <a:gd name="connsiteY37" fmla="*/ 2990850 h 4496940"/>
                    <a:gd name="connsiteX38" fmla="*/ 4278652 w 4519987"/>
                    <a:gd name="connsiteY38" fmla="*/ 3248025 h 4496940"/>
                    <a:gd name="connsiteX39" fmla="*/ 4259602 w 4519987"/>
                    <a:gd name="connsiteY39" fmla="*/ 3276600 h 4496940"/>
                    <a:gd name="connsiteX40" fmla="*/ 4221502 w 4519987"/>
                    <a:gd name="connsiteY40" fmla="*/ 3333750 h 4496940"/>
                    <a:gd name="connsiteX41" fmla="*/ 4211977 w 4519987"/>
                    <a:gd name="connsiteY41" fmla="*/ 3362325 h 4496940"/>
                    <a:gd name="connsiteX42" fmla="*/ 4183402 w 4519987"/>
                    <a:gd name="connsiteY42" fmla="*/ 3400425 h 4496940"/>
                    <a:gd name="connsiteX43" fmla="*/ 4164352 w 4519987"/>
                    <a:gd name="connsiteY43" fmla="*/ 3429000 h 4496940"/>
                    <a:gd name="connsiteX44" fmla="*/ 4088152 w 4519987"/>
                    <a:gd name="connsiteY44" fmla="*/ 3495675 h 4496940"/>
                    <a:gd name="connsiteX45" fmla="*/ 4059577 w 4519987"/>
                    <a:gd name="connsiteY45" fmla="*/ 3533775 h 4496940"/>
                    <a:gd name="connsiteX46" fmla="*/ 4002427 w 4519987"/>
                    <a:gd name="connsiteY46" fmla="*/ 3600450 h 4496940"/>
                    <a:gd name="connsiteX47" fmla="*/ 3983377 w 4519987"/>
                    <a:gd name="connsiteY47" fmla="*/ 3629025 h 4496940"/>
                    <a:gd name="connsiteX48" fmla="*/ 3954802 w 4519987"/>
                    <a:gd name="connsiteY48" fmla="*/ 3648075 h 4496940"/>
                    <a:gd name="connsiteX49" fmla="*/ 3907177 w 4519987"/>
                    <a:gd name="connsiteY49" fmla="*/ 3686175 h 4496940"/>
                    <a:gd name="connsiteX50" fmla="*/ 3869077 w 4519987"/>
                    <a:gd name="connsiteY50" fmla="*/ 3724275 h 4496940"/>
                    <a:gd name="connsiteX51" fmla="*/ 3792877 w 4519987"/>
                    <a:gd name="connsiteY51" fmla="*/ 3781425 h 4496940"/>
                    <a:gd name="connsiteX52" fmla="*/ 3783352 w 4519987"/>
                    <a:gd name="connsiteY52" fmla="*/ 3810000 h 4496940"/>
                    <a:gd name="connsiteX53" fmla="*/ 3745252 w 4519987"/>
                    <a:gd name="connsiteY53" fmla="*/ 3819525 h 4496940"/>
                    <a:gd name="connsiteX54" fmla="*/ 3678577 w 4519987"/>
                    <a:gd name="connsiteY54" fmla="*/ 3848100 h 4496940"/>
                    <a:gd name="connsiteX55" fmla="*/ 3659527 w 4519987"/>
                    <a:gd name="connsiteY55" fmla="*/ 3971925 h 4496940"/>
                    <a:gd name="connsiteX56" fmla="*/ 3630952 w 4519987"/>
                    <a:gd name="connsiteY56" fmla="*/ 4010025 h 4496940"/>
                    <a:gd name="connsiteX57" fmla="*/ 3621427 w 4519987"/>
                    <a:gd name="connsiteY57" fmla="*/ 4038600 h 4496940"/>
                    <a:gd name="connsiteX58" fmla="*/ 3554752 w 4519987"/>
                    <a:gd name="connsiteY58" fmla="*/ 4095750 h 4496940"/>
                    <a:gd name="connsiteX59" fmla="*/ 3516652 w 4519987"/>
                    <a:gd name="connsiteY59" fmla="*/ 4114800 h 4496940"/>
                    <a:gd name="connsiteX60" fmla="*/ 3497602 w 4519987"/>
                    <a:gd name="connsiteY60" fmla="*/ 4143375 h 4496940"/>
                    <a:gd name="connsiteX61" fmla="*/ 3383302 w 4519987"/>
                    <a:gd name="connsiteY61" fmla="*/ 4210050 h 4496940"/>
                    <a:gd name="connsiteX62" fmla="*/ 3335677 w 4519987"/>
                    <a:gd name="connsiteY62" fmla="*/ 4238625 h 4496940"/>
                    <a:gd name="connsiteX63" fmla="*/ 3288052 w 4519987"/>
                    <a:gd name="connsiteY63" fmla="*/ 4248150 h 4496940"/>
                    <a:gd name="connsiteX64" fmla="*/ 3240427 w 4519987"/>
                    <a:gd name="connsiteY64" fmla="*/ 4267200 h 4496940"/>
                    <a:gd name="connsiteX65" fmla="*/ 3068977 w 4519987"/>
                    <a:gd name="connsiteY65" fmla="*/ 4286250 h 4496940"/>
                    <a:gd name="connsiteX66" fmla="*/ 2935627 w 4519987"/>
                    <a:gd name="connsiteY66" fmla="*/ 4333875 h 4496940"/>
                    <a:gd name="connsiteX67" fmla="*/ 2811802 w 4519987"/>
                    <a:gd name="connsiteY67" fmla="*/ 4371975 h 4496940"/>
                    <a:gd name="connsiteX68" fmla="*/ 2745127 w 4519987"/>
                    <a:gd name="connsiteY68" fmla="*/ 4410075 h 4496940"/>
                    <a:gd name="connsiteX69" fmla="*/ 2697502 w 4519987"/>
                    <a:gd name="connsiteY69" fmla="*/ 4429125 h 4496940"/>
                    <a:gd name="connsiteX70" fmla="*/ 2640352 w 4519987"/>
                    <a:gd name="connsiteY70" fmla="*/ 4457700 h 4496940"/>
                    <a:gd name="connsiteX71" fmla="*/ 2583202 w 4519987"/>
                    <a:gd name="connsiteY71" fmla="*/ 4467225 h 4496940"/>
                    <a:gd name="connsiteX72" fmla="*/ 2545102 w 4519987"/>
                    <a:gd name="connsiteY72" fmla="*/ 4486275 h 4496940"/>
                    <a:gd name="connsiteX73" fmla="*/ 2306977 w 4519987"/>
                    <a:gd name="connsiteY73" fmla="*/ 4476750 h 4496940"/>
                    <a:gd name="connsiteX74" fmla="*/ 2202202 w 4519987"/>
                    <a:gd name="connsiteY74" fmla="*/ 4457700 h 4496940"/>
                    <a:gd name="connsiteX75" fmla="*/ 2126002 w 4519987"/>
                    <a:gd name="connsiteY75" fmla="*/ 4429125 h 4496940"/>
                    <a:gd name="connsiteX76" fmla="*/ 1935502 w 4519987"/>
                    <a:gd name="connsiteY76" fmla="*/ 4400550 h 4496940"/>
                    <a:gd name="connsiteX77" fmla="*/ 1821202 w 4519987"/>
                    <a:gd name="connsiteY77" fmla="*/ 4371975 h 4496940"/>
                    <a:gd name="connsiteX78" fmla="*/ 1754527 w 4519987"/>
                    <a:gd name="connsiteY78" fmla="*/ 4352925 h 4496940"/>
                    <a:gd name="connsiteX79" fmla="*/ 1687852 w 4519987"/>
                    <a:gd name="connsiteY79" fmla="*/ 4343400 h 4496940"/>
                    <a:gd name="connsiteX80" fmla="*/ 1573552 w 4519987"/>
                    <a:gd name="connsiteY80" fmla="*/ 4305300 h 4496940"/>
                    <a:gd name="connsiteX81" fmla="*/ 1402102 w 4519987"/>
                    <a:gd name="connsiteY81" fmla="*/ 4276725 h 4496940"/>
                    <a:gd name="connsiteX82" fmla="*/ 1287802 w 4519987"/>
                    <a:gd name="connsiteY82" fmla="*/ 4229100 h 4496940"/>
                    <a:gd name="connsiteX83" fmla="*/ 1221127 w 4519987"/>
                    <a:gd name="connsiteY83" fmla="*/ 4200525 h 4496940"/>
                    <a:gd name="connsiteX84" fmla="*/ 1144927 w 4519987"/>
                    <a:gd name="connsiteY84" fmla="*/ 4171950 h 4496940"/>
                    <a:gd name="connsiteX85" fmla="*/ 1087777 w 4519987"/>
                    <a:gd name="connsiteY85" fmla="*/ 4143375 h 4496940"/>
                    <a:gd name="connsiteX86" fmla="*/ 1030627 w 4519987"/>
                    <a:gd name="connsiteY86" fmla="*/ 4124325 h 4496940"/>
                    <a:gd name="connsiteX87" fmla="*/ 925852 w 4519987"/>
                    <a:gd name="connsiteY87" fmla="*/ 4067175 h 4496940"/>
                    <a:gd name="connsiteX88" fmla="*/ 830602 w 4519987"/>
                    <a:gd name="connsiteY88" fmla="*/ 3981450 h 4496940"/>
                    <a:gd name="connsiteX89" fmla="*/ 763927 w 4519987"/>
                    <a:gd name="connsiteY89" fmla="*/ 3914775 h 4496940"/>
                    <a:gd name="connsiteX90" fmla="*/ 725827 w 4519987"/>
                    <a:gd name="connsiteY90" fmla="*/ 3876675 h 4496940"/>
                    <a:gd name="connsiteX91" fmla="*/ 697252 w 4519987"/>
                    <a:gd name="connsiteY91" fmla="*/ 3838575 h 4496940"/>
                    <a:gd name="connsiteX92" fmla="*/ 640102 w 4519987"/>
                    <a:gd name="connsiteY92" fmla="*/ 3781425 h 4496940"/>
                    <a:gd name="connsiteX93" fmla="*/ 611527 w 4519987"/>
                    <a:gd name="connsiteY93" fmla="*/ 3733800 h 4496940"/>
                    <a:gd name="connsiteX94" fmla="*/ 554377 w 4519987"/>
                    <a:gd name="connsiteY94" fmla="*/ 3657600 h 4496940"/>
                    <a:gd name="connsiteX95" fmla="*/ 525802 w 4519987"/>
                    <a:gd name="connsiteY95" fmla="*/ 3609975 h 4496940"/>
                    <a:gd name="connsiteX96" fmla="*/ 497227 w 4519987"/>
                    <a:gd name="connsiteY96" fmla="*/ 3552825 h 4496940"/>
                    <a:gd name="connsiteX97" fmla="*/ 440077 w 4519987"/>
                    <a:gd name="connsiteY97" fmla="*/ 3495675 h 4496940"/>
                    <a:gd name="connsiteX98" fmla="*/ 411502 w 4519987"/>
                    <a:gd name="connsiteY98" fmla="*/ 3448050 h 4496940"/>
                    <a:gd name="connsiteX99" fmla="*/ 278152 w 4519987"/>
                    <a:gd name="connsiteY99" fmla="*/ 3257550 h 4496940"/>
                    <a:gd name="connsiteX100" fmla="*/ 249577 w 4519987"/>
                    <a:gd name="connsiteY100" fmla="*/ 3200400 h 4496940"/>
                    <a:gd name="connsiteX101" fmla="*/ 240052 w 4519987"/>
                    <a:gd name="connsiteY101" fmla="*/ 3162300 h 4496940"/>
                    <a:gd name="connsiteX102" fmla="*/ 221002 w 4519987"/>
                    <a:gd name="connsiteY102" fmla="*/ 3105150 h 4496940"/>
                    <a:gd name="connsiteX103" fmla="*/ 173377 w 4519987"/>
                    <a:gd name="connsiteY103" fmla="*/ 3019425 h 4496940"/>
                    <a:gd name="connsiteX104" fmla="*/ 144802 w 4519987"/>
                    <a:gd name="connsiteY104" fmla="*/ 2924175 h 4496940"/>
                    <a:gd name="connsiteX105" fmla="*/ 68602 w 4519987"/>
                    <a:gd name="connsiteY105" fmla="*/ 2724150 h 4496940"/>
                    <a:gd name="connsiteX106" fmla="*/ 49552 w 4519987"/>
                    <a:gd name="connsiteY106" fmla="*/ 2638425 h 4496940"/>
                    <a:gd name="connsiteX107" fmla="*/ 40027 w 4519987"/>
                    <a:gd name="connsiteY107" fmla="*/ 2562225 h 4496940"/>
                    <a:gd name="connsiteX108" fmla="*/ 30502 w 4519987"/>
                    <a:gd name="connsiteY108" fmla="*/ 2514600 h 4496940"/>
                    <a:gd name="connsiteX109" fmla="*/ 11452 w 4519987"/>
                    <a:gd name="connsiteY109" fmla="*/ 2400300 h 4496940"/>
                    <a:gd name="connsiteX110" fmla="*/ 20977 w 4519987"/>
                    <a:gd name="connsiteY110" fmla="*/ 1905000 h 4496940"/>
                    <a:gd name="connsiteX111" fmla="*/ 30502 w 4519987"/>
                    <a:gd name="connsiteY111" fmla="*/ 1838325 h 4496940"/>
                    <a:gd name="connsiteX112" fmla="*/ 49552 w 4519987"/>
                    <a:gd name="connsiteY112" fmla="*/ 1781175 h 4496940"/>
                    <a:gd name="connsiteX113" fmla="*/ 59077 w 4519987"/>
                    <a:gd name="connsiteY113" fmla="*/ 1743075 h 4496940"/>
                    <a:gd name="connsiteX114" fmla="*/ 78127 w 4519987"/>
                    <a:gd name="connsiteY114" fmla="*/ 1685925 h 4496940"/>
                    <a:gd name="connsiteX115" fmla="*/ 87652 w 4519987"/>
                    <a:gd name="connsiteY115" fmla="*/ 1638300 h 4496940"/>
                    <a:gd name="connsiteX116" fmla="*/ 106702 w 4519987"/>
                    <a:gd name="connsiteY116" fmla="*/ 1590675 h 4496940"/>
                    <a:gd name="connsiteX117" fmla="*/ 135277 w 4519987"/>
                    <a:gd name="connsiteY117" fmla="*/ 1504950 h 4496940"/>
                    <a:gd name="connsiteX118" fmla="*/ 154327 w 4519987"/>
                    <a:gd name="connsiteY118" fmla="*/ 1419225 h 4496940"/>
                    <a:gd name="connsiteX119" fmla="*/ 230527 w 4519987"/>
                    <a:gd name="connsiteY119" fmla="*/ 1276350 h 4496940"/>
                    <a:gd name="connsiteX120" fmla="*/ 240052 w 4519987"/>
                    <a:gd name="connsiteY120" fmla="*/ 1247775 h 4496940"/>
                    <a:gd name="connsiteX121" fmla="*/ 268627 w 4519987"/>
                    <a:gd name="connsiteY121" fmla="*/ 1200150 h 4496940"/>
                    <a:gd name="connsiteX122" fmla="*/ 287677 w 4519987"/>
                    <a:gd name="connsiteY122" fmla="*/ 1152525 h 4496940"/>
                    <a:gd name="connsiteX123" fmla="*/ 316252 w 4519987"/>
                    <a:gd name="connsiteY123" fmla="*/ 1114425 h 4496940"/>
                    <a:gd name="connsiteX124" fmla="*/ 363877 w 4519987"/>
                    <a:gd name="connsiteY124" fmla="*/ 1038225 h 4496940"/>
                    <a:gd name="connsiteX125" fmla="*/ 382927 w 4519987"/>
                    <a:gd name="connsiteY125" fmla="*/ 1009650 h 4496940"/>
                    <a:gd name="connsiteX126" fmla="*/ 440077 w 4519987"/>
                    <a:gd name="connsiteY126" fmla="*/ 904875 h 4496940"/>
                    <a:gd name="connsiteX127" fmla="*/ 478177 w 4519987"/>
                    <a:gd name="connsiteY127" fmla="*/ 857250 h 4496940"/>
                    <a:gd name="connsiteX128" fmla="*/ 497227 w 4519987"/>
                    <a:gd name="connsiteY128" fmla="*/ 828675 h 4496940"/>
                    <a:gd name="connsiteX129" fmla="*/ 535327 w 4519987"/>
                    <a:gd name="connsiteY129" fmla="*/ 800100 h 4496940"/>
                    <a:gd name="connsiteX130" fmla="*/ 602002 w 4519987"/>
                    <a:gd name="connsiteY130" fmla="*/ 733425 h 4496940"/>
                    <a:gd name="connsiteX131" fmla="*/ 668677 w 4519987"/>
                    <a:gd name="connsiteY131" fmla="*/ 676275 h 4496940"/>
                    <a:gd name="connsiteX132" fmla="*/ 697252 w 4519987"/>
                    <a:gd name="connsiteY132" fmla="*/ 657225 h 4496940"/>
                    <a:gd name="connsiteX133" fmla="*/ 840127 w 4519987"/>
                    <a:gd name="connsiteY133" fmla="*/ 533400 h 4496940"/>
                    <a:gd name="connsiteX134" fmla="*/ 887752 w 4519987"/>
                    <a:gd name="connsiteY134" fmla="*/ 504825 h 4496940"/>
                    <a:gd name="connsiteX135" fmla="*/ 1167152 w 4519987"/>
                    <a:gd name="connsiteY135" fmla="*/ 311150 h 4496940"/>
                    <a:gd name="connsiteX136" fmla="*/ 1268752 w 4519987"/>
                    <a:gd name="connsiteY136" fmla="*/ 285750 h 4496940"/>
                    <a:gd name="connsiteX137" fmla="*/ 1411627 w 4519987"/>
                    <a:gd name="connsiteY137" fmla="*/ 190500 h 4496940"/>
                    <a:gd name="connsiteX138" fmla="*/ 1449727 w 4519987"/>
                    <a:gd name="connsiteY138" fmla="*/ 161925 h 4496940"/>
                    <a:gd name="connsiteX139" fmla="*/ 1525927 w 4519987"/>
                    <a:gd name="connsiteY139" fmla="*/ 152400 h 4496940"/>
                    <a:gd name="connsiteX140" fmla="*/ 1583077 w 4519987"/>
                    <a:gd name="connsiteY140" fmla="*/ 142875 h 4496940"/>
                    <a:gd name="connsiteX141" fmla="*/ 1716427 w 4519987"/>
                    <a:gd name="connsiteY141" fmla="*/ 123825 h 4496940"/>
                    <a:gd name="connsiteX142" fmla="*/ 1811677 w 4519987"/>
                    <a:gd name="connsiteY142" fmla="*/ 114300 h 4496940"/>
                    <a:gd name="connsiteX143" fmla="*/ 1859302 w 4519987"/>
                    <a:gd name="connsiteY143" fmla="*/ 104775 h 4496940"/>
                    <a:gd name="connsiteX144" fmla="*/ 1916452 w 4519987"/>
                    <a:gd name="connsiteY144" fmla="*/ 95250 h 4496940"/>
                    <a:gd name="connsiteX145" fmla="*/ 2030752 w 4519987"/>
                    <a:gd name="connsiteY145" fmla="*/ 66675 h 4496940"/>
                    <a:gd name="connsiteX146" fmla="*/ 2097427 w 4519987"/>
                    <a:gd name="connsiteY146" fmla="*/ 47625 h 4496940"/>
                    <a:gd name="connsiteX147" fmla="*/ 2164102 w 4519987"/>
                    <a:gd name="connsiteY147" fmla="*/ 38100 h 4496940"/>
                    <a:gd name="connsiteX148" fmla="*/ 2392702 w 4519987"/>
                    <a:gd name="connsiteY14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135777 w 4519987"/>
                    <a:gd name="connsiteY21" fmla="*/ 9334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02452 w 4519987"/>
                    <a:gd name="connsiteY24" fmla="*/ 1085850 h 4496940"/>
                    <a:gd name="connsiteX25" fmla="*/ 4250077 w 4519987"/>
                    <a:gd name="connsiteY25" fmla="*/ 1143000 h 4496940"/>
                    <a:gd name="connsiteX26" fmla="*/ 4259602 w 4519987"/>
                    <a:gd name="connsiteY26" fmla="*/ 1190625 h 4496940"/>
                    <a:gd name="connsiteX27" fmla="*/ 4307227 w 4519987"/>
                    <a:gd name="connsiteY27" fmla="*/ 1266825 h 4496940"/>
                    <a:gd name="connsiteX28" fmla="*/ 4345327 w 4519987"/>
                    <a:gd name="connsiteY28" fmla="*/ 1362075 h 4496940"/>
                    <a:gd name="connsiteX29" fmla="*/ 4373902 w 4519987"/>
                    <a:gd name="connsiteY29" fmla="*/ 1428750 h 4496940"/>
                    <a:gd name="connsiteX30" fmla="*/ 4392952 w 4519987"/>
                    <a:gd name="connsiteY30" fmla="*/ 1552575 h 4496940"/>
                    <a:gd name="connsiteX31" fmla="*/ 4402477 w 4519987"/>
                    <a:gd name="connsiteY31" fmla="*/ 1590675 h 4496940"/>
                    <a:gd name="connsiteX32" fmla="*/ 4431052 w 4519987"/>
                    <a:gd name="connsiteY32" fmla="*/ 1685925 h 4496940"/>
                    <a:gd name="connsiteX33" fmla="*/ 4519952 w 4519987"/>
                    <a:gd name="connsiteY33" fmla="*/ 2181225 h 4496940"/>
                    <a:gd name="connsiteX34" fmla="*/ 4446927 w 4519987"/>
                    <a:gd name="connsiteY34" fmla="*/ 2768600 h 4496940"/>
                    <a:gd name="connsiteX35" fmla="*/ 4383427 w 4519987"/>
                    <a:gd name="connsiteY35" fmla="*/ 2990850 h 4496940"/>
                    <a:gd name="connsiteX36" fmla="*/ 4278652 w 4519987"/>
                    <a:gd name="connsiteY36" fmla="*/ 3248025 h 4496940"/>
                    <a:gd name="connsiteX37" fmla="*/ 4259602 w 4519987"/>
                    <a:gd name="connsiteY37" fmla="*/ 3276600 h 4496940"/>
                    <a:gd name="connsiteX38" fmla="*/ 4221502 w 4519987"/>
                    <a:gd name="connsiteY38" fmla="*/ 3333750 h 4496940"/>
                    <a:gd name="connsiteX39" fmla="*/ 4211977 w 4519987"/>
                    <a:gd name="connsiteY39" fmla="*/ 3362325 h 4496940"/>
                    <a:gd name="connsiteX40" fmla="*/ 4183402 w 4519987"/>
                    <a:gd name="connsiteY40" fmla="*/ 3400425 h 4496940"/>
                    <a:gd name="connsiteX41" fmla="*/ 4164352 w 4519987"/>
                    <a:gd name="connsiteY41" fmla="*/ 3429000 h 4496940"/>
                    <a:gd name="connsiteX42" fmla="*/ 4088152 w 4519987"/>
                    <a:gd name="connsiteY42" fmla="*/ 3495675 h 4496940"/>
                    <a:gd name="connsiteX43" fmla="*/ 4059577 w 4519987"/>
                    <a:gd name="connsiteY43" fmla="*/ 3533775 h 4496940"/>
                    <a:gd name="connsiteX44" fmla="*/ 4002427 w 4519987"/>
                    <a:gd name="connsiteY44" fmla="*/ 3600450 h 4496940"/>
                    <a:gd name="connsiteX45" fmla="*/ 3983377 w 4519987"/>
                    <a:gd name="connsiteY45" fmla="*/ 3629025 h 4496940"/>
                    <a:gd name="connsiteX46" fmla="*/ 3954802 w 4519987"/>
                    <a:gd name="connsiteY46" fmla="*/ 3648075 h 4496940"/>
                    <a:gd name="connsiteX47" fmla="*/ 3907177 w 4519987"/>
                    <a:gd name="connsiteY47" fmla="*/ 3686175 h 4496940"/>
                    <a:gd name="connsiteX48" fmla="*/ 3869077 w 4519987"/>
                    <a:gd name="connsiteY48" fmla="*/ 3724275 h 4496940"/>
                    <a:gd name="connsiteX49" fmla="*/ 3792877 w 4519987"/>
                    <a:gd name="connsiteY49" fmla="*/ 3781425 h 4496940"/>
                    <a:gd name="connsiteX50" fmla="*/ 3783352 w 4519987"/>
                    <a:gd name="connsiteY50" fmla="*/ 3810000 h 4496940"/>
                    <a:gd name="connsiteX51" fmla="*/ 3745252 w 4519987"/>
                    <a:gd name="connsiteY51" fmla="*/ 3819525 h 4496940"/>
                    <a:gd name="connsiteX52" fmla="*/ 3678577 w 4519987"/>
                    <a:gd name="connsiteY52" fmla="*/ 3848100 h 4496940"/>
                    <a:gd name="connsiteX53" fmla="*/ 3659527 w 4519987"/>
                    <a:gd name="connsiteY53" fmla="*/ 3971925 h 4496940"/>
                    <a:gd name="connsiteX54" fmla="*/ 3630952 w 4519987"/>
                    <a:gd name="connsiteY54" fmla="*/ 4010025 h 4496940"/>
                    <a:gd name="connsiteX55" fmla="*/ 3621427 w 4519987"/>
                    <a:gd name="connsiteY55" fmla="*/ 4038600 h 4496940"/>
                    <a:gd name="connsiteX56" fmla="*/ 3554752 w 4519987"/>
                    <a:gd name="connsiteY56" fmla="*/ 4095750 h 4496940"/>
                    <a:gd name="connsiteX57" fmla="*/ 3516652 w 4519987"/>
                    <a:gd name="connsiteY57" fmla="*/ 4114800 h 4496940"/>
                    <a:gd name="connsiteX58" fmla="*/ 3497602 w 4519987"/>
                    <a:gd name="connsiteY58" fmla="*/ 4143375 h 4496940"/>
                    <a:gd name="connsiteX59" fmla="*/ 3383302 w 4519987"/>
                    <a:gd name="connsiteY59" fmla="*/ 4210050 h 4496940"/>
                    <a:gd name="connsiteX60" fmla="*/ 3335677 w 4519987"/>
                    <a:gd name="connsiteY60" fmla="*/ 4238625 h 4496940"/>
                    <a:gd name="connsiteX61" fmla="*/ 3288052 w 4519987"/>
                    <a:gd name="connsiteY61" fmla="*/ 4248150 h 4496940"/>
                    <a:gd name="connsiteX62" fmla="*/ 3240427 w 4519987"/>
                    <a:gd name="connsiteY62" fmla="*/ 4267200 h 4496940"/>
                    <a:gd name="connsiteX63" fmla="*/ 3068977 w 4519987"/>
                    <a:gd name="connsiteY63" fmla="*/ 4286250 h 4496940"/>
                    <a:gd name="connsiteX64" fmla="*/ 2935627 w 4519987"/>
                    <a:gd name="connsiteY64" fmla="*/ 4333875 h 4496940"/>
                    <a:gd name="connsiteX65" fmla="*/ 2811802 w 4519987"/>
                    <a:gd name="connsiteY65" fmla="*/ 4371975 h 4496940"/>
                    <a:gd name="connsiteX66" fmla="*/ 2745127 w 4519987"/>
                    <a:gd name="connsiteY66" fmla="*/ 4410075 h 4496940"/>
                    <a:gd name="connsiteX67" fmla="*/ 2697502 w 4519987"/>
                    <a:gd name="connsiteY67" fmla="*/ 4429125 h 4496940"/>
                    <a:gd name="connsiteX68" fmla="*/ 2640352 w 4519987"/>
                    <a:gd name="connsiteY68" fmla="*/ 4457700 h 4496940"/>
                    <a:gd name="connsiteX69" fmla="*/ 2583202 w 4519987"/>
                    <a:gd name="connsiteY69" fmla="*/ 4467225 h 4496940"/>
                    <a:gd name="connsiteX70" fmla="*/ 2545102 w 4519987"/>
                    <a:gd name="connsiteY70" fmla="*/ 4486275 h 4496940"/>
                    <a:gd name="connsiteX71" fmla="*/ 2306977 w 4519987"/>
                    <a:gd name="connsiteY71" fmla="*/ 4476750 h 4496940"/>
                    <a:gd name="connsiteX72" fmla="*/ 2202202 w 4519987"/>
                    <a:gd name="connsiteY72" fmla="*/ 4457700 h 4496940"/>
                    <a:gd name="connsiteX73" fmla="*/ 2126002 w 4519987"/>
                    <a:gd name="connsiteY73" fmla="*/ 4429125 h 4496940"/>
                    <a:gd name="connsiteX74" fmla="*/ 1935502 w 4519987"/>
                    <a:gd name="connsiteY74" fmla="*/ 4400550 h 4496940"/>
                    <a:gd name="connsiteX75" fmla="*/ 1821202 w 4519987"/>
                    <a:gd name="connsiteY75" fmla="*/ 4371975 h 4496940"/>
                    <a:gd name="connsiteX76" fmla="*/ 1754527 w 4519987"/>
                    <a:gd name="connsiteY76" fmla="*/ 4352925 h 4496940"/>
                    <a:gd name="connsiteX77" fmla="*/ 1687852 w 4519987"/>
                    <a:gd name="connsiteY77" fmla="*/ 4343400 h 4496940"/>
                    <a:gd name="connsiteX78" fmla="*/ 1573552 w 4519987"/>
                    <a:gd name="connsiteY78" fmla="*/ 4305300 h 4496940"/>
                    <a:gd name="connsiteX79" fmla="*/ 1402102 w 4519987"/>
                    <a:gd name="connsiteY79" fmla="*/ 4276725 h 4496940"/>
                    <a:gd name="connsiteX80" fmla="*/ 1287802 w 4519987"/>
                    <a:gd name="connsiteY80" fmla="*/ 4229100 h 4496940"/>
                    <a:gd name="connsiteX81" fmla="*/ 1221127 w 4519987"/>
                    <a:gd name="connsiteY81" fmla="*/ 4200525 h 4496940"/>
                    <a:gd name="connsiteX82" fmla="*/ 1144927 w 4519987"/>
                    <a:gd name="connsiteY82" fmla="*/ 4171950 h 4496940"/>
                    <a:gd name="connsiteX83" fmla="*/ 1087777 w 4519987"/>
                    <a:gd name="connsiteY83" fmla="*/ 4143375 h 4496940"/>
                    <a:gd name="connsiteX84" fmla="*/ 1030627 w 4519987"/>
                    <a:gd name="connsiteY84" fmla="*/ 4124325 h 4496940"/>
                    <a:gd name="connsiteX85" fmla="*/ 925852 w 4519987"/>
                    <a:gd name="connsiteY85" fmla="*/ 4067175 h 4496940"/>
                    <a:gd name="connsiteX86" fmla="*/ 830602 w 4519987"/>
                    <a:gd name="connsiteY86" fmla="*/ 3981450 h 4496940"/>
                    <a:gd name="connsiteX87" fmla="*/ 763927 w 4519987"/>
                    <a:gd name="connsiteY87" fmla="*/ 3914775 h 4496940"/>
                    <a:gd name="connsiteX88" fmla="*/ 725827 w 4519987"/>
                    <a:gd name="connsiteY88" fmla="*/ 3876675 h 4496940"/>
                    <a:gd name="connsiteX89" fmla="*/ 697252 w 4519987"/>
                    <a:gd name="connsiteY89" fmla="*/ 3838575 h 4496940"/>
                    <a:gd name="connsiteX90" fmla="*/ 640102 w 4519987"/>
                    <a:gd name="connsiteY90" fmla="*/ 3781425 h 4496940"/>
                    <a:gd name="connsiteX91" fmla="*/ 611527 w 4519987"/>
                    <a:gd name="connsiteY91" fmla="*/ 3733800 h 4496940"/>
                    <a:gd name="connsiteX92" fmla="*/ 554377 w 4519987"/>
                    <a:gd name="connsiteY92" fmla="*/ 3657600 h 4496940"/>
                    <a:gd name="connsiteX93" fmla="*/ 525802 w 4519987"/>
                    <a:gd name="connsiteY93" fmla="*/ 3609975 h 4496940"/>
                    <a:gd name="connsiteX94" fmla="*/ 497227 w 4519987"/>
                    <a:gd name="connsiteY94" fmla="*/ 3552825 h 4496940"/>
                    <a:gd name="connsiteX95" fmla="*/ 440077 w 4519987"/>
                    <a:gd name="connsiteY95" fmla="*/ 3495675 h 4496940"/>
                    <a:gd name="connsiteX96" fmla="*/ 411502 w 4519987"/>
                    <a:gd name="connsiteY96" fmla="*/ 3448050 h 4496940"/>
                    <a:gd name="connsiteX97" fmla="*/ 278152 w 4519987"/>
                    <a:gd name="connsiteY97" fmla="*/ 3257550 h 4496940"/>
                    <a:gd name="connsiteX98" fmla="*/ 249577 w 4519987"/>
                    <a:gd name="connsiteY98" fmla="*/ 3200400 h 4496940"/>
                    <a:gd name="connsiteX99" fmla="*/ 240052 w 4519987"/>
                    <a:gd name="connsiteY99" fmla="*/ 3162300 h 4496940"/>
                    <a:gd name="connsiteX100" fmla="*/ 221002 w 4519987"/>
                    <a:gd name="connsiteY100" fmla="*/ 3105150 h 4496940"/>
                    <a:gd name="connsiteX101" fmla="*/ 173377 w 4519987"/>
                    <a:gd name="connsiteY101" fmla="*/ 3019425 h 4496940"/>
                    <a:gd name="connsiteX102" fmla="*/ 144802 w 4519987"/>
                    <a:gd name="connsiteY102" fmla="*/ 2924175 h 4496940"/>
                    <a:gd name="connsiteX103" fmla="*/ 68602 w 4519987"/>
                    <a:gd name="connsiteY103" fmla="*/ 2724150 h 4496940"/>
                    <a:gd name="connsiteX104" fmla="*/ 49552 w 4519987"/>
                    <a:gd name="connsiteY104" fmla="*/ 2638425 h 4496940"/>
                    <a:gd name="connsiteX105" fmla="*/ 40027 w 4519987"/>
                    <a:gd name="connsiteY105" fmla="*/ 2562225 h 4496940"/>
                    <a:gd name="connsiteX106" fmla="*/ 30502 w 4519987"/>
                    <a:gd name="connsiteY106" fmla="*/ 2514600 h 4496940"/>
                    <a:gd name="connsiteX107" fmla="*/ 11452 w 4519987"/>
                    <a:gd name="connsiteY107" fmla="*/ 2400300 h 4496940"/>
                    <a:gd name="connsiteX108" fmla="*/ 20977 w 4519987"/>
                    <a:gd name="connsiteY108" fmla="*/ 1905000 h 4496940"/>
                    <a:gd name="connsiteX109" fmla="*/ 30502 w 4519987"/>
                    <a:gd name="connsiteY109" fmla="*/ 1838325 h 4496940"/>
                    <a:gd name="connsiteX110" fmla="*/ 49552 w 4519987"/>
                    <a:gd name="connsiteY110" fmla="*/ 1781175 h 4496940"/>
                    <a:gd name="connsiteX111" fmla="*/ 59077 w 4519987"/>
                    <a:gd name="connsiteY111" fmla="*/ 1743075 h 4496940"/>
                    <a:gd name="connsiteX112" fmla="*/ 78127 w 4519987"/>
                    <a:gd name="connsiteY112" fmla="*/ 1685925 h 4496940"/>
                    <a:gd name="connsiteX113" fmla="*/ 87652 w 4519987"/>
                    <a:gd name="connsiteY113" fmla="*/ 1638300 h 4496940"/>
                    <a:gd name="connsiteX114" fmla="*/ 106702 w 4519987"/>
                    <a:gd name="connsiteY114" fmla="*/ 1590675 h 4496940"/>
                    <a:gd name="connsiteX115" fmla="*/ 135277 w 4519987"/>
                    <a:gd name="connsiteY115" fmla="*/ 1504950 h 4496940"/>
                    <a:gd name="connsiteX116" fmla="*/ 154327 w 4519987"/>
                    <a:gd name="connsiteY116" fmla="*/ 1419225 h 4496940"/>
                    <a:gd name="connsiteX117" fmla="*/ 230527 w 4519987"/>
                    <a:gd name="connsiteY117" fmla="*/ 1276350 h 4496940"/>
                    <a:gd name="connsiteX118" fmla="*/ 240052 w 4519987"/>
                    <a:gd name="connsiteY118" fmla="*/ 1247775 h 4496940"/>
                    <a:gd name="connsiteX119" fmla="*/ 268627 w 4519987"/>
                    <a:gd name="connsiteY119" fmla="*/ 1200150 h 4496940"/>
                    <a:gd name="connsiteX120" fmla="*/ 287677 w 4519987"/>
                    <a:gd name="connsiteY120" fmla="*/ 1152525 h 4496940"/>
                    <a:gd name="connsiteX121" fmla="*/ 316252 w 4519987"/>
                    <a:gd name="connsiteY121" fmla="*/ 1114425 h 4496940"/>
                    <a:gd name="connsiteX122" fmla="*/ 363877 w 4519987"/>
                    <a:gd name="connsiteY122" fmla="*/ 1038225 h 4496940"/>
                    <a:gd name="connsiteX123" fmla="*/ 382927 w 4519987"/>
                    <a:gd name="connsiteY123" fmla="*/ 1009650 h 4496940"/>
                    <a:gd name="connsiteX124" fmla="*/ 440077 w 4519987"/>
                    <a:gd name="connsiteY124" fmla="*/ 904875 h 4496940"/>
                    <a:gd name="connsiteX125" fmla="*/ 478177 w 4519987"/>
                    <a:gd name="connsiteY125" fmla="*/ 857250 h 4496940"/>
                    <a:gd name="connsiteX126" fmla="*/ 497227 w 4519987"/>
                    <a:gd name="connsiteY126" fmla="*/ 828675 h 4496940"/>
                    <a:gd name="connsiteX127" fmla="*/ 535327 w 4519987"/>
                    <a:gd name="connsiteY127" fmla="*/ 800100 h 4496940"/>
                    <a:gd name="connsiteX128" fmla="*/ 602002 w 4519987"/>
                    <a:gd name="connsiteY128" fmla="*/ 733425 h 4496940"/>
                    <a:gd name="connsiteX129" fmla="*/ 668677 w 4519987"/>
                    <a:gd name="connsiteY129" fmla="*/ 676275 h 4496940"/>
                    <a:gd name="connsiteX130" fmla="*/ 697252 w 4519987"/>
                    <a:gd name="connsiteY130" fmla="*/ 657225 h 4496940"/>
                    <a:gd name="connsiteX131" fmla="*/ 840127 w 4519987"/>
                    <a:gd name="connsiteY131" fmla="*/ 533400 h 4496940"/>
                    <a:gd name="connsiteX132" fmla="*/ 887752 w 4519987"/>
                    <a:gd name="connsiteY132" fmla="*/ 504825 h 4496940"/>
                    <a:gd name="connsiteX133" fmla="*/ 1167152 w 4519987"/>
                    <a:gd name="connsiteY133" fmla="*/ 311150 h 4496940"/>
                    <a:gd name="connsiteX134" fmla="*/ 1268752 w 4519987"/>
                    <a:gd name="connsiteY134" fmla="*/ 285750 h 4496940"/>
                    <a:gd name="connsiteX135" fmla="*/ 1411627 w 4519987"/>
                    <a:gd name="connsiteY135" fmla="*/ 190500 h 4496940"/>
                    <a:gd name="connsiteX136" fmla="*/ 1449727 w 4519987"/>
                    <a:gd name="connsiteY136" fmla="*/ 161925 h 4496940"/>
                    <a:gd name="connsiteX137" fmla="*/ 1525927 w 4519987"/>
                    <a:gd name="connsiteY137" fmla="*/ 152400 h 4496940"/>
                    <a:gd name="connsiteX138" fmla="*/ 1583077 w 4519987"/>
                    <a:gd name="connsiteY138" fmla="*/ 142875 h 4496940"/>
                    <a:gd name="connsiteX139" fmla="*/ 1716427 w 4519987"/>
                    <a:gd name="connsiteY139" fmla="*/ 123825 h 4496940"/>
                    <a:gd name="connsiteX140" fmla="*/ 1811677 w 4519987"/>
                    <a:gd name="connsiteY140" fmla="*/ 114300 h 4496940"/>
                    <a:gd name="connsiteX141" fmla="*/ 1859302 w 4519987"/>
                    <a:gd name="connsiteY141" fmla="*/ 104775 h 4496940"/>
                    <a:gd name="connsiteX142" fmla="*/ 1916452 w 4519987"/>
                    <a:gd name="connsiteY142" fmla="*/ 95250 h 4496940"/>
                    <a:gd name="connsiteX143" fmla="*/ 2030752 w 4519987"/>
                    <a:gd name="connsiteY143" fmla="*/ 66675 h 4496940"/>
                    <a:gd name="connsiteX144" fmla="*/ 2097427 w 4519987"/>
                    <a:gd name="connsiteY144" fmla="*/ 47625 h 4496940"/>
                    <a:gd name="connsiteX145" fmla="*/ 2164102 w 4519987"/>
                    <a:gd name="connsiteY145" fmla="*/ 38100 h 4496940"/>
                    <a:gd name="connsiteX146" fmla="*/ 2392702 w 4519987"/>
                    <a:gd name="connsiteY14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50077 w 4519987"/>
                    <a:gd name="connsiteY24" fmla="*/ 1143000 h 4496940"/>
                    <a:gd name="connsiteX25" fmla="*/ 4259602 w 4519987"/>
                    <a:gd name="connsiteY25" fmla="*/ 1190625 h 4496940"/>
                    <a:gd name="connsiteX26" fmla="*/ 4307227 w 4519987"/>
                    <a:gd name="connsiteY26" fmla="*/ 1266825 h 4496940"/>
                    <a:gd name="connsiteX27" fmla="*/ 4345327 w 4519987"/>
                    <a:gd name="connsiteY27" fmla="*/ 1362075 h 4496940"/>
                    <a:gd name="connsiteX28" fmla="*/ 4373902 w 4519987"/>
                    <a:gd name="connsiteY28" fmla="*/ 1428750 h 4496940"/>
                    <a:gd name="connsiteX29" fmla="*/ 4392952 w 4519987"/>
                    <a:gd name="connsiteY29" fmla="*/ 1552575 h 4496940"/>
                    <a:gd name="connsiteX30" fmla="*/ 4402477 w 4519987"/>
                    <a:gd name="connsiteY30" fmla="*/ 1590675 h 4496940"/>
                    <a:gd name="connsiteX31" fmla="*/ 4431052 w 4519987"/>
                    <a:gd name="connsiteY31" fmla="*/ 1685925 h 4496940"/>
                    <a:gd name="connsiteX32" fmla="*/ 4519952 w 4519987"/>
                    <a:gd name="connsiteY32" fmla="*/ 2181225 h 4496940"/>
                    <a:gd name="connsiteX33" fmla="*/ 4446927 w 4519987"/>
                    <a:gd name="connsiteY33" fmla="*/ 2768600 h 4496940"/>
                    <a:gd name="connsiteX34" fmla="*/ 4383427 w 4519987"/>
                    <a:gd name="connsiteY34" fmla="*/ 2990850 h 4496940"/>
                    <a:gd name="connsiteX35" fmla="*/ 4278652 w 4519987"/>
                    <a:gd name="connsiteY35" fmla="*/ 3248025 h 4496940"/>
                    <a:gd name="connsiteX36" fmla="*/ 4259602 w 4519987"/>
                    <a:gd name="connsiteY36" fmla="*/ 3276600 h 4496940"/>
                    <a:gd name="connsiteX37" fmla="*/ 4221502 w 4519987"/>
                    <a:gd name="connsiteY37" fmla="*/ 3333750 h 4496940"/>
                    <a:gd name="connsiteX38" fmla="*/ 4211977 w 4519987"/>
                    <a:gd name="connsiteY38" fmla="*/ 3362325 h 4496940"/>
                    <a:gd name="connsiteX39" fmla="*/ 4183402 w 4519987"/>
                    <a:gd name="connsiteY39" fmla="*/ 3400425 h 4496940"/>
                    <a:gd name="connsiteX40" fmla="*/ 4164352 w 4519987"/>
                    <a:gd name="connsiteY40" fmla="*/ 3429000 h 4496940"/>
                    <a:gd name="connsiteX41" fmla="*/ 4088152 w 4519987"/>
                    <a:gd name="connsiteY41" fmla="*/ 3495675 h 4496940"/>
                    <a:gd name="connsiteX42" fmla="*/ 4059577 w 4519987"/>
                    <a:gd name="connsiteY42" fmla="*/ 3533775 h 4496940"/>
                    <a:gd name="connsiteX43" fmla="*/ 4002427 w 4519987"/>
                    <a:gd name="connsiteY43" fmla="*/ 3600450 h 4496940"/>
                    <a:gd name="connsiteX44" fmla="*/ 3983377 w 4519987"/>
                    <a:gd name="connsiteY44" fmla="*/ 3629025 h 4496940"/>
                    <a:gd name="connsiteX45" fmla="*/ 3954802 w 4519987"/>
                    <a:gd name="connsiteY45" fmla="*/ 3648075 h 4496940"/>
                    <a:gd name="connsiteX46" fmla="*/ 3907177 w 4519987"/>
                    <a:gd name="connsiteY46" fmla="*/ 3686175 h 4496940"/>
                    <a:gd name="connsiteX47" fmla="*/ 3869077 w 4519987"/>
                    <a:gd name="connsiteY47" fmla="*/ 3724275 h 4496940"/>
                    <a:gd name="connsiteX48" fmla="*/ 3792877 w 4519987"/>
                    <a:gd name="connsiteY48" fmla="*/ 3781425 h 4496940"/>
                    <a:gd name="connsiteX49" fmla="*/ 3783352 w 4519987"/>
                    <a:gd name="connsiteY49" fmla="*/ 3810000 h 4496940"/>
                    <a:gd name="connsiteX50" fmla="*/ 3745252 w 4519987"/>
                    <a:gd name="connsiteY50" fmla="*/ 3819525 h 4496940"/>
                    <a:gd name="connsiteX51" fmla="*/ 3678577 w 4519987"/>
                    <a:gd name="connsiteY51" fmla="*/ 3848100 h 4496940"/>
                    <a:gd name="connsiteX52" fmla="*/ 3659527 w 4519987"/>
                    <a:gd name="connsiteY52" fmla="*/ 3971925 h 4496940"/>
                    <a:gd name="connsiteX53" fmla="*/ 3630952 w 4519987"/>
                    <a:gd name="connsiteY53" fmla="*/ 4010025 h 4496940"/>
                    <a:gd name="connsiteX54" fmla="*/ 3621427 w 4519987"/>
                    <a:gd name="connsiteY54" fmla="*/ 4038600 h 4496940"/>
                    <a:gd name="connsiteX55" fmla="*/ 3554752 w 4519987"/>
                    <a:gd name="connsiteY55" fmla="*/ 4095750 h 4496940"/>
                    <a:gd name="connsiteX56" fmla="*/ 3516652 w 4519987"/>
                    <a:gd name="connsiteY56" fmla="*/ 4114800 h 4496940"/>
                    <a:gd name="connsiteX57" fmla="*/ 3497602 w 4519987"/>
                    <a:gd name="connsiteY57" fmla="*/ 4143375 h 4496940"/>
                    <a:gd name="connsiteX58" fmla="*/ 3383302 w 4519987"/>
                    <a:gd name="connsiteY58" fmla="*/ 4210050 h 4496940"/>
                    <a:gd name="connsiteX59" fmla="*/ 3335677 w 4519987"/>
                    <a:gd name="connsiteY59" fmla="*/ 4238625 h 4496940"/>
                    <a:gd name="connsiteX60" fmla="*/ 3288052 w 4519987"/>
                    <a:gd name="connsiteY60" fmla="*/ 4248150 h 4496940"/>
                    <a:gd name="connsiteX61" fmla="*/ 3240427 w 4519987"/>
                    <a:gd name="connsiteY61" fmla="*/ 4267200 h 4496940"/>
                    <a:gd name="connsiteX62" fmla="*/ 3068977 w 4519987"/>
                    <a:gd name="connsiteY62" fmla="*/ 4286250 h 4496940"/>
                    <a:gd name="connsiteX63" fmla="*/ 2935627 w 4519987"/>
                    <a:gd name="connsiteY63" fmla="*/ 4333875 h 4496940"/>
                    <a:gd name="connsiteX64" fmla="*/ 2811802 w 4519987"/>
                    <a:gd name="connsiteY64" fmla="*/ 4371975 h 4496940"/>
                    <a:gd name="connsiteX65" fmla="*/ 2745127 w 4519987"/>
                    <a:gd name="connsiteY65" fmla="*/ 4410075 h 4496940"/>
                    <a:gd name="connsiteX66" fmla="*/ 2697502 w 4519987"/>
                    <a:gd name="connsiteY66" fmla="*/ 4429125 h 4496940"/>
                    <a:gd name="connsiteX67" fmla="*/ 2640352 w 4519987"/>
                    <a:gd name="connsiteY67" fmla="*/ 4457700 h 4496940"/>
                    <a:gd name="connsiteX68" fmla="*/ 2583202 w 4519987"/>
                    <a:gd name="connsiteY68" fmla="*/ 4467225 h 4496940"/>
                    <a:gd name="connsiteX69" fmla="*/ 2545102 w 4519987"/>
                    <a:gd name="connsiteY69" fmla="*/ 4486275 h 4496940"/>
                    <a:gd name="connsiteX70" fmla="*/ 2306977 w 4519987"/>
                    <a:gd name="connsiteY70" fmla="*/ 4476750 h 4496940"/>
                    <a:gd name="connsiteX71" fmla="*/ 2202202 w 4519987"/>
                    <a:gd name="connsiteY71" fmla="*/ 4457700 h 4496940"/>
                    <a:gd name="connsiteX72" fmla="*/ 2126002 w 4519987"/>
                    <a:gd name="connsiteY72" fmla="*/ 4429125 h 4496940"/>
                    <a:gd name="connsiteX73" fmla="*/ 1935502 w 4519987"/>
                    <a:gd name="connsiteY73" fmla="*/ 4400550 h 4496940"/>
                    <a:gd name="connsiteX74" fmla="*/ 1821202 w 4519987"/>
                    <a:gd name="connsiteY74" fmla="*/ 4371975 h 4496940"/>
                    <a:gd name="connsiteX75" fmla="*/ 1754527 w 4519987"/>
                    <a:gd name="connsiteY75" fmla="*/ 4352925 h 4496940"/>
                    <a:gd name="connsiteX76" fmla="*/ 1687852 w 4519987"/>
                    <a:gd name="connsiteY76" fmla="*/ 4343400 h 4496940"/>
                    <a:gd name="connsiteX77" fmla="*/ 1573552 w 4519987"/>
                    <a:gd name="connsiteY77" fmla="*/ 4305300 h 4496940"/>
                    <a:gd name="connsiteX78" fmla="*/ 1402102 w 4519987"/>
                    <a:gd name="connsiteY78" fmla="*/ 4276725 h 4496940"/>
                    <a:gd name="connsiteX79" fmla="*/ 1287802 w 4519987"/>
                    <a:gd name="connsiteY79" fmla="*/ 4229100 h 4496940"/>
                    <a:gd name="connsiteX80" fmla="*/ 1221127 w 4519987"/>
                    <a:gd name="connsiteY80" fmla="*/ 4200525 h 4496940"/>
                    <a:gd name="connsiteX81" fmla="*/ 1144927 w 4519987"/>
                    <a:gd name="connsiteY81" fmla="*/ 4171950 h 4496940"/>
                    <a:gd name="connsiteX82" fmla="*/ 1087777 w 4519987"/>
                    <a:gd name="connsiteY82" fmla="*/ 4143375 h 4496940"/>
                    <a:gd name="connsiteX83" fmla="*/ 1030627 w 4519987"/>
                    <a:gd name="connsiteY83" fmla="*/ 4124325 h 4496940"/>
                    <a:gd name="connsiteX84" fmla="*/ 925852 w 4519987"/>
                    <a:gd name="connsiteY84" fmla="*/ 4067175 h 4496940"/>
                    <a:gd name="connsiteX85" fmla="*/ 830602 w 4519987"/>
                    <a:gd name="connsiteY85" fmla="*/ 3981450 h 4496940"/>
                    <a:gd name="connsiteX86" fmla="*/ 763927 w 4519987"/>
                    <a:gd name="connsiteY86" fmla="*/ 3914775 h 4496940"/>
                    <a:gd name="connsiteX87" fmla="*/ 725827 w 4519987"/>
                    <a:gd name="connsiteY87" fmla="*/ 3876675 h 4496940"/>
                    <a:gd name="connsiteX88" fmla="*/ 697252 w 4519987"/>
                    <a:gd name="connsiteY88" fmla="*/ 3838575 h 4496940"/>
                    <a:gd name="connsiteX89" fmla="*/ 640102 w 4519987"/>
                    <a:gd name="connsiteY89" fmla="*/ 3781425 h 4496940"/>
                    <a:gd name="connsiteX90" fmla="*/ 611527 w 4519987"/>
                    <a:gd name="connsiteY90" fmla="*/ 3733800 h 4496940"/>
                    <a:gd name="connsiteX91" fmla="*/ 554377 w 4519987"/>
                    <a:gd name="connsiteY91" fmla="*/ 3657600 h 4496940"/>
                    <a:gd name="connsiteX92" fmla="*/ 525802 w 4519987"/>
                    <a:gd name="connsiteY92" fmla="*/ 3609975 h 4496940"/>
                    <a:gd name="connsiteX93" fmla="*/ 497227 w 4519987"/>
                    <a:gd name="connsiteY93" fmla="*/ 3552825 h 4496940"/>
                    <a:gd name="connsiteX94" fmla="*/ 440077 w 4519987"/>
                    <a:gd name="connsiteY94" fmla="*/ 3495675 h 4496940"/>
                    <a:gd name="connsiteX95" fmla="*/ 411502 w 4519987"/>
                    <a:gd name="connsiteY95" fmla="*/ 3448050 h 4496940"/>
                    <a:gd name="connsiteX96" fmla="*/ 278152 w 4519987"/>
                    <a:gd name="connsiteY96" fmla="*/ 3257550 h 4496940"/>
                    <a:gd name="connsiteX97" fmla="*/ 249577 w 4519987"/>
                    <a:gd name="connsiteY97" fmla="*/ 3200400 h 4496940"/>
                    <a:gd name="connsiteX98" fmla="*/ 240052 w 4519987"/>
                    <a:gd name="connsiteY98" fmla="*/ 3162300 h 4496940"/>
                    <a:gd name="connsiteX99" fmla="*/ 221002 w 4519987"/>
                    <a:gd name="connsiteY99" fmla="*/ 3105150 h 4496940"/>
                    <a:gd name="connsiteX100" fmla="*/ 173377 w 4519987"/>
                    <a:gd name="connsiteY100" fmla="*/ 3019425 h 4496940"/>
                    <a:gd name="connsiteX101" fmla="*/ 144802 w 4519987"/>
                    <a:gd name="connsiteY101" fmla="*/ 2924175 h 4496940"/>
                    <a:gd name="connsiteX102" fmla="*/ 68602 w 4519987"/>
                    <a:gd name="connsiteY102" fmla="*/ 2724150 h 4496940"/>
                    <a:gd name="connsiteX103" fmla="*/ 49552 w 4519987"/>
                    <a:gd name="connsiteY103" fmla="*/ 2638425 h 4496940"/>
                    <a:gd name="connsiteX104" fmla="*/ 40027 w 4519987"/>
                    <a:gd name="connsiteY104" fmla="*/ 2562225 h 4496940"/>
                    <a:gd name="connsiteX105" fmla="*/ 30502 w 4519987"/>
                    <a:gd name="connsiteY105" fmla="*/ 2514600 h 4496940"/>
                    <a:gd name="connsiteX106" fmla="*/ 11452 w 4519987"/>
                    <a:gd name="connsiteY106" fmla="*/ 2400300 h 4496940"/>
                    <a:gd name="connsiteX107" fmla="*/ 20977 w 4519987"/>
                    <a:gd name="connsiteY107" fmla="*/ 1905000 h 4496940"/>
                    <a:gd name="connsiteX108" fmla="*/ 30502 w 4519987"/>
                    <a:gd name="connsiteY108" fmla="*/ 1838325 h 4496940"/>
                    <a:gd name="connsiteX109" fmla="*/ 49552 w 4519987"/>
                    <a:gd name="connsiteY109" fmla="*/ 1781175 h 4496940"/>
                    <a:gd name="connsiteX110" fmla="*/ 59077 w 4519987"/>
                    <a:gd name="connsiteY110" fmla="*/ 1743075 h 4496940"/>
                    <a:gd name="connsiteX111" fmla="*/ 78127 w 4519987"/>
                    <a:gd name="connsiteY111" fmla="*/ 1685925 h 4496940"/>
                    <a:gd name="connsiteX112" fmla="*/ 87652 w 4519987"/>
                    <a:gd name="connsiteY112" fmla="*/ 1638300 h 4496940"/>
                    <a:gd name="connsiteX113" fmla="*/ 106702 w 4519987"/>
                    <a:gd name="connsiteY113" fmla="*/ 1590675 h 4496940"/>
                    <a:gd name="connsiteX114" fmla="*/ 135277 w 4519987"/>
                    <a:gd name="connsiteY114" fmla="*/ 1504950 h 4496940"/>
                    <a:gd name="connsiteX115" fmla="*/ 154327 w 4519987"/>
                    <a:gd name="connsiteY115" fmla="*/ 1419225 h 4496940"/>
                    <a:gd name="connsiteX116" fmla="*/ 230527 w 4519987"/>
                    <a:gd name="connsiteY116" fmla="*/ 1276350 h 4496940"/>
                    <a:gd name="connsiteX117" fmla="*/ 240052 w 4519987"/>
                    <a:gd name="connsiteY117" fmla="*/ 1247775 h 4496940"/>
                    <a:gd name="connsiteX118" fmla="*/ 268627 w 4519987"/>
                    <a:gd name="connsiteY118" fmla="*/ 1200150 h 4496940"/>
                    <a:gd name="connsiteX119" fmla="*/ 287677 w 4519987"/>
                    <a:gd name="connsiteY119" fmla="*/ 1152525 h 4496940"/>
                    <a:gd name="connsiteX120" fmla="*/ 316252 w 4519987"/>
                    <a:gd name="connsiteY120" fmla="*/ 1114425 h 4496940"/>
                    <a:gd name="connsiteX121" fmla="*/ 363877 w 4519987"/>
                    <a:gd name="connsiteY121" fmla="*/ 1038225 h 4496940"/>
                    <a:gd name="connsiteX122" fmla="*/ 382927 w 4519987"/>
                    <a:gd name="connsiteY122" fmla="*/ 1009650 h 4496940"/>
                    <a:gd name="connsiteX123" fmla="*/ 440077 w 4519987"/>
                    <a:gd name="connsiteY123" fmla="*/ 904875 h 4496940"/>
                    <a:gd name="connsiteX124" fmla="*/ 478177 w 4519987"/>
                    <a:gd name="connsiteY124" fmla="*/ 857250 h 4496940"/>
                    <a:gd name="connsiteX125" fmla="*/ 497227 w 4519987"/>
                    <a:gd name="connsiteY125" fmla="*/ 828675 h 4496940"/>
                    <a:gd name="connsiteX126" fmla="*/ 535327 w 4519987"/>
                    <a:gd name="connsiteY126" fmla="*/ 800100 h 4496940"/>
                    <a:gd name="connsiteX127" fmla="*/ 602002 w 4519987"/>
                    <a:gd name="connsiteY127" fmla="*/ 733425 h 4496940"/>
                    <a:gd name="connsiteX128" fmla="*/ 668677 w 4519987"/>
                    <a:gd name="connsiteY128" fmla="*/ 676275 h 4496940"/>
                    <a:gd name="connsiteX129" fmla="*/ 697252 w 4519987"/>
                    <a:gd name="connsiteY129" fmla="*/ 657225 h 4496940"/>
                    <a:gd name="connsiteX130" fmla="*/ 840127 w 4519987"/>
                    <a:gd name="connsiteY130" fmla="*/ 533400 h 4496940"/>
                    <a:gd name="connsiteX131" fmla="*/ 887752 w 4519987"/>
                    <a:gd name="connsiteY131" fmla="*/ 504825 h 4496940"/>
                    <a:gd name="connsiteX132" fmla="*/ 1167152 w 4519987"/>
                    <a:gd name="connsiteY132" fmla="*/ 311150 h 4496940"/>
                    <a:gd name="connsiteX133" fmla="*/ 1268752 w 4519987"/>
                    <a:gd name="connsiteY133" fmla="*/ 285750 h 4496940"/>
                    <a:gd name="connsiteX134" fmla="*/ 1411627 w 4519987"/>
                    <a:gd name="connsiteY134" fmla="*/ 190500 h 4496940"/>
                    <a:gd name="connsiteX135" fmla="*/ 1449727 w 4519987"/>
                    <a:gd name="connsiteY135" fmla="*/ 161925 h 4496940"/>
                    <a:gd name="connsiteX136" fmla="*/ 1525927 w 4519987"/>
                    <a:gd name="connsiteY136" fmla="*/ 152400 h 4496940"/>
                    <a:gd name="connsiteX137" fmla="*/ 1583077 w 4519987"/>
                    <a:gd name="connsiteY137" fmla="*/ 142875 h 4496940"/>
                    <a:gd name="connsiteX138" fmla="*/ 1716427 w 4519987"/>
                    <a:gd name="connsiteY138" fmla="*/ 123825 h 4496940"/>
                    <a:gd name="connsiteX139" fmla="*/ 1811677 w 4519987"/>
                    <a:gd name="connsiteY139" fmla="*/ 114300 h 4496940"/>
                    <a:gd name="connsiteX140" fmla="*/ 1859302 w 4519987"/>
                    <a:gd name="connsiteY140" fmla="*/ 104775 h 4496940"/>
                    <a:gd name="connsiteX141" fmla="*/ 1916452 w 4519987"/>
                    <a:gd name="connsiteY141" fmla="*/ 95250 h 4496940"/>
                    <a:gd name="connsiteX142" fmla="*/ 2030752 w 4519987"/>
                    <a:gd name="connsiteY142" fmla="*/ 66675 h 4496940"/>
                    <a:gd name="connsiteX143" fmla="*/ 2097427 w 4519987"/>
                    <a:gd name="connsiteY143" fmla="*/ 47625 h 4496940"/>
                    <a:gd name="connsiteX144" fmla="*/ 2164102 w 4519987"/>
                    <a:gd name="connsiteY144" fmla="*/ 38100 h 4496940"/>
                    <a:gd name="connsiteX145" fmla="*/ 2392702 w 4519987"/>
                    <a:gd name="connsiteY14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259602 w 4519987"/>
                    <a:gd name="connsiteY24" fmla="*/ 1190625 h 4496940"/>
                    <a:gd name="connsiteX25" fmla="*/ 4307227 w 4519987"/>
                    <a:gd name="connsiteY25" fmla="*/ 1266825 h 4496940"/>
                    <a:gd name="connsiteX26" fmla="*/ 4345327 w 4519987"/>
                    <a:gd name="connsiteY26" fmla="*/ 1362075 h 4496940"/>
                    <a:gd name="connsiteX27" fmla="*/ 4373902 w 4519987"/>
                    <a:gd name="connsiteY27" fmla="*/ 1428750 h 4496940"/>
                    <a:gd name="connsiteX28" fmla="*/ 4392952 w 4519987"/>
                    <a:gd name="connsiteY28" fmla="*/ 1552575 h 4496940"/>
                    <a:gd name="connsiteX29" fmla="*/ 4402477 w 4519987"/>
                    <a:gd name="connsiteY29" fmla="*/ 1590675 h 4496940"/>
                    <a:gd name="connsiteX30" fmla="*/ 4431052 w 4519987"/>
                    <a:gd name="connsiteY30" fmla="*/ 1685925 h 4496940"/>
                    <a:gd name="connsiteX31" fmla="*/ 4519952 w 4519987"/>
                    <a:gd name="connsiteY31" fmla="*/ 2181225 h 4496940"/>
                    <a:gd name="connsiteX32" fmla="*/ 4446927 w 4519987"/>
                    <a:gd name="connsiteY32" fmla="*/ 2768600 h 4496940"/>
                    <a:gd name="connsiteX33" fmla="*/ 4383427 w 4519987"/>
                    <a:gd name="connsiteY33" fmla="*/ 2990850 h 4496940"/>
                    <a:gd name="connsiteX34" fmla="*/ 4278652 w 4519987"/>
                    <a:gd name="connsiteY34" fmla="*/ 3248025 h 4496940"/>
                    <a:gd name="connsiteX35" fmla="*/ 4259602 w 4519987"/>
                    <a:gd name="connsiteY35" fmla="*/ 3276600 h 4496940"/>
                    <a:gd name="connsiteX36" fmla="*/ 4221502 w 4519987"/>
                    <a:gd name="connsiteY36" fmla="*/ 3333750 h 4496940"/>
                    <a:gd name="connsiteX37" fmla="*/ 4211977 w 4519987"/>
                    <a:gd name="connsiteY37" fmla="*/ 3362325 h 4496940"/>
                    <a:gd name="connsiteX38" fmla="*/ 4183402 w 4519987"/>
                    <a:gd name="connsiteY38" fmla="*/ 3400425 h 4496940"/>
                    <a:gd name="connsiteX39" fmla="*/ 4164352 w 4519987"/>
                    <a:gd name="connsiteY39" fmla="*/ 3429000 h 4496940"/>
                    <a:gd name="connsiteX40" fmla="*/ 4088152 w 4519987"/>
                    <a:gd name="connsiteY40" fmla="*/ 3495675 h 4496940"/>
                    <a:gd name="connsiteX41" fmla="*/ 4059577 w 4519987"/>
                    <a:gd name="connsiteY41" fmla="*/ 3533775 h 4496940"/>
                    <a:gd name="connsiteX42" fmla="*/ 4002427 w 4519987"/>
                    <a:gd name="connsiteY42" fmla="*/ 3600450 h 4496940"/>
                    <a:gd name="connsiteX43" fmla="*/ 3983377 w 4519987"/>
                    <a:gd name="connsiteY43" fmla="*/ 3629025 h 4496940"/>
                    <a:gd name="connsiteX44" fmla="*/ 3954802 w 4519987"/>
                    <a:gd name="connsiteY44" fmla="*/ 3648075 h 4496940"/>
                    <a:gd name="connsiteX45" fmla="*/ 3907177 w 4519987"/>
                    <a:gd name="connsiteY45" fmla="*/ 3686175 h 4496940"/>
                    <a:gd name="connsiteX46" fmla="*/ 3869077 w 4519987"/>
                    <a:gd name="connsiteY46" fmla="*/ 3724275 h 4496940"/>
                    <a:gd name="connsiteX47" fmla="*/ 3792877 w 4519987"/>
                    <a:gd name="connsiteY47" fmla="*/ 3781425 h 4496940"/>
                    <a:gd name="connsiteX48" fmla="*/ 3783352 w 4519987"/>
                    <a:gd name="connsiteY48" fmla="*/ 3810000 h 4496940"/>
                    <a:gd name="connsiteX49" fmla="*/ 3745252 w 4519987"/>
                    <a:gd name="connsiteY49" fmla="*/ 3819525 h 4496940"/>
                    <a:gd name="connsiteX50" fmla="*/ 3678577 w 4519987"/>
                    <a:gd name="connsiteY50" fmla="*/ 3848100 h 4496940"/>
                    <a:gd name="connsiteX51" fmla="*/ 3659527 w 4519987"/>
                    <a:gd name="connsiteY51" fmla="*/ 3971925 h 4496940"/>
                    <a:gd name="connsiteX52" fmla="*/ 3630952 w 4519987"/>
                    <a:gd name="connsiteY52" fmla="*/ 4010025 h 4496940"/>
                    <a:gd name="connsiteX53" fmla="*/ 3621427 w 4519987"/>
                    <a:gd name="connsiteY53" fmla="*/ 4038600 h 4496940"/>
                    <a:gd name="connsiteX54" fmla="*/ 3554752 w 4519987"/>
                    <a:gd name="connsiteY54" fmla="*/ 4095750 h 4496940"/>
                    <a:gd name="connsiteX55" fmla="*/ 3516652 w 4519987"/>
                    <a:gd name="connsiteY55" fmla="*/ 4114800 h 4496940"/>
                    <a:gd name="connsiteX56" fmla="*/ 3497602 w 4519987"/>
                    <a:gd name="connsiteY56" fmla="*/ 4143375 h 4496940"/>
                    <a:gd name="connsiteX57" fmla="*/ 3383302 w 4519987"/>
                    <a:gd name="connsiteY57" fmla="*/ 4210050 h 4496940"/>
                    <a:gd name="connsiteX58" fmla="*/ 3335677 w 4519987"/>
                    <a:gd name="connsiteY58" fmla="*/ 4238625 h 4496940"/>
                    <a:gd name="connsiteX59" fmla="*/ 3288052 w 4519987"/>
                    <a:gd name="connsiteY59" fmla="*/ 4248150 h 4496940"/>
                    <a:gd name="connsiteX60" fmla="*/ 3240427 w 4519987"/>
                    <a:gd name="connsiteY60" fmla="*/ 4267200 h 4496940"/>
                    <a:gd name="connsiteX61" fmla="*/ 3068977 w 4519987"/>
                    <a:gd name="connsiteY61" fmla="*/ 4286250 h 4496940"/>
                    <a:gd name="connsiteX62" fmla="*/ 2935627 w 4519987"/>
                    <a:gd name="connsiteY62" fmla="*/ 4333875 h 4496940"/>
                    <a:gd name="connsiteX63" fmla="*/ 2811802 w 4519987"/>
                    <a:gd name="connsiteY63" fmla="*/ 4371975 h 4496940"/>
                    <a:gd name="connsiteX64" fmla="*/ 2745127 w 4519987"/>
                    <a:gd name="connsiteY64" fmla="*/ 4410075 h 4496940"/>
                    <a:gd name="connsiteX65" fmla="*/ 2697502 w 4519987"/>
                    <a:gd name="connsiteY65" fmla="*/ 4429125 h 4496940"/>
                    <a:gd name="connsiteX66" fmla="*/ 2640352 w 4519987"/>
                    <a:gd name="connsiteY66" fmla="*/ 4457700 h 4496940"/>
                    <a:gd name="connsiteX67" fmla="*/ 2583202 w 4519987"/>
                    <a:gd name="connsiteY67" fmla="*/ 4467225 h 4496940"/>
                    <a:gd name="connsiteX68" fmla="*/ 2545102 w 4519987"/>
                    <a:gd name="connsiteY68" fmla="*/ 4486275 h 4496940"/>
                    <a:gd name="connsiteX69" fmla="*/ 2306977 w 4519987"/>
                    <a:gd name="connsiteY69" fmla="*/ 4476750 h 4496940"/>
                    <a:gd name="connsiteX70" fmla="*/ 2202202 w 4519987"/>
                    <a:gd name="connsiteY70" fmla="*/ 4457700 h 4496940"/>
                    <a:gd name="connsiteX71" fmla="*/ 2126002 w 4519987"/>
                    <a:gd name="connsiteY71" fmla="*/ 4429125 h 4496940"/>
                    <a:gd name="connsiteX72" fmla="*/ 1935502 w 4519987"/>
                    <a:gd name="connsiteY72" fmla="*/ 4400550 h 4496940"/>
                    <a:gd name="connsiteX73" fmla="*/ 1821202 w 4519987"/>
                    <a:gd name="connsiteY73" fmla="*/ 4371975 h 4496940"/>
                    <a:gd name="connsiteX74" fmla="*/ 1754527 w 4519987"/>
                    <a:gd name="connsiteY74" fmla="*/ 4352925 h 4496940"/>
                    <a:gd name="connsiteX75" fmla="*/ 1687852 w 4519987"/>
                    <a:gd name="connsiteY75" fmla="*/ 4343400 h 4496940"/>
                    <a:gd name="connsiteX76" fmla="*/ 1573552 w 4519987"/>
                    <a:gd name="connsiteY76" fmla="*/ 4305300 h 4496940"/>
                    <a:gd name="connsiteX77" fmla="*/ 1402102 w 4519987"/>
                    <a:gd name="connsiteY77" fmla="*/ 4276725 h 4496940"/>
                    <a:gd name="connsiteX78" fmla="*/ 1287802 w 4519987"/>
                    <a:gd name="connsiteY78" fmla="*/ 4229100 h 4496940"/>
                    <a:gd name="connsiteX79" fmla="*/ 1221127 w 4519987"/>
                    <a:gd name="connsiteY79" fmla="*/ 4200525 h 4496940"/>
                    <a:gd name="connsiteX80" fmla="*/ 1144927 w 4519987"/>
                    <a:gd name="connsiteY80" fmla="*/ 4171950 h 4496940"/>
                    <a:gd name="connsiteX81" fmla="*/ 1087777 w 4519987"/>
                    <a:gd name="connsiteY81" fmla="*/ 4143375 h 4496940"/>
                    <a:gd name="connsiteX82" fmla="*/ 1030627 w 4519987"/>
                    <a:gd name="connsiteY82" fmla="*/ 4124325 h 4496940"/>
                    <a:gd name="connsiteX83" fmla="*/ 925852 w 4519987"/>
                    <a:gd name="connsiteY83" fmla="*/ 4067175 h 4496940"/>
                    <a:gd name="connsiteX84" fmla="*/ 830602 w 4519987"/>
                    <a:gd name="connsiteY84" fmla="*/ 3981450 h 4496940"/>
                    <a:gd name="connsiteX85" fmla="*/ 763927 w 4519987"/>
                    <a:gd name="connsiteY85" fmla="*/ 3914775 h 4496940"/>
                    <a:gd name="connsiteX86" fmla="*/ 725827 w 4519987"/>
                    <a:gd name="connsiteY86" fmla="*/ 3876675 h 4496940"/>
                    <a:gd name="connsiteX87" fmla="*/ 697252 w 4519987"/>
                    <a:gd name="connsiteY87" fmla="*/ 3838575 h 4496940"/>
                    <a:gd name="connsiteX88" fmla="*/ 640102 w 4519987"/>
                    <a:gd name="connsiteY88" fmla="*/ 3781425 h 4496940"/>
                    <a:gd name="connsiteX89" fmla="*/ 611527 w 4519987"/>
                    <a:gd name="connsiteY89" fmla="*/ 3733800 h 4496940"/>
                    <a:gd name="connsiteX90" fmla="*/ 554377 w 4519987"/>
                    <a:gd name="connsiteY90" fmla="*/ 3657600 h 4496940"/>
                    <a:gd name="connsiteX91" fmla="*/ 525802 w 4519987"/>
                    <a:gd name="connsiteY91" fmla="*/ 3609975 h 4496940"/>
                    <a:gd name="connsiteX92" fmla="*/ 497227 w 4519987"/>
                    <a:gd name="connsiteY92" fmla="*/ 3552825 h 4496940"/>
                    <a:gd name="connsiteX93" fmla="*/ 440077 w 4519987"/>
                    <a:gd name="connsiteY93" fmla="*/ 3495675 h 4496940"/>
                    <a:gd name="connsiteX94" fmla="*/ 411502 w 4519987"/>
                    <a:gd name="connsiteY94" fmla="*/ 3448050 h 4496940"/>
                    <a:gd name="connsiteX95" fmla="*/ 278152 w 4519987"/>
                    <a:gd name="connsiteY95" fmla="*/ 3257550 h 4496940"/>
                    <a:gd name="connsiteX96" fmla="*/ 249577 w 4519987"/>
                    <a:gd name="connsiteY96" fmla="*/ 3200400 h 4496940"/>
                    <a:gd name="connsiteX97" fmla="*/ 240052 w 4519987"/>
                    <a:gd name="connsiteY97" fmla="*/ 3162300 h 4496940"/>
                    <a:gd name="connsiteX98" fmla="*/ 221002 w 4519987"/>
                    <a:gd name="connsiteY98" fmla="*/ 3105150 h 4496940"/>
                    <a:gd name="connsiteX99" fmla="*/ 173377 w 4519987"/>
                    <a:gd name="connsiteY99" fmla="*/ 3019425 h 4496940"/>
                    <a:gd name="connsiteX100" fmla="*/ 144802 w 4519987"/>
                    <a:gd name="connsiteY100" fmla="*/ 2924175 h 4496940"/>
                    <a:gd name="connsiteX101" fmla="*/ 68602 w 4519987"/>
                    <a:gd name="connsiteY101" fmla="*/ 2724150 h 4496940"/>
                    <a:gd name="connsiteX102" fmla="*/ 49552 w 4519987"/>
                    <a:gd name="connsiteY102" fmla="*/ 2638425 h 4496940"/>
                    <a:gd name="connsiteX103" fmla="*/ 40027 w 4519987"/>
                    <a:gd name="connsiteY103" fmla="*/ 2562225 h 4496940"/>
                    <a:gd name="connsiteX104" fmla="*/ 30502 w 4519987"/>
                    <a:gd name="connsiteY104" fmla="*/ 2514600 h 4496940"/>
                    <a:gd name="connsiteX105" fmla="*/ 11452 w 4519987"/>
                    <a:gd name="connsiteY105" fmla="*/ 2400300 h 4496940"/>
                    <a:gd name="connsiteX106" fmla="*/ 20977 w 4519987"/>
                    <a:gd name="connsiteY106" fmla="*/ 1905000 h 4496940"/>
                    <a:gd name="connsiteX107" fmla="*/ 30502 w 4519987"/>
                    <a:gd name="connsiteY107" fmla="*/ 1838325 h 4496940"/>
                    <a:gd name="connsiteX108" fmla="*/ 49552 w 4519987"/>
                    <a:gd name="connsiteY108" fmla="*/ 1781175 h 4496940"/>
                    <a:gd name="connsiteX109" fmla="*/ 59077 w 4519987"/>
                    <a:gd name="connsiteY109" fmla="*/ 1743075 h 4496940"/>
                    <a:gd name="connsiteX110" fmla="*/ 78127 w 4519987"/>
                    <a:gd name="connsiteY110" fmla="*/ 1685925 h 4496940"/>
                    <a:gd name="connsiteX111" fmla="*/ 87652 w 4519987"/>
                    <a:gd name="connsiteY111" fmla="*/ 1638300 h 4496940"/>
                    <a:gd name="connsiteX112" fmla="*/ 106702 w 4519987"/>
                    <a:gd name="connsiteY112" fmla="*/ 1590675 h 4496940"/>
                    <a:gd name="connsiteX113" fmla="*/ 135277 w 4519987"/>
                    <a:gd name="connsiteY113" fmla="*/ 1504950 h 4496940"/>
                    <a:gd name="connsiteX114" fmla="*/ 154327 w 4519987"/>
                    <a:gd name="connsiteY114" fmla="*/ 1419225 h 4496940"/>
                    <a:gd name="connsiteX115" fmla="*/ 230527 w 4519987"/>
                    <a:gd name="connsiteY115" fmla="*/ 1276350 h 4496940"/>
                    <a:gd name="connsiteX116" fmla="*/ 240052 w 4519987"/>
                    <a:gd name="connsiteY116" fmla="*/ 1247775 h 4496940"/>
                    <a:gd name="connsiteX117" fmla="*/ 268627 w 4519987"/>
                    <a:gd name="connsiteY117" fmla="*/ 1200150 h 4496940"/>
                    <a:gd name="connsiteX118" fmla="*/ 287677 w 4519987"/>
                    <a:gd name="connsiteY118" fmla="*/ 1152525 h 4496940"/>
                    <a:gd name="connsiteX119" fmla="*/ 316252 w 4519987"/>
                    <a:gd name="connsiteY119" fmla="*/ 1114425 h 4496940"/>
                    <a:gd name="connsiteX120" fmla="*/ 363877 w 4519987"/>
                    <a:gd name="connsiteY120" fmla="*/ 1038225 h 4496940"/>
                    <a:gd name="connsiteX121" fmla="*/ 382927 w 4519987"/>
                    <a:gd name="connsiteY121" fmla="*/ 1009650 h 4496940"/>
                    <a:gd name="connsiteX122" fmla="*/ 440077 w 4519987"/>
                    <a:gd name="connsiteY122" fmla="*/ 904875 h 4496940"/>
                    <a:gd name="connsiteX123" fmla="*/ 478177 w 4519987"/>
                    <a:gd name="connsiteY123" fmla="*/ 857250 h 4496940"/>
                    <a:gd name="connsiteX124" fmla="*/ 497227 w 4519987"/>
                    <a:gd name="connsiteY124" fmla="*/ 828675 h 4496940"/>
                    <a:gd name="connsiteX125" fmla="*/ 535327 w 4519987"/>
                    <a:gd name="connsiteY125" fmla="*/ 800100 h 4496940"/>
                    <a:gd name="connsiteX126" fmla="*/ 602002 w 4519987"/>
                    <a:gd name="connsiteY126" fmla="*/ 733425 h 4496940"/>
                    <a:gd name="connsiteX127" fmla="*/ 668677 w 4519987"/>
                    <a:gd name="connsiteY127" fmla="*/ 676275 h 4496940"/>
                    <a:gd name="connsiteX128" fmla="*/ 697252 w 4519987"/>
                    <a:gd name="connsiteY128" fmla="*/ 657225 h 4496940"/>
                    <a:gd name="connsiteX129" fmla="*/ 840127 w 4519987"/>
                    <a:gd name="connsiteY129" fmla="*/ 533400 h 4496940"/>
                    <a:gd name="connsiteX130" fmla="*/ 887752 w 4519987"/>
                    <a:gd name="connsiteY130" fmla="*/ 504825 h 4496940"/>
                    <a:gd name="connsiteX131" fmla="*/ 1167152 w 4519987"/>
                    <a:gd name="connsiteY131" fmla="*/ 311150 h 4496940"/>
                    <a:gd name="connsiteX132" fmla="*/ 1268752 w 4519987"/>
                    <a:gd name="connsiteY132" fmla="*/ 285750 h 4496940"/>
                    <a:gd name="connsiteX133" fmla="*/ 1411627 w 4519987"/>
                    <a:gd name="connsiteY133" fmla="*/ 190500 h 4496940"/>
                    <a:gd name="connsiteX134" fmla="*/ 1449727 w 4519987"/>
                    <a:gd name="connsiteY134" fmla="*/ 161925 h 4496940"/>
                    <a:gd name="connsiteX135" fmla="*/ 1525927 w 4519987"/>
                    <a:gd name="connsiteY135" fmla="*/ 152400 h 4496940"/>
                    <a:gd name="connsiteX136" fmla="*/ 1583077 w 4519987"/>
                    <a:gd name="connsiteY136" fmla="*/ 142875 h 4496940"/>
                    <a:gd name="connsiteX137" fmla="*/ 1716427 w 4519987"/>
                    <a:gd name="connsiteY137" fmla="*/ 123825 h 4496940"/>
                    <a:gd name="connsiteX138" fmla="*/ 1811677 w 4519987"/>
                    <a:gd name="connsiteY138" fmla="*/ 114300 h 4496940"/>
                    <a:gd name="connsiteX139" fmla="*/ 1859302 w 4519987"/>
                    <a:gd name="connsiteY139" fmla="*/ 104775 h 4496940"/>
                    <a:gd name="connsiteX140" fmla="*/ 1916452 w 4519987"/>
                    <a:gd name="connsiteY140" fmla="*/ 95250 h 4496940"/>
                    <a:gd name="connsiteX141" fmla="*/ 2030752 w 4519987"/>
                    <a:gd name="connsiteY141" fmla="*/ 66675 h 4496940"/>
                    <a:gd name="connsiteX142" fmla="*/ 2097427 w 4519987"/>
                    <a:gd name="connsiteY142" fmla="*/ 47625 h 4496940"/>
                    <a:gd name="connsiteX143" fmla="*/ 2164102 w 4519987"/>
                    <a:gd name="connsiteY143" fmla="*/ 38100 h 4496940"/>
                    <a:gd name="connsiteX144" fmla="*/ 2392702 w 4519987"/>
                    <a:gd name="connsiteY14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73902 w 4519987"/>
                    <a:gd name="connsiteY26" fmla="*/ 1428750 h 4496940"/>
                    <a:gd name="connsiteX27" fmla="*/ 4392952 w 4519987"/>
                    <a:gd name="connsiteY27" fmla="*/ 1552575 h 4496940"/>
                    <a:gd name="connsiteX28" fmla="*/ 4402477 w 4519987"/>
                    <a:gd name="connsiteY28" fmla="*/ 1590675 h 4496940"/>
                    <a:gd name="connsiteX29" fmla="*/ 4431052 w 4519987"/>
                    <a:gd name="connsiteY29" fmla="*/ 1685925 h 4496940"/>
                    <a:gd name="connsiteX30" fmla="*/ 4519952 w 4519987"/>
                    <a:gd name="connsiteY30" fmla="*/ 2181225 h 4496940"/>
                    <a:gd name="connsiteX31" fmla="*/ 4446927 w 4519987"/>
                    <a:gd name="connsiteY31" fmla="*/ 2768600 h 4496940"/>
                    <a:gd name="connsiteX32" fmla="*/ 4383427 w 4519987"/>
                    <a:gd name="connsiteY32" fmla="*/ 2990850 h 4496940"/>
                    <a:gd name="connsiteX33" fmla="*/ 4278652 w 4519987"/>
                    <a:gd name="connsiteY33" fmla="*/ 3248025 h 4496940"/>
                    <a:gd name="connsiteX34" fmla="*/ 4259602 w 4519987"/>
                    <a:gd name="connsiteY34" fmla="*/ 3276600 h 4496940"/>
                    <a:gd name="connsiteX35" fmla="*/ 4221502 w 4519987"/>
                    <a:gd name="connsiteY35" fmla="*/ 3333750 h 4496940"/>
                    <a:gd name="connsiteX36" fmla="*/ 4211977 w 4519987"/>
                    <a:gd name="connsiteY36" fmla="*/ 3362325 h 4496940"/>
                    <a:gd name="connsiteX37" fmla="*/ 4183402 w 4519987"/>
                    <a:gd name="connsiteY37" fmla="*/ 3400425 h 4496940"/>
                    <a:gd name="connsiteX38" fmla="*/ 4164352 w 4519987"/>
                    <a:gd name="connsiteY38" fmla="*/ 3429000 h 4496940"/>
                    <a:gd name="connsiteX39" fmla="*/ 4088152 w 4519987"/>
                    <a:gd name="connsiteY39" fmla="*/ 3495675 h 4496940"/>
                    <a:gd name="connsiteX40" fmla="*/ 4059577 w 4519987"/>
                    <a:gd name="connsiteY40" fmla="*/ 3533775 h 4496940"/>
                    <a:gd name="connsiteX41" fmla="*/ 4002427 w 4519987"/>
                    <a:gd name="connsiteY41" fmla="*/ 3600450 h 4496940"/>
                    <a:gd name="connsiteX42" fmla="*/ 3983377 w 4519987"/>
                    <a:gd name="connsiteY42" fmla="*/ 3629025 h 4496940"/>
                    <a:gd name="connsiteX43" fmla="*/ 3954802 w 4519987"/>
                    <a:gd name="connsiteY43" fmla="*/ 3648075 h 4496940"/>
                    <a:gd name="connsiteX44" fmla="*/ 3907177 w 4519987"/>
                    <a:gd name="connsiteY44" fmla="*/ 3686175 h 4496940"/>
                    <a:gd name="connsiteX45" fmla="*/ 3869077 w 4519987"/>
                    <a:gd name="connsiteY45" fmla="*/ 3724275 h 4496940"/>
                    <a:gd name="connsiteX46" fmla="*/ 3792877 w 4519987"/>
                    <a:gd name="connsiteY46" fmla="*/ 3781425 h 4496940"/>
                    <a:gd name="connsiteX47" fmla="*/ 3783352 w 4519987"/>
                    <a:gd name="connsiteY47" fmla="*/ 3810000 h 4496940"/>
                    <a:gd name="connsiteX48" fmla="*/ 3745252 w 4519987"/>
                    <a:gd name="connsiteY48" fmla="*/ 3819525 h 4496940"/>
                    <a:gd name="connsiteX49" fmla="*/ 3678577 w 4519987"/>
                    <a:gd name="connsiteY49" fmla="*/ 3848100 h 4496940"/>
                    <a:gd name="connsiteX50" fmla="*/ 3659527 w 4519987"/>
                    <a:gd name="connsiteY50" fmla="*/ 3971925 h 4496940"/>
                    <a:gd name="connsiteX51" fmla="*/ 3630952 w 4519987"/>
                    <a:gd name="connsiteY51" fmla="*/ 4010025 h 4496940"/>
                    <a:gd name="connsiteX52" fmla="*/ 3621427 w 4519987"/>
                    <a:gd name="connsiteY52" fmla="*/ 4038600 h 4496940"/>
                    <a:gd name="connsiteX53" fmla="*/ 3554752 w 4519987"/>
                    <a:gd name="connsiteY53" fmla="*/ 4095750 h 4496940"/>
                    <a:gd name="connsiteX54" fmla="*/ 3516652 w 4519987"/>
                    <a:gd name="connsiteY54" fmla="*/ 4114800 h 4496940"/>
                    <a:gd name="connsiteX55" fmla="*/ 3497602 w 4519987"/>
                    <a:gd name="connsiteY55" fmla="*/ 4143375 h 4496940"/>
                    <a:gd name="connsiteX56" fmla="*/ 3383302 w 4519987"/>
                    <a:gd name="connsiteY56" fmla="*/ 4210050 h 4496940"/>
                    <a:gd name="connsiteX57" fmla="*/ 3335677 w 4519987"/>
                    <a:gd name="connsiteY57" fmla="*/ 4238625 h 4496940"/>
                    <a:gd name="connsiteX58" fmla="*/ 3288052 w 4519987"/>
                    <a:gd name="connsiteY58" fmla="*/ 4248150 h 4496940"/>
                    <a:gd name="connsiteX59" fmla="*/ 3240427 w 4519987"/>
                    <a:gd name="connsiteY59" fmla="*/ 4267200 h 4496940"/>
                    <a:gd name="connsiteX60" fmla="*/ 3068977 w 4519987"/>
                    <a:gd name="connsiteY60" fmla="*/ 4286250 h 4496940"/>
                    <a:gd name="connsiteX61" fmla="*/ 2935627 w 4519987"/>
                    <a:gd name="connsiteY61" fmla="*/ 4333875 h 4496940"/>
                    <a:gd name="connsiteX62" fmla="*/ 2811802 w 4519987"/>
                    <a:gd name="connsiteY62" fmla="*/ 4371975 h 4496940"/>
                    <a:gd name="connsiteX63" fmla="*/ 2745127 w 4519987"/>
                    <a:gd name="connsiteY63" fmla="*/ 4410075 h 4496940"/>
                    <a:gd name="connsiteX64" fmla="*/ 2697502 w 4519987"/>
                    <a:gd name="connsiteY64" fmla="*/ 4429125 h 4496940"/>
                    <a:gd name="connsiteX65" fmla="*/ 2640352 w 4519987"/>
                    <a:gd name="connsiteY65" fmla="*/ 4457700 h 4496940"/>
                    <a:gd name="connsiteX66" fmla="*/ 2583202 w 4519987"/>
                    <a:gd name="connsiteY66" fmla="*/ 4467225 h 4496940"/>
                    <a:gd name="connsiteX67" fmla="*/ 2545102 w 4519987"/>
                    <a:gd name="connsiteY67" fmla="*/ 4486275 h 4496940"/>
                    <a:gd name="connsiteX68" fmla="*/ 2306977 w 4519987"/>
                    <a:gd name="connsiteY68" fmla="*/ 4476750 h 4496940"/>
                    <a:gd name="connsiteX69" fmla="*/ 2202202 w 4519987"/>
                    <a:gd name="connsiteY69" fmla="*/ 4457700 h 4496940"/>
                    <a:gd name="connsiteX70" fmla="*/ 2126002 w 4519987"/>
                    <a:gd name="connsiteY70" fmla="*/ 4429125 h 4496940"/>
                    <a:gd name="connsiteX71" fmla="*/ 1935502 w 4519987"/>
                    <a:gd name="connsiteY71" fmla="*/ 4400550 h 4496940"/>
                    <a:gd name="connsiteX72" fmla="*/ 1821202 w 4519987"/>
                    <a:gd name="connsiteY72" fmla="*/ 4371975 h 4496940"/>
                    <a:gd name="connsiteX73" fmla="*/ 1754527 w 4519987"/>
                    <a:gd name="connsiteY73" fmla="*/ 4352925 h 4496940"/>
                    <a:gd name="connsiteX74" fmla="*/ 1687852 w 4519987"/>
                    <a:gd name="connsiteY74" fmla="*/ 4343400 h 4496940"/>
                    <a:gd name="connsiteX75" fmla="*/ 1573552 w 4519987"/>
                    <a:gd name="connsiteY75" fmla="*/ 4305300 h 4496940"/>
                    <a:gd name="connsiteX76" fmla="*/ 1402102 w 4519987"/>
                    <a:gd name="connsiteY76" fmla="*/ 4276725 h 4496940"/>
                    <a:gd name="connsiteX77" fmla="*/ 1287802 w 4519987"/>
                    <a:gd name="connsiteY77" fmla="*/ 4229100 h 4496940"/>
                    <a:gd name="connsiteX78" fmla="*/ 1221127 w 4519987"/>
                    <a:gd name="connsiteY78" fmla="*/ 4200525 h 4496940"/>
                    <a:gd name="connsiteX79" fmla="*/ 1144927 w 4519987"/>
                    <a:gd name="connsiteY79" fmla="*/ 4171950 h 4496940"/>
                    <a:gd name="connsiteX80" fmla="*/ 1087777 w 4519987"/>
                    <a:gd name="connsiteY80" fmla="*/ 4143375 h 4496940"/>
                    <a:gd name="connsiteX81" fmla="*/ 1030627 w 4519987"/>
                    <a:gd name="connsiteY81" fmla="*/ 4124325 h 4496940"/>
                    <a:gd name="connsiteX82" fmla="*/ 925852 w 4519987"/>
                    <a:gd name="connsiteY82" fmla="*/ 4067175 h 4496940"/>
                    <a:gd name="connsiteX83" fmla="*/ 830602 w 4519987"/>
                    <a:gd name="connsiteY83" fmla="*/ 3981450 h 4496940"/>
                    <a:gd name="connsiteX84" fmla="*/ 763927 w 4519987"/>
                    <a:gd name="connsiteY84" fmla="*/ 3914775 h 4496940"/>
                    <a:gd name="connsiteX85" fmla="*/ 725827 w 4519987"/>
                    <a:gd name="connsiteY85" fmla="*/ 3876675 h 4496940"/>
                    <a:gd name="connsiteX86" fmla="*/ 697252 w 4519987"/>
                    <a:gd name="connsiteY86" fmla="*/ 3838575 h 4496940"/>
                    <a:gd name="connsiteX87" fmla="*/ 640102 w 4519987"/>
                    <a:gd name="connsiteY87" fmla="*/ 3781425 h 4496940"/>
                    <a:gd name="connsiteX88" fmla="*/ 611527 w 4519987"/>
                    <a:gd name="connsiteY88" fmla="*/ 3733800 h 4496940"/>
                    <a:gd name="connsiteX89" fmla="*/ 554377 w 4519987"/>
                    <a:gd name="connsiteY89" fmla="*/ 3657600 h 4496940"/>
                    <a:gd name="connsiteX90" fmla="*/ 525802 w 4519987"/>
                    <a:gd name="connsiteY90" fmla="*/ 3609975 h 4496940"/>
                    <a:gd name="connsiteX91" fmla="*/ 497227 w 4519987"/>
                    <a:gd name="connsiteY91" fmla="*/ 3552825 h 4496940"/>
                    <a:gd name="connsiteX92" fmla="*/ 440077 w 4519987"/>
                    <a:gd name="connsiteY92" fmla="*/ 3495675 h 4496940"/>
                    <a:gd name="connsiteX93" fmla="*/ 411502 w 4519987"/>
                    <a:gd name="connsiteY93" fmla="*/ 3448050 h 4496940"/>
                    <a:gd name="connsiteX94" fmla="*/ 278152 w 4519987"/>
                    <a:gd name="connsiteY94" fmla="*/ 3257550 h 4496940"/>
                    <a:gd name="connsiteX95" fmla="*/ 249577 w 4519987"/>
                    <a:gd name="connsiteY95" fmla="*/ 3200400 h 4496940"/>
                    <a:gd name="connsiteX96" fmla="*/ 240052 w 4519987"/>
                    <a:gd name="connsiteY96" fmla="*/ 3162300 h 4496940"/>
                    <a:gd name="connsiteX97" fmla="*/ 221002 w 4519987"/>
                    <a:gd name="connsiteY97" fmla="*/ 3105150 h 4496940"/>
                    <a:gd name="connsiteX98" fmla="*/ 173377 w 4519987"/>
                    <a:gd name="connsiteY98" fmla="*/ 3019425 h 4496940"/>
                    <a:gd name="connsiteX99" fmla="*/ 144802 w 4519987"/>
                    <a:gd name="connsiteY99" fmla="*/ 2924175 h 4496940"/>
                    <a:gd name="connsiteX100" fmla="*/ 68602 w 4519987"/>
                    <a:gd name="connsiteY100" fmla="*/ 2724150 h 4496940"/>
                    <a:gd name="connsiteX101" fmla="*/ 49552 w 4519987"/>
                    <a:gd name="connsiteY101" fmla="*/ 2638425 h 4496940"/>
                    <a:gd name="connsiteX102" fmla="*/ 40027 w 4519987"/>
                    <a:gd name="connsiteY102" fmla="*/ 2562225 h 4496940"/>
                    <a:gd name="connsiteX103" fmla="*/ 30502 w 4519987"/>
                    <a:gd name="connsiteY103" fmla="*/ 2514600 h 4496940"/>
                    <a:gd name="connsiteX104" fmla="*/ 11452 w 4519987"/>
                    <a:gd name="connsiteY104" fmla="*/ 2400300 h 4496940"/>
                    <a:gd name="connsiteX105" fmla="*/ 20977 w 4519987"/>
                    <a:gd name="connsiteY105" fmla="*/ 1905000 h 4496940"/>
                    <a:gd name="connsiteX106" fmla="*/ 30502 w 4519987"/>
                    <a:gd name="connsiteY106" fmla="*/ 1838325 h 4496940"/>
                    <a:gd name="connsiteX107" fmla="*/ 49552 w 4519987"/>
                    <a:gd name="connsiteY107" fmla="*/ 1781175 h 4496940"/>
                    <a:gd name="connsiteX108" fmla="*/ 59077 w 4519987"/>
                    <a:gd name="connsiteY108" fmla="*/ 1743075 h 4496940"/>
                    <a:gd name="connsiteX109" fmla="*/ 78127 w 4519987"/>
                    <a:gd name="connsiteY109" fmla="*/ 1685925 h 4496940"/>
                    <a:gd name="connsiteX110" fmla="*/ 87652 w 4519987"/>
                    <a:gd name="connsiteY110" fmla="*/ 1638300 h 4496940"/>
                    <a:gd name="connsiteX111" fmla="*/ 106702 w 4519987"/>
                    <a:gd name="connsiteY111" fmla="*/ 1590675 h 4496940"/>
                    <a:gd name="connsiteX112" fmla="*/ 135277 w 4519987"/>
                    <a:gd name="connsiteY112" fmla="*/ 1504950 h 4496940"/>
                    <a:gd name="connsiteX113" fmla="*/ 154327 w 4519987"/>
                    <a:gd name="connsiteY113" fmla="*/ 1419225 h 4496940"/>
                    <a:gd name="connsiteX114" fmla="*/ 230527 w 4519987"/>
                    <a:gd name="connsiteY114" fmla="*/ 1276350 h 4496940"/>
                    <a:gd name="connsiteX115" fmla="*/ 240052 w 4519987"/>
                    <a:gd name="connsiteY115" fmla="*/ 1247775 h 4496940"/>
                    <a:gd name="connsiteX116" fmla="*/ 268627 w 4519987"/>
                    <a:gd name="connsiteY116" fmla="*/ 1200150 h 4496940"/>
                    <a:gd name="connsiteX117" fmla="*/ 287677 w 4519987"/>
                    <a:gd name="connsiteY117" fmla="*/ 1152525 h 4496940"/>
                    <a:gd name="connsiteX118" fmla="*/ 316252 w 4519987"/>
                    <a:gd name="connsiteY118" fmla="*/ 1114425 h 4496940"/>
                    <a:gd name="connsiteX119" fmla="*/ 363877 w 4519987"/>
                    <a:gd name="connsiteY119" fmla="*/ 1038225 h 4496940"/>
                    <a:gd name="connsiteX120" fmla="*/ 382927 w 4519987"/>
                    <a:gd name="connsiteY120" fmla="*/ 1009650 h 4496940"/>
                    <a:gd name="connsiteX121" fmla="*/ 440077 w 4519987"/>
                    <a:gd name="connsiteY121" fmla="*/ 904875 h 4496940"/>
                    <a:gd name="connsiteX122" fmla="*/ 478177 w 4519987"/>
                    <a:gd name="connsiteY122" fmla="*/ 857250 h 4496940"/>
                    <a:gd name="connsiteX123" fmla="*/ 497227 w 4519987"/>
                    <a:gd name="connsiteY123" fmla="*/ 828675 h 4496940"/>
                    <a:gd name="connsiteX124" fmla="*/ 535327 w 4519987"/>
                    <a:gd name="connsiteY124" fmla="*/ 800100 h 4496940"/>
                    <a:gd name="connsiteX125" fmla="*/ 602002 w 4519987"/>
                    <a:gd name="connsiteY125" fmla="*/ 733425 h 4496940"/>
                    <a:gd name="connsiteX126" fmla="*/ 668677 w 4519987"/>
                    <a:gd name="connsiteY126" fmla="*/ 676275 h 4496940"/>
                    <a:gd name="connsiteX127" fmla="*/ 697252 w 4519987"/>
                    <a:gd name="connsiteY127" fmla="*/ 657225 h 4496940"/>
                    <a:gd name="connsiteX128" fmla="*/ 840127 w 4519987"/>
                    <a:gd name="connsiteY128" fmla="*/ 533400 h 4496940"/>
                    <a:gd name="connsiteX129" fmla="*/ 887752 w 4519987"/>
                    <a:gd name="connsiteY129" fmla="*/ 504825 h 4496940"/>
                    <a:gd name="connsiteX130" fmla="*/ 1167152 w 4519987"/>
                    <a:gd name="connsiteY130" fmla="*/ 311150 h 4496940"/>
                    <a:gd name="connsiteX131" fmla="*/ 1268752 w 4519987"/>
                    <a:gd name="connsiteY131" fmla="*/ 285750 h 4496940"/>
                    <a:gd name="connsiteX132" fmla="*/ 1411627 w 4519987"/>
                    <a:gd name="connsiteY132" fmla="*/ 190500 h 4496940"/>
                    <a:gd name="connsiteX133" fmla="*/ 1449727 w 4519987"/>
                    <a:gd name="connsiteY133" fmla="*/ 161925 h 4496940"/>
                    <a:gd name="connsiteX134" fmla="*/ 1525927 w 4519987"/>
                    <a:gd name="connsiteY134" fmla="*/ 152400 h 4496940"/>
                    <a:gd name="connsiteX135" fmla="*/ 1583077 w 4519987"/>
                    <a:gd name="connsiteY135" fmla="*/ 142875 h 4496940"/>
                    <a:gd name="connsiteX136" fmla="*/ 1716427 w 4519987"/>
                    <a:gd name="connsiteY136" fmla="*/ 123825 h 4496940"/>
                    <a:gd name="connsiteX137" fmla="*/ 1811677 w 4519987"/>
                    <a:gd name="connsiteY137" fmla="*/ 114300 h 4496940"/>
                    <a:gd name="connsiteX138" fmla="*/ 1859302 w 4519987"/>
                    <a:gd name="connsiteY138" fmla="*/ 104775 h 4496940"/>
                    <a:gd name="connsiteX139" fmla="*/ 1916452 w 4519987"/>
                    <a:gd name="connsiteY139" fmla="*/ 95250 h 4496940"/>
                    <a:gd name="connsiteX140" fmla="*/ 2030752 w 4519987"/>
                    <a:gd name="connsiteY140" fmla="*/ 66675 h 4496940"/>
                    <a:gd name="connsiteX141" fmla="*/ 2097427 w 4519987"/>
                    <a:gd name="connsiteY141" fmla="*/ 47625 h 4496940"/>
                    <a:gd name="connsiteX142" fmla="*/ 2164102 w 4519987"/>
                    <a:gd name="connsiteY142" fmla="*/ 38100 h 4496940"/>
                    <a:gd name="connsiteX143" fmla="*/ 2392702 w 4519987"/>
                    <a:gd name="connsiteY14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02477 w 4519987"/>
                    <a:gd name="connsiteY27" fmla="*/ 1590675 h 4496940"/>
                    <a:gd name="connsiteX28" fmla="*/ 4431052 w 4519987"/>
                    <a:gd name="connsiteY28" fmla="*/ 1685925 h 4496940"/>
                    <a:gd name="connsiteX29" fmla="*/ 4519952 w 4519987"/>
                    <a:gd name="connsiteY29" fmla="*/ 2181225 h 4496940"/>
                    <a:gd name="connsiteX30" fmla="*/ 4446927 w 4519987"/>
                    <a:gd name="connsiteY30" fmla="*/ 2768600 h 4496940"/>
                    <a:gd name="connsiteX31" fmla="*/ 4383427 w 4519987"/>
                    <a:gd name="connsiteY31" fmla="*/ 2990850 h 4496940"/>
                    <a:gd name="connsiteX32" fmla="*/ 4278652 w 4519987"/>
                    <a:gd name="connsiteY32" fmla="*/ 3248025 h 4496940"/>
                    <a:gd name="connsiteX33" fmla="*/ 4259602 w 4519987"/>
                    <a:gd name="connsiteY33" fmla="*/ 3276600 h 4496940"/>
                    <a:gd name="connsiteX34" fmla="*/ 4221502 w 4519987"/>
                    <a:gd name="connsiteY34" fmla="*/ 3333750 h 4496940"/>
                    <a:gd name="connsiteX35" fmla="*/ 4211977 w 4519987"/>
                    <a:gd name="connsiteY35" fmla="*/ 3362325 h 4496940"/>
                    <a:gd name="connsiteX36" fmla="*/ 4183402 w 4519987"/>
                    <a:gd name="connsiteY36" fmla="*/ 3400425 h 4496940"/>
                    <a:gd name="connsiteX37" fmla="*/ 4164352 w 4519987"/>
                    <a:gd name="connsiteY37" fmla="*/ 3429000 h 4496940"/>
                    <a:gd name="connsiteX38" fmla="*/ 4088152 w 4519987"/>
                    <a:gd name="connsiteY38" fmla="*/ 3495675 h 4496940"/>
                    <a:gd name="connsiteX39" fmla="*/ 4059577 w 4519987"/>
                    <a:gd name="connsiteY39" fmla="*/ 3533775 h 4496940"/>
                    <a:gd name="connsiteX40" fmla="*/ 4002427 w 4519987"/>
                    <a:gd name="connsiteY40" fmla="*/ 3600450 h 4496940"/>
                    <a:gd name="connsiteX41" fmla="*/ 3983377 w 4519987"/>
                    <a:gd name="connsiteY41" fmla="*/ 3629025 h 4496940"/>
                    <a:gd name="connsiteX42" fmla="*/ 3954802 w 4519987"/>
                    <a:gd name="connsiteY42" fmla="*/ 3648075 h 4496940"/>
                    <a:gd name="connsiteX43" fmla="*/ 3907177 w 4519987"/>
                    <a:gd name="connsiteY43" fmla="*/ 3686175 h 4496940"/>
                    <a:gd name="connsiteX44" fmla="*/ 3869077 w 4519987"/>
                    <a:gd name="connsiteY44" fmla="*/ 3724275 h 4496940"/>
                    <a:gd name="connsiteX45" fmla="*/ 3792877 w 4519987"/>
                    <a:gd name="connsiteY45" fmla="*/ 3781425 h 4496940"/>
                    <a:gd name="connsiteX46" fmla="*/ 3783352 w 4519987"/>
                    <a:gd name="connsiteY46" fmla="*/ 3810000 h 4496940"/>
                    <a:gd name="connsiteX47" fmla="*/ 3745252 w 4519987"/>
                    <a:gd name="connsiteY47" fmla="*/ 3819525 h 4496940"/>
                    <a:gd name="connsiteX48" fmla="*/ 3678577 w 4519987"/>
                    <a:gd name="connsiteY48" fmla="*/ 3848100 h 4496940"/>
                    <a:gd name="connsiteX49" fmla="*/ 3659527 w 4519987"/>
                    <a:gd name="connsiteY49" fmla="*/ 3971925 h 4496940"/>
                    <a:gd name="connsiteX50" fmla="*/ 3630952 w 4519987"/>
                    <a:gd name="connsiteY50" fmla="*/ 4010025 h 4496940"/>
                    <a:gd name="connsiteX51" fmla="*/ 3621427 w 4519987"/>
                    <a:gd name="connsiteY51" fmla="*/ 4038600 h 4496940"/>
                    <a:gd name="connsiteX52" fmla="*/ 3554752 w 4519987"/>
                    <a:gd name="connsiteY52" fmla="*/ 4095750 h 4496940"/>
                    <a:gd name="connsiteX53" fmla="*/ 3516652 w 4519987"/>
                    <a:gd name="connsiteY53" fmla="*/ 4114800 h 4496940"/>
                    <a:gd name="connsiteX54" fmla="*/ 3497602 w 4519987"/>
                    <a:gd name="connsiteY54" fmla="*/ 4143375 h 4496940"/>
                    <a:gd name="connsiteX55" fmla="*/ 3383302 w 4519987"/>
                    <a:gd name="connsiteY55" fmla="*/ 4210050 h 4496940"/>
                    <a:gd name="connsiteX56" fmla="*/ 3335677 w 4519987"/>
                    <a:gd name="connsiteY56" fmla="*/ 4238625 h 4496940"/>
                    <a:gd name="connsiteX57" fmla="*/ 3288052 w 4519987"/>
                    <a:gd name="connsiteY57" fmla="*/ 4248150 h 4496940"/>
                    <a:gd name="connsiteX58" fmla="*/ 3240427 w 4519987"/>
                    <a:gd name="connsiteY58" fmla="*/ 4267200 h 4496940"/>
                    <a:gd name="connsiteX59" fmla="*/ 3068977 w 4519987"/>
                    <a:gd name="connsiteY59" fmla="*/ 4286250 h 4496940"/>
                    <a:gd name="connsiteX60" fmla="*/ 2935627 w 4519987"/>
                    <a:gd name="connsiteY60" fmla="*/ 4333875 h 4496940"/>
                    <a:gd name="connsiteX61" fmla="*/ 2811802 w 4519987"/>
                    <a:gd name="connsiteY61" fmla="*/ 4371975 h 4496940"/>
                    <a:gd name="connsiteX62" fmla="*/ 2745127 w 4519987"/>
                    <a:gd name="connsiteY62" fmla="*/ 4410075 h 4496940"/>
                    <a:gd name="connsiteX63" fmla="*/ 2697502 w 4519987"/>
                    <a:gd name="connsiteY63" fmla="*/ 4429125 h 4496940"/>
                    <a:gd name="connsiteX64" fmla="*/ 2640352 w 4519987"/>
                    <a:gd name="connsiteY64" fmla="*/ 4457700 h 4496940"/>
                    <a:gd name="connsiteX65" fmla="*/ 2583202 w 4519987"/>
                    <a:gd name="connsiteY65" fmla="*/ 4467225 h 4496940"/>
                    <a:gd name="connsiteX66" fmla="*/ 2545102 w 4519987"/>
                    <a:gd name="connsiteY66" fmla="*/ 4486275 h 4496940"/>
                    <a:gd name="connsiteX67" fmla="*/ 2306977 w 4519987"/>
                    <a:gd name="connsiteY67" fmla="*/ 4476750 h 4496940"/>
                    <a:gd name="connsiteX68" fmla="*/ 2202202 w 4519987"/>
                    <a:gd name="connsiteY68" fmla="*/ 4457700 h 4496940"/>
                    <a:gd name="connsiteX69" fmla="*/ 2126002 w 4519987"/>
                    <a:gd name="connsiteY69" fmla="*/ 4429125 h 4496940"/>
                    <a:gd name="connsiteX70" fmla="*/ 1935502 w 4519987"/>
                    <a:gd name="connsiteY70" fmla="*/ 4400550 h 4496940"/>
                    <a:gd name="connsiteX71" fmla="*/ 1821202 w 4519987"/>
                    <a:gd name="connsiteY71" fmla="*/ 4371975 h 4496940"/>
                    <a:gd name="connsiteX72" fmla="*/ 1754527 w 4519987"/>
                    <a:gd name="connsiteY72" fmla="*/ 4352925 h 4496940"/>
                    <a:gd name="connsiteX73" fmla="*/ 1687852 w 4519987"/>
                    <a:gd name="connsiteY73" fmla="*/ 4343400 h 4496940"/>
                    <a:gd name="connsiteX74" fmla="*/ 1573552 w 4519987"/>
                    <a:gd name="connsiteY74" fmla="*/ 4305300 h 4496940"/>
                    <a:gd name="connsiteX75" fmla="*/ 1402102 w 4519987"/>
                    <a:gd name="connsiteY75" fmla="*/ 4276725 h 4496940"/>
                    <a:gd name="connsiteX76" fmla="*/ 1287802 w 4519987"/>
                    <a:gd name="connsiteY76" fmla="*/ 4229100 h 4496940"/>
                    <a:gd name="connsiteX77" fmla="*/ 1221127 w 4519987"/>
                    <a:gd name="connsiteY77" fmla="*/ 4200525 h 4496940"/>
                    <a:gd name="connsiteX78" fmla="*/ 1144927 w 4519987"/>
                    <a:gd name="connsiteY78" fmla="*/ 4171950 h 4496940"/>
                    <a:gd name="connsiteX79" fmla="*/ 1087777 w 4519987"/>
                    <a:gd name="connsiteY79" fmla="*/ 4143375 h 4496940"/>
                    <a:gd name="connsiteX80" fmla="*/ 1030627 w 4519987"/>
                    <a:gd name="connsiteY80" fmla="*/ 4124325 h 4496940"/>
                    <a:gd name="connsiteX81" fmla="*/ 925852 w 4519987"/>
                    <a:gd name="connsiteY81" fmla="*/ 4067175 h 4496940"/>
                    <a:gd name="connsiteX82" fmla="*/ 830602 w 4519987"/>
                    <a:gd name="connsiteY82" fmla="*/ 3981450 h 4496940"/>
                    <a:gd name="connsiteX83" fmla="*/ 763927 w 4519987"/>
                    <a:gd name="connsiteY83" fmla="*/ 3914775 h 4496940"/>
                    <a:gd name="connsiteX84" fmla="*/ 725827 w 4519987"/>
                    <a:gd name="connsiteY84" fmla="*/ 3876675 h 4496940"/>
                    <a:gd name="connsiteX85" fmla="*/ 697252 w 4519987"/>
                    <a:gd name="connsiteY85" fmla="*/ 3838575 h 4496940"/>
                    <a:gd name="connsiteX86" fmla="*/ 640102 w 4519987"/>
                    <a:gd name="connsiteY86" fmla="*/ 3781425 h 4496940"/>
                    <a:gd name="connsiteX87" fmla="*/ 611527 w 4519987"/>
                    <a:gd name="connsiteY87" fmla="*/ 3733800 h 4496940"/>
                    <a:gd name="connsiteX88" fmla="*/ 554377 w 4519987"/>
                    <a:gd name="connsiteY88" fmla="*/ 3657600 h 4496940"/>
                    <a:gd name="connsiteX89" fmla="*/ 525802 w 4519987"/>
                    <a:gd name="connsiteY89" fmla="*/ 3609975 h 4496940"/>
                    <a:gd name="connsiteX90" fmla="*/ 497227 w 4519987"/>
                    <a:gd name="connsiteY90" fmla="*/ 3552825 h 4496940"/>
                    <a:gd name="connsiteX91" fmla="*/ 440077 w 4519987"/>
                    <a:gd name="connsiteY91" fmla="*/ 3495675 h 4496940"/>
                    <a:gd name="connsiteX92" fmla="*/ 411502 w 4519987"/>
                    <a:gd name="connsiteY92" fmla="*/ 3448050 h 4496940"/>
                    <a:gd name="connsiteX93" fmla="*/ 278152 w 4519987"/>
                    <a:gd name="connsiteY93" fmla="*/ 3257550 h 4496940"/>
                    <a:gd name="connsiteX94" fmla="*/ 249577 w 4519987"/>
                    <a:gd name="connsiteY94" fmla="*/ 3200400 h 4496940"/>
                    <a:gd name="connsiteX95" fmla="*/ 240052 w 4519987"/>
                    <a:gd name="connsiteY95" fmla="*/ 3162300 h 4496940"/>
                    <a:gd name="connsiteX96" fmla="*/ 221002 w 4519987"/>
                    <a:gd name="connsiteY96" fmla="*/ 3105150 h 4496940"/>
                    <a:gd name="connsiteX97" fmla="*/ 173377 w 4519987"/>
                    <a:gd name="connsiteY97" fmla="*/ 3019425 h 4496940"/>
                    <a:gd name="connsiteX98" fmla="*/ 144802 w 4519987"/>
                    <a:gd name="connsiteY98" fmla="*/ 2924175 h 4496940"/>
                    <a:gd name="connsiteX99" fmla="*/ 68602 w 4519987"/>
                    <a:gd name="connsiteY99" fmla="*/ 2724150 h 4496940"/>
                    <a:gd name="connsiteX100" fmla="*/ 49552 w 4519987"/>
                    <a:gd name="connsiteY100" fmla="*/ 2638425 h 4496940"/>
                    <a:gd name="connsiteX101" fmla="*/ 40027 w 4519987"/>
                    <a:gd name="connsiteY101" fmla="*/ 2562225 h 4496940"/>
                    <a:gd name="connsiteX102" fmla="*/ 30502 w 4519987"/>
                    <a:gd name="connsiteY102" fmla="*/ 2514600 h 4496940"/>
                    <a:gd name="connsiteX103" fmla="*/ 11452 w 4519987"/>
                    <a:gd name="connsiteY103" fmla="*/ 2400300 h 4496940"/>
                    <a:gd name="connsiteX104" fmla="*/ 20977 w 4519987"/>
                    <a:gd name="connsiteY104" fmla="*/ 1905000 h 4496940"/>
                    <a:gd name="connsiteX105" fmla="*/ 30502 w 4519987"/>
                    <a:gd name="connsiteY105" fmla="*/ 1838325 h 4496940"/>
                    <a:gd name="connsiteX106" fmla="*/ 49552 w 4519987"/>
                    <a:gd name="connsiteY106" fmla="*/ 1781175 h 4496940"/>
                    <a:gd name="connsiteX107" fmla="*/ 59077 w 4519987"/>
                    <a:gd name="connsiteY107" fmla="*/ 1743075 h 4496940"/>
                    <a:gd name="connsiteX108" fmla="*/ 78127 w 4519987"/>
                    <a:gd name="connsiteY108" fmla="*/ 1685925 h 4496940"/>
                    <a:gd name="connsiteX109" fmla="*/ 87652 w 4519987"/>
                    <a:gd name="connsiteY109" fmla="*/ 1638300 h 4496940"/>
                    <a:gd name="connsiteX110" fmla="*/ 106702 w 4519987"/>
                    <a:gd name="connsiteY110" fmla="*/ 1590675 h 4496940"/>
                    <a:gd name="connsiteX111" fmla="*/ 135277 w 4519987"/>
                    <a:gd name="connsiteY111" fmla="*/ 1504950 h 4496940"/>
                    <a:gd name="connsiteX112" fmla="*/ 154327 w 4519987"/>
                    <a:gd name="connsiteY112" fmla="*/ 1419225 h 4496940"/>
                    <a:gd name="connsiteX113" fmla="*/ 230527 w 4519987"/>
                    <a:gd name="connsiteY113" fmla="*/ 1276350 h 4496940"/>
                    <a:gd name="connsiteX114" fmla="*/ 240052 w 4519987"/>
                    <a:gd name="connsiteY114" fmla="*/ 1247775 h 4496940"/>
                    <a:gd name="connsiteX115" fmla="*/ 268627 w 4519987"/>
                    <a:gd name="connsiteY115" fmla="*/ 1200150 h 4496940"/>
                    <a:gd name="connsiteX116" fmla="*/ 287677 w 4519987"/>
                    <a:gd name="connsiteY116" fmla="*/ 1152525 h 4496940"/>
                    <a:gd name="connsiteX117" fmla="*/ 316252 w 4519987"/>
                    <a:gd name="connsiteY117" fmla="*/ 1114425 h 4496940"/>
                    <a:gd name="connsiteX118" fmla="*/ 363877 w 4519987"/>
                    <a:gd name="connsiteY118" fmla="*/ 1038225 h 4496940"/>
                    <a:gd name="connsiteX119" fmla="*/ 382927 w 4519987"/>
                    <a:gd name="connsiteY119" fmla="*/ 1009650 h 4496940"/>
                    <a:gd name="connsiteX120" fmla="*/ 440077 w 4519987"/>
                    <a:gd name="connsiteY120" fmla="*/ 904875 h 4496940"/>
                    <a:gd name="connsiteX121" fmla="*/ 478177 w 4519987"/>
                    <a:gd name="connsiteY121" fmla="*/ 857250 h 4496940"/>
                    <a:gd name="connsiteX122" fmla="*/ 497227 w 4519987"/>
                    <a:gd name="connsiteY122" fmla="*/ 828675 h 4496940"/>
                    <a:gd name="connsiteX123" fmla="*/ 535327 w 4519987"/>
                    <a:gd name="connsiteY123" fmla="*/ 800100 h 4496940"/>
                    <a:gd name="connsiteX124" fmla="*/ 602002 w 4519987"/>
                    <a:gd name="connsiteY124" fmla="*/ 733425 h 4496940"/>
                    <a:gd name="connsiteX125" fmla="*/ 668677 w 4519987"/>
                    <a:gd name="connsiteY125" fmla="*/ 676275 h 4496940"/>
                    <a:gd name="connsiteX126" fmla="*/ 697252 w 4519987"/>
                    <a:gd name="connsiteY126" fmla="*/ 657225 h 4496940"/>
                    <a:gd name="connsiteX127" fmla="*/ 840127 w 4519987"/>
                    <a:gd name="connsiteY127" fmla="*/ 533400 h 4496940"/>
                    <a:gd name="connsiteX128" fmla="*/ 887752 w 4519987"/>
                    <a:gd name="connsiteY128" fmla="*/ 504825 h 4496940"/>
                    <a:gd name="connsiteX129" fmla="*/ 1167152 w 4519987"/>
                    <a:gd name="connsiteY129" fmla="*/ 311150 h 4496940"/>
                    <a:gd name="connsiteX130" fmla="*/ 1268752 w 4519987"/>
                    <a:gd name="connsiteY130" fmla="*/ 285750 h 4496940"/>
                    <a:gd name="connsiteX131" fmla="*/ 1411627 w 4519987"/>
                    <a:gd name="connsiteY131" fmla="*/ 190500 h 4496940"/>
                    <a:gd name="connsiteX132" fmla="*/ 1449727 w 4519987"/>
                    <a:gd name="connsiteY132" fmla="*/ 161925 h 4496940"/>
                    <a:gd name="connsiteX133" fmla="*/ 1525927 w 4519987"/>
                    <a:gd name="connsiteY133" fmla="*/ 152400 h 4496940"/>
                    <a:gd name="connsiteX134" fmla="*/ 1583077 w 4519987"/>
                    <a:gd name="connsiteY134" fmla="*/ 142875 h 4496940"/>
                    <a:gd name="connsiteX135" fmla="*/ 1716427 w 4519987"/>
                    <a:gd name="connsiteY135" fmla="*/ 123825 h 4496940"/>
                    <a:gd name="connsiteX136" fmla="*/ 1811677 w 4519987"/>
                    <a:gd name="connsiteY136" fmla="*/ 114300 h 4496940"/>
                    <a:gd name="connsiteX137" fmla="*/ 1859302 w 4519987"/>
                    <a:gd name="connsiteY137" fmla="*/ 104775 h 4496940"/>
                    <a:gd name="connsiteX138" fmla="*/ 1916452 w 4519987"/>
                    <a:gd name="connsiteY138" fmla="*/ 95250 h 4496940"/>
                    <a:gd name="connsiteX139" fmla="*/ 2030752 w 4519987"/>
                    <a:gd name="connsiteY139" fmla="*/ 66675 h 4496940"/>
                    <a:gd name="connsiteX140" fmla="*/ 2097427 w 4519987"/>
                    <a:gd name="connsiteY140" fmla="*/ 47625 h 4496940"/>
                    <a:gd name="connsiteX141" fmla="*/ 2164102 w 4519987"/>
                    <a:gd name="connsiteY141" fmla="*/ 38100 h 4496940"/>
                    <a:gd name="connsiteX142" fmla="*/ 2392702 w 4519987"/>
                    <a:gd name="connsiteY14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164352 w 4519987"/>
                    <a:gd name="connsiteY36" fmla="*/ 3429000 h 4496940"/>
                    <a:gd name="connsiteX37" fmla="*/ 4088152 w 4519987"/>
                    <a:gd name="connsiteY37" fmla="*/ 3495675 h 4496940"/>
                    <a:gd name="connsiteX38" fmla="*/ 4059577 w 4519987"/>
                    <a:gd name="connsiteY38" fmla="*/ 3533775 h 4496940"/>
                    <a:gd name="connsiteX39" fmla="*/ 4002427 w 4519987"/>
                    <a:gd name="connsiteY39" fmla="*/ 3600450 h 4496940"/>
                    <a:gd name="connsiteX40" fmla="*/ 3983377 w 4519987"/>
                    <a:gd name="connsiteY40" fmla="*/ 3629025 h 4496940"/>
                    <a:gd name="connsiteX41" fmla="*/ 3954802 w 4519987"/>
                    <a:gd name="connsiteY41" fmla="*/ 3648075 h 4496940"/>
                    <a:gd name="connsiteX42" fmla="*/ 3907177 w 4519987"/>
                    <a:gd name="connsiteY42" fmla="*/ 3686175 h 4496940"/>
                    <a:gd name="connsiteX43" fmla="*/ 3869077 w 4519987"/>
                    <a:gd name="connsiteY43" fmla="*/ 3724275 h 4496940"/>
                    <a:gd name="connsiteX44" fmla="*/ 3792877 w 4519987"/>
                    <a:gd name="connsiteY44" fmla="*/ 3781425 h 4496940"/>
                    <a:gd name="connsiteX45" fmla="*/ 3783352 w 4519987"/>
                    <a:gd name="connsiteY45" fmla="*/ 3810000 h 4496940"/>
                    <a:gd name="connsiteX46" fmla="*/ 3745252 w 4519987"/>
                    <a:gd name="connsiteY46" fmla="*/ 3819525 h 4496940"/>
                    <a:gd name="connsiteX47" fmla="*/ 3678577 w 4519987"/>
                    <a:gd name="connsiteY47" fmla="*/ 3848100 h 4496940"/>
                    <a:gd name="connsiteX48" fmla="*/ 3659527 w 4519987"/>
                    <a:gd name="connsiteY48" fmla="*/ 3971925 h 4496940"/>
                    <a:gd name="connsiteX49" fmla="*/ 3630952 w 4519987"/>
                    <a:gd name="connsiteY49" fmla="*/ 4010025 h 4496940"/>
                    <a:gd name="connsiteX50" fmla="*/ 3621427 w 4519987"/>
                    <a:gd name="connsiteY50" fmla="*/ 4038600 h 4496940"/>
                    <a:gd name="connsiteX51" fmla="*/ 3554752 w 4519987"/>
                    <a:gd name="connsiteY51" fmla="*/ 4095750 h 4496940"/>
                    <a:gd name="connsiteX52" fmla="*/ 3516652 w 4519987"/>
                    <a:gd name="connsiteY52" fmla="*/ 4114800 h 4496940"/>
                    <a:gd name="connsiteX53" fmla="*/ 3497602 w 4519987"/>
                    <a:gd name="connsiteY53" fmla="*/ 4143375 h 4496940"/>
                    <a:gd name="connsiteX54" fmla="*/ 3383302 w 4519987"/>
                    <a:gd name="connsiteY54" fmla="*/ 4210050 h 4496940"/>
                    <a:gd name="connsiteX55" fmla="*/ 3335677 w 4519987"/>
                    <a:gd name="connsiteY55" fmla="*/ 4238625 h 4496940"/>
                    <a:gd name="connsiteX56" fmla="*/ 3288052 w 4519987"/>
                    <a:gd name="connsiteY56" fmla="*/ 4248150 h 4496940"/>
                    <a:gd name="connsiteX57" fmla="*/ 3240427 w 4519987"/>
                    <a:gd name="connsiteY57" fmla="*/ 4267200 h 4496940"/>
                    <a:gd name="connsiteX58" fmla="*/ 3068977 w 4519987"/>
                    <a:gd name="connsiteY58" fmla="*/ 4286250 h 4496940"/>
                    <a:gd name="connsiteX59" fmla="*/ 2935627 w 4519987"/>
                    <a:gd name="connsiteY59" fmla="*/ 4333875 h 4496940"/>
                    <a:gd name="connsiteX60" fmla="*/ 2811802 w 4519987"/>
                    <a:gd name="connsiteY60" fmla="*/ 4371975 h 4496940"/>
                    <a:gd name="connsiteX61" fmla="*/ 2745127 w 4519987"/>
                    <a:gd name="connsiteY61" fmla="*/ 4410075 h 4496940"/>
                    <a:gd name="connsiteX62" fmla="*/ 2697502 w 4519987"/>
                    <a:gd name="connsiteY62" fmla="*/ 4429125 h 4496940"/>
                    <a:gd name="connsiteX63" fmla="*/ 2640352 w 4519987"/>
                    <a:gd name="connsiteY63" fmla="*/ 4457700 h 4496940"/>
                    <a:gd name="connsiteX64" fmla="*/ 2583202 w 4519987"/>
                    <a:gd name="connsiteY64" fmla="*/ 4467225 h 4496940"/>
                    <a:gd name="connsiteX65" fmla="*/ 2545102 w 4519987"/>
                    <a:gd name="connsiteY65" fmla="*/ 4486275 h 4496940"/>
                    <a:gd name="connsiteX66" fmla="*/ 2306977 w 4519987"/>
                    <a:gd name="connsiteY66" fmla="*/ 4476750 h 4496940"/>
                    <a:gd name="connsiteX67" fmla="*/ 2202202 w 4519987"/>
                    <a:gd name="connsiteY67" fmla="*/ 4457700 h 4496940"/>
                    <a:gd name="connsiteX68" fmla="*/ 2126002 w 4519987"/>
                    <a:gd name="connsiteY68" fmla="*/ 4429125 h 4496940"/>
                    <a:gd name="connsiteX69" fmla="*/ 1935502 w 4519987"/>
                    <a:gd name="connsiteY69" fmla="*/ 4400550 h 4496940"/>
                    <a:gd name="connsiteX70" fmla="*/ 1821202 w 4519987"/>
                    <a:gd name="connsiteY70" fmla="*/ 4371975 h 4496940"/>
                    <a:gd name="connsiteX71" fmla="*/ 1754527 w 4519987"/>
                    <a:gd name="connsiteY71" fmla="*/ 4352925 h 4496940"/>
                    <a:gd name="connsiteX72" fmla="*/ 1687852 w 4519987"/>
                    <a:gd name="connsiteY72" fmla="*/ 4343400 h 4496940"/>
                    <a:gd name="connsiteX73" fmla="*/ 1573552 w 4519987"/>
                    <a:gd name="connsiteY73" fmla="*/ 4305300 h 4496940"/>
                    <a:gd name="connsiteX74" fmla="*/ 1402102 w 4519987"/>
                    <a:gd name="connsiteY74" fmla="*/ 4276725 h 4496940"/>
                    <a:gd name="connsiteX75" fmla="*/ 1287802 w 4519987"/>
                    <a:gd name="connsiteY75" fmla="*/ 4229100 h 4496940"/>
                    <a:gd name="connsiteX76" fmla="*/ 1221127 w 4519987"/>
                    <a:gd name="connsiteY76" fmla="*/ 4200525 h 4496940"/>
                    <a:gd name="connsiteX77" fmla="*/ 1144927 w 4519987"/>
                    <a:gd name="connsiteY77" fmla="*/ 4171950 h 4496940"/>
                    <a:gd name="connsiteX78" fmla="*/ 1087777 w 4519987"/>
                    <a:gd name="connsiteY78" fmla="*/ 4143375 h 4496940"/>
                    <a:gd name="connsiteX79" fmla="*/ 1030627 w 4519987"/>
                    <a:gd name="connsiteY79" fmla="*/ 4124325 h 4496940"/>
                    <a:gd name="connsiteX80" fmla="*/ 925852 w 4519987"/>
                    <a:gd name="connsiteY80" fmla="*/ 4067175 h 4496940"/>
                    <a:gd name="connsiteX81" fmla="*/ 830602 w 4519987"/>
                    <a:gd name="connsiteY81" fmla="*/ 3981450 h 4496940"/>
                    <a:gd name="connsiteX82" fmla="*/ 763927 w 4519987"/>
                    <a:gd name="connsiteY82" fmla="*/ 3914775 h 4496940"/>
                    <a:gd name="connsiteX83" fmla="*/ 725827 w 4519987"/>
                    <a:gd name="connsiteY83" fmla="*/ 3876675 h 4496940"/>
                    <a:gd name="connsiteX84" fmla="*/ 697252 w 4519987"/>
                    <a:gd name="connsiteY84" fmla="*/ 3838575 h 4496940"/>
                    <a:gd name="connsiteX85" fmla="*/ 640102 w 4519987"/>
                    <a:gd name="connsiteY85" fmla="*/ 3781425 h 4496940"/>
                    <a:gd name="connsiteX86" fmla="*/ 611527 w 4519987"/>
                    <a:gd name="connsiteY86" fmla="*/ 3733800 h 4496940"/>
                    <a:gd name="connsiteX87" fmla="*/ 554377 w 4519987"/>
                    <a:gd name="connsiteY87" fmla="*/ 3657600 h 4496940"/>
                    <a:gd name="connsiteX88" fmla="*/ 525802 w 4519987"/>
                    <a:gd name="connsiteY88" fmla="*/ 3609975 h 4496940"/>
                    <a:gd name="connsiteX89" fmla="*/ 497227 w 4519987"/>
                    <a:gd name="connsiteY89" fmla="*/ 3552825 h 4496940"/>
                    <a:gd name="connsiteX90" fmla="*/ 440077 w 4519987"/>
                    <a:gd name="connsiteY90" fmla="*/ 3495675 h 4496940"/>
                    <a:gd name="connsiteX91" fmla="*/ 411502 w 4519987"/>
                    <a:gd name="connsiteY91" fmla="*/ 3448050 h 4496940"/>
                    <a:gd name="connsiteX92" fmla="*/ 278152 w 4519987"/>
                    <a:gd name="connsiteY92" fmla="*/ 3257550 h 4496940"/>
                    <a:gd name="connsiteX93" fmla="*/ 249577 w 4519987"/>
                    <a:gd name="connsiteY93" fmla="*/ 3200400 h 4496940"/>
                    <a:gd name="connsiteX94" fmla="*/ 240052 w 4519987"/>
                    <a:gd name="connsiteY94" fmla="*/ 3162300 h 4496940"/>
                    <a:gd name="connsiteX95" fmla="*/ 221002 w 4519987"/>
                    <a:gd name="connsiteY95" fmla="*/ 3105150 h 4496940"/>
                    <a:gd name="connsiteX96" fmla="*/ 173377 w 4519987"/>
                    <a:gd name="connsiteY96" fmla="*/ 3019425 h 4496940"/>
                    <a:gd name="connsiteX97" fmla="*/ 144802 w 4519987"/>
                    <a:gd name="connsiteY97" fmla="*/ 2924175 h 4496940"/>
                    <a:gd name="connsiteX98" fmla="*/ 68602 w 4519987"/>
                    <a:gd name="connsiteY98" fmla="*/ 2724150 h 4496940"/>
                    <a:gd name="connsiteX99" fmla="*/ 49552 w 4519987"/>
                    <a:gd name="connsiteY99" fmla="*/ 2638425 h 4496940"/>
                    <a:gd name="connsiteX100" fmla="*/ 40027 w 4519987"/>
                    <a:gd name="connsiteY100" fmla="*/ 2562225 h 4496940"/>
                    <a:gd name="connsiteX101" fmla="*/ 30502 w 4519987"/>
                    <a:gd name="connsiteY101" fmla="*/ 2514600 h 4496940"/>
                    <a:gd name="connsiteX102" fmla="*/ 11452 w 4519987"/>
                    <a:gd name="connsiteY102" fmla="*/ 2400300 h 4496940"/>
                    <a:gd name="connsiteX103" fmla="*/ 20977 w 4519987"/>
                    <a:gd name="connsiteY103" fmla="*/ 1905000 h 4496940"/>
                    <a:gd name="connsiteX104" fmla="*/ 30502 w 4519987"/>
                    <a:gd name="connsiteY104" fmla="*/ 1838325 h 4496940"/>
                    <a:gd name="connsiteX105" fmla="*/ 49552 w 4519987"/>
                    <a:gd name="connsiteY105" fmla="*/ 1781175 h 4496940"/>
                    <a:gd name="connsiteX106" fmla="*/ 59077 w 4519987"/>
                    <a:gd name="connsiteY106" fmla="*/ 1743075 h 4496940"/>
                    <a:gd name="connsiteX107" fmla="*/ 78127 w 4519987"/>
                    <a:gd name="connsiteY107" fmla="*/ 1685925 h 4496940"/>
                    <a:gd name="connsiteX108" fmla="*/ 87652 w 4519987"/>
                    <a:gd name="connsiteY108" fmla="*/ 1638300 h 4496940"/>
                    <a:gd name="connsiteX109" fmla="*/ 106702 w 4519987"/>
                    <a:gd name="connsiteY109" fmla="*/ 1590675 h 4496940"/>
                    <a:gd name="connsiteX110" fmla="*/ 135277 w 4519987"/>
                    <a:gd name="connsiteY110" fmla="*/ 1504950 h 4496940"/>
                    <a:gd name="connsiteX111" fmla="*/ 154327 w 4519987"/>
                    <a:gd name="connsiteY111" fmla="*/ 1419225 h 4496940"/>
                    <a:gd name="connsiteX112" fmla="*/ 230527 w 4519987"/>
                    <a:gd name="connsiteY112" fmla="*/ 1276350 h 4496940"/>
                    <a:gd name="connsiteX113" fmla="*/ 240052 w 4519987"/>
                    <a:gd name="connsiteY113" fmla="*/ 1247775 h 4496940"/>
                    <a:gd name="connsiteX114" fmla="*/ 268627 w 4519987"/>
                    <a:gd name="connsiteY114" fmla="*/ 1200150 h 4496940"/>
                    <a:gd name="connsiteX115" fmla="*/ 287677 w 4519987"/>
                    <a:gd name="connsiteY115" fmla="*/ 1152525 h 4496940"/>
                    <a:gd name="connsiteX116" fmla="*/ 316252 w 4519987"/>
                    <a:gd name="connsiteY116" fmla="*/ 1114425 h 4496940"/>
                    <a:gd name="connsiteX117" fmla="*/ 363877 w 4519987"/>
                    <a:gd name="connsiteY117" fmla="*/ 1038225 h 4496940"/>
                    <a:gd name="connsiteX118" fmla="*/ 382927 w 4519987"/>
                    <a:gd name="connsiteY118" fmla="*/ 1009650 h 4496940"/>
                    <a:gd name="connsiteX119" fmla="*/ 440077 w 4519987"/>
                    <a:gd name="connsiteY119" fmla="*/ 904875 h 4496940"/>
                    <a:gd name="connsiteX120" fmla="*/ 478177 w 4519987"/>
                    <a:gd name="connsiteY120" fmla="*/ 857250 h 4496940"/>
                    <a:gd name="connsiteX121" fmla="*/ 497227 w 4519987"/>
                    <a:gd name="connsiteY121" fmla="*/ 828675 h 4496940"/>
                    <a:gd name="connsiteX122" fmla="*/ 535327 w 4519987"/>
                    <a:gd name="connsiteY122" fmla="*/ 800100 h 4496940"/>
                    <a:gd name="connsiteX123" fmla="*/ 602002 w 4519987"/>
                    <a:gd name="connsiteY123" fmla="*/ 733425 h 4496940"/>
                    <a:gd name="connsiteX124" fmla="*/ 668677 w 4519987"/>
                    <a:gd name="connsiteY124" fmla="*/ 676275 h 4496940"/>
                    <a:gd name="connsiteX125" fmla="*/ 697252 w 4519987"/>
                    <a:gd name="connsiteY125" fmla="*/ 657225 h 4496940"/>
                    <a:gd name="connsiteX126" fmla="*/ 840127 w 4519987"/>
                    <a:gd name="connsiteY126" fmla="*/ 533400 h 4496940"/>
                    <a:gd name="connsiteX127" fmla="*/ 887752 w 4519987"/>
                    <a:gd name="connsiteY127" fmla="*/ 504825 h 4496940"/>
                    <a:gd name="connsiteX128" fmla="*/ 1167152 w 4519987"/>
                    <a:gd name="connsiteY128" fmla="*/ 311150 h 4496940"/>
                    <a:gd name="connsiteX129" fmla="*/ 1268752 w 4519987"/>
                    <a:gd name="connsiteY129" fmla="*/ 285750 h 4496940"/>
                    <a:gd name="connsiteX130" fmla="*/ 1411627 w 4519987"/>
                    <a:gd name="connsiteY130" fmla="*/ 190500 h 4496940"/>
                    <a:gd name="connsiteX131" fmla="*/ 1449727 w 4519987"/>
                    <a:gd name="connsiteY131" fmla="*/ 161925 h 4496940"/>
                    <a:gd name="connsiteX132" fmla="*/ 1525927 w 4519987"/>
                    <a:gd name="connsiteY132" fmla="*/ 152400 h 4496940"/>
                    <a:gd name="connsiteX133" fmla="*/ 1583077 w 4519987"/>
                    <a:gd name="connsiteY133" fmla="*/ 142875 h 4496940"/>
                    <a:gd name="connsiteX134" fmla="*/ 1716427 w 4519987"/>
                    <a:gd name="connsiteY134" fmla="*/ 123825 h 4496940"/>
                    <a:gd name="connsiteX135" fmla="*/ 1811677 w 4519987"/>
                    <a:gd name="connsiteY135" fmla="*/ 114300 h 4496940"/>
                    <a:gd name="connsiteX136" fmla="*/ 1859302 w 4519987"/>
                    <a:gd name="connsiteY136" fmla="*/ 104775 h 4496940"/>
                    <a:gd name="connsiteX137" fmla="*/ 1916452 w 4519987"/>
                    <a:gd name="connsiteY137" fmla="*/ 95250 h 4496940"/>
                    <a:gd name="connsiteX138" fmla="*/ 2030752 w 4519987"/>
                    <a:gd name="connsiteY138" fmla="*/ 66675 h 4496940"/>
                    <a:gd name="connsiteX139" fmla="*/ 2097427 w 4519987"/>
                    <a:gd name="connsiteY139" fmla="*/ 47625 h 4496940"/>
                    <a:gd name="connsiteX140" fmla="*/ 2164102 w 4519987"/>
                    <a:gd name="connsiteY140" fmla="*/ 38100 h 4496940"/>
                    <a:gd name="connsiteX141" fmla="*/ 2392702 w 4519987"/>
                    <a:gd name="connsiteY14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088152 w 4519987"/>
                    <a:gd name="connsiteY36" fmla="*/ 3495675 h 4496940"/>
                    <a:gd name="connsiteX37" fmla="*/ 4059577 w 4519987"/>
                    <a:gd name="connsiteY37" fmla="*/ 3533775 h 4496940"/>
                    <a:gd name="connsiteX38" fmla="*/ 4002427 w 4519987"/>
                    <a:gd name="connsiteY38" fmla="*/ 3600450 h 4496940"/>
                    <a:gd name="connsiteX39" fmla="*/ 3983377 w 4519987"/>
                    <a:gd name="connsiteY39" fmla="*/ 3629025 h 4496940"/>
                    <a:gd name="connsiteX40" fmla="*/ 3954802 w 4519987"/>
                    <a:gd name="connsiteY40" fmla="*/ 3648075 h 4496940"/>
                    <a:gd name="connsiteX41" fmla="*/ 3907177 w 4519987"/>
                    <a:gd name="connsiteY41" fmla="*/ 3686175 h 4496940"/>
                    <a:gd name="connsiteX42" fmla="*/ 3869077 w 4519987"/>
                    <a:gd name="connsiteY42" fmla="*/ 3724275 h 4496940"/>
                    <a:gd name="connsiteX43" fmla="*/ 3792877 w 4519987"/>
                    <a:gd name="connsiteY43" fmla="*/ 3781425 h 4496940"/>
                    <a:gd name="connsiteX44" fmla="*/ 3783352 w 4519987"/>
                    <a:gd name="connsiteY44" fmla="*/ 3810000 h 4496940"/>
                    <a:gd name="connsiteX45" fmla="*/ 3745252 w 4519987"/>
                    <a:gd name="connsiteY45" fmla="*/ 3819525 h 4496940"/>
                    <a:gd name="connsiteX46" fmla="*/ 3678577 w 4519987"/>
                    <a:gd name="connsiteY46" fmla="*/ 3848100 h 4496940"/>
                    <a:gd name="connsiteX47" fmla="*/ 3659527 w 4519987"/>
                    <a:gd name="connsiteY47" fmla="*/ 3971925 h 4496940"/>
                    <a:gd name="connsiteX48" fmla="*/ 3630952 w 4519987"/>
                    <a:gd name="connsiteY48" fmla="*/ 4010025 h 4496940"/>
                    <a:gd name="connsiteX49" fmla="*/ 3621427 w 4519987"/>
                    <a:gd name="connsiteY49" fmla="*/ 4038600 h 4496940"/>
                    <a:gd name="connsiteX50" fmla="*/ 3554752 w 4519987"/>
                    <a:gd name="connsiteY50" fmla="*/ 4095750 h 4496940"/>
                    <a:gd name="connsiteX51" fmla="*/ 3516652 w 4519987"/>
                    <a:gd name="connsiteY51" fmla="*/ 4114800 h 4496940"/>
                    <a:gd name="connsiteX52" fmla="*/ 3497602 w 4519987"/>
                    <a:gd name="connsiteY52" fmla="*/ 4143375 h 4496940"/>
                    <a:gd name="connsiteX53" fmla="*/ 3383302 w 4519987"/>
                    <a:gd name="connsiteY53" fmla="*/ 4210050 h 4496940"/>
                    <a:gd name="connsiteX54" fmla="*/ 3335677 w 4519987"/>
                    <a:gd name="connsiteY54" fmla="*/ 4238625 h 4496940"/>
                    <a:gd name="connsiteX55" fmla="*/ 3288052 w 4519987"/>
                    <a:gd name="connsiteY55" fmla="*/ 4248150 h 4496940"/>
                    <a:gd name="connsiteX56" fmla="*/ 3240427 w 4519987"/>
                    <a:gd name="connsiteY56" fmla="*/ 4267200 h 4496940"/>
                    <a:gd name="connsiteX57" fmla="*/ 3068977 w 4519987"/>
                    <a:gd name="connsiteY57" fmla="*/ 4286250 h 4496940"/>
                    <a:gd name="connsiteX58" fmla="*/ 2935627 w 4519987"/>
                    <a:gd name="connsiteY58" fmla="*/ 4333875 h 4496940"/>
                    <a:gd name="connsiteX59" fmla="*/ 2811802 w 4519987"/>
                    <a:gd name="connsiteY59" fmla="*/ 4371975 h 4496940"/>
                    <a:gd name="connsiteX60" fmla="*/ 2745127 w 4519987"/>
                    <a:gd name="connsiteY60" fmla="*/ 4410075 h 4496940"/>
                    <a:gd name="connsiteX61" fmla="*/ 2697502 w 4519987"/>
                    <a:gd name="connsiteY61" fmla="*/ 4429125 h 4496940"/>
                    <a:gd name="connsiteX62" fmla="*/ 2640352 w 4519987"/>
                    <a:gd name="connsiteY62" fmla="*/ 4457700 h 4496940"/>
                    <a:gd name="connsiteX63" fmla="*/ 2583202 w 4519987"/>
                    <a:gd name="connsiteY63" fmla="*/ 4467225 h 4496940"/>
                    <a:gd name="connsiteX64" fmla="*/ 2545102 w 4519987"/>
                    <a:gd name="connsiteY64" fmla="*/ 4486275 h 4496940"/>
                    <a:gd name="connsiteX65" fmla="*/ 2306977 w 4519987"/>
                    <a:gd name="connsiteY65" fmla="*/ 4476750 h 4496940"/>
                    <a:gd name="connsiteX66" fmla="*/ 2202202 w 4519987"/>
                    <a:gd name="connsiteY66" fmla="*/ 4457700 h 4496940"/>
                    <a:gd name="connsiteX67" fmla="*/ 2126002 w 4519987"/>
                    <a:gd name="connsiteY67" fmla="*/ 4429125 h 4496940"/>
                    <a:gd name="connsiteX68" fmla="*/ 1935502 w 4519987"/>
                    <a:gd name="connsiteY68" fmla="*/ 4400550 h 4496940"/>
                    <a:gd name="connsiteX69" fmla="*/ 1821202 w 4519987"/>
                    <a:gd name="connsiteY69" fmla="*/ 4371975 h 4496940"/>
                    <a:gd name="connsiteX70" fmla="*/ 1754527 w 4519987"/>
                    <a:gd name="connsiteY70" fmla="*/ 4352925 h 4496940"/>
                    <a:gd name="connsiteX71" fmla="*/ 1687852 w 4519987"/>
                    <a:gd name="connsiteY71" fmla="*/ 4343400 h 4496940"/>
                    <a:gd name="connsiteX72" fmla="*/ 1573552 w 4519987"/>
                    <a:gd name="connsiteY72" fmla="*/ 4305300 h 4496940"/>
                    <a:gd name="connsiteX73" fmla="*/ 1402102 w 4519987"/>
                    <a:gd name="connsiteY73" fmla="*/ 4276725 h 4496940"/>
                    <a:gd name="connsiteX74" fmla="*/ 1287802 w 4519987"/>
                    <a:gd name="connsiteY74" fmla="*/ 4229100 h 4496940"/>
                    <a:gd name="connsiteX75" fmla="*/ 1221127 w 4519987"/>
                    <a:gd name="connsiteY75" fmla="*/ 4200525 h 4496940"/>
                    <a:gd name="connsiteX76" fmla="*/ 1144927 w 4519987"/>
                    <a:gd name="connsiteY76" fmla="*/ 4171950 h 4496940"/>
                    <a:gd name="connsiteX77" fmla="*/ 1087777 w 4519987"/>
                    <a:gd name="connsiteY77" fmla="*/ 4143375 h 4496940"/>
                    <a:gd name="connsiteX78" fmla="*/ 1030627 w 4519987"/>
                    <a:gd name="connsiteY78" fmla="*/ 4124325 h 4496940"/>
                    <a:gd name="connsiteX79" fmla="*/ 925852 w 4519987"/>
                    <a:gd name="connsiteY79" fmla="*/ 4067175 h 4496940"/>
                    <a:gd name="connsiteX80" fmla="*/ 830602 w 4519987"/>
                    <a:gd name="connsiteY80" fmla="*/ 3981450 h 4496940"/>
                    <a:gd name="connsiteX81" fmla="*/ 763927 w 4519987"/>
                    <a:gd name="connsiteY81" fmla="*/ 3914775 h 4496940"/>
                    <a:gd name="connsiteX82" fmla="*/ 725827 w 4519987"/>
                    <a:gd name="connsiteY82" fmla="*/ 3876675 h 4496940"/>
                    <a:gd name="connsiteX83" fmla="*/ 697252 w 4519987"/>
                    <a:gd name="connsiteY83" fmla="*/ 3838575 h 4496940"/>
                    <a:gd name="connsiteX84" fmla="*/ 640102 w 4519987"/>
                    <a:gd name="connsiteY84" fmla="*/ 3781425 h 4496940"/>
                    <a:gd name="connsiteX85" fmla="*/ 611527 w 4519987"/>
                    <a:gd name="connsiteY85" fmla="*/ 3733800 h 4496940"/>
                    <a:gd name="connsiteX86" fmla="*/ 554377 w 4519987"/>
                    <a:gd name="connsiteY86" fmla="*/ 3657600 h 4496940"/>
                    <a:gd name="connsiteX87" fmla="*/ 525802 w 4519987"/>
                    <a:gd name="connsiteY87" fmla="*/ 3609975 h 4496940"/>
                    <a:gd name="connsiteX88" fmla="*/ 497227 w 4519987"/>
                    <a:gd name="connsiteY88" fmla="*/ 3552825 h 4496940"/>
                    <a:gd name="connsiteX89" fmla="*/ 440077 w 4519987"/>
                    <a:gd name="connsiteY89" fmla="*/ 3495675 h 4496940"/>
                    <a:gd name="connsiteX90" fmla="*/ 411502 w 4519987"/>
                    <a:gd name="connsiteY90" fmla="*/ 3448050 h 4496940"/>
                    <a:gd name="connsiteX91" fmla="*/ 278152 w 4519987"/>
                    <a:gd name="connsiteY91" fmla="*/ 3257550 h 4496940"/>
                    <a:gd name="connsiteX92" fmla="*/ 249577 w 4519987"/>
                    <a:gd name="connsiteY92" fmla="*/ 3200400 h 4496940"/>
                    <a:gd name="connsiteX93" fmla="*/ 240052 w 4519987"/>
                    <a:gd name="connsiteY93" fmla="*/ 3162300 h 4496940"/>
                    <a:gd name="connsiteX94" fmla="*/ 221002 w 4519987"/>
                    <a:gd name="connsiteY94" fmla="*/ 3105150 h 4496940"/>
                    <a:gd name="connsiteX95" fmla="*/ 173377 w 4519987"/>
                    <a:gd name="connsiteY95" fmla="*/ 3019425 h 4496940"/>
                    <a:gd name="connsiteX96" fmla="*/ 144802 w 4519987"/>
                    <a:gd name="connsiteY96" fmla="*/ 2924175 h 4496940"/>
                    <a:gd name="connsiteX97" fmla="*/ 68602 w 4519987"/>
                    <a:gd name="connsiteY97" fmla="*/ 2724150 h 4496940"/>
                    <a:gd name="connsiteX98" fmla="*/ 49552 w 4519987"/>
                    <a:gd name="connsiteY98" fmla="*/ 2638425 h 4496940"/>
                    <a:gd name="connsiteX99" fmla="*/ 40027 w 4519987"/>
                    <a:gd name="connsiteY99" fmla="*/ 2562225 h 4496940"/>
                    <a:gd name="connsiteX100" fmla="*/ 30502 w 4519987"/>
                    <a:gd name="connsiteY100" fmla="*/ 2514600 h 4496940"/>
                    <a:gd name="connsiteX101" fmla="*/ 11452 w 4519987"/>
                    <a:gd name="connsiteY101" fmla="*/ 2400300 h 4496940"/>
                    <a:gd name="connsiteX102" fmla="*/ 20977 w 4519987"/>
                    <a:gd name="connsiteY102" fmla="*/ 1905000 h 4496940"/>
                    <a:gd name="connsiteX103" fmla="*/ 30502 w 4519987"/>
                    <a:gd name="connsiteY103" fmla="*/ 1838325 h 4496940"/>
                    <a:gd name="connsiteX104" fmla="*/ 49552 w 4519987"/>
                    <a:gd name="connsiteY104" fmla="*/ 1781175 h 4496940"/>
                    <a:gd name="connsiteX105" fmla="*/ 59077 w 4519987"/>
                    <a:gd name="connsiteY105" fmla="*/ 1743075 h 4496940"/>
                    <a:gd name="connsiteX106" fmla="*/ 78127 w 4519987"/>
                    <a:gd name="connsiteY106" fmla="*/ 1685925 h 4496940"/>
                    <a:gd name="connsiteX107" fmla="*/ 87652 w 4519987"/>
                    <a:gd name="connsiteY107" fmla="*/ 1638300 h 4496940"/>
                    <a:gd name="connsiteX108" fmla="*/ 106702 w 4519987"/>
                    <a:gd name="connsiteY108" fmla="*/ 1590675 h 4496940"/>
                    <a:gd name="connsiteX109" fmla="*/ 135277 w 4519987"/>
                    <a:gd name="connsiteY109" fmla="*/ 1504950 h 4496940"/>
                    <a:gd name="connsiteX110" fmla="*/ 154327 w 4519987"/>
                    <a:gd name="connsiteY110" fmla="*/ 1419225 h 4496940"/>
                    <a:gd name="connsiteX111" fmla="*/ 230527 w 4519987"/>
                    <a:gd name="connsiteY111" fmla="*/ 1276350 h 4496940"/>
                    <a:gd name="connsiteX112" fmla="*/ 240052 w 4519987"/>
                    <a:gd name="connsiteY112" fmla="*/ 1247775 h 4496940"/>
                    <a:gd name="connsiteX113" fmla="*/ 268627 w 4519987"/>
                    <a:gd name="connsiteY113" fmla="*/ 1200150 h 4496940"/>
                    <a:gd name="connsiteX114" fmla="*/ 287677 w 4519987"/>
                    <a:gd name="connsiteY114" fmla="*/ 1152525 h 4496940"/>
                    <a:gd name="connsiteX115" fmla="*/ 316252 w 4519987"/>
                    <a:gd name="connsiteY115" fmla="*/ 1114425 h 4496940"/>
                    <a:gd name="connsiteX116" fmla="*/ 363877 w 4519987"/>
                    <a:gd name="connsiteY116" fmla="*/ 1038225 h 4496940"/>
                    <a:gd name="connsiteX117" fmla="*/ 382927 w 4519987"/>
                    <a:gd name="connsiteY117" fmla="*/ 1009650 h 4496940"/>
                    <a:gd name="connsiteX118" fmla="*/ 440077 w 4519987"/>
                    <a:gd name="connsiteY118" fmla="*/ 904875 h 4496940"/>
                    <a:gd name="connsiteX119" fmla="*/ 478177 w 4519987"/>
                    <a:gd name="connsiteY119" fmla="*/ 857250 h 4496940"/>
                    <a:gd name="connsiteX120" fmla="*/ 497227 w 4519987"/>
                    <a:gd name="connsiteY120" fmla="*/ 828675 h 4496940"/>
                    <a:gd name="connsiteX121" fmla="*/ 535327 w 4519987"/>
                    <a:gd name="connsiteY121" fmla="*/ 800100 h 4496940"/>
                    <a:gd name="connsiteX122" fmla="*/ 602002 w 4519987"/>
                    <a:gd name="connsiteY122" fmla="*/ 733425 h 4496940"/>
                    <a:gd name="connsiteX123" fmla="*/ 668677 w 4519987"/>
                    <a:gd name="connsiteY123" fmla="*/ 676275 h 4496940"/>
                    <a:gd name="connsiteX124" fmla="*/ 697252 w 4519987"/>
                    <a:gd name="connsiteY124" fmla="*/ 657225 h 4496940"/>
                    <a:gd name="connsiteX125" fmla="*/ 840127 w 4519987"/>
                    <a:gd name="connsiteY125" fmla="*/ 533400 h 4496940"/>
                    <a:gd name="connsiteX126" fmla="*/ 887752 w 4519987"/>
                    <a:gd name="connsiteY126" fmla="*/ 504825 h 4496940"/>
                    <a:gd name="connsiteX127" fmla="*/ 1167152 w 4519987"/>
                    <a:gd name="connsiteY127" fmla="*/ 311150 h 4496940"/>
                    <a:gd name="connsiteX128" fmla="*/ 1268752 w 4519987"/>
                    <a:gd name="connsiteY128" fmla="*/ 285750 h 4496940"/>
                    <a:gd name="connsiteX129" fmla="*/ 1411627 w 4519987"/>
                    <a:gd name="connsiteY129" fmla="*/ 190500 h 4496940"/>
                    <a:gd name="connsiteX130" fmla="*/ 1449727 w 4519987"/>
                    <a:gd name="connsiteY130" fmla="*/ 161925 h 4496940"/>
                    <a:gd name="connsiteX131" fmla="*/ 1525927 w 4519987"/>
                    <a:gd name="connsiteY131" fmla="*/ 152400 h 4496940"/>
                    <a:gd name="connsiteX132" fmla="*/ 1583077 w 4519987"/>
                    <a:gd name="connsiteY132" fmla="*/ 142875 h 4496940"/>
                    <a:gd name="connsiteX133" fmla="*/ 1716427 w 4519987"/>
                    <a:gd name="connsiteY133" fmla="*/ 123825 h 4496940"/>
                    <a:gd name="connsiteX134" fmla="*/ 1811677 w 4519987"/>
                    <a:gd name="connsiteY134" fmla="*/ 114300 h 4496940"/>
                    <a:gd name="connsiteX135" fmla="*/ 1859302 w 4519987"/>
                    <a:gd name="connsiteY135" fmla="*/ 104775 h 4496940"/>
                    <a:gd name="connsiteX136" fmla="*/ 1916452 w 4519987"/>
                    <a:gd name="connsiteY136" fmla="*/ 95250 h 4496940"/>
                    <a:gd name="connsiteX137" fmla="*/ 2030752 w 4519987"/>
                    <a:gd name="connsiteY137" fmla="*/ 66675 h 4496940"/>
                    <a:gd name="connsiteX138" fmla="*/ 2097427 w 4519987"/>
                    <a:gd name="connsiteY138" fmla="*/ 47625 h 4496940"/>
                    <a:gd name="connsiteX139" fmla="*/ 2164102 w 4519987"/>
                    <a:gd name="connsiteY139" fmla="*/ 38100 h 4496940"/>
                    <a:gd name="connsiteX140" fmla="*/ 2392702 w 4519987"/>
                    <a:gd name="connsiteY14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183402 w 4519987"/>
                    <a:gd name="connsiteY34" fmla="*/ 3400425 h 4496940"/>
                    <a:gd name="connsiteX35" fmla="*/ 4088152 w 4519987"/>
                    <a:gd name="connsiteY35" fmla="*/ 3495675 h 4496940"/>
                    <a:gd name="connsiteX36" fmla="*/ 4059577 w 4519987"/>
                    <a:gd name="connsiteY36" fmla="*/ 3533775 h 4496940"/>
                    <a:gd name="connsiteX37" fmla="*/ 4002427 w 4519987"/>
                    <a:gd name="connsiteY37" fmla="*/ 3600450 h 4496940"/>
                    <a:gd name="connsiteX38" fmla="*/ 3983377 w 4519987"/>
                    <a:gd name="connsiteY38" fmla="*/ 3629025 h 4496940"/>
                    <a:gd name="connsiteX39" fmla="*/ 3954802 w 4519987"/>
                    <a:gd name="connsiteY39" fmla="*/ 3648075 h 4496940"/>
                    <a:gd name="connsiteX40" fmla="*/ 3907177 w 4519987"/>
                    <a:gd name="connsiteY40" fmla="*/ 3686175 h 4496940"/>
                    <a:gd name="connsiteX41" fmla="*/ 3869077 w 4519987"/>
                    <a:gd name="connsiteY41" fmla="*/ 3724275 h 4496940"/>
                    <a:gd name="connsiteX42" fmla="*/ 3792877 w 4519987"/>
                    <a:gd name="connsiteY42" fmla="*/ 3781425 h 4496940"/>
                    <a:gd name="connsiteX43" fmla="*/ 3783352 w 4519987"/>
                    <a:gd name="connsiteY43" fmla="*/ 3810000 h 4496940"/>
                    <a:gd name="connsiteX44" fmla="*/ 3745252 w 4519987"/>
                    <a:gd name="connsiteY44" fmla="*/ 3819525 h 4496940"/>
                    <a:gd name="connsiteX45" fmla="*/ 3678577 w 4519987"/>
                    <a:gd name="connsiteY45" fmla="*/ 3848100 h 4496940"/>
                    <a:gd name="connsiteX46" fmla="*/ 3659527 w 4519987"/>
                    <a:gd name="connsiteY46" fmla="*/ 3971925 h 4496940"/>
                    <a:gd name="connsiteX47" fmla="*/ 3630952 w 4519987"/>
                    <a:gd name="connsiteY47" fmla="*/ 4010025 h 4496940"/>
                    <a:gd name="connsiteX48" fmla="*/ 3621427 w 4519987"/>
                    <a:gd name="connsiteY48" fmla="*/ 4038600 h 4496940"/>
                    <a:gd name="connsiteX49" fmla="*/ 3554752 w 4519987"/>
                    <a:gd name="connsiteY49" fmla="*/ 4095750 h 4496940"/>
                    <a:gd name="connsiteX50" fmla="*/ 3516652 w 4519987"/>
                    <a:gd name="connsiteY50" fmla="*/ 4114800 h 4496940"/>
                    <a:gd name="connsiteX51" fmla="*/ 3497602 w 4519987"/>
                    <a:gd name="connsiteY51" fmla="*/ 4143375 h 4496940"/>
                    <a:gd name="connsiteX52" fmla="*/ 3383302 w 4519987"/>
                    <a:gd name="connsiteY52" fmla="*/ 4210050 h 4496940"/>
                    <a:gd name="connsiteX53" fmla="*/ 3335677 w 4519987"/>
                    <a:gd name="connsiteY53" fmla="*/ 4238625 h 4496940"/>
                    <a:gd name="connsiteX54" fmla="*/ 3288052 w 4519987"/>
                    <a:gd name="connsiteY54" fmla="*/ 4248150 h 4496940"/>
                    <a:gd name="connsiteX55" fmla="*/ 3240427 w 4519987"/>
                    <a:gd name="connsiteY55" fmla="*/ 4267200 h 4496940"/>
                    <a:gd name="connsiteX56" fmla="*/ 3068977 w 4519987"/>
                    <a:gd name="connsiteY56" fmla="*/ 4286250 h 4496940"/>
                    <a:gd name="connsiteX57" fmla="*/ 2935627 w 4519987"/>
                    <a:gd name="connsiteY57" fmla="*/ 4333875 h 4496940"/>
                    <a:gd name="connsiteX58" fmla="*/ 2811802 w 4519987"/>
                    <a:gd name="connsiteY58" fmla="*/ 4371975 h 4496940"/>
                    <a:gd name="connsiteX59" fmla="*/ 2745127 w 4519987"/>
                    <a:gd name="connsiteY59" fmla="*/ 4410075 h 4496940"/>
                    <a:gd name="connsiteX60" fmla="*/ 2697502 w 4519987"/>
                    <a:gd name="connsiteY60" fmla="*/ 4429125 h 4496940"/>
                    <a:gd name="connsiteX61" fmla="*/ 2640352 w 4519987"/>
                    <a:gd name="connsiteY61" fmla="*/ 4457700 h 4496940"/>
                    <a:gd name="connsiteX62" fmla="*/ 2583202 w 4519987"/>
                    <a:gd name="connsiteY62" fmla="*/ 4467225 h 4496940"/>
                    <a:gd name="connsiteX63" fmla="*/ 2545102 w 4519987"/>
                    <a:gd name="connsiteY63" fmla="*/ 4486275 h 4496940"/>
                    <a:gd name="connsiteX64" fmla="*/ 2306977 w 4519987"/>
                    <a:gd name="connsiteY64" fmla="*/ 4476750 h 4496940"/>
                    <a:gd name="connsiteX65" fmla="*/ 2202202 w 4519987"/>
                    <a:gd name="connsiteY65" fmla="*/ 4457700 h 4496940"/>
                    <a:gd name="connsiteX66" fmla="*/ 2126002 w 4519987"/>
                    <a:gd name="connsiteY66" fmla="*/ 4429125 h 4496940"/>
                    <a:gd name="connsiteX67" fmla="*/ 1935502 w 4519987"/>
                    <a:gd name="connsiteY67" fmla="*/ 4400550 h 4496940"/>
                    <a:gd name="connsiteX68" fmla="*/ 1821202 w 4519987"/>
                    <a:gd name="connsiteY68" fmla="*/ 4371975 h 4496940"/>
                    <a:gd name="connsiteX69" fmla="*/ 1754527 w 4519987"/>
                    <a:gd name="connsiteY69" fmla="*/ 4352925 h 4496940"/>
                    <a:gd name="connsiteX70" fmla="*/ 1687852 w 4519987"/>
                    <a:gd name="connsiteY70" fmla="*/ 4343400 h 4496940"/>
                    <a:gd name="connsiteX71" fmla="*/ 1573552 w 4519987"/>
                    <a:gd name="connsiteY71" fmla="*/ 4305300 h 4496940"/>
                    <a:gd name="connsiteX72" fmla="*/ 1402102 w 4519987"/>
                    <a:gd name="connsiteY72" fmla="*/ 4276725 h 4496940"/>
                    <a:gd name="connsiteX73" fmla="*/ 1287802 w 4519987"/>
                    <a:gd name="connsiteY73" fmla="*/ 4229100 h 4496940"/>
                    <a:gd name="connsiteX74" fmla="*/ 1221127 w 4519987"/>
                    <a:gd name="connsiteY74" fmla="*/ 4200525 h 4496940"/>
                    <a:gd name="connsiteX75" fmla="*/ 1144927 w 4519987"/>
                    <a:gd name="connsiteY75" fmla="*/ 4171950 h 4496940"/>
                    <a:gd name="connsiteX76" fmla="*/ 1087777 w 4519987"/>
                    <a:gd name="connsiteY76" fmla="*/ 4143375 h 4496940"/>
                    <a:gd name="connsiteX77" fmla="*/ 1030627 w 4519987"/>
                    <a:gd name="connsiteY77" fmla="*/ 4124325 h 4496940"/>
                    <a:gd name="connsiteX78" fmla="*/ 925852 w 4519987"/>
                    <a:gd name="connsiteY78" fmla="*/ 4067175 h 4496940"/>
                    <a:gd name="connsiteX79" fmla="*/ 830602 w 4519987"/>
                    <a:gd name="connsiteY79" fmla="*/ 3981450 h 4496940"/>
                    <a:gd name="connsiteX80" fmla="*/ 763927 w 4519987"/>
                    <a:gd name="connsiteY80" fmla="*/ 3914775 h 4496940"/>
                    <a:gd name="connsiteX81" fmla="*/ 725827 w 4519987"/>
                    <a:gd name="connsiteY81" fmla="*/ 3876675 h 4496940"/>
                    <a:gd name="connsiteX82" fmla="*/ 697252 w 4519987"/>
                    <a:gd name="connsiteY82" fmla="*/ 3838575 h 4496940"/>
                    <a:gd name="connsiteX83" fmla="*/ 640102 w 4519987"/>
                    <a:gd name="connsiteY83" fmla="*/ 3781425 h 4496940"/>
                    <a:gd name="connsiteX84" fmla="*/ 611527 w 4519987"/>
                    <a:gd name="connsiteY84" fmla="*/ 3733800 h 4496940"/>
                    <a:gd name="connsiteX85" fmla="*/ 554377 w 4519987"/>
                    <a:gd name="connsiteY85" fmla="*/ 3657600 h 4496940"/>
                    <a:gd name="connsiteX86" fmla="*/ 525802 w 4519987"/>
                    <a:gd name="connsiteY86" fmla="*/ 3609975 h 4496940"/>
                    <a:gd name="connsiteX87" fmla="*/ 497227 w 4519987"/>
                    <a:gd name="connsiteY87" fmla="*/ 3552825 h 4496940"/>
                    <a:gd name="connsiteX88" fmla="*/ 440077 w 4519987"/>
                    <a:gd name="connsiteY88" fmla="*/ 3495675 h 4496940"/>
                    <a:gd name="connsiteX89" fmla="*/ 411502 w 4519987"/>
                    <a:gd name="connsiteY89" fmla="*/ 3448050 h 4496940"/>
                    <a:gd name="connsiteX90" fmla="*/ 278152 w 4519987"/>
                    <a:gd name="connsiteY90" fmla="*/ 3257550 h 4496940"/>
                    <a:gd name="connsiteX91" fmla="*/ 249577 w 4519987"/>
                    <a:gd name="connsiteY91" fmla="*/ 3200400 h 4496940"/>
                    <a:gd name="connsiteX92" fmla="*/ 240052 w 4519987"/>
                    <a:gd name="connsiteY92" fmla="*/ 3162300 h 4496940"/>
                    <a:gd name="connsiteX93" fmla="*/ 221002 w 4519987"/>
                    <a:gd name="connsiteY93" fmla="*/ 3105150 h 4496940"/>
                    <a:gd name="connsiteX94" fmla="*/ 173377 w 4519987"/>
                    <a:gd name="connsiteY94" fmla="*/ 3019425 h 4496940"/>
                    <a:gd name="connsiteX95" fmla="*/ 144802 w 4519987"/>
                    <a:gd name="connsiteY95" fmla="*/ 2924175 h 4496940"/>
                    <a:gd name="connsiteX96" fmla="*/ 68602 w 4519987"/>
                    <a:gd name="connsiteY96" fmla="*/ 2724150 h 4496940"/>
                    <a:gd name="connsiteX97" fmla="*/ 49552 w 4519987"/>
                    <a:gd name="connsiteY97" fmla="*/ 2638425 h 4496940"/>
                    <a:gd name="connsiteX98" fmla="*/ 40027 w 4519987"/>
                    <a:gd name="connsiteY98" fmla="*/ 2562225 h 4496940"/>
                    <a:gd name="connsiteX99" fmla="*/ 30502 w 4519987"/>
                    <a:gd name="connsiteY99" fmla="*/ 2514600 h 4496940"/>
                    <a:gd name="connsiteX100" fmla="*/ 11452 w 4519987"/>
                    <a:gd name="connsiteY100" fmla="*/ 2400300 h 4496940"/>
                    <a:gd name="connsiteX101" fmla="*/ 20977 w 4519987"/>
                    <a:gd name="connsiteY101" fmla="*/ 1905000 h 4496940"/>
                    <a:gd name="connsiteX102" fmla="*/ 30502 w 4519987"/>
                    <a:gd name="connsiteY102" fmla="*/ 1838325 h 4496940"/>
                    <a:gd name="connsiteX103" fmla="*/ 49552 w 4519987"/>
                    <a:gd name="connsiteY103" fmla="*/ 1781175 h 4496940"/>
                    <a:gd name="connsiteX104" fmla="*/ 59077 w 4519987"/>
                    <a:gd name="connsiteY104" fmla="*/ 1743075 h 4496940"/>
                    <a:gd name="connsiteX105" fmla="*/ 78127 w 4519987"/>
                    <a:gd name="connsiteY105" fmla="*/ 1685925 h 4496940"/>
                    <a:gd name="connsiteX106" fmla="*/ 87652 w 4519987"/>
                    <a:gd name="connsiteY106" fmla="*/ 1638300 h 4496940"/>
                    <a:gd name="connsiteX107" fmla="*/ 106702 w 4519987"/>
                    <a:gd name="connsiteY107" fmla="*/ 1590675 h 4496940"/>
                    <a:gd name="connsiteX108" fmla="*/ 135277 w 4519987"/>
                    <a:gd name="connsiteY108" fmla="*/ 1504950 h 4496940"/>
                    <a:gd name="connsiteX109" fmla="*/ 154327 w 4519987"/>
                    <a:gd name="connsiteY109" fmla="*/ 1419225 h 4496940"/>
                    <a:gd name="connsiteX110" fmla="*/ 230527 w 4519987"/>
                    <a:gd name="connsiteY110" fmla="*/ 1276350 h 4496940"/>
                    <a:gd name="connsiteX111" fmla="*/ 240052 w 4519987"/>
                    <a:gd name="connsiteY111" fmla="*/ 1247775 h 4496940"/>
                    <a:gd name="connsiteX112" fmla="*/ 268627 w 4519987"/>
                    <a:gd name="connsiteY112" fmla="*/ 1200150 h 4496940"/>
                    <a:gd name="connsiteX113" fmla="*/ 287677 w 4519987"/>
                    <a:gd name="connsiteY113" fmla="*/ 1152525 h 4496940"/>
                    <a:gd name="connsiteX114" fmla="*/ 316252 w 4519987"/>
                    <a:gd name="connsiteY114" fmla="*/ 1114425 h 4496940"/>
                    <a:gd name="connsiteX115" fmla="*/ 363877 w 4519987"/>
                    <a:gd name="connsiteY115" fmla="*/ 1038225 h 4496940"/>
                    <a:gd name="connsiteX116" fmla="*/ 382927 w 4519987"/>
                    <a:gd name="connsiteY116" fmla="*/ 1009650 h 4496940"/>
                    <a:gd name="connsiteX117" fmla="*/ 440077 w 4519987"/>
                    <a:gd name="connsiteY117" fmla="*/ 904875 h 4496940"/>
                    <a:gd name="connsiteX118" fmla="*/ 478177 w 4519987"/>
                    <a:gd name="connsiteY118" fmla="*/ 857250 h 4496940"/>
                    <a:gd name="connsiteX119" fmla="*/ 497227 w 4519987"/>
                    <a:gd name="connsiteY119" fmla="*/ 828675 h 4496940"/>
                    <a:gd name="connsiteX120" fmla="*/ 535327 w 4519987"/>
                    <a:gd name="connsiteY120" fmla="*/ 800100 h 4496940"/>
                    <a:gd name="connsiteX121" fmla="*/ 602002 w 4519987"/>
                    <a:gd name="connsiteY121" fmla="*/ 733425 h 4496940"/>
                    <a:gd name="connsiteX122" fmla="*/ 668677 w 4519987"/>
                    <a:gd name="connsiteY122" fmla="*/ 676275 h 4496940"/>
                    <a:gd name="connsiteX123" fmla="*/ 697252 w 4519987"/>
                    <a:gd name="connsiteY123" fmla="*/ 657225 h 4496940"/>
                    <a:gd name="connsiteX124" fmla="*/ 840127 w 4519987"/>
                    <a:gd name="connsiteY124" fmla="*/ 533400 h 4496940"/>
                    <a:gd name="connsiteX125" fmla="*/ 887752 w 4519987"/>
                    <a:gd name="connsiteY125" fmla="*/ 504825 h 4496940"/>
                    <a:gd name="connsiteX126" fmla="*/ 1167152 w 4519987"/>
                    <a:gd name="connsiteY126" fmla="*/ 311150 h 4496940"/>
                    <a:gd name="connsiteX127" fmla="*/ 1268752 w 4519987"/>
                    <a:gd name="connsiteY127" fmla="*/ 285750 h 4496940"/>
                    <a:gd name="connsiteX128" fmla="*/ 1411627 w 4519987"/>
                    <a:gd name="connsiteY128" fmla="*/ 190500 h 4496940"/>
                    <a:gd name="connsiteX129" fmla="*/ 1449727 w 4519987"/>
                    <a:gd name="connsiteY129" fmla="*/ 161925 h 4496940"/>
                    <a:gd name="connsiteX130" fmla="*/ 1525927 w 4519987"/>
                    <a:gd name="connsiteY130" fmla="*/ 152400 h 4496940"/>
                    <a:gd name="connsiteX131" fmla="*/ 1583077 w 4519987"/>
                    <a:gd name="connsiteY131" fmla="*/ 142875 h 4496940"/>
                    <a:gd name="connsiteX132" fmla="*/ 1716427 w 4519987"/>
                    <a:gd name="connsiteY132" fmla="*/ 123825 h 4496940"/>
                    <a:gd name="connsiteX133" fmla="*/ 1811677 w 4519987"/>
                    <a:gd name="connsiteY133" fmla="*/ 114300 h 4496940"/>
                    <a:gd name="connsiteX134" fmla="*/ 1859302 w 4519987"/>
                    <a:gd name="connsiteY134" fmla="*/ 104775 h 4496940"/>
                    <a:gd name="connsiteX135" fmla="*/ 1916452 w 4519987"/>
                    <a:gd name="connsiteY135" fmla="*/ 95250 h 4496940"/>
                    <a:gd name="connsiteX136" fmla="*/ 2030752 w 4519987"/>
                    <a:gd name="connsiteY136" fmla="*/ 66675 h 4496940"/>
                    <a:gd name="connsiteX137" fmla="*/ 2097427 w 4519987"/>
                    <a:gd name="connsiteY137" fmla="*/ 47625 h 4496940"/>
                    <a:gd name="connsiteX138" fmla="*/ 2164102 w 4519987"/>
                    <a:gd name="connsiteY138" fmla="*/ 38100 h 4496940"/>
                    <a:gd name="connsiteX139" fmla="*/ 2392702 w 4519987"/>
                    <a:gd name="connsiteY13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83377 w 4519987"/>
                    <a:gd name="connsiteY37" fmla="*/ 3629025 h 4496940"/>
                    <a:gd name="connsiteX38" fmla="*/ 3954802 w 4519987"/>
                    <a:gd name="connsiteY38" fmla="*/ 3648075 h 4496940"/>
                    <a:gd name="connsiteX39" fmla="*/ 3907177 w 4519987"/>
                    <a:gd name="connsiteY39" fmla="*/ 3686175 h 4496940"/>
                    <a:gd name="connsiteX40" fmla="*/ 3869077 w 4519987"/>
                    <a:gd name="connsiteY40" fmla="*/ 3724275 h 4496940"/>
                    <a:gd name="connsiteX41" fmla="*/ 3792877 w 4519987"/>
                    <a:gd name="connsiteY41" fmla="*/ 3781425 h 4496940"/>
                    <a:gd name="connsiteX42" fmla="*/ 3783352 w 4519987"/>
                    <a:gd name="connsiteY42" fmla="*/ 3810000 h 4496940"/>
                    <a:gd name="connsiteX43" fmla="*/ 3745252 w 4519987"/>
                    <a:gd name="connsiteY43" fmla="*/ 3819525 h 4496940"/>
                    <a:gd name="connsiteX44" fmla="*/ 3678577 w 4519987"/>
                    <a:gd name="connsiteY44" fmla="*/ 3848100 h 4496940"/>
                    <a:gd name="connsiteX45" fmla="*/ 3659527 w 4519987"/>
                    <a:gd name="connsiteY45" fmla="*/ 3971925 h 4496940"/>
                    <a:gd name="connsiteX46" fmla="*/ 3630952 w 4519987"/>
                    <a:gd name="connsiteY46" fmla="*/ 4010025 h 4496940"/>
                    <a:gd name="connsiteX47" fmla="*/ 3621427 w 4519987"/>
                    <a:gd name="connsiteY47" fmla="*/ 4038600 h 4496940"/>
                    <a:gd name="connsiteX48" fmla="*/ 3554752 w 4519987"/>
                    <a:gd name="connsiteY48" fmla="*/ 4095750 h 4496940"/>
                    <a:gd name="connsiteX49" fmla="*/ 3516652 w 4519987"/>
                    <a:gd name="connsiteY49" fmla="*/ 4114800 h 4496940"/>
                    <a:gd name="connsiteX50" fmla="*/ 3497602 w 4519987"/>
                    <a:gd name="connsiteY50" fmla="*/ 4143375 h 4496940"/>
                    <a:gd name="connsiteX51" fmla="*/ 3383302 w 4519987"/>
                    <a:gd name="connsiteY51" fmla="*/ 4210050 h 4496940"/>
                    <a:gd name="connsiteX52" fmla="*/ 3335677 w 4519987"/>
                    <a:gd name="connsiteY52" fmla="*/ 4238625 h 4496940"/>
                    <a:gd name="connsiteX53" fmla="*/ 3288052 w 4519987"/>
                    <a:gd name="connsiteY53" fmla="*/ 4248150 h 4496940"/>
                    <a:gd name="connsiteX54" fmla="*/ 3240427 w 4519987"/>
                    <a:gd name="connsiteY54" fmla="*/ 4267200 h 4496940"/>
                    <a:gd name="connsiteX55" fmla="*/ 3068977 w 4519987"/>
                    <a:gd name="connsiteY55" fmla="*/ 4286250 h 4496940"/>
                    <a:gd name="connsiteX56" fmla="*/ 2935627 w 4519987"/>
                    <a:gd name="connsiteY56" fmla="*/ 4333875 h 4496940"/>
                    <a:gd name="connsiteX57" fmla="*/ 2811802 w 4519987"/>
                    <a:gd name="connsiteY57" fmla="*/ 4371975 h 4496940"/>
                    <a:gd name="connsiteX58" fmla="*/ 2745127 w 4519987"/>
                    <a:gd name="connsiteY58" fmla="*/ 4410075 h 4496940"/>
                    <a:gd name="connsiteX59" fmla="*/ 2697502 w 4519987"/>
                    <a:gd name="connsiteY59" fmla="*/ 4429125 h 4496940"/>
                    <a:gd name="connsiteX60" fmla="*/ 2640352 w 4519987"/>
                    <a:gd name="connsiteY60" fmla="*/ 4457700 h 4496940"/>
                    <a:gd name="connsiteX61" fmla="*/ 2583202 w 4519987"/>
                    <a:gd name="connsiteY61" fmla="*/ 4467225 h 4496940"/>
                    <a:gd name="connsiteX62" fmla="*/ 2545102 w 4519987"/>
                    <a:gd name="connsiteY62" fmla="*/ 4486275 h 4496940"/>
                    <a:gd name="connsiteX63" fmla="*/ 2306977 w 4519987"/>
                    <a:gd name="connsiteY63" fmla="*/ 4476750 h 4496940"/>
                    <a:gd name="connsiteX64" fmla="*/ 2202202 w 4519987"/>
                    <a:gd name="connsiteY64" fmla="*/ 4457700 h 4496940"/>
                    <a:gd name="connsiteX65" fmla="*/ 2126002 w 4519987"/>
                    <a:gd name="connsiteY65" fmla="*/ 4429125 h 4496940"/>
                    <a:gd name="connsiteX66" fmla="*/ 1935502 w 4519987"/>
                    <a:gd name="connsiteY66" fmla="*/ 4400550 h 4496940"/>
                    <a:gd name="connsiteX67" fmla="*/ 1821202 w 4519987"/>
                    <a:gd name="connsiteY67" fmla="*/ 4371975 h 4496940"/>
                    <a:gd name="connsiteX68" fmla="*/ 1754527 w 4519987"/>
                    <a:gd name="connsiteY68" fmla="*/ 4352925 h 4496940"/>
                    <a:gd name="connsiteX69" fmla="*/ 1687852 w 4519987"/>
                    <a:gd name="connsiteY69" fmla="*/ 4343400 h 4496940"/>
                    <a:gd name="connsiteX70" fmla="*/ 1573552 w 4519987"/>
                    <a:gd name="connsiteY70" fmla="*/ 4305300 h 4496940"/>
                    <a:gd name="connsiteX71" fmla="*/ 1402102 w 4519987"/>
                    <a:gd name="connsiteY71" fmla="*/ 4276725 h 4496940"/>
                    <a:gd name="connsiteX72" fmla="*/ 1287802 w 4519987"/>
                    <a:gd name="connsiteY72" fmla="*/ 4229100 h 4496940"/>
                    <a:gd name="connsiteX73" fmla="*/ 1221127 w 4519987"/>
                    <a:gd name="connsiteY73" fmla="*/ 4200525 h 4496940"/>
                    <a:gd name="connsiteX74" fmla="*/ 1144927 w 4519987"/>
                    <a:gd name="connsiteY74" fmla="*/ 4171950 h 4496940"/>
                    <a:gd name="connsiteX75" fmla="*/ 1087777 w 4519987"/>
                    <a:gd name="connsiteY75" fmla="*/ 4143375 h 4496940"/>
                    <a:gd name="connsiteX76" fmla="*/ 1030627 w 4519987"/>
                    <a:gd name="connsiteY76" fmla="*/ 4124325 h 4496940"/>
                    <a:gd name="connsiteX77" fmla="*/ 925852 w 4519987"/>
                    <a:gd name="connsiteY77" fmla="*/ 4067175 h 4496940"/>
                    <a:gd name="connsiteX78" fmla="*/ 830602 w 4519987"/>
                    <a:gd name="connsiteY78" fmla="*/ 3981450 h 4496940"/>
                    <a:gd name="connsiteX79" fmla="*/ 763927 w 4519987"/>
                    <a:gd name="connsiteY79" fmla="*/ 3914775 h 4496940"/>
                    <a:gd name="connsiteX80" fmla="*/ 725827 w 4519987"/>
                    <a:gd name="connsiteY80" fmla="*/ 3876675 h 4496940"/>
                    <a:gd name="connsiteX81" fmla="*/ 697252 w 4519987"/>
                    <a:gd name="connsiteY81" fmla="*/ 3838575 h 4496940"/>
                    <a:gd name="connsiteX82" fmla="*/ 640102 w 4519987"/>
                    <a:gd name="connsiteY82" fmla="*/ 3781425 h 4496940"/>
                    <a:gd name="connsiteX83" fmla="*/ 611527 w 4519987"/>
                    <a:gd name="connsiteY83" fmla="*/ 3733800 h 4496940"/>
                    <a:gd name="connsiteX84" fmla="*/ 554377 w 4519987"/>
                    <a:gd name="connsiteY84" fmla="*/ 3657600 h 4496940"/>
                    <a:gd name="connsiteX85" fmla="*/ 525802 w 4519987"/>
                    <a:gd name="connsiteY85" fmla="*/ 3609975 h 4496940"/>
                    <a:gd name="connsiteX86" fmla="*/ 497227 w 4519987"/>
                    <a:gd name="connsiteY86" fmla="*/ 3552825 h 4496940"/>
                    <a:gd name="connsiteX87" fmla="*/ 440077 w 4519987"/>
                    <a:gd name="connsiteY87" fmla="*/ 3495675 h 4496940"/>
                    <a:gd name="connsiteX88" fmla="*/ 411502 w 4519987"/>
                    <a:gd name="connsiteY88" fmla="*/ 3448050 h 4496940"/>
                    <a:gd name="connsiteX89" fmla="*/ 278152 w 4519987"/>
                    <a:gd name="connsiteY89" fmla="*/ 3257550 h 4496940"/>
                    <a:gd name="connsiteX90" fmla="*/ 249577 w 4519987"/>
                    <a:gd name="connsiteY90" fmla="*/ 3200400 h 4496940"/>
                    <a:gd name="connsiteX91" fmla="*/ 240052 w 4519987"/>
                    <a:gd name="connsiteY91" fmla="*/ 3162300 h 4496940"/>
                    <a:gd name="connsiteX92" fmla="*/ 221002 w 4519987"/>
                    <a:gd name="connsiteY92" fmla="*/ 3105150 h 4496940"/>
                    <a:gd name="connsiteX93" fmla="*/ 173377 w 4519987"/>
                    <a:gd name="connsiteY93" fmla="*/ 3019425 h 4496940"/>
                    <a:gd name="connsiteX94" fmla="*/ 144802 w 4519987"/>
                    <a:gd name="connsiteY94" fmla="*/ 2924175 h 4496940"/>
                    <a:gd name="connsiteX95" fmla="*/ 68602 w 4519987"/>
                    <a:gd name="connsiteY95" fmla="*/ 2724150 h 4496940"/>
                    <a:gd name="connsiteX96" fmla="*/ 49552 w 4519987"/>
                    <a:gd name="connsiteY96" fmla="*/ 2638425 h 4496940"/>
                    <a:gd name="connsiteX97" fmla="*/ 40027 w 4519987"/>
                    <a:gd name="connsiteY97" fmla="*/ 2562225 h 4496940"/>
                    <a:gd name="connsiteX98" fmla="*/ 30502 w 4519987"/>
                    <a:gd name="connsiteY98" fmla="*/ 2514600 h 4496940"/>
                    <a:gd name="connsiteX99" fmla="*/ 11452 w 4519987"/>
                    <a:gd name="connsiteY99" fmla="*/ 2400300 h 4496940"/>
                    <a:gd name="connsiteX100" fmla="*/ 20977 w 4519987"/>
                    <a:gd name="connsiteY100" fmla="*/ 1905000 h 4496940"/>
                    <a:gd name="connsiteX101" fmla="*/ 30502 w 4519987"/>
                    <a:gd name="connsiteY101" fmla="*/ 1838325 h 4496940"/>
                    <a:gd name="connsiteX102" fmla="*/ 49552 w 4519987"/>
                    <a:gd name="connsiteY102" fmla="*/ 1781175 h 4496940"/>
                    <a:gd name="connsiteX103" fmla="*/ 59077 w 4519987"/>
                    <a:gd name="connsiteY103" fmla="*/ 1743075 h 4496940"/>
                    <a:gd name="connsiteX104" fmla="*/ 78127 w 4519987"/>
                    <a:gd name="connsiteY104" fmla="*/ 1685925 h 4496940"/>
                    <a:gd name="connsiteX105" fmla="*/ 87652 w 4519987"/>
                    <a:gd name="connsiteY105" fmla="*/ 1638300 h 4496940"/>
                    <a:gd name="connsiteX106" fmla="*/ 106702 w 4519987"/>
                    <a:gd name="connsiteY106" fmla="*/ 1590675 h 4496940"/>
                    <a:gd name="connsiteX107" fmla="*/ 135277 w 4519987"/>
                    <a:gd name="connsiteY107" fmla="*/ 1504950 h 4496940"/>
                    <a:gd name="connsiteX108" fmla="*/ 154327 w 4519987"/>
                    <a:gd name="connsiteY108" fmla="*/ 1419225 h 4496940"/>
                    <a:gd name="connsiteX109" fmla="*/ 230527 w 4519987"/>
                    <a:gd name="connsiteY109" fmla="*/ 1276350 h 4496940"/>
                    <a:gd name="connsiteX110" fmla="*/ 240052 w 4519987"/>
                    <a:gd name="connsiteY110" fmla="*/ 1247775 h 4496940"/>
                    <a:gd name="connsiteX111" fmla="*/ 268627 w 4519987"/>
                    <a:gd name="connsiteY111" fmla="*/ 1200150 h 4496940"/>
                    <a:gd name="connsiteX112" fmla="*/ 287677 w 4519987"/>
                    <a:gd name="connsiteY112" fmla="*/ 1152525 h 4496940"/>
                    <a:gd name="connsiteX113" fmla="*/ 316252 w 4519987"/>
                    <a:gd name="connsiteY113" fmla="*/ 1114425 h 4496940"/>
                    <a:gd name="connsiteX114" fmla="*/ 363877 w 4519987"/>
                    <a:gd name="connsiteY114" fmla="*/ 1038225 h 4496940"/>
                    <a:gd name="connsiteX115" fmla="*/ 382927 w 4519987"/>
                    <a:gd name="connsiteY115" fmla="*/ 1009650 h 4496940"/>
                    <a:gd name="connsiteX116" fmla="*/ 440077 w 4519987"/>
                    <a:gd name="connsiteY116" fmla="*/ 904875 h 4496940"/>
                    <a:gd name="connsiteX117" fmla="*/ 478177 w 4519987"/>
                    <a:gd name="connsiteY117" fmla="*/ 857250 h 4496940"/>
                    <a:gd name="connsiteX118" fmla="*/ 497227 w 4519987"/>
                    <a:gd name="connsiteY118" fmla="*/ 828675 h 4496940"/>
                    <a:gd name="connsiteX119" fmla="*/ 535327 w 4519987"/>
                    <a:gd name="connsiteY119" fmla="*/ 800100 h 4496940"/>
                    <a:gd name="connsiteX120" fmla="*/ 602002 w 4519987"/>
                    <a:gd name="connsiteY120" fmla="*/ 733425 h 4496940"/>
                    <a:gd name="connsiteX121" fmla="*/ 668677 w 4519987"/>
                    <a:gd name="connsiteY121" fmla="*/ 676275 h 4496940"/>
                    <a:gd name="connsiteX122" fmla="*/ 697252 w 4519987"/>
                    <a:gd name="connsiteY122" fmla="*/ 657225 h 4496940"/>
                    <a:gd name="connsiteX123" fmla="*/ 840127 w 4519987"/>
                    <a:gd name="connsiteY123" fmla="*/ 533400 h 4496940"/>
                    <a:gd name="connsiteX124" fmla="*/ 887752 w 4519987"/>
                    <a:gd name="connsiteY124" fmla="*/ 504825 h 4496940"/>
                    <a:gd name="connsiteX125" fmla="*/ 1167152 w 4519987"/>
                    <a:gd name="connsiteY125" fmla="*/ 311150 h 4496940"/>
                    <a:gd name="connsiteX126" fmla="*/ 1268752 w 4519987"/>
                    <a:gd name="connsiteY126" fmla="*/ 285750 h 4496940"/>
                    <a:gd name="connsiteX127" fmla="*/ 1411627 w 4519987"/>
                    <a:gd name="connsiteY127" fmla="*/ 190500 h 4496940"/>
                    <a:gd name="connsiteX128" fmla="*/ 1449727 w 4519987"/>
                    <a:gd name="connsiteY128" fmla="*/ 161925 h 4496940"/>
                    <a:gd name="connsiteX129" fmla="*/ 1525927 w 4519987"/>
                    <a:gd name="connsiteY129" fmla="*/ 152400 h 4496940"/>
                    <a:gd name="connsiteX130" fmla="*/ 1583077 w 4519987"/>
                    <a:gd name="connsiteY130" fmla="*/ 142875 h 4496940"/>
                    <a:gd name="connsiteX131" fmla="*/ 1716427 w 4519987"/>
                    <a:gd name="connsiteY131" fmla="*/ 123825 h 4496940"/>
                    <a:gd name="connsiteX132" fmla="*/ 1811677 w 4519987"/>
                    <a:gd name="connsiteY132" fmla="*/ 114300 h 4496940"/>
                    <a:gd name="connsiteX133" fmla="*/ 1859302 w 4519987"/>
                    <a:gd name="connsiteY133" fmla="*/ 104775 h 4496940"/>
                    <a:gd name="connsiteX134" fmla="*/ 1916452 w 4519987"/>
                    <a:gd name="connsiteY134" fmla="*/ 95250 h 4496940"/>
                    <a:gd name="connsiteX135" fmla="*/ 2030752 w 4519987"/>
                    <a:gd name="connsiteY135" fmla="*/ 66675 h 4496940"/>
                    <a:gd name="connsiteX136" fmla="*/ 2097427 w 4519987"/>
                    <a:gd name="connsiteY136" fmla="*/ 47625 h 4496940"/>
                    <a:gd name="connsiteX137" fmla="*/ 2164102 w 4519987"/>
                    <a:gd name="connsiteY137" fmla="*/ 38100 h 4496940"/>
                    <a:gd name="connsiteX138" fmla="*/ 2392702 w 4519987"/>
                    <a:gd name="connsiteY13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869077 w 4519987"/>
                    <a:gd name="connsiteY39" fmla="*/ 3724275 h 4496940"/>
                    <a:gd name="connsiteX40" fmla="*/ 3792877 w 4519987"/>
                    <a:gd name="connsiteY40" fmla="*/ 3781425 h 4496940"/>
                    <a:gd name="connsiteX41" fmla="*/ 3783352 w 4519987"/>
                    <a:gd name="connsiteY41" fmla="*/ 3810000 h 4496940"/>
                    <a:gd name="connsiteX42" fmla="*/ 3745252 w 4519987"/>
                    <a:gd name="connsiteY42" fmla="*/ 3819525 h 4496940"/>
                    <a:gd name="connsiteX43" fmla="*/ 3678577 w 4519987"/>
                    <a:gd name="connsiteY43" fmla="*/ 3848100 h 4496940"/>
                    <a:gd name="connsiteX44" fmla="*/ 3659527 w 4519987"/>
                    <a:gd name="connsiteY44" fmla="*/ 3971925 h 4496940"/>
                    <a:gd name="connsiteX45" fmla="*/ 3630952 w 4519987"/>
                    <a:gd name="connsiteY45" fmla="*/ 4010025 h 4496940"/>
                    <a:gd name="connsiteX46" fmla="*/ 3621427 w 4519987"/>
                    <a:gd name="connsiteY46" fmla="*/ 4038600 h 4496940"/>
                    <a:gd name="connsiteX47" fmla="*/ 3554752 w 4519987"/>
                    <a:gd name="connsiteY47" fmla="*/ 4095750 h 4496940"/>
                    <a:gd name="connsiteX48" fmla="*/ 3516652 w 4519987"/>
                    <a:gd name="connsiteY48" fmla="*/ 4114800 h 4496940"/>
                    <a:gd name="connsiteX49" fmla="*/ 3497602 w 4519987"/>
                    <a:gd name="connsiteY49" fmla="*/ 4143375 h 4496940"/>
                    <a:gd name="connsiteX50" fmla="*/ 3383302 w 4519987"/>
                    <a:gd name="connsiteY50" fmla="*/ 4210050 h 4496940"/>
                    <a:gd name="connsiteX51" fmla="*/ 3335677 w 4519987"/>
                    <a:gd name="connsiteY51" fmla="*/ 4238625 h 4496940"/>
                    <a:gd name="connsiteX52" fmla="*/ 3288052 w 4519987"/>
                    <a:gd name="connsiteY52" fmla="*/ 4248150 h 4496940"/>
                    <a:gd name="connsiteX53" fmla="*/ 3240427 w 4519987"/>
                    <a:gd name="connsiteY53" fmla="*/ 4267200 h 4496940"/>
                    <a:gd name="connsiteX54" fmla="*/ 3068977 w 4519987"/>
                    <a:gd name="connsiteY54" fmla="*/ 4286250 h 4496940"/>
                    <a:gd name="connsiteX55" fmla="*/ 2935627 w 4519987"/>
                    <a:gd name="connsiteY55" fmla="*/ 4333875 h 4496940"/>
                    <a:gd name="connsiteX56" fmla="*/ 2811802 w 4519987"/>
                    <a:gd name="connsiteY56" fmla="*/ 4371975 h 4496940"/>
                    <a:gd name="connsiteX57" fmla="*/ 2745127 w 4519987"/>
                    <a:gd name="connsiteY57" fmla="*/ 4410075 h 4496940"/>
                    <a:gd name="connsiteX58" fmla="*/ 2697502 w 4519987"/>
                    <a:gd name="connsiteY58" fmla="*/ 4429125 h 4496940"/>
                    <a:gd name="connsiteX59" fmla="*/ 2640352 w 4519987"/>
                    <a:gd name="connsiteY59" fmla="*/ 4457700 h 4496940"/>
                    <a:gd name="connsiteX60" fmla="*/ 2583202 w 4519987"/>
                    <a:gd name="connsiteY60" fmla="*/ 4467225 h 4496940"/>
                    <a:gd name="connsiteX61" fmla="*/ 2545102 w 4519987"/>
                    <a:gd name="connsiteY61" fmla="*/ 4486275 h 4496940"/>
                    <a:gd name="connsiteX62" fmla="*/ 2306977 w 4519987"/>
                    <a:gd name="connsiteY62" fmla="*/ 4476750 h 4496940"/>
                    <a:gd name="connsiteX63" fmla="*/ 2202202 w 4519987"/>
                    <a:gd name="connsiteY63" fmla="*/ 4457700 h 4496940"/>
                    <a:gd name="connsiteX64" fmla="*/ 2126002 w 4519987"/>
                    <a:gd name="connsiteY64" fmla="*/ 4429125 h 4496940"/>
                    <a:gd name="connsiteX65" fmla="*/ 1935502 w 4519987"/>
                    <a:gd name="connsiteY65" fmla="*/ 4400550 h 4496940"/>
                    <a:gd name="connsiteX66" fmla="*/ 1821202 w 4519987"/>
                    <a:gd name="connsiteY66" fmla="*/ 4371975 h 4496940"/>
                    <a:gd name="connsiteX67" fmla="*/ 1754527 w 4519987"/>
                    <a:gd name="connsiteY67" fmla="*/ 4352925 h 4496940"/>
                    <a:gd name="connsiteX68" fmla="*/ 1687852 w 4519987"/>
                    <a:gd name="connsiteY68" fmla="*/ 4343400 h 4496940"/>
                    <a:gd name="connsiteX69" fmla="*/ 1573552 w 4519987"/>
                    <a:gd name="connsiteY69" fmla="*/ 4305300 h 4496940"/>
                    <a:gd name="connsiteX70" fmla="*/ 1402102 w 4519987"/>
                    <a:gd name="connsiteY70" fmla="*/ 4276725 h 4496940"/>
                    <a:gd name="connsiteX71" fmla="*/ 1287802 w 4519987"/>
                    <a:gd name="connsiteY71" fmla="*/ 4229100 h 4496940"/>
                    <a:gd name="connsiteX72" fmla="*/ 1221127 w 4519987"/>
                    <a:gd name="connsiteY72" fmla="*/ 4200525 h 4496940"/>
                    <a:gd name="connsiteX73" fmla="*/ 1144927 w 4519987"/>
                    <a:gd name="connsiteY73" fmla="*/ 4171950 h 4496940"/>
                    <a:gd name="connsiteX74" fmla="*/ 1087777 w 4519987"/>
                    <a:gd name="connsiteY74" fmla="*/ 4143375 h 4496940"/>
                    <a:gd name="connsiteX75" fmla="*/ 1030627 w 4519987"/>
                    <a:gd name="connsiteY75" fmla="*/ 4124325 h 4496940"/>
                    <a:gd name="connsiteX76" fmla="*/ 925852 w 4519987"/>
                    <a:gd name="connsiteY76" fmla="*/ 4067175 h 4496940"/>
                    <a:gd name="connsiteX77" fmla="*/ 830602 w 4519987"/>
                    <a:gd name="connsiteY77" fmla="*/ 3981450 h 4496940"/>
                    <a:gd name="connsiteX78" fmla="*/ 763927 w 4519987"/>
                    <a:gd name="connsiteY78" fmla="*/ 3914775 h 4496940"/>
                    <a:gd name="connsiteX79" fmla="*/ 725827 w 4519987"/>
                    <a:gd name="connsiteY79" fmla="*/ 3876675 h 4496940"/>
                    <a:gd name="connsiteX80" fmla="*/ 697252 w 4519987"/>
                    <a:gd name="connsiteY80" fmla="*/ 3838575 h 4496940"/>
                    <a:gd name="connsiteX81" fmla="*/ 640102 w 4519987"/>
                    <a:gd name="connsiteY81" fmla="*/ 3781425 h 4496940"/>
                    <a:gd name="connsiteX82" fmla="*/ 611527 w 4519987"/>
                    <a:gd name="connsiteY82" fmla="*/ 3733800 h 4496940"/>
                    <a:gd name="connsiteX83" fmla="*/ 554377 w 4519987"/>
                    <a:gd name="connsiteY83" fmla="*/ 3657600 h 4496940"/>
                    <a:gd name="connsiteX84" fmla="*/ 525802 w 4519987"/>
                    <a:gd name="connsiteY84" fmla="*/ 3609975 h 4496940"/>
                    <a:gd name="connsiteX85" fmla="*/ 497227 w 4519987"/>
                    <a:gd name="connsiteY85" fmla="*/ 3552825 h 4496940"/>
                    <a:gd name="connsiteX86" fmla="*/ 440077 w 4519987"/>
                    <a:gd name="connsiteY86" fmla="*/ 3495675 h 4496940"/>
                    <a:gd name="connsiteX87" fmla="*/ 411502 w 4519987"/>
                    <a:gd name="connsiteY87" fmla="*/ 3448050 h 4496940"/>
                    <a:gd name="connsiteX88" fmla="*/ 278152 w 4519987"/>
                    <a:gd name="connsiteY88" fmla="*/ 3257550 h 4496940"/>
                    <a:gd name="connsiteX89" fmla="*/ 249577 w 4519987"/>
                    <a:gd name="connsiteY89" fmla="*/ 3200400 h 4496940"/>
                    <a:gd name="connsiteX90" fmla="*/ 240052 w 4519987"/>
                    <a:gd name="connsiteY90" fmla="*/ 3162300 h 4496940"/>
                    <a:gd name="connsiteX91" fmla="*/ 221002 w 4519987"/>
                    <a:gd name="connsiteY91" fmla="*/ 3105150 h 4496940"/>
                    <a:gd name="connsiteX92" fmla="*/ 173377 w 4519987"/>
                    <a:gd name="connsiteY92" fmla="*/ 3019425 h 4496940"/>
                    <a:gd name="connsiteX93" fmla="*/ 144802 w 4519987"/>
                    <a:gd name="connsiteY93" fmla="*/ 2924175 h 4496940"/>
                    <a:gd name="connsiteX94" fmla="*/ 68602 w 4519987"/>
                    <a:gd name="connsiteY94" fmla="*/ 2724150 h 4496940"/>
                    <a:gd name="connsiteX95" fmla="*/ 49552 w 4519987"/>
                    <a:gd name="connsiteY95" fmla="*/ 2638425 h 4496940"/>
                    <a:gd name="connsiteX96" fmla="*/ 40027 w 4519987"/>
                    <a:gd name="connsiteY96" fmla="*/ 2562225 h 4496940"/>
                    <a:gd name="connsiteX97" fmla="*/ 30502 w 4519987"/>
                    <a:gd name="connsiteY97" fmla="*/ 2514600 h 4496940"/>
                    <a:gd name="connsiteX98" fmla="*/ 11452 w 4519987"/>
                    <a:gd name="connsiteY98" fmla="*/ 2400300 h 4496940"/>
                    <a:gd name="connsiteX99" fmla="*/ 20977 w 4519987"/>
                    <a:gd name="connsiteY99" fmla="*/ 1905000 h 4496940"/>
                    <a:gd name="connsiteX100" fmla="*/ 30502 w 4519987"/>
                    <a:gd name="connsiteY100" fmla="*/ 1838325 h 4496940"/>
                    <a:gd name="connsiteX101" fmla="*/ 49552 w 4519987"/>
                    <a:gd name="connsiteY101" fmla="*/ 1781175 h 4496940"/>
                    <a:gd name="connsiteX102" fmla="*/ 59077 w 4519987"/>
                    <a:gd name="connsiteY102" fmla="*/ 1743075 h 4496940"/>
                    <a:gd name="connsiteX103" fmla="*/ 78127 w 4519987"/>
                    <a:gd name="connsiteY103" fmla="*/ 1685925 h 4496940"/>
                    <a:gd name="connsiteX104" fmla="*/ 87652 w 4519987"/>
                    <a:gd name="connsiteY104" fmla="*/ 1638300 h 4496940"/>
                    <a:gd name="connsiteX105" fmla="*/ 106702 w 4519987"/>
                    <a:gd name="connsiteY105" fmla="*/ 1590675 h 4496940"/>
                    <a:gd name="connsiteX106" fmla="*/ 135277 w 4519987"/>
                    <a:gd name="connsiteY106" fmla="*/ 1504950 h 4496940"/>
                    <a:gd name="connsiteX107" fmla="*/ 154327 w 4519987"/>
                    <a:gd name="connsiteY107" fmla="*/ 1419225 h 4496940"/>
                    <a:gd name="connsiteX108" fmla="*/ 230527 w 4519987"/>
                    <a:gd name="connsiteY108" fmla="*/ 1276350 h 4496940"/>
                    <a:gd name="connsiteX109" fmla="*/ 240052 w 4519987"/>
                    <a:gd name="connsiteY109" fmla="*/ 1247775 h 4496940"/>
                    <a:gd name="connsiteX110" fmla="*/ 268627 w 4519987"/>
                    <a:gd name="connsiteY110" fmla="*/ 1200150 h 4496940"/>
                    <a:gd name="connsiteX111" fmla="*/ 287677 w 4519987"/>
                    <a:gd name="connsiteY111" fmla="*/ 1152525 h 4496940"/>
                    <a:gd name="connsiteX112" fmla="*/ 316252 w 4519987"/>
                    <a:gd name="connsiteY112" fmla="*/ 1114425 h 4496940"/>
                    <a:gd name="connsiteX113" fmla="*/ 363877 w 4519987"/>
                    <a:gd name="connsiteY113" fmla="*/ 1038225 h 4496940"/>
                    <a:gd name="connsiteX114" fmla="*/ 382927 w 4519987"/>
                    <a:gd name="connsiteY114" fmla="*/ 1009650 h 4496940"/>
                    <a:gd name="connsiteX115" fmla="*/ 440077 w 4519987"/>
                    <a:gd name="connsiteY115" fmla="*/ 904875 h 4496940"/>
                    <a:gd name="connsiteX116" fmla="*/ 478177 w 4519987"/>
                    <a:gd name="connsiteY116" fmla="*/ 857250 h 4496940"/>
                    <a:gd name="connsiteX117" fmla="*/ 497227 w 4519987"/>
                    <a:gd name="connsiteY117" fmla="*/ 828675 h 4496940"/>
                    <a:gd name="connsiteX118" fmla="*/ 535327 w 4519987"/>
                    <a:gd name="connsiteY118" fmla="*/ 800100 h 4496940"/>
                    <a:gd name="connsiteX119" fmla="*/ 602002 w 4519987"/>
                    <a:gd name="connsiteY119" fmla="*/ 733425 h 4496940"/>
                    <a:gd name="connsiteX120" fmla="*/ 668677 w 4519987"/>
                    <a:gd name="connsiteY120" fmla="*/ 676275 h 4496940"/>
                    <a:gd name="connsiteX121" fmla="*/ 697252 w 4519987"/>
                    <a:gd name="connsiteY121" fmla="*/ 657225 h 4496940"/>
                    <a:gd name="connsiteX122" fmla="*/ 840127 w 4519987"/>
                    <a:gd name="connsiteY122" fmla="*/ 533400 h 4496940"/>
                    <a:gd name="connsiteX123" fmla="*/ 887752 w 4519987"/>
                    <a:gd name="connsiteY123" fmla="*/ 504825 h 4496940"/>
                    <a:gd name="connsiteX124" fmla="*/ 1167152 w 4519987"/>
                    <a:gd name="connsiteY124" fmla="*/ 311150 h 4496940"/>
                    <a:gd name="connsiteX125" fmla="*/ 1268752 w 4519987"/>
                    <a:gd name="connsiteY125" fmla="*/ 285750 h 4496940"/>
                    <a:gd name="connsiteX126" fmla="*/ 1411627 w 4519987"/>
                    <a:gd name="connsiteY126" fmla="*/ 190500 h 4496940"/>
                    <a:gd name="connsiteX127" fmla="*/ 1449727 w 4519987"/>
                    <a:gd name="connsiteY127" fmla="*/ 161925 h 4496940"/>
                    <a:gd name="connsiteX128" fmla="*/ 1525927 w 4519987"/>
                    <a:gd name="connsiteY128" fmla="*/ 152400 h 4496940"/>
                    <a:gd name="connsiteX129" fmla="*/ 1583077 w 4519987"/>
                    <a:gd name="connsiteY129" fmla="*/ 142875 h 4496940"/>
                    <a:gd name="connsiteX130" fmla="*/ 1716427 w 4519987"/>
                    <a:gd name="connsiteY130" fmla="*/ 123825 h 4496940"/>
                    <a:gd name="connsiteX131" fmla="*/ 1811677 w 4519987"/>
                    <a:gd name="connsiteY131" fmla="*/ 114300 h 4496940"/>
                    <a:gd name="connsiteX132" fmla="*/ 1859302 w 4519987"/>
                    <a:gd name="connsiteY132" fmla="*/ 104775 h 4496940"/>
                    <a:gd name="connsiteX133" fmla="*/ 1916452 w 4519987"/>
                    <a:gd name="connsiteY133" fmla="*/ 95250 h 4496940"/>
                    <a:gd name="connsiteX134" fmla="*/ 2030752 w 4519987"/>
                    <a:gd name="connsiteY134" fmla="*/ 66675 h 4496940"/>
                    <a:gd name="connsiteX135" fmla="*/ 2097427 w 4519987"/>
                    <a:gd name="connsiteY135" fmla="*/ 47625 h 4496940"/>
                    <a:gd name="connsiteX136" fmla="*/ 2164102 w 4519987"/>
                    <a:gd name="connsiteY136" fmla="*/ 38100 h 4496940"/>
                    <a:gd name="connsiteX137" fmla="*/ 2392702 w 4519987"/>
                    <a:gd name="connsiteY13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745252 w 4519987"/>
                    <a:gd name="connsiteY41" fmla="*/ 3819525 h 4496940"/>
                    <a:gd name="connsiteX42" fmla="*/ 3678577 w 4519987"/>
                    <a:gd name="connsiteY42" fmla="*/ 3848100 h 4496940"/>
                    <a:gd name="connsiteX43" fmla="*/ 3659527 w 4519987"/>
                    <a:gd name="connsiteY43" fmla="*/ 3971925 h 4496940"/>
                    <a:gd name="connsiteX44" fmla="*/ 3630952 w 4519987"/>
                    <a:gd name="connsiteY44" fmla="*/ 4010025 h 4496940"/>
                    <a:gd name="connsiteX45" fmla="*/ 3621427 w 4519987"/>
                    <a:gd name="connsiteY45" fmla="*/ 4038600 h 4496940"/>
                    <a:gd name="connsiteX46" fmla="*/ 3554752 w 4519987"/>
                    <a:gd name="connsiteY46" fmla="*/ 4095750 h 4496940"/>
                    <a:gd name="connsiteX47" fmla="*/ 3516652 w 4519987"/>
                    <a:gd name="connsiteY47" fmla="*/ 4114800 h 4496940"/>
                    <a:gd name="connsiteX48" fmla="*/ 3497602 w 4519987"/>
                    <a:gd name="connsiteY48" fmla="*/ 4143375 h 4496940"/>
                    <a:gd name="connsiteX49" fmla="*/ 3383302 w 4519987"/>
                    <a:gd name="connsiteY49" fmla="*/ 4210050 h 4496940"/>
                    <a:gd name="connsiteX50" fmla="*/ 3335677 w 4519987"/>
                    <a:gd name="connsiteY50" fmla="*/ 4238625 h 4496940"/>
                    <a:gd name="connsiteX51" fmla="*/ 3288052 w 4519987"/>
                    <a:gd name="connsiteY51" fmla="*/ 4248150 h 4496940"/>
                    <a:gd name="connsiteX52" fmla="*/ 3240427 w 4519987"/>
                    <a:gd name="connsiteY52" fmla="*/ 4267200 h 4496940"/>
                    <a:gd name="connsiteX53" fmla="*/ 3068977 w 4519987"/>
                    <a:gd name="connsiteY53" fmla="*/ 4286250 h 4496940"/>
                    <a:gd name="connsiteX54" fmla="*/ 2935627 w 4519987"/>
                    <a:gd name="connsiteY54" fmla="*/ 4333875 h 4496940"/>
                    <a:gd name="connsiteX55" fmla="*/ 2811802 w 4519987"/>
                    <a:gd name="connsiteY55" fmla="*/ 4371975 h 4496940"/>
                    <a:gd name="connsiteX56" fmla="*/ 2745127 w 4519987"/>
                    <a:gd name="connsiteY56" fmla="*/ 4410075 h 4496940"/>
                    <a:gd name="connsiteX57" fmla="*/ 2697502 w 4519987"/>
                    <a:gd name="connsiteY57" fmla="*/ 4429125 h 4496940"/>
                    <a:gd name="connsiteX58" fmla="*/ 2640352 w 4519987"/>
                    <a:gd name="connsiteY58" fmla="*/ 4457700 h 4496940"/>
                    <a:gd name="connsiteX59" fmla="*/ 2583202 w 4519987"/>
                    <a:gd name="connsiteY59" fmla="*/ 4467225 h 4496940"/>
                    <a:gd name="connsiteX60" fmla="*/ 2545102 w 4519987"/>
                    <a:gd name="connsiteY60" fmla="*/ 4486275 h 4496940"/>
                    <a:gd name="connsiteX61" fmla="*/ 2306977 w 4519987"/>
                    <a:gd name="connsiteY61" fmla="*/ 4476750 h 4496940"/>
                    <a:gd name="connsiteX62" fmla="*/ 2202202 w 4519987"/>
                    <a:gd name="connsiteY62" fmla="*/ 4457700 h 4496940"/>
                    <a:gd name="connsiteX63" fmla="*/ 2126002 w 4519987"/>
                    <a:gd name="connsiteY63" fmla="*/ 4429125 h 4496940"/>
                    <a:gd name="connsiteX64" fmla="*/ 1935502 w 4519987"/>
                    <a:gd name="connsiteY64" fmla="*/ 4400550 h 4496940"/>
                    <a:gd name="connsiteX65" fmla="*/ 1821202 w 4519987"/>
                    <a:gd name="connsiteY65" fmla="*/ 4371975 h 4496940"/>
                    <a:gd name="connsiteX66" fmla="*/ 1754527 w 4519987"/>
                    <a:gd name="connsiteY66" fmla="*/ 4352925 h 4496940"/>
                    <a:gd name="connsiteX67" fmla="*/ 1687852 w 4519987"/>
                    <a:gd name="connsiteY67" fmla="*/ 4343400 h 4496940"/>
                    <a:gd name="connsiteX68" fmla="*/ 1573552 w 4519987"/>
                    <a:gd name="connsiteY68" fmla="*/ 4305300 h 4496940"/>
                    <a:gd name="connsiteX69" fmla="*/ 1402102 w 4519987"/>
                    <a:gd name="connsiteY69" fmla="*/ 4276725 h 4496940"/>
                    <a:gd name="connsiteX70" fmla="*/ 1287802 w 4519987"/>
                    <a:gd name="connsiteY70" fmla="*/ 4229100 h 4496940"/>
                    <a:gd name="connsiteX71" fmla="*/ 1221127 w 4519987"/>
                    <a:gd name="connsiteY71" fmla="*/ 4200525 h 4496940"/>
                    <a:gd name="connsiteX72" fmla="*/ 1144927 w 4519987"/>
                    <a:gd name="connsiteY72" fmla="*/ 4171950 h 4496940"/>
                    <a:gd name="connsiteX73" fmla="*/ 1087777 w 4519987"/>
                    <a:gd name="connsiteY73" fmla="*/ 4143375 h 4496940"/>
                    <a:gd name="connsiteX74" fmla="*/ 1030627 w 4519987"/>
                    <a:gd name="connsiteY74" fmla="*/ 4124325 h 4496940"/>
                    <a:gd name="connsiteX75" fmla="*/ 925852 w 4519987"/>
                    <a:gd name="connsiteY75" fmla="*/ 4067175 h 4496940"/>
                    <a:gd name="connsiteX76" fmla="*/ 830602 w 4519987"/>
                    <a:gd name="connsiteY76" fmla="*/ 3981450 h 4496940"/>
                    <a:gd name="connsiteX77" fmla="*/ 763927 w 4519987"/>
                    <a:gd name="connsiteY77" fmla="*/ 3914775 h 4496940"/>
                    <a:gd name="connsiteX78" fmla="*/ 725827 w 4519987"/>
                    <a:gd name="connsiteY78" fmla="*/ 3876675 h 4496940"/>
                    <a:gd name="connsiteX79" fmla="*/ 697252 w 4519987"/>
                    <a:gd name="connsiteY79" fmla="*/ 3838575 h 4496940"/>
                    <a:gd name="connsiteX80" fmla="*/ 640102 w 4519987"/>
                    <a:gd name="connsiteY80" fmla="*/ 3781425 h 4496940"/>
                    <a:gd name="connsiteX81" fmla="*/ 611527 w 4519987"/>
                    <a:gd name="connsiteY81" fmla="*/ 3733800 h 4496940"/>
                    <a:gd name="connsiteX82" fmla="*/ 554377 w 4519987"/>
                    <a:gd name="connsiteY82" fmla="*/ 3657600 h 4496940"/>
                    <a:gd name="connsiteX83" fmla="*/ 525802 w 4519987"/>
                    <a:gd name="connsiteY83" fmla="*/ 3609975 h 4496940"/>
                    <a:gd name="connsiteX84" fmla="*/ 497227 w 4519987"/>
                    <a:gd name="connsiteY84" fmla="*/ 3552825 h 4496940"/>
                    <a:gd name="connsiteX85" fmla="*/ 440077 w 4519987"/>
                    <a:gd name="connsiteY85" fmla="*/ 3495675 h 4496940"/>
                    <a:gd name="connsiteX86" fmla="*/ 411502 w 4519987"/>
                    <a:gd name="connsiteY86" fmla="*/ 3448050 h 4496940"/>
                    <a:gd name="connsiteX87" fmla="*/ 278152 w 4519987"/>
                    <a:gd name="connsiteY87" fmla="*/ 3257550 h 4496940"/>
                    <a:gd name="connsiteX88" fmla="*/ 249577 w 4519987"/>
                    <a:gd name="connsiteY88" fmla="*/ 3200400 h 4496940"/>
                    <a:gd name="connsiteX89" fmla="*/ 240052 w 4519987"/>
                    <a:gd name="connsiteY89" fmla="*/ 3162300 h 4496940"/>
                    <a:gd name="connsiteX90" fmla="*/ 221002 w 4519987"/>
                    <a:gd name="connsiteY90" fmla="*/ 3105150 h 4496940"/>
                    <a:gd name="connsiteX91" fmla="*/ 173377 w 4519987"/>
                    <a:gd name="connsiteY91" fmla="*/ 3019425 h 4496940"/>
                    <a:gd name="connsiteX92" fmla="*/ 144802 w 4519987"/>
                    <a:gd name="connsiteY92" fmla="*/ 2924175 h 4496940"/>
                    <a:gd name="connsiteX93" fmla="*/ 68602 w 4519987"/>
                    <a:gd name="connsiteY93" fmla="*/ 2724150 h 4496940"/>
                    <a:gd name="connsiteX94" fmla="*/ 49552 w 4519987"/>
                    <a:gd name="connsiteY94" fmla="*/ 2638425 h 4496940"/>
                    <a:gd name="connsiteX95" fmla="*/ 40027 w 4519987"/>
                    <a:gd name="connsiteY95" fmla="*/ 2562225 h 4496940"/>
                    <a:gd name="connsiteX96" fmla="*/ 30502 w 4519987"/>
                    <a:gd name="connsiteY96" fmla="*/ 2514600 h 4496940"/>
                    <a:gd name="connsiteX97" fmla="*/ 11452 w 4519987"/>
                    <a:gd name="connsiteY97" fmla="*/ 2400300 h 4496940"/>
                    <a:gd name="connsiteX98" fmla="*/ 20977 w 4519987"/>
                    <a:gd name="connsiteY98" fmla="*/ 1905000 h 4496940"/>
                    <a:gd name="connsiteX99" fmla="*/ 30502 w 4519987"/>
                    <a:gd name="connsiteY99" fmla="*/ 1838325 h 4496940"/>
                    <a:gd name="connsiteX100" fmla="*/ 49552 w 4519987"/>
                    <a:gd name="connsiteY100" fmla="*/ 1781175 h 4496940"/>
                    <a:gd name="connsiteX101" fmla="*/ 59077 w 4519987"/>
                    <a:gd name="connsiteY101" fmla="*/ 1743075 h 4496940"/>
                    <a:gd name="connsiteX102" fmla="*/ 78127 w 4519987"/>
                    <a:gd name="connsiteY102" fmla="*/ 1685925 h 4496940"/>
                    <a:gd name="connsiteX103" fmla="*/ 87652 w 4519987"/>
                    <a:gd name="connsiteY103" fmla="*/ 1638300 h 4496940"/>
                    <a:gd name="connsiteX104" fmla="*/ 106702 w 4519987"/>
                    <a:gd name="connsiteY104" fmla="*/ 1590675 h 4496940"/>
                    <a:gd name="connsiteX105" fmla="*/ 135277 w 4519987"/>
                    <a:gd name="connsiteY105" fmla="*/ 1504950 h 4496940"/>
                    <a:gd name="connsiteX106" fmla="*/ 154327 w 4519987"/>
                    <a:gd name="connsiteY106" fmla="*/ 1419225 h 4496940"/>
                    <a:gd name="connsiteX107" fmla="*/ 230527 w 4519987"/>
                    <a:gd name="connsiteY107" fmla="*/ 1276350 h 4496940"/>
                    <a:gd name="connsiteX108" fmla="*/ 240052 w 4519987"/>
                    <a:gd name="connsiteY108" fmla="*/ 1247775 h 4496940"/>
                    <a:gd name="connsiteX109" fmla="*/ 268627 w 4519987"/>
                    <a:gd name="connsiteY109" fmla="*/ 1200150 h 4496940"/>
                    <a:gd name="connsiteX110" fmla="*/ 287677 w 4519987"/>
                    <a:gd name="connsiteY110" fmla="*/ 1152525 h 4496940"/>
                    <a:gd name="connsiteX111" fmla="*/ 316252 w 4519987"/>
                    <a:gd name="connsiteY111" fmla="*/ 1114425 h 4496940"/>
                    <a:gd name="connsiteX112" fmla="*/ 363877 w 4519987"/>
                    <a:gd name="connsiteY112" fmla="*/ 1038225 h 4496940"/>
                    <a:gd name="connsiteX113" fmla="*/ 382927 w 4519987"/>
                    <a:gd name="connsiteY113" fmla="*/ 1009650 h 4496940"/>
                    <a:gd name="connsiteX114" fmla="*/ 440077 w 4519987"/>
                    <a:gd name="connsiteY114" fmla="*/ 904875 h 4496940"/>
                    <a:gd name="connsiteX115" fmla="*/ 478177 w 4519987"/>
                    <a:gd name="connsiteY115" fmla="*/ 857250 h 4496940"/>
                    <a:gd name="connsiteX116" fmla="*/ 497227 w 4519987"/>
                    <a:gd name="connsiteY116" fmla="*/ 828675 h 4496940"/>
                    <a:gd name="connsiteX117" fmla="*/ 535327 w 4519987"/>
                    <a:gd name="connsiteY117" fmla="*/ 800100 h 4496940"/>
                    <a:gd name="connsiteX118" fmla="*/ 602002 w 4519987"/>
                    <a:gd name="connsiteY118" fmla="*/ 733425 h 4496940"/>
                    <a:gd name="connsiteX119" fmla="*/ 668677 w 4519987"/>
                    <a:gd name="connsiteY119" fmla="*/ 676275 h 4496940"/>
                    <a:gd name="connsiteX120" fmla="*/ 697252 w 4519987"/>
                    <a:gd name="connsiteY120" fmla="*/ 657225 h 4496940"/>
                    <a:gd name="connsiteX121" fmla="*/ 840127 w 4519987"/>
                    <a:gd name="connsiteY121" fmla="*/ 533400 h 4496940"/>
                    <a:gd name="connsiteX122" fmla="*/ 887752 w 4519987"/>
                    <a:gd name="connsiteY122" fmla="*/ 504825 h 4496940"/>
                    <a:gd name="connsiteX123" fmla="*/ 1167152 w 4519987"/>
                    <a:gd name="connsiteY123" fmla="*/ 311150 h 4496940"/>
                    <a:gd name="connsiteX124" fmla="*/ 1268752 w 4519987"/>
                    <a:gd name="connsiteY124" fmla="*/ 285750 h 4496940"/>
                    <a:gd name="connsiteX125" fmla="*/ 1411627 w 4519987"/>
                    <a:gd name="connsiteY125" fmla="*/ 190500 h 4496940"/>
                    <a:gd name="connsiteX126" fmla="*/ 1449727 w 4519987"/>
                    <a:gd name="connsiteY126" fmla="*/ 161925 h 4496940"/>
                    <a:gd name="connsiteX127" fmla="*/ 1525927 w 4519987"/>
                    <a:gd name="connsiteY127" fmla="*/ 152400 h 4496940"/>
                    <a:gd name="connsiteX128" fmla="*/ 1583077 w 4519987"/>
                    <a:gd name="connsiteY128" fmla="*/ 142875 h 4496940"/>
                    <a:gd name="connsiteX129" fmla="*/ 1716427 w 4519987"/>
                    <a:gd name="connsiteY129" fmla="*/ 123825 h 4496940"/>
                    <a:gd name="connsiteX130" fmla="*/ 1811677 w 4519987"/>
                    <a:gd name="connsiteY130" fmla="*/ 114300 h 4496940"/>
                    <a:gd name="connsiteX131" fmla="*/ 1859302 w 4519987"/>
                    <a:gd name="connsiteY131" fmla="*/ 104775 h 4496940"/>
                    <a:gd name="connsiteX132" fmla="*/ 1916452 w 4519987"/>
                    <a:gd name="connsiteY132" fmla="*/ 95250 h 4496940"/>
                    <a:gd name="connsiteX133" fmla="*/ 2030752 w 4519987"/>
                    <a:gd name="connsiteY133" fmla="*/ 66675 h 4496940"/>
                    <a:gd name="connsiteX134" fmla="*/ 2097427 w 4519987"/>
                    <a:gd name="connsiteY134" fmla="*/ 47625 h 4496940"/>
                    <a:gd name="connsiteX135" fmla="*/ 2164102 w 4519987"/>
                    <a:gd name="connsiteY135" fmla="*/ 38100 h 4496940"/>
                    <a:gd name="connsiteX136" fmla="*/ 2392702 w 4519987"/>
                    <a:gd name="connsiteY13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678577 w 4519987"/>
                    <a:gd name="connsiteY41" fmla="*/ 3848100 h 4496940"/>
                    <a:gd name="connsiteX42" fmla="*/ 3659527 w 4519987"/>
                    <a:gd name="connsiteY42" fmla="*/ 3971925 h 4496940"/>
                    <a:gd name="connsiteX43" fmla="*/ 3630952 w 4519987"/>
                    <a:gd name="connsiteY43" fmla="*/ 4010025 h 4496940"/>
                    <a:gd name="connsiteX44" fmla="*/ 3621427 w 4519987"/>
                    <a:gd name="connsiteY44" fmla="*/ 4038600 h 4496940"/>
                    <a:gd name="connsiteX45" fmla="*/ 3554752 w 4519987"/>
                    <a:gd name="connsiteY45" fmla="*/ 4095750 h 4496940"/>
                    <a:gd name="connsiteX46" fmla="*/ 3516652 w 4519987"/>
                    <a:gd name="connsiteY46" fmla="*/ 4114800 h 4496940"/>
                    <a:gd name="connsiteX47" fmla="*/ 3497602 w 4519987"/>
                    <a:gd name="connsiteY47" fmla="*/ 4143375 h 4496940"/>
                    <a:gd name="connsiteX48" fmla="*/ 3383302 w 4519987"/>
                    <a:gd name="connsiteY48" fmla="*/ 4210050 h 4496940"/>
                    <a:gd name="connsiteX49" fmla="*/ 3335677 w 4519987"/>
                    <a:gd name="connsiteY49" fmla="*/ 4238625 h 4496940"/>
                    <a:gd name="connsiteX50" fmla="*/ 3288052 w 4519987"/>
                    <a:gd name="connsiteY50" fmla="*/ 4248150 h 4496940"/>
                    <a:gd name="connsiteX51" fmla="*/ 3240427 w 4519987"/>
                    <a:gd name="connsiteY51" fmla="*/ 4267200 h 4496940"/>
                    <a:gd name="connsiteX52" fmla="*/ 3068977 w 4519987"/>
                    <a:gd name="connsiteY52" fmla="*/ 4286250 h 4496940"/>
                    <a:gd name="connsiteX53" fmla="*/ 2935627 w 4519987"/>
                    <a:gd name="connsiteY53" fmla="*/ 4333875 h 4496940"/>
                    <a:gd name="connsiteX54" fmla="*/ 2811802 w 4519987"/>
                    <a:gd name="connsiteY54" fmla="*/ 4371975 h 4496940"/>
                    <a:gd name="connsiteX55" fmla="*/ 2745127 w 4519987"/>
                    <a:gd name="connsiteY55" fmla="*/ 4410075 h 4496940"/>
                    <a:gd name="connsiteX56" fmla="*/ 2697502 w 4519987"/>
                    <a:gd name="connsiteY56" fmla="*/ 4429125 h 4496940"/>
                    <a:gd name="connsiteX57" fmla="*/ 2640352 w 4519987"/>
                    <a:gd name="connsiteY57" fmla="*/ 4457700 h 4496940"/>
                    <a:gd name="connsiteX58" fmla="*/ 2583202 w 4519987"/>
                    <a:gd name="connsiteY58" fmla="*/ 4467225 h 4496940"/>
                    <a:gd name="connsiteX59" fmla="*/ 2545102 w 4519987"/>
                    <a:gd name="connsiteY59" fmla="*/ 4486275 h 4496940"/>
                    <a:gd name="connsiteX60" fmla="*/ 2306977 w 4519987"/>
                    <a:gd name="connsiteY60" fmla="*/ 4476750 h 4496940"/>
                    <a:gd name="connsiteX61" fmla="*/ 2202202 w 4519987"/>
                    <a:gd name="connsiteY61" fmla="*/ 4457700 h 4496940"/>
                    <a:gd name="connsiteX62" fmla="*/ 2126002 w 4519987"/>
                    <a:gd name="connsiteY62" fmla="*/ 4429125 h 4496940"/>
                    <a:gd name="connsiteX63" fmla="*/ 1935502 w 4519987"/>
                    <a:gd name="connsiteY63" fmla="*/ 4400550 h 4496940"/>
                    <a:gd name="connsiteX64" fmla="*/ 1821202 w 4519987"/>
                    <a:gd name="connsiteY64" fmla="*/ 4371975 h 4496940"/>
                    <a:gd name="connsiteX65" fmla="*/ 1754527 w 4519987"/>
                    <a:gd name="connsiteY65" fmla="*/ 4352925 h 4496940"/>
                    <a:gd name="connsiteX66" fmla="*/ 1687852 w 4519987"/>
                    <a:gd name="connsiteY66" fmla="*/ 4343400 h 4496940"/>
                    <a:gd name="connsiteX67" fmla="*/ 1573552 w 4519987"/>
                    <a:gd name="connsiteY67" fmla="*/ 4305300 h 4496940"/>
                    <a:gd name="connsiteX68" fmla="*/ 1402102 w 4519987"/>
                    <a:gd name="connsiteY68" fmla="*/ 4276725 h 4496940"/>
                    <a:gd name="connsiteX69" fmla="*/ 1287802 w 4519987"/>
                    <a:gd name="connsiteY69" fmla="*/ 4229100 h 4496940"/>
                    <a:gd name="connsiteX70" fmla="*/ 1221127 w 4519987"/>
                    <a:gd name="connsiteY70" fmla="*/ 4200525 h 4496940"/>
                    <a:gd name="connsiteX71" fmla="*/ 1144927 w 4519987"/>
                    <a:gd name="connsiteY71" fmla="*/ 4171950 h 4496940"/>
                    <a:gd name="connsiteX72" fmla="*/ 1087777 w 4519987"/>
                    <a:gd name="connsiteY72" fmla="*/ 4143375 h 4496940"/>
                    <a:gd name="connsiteX73" fmla="*/ 1030627 w 4519987"/>
                    <a:gd name="connsiteY73" fmla="*/ 4124325 h 4496940"/>
                    <a:gd name="connsiteX74" fmla="*/ 925852 w 4519987"/>
                    <a:gd name="connsiteY74" fmla="*/ 4067175 h 4496940"/>
                    <a:gd name="connsiteX75" fmla="*/ 830602 w 4519987"/>
                    <a:gd name="connsiteY75" fmla="*/ 3981450 h 4496940"/>
                    <a:gd name="connsiteX76" fmla="*/ 763927 w 4519987"/>
                    <a:gd name="connsiteY76" fmla="*/ 3914775 h 4496940"/>
                    <a:gd name="connsiteX77" fmla="*/ 725827 w 4519987"/>
                    <a:gd name="connsiteY77" fmla="*/ 3876675 h 4496940"/>
                    <a:gd name="connsiteX78" fmla="*/ 697252 w 4519987"/>
                    <a:gd name="connsiteY78" fmla="*/ 3838575 h 4496940"/>
                    <a:gd name="connsiteX79" fmla="*/ 640102 w 4519987"/>
                    <a:gd name="connsiteY79" fmla="*/ 3781425 h 4496940"/>
                    <a:gd name="connsiteX80" fmla="*/ 611527 w 4519987"/>
                    <a:gd name="connsiteY80" fmla="*/ 3733800 h 4496940"/>
                    <a:gd name="connsiteX81" fmla="*/ 554377 w 4519987"/>
                    <a:gd name="connsiteY81" fmla="*/ 3657600 h 4496940"/>
                    <a:gd name="connsiteX82" fmla="*/ 525802 w 4519987"/>
                    <a:gd name="connsiteY82" fmla="*/ 3609975 h 4496940"/>
                    <a:gd name="connsiteX83" fmla="*/ 497227 w 4519987"/>
                    <a:gd name="connsiteY83" fmla="*/ 3552825 h 4496940"/>
                    <a:gd name="connsiteX84" fmla="*/ 440077 w 4519987"/>
                    <a:gd name="connsiteY84" fmla="*/ 3495675 h 4496940"/>
                    <a:gd name="connsiteX85" fmla="*/ 411502 w 4519987"/>
                    <a:gd name="connsiteY85" fmla="*/ 3448050 h 4496940"/>
                    <a:gd name="connsiteX86" fmla="*/ 278152 w 4519987"/>
                    <a:gd name="connsiteY86" fmla="*/ 3257550 h 4496940"/>
                    <a:gd name="connsiteX87" fmla="*/ 249577 w 4519987"/>
                    <a:gd name="connsiteY87" fmla="*/ 3200400 h 4496940"/>
                    <a:gd name="connsiteX88" fmla="*/ 240052 w 4519987"/>
                    <a:gd name="connsiteY88" fmla="*/ 3162300 h 4496940"/>
                    <a:gd name="connsiteX89" fmla="*/ 221002 w 4519987"/>
                    <a:gd name="connsiteY89" fmla="*/ 3105150 h 4496940"/>
                    <a:gd name="connsiteX90" fmla="*/ 173377 w 4519987"/>
                    <a:gd name="connsiteY90" fmla="*/ 3019425 h 4496940"/>
                    <a:gd name="connsiteX91" fmla="*/ 144802 w 4519987"/>
                    <a:gd name="connsiteY91" fmla="*/ 2924175 h 4496940"/>
                    <a:gd name="connsiteX92" fmla="*/ 68602 w 4519987"/>
                    <a:gd name="connsiteY92" fmla="*/ 2724150 h 4496940"/>
                    <a:gd name="connsiteX93" fmla="*/ 49552 w 4519987"/>
                    <a:gd name="connsiteY93" fmla="*/ 2638425 h 4496940"/>
                    <a:gd name="connsiteX94" fmla="*/ 40027 w 4519987"/>
                    <a:gd name="connsiteY94" fmla="*/ 2562225 h 4496940"/>
                    <a:gd name="connsiteX95" fmla="*/ 30502 w 4519987"/>
                    <a:gd name="connsiteY95" fmla="*/ 2514600 h 4496940"/>
                    <a:gd name="connsiteX96" fmla="*/ 11452 w 4519987"/>
                    <a:gd name="connsiteY96" fmla="*/ 2400300 h 4496940"/>
                    <a:gd name="connsiteX97" fmla="*/ 20977 w 4519987"/>
                    <a:gd name="connsiteY97" fmla="*/ 1905000 h 4496940"/>
                    <a:gd name="connsiteX98" fmla="*/ 30502 w 4519987"/>
                    <a:gd name="connsiteY98" fmla="*/ 1838325 h 4496940"/>
                    <a:gd name="connsiteX99" fmla="*/ 49552 w 4519987"/>
                    <a:gd name="connsiteY99" fmla="*/ 1781175 h 4496940"/>
                    <a:gd name="connsiteX100" fmla="*/ 59077 w 4519987"/>
                    <a:gd name="connsiteY100" fmla="*/ 1743075 h 4496940"/>
                    <a:gd name="connsiteX101" fmla="*/ 78127 w 4519987"/>
                    <a:gd name="connsiteY101" fmla="*/ 1685925 h 4496940"/>
                    <a:gd name="connsiteX102" fmla="*/ 87652 w 4519987"/>
                    <a:gd name="connsiteY102" fmla="*/ 1638300 h 4496940"/>
                    <a:gd name="connsiteX103" fmla="*/ 106702 w 4519987"/>
                    <a:gd name="connsiteY103" fmla="*/ 1590675 h 4496940"/>
                    <a:gd name="connsiteX104" fmla="*/ 135277 w 4519987"/>
                    <a:gd name="connsiteY104" fmla="*/ 1504950 h 4496940"/>
                    <a:gd name="connsiteX105" fmla="*/ 154327 w 4519987"/>
                    <a:gd name="connsiteY105" fmla="*/ 1419225 h 4496940"/>
                    <a:gd name="connsiteX106" fmla="*/ 230527 w 4519987"/>
                    <a:gd name="connsiteY106" fmla="*/ 1276350 h 4496940"/>
                    <a:gd name="connsiteX107" fmla="*/ 240052 w 4519987"/>
                    <a:gd name="connsiteY107" fmla="*/ 1247775 h 4496940"/>
                    <a:gd name="connsiteX108" fmla="*/ 268627 w 4519987"/>
                    <a:gd name="connsiteY108" fmla="*/ 1200150 h 4496940"/>
                    <a:gd name="connsiteX109" fmla="*/ 287677 w 4519987"/>
                    <a:gd name="connsiteY109" fmla="*/ 1152525 h 4496940"/>
                    <a:gd name="connsiteX110" fmla="*/ 316252 w 4519987"/>
                    <a:gd name="connsiteY110" fmla="*/ 1114425 h 4496940"/>
                    <a:gd name="connsiteX111" fmla="*/ 363877 w 4519987"/>
                    <a:gd name="connsiteY111" fmla="*/ 1038225 h 4496940"/>
                    <a:gd name="connsiteX112" fmla="*/ 382927 w 4519987"/>
                    <a:gd name="connsiteY112" fmla="*/ 1009650 h 4496940"/>
                    <a:gd name="connsiteX113" fmla="*/ 440077 w 4519987"/>
                    <a:gd name="connsiteY113" fmla="*/ 904875 h 4496940"/>
                    <a:gd name="connsiteX114" fmla="*/ 478177 w 4519987"/>
                    <a:gd name="connsiteY114" fmla="*/ 857250 h 4496940"/>
                    <a:gd name="connsiteX115" fmla="*/ 497227 w 4519987"/>
                    <a:gd name="connsiteY115" fmla="*/ 828675 h 4496940"/>
                    <a:gd name="connsiteX116" fmla="*/ 535327 w 4519987"/>
                    <a:gd name="connsiteY116" fmla="*/ 800100 h 4496940"/>
                    <a:gd name="connsiteX117" fmla="*/ 602002 w 4519987"/>
                    <a:gd name="connsiteY117" fmla="*/ 733425 h 4496940"/>
                    <a:gd name="connsiteX118" fmla="*/ 668677 w 4519987"/>
                    <a:gd name="connsiteY118" fmla="*/ 676275 h 4496940"/>
                    <a:gd name="connsiteX119" fmla="*/ 697252 w 4519987"/>
                    <a:gd name="connsiteY119" fmla="*/ 657225 h 4496940"/>
                    <a:gd name="connsiteX120" fmla="*/ 840127 w 4519987"/>
                    <a:gd name="connsiteY120" fmla="*/ 533400 h 4496940"/>
                    <a:gd name="connsiteX121" fmla="*/ 887752 w 4519987"/>
                    <a:gd name="connsiteY121" fmla="*/ 504825 h 4496940"/>
                    <a:gd name="connsiteX122" fmla="*/ 1167152 w 4519987"/>
                    <a:gd name="connsiteY122" fmla="*/ 311150 h 4496940"/>
                    <a:gd name="connsiteX123" fmla="*/ 1268752 w 4519987"/>
                    <a:gd name="connsiteY123" fmla="*/ 285750 h 4496940"/>
                    <a:gd name="connsiteX124" fmla="*/ 1411627 w 4519987"/>
                    <a:gd name="connsiteY124" fmla="*/ 190500 h 4496940"/>
                    <a:gd name="connsiteX125" fmla="*/ 1449727 w 4519987"/>
                    <a:gd name="connsiteY125" fmla="*/ 161925 h 4496940"/>
                    <a:gd name="connsiteX126" fmla="*/ 1525927 w 4519987"/>
                    <a:gd name="connsiteY126" fmla="*/ 152400 h 4496940"/>
                    <a:gd name="connsiteX127" fmla="*/ 1583077 w 4519987"/>
                    <a:gd name="connsiteY127" fmla="*/ 142875 h 4496940"/>
                    <a:gd name="connsiteX128" fmla="*/ 1716427 w 4519987"/>
                    <a:gd name="connsiteY128" fmla="*/ 123825 h 4496940"/>
                    <a:gd name="connsiteX129" fmla="*/ 1811677 w 4519987"/>
                    <a:gd name="connsiteY129" fmla="*/ 114300 h 4496940"/>
                    <a:gd name="connsiteX130" fmla="*/ 1859302 w 4519987"/>
                    <a:gd name="connsiteY130" fmla="*/ 104775 h 4496940"/>
                    <a:gd name="connsiteX131" fmla="*/ 1916452 w 4519987"/>
                    <a:gd name="connsiteY131" fmla="*/ 95250 h 4496940"/>
                    <a:gd name="connsiteX132" fmla="*/ 2030752 w 4519987"/>
                    <a:gd name="connsiteY132" fmla="*/ 66675 h 4496940"/>
                    <a:gd name="connsiteX133" fmla="*/ 2097427 w 4519987"/>
                    <a:gd name="connsiteY133" fmla="*/ 47625 h 4496940"/>
                    <a:gd name="connsiteX134" fmla="*/ 2164102 w 4519987"/>
                    <a:gd name="connsiteY134" fmla="*/ 38100 h 4496940"/>
                    <a:gd name="connsiteX135" fmla="*/ 2392702 w 4519987"/>
                    <a:gd name="connsiteY13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78577 w 4519987"/>
                    <a:gd name="connsiteY40" fmla="*/ 3848100 h 4496940"/>
                    <a:gd name="connsiteX41" fmla="*/ 3659527 w 4519987"/>
                    <a:gd name="connsiteY41" fmla="*/ 3971925 h 4496940"/>
                    <a:gd name="connsiteX42" fmla="*/ 3630952 w 4519987"/>
                    <a:gd name="connsiteY42" fmla="*/ 4010025 h 4496940"/>
                    <a:gd name="connsiteX43" fmla="*/ 3621427 w 4519987"/>
                    <a:gd name="connsiteY43" fmla="*/ 4038600 h 4496940"/>
                    <a:gd name="connsiteX44" fmla="*/ 3554752 w 4519987"/>
                    <a:gd name="connsiteY44" fmla="*/ 4095750 h 4496940"/>
                    <a:gd name="connsiteX45" fmla="*/ 3516652 w 4519987"/>
                    <a:gd name="connsiteY45" fmla="*/ 4114800 h 4496940"/>
                    <a:gd name="connsiteX46" fmla="*/ 3497602 w 4519987"/>
                    <a:gd name="connsiteY46" fmla="*/ 4143375 h 4496940"/>
                    <a:gd name="connsiteX47" fmla="*/ 3383302 w 4519987"/>
                    <a:gd name="connsiteY47" fmla="*/ 4210050 h 4496940"/>
                    <a:gd name="connsiteX48" fmla="*/ 3335677 w 4519987"/>
                    <a:gd name="connsiteY48" fmla="*/ 4238625 h 4496940"/>
                    <a:gd name="connsiteX49" fmla="*/ 3288052 w 4519987"/>
                    <a:gd name="connsiteY49" fmla="*/ 4248150 h 4496940"/>
                    <a:gd name="connsiteX50" fmla="*/ 3240427 w 4519987"/>
                    <a:gd name="connsiteY50" fmla="*/ 4267200 h 4496940"/>
                    <a:gd name="connsiteX51" fmla="*/ 3068977 w 4519987"/>
                    <a:gd name="connsiteY51" fmla="*/ 4286250 h 4496940"/>
                    <a:gd name="connsiteX52" fmla="*/ 2935627 w 4519987"/>
                    <a:gd name="connsiteY52" fmla="*/ 4333875 h 4496940"/>
                    <a:gd name="connsiteX53" fmla="*/ 2811802 w 4519987"/>
                    <a:gd name="connsiteY53" fmla="*/ 4371975 h 4496940"/>
                    <a:gd name="connsiteX54" fmla="*/ 2745127 w 4519987"/>
                    <a:gd name="connsiteY54" fmla="*/ 4410075 h 4496940"/>
                    <a:gd name="connsiteX55" fmla="*/ 2697502 w 4519987"/>
                    <a:gd name="connsiteY55" fmla="*/ 4429125 h 4496940"/>
                    <a:gd name="connsiteX56" fmla="*/ 2640352 w 4519987"/>
                    <a:gd name="connsiteY56" fmla="*/ 4457700 h 4496940"/>
                    <a:gd name="connsiteX57" fmla="*/ 2583202 w 4519987"/>
                    <a:gd name="connsiteY57" fmla="*/ 4467225 h 4496940"/>
                    <a:gd name="connsiteX58" fmla="*/ 2545102 w 4519987"/>
                    <a:gd name="connsiteY58" fmla="*/ 4486275 h 4496940"/>
                    <a:gd name="connsiteX59" fmla="*/ 2306977 w 4519987"/>
                    <a:gd name="connsiteY59" fmla="*/ 4476750 h 4496940"/>
                    <a:gd name="connsiteX60" fmla="*/ 2202202 w 4519987"/>
                    <a:gd name="connsiteY60" fmla="*/ 4457700 h 4496940"/>
                    <a:gd name="connsiteX61" fmla="*/ 2126002 w 4519987"/>
                    <a:gd name="connsiteY61" fmla="*/ 4429125 h 4496940"/>
                    <a:gd name="connsiteX62" fmla="*/ 1935502 w 4519987"/>
                    <a:gd name="connsiteY62" fmla="*/ 4400550 h 4496940"/>
                    <a:gd name="connsiteX63" fmla="*/ 1821202 w 4519987"/>
                    <a:gd name="connsiteY63" fmla="*/ 4371975 h 4496940"/>
                    <a:gd name="connsiteX64" fmla="*/ 1754527 w 4519987"/>
                    <a:gd name="connsiteY64" fmla="*/ 4352925 h 4496940"/>
                    <a:gd name="connsiteX65" fmla="*/ 1687852 w 4519987"/>
                    <a:gd name="connsiteY65" fmla="*/ 4343400 h 4496940"/>
                    <a:gd name="connsiteX66" fmla="*/ 1573552 w 4519987"/>
                    <a:gd name="connsiteY66" fmla="*/ 4305300 h 4496940"/>
                    <a:gd name="connsiteX67" fmla="*/ 1402102 w 4519987"/>
                    <a:gd name="connsiteY67" fmla="*/ 4276725 h 4496940"/>
                    <a:gd name="connsiteX68" fmla="*/ 1287802 w 4519987"/>
                    <a:gd name="connsiteY68" fmla="*/ 4229100 h 4496940"/>
                    <a:gd name="connsiteX69" fmla="*/ 1221127 w 4519987"/>
                    <a:gd name="connsiteY69" fmla="*/ 4200525 h 4496940"/>
                    <a:gd name="connsiteX70" fmla="*/ 1144927 w 4519987"/>
                    <a:gd name="connsiteY70" fmla="*/ 4171950 h 4496940"/>
                    <a:gd name="connsiteX71" fmla="*/ 1087777 w 4519987"/>
                    <a:gd name="connsiteY71" fmla="*/ 4143375 h 4496940"/>
                    <a:gd name="connsiteX72" fmla="*/ 1030627 w 4519987"/>
                    <a:gd name="connsiteY72" fmla="*/ 4124325 h 4496940"/>
                    <a:gd name="connsiteX73" fmla="*/ 925852 w 4519987"/>
                    <a:gd name="connsiteY73" fmla="*/ 4067175 h 4496940"/>
                    <a:gd name="connsiteX74" fmla="*/ 830602 w 4519987"/>
                    <a:gd name="connsiteY74" fmla="*/ 3981450 h 4496940"/>
                    <a:gd name="connsiteX75" fmla="*/ 763927 w 4519987"/>
                    <a:gd name="connsiteY75" fmla="*/ 3914775 h 4496940"/>
                    <a:gd name="connsiteX76" fmla="*/ 725827 w 4519987"/>
                    <a:gd name="connsiteY76" fmla="*/ 3876675 h 4496940"/>
                    <a:gd name="connsiteX77" fmla="*/ 697252 w 4519987"/>
                    <a:gd name="connsiteY77" fmla="*/ 3838575 h 4496940"/>
                    <a:gd name="connsiteX78" fmla="*/ 640102 w 4519987"/>
                    <a:gd name="connsiteY78" fmla="*/ 3781425 h 4496940"/>
                    <a:gd name="connsiteX79" fmla="*/ 611527 w 4519987"/>
                    <a:gd name="connsiteY79" fmla="*/ 3733800 h 4496940"/>
                    <a:gd name="connsiteX80" fmla="*/ 554377 w 4519987"/>
                    <a:gd name="connsiteY80" fmla="*/ 3657600 h 4496940"/>
                    <a:gd name="connsiteX81" fmla="*/ 525802 w 4519987"/>
                    <a:gd name="connsiteY81" fmla="*/ 3609975 h 4496940"/>
                    <a:gd name="connsiteX82" fmla="*/ 497227 w 4519987"/>
                    <a:gd name="connsiteY82" fmla="*/ 3552825 h 4496940"/>
                    <a:gd name="connsiteX83" fmla="*/ 440077 w 4519987"/>
                    <a:gd name="connsiteY83" fmla="*/ 3495675 h 4496940"/>
                    <a:gd name="connsiteX84" fmla="*/ 411502 w 4519987"/>
                    <a:gd name="connsiteY84" fmla="*/ 3448050 h 4496940"/>
                    <a:gd name="connsiteX85" fmla="*/ 278152 w 4519987"/>
                    <a:gd name="connsiteY85" fmla="*/ 3257550 h 4496940"/>
                    <a:gd name="connsiteX86" fmla="*/ 249577 w 4519987"/>
                    <a:gd name="connsiteY86" fmla="*/ 3200400 h 4496940"/>
                    <a:gd name="connsiteX87" fmla="*/ 240052 w 4519987"/>
                    <a:gd name="connsiteY87" fmla="*/ 3162300 h 4496940"/>
                    <a:gd name="connsiteX88" fmla="*/ 221002 w 4519987"/>
                    <a:gd name="connsiteY88" fmla="*/ 3105150 h 4496940"/>
                    <a:gd name="connsiteX89" fmla="*/ 173377 w 4519987"/>
                    <a:gd name="connsiteY89" fmla="*/ 3019425 h 4496940"/>
                    <a:gd name="connsiteX90" fmla="*/ 144802 w 4519987"/>
                    <a:gd name="connsiteY90" fmla="*/ 2924175 h 4496940"/>
                    <a:gd name="connsiteX91" fmla="*/ 68602 w 4519987"/>
                    <a:gd name="connsiteY91" fmla="*/ 2724150 h 4496940"/>
                    <a:gd name="connsiteX92" fmla="*/ 49552 w 4519987"/>
                    <a:gd name="connsiteY92" fmla="*/ 2638425 h 4496940"/>
                    <a:gd name="connsiteX93" fmla="*/ 40027 w 4519987"/>
                    <a:gd name="connsiteY93" fmla="*/ 2562225 h 4496940"/>
                    <a:gd name="connsiteX94" fmla="*/ 30502 w 4519987"/>
                    <a:gd name="connsiteY94" fmla="*/ 2514600 h 4496940"/>
                    <a:gd name="connsiteX95" fmla="*/ 11452 w 4519987"/>
                    <a:gd name="connsiteY95" fmla="*/ 2400300 h 4496940"/>
                    <a:gd name="connsiteX96" fmla="*/ 20977 w 4519987"/>
                    <a:gd name="connsiteY96" fmla="*/ 1905000 h 4496940"/>
                    <a:gd name="connsiteX97" fmla="*/ 30502 w 4519987"/>
                    <a:gd name="connsiteY97" fmla="*/ 1838325 h 4496940"/>
                    <a:gd name="connsiteX98" fmla="*/ 49552 w 4519987"/>
                    <a:gd name="connsiteY98" fmla="*/ 1781175 h 4496940"/>
                    <a:gd name="connsiteX99" fmla="*/ 59077 w 4519987"/>
                    <a:gd name="connsiteY99" fmla="*/ 1743075 h 4496940"/>
                    <a:gd name="connsiteX100" fmla="*/ 78127 w 4519987"/>
                    <a:gd name="connsiteY100" fmla="*/ 1685925 h 4496940"/>
                    <a:gd name="connsiteX101" fmla="*/ 87652 w 4519987"/>
                    <a:gd name="connsiteY101" fmla="*/ 1638300 h 4496940"/>
                    <a:gd name="connsiteX102" fmla="*/ 106702 w 4519987"/>
                    <a:gd name="connsiteY102" fmla="*/ 1590675 h 4496940"/>
                    <a:gd name="connsiteX103" fmla="*/ 135277 w 4519987"/>
                    <a:gd name="connsiteY103" fmla="*/ 1504950 h 4496940"/>
                    <a:gd name="connsiteX104" fmla="*/ 154327 w 4519987"/>
                    <a:gd name="connsiteY104" fmla="*/ 1419225 h 4496940"/>
                    <a:gd name="connsiteX105" fmla="*/ 230527 w 4519987"/>
                    <a:gd name="connsiteY105" fmla="*/ 1276350 h 4496940"/>
                    <a:gd name="connsiteX106" fmla="*/ 240052 w 4519987"/>
                    <a:gd name="connsiteY106" fmla="*/ 1247775 h 4496940"/>
                    <a:gd name="connsiteX107" fmla="*/ 268627 w 4519987"/>
                    <a:gd name="connsiteY107" fmla="*/ 1200150 h 4496940"/>
                    <a:gd name="connsiteX108" fmla="*/ 287677 w 4519987"/>
                    <a:gd name="connsiteY108" fmla="*/ 1152525 h 4496940"/>
                    <a:gd name="connsiteX109" fmla="*/ 316252 w 4519987"/>
                    <a:gd name="connsiteY109" fmla="*/ 1114425 h 4496940"/>
                    <a:gd name="connsiteX110" fmla="*/ 363877 w 4519987"/>
                    <a:gd name="connsiteY110" fmla="*/ 1038225 h 4496940"/>
                    <a:gd name="connsiteX111" fmla="*/ 382927 w 4519987"/>
                    <a:gd name="connsiteY111" fmla="*/ 1009650 h 4496940"/>
                    <a:gd name="connsiteX112" fmla="*/ 440077 w 4519987"/>
                    <a:gd name="connsiteY112" fmla="*/ 904875 h 4496940"/>
                    <a:gd name="connsiteX113" fmla="*/ 478177 w 4519987"/>
                    <a:gd name="connsiteY113" fmla="*/ 857250 h 4496940"/>
                    <a:gd name="connsiteX114" fmla="*/ 497227 w 4519987"/>
                    <a:gd name="connsiteY114" fmla="*/ 828675 h 4496940"/>
                    <a:gd name="connsiteX115" fmla="*/ 535327 w 4519987"/>
                    <a:gd name="connsiteY115" fmla="*/ 800100 h 4496940"/>
                    <a:gd name="connsiteX116" fmla="*/ 602002 w 4519987"/>
                    <a:gd name="connsiteY116" fmla="*/ 733425 h 4496940"/>
                    <a:gd name="connsiteX117" fmla="*/ 668677 w 4519987"/>
                    <a:gd name="connsiteY117" fmla="*/ 676275 h 4496940"/>
                    <a:gd name="connsiteX118" fmla="*/ 697252 w 4519987"/>
                    <a:gd name="connsiteY118" fmla="*/ 657225 h 4496940"/>
                    <a:gd name="connsiteX119" fmla="*/ 840127 w 4519987"/>
                    <a:gd name="connsiteY119" fmla="*/ 533400 h 4496940"/>
                    <a:gd name="connsiteX120" fmla="*/ 887752 w 4519987"/>
                    <a:gd name="connsiteY120" fmla="*/ 504825 h 4496940"/>
                    <a:gd name="connsiteX121" fmla="*/ 1167152 w 4519987"/>
                    <a:gd name="connsiteY121" fmla="*/ 311150 h 4496940"/>
                    <a:gd name="connsiteX122" fmla="*/ 1268752 w 4519987"/>
                    <a:gd name="connsiteY122" fmla="*/ 285750 h 4496940"/>
                    <a:gd name="connsiteX123" fmla="*/ 1411627 w 4519987"/>
                    <a:gd name="connsiteY123" fmla="*/ 190500 h 4496940"/>
                    <a:gd name="connsiteX124" fmla="*/ 1449727 w 4519987"/>
                    <a:gd name="connsiteY124" fmla="*/ 161925 h 4496940"/>
                    <a:gd name="connsiteX125" fmla="*/ 1525927 w 4519987"/>
                    <a:gd name="connsiteY125" fmla="*/ 152400 h 4496940"/>
                    <a:gd name="connsiteX126" fmla="*/ 1583077 w 4519987"/>
                    <a:gd name="connsiteY126" fmla="*/ 142875 h 4496940"/>
                    <a:gd name="connsiteX127" fmla="*/ 1716427 w 4519987"/>
                    <a:gd name="connsiteY127" fmla="*/ 123825 h 4496940"/>
                    <a:gd name="connsiteX128" fmla="*/ 1811677 w 4519987"/>
                    <a:gd name="connsiteY128" fmla="*/ 114300 h 4496940"/>
                    <a:gd name="connsiteX129" fmla="*/ 1859302 w 4519987"/>
                    <a:gd name="connsiteY129" fmla="*/ 104775 h 4496940"/>
                    <a:gd name="connsiteX130" fmla="*/ 1916452 w 4519987"/>
                    <a:gd name="connsiteY130" fmla="*/ 95250 h 4496940"/>
                    <a:gd name="connsiteX131" fmla="*/ 2030752 w 4519987"/>
                    <a:gd name="connsiteY131" fmla="*/ 66675 h 4496940"/>
                    <a:gd name="connsiteX132" fmla="*/ 2097427 w 4519987"/>
                    <a:gd name="connsiteY132" fmla="*/ 47625 h 4496940"/>
                    <a:gd name="connsiteX133" fmla="*/ 2164102 w 4519987"/>
                    <a:gd name="connsiteY133" fmla="*/ 38100 h 4496940"/>
                    <a:gd name="connsiteX134" fmla="*/ 2392702 w 4519987"/>
                    <a:gd name="connsiteY13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59527 w 4519987"/>
                    <a:gd name="connsiteY40" fmla="*/ 3971925 h 4496940"/>
                    <a:gd name="connsiteX41" fmla="*/ 3630952 w 4519987"/>
                    <a:gd name="connsiteY41" fmla="*/ 4010025 h 4496940"/>
                    <a:gd name="connsiteX42" fmla="*/ 3621427 w 4519987"/>
                    <a:gd name="connsiteY42" fmla="*/ 4038600 h 4496940"/>
                    <a:gd name="connsiteX43" fmla="*/ 3554752 w 4519987"/>
                    <a:gd name="connsiteY43" fmla="*/ 4095750 h 4496940"/>
                    <a:gd name="connsiteX44" fmla="*/ 3516652 w 4519987"/>
                    <a:gd name="connsiteY44" fmla="*/ 4114800 h 4496940"/>
                    <a:gd name="connsiteX45" fmla="*/ 3497602 w 4519987"/>
                    <a:gd name="connsiteY45" fmla="*/ 4143375 h 4496940"/>
                    <a:gd name="connsiteX46" fmla="*/ 3383302 w 4519987"/>
                    <a:gd name="connsiteY46" fmla="*/ 4210050 h 4496940"/>
                    <a:gd name="connsiteX47" fmla="*/ 3335677 w 4519987"/>
                    <a:gd name="connsiteY47" fmla="*/ 4238625 h 4496940"/>
                    <a:gd name="connsiteX48" fmla="*/ 3288052 w 4519987"/>
                    <a:gd name="connsiteY48" fmla="*/ 4248150 h 4496940"/>
                    <a:gd name="connsiteX49" fmla="*/ 3240427 w 4519987"/>
                    <a:gd name="connsiteY49" fmla="*/ 4267200 h 4496940"/>
                    <a:gd name="connsiteX50" fmla="*/ 3068977 w 4519987"/>
                    <a:gd name="connsiteY50" fmla="*/ 4286250 h 4496940"/>
                    <a:gd name="connsiteX51" fmla="*/ 2935627 w 4519987"/>
                    <a:gd name="connsiteY51" fmla="*/ 4333875 h 4496940"/>
                    <a:gd name="connsiteX52" fmla="*/ 2811802 w 4519987"/>
                    <a:gd name="connsiteY52" fmla="*/ 4371975 h 4496940"/>
                    <a:gd name="connsiteX53" fmla="*/ 2745127 w 4519987"/>
                    <a:gd name="connsiteY53" fmla="*/ 4410075 h 4496940"/>
                    <a:gd name="connsiteX54" fmla="*/ 2697502 w 4519987"/>
                    <a:gd name="connsiteY54" fmla="*/ 4429125 h 4496940"/>
                    <a:gd name="connsiteX55" fmla="*/ 2640352 w 4519987"/>
                    <a:gd name="connsiteY55" fmla="*/ 4457700 h 4496940"/>
                    <a:gd name="connsiteX56" fmla="*/ 2583202 w 4519987"/>
                    <a:gd name="connsiteY56" fmla="*/ 4467225 h 4496940"/>
                    <a:gd name="connsiteX57" fmla="*/ 2545102 w 4519987"/>
                    <a:gd name="connsiteY57" fmla="*/ 4486275 h 4496940"/>
                    <a:gd name="connsiteX58" fmla="*/ 2306977 w 4519987"/>
                    <a:gd name="connsiteY58" fmla="*/ 4476750 h 4496940"/>
                    <a:gd name="connsiteX59" fmla="*/ 2202202 w 4519987"/>
                    <a:gd name="connsiteY59" fmla="*/ 4457700 h 4496940"/>
                    <a:gd name="connsiteX60" fmla="*/ 2126002 w 4519987"/>
                    <a:gd name="connsiteY60" fmla="*/ 4429125 h 4496940"/>
                    <a:gd name="connsiteX61" fmla="*/ 1935502 w 4519987"/>
                    <a:gd name="connsiteY61" fmla="*/ 4400550 h 4496940"/>
                    <a:gd name="connsiteX62" fmla="*/ 1821202 w 4519987"/>
                    <a:gd name="connsiteY62" fmla="*/ 4371975 h 4496940"/>
                    <a:gd name="connsiteX63" fmla="*/ 1754527 w 4519987"/>
                    <a:gd name="connsiteY63" fmla="*/ 4352925 h 4496940"/>
                    <a:gd name="connsiteX64" fmla="*/ 1687852 w 4519987"/>
                    <a:gd name="connsiteY64" fmla="*/ 4343400 h 4496940"/>
                    <a:gd name="connsiteX65" fmla="*/ 1573552 w 4519987"/>
                    <a:gd name="connsiteY65" fmla="*/ 4305300 h 4496940"/>
                    <a:gd name="connsiteX66" fmla="*/ 1402102 w 4519987"/>
                    <a:gd name="connsiteY66" fmla="*/ 4276725 h 4496940"/>
                    <a:gd name="connsiteX67" fmla="*/ 1287802 w 4519987"/>
                    <a:gd name="connsiteY67" fmla="*/ 4229100 h 4496940"/>
                    <a:gd name="connsiteX68" fmla="*/ 1221127 w 4519987"/>
                    <a:gd name="connsiteY68" fmla="*/ 4200525 h 4496940"/>
                    <a:gd name="connsiteX69" fmla="*/ 1144927 w 4519987"/>
                    <a:gd name="connsiteY69" fmla="*/ 4171950 h 4496940"/>
                    <a:gd name="connsiteX70" fmla="*/ 1087777 w 4519987"/>
                    <a:gd name="connsiteY70" fmla="*/ 4143375 h 4496940"/>
                    <a:gd name="connsiteX71" fmla="*/ 1030627 w 4519987"/>
                    <a:gd name="connsiteY71" fmla="*/ 4124325 h 4496940"/>
                    <a:gd name="connsiteX72" fmla="*/ 925852 w 4519987"/>
                    <a:gd name="connsiteY72" fmla="*/ 4067175 h 4496940"/>
                    <a:gd name="connsiteX73" fmla="*/ 830602 w 4519987"/>
                    <a:gd name="connsiteY73" fmla="*/ 3981450 h 4496940"/>
                    <a:gd name="connsiteX74" fmla="*/ 763927 w 4519987"/>
                    <a:gd name="connsiteY74" fmla="*/ 3914775 h 4496940"/>
                    <a:gd name="connsiteX75" fmla="*/ 725827 w 4519987"/>
                    <a:gd name="connsiteY75" fmla="*/ 3876675 h 4496940"/>
                    <a:gd name="connsiteX76" fmla="*/ 697252 w 4519987"/>
                    <a:gd name="connsiteY76" fmla="*/ 3838575 h 4496940"/>
                    <a:gd name="connsiteX77" fmla="*/ 640102 w 4519987"/>
                    <a:gd name="connsiteY77" fmla="*/ 3781425 h 4496940"/>
                    <a:gd name="connsiteX78" fmla="*/ 611527 w 4519987"/>
                    <a:gd name="connsiteY78" fmla="*/ 3733800 h 4496940"/>
                    <a:gd name="connsiteX79" fmla="*/ 554377 w 4519987"/>
                    <a:gd name="connsiteY79" fmla="*/ 3657600 h 4496940"/>
                    <a:gd name="connsiteX80" fmla="*/ 525802 w 4519987"/>
                    <a:gd name="connsiteY80" fmla="*/ 3609975 h 4496940"/>
                    <a:gd name="connsiteX81" fmla="*/ 497227 w 4519987"/>
                    <a:gd name="connsiteY81" fmla="*/ 3552825 h 4496940"/>
                    <a:gd name="connsiteX82" fmla="*/ 440077 w 4519987"/>
                    <a:gd name="connsiteY82" fmla="*/ 3495675 h 4496940"/>
                    <a:gd name="connsiteX83" fmla="*/ 411502 w 4519987"/>
                    <a:gd name="connsiteY83" fmla="*/ 3448050 h 4496940"/>
                    <a:gd name="connsiteX84" fmla="*/ 278152 w 4519987"/>
                    <a:gd name="connsiteY84" fmla="*/ 3257550 h 4496940"/>
                    <a:gd name="connsiteX85" fmla="*/ 249577 w 4519987"/>
                    <a:gd name="connsiteY85" fmla="*/ 3200400 h 4496940"/>
                    <a:gd name="connsiteX86" fmla="*/ 240052 w 4519987"/>
                    <a:gd name="connsiteY86" fmla="*/ 3162300 h 4496940"/>
                    <a:gd name="connsiteX87" fmla="*/ 221002 w 4519987"/>
                    <a:gd name="connsiteY87" fmla="*/ 3105150 h 4496940"/>
                    <a:gd name="connsiteX88" fmla="*/ 173377 w 4519987"/>
                    <a:gd name="connsiteY88" fmla="*/ 3019425 h 4496940"/>
                    <a:gd name="connsiteX89" fmla="*/ 144802 w 4519987"/>
                    <a:gd name="connsiteY89" fmla="*/ 2924175 h 4496940"/>
                    <a:gd name="connsiteX90" fmla="*/ 68602 w 4519987"/>
                    <a:gd name="connsiteY90" fmla="*/ 2724150 h 4496940"/>
                    <a:gd name="connsiteX91" fmla="*/ 49552 w 4519987"/>
                    <a:gd name="connsiteY91" fmla="*/ 2638425 h 4496940"/>
                    <a:gd name="connsiteX92" fmla="*/ 40027 w 4519987"/>
                    <a:gd name="connsiteY92" fmla="*/ 2562225 h 4496940"/>
                    <a:gd name="connsiteX93" fmla="*/ 30502 w 4519987"/>
                    <a:gd name="connsiteY93" fmla="*/ 2514600 h 4496940"/>
                    <a:gd name="connsiteX94" fmla="*/ 11452 w 4519987"/>
                    <a:gd name="connsiteY94" fmla="*/ 2400300 h 4496940"/>
                    <a:gd name="connsiteX95" fmla="*/ 20977 w 4519987"/>
                    <a:gd name="connsiteY95" fmla="*/ 1905000 h 4496940"/>
                    <a:gd name="connsiteX96" fmla="*/ 30502 w 4519987"/>
                    <a:gd name="connsiteY96" fmla="*/ 1838325 h 4496940"/>
                    <a:gd name="connsiteX97" fmla="*/ 49552 w 4519987"/>
                    <a:gd name="connsiteY97" fmla="*/ 1781175 h 4496940"/>
                    <a:gd name="connsiteX98" fmla="*/ 59077 w 4519987"/>
                    <a:gd name="connsiteY98" fmla="*/ 1743075 h 4496940"/>
                    <a:gd name="connsiteX99" fmla="*/ 78127 w 4519987"/>
                    <a:gd name="connsiteY99" fmla="*/ 1685925 h 4496940"/>
                    <a:gd name="connsiteX100" fmla="*/ 87652 w 4519987"/>
                    <a:gd name="connsiteY100" fmla="*/ 1638300 h 4496940"/>
                    <a:gd name="connsiteX101" fmla="*/ 106702 w 4519987"/>
                    <a:gd name="connsiteY101" fmla="*/ 1590675 h 4496940"/>
                    <a:gd name="connsiteX102" fmla="*/ 135277 w 4519987"/>
                    <a:gd name="connsiteY102" fmla="*/ 1504950 h 4496940"/>
                    <a:gd name="connsiteX103" fmla="*/ 154327 w 4519987"/>
                    <a:gd name="connsiteY103" fmla="*/ 1419225 h 4496940"/>
                    <a:gd name="connsiteX104" fmla="*/ 230527 w 4519987"/>
                    <a:gd name="connsiteY104" fmla="*/ 1276350 h 4496940"/>
                    <a:gd name="connsiteX105" fmla="*/ 240052 w 4519987"/>
                    <a:gd name="connsiteY105" fmla="*/ 1247775 h 4496940"/>
                    <a:gd name="connsiteX106" fmla="*/ 268627 w 4519987"/>
                    <a:gd name="connsiteY106" fmla="*/ 1200150 h 4496940"/>
                    <a:gd name="connsiteX107" fmla="*/ 287677 w 4519987"/>
                    <a:gd name="connsiteY107" fmla="*/ 1152525 h 4496940"/>
                    <a:gd name="connsiteX108" fmla="*/ 316252 w 4519987"/>
                    <a:gd name="connsiteY108" fmla="*/ 1114425 h 4496940"/>
                    <a:gd name="connsiteX109" fmla="*/ 363877 w 4519987"/>
                    <a:gd name="connsiteY109" fmla="*/ 1038225 h 4496940"/>
                    <a:gd name="connsiteX110" fmla="*/ 382927 w 4519987"/>
                    <a:gd name="connsiteY110" fmla="*/ 1009650 h 4496940"/>
                    <a:gd name="connsiteX111" fmla="*/ 440077 w 4519987"/>
                    <a:gd name="connsiteY111" fmla="*/ 904875 h 4496940"/>
                    <a:gd name="connsiteX112" fmla="*/ 478177 w 4519987"/>
                    <a:gd name="connsiteY112" fmla="*/ 857250 h 4496940"/>
                    <a:gd name="connsiteX113" fmla="*/ 497227 w 4519987"/>
                    <a:gd name="connsiteY113" fmla="*/ 828675 h 4496940"/>
                    <a:gd name="connsiteX114" fmla="*/ 535327 w 4519987"/>
                    <a:gd name="connsiteY114" fmla="*/ 800100 h 4496940"/>
                    <a:gd name="connsiteX115" fmla="*/ 602002 w 4519987"/>
                    <a:gd name="connsiteY115" fmla="*/ 733425 h 4496940"/>
                    <a:gd name="connsiteX116" fmla="*/ 668677 w 4519987"/>
                    <a:gd name="connsiteY116" fmla="*/ 676275 h 4496940"/>
                    <a:gd name="connsiteX117" fmla="*/ 697252 w 4519987"/>
                    <a:gd name="connsiteY117" fmla="*/ 657225 h 4496940"/>
                    <a:gd name="connsiteX118" fmla="*/ 840127 w 4519987"/>
                    <a:gd name="connsiteY118" fmla="*/ 533400 h 4496940"/>
                    <a:gd name="connsiteX119" fmla="*/ 887752 w 4519987"/>
                    <a:gd name="connsiteY119" fmla="*/ 504825 h 4496940"/>
                    <a:gd name="connsiteX120" fmla="*/ 1167152 w 4519987"/>
                    <a:gd name="connsiteY120" fmla="*/ 311150 h 4496940"/>
                    <a:gd name="connsiteX121" fmla="*/ 1268752 w 4519987"/>
                    <a:gd name="connsiteY121" fmla="*/ 285750 h 4496940"/>
                    <a:gd name="connsiteX122" fmla="*/ 1411627 w 4519987"/>
                    <a:gd name="connsiteY122" fmla="*/ 190500 h 4496940"/>
                    <a:gd name="connsiteX123" fmla="*/ 1449727 w 4519987"/>
                    <a:gd name="connsiteY123" fmla="*/ 161925 h 4496940"/>
                    <a:gd name="connsiteX124" fmla="*/ 1525927 w 4519987"/>
                    <a:gd name="connsiteY124" fmla="*/ 152400 h 4496940"/>
                    <a:gd name="connsiteX125" fmla="*/ 1583077 w 4519987"/>
                    <a:gd name="connsiteY125" fmla="*/ 142875 h 4496940"/>
                    <a:gd name="connsiteX126" fmla="*/ 1716427 w 4519987"/>
                    <a:gd name="connsiteY126" fmla="*/ 123825 h 4496940"/>
                    <a:gd name="connsiteX127" fmla="*/ 1811677 w 4519987"/>
                    <a:gd name="connsiteY127" fmla="*/ 114300 h 4496940"/>
                    <a:gd name="connsiteX128" fmla="*/ 1859302 w 4519987"/>
                    <a:gd name="connsiteY128" fmla="*/ 104775 h 4496940"/>
                    <a:gd name="connsiteX129" fmla="*/ 1916452 w 4519987"/>
                    <a:gd name="connsiteY129" fmla="*/ 95250 h 4496940"/>
                    <a:gd name="connsiteX130" fmla="*/ 2030752 w 4519987"/>
                    <a:gd name="connsiteY130" fmla="*/ 66675 h 4496940"/>
                    <a:gd name="connsiteX131" fmla="*/ 2097427 w 4519987"/>
                    <a:gd name="connsiteY131" fmla="*/ 47625 h 4496940"/>
                    <a:gd name="connsiteX132" fmla="*/ 2164102 w 4519987"/>
                    <a:gd name="connsiteY132" fmla="*/ 38100 h 4496940"/>
                    <a:gd name="connsiteX133" fmla="*/ 2392702 w 4519987"/>
                    <a:gd name="connsiteY13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659527 w 4519987"/>
                    <a:gd name="connsiteY39" fmla="*/ 3971925 h 4496940"/>
                    <a:gd name="connsiteX40" fmla="*/ 3630952 w 4519987"/>
                    <a:gd name="connsiteY40" fmla="*/ 4010025 h 4496940"/>
                    <a:gd name="connsiteX41" fmla="*/ 3621427 w 4519987"/>
                    <a:gd name="connsiteY41" fmla="*/ 4038600 h 4496940"/>
                    <a:gd name="connsiteX42" fmla="*/ 3554752 w 4519987"/>
                    <a:gd name="connsiteY42" fmla="*/ 4095750 h 4496940"/>
                    <a:gd name="connsiteX43" fmla="*/ 3516652 w 4519987"/>
                    <a:gd name="connsiteY43" fmla="*/ 4114800 h 4496940"/>
                    <a:gd name="connsiteX44" fmla="*/ 3497602 w 4519987"/>
                    <a:gd name="connsiteY44" fmla="*/ 4143375 h 4496940"/>
                    <a:gd name="connsiteX45" fmla="*/ 3383302 w 4519987"/>
                    <a:gd name="connsiteY45" fmla="*/ 4210050 h 4496940"/>
                    <a:gd name="connsiteX46" fmla="*/ 3335677 w 4519987"/>
                    <a:gd name="connsiteY46" fmla="*/ 4238625 h 4496940"/>
                    <a:gd name="connsiteX47" fmla="*/ 3288052 w 4519987"/>
                    <a:gd name="connsiteY47" fmla="*/ 4248150 h 4496940"/>
                    <a:gd name="connsiteX48" fmla="*/ 3240427 w 4519987"/>
                    <a:gd name="connsiteY48" fmla="*/ 4267200 h 4496940"/>
                    <a:gd name="connsiteX49" fmla="*/ 3068977 w 4519987"/>
                    <a:gd name="connsiteY49" fmla="*/ 4286250 h 4496940"/>
                    <a:gd name="connsiteX50" fmla="*/ 2935627 w 4519987"/>
                    <a:gd name="connsiteY50" fmla="*/ 4333875 h 4496940"/>
                    <a:gd name="connsiteX51" fmla="*/ 2811802 w 4519987"/>
                    <a:gd name="connsiteY51" fmla="*/ 4371975 h 4496940"/>
                    <a:gd name="connsiteX52" fmla="*/ 2745127 w 4519987"/>
                    <a:gd name="connsiteY52" fmla="*/ 4410075 h 4496940"/>
                    <a:gd name="connsiteX53" fmla="*/ 2697502 w 4519987"/>
                    <a:gd name="connsiteY53" fmla="*/ 4429125 h 4496940"/>
                    <a:gd name="connsiteX54" fmla="*/ 2640352 w 4519987"/>
                    <a:gd name="connsiteY54" fmla="*/ 4457700 h 4496940"/>
                    <a:gd name="connsiteX55" fmla="*/ 2583202 w 4519987"/>
                    <a:gd name="connsiteY55" fmla="*/ 4467225 h 4496940"/>
                    <a:gd name="connsiteX56" fmla="*/ 2545102 w 4519987"/>
                    <a:gd name="connsiteY56" fmla="*/ 4486275 h 4496940"/>
                    <a:gd name="connsiteX57" fmla="*/ 2306977 w 4519987"/>
                    <a:gd name="connsiteY57" fmla="*/ 4476750 h 4496940"/>
                    <a:gd name="connsiteX58" fmla="*/ 2202202 w 4519987"/>
                    <a:gd name="connsiteY58" fmla="*/ 4457700 h 4496940"/>
                    <a:gd name="connsiteX59" fmla="*/ 2126002 w 4519987"/>
                    <a:gd name="connsiteY59" fmla="*/ 4429125 h 4496940"/>
                    <a:gd name="connsiteX60" fmla="*/ 1935502 w 4519987"/>
                    <a:gd name="connsiteY60" fmla="*/ 4400550 h 4496940"/>
                    <a:gd name="connsiteX61" fmla="*/ 1821202 w 4519987"/>
                    <a:gd name="connsiteY61" fmla="*/ 4371975 h 4496940"/>
                    <a:gd name="connsiteX62" fmla="*/ 1754527 w 4519987"/>
                    <a:gd name="connsiteY62" fmla="*/ 4352925 h 4496940"/>
                    <a:gd name="connsiteX63" fmla="*/ 1687852 w 4519987"/>
                    <a:gd name="connsiteY63" fmla="*/ 4343400 h 4496940"/>
                    <a:gd name="connsiteX64" fmla="*/ 1573552 w 4519987"/>
                    <a:gd name="connsiteY64" fmla="*/ 4305300 h 4496940"/>
                    <a:gd name="connsiteX65" fmla="*/ 1402102 w 4519987"/>
                    <a:gd name="connsiteY65" fmla="*/ 4276725 h 4496940"/>
                    <a:gd name="connsiteX66" fmla="*/ 1287802 w 4519987"/>
                    <a:gd name="connsiteY66" fmla="*/ 4229100 h 4496940"/>
                    <a:gd name="connsiteX67" fmla="*/ 1221127 w 4519987"/>
                    <a:gd name="connsiteY67" fmla="*/ 4200525 h 4496940"/>
                    <a:gd name="connsiteX68" fmla="*/ 1144927 w 4519987"/>
                    <a:gd name="connsiteY68" fmla="*/ 4171950 h 4496940"/>
                    <a:gd name="connsiteX69" fmla="*/ 1087777 w 4519987"/>
                    <a:gd name="connsiteY69" fmla="*/ 4143375 h 4496940"/>
                    <a:gd name="connsiteX70" fmla="*/ 1030627 w 4519987"/>
                    <a:gd name="connsiteY70" fmla="*/ 4124325 h 4496940"/>
                    <a:gd name="connsiteX71" fmla="*/ 925852 w 4519987"/>
                    <a:gd name="connsiteY71" fmla="*/ 4067175 h 4496940"/>
                    <a:gd name="connsiteX72" fmla="*/ 830602 w 4519987"/>
                    <a:gd name="connsiteY72" fmla="*/ 3981450 h 4496940"/>
                    <a:gd name="connsiteX73" fmla="*/ 763927 w 4519987"/>
                    <a:gd name="connsiteY73" fmla="*/ 3914775 h 4496940"/>
                    <a:gd name="connsiteX74" fmla="*/ 725827 w 4519987"/>
                    <a:gd name="connsiteY74" fmla="*/ 3876675 h 4496940"/>
                    <a:gd name="connsiteX75" fmla="*/ 697252 w 4519987"/>
                    <a:gd name="connsiteY75" fmla="*/ 3838575 h 4496940"/>
                    <a:gd name="connsiteX76" fmla="*/ 640102 w 4519987"/>
                    <a:gd name="connsiteY76" fmla="*/ 3781425 h 4496940"/>
                    <a:gd name="connsiteX77" fmla="*/ 611527 w 4519987"/>
                    <a:gd name="connsiteY77" fmla="*/ 3733800 h 4496940"/>
                    <a:gd name="connsiteX78" fmla="*/ 554377 w 4519987"/>
                    <a:gd name="connsiteY78" fmla="*/ 3657600 h 4496940"/>
                    <a:gd name="connsiteX79" fmla="*/ 525802 w 4519987"/>
                    <a:gd name="connsiteY79" fmla="*/ 3609975 h 4496940"/>
                    <a:gd name="connsiteX80" fmla="*/ 497227 w 4519987"/>
                    <a:gd name="connsiteY80" fmla="*/ 3552825 h 4496940"/>
                    <a:gd name="connsiteX81" fmla="*/ 440077 w 4519987"/>
                    <a:gd name="connsiteY81" fmla="*/ 3495675 h 4496940"/>
                    <a:gd name="connsiteX82" fmla="*/ 411502 w 4519987"/>
                    <a:gd name="connsiteY82" fmla="*/ 3448050 h 4496940"/>
                    <a:gd name="connsiteX83" fmla="*/ 278152 w 4519987"/>
                    <a:gd name="connsiteY83" fmla="*/ 3257550 h 4496940"/>
                    <a:gd name="connsiteX84" fmla="*/ 249577 w 4519987"/>
                    <a:gd name="connsiteY84" fmla="*/ 3200400 h 4496940"/>
                    <a:gd name="connsiteX85" fmla="*/ 240052 w 4519987"/>
                    <a:gd name="connsiteY85" fmla="*/ 3162300 h 4496940"/>
                    <a:gd name="connsiteX86" fmla="*/ 221002 w 4519987"/>
                    <a:gd name="connsiteY86" fmla="*/ 3105150 h 4496940"/>
                    <a:gd name="connsiteX87" fmla="*/ 173377 w 4519987"/>
                    <a:gd name="connsiteY87" fmla="*/ 3019425 h 4496940"/>
                    <a:gd name="connsiteX88" fmla="*/ 144802 w 4519987"/>
                    <a:gd name="connsiteY88" fmla="*/ 2924175 h 4496940"/>
                    <a:gd name="connsiteX89" fmla="*/ 68602 w 4519987"/>
                    <a:gd name="connsiteY89" fmla="*/ 2724150 h 4496940"/>
                    <a:gd name="connsiteX90" fmla="*/ 49552 w 4519987"/>
                    <a:gd name="connsiteY90" fmla="*/ 2638425 h 4496940"/>
                    <a:gd name="connsiteX91" fmla="*/ 40027 w 4519987"/>
                    <a:gd name="connsiteY91" fmla="*/ 2562225 h 4496940"/>
                    <a:gd name="connsiteX92" fmla="*/ 30502 w 4519987"/>
                    <a:gd name="connsiteY92" fmla="*/ 2514600 h 4496940"/>
                    <a:gd name="connsiteX93" fmla="*/ 11452 w 4519987"/>
                    <a:gd name="connsiteY93" fmla="*/ 2400300 h 4496940"/>
                    <a:gd name="connsiteX94" fmla="*/ 20977 w 4519987"/>
                    <a:gd name="connsiteY94" fmla="*/ 1905000 h 4496940"/>
                    <a:gd name="connsiteX95" fmla="*/ 30502 w 4519987"/>
                    <a:gd name="connsiteY95" fmla="*/ 1838325 h 4496940"/>
                    <a:gd name="connsiteX96" fmla="*/ 49552 w 4519987"/>
                    <a:gd name="connsiteY96" fmla="*/ 1781175 h 4496940"/>
                    <a:gd name="connsiteX97" fmla="*/ 59077 w 4519987"/>
                    <a:gd name="connsiteY97" fmla="*/ 1743075 h 4496940"/>
                    <a:gd name="connsiteX98" fmla="*/ 78127 w 4519987"/>
                    <a:gd name="connsiteY98" fmla="*/ 1685925 h 4496940"/>
                    <a:gd name="connsiteX99" fmla="*/ 87652 w 4519987"/>
                    <a:gd name="connsiteY99" fmla="*/ 1638300 h 4496940"/>
                    <a:gd name="connsiteX100" fmla="*/ 106702 w 4519987"/>
                    <a:gd name="connsiteY100" fmla="*/ 1590675 h 4496940"/>
                    <a:gd name="connsiteX101" fmla="*/ 135277 w 4519987"/>
                    <a:gd name="connsiteY101" fmla="*/ 1504950 h 4496940"/>
                    <a:gd name="connsiteX102" fmla="*/ 154327 w 4519987"/>
                    <a:gd name="connsiteY102" fmla="*/ 1419225 h 4496940"/>
                    <a:gd name="connsiteX103" fmla="*/ 230527 w 4519987"/>
                    <a:gd name="connsiteY103" fmla="*/ 1276350 h 4496940"/>
                    <a:gd name="connsiteX104" fmla="*/ 240052 w 4519987"/>
                    <a:gd name="connsiteY104" fmla="*/ 1247775 h 4496940"/>
                    <a:gd name="connsiteX105" fmla="*/ 268627 w 4519987"/>
                    <a:gd name="connsiteY105" fmla="*/ 1200150 h 4496940"/>
                    <a:gd name="connsiteX106" fmla="*/ 287677 w 4519987"/>
                    <a:gd name="connsiteY106" fmla="*/ 1152525 h 4496940"/>
                    <a:gd name="connsiteX107" fmla="*/ 316252 w 4519987"/>
                    <a:gd name="connsiteY107" fmla="*/ 1114425 h 4496940"/>
                    <a:gd name="connsiteX108" fmla="*/ 363877 w 4519987"/>
                    <a:gd name="connsiteY108" fmla="*/ 1038225 h 4496940"/>
                    <a:gd name="connsiteX109" fmla="*/ 382927 w 4519987"/>
                    <a:gd name="connsiteY109" fmla="*/ 1009650 h 4496940"/>
                    <a:gd name="connsiteX110" fmla="*/ 440077 w 4519987"/>
                    <a:gd name="connsiteY110" fmla="*/ 904875 h 4496940"/>
                    <a:gd name="connsiteX111" fmla="*/ 478177 w 4519987"/>
                    <a:gd name="connsiteY111" fmla="*/ 857250 h 4496940"/>
                    <a:gd name="connsiteX112" fmla="*/ 497227 w 4519987"/>
                    <a:gd name="connsiteY112" fmla="*/ 828675 h 4496940"/>
                    <a:gd name="connsiteX113" fmla="*/ 535327 w 4519987"/>
                    <a:gd name="connsiteY113" fmla="*/ 800100 h 4496940"/>
                    <a:gd name="connsiteX114" fmla="*/ 602002 w 4519987"/>
                    <a:gd name="connsiteY114" fmla="*/ 733425 h 4496940"/>
                    <a:gd name="connsiteX115" fmla="*/ 668677 w 4519987"/>
                    <a:gd name="connsiteY115" fmla="*/ 676275 h 4496940"/>
                    <a:gd name="connsiteX116" fmla="*/ 697252 w 4519987"/>
                    <a:gd name="connsiteY116" fmla="*/ 657225 h 4496940"/>
                    <a:gd name="connsiteX117" fmla="*/ 840127 w 4519987"/>
                    <a:gd name="connsiteY117" fmla="*/ 533400 h 4496940"/>
                    <a:gd name="connsiteX118" fmla="*/ 887752 w 4519987"/>
                    <a:gd name="connsiteY118" fmla="*/ 504825 h 4496940"/>
                    <a:gd name="connsiteX119" fmla="*/ 1167152 w 4519987"/>
                    <a:gd name="connsiteY119" fmla="*/ 311150 h 4496940"/>
                    <a:gd name="connsiteX120" fmla="*/ 1268752 w 4519987"/>
                    <a:gd name="connsiteY120" fmla="*/ 285750 h 4496940"/>
                    <a:gd name="connsiteX121" fmla="*/ 1411627 w 4519987"/>
                    <a:gd name="connsiteY121" fmla="*/ 190500 h 4496940"/>
                    <a:gd name="connsiteX122" fmla="*/ 1449727 w 4519987"/>
                    <a:gd name="connsiteY122" fmla="*/ 161925 h 4496940"/>
                    <a:gd name="connsiteX123" fmla="*/ 1525927 w 4519987"/>
                    <a:gd name="connsiteY123" fmla="*/ 152400 h 4496940"/>
                    <a:gd name="connsiteX124" fmla="*/ 1583077 w 4519987"/>
                    <a:gd name="connsiteY124" fmla="*/ 142875 h 4496940"/>
                    <a:gd name="connsiteX125" fmla="*/ 1716427 w 4519987"/>
                    <a:gd name="connsiteY125" fmla="*/ 123825 h 4496940"/>
                    <a:gd name="connsiteX126" fmla="*/ 1811677 w 4519987"/>
                    <a:gd name="connsiteY126" fmla="*/ 114300 h 4496940"/>
                    <a:gd name="connsiteX127" fmla="*/ 1859302 w 4519987"/>
                    <a:gd name="connsiteY127" fmla="*/ 104775 h 4496940"/>
                    <a:gd name="connsiteX128" fmla="*/ 1916452 w 4519987"/>
                    <a:gd name="connsiteY128" fmla="*/ 95250 h 4496940"/>
                    <a:gd name="connsiteX129" fmla="*/ 2030752 w 4519987"/>
                    <a:gd name="connsiteY129" fmla="*/ 66675 h 4496940"/>
                    <a:gd name="connsiteX130" fmla="*/ 2097427 w 4519987"/>
                    <a:gd name="connsiteY130" fmla="*/ 47625 h 4496940"/>
                    <a:gd name="connsiteX131" fmla="*/ 2164102 w 4519987"/>
                    <a:gd name="connsiteY131" fmla="*/ 38100 h 4496940"/>
                    <a:gd name="connsiteX132" fmla="*/ 2392702 w 4519987"/>
                    <a:gd name="connsiteY13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659527 w 4519987"/>
                    <a:gd name="connsiteY38" fmla="*/ 3971925 h 4496940"/>
                    <a:gd name="connsiteX39" fmla="*/ 3630952 w 4519987"/>
                    <a:gd name="connsiteY39" fmla="*/ 4010025 h 4496940"/>
                    <a:gd name="connsiteX40" fmla="*/ 3621427 w 4519987"/>
                    <a:gd name="connsiteY40" fmla="*/ 4038600 h 4496940"/>
                    <a:gd name="connsiteX41" fmla="*/ 3554752 w 4519987"/>
                    <a:gd name="connsiteY41" fmla="*/ 4095750 h 4496940"/>
                    <a:gd name="connsiteX42" fmla="*/ 3516652 w 4519987"/>
                    <a:gd name="connsiteY42" fmla="*/ 4114800 h 4496940"/>
                    <a:gd name="connsiteX43" fmla="*/ 3497602 w 4519987"/>
                    <a:gd name="connsiteY43" fmla="*/ 4143375 h 4496940"/>
                    <a:gd name="connsiteX44" fmla="*/ 3383302 w 4519987"/>
                    <a:gd name="connsiteY44" fmla="*/ 4210050 h 4496940"/>
                    <a:gd name="connsiteX45" fmla="*/ 3335677 w 4519987"/>
                    <a:gd name="connsiteY45" fmla="*/ 4238625 h 4496940"/>
                    <a:gd name="connsiteX46" fmla="*/ 3288052 w 4519987"/>
                    <a:gd name="connsiteY46" fmla="*/ 4248150 h 4496940"/>
                    <a:gd name="connsiteX47" fmla="*/ 3240427 w 4519987"/>
                    <a:gd name="connsiteY47" fmla="*/ 4267200 h 4496940"/>
                    <a:gd name="connsiteX48" fmla="*/ 3068977 w 4519987"/>
                    <a:gd name="connsiteY48" fmla="*/ 4286250 h 4496940"/>
                    <a:gd name="connsiteX49" fmla="*/ 2935627 w 4519987"/>
                    <a:gd name="connsiteY49" fmla="*/ 4333875 h 4496940"/>
                    <a:gd name="connsiteX50" fmla="*/ 2811802 w 4519987"/>
                    <a:gd name="connsiteY50" fmla="*/ 4371975 h 4496940"/>
                    <a:gd name="connsiteX51" fmla="*/ 2745127 w 4519987"/>
                    <a:gd name="connsiteY51" fmla="*/ 4410075 h 4496940"/>
                    <a:gd name="connsiteX52" fmla="*/ 2697502 w 4519987"/>
                    <a:gd name="connsiteY52" fmla="*/ 4429125 h 4496940"/>
                    <a:gd name="connsiteX53" fmla="*/ 2640352 w 4519987"/>
                    <a:gd name="connsiteY53" fmla="*/ 4457700 h 4496940"/>
                    <a:gd name="connsiteX54" fmla="*/ 2583202 w 4519987"/>
                    <a:gd name="connsiteY54" fmla="*/ 4467225 h 4496940"/>
                    <a:gd name="connsiteX55" fmla="*/ 2545102 w 4519987"/>
                    <a:gd name="connsiteY55" fmla="*/ 4486275 h 4496940"/>
                    <a:gd name="connsiteX56" fmla="*/ 2306977 w 4519987"/>
                    <a:gd name="connsiteY56" fmla="*/ 4476750 h 4496940"/>
                    <a:gd name="connsiteX57" fmla="*/ 2202202 w 4519987"/>
                    <a:gd name="connsiteY57" fmla="*/ 4457700 h 4496940"/>
                    <a:gd name="connsiteX58" fmla="*/ 2126002 w 4519987"/>
                    <a:gd name="connsiteY58" fmla="*/ 4429125 h 4496940"/>
                    <a:gd name="connsiteX59" fmla="*/ 1935502 w 4519987"/>
                    <a:gd name="connsiteY59" fmla="*/ 4400550 h 4496940"/>
                    <a:gd name="connsiteX60" fmla="*/ 1821202 w 4519987"/>
                    <a:gd name="connsiteY60" fmla="*/ 4371975 h 4496940"/>
                    <a:gd name="connsiteX61" fmla="*/ 1754527 w 4519987"/>
                    <a:gd name="connsiteY61" fmla="*/ 4352925 h 4496940"/>
                    <a:gd name="connsiteX62" fmla="*/ 1687852 w 4519987"/>
                    <a:gd name="connsiteY62" fmla="*/ 4343400 h 4496940"/>
                    <a:gd name="connsiteX63" fmla="*/ 1573552 w 4519987"/>
                    <a:gd name="connsiteY63" fmla="*/ 4305300 h 4496940"/>
                    <a:gd name="connsiteX64" fmla="*/ 1402102 w 4519987"/>
                    <a:gd name="connsiteY64" fmla="*/ 4276725 h 4496940"/>
                    <a:gd name="connsiteX65" fmla="*/ 1287802 w 4519987"/>
                    <a:gd name="connsiteY65" fmla="*/ 4229100 h 4496940"/>
                    <a:gd name="connsiteX66" fmla="*/ 1221127 w 4519987"/>
                    <a:gd name="connsiteY66" fmla="*/ 4200525 h 4496940"/>
                    <a:gd name="connsiteX67" fmla="*/ 1144927 w 4519987"/>
                    <a:gd name="connsiteY67" fmla="*/ 4171950 h 4496940"/>
                    <a:gd name="connsiteX68" fmla="*/ 1087777 w 4519987"/>
                    <a:gd name="connsiteY68" fmla="*/ 4143375 h 4496940"/>
                    <a:gd name="connsiteX69" fmla="*/ 1030627 w 4519987"/>
                    <a:gd name="connsiteY69" fmla="*/ 4124325 h 4496940"/>
                    <a:gd name="connsiteX70" fmla="*/ 925852 w 4519987"/>
                    <a:gd name="connsiteY70" fmla="*/ 4067175 h 4496940"/>
                    <a:gd name="connsiteX71" fmla="*/ 830602 w 4519987"/>
                    <a:gd name="connsiteY71" fmla="*/ 3981450 h 4496940"/>
                    <a:gd name="connsiteX72" fmla="*/ 763927 w 4519987"/>
                    <a:gd name="connsiteY72" fmla="*/ 3914775 h 4496940"/>
                    <a:gd name="connsiteX73" fmla="*/ 725827 w 4519987"/>
                    <a:gd name="connsiteY73" fmla="*/ 3876675 h 4496940"/>
                    <a:gd name="connsiteX74" fmla="*/ 697252 w 4519987"/>
                    <a:gd name="connsiteY74" fmla="*/ 3838575 h 4496940"/>
                    <a:gd name="connsiteX75" fmla="*/ 640102 w 4519987"/>
                    <a:gd name="connsiteY75" fmla="*/ 3781425 h 4496940"/>
                    <a:gd name="connsiteX76" fmla="*/ 611527 w 4519987"/>
                    <a:gd name="connsiteY76" fmla="*/ 3733800 h 4496940"/>
                    <a:gd name="connsiteX77" fmla="*/ 554377 w 4519987"/>
                    <a:gd name="connsiteY77" fmla="*/ 3657600 h 4496940"/>
                    <a:gd name="connsiteX78" fmla="*/ 525802 w 4519987"/>
                    <a:gd name="connsiteY78" fmla="*/ 3609975 h 4496940"/>
                    <a:gd name="connsiteX79" fmla="*/ 497227 w 4519987"/>
                    <a:gd name="connsiteY79" fmla="*/ 3552825 h 4496940"/>
                    <a:gd name="connsiteX80" fmla="*/ 440077 w 4519987"/>
                    <a:gd name="connsiteY80" fmla="*/ 3495675 h 4496940"/>
                    <a:gd name="connsiteX81" fmla="*/ 411502 w 4519987"/>
                    <a:gd name="connsiteY81" fmla="*/ 3448050 h 4496940"/>
                    <a:gd name="connsiteX82" fmla="*/ 278152 w 4519987"/>
                    <a:gd name="connsiteY82" fmla="*/ 3257550 h 4496940"/>
                    <a:gd name="connsiteX83" fmla="*/ 249577 w 4519987"/>
                    <a:gd name="connsiteY83" fmla="*/ 3200400 h 4496940"/>
                    <a:gd name="connsiteX84" fmla="*/ 240052 w 4519987"/>
                    <a:gd name="connsiteY84" fmla="*/ 3162300 h 4496940"/>
                    <a:gd name="connsiteX85" fmla="*/ 221002 w 4519987"/>
                    <a:gd name="connsiteY85" fmla="*/ 3105150 h 4496940"/>
                    <a:gd name="connsiteX86" fmla="*/ 173377 w 4519987"/>
                    <a:gd name="connsiteY86" fmla="*/ 3019425 h 4496940"/>
                    <a:gd name="connsiteX87" fmla="*/ 144802 w 4519987"/>
                    <a:gd name="connsiteY87" fmla="*/ 2924175 h 4496940"/>
                    <a:gd name="connsiteX88" fmla="*/ 68602 w 4519987"/>
                    <a:gd name="connsiteY88" fmla="*/ 2724150 h 4496940"/>
                    <a:gd name="connsiteX89" fmla="*/ 49552 w 4519987"/>
                    <a:gd name="connsiteY89" fmla="*/ 2638425 h 4496940"/>
                    <a:gd name="connsiteX90" fmla="*/ 40027 w 4519987"/>
                    <a:gd name="connsiteY90" fmla="*/ 2562225 h 4496940"/>
                    <a:gd name="connsiteX91" fmla="*/ 30502 w 4519987"/>
                    <a:gd name="connsiteY91" fmla="*/ 2514600 h 4496940"/>
                    <a:gd name="connsiteX92" fmla="*/ 11452 w 4519987"/>
                    <a:gd name="connsiteY92" fmla="*/ 2400300 h 4496940"/>
                    <a:gd name="connsiteX93" fmla="*/ 20977 w 4519987"/>
                    <a:gd name="connsiteY93" fmla="*/ 1905000 h 4496940"/>
                    <a:gd name="connsiteX94" fmla="*/ 30502 w 4519987"/>
                    <a:gd name="connsiteY94" fmla="*/ 1838325 h 4496940"/>
                    <a:gd name="connsiteX95" fmla="*/ 49552 w 4519987"/>
                    <a:gd name="connsiteY95" fmla="*/ 1781175 h 4496940"/>
                    <a:gd name="connsiteX96" fmla="*/ 59077 w 4519987"/>
                    <a:gd name="connsiteY96" fmla="*/ 1743075 h 4496940"/>
                    <a:gd name="connsiteX97" fmla="*/ 78127 w 4519987"/>
                    <a:gd name="connsiteY97" fmla="*/ 1685925 h 4496940"/>
                    <a:gd name="connsiteX98" fmla="*/ 87652 w 4519987"/>
                    <a:gd name="connsiteY98" fmla="*/ 1638300 h 4496940"/>
                    <a:gd name="connsiteX99" fmla="*/ 106702 w 4519987"/>
                    <a:gd name="connsiteY99" fmla="*/ 1590675 h 4496940"/>
                    <a:gd name="connsiteX100" fmla="*/ 135277 w 4519987"/>
                    <a:gd name="connsiteY100" fmla="*/ 1504950 h 4496940"/>
                    <a:gd name="connsiteX101" fmla="*/ 154327 w 4519987"/>
                    <a:gd name="connsiteY101" fmla="*/ 1419225 h 4496940"/>
                    <a:gd name="connsiteX102" fmla="*/ 230527 w 4519987"/>
                    <a:gd name="connsiteY102" fmla="*/ 1276350 h 4496940"/>
                    <a:gd name="connsiteX103" fmla="*/ 240052 w 4519987"/>
                    <a:gd name="connsiteY103" fmla="*/ 1247775 h 4496940"/>
                    <a:gd name="connsiteX104" fmla="*/ 268627 w 4519987"/>
                    <a:gd name="connsiteY104" fmla="*/ 1200150 h 4496940"/>
                    <a:gd name="connsiteX105" fmla="*/ 287677 w 4519987"/>
                    <a:gd name="connsiteY105" fmla="*/ 1152525 h 4496940"/>
                    <a:gd name="connsiteX106" fmla="*/ 316252 w 4519987"/>
                    <a:gd name="connsiteY106" fmla="*/ 1114425 h 4496940"/>
                    <a:gd name="connsiteX107" fmla="*/ 363877 w 4519987"/>
                    <a:gd name="connsiteY107" fmla="*/ 1038225 h 4496940"/>
                    <a:gd name="connsiteX108" fmla="*/ 382927 w 4519987"/>
                    <a:gd name="connsiteY108" fmla="*/ 1009650 h 4496940"/>
                    <a:gd name="connsiteX109" fmla="*/ 440077 w 4519987"/>
                    <a:gd name="connsiteY109" fmla="*/ 904875 h 4496940"/>
                    <a:gd name="connsiteX110" fmla="*/ 478177 w 4519987"/>
                    <a:gd name="connsiteY110" fmla="*/ 857250 h 4496940"/>
                    <a:gd name="connsiteX111" fmla="*/ 497227 w 4519987"/>
                    <a:gd name="connsiteY111" fmla="*/ 828675 h 4496940"/>
                    <a:gd name="connsiteX112" fmla="*/ 535327 w 4519987"/>
                    <a:gd name="connsiteY112" fmla="*/ 800100 h 4496940"/>
                    <a:gd name="connsiteX113" fmla="*/ 602002 w 4519987"/>
                    <a:gd name="connsiteY113" fmla="*/ 733425 h 4496940"/>
                    <a:gd name="connsiteX114" fmla="*/ 668677 w 4519987"/>
                    <a:gd name="connsiteY114" fmla="*/ 676275 h 4496940"/>
                    <a:gd name="connsiteX115" fmla="*/ 697252 w 4519987"/>
                    <a:gd name="connsiteY115" fmla="*/ 657225 h 4496940"/>
                    <a:gd name="connsiteX116" fmla="*/ 840127 w 4519987"/>
                    <a:gd name="connsiteY116" fmla="*/ 533400 h 4496940"/>
                    <a:gd name="connsiteX117" fmla="*/ 887752 w 4519987"/>
                    <a:gd name="connsiteY117" fmla="*/ 504825 h 4496940"/>
                    <a:gd name="connsiteX118" fmla="*/ 1167152 w 4519987"/>
                    <a:gd name="connsiteY118" fmla="*/ 311150 h 4496940"/>
                    <a:gd name="connsiteX119" fmla="*/ 1268752 w 4519987"/>
                    <a:gd name="connsiteY119" fmla="*/ 285750 h 4496940"/>
                    <a:gd name="connsiteX120" fmla="*/ 1411627 w 4519987"/>
                    <a:gd name="connsiteY120" fmla="*/ 190500 h 4496940"/>
                    <a:gd name="connsiteX121" fmla="*/ 1449727 w 4519987"/>
                    <a:gd name="connsiteY121" fmla="*/ 161925 h 4496940"/>
                    <a:gd name="connsiteX122" fmla="*/ 1525927 w 4519987"/>
                    <a:gd name="connsiteY122" fmla="*/ 152400 h 4496940"/>
                    <a:gd name="connsiteX123" fmla="*/ 1583077 w 4519987"/>
                    <a:gd name="connsiteY123" fmla="*/ 142875 h 4496940"/>
                    <a:gd name="connsiteX124" fmla="*/ 1716427 w 4519987"/>
                    <a:gd name="connsiteY124" fmla="*/ 123825 h 4496940"/>
                    <a:gd name="connsiteX125" fmla="*/ 1811677 w 4519987"/>
                    <a:gd name="connsiteY125" fmla="*/ 114300 h 4496940"/>
                    <a:gd name="connsiteX126" fmla="*/ 1859302 w 4519987"/>
                    <a:gd name="connsiteY126" fmla="*/ 104775 h 4496940"/>
                    <a:gd name="connsiteX127" fmla="*/ 1916452 w 4519987"/>
                    <a:gd name="connsiteY127" fmla="*/ 95250 h 4496940"/>
                    <a:gd name="connsiteX128" fmla="*/ 2030752 w 4519987"/>
                    <a:gd name="connsiteY128" fmla="*/ 66675 h 4496940"/>
                    <a:gd name="connsiteX129" fmla="*/ 2097427 w 4519987"/>
                    <a:gd name="connsiteY129" fmla="*/ 47625 h 4496940"/>
                    <a:gd name="connsiteX130" fmla="*/ 2164102 w 4519987"/>
                    <a:gd name="connsiteY130" fmla="*/ 38100 h 4496940"/>
                    <a:gd name="connsiteX131" fmla="*/ 2392702 w 4519987"/>
                    <a:gd name="connsiteY13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88152 w 4519987"/>
                    <a:gd name="connsiteY33" fmla="*/ 3495675 h 4496940"/>
                    <a:gd name="connsiteX34" fmla="*/ 4059577 w 4519987"/>
                    <a:gd name="connsiteY34" fmla="*/ 3533775 h 4496940"/>
                    <a:gd name="connsiteX35" fmla="*/ 4002427 w 4519987"/>
                    <a:gd name="connsiteY35" fmla="*/ 3600450 h 4496940"/>
                    <a:gd name="connsiteX36" fmla="*/ 3954802 w 4519987"/>
                    <a:gd name="connsiteY36" fmla="*/ 3648075 h 4496940"/>
                    <a:gd name="connsiteX37" fmla="*/ 3659527 w 4519987"/>
                    <a:gd name="connsiteY37" fmla="*/ 3971925 h 4496940"/>
                    <a:gd name="connsiteX38" fmla="*/ 3630952 w 4519987"/>
                    <a:gd name="connsiteY38" fmla="*/ 4010025 h 4496940"/>
                    <a:gd name="connsiteX39" fmla="*/ 3621427 w 4519987"/>
                    <a:gd name="connsiteY39" fmla="*/ 4038600 h 4496940"/>
                    <a:gd name="connsiteX40" fmla="*/ 3554752 w 4519987"/>
                    <a:gd name="connsiteY40" fmla="*/ 4095750 h 4496940"/>
                    <a:gd name="connsiteX41" fmla="*/ 3516652 w 4519987"/>
                    <a:gd name="connsiteY41" fmla="*/ 4114800 h 4496940"/>
                    <a:gd name="connsiteX42" fmla="*/ 3497602 w 4519987"/>
                    <a:gd name="connsiteY42" fmla="*/ 4143375 h 4496940"/>
                    <a:gd name="connsiteX43" fmla="*/ 3383302 w 4519987"/>
                    <a:gd name="connsiteY43" fmla="*/ 4210050 h 4496940"/>
                    <a:gd name="connsiteX44" fmla="*/ 3335677 w 4519987"/>
                    <a:gd name="connsiteY44" fmla="*/ 4238625 h 4496940"/>
                    <a:gd name="connsiteX45" fmla="*/ 3288052 w 4519987"/>
                    <a:gd name="connsiteY45" fmla="*/ 4248150 h 4496940"/>
                    <a:gd name="connsiteX46" fmla="*/ 3240427 w 4519987"/>
                    <a:gd name="connsiteY46" fmla="*/ 4267200 h 4496940"/>
                    <a:gd name="connsiteX47" fmla="*/ 3068977 w 4519987"/>
                    <a:gd name="connsiteY47" fmla="*/ 4286250 h 4496940"/>
                    <a:gd name="connsiteX48" fmla="*/ 2935627 w 4519987"/>
                    <a:gd name="connsiteY48" fmla="*/ 4333875 h 4496940"/>
                    <a:gd name="connsiteX49" fmla="*/ 2811802 w 4519987"/>
                    <a:gd name="connsiteY49" fmla="*/ 4371975 h 4496940"/>
                    <a:gd name="connsiteX50" fmla="*/ 2745127 w 4519987"/>
                    <a:gd name="connsiteY50" fmla="*/ 4410075 h 4496940"/>
                    <a:gd name="connsiteX51" fmla="*/ 2697502 w 4519987"/>
                    <a:gd name="connsiteY51" fmla="*/ 4429125 h 4496940"/>
                    <a:gd name="connsiteX52" fmla="*/ 2640352 w 4519987"/>
                    <a:gd name="connsiteY52" fmla="*/ 4457700 h 4496940"/>
                    <a:gd name="connsiteX53" fmla="*/ 2583202 w 4519987"/>
                    <a:gd name="connsiteY53" fmla="*/ 4467225 h 4496940"/>
                    <a:gd name="connsiteX54" fmla="*/ 2545102 w 4519987"/>
                    <a:gd name="connsiteY54" fmla="*/ 4486275 h 4496940"/>
                    <a:gd name="connsiteX55" fmla="*/ 2306977 w 4519987"/>
                    <a:gd name="connsiteY55" fmla="*/ 4476750 h 4496940"/>
                    <a:gd name="connsiteX56" fmla="*/ 2202202 w 4519987"/>
                    <a:gd name="connsiteY56" fmla="*/ 4457700 h 4496940"/>
                    <a:gd name="connsiteX57" fmla="*/ 2126002 w 4519987"/>
                    <a:gd name="connsiteY57" fmla="*/ 4429125 h 4496940"/>
                    <a:gd name="connsiteX58" fmla="*/ 1935502 w 4519987"/>
                    <a:gd name="connsiteY58" fmla="*/ 4400550 h 4496940"/>
                    <a:gd name="connsiteX59" fmla="*/ 1821202 w 4519987"/>
                    <a:gd name="connsiteY59" fmla="*/ 4371975 h 4496940"/>
                    <a:gd name="connsiteX60" fmla="*/ 1754527 w 4519987"/>
                    <a:gd name="connsiteY60" fmla="*/ 4352925 h 4496940"/>
                    <a:gd name="connsiteX61" fmla="*/ 1687852 w 4519987"/>
                    <a:gd name="connsiteY61" fmla="*/ 4343400 h 4496940"/>
                    <a:gd name="connsiteX62" fmla="*/ 1573552 w 4519987"/>
                    <a:gd name="connsiteY62" fmla="*/ 4305300 h 4496940"/>
                    <a:gd name="connsiteX63" fmla="*/ 1402102 w 4519987"/>
                    <a:gd name="connsiteY63" fmla="*/ 4276725 h 4496940"/>
                    <a:gd name="connsiteX64" fmla="*/ 1287802 w 4519987"/>
                    <a:gd name="connsiteY64" fmla="*/ 4229100 h 4496940"/>
                    <a:gd name="connsiteX65" fmla="*/ 1221127 w 4519987"/>
                    <a:gd name="connsiteY65" fmla="*/ 4200525 h 4496940"/>
                    <a:gd name="connsiteX66" fmla="*/ 1144927 w 4519987"/>
                    <a:gd name="connsiteY66" fmla="*/ 4171950 h 4496940"/>
                    <a:gd name="connsiteX67" fmla="*/ 1087777 w 4519987"/>
                    <a:gd name="connsiteY67" fmla="*/ 4143375 h 4496940"/>
                    <a:gd name="connsiteX68" fmla="*/ 1030627 w 4519987"/>
                    <a:gd name="connsiteY68" fmla="*/ 4124325 h 4496940"/>
                    <a:gd name="connsiteX69" fmla="*/ 925852 w 4519987"/>
                    <a:gd name="connsiteY69" fmla="*/ 4067175 h 4496940"/>
                    <a:gd name="connsiteX70" fmla="*/ 830602 w 4519987"/>
                    <a:gd name="connsiteY70" fmla="*/ 3981450 h 4496940"/>
                    <a:gd name="connsiteX71" fmla="*/ 763927 w 4519987"/>
                    <a:gd name="connsiteY71" fmla="*/ 3914775 h 4496940"/>
                    <a:gd name="connsiteX72" fmla="*/ 725827 w 4519987"/>
                    <a:gd name="connsiteY72" fmla="*/ 3876675 h 4496940"/>
                    <a:gd name="connsiteX73" fmla="*/ 697252 w 4519987"/>
                    <a:gd name="connsiteY73" fmla="*/ 3838575 h 4496940"/>
                    <a:gd name="connsiteX74" fmla="*/ 640102 w 4519987"/>
                    <a:gd name="connsiteY74" fmla="*/ 3781425 h 4496940"/>
                    <a:gd name="connsiteX75" fmla="*/ 611527 w 4519987"/>
                    <a:gd name="connsiteY75" fmla="*/ 3733800 h 4496940"/>
                    <a:gd name="connsiteX76" fmla="*/ 554377 w 4519987"/>
                    <a:gd name="connsiteY76" fmla="*/ 3657600 h 4496940"/>
                    <a:gd name="connsiteX77" fmla="*/ 525802 w 4519987"/>
                    <a:gd name="connsiteY77" fmla="*/ 3609975 h 4496940"/>
                    <a:gd name="connsiteX78" fmla="*/ 497227 w 4519987"/>
                    <a:gd name="connsiteY78" fmla="*/ 3552825 h 4496940"/>
                    <a:gd name="connsiteX79" fmla="*/ 440077 w 4519987"/>
                    <a:gd name="connsiteY79" fmla="*/ 3495675 h 4496940"/>
                    <a:gd name="connsiteX80" fmla="*/ 411502 w 4519987"/>
                    <a:gd name="connsiteY80" fmla="*/ 3448050 h 4496940"/>
                    <a:gd name="connsiteX81" fmla="*/ 278152 w 4519987"/>
                    <a:gd name="connsiteY81" fmla="*/ 3257550 h 4496940"/>
                    <a:gd name="connsiteX82" fmla="*/ 249577 w 4519987"/>
                    <a:gd name="connsiteY82" fmla="*/ 3200400 h 4496940"/>
                    <a:gd name="connsiteX83" fmla="*/ 240052 w 4519987"/>
                    <a:gd name="connsiteY83" fmla="*/ 3162300 h 4496940"/>
                    <a:gd name="connsiteX84" fmla="*/ 221002 w 4519987"/>
                    <a:gd name="connsiteY84" fmla="*/ 3105150 h 4496940"/>
                    <a:gd name="connsiteX85" fmla="*/ 173377 w 4519987"/>
                    <a:gd name="connsiteY85" fmla="*/ 3019425 h 4496940"/>
                    <a:gd name="connsiteX86" fmla="*/ 144802 w 4519987"/>
                    <a:gd name="connsiteY86" fmla="*/ 2924175 h 4496940"/>
                    <a:gd name="connsiteX87" fmla="*/ 68602 w 4519987"/>
                    <a:gd name="connsiteY87" fmla="*/ 2724150 h 4496940"/>
                    <a:gd name="connsiteX88" fmla="*/ 49552 w 4519987"/>
                    <a:gd name="connsiteY88" fmla="*/ 2638425 h 4496940"/>
                    <a:gd name="connsiteX89" fmla="*/ 40027 w 4519987"/>
                    <a:gd name="connsiteY89" fmla="*/ 2562225 h 4496940"/>
                    <a:gd name="connsiteX90" fmla="*/ 30502 w 4519987"/>
                    <a:gd name="connsiteY90" fmla="*/ 2514600 h 4496940"/>
                    <a:gd name="connsiteX91" fmla="*/ 11452 w 4519987"/>
                    <a:gd name="connsiteY91" fmla="*/ 2400300 h 4496940"/>
                    <a:gd name="connsiteX92" fmla="*/ 20977 w 4519987"/>
                    <a:gd name="connsiteY92" fmla="*/ 1905000 h 4496940"/>
                    <a:gd name="connsiteX93" fmla="*/ 30502 w 4519987"/>
                    <a:gd name="connsiteY93" fmla="*/ 1838325 h 4496940"/>
                    <a:gd name="connsiteX94" fmla="*/ 49552 w 4519987"/>
                    <a:gd name="connsiteY94" fmla="*/ 1781175 h 4496940"/>
                    <a:gd name="connsiteX95" fmla="*/ 59077 w 4519987"/>
                    <a:gd name="connsiteY95" fmla="*/ 1743075 h 4496940"/>
                    <a:gd name="connsiteX96" fmla="*/ 78127 w 4519987"/>
                    <a:gd name="connsiteY96" fmla="*/ 1685925 h 4496940"/>
                    <a:gd name="connsiteX97" fmla="*/ 87652 w 4519987"/>
                    <a:gd name="connsiteY97" fmla="*/ 1638300 h 4496940"/>
                    <a:gd name="connsiteX98" fmla="*/ 106702 w 4519987"/>
                    <a:gd name="connsiteY98" fmla="*/ 1590675 h 4496940"/>
                    <a:gd name="connsiteX99" fmla="*/ 135277 w 4519987"/>
                    <a:gd name="connsiteY99" fmla="*/ 1504950 h 4496940"/>
                    <a:gd name="connsiteX100" fmla="*/ 154327 w 4519987"/>
                    <a:gd name="connsiteY100" fmla="*/ 1419225 h 4496940"/>
                    <a:gd name="connsiteX101" fmla="*/ 230527 w 4519987"/>
                    <a:gd name="connsiteY101" fmla="*/ 1276350 h 4496940"/>
                    <a:gd name="connsiteX102" fmla="*/ 240052 w 4519987"/>
                    <a:gd name="connsiteY102" fmla="*/ 1247775 h 4496940"/>
                    <a:gd name="connsiteX103" fmla="*/ 268627 w 4519987"/>
                    <a:gd name="connsiteY103" fmla="*/ 1200150 h 4496940"/>
                    <a:gd name="connsiteX104" fmla="*/ 287677 w 4519987"/>
                    <a:gd name="connsiteY104" fmla="*/ 1152525 h 4496940"/>
                    <a:gd name="connsiteX105" fmla="*/ 316252 w 4519987"/>
                    <a:gd name="connsiteY105" fmla="*/ 1114425 h 4496940"/>
                    <a:gd name="connsiteX106" fmla="*/ 363877 w 4519987"/>
                    <a:gd name="connsiteY106" fmla="*/ 1038225 h 4496940"/>
                    <a:gd name="connsiteX107" fmla="*/ 382927 w 4519987"/>
                    <a:gd name="connsiteY107" fmla="*/ 1009650 h 4496940"/>
                    <a:gd name="connsiteX108" fmla="*/ 440077 w 4519987"/>
                    <a:gd name="connsiteY108" fmla="*/ 904875 h 4496940"/>
                    <a:gd name="connsiteX109" fmla="*/ 478177 w 4519987"/>
                    <a:gd name="connsiteY109" fmla="*/ 857250 h 4496940"/>
                    <a:gd name="connsiteX110" fmla="*/ 497227 w 4519987"/>
                    <a:gd name="connsiteY110" fmla="*/ 828675 h 4496940"/>
                    <a:gd name="connsiteX111" fmla="*/ 535327 w 4519987"/>
                    <a:gd name="connsiteY111" fmla="*/ 800100 h 4496940"/>
                    <a:gd name="connsiteX112" fmla="*/ 602002 w 4519987"/>
                    <a:gd name="connsiteY112" fmla="*/ 733425 h 4496940"/>
                    <a:gd name="connsiteX113" fmla="*/ 668677 w 4519987"/>
                    <a:gd name="connsiteY113" fmla="*/ 676275 h 4496940"/>
                    <a:gd name="connsiteX114" fmla="*/ 697252 w 4519987"/>
                    <a:gd name="connsiteY114" fmla="*/ 657225 h 4496940"/>
                    <a:gd name="connsiteX115" fmla="*/ 840127 w 4519987"/>
                    <a:gd name="connsiteY115" fmla="*/ 533400 h 4496940"/>
                    <a:gd name="connsiteX116" fmla="*/ 887752 w 4519987"/>
                    <a:gd name="connsiteY116" fmla="*/ 504825 h 4496940"/>
                    <a:gd name="connsiteX117" fmla="*/ 1167152 w 4519987"/>
                    <a:gd name="connsiteY117" fmla="*/ 311150 h 4496940"/>
                    <a:gd name="connsiteX118" fmla="*/ 1268752 w 4519987"/>
                    <a:gd name="connsiteY118" fmla="*/ 285750 h 4496940"/>
                    <a:gd name="connsiteX119" fmla="*/ 1411627 w 4519987"/>
                    <a:gd name="connsiteY119" fmla="*/ 190500 h 4496940"/>
                    <a:gd name="connsiteX120" fmla="*/ 1449727 w 4519987"/>
                    <a:gd name="connsiteY120" fmla="*/ 161925 h 4496940"/>
                    <a:gd name="connsiteX121" fmla="*/ 1525927 w 4519987"/>
                    <a:gd name="connsiteY121" fmla="*/ 152400 h 4496940"/>
                    <a:gd name="connsiteX122" fmla="*/ 1583077 w 4519987"/>
                    <a:gd name="connsiteY122" fmla="*/ 142875 h 4496940"/>
                    <a:gd name="connsiteX123" fmla="*/ 1716427 w 4519987"/>
                    <a:gd name="connsiteY123" fmla="*/ 123825 h 4496940"/>
                    <a:gd name="connsiteX124" fmla="*/ 1811677 w 4519987"/>
                    <a:gd name="connsiteY124" fmla="*/ 114300 h 4496940"/>
                    <a:gd name="connsiteX125" fmla="*/ 1859302 w 4519987"/>
                    <a:gd name="connsiteY125" fmla="*/ 104775 h 4496940"/>
                    <a:gd name="connsiteX126" fmla="*/ 1916452 w 4519987"/>
                    <a:gd name="connsiteY126" fmla="*/ 95250 h 4496940"/>
                    <a:gd name="connsiteX127" fmla="*/ 2030752 w 4519987"/>
                    <a:gd name="connsiteY127" fmla="*/ 66675 h 4496940"/>
                    <a:gd name="connsiteX128" fmla="*/ 2097427 w 4519987"/>
                    <a:gd name="connsiteY128" fmla="*/ 47625 h 4496940"/>
                    <a:gd name="connsiteX129" fmla="*/ 2164102 w 4519987"/>
                    <a:gd name="connsiteY129" fmla="*/ 38100 h 4496940"/>
                    <a:gd name="connsiteX130" fmla="*/ 2392702 w 4519987"/>
                    <a:gd name="connsiteY13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4002427 w 4519987"/>
                    <a:gd name="connsiteY34" fmla="*/ 3600450 h 4496940"/>
                    <a:gd name="connsiteX35" fmla="*/ 3954802 w 4519987"/>
                    <a:gd name="connsiteY35" fmla="*/ 3648075 h 4496940"/>
                    <a:gd name="connsiteX36" fmla="*/ 3659527 w 4519987"/>
                    <a:gd name="connsiteY36" fmla="*/ 3971925 h 4496940"/>
                    <a:gd name="connsiteX37" fmla="*/ 3630952 w 4519987"/>
                    <a:gd name="connsiteY37" fmla="*/ 4010025 h 4496940"/>
                    <a:gd name="connsiteX38" fmla="*/ 3621427 w 4519987"/>
                    <a:gd name="connsiteY38" fmla="*/ 4038600 h 4496940"/>
                    <a:gd name="connsiteX39" fmla="*/ 3554752 w 4519987"/>
                    <a:gd name="connsiteY39" fmla="*/ 4095750 h 4496940"/>
                    <a:gd name="connsiteX40" fmla="*/ 3516652 w 4519987"/>
                    <a:gd name="connsiteY40" fmla="*/ 4114800 h 4496940"/>
                    <a:gd name="connsiteX41" fmla="*/ 3497602 w 4519987"/>
                    <a:gd name="connsiteY41" fmla="*/ 4143375 h 4496940"/>
                    <a:gd name="connsiteX42" fmla="*/ 3383302 w 4519987"/>
                    <a:gd name="connsiteY42" fmla="*/ 4210050 h 4496940"/>
                    <a:gd name="connsiteX43" fmla="*/ 3335677 w 4519987"/>
                    <a:gd name="connsiteY43" fmla="*/ 4238625 h 4496940"/>
                    <a:gd name="connsiteX44" fmla="*/ 3288052 w 4519987"/>
                    <a:gd name="connsiteY44" fmla="*/ 4248150 h 4496940"/>
                    <a:gd name="connsiteX45" fmla="*/ 3240427 w 4519987"/>
                    <a:gd name="connsiteY45" fmla="*/ 4267200 h 4496940"/>
                    <a:gd name="connsiteX46" fmla="*/ 3068977 w 4519987"/>
                    <a:gd name="connsiteY46" fmla="*/ 4286250 h 4496940"/>
                    <a:gd name="connsiteX47" fmla="*/ 2935627 w 4519987"/>
                    <a:gd name="connsiteY47" fmla="*/ 4333875 h 4496940"/>
                    <a:gd name="connsiteX48" fmla="*/ 2811802 w 4519987"/>
                    <a:gd name="connsiteY48" fmla="*/ 4371975 h 4496940"/>
                    <a:gd name="connsiteX49" fmla="*/ 2745127 w 4519987"/>
                    <a:gd name="connsiteY49" fmla="*/ 4410075 h 4496940"/>
                    <a:gd name="connsiteX50" fmla="*/ 2697502 w 4519987"/>
                    <a:gd name="connsiteY50" fmla="*/ 4429125 h 4496940"/>
                    <a:gd name="connsiteX51" fmla="*/ 2640352 w 4519987"/>
                    <a:gd name="connsiteY51" fmla="*/ 4457700 h 4496940"/>
                    <a:gd name="connsiteX52" fmla="*/ 2583202 w 4519987"/>
                    <a:gd name="connsiteY52" fmla="*/ 4467225 h 4496940"/>
                    <a:gd name="connsiteX53" fmla="*/ 2545102 w 4519987"/>
                    <a:gd name="connsiteY53" fmla="*/ 4486275 h 4496940"/>
                    <a:gd name="connsiteX54" fmla="*/ 2306977 w 4519987"/>
                    <a:gd name="connsiteY54" fmla="*/ 4476750 h 4496940"/>
                    <a:gd name="connsiteX55" fmla="*/ 2202202 w 4519987"/>
                    <a:gd name="connsiteY55" fmla="*/ 4457700 h 4496940"/>
                    <a:gd name="connsiteX56" fmla="*/ 2126002 w 4519987"/>
                    <a:gd name="connsiteY56" fmla="*/ 4429125 h 4496940"/>
                    <a:gd name="connsiteX57" fmla="*/ 1935502 w 4519987"/>
                    <a:gd name="connsiteY57" fmla="*/ 4400550 h 4496940"/>
                    <a:gd name="connsiteX58" fmla="*/ 1821202 w 4519987"/>
                    <a:gd name="connsiteY58" fmla="*/ 4371975 h 4496940"/>
                    <a:gd name="connsiteX59" fmla="*/ 1754527 w 4519987"/>
                    <a:gd name="connsiteY59" fmla="*/ 4352925 h 4496940"/>
                    <a:gd name="connsiteX60" fmla="*/ 1687852 w 4519987"/>
                    <a:gd name="connsiteY60" fmla="*/ 4343400 h 4496940"/>
                    <a:gd name="connsiteX61" fmla="*/ 1573552 w 4519987"/>
                    <a:gd name="connsiteY61" fmla="*/ 4305300 h 4496940"/>
                    <a:gd name="connsiteX62" fmla="*/ 1402102 w 4519987"/>
                    <a:gd name="connsiteY62" fmla="*/ 4276725 h 4496940"/>
                    <a:gd name="connsiteX63" fmla="*/ 1287802 w 4519987"/>
                    <a:gd name="connsiteY63" fmla="*/ 4229100 h 4496940"/>
                    <a:gd name="connsiteX64" fmla="*/ 1221127 w 4519987"/>
                    <a:gd name="connsiteY64" fmla="*/ 4200525 h 4496940"/>
                    <a:gd name="connsiteX65" fmla="*/ 1144927 w 4519987"/>
                    <a:gd name="connsiteY65" fmla="*/ 4171950 h 4496940"/>
                    <a:gd name="connsiteX66" fmla="*/ 1087777 w 4519987"/>
                    <a:gd name="connsiteY66" fmla="*/ 4143375 h 4496940"/>
                    <a:gd name="connsiteX67" fmla="*/ 1030627 w 4519987"/>
                    <a:gd name="connsiteY67" fmla="*/ 4124325 h 4496940"/>
                    <a:gd name="connsiteX68" fmla="*/ 925852 w 4519987"/>
                    <a:gd name="connsiteY68" fmla="*/ 4067175 h 4496940"/>
                    <a:gd name="connsiteX69" fmla="*/ 830602 w 4519987"/>
                    <a:gd name="connsiteY69" fmla="*/ 3981450 h 4496940"/>
                    <a:gd name="connsiteX70" fmla="*/ 763927 w 4519987"/>
                    <a:gd name="connsiteY70" fmla="*/ 3914775 h 4496940"/>
                    <a:gd name="connsiteX71" fmla="*/ 725827 w 4519987"/>
                    <a:gd name="connsiteY71" fmla="*/ 3876675 h 4496940"/>
                    <a:gd name="connsiteX72" fmla="*/ 697252 w 4519987"/>
                    <a:gd name="connsiteY72" fmla="*/ 3838575 h 4496940"/>
                    <a:gd name="connsiteX73" fmla="*/ 640102 w 4519987"/>
                    <a:gd name="connsiteY73" fmla="*/ 3781425 h 4496940"/>
                    <a:gd name="connsiteX74" fmla="*/ 611527 w 4519987"/>
                    <a:gd name="connsiteY74" fmla="*/ 3733800 h 4496940"/>
                    <a:gd name="connsiteX75" fmla="*/ 554377 w 4519987"/>
                    <a:gd name="connsiteY75" fmla="*/ 3657600 h 4496940"/>
                    <a:gd name="connsiteX76" fmla="*/ 525802 w 4519987"/>
                    <a:gd name="connsiteY76" fmla="*/ 3609975 h 4496940"/>
                    <a:gd name="connsiteX77" fmla="*/ 497227 w 4519987"/>
                    <a:gd name="connsiteY77" fmla="*/ 3552825 h 4496940"/>
                    <a:gd name="connsiteX78" fmla="*/ 440077 w 4519987"/>
                    <a:gd name="connsiteY78" fmla="*/ 3495675 h 4496940"/>
                    <a:gd name="connsiteX79" fmla="*/ 411502 w 4519987"/>
                    <a:gd name="connsiteY79" fmla="*/ 3448050 h 4496940"/>
                    <a:gd name="connsiteX80" fmla="*/ 278152 w 4519987"/>
                    <a:gd name="connsiteY80" fmla="*/ 3257550 h 4496940"/>
                    <a:gd name="connsiteX81" fmla="*/ 249577 w 4519987"/>
                    <a:gd name="connsiteY81" fmla="*/ 3200400 h 4496940"/>
                    <a:gd name="connsiteX82" fmla="*/ 240052 w 4519987"/>
                    <a:gd name="connsiteY82" fmla="*/ 3162300 h 4496940"/>
                    <a:gd name="connsiteX83" fmla="*/ 221002 w 4519987"/>
                    <a:gd name="connsiteY83" fmla="*/ 3105150 h 4496940"/>
                    <a:gd name="connsiteX84" fmla="*/ 173377 w 4519987"/>
                    <a:gd name="connsiteY84" fmla="*/ 3019425 h 4496940"/>
                    <a:gd name="connsiteX85" fmla="*/ 144802 w 4519987"/>
                    <a:gd name="connsiteY85" fmla="*/ 2924175 h 4496940"/>
                    <a:gd name="connsiteX86" fmla="*/ 68602 w 4519987"/>
                    <a:gd name="connsiteY86" fmla="*/ 2724150 h 4496940"/>
                    <a:gd name="connsiteX87" fmla="*/ 49552 w 4519987"/>
                    <a:gd name="connsiteY87" fmla="*/ 2638425 h 4496940"/>
                    <a:gd name="connsiteX88" fmla="*/ 40027 w 4519987"/>
                    <a:gd name="connsiteY88" fmla="*/ 2562225 h 4496940"/>
                    <a:gd name="connsiteX89" fmla="*/ 30502 w 4519987"/>
                    <a:gd name="connsiteY89" fmla="*/ 2514600 h 4496940"/>
                    <a:gd name="connsiteX90" fmla="*/ 11452 w 4519987"/>
                    <a:gd name="connsiteY90" fmla="*/ 2400300 h 4496940"/>
                    <a:gd name="connsiteX91" fmla="*/ 20977 w 4519987"/>
                    <a:gd name="connsiteY91" fmla="*/ 1905000 h 4496940"/>
                    <a:gd name="connsiteX92" fmla="*/ 30502 w 4519987"/>
                    <a:gd name="connsiteY92" fmla="*/ 1838325 h 4496940"/>
                    <a:gd name="connsiteX93" fmla="*/ 49552 w 4519987"/>
                    <a:gd name="connsiteY93" fmla="*/ 1781175 h 4496940"/>
                    <a:gd name="connsiteX94" fmla="*/ 59077 w 4519987"/>
                    <a:gd name="connsiteY94" fmla="*/ 1743075 h 4496940"/>
                    <a:gd name="connsiteX95" fmla="*/ 78127 w 4519987"/>
                    <a:gd name="connsiteY95" fmla="*/ 1685925 h 4496940"/>
                    <a:gd name="connsiteX96" fmla="*/ 87652 w 4519987"/>
                    <a:gd name="connsiteY96" fmla="*/ 1638300 h 4496940"/>
                    <a:gd name="connsiteX97" fmla="*/ 106702 w 4519987"/>
                    <a:gd name="connsiteY97" fmla="*/ 1590675 h 4496940"/>
                    <a:gd name="connsiteX98" fmla="*/ 135277 w 4519987"/>
                    <a:gd name="connsiteY98" fmla="*/ 1504950 h 4496940"/>
                    <a:gd name="connsiteX99" fmla="*/ 154327 w 4519987"/>
                    <a:gd name="connsiteY99" fmla="*/ 1419225 h 4496940"/>
                    <a:gd name="connsiteX100" fmla="*/ 230527 w 4519987"/>
                    <a:gd name="connsiteY100" fmla="*/ 1276350 h 4496940"/>
                    <a:gd name="connsiteX101" fmla="*/ 240052 w 4519987"/>
                    <a:gd name="connsiteY101" fmla="*/ 1247775 h 4496940"/>
                    <a:gd name="connsiteX102" fmla="*/ 268627 w 4519987"/>
                    <a:gd name="connsiteY102" fmla="*/ 1200150 h 4496940"/>
                    <a:gd name="connsiteX103" fmla="*/ 287677 w 4519987"/>
                    <a:gd name="connsiteY103" fmla="*/ 1152525 h 4496940"/>
                    <a:gd name="connsiteX104" fmla="*/ 316252 w 4519987"/>
                    <a:gd name="connsiteY104" fmla="*/ 1114425 h 4496940"/>
                    <a:gd name="connsiteX105" fmla="*/ 363877 w 4519987"/>
                    <a:gd name="connsiteY105" fmla="*/ 1038225 h 4496940"/>
                    <a:gd name="connsiteX106" fmla="*/ 382927 w 4519987"/>
                    <a:gd name="connsiteY106" fmla="*/ 1009650 h 4496940"/>
                    <a:gd name="connsiteX107" fmla="*/ 440077 w 4519987"/>
                    <a:gd name="connsiteY107" fmla="*/ 904875 h 4496940"/>
                    <a:gd name="connsiteX108" fmla="*/ 478177 w 4519987"/>
                    <a:gd name="connsiteY108" fmla="*/ 857250 h 4496940"/>
                    <a:gd name="connsiteX109" fmla="*/ 497227 w 4519987"/>
                    <a:gd name="connsiteY109" fmla="*/ 828675 h 4496940"/>
                    <a:gd name="connsiteX110" fmla="*/ 535327 w 4519987"/>
                    <a:gd name="connsiteY110" fmla="*/ 800100 h 4496940"/>
                    <a:gd name="connsiteX111" fmla="*/ 602002 w 4519987"/>
                    <a:gd name="connsiteY111" fmla="*/ 733425 h 4496940"/>
                    <a:gd name="connsiteX112" fmla="*/ 668677 w 4519987"/>
                    <a:gd name="connsiteY112" fmla="*/ 676275 h 4496940"/>
                    <a:gd name="connsiteX113" fmla="*/ 697252 w 4519987"/>
                    <a:gd name="connsiteY113" fmla="*/ 657225 h 4496940"/>
                    <a:gd name="connsiteX114" fmla="*/ 840127 w 4519987"/>
                    <a:gd name="connsiteY114" fmla="*/ 533400 h 4496940"/>
                    <a:gd name="connsiteX115" fmla="*/ 887752 w 4519987"/>
                    <a:gd name="connsiteY115" fmla="*/ 504825 h 4496940"/>
                    <a:gd name="connsiteX116" fmla="*/ 1167152 w 4519987"/>
                    <a:gd name="connsiteY116" fmla="*/ 311150 h 4496940"/>
                    <a:gd name="connsiteX117" fmla="*/ 1268752 w 4519987"/>
                    <a:gd name="connsiteY117" fmla="*/ 285750 h 4496940"/>
                    <a:gd name="connsiteX118" fmla="*/ 1411627 w 4519987"/>
                    <a:gd name="connsiteY118" fmla="*/ 190500 h 4496940"/>
                    <a:gd name="connsiteX119" fmla="*/ 1449727 w 4519987"/>
                    <a:gd name="connsiteY119" fmla="*/ 161925 h 4496940"/>
                    <a:gd name="connsiteX120" fmla="*/ 1525927 w 4519987"/>
                    <a:gd name="connsiteY120" fmla="*/ 152400 h 4496940"/>
                    <a:gd name="connsiteX121" fmla="*/ 1583077 w 4519987"/>
                    <a:gd name="connsiteY121" fmla="*/ 142875 h 4496940"/>
                    <a:gd name="connsiteX122" fmla="*/ 1716427 w 4519987"/>
                    <a:gd name="connsiteY122" fmla="*/ 123825 h 4496940"/>
                    <a:gd name="connsiteX123" fmla="*/ 1811677 w 4519987"/>
                    <a:gd name="connsiteY123" fmla="*/ 114300 h 4496940"/>
                    <a:gd name="connsiteX124" fmla="*/ 1859302 w 4519987"/>
                    <a:gd name="connsiteY124" fmla="*/ 104775 h 4496940"/>
                    <a:gd name="connsiteX125" fmla="*/ 1916452 w 4519987"/>
                    <a:gd name="connsiteY125" fmla="*/ 95250 h 4496940"/>
                    <a:gd name="connsiteX126" fmla="*/ 2030752 w 4519987"/>
                    <a:gd name="connsiteY126" fmla="*/ 66675 h 4496940"/>
                    <a:gd name="connsiteX127" fmla="*/ 2097427 w 4519987"/>
                    <a:gd name="connsiteY127" fmla="*/ 47625 h 4496940"/>
                    <a:gd name="connsiteX128" fmla="*/ 2164102 w 4519987"/>
                    <a:gd name="connsiteY128" fmla="*/ 38100 h 4496940"/>
                    <a:gd name="connsiteX129" fmla="*/ 2392702 w 4519987"/>
                    <a:gd name="connsiteY12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497602 w 4519987"/>
                    <a:gd name="connsiteY40" fmla="*/ 4143375 h 4496940"/>
                    <a:gd name="connsiteX41" fmla="*/ 3383302 w 4519987"/>
                    <a:gd name="connsiteY41" fmla="*/ 4210050 h 4496940"/>
                    <a:gd name="connsiteX42" fmla="*/ 3335677 w 4519987"/>
                    <a:gd name="connsiteY42" fmla="*/ 4238625 h 4496940"/>
                    <a:gd name="connsiteX43" fmla="*/ 3288052 w 4519987"/>
                    <a:gd name="connsiteY43" fmla="*/ 4248150 h 4496940"/>
                    <a:gd name="connsiteX44" fmla="*/ 3240427 w 4519987"/>
                    <a:gd name="connsiteY44" fmla="*/ 4267200 h 4496940"/>
                    <a:gd name="connsiteX45" fmla="*/ 3068977 w 4519987"/>
                    <a:gd name="connsiteY45" fmla="*/ 4286250 h 4496940"/>
                    <a:gd name="connsiteX46" fmla="*/ 2935627 w 4519987"/>
                    <a:gd name="connsiteY46" fmla="*/ 4333875 h 4496940"/>
                    <a:gd name="connsiteX47" fmla="*/ 2811802 w 4519987"/>
                    <a:gd name="connsiteY47" fmla="*/ 4371975 h 4496940"/>
                    <a:gd name="connsiteX48" fmla="*/ 2745127 w 4519987"/>
                    <a:gd name="connsiteY48" fmla="*/ 4410075 h 4496940"/>
                    <a:gd name="connsiteX49" fmla="*/ 2697502 w 4519987"/>
                    <a:gd name="connsiteY49" fmla="*/ 4429125 h 4496940"/>
                    <a:gd name="connsiteX50" fmla="*/ 2640352 w 4519987"/>
                    <a:gd name="connsiteY50" fmla="*/ 4457700 h 4496940"/>
                    <a:gd name="connsiteX51" fmla="*/ 2583202 w 4519987"/>
                    <a:gd name="connsiteY51" fmla="*/ 4467225 h 4496940"/>
                    <a:gd name="connsiteX52" fmla="*/ 2545102 w 4519987"/>
                    <a:gd name="connsiteY52" fmla="*/ 4486275 h 4496940"/>
                    <a:gd name="connsiteX53" fmla="*/ 2306977 w 4519987"/>
                    <a:gd name="connsiteY53" fmla="*/ 4476750 h 4496940"/>
                    <a:gd name="connsiteX54" fmla="*/ 2202202 w 4519987"/>
                    <a:gd name="connsiteY54" fmla="*/ 4457700 h 4496940"/>
                    <a:gd name="connsiteX55" fmla="*/ 2126002 w 4519987"/>
                    <a:gd name="connsiteY55" fmla="*/ 4429125 h 4496940"/>
                    <a:gd name="connsiteX56" fmla="*/ 1935502 w 4519987"/>
                    <a:gd name="connsiteY56" fmla="*/ 4400550 h 4496940"/>
                    <a:gd name="connsiteX57" fmla="*/ 1821202 w 4519987"/>
                    <a:gd name="connsiteY57" fmla="*/ 4371975 h 4496940"/>
                    <a:gd name="connsiteX58" fmla="*/ 1754527 w 4519987"/>
                    <a:gd name="connsiteY58" fmla="*/ 4352925 h 4496940"/>
                    <a:gd name="connsiteX59" fmla="*/ 1687852 w 4519987"/>
                    <a:gd name="connsiteY59" fmla="*/ 4343400 h 4496940"/>
                    <a:gd name="connsiteX60" fmla="*/ 1573552 w 4519987"/>
                    <a:gd name="connsiteY60" fmla="*/ 4305300 h 4496940"/>
                    <a:gd name="connsiteX61" fmla="*/ 1402102 w 4519987"/>
                    <a:gd name="connsiteY61" fmla="*/ 4276725 h 4496940"/>
                    <a:gd name="connsiteX62" fmla="*/ 1287802 w 4519987"/>
                    <a:gd name="connsiteY62" fmla="*/ 4229100 h 4496940"/>
                    <a:gd name="connsiteX63" fmla="*/ 1221127 w 4519987"/>
                    <a:gd name="connsiteY63" fmla="*/ 4200525 h 4496940"/>
                    <a:gd name="connsiteX64" fmla="*/ 1144927 w 4519987"/>
                    <a:gd name="connsiteY64" fmla="*/ 4171950 h 4496940"/>
                    <a:gd name="connsiteX65" fmla="*/ 1087777 w 4519987"/>
                    <a:gd name="connsiteY65" fmla="*/ 4143375 h 4496940"/>
                    <a:gd name="connsiteX66" fmla="*/ 1030627 w 4519987"/>
                    <a:gd name="connsiteY66" fmla="*/ 4124325 h 4496940"/>
                    <a:gd name="connsiteX67" fmla="*/ 925852 w 4519987"/>
                    <a:gd name="connsiteY67" fmla="*/ 4067175 h 4496940"/>
                    <a:gd name="connsiteX68" fmla="*/ 830602 w 4519987"/>
                    <a:gd name="connsiteY68" fmla="*/ 3981450 h 4496940"/>
                    <a:gd name="connsiteX69" fmla="*/ 763927 w 4519987"/>
                    <a:gd name="connsiteY69" fmla="*/ 3914775 h 4496940"/>
                    <a:gd name="connsiteX70" fmla="*/ 725827 w 4519987"/>
                    <a:gd name="connsiteY70" fmla="*/ 3876675 h 4496940"/>
                    <a:gd name="connsiteX71" fmla="*/ 697252 w 4519987"/>
                    <a:gd name="connsiteY71" fmla="*/ 3838575 h 4496940"/>
                    <a:gd name="connsiteX72" fmla="*/ 640102 w 4519987"/>
                    <a:gd name="connsiteY72" fmla="*/ 3781425 h 4496940"/>
                    <a:gd name="connsiteX73" fmla="*/ 611527 w 4519987"/>
                    <a:gd name="connsiteY73" fmla="*/ 3733800 h 4496940"/>
                    <a:gd name="connsiteX74" fmla="*/ 554377 w 4519987"/>
                    <a:gd name="connsiteY74" fmla="*/ 3657600 h 4496940"/>
                    <a:gd name="connsiteX75" fmla="*/ 525802 w 4519987"/>
                    <a:gd name="connsiteY75" fmla="*/ 3609975 h 4496940"/>
                    <a:gd name="connsiteX76" fmla="*/ 497227 w 4519987"/>
                    <a:gd name="connsiteY76" fmla="*/ 3552825 h 4496940"/>
                    <a:gd name="connsiteX77" fmla="*/ 440077 w 4519987"/>
                    <a:gd name="connsiteY77" fmla="*/ 3495675 h 4496940"/>
                    <a:gd name="connsiteX78" fmla="*/ 411502 w 4519987"/>
                    <a:gd name="connsiteY78" fmla="*/ 3448050 h 4496940"/>
                    <a:gd name="connsiteX79" fmla="*/ 278152 w 4519987"/>
                    <a:gd name="connsiteY79" fmla="*/ 3257550 h 4496940"/>
                    <a:gd name="connsiteX80" fmla="*/ 249577 w 4519987"/>
                    <a:gd name="connsiteY80" fmla="*/ 3200400 h 4496940"/>
                    <a:gd name="connsiteX81" fmla="*/ 240052 w 4519987"/>
                    <a:gd name="connsiteY81" fmla="*/ 3162300 h 4496940"/>
                    <a:gd name="connsiteX82" fmla="*/ 221002 w 4519987"/>
                    <a:gd name="connsiteY82" fmla="*/ 3105150 h 4496940"/>
                    <a:gd name="connsiteX83" fmla="*/ 173377 w 4519987"/>
                    <a:gd name="connsiteY83" fmla="*/ 3019425 h 4496940"/>
                    <a:gd name="connsiteX84" fmla="*/ 144802 w 4519987"/>
                    <a:gd name="connsiteY84" fmla="*/ 2924175 h 4496940"/>
                    <a:gd name="connsiteX85" fmla="*/ 68602 w 4519987"/>
                    <a:gd name="connsiteY85" fmla="*/ 2724150 h 4496940"/>
                    <a:gd name="connsiteX86" fmla="*/ 49552 w 4519987"/>
                    <a:gd name="connsiteY86" fmla="*/ 2638425 h 4496940"/>
                    <a:gd name="connsiteX87" fmla="*/ 40027 w 4519987"/>
                    <a:gd name="connsiteY87" fmla="*/ 2562225 h 4496940"/>
                    <a:gd name="connsiteX88" fmla="*/ 30502 w 4519987"/>
                    <a:gd name="connsiteY88" fmla="*/ 2514600 h 4496940"/>
                    <a:gd name="connsiteX89" fmla="*/ 11452 w 4519987"/>
                    <a:gd name="connsiteY89" fmla="*/ 2400300 h 4496940"/>
                    <a:gd name="connsiteX90" fmla="*/ 20977 w 4519987"/>
                    <a:gd name="connsiteY90" fmla="*/ 1905000 h 4496940"/>
                    <a:gd name="connsiteX91" fmla="*/ 30502 w 4519987"/>
                    <a:gd name="connsiteY91" fmla="*/ 1838325 h 4496940"/>
                    <a:gd name="connsiteX92" fmla="*/ 49552 w 4519987"/>
                    <a:gd name="connsiteY92" fmla="*/ 1781175 h 4496940"/>
                    <a:gd name="connsiteX93" fmla="*/ 59077 w 4519987"/>
                    <a:gd name="connsiteY93" fmla="*/ 1743075 h 4496940"/>
                    <a:gd name="connsiteX94" fmla="*/ 78127 w 4519987"/>
                    <a:gd name="connsiteY94" fmla="*/ 1685925 h 4496940"/>
                    <a:gd name="connsiteX95" fmla="*/ 87652 w 4519987"/>
                    <a:gd name="connsiteY95" fmla="*/ 1638300 h 4496940"/>
                    <a:gd name="connsiteX96" fmla="*/ 106702 w 4519987"/>
                    <a:gd name="connsiteY96" fmla="*/ 1590675 h 4496940"/>
                    <a:gd name="connsiteX97" fmla="*/ 135277 w 4519987"/>
                    <a:gd name="connsiteY97" fmla="*/ 1504950 h 4496940"/>
                    <a:gd name="connsiteX98" fmla="*/ 154327 w 4519987"/>
                    <a:gd name="connsiteY98" fmla="*/ 1419225 h 4496940"/>
                    <a:gd name="connsiteX99" fmla="*/ 230527 w 4519987"/>
                    <a:gd name="connsiteY99" fmla="*/ 1276350 h 4496940"/>
                    <a:gd name="connsiteX100" fmla="*/ 240052 w 4519987"/>
                    <a:gd name="connsiteY100" fmla="*/ 1247775 h 4496940"/>
                    <a:gd name="connsiteX101" fmla="*/ 268627 w 4519987"/>
                    <a:gd name="connsiteY101" fmla="*/ 1200150 h 4496940"/>
                    <a:gd name="connsiteX102" fmla="*/ 287677 w 4519987"/>
                    <a:gd name="connsiteY102" fmla="*/ 1152525 h 4496940"/>
                    <a:gd name="connsiteX103" fmla="*/ 316252 w 4519987"/>
                    <a:gd name="connsiteY103" fmla="*/ 1114425 h 4496940"/>
                    <a:gd name="connsiteX104" fmla="*/ 363877 w 4519987"/>
                    <a:gd name="connsiteY104" fmla="*/ 1038225 h 4496940"/>
                    <a:gd name="connsiteX105" fmla="*/ 382927 w 4519987"/>
                    <a:gd name="connsiteY105" fmla="*/ 1009650 h 4496940"/>
                    <a:gd name="connsiteX106" fmla="*/ 440077 w 4519987"/>
                    <a:gd name="connsiteY106" fmla="*/ 904875 h 4496940"/>
                    <a:gd name="connsiteX107" fmla="*/ 478177 w 4519987"/>
                    <a:gd name="connsiteY107" fmla="*/ 857250 h 4496940"/>
                    <a:gd name="connsiteX108" fmla="*/ 497227 w 4519987"/>
                    <a:gd name="connsiteY108" fmla="*/ 828675 h 4496940"/>
                    <a:gd name="connsiteX109" fmla="*/ 535327 w 4519987"/>
                    <a:gd name="connsiteY109" fmla="*/ 800100 h 4496940"/>
                    <a:gd name="connsiteX110" fmla="*/ 602002 w 4519987"/>
                    <a:gd name="connsiteY110" fmla="*/ 733425 h 4496940"/>
                    <a:gd name="connsiteX111" fmla="*/ 668677 w 4519987"/>
                    <a:gd name="connsiteY111" fmla="*/ 676275 h 4496940"/>
                    <a:gd name="connsiteX112" fmla="*/ 697252 w 4519987"/>
                    <a:gd name="connsiteY112" fmla="*/ 657225 h 4496940"/>
                    <a:gd name="connsiteX113" fmla="*/ 840127 w 4519987"/>
                    <a:gd name="connsiteY113" fmla="*/ 533400 h 4496940"/>
                    <a:gd name="connsiteX114" fmla="*/ 887752 w 4519987"/>
                    <a:gd name="connsiteY114" fmla="*/ 504825 h 4496940"/>
                    <a:gd name="connsiteX115" fmla="*/ 1167152 w 4519987"/>
                    <a:gd name="connsiteY115" fmla="*/ 311150 h 4496940"/>
                    <a:gd name="connsiteX116" fmla="*/ 1268752 w 4519987"/>
                    <a:gd name="connsiteY116" fmla="*/ 285750 h 4496940"/>
                    <a:gd name="connsiteX117" fmla="*/ 1411627 w 4519987"/>
                    <a:gd name="connsiteY117" fmla="*/ 190500 h 4496940"/>
                    <a:gd name="connsiteX118" fmla="*/ 1449727 w 4519987"/>
                    <a:gd name="connsiteY118" fmla="*/ 161925 h 4496940"/>
                    <a:gd name="connsiteX119" fmla="*/ 1525927 w 4519987"/>
                    <a:gd name="connsiteY119" fmla="*/ 152400 h 4496940"/>
                    <a:gd name="connsiteX120" fmla="*/ 1583077 w 4519987"/>
                    <a:gd name="connsiteY120" fmla="*/ 142875 h 4496940"/>
                    <a:gd name="connsiteX121" fmla="*/ 1716427 w 4519987"/>
                    <a:gd name="connsiteY121" fmla="*/ 123825 h 4496940"/>
                    <a:gd name="connsiteX122" fmla="*/ 1811677 w 4519987"/>
                    <a:gd name="connsiteY122" fmla="*/ 114300 h 4496940"/>
                    <a:gd name="connsiteX123" fmla="*/ 1859302 w 4519987"/>
                    <a:gd name="connsiteY123" fmla="*/ 104775 h 4496940"/>
                    <a:gd name="connsiteX124" fmla="*/ 1916452 w 4519987"/>
                    <a:gd name="connsiteY124" fmla="*/ 95250 h 4496940"/>
                    <a:gd name="connsiteX125" fmla="*/ 2030752 w 4519987"/>
                    <a:gd name="connsiteY125" fmla="*/ 66675 h 4496940"/>
                    <a:gd name="connsiteX126" fmla="*/ 2097427 w 4519987"/>
                    <a:gd name="connsiteY126" fmla="*/ 47625 h 4496940"/>
                    <a:gd name="connsiteX127" fmla="*/ 2164102 w 4519987"/>
                    <a:gd name="connsiteY127" fmla="*/ 38100 h 4496940"/>
                    <a:gd name="connsiteX128" fmla="*/ 2392702 w 4519987"/>
                    <a:gd name="connsiteY12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383302 w 4519987"/>
                    <a:gd name="connsiteY40" fmla="*/ 4210050 h 4496940"/>
                    <a:gd name="connsiteX41" fmla="*/ 3335677 w 4519987"/>
                    <a:gd name="connsiteY41" fmla="*/ 4238625 h 4496940"/>
                    <a:gd name="connsiteX42" fmla="*/ 3288052 w 4519987"/>
                    <a:gd name="connsiteY42" fmla="*/ 4248150 h 4496940"/>
                    <a:gd name="connsiteX43" fmla="*/ 3240427 w 4519987"/>
                    <a:gd name="connsiteY43" fmla="*/ 4267200 h 4496940"/>
                    <a:gd name="connsiteX44" fmla="*/ 3068977 w 4519987"/>
                    <a:gd name="connsiteY44" fmla="*/ 4286250 h 4496940"/>
                    <a:gd name="connsiteX45" fmla="*/ 2935627 w 4519987"/>
                    <a:gd name="connsiteY45" fmla="*/ 4333875 h 4496940"/>
                    <a:gd name="connsiteX46" fmla="*/ 2811802 w 4519987"/>
                    <a:gd name="connsiteY46" fmla="*/ 4371975 h 4496940"/>
                    <a:gd name="connsiteX47" fmla="*/ 2745127 w 4519987"/>
                    <a:gd name="connsiteY47" fmla="*/ 4410075 h 4496940"/>
                    <a:gd name="connsiteX48" fmla="*/ 2697502 w 4519987"/>
                    <a:gd name="connsiteY48" fmla="*/ 4429125 h 4496940"/>
                    <a:gd name="connsiteX49" fmla="*/ 2640352 w 4519987"/>
                    <a:gd name="connsiteY49" fmla="*/ 4457700 h 4496940"/>
                    <a:gd name="connsiteX50" fmla="*/ 2583202 w 4519987"/>
                    <a:gd name="connsiteY50" fmla="*/ 4467225 h 4496940"/>
                    <a:gd name="connsiteX51" fmla="*/ 2545102 w 4519987"/>
                    <a:gd name="connsiteY51" fmla="*/ 4486275 h 4496940"/>
                    <a:gd name="connsiteX52" fmla="*/ 2306977 w 4519987"/>
                    <a:gd name="connsiteY52" fmla="*/ 4476750 h 4496940"/>
                    <a:gd name="connsiteX53" fmla="*/ 2202202 w 4519987"/>
                    <a:gd name="connsiteY53" fmla="*/ 4457700 h 4496940"/>
                    <a:gd name="connsiteX54" fmla="*/ 2126002 w 4519987"/>
                    <a:gd name="connsiteY54" fmla="*/ 4429125 h 4496940"/>
                    <a:gd name="connsiteX55" fmla="*/ 1935502 w 4519987"/>
                    <a:gd name="connsiteY55" fmla="*/ 4400550 h 4496940"/>
                    <a:gd name="connsiteX56" fmla="*/ 1821202 w 4519987"/>
                    <a:gd name="connsiteY56" fmla="*/ 4371975 h 4496940"/>
                    <a:gd name="connsiteX57" fmla="*/ 1754527 w 4519987"/>
                    <a:gd name="connsiteY57" fmla="*/ 4352925 h 4496940"/>
                    <a:gd name="connsiteX58" fmla="*/ 1687852 w 4519987"/>
                    <a:gd name="connsiteY58" fmla="*/ 4343400 h 4496940"/>
                    <a:gd name="connsiteX59" fmla="*/ 1573552 w 4519987"/>
                    <a:gd name="connsiteY59" fmla="*/ 4305300 h 4496940"/>
                    <a:gd name="connsiteX60" fmla="*/ 1402102 w 4519987"/>
                    <a:gd name="connsiteY60" fmla="*/ 4276725 h 4496940"/>
                    <a:gd name="connsiteX61" fmla="*/ 1287802 w 4519987"/>
                    <a:gd name="connsiteY61" fmla="*/ 4229100 h 4496940"/>
                    <a:gd name="connsiteX62" fmla="*/ 1221127 w 4519987"/>
                    <a:gd name="connsiteY62" fmla="*/ 4200525 h 4496940"/>
                    <a:gd name="connsiteX63" fmla="*/ 1144927 w 4519987"/>
                    <a:gd name="connsiteY63" fmla="*/ 4171950 h 4496940"/>
                    <a:gd name="connsiteX64" fmla="*/ 1087777 w 4519987"/>
                    <a:gd name="connsiteY64" fmla="*/ 4143375 h 4496940"/>
                    <a:gd name="connsiteX65" fmla="*/ 1030627 w 4519987"/>
                    <a:gd name="connsiteY65" fmla="*/ 4124325 h 4496940"/>
                    <a:gd name="connsiteX66" fmla="*/ 925852 w 4519987"/>
                    <a:gd name="connsiteY66" fmla="*/ 4067175 h 4496940"/>
                    <a:gd name="connsiteX67" fmla="*/ 830602 w 4519987"/>
                    <a:gd name="connsiteY67" fmla="*/ 3981450 h 4496940"/>
                    <a:gd name="connsiteX68" fmla="*/ 763927 w 4519987"/>
                    <a:gd name="connsiteY68" fmla="*/ 3914775 h 4496940"/>
                    <a:gd name="connsiteX69" fmla="*/ 725827 w 4519987"/>
                    <a:gd name="connsiteY69" fmla="*/ 3876675 h 4496940"/>
                    <a:gd name="connsiteX70" fmla="*/ 697252 w 4519987"/>
                    <a:gd name="connsiteY70" fmla="*/ 3838575 h 4496940"/>
                    <a:gd name="connsiteX71" fmla="*/ 640102 w 4519987"/>
                    <a:gd name="connsiteY71" fmla="*/ 3781425 h 4496940"/>
                    <a:gd name="connsiteX72" fmla="*/ 611527 w 4519987"/>
                    <a:gd name="connsiteY72" fmla="*/ 3733800 h 4496940"/>
                    <a:gd name="connsiteX73" fmla="*/ 554377 w 4519987"/>
                    <a:gd name="connsiteY73" fmla="*/ 3657600 h 4496940"/>
                    <a:gd name="connsiteX74" fmla="*/ 525802 w 4519987"/>
                    <a:gd name="connsiteY74" fmla="*/ 3609975 h 4496940"/>
                    <a:gd name="connsiteX75" fmla="*/ 497227 w 4519987"/>
                    <a:gd name="connsiteY75" fmla="*/ 3552825 h 4496940"/>
                    <a:gd name="connsiteX76" fmla="*/ 440077 w 4519987"/>
                    <a:gd name="connsiteY76" fmla="*/ 3495675 h 4496940"/>
                    <a:gd name="connsiteX77" fmla="*/ 411502 w 4519987"/>
                    <a:gd name="connsiteY77" fmla="*/ 3448050 h 4496940"/>
                    <a:gd name="connsiteX78" fmla="*/ 278152 w 4519987"/>
                    <a:gd name="connsiteY78" fmla="*/ 3257550 h 4496940"/>
                    <a:gd name="connsiteX79" fmla="*/ 249577 w 4519987"/>
                    <a:gd name="connsiteY79" fmla="*/ 3200400 h 4496940"/>
                    <a:gd name="connsiteX80" fmla="*/ 240052 w 4519987"/>
                    <a:gd name="connsiteY80" fmla="*/ 3162300 h 4496940"/>
                    <a:gd name="connsiteX81" fmla="*/ 221002 w 4519987"/>
                    <a:gd name="connsiteY81" fmla="*/ 3105150 h 4496940"/>
                    <a:gd name="connsiteX82" fmla="*/ 173377 w 4519987"/>
                    <a:gd name="connsiteY82" fmla="*/ 3019425 h 4496940"/>
                    <a:gd name="connsiteX83" fmla="*/ 144802 w 4519987"/>
                    <a:gd name="connsiteY83" fmla="*/ 2924175 h 4496940"/>
                    <a:gd name="connsiteX84" fmla="*/ 68602 w 4519987"/>
                    <a:gd name="connsiteY84" fmla="*/ 2724150 h 4496940"/>
                    <a:gd name="connsiteX85" fmla="*/ 49552 w 4519987"/>
                    <a:gd name="connsiteY85" fmla="*/ 2638425 h 4496940"/>
                    <a:gd name="connsiteX86" fmla="*/ 40027 w 4519987"/>
                    <a:gd name="connsiteY86" fmla="*/ 2562225 h 4496940"/>
                    <a:gd name="connsiteX87" fmla="*/ 30502 w 4519987"/>
                    <a:gd name="connsiteY87" fmla="*/ 2514600 h 4496940"/>
                    <a:gd name="connsiteX88" fmla="*/ 11452 w 4519987"/>
                    <a:gd name="connsiteY88" fmla="*/ 2400300 h 4496940"/>
                    <a:gd name="connsiteX89" fmla="*/ 20977 w 4519987"/>
                    <a:gd name="connsiteY89" fmla="*/ 1905000 h 4496940"/>
                    <a:gd name="connsiteX90" fmla="*/ 30502 w 4519987"/>
                    <a:gd name="connsiteY90" fmla="*/ 1838325 h 4496940"/>
                    <a:gd name="connsiteX91" fmla="*/ 49552 w 4519987"/>
                    <a:gd name="connsiteY91" fmla="*/ 1781175 h 4496940"/>
                    <a:gd name="connsiteX92" fmla="*/ 59077 w 4519987"/>
                    <a:gd name="connsiteY92" fmla="*/ 1743075 h 4496940"/>
                    <a:gd name="connsiteX93" fmla="*/ 78127 w 4519987"/>
                    <a:gd name="connsiteY93" fmla="*/ 1685925 h 4496940"/>
                    <a:gd name="connsiteX94" fmla="*/ 87652 w 4519987"/>
                    <a:gd name="connsiteY94" fmla="*/ 1638300 h 4496940"/>
                    <a:gd name="connsiteX95" fmla="*/ 106702 w 4519987"/>
                    <a:gd name="connsiteY95" fmla="*/ 1590675 h 4496940"/>
                    <a:gd name="connsiteX96" fmla="*/ 135277 w 4519987"/>
                    <a:gd name="connsiteY96" fmla="*/ 1504950 h 4496940"/>
                    <a:gd name="connsiteX97" fmla="*/ 154327 w 4519987"/>
                    <a:gd name="connsiteY97" fmla="*/ 1419225 h 4496940"/>
                    <a:gd name="connsiteX98" fmla="*/ 230527 w 4519987"/>
                    <a:gd name="connsiteY98" fmla="*/ 1276350 h 4496940"/>
                    <a:gd name="connsiteX99" fmla="*/ 240052 w 4519987"/>
                    <a:gd name="connsiteY99" fmla="*/ 1247775 h 4496940"/>
                    <a:gd name="connsiteX100" fmla="*/ 268627 w 4519987"/>
                    <a:gd name="connsiteY100" fmla="*/ 1200150 h 4496940"/>
                    <a:gd name="connsiteX101" fmla="*/ 287677 w 4519987"/>
                    <a:gd name="connsiteY101" fmla="*/ 1152525 h 4496940"/>
                    <a:gd name="connsiteX102" fmla="*/ 316252 w 4519987"/>
                    <a:gd name="connsiteY102" fmla="*/ 1114425 h 4496940"/>
                    <a:gd name="connsiteX103" fmla="*/ 363877 w 4519987"/>
                    <a:gd name="connsiteY103" fmla="*/ 1038225 h 4496940"/>
                    <a:gd name="connsiteX104" fmla="*/ 382927 w 4519987"/>
                    <a:gd name="connsiteY104" fmla="*/ 1009650 h 4496940"/>
                    <a:gd name="connsiteX105" fmla="*/ 440077 w 4519987"/>
                    <a:gd name="connsiteY105" fmla="*/ 904875 h 4496940"/>
                    <a:gd name="connsiteX106" fmla="*/ 478177 w 4519987"/>
                    <a:gd name="connsiteY106" fmla="*/ 857250 h 4496940"/>
                    <a:gd name="connsiteX107" fmla="*/ 497227 w 4519987"/>
                    <a:gd name="connsiteY107" fmla="*/ 828675 h 4496940"/>
                    <a:gd name="connsiteX108" fmla="*/ 535327 w 4519987"/>
                    <a:gd name="connsiteY108" fmla="*/ 800100 h 4496940"/>
                    <a:gd name="connsiteX109" fmla="*/ 602002 w 4519987"/>
                    <a:gd name="connsiteY109" fmla="*/ 733425 h 4496940"/>
                    <a:gd name="connsiteX110" fmla="*/ 668677 w 4519987"/>
                    <a:gd name="connsiteY110" fmla="*/ 676275 h 4496940"/>
                    <a:gd name="connsiteX111" fmla="*/ 697252 w 4519987"/>
                    <a:gd name="connsiteY111" fmla="*/ 657225 h 4496940"/>
                    <a:gd name="connsiteX112" fmla="*/ 840127 w 4519987"/>
                    <a:gd name="connsiteY112" fmla="*/ 533400 h 4496940"/>
                    <a:gd name="connsiteX113" fmla="*/ 887752 w 4519987"/>
                    <a:gd name="connsiteY113" fmla="*/ 504825 h 4496940"/>
                    <a:gd name="connsiteX114" fmla="*/ 1167152 w 4519987"/>
                    <a:gd name="connsiteY114" fmla="*/ 311150 h 4496940"/>
                    <a:gd name="connsiteX115" fmla="*/ 1268752 w 4519987"/>
                    <a:gd name="connsiteY115" fmla="*/ 285750 h 4496940"/>
                    <a:gd name="connsiteX116" fmla="*/ 1411627 w 4519987"/>
                    <a:gd name="connsiteY116" fmla="*/ 190500 h 4496940"/>
                    <a:gd name="connsiteX117" fmla="*/ 1449727 w 4519987"/>
                    <a:gd name="connsiteY117" fmla="*/ 161925 h 4496940"/>
                    <a:gd name="connsiteX118" fmla="*/ 1525927 w 4519987"/>
                    <a:gd name="connsiteY118" fmla="*/ 152400 h 4496940"/>
                    <a:gd name="connsiteX119" fmla="*/ 1583077 w 4519987"/>
                    <a:gd name="connsiteY119" fmla="*/ 142875 h 4496940"/>
                    <a:gd name="connsiteX120" fmla="*/ 1716427 w 4519987"/>
                    <a:gd name="connsiteY120" fmla="*/ 123825 h 4496940"/>
                    <a:gd name="connsiteX121" fmla="*/ 1811677 w 4519987"/>
                    <a:gd name="connsiteY121" fmla="*/ 114300 h 4496940"/>
                    <a:gd name="connsiteX122" fmla="*/ 1859302 w 4519987"/>
                    <a:gd name="connsiteY122" fmla="*/ 104775 h 4496940"/>
                    <a:gd name="connsiteX123" fmla="*/ 1916452 w 4519987"/>
                    <a:gd name="connsiteY123" fmla="*/ 95250 h 4496940"/>
                    <a:gd name="connsiteX124" fmla="*/ 2030752 w 4519987"/>
                    <a:gd name="connsiteY124" fmla="*/ 66675 h 4496940"/>
                    <a:gd name="connsiteX125" fmla="*/ 2097427 w 4519987"/>
                    <a:gd name="connsiteY125" fmla="*/ 47625 h 4496940"/>
                    <a:gd name="connsiteX126" fmla="*/ 2164102 w 4519987"/>
                    <a:gd name="connsiteY126" fmla="*/ 38100 h 4496940"/>
                    <a:gd name="connsiteX127" fmla="*/ 2392702 w 4519987"/>
                    <a:gd name="connsiteY12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383302 w 4519987"/>
                    <a:gd name="connsiteY39" fmla="*/ 4210050 h 4496940"/>
                    <a:gd name="connsiteX40" fmla="*/ 3335677 w 4519987"/>
                    <a:gd name="connsiteY40" fmla="*/ 4238625 h 4496940"/>
                    <a:gd name="connsiteX41" fmla="*/ 3288052 w 4519987"/>
                    <a:gd name="connsiteY41" fmla="*/ 4248150 h 4496940"/>
                    <a:gd name="connsiteX42" fmla="*/ 3240427 w 4519987"/>
                    <a:gd name="connsiteY42" fmla="*/ 4267200 h 4496940"/>
                    <a:gd name="connsiteX43" fmla="*/ 3068977 w 4519987"/>
                    <a:gd name="connsiteY43" fmla="*/ 4286250 h 4496940"/>
                    <a:gd name="connsiteX44" fmla="*/ 2935627 w 4519987"/>
                    <a:gd name="connsiteY44" fmla="*/ 4333875 h 4496940"/>
                    <a:gd name="connsiteX45" fmla="*/ 2811802 w 4519987"/>
                    <a:gd name="connsiteY45" fmla="*/ 4371975 h 4496940"/>
                    <a:gd name="connsiteX46" fmla="*/ 2745127 w 4519987"/>
                    <a:gd name="connsiteY46" fmla="*/ 4410075 h 4496940"/>
                    <a:gd name="connsiteX47" fmla="*/ 2697502 w 4519987"/>
                    <a:gd name="connsiteY47" fmla="*/ 4429125 h 4496940"/>
                    <a:gd name="connsiteX48" fmla="*/ 2640352 w 4519987"/>
                    <a:gd name="connsiteY48" fmla="*/ 4457700 h 4496940"/>
                    <a:gd name="connsiteX49" fmla="*/ 2583202 w 4519987"/>
                    <a:gd name="connsiteY49" fmla="*/ 4467225 h 4496940"/>
                    <a:gd name="connsiteX50" fmla="*/ 2545102 w 4519987"/>
                    <a:gd name="connsiteY50" fmla="*/ 4486275 h 4496940"/>
                    <a:gd name="connsiteX51" fmla="*/ 2306977 w 4519987"/>
                    <a:gd name="connsiteY51" fmla="*/ 4476750 h 4496940"/>
                    <a:gd name="connsiteX52" fmla="*/ 2202202 w 4519987"/>
                    <a:gd name="connsiteY52" fmla="*/ 4457700 h 4496940"/>
                    <a:gd name="connsiteX53" fmla="*/ 2126002 w 4519987"/>
                    <a:gd name="connsiteY53" fmla="*/ 4429125 h 4496940"/>
                    <a:gd name="connsiteX54" fmla="*/ 1935502 w 4519987"/>
                    <a:gd name="connsiteY54" fmla="*/ 4400550 h 4496940"/>
                    <a:gd name="connsiteX55" fmla="*/ 1821202 w 4519987"/>
                    <a:gd name="connsiteY55" fmla="*/ 4371975 h 4496940"/>
                    <a:gd name="connsiteX56" fmla="*/ 1754527 w 4519987"/>
                    <a:gd name="connsiteY56" fmla="*/ 4352925 h 4496940"/>
                    <a:gd name="connsiteX57" fmla="*/ 1687852 w 4519987"/>
                    <a:gd name="connsiteY57" fmla="*/ 4343400 h 4496940"/>
                    <a:gd name="connsiteX58" fmla="*/ 1573552 w 4519987"/>
                    <a:gd name="connsiteY58" fmla="*/ 4305300 h 4496940"/>
                    <a:gd name="connsiteX59" fmla="*/ 1402102 w 4519987"/>
                    <a:gd name="connsiteY59" fmla="*/ 4276725 h 4496940"/>
                    <a:gd name="connsiteX60" fmla="*/ 1287802 w 4519987"/>
                    <a:gd name="connsiteY60" fmla="*/ 4229100 h 4496940"/>
                    <a:gd name="connsiteX61" fmla="*/ 1221127 w 4519987"/>
                    <a:gd name="connsiteY61" fmla="*/ 4200525 h 4496940"/>
                    <a:gd name="connsiteX62" fmla="*/ 1144927 w 4519987"/>
                    <a:gd name="connsiteY62" fmla="*/ 4171950 h 4496940"/>
                    <a:gd name="connsiteX63" fmla="*/ 1087777 w 4519987"/>
                    <a:gd name="connsiteY63" fmla="*/ 4143375 h 4496940"/>
                    <a:gd name="connsiteX64" fmla="*/ 1030627 w 4519987"/>
                    <a:gd name="connsiteY64" fmla="*/ 4124325 h 4496940"/>
                    <a:gd name="connsiteX65" fmla="*/ 925852 w 4519987"/>
                    <a:gd name="connsiteY65" fmla="*/ 4067175 h 4496940"/>
                    <a:gd name="connsiteX66" fmla="*/ 830602 w 4519987"/>
                    <a:gd name="connsiteY66" fmla="*/ 3981450 h 4496940"/>
                    <a:gd name="connsiteX67" fmla="*/ 763927 w 4519987"/>
                    <a:gd name="connsiteY67" fmla="*/ 3914775 h 4496940"/>
                    <a:gd name="connsiteX68" fmla="*/ 725827 w 4519987"/>
                    <a:gd name="connsiteY68" fmla="*/ 3876675 h 4496940"/>
                    <a:gd name="connsiteX69" fmla="*/ 697252 w 4519987"/>
                    <a:gd name="connsiteY69" fmla="*/ 3838575 h 4496940"/>
                    <a:gd name="connsiteX70" fmla="*/ 640102 w 4519987"/>
                    <a:gd name="connsiteY70" fmla="*/ 3781425 h 4496940"/>
                    <a:gd name="connsiteX71" fmla="*/ 611527 w 4519987"/>
                    <a:gd name="connsiteY71" fmla="*/ 3733800 h 4496940"/>
                    <a:gd name="connsiteX72" fmla="*/ 554377 w 4519987"/>
                    <a:gd name="connsiteY72" fmla="*/ 3657600 h 4496940"/>
                    <a:gd name="connsiteX73" fmla="*/ 525802 w 4519987"/>
                    <a:gd name="connsiteY73" fmla="*/ 3609975 h 4496940"/>
                    <a:gd name="connsiteX74" fmla="*/ 497227 w 4519987"/>
                    <a:gd name="connsiteY74" fmla="*/ 3552825 h 4496940"/>
                    <a:gd name="connsiteX75" fmla="*/ 440077 w 4519987"/>
                    <a:gd name="connsiteY75" fmla="*/ 3495675 h 4496940"/>
                    <a:gd name="connsiteX76" fmla="*/ 411502 w 4519987"/>
                    <a:gd name="connsiteY76" fmla="*/ 3448050 h 4496940"/>
                    <a:gd name="connsiteX77" fmla="*/ 278152 w 4519987"/>
                    <a:gd name="connsiteY77" fmla="*/ 3257550 h 4496940"/>
                    <a:gd name="connsiteX78" fmla="*/ 249577 w 4519987"/>
                    <a:gd name="connsiteY78" fmla="*/ 3200400 h 4496940"/>
                    <a:gd name="connsiteX79" fmla="*/ 240052 w 4519987"/>
                    <a:gd name="connsiteY79" fmla="*/ 3162300 h 4496940"/>
                    <a:gd name="connsiteX80" fmla="*/ 221002 w 4519987"/>
                    <a:gd name="connsiteY80" fmla="*/ 3105150 h 4496940"/>
                    <a:gd name="connsiteX81" fmla="*/ 173377 w 4519987"/>
                    <a:gd name="connsiteY81" fmla="*/ 3019425 h 4496940"/>
                    <a:gd name="connsiteX82" fmla="*/ 144802 w 4519987"/>
                    <a:gd name="connsiteY82" fmla="*/ 2924175 h 4496940"/>
                    <a:gd name="connsiteX83" fmla="*/ 68602 w 4519987"/>
                    <a:gd name="connsiteY83" fmla="*/ 2724150 h 4496940"/>
                    <a:gd name="connsiteX84" fmla="*/ 49552 w 4519987"/>
                    <a:gd name="connsiteY84" fmla="*/ 2638425 h 4496940"/>
                    <a:gd name="connsiteX85" fmla="*/ 40027 w 4519987"/>
                    <a:gd name="connsiteY85" fmla="*/ 2562225 h 4496940"/>
                    <a:gd name="connsiteX86" fmla="*/ 30502 w 4519987"/>
                    <a:gd name="connsiteY86" fmla="*/ 2514600 h 4496940"/>
                    <a:gd name="connsiteX87" fmla="*/ 11452 w 4519987"/>
                    <a:gd name="connsiteY87" fmla="*/ 2400300 h 4496940"/>
                    <a:gd name="connsiteX88" fmla="*/ 20977 w 4519987"/>
                    <a:gd name="connsiteY88" fmla="*/ 1905000 h 4496940"/>
                    <a:gd name="connsiteX89" fmla="*/ 30502 w 4519987"/>
                    <a:gd name="connsiteY89" fmla="*/ 1838325 h 4496940"/>
                    <a:gd name="connsiteX90" fmla="*/ 49552 w 4519987"/>
                    <a:gd name="connsiteY90" fmla="*/ 1781175 h 4496940"/>
                    <a:gd name="connsiteX91" fmla="*/ 59077 w 4519987"/>
                    <a:gd name="connsiteY91" fmla="*/ 1743075 h 4496940"/>
                    <a:gd name="connsiteX92" fmla="*/ 78127 w 4519987"/>
                    <a:gd name="connsiteY92" fmla="*/ 1685925 h 4496940"/>
                    <a:gd name="connsiteX93" fmla="*/ 87652 w 4519987"/>
                    <a:gd name="connsiteY93" fmla="*/ 1638300 h 4496940"/>
                    <a:gd name="connsiteX94" fmla="*/ 106702 w 4519987"/>
                    <a:gd name="connsiteY94" fmla="*/ 1590675 h 4496940"/>
                    <a:gd name="connsiteX95" fmla="*/ 135277 w 4519987"/>
                    <a:gd name="connsiteY95" fmla="*/ 1504950 h 4496940"/>
                    <a:gd name="connsiteX96" fmla="*/ 154327 w 4519987"/>
                    <a:gd name="connsiteY96" fmla="*/ 1419225 h 4496940"/>
                    <a:gd name="connsiteX97" fmla="*/ 230527 w 4519987"/>
                    <a:gd name="connsiteY97" fmla="*/ 1276350 h 4496940"/>
                    <a:gd name="connsiteX98" fmla="*/ 240052 w 4519987"/>
                    <a:gd name="connsiteY98" fmla="*/ 1247775 h 4496940"/>
                    <a:gd name="connsiteX99" fmla="*/ 268627 w 4519987"/>
                    <a:gd name="connsiteY99" fmla="*/ 1200150 h 4496940"/>
                    <a:gd name="connsiteX100" fmla="*/ 287677 w 4519987"/>
                    <a:gd name="connsiteY100" fmla="*/ 1152525 h 4496940"/>
                    <a:gd name="connsiteX101" fmla="*/ 316252 w 4519987"/>
                    <a:gd name="connsiteY101" fmla="*/ 1114425 h 4496940"/>
                    <a:gd name="connsiteX102" fmla="*/ 363877 w 4519987"/>
                    <a:gd name="connsiteY102" fmla="*/ 1038225 h 4496940"/>
                    <a:gd name="connsiteX103" fmla="*/ 382927 w 4519987"/>
                    <a:gd name="connsiteY103" fmla="*/ 1009650 h 4496940"/>
                    <a:gd name="connsiteX104" fmla="*/ 440077 w 4519987"/>
                    <a:gd name="connsiteY104" fmla="*/ 904875 h 4496940"/>
                    <a:gd name="connsiteX105" fmla="*/ 478177 w 4519987"/>
                    <a:gd name="connsiteY105" fmla="*/ 857250 h 4496940"/>
                    <a:gd name="connsiteX106" fmla="*/ 497227 w 4519987"/>
                    <a:gd name="connsiteY106" fmla="*/ 828675 h 4496940"/>
                    <a:gd name="connsiteX107" fmla="*/ 535327 w 4519987"/>
                    <a:gd name="connsiteY107" fmla="*/ 800100 h 4496940"/>
                    <a:gd name="connsiteX108" fmla="*/ 602002 w 4519987"/>
                    <a:gd name="connsiteY108" fmla="*/ 733425 h 4496940"/>
                    <a:gd name="connsiteX109" fmla="*/ 668677 w 4519987"/>
                    <a:gd name="connsiteY109" fmla="*/ 676275 h 4496940"/>
                    <a:gd name="connsiteX110" fmla="*/ 697252 w 4519987"/>
                    <a:gd name="connsiteY110" fmla="*/ 657225 h 4496940"/>
                    <a:gd name="connsiteX111" fmla="*/ 840127 w 4519987"/>
                    <a:gd name="connsiteY111" fmla="*/ 533400 h 4496940"/>
                    <a:gd name="connsiteX112" fmla="*/ 887752 w 4519987"/>
                    <a:gd name="connsiteY112" fmla="*/ 504825 h 4496940"/>
                    <a:gd name="connsiteX113" fmla="*/ 1167152 w 4519987"/>
                    <a:gd name="connsiteY113" fmla="*/ 311150 h 4496940"/>
                    <a:gd name="connsiteX114" fmla="*/ 1268752 w 4519987"/>
                    <a:gd name="connsiteY114" fmla="*/ 285750 h 4496940"/>
                    <a:gd name="connsiteX115" fmla="*/ 1411627 w 4519987"/>
                    <a:gd name="connsiteY115" fmla="*/ 190500 h 4496940"/>
                    <a:gd name="connsiteX116" fmla="*/ 1449727 w 4519987"/>
                    <a:gd name="connsiteY116" fmla="*/ 161925 h 4496940"/>
                    <a:gd name="connsiteX117" fmla="*/ 1525927 w 4519987"/>
                    <a:gd name="connsiteY117" fmla="*/ 152400 h 4496940"/>
                    <a:gd name="connsiteX118" fmla="*/ 1583077 w 4519987"/>
                    <a:gd name="connsiteY118" fmla="*/ 142875 h 4496940"/>
                    <a:gd name="connsiteX119" fmla="*/ 1716427 w 4519987"/>
                    <a:gd name="connsiteY119" fmla="*/ 123825 h 4496940"/>
                    <a:gd name="connsiteX120" fmla="*/ 1811677 w 4519987"/>
                    <a:gd name="connsiteY120" fmla="*/ 114300 h 4496940"/>
                    <a:gd name="connsiteX121" fmla="*/ 1859302 w 4519987"/>
                    <a:gd name="connsiteY121" fmla="*/ 104775 h 4496940"/>
                    <a:gd name="connsiteX122" fmla="*/ 1916452 w 4519987"/>
                    <a:gd name="connsiteY122" fmla="*/ 95250 h 4496940"/>
                    <a:gd name="connsiteX123" fmla="*/ 2030752 w 4519987"/>
                    <a:gd name="connsiteY123" fmla="*/ 66675 h 4496940"/>
                    <a:gd name="connsiteX124" fmla="*/ 2097427 w 4519987"/>
                    <a:gd name="connsiteY124" fmla="*/ 47625 h 4496940"/>
                    <a:gd name="connsiteX125" fmla="*/ 2164102 w 4519987"/>
                    <a:gd name="connsiteY125" fmla="*/ 38100 h 4496940"/>
                    <a:gd name="connsiteX126" fmla="*/ 2392702 w 4519987"/>
                    <a:gd name="connsiteY12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554752 w 4519987"/>
                    <a:gd name="connsiteY37" fmla="*/ 4095750 h 4496940"/>
                    <a:gd name="connsiteX38" fmla="*/ 3383302 w 4519987"/>
                    <a:gd name="connsiteY38" fmla="*/ 4210050 h 4496940"/>
                    <a:gd name="connsiteX39" fmla="*/ 3335677 w 4519987"/>
                    <a:gd name="connsiteY39" fmla="*/ 4238625 h 4496940"/>
                    <a:gd name="connsiteX40" fmla="*/ 3288052 w 4519987"/>
                    <a:gd name="connsiteY40" fmla="*/ 4248150 h 4496940"/>
                    <a:gd name="connsiteX41" fmla="*/ 3240427 w 4519987"/>
                    <a:gd name="connsiteY41" fmla="*/ 4267200 h 4496940"/>
                    <a:gd name="connsiteX42" fmla="*/ 3068977 w 4519987"/>
                    <a:gd name="connsiteY42" fmla="*/ 4286250 h 4496940"/>
                    <a:gd name="connsiteX43" fmla="*/ 2935627 w 4519987"/>
                    <a:gd name="connsiteY43" fmla="*/ 4333875 h 4496940"/>
                    <a:gd name="connsiteX44" fmla="*/ 2811802 w 4519987"/>
                    <a:gd name="connsiteY44" fmla="*/ 4371975 h 4496940"/>
                    <a:gd name="connsiteX45" fmla="*/ 2745127 w 4519987"/>
                    <a:gd name="connsiteY45" fmla="*/ 4410075 h 4496940"/>
                    <a:gd name="connsiteX46" fmla="*/ 2697502 w 4519987"/>
                    <a:gd name="connsiteY46" fmla="*/ 4429125 h 4496940"/>
                    <a:gd name="connsiteX47" fmla="*/ 2640352 w 4519987"/>
                    <a:gd name="connsiteY47" fmla="*/ 4457700 h 4496940"/>
                    <a:gd name="connsiteX48" fmla="*/ 2583202 w 4519987"/>
                    <a:gd name="connsiteY48" fmla="*/ 4467225 h 4496940"/>
                    <a:gd name="connsiteX49" fmla="*/ 2545102 w 4519987"/>
                    <a:gd name="connsiteY49" fmla="*/ 4486275 h 4496940"/>
                    <a:gd name="connsiteX50" fmla="*/ 2306977 w 4519987"/>
                    <a:gd name="connsiteY50" fmla="*/ 4476750 h 4496940"/>
                    <a:gd name="connsiteX51" fmla="*/ 2202202 w 4519987"/>
                    <a:gd name="connsiteY51" fmla="*/ 4457700 h 4496940"/>
                    <a:gd name="connsiteX52" fmla="*/ 2126002 w 4519987"/>
                    <a:gd name="connsiteY52" fmla="*/ 4429125 h 4496940"/>
                    <a:gd name="connsiteX53" fmla="*/ 1935502 w 4519987"/>
                    <a:gd name="connsiteY53" fmla="*/ 4400550 h 4496940"/>
                    <a:gd name="connsiteX54" fmla="*/ 1821202 w 4519987"/>
                    <a:gd name="connsiteY54" fmla="*/ 4371975 h 4496940"/>
                    <a:gd name="connsiteX55" fmla="*/ 1754527 w 4519987"/>
                    <a:gd name="connsiteY55" fmla="*/ 4352925 h 4496940"/>
                    <a:gd name="connsiteX56" fmla="*/ 1687852 w 4519987"/>
                    <a:gd name="connsiteY56" fmla="*/ 4343400 h 4496940"/>
                    <a:gd name="connsiteX57" fmla="*/ 1573552 w 4519987"/>
                    <a:gd name="connsiteY57" fmla="*/ 4305300 h 4496940"/>
                    <a:gd name="connsiteX58" fmla="*/ 1402102 w 4519987"/>
                    <a:gd name="connsiteY58" fmla="*/ 4276725 h 4496940"/>
                    <a:gd name="connsiteX59" fmla="*/ 1287802 w 4519987"/>
                    <a:gd name="connsiteY59" fmla="*/ 4229100 h 4496940"/>
                    <a:gd name="connsiteX60" fmla="*/ 1221127 w 4519987"/>
                    <a:gd name="connsiteY60" fmla="*/ 4200525 h 4496940"/>
                    <a:gd name="connsiteX61" fmla="*/ 1144927 w 4519987"/>
                    <a:gd name="connsiteY61" fmla="*/ 4171950 h 4496940"/>
                    <a:gd name="connsiteX62" fmla="*/ 1087777 w 4519987"/>
                    <a:gd name="connsiteY62" fmla="*/ 4143375 h 4496940"/>
                    <a:gd name="connsiteX63" fmla="*/ 1030627 w 4519987"/>
                    <a:gd name="connsiteY63" fmla="*/ 4124325 h 4496940"/>
                    <a:gd name="connsiteX64" fmla="*/ 925852 w 4519987"/>
                    <a:gd name="connsiteY64" fmla="*/ 4067175 h 4496940"/>
                    <a:gd name="connsiteX65" fmla="*/ 830602 w 4519987"/>
                    <a:gd name="connsiteY65" fmla="*/ 3981450 h 4496940"/>
                    <a:gd name="connsiteX66" fmla="*/ 763927 w 4519987"/>
                    <a:gd name="connsiteY66" fmla="*/ 3914775 h 4496940"/>
                    <a:gd name="connsiteX67" fmla="*/ 725827 w 4519987"/>
                    <a:gd name="connsiteY67" fmla="*/ 3876675 h 4496940"/>
                    <a:gd name="connsiteX68" fmla="*/ 697252 w 4519987"/>
                    <a:gd name="connsiteY68" fmla="*/ 3838575 h 4496940"/>
                    <a:gd name="connsiteX69" fmla="*/ 640102 w 4519987"/>
                    <a:gd name="connsiteY69" fmla="*/ 3781425 h 4496940"/>
                    <a:gd name="connsiteX70" fmla="*/ 611527 w 4519987"/>
                    <a:gd name="connsiteY70" fmla="*/ 3733800 h 4496940"/>
                    <a:gd name="connsiteX71" fmla="*/ 554377 w 4519987"/>
                    <a:gd name="connsiteY71" fmla="*/ 3657600 h 4496940"/>
                    <a:gd name="connsiteX72" fmla="*/ 525802 w 4519987"/>
                    <a:gd name="connsiteY72" fmla="*/ 3609975 h 4496940"/>
                    <a:gd name="connsiteX73" fmla="*/ 497227 w 4519987"/>
                    <a:gd name="connsiteY73" fmla="*/ 3552825 h 4496940"/>
                    <a:gd name="connsiteX74" fmla="*/ 440077 w 4519987"/>
                    <a:gd name="connsiteY74" fmla="*/ 3495675 h 4496940"/>
                    <a:gd name="connsiteX75" fmla="*/ 411502 w 4519987"/>
                    <a:gd name="connsiteY75" fmla="*/ 3448050 h 4496940"/>
                    <a:gd name="connsiteX76" fmla="*/ 278152 w 4519987"/>
                    <a:gd name="connsiteY76" fmla="*/ 3257550 h 4496940"/>
                    <a:gd name="connsiteX77" fmla="*/ 249577 w 4519987"/>
                    <a:gd name="connsiteY77" fmla="*/ 3200400 h 4496940"/>
                    <a:gd name="connsiteX78" fmla="*/ 240052 w 4519987"/>
                    <a:gd name="connsiteY78" fmla="*/ 3162300 h 4496940"/>
                    <a:gd name="connsiteX79" fmla="*/ 221002 w 4519987"/>
                    <a:gd name="connsiteY79" fmla="*/ 3105150 h 4496940"/>
                    <a:gd name="connsiteX80" fmla="*/ 173377 w 4519987"/>
                    <a:gd name="connsiteY80" fmla="*/ 3019425 h 4496940"/>
                    <a:gd name="connsiteX81" fmla="*/ 144802 w 4519987"/>
                    <a:gd name="connsiteY81" fmla="*/ 2924175 h 4496940"/>
                    <a:gd name="connsiteX82" fmla="*/ 68602 w 4519987"/>
                    <a:gd name="connsiteY82" fmla="*/ 2724150 h 4496940"/>
                    <a:gd name="connsiteX83" fmla="*/ 49552 w 4519987"/>
                    <a:gd name="connsiteY83" fmla="*/ 2638425 h 4496940"/>
                    <a:gd name="connsiteX84" fmla="*/ 40027 w 4519987"/>
                    <a:gd name="connsiteY84" fmla="*/ 2562225 h 4496940"/>
                    <a:gd name="connsiteX85" fmla="*/ 30502 w 4519987"/>
                    <a:gd name="connsiteY85" fmla="*/ 2514600 h 4496940"/>
                    <a:gd name="connsiteX86" fmla="*/ 11452 w 4519987"/>
                    <a:gd name="connsiteY86" fmla="*/ 2400300 h 4496940"/>
                    <a:gd name="connsiteX87" fmla="*/ 20977 w 4519987"/>
                    <a:gd name="connsiteY87" fmla="*/ 1905000 h 4496940"/>
                    <a:gd name="connsiteX88" fmla="*/ 30502 w 4519987"/>
                    <a:gd name="connsiteY88" fmla="*/ 1838325 h 4496940"/>
                    <a:gd name="connsiteX89" fmla="*/ 49552 w 4519987"/>
                    <a:gd name="connsiteY89" fmla="*/ 1781175 h 4496940"/>
                    <a:gd name="connsiteX90" fmla="*/ 59077 w 4519987"/>
                    <a:gd name="connsiteY90" fmla="*/ 1743075 h 4496940"/>
                    <a:gd name="connsiteX91" fmla="*/ 78127 w 4519987"/>
                    <a:gd name="connsiteY91" fmla="*/ 1685925 h 4496940"/>
                    <a:gd name="connsiteX92" fmla="*/ 87652 w 4519987"/>
                    <a:gd name="connsiteY92" fmla="*/ 1638300 h 4496940"/>
                    <a:gd name="connsiteX93" fmla="*/ 106702 w 4519987"/>
                    <a:gd name="connsiteY93" fmla="*/ 1590675 h 4496940"/>
                    <a:gd name="connsiteX94" fmla="*/ 135277 w 4519987"/>
                    <a:gd name="connsiteY94" fmla="*/ 1504950 h 4496940"/>
                    <a:gd name="connsiteX95" fmla="*/ 154327 w 4519987"/>
                    <a:gd name="connsiteY95" fmla="*/ 1419225 h 4496940"/>
                    <a:gd name="connsiteX96" fmla="*/ 230527 w 4519987"/>
                    <a:gd name="connsiteY96" fmla="*/ 1276350 h 4496940"/>
                    <a:gd name="connsiteX97" fmla="*/ 240052 w 4519987"/>
                    <a:gd name="connsiteY97" fmla="*/ 1247775 h 4496940"/>
                    <a:gd name="connsiteX98" fmla="*/ 268627 w 4519987"/>
                    <a:gd name="connsiteY98" fmla="*/ 1200150 h 4496940"/>
                    <a:gd name="connsiteX99" fmla="*/ 287677 w 4519987"/>
                    <a:gd name="connsiteY99" fmla="*/ 1152525 h 4496940"/>
                    <a:gd name="connsiteX100" fmla="*/ 316252 w 4519987"/>
                    <a:gd name="connsiteY100" fmla="*/ 1114425 h 4496940"/>
                    <a:gd name="connsiteX101" fmla="*/ 363877 w 4519987"/>
                    <a:gd name="connsiteY101" fmla="*/ 1038225 h 4496940"/>
                    <a:gd name="connsiteX102" fmla="*/ 382927 w 4519987"/>
                    <a:gd name="connsiteY102" fmla="*/ 1009650 h 4496940"/>
                    <a:gd name="connsiteX103" fmla="*/ 440077 w 4519987"/>
                    <a:gd name="connsiteY103" fmla="*/ 904875 h 4496940"/>
                    <a:gd name="connsiteX104" fmla="*/ 478177 w 4519987"/>
                    <a:gd name="connsiteY104" fmla="*/ 857250 h 4496940"/>
                    <a:gd name="connsiteX105" fmla="*/ 497227 w 4519987"/>
                    <a:gd name="connsiteY105" fmla="*/ 828675 h 4496940"/>
                    <a:gd name="connsiteX106" fmla="*/ 535327 w 4519987"/>
                    <a:gd name="connsiteY106" fmla="*/ 800100 h 4496940"/>
                    <a:gd name="connsiteX107" fmla="*/ 602002 w 4519987"/>
                    <a:gd name="connsiteY107" fmla="*/ 733425 h 4496940"/>
                    <a:gd name="connsiteX108" fmla="*/ 668677 w 4519987"/>
                    <a:gd name="connsiteY108" fmla="*/ 676275 h 4496940"/>
                    <a:gd name="connsiteX109" fmla="*/ 697252 w 4519987"/>
                    <a:gd name="connsiteY109" fmla="*/ 657225 h 4496940"/>
                    <a:gd name="connsiteX110" fmla="*/ 840127 w 4519987"/>
                    <a:gd name="connsiteY110" fmla="*/ 533400 h 4496940"/>
                    <a:gd name="connsiteX111" fmla="*/ 887752 w 4519987"/>
                    <a:gd name="connsiteY111" fmla="*/ 504825 h 4496940"/>
                    <a:gd name="connsiteX112" fmla="*/ 1167152 w 4519987"/>
                    <a:gd name="connsiteY112" fmla="*/ 311150 h 4496940"/>
                    <a:gd name="connsiteX113" fmla="*/ 1268752 w 4519987"/>
                    <a:gd name="connsiteY113" fmla="*/ 285750 h 4496940"/>
                    <a:gd name="connsiteX114" fmla="*/ 1411627 w 4519987"/>
                    <a:gd name="connsiteY114" fmla="*/ 190500 h 4496940"/>
                    <a:gd name="connsiteX115" fmla="*/ 1449727 w 4519987"/>
                    <a:gd name="connsiteY115" fmla="*/ 161925 h 4496940"/>
                    <a:gd name="connsiteX116" fmla="*/ 1525927 w 4519987"/>
                    <a:gd name="connsiteY116" fmla="*/ 152400 h 4496940"/>
                    <a:gd name="connsiteX117" fmla="*/ 1583077 w 4519987"/>
                    <a:gd name="connsiteY117" fmla="*/ 142875 h 4496940"/>
                    <a:gd name="connsiteX118" fmla="*/ 1716427 w 4519987"/>
                    <a:gd name="connsiteY118" fmla="*/ 123825 h 4496940"/>
                    <a:gd name="connsiteX119" fmla="*/ 1811677 w 4519987"/>
                    <a:gd name="connsiteY119" fmla="*/ 114300 h 4496940"/>
                    <a:gd name="connsiteX120" fmla="*/ 1859302 w 4519987"/>
                    <a:gd name="connsiteY120" fmla="*/ 104775 h 4496940"/>
                    <a:gd name="connsiteX121" fmla="*/ 1916452 w 4519987"/>
                    <a:gd name="connsiteY121" fmla="*/ 95250 h 4496940"/>
                    <a:gd name="connsiteX122" fmla="*/ 2030752 w 4519987"/>
                    <a:gd name="connsiteY122" fmla="*/ 66675 h 4496940"/>
                    <a:gd name="connsiteX123" fmla="*/ 2097427 w 4519987"/>
                    <a:gd name="connsiteY123" fmla="*/ 47625 h 4496940"/>
                    <a:gd name="connsiteX124" fmla="*/ 2164102 w 4519987"/>
                    <a:gd name="connsiteY124" fmla="*/ 38100 h 4496940"/>
                    <a:gd name="connsiteX125" fmla="*/ 2392702 w 4519987"/>
                    <a:gd name="connsiteY12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54752 w 4519987"/>
                    <a:gd name="connsiteY36" fmla="*/ 40957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88052 w 4519987"/>
                    <a:gd name="connsiteY38" fmla="*/ 4248150 h 4496940"/>
                    <a:gd name="connsiteX39" fmla="*/ 3240427 w 4519987"/>
                    <a:gd name="connsiteY39" fmla="*/ 4267200 h 4496940"/>
                    <a:gd name="connsiteX40" fmla="*/ 3068977 w 4519987"/>
                    <a:gd name="connsiteY40" fmla="*/ 4286250 h 4496940"/>
                    <a:gd name="connsiteX41" fmla="*/ 2935627 w 4519987"/>
                    <a:gd name="connsiteY41" fmla="*/ 4333875 h 4496940"/>
                    <a:gd name="connsiteX42" fmla="*/ 2811802 w 4519987"/>
                    <a:gd name="connsiteY42" fmla="*/ 4371975 h 4496940"/>
                    <a:gd name="connsiteX43" fmla="*/ 2745127 w 4519987"/>
                    <a:gd name="connsiteY43" fmla="*/ 4410075 h 4496940"/>
                    <a:gd name="connsiteX44" fmla="*/ 2697502 w 4519987"/>
                    <a:gd name="connsiteY44" fmla="*/ 4429125 h 4496940"/>
                    <a:gd name="connsiteX45" fmla="*/ 2640352 w 4519987"/>
                    <a:gd name="connsiteY45" fmla="*/ 4457700 h 4496940"/>
                    <a:gd name="connsiteX46" fmla="*/ 2583202 w 4519987"/>
                    <a:gd name="connsiteY46" fmla="*/ 4467225 h 4496940"/>
                    <a:gd name="connsiteX47" fmla="*/ 2545102 w 4519987"/>
                    <a:gd name="connsiteY47" fmla="*/ 4486275 h 4496940"/>
                    <a:gd name="connsiteX48" fmla="*/ 2306977 w 4519987"/>
                    <a:gd name="connsiteY48" fmla="*/ 4476750 h 4496940"/>
                    <a:gd name="connsiteX49" fmla="*/ 2202202 w 4519987"/>
                    <a:gd name="connsiteY49" fmla="*/ 4457700 h 4496940"/>
                    <a:gd name="connsiteX50" fmla="*/ 2126002 w 4519987"/>
                    <a:gd name="connsiteY50" fmla="*/ 4429125 h 4496940"/>
                    <a:gd name="connsiteX51" fmla="*/ 1935502 w 4519987"/>
                    <a:gd name="connsiteY51" fmla="*/ 4400550 h 4496940"/>
                    <a:gd name="connsiteX52" fmla="*/ 1821202 w 4519987"/>
                    <a:gd name="connsiteY52" fmla="*/ 4371975 h 4496940"/>
                    <a:gd name="connsiteX53" fmla="*/ 1754527 w 4519987"/>
                    <a:gd name="connsiteY53" fmla="*/ 4352925 h 4496940"/>
                    <a:gd name="connsiteX54" fmla="*/ 1687852 w 4519987"/>
                    <a:gd name="connsiteY54" fmla="*/ 4343400 h 4496940"/>
                    <a:gd name="connsiteX55" fmla="*/ 1573552 w 4519987"/>
                    <a:gd name="connsiteY55" fmla="*/ 4305300 h 4496940"/>
                    <a:gd name="connsiteX56" fmla="*/ 1402102 w 4519987"/>
                    <a:gd name="connsiteY56" fmla="*/ 4276725 h 4496940"/>
                    <a:gd name="connsiteX57" fmla="*/ 1287802 w 4519987"/>
                    <a:gd name="connsiteY57" fmla="*/ 4229100 h 4496940"/>
                    <a:gd name="connsiteX58" fmla="*/ 1221127 w 4519987"/>
                    <a:gd name="connsiteY58" fmla="*/ 4200525 h 4496940"/>
                    <a:gd name="connsiteX59" fmla="*/ 1144927 w 4519987"/>
                    <a:gd name="connsiteY59" fmla="*/ 4171950 h 4496940"/>
                    <a:gd name="connsiteX60" fmla="*/ 1087777 w 4519987"/>
                    <a:gd name="connsiteY60" fmla="*/ 4143375 h 4496940"/>
                    <a:gd name="connsiteX61" fmla="*/ 1030627 w 4519987"/>
                    <a:gd name="connsiteY61" fmla="*/ 4124325 h 4496940"/>
                    <a:gd name="connsiteX62" fmla="*/ 925852 w 4519987"/>
                    <a:gd name="connsiteY62" fmla="*/ 4067175 h 4496940"/>
                    <a:gd name="connsiteX63" fmla="*/ 830602 w 4519987"/>
                    <a:gd name="connsiteY63" fmla="*/ 3981450 h 4496940"/>
                    <a:gd name="connsiteX64" fmla="*/ 763927 w 4519987"/>
                    <a:gd name="connsiteY64" fmla="*/ 3914775 h 4496940"/>
                    <a:gd name="connsiteX65" fmla="*/ 725827 w 4519987"/>
                    <a:gd name="connsiteY65" fmla="*/ 3876675 h 4496940"/>
                    <a:gd name="connsiteX66" fmla="*/ 697252 w 4519987"/>
                    <a:gd name="connsiteY66" fmla="*/ 3838575 h 4496940"/>
                    <a:gd name="connsiteX67" fmla="*/ 640102 w 4519987"/>
                    <a:gd name="connsiteY67" fmla="*/ 3781425 h 4496940"/>
                    <a:gd name="connsiteX68" fmla="*/ 611527 w 4519987"/>
                    <a:gd name="connsiteY68" fmla="*/ 3733800 h 4496940"/>
                    <a:gd name="connsiteX69" fmla="*/ 554377 w 4519987"/>
                    <a:gd name="connsiteY69" fmla="*/ 3657600 h 4496940"/>
                    <a:gd name="connsiteX70" fmla="*/ 525802 w 4519987"/>
                    <a:gd name="connsiteY70" fmla="*/ 3609975 h 4496940"/>
                    <a:gd name="connsiteX71" fmla="*/ 497227 w 4519987"/>
                    <a:gd name="connsiteY71" fmla="*/ 3552825 h 4496940"/>
                    <a:gd name="connsiteX72" fmla="*/ 440077 w 4519987"/>
                    <a:gd name="connsiteY72" fmla="*/ 3495675 h 4496940"/>
                    <a:gd name="connsiteX73" fmla="*/ 411502 w 4519987"/>
                    <a:gd name="connsiteY73" fmla="*/ 3448050 h 4496940"/>
                    <a:gd name="connsiteX74" fmla="*/ 278152 w 4519987"/>
                    <a:gd name="connsiteY74" fmla="*/ 3257550 h 4496940"/>
                    <a:gd name="connsiteX75" fmla="*/ 249577 w 4519987"/>
                    <a:gd name="connsiteY75" fmla="*/ 3200400 h 4496940"/>
                    <a:gd name="connsiteX76" fmla="*/ 240052 w 4519987"/>
                    <a:gd name="connsiteY76" fmla="*/ 3162300 h 4496940"/>
                    <a:gd name="connsiteX77" fmla="*/ 221002 w 4519987"/>
                    <a:gd name="connsiteY77" fmla="*/ 3105150 h 4496940"/>
                    <a:gd name="connsiteX78" fmla="*/ 173377 w 4519987"/>
                    <a:gd name="connsiteY78" fmla="*/ 3019425 h 4496940"/>
                    <a:gd name="connsiteX79" fmla="*/ 144802 w 4519987"/>
                    <a:gd name="connsiteY79" fmla="*/ 2924175 h 4496940"/>
                    <a:gd name="connsiteX80" fmla="*/ 68602 w 4519987"/>
                    <a:gd name="connsiteY80" fmla="*/ 2724150 h 4496940"/>
                    <a:gd name="connsiteX81" fmla="*/ 49552 w 4519987"/>
                    <a:gd name="connsiteY81" fmla="*/ 2638425 h 4496940"/>
                    <a:gd name="connsiteX82" fmla="*/ 40027 w 4519987"/>
                    <a:gd name="connsiteY82" fmla="*/ 2562225 h 4496940"/>
                    <a:gd name="connsiteX83" fmla="*/ 30502 w 4519987"/>
                    <a:gd name="connsiteY83" fmla="*/ 2514600 h 4496940"/>
                    <a:gd name="connsiteX84" fmla="*/ 11452 w 4519987"/>
                    <a:gd name="connsiteY84" fmla="*/ 2400300 h 4496940"/>
                    <a:gd name="connsiteX85" fmla="*/ 20977 w 4519987"/>
                    <a:gd name="connsiteY85" fmla="*/ 1905000 h 4496940"/>
                    <a:gd name="connsiteX86" fmla="*/ 30502 w 4519987"/>
                    <a:gd name="connsiteY86" fmla="*/ 1838325 h 4496940"/>
                    <a:gd name="connsiteX87" fmla="*/ 49552 w 4519987"/>
                    <a:gd name="connsiteY87" fmla="*/ 1781175 h 4496940"/>
                    <a:gd name="connsiteX88" fmla="*/ 59077 w 4519987"/>
                    <a:gd name="connsiteY88" fmla="*/ 1743075 h 4496940"/>
                    <a:gd name="connsiteX89" fmla="*/ 78127 w 4519987"/>
                    <a:gd name="connsiteY89" fmla="*/ 1685925 h 4496940"/>
                    <a:gd name="connsiteX90" fmla="*/ 87652 w 4519987"/>
                    <a:gd name="connsiteY90" fmla="*/ 1638300 h 4496940"/>
                    <a:gd name="connsiteX91" fmla="*/ 106702 w 4519987"/>
                    <a:gd name="connsiteY91" fmla="*/ 1590675 h 4496940"/>
                    <a:gd name="connsiteX92" fmla="*/ 135277 w 4519987"/>
                    <a:gd name="connsiteY92" fmla="*/ 1504950 h 4496940"/>
                    <a:gd name="connsiteX93" fmla="*/ 154327 w 4519987"/>
                    <a:gd name="connsiteY93" fmla="*/ 1419225 h 4496940"/>
                    <a:gd name="connsiteX94" fmla="*/ 230527 w 4519987"/>
                    <a:gd name="connsiteY94" fmla="*/ 1276350 h 4496940"/>
                    <a:gd name="connsiteX95" fmla="*/ 240052 w 4519987"/>
                    <a:gd name="connsiteY95" fmla="*/ 1247775 h 4496940"/>
                    <a:gd name="connsiteX96" fmla="*/ 268627 w 4519987"/>
                    <a:gd name="connsiteY96" fmla="*/ 1200150 h 4496940"/>
                    <a:gd name="connsiteX97" fmla="*/ 287677 w 4519987"/>
                    <a:gd name="connsiteY97" fmla="*/ 1152525 h 4496940"/>
                    <a:gd name="connsiteX98" fmla="*/ 316252 w 4519987"/>
                    <a:gd name="connsiteY98" fmla="*/ 1114425 h 4496940"/>
                    <a:gd name="connsiteX99" fmla="*/ 363877 w 4519987"/>
                    <a:gd name="connsiteY99" fmla="*/ 1038225 h 4496940"/>
                    <a:gd name="connsiteX100" fmla="*/ 382927 w 4519987"/>
                    <a:gd name="connsiteY100" fmla="*/ 1009650 h 4496940"/>
                    <a:gd name="connsiteX101" fmla="*/ 440077 w 4519987"/>
                    <a:gd name="connsiteY101" fmla="*/ 904875 h 4496940"/>
                    <a:gd name="connsiteX102" fmla="*/ 478177 w 4519987"/>
                    <a:gd name="connsiteY102" fmla="*/ 857250 h 4496940"/>
                    <a:gd name="connsiteX103" fmla="*/ 497227 w 4519987"/>
                    <a:gd name="connsiteY103" fmla="*/ 828675 h 4496940"/>
                    <a:gd name="connsiteX104" fmla="*/ 535327 w 4519987"/>
                    <a:gd name="connsiteY104" fmla="*/ 800100 h 4496940"/>
                    <a:gd name="connsiteX105" fmla="*/ 602002 w 4519987"/>
                    <a:gd name="connsiteY105" fmla="*/ 733425 h 4496940"/>
                    <a:gd name="connsiteX106" fmla="*/ 668677 w 4519987"/>
                    <a:gd name="connsiteY106" fmla="*/ 676275 h 4496940"/>
                    <a:gd name="connsiteX107" fmla="*/ 697252 w 4519987"/>
                    <a:gd name="connsiteY107" fmla="*/ 657225 h 4496940"/>
                    <a:gd name="connsiteX108" fmla="*/ 840127 w 4519987"/>
                    <a:gd name="connsiteY108" fmla="*/ 533400 h 4496940"/>
                    <a:gd name="connsiteX109" fmla="*/ 887752 w 4519987"/>
                    <a:gd name="connsiteY109" fmla="*/ 504825 h 4496940"/>
                    <a:gd name="connsiteX110" fmla="*/ 1167152 w 4519987"/>
                    <a:gd name="connsiteY110" fmla="*/ 311150 h 4496940"/>
                    <a:gd name="connsiteX111" fmla="*/ 1268752 w 4519987"/>
                    <a:gd name="connsiteY111" fmla="*/ 285750 h 4496940"/>
                    <a:gd name="connsiteX112" fmla="*/ 1411627 w 4519987"/>
                    <a:gd name="connsiteY112" fmla="*/ 190500 h 4496940"/>
                    <a:gd name="connsiteX113" fmla="*/ 1449727 w 4519987"/>
                    <a:gd name="connsiteY113" fmla="*/ 161925 h 4496940"/>
                    <a:gd name="connsiteX114" fmla="*/ 1525927 w 4519987"/>
                    <a:gd name="connsiteY114" fmla="*/ 152400 h 4496940"/>
                    <a:gd name="connsiteX115" fmla="*/ 1583077 w 4519987"/>
                    <a:gd name="connsiteY115" fmla="*/ 142875 h 4496940"/>
                    <a:gd name="connsiteX116" fmla="*/ 1716427 w 4519987"/>
                    <a:gd name="connsiteY116" fmla="*/ 123825 h 4496940"/>
                    <a:gd name="connsiteX117" fmla="*/ 1811677 w 4519987"/>
                    <a:gd name="connsiteY117" fmla="*/ 114300 h 4496940"/>
                    <a:gd name="connsiteX118" fmla="*/ 1859302 w 4519987"/>
                    <a:gd name="connsiteY118" fmla="*/ 104775 h 4496940"/>
                    <a:gd name="connsiteX119" fmla="*/ 1916452 w 4519987"/>
                    <a:gd name="connsiteY119" fmla="*/ 95250 h 4496940"/>
                    <a:gd name="connsiteX120" fmla="*/ 2030752 w 4519987"/>
                    <a:gd name="connsiteY120" fmla="*/ 66675 h 4496940"/>
                    <a:gd name="connsiteX121" fmla="*/ 2097427 w 4519987"/>
                    <a:gd name="connsiteY121" fmla="*/ 47625 h 4496940"/>
                    <a:gd name="connsiteX122" fmla="*/ 2164102 w 4519987"/>
                    <a:gd name="connsiteY122" fmla="*/ 38100 h 4496940"/>
                    <a:gd name="connsiteX123" fmla="*/ 2392702 w 4519987"/>
                    <a:gd name="connsiteY12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40427 w 4519987"/>
                    <a:gd name="connsiteY38" fmla="*/ 4267200 h 4496940"/>
                    <a:gd name="connsiteX39" fmla="*/ 3068977 w 4519987"/>
                    <a:gd name="connsiteY39" fmla="*/ 4286250 h 4496940"/>
                    <a:gd name="connsiteX40" fmla="*/ 2935627 w 4519987"/>
                    <a:gd name="connsiteY40" fmla="*/ 4333875 h 4496940"/>
                    <a:gd name="connsiteX41" fmla="*/ 2811802 w 4519987"/>
                    <a:gd name="connsiteY41" fmla="*/ 4371975 h 4496940"/>
                    <a:gd name="connsiteX42" fmla="*/ 2745127 w 4519987"/>
                    <a:gd name="connsiteY42" fmla="*/ 4410075 h 4496940"/>
                    <a:gd name="connsiteX43" fmla="*/ 2697502 w 4519987"/>
                    <a:gd name="connsiteY43" fmla="*/ 4429125 h 4496940"/>
                    <a:gd name="connsiteX44" fmla="*/ 2640352 w 4519987"/>
                    <a:gd name="connsiteY44" fmla="*/ 4457700 h 4496940"/>
                    <a:gd name="connsiteX45" fmla="*/ 2583202 w 4519987"/>
                    <a:gd name="connsiteY45" fmla="*/ 4467225 h 4496940"/>
                    <a:gd name="connsiteX46" fmla="*/ 2545102 w 4519987"/>
                    <a:gd name="connsiteY46" fmla="*/ 4486275 h 4496940"/>
                    <a:gd name="connsiteX47" fmla="*/ 2306977 w 4519987"/>
                    <a:gd name="connsiteY47" fmla="*/ 4476750 h 4496940"/>
                    <a:gd name="connsiteX48" fmla="*/ 2202202 w 4519987"/>
                    <a:gd name="connsiteY48" fmla="*/ 4457700 h 4496940"/>
                    <a:gd name="connsiteX49" fmla="*/ 2126002 w 4519987"/>
                    <a:gd name="connsiteY49" fmla="*/ 4429125 h 4496940"/>
                    <a:gd name="connsiteX50" fmla="*/ 1935502 w 4519987"/>
                    <a:gd name="connsiteY50" fmla="*/ 4400550 h 4496940"/>
                    <a:gd name="connsiteX51" fmla="*/ 1821202 w 4519987"/>
                    <a:gd name="connsiteY51" fmla="*/ 4371975 h 4496940"/>
                    <a:gd name="connsiteX52" fmla="*/ 1754527 w 4519987"/>
                    <a:gd name="connsiteY52" fmla="*/ 4352925 h 4496940"/>
                    <a:gd name="connsiteX53" fmla="*/ 1687852 w 4519987"/>
                    <a:gd name="connsiteY53" fmla="*/ 4343400 h 4496940"/>
                    <a:gd name="connsiteX54" fmla="*/ 1573552 w 4519987"/>
                    <a:gd name="connsiteY54" fmla="*/ 4305300 h 4496940"/>
                    <a:gd name="connsiteX55" fmla="*/ 1402102 w 4519987"/>
                    <a:gd name="connsiteY55" fmla="*/ 4276725 h 4496940"/>
                    <a:gd name="connsiteX56" fmla="*/ 1287802 w 4519987"/>
                    <a:gd name="connsiteY56" fmla="*/ 4229100 h 4496940"/>
                    <a:gd name="connsiteX57" fmla="*/ 1221127 w 4519987"/>
                    <a:gd name="connsiteY57" fmla="*/ 4200525 h 4496940"/>
                    <a:gd name="connsiteX58" fmla="*/ 1144927 w 4519987"/>
                    <a:gd name="connsiteY58" fmla="*/ 4171950 h 4496940"/>
                    <a:gd name="connsiteX59" fmla="*/ 1087777 w 4519987"/>
                    <a:gd name="connsiteY59" fmla="*/ 4143375 h 4496940"/>
                    <a:gd name="connsiteX60" fmla="*/ 1030627 w 4519987"/>
                    <a:gd name="connsiteY60" fmla="*/ 4124325 h 4496940"/>
                    <a:gd name="connsiteX61" fmla="*/ 925852 w 4519987"/>
                    <a:gd name="connsiteY61" fmla="*/ 4067175 h 4496940"/>
                    <a:gd name="connsiteX62" fmla="*/ 830602 w 4519987"/>
                    <a:gd name="connsiteY62" fmla="*/ 3981450 h 4496940"/>
                    <a:gd name="connsiteX63" fmla="*/ 763927 w 4519987"/>
                    <a:gd name="connsiteY63" fmla="*/ 3914775 h 4496940"/>
                    <a:gd name="connsiteX64" fmla="*/ 725827 w 4519987"/>
                    <a:gd name="connsiteY64" fmla="*/ 3876675 h 4496940"/>
                    <a:gd name="connsiteX65" fmla="*/ 697252 w 4519987"/>
                    <a:gd name="connsiteY65" fmla="*/ 3838575 h 4496940"/>
                    <a:gd name="connsiteX66" fmla="*/ 640102 w 4519987"/>
                    <a:gd name="connsiteY66" fmla="*/ 3781425 h 4496940"/>
                    <a:gd name="connsiteX67" fmla="*/ 611527 w 4519987"/>
                    <a:gd name="connsiteY67" fmla="*/ 3733800 h 4496940"/>
                    <a:gd name="connsiteX68" fmla="*/ 554377 w 4519987"/>
                    <a:gd name="connsiteY68" fmla="*/ 3657600 h 4496940"/>
                    <a:gd name="connsiteX69" fmla="*/ 525802 w 4519987"/>
                    <a:gd name="connsiteY69" fmla="*/ 3609975 h 4496940"/>
                    <a:gd name="connsiteX70" fmla="*/ 497227 w 4519987"/>
                    <a:gd name="connsiteY70" fmla="*/ 3552825 h 4496940"/>
                    <a:gd name="connsiteX71" fmla="*/ 440077 w 4519987"/>
                    <a:gd name="connsiteY71" fmla="*/ 3495675 h 4496940"/>
                    <a:gd name="connsiteX72" fmla="*/ 411502 w 4519987"/>
                    <a:gd name="connsiteY72" fmla="*/ 3448050 h 4496940"/>
                    <a:gd name="connsiteX73" fmla="*/ 278152 w 4519987"/>
                    <a:gd name="connsiteY73" fmla="*/ 3257550 h 4496940"/>
                    <a:gd name="connsiteX74" fmla="*/ 249577 w 4519987"/>
                    <a:gd name="connsiteY74" fmla="*/ 3200400 h 4496940"/>
                    <a:gd name="connsiteX75" fmla="*/ 240052 w 4519987"/>
                    <a:gd name="connsiteY75" fmla="*/ 3162300 h 4496940"/>
                    <a:gd name="connsiteX76" fmla="*/ 221002 w 4519987"/>
                    <a:gd name="connsiteY76" fmla="*/ 3105150 h 4496940"/>
                    <a:gd name="connsiteX77" fmla="*/ 173377 w 4519987"/>
                    <a:gd name="connsiteY77" fmla="*/ 3019425 h 4496940"/>
                    <a:gd name="connsiteX78" fmla="*/ 144802 w 4519987"/>
                    <a:gd name="connsiteY78" fmla="*/ 2924175 h 4496940"/>
                    <a:gd name="connsiteX79" fmla="*/ 68602 w 4519987"/>
                    <a:gd name="connsiteY79" fmla="*/ 2724150 h 4496940"/>
                    <a:gd name="connsiteX80" fmla="*/ 49552 w 4519987"/>
                    <a:gd name="connsiteY80" fmla="*/ 2638425 h 4496940"/>
                    <a:gd name="connsiteX81" fmla="*/ 40027 w 4519987"/>
                    <a:gd name="connsiteY81" fmla="*/ 2562225 h 4496940"/>
                    <a:gd name="connsiteX82" fmla="*/ 30502 w 4519987"/>
                    <a:gd name="connsiteY82" fmla="*/ 2514600 h 4496940"/>
                    <a:gd name="connsiteX83" fmla="*/ 11452 w 4519987"/>
                    <a:gd name="connsiteY83" fmla="*/ 2400300 h 4496940"/>
                    <a:gd name="connsiteX84" fmla="*/ 20977 w 4519987"/>
                    <a:gd name="connsiteY84" fmla="*/ 1905000 h 4496940"/>
                    <a:gd name="connsiteX85" fmla="*/ 30502 w 4519987"/>
                    <a:gd name="connsiteY85" fmla="*/ 1838325 h 4496940"/>
                    <a:gd name="connsiteX86" fmla="*/ 49552 w 4519987"/>
                    <a:gd name="connsiteY86" fmla="*/ 1781175 h 4496940"/>
                    <a:gd name="connsiteX87" fmla="*/ 59077 w 4519987"/>
                    <a:gd name="connsiteY87" fmla="*/ 1743075 h 4496940"/>
                    <a:gd name="connsiteX88" fmla="*/ 78127 w 4519987"/>
                    <a:gd name="connsiteY88" fmla="*/ 1685925 h 4496940"/>
                    <a:gd name="connsiteX89" fmla="*/ 87652 w 4519987"/>
                    <a:gd name="connsiteY89" fmla="*/ 1638300 h 4496940"/>
                    <a:gd name="connsiteX90" fmla="*/ 106702 w 4519987"/>
                    <a:gd name="connsiteY90" fmla="*/ 1590675 h 4496940"/>
                    <a:gd name="connsiteX91" fmla="*/ 135277 w 4519987"/>
                    <a:gd name="connsiteY91" fmla="*/ 1504950 h 4496940"/>
                    <a:gd name="connsiteX92" fmla="*/ 154327 w 4519987"/>
                    <a:gd name="connsiteY92" fmla="*/ 1419225 h 4496940"/>
                    <a:gd name="connsiteX93" fmla="*/ 230527 w 4519987"/>
                    <a:gd name="connsiteY93" fmla="*/ 1276350 h 4496940"/>
                    <a:gd name="connsiteX94" fmla="*/ 240052 w 4519987"/>
                    <a:gd name="connsiteY94" fmla="*/ 1247775 h 4496940"/>
                    <a:gd name="connsiteX95" fmla="*/ 268627 w 4519987"/>
                    <a:gd name="connsiteY95" fmla="*/ 1200150 h 4496940"/>
                    <a:gd name="connsiteX96" fmla="*/ 287677 w 4519987"/>
                    <a:gd name="connsiteY96" fmla="*/ 1152525 h 4496940"/>
                    <a:gd name="connsiteX97" fmla="*/ 316252 w 4519987"/>
                    <a:gd name="connsiteY97" fmla="*/ 1114425 h 4496940"/>
                    <a:gd name="connsiteX98" fmla="*/ 363877 w 4519987"/>
                    <a:gd name="connsiteY98" fmla="*/ 1038225 h 4496940"/>
                    <a:gd name="connsiteX99" fmla="*/ 382927 w 4519987"/>
                    <a:gd name="connsiteY99" fmla="*/ 1009650 h 4496940"/>
                    <a:gd name="connsiteX100" fmla="*/ 440077 w 4519987"/>
                    <a:gd name="connsiteY100" fmla="*/ 904875 h 4496940"/>
                    <a:gd name="connsiteX101" fmla="*/ 478177 w 4519987"/>
                    <a:gd name="connsiteY101" fmla="*/ 857250 h 4496940"/>
                    <a:gd name="connsiteX102" fmla="*/ 497227 w 4519987"/>
                    <a:gd name="connsiteY102" fmla="*/ 828675 h 4496940"/>
                    <a:gd name="connsiteX103" fmla="*/ 535327 w 4519987"/>
                    <a:gd name="connsiteY103" fmla="*/ 800100 h 4496940"/>
                    <a:gd name="connsiteX104" fmla="*/ 602002 w 4519987"/>
                    <a:gd name="connsiteY104" fmla="*/ 733425 h 4496940"/>
                    <a:gd name="connsiteX105" fmla="*/ 668677 w 4519987"/>
                    <a:gd name="connsiteY105" fmla="*/ 676275 h 4496940"/>
                    <a:gd name="connsiteX106" fmla="*/ 697252 w 4519987"/>
                    <a:gd name="connsiteY106" fmla="*/ 657225 h 4496940"/>
                    <a:gd name="connsiteX107" fmla="*/ 840127 w 4519987"/>
                    <a:gd name="connsiteY107" fmla="*/ 533400 h 4496940"/>
                    <a:gd name="connsiteX108" fmla="*/ 887752 w 4519987"/>
                    <a:gd name="connsiteY108" fmla="*/ 504825 h 4496940"/>
                    <a:gd name="connsiteX109" fmla="*/ 1167152 w 4519987"/>
                    <a:gd name="connsiteY109" fmla="*/ 311150 h 4496940"/>
                    <a:gd name="connsiteX110" fmla="*/ 1268752 w 4519987"/>
                    <a:gd name="connsiteY110" fmla="*/ 285750 h 4496940"/>
                    <a:gd name="connsiteX111" fmla="*/ 1411627 w 4519987"/>
                    <a:gd name="connsiteY111" fmla="*/ 190500 h 4496940"/>
                    <a:gd name="connsiteX112" fmla="*/ 1449727 w 4519987"/>
                    <a:gd name="connsiteY112" fmla="*/ 161925 h 4496940"/>
                    <a:gd name="connsiteX113" fmla="*/ 1525927 w 4519987"/>
                    <a:gd name="connsiteY113" fmla="*/ 152400 h 4496940"/>
                    <a:gd name="connsiteX114" fmla="*/ 1583077 w 4519987"/>
                    <a:gd name="connsiteY114" fmla="*/ 142875 h 4496940"/>
                    <a:gd name="connsiteX115" fmla="*/ 1716427 w 4519987"/>
                    <a:gd name="connsiteY115" fmla="*/ 123825 h 4496940"/>
                    <a:gd name="connsiteX116" fmla="*/ 1811677 w 4519987"/>
                    <a:gd name="connsiteY116" fmla="*/ 114300 h 4496940"/>
                    <a:gd name="connsiteX117" fmla="*/ 1859302 w 4519987"/>
                    <a:gd name="connsiteY117" fmla="*/ 104775 h 4496940"/>
                    <a:gd name="connsiteX118" fmla="*/ 1916452 w 4519987"/>
                    <a:gd name="connsiteY118" fmla="*/ 95250 h 4496940"/>
                    <a:gd name="connsiteX119" fmla="*/ 2030752 w 4519987"/>
                    <a:gd name="connsiteY119" fmla="*/ 66675 h 4496940"/>
                    <a:gd name="connsiteX120" fmla="*/ 2097427 w 4519987"/>
                    <a:gd name="connsiteY120" fmla="*/ 47625 h 4496940"/>
                    <a:gd name="connsiteX121" fmla="*/ 2164102 w 4519987"/>
                    <a:gd name="connsiteY121" fmla="*/ 38100 h 4496940"/>
                    <a:gd name="connsiteX122" fmla="*/ 2392702 w 4519987"/>
                    <a:gd name="connsiteY12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40427 w 4519987"/>
                    <a:gd name="connsiteY37" fmla="*/ 426720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40352 w 4519987"/>
                    <a:gd name="connsiteY42" fmla="*/ 4457700 h 4496940"/>
                    <a:gd name="connsiteX43" fmla="*/ 2583202 w 4519987"/>
                    <a:gd name="connsiteY43" fmla="*/ 4467225 h 4496940"/>
                    <a:gd name="connsiteX44" fmla="*/ 2545102 w 4519987"/>
                    <a:gd name="connsiteY44" fmla="*/ 4486275 h 4496940"/>
                    <a:gd name="connsiteX45" fmla="*/ 2306977 w 4519987"/>
                    <a:gd name="connsiteY45" fmla="*/ 4476750 h 4496940"/>
                    <a:gd name="connsiteX46" fmla="*/ 2202202 w 4519987"/>
                    <a:gd name="connsiteY46" fmla="*/ 4457700 h 4496940"/>
                    <a:gd name="connsiteX47" fmla="*/ 2126002 w 4519987"/>
                    <a:gd name="connsiteY47" fmla="*/ 4429125 h 4496940"/>
                    <a:gd name="connsiteX48" fmla="*/ 1935502 w 4519987"/>
                    <a:gd name="connsiteY48" fmla="*/ 4400550 h 4496940"/>
                    <a:gd name="connsiteX49" fmla="*/ 1821202 w 4519987"/>
                    <a:gd name="connsiteY49" fmla="*/ 4371975 h 4496940"/>
                    <a:gd name="connsiteX50" fmla="*/ 1754527 w 4519987"/>
                    <a:gd name="connsiteY50" fmla="*/ 4352925 h 4496940"/>
                    <a:gd name="connsiteX51" fmla="*/ 1687852 w 4519987"/>
                    <a:gd name="connsiteY51" fmla="*/ 4343400 h 4496940"/>
                    <a:gd name="connsiteX52" fmla="*/ 1573552 w 4519987"/>
                    <a:gd name="connsiteY52" fmla="*/ 4305300 h 4496940"/>
                    <a:gd name="connsiteX53" fmla="*/ 1402102 w 4519987"/>
                    <a:gd name="connsiteY53" fmla="*/ 4276725 h 4496940"/>
                    <a:gd name="connsiteX54" fmla="*/ 1287802 w 4519987"/>
                    <a:gd name="connsiteY54" fmla="*/ 4229100 h 4496940"/>
                    <a:gd name="connsiteX55" fmla="*/ 1221127 w 4519987"/>
                    <a:gd name="connsiteY55" fmla="*/ 4200525 h 4496940"/>
                    <a:gd name="connsiteX56" fmla="*/ 1144927 w 4519987"/>
                    <a:gd name="connsiteY56" fmla="*/ 4171950 h 4496940"/>
                    <a:gd name="connsiteX57" fmla="*/ 1087777 w 4519987"/>
                    <a:gd name="connsiteY57" fmla="*/ 4143375 h 4496940"/>
                    <a:gd name="connsiteX58" fmla="*/ 1030627 w 4519987"/>
                    <a:gd name="connsiteY58" fmla="*/ 4124325 h 4496940"/>
                    <a:gd name="connsiteX59" fmla="*/ 925852 w 4519987"/>
                    <a:gd name="connsiteY59" fmla="*/ 4067175 h 4496940"/>
                    <a:gd name="connsiteX60" fmla="*/ 830602 w 4519987"/>
                    <a:gd name="connsiteY60" fmla="*/ 3981450 h 4496940"/>
                    <a:gd name="connsiteX61" fmla="*/ 763927 w 4519987"/>
                    <a:gd name="connsiteY61" fmla="*/ 3914775 h 4496940"/>
                    <a:gd name="connsiteX62" fmla="*/ 725827 w 4519987"/>
                    <a:gd name="connsiteY62" fmla="*/ 3876675 h 4496940"/>
                    <a:gd name="connsiteX63" fmla="*/ 697252 w 4519987"/>
                    <a:gd name="connsiteY63" fmla="*/ 3838575 h 4496940"/>
                    <a:gd name="connsiteX64" fmla="*/ 640102 w 4519987"/>
                    <a:gd name="connsiteY64" fmla="*/ 3781425 h 4496940"/>
                    <a:gd name="connsiteX65" fmla="*/ 611527 w 4519987"/>
                    <a:gd name="connsiteY65" fmla="*/ 3733800 h 4496940"/>
                    <a:gd name="connsiteX66" fmla="*/ 554377 w 4519987"/>
                    <a:gd name="connsiteY66" fmla="*/ 3657600 h 4496940"/>
                    <a:gd name="connsiteX67" fmla="*/ 525802 w 4519987"/>
                    <a:gd name="connsiteY67" fmla="*/ 3609975 h 4496940"/>
                    <a:gd name="connsiteX68" fmla="*/ 497227 w 4519987"/>
                    <a:gd name="connsiteY68" fmla="*/ 3552825 h 4496940"/>
                    <a:gd name="connsiteX69" fmla="*/ 440077 w 4519987"/>
                    <a:gd name="connsiteY69" fmla="*/ 3495675 h 4496940"/>
                    <a:gd name="connsiteX70" fmla="*/ 411502 w 4519987"/>
                    <a:gd name="connsiteY70" fmla="*/ 3448050 h 4496940"/>
                    <a:gd name="connsiteX71" fmla="*/ 278152 w 4519987"/>
                    <a:gd name="connsiteY71" fmla="*/ 3257550 h 4496940"/>
                    <a:gd name="connsiteX72" fmla="*/ 249577 w 4519987"/>
                    <a:gd name="connsiteY72" fmla="*/ 3200400 h 4496940"/>
                    <a:gd name="connsiteX73" fmla="*/ 240052 w 4519987"/>
                    <a:gd name="connsiteY73" fmla="*/ 3162300 h 4496940"/>
                    <a:gd name="connsiteX74" fmla="*/ 221002 w 4519987"/>
                    <a:gd name="connsiteY74" fmla="*/ 3105150 h 4496940"/>
                    <a:gd name="connsiteX75" fmla="*/ 173377 w 4519987"/>
                    <a:gd name="connsiteY75" fmla="*/ 3019425 h 4496940"/>
                    <a:gd name="connsiteX76" fmla="*/ 144802 w 4519987"/>
                    <a:gd name="connsiteY76" fmla="*/ 2924175 h 4496940"/>
                    <a:gd name="connsiteX77" fmla="*/ 68602 w 4519987"/>
                    <a:gd name="connsiteY77" fmla="*/ 2724150 h 4496940"/>
                    <a:gd name="connsiteX78" fmla="*/ 49552 w 4519987"/>
                    <a:gd name="connsiteY78" fmla="*/ 2638425 h 4496940"/>
                    <a:gd name="connsiteX79" fmla="*/ 40027 w 4519987"/>
                    <a:gd name="connsiteY79" fmla="*/ 2562225 h 4496940"/>
                    <a:gd name="connsiteX80" fmla="*/ 30502 w 4519987"/>
                    <a:gd name="connsiteY80" fmla="*/ 2514600 h 4496940"/>
                    <a:gd name="connsiteX81" fmla="*/ 11452 w 4519987"/>
                    <a:gd name="connsiteY81" fmla="*/ 2400300 h 4496940"/>
                    <a:gd name="connsiteX82" fmla="*/ 20977 w 4519987"/>
                    <a:gd name="connsiteY82" fmla="*/ 1905000 h 4496940"/>
                    <a:gd name="connsiteX83" fmla="*/ 30502 w 4519987"/>
                    <a:gd name="connsiteY83" fmla="*/ 1838325 h 4496940"/>
                    <a:gd name="connsiteX84" fmla="*/ 49552 w 4519987"/>
                    <a:gd name="connsiteY84" fmla="*/ 1781175 h 4496940"/>
                    <a:gd name="connsiteX85" fmla="*/ 59077 w 4519987"/>
                    <a:gd name="connsiteY85" fmla="*/ 1743075 h 4496940"/>
                    <a:gd name="connsiteX86" fmla="*/ 78127 w 4519987"/>
                    <a:gd name="connsiteY86" fmla="*/ 1685925 h 4496940"/>
                    <a:gd name="connsiteX87" fmla="*/ 87652 w 4519987"/>
                    <a:gd name="connsiteY87" fmla="*/ 1638300 h 4496940"/>
                    <a:gd name="connsiteX88" fmla="*/ 106702 w 4519987"/>
                    <a:gd name="connsiteY88" fmla="*/ 1590675 h 4496940"/>
                    <a:gd name="connsiteX89" fmla="*/ 135277 w 4519987"/>
                    <a:gd name="connsiteY89" fmla="*/ 1504950 h 4496940"/>
                    <a:gd name="connsiteX90" fmla="*/ 154327 w 4519987"/>
                    <a:gd name="connsiteY90" fmla="*/ 1419225 h 4496940"/>
                    <a:gd name="connsiteX91" fmla="*/ 230527 w 4519987"/>
                    <a:gd name="connsiteY91" fmla="*/ 1276350 h 4496940"/>
                    <a:gd name="connsiteX92" fmla="*/ 240052 w 4519987"/>
                    <a:gd name="connsiteY92" fmla="*/ 1247775 h 4496940"/>
                    <a:gd name="connsiteX93" fmla="*/ 268627 w 4519987"/>
                    <a:gd name="connsiteY93" fmla="*/ 1200150 h 4496940"/>
                    <a:gd name="connsiteX94" fmla="*/ 287677 w 4519987"/>
                    <a:gd name="connsiteY94" fmla="*/ 1152525 h 4496940"/>
                    <a:gd name="connsiteX95" fmla="*/ 316252 w 4519987"/>
                    <a:gd name="connsiteY95" fmla="*/ 1114425 h 4496940"/>
                    <a:gd name="connsiteX96" fmla="*/ 363877 w 4519987"/>
                    <a:gd name="connsiteY96" fmla="*/ 1038225 h 4496940"/>
                    <a:gd name="connsiteX97" fmla="*/ 382927 w 4519987"/>
                    <a:gd name="connsiteY97" fmla="*/ 1009650 h 4496940"/>
                    <a:gd name="connsiteX98" fmla="*/ 440077 w 4519987"/>
                    <a:gd name="connsiteY98" fmla="*/ 904875 h 4496940"/>
                    <a:gd name="connsiteX99" fmla="*/ 478177 w 4519987"/>
                    <a:gd name="connsiteY99" fmla="*/ 857250 h 4496940"/>
                    <a:gd name="connsiteX100" fmla="*/ 497227 w 4519987"/>
                    <a:gd name="connsiteY100" fmla="*/ 828675 h 4496940"/>
                    <a:gd name="connsiteX101" fmla="*/ 535327 w 4519987"/>
                    <a:gd name="connsiteY101" fmla="*/ 800100 h 4496940"/>
                    <a:gd name="connsiteX102" fmla="*/ 602002 w 4519987"/>
                    <a:gd name="connsiteY102" fmla="*/ 733425 h 4496940"/>
                    <a:gd name="connsiteX103" fmla="*/ 668677 w 4519987"/>
                    <a:gd name="connsiteY103" fmla="*/ 676275 h 4496940"/>
                    <a:gd name="connsiteX104" fmla="*/ 697252 w 4519987"/>
                    <a:gd name="connsiteY104" fmla="*/ 657225 h 4496940"/>
                    <a:gd name="connsiteX105" fmla="*/ 840127 w 4519987"/>
                    <a:gd name="connsiteY105" fmla="*/ 533400 h 4496940"/>
                    <a:gd name="connsiteX106" fmla="*/ 887752 w 4519987"/>
                    <a:gd name="connsiteY106" fmla="*/ 504825 h 4496940"/>
                    <a:gd name="connsiteX107" fmla="*/ 1167152 w 4519987"/>
                    <a:gd name="connsiteY107" fmla="*/ 311150 h 4496940"/>
                    <a:gd name="connsiteX108" fmla="*/ 1268752 w 4519987"/>
                    <a:gd name="connsiteY108" fmla="*/ 285750 h 4496940"/>
                    <a:gd name="connsiteX109" fmla="*/ 1411627 w 4519987"/>
                    <a:gd name="connsiteY109" fmla="*/ 190500 h 4496940"/>
                    <a:gd name="connsiteX110" fmla="*/ 1449727 w 4519987"/>
                    <a:gd name="connsiteY110" fmla="*/ 161925 h 4496940"/>
                    <a:gd name="connsiteX111" fmla="*/ 1525927 w 4519987"/>
                    <a:gd name="connsiteY111" fmla="*/ 152400 h 4496940"/>
                    <a:gd name="connsiteX112" fmla="*/ 1583077 w 4519987"/>
                    <a:gd name="connsiteY112" fmla="*/ 142875 h 4496940"/>
                    <a:gd name="connsiteX113" fmla="*/ 1716427 w 4519987"/>
                    <a:gd name="connsiteY113" fmla="*/ 123825 h 4496940"/>
                    <a:gd name="connsiteX114" fmla="*/ 1811677 w 4519987"/>
                    <a:gd name="connsiteY114" fmla="*/ 114300 h 4496940"/>
                    <a:gd name="connsiteX115" fmla="*/ 1859302 w 4519987"/>
                    <a:gd name="connsiteY115" fmla="*/ 104775 h 4496940"/>
                    <a:gd name="connsiteX116" fmla="*/ 1916452 w 4519987"/>
                    <a:gd name="connsiteY116" fmla="*/ 95250 h 4496940"/>
                    <a:gd name="connsiteX117" fmla="*/ 2030752 w 4519987"/>
                    <a:gd name="connsiteY117" fmla="*/ 66675 h 4496940"/>
                    <a:gd name="connsiteX118" fmla="*/ 2097427 w 4519987"/>
                    <a:gd name="connsiteY118" fmla="*/ 47625 h 4496940"/>
                    <a:gd name="connsiteX119" fmla="*/ 2164102 w 4519987"/>
                    <a:gd name="connsiteY119" fmla="*/ 38100 h 4496940"/>
                    <a:gd name="connsiteX120" fmla="*/ 2392702 w 4519987"/>
                    <a:gd name="connsiteY120" fmla="*/ 28575 h 4496940"/>
                    <a:gd name="connsiteX0" fmla="*/ 2297452 w 4519987"/>
                    <a:gd name="connsiteY0" fmla="*/ 0 h 4487372"/>
                    <a:gd name="connsiteX1" fmla="*/ 2421277 w 4519987"/>
                    <a:gd name="connsiteY1" fmla="*/ 28575 h 4487372"/>
                    <a:gd name="connsiteX2" fmla="*/ 2497477 w 4519987"/>
                    <a:gd name="connsiteY2" fmla="*/ 47625 h 4487372"/>
                    <a:gd name="connsiteX3" fmla="*/ 2754652 w 4519987"/>
                    <a:gd name="connsiteY3" fmla="*/ 66675 h 4487372"/>
                    <a:gd name="connsiteX4" fmla="*/ 2830852 w 4519987"/>
                    <a:gd name="connsiteY4" fmla="*/ 76200 h 4487372"/>
                    <a:gd name="connsiteX5" fmla="*/ 2916577 w 4519987"/>
                    <a:gd name="connsiteY5" fmla="*/ 85725 h 4487372"/>
                    <a:gd name="connsiteX6" fmla="*/ 2973727 w 4519987"/>
                    <a:gd name="connsiteY6" fmla="*/ 114300 h 4487372"/>
                    <a:gd name="connsiteX7" fmla="*/ 3011827 w 4519987"/>
                    <a:gd name="connsiteY7" fmla="*/ 123825 h 4487372"/>
                    <a:gd name="connsiteX8" fmla="*/ 3135652 w 4519987"/>
                    <a:gd name="connsiteY8" fmla="*/ 171450 h 4487372"/>
                    <a:gd name="connsiteX9" fmla="*/ 3173752 w 4519987"/>
                    <a:gd name="connsiteY9" fmla="*/ 190500 h 4487372"/>
                    <a:gd name="connsiteX10" fmla="*/ 3240427 w 4519987"/>
                    <a:gd name="connsiteY10" fmla="*/ 228600 h 4487372"/>
                    <a:gd name="connsiteX11" fmla="*/ 3269002 w 4519987"/>
                    <a:gd name="connsiteY11" fmla="*/ 238125 h 4487372"/>
                    <a:gd name="connsiteX12" fmla="*/ 3297577 w 4519987"/>
                    <a:gd name="connsiteY12" fmla="*/ 257175 h 4487372"/>
                    <a:gd name="connsiteX13" fmla="*/ 3326152 w 4519987"/>
                    <a:gd name="connsiteY13" fmla="*/ 266700 h 4487372"/>
                    <a:gd name="connsiteX14" fmla="*/ 3354727 w 4519987"/>
                    <a:gd name="connsiteY14" fmla="*/ 285750 h 4487372"/>
                    <a:gd name="connsiteX15" fmla="*/ 3421402 w 4519987"/>
                    <a:gd name="connsiteY15" fmla="*/ 323850 h 4487372"/>
                    <a:gd name="connsiteX16" fmla="*/ 3469027 w 4519987"/>
                    <a:gd name="connsiteY16" fmla="*/ 361950 h 4487372"/>
                    <a:gd name="connsiteX17" fmla="*/ 3516652 w 4519987"/>
                    <a:gd name="connsiteY17" fmla="*/ 390525 h 4487372"/>
                    <a:gd name="connsiteX18" fmla="*/ 3630952 w 4519987"/>
                    <a:gd name="connsiteY18" fmla="*/ 485775 h 4487372"/>
                    <a:gd name="connsiteX19" fmla="*/ 3745252 w 4519987"/>
                    <a:gd name="connsiteY19" fmla="*/ 542925 h 4487372"/>
                    <a:gd name="connsiteX20" fmla="*/ 3811927 w 4519987"/>
                    <a:gd name="connsiteY20" fmla="*/ 581025 h 4487372"/>
                    <a:gd name="connsiteX21" fmla="*/ 4027827 w 4519987"/>
                    <a:gd name="connsiteY21" fmla="*/ 819150 h 4487372"/>
                    <a:gd name="connsiteX22" fmla="*/ 4164352 w 4519987"/>
                    <a:gd name="connsiteY22" fmla="*/ 990600 h 4487372"/>
                    <a:gd name="connsiteX23" fmla="*/ 4250077 w 4519987"/>
                    <a:gd name="connsiteY23" fmla="*/ 1143000 h 4487372"/>
                    <a:gd name="connsiteX24" fmla="*/ 4307227 w 4519987"/>
                    <a:gd name="connsiteY24" fmla="*/ 1266825 h 4487372"/>
                    <a:gd name="connsiteX25" fmla="*/ 4345327 w 4519987"/>
                    <a:gd name="connsiteY25" fmla="*/ 1362075 h 4487372"/>
                    <a:gd name="connsiteX26" fmla="*/ 4392952 w 4519987"/>
                    <a:gd name="connsiteY26" fmla="*/ 1552575 h 4487372"/>
                    <a:gd name="connsiteX27" fmla="*/ 4431052 w 4519987"/>
                    <a:gd name="connsiteY27" fmla="*/ 1685925 h 4487372"/>
                    <a:gd name="connsiteX28" fmla="*/ 4519952 w 4519987"/>
                    <a:gd name="connsiteY28" fmla="*/ 2181225 h 4487372"/>
                    <a:gd name="connsiteX29" fmla="*/ 4446927 w 4519987"/>
                    <a:gd name="connsiteY29" fmla="*/ 2768600 h 4487372"/>
                    <a:gd name="connsiteX30" fmla="*/ 4383427 w 4519987"/>
                    <a:gd name="connsiteY30" fmla="*/ 2990850 h 4487372"/>
                    <a:gd name="connsiteX31" fmla="*/ 4278652 w 4519987"/>
                    <a:gd name="connsiteY31" fmla="*/ 3248025 h 4487372"/>
                    <a:gd name="connsiteX32" fmla="*/ 4183402 w 4519987"/>
                    <a:gd name="connsiteY32" fmla="*/ 3400425 h 4487372"/>
                    <a:gd name="connsiteX33" fmla="*/ 4059577 w 4519987"/>
                    <a:gd name="connsiteY33" fmla="*/ 3533775 h 4487372"/>
                    <a:gd name="connsiteX34" fmla="*/ 3954802 w 4519987"/>
                    <a:gd name="connsiteY34" fmla="*/ 3648075 h 4487372"/>
                    <a:gd name="connsiteX35" fmla="*/ 3659527 w 4519987"/>
                    <a:gd name="connsiteY35" fmla="*/ 3971925 h 4487372"/>
                    <a:gd name="connsiteX36" fmla="*/ 3516652 w 4519987"/>
                    <a:gd name="connsiteY36" fmla="*/ 4083050 h 4487372"/>
                    <a:gd name="connsiteX37" fmla="*/ 3221377 w 4519987"/>
                    <a:gd name="connsiteY37" fmla="*/ 4222750 h 4487372"/>
                    <a:gd name="connsiteX38" fmla="*/ 3068977 w 4519987"/>
                    <a:gd name="connsiteY38" fmla="*/ 4286250 h 4487372"/>
                    <a:gd name="connsiteX39" fmla="*/ 2935627 w 4519987"/>
                    <a:gd name="connsiteY39" fmla="*/ 4333875 h 4487372"/>
                    <a:gd name="connsiteX40" fmla="*/ 2811802 w 4519987"/>
                    <a:gd name="connsiteY40" fmla="*/ 4371975 h 4487372"/>
                    <a:gd name="connsiteX41" fmla="*/ 2745127 w 4519987"/>
                    <a:gd name="connsiteY41" fmla="*/ 4410075 h 4487372"/>
                    <a:gd name="connsiteX42" fmla="*/ 2640352 w 4519987"/>
                    <a:gd name="connsiteY42" fmla="*/ 4457700 h 4487372"/>
                    <a:gd name="connsiteX43" fmla="*/ 2545102 w 4519987"/>
                    <a:gd name="connsiteY43" fmla="*/ 4486275 h 4487372"/>
                    <a:gd name="connsiteX44" fmla="*/ 2306977 w 4519987"/>
                    <a:gd name="connsiteY44" fmla="*/ 4476750 h 4487372"/>
                    <a:gd name="connsiteX45" fmla="*/ 2202202 w 4519987"/>
                    <a:gd name="connsiteY45" fmla="*/ 4457700 h 4487372"/>
                    <a:gd name="connsiteX46" fmla="*/ 2126002 w 4519987"/>
                    <a:gd name="connsiteY46" fmla="*/ 4429125 h 4487372"/>
                    <a:gd name="connsiteX47" fmla="*/ 1935502 w 4519987"/>
                    <a:gd name="connsiteY47" fmla="*/ 4400550 h 4487372"/>
                    <a:gd name="connsiteX48" fmla="*/ 1821202 w 4519987"/>
                    <a:gd name="connsiteY48" fmla="*/ 4371975 h 4487372"/>
                    <a:gd name="connsiteX49" fmla="*/ 1754527 w 4519987"/>
                    <a:gd name="connsiteY49" fmla="*/ 4352925 h 4487372"/>
                    <a:gd name="connsiteX50" fmla="*/ 1687852 w 4519987"/>
                    <a:gd name="connsiteY50" fmla="*/ 4343400 h 4487372"/>
                    <a:gd name="connsiteX51" fmla="*/ 1573552 w 4519987"/>
                    <a:gd name="connsiteY51" fmla="*/ 4305300 h 4487372"/>
                    <a:gd name="connsiteX52" fmla="*/ 1402102 w 4519987"/>
                    <a:gd name="connsiteY52" fmla="*/ 4276725 h 4487372"/>
                    <a:gd name="connsiteX53" fmla="*/ 1287802 w 4519987"/>
                    <a:gd name="connsiteY53" fmla="*/ 4229100 h 4487372"/>
                    <a:gd name="connsiteX54" fmla="*/ 1221127 w 4519987"/>
                    <a:gd name="connsiteY54" fmla="*/ 4200525 h 4487372"/>
                    <a:gd name="connsiteX55" fmla="*/ 1144927 w 4519987"/>
                    <a:gd name="connsiteY55" fmla="*/ 4171950 h 4487372"/>
                    <a:gd name="connsiteX56" fmla="*/ 1087777 w 4519987"/>
                    <a:gd name="connsiteY56" fmla="*/ 4143375 h 4487372"/>
                    <a:gd name="connsiteX57" fmla="*/ 1030627 w 4519987"/>
                    <a:gd name="connsiteY57" fmla="*/ 4124325 h 4487372"/>
                    <a:gd name="connsiteX58" fmla="*/ 925852 w 4519987"/>
                    <a:gd name="connsiteY58" fmla="*/ 4067175 h 4487372"/>
                    <a:gd name="connsiteX59" fmla="*/ 830602 w 4519987"/>
                    <a:gd name="connsiteY59" fmla="*/ 3981450 h 4487372"/>
                    <a:gd name="connsiteX60" fmla="*/ 763927 w 4519987"/>
                    <a:gd name="connsiteY60" fmla="*/ 3914775 h 4487372"/>
                    <a:gd name="connsiteX61" fmla="*/ 725827 w 4519987"/>
                    <a:gd name="connsiteY61" fmla="*/ 3876675 h 4487372"/>
                    <a:gd name="connsiteX62" fmla="*/ 697252 w 4519987"/>
                    <a:gd name="connsiteY62" fmla="*/ 3838575 h 4487372"/>
                    <a:gd name="connsiteX63" fmla="*/ 640102 w 4519987"/>
                    <a:gd name="connsiteY63" fmla="*/ 3781425 h 4487372"/>
                    <a:gd name="connsiteX64" fmla="*/ 611527 w 4519987"/>
                    <a:gd name="connsiteY64" fmla="*/ 3733800 h 4487372"/>
                    <a:gd name="connsiteX65" fmla="*/ 554377 w 4519987"/>
                    <a:gd name="connsiteY65" fmla="*/ 3657600 h 4487372"/>
                    <a:gd name="connsiteX66" fmla="*/ 525802 w 4519987"/>
                    <a:gd name="connsiteY66" fmla="*/ 3609975 h 4487372"/>
                    <a:gd name="connsiteX67" fmla="*/ 497227 w 4519987"/>
                    <a:gd name="connsiteY67" fmla="*/ 3552825 h 4487372"/>
                    <a:gd name="connsiteX68" fmla="*/ 440077 w 4519987"/>
                    <a:gd name="connsiteY68" fmla="*/ 3495675 h 4487372"/>
                    <a:gd name="connsiteX69" fmla="*/ 411502 w 4519987"/>
                    <a:gd name="connsiteY69" fmla="*/ 3448050 h 4487372"/>
                    <a:gd name="connsiteX70" fmla="*/ 278152 w 4519987"/>
                    <a:gd name="connsiteY70" fmla="*/ 3257550 h 4487372"/>
                    <a:gd name="connsiteX71" fmla="*/ 249577 w 4519987"/>
                    <a:gd name="connsiteY71" fmla="*/ 3200400 h 4487372"/>
                    <a:gd name="connsiteX72" fmla="*/ 240052 w 4519987"/>
                    <a:gd name="connsiteY72" fmla="*/ 3162300 h 4487372"/>
                    <a:gd name="connsiteX73" fmla="*/ 221002 w 4519987"/>
                    <a:gd name="connsiteY73" fmla="*/ 3105150 h 4487372"/>
                    <a:gd name="connsiteX74" fmla="*/ 173377 w 4519987"/>
                    <a:gd name="connsiteY74" fmla="*/ 3019425 h 4487372"/>
                    <a:gd name="connsiteX75" fmla="*/ 144802 w 4519987"/>
                    <a:gd name="connsiteY75" fmla="*/ 2924175 h 4487372"/>
                    <a:gd name="connsiteX76" fmla="*/ 68602 w 4519987"/>
                    <a:gd name="connsiteY76" fmla="*/ 2724150 h 4487372"/>
                    <a:gd name="connsiteX77" fmla="*/ 49552 w 4519987"/>
                    <a:gd name="connsiteY77" fmla="*/ 2638425 h 4487372"/>
                    <a:gd name="connsiteX78" fmla="*/ 40027 w 4519987"/>
                    <a:gd name="connsiteY78" fmla="*/ 2562225 h 4487372"/>
                    <a:gd name="connsiteX79" fmla="*/ 30502 w 4519987"/>
                    <a:gd name="connsiteY79" fmla="*/ 2514600 h 4487372"/>
                    <a:gd name="connsiteX80" fmla="*/ 11452 w 4519987"/>
                    <a:gd name="connsiteY80" fmla="*/ 2400300 h 4487372"/>
                    <a:gd name="connsiteX81" fmla="*/ 20977 w 4519987"/>
                    <a:gd name="connsiteY81" fmla="*/ 1905000 h 4487372"/>
                    <a:gd name="connsiteX82" fmla="*/ 30502 w 4519987"/>
                    <a:gd name="connsiteY82" fmla="*/ 1838325 h 4487372"/>
                    <a:gd name="connsiteX83" fmla="*/ 49552 w 4519987"/>
                    <a:gd name="connsiteY83" fmla="*/ 1781175 h 4487372"/>
                    <a:gd name="connsiteX84" fmla="*/ 59077 w 4519987"/>
                    <a:gd name="connsiteY84" fmla="*/ 1743075 h 4487372"/>
                    <a:gd name="connsiteX85" fmla="*/ 78127 w 4519987"/>
                    <a:gd name="connsiteY85" fmla="*/ 1685925 h 4487372"/>
                    <a:gd name="connsiteX86" fmla="*/ 87652 w 4519987"/>
                    <a:gd name="connsiteY86" fmla="*/ 1638300 h 4487372"/>
                    <a:gd name="connsiteX87" fmla="*/ 106702 w 4519987"/>
                    <a:gd name="connsiteY87" fmla="*/ 1590675 h 4487372"/>
                    <a:gd name="connsiteX88" fmla="*/ 135277 w 4519987"/>
                    <a:gd name="connsiteY88" fmla="*/ 1504950 h 4487372"/>
                    <a:gd name="connsiteX89" fmla="*/ 154327 w 4519987"/>
                    <a:gd name="connsiteY89" fmla="*/ 1419225 h 4487372"/>
                    <a:gd name="connsiteX90" fmla="*/ 230527 w 4519987"/>
                    <a:gd name="connsiteY90" fmla="*/ 1276350 h 4487372"/>
                    <a:gd name="connsiteX91" fmla="*/ 240052 w 4519987"/>
                    <a:gd name="connsiteY91" fmla="*/ 1247775 h 4487372"/>
                    <a:gd name="connsiteX92" fmla="*/ 268627 w 4519987"/>
                    <a:gd name="connsiteY92" fmla="*/ 1200150 h 4487372"/>
                    <a:gd name="connsiteX93" fmla="*/ 287677 w 4519987"/>
                    <a:gd name="connsiteY93" fmla="*/ 1152525 h 4487372"/>
                    <a:gd name="connsiteX94" fmla="*/ 316252 w 4519987"/>
                    <a:gd name="connsiteY94" fmla="*/ 1114425 h 4487372"/>
                    <a:gd name="connsiteX95" fmla="*/ 363877 w 4519987"/>
                    <a:gd name="connsiteY95" fmla="*/ 1038225 h 4487372"/>
                    <a:gd name="connsiteX96" fmla="*/ 382927 w 4519987"/>
                    <a:gd name="connsiteY96" fmla="*/ 1009650 h 4487372"/>
                    <a:gd name="connsiteX97" fmla="*/ 440077 w 4519987"/>
                    <a:gd name="connsiteY97" fmla="*/ 904875 h 4487372"/>
                    <a:gd name="connsiteX98" fmla="*/ 478177 w 4519987"/>
                    <a:gd name="connsiteY98" fmla="*/ 857250 h 4487372"/>
                    <a:gd name="connsiteX99" fmla="*/ 497227 w 4519987"/>
                    <a:gd name="connsiteY99" fmla="*/ 828675 h 4487372"/>
                    <a:gd name="connsiteX100" fmla="*/ 535327 w 4519987"/>
                    <a:gd name="connsiteY100" fmla="*/ 800100 h 4487372"/>
                    <a:gd name="connsiteX101" fmla="*/ 602002 w 4519987"/>
                    <a:gd name="connsiteY101" fmla="*/ 733425 h 4487372"/>
                    <a:gd name="connsiteX102" fmla="*/ 668677 w 4519987"/>
                    <a:gd name="connsiteY102" fmla="*/ 676275 h 4487372"/>
                    <a:gd name="connsiteX103" fmla="*/ 697252 w 4519987"/>
                    <a:gd name="connsiteY103" fmla="*/ 657225 h 4487372"/>
                    <a:gd name="connsiteX104" fmla="*/ 840127 w 4519987"/>
                    <a:gd name="connsiteY104" fmla="*/ 533400 h 4487372"/>
                    <a:gd name="connsiteX105" fmla="*/ 887752 w 4519987"/>
                    <a:gd name="connsiteY105" fmla="*/ 504825 h 4487372"/>
                    <a:gd name="connsiteX106" fmla="*/ 1167152 w 4519987"/>
                    <a:gd name="connsiteY106" fmla="*/ 311150 h 4487372"/>
                    <a:gd name="connsiteX107" fmla="*/ 1268752 w 4519987"/>
                    <a:gd name="connsiteY107" fmla="*/ 285750 h 4487372"/>
                    <a:gd name="connsiteX108" fmla="*/ 1411627 w 4519987"/>
                    <a:gd name="connsiteY108" fmla="*/ 190500 h 4487372"/>
                    <a:gd name="connsiteX109" fmla="*/ 1449727 w 4519987"/>
                    <a:gd name="connsiteY109" fmla="*/ 161925 h 4487372"/>
                    <a:gd name="connsiteX110" fmla="*/ 1525927 w 4519987"/>
                    <a:gd name="connsiteY110" fmla="*/ 152400 h 4487372"/>
                    <a:gd name="connsiteX111" fmla="*/ 1583077 w 4519987"/>
                    <a:gd name="connsiteY111" fmla="*/ 142875 h 4487372"/>
                    <a:gd name="connsiteX112" fmla="*/ 1716427 w 4519987"/>
                    <a:gd name="connsiteY112" fmla="*/ 123825 h 4487372"/>
                    <a:gd name="connsiteX113" fmla="*/ 1811677 w 4519987"/>
                    <a:gd name="connsiteY113" fmla="*/ 114300 h 4487372"/>
                    <a:gd name="connsiteX114" fmla="*/ 1859302 w 4519987"/>
                    <a:gd name="connsiteY114" fmla="*/ 104775 h 4487372"/>
                    <a:gd name="connsiteX115" fmla="*/ 1916452 w 4519987"/>
                    <a:gd name="connsiteY115" fmla="*/ 95250 h 4487372"/>
                    <a:gd name="connsiteX116" fmla="*/ 2030752 w 4519987"/>
                    <a:gd name="connsiteY116" fmla="*/ 66675 h 4487372"/>
                    <a:gd name="connsiteX117" fmla="*/ 2097427 w 4519987"/>
                    <a:gd name="connsiteY117" fmla="*/ 47625 h 4487372"/>
                    <a:gd name="connsiteX118" fmla="*/ 2164102 w 4519987"/>
                    <a:gd name="connsiteY118" fmla="*/ 38100 h 4487372"/>
                    <a:gd name="connsiteX119" fmla="*/ 2392702 w 4519987"/>
                    <a:gd name="connsiteY119" fmla="*/ 28575 h 4487372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745127 w 4519987"/>
                    <a:gd name="connsiteY41" fmla="*/ 4410075 h 4476750"/>
                    <a:gd name="connsiteX42" fmla="*/ 2640352 w 4519987"/>
                    <a:gd name="connsiteY42" fmla="*/ 4457700 h 4476750"/>
                    <a:gd name="connsiteX43" fmla="*/ 2306977 w 4519987"/>
                    <a:gd name="connsiteY43" fmla="*/ 4476750 h 4476750"/>
                    <a:gd name="connsiteX44" fmla="*/ 2202202 w 4519987"/>
                    <a:gd name="connsiteY44" fmla="*/ 4457700 h 4476750"/>
                    <a:gd name="connsiteX45" fmla="*/ 2126002 w 4519987"/>
                    <a:gd name="connsiteY45" fmla="*/ 4429125 h 4476750"/>
                    <a:gd name="connsiteX46" fmla="*/ 1935502 w 4519987"/>
                    <a:gd name="connsiteY46" fmla="*/ 4400550 h 4476750"/>
                    <a:gd name="connsiteX47" fmla="*/ 1821202 w 4519987"/>
                    <a:gd name="connsiteY47" fmla="*/ 4371975 h 4476750"/>
                    <a:gd name="connsiteX48" fmla="*/ 1754527 w 4519987"/>
                    <a:gd name="connsiteY48" fmla="*/ 4352925 h 4476750"/>
                    <a:gd name="connsiteX49" fmla="*/ 1687852 w 4519987"/>
                    <a:gd name="connsiteY49" fmla="*/ 4343400 h 4476750"/>
                    <a:gd name="connsiteX50" fmla="*/ 1573552 w 4519987"/>
                    <a:gd name="connsiteY50" fmla="*/ 4305300 h 4476750"/>
                    <a:gd name="connsiteX51" fmla="*/ 1402102 w 4519987"/>
                    <a:gd name="connsiteY51" fmla="*/ 4276725 h 4476750"/>
                    <a:gd name="connsiteX52" fmla="*/ 1287802 w 4519987"/>
                    <a:gd name="connsiteY52" fmla="*/ 4229100 h 4476750"/>
                    <a:gd name="connsiteX53" fmla="*/ 1221127 w 4519987"/>
                    <a:gd name="connsiteY53" fmla="*/ 4200525 h 4476750"/>
                    <a:gd name="connsiteX54" fmla="*/ 1144927 w 4519987"/>
                    <a:gd name="connsiteY54" fmla="*/ 4171950 h 4476750"/>
                    <a:gd name="connsiteX55" fmla="*/ 1087777 w 4519987"/>
                    <a:gd name="connsiteY55" fmla="*/ 4143375 h 4476750"/>
                    <a:gd name="connsiteX56" fmla="*/ 1030627 w 4519987"/>
                    <a:gd name="connsiteY56" fmla="*/ 4124325 h 4476750"/>
                    <a:gd name="connsiteX57" fmla="*/ 925852 w 4519987"/>
                    <a:gd name="connsiteY57" fmla="*/ 4067175 h 4476750"/>
                    <a:gd name="connsiteX58" fmla="*/ 830602 w 4519987"/>
                    <a:gd name="connsiteY58" fmla="*/ 3981450 h 4476750"/>
                    <a:gd name="connsiteX59" fmla="*/ 763927 w 4519987"/>
                    <a:gd name="connsiteY59" fmla="*/ 3914775 h 4476750"/>
                    <a:gd name="connsiteX60" fmla="*/ 725827 w 4519987"/>
                    <a:gd name="connsiteY60" fmla="*/ 3876675 h 4476750"/>
                    <a:gd name="connsiteX61" fmla="*/ 697252 w 4519987"/>
                    <a:gd name="connsiteY61" fmla="*/ 3838575 h 4476750"/>
                    <a:gd name="connsiteX62" fmla="*/ 640102 w 4519987"/>
                    <a:gd name="connsiteY62" fmla="*/ 3781425 h 4476750"/>
                    <a:gd name="connsiteX63" fmla="*/ 611527 w 4519987"/>
                    <a:gd name="connsiteY63" fmla="*/ 3733800 h 4476750"/>
                    <a:gd name="connsiteX64" fmla="*/ 554377 w 4519987"/>
                    <a:gd name="connsiteY64" fmla="*/ 3657600 h 4476750"/>
                    <a:gd name="connsiteX65" fmla="*/ 525802 w 4519987"/>
                    <a:gd name="connsiteY65" fmla="*/ 3609975 h 4476750"/>
                    <a:gd name="connsiteX66" fmla="*/ 497227 w 4519987"/>
                    <a:gd name="connsiteY66" fmla="*/ 3552825 h 4476750"/>
                    <a:gd name="connsiteX67" fmla="*/ 440077 w 4519987"/>
                    <a:gd name="connsiteY67" fmla="*/ 3495675 h 4476750"/>
                    <a:gd name="connsiteX68" fmla="*/ 411502 w 4519987"/>
                    <a:gd name="connsiteY68" fmla="*/ 3448050 h 4476750"/>
                    <a:gd name="connsiteX69" fmla="*/ 278152 w 4519987"/>
                    <a:gd name="connsiteY69" fmla="*/ 3257550 h 4476750"/>
                    <a:gd name="connsiteX70" fmla="*/ 249577 w 4519987"/>
                    <a:gd name="connsiteY70" fmla="*/ 3200400 h 4476750"/>
                    <a:gd name="connsiteX71" fmla="*/ 240052 w 4519987"/>
                    <a:gd name="connsiteY71" fmla="*/ 3162300 h 4476750"/>
                    <a:gd name="connsiteX72" fmla="*/ 221002 w 4519987"/>
                    <a:gd name="connsiteY72" fmla="*/ 3105150 h 4476750"/>
                    <a:gd name="connsiteX73" fmla="*/ 173377 w 4519987"/>
                    <a:gd name="connsiteY73" fmla="*/ 3019425 h 4476750"/>
                    <a:gd name="connsiteX74" fmla="*/ 144802 w 4519987"/>
                    <a:gd name="connsiteY74" fmla="*/ 2924175 h 4476750"/>
                    <a:gd name="connsiteX75" fmla="*/ 68602 w 4519987"/>
                    <a:gd name="connsiteY75" fmla="*/ 2724150 h 4476750"/>
                    <a:gd name="connsiteX76" fmla="*/ 49552 w 4519987"/>
                    <a:gd name="connsiteY76" fmla="*/ 2638425 h 4476750"/>
                    <a:gd name="connsiteX77" fmla="*/ 40027 w 4519987"/>
                    <a:gd name="connsiteY77" fmla="*/ 2562225 h 4476750"/>
                    <a:gd name="connsiteX78" fmla="*/ 30502 w 4519987"/>
                    <a:gd name="connsiteY78" fmla="*/ 2514600 h 4476750"/>
                    <a:gd name="connsiteX79" fmla="*/ 11452 w 4519987"/>
                    <a:gd name="connsiteY79" fmla="*/ 2400300 h 4476750"/>
                    <a:gd name="connsiteX80" fmla="*/ 20977 w 4519987"/>
                    <a:gd name="connsiteY80" fmla="*/ 1905000 h 4476750"/>
                    <a:gd name="connsiteX81" fmla="*/ 30502 w 4519987"/>
                    <a:gd name="connsiteY81" fmla="*/ 1838325 h 4476750"/>
                    <a:gd name="connsiteX82" fmla="*/ 49552 w 4519987"/>
                    <a:gd name="connsiteY82" fmla="*/ 1781175 h 4476750"/>
                    <a:gd name="connsiteX83" fmla="*/ 59077 w 4519987"/>
                    <a:gd name="connsiteY83" fmla="*/ 1743075 h 4476750"/>
                    <a:gd name="connsiteX84" fmla="*/ 78127 w 4519987"/>
                    <a:gd name="connsiteY84" fmla="*/ 1685925 h 4476750"/>
                    <a:gd name="connsiteX85" fmla="*/ 87652 w 4519987"/>
                    <a:gd name="connsiteY85" fmla="*/ 1638300 h 4476750"/>
                    <a:gd name="connsiteX86" fmla="*/ 106702 w 4519987"/>
                    <a:gd name="connsiteY86" fmla="*/ 1590675 h 4476750"/>
                    <a:gd name="connsiteX87" fmla="*/ 135277 w 4519987"/>
                    <a:gd name="connsiteY87" fmla="*/ 1504950 h 4476750"/>
                    <a:gd name="connsiteX88" fmla="*/ 154327 w 4519987"/>
                    <a:gd name="connsiteY88" fmla="*/ 1419225 h 4476750"/>
                    <a:gd name="connsiteX89" fmla="*/ 230527 w 4519987"/>
                    <a:gd name="connsiteY89" fmla="*/ 1276350 h 4476750"/>
                    <a:gd name="connsiteX90" fmla="*/ 240052 w 4519987"/>
                    <a:gd name="connsiteY90" fmla="*/ 1247775 h 4476750"/>
                    <a:gd name="connsiteX91" fmla="*/ 268627 w 4519987"/>
                    <a:gd name="connsiteY91" fmla="*/ 1200150 h 4476750"/>
                    <a:gd name="connsiteX92" fmla="*/ 287677 w 4519987"/>
                    <a:gd name="connsiteY92" fmla="*/ 1152525 h 4476750"/>
                    <a:gd name="connsiteX93" fmla="*/ 316252 w 4519987"/>
                    <a:gd name="connsiteY93" fmla="*/ 1114425 h 4476750"/>
                    <a:gd name="connsiteX94" fmla="*/ 363877 w 4519987"/>
                    <a:gd name="connsiteY94" fmla="*/ 1038225 h 4476750"/>
                    <a:gd name="connsiteX95" fmla="*/ 382927 w 4519987"/>
                    <a:gd name="connsiteY95" fmla="*/ 1009650 h 4476750"/>
                    <a:gd name="connsiteX96" fmla="*/ 440077 w 4519987"/>
                    <a:gd name="connsiteY96" fmla="*/ 904875 h 4476750"/>
                    <a:gd name="connsiteX97" fmla="*/ 478177 w 4519987"/>
                    <a:gd name="connsiteY97" fmla="*/ 857250 h 4476750"/>
                    <a:gd name="connsiteX98" fmla="*/ 497227 w 4519987"/>
                    <a:gd name="connsiteY98" fmla="*/ 828675 h 4476750"/>
                    <a:gd name="connsiteX99" fmla="*/ 535327 w 4519987"/>
                    <a:gd name="connsiteY99" fmla="*/ 800100 h 4476750"/>
                    <a:gd name="connsiteX100" fmla="*/ 602002 w 4519987"/>
                    <a:gd name="connsiteY100" fmla="*/ 733425 h 4476750"/>
                    <a:gd name="connsiteX101" fmla="*/ 668677 w 4519987"/>
                    <a:gd name="connsiteY101" fmla="*/ 676275 h 4476750"/>
                    <a:gd name="connsiteX102" fmla="*/ 697252 w 4519987"/>
                    <a:gd name="connsiteY102" fmla="*/ 657225 h 4476750"/>
                    <a:gd name="connsiteX103" fmla="*/ 840127 w 4519987"/>
                    <a:gd name="connsiteY103" fmla="*/ 533400 h 4476750"/>
                    <a:gd name="connsiteX104" fmla="*/ 887752 w 4519987"/>
                    <a:gd name="connsiteY104" fmla="*/ 504825 h 4476750"/>
                    <a:gd name="connsiteX105" fmla="*/ 1167152 w 4519987"/>
                    <a:gd name="connsiteY105" fmla="*/ 311150 h 4476750"/>
                    <a:gd name="connsiteX106" fmla="*/ 1268752 w 4519987"/>
                    <a:gd name="connsiteY106" fmla="*/ 285750 h 4476750"/>
                    <a:gd name="connsiteX107" fmla="*/ 1411627 w 4519987"/>
                    <a:gd name="connsiteY107" fmla="*/ 190500 h 4476750"/>
                    <a:gd name="connsiteX108" fmla="*/ 1449727 w 4519987"/>
                    <a:gd name="connsiteY108" fmla="*/ 161925 h 4476750"/>
                    <a:gd name="connsiteX109" fmla="*/ 1525927 w 4519987"/>
                    <a:gd name="connsiteY109" fmla="*/ 152400 h 4476750"/>
                    <a:gd name="connsiteX110" fmla="*/ 1583077 w 4519987"/>
                    <a:gd name="connsiteY110" fmla="*/ 142875 h 4476750"/>
                    <a:gd name="connsiteX111" fmla="*/ 1716427 w 4519987"/>
                    <a:gd name="connsiteY111" fmla="*/ 123825 h 4476750"/>
                    <a:gd name="connsiteX112" fmla="*/ 1811677 w 4519987"/>
                    <a:gd name="connsiteY112" fmla="*/ 114300 h 4476750"/>
                    <a:gd name="connsiteX113" fmla="*/ 1859302 w 4519987"/>
                    <a:gd name="connsiteY113" fmla="*/ 104775 h 4476750"/>
                    <a:gd name="connsiteX114" fmla="*/ 1916452 w 4519987"/>
                    <a:gd name="connsiteY114" fmla="*/ 95250 h 4476750"/>
                    <a:gd name="connsiteX115" fmla="*/ 2030752 w 4519987"/>
                    <a:gd name="connsiteY115" fmla="*/ 66675 h 4476750"/>
                    <a:gd name="connsiteX116" fmla="*/ 2097427 w 4519987"/>
                    <a:gd name="connsiteY116" fmla="*/ 47625 h 4476750"/>
                    <a:gd name="connsiteX117" fmla="*/ 2164102 w 4519987"/>
                    <a:gd name="connsiteY117" fmla="*/ 38100 h 4476750"/>
                    <a:gd name="connsiteX118" fmla="*/ 2392702 w 4519987"/>
                    <a:gd name="connsiteY118" fmla="*/ 28575 h 4476750"/>
                    <a:gd name="connsiteX0" fmla="*/ 2297452 w 4519987"/>
                    <a:gd name="connsiteY0" fmla="*/ 0 h 4478541"/>
                    <a:gd name="connsiteX1" fmla="*/ 2421277 w 4519987"/>
                    <a:gd name="connsiteY1" fmla="*/ 28575 h 4478541"/>
                    <a:gd name="connsiteX2" fmla="*/ 2497477 w 4519987"/>
                    <a:gd name="connsiteY2" fmla="*/ 47625 h 4478541"/>
                    <a:gd name="connsiteX3" fmla="*/ 2754652 w 4519987"/>
                    <a:gd name="connsiteY3" fmla="*/ 66675 h 4478541"/>
                    <a:gd name="connsiteX4" fmla="*/ 2830852 w 4519987"/>
                    <a:gd name="connsiteY4" fmla="*/ 76200 h 4478541"/>
                    <a:gd name="connsiteX5" fmla="*/ 2916577 w 4519987"/>
                    <a:gd name="connsiteY5" fmla="*/ 85725 h 4478541"/>
                    <a:gd name="connsiteX6" fmla="*/ 2973727 w 4519987"/>
                    <a:gd name="connsiteY6" fmla="*/ 114300 h 4478541"/>
                    <a:gd name="connsiteX7" fmla="*/ 3011827 w 4519987"/>
                    <a:gd name="connsiteY7" fmla="*/ 123825 h 4478541"/>
                    <a:gd name="connsiteX8" fmla="*/ 3135652 w 4519987"/>
                    <a:gd name="connsiteY8" fmla="*/ 171450 h 4478541"/>
                    <a:gd name="connsiteX9" fmla="*/ 3173752 w 4519987"/>
                    <a:gd name="connsiteY9" fmla="*/ 190500 h 4478541"/>
                    <a:gd name="connsiteX10" fmla="*/ 3240427 w 4519987"/>
                    <a:gd name="connsiteY10" fmla="*/ 228600 h 4478541"/>
                    <a:gd name="connsiteX11" fmla="*/ 3269002 w 4519987"/>
                    <a:gd name="connsiteY11" fmla="*/ 238125 h 4478541"/>
                    <a:gd name="connsiteX12" fmla="*/ 3297577 w 4519987"/>
                    <a:gd name="connsiteY12" fmla="*/ 257175 h 4478541"/>
                    <a:gd name="connsiteX13" fmla="*/ 3326152 w 4519987"/>
                    <a:gd name="connsiteY13" fmla="*/ 266700 h 4478541"/>
                    <a:gd name="connsiteX14" fmla="*/ 3354727 w 4519987"/>
                    <a:gd name="connsiteY14" fmla="*/ 285750 h 4478541"/>
                    <a:gd name="connsiteX15" fmla="*/ 3421402 w 4519987"/>
                    <a:gd name="connsiteY15" fmla="*/ 323850 h 4478541"/>
                    <a:gd name="connsiteX16" fmla="*/ 3469027 w 4519987"/>
                    <a:gd name="connsiteY16" fmla="*/ 361950 h 4478541"/>
                    <a:gd name="connsiteX17" fmla="*/ 3516652 w 4519987"/>
                    <a:gd name="connsiteY17" fmla="*/ 390525 h 4478541"/>
                    <a:gd name="connsiteX18" fmla="*/ 3630952 w 4519987"/>
                    <a:gd name="connsiteY18" fmla="*/ 485775 h 4478541"/>
                    <a:gd name="connsiteX19" fmla="*/ 3745252 w 4519987"/>
                    <a:gd name="connsiteY19" fmla="*/ 542925 h 4478541"/>
                    <a:gd name="connsiteX20" fmla="*/ 3811927 w 4519987"/>
                    <a:gd name="connsiteY20" fmla="*/ 581025 h 4478541"/>
                    <a:gd name="connsiteX21" fmla="*/ 4027827 w 4519987"/>
                    <a:gd name="connsiteY21" fmla="*/ 819150 h 4478541"/>
                    <a:gd name="connsiteX22" fmla="*/ 4164352 w 4519987"/>
                    <a:gd name="connsiteY22" fmla="*/ 990600 h 4478541"/>
                    <a:gd name="connsiteX23" fmla="*/ 4250077 w 4519987"/>
                    <a:gd name="connsiteY23" fmla="*/ 1143000 h 4478541"/>
                    <a:gd name="connsiteX24" fmla="*/ 4307227 w 4519987"/>
                    <a:gd name="connsiteY24" fmla="*/ 1266825 h 4478541"/>
                    <a:gd name="connsiteX25" fmla="*/ 4345327 w 4519987"/>
                    <a:gd name="connsiteY25" fmla="*/ 1362075 h 4478541"/>
                    <a:gd name="connsiteX26" fmla="*/ 4392952 w 4519987"/>
                    <a:gd name="connsiteY26" fmla="*/ 1552575 h 4478541"/>
                    <a:gd name="connsiteX27" fmla="*/ 4431052 w 4519987"/>
                    <a:gd name="connsiteY27" fmla="*/ 1685925 h 4478541"/>
                    <a:gd name="connsiteX28" fmla="*/ 4519952 w 4519987"/>
                    <a:gd name="connsiteY28" fmla="*/ 2181225 h 4478541"/>
                    <a:gd name="connsiteX29" fmla="*/ 4446927 w 4519987"/>
                    <a:gd name="connsiteY29" fmla="*/ 2768600 h 4478541"/>
                    <a:gd name="connsiteX30" fmla="*/ 4383427 w 4519987"/>
                    <a:gd name="connsiteY30" fmla="*/ 2990850 h 4478541"/>
                    <a:gd name="connsiteX31" fmla="*/ 4278652 w 4519987"/>
                    <a:gd name="connsiteY31" fmla="*/ 3248025 h 4478541"/>
                    <a:gd name="connsiteX32" fmla="*/ 4183402 w 4519987"/>
                    <a:gd name="connsiteY32" fmla="*/ 3400425 h 4478541"/>
                    <a:gd name="connsiteX33" fmla="*/ 4059577 w 4519987"/>
                    <a:gd name="connsiteY33" fmla="*/ 3533775 h 4478541"/>
                    <a:gd name="connsiteX34" fmla="*/ 3954802 w 4519987"/>
                    <a:gd name="connsiteY34" fmla="*/ 3648075 h 4478541"/>
                    <a:gd name="connsiteX35" fmla="*/ 3659527 w 4519987"/>
                    <a:gd name="connsiteY35" fmla="*/ 3971925 h 4478541"/>
                    <a:gd name="connsiteX36" fmla="*/ 3516652 w 4519987"/>
                    <a:gd name="connsiteY36" fmla="*/ 4083050 h 4478541"/>
                    <a:gd name="connsiteX37" fmla="*/ 3221377 w 4519987"/>
                    <a:gd name="connsiteY37" fmla="*/ 4222750 h 4478541"/>
                    <a:gd name="connsiteX38" fmla="*/ 3068977 w 4519987"/>
                    <a:gd name="connsiteY38" fmla="*/ 4286250 h 4478541"/>
                    <a:gd name="connsiteX39" fmla="*/ 2935627 w 4519987"/>
                    <a:gd name="connsiteY39" fmla="*/ 4333875 h 4478541"/>
                    <a:gd name="connsiteX40" fmla="*/ 2811802 w 4519987"/>
                    <a:gd name="connsiteY40" fmla="*/ 4371975 h 4478541"/>
                    <a:gd name="connsiteX41" fmla="*/ 2745127 w 4519987"/>
                    <a:gd name="connsiteY41" fmla="*/ 4410075 h 4478541"/>
                    <a:gd name="connsiteX42" fmla="*/ 2306977 w 4519987"/>
                    <a:gd name="connsiteY42" fmla="*/ 4476750 h 4478541"/>
                    <a:gd name="connsiteX43" fmla="*/ 2202202 w 4519987"/>
                    <a:gd name="connsiteY43" fmla="*/ 4457700 h 4478541"/>
                    <a:gd name="connsiteX44" fmla="*/ 2126002 w 4519987"/>
                    <a:gd name="connsiteY44" fmla="*/ 4429125 h 4478541"/>
                    <a:gd name="connsiteX45" fmla="*/ 1935502 w 4519987"/>
                    <a:gd name="connsiteY45" fmla="*/ 4400550 h 4478541"/>
                    <a:gd name="connsiteX46" fmla="*/ 1821202 w 4519987"/>
                    <a:gd name="connsiteY46" fmla="*/ 4371975 h 4478541"/>
                    <a:gd name="connsiteX47" fmla="*/ 1754527 w 4519987"/>
                    <a:gd name="connsiteY47" fmla="*/ 4352925 h 4478541"/>
                    <a:gd name="connsiteX48" fmla="*/ 1687852 w 4519987"/>
                    <a:gd name="connsiteY48" fmla="*/ 4343400 h 4478541"/>
                    <a:gd name="connsiteX49" fmla="*/ 1573552 w 4519987"/>
                    <a:gd name="connsiteY49" fmla="*/ 4305300 h 4478541"/>
                    <a:gd name="connsiteX50" fmla="*/ 1402102 w 4519987"/>
                    <a:gd name="connsiteY50" fmla="*/ 4276725 h 4478541"/>
                    <a:gd name="connsiteX51" fmla="*/ 1287802 w 4519987"/>
                    <a:gd name="connsiteY51" fmla="*/ 4229100 h 4478541"/>
                    <a:gd name="connsiteX52" fmla="*/ 1221127 w 4519987"/>
                    <a:gd name="connsiteY52" fmla="*/ 4200525 h 4478541"/>
                    <a:gd name="connsiteX53" fmla="*/ 1144927 w 4519987"/>
                    <a:gd name="connsiteY53" fmla="*/ 4171950 h 4478541"/>
                    <a:gd name="connsiteX54" fmla="*/ 1087777 w 4519987"/>
                    <a:gd name="connsiteY54" fmla="*/ 4143375 h 4478541"/>
                    <a:gd name="connsiteX55" fmla="*/ 1030627 w 4519987"/>
                    <a:gd name="connsiteY55" fmla="*/ 4124325 h 4478541"/>
                    <a:gd name="connsiteX56" fmla="*/ 925852 w 4519987"/>
                    <a:gd name="connsiteY56" fmla="*/ 4067175 h 4478541"/>
                    <a:gd name="connsiteX57" fmla="*/ 830602 w 4519987"/>
                    <a:gd name="connsiteY57" fmla="*/ 3981450 h 4478541"/>
                    <a:gd name="connsiteX58" fmla="*/ 763927 w 4519987"/>
                    <a:gd name="connsiteY58" fmla="*/ 3914775 h 4478541"/>
                    <a:gd name="connsiteX59" fmla="*/ 725827 w 4519987"/>
                    <a:gd name="connsiteY59" fmla="*/ 3876675 h 4478541"/>
                    <a:gd name="connsiteX60" fmla="*/ 697252 w 4519987"/>
                    <a:gd name="connsiteY60" fmla="*/ 3838575 h 4478541"/>
                    <a:gd name="connsiteX61" fmla="*/ 640102 w 4519987"/>
                    <a:gd name="connsiteY61" fmla="*/ 3781425 h 4478541"/>
                    <a:gd name="connsiteX62" fmla="*/ 611527 w 4519987"/>
                    <a:gd name="connsiteY62" fmla="*/ 3733800 h 4478541"/>
                    <a:gd name="connsiteX63" fmla="*/ 554377 w 4519987"/>
                    <a:gd name="connsiteY63" fmla="*/ 3657600 h 4478541"/>
                    <a:gd name="connsiteX64" fmla="*/ 525802 w 4519987"/>
                    <a:gd name="connsiteY64" fmla="*/ 3609975 h 4478541"/>
                    <a:gd name="connsiteX65" fmla="*/ 497227 w 4519987"/>
                    <a:gd name="connsiteY65" fmla="*/ 3552825 h 4478541"/>
                    <a:gd name="connsiteX66" fmla="*/ 440077 w 4519987"/>
                    <a:gd name="connsiteY66" fmla="*/ 3495675 h 4478541"/>
                    <a:gd name="connsiteX67" fmla="*/ 411502 w 4519987"/>
                    <a:gd name="connsiteY67" fmla="*/ 3448050 h 4478541"/>
                    <a:gd name="connsiteX68" fmla="*/ 278152 w 4519987"/>
                    <a:gd name="connsiteY68" fmla="*/ 3257550 h 4478541"/>
                    <a:gd name="connsiteX69" fmla="*/ 249577 w 4519987"/>
                    <a:gd name="connsiteY69" fmla="*/ 3200400 h 4478541"/>
                    <a:gd name="connsiteX70" fmla="*/ 240052 w 4519987"/>
                    <a:gd name="connsiteY70" fmla="*/ 3162300 h 4478541"/>
                    <a:gd name="connsiteX71" fmla="*/ 221002 w 4519987"/>
                    <a:gd name="connsiteY71" fmla="*/ 3105150 h 4478541"/>
                    <a:gd name="connsiteX72" fmla="*/ 173377 w 4519987"/>
                    <a:gd name="connsiteY72" fmla="*/ 3019425 h 4478541"/>
                    <a:gd name="connsiteX73" fmla="*/ 144802 w 4519987"/>
                    <a:gd name="connsiteY73" fmla="*/ 2924175 h 4478541"/>
                    <a:gd name="connsiteX74" fmla="*/ 68602 w 4519987"/>
                    <a:gd name="connsiteY74" fmla="*/ 2724150 h 4478541"/>
                    <a:gd name="connsiteX75" fmla="*/ 49552 w 4519987"/>
                    <a:gd name="connsiteY75" fmla="*/ 2638425 h 4478541"/>
                    <a:gd name="connsiteX76" fmla="*/ 40027 w 4519987"/>
                    <a:gd name="connsiteY76" fmla="*/ 2562225 h 4478541"/>
                    <a:gd name="connsiteX77" fmla="*/ 30502 w 4519987"/>
                    <a:gd name="connsiteY77" fmla="*/ 2514600 h 4478541"/>
                    <a:gd name="connsiteX78" fmla="*/ 11452 w 4519987"/>
                    <a:gd name="connsiteY78" fmla="*/ 2400300 h 4478541"/>
                    <a:gd name="connsiteX79" fmla="*/ 20977 w 4519987"/>
                    <a:gd name="connsiteY79" fmla="*/ 1905000 h 4478541"/>
                    <a:gd name="connsiteX80" fmla="*/ 30502 w 4519987"/>
                    <a:gd name="connsiteY80" fmla="*/ 1838325 h 4478541"/>
                    <a:gd name="connsiteX81" fmla="*/ 49552 w 4519987"/>
                    <a:gd name="connsiteY81" fmla="*/ 1781175 h 4478541"/>
                    <a:gd name="connsiteX82" fmla="*/ 59077 w 4519987"/>
                    <a:gd name="connsiteY82" fmla="*/ 1743075 h 4478541"/>
                    <a:gd name="connsiteX83" fmla="*/ 78127 w 4519987"/>
                    <a:gd name="connsiteY83" fmla="*/ 1685925 h 4478541"/>
                    <a:gd name="connsiteX84" fmla="*/ 87652 w 4519987"/>
                    <a:gd name="connsiteY84" fmla="*/ 1638300 h 4478541"/>
                    <a:gd name="connsiteX85" fmla="*/ 106702 w 4519987"/>
                    <a:gd name="connsiteY85" fmla="*/ 1590675 h 4478541"/>
                    <a:gd name="connsiteX86" fmla="*/ 135277 w 4519987"/>
                    <a:gd name="connsiteY86" fmla="*/ 1504950 h 4478541"/>
                    <a:gd name="connsiteX87" fmla="*/ 154327 w 4519987"/>
                    <a:gd name="connsiteY87" fmla="*/ 1419225 h 4478541"/>
                    <a:gd name="connsiteX88" fmla="*/ 230527 w 4519987"/>
                    <a:gd name="connsiteY88" fmla="*/ 1276350 h 4478541"/>
                    <a:gd name="connsiteX89" fmla="*/ 240052 w 4519987"/>
                    <a:gd name="connsiteY89" fmla="*/ 1247775 h 4478541"/>
                    <a:gd name="connsiteX90" fmla="*/ 268627 w 4519987"/>
                    <a:gd name="connsiteY90" fmla="*/ 1200150 h 4478541"/>
                    <a:gd name="connsiteX91" fmla="*/ 287677 w 4519987"/>
                    <a:gd name="connsiteY91" fmla="*/ 1152525 h 4478541"/>
                    <a:gd name="connsiteX92" fmla="*/ 316252 w 4519987"/>
                    <a:gd name="connsiteY92" fmla="*/ 1114425 h 4478541"/>
                    <a:gd name="connsiteX93" fmla="*/ 363877 w 4519987"/>
                    <a:gd name="connsiteY93" fmla="*/ 1038225 h 4478541"/>
                    <a:gd name="connsiteX94" fmla="*/ 382927 w 4519987"/>
                    <a:gd name="connsiteY94" fmla="*/ 1009650 h 4478541"/>
                    <a:gd name="connsiteX95" fmla="*/ 440077 w 4519987"/>
                    <a:gd name="connsiteY95" fmla="*/ 904875 h 4478541"/>
                    <a:gd name="connsiteX96" fmla="*/ 478177 w 4519987"/>
                    <a:gd name="connsiteY96" fmla="*/ 857250 h 4478541"/>
                    <a:gd name="connsiteX97" fmla="*/ 497227 w 4519987"/>
                    <a:gd name="connsiteY97" fmla="*/ 828675 h 4478541"/>
                    <a:gd name="connsiteX98" fmla="*/ 535327 w 4519987"/>
                    <a:gd name="connsiteY98" fmla="*/ 800100 h 4478541"/>
                    <a:gd name="connsiteX99" fmla="*/ 602002 w 4519987"/>
                    <a:gd name="connsiteY99" fmla="*/ 733425 h 4478541"/>
                    <a:gd name="connsiteX100" fmla="*/ 668677 w 4519987"/>
                    <a:gd name="connsiteY100" fmla="*/ 676275 h 4478541"/>
                    <a:gd name="connsiteX101" fmla="*/ 697252 w 4519987"/>
                    <a:gd name="connsiteY101" fmla="*/ 657225 h 4478541"/>
                    <a:gd name="connsiteX102" fmla="*/ 840127 w 4519987"/>
                    <a:gd name="connsiteY102" fmla="*/ 533400 h 4478541"/>
                    <a:gd name="connsiteX103" fmla="*/ 887752 w 4519987"/>
                    <a:gd name="connsiteY103" fmla="*/ 504825 h 4478541"/>
                    <a:gd name="connsiteX104" fmla="*/ 1167152 w 4519987"/>
                    <a:gd name="connsiteY104" fmla="*/ 311150 h 4478541"/>
                    <a:gd name="connsiteX105" fmla="*/ 1268752 w 4519987"/>
                    <a:gd name="connsiteY105" fmla="*/ 285750 h 4478541"/>
                    <a:gd name="connsiteX106" fmla="*/ 1411627 w 4519987"/>
                    <a:gd name="connsiteY106" fmla="*/ 190500 h 4478541"/>
                    <a:gd name="connsiteX107" fmla="*/ 1449727 w 4519987"/>
                    <a:gd name="connsiteY107" fmla="*/ 161925 h 4478541"/>
                    <a:gd name="connsiteX108" fmla="*/ 1525927 w 4519987"/>
                    <a:gd name="connsiteY108" fmla="*/ 152400 h 4478541"/>
                    <a:gd name="connsiteX109" fmla="*/ 1583077 w 4519987"/>
                    <a:gd name="connsiteY109" fmla="*/ 142875 h 4478541"/>
                    <a:gd name="connsiteX110" fmla="*/ 1716427 w 4519987"/>
                    <a:gd name="connsiteY110" fmla="*/ 123825 h 4478541"/>
                    <a:gd name="connsiteX111" fmla="*/ 1811677 w 4519987"/>
                    <a:gd name="connsiteY111" fmla="*/ 114300 h 4478541"/>
                    <a:gd name="connsiteX112" fmla="*/ 1859302 w 4519987"/>
                    <a:gd name="connsiteY112" fmla="*/ 104775 h 4478541"/>
                    <a:gd name="connsiteX113" fmla="*/ 1916452 w 4519987"/>
                    <a:gd name="connsiteY113" fmla="*/ 95250 h 4478541"/>
                    <a:gd name="connsiteX114" fmla="*/ 2030752 w 4519987"/>
                    <a:gd name="connsiteY114" fmla="*/ 66675 h 4478541"/>
                    <a:gd name="connsiteX115" fmla="*/ 2097427 w 4519987"/>
                    <a:gd name="connsiteY115" fmla="*/ 47625 h 4478541"/>
                    <a:gd name="connsiteX116" fmla="*/ 2164102 w 4519987"/>
                    <a:gd name="connsiteY116" fmla="*/ 38100 h 4478541"/>
                    <a:gd name="connsiteX117" fmla="*/ 2392702 w 4519987"/>
                    <a:gd name="connsiteY117" fmla="*/ 28575 h 4478541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580027 w 4519987"/>
                    <a:gd name="connsiteY41" fmla="*/ 4391025 h 4476750"/>
                    <a:gd name="connsiteX42" fmla="*/ 2306977 w 4519987"/>
                    <a:gd name="connsiteY42" fmla="*/ 4476750 h 4476750"/>
                    <a:gd name="connsiteX43" fmla="*/ 2202202 w 4519987"/>
                    <a:gd name="connsiteY43" fmla="*/ 4457700 h 4476750"/>
                    <a:gd name="connsiteX44" fmla="*/ 2126002 w 4519987"/>
                    <a:gd name="connsiteY44" fmla="*/ 4429125 h 4476750"/>
                    <a:gd name="connsiteX45" fmla="*/ 1935502 w 4519987"/>
                    <a:gd name="connsiteY45" fmla="*/ 4400550 h 4476750"/>
                    <a:gd name="connsiteX46" fmla="*/ 1821202 w 4519987"/>
                    <a:gd name="connsiteY46" fmla="*/ 4371975 h 4476750"/>
                    <a:gd name="connsiteX47" fmla="*/ 1754527 w 4519987"/>
                    <a:gd name="connsiteY47" fmla="*/ 4352925 h 4476750"/>
                    <a:gd name="connsiteX48" fmla="*/ 1687852 w 4519987"/>
                    <a:gd name="connsiteY48" fmla="*/ 4343400 h 4476750"/>
                    <a:gd name="connsiteX49" fmla="*/ 1573552 w 4519987"/>
                    <a:gd name="connsiteY49" fmla="*/ 4305300 h 4476750"/>
                    <a:gd name="connsiteX50" fmla="*/ 1402102 w 4519987"/>
                    <a:gd name="connsiteY50" fmla="*/ 4276725 h 4476750"/>
                    <a:gd name="connsiteX51" fmla="*/ 1287802 w 4519987"/>
                    <a:gd name="connsiteY51" fmla="*/ 4229100 h 4476750"/>
                    <a:gd name="connsiteX52" fmla="*/ 1221127 w 4519987"/>
                    <a:gd name="connsiteY52" fmla="*/ 4200525 h 4476750"/>
                    <a:gd name="connsiteX53" fmla="*/ 1144927 w 4519987"/>
                    <a:gd name="connsiteY53" fmla="*/ 4171950 h 4476750"/>
                    <a:gd name="connsiteX54" fmla="*/ 1087777 w 4519987"/>
                    <a:gd name="connsiteY54" fmla="*/ 4143375 h 4476750"/>
                    <a:gd name="connsiteX55" fmla="*/ 1030627 w 4519987"/>
                    <a:gd name="connsiteY55" fmla="*/ 4124325 h 4476750"/>
                    <a:gd name="connsiteX56" fmla="*/ 925852 w 4519987"/>
                    <a:gd name="connsiteY56" fmla="*/ 4067175 h 4476750"/>
                    <a:gd name="connsiteX57" fmla="*/ 830602 w 4519987"/>
                    <a:gd name="connsiteY57" fmla="*/ 3981450 h 4476750"/>
                    <a:gd name="connsiteX58" fmla="*/ 763927 w 4519987"/>
                    <a:gd name="connsiteY58" fmla="*/ 3914775 h 4476750"/>
                    <a:gd name="connsiteX59" fmla="*/ 725827 w 4519987"/>
                    <a:gd name="connsiteY59" fmla="*/ 3876675 h 4476750"/>
                    <a:gd name="connsiteX60" fmla="*/ 697252 w 4519987"/>
                    <a:gd name="connsiteY60" fmla="*/ 3838575 h 4476750"/>
                    <a:gd name="connsiteX61" fmla="*/ 640102 w 4519987"/>
                    <a:gd name="connsiteY61" fmla="*/ 3781425 h 4476750"/>
                    <a:gd name="connsiteX62" fmla="*/ 611527 w 4519987"/>
                    <a:gd name="connsiteY62" fmla="*/ 3733800 h 4476750"/>
                    <a:gd name="connsiteX63" fmla="*/ 554377 w 4519987"/>
                    <a:gd name="connsiteY63" fmla="*/ 3657600 h 4476750"/>
                    <a:gd name="connsiteX64" fmla="*/ 525802 w 4519987"/>
                    <a:gd name="connsiteY64" fmla="*/ 3609975 h 4476750"/>
                    <a:gd name="connsiteX65" fmla="*/ 497227 w 4519987"/>
                    <a:gd name="connsiteY65" fmla="*/ 3552825 h 4476750"/>
                    <a:gd name="connsiteX66" fmla="*/ 440077 w 4519987"/>
                    <a:gd name="connsiteY66" fmla="*/ 3495675 h 4476750"/>
                    <a:gd name="connsiteX67" fmla="*/ 411502 w 4519987"/>
                    <a:gd name="connsiteY67" fmla="*/ 3448050 h 4476750"/>
                    <a:gd name="connsiteX68" fmla="*/ 278152 w 4519987"/>
                    <a:gd name="connsiteY68" fmla="*/ 3257550 h 4476750"/>
                    <a:gd name="connsiteX69" fmla="*/ 249577 w 4519987"/>
                    <a:gd name="connsiteY69" fmla="*/ 3200400 h 4476750"/>
                    <a:gd name="connsiteX70" fmla="*/ 240052 w 4519987"/>
                    <a:gd name="connsiteY70" fmla="*/ 3162300 h 4476750"/>
                    <a:gd name="connsiteX71" fmla="*/ 221002 w 4519987"/>
                    <a:gd name="connsiteY71" fmla="*/ 3105150 h 4476750"/>
                    <a:gd name="connsiteX72" fmla="*/ 173377 w 4519987"/>
                    <a:gd name="connsiteY72" fmla="*/ 3019425 h 4476750"/>
                    <a:gd name="connsiteX73" fmla="*/ 144802 w 4519987"/>
                    <a:gd name="connsiteY73" fmla="*/ 2924175 h 4476750"/>
                    <a:gd name="connsiteX74" fmla="*/ 68602 w 4519987"/>
                    <a:gd name="connsiteY74" fmla="*/ 2724150 h 4476750"/>
                    <a:gd name="connsiteX75" fmla="*/ 49552 w 4519987"/>
                    <a:gd name="connsiteY75" fmla="*/ 2638425 h 4476750"/>
                    <a:gd name="connsiteX76" fmla="*/ 40027 w 4519987"/>
                    <a:gd name="connsiteY76" fmla="*/ 2562225 h 4476750"/>
                    <a:gd name="connsiteX77" fmla="*/ 30502 w 4519987"/>
                    <a:gd name="connsiteY77" fmla="*/ 2514600 h 4476750"/>
                    <a:gd name="connsiteX78" fmla="*/ 11452 w 4519987"/>
                    <a:gd name="connsiteY78" fmla="*/ 2400300 h 4476750"/>
                    <a:gd name="connsiteX79" fmla="*/ 20977 w 4519987"/>
                    <a:gd name="connsiteY79" fmla="*/ 1905000 h 4476750"/>
                    <a:gd name="connsiteX80" fmla="*/ 30502 w 4519987"/>
                    <a:gd name="connsiteY80" fmla="*/ 1838325 h 4476750"/>
                    <a:gd name="connsiteX81" fmla="*/ 49552 w 4519987"/>
                    <a:gd name="connsiteY81" fmla="*/ 1781175 h 4476750"/>
                    <a:gd name="connsiteX82" fmla="*/ 59077 w 4519987"/>
                    <a:gd name="connsiteY82" fmla="*/ 1743075 h 4476750"/>
                    <a:gd name="connsiteX83" fmla="*/ 78127 w 4519987"/>
                    <a:gd name="connsiteY83" fmla="*/ 1685925 h 4476750"/>
                    <a:gd name="connsiteX84" fmla="*/ 87652 w 4519987"/>
                    <a:gd name="connsiteY84" fmla="*/ 1638300 h 4476750"/>
                    <a:gd name="connsiteX85" fmla="*/ 106702 w 4519987"/>
                    <a:gd name="connsiteY85" fmla="*/ 1590675 h 4476750"/>
                    <a:gd name="connsiteX86" fmla="*/ 135277 w 4519987"/>
                    <a:gd name="connsiteY86" fmla="*/ 1504950 h 4476750"/>
                    <a:gd name="connsiteX87" fmla="*/ 154327 w 4519987"/>
                    <a:gd name="connsiteY87" fmla="*/ 1419225 h 4476750"/>
                    <a:gd name="connsiteX88" fmla="*/ 230527 w 4519987"/>
                    <a:gd name="connsiteY88" fmla="*/ 1276350 h 4476750"/>
                    <a:gd name="connsiteX89" fmla="*/ 240052 w 4519987"/>
                    <a:gd name="connsiteY89" fmla="*/ 1247775 h 4476750"/>
                    <a:gd name="connsiteX90" fmla="*/ 268627 w 4519987"/>
                    <a:gd name="connsiteY90" fmla="*/ 1200150 h 4476750"/>
                    <a:gd name="connsiteX91" fmla="*/ 287677 w 4519987"/>
                    <a:gd name="connsiteY91" fmla="*/ 1152525 h 4476750"/>
                    <a:gd name="connsiteX92" fmla="*/ 316252 w 4519987"/>
                    <a:gd name="connsiteY92" fmla="*/ 1114425 h 4476750"/>
                    <a:gd name="connsiteX93" fmla="*/ 363877 w 4519987"/>
                    <a:gd name="connsiteY93" fmla="*/ 1038225 h 4476750"/>
                    <a:gd name="connsiteX94" fmla="*/ 382927 w 4519987"/>
                    <a:gd name="connsiteY94" fmla="*/ 1009650 h 4476750"/>
                    <a:gd name="connsiteX95" fmla="*/ 440077 w 4519987"/>
                    <a:gd name="connsiteY95" fmla="*/ 904875 h 4476750"/>
                    <a:gd name="connsiteX96" fmla="*/ 478177 w 4519987"/>
                    <a:gd name="connsiteY96" fmla="*/ 857250 h 4476750"/>
                    <a:gd name="connsiteX97" fmla="*/ 497227 w 4519987"/>
                    <a:gd name="connsiteY97" fmla="*/ 828675 h 4476750"/>
                    <a:gd name="connsiteX98" fmla="*/ 535327 w 4519987"/>
                    <a:gd name="connsiteY98" fmla="*/ 800100 h 4476750"/>
                    <a:gd name="connsiteX99" fmla="*/ 602002 w 4519987"/>
                    <a:gd name="connsiteY99" fmla="*/ 733425 h 4476750"/>
                    <a:gd name="connsiteX100" fmla="*/ 668677 w 4519987"/>
                    <a:gd name="connsiteY100" fmla="*/ 676275 h 4476750"/>
                    <a:gd name="connsiteX101" fmla="*/ 697252 w 4519987"/>
                    <a:gd name="connsiteY101" fmla="*/ 657225 h 4476750"/>
                    <a:gd name="connsiteX102" fmla="*/ 840127 w 4519987"/>
                    <a:gd name="connsiteY102" fmla="*/ 533400 h 4476750"/>
                    <a:gd name="connsiteX103" fmla="*/ 887752 w 4519987"/>
                    <a:gd name="connsiteY103" fmla="*/ 504825 h 4476750"/>
                    <a:gd name="connsiteX104" fmla="*/ 1167152 w 4519987"/>
                    <a:gd name="connsiteY104" fmla="*/ 311150 h 4476750"/>
                    <a:gd name="connsiteX105" fmla="*/ 1268752 w 4519987"/>
                    <a:gd name="connsiteY105" fmla="*/ 285750 h 4476750"/>
                    <a:gd name="connsiteX106" fmla="*/ 1411627 w 4519987"/>
                    <a:gd name="connsiteY106" fmla="*/ 190500 h 4476750"/>
                    <a:gd name="connsiteX107" fmla="*/ 1449727 w 4519987"/>
                    <a:gd name="connsiteY107" fmla="*/ 161925 h 4476750"/>
                    <a:gd name="connsiteX108" fmla="*/ 1525927 w 4519987"/>
                    <a:gd name="connsiteY108" fmla="*/ 152400 h 4476750"/>
                    <a:gd name="connsiteX109" fmla="*/ 1583077 w 4519987"/>
                    <a:gd name="connsiteY109" fmla="*/ 142875 h 4476750"/>
                    <a:gd name="connsiteX110" fmla="*/ 1716427 w 4519987"/>
                    <a:gd name="connsiteY110" fmla="*/ 123825 h 4476750"/>
                    <a:gd name="connsiteX111" fmla="*/ 1811677 w 4519987"/>
                    <a:gd name="connsiteY111" fmla="*/ 114300 h 4476750"/>
                    <a:gd name="connsiteX112" fmla="*/ 1859302 w 4519987"/>
                    <a:gd name="connsiteY112" fmla="*/ 104775 h 4476750"/>
                    <a:gd name="connsiteX113" fmla="*/ 1916452 w 4519987"/>
                    <a:gd name="connsiteY113" fmla="*/ 95250 h 4476750"/>
                    <a:gd name="connsiteX114" fmla="*/ 2030752 w 4519987"/>
                    <a:gd name="connsiteY114" fmla="*/ 66675 h 4476750"/>
                    <a:gd name="connsiteX115" fmla="*/ 2097427 w 4519987"/>
                    <a:gd name="connsiteY115" fmla="*/ 47625 h 4476750"/>
                    <a:gd name="connsiteX116" fmla="*/ 2164102 w 4519987"/>
                    <a:gd name="connsiteY116" fmla="*/ 38100 h 4476750"/>
                    <a:gd name="connsiteX117" fmla="*/ 2392702 w 4519987"/>
                    <a:gd name="connsiteY117" fmla="*/ 28575 h 4476750"/>
                    <a:gd name="connsiteX0" fmla="*/ 2297452 w 4519987"/>
                    <a:gd name="connsiteY0" fmla="*/ 0 h 4457700"/>
                    <a:gd name="connsiteX1" fmla="*/ 2421277 w 4519987"/>
                    <a:gd name="connsiteY1" fmla="*/ 28575 h 4457700"/>
                    <a:gd name="connsiteX2" fmla="*/ 2497477 w 4519987"/>
                    <a:gd name="connsiteY2" fmla="*/ 47625 h 4457700"/>
                    <a:gd name="connsiteX3" fmla="*/ 2754652 w 4519987"/>
                    <a:gd name="connsiteY3" fmla="*/ 66675 h 4457700"/>
                    <a:gd name="connsiteX4" fmla="*/ 2830852 w 4519987"/>
                    <a:gd name="connsiteY4" fmla="*/ 76200 h 4457700"/>
                    <a:gd name="connsiteX5" fmla="*/ 2916577 w 4519987"/>
                    <a:gd name="connsiteY5" fmla="*/ 85725 h 4457700"/>
                    <a:gd name="connsiteX6" fmla="*/ 2973727 w 4519987"/>
                    <a:gd name="connsiteY6" fmla="*/ 114300 h 4457700"/>
                    <a:gd name="connsiteX7" fmla="*/ 3011827 w 4519987"/>
                    <a:gd name="connsiteY7" fmla="*/ 123825 h 4457700"/>
                    <a:gd name="connsiteX8" fmla="*/ 3135652 w 4519987"/>
                    <a:gd name="connsiteY8" fmla="*/ 171450 h 4457700"/>
                    <a:gd name="connsiteX9" fmla="*/ 3173752 w 4519987"/>
                    <a:gd name="connsiteY9" fmla="*/ 190500 h 4457700"/>
                    <a:gd name="connsiteX10" fmla="*/ 3240427 w 4519987"/>
                    <a:gd name="connsiteY10" fmla="*/ 228600 h 4457700"/>
                    <a:gd name="connsiteX11" fmla="*/ 3269002 w 4519987"/>
                    <a:gd name="connsiteY11" fmla="*/ 238125 h 4457700"/>
                    <a:gd name="connsiteX12" fmla="*/ 3297577 w 4519987"/>
                    <a:gd name="connsiteY12" fmla="*/ 257175 h 4457700"/>
                    <a:gd name="connsiteX13" fmla="*/ 3326152 w 4519987"/>
                    <a:gd name="connsiteY13" fmla="*/ 266700 h 4457700"/>
                    <a:gd name="connsiteX14" fmla="*/ 3354727 w 4519987"/>
                    <a:gd name="connsiteY14" fmla="*/ 285750 h 4457700"/>
                    <a:gd name="connsiteX15" fmla="*/ 3421402 w 4519987"/>
                    <a:gd name="connsiteY15" fmla="*/ 323850 h 4457700"/>
                    <a:gd name="connsiteX16" fmla="*/ 3469027 w 4519987"/>
                    <a:gd name="connsiteY16" fmla="*/ 361950 h 4457700"/>
                    <a:gd name="connsiteX17" fmla="*/ 3516652 w 4519987"/>
                    <a:gd name="connsiteY17" fmla="*/ 390525 h 4457700"/>
                    <a:gd name="connsiteX18" fmla="*/ 3630952 w 4519987"/>
                    <a:gd name="connsiteY18" fmla="*/ 485775 h 4457700"/>
                    <a:gd name="connsiteX19" fmla="*/ 3745252 w 4519987"/>
                    <a:gd name="connsiteY19" fmla="*/ 542925 h 4457700"/>
                    <a:gd name="connsiteX20" fmla="*/ 3811927 w 4519987"/>
                    <a:gd name="connsiteY20" fmla="*/ 581025 h 4457700"/>
                    <a:gd name="connsiteX21" fmla="*/ 4027827 w 4519987"/>
                    <a:gd name="connsiteY21" fmla="*/ 819150 h 4457700"/>
                    <a:gd name="connsiteX22" fmla="*/ 4164352 w 4519987"/>
                    <a:gd name="connsiteY22" fmla="*/ 990600 h 4457700"/>
                    <a:gd name="connsiteX23" fmla="*/ 4250077 w 4519987"/>
                    <a:gd name="connsiteY23" fmla="*/ 1143000 h 4457700"/>
                    <a:gd name="connsiteX24" fmla="*/ 4307227 w 4519987"/>
                    <a:gd name="connsiteY24" fmla="*/ 1266825 h 4457700"/>
                    <a:gd name="connsiteX25" fmla="*/ 4345327 w 4519987"/>
                    <a:gd name="connsiteY25" fmla="*/ 1362075 h 4457700"/>
                    <a:gd name="connsiteX26" fmla="*/ 4392952 w 4519987"/>
                    <a:gd name="connsiteY26" fmla="*/ 1552575 h 4457700"/>
                    <a:gd name="connsiteX27" fmla="*/ 4431052 w 4519987"/>
                    <a:gd name="connsiteY27" fmla="*/ 1685925 h 4457700"/>
                    <a:gd name="connsiteX28" fmla="*/ 4519952 w 4519987"/>
                    <a:gd name="connsiteY28" fmla="*/ 2181225 h 4457700"/>
                    <a:gd name="connsiteX29" fmla="*/ 4446927 w 4519987"/>
                    <a:gd name="connsiteY29" fmla="*/ 2768600 h 4457700"/>
                    <a:gd name="connsiteX30" fmla="*/ 4383427 w 4519987"/>
                    <a:gd name="connsiteY30" fmla="*/ 2990850 h 4457700"/>
                    <a:gd name="connsiteX31" fmla="*/ 4278652 w 4519987"/>
                    <a:gd name="connsiteY31" fmla="*/ 3248025 h 4457700"/>
                    <a:gd name="connsiteX32" fmla="*/ 4183402 w 4519987"/>
                    <a:gd name="connsiteY32" fmla="*/ 3400425 h 4457700"/>
                    <a:gd name="connsiteX33" fmla="*/ 4059577 w 4519987"/>
                    <a:gd name="connsiteY33" fmla="*/ 3533775 h 4457700"/>
                    <a:gd name="connsiteX34" fmla="*/ 3954802 w 4519987"/>
                    <a:gd name="connsiteY34" fmla="*/ 3648075 h 4457700"/>
                    <a:gd name="connsiteX35" fmla="*/ 3659527 w 4519987"/>
                    <a:gd name="connsiteY35" fmla="*/ 3971925 h 4457700"/>
                    <a:gd name="connsiteX36" fmla="*/ 3516652 w 4519987"/>
                    <a:gd name="connsiteY36" fmla="*/ 4083050 h 4457700"/>
                    <a:gd name="connsiteX37" fmla="*/ 3221377 w 4519987"/>
                    <a:gd name="connsiteY37" fmla="*/ 4222750 h 4457700"/>
                    <a:gd name="connsiteX38" fmla="*/ 3068977 w 4519987"/>
                    <a:gd name="connsiteY38" fmla="*/ 4286250 h 4457700"/>
                    <a:gd name="connsiteX39" fmla="*/ 2935627 w 4519987"/>
                    <a:gd name="connsiteY39" fmla="*/ 4333875 h 4457700"/>
                    <a:gd name="connsiteX40" fmla="*/ 2811802 w 4519987"/>
                    <a:gd name="connsiteY40" fmla="*/ 4371975 h 4457700"/>
                    <a:gd name="connsiteX41" fmla="*/ 2580027 w 4519987"/>
                    <a:gd name="connsiteY41" fmla="*/ 4391025 h 4457700"/>
                    <a:gd name="connsiteX42" fmla="*/ 2202202 w 4519987"/>
                    <a:gd name="connsiteY42" fmla="*/ 4457700 h 4457700"/>
                    <a:gd name="connsiteX43" fmla="*/ 2126002 w 4519987"/>
                    <a:gd name="connsiteY43" fmla="*/ 4429125 h 4457700"/>
                    <a:gd name="connsiteX44" fmla="*/ 1935502 w 4519987"/>
                    <a:gd name="connsiteY44" fmla="*/ 4400550 h 4457700"/>
                    <a:gd name="connsiteX45" fmla="*/ 1821202 w 4519987"/>
                    <a:gd name="connsiteY45" fmla="*/ 4371975 h 4457700"/>
                    <a:gd name="connsiteX46" fmla="*/ 1754527 w 4519987"/>
                    <a:gd name="connsiteY46" fmla="*/ 4352925 h 4457700"/>
                    <a:gd name="connsiteX47" fmla="*/ 1687852 w 4519987"/>
                    <a:gd name="connsiteY47" fmla="*/ 4343400 h 4457700"/>
                    <a:gd name="connsiteX48" fmla="*/ 1573552 w 4519987"/>
                    <a:gd name="connsiteY48" fmla="*/ 4305300 h 4457700"/>
                    <a:gd name="connsiteX49" fmla="*/ 1402102 w 4519987"/>
                    <a:gd name="connsiteY49" fmla="*/ 4276725 h 4457700"/>
                    <a:gd name="connsiteX50" fmla="*/ 1287802 w 4519987"/>
                    <a:gd name="connsiteY50" fmla="*/ 4229100 h 4457700"/>
                    <a:gd name="connsiteX51" fmla="*/ 1221127 w 4519987"/>
                    <a:gd name="connsiteY51" fmla="*/ 4200525 h 4457700"/>
                    <a:gd name="connsiteX52" fmla="*/ 1144927 w 4519987"/>
                    <a:gd name="connsiteY52" fmla="*/ 4171950 h 4457700"/>
                    <a:gd name="connsiteX53" fmla="*/ 1087777 w 4519987"/>
                    <a:gd name="connsiteY53" fmla="*/ 4143375 h 4457700"/>
                    <a:gd name="connsiteX54" fmla="*/ 1030627 w 4519987"/>
                    <a:gd name="connsiteY54" fmla="*/ 4124325 h 4457700"/>
                    <a:gd name="connsiteX55" fmla="*/ 925852 w 4519987"/>
                    <a:gd name="connsiteY55" fmla="*/ 4067175 h 4457700"/>
                    <a:gd name="connsiteX56" fmla="*/ 830602 w 4519987"/>
                    <a:gd name="connsiteY56" fmla="*/ 3981450 h 4457700"/>
                    <a:gd name="connsiteX57" fmla="*/ 763927 w 4519987"/>
                    <a:gd name="connsiteY57" fmla="*/ 3914775 h 4457700"/>
                    <a:gd name="connsiteX58" fmla="*/ 725827 w 4519987"/>
                    <a:gd name="connsiteY58" fmla="*/ 3876675 h 4457700"/>
                    <a:gd name="connsiteX59" fmla="*/ 697252 w 4519987"/>
                    <a:gd name="connsiteY59" fmla="*/ 3838575 h 4457700"/>
                    <a:gd name="connsiteX60" fmla="*/ 640102 w 4519987"/>
                    <a:gd name="connsiteY60" fmla="*/ 3781425 h 4457700"/>
                    <a:gd name="connsiteX61" fmla="*/ 611527 w 4519987"/>
                    <a:gd name="connsiteY61" fmla="*/ 3733800 h 4457700"/>
                    <a:gd name="connsiteX62" fmla="*/ 554377 w 4519987"/>
                    <a:gd name="connsiteY62" fmla="*/ 3657600 h 4457700"/>
                    <a:gd name="connsiteX63" fmla="*/ 525802 w 4519987"/>
                    <a:gd name="connsiteY63" fmla="*/ 3609975 h 4457700"/>
                    <a:gd name="connsiteX64" fmla="*/ 497227 w 4519987"/>
                    <a:gd name="connsiteY64" fmla="*/ 3552825 h 4457700"/>
                    <a:gd name="connsiteX65" fmla="*/ 440077 w 4519987"/>
                    <a:gd name="connsiteY65" fmla="*/ 3495675 h 4457700"/>
                    <a:gd name="connsiteX66" fmla="*/ 411502 w 4519987"/>
                    <a:gd name="connsiteY66" fmla="*/ 3448050 h 4457700"/>
                    <a:gd name="connsiteX67" fmla="*/ 278152 w 4519987"/>
                    <a:gd name="connsiteY67" fmla="*/ 3257550 h 4457700"/>
                    <a:gd name="connsiteX68" fmla="*/ 249577 w 4519987"/>
                    <a:gd name="connsiteY68" fmla="*/ 3200400 h 4457700"/>
                    <a:gd name="connsiteX69" fmla="*/ 240052 w 4519987"/>
                    <a:gd name="connsiteY69" fmla="*/ 3162300 h 4457700"/>
                    <a:gd name="connsiteX70" fmla="*/ 221002 w 4519987"/>
                    <a:gd name="connsiteY70" fmla="*/ 3105150 h 4457700"/>
                    <a:gd name="connsiteX71" fmla="*/ 173377 w 4519987"/>
                    <a:gd name="connsiteY71" fmla="*/ 3019425 h 4457700"/>
                    <a:gd name="connsiteX72" fmla="*/ 144802 w 4519987"/>
                    <a:gd name="connsiteY72" fmla="*/ 2924175 h 4457700"/>
                    <a:gd name="connsiteX73" fmla="*/ 68602 w 4519987"/>
                    <a:gd name="connsiteY73" fmla="*/ 2724150 h 4457700"/>
                    <a:gd name="connsiteX74" fmla="*/ 49552 w 4519987"/>
                    <a:gd name="connsiteY74" fmla="*/ 2638425 h 4457700"/>
                    <a:gd name="connsiteX75" fmla="*/ 40027 w 4519987"/>
                    <a:gd name="connsiteY75" fmla="*/ 2562225 h 4457700"/>
                    <a:gd name="connsiteX76" fmla="*/ 30502 w 4519987"/>
                    <a:gd name="connsiteY76" fmla="*/ 2514600 h 4457700"/>
                    <a:gd name="connsiteX77" fmla="*/ 11452 w 4519987"/>
                    <a:gd name="connsiteY77" fmla="*/ 2400300 h 4457700"/>
                    <a:gd name="connsiteX78" fmla="*/ 20977 w 4519987"/>
                    <a:gd name="connsiteY78" fmla="*/ 1905000 h 4457700"/>
                    <a:gd name="connsiteX79" fmla="*/ 30502 w 4519987"/>
                    <a:gd name="connsiteY79" fmla="*/ 1838325 h 4457700"/>
                    <a:gd name="connsiteX80" fmla="*/ 49552 w 4519987"/>
                    <a:gd name="connsiteY80" fmla="*/ 1781175 h 4457700"/>
                    <a:gd name="connsiteX81" fmla="*/ 59077 w 4519987"/>
                    <a:gd name="connsiteY81" fmla="*/ 1743075 h 4457700"/>
                    <a:gd name="connsiteX82" fmla="*/ 78127 w 4519987"/>
                    <a:gd name="connsiteY82" fmla="*/ 1685925 h 4457700"/>
                    <a:gd name="connsiteX83" fmla="*/ 87652 w 4519987"/>
                    <a:gd name="connsiteY83" fmla="*/ 1638300 h 4457700"/>
                    <a:gd name="connsiteX84" fmla="*/ 106702 w 4519987"/>
                    <a:gd name="connsiteY84" fmla="*/ 1590675 h 4457700"/>
                    <a:gd name="connsiteX85" fmla="*/ 135277 w 4519987"/>
                    <a:gd name="connsiteY85" fmla="*/ 1504950 h 4457700"/>
                    <a:gd name="connsiteX86" fmla="*/ 154327 w 4519987"/>
                    <a:gd name="connsiteY86" fmla="*/ 1419225 h 4457700"/>
                    <a:gd name="connsiteX87" fmla="*/ 230527 w 4519987"/>
                    <a:gd name="connsiteY87" fmla="*/ 1276350 h 4457700"/>
                    <a:gd name="connsiteX88" fmla="*/ 240052 w 4519987"/>
                    <a:gd name="connsiteY88" fmla="*/ 1247775 h 4457700"/>
                    <a:gd name="connsiteX89" fmla="*/ 268627 w 4519987"/>
                    <a:gd name="connsiteY89" fmla="*/ 1200150 h 4457700"/>
                    <a:gd name="connsiteX90" fmla="*/ 287677 w 4519987"/>
                    <a:gd name="connsiteY90" fmla="*/ 1152525 h 4457700"/>
                    <a:gd name="connsiteX91" fmla="*/ 316252 w 4519987"/>
                    <a:gd name="connsiteY91" fmla="*/ 1114425 h 4457700"/>
                    <a:gd name="connsiteX92" fmla="*/ 363877 w 4519987"/>
                    <a:gd name="connsiteY92" fmla="*/ 1038225 h 4457700"/>
                    <a:gd name="connsiteX93" fmla="*/ 382927 w 4519987"/>
                    <a:gd name="connsiteY93" fmla="*/ 1009650 h 4457700"/>
                    <a:gd name="connsiteX94" fmla="*/ 440077 w 4519987"/>
                    <a:gd name="connsiteY94" fmla="*/ 904875 h 4457700"/>
                    <a:gd name="connsiteX95" fmla="*/ 478177 w 4519987"/>
                    <a:gd name="connsiteY95" fmla="*/ 857250 h 4457700"/>
                    <a:gd name="connsiteX96" fmla="*/ 497227 w 4519987"/>
                    <a:gd name="connsiteY96" fmla="*/ 828675 h 4457700"/>
                    <a:gd name="connsiteX97" fmla="*/ 535327 w 4519987"/>
                    <a:gd name="connsiteY97" fmla="*/ 800100 h 4457700"/>
                    <a:gd name="connsiteX98" fmla="*/ 602002 w 4519987"/>
                    <a:gd name="connsiteY98" fmla="*/ 733425 h 4457700"/>
                    <a:gd name="connsiteX99" fmla="*/ 668677 w 4519987"/>
                    <a:gd name="connsiteY99" fmla="*/ 676275 h 4457700"/>
                    <a:gd name="connsiteX100" fmla="*/ 697252 w 4519987"/>
                    <a:gd name="connsiteY100" fmla="*/ 657225 h 4457700"/>
                    <a:gd name="connsiteX101" fmla="*/ 840127 w 4519987"/>
                    <a:gd name="connsiteY101" fmla="*/ 533400 h 4457700"/>
                    <a:gd name="connsiteX102" fmla="*/ 887752 w 4519987"/>
                    <a:gd name="connsiteY102" fmla="*/ 504825 h 4457700"/>
                    <a:gd name="connsiteX103" fmla="*/ 1167152 w 4519987"/>
                    <a:gd name="connsiteY103" fmla="*/ 311150 h 4457700"/>
                    <a:gd name="connsiteX104" fmla="*/ 1268752 w 4519987"/>
                    <a:gd name="connsiteY104" fmla="*/ 285750 h 4457700"/>
                    <a:gd name="connsiteX105" fmla="*/ 1411627 w 4519987"/>
                    <a:gd name="connsiteY105" fmla="*/ 190500 h 4457700"/>
                    <a:gd name="connsiteX106" fmla="*/ 1449727 w 4519987"/>
                    <a:gd name="connsiteY106" fmla="*/ 161925 h 4457700"/>
                    <a:gd name="connsiteX107" fmla="*/ 1525927 w 4519987"/>
                    <a:gd name="connsiteY107" fmla="*/ 152400 h 4457700"/>
                    <a:gd name="connsiteX108" fmla="*/ 1583077 w 4519987"/>
                    <a:gd name="connsiteY108" fmla="*/ 142875 h 4457700"/>
                    <a:gd name="connsiteX109" fmla="*/ 1716427 w 4519987"/>
                    <a:gd name="connsiteY109" fmla="*/ 123825 h 4457700"/>
                    <a:gd name="connsiteX110" fmla="*/ 1811677 w 4519987"/>
                    <a:gd name="connsiteY110" fmla="*/ 114300 h 4457700"/>
                    <a:gd name="connsiteX111" fmla="*/ 1859302 w 4519987"/>
                    <a:gd name="connsiteY111" fmla="*/ 104775 h 4457700"/>
                    <a:gd name="connsiteX112" fmla="*/ 1916452 w 4519987"/>
                    <a:gd name="connsiteY112" fmla="*/ 95250 h 4457700"/>
                    <a:gd name="connsiteX113" fmla="*/ 2030752 w 4519987"/>
                    <a:gd name="connsiteY113" fmla="*/ 66675 h 4457700"/>
                    <a:gd name="connsiteX114" fmla="*/ 2097427 w 4519987"/>
                    <a:gd name="connsiteY114" fmla="*/ 47625 h 4457700"/>
                    <a:gd name="connsiteX115" fmla="*/ 2164102 w 4519987"/>
                    <a:gd name="connsiteY115" fmla="*/ 38100 h 4457700"/>
                    <a:gd name="connsiteX116" fmla="*/ 2392702 w 4519987"/>
                    <a:gd name="connsiteY116" fmla="*/ 28575 h 4457700"/>
                    <a:gd name="connsiteX0" fmla="*/ 2297452 w 4519987"/>
                    <a:gd name="connsiteY0" fmla="*/ 0 h 4429260"/>
                    <a:gd name="connsiteX1" fmla="*/ 2421277 w 4519987"/>
                    <a:gd name="connsiteY1" fmla="*/ 28575 h 4429260"/>
                    <a:gd name="connsiteX2" fmla="*/ 2497477 w 4519987"/>
                    <a:gd name="connsiteY2" fmla="*/ 47625 h 4429260"/>
                    <a:gd name="connsiteX3" fmla="*/ 2754652 w 4519987"/>
                    <a:gd name="connsiteY3" fmla="*/ 66675 h 4429260"/>
                    <a:gd name="connsiteX4" fmla="*/ 2830852 w 4519987"/>
                    <a:gd name="connsiteY4" fmla="*/ 76200 h 4429260"/>
                    <a:gd name="connsiteX5" fmla="*/ 2916577 w 4519987"/>
                    <a:gd name="connsiteY5" fmla="*/ 85725 h 4429260"/>
                    <a:gd name="connsiteX6" fmla="*/ 2973727 w 4519987"/>
                    <a:gd name="connsiteY6" fmla="*/ 114300 h 4429260"/>
                    <a:gd name="connsiteX7" fmla="*/ 3011827 w 4519987"/>
                    <a:gd name="connsiteY7" fmla="*/ 123825 h 4429260"/>
                    <a:gd name="connsiteX8" fmla="*/ 3135652 w 4519987"/>
                    <a:gd name="connsiteY8" fmla="*/ 171450 h 4429260"/>
                    <a:gd name="connsiteX9" fmla="*/ 3173752 w 4519987"/>
                    <a:gd name="connsiteY9" fmla="*/ 190500 h 4429260"/>
                    <a:gd name="connsiteX10" fmla="*/ 3240427 w 4519987"/>
                    <a:gd name="connsiteY10" fmla="*/ 228600 h 4429260"/>
                    <a:gd name="connsiteX11" fmla="*/ 3269002 w 4519987"/>
                    <a:gd name="connsiteY11" fmla="*/ 238125 h 4429260"/>
                    <a:gd name="connsiteX12" fmla="*/ 3297577 w 4519987"/>
                    <a:gd name="connsiteY12" fmla="*/ 257175 h 4429260"/>
                    <a:gd name="connsiteX13" fmla="*/ 3326152 w 4519987"/>
                    <a:gd name="connsiteY13" fmla="*/ 266700 h 4429260"/>
                    <a:gd name="connsiteX14" fmla="*/ 3354727 w 4519987"/>
                    <a:gd name="connsiteY14" fmla="*/ 285750 h 4429260"/>
                    <a:gd name="connsiteX15" fmla="*/ 3421402 w 4519987"/>
                    <a:gd name="connsiteY15" fmla="*/ 323850 h 4429260"/>
                    <a:gd name="connsiteX16" fmla="*/ 3469027 w 4519987"/>
                    <a:gd name="connsiteY16" fmla="*/ 361950 h 4429260"/>
                    <a:gd name="connsiteX17" fmla="*/ 3516652 w 4519987"/>
                    <a:gd name="connsiteY17" fmla="*/ 390525 h 4429260"/>
                    <a:gd name="connsiteX18" fmla="*/ 3630952 w 4519987"/>
                    <a:gd name="connsiteY18" fmla="*/ 485775 h 4429260"/>
                    <a:gd name="connsiteX19" fmla="*/ 3745252 w 4519987"/>
                    <a:gd name="connsiteY19" fmla="*/ 542925 h 4429260"/>
                    <a:gd name="connsiteX20" fmla="*/ 3811927 w 4519987"/>
                    <a:gd name="connsiteY20" fmla="*/ 581025 h 4429260"/>
                    <a:gd name="connsiteX21" fmla="*/ 4027827 w 4519987"/>
                    <a:gd name="connsiteY21" fmla="*/ 819150 h 4429260"/>
                    <a:gd name="connsiteX22" fmla="*/ 4164352 w 4519987"/>
                    <a:gd name="connsiteY22" fmla="*/ 990600 h 4429260"/>
                    <a:gd name="connsiteX23" fmla="*/ 4250077 w 4519987"/>
                    <a:gd name="connsiteY23" fmla="*/ 1143000 h 4429260"/>
                    <a:gd name="connsiteX24" fmla="*/ 4307227 w 4519987"/>
                    <a:gd name="connsiteY24" fmla="*/ 1266825 h 4429260"/>
                    <a:gd name="connsiteX25" fmla="*/ 4345327 w 4519987"/>
                    <a:gd name="connsiteY25" fmla="*/ 1362075 h 4429260"/>
                    <a:gd name="connsiteX26" fmla="*/ 4392952 w 4519987"/>
                    <a:gd name="connsiteY26" fmla="*/ 1552575 h 4429260"/>
                    <a:gd name="connsiteX27" fmla="*/ 4431052 w 4519987"/>
                    <a:gd name="connsiteY27" fmla="*/ 1685925 h 4429260"/>
                    <a:gd name="connsiteX28" fmla="*/ 4519952 w 4519987"/>
                    <a:gd name="connsiteY28" fmla="*/ 2181225 h 4429260"/>
                    <a:gd name="connsiteX29" fmla="*/ 4446927 w 4519987"/>
                    <a:gd name="connsiteY29" fmla="*/ 2768600 h 4429260"/>
                    <a:gd name="connsiteX30" fmla="*/ 4383427 w 4519987"/>
                    <a:gd name="connsiteY30" fmla="*/ 2990850 h 4429260"/>
                    <a:gd name="connsiteX31" fmla="*/ 4278652 w 4519987"/>
                    <a:gd name="connsiteY31" fmla="*/ 3248025 h 4429260"/>
                    <a:gd name="connsiteX32" fmla="*/ 4183402 w 4519987"/>
                    <a:gd name="connsiteY32" fmla="*/ 3400425 h 4429260"/>
                    <a:gd name="connsiteX33" fmla="*/ 4059577 w 4519987"/>
                    <a:gd name="connsiteY33" fmla="*/ 3533775 h 4429260"/>
                    <a:gd name="connsiteX34" fmla="*/ 3954802 w 4519987"/>
                    <a:gd name="connsiteY34" fmla="*/ 3648075 h 4429260"/>
                    <a:gd name="connsiteX35" fmla="*/ 3659527 w 4519987"/>
                    <a:gd name="connsiteY35" fmla="*/ 3971925 h 4429260"/>
                    <a:gd name="connsiteX36" fmla="*/ 3516652 w 4519987"/>
                    <a:gd name="connsiteY36" fmla="*/ 4083050 h 4429260"/>
                    <a:gd name="connsiteX37" fmla="*/ 3221377 w 4519987"/>
                    <a:gd name="connsiteY37" fmla="*/ 4222750 h 4429260"/>
                    <a:gd name="connsiteX38" fmla="*/ 3068977 w 4519987"/>
                    <a:gd name="connsiteY38" fmla="*/ 4286250 h 4429260"/>
                    <a:gd name="connsiteX39" fmla="*/ 2935627 w 4519987"/>
                    <a:gd name="connsiteY39" fmla="*/ 4333875 h 4429260"/>
                    <a:gd name="connsiteX40" fmla="*/ 2811802 w 4519987"/>
                    <a:gd name="connsiteY40" fmla="*/ 4371975 h 4429260"/>
                    <a:gd name="connsiteX41" fmla="*/ 2580027 w 4519987"/>
                    <a:gd name="connsiteY41" fmla="*/ 4391025 h 4429260"/>
                    <a:gd name="connsiteX42" fmla="*/ 2126002 w 4519987"/>
                    <a:gd name="connsiteY42" fmla="*/ 4429125 h 4429260"/>
                    <a:gd name="connsiteX43" fmla="*/ 1935502 w 4519987"/>
                    <a:gd name="connsiteY43" fmla="*/ 4400550 h 4429260"/>
                    <a:gd name="connsiteX44" fmla="*/ 1821202 w 4519987"/>
                    <a:gd name="connsiteY44" fmla="*/ 4371975 h 4429260"/>
                    <a:gd name="connsiteX45" fmla="*/ 1754527 w 4519987"/>
                    <a:gd name="connsiteY45" fmla="*/ 4352925 h 4429260"/>
                    <a:gd name="connsiteX46" fmla="*/ 1687852 w 4519987"/>
                    <a:gd name="connsiteY46" fmla="*/ 4343400 h 4429260"/>
                    <a:gd name="connsiteX47" fmla="*/ 1573552 w 4519987"/>
                    <a:gd name="connsiteY47" fmla="*/ 4305300 h 4429260"/>
                    <a:gd name="connsiteX48" fmla="*/ 1402102 w 4519987"/>
                    <a:gd name="connsiteY48" fmla="*/ 4276725 h 4429260"/>
                    <a:gd name="connsiteX49" fmla="*/ 1287802 w 4519987"/>
                    <a:gd name="connsiteY49" fmla="*/ 4229100 h 4429260"/>
                    <a:gd name="connsiteX50" fmla="*/ 1221127 w 4519987"/>
                    <a:gd name="connsiteY50" fmla="*/ 4200525 h 4429260"/>
                    <a:gd name="connsiteX51" fmla="*/ 1144927 w 4519987"/>
                    <a:gd name="connsiteY51" fmla="*/ 4171950 h 4429260"/>
                    <a:gd name="connsiteX52" fmla="*/ 1087777 w 4519987"/>
                    <a:gd name="connsiteY52" fmla="*/ 4143375 h 4429260"/>
                    <a:gd name="connsiteX53" fmla="*/ 1030627 w 4519987"/>
                    <a:gd name="connsiteY53" fmla="*/ 4124325 h 4429260"/>
                    <a:gd name="connsiteX54" fmla="*/ 925852 w 4519987"/>
                    <a:gd name="connsiteY54" fmla="*/ 4067175 h 4429260"/>
                    <a:gd name="connsiteX55" fmla="*/ 830602 w 4519987"/>
                    <a:gd name="connsiteY55" fmla="*/ 3981450 h 4429260"/>
                    <a:gd name="connsiteX56" fmla="*/ 763927 w 4519987"/>
                    <a:gd name="connsiteY56" fmla="*/ 3914775 h 4429260"/>
                    <a:gd name="connsiteX57" fmla="*/ 725827 w 4519987"/>
                    <a:gd name="connsiteY57" fmla="*/ 3876675 h 4429260"/>
                    <a:gd name="connsiteX58" fmla="*/ 697252 w 4519987"/>
                    <a:gd name="connsiteY58" fmla="*/ 3838575 h 4429260"/>
                    <a:gd name="connsiteX59" fmla="*/ 640102 w 4519987"/>
                    <a:gd name="connsiteY59" fmla="*/ 3781425 h 4429260"/>
                    <a:gd name="connsiteX60" fmla="*/ 611527 w 4519987"/>
                    <a:gd name="connsiteY60" fmla="*/ 3733800 h 4429260"/>
                    <a:gd name="connsiteX61" fmla="*/ 554377 w 4519987"/>
                    <a:gd name="connsiteY61" fmla="*/ 3657600 h 4429260"/>
                    <a:gd name="connsiteX62" fmla="*/ 525802 w 4519987"/>
                    <a:gd name="connsiteY62" fmla="*/ 3609975 h 4429260"/>
                    <a:gd name="connsiteX63" fmla="*/ 497227 w 4519987"/>
                    <a:gd name="connsiteY63" fmla="*/ 3552825 h 4429260"/>
                    <a:gd name="connsiteX64" fmla="*/ 440077 w 4519987"/>
                    <a:gd name="connsiteY64" fmla="*/ 3495675 h 4429260"/>
                    <a:gd name="connsiteX65" fmla="*/ 411502 w 4519987"/>
                    <a:gd name="connsiteY65" fmla="*/ 3448050 h 4429260"/>
                    <a:gd name="connsiteX66" fmla="*/ 278152 w 4519987"/>
                    <a:gd name="connsiteY66" fmla="*/ 3257550 h 4429260"/>
                    <a:gd name="connsiteX67" fmla="*/ 249577 w 4519987"/>
                    <a:gd name="connsiteY67" fmla="*/ 3200400 h 4429260"/>
                    <a:gd name="connsiteX68" fmla="*/ 240052 w 4519987"/>
                    <a:gd name="connsiteY68" fmla="*/ 3162300 h 4429260"/>
                    <a:gd name="connsiteX69" fmla="*/ 221002 w 4519987"/>
                    <a:gd name="connsiteY69" fmla="*/ 3105150 h 4429260"/>
                    <a:gd name="connsiteX70" fmla="*/ 173377 w 4519987"/>
                    <a:gd name="connsiteY70" fmla="*/ 3019425 h 4429260"/>
                    <a:gd name="connsiteX71" fmla="*/ 144802 w 4519987"/>
                    <a:gd name="connsiteY71" fmla="*/ 2924175 h 4429260"/>
                    <a:gd name="connsiteX72" fmla="*/ 68602 w 4519987"/>
                    <a:gd name="connsiteY72" fmla="*/ 2724150 h 4429260"/>
                    <a:gd name="connsiteX73" fmla="*/ 49552 w 4519987"/>
                    <a:gd name="connsiteY73" fmla="*/ 2638425 h 4429260"/>
                    <a:gd name="connsiteX74" fmla="*/ 40027 w 4519987"/>
                    <a:gd name="connsiteY74" fmla="*/ 2562225 h 4429260"/>
                    <a:gd name="connsiteX75" fmla="*/ 30502 w 4519987"/>
                    <a:gd name="connsiteY75" fmla="*/ 2514600 h 4429260"/>
                    <a:gd name="connsiteX76" fmla="*/ 11452 w 4519987"/>
                    <a:gd name="connsiteY76" fmla="*/ 2400300 h 4429260"/>
                    <a:gd name="connsiteX77" fmla="*/ 20977 w 4519987"/>
                    <a:gd name="connsiteY77" fmla="*/ 1905000 h 4429260"/>
                    <a:gd name="connsiteX78" fmla="*/ 30502 w 4519987"/>
                    <a:gd name="connsiteY78" fmla="*/ 1838325 h 4429260"/>
                    <a:gd name="connsiteX79" fmla="*/ 49552 w 4519987"/>
                    <a:gd name="connsiteY79" fmla="*/ 1781175 h 4429260"/>
                    <a:gd name="connsiteX80" fmla="*/ 59077 w 4519987"/>
                    <a:gd name="connsiteY80" fmla="*/ 1743075 h 4429260"/>
                    <a:gd name="connsiteX81" fmla="*/ 78127 w 4519987"/>
                    <a:gd name="connsiteY81" fmla="*/ 1685925 h 4429260"/>
                    <a:gd name="connsiteX82" fmla="*/ 87652 w 4519987"/>
                    <a:gd name="connsiteY82" fmla="*/ 1638300 h 4429260"/>
                    <a:gd name="connsiteX83" fmla="*/ 106702 w 4519987"/>
                    <a:gd name="connsiteY83" fmla="*/ 1590675 h 4429260"/>
                    <a:gd name="connsiteX84" fmla="*/ 135277 w 4519987"/>
                    <a:gd name="connsiteY84" fmla="*/ 1504950 h 4429260"/>
                    <a:gd name="connsiteX85" fmla="*/ 154327 w 4519987"/>
                    <a:gd name="connsiteY85" fmla="*/ 1419225 h 4429260"/>
                    <a:gd name="connsiteX86" fmla="*/ 230527 w 4519987"/>
                    <a:gd name="connsiteY86" fmla="*/ 1276350 h 4429260"/>
                    <a:gd name="connsiteX87" fmla="*/ 240052 w 4519987"/>
                    <a:gd name="connsiteY87" fmla="*/ 1247775 h 4429260"/>
                    <a:gd name="connsiteX88" fmla="*/ 268627 w 4519987"/>
                    <a:gd name="connsiteY88" fmla="*/ 1200150 h 4429260"/>
                    <a:gd name="connsiteX89" fmla="*/ 287677 w 4519987"/>
                    <a:gd name="connsiteY89" fmla="*/ 1152525 h 4429260"/>
                    <a:gd name="connsiteX90" fmla="*/ 316252 w 4519987"/>
                    <a:gd name="connsiteY90" fmla="*/ 1114425 h 4429260"/>
                    <a:gd name="connsiteX91" fmla="*/ 363877 w 4519987"/>
                    <a:gd name="connsiteY91" fmla="*/ 1038225 h 4429260"/>
                    <a:gd name="connsiteX92" fmla="*/ 382927 w 4519987"/>
                    <a:gd name="connsiteY92" fmla="*/ 1009650 h 4429260"/>
                    <a:gd name="connsiteX93" fmla="*/ 440077 w 4519987"/>
                    <a:gd name="connsiteY93" fmla="*/ 904875 h 4429260"/>
                    <a:gd name="connsiteX94" fmla="*/ 478177 w 4519987"/>
                    <a:gd name="connsiteY94" fmla="*/ 857250 h 4429260"/>
                    <a:gd name="connsiteX95" fmla="*/ 497227 w 4519987"/>
                    <a:gd name="connsiteY95" fmla="*/ 828675 h 4429260"/>
                    <a:gd name="connsiteX96" fmla="*/ 535327 w 4519987"/>
                    <a:gd name="connsiteY96" fmla="*/ 800100 h 4429260"/>
                    <a:gd name="connsiteX97" fmla="*/ 602002 w 4519987"/>
                    <a:gd name="connsiteY97" fmla="*/ 733425 h 4429260"/>
                    <a:gd name="connsiteX98" fmla="*/ 668677 w 4519987"/>
                    <a:gd name="connsiteY98" fmla="*/ 676275 h 4429260"/>
                    <a:gd name="connsiteX99" fmla="*/ 697252 w 4519987"/>
                    <a:gd name="connsiteY99" fmla="*/ 657225 h 4429260"/>
                    <a:gd name="connsiteX100" fmla="*/ 840127 w 4519987"/>
                    <a:gd name="connsiteY100" fmla="*/ 533400 h 4429260"/>
                    <a:gd name="connsiteX101" fmla="*/ 887752 w 4519987"/>
                    <a:gd name="connsiteY101" fmla="*/ 504825 h 4429260"/>
                    <a:gd name="connsiteX102" fmla="*/ 1167152 w 4519987"/>
                    <a:gd name="connsiteY102" fmla="*/ 311150 h 4429260"/>
                    <a:gd name="connsiteX103" fmla="*/ 1268752 w 4519987"/>
                    <a:gd name="connsiteY103" fmla="*/ 285750 h 4429260"/>
                    <a:gd name="connsiteX104" fmla="*/ 1411627 w 4519987"/>
                    <a:gd name="connsiteY104" fmla="*/ 190500 h 4429260"/>
                    <a:gd name="connsiteX105" fmla="*/ 1449727 w 4519987"/>
                    <a:gd name="connsiteY105" fmla="*/ 161925 h 4429260"/>
                    <a:gd name="connsiteX106" fmla="*/ 1525927 w 4519987"/>
                    <a:gd name="connsiteY106" fmla="*/ 152400 h 4429260"/>
                    <a:gd name="connsiteX107" fmla="*/ 1583077 w 4519987"/>
                    <a:gd name="connsiteY107" fmla="*/ 142875 h 4429260"/>
                    <a:gd name="connsiteX108" fmla="*/ 1716427 w 4519987"/>
                    <a:gd name="connsiteY108" fmla="*/ 123825 h 4429260"/>
                    <a:gd name="connsiteX109" fmla="*/ 1811677 w 4519987"/>
                    <a:gd name="connsiteY109" fmla="*/ 114300 h 4429260"/>
                    <a:gd name="connsiteX110" fmla="*/ 1859302 w 4519987"/>
                    <a:gd name="connsiteY110" fmla="*/ 104775 h 4429260"/>
                    <a:gd name="connsiteX111" fmla="*/ 1916452 w 4519987"/>
                    <a:gd name="connsiteY111" fmla="*/ 95250 h 4429260"/>
                    <a:gd name="connsiteX112" fmla="*/ 2030752 w 4519987"/>
                    <a:gd name="connsiteY112" fmla="*/ 66675 h 4429260"/>
                    <a:gd name="connsiteX113" fmla="*/ 2097427 w 4519987"/>
                    <a:gd name="connsiteY113" fmla="*/ 47625 h 4429260"/>
                    <a:gd name="connsiteX114" fmla="*/ 2164102 w 4519987"/>
                    <a:gd name="connsiteY114" fmla="*/ 38100 h 4429260"/>
                    <a:gd name="connsiteX115" fmla="*/ 2392702 w 4519987"/>
                    <a:gd name="connsiteY115" fmla="*/ 28575 h 4429260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687852 w 4519987"/>
                    <a:gd name="connsiteY45" fmla="*/ 4343400 h 4429225"/>
                    <a:gd name="connsiteX46" fmla="*/ 1573552 w 4519987"/>
                    <a:gd name="connsiteY46" fmla="*/ 4305300 h 4429225"/>
                    <a:gd name="connsiteX47" fmla="*/ 1402102 w 4519987"/>
                    <a:gd name="connsiteY47" fmla="*/ 4276725 h 4429225"/>
                    <a:gd name="connsiteX48" fmla="*/ 1287802 w 4519987"/>
                    <a:gd name="connsiteY48" fmla="*/ 4229100 h 4429225"/>
                    <a:gd name="connsiteX49" fmla="*/ 1221127 w 4519987"/>
                    <a:gd name="connsiteY49" fmla="*/ 4200525 h 4429225"/>
                    <a:gd name="connsiteX50" fmla="*/ 1144927 w 4519987"/>
                    <a:gd name="connsiteY50" fmla="*/ 4171950 h 4429225"/>
                    <a:gd name="connsiteX51" fmla="*/ 1087777 w 4519987"/>
                    <a:gd name="connsiteY51" fmla="*/ 4143375 h 4429225"/>
                    <a:gd name="connsiteX52" fmla="*/ 1030627 w 4519987"/>
                    <a:gd name="connsiteY52" fmla="*/ 4124325 h 4429225"/>
                    <a:gd name="connsiteX53" fmla="*/ 925852 w 4519987"/>
                    <a:gd name="connsiteY53" fmla="*/ 4067175 h 4429225"/>
                    <a:gd name="connsiteX54" fmla="*/ 830602 w 4519987"/>
                    <a:gd name="connsiteY54" fmla="*/ 3981450 h 4429225"/>
                    <a:gd name="connsiteX55" fmla="*/ 763927 w 4519987"/>
                    <a:gd name="connsiteY55" fmla="*/ 3914775 h 4429225"/>
                    <a:gd name="connsiteX56" fmla="*/ 725827 w 4519987"/>
                    <a:gd name="connsiteY56" fmla="*/ 3876675 h 4429225"/>
                    <a:gd name="connsiteX57" fmla="*/ 697252 w 4519987"/>
                    <a:gd name="connsiteY57" fmla="*/ 3838575 h 4429225"/>
                    <a:gd name="connsiteX58" fmla="*/ 640102 w 4519987"/>
                    <a:gd name="connsiteY58" fmla="*/ 3781425 h 4429225"/>
                    <a:gd name="connsiteX59" fmla="*/ 611527 w 4519987"/>
                    <a:gd name="connsiteY59" fmla="*/ 3733800 h 4429225"/>
                    <a:gd name="connsiteX60" fmla="*/ 554377 w 4519987"/>
                    <a:gd name="connsiteY60" fmla="*/ 3657600 h 4429225"/>
                    <a:gd name="connsiteX61" fmla="*/ 525802 w 4519987"/>
                    <a:gd name="connsiteY61" fmla="*/ 3609975 h 4429225"/>
                    <a:gd name="connsiteX62" fmla="*/ 497227 w 4519987"/>
                    <a:gd name="connsiteY62" fmla="*/ 3552825 h 4429225"/>
                    <a:gd name="connsiteX63" fmla="*/ 440077 w 4519987"/>
                    <a:gd name="connsiteY63" fmla="*/ 3495675 h 4429225"/>
                    <a:gd name="connsiteX64" fmla="*/ 411502 w 4519987"/>
                    <a:gd name="connsiteY64" fmla="*/ 3448050 h 4429225"/>
                    <a:gd name="connsiteX65" fmla="*/ 278152 w 4519987"/>
                    <a:gd name="connsiteY65" fmla="*/ 3257550 h 4429225"/>
                    <a:gd name="connsiteX66" fmla="*/ 249577 w 4519987"/>
                    <a:gd name="connsiteY66" fmla="*/ 3200400 h 4429225"/>
                    <a:gd name="connsiteX67" fmla="*/ 240052 w 4519987"/>
                    <a:gd name="connsiteY67" fmla="*/ 3162300 h 4429225"/>
                    <a:gd name="connsiteX68" fmla="*/ 221002 w 4519987"/>
                    <a:gd name="connsiteY68" fmla="*/ 3105150 h 4429225"/>
                    <a:gd name="connsiteX69" fmla="*/ 173377 w 4519987"/>
                    <a:gd name="connsiteY69" fmla="*/ 3019425 h 4429225"/>
                    <a:gd name="connsiteX70" fmla="*/ 144802 w 4519987"/>
                    <a:gd name="connsiteY70" fmla="*/ 2924175 h 4429225"/>
                    <a:gd name="connsiteX71" fmla="*/ 68602 w 4519987"/>
                    <a:gd name="connsiteY71" fmla="*/ 2724150 h 4429225"/>
                    <a:gd name="connsiteX72" fmla="*/ 49552 w 4519987"/>
                    <a:gd name="connsiteY72" fmla="*/ 2638425 h 4429225"/>
                    <a:gd name="connsiteX73" fmla="*/ 40027 w 4519987"/>
                    <a:gd name="connsiteY73" fmla="*/ 2562225 h 4429225"/>
                    <a:gd name="connsiteX74" fmla="*/ 30502 w 4519987"/>
                    <a:gd name="connsiteY74" fmla="*/ 2514600 h 4429225"/>
                    <a:gd name="connsiteX75" fmla="*/ 11452 w 4519987"/>
                    <a:gd name="connsiteY75" fmla="*/ 2400300 h 4429225"/>
                    <a:gd name="connsiteX76" fmla="*/ 20977 w 4519987"/>
                    <a:gd name="connsiteY76" fmla="*/ 1905000 h 4429225"/>
                    <a:gd name="connsiteX77" fmla="*/ 30502 w 4519987"/>
                    <a:gd name="connsiteY77" fmla="*/ 1838325 h 4429225"/>
                    <a:gd name="connsiteX78" fmla="*/ 49552 w 4519987"/>
                    <a:gd name="connsiteY78" fmla="*/ 1781175 h 4429225"/>
                    <a:gd name="connsiteX79" fmla="*/ 59077 w 4519987"/>
                    <a:gd name="connsiteY79" fmla="*/ 1743075 h 4429225"/>
                    <a:gd name="connsiteX80" fmla="*/ 78127 w 4519987"/>
                    <a:gd name="connsiteY80" fmla="*/ 1685925 h 4429225"/>
                    <a:gd name="connsiteX81" fmla="*/ 87652 w 4519987"/>
                    <a:gd name="connsiteY81" fmla="*/ 1638300 h 4429225"/>
                    <a:gd name="connsiteX82" fmla="*/ 106702 w 4519987"/>
                    <a:gd name="connsiteY82" fmla="*/ 1590675 h 4429225"/>
                    <a:gd name="connsiteX83" fmla="*/ 135277 w 4519987"/>
                    <a:gd name="connsiteY83" fmla="*/ 1504950 h 4429225"/>
                    <a:gd name="connsiteX84" fmla="*/ 154327 w 4519987"/>
                    <a:gd name="connsiteY84" fmla="*/ 1419225 h 4429225"/>
                    <a:gd name="connsiteX85" fmla="*/ 230527 w 4519987"/>
                    <a:gd name="connsiteY85" fmla="*/ 1276350 h 4429225"/>
                    <a:gd name="connsiteX86" fmla="*/ 240052 w 4519987"/>
                    <a:gd name="connsiteY86" fmla="*/ 1247775 h 4429225"/>
                    <a:gd name="connsiteX87" fmla="*/ 268627 w 4519987"/>
                    <a:gd name="connsiteY87" fmla="*/ 1200150 h 4429225"/>
                    <a:gd name="connsiteX88" fmla="*/ 287677 w 4519987"/>
                    <a:gd name="connsiteY88" fmla="*/ 1152525 h 4429225"/>
                    <a:gd name="connsiteX89" fmla="*/ 316252 w 4519987"/>
                    <a:gd name="connsiteY89" fmla="*/ 1114425 h 4429225"/>
                    <a:gd name="connsiteX90" fmla="*/ 363877 w 4519987"/>
                    <a:gd name="connsiteY90" fmla="*/ 1038225 h 4429225"/>
                    <a:gd name="connsiteX91" fmla="*/ 382927 w 4519987"/>
                    <a:gd name="connsiteY91" fmla="*/ 1009650 h 4429225"/>
                    <a:gd name="connsiteX92" fmla="*/ 440077 w 4519987"/>
                    <a:gd name="connsiteY92" fmla="*/ 904875 h 4429225"/>
                    <a:gd name="connsiteX93" fmla="*/ 478177 w 4519987"/>
                    <a:gd name="connsiteY93" fmla="*/ 857250 h 4429225"/>
                    <a:gd name="connsiteX94" fmla="*/ 497227 w 4519987"/>
                    <a:gd name="connsiteY94" fmla="*/ 828675 h 4429225"/>
                    <a:gd name="connsiteX95" fmla="*/ 535327 w 4519987"/>
                    <a:gd name="connsiteY95" fmla="*/ 800100 h 4429225"/>
                    <a:gd name="connsiteX96" fmla="*/ 602002 w 4519987"/>
                    <a:gd name="connsiteY96" fmla="*/ 733425 h 4429225"/>
                    <a:gd name="connsiteX97" fmla="*/ 668677 w 4519987"/>
                    <a:gd name="connsiteY97" fmla="*/ 676275 h 4429225"/>
                    <a:gd name="connsiteX98" fmla="*/ 697252 w 4519987"/>
                    <a:gd name="connsiteY98" fmla="*/ 657225 h 4429225"/>
                    <a:gd name="connsiteX99" fmla="*/ 840127 w 4519987"/>
                    <a:gd name="connsiteY99" fmla="*/ 533400 h 4429225"/>
                    <a:gd name="connsiteX100" fmla="*/ 887752 w 4519987"/>
                    <a:gd name="connsiteY100" fmla="*/ 504825 h 4429225"/>
                    <a:gd name="connsiteX101" fmla="*/ 1167152 w 4519987"/>
                    <a:gd name="connsiteY101" fmla="*/ 311150 h 4429225"/>
                    <a:gd name="connsiteX102" fmla="*/ 1268752 w 4519987"/>
                    <a:gd name="connsiteY102" fmla="*/ 285750 h 4429225"/>
                    <a:gd name="connsiteX103" fmla="*/ 1411627 w 4519987"/>
                    <a:gd name="connsiteY103" fmla="*/ 190500 h 4429225"/>
                    <a:gd name="connsiteX104" fmla="*/ 1449727 w 4519987"/>
                    <a:gd name="connsiteY104" fmla="*/ 161925 h 4429225"/>
                    <a:gd name="connsiteX105" fmla="*/ 1525927 w 4519987"/>
                    <a:gd name="connsiteY105" fmla="*/ 152400 h 4429225"/>
                    <a:gd name="connsiteX106" fmla="*/ 1583077 w 4519987"/>
                    <a:gd name="connsiteY106" fmla="*/ 142875 h 4429225"/>
                    <a:gd name="connsiteX107" fmla="*/ 1716427 w 4519987"/>
                    <a:gd name="connsiteY107" fmla="*/ 123825 h 4429225"/>
                    <a:gd name="connsiteX108" fmla="*/ 1811677 w 4519987"/>
                    <a:gd name="connsiteY108" fmla="*/ 114300 h 4429225"/>
                    <a:gd name="connsiteX109" fmla="*/ 1859302 w 4519987"/>
                    <a:gd name="connsiteY109" fmla="*/ 104775 h 4429225"/>
                    <a:gd name="connsiteX110" fmla="*/ 1916452 w 4519987"/>
                    <a:gd name="connsiteY110" fmla="*/ 95250 h 4429225"/>
                    <a:gd name="connsiteX111" fmla="*/ 2030752 w 4519987"/>
                    <a:gd name="connsiteY111" fmla="*/ 66675 h 4429225"/>
                    <a:gd name="connsiteX112" fmla="*/ 2097427 w 4519987"/>
                    <a:gd name="connsiteY112" fmla="*/ 47625 h 4429225"/>
                    <a:gd name="connsiteX113" fmla="*/ 2164102 w 4519987"/>
                    <a:gd name="connsiteY113" fmla="*/ 38100 h 4429225"/>
                    <a:gd name="connsiteX114" fmla="*/ 2392702 w 4519987"/>
                    <a:gd name="connsiteY11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402102 w 4519987"/>
                    <a:gd name="connsiteY46" fmla="*/ 4276725 h 4429225"/>
                    <a:gd name="connsiteX47" fmla="*/ 1287802 w 4519987"/>
                    <a:gd name="connsiteY47" fmla="*/ 4229100 h 4429225"/>
                    <a:gd name="connsiteX48" fmla="*/ 1221127 w 4519987"/>
                    <a:gd name="connsiteY48" fmla="*/ 4200525 h 4429225"/>
                    <a:gd name="connsiteX49" fmla="*/ 1144927 w 4519987"/>
                    <a:gd name="connsiteY49" fmla="*/ 4171950 h 4429225"/>
                    <a:gd name="connsiteX50" fmla="*/ 1087777 w 4519987"/>
                    <a:gd name="connsiteY50" fmla="*/ 4143375 h 4429225"/>
                    <a:gd name="connsiteX51" fmla="*/ 1030627 w 4519987"/>
                    <a:gd name="connsiteY51" fmla="*/ 4124325 h 4429225"/>
                    <a:gd name="connsiteX52" fmla="*/ 925852 w 4519987"/>
                    <a:gd name="connsiteY52" fmla="*/ 4067175 h 4429225"/>
                    <a:gd name="connsiteX53" fmla="*/ 830602 w 4519987"/>
                    <a:gd name="connsiteY53" fmla="*/ 3981450 h 4429225"/>
                    <a:gd name="connsiteX54" fmla="*/ 763927 w 4519987"/>
                    <a:gd name="connsiteY54" fmla="*/ 3914775 h 4429225"/>
                    <a:gd name="connsiteX55" fmla="*/ 725827 w 4519987"/>
                    <a:gd name="connsiteY55" fmla="*/ 3876675 h 4429225"/>
                    <a:gd name="connsiteX56" fmla="*/ 697252 w 4519987"/>
                    <a:gd name="connsiteY56" fmla="*/ 3838575 h 4429225"/>
                    <a:gd name="connsiteX57" fmla="*/ 640102 w 4519987"/>
                    <a:gd name="connsiteY57" fmla="*/ 3781425 h 4429225"/>
                    <a:gd name="connsiteX58" fmla="*/ 611527 w 4519987"/>
                    <a:gd name="connsiteY58" fmla="*/ 3733800 h 4429225"/>
                    <a:gd name="connsiteX59" fmla="*/ 554377 w 4519987"/>
                    <a:gd name="connsiteY59" fmla="*/ 3657600 h 4429225"/>
                    <a:gd name="connsiteX60" fmla="*/ 525802 w 4519987"/>
                    <a:gd name="connsiteY60" fmla="*/ 3609975 h 4429225"/>
                    <a:gd name="connsiteX61" fmla="*/ 497227 w 4519987"/>
                    <a:gd name="connsiteY61" fmla="*/ 3552825 h 4429225"/>
                    <a:gd name="connsiteX62" fmla="*/ 440077 w 4519987"/>
                    <a:gd name="connsiteY62" fmla="*/ 3495675 h 4429225"/>
                    <a:gd name="connsiteX63" fmla="*/ 411502 w 4519987"/>
                    <a:gd name="connsiteY63" fmla="*/ 3448050 h 4429225"/>
                    <a:gd name="connsiteX64" fmla="*/ 278152 w 4519987"/>
                    <a:gd name="connsiteY64" fmla="*/ 3257550 h 4429225"/>
                    <a:gd name="connsiteX65" fmla="*/ 249577 w 4519987"/>
                    <a:gd name="connsiteY65" fmla="*/ 3200400 h 4429225"/>
                    <a:gd name="connsiteX66" fmla="*/ 240052 w 4519987"/>
                    <a:gd name="connsiteY66" fmla="*/ 3162300 h 4429225"/>
                    <a:gd name="connsiteX67" fmla="*/ 221002 w 4519987"/>
                    <a:gd name="connsiteY67" fmla="*/ 3105150 h 4429225"/>
                    <a:gd name="connsiteX68" fmla="*/ 173377 w 4519987"/>
                    <a:gd name="connsiteY68" fmla="*/ 3019425 h 4429225"/>
                    <a:gd name="connsiteX69" fmla="*/ 144802 w 4519987"/>
                    <a:gd name="connsiteY69" fmla="*/ 2924175 h 4429225"/>
                    <a:gd name="connsiteX70" fmla="*/ 68602 w 4519987"/>
                    <a:gd name="connsiteY70" fmla="*/ 2724150 h 4429225"/>
                    <a:gd name="connsiteX71" fmla="*/ 49552 w 4519987"/>
                    <a:gd name="connsiteY71" fmla="*/ 2638425 h 4429225"/>
                    <a:gd name="connsiteX72" fmla="*/ 40027 w 4519987"/>
                    <a:gd name="connsiteY72" fmla="*/ 2562225 h 4429225"/>
                    <a:gd name="connsiteX73" fmla="*/ 30502 w 4519987"/>
                    <a:gd name="connsiteY73" fmla="*/ 2514600 h 4429225"/>
                    <a:gd name="connsiteX74" fmla="*/ 11452 w 4519987"/>
                    <a:gd name="connsiteY74" fmla="*/ 2400300 h 4429225"/>
                    <a:gd name="connsiteX75" fmla="*/ 20977 w 4519987"/>
                    <a:gd name="connsiteY75" fmla="*/ 1905000 h 4429225"/>
                    <a:gd name="connsiteX76" fmla="*/ 30502 w 4519987"/>
                    <a:gd name="connsiteY76" fmla="*/ 1838325 h 4429225"/>
                    <a:gd name="connsiteX77" fmla="*/ 49552 w 4519987"/>
                    <a:gd name="connsiteY77" fmla="*/ 1781175 h 4429225"/>
                    <a:gd name="connsiteX78" fmla="*/ 59077 w 4519987"/>
                    <a:gd name="connsiteY78" fmla="*/ 1743075 h 4429225"/>
                    <a:gd name="connsiteX79" fmla="*/ 78127 w 4519987"/>
                    <a:gd name="connsiteY79" fmla="*/ 1685925 h 4429225"/>
                    <a:gd name="connsiteX80" fmla="*/ 87652 w 4519987"/>
                    <a:gd name="connsiteY80" fmla="*/ 1638300 h 4429225"/>
                    <a:gd name="connsiteX81" fmla="*/ 106702 w 4519987"/>
                    <a:gd name="connsiteY81" fmla="*/ 1590675 h 4429225"/>
                    <a:gd name="connsiteX82" fmla="*/ 135277 w 4519987"/>
                    <a:gd name="connsiteY82" fmla="*/ 1504950 h 4429225"/>
                    <a:gd name="connsiteX83" fmla="*/ 154327 w 4519987"/>
                    <a:gd name="connsiteY83" fmla="*/ 1419225 h 4429225"/>
                    <a:gd name="connsiteX84" fmla="*/ 230527 w 4519987"/>
                    <a:gd name="connsiteY84" fmla="*/ 1276350 h 4429225"/>
                    <a:gd name="connsiteX85" fmla="*/ 240052 w 4519987"/>
                    <a:gd name="connsiteY85" fmla="*/ 1247775 h 4429225"/>
                    <a:gd name="connsiteX86" fmla="*/ 268627 w 4519987"/>
                    <a:gd name="connsiteY86" fmla="*/ 1200150 h 4429225"/>
                    <a:gd name="connsiteX87" fmla="*/ 287677 w 4519987"/>
                    <a:gd name="connsiteY87" fmla="*/ 1152525 h 4429225"/>
                    <a:gd name="connsiteX88" fmla="*/ 316252 w 4519987"/>
                    <a:gd name="connsiteY88" fmla="*/ 1114425 h 4429225"/>
                    <a:gd name="connsiteX89" fmla="*/ 363877 w 4519987"/>
                    <a:gd name="connsiteY89" fmla="*/ 1038225 h 4429225"/>
                    <a:gd name="connsiteX90" fmla="*/ 382927 w 4519987"/>
                    <a:gd name="connsiteY90" fmla="*/ 1009650 h 4429225"/>
                    <a:gd name="connsiteX91" fmla="*/ 440077 w 4519987"/>
                    <a:gd name="connsiteY91" fmla="*/ 904875 h 4429225"/>
                    <a:gd name="connsiteX92" fmla="*/ 478177 w 4519987"/>
                    <a:gd name="connsiteY92" fmla="*/ 857250 h 4429225"/>
                    <a:gd name="connsiteX93" fmla="*/ 497227 w 4519987"/>
                    <a:gd name="connsiteY93" fmla="*/ 828675 h 4429225"/>
                    <a:gd name="connsiteX94" fmla="*/ 535327 w 4519987"/>
                    <a:gd name="connsiteY94" fmla="*/ 800100 h 4429225"/>
                    <a:gd name="connsiteX95" fmla="*/ 602002 w 4519987"/>
                    <a:gd name="connsiteY95" fmla="*/ 733425 h 4429225"/>
                    <a:gd name="connsiteX96" fmla="*/ 668677 w 4519987"/>
                    <a:gd name="connsiteY96" fmla="*/ 676275 h 4429225"/>
                    <a:gd name="connsiteX97" fmla="*/ 697252 w 4519987"/>
                    <a:gd name="connsiteY97" fmla="*/ 657225 h 4429225"/>
                    <a:gd name="connsiteX98" fmla="*/ 840127 w 4519987"/>
                    <a:gd name="connsiteY98" fmla="*/ 533400 h 4429225"/>
                    <a:gd name="connsiteX99" fmla="*/ 887752 w 4519987"/>
                    <a:gd name="connsiteY99" fmla="*/ 504825 h 4429225"/>
                    <a:gd name="connsiteX100" fmla="*/ 1167152 w 4519987"/>
                    <a:gd name="connsiteY100" fmla="*/ 311150 h 4429225"/>
                    <a:gd name="connsiteX101" fmla="*/ 1268752 w 4519987"/>
                    <a:gd name="connsiteY101" fmla="*/ 285750 h 4429225"/>
                    <a:gd name="connsiteX102" fmla="*/ 1411627 w 4519987"/>
                    <a:gd name="connsiteY102" fmla="*/ 190500 h 4429225"/>
                    <a:gd name="connsiteX103" fmla="*/ 1449727 w 4519987"/>
                    <a:gd name="connsiteY103" fmla="*/ 161925 h 4429225"/>
                    <a:gd name="connsiteX104" fmla="*/ 1525927 w 4519987"/>
                    <a:gd name="connsiteY104" fmla="*/ 152400 h 4429225"/>
                    <a:gd name="connsiteX105" fmla="*/ 1583077 w 4519987"/>
                    <a:gd name="connsiteY105" fmla="*/ 142875 h 4429225"/>
                    <a:gd name="connsiteX106" fmla="*/ 1716427 w 4519987"/>
                    <a:gd name="connsiteY106" fmla="*/ 123825 h 4429225"/>
                    <a:gd name="connsiteX107" fmla="*/ 1811677 w 4519987"/>
                    <a:gd name="connsiteY107" fmla="*/ 114300 h 4429225"/>
                    <a:gd name="connsiteX108" fmla="*/ 1859302 w 4519987"/>
                    <a:gd name="connsiteY108" fmla="*/ 104775 h 4429225"/>
                    <a:gd name="connsiteX109" fmla="*/ 1916452 w 4519987"/>
                    <a:gd name="connsiteY109" fmla="*/ 95250 h 4429225"/>
                    <a:gd name="connsiteX110" fmla="*/ 2030752 w 4519987"/>
                    <a:gd name="connsiteY110" fmla="*/ 66675 h 4429225"/>
                    <a:gd name="connsiteX111" fmla="*/ 2097427 w 4519987"/>
                    <a:gd name="connsiteY111" fmla="*/ 47625 h 4429225"/>
                    <a:gd name="connsiteX112" fmla="*/ 2164102 w 4519987"/>
                    <a:gd name="connsiteY112" fmla="*/ 38100 h 4429225"/>
                    <a:gd name="connsiteX113" fmla="*/ 2392702 w 4519987"/>
                    <a:gd name="connsiteY11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144927 w 4519987"/>
                    <a:gd name="connsiteY48" fmla="*/ 4171950 h 4429225"/>
                    <a:gd name="connsiteX49" fmla="*/ 1087777 w 4519987"/>
                    <a:gd name="connsiteY49" fmla="*/ 4143375 h 4429225"/>
                    <a:gd name="connsiteX50" fmla="*/ 1030627 w 4519987"/>
                    <a:gd name="connsiteY50" fmla="*/ 4124325 h 4429225"/>
                    <a:gd name="connsiteX51" fmla="*/ 925852 w 4519987"/>
                    <a:gd name="connsiteY51" fmla="*/ 4067175 h 4429225"/>
                    <a:gd name="connsiteX52" fmla="*/ 830602 w 4519987"/>
                    <a:gd name="connsiteY52" fmla="*/ 3981450 h 4429225"/>
                    <a:gd name="connsiteX53" fmla="*/ 763927 w 4519987"/>
                    <a:gd name="connsiteY53" fmla="*/ 3914775 h 4429225"/>
                    <a:gd name="connsiteX54" fmla="*/ 725827 w 4519987"/>
                    <a:gd name="connsiteY54" fmla="*/ 3876675 h 4429225"/>
                    <a:gd name="connsiteX55" fmla="*/ 697252 w 4519987"/>
                    <a:gd name="connsiteY55" fmla="*/ 3838575 h 4429225"/>
                    <a:gd name="connsiteX56" fmla="*/ 640102 w 4519987"/>
                    <a:gd name="connsiteY56" fmla="*/ 3781425 h 4429225"/>
                    <a:gd name="connsiteX57" fmla="*/ 611527 w 4519987"/>
                    <a:gd name="connsiteY57" fmla="*/ 3733800 h 4429225"/>
                    <a:gd name="connsiteX58" fmla="*/ 554377 w 4519987"/>
                    <a:gd name="connsiteY58" fmla="*/ 3657600 h 4429225"/>
                    <a:gd name="connsiteX59" fmla="*/ 525802 w 4519987"/>
                    <a:gd name="connsiteY59" fmla="*/ 3609975 h 4429225"/>
                    <a:gd name="connsiteX60" fmla="*/ 497227 w 4519987"/>
                    <a:gd name="connsiteY60" fmla="*/ 3552825 h 4429225"/>
                    <a:gd name="connsiteX61" fmla="*/ 440077 w 4519987"/>
                    <a:gd name="connsiteY61" fmla="*/ 3495675 h 4429225"/>
                    <a:gd name="connsiteX62" fmla="*/ 411502 w 4519987"/>
                    <a:gd name="connsiteY62" fmla="*/ 3448050 h 4429225"/>
                    <a:gd name="connsiteX63" fmla="*/ 278152 w 4519987"/>
                    <a:gd name="connsiteY63" fmla="*/ 3257550 h 4429225"/>
                    <a:gd name="connsiteX64" fmla="*/ 249577 w 4519987"/>
                    <a:gd name="connsiteY64" fmla="*/ 3200400 h 4429225"/>
                    <a:gd name="connsiteX65" fmla="*/ 240052 w 4519987"/>
                    <a:gd name="connsiteY65" fmla="*/ 3162300 h 4429225"/>
                    <a:gd name="connsiteX66" fmla="*/ 221002 w 4519987"/>
                    <a:gd name="connsiteY66" fmla="*/ 3105150 h 4429225"/>
                    <a:gd name="connsiteX67" fmla="*/ 173377 w 4519987"/>
                    <a:gd name="connsiteY67" fmla="*/ 3019425 h 4429225"/>
                    <a:gd name="connsiteX68" fmla="*/ 144802 w 4519987"/>
                    <a:gd name="connsiteY68" fmla="*/ 2924175 h 4429225"/>
                    <a:gd name="connsiteX69" fmla="*/ 68602 w 4519987"/>
                    <a:gd name="connsiteY69" fmla="*/ 2724150 h 4429225"/>
                    <a:gd name="connsiteX70" fmla="*/ 49552 w 4519987"/>
                    <a:gd name="connsiteY70" fmla="*/ 2638425 h 4429225"/>
                    <a:gd name="connsiteX71" fmla="*/ 40027 w 4519987"/>
                    <a:gd name="connsiteY71" fmla="*/ 2562225 h 4429225"/>
                    <a:gd name="connsiteX72" fmla="*/ 30502 w 4519987"/>
                    <a:gd name="connsiteY72" fmla="*/ 2514600 h 4429225"/>
                    <a:gd name="connsiteX73" fmla="*/ 11452 w 4519987"/>
                    <a:gd name="connsiteY73" fmla="*/ 2400300 h 4429225"/>
                    <a:gd name="connsiteX74" fmla="*/ 20977 w 4519987"/>
                    <a:gd name="connsiteY74" fmla="*/ 1905000 h 4429225"/>
                    <a:gd name="connsiteX75" fmla="*/ 30502 w 4519987"/>
                    <a:gd name="connsiteY75" fmla="*/ 1838325 h 4429225"/>
                    <a:gd name="connsiteX76" fmla="*/ 49552 w 4519987"/>
                    <a:gd name="connsiteY76" fmla="*/ 1781175 h 4429225"/>
                    <a:gd name="connsiteX77" fmla="*/ 59077 w 4519987"/>
                    <a:gd name="connsiteY77" fmla="*/ 1743075 h 4429225"/>
                    <a:gd name="connsiteX78" fmla="*/ 78127 w 4519987"/>
                    <a:gd name="connsiteY78" fmla="*/ 1685925 h 4429225"/>
                    <a:gd name="connsiteX79" fmla="*/ 87652 w 4519987"/>
                    <a:gd name="connsiteY79" fmla="*/ 1638300 h 4429225"/>
                    <a:gd name="connsiteX80" fmla="*/ 106702 w 4519987"/>
                    <a:gd name="connsiteY80" fmla="*/ 1590675 h 4429225"/>
                    <a:gd name="connsiteX81" fmla="*/ 135277 w 4519987"/>
                    <a:gd name="connsiteY81" fmla="*/ 1504950 h 4429225"/>
                    <a:gd name="connsiteX82" fmla="*/ 154327 w 4519987"/>
                    <a:gd name="connsiteY82" fmla="*/ 1419225 h 4429225"/>
                    <a:gd name="connsiteX83" fmla="*/ 230527 w 4519987"/>
                    <a:gd name="connsiteY83" fmla="*/ 1276350 h 4429225"/>
                    <a:gd name="connsiteX84" fmla="*/ 240052 w 4519987"/>
                    <a:gd name="connsiteY84" fmla="*/ 1247775 h 4429225"/>
                    <a:gd name="connsiteX85" fmla="*/ 268627 w 4519987"/>
                    <a:gd name="connsiteY85" fmla="*/ 1200150 h 4429225"/>
                    <a:gd name="connsiteX86" fmla="*/ 287677 w 4519987"/>
                    <a:gd name="connsiteY86" fmla="*/ 1152525 h 4429225"/>
                    <a:gd name="connsiteX87" fmla="*/ 316252 w 4519987"/>
                    <a:gd name="connsiteY87" fmla="*/ 1114425 h 4429225"/>
                    <a:gd name="connsiteX88" fmla="*/ 363877 w 4519987"/>
                    <a:gd name="connsiteY88" fmla="*/ 1038225 h 4429225"/>
                    <a:gd name="connsiteX89" fmla="*/ 382927 w 4519987"/>
                    <a:gd name="connsiteY89" fmla="*/ 1009650 h 4429225"/>
                    <a:gd name="connsiteX90" fmla="*/ 440077 w 4519987"/>
                    <a:gd name="connsiteY90" fmla="*/ 904875 h 4429225"/>
                    <a:gd name="connsiteX91" fmla="*/ 478177 w 4519987"/>
                    <a:gd name="connsiteY91" fmla="*/ 857250 h 4429225"/>
                    <a:gd name="connsiteX92" fmla="*/ 497227 w 4519987"/>
                    <a:gd name="connsiteY92" fmla="*/ 828675 h 4429225"/>
                    <a:gd name="connsiteX93" fmla="*/ 535327 w 4519987"/>
                    <a:gd name="connsiteY93" fmla="*/ 800100 h 4429225"/>
                    <a:gd name="connsiteX94" fmla="*/ 602002 w 4519987"/>
                    <a:gd name="connsiteY94" fmla="*/ 733425 h 4429225"/>
                    <a:gd name="connsiteX95" fmla="*/ 668677 w 4519987"/>
                    <a:gd name="connsiteY95" fmla="*/ 676275 h 4429225"/>
                    <a:gd name="connsiteX96" fmla="*/ 697252 w 4519987"/>
                    <a:gd name="connsiteY96" fmla="*/ 657225 h 4429225"/>
                    <a:gd name="connsiteX97" fmla="*/ 840127 w 4519987"/>
                    <a:gd name="connsiteY97" fmla="*/ 533400 h 4429225"/>
                    <a:gd name="connsiteX98" fmla="*/ 887752 w 4519987"/>
                    <a:gd name="connsiteY98" fmla="*/ 504825 h 4429225"/>
                    <a:gd name="connsiteX99" fmla="*/ 1167152 w 4519987"/>
                    <a:gd name="connsiteY99" fmla="*/ 311150 h 4429225"/>
                    <a:gd name="connsiteX100" fmla="*/ 1268752 w 4519987"/>
                    <a:gd name="connsiteY100" fmla="*/ 285750 h 4429225"/>
                    <a:gd name="connsiteX101" fmla="*/ 1411627 w 4519987"/>
                    <a:gd name="connsiteY101" fmla="*/ 190500 h 4429225"/>
                    <a:gd name="connsiteX102" fmla="*/ 1449727 w 4519987"/>
                    <a:gd name="connsiteY102" fmla="*/ 161925 h 4429225"/>
                    <a:gd name="connsiteX103" fmla="*/ 1525927 w 4519987"/>
                    <a:gd name="connsiteY103" fmla="*/ 152400 h 4429225"/>
                    <a:gd name="connsiteX104" fmla="*/ 1583077 w 4519987"/>
                    <a:gd name="connsiteY104" fmla="*/ 142875 h 4429225"/>
                    <a:gd name="connsiteX105" fmla="*/ 1716427 w 4519987"/>
                    <a:gd name="connsiteY105" fmla="*/ 123825 h 4429225"/>
                    <a:gd name="connsiteX106" fmla="*/ 1811677 w 4519987"/>
                    <a:gd name="connsiteY106" fmla="*/ 114300 h 4429225"/>
                    <a:gd name="connsiteX107" fmla="*/ 1859302 w 4519987"/>
                    <a:gd name="connsiteY107" fmla="*/ 104775 h 4429225"/>
                    <a:gd name="connsiteX108" fmla="*/ 1916452 w 4519987"/>
                    <a:gd name="connsiteY108" fmla="*/ 95250 h 4429225"/>
                    <a:gd name="connsiteX109" fmla="*/ 2030752 w 4519987"/>
                    <a:gd name="connsiteY109" fmla="*/ 66675 h 4429225"/>
                    <a:gd name="connsiteX110" fmla="*/ 2097427 w 4519987"/>
                    <a:gd name="connsiteY110" fmla="*/ 47625 h 4429225"/>
                    <a:gd name="connsiteX111" fmla="*/ 2164102 w 4519987"/>
                    <a:gd name="connsiteY111" fmla="*/ 38100 h 4429225"/>
                    <a:gd name="connsiteX112" fmla="*/ 2392702 w 4519987"/>
                    <a:gd name="connsiteY11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087777 w 4519987"/>
                    <a:gd name="connsiteY48" fmla="*/ 4143375 h 4429225"/>
                    <a:gd name="connsiteX49" fmla="*/ 1030627 w 4519987"/>
                    <a:gd name="connsiteY49" fmla="*/ 4124325 h 4429225"/>
                    <a:gd name="connsiteX50" fmla="*/ 925852 w 4519987"/>
                    <a:gd name="connsiteY50" fmla="*/ 4067175 h 4429225"/>
                    <a:gd name="connsiteX51" fmla="*/ 830602 w 4519987"/>
                    <a:gd name="connsiteY51" fmla="*/ 3981450 h 4429225"/>
                    <a:gd name="connsiteX52" fmla="*/ 763927 w 4519987"/>
                    <a:gd name="connsiteY52" fmla="*/ 3914775 h 4429225"/>
                    <a:gd name="connsiteX53" fmla="*/ 725827 w 4519987"/>
                    <a:gd name="connsiteY53" fmla="*/ 3876675 h 4429225"/>
                    <a:gd name="connsiteX54" fmla="*/ 697252 w 4519987"/>
                    <a:gd name="connsiteY54" fmla="*/ 3838575 h 4429225"/>
                    <a:gd name="connsiteX55" fmla="*/ 640102 w 4519987"/>
                    <a:gd name="connsiteY55" fmla="*/ 3781425 h 4429225"/>
                    <a:gd name="connsiteX56" fmla="*/ 611527 w 4519987"/>
                    <a:gd name="connsiteY56" fmla="*/ 3733800 h 4429225"/>
                    <a:gd name="connsiteX57" fmla="*/ 554377 w 4519987"/>
                    <a:gd name="connsiteY57" fmla="*/ 3657600 h 4429225"/>
                    <a:gd name="connsiteX58" fmla="*/ 525802 w 4519987"/>
                    <a:gd name="connsiteY58" fmla="*/ 3609975 h 4429225"/>
                    <a:gd name="connsiteX59" fmla="*/ 497227 w 4519987"/>
                    <a:gd name="connsiteY59" fmla="*/ 3552825 h 4429225"/>
                    <a:gd name="connsiteX60" fmla="*/ 440077 w 4519987"/>
                    <a:gd name="connsiteY60" fmla="*/ 3495675 h 4429225"/>
                    <a:gd name="connsiteX61" fmla="*/ 411502 w 4519987"/>
                    <a:gd name="connsiteY61" fmla="*/ 3448050 h 4429225"/>
                    <a:gd name="connsiteX62" fmla="*/ 278152 w 4519987"/>
                    <a:gd name="connsiteY62" fmla="*/ 3257550 h 4429225"/>
                    <a:gd name="connsiteX63" fmla="*/ 249577 w 4519987"/>
                    <a:gd name="connsiteY63" fmla="*/ 3200400 h 4429225"/>
                    <a:gd name="connsiteX64" fmla="*/ 240052 w 4519987"/>
                    <a:gd name="connsiteY64" fmla="*/ 3162300 h 4429225"/>
                    <a:gd name="connsiteX65" fmla="*/ 221002 w 4519987"/>
                    <a:gd name="connsiteY65" fmla="*/ 3105150 h 4429225"/>
                    <a:gd name="connsiteX66" fmla="*/ 173377 w 4519987"/>
                    <a:gd name="connsiteY66" fmla="*/ 3019425 h 4429225"/>
                    <a:gd name="connsiteX67" fmla="*/ 144802 w 4519987"/>
                    <a:gd name="connsiteY67" fmla="*/ 2924175 h 4429225"/>
                    <a:gd name="connsiteX68" fmla="*/ 68602 w 4519987"/>
                    <a:gd name="connsiteY68" fmla="*/ 2724150 h 4429225"/>
                    <a:gd name="connsiteX69" fmla="*/ 49552 w 4519987"/>
                    <a:gd name="connsiteY69" fmla="*/ 2638425 h 4429225"/>
                    <a:gd name="connsiteX70" fmla="*/ 40027 w 4519987"/>
                    <a:gd name="connsiteY70" fmla="*/ 2562225 h 4429225"/>
                    <a:gd name="connsiteX71" fmla="*/ 30502 w 4519987"/>
                    <a:gd name="connsiteY71" fmla="*/ 2514600 h 4429225"/>
                    <a:gd name="connsiteX72" fmla="*/ 11452 w 4519987"/>
                    <a:gd name="connsiteY72" fmla="*/ 2400300 h 4429225"/>
                    <a:gd name="connsiteX73" fmla="*/ 20977 w 4519987"/>
                    <a:gd name="connsiteY73" fmla="*/ 1905000 h 4429225"/>
                    <a:gd name="connsiteX74" fmla="*/ 30502 w 4519987"/>
                    <a:gd name="connsiteY74" fmla="*/ 1838325 h 4429225"/>
                    <a:gd name="connsiteX75" fmla="*/ 49552 w 4519987"/>
                    <a:gd name="connsiteY75" fmla="*/ 1781175 h 4429225"/>
                    <a:gd name="connsiteX76" fmla="*/ 59077 w 4519987"/>
                    <a:gd name="connsiteY76" fmla="*/ 1743075 h 4429225"/>
                    <a:gd name="connsiteX77" fmla="*/ 78127 w 4519987"/>
                    <a:gd name="connsiteY77" fmla="*/ 1685925 h 4429225"/>
                    <a:gd name="connsiteX78" fmla="*/ 87652 w 4519987"/>
                    <a:gd name="connsiteY78" fmla="*/ 1638300 h 4429225"/>
                    <a:gd name="connsiteX79" fmla="*/ 106702 w 4519987"/>
                    <a:gd name="connsiteY79" fmla="*/ 1590675 h 4429225"/>
                    <a:gd name="connsiteX80" fmla="*/ 135277 w 4519987"/>
                    <a:gd name="connsiteY80" fmla="*/ 1504950 h 4429225"/>
                    <a:gd name="connsiteX81" fmla="*/ 154327 w 4519987"/>
                    <a:gd name="connsiteY81" fmla="*/ 1419225 h 4429225"/>
                    <a:gd name="connsiteX82" fmla="*/ 230527 w 4519987"/>
                    <a:gd name="connsiteY82" fmla="*/ 1276350 h 4429225"/>
                    <a:gd name="connsiteX83" fmla="*/ 240052 w 4519987"/>
                    <a:gd name="connsiteY83" fmla="*/ 1247775 h 4429225"/>
                    <a:gd name="connsiteX84" fmla="*/ 268627 w 4519987"/>
                    <a:gd name="connsiteY84" fmla="*/ 1200150 h 4429225"/>
                    <a:gd name="connsiteX85" fmla="*/ 287677 w 4519987"/>
                    <a:gd name="connsiteY85" fmla="*/ 1152525 h 4429225"/>
                    <a:gd name="connsiteX86" fmla="*/ 316252 w 4519987"/>
                    <a:gd name="connsiteY86" fmla="*/ 1114425 h 4429225"/>
                    <a:gd name="connsiteX87" fmla="*/ 363877 w 4519987"/>
                    <a:gd name="connsiteY87" fmla="*/ 1038225 h 4429225"/>
                    <a:gd name="connsiteX88" fmla="*/ 382927 w 4519987"/>
                    <a:gd name="connsiteY88" fmla="*/ 1009650 h 4429225"/>
                    <a:gd name="connsiteX89" fmla="*/ 440077 w 4519987"/>
                    <a:gd name="connsiteY89" fmla="*/ 904875 h 4429225"/>
                    <a:gd name="connsiteX90" fmla="*/ 478177 w 4519987"/>
                    <a:gd name="connsiteY90" fmla="*/ 857250 h 4429225"/>
                    <a:gd name="connsiteX91" fmla="*/ 497227 w 4519987"/>
                    <a:gd name="connsiteY91" fmla="*/ 828675 h 4429225"/>
                    <a:gd name="connsiteX92" fmla="*/ 535327 w 4519987"/>
                    <a:gd name="connsiteY92" fmla="*/ 800100 h 4429225"/>
                    <a:gd name="connsiteX93" fmla="*/ 602002 w 4519987"/>
                    <a:gd name="connsiteY93" fmla="*/ 733425 h 4429225"/>
                    <a:gd name="connsiteX94" fmla="*/ 668677 w 4519987"/>
                    <a:gd name="connsiteY94" fmla="*/ 676275 h 4429225"/>
                    <a:gd name="connsiteX95" fmla="*/ 697252 w 4519987"/>
                    <a:gd name="connsiteY95" fmla="*/ 657225 h 4429225"/>
                    <a:gd name="connsiteX96" fmla="*/ 840127 w 4519987"/>
                    <a:gd name="connsiteY96" fmla="*/ 533400 h 4429225"/>
                    <a:gd name="connsiteX97" fmla="*/ 887752 w 4519987"/>
                    <a:gd name="connsiteY97" fmla="*/ 504825 h 4429225"/>
                    <a:gd name="connsiteX98" fmla="*/ 1167152 w 4519987"/>
                    <a:gd name="connsiteY98" fmla="*/ 311150 h 4429225"/>
                    <a:gd name="connsiteX99" fmla="*/ 1268752 w 4519987"/>
                    <a:gd name="connsiteY99" fmla="*/ 285750 h 4429225"/>
                    <a:gd name="connsiteX100" fmla="*/ 1411627 w 4519987"/>
                    <a:gd name="connsiteY100" fmla="*/ 190500 h 4429225"/>
                    <a:gd name="connsiteX101" fmla="*/ 1449727 w 4519987"/>
                    <a:gd name="connsiteY101" fmla="*/ 161925 h 4429225"/>
                    <a:gd name="connsiteX102" fmla="*/ 1525927 w 4519987"/>
                    <a:gd name="connsiteY102" fmla="*/ 152400 h 4429225"/>
                    <a:gd name="connsiteX103" fmla="*/ 1583077 w 4519987"/>
                    <a:gd name="connsiteY103" fmla="*/ 142875 h 4429225"/>
                    <a:gd name="connsiteX104" fmla="*/ 1716427 w 4519987"/>
                    <a:gd name="connsiteY104" fmla="*/ 123825 h 4429225"/>
                    <a:gd name="connsiteX105" fmla="*/ 1811677 w 4519987"/>
                    <a:gd name="connsiteY105" fmla="*/ 114300 h 4429225"/>
                    <a:gd name="connsiteX106" fmla="*/ 1859302 w 4519987"/>
                    <a:gd name="connsiteY106" fmla="*/ 104775 h 4429225"/>
                    <a:gd name="connsiteX107" fmla="*/ 1916452 w 4519987"/>
                    <a:gd name="connsiteY107" fmla="*/ 95250 h 4429225"/>
                    <a:gd name="connsiteX108" fmla="*/ 2030752 w 4519987"/>
                    <a:gd name="connsiteY108" fmla="*/ 66675 h 4429225"/>
                    <a:gd name="connsiteX109" fmla="*/ 2097427 w 4519987"/>
                    <a:gd name="connsiteY109" fmla="*/ 47625 h 4429225"/>
                    <a:gd name="connsiteX110" fmla="*/ 2164102 w 4519987"/>
                    <a:gd name="connsiteY110" fmla="*/ 38100 h 4429225"/>
                    <a:gd name="connsiteX111" fmla="*/ 2392702 w 4519987"/>
                    <a:gd name="connsiteY11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1030627 w 4519987"/>
                    <a:gd name="connsiteY48" fmla="*/ 4124325 h 4429225"/>
                    <a:gd name="connsiteX49" fmla="*/ 925852 w 4519987"/>
                    <a:gd name="connsiteY49" fmla="*/ 4067175 h 4429225"/>
                    <a:gd name="connsiteX50" fmla="*/ 830602 w 4519987"/>
                    <a:gd name="connsiteY50" fmla="*/ 3981450 h 4429225"/>
                    <a:gd name="connsiteX51" fmla="*/ 763927 w 4519987"/>
                    <a:gd name="connsiteY51" fmla="*/ 3914775 h 4429225"/>
                    <a:gd name="connsiteX52" fmla="*/ 725827 w 4519987"/>
                    <a:gd name="connsiteY52" fmla="*/ 3876675 h 4429225"/>
                    <a:gd name="connsiteX53" fmla="*/ 697252 w 4519987"/>
                    <a:gd name="connsiteY53" fmla="*/ 3838575 h 4429225"/>
                    <a:gd name="connsiteX54" fmla="*/ 640102 w 4519987"/>
                    <a:gd name="connsiteY54" fmla="*/ 3781425 h 4429225"/>
                    <a:gd name="connsiteX55" fmla="*/ 611527 w 4519987"/>
                    <a:gd name="connsiteY55" fmla="*/ 3733800 h 4429225"/>
                    <a:gd name="connsiteX56" fmla="*/ 554377 w 4519987"/>
                    <a:gd name="connsiteY56" fmla="*/ 3657600 h 4429225"/>
                    <a:gd name="connsiteX57" fmla="*/ 525802 w 4519987"/>
                    <a:gd name="connsiteY57" fmla="*/ 3609975 h 4429225"/>
                    <a:gd name="connsiteX58" fmla="*/ 497227 w 4519987"/>
                    <a:gd name="connsiteY58" fmla="*/ 3552825 h 4429225"/>
                    <a:gd name="connsiteX59" fmla="*/ 440077 w 4519987"/>
                    <a:gd name="connsiteY59" fmla="*/ 3495675 h 4429225"/>
                    <a:gd name="connsiteX60" fmla="*/ 411502 w 4519987"/>
                    <a:gd name="connsiteY60" fmla="*/ 3448050 h 4429225"/>
                    <a:gd name="connsiteX61" fmla="*/ 278152 w 4519987"/>
                    <a:gd name="connsiteY61" fmla="*/ 3257550 h 4429225"/>
                    <a:gd name="connsiteX62" fmla="*/ 249577 w 4519987"/>
                    <a:gd name="connsiteY62" fmla="*/ 3200400 h 4429225"/>
                    <a:gd name="connsiteX63" fmla="*/ 240052 w 4519987"/>
                    <a:gd name="connsiteY63" fmla="*/ 3162300 h 4429225"/>
                    <a:gd name="connsiteX64" fmla="*/ 221002 w 4519987"/>
                    <a:gd name="connsiteY64" fmla="*/ 3105150 h 4429225"/>
                    <a:gd name="connsiteX65" fmla="*/ 173377 w 4519987"/>
                    <a:gd name="connsiteY65" fmla="*/ 3019425 h 4429225"/>
                    <a:gd name="connsiteX66" fmla="*/ 144802 w 4519987"/>
                    <a:gd name="connsiteY66" fmla="*/ 2924175 h 4429225"/>
                    <a:gd name="connsiteX67" fmla="*/ 68602 w 4519987"/>
                    <a:gd name="connsiteY67" fmla="*/ 2724150 h 4429225"/>
                    <a:gd name="connsiteX68" fmla="*/ 49552 w 4519987"/>
                    <a:gd name="connsiteY68" fmla="*/ 2638425 h 4429225"/>
                    <a:gd name="connsiteX69" fmla="*/ 40027 w 4519987"/>
                    <a:gd name="connsiteY69" fmla="*/ 2562225 h 4429225"/>
                    <a:gd name="connsiteX70" fmla="*/ 30502 w 4519987"/>
                    <a:gd name="connsiteY70" fmla="*/ 2514600 h 4429225"/>
                    <a:gd name="connsiteX71" fmla="*/ 11452 w 4519987"/>
                    <a:gd name="connsiteY71" fmla="*/ 2400300 h 4429225"/>
                    <a:gd name="connsiteX72" fmla="*/ 20977 w 4519987"/>
                    <a:gd name="connsiteY72" fmla="*/ 1905000 h 4429225"/>
                    <a:gd name="connsiteX73" fmla="*/ 30502 w 4519987"/>
                    <a:gd name="connsiteY73" fmla="*/ 1838325 h 4429225"/>
                    <a:gd name="connsiteX74" fmla="*/ 49552 w 4519987"/>
                    <a:gd name="connsiteY74" fmla="*/ 1781175 h 4429225"/>
                    <a:gd name="connsiteX75" fmla="*/ 59077 w 4519987"/>
                    <a:gd name="connsiteY75" fmla="*/ 1743075 h 4429225"/>
                    <a:gd name="connsiteX76" fmla="*/ 78127 w 4519987"/>
                    <a:gd name="connsiteY76" fmla="*/ 1685925 h 4429225"/>
                    <a:gd name="connsiteX77" fmla="*/ 87652 w 4519987"/>
                    <a:gd name="connsiteY77" fmla="*/ 1638300 h 4429225"/>
                    <a:gd name="connsiteX78" fmla="*/ 106702 w 4519987"/>
                    <a:gd name="connsiteY78" fmla="*/ 1590675 h 4429225"/>
                    <a:gd name="connsiteX79" fmla="*/ 135277 w 4519987"/>
                    <a:gd name="connsiteY79" fmla="*/ 1504950 h 4429225"/>
                    <a:gd name="connsiteX80" fmla="*/ 154327 w 4519987"/>
                    <a:gd name="connsiteY80" fmla="*/ 1419225 h 4429225"/>
                    <a:gd name="connsiteX81" fmla="*/ 230527 w 4519987"/>
                    <a:gd name="connsiteY81" fmla="*/ 1276350 h 4429225"/>
                    <a:gd name="connsiteX82" fmla="*/ 240052 w 4519987"/>
                    <a:gd name="connsiteY82" fmla="*/ 1247775 h 4429225"/>
                    <a:gd name="connsiteX83" fmla="*/ 268627 w 4519987"/>
                    <a:gd name="connsiteY83" fmla="*/ 1200150 h 4429225"/>
                    <a:gd name="connsiteX84" fmla="*/ 287677 w 4519987"/>
                    <a:gd name="connsiteY84" fmla="*/ 1152525 h 4429225"/>
                    <a:gd name="connsiteX85" fmla="*/ 316252 w 4519987"/>
                    <a:gd name="connsiteY85" fmla="*/ 1114425 h 4429225"/>
                    <a:gd name="connsiteX86" fmla="*/ 363877 w 4519987"/>
                    <a:gd name="connsiteY86" fmla="*/ 1038225 h 4429225"/>
                    <a:gd name="connsiteX87" fmla="*/ 382927 w 4519987"/>
                    <a:gd name="connsiteY87" fmla="*/ 1009650 h 4429225"/>
                    <a:gd name="connsiteX88" fmla="*/ 440077 w 4519987"/>
                    <a:gd name="connsiteY88" fmla="*/ 904875 h 4429225"/>
                    <a:gd name="connsiteX89" fmla="*/ 478177 w 4519987"/>
                    <a:gd name="connsiteY89" fmla="*/ 857250 h 4429225"/>
                    <a:gd name="connsiteX90" fmla="*/ 497227 w 4519987"/>
                    <a:gd name="connsiteY90" fmla="*/ 828675 h 4429225"/>
                    <a:gd name="connsiteX91" fmla="*/ 535327 w 4519987"/>
                    <a:gd name="connsiteY91" fmla="*/ 800100 h 4429225"/>
                    <a:gd name="connsiteX92" fmla="*/ 602002 w 4519987"/>
                    <a:gd name="connsiteY92" fmla="*/ 733425 h 4429225"/>
                    <a:gd name="connsiteX93" fmla="*/ 668677 w 4519987"/>
                    <a:gd name="connsiteY93" fmla="*/ 676275 h 4429225"/>
                    <a:gd name="connsiteX94" fmla="*/ 697252 w 4519987"/>
                    <a:gd name="connsiteY94" fmla="*/ 657225 h 4429225"/>
                    <a:gd name="connsiteX95" fmla="*/ 840127 w 4519987"/>
                    <a:gd name="connsiteY95" fmla="*/ 533400 h 4429225"/>
                    <a:gd name="connsiteX96" fmla="*/ 887752 w 4519987"/>
                    <a:gd name="connsiteY96" fmla="*/ 504825 h 4429225"/>
                    <a:gd name="connsiteX97" fmla="*/ 1167152 w 4519987"/>
                    <a:gd name="connsiteY97" fmla="*/ 311150 h 4429225"/>
                    <a:gd name="connsiteX98" fmla="*/ 1268752 w 4519987"/>
                    <a:gd name="connsiteY98" fmla="*/ 285750 h 4429225"/>
                    <a:gd name="connsiteX99" fmla="*/ 1411627 w 4519987"/>
                    <a:gd name="connsiteY99" fmla="*/ 190500 h 4429225"/>
                    <a:gd name="connsiteX100" fmla="*/ 1449727 w 4519987"/>
                    <a:gd name="connsiteY100" fmla="*/ 161925 h 4429225"/>
                    <a:gd name="connsiteX101" fmla="*/ 1525927 w 4519987"/>
                    <a:gd name="connsiteY101" fmla="*/ 152400 h 4429225"/>
                    <a:gd name="connsiteX102" fmla="*/ 1583077 w 4519987"/>
                    <a:gd name="connsiteY102" fmla="*/ 142875 h 4429225"/>
                    <a:gd name="connsiteX103" fmla="*/ 1716427 w 4519987"/>
                    <a:gd name="connsiteY103" fmla="*/ 123825 h 4429225"/>
                    <a:gd name="connsiteX104" fmla="*/ 1811677 w 4519987"/>
                    <a:gd name="connsiteY104" fmla="*/ 114300 h 4429225"/>
                    <a:gd name="connsiteX105" fmla="*/ 1859302 w 4519987"/>
                    <a:gd name="connsiteY105" fmla="*/ 104775 h 4429225"/>
                    <a:gd name="connsiteX106" fmla="*/ 1916452 w 4519987"/>
                    <a:gd name="connsiteY106" fmla="*/ 95250 h 4429225"/>
                    <a:gd name="connsiteX107" fmla="*/ 2030752 w 4519987"/>
                    <a:gd name="connsiteY107" fmla="*/ 66675 h 4429225"/>
                    <a:gd name="connsiteX108" fmla="*/ 2097427 w 4519987"/>
                    <a:gd name="connsiteY108" fmla="*/ 47625 h 4429225"/>
                    <a:gd name="connsiteX109" fmla="*/ 2164102 w 4519987"/>
                    <a:gd name="connsiteY109" fmla="*/ 38100 h 4429225"/>
                    <a:gd name="connsiteX110" fmla="*/ 2392702 w 4519987"/>
                    <a:gd name="connsiteY11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925852 w 4519987"/>
                    <a:gd name="connsiteY48" fmla="*/ 4067175 h 4429225"/>
                    <a:gd name="connsiteX49" fmla="*/ 830602 w 4519987"/>
                    <a:gd name="connsiteY49" fmla="*/ 3981450 h 4429225"/>
                    <a:gd name="connsiteX50" fmla="*/ 763927 w 4519987"/>
                    <a:gd name="connsiteY50" fmla="*/ 3914775 h 4429225"/>
                    <a:gd name="connsiteX51" fmla="*/ 725827 w 4519987"/>
                    <a:gd name="connsiteY51" fmla="*/ 3876675 h 4429225"/>
                    <a:gd name="connsiteX52" fmla="*/ 697252 w 4519987"/>
                    <a:gd name="connsiteY52" fmla="*/ 3838575 h 4429225"/>
                    <a:gd name="connsiteX53" fmla="*/ 640102 w 4519987"/>
                    <a:gd name="connsiteY53" fmla="*/ 3781425 h 4429225"/>
                    <a:gd name="connsiteX54" fmla="*/ 611527 w 4519987"/>
                    <a:gd name="connsiteY54" fmla="*/ 3733800 h 4429225"/>
                    <a:gd name="connsiteX55" fmla="*/ 554377 w 4519987"/>
                    <a:gd name="connsiteY55" fmla="*/ 3657600 h 4429225"/>
                    <a:gd name="connsiteX56" fmla="*/ 525802 w 4519987"/>
                    <a:gd name="connsiteY56" fmla="*/ 3609975 h 4429225"/>
                    <a:gd name="connsiteX57" fmla="*/ 497227 w 4519987"/>
                    <a:gd name="connsiteY57" fmla="*/ 3552825 h 4429225"/>
                    <a:gd name="connsiteX58" fmla="*/ 440077 w 4519987"/>
                    <a:gd name="connsiteY58" fmla="*/ 3495675 h 4429225"/>
                    <a:gd name="connsiteX59" fmla="*/ 411502 w 4519987"/>
                    <a:gd name="connsiteY59" fmla="*/ 3448050 h 4429225"/>
                    <a:gd name="connsiteX60" fmla="*/ 278152 w 4519987"/>
                    <a:gd name="connsiteY60" fmla="*/ 3257550 h 4429225"/>
                    <a:gd name="connsiteX61" fmla="*/ 249577 w 4519987"/>
                    <a:gd name="connsiteY61" fmla="*/ 3200400 h 4429225"/>
                    <a:gd name="connsiteX62" fmla="*/ 240052 w 4519987"/>
                    <a:gd name="connsiteY62" fmla="*/ 3162300 h 4429225"/>
                    <a:gd name="connsiteX63" fmla="*/ 221002 w 4519987"/>
                    <a:gd name="connsiteY63" fmla="*/ 3105150 h 4429225"/>
                    <a:gd name="connsiteX64" fmla="*/ 173377 w 4519987"/>
                    <a:gd name="connsiteY64" fmla="*/ 3019425 h 4429225"/>
                    <a:gd name="connsiteX65" fmla="*/ 144802 w 4519987"/>
                    <a:gd name="connsiteY65" fmla="*/ 2924175 h 4429225"/>
                    <a:gd name="connsiteX66" fmla="*/ 68602 w 4519987"/>
                    <a:gd name="connsiteY66" fmla="*/ 2724150 h 4429225"/>
                    <a:gd name="connsiteX67" fmla="*/ 49552 w 4519987"/>
                    <a:gd name="connsiteY67" fmla="*/ 2638425 h 4429225"/>
                    <a:gd name="connsiteX68" fmla="*/ 40027 w 4519987"/>
                    <a:gd name="connsiteY68" fmla="*/ 2562225 h 4429225"/>
                    <a:gd name="connsiteX69" fmla="*/ 30502 w 4519987"/>
                    <a:gd name="connsiteY69" fmla="*/ 2514600 h 4429225"/>
                    <a:gd name="connsiteX70" fmla="*/ 11452 w 4519987"/>
                    <a:gd name="connsiteY70" fmla="*/ 2400300 h 4429225"/>
                    <a:gd name="connsiteX71" fmla="*/ 20977 w 4519987"/>
                    <a:gd name="connsiteY71" fmla="*/ 1905000 h 4429225"/>
                    <a:gd name="connsiteX72" fmla="*/ 30502 w 4519987"/>
                    <a:gd name="connsiteY72" fmla="*/ 1838325 h 4429225"/>
                    <a:gd name="connsiteX73" fmla="*/ 49552 w 4519987"/>
                    <a:gd name="connsiteY73" fmla="*/ 1781175 h 4429225"/>
                    <a:gd name="connsiteX74" fmla="*/ 59077 w 4519987"/>
                    <a:gd name="connsiteY74" fmla="*/ 1743075 h 4429225"/>
                    <a:gd name="connsiteX75" fmla="*/ 78127 w 4519987"/>
                    <a:gd name="connsiteY75" fmla="*/ 1685925 h 4429225"/>
                    <a:gd name="connsiteX76" fmla="*/ 87652 w 4519987"/>
                    <a:gd name="connsiteY76" fmla="*/ 1638300 h 4429225"/>
                    <a:gd name="connsiteX77" fmla="*/ 106702 w 4519987"/>
                    <a:gd name="connsiteY77" fmla="*/ 1590675 h 4429225"/>
                    <a:gd name="connsiteX78" fmla="*/ 135277 w 4519987"/>
                    <a:gd name="connsiteY78" fmla="*/ 1504950 h 4429225"/>
                    <a:gd name="connsiteX79" fmla="*/ 154327 w 4519987"/>
                    <a:gd name="connsiteY79" fmla="*/ 1419225 h 4429225"/>
                    <a:gd name="connsiteX80" fmla="*/ 230527 w 4519987"/>
                    <a:gd name="connsiteY80" fmla="*/ 1276350 h 4429225"/>
                    <a:gd name="connsiteX81" fmla="*/ 240052 w 4519987"/>
                    <a:gd name="connsiteY81" fmla="*/ 1247775 h 4429225"/>
                    <a:gd name="connsiteX82" fmla="*/ 268627 w 4519987"/>
                    <a:gd name="connsiteY82" fmla="*/ 1200150 h 4429225"/>
                    <a:gd name="connsiteX83" fmla="*/ 287677 w 4519987"/>
                    <a:gd name="connsiteY83" fmla="*/ 1152525 h 4429225"/>
                    <a:gd name="connsiteX84" fmla="*/ 316252 w 4519987"/>
                    <a:gd name="connsiteY84" fmla="*/ 1114425 h 4429225"/>
                    <a:gd name="connsiteX85" fmla="*/ 363877 w 4519987"/>
                    <a:gd name="connsiteY85" fmla="*/ 1038225 h 4429225"/>
                    <a:gd name="connsiteX86" fmla="*/ 382927 w 4519987"/>
                    <a:gd name="connsiteY86" fmla="*/ 1009650 h 4429225"/>
                    <a:gd name="connsiteX87" fmla="*/ 440077 w 4519987"/>
                    <a:gd name="connsiteY87" fmla="*/ 904875 h 4429225"/>
                    <a:gd name="connsiteX88" fmla="*/ 478177 w 4519987"/>
                    <a:gd name="connsiteY88" fmla="*/ 857250 h 4429225"/>
                    <a:gd name="connsiteX89" fmla="*/ 497227 w 4519987"/>
                    <a:gd name="connsiteY89" fmla="*/ 828675 h 4429225"/>
                    <a:gd name="connsiteX90" fmla="*/ 535327 w 4519987"/>
                    <a:gd name="connsiteY90" fmla="*/ 800100 h 4429225"/>
                    <a:gd name="connsiteX91" fmla="*/ 602002 w 4519987"/>
                    <a:gd name="connsiteY91" fmla="*/ 733425 h 4429225"/>
                    <a:gd name="connsiteX92" fmla="*/ 668677 w 4519987"/>
                    <a:gd name="connsiteY92" fmla="*/ 676275 h 4429225"/>
                    <a:gd name="connsiteX93" fmla="*/ 697252 w 4519987"/>
                    <a:gd name="connsiteY93" fmla="*/ 657225 h 4429225"/>
                    <a:gd name="connsiteX94" fmla="*/ 840127 w 4519987"/>
                    <a:gd name="connsiteY94" fmla="*/ 533400 h 4429225"/>
                    <a:gd name="connsiteX95" fmla="*/ 887752 w 4519987"/>
                    <a:gd name="connsiteY95" fmla="*/ 504825 h 4429225"/>
                    <a:gd name="connsiteX96" fmla="*/ 1167152 w 4519987"/>
                    <a:gd name="connsiteY96" fmla="*/ 311150 h 4429225"/>
                    <a:gd name="connsiteX97" fmla="*/ 1268752 w 4519987"/>
                    <a:gd name="connsiteY97" fmla="*/ 285750 h 4429225"/>
                    <a:gd name="connsiteX98" fmla="*/ 1411627 w 4519987"/>
                    <a:gd name="connsiteY98" fmla="*/ 190500 h 4429225"/>
                    <a:gd name="connsiteX99" fmla="*/ 1449727 w 4519987"/>
                    <a:gd name="connsiteY99" fmla="*/ 161925 h 4429225"/>
                    <a:gd name="connsiteX100" fmla="*/ 1525927 w 4519987"/>
                    <a:gd name="connsiteY100" fmla="*/ 152400 h 4429225"/>
                    <a:gd name="connsiteX101" fmla="*/ 1583077 w 4519987"/>
                    <a:gd name="connsiteY101" fmla="*/ 142875 h 4429225"/>
                    <a:gd name="connsiteX102" fmla="*/ 1716427 w 4519987"/>
                    <a:gd name="connsiteY102" fmla="*/ 123825 h 4429225"/>
                    <a:gd name="connsiteX103" fmla="*/ 1811677 w 4519987"/>
                    <a:gd name="connsiteY103" fmla="*/ 114300 h 4429225"/>
                    <a:gd name="connsiteX104" fmla="*/ 1859302 w 4519987"/>
                    <a:gd name="connsiteY104" fmla="*/ 104775 h 4429225"/>
                    <a:gd name="connsiteX105" fmla="*/ 1916452 w 4519987"/>
                    <a:gd name="connsiteY105" fmla="*/ 95250 h 4429225"/>
                    <a:gd name="connsiteX106" fmla="*/ 2030752 w 4519987"/>
                    <a:gd name="connsiteY106" fmla="*/ 66675 h 4429225"/>
                    <a:gd name="connsiteX107" fmla="*/ 2097427 w 4519987"/>
                    <a:gd name="connsiteY107" fmla="*/ 47625 h 4429225"/>
                    <a:gd name="connsiteX108" fmla="*/ 2164102 w 4519987"/>
                    <a:gd name="connsiteY108" fmla="*/ 38100 h 4429225"/>
                    <a:gd name="connsiteX109" fmla="*/ 2392702 w 4519987"/>
                    <a:gd name="connsiteY10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725827 w 4519987"/>
                    <a:gd name="connsiteY50" fmla="*/ 3876675 h 4429225"/>
                    <a:gd name="connsiteX51" fmla="*/ 697252 w 4519987"/>
                    <a:gd name="connsiteY51" fmla="*/ 3838575 h 4429225"/>
                    <a:gd name="connsiteX52" fmla="*/ 640102 w 4519987"/>
                    <a:gd name="connsiteY52" fmla="*/ 3781425 h 4429225"/>
                    <a:gd name="connsiteX53" fmla="*/ 611527 w 4519987"/>
                    <a:gd name="connsiteY53" fmla="*/ 3733800 h 4429225"/>
                    <a:gd name="connsiteX54" fmla="*/ 554377 w 4519987"/>
                    <a:gd name="connsiteY54" fmla="*/ 3657600 h 4429225"/>
                    <a:gd name="connsiteX55" fmla="*/ 525802 w 4519987"/>
                    <a:gd name="connsiteY55" fmla="*/ 3609975 h 4429225"/>
                    <a:gd name="connsiteX56" fmla="*/ 497227 w 4519987"/>
                    <a:gd name="connsiteY56" fmla="*/ 3552825 h 4429225"/>
                    <a:gd name="connsiteX57" fmla="*/ 440077 w 4519987"/>
                    <a:gd name="connsiteY57" fmla="*/ 3495675 h 4429225"/>
                    <a:gd name="connsiteX58" fmla="*/ 411502 w 4519987"/>
                    <a:gd name="connsiteY58" fmla="*/ 3448050 h 4429225"/>
                    <a:gd name="connsiteX59" fmla="*/ 278152 w 4519987"/>
                    <a:gd name="connsiteY59" fmla="*/ 3257550 h 4429225"/>
                    <a:gd name="connsiteX60" fmla="*/ 249577 w 4519987"/>
                    <a:gd name="connsiteY60" fmla="*/ 3200400 h 4429225"/>
                    <a:gd name="connsiteX61" fmla="*/ 240052 w 4519987"/>
                    <a:gd name="connsiteY61" fmla="*/ 3162300 h 4429225"/>
                    <a:gd name="connsiteX62" fmla="*/ 221002 w 4519987"/>
                    <a:gd name="connsiteY62" fmla="*/ 3105150 h 4429225"/>
                    <a:gd name="connsiteX63" fmla="*/ 173377 w 4519987"/>
                    <a:gd name="connsiteY63" fmla="*/ 3019425 h 4429225"/>
                    <a:gd name="connsiteX64" fmla="*/ 144802 w 4519987"/>
                    <a:gd name="connsiteY64" fmla="*/ 2924175 h 4429225"/>
                    <a:gd name="connsiteX65" fmla="*/ 68602 w 4519987"/>
                    <a:gd name="connsiteY65" fmla="*/ 2724150 h 4429225"/>
                    <a:gd name="connsiteX66" fmla="*/ 49552 w 4519987"/>
                    <a:gd name="connsiteY66" fmla="*/ 2638425 h 4429225"/>
                    <a:gd name="connsiteX67" fmla="*/ 40027 w 4519987"/>
                    <a:gd name="connsiteY67" fmla="*/ 2562225 h 4429225"/>
                    <a:gd name="connsiteX68" fmla="*/ 30502 w 4519987"/>
                    <a:gd name="connsiteY68" fmla="*/ 2514600 h 4429225"/>
                    <a:gd name="connsiteX69" fmla="*/ 11452 w 4519987"/>
                    <a:gd name="connsiteY69" fmla="*/ 2400300 h 4429225"/>
                    <a:gd name="connsiteX70" fmla="*/ 20977 w 4519987"/>
                    <a:gd name="connsiteY70" fmla="*/ 1905000 h 4429225"/>
                    <a:gd name="connsiteX71" fmla="*/ 30502 w 4519987"/>
                    <a:gd name="connsiteY71" fmla="*/ 1838325 h 4429225"/>
                    <a:gd name="connsiteX72" fmla="*/ 49552 w 4519987"/>
                    <a:gd name="connsiteY72" fmla="*/ 1781175 h 4429225"/>
                    <a:gd name="connsiteX73" fmla="*/ 59077 w 4519987"/>
                    <a:gd name="connsiteY73" fmla="*/ 1743075 h 4429225"/>
                    <a:gd name="connsiteX74" fmla="*/ 78127 w 4519987"/>
                    <a:gd name="connsiteY74" fmla="*/ 1685925 h 4429225"/>
                    <a:gd name="connsiteX75" fmla="*/ 87652 w 4519987"/>
                    <a:gd name="connsiteY75" fmla="*/ 1638300 h 4429225"/>
                    <a:gd name="connsiteX76" fmla="*/ 106702 w 4519987"/>
                    <a:gd name="connsiteY76" fmla="*/ 1590675 h 4429225"/>
                    <a:gd name="connsiteX77" fmla="*/ 135277 w 4519987"/>
                    <a:gd name="connsiteY77" fmla="*/ 1504950 h 4429225"/>
                    <a:gd name="connsiteX78" fmla="*/ 154327 w 4519987"/>
                    <a:gd name="connsiteY78" fmla="*/ 1419225 h 4429225"/>
                    <a:gd name="connsiteX79" fmla="*/ 230527 w 4519987"/>
                    <a:gd name="connsiteY79" fmla="*/ 1276350 h 4429225"/>
                    <a:gd name="connsiteX80" fmla="*/ 240052 w 4519987"/>
                    <a:gd name="connsiteY80" fmla="*/ 1247775 h 4429225"/>
                    <a:gd name="connsiteX81" fmla="*/ 268627 w 4519987"/>
                    <a:gd name="connsiteY81" fmla="*/ 1200150 h 4429225"/>
                    <a:gd name="connsiteX82" fmla="*/ 287677 w 4519987"/>
                    <a:gd name="connsiteY82" fmla="*/ 1152525 h 4429225"/>
                    <a:gd name="connsiteX83" fmla="*/ 316252 w 4519987"/>
                    <a:gd name="connsiteY83" fmla="*/ 1114425 h 4429225"/>
                    <a:gd name="connsiteX84" fmla="*/ 363877 w 4519987"/>
                    <a:gd name="connsiteY84" fmla="*/ 1038225 h 4429225"/>
                    <a:gd name="connsiteX85" fmla="*/ 382927 w 4519987"/>
                    <a:gd name="connsiteY85" fmla="*/ 1009650 h 4429225"/>
                    <a:gd name="connsiteX86" fmla="*/ 440077 w 4519987"/>
                    <a:gd name="connsiteY86" fmla="*/ 904875 h 4429225"/>
                    <a:gd name="connsiteX87" fmla="*/ 478177 w 4519987"/>
                    <a:gd name="connsiteY87" fmla="*/ 857250 h 4429225"/>
                    <a:gd name="connsiteX88" fmla="*/ 497227 w 4519987"/>
                    <a:gd name="connsiteY88" fmla="*/ 828675 h 4429225"/>
                    <a:gd name="connsiteX89" fmla="*/ 535327 w 4519987"/>
                    <a:gd name="connsiteY89" fmla="*/ 800100 h 4429225"/>
                    <a:gd name="connsiteX90" fmla="*/ 602002 w 4519987"/>
                    <a:gd name="connsiteY90" fmla="*/ 733425 h 4429225"/>
                    <a:gd name="connsiteX91" fmla="*/ 668677 w 4519987"/>
                    <a:gd name="connsiteY91" fmla="*/ 676275 h 4429225"/>
                    <a:gd name="connsiteX92" fmla="*/ 697252 w 4519987"/>
                    <a:gd name="connsiteY92" fmla="*/ 657225 h 4429225"/>
                    <a:gd name="connsiteX93" fmla="*/ 840127 w 4519987"/>
                    <a:gd name="connsiteY93" fmla="*/ 533400 h 4429225"/>
                    <a:gd name="connsiteX94" fmla="*/ 887752 w 4519987"/>
                    <a:gd name="connsiteY94" fmla="*/ 504825 h 4429225"/>
                    <a:gd name="connsiteX95" fmla="*/ 1167152 w 4519987"/>
                    <a:gd name="connsiteY95" fmla="*/ 311150 h 4429225"/>
                    <a:gd name="connsiteX96" fmla="*/ 1268752 w 4519987"/>
                    <a:gd name="connsiteY96" fmla="*/ 285750 h 4429225"/>
                    <a:gd name="connsiteX97" fmla="*/ 1411627 w 4519987"/>
                    <a:gd name="connsiteY97" fmla="*/ 190500 h 4429225"/>
                    <a:gd name="connsiteX98" fmla="*/ 1449727 w 4519987"/>
                    <a:gd name="connsiteY98" fmla="*/ 161925 h 4429225"/>
                    <a:gd name="connsiteX99" fmla="*/ 1525927 w 4519987"/>
                    <a:gd name="connsiteY99" fmla="*/ 152400 h 4429225"/>
                    <a:gd name="connsiteX100" fmla="*/ 1583077 w 4519987"/>
                    <a:gd name="connsiteY100" fmla="*/ 142875 h 4429225"/>
                    <a:gd name="connsiteX101" fmla="*/ 1716427 w 4519987"/>
                    <a:gd name="connsiteY101" fmla="*/ 123825 h 4429225"/>
                    <a:gd name="connsiteX102" fmla="*/ 1811677 w 4519987"/>
                    <a:gd name="connsiteY102" fmla="*/ 114300 h 4429225"/>
                    <a:gd name="connsiteX103" fmla="*/ 1859302 w 4519987"/>
                    <a:gd name="connsiteY103" fmla="*/ 104775 h 4429225"/>
                    <a:gd name="connsiteX104" fmla="*/ 1916452 w 4519987"/>
                    <a:gd name="connsiteY104" fmla="*/ 95250 h 4429225"/>
                    <a:gd name="connsiteX105" fmla="*/ 2030752 w 4519987"/>
                    <a:gd name="connsiteY105" fmla="*/ 66675 h 4429225"/>
                    <a:gd name="connsiteX106" fmla="*/ 2097427 w 4519987"/>
                    <a:gd name="connsiteY106" fmla="*/ 47625 h 4429225"/>
                    <a:gd name="connsiteX107" fmla="*/ 2164102 w 4519987"/>
                    <a:gd name="connsiteY107" fmla="*/ 38100 h 4429225"/>
                    <a:gd name="connsiteX108" fmla="*/ 2392702 w 4519987"/>
                    <a:gd name="connsiteY10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40102 w 4519987"/>
                    <a:gd name="connsiteY51" fmla="*/ 3781425 h 4429225"/>
                    <a:gd name="connsiteX52" fmla="*/ 611527 w 4519987"/>
                    <a:gd name="connsiteY52" fmla="*/ 3733800 h 4429225"/>
                    <a:gd name="connsiteX53" fmla="*/ 554377 w 4519987"/>
                    <a:gd name="connsiteY53" fmla="*/ 3657600 h 4429225"/>
                    <a:gd name="connsiteX54" fmla="*/ 525802 w 4519987"/>
                    <a:gd name="connsiteY54" fmla="*/ 3609975 h 4429225"/>
                    <a:gd name="connsiteX55" fmla="*/ 497227 w 4519987"/>
                    <a:gd name="connsiteY55" fmla="*/ 3552825 h 4429225"/>
                    <a:gd name="connsiteX56" fmla="*/ 440077 w 4519987"/>
                    <a:gd name="connsiteY56" fmla="*/ 3495675 h 4429225"/>
                    <a:gd name="connsiteX57" fmla="*/ 411502 w 4519987"/>
                    <a:gd name="connsiteY57" fmla="*/ 3448050 h 4429225"/>
                    <a:gd name="connsiteX58" fmla="*/ 278152 w 4519987"/>
                    <a:gd name="connsiteY58" fmla="*/ 3257550 h 4429225"/>
                    <a:gd name="connsiteX59" fmla="*/ 249577 w 4519987"/>
                    <a:gd name="connsiteY59" fmla="*/ 3200400 h 4429225"/>
                    <a:gd name="connsiteX60" fmla="*/ 240052 w 4519987"/>
                    <a:gd name="connsiteY60" fmla="*/ 3162300 h 4429225"/>
                    <a:gd name="connsiteX61" fmla="*/ 221002 w 4519987"/>
                    <a:gd name="connsiteY61" fmla="*/ 3105150 h 4429225"/>
                    <a:gd name="connsiteX62" fmla="*/ 173377 w 4519987"/>
                    <a:gd name="connsiteY62" fmla="*/ 3019425 h 4429225"/>
                    <a:gd name="connsiteX63" fmla="*/ 144802 w 4519987"/>
                    <a:gd name="connsiteY63" fmla="*/ 2924175 h 4429225"/>
                    <a:gd name="connsiteX64" fmla="*/ 68602 w 4519987"/>
                    <a:gd name="connsiteY64" fmla="*/ 2724150 h 4429225"/>
                    <a:gd name="connsiteX65" fmla="*/ 49552 w 4519987"/>
                    <a:gd name="connsiteY65" fmla="*/ 2638425 h 4429225"/>
                    <a:gd name="connsiteX66" fmla="*/ 40027 w 4519987"/>
                    <a:gd name="connsiteY66" fmla="*/ 2562225 h 4429225"/>
                    <a:gd name="connsiteX67" fmla="*/ 30502 w 4519987"/>
                    <a:gd name="connsiteY67" fmla="*/ 2514600 h 4429225"/>
                    <a:gd name="connsiteX68" fmla="*/ 11452 w 4519987"/>
                    <a:gd name="connsiteY68" fmla="*/ 2400300 h 4429225"/>
                    <a:gd name="connsiteX69" fmla="*/ 20977 w 4519987"/>
                    <a:gd name="connsiteY69" fmla="*/ 1905000 h 4429225"/>
                    <a:gd name="connsiteX70" fmla="*/ 30502 w 4519987"/>
                    <a:gd name="connsiteY70" fmla="*/ 1838325 h 4429225"/>
                    <a:gd name="connsiteX71" fmla="*/ 49552 w 4519987"/>
                    <a:gd name="connsiteY71" fmla="*/ 1781175 h 4429225"/>
                    <a:gd name="connsiteX72" fmla="*/ 59077 w 4519987"/>
                    <a:gd name="connsiteY72" fmla="*/ 1743075 h 4429225"/>
                    <a:gd name="connsiteX73" fmla="*/ 78127 w 4519987"/>
                    <a:gd name="connsiteY73" fmla="*/ 1685925 h 4429225"/>
                    <a:gd name="connsiteX74" fmla="*/ 87652 w 4519987"/>
                    <a:gd name="connsiteY74" fmla="*/ 1638300 h 4429225"/>
                    <a:gd name="connsiteX75" fmla="*/ 106702 w 4519987"/>
                    <a:gd name="connsiteY75" fmla="*/ 1590675 h 4429225"/>
                    <a:gd name="connsiteX76" fmla="*/ 135277 w 4519987"/>
                    <a:gd name="connsiteY76" fmla="*/ 1504950 h 4429225"/>
                    <a:gd name="connsiteX77" fmla="*/ 154327 w 4519987"/>
                    <a:gd name="connsiteY77" fmla="*/ 1419225 h 4429225"/>
                    <a:gd name="connsiteX78" fmla="*/ 230527 w 4519987"/>
                    <a:gd name="connsiteY78" fmla="*/ 1276350 h 4429225"/>
                    <a:gd name="connsiteX79" fmla="*/ 240052 w 4519987"/>
                    <a:gd name="connsiteY79" fmla="*/ 1247775 h 4429225"/>
                    <a:gd name="connsiteX80" fmla="*/ 268627 w 4519987"/>
                    <a:gd name="connsiteY80" fmla="*/ 1200150 h 4429225"/>
                    <a:gd name="connsiteX81" fmla="*/ 287677 w 4519987"/>
                    <a:gd name="connsiteY81" fmla="*/ 1152525 h 4429225"/>
                    <a:gd name="connsiteX82" fmla="*/ 316252 w 4519987"/>
                    <a:gd name="connsiteY82" fmla="*/ 1114425 h 4429225"/>
                    <a:gd name="connsiteX83" fmla="*/ 363877 w 4519987"/>
                    <a:gd name="connsiteY83" fmla="*/ 1038225 h 4429225"/>
                    <a:gd name="connsiteX84" fmla="*/ 382927 w 4519987"/>
                    <a:gd name="connsiteY84" fmla="*/ 1009650 h 4429225"/>
                    <a:gd name="connsiteX85" fmla="*/ 440077 w 4519987"/>
                    <a:gd name="connsiteY85" fmla="*/ 904875 h 4429225"/>
                    <a:gd name="connsiteX86" fmla="*/ 478177 w 4519987"/>
                    <a:gd name="connsiteY86" fmla="*/ 857250 h 4429225"/>
                    <a:gd name="connsiteX87" fmla="*/ 497227 w 4519987"/>
                    <a:gd name="connsiteY87" fmla="*/ 828675 h 4429225"/>
                    <a:gd name="connsiteX88" fmla="*/ 535327 w 4519987"/>
                    <a:gd name="connsiteY88" fmla="*/ 800100 h 4429225"/>
                    <a:gd name="connsiteX89" fmla="*/ 602002 w 4519987"/>
                    <a:gd name="connsiteY89" fmla="*/ 733425 h 4429225"/>
                    <a:gd name="connsiteX90" fmla="*/ 668677 w 4519987"/>
                    <a:gd name="connsiteY90" fmla="*/ 676275 h 4429225"/>
                    <a:gd name="connsiteX91" fmla="*/ 697252 w 4519987"/>
                    <a:gd name="connsiteY91" fmla="*/ 657225 h 4429225"/>
                    <a:gd name="connsiteX92" fmla="*/ 840127 w 4519987"/>
                    <a:gd name="connsiteY92" fmla="*/ 533400 h 4429225"/>
                    <a:gd name="connsiteX93" fmla="*/ 887752 w 4519987"/>
                    <a:gd name="connsiteY93" fmla="*/ 504825 h 4429225"/>
                    <a:gd name="connsiteX94" fmla="*/ 1167152 w 4519987"/>
                    <a:gd name="connsiteY94" fmla="*/ 311150 h 4429225"/>
                    <a:gd name="connsiteX95" fmla="*/ 1268752 w 4519987"/>
                    <a:gd name="connsiteY95" fmla="*/ 285750 h 4429225"/>
                    <a:gd name="connsiteX96" fmla="*/ 1411627 w 4519987"/>
                    <a:gd name="connsiteY96" fmla="*/ 190500 h 4429225"/>
                    <a:gd name="connsiteX97" fmla="*/ 1449727 w 4519987"/>
                    <a:gd name="connsiteY97" fmla="*/ 161925 h 4429225"/>
                    <a:gd name="connsiteX98" fmla="*/ 1525927 w 4519987"/>
                    <a:gd name="connsiteY98" fmla="*/ 152400 h 4429225"/>
                    <a:gd name="connsiteX99" fmla="*/ 1583077 w 4519987"/>
                    <a:gd name="connsiteY99" fmla="*/ 142875 h 4429225"/>
                    <a:gd name="connsiteX100" fmla="*/ 1716427 w 4519987"/>
                    <a:gd name="connsiteY100" fmla="*/ 123825 h 4429225"/>
                    <a:gd name="connsiteX101" fmla="*/ 1811677 w 4519987"/>
                    <a:gd name="connsiteY101" fmla="*/ 114300 h 4429225"/>
                    <a:gd name="connsiteX102" fmla="*/ 1859302 w 4519987"/>
                    <a:gd name="connsiteY102" fmla="*/ 104775 h 4429225"/>
                    <a:gd name="connsiteX103" fmla="*/ 1916452 w 4519987"/>
                    <a:gd name="connsiteY103" fmla="*/ 95250 h 4429225"/>
                    <a:gd name="connsiteX104" fmla="*/ 2030752 w 4519987"/>
                    <a:gd name="connsiteY104" fmla="*/ 66675 h 4429225"/>
                    <a:gd name="connsiteX105" fmla="*/ 2097427 w 4519987"/>
                    <a:gd name="connsiteY105" fmla="*/ 47625 h 4429225"/>
                    <a:gd name="connsiteX106" fmla="*/ 2164102 w 4519987"/>
                    <a:gd name="connsiteY106" fmla="*/ 38100 h 4429225"/>
                    <a:gd name="connsiteX107" fmla="*/ 2392702 w 4519987"/>
                    <a:gd name="connsiteY10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11527 w 4519987"/>
                    <a:gd name="connsiteY51" fmla="*/ 3733800 h 4429225"/>
                    <a:gd name="connsiteX52" fmla="*/ 554377 w 4519987"/>
                    <a:gd name="connsiteY52" fmla="*/ 3657600 h 4429225"/>
                    <a:gd name="connsiteX53" fmla="*/ 525802 w 4519987"/>
                    <a:gd name="connsiteY53" fmla="*/ 3609975 h 4429225"/>
                    <a:gd name="connsiteX54" fmla="*/ 497227 w 4519987"/>
                    <a:gd name="connsiteY54" fmla="*/ 3552825 h 4429225"/>
                    <a:gd name="connsiteX55" fmla="*/ 440077 w 4519987"/>
                    <a:gd name="connsiteY55" fmla="*/ 3495675 h 4429225"/>
                    <a:gd name="connsiteX56" fmla="*/ 411502 w 4519987"/>
                    <a:gd name="connsiteY56" fmla="*/ 3448050 h 4429225"/>
                    <a:gd name="connsiteX57" fmla="*/ 278152 w 4519987"/>
                    <a:gd name="connsiteY57" fmla="*/ 3257550 h 4429225"/>
                    <a:gd name="connsiteX58" fmla="*/ 249577 w 4519987"/>
                    <a:gd name="connsiteY58" fmla="*/ 3200400 h 4429225"/>
                    <a:gd name="connsiteX59" fmla="*/ 240052 w 4519987"/>
                    <a:gd name="connsiteY59" fmla="*/ 3162300 h 4429225"/>
                    <a:gd name="connsiteX60" fmla="*/ 221002 w 4519987"/>
                    <a:gd name="connsiteY60" fmla="*/ 3105150 h 4429225"/>
                    <a:gd name="connsiteX61" fmla="*/ 173377 w 4519987"/>
                    <a:gd name="connsiteY61" fmla="*/ 3019425 h 4429225"/>
                    <a:gd name="connsiteX62" fmla="*/ 144802 w 4519987"/>
                    <a:gd name="connsiteY62" fmla="*/ 2924175 h 4429225"/>
                    <a:gd name="connsiteX63" fmla="*/ 68602 w 4519987"/>
                    <a:gd name="connsiteY63" fmla="*/ 2724150 h 4429225"/>
                    <a:gd name="connsiteX64" fmla="*/ 49552 w 4519987"/>
                    <a:gd name="connsiteY64" fmla="*/ 2638425 h 4429225"/>
                    <a:gd name="connsiteX65" fmla="*/ 40027 w 4519987"/>
                    <a:gd name="connsiteY65" fmla="*/ 2562225 h 4429225"/>
                    <a:gd name="connsiteX66" fmla="*/ 30502 w 4519987"/>
                    <a:gd name="connsiteY66" fmla="*/ 2514600 h 4429225"/>
                    <a:gd name="connsiteX67" fmla="*/ 11452 w 4519987"/>
                    <a:gd name="connsiteY67" fmla="*/ 2400300 h 4429225"/>
                    <a:gd name="connsiteX68" fmla="*/ 20977 w 4519987"/>
                    <a:gd name="connsiteY68" fmla="*/ 1905000 h 4429225"/>
                    <a:gd name="connsiteX69" fmla="*/ 30502 w 4519987"/>
                    <a:gd name="connsiteY69" fmla="*/ 1838325 h 4429225"/>
                    <a:gd name="connsiteX70" fmla="*/ 49552 w 4519987"/>
                    <a:gd name="connsiteY70" fmla="*/ 1781175 h 4429225"/>
                    <a:gd name="connsiteX71" fmla="*/ 59077 w 4519987"/>
                    <a:gd name="connsiteY71" fmla="*/ 1743075 h 4429225"/>
                    <a:gd name="connsiteX72" fmla="*/ 78127 w 4519987"/>
                    <a:gd name="connsiteY72" fmla="*/ 1685925 h 4429225"/>
                    <a:gd name="connsiteX73" fmla="*/ 87652 w 4519987"/>
                    <a:gd name="connsiteY73" fmla="*/ 1638300 h 4429225"/>
                    <a:gd name="connsiteX74" fmla="*/ 106702 w 4519987"/>
                    <a:gd name="connsiteY74" fmla="*/ 1590675 h 4429225"/>
                    <a:gd name="connsiteX75" fmla="*/ 135277 w 4519987"/>
                    <a:gd name="connsiteY75" fmla="*/ 1504950 h 4429225"/>
                    <a:gd name="connsiteX76" fmla="*/ 154327 w 4519987"/>
                    <a:gd name="connsiteY76" fmla="*/ 1419225 h 4429225"/>
                    <a:gd name="connsiteX77" fmla="*/ 230527 w 4519987"/>
                    <a:gd name="connsiteY77" fmla="*/ 1276350 h 4429225"/>
                    <a:gd name="connsiteX78" fmla="*/ 240052 w 4519987"/>
                    <a:gd name="connsiteY78" fmla="*/ 1247775 h 4429225"/>
                    <a:gd name="connsiteX79" fmla="*/ 268627 w 4519987"/>
                    <a:gd name="connsiteY79" fmla="*/ 1200150 h 4429225"/>
                    <a:gd name="connsiteX80" fmla="*/ 287677 w 4519987"/>
                    <a:gd name="connsiteY80" fmla="*/ 1152525 h 4429225"/>
                    <a:gd name="connsiteX81" fmla="*/ 316252 w 4519987"/>
                    <a:gd name="connsiteY81" fmla="*/ 1114425 h 4429225"/>
                    <a:gd name="connsiteX82" fmla="*/ 363877 w 4519987"/>
                    <a:gd name="connsiteY82" fmla="*/ 1038225 h 4429225"/>
                    <a:gd name="connsiteX83" fmla="*/ 382927 w 4519987"/>
                    <a:gd name="connsiteY83" fmla="*/ 1009650 h 4429225"/>
                    <a:gd name="connsiteX84" fmla="*/ 440077 w 4519987"/>
                    <a:gd name="connsiteY84" fmla="*/ 904875 h 4429225"/>
                    <a:gd name="connsiteX85" fmla="*/ 478177 w 4519987"/>
                    <a:gd name="connsiteY85" fmla="*/ 857250 h 4429225"/>
                    <a:gd name="connsiteX86" fmla="*/ 497227 w 4519987"/>
                    <a:gd name="connsiteY86" fmla="*/ 828675 h 4429225"/>
                    <a:gd name="connsiteX87" fmla="*/ 535327 w 4519987"/>
                    <a:gd name="connsiteY87" fmla="*/ 800100 h 4429225"/>
                    <a:gd name="connsiteX88" fmla="*/ 602002 w 4519987"/>
                    <a:gd name="connsiteY88" fmla="*/ 733425 h 4429225"/>
                    <a:gd name="connsiteX89" fmla="*/ 668677 w 4519987"/>
                    <a:gd name="connsiteY89" fmla="*/ 676275 h 4429225"/>
                    <a:gd name="connsiteX90" fmla="*/ 697252 w 4519987"/>
                    <a:gd name="connsiteY90" fmla="*/ 657225 h 4429225"/>
                    <a:gd name="connsiteX91" fmla="*/ 840127 w 4519987"/>
                    <a:gd name="connsiteY91" fmla="*/ 533400 h 4429225"/>
                    <a:gd name="connsiteX92" fmla="*/ 887752 w 4519987"/>
                    <a:gd name="connsiteY92" fmla="*/ 504825 h 4429225"/>
                    <a:gd name="connsiteX93" fmla="*/ 1167152 w 4519987"/>
                    <a:gd name="connsiteY93" fmla="*/ 311150 h 4429225"/>
                    <a:gd name="connsiteX94" fmla="*/ 1268752 w 4519987"/>
                    <a:gd name="connsiteY94" fmla="*/ 285750 h 4429225"/>
                    <a:gd name="connsiteX95" fmla="*/ 1411627 w 4519987"/>
                    <a:gd name="connsiteY95" fmla="*/ 190500 h 4429225"/>
                    <a:gd name="connsiteX96" fmla="*/ 1449727 w 4519987"/>
                    <a:gd name="connsiteY96" fmla="*/ 161925 h 4429225"/>
                    <a:gd name="connsiteX97" fmla="*/ 1525927 w 4519987"/>
                    <a:gd name="connsiteY97" fmla="*/ 152400 h 4429225"/>
                    <a:gd name="connsiteX98" fmla="*/ 1583077 w 4519987"/>
                    <a:gd name="connsiteY98" fmla="*/ 142875 h 4429225"/>
                    <a:gd name="connsiteX99" fmla="*/ 1716427 w 4519987"/>
                    <a:gd name="connsiteY99" fmla="*/ 123825 h 4429225"/>
                    <a:gd name="connsiteX100" fmla="*/ 1811677 w 4519987"/>
                    <a:gd name="connsiteY100" fmla="*/ 114300 h 4429225"/>
                    <a:gd name="connsiteX101" fmla="*/ 1859302 w 4519987"/>
                    <a:gd name="connsiteY101" fmla="*/ 104775 h 4429225"/>
                    <a:gd name="connsiteX102" fmla="*/ 1916452 w 4519987"/>
                    <a:gd name="connsiteY102" fmla="*/ 95250 h 4429225"/>
                    <a:gd name="connsiteX103" fmla="*/ 2030752 w 4519987"/>
                    <a:gd name="connsiteY103" fmla="*/ 66675 h 4429225"/>
                    <a:gd name="connsiteX104" fmla="*/ 2097427 w 4519987"/>
                    <a:gd name="connsiteY104" fmla="*/ 47625 h 4429225"/>
                    <a:gd name="connsiteX105" fmla="*/ 2164102 w 4519987"/>
                    <a:gd name="connsiteY105" fmla="*/ 38100 h 4429225"/>
                    <a:gd name="connsiteX106" fmla="*/ 2392702 w 4519987"/>
                    <a:gd name="connsiteY10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525802 w 4519987"/>
                    <a:gd name="connsiteY52" fmla="*/ 3609975 h 4429225"/>
                    <a:gd name="connsiteX53" fmla="*/ 497227 w 4519987"/>
                    <a:gd name="connsiteY53" fmla="*/ 3552825 h 4429225"/>
                    <a:gd name="connsiteX54" fmla="*/ 440077 w 4519987"/>
                    <a:gd name="connsiteY54" fmla="*/ 3495675 h 4429225"/>
                    <a:gd name="connsiteX55" fmla="*/ 411502 w 4519987"/>
                    <a:gd name="connsiteY55" fmla="*/ 3448050 h 4429225"/>
                    <a:gd name="connsiteX56" fmla="*/ 278152 w 4519987"/>
                    <a:gd name="connsiteY56" fmla="*/ 3257550 h 4429225"/>
                    <a:gd name="connsiteX57" fmla="*/ 249577 w 4519987"/>
                    <a:gd name="connsiteY57" fmla="*/ 3200400 h 4429225"/>
                    <a:gd name="connsiteX58" fmla="*/ 240052 w 4519987"/>
                    <a:gd name="connsiteY58" fmla="*/ 3162300 h 4429225"/>
                    <a:gd name="connsiteX59" fmla="*/ 221002 w 4519987"/>
                    <a:gd name="connsiteY59" fmla="*/ 3105150 h 4429225"/>
                    <a:gd name="connsiteX60" fmla="*/ 173377 w 4519987"/>
                    <a:gd name="connsiteY60" fmla="*/ 3019425 h 4429225"/>
                    <a:gd name="connsiteX61" fmla="*/ 144802 w 4519987"/>
                    <a:gd name="connsiteY61" fmla="*/ 2924175 h 4429225"/>
                    <a:gd name="connsiteX62" fmla="*/ 68602 w 4519987"/>
                    <a:gd name="connsiteY62" fmla="*/ 2724150 h 4429225"/>
                    <a:gd name="connsiteX63" fmla="*/ 49552 w 4519987"/>
                    <a:gd name="connsiteY63" fmla="*/ 2638425 h 4429225"/>
                    <a:gd name="connsiteX64" fmla="*/ 40027 w 4519987"/>
                    <a:gd name="connsiteY64" fmla="*/ 2562225 h 4429225"/>
                    <a:gd name="connsiteX65" fmla="*/ 30502 w 4519987"/>
                    <a:gd name="connsiteY65" fmla="*/ 2514600 h 4429225"/>
                    <a:gd name="connsiteX66" fmla="*/ 11452 w 4519987"/>
                    <a:gd name="connsiteY66" fmla="*/ 2400300 h 4429225"/>
                    <a:gd name="connsiteX67" fmla="*/ 20977 w 4519987"/>
                    <a:gd name="connsiteY67" fmla="*/ 1905000 h 4429225"/>
                    <a:gd name="connsiteX68" fmla="*/ 30502 w 4519987"/>
                    <a:gd name="connsiteY68" fmla="*/ 1838325 h 4429225"/>
                    <a:gd name="connsiteX69" fmla="*/ 49552 w 4519987"/>
                    <a:gd name="connsiteY69" fmla="*/ 1781175 h 4429225"/>
                    <a:gd name="connsiteX70" fmla="*/ 59077 w 4519987"/>
                    <a:gd name="connsiteY70" fmla="*/ 1743075 h 4429225"/>
                    <a:gd name="connsiteX71" fmla="*/ 78127 w 4519987"/>
                    <a:gd name="connsiteY71" fmla="*/ 1685925 h 4429225"/>
                    <a:gd name="connsiteX72" fmla="*/ 87652 w 4519987"/>
                    <a:gd name="connsiteY72" fmla="*/ 1638300 h 4429225"/>
                    <a:gd name="connsiteX73" fmla="*/ 106702 w 4519987"/>
                    <a:gd name="connsiteY73" fmla="*/ 1590675 h 4429225"/>
                    <a:gd name="connsiteX74" fmla="*/ 135277 w 4519987"/>
                    <a:gd name="connsiteY74" fmla="*/ 1504950 h 4429225"/>
                    <a:gd name="connsiteX75" fmla="*/ 154327 w 4519987"/>
                    <a:gd name="connsiteY75" fmla="*/ 1419225 h 4429225"/>
                    <a:gd name="connsiteX76" fmla="*/ 230527 w 4519987"/>
                    <a:gd name="connsiteY76" fmla="*/ 1276350 h 4429225"/>
                    <a:gd name="connsiteX77" fmla="*/ 240052 w 4519987"/>
                    <a:gd name="connsiteY77" fmla="*/ 1247775 h 4429225"/>
                    <a:gd name="connsiteX78" fmla="*/ 268627 w 4519987"/>
                    <a:gd name="connsiteY78" fmla="*/ 1200150 h 4429225"/>
                    <a:gd name="connsiteX79" fmla="*/ 287677 w 4519987"/>
                    <a:gd name="connsiteY79" fmla="*/ 1152525 h 4429225"/>
                    <a:gd name="connsiteX80" fmla="*/ 316252 w 4519987"/>
                    <a:gd name="connsiteY80" fmla="*/ 1114425 h 4429225"/>
                    <a:gd name="connsiteX81" fmla="*/ 363877 w 4519987"/>
                    <a:gd name="connsiteY81" fmla="*/ 1038225 h 4429225"/>
                    <a:gd name="connsiteX82" fmla="*/ 382927 w 4519987"/>
                    <a:gd name="connsiteY82" fmla="*/ 1009650 h 4429225"/>
                    <a:gd name="connsiteX83" fmla="*/ 440077 w 4519987"/>
                    <a:gd name="connsiteY83" fmla="*/ 904875 h 4429225"/>
                    <a:gd name="connsiteX84" fmla="*/ 478177 w 4519987"/>
                    <a:gd name="connsiteY84" fmla="*/ 857250 h 4429225"/>
                    <a:gd name="connsiteX85" fmla="*/ 497227 w 4519987"/>
                    <a:gd name="connsiteY85" fmla="*/ 828675 h 4429225"/>
                    <a:gd name="connsiteX86" fmla="*/ 535327 w 4519987"/>
                    <a:gd name="connsiteY86" fmla="*/ 800100 h 4429225"/>
                    <a:gd name="connsiteX87" fmla="*/ 602002 w 4519987"/>
                    <a:gd name="connsiteY87" fmla="*/ 733425 h 4429225"/>
                    <a:gd name="connsiteX88" fmla="*/ 668677 w 4519987"/>
                    <a:gd name="connsiteY88" fmla="*/ 676275 h 4429225"/>
                    <a:gd name="connsiteX89" fmla="*/ 697252 w 4519987"/>
                    <a:gd name="connsiteY89" fmla="*/ 657225 h 4429225"/>
                    <a:gd name="connsiteX90" fmla="*/ 840127 w 4519987"/>
                    <a:gd name="connsiteY90" fmla="*/ 533400 h 4429225"/>
                    <a:gd name="connsiteX91" fmla="*/ 887752 w 4519987"/>
                    <a:gd name="connsiteY91" fmla="*/ 504825 h 4429225"/>
                    <a:gd name="connsiteX92" fmla="*/ 1167152 w 4519987"/>
                    <a:gd name="connsiteY92" fmla="*/ 311150 h 4429225"/>
                    <a:gd name="connsiteX93" fmla="*/ 1268752 w 4519987"/>
                    <a:gd name="connsiteY93" fmla="*/ 285750 h 4429225"/>
                    <a:gd name="connsiteX94" fmla="*/ 1411627 w 4519987"/>
                    <a:gd name="connsiteY94" fmla="*/ 190500 h 4429225"/>
                    <a:gd name="connsiteX95" fmla="*/ 1449727 w 4519987"/>
                    <a:gd name="connsiteY95" fmla="*/ 161925 h 4429225"/>
                    <a:gd name="connsiteX96" fmla="*/ 1525927 w 4519987"/>
                    <a:gd name="connsiteY96" fmla="*/ 152400 h 4429225"/>
                    <a:gd name="connsiteX97" fmla="*/ 1583077 w 4519987"/>
                    <a:gd name="connsiteY97" fmla="*/ 142875 h 4429225"/>
                    <a:gd name="connsiteX98" fmla="*/ 1716427 w 4519987"/>
                    <a:gd name="connsiteY98" fmla="*/ 123825 h 4429225"/>
                    <a:gd name="connsiteX99" fmla="*/ 1811677 w 4519987"/>
                    <a:gd name="connsiteY99" fmla="*/ 114300 h 4429225"/>
                    <a:gd name="connsiteX100" fmla="*/ 1859302 w 4519987"/>
                    <a:gd name="connsiteY100" fmla="*/ 104775 h 4429225"/>
                    <a:gd name="connsiteX101" fmla="*/ 1916452 w 4519987"/>
                    <a:gd name="connsiteY101" fmla="*/ 95250 h 4429225"/>
                    <a:gd name="connsiteX102" fmla="*/ 2030752 w 4519987"/>
                    <a:gd name="connsiteY102" fmla="*/ 66675 h 4429225"/>
                    <a:gd name="connsiteX103" fmla="*/ 2097427 w 4519987"/>
                    <a:gd name="connsiteY103" fmla="*/ 47625 h 4429225"/>
                    <a:gd name="connsiteX104" fmla="*/ 2164102 w 4519987"/>
                    <a:gd name="connsiteY104" fmla="*/ 38100 h 4429225"/>
                    <a:gd name="connsiteX105" fmla="*/ 2392702 w 4519987"/>
                    <a:gd name="connsiteY105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411502 w 4519987"/>
                    <a:gd name="connsiteY54" fmla="*/ 3448050 h 4429225"/>
                    <a:gd name="connsiteX55" fmla="*/ 278152 w 4519987"/>
                    <a:gd name="connsiteY55" fmla="*/ 3257550 h 4429225"/>
                    <a:gd name="connsiteX56" fmla="*/ 249577 w 4519987"/>
                    <a:gd name="connsiteY56" fmla="*/ 3200400 h 4429225"/>
                    <a:gd name="connsiteX57" fmla="*/ 240052 w 4519987"/>
                    <a:gd name="connsiteY57" fmla="*/ 3162300 h 4429225"/>
                    <a:gd name="connsiteX58" fmla="*/ 221002 w 4519987"/>
                    <a:gd name="connsiteY58" fmla="*/ 3105150 h 4429225"/>
                    <a:gd name="connsiteX59" fmla="*/ 173377 w 4519987"/>
                    <a:gd name="connsiteY59" fmla="*/ 3019425 h 4429225"/>
                    <a:gd name="connsiteX60" fmla="*/ 144802 w 4519987"/>
                    <a:gd name="connsiteY60" fmla="*/ 2924175 h 4429225"/>
                    <a:gd name="connsiteX61" fmla="*/ 68602 w 4519987"/>
                    <a:gd name="connsiteY61" fmla="*/ 2724150 h 4429225"/>
                    <a:gd name="connsiteX62" fmla="*/ 49552 w 4519987"/>
                    <a:gd name="connsiteY62" fmla="*/ 2638425 h 4429225"/>
                    <a:gd name="connsiteX63" fmla="*/ 40027 w 4519987"/>
                    <a:gd name="connsiteY63" fmla="*/ 2562225 h 4429225"/>
                    <a:gd name="connsiteX64" fmla="*/ 30502 w 4519987"/>
                    <a:gd name="connsiteY64" fmla="*/ 2514600 h 4429225"/>
                    <a:gd name="connsiteX65" fmla="*/ 11452 w 4519987"/>
                    <a:gd name="connsiteY65" fmla="*/ 2400300 h 4429225"/>
                    <a:gd name="connsiteX66" fmla="*/ 20977 w 4519987"/>
                    <a:gd name="connsiteY66" fmla="*/ 1905000 h 4429225"/>
                    <a:gd name="connsiteX67" fmla="*/ 30502 w 4519987"/>
                    <a:gd name="connsiteY67" fmla="*/ 1838325 h 4429225"/>
                    <a:gd name="connsiteX68" fmla="*/ 49552 w 4519987"/>
                    <a:gd name="connsiteY68" fmla="*/ 1781175 h 4429225"/>
                    <a:gd name="connsiteX69" fmla="*/ 59077 w 4519987"/>
                    <a:gd name="connsiteY69" fmla="*/ 1743075 h 4429225"/>
                    <a:gd name="connsiteX70" fmla="*/ 78127 w 4519987"/>
                    <a:gd name="connsiteY70" fmla="*/ 1685925 h 4429225"/>
                    <a:gd name="connsiteX71" fmla="*/ 87652 w 4519987"/>
                    <a:gd name="connsiteY71" fmla="*/ 1638300 h 4429225"/>
                    <a:gd name="connsiteX72" fmla="*/ 106702 w 4519987"/>
                    <a:gd name="connsiteY72" fmla="*/ 1590675 h 4429225"/>
                    <a:gd name="connsiteX73" fmla="*/ 135277 w 4519987"/>
                    <a:gd name="connsiteY73" fmla="*/ 1504950 h 4429225"/>
                    <a:gd name="connsiteX74" fmla="*/ 154327 w 4519987"/>
                    <a:gd name="connsiteY74" fmla="*/ 1419225 h 4429225"/>
                    <a:gd name="connsiteX75" fmla="*/ 230527 w 4519987"/>
                    <a:gd name="connsiteY75" fmla="*/ 1276350 h 4429225"/>
                    <a:gd name="connsiteX76" fmla="*/ 240052 w 4519987"/>
                    <a:gd name="connsiteY76" fmla="*/ 1247775 h 4429225"/>
                    <a:gd name="connsiteX77" fmla="*/ 268627 w 4519987"/>
                    <a:gd name="connsiteY77" fmla="*/ 1200150 h 4429225"/>
                    <a:gd name="connsiteX78" fmla="*/ 287677 w 4519987"/>
                    <a:gd name="connsiteY78" fmla="*/ 1152525 h 4429225"/>
                    <a:gd name="connsiteX79" fmla="*/ 316252 w 4519987"/>
                    <a:gd name="connsiteY79" fmla="*/ 1114425 h 4429225"/>
                    <a:gd name="connsiteX80" fmla="*/ 363877 w 4519987"/>
                    <a:gd name="connsiteY80" fmla="*/ 1038225 h 4429225"/>
                    <a:gd name="connsiteX81" fmla="*/ 382927 w 4519987"/>
                    <a:gd name="connsiteY81" fmla="*/ 1009650 h 4429225"/>
                    <a:gd name="connsiteX82" fmla="*/ 440077 w 4519987"/>
                    <a:gd name="connsiteY82" fmla="*/ 904875 h 4429225"/>
                    <a:gd name="connsiteX83" fmla="*/ 478177 w 4519987"/>
                    <a:gd name="connsiteY83" fmla="*/ 857250 h 4429225"/>
                    <a:gd name="connsiteX84" fmla="*/ 497227 w 4519987"/>
                    <a:gd name="connsiteY84" fmla="*/ 828675 h 4429225"/>
                    <a:gd name="connsiteX85" fmla="*/ 535327 w 4519987"/>
                    <a:gd name="connsiteY85" fmla="*/ 800100 h 4429225"/>
                    <a:gd name="connsiteX86" fmla="*/ 602002 w 4519987"/>
                    <a:gd name="connsiteY86" fmla="*/ 733425 h 4429225"/>
                    <a:gd name="connsiteX87" fmla="*/ 668677 w 4519987"/>
                    <a:gd name="connsiteY87" fmla="*/ 676275 h 4429225"/>
                    <a:gd name="connsiteX88" fmla="*/ 697252 w 4519987"/>
                    <a:gd name="connsiteY88" fmla="*/ 657225 h 4429225"/>
                    <a:gd name="connsiteX89" fmla="*/ 840127 w 4519987"/>
                    <a:gd name="connsiteY89" fmla="*/ 533400 h 4429225"/>
                    <a:gd name="connsiteX90" fmla="*/ 887752 w 4519987"/>
                    <a:gd name="connsiteY90" fmla="*/ 504825 h 4429225"/>
                    <a:gd name="connsiteX91" fmla="*/ 1167152 w 4519987"/>
                    <a:gd name="connsiteY91" fmla="*/ 311150 h 4429225"/>
                    <a:gd name="connsiteX92" fmla="*/ 1268752 w 4519987"/>
                    <a:gd name="connsiteY92" fmla="*/ 285750 h 4429225"/>
                    <a:gd name="connsiteX93" fmla="*/ 1411627 w 4519987"/>
                    <a:gd name="connsiteY93" fmla="*/ 190500 h 4429225"/>
                    <a:gd name="connsiteX94" fmla="*/ 1449727 w 4519987"/>
                    <a:gd name="connsiteY94" fmla="*/ 161925 h 4429225"/>
                    <a:gd name="connsiteX95" fmla="*/ 1525927 w 4519987"/>
                    <a:gd name="connsiteY95" fmla="*/ 152400 h 4429225"/>
                    <a:gd name="connsiteX96" fmla="*/ 1583077 w 4519987"/>
                    <a:gd name="connsiteY96" fmla="*/ 142875 h 4429225"/>
                    <a:gd name="connsiteX97" fmla="*/ 1716427 w 4519987"/>
                    <a:gd name="connsiteY97" fmla="*/ 123825 h 4429225"/>
                    <a:gd name="connsiteX98" fmla="*/ 1811677 w 4519987"/>
                    <a:gd name="connsiteY98" fmla="*/ 114300 h 4429225"/>
                    <a:gd name="connsiteX99" fmla="*/ 1859302 w 4519987"/>
                    <a:gd name="connsiteY99" fmla="*/ 104775 h 4429225"/>
                    <a:gd name="connsiteX100" fmla="*/ 1916452 w 4519987"/>
                    <a:gd name="connsiteY100" fmla="*/ 95250 h 4429225"/>
                    <a:gd name="connsiteX101" fmla="*/ 2030752 w 4519987"/>
                    <a:gd name="connsiteY101" fmla="*/ 66675 h 4429225"/>
                    <a:gd name="connsiteX102" fmla="*/ 2097427 w 4519987"/>
                    <a:gd name="connsiteY102" fmla="*/ 47625 h 4429225"/>
                    <a:gd name="connsiteX103" fmla="*/ 2164102 w 4519987"/>
                    <a:gd name="connsiteY103" fmla="*/ 38100 h 4429225"/>
                    <a:gd name="connsiteX104" fmla="*/ 2392702 w 4519987"/>
                    <a:gd name="connsiteY10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278152 w 4519987"/>
                    <a:gd name="connsiteY54" fmla="*/ 3257550 h 4429225"/>
                    <a:gd name="connsiteX55" fmla="*/ 249577 w 4519987"/>
                    <a:gd name="connsiteY55" fmla="*/ 3200400 h 4429225"/>
                    <a:gd name="connsiteX56" fmla="*/ 240052 w 4519987"/>
                    <a:gd name="connsiteY56" fmla="*/ 3162300 h 4429225"/>
                    <a:gd name="connsiteX57" fmla="*/ 221002 w 4519987"/>
                    <a:gd name="connsiteY57" fmla="*/ 3105150 h 4429225"/>
                    <a:gd name="connsiteX58" fmla="*/ 173377 w 4519987"/>
                    <a:gd name="connsiteY58" fmla="*/ 3019425 h 4429225"/>
                    <a:gd name="connsiteX59" fmla="*/ 144802 w 4519987"/>
                    <a:gd name="connsiteY59" fmla="*/ 2924175 h 4429225"/>
                    <a:gd name="connsiteX60" fmla="*/ 68602 w 4519987"/>
                    <a:gd name="connsiteY60" fmla="*/ 2724150 h 4429225"/>
                    <a:gd name="connsiteX61" fmla="*/ 49552 w 4519987"/>
                    <a:gd name="connsiteY61" fmla="*/ 2638425 h 4429225"/>
                    <a:gd name="connsiteX62" fmla="*/ 40027 w 4519987"/>
                    <a:gd name="connsiteY62" fmla="*/ 2562225 h 4429225"/>
                    <a:gd name="connsiteX63" fmla="*/ 30502 w 4519987"/>
                    <a:gd name="connsiteY63" fmla="*/ 2514600 h 4429225"/>
                    <a:gd name="connsiteX64" fmla="*/ 11452 w 4519987"/>
                    <a:gd name="connsiteY64" fmla="*/ 2400300 h 4429225"/>
                    <a:gd name="connsiteX65" fmla="*/ 20977 w 4519987"/>
                    <a:gd name="connsiteY65" fmla="*/ 1905000 h 4429225"/>
                    <a:gd name="connsiteX66" fmla="*/ 30502 w 4519987"/>
                    <a:gd name="connsiteY66" fmla="*/ 1838325 h 4429225"/>
                    <a:gd name="connsiteX67" fmla="*/ 49552 w 4519987"/>
                    <a:gd name="connsiteY67" fmla="*/ 1781175 h 4429225"/>
                    <a:gd name="connsiteX68" fmla="*/ 59077 w 4519987"/>
                    <a:gd name="connsiteY68" fmla="*/ 1743075 h 4429225"/>
                    <a:gd name="connsiteX69" fmla="*/ 78127 w 4519987"/>
                    <a:gd name="connsiteY69" fmla="*/ 1685925 h 4429225"/>
                    <a:gd name="connsiteX70" fmla="*/ 87652 w 4519987"/>
                    <a:gd name="connsiteY70" fmla="*/ 1638300 h 4429225"/>
                    <a:gd name="connsiteX71" fmla="*/ 106702 w 4519987"/>
                    <a:gd name="connsiteY71" fmla="*/ 1590675 h 4429225"/>
                    <a:gd name="connsiteX72" fmla="*/ 135277 w 4519987"/>
                    <a:gd name="connsiteY72" fmla="*/ 1504950 h 4429225"/>
                    <a:gd name="connsiteX73" fmla="*/ 154327 w 4519987"/>
                    <a:gd name="connsiteY73" fmla="*/ 1419225 h 4429225"/>
                    <a:gd name="connsiteX74" fmla="*/ 230527 w 4519987"/>
                    <a:gd name="connsiteY74" fmla="*/ 1276350 h 4429225"/>
                    <a:gd name="connsiteX75" fmla="*/ 240052 w 4519987"/>
                    <a:gd name="connsiteY75" fmla="*/ 1247775 h 4429225"/>
                    <a:gd name="connsiteX76" fmla="*/ 268627 w 4519987"/>
                    <a:gd name="connsiteY76" fmla="*/ 1200150 h 4429225"/>
                    <a:gd name="connsiteX77" fmla="*/ 287677 w 4519987"/>
                    <a:gd name="connsiteY77" fmla="*/ 1152525 h 4429225"/>
                    <a:gd name="connsiteX78" fmla="*/ 316252 w 4519987"/>
                    <a:gd name="connsiteY78" fmla="*/ 1114425 h 4429225"/>
                    <a:gd name="connsiteX79" fmla="*/ 363877 w 4519987"/>
                    <a:gd name="connsiteY79" fmla="*/ 1038225 h 4429225"/>
                    <a:gd name="connsiteX80" fmla="*/ 382927 w 4519987"/>
                    <a:gd name="connsiteY80" fmla="*/ 1009650 h 4429225"/>
                    <a:gd name="connsiteX81" fmla="*/ 440077 w 4519987"/>
                    <a:gd name="connsiteY81" fmla="*/ 904875 h 4429225"/>
                    <a:gd name="connsiteX82" fmla="*/ 478177 w 4519987"/>
                    <a:gd name="connsiteY82" fmla="*/ 857250 h 4429225"/>
                    <a:gd name="connsiteX83" fmla="*/ 497227 w 4519987"/>
                    <a:gd name="connsiteY83" fmla="*/ 828675 h 4429225"/>
                    <a:gd name="connsiteX84" fmla="*/ 535327 w 4519987"/>
                    <a:gd name="connsiteY84" fmla="*/ 800100 h 4429225"/>
                    <a:gd name="connsiteX85" fmla="*/ 602002 w 4519987"/>
                    <a:gd name="connsiteY85" fmla="*/ 733425 h 4429225"/>
                    <a:gd name="connsiteX86" fmla="*/ 668677 w 4519987"/>
                    <a:gd name="connsiteY86" fmla="*/ 676275 h 4429225"/>
                    <a:gd name="connsiteX87" fmla="*/ 697252 w 4519987"/>
                    <a:gd name="connsiteY87" fmla="*/ 657225 h 4429225"/>
                    <a:gd name="connsiteX88" fmla="*/ 840127 w 4519987"/>
                    <a:gd name="connsiteY88" fmla="*/ 533400 h 4429225"/>
                    <a:gd name="connsiteX89" fmla="*/ 887752 w 4519987"/>
                    <a:gd name="connsiteY89" fmla="*/ 504825 h 4429225"/>
                    <a:gd name="connsiteX90" fmla="*/ 1167152 w 4519987"/>
                    <a:gd name="connsiteY90" fmla="*/ 311150 h 4429225"/>
                    <a:gd name="connsiteX91" fmla="*/ 1268752 w 4519987"/>
                    <a:gd name="connsiteY91" fmla="*/ 285750 h 4429225"/>
                    <a:gd name="connsiteX92" fmla="*/ 1411627 w 4519987"/>
                    <a:gd name="connsiteY92" fmla="*/ 190500 h 4429225"/>
                    <a:gd name="connsiteX93" fmla="*/ 1449727 w 4519987"/>
                    <a:gd name="connsiteY93" fmla="*/ 161925 h 4429225"/>
                    <a:gd name="connsiteX94" fmla="*/ 1525927 w 4519987"/>
                    <a:gd name="connsiteY94" fmla="*/ 152400 h 4429225"/>
                    <a:gd name="connsiteX95" fmla="*/ 1583077 w 4519987"/>
                    <a:gd name="connsiteY95" fmla="*/ 142875 h 4429225"/>
                    <a:gd name="connsiteX96" fmla="*/ 1716427 w 4519987"/>
                    <a:gd name="connsiteY96" fmla="*/ 123825 h 4429225"/>
                    <a:gd name="connsiteX97" fmla="*/ 1811677 w 4519987"/>
                    <a:gd name="connsiteY97" fmla="*/ 114300 h 4429225"/>
                    <a:gd name="connsiteX98" fmla="*/ 1859302 w 4519987"/>
                    <a:gd name="connsiteY98" fmla="*/ 104775 h 4429225"/>
                    <a:gd name="connsiteX99" fmla="*/ 1916452 w 4519987"/>
                    <a:gd name="connsiteY99" fmla="*/ 95250 h 4429225"/>
                    <a:gd name="connsiteX100" fmla="*/ 2030752 w 4519987"/>
                    <a:gd name="connsiteY100" fmla="*/ 66675 h 4429225"/>
                    <a:gd name="connsiteX101" fmla="*/ 2097427 w 4519987"/>
                    <a:gd name="connsiteY101" fmla="*/ 47625 h 4429225"/>
                    <a:gd name="connsiteX102" fmla="*/ 2164102 w 4519987"/>
                    <a:gd name="connsiteY102" fmla="*/ 38100 h 4429225"/>
                    <a:gd name="connsiteX103" fmla="*/ 2392702 w 4519987"/>
                    <a:gd name="connsiteY10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40077 w 4519987"/>
                    <a:gd name="connsiteY52" fmla="*/ 3495675 h 4429225"/>
                    <a:gd name="connsiteX53" fmla="*/ 278152 w 4519987"/>
                    <a:gd name="connsiteY53" fmla="*/ 3257550 h 4429225"/>
                    <a:gd name="connsiteX54" fmla="*/ 249577 w 4519987"/>
                    <a:gd name="connsiteY54" fmla="*/ 3200400 h 4429225"/>
                    <a:gd name="connsiteX55" fmla="*/ 240052 w 4519987"/>
                    <a:gd name="connsiteY55" fmla="*/ 3162300 h 4429225"/>
                    <a:gd name="connsiteX56" fmla="*/ 221002 w 4519987"/>
                    <a:gd name="connsiteY56" fmla="*/ 3105150 h 4429225"/>
                    <a:gd name="connsiteX57" fmla="*/ 173377 w 4519987"/>
                    <a:gd name="connsiteY57" fmla="*/ 3019425 h 4429225"/>
                    <a:gd name="connsiteX58" fmla="*/ 144802 w 4519987"/>
                    <a:gd name="connsiteY58" fmla="*/ 2924175 h 4429225"/>
                    <a:gd name="connsiteX59" fmla="*/ 68602 w 4519987"/>
                    <a:gd name="connsiteY59" fmla="*/ 2724150 h 4429225"/>
                    <a:gd name="connsiteX60" fmla="*/ 49552 w 4519987"/>
                    <a:gd name="connsiteY60" fmla="*/ 2638425 h 4429225"/>
                    <a:gd name="connsiteX61" fmla="*/ 40027 w 4519987"/>
                    <a:gd name="connsiteY61" fmla="*/ 2562225 h 4429225"/>
                    <a:gd name="connsiteX62" fmla="*/ 30502 w 4519987"/>
                    <a:gd name="connsiteY62" fmla="*/ 2514600 h 4429225"/>
                    <a:gd name="connsiteX63" fmla="*/ 11452 w 4519987"/>
                    <a:gd name="connsiteY63" fmla="*/ 2400300 h 4429225"/>
                    <a:gd name="connsiteX64" fmla="*/ 20977 w 4519987"/>
                    <a:gd name="connsiteY64" fmla="*/ 1905000 h 4429225"/>
                    <a:gd name="connsiteX65" fmla="*/ 30502 w 4519987"/>
                    <a:gd name="connsiteY65" fmla="*/ 1838325 h 4429225"/>
                    <a:gd name="connsiteX66" fmla="*/ 49552 w 4519987"/>
                    <a:gd name="connsiteY66" fmla="*/ 1781175 h 4429225"/>
                    <a:gd name="connsiteX67" fmla="*/ 59077 w 4519987"/>
                    <a:gd name="connsiteY67" fmla="*/ 1743075 h 4429225"/>
                    <a:gd name="connsiteX68" fmla="*/ 78127 w 4519987"/>
                    <a:gd name="connsiteY68" fmla="*/ 1685925 h 4429225"/>
                    <a:gd name="connsiteX69" fmla="*/ 87652 w 4519987"/>
                    <a:gd name="connsiteY69" fmla="*/ 1638300 h 4429225"/>
                    <a:gd name="connsiteX70" fmla="*/ 106702 w 4519987"/>
                    <a:gd name="connsiteY70" fmla="*/ 1590675 h 4429225"/>
                    <a:gd name="connsiteX71" fmla="*/ 135277 w 4519987"/>
                    <a:gd name="connsiteY71" fmla="*/ 1504950 h 4429225"/>
                    <a:gd name="connsiteX72" fmla="*/ 154327 w 4519987"/>
                    <a:gd name="connsiteY72" fmla="*/ 1419225 h 4429225"/>
                    <a:gd name="connsiteX73" fmla="*/ 230527 w 4519987"/>
                    <a:gd name="connsiteY73" fmla="*/ 1276350 h 4429225"/>
                    <a:gd name="connsiteX74" fmla="*/ 240052 w 4519987"/>
                    <a:gd name="connsiteY74" fmla="*/ 1247775 h 4429225"/>
                    <a:gd name="connsiteX75" fmla="*/ 268627 w 4519987"/>
                    <a:gd name="connsiteY75" fmla="*/ 1200150 h 4429225"/>
                    <a:gd name="connsiteX76" fmla="*/ 287677 w 4519987"/>
                    <a:gd name="connsiteY76" fmla="*/ 1152525 h 4429225"/>
                    <a:gd name="connsiteX77" fmla="*/ 316252 w 4519987"/>
                    <a:gd name="connsiteY77" fmla="*/ 1114425 h 4429225"/>
                    <a:gd name="connsiteX78" fmla="*/ 363877 w 4519987"/>
                    <a:gd name="connsiteY78" fmla="*/ 1038225 h 4429225"/>
                    <a:gd name="connsiteX79" fmla="*/ 382927 w 4519987"/>
                    <a:gd name="connsiteY79" fmla="*/ 1009650 h 4429225"/>
                    <a:gd name="connsiteX80" fmla="*/ 440077 w 4519987"/>
                    <a:gd name="connsiteY80" fmla="*/ 904875 h 4429225"/>
                    <a:gd name="connsiteX81" fmla="*/ 478177 w 4519987"/>
                    <a:gd name="connsiteY81" fmla="*/ 857250 h 4429225"/>
                    <a:gd name="connsiteX82" fmla="*/ 497227 w 4519987"/>
                    <a:gd name="connsiteY82" fmla="*/ 828675 h 4429225"/>
                    <a:gd name="connsiteX83" fmla="*/ 535327 w 4519987"/>
                    <a:gd name="connsiteY83" fmla="*/ 800100 h 4429225"/>
                    <a:gd name="connsiteX84" fmla="*/ 602002 w 4519987"/>
                    <a:gd name="connsiteY84" fmla="*/ 733425 h 4429225"/>
                    <a:gd name="connsiteX85" fmla="*/ 668677 w 4519987"/>
                    <a:gd name="connsiteY85" fmla="*/ 676275 h 4429225"/>
                    <a:gd name="connsiteX86" fmla="*/ 697252 w 4519987"/>
                    <a:gd name="connsiteY86" fmla="*/ 657225 h 4429225"/>
                    <a:gd name="connsiteX87" fmla="*/ 840127 w 4519987"/>
                    <a:gd name="connsiteY87" fmla="*/ 533400 h 4429225"/>
                    <a:gd name="connsiteX88" fmla="*/ 887752 w 4519987"/>
                    <a:gd name="connsiteY88" fmla="*/ 504825 h 4429225"/>
                    <a:gd name="connsiteX89" fmla="*/ 1167152 w 4519987"/>
                    <a:gd name="connsiteY89" fmla="*/ 311150 h 4429225"/>
                    <a:gd name="connsiteX90" fmla="*/ 1268752 w 4519987"/>
                    <a:gd name="connsiteY90" fmla="*/ 285750 h 4429225"/>
                    <a:gd name="connsiteX91" fmla="*/ 1411627 w 4519987"/>
                    <a:gd name="connsiteY91" fmla="*/ 190500 h 4429225"/>
                    <a:gd name="connsiteX92" fmla="*/ 1449727 w 4519987"/>
                    <a:gd name="connsiteY92" fmla="*/ 161925 h 4429225"/>
                    <a:gd name="connsiteX93" fmla="*/ 1525927 w 4519987"/>
                    <a:gd name="connsiteY93" fmla="*/ 152400 h 4429225"/>
                    <a:gd name="connsiteX94" fmla="*/ 1583077 w 4519987"/>
                    <a:gd name="connsiteY94" fmla="*/ 142875 h 4429225"/>
                    <a:gd name="connsiteX95" fmla="*/ 1716427 w 4519987"/>
                    <a:gd name="connsiteY95" fmla="*/ 123825 h 4429225"/>
                    <a:gd name="connsiteX96" fmla="*/ 1811677 w 4519987"/>
                    <a:gd name="connsiteY96" fmla="*/ 114300 h 4429225"/>
                    <a:gd name="connsiteX97" fmla="*/ 1859302 w 4519987"/>
                    <a:gd name="connsiteY97" fmla="*/ 104775 h 4429225"/>
                    <a:gd name="connsiteX98" fmla="*/ 1916452 w 4519987"/>
                    <a:gd name="connsiteY98" fmla="*/ 95250 h 4429225"/>
                    <a:gd name="connsiteX99" fmla="*/ 2030752 w 4519987"/>
                    <a:gd name="connsiteY99" fmla="*/ 66675 h 4429225"/>
                    <a:gd name="connsiteX100" fmla="*/ 2097427 w 4519987"/>
                    <a:gd name="connsiteY100" fmla="*/ 47625 h 4429225"/>
                    <a:gd name="connsiteX101" fmla="*/ 2164102 w 4519987"/>
                    <a:gd name="connsiteY101" fmla="*/ 38100 h 4429225"/>
                    <a:gd name="connsiteX102" fmla="*/ 2392702 w 4519987"/>
                    <a:gd name="connsiteY10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40052 w 4519987"/>
                    <a:gd name="connsiteY54" fmla="*/ 3162300 h 4429225"/>
                    <a:gd name="connsiteX55" fmla="*/ 221002 w 4519987"/>
                    <a:gd name="connsiteY55" fmla="*/ 3105150 h 4429225"/>
                    <a:gd name="connsiteX56" fmla="*/ 173377 w 4519987"/>
                    <a:gd name="connsiteY56" fmla="*/ 3019425 h 4429225"/>
                    <a:gd name="connsiteX57" fmla="*/ 144802 w 4519987"/>
                    <a:gd name="connsiteY57" fmla="*/ 2924175 h 4429225"/>
                    <a:gd name="connsiteX58" fmla="*/ 68602 w 4519987"/>
                    <a:gd name="connsiteY58" fmla="*/ 2724150 h 4429225"/>
                    <a:gd name="connsiteX59" fmla="*/ 49552 w 4519987"/>
                    <a:gd name="connsiteY59" fmla="*/ 2638425 h 4429225"/>
                    <a:gd name="connsiteX60" fmla="*/ 40027 w 4519987"/>
                    <a:gd name="connsiteY60" fmla="*/ 2562225 h 4429225"/>
                    <a:gd name="connsiteX61" fmla="*/ 30502 w 4519987"/>
                    <a:gd name="connsiteY61" fmla="*/ 2514600 h 4429225"/>
                    <a:gd name="connsiteX62" fmla="*/ 11452 w 4519987"/>
                    <a:gd name="connsiteY62" fmla="*/ 2400300 h 4429225"/>
                    <a:gd name="connsiteX63" fmla="*/ 20977 w 4519987"/>
                    <a:gd name="connsiteY63" fmla="*/ 1905000 h 4429225"/>
                    <a:gd name="connsiteX64" fmla="*/ 30502 w 4519987"/>
                    <a:gd name="connsiteY64" fmla="*/ 1838325 h 4429225"/>
                    <a:gd name="connsiteX65" fmla="*/ 49552 w 4519987"/>
                    <a:gd name="connsiteY65" fmla="*/ 1781175 h 4429225"/>
                    <a:gd name="connsiteX66" fmla="*/ 59077 w 4519987"/>
                    <a:gd name="connsiteY66" fmla="*/ 1743075 h 4429225"/>
                    <a:gd name="connsiteX67" fmla="*/ 78127 w 4519987"/>
                    <a:gd name="connsiteY67" fmla="*/ 1685925 h 4429225"/>
                    <a:gd name="connsiteX68" fmla="*/ 87652 w 4519987"/>
                    <a:gd name="connsiteY68" fmla="*/ 1638300 h 4429225"/>
                    <a:gd name="connsiteX69" fmla="*/ 106702 w 4519987"/>
                    <a:gd name="connsiteY69" fmla="*/ 1590675 h 4429225"/>
                    <a:gd name="connsiteX70" fmla="*/ 135277 w 4519987"/>
                    <a:gd name="connsiteY70" fmla="*/ 1504950 h 4429225"/>
                    <a:gd name="connsiteX71" fmla="*/ 154327 w 4519987"/>
                    <a:gd name="connsiteY71" fmla="*/ 1419225 h 4429225"/>
                    <a:gd name="connsiteX72" fmla="*/ 230527 w 4519987"/>
                    <a:gd name="connsiteY72" fmla="*/ 1276350 h 4429225"/>
                    <a:gd name="connsiteX73" fmla="*/ 240052 w 4519987"/>
                    <a:gd name="connsiteY73" fmla="*/ 1247775 h 4429225"/>
                    <a:gd name="connsiteX74" fmla="*/ 268627 w 4519987"/>
                    <a:gd name="connsiteY74" fmla="*/ 1200150 h 4429225"/>
                    <a:gd name="connsiteX75" fmla="*/ 287677 w 4519987"/>
                    <a:gd name="connsiteY75" fmla="*/ 1152525 h 4429225"/>
                    <a:gd name="connsiteX76" fmla="*/ 316252 w 4519987"/>
                    <a:gd name="connsiteY76" fmla="*/ 1114425 h 4429225"/>
                    <a:gd name="connsiteX77" fmla="*/ 363877 w 4519987"/>
                    <a:gd name="connsiteY77" fmla="*/ 1038225 h 4429225"/>
                    <a:gd name="connsiteX78" fmla="*/ 382927 w 4519987"/>
                    <a:gd name="connsiteY78" fmla="*/ 1009650 h 4429225"/>
                    <a:gd name="connsiteX79" fmla="*/ 440077 w 4519987"/>
                    <a:gd name="connsiteY79" fmla="*/ 904875 h 4429225"/>
                    <a:gd name="connsiteX80" fmla="*/ 478177 w 4519987"/>
                    <a:gd name="connsiteY80" fmla="*/ 857250 h 4429225"/>
                    <a:gd name="connsiteX81" fmla="*/ 497227 w 4519987"/>
                    <a:gd name="connsiteY81" fmla="*/ 828675 h 4429225"/>
                    <a:gd name="connsiteX82" fmla="*/ 535327 w 4519987"/>
                    <a:gd name="connsiteY82" fmla="*/ 800100 h 4429225"/>
                    <a:gd name="connsiteX83" fmla="*/ 602002 w 4519987"/>
                    <a:gd name="connsiteY83" fmla="*/ 733425 h 4429225"/>
                    <a:gd name="connsiteX84" fmla="*/ 668677 w 4519987"/>
                    <a:gd name="connsiteY84" fmla="*/ 676275 h 4429225"/>
                    <a:gd name="connsiteX85" fmla="*/ 697252 w 4519987"/>
                    <a:gd name="connsiteY85" fmla="*/ 657225 h 4429225"/>
                    <a:gd name="connsiteX86" fmla="*/ 840127 w 4519987"/>
                    <a:gd name="connsiteY86" fmla="*/ 533400 h 4429225"/>
                    <a:gd name="connsiteX87" fmla="*/ 887752 w 4519987"/>
                    <a:gd name="connsiteY87" fmla="*/ 504825 h 4429225"/>
                    <a:gd name="connsiteX88" fmla="*/ 1167152 w 4519987"/>
                    <a:gd name="connsiteY88" fmla="*/ 311150 h 4429225"/>
                    <a:gd name="connsiteX89" fmla="*/ 1268752 w 4519987"/>
                    <a:gd name="connsiteY89" fmla="*/ 285750 h 4429225"/>
                    <a:gd name="connsiteX90" fmla="*/ 1411627 w 4519987"/>
                    <a:gd name="connsiteY90" fmla="*/ 190500 h 4429225"/>
                    <a:gd name="connsiteX91" fmla="*/ 1449727 w 4519987"/>
                    <a:gd name="connsiteY91" fmla="*/ 161925 h 4429225"/>
                    <a:gd name="connsiteX92" fmla="*/ 1525927 w 4519987"/>
                    <a:gd name="connsiteY92" fmla="*/ 152400 h 4429225"/>
                    <a:gd name="connsiteX93" fmla="*/ 1583077 w 4519987"/>
                    <a:gd name="connsiteY93" fmla="*/ 142875 h 4429225"/>
                    <a:gd name="connsiteX94" fmla="*/ 1716427 w 4519987"/>
                    <a:gd name="connsiteY94" fmla="*/ 123825 h 4429225"/>
                    <a:gd name="connsiteX95" fmla="*/ 1811677 w 4519987"/>
                    <a:gd name="connsiteY95" fmla="*/ 114300 h 4429225"/>
                    <a:gd name="connsiteX96" fmla="*/ 1859302 w 4519987"/>
                    <a:gd name="connsiteY96" fmla="*/ 104775 h 4429225"/>
                    <a:gd name="connsiteX97" fmla="*/ 1916452 w 4519987"/>
                    <a:gd name="connsiteY97" fmla="*/ 95250 h 4429225"/>
                    <a:gd name="connsiteX98" fmla="*/ 2030752 w 4519987"/>
                    <a:gd name="connsiteY98" fmla="*/ 66675 h 4429225"/>
                    <a:gd name="connsiteX99" fmla="*/ 2097427 w 4519987"/>
                    <a:gd name="connsiteY99" fmla="*/ 47625 h 4429225"/>
                    <a:gd name="connsiteX100" fmla="*/ 2164102 w 4519987"/>
                    <a:gd name="connsiteY100" fmla="*/ 38100 h 4429225"/>
                    <a:gd name="connsiteX101" fmla="*/ 2392702 w 4519987"/>
                    <a:gd name="connsiteY10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21002 w 4519987"/>
                    <a:gd name="connsiteY54" fmla="*/ 3105150 h 4429225"/>
                    <a:gd name="connsiteX55" fmla="*/ 173377 w 4519987"/>
                    <a:gd name="connsiteY55" fmla="*/ 3019425 h 4429225"/>
                    <a:gd name="connsiteX56" fmla="*/ 144802 w 4519987"/>
                    <a:gd name="connsiteY56" fmla="*/ 2924175 h 4429225"/>
                    <a:gd name="connsiteX57" fmla="*/ 68602 w 4519987"/>
                    <a:gd name="connsiteY57" fmla="*/ 2724150 h 4429225"/>
                    <a:gd name="connsiteX58" fmla="*/ 49552 w 4519987"/>
                    <a:gd name="connsiteY58" fmla="*/ 2638425 h 4429225"/>
                    <a:gd name="connsiteX59" fmla="*/ 40027 w 4519987"/>
                    <a:gd name="connsiteY59" fmla="*/ 2562225 h 4429225"/>
                    <a:gd name="connsiteX60" fmla="*/ 30502 w 4519987"/>
                    <a:gd name="connsiteY60" fmla="*/ 2514600 h 4429225"/>
                    <a:gd name="connsiteX61" fmla="*/ 11452 w 4519987"/>
                    <a:gd name="connsiteY61" fmla="*/ 2400300 h 4429225"/>
                    <a:gd name="connsiteX62" fmla="*/ 20977 w 4519987"/>
                    <a:gd name="connsiteY62" fmla="*/ 1905000 h 4429225"/>
                    <a:gd name="connsiteX63" fmla="*/ 30502 w 4519987"/>
                    <a:gd name="connsiteY63" fmla="*/ 1838325 h 4429225"/>
                    <a:gd name="connsiteX64" fmla="*/ 49552 w 4519987"/>
                    <a:gd name="connsiteY64" fmla="*/ 1781175 h 4429225"/>
                    <a:gd name="connsiteX65" fmla="*/ 59077 w 4519987"/>
                    <a:gd name="connsiteY65" fmla="*/ 1743075 h 4429225"/>
                    <a:gd name="connsiteX66" fmla="*/ 78127 w 4519987"/>
                    <a:gd name="connsiteY66" fmla="*/ 1685925 h 4429225"/>
                    <a:gd name="connsiteX67" fmla="*/ 87652 w 4519987"/>
                    <a:gd name="connsiteY67" fmla="*/ 1638300 h 4429225"/>
                    <a:gd name="connsiteX68" fmla="*/ 106702 w 4519987"/>
                    <a:gd name="connsiteY68" fmla="*/ 1590675 h 4429225"/>
                    <a:gd name="connsiteX69" fmla="*/ 135277 w 4519987"/>
                    <a:gd name="connsiteY69" fmla="*/ 1504950 h 4429225"/>
                    <a:gd name="connsiteX70" fmla="*/ 154327 w 4519987"/>
                    <a:gd name="connsiteY70" fmla="*/ 1419225 h 4429225"/>
                    <a:gd name="connsiteX71" fmla="*/ 230527 w 4519987"/>
                    <a:gd name="connsiteY71" fmla="*/ 1276350 h 4429225"/>
                    <a:gd name="connsiteX72" fmla="*/ 240052 w 4519987"/>
                    <a:gd name="connsiteY72" fmla="*/ 1247775 h 4429225"/>
                    <a:gd name="connsiteX73" fmla="*/ 268627 w 4519987"/>
                    <a:gd name="connsiteY73" fmla="*/ 1200150 h 4429225"/>
                    <a:gd name="connsiteX74" fmla="*/ 287677 w 4519987"/>
                    <a:gd name="connsiteY74" fmla="*/ 1152525 h 4429225"/>
                    <a:gd name="connsiteX75" fmla="*/ 316252 w 4519987"/>
                    <a:gd name="connsiteY75" fmla="*/ 1114425 h 4429225"/>
                    <a:gd name="connsiteX76" fmla="*/ 363877 w 4519987"/>
                    <a:gd name="connsiteY76" fmla="*/ 1038225 h 4429225"/>
                    <a:gd name="connsiteX77" fmla="*/ 382927 w 4519987"/>
                    <a:gd name="connsiteY77" fmla="*/ 1009650 h 4429225"/>
                    <a:gd name="connsiteX78" fmla="*/ 440077 w 4519987"/>
                    <a:gd name="connsiteY78" fmla="*/ 904875 h 4429225"/>
                    <a:gd name="connsiteX79" fmla="*/ 478177 w 4519987"/>
                    <a:gd name="connsiteY79" fmla="*/ 857250 h 4429225"/>
                    <a:gd name="connsiteX80" fmla="*/ 497227 w 4519987"/>
                    <a:gd name="connsiteY80" fmla="*/ 828675 h 4429225"/>
                    <a:gd name="connsiteX81" fmla="*/ 535327 w 4519987"/>
                    <a:gd name="connsiteY81" fmla="*/ 800100 h 4429225"/>
                    <a:gd name="connsiteX82" fmla="*/ 602002 w 4519987"/>
                    <a:gd name="connsiteY82" fmla="*/ 733425 h 4429225"/>
                    <a:gd name="connsiteX83" fmla="*/ 668677 w 4519987"/>
                    <a:gd name="connsiteY83" fmla="*/ 676275 h 4429225"/>
                    <a:gd name="connsiteX84" fmla="*/ 697252 w 4519987"/>
                    <a:gd name="connsiteY84" fmla="*/ 657225 h 4429225"/>
                    <a:gd name="connsiteX85" fmla="*/ 840127 w 4519987"/>
                    <a:gd name="connsiteY85" fmla="*/ 533400 h 4429225"/>
                    <a:gd name="connsiteX86" fmla="*/ 887752 w 4519987"/>
                    <a:gd name="connsiteY86" fmla="*/ 504825 h 4429225"/>
                    <a:gd name="connsiteX87" fmla="*/ 1167152 w 4519987"/>
                    <a:gd name="connsiteY87" fmla="*/ 311150 h 4429225"/>
                    <a:gd name="connsiteX88" fmla="*/ 1268752 w 4519987"/>
                    <a:gd name="connsiteY88" fmla="*/ 285750 h 4429225"/>
                    <a:gd name="connsiteX89" fmla="*/ 1411627 w 4519987"/>
                    <a:gd name="connsiteY89" fmla="*/ 190500 h 4429225"/>
                    <a:gd name="connsiteX90" fmla="*/ 1449727 w 4519987"/>
                    <a:gd name="connsiteY90" fmla="*/ 161925 h 4429225"/>
                    <a:gd name="connsiteX91" fmla="*/ 1525927 w 4519987"/>
                    <a:gd name="connsiteY91" fmla="*/ 152400 h 4429225"/>
                    <a:gd name="connsiteX92" fmla="*/ 1583077 w 4519987"/>
                    <a:gd name="connsiteY92" fmla="*/ 142875 h 4429225"/>
                    <a:gd name="connsiteX93" fmla="*/ 1716427 w 4519987"/>
                    <a:gd name="connsiteY93" fmla="*/ 123825 h 4429225"/>
                    <a:gd name="connsiteX94" fmla="*/ 1811677 w 4519987"/>
                    <a:gd name="connsiteY94" fmla="*/ 114300 h 4429225"/>
                    <a:gd name="connsiteX95" fmla="*/ 1859302 w 4519987"/>
                    <a:gd name="connsiteY95" fmla="*/ 104775 h 4429225"/>
                    <a:gd name="connsiteX96" fmla="*/ 1916452 w 4519987"/>
                    <a:gd name="connsiteY96" fmla="*/ 95250 h 4429225"/>
                    <a:gd name="connsiteX97" fmla="*/ 2030752 w 4519987"/>
                    <a:gd name="connsiteY97" fmla="*/ 66675 h 4429225"/>
                    <a:gd name="connsiteX98" fmla="*/ 2097427 w 4519987"/>
                    <a:gd name="connsiteY98" fmla="*/ 47625 h 4429225"/>
                    <a:gd name="connsiteX99" fmla="*/ 2164102 w 4519987"/>
                    <a:gd name="connsiteY99" fmla="*/ 38100 h 4429225"/>
                    <a:gd name="connsiteX100" fmla="*/ 2392702 w 4519987"/>
                    <a:gd name="connsiteY10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73377 w 4519987"/>
                    <a:gd name="connsiteY54" fmla="*/ 3019425 h 4429225"/>
                    <a:gd name="connsiteX55" fmla="*/ 144802 w 4519987"/>
                    <a:gd name="connsiteY55" fmla="*/ 2924175 h 4429225"/>
                    <a:gd name="connsiteX56" fmla="*/ 68602 w 4519987"/>
                    <a:gd name="connsiteY56" fmla="*/ 2724150 h 4429225"/>
                    <a:gd name="connsiteX57" fmla="*/ 49552 w 4519987"/>
                    <a:gd name="connsiteY57" fmla="*/ 2638425 h 4429225"/>
                    <a:gd name="connsiteX58" fmla="*/ 40027 w 4519987"/>
                    <a:gd name="connsiteY58" fmla="*/ 2562225 h 4429225"/>
                    <a:gd name="connsiteX59" fmla="*/ 30502 w 4519987"/>
                    <a:gd name="connsiteY59" fmla="*/ 2514600 h 4429225"/>
                    <a:gd name="connsiteX60" fmla="*/ 11452 w 4519987"/>
                    <a:gd name="connsiteY60" fmla="*/ 2400300 h 4429225"/>
                    <a:gd name="connsiteX61" fmla="*/ 20977 w 4519987"/>
                    <a:gd name="connsiteY61" fmla="*/ 1905000 h 4429225"/>
                    <a:gd name="connsiteX62" fmla="*/ 30502 w 4519987"/>
                    <a:gd name="connsiteY62" fmla="*/ 1838325 h 4429225"/>
                    <a:gd name="connsiteX63" fmla="*/ 49552 w 4519987"/>
                    <a:gd name="connsiteY63" fmla="*/ 1781175 h 4429225"/>
                    <a:gd name="connsiteX64" fmla="*/ 59077 w 4519987"/>
                    <a:gd name="connsiteY64" fmla="*/ 1743075 h 4429225"/>
                    <a:gd name="connsiteX65" fmla="*/ 78127 w 4519987"/>
                    <a:gd name="connsiteY65" fmla="*/ 1685925 h 4429225"/>
                    <a:gd name="connsiteX66" fmla="*/ 87652 w 4519987"/>
                    <a:gd name="connsiteY66" fmla="*/ 1638300 h 4429225"/>
                    <a:gd name="connsiteX67" fmla="*/ 106702 w 4519987"/>
                    <a:gd name="connsiteY67" fmla="*/ 1590675 h 4429225"/>
                    <a:gd name="connsiteX68" fmla="*/ 135277 w 4519987"/>
                    <a:gd name="connsiteY68" fmla="*/ 1504950 h 4429225"/>
                    <a:gd name="connsiteX69" fmla="*/ 154327 w 4519987"/>
                    <a:gd name="connsiteY69" fmla="*/ 1419225 h 4429225"/>
                    <a:gd name="connsiteX70" fmla="*/ 230527 w 4519987"/>
                    <a:gd name="connsiteY70" fmla="*/ 1276350 h 4429225"/>
                    <a:gd name="connsiteX71" fmla="*/ 240052 w 4519987"/>
                    <a:gd name="connsiteY71" fmla="*/ 1247775 h 4429225"/>
                    <a:gd name="connsiteX72" fmla="*/ 268627 w 4519987"/>
                    <a:gd name="connsiteY72" fmla="*/ 1200150 h 4429225"/>
                    <a:gd name="connsiteX73" fmla="*/ 287677 w 4519987"/>
                    <a:gd name="connsiteY73" fmla="*/ 1152525 h 4429225"/>
                    <a:gd name="connsiteX74" fmla="*/ 316252 w 4519987"/>
                    <a:gd name="connsiteY74" fmla="*/ 1114425 h 4429225"/>
                    <a:gd name="connsiteX75" fmla="*/ 363877 w 4519987"/>
                    <a:gd name="connsiteY75" fmla="*/ 1038225 h 4429225"/>
                    <a:gd name="connsiteX76" fmla="*/ 382927 w 4519987"/>
                    <a:gd name="connsiteY76" fmla="*/ 1009650 h 4429225"/>
                    <a:gd name="connsiteX77" fmla="*/ 440077 w 4519987"/>
                    <a:gd name="connsiteY77" fmla="*/ 904875 h 4429225"/>
                    <a:gd name="connsiteX78" fmla="*/ 478177 w 4519987"/>
                    <a:gd name="connsiteY78" fmla="*/ 857250 h 4429225"/>
                    <a:gd name="connsiteX79" fmla="*/ 497227 w 4519987"/>
                    <a:gd name="connsiteY79" fmla="*/ 828675 h 4429225"/>
                    <a:gd name="connsiteX80" fmla="*/ 535327 w 4519987"/>
                    <a:gd name="connsiteY80" fmla="*/ 800100 h 4429225"/>
                    <a:gd name="connsiteX81" fmla="*/ 602002 w 4519987"/>
                    <a:gd name="connsiteY81" fmla="*/ 733425 h 4429225"/>
                    <a:gd name="connsiteX82" fmla="*/ 668677 w 4519987"/>
                    <a:gd name="connsiteY82" fmla="*/ 676275 h 4429225"/>
                    <a:gd name="connsiteX83" fmla="*/ 697252 w 4519987"/>
                    <a:gd name="connsiteY83" fmla="*/ 657225 h 4429225"/>
                    <a:gd name="connsiteX84" fmla="*/ 840127 w 4519987"/>
                    <a:gd name="connsiteY84" fmla="*/ 533400 h 4429225"/>
                    <a:gd name="connsiteX85" fmla="*/ 887752 w 4519987"/>
                    <a:gd name="connsiteY85" fmla="*/ 504825 h 4429225"/>
                    <a:gd name="connsiteX86" fmla="*/ 1167152 w 4519987"/>
                    <a:gd name="connsiteY86" fmla="*/ 311150 h 4429225"/>
                    <a:gd name="connsiteX87" fmla="*/ 1268752 w 4519987"/>
                    <a:gd name="connsiteY87" fmla="*/ 285750 h 4429225"/>
                    <a:gd name="connsiteX88" fmla="*/ 1411627 w 4519987"/>
                    <a:gd name="connsiteY88" fmla="*/ 190500 h 4429225"/>
                    <a:gd name="connsiteX89" fmla="*/ 1449727 w 4519987"/>
                    <a:gd name="connsiteY89" fmla="*/ 161925 h 4429225"/>
                    <a:gd name="connsiteX90" fmla="*/ 1525927 w 4519987"/>
                    <a:gd name="connsiteY90" fmla="*/ 152400 h 4429225"/>
                    <a:gd name="connsiteX91" fmla="*/ 1583077 w 4519987"/>
                    <a:gd name="connsiteY91" fmla="*/ 142875 h 4429225"/>
                    <a:gd name="connsiteX92" fmla="*/ 1716427 w 4519987"/>
                    <a:gd name="connsiteY92" fmla="*/ 123825 h 4429225"/>
                    <a:gd name="connsiteX93" fmla="*/ 1811677 w 4519987"/>
                    <a:gd name="connsiteY93" fmla="*/ 114300 h 4429225"/>
                    <a:gd name="connsiteX94" fmla="*/ 1859302 w 4519987"/>
                    <a:gd name="connsiteY94" fmla="*/ 104775 h 4429225"/>
                    <a:gd name="connsiteX95" fmla="*/ 1916452 w 4519987"/>
                    <a:gd name="connsiteY95" fmla="*/ 95250 h 4429225"/>
                    <a:gd name="connsiteX96" fmla="*/ 2030752 w 4519987"/>
                    <a:gd name="connsiteY96" fmla="*/ 66675 h 4429225"/>
                    <a:gd name="connsiteX97" fmla="*/ 2097427 w 4519987"/>
                    <a:gd name="connsiteY97" fmla="*/ 47625 h 4429225"/>
                    <a:gd name="connsiteX98" fmla="*/ 2164102 w 4519987"/>
                    <a:gd name="connsiteY98" fmla="*/ 38100 h 4429225"/>
                    <a:gd name="connsiteX99" fmla="*/ 2392702 w 4519987"/>
                    <a:gd name="connsiteY9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9552 w 4519987"/>
                    <a:gd name="connsiteY56" fmla="*/ 2638425 h 4429225"/>
                    <a:gd name="connsiteX57" fmla="*/ 40027 w 4519987"/>
                    <a:gd name="connsiteY57" fmla="*/ 2562225 h 4429225"/>
                    <a:gd name="connsiteX58" fmla="*/ 30502 w 4519987"/>
                    <a:gd name="connsiteY58" fmla="*/ 2514600 h 4429225"/>
                    <a:gd name="connsiteX59" fmla="*/ 11452 w 4519987"/>
                    <a:gd name="connsiteY59" fmla="*/ 2400300 h 4429225"/>
                    <a:gd name="connsiteX60" fmla="*/ 20977 w 4519987"/>
                    <a:gd name="connsiteY60" fmla="*/ 1905000 h 4429225"/>
                    <a:gd name="connsiteX61" fmla="*/ 30502 w 4519987"/>
                    <a:gd name="connsiteY61" fmla="*/ 1838325 h 4429225"/>
                    <a:gd name="connsiteX62" fmla="*/ 49552 w 4519987"/>
                    <a:gd name="connsiteY62" fmla="*/ 1781175 h 4429225"/>
                    <a:gd name="connsiteX63" fmla="*/ 59077 w 4519987"/>
                    <a:gd name="connsiteY63" fmla="*/ 1743075 h 4429225"/>
                    <a:gd name="connsiteX64" fmla="*/ 78127 w 4519987"/>
                    <a:gd name="connsiteY64" fmla="*/ 1685925 h 4429225"/>
                    <a:gd name="connsiteX65" fmla="*/ 87652 w 4519987"/>
                    <a:gd name="connsiteY65" fmla="*/ 1638300 h 4429225"/>
                    <a:gd name="connsiteX66" fmla="*/ 106702 w 4519987"/>
                    <a:gd name="connsiteY66" fmla="*/ 1590675 h 4429225"/>
                    <a:gd name="connsiteX67" fmla="*/ 135277 w 4519987"/>
                    <a:gd name="connsiteY67" fmla="*/ 1504950 h 4429225"/>
                    <a:gd name="connsiteX68" fmla="*/ 154327 w 4519987"/>
                    <a:gd name="connsiteY68" fmla="*/ 1419225 h 4429225"/>
                    <a:gd name="connsiteX69" fmla="*/ 230527 w 4519987"/>
                    <a:gd name="connsiteY69" fmla="*/ 1276350 h 4429225"/>
                    <a:gd name="connsiteX70" fmla="*/ 240052 w 4519987"/>
                    <a:gd name="connsiteY70" fmla="*/ 1247775 h 4429225"/>
                    <a:gd name="connsiteX71" fmla="*/ 268627 w 4519987"/>
                    <a:gd name="connsiteY71" fmla="*/ 1200150 h 4429225"/>
                    <a:gd name="connsiteX72" fmla="*/ 287677 w 4519987"/>
                    <a:gd name="connsiteY72" fmla="*/ 1152525 h 4429225"/>
                    <a:gd name="connsiteX73" fmla="*/ 316252 w 4519987"/>
                    <a:gd name="connsiteY73" fmla="*/ 1114425 h 4429225"/>
                    <a:gd name="connsiteX74" fmla="*/ 363877 w 4519987"/>
                    <a:gd name="connsiteY74" fmla="*/ 1038225 h 4429225"/>
                    <a:gd name="connsiteX75" fmla="*/ 382927 w 4519987"/>
                    <a:gd name="connsiteY75" fmla="*/ 1009650 h 4429225"/>
                    <a:gd name="connsiteX76" fmla="*/ 440077 w 4519987"/>
                    <a:gd name="connsiteY76" fmla="*/ 904875 h 4429225"/>
                    <a:gd name="connsiteX77" fmla="*/ 478177 w 4519987"/>
                    <a:gd name="connsiteY77" fmla="*/ 857250 h 4429225"/>
                    <a:gd name="connsiteX78" fmla="*/ 497227 w 4519987"/>
                    <a:gd name="connsiteY78" fmla="*/ 828675 h 4429225"/>
                    <a:gd name="connsiteX79" fmla="*/ 535327 w 4519987"/>
                    <a:gd name="connsiteY79" fmla="*/ 800100 h 4429225"/>
                    <a:gd name="connsiteX80" fmla="*/ 602002 w 4519987"/>
                    <a:gd name="connsiteY80" fmla="*/ 733425 h 4429225"/>
                    <a:gd name="connsiteX81" fmla="*/ 668677 w 4519987"/>
                    <a:gd name="connsiteY81" fmla="*/ 676275 h 4429225"/>
                    <a:gd name="connsiteX82" fmla="*/ 697252 w 4519987"/>
                    <a:gd name="connsiteY82" fmla="*/ 657225 h 4429225"/>
                    <a:gd name="connsiteX83" fmla="*/ 840127 w 4519987"/>
                    <a:gd name="connsiteY83" fmla="*/ 533400 h 4429225"/>
                    <a:gd name="connsiteX84" fmla="*/ 887752 w 4519987"/>
                    <a:gd name="connsiteY84" fmla="*/ 504825 h 4429225"/>
                    <a:gd name="connsiteX85" fmla="*/ 1167152 w 4519987"/>
                    <a:gd name="connsiteY85" fmla="*/ 311150 h 4429225"/>
                    <a:gd name="connsiteX86" fmla="*/ 1268752 w 4519987"/>
                    <a:gd name="connsiteY86" fmla="*/ 285750 h 4429225"/>
                    <a:gd name="connsiteX87" fmla="*/ 1411627 w 4519987"/>
                    <a:gd name="connsiteY87" fmla="*/ 190500 h 4429225"/>
                    <a:gd name="connsiteX88" fmla="*/ 1449727 w 4519987"/>
                    <a:gd name="connsiteY88" fmla="*/ 161925 h 4429225"/>
                    <a:gd name="connsiteX89" fmla="*/ 1525927 w 4519987"/>
                    <a:gd name="connsiteY89" fmla="*/ 152400 h 4429225"/>
                    <a:gd name="connsiteX90" fmla="*/ 1583077 w 4519987"/>
                    <a:gd name="connsiteY90" fmla="*/ 142875 h 4429225"/>
                    <a:gd name="connsiteX91" fmla="*/ 1716427 w 4519987"/>
                    <a:gd name="connsiteY91" fmla="*/ 123825 h 4429225"/>
                    <a:gd name="connsiteX92" fmla="*/ 1811677 w 4519987"/>
                    <a:gd name="connsiteY92" fmla="*/ 114300 h 4429225"/>
                    <a:gd name="connsiteX93" fmla="*/ 1859302 w 4519987"/>
                    <a:gd name="connsiteY93" fmla="*/ 104775 h 4429225"/>
                    <a:gd name="connsiteX94" fmla="*/ 1916452 w 4519987"/>
                    <a:gd name="connsiteY94" fmla="*/ 95250 h 4429225"/>
                    <a:gd name="connsiteX95" fmla="*/ 2030752 w 4519987"/>
                    <a:gd name="connsiteY95" fmla="*/ 66675 h 4429225"/>
                    <a:gd name="connsiteX96" fmla="*/ 2097427 w 4519987"/>
                    <a:gd name="connsiteY96" fmla="*/ 47625 h 4429225"/>
                    <a:gd name="connsiteX97" fmla="*/ 2164102 w 4519987"/>
                    <a:gd name="connsiteY97" fmla="*/ 38100 h 4429225"/>
                    <a:gd name="connsiteX98" fmla="*/ 2392702 w 4519987"/>
                    <a:gd name="connsiteY9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30502 w 4519987"/>
                    <a:gd name="connsiteY57" fmla="*/ 2514600 h 4429225"/>
                    <a:gd name="connsiteX58" fmla="*/ 11452 w 4519987"/>
                    <a:gd name="connsiteY58" fmla="*/ 2400300 h 4429225"/>
                    <a:gd name="connsiteX59" fmla="*/ 20977 w 4519987"/>
                    <a:gd name="connsiteY59" fmla="*/ 1905000 h 4429225"/>
                    <a:gd name="connsiteX60" fmla="*/ 30502 w 4519987"/>
                    <a:gd name="connsiteY60" fmla="*/ 1838325 h 4429225"/>
                    <a:gd name="connsiteX61" fmla="*/ 49552 w 4519987"/>
                    <a:gd name="connsiteY61" fmla="*/ 1781175 h 4429225"/>
                    <a:gd name="connsiteX62" fmla="*/ 59077 w 4519987"/>
                    <a:gd name="connsiteY62" fmla="*/ 1743075 h 4429225"/>
                    <a:gd name="connsiteX63" fmla="*/ 78127 w 4519987"/>
                    <a:gd name="connsiteY63" fmla="*/ 1685925 h 4429225"/>
                    <a:gd name="connsiteX64" fmla="*/ 87652 w 4519987"/>
                    <a:gd name="connsiteY64" fmla="*/ 1638300 h 4429225"/>
                    <a:gd name="connsiteX65" fmla="*/ 106702 w 4519987"/>
                    <a:gd name="connsiteY65" fmla="*/ 1590675 h 4429225"/>
                    <a:gd name="connsiteX66" fmla="*/ 135277 w 4519987"/>
                    <a:gd name="connsiteY66" fmla="*/ 1504950 h 4429225"/>
                    <a:gd name="connsiteX67" fmla="*/ 154327 w 4519987"/>
                    <a:gd name="connsiteY67" fmla="*/ 1419225 h 4429225"/>
                    <a:gd name="connsiteX68" fmla="*/ 230527 w 4519987"/>
                    <a:gd name="connsiteY68" fmla="*/ 1276350 h 4429225"/>
                    <a:gd name="connsiteX69" fmla="*/ 240052 w 4519987"/>
                    <a:gd name="connsiteY69" fmla="*/ 1247775 h 4429225"/>
                    <a:gd name="connsiteX70" fmla="*/ 268627 w 4519987"/>
                    <a:gd name="connsiteY70" fmla="*/ 1200150 h 4429225"/>
                    <a:gd name="connsiteX71" fmla="*/ 287677 w 4519987"/>
                    <a:gd name="connsiteY71" fmla="*/ 1152525 h 4429225"/>
                    <a:gd name="connsiteX72" fmla="*/ 316252 w 4519987"/>
                    <a:gd name="connsiteY72" fmla="*/ 1114425 h 4429225"/>
                    <a:gd name="connsiteX73" fmla="*/ 363877 w 4519987"/>
                    <a:gd name="connsiteY73" fmla="*/ 1038225 h 4429225"/>
                    <a:gd name="connsiteX74" fmla="*/ 382927 w 4519987"/>
                    <a:gd name="connsiteY74" fmla="*/ 1009650 h 4429225"/>
                    <a:gd name="connsiteX75" fmla="*/ 440077 w 4519987"/>
                    <a:gd name="connsiteY75" fmla="*/ 904875 h 4429225"/>
                    <a:gd name="connsiteX76" fmla="*/ 478177 w 4519987"/>
                    <a:gd name="connsiteY76" fmla="*/ 857250 h 4429225"/>
                    <a:gd name="connsiteX77" fmla="*/ 497227 w 4519987"/>
                    <a:gd name="connsiteY77" fmla="*/ 828675 h 4429225"/>
                    <a:gd name="connsiteX78" fmla="*/ 535327 w 4519987"/>
                    <a:gd name="connsiteY78" fmla="*/ 800100 h 4429225"/>
                    <a:gd name="connsiteX79" fmla="*/ 602002 w 4519987"/>
                    <a:gd name="connsiteY79" fmla="*/ 733425 h 4429225"/>
                    <a:gd name="connsiteX80" fmla="*/ 668677 w 4519987"/>
                    <a:gd name="connsiteY80" fmla="*/ 676275 h 4429225"/>
                    <a:gd name="connsiteX81" fmla="*/ 697252 w 4519987"/>
                    <a:gd name="connsiteY81" fmla="*/ 657225 h 4429225"/>
                    <a:gd name="connsiteX82" fmla="*/ 840127 w 4519987"/>
                    <a:gd name="connsiteY82" fmla="*/ 533400 h 4429225"/>
                    <a:gd name="connsiteX83" fmla="*/ 887752 w 4519987"/>
                    <a:gd name="connsiteY83" fmla="*/ 504825 h 4429225"/>
                    <a:gd name="connsiteX84" fmla="*/ 1167152 w 4519987"/>
                    <a:gd name="connsiteY84" fmla="*/ 311150 h 4429225"/>
                    <a:gd name="connsiteX85" fmla="*/ 1268752 w 4519987"/>
                    <a:gd name="connsiteY85" fmla="*/ 285750 h 4429225"/>
                    <a:gd name="connsiteX86" fmla="*/ 1411627 w 4519987"/>
                    <a:gd name="connsiteY86" fmla="*/ 190500 h 4429225"/>
                    <a:gd name="connsiteX87" fmla="*/ 1449727 w 4519987"/>
                    <a:gd name="connsiteY87" fmla="*/ 161925 h 4429225"/>
                    <a:gd name="connsiteX88" fmla="*/ 1525927 w 4519987"/>
                    <a:gd name="connsiteY88" fmla="*/ 152400 h 4429225"/>
                    <a:gd name="connsiteX89" fmla="*/ 1583077 w 4519987"/>
                    <a:gd name="connsiteY89" fmla="*/ 142875 h 4429225"/>
                    <a:gd name="connsiteX90" fmla="*/ 1716427 w 4519987"/>
                    <a:gd name="connsiteY90" fmla="*/ 123825 h 4429225"/>
                    <a:gd name="connsiteX91" fmla="*/ 1811677 w 4519987"/>
                    <a:gd name="connsiteY91" fmla="*/ 114300 h 4429225"/>
                    <a:gd name="connsiteX92" fmla="*/ 1859302 w 4519987"/>
                    <a:gd name="connsiteY92" fmla="*/ 104775 h 4429225"/>
                    <a:gd name="connsiteX93" fmla="*/ 1916452 w 4519987"/>
                    <a:gd name="connsiteY93" fmla="*/ 95250 h 4429225"/>
                    <a:gd name="connsiteX94" fmla="*/ 2030752 w 4519987"/>
                    <a:gd name="connsiteY94" fmla="*/ 66675 h 4429225"/>
                    <a:gd name="connsiteX95" fmla="*/ 2097427 w 4519987"/>
                    <a:gd name="connsiteY95" fmla="*/ 47625 h 4429225"/>
                    <a:gd name="connsiteX96" fmla="*/ 2164102 w 4519987"/>
                    <a:gd name="connsiteY96" fmla="*/ 38100 h 4429225"/>
                    <a:gd name="connsiteX97" fmla="*/ 2392702 w 4519987"/>
                    <a:gd name="connsiteY9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11452 w 4519987"/>
                    <a:gd name="connsiteY57" fmla="*/ 2400300 h 4429225"/>
                    <a:gd name="connsiteX58" fmla="*/ 20977 w 4519987"/>
                    <a:gd name="connsiteY58" fmla="*/ 1905000 h 4429225"/>
                    <a:gd name="connsiteX59" fmla="*/ 30502 w 4519987"/>
                    <a:gd name="connsiteY59" fmla="*/ 1838325 h 4429225"/>
                    <a:gd name="connsiteX60" fmla="*/ 49552 w 4519987"/>
                    <a:gd name="connsiteY60" fmla="*/ 1781175 h 4429225"/>
                    <a:gd name="connsiteX61" fmla="*/ 59077 w 4519987"/>
                    <a:gd name="connsiteY61" fmla="*/ 1743075 h 4429225"/>
                    <a:gd name="connsiteX62" fmla="*/ 78127 w 4519987"/>
                    <a:gd name="connsiteY62" fmla="*/ 1685925 h 4429225"/>
                    <a:gd name="connsiteX63" fmla="*/ 87652 w 4519987"/>
                    <a:gd name="connsiteY63" fmla="*/ 1638300 h 4429225"/>
                    <a:gd name="connsiteX64" fmla="*/ 106702 w 4519987"/>
                    <a:gd name="connsiteY64" fmla="*/ 1590675 h 4429225"/>
                    <a:gd name="connsiteX65" fmla="*/ 135277 w 4519987"/>
                    <a:gd name="connsiteY65" fmla="*/ 1504950 h 4429225"/>
                    <a:gd name="connsiteX66" fmla="*/ 154327 w 4519987"/>
                    <a:gd name="connsiteY66" fmla="*/ 1419225 h 4429225"/>
                    <a:gd name="connsiteX67" fmla="*/ 230527 w 4519987"/>
                    <a:gd name="connsiteY67" fmla="*/ 1276350 h 4429225"/>
                    <a:gd name="connsiteX68" fmla="*/ 240052 w 4519987"/>
                    <a:gd name="connsiteY68" fmla="*/ 1247775 h 4429225"/>
                    <a:gd name="connsiteX69" fmla="*/ 268627 w 4519987"/>
                    <a:gd name="connsiteY69" fmla="*/ 1200150 h 4429225"/>
                    <a:gd name="connsiteX70" fmla="*/ 287677 w 4519987"/>
                    <a:gd name="connsiteY70" fmla="*/ 1152525 h 4429225"/>
                    <a:gd name="connsiteX71" fmla="*/ 316252 w 4519987"/>
                    <a:gd name="connsiteY71" fmla="*/ 1114425 h 4429225"/>
                    <a:gd name="connsiteX72" fmla="*/ 363877 w 4519987"/>
                    <a:gd name="connsiteY72" fmla="*/ 1038225 h 4429225"/>
                    <a:gd name="connsiteX73" fmla="*/ 382927 w 4519987"/>
                    <a:gd name="connsiteY73" fmla="*/ 1009650 h 4429225"/>
                    <a:gd name="connsiteX74" fmla="*/ 440077 w 4519987"/>
                    <a:gd name="connsiteY74" fmla="*/ 904875 h 4429225"/>
                    <a:gd name="connsiteX75" fmla="*/ 478177 w 4519987"/>
                    <a:gd name="connsiteY75" fmla="*/ 857250 h 4429225"/>
                    <a:gd name="connsiteX76" fmla="*/ 497227 w 4519987"/>
                    <a:gd name="connsiteY76" fmla="*/ 828675 h 4429225"/>
                    <a:gd name="connsiteX77" fmla="*/ 535327 w 4519987"/>
                    <a:gd name="connsiteY77" fmla="*/ 800100 h 4429225"/>
                    <a:gd name="connsiteX78" fmla="*/ 602002 w 4519987"/>
                    <a:gd name="connsiteY78" fmla="*/ 733425 h 4429225"/>
                    <a:gd name="connsiteX79" fmla="*/ 668677 w 4519987"/>
                    <a:gd name="connsiteY79" fmla="*/ 676275 h 4429225"/>
                    <a:gd name="connsiteX80" fmla="*/ 697252 w 4519987"/>
                    <a:gd name="connsiteY80" fmla="*/ 657225 h 4429225"/>
                    <a:gd name="connsiteX81" fmla="*/ 840127 w 4519987"/>
                    <a:gd name="connsiteY81" fmla="*/ 533400 h 4429225"/>
                    <a:gd name="connsiteX82" fmla="*/ 887752 w 4519987"/>
                    <a:gd name="connsiteY82" fmla="*/ 504825 h 4429225"/>
                    <a:gd name="connsiteX83" fmla="*/ 1167152 w 4519987"/>
                    <a:gd name="connsiteY83" fmla="*/ 311150 h 4429225"/>
                    <a:gd name="connsiteX84" fmla="*/ 1268752 w 4519987"/>
                    <a:gd name="connsiteY84" fmla="*/ 285750 h 4429225"/>
                    <a:gd name="connsiteX85" fmla="*/ 1411627 w 4519987"/>
                    <a:gd name="connsiteY85" fmla="*/ 190500 h 4429225"/>
                    <a:gd name="connsiteX86" fmla="*/ 1449727 w 4519987"/>
                    <a:gd name="connsiteY86" fmla="*/ 161925 h 4429225"/>
                    <a:gd name="connsiteX87" fmla="*/ 1525927 w 4519987"/>
                    <a:gd name="connsiteY87" fmla="*/ 152400 h 4429225"/>
                    <a:gd name="connsiteX88" fmla="*/ 1583077 w 4519987"/>
                    <a:gd name="connsiteY88" fmla="*/ 142875 h 4429225"/>
                    <a:gd name="connsiteX89" fmla="*/ 1716427 w 4519987"/>
                    <a:gd name="connsiteY89" fmla="*/ 123825 h 4429225"/>
                    <a:gd name="connsiteX90" fmla="*/ 1811677 w 4519987"/>
                    <a:gd name="connsiteY90" fmla="*/ 114300 h 4429225"/>
                    <a:gd name="connsiteX91" fmla="*/ 1859302 w 4519987"/>
                    <a:gd name="connsiteY91" fmla="*/ 104775 h 4429225"/>
                    <a:gd name="connsiteX92" fmla="*/ 1916452 w 4519987"/>
                    <a:gd name="connsiteY92" fmla="*/ 95250 h 4429225"/>
                    <a:gd name="connsiteX93" fmla="*/ 2030752 w 4519987"/>
                    <a:gd name="connsiteY93" fmla="*/ 66675 h 4429225"/>
                    <a:gd name="connsiteX94" fmla="*/ 2097427 w 4519987"/>
                    <a:gd name="connsiteY94" fmla="*/ 47625 h 4429225"/>
                    <a:gd name="connsiteX95" fmla="*/ 2164102 w 4519987"/>
                    <a:gd name="connsiteY95" fmla="*/ 38100 h 4429225"/>
                    <a:gd name="connsiteX96" fmla="*/ 2392702 w 4519987"/>
                    <a:gd name="connsiteY9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11452 w 4519987"/>
                    <a:gd name="connsiteY56" fmla="*/ 2400300 h 4429225"/>
                    <a:gd name="connsiteX57" fmla="*/ 20977 w 4519987"/>
                    <a:gd name="connsiteY57" fmla="*/ 1905000 h 4429225"/>
                    <a:gd name="connsiteX58" fmla="*/ 30502 w 4519987"/>
                    <a:gd name="connsiteY58" fmla="*/ 1838325 h 4429225"/>
                    <a:gd name="connsiteX59" fmla="*/ 49552 w 4519987"/>
                    <a:gd name="connsiteY59" fmla="*/ 1781175 h 4429225"/>
                    <a:gd name="connsiteX60" fmla="*/ 59077 w 4519987"/>
                    <a:gd name="connsiteY60" fmla="*/ 1743075 h 4429225"/>
                    <a:gd name="connsiteX61" fmla="*/ 78127 w 4519987"/>
                    <a:gd name="connsiteY61" fmla="*/ 1685925 h 4429225"/>
                    <a:gd name="connsiteX62" fmla="*/ 87652 w 4519987"/>
                    <a:gd name="connsiteY62" fmla="*/ 1638300 h 4429225"/>
                    <a:gd name="connsiteX63" fmla="*/ 106702 w 4519987"/>
                    <a:gd name="connsiteY63" fmla="*/ 1590675 h 4429225"/>
                    <a:gd name="connsiteX64" fmla="*/ 135277 w 4519987"/>
                    <a:gd name="connsiteY64" fmla="*/ 1504950 h 4429225"/>
                    <a:gd name="connsiteX65" fmla="*/ 154327 w 4519987"/>
                    <a:gd name="connsiteY65" fmla="*/ 1419225 h 4429225"/>
                    <a:gd name="connsiteX66" fmla="*/ 230527 w 4519987"/>
                    <a:gd name="connsiteY66" fmla="*/ 1276350 h 4429225"/>
                    <a:gd name="connsiteX67" fmla="*/ 240052 w 4519987"/>
                    <a:gd name="connsiteY67" fmla="*/ 1247775 h 4429225"/>
                    <a:gd name="connsiteX68" fmla="*/ 268627 w 4519987"/>
                    <a:gd name="connsiteY68" fmla="*/ 1200150 h 4429225"/>
                    <a:gd name="connsiteX69" fmla="*/ 287677 w 4519987"/>
                    <a:gd name="connsiteY69" fmla="*/ 1152525 h 4429225"/>
                    <a:gd name="connsiteX70" fmla="*/ 316252 w 4519987"/>
                    <a:gd name="connsiteY70" fmla="*/ 1114425 h 4429225"/>
                    <a:gd name="connsiteX71" fmla="*/ 363877 w 4519987"/>
                    <a:gd name="connsiteY71" fmla="*/ 1038225 h 4429225"/>
                    <a:gd name="connsiteX72" fmla="*/ 382927 w 4519987"/>
                    <a:gd name="connsiteY72" fmla="*/ 1009650 h 4429225"/>
                    <a:gd name="connsiteX73" fmla="*/ 440077 w 4519987"/>
                    <a:gd name="connsiteY73" fmla="*/ 904875 h 4429225"/>
                    <a:gd name="connsiteX74" fmla="*/ 478177 w 4519987"/>
                    <a:gd name="connsiteY74" fmla="*/ 857250 h 4429225"/>
                    <a:gd name="connsiteX75" fmla="*/ 497227 w 4519987"/>
                    <a:gd name="connsiteY75" fmla="*/ 828675 h 4429225"/>
                    <a:gd name="connsiteX76" fmla="*/ 535327 w 4519987"/>
                    <a:gd name="connsiteY76" fmla="*/ 800100 h 4429225"/>
                    <a:gd name="connsiteX77" fmla="*/ 602002 w 4519987"/>
                    <a:gd name="connsiteY77" fmla="*/ 733425 h 4429225"/>
                    <a:gd name="connsiteX78" fmla="*/ 668677 w 4519987"/>
                    <a:gd name="connsiteY78" fmla="*/ 676275 h 4429225"/>
                    <a:gd name="connsiteX79" fmla="*/ 697252 w 4519987"/>
                    <a:gd name="connsiteY79" fmla="*/ 657225 h 4429225"/>
                    <a:gd name="connsiteX80" fmla="*/ 840127 w 4519987"/>
                    <a:gd name="connsiteY80" fmla="*/ 533400 h 4429225"/>
                    <a:gd name="connsiteX81" fmla="*/ 887752 w 4519987"/>
                    <a:gd name="connsiteY81" fmla="*/ 504825 h 4429225"/>
                    <a:gd name="connsiteX82" fmla="*/ 1167152 w 4519987"/>
                    <a:gd name="connsiteY82" fmla="*/ 311150 h 4429225"/>
                    <a:gd name="connsiteX83" fmla="*/ 1268752 w 4519987"/>
                    <a:gd name="connsiteY83" fmla="*/ 285750 h 4429225"/>
                    <a:gd name="connsiteX84" fmla="*/ 1411627 w 4519987"/>
                    <a:gd name="connsiteY84" fmla="*/ 190500 h 4429225"/>
                    <a:gd name="connsiteX85" fmla="*/ 1449727 w 4519987"/>
                    <a:gd name="connsiteY85" fmla="*/ 161925 h 4429225"/>
                    <a:gd name="connsiteX86" fmla="*/ 1525927 w 4519987"/>
                    <a:gd name="connsiteY86" fmla="*/ 152400 h 4429225"/>
                    <a:gd name="connsiteX87" fmla="*/ 1583077 w 4519987"/>
                    <a:gd name="connsiteY87" fmla="*/ 142875 h 4429225"/>
                    <a:gd name="connsiteX88" fmla="*/ 1716427 w 4519987"/>
                    <a:gd name="connsiteY88" fmla="*/ 123825 h 4429225"/>
                    <a:gd name="connsiteX89" fmla="*/ 1811677 w 4519987"/>
                    <a:gd name="connsiteY89" fmla="*/ 114300 h 4429225"/>
                    <a:gd name="connsiteX90" fmla="*/ 1859302 w 4519987"/>
                    <a:gd name="connsiteY90" fmla="*/ 104775 h 4429225"/>
                    <a:gd name="connsiteX91" fmla="*/ 1916452 w 4519987"/>
                    <a:gd name="connsiteY91" fmla="*/ 95250 h 4429225"/>
                    <a:gd name="connsiteX92" fmla="*/ 2030752 w 4519987"/>
                    <a:gd name="connsiteY92" fmla="*/ 66675 h 4429225"/>
                    <a:gd name="connsiteX93" fmla="*/ 2097427 w 4519987"/>
                    <a:gd name="connsiteY93" fmla="*/ 47625 h 4429225"/>
                    <a:gd name="connsiteX94" fmla="*/ 2164102 w 4519987"/>
                    <a:gd name="connsiteY94" fmla="*/ 38100 h 4429225"/>
                    <a:gd name="connsiteX95" fmla="*/ 2392702 w 4519987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49994 w 4501379"/>
                    <a:gd name="connsiteY55" fmla="*/ 2724150 h 4429225"/>
                    <a:gd name="connsiteX56" fmla="*/ 56344 w 4501379"/>
                    <a:gd name="connsiteY56" fmla="*/ 2368550 h 4429225"/>
                    <a:gd name="connsiteX57" fmla="*/ 2369 w 4501379"/>
                    <a:gd name="connsiteY57" fmla="*/ 1905000 h 4429225"/>
                    <a:gd name="connsiteX58" fmla="*/ 11894 w 4501379"/>
                    <a:gd name="connsiteY58" fmla="*/ 1838325 h 4429225"/>
                    <a:gd name="connsiteX59" fmla="*/ 30944 w 4501379"/>
                    <a:gd name="connsiteY59" fmla="*/ 1781175 h 4429225"/>
                    <a:gd name="connsiteX60" fmla="*/ 40469 w 4501379"/>
                    <a:gd name="connsiteY60" fmla="*/ 1743075 h 4429225"/>
                    <a:gd name="connsiteX61" fmla="*/ 59519 w 4501379"/>
                    <a:gd name="connsiteY61" fmla="*/ 1685925 h 4429225"/>
                    <a:gd name="connsiteX62" fmla="*/ 69044 w 4501379"/>
                    <a:gd name="connsiteY62" fmla="*/ 1638300 h 4429225"/>
                    <a:gd name="connsiteX63" fmla="*/ 88094 w 4501379"/>
                    <a:gd name="connsiteY63" fmla="*/ 1590675 h 4429225"/>
                    <a:gd name="connsiteX64" fmla="*/ 116669 w 4501379"/>
                    <a:gd name="connsiteY64" fmla="*/ 1504950 h 4429225"/>
                    <a:gd name="connsiteX65" fmla="*/ 135719 w 4501379"/>
                    <a:gd name="connsiteY65" fmla="*/ 1419225 h 4429225"/>
                    <a:gd name="connsiteX66" fmla="*/ 211919 w 4501379"/>
                    <a:gd name="connsiteY66" fmla="*/ 1276350 h 4429225"/>
                    <a:gd name="connsiteX67" fmla="*/ 221444 w 4501379"/>
                    <a:gd name="connsiteY67" fmla="*/ 1247775 h 4429225"/>
                    <a:gd name="connsiteX68" fmla="*/ 250019 w 4501379"/>
                    <a:gd name="connsiteY68" fmla="*/ 1200150 h 4429225"/>
                    <a:gd name="connsiteX69" fmla="*/ 269069 w 4501379"/>
                    <a:gd name="connsiteY69" fmla="*/ 1152525 h 4429225"/>
                    <a:gd name="connsiteX70" fmla="*/ 297644 w 4501379"/>
                    <a:gd name="connsiteY70" fmla="*/ 1114425 h 4429225"/>
                    <a:gd name="connsiteX71" fmla="*/ 345269 w 4501379"/>
                    <a:gd name="connsiteY71" fmla="*/ 1038225 h 4429225"/>
                    <a:gd name="connsiteX72" fmla="*/ 364319 w 4501379"/>
                    <a:gd name="connsiteY72" fmla="*/ 1009650 h 4429225"/>
                    <a:gd name="connsiteX73" fmla="*/ 421469 w 4501379"/>
                    <a:gd name="connsiteY73" fmla="*/ 904875 h 4429225"/>
                    <a:gd name="connsiteX74" fmla="*/ 459569 w 4501379"/>
                    <a:gd name="connsiteY74" fmla="*/ 857250 h 4429225"/>
                    <a:gd name="connsiteX75" fmla="*/ 478619 w 4501379"/>
                    <a:gd name="connsiteY75" fmla="*/ 828675 h 4429225"/>
                    <a:gd name="connsiteX76" fmla="*/ 516719 w 4501379"/>
                    <a:gd name="connsiteY76" fmla="*/ 800100 h 4429225"/>
                    <a:gd name="connsiteX77" fmla="*/ 583394 w 4501379"/>
                    <a:gd name="connsiteY77" fmla="*/ 733425 h 4429225"/>
                    <a:gd name="connsiteX78" fmla="*/ 650069 w 4501379"/>
                    <a:gd name="connsiteY78" fmla="*/ 676275 h 4429225"/>
                    <a:gd name="connsiteX79" fmla="*/ 678644 w 4501379"/>
                    <a:gd name="connsiteY79" fmla="*/ 657225 h 4429225"/>
                    <a:gd name="connsiteX80" fmla="*/ 821519 w 4501379"/>
                    <a:gd name="connsiteY80" fmla="*/ 533400 h 4429225"/>
                    <a:gd name="connsiteX81" fmla="*/ 869144 w 4501379"/>
                    <a:gd name="connsiteY81" fmla="*/ 504825 h 4429225"/>
                    <a:gd name="connsiteX82" fmla="*/ 1148544 w 4501379"/>
                    <a:gd name="connsiteY82" fmla="*/ 311150 h 4429225"/>
                    <a:gd name="connsiteX83" fmla="*/ 1250144 w 4501379"/>
                    <a:gd name="connsiteY83" fmla="*/ 285750 h 4429225"/>
                    <a:gd name="connsiteX84" fmla="*/ 1393019 w 4501379"/>
                    <a:gd name="connsiteY84" fmla="*/ 190500 h 4429225"/>
                    <a:gd name="connsiteX85" fmla="*/ 1431119 w 4501379"/>
                    <a:gd name="connsiteY85" fmla="*/ 161925 h 4429225"/>
                    <a:gd name="connsiteX86" fmla="*/ 1507319 w 4501379"/>
                    <a:gd name="connsiteY86" fmla="*/ 152400 h 4429225"/>
                    <a:gd name="connsiteX87" fmla="*/ 1564469 w 4501379"/>
                    <a:gd name="connsiteY87" fmla="*/ 142875 h 4429225"/>
                    <a:gd name="connsiteX88" fmla="*/ 1697819 w 4501379"/>
                    <a:gd name="connsiteY88" fmla="*/ 123825 h 4429225"/>
                    <a:gd name="connsiteX89" fmla="*/ 1793069 w 4501379"/>
                    <a:gd name="connsiteY89" fmla="*/ 114300 h 4429225"/>
                    <a:gd name="connsiteX90" fmla="*/ 1840694 w 4501379"/>
                    <a:gd name="connsiteY90" fmla="*/ 104775 h 4429225"/>
                    <a:gd name="connsiteX91" fmla="*/ 1897844 w 4501379"/>
                    <a:gd name="connsiteY91" fmla="*/ 95250 h 4429225"/>
                    <a:gd name="connsiteX92" fmla="*/ 2012144 w 4501379"/>
                    <a:gd name="connsiteY92" fmla="*/ 66675 h 4429225"/>
                    <a:gd name="connsiteX93" fmla="*/ 2078819 w 4501379"/>
                    <a:gd name="connsiteY93" fmla="*/ 47625 h 4429225"/>
                    <a:gd name="connsiteX94" fmla="*/ 2145494 w 4501379"/>
                    <a:gd name="connsiteY94" fmla="*/ 38100 h 4429225"/>
                    <a:gd name="connsiteX95" fmla="*/ 2374094 w 4501379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56344 w 4501379"/>
                    <a:gd name="connsiteY55" fmla="*/ 2368550 h 4429225"/>
                    <a:gd name="connsiteX56" fmla="*/ 2369 w 4501379"/>
                    <a:gd name="connsiteY56" fmla="*/ 1905000 h 4429225"/>
                    <a:gd name="connsiteX57" fmla="*/ 11894 w 4501379"/>
                    <a:gd name="connsiteY57" fmla="*/ 1838325 h 4429225"/>
                    <a:gd name="connsiteX58" fmla="*/ 30944 w 4501379"/>
                    <a:gd name="connsiteY58" fmla="*/ 1781175 h 4429225"/>
                    <a:gd name="connsiteX59" fmla="*/ 40469 w 4501379"/>
                    <a:gd name="connsiteY59" fmla="*/ 1743075 h 4429225"/>
                    <a:gd name="connsiteX60" fmla="*/ 59519 w 4501379"/>
                    <a:gd name="connsiteY60" fmla="*/ 1685925 h 4429225"/>
                    <a:gd name="connsiteX61" fmla="*/ 69044 w 4501379"/>
                    <a:gd name="connsiteY61" fmla="*/ 1638300 h 4429225"/>
                    <a:gd name="connsiteX62" fmla="*/ 88094 w 4501379"/>
                    <a:gd name="connsiteY62" fmla="*/ 1590675 h 4429225"/>
                    <a:gd name="connsiteX63" fmla="*/ 116669 w 4501379"/>
                    <a:gd name="connsiteY63" fmla="*/ 1504950 h 4429225"/>
                    <a:gd name="connsiteX64" fmla="*/ 135719 w 4501379"/>
                    <a:gd name="connsiteY64" fmla="*/ 1419225 h 4429225"/>
                    <a:gd name="connsiteX65" fmla="*/ 211919 w 4501379"/>
                    <a:gd name="connsiteY65" fmla="*/ 1276350 h 4429225"/>
                    <a:gd name="connsiteX66" fmla="*/ 221444 w 4501379"/>
                    <a:gd name="connsiteY66" fmla="*/ 1247775 h 4429225"/>
                    <a:gd name="connsiteX67" fmla="*/ 250019 w 4501379"/>
                    <a:gd name="connsiteY67" fmla="*/ 1200150 h 4429225"/>
                    <a:gd name="connsiteX68" fmla="*/ 269069 w 4501379"/>
                    <a:gd name="connsiteY68" fmla="*/ 1152525 h 4429225"/>
                    <a:gd name="connsiteX69" fmla="*/ 297644 w 4501379"/>
                    <a:gd name="connsiteY69" fmla="*/ 1114425 h 4429225"/>
                    <a:gd name="connsiteX70" fmla="*/ 345269 w 4501379"/>
                    <a:gd name="connsiteY70" fmla="*/ 1038225 h 4429225"/>
                    <a:gd name="connsiteX71" fmla="*/ 364319 w 4501379"/>
                    <a:gd name="connsiteY71" fmla="*/ 1009650 h 4429225"/>
                    <a:gd name="connsiteX72" fmla="*/ 421469 w 4501379"/>
                    <a:gd name="connsiteY72" fmla="*/ 904875 h 4429225"/>
                    <a:gd name="connsiteX73" fmla="*/ 459569 w 4501379"/>
                    <a:gd name="connsiteY73" fmla="*/ 857250 h 4429225"/>
                    <a:gd name="connsiteX74" fmla="*/ 478619 w 4501379"/>
                    <a:gd name="connsiteY74" fmla="*/ 828675 h 4429225"/>
                    <a:gd name="connsiteX75" fmla="*/ 516719 w 4501379"/>
                    <a:gd name="connsiteY75" fmla="*/ 800100 h 4429225"/>
                    <a:gd name="connsiteX76" fmla="*/ 583394 w 4501379"/>
                    <a:gd name="connsiteY76" fmla="*/ 733425 h 4429225"/>
                    <a:gd name="connsiteX77" fmla="*/ 650069 w 4501379"/>
                    <a:gd name="connsiteY77" fmla="*/ 676275 h 4429225"/>
                    <a:gd name="connsiteX78" fmla="*/ 678644 w 4501379"/>
                    <a:gd name="connsiteY78" fmla="*/ 657225 h 4429225"/>
                    <a:gd name="connsiteX79" fmla="*/ 821519 w 4501379"/>
                    <a:gd name="connsiteY79" fmla="*/ 533400 h 4429225"/>
                    <a:gd name="connsiteX80" fmla="*/ 869144 w 4501379"/>
                    <a:gd name="connsiteY80" fmla="*/ 504825 h 4429225"/>
                    <a:gd name="connsiteX81" fmla="*/ 1148544 w 4501379"/>
                    <a:gd name="connsiteY81" fmla="*/ 311150 h 4429225"/>
                    <a:gd name="connsiteX82" fmla="*/ 1250144 w 4501379"/>
                    <a:gd name="connsiteY82" fmla="*/ 285750 h 4429225"/>
                    <a:gd name="connsiteX83" fmla="*/ 1393019 w 4501379"/>
                    <a:gd name="connsiteY83" fmla="*/ 190500 h 4429225"/>
                    <a:gd name="connsiteX84" fmla="*/ 1431119 w 4501379"/>
                    <a:gd name="connsiteY84" fmla="*/ 161925 h 4429225"/>
                    <a:gd name="connsiteX85" fmla="*/ 1507319 w 4501379"/>
                    <a:gd name="connsiteY85" fmla="*/ 152400 h 4429225"/>
                    <a:gd name="connsiteX86" fmla="*/ 1564469 w 4501379"/>
                    <a:gd name="connsiteY86" fmla="*/ 142875 h 4429225"/>
                    <a:gd name="connsiteX87" fmla="*/ 1697819 w 4501379"/>
                    <a:gd name="connsiteY87" fmla="*/ 123825 h 4429225"/>
                    <a:gd name="connsiteX88" fmla="*/ 1793069 w 4501379"/>
                    <a:gd name="connsiteY88" fmla="*/ 114300 h 4429225"/>
                    <a:gd name="connsiteX89" fmla="*/ 1840694 w 4501379"/>
                    <a:gd name="connsiteY89" fmla="*/ 104775 h 4429225"/>
                    <a:gd name="connsiteX90" fmla="*/ 1897844 w 4501379"/>
                    <a:gd name="connsiteY90" fmla="*/ 95250 h 4429225"/>
                    <a:gd name="connsiteX91" fmla="*/ 2012144 w 4501379"/>
                    <a:gd name="connsiteY91" fmla="*/ 66675 h 4429225"/>
                    <a:gd name="connsiteX92" fmla="*/ 2078819 w 4501379"/>
                    <a:gd name="connsiteY92" fmla="*/ 47625 h 4429225"/>
                    <a:gd name="connsiteX93" fmla="*/ 2145494 w 4501379"/>
                    <a:gd name="connsiteY93" fmla="*/ 38100 h 4429225"/>
                    <a:gd name="connsiteX94" fmla="*/ 2374094 w 4501379"/>
                    <a:gd name="connsiteY94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26194 w 4501379"/>
                    <a:gd name="connsiteY53" fmla="*/ 292417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6869 w 4501379"/>
                    <a:gd name="connsiteY51" fmla="*/ 34702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313644 w 4501379"/>
                    <a:gd name="connsiteY46" fmla="*/ 42164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91" fmla="*/ 2374094 w 4501379"/>
                    <a:gd name="connsiteY91" fmla="*/ 28575 h 4429294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0" fmla="*/ 2278844 w 4501379"/>
                    <a:gd name="connsiteY0" fmla="*/ 0 h 4429294"/>
                    <a:gd name="connsiteX1" fmla="*/ 2478869 w 4501379"/>
                    <a:gd name="connsiteY1" fmla="*/ 47625 h 4429294"/>
                    <a:gd name="connsiteX2" fmla="*/ 2736044 w 4501379"/>
                    <a:gd name="connsiteY2" fmla="*/ 66675 h 4429294"/>
                    <a:gd name="connsiteX3" fmla="*/ 2812244 w 4501379"/>
                    <a:gd name="connsiteY3" fmla="*/ 76200 h 4429294"/>
                    <a:gd name="connsiteX4" fmla="*/ 2897969 w 4501379"/>
                    <a:gd name="connsiteY4" fmla="*/ 85725 h 4429294"/>
                    <a:gd name="connsiteX5" fmla="*/ 2955119 w 4501379"/>
                    <a:gd name="connsiteY5" fmla="*/ 114300 h 4429294"/>
                    <a:gd name="connsiteX6" fmla="*/ 2993219 w 4501379"/>
                    <a:gd name="connsiteY6" fmla="*/ 123825 h 4429294"/>
                    <a:gd name="connsiteX7" fmla="*/ 3117044 w 4501379"/>
                    <a:gd name="connsiteY7" fmla="*/ 171450 h 4429294"/>
                    <a:gd name="connsiteX8" fmla="*/ 3155144 w 4501379"/>
                    <a:gd name="connsiteY8" fmla="*/ 190500 h 4429294"/>
                    <a:gd name="connsiteX9" fmla="*/ 3221819 w 4501379"/>
                    <a:gd name="connsiteY9" fmla="*/ 228600 h 4429294"/>
                    <a:gd name="connsiteX10" fmla="*/ 3250394 w 4501379"/>
                    <a:gd name="connsiteY10" fmla="*/ 238125 h 4429294"/>
                    <a:gd name="connsiteX11" fmla="*/ 3278969 w 4501379"/>
                    <a:gd name="connsiteY11" fmla="*/ 257175 h 4429294"/>
                    <a:gd name="connsiteX12" fmla="*/ 3307544 w 4501379"/>
                    <a:gd name="connsiteY12" fmla="*/ 266700 h 4429294"/>
                    <a:gd name="connsiteX13" fmla="*/ 3336119 w 4501379"/>
                    <a:gd name="connsiteY13" fmla="*/ 285750 h 4429294"/>
                    <a:gd name="connsiteX14" fmla="*/ 3402794 w 4501379"/>
                    <a:gd name="connsiteY14" fmla="*/ 323850 h 4429294"/>
                    <a:gd name="connsiteX15" fmla="*/ 3450419 w 4501379"/>
                    <a:gd name="connsiteY15" fmla="*/ 361950 h 4429294"/>
                    <a:gd name="connsiteX16" fmla="*/ 3498044 w 4501379"/>
                    <a:gd name="connsiteY16" fmla="*/ 390525 h 4429294"/>
                    <a:gd name="connsiteX17" fmla="*/ 3612344 w 4501379"/>
                    <a:gd name="connsiteY17" fmla="*/ 485775 h 4429294"/>
                    <a:gd name="connsiteX18" fmla="*/ 3726644 w 4501379"/>
                    <a:gd name="connsiteY18" fmla="*/ 542925 h 4429294"/>
                    <a:gd name="connsiteX19" fmla="*/ 3793319 w 4501379"/>
                    <a:gd name="connsiteY19" fmla="*/ 581025 h 4429294"/>
                    <a:gd name="connsiteX20" fmla="*/ 4009219 w 4501379"/>
                    <a:gd name="connsiteY20" fmla="*/ 819150 h 4429294"/>
                    <a:gd name="connsiteX21" fmla="*/ 4145744 w 4501379"/>
                    <a:gd name="connsiteY21" fmla="*/ 990600 h 4429294"/>
                    <a:gd name="connsiteX22" fmla="*/ 4231469 w 4501379"/>
                    <a:gd name="connsiteY22" fmla="*/ 1143000 h 4429294"/>
                    <a:gd name="connsiteX23" fmla="*/ 4288619 w 4501379"/>
                    <a:gd name="connsiteY23" fmla="*/ 1266825 h 4429294"/>
                    <a:gd name="connsiteX24" fmla="*/ 4326719 w 4501379"/>
                    <a:gd name="connsiteY24" fmla="*/ 1362075 h 4429294"/>
                    <a:gd name="connsiteX25" fmla="*/ 4374344 w 4501379"/>
                    <a:gd name="connsiteY25" fmla="*/ 1552575 h 4429294"/>
                    <a:gd name="connsiteX26" fmla="*/ 4412444 w 4501379"/>
                    <a:gd name="connsiteY26" fmla="*/ 1685925 h 4429294"/>
                    <a:gd name="connsiteX27" fmla="*/ 4501344 w 4501379"/>
                    <a:gd name="connsiteY27" fmla="*/ 2181225 h 4429294"/>
                    <a:gd name="connsiteX28" fmla="*/ 4428319 w 4501379"/>
                    <a:gd name="connsiteY28" fmla="*/ 2768600 h 4429294"/>
                    <a:gd name="connsiteX29" fmla="*/ 4364819 w 4501379"/>
                    <a:gd name="connsiteY29" fmla="*/ 2990850 h 4429294"/>
                    <a:gd name="connsiteX30" fmla="*/ 4260044 w 4501379"/>
                    <a:gd name="connsiteY30" fmla="*/ 3248025 h 4429294"/>
                    <a:gd name="connsiteX31" fmla="*/ 4164794 w 4501379"/>
                    <a:gd name="connsiteY31" fmla="*/ 3400425 h 4429294"/>
                    <a:gd name="connsiteX32" fmla="*/ 4040969 w 4501379"/>
                    <a:gd name="connsiteY32" fmla="*/ 3533775 h 4429294"/>
                    <a:gd name="connsiteX33" fmla="*/ 3936194 w 4501379"/>
                    <a:gd name="connsiteY33" fmla="*/ 3648075 h 4429294"/>
                    <a:gd name="connsiteX34" fmla="*/ 3640919 w 4501379"/>
                    <a:gd name="connsiteY34" fmla="*/ 3971925 h 4429294"/>
                    <a:gd name="connsiteX35" fmla="*/ 3498044 w 4501379"/>
                    <a:gd name="connsiteY35" fmla="*/ 4083050 h 4429294"/>
                    <a:gd name="connsiteX36" fmla="*/ 3202769 w 4501379"/>
                    <a:gd name="connsiteY36" fmla="*/ 4222750 h 4429294"/>
                    <a:gd name="connsiteX37" fmla="*/ 3050369 w 4501379"/>
                    <a:gd name="connsiteY37" fmla="*/ 4286250 h 4429294"/>
                    <a:gd name="connsiteX38" fmla="*/ 2917019 w 4501379"/>
                    <a:gd name="connsiteY38" fmla="*/ 4333875 h 4429294"/>
                    <a:gd name="connsiteX39" fmla="*/ 2793194 w 4501379"/>
                    <a:gd name="connsiteY39" fmla="*/ 4371975 h 4429294"/>
                    <a:gd name="connsiteX40" fmla="*/ 2561419 w 4501379"/>
                    <a:gd name="connsiteY40" fmla="*/ 4391025 h 4429294"/>
                    <a:gd name="connsiteX41" fmla="*/ 2107394 w 4501379"/>
                    <a:gd name="connsiteY41" fmla="*/ 4429125 h 4429294"/>
                    <a:gd name="connsiteX42" fmla="*/ 1916894 w 4501379"/>
                    <a:gd name="connsiteY42" fmla="*/ 4400550 h 4429294"/>
                    <a:gd name="connsiteX43" fmla="*/ 1554944 w 4501379"/>
                    <a:gd name="connsiteY43" fmla="*/ 4305300 h 4429294"/>
                    <a:gd name="connsiteX44" fmla="*/ 1313644 w 4501379"/>
                    <a:gd name="connsiteY44" fmla="*/ 4216400 h 4429294"/>
                    <a:gd name="connsiteX45" fmla="*/ 1145369 w 4501379"/>
                    <a:gd name="connsiteY45" fmla="*/ 4111625 h 4429294"/>
                    <a:gd name="connsiteX46" fmla="*/ 926294 w 4501379"/>
                    <a:gd name="connsiteY46" fmla="*/ 3968750 h 4429294"/>
                    <a:gd name="connsiteX47" fmla="*/ 592919 w 4501379"/>
                    <a:gd name="connsiteY47" fmla="*/ 3657600 h 4429294"/>
                    <a:gd name="connsiteX48" fmla="*/ 446869 w 4501379"/>
                    <a:gd name="connsiteY48" fmla="*/ 3470275 h 4429294"/>
                    <a:gd name="connsiteX49" fmla="*/ 316694 w 4501379"/>
                    <a:gd name="connsiteY49" fmla="*/ 3244850 h 4429294"/>
                    <a:gd name="connsiteX50" fmla="*/ 164294 w 4501379"/>
                    <a:gd name="connsiteY50" fmla="*/ 2892425 h 4429294"/>
                    <a:gd name="connsiteX51" fmla="*/ 56344 w 4501379"/>
                    <a:gd name="connsiteY51" fmla="*/ 2368550 h 4429294"/>
                    <a:gd name="connsiteX52" fmla="*/ 2369 w 4501379"/>
                    <a:gd name="connsiteY52" fmla="*/ 1905000 h 4429294"/>
                    <a:gd name="connsiteX53" fmla="*/ 11894 w 4501379"/>
                    <a:gd name="connsiteY53" fmla="*/ 1838325 h 4429294"/>
                    <a:gd name="connsiteX54" fmla="*/ 30944 w 4501379"/>
                    <a:gd name="connsiteY54" fmla="*/ 1781175 h 4429294"/>
                    <a:gd name="connsiteX55" fmla="*/ 40469 w 4501379"/>
                    <a:gd name="connsiteY55" fmla="*/ 1743075 h 4429294"/>
                    <a:gd name="connsiteX56" fmla="*/ 59519 w 4501379"/>
                    <a:gd name="connsiteY56" fmla="*/ 1685925 h 4429294"/>
                    <a:gd name="connsiteX57" fmla="*/ 69044 w 4501379"/>
                    <a:gd name="connsiteY57" fmla="*/ 1638300 h 4429294"/>
                    <a:gd name="connsiteX58" fmla="*/ 88094 w 4501379"/>
                    <a:gd name="connsiteY58" fmla="*/ 1590675 h 4429294"/>
                    <a:gd name="connsiteX59" fmla="*/ 116669 w 4501379"/>
                    <a:gd name="connsiteY59" fmla="*/ 1504950 h 4429294"/>
                    <a:gd name="connsiteX60" fmla="*/ 135719 w 4501379"/>
                    <a:gd name="connsiteY60" fmla="*/ 1419225 h 4429294"/>
                    <a:gd name="connsiteX61" fmla="*/ 211919 w 4501379"/>
                    <a:gd name="connsiteY61" fmla="*/ 1276350 h 4429294"/>
                    <a:gd name="connsiteX62" fmla="*/ 221444 w 4501379"/>
                    <a:gd name="connsiteY62" fmla="*/ 1247775 h 4429294"/>
                    <a:gd name="connsiteX63" fmla="*/ 250019 w 4501379"/>
                    <a:gd name="connsiteY63" fmla="*/ 1200150 h 4429294"/>
                    <a:gd name="connsiteX64" fmla="*/ 269069 w 4501379"/>
                    <a:gd name="connsiteY64" fmla="*/ 1152525 h 4429294"/>
                    <a:gd name="connsiteX65" fmla="*/ 297644 w 4501379"/>
                    <a:gd name="connsiteY65" fmla="*/ 1114425 h 4429294"/>
                    <a:gd name="connsiteX66" fmla="*/ 345269 w 4501379"/>
                    <a:gd name="connsiteY66" fmla="*/ 1038225 h 4429294"/>
                    <a:gd name="connsiteX67" fmla="*/ 364319 w 4501379"/>
                    <a:gd name="connsiteY67" fmla="*/ 1009650 h 4429294"/>
                    <a:gd name="connsiteX68" fmla="*/ 421469 w 4501379"/>
                    <a:gd name="connsiteY68" fmla="*/ 904875 h 4429294"/>
                    <a:gd name="connsiteX69" fmla="*/ 459569 w 4501379"/>
                    <a:gd name="connsiteY69" fmla="*/ 857250 h 4429294"/>
                    <a:gd name="connsiteX70" fmla="*/ 478619 w 4501379"/>
                    <a:gd name="connsiteY70" fmla="*/ 828675 h 4429294"/>
                    <a:gd name="connsiteX71" fmla="*/ 516719 w 4501379"/>
                    <a:gd name="connsiteY71" fmla="*/ 800100 h 4429294"/>
                    <a:gd name="connsiteX72" fmla="*/ 583394 w 4501379"/>
                    <a:gd name="connsiteY72" fmla="*/ 733425 h 4429294"/>
                    <a:gd name="connsiteX73" fmla="*/ 650069 w 4501379"/>
                    <a:gd name="connsiteY73" fmla="*/ 676275 h 4429294"/>
                    <a:gd name="connsiteX74" fmla="*/ 678644 w 4501379"/>
                    <a:gd name="connsiteY74" fmla="*/ 657225 h 4429294"/>
                    <a:gd name="connsiteX75" fmla="*/ 821519 w 4501379"/>
                    <a:gd name="connsiteY75" fmla="*/ 533400 h 4429294"/>
                    <a:gd name="connsiteX76" fmla="*/ 869144 w 4501379"/>
                    <a:gd name="connsiteY76" fmla="*/ 504825 h 4429294"/>
                    <a:gd name="connsiteX77" fmla="*/ 1148544 w 4501379"/>
                    <a:gd name="connsiteY77" fmla="*/ 311150 h 4429294"/>
                    <a:gd name="connsiteX78" fmla="*/ 1250144 w 4501379"/>
                    <a:gd name="connsiteY78" fmla="*/ 285750 h 4429294"/>
                    <a:gd name="connsiteX79" fmla="*/ 1393019 w 4501379"/>
                    <a:gd name="connsiteY79" fmla="*/ 190500 h 4429294"/>
                    <a:gd name="connsiteX80" fmla="*/ 1431119 w 4501379"/>
                    <a:gd name="connsiteY80" fmla="*/ 161925 h 4429294"/>
                    <a:gd name="connsiteX81" fmla="*/ 1507319 w 4501379"/>
                    <a:gd name="connsiteY81" fmla="*/ 152400 h 4429294"/>
                    <a:gd name="connsiteX82" fmla="*/ 1564469 w 4501379"/>
                    <a:gd name="connsiteY82" fmla="*/ 142875 h 4429294"/>
                    <a:gd name="connsiteX83" fmla="*/ 1697819 w 4501379"/>
                    <a:gd name="connsiteY83" fmla="*/ 123825 h 4429294"/>
                    <a:gd name="connsiteX84" fmla="*/ 1793069 w 4501379"/>
                    <a:gd name="connsiteY84" fmla="*/ 114300 h 4429294"/>
                    <a:gd name="connsiteX85" fmla="*/ 1840694 w 4501379"/>
                    <a:gd name="connsiteY85" fmla="*/ 104775 h 4429294"/>
                    <a:gd name="connsiteX86" fmla="*/ 1897844 w 4501379"/>
                    <a:gd name="connsiteY86" fmla="*/ 95250 h 4429294"/>
                    <a:gd name="connsiteX87" fmla="*/ 2012144 w 4501379"/>
                    <a:gd name="connsiteY87" fmla="*/ 66675 h 4429294"/>
                    <a:gd name="connsiteX88" fmla="*/ 2078819 w 4501379"/>
                    <a:gd name="connsiteY88" fmla="*/ 47625 h 4429294"/>
                    <a:gd name="connsiteX89" fmla="*/ 2145494 w 4501379"/>
                    <a:gd name="connsiteY89" fmla="*/ 38100 h 4429294"/>
                    <a:gd name="connsiteX0" fmla="*/ 2278844 w 4501379"/>
                    <a:gd name="connsiteY0" fmla="*/ 0 h 4429294"/>
                    <a:gd name="connsiteX1" fmla="*/ 2736044 w 4501379"/>
                    <a:gd name="connsiteY1" fmla="*/ 666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2993219 w 4501379"/>
                    <a:gd name="connsiteY4" fmla="*/ 123825 h 4429294"/>
                    <a:gd name="connsiteX5" fmla="*/ 3117044 w 4501379"/>
                    <a:gd name="connsiteY5" fmla="*/ 171450 h 4429294"/>
                    <a:gd name="connsiteX6" fmla="*/ 3155144 w 4501379"/>
                    <a:gd name="connsiteY6" fmla="*/ 190500 h 4429294"/>
                    <a:gd name="connsiteX7" fmla="*/ 3221819 w 4501379"/>
                    <a:gd name="connsiteY7" fmla="*/ 228600 h 4429294"/>
                    <a:gd name="connsiteX8" fmla="*/ 3250394 w 4501379"/>
                    <a:gd name="connsiteY8" fmla="*/ 238125 h 4429294"/>
                    <a:gd name="connsiteX9" fmla="*/ 3278969 w 4501379"/>
                    <a:gd name="connsiteY9" fmla="*/ 257175 h 4429294"/>
                    <a:gd name="connsiteX10" fmla="*/ 3307544 w 4501379"/>
                    <a:gd name="connsiteY10" fmla="*/ 266700 h 4429294"/>
                    <a:gd name="connsiteX11" fmla="*/ 3336119 w 4501379"/>
                    <a:gd name="connsiteY11" fmla="*/ 285750 h 4429294"/>
                    <a:gd name="connsiteX12" fmla="*/ 3402794 w 4501379"/>
                    <a:gd name="connsiteY12" fmla="*/ 323850 h 4429294"/>
                    <a:gd name="connsiteX13" fmla="*/ 3450419 w 4501379"/>
                    <a:gd name="connsiteY13" fmla="*/ 361950 h 4429294"/>
                    <a:gd name="connsiteX14" fmla="*/ 3498044 w 4501379"/>
                    <a:gd name="connsiteY14" fmla="*/ 390525 h 4429294"/>
                    <a:gd name="connsiteX15" fmla="*/ 3612344 w 4501379"/>
                    <a:gd name="connsiteY15" fmla="*/ 485775 h 4429294"/>
                    <a:gd name="connsiteX16" fmla="*/ 3726644 w 4501379"/>
                    <a:gd name="connsiteY16" fmla="*/ 542925 h 4429294"/>
                    <a:gd name="connsiteX17" fmla="*/ 3793319 w 4501379"/>
                    <a:gd name="connsiteY17" fmla="*/ 581025 h 4429294"/>
                    <a:gd name="connsiteX18" fmla="*/ 4009219 w 4501379"/>
                    <a:gd name="connsiteY18" fmla="*/ 819150 h 4429294"/>
                    <a:gd name="connsiteX19" fmla="*/ 4145744 w 4501379"/>
                    <a:gd name="connsiteY19" fmla="*/ 990600 h 4429294"/>
                    <a:gd name="connsiteX20" fmla="*/ 4231469 w 4501379"/>
                    <a:gd name="connsiteY20" fmla="*/ 1143000 h 4429294"/>
                    <a:gd name="connsiteX21" fmla="*/ 4288619 w 4501379"/>
                    <a:gd name="connsiteY21" fmla="*/ 1266825 h 4429294"/>
                    <a:gd name="connsiteX22" fmla="*/ 4326719 w 4501379"/>
                    <a:gd name="connsiteY22" fmla="*/ 1362075 h 4429294"/>
                    <a:gd name="connsiteX23" fmla="*/ 4374344 w 4501379"/>
                    <a:gd name="connsiteY23" fmla="*/ 1552575 h 4429294"/>
                    <a:gd name="connsiteX24" fmla="*/ 4412444 w 4501379"/>
                    <a:gd name="connsiteY24" fmla="*/ 1685925 h 4429294"/>
                    <a:gd name="connsiteX25" fmla="*/ 4501344 w 4501379"/>
                    <a:gd name="connsiteY25" fmla="*/ 2181225 h 4429294"/>
                    <a:gd name="connsiteX26" fmla="*/ 4428319 w 4501379"/>
                    <a:gd name="connsiteY26" fmla="*/ 2768600 h 4429294"/>
                    <a:gd name="connsiteX27" fmla="*/ 4364819 w 4501379"/>
                    <a:gd name="connsiteY27" fmla="*/ 2990850 h 4429294"/>
                    <a:gd name="connsiteX28" fmla="*/ 4260044 w 4501379"/>
                    <a:gd name="connsiteY28" fmla="*/ 3248025 h 4429294"/>
                    <a:gd name="connsiteX29" fmla="*/ 4164794 w 4501379"/>
                    <a:gd name="connsiteY29" fmla="*/ 3400425 h 4429294"/>
                    <a:gd name="connsiteX30" fmla="*/ 4040969 w 4501379"/>
                    <a:gd name="connsiteY30" fmla="*/ 3533775 h 4429294"/>
                    <a:gd name="connsiteX31" fmla="*/ 3936194 w 4501379"/>
                    <a:gd name="connsiteY31" fmla="*/ 3648075 h 4429294"/>
                    <a:gd name="connsiteX32" fmla="*/ 3640919 w 4501379"/>
                    <a:gd name="connsiteY32" fmla="*/ 3971925 h 4429294"/>
                    <a:gd name="connsiteX33" fmla="*/ 3498044 w 4501379"/>
                    <a:gd name="connsiteY33" fmla="*/ 4083050 h 4429294"/>
                    <a:gd name="connsiteX34" fmla="*/ 3202769 w 4501379"/>
                    <a:gd name="connsiteY34" fmla="*/ 4222750 h 4429294"/>
                    <a:gd name="connsiteX35" fmla="*/ 3050369 w 4501379"/>
                    <a:gd name="connsiteY35" fmla="*/ 4286250 h 4429294"/>
                    <a:gd name="connsiteX36" fmla="*/ 2917019 w 4501379"/>
                    <a:gd name="connsiteY36" fmla="*/ 4333875 h 4429294"/>
                    <a:gd name="connsiteX37" fmla="*/ 2793194 w 4501379"/>
                    <a:gd name="connsiteY37" fmla="*/ 4371975 h 4429294"/>
                    <a:gd name="connsiteX38" fmla="*/ 2561419 w 4501379"/>
                    <a:gd name="connsiteY38" fmla="*/ 4391025 h 4429294"/>
                    <a:gd name="connsiteX39" fmla="*/ 2107394 w 4501379"/>
                    <a:gd name="connsiteY39" fmla="*/ 4429125 h 4429294"/>
                    <a:gd name="connsiteX40" fmla="*/ 1916894 w 4501379"/>
                    <a:gd name="connsiteY40" fmla="*/ 4400550 h 4429294"/>
                    <a:gd name="connsiteX41" fmla="*/ 1554944 w 4501379"/>
                    <a:gd name="connsiteY41" fmla="*/ 4305300 h 4429294"/>
                    <a:gd name="connsiteX42" fmla="*/ 1313644 w 4501379"/>
                    <a:gd name="connsiteY42" fmla="*/ 4216400 h 4429294"/>
                    <a:gd name="connsiteX43" fmla="*/ 1145369 w 4501379"/>
                    <a:gd name="connsiteY43" fmla="*/ 4111625 h 4429294"/>
                    <a:gd name="connsiteX44" fmla="*/ 926294 w 4501379"/>
                    <a:gd name="connsiteY44" fmla="*/ 3968750 h 4429294"/>
                    <a:gd name="connsiteX45" fmla="*/ 592919 w 4501379"/>
                    <a:gd name="connsiteY45" fmla="*/ 3657600 h 4429294"/>
                    <a:gd name="connsiteX46" fmla="*/ 446869 w 4501379"/>
                    <a:gd name="connsiteY46" fmla="*/ 3470275 h 4429294"/>
                    <a:gd name="connsiteX47" fmla="*/ 316694 w 4501379"/>
                    <a:gd name="connsiteY47" fmla="*/ 3244850 h 4429294"/>
                    <a:gd name="connsiteX48" fmla="*/ 164294 w 4501379"/>
                    <a:gd name="connsiteY48" fmla="*/ 2892425 h 4429294"/>
                    <a:gd name="connsiteX49" fmla="*/ 56344 w 4501379"/>
                    <a:gd name="connsiteY49" fmla="*/ 2368550 h 4429294"/>
                    <a:gd name="connsiteX50" fmla="*/ 2369 w 4501379"/>
                    <a:gd name="connsiteY50" fmla="*/ 1905000 h 4429294"/>
                    <a:gd name="connsiteX51" fmla="*/ 11894 w 4501379"/>
                    <a:gd name="connsiteY51" fmla="*/ 1838325 h 4429294"/>
                    <a:gd name="connsiteX52" fmla="*/ 30944 w 4501379"/>
                    <a:gd name="connsiteY52" fmla="*/ 1781175 h 4429294"/>
                    <a:gd name="connsiteX53" fmla="*/ 40469 w 4501379"/>
                    <a:gd name="connsiteY53" fmla="*/ 1743075 h 4429294"/>
                    <a:gd name="connsiteX54" fmla="*/ 59519 w 4501379"/>
                    <a:gd name="connsiteY54" fmla="*/ 1685925 h 4429294"/>
                    <a:gd name="connsiteX55" fmla="*/ 69044 w 4501379"/>
                    <a:gd name="connsiteY55" fmla="*/ 1638300 h 4429294"/>
                    <a:gd name="connsiteX56" fmla="*/ 88094 w 4501379"/>
                    <a:gd name="connsiteY56" fmla="*/ 1590675 h 4429294"/>
                    <a:gd name="connsiteX57" fmla="*/ 116669 w 4501379"/>
                    <a:gd name="connsiteY57" fmla="*/ 1504950 h 4429294"/>
                    <a:gd name="connsiteX58" fmla="*/ 135719 w 4501379"/>
                    <a:gd name="connsiteY58" fmla="*/ 1419225 h 4429294"/>
                    <a:gd name="connsiteX59" fmla="*/ 211919 w 4501379"/>
                    <a:gd name="connsiteY59" fmla="*/ 1276350 h 4429294"/>
                    <a:gd name="connsiteX60" fmla="*/ 221444 w 4501379"/>
                    <a:gd name="connsiteY60" fmla="*/ 1247775 h 4429294"/>
                    <a:gd name="connsiteX61" fmla="*/ 250019 w 4501379"/>
                    <a:gd name="connsiteY61" fmla="*/ 1200150 h 4429294"/>
                    <a:gd name="connsiteX62" fmla="*/ 269069 w 4501379"/>
                    <a:gd name="connsiteY62" fmla="*/ 1152525 h 4429294"/>
                    <a:gd name="connsiteX63" fmla="*/ 297644 w 4501379"/>
                    <a:gd name="connsiteY63" fmla="*/ 1114425 h 4429294"/>
                    <a:gd name="connsiteX64" fmla="*/ 345269 w 4501379"/>
                    <a:gd name="connsiteY64" fmla="*/ 1038225 h 4429294"/>
                    <a:gd name="connsiteX65" fmla="*/ 364319 w 4501379"/>
                    <a:gd name="connsiteY65" fmla="*/ 1009650 h 4429294"/>
                    <a:gd name="connsiteX66" fmla="*/ 421469 w 4501379"/>
                    <a:gd name="connsiteY66" fmla="*/ 904875 h 4429294"/>
                    <a:gd name="connsiteX67" fmla="*/ 459569 w 4501379"/>
                    <a:gd name="connsiteY67" fmla="*/ 857250 h 4429294"/>
                    <a:gd name="connsiteX68" fmla="*/ 478619 w 4501379"/>
                    <a:gd name="connsiteY68" fmla="*/ 828675 h 4429294"/>
                    <a:gd name="connsiteX69" fmla="*/ 516719 w 4501379"/>
                    <a:gd name="connsiteY69" fmla="*/ 800100 h 4429294"/>
                    <a:gd name="connsiteX70" fmla="*/ 583394 w 4501379"/>
                    <a:gd name="connsiteY70" fmla="*/ 733425 h 4429294"/>
                    <a:gd name="connsiteX71" fmla="*/ 650069 w 4501379"/>
                    <a:gd name="connsiteY71" fmla="*/ 676275 h 4429294"/>
                    <a:gd name="connsiteX72" fmla="*/ 678644 w 4501379"/>
                    <a:gd name="connsiteY72" fmla="*/ 657225 h 4429294"/>
                    <a:gd name="connsiteX73" fmla="*/ 821519 w 4501379"/>
                    <a:gd name="connsiteY73" fmla="*/ 533400 h 4429294"/>
                    <a:gd name="connsiteX74" fmla="*/ 869144 w 4501379"/>
                    <a:gd name="connsiteY74" fmla="*/ 504825 h 4429294"/>
                    <a:gd name="connsiteX75" fmla="*/ 1148544 w 4501379"/>
                    <a:gd name="connsiteY75" fmla="*/ 311150 h 4429294"/>
                    <a:gd name="connsiteX76" fmla="*/ 1250144 w 4501379"/>
                    <a:gd name="connsiteY76" fmla="*/ 285750 h 4429294"/>
                    <a:gd name="connsiteX77" fmla="*/ 1393019 w 4501379"/>
                    <a:gd name="connsiteY77" fmla="*/ 190500 h 4429294"/>
                    <a:gd name="connsiteX78" fmla="*/ 1431119 w 4501379"/>
                    <a:gd name="connsiteY78" fmla="*/ 161925 h 4429294"/>
                    <a:gd name="connsiteX79" fmla="*/ 1507319 w 4501379"/>
                    <a:gd name="connsiteY79" fmla="*/ 152400 h 4429294"/>
                    <a:gd name="connsiteX80" fmla="*/ 1564469 w 4501379"/>
                    <a:gd name="connsiteY80" fmla="*/ 142875 h 4429294"/>
                    <a:gd name="connsiteX81" fmla="*/ 1697819 w 4501379"/>
                    <a:gd name="connsiteY81" fmla="*/ 123825 h 4429294"/>
                    <a:gd name="connsiteX82" fmla="*/ 1793069 w 4501379"/>
                    <a:gd name="connsiteY82" fmla="*/ 114300 h 4429294"/>
                    <a:gd name="connsiteX83" fmla="*/ 1840694 w 4501379"/>
                    <a:gd name="connsiteY83" fmla="*/ 104775 h 4429294"/>
                    <a:gd name="connsiteX84" fmla="*/ 1897844 w 4501379"/>
                    <a:gd name="connsiteY84" fmla="*/ 95250 h 4429294"/>
                    <a:gd name="connsiteX85" fmla="*/ 2012144 w 4501379"/>
                    <a:gd name="connsiteY85" fmla="*/ 66675 h 4429294"/>
                    <a:gd name="connsiteX86" fmla="*/ 2078819 w 4501379"/>
                    <a:gd name="connsiteY86" fmla="*/ 47625 h 4429294"/>
                    <a:gd name="connsiteX87" fmla="*/ 2145494 w 4501379"/>
                    <a:gd name="connsiteY8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3117044 w 4501379"/>
                    <a:gd name="connsiteY4" fmla="*/ 171450 h 4429294"/>
                    <a:gd name="connsiteX5" fmla="*/ 3155144 w 4501379"/>
                    <a:gd name="connsiteY5" fmla="*/ 190500 h 4429294"/>
                    <a:gd name="connsiteX6" fmla="*/ 3221819 w 4501379"/>
                    <a:gd name="connsiteY6" fmla="*/ 228600 h 4429294"/>
                    <a:gd name="connsiteX7" fmla="*/ 3250394 w 4501379"/>
                    <a:gd name="connsiteY7" fmla="*/ 238125 h 4429294"/>
                    <a:gd name="connsiteX8" fmla="*/ 3278969 w 4501379"/>
                    <a:gd name="connsiteY8" fmla="*/ 257175 h 4429294"/>
                    <a:gd name="connsiteX9" fmla="*/ 3307544 w 4501379"/>
                    <a:gd name="connsiteY9" fmla="*/ 266700 h 4429294"/>
                    <a:gd name="connsiteX10" fmla="*/ 3336119 w 4501379"/>
                    <a:gd name="connsiteY10" fmla="*/ 285750 h 4429294"/>
                    <a:gd name="connsiteX11" fmla="*/ 3402794 w 4501379"/>
                    <a:gd name="connsiteY11" fmla="*/ 323850 h 4429294"/>
                    <a:gd name="connsiteX12" fmla="*/ 3450419 w 4501379"/>
                    <a:gd name="connsiteY12" fmla="*/ 361950 h 4429294"/>
                    <a:gd name="connsiteX13" fmla="*/ 3498044 w 4501379"/>
                    <a:gd name="connsiteY13" fmla="*/ 390525 h 4429294"/>
                    <a:gd name="connsiteX14" fmla="*/ 3612344 w 4501379"/>
                    <a:gd name="connsiteY14" fmla="*/ 485775 h 4429294"/>
                    <a:gd name="connsiteX15" fmla="*/ 3726644 w 4501379"/>
                    <a:gd name="connsiteY15" fmla="*/ 542925 h 4429294"/>
                    <a:gd name="connsiteX16" fmla="*/ 3793319 w 4501379"/>
                    <a:gd name="connsiteY16" fmla="*/ 581025 h 4429294"/>
                    <a:gd name="connsiteX17" fmla="*/ 4009219 w 4501379"/>
                    <a:gd name="connsiteY17" fmla="*/ 819150 h 4429294"/>
                    <a:gd name="connsiteX18" fmla="*/ 4145744 w 4501379"/>
                    <a:gd name="connsiteY18" fmla="*/ 990600 h 4429294"/>
                    <a:gd name="connsiteX19" fmla="*/ 4231469 w 4501379"/>
                    <a:gd name="connsiteY19" fmla="*/ 1143000 h 4429294"/>
                    <a:gd name="connsiteX20" fmla="*/ 4288619 w 4501379"/>
                    <a:gd name="connsiteY20" fmla="*/ 1266825 h 4429294"/>
                    <a:gd name="connsiteX21" fmla="*/ 4326719 w 4501379"/>
                    <a:gd name="connsiteY21" fmla="*/ 1362075 h 4429294"/>
                    <a:gd name="connsiteX22" fmla="*/ 4374344 w 4501379"/>
                    <a:gd name="connsiteY22" fmla="*/ 1552575 h 4429294"/>
                    <a:gd name="connsiteX23" fmla="*/ 4412444 w 4501379"/>
                    <a:gd name="connsiteY23" fmla="*/ 1685925 h 4429294"/>
                    <a:gd name="connsiteX24" fmla="*/ 4501344 w 4501379"/>
                    <a:gd name="connsiteY24" fmla="*/ 2181225 h 4429294"/>
                    <a:gd name="connsiteX25" fmla="*/ 4428319 w 4501379"/>
                    <a:gd name="connsiteY25" fmla="*/ 2768600 h 4429294"/>
                    <a:gd name="connsiteX26" fmla="*/ 4364819 w 4501379"/>
                    <a:gd name="connsiteY26" fmla="*/ 2990850 h 4429294"/>
                    <a:gd name="connsiteX27" fmla="*/ 4260044 w 4501379"/>
                    <a:gd name="connsiteY27" fmla="*/ 3248025 h 4429294"/>
                    <a:gd name="connsiteX28" fmla="*/ 4164794 w 4501379"/>
                    <a:gd name="connsiteY28" fmla="*/ 3400425 h 4429294"/>
                    <a:gd name="connsiteX29" fmla="*/ 4040969 w 4501379"/>
                    <a:gd name="connsiteY29" fmla="*/ 3533775 h 4429294"/>
                    <a:gd name="connsiteX30" fmla="*/ 3936194 w 4501379"/>
                    <a:gd name="connsiteY30" fmla="*/ 3648075 h 4429294"/>
                    <a:gd name="connsiteX31" fmla="*/ 3640919 w 4501379"/>
                    <a:gd name="connsiteY31" fmla="*/ 3971925 h 4429294"/>
                    <a:gd name="connsiteX32" fmla="*/ 3498044 w 4501379"/>
                    <a:gd name="connsiteY32" fmla="*/ 4083050 h 4429294"/>
                    <a:gd name="connsiteX33" fmla="*/ 3202769 w 4501379"/>
                    <a:gd name="connsiteY33" fmla="*/ 4222750 h 4429294"/>
                    <a:gd name="connsiteX34" fmla="*/ 3050369 w 4501379"/>
                    <a:gd name="connsiteY34" fmla="*/ 4286250 h 4429294"/>
                    <a:gd name="connsiteX35" fmla="*/ 2917019 w 4501379"/>
                    <a:gd name="connsiteY35" fmla="*/ 4333875 h 4429294"/>
                    <a:gd name="connsiteX36" fmla="*/ 2793194 w 4501379"/>
                    <a:gd name="connsiteY36" fmla="*/ 4371975 h 4429294"/>
                    <a:gd name="connsiteX37" fmla="*/ 2561419 w 4501379"/>
                    <a:gd name="connsiteY37" fmla="*/ 4391025 h 4429294"/>
                    <a:gd name="connsiteX38" fmla="*/ 2107394 w 4501379"/>
                    <a:gd name="connsiteY38" fmla="*/ 4429125 h 4429294"/>
                    <a:gd name="connsiteX39" fmla="*/ 1916894 w 4501379"/>
                    <a:gd name="connsiteY39" fmla="*/ 4400550 h 4429294"/>
                    <a:gd name="connsiteX40" fmla="*/ 1554944 w 4501379"/>
                    <a:gd name="connsiteY40" fmla="*/ 4305300 h 4429294"/>
                    <a:gd name="connsiteX41" fmla="*/ 1313644 w 4501379"/>
                    <a:gd name="connsiteY41" fmla="*/ 4216400 h 4429294"/>
                    <a:gd name="connsiteX42" fmla="*/ 1145369 w 4501379"/>
                    <a:gd name="connsiteY42" fmla="*/ 4111625 h 4429294"/>
                    <a:gd name="connsiteX43" fmla="*/ 926294 w 4501379"/>
                    <a:gd name="connsiteY43" fmla="*/ 3968750 h 4429294"/>
                    <a:gd name="connsiteX44" fmla="*/ 592919 w 4501379"/>
                    <a:gd name="connsiteY44" fmla="*/ 3657600 h 4429294"/>
                    <a:gd name="connsiteX45" fmla="*/ 446869 w 4501379"/>
                    <a:gd name="connsiteY45" fmla="*/ 3470275 h 4429294"/>
                    <a:gd name="connsiteX46" fmla="*/ 316694 w 4501379"/>
                    <a:gd name="connsiteY46" fmla="*/ 3244850 h 4429294"/>
                    <a:gd name="connsiteX47" fmla="*/ 164294 w 4501379"/>
                    <a:gd name="connsiteY47" fmla="*/ 2892425 h 4429294"/>
                    <a:gd name="connsiteX48" fmla="*/ 56344 w 4501379"/>
                    <a:gd name="connsiteY48" fmla="*/ 2368550 h 4429294"/>
                    <a:gd name="connsiteX49" fmla="*/ 2369 w 4501379"/>
                    <a:gd name="connsiteY49" fmla="*/ 1905000 h 4429294"/>
                    <a:gd name="connsiteX50" fmla="*/ 11894 w 4501379"/>
                    <a:gd name="connsiteY50" fmla="*/ 1838325 h 4429294"/>
                    <a:gd name="connsiteX51" fmla="*/ 30944 w 4501379"/>
                    <a:gd name="connsiteY51" fmla="*/ 1781175 h 4429294"/>
                    <a:gd name="connsiteX52" fmla="*/ 40469 w 4501379"/>
                    <a:gd name="connsiteY52" fmla="*/ 1743075 h 4429294"/>
                    <a:gd name="connsiteX53" fmla="*/ 59519 w 4501379"/>
                    <a:gd name="connsiteY53" fmla="*/ 1685925 h 4429294"/>
                    <a:gd name="connsiteX54" fmla="*/ 69044 w 4501379"/>
                    <a:gd name="connsiteY54" fmla="*/ 1638300 h 4429294"/>
                    <a:gd name="connsiteX55" fmla="*/ 88094 w 4501379"/>
                    <a:gd name="connsiteY55" fmla="*/ 1590675 h 4429294"/>
                    <a:gd name="connsiteX56" fmla="*/ 116669 w 4501379"/>
                    <a:gd name="connsiteY56" fmla="*/ 1504950 h 4429294"/>
                    <a:gd name="connsiteX57" fmla="*/ 135719 w 4501379"/>
                    <a:gd name="connsiteY57" fmla="*/ 1419225 h 4429294"/>
                    <a:gd name="connsiteX58" fmla="*/ 211919 w 4501379"/>
                    <a:gd name="connsiteY58" fmla="*/ 1276350 h 4429294"/>
                    <a:gd name="connsiteX59" fmla="*/ 221444 w 4501379"/>
                    <a:gd name="connsiteY59" fmla="*/ 1247775 h 4429294"/>
                    <a:gd name="connsiteX60" fmla="*/ 250019 w 4501379"/>
                    <a:gd name="connsiteY60" fmla="*/ 1200150 h 4429294"/>
                    <a:gd name="connsiteX61" fmla="*/ 269069 w 4501379"/>
                    <a:gd name="connsiteY61" fmla="*/ 1152525 h 4429294"/>
                    <a:gd name="connsiteX62" fmla="*/ 297644 w 4501379"/>
                    <a:gd name="connsiteY62" fmla="*/ 1114425 h 4429294"/>
                    <a:gd name="connsiteX63" fmla="*/ 345269 w 4501379"/>
                    <a:gd name="connsiteY63" fmla="*/ 1038225 h 4429294"/>
                    <a:gd name="connsiteX64" fmla="*/ 364319 w 4501379"/>
                    <a:gd name="connsiteY64" fmla="*/ 1009650 h 4429294"/>
                    <a:gd name="connsiteX65" fmla="*/ 421469 w 4501379"/>
                    <a:gd name="connsiteY65" fmla="*/ 904875 h 4429294"/>
                    <a:gd name="connsiteX66" fmla="*/ 459569 w 4501379"/>
                    <a:gd name="connsiteY66" fmla="*/ 857250 h 4429294"/>
                    <a:gd name="connsiteX67" fmla="*/ 478619 w 4501379"/>
                    <a:gd name="connsiteY67" fmla="*/ 828675 h 4429294"/>
                    <a:gd name="connsiteX68" fmla="*/ 516719 w 4501379"/>
                    <a:gd name="connsiteY68" fmla="*/ 800100 h 4429294"/>
                    <a:gd name="connsiteX69" fmla="*/ 583394 w 4501379"/>
                    <a:gd name="connsiteY69" fmla="*/ 733425 h 4429294"/>
                    <a:gd name="connsiteX70" fmla="*/ 650069 w 4501379"/>
                    <a:gd name="connsiteY70" fmla="*/ 676275 h 4429294"/>
                    <a:gd name="connsiteX71" fmla="*/ 678644 w 4501379"/>
                    <a:gd name="connsiteY71" fmla="*/ 657225 h 4429294"/>
                    <a:gd name="connsiteX72" fmla="*/ 821519 w 4501379"/>
                    <a:gd name="connsiteY72" fmla="*/ 533400 h 4429294"/>
                    <a:gd name="connsiteX73" fmla="*/ 869144 w 4501379"/>
                    <a:gd name="connsiteY73" fmla="*/ 504825 h 4429294"/>
                    <a:gd name="connsiteX74" fmla="*/ 1148544 w 4501379"/>
                    <a:gd name="connsiteY74" fmla="*/ 311150 h 4429294"/>
                    <a:gd name="connsiteX75" fmla="*/ 1250144 w 4501379"/>
                    <a:gd name="connsiteY75" fmla="*/ 285750 h 4429294"/>
                    <a:gd name="connsiteX76" fmla="*/ 1393019 w 4501379"/>
                    <a:gd name="connsiteY76" fmla="*/ 190500 h 4429294"/>
                    <a:gd name="connsiteX77" fmla="*/ 1431119 w 4501379"/>
                    <a:gd name="connsiteY77" fmla="*/ 161925 h 4429294"/>
                    <a:gd name="connsiteX78" fmla="*/ 1507319 w 4501379"/>
                    <a:gd name="connsiteY78" fmla="*/ 152400 h 4429294"/>
                    <a:gd name="connsiteX79" fmla="*/ 1564469 w 4501379"/>
                    <a:gd name="connsiteY79" fmla="*/ 142875 h 4429294"/>
                    <a:gd name="connsiteX80" fmla="*/ 1697819 w 4501379"/>
                    <a:gd name="connsiteY80" fmla="*/ 123825 h 4429294"/>
                    <a:gd name="connsiteX81" fmla="*/ 1793069 w 4501379"/>
                    <a:gd name="connsiteY81" fmla="*/ 114300 h 4429294"/>
                    <a:gd name="connsiteX82" fmla="*/ 1840694 w 4501379"/>
                    <a:gd name="connsiteY82" fmla="*/ 104775 h 4429294"/>
                    <a:gd name="connsiteX83" fmla="*/ 1897844 w 4501379"/>
                    <a:gd name="connsiteY83" fmla="*/ 95250 h 4429294"/>
                    <a:gd name="connsiteX84" fmla="*/ 2012144 w 4501379"/>
                    <a:gd name="connsiteY84" fmla="*/ 66675 h 4429294"/>
                    <a:gd name="connsiteX85" fmla="*/ 2078819 w 4501379"/>
                    <a:gd name="connsiteY85" fmla="*/ 47625 h 4429294"/>
                    <a:gd name="connsiteX86" fmla="*/ 2145494 w 4501379"/>
                    <a:gd name="connsiteY8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155144 w 4501379"/>
                    <a:gd name="connsiteY4" fmla="*/ 190500 h 4429294"/>
                    <a:gd name="connsiteX5" fmla="*/ 3221819 w 4501379"/>
                    <a:gd name="connsiteY5" fmla="*/ 228600 h 4429294"/>
                    <a:gd name="connsiteX6" fmla="*/ 3250394 w 4501379"/>
                    <a:gd name="connsiteY6" fmla="*/ 238125 h 4429294"/>
                    <a:gd name="connsiteX7" fmla="*/ 3278969 w 4501379"/>
                    <a:gd name="connsiteY7" fmla="*/ 257175 h 4429294"/>
                    <a:gd name="connsiteX8" fmla="*/ 3307544 w 4501379"/>
                    <a:gd name="connsiteY8" fmla="*/ 266700 h 4429294"/>
                    <a:gd name="connsiteX9" fmla="*/ 3336119 w 4501379"/>
                    <a:gd name="connsiteY9" fmla="*/ 285750 h 4429294"/>
                    <a:gd name="connsiteX10" fmla="*/ 3402794 w 4501379"/>
                    <a:gd name="connsiteY10" fmla="*/ 323850 h 4429294"/>
                    <a:gd name="connsiteX11" fmla="*/ 3450419 w 4501379"/>
                    <a:gd name="connsiteY11" fmla="*/ 361950 h 4429294"/>
                    <a:gd name="connsiteX12" fmla="*/ 3498044 w 4501379"/>
                    <a:gd name="connsiteY12" fmla="*/ 390525 h 4429294"/>
                    <a:gd name="connsiteX13" fmla="*/ 3612344 w 4501379"/>
                    <a:gd name="connsiteY13" fmla="*/ 485775 h 4429294"/>
                    <a:gd name="connsiteX14" fmla="*/ 3726644 w 4501379"/>
                    <a:gd name="connsiteY14" fmla="*/ 542925 h 4429294"/>
                    <a:gd name="connsiteX15" fmla="*/ 3793319 w 4501379"/>
                    <a:gd name="connsiteY15" fmla="*/ 581025 h 4429294"/>
                    <a:gd name="connsiteX16" fmla="*/ 4009219 w 4501379"/>
                    <a:gd name="connsiteY16" fmla="*/ 819150 h 4429294"/>
                    <a:gd name="connsiteX17" fmla="*/ 4145744 w 4501379"/>
                    <a:gd name="connsiteY17" fmla="*/ 990600 h 4429294"/>
                    <a:gd name="connsiteX18" fmla="*/ 4231469 w 4501379"/>
                    <a:gd name="connsiteY18" fmla="*/ 1143000 h 4429294"/>
                    <a:gd name="connsiteX19" fmla="*/ 4288619 w 4501379"/>
                    <a:gd name="connsiteY19" fmla="*/ 1266825 h 4429294"/>
                    <a:gd name="connsiteX20" fmla="*/ 4326719 w 4501379"/>
                    <a:gd name="connsiteY20" fmla="*/ 1362075 h 4429294"/>
                    <a:gd name="connsiteX21" fmla="*/ 4374344 w 4501379"/>
                    <a:gd name="connsiteY21" fmla="*/ 1552575 h 4429294"/>
                    <a:gd name="connsiteX22" fmla="*/ 4412444 w 4501379"/>
                    <a:gd name="connsiteY22" fmla="*/ 1685925 h 4429294"/>
                    <a:gd name="connsiteX23" fmla="*/ 4501344 w 4501379"/>
                    <a:gd name="connsiteY23" fmla="*/ 2181225 h 4429294"/>
                    <a:gd name="connsiteX24" fmla="*/ 4428319 w 4501379"/>
                    <a:gd name="connsiteY24" fmla="*/ 2768600 h 4429294"/>
                    <a:gd name="connsiteX25" fmla="*/ 4364819 w 4501379"/>
                    <a:gd name="connsiteY25" fmla="*/ 2990850 h 4429294"/>
                    <a:gd name="connsiteX26" fmla="*/ 4260044 w 4501379"/>
                    <a:gd name="connsiteY26" fmla="*/ 3248025 h 4429294"/>
                    <a:gd name="connsiteX27" fmla="*/ 4164794 w 4501379"/>
                    <a:gd name="connsiteY27" fmla="*/ 3400425 h 4429294"/>
                    <a:gd name="connsiteX28" fmla="*/ 4040969 w 4501379"/>
                    <a:gd name="connsiteY28" fmla="*/ 3533775 h 4429294"/>
                    <a:gd name="connsiteX29" fmla="*/ 3936194 w 4501379"/>
                    <a:gd name="connsiteY29" fmla="*/ 3648075 h 4429294"/>
                    <a:gd name="connsiteX30" fmla="*/ 3640919 w 4501379"/>
                    <a:gd name="connsiteY30" fmla="*/ 3971925 h 4429294"/>
                    <a:gd name="connsiteX31" fmla="*/ 3498044 w 4501379"/>
                    <a:gd name="connsiteY31" fmla="*/ 4083050 h 4429294"/>
                    <a:gd name="connsiteX32" fmla="*/ 3202769 w 4501379"/>
                    <a:gd name="connsiteY32" fmla="*/ 4222750 h 4429294"/>
                    <a:gd name="connsiteX33" fmla="*/ 3050369 w 4501379"/>
                    <a:gd name="connsiteY33" fmla="*/ 4286250 h 4429294"/>
                    <a:gd name="connsiteX34" fmla="*/ 2917019 w 4501379"/>
                    <a:gd name="connsiteY34" fmla="*/ 4333875 h 4429294"/>
                    <a:gd name="connsiteX35" fmla="*/ 2793194 w 4501379"/>
                    <a:gd name="connsiteY35" fmla="*/ 4371975 h 4429294"/>
                    <a:gd name="connsiteX36" fmla="*/ 2561419 w 4501379"/>
                    <a:gd name="connsiteY36" fmla="*/ 4391025 h 4429294"/>
                    <a:gd name="connsiteX37" fmla="*/ 2107394 w 4501379"/>
                    <a:gd name="connsiteY37" fmla="*/ 4429125 h 4429294"/>
                    <a:gd name="connsiteX38" fmla="*/ 1916894 w 4501379"/>
                    <a:gd name="connsiteY38" fmla="*/ 4400550 h 4429294"/>
                    <a:gd name="connsiteX39" fmla="*/ 1554944 w 4501379"/>
                    <a:gd name="connsiteY39" fmla="*/ 4305300 h 4429294"/>
                    <a:gd name="connsiteX40" fmla="*/ 1313644 w 4501379"/>
                    <a:gd name="connsiteY40" fmla="*/ 4216400 h 4429294"/>
                    <a:gd name="connsiteX41" fmla="*/ 1145369 w 4501379"/>
                    <a:gd name="connsiteY41" fmla="*/ 4111625 h 4429294"/>
                    <a:gd name="connsiteX42" fmla="*/ 926294 w 4501379"/>
                    <a:gd name="connsiteY42" fmla="*/ 3968750 h 4429294"/>
                    <a:gd name="connsiteX43" fmla="*/ 592919 w 4501379"/>
                    <a:gd name="connsiteY43" fmla="*/ 3657600 h 4429294"/>
                    <a:gd name="connsiteX44" fmla="*/ 446869 w 4501379"/>
                    <a:gd name="connsiteY44" fmla="*/ 3470275 h 4429294"/>
                    <a:gd name="connsiteX45" fmla="*/ 316694 w 4501379"/>
                    <a:gd name="connsiteY45" fmla="*/ 3244850 h 4429294"/>
                    <a:gd name="connsiteX46" fmla="*/ 164294 w 4501379"/>
                    <a:gd name="connsiteY46" fmla="*/ 2892425 h 4429294"/>
                    <a:gd name="connsiteX47" fmla="*/ 56344 w 4501379"/>
                    <a:gd name="connsiteY47" fmla="*/ 2368550 h 4429294"/>
                    <a:gd name="connsiteX48" fmla="*/ 2369 w 4501379"/>
                    <a:gd name="connsiteY48" fmla="*/ 1905000 h 4429294"/>
                    <a:gd name="connsiteX49" fmla="*/ 11894 w 4501379"/>
                    <a:gd name="connsiteY49" fmla="*/ 1838325 h 4429294"/>
                    <a:gd name="connsiteX50" fmla="*/ 30944 w 4501379"/>
                    <a:gd name="connsiteY50" fmla="*/ 1781175 h 4429294"/>
                    <a:gd name="connsiteX51" fmla="*/ 40469 w 4501379"/>
                    <a:gd name="connsiteY51" fmla="*/ 1743075 h 4429294"/>
                    <a:gd name="connsiteX52" fmla="*/ 59519 w 4501379"/>
                    <a:gd name="connsiteY52" fmla="*/ 1685925 h 4429294"/>
                    <a:gd name="connsiteX53" fmla="*/ 69044 w 4501379"/>
                    <a:gd name="connsiteY53" fmla="*/ 1638300 h 4429294"/>
                    <a:gd name="connsiteX54" fmla="*/ 88094 w 4501379"/>
                    <a:gd name="connsiteY54" fmla="*/ 1590675 h 4429294"/>
                    <a:gd name="connsiteX55" fmla="*/ 116669 w 4501379"/>
                    <a:gd name="connsiteY55" fmla="*/ 1504950 h 4429294"/>
                    <a:gd name="connsiteX56" fmla="*/ 135719 w 4501379"/>
                    <a:gd name="connsiteY56" fmla="*/ 1419225 h 4429294"/>
                    <a:gd name="connsiteX57" fmla="*/ 211919 w 4501379"/>
                    <a:gd name="connsiteY57" fmla="*/ 1276350 h 4429294"/>
                    <a:gd name="connsiteX58" fmla="*/ 221444 w 4501379"/>
                    <a:gd name="connsiteY58" fmla="*/ 1247775 h 4429294"/>
                    <a:gd name="connsiteX59" fmla="*/ 250019 w 4501379"/>
                    <a:gd name="connsiteY59" fmla="*/ 1200150 h 4429294"/>
                    <a:gd name="connsiteX60" fmla="*/ 269069 w 4501379"/>
                    <a:gd name="connsiteY60" fmla="*/ 1152525 h 4429294"/>
                    <a:gd name="connsiteX61" fmla="*/ 297644 w 4501379"/>
                    <a:gd name="connsiteY61" fmla="*/ 1114425 h 4429294"/>
                    <a:gd name="connsiteX62" fmla="*/ 345269 w 4501379"/>
                    <a:gd name="connsiteY62" fmla="*/ 1038225 h 4429294"/>
                    <a:gd name="connsiteX63" fmla="*/ 364319 w 4501379"/>
                    <a:gd name="connsiteY63" fmla="*/ 1009650 h 4429294"/>
                    <a:gd name="connsiteX64" fmla="*/ 421469 w 4501379"/>
                    <a:gd name="connsiteY64" fmla="*/ 904875 h 4429294"/>
                    <a:gd name="connsiteX65" fmla="*/ 459569 w 4501379"/>
                    <a:gd name="connsiteY65" fmla="*/ 857250 h 4429294"/>
                    <a:gd name="connsiteX66" fmla="*/ 478619 w 4501379"/>
                    <a:gd name="connsiteY66" fmla="*/ 828675 h 4429294"/>
                    <a:gd name="connsiteX67" fmla="*/ 516719 w 4501379"/>
                    <a:gd name="connsiteY67" fmla="*/ 800100 h 4429294"/>
                    <a:gd name="connsiteX68" fmla="*/ 583394 w 4501379"/>
                    <a:gd name="connsiteY68" fmla="*/ 733425 h 4429294"/>
                    <a:gd name="connsiteX69" fmla="*/ 650069 w 4501379"/>
                    <a:gd name="connsiteY69" fmla="*/ 676275 h 4429294"/>
                    <a:gd name="connsiteX70" fmla="*/ 678644 w 4501379"/>
                    <a:gd name="connsiteY70" fmla="*/ 657225 h 4429294"/>
                    <a:gd name="connsiteX71" fmla="*/ 821519 w 4501379"/>
                    <a:gd name="connsiteY71" fmla="*/ 533400 h 4429294"/>
                    <a:gd name="connsiteX72" fmla="*/ 869144 w 4501379"/>
                    <a:gd name="connsiteY72" fmla="*/ 504825 h 4429294"/>
                    <a:gd name="connsiteX73" fmla="*/ 1148544 w 4501379"/>
                    <a:gd name="connsiteY73" fmla="*/ 311150 h 4429294"/>
                    <a:gd name="connsiteX74" fmla="*/ 1250144 w 4501379"/>
                    <a:gd name="connsiteY74" fmla="*/ 285750 h 4429294"/>
                    <a:gd name="connsiteX75" fmla="*/ 1393019 w 4501379"/>
                    <a:gd name="connsiteY75" fmla="*/ 190500 h 4429294"/>
                    <a:gd name="connsiteX76" fmla="*/ 1431119 w 4501379"/>
                    <a:gd name="connsiteY76" fmla="*/ 161925 h 4429294"/>
                    <a:gd name="connsiteX77" fmla="*/ 1507319 w 4501379"/>
                    <a:gd name="connsiteY77" fmla="*/ 152400 h 4429294"/>
                    <a:gd name="connsiteX78" fmla="*/ 1564469 w 4501379"/>
                    <a:gd name="connsiteY78" fmla="*/ 142875 h 4429294"/>
                    <a:gd name="connsiteX79" fmla="*/ 1697819 w 4501379"/>
                    <a:gd name="connsiteY79" fmla="*/ 123825 h 4429294"/>
                    <a:gd name="connsiteX80" fmla="*/ 1793069 w 4501379"/>
                    <a:gd name="connsiteY80" fmla="*/ 114300 h 4429294"/>
                    <a:gd name="connsiteX81" fmla="*/ 1840694 w 4501379"/>
                    <a:gd name="connsiteY81" fmla="*/ 104775 h 4429294"/>
                    <a:gd name="connsiteX82" fmla="*/ 1897844 w 4501379"/>
                    <a:gd name="connsiteY82" fmla="*/ 95250 h 4429294"/>
                    <a:gd name="connsiteX83" fmla="*/ 2012144 w 4501379"/>
                    <a:gd name="connsiteY83" fmla="*/ 66675 h 4429294"/>
                    <a:gd name="connsiteX84" fmla="*/ 2078819 w 4501379"/>
                    <a:gd name="connsiteY84" fmla="*/ 47625 h 4429294"/>
                    <a:gd name="connsiteX85" fmla="*/ 2145494 w 4501379"/>
                    <a:gd name="connsiteY8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278969 w 4501379"/>
                    <a:gd name="connsiteY6" fmla="*/ 257175 h 4429294"/>
                    <a:gd name="connsiteX7" fmla="*/ 3307544 w 4501379"/>
                    <a:gd name="connsiteY7" fmla="*/ 266700 h 4429294"/>
                    <a:gd name="connsiteX8" fmla="*/ 3336119 w 4501379"/>
                    <a:gd name="connsiteY8" fmla="*/ 285750 h 4429294"/>
                    <a:gd name="connsiteX9" fmla="*/ 3402794 w 4501379"/>
                    <a:gd name="connsiteY9" fmla="*/ 323850 h 4429294"/>
                    <a:gd name="connsiteX10" fmla="*/ 3450419 w 4501379"/>
                    <a:gd name="connsiteY10" fmla="*/ 361950 h 4429294"/>
                    <a:gd name="connsiteX11" fmla="*/ 3498044 w 4501379"/>
                    <a:gd name="connsiteY11" fmla="*/ 390525 h 4429294"/>
                    <a:gd name="connsiteX12" fmla="*/ 3612344 w 4501379"/>
                    <a:gd name="connsiteY12" fmla="*/ 485775 h 4429294"/>
                    <a:gd name="connsiteX13" fmla="*/ 3726644 w 4501379"/>
                    <a:gd name="connsiteY13" fmla="*/ 542925 h 4429294"/>
                    <a:gd name="connsiteX14" fmla="*/ 3793319 w 4501379"/>
                    <a:gd name="connsiteY14" fmla="*/ 581025 h 4429294"/>
                    <a:gd name="connsiteX15" fmla="*/ 4009219 w 4501379"/>
                    <a:gd name="connsiteY15" fmla="*/ 819150 h 4429294"/>
                    <a:gd name="connsiteX16" fmla="*/ 4145744 w 4501379"/>
                    <a:gd name="connsiteY16" fmla="*/ 990600 h 4429294"/>
                    <a:gd name="connsiteX17" fmla="*/ 4231469 w 4501379"/>
                    <a:gd name="connsiteY17" fmla="*/ 1143000 h 4429294"/>
                    <a:gd name="connsiteX18" fmla="*/ 4288619 w 4501379"/>
                    <a:gd name="connsiteY18" fmla="*/ 1266825 h 4429294"/>
                    <a:gd name="connsiteX19" fmla="*/ 4326719 w 4501379"/>
                    <a:gd name="connsiteY19" fmla="*/ 1362075 h 4429294"/>
                    <a:gd name="connsiteX20" fmla="*/ 4374344 w 4501379"/>
                    <a:gd name="connsiteY20" fmla="*/ 1552575 h 4429294"/>
                    <a:gd name="connsiteX21" fmla="*/ 4412444 w 4501379"/>
                    <a:gd name="connsiteY21" fmla="*/ 1685925 h 4429294"/>
                    <a:gd name="connsiteX22" fmla="*/ 4501344 w 4501379"/>
                    <a:gd name="connsiteY22" fmla="*/ 2181225 h 4429294"/>
                    <a:gd name="connsiteX23" fmla="*/ 4428319 w 4501379"/>
                    <a:gd name="connsiteY23" fmla="*/ 2768600 h 4429294"/>
                    <a:gd name="connsiteX24" fmla="*/ 4364819 w 4501379"/>
                    <a:gd name="connsiteY24" fmla="*/ 2990850 h 4429294"/>
                    <a:gd name="connsiteX25" fmla="*/ 4260044 w 4501379"/>
                    <a:gd name="connsiteY25" fmla="*/ 3248025 h 4429294"/>
                    <a:gd name="connsiteX26" fmla="*/ 4164794 w 4501379"/>
                    <a:gd name="connsiteY26" fmla="*/ 3400425 h 4429294"/>
                    <a:gd name="connsiteX27" fmla="*/ 4040969 w 4501379"/>
                    <a:gd name="connsiteY27" fmla="*/ 3533775 h 4429294"/>
                    <a:gd name="connsiteX28" fmla="*/ 3936194 w 4501379"/>
                    <a:gd name="connsiteY28" fmla="*/ 3648075 h 4429294"/>
                    <a:gd name="connsiteX29" fmla="*/ 3640919 w 4501379"/>
                    <a:gd name="connsiteY29" fmla="*/ 3971925 h 4429294"/>
                    <a:gd name="connsiteX30" fmla="*/ 3498044 w 4501379"/>
                    <a:gd name="connsiteY30" fmla="*/ 4083050 h 4429294"/>
                    <a:gd name="connsiteX31" fmla="*/ 3202769 w 4501379"/>
                    <a:gd name="connsiteY31" fmla="*/ 4222750 h 4429294"/>
                    <a:gd name="connsiteX32" fmla="*/ 3050369 w 4501379"/>
                    <a:gd name="connsiteY32" fmla="*/ 4286250 h 4429294"/>
                    <a:gd name="connsiteX33" fmla="*/ 2917019 w 4501379"/>
                    <a:gd name="connsiteY33" fmla="*/ 4333875 h 4429294"/>
                    <a:gd name="connsiteX34" fmla="*/ 2793194 w 4501379"/>
                    <a:gd name="connsiteY34" fmla="*/ 4371975 h 4429294"/>
                    <a:gd name="connsiteX35" fmla="*/ 2561419 w 4501379"/>
                    <a:gd name="connsiteY35" fmla="*/ 4391025 h 4429294"/>
                    <a:gd name="connsiteX36" fmla="*/ 2107394 w 4501379"/>
                    <a:gd name="connsiteY36" fmla="*/ 4429125 h 4429294"/>
                    <a:gd name="connsiteX37" fmla="*/ 1916894 w 4501379"/>
                    <a:gd name="connsiteY37" fmla="*/ 4400550 h 4429294"/>
                    <a:gd name="connsiteX38" fmla="*/ 1554944 w 4501379"/>
                    <a:gd name="connsiteY38" fmla="*/ 4305300 h 4429294"/>
                    <a:gd name="connsiteX39" fmla="*/ 1313644 w 4501379"/>
                    <a:gd name="connsiteY39" fmla="*/ 4216400 h 4429294"/>
                    <a:gd name="connsiteX40" fmla="*/ 1145369 w 4501379"/>
                    <a:gd name="connsiteY40" fmla="*/ 4111625 h 4429294"/>
                    <a:gd name="connsiteX41" fmla="*/ 926294 w 4501379"/>
                    <a:gd name="connsiteY41" fmla="*/ 3968750 h 4429294"/>
                    <a:gd name="connsiteX42" fmla="*/ 592919 w 4501379"/>
                    <a:gd name="connsiteY42" fmla="*/ 3657600 h 4429294"/>
                    <a:gd name="connsiteX43" fmla="*/ 446869 w 4501379"/>
                    <a:gd name="connsiteY43" fmla="*/ 3470275 h 4429294"/>
                    <a:gd name="connsiteX44" fmla="*/ 316694 w 4501379"/>
                    <a:gd name="connsiteY44" fmla="*/ 3244850 h 4429294"/>
                    <a:gd name="connsiteX45" fmla="*/ 164294 w 4501379"/>
                    <a:gd name="connsiteY45" fmla="*/ 2892425 h 4429294"/>
                    <a:gd name="connsiteX46" fmla="*/ 56344 w 4501379"/>
                    <a:gd name="connsiteY46" fmla="*/ 2368550 h 4429294"/>
                    <a:gd name="connsiteX47" fmla="*/ 2369 w 4501379"/>
                    <a:gd name="connsiteY47" fmla="*/ 1905000 h 4429294"/>
                    <a:gd name="connsiteX48" fmla="*/ 11894 w 4501379"/>
                    <a:gd name="connsiteY48" fmla="*/ 1838325 h 4429294"/>
                    <a:gd name="connsiteX49" fmla="*/ 30944 w 4501379"/>
                    <a:gd name="connsiteY49" fmla="*/ 1781175 h 4429294"/>
                    <a:gd name="connsiteX50" fmla="*/ 40469 w 4501379"/>
                    <a:gd name="connsiteY50" fmla="*/ 1743075 h 4429294"/>
                    <a:gd name="connsiteX51" fmla="*/ 59519 w 4501379"/>
                    <a:gd name="connsiteY51" fmla="*/ 1685925 h 4429294"/>
                    <a:gd name="connsiteX52" fmla="*/ 69044 w 4501379"/>
                    <a:gd name="connsiteY52" fmla="*/ 1638300 h 4429294"/>
                    <a:gd name="connsiteX53" fmla="*/ 88094 w 4501379"/>
                    <a:gd name="connsiteY53" fmla="*/ 1590675 h 4429294"/>
                    <a:gd name="connsiteX54" fmla="*/ 116669 w 4501379"/>
                    <a:gd name="connsiteY54" fmla="*/ 1504950 h 4429294"/>
                    <a:gd name="connsiteX55" fmla="*/ 135719 w 4501379"/>
                    <a:gd name="connsiteY55" fmla="*/ 1419225 h 4429294"/>
                    <a:gd name="connsiteX56" fmla="*/ 211919 w 4501379"/>
                    <a:gd name="connsiteY56" fmla="*/ 1276350 h 4429294"/>
                    <a:gd name="connsiteX57" fmla="*/ 221444 w 4501379"/>
                    <a:gd name="connsiteY57" fmla="*/ 1247775 h 4429294"/>
                    <a:gd name="connsiteX58" fmla="*/ 250019 w 4501379"/>
                    <a:gd name="connsiteY58" fmla="*/ 1200150 h 4429294"/>
                    <a:gd name="connsiteX59" fmla="*/ 269069 w 4501379"/>
                    <a:gd name="connsiteY59" fmla="*/ 1152525 h 4429294"/>
                    <a:gd name="connsiteX60" fmla="*/ 297644 w 4501379"/>
                    <a:gd name="connsiteY60" fmla="*/ 1114425 h 4429294"/>
                    <a:gd name="connsiteX61" fmla="*/ 345269 w 4501379"/>
                    <a:gd name="connsiteY61" fmla="*/ 1038225 h 4429294"/>
                    <a:gd name="connsiteX62" fmla="*/ 364319 w 4501379"/>
                    <a:gd name="connsiteY62" fmla="*/ 1009650 h 4429294"/>
                    <a:gd name="connsiteX63" fmla="*/ 421469 w 4501379"/>
                    <a:gd name="connsiteY63" fmla="*/ 904875 h 4429294"/>
                    <a:gd name="connsiteX64" fmla="*/ 459569 w 4501379"/>
                    <a:gd name="connsiteY64" fmla="*/ 857250 h 4429294"/>
                    <a:gd name="connsiteX65" fmla="*/ 478619 w 4501379"/>
                    <a:gd name="connsiteY65" fmla="*/ 828675 h 4429294"/>
                    <a:gd name="connsiteX66" fmla="*/ 516719 w 4501379"/>
                    <a:gd name="connsiteY66" fmla="*/ 800100 h 4429294"/>
                    <a:gd name="connsiteX67" fmla="*/ 583394 w 4501379"/>
                    <a:gd name="connsiteY67" fmla="*/ 733425 h 4429294"/>
                    <a:gd name="connsiteX68" fmla="*/ 650069 w 4501379"/>
                    <a:gd name="connsiteY68" fmla="*/ 676275 h 4429294"/>
                    <a:gd name="connsiteX69" fmla="*/ 678644 w 4501379"/>
                    <a:gd name="connsiteY69" fmla="*/ 657225 h 4429294"/>
                    <a:gd name="connsiteX70" fmla="*/ 821519 w 4501379"/>
                    <a:gd name="connsiteY70" fmla="*/ 533400 h 4429294"/>
                    <a:gd name="connsiteX71" fmla="*/ 869144 w 4501379"/>
                    <a:gd name="connsiteY71" fmla="*/ 504825 h 4429294"/>
                    <a:gd name="connsiteX72" fmla="*/ 1148544 w 4501379"/>
                    <a:gd name="connsiteY72" fmla="*/ 311150 h 4429294"/>
                    <a:gd name="connsiteX73" fmla="*/ 1250144 w 4501379"/>
                    <a:gd name="connsiteY73" fmla="*/ 285750 h 4429294"/>
                    <a:gd name="connsiteX74" fmla="*/ 1393019 w 4501379"/>
                    <a:gd name="connsiteY74" fmla="*/ 190500 h 4429294"/>
                    <a:gd name="connsiteX75" fmla="*/ 1431119 w 4501379"/>
                    <a:gd name="connsiteY75" fmla="*/ 161925 h 4429294"/>
                    <a:gd name="connsiteX76" fmla="*/ 1507319 w 4501379"/>
                    <a:gd name="connsiteY76" fmla="*/ 152400 h 4429294"/>
                    <a:gd name="connsiteX77" fmla="*/ 1564469 w 4501379"/>
                    <a:gd name="connsiteY77" fmla="*/ 142875 h 4429294"/>
                    <a:gd name="connsiteX78" fmla="*/ 1697819 w 4501379"/>
                    <a:gd name="connsiteY78" fmla="*/ 123825 h 4429294"/>
                    <a:gd name="connsiteX79" fmla="*/ 1793069 w 4501379"/>
                    <a:gd name="connsiteY79" fmla="*/ 114300 h 4429294"/>
                    <a:gd name="connsiteX80" fmla="*/ 1840694 w 4501379"/>
                    <a:gd name="connsiteY80" fmla="*/ 104775 h 4429294"/>
                    <a:gd name="connsiteX81" fmla="*/ 1897844 w 4501379"/>
                    <a:gd name="connsiteY81" fmla="*/ 95250 h 4429294"/>
                    <a:gd name="connsiteX82" fmla="*/ 2012144 w 4501379"/>
                    <a:gd name="connsiteY82" fmla="*/ 66675 h 4429294"/>
                    <a:gd name="connsiteX83" fmla="*/ 2078819 w 4501379"/>
                    <a:gd name="connsiteY83" fmla="*/ 47625 h 4429294"/>
                    <a:gd name="connsiteX84" fmla="*/ 2145494 w 4501379"/>
                    <a:gd name="connsiteY8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336119 w 4501379"/>
                    <a:gd name="connsiteY7" fmla="*/ 285750 h 4429294"/>
                    <a:gd name="connsiteX8" fmla="*/ 3402794 w 4501379"/>
                    <a:gd name="connsiteY8" fmla="*/ 323850 h 4429294"/>
                    <a:gd name="connsiteX9" fmla="*/ 3450419 w 4501379"/>
                    <a:gd name="connsiteY9" fmla="*/ 361950 h 4429294"/>
                    <a:gd name="connsiteX10" fmla="*/ 3498044 w 4501379"/>
                    <a:gd name="connsiteY10" fmla="*/ 390525 h 4429294"/>
                    <a:gd name="connsiteX11" fmla="*/ 3612344 w 4501379"/>
                    <a:gd name="connsiteY11" fmla="*/ 485775 h 4429294"/>
                    <a:gd name="connsiteX12" fmla="*/ 3726644 w 4501379"/>
                    <a:gd name="connsiteY12" fmla="*/ 542925 h 4429294"/>
                    <a:gd name="connsiteX13" fmla="*/ 3793319 w 4501379"/>
                    <a:gd name="connsiteY13" fmla="*/ 581025 h 4429294"/>
                    <a:gd name="connsiteX14" fmla="*/ 4009219 w 4501379"/>
                    <a:gd name="connsiteY14" fmla="*/ 819150 h 4429294"/>
                    <a:gd name="connsiteX15" fmla="*/ 4145744 w 4501379"/>
                    <a:gd name="connsiteY15" fmla="*/ 990600 h 4429294"/>
                    <a:gd name="connsiteX16" fmla="*/ 4231469 w 4501379"/>
                    <a:gd name="connsiteY16" fmla="*/ 1143000 h 4429294"/>
                    <a:gd name="connsiteX17" fmla="*/ 4288619 w 4501379"/>
                    <a:gd name="connsiteY17" fmla="*/ 1266825 h 4429294"/>
                    <a:gd name="connsiteX18" fmla="*/ 4326719 w 4501379"/>
                    <a:gd name="connsiteY18" fmla="*/ 1362075 h 4429294"/>
                    <a:gd name="connsiteX19" fmla="*/ 4374344 w 4501379"/>
                    <a:gd name="connsiteY19" fmla="*/ 1552575 h 4429294"/>
                    <a:gd name="connsiteX20" fmla="*/ 4412444 w 4501379"/>
                    <a:gd name="connsiteY20" fmla="*/ 1685925 h 4429294"/>
                    <a:gd name="connsiteX21" fmla="*/ 4501344 w 4501379"/>
                    <a:gd name="connsiteY21" fmla="*/ 2181225 h 4429294"/>
                    <a:gd name="connsiteX22" fmla="*/ 4428319 w 4501379"/>
                    <a:gd name="connsiteY22" fmla="*/ 2768600 h 4429294"/>
                    <a:gd name="connsiteX23" fmla="*/ 4364819 w 4501379"/>
                    <a:gd name="connsiteY23" fmla="*/ 2990850 h 4429294"/>
                    <a:gd name="connsiteX24" fmla="*/ 4260044 w 4501379"/>
                    <a:gd name="connsiteY24" fmla="*/ 3248025 h 4429294"/>
                    <a:gd name="connsiteX25" fmla="*/ 4164794 w 4501379"/>
                    <a:gd name="connsiteY25" fmla="*/ 3400425 h 4429294"/>
                    <a:gd name="connsiteX26" fmla="*/ 4040969 w 4501379"/>
                    <a:gd name="connsiteY26" fmla="*/ 3533775 h 4429294"/>
                    <a:gd name="connsiteX27" fmla="*/ 3936194 w 4501379"/>
                    <a:gd name="connsiteY27" fmla="*/ 3648075 h 4429294"/>
                    <a:gd name="connsiteX28" fmla="*/ 3640919 w 4501379"/>
                    <a:gd name="connsiteY28" fmla="*/ 3971925 h 4429294"/>
                    <a:gd name="connsiteX29" fmla="*/ 3498044 w 4501379"/>
                    <a:gd name="connsiteY29" fmla="*/ 4083050 h 4429294"/>
                    <a:gd name="connsiteX30" fmla="*/ 3202769 w 4501379"/>
                    <a:gd name="connsiteY30" fmla="*/ 4222750 h 4429294"/>
                    <a:gd name="connsiteX31" fmla="*/ 3050369 w 4501379"/>
                    <a:gd name="connsiteY31" fmla="*/ 4286250 h 4429294"/>
                    <a:gd name="connsiteX32" fmla="*/ 2917019 w 4501379"/>
                    <a:gd name="connsiteY32" fmla="*/ 4333875 h 4429294"/>
                    <a:gd name="connsiteX33" fmla="*/ 2793194 w 4501379"/>
                    <a:gd name="connsiteY33" fmla="*/ 4371975 h 4429294"/>
                    <a:gd name="connsiteX34" fmla="*/ 2561419 w 4501379"/>
                    <a:gd name="connsiteY34" fmla="*/ 4391025 h 4429294"/>
                    <a:gd name="connsiteX35" fmla="*/ 2107394 w 4501379"/>
                    <a:gd name="connsiteY35" fmla="*/ 4429125 h 4429294"/>
                    <a:gd name="connsiteX36" fmla="*/ 1916894 w 4501379"/>
                    <a:gd name="connsiteY36" fmla="*/ 4400550 h 4429294"/>
                    <a:gd name="connsiteX37" fmla="*/ 1554944 w 4501379"/>
                    <a:gd name="connsiteY37" fmla="*/ 4305300 h 4429294"/>
                    <a:gd name="connsiteX38" fmla="*/ 1313644 w 4501379"/>
                    <a:gd name="connsiteY38" fmla="*/ 4216400 h 4429294"/>
                    <a:gd name="connsiteX39" fmla="*/ 1145369 w 4501379"/>
                    <a:gd name="connsiteY39" fmla="*/ 4111625 h 4429294"/>
                    <a:gd name="connsiteX40" fmla="*/ 926294 w 4501379"/>
                    <a:gd name="connsiteY40" fmla="*/ 3968750 h 4429294"/>
                    <a:gd name="connsiteX41" fmla="*/ 592919 w 4501379"/>
                    <a:gd name="connsiteY41" fmla="*/ 3657600 h 4429294"/>
                    <a:gd name="connsiteX42" fmla="*/ 446869 w 4501379"/>
                    <a:gd name="connsiteY42" fmla="*/ 3470275 h 4429294"/>
                    <a:gd name="connsiteX43" fmla="*/ 316694 w 4501379"/>
                    <a:gd name="connsiteY43" fmla="*/ 3244850 h 4429294"/>
                    <a:gd name="connsiteX44" fmla="*/ 164294 w 4501379"/>
                    <a:gd name="connsiteY44" fmla="*/ 2892425 h 4429294"/>
                    <a:gd name="connsiteX45" fmla="*/ 56344 w 4501379"/>
                    <a:gd name="connsiteY45" fmla="*/ 2368550 h 4429294"/>
                    <a:gd name="connsiteX46" fmla="*/ 2369 w 4501379"/>
                    <a:gd name="connsiteY46" fmla="*/ 1905000 h 4429294"/>
                    <a:gd name="connsiteX47" fmla="*/ 11894 w 4501379"/>
                    <a:gd name="connsiteY47" fmla="*/ 1838325 h 4429294"/>
                    <a:gd name="connsiteX48" fmla="*/ 30944 w 4501379"/>
                    <a:gd name="connsiteY48" fmla="*/ 1781175 h 4429294"/>
                    <a:gd name="connsiteX49" fmla="*/ 40469 w 4501379"/>
                    <a:gd name="connsiteY49" fmla="*/ 1743075 h 4429294"/>
                    <a:gd name="connsiteX50" fmla="*/ 59519 w 4501379"/>
                    <a:gd name="connsiteY50" fmla="*/ 1685925 h 4429294"/>
                    <a:gd name="connsiteX51" fmla="*/ 69044 w 4501379"/>
                    <a:gd name="connsiteY51" fmla="*/ 1638300 h 4429294"/>
                    <a:gd name="connsiteX52" fmla="*/ 88094 w 4501379"/>
                    <a:gd name="connsiteY52" fmla="*/ 1590675 h 4429294"/>
                    <a:gd name="connsiteX53" fmla="*/ 116669 w 4501379"/>
                    <a:gd name="connsiteY53" fmla="*/ 1504950 h 4429294"/>
                    <a:gd name="connsiteX54" fmla="*/ 135719 w 4501379"/>
                    <a:gd name="connsiteY54" fmla="*/ 1419225 h 4429294"/>
                    <a:gd name="connsiteX55" fmla="*/ 211919 w 4501379"/>
                    <a:gd name="connsiteY55" fmla="*/ 1276350 h 4429294"/>
                    <a:gd name="connsiteX56" fmla="*/ 221444 w 4501379"/>
                    <a:gd name="connsiteY56" fmla="*/ 1247775 h 4429294"/>
                    <a:gd name="connsiteX57" fmla="*/ 250019 w 4501379"/>
                    <a:gd name="connsiteY57" fmla="*/ 1200150 h 4429294"/>
                    <a:gd name="connsiteX58" fmla="*/ 269069 w 4501379"/>
                    <a:gd name="connsiteY58" fmla="*/ 1152525 h 4429294"/>
                    <a:gd name="connsiteX59" fmla="*/ 297644 w 4501379"/>
                    <a:gd name="connsiteY59" fmla="*/ 1114425 h 4429294"/>
                    <a:gd name="connsiteX60" fmla="*/ 345269 w 4501379"/>
                    <a:gd name="connsiteY60" fmla="*/ 1038225 h 4429294"/>
                    <a:gd name="connsiteX61" fmla="*/ 364319 w 4501379"/>
                    <a:gd name="connsiteY61" fmla="*/ 1009650 h 4429294"/>
                    <a:gd name="connsiteX62" fmla="*/ 421469 w 4501379"/>
                    <a:gd name="connsiteY62" fmla="*/ 904875 h 4429294"/>
                    <a:gd name="connsiteX63" fmla="*/ 459569 w 4501379"/>
                    <a:gd name="connsiteY63" fmla="*/ 857250 h 4429294"/>
                    <a:gd name="connsiteX64" fmla="*/ 478619 w 4501379"/>
                    <a:gd name="connsiteY64" fmla="*/ 828675 h 4429294"/>
                    <a:gd name="connsiteX65" fmla="*/ 516719 w 4501379"/>
                    <a:gd name="connsiteY65" fmla="*/ 800100 h 4429294"/>
                    <a:gd name="connsiteX66" fmla="*/ 583394 w 4501379"/>
                    <a:gd name="connsiteY66" fmla="*/ 733425 h 4429294"/>
                    <a:gd name="connsiteX67" fmla="*/ 650069 w 4501379"/>
                    <a:gd name="connsiteY67" fmla="*/ 676275 h 4429294"/>
                    <a:gd name="connsiteX68" fmla="*/ 678644 w 4501379"/>
                    <a:gd name="connsiteY68" fmla="*/ 657225 h 4429294"/>
                    <a:gd name="connsiteX69" fmla="*/ 821519 w 4501379"/>
                    <a:gd name="connsiteY69" fmla="*/ 533400 h 4429294"/>
                    <a:gd name="connsiteX70" fmla="*/ 869144 w 4501379"/>
                    <a:gd name="connsiteY70" fmla="*/ 504825 h 4429294"/>
                    <a:gd name="connsiteX71" fmla="*/ 1148544 w 4501379"/>
                    <a:gd name="connsiteY71" fmla="*/ 311150 h 4429294"/>
                    <a:gd name="connsiteX72" fmla="*/ 1250144 w 4501379"/>
                    <a:gd name="connsiteY72" fmla="*/ 285750 h 4429294"/>
                    <a:gd name="connsiteX73" fmla="*/ 1393019 w 4501379"/>
                    <a:gd name="connsiteY73" fmla="*/ 190500 h 4429294"/>
                    <a:gd name="connsiteX74" fmla="*/ 1431119 w 4501379"/>
                    <a:gd name="connsiteY74" fmla="*/ 161925 h 4429294"/>
                    <a:gd name="connsiteX75" fmla="*/ 1507319 w 4501379"/>
                    <a:gd name="connsiteY75" fmla="*/ 152400 h 4429294"/>
                    <a:gd name="connsiteX76" fmla="*/ 1564469 w 4501379"/>
                    <a:gd name="connsiteY76" fmla="*/ 142875 h 4429294"/>
                    <a:gd name="connsiteX77" fmla="*/ 1697819 w 4501379"/>
                    <a:gd name="connsiteY77" fmla="*/ 123825 h 4429294"/>
                    <a:gd name="connsiteX78" fmla="*/ 1793069 w 4501379"/>
                    <a:gd name="connsiteY78" fmla="*/ 114300 h 4429294"/>
                    <a:gd name="connsiteX79" fmla="*/ 1840694 w 4501379"/>
                    <a:gd name="connsiteY79" fmla="*/ 104775 h 4429294"/>
                    <a:gd name="connsiteX80" fmla="*/ 1897844 w 4501379"/>
                    <a:gd name="connsiteY80" fmla="*/ 95250 h 4429294"/>
                    <a:gd name="connsiteX81" fmla="*/ 2012144 w 4501379"/>
                    <a:gd name="connsiteY81" fmla="*/ 66675 h 4429294"/>
                    <a:gd name="connsiteX82" fmla="*/ 2078819 w 4501379"/>
                    <a:gd name="connsiteY82" fmla="*/ 47625 h 4429294"/>
                    <a:gd name="connsiteX83" fmla="*/ 2145494 w 4501379"/>
                    <a:gd name="connsiteY8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402794 w 4501379"/>
                    <a:gd name="connsiteY7" fmla="*/ 323850 h 4429294"/>
                    <a:gd name="connsiteX8" fmla="*/ 3450419 w 4501379"/>
                    <a:gd name="connsiteY8" fmla="*/ 361950 h 4429294"/>
                    <a:gd name="connsiteX9" fmla="*/ 3498044 w 4501379"/>
                    <a:gd name="connsiteY9" fmla="*/ 390525 h 4429294"/>
                    <a:gd name="connsiteX10" fmla="*/ 3612344 w 4501379"/>
                    <a:gd name="connsiteY10" fmla="*/ 485775 h 4429294"/>
                    <a:gd name="connsiteX11" fmla="*/ 3726644 w 4501379"/>
                    <a:gd name="connsiteY11" fmla="*/ 542925 h 4429294"/>
                    <a:gd name="connsiteX12" fmla="*/ 3793319 w 4501379"/>
                    <a:gd name="connsiteY12" fmla="*/ 581025 h 4429294"/>
                    <a:gd name="connsiteX13" fmla="*/ 4009219 w 4501379"/>
                    <a:gd name="connsiteY13" fmla="*/ 819150 h 4429294"/>
                    <a:gd name="connsiteX14" fmla="*/ 4145744 w 4501379"/>
                    <a:gd name="connsiteY14" fmla="*/ 990600 h 4429294"/>
                    <a:gd name="connsiteX15" fmla="*/ 4231469 w 4501379"/>
                    <a:gd name="connsiteY15" fmla="*/ 1143000 h 4429294"/>
                    <a:gd name="connsiteX16" fmla="*/ 4288619 w 4501379"/>
                    <a:gd name="connsiteY16" fmla="*/ 1266825 h 4429294"/>
                    <a:gd name="connsiteX17" fmla="*/ 4326719 w 4501379"/>
                    <a:gd name="connsiteY17" fmla="*/ 1362075 h 4429294"/>
                    <a:gd name="connsiteX18" fmla="*/ 4374344 w 4501379"/>
                    <a:gd name="connsiteY18" fmla="*/ 1552575 h 4429294"/>
                    <a:gd name="connsiteX19" fmla="*/ 4412444 w 4501379"/>
                    <a:gd name="connsiteY19" fmla="*/ 1685925 h 4429294"/>
                    <a:gd name="connsiteX20" fmla="*/ 4501344 w 4501379"/>
                    <a:gd name="connsiteY20" fmla="*/ 2181225 h 4429294"/>
                    <a:gd name="connsiteX21" fmla="*/ 4428319 w 4501379"/>
                    <a:gd name="connsiteY21" fmla="*/ 2768600 h 4429294"/>
                    <a:gd name="connsiteX22" fmla="*/ 4364819 w 4501379"/>
                    <a:gd name="connsiteY22" fmla="*/ 2990850 h 4429294"/>
                    <a:gd name="connsiteX23" fmla="*/ 4260044 w 4501379"/>
                    <a:gd name="connsiteY23" fmla="*/ 3248025 h 4429294"/>
                    <a:gd name="connsiteX24" fmla="*/ 4164794 w 4501379"/>
                    <a:gd name="connsiteY24" fmla="*/ 3400425 h 4429294"/>
                    <a:gd name="connsiteX25" fmla="*/ 4040969 w 4501379"/>
                    <a:gd name="connsiteY25" fmla="*/ 3533775 h 4429294"/>
                    <a:gd name="connsiteX26" fmla="*/ 3936194 w 4501379"/>
                    <a:gd name="connsiteY26" fmla="*/ 3648075 h 4429294"/>
                    <a:gd name="connsiteX27" fmla="*/ 3640919 w 4501379"/>
                    <a:gd name="connsiteY27" fmla="*/ 3971925 h 4429294"/>
                    <a:gd name="connsiteX28" fmla="*/ 3498044 w 4501379"/>
                    <a:gd name="connsiteY28" fmla="*/ 4083050 h 4429294"/>
                    <a:gd name="connsiteX29" fmla="*/ 3202769 w 4501379"/>
                    <a:gd name="connsiteY29" fmla="*/ 4222750 h 4429294"/>
                    <a:gd name="connsiteX30" fmla="*/ 3050369 w 4501379"/>
                    <a:gd name="connsiteY30" fmla="*/ 4286250 h 4429294"/>
                    <a:gd name="connsiteX31" fmla="*/ 2917019 w 4501379"/>
                    <a:gd name="connsiteY31" fmla="*/ 4333875 h 4429294"/>
                    <a:gd name="connsiteX32" fmla="*/ 2793194 w 4501379"/>
                    <a:gd name="connsiteY32" fmla="*/ 4371975 h 4429294"/>
                    <a:gd name="connsiteX33" fmla="*/ 2561419 w 4501379"/>
                    <a:gd name="connsiteY33" fmla="*/ 4391025 h 4429294"/>
                    <a:gd name="connsiteX34" fmla="*/ 2107394 w 4501379"/>
                    <a:gd name="connsiteY34" fmla="*/ 4429125 h 4429294"/>
                    <a:gd name="connsiteX35" fmla="*/ 1916894 w 4501379"/>
                    <a:gd name="connsiteY35" fmla="*/ 4400550 h 4429294"/>
                    <a:gd name="connsiteX36" fmla="*/ 1554944 w 4501379"/>
                    <a:gd name="connsiteY36" fmla="*/ 4305300 h 4429294"/>
                    <a:gd name="connsiteX37" fmla="*/ 1313644 w 4501379"/>
                    <a:gd name="connsiteY37" fmla="*/ 4216400 h 4429294"/>
                    <a:gd name="connsiteX38" fmla="*/ 1145369 w 4501379"/>
                    <a:gd name="connsiteY38" fmla="*/ 4111625 h 4429294"/>
                    <a:gd name="connsiteX39" fmla="*/ 926294 w 4501379"/>
                    <a:gd name="connsiteY39" fmla="*/ 3968750 h 4429294"/>
                    <a:gd name="connsiteX40" fmla="*/ 592919 w 4501379"/>
                    <a:gd name="connsiteY40" fmla="*/ 3657600 h 4429294"/>
                    <a:gd name="connsiteX41" fmla="*/ 446869 w 4501379"/>
                    <a:gd name="connsiteY41" fmla="*/ 3470275 h 4429294"/>
                    <a:gd name="connsiteX42" fmla="*/ 316694 w 4501379"/>
                    <a:gd name="connsiteY42" fmla="*/ 3244850 h 4429294"/>
                    <a:gd name="connsiteX43" fmla="*/ 164294 w 4501379"/>
                    <a:gd name="connsiteY43" fmla="*/ 2892425 h 4429294"/>
                    <a:gd name="connsiteX44" fmla="*/ 56344 w 4501379"/>
                    <a:gd name="connsiteY44" fmla="*/ 2368550 h 4429294"/>
                    <a:gd name="connsiteX45" fmla="*/ 2369 w 4501379"/>
                    <a:gd name="connsiteY45" fmla="*/ 1905000 h 4429294"/>
                    <a:gd name="connsiteX46" fmla="*/ 11894 w 4501379"/>
                    <a:gd name="connsiteY46" fmla="*/ 1838325 h 4429294"/>
                    <a:gd name="connsiteX47" fmla="*/ 30944 w 4501379"/>
                    <a:gd name="connsiteY47" fmla="*/ 1781175 h 4429294"/>
                    <a:gd name="connsiteX48" fmla="*/ 40469 w 4501379"/>
                    <a:gd name="connsiteY48" fmla="*/ 1743075 h 4429294"/>
                    <a:gd name="connsiteX49" fmla="*/ 59519 w 4501379"/>
                    <a:gd name="connsiteY49" fmla="*/ 1685925 h 4429294"/>
                    <a:gd name="connsiteX50" fmla="*/ 69044 w 4501379"/>
                    <a:gd name="connsiteY50" fmla="*/ 1638300 h 4429294"/>
                    <a:gd name="connsiteX51" fmla="*/ 88094 w 4501379"/>
                    <a:gd name="connsiteY51" fmla="*/ 1590675 h 4429294"/>
                    <a:gd name="connsiteX52" fmla="*/ 116669 w 4501379"/>
                    <a:gd name="connsiteY52" fmla="*/ 1504950 h 4429294"/>
                    <a:gd name="connsiteX53" fmla="*/ 135719 w 4501379"/>
                    <a:gd name="connsiteY53" fmla="*/ 1419225 h 4429294"/>
                    <a:gd name="connsiteX54" fmla="*/ 211919 w 4501379"/>
                    <a:gd name="connsiteY54" fmla="*/ 1276350 h 4429294"/>
                    <a:gd name="connsiteX55" fmla="*/ 221444 w 4501379"/>
                    <a:gd name="connsiteY55" fmla="*/ 1247775 h 4429294"/>
                    <a:gd name="connsiteX56" fmla="*/ 250019 w 4501379"/>
                    <a:gd name="connsiteY56" fmla="*/ 1200150 h 4429294"/>
                    <a:gd name="connsiteX57" fmla="*/ 269069 w 4501379"/>
                    <a:gd name="connsiteY57" fmla="*/ 1152525 h 4429294"/>
                    <a:gd name="connsiteX58" fmla="*/ 297644 w 4501379"/>
                    <a:gd name="connsiteY58" fmla="*/ 1114425 h 4429294"/>
                    <a:gd name="connsiteX59" fmla="*/ 345269 w 4501379"/>
                    <a:gd name="connsiteY59" fmla="*/ 1038225 h 4429294"/>
                    <a:gd name="connsiteX60" fmla="*/ 364319 w 4501379"/>
                    <a:gd name="connsiteY60" fmla="*/ 1009650 h 4429294"/>
                    <a:gd name="connsiteX61" fmla="*/ 421469 w 4501379"/>
                    <a:gd name="connsiteY61" fmla="*/ 904875 h 4429294"/>
                    <a:gd name="connsiteX62" fmla="*/ 459569 w 4501379"/>
                    <a:gd name="connsiteY62" fmla="*/ 857250 h 4429294"/>
                    <a:gd name="connsiteX63" fmla="*/ 478619 w 4501379"/>
                    <a:gd name="connsiteY63" fmla="*/ 828675 h 4429294"/>
                    <a:gd name="connsiteX64" fmla="*/ 516719 w 4501379"/>
                    <a:gd name="connsiteY64" fmla="*/ 800100 h 4429294"/>
                    <a:gd name="connsiteX65" fmla="*/ 583394 w 4501379"/>
                    <a:gd name="connsiteY65" fmla="*/ 733425 h 4429294"/>
                    <a:gd name="connsiteX66" fmla="*/ 650069 w 4501379"/>
                    <a:gd name="connsiteY66" fmla="*/ 676275 h 4429294"/>
                    <a:gd name="connsiteX67" fmla="*/ 678644 w 4501379"/>
                    <a:gd name="connsiteY67" fmla="*/ 657225 h 4429294"/>
                    <a:gd name="connsiteX68" fmla="*/ 821519 w 4501379"/>
                    <a:gd name="connsiteY68" fmla="*/ 533400 h 4429294"/>
                    <a:gd name="connsiteX69" fmla="*/ 869144 w 4501379"/>
                    <a:gd name="connsiteY69" fmla="*/ 504825 h 4429294"/>
                    <a:gd name="connsiteX70" fmla="*/ 1148544 w 4501379"/>
                    <a:gd name="connsiteY70" fmla="*/ 311150 h 4429294"/>
                    <a:gd name="connsiteX71" fmla="*/ 1250144 w 4501379"/>
                    <a:gd name="connsiteY71" fmla="*/ 285750 h 4429294"/>
                    <a:gd name="connsiteX72" fmla="*/ 1393019 w 4501379"/>
                    <a:gd name="connsiteY72" fmla="*/ 190500 h 4429294"/>
                    <a:gd name="connsiteX73" fmla="*/ 1431119 w 4501379"/>
                    <a:gd name="connsiteY73" fmla="*/ 161925 h 4429294"/>
                    <a:gd name="connsiteX74" fmla="*/ 1507319 w 4501379"/>
                    <a:gd name="connsiteY74" fmla="*/ 152400 h 4429294"/>
                    <a:gd name="connsiteX75" fmla="*/ 1564469 w 4501379"/>
                    <a:gd name="connsiteY75" fmla="*/ 142875 h 4429294"/>
                    <a:gd name="connsiteX76" fmla="*/ 1697819 w 4501379"/>
                    <a:gd name="connsiteY76" fmla="*/ 123825 h 4429294"/>
                    <a:gd name="connsiteX77" fmla="*/ 1793069 w 4501379"/>
                    <a:gd name="connsiteY77" fmla="*/ 114300 h 4429294"/>
                    <a:gd name="connsiteX78" fmla="*/ 1840694 w 4501379"/>
                    <a:gd name="connsiteY78" fmla="*/ 104775 h 4429294"/>
                    <a:gd name="connsiteX79" fmla="*/ 1897844 w 4501379"/>
                    <a:gd name="connsiteY79" fmla="*/ 95250 h 4429294"/>
                    <a:gd name="connsiteX80" fmla="*/ 2012144 w 4501379"/>
                    <a:gd name="connsiteY80" fmla="*/ 66675 h 4429294"/>
                    <a:gd name="connsiteX81" fmla="*/ 2078819 w 4501379"/>
                    <a:gd name="connsiteY81" fmla="*/ 47625 h 4429294"/>
                    <a:gd name="connsiteX82" fmla="*/ 2145494 w 4501379"/>
                    <a:gd name="connsiteY8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307544 w 4501379"/>
                    <a:gd name="connsiteY5" fmla="*/ 266700 h 4429294"/>
                    <a:gd name="connsiteX6" fmla="*/ 3402794 w 4501379"/>
                    <a:gd name="connsiteY6" fmla="*/ 323850 h 4429294"/>
                    <a:gd name="connsiteX7" fmla="*/ 3450419 w 4501379"/>
                    <a:gd name="connsiteY7" fmla="*/ 361950 h 4429294"/>
                    <a:gd name="connsiteX8" fmla="*/ 3498044 w 4501379"/>
                    <a:gd name="connsiteY8" fmla="*/ 390525 h 4429294"/>
                    <a:gd name="connsiteX9" fmla="*/ 3612344 w 4501379"/>
                    <a:gd name="connsiteY9" fmla="*/ 485775 h 4429294"/>
                    <a:gd name="connsiteX10" fmla="*/ 3726644 w 4501379"/>
                    <a:gd name="connsiteY10" fmla="*/ 542925 h 4429294"/>
                    <a:gd name="connsiteX11" fmla="*/ 3793319 w 4501379"/>
                    <a:gd name="connsiteY11" fmla="*/ 581025 h 4429294"/>
                    <a:gd name="connsiteX12" fmla="*/ 4009219 w 4501379"/>
                    <a:gd name="connsiteY12" fmla="*/ 819150 h 4429294"/>
                    <a:gd name="connsiteX13" fmla="*/ 4145744 w 4501379"/>
                    <a:gd name="connsiteY13" fmla="*/ 990600 h 4429294"/>
                    <a:gd name="connsiteX14" fmla="*/ 4231469 w 4501379"/>
                    <a:gd name="connsiteY14" fmla="*/ 1143000 h 4429294"/>
                    <a:gd name="connsiteX15" fmla="*/ 4288619 w 4501379"/>
                    <a:gd name="connsiteY15" fmla="*/ 1266825 h 4429294"/>
                    <a:gd name="connsiteX16" fmla="*/ 4326719 w 4501379"/>
                    <a:gd name="connsiteY16" fmla="*/ 1362075 h 4429294"/>
                    <a:gd name="connsiteX17" fmla="*/ 4374344 w 4501379"/>
                    <a:gd name="connsiteY17" fmla="*/ 1552575 h 4429294"/>
                    <a:gd name="connsiteX18" fmla="*/ 4412444 w 4501379"/>
                    <a:gd name="connsiteY18" fmla="*/ 1685925 h 4429294"/>
                    <a:gd name="connsiteX19" fmla="*/ 4501344 w 4501379"/>
                    <a:gd name="connsiteY19" fmla="*/ 2181225 h 4429294"/>
                    <a:gd name="connsiteX20" fmla="*/ 4428319 w 4501379"/>
                    <a:gd name="connsiteY20" fmla="*/ 2768600 h 4429294"/>
                    <a:gd name="connsiteX21" fmla="*/ 4364819 w 4501379"/>
                    <a:gd name="connsiteY21" fmla="*/ 2990850 h 4429294"/>
                    <a:gd name="connsiteX22" fmla="*/ 4260044 w 4501379"/>
                    <a:gd name="connsiteY22" fmla="*/ 3248025 h 4429294"/>
                    <a:gd name="connsiteX23" fmla="*/ 4164794 w 4501379"/>
                    <a:gd name="connsiteY23" fmla="*/ 3400425 h 4429294"/>
                    <a:gd name="connsiteX24" fmla="*/ 4040969 w 4501379"/>
                    <a:gd name="connsiteY24" fmla="*/ 3533775 h 4429294"/>
                    <a:gd name="connsiteX25" fmla="*/ 3936194 w 4501379"/>
                    <a:gd name="connsiteY25" fmla="*/ 3648075 h 4429294"/>
                    <a:gd name="connsiteX26" fmla="*/ 3640919 w 4501379"/>
                    <a:gd name="connsiteY26" fmla="*/ 3971925 h 4429294"/>
                    <a:gd name="connsiteX27" fmla="*/ 3498044 w 4501379"/>
                    <a:gd name="connsiteY27" fmla="*/ 4083050 h 4429294"/>
                    <a:gd name="connsiteX28" fmla="*/ 3202769 w 4501379"/>
                    <a:gd name="connsiteY28" fmla="*/ 4222750 h 4429294"/>
                    <a:gd name="connsiteX29" fmla="*/ 3050369 w 4501379"/>
                    <a:gd name="connsiteY29" fmla="*/ 4286250 h 4429294"/>
                    <a:gd name="connsiteX30" fmla="*/ 2917019 w 4501379"/>
                    <a:gd name="connsiteY30" fmla="*/ 4333875 h 4429294"/>
                    <a:gd name="connsiteX31" fmla="*/ 2793194 w 4501379"/>
                    <a:gd name="connsiteY31" fmla="*/ 4371975 h 4429294"/>
                    <a:gd name="connsiteX32" fmla="*/ 2561419 w 4501379"/>
                    <a:gd name="connsiteY32" fmla="*/ 4391025 h 4429294"/>
                    <a:gd name="connsiteX33" fmla="*/ 2107394 w 4501379"/>
                    <a:gd name="connsiteY33" fmla="*/ 4429125 h 4429294"/>
                    <a:gd name="connsiteX34" fmla="*/ 1916894 w 4501379"/>
                    <a:gd name="connsiteY34" fmla="*/ 4400550 h 4429294"/>
                    <a:gd name="connsiteX35" fmla="*/ 1554944 w 4501379"/>
                    <a:gd name="connsiteY35" fmla="*/ 4305300 h 4429294"/>
                    <a:gd name="connsiteX36" fmla="*/ 1313644 w 4501379"/>
                    <a:gd name="connsiteY36" fmla="*/ 4216400 h 4429294"/>
                    <a:gd name="connsiteX37" fmla="*/ 1145369 w 4501379"/>
                    <a:gd name="connsiteY37" fmla="*/ 4111625 h 4429294"/>
                    <a:gd name="connsiteX38" fmla="*/ 926294 w 4501379"/>
                    <a:gd name="connsiteY38" fmla="*/ 3968750 h 4429294"/>
                    <a:gd name="connsiteX39" fmla="*/ 592919 w 4501379"/>
                    <a:gd name="connsiteY39" fmla="*/ 3657600 h 4429294"/>
                    <a:gd name="connsiteX40" fmla="*/ 446869 w 4501379"/>
                    <a:gd name="connsiteY40" fmla="*/ 3470275 h 4429294"/>
                    <a:gd name="connsiteX41" fmla="*/ 316694 w 4501379"/>
                    <a:gd name="connsiteY41" fmla="*/ 3244850 h 4429294"/>
                    <a:gd name="connsiteX42" fmla="*/ 164294 w 4501379"/>
                    <a:gd name="connsiteY42" fmla="*/ 2892425 h 4429294"/>
                    <a:gd name="connsiteX43" fmla="*/ 56344 w 4501379"/>
                    <a:gd name="connsiteY43" fmla="*/ 2368550 h 4429294"/>
                    <a:gd name="connsiteX44" fmla="*/ 2369 w 4501379"/>
                    <a:gd name="connsiteY44" fmla="*/ 1905000 h 4429294"/>
                    <a:gd name="connsiteX45" fmla="*/ 11894 w 4501379"/>
                    <a:gd name="connsiteY45" fmla="*/ 1838325 h 4429294"/>
                    <a:gd name="connsiteX46" fmla="*/ 30944 w 4501379"/>
                    <a:gd name="connsiteY46" fmla="*/ 1781175 h 4429294"/>
                    <a:gd name="connsiteX47" fmla="*/ 40469 w 4501379"/>
                    <a:gd name="connsiteY47" fmla="*/ 1743075 h 4429294"/>
                    <a:gd name="connsiteX48" fmla="*/ 59519 w 4501379"/>
                    <a:gd name="connsiteY48" fmla="*/ 1685925 h 4429294"/>
                    <a:gd name="connsiteX49" fmla="*/ 69044 w 4501379"/>
                    <a:gd name="connsiteY49" fmla="*/ 1638300 h 4429294"/>
                    <a:gd name="connsiteX50" fmla="*/ 88094 w 4501379"/>
                    <a:gd name="connsiteY50" fmla="*/ 1590675 h 4429294"/>
                    <a:gd name="connsiteX51" fmla="*/ 116669 w 4501379"/>
                    <a:gd name="connsiteY51" fmla="*/ 1504950 h 4429294"/>
                    <a:gd name="connsiteX52" fmla="*/ 135719 w 4501379"/>
                    <a:gd name="connsiteY52" fmla="*/ 1419225 h 4429294"/>
                    <a:gd name="connsiteX53" fmla="*/ 211919 w 4501379"/>
                    <a:gd name="connsiteY53" fmla="*/ 1276350 h 4429294"/>
                    <a:gd name="connsiteX54" fmla="*/ 221444 w 4501379"/>
                    <a:gd name="connsiteY54" fmla="*/ 1247775 h 4429294"/>
                    <a:gd name="connsiteX55" fmla="*/ 250019 w 4501379"/>
                    <a:gd name="connsiteY55" fmla="*/ 1200150 h 4429294"/>
                    <a:gd name="connsiteX56" fmla="*/ 269069 w 4501379"/>
                    <a:gd name="connsiteY56" fmla="*/ 1152525 h 4429294"/>
                    <a:gd name="connsiteX57" fmla="*/ 297644 w 4501379"/>
                    <a:gd name="connsiteY57" fmla="*/ 1114425 h 4429294"/>
                    <a:gd name="connsiteX58" fmla="*/ 345269 w 4501379"/>
                    <a:gd name="connsiteY58" fmla="*/ 1038225 h 4429294"/>
                    <a:gd name="connsiteX59" fmla="*/ 364319 w 4501379"/>
                    <a:gd name="connsiteY59" fmla="*/ 1009650 h 4429294"/>
                    <a:gd name="connsiteX60" fmla="*/ 421469 w 4501379"/>
                    <a:gd name="connsiteY60" fmla="*/ 904875 h 4429294"/>
                    <a:gd name="connsiteX61" fmla="*/ 459569 w 4501379"/>
                    <a:gd name="connsiteY61" fmla="*/ 857250 h 4429294"/>
                    <a:gd name="connsiteX62" fmla="*/ 478619 w 4501379"/>
                    <a:gd name="connsiteY62" fmla="*/ 828675 h 4429294"/>
                    <a:gd name="connsiteX63" fmla="*/ 516719 w 4501379"/>
                    <a:gd name="connsiteY63" fmla="*/ 800100 h 4429294"/>
                    <a:gd name="connsiteX64" fmla="*/ 583394 w 4501379"/>
                    <a:gd name="connsiteY64" fmla="*/ 733425 h 4429294"/>
                    <a:gd name="connsiteX65" fmla="*/ 650069 w 4501379"/>
                    <a:gd name="connsiteY65" fmla="*/ 676275 h 4429294"/>
                    <a:gd name="connsiteX66" fmla="*/ 678644 w 4501379"/>
                    <a:gd name="connsiteY66" fmla="*/ 657225 h 4429294"/>
                    <a:gd name="connsiteX67" fmla="*/ 821519 w 4501379"/>
                    <a:gd name="connsiteY67" fmla="*/ 533400 h 4429294"/>
                    <a:gd name="connsiteX68" fmla="*/ 869144 w 4501379"/>
                    <a:gd name="connsiteY68" fmla="*/ 504825 h 4429294"/>
                    <a:gd name="connsiteX69" fmla="*/ 1148544 w 4501379"/>
                    <a:gd name="connsiteY69" fmla="*/ 311150 h 4429294"/>
                    <a:gd name="connsiteX70" fmla="*/ 1250144 w 4501379"/>
                    <a:gd name="connsiteY70" fmla="*/ 285750 h 4429294"/>
                    <a:gd name="connsiteX71" fmla="*/ 1393019 w 4501379"/>
                    <a:gd name="connsiteY71" fmla="*/ 190500 h 4429294"/>
                    <a:gd name="connsiteX72" fmla="*/ 1431119 w 4501379"/>
                    <a:gd name="connsiteY72" fmla="*/ 161925 h 4429294"/>
                    <a:gd name="connsiteX73" fmla="*/ 1507319 w 4501379"/>
                    <a:gd name="connsiteY73" fmla="*/ 152400 h 4429294"/>
                    <a:gd name="connsiteX74" fmla="*/ 1564469 w 4501379"/>
                    <a:gd name="connsiteY74" fmla="*/ 142875 h 4429294"/>
                    <a:gd name="connsiteX75" fmla="*/ 1697819 w 4501379"/>
                    <a:gd name="connsiteY75" fmla="*/ 123825 h 4429294"/>
                    <a:gd name="connsiteX76" fmla="*/ 1793069 w 4501379"/>
                    <a:gd name="connsiteY76" fmla="*/ 114300 h 4429294"/>
                    <a:gd name="connsiteX77" fmla="*/ 1840694 w 4501379"/>
                    <a:gd name="connsiteY77" fmla="*/ 104775 h 4429294"/>
                    <a:gd name="connsiteX78" fmla="*/ 1897844 w 4501379"/>
                    <a:gd name="connsiteY78" fmla="*/ 95250 h 4429294"/>
                    <a:gd name="connsiteX79" fmla="*/ 2012144 w 4501379"/>
                    <a:gd name="connsiteY79" fmla="*/ 66675 h 4429294"/>
                    <a:gd name="connsiteX80" fmla="*/ 2078819 w 4501379"/>
                    <a:gd name="connsiteY80" fmla="*/ 47625 h 4429294"/>
                    <a:gd name="connsiteX81" fmla="*/ 2145494 w 4501379"/>
                    <a:gd name="connsiteY8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498044 w 4501379"/>
                    <a:gd name="connsiteY7" fmla="*/ 390525 h 4429294"/>
                    <a:gd name="connsiteX8" fmla="*/ 3612344 w 4501379"/>
                    <a:gd name="connsiteY8" fmla="*/ 485775 h 4429294"/>
                    <a:gd name="connsiteX9" fmla="*/ 3726644 w 4501379"/>
                    <a:gd name="connsiteY9" fmla="*/ 542925 h 4429294"/>
                    <a:gd name="connsiteX10" fmla="*/ 3793319 w 4501379"/>
                    <a:gd name="connsiteY10" fmla="*/ 581025 h 4429294"/>
                    <a:gd name="connsiteX11" fmla="*/ 4009219 w 4501379"/>
                    <a:gd name="connsiteY11" fmla="*/ 819150 h 4429294"/>
                    <a:gd name="connsiteX12" fmla="*/ 4145744 w 4501379"/>
                    <a:gd name="connsiteY12" fmla="*/ 990600 h 4429294"/>
                    <a:gd name="connsiteX13" fmla="*/ 4231469 w 4501379"/>
                    <a:gd name="connsiteY13" fmla="*/ 1143000 h 4429294"/>
                    <a:gd name="connsiteX14" fmla="*/ 4288619 w 4501379"/>
                    <a:gd name="connsiteY14" fmla="*/ 1266825 h 4429294"/>
                    <a:gd name="connsiteX15" fmla="*/ 4326719 w 4501379"/>
                    <a:gd name="connsiteY15" fmla="*/ 1362075 h 4429294"/>
                    <a:gd name="connsiteX16" fmla="*/ 4374344 w 4501379"/>
                    <a:gd name="connsiteY16" fmla="*/ 1552575 h 4429294"/>
                    <a:gd name="connsiteX17" fmla="*/ 4412444 w 4501379"/>
                    <a:gd name="connsiteY17" fmla="*/ 1685925 h 4429294"/>
                    <a:gd name="connsiteX18" fmla="*/ 4501344 w 4501379"/>
                    <a:gd name="connsiteY18" fmla="*/ 2181225 h 4429294"/>
                    <a:gd name="connsiteX19" fmla="*/ 4428319 w 4501379"/>
                    <a:gd name="connsiteY19" fmla="*/ 2768600 h 4429294"/>
                    <a:gd name="connsiteX20" fmla="*/ 4364819 w 4501379"/>
                    <a:gd name="connsiteY20" fmla="*/ 2990850 h 4429294"/>
                    <a:gd name="connsiteX21" fmla="*/ 4260044 w 4501379"/>
                    <a:gd name="connsiteY21" fmla="*/ 3248025 h 4429294"/>
                    <a:gd name="connsiteX22" fmla="*/ 4164794 w 4501379"/>
                    <a:gd name="connsiteY22" fmla="*/ 3400425 h 4429294"/>
                    <a:gd name="connsiteX23" fmla="*/ 4040969 w 4501379"/>
                    <a:gd name="connsiteY23" fmla="*/ 3533775 h 4429294"/>
                    <a:gd name="connsiteX24" fmla="*/ 3936194 w 4501379"/>
                    <a:gd name="connsiteY24" fmla="*/ 3648075 h 4429294"/>
                    <a:gd name="connsiteX25" fmla="*/ 3640919 w 4501379"/>
                    <a:gd name="connsiteY25" fmla="*/ 3971925 h 4429294"/>
                    <a:gd name="connsiteX26" fmla="*/ 3498044 w 4501379"/>
                    <a:gd name="connsiteY26" fmla="*/ 4083050 h 4429294"/>
                    <a:gd name="connsiteX27" fmla="*/ 3202769 w 4501379"/>
                    <a:gd name="connsiteY27" fmla="*/ 4222750 h 4429294"/>
                    <a:gd name="connsiteX28" fmla="*/ 3050369 w 4501379"/>
                    <a:gd name="connsiteY28" fmla="*/ 4286250 h 4429294"/>
                    <a:gd name="connsiteX29" fmla="*/ 2917019 w 4501379"/>
                    <a:gd name="connsiteY29" fmla="*/ 4333875 h 4429294"/>
                    <a:gd name="connsiteX30" fmla="*/ 2793194 w 4501379"/>
                    <a:gd name="connsiteY30" fmla="*/ 4371975 h 4429294"/>
                    <a:gd name="connsiteX31" fmla="*/ 2561419 w 4501379"/>
                    <a:gd name="connsiteY31" fmla="*/ 4391025 h 4429294"/>
                    <a:gd name="connsiteX32" fmla="*/ 2107394 w 4501379"/>
                    <a:gd name="connsiteY32" fmla="*/ 4429125 h 4429294"/>
                    <a:gd name="connsiteX33" fmla="*/ 1916894 w 4501379"/>
                    <a:gd name="connsiteY33" fmla="*/ 4400550 h 4429294"/>
                    <a:gd name="connsiteX34" fmla="*/ 1554944 w 4501379"/>
                    <a:gd name="connsiteY34" fmla="*/ 4305300 h 4429294"/>
                    <a:gd name="connsiteX35" fmla="*/ 1313644 w 4501379"/>
                    <a:gd name="connsiteY35" fmla="*/ 4216400 h 4429294"/>
                    <a:gd name="connsiteX36" fmla="*/ 1145369 w 4501379"/>
                    <a:gd name="connsiteY36" fmla="*/ 4111625 h 4429294"/>
                    <a:gd name="connsiteX37" fmla="*/ 926294 w 4501379"/>
                    <a:gd name="connsiteY37" fmla="*/ 3968750 h 4429294"/>
                    <a:gd name="connsiteX38" fmla="*/ 592919 w 4501379"/>
                    <a:gd name="connsiteY38" fmla="*/ 3657600 h 4429294"/>
                    <a:gd name="connsiteX39" fmla="*/ 446869 w 4501379"/>
                    <a:gd name="connsiteY39" fmla="*/ 3470275 h 4429294"/>
                    <a:gd name="connsiteX40" fmla="*/ 316694 w 4501379"/>
                    <a:gd name="connsiteY40" fmla="*/ 3244850 h 4429294"/>
                    <a:gd name="connsiteX41" fmla="*/ 164294 w 4501379"/>
                    <a:gd name="connsiteY41" fmla="*/ 2892425 h 4429294"/>
                    <a:gd name="connsiteX42" fmla="*/ 56344 w 4501379"/>
                    <a:gd name="connsiteY42" fmla="*/ 2368550 h 4429294"/>
                    <a:gd name="connsiteX43" fmla="*/ 2369 w 4501379"/>
                    <a:gd name="connsiteY43" fmla="*/ 1905000 h 4429294"/>
                    <a:gd name="connsiteX44" fmla="*/ 11894 w 4501379"/>
                    <a:gd name="connsiteY44" fmla="*/ 1838325 h 4429294"/>
                    <a:gd name="connsiteX45" fmla="*/ 30944 w 4501379"/>
                    <a:gd name="connsiteY45" fmla="*/ 1781175 h 4429294"/>
                    <a:gd name="connsiteX46" fmla="*/ 40469 w 4501379"/>
                    <a:gd name="connsiteY46" fmla="*/ 1743075 h 4429294"/>
                    <a:gd name="connsiteX47" fmla="*/ 59519 w 4501379"/>
                    <a:gd name="connsiteY47" fmla="*/ 1685925 h 4429294"/>
                    <a:gd name="connsiteX48" fmla="*/ 69044 w 4501379"/>
                    <a:gd name="connsiteY48" fmla="*/ 1638300 h 4429294"/>
                    <a:gd name="connsiteX49" fmla="*/ 88094 w 4501379"/>
                    <a:gd name="connsiteY49" fmla="*/ 1590675 h 4429294"/>
                    <a:gd name="connsiteX50" fmla="*/ 116669 w 4501379"/>
                    <a:gd name="connsiteY50" fmla="*/ 1504950 h 4429294"/>
                    <a:gd name="connsiteX51" fmla="*/ 135719 w 4501379"/>
                    <a:gd name="connsiteY51" fmla="*/ 1419225 h 4429294"/>
                    <a:gd name="connsiteX52" fmla="*/ 211919 w 4501379"/>
                    <a:gd name="connsiteY52" fmla="*/ 1276350 h 4429294"/>
                    <a:gd name="connsiteX53" fmla="*/ 221444 w 4501379"/>
                    <a:gd name="connsiteY53" fmla="*/ 1247775 h 4429294"/>
                    <a:gd name="connsiteX54" fmla="*/ 250019 w 4501379"/>
                    <a:gd name="connsiteY54" fmla="*/ 1200150 h 4429294"/>
                    <a:gd name="connsiteX55" fmla="*/ 269069 w 4501379"/>
                    <a:gd name="connsiteY55" fmla="*/ 1152525 h 4429294"/>
                    <a:gd name="connsiteX56" fmla="*/ 297644 w 4501379"/>
                    <a:gd name="connsiteY56" fmla="*/ 1114425 h 4429294"/>
                    <a:gd name="connsiteX57" fmla="*/ 345269 w 4501379"/>
                    <a:gd name="connsiteY57" fmla="*/ 1038225 h 4429294"/>
                    <a:gd name="connsiteX58" fmla="*/ 364319 w 4501379"/>
                    <a:gd name="connsiteY58" fmla="*/ 1009650 h 4429294"/>
                    <a:gd name="connsiteX59" fmla="*/ 421469 w 4501379"/>
                    <a:gd name="connsiteY59" fmla="*/ 904875 h 4429294"/>
                    <a:gd name="connsiteX60" fmla="*/ 459569 w 4501379"/>
                    <a:gd name="connsiteY60" fmla="*/ 857250 h 4429294"/>
                    <a:gd name="connsiteX61" fmla="*/ 478619 w 4501379"/>
                    <a:gd name="connsiteY61" fmla="*/ 828675 h 4429294"/>
                    <a:gd name="connsiteX62" fmla="*/ 516719 w 4501379"/>
                    <a:gd name="connsiteY62" fmla="*/ 800100 h 4429294"/>
                    <a:gd name="connsiteX63" fmla="*/ 583394 w 4501379"/>
                    <a:gd name="connsiteY63" fmla="*/ 733425 h 4429294"/>
                    <a:gd name="connsiteX64" fmla="*/ 650069 w 4501379"/>
                    <a:gd name="connsiteY64" fmla="*/ 676275 h 4429294"/>
                    <a:gd name="connsiteX65" fmla="*/ 678644 w 4501379"/>
                    <a:gd name="connsiteY65" fmla="*/ 657225 h 4429294"/>
                    <a:gd name="connsiteX66" fmla="*/ 821519 w 4501379"/>
                    <a:gd name="connsiteY66" fmla="*/ 533400 h 4429294"/>
                    <a:gd name="connsiteX67" fmla="*/ 869144 w 4501379"/>
                    <a:gd name="connsiteY67" fmla="*/ 504825 h 4429294"/>
                    <a:gd name="connsiteX68" fmla="*/ 1148544 w 4501379"/>
                    <a:gd name="connsiteY68" fmla="*/ 311150 h 4429294"/>
                    <a:gd name="connsiteX69" fmla="*/ 1250144 w 4501379"/>
                    <a:gd name="connsiteY69" fmla="*/ 285750 h 4429294"/>
                    <a:gd name="connsiteX70" fmla="*/ 1393019 w 4501379"/>
                    <a:gd name="connsiteY70" fmla="*/ 190500 h 4429294"/>
                    <a:gd name="connsiteX71" fmla="*/ 1431119 w 4501379"/>
                    <a:gd name="connsiteY71" fmla="*/ 161925 h 4429294"/>
                    <a:gd name="connsiteX72" fmla="*/ 1507319 w 4501379"/>
                    <a:gd name="connsiteY72" fmla="*/ 152400 h 4429294"/>
                    <a:gd name="connsiteX73" fmla="*/ 1564469 w 4501379"/>
                    <a:gd name="connsiteY73" fmla="*/ 142875 h 4429294"/>
                    <a:gd name="connsiteX74" fmla="*/ 1697819 w 4501379"/>
                    <a:gd name="connsiteY74" fmla="*/ 123825 h 4429294"/>
                    <a:gd name="connsiteX75" fmla="*/ 1793069 w 4501379"/>
                    <a:gd name="connsiteY75" fmla="*/ 114300 h 4429294"/>
                    <a:gd name="connsiteX76" fmla="*/ 1840694 w 4501379"/>
                    <a:gd name="connsiteY76" fmla="*/ 104775 h 4429294"/>
                    <a:gd name="connsiteX77" fmla="*/ 1897844 w 4501379"/>
                    <a:gd name="connsiteY77" fmla="*/ 95250 h 4429294"/>
                    <a:gd name="connsiteX78" fmla="*/ 2012144 w 4501379"/>
                    <a:gd name="connsiteY78" fmla="*/ 66675 h 4429294"/>
                    <a:gd name="connsiteX79" fmla="*/ 2078819 w 4501379"/>
                    <a:gd name="connsiteY79" fmla="*/ 47625 h 4429294"/>
                    <a:gd name="connsiteX80" fmla="*/ 2145494 w 4501379"/>
                    <a:gd name="connsiteY8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612344 w 4501379"/>
                    <a:gd name="connsiteY7" fmla="*/ 485775 h 4429294"/>
                    <a:gd name="connsiteX8" fmla="*/ 3726644 w 4501379"/>
                    <a:gd name="connsiteY8" fmla="*/ 542925 h 4429294"/>
                    <a:gd name="connsiteX9" fmla="*/ 3793319 w 4501379"/>
                    <a:gd name="connsiteY9" fmla="*/ 581025 h 4429294"/>
                    <a:gd name="connsiteX10" fmla="*/ 4009219 w 4501379"/>
                    <a:gd name="connsiteY10" fmla="*/ 819150 h 4429294"/>
                    <a:gd name="connsiteX11" fmla="*/ 4145744 w 4501379"/>
                    <a:gd name="connsiteY11" fmla="*/ 990600 h 4429294"/>
                    <a:gd name="connsiteX12" fmla="*/ 4231469 w 4501379"/>
                    <a:gd name="connsiteY12" fmla="*/ 1143000 h 4429294"/>
                    <a:gd name="connsiteX13" fmla="*/ 4288619 w 4501379"/>
                    <a:gd name="connsiteY13" fmla="*/ 1266825 h 4429294"/>
                    <a:gd name="connsiteX14" fmla="*/ 4326719 w 4501379"/>
                    <a:gd name="connsiteY14" fmla="*/ 1362075 h 4429294"/>
                    <a:gd name="connsiteX15" fmla="*/ 4374344 w 4501379"/>
                    <a:gd name="connsiteY15" fmla="*/ 1552575 h 4429294"/>
                    <a:gd name="connsiteX16" fmla="*/ 4412444 w 4501379"/>
                    <a:gd name="connsiteY16" fmla="*/ 1685925 h 4429294"/>
                    <a:gd name="connsiteX17" fmla="*/ 4501344 w 4501379"/>
                    <a:gd name="connsiteY17" fmla="*/ 2181225 h 4429294"/>
                    <a:gd name="connsiteX18" fmla="*/ 4428319 w 4501379"/>
                    <a:gd name="connsiteY18" fmla="*/ 2768600 h 4429294"/>
                    <a:gd name="connsiteX19" fmla="*/ 4364819 w 4501379"/>
                    <a:gd name="connsiteY19" fmla="*/ 2990850 h 4429294"/>
                    <a:gd name="connsiteX20" fmla="*/ 4260044 w 4501379"/>
                    <a:gd name="connsiteY20" fmla="*/ 3248025 h 4429294"/>
                    <a:gd name="connsiteX21" fmla="*/ 4164794 w 4501379"/>
                    <a:gd name="connsiteY21" fmla="*/ 3400425 h 4429294"/>
                    <a:gd name="connsiteX22" fmla="*/ 4040969 w 4501379"/>
                    <a:gd name="connsiteY22" fmla="*/ 3533775 h 4429294"/>
                    <a:gd name="connsiteX23" fmla="*/ 3936194 w 4501379"/>
                    <a:gd name="connsiteY23" fmla="*/ 3648075 h 4429294"/>
                    <a:gd name="connsiteX24" fmla="*/ 3640919 w 4501379"/>
                    <a:gd name="connsiteY24" fmla="*/ 3971925 h 4429294"/>
                    <a:gd name="connsiteX25" fmla="*/ 3498044 w 4501379"/>
                    <a:gd name="connsiteY25" fmla="*/ 4083050 h 4429294"/>
                    <a:gd name="connsiteX26" fmla="*/ 3202769 w 4501379"/>
                    <a:gd name="connsiteY26" fmla="*/ 4222750 h 4429294"/>
                    <a:gd name="connsiteX27" fmla="*/ 3050369 w 4501379"/>
                    <a:gd name="connsiteY27" fmla="*/ 4286250 h 4429294"/>
                    <a:gd name="connsiteX28" fmla="*/ 2917019 w 4501379"/>
                    <a:gd name="connsiteY28" fmla="*/ 4333875 h 4429294"/>
                    <a:gd name="connsiteX29" fmla="*/ 2793194 w 4501379"/>
                    <a:gd name="connsiteY29" fmla="*/ 4371975 h 4429294"/>
                    <a:gd name="connsiteX30" fmla="*/ 2561419 w 4501379"/>
                    <a:gd name="connsiteY30" fmla="*/ 4391025 h 4429294"/>
                    <a:gd name="connsiteX31" fmla="*/ 2107394 w 4501379"/>
                    <a:gd name="connsiteY31" fmla="*/ 4429125 h 4429294"/>
                    <a:gd name="connsiteX32" fmla="*/ 1916894 w 4501379"/>
                    <a:gd name="connsiteY32" fmla="*/ 4400550 h 4429294"/>
                    <a:gd name="connsiteX33" fmla="*/ 1554944 w 4501379"/>
                    <a:gd name="connsiteY33" fmla="*/ 4305300 h 4429294"/>
                    <a:gd name="connsiteX34" fmla="*/ 1313644 w 4501379"/>
                    <a:gd name="connsiteY34" fmla="*/ 4216400 h 4429294"/>
                    <a:gd name="connsiteX35" fmla="*/ 1145369 w 4501379"/>
                    <a:gd name="connsiteY35" fmla="*/ 4111625 h 4429294"/>
                    <a:gd name="connsiteX36" fmla="*/ 926294 w 4501379"/>
                    <a:gd name="connsiteY36" fmla="*/ 3968750 h 4429294"/>
                    <a:gd name="connsiteX37" fmla="*/ 592919 w 4501379"/>
                    <a:gd name="connsiteY37" fmla="*/ 3657600 h 4429294"/>
                    <a:gd name="connsiteX38" fmla="*/ 446869 w 4501379"/>
                    <a:gd name="connsiteY38" fmla="*/ 3470275 h 4429294"/>
                    <a:gd name="connsiteX39" fmla="*/ 316694 w 4501379"/>
                    <a:gd name="connsiteY39" fmla="*/ 3244850 h 4429294"/>
                    <a:gd name="connsiteX40" fmla="*/ 164294 w 4501379"/>
                    <a:gd name="connsiteY40" fmla="*/ 2892425 h 4429294"/>
                    <a:gd name="connsiteX41" fmla="*/ 56344 w 4501379"/>
                    <a:gd name="connsiteY41" fmla="*/ 2368550 h 4429294"/>
                    <a:gd name="connsiteX42" fmla="*/ 2369 w 4501379"/>
                    <a:gd name="connsiteY42" fmla="*/ 1905000 h 4429294"/>
                    <a:gd name="connsiteX43" fmla="*/ 11894 w 4501379"/>
                    <a:gd name="connsiteY43" fmla="*/ 1838325 h 4429294"/>
                    <a:gd name="connsiteX44" fmla="*/ 30944 w 4501379"/>
                    <a:gd name="connsiteY44" fmla="*/ 1781175 h 4429294"/>
                    <a:gd name="connsiteX45" fmla="*/ 40469 w 4501379"/>
                    <a:gd name="connsiteY45" fmla="*/ 1743075 h 4429294"/>
                    <a:gd name="connsiteX46" fmla="*/ 59519 w 4501379"/>
                    <a:gd name="connsiteY46" fmla="*/ 1685925 h 4429294"/>
                    <a:gd name="connsiteX47" fmla="*/ 69044 w 4501379"/>
                    <a:gd name="connsiteY47" fmla="*/ 1638300 h 4429294"/>
                    <a:gd name="connsiteX48" fmla="*/ 88094 w 4501379"/>
                    <a:gd name="connsiteY48" fmla="*/ 1590675 h 4429294"/>
                    <a:gd name="connsiteX49" fmla="*/ 116669 w 4501379"/>
                    <a:gd name="connsiteY49" fmla="*/ 1504950 h 4429294"/>
                    <a:gd name="connsiteX50" fmla="*/ 135719 w 4501379"/>
                    <a:gd name="connsiteY50" fmla="*/ 1419225 h 4429294"/>
                    <a:gd name="connsiteX51" fmla="*/ 211919 w 4501379"/>
                    <a:gd name="connsiteY51" fmla="*/ 1276350 h 4429294"/>
                    <a:gd name="connsiteX52" fmla="*/ 221444 w 4501379"/>
                    <a:gd name="connsiteY52" fmla="*/ 1247775 h 4429294"/>
                    <a:gd name="connsiteX53" fmla="*/ 250019 w 4501379"/>
                    <a:gd name="connsiteY53" fmla="*/ 1200150 h 4429294"/>
                    <a:gd name="connsiteX54" fmla="*/ 269069 w 4501379"/>
                    <a:gd name="connsiteY54" fmla="*/ 1152525 h 4429294"/>
                    <a:gd name="connsiteX55" fmla="*/ 297644 w 4501379"/>
                    <a:gd name="connsiteY55" fmla="*/ 1114425 h 4429294"/>
                    <a:gd name="connsiteX56" fmla="*/ 345269 w 4501379"/>
                    <a:gd name="connsiteY56" fmla="*/ 1038225 h 4429294"/>
                    <a:gd name="connsiteX57" fmla="*/ 364319 w 4501379"/>
                    <a:gd name="connsiteY57" fmla="*/ 1009650 h 4429294"/>
                    <a:gd name="connsiteX58" fmla="*/ 421469 w 4501379"/>
                    <a:gd name="connsiteY58" fmla="*/ 904875 h 4429294"/>
                    <a:gd name="connsiteX59" fmla="*/ 459569 w 4501379"/>
                    <a:gd name="connsiteY59" fmla="*/ 857250 h 4429294"/>
                    <a:gd name="connsiteX60" fmla="*/ 478619 w 4501379"/>
                    <a:gd name="connsiteY60" fmla="*/ 828675 h 4429294"/>
                    <a:gd name="connsiteX61" fmla="*/ 516719 w 4501379"/>
                    <a:gd name="connsiteY61" fmla="*/ 800100 h 4429294"/>
                    <a:gd name="connsiteX62" fmla="*/ 583394 w 4501379"/>
                    <a:gd name="connsiteY62" fmla="*/ 733425 h 4429294"/>
                    <a:gd name="connsiteX63" fmla="*/ 650069 w 4501379"/>
                    <a:gd name="connsiteY63" fmla="*/ 676275 h 4429294"/>
                    <a:gd name="connsiteX64" fmla="*/ 678644 w 4501379"/>
                    <a:gd name="connsiteY64" fmla="*/ 657225 h 4429294"/>
                    <a:gd name="connsiteX65" fmla="*/ 821519 w 4501379"/>
                    <a:gd name="connsiteY65" fmla="*/ 533400 h 4429294"/>
                    <a:gd name="connsiteX66" fmla="*/ 869144 w 4501379"/>
                    <a:gd name="connsiteY66" fmla="*/ 504825 h 4429294"/>
                    <a:gd name="connsiteX67" fmla="*/ 1148544 w 4501379"/>
                    <a:gd name="connsiteY67" fmla="*/ 311150 h 4429294"/>
                    <a:gd name="connsiteX68" fmla="*/ 1250144 w 4501379"/>
                    <a:gd name="connsiteY68" fmla="*/ 285750 h 4429294"/>
                    <a:gd name="connsiteX69" fmla="*/ 1393019 w 4501379"/>
                    <a:gd name="connsiteY69" fmla="*/ 190500 h 4429294"/>
                    <a:gd name="connsiteX70" fmla="*/ 1431119 w 4501379"/>
                    <a:gd name="connsiteY70" fmla="*/ 161925 h 4429294"/>
                    <a:gd name="connsiteX71" fmla="*/ 1507319 w 4501379"/>
                    <a:gd name="connsiteY71" fmla="*/ 152400 h 4429294"/>
                    <a:gd name="connsiteX72" fmla="*/ 1564469 w 4501379"/>
                    <a:gd name="connsiteY72" fmla="*/ 142875 h 4429294"/>
                    <a:gd name="connsiteX73" fmla="*/ 1697819 w 4501379"/>
                    <a:gd name="connsiteY73" fmla="*/ 123825 h 4429294"/>
                    <a:gd name="connsiteX74" fmla="*/ 1793069 w 4501379"/>
                    <a:gd name="connsiteY74" fmla="*/ 114300 h 4429294"/>
                    <a:gd name="connsiteX75" fmla="*/ 1840694 w 4501379"/>
                    <a:gd name="connsiteY75" fmla="*/ 104775 h 4429294"/>
                    <a:gd name="connsiteX76" fmla="*/ 1897844 w 4501379"/>
                    <a:gd name="connsiteY76" fmla="*/ 95250 h 4429294"/>
                    <a:gd name="connsiteX77" fmla="*/ 2012144 w 4501379"/>
                    <a:gd name="connsiteY77" fmla="*/ 66675 h 4429294"/>
                    <a:gd name="connsiteX78" fmla="*/ 2078819 w 4501379"/>
                    <a:gd name="connsiteY78" fmla="*/ 47625 h 4429294"/>
                    <a:gd name="connsiteX79" fmla="*/ 2145494 w 4501379"/>
                    <a:gd name="connsiteY7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26644 w 4501379"/>
                    <a:gd name="connsiteY7" fmla="*/ 542925 h 4429294"/>
                    <a:gd name="connsiteX8" fmla="*/ 3793319 w 4501379"/>
                    <a:gd name="connsiteY8" fmla="*/ 581025 h 4429294"/>
                    <a:gd name="connsiteX9" fmla="*/ 4009219 w 4501379"/>
                    <a:gd name="connsiteY9" fmla="*/ 819150 h 4429294"/>
                    <a:gd name="connsiteX10" fmla="*/ 4145744 w 4501379"/>
                    <a:gd name="connsiteY10" fmla="*/ 990600 h 4429294"/>
                    <a:gd name="connsiteX11" fmla="*/ 4231469 w 4501379"/>
                    <a:gd name="connsiteY11" fmla="*/ 1143000 h 4429294"/>
                    <a:gd name="connsiteX12" fmla="*/ 4288619 w 4501379"/>
                    <a:gd name="connsiteY12" fmla="*/ 1266825 h 4429294"/>
                    <a:gd name="connsiteX13" fmla="*/ 4326719 w 4501379"/>
                    <a:gd name="connsiteY13" fmla="*/ 1362075 h 4429294"/>
                    <a:gd name="connsiteX14" fmla="*/ 4374344 w 4501379"/>
                    <a:gd name="connsiteY14" fmla="*/ 1552575 h 4429294"/>
                    <a:gd name="connsiteX15" fmla="*/ 4412444 w 4501379"/>
                    <a:gd name="connsiteY15" fmla="*/ 1685925 h 4429294"/>
                    <a:gd name="connsiteX16" fmla="*/ 4501344 w 4501379"/>
                    <a:gd name="connsiteY16" fmla="*/ 2181225 h 4429294"/>
                    <a:gd name="connsiteX17" fmla="*/ 4428319 w 4501379"/>
                    <a:gd name="connsiteY17" fmla="*/ 2768600 h 4429294"/>
                    <a:gd name="connsiteX18" fmla="*/ 4364819 w 4501379"/>
                    <a:gd name="connsiteY18" fmla="*/ 2990850 h 4429294"/>
                    <a:gd name="connsiteX19" fmla="*/ 4260044 w 4501379"/>
                    <a:gd name="connsiteY19" fmla="*/ 3248025 h 4429294"/>
                    <a:gd name="connsiteX20" fmla="*/ 4164794 w 4501379"/>
                    <a:gd name="connsiteY20" fmla="*/ 3400425 h 4429294"/>
                    <a:gd name="connsiteX21" fmla="*/ 4040969 w 4501379"/>
                    <a:gd name="connsiteY21" fmla="*/ 3533775 h 4429294"/>
                    <a:gd name="connsiteX22" fmla="*/ 3936194 w 4501379"/>
                    <a:gd name="connsiteY22" fmla="*/ 3648075 h 4429294"/>
                    <a:gd name="connsiteX23" fmla="*/ 3640919 w 4501379"/>
                    <a:gd name="connsiteY23" fmla="*/ 3971925 h 4429294"/>
                    <a:gd name="connsiteX24" fmla="*/ 3498044 w 4501379"/>
                    <a:gd name="connsiteY24" fmla="*/ 4083050 h 4429294"/>
                    <a:gd name="connsiteX25" fmla="*/ 3202769 w 4501379"/>
                    <a:gd name="connsiteY25" fmla="*/ 4222750 h 4429294"/>
                    <a:gd name="connsiteX26" fmla="*/ 3050369 w 4501379"/>
                    <a:gd name="connsiteY26" fmla="*/ 4286250 h 4429294"/>
                    <a:gd name="connsiteX27" fmla="*/ 2917019 w 4501379"/>
                    <a:gd name="connsiteY27" fmla="*/ 4333875 h 4429294"/>
                    <a:gd name="connsiteX28" fmla="*/ 2793194 w 4501379"/>
                    <a:gd name="connsiteY28" fmla="*/ 4371975 h 4429294"/>
                    <a:gd name="connsiteX29" fmla="*/ 2561419 w 4501379"/>
                    <a:gd name="connsiteY29" fmla="*/ 4391025 h 4429294"/>
                    <a:gd name="connsiteX30" fmla="*/ 2107394 w 4501379"/>
                    <a:gd name="connsiteY30" fmla="*/ 4429125 h 4429294"/>
                    <a:gd name="connsiteX31" fmla="*/ 1916894 w 4501379"/>
                    <a:gd name="connsiteY31" fmla="*/ 4400550 h 4429294"/>
                    <a:gd name="connsiteX32" fmla="*/ 1554944 w 4501379"/>
                    <a:gd name="connsiteY32" fmla="*/ 4305300 h 4429294"/>
                    <a:gd name="connsiteX33" fmla="*/ 1313644 w 4501379"/>
                    <a:gd name="connsiteY33" fmla="*/ 4216400 h 4429294"/>
                    <a:gd name="connsiteX34" fmla="*/ 1145369 w 4501379"/>
                    <a:gd name="connsiteY34" fmla="*/ 4111625 h 4429294"/>
                    <a:gd name="connsiteX35" fmla="*/ 926294 w 4501379"/>
                    <a:gd name="connsiteY35" fmla="*/ 3968750 h 4429294"/>
                    <a:gd name="connsiteX36" fmla="*/ 592919 w 4501379"/>
                    <a:gd name="connsiteY36" fmla="*/ 3657600 h 4429294"/>
                    <a:gd name="connsiteX37" fmla="*/ 446869 w 4501379"/>
                    <a:gd name="connsiteY37" fmla="*/ 3470275 h 4429294"/>
                    <a:gd name="connsiteX38" fmla="*/ 316694 w 4501379"/>
                    <a:gd name="connsiteY38" fmla="*/ 3244850 h 4429294"/>
                    <a:gd name="connsiteX39" fmla="*/ 164294 w 4501379"/>
                    <a:gd name="connsiteY39" fmla="*/ 2892425 h 4429294"/>
                    <a:gd name="connsiteX40" fmla="*/ 56344 w 4501379"/>
                    <a:gd name="connsiteY40" fmla="*/ 2368550 h 4429294"/>
                    <a:gd name="connsiteX41" fmla="*/ 2369 w 4501379"/>
                    <a:gd name="connsiteY41" fmla="*/ 1905000 h 4429294"/>
                    <a:gd name="connsiteX42" fmla="*/ 11894 w 4501379"/>
                    <a:gd name="connsiteY42" fmla="*/ 1838325 h 4429294"/>
                    <a:gd name="connsiteX43" fmla="*/ 30944 w 4501379"/>
                    <a:gd name="connsiteY43" fmla="*/ 1781175 h 4429294"/>
                    <a:gd name="connsiteX44" fmla="*/ 40469 w 4501379"/>
                    <a:gd name="connsiteY44" fmla="*/ 1743075 h 4429294"/>
                    <a:gd name="connsiteX45" fmla="*/ 59519 w 4501379"/>
                    <a:gd name="connsiteY45" fmla="*/ 1685925 h 4429294"/>
                    <a:gd name="connsiteX46" fmla="*/ 69044 w 4501379"/>
                    <a:gd name="connsiteY46" fmla="*/ 1638300 h 4429294"/>
                    <a:gd name="connsiteX47" fmla="*/ 88094 w 4501379"/>
                    <a:gd name="connsiteY47" fmla="*/ 1590675 h 4429294"/>
                    <a:gd name="connsiteX48" fmla="*/ 116669 w 4501379"/>
                    <a:gd name="connsiteY48" fmla="*/ 1504950 h 4429294"/>
                    <a:gd name="connsiteX49" fmla="*/ 135719 w 4501379"/>
                    <a:gd name="connsiteY49" fmla="*/ 1419225 h 4429294"/>
                    <a:gd name="connsiteX50" fmla="*/ 211919 w 4501379"/>
                    <a:gd name="connsiteY50" fmla="*/ 1276350 h 4429294"/>
                    <a:gd name="connsiteX51" fmla="*/ 221444 w 4501379"/>
                    <a:gd name="connsiteY51" fmla="*/ 1247775 h 4429294"/>
                    <a:gd name="connsiteX52" fmla="*/ 250019 w 4501379"/>
                    <a:gd name="connsiteY52" fmla="*/ 1200150 h 4429294"/>
                    <a:gd name="connsiteX53" fmla="*/ 269069 w 4501379"/>
                    <a:gd name="connsiteY53" fmla="*/ 1152525 h 4429294"/>
                    <a:gd name="connsiteX54" fmla="*/ 297644 w 4501379"/>
                    <a:gd name="connsiteY54" fmla="*/ 1114425 h 4429294"/>
                    <a:gd name="connsiteX55" fmla="*/ 345269 w 4501379"/>
                    <a:gd name="connsiteY55" fmla="*/ 1038225 h 4429294"/>
                    <a:gd name="connsiteX56" fmla="*/ 364319 w 4501379"/>
                    <a:gd name="connsiteY56" fmla="*/ 1009650 h 4429294"/>
                    <a:gd name="connsiteX57" fmla="*/ 421469 w 4501379"/>
                    <a:gd name="connsiteY57" fmla="*/ 904875 h 4429294"/>
                    <a:gd name="connsiteX58" fmla="*/ 459569 w 4501379"/>
                    <a:gd name="connsiteY58" fmla="*/ 857250 h 4429294"/>
                    <a:gd name="connsiteX59" fmla="*/ 478619 w 4501379"/>
                    <a:gd name="connsiteY59" fmla="*/ 828675 h 4429294"/>
                    <a:gd name="connsiteX60" fmla="*/ 516719 w 4501379"/>
                    <a:gd name="connsiteY60" fmla="*/ 800100 h 4429294"/>
                    <a:gd name="connsiteX61" fmla="*/ 583394 w 4501379"/>
                    <a:gd name="connsiteY61" fmla="*/ 733425 h 4429294"/>
                    <a:gd name="connsiteX62" fmla="*/ 650069 w 4501379"/>
                    <a:gd name="connsiteY62" fmla="*/ 676275 h 4429294"/>
                    <a:gd name="connsiteX63" fmla="*/ 678644 w 4501379"/>
                    <a:gd name="connsiteY63" fmla="*/ 657225 h 4429294"/>
                    <a:gd name="connsiteX64" fmla="*/ 821519 w 4501379"/>
                    <a:gd name="connsiteY64" fmla="*/ 533400 h 4429294"/>
                    <a:gd name="connsiteX65" fmla="*/ 869144 w 4501379"/>
                    <a:gd name="connsiteY65" fmla="*/ 504825 h 4429294"/>
                    <a:gd name="connsiteX66" fmla="*/ 1148544 w 4501379"/>
                    <a:gd name="connsiteY66" fmla="*/ 311150 h 4429294"/>
                    <a:gd name="connsiteX67" fmla="*/ 1250144 w 4501379"/>
                    <a:gd name="connsiteY67" fmla="*/ 285750 h 4429294"/>
                    <a:gd name="connsiteX68" fmla="*/ 1393019 w 4501379"/>
                    <a:gd name="connsiteY68" fmla="*/ 190500 h 4429294"/>
                    <a:gd name="connsiteX69" fmla="*/ 1431119 w 4501379"/>
                    <a:gd name="connsiteY69" fmla="*/ 161925 h 4429294"/>
                    <a:gd name="connsiteX70" fmla="*/ 1507319 w 4501379"/>
                    <a:gd name="connsiteY70" fmla="*/ 152400 h 4429294"/>
                    <a:gd name="connsiteX71" fmla="*/ 1564469 w 4501379"/>
                    <a:gd name="connsiteY71" fmla="*/ 142875 h 4429294"/>
                    <a:gd name="connsiteX72" fmla="*/ 1697819 w 4501379"/>
                    <a:gd name="connsiteY72" fmla="*/ 123825 h 4429294"/>
                    <a:gd name="connsiteX73" fmla="*/ 1793069 w 4501379"/>
                    <a:gd name="connsiteY73" fmla="*/ 114300 h 4429294"/>
                    <a:gd name="connsiteX74" fmla="*/ 1840694 w 4501379"/>
                    <a:gd name="connsiteY74" fmla="*/ 104775 h 4429294"/>
                    <a:gd name="connsiteX75" fmla="*/ 1897844 w 4501379"/>
                    <a:gd name="connsiteY75" fmla="*/ 95250 h 4429294"/>
                    <a:gd name="connsiteX76" fmla="*/ 2012144 w 4501379"/>
                    <a:gd name="connsiteY76" fmla="*/ 66675 h 4429294"/>
                    <a:gd name="connsiteX77" fmla="*/ 2078819 w 4501379"/>
                    <a:gd name="connsiteY77" fmla="*/ 47625 h 4429294"/>
                    <a:gd name="connsiteX78" fmla="*/ 2145494 w 4501379"/>
                    <a:gd name="connsiteY7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93319 w 4501379"/>
                    <a:gd name="connsiteY7" fmla="*/ 581025 h 4429294"/>
                    <a:gd name="connsiteX8" fmla="*/ 4009219 w 4501379"/>
                    <a:gd name="connsiteY8" fmla="*/ 819150 h 4429294"/>
                    <a:gd name="connsiteX9" fmla="*/ 4145744 w 4501379"/>
                    <a:gd name="connsiteY9" fmla="*/ 990600 h 4429294"/>
                    <a:gd name="connsiteX10" fmla="*/ 4231469 w 4501379"/>
                    <a:gd name="connsiteY10" fmla="*/ 1143000 h 4429294"/>
                    <a:gd name="connsiteX11" fmla="*/ 4288619 w 4501379"/>
                    <a:gd name="connsiteY11" fmla="*/ 1266825 h 4429294"/>
                    <a:gd name="connsiteX12" fmla="*/ 4326719 w 4501379"/>
                    <a:gd name="connsiteY12" fmla="*/ 1362075 h 4429294"/>
                    <a:gd name="connsiteX13" fmla="*/ 4374344 w 4501379"/>
                    <a:gd name="connsiteY13" fmla="*/ 1552575 h 4429294"/>
                    <a:gd name="connsiteX14" fmla="*/ 4412444 w 4501379"/>
                    <a:gd name="connsiteY14" fmla="*/ 1685925 h 4429294"/>
                    <a:gd name="connsiteX15" fmla="*/ 4501344 w 4501379"/>
                    <a:gd name="connsiteY15" fmla="*/ 2181225 h 4429294"/>
                    <a:gd name="connsiteX16" fmla="*/ 4428319 w 4501379"/>
                    <a:gd name="connsiteY16" fmla="*/ 2768600 h 4429294"/>
                    <a:gd name="connsiteX17" fmla="*/ 4364819 w 4501379"/>
                    <a:gd name="connsiteY17" fmla="*/ 2990850 h 4429294"/>
                    <a:gd name="connsiteX18" fmla="*/ 4260044 w 4501379"/>
                    <a:gd name="connsiteY18" fmla="*/ 3248025 h 4429294"/>
                    <a:gd name="connsiteX19" fmla="*/ 4164794 w 4501379"/>
                    <a:gd name="connsiteY19" fmla="*/ 3400425 h 4429294"/>
                    <a:gd name="connsiteX20" fmla="*/ 4040969 w 4501379"/>
                    <a:gd name="connsiteY20" fmla="*/ 3533775 h 4429294"/>
                    <a:gd name="connsiteX21" fmla="*/ 3936194 w 4501379"/>
                    <a:gd name="connsiteY21" fmla="*/ 3648075 h 4429294"/>
                    <a:gd name="connsiteX22" fmla="*/ 3640919 w 4501379"/>
                    <a:gd name="connsiteY22" fmla="*/ 3971925 h 4429294"/>
                    <a:gd name="connsiteX23" fmla="*/ 3498044 w 4501379"/>
                    <a:gd name="connsiteY23" fmla="*/ 4083050 h 4429294"/>
                    <a:gd name="connsiteX24" fmla="*/ 3202769 w 4501379"/>
                    <a:gd name="connsiteY24" fmla="*/ 4222750 h 4429294"/>
                    <a:gd name="connsiteX25" fmla="*/ 3050369 w 4501379"/>
                    <a:gd name="connsiteY25" fmla="*/ 4286250 h 4429294"/>
                    <a:gd name="connsiteX26" fmla="*/ 2917019 w 4501379"/>
                    <a:gd name="connsiteY26" fmla="*/ 4333875 h 4429294"/>
                    <a:gd name="connsiteX27" fmla="*/ 2793194 w 4501379"/>
                    <a:gd name="connsiteY27" fmla="*/ 4371975 h 4429294"/>
                    <a:gd name="connsiteX28" fmla="*/ 2561419 w 4501379"/>
                    <a:gd name="connsiteY28" fmla="*/ 4391025 h 4429294"/>
                    <a:gd name="connsiteX29" fmla="*/ 2107394 w 4501379"/>
                    <a:gd name="connsiteY29" fmla="*/ 4429125 h 4429294"/>
                    <a:gd name="connsiteX30" fmla="*/ 1916894 w 4501379"/>
                    <a:gd name="connsiteY30" fmla="*/ 4400550 h 4429294"/>
                    <a:gd name="connsiteX31" fmla="*/ 1554944 w 4501379"/>
                    <a:gd name="connsiteY31" fmla="*/ 4305300 h 4429294"/>
                    <a:gd name="connsiteX32" fmla="*/ 1313644 w 4501379"/>
                    <a:gd name="connsiteY32" fmla="*/ 4216400 h 4429294"/>
                    <a:gd name="connsiteX33" fmla="*/ 1145369 w 4501379"/>
                    <a:gd name="connsiteY33" fmla="*/ 4111625 h 4429294"/>
                    <a:gd name="connsiteX34" fmla="*/ 926294 w 4501379"/>
                    <a:gd name="connsiteY34" fmla="*/ 3968750 h 4429294"/>
                    <a:gd name="connsiteX35" fmla="*/ 592919 w 4501379"/>
                    <a:gd name="connsiteY35" fmla="*/ 3657600 h 4429294"/>
                    <a:gd name="connsiteX36" fmla="*/ 446869 w 4501379"/>
                    <a:gd name="connsiteY36" fmla="*/ 3470275 h 4429294"/>
                    <a:gd name="connsiteX37" fmla="*/ 316694 w 4501379"/>
                    <a:gd name="connsiteY37" fmla="*/ 3244850 h 4429294"/>
                    <a:gd name="connsiteX38" fmla="*/ 164294 w 4501379"/>
                    <a:gd name="connsiteY38" fmla="*/ 2892425 h 4429294"/>
                    <a:gd name="connsiteX39" fmla="*/ 56344 w 4501379"/>
                    <a:gd name="connsiteY39" fmla="*/ 2368550 h 4429294"/>
                    <a:gd name="connsiteX40" fmla="*/ 2369 w 4501379"/>
                    <a:gd name="connsiteY40" fmla="*/ 1905000 h 4429294"/>
                    <a:gd name="connsiteX41" fmla="*/ 11894 w 4501379"/>
                    <a:gd name="connsiteY41" fmla="*/ 1838325 h 4429294"/>
                    <a:gd name="connsiteX42" fmla="*/ 30944 w 4501379"/>
                    <a:gd name="connsiteY42" fmla="*/ 1781175 h 4429294"/>
                    <a:gd name="connsiteX43" fmla="*/ 40469 w 4501379"/>
                    <a:gd name="connsiteY43" fmla="*/ 1743075 h 4429294"/>
                    <a:gd name="connsiteX44" fmla="*/ 59519 w 4501379"/>
                    <a:gd name="connsiteY44" fmla="*/ 1685925 h 4429294"/>
                    <a:gd name="connsiteX45" fmla="*/ 69044 w 4501379"/>
                    <a:gd name="connsiteY45" fmla="*/ 1638300 h 4429294"/>
                    <a:gd name="connsiteX46" fmla="*/ 88094 w 4501379"/>
                    <a:gd name="connsiteY46" fmla="*/ 1590675 h 4429294"/>
                    <a:gd name="connsiteX47" fmla="*/ 116669 w 4501379"/>
                    <a:gd name="connsiteY47" fmla="*/ 1504950 h 4429294"/>
                    <a:gd name="connsiteX48" fmla="*/ 135719 w 4501379"/>
                    <a:gd name="connsiteY48" fmla="*/ 1419225 h 4429294"/>
                    <a:gd name="connsiteX49" fmla="*/ 211919 w 4501379"/>
                    <a:gd name="connsiteY49" fmla="*/ 1276350 h 4429294"/>
                    <a:gd name="connsiteX50" fmla="*/ 221444 w 4501379"/>
                    <a:gd name="connsiteY50" fmla="*/ 1247775 h 4429294"/>
                    <a:gd name="connsiteX51" fmla="*/ 250019 w 4501379"/>
                    <a:gd name="connsiteY51" fmla="*/ 1200150 h 4429294"/>
                    <a:gd name="connsiteX52" fmla="*/ 269069 w 4501379"/>
                    <a:gd name="connsiteY52" fmla="*/ 1152525 h 4429294"/>
                    <a:gd name="connsiteX53" fmla="*/ 297644 w 4501379"/>
                    <a:gd name="connsiteY53" fmla="*/ 1114425 h 4429294"/>
                    <a:gd name="connsiteX54" fmla="*/ 345269 w 4501379"/>
                    <a:gd name="connsiteY54" fmla="*/ 1038225 h 4429294"/>
                    <a:gd name="connsiteX55" fmla="*/ 364319 w 4501379"/>
                    <a:gd name="connsiteY55" fmla="*/ 1009650 h 4429294"/>
                    <a:gd name="connsiteX56" fmla="*/ 421469 w 4501379"/>
                    <a:gd name="connsiteY56" fmla="*/ 904875 h 4429294"/>
                    <a:gd name="connsiteX57" fmla="*/ 459569 w 4501379"/>
                    <a:gd name="connsiteY57" fmla="*/ 857250 h 4429294"/>
                    <a:gd name="connsiteX58" fmla="*/ 478619 w 4501379"/>
                    <a:gd name="connsiteY58" fmla="*/ 828675 h 4429294"/>
                    <a:gd name="connsiteX59" fmla="*/ 516719 w 4501379"/>
                    <a:gd name="connsiteY59" fmla="*/ 800100 h 4429294"/>
                    <a:gd name="connsiteX60" fmla="*/ 583394 w 4501379"/>
                    <a:gd name="connsiteY60" fmla="*/ 733425 h 4429294"/>
                    <a:gd name="connsiteX61" fmla="*/ 650069 w 4501379"/>
                    <a:gd name="connsiteY61" fmla="*/ 676275 h 4429294"/>
                    <a:gd name="connsiteX62" fmla="*/ 678644 w 4501379"/>
                    <a:gd name="connsiteY62" fmla="*/ 657225 h 4429294"/>
                    <a:gd name="connsiteX63" fmla="*/ 821519 w 4501379"/>
                    <a:gd name="connsiteY63" fmla="*/ 533400 h 4429294"/>
                    <a:gd name="connsiteX64" fmla="*/ 869144 w 4501379"/>
                    <a:gd name="connsiteY64" fmla="*/ 504825 h 4429294"/>
                    <a:gd name="connsiteX65" fmla="*/ 1148544 w 4501379"/>
                    <a:gd name="connsiteY65" fmla="*/ 311150 h 4429294"/>
                    <a:gd name="connsiteX66" fmla="*/ 1250144 w 4501379"/>
                    <a:gd name="connsiteY66" fmla="*/ 285750 h 4429294"/>
                    <a:gd name="connsiteX67" fmla="*/ 1393019 w 4501379"/>
                    <a:gd name="connsiteY67" fmla="*/ 190500 h 4429294"/>
                    <a:gd name="connsiteX68" fmla="*/ 1431119 w 4501379"/>
                    <a:gd name="connsiteY68" fmla="*/ 161925 h 4429294"/>
                    <a:gd name="connsiteX69" fmla="*/ 1507319 w 4501379"/>
                    <a:gd name="connsiteY69" fmla="*/ 152400 h 4429294"/>
                    <a:gd name="connsiteX70" fmla="*/ 1564469 w 4501379"/>
                    <a:gd name="connsiteY70" fmla="*/ 142875 h 4429294"/>
                    <a:gd name="connsiteX71" fmla="*/ 1697819 w 4501379"/>
                    <a:gd name="connsiteY71" fmla="*/ 123825 h 4429294"/>
                    <a:gd name="connsiteX72" fmla="*/ 1793069 w 4501379"/>
                    <a:gd name="connsiteY72" fmla="*/ 114300 h 4429294"/>
                    <a:gd name="connsiteX73" fmla="*/ 1840694 w 4501379"/>
                    <a:gd name="connsiteY73" fmla="*/ 104775 h 4429294"/>
                    <a:gd name="connsiteX74" fmla="*/ 1897844 w 4501379"/>
                    <a:gd name="connsiteY74" fmla="*/ 95250 h 4429294"/>
                    <a:gd name="connsiteX75" fmla="*/ 2012144 w 4501379"/>
                    <a:gd name="connsiteY75" fmla="*/ 66675 h 4429294"/>
                    <a:gd name="connsiteX76" fmla="*/ 2078819 w 4501379"/>
                    <a:gd name="connsiteY76" fmla="*/ 47625 h 4429294"/>
                    <a:gd name="connsiteX77" fmla="*/ 2145494 w 4501379"/>
                    <a:gd name="connsiteY7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393019 w 4501379"/>
                    <a:gd name="connsiteY66" fmla="*/ 190500 h 4429294"/>
                    <a:gd name="connsiteX67" fmla="*/ 1431119 w 4501379"/>
                    <a:gd name="connsiteY67" fmla="*/ 161925 h 4429294"/>
                    <a:gd name="connsiteX68" fmla="*/ 1507319 w 4501379"/>
                    <a:gd name="connsiteY68" fmla="*/ 152400 h 4429294"/>
                    <a:gd name="connsiteX69" fmla="*/ 1564469 w 4501379"/>
                    <a:gd name="connsiteY69" fmla="*/ 142875 h 4429294"/>
                    <a:gd name="connsiteX70" fmla="*/ 1697819 w 4501379"/>
                    <a:gd name="connsiteY70" fmla="*/ 123825 h 4429294"/>
                    <a:gd name="connsiteX71" fmla="*/ 1793069 w 4501379"/>
                    <a:gd name="connsiteY71" fmla="*/ 114300 h 4429294"/>
                    <a:gd name="connsiteX72" fmla="*/ 1840694 w 4501379"/>
                    <a:gd name="connsiteY72" fmla="*/ 104775 h 4429294"/>
                    <a:gd name="connsiteX73" fmla="*/ 1897844 w 4501379"/>
                    <a:gd name="connsiteY73" fmla="*/ 95250 h 4429294"/>
                    <a:gd name="connsiteX74" fmla="*/ 2012144 w 4501379"/>
                    <a:gd name="connsiteY74" fmla="*/ 66675 h 4429294"/>
                    <a:gd name="connsiteX75" fmla="*/ 2078819 w 4501379"/>
                    <a:gd name="connsiteY75" fmla="*/ 47625 h 4429294"/>
                    <a:gd name="connsiteX76" fmla="*/ 2145494 w 4501379"/>
                    <a:gd name="connsiteY7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431119 w 4501379"/>
                    <a:gd name="connsiteY66" fmla="*/ 161925 h 4429294"/>
                    <a:gd name="connsiteX67" fmla="*/ 1507319 w 4501379"/>
                    <a:gd name="connsiteY67" fmla="*/ 152400 h 4429294"/>
                    <a:gd name="connsiteX68" fmla="*/ 1564469 w 4501379"/>
                    <a:gd name="connsiteY68" fmla="*/ 142875 h 4429294"/>
                    <a:gd name="connsiteX69" fmla="*/ 1697819 w 4501379"/>
                    <a:gd name="connsiteY69" fmla="*/ 123825 h 4429294"/>
                    <a:gd name="connsiteX70" fmla="*/ 1793069 w 4501379"/>
                    <a:gd name="connsiteY70" fmla="*/ 114300 h 4429294"/>
                    <a:gd name="connsiteX71" fmla="*/ 1840694 w 4501379"/>
                    <a:gd name="connsiteY71" fmla="*/ 104775 h 4429294"/>
                    <a:gd name="connsiteX72" fmla="*/ 1897844 w 4501379"/>
                    <a:gd name="connsiteY72" fmla="*/ 95250 h 4429294"/>
                    <a:gd name="connsiteX73" fmla="*/ 2012144 w 4501379"/>
                    <a:gd name="connsiteY73" fmla="*/ 66675 h 4429294"/>
                    <a:gd name="connsiteX74" fmla="*/ 2078819 w 4501379"/>
                    <a:gd name="connsiteY74" fmla="*/ 47625 h 4429294"/>
                    <a:gd name="connsiteX75" fmla="*/ 2145494 w 4501379"/>
                    <a:gd name="connsiteY7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507319 w 4501379"/>
                    <a:gd name="connsiteY66" fmla="*/ 152400 h 4429294"/>
                    <a:gd name="connsiteX67" fmla="*/ 1564469 w 4501379"/>
                    <a:gd name="connsiteY67" fmla="*/ 142875 h 4429294"/>
                    <a:gd name="connsiteX68" fmla="*/ 1697819 w 4501379"/>
                    <a:gd name="connsiteY68" fmla="*/ 123825 h 4429294"/>
                    <a:gd name="connsiteX69" fmla="*/ 1793069 w 4501379"/>
                    <a:gd name="connsiteY69" fmla="*/ 114300 h 4429294"/>
                    <a:gd name="connsiteX70" fmla="*/ 1840694 w 4501379"/>
                    <a:gd name="connsiteY70" fmla="*/ 104775 h 4429294"/>
                    <a:gd name="connsiteX71" fmla="*/ 1897844 w 4501379"/>
                    <a:gd name="connsiteY71" fmla="*/ 95250 h 4429294"/>
                    <a:gd name="connsiteX72" fmla="*/ 2012144 w 4501379"/>
                    <a:gd name="connsiteY72" fmla="*/ 66675 h 4429294"/>
                    <a:gd name="connsiteX73" fmla="*/ 2078819 w 4501379"/>
                    <a:gd name="connsiteY73" fmla="*/ 47625 h 4429294"/>
                    <a:gd name="connsiteX74" fmla="*/ 2145494 w 4501379"/>
                    <a:gd name="connsiteY7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697819 w 4501379"/>
                    <a:gd name="connsiteY67" fmla="*/ 123825 h 4429294"/>
                    <a:gd name="connsiteX68" fmla="*/ 1793069 w 4501379"/>
                    <a:gd name="connsiteY68" fmla="*/ 114300 h 4429294"/>
                    <a:gd name="connsiteX69" fmla="*/ 1840694 w 4501379"/>
                    <a:gd name="connsiteY69" fmla="*/ 104775 h 4429294"/>
                    <a:gd name="connsiteX70" fmla="*/ 1897844 w 4501379"/>
                    <a:gd name="connsiteY70" fmla="*/ 95250 h 4429294"/>
                    <a:gd name="connsiteX71" fmla="*/ 2012144 w 4501379"/>
                    <a:gd name="connsiteY71" fmla="*/ 66675 h 4429294"/>
                    <a:gd name="connsiteX72" fmla="*/ 2078819 w 4501379"/>
                    <a:gd name="connsiteY72" fmla="*/ 47625 h 4429294"/>
                    <a:gd name="connsiteX73" fmla="*/ 2145494 w 4501379"/>
                    <a:gd name="connsiteY7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793069 w 4501379"/>
                    <a:gd name="connsiteY67" fmla="*/ 114300 h 4429294"/>
                    <a:gd name="connsiteX68" fmla="*/ 1840694 w 4501379"/>
                    <a:gd name="connsiteY68" fmla="*/ 104775 h 4429294"/>
                    <a:gd name="connsiteX69" fmla="*/ 1897844 w 4501379"/>
                    <a:gd name="connsiteY69" fmla="*/ 95250 h 4429294"/>
                    <a:gd name="connsiteX70" fmla="*/ 2012144 w 4501379"/>
                    <a:gd name="connsiteY70" fmla="*/ 66675 h 4429294"/>
                    <a:gd name="connsiteX71" fmla="*/ 2078819 w 4501379"/>
                    <a:gd name="connsiteY71" fmla="*/ 47625 h 4429294"/>
                    <a:gd name="connsiteX72" fmla="*/ 2145494 w 4501379"/>
                    <a:gd name="connsiteY7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40694 w 4501379"/>
                    <a:gd name="connsiteY67" fmla="*/ 104775 h 4429294"/>
                    <a:gd name="connsiteX68" fmla="*/ 1897844 w 4501379"/>
                    <a:gd name="connsiteY68" fmla="*/ 95250 h 4429294"/>
                    <a:gd name="connsiteX69" fmla="*/ 2012144 w 4501379"/>
                    <a:gd name="connsiteY69" fmla="*/ 66675 h 4429294"/>
                    <a:gd name="connsiteX70" fmla="*/ 2078819 w 4501379"/>
                    <a:gd name="connsiteY70" fmla="*/ 47625 h 4429294"/>
                    <a:gd name="connsiteX71" fmla="*/ 2145494 w 4501379"/>
                    <a:gd name="connsiteY7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97844 w 4501379"/>
                    <a:gd name="connsiteY67" fmla="*/ 95250 h 4429294"/>
                    <a:gd name="connsiteX68" fmla="*/ 2012144 w 4501379"/>
                    <a:gd name="connsiteY68" fmla="*/ 66675 h 4429294"/>
                    <a:gd name="connsiteX69" fmla="*/ 2078819 w 4501379"/>
                    <a:gd name="connsiteY69" fmla="*/ 47625 h 4429294"/>
                    <a:gd name="connsiteX70" fmla="*/ 2145494 w 4501379"/>
                    <a:gd name="connsiteY7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12144 w 4501379"/>
                    <a:gd name="connsiteY67" fmla="*/ 66675 h 4429294"/>
                    <a:gd name="connsiteX68" fmla="*/ 2078819 w 4501379"/>
                    <a:gd name="connsiteY68" fmla="*/ 47625 h 4429294"/>
                    <a:gd name="connsiteX69" fmla="*/ 2145494 w 4501379"/>
                    <a:gd name="connsiteY6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78819 w 4501379"/>
                    <a:gd name="connsiteY67" fmla="*/ 47625 h 4429294"/>
                    <a:gd name="connsiteX68" fmla="*/ 2145494 w 4501379"/>
                    <a:gd name="connsiteY6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145494 w 4501379"/>
                    <a:gd name="connsiteY6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621619 w 4501379"/>
                    <a:gd name="connsiteY66" fmla="*/ 11112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678644 w 4501379"/>
                    <a:gd name="connsiteY60" fmla="*/ 657225 h 4429294"/>
                    <a:gd name="connsiteX61" fmla="*/ 821519 w 4501379"/>
                    <a:gd name="connsiteY61" fmla="*/ 533400 h 4429294"/>
                    <a:gd name="connsiteX62" fmla="*/ 869144 w 4501379"/>
                    <a:gd name="connsiteY62" fmla="*/ 504825 h 4429294"/>
                    <a:gd name="connsiteX63" fmla="*/ 1148544 w 4501379"/>
                    <a:gd name="connsiteY63" fmla="*/ 311150 h 4429294"/>
                    <a:gd name="connsiteX64" fmla="*/ 1507319 w 4501379"/>
                    <a:gd name="connsiteY64" fmla="*/ 152400 h 4429294"/>
                    <a:gd name="connsiteX65" fmla="*/ 1621619 w 4501379"/>
                    <a:gd name="connsiteY65" fmla="*/ 111125 h 4429294"/>
                    <a:gd name="connsiteX66" fmla="*/ 2253444 w 4501379"/>
                    <a:gd name="connsiteY6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21519 w 4501379"/>
                    <a:gd name="connsiteY60" fmla="*/ 533400 h 4429294"/>
                    <a:gd name="connsiteX61" fmla="*/ 869144 w 4501379"/>
                    <a:gd name="connsiteY61" fmla="*/ 504825 h 4429294"/>
                    <a:gd name="connsiteX62" fmla="*/ 1148544 w 4501379"/>
                    <a:gd name="connsiteY62" fmla="*/ 311150 h 4429294"/>
                    <a:gd name="connsiteX63" fmla="*/ 1507319 w 4501379"/>
                    <a:gd name="connsiteY63" fmla="*/ 152400 h 4429294"/>
                    <a:gd name="connsiteX64" fmla="*/ 1621619 w 4501379"/>
                    <a:gd name="connsiteY64" fmla="*/ 111125 h 4429294"/>
                    <a:gd name="connsiteX65" fmla="*/ 2253444 w 4501379"/>
                    <a:gd name="connsiteY6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69144 w 4501379"/>
                    <a:gd name="connsiteY60" fmla="*/ 504825 h 4429294"/>
                    <a:gd name="connsiteX61" fmla="*/ 1148544 w 4501379"/>
                    <a:gd name="connsiteY61" fmla="*/ 311150 h 4429294"/>
                    <a:gd name="connsiteX62" fmla="*/ 1507319 w 4501379"/>
                    <a:gd name="connsiteY62" fmla="*/ 152400 h 4429294"/>
                    <a:gd name="connsiteX63" fmla="*/ 1621619 w 4501379"/>
                    <a:gd name="connsiteY63" fmla="*/ 111125 h 4429294"/>
                    <a:gd name="connsiteX64" fmla="*/ 2253444 w 4501379"/>
                    <a:gd name="connsiteY6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64319 w 4501379"/>
                    <a:gd name="connsiteY53" fmla="*/ 1009650 h 4429294"/>
                    <a:gd name="connsiteX54" fmla="*/ 421469 w 4501379"/>
                    <a:gd name="connsiteY54" fmla="*/ 904875 h 4429294"/>
                    <a:gd name="connsiteX55" fmla="*/ 459569 w 4501379"/>
                    <a:gd name="connsiteY55" fmla="*/ 857250 h 4429294"/>
                    <a:gd name="connsiteX56" fmla="*/ 478619 w 4501379"/>
                    <a:gd name="connsiteY56" fmla="*/ 828675 h 4429294"/>
                    <a:gd name="connsiteX57" fmla="*/ 516719 w 4501379"/>
                    <a:gd name="connsiteY57" fmla="*/ 800100 h 4429294"/>
                    <a:gd name="connsiteX58" fmla="*/ 650069 w 4501379"/>
                    <a:gd name="connsiteY58" fmla="*/ 676275 h 4429294"/>
                    <a:gd name="connsiteX59" fmla="*/ 869144 w 4501379"/>
                    <a:gd name="connsiteY59" fmla="*/ 504825 h 4429294"/>
                    <a:gd name="connsiteX60" fmla="*/ 1148544 w 4501379"/>
                    <a:gd name="connsiteY60" fmla="*/ 311150 h 4429294"/>
                    <a:gd name="connsiteX61" fmla="*/ 1507319 w 4501379"/>
                    <a:gd name="connsiteY61" fmla="*/ 152400 h 4429294"/>
                    <a:gd name="connsiteX62" fmla="*/ 1621619 w 4501379"/>
                    <a:gd name="connsiteY62" fmla="*/ 111125 h 4429294"/>
                    <a:gd name="connsiteX63" fmla="*/ 2253444 w 4501379"/>
                    <a:gd name="connsiteY63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21469 w 4501379"/>
                    <a:gd name="connsiteY53" fmla="*/ 904875 h 4429294"/>
                    <a:gd name="connsiteX54" fmla="*/ 459569 w 4501379"/>
                    <a:gd name="connsiteY54" fmla="*/ 857250 h 4429294"/>
                    <a:gd name="connsiteX55" fmla="*/ 478619 w 4501379"/>
                    <a:gd name="connsiteY55" fmla="*/ 828675 h 4429294"/>
                    <a:gd name="connsiteX56" fmla="*/ 516719 w 4501379"/>
                    <a:gd name="connsiteY56" fmla="*/ 800100 h 4429294"/>
                    <a:gd name="connsiteX57" fmla="*/ 650069 w 4501379"/>
                    <a:gd name="connsiteY57" fmla="*/ 676275 h 4429294"/>
                    <a:gd name="connsiteX58" fmla="*/ 869144 w 4501379"/>
                    <a:gd name="connsiteY58" fmla="*/ 504825 h 4429294"/>
                    <a:gd name="connsiteX59" fmla="*/ 1148544 w 4501379"/>
                    <a:gd name="connsiteY59" fmla="*/ 311150 h 4429294"/>
                    <a:gd name="connsiteX60" fmla="*/ 1507319 w 4501379"/>
                    <a:gd name="connsiteY60" fmla="*/ 152400 h 4429294"/>
                    <a:gd name="connsiteX61" fmla="*/ 1621619 w 4501379"/>
                    <a:gd name="connsiteY61" fmla="*/ 111125 h 4429294"/>
                    <a:gd name="connsiteX62" fmla="*/ 2253444 w 4501379"/>
                    <a:gd name="connsiteY62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478619 w 4501379"/>
                    <a:gd name="connsiteY54" fmla="*/ 828675 h 4429294"/>
                    <a:gd name="connsiteX55" fmla="*/ 516719 w 4501379"/>
                    <a:gd name="connsiteY55" fmla="*/ 800100 h 4429294"/>
                    <a:gd name="connsiteX56" fmla="*/ 650069 w 4501379"/>
                    <a:gd name="connsiteY56" fmla="*/ 676275 h 4429294"/>
                    <a:gd name="connsiteX57" fmla="*/ 869144 w 4501379"/>
                    <a:gd name="connsiteY57" fmla="*/ 504825 h 4429294"/>
                    <a:gd name="connsiteX58" fmla="*/ 1148544 w 4501379"/>
                    <a:gd name="connsiteY58" fmla="*/ 311150 h 4429294"/>
                    <a:gd name="connsiteX59" fmla="*/ 1507319 w 4501379"/>
                    <a:gd name="connsiteY59" fmla="*/ 152400 h 4429294"/>
                    <a:gd name="connsiteX60" fmla="*/ 1621619 w 4501379"/>
                    <a:gd name="connsiteY60" fmla="*/ 111125 h 4429294"/>
                    <a:gd name="connsiteX61" fmla="*/ 2253444 w 4501379"/>
                    <a:gd name="connsiteY61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516719 w 4501379"/>
                    <a:gd name="connsiteY54" fmla="*/ 800100 h 4429294"/>
                    <a:gd name="connsiteX55" fmla="*/ 650069 w 4501379"/>
                    <a:gd name="connsiteY55" fmla="*/ 676275 h 4429294"/>
                    <a:gd name="connsiteX56" fmla="*/ 869144 w 4501379"/>
                    <a:gd name="connsiteY56" fmla="*/ 504825 h 4429294"/>
                    <a:gd name="connsiteX57" fmla="*/ 1148544 w 4501379"/>
                    <a:gd name="connsiteY57" fmla="*/ 311150 h 4429294"/>
                    <a:gd name="connsiteX58" fmla="*/ 1507319 w 4501379"/>
                    <a:gd name="connsiteY58" fmla="*/ 152400 h 4429294"/>
                    <a:gd name="connsiteX59" fmla="*/ 1621619 w 4501379"/>
                    <a:gd name="connsiteY59" fmla="*/ 111125 h 4429294"/>
                    <a:gd name="connsiteX60" fmla="*/ 2253444 w 4501379"/>
                    <a:gd name="connsiteY60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69069 w 4501379"/>
                    <a:gd name="connsiteY50" fmla="*/ 1152525 h 4429294"/>
                    <a:gd name="connsiteX51" fmla="*/ 297644 w 4501379"/>
                    <a:gd name="connsiteY51" fmla="*/ 1114425 h 4429294"/>
                    <a:gd name="connsiteX52" fmla="*/ 459569 w 4501379"/>
                    <a:gd name="connsiteY52" fmla="*/ 857250 h 4429294"/>
                    <a:gd name="connsiteX53" fmla="*/ 516719 w 4501379"/>
                    <a:gd name="connsiteY53" fmla="*/ 800100 h 4429294"/>
                    <a:gd name="connsiteX54" fmla="*/ 650069 w 4501379"/>
                    <a:gd name="connsiteY54" fmla="*/ 676275 h 4429294"/>
                    <a:gd name="connsiteX55" fmla="*/ 869144 w 4501379"/>
                    <a:gd name="connsiteY55" fmla="*/ 504825 h 4429294"/>
                    <a:gd name="connsiteX56" fmla="*/ 1148544 w 4501379"/>
                    <a:gd name="connsiteY56" fmla="*/ 311150 h 4429294"/>
                    <a:gd name="connsiteX57" fmla="*/ 1507319 w 4501379"/>
                    <a:gd name="connsiteY57" fmla="*/ 152400 h 4429294"/>
                    <a:gd name="connsiteX58" fmla="*/ 1621619 w 4501379"/>
                    <a:gd name="connsiteY58" fmla="*/ 111125 h 4429294"/>
                    <a:gd name="connsiteX59" fmla="*/ 2253444 w 4501379"/>
                    <a:gd name="connsiteY59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97644 w 4501379"/>
                    <a:gd name="connsiteY50" fmla="*/ 1114425 h 4429294"/>
                    <a:gd name="connsiteX51" fmla="*/ 459569 w 4501379"/>
                    <a:gd name="connsiteY51" fmla="*/ 857250 h 4429294"/>
                    <a:gd name="connsiteX52" fmla="*/ 516719 w 4501379"/>
                    <a:gd name="connsiteY52" fmla="*/ 800100 h 4429294"/>
                    <a:gd name="connsiteX53" fmla="*/ 650069 w 4501379"/>
                    <a:gd name="connsiteY53" fmla="*/ 676275 h 4429294"/>
                    <a:gd name="connsiteX54" fmla="*/ 869144 w 4501379"/>
                    <a:gd name="connsiteY54" fmla="*/ 504825 h 4429294"/>
                    <a:gd name="connsiteX55" fmla="*/ 1148544 w 4501379"/>
                    <a:gd name="connsiteY55" fmla="*/ 311150 h 4429294"/>
                    <a:gd name="connsiteX56" fmla="*/ 1507319 w 4501379"/>
                    <a:gd name="connsiteY56" fmla="*/ 152400 h 4429294"/>
                    <a:gd name="connsiteX57" fmla="*/ 1621619 w 4501379"/>
                    <a:gd name="connsiteY57" fmla="*/ 111125 h 4429294"/>
                    <a:gd name="connsiteX58" fmla="*/ 2253444 w 4501379"/>
                    <a:gd name="connsiteY58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97644 w 4501379"/>
                    <a:gd name="connsiteY49" fmla="*/ 1114425 h 4429294"/>
                    <a:gd name="connsiteX50" fmla="*/ 459569 w 4501379"/>
                    <a:gd name="connsiteY50" fmla="*/ 857250 h 4429294"/>
                    <a:gd name="connsiteX51" fmla="*/ 516719 w 4501379"/>
                    <a:gd name="connsiteY51" fmla="*/ 800100 h 4429294"/>
                    <a:gd name="connsiteX52" fmla="*/ 650069 w 4501379"/>
                    <a:gd name="connsiteY52" fmla="*/ 676275 h 4429294"/>
                    <a:gd name="connsiteX53" fmla="*/ 869144 w 4501379"/>
                    <a:gd name="connsiteY53" fmla="*/ 504825 h 4429294"/>
                    <a:gd name="connsiteX54" fmla="*/ 1148544 w 4501379"/>
                    <a:gd name="connsiteY54" fmla="*/ 311150 h 4429294"/>
                    <a:gd name="connsiteX55" fmla="*/ 1507319 w 4501379"/>
                    <a:gd name="connsiteY55" fmla="*/ 152400 h 4429294"/>
                    <a:gd name="connsiteX56" fmla="*/ 1621619 w 4501379"/>
                    <a:gd name="connsiteY56" fmla="*/ 111125 h 4429294"/>
                    <a:gd name="connsiteX57" fmla="*/ 2253444 w 4501379"/>
                    <a:gd name="connsiteY5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35719 w 4501379"/>
                    <a:gd name="connsiteY46" fmla="*/ 1419225 h 4429294"/>
                    <a:gd name="connsiteX47" fmla="*/ 211919 w 4501379"/>
                    <a:gd name="connsiteY47" fmla="*/ 1276350 h 4429294"/>
                    <a:gd name="connsiteX48" fmla="*/ 297644 w 4501379"/>
                    <a:gd name="connsiteY48" fmla="*/ 1114425 h 4429294"/>
                    <a:gd name="connsiteX49" fmla="*/ 459569 w 4501379"/>
                    <a:gd name="connsiteY49" fmla="*/ 857250 h 4429294"/>
                    <a:gd name="connsiteX50" fmla="*/ 516719 w 4501379"/>
                    <a:gd name="connsiteY50" fmla="*/ 800100 h 4429294"/>
                    <a:gd name="connsiteX51" fmla="*/ 650069 w 4501379"/>
                    <a:gd name="connsiteY51" fmla="*/ 676275 h 4429294"/>
                    <a:gd name="connsiteX52" fmla="*/ 869144 w 4501379"/>
                    <a:gd name="connsiteY52" fmla="*/ 504825 h 4429294"/>
                    <a:gd name="connsiteX53" fmla="*/ 1148544 w 4501379"/>
                    <a:gd name="connsiteY53" fmla="*/ 311150 h 4429294"/>
                    <a:gd name="connsiteX54" fmla="*/ 1507319 w 4501379"/>
                    <a:gd name="connsiteY54" fmla="*/ 152400 h 4429294"/>
                    <a:gd name="connsiteX55" fmla="*/ 1621619 w 4501379"/>
                    <a:gd name="connsiteY55" fmla="*/ 111125 h 4429294"/>
                    <a:gd name="connsiteX56" fmla="*/ 2253444 w 4501379"/>
                    <a:gd name="connsiteY5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88094 w 4501379"/>
                    <a:gd name="connsiteY44" fmla="*/ 1590675 h 4429294"/>
                    <a:gd name="connsiteX45" fmla="*/ 135719 w 4501379"/>
                    <a:gd name="connsiteY45" fmla="*/ 1419225 h 4429294"/>
                    <a:gd name="connsiteX46" fmla="*/ 211919 w 4501379"/>
                    <a:gd name="connsiteY46" fmla="*/ 1276350 h 4429294"/>
                    <a:gd name="connsiteX47" fmla="*/ 297644 w 4501379"/>
                    <a:gd name="connsiteY47" fmla="*/ 1114425 h 4429294"/>
                    <a:gd name="connsiteX48" fmla="*/ 459569 w 4501379"/>
                    <a:gd name="connsiteY48" fmla="*/ 857250 h 4429294"/>
                    <a:gd name="connsiteX49" fmla="*/ 516719 w 4501379"/>
                    <a:gd name="connsiteY49" fmla="*/ 800100 h 4429294"/>
                    <a:gd name="connsiteX50" fmla="*/ 650069 w 4501379"/>
                    <a:gd name="connsiteY50" fmla="*/ 676275 h 4429294"/>
                    <a:gd name="connsiteX51" fmla="*/ 869144 w 4501379"/>
                    <a:gd name="connsiteY51" fmla="*/ 504825 h 4429294"/>
                    <a:gd name="connsiteX52" fmla="*/ 1148544 w 4501379"/>
                    <a:gd name="connsiteY52" fmla="*/ 311150 h 4429294"/>
                    <a:gd name="connsiteX53" fmla="*/ 1507319 w 4501379"/>
                    <a:gd name="connsiteY53" fmla="*/ 152400 h 4429294"/>
                    <a:gd name="connsiteX54" fmla="*/ 1621619 w 4501379"/>
                    <a:gd name="connsiteY54" fmla="*/ 111125 h 4429294"/>
                    <a:gd name="connsiteX55" fmla="*/ 2253444 w 4501379"/>
                    <a:gd name="connsiteY5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88094 w 4501379"/>
                    <a:gd name="connsiteY43" fmla="*/ 1590675 h 4429294"/>
                    <a:gd name="connsiteX44" fmla="*/ 135719 w 4501379"/>
                    <a:gd name="connsiteY44" fmla="*/ 1419225 h 4429294"/>
                    <a:gd name="connsiteX45" fmla="*/ 211919 w 4501379"/>
                    <a:gd name="connsiteY45" fmla="*/ 1276350 h 4429294"/>
                    <a:gd name="connsiteX46" fmla="*/ 297644 w 4501379"/>
                    <a:gd name="connsiteY46" fmla="*/ 1114425 h 4429294"/>
                    <a:gd name="connsiteX47" fmla="*/ 459569 w 4501379"/>
                    <a:gd name="connsiteY47" fmla="*/ 857250 h 4429294"/>
                    <a:gd name="connsiteX48" fmla="*/ 516719 w 4501379"/>
                    <a:gd name="connsiteY48" fmla="*/ 800100 h 4429294"/>
                    <a:gd name="connsiteX49" fmla="*/ 650069 w 4501379"/>
                    <a:gd name="connsiteY49" fmla="*/ 676275 h 4429294"/>
                    <a:gd name="connsiteX50" fmla="*/ 869144 w 4501379"/>
                    <a:gd name="connsiteY50" fmla="*/ 504825 h 4429294"/>
                    <a:gd name="connsiteX51" fmla="*/ 1148544 w 4501379"/>
                    <a:gd name="connsiteY51" fmla="*/ 311150 h 4429294"/>
                    <a:gd name="connsiteX52" fmla="*/ 1507319 w 4501379"/>
                    <a:gd name="connsiteY52" fmla="*/ 152400 h 4429294"/>
                    <a:gd name="connsiteX53" fmla="*/ 1621619 w 4501379"/>
                    <a:gd name="connsiteY53" fmla="*/ 111125 h 4429294"/>
                    <a:gd name="connsiteX54" fmla="*/ 2253444 w 4501379"/>
                    <a:gd name="connsiteY5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88094 w 4501379"/>
                    <a:gd name="connsiteY42" fmla="*/ 1590675 h 4429294"/>
                    <a:gd name="connsiteX43" fmla="*/ 135719 w 4501379"/>
                    <a:gd name="connsiteY43" fmla="*/ 1419225 h 4429294"/>
                    <a:gd name="connsiteX44" fmla="*/ 211919 w 4501379"/>
                    <a:gd name="connsiteY44" fmla="*/ 1276350 h 4429294"/>
                    <a:gd name="connsiteX45" fmla="*/ 297644 w 4501379"/>
                    <a:gd name="connsiteY45" fmla="*/ 1114425 h 4429294"/>
                    <a:gd name="connsiteX46" fmla="*/ 459569 w 4501379"/>
                    <a:gd name="connsiteY46" fmla="*/ 857250 h 4429294"/>
                    <a:gd name="connsiteX47" fmla="*/ 516719 w 4501379"/>
                    <a:gd name="connsiteY47" fmla="*/ 800100 h 4429294"/>
                    <a:gd name="connsiteX48" fmla="*/ 650069 w 4501379"/>
                    <a:gd name="connsiteY48" fmla="*/ 676275 h 4429294"/>
                    <a:gd name="connsiteX49" fmla="*/ 869144 w 4501379"/>
                    <a:gd name="connsiteY49" fmla="*/ 504825 h 4429294"/>
                    <a:gd name="connsiteX50" fmla="*/ 1148544 w 4501379"/>
                    <a:gd name="connsiteY50" fmla="*/ 311150 h 4429294"/>
                    <a:gd name="connsiteX51" fmla="*/ 1507319 w 4501379"/>
                    <a:gd name="connsiteY51" fmla="*/ 152400 h 4429294"/>
                    <a:gd name="connsiteX52" fmla="*/ 1621619 w 4501379"/>
                    <a:gd name="connsiteY52" fmla="*/ 111125 h 4429294"/>
                    <a:gd name="connsiteX53" fmla="*/ 2253444 w 4501379"/>
                    <a:gd name="connsiteY53" fmla="*/ 12700 h 4429294"/>
                    <a:gd name="connsiteX0" fmla="*/ 2277090 w 4499625"/>
                    <a:gd name="connsiteY0" fmla="*/ 0 h 4429294"/>
                    <a:gd name="connsiteX1" fmla="*/ 2600940 w 4499625"/>
                    <a:gd name="connsiteY1" fmla="*/ 15875 h 4429294"/>
                    <a:gd name="connsiteX2" fmla="*/ 2896215 w 4499625"/>
                    <a:gd name="connsiteY2" fmla="*/ 85725 h 4429294"/>
                    <a:gd name="connsiteX3" fmla="*/ 3115290 w 4499625"/>
                    <a:gd name="connsiteY3" fmla="*/ 171450 h 4429294"/>
                    <a:gd name="connsiteX4" fmla="*/ 3220065 w 4499625"/>
                    <a:gd name="connsiteY4" fmla="*/ 228600 h 4429294"/>
                    <a:gd name="connsiteX5" fmla="*/ 3401040 w 4499625"/>
                    <a:gd name="connsiteY5" fmla="*/ 323850 h 4429294"/>
                    <a:gd name="connsiteX6" fmla="*/ 3791565 w 4499625"/>
                    <a:gd name="connsiteY6" fmla="*/ 581025 h 4429294"/>
                    <a:gd name="connsiteX7" fmla="*/ 4007465 w 4499625"/>
                    <a:gd name="connsiteY7" fmla="*/ 819150 h 4429294"/>
                    <a:gd name="connsiteX8" fmla="*/ 4143990 w 4499625"/>
                    <a:gd name="connsiteY8" fmla="*/ 990600 h 4429294"/>
                    <a:gd name="connsiteX9" fmla="*/ 4229715 w 4499625"/>
                    <a:gd name="connsiteY9" fmla="*/ 1143000 h 4429294"/>
                    <a:gd name="connsiteX10" fmla="*/ 4286865 w 4499625"/>
                    <a:gd name="connsiteY10" fmla="*/ 1266825 h 4429294"/>
                    <a:gd name="connsiteX11" fmla="*/ 4324965 w 4499625"/>
                    <a:gd name="connsiteY11" fmla="*/ 1362075 h 4429294"/>
                    <a:gd name="connsiteX12" fmla="*/ 4372590 w 4499625"/>
                    <a:gd name="connsiteY12" fmla="*/ 1552575 h 4429294"/>
                    <a:gd name="connsiteX13" fmla="*/ 4410690 w 4499625"/>
                    <a:gd name="connsiteY13" fmla="*/ 1685925 h 4429294"/>
                    <a:gd name="connsiteX14" fmla="*/ 4499590 w 4499625"/>
                    <a:gd name="connsiteY14" fmla="*/ 2181225 h 4429294"/>
                    <a:gd name="connsiteX15" fmla="*/ 4426565 w 4499625"/>
                    <a:gd name="connsiteY15" fmla="*/ 2768600 h 4429294"/>
                    <a:gd name="connsiteX16" fmla="*/ 4363065 w 4499625"/>
                    <a:gd name="connsiteY16" fmla="*/ 2990850 h 4429294"/>
                    <a:gd name="connsiteX17" fmla="*/ 4258290 w 4499625"/>
                    <a:gd name="connsiteY17" fmla="*/ 3248025 h 4429294"/>
                    <a:gd name="connsiteX18" fmla="*/ 4163040 w 4499625"/>
                    <a:gd name="connsiteY18" fmla="*/ 3400425 h 4429294"/>
                    <a:gd name="connsiteX19" fmla="*/ 4039215 w 4499625"/>
                    <a:gd name="connsiteY19" fmla="*/ 3533775 h 4429294"/>
                    <a:gd name="connsiteX20" fmla="*/ 3934440 w 4499625"/>
                    <a:gd name="connsiteY20" fmla="*/ 3648075 h 4429294"/>
                    <a:gd name="connsiteX21" fmla="*/ 3639165 w 4499625"/>
                    <a:gd name="connsiteY21" fmla="*/ 3971925 h 4429294"/>
                    <a:gd name="connsiteX22" fmla="*/ 3496290 w 4499625"/>
                    <a:gd name="connsiteY22" fmla="*/ 4083050 h 4429294"/>
                    <a:gd name="connsiteX23" fmla="*/ 3201015 w 4499625"/>
                    <a:gd name="connsiteY23" fmla="*/ 4222750 h 4429294"/>
                    <a:gd name="connsiteX24" fmla="*/ 3048615 w 4499625"/>
                    <a:gd name="connsiteY24" fmla="*/ 4286250 h 4429294"/>
                    <a:gd name="connsiteX25" fmla="*/ 2915265 w 4499625"/>
                    <a:gd name="connsiteY25" fmla="*/ 4333875 h 4429294"/>
                    <a:gd name="connsiteX26" fmla="*/ 2791440 w 4499625"/>
                    <a:gd name="connsiteY26" fmla="*/ 4371975 h 4429294"/>
                    <a:gd name="connsiteX27" fmla="*/ 2559665 w 4499625"/>
                    <a:gd name="connsiteY27" fmla="*/ 4391025 h 4429294"/>
                    <a:gd name="connsiteX28" fmla="*/ 2105640 w 4499625"/>
                    <a:gd name="connsiteY28" fmla="*/ 4429125 h 4429294"/>
                    <a:gd name="connsiteX29" fmla="*/ 1915140 w 4499625"/>
                    <a:gd name="connsiteY29" fmla="*/ 4400550 h 4429294"/>
                    <a:gd name="connsiteX30" fmla="*/ 1553190 w 4499625"/>
                    <a:gd name="connsiteY30" fmla="*/ 4305300 h 4429294"/>
                    <a:gd name="connsiteX31" fmla="*/ 1311890 w 4499625"/>
                    <a:gd name="connsiteY31" fmla="*/ 4216400 h 4429294"/>
                    <a:gd name="connsiteX32" fmla="*/ 1143615 w 4499625"/>
                    <a:gd name="connsiteY32" fmla="*/ 4111625 h 4429294"/>
                    <a:gd name="connsiteX33" fmla="*/ 924540 w 4499625"/>
                    <a:gd name="connsiteY33" fmla="*/ 3968750 h 4429294"/>
                    <a:gd name="connsiteX34" fmla="*/ 591165 w 4499625"/>
                    <a:gd name="connsiteY34" fmla="*/ 3657600 h 4429294"/>
                    <a:gd name="connsiteX35" fmla="*/ 445115 w 4499625"/>
                    <a:gd name="connsiteY35" fmla="*/ 3470275 h 4429294"/>
                    <a:gd name="connsiteX36" fmla="*/ 314940 w 4499625"/>
                    <a:gd name="connsiteY36" fmla="*/ 3244850 h 4429294"/>
                    <a:gd name="connsiteX37" fmla="*/ 162540 w 4499625"/>
                    <a:gd name="connsiteY37" fmla="*/ 2892425 h 4429294"/>
                    <a:gd name="connsiteX38" fmla="*/ 54590 w 4499625"/>
                    <a:gd name="connsiteY38" fmla="*/ 2368550 h 4429294"/>
                    <a:gd name="connsiteX39" fmla="*/ 615 w 4499625"/>
                    <a:gd name="connsiteY39" fmla="*/ 1905000 h 4429294"/>
                    <a:gd name="connsiteX40" fmla="*/ 29190 w 4499625"/>
                    <a:gd name="connsiteY40" fmla="*/ 1781175 h 4429294"/>
                    <a:gd name="connsiteX41" fmla="*/ 86340 w 4499625"/>
                    <a:gd name="connsiteY41" fmla="*/ 1590675 h 4429294"/>
                    <a:gd name="connsiteX42" fmla="*/ 133965 w 4499625"/>
                    <a:gd name="connsiteY42" fmla="*/ 1419225 h 4429294"/>
                    <a:gd name="connsiteX43" fmla="*/ 210165 w 4499625"/>
                    <a:gd name="connsiteY43" fmla="*/ 1276350 h 4429294"/>
                    <a:gd name="connsiteX44" fmla="*/ 295890 w 4499625"/>
                    <a:gd name="connsiteY44" fmla="*/ 1114425 h 4429294"/>
                    <a:gd name="connsiteX45" fmla="*/ 457815 w 4499625"/>
                    <a:gd name="connsiteY45" fmla="*/ 857250 h 4429294"/>
                    <a:gd name="connsiteX46" fmla="*/ 514965 w 4499625"/>
                    <a:gd name="connsiteY46" fmla="*/ 800100 h 4429294"/>
                    <a:gd name="connsiteX47" fmla="*/ 648315 w 4499625"/>
                    <a:gd name="connsiteY47" fmla="*/ 676275 h 4429294"/>
                    <a:gd name="connsiteX48" fmla="*/ 867390 w 4499625"/>
                    <a:gd name="connsiteY48" fmla="*/ 504825 h 4429294"/>
                    <a:gd name="connsiteX49" fmla="*/ 1146790 w 4499625"/>
                    <a:gd name="connsiteY49" fmla="*/ 311150 h 4429294"/>
                    <a:gd name="connsiteX50" fmla="*/ 1505565 w 4499625"/>
                    <a:gd name="connsiteY50" fmla="*/ 152400 h 4429294"/>
                    <a:gd name="connsiteX51" fmla="*/ 1619865 w 4499625"/>
                    <a:gd name="connsiteY51" fmla="*/ 111125 h 4429294"/>
                    <a:gd name="connsiteX52" fmla="*/ 2251690 w 4499625"/>
                    <a:gd name="connsiteY52" fmla="*/ 12700 h 4429294"/>
                    <a:gd name="connsiteX0" fmla="*/ 2249427 w 4471962"/>
                    <a:gd name="connsiteY0" fmla="*/ 0 h 4429294"/>
                    <a:gd name="connsiteX1" fmla="*/ 2573277 w 4471962"/>
                    <a:gd name="connsiteY1" fmla="*/ 15875 h 4429294"/>
                    <a:gd name="connsiteX2" fmla="*/ 2868552 w 4471962"/>
                    <a:gd name="connsiteY2" fmla="*/ 85725 h 4429294"/>
                    <a:gd name="connsiteX3" fmla="*/ 3087627 w 4471962"/>
                    <a:gd name="connsiteY3" fmla="*/ 171450 h 4429294"/>
                    <a:gd name="connsiteX4" fmla="*/ 3192402 w 4471962"/>
                    <a:gd name="connsiteY4" fmla="*/ 228600 h 4429294"/>
                    <a:gd name="connsiteX5" fmla="*/ 3373377 w 4471962"/>
                    <a:gd name="connsiteY5" fmla="*/ 323850 h 4429294"/>
                    <a:gd name="connsiteX6" fmla="*/ 3763902 w 4471962"/>
                    <a:gd name="connsiteY6" fmla="*/ 581025 h 4429294"/>
                    <a:gd name="connsiteX7" fmla="*/ 3979802 w 4471962"/>
                    <a:gd name="connsiteY7" fmla="*/ 819150 h 4429294"/>
                    <a:gd name="connsiteX8" fmla="*/ 4116327 w 4471962"/>
                    <a:gd name="connsiteY8" fmla="*/ 990600 h 4429294"/>
                    <a:gd name="connsiteX9" fmla="*/ 4202052 w 4471962"/>
                    <a:gd name="connsiteY9" fmla="*/ 1143000 h 4429294"/>
                    <a:gd name="connsiteX10" fmla="*/ 4259202 w 4471962"/>
                    <a:gd name="connsiteY10" fmla="*/ 1266825 h 4429294"/>
                    <a:gd name="connsiteX11" fmla="*/ 4297302 w 4471962"/>
                    <a:gd name="connsiteY11" fmla="*/ 1362075 h 4429294"/>
                    <a:gd name="connsiteX12" fmla="*/ 4344927 w 4471962"/>
                    <a:gd name="connsiteY12" fmla="*/ 1552575 h 4429294"/>
                    <a:gd name="connsiteX13" fmla="*/ 4383027 w 4471962"/>
                    <a:gd name="connsiteY13" fmla="*/ 1685925 h 4429294"/>
                    <a:gd name="connsiteX14" fmla="*/ 4471927 w 4471962"/>
                    <a:gd name="connsiteY14" fmla="*/ 2181225 h 4429294"/>
                    <a:gd name="connsiteX15" fmla="*/ 4398902 w 4471962"/>
                    <a:gd name="connsiteY15" fmla="*/ 2768600 h 4429294"/>
                    <a:gd name="connsiteX16" fmla="*/ 4335402 w 4471962"/>
                    <a:gd name="connsiteY16" fmla="*/ 2990850 h 4429294"/>
                    <a:gd name="connsiteX17" fmla="*/ 4230627 w 4471962"/>
                    <a:gd name="connsiteY17" fmla="*/ 3248025 h 4429294"/>
                    <a:gd name="connsiteX18" fmla="*/ 4135377 w 4471962"/>
                    <a:gd name="connsiteY18" fmla="*/ 3400425 h 4429294"/>
                    <a:gd name="connsiteX19" fmla="*/ 4011552 w 4471962"/>
                    <a:gd name="connsiteY19" fmla="*/ 3533775 h 4429294"/>
                    <a:gd name="connsiteX20" fmla="*/ 3906777 w 4471962"/>
                    <a:gd name="connsiteY20" fmla="*/ 3648075 h 4429294"/>
                    <a:gd name="connsiteX21" fmla="*/ 3611502 w 4471962"/>
                    <a:gd name="connsiteY21" fmla="*/ 3971925 h 4429294"/>
                    <a:gd name="connsiteX22" fmla="*/ 3468627 w 4471962"/>
                    <a:gd name="connsiteY22" fmla="*/ 4083050 h 4429294"/>
                    <a:gd name="connsiteX23" fmla="*/ 3173352 w 4471962"/>
                    <a:gd name="connsiteY23" fmla="*/ 4222750 h 4429294"/>
                    <a:gd name="connsiteX24" fmla="*/ 3020952 w 4471962"/>
                    <a:gd name="connsiteY24" fmla="*/ 4286250 h 4429294"/>
                    <a:gd name="connsiteX25" fmla="*/ 2887602 w 4471962"/>
                    <a:gd name="connsiteY25" fmla="*/ 4333875 h 4429294"/>
                    <a:gd name="connsiteX26" fmla="*/ 2763777 w 4471962"/>
                    <a:gd name="connsiteY26" fmla="*/ 4371975 h 4429294"/>
                    <a:gd name="connsiteX27" fmla="*/ 2532002 w 4471962"/>
                    <a:gd name="connsiteY27" fmla="*/ 4391025 h 4429294"/>
                    <a:gd name="connsiteX28" fmla="*/ 2077977 w 4471962"/>
                    <a:gd name="connsiteY28" fmla="*/ 4429125 h 4429294"/>
                    <a:gd name="connsiteX29" fmla="*/ 1887477 w 4471962"/>
                    <a:gd name="connsiteY29" fmla="*/ 4400550 h 4429294"/>
                    <a:gd name="connsiteX30" fmla="*/ 1525527 w 4471962"/>
                    <a:gd name="connsiteY30" fmla="*/ 4305300 h 4429294"/>
                    <a:gd name="connsiteX31" fmla="*/ 1284227 w 4471962"/>
                    <a:gd name="connsiteY31" fmla="*/ 4216400 h 4429294"/>
                    <a:gd name="connsiteX32" fmla="*/ 1115952 w 4471962"/>
                    <a:gd name="connsiteY32" fmla="*/ 4111625 h 4429294"/>
                    <a:gd name="connsiteX33" fmla="*/ 896877 w 4471962"/>
                    <a:gd name="connsiteY33" fmla="*/ 3968750 h 4429294"/>
                    <a:gd name="connsiteX34" fmla="*/ 563502 w 4471962"/>
                    <a:gd name="connsiteY34" fmla="*/ 3657600 h 4429294"/>
                    <a:gd name="connsiteX35" fmla="*/ 417452 w 4471962"/>
                    <a:gd name="connsiteY35" fmla="*/ 3470275 h 4429294"/>
                    <a:gd name="connsiteX36" fmla="*/ 287277 w 4471962"/>
                    <a:gd name="connsiteY36" fmla="*/ 3244850 h 4429294"/>
                    <a:gd name="connsiteX37" fmla="*/ 134877 w 4471962"/>
                    <a:gd name="connsiteY37" fmla="*/ 2892425 h 4429294"/>
                    <a:gd name="connsiteX38" fmla="*/ 26927 w 4471962"/>
                    <a:gd name="connsiteY38" fmla="*/ 2368550 h 4429294"/>
                    <a:gd name="connsiteX39" fmla="*/ 1527 w 4471962"/>
                    <a:gd name="connsiteY39" fmla="*/ 1781175 h 4429294"/>
                    <a:gd name="connsiteX40" fmla="*/ 58677 w 4471962"/>
                    <a:gd name="connsiteY40" fmla="*/ 1590675 h 4429294"/>
                    <a:gd name="connsiteX41" fmla="*/ 106302 w 4471962"/>
                    <a:gd name="connsiteY41" fmla="*/ 1419225 h 4429294"/>
                    <a:gd name="connsiteX42" fmla="*/ 182502 w 4471962"/>
                    <a:gd name="connsiteY42" fmla="*/ 1276350 h 4429294"/>
                    <a:gd name="connsiteX43" fmla="*/ 268227 w 4471962"/>
                    <a:gd name="connsiteY43" fmla="*/ 1114425 h 4429294"/>
                    <a:gd name="connsiteX44" fmla="*/ 430152 w 4471962"/>
                    <a:gd name="connsiteY44" fmla="*/ 857250 h 4429294"/>
                    <a:gd name="connsiteX45" fmla="*/ 487302 w 4471962"/>
                    <a:gd name="connsiteY45" fmla="*/ 800100 h 4429294"/>
                    <a:gd name="connsiteX46" fmla="*/ 620652 w 4471962"/>
                    <a:gd name="connsiteY46" fmla="*/ 676275 h 4429294"/>
                    <a:gd name="connsiteX47" fmla="*/ 839727 w 4471962"/>
                    <a:gd name="connsiteY47" fmla="*/ 504825 h 4429294"/>
                    <a:gd name="connsiteX48" fmla="*/ 1119127 w 4471962"/>
                    <a:gd name="connsiteY48" fmla="*/ 311150 h 4429294"/>
                    <a:gd name="connsiteX49" fmla="*/ 1477902 w 4471962"/>
                    <a:gd name="connsiteY49" fmla="*/ 152400 h 4429294"/>
                    <a:gd name="connsiteX50" fmla="*/ 1592202 w 4471962"/>
                    <a:gd name="connsiteY50" fmla="*/ 111125 h 4429294"/>
                    <a:gd name="connsiteX51" fmla="*/ 2224027 w 4471962"/>
                    <a:gd name="connsiteY51" fmla="*/ 12700 h 4429294"/>
                    <a:gd name="connsiteX0" fmla="*/ 2231942 w 4454477"/>
                    <a:gd name="connsiteY0" fmla="*/ 0 h 4429294"/>
                    <a:gd name="connsiteX1" fmla="*/ 2555792 w 4454477"/>
                    <a:gd name="connsiteY1" fmla="*/ 15875 h 4429294"/>
                    <a:gd name="connsiteX2" fmla="*/ 2851067 w 4454477"/>
                    <a:gd name="connsiteY2" fmla="*/ 85725 h 4429294"/>
                    <a:gd name="connsiteX3" fmla="*/ 3070142 w 4454477"/>
                    <a:gd name="connsiteY3" fmla="*/ 171450 h 4429294"/>
                    <a:gd name="connsiteX4" fmla="*/ 3174917 w 4454477"/>
                    <a:gd name="connsiteY4" fmla="*/ 228600 h 4429294"/>
                    <a:gd name="connsiteX5" fmla="*/ 3355892 w 4454477"/>
                    <a:gd name="connsiteY5" fmla="*/ 323850 h 4429294"/>
                    <a:gd name="connsiteX6" fmla="*/ 3746417 w 4454477"/>
                    <a:gd name="connsiteY6" fmla="*/ 581025 h 4429294"/>
                    <a:gd name="connsiteX7" fmla="*/ 3962317 w 4454477"/>
                    <a:gd name="connsiteY7" fmla="*/ 819150 h 4429294"/>
                    <a:gd name="connsiteX8" fmla="*/ 4098842 w 4454477"/>
                    <a:gd name="connsiteY8" fmla="*/ 990600 h 4429294"/>
                    <a:gd name="connsiteX9" fmla="*/ 4184567 w 4454477"/>
                    <a:gd name="connsiteY9" fmla="*/ 1143000 h 4429294"/>
                    <a:gd name="connsiteX10" fmla="*/ 4241717 w 4454477"/>
                    <a:gd name="connsiteY10" fmla="*/ 1266825 h 4429294"/>
                    <a:gd name="connsiteX11" fmla="*/ 4279817 w 4454477"/>
                    <a:gd name="connsiteY11" fmla="*/ 1362075 h 4429294"/>
                    <a:gd name="connsiteX12" fmla="*/ 4327442 w 4454477"/>
                    <a:gd name="connsiteY12" fmla="*/ 1552575 h 4429294"/>
                    <a:gd name="connsiteX13" fmla="*/ 4365542 w 4454477"/>
                    <a:gd name="connsiteY13" fmla="*/ 1685925 h 4429294"/>
                    <a:gd name="connsiteX14" fmla="*/ 4454442 w 4454477"/>
                    <a:gd name="connsiteY14" fmla="*/ 2181225 h 4429294"/>
                    <a:gd name="connsiteX15" fmla="*/ 4381417 w 4454477"/>
                    <a:gd name="connsiteY15" fmla="*/ 2768600 h 4429294"/>
                    <a:gd name="connsiteX16" fmla="*/ 4317917 w 4454477"/>
                    <a:gd name="connsiteY16" fmla="*/ 2990850 h 4429294"/>
                    <a:gd name="connsiteX17" fmla="*/ 4213142 w 4454477"/>
                    <a:gd name="connsiteY17" fmla="*/ 3248025 h 4429294"/>
                    <a:gd name="connsiteX18" fmla="*/ 4117892 w 4454477"/>
                    <a:gd name="connsiteY18" fmla="*/ 3400425 h 4429294"/>
                    <a:gd name="connsiteX19" fmla="*/ 3994067 w 4454477"/>
                    <a:gd name="connsiteY19" fmla="*/ 3533775 h 4429294"/>
                    <a:gd name="connsiteX20" fmla="*/ 3889292 w 4454477"/>
                    <a:gd name="connsiteY20" fmla="*/ 3648075 h 4429294"/>
                    <a:gd name="connsiteX21" fmla="*/ 3594017 w 4454477"/>
                    <a:gd name="connsiteY21" fmla="*/ 3971925 h 4429294"/>
                    <a:gd name="connsiteX22" fmla="*/ 3451142 w 4454477"/>
                    <a:gd name="connsiteY22" fmla="*/ 4083050 h 4429294"/>
                    <a:gd name="connsiteX23" fmla="*/ 3155867 w 4454477"/>
                    <a:gd name="connsiteY23" fmla="*/ 4222750 h 4429294"/>
                    <a:gd name="connsiteX24" fmla="*/ 3003467 w 4454477"/>
                    <a:gd name="connsiteY24" fmla="*/ 4286250 h 4429294"/>
                    <a:gd name="connsiteX25" fmla="*/ 2870117 w 4454477"/>
                    <a:gd name="connsiteY25" fmla="*/ 4333875 h 4429294"/>
                    <a:gd name="connsiteX26" fmla="*/ 2746292 w 4454477"/>
                    <a:gd name="connsiteY26" fmla="*/ 4371975 h 4429294"/>
                    <a:gd name="connsiteX27" fmla="*/ 2514517 w 4454477"/>
                    <a:gd name="connsiteY27" fmla="*/ 4391025 h 4429294"/>
                    <a:gd name="connsiteX28" fmla="*/ 2060492 w 4454477"/>
                    <a:gd name="connsiteY28" fmla="*/ 4429125 h 4429294"/>
                    <a:gd name="connsiteX29" fmla="*/ 1869992 w 4454477"/>
                    <a:gd name="connsiteY29" fmla="*/ 4400550 h 4429294"/>
                    <a:gd name="connsiteX30" fmla="*/ 1508042 w 4454477"/>
                    <a:gd name="connsiteY30" fmla="*/ 4305300 h 4429294"/>
                    <a:gd name="connsiteX31" fmla="*/ 1266742 w 4454477"/>
                    <a:gd name="connsiteY31" fmla="*/ 4216400 h 4429294"/>
                    <a:gd name="connsiteX32" fmla="*/ 1098467 w 4454477"/>
                    <a:gd name="connsiteY32" fmla="*/ 4111625 h 4429294"/>
                    <a:gd name="connsiteX33" fmla="*/ 879392 w 4454477"/>
                    <a:gd name="connsiteY33" fmla="*/ 3968750 h 4429294"/>
                    <a:gd name="connsiteX34" fmla="*/ 546017 w 4454477"/>
                    <a:gd name="connsiteY34" fmla="*/ 3657600 h 4429294"/>
                    <a:gd name="connsiteX35" fmla="*/ 399967 w 4454477"/>
                    <a:gd name="connsiteY35" fmla="*/ 3470275 h 4429294"/>
                    <a:gd name="connsiteX36" fmla="*/ 269792 w 4454477"/>
                    <a:gd name="connsiteY36" fmla="*/ 3244850 h 4429294"/>
                    <a:gd name="connsiteX37" fmla="*/ 117392 w 4454477"/>
                    <a:gd name="connsiteY37" fmla="*/ 2892425 h 4429294"/>
                    <a:gd name="connsiteX38" fmla="*/ 9442 w 4454477"/>
                    <a:gd name="connsiteY38" fmla="*/ 2368550 h 4429294"/>
                    <a:gd name="connsiteX39" fmla="*/ 15792 w 4454477"/>
                    <a:gd name="connsiteY39" fmla="*/ 1870075 h 4429294"/>
                    <a:gd name="connsiteX40" fmla="*/ 41192 w 4454477"/>
                    <a:gd name="connsiteY40" fmla="*/ 1590675 h 4429294"/>
                    <a:gd name="connsiteX41" fmla="*/ 88817 w 4454477"/>
                    <a:gd name="connsiteY41" fmla="*/ 1419225 h 4429294"/>
                    <a:gd name="connsiteX42" fmla="*/ 165017 w 4454477"/>
                    <a:gd name="connsiteY42" fmla="*/ 1276350 h 4429294"/>
                    <a:gd name="connsiteX43" fmla="*/ 250742 w 4454477"/>
                    <a:gd name="connsiteY43" fmla="*/ 1114425 h 4429294"/>
                    <a:gd name="connsiteX44" fmla="*/ 412667 w 4454477"/>
                    <a:gd name="connsiteY44" fmla="*/ 857250 h 4429294"/>
                    <a:gd name="connsiteX45" fmla="*/ 469817 w 4454477"/>
                    <a:gd name="connsiteY45" fmla="*/ 800100 h 4429294"/>
                    <a:gd name="connsiteX46" fmla="*/ 603167 w 4454477"/>
                    <a:gd name="connsiteY46" fmla="*/ 676275 h 4429294"/>
                    <a:gd name="connsiteX47" fmla="*/ 822242 w 4454477"/>
                    <a:gd name="connsiteY47" fmla="*/ 504825 h 4429294"/>
                    <a:gd name="connsiteX48" fmla="*/ 1101642 w 4454477"/>
                    <a:gd name="connsiteY48" fmla="*/ 311150 h 4429294"/>
                    <a:gd name="connsiteX49" fmla="*/ 1460417 w 4454477"/>
                    <a:gd name="connsiteY49" fmla="*/ 152400 h 4429294"/>
                    <a:gd name="connsiteX50" fmla="*/ 1574717 w 4454477"/>
                    <a:gd name="connsiteY50" fmla="*/ 111125 h 4429294"/>
                    <a:gd name="connsiteX51" fmla="*/ 2206542 w 4454477"/>
                    <a:gd name="connsiteY51" fmla="*/ 12700 h 4429294"/>
                    <a:gd name="connsiteX0" fmla="*/ 2233750 w 4456285"/>
                    <a:gd name="connsiteY0" fmla="*/ 0 h 4429294"/>
                    <a:gd name="connsiteX1" fmla="*/ 2557600 w 4456285"/>
                    <a:gd name="connsiteY1" fmla="*/ 15875 h 4429294"/>
                    <a:gd name="connsiteX2" fmla="*/ 2852875 w 4456285"/>
                    <a:gd name="connsiteY2" fmla="*/ 85725 h 4429294"/>
                    <a:gd name="connsiteX3" fmla="*/ 3071950 w 4456285"/>
                    <a:gd name="connsiteY3" fmla="*/ 171450 h 4429294"/>
                    <a:gd name="connsiteX4" fmla="*/ 3176725 w 4456285"/>
                    <a:gd name="connsiteY4" fmla="*/ 228600 h 4429294"/>
                    <a:gd name="connsiteX5" fmla="*/ 3357700 w 4456285"/>
                    <a:gd name="connsiteY5" fmla="*/ 323850 h 4429294"/>
                    <a:gd name="connsiteX6" fmla="*/ 3748225 w 4456285"/>
                    <a:gd name="connsiteY6" fmla="*/ 581025 h 4429294"/>
                    <a:gd name="connsiteX7" fmla="*/ 3964125 w 4456285"/>
                    <a:gd name="connsiteY7" fmla="*/ 819150 h 4429294"/>
                    <a:gd name="connsiteX8" fmla="*/ 4100650 w 4456285"/>
                    <a:gd name="connsiteY8" fmla="*/ 990600 h 4429294"/>
                    <a:gd name="connsiteX9" fmla="*/ 4186375 w 4456285"/>
                    <a:gd name="connsiteY9" fmla="*/ 1143000 h 4429294"/>
                    <a:gd name="connsiteX10" fmla="*/ 4243525 w 4456285"/>
                    <a:gd name="connsiteY10" fmla="*/ 1266825 h 4429294"/>
                    <a:gd name="connsiteX11" fmla="*/ 4281625 w 4456285"/>
                    <a:gd name="connsiteY11" fmla="*/ 1362075 h 4429294"/>
                    <a:gd name="connsiteX12" fmla="*/ 4329250 w 4456285"/>
                    <a:gd name="connsiteY12" fmla="*/ 1552575 h 4429294"/>
                    <a:gd name="connsiteX13" fmla="*/ 4367350 w 4456285"/>
                    <a:gd name="connsiteY13" fmla="*/ 1685925 h 4429294"/>
                    <a:gd name="connsiteX14" fmla="*/ 4456250 w 4456285"/>
                    <a:gd name="connsiteY14" fmla="*/ 2181225 h 4429294"/>
                    <a:gd name="connsiteX15" fmla="*/ 4383225 w 4456285"/>
                    <a:gd name="connsiteY15" fmla="*/ 2768600 h 4429294"/>
                    <a:gd name="connsiteX16" fmla="*/ 4319725 w 4456285"/>
                    <a:gd name="connsiteY16" fmla="*/ 2990850 h 4429294"/>
                    <a:gd name="connsiteX17" fmla="*/ 4214950 w 4456285"/>
                    <a:gd name="connsiteY17" fmla="*/ 3248025 h 4429294"/>
                    <a:gd name="connsiteX18" fmla="*/ 4119700 w 4456285"/>
                    <a:gd name="connsiteY18" fmla="*/ 3400425 h 4429294"/>
                    <a:gd name="connsiteX19" fmla="*/ 3995875 w 4456285"/>
                    <a:gd name="connsiteY19" fmla="*/ 3533775 h 4429294"/>
                    <a:gd name="connsiteX20" fmla="*/ 3891100 w 4456285"/>
                    <a:gd name="connsiteY20" fmla="*/ 3648075 h 4429294"/>
                    <a:gd name="connsiteX21" fmla="*/ 3595825 w 4456285"/>
                    <a:gd name="connsiteY21" fmla="*/ 3971925 h 4429294"/>
                    <a:gd name="connsiteX22" fmla="*/ 3452950 w 4456285"/>
                    <a:gd name="connsiteY22" fmla="*/ 4083050 h 4429294"/>
                    <a:gd name="connsiteX23" fmla="*/ 3157675 w 4456285"/>
                    <a:gd name="connsiteY23" fmla="*/ 4222750 h 4429294"/>
                    <a:gd name="connsiteX24" fmla="*/ 3005275 w 4456285"/>
                    <a:gd name="connsiteY24" fmla="*/ 4286250 h 4429294"/>
                    <a:gd name="connsiteX25" fmla="*/ 2871925 w 4456285"/>
                    <a:gd name="connsiteY25" fmla="*/ 4333875 h 4429294"/>
                    <a:gd name="connsiteX26" fmla="*/ 2748100 w 4456285"/>
                    <a:gd name="connsiteY26" fmla="*/ 4371975 h 4429294"/>
                    <a:gd name="connsiteX27" fmla="*/ 2516325 w 4456285"/>
                    <a:gd name="connsiteY27" fmla="*/ 4391025 h 4429294"/>
                    <a:gd name="connsiteX28" fmla="*/ 2062300 w 4456285"/>
                    <a:gd name="connsiteY28" fmla="*/ 4429125 h 4429294"/>
                    <a:gd name="connsiteX29" fmla="*/ 1871800 w 4456285"/>
                    <a:gd name="connsiteY29" fmla="*/ 4400550 h 4429294"/>
                    <a:gd name="connsiteX30" fmla="*/ 1509850 w 4456285"/>
                    <a:gd name="connsiteY30" fmla="*/ 4305300 h 4429294"/>
                    <a:gd name="connsiteX31" fmla="*/ 1268550 w 4456285"/>
                    <a:gd name="connsiteY31" fmla="*/ 4216400 h 4429294"/>
                    <a:gd name="connsiteX32" fmla="*/ 1100275 w 4456285"/>
                    <a:gd name="connsiteY32" fmla="*/ 4111625 h 4429294"/>
                    <a:gd name="connsiteX33" fmla="*/ 881200 w 4456285"/>
                    <a:gd name="connsiteY33" fmla="*/ 3968750 h 4429294"/>
                    <a:gd name="connsiteX34" fmla="*/ 547825 w 4456285"/>
                    <a:gd name="connsiteY34" fmla="*/ 3657600 h 4429294"/>
                    <a:gd name="connsiteX35" fmla="*/ 401775 w 4456285"/>
                    <a:gd name="connsiteY35" fmla="*/ 3470275 h 4429294"/>
                    <a:gd name="connsiteX36" fmla="*/ 271600 w 4456285"/>
                    <a:gd name="connsiteY36" fmla="*/ 3244850 h 4429294"/>
                    <a:gd name="connsiteX37" fmla="*/ 119200 w 4456285"/>
                    <a:gd name="connsiteY37" fmla="*/ 2892425 h 4429294"/>
                    <a:gd name="connsiteX38" fmla="*/ 11250 w 4456285"/>
                    <a:gd name="connsiteY38" fmla="*/ 2368550 h 4429294"/>
                    <a:gd name="connsiteX39" fmla="*/ 17600 w 4456285"/>
                    <a:gd name="connsiteY39" fmla="*/ 1870075 h 4429294"/>
                    <a:gd name="connsiteX40" fmla="*/ 90625 w 4456285"/>
                    <a:gd name="connsiteY40" fmla="*/ 1419225 h 4429294"/>
                    <a:gd name="connsiteX41" fmla="*/ 166825 w 4456285"/>
                    <a:gd name="connsiteY41" fmla="*/ 1276350 h 4429294"/>
                    <a:gd name="connsiteX42" fmla="*/ 252550 w 4456285"/>
                    <a:gd name="connsiteY42" fmla="*/ 1114425 h 4429294"/>
                    <a:gd name="connsiteX43" fmla="*/ 414475 w 4456285"/>
                    <a:gd name="connsiteY43" fmla="*/ 857250 h 4429294"/>
                    <a:gd name="connsiteX44" fmla="*/ 471625 w 4456285"/>
                    <a:gd name="connsiteY44" fmla="*/ 800100 h 4429294"/>
                    <a:gd name="connsiteX45" fmla="*/ 604975 w 4456285"/>
                    <a:gd name="connsiteY45" fmla="*/ 676275 h 4429294"/>
                    <a:gd name="connsiteX46" fmla="*/ 824050 w 4456285"/>
                    <a:gd name="connsiteY46" fmla="*/ 504825 h 4429294"/>
                    <a:gd name="connsiteX47" fmla="*/ 1103450 w 4456285"/>
                    <a:gd name="connsiteY47" fmla="*/ 311150 h 4429294"/>
                    <a:gd name="connsiteX48" fmla="*/ 1462225 w 4456285"/>
                    <a:gd name="connsiteY48" fmla="*/ 152400 h 4429294"/>
                    <a:gd name="connsiteX49" fmla="*/ 1576525 w 4456285"/>
                    <a:gd name="connsiteY49" fmla="*/ 111125 h 4429294"/>
                    <a:gd name="connsiteX50" fmla="*/ 2208350 w 4456285"/>
                    <a:gd name="connsiteY50" fmla="*/ 12700 h 4429294"/>
                    <a:gd name="connsiteX0" fmla="*/ 2237540 w 4460075"/>
                    <a:gd name="connsiteY0" fmla="*/ 0 h 4429294"/>
                    <a:gd name="connsiteX1" fmla="*/ 2561390 w 4460075"/>
                    <a:gd name="connsiteY1" fmla="*/ 15875 h 4429294"/>
                    <a:gd name="connsiteX2" fmla="*/ 2856665 w 4460075"/>
                    <a:gd name="connsiteY2" fmla="*/ 85725 h 4429294"/>
                    <a:gd name="connsiteX3" fmla="*/ 3075740 w 4460075"/>
                    <a:gd name="connsiteY3" fmla="*/ 171450 h 4429294"/>
                    <a:gd name="connsiteX4" fmla="*/ 3180515 w 4460075"/>
                    <a:gd name="connsiteY4" fmla="*/ 228600 h 4429294"/>
                    <a:gd name="connsiteX5" fmla="*/ 3361490 w 4460075"/>
                    <a:gd name="connsiteY5" fmla="*/ 323850 h 4429294"/>
                    <a:gd name="connsiteX6" fmla="*/ 3752015 w 4460075"/>
                    <a:gd name="connsiteY6" fmla="*/ 581025 h 4429294"/>
                    <a:gd name="connsiteX7" fmla="*/ 3967915 w 4460075"/>
                    <a:gd name="connsiteY7" fmla="*/ 819150 h 4429294"/>
                    <a:gd name="connsiteX8" fmla="*/ 4104440 w 4460075"/>
                    <a:gd name="connsiteY8" fmla="*/ 990600 h 4429294"/>
                    <a:gd name="connsiteX9" fmla="*/ 4190165 w 4460075"/>
                    <a:gd name="connsiteY9" fmla="*/ 1143000 h 4429294"/>
                    <a:gd name="connsiteX10" fmla="*/ 4247315 w 4460075"/>
                    <a:gd name="connsiteY10" fmla="*/ 1266825 h 4429294"/>
                    <a:gd name="connsiteX11" fmla="*/ 4285415 w 4460075"/>
                    <a:gd name="connsiteY11" fmla="*/ 1362075 h 4429294"/>
                    <a:gd name="connsiteX12" fmla="*/ 4333040 w 4460075"/>
                    <a:gd name="connsiteY12" fmla="*/ 1552575 h 4429294"/>
                    <a:gd name="connsiteX13" fmla="*/ 4371140 w 4460075"/>
                    <a:gd name="connsiteY13" fmla="*/ 1685925 h 4429294"/>
                    <a:gd name="connsiteX14" fmla="*/ 4460040 w 4460075"/>
                    <a:gd name="connsiteY14" fmla="*/ 2181225 h 4429294"/>
                    <a:gd name="connsiteX15" fmla="*/ 4387015 w 4460075"/>
                    <a:gd name="connsiteY15" fmla="*/ 2768600 h 4429294"/>
                    <a:gd name="connsiteX16" fmla="*/ 4323515 w 4460075"/>
                    <a:gd name="connsiteY16" fmla="*/ 2990850 h 4429294"/>
                    <a:gd name="connsiteX17" fmla="*/ 4218740 w 4460075"/>
                    <a:gd name="connsiteY17" fmla="*/ 3248025 h 4429294"/>
                    <a:gd name="connsiteX18" fmla="*/ 4123490 w 4460075"/>
                    <a:gd name="connsiteY18" fmla="*/ 3400425 h 4429294"/>
                    <a:gd name="connsiteX19" fmla="*/ 3999665 w 4460075"/>
                    <a:gd name="connsiteY19" fmla="*/ 3533775 h 4429294"/>
                    <a:gd name="connsiteX20" fmla="*/ 3894890 w 4460075"/>
                    <a:gd name="connsiteY20" fmla="*/ 3648075 h 4429294"/>
                    <a:gd name="connsiteX21" fmla="*/ 3599615 w 4460075"/>
                    <a:gd name="connsiteY21" fmla="*/ 3971925 h 4429294"/>
                    <a:gd name="connsiteX22" fmla="*/ 3456740 w 4460075"/>
                    <a:gd name="connsiteY22" fmla="*/ 4083050 h 4429294"/>
                    <a:gd name="connsiteX23" fmla="*/ 3161465 w 4460075"/>
                    <a:gd name="connsiteY23" fmla="*/ 4222750 h 4429294"/>
                    <a:gd name="connsiteX24" fmla="*/ 3009065 w 4460075"/>
                    <a:gd name="connsiteY24" fmla="*/ 4286250 h 4429294"/>
                    <a:gd name="connsiteX25" fmla="*/ 2875715 w 4460075"/>
                    <a:gd name="connsiteY25" fmla="*/ 4333875 h 4429294"/>
                    <a:gd name="connsiteX26" fmla="*/ 2751890 w 4460075"/>
                    <a:gd name="connsiteY26" fmla="*/ 4371975 h 4429294"/>
                    <a:gd name="connsiteX27" fmla="*/ 2520115 w 4460075"/>
                    <a:gd name="connsiteY27" fmla="*/ 4391025 h 4429294"/>
                    <a:gd name="connsiteX28" fmla="*/ 2066090 w 4460075"/>
                    <a:gd name="connsiteY28" fmla="*/ 4429125 h 4429294"/>
                    <a:gd name="connsiteX29" fmla="*/ 1875590 w 4460075"/>
                    <a:gd name="connsiteY29" fmla="*/ 4400550 h 4429294"/>
                    <a:gd name="connsiteX30" fmla="*/ 1513640 w 4460075"/>
                    <a:gd name="connsiteY30" fmla="*/ 4305300 h 4429294"/>
                    <a:gd name="connsiteX31" fmla="*/ 1272340 w 4460075"/>
                    <a:gd name="connsiteY31" fmla="*/ 4216400 h 4429294"/>
                    <a:gd name="connsiteX32" fmla="*/ 1104065 w 4460075"/>
                    <a:gd name="connsiteY32" fmla="*/ 4111625 h 4429294"/>
                    <a:gd name="connsiteX33" fmla="*/ 884990 w 4460075"/>
                    <a:gd name="connsiteY33" fmla="*/ 3968750 h 4429294"/>
                    <a:gd name="connsiteX34" fmla="*/ 551615 w 4460075"/>
                    <a:gd name="connsiteY34" fmla="*/ 3657600 h 4429294"/>
                    <a:gd name="connsiteX35" fmla="*/ 405565 w 4460075"/>
                    <a:gd name="connsiteY35" fmla="*/ 3470275 h 4429294"/>
                    <a:gd name="connsiteX36" fmla="*/ 275390 w 4460075"/>
                    <a:gd name="connsiteY36" fmla="*/ 3244850 h 4429294"/>
                    <a:gd name="connsiteX37" fmla="*/ 122990 w 4460075"/>
                    <a:gd name="connsiteY37" fmla="*/ 2892425 h 4429294"/>
                    <a:gd name="connsiteX38" fmla="*/ 15040 w 4460075"/>
                    <a:gd name="connsiteY38" fmla="*/ 2368550 h 4429294"/>
                    <a:gd name="connsiteX39" fmla="*/ 21390 w 4460075"/>
                    <a:gd name="connsiteY39" fmla="*/ 1870075 h 4429294"/>
                    <a:gd name="connsiteX40" fmla="*/ 170615 w 4460075"/>
                    <a:gd name="connsiteY40" fmla="*/ 1276350 h 4429294"/>
                    <a:gd name="connsiteX41" fmla="*/ 256340 w 4460075"/>
                    <a:gd name="connsiteY41" fmla="*/ 1114425 h 4429294"/>
                    <a:gd name="connsiteX42" fmla="*/ 418265 w 4460075"/>
                    <a:gd name="connsiteY42" fmla="*/ 857250 h 4429294"/>
                    <a:gd name="connsiteX43" fmla="*/ 475415 w 4460075"/>
                    <a:gd name="connsiteY43" fmla="*/ 800100 h 4429294"/>
                    <a:gd name="connsiteX44" fmla="*/ 608765 w 4460075"/>
                    <a:gd name="connsiteY44" fmla="*/ 676275 h 4429294"/>
                    <a:gd name="connsiteX45" fmla="*/ 827840 w 4460075"/>
                    <a:gd name="connsiteY45" fmla="*/ 504825 h 4429294"/>
                    <a:gd name="connsiteX46" fmla="*/ 1107240 w 4460075"/>
                    <a:gd name="connsiteY46" fmla="*/ 311150 h 4429294"/>
                    <a:gd name="connsiteX47" fmla="*/ 1466015 w 4460075"/>
                    <a:gd name="connsiteY47" fmla="*/ 152400 h 4429294"/>
                    <a:gd name="connsiteX48" fmla="*/ 1580315 w 4460075"/>
                    <a:gd name="connsiteY48" fmla="*/ 111125 h 4429294"/>
                    <a:gd name="connsiteX49" fmla="*/ 2212140 w 4460075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5706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76140 w 4460800"/>
                    <a:gd name="connsiteY42" fmla="*/ 800100 h 4429294"/>
                    <a:gd name="connsiteX43" fmla="*/ 609490 w 4460800"/>
                    <a:gd name="connsiteY43" fmla="*/ 676275 h 4429294"/>
                    <a:gd name="connsiteX44" fmla="*/ 828565 w 4460800"/>
                    <a:gd name="connsiteY44" fmla="*/ 504825 h 4429294"/>
                    <a:gd name="connsiteX45" fmla="*/ 1107965 w 4460800"/>
                    <a:gd name="connsiteY45" fmla="*/ 311150 h 4429294"/>
                    <a:gd name="connsiteX46" fmla="*/ 1466740 w 4460800"/>
                    <a:gd name="connsiteY46" fmla="*/ 152400 h 4429294"/>
                    <a:gd name="connsiteX47" fmla="*/ 1581040 w 4460800"/>
                    <a:gd name="connsiteY47" fmla="*/ 111125 h 4429294"/>
                    <a:gd name="connsiteX48" fmla="*/ 2212865 w 4460800"/>
                    <a:gd name="connsiteY48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</a:path>
                  </a:pathLst>
                </a:custGeom>
                <a:solidFill>
                  <a:srgbClr val="FBCCD0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24" name="Freeform: Shape 1023">
                  <a:extLst>
                    <a:ext uri="{FF2B5EF4-FFF2-40B4-BE49-F238E27FC236}">
                      <a16:creationId xmlns:a16="http://schemas.microsoft.com/office/drawing/2014/main" id="{7DFF4189-6D9D-CDF0-528C-531E83072DA4}"/>
                    </a:ext>
                  </a:extLst>
                </p:cNvPr>
                <p:cNvSpPr/>
                <p:nvPr/>
              </p:nvSpPr>
              <p:spPr>
                <a:xfrm>
                  <a:off x="2238375" y="4966894"/>
                  <a:ext cx="85725" cy="109932"/>
                </a:xfrm>
                <a:custGeom>
                  <a:avLst/>
                  <a:gdLst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944902 w 4469152"/>
                    <a:gd name="connsiteY150" fmla="*/ 476250 h 4496940"/>
                    <a:gd name="connsiteX151" fmla="*/ 1087777 w 4469152"/>
                    <a:gd name="connsiteY151" fmla="*/ 409575 h 4496940"/>
                    <a:gd name="connsiteX152" fmla="*/ 1202077 w 4469152"/>
                    <a:gd name="connsiteY152" fmla="*/ 314325 h 4496940"/>
                    <a:gd name="connsiteX153" fmla="*/ 1268752 w 4469152"/>
                    <a:gd name="connsiteY153" fmla="*/ 285750 h 4496940"/>
                    <a:gd name="connsiteX154" fmla="*/ 1411627 w 4469152"/>
                    <a:gd name="connsiteY154" fmla="*/ 190500 h 4496940"/>
                    <a:gd name="connsiteX155" fmla="*/ 1449727 w 4469152"/>
                    <a:gd name="connsiteY155" fmla="*/ 161925 h 4496940"/>
                    <a:gd name="connsiteX156" fmla="*/ 1525927 w 4469152"/>
                    <a:gd name="connsiteY156" fmla="*/ 152400 h 4496940"/>
                    <a:gd name="connsiteX157" fmla="*/ 1583077 w 4469152"/>
                    <a:gd name="connsiteY157" fmla="*/ 142875 h 4496940"/>
                    <a:gd name="connsiteX158" fmla="*/ 1716427 w 4469152"/>
                    <a:gd name="connsiteY158" fmla="*/ 123825 h 4496940"/>
                    <a:gd name="connsiteX159" fmla="*/ 1811677 w 4469152"/>
                    <a:gd name="connsiteY159" fmla="*/ 114300 h 4496940"/>
                    <a:gd name="connsiteX160" fmla="*/ 1859302 w 4469152"/>
                    <a:gd name="connsiteY160" fmla="*/ 104775 h 4496940"/>
                    <a:gd name="connsiteX161" fmla="*/ 1916452 w 4469152"/>
                    <a:gd name="connsiteY161" fmla="*/ 95250 h 4496940"/>
                    <a:gd name="connsiteX162" fmla="*/ 2030752 w 4469152"/>
                    <a:gd name="connsiteY162" fmla="*/ 66675 h 4496940"/>
                    <a:gd name="connsiteX163" fmla="*/ 2097427 w 4469152"/>
                    <a:gd name="connsiteY163" fmla="*/ 47625 h 4496940"/>
                    <a:gd name="connsiteX164" fmla="*/ 2164102 w 4469152"/>
                    <a:gd name="connsiteY164" fmla="*/ 38100 h 4496940"/>
                    <a:gd name="connsiteX165" fmla="*/ 2392702 w 4469152"/>
                    <a:gd name="connsiteY165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087777 w 4469152"/>
                    <a:gd name="connsiteY150" fmla="*/ 409575 h 4496940"/>
                    <a:gd name="connsiteX151" fmla="*/ 1202077 w 4469152"/>
                    <a:gd name="connsiteY151" fmla="*/ 314325 h 4496940"/>
                    <a:gd name="connsiteX152" fmla="*/ 1268752 w 4469152"/>
                    <a:gd name="connsiteY152" fmla="*/ 285750 h 4496940"/>
                    <a:gd name="connsiteX153" fmla="*/ 1411627 w 4469152"/>
                    <a:gd name="connsiteY153" fmla="*/ 190500 h 4496940"/>
                    <a:gd name="connsiteX154" fmla="*/ 1449727 w 4469152"/>
                    <a:gd name="connsiteY154" fmla="*/ 161925 h 4496940"/>
                    <a:gd name="connsiteX155" fmla="*/ 1525927 w 4469152"/>
                    <a:gd name="connsiteY155" fmla="*/ 152400 h 4496940"/>
                    <a:gd name="connsiteX156" fmla="*/ 1583077 w 4469152"/>
                    <a:gd name="connsiteY156" fmla="*/ 142875 h 4496940"/>
                    <a:gd name="connsiteX157" fmla="*/ 1716427 w 4469152"/>
                    <a:gd name="connsiteY157" fmla="*/ 123825 h 4496940"/>
                    <a:gd name="connsiteX158" fmla="*/ 1811677 w 4469152"/>
                    <a:gd name="connsiteY158" fmla="*/ 114300 h 4496940"/>
                    <a:gd name="connsiteX159" fmla="*/ 1859302 w 4469152"/>
                    <a:gd name="connsiteY159" fmla="*/ 104775 h 4496940"/>
                    <a:gd name="connsiteX160" fmla="*/ 1916452 w 4469152"/>
                    <a:gd name="connsiteY160" fmla="*/ 95250 h 4496940"/>
                    <a:gd name="connsiteX161" fmla="*/ 2030752 w 4469152"/>
                    <a:gd name="connsiteY161" fmla="*/ 66675 h 4496940"/>
                    <a:gd name="connsiteX162" fmla="*/ 2097427 w 4469152"/>
                    <a:gd name="connsiteY162" fmla="*/ 47625 h 4496940"/>
                    <a:gd name="connsiteX163" fmla="*/ 2164102 w 4469152"/>
                    <a:gd name="connsiteY163" fmla="*/ 38100 h 4496940"/>
                    <a:gd name="connsiteX164" fmla="*/ 2392702 w 4469152"/>
                    <a:gd name="connsiteY164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02077 w 4469152"/>
                    <a:gd name="connsiteY150" fmla="*/ 314325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68752 w 4469152"/>
                    <a:gd name="connsiteY150" fmla="*/ 285750 h 4496940"/>
                    <a:gd name="connsiteX151" fmla="*/ 1411627 w 4469152"/>
                    <a:gd name="connsiteY151" fmla="*/ 190500 h 4496940"/>
                    <a:gd name="connsiteX152" fmla="*/ 1449727 w 4469152"/>
                    <a:gd name="connsiteY152" fmla="*/ 161925 h 4496940"/>
                    <a:gd name="connsiteX153" fmla="*/ 1525927 w 4469152"/>
                    <a:gd name="connsiteY153" fmla="*/ 152400 h 4496940"/>
                    <a:gd name="connsiteX154" fmla="*/ 1583077 w 4469152"/>
                    <a:gd name="connsiteY154" fmla="*/ 142875 h 4496940"/>
                    <a:gd name="connsiteX155" fmla="*/ 1716427 w 4469152"/>
                    <a:gd name="connsiteY155" fmla="*/ 123825 h 4496940"/>
                    <a:gd name="connsiteX156" fmla="*/ 1811677 w 4469152"/>
                    <a:gd name="connsiteY156" fmla="*/ 114300 h 4496940"/>
                    <a:gd name="connsiteX157" fmla="*/ 1859302 w 4469152"/>
                    <a:gd name="connsiteY157" fmla="*/ 104775 h 4496940"/>
                    <a:gd name="connsiteX158" fmla="*/ 1916452 w 4469152"/>
                    <a:gd name="connsiteY158" fmla="*/ 95250 h 4496940"/>
                    <a:gd name="connsiteX159" fmla="*/ 2030752 w 4469152"/>
                    <a:gd name="connsiteY159" fmla="*/ 66675 h 4496940"/>
                    <a:gd name="connsiteX160" fmla="*/ 2097427 w 4469152"/>
                    <a:gd name="connsiteY160" fmla="*/ 47625 h 4496940"/>
                    <a:gd name="connsiteX161" fmla="*/ 2164102 w 4469152"/>
                    <a:gd name="connsiteY161" fmla="*/ 38100 h 4496940"/>
                    <a:gd name="connsiteX162" fmla="*/ 2392702 w 4469152"/>
                    <a:gd name="connsiteY162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167152 w 4469152"/>
                    <a:gd name="connsiteY150" fmla="*/ 311150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40577 w 4519952"/>
                    <a:gd name="connsiteY46" fmla="*/ 1762125 h 4496940"/>
                    <a:gd name="connsiteX47" fmla="*/ 4459627 w 4519952"/>
                    <a:gd name="connsiteY47" fmla="*/ 1828800 h 4496940"/>
                    <a:gd name="connsiteX48" fmla="*/ 4519952 w 4519952"/>
                    <a:gd name="connsiteY48" fmla="*/ 2181225 h 4496940"/>
                    <a:gd name="connsiteX49" fmla="*/ 4440577 w 4519952"/>
                    <a:gd name="connsiteY49" fmla="*/ 2876550 h 4496940"/>
                    <a:gd name="connsiteX50" fmla="*/ 4383427 w 4519952"/>
                    <a:gd name="connsiteY50" fmla="*/ 2990850 h 4496940"/>
                    <a:gd name="connsiteX51" fmla="*/ 4354852 w 4519952"/>
                    <a:gd name="connsiteY51" fmla="*/ 3057525 h 4496940"/>
                    <a:gd name="connsiteX52" fmla="*/ 4335802 w 4519952"/>
                    <a:gd name="connsiteY52" fmla="*/ 3095625 h 4496940"/>
                    <a:gd name="connsiteX53" fmla="*/ 4278652 w 4519952"/>
                    <a:gd name="connsiteY53" fmla="*/ 3248025 h 4496940"/>
                    <a:gd name="connsiteX54" fmla="*/ 4259602 w 4519952"/>
                    <a:gd name="connsiteY54" fmla="*/ 3276600 h 4496940"/>
                    <a:gd name="connsiteX55" fmla="*/ 4221502 w 4519952"/>
                    <a:gd name="connsiteY55" fmla="*/ 3333750 h 4496940"/>
                    <a:gd name="connsiteX56" fmla="*/ 4211977 w 4519952"/>
                    <a:gd name="connsiteY56" fmla="*/ 3362325 h 4496940"/>
                    <a:gd name="connsiteX57" fmla="*/ 4183402 w 4519952"/>
                    <a:gd name="connsiteY57" fmla="*/ 3400425 h 4496940"/>
                    <a:gd name="connsiteX58" fmla="*/ 4164352 w 4519952"/>
                    <a:gd name="connsiteY58" fmla="*/ 3429000 h 4496940"/>
                    <a:gd name="connsiteX59" fmla="*/ 4088152 w 4519952"/>
                    <a:gd name="connsiteY59" fmla="*/ 3495675 h 4496940"/>
                    <a:gd name="connsiteX60" fmla="*/ 4059577 w 4519952"/>
                    <a:gd name="connsiteY60" fmla="*/ 3533775 h 4496940"/>
                    <a:gd name="connsiteX61" fmla="*/ 4002427 w 4519952"/>
                    <a:gd name="connsiteY61" fmla="*/ 3600450 h 4496940"/>
                    <a:gd name="connsiteX62" fmla="*/ 3983377 w 4519952"/>
                    <a:gd name="connsiteY62" fmla="*/ 3629025 h 4496940"/>
                    <a:gd name="connsiteX63" fmla="*/ 3954802 w 4519952"/>
                    <a:gd name="connsiteY63" fmla="*/ 3648075 h 4496940"/>
                    <a:gd name="connsiteX64" fmla="*/ 3907177 w 4519952"/>
                    <a:gd name="connsiteY64" fmla="*/ 3686175 h 4496940"/>
                    <a:gd name="connsiteX65" fmla="*/ 3869077 w 4519952"/>
                    <a:gd name="connsiteY65" fmla="*/ 3724275 h 4496940"/>
                    <a:gd name="connsiteX66" fmla="*/ 3792877 w 4519952"/>
                    <a:gd name="connsiteY66" fmla="*/ 3781425 h 4496940"/>
                    <a:gd name="connsiteX67" fmla="*/ 3783352 w 4519952"/>
                    <a:gd name="connsiteY67" fmla="*/ 3810000 h 4496940"/>
                    <a:gd name="connsiteX68" fmla="*/ 3745252 w 4519952"/>
                    <a:gd name="connsiteY68" fmla="*/ 3819525 h 4496940"/>
                    <a:gd name="connsiteX69" fmla="*/ 3678577 w 4519952"/>
                    <a:gd name="connsiteY69" fmla="*/ 3848100 h 4496940"/>
                    <a:gd name="connsiteX70" fmla="*/ 3659527 w 4519952"/>
                    <a:gd name="connsiteY70" fmla="*/ 3971925 h 4496940"/>
                    <a:gd name="connsiteX71" fmla="*/ 3630952 w 4519952"/>
                    <a:gd name="connsiteY71" fmla="*/ 4010025 h 4496940"/>
                    <a:gd name="connsiteX72" fmla="*/ 3621427 w 4519952"/>
                    <a:gd name="connsiteY72" fmla="*/ 4038600 h 4496940"/>
                    <a:gd name="connsiteX73" fmla="*/ 3554752 w 4519952"/>
                    <a:gd name="connsiteY73" fmla="*/ 4095750 h 4496940"/>
                    <a:gd name="connsiteX74" fmla="*/ 3516652 w 4519952"/>
                    <a:gd name="connsiteY74" fmla="*/ 4114800 h 4496940"/>
                    <a:gd name="connsiteX75" fmla="*/ 3497602 w 4519952"/>
                    <a:gd name="connsiteY75" fmla="*/ 4143375 h 4496940"/>
                    <a:gd name="connsiteX76" fmla="*/ 3383302 w 4519952"/>
                    <a:gd name="connsiteY76" fmla="*/ 4210050 h 4496940"/>
                    <a:gd name="connsiteX77" fmla="*/ 3335677 w 4519952"/>
                    <a:gd name="connsiteY77" fmla="*/ 4238625 h 4496940"/>
                    <a:gd name="connsiteX78" fmla="*/ 3288052 w 4519952"/>
                    <a:gd name="connsiteY78" fmla="*/ 4248150 h 4496940"/>
                    <a:gd name="connsiteX79" fmla="*/ 3240427 w 4519952"/>
                    <a:gd name="connsiteY79" fmla="*/ 4267200 h 4496940"/>
                    <a:gd name="connsiteX80" fmla="*/ 3068977 w 4519952"/>
                    <a:gd name="connsiteY80" fmla="*/ 4286250 h 4496940"/>
                    <a:gd name="connsiteX81" fmla="*/ 2935627 w 4519952"/>
                    <a:gd name="connsiteY81" fmla="*/ 4333875 h 4496940"/>
                    <a:gd name="connsiteX82" fmla="*/ 2811802 w 4519952"/>
                    <a:gd name="connsiteY82" fmla="*/ 4371975 h 4496940"/>
                    <a:gd name="connsiteX83" fmla="*/ 2745127 w 4519952"/>
                    <a:gd name="connsiteY83" fmla="*/ 4410075 h 4496940"/>
                    <a:gd name="connsiteX84" fmla="*/ 2697502 w 4519952"/>
                    <a:gd name="connsiteY84" fmla="*/ 4429125 h 4496940"/>
                    <a:gd name="connsiteX85" fmla="*/ 2640352 w 4519952"/>
                    <a:gd name="connsiteY85" fmla="*/ 4457700 h 4496940"/>
                    <a:gd name="connsiteX86" fmla="*/ 2583202 w 4519952"/>
                    <a:gd name="connsiteY86" fmla="*/ 4467225 h 4496940"/>
                    <a:gd name="connsiteX87" fmla="*/ 2545102 w 4519952"/>
                    <a:gd name="connsiteY87" fmla="*/ 4486275 h 4496940"/>
                    <a:gd name="connsiteX88" fmla="*/ 2306977 w 4519952"/>
                    <a:gd name="connsiteY88" fmla="*/ 4476750 h 4496940"/>
                    <a:gd name="connsiteX89" fmla="*/ 2202202 w 4519952"/>
                    <a:gd name="connsiteY89" fmla="*/ 4457700 h 4496940"/>
                    <a:gd name="connsiteX90" fmla="*/ 2126002 w 4519952"/>
                    <a:gd name="connsiteY90" fmla="*/ 4429125 h 4496940"/>
                    <a:gd name="connsiteX91" fmla="*/ 1935502 w 4519952"/>
                    <a:gd name="connsiteY91" fmla="*/ 4400550 h 4496940"/>
                    <a:gd name="connsiteX92" fmla="*/ 1821202 w 4519952"/>
                    <a:gd name="connsiteY92" fmla="*/ 4371975 h 4496940"/>
                    <a:gd name="connsiteX93" fmla="*/ 1754527 w 4519952"/>
                    <a:gd name="connsiteY93" fmla="*/ 4352925 h 4496940"/>
                    <a:gd name="connsiteX94" fmla="*/ 1687852 w 4519952"/>
                    <a:gd name="connsiteY94" fmla="*/ 4343400 h 4496940"/>
                    <a:gd name="connsiteX95" fmla="*/ 1573552 w 4519952"/>
                    <a:gd name="connsiteY95" fmla="*/ 4305300 h 4496940"/>
                    <a:gd name="connsiteX96" fmla="*/ 1402102 w 4519952"/>
                    <a:gd name="connsiteY96" fmla="*/ 4276725 h 4496940"/>
                    <a:gd name="connsiteX97" fmla="*/ 1287802 w 4519952"/>
                    <a:gd name="connsiteY97" fmla="*/ 4229100 h 4496940"/>
                    <a:gd name="connsiteX98" fmla="*/ 1221127 w 4519952"/>
                    <a:gd name="connsiteY98" fmla="*/ 4200525 h 4496940"/>
                    <a:gd name="connsiteX99" fmla="*/ 1144927 w 4519952"/>
                    <a:gd name="connsiteY99" fmla="*/ 4171950 h 4496940"/>
                    <a:gd name="connsiteX100" fmla="*/ 1087777 w 4519952"/>
                    <a:gd name="connsiteY100" fmla="*/ 4143375 h 4496940"/>
                    <a:gd name="connsiteX101" fmla="*/ 1030627 w 4519952"/>
                    <a:gd name="connsiteY101" fmla="*/ 4124325 h 4496940"/>
                    <a:gd name="connsiteX102" fmla="*/ 925852 w 4519952"/>
                    <a:gd name="connsiteY102" fmla="*/ 4067175 h 4496940"/>
                    <a:gd name="connsiteX103" fmla="*/ 830602 w 4519952"/>
                    <a:gd name="connsiteY103" fmla="*/ 3981450 h 4496940"/>
                    <a:gd name="connsiteX104" fmla="*/ 763927 w 4519952"/>
                    <a:gd name="connsiteY104" fmla="*/ 3914775 h 4496940"/>
                    <a:gd name="connsiteX105" fmla="*/ 725827 w 4519952"/>
                    <a:gd name="connsiteY105" fmla="*/ 3876675 h 4496940"/>
                    <a:gd name="connsiteX106" fmla="*/ 697252 w 4519952"/>
                    <a:gd name="connsiteY106" fmla="*/ 3838575 h 4496940"/>
                    <a:gd name="connsiteX107" fmla="*/ 640102 w 4519952"/>
                    <a:gd name="connsiteY107" fmla="*/ 3781425 h 4496940"/>
                    <a:gd name="connsiteX108" fmla="*/ 611527 w 4519952"/>
                    <a:gd name="connsiteY108" fmla="*/ 3733800 h 4496940"/>
                    <a:gd name="connsiteX109" fmla="*/ 554377 w 4519952"/>
                    <a:gd name="connsiteY109" fmla="*/ 3657600 h 4496940"/>
                    <a:gd name="connsiteX110" fmla="*/ 525802 w 4519952"/>
                    <a:gd name="connsiteY110" fmla="*/ 3609975 h 4496940"/>
                    <a:gd name="connsiteX111" fmla="*/ 497227 w 4519952"/>
                    <a:gd name="connsiteY111" fmla="*/ 3552825 h 4496940"/>
                    <a:gd name="connsiteX112" fmla="*/ 440077 w 4519952"/>
                    <a:gd name="connsiteY112" fmla="*/ 3495675 h 4496940"/>
                    <a:gd name="connsiteX113" fmla="*/ 411502 w 4519952"/>
                    <a:gd name="connsiteY113" fmla="*/ 3448050 h 4496940"/>
                    <a:gd name="connsiteX114" fmla="*/ 278152 w 4519952"/>
                    <a:gd name="connsiteY114" fmla="*/ 3257550 h 4496940"/>
                    <a:gd name="connsiteX115" fmla="*/ 249577 w 4519952"/>
                    <a:gd name="connsiteY115" fmla="*/ 3200400 h 4496940"/>
                    <a:gd name="connsiteX116" fmla="*/ 240052 w 4519952"/>
                    <a:gd name="connsiteY116" fmla="*/ 3162300 h 4496940"/>
                    <a:gd name="connsiteX117" fmla="*/ 221002 w 4519952"/>
                    <a:gd name="connsiteY117" fmla="*/ 3105150 h 4496940"/>
                    <a:gd name="connsiteX118" fmla="*/ 173377 w 4519952"/>
                    <a:gd name="connsiteY118" fmla="*/ 3019425 h 4496940"/>
                    <a:gd name="connsiteX119" fmla="*/ 144802 w 4519952"/>
                    <a:gd name="connsiteY119" fmla="*/ 2924175 h 4496940"/>
                    <a:gd name="connsiteX120" fmla="*/ 68602 w 4519952"/>
                    <a:gd name="connsiteY120" fmla="*/ 2724150 h 4496940"/>
                    <a:gd name="connsiteX121" fmla="*/ 49552 w 4519952"/>
                    <a:gd name="connsiteY121" fmla="*/ 2638425 h 4496940"/>
                    <a:gd name="connsiteX122" fmla="*/ 40027 w 4519952"/>
                    <a:gd name="connsiteY122" fmla="*/ 2562225 h 4496940"/>
                    <a:gd name="connsiteX123" fmla="*/ 30502 w 4519952"/>
                    <a:gd name="connsiteY123" fmla="*/ 2514600 h 4496940"/>
                    <a:gd name="connsiteX124" fmla="*/ 11452 w 4519952"/>
                    <a:gd name="connsiteY124" fmla="*/ 2400300 h 4496940"/>
                    <a:gd name="connsiteX125" fmla="*/ 20977 w 4519952"/>
                    <a:gd name="connsiteY125" fmla="*/ 1905000 h 4496940"/>
                    <a:gd name="connsiteX126" fmla="*/ 30502 w 4519952"/>
                    <a:gd name="connsiteY126" fmla="*/ 1838325 h 4496940"/>
                    <a:gd name="connsiteX127" fmla="*/ 49552 w 4519952"/>
                    <a:gd name="connsiteY127" fmla="*/ 1781175 h 4496940"/>
                    <a:gd name="connsiteX128" fmla="*/ 59077 w 4519952"/>
                    <a:gd name="connsiteY128" fmla="*/ 1743075 h 4496940"/>
                    <a:gd name="connsiteX129" fmla="*/ 78127 w 4519952"/>
                    <a:gd name="connsiteY129" fmla="*/ 1685925 h 4496940"/>
                    <a:gd name="connsiteX130" fmla="*/ 87652 w 4519952"/>
                    <a:gd name="connsiteY130" fmla="*/ 1638300 h 4496940"/>
                    <a:gd name="connsiteX131" fmla="*/ 106702 w 4519952"/>
                    <a:gd name="connsiteY131" fmla="*/ 1590675 h 4496940"/>
                    <a:gd name="connsiteX132" fmla="*/ 135277 w 4519952"/>
                    <a:gd name="connsiteY132" fmla="*/ 1504950 h 4496940"/>
                    <a:gd name="connsiteX133" fmla="*/ 154327 w 4519952"/>
                    <a:gd name="connsiteY133" fmla="*/ 1419225 h 4496940"/>
                    <a:gd name="connsiteX134" fmla="*/ 230527 w 4519952"/>
                    <a:gd name="connsiteY134" fmla="*/ 1276350 h 4496940"/>
                    <a:gd name="connsiteX135" fmla="*/ 240052 w 4519952"/>
                    <a:gd name="connsiteY135" fmla="*/ 1247775 h 4496940"/>
                    <a:gd name="connsiteX136" fmla="*/ 268627 w 4519952"/>
                    <a:gd name="connsiteY136" fmla="*/ 1200150 h 4496940"/>
                    <a:gd name="connsiteX137" fmla="*/ 287677 w 4519952"/>
                    <a:gd name="connsiteY137" fmla="*/ 1152525 h 4496940"/>
                    <a:gd name="connsiteX138" fmla="*/ 316252 w 4519952"/>
                    <a:gd name="connsiteY138" fmla="*/ 1114425 h 4496940"/>
                    <a:gd name="connsiteX139" fmla="*/ 363877 w 4519952"/>
                    <a:gd name="connsiteY139" fmla="*/ 1038225 h 4496940"/>
                    <a:gd name="connsiteX140" fmla="*/ 382927 w 4519952"/>
                    <a:gd name="connsiteY140" fmla="*/ 1009650 h 4496940"/>
                    <a:gd name="connsiteX141" fmla="*/ 440077 w 4519952"/>
                    <a:gd name="connsiteY141" fmla="*/ 904875 h 4496940"/>
                    <a:gd name="connsiteX142" fmla="*/ 478177 w 4519952"/>
                    <a:gd name="connsiteY142" fmla="*/ 857250 h 4496940"/>
                    <a:gd name="connsiteX143" fmla="*/ 497227 w 4519952"/>
                    <a:gd name="connsiteY143" fmla="*/ 828675 h 4496940"/>
                    <a:gd name="connsiteX144" fmla="*/ 535327 w 4519952"/>
                    <a:gd name="connsiteY144" fmla="*/ 800100 h 4496940"/>
                    <a:gd name="connsiteX145" fmla="*/ 602002 w 4519952"/>
                    <a:gd name="connsiteY145" fmla="*/ 733425 h 4496940"/>
                    <a:gd name="connsiteX146" fmla="*/ 668677 w 4519952"/>
                    <a:gd name="connsiteY146" fmla="*/ 676275 h 4496940"/>
                    <a:gd name="connsiteX147" fmla="*/ 697252 w 4519952"/>
                    <a:gd name="connsiteY147" fmla="*/ 657225 h 4496940"/>
                    <a:gd name="connsiteX148" fmla="*/ 840127 w 4519952"/>
                    <a:gd name="connsiteY148" fmla="*/ 533400 h 4496940"/>
                    <a:gd name="connsiteX149" fmla="*/ 887752 w 4519952"/>
                    <a:gd name="connsiteY149" fmla="*/ 504825 h 4496940"/>
                    <a:gd name="connsiteX150" fmla="*/ 1167152 w 4519952"/>
                    <a:gd name="connsiteY150" fmla="*/ 311150 h 4496940"/>
                    <a:gd name="connsiteX151" fmla="*/ 1268752 w 4519952"/>
                    <a:gd name="connsiteY151" fmla="*/ 285750 h 4496940"/>
                    <a:gd name="connsiteX152" fmla="*/ 1411627 w 4519952"/>
                    <a:gd name="connsiteY152" fmla="*/ 190500 h 4496940"/>
                    <a:gd name="connsiteX153" fmla="*/ 1449727 w 4519952"/>
                    <a:gd name="connsiteY153" fmla="*/ 161925 h 4496940"/>
                    <a:gd name="connsiteX154" fmla="*/ 1525927 w 4519952"/>
                    <a:gd name="connsiteY154" fmla="*/ 152400 h 4496940"/>
                    <a:gd name="connsiteX155" fmla="*/ 1583077 w 4519952"/>
                    <a:gd name="connsiteY155" fmla="*/ 142875 h 4496940"/>
                    <a:gd name="connsiteX156" fmla="*/ 1716427 w 4519952"/>
                    <a:gd name="connsiteY156" fmla="*/ 123825 h 4496940"/>
                    <a:gd name="connsiteX157" fmla="*/ 1811677 w 4519952"/>
                    <a:gd name="connsiteY157" fmla="*/ 114300 h 4496940"/>
                    <a:gd name="connsiteX158" fmla="*/ 1859302 w 4519952"/>
                    <a:gd name="connsiteY158" fmla="*/ 104775 h 4496940"/>
                    <a:gd name="connsiteX159" fmla="*/ 1916452 w 4519952"/>
                    <a:gd name="connsiteY159" fmla="*/ 95250 h 4496940"/>
                    <a:gd name="connsiteX160" fmla="*/ 2030752 w 4519952"/>
                    <a:gd name="connsiteY160" fmla="*/ 66675 h 4496940"/>
                    <a:gd name="connsiteX161" fmla="*/ 2097427 w 4519952"/>
                    <a:gd name="connsiteY161" fmla="*/ 47625 h 4496940"/>
                    <a:gd name="connsiteX162" fmla="*/ 2164102 w 4519952"/>
                    <a:gd name="connsiteY162" fmla="*/ 38100 h 4496940"/>
                    <a:gd name="connsiteX163" fmla="*/ 2392702 w 45199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59627 w 4519952"/>
                    <a:gd name="connsiteY46" fmla="*/ 1828800 h 4496940"/>
                    <a:gd name="connsiteX47" fmla="*/ 4519952 w 4519952"/>
                    <a:gd name="connsiteY47" fmla="*/ 2181225 h 4496940"/>
                    <a:gd name="connsiteX48" fmla="*/ 4440577 w 4519952"/>
                    <a:gd name="connsiteY48" fmla="*/ 2876550 h 4496940"/>
                    <a:gd name="connsiteX49" fmla="*/ 4383427 w 4519952"/>
                    <a:gd name="connsiteY49" fmla="*/ 2990850 h 4496940"/>
                    <a:gd name="connsiteX50" fmla="*/ 4354852 w 4519952"/>
                    <a:gd name="connsiteY50" fmla="*/ 3057525 h 4496940"/>
                    <a:gd name="connsiteX51" fmla="*/ 4335802 w 4519952"/>
                    <a:gd name="connsiteY51" fmla="*/ 3095625 h 4496940"/>
                    <a:gd name="connsiteX52" fmla="*/ 4278652 w 4519952"/>
                    <a:gd name="connsiteY52" fmla="*/ 3248025 h 4496940"/>
                    <a:gd name="connsiteX53" fmla="*/ 4259602 w 4519952"/>
                    <a:gd name="connsiteY53" fmla="*/ 3276600 h 4496940"/>
                    <a:gd name="connsiteX54" fmla="*/ 4221502 w 4519952"/>
                    <a:gd name="connsiteY54" fmla="*/ 3333750 h 4496940"/>
                    <a:gd name="connsiteX55" fmla="*/ 4211977 w 4519952"/>
                    <a:gd name="connsiteY55" fmla="*/ 3362325 h 4496940"/>
                    <a:gd name="connsiteX56" fmla="*/ 4183402 w 4519952"/>
                    <a:gd name="connsiteY56" fmla="*/ 3400425 h 4496940"/>
                    <a:gd name="connsiteX57" fmla="*/ 4164352 w 4519952"/>
                    <a:gd name="connsiteY57" fmla="*/ 3429000 h 4496940"/>
                    <a:gd name="connsiteX58" fmla="*/ 4088152 w 4519952"/>
                    <a:gd name="connsiteY58" fmla="*/ 3495675 h 4496940"/>
                    <a:gd name="connsiteX59" fmla="*/ 4059577 w 4519952"/>
                    <a:gd name="connsiteY59" fmla="*/ 3533775 h 4496940"/>
                    <a:gd name="connsiteX60" fmla="*/ 4002427 w 4519952"/>
                    <a:gd name="connsiteY60" fmla="*/ 3600450 h 4496940"/>
                    <a:gd name="connsiteX61" fmla="*/ 3983377 w 4519952"/>
                    <a:gd name="connsiteY61" fmla="*/ 3629025 h 4496940"/>
                    <a:gd name="connsiteX62" fmla="*/ 3954802 w 4519952"/>
                    <a:gd name="connsiteY62" fmla="*/ 3648075 h 4496940"/>
                    <a:gd name="connsiteX63" fmla="*/ 3907177 w 4519952"/>
                    <a:gd name="connsiteY63" fmla="*/ 3686175 h 4496940"/>
                    <a:gd name="connsiteX64" fmla="*/ 3869077 w 4519952"/>
                    <a:gd name="connsiteY64" fmla="*/ 3724275 h 4496940"/>
                    <a:gd name="connsiteX65" fmla="*/ 3792877 w 4519952"/>
                    <a:gd name="connsiteY65" fmla="*/ 3781425 h 4496940"/>
                    <a:gd name="connsiteX66" fmla="*/ 3783352 w 4519952"/>
                    <a:gd name="connsiteY66" fmla="*/ 3810000 h 4496940"/>
                    <a:gd name="connsiteX67" fmla="*/ 3745252 w 4519952"/>
                    <a:gd name="connsiteY67" fmla="*/ 3819525 h 4496940"/>
                    <a:gd name="connsiteX68" fmla="*/ 3678577 w 4519952"/>
                    <a:gd name="connsiteY68" fmla="*/ 3848100 h 4496940"/>
                    <a:gd name="connsiteX69" fmla="*/ 3659527 w 4519952"/>
                    <a:gd name="connsiteY69" fmla="*/ 3971925 h 4496940"/>
                    <a:gd name="connsiteX70" fmla="*/ 3630952 w 4519952"/>
                    <a:gd name="connsiteY70" fmla="*/ 4010025 h 4496940"/>
                    <a:gd name="connsiteX71" fmla="*/ 3621427 w 4519952"/>
                    <a:gd name="connsiteY71" fmla="*/ 4038600 h 4496940"/>
                    <a:gd name="connsiteX72" fmla="*/ 3554752 w 4519952"/>
                    <a:gd name="connsiteY72" fmla="*/ 4095750 h 4496940"/>
                    <a:gd name="connsiteX73" fmla="*/ 3516652 w 4519952"/>
                    <a:gd name="connsiteY73" fmla="*/ 4114800 h 4496940"/>
                    <a:gd name="connsiteX74" fmla="*/ 3497602 w 4519952"/>
                    <a:gd name="connsiteY74" fmla="*/ 4143375 h 4496940"/>
                    <a:gd name="connsiteX75" fmla="*/ 3383302 w 4519952"/>
                    <a:gd name="connsiteY75" fmla="*/ 4210050 h 4496940"/>
                    <a:gd name="connsiteX76" fmla="*/ 3335677 w 4519952"/>
                    <a:gd name="connsiteY76" fmla="*/ 4238625 h 4496940"/>
                    <a:gd name="connsiteX77" fmla="*/ 3288052 w 4519952"/>
                    <a:gd name="connsiteY77" fmla="*/ 4248150 h 4496940"/>
                    <a:gd name="connsiteX78" fmla="*/ 3240427 w 4519952"/>
                    <a:gd name="connsiteY78" fmla="*/ 4267200 h 4496940"/>
                    <a:gd name="connsiteX79" fmla="*/ 3068977 w 4519952"/>
                    <a:gd name="connsiteY79" fmla="*/ 4286250 h 4496940"/>
                    <a:gd name="connsiteX80" fmla="*/ 2935627 w 4519952"/>
                    <a:gd name="connsiteY80" fmla="*/ 4333875 h 4496940"/>
                    <a:gd name="connsiteX81" fmla="*/ 2811802 w 4519952"/>
                    <a:gd name="connsiteY81" fmla="*/ 4371975 h 4496940"/>
                    <a:gd name="connsiteX82" fmla="*/ 2745127 w 4519952"/>
                    <a:gd name="connsiteY82" fmla="*/ 4410075 h 4496940"/>
                    <a:gd name="connsiteX83" fmla="*/ 2697502 w 4519952"/>
                    <a:gd name="connsiteY83" fmla="*/ 4429125 h 4496940"/>
                    <a:gd name="connsiteX84" fmla="*/ 2640352 w 4519952"/>
                    <a:gd name="connsiteY84" fmla="*/ 4457700 h 4496940"/>
                    <a:gd name="connsiteX85" fmla="*/ 2583202 w 4519952"/>
                    <a:gd name="connsiteY85" fmla="*/ 4467225 h 4496940"/>
                    <a:gd name="connsiteX86" fmla="*/ 2545102 w 4519952"/>
                    <a:gd name="connsiteY86" fmla="*/ 4486275 h 4496940"/>
                    <a:gd name="connsiteX87" fmla="*/ 2306977 w 4519952"/>
                    <a:gd name="connsiteY87" fmla="*/ 4476750 h 4496940"/>
                    <a:gd name="connsiteX88" fmla="*/ 2202202 w 4519952"/>
                    <a:gd name="connsiteY88" fmla="*/ 4457700 h 4496940"/>
                    <a:gd name="connsiteX89" fmla="*/ 2126002 w 4519952"/>
                    <a:gd name="connsiteY89" fmla="*/ 4429125 h 4496940"/>
                    <a:gd name="connsiteX90" fmla="*/ 1935502 w 4519952"/>
                    <a:gd name="connsiteY90" fmla="*/ 4400550 h 4496940"/>
                    <a:gd name="connsiteX91" fmla="*/ 1821202 w 4519952"/>
                    <a:gd name="connsiteY91" fmla="*/ 4371975 h 4496940"/>
                    <a:gd name="connsiteX92" fmla="*/ 1754527 w 4519952"/>
                    <a:gd name="connsiteY92" fmla="*/ 4352925 h 4496940"/>
                    <a:gd name="connsiteX93" fmla="*/ 1687852 w 4519952"/>
                    <a:gd name="connsiteY93" fmla="*/ 4343400 h 4496940"/>
                    <a:gd name="connsiteX94" fmla="*/ 1573552 w 4519952"/>
                    <a:gd name="connsiteY94" fmla="*/ 4305300 h 4496940"/>
                    <a:gd name="connsiteX95" fmla="*/ 1402102 w 4519952"/>
                    <a:gd name="connsiteY95" fmla="*/ 4276725 h 4496940"/>
                    <a:gd name="connsiteX96" fmla="*/ 1287802 w 4519952"/>
                    <a:gd name="connsiteY96" fmla="*/ 4229100 h 4496940"/>
                    <a:gd name="connsiteX97" fmla="*/ 1221127 w 4519952"/>
                    <a:gd name="connsiteY97" fmla="*/ 4200525 h 4496940"/>
                    <a:gd name="connsiteX98" fmla="*/ 1144927 w 4519952"/>
                    <a:gd name="connsiteY98" fmla="*/ 4171950 h 4496940"/>
                    <a:gd name="connsiteX99" fmla="*/ 1087777 w 4519952"/>
                    <a:gd name="connsiteY99" fmla="*/ 4143375 h 4496940"/>
                    <a:gd name="connsiteX100" fmla="*/ 1030627 w 4519952"/>
                    <a:gd name="connsiteY100" fmla="*/ 4124325 h 4496940"/>
                    <a:gd name="connsiteX101" fmla="*/ 925852 w 4519952"/>
                    <a:gd name="connsiteY101" fmla="*/ 4067175 h 4496940"/>
                    <a:gd name="connsiteX102" fmla="*/ 830602 w 4519952"/>
                    <a:gd name="connsiteY102" fmla="*/ 3981450 h 4496940"/>
                    <a:gd name="connsiteX103" fmla="*/ 763927 w 4519952"/>
                    <a:gd name="connsiteY103" fmla="*/ 3914775 h 4496940"/>
                    <a:gd name="connsiteX104" fmla="*/ 725827 w 4519952"/>
                    <a:gd name="connsiteY104" fmla="*/ 3876675 h 4496940"/>
                    <a:gd name="connsiteX105" fmla="*/ 697252 w 4519952"/>
                    <a:gd name="connsiteY105" fmla="*/ 3838575 h 4496940"/>
                    <a:gd name="connsiteX106" fmla="*/ 640102 w 4519952"/>
                    <a:gd name="connsiteY106" fmla="*/ 3781425 h 4496940"/>
                    <a:gd name="connsiteX107" fmla="*/ 611527 w 4519952"/>
                    <a:gd name="connsiteY107" fmla="*/ 3733800 h 4496940"/>
                    <a:gd name="connsiteX108" fmla="*/ 554377 w 4519952"/>
                    <a:gd name="connsiteY108" fmla="*/ 3657600 h 4496940"/>
                    <a:gd name="connsiteX109" fmla="*/ 525802 w 4519952"/>
                    <a:gd name="connsiteY109" fmla="*/ 3609975 h 4496940"/>
                    <a:gd name="connsiteX110" fmla="*/ 497227 w 4519952"/>
                    <a:gd name="connsiteY110" fmla="*/ 3552825 h 4496940"/>
                    <a:gd name="connsiteX111" fmla="*/ 440077 w 4519952"/>
                    <a:gd name="connsiteY111" fmla="*/ 3495675 h 4496940"/>
                    <a:gd name="connsiteX112" fmla="*/ 411502 w 4519952"/>
                    <a:gd name="connsiteY112" fmla="*/ 3448050 h 4496940"/>
                    <a:gd name="connsiteX113" fmla="*/ 278152 w 4519952"/>
                    <a:gd name="connsiteY113" fmla="*/ 3257550 h 4496940"/>
                    <a:gd name="connsiteX114" fmla="*/ 249577 w 4519952"/>
                    <a:gd name="connsiteY114" fmla="*/ 3200400 h 4496940"/>
                    <a:gd name="connsiteX115" fmla="*/ 240052 w 4519952"/>
                    <a:gd name="connsiteY115" fmla="*/ 3162300 h 4496940"/>
                    <a:gd name="connsiteX116" fmla="*/ 221002 w 4519952"/>
                    <a:gd name="connsiteY116" fmla="*/ 3105150 h 4496940"/>
                    <a:gd name="connsiteX117" fmla="*/ 173377 w 4519952"/>
                    <a:gd name="connsiteY117" fmla="*/ 3019425 h 4496940"/>
                    <a:gd name="connsiteX118" fmla="*/ 144802 w 4519952"/>
                    <a:gd name="connsiteY118" fmla="*/ 2924175 h 4496940"/>
                    <a:gd name="connsiteX119" fmla="*/ 68602 w 4519952"/>
                    <a:gd name="connsiteY119" fmla="*/ 2724150 h 4496940"/>
                    <a:gd name="connsiteX120" fmla="*/ 49552 w 4519952"/>
                    <a:gd name="connsiteY120" fmla="*/ 2638425 h 4496940"/>
                    <a:gd name="connsiteX121" fmla="*/ 40027 w 4519952"/>
                    <a:gd name="connsiteY121" fmla="*/ 2562225 h 4496940"/>
                    <a:gd name="connsiteX122" fmla="*/ 30502 w 4519952"/>
                    <a:gd name="connsiteY122" fmla="*/ 2514600 h 4496940"/>
                    <a:gd name="connsiteX123" fmla="*/ 11452 w 4519952"/>
                    <a:gd name="connsiteY123" fmla="*/ 2400300 h 4496940"/>
                    <a:gd name="connsiteX124" fmla="*/ 20977 w 4519952"/>
                    <a:gd name="connsiteY124" fmla="*/ 1905000 h 4496940"/>
                    <a:gd name="connsiteX125" fmla="*/ 30502 w 4519952"/>
                    <a:gd name="connsiteY125" fmla="*/ 1838325 h 4496940"/>
                    <a:gd name="connsiteX126" fmla="*/ 49552 w 4519952"/>
                    <a:gd name="connsiteY126" fmla="*/ 1781175 h 4496940"/>
                    <a:gd name="connsiteX127" fmla="*/ 59077 w 4519952"/>
                    <a:gd name="connsiteY127" fmla="*/ 1743075 h 4496940"/>
                    <a:gd name="connsiteX128" fmla="*/ 78127 w 4519952"/>
                    <a:gd name="connsiteY128" fmla="*/ 1685925 h 4496940"/>
                    <a:gd name="connsiteX129" fmla="*/ 87652 w 4519952"/>
                    <a:gd name="connsiteY129" fmla="*/ 1638300 h 4496940"/>
                    <a:gd name="connsiteX130" fmla="*/ 106702 w 4519952"/>
                    <a:gd name="connsiteY130" fmla="*/ 1590675 h 4496940"/>
                    <a:gd name="connsiteX131" fmla="*/ 135277 w 4519952"/>
                    <a:gd name="connsiteY131" fmla="*/ 1504950 h 4496940"/>
                    <a:gd name="connsiteX132" fmla="*/ 154327 w 4519952"/>
                    <a:gd name="connsiteY132" fmla="*/ 1419225 h 4496940"/>
                    <a:gd name="connsiteX133" fmla="*/ 230527 w 4519952"/>
                    <a:gd name="connsiteY133" fmla="*/ 1276350 h 4496940"/>
                    <a:gd name="connsiteX134" fmla="*/ 240052 w 4519952"/>
                    <a:gd name="connsiteY134" fmla="*/ 1247775 h 4496940"/>
                    <a:gd name="connsiteX135" fmla="*/ 268627 w 4519952"/>
                    <a:gd name="connsiteY135" fmla="*/ 1200150 h 4496940"/>
                    <a:gd name="connsiteX136" fmla="*/ 287677 w 4519952"/>
                    <a:gd name="connsiteY136" fmla="*/ 1152525 h 4496940"/>
                    <a:gd name="connsiteX137" fmla="*/ 316252 w 4519952"/>
                    <a:gd name="connsiteY137" fmla="*/ 1114425 h 4496940"/>
                    <a:gd name="connsiteX138" fmla="*/ 363877 w 4519952"/>
                    <a:gd name="connsiteY138" fmla="*/ 1038225 h 4496940"/>
                    <a:gd name="connsiteX139" fmla="*/ 382927 w 4519952"/>
                    <a:gd name="connsiteY139" fmla="*/ 1009650 h 4496940"/>
                    <a:gd name="connsiteX140" fmla="*/ 440077 w 4519952"/>
                    <a:gd name="connsiteY140" fmla="*/ 904875 h 4496940"/>
                    <a:gd name="connsiteX141" fmla="*/ 478177 w 4519952"/>
                    <a:gd name="connsiteY141" fmla="*/ 857250 h 4496940"/>
                    <a:gd name="connsiteX142" fmla="*/ 497227 w 4519952"/>
                    <a:gd name="connsiteY142" fmla="*/ 828675 h 4496940"/>
                    <a:gd name="connsiteX143" fmla="*/ 535327 w 4519952"/>
                    <a:gd name="connsiteY143" fmla="*/ 800100 h 4496940"/>
                    <a:gd name="connsiteX144" fmla="*/ 602002 w 4519952"/>
                    <a:gd name="connsiteY144" fmla="*/ 733425 h 4496940"/>
                    <a:gd name="connsiteX145" fmla="*/ 668677 w 4519952"/>
                    <a:gd name="connsiteY145" fmla="*/ 676275 h 4496940"/>
                    <a:gd name="connsiteX146" fmla="*/ 697252 w 4519952"/>
                    <a:gd name="connsiteY146" fmla="*/ 657225 h 4496940"/>
                    <a:gd name="connsiteX147" fmla="*/ 840127 w 4519952"/>
                    <a:gd name="connsiteY147" fmla="*/ 533400 h 4496940"/>
                    <a:gd name="connsiteX148" fmla="*/ 887752 w 4519952"/>
                    <a:gd name="connsiteY148" fmla="*/ 504825 h 4496940"/>
                    <a:gd name="connsiteX149" fmla="*/ 1167152 w 4519952"/>
                    <a:gd name="connsiteY149" fmla="*/ 311150 h 4496940"/>
                    <a:gd name="connsiteX150" fmla="*/ 1268752 w 4519952"/>
                    <a:gd name="connsiteY150" fmla="*/ 285750 h 4496940"/>
                    <a:gd name="connsiteX151" fmla="*/ 1411627 w 4519952"/>
                    <a:gd name="connsiteY151" fmla="*/ 190500 h 4496940"/>
                    <a:gd name="connsiteX152" fmla="*/ 1449727 w 4519952"/>
                    <a:gd name="connsiteY152" fmla="*/ 161925 h 4496940"/>
                    <a:gd name="connsiteX153" fmla="*/ 1525927 w 4519952"/>
                    <a:gd name="connsiteY153" fmla="*/ 152400 h 4496940"/>
                    <a:gd name="connsiteX154" fmla="*/ 1583077 w 4519952"/>
                    <a:gd name="connsiteY154" fmla="*/ 142875 h 4496940"/>
                    <a:gd name="connsiteX155" fmla="*/ 1716427 w 4519952"/>
                    <a:gd name="connsiteY155" fmla="*/ 123825 h 4496940"/>
                    <a:gd name="connsiteX156" fmla="*/ 1811677 w 4519952"/>
                    <a:gd name="connsiteY156" fmla="*/ 114300 h 4496940"/>
                    <a:gd name="connsiteX157" fmla="*/ 1859302 w 4519952"/>
                    <a:gd name="connsiteY157" fmla="*/ 104775 h 4496940"/>
                    <a:gd name="connsiteX158" fmla="*/ 1916452 w 4519952"/>
                    <a:gd name="connsiteY158" fmla="*/ 95250 h 4496940"/>
                    <a:gd name="connsiteX159" fmla="*/ 2030752 w 4519952"/>
                    <a:gd name="connsiteY159" fmla="*/ 66675 h 4496940"/>
                    <a:gd name="connsiteX160" fmla="*/ 2097427 w 4519952"/>
                    <a:gd name="connsiteY160" fmla="*/ 47625 h 4496940"/>
                    <a:gd name="connsiteX161" fmla="*/ 2164102 w 4519952"/>
                    <a:gd name="connsiteY161" fmla="*/ 38100 h 4496940"/>
                    <a:gd name="connsiteX162" fmla="*/ 2392702 w 4519952"/>
                    <a:gd name="connsiteY162" fmla="*/ 28575 h 4496940"/>
                    <a:gd name="connsiteX0" fmla="*/ 2297452 w 4519983"/>
                    <a:gd name="connsiteY0" fmla="*/ 0 h 4496940"/>
                    <a:gd name="connsiteX1" fmla="*/ 2421277 w 4519983"/>
                    <a:gd name="connsiteY1" fmla="*/ 28575 h 4496940"/>
                    <a:gd name="connsiteX2" fmla="*/ 2497477 w 4519983"/>
                    <a:gd name="connsiteY2" fmla="*/ 47625 h 4496940"/>
                    <a:gd name="connsiteX3" fmla="*/ 2754652 w 4519983"/>
                    <a:gd name="connsiteY3" fmla="*/ 66675 h 4496940"/>
                    <a:gd name="connsiteX4" fmla="*/ 2830852 w 4519983"/>
                    <a:gd name="connsiteY4" fmla="*/ 76200 h 4496940"/>
                    <a:gd name="connsiteX5" fmla="*/ 2916577 w 4519983"/>
                    <a:gd name="connsiteY5" fmla="*/ 85725 h 4496940"/>
                    <a:gd name="connsiteX6" fmla="*/ 2973727 w 4519983"/>
                    <a:gd name="connsiteY6" fmla="*/ 114300 h 4496940"/>
                    <a:gd name="connsiteX7" fmla="*/ 3011827 w 4519983"/>
                    <a:gd name="connsiteY7" fmla="*/ 123825 h 4496940"/>
                    <a:gd name="connsiteX8" fmla="*/ 3135652 w 4519983"/>
                    <a:gd name="connsiteY8" fmla="*/ 171450 h 4496940"/>
                    <a:gd name="connsiteX9" fmla="*/ 3173752 w 4519983"/>
                    <a:gd name="connsiteY9" fmla="*/ 190500 h 4496940"/>
                    <a:gd name="connsiteX10" fmla="*/ 3240427 w 4519983"/>
                    <a:gd name="connsiteY10" fmla="*/ 228600 h 4496940"/>
                    <a:gd name="connsiteX11" fmla="*/ 3269002 w 4519983"/>
                    <a:gd name="connsiteY11" fmla="*/ 238125 h 4496940"/>
                    <a:gd name="connsiteX12" fmla="*/ 3297577 w 4519983"/>
                    <a:gd name="connsiteY12" fmla="*/ 257175 h 4496940"/>
                    <a:gd name="connsiteX13" fmla="*/ 3326152 w 4519983"/>
                    <a:gd name="connsiteY13" fmla="*/ 266700 h 4496940"/>
                    <a:gd name="connsiteX14" fmla="*/ 3354727 w 4519983"/>
                    <a:gd name="connsiteY14" fmla="*/ 285750 h 4496940"/>
                    <a:gd name="connsiteX15" fmla="*/ 3421402 w 4519983"/>
                    <a:gd name="connsiteY15" fmla="*/ 323850 h 4496940"/>
                    <a:gd name="connsiteX16" fmla="*/ 3469027 w 4519983"/>
                    <a:gd name="connsiteY16" fmla="*/ 361950 h 4496940"/>
                    <a:gd name="connsiteX17" fmla="*/ 3516652 w 4519983"/>
                    <a:gd name="connsiteY17" fmla="*/ 390525 h 4496940"/>
                    <a:gd name="connsiteX18" fmla="*/ 3545227 w 4519983"/>
                    <a:gd name="connsiteY18" fmla="*/ 419100 h 4496940"/>
                    <a:gd name="connsiteX19" fmla="*/ 3602377 w 4519983"/>
                    <a:gd name="connsiteY19" fmla="*/ 457200 h 4496940"/>
                    <a:gd name="connsiteX20" fmla="*/ 3630952 w 4519983"/>
                    <a:gd name="connsiteY20" fmla="*/ 485775 h 4496940"/>
                    <a:gd name="connsiteX21" fmla="*/ 3678577 w 4519983"/>
                    <a:gd name="connsiteY21" fmla="*/ 504825 h 4496940"/>
                    <a:gd name="connsiteX22" fmla="*/ 3745252 w 4519983"/>
                    <a:gd name="connsiteY22" fmla="*/ 542925 h 4496940"/>
                    <a:gd name="connsiteX23" fmla="*/ 3811927 w 4519983"/>
                    <a:gd name="connsiteY23" fmla="*/ 581025 h 4496940"/>
                    <a:gd name="connsiteX24" fmla="*/ 3840502 w 4519983"/>
                    <a:gd name="connsiteY24" fmla="*/ 600075 h 4496940"/>
                    <a:gd name="connsiteX25" fmla="*/ 3869077 w 4519983"/>
                    <a:gd name="connsiteY25" fmla="*/ 628650 h 4496940"/>
                    <a:gd name="connsiteX26" fmla="*/ 3907177 w 4519983"/>
                    <a:gd name="connsiteY26" fmla="*/ 647700 h 4496940"/>
                    <a:gd name="connsiteX27" fmla="*/ 3935752 w 4519983"/>
                    <a:gd name="connsiteY27" fmla="*/ 676275 h 4496940"/>
                    <a:gd name="connsiteX28" fmla="*/ 3992902 w 4519983"/>
                    <a:gd name="connsiteY28" fmla="*/ 714375 h 4496940"/>
                    <a:gd name="connsiteX29" fmla="*/ 4050052 w 4519983"/>
                    <a:gd name="connsiteY29" fmla="*/ 790575 h 4496940"/>
                    <a:gd name="connsiteX30" fmla="*/ 4078627 w 4519983"/>
                    <a:gd name="connsiteY30" fmla="*/ 838200 h 4496940"/>
                    <a:gd name="connsiteX31" fmla="*/ 4107202 w 4519983"/>
                    <a:gd name="connsiteY31" fmla="*/ 876300 h 4496940"/>
                    <a:gd name="connsiteX32" fmla="*/ 4116727 w 4519983"/>
                    <a:gd name="connsiteY32" fmla="*/ 904875 h 4496940"/>
                    <a:gd name="connsiteX33" fmla="*/ 4135777 w 4519983"/>
                    <a:gd name="connsiteY33" fmla="*/ 933450 h 4496940"/>
                    <a:gd name="connsiteX34" fmla="*/ 4164352 w 4519983"/>
                    <a:gd name="connsiteY34" fmla="*/ 990600 h 4496940"/>
                    <a:gd name="connsiteX35" fmla="*/ 4173877 w 4519983"/>
                    <a:gd name="connsiteY35" fmla="*/ 1019175 h 4496940"/>
                    <a:gd name="connsiteX36" fmla="*/ 4192927 w 4519983"/>
                    <a:gd name="connsiteY36" fmla="*/ 1057275 h 4496940"/>
                    <a:gd name="connsiteX37" fmla="*/ 4202452 w 4519983"/>
                    <a:gd name="connsiteY37" fmla="*/ 1085850 h 4496940"/>
                    <a:gd name="connsiteX38" fmla="*/ 4250077 w 4519983"/>
                    <a:gd name="connsiteY38" fmla="*/ 1143000 h 4496940"/>
                    <a:gd name="connsiteX39" fmla="*/ 4259602 w 4519983"/>
                    <a:gd name="connsiteY39" fmla="*/ 1190625 h 4496940"/>
                    <a:gd name="connsiteX40" fmla="*/ 4307227 w 4519983"/>
                    <a:gd name="connsiteY40" fmla="*/ 1266825 h 4496940"/>
                    <a:gd name="connsiteX41" fmla="*/ 4345327 w 4519983"/>
                    <a:gd name="connsiteY41" fmla="*/ 1362075 h 4496940"/>
                    <a:gd name="connsiteX42" fmla="*/ 4373902 w 4519983"/>
                    <a:gd name="connsiteY42" fmla="*/ 1428750 h 4496940"/>
                    <a:gd name="connsiteX43" fmla="*/ 4392952 w 4519983"/>
                    <a:gd name="connsiteY43" fmla="*/ 1552575 h 4496940"/>
                    <a:gd name="connsiteX44" fmla="*/ 4402477 w 4519983"/>
                    <a:gd name="connsiteY44" fmla="*/ 1590675 h 4496940"/>
                    <a:gd name="connsiteX45" fmla="*/ 4431052 w 4519983"/>
                    <a:gd name="connsiteY45" fmla="*/ 1685925 h 4496940"/>
                    <a:gd name="connsiteX46" fmla="*/ 4519952 w 4519983"/>
                    <a:gd name="connsiteY46" fmla="*/ 2181225 h 4496940"/>
                    <a:gd name="connsiteX47" fmla="*/ 4440577 w 4519983"/>
                    <a:gd name="connsiteY47" fmla="*/ 2876550 h 4496940"/>
                    <a:gd name="connsiteX48" fmla="*/ 4383427 w 4519983"/>
                    <a:gd name="connsiteY48" fmla="*/ 2990850 h 4496940"/>
                    <a:gd name="connsiteX49" fmla="*/ 4354852 w 4519983"/>
                    <a:gd name="connsiteY49" fmla="*/ 3057525 h 4496940"/>
                    <a:gd name="connsiteX50" fmla="*/ 4335802 w 4519983"/>
                    <a:gd name="connsiteY50" fmla="*/ 3095625 h 4496940"/>
                    <a:gd name="connsiteX51" fmla="*/ 4278652 w 4519983"/>
                    <a:gd name="connsiteY51" fmla="*/ 3248025 h 4496940"/>
                    <a:gd name="connsiteX52" fmla="*/ 4259602 w 4519983"/>
                    <a:gd name="connsiteY52" fmla="*/ 3276600 h 4496940"/>
                    <a:gd name="connsiteX53" fmla="*/ 4221502 w 4519983"/>
                    <a:gd name="connsiteY53" fmla="*/ 3333750 h 4496940"/>
                    <a:gd name="connsiteX54" fmla="*/ 4211977 w 4519983"/>
                    <a:gd name="connsiteY54" fmla="*/ 3362325 h 4496940"/>
                    <a:gd name="connsiteX55" fmla="*/ 4183402 w 4519983"/>
                    <a:gd name="connsiteY55" fmla="*/ 3400425 h 4496940"/>
                    <a:gd name="connsiteX56" fmla="*/ 4164352 w 4519983"/>
                    <a:gd name="connsiteY56" fmla="*/ 3429000 h 4496940"/>
                    <a:gd name="connsiteX57" fmla="*/ 4088152 w 4519983"/>
                    <a:gd name="connsiteY57" fmla="*/ 3495675 h 4496940"/>
                    <a:gd name="connsiteX58" fmla="*/ 4059577 w 4519983"/>
                    <a:gd name="connsiteY58" fmla="*/ 3533775 h 4496940"/>
                    <a:gd name="connsiteX59" fmla="*/ 4002427 w 4519983"/>
                    <a:gd name="connsiteY59" fmla="*/ 3600450 h 4496940"/>
                    <a:gd name="connsiteX60" fmla="*/ 3983377 w 4519983"/>
                    <a:gd name="connsiteY60" fmla="*/ 3629025 h 4496940"/>
                    <a:gd name="connsiteX61" fmla="*/ 3954802 w 4519983"/>
                    <a:gd name="connsiteY61" fmla="*/ 3648075 h 4496940"/>
                    <a:gd name="connsiteX62" fmla="*/ 3907177 w 4519983"/>
                    <a:gd name="connsiteY62" fmla="*/ 3686175 h 4496940"/>
                    <a:gd name="connsiteX63" fmla="*/ 3869077 w 4519983"/>
                    <a:gd name="connsiteY63" fmla="*/ 3724275 h 4496940"/>
                    <a:gd name="connsiteX64" fmla="*/ 3792877 w 4519983"/>
                    <a:gd name="connsiteY64" fmla="*/ 3781425 h 4496940"/>
                    <a:gd name="connsiteX65" fmla="*/ 3783352 w 4519983"/>
                    <a:gd name="connsiteY65" fmla="*/ 3810000 h 4496940"/>
                    <a:gd name="connsiteX66" fmla="*/ 3745252 w 4519983"/>
                    <a:gd name="connsiteY66" fmla="*/ 3819525 h 4496940"/>
                    <a:gd name="connsiteX67" fmla="*/ 3678577 w 4519983"/>
                    <a:gd name="connsiteY67" fmla="*/ 3848100 h 4496940"/>
                    <a:gd name="connsiteX68" fmla="*/ 3659527 w 4519983"/>
                    <a:gd name="connsiteY68" fmla="*/ 3971925 h 4496940"/>
                    <a:gd name="connsiteX69" fmla="*/ 3630952 w 4519983"/>
                    <a:gd name="connsiteY69" fmla="*/ 4010025 h 4496940"/>
                    <a:gd name="connsiteX70" fmla="*/ 3621427 w 4519983"/>
                    <a:gd name="connsiteY70" fmla="*/ 4038600 h 4496940"/>
                    <a:gd name="connsiteX71" fmla="*/ 3554752 w 4519983"/>
                    <a:gd name="connsiteY71" fmla="*/ 4095750 h 4496940"/>
                    <a:gd name="connsiteX72" fmla="*/ 3516652 w 4519983"/>
                    <a:gd name="connsiteY72" fmla="*/ 4114800 h 4496940"/>
                    <a:gd name="connsiteX73" fmla="*/ 3497602 w 4519983"/>
                    <a:gd name="connsiteY73" fmla="*/ 4143375 h 4496940"/>
                    <a:gd name="connsiteX74" fmla="*/ 3383302 w 4519983"/>
                    <a:gd name="connsiteY74" fmla="*/ 4210050 h 4496940"/>
                    <a:gd name="connsiteX75" fmla="*/ 3335677 w 4519983"/>
                    <a:gd name="connsiteY75" fmla="*/ 4238625 h 4496940"/>
                    <a:gd name="connsiteX76" fmla="*/ 3288052 w 4519983"/>
                    <a:gd name="connsiteY76" fmla="*/ 4248150 h 4496940"/>
                    <a:gd name="connsiteX77" fmla="*/ 3240427 w 4519983"/>
                    <a:gd name="connsiteY77" fmla="*/ 4267200 h 4496940"/>
                    <a:gd name="connsiteX78" fmla="*/ 3068977 w 4519983"/>
                    <a:gd name="connsiteY78" fmla="*/ 4286250 h 4496940"/>
                    <a:gd name="connsiteX79" fmla="*/ 2935627 w 4519983"/>
                    <a:gd name="connsiteY79" fmla="*/ 4333875 h 4496940"/>
                    <a:gd name="connsiteX80" fmla="*/ 2811802 w 4519983"/>
                    <a:gd name="connsiteY80" fmla="*/ 4371975 h 4496940"/>
                    <a:gd name="connsiteX81" fmla="*/ 2745127 w 4519983"/>
                    <a:gd name="connsiteY81" fmla="*/ 4410075 h 4496940"/>
                    <a:gd name="connsiteX82" fmla="*/ 2697502 w 4519983"/>
                    <a:gd name="connsiteY82" fmla="*/ 4429125 h 4496940"/>
                    <a:gd name="connsiteX83" fmla="*/ 2640352 w 4519983"/>
                    <a:gd name="connsiteY83" fmla="*/ 4457700 h 4496940"/>
                    <a:gd name="connsiteX84" fmla="*/ 2583202 w 4519983"/>
                    <a:gd name="connsiteY84" fmla="*/ 4467225 h 4496940"/>
                    <a:gd name="connsiteX85" fmla="*/ 2545102 w 4519983"/>
                    <a:gd name="connsiteY85" fmla="*/ 4486275 h 4496940"/>
                    <a:gd name="connsiteX86" fmla="*/ 2306977 w 4519983"/>
                    <a:gd name="connsiteY86" fmla="*/ 4476750 h 4496940"/>
                    <a:gd name="connsiteX87" fmla="*/ 2202202 w 4519983"/>
                    <a:gd name="connsiteY87" fmla="*/ 4457700 h 4496940"/>
                    <a:gd name="connsiteX88" fmla="*/ 2126002 w 4519983"/>
                    <a:gd name="connsiteY88" fmla="*/ 4429125 h 4496940"/>
                    <a:gd name="connsiteX89" fmla="*/ 1935502 w 4519983"/>
                    <a:gd name="connsiteY89" fmla="*/ 4400550 h 4496940"/>
                    <a:gd name="connsiteX90" fmla="*/ 1821202 w 4519983"/>
                    <a:gd name="connsiteY90" fmla="*/ 4371975 h 4496940"/>
                    <a:gd name="connsiteX91" fmla="*/ 1754527 w 4519983"/>
                    <a:gd name="connsiteY91" fmla="*/ 4352925 h 4496940"/>
                    <a:gd name="connsiteX92" fmla="*/ 1687852 w 4519983"/>
                    <a:gd name="connsiteY92" fmla="*/ 4343400 h 4496940"/>
                    <a:gd name="connsiteX93" fmla="*/ 1573552 w 4519983"/>
                    <a:gd name="connsiteY93" fmla="*/ 4305300 h 4496940"/>
                    <a:gd name="connsiteX94" fmla="*/ 1402102 w 4519983"/>
                    <a:gd name="connsiteY94" fmla="*/ 4276725 h 4496940"/>
                    <a:gd name="connsiteX95" fmla="*/ 1287802 w 4519983"/>
                    <a:gd name="connsiteY95" fmla="*/ 4229100 h 4496940"/>
                    <a:gd name="connsiteX96" fmla="*/ 1221127 w 4519983"/>
                    <a:gd name="connsiteY96" fmla="*/ 4200525 h 4496940"/>
                    <a:gd name="connsiteX97" fmla="*/ 1144927 w 4519983"/>
                    <a:gd name="connsiteY97" fmla="*/ 4171950 h 4496940"/>
                    <a:gd name="connsiteX98" fmla="*/ 1087777 w 4519983"/>
                    <a:gd name="connsiteY98" fmla="*/ 4143375 h 4496940"/>
                    <a:gd name="connsiteX99" fmla="*/ 1030627 w 4519983"/>
                    <a:gd name="connsiteY99" fmla="*/ 4124325 h 4496940"/>
                    <a:gd name="connsiteX100" fmla="*/ 925852 w 4519983"/>
                    <a:gd name="connsiteY100" fmla="*/ 4067175 h 4496940"/>
                    <a:gd name="connsiteX101" fmla="*/ 830602 w 4519983"/>
                    <a:gd name="connsiteY101" fmla="*/ 3981450 h 4496940"/>
                    <a:gd name="connsiteX102" fmla="*/ 763927 w 4519983"/>
                    <a:gd name="connsiteY102" fmla="*/ 3914775 h 4496940"/>
                    <a:gd name="connsiteX103" fmla="*/ 725827 w 4519983"/>
                    <a:gd name="connsiteY103" fmla="*/ 3876675 h 4496940"/>
                    <a:gd name="connsiteX104" fmla="*/ 697252 w 4519983"/>
                    <a:gd name="connsiteY104" fmla="*/ 3838575 h 4496940"/>
                    <a:gd name="connsiteX105" fmla="*/ 640102 w 4519983"/>
                    <a:gd name="connsiteY105" fmla="*/ 3781425 h 4496940"/>
                    <a:gd name="connsiteX106" fmla="*/ 611527 w 4519983"/>
                    <a:gd name="connsiteY106" fmla="*/ 3733800 h 4496940"/>
                    <a:gd name="connsiteX107" fmla="*/ 554377 w 4519983"/>
                    <a:gd name="connsiteY107" fmla="*/ 3657600 h 4496940"/>
                    <a:gd name="connsiteX108" fmla="*/ 525802 w 4519983"/>
                    <a:gd name="connsiteY108" fmla="*/ 3609975 h 4496940"/>
                    <a:gd name="connsiteX109" fmla="*/ 497227 w 4519983"/>
                    <a:gd name="connsiteY109" fmla="*/ 3552825 h 4496940"/>
                    <a:gd name="connsiteX110" fmla="*/ 440077 w 4519983"/>
                    <a:gd name="connsiteY110" fmla="*/ 3495675 h 4496940"/>
                    <a:gd name="connsiteX111" fmla="*/ 411502 w 4519983"/>
                    <a:gd name="connsiteY111" fmla="*/ 3448050 h 4496940"/>
                    <a:gd name="connsiteX112" fmla="*/ 278152 w 4519983"/>
                    <a:gd name="connsiteY112" fmla="*/ 3257550 h 4496940"/>
                    <a:gd name="connsiteX113" fmla="*/ 249577 w 4519983"/>
                    <a:gd name="connsiteY113" fmla="*/ 3200400 h 4496940"/>
                    <a:gd name="connsiteX114" fmla="*/ 240052 w 4519983"/>
                    <a:gd name="connsiteY114" fmla="*/ 3162300 h 4496940"/>
                    <a:gd name="connsiteX115" fmla="*/ 221002 w 4519983"/>
                    <a:gd name="connsiteY115" fmla="*/ 3105150 h 4496940"/>
                    <a:gd name="connsiteX116" fmla="*/ 173377 w 4519983"/>
                    <a:gd name="connsiteY116" fmla="*/ 3019425 h 4496940"/>
                    <a:gd name="connsiteX117" fmla="*/ 144802 w 4519983"/>
                    <a:gd name="connsiteY117" fmla="*/ 2924175 h 4496940"/>
                    <a:gd name="connsiteX118" fmla="*/ 68602 w 4519983"/>
                    <a:gd name="connsiteY118" fmla="*/ 2724150 h 4496940"/>
                    <a:gd name="connsiteX119" fmla="*/ 49552 w 4519983"/>
                    <a:gd name="connsiteY119" fmla="*/ 2638425 h 4496940"/>
                    <a:gd name="connsiteX120" fmla="*/ 40027 w 4519983"/>
                    <a:gd name="connsiteY120" fmla="*/ 2562225 h 4496940"/>
                    <a:gd name="connsiteX121" fmla="*/ 30502 w 4519983"/>
                    <a:gd name="connsiteY121" fmla="*/ 2514600 h 4496940"/>
                    <a:gd name="connsiteX122" fmla="*/ 11452 w 4519983"/>
                    <a:gd name="connsiteY122" fmla="*/ 2400300 h 4496940"/>
                    <a:gd name="connsiteX123" fmla="*/ 20977 w 4519983"/>
                    <a:gd name="connsiteY123" fmla="*/ 1905000 h 4496940"/>
                    <a:gd name="connsiteX124" fmla="*/ 30502 w 4519983"/>
                    <a:gd name="connsiteY124" fmla="*/ 1838325 h 4496940"/>
                    <a:gd name="connsiteX125" fmla="*/ 49552 w 4519983"/>
                    <a:gd name="connsiteY125" fmla="*/ 1781175 h 4496940"/>
                    <a:gd name="connsiteX126" fmla="*/ 59077 w 4519983"/>
                    <a:gd name="connsiteY126" fmla="*/ 1743075 h 4496940"/>
                    <a:gd name="connsiteX127" fmla="*/ 78127 w 4519983"/>
                    <a:gd name="connsiteY127" fmla="*/ 1685925 h 4496940"/>
                    <a:gd name="connsiteX128" fmla="*/ 87652 w 4519983"/>
                    <a:gd name="connsiteY128" fmla="*/ 1638300 h 4496940"/>
                    <a:gd name="connsiteX129" fmla="*/ 106702 w 4519983"/>
                    <a:gd name="connsiteY129" fmla="*/ 1590675 h 4496940"/>
                    <a:gd name="connsiteX130" fmla="*/ 135277 w 4519983"/>
                    <a:gd name="connsiteY130" fmla="*/ 1504950 h 4496940"/>
                    <a:gd name="connsiteX131" fmla="*/ 154327 w 4519983"/>
                    <a:gd name="connsiteY131" fmla="*/ 1419225 h 4496940"/>
                    <a:gd name="connsiteX132" fmla="*/ 230527 w 4519983"/>
                    <a:gd name="connsiteY132" fmla="*/ 1276350 h 4496940"/>
                    <a:gd name="connsiteX133" fmla="*/ 240052 w 4519983"/>
                    <a:gd name="connsiteY133" fmla="*/ 1247775 h 4496940"/>
                    <a:gd name="connsiteX134" fmla="*/ 268627 w 4519983"/>
                    <a:gd name="connsiteY134" fmla="*/ 1200150 h 4496940"/>
                    <a:gd name="connsiteX135" fmla="*/ 287677 w 4519983"/>
                    <a:gd name="connsiteY135" fmla="*/ 1152525 h 4496940"/>
                    <a:gd name="connsiteX136" fmla="*/ 316252 w 4519983"/>
                    <a:gd name="connsiteY136" fmla="*/ 1114425 h 4496940"/>
                    <a:gd name="connsiteX137" fmla="*/ 363877 w 4519983"/>
                    <a:gd name="connsiteY137" fmla="*/ 1038225 h 4496940"/>
                    <a:gd name="connsiteX138" fmla="*/ 382927 w 4519983"/>
                    <a:gd name="connsiteY138" fmla="*/ 1009650 h 4496940"/>
                    <a:gd name="connsiteX139" fmla="*/ 440077 w 4519983"/>
                    <a:gd name="connsiteY139" fmla="*/ 904875 h 4496940"/>
                    <a:gd name="connsiteX140" fmla="*/ 478177 w 4519983"/>
                    <a:gd name="connsiteY140" fmla="*/ 857250 h 4496940"/>
                    <a:gd name="connsiteX141" fmla="*/ 497227 w 4519983"/>
                    <a:gd name="connsiteY141" fmla="*/ 828675 h 4496940"/>
                    <a:gd name="connsiteX142" fmla="*/ 535327 w 4519983"/>
                    <a:gd name="connsiteY142" fmla="*/ 800100 h 4496940"/>
                    <a:gd name="connsiteX143" fmla="*/ 602002 w 4519983"/>
                    <a:gd name="connsiteY143" fmla="*/ 733425 h 4496940"/>
                    <a:gd name="connsiteX144" fmla="*/ 668677 w 4519983"/>
                    <a:gd name="connsiteY144" fmla="*/ 676275 h 4496940"/>
                    <a:gd name="connsiteX145" fmla="*/ 697252 w 4519983"/>
                    <a:gd name="connsiteY145" fmla="*/ 657225 h 4496940"/>
                    <a:gd name="connsiteX146" fmla="*/ 840127 w 4519983"/>
                    <a:gd name="connsiteY146" fmla="*/ 533400 h 4496940"/>
                    <a:gd name="connsiteX147" fmla="*/ 887752 w 4519983"/>
                    <a:gd name="connsiteY147" fmla="*/ 504825 h 4496940"/>
                    <a:gd name="connsiteX148" fmla="*/ 1167152 w 4519983"/>
                    <a:gd name="connsiteY148" fmla="*/ 311150 h 4496940"/>
                    <a:gd name="connsiteX149" fmla="*/ 1268752 w 4519983"/>
                    <a:gd name="connsiteY149" fmla="*/ 285750 h 4496940"/>
                    <a:gd name="connsiteX150" fmla="*/ 1411627 w 4519983"/>
                    <a:gd name="connsiteY150" fmla="*/ 190500 h 4496940"/>
                    <a:gd name="connsiteX151" fmla="*/ 1449727 w 4519983"/>
                    <a:gd name="connsiteY151" fmla="*/ 161925 h 4496940"/>
                    <a:gd name="connsiteX152" fmla="*/ 1525927 w 4519983"/>
                    <a:gd name="connsiteY152" fmla="*/ 152400 h 4496940"/>
                    <a:gd name="connsiteX153" fmla="*/ 1583077 w 4519983"/>
                    <a:gd name="connsiteY153" fmla="*/ 142875 h 4496940"/>
                    <a:gd name="connsiteX154" fmla="*/ 1716427 w 4519983"/>
                    <a:gd name="connsiteY154" fmla="*/ 123825 h 4496940"/>
                    <a:gd name="connsiteX155" fmla="*/ 1811677 w 4519983"/>
                    <a:gd name="connsiteY155" fmla="*/ 114300 h 4496940"/>
                    <a:gd name="connsiteX156" fmla="*/ 1859302 w 4519983"/>
                    <a:gd name="connsiteY156" fmla="*/ 104775 h 4496940"/>
                    <a:gd name="connsiteX157" fmla="*/ 1916452 w 4519983"/>
                    <a:gd name="connsiteY157" fmla="*/ 95250 h 4496940"/>
                    <a:gd name="connsiteX158" fmla="*/ 2030752 w 4519983"/>
                    <a:gd name="connsiteY158" fmla="*/ 66675 h 4496940"/>
                    <a:gd name="connsiteX159" fmla="*/ 2097427 w 4519983"/>
                    <a:gd name="connsiteY159" fmla="*/ 47625 h 4496940"/>
                    <a:gd name="connsiteX160" fmla="*/ 2164102 w 4519983"/>
                    <a:gd name="connsiteY160" fmla="*/ 38100 h 4496940"/>
                    <a:gd name="connsiteX161" fmla="*/ 2392702 w 4519983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335802 w 4519987"/>
                    <a:gd name="connsiteY50" fmla="*/ 3095625 h 4496940"/>
                    <a:gd name="connsiteX51" fmla="*/ 4278652 w 4519987"/>
                    <a:gd name="connsiteY51" fmla="*/ 3248025 h 4496940"/>
                    <a:gd name="connsiteX52" fmla="*/ 4259602 w 4519987"/>
                    <a:gd name="connsiteY52" fmla="*/ 3276600 h 4496940"/>
                    <a:gd name="connsiteX53" fmla="*/ 4221502 w 4519987"/>
                    <a:gd name="connsiteY53" fmla="*/ 3333750 h 4496940"/>
                    <a:gd name="connsiteX54" fmla="*/ 4211977 w 4519987"/>
                    <a:gd name="connsiteY54" fmla="*/ 3362325 h 4496940"/>
                    <a:gd name="connsiteX55" fmla="*/ 4183402 w 4519987"/>
                    <a:gd name="connsiteY55" fmla="*/ 3400425 h 4496940"/>
                    <a:gd name="connsiteX56" fmla="*/ 4164352 w 4519987"/>
                    <a:gd name="connsiteY56" fmla="*/ 3429000 h 4496940"/>
                    <a:gd name="connsiteX57" fmla="*/ 4088152 w 4519987"/>
                    <a:gd name="connsiteY57" fmla="*/ 3495675 h 4496940"/>
                    <a:gd name="connsiteX58" fmla="*/ 4059577 w 4519987"/>
                    <a:gd name="connsiteY58" fmla="*/ 3533775 h 4496940"/>
                    <a:gd name="connsiteX59" fmla="*/ 4002427 w 4519987"/>
                    <a:gd name="connsiteY59" fmla="*/ 3600450 h 4496940"/>
                    <a:gd name="connsiteX60" fmla="*/ 3983377 w 4519987"/>
                    <a:gd name="connsiteY60" fmla="*/ 3629025 h 4496940"/>
                    <a:gd name="connsiteX61" fmla="*/ 3954802 w 4519987"/>
                    <a:gd name="connsiteY61" fmla="*/ 3648075 h 4496940"/>
                    <a:gd name="connsiteX62" fmla="*/ 3907177 w 4519987"/>
                    <a:gd name="connsiteY62" fmla="*/ 3686175 h 4496940"/>
                    <a:gd name="connsiteX63" fmla="*/ 3869077 w 4519987"/>
                    <a:gd name="connsiteY63" fmla="*/ 3724275 h 4496940"/>
                    <a:gd name="connsiteX64" fmla="*/ 3792877 w 4519987"/>
                    <a:gd name="connsiteY64" fmla="*/ 3781425 h 4496940"/>
                    <a:gd name="connsiteX65" fmla="*/ 3783352 w 4519987"/>
                    <a:gd name="connsiteY65" fmla="*/ 3810000 h 4496940"/>
                    <a:gd name="connsiteX66" fmla="*/ 3745252 w 4519987"/>
                    <a:gd name="connsiteY66" fmla="*/ 3819525 h 4496940"/>
                    <a:gd name="connsiteX67" fmla="*/ 3678577 w 4519987"/>
                    <a:gd name="connsiteY67" fmla="*/ 3848100 h 4496940"/>
                    <a:gd name="connsiteX68" fmla="*/ 3659527 w 4519987"/>
                    <a:gd name="connsiteY68" fmla="*/ 3971925 h 4496940"/>
                    <a:gd name="connsiteX69" fmla="*/ 3630952 w 4519987"/>
                    <a:gd name="connsiteY69" fmla="*/ 4010025 h 4496940"/>
                    <a:gd name="connsiteX70" fmla="*/ 3621427 w 4519987"/>
                    <a:gd name="connsiteY70" fmla="*/ 4038600 h 4496940"/>
                    <a:gd name="connsiteX71" fmla="*/ 3554752 w 4519987"/>
                    <a:gd name="connsiteY71" fmla="*/ 4095750 h 4496940"/>
                    <a:gd name="connsiteX72" fmla="*/ 3516652 w 4519987"/>
                    <a:gd name="connsiteY72" fmla="*/ 4114800 h 4496940"/>
                    <a:gd name="connsiteX73" fmla="*/ 3497602 w 4519987"/>
                    <a:gd name="connsiteY73" fmla="*/ 4143375 h 4496940"/>
                    <a:gd name="connsiteX74" fmla="*/ 3383302 w 4519987"/>
                    <a:gd name="connsiteY74" fmla="*/ 4210050 h 4496940"/>
                    <a:gd name="connsiteX75" fmla="*/ 3335677 w 4519987"/>
                    <a:gd name="connsiteY75" fmla="*/ 4238625 h 4496940"/>
                    <a:gd name="connsiteX76" fmla="*/ 3288052 w 4519987"/>
                    <a:gd name="connsiteY76" fmla="*/ 4248150 h 4496940"/>
                    <a:gd name="connsiteX77" fmla="*/ 3240427 w 4519987"/>
                    <a:gd name="connsiteY77" fmla="*/ 4267200 h 4496940"/>
                    <a:gd name="connsiteX78" fmla="*/ 3068977 w 4519987"/>
                    <a:gd name="connsiteY78" fmla="*/ 4286250 h 4496940"/>
                    <a:gd name="connsiteX79" fmla="*/ 2935627 w 4519987"/>
                    <a:gd name="connsiteY79" fmla="*/ 4333875 h 4496940"/>
                    <a:gd name="connsiteX80" fmla="*/ 2811802 w 4519987"/>
                    <a:gd name="connsiteY80" fmla="*/ 4371975 h 4496940"/>
                    <a:gd name="connsiteX81" fmla="*/ 2745127 w 4519987"/>
                    <a:gd name="connsiteY81" fmla="*/ 4410075 h 4496940"/>
                    <a:gd name="connsiteX82" fmla="*/ 2697502 w 4519987"/>
                    <a:gd name="connsiteY82" fmla="*/ 4429125 h 4496940"/>
                    <a:gd name="connsiteX83" fmla="*/ 2640352 w 4519987"/>
                    <a:gd name="connsiteY83" fmla="*/ 4457700 h 4496940"/>
                    <a:gd name="connsiteX84" fmla="*/ 2583202 w 4519987"/>
                    <a:gd name="connsiteY84" fmla="*/ 4467225 h 4496940"/>
                    <a:gd name="connsiteX85" fmla="*/ 2545102 w 4519987"/>
                    <a:gd name="connsiteY85" fmla="*/ 4486275 h 4496940"/>
                    <a:gd name="connsiteX86" fmla="*/ 2306977 w 4519987"/>
                    <a:gd name="connsiteY86" fmla="*/ 4476750 h 4496940"/>
                    <a:gd name="connsiteX87" fmla="*/ 2202202 w 4519987"/>
                    <a:gd name="connsiteY87" fmla="*/ 4457700 h 4496940"/>
                    <a:gd name="connsiteX88" fmla="*/ 2126002 w 4519987"/>
                    <a:gd name="connsiteY88" fmla="*/ 4429125 h 4496940"/>
                    <a:gd name="connsiteX89" fmla="*/ 1935502 w 4519987"/>
                    <a:gd name="connsiteY89" fmla="*/ 4400550 h 4496940"/>
                    <a:gd name="connsiteX90" fmla="*/ 1821202 w 4519987"/>
                    <a:gd name="connsiteY90" fmla="*/ 4371975 h 4496940"/>
                    <a:gd name="connsiteX91" fmla="*/ 1754527 w 4519987"/>
                    <a:gd name="connsiteY91" fmla="*/ 4352925 h 4496940"/>
                    <a:gd name="connsiteX92" fmla="*/ 1687852 w 4519987"/>
                    <a:gd name="connsiteY92" fmla="*/ 4343400 h 4496940"/>
                    <a:gd name="connsiteX93" fmla="*/ 1573552 w 4519987"/>
                    <a:gd name="connsiteY93" fmla="*/ 4305300 h 4496940"/>
                    <a:gd name="connsiteX94" fmla="*/ 1402102 w 4519987"/>
                    <a:gd name="connsiteY94" fmla="*/ 4276725 h 4496940"/>
                    <a:gd name="connsiteX95" fmla="*/ 1287802 w 4519987"/>
                    <a:gd name="connsiteY95" fmla="*/ 4229100 h 4496940"/>
                    <a:gd name="connsiteX96" fmla="*/ 1221127 w 4519987"/>
                    <a:gd name="connsiteY96" fmla="*/ 4200525 h 4496940"/>
                    <a:gd name="connsiteX97" fmla="*/ 1144927 w 4519987"/>
                    <a:gd name="connsiteY97" fmla="*/ 4171950 h 4496940"/>
                    <a:gd name="connsiteX98" fmla="*/ 1087777 w 4519987"/>
                    <a:gd name="connsiteY98" fmla="*/ 4143375 h 4496940"/>
                    <a:gd name="connsiteX99" fmla="*/ 1030627 w 4519987"/>
                    <a:gd name="connsiteY99" fmla="*/ 4124325 h 4496940"/>
                    <a:gd name="connsiteX100" fmla="*/ 925852 w 4519987"/>
                    <a:gd name="connsiteY100" fmla="*/ 4067175 h 4496940"/>
                    <a:gd name="connsiteX101" fmla="*/ 830602 w 4519987"/>
                    <a:gd name="connsiteY101" fmla="*/ 3981450 h 4496940"/>
                    <a:gd name="connsiteX102" fmla="*/ 763927 w 4519987"/>
                    <a:gd name="connsiteY102" fmla="*/ 3914775 h 4496940"/>
                    <a:gd name="connsiteX103" fmla="*/ 725827 w 4519987"/>
                    <a:gd name="connsiteY103" fmla="*/ 3876675 h 4496940"/>
                    <a:gd name="connsiteX104" fmla="*/ 697252 w 4519987"/>
                    <a:gd name="connsiteY104" fmla="*/ 3838575 h 4496940"/>
                    <a:gd name="connsiteX105" fmla="*/ 640102 w 4519987"/>
                    <a:gd name="connsiteY105" fmla="*/ 3781425 h 4496940"/>
                    <a:gd name="connsiteX106" fmla="*/ 611527 w 4519987"/>
                    <a:gd name="connsiteY106" fmla="*/ 3733800 h 4496940"/>
                    <a:gd name="connsiteX107" fmla="*/ 554377 w 4519987"/>
                    <a:gd name="connsiteY107" fmla="*/ 3657600 h 4496940"/>
                    <a:gd name="connsiteX108" fmla="*/ 525802 w 4519987"/>
                    <a:gd name="connsiteY108" fmla="*/ 3609975 h 4496940"/>
                    <a:gd name="connsiteX109" fmla="*/ 497227 w 4519987"/>
                    <a:gd name="connsiteY109" fmla="*/ 3552825 h 4496940"/>
                    <a:gd name="connsiteX110" fmla="*/ 440077 w 4519987"/>
                    <a:gd name="connsiteY110" fmla="*/ 3495675 h 4496940"/>
                    <a:gd name="connsiteX111" fmla="*/ 411502 w 4519987"/>
                    <a:gd name="connsiteY111" fmla="*/ 3448050 h 4496940"/>
                    <a:gd name="connsiteX112" fmla="*/ 278152 w 4519987"/>
                    <a:gd name="connsiteY112" fmla="*/ 3257550 h 4496940"/>
                    <a:gd name="connsiteX113" fmla="*/ 249577 w 4519987"/>
                    <a:gd name="connsiteY113" fmla="*/ 3200400 h 4496940"/>
                    <a:gd name="connsiteX114" fmla="*/ 240052 w 4519987"/>
                    <a:gd name="connsiteY114" fmla="*/ 3162300 h 4496940"/>
                    <a:gd name="connsiteX115" fmla="*/ 221002 w 4519987"/>
                    <a:gd name="connsiteY115" fmla="*/ 3105150 h 4496940"/>
                    <a:gd name="connsiteX116" fmla="*/ 173377 w 4519987"/>
                    <a:gd name="connsiteY116" fmla="*/ 3019425 h 4496940"/>
                    <a:gd name="connsiteX117" fmla="*/ 144802 w 4519987"/>
                    <a:gd name="connsiteY117" fmla="*/ 2924175 h 4496940"/>
                    <a:gd name="connsiteX118" fmla="*/ 68602 w 4519987"/>
                    <a:gd name="connsiteY118" fmla="*/ 2724150 h 4496940"/>
                    <a:gd name="connsiteX119" fmla="*/ 49552 w 4519987"/>
                    <a:gd name="connsiteY119" fmla="*/ 2638425 h 4496940"/>
                    <a:gd name="connsiteX120" fmla="*/ 40027 w 4519987"/>
                    <a:gd name="connsiteY120" fmla="*/ 2562225 h 4496940"/>
                    <a:gd name="connsiteX121" fmla="*/ 30502 w 4519987"/>
                    <a:gd name="connsiteY121" fmla="*/ 2514600 h 4496940"/>
                    <a:gd name="connsiteX122" fmla="*/ 11452 w 4519987"/>
                    <a:gd name="connsiteY122" fmla="*/ 2400300 h 4496940"/>
                    <a:gd name="connsiteX123" fmla="*/ 20977 w 4519987"/>
                    <a:gd name="connsiteY123" fmla="*/ 1905000 h 4496940"/>
                    <a:gd name="connsiteX124" fmla="*/ 30502 w 4519987"/>
                    <a:gd name="connsiteY124" fmla="*/ 1838325 h 4496940"/>
                    <a:gd name="connsiteX125" fmla="*/ 49552 w 4519987"/>
                    <a:gd name="connsiteY125" fmla="*/ 1781175 h 4496940"/>
                    <a:gd name="connsiteX126" fmla="*/ 59077 w 4519987"/>
                    <a:gd name="connsiteY126" fmla="*/ 1743075 h 4496940"/>
                    <a:gd name="connsiteX127" fmla="*/ 78127 w 4519987"/>
                    <a:gd name="connsiteY127" fmla="*/ 1685925 h 4496940"/>
                    <a:gd name="connsiteX128" fmla="*/ 87652 w 4519987"/>
                    <a:gd name="connsiteY128" fmla="*/ 1638300 h 4496940"/>
                    <a:gd name="connsiteX129" fmla="*/ 106702 w 4519987"/>
                    <a:gd name="connsiteY129" fmla="*/ 1590675 h 4496940"/>
                    <a:gd name="connsiteX130" fmla="*/ 135277 w 4519987"/>
                    <a:gd name="connsiteY130" fmla="*/ 1504950 h 4496940"/>
                    <a:gd name="connsiteX131" fmla="*/ 154327 w 4519987"/>
                    <a:gd name="connsiteY131" fmla="*/ 1419225 h 4496940"/>
                    <a:gd name="connsiteX132" fmla="*/ 230527 w 4519987"/>
                    <a:gd name="connsiteY132" fmla="*/ 1276350 h 4496940"/>
                    <a:gd name="connsiteX133" fmla="*/ 240052 w 4519987"/>
                    <a:gd name="connsiteY133" fmla="*/ 1247775 h 4496940"/>
                    <a:gd name="connsiteX134" fmla="*/ 268627 w 4519987"/>
                    <a:gd name="connsiteY134" fmla="*/ 1200150 h 4496940"/>
                    <a:gd name="connsiteX135" fmla="*/ 287677 w 4519987"/>
                    <a:gd name="connsiteY135" fmla="*/ 1152525 h 4496940"/>
                    <a:gd name="connsiteX136" fmla="*/ 316252 w 4519987"/>
                    <a:gd name="connsiteY136" fmla="*/ 1114425 h 4496940"/>
                    <a:gd name="connsiteX137" fmla="*/ 363877 w 4519987"/>
                    <a:gd name="connsiteY137" fmla="*/ 1038225 h 4496940"/>
                    <a:gd name="connsiteX138" fmla="*/ 382927 w 4519987"/>
                    <a:gd name="connsiteY138" fmla="*/ 1009650 h 4496940"/>
                    <a:gd name="connsiteX139" fmla="*/ 440077 w 4519987"/>
                    <a:gd name="connsiteY139" fmla="*/ 904875 h 4496940"/>
                    <a:gd name="connsiteX140" fmla="*/ 478177 w 4519987"/>
                    <a:gd name="connsiteY140" fmla="*/ 857250 h 4496940"/>
                    <a:gd name="connsiteX141" fmla="*/ 497227 w 4519987"/>
                    <a:gd name="connsiteY141" fmla="*/ 828675 h 4496940"/>
                    <a:gd name="connsiteX142" fmla="*/ 535327 w 4519987"/>
                    <a:gd name="connsiteY142" fmla="*/ 800100 h 4496940"/>
                    <a:gd name="connsiteX143" fmla="*/ 602002 w 4519987"/>
                    <a:gd name="connsiteY143" fmla="*/ 733425 h 4496940"/>
                    <a:gd name="connsiteX144" fmla="*/ 668677 w 4519987"/>
                    <a:gd name="connsiteY144" fmla="*/ 676275 h 4496940"/>
                    <a:gd name="connsiteX145" fmla="*/ 697252 w 4519987"/>
                    <a:gd name="connsiteY145" fmla="*/ 657225 h 4496940"/>
                    <a:gd name="connsiteX146" fmla="*/ 840127 w 4519987"/>
                    <a:gd name="connsiteY146" fmla="*/ 533400 h 4496940"/>
                    <a:gd name="connsiteX147" fmla="*/ 887752 w 4519987"/>
                    <a:gd name="connsiteY147" fmla="*/ 504825 h 4496940"/>
                    <a:gd name="connsiteX148" fmla="*/ 1167152 w 4519987"/>
                    <a:gd name="connsiteY148" fmla="*/ 311150 h 4496940"/>
                    <a:gd name="connsiteX149" fmla="*/ 1268752 w 4519987"/>
                    <a:gd name="connsiteY149" fmla="*/ 285750 h 4496940"/>
                    <a:gd name="connsiteX150" fmla="*/ 1411627 w 4519987"/>
                    <a:gd name="connsiteY150" fmla="*/ 190500 h 4496940"/>
                    <a:gd name="connsiteX151" fmla="*/ 1449727 w 4519987"/>
                    <a:gd name="connsiteY151" fmla="*/ 161925 h 4496940"/>
                    <a:gd name="connsiteX152" fmla="*/ 1525927 w 4519987"/>
                    <a:gd name="connsiteY152" fmla="*/ 152400 h 4496940"/>
                    <a:gd name="connsiteX153" fmla="*/ 1583077 w 4519987"/>
                    <a:gd name="connsiteY153" fmla="*/ 142875 h 4496940"/>
                    <a:gd name="connsiteX154" fmla="*/ 1716427 w 4519987"/>
                    <a:gd name="connsiteY154" fmla="*/ 123825 h 4496940"/>
                    <a:gd name="connsiteX155" fmla="*/ 1811677 w 4519987"/>
                    <a:gd name="connsiteY155" fmla="*/ 114300 h 4496940"/>
                    <a:gd name="connsiteX156" fmla="*/ 1859302 w 4519987"/>
                    <a:gd name="connsiteY156" fmla="*/ 104775 h 4496940"/>
                    <a:gd name="connsiteX157" fmla="*/ 1916452 w 4519987"/>
                    <a:gd name="connsiteY157" fmla="*/ 95250 h 4496940"/>
                    <a:gd name="connsiteX158" fmla="*/ 2030752 w 4519987"/>
                    <a:gd name="connsiteY158" fmla="*/ 66675 h 4496940"/>
                    <a:gd name="connsiteX159" fmla="*/ 2097427 w 4519987"/>
                    <a:gd name="connsiteY159" fmla="*/ 47625 h 4496940"/>
                    <a:gd name="connsiteX160" fmla="*/ 2164102 w 4519987"/>
                    <a:gd name="connsiteY160" fmla="*/ 38100 h 4496940"/>
                    <a:gd name="connsiteX161" fmla="*/ 2392702 w 4519987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278652 w 4519987"/>
                    <a:gd name="connsiteY50" fmla="*/ 3248025 h 4496940"/>
                    <a:gd name="connsiteX51" fmla="*/ 4259602 w 4519987"/>
                    <a:gd name="connsiteY51" fmla="*/ 3276600 h 4496940"/>
                    <a:gd name="connsiteX52" fmla="*/ 4221502 w 4519987"/>
                    <a:gd name="connsiteY52" fmla="*/ 3333750 h 4496940"/>
                    <a:gd name="connsiteX53" fmla="*/ 4211977 w 4519987"/>
                    <a:gd name="connsiteY53" fmla="*/ 3362325 h 4496940"/>
                    <a:gd name="connsiteX54" fmla="*/ 4183402 w 4519987"/>
                    <a:gd name="connsiteY54" fmla="*/ 3400425 h 4496940"/>
                    <a:gd name="connsiteX55" fmla="*/ 4164352 w 4519987"/>
                    <a:gd name="connsiteY55" fmla="*/ 3429000 h 4496940"/>
                    <a:gd name="connsiteX56" fmla="*/ 4088152 w 4519987"/>
                    <a:gd name="connsiteY56" fmla="*/ 3495675 h 4496940"/>
                    <a:gd name="connsiteX57" fmla="*/ 4059577 w 4519987"/>
                    <a:gd name="connsiteY57" fmla="*/ 3533775 h 4496940"/>
                    <a:gd name="connsiteX58" fmla="*/ 4002427 w 4519987"/>
                    <a:gd name="connsiteY58" fmla="*/ 3600450 h 4496940"/>
                    <a:gd name="connsiteX59" fmla="*/ 3983377 w 4519987"/>
                    <a:gd name="connsiteY59" fmla="*/ 3629025 h 4496940"/>
                    <a:gd name="connsiteX60" fmla="*/ 3954802 w 4519987"/>
                    <a:gd name="connsiteY60" fmla="*/ 3648075 h 4496940"/>
                    <a:gd name="connsiteX61" fmla="*/ 3907177 w 4519987"/>
                    <a:gd name="connsiteY61" fmla="*/ 3686175 h 4496940"/>
                    <a:gd name="connsiteX62" fmla="*/ 3869077 w 4519987"/>
                    <a:gd name="connsiteY62" fmla="*/ 3724275 h 4496940"/>
                    <a:gd name="connsiteX63" fmla="*/ 3792877 w 4519987"/>
                    <a:gd name="connsiteY63" fmla="*/ 3781425 h 4496940"/>
                    <a:gd name="connsiteX64" fmla="*/ 3783352 w 4519987"/>
                    <a:gd name="connsiteY64" fmla="*/ 3810000 h 4496940"/>
                    <a:gd name="connsiteX65" fmla="*/ 3745252 w 4519987"/>
                    <a:gd name="connsiteY65" fmla="*/ 3819525 h 4496940"/>
                    <a:gd name="connsiteX66" fmla="*/ 3678577 w 4519987"/>
                    <a:gd name="connsiteY66" fmla="*/ 3848100 h 4496940"/>
                    <a:gd name="connsiteX67" fmla="*/ 3659527 w 4519987"/>
                    <a:gd name="connsiteY67" fmla="*/ 3971925 h 4496940"/>
                    <a:gd name="connsiteX68" fmla="*/ 3630952 w 4519987"/>
                    <a:gd name="connsiteY68" fmla="*/ 4010025 h 4496940"/>
                    <a:gd name="connsiteX69" fmla="*/ 3621427 w 4519987"/>
                    <a:gd name="connsiteY69" fmla="*/ 4038600 h 4496940"/>
                    <a:gd name="connsiteX70" fmla="*/ 3554752 w 4519987"/>
                    <a:gd name="connsiteY70" fmla="*/ 4095750 h 4496940"/>
                    <a:gd name="connsiteX71" fmla="*/ 3516652 w 4519987"/>
                    <a:gd name="connsiteY71" fmla="*/ 4114800 h 4496940"/>
                    <a:gd name="connsiteX72" fmla="*/ 3497602 w 4519987"/>
                    <a:gd name="connsiteY72" fmla="*/ 4143375 h 4496940"/>
                    <a:gd name="connsiteX73" fmla="*/ 3383302 w 4519987"/>
                    <a:gd name="connsiteY73" fmla="*/ 4210050 h 4496940"/>
                    <a:gd name="connsiteX74" fmla="*/ 3335677 w 4519987"/>
                    <a:gd name="connsiteY74" fmla="*/ 4238625 h 4496940"/>
                    <a:gd name="connsiteX75" fmla="*/ 3288052 w 4519987"/>
                    <a:gd name="connsiteY75" fmla="*/ 4248150 h 4496940"/>
                    <a:gd name="connsiteX76" fmla="*/ 3240427 w 4519987"/>
                    <a:gd name="connsiteY76" fmla="*/ 4267200 h 4496940"/>
                    <a:gd name="connsiteX77" fmla="*/ 3068977 w 4519987"/>
                    <a:gd name="connsiteY77" fmla="*/ 4286250 h 4496940"/>
                    <a:gd name="connsiteX78" fmla="*/ 2935627 w 4519987"/>
                    <a:gd name="connsiteY78" fmla="*/ 4333875 h 4496940"/>
                    <a:gd name="connsiteX79" fmla="*/ 2811802 w 4519987"/>
                    <a:gd name="connsiteY79" fmla="*/ 4371975 h 4496940"/>
                    <a:gd name="connsiteX80" fmla="*/ 2745127 w 4519987"/>
                    <a:gd name="connsiteY80" fmla="*/ 4410075 h 4496940"/>
                    <a:gd name="connsiteX81" fmla="*/ 2697502 w 4519987"/>
                    <a:gd name="connsiteY81" fmla="*/ 4429125 h 4496940"/>
                    <a:gd name="connsiteX82" fmla="*/ 2640352 w 4519987"/>
                    <a:gd name="connsiteY82" fmla="*/ 4457700 h 4496940"/>
                    <a:gd name="connsiteX83" fmla="*/ 2583202 w 4519987"/>
                    <a:gd name="connsiteY83" fmla="*/ 4467225 h 4496940"/>
                    <a:gd name="connsiteX84" fmla="*/ 2545102 w 4519987"/>
                    <a:gd name="connsiteY84" fmla="*/ 4486275 h 4496940"/>
                    <a:gd name="connsiteX85" fmla="*/ 2306977 w 4519987"/>
                    <a:gd name="connsiteY85" fmla="*/ 4476750 h 4496940"/>
                    <a:gd name="connsiteX86" fmla="*/ 2202202 w 4519987"/>
                    <a:gd name="connsiteY86" fmla="*/ 4457700 h 4496940"/>
                    <a:gd name="connsiteX87" fmla="*/ 2126002 w 4519987"/>
                    <a:gd name="connsiteY87" fmla="*/ 4429125 h 4496940"/>
                    <a:gd name="connsiteX88" fmla="*/ 1935502 w 4519987"/>
                    <a:gd name="connsiteY88" fmla="*/ 4400550 h 4496940"/>
                    <a:gd name="connsiteX89" fmla="*/ 1821202 w 4519987"/>
                    <a:gd name="connsiteY89" fmla="*/ 4371975 h 4496940"/>
                    <a:gd name="connsiteX90" fmla="*/ 1754527 w 4519987"/>
                    <a:gd name="connsiteY90" fmla="*/ 4352925 h 4496940"/>
                    <a:gd name="connsiteX91" fmla="*/ 1687852 w 4519987"/>
                    <a:gd name="connsiteY91" fmla="*/ 4343400 h 4496940"/>
                    <a:gd name="connsiteX92" fmla="*/ 1573552 w 4519987"/>
                    <a:gd name="connsiteY92" fmla="*/ 4305300 h 4496940"/>
                    <a:gd name="connsiteX93" fmla="*/ 1402102 w 4519987"/>
                    <a:gd name="connsiteY93" fmla="*/ 4276725 h 4496940"/>
                    <a:gd name="connsiteX94" fmla="*/ 1287802 w 4519987"/>
                    <a:gd name="connsiteY94" fmla="*/ 4229100 h 4496940"/>
                    <a:gd name="connsiteX95" fmla="*/ 1221127 w 4519987"/>
                    <a:gd name="connsiteY95" fmla="*/ 4200525 h 4496940"/>
                    <a:gd name="connsiteX96" fmla="*/ 1144927 w 4519987"/>
                    <a:gd name="connsiteY96" fmla="*/ 4171950 h 4496940"/>
                    <a:gd name="connsiteX97" fmla="*/ 1087777 w 4519987"/>
                    <a:gd name="connsiteY97" fmla="*/ 4143375 h 4496940"/>
                    <a:gd name="connsiteX98" fmla="*/ 1030627 w 4519987"/>
                    <a:gd name="connsiteY98" fmla="*/ 4124325 h 4496940"/>
                    <a:gd name="connsiteX99" fmla="*/ 925852 w 4519987"/>
                    <a:gd name="connsiteY99" fmla="*/ 4067175 h 4496940"/>
                    <a:gd name="connsiteX100" fmla="*/ 830602 w 4519987"/>
                    <a:gd name="connsiteY100" fmla="*/ 3981450 h 4496940"/>
                    <a:gd name="connsiteX101" fmla="*/ 763927 w 4519987"/>
                    <a:gd name="connsiteY101" fmla="*/ 3914775 h 4496940"/>
                    <a:gd name="connsiteX102" fmla="*/ 725827 w 4519987"/>
                    <a:gd name="connsiteY102" fmla="*/ 3876675 h 4496940"/>
                    <a:gd name="connsiteX103" fmla="*/ 697252 w 4519987"/>
                    <a:gd name="connsiteY103" fmla="*/ 3838575 h 4496940"/>
                    <a:gd name="connsiteX104" fmla="*/ 640102 w 4519987"/>
                    <a:gd name="connsiteY104" fmla="*/ 3781425 h 4496940"/>
                    <a:gd name="connsiteX105" fmla="*/ 611527 w 4519987"/>
                    <a:gd name="connsiteY105" fmla="*/ 3733800 h 4496940"/>
                    <a:gd name="connsiteX106" fmla="*/ 554377 w 4519987"/>
                    <a:gd name="connsiteY106" fmla="*/ 3657600 h 4496940"/>
                    <a:gd name="connsiteX107" fmla="*/ 525802 w 4519987"/>
                    <a:gd name="connsiteY107" fmla="*/ 3609975 h 4496940"/>
                    <a:gd name="connsiteX108" fmla="*/ 497227 w 4519987"/>
                    <a:gd name="connsiteY108" fmla="*/ 3552825 h 4496940"/>
                    <a:gd name="connsiteX109" fmla="*/ 440077 w 4519987"/>
                    <a:gd name="connsiteY109" fmla="*/ 3495675 h 4496940"/>
                    <a:gd name="connsiteX110" fmla="*/ 411502 w 4519987"/>
                    <a:gd name="connsiteY110" fmla="*/ 3448050 h 4496940"/>
                    <a:gd name="connsiteX111" fmla="*/ 278152 w 4519987"/>
                    <a:gd name="connsiteY111" fmla="*/ 3257550 h 4496940"/>
                    <a:gd name="connsiteX112" fmla="*/ 249577 w 4519987"/>
                    <a:gd name="connsiteY112" fmla="*/ 3200400 h 4496940"/>
                    <a:gd name="connsiteX113" fmla="*/ 240052 w 4519987"/>
                    <a:gd name="connsiteY113" fmla="*/ 3162300 h 4496940"/>
                    <a:gd name="connsiteX114" fmla="*/ 221002 w 4519987"/>
                    <a:gd name="connsiteY114" fmla="*/ 3105150 h 4496940"/>
                    <a:gd name="connsiteX115" fmla="*/ 173377 w 4519987"/>
                    <a:gd name="connsiteY115" fmla="*/ 3019425 h 4496940"/>
                    <a:gd name="connsiteX116" fmla="*/ 144802 w 4519987"/>
                    <a:gd name="connsiteY116" fmla="*/ 2924175 h 4496940"/>
                    <a:gd name="connsiteX117" fmla="*/ 68602 w 4519987"/>
                    <a:gd name="connsiteY117" fmla="*/ 2724150 h 4496940"/>
                    <a:gd name="connsiteX118" fmla="*/ 49552 w 4519987"/>
                    <a:gd name="connsiteY118" fmla="*/ 2638425 h 4496940"/>
                    <a:gd name="connsiteX119" fmla="*/ 40027 w 4519987"/>
                    <a:gd name="connsiteY119" fmla="*/ 2562225 h 4496940"/>
                    <a:gd name="connsiteX120" fmla="*/ 30502 w 4519987"/>
                    <a:gd name="connsiteY120" fmla="*/ 2514600 h 4496940"/>
                    <a:gd name="connsiteX121" fmla="*/ 11452 w 4519987"/>
                    <a:gd name="connsiteY121" fmla="*/ 2400300 h 4496940"/>
                    <a:gd name="connsiteX122" fmla="*/ 20977 w 4519987"/>
                    <a:gd name="connsiteY122" fmla="*/ 1905000 h 4496940"/>
                    <a:gd name="connsiteX123" fmla="*/ 30502 w 4519987"/>
                    <a:gd name="connsiteY123" fmla="*/ 1838325 h 4496940"/>
                    <a:gd name="connsiteX124" fmla="*/ 49552 w 4519987"/>
                    <a:gd name="connsiteY124" fmla="*/ 1781175 h 4496940"/>
                    <a:gd name="connsiteX125" fmla="*/ 59077 w 4519987"/>
                    <a:gd name="connsiteY125" fmla="*/ 1743075 h 4496940"/>
                    <a:gd name="connsiteX126" fmla="*/ 78127 w 4519987"/>
                    <a:gd name="connsiteY126" fmla="*/ 1685925 h 4496940"/>
                    <a:gd name="connsiteX127" fmla="*/ 87652 w 4519987"/>
                    <a:gd name="connsiteY127" fmla="*/ 1638300 h 4496940"/>
                    <a:gd name="connsiteX128" fmla="*/ 106702 w 4519987"/>
                    <a:gd name="connsiteY128" fmla="*/ 1590675 h 4496940"/>
                    <a:gd name="connsiteX129" fmla="*/ 135277 w 4519987"/>
                    <a:gd name="connsiteY129" fmla="*/ 1504950 h 4496940"/>
                    <a:gd name="connsiteX130" fmla="*/ 154327 w 4519987"/>
                    <a:gd name="connsiteY130" fmla="*/ 1419225 h 4496940"/>
                    <a:gd name="connsiteX131" fmla="*/ 230527 w 4519987"/>
                    <a:gd name="connsiteY131" fmla="*/ 1276350 h 4496940"/>
                    <a:gd name="connsiteX132" fmla="*/ 240052 w 4519987"/>
                    <a:gd name="connsiteY132" fmla="*/ 1247775 h 4496940"/>
                    <a:gd name="connsiteX133" fmla="*/ 268627 w 4519987"/>
                    <a:gd name="connsiteY133" fmla="*/ 1200150 h 4496940"/>
                    <a:gd name="connsiteX134" fmla="*/ 287677 w 4519987"/>
                    <a:gd name="connsiteY134" fmla="*/ 1152525 h 4496940"/>
                    <a:gd name="connsiteX135" fmla="*/ 316252 w 4519987"/>
                    <a:gd name="connsiteY135" fmla="*/ 1114425 h 4496940"/>
                    <a:gd name="connsiteX136" fmla="*/ 363877 w 4519987"/>
                    <a:gd name="connsiteY136" fmla="*/ 1038225 h 4496940"/>
                    <a:gd name="connsiteX137" fmla="*/ 382927 w 4519987"/>
                    <a:gd name="connsiteY137" fmla="*/ 1009650 h 4496940"/>
                    <a:gd name="connsiteX138" fmla="*/ 440077 w 4519987"/>
                    <a:gd name="connsiteY138" fmla="*/ 904875 h 4496940"/>
                    <a:gd name="connsiteX139" fmla="*/ 478177 w 4519987"/>
                    <a:gd name="connsiteY139" fmla="*/ 857250 h 4496940"/>
                    <a:gd name="connsiteX140" fmla="*/ 497227 w 4519987"/>
                    <a:gd name="connsiteY140" fmla="*/ 828675 h 4496940"/>
                    <a:gd name="connsiteX141" fmla="*/ 535327 w 4519987"/>
                    <a:gd name="connsiteY141" fmla="*/ 800100 h 4496940"/>
                    <a:gd name="connsiteX142" fmla="*/ 602002 w 4519987"/>
                    <a:gd name="connsiteY142" fmla="*/ 733425 h 4496940"/>
                    <a:gd name="connsiteX143" fmla="*/ 668677 w 4519987"/>
                    <a:gd name="connsiteY143" fmla="*/ 676275 h 4496940"/>
                    <a:gd name="connsiteX144" fmla="*/ 697252 w 4519987"/>
                    <a:gd name="connsiteY144" fmla="*/ 657225 h 4496940"/>
                    <a:gd name="connsiteX145" fmla="*/ 840127 w 4519987"/>
                    <a:gd name="connsiteY145" fmla="*/ 533400 h 4496940"/>
                    <a:gd name="connsiteX146" fmla="*/ 887752 w 4519987"/>
                    <a:gd name="connsiteY146" fmla="*/ 504825 h 4496940"/>
                    <a:gd name="connsiteX147" fmla="*/ 1167152 w 4519987"/>
                    <a:gd name="connsiteY147" fmla="*/ 311150 h 4496940"/>
                    <a:gd name="connsiteX148" fmla="*/ 1268752 w 4519987"/>
                    <a:gd name="connsiteY148" fmla="*/ 285750 h 4496940"/>
                    <a:gd name="connsiteX149" fmla="*/ 1411627 w 4519987"/>
                    <a:gd name="connsiteY149" fmla="*/ 190500 h 4496940"/>
                    <a:gd name="connsiteX150" fmla="*/ 1449727 w 4519987"/>
                    <a:gd name="connsiteY150" fmla="*/ 161925 h 4496940"/>
                    <a:gd name="connsiteX151" fmla="*/ 1525927 w 4519987"/>
                    <a:gd name="connsiteY151" fmla="*/ 152400 h 4496940"/>
                    <a:gd name="connsiteX152" fmla="*/ 1583077 w 4519987"/>
                    <a:gd name="connsiteY152" fmla="*/ 142875 h 4496940"/>
                    <a:gd name="connsiteX153" fmla="*/ 1716427 w 4519987"/>
                    <a:gd name="connsiteY153" fmla="*/ 123825 h 4496940"/>
                    <a:gd name="connsiteX154" fmla="*/ 1811677 w 4519987"/>
                    <a:gd name="connsiteY154" fmla="*/ 114300 h 4496940"/>
                    <a:gd name="connsiteX155" fmla="*/ 1859302 w 4519987"/>
                    <a:gd name="connsiteY155" fmla="*/ 104775 h 4496940"/>
                    <a:gd name="connsiteX156" fmla="*/ 1916452 w 4519987"/>
                    <a:gd name="connsiteY156" fmla="*/ 95250 h 4496940"/>
                    <a:gd name="connsiteX157" fmla="*/ 2030752 w 4519987"/>
                    <a:gd name="connsiteY157" fmla="*/ 66675 h 4496940"/>
                    <a:gd name="connsiteX158" fmla="*/ 2097427 w 4519987"/>
                    <a:gd name="connsiteY158" fmla="*/ 47625 h 4496940"/>
                    <a:gd name="connsiteX159" fmla="*/ 2164102 w 4519987"/>
                    <a:gd name="connsiteY159" fmla="*/ 38100 h 4496940"/>
                    <a:gd name="connsiteX160" fmla="*/ 2392702 w 4519987"/>
                    <a:gd name="connsiteY16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278652 w 4519987"/>
                    <a:gd name="connsiteY49" fmla="*/ 3248025 h 4496940"/>
                    <a:gd name="connsiteX50" fmla="*/ 4259602 w 4519987"/>
                    <a:gd name="connsiteY50" fmla="*/ 3276600 h 4496940"/>
                    <a:gd name="connsiteX51" fmla="*/ 4221502 w 4519987"/>
                    <a:gd name="connsiteY51" fmla="*/ 3333750 h 4496940"/>
                    <a:gd name="connsiteX52" fmla="*/ 4211977 w 4519987"/>
                    <a:gd name="connsiteY52" fmla="*/ 3362325 h 4496940"/>
                    <a:gd name="connsiteX53" fmla="*/ 4183402 w 4519987"/>
                    <a:gd name="connsiteY53" fmla="*/ 3400425 h 4496940"/>
                    <a:gd name="connsiteX54" fmla="*/ 4164352 w 4519987"/>
                    <a:gd name="connsiteY54" fmla="*/ 3429000 h 4496940"/>
                    <a:gd name="connsiteX55" fmla="*/ 4088152 w 4519987"/>
                    <a:gd name="connsiteY55" fmla="*/ 3495675 h 4496940"/>
                    <a:gd name="connsiteX56" fmla="*/ 4059577 w 4519987"/>
                    <a:gd name="connsiteY56" fmla="*/ 3533775 h 4496940"/>
                    <a:gd name="connsiteX57" fmla="*/ 4002427 w 4519987"/>
                    <a:gd name="connsiteY57" fmla="*/ 3600450 h 4496940"/>
                    <a:gd name="connsiteX58" fmla="*/ 3983377 w 4519987"/>
                    <a:gd name="connsiteY58" fmla="*/ 3629025 h 4496940"/>
                    <a:gd name="connsiteX59" fmla="*/ 3954802 w 4519987"/>
                    <a:gd name="connsiteY59" fmla="*/ 3648075 h 4496940"/>
                    <a:gd name="connsiteX60" fmla="*/ 3907177 w 4519987"/>
                    <a:gd name="connsiteY60" fmla="*/ 3686175 h 4496940"/>
                    <a:gd name="connsiteX61" fmla="*/ 3869077 w 4519987"/>
                    <a:gd name="connsiteY61" fmla="*/ 3724275 h 4496940"/>
                    <a:gd name="connsiteX62" fmla="*/ 3792877 w 4519987"/>
                    <a:gd name="connsiteY62" fmla="*/ 3781425 h 4496940"/>
                    <a:gd name="connsiteX63" fmla="*/ 3783352 w 4519987"/>
                    <a:gd name="connsiteY63" fmla="*/ 3810000 h 4496940"/>
                    <a:gd name="connsiteX64" fmla="*/ 3745252 w 4519987"/>
                    <a:gd name="connsiteY64" fmla="*/ 3819525 h 4496940"/>
                    <a:gd name="connsiteX65" fmla="*/ 3678577 w 4519987"/>
                    <a:gd name="connsiteY65" fmla="*/ 3848100 h 4496940"/>
                    <a:gd name="connsiteX66" fmla="*/ 3659527 w 4519987"/>
                    <a:gd name="connsiteY66" fmla="*/ 3971925 h 4496940"/>
                    <a:gd name="connsiteX67" fmla="*/ 3630952 w 4519987"/>
                    <a:gd name="connsiteY67" fmla="*/ 4010025 h 4496940"/>
                    <a:gd name="connsiteX68" fmla="*/ 3621427 w 4519987"/>
                    <a:gd name="connsiteY68" fmla="*/ 4038600 h 4496940"/>
                    <a:gd name="connsiteX69" fmla="*/ 3554752 w 4519987"/>
                    <a:gd name="connsiteY69" fmla="*/ 4095750 h 4496940"/>
                    <a:gd name="connsiteX70" fmla="*/ 3516652 w 4519987"/>
                    <a:gd name="connsiteY70" fmla="*/ 4114800 h 4496940"/>
                    <a:gd name="connsiteX71" fmla="*/ 3497602 w 4519987"/>
                    <a:gd name="connsiteY71" fmla="*/ 4143375 h 4496940"/>
                    <a:gd name="connsiteX72" fmla="*/ 3383302 w 4519987"/>
                    <a:gd name="connsiteY72" fmla="*/ 4210050 h 4496940"/>
                    <a:gd name="connsiteX73" fmla="*/ 3335677 w 4519987"/>
                    <a:gd name="connsiteY73" fmla="*/ 4238625 h 4496940"/>
                    <a:gd name="connsiteX74" fmla="*/ 3288052 w 4519987"/>
                    <a:gd name="connsiteY74" fmla="*/ 4248150 h 4496940"/>
                    <a:gd name="connsiteX75" fmla="*/ 3240427 w 4519987"/>
                    <a:gd name="connsiteY75" fmla="*/ 4267200 h 4496940"/>
                    <a:gd name="connsiteX76" fmla="*/ 3068977 w 4519987"/>
                    <a:gd name="connsiteY76" fmla="*/ 4286250 h 4496940"/>
                    <a:gd name="connsiteX77" fmla="*/ 2935627 w 4519987"/>
                    <a:gd name="connsiteY77" fmla="*/ 4333875 h 4496940"/>
                    <a:gd name="connsiteX78" fmla="*/ 2811802 w 4519987"/>
                    <a:gd name="connsiteY78" fmla="*/ 4371975 h 4496940"/>
                    <a:gd name="connsiteX79" fmla="*/ 2745127 w 4519987"/>
                    <a:gd name="connsiteY79" fmla="*/ 4410075 h 4496940"/>
                    <a:gd name="connsiteX80" fmla="*/ 2697502 w 4519987"/>
                    <a:gd name="connsiteY80" fmla="*/ 4429125 h 4496940"/>
                    <a:gd name="connsiteX81" fmla="*/ 2640352 w 4519987"/>
                    <a:gd name="connsiteY81" fmla="*/ 4457700 h 4496940"/>
                    <a:gd name="connsiteX82" fmla="*/ 2583202 w 4519987"/>
                    <a:gd name="connsiteY82" fmla="*/ 4467225 h 4496940"/>
                    <a:gd name="connsiteX83" fmla="*/ 2545102 w 4519987"/>
                    <a:gd name="connsiteY83" fmla="*/ 4486275 h 4496940"/>
                    <a:gd name="connsiteX84" fmla="*/ 2306977 w 4519987"/>
                    <a:gd name="connsiteY84" fmla="*/ 4476750 h 4496940"/>
                    <a:gd name="connsiteX85" fmla="*/ 2202202 w 4519987"/>
                    <a:gd name="connsiteY85" fmla="*/ 4457700 h 4496940"/>
                    <a:gd name="connsiteX86" fmla="*/ 2126002 w 4519987"/>
                    <a:gd name="connsiteY86" fmla="*/ 4429125 h 4496940"/>
                    <a:gd name="connsiteX87" fmla="*/ 1935502 w 4519987"/>
                    <a:gd name="connsiteY87" fmla="*/ 4400550 h 4496940"/>
                    <a:gd name="connsiteX88" fmla="*/ 1821202 w 4519987"/>
                    <a:gd name="connsiteY88" fmla="*/ 4371975 h 4496940"/>
                    <a:gd name="connsiteX89" fmla="*/ 1754527 w 4519987"/>
                    <a:gd name="connsiteY89" fmla="*/ 4352925 h 4496940"/>
                    <a:gd name="connsiteX90" fmla="*/ 1687852 w 4519987"/>
                    <a:gd name="connsiteY90" fmla="*/ 4343400 h 4496940"/>
                    <a:gd name="connsiteX91" fmla="*/ 1573552 w 4519987"/>
                    <a:gd name="connsiteY91" fmla="*/ 4305300 h 4496940"/>
                    <a:gd name="connsiteX92" fmla="*/ 1402102 w 4519987"/>
                    <a:gd name="connsiteY92" fmla="*/ 4276725 h 4496940"/>
                    <a:gd name="connsiteX93" fmla="*/ 1287802 w 4519987"/>
                    <a:gd name="connsiteY93" fmla="*/ 4229100 h 4496940"/>
                    <a:gd name="connsiteX94" fmla="*/ 1221127 w 4519987"/>
                    <a:gd name="connsiteY94" fmla="*/ 4200525 h 4496940"/>
                    <a:gd name="connsiteX95" fmla="*/ 1144927 w 4519987"/>
                    <a:gd name="connsiteY95" fmla="*/ 4171950 h 4496940"/>
                    <a:gd name="connsiteX96" fmla="*/ 1087777 w 4519987"/>
                    <a:gd name="connsiteY96" fmla="*/ 4143375 h 4496940"/>
                    <a:gd name="connsiteX97" fmla="*/ 1030627 w 4519987"/>
                    <a:gd name="connsiteY97" fmla="*/ 4124325 h 4496940"/>
                    <a:gd name="connsiteX98" fmla="*/ 925852 w 4519987"/>
                    <a:gd name="connsiteY98" fmla="*/ 4067175 h 4496940"/>
                    <a:gd name="connsiteX99" fmla="*/ 830602 w 4519987"/>
                    <a:gd name="connsiteY99" fmla="*/ 3981450 h 4496940"/>
                    <a:gd name="connsiteX100" fmla="*/ 763927 w 4519987"/>
                    <a:gd name="connsiteY100" fmla="*/ 3914775 h 4496940"/>
                    <a:gd name="connsiteX101" fmla="*/ 725827 w 4519987"/>
                    <a:gd name="connsiteY101" fmla="*/ 3876675 h 4496940"/>
                    <a:gd name="connsiteX102" fmla="*/ 697252 w 4519987"/>
                    <a:gd name="connsiteY102" fmla="*/ 3838575 h 4496940"/>
                    <a:gd name="connsiteX103" fmla="*/ 640102 w 4519987"/>
                    <a:gd name="connsiteY103" fmla="*/ 3781425 h 4496940"/>
                    <a:gd name="connsiteX104" fmla="*/ 611527 w 4519987"/>
                    <a:gd name="connsiteY104" fmla="*/ 3733800 h 4496940"/>
                    <a:gd name="connsiteX105" fmla="*/ 554377 w 4519987"/>
                    <a:gd name="connsiteY105" fmla="*/ 3657600 h 4496940"/>
                    <a:gd name="connsiteX106" fmla="*/ 525802 w 4519987"/>
                    <a:gd name="connsiteY106" fmla="*/ 3609975 h 4496940"/>
                    <a:gd name="connsiteX107" fmla="*/ 497227 w 4519987"/>
                    <a:gd name="connsiteY107" fmla="*/ 3552825 h 4496940"/>
                    <a:gd name="connsiteX108" fmla="*/ 440077 w 4519987"/>
                    <a:gd name="connsiteY108" fmla="*/ 3495675 h 4496940"/>
                    <a:gd name="connsiteX109" fmla="*/ 411502 w 4519987"/>
                    <a:gd name="connsiteY109" fmla="*/ 3448050 h 4496940"/>
                    <a:gd name="connsiteX110" fmla="*/ 278152 w 4519987"/>
                    <a:gd name="connsiteY110" fmla="*/ 3257550 h 4496940"/>
                    <a:gd name="connsiteX111" fmla="*/ 249577 w 4519987"/>
                    <a:gd name="connsiteY111" fmla="*/ 3200400 h 4496940"/>
                    <a:gd name="connsiteX112" fmla="*/ 240052 w 4519987"/>
                    <a:gd name="connsiteY112" fmla="*/ 3162300 h 4496940"/>
                    <a:gd name="connsiteX113" fmla="*/ 221002 w 4519987"/>
                    <a:gd name="connsiteY113" fmla="*/ 3105150 h 4496940"/>
                    <a:gd name="connsiteX114" fmla="*/ 173377 w 4519987"/>
                    <a:gd name="connsiteY114" fmla="*/ 3019425 h 4496940"/>
                    <a:gd name="connsiteX115" fmla="*/ 144802 w 4519987"/>
                    <a:gd name="connsiteY115" fmla="*/ 2924175 h 4496940"/>
                    <a:gd name="connsiteX116" fmla="*/ 68602 w 4519987"/>
                    <a:gd name="connsiteY116" fmla="*/ 2724150 h 4496940"/>
                    <a:gd name="connsiteX117" fmla="*/ 49552 w 4519987"/>
                    <a:gd name="connsiteY117" fmla="*/ 2638425 h 4496940"/>
                    <a:gd name="connsiteX118" fmla="*/ 40027 w 4519987"/>
                    <a:gd name="connsiteY118" fmla="*/ 2562225 h 4496940"/>
                    <a:gd name="connsiteX119" fmla="*/ 30502 w 4519987"/>
                    <a:gd name="connsiteY119" fmla="*/ 2514600 h 4496940"/>
                    <a:gd name="connsiteX120" fmla="*/ 11452 w 4519987"/>
                    <a:gd name="connsiteY120" fmla="*/ 2400300 h 4496940"/>
                    <a:gd name="connsiteX121" fmla="*/ 20977 w 4519987"/>
                    <a:gd name="connsiteY121" fmla="*/ 1905000 h 4496940"/>
                    <a:gd name="connsiteX122" fmla="*/ 30502 w 4519987"/>
                    <a:gd name="connsiteY122" fmla="*/ 1838325 h 4496940"/>
                    <a:gd name="connsiteX123" fmla="*/ 49552 w 4519987"/>
                    <a:gd name="connsiteY123" fmla="*/ 1781175 h 4496940"/>
                    <a:gd name="connsiteX124" fmla="*/ 59077 w 4519987"/>
                    <a:gd name="connsiteY124" fmla="*/ 1743075 h 4496940"/>
                    <a:gd name="connsiteX125" fmla="*/ 78127 w 4519987"/>
                    <a:gd name="connsiteY125" fmla="*/ 1685925 h 4496940"/>
                    <a:gd name="connsiteX126" fmla="*/ 87652 w 4519987"/>
                    <a:gd name="connsiteY126" fmla="*/ 1638300 h 4496940"/>
                    <a:gd name="connsiteX127" fmla="*/ 106702 w 4519987"/>
                    <a:gd name="connsiteY127" fmla="*/ 1590675 h 4496940"/>
                    <a:gd name="connsiteX128" fmla="*/ 135277 w 4519987"/>
                    <a:gd name="connsiteY128" fmla="*/ 1504950 h 4496940"/>
                    <a:gd name="connsiteX129" fmla="*/ 154327 w 4519987"/>
                    <a:gd name="connsiteY129" fmla="*/ 1419225 h 4496940"/>
                    <a:gd name="connsiteX130" fmla="*/ 230527 w 4519987"/>
                    <a:gd name="connsiteY130" fmla="*/ 1276350 h 4496940"/>
                    <a:gd name="connsiteX131" fmla="*/ 240052 w 4519987"/>
                    <a:gd name="connsiteY131" fmla="*/ 1247775 h 4496940"/>
                    <a:gd name="connsiteX132" fmla="*/ 268627 w 4519987"/>
                    <a:gd name="connsiteY132" fmla="*/ 1200150 h 4496940"/>
                    <a:gd name="connsiteX133" fmla="*/ 287677 w 4519987"/>
                    <a:gd name="connsiteY133" fmla="*/ 1152525 h 4496940"/>
                    <a:gd name="connsiteX134" fmla="*/ 316252 w 4519987"/>
                    <a:gd name="connsiteY134" fmla="*/ 1114425 h 4496940"/>
                    <a:gd name="connsiteX135" fmla="*/ 363877 w 4519987"/>
                    <a:gd name="connsiteY135" fmla="*/ 1038225 h 4496940"/>
                    <a:gd name="connsiteX136" fmla="*/ 382927 w 4519987"/>
                    <a:gd name="connsiteY136" fmla="*/ 1009650 h 4496940"/>
                    <a:gd name="connsiteX137" fmla="*/ 440077 w 4519987"/>
                    <a:gd name="connsiteY137" fmla="*/ 904875 h 4496940"/>
                    <a:gd name="connsiteX138" fmla="*/ 478177 w 4519987"/>
                    <a:gd name="connsiteY138" fmla="*/ 857250 h 4496940"/>
                    <a:gd name="connsiteX139" fmla="*/ 497227 w 4519987"/>
                    <a:gd name="connsiteY139" fmla="*/ 828675 h 4496940"/>
                    <a:gd name="connsiteX140" fmla="*/ 535327 w 4519987"/>
                    <a:gd name="connsiteY140" fmla="*/ 800100 h 4496940"/>
                    <a:gd name="connsiteX141" fmla="*/ 602002 w 4519987"/>
                    <a:gd name="connsiteY141" fmla="*/ 733425 h 4496940"/>
                    <a:gd name="connsiteX142" fmla="*/ 668677 w 4519987"/>
                    <a:gd name="connsiteY142" fmla="*/ 676275 h 4496940"/>
                    <a:gd name="connsiteX143" fmla="*/ 697252 w 4519987"/>
                    <a:gd name="connsiteY143" fmla="*/ 657225 h 4496940"/>
                    <a:gd name="connsiteX144" fmla="*/ 840127 w 4519987"/>
                    <a:gd name="connsiteY144" fmla="*/ 533400 h 4496940"/>
                    <a:gd name="connsiteX145" fmla="*/ 887752 w 4519987"/>
                    <a:gd name="connsiteY145" fmla="*/ 504825 h 4496940"/>
                    <a:gd name="connsiteX146" fmla="*/ 1167152 w 4519987"/>
                    <a:gd name="connsiteY146" fmla="*/ 311150 h 4496940"/>
                    <a:gd name="connsiteX147" fmla="*/ 1268752 w 4519987"/>
                    <a:gd name="connsiteY147" fmla="*/ 285750 h 4496940"/>
                    <a:gd name="connsiteX148" fmla="*/ 1411627 w 4519987"/>
                    <a:gd name="connsiteY148" fmla="*/ 190500 h 4496940"/>
                    <a:gd name="connsiteX149" fmla="*/ 1449727 w 4519987"/>
                    <a:gd name="connsiteY149" fmla="*/ 161925 h 4496940"/>
                    <a:gd name="connsiteX150" fmla="*/ 1525927 w 4519987"/>
                    <a:gd name="connsiteY150" fmla="*/ 152400 h 4496940"/>
                    <a:gd name="connsiteX151" fmla="*/ 1583077 w 4519987"/>
                    <a:gd name="connsiteY151" fmla="*/ 142875 h 4496940"/>
                    <a:gd name="connsiteX152" fmla="*/ 1716427 w 4519987"/>
                    <a:gd name="connsiteY152" fmla="*/ 123825 h 4496940"/>
                    <a:gd name="connsiteX153" fmla="*/ 1811677 w 4519987"/>
                    <a:gd name="connsiteY153" fmla="*/ 114300 h 4496940"/>
                    <a:gd name="connsiteX154" fmla="*/ 1859302 w 4519987"/>
                    <a:gd name="connsiteY154" fmla="*/ 104775 h 4496940"/>
                    <a:gd name="connsiteX155" fmla="*/ 1916452 w 4519987"/>
                    <a:gd name="connsiteY155" fmla="*/ 95250 h 4496940"/>
                    <a:gd name="connsiteX156" fmla="*/ 2030752 w 4519987"/>
                    <a:gd name="connsiteY156" fmla="*/ 66675 h 4496940"/>
                    <a:gd name="connsiteX157" fmla="*/ 2097427 w 4519987"/>
                    <a:gd name="connsiteY157" fmla="*/ 47625 h 4496940"/>
                    <a:gd name="connsiteX158" fmla="*/ 2164102 w 4519987"/>
                    <a:gd name="connsiteY158" fmla="*/ 38100 h 4496940"/>
                    <a:gd name="connsiteX159" fmla="*/ 2392702 w 4519987"/>
                    <a:gd name="connsiteY15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50052 w 4519987"/>
                    <a:gd name="connsiteY28" fmla="*/ 790575 h 4496940"/>
                    <a:gd name="connsiteX29" fmla="*/ 4078627 w 4519987"/>
                    <a:gd name="connsiteY29" fmla="*/ 838200 h 4496940"/>
                    <a:gd name="connsiteX30" fmla="*/ 4107202 w 4519987"/>
                    <a:gd name="connsiteY30" fmla="*/ 876300 h 4496940"/>
                    <a:gd name="connsiteX31" fmla="*/ 4116727 w 4519987"/>
                    <a:gd name="connsiteY31" fmla="*/ 904875 h 4496940"/>
                    <a:gd name="connsiteX32" fmla="*/ 4135777 w 4519987"/>
                    <a:gd name="connsiteY32" fmla="*/ 933450 h 4496940"/>
                    <a:gd name="connsiteX33" fmla="*/ 4164352 w 4519987"/>
                    <a:gd name="connsiteY33" fmla="*/ 990600 h 4496940"/>
                    <a:gd name="connsiteX34" fmla="*/ 4173877 w 4519987"/>
                    <a:gd name="connsiteY34" fmla="*/ 1019175 h 4496940"/>
                    <a:gd name="connsiteX35" fmla="*/ 4192927 w 4519987"/>
                    <a:gd name="connsiteY35" fmla="*/ 1057275 h 4496940"/>
                    <a:gd name="connsiteX36" fmla="*/ 4202452 w 4519987"/>
                    <a:gd name="connsiteY36" fmla="*/ 1085850 h 4496940"/>
                    <a:gd name="connsiteX37" fmla="*/ 4250077 w 4519987"/>
                    <a:gd name="connsiteY37" fmla="*/ 1143000 h 4496940"/>
                    <a:gd name="connsiteX38" fmla="*/ 4259602 w 4519987"/>
                    <a:gd name="connsiteY38" fmla="*/ 1190625 h 4496940"/>
                    <a:gd name="connsiteX39" fmla="*/ 4307227 w 4519987"/>
                    <a:gd name="connsiteY39" fmla="*/ 1266825 h 4496940"/>
                    <a:gd name="connsiteX40" fmla="*/ 4345327 w 4519987"/>
                    <a:gd name="connsiteY40" fmla="*/ 1362075 h 4496940"/>
                    <a:gd name="connsiteX41" fmla="*/ 4373902 w 4519987"/>
                    <a:gd name="connsiteY41" fmla="*/ 1428750 h 4496940"/>
                    <a:gd name="connsiteX42" fmla="*/ 4392952 w 4519987"/>
                    <a:gd name="connsiteY42" fmla="*/ 1552575 h 4496940"/>
                    <a:gd name="connsiteX43" fmla="*/ 4402477 w 4519987"/>
                    <a:gd name="connsiteY43" fmla="*/ 1590675 h 4496940"/>
                    <a:gd name="connsiteX44" fmla="*/ 4431052 w 4519987"/>
                    <a:gd name="connsiteY44" fmla="*/ 1685925 h 4496940"/>
                    <a:gd name="connsiteX45" fmla="*/ 4519952 w 4519987"/>
                    <a:gd name="connsiteY45" fmla="*/ 2181225 h 4496940"/>
                    <a:gd name="connsiteX46" fmla="*/ 4446927 w 4519987"/>
                    <a:gd name="connsiteY46" fmla="*/ 2768600 h 4496940"/>
                    <a:gd name="connsiteX47" fmla="*/ 4383427 w 4519987"/>
                    <a:gd name="connsiteY47" fmla="*/ 2990850 h 4496940"/>
                    <a:gd name="connsiteX48" fmla="*/ 4278652 w 4519987"/>
                    <a:gd name="connsiteY48" fmla="*/ 3248025 h 4496940"/>
                    <a:gd name="connsiteX49" fmla="*/ 4259602 w 4519987"/>
                    <a:gd name="connsiteY49" fmla="*/ 3276600 h 4496940"/>
                    <a:gd name="connsiteX50" fmla="*/ 4221502 w 4519987"/>
                    <a:gd name="connsiteY50" fmla="*/ 3333750 h 4496940"/>
                    <a:gd name="connsiteX51" fmla="*/ 4211977 w 4519987"/>
                    <a:gd name="connsiteY51" fmla="*/ 3362325 h 4496940"/>
                    <a:gd name="connsiteX52" fmla="*/ 4183402 w 4519987"/>
                    <a:gd name="connsiteY52" fmla="*/ 3400425 h 4496940"/>
                    <a:gd name="connsiteX53" fmla="*/ 4164352 w 4519987"/>
                    <a:gd name="connsiteY53" fmla="*/ 3429000 h 4496940"/>
                    <a:gd name="connsiteX54" fmla="*/ 4088152 w 4519987"/>
                    <a:gd name="connsiteY54" fmla="*/ 3495675 h 4496940"/>
                    <a:gd name="connsiteX55" fmla="*/ 4059577 w 4519987"/>
                    <a:gd name="connsiteY55" fmla="*/ 3533775 h 4496940"/>
                    <a:gd name="connsiteX56" fmla="*/ 4002427 w 4519987"/>
                    <a:gd name="connsiteY56" fmla="*/ 3600450 h 4496940"/>
                    <a:gd name="connsiteX57" fmla="*/ 3983377 w 4519987"/>
                    <a:gd name="connsiteY57" fmla="*/ 3629025 h 4496940"/>
                    <a:gd name="connsiteX58" fmla="*/ 3954802 w 4519987"/>
                    <a:gd name="connsiteY58" fmla="*/ 3648075 h 4496940"/>
                    <a:gd name="connsiteX59" fmla="*/ 3907177 w 4519987"/>
                    <a:gd name="connsiteY59" fmla="*/ 3686175 h 4496940"/>
                    <a:gd name="connsiteX60" fmla="*/ 3869077 w 4519987"/>
                    <a:gd name="connsiteY60" fmla="*/ 3724275 h 4496940"/>
                    <a:gd name="connsiteX61" fmla="*/ 3792877 w 4519987"/>
                    <a:gd name="connsiteY61" fmla="*/ 3781425 h 4496940"/>
                    <a:gd name="connsiteX62" fmla="*/ 3783352 w 4519987"/>
                    <a:gd name="connsiteY62" fmla="*/ 3810000 h 4496940"/>
                    <a:gd name="connsiteX63" fmla="*/ 3745252 w 4519987"/>
                    <a:gd name="connsiteY63" fmla="*/ 3819525 h 4496940"/>
                    <a:gd name="connsiteX64" fmla="*/ 3678577 w 4519987"/>
                    <a:gd name="connsiteY64" fmla="*/ 3848100 h 4496940"/>
                    <a:gd name="connsiteX65" fmla="*/ 3659527 w 4519987"/>
                    <a:gd name="connsiteY65" fmla="*/ 3971925 h 4496940"/>
                    <a:gd name="connsiteX66" fmla="*/ 3630952 w 4519987"/>
                    <a:gd name="connsiteY66" fmla="*/ 4010025 h 4496940"/>
                    <a:gd name="connsiteX67" fmla="*/ 3621427 w 4519987"/>
                    <a:gd name="connsiteY67" fmla="*/ 4038600 h 4496940"/>
                    <a:gd name="connsiteX68" fmla="*/ 3554752 w 4519987"/>
                    <a:gd name="connsiteY68" fmla="*/ 4095750 h 4496940"/>
                    <a:gd name="connsiteX69" fmla="*/ 3516652 w 4519987"/>
                    <a:gd name="connsiteY69" fmla="*/ 4114800 h 4496940"/>
                    <a:gd name="connsiteX70" fmla="*/ 3497602 w 4519987"/>
                    <a:gd name="connsiteY70" fmla="*/ 4143375 h 4496940"/>
                    <a:gd name="connsiteX71" fmla="*/ 3383302 w 4519987"/>
                    <a:gd name="connsiteY71" fmla="*/ 4210050 h 4496940"/>
                    <a:gd name="connsiteX72" fmla="*/ 3335677 w 4519987"/>
                    <a:gd name="connsiteY72" fmla="*/ 4238625 h 4496940"/>
                    <a:gd name="connsiteX73" fmla="*/ 3288052 w 4519987"/>
                    <a:gd name="connsiteY73" fmla="*/ 4248150 h 4496940"/>
                    <a:gd name="connsiteX74" fmla="*/ 3240427 w 4519987"/>
                    <a:gd name="connsiteY74" fmla="*/ 4267200 h 4496940"/>
                    <a:gd name="connsiteX75" fmla="*/ 3068977 w 4519987"/>
                    <a:gd name="connsiteY75" fmla="*/ 4286250 h 4496940"/>
                    <a:gd name="connsiteX76" fmla="*/ 2935627 w 4519987"/>
                    <a:gd name="connsiteY76" fmla="*/ 4333875 h 4496940"/>
                    <a:gd name="connsiteX77" fmla="*/ 2811802 w 4519987"/>
                    <a:gd name="connsiteY77" fmla="*/ 4371975 h 4496940"/>
                    <a:gd name="connsiteX78" fmla="*/ 2745127 w 4519987"/>
                    <a:gd name="connsiteY78" fmla="*/ 4410075 h 4496940"/>
                    <a:gd name="connsiteX79" fmla="*/ 2697502 w 4519987"/>
                    <a:gd name="connsiteY79" fmla="*/ 4429125 h 4496940"/>
                    <a:gd name="connsiteX80" fmla="*/ 2640352 w 4519987"/>
                    <a:gd name="connsiteY80" fmla="*/ 4457700 h 4496940"/>
                    <a:gd name="connsiteX81" fmla="*/ 2583202 w 4519987"/>
                    <a:gd name="connsiteY81" fmla="*/ 4467225 h 4496940"/>
                    <a:gd name="connsiteX82" fmla="*/ 2545102 w 4519987"/>
                    <a:gd name="connsiteY82" fmla="*/ 4486275 h 4496940"/>
                    <a:gd name="connsiteX83" fmla="*/ 2306977 w 4519987"/>
                    <a:gd name="connsiteY83" fmla="*/ 4476750 h 4496940"/>
                    <a:gd name="connsiteX84" fmla="*/ 2202202 w 4519987"/>
                    <a:gd name="connsiteY84" fmla="*/ 4457700 h 4496940"/>
                    <a:gd name="connsiteX85" fmla="*/ 2126002 w 4519987"/>
                    <a:gd name="connsiteY85" fmla="*/ 4429125 h 4496940"/>
                    <a:gd name="connsiteX86" fmla="*/ 1935502 w 4519987"/>
                    <a:gd name="connsiteY86" fmla="*/ 4400550 h 4496940"/>
                    <a:gd name="connsiteX87" fmla="*/ 1821202 w 4519987"/>
                    <a:gd name="connsiteY87" fmla="*/ 4371975 h 4496940"/>
                    <a:gd name="connsiteX88" fmla="*/ 1754527 w 4519987"/>
                    <a:gd name="connsiteY88" fmla="*/ 4352925 h 4496940"/>
                    <a:gd name="connsiteX89" fmla="*/ 1687852 w 4519987"/>
                    <a:gd name="connsiteY89" fmla="*/ 4343400 h 4496940"/>
                    <a:gd name="connsiteX90" fmla="*/ 1573552 w 4519987"/>
                    <a:gd name="connsiteY90" fmla="*/ 4305300 h 4496940"/>
                    <a:gd name="connsiteX91" fmla="*/ 1402102 w 4519987"/>
                    <a:gd name="connsiteY91" fmla="*/ 4276725 h 4496940"/>
                    <a:gd name="connsiteX92" fmla="*/ 1287802 w 4519987"/>
                    <a:gd name="connsiteY92" fmla="*/ 4229100 h 4496940"/>
                    <a:gd name="connsiteX93" fmla="*/ 1221127 w 4519987"/>
                    <a:gd name="connsiteY93" fmla="*/ 4200525 h 4496940"/>
                    <a:gd name="connsiteX94" fmla="*/ 1144927 w 4519987"/>
                    <a:gd name="connsiteY94" fmla="*/ 4171950 h 4496940"/>
                    <a:gd name="connsiteX95" fmla="*/ 1087777 w 4519987"/>
                    <a:gd name="connsiteY95" fmla="*/ 4143375 h 4496940"/>
                    <a:gd name="connsiteX96" fmla="*/ 1030627 w 4519987"/>
                    <a:gd name="connsiteY96" fmla="*/ 4124325 h 4496940"/>
                    <a:gd name="connsiteX97" fmla="*/ 925852 w 4519987"/>
                    <a:gd name="connsiteY97" fmla="*/ 4067175 h 4496940"/>
                    <a:gd name="connsiteX98" fmla="*/ 830602 w 4519987"/>
                    <a:gd name="connsiteY98" fmla="*/ 3981450 h 4496940"/>
                    <a:gd name="connsiteX99" fmla="*/ 763927 w 4519987"/>
                    <a:gd name="connsiteY99" fmla="*/ 3914775 h 4496940"/>
                    <a:gd name="connsiteX100" fmla="*/ 725827 w 4519987"/>
                    <a:gd name="connsiteY100" fmla="*/ 3876675 h 4496940"/>
                    <a:gd name="connsiteX101" fmla="*/ 697252 w 4519987"/>
                    <a:gd name="connsiteY101" fmla="*/ 3838575 h 4496940"/>
                    <a:gd name="connsiteX102" fmla="*/ 640102 w 4519987"/>
                    <a:gd name="connsiteY102" fmla="*/ 3781425 h 4496940"/>
                    <a:gd name="connsiteX103" fmla="*/ 611527 w 4519987"/>
                    <a:gd name="connsiteY103" fmla="*/ 3733800 h 4496940"/>
                    <a:gd name="connsiteX104" fmla="*/ 554377 w 4519987"/>
                    <a:gd name="connsiteY104" fmla="*/ 3657600 h 4496940"/>
                    <a:gd name="connsiteX105" fmla="*/ 525802 w 4519987"/>
                    <a:gd name="connsiteY105" fmla="*/ 3609975 h 4496940"/>
                    <a:gd name="connsiteX106" fmla="*/ 497227 w 4519987"/>
                    <a:gd name="connsiteY106" fmla="*/ 3552825 h 4496940"/>
                    <a:gd name="connsiteX107" fmla="*/ 440077 w 4519987"/>
                    <a:gd name="connsiteY107" fmla="*/ 3495675 h 4496940"/>
                    <a:gd name="connsiteX108" fmla="*/ 411502 w 4519987"/>
                    <a:gd name="connsiteY108" fmla="*/ 3448050 h 4496940"/>
                    <a:gd name="connsiteX109" fmla="*/ 278152 w 4519987"/>
                    <a:gd name="connsiteY109" fmla="*/ 3257550 h 4496940"/>
                    <a:gd name="connsiteX110" fmla="*/ 249577 w 4519987"/>
                    <a:gd name="connsiteY110" fmla="*/ 3200400 h 4496940"/>
                    <a:gd name="connsiteX111" fmla="*/ 240052 w 4519987"/>
                    <a:gd name="connsiteY111" fmla="*/ 3162300 h 4496940"/>
                    <a:gd name="connsiteX112" fmla="*/ 221002 w 4519987"/>
                    <a:gd name="connsiteY112" fmla="*/ 3105150 h 4496940"/>
                    <a:gd name="connsiteX113" fmla="*/ 173377 w 4519987"/>
                    <a:gd name="connsiteY113" fmla="*/ 3019425 h 4496940"/>
                    <a:gd name="connsiteX114" fmla="*/ 144802 w 4519987"/>
                    <a:gd name="connsiteY114" fmla="*/ 2924175 h 4496940"/>
                    <a:gd name="connsiteX115" fmla="*/ 68602 w 4519987"/>
                    <a:gd name="connsiteY115" fmla="*/ 2724150 h 4496940"/>
                    <a:gd name="connsiteX116" fmla="*/ 49552 w 4519987"/>
                    <a:gd name="connsiteY116" fmla="*/ 2638425 h 4496940"/>
                    <a:gd name="connsiteX117" fmla="*/ 40027 w 4519987"/>
                    <a:gd name="connsiteY117" fmla="*/ 2562225 h 4496940"/>
                    <a:gd name="connsiteX118" fmla="*/ 30502 w 4519987"/>
                    <a:gd name="connsiteY118" fmla="*/ 2514600 h 4496940"/>
                    <a:gd name="connsiteX119" fmla="*/ 11452 w 4519987"/>
                    <a:gd name="connsiteY119" fmla="*/ 2400300 h 4496940"/>
                    <a:gd name="connsiteX120" fmla="*/ 20977 w 4519987"/>
                    <a:gd name="connsiteY120" fmla="*/ 1905000 h 4496940"/>
                    <a:gd name="connsiteX121" fmla="*/ 30502 w 4519987"/>
                    <a:gd name="connsiteY121" fmla="*/ 1838325 h 4496940"/>
                    <a:gd name="connsiteX122" fmla="*/ 49552 w 4519987"/>
                    <a:gd name="connsiteY122" fmla="*/ 1781175 h 4496940"/>
                    <a:gd name="connsiteX123" fmla="*/ 59077 w 4519987"/>
                    <a:gd name="connsiteY123" fmla="*/ 1743075 h 4496940"/>
                    <a:gd name="connsiteX124" fmla="*/ 78127 w 4519987"/>
                    <a:gd name="connsiteY124" fmla="*/ 1685925 h 4496940"/>
                    <a:gd name="connsiteX125" fmla="*/ 87652 w 4519987"/>
                    <a:gd name="connsiteY125" fmla="*/ 1638300 h 4496940"/>
                    <a:gd name="connsiteX126" fmla="*/ 106702 w 4519987"/>
                    <a:gd name="connsiteY126" fmla="*/ 1590675 h 4496940"/>
                    <a:gd name="connsiteX127" fmla="*/ 135277 w 4519987"/>
                    <a:gd name="connsiteY127" fmla="*/ 1504950 h 4496940"/>
                    <a:gd name="connsiteX128" fmla="*/ 154327 w 4519987"/>
                    <a:gd name="connsiteY128" fmla="*/ 1419225 h 4496940"/>
                    <a:gd name="connsiteX129" fmla="*/ 230527 w 4519987"/>
                    <a:gd name="connsiteY129" fmla="*/ 1276350 h 4496940"/>
                    <a:gd name="connsiteX130" fmla="*/ 240052 w 4519987"/>
                    <a:gd name="connsiteY130" fmla="*/ 1247775 h 4496940"/>
                    <a:gd name="connsiteX131" fmla="*/ 268627 w 4519987"/>
                    <a:gd name="connsiteY131" fmla="*/ 1200150 h 4496940"/>
                    <a:gd name="connsiteX132" fmla="*/ 287677 w 4519987"/>
                    <a:gd name="connsiteY132" fmla="*/ 1152525 h 4496940"/>
                    <a:gd name="connsiteX133" fmla="*/ 316252 w 4519987"/>
                    <a:gd name="connsiteY133" fmla="*/ 1114425 h 4496940"/>
                    <a:gd name="connsiteX134" fmla="*/ 363877 w 4519987"/>
                    <a:gd name="connsiteY134" fmla="*/ 1038225 h 4496940"/>
                    <a:gd name="connsiteX135" fmla="*/ 382927 w 4519987"/>
                    <a:gd name="connsiteY135" fmla="*/ 1009650 h 4496940"/>
                    <a:gd name="connsiteX136" fmla="*/ 440077 w 4519987"/>
                    <a:gd name="connsiteY136" fmla="*/ 904875 h 4496940"/>
                    <a:gd name="connsiteX137" fmla="*/ 478177 w 4519987"/>
                    <a:gd name="connsiteY137" fmla="*/ 857250 h 4496940"/>
                    <a:gd name="connsiteX138" fmla="*/ 497227 w 4519987"/>
                    <a:gd name="connsiteY138" fmla="*/ 828675 h 4496940"/>
                    <a:gd name="connsiteX139" fmla="*/ 535327 w 4519987"/>
                    <a:gd name="connsiteY139" fmla="*/ 800100 h 4496940"/>
                    <a:gd name="connsiteX140" fmla="*/ 602002 w 4519987"/>
                    <a:gd name="connsiteY140" fmla="*/ 733425 h 4496940"/>
                    <a:gd name="connsiteX141" fmla="*/ 668677 w 4519987"/>
                    <a:gd name="connsiteY141" fmla="*/ 676275 h 4496940"/>
                    <a:gd name="connsiteX142" fmla="*/ 697252 w 4519987"/>
                    <a:gd name="connsiteY142" fmla="*/ 657225 h 4496940"/>
                    <a:gd name="connsiteX143" fmla="*/ 840127 w 4519987"/>
                    <a:gd name="connsiteY143" fmla="*/ 533400 h 4496940"/>
                    <a:gd name="connsiteX144" fmla="*/ 887752 w 4519987"/>
                    <a:gd name="connsiteY144" fmla="*/ 504825 h 4496940"/>
                    <a:gd name="connsiteX145" fmla="*/ 1167152 w 4519987"/>
                    <a:gd name="connsiteY145" fmla="*/ 311150 h 4496940"/>
                    <a:gd name="connsiteX146" fmla="*/ 1268752 w 4519987"/>
                    <a:gd name="connsiteY146" fmla="*/ 285750 h 4496940"/>
                    <a:gd name="connsiteX147" fmla="*/ 1411627 w 4519987"/>
                    <a:gd name="connsiteY147" fmla="*/ 190500 h 4496940"/>
                    <a:gd name="connsiteX148" fmla="*/ 1449727 w 4519987"/>
                    <a:gd name="connsiteY148" fmla="*/ 161925 h 4496940"/>
                    <a:gd name="connsiteX149" fmla="*/ 1525927 w 4519987"/>
                    <a:gd name="connsiteY149" fmla="*/ 152400 h 4496940"/>
                    <a:gd name="connsiteX150" fmla="*/ 1583077 w 4519987"/>
                    <a:gd name="connsiteY150" fmla="*/ 142875 h 4496940"/>
                    <a:gd name="connsiteX151" fmla="*/ 1716427 w 4519987"/>
                    <a:gd name="connsiteY151" fmla="*/ 123825 h 4496940"/>
                    <a:gd name="connsiteX152" fmla="*/ 1811677 w 4519987"/>
                    <a:gd name="connsiteY152" fmla="*/ 114300 h 4496940"/>
                    <a:gd name="connsiteX153" fmla="*/ 1859302 w 4519987"/>
                    <a:gd name="connsiteY153" fmla="*/ 104775 h 4496940"/>
                    <a:gd name="connsiteX154" fmla="*/ 1916452 w 4519987"/>
                    <a:gd name="connsiteY154" fmla="*/ 95250 h 4496940"/>
                    <a:gd name="connsiteX155" fmla="*/ 2030752 w 4519987"/>
                    <a:gd name="connsiteY155" fmla="*/ 66675 h 4496940"/>
                    <a:gd name="connsiteX156" fmla="*/ 2097427 w 4519987"/>
                    <a:gd name="connsiteY156" fmla="*/ 47625 h 4496940"/>
                    <a:gd name="connsiteX157" fmla="*/ 2164102 w 4519987"/>
                    <a:gd name="connsiteY157" fmla="*/ 38100 h 4496940"/>
                    <a:gd name="connsiteX158" fmla="*/ 2392702 w 4519987"/>
                    <a:gd name="connsiteY15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16727 w 4519987"/>
                    <a:gd name="connsiteY30" fmla="*/ 904875 h 4496940"/>
                    <a:gd name="connsiteX31" fmla="*/ 4135777 w 4519987"/>
                    <a:gd name="connsiteY31" fmla="*/ 933450 h 4496940"/>
                    <a:gd name="connsiteX32" fmla="*/ 4164352 w 4519987"/>
                    <a:gd name="connsiteY32" fmla="*/ 990600 h 4496940"/>
                    <a:gd name="connsiteX33" fmla="*/ 4173877 w 4519987"/>
                    <a:gd name="connsiteY33" fmla="*/ 1019175 h 4496940"/>
                    <a:gd name="connsiteX34" fmla="*/ 4192927 w 4519987"/>
                    <a:gd name="connsiteY34" fmla="*/ 1057275 h 4496940"/>
                    <a:gd name="connsiteX35" fmla="*/ 4202452 w 4519987"/>
                    <a:gd name="connsiteY35" fmla="*/ 1085850 h 4496940"/>
                    <a:gd name="connsiteX36" fmla="*/ 4250077 w 4519987"/>
                    <a:gd name="connsiteY36" fmla="*/ 1143000 h 4496940"/>
                    <a:gd name="connsiteX37" fmla="*/ 4259602 w 4519987"/>
                    <a:gd name="connsiteY37" fmla="*/ 1190625 h 4496940"/>
                    <a:gd name="connsiteX38" fmla="*/ 4307227 w 4519987"/>
                    <a:gd name="connsiteY38" fmla="*/ 1266825 h 4496940"/>
                    <a:gd name="connsiteX39" fmla="*/ 4345327 w 4519987"/>
                    <a:gd name="connsiteY39" fmla="*/ 1362075 h 4496940"/>
                    <a:gd name="connsiteX40" fmla="*/ 4373902 w 4519987"/>
                    <a:gd name="connsiteY40" fmla="*/ 1428750 h 4496940"/>
                    <a:gd name="connsiteX41" fmla="*/ 4392952 w 4519987"/>
                    <a:gd name="connsiteY41" fmla="*/ 1552575 h 4496940"/>
                    <a:gd name="connsiteX42" fmla="*/ 4402477 w 4519987"/>
                    <a:gd name="connsiteY42" fmla="*/ 1590675 h 4496940"/>
                    <a:gd name="connsiteX43" fmla="*/ 4431052 w 4519987"/>
                    <a:gd name="connsiteY43" fmla="*/ 1685925 h 4496940"/>
                    <a:gd name="connsiteX44" fmla="*/ 4519952 w 4519987"/>
                    <a:gd name="connsiteY44" fmla="*/ 2181225 h 4496940"/>
                    <a:gd name="connsiteX45" fmla="*/ 4446927 w 4519987"/>
                    <a:gd name="connsiteY45" fmla="*/ 2768600 h 4496940"/>
                    <a:gd name="connsiteX46" fmla="*/ 4383427 w 4519987"/>
                    <a:gd name="connsiteY46" fmla="*/ 2990850 h 4496940"/>
                    <a:gd name="connsiteX47" fmla="*/ 4278652 w 4519987"/>
                    <a:gd name="connsiteY47" fmla="*/ 3248025 h 4496940"/>
                    <a:gd name="connsiteX48" fmla="*/ 4259602 w 4519987"/>
                    <a:gd name="connsiteY48" fmla="*/ 3276600 h 4496940"/>
                    <a:gd name="connsiteX49" fmla="*/ 4221502 w 4519987"/>
                    <a:gd name="connsiteY49" fmla="*/ 3333750 h 4496940"/>
                    <a:gd name="connsiteX50" fmla="*/ 4211977 w 4519987"/>
                    <a:gd name="connsiteY50" fmla="*/ 3362325 h 4496940"/>
                    <a:gd name="connsiteX51" fmla="*/ 4183402 w 4519987"/>
                    <a:gd name="connsiteY51" fmla="*/ 3400425 h 4496940"/>
                    <a:gd name="connsiteX52" fmla="*/ 4164352 w 4519987"/>
                    <a:gd name="connsiteY52" fmla="*/ 3429000 h 4496940"/>
                    <a:gd name="connsiteX53" fmla="*/ 4088152 w 4519987"/>
                    <a:gd name="connsiteY53" fmla="*/ 3495675 h 4496940"/>
                    <a:gd name="connsiteX54" fmla="*/ 4059577 w 4519987"/>
                    <a:gd name="connsiteY54" fmla="*/ 3533775 h 4496940"/>
                    <a:gd name="connsiteX55" fmla="*/ 4002427 w 4519987"/>
                    <a:gd name="connsiteY55" fmla="*/ 3600450 h 4496940"/>
                    <a:gd name="connsiteX56" fmla="*/ 3983377 w 4519987"/>
                    <a:gd name="connsiteY56" fmla="*/ 3629025 h 4496940"/>
                    <a:gd name="connsiteX57" fmla="*/ 3954802 w 4519987"/>
                    <a:gd name="connsiteY57" fmla="*/ 3648075 h 4496940"/>
                    <a:gd name="connsiteX58" fmla="*/ 3907177 w 4519987"/>
                    <a:gd name="connsiteY58" fmla="*/ 3686175 h 4496940"/>
                    <a:gd name="connsiteX59" fmla="*/ 3869077 w 4519987"/>
                    <a:gd name="connsiteY59" fmla="*/ 3724275 h 4496940"/>
                    <a:gd name="connsiteX60" fmla="*/ 3792877 w 4519987"/>
                    <a:gd name="connsiteY60" fmla="*/ 3781425 h 4496940"/>
                    <a:gd name="connsiteX61" fmla="*/ 3783352 w 4519987"/>
                    <a:gd name="connsiteY61" fmla="*/ 3810000 h 4496940"/>
                    <a:gd name="connsiteX62" fmla="*/ 3745252 w 4519987"/>
                    <a:gd name="connsiteY62" fmla="*/ 3819525 h 4496940"/>
                    <a:gd name="connsiteX63" fmla="*/ 3678577 w 4519987"/>
                    <a:gd name="connsiteY63" fmla="*/ 3848100 h 4496940"/>
                    <a:gd name="connsiteX64" fmla="*/ 3659527 w 4519987"/>
                    <a:gd name="connsiteY64" fmla="*/ 3971925 h 4496940"/>
                    <a:gd name="connsiteX65" fmla="*/ 3630952 w 4519987"/>
                    <a:gd name="connsiteY65" fmla="*/ 4010025 h 4496940"/>
                    <a:gd name="connsiteX66" fmla="*/ 3621427 w 4519987"/>
                    <a:gd name="connsiteY66" fmla="*/ 4038600 h 4496940"/>
                    <a:gd name="connsiteX67" fmla="*/ 3554752 w 4519987"/>
                    <a:gd name="connsiteY67" fmla="*/ 4095750 h 4496940"/>
                    <a:gd name="connsiteX68" fmla="*/ 3516652 w 4519987"/>
                    <a:gd name="connsiteY68" fmla="*/ 4114800 h 4496940"/>
                    <a:gd name="connsiteX69" fmla="*/ 3497602 w 4519987"/>
                    <a:gd name="connsiteY69" fmla="*/ 4143375 h 4496940"/>
                    <a:gd name="connsiteX70" fmla="*/ 3383302 w 4519987"/>
                    <a:gd name="connsiteY70" fmla="*/ 4210050 h 4496940"/>
                    <a:gd name="connsiteX71" fmla="*/ 3335677 w 4519987"/>
                    <a:gd name="connsiteY71" fmla="*/ 4238625 h 4496940"/>
                    <a:gd name="connsiteX72" fmla="*/ 3288052 w 4519987"/>
                    <a:gd name="connsiteY72" fmla="*/ 4248150 h 4496940"/>
                    <a:gd name="connsiteX73" fmla="*/ 3240427 w 4519987"/>
                    <a:gd name="connsiteY73" fmla="*/ 4267200 h 4496940"/>
                    <a:gd name="connsiteX74" fmla="*/ 3068977 w 4519987"/>
                    <a:gd name="connsiteY74" fmla="*/ 4286250 h 4496940"/>
                    <a:gd name="connsiteX75" fmla="*/ 2935627 w 4519987"/>
                    <a:gd name="connsiteY75" fmla="*/ 4333875 h 4496940"/>
                    <a:gd name="connsiteX76" fmla="*/ 2811802 w 4519987"/>
                    <a:gd name="connsiteY76" fmla="*/ 4371975 h 4496940"/>
                    <a:gd name="connsiteX77" fmla="*/ 2745127 w 4519987"/>
                    <a:gd name="connsiteY77" fmla="*/ 4410075 h 4496940"/>
                    <a:gd name="connsiteX78" fmla="*/ 2697502 w 4519987"/>
                    <a:gd name="connsiteY78" fmla="*/ 4429125 h 4496940"/>
                    <a:gd name="connsiteX79" fmla="*/ 2640352 w 4519987"/>
                    <a:gd name="connsiteY79" fmla="*/ 4457700 h 4496940"/>
                    <a:gd name="connsiteX80" fmla="*/ 2583202 w 4519987"/>
                    <a:gd name="connsiteY80" fmla="*/ 4467225 h 4496940"/>
                    <a:gd name="connsiteX81" fmla="*/ 2545102 w 4519987"/>
                    <a:gd name="connsiteY81" fmla="*/ 4486275 h 4496940"/>
                    <a:gd name="connsiteX82" fmla="*/ 2306977 w 4519987"/>
                    <a:gd name="connsiteY82" fmla="*/ 4476750 h 4496940"/>
                    <a:gd name="connsiteX83" fmla="*/ 2202202 w 4519987"/>
                    <a:gd name="connsiteY83" fmla="*/ 4457700 h 4496940"/>
                    <a:gd name="connsiteX84" fmla="*/ 2126002 w 4519987"/>
                    <a:gd name="connsiteY84" fmla="*/ 4429125 h 4496940"/>
                    <a:gd name="connsiteX85" fmla="*/ 1935502 w 4519987"/>
                    <a:gd name="connsiteY85" fmla="*/ 4400550 h 4496940"/>
                    <a:gd name="connsiteX86" fmla="*/ 1821202 w 4519987"/>
                    <a:gd name="connsiteY86" fmla="*/ 4371975 h 4496940"/>
                    <a:gd name="connsiteX87" fmla="*/ 1754527 w 4519987"/>
                    <a:gd name="connsiteY87" fmla="*/ 4352925 h 4496940"/>
                    <a:gd name="connsiteX88" fmla="*/ 1687852 w 4519987"/>
                    <a:gd name="connsiteY88" fmla="*/ 4343400 h 4496940"/>
                    <a:gd name="connsiteX89" fmla="*/ 1573552 w 4519987"/>
                    <a:gd name="connsiteY89" fmla="*/ 4305300 h 4496940"/>
                    <a:gd name="connsiteX90" fmla="*/ 1402102 w 4519987"/>
                    <a:gd name="connsiteY90" fmla="*/ 4276725 h 4496940"/>
                    <a:gd name="connsiteX91" fmla="*/ 1287802 w 4519987"/>
                    <a:gd name="connsiteY91" fmla="*/ 4229100 h 4496940"/>
                    <a:gd name="connsiteX92" fmla="*/ 1221127 w 4519987"/>
                    <a:gd name="connsiteY92" fmla="*/ 4200525 h 4496940"/>
                    <a:gd name="connsiteX93" fmla="*/ 1144927 w 4519987"/>
                    <a:gd name="connsiteY93" fmla="*/ 4171950 h 4496940"/>
                    <a:gd name="connsiteX94" fmla="*/ 1087777 w 4519987"/>
                    <a:gd name="connsiteY94" fmla="*/ 4143375 h 4496940"/>
                    <a:gd name="connsiteX95" fmla="*/ 1030627 w 4519987"/>
                    <a:gd name="connsiteY95" fmla="*/ 4124325 h 4496940"/>
                    <a:gd name="connsiteX96" fmla="*/ 925852 w 4519987"/>
                    <a:gd name="connsiteY96" fmla="*/ 4067175 h 4496940"/>
                    <a:gd name="connsiteX97" fmla="*/ 830602 w 4519987"/>
                    <a:gd name="connsiteY97" fmla="*/ 3981450 h 4496940"/>
                    <a:gd name="connsiteX98" fmla="*/ 763927 w 4519987"/>
                    <a:gd name="connsiteY98" fmla="*/ 3914775 h 4496940"/>
                    <a:gd name="connsiteX99" fmla="*/ 725827 w 4519987"/>
                    <a:gd name="connsiteY99" fmla="*/ 3876675 h 4496940"/>
                    <a:gd name="connsiteX100" fmla="*/ 697252 w 4519987"/>
                    <a:gd name="connsiteY100" fmla="*/ 3838575 h 4496940"/>
                    <a:gd name="connsiteX101" fmla="*/ 640102 w 4519987"/>
                    <a:gd name="connsiteY101" fmla="*/ 3781425 h 4496940"/>
                    <a:gd name="connsiteX102" fmla="*/ 611527 w 4519987"/>
                    <a:gd name="connsiteY102" fmla="*/ 3733800 h 4496940"/>
                    <a:gd name="connsiteX103" fmla="*/ 554377 w 4519987"/>
                    <a:gd name="connsiteY103" fmla="*/ 3657600 h 4496940"/>
                    <a:gd name="connsiteX104" fmla="*/ 525802 w 4519987"/>
                    <a:gd name="connsiteY104" fmla="*/ 3609975 h 4496940"/>
                    <a:gd name="connsiteX105" fmla="*/ 497227 w 4519987"/>
                    <a:gd name="connsiteY105" fmla="*/ 3552825 h 4496940"/>
                    <a:gd name="connsiteX106" fmla="*/ 440077 w 4519987"/>
                    <a:gd name="connsiteY106" fmla="*/ 3495675 h 4496940"/>
                    <a:gd name="connsiteX107" fmla="*/ 411502 w 4519987"/>
                    <a:gd name="connsiteY107" fmla="*/ 3448050 h 4496940"/>
                    <a:gd name="connsiteX108" fmla="*/ 278152 w 4519987"/>
                    <a:gd name="connsiteY108" fmla="*/ 3257550 h 4496940"/>
                    <a:gd name="connsiteX109" fmla="*/ 249577 w 4519987"/>
                    <a:gd name="connsiteY109" fmla="*/ 3200400 h 4496940"/>
                    <a:gd name="connsiteX110" fmla="*/ 240052 w 4519987"/>
                    <a:gd name="connsiteY110" fmla="*/ 3162300 h 4496940"/>
                    <a:gd name="connsiteX111" fmla="*/ 221002 w 4519987"/>
                    <a:gd name="connsiteY111" fmla="*/ 3105150 h 4496940"/>
                    <a:gd name="connsiteX112" fmla="*/ 173377 w 4519987"/>
                    <a:gd name="connsiteY112" fmla="*/ 3019425 h 4496940"/>
                    <a:gd name="connsiteX113" fmla="*/ 144802 w 4519987"/>
                    <a:gd name="connsiteY113" fmla="*/ 2924175 h 4496940"/>
                    <a:gd name="connsiteX114" fmla="*/ 68602 w 4519987"/>
                    <a:gd name="connsiteY114" fmla="*/ 2724150 h 4496940"/>
                    <a:gd name="connsiteX115" fmla="*/ 49552 w 4519987"/>
                    <a:gd name="connsiteY115" fmla="*/ 2638425 h 4496940"/>
                    <a:gd name="connsiteX116" fmla="*/ 40027 w 4519987"/>
                    <a:gd name="connsiteY116" fmla="*/ 2562225 h 4496940"/>
                    <a:gd name="connsiteX117" fmla="*/ 30502 w 4519987"/>
                    <a:gd name="connsiteY117" fmla="*/ 2514600 h 4496940"/>
                    <a:gd name="connsiteX118" fmla="*/ 11452 w 4519987"/>
                    <a:gd name="connsiteY118" fmla="*/ 2400300 h 4496940"/>
                    <a:gd name="connsiteX119" fmla="*/ 20977 w 4519987"/>
                    <a:gd name="connsiteY119" fmla="*/ 1905000 h 4496940"/>
                    <a:gd name="connsiteX120" fmla="*/ 30502 w 4519987"/>
                    <a:gd name="connsiteY120" fmla="*/ 1838325 h 4496940"/>
                    <a:gd name="connsiteX121" fmla="*/ 49552 w 4519987"/>
                    <a:gd name="connsiteY121" fmla="*/ 1781175 h 4496940"/>
                    <a:gd name="connsiteX122" fmla="*/ 59077 w 4519987"/>
                    <a:gd name="connsiteY122" fmla="*/ 1743075 h 4496940"/>
                    <a:gd name="connsiteX123" fmla="*/ 78127 w 4519987"/>
                    <a:gd name="connsiteY123" fmla="*/ 1685925 h 4496940"/>
                    <a:gd name="connsiteX124" fmla="*/ 87652 w 4519987"/>
                    <a:gd name="connsiteY124" fmla="*/ 1638300 h 4496940"/>
                    <a:gd name="connsiteX125" fmla="*/ 106702 w 4519987"/>
                    <a:gd name="connsiteY125" fmla="*/ 1590675 h 4496940"/>
                    <a:gd name="connsiteX126" fmla="*/ 135277 w 4519987"/>
                    <a:gd name="connsiteY126" fmla="*/ 1504950 h 4496940"/>
                    <a:gd name="connsiteX127" fmla="*/ 154327 w 4519987"/>
                    <a:gd name="connsiteY127" fmla="*/ 1419225 h 4496940"/>
                    <a:gd name="connsiteX128" fmla="*/ 230527 w 4519987"/>
                    <a:gd name="connsiteY128" fmla="*/ 1276350 h 4496940"/>
                    <a:gd name="connsiteX129" fmla="*/ 240052 w 4519987"/>
                    <a:gd name="connsiteY129" fmla="*/ 1247775 h 4496940"/>
                    <a:gd name="connsiteX130" fmla="*/ 268627 w 4519987"/>
                    <a:gd name="connsiteY130" fmla="*/ 1200150 h 4496940"/>
                    <a:gd name="connsiteX131" fmla="*/ 287677 w 4519987"/>
                    <a:gd name="connsiteY131" fmla="*/ 1152525 h 4496940"/>
                    <a:gd name="connsiteX132" fmla="*/ 316252 w 4519987"/>
                    <a:gd name="connsiteY132" fmla="*/ 1114425 h 4496940"/>
                    <a:gd name="connsiteX133" fmla="*/ 363877 w 4519987"/>
                    <a:gd name="connsiteY133" fmla="*/ 1038225 h 4496940"/>
                    <a:gd name="connsiteX134" fmla="*/ 382927 w 4519987"/>
                    <a:gd name="connsiteY134" fmla="*/ 1009650 h 4496940"/>
                    <a:gd name="connsiteX135" fmla="*/ 440077 w 4519987"/>
                    <a:gd name="connsiteY135" fmla="*/ 904875 h 4496940"/>
                    <a:gd name="connsiteX136" fmla="*/ 478177 w 4519987"/>
                    <a:gd name="connsiteY136" fmla="*/ 857250 h 4496940"/>
                    <a:gd name="connsiteX137" fmla="*/ 497227 w 4519987"/>
                    <a:gd name="connsiteY137" fmla="*/ 828675 h 4496940"/>
                    <a:gd name="connsiteX138" fmla="*/ 535327 w 4519987"/>
                    <a:gd name="connsiteY138" fmla="*/ 800100 h 4496940"/>
                    <a:gd name="connsiteX139" fmla="*/ 602002 w 4519987"/>
                    <a:gd name="connsiteY139" fmla="*/ 733425 h 4496940"/>
                    <a:gd name="connsiteX140" fmla="*/ 668677 w 4519987"/>
                    <a:gd name="connsiteY140" fmla="*/ 676275 h 4496940"/>
                    <a:gd name="connsiteX141" fmla="*/ 697252 w 4519987"/>
                    <a:gd name="connsiteY141" fmla="*/ 657225 h 4496940"/>
                    <a:gd name="connsiteX142" fmla="*/ 840127 w 4519987"/>
                    <a:gd name="connsiteY142" fmla="*/ 533400 h 4496940"/>
                    <a:gd name="connsiteX143" fmla="*/ 887752 w 4519987"/>
                    <a:gd name="connsiteY143" fmla="*/ 504825 h 4496940"/>
                    <a:gd name="connsiteX144" fmla="*/ 1167152 w 4519987"/>
                    <a:gd name="connsiteY144" fmla="*/ 311150 h 4496940"/>
                    <a:gd name="connsiteX145" fmla="*/ 1268752 w 4519987"/>
                    <a:gd name="connsiteY145" fmla="*/ 285750 h 4496940"/>
                    <a:gd name="connsiteX146" fmla="*/ 1411627 w 4519987"/>
                    <a:gd name="connsiteY146" fmla="*/ 190500 h 4496940"/>
                    <a:gd name="connsiteX147" fmla="*/ 1449727 w 4519987"/>
                    <a:gd name="connsiteY147" fmla="*/ 161925 h 4496940"/>
                    <a:gd name="connsiteX148" fmla="*/ 1525927 w 4519987"/>
                    <a:gd name="connsiteY148" fmla="*/ 152400 h 4496940"/>
                    <a:gd name="connsiteX149" fmla="*/ 1583077 w 4519987"/>
                    <a:gd name="connsiteY149" fmla="*/ 142875 h 4496940"/>
                    <a:gd name="connsiteX150" fmla="*/ 1716427 w 4519987"/>
                    <a:gd name="connsiteY150" fmla="*/ 123825 h 4496940"/>
                    <a:gd name="connsiteX151" fmla="*/ 1811677 w 4519987"/>
                    <a:gd name="connsiteY151" fmla="*/ 114300 h 4496940"/>
                    <a:gd name="connsiteX152" fmla="*/ 1859302 w 4519987"/>
                    <a:gd name="connsiteY152" fmla="*/ 104775 h 4496940"/>
                    <a:gd name="connsiteX153" fmla="*/ 1916452 w 4519987"/>
                    <a:gd name="connsiteY153" fmla="*/ 95250 h 4496940"/>
                    <a:gd name="connsiteX154" fmla="*/ 2030752 w 4519987"/>
                    <a:gd name="connsiteY154" fmla="*/ 66675 h 4496940"/>
                    <a:gd name="connsiteX155" fmla="*/ 2097427 w 4519987"/>
                    <a:gd name="connsiteY155" fmla="*/ 47625 h 4496940"/>
                    <a:gd name="connsiteX156" fmla="*/ 2164102 w 4519987"/>
                    <a:gd name="connsiteY156" fmla="*/ 38100 h 4496940"/>
                    <a:gd name="connsiteX157" fmla="*/ 2392702 w 4519987"/>
                    <a:gd name="connsiteY15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35777 w 4519987"/>
                    <a:gd name="connsiteY30" fmla="*/ 933450 h 4496940"/>
                    <a:gd name="connsiteX31" fmla="*/ 4164352 w 4519987"/>
                    <a:gd name="connsiteY31" fmla="*/ 990600 h 4496940"/>
                    <a:gd name="connsiteX32" fmla="*/ 4173877 w 4519987"/>
                    <a:gd name="connsiteY32" fmla="*/ 1019175 h 4496940"/>
                    <a:gd name="connsiteX33" fmla="*/ 4192927 w 4519987"/>
                    <a:gd name="connsiteY33" fmla="*/ 1057275 h 4496940"/>
                    <a:gd name="connsiteX34" fmla="*/ 4202452 w 4519987"/>
                    <a:gd name="connsiteY34" fmla="*/ 1085850 h 4496940"/>
                    <a:gd name="connsiteX35" fmla="*/ 4250077 w 4519987"/>
                    <a:gd name="connsiteY35" fmla="*/ 1143000 h 4496940"/>
                    <a:gd name="connsiteX36" fmla="*/ 4259602 w 4519987"/>
                    <a:gd name="connsiteY36" fmla="*/ 1190625 h 4496940"/>
                    <a:gd name="connsiteX37" fmla="*/ 4307227 w 4519987"/>
                    <a:gd name="connsiteY37" fmla="*/ 1266825 h 4496940"/>
                    <a:gd name="connsiteX38" fmla="*/ 4345327 w 4519987"/>
                    <a:gd name="connsiteY38" fmla="*/ 1362075 h 4496940"/>
                    <a:gd name="connsiteX39" fmla="*/ 4373902 w 4519987"/>
                    <a:gd name="connsiteY39" fmla="*/ 1428750 h 4496940"/>
                    <a:gd name="connsiteX40" fmla="*/ 4392952 w 4519987"/>
                    <a:gd name="connsiteY40" fmla="*/ 1552575 h 4496940"/>
                    <a:gd name="connsiteX41" fmla="*/ 4402477 w 4519987"/>
                    <a:gd name="connsiteY41" fmla="*/ 1590675 h 4496940"/>
                    <a:gd name="connsiteX42" fmla="*/ 4431052 w 4519987"/>
                    <a:gd name="connsiteY42" fmla="*/ 1685925 h 4496940"/>
                    <a:gd name="connsiteX43" fmla="*/ 4519952 w 4519987"/>
                    <a:gd name="connsiteY43" fmla="*/ 2181225 h 4496940"/>
                    <a:gd name="connsiteX44" fmla="*/ 4446927 w 4519987"/>
                    <a:gd name="connsiteY44" fmla="*/ 2768600 h 4496940"/>
                    <a:gd name="connsiteX45" fmla="*/ 4383427 w 4519987"/>
                    <a:gd name="connsiteY45" fmla="*/ 2990850 h 4496940"/>
                    <a:gd name="connsiteX46" fmla="*/ 4278652 w 4519987"/>
                    <a:gd name="connsiteY46" fmla="*/ 3248025 h 4496940"/>
                    <a:gd name="connsiteX47" fmla="*/ 4259602 w 4519987"/>
                    <a:gd name="connsiteY47" fmla="*/ 3276600 h 4496940"/>
                    <a:gd name="connsiteX48" fmla="*/ 4221502 w 4519987"/>
                    <a:gd name="connsiteY48" fmla="*/ 3333750 h 4496940"/>
                    <a:gd name="connsiteX49" fmla="*/ 4211977 w 4519987"/>
                    <a:gd name="connsiteY49" fmla="*/ 3362325 h 4496940"/>
                    <a:gd name="connsiteX50" fmla="*/ 4183402 w 4519987"/>
                    <a:gd name="connsiteY50" fmla="*/ 3400425 h 4496940"/>
                    <a:gd name="connsiteX51" fmla="*/ 4164352 w 4519987"/>
                    <a:gd name="connsiteY51" fmla="*/ 3429000 h 4496940"/>
                    <a:gd name="connsiteX52" fmla="*/ 4088152 w 4519987"/>
                    <a:gd name="connsiteY52" fmla="*/ 3495675 h 4496940"/>
                    <a:gd name="connsiteX53" fmla="*/ 4059577 w 4519987"/>
                    <a:gd name="connsiteY53" fmla="*/ 3533775 h 4496940"/>
                    <a:gd name="connsiteX54" fmla="*/ 4002427 w 4519987"/>
                    <a:gd name="connsiteY54" fmla="*/ 3600450 h 4496940"/>
                    <a:gd name="connsiteX55" fmla="*/ 3983377 w 4519987"/>
                    <a:gd name="connsiteY55" fmla="*/ 3629025 h 4496940"/>
                    <a:gd name="connsiteX56" fmla="*/ 3954802 w 4519987"/>
                    <a:gd name="connsiteY56" fmla="*/ 3648075 h 4496940"/>
                    <a:gd name="connsiteX57" fmla="*/ 3907177 w 4519987"/>
                    <a:gd name="connsiteY57" fmla="*/ 3686175 h 4496940"/>
                    <a:gd name="connsiteX58" fmla="*/ 3869077 w 4519987"/>
                    <a:gd name="connsiteY58" fmla="*/ 3724275 h 4496940"/>
                    <a:gd name="connsiteX59" fmla="*/ 3792877 w 4519987"/>
                    <a:gd name="connsiteY59" fmla="*/ 3781425 h 4496940"/>
                    <a:gd name="connsiteX60" fmla="*/ 3783352 w 4519987"/>
                    <a:gd name="connsiteY60" fmla="*/ 3810000 h 4496940"/>
                    <a:gd name="connsiteX61" fmla="*/ 3745252 w 4519987"/>
                    <a:gd name="connsiteY61" fmla="*/ 3819525 h 4496940"/>
                    <a:gd name="connsiteX62" fmla="*/ 3678577 w 4519987"/>
                    <a:gd name="connsiteY62" fmla="*/ 3848100 h 4496940"/>
                    <a:gd name="connsiteX63" fmla="*/ 3659527 w 4519987"/>
                    <a:gd name="connsiteY63" fmla="*/ 3971925 h 4496940"/>
                    <a:gd name="connsiteX64" fmla="*/ 3630952 w 4519987"/>
                    <a:gd name="connsiteY64" fmla="*/ 4010025 h 4496940"/>
                    <a:gd name="connsiteX65" fmla="*/ 3621427 w 4519987"/>
                    <a:gd name="connsiteY65" fmla="*/ 4038600 h 4496940"/>
                    <a:gd name="connsiteX66" fmla="*/ 3554752 w 4519987"/>
                    <a:gd name="connsiteY66" fmla="*/ 4095750 h 4496940"/>
                    <a:gd name="connsiteX67" fmla="*/ 3516652 w 4519987"/>
                    <a:gd name="connsiteY67" fmla="*/ 4114800 h 4496940"/>
                    <a:gd name="connsiteX68" fmla="*/ 3497602 w 4519987"/>
                    <a:gd name="connsiteY68" fmla="*/ 4143375 h 4496940"/>
                    <a:gd name="connsiteX69" fmla="*/ 3383302 w 4519987"/>
                    <a:gd name="connsiteY69" fmla="*/ 4210050 h 4496940"/>
                    <a:gd name="connsiteX70" fmla="*/ 3335677 w 4519987"/>
                    <a:gd name="connsiteY70" fmla="*/ 4238625 h 4496940"/>
                    <a:gd name="connsiteX71" fmla="*/ 3288052 w 4519987"/>
                    <a:gd name="connsiteY71" fmla="*/ 4248150 h 4496940"/>
                    <a:gd name="connsiteX72" fmla="*/ 3240427 w 4519987"/>
                    <a:gd name="connsiteY72" fmla="*/ 4267200 h 4496940"/>
                    <a:gd name="connsiteX73" fmla="*/ 3068977 w 4519987"/>
                    <a:gd name="connsiteY73" fmla="*/ 4286250 h 4496940"/>
                    <a:gd name="connsiteX74" fmla="*/ 2935627 w 4519987"/>
                    <a:gd name="connsiteY74" fmla="*/ 4333875 h 4496940"/>
                    <a:gd name="connsiteX75" fmla="*/ 2811802 w 4519987"/>
                    <a:gd name="connsiteY75" fmla="*/ 4371975 h 4496940"/>
                    <a:gd name="connsiteX76" fmla="*/ 2745127 w 4519987"/>
                    <a:gd name="connsiteY76" fmla="*/ 4410075 h 4496940"/>
                    <a:gd name="connsiteX77" fmla="*/ 2697502 w 4519987"/>
                    <a:gd name="connsiteY77" fmla="*/ 4429125 h 4496940"/>
                    <a:gd name="connsiteX78" fmla="*/ 2640352 w 4519987"/>
                    <a:gd name="connsiteY78" fmla="*/ 4457700 h 4496940"/>
                    <a:gd name="connsiteX79" fmla="*/ 2583202 w 4519987"/>
                    <a:gd name="connsiteY79" fmla="*/ 4467225 h 4496940"/>
                    <a:gd name="connsiteX80" fmla="*/ 2545102 w 4519987"/>
                    <a:gd name="connsiteY80" fmla="*/ 4486275 h 4496940"/>
                    <a:gd name="connsiteX81" fmla="*/ 2306977 w 4519987"/>
                    <a:gd name="connsiteY81" fmla="*/ 4476750 h 4496940"/>
                    <a:gd name="connsiteX82" fmla="*/ 2202202 w 4519987"/>
                    <a:gd name="connsiteY82" fmla="*/ 4457700 h 4496940"/>
                    <a:gd name="connsiteX83" fmla="*/ 2126002 w 4519987"/>
                    <a:gd name="connsiteY83" fmla="*/ 4429125 h 4496940"/>
                    <a:gd name="connsiteX84" fmla="*/ 1935502 w 4519987"/>
                    <a:gd name="connsiteY84" fmla="*/ 4400550 h 4496940"/>
                    <a:gd name="connsiteX85" fmla="*/ 1821202 w 4519987"/>
                    <a:gd name="connsiteY85" fmla="*/ 4371975 h 4496940"/>
                    <a:gd name="connsiteX86" fmla="*/ 1754527 w 4519987"/>
                    <a:gd name="connsiteY86" fmla="*/ 4352925 h 4496940"/>
                    <a:gd name="connsiteX87" fmla="*/ 1687852 w 4519987"/>
                    <a:gd name="connsiteY87" fmla="*/ 4343400 h 4496940"/>
                    <a:gd name="connsiteX88" fmla="*/ 1573552 w 4519987"/>
                    <a:gd name="connsiteY88" fmla="*/ 4305300 h 4496940"/>
                    <a:gd name="connsiteX89" fmla="*/ 1402102 w 4519987"/>
                    <a:gd name="connsiteY89" fmla="*/ 4276725 h 4496940"/>
                    <a:gd name="connsiteX90" fmla="*/ 1287802 w 4519987"/>
                    <a:gd name="connsiteY90" fmla="*/ 4229100 h 4496940"/>
                    <a:gd name="connsiteX91" fmla="*/ 1221127 w 4519987"/>
                    <a:gd name="connsiteY91" fmla="*/ 4200525 h 4496940"/>
                    <a:gd name="connsiteX92" fmla="*/ 1144927 w 4519987"/>
                    <a:gd name="connsiteY92" fmla="*/ 4171950 h 4496940"/>
                    <a:gd name="connsiteX93" fmla="*/ 1087777 w 4519987"/>
                    <a:gd name="connsiteY93" fmla="*/ 4143375 h 4496940"/>
                    <a:gd name="connsiteX94" fmla="*/ 1030627 w 4519987"/>
                    <a:gd name="connsiteY94" fmla="*/ 4124325 h 4496940"/>
                    <a:gd name="connsiteX95" fmla="*/ 925852 w 4519987"/>
                    <a:gd name="connsiteY95" fmla="*/ 4067175 h 4496940"/>
                    <a:gd name="connsiteX96" fmla="*/ 830602 w 4519987"/>
                    <a:gd name="connsiteY96" fmla="*/ 3981450 h 4496940"/>
                    <a:gd name="connsiteX97" fmla="*/ 763927 w 4519987"/>
                    <a:gd name="connsiteY97" fmla="*/ 3914775 h 4496940"/>
                    <a:gd name="connsiteX98" fmla="*/ 725827 w 4519987"/>
                    <a:gd name="connsiteY98" fmla="*/ 3876675 h 4496940"/>
                    <a:gd name="connsiteX99" fmla="*/ 697252 w 4519987"/>
                    <a:gd name="connsiteY99" fmla="*/ 3838575 h 4496940"/>
                    <a:gd name="connsiteX100" fmla="*/ 640102 w 4519987"/>
                    <a:gd name="connsiteY100" fmla="*/ 3781425 h 4496940"/>
                    <a:gd name="connsiteX101" fmla="*/ 611527 w 4519987"/>
                    <a:gd name="connsiteY101" fmla="*/ 3733800 h 4496940"/>
                    <a:gd name="connsiteX102" fmla="*/ 554377 w 4519987"/>
                    <a:gd name="connsiteY102" fmla="*/ 3657600 h 4496940"/>
                    <a:gd name="connsiteX103" fmla="*/ 525802 w 4519987"/>
                    <a:gd name="connsiteY103" fmla="*/ 3609975 h 4496940"/>
                    <a:gd name="connsiteX104" fmla="*/ 497227 w 4519987"/>
                    <a:gd name="connsiteY104" fmla="*/ 3552825 h 4496940"/>
                    <a:gd name="connsiteX105" fmla="*/ 440077 w 4519987"/>
                    <a:gd name="connsiteY105" fmla="*/ 3495675 h 4496940"/>
                    <a:gd name="connsiteX106" fmla="*/ 411502 w 4519987"/>
                    <a:gd name="connsiteY106" fmla="*/ 3448050 h 4496940"/>
                    <a:gd name="connsiteX107" fmla="*/ 278152 w 4519987"/>
                    <a:gd name="connsiteY107" fmla="*/ 3257550 h 4496940"/>
                    <a:gd name="connsiteX108" fmla="*/ 249577 w 4519987"/>
                    <a:gd name="connsiteY108" fmla="*/ 3200400 h 4496940"/>
                    <a:gd name="connsiteX109" fmla="*/ 240052 w 4519987"/>
                    <a:gd name="connsiteY109" fmla="*/ 3162300 h 4496940"/>
                    <a:gd name="connsiteX110" fmla="*/ 221002 w 4519987"/>
                    <a:gd name="connsiteY110" fmla="*/ 3105150 h 4496940"/>
                    <a:gd name="connsiteX111" fmla="*/ 173377 w 4519987"/>
                    <a:gd name="connsiteY111" fmla="*/ 3019425 h 4496940"/>
                    <a:gd name="connsiteX112" fmla="*/ 144802 w 4519987"/>
                    <a:gd name="connsiteY112" fmla="*/ 2924175 h 4496940"/>
                    <a:gd name="connsiteX113" fmla="*/ 68602 w 4519987"/>
                    <a:gd name="connsiteY113" fmla="*/ 2724150 h 4496940"/>
                    <a:gd name="connsiteX114" fmla="*/ 49552 w 4519987"/>
                    <a:gd name="connsiteY114" fmla="*/ 2638425 h 4496940"/>
                    <a:gd name="connsiteX115" fmla="*/ 40027 w 4519987"/>
                    <a:gd name="connsiteY115" fmla="*/ 2562225 h 4496940"/>
                    <a:gd name="connsiteX116" fmla="*/ 30502 w 4519987"/>
                    <a:gd name="connsiteY116" fmla="*/ 2514600 h 4496940"/>
                    <a:gd name="connsiteX117" fmla="*/ 11452 w 4519987"/>
                    <a:gd name="connsiteY117" fmla="*/ 2400300 h 4496940"/>
                    <a:gd name="connsiteX118" fmla="*/ 20977 w 4519987"/>
                    <a:gd name="connsiteY118" fmla="*/ 1905000 h 4496940"/>
                    <a:gd name="connsiteX119" fmla="*/ 30502 w 4519987"/>
                    <a:gd name="connsiteY119" fmla="*/ 1838325 h 4496940"/>
                    <a:gd name="connsiteX120" fmla="*/ 49552 w 4519987"/>
                    <a:gd name="connsiteY120" fmla="*/ 1781175 h 4496940"/>
                    <a:gd name="connsiteX121" fmla="*/ 59077 w 4519987"/>
                    <a:gd name="connsiteY121" fmla="*/ 1743075 h 4496940"/>
                    <a:gd name="connsiteX122" fmla="*/ 78127 w 4519987"/>
                    <a:gd name="connsiteY122" fmla="*/ 1685925 h 4496940"/>
                    <a:gd name="connsiteX123" fmla="*/ 87652 w 4519987"/>
                    <a:gd name="connsiteY123" fmla="*/ 1638300 h 4496940"/>
                    <a:gd name="connsiteX124" fmla="*/ 106702 w 4519987"/>
                    <a:gd name="connsiteY124" fmla="*/ 1590675 h 4496940"/>
                    <a:gd name="connsiteX125" fmla="*/ 135277 w 4519987"/>
                    <a:gd name="connsiteY125" fmla="*/ 1504950 h 4496940"/>
                    <a:gd name="connsiteX126" fmla="*/ 154327 w 4519987"/>
                    <a:gd name="connsiteY126" fmla="*/ 1419225 h 4496940"/>
                    <a:gd name="connsiteX127" fmla="*/ 230527 w 4519987"/>
                    <a:gd name="connsiteY127" fmla="*/ 1276350 h 4496940"/>
                    <a:gd name="connsiteX128" fmla="*/ 240052 w 4519987"/>
                    <a:gd name="connsiteY128" fmla="*/ 1247775 h 4496940"/>
                    <a:gd name="connsiteX129" fmla="*/ 268627 w 4519987"/>
                    <a:gd name="connsiteY129" fmla="*/ 1200150 h 4496940"/>
                    <a:gd name="connsiteX130" fmla="*/ 287677 w 4519987"/>
                    <a:gd name="connsiteY130" fmla="*/ 1152525 h 4496940"/>
                    <a:gd name="connsiteX131" fmla="*/ 316252 w 4519987"/>
                    <a:gd name="connsiteY131" fmla="*/ 1114425 h 4496940"/>
                    <a:gd name="connsiteX132" fmla="*/ 363877 w 4519987"/>
                    <a:gd name="connsiteY132" fmla="*/ 1038225 h 4496940"/>
                    <a:gd name="connsiteX133" fmla="*/ 382927 w 4519987"/>
                    <a:gd name="connsiteY133" fmla="*/ 1009650 h 4496940"/>
                    <a:gd name="connsiteX134" fmla="*/ 440077 w 4519987"/>
                    <a:gd name="connsiteY134" fmla="*/ 904875 h 4496940"/>
                    <a:gd name="connsiteX135" fmla="*/ 478177 w 4519987"/>
                    <a:gd name="connsiteY135" fmla="*/ 857250 h 4496940"/>
                    <a:gd name="connsiteX136" fmla="*/ 497227 w 4519987"/>
                    <a:gd name="connsiteY136" fmla="*/ 828675 h 4496940"/>
                    <a:gd name="connsiteX137" fmla="*/ 535327 w 4519987"/>
                    <a:gd name="connsiteY137" fmla="*/ 800100 h 4496940"/>
                    <a:gd name="connsiteX138" fmla="*/ 602002 w 4519987"/>
                    <a:gd name="connsiteY138" fmla="*/ 733425 h 4496940"/>
                    <a:gd name="connsiteX139" fmla="*/ 668677 w 4519987"/>
                    <a:gd name="connsiteY139" fmla="*/ 676275 h 4496940"/>
                    <a:gd name="connsiteX140" fmla="*/ 697252 w 4519987"/>
                    <a:gd name="connsiteY140" fmla="*/ 657225 h 4496940"/>
                    <a:gd name="connsiteX141" fmla="*/ 840127 w 4519987"/>
                    <a:gd name="connsiteY141" fmla="*/ 533400 h 4496940"/>
                    <a:gd name="connsiteX142" fmla="*/ 887752 w 4519987"/>
                    <a:gd name="connsiteY142" fmla="*/ 504825 h 4496940"/>
                    <a:gd name="connsiteX143" fmla="*/ 1167152 w 4519987"/>
                    <a:gd name="connsiteY143" fmla="*/ 311150 h 4496940"/>
                    <a:gd name="connsiteX144" fmla="*/ 1268752 w 4519987"/>
                    <a:gd name="connsiteY144" fmla="*/ 285750 h 4496940"/>
                    <a:gd name="connsiteX145" fmla="*/ 1411627 w 4519987"/>
                    <a:gd name="connsiteY145" fmla="*/ 190500 h 4496940"/>
                    <a:gd name="connsiteX146" fmla="*/ 1449727 w 4519987"/>
                    <a:gd name="connsiteY146" fmla="*/ 161925 h 4496940"/>
                    <a:gd name="connsiteX147" fmla="*/ 1525927 w 4519987"/>
                    <a:gd name="connsiteY147" fmla="*/ 152400 h 4496940"/>
                    <a:gd name="connsiteX148" fmla="*/ 1583077 w 4519987"/>
                    <a:gd name="connsiteY148" fmla="*/ 142875 h 4496940"/>
                    <a:gd name="connsiteX149" fmla="*/ 1716427 w 4519987"/>
                    <a:gd name="connsiteY149" fmla="*/ 123825 h 4496940"/>
                    <a:gd name="connsiteX150" fmla="*/ 1811677 w 4519987"/>
                    <a:gd name="connsiteY150" fmla="*/ 114300 h 4496940"/>
                    <a:gd name="connsiteX151" fmla="*/ 1859302 w 4519987"/>
                    <a:gd name="connsiteY151" fmla="*/ 104775 h 4496940"/>
                    <a:gd name="connsiteX152" fmla="*/ 1916452 w 4519987"/>
                    <a:gd name="connsiteY152" fmla="*/ 95250 h 4496940"/>
                    <a:gd name="connsiteX153" fmla="*/ 2030752 w 4519987"/>
                    <a:gd name="connsiteY153" fmla="*/ 66675 h 4496940"/>
                    <a:gd name="connsiteX154" fmla="*/ 2097427 w 4519987"/>
                    <a:gd name="connsiteY154" fmla="*/ 47625 h 4496940"/>
                    <a:gd name="connsiteX155" fmla="*/ 2164102 w 4519987"/>
                    <a:gd name="connsiteY155" fmla="*/ 38100 h 4496940"/>
                    <a:gd name="connsiteX156" fmla="*/ 2392702 w 4519987"/>
                    <a:gd name="connsiteY15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35777 w 4519987"/>
                    <a:gd name="connsiteY29" fmla="*/ 933450 h 4496940"/>
                    <a:gd name="connsiteX30" fmla="*/ 4164352 w 4519987"/>
                    <a:gd name="connsiteY30" fmla="*/ 990600 h 4496940"/>
                    <a:gd name="connsiteX31" fmla="*/ 4173877 w 4519987"/>
                    <a:gd name="connsiteY31" fmla="*/ 1019175 h 4496940"/>
                    <a:gd name="connsiteX32" fmla="*/ 4192927 w 4519987"/>
                    <a:gd name="connsiteY32" fmla="*/ 1057275 h 4496940"/>
                    <a:gd name="connsiteX33" fmla="*/ 4202452 w 4519987"/>
                    <a:gd name="connsiteY33" fmla="*/ 1085850 h 4496940"/>
                    <a:gd name="connsiteX34" fmla="*/ 4250077 w 4519987"/>
                    <a:gd name="connsiteY34" fmla="*/ 1143000 h 4496940"/>
                    <a:gd name="connsiteX35" fmla="*/ 4259602 w 4519987"/>
                    <a:gd name="connsiteY35" fmla="*/ 1190625 h 4496940"/>
                    <a:gd name="connsiteX36" fmla="*/ 4307227 w 4519987"/>
                    <a:gd name="connsiteY36" fmla="*/ 1266825 h 4496940"/>
                    <a:gd name="connsiteX37" fmla="*/ 4345327 w 4519987"/>
                    <a:gd name="connsiteY37" fmla="*/ 1362075 h 4496940"/>
                    <a:gd name="connsiteX38" fmla="*/ 4373902 w 4519987"/>
                    <a:gd name="connsiteY38" fmla="*/ 1428750 h 4496940"/>
                    <a:gd name="connsiteX39" fmla="*/ 4392952 w 4519987"/>
                    <a:gd name="connsiteY39" fmla="*/ 1552575 h 4496940"/>
                    <a:gd name="connsiteX40" fmla="*/ 4402477 w 4519987"/>
                    <a:gd name="connsiteY40" fmla="*/ 1590675 h 4496940"/>
                    <a:gd name="connsiteX41" fmla="*/ 4431052 w 4519987"/>
                    <a:gd name="connsiteY41" fmla="*/ 1685925 h 4496940"/>
                    <a:gd name="connsiteX42" fmla="*/ 4519952 w 4519987"/>
                    <a:gd name="connsiteY42" fmla="*/ 2181225 h 4496940"/>
                    <a:gd name="connsiteX43" fmla="*/ 4446927 w 4519987"/>
                    <a:gd name="connsiteY43" fmla="*/ 2768600 h 4496940"/>
                    <a:gd name="connsiteX44" fmla="*/ 4383427 w 4519987"/>
                    <a:gd name="connsiteY44" fmla="*/ 2990850 h 4496940"/>
                    <a:gd name="connsiteX45" fmla="*/ 4278652 w 4519987"/>
                    <a:gd name="connsiteY45" fmla="*/ 3248025 h 4496940"/>
                    <a:gd name="connsiteX46" fmla="*/ 4259602 w 4519987"/>
                    <a:gd name="connsiteY46" fmla="*/ 3276600 h 4496940"/>
                    <a:gd name="connsiteX47" fmla="*/ 4221502 w 4519987"/>
                    <a:gd name="connsiteY47" fmla="*/ 3333750 h 4496940"/>
                    <a:gd name="connsiteX48" fmla="*/ 4211977 w 4519987"/>
                    <a:gd name="connsiteY48" fmla="*/ 3362325 h 4496940"/>
                    <a:gd name="connsiteX49" fmla="*/ 4183402 w 4519987"/>
                    <a:gd name="connsiteY49" fmla="*/ 3400425 h 4496940"/>
                    <a:gd name="connsiteX50" fmla="*/ 4164352 w 4519987"/>
                    <a:gd name="connsiteY50" fmla="*/ 3429000 h 4496940"/>
                    <a:gd name="connsiteX51" fmla="*/ 4088152 w 4519987"/>
                    <a:gd name="connsiteY51" fmla="*/ 3495675 h 4496940"/>
                    <a:gd name="connsiteX52" fmla="*/ 4059577 w 4519987"/>
                    <a:gd name="connsiteY52" fmla="*/ 3533775 h 4496940"/>
                    <a:gd name="connsiteX53" fmla="*/ 4002427 w 4519987"/>
                    <a:gd name="connsiteY53" fmla="*/ 3600450 h 4496940"/>
                    <a:gd name="connsiteX54" fmla="*/ 3983377 w 4519987"/>
                    <a:gd name="connsiteY54" fmla="*/ 3629025 h 4496940"/>
                    <a:gd name="connsiteX55" fmla="*/ 3954802 w 4519987"/>
                    <a:gd name="connsiteY55" fmla="*/ 3648075 h 4496940"/>
                    <a:gd name="connsiteX56" fmla="*/ 3907177 w 4519987"/>
                    <a:gd name="connsiteY56" fmla="*/ 3686175 h 4496940"/>
                    <a:gd name="connsiteX57" fmla="*/ 3869077 w 4519987"/>
                    <a:gd name="connsiteY57" fmla="*/ 3724275 h 4496940"/>
                    <a:gd name="connsiteX58" fmla="*/ 3792877 w 4519987"/>
                    <a:gd name="connsiteY58" fmla="*/ 3781425 h 4496940"/>
                    <a:gd name="connsiteX59" fmla="*/ 3783352 w 4519987"/>
                    <a:gd name="connsiteY59" fmla="*/ 3810000 h 4496940"/>
                    <a:gd name="connsiteX60" fmla="*/ 3745252 w 4519987"/>
                    <a:gd name="connsiteY60" fmla="*/ 3819525 h 4496940"/>
                    <a:gd name="connsiteX61" fmla="*/ 3678577 w 4519987"/>
                    <a:gd name="connsiteY61" fmla="*/ 3848100 h 4496940"/>
                    <a:gd name="connsiteX62" fmla="*/ 3659527 w 4519987"/>
                    <a:gd name="connsiteY62" fmla="*/ 3971925 h 4496940"/>
                    <a:gd name="connsiteX63" fmla="*/ 3630952 w 4519987"/>
                    <a:gd name="connsiteY63" fmla="*/ 4010025 h 4496940"/>
                    <a:gd name="connsiteX64" fmla="*/ 3621427 w 4519987"/>
                    <a:gd name="connsiteY64" fmla="*/ 4038600 h 4496940"/>
                    <a:gd name="connsiteX65" fmla="*/ 3554752 w 4519987"/>
                    <a:gd name="connsiteY65" fmla="*/ 4095750 h 4496940"/>
                    <a:gd name="connsiteX66" fmla="*/ 3516652 w 4519987"/>
                    <a:gd name="connsiteY66" fmla="*/ 4114800 h 4496940"/>
                    <a:gd name="connsiteX67" fmla="*/ 3497602 w 4519987"/>
                    <a:gd name="connsiteY67" fmla="*/ 4143375 h 4496940"/>
                    <a:gd name="connsiteX68" fmla="*/ 3383302 w 4519987"/>
                    <a:gd name="connsiteY68" fmla="*/ 4210050 h 4496940"/>
                    <a:gd name="connsiteX69" fmla="*/ 3335677 w 4519987"/>
                    <a:gd name="connsiteY69" fmla="*/ 4238625 h 4496940"/>
                    <a:gd name="connsiteX70" fmla="*/ 3288052 w 4519987"/>
                    <a:gd name="connsiteY70" fmla="*/ 4248150 h 4496940"/>
                    <a:gd name="connsiteX71" fmla="*/ 3240427 w 4519987"/>
                    <a:gd name="connsiteY71" fmla="*/ 4267200 h 4496940"/>
                    <a:gd name="connsiteX72" fmla="*/ 3068977 w 4519987"/>
                    <a:gd name="connsiteY72" fmla="*/ 4286250 h 4496940"/>
                    <a:gd name="connsiteX73" fmla="*/ 2935627 w 4519987"/>
                    <a:gd name="connsiteY73" fmla="*/ 4333875 h 4496940"/>
                    <a:gd name="connsiteX74" fmla="*/ 2811802 w 4519987"/>
                    <a:gd name="connsiteY74" fmla="*/ 4371975 h 4496940"/>
                    <a:gd name="connsiteX75" fmla="*/ 2745127 w 4519987"/>
                    <a:gd name="connsiteY75" fmla="*/ 4410075 h 4496940"/>
                    <a:gd name="connsiteX76" fmla="*/ 2697502 w 4519987"/>
                    <a:gd name="connsiteY76" fmla="*/ 4429125 h 4496940"/>
                    <a:gd name="connsiteX77" fmla="*/ 2640352 w 4519987"/>
                    <a:gd name="connsiteY77" fmla="*/ 4457700 h 4496940"/>
                    <a:gd name="connsiteX78" fmla="*/ 2583202 w 4519987"/>
                    <a:gd name="connsiteY78" fmla="*/ 4467225 h 4496940"/>
                    <a:gd name="connsiteX79" fmla="*/ 2545102 w 4519987"/>
                    <a:gd name="connsiteY79" fmla="*/ 4486275 h 4496940"/>
                    <a:gd name="connsiteX80" fmla="*/ 2306977 w 4519987"/>
                    <a:gd name="connsiteY80" fmla="*/ 4476750 h 4496940"/>
                    <a:gd name="connsiteX81" fmla="*/ 2202202 w 4519987"/>
                    <a:gd name="connsiteY81" fmla="*/ 4457700 h 4496940"/>
                    <a:gd name="connsiteX82" fmla="*/ 2126002 w 4519987"/>
                    <a:gd name="connsiteY82" fmla="*/ 4429125 h 4496940"/>
                    <a:gd name="connsiteX83" fmla="*/ 1935502 w 4519987"/>
                    <a:gd name="connsiteY83" fmla="*/ 4400550 h 4496940"/>
                    <a:gd name="connsiteX84" fmla="*/ 1821202 w 4519987"/>
                    <a:gd name="connsiteY84" fmla="*/ 4371975 h 4496940"/>
                    <a:gd name="connsiteX85" fmla="*/ 1754527 w 4519987"/>
                    <a:gd name="connsiteY85" fmla="*/ 4352925 h 4496940"/>
                    <a:gd name="connsiteX86" fmla="*/ 1687852 w 4519987"/>
                    <a:gd name="connsiteY86" fmla="*/ 4343400 h 4496940"/>
                    <a:gd name="connsiteX87" fmla="*/ 1573552 w 4519987"/>
                    <a:gd name="connsiteY87" fmla="*/ 4305300 h 4496940"/>
                    <a:gd name="connsiteX88" fmla="*/ 1402102 w 4519987"/>
                    <a:gd name="connsiteY88" fmla="*/ 4276725 h 4496940"/>
                    <a:gd name="connsiteX89" fmla="*/ 1287802 w 4519987"/>
                    <a:gd name="connsiteY89" fmla="*/ 4229100 h 4496940"/>
                    <a:gd name="connsiteX90" fmla="*/ 1221127 w 4519987"/>
                    <a:gd name="connsiteY90" fmla="*/ 4200525 h 4496940"/>
                    <a:gd name="connsiteX91" fmla="*/ 1144927 w 4519987"/>
                    <a:gd name="connsiteY91" fmla="*/ 4171950 h 4496940"/>
                    <a:gd name="connsiteX92" fmla="*/ 1087777 w 4519987"/>
                    <a:gd name="connsiteY92" fmla="*/ 4143375 h 4496940"/>
                    <a:gd name="connsiteX93" fmla="*/ 1030627 w 4519987"/>
                    <a:gd name="connsiteY93" fmla="*/ 4124325 h 4496940"/>
                    <a:gd name="connsiteX94" fmla="*/ 925852 w 4519987"/>
                    <a:gd name="connsiteY94" fmla="*/ 4067175 h 4496940"/>
                    <a:gd name="connsiteX95" fmla="*/ 830602 w 4519987"/>
                    <a:gd name="connsiteY95" fmla="*/ 3981450 h 4496940"/>
                    <a:gd name="connsiteX96" fmla="*/ 763927 w 4519987"/>
                    <a:gd name="connsiteY96" fmla="*/ 3914775 h 4496940"/>
                    <a:gd name="connsiteX97" fmla="*/ 725827 w 4519987"/>
                    <a:gd name="connsiteY97" fmla="*/ 3876675 h 4496940"/>
                    <a:gd name="connsiteX98" fmla="*/ 697252 w 4519987"/>
                    <a:gd name="connsiteY98" fmla="*/ 3838575 h 4496940"/>
                    <a:gd name="connsiteX99" fmla="*/ 640102 w 4519987"/>
                    <a:gd name="connsiteY99" fmla="*/ 3781425 h 4496940"/>
                    <a:gd name="connsiteX100" fmla="*/ 611527 w 4519987"/>
                    <a:gd name="connsiteY100" fmla="*/ 3733800 h 4496940"/>
                    <a:gd name="connsiteX101" fmla="*/ 554377 w 4519987"/>
                    <a:gd name="connsiteY101" fmla="*/ 3657600 h 4496940"/>
                    <a:gd name="connsiteX102" fmla="*/ 525802 w 4519987"/>
                    <a:gd name="connsiteY102" fmla="*/ 3609975 h 4496940"/>
                    <a:gd name="connsiteX103" fmla="*/ 497227 w 4519987"/>
                    <a:gd name="connsiteY103" fmla="*/ 3552825 h 4496940"/>
                    <a:gd name="connsiteX104" fmla="*/ 440077 w 4519987"/>
                    <a:gd name="connsiteY104" fmla="*/ 3495675 h 4496940"/>
                    <a:gd name="connsiteX105" fmla="*/ 411502 w 4519987"/>
                    <a:gd name="connsiteY105" fmla="*/ 3448050 h 4496940"/>
                    <a:gd name="connsiteX106" fmla="*/ 278152 w 4519987"/>
                    <a:gd name="connsiteY106" fmla="*/ 3257550 h 4496940"/>
                    <a:gd name="connsiteX107" fmla="*/ 249577 w 4519987"/>
                    <a:gd name="connsiteY107" fmla="*/ 3200400 h 4496940"/>
                    <a:gd name="connsiteX108" fmla="*/ 240052 w 4519987"/>
                    <a:gd name="connsiteY108" fmla="*/ 3162300 h 4496940"/>
                    <a:gd name="connsiteX109" fmla="*/ 221002 w 4519987"/>
                    <a:gd name="connsiteY109" fmla="*/ 3105150 h 4496940"/>
                    <a:gd name="connsiteX110" fmla="*/ 173377 w 4519987"/>
                    <a:gd name="connsiteY110" fmla="*/ 3019425 h 4496940"/>
                    <a:gd name="connsiteX111" fmla="*/ 144802 w 4519987"/>
                    <a:gd name="connsiteY111" fmla="*/ 2924175 h 4496940"/>
                    <a:gd name="connsiteX112" fmla="*/ 68602 w 4519987"/>
                    <a:gd name="connsiteY112" fmla="*/ 2724150 h 4496940"/>
                    <a:gd name="connsiteX113" fmla="*/ 49552 w 4519987"/>
                    <a:gd name="connsiteY113" fmla="*/ 2638425 h 4496940"/>
                    <a:gd name="connsiteX114" fmla="*/ 40027 w 4519987"/>
                    <a:gd name="connsiteY114" fmla="*/ 2562225 h 4496940"/>
                    <a:gd name="connsiteX115" fmla="*/ 30502 w 4519987"/>
                    <a:gd name="connsiteY115" fmla="*/ 2514600 h 4496940"/>
                    <a:gd name="connsiteX116" fmla="*/ 11452 w 4519987"/>
                    <a:gd name="connsiteY116" fmla="*/ 2400300 h 4496940"/>
                    <a:gd name="connsiteX117" fmla="*/ 20977 w 4519987"/>
                    <a:gd name="connsiteY117" fmla="*/ 1905000 h 4496940"/>
                    <a:gd name="connsiteX118" fmla="*/ 30502 w 4519987"/>
                    <a:gd name="connsiteY118" fmla="*/ 1838325 h 4496940"/>
                    <a:gd name="connsiteX119" fmla="*/ 49552 w 4519987"/>
                    <a:gd name="connsiteY119" fmla="*/ 1781175 h 4496940"/>
                    <a:gd name="connsiteX120" fmla="*/ 59077 w 4519987"/>
                    <a:gd name="connsiteY120" fmla="*/ 1743075 h 4496940"/>
                    <a:gd name="connsiteX121" fmla="*/ 78127 w 4519987"/>
                    <a:gd name="connsiteY121" fmla="*/ 1685925 h 4496940"/>
                    <a:gd name="connsiteX122" fmla="*/ 87652 w 4519987"/>
                    <a:gd name="connsiteY122" fmla="*/ 1638300 h 4496940"/>
                    <a:gd name="connsiteX123" fmla="*/ 106702 w 4519987"/>
                    <a:gd name="connsiteY123" fmla="*/ 1590675 h 4496940"/>
                    <a:gd name="connsiteX124" fmla="*/ 135277 w 4519987"/>
                    <a:gd name="connsiteY124" fmla="*/ 1504950 h 4496940"/>
                    <a:gd name="connsiteX125" fmla="*/ 154327 w 4519987"/>
                    <a:gd name="connsiteY125" fmla="*/ 1419225 h 4496940"/>
                    <a:gd name="connsiteX126" fmla="*/ 230527 w 4519987"/>
                    <a:gd name="connsiteY126" fmla="*/ 1276350 h 4496940"/>
                    <a:gd name="connsiteX127" fmla="*/ 240052 w 4519987"/>
                    <a:gd name="connsiteY127" fmla="*/ 1247775 h 4496940"/>
                    <a:gd name="connsiteX128" fmla="*/ 268627 w 4519987"/>
                    <a:gd name="connsiteY128" fmla="*/ 1200150 h 4496940"/>
                    <a:gd name="connsiteX129" fmla="*/ 287677 w 4519987"/>
                    <a:gd name="connsiteY129" fmla="*/ 1152525 h 4496940"/>
                    <a:gd name="connsiteX130" fmla="*/ 316252 w 4519987"/>
                    <a:gd name="connsiteY130" fmla="*/ 1114425 h 4496940"/>
                    <a:gd name="connsiteX131" fmla="*/ 363877 w 4519987"/>
                    <a:gd name="connsiteY131" fmla="*/ 1038225 h 4496940"/>
                    <a:gd name="connsiteX132" fmla="*/ 382927 w 4519987"/>
                    <a:gd name="connsiteY132" fmla="*/ 1009650 h 4496940"/>
                    <a:gd name="connsiteX133" fmla="*/ 440077 w 4519987"/>
                    <a:gd name="connsiteY133" fmla="*/ 904875 h 4496940"/>
                    <a:gd name="connsiteX134" fmla="*/ 478177 w 4519987"/>
                    <a:gd name="connsiteY134" fmla="*/ 857250 h 4496940"/>
                    <a:gd name="connsiteX135" fmla="*/ 497227 w 4519987"/>
                    <a:gd name="connsiteY135" fmla="*/ 828675 h 4496940"/>
                    <a:gd name="connsiteX136" fmla="*/ 535327 w 4519987"/>
                    <a:gd name="connsiteY136" fmla="*/ 800100 h 4496940"/>
                    <a:gd name="connsiteX137" fmla="*/ 602002 w 4519987"/>
                    <a:gd name="connsiteY137" fmla="*/ 733425 h 4496940"/>
                    <a:gd name="connsiteX138" fmla="*/ 668677 w 4519987"/>
                    <a:gd name="connsiteY138" fmla="*/ 676275 h 4496940"/>
                    <a:gd name="connsiteX139" fmla="*/ 697252 w 4519987"/>
                    <a:gd name="connsiteY139" fmla="*/ 657225 h 4496940"/>
                    <a:gd name="connsiteX140" fmla="*/ 840127 w 4519987"/>
                    <a:gd name="connsiteY140" fmla="*/ 533400 h 4496940"/>
                    <a:gd name="connsiteX141" fmla="*/ 887752 w 4519987"/>
                    <a:gd name="connsiteY141" fmla="*/ 504825 h 4496940"/>
                    <a:gd name="connsiteX142" fmla="*/ 1167152 w 4519987"/>
                    <a:gd name="connsiteY142" fmla="*/ 311150 h 4496940"/>
                    <a:gd name="connsiteX143" fmla="*/ 1268752 w 4519987"/>
                    <a:gd name="connsiteY143" fmla="*/ 285750 h 4496940"/>
                    <a:gd name="connsiteX144" fmla="*/ 1411627 w 4519987"/>
                    <a:gd name="connsiteY144" fmla="*/ 190500 h 4496940"/>
                    <a:gd name="connsiteX145" fmla="*/ 1449727 w 4519987"/>
                    <a:gd name="connsiteY145" fmla="*/ 161925 h 4496940"/>
                    <a:gd name="connsiteX146" fmla="*/ 1525927 w 4519987"/>
                    <a:gd name="connsiteY146" fmla="*/ 152400 h 4496940"/>
                    <a:gd name="connsiteX147" fmla="*/ 1583077 w 4519987"/>
                    <a:gd name="connsiteY147" fmla="*/ 142875 h 4496940"/>
                    <a:gd name="connsiteX148" fmla="*/ 1716427 w 4519987"/>
                    <a:gd name="connsiteY148" fmla="*/ 123825 h 4496940"/>
                    <a:gd name="connsiteX149" fmla="*/ 1811677 w 4519987"/>
                    <a:gd name="connsiteY149" fmla="*/ 114300 h 4496940"/>
                    <a:gd name="connsiteX150" fmla="*/ 1859302 w 4519987"/>
                    <a:gd name="connsiteY150" fmla="*/ 104775 h 4496940"/>
                    <a:gd name="connsiteX151" fmla="*/ 1916452 w 4519987"/>
                    <a:gd name="connsiteY151" fmla="*/ 95250 h 4496940"/>
                    <a:gd name="connsiteX152" fmla="*/ 2030752 w 4519987"/>
                    <a:gd name="connsiteY152" fmla="*/ 66675 h 4496940"/>
                    <a:gd name="connsiteX153" fmla="*/ 2097427 w 4519987"/>
                    <a:gd name="connsiteY153" fmla="*/ 47625 h 4496940"/>
                    <a:gd name="connsiteX154" fmla="*/ 2164102 w 4519987"/>
                    <a:gd name="connsiteY154" fmla="*/ 38100 h 4496940"/>
                    <a:gd name="connsiteX155" fmla="*/ 2392702 w 4519987"/>
                    <a:gd name="connsiteY15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907177 w 4519987"/>
                    <a:gd name="connsiteY25" fmla="*/ 647700 h 4496940"/>
                    <a:gd name="connsiteX26" fmla="*/ 3935752 w 4519987"/>
                    <a:gd name="connsiteY26" fmla="*/ 676275 h 4496940"/>
                    <a:gd name="connsiteX27" fmla="*/ 4078627 w 4519987"/>
                    <a:gd name="connsiteY27" fmla="*/ 838200 h 4496940"/>
                    <a:gd name="connsiteX28" fmla="*/ 4135777 w 4519987"/>
                    <a:gd name="connsiteY28" fmla="*/ 933450 h 4496940"/>
                    <a:gd name="connsiteX29" fmla="*/ 4164352 w 4519987"/>
                    <a:gd name="connsiteY29" fmla="*/ 990600 h 4496940"/>
                    <a:gd name="connsiteX30" fmla="*/ 4173877 w 4519987"/>
                    <a:gd name="connsiteY30" fmla="*/ 1019175 h 4496940"/>
                    <a:gd name="connsiteX31" fmla="*/ 4192927 w 4519987"/>
                    <a:gd name="connsiteY31" fmla="*/ 1057275 h 4496940"/>
                    <a:gd name="connsiteX32" fmla="*/ 4202452 w 4519987"/>
                    <a:gd name="connsiteY32" fmla="*/ 1085850 h 4496940"/>
                    <a:gd name="connsiteX33" fmla="*/ 4250077 w 4519987"/>
                    <a:gd name="connsiteY33" fmla="*/ 1143000 h 4496940"/>
                    <a:gd name="connsiteX34" fmla="*/ 4259602 w 4519987"/>
                    <a:gd name="connsiteY34" fmla="*/ 1190625 h 4496940"/>
                    <a:gd name="connsiteX35" fmla="*/ 4307227 w 4519987"/>
                    <a:gd name="connsiteY35" fmla="*/ 1266825 h 4496940"/>
                    <a:gd name="connsiteX36" fmla="*/ 4345327 w 4519987"/>
                    <a:gd name="connsiteY36" fmla="*/ 1362075 h 4496940"/>
                    <a:gd name="connsiteX37" fmla="*/ 4373902 w 4519987"/>
                    <a:gd name="connsiteY37" fmla="*/ 1428750 h 4496940"/>
                    <a:gd name="connsiteX38" fmla="*/ 4392952 w 4519987"/>
                    <a:gd name="connsiteY38" fmla="*/ 1552575 h 4496940"/>
                    <a:gd name="connsiteX39" fmla="*/ 4402477 w 4519987"/>
                    <a:gd name="connsiteY39" fmla="*/ 1590675 h 4496940"/>
                    <a:gd name="connsiteX40" fmla="*/ 4431052 w 4519987"/>
                    <a:gd name="connsiteY40" fmla="*/ 1685925 h 4496940"/>
                    <a:gd name="connsiteX41" fmla="*/ 4519952 w 4519987"/>
                    <a:gd name="connsiteY41" fmla="*/ 2181225 h 4496940"/>
                    <a:gd name="connsiteX42" fmla="*/ 4446927 w 4519987"/>
                    <a:gd name="connsiteY42" fmla="*/ 2768600 h 4496940"/>
                    <a:gd name="connsiteX43" fmla="*/ 4383427 w 4519987"/>
                    <a:gd name="connsiteY43" fmla="*/ 2990850 h 4496940"/>
                    <a:gd name="connsiteX44" fmla="*/ 4278652 w 4519987"/>
                    <a:gd name="connsiteY44" fmla="*/ 3248025 h 4496940"/>
                    <a:gd name="connsiteX45" fmla="*/ 4259602 w 4519987"/>
                    <a:gd name="connsiteY45" fmla="*/ 3276600 h 4496940"/>
                    <a:gd name="connsiteX46" fmla="*/ 4221502 w 4519987"/>
                    <a:gd name="connsiteY46" fmla="*/ 3333750 h 4496940"/>
                    <a:gd name="connsiteX47" fmla="*/ 4211977 w 4519987"/>
                    <a:gd name="connsiteY47" fmla="*/ 3362325 h 4496940"/>
                    <a:gd name="connsiteX48" fmla="*/ 4183402 w 4519987"/>
                    <a:gd name="connsiteY48" fmla="*/ 3400425 h 4496940"/>
                    <a:gd name="connsiteX49" fmla="*/ 4164352 w 4519987"/>
                    <a:gd name="connsiteY49" fmla="*/ 3429000 h 4496940"/>
                    <a:gd name="connsiteX50" fmla="*/ 4088152 w 4519987"/>
                    <a:gd name="connsiteY50" fmla="*/ 3495675 h 4496940"/>
                    <a:gd name="connsiteX51" fmla="*/ 4059577 w 4519987"/>
                    <a:gd name="connsiteY51" fmla="*/ 3533775 h 4496940"/>
                    <a:gd name="connsiteX52" fmla="*/ 4002427 w 4519987"/>
                    <a:gd name="connsiteY52" fmla="*/ 3600450 h 4496940"/>
                    <a:gd name="connsiteX53" fmla="*/ 3983377 w 4519987"/>
                    <a:gd name="connsiteY53" fmla="*/ 3629025 h 4496940"/>
                    <a:gd name="connsiteX54" fmla="*/ 3954802 w 4519987"/>
                    <a:gd name="connsiteY54" fmla="*/ 3648075 h 4496940"/>
                    <a:gd name="connsiteX55" fmla="*/ 3907177 w 4519987"/>
                    <a:gd name="connsiteY55" fmla="*/ 3686175 h 4496940"/>
                    <a:gd name="connsiteX56" fmla="*/ 3869077 w 4519987"/>
                    <a:gd name="connsiteY56" fmla="*/ 3724275 h 4496940"/>
                    <a:gd name="connsiteX57" fmla="*/ 3792877 w 4519987"/>
                    <a:gd name="connsiteY57" fmla="*/ 3781425 h 4496940"/>
                    <a:gd name="connsiteX58" fmla="*/ 3783352 w 4519987"/>
                    <a:gd name="connsiteY58" fmla="*/ 3810000 h 4496940"/>
                    <a:gd name="connsiteX59" fmla="*/ 3745252 w 4519987"/>
                    <a:gd name="connsiteY59" fmla="*/ 3819525 h 4496940"/>
                    <a:gd name="connsiteX60" fmla="*/ 3678577 w 4519987"/>
                    <a:gd name="connsiteY60" fmla="*/ 3848100 h 4496940"/>
                    <a:gd name="connsiteX61" fmla="*/ 3659527 w 4519987"/>
                    <a:gd name="connsiteY61" fmla="*/ 3971925 h 4496940"/>
                    <a:gd name="connsiteX62" fmla="*/ 3630952 w 4519987"/>
                    <a:gd name="connsiteY62" fmla="*/ 4010025 h 4496940"/>
                    <a:gd name="connsiteX63" fmla="*/ 3621427 w 4519987"/>
                    <a:gd name="connsiteY63" fmla="*/ 4038600 h 4496940"/>
                    <a:gd name="connsiteX64" fmla="*/ 3554752 w 4519987"/>
                    <a:gd name="connsiteY64" fmla="*/ 4095750 h 4496940"/>
                    <a:gd name="connsiteX65" fmla="*/ 3516652 w 4519987"/>
                    <a:gd name="connsiteY65" fmla="*/ 4114800 h 4496940"/>
                    <a:gd name="connsiteX66" fmla="*/ 3497602 w 4519987"/>
                    <a:gd name="connsiteY66" fmla="*/ 4143375 h 4496940"/>
                    <a:gd name="connsiteX67" fmla="*/ 3383302 w 4519987"/>
                    <a:gd name="connsiteY67" fmla="*/ 4210050 h 4496940"/>
                    <a:gd name="connsiteX68" fmla="*/ 3335677 w 4519987"/>
                    <a:gd name="connsiteY68" fmla="*/ 4238625 h 4496940"/>
                    <a:gd name="connsiteX69" fmla="*/ 3288052 w 4519987"/>
                    <a:gd name="connsiteY69" fmla="*/ 4248150 h 4496940"/>
                    <a:gd name="connsiteX70" fmla="*/ 3240427 w 4519987"/>
                    <a:gd name="connsiteY70" fmla="*/ 4267200 h 4496940"/>
                    <a:gd name="connsiteX71" fmla="*/ 3068977 w 4519987"/>
                    <a:gd name="connsiteY71" fmla="*/ 4286250 h 4496940"/>
                    <a:gd name="connsiteX72" fmla="*/ 2935627 w 4519987"/>
                    <a:gd name="connsiteY72" fmla="*/ 4333875 h 4496940"/>
                    <a:gd name="connsiteX73" fmla="*/ 2811802 w 4519987"/>
                    <a:gd name="connsiteY73" fmla="*/ 4371975 h 4496940"/>
                    <a:gd name="connsiteX74" fmla="*/ 2745127 w 4519987"/>
                    <a:gd name="connsiteY74" fmla="*/ 4410075 h 4496940"/>
                    <a:gd name="connsiteX75" fmla="*/ 2697502 w 4519987"/>
                    <a:gd name="connsiteY75" fmla="*/ 4429125 h 4496940"/>
                    <a:gd name="connsiteX76" fmla="*/ 2640352 w 4519987"/>
                    <a:gd name="connsiteY76" fmla="*/ 4457700 h 4496940"/>
                    <a:gd name="connsiteX77" fmla="*/ 2583202 w 4519987"/>
                    <a:gd name="connsiteY77" fmla="*/ 4467225 h 4496940"/>
                    <a:gd name="connsiteX78" fmla="*/ 2545102 w 4519987"/>
                    <a:gd name="connsiteY78" fmla="*/ 4486275 h 4496940"/>
                    <a:gd name="connsiteX79" fmla="*/ 2306977 w 4519987"/>
                    <a:gd name="connsiteY79" fmla="*/ 4476750 h 4496940"/>
                    <a:gd name="connsiteX80" fmla="*/ 2202202 w 4519987"/>
                    <a:gd name="connsiteY80" fmla="*/ 4457700 h 4496940"/>
                    <a:gd name="connsiteX81" fmla="*/ 2126002 w 4519987"/>
                    <a:gd name="connsiteY81" fmla="*/ 4429125 h 4496940"/>
                    <a:gd name="connsiteX82" fmla="*/ 1935502 w 4519987"/>
                    <a:gd name="connsiteY82" fmla="*/ 4400550 h 4496940"/>
                    <a:gd name="connsiteX83" fmla="*/ 1821202 w 4519987"/>
                    <a:gd name="connsiteY83" fmla="*/ 4371975 h 4496940"/>
                    <a:gd name="connsiteX84" fmla="*/ 1754527 w 4519987"/>
                    <a:gd name="connsiteY84" fmla="*/ 4352925 h 4496940"/>
                    <a:gd name="connsiteX85" fmla="*/ 1687852 w 4519987"/>
                    <a:gd name="connsiteY85" fmla="*/ 4343400 h 4496940"/>
                    <a:gd name="connsiteX86" fmla="*/ 1573552 w 4519987"/>
                    <a:gd name="connsiteY86" fmla="*/ 4305300 h 4496940"/>
                    <a:gd name="connsiteX87" fmla="*/ 1402102 w 4519987"/>
                    <a:gd name="connsiteY87" fmla="*/ 4276725 h 4496940"/>
                    <a:gd name="connsiteX88" fmla="*/ 1287802 w 4519987"/>
                    <a:gd name="connsiteY88" fmla="*/ 4229100 h 4496940"/>
                    <a:gd name="connsiteX89" fmla="*/ 1221127 w 4519987"/>
                    <a:gd name="connsiteY89" fmla="*/ 4200525 h 4496940"/>
                    <a:gd name="connsiteX90" fmla="*/ 1144927 w 4519987"/>
                    <a:gd name="connsiteY90" fmla="*/ 4171950 h 4496940"/>
                    <a:gd name="connsiteX91" fmla="*/ 1087777 w 4519987"/>
                    <a:gd name="connsiteY91" fmla="*/ 4143375 h 4496940"/>
                    <a:gd name="connsiteX92" fmla="*/ 1030627 w 4519987"/>
                    <a:gd name="connsiteY92" fmla="*/ 4124325 h 4496940"/>
                    <a:gd name="connsiteX93" fmla="*/ 925852 w 4519987"/>
                    <a:gd name="connsiteY93" fmla="*/ 4067175 h 4496940"/>
                    <a:gd name="connsiteX94" fmla="*/ 830602 w 4519987"/>
                    <a:gd name="connsiteY94" fmla="*/ 3981450 h 4496940"/>
                    <a:gd name="connsiteX95" fmla="*/ 763927 w 4519987"/>
                    <a:gd name="connsiteY95" fmla="*/ 3914775 h 4496940"/>
                    <a:gd name="connsiteX96" fmla="*/ 725827 w 4519987"/>
                    <a:gd name="connsiteY96" fmla="*/ 3876675 h 4496940"/>
                    <a:gd name="connsiteX97" fmla="*/ 697252 w 4519987"/>
                    <a:gd name="connsiteY97" fmla="*/ 3838575 h 4496940"/>
                    <a:gd name="connsiteX98" fmla="*/ 640102 w 4519987"/>
                    <a:gd name="connsiteY98" fmla="*/ 3781425 h 4496940"/>
                    <a:gd name="connsiteX99" fmla="*/ 611527 w 4519987"/>
                    <a:gd name="connsiteY99" fmla="*/ 3733800 h 4496940"/>
                    <a:gd name="connsiteX100" fmla="*/ 554377 w 4519987"/>
                    <a:gd name="connsiteY100" fmla="*/ 3657600 h 4496940"/>
                    <a:gd name="connsiteX101" fmla="*/ 525802 w 4519987"/>
                    <a:gd name="connsiteY101" fmla="*/ 3609975 h 4496940"/>
                    <a:gd name="connsiteX102" fmla="*/ 497227 w 4519987"/>
                    <a:gd name="connsiteY102" fmla="*/ 3552825 h 4496940"/>
                    <a:gd name="connsiteX103" fmla="*/ 440077 w 4519987"/>
                    <a:gd name="connsiteY103" fmla="*/ 3495675 h 4496940"/>
                    <a:gd name="connsiteX104" fmla="*/ 411502 w 4519987"/>
                    <a:gd name="connsiteY104" fmla="*/ 3448050 h 4496940"/>
                    <a:gd name="connsiteX105" fmla="*/ 278152 w 4519987"/>
                    <a:gd name="connsiteY105" fmla="*/ 3257550 h 4496940"/>
                    <a:gd name="connsiteX106" fmla="*/ 249577 w 4519987"/>
                    <a:gd name="connsiteY106" fmla="*/ 3200400 h 4496940"/>
                    <a:gd name="connsiteX107" fmla="*/ 240052 w 4519987"/>
                    <a:gd name="connsiteY107" fmla="*/ 3162300 h 4496940"/>
                    <a:gd name="connsiteX108" fmla="*/ 221002 w 4519987"/>
                    <a:gd name="connsiteY108" fmla="*/ 3105150 h 4496940"/>
                    <a:gd name="connsiteX109" fmla="*/ 173377 w 4519987"/>
                    <a:gd name="connsiteY109" fmla="*/ 3019425 h 4496940"/>
                    <a:gd name="connsiteX110" fmla="*/ 144802 w 4519987"/>
                    <a:gd name="connsiteY110" fmla="*/ 2924175 h 4496940"/>
                    <a:gd name="connsiteX111" fmla="*/ 68602 w 4519987"/>
                    <a:gd name="connsiteY111" fmla="*/ 2724150 h 4496940"/>
                    <a:gd name="connsiteX112" fmla="*/ 49552 w 4519987"/>
                    <a:gd name="connsiteY112" fmla="*/ 2638425 h 4496940"/>
                    <a:gd name="connsiteX113" fmla="*/ 40027 w 4519987"/>
                    <a:gd name="connsiteY113" fmla="*/ 2562225 h 4496940"/>
                    <a:gd name="connsiteX114" fmla="*/ 30502 w 4519987"/>
                    <a:gd name="connsiteY114" fmla="*/ 2514600 h 4496940"/>
                    <a:gd name="connsiteX115" fmla="*/ 11452 w 4519987"/>
                    <a:gd name="connsiteY115" fmla="*/ 2400300 h 4496940"/>
                    <a:gd name="connsiteX116" fmla="*/ 20977 w 4519987"/>
                    <a:gd name="connsiteY116" fmla="*/ 1905000 h 4496940"/>
                    <a:gd name="connsiteX117" fmla="*/ 30502 w 4519987"/>
                    <a:gd name="connsiteY117" fmla="*/ 1838325 h 4496940"/>
                    <a:gd name="connsiteX118" fmla="*/ 49552 w 4519987"/>
                    <a:gd name="connsiteY118" fmla="*/ 1781175 h 4496940"/>
                    <a:gd name="connsiteX119" fmla="*/ 59077 w 4519987"/>
                    <a:gd name="connsiteY119" fmla="*/ 1743075 h 4496940"/>
                    <a:gd name="connsiteX120" fmla="*/ 78127 w 4519987"/>
                    <a:gd name="connsiteY120" fmla="*/ 1685925 h 4496940"/>
                    <a:gd name="connsiteX121" fmla="*/ 87652 w 4519987"/>
                    <a:gd name="connsiteY121" fmla="*/ 1638300 h 4496940"/>
                    <a:gd name="connsiteX122" fmla="*/ 106702 w 4519987"/>
                    <a:gd name="connsiteY122" fmla="*/ 1590675 h 4496940"/>
                    <a:gd name="connsiteX123" fmla="*/ 135277 w 4519987"/>
                    <a:gd name="connsiteY123" fmla="*/ 1504950 h 4496940"/>
                    <a:gd name="connsiteX124" fmla="*/ 154327 w 4519987"/>
                    <a:gd name="connsiteY124" fmla="*/ 1419225 h 4496940"/>
                    <a:gd name="connsiteX125" fmla="*/ 230527 w 4519987"/>
                    <a:gd name="connsiteY125" fmla="*/ 1276350 h 4496940"/>
                    <a:gd name="connsiteX126" fmla="*/ 240052 w 4519987"/>
                    <a:gd name="connsiteY126" fmla="*/ 1247775 h 4496940"/>
                    <a:gd name="connsiteX127" fmla="*/ 268627 w 4519987"/>
                    <a:gd name="connsiteY127" fmla="*/ 1200150 h 4496940"/>
                    <a:gd name="connsiteX128" fmla="*/ 287677 w 4519987"/>
                    <a:gd name="connsiteY128" fmla="*/ 1152525 h 4496940"/>
                    <a:gd name="connsiteX129" fmla="*/ 316252 w 4519987"/>
                    <a:gd name="connsiteY129" fmla="*/ 1114425 h 4496940"/>
                    <a:gd name="connsiteX130" fmla="*/ 363877 w 4519987"/>
                    <a:gd name="connsiteY130" fmla="*/ 1038225 h 4496940"/>
                    <a:gd name="connsiteX131" fmla="*/ 382927 w 4519987"/>
                    <a:gd name="connsiteY131" fmla="*/ 1009650 h 4496940"/>
                    <a:gd name="connsiteX132" fmla="*/ 440077 w 4519987"/>
                    <a:gd name="connsiteY132" fmla="*/ 904875 h 4496940"/>
                    <a:gd name="connsiteX133" fmla="*/ 478177 w 4519987"/>
                    <a:gd name="connsiteY133" fmla="*/ 857250 h 4496940"/>
                    <a:gd name="connsiteX134" fmla="*/ 497227 w 4519987"/>
                    <a:gd name="connsiteY134" fmla="*/ 828675 h 4496940"/>
                    <a:gd name="connsiteX135" fmla="*/ 535327 w 4519987"/>
                    <a:gd name="connsiteY135" fmla="*/ 800100 h 4496940"/>
                    <a:gd name="connsiteX136" fmla="*/ 602002 w 4519987"/>
                    <a:gd name="connsiteY136" fmla="*/ 733425 h 4496940"/>
                    <a:gd name="connsiteX137" fmla="*/ 668677 w 4519987"/>
                    <a:gd name="connsiteY137" fmla="*/ 676275 h 4496940"/>
                    <a:gd name="connsiteX138" fmla="*/ 697252 w 4519987"/>
                    <a:gd name="connsiteY138" fmla="*/ 657225 h 4496940"/>
                    <a:gd name="connsiteX139" fmla="*/ 840127 w 4519987"/>
                    <a:gd name="connsiteY139" fmla="*/ 533400 h 4496940"/>
                    <a:gd name="connsiteX140" fmla="*/ 887752 w 4519987"/>
                    <a:gd name="connsiteY140" fmla="*/ 504825 h 4496940"/>
                    <a:gd name="connsiteX141" fmla="*/ 1167152 w 4519987"/>
                    <a:gd name="connsiteY141" fmla="*/ 311150 h 4496940"/>
                    <a:gd name="connsiteX142" fmla="*/ 1268752 w 4519987"/>
                    <a:gd name="connsiteY142" fmla="*/ 285750 h 4496940"/>
                    <a:gd name="connsiteX143" fmla="*/ 1411627 w 4519987"/>
                    <a:gd name="connsiteY143" fmla="*/ 190500 h 4496940"/>
                    <a:gd name="connsiteX144" fmla="*/ 1449727 w 4519987"/>
                    <a:gd name="connsiteY144" fmla="*/ 161925 h 4496940"/>
                    <a:gd name="connsiteX145" fmla="*/ 1525927 w 4519987"/>
                    <a:gd name="connsiteY145" fmla="*/ 152400 h 4496940"/>
                    <a:gd name="connsiteX146" fmla="*/ 1583077 w 4519987"/>
                    <a:gd name="connsiteY146" fmla="*/ 142875 h 4496940"/>
                    <a:gd name="connsiteX147" fmla="*/ 1716427 w 4519987"/>
                    <a:gd name="connsiteY147" fmla="*/ 123825 h 4496940"/>
                    <a:gd name="connsiteX148" fmla="*/ 1811677 w 4519987"/>
                    <a:gd name="connsiteY148" fmla="*/ 114300 h 4496940"/>
                    <a:gd name="connsiteX149" fmla="*/ 1859302 w 4519987"/>
                    <a:gd name="connsiteY149" fmla="*/ 104775 h 4496940"/>
                    <a:gd name="connsiteX150" fmla="*/ 1916452 w 4519987"/>
                    <a:gd name="connsiteY150" fmla="*/ 95250 h 4496940"/>
                    <a:gd name="connsiteX151" fmla="*/ 2030752 w 4519987"/>
                    <a:gd name="connsiteY151" fmla="*/ 66675 h 4496940"/>
                    <a:gd name="connsiteX152" fmla="*/ 2097427 w 4519987"/>
                    <a:gd name="connsiteY152" fmla="*/ 47625 h 4496940"/>
                    <a:gd name="connsiteX153" fmla="*/ 2164102 w 4519987"/>
                    <a:gd name="connsiteY153" fmla="*/ 38100 h 4496940"/>
                    <a:gd name="connsiteX154" fmla="*/ 2392702 w 4519987"/>
                    <a:gd name="connsiteY15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907177 w 4519987"/>
                    <a:gd name="connsiteY24" fmla="*/ 647700 h 4496940"/>
                    <a:gd name="connsiteX25" fmla="*/ 3935752 w 4519987"/>
                    <a:gd name="connsiteY25" fmla="*/ 676275 h 4496940"/>
                    <a:gd name="connsiteX26" fmla="*/ 4078627 w 4519987"/>
                    <a:gd name="connsiteY26" fmla="*/ 838200 h 4496940"/>
                    <a:gd name="connsiteX27" fmla="*/ 4135777 w 4519987"/>
                    <a:gd name="connsiteY27" fmla="*/ 933450 h 4496940"/>
                    <a:gd name="connsiteX28" fmla="*/ 4164352 w 4519987"/>
                    <a:gd name="connsiteY28" fmla="*/ 990600 h 4496940"/>
                    <a:gd name="connsiteX29" fmla="*/ 4173877 w 4519987"/>
                    <a:gd name="connsiteY29" fmla="*/ 1019175 h 4496940"/>
                    <a:gd name="connsiteX30" fmla="*/ 4192927 w 4519987"/>
                    <a:gd name="connsiteY30" fmla="*/ 1057275 h 4496940"/>
                    <a:gd name="connsiteX31" fmla="*/ 4202452 w 4519987"/>
                    <a:gd name="connsiteY31" fmla="*/ 1085850 h 4496940"/>
                    <a:gd name="connsiteX32" fmla="*/ 4250077 w 4519987"/>
                    <a:gd name="connsiteY32" fmla="*/ 1143000 h 4496940"/>
                    <a:gd name="connsiteX33" fmla="*/ 4259602 w 4519987"/>
                    <a:gd name="connsiteY33" fmla="*/ 1190625 h 4496940"/>
                    <a:gd name="connsiteX34" fmla="*/ 4307227 w 4519987"/>
                    <a:gd name="connsiteY34" fmla="*/ 1266825 h 4496940"/>
                    <a:gd name="connsiteX35" fmla="*/ 4345327 w 4519987"/>
                    <a:gd name="connsiteY35" fmla="*/ 1362075 h 4496940"/>
                    <a:gd name="connsiteX36" fmla="*/ 4373902 w 4519987"/>
                    <a:gd name="connsiteY36" fmla="*/ 1428750 h 4496940"/>
                    <a:gd name="connsiteX37" fmla="*/ 4392952 w 4519987"/>
                    <a:gd name="connsiteY37" fmla="*/ 1552575 h 4496940"/>
                    <a:gd name="connsiteX38" fmla="*/ 4402477 w 4519987"/>
                    <a:gd name="connsiteY38" fmla="*/ 1590675 h 4496940"/>
                    <a:gd name="connsiteX39" fmla="*/ 4431052 w 4519987"/>
                    <a:gd name="connsiteY39" fmla="*/ 1685925 h 4496940"/>
                    <a:gd name="connsiteX40" fmla="*/ 4519952 w 4519987"/>
                    <a:gd name="connsiteY40" fmla="*/ 2181225 h 4496940"/>
                    <a:gd name="connsiteX41" fmla="*/ 4446927 w 4519987"/>
                    <a:gd name="connsiteY41" fmla="*/ 2768600 h 4496940"/>
                    <a:gd name="connsiteX42" fmla="*/ 4383427 w 4519987"/>
                    <a:gd name="connsiteY42" fmla="*/ 2990850 h 4496940"/>
                    <a:gd name="connsiteX43" fmla="*/ 4278652 w 4519987"/>
                    <a:gd name="connsiteY43" fmla="*/ 3248025 h 4496940"/>
                    <a:gd name="connsiteX44" fmla="*/ 4259602 w 4519987"/>
                    <a:gd name="connsiteY44" fmla="*/ 3276600 h 4496940"/>
                    <a:gd name="connsiteX45" fmla="*/ 4221502 w 4519987"/>
                    <a:gd name="connsiteY45" fmla="*/ 3333750 h 4496940"/>
                    <a:gd name="connsiteX46" fmla="*/ 4211977 w 4519987"/>
                    <a:gd name="connsiteY46" fmla="*/ 3362325 h 4496940"/>
                    <a:gd name="connsiteX47" fmla="*/ 4183402 w 4519987"/>
                    <a:gd name="connsiteY47" fmla="*/ 3400425 h 4496940"/>
                    <a:gd name="connsiteX48" fmla="*/ 4164352 w 4519987"/>
                    <a:gd name="connsiteY48" fmla="*/ 3429000 h 4496940"/>
                    <a:gd name="connsiteX49" fmla="*/ 4088152 w 4519987"/>
                    <a:gd name="connsiteY49" fmla="*/ 3495675 h 4496940"/>
                    <a:gd name="connsiteX50" fmla="*/ 4059577 w 4519987"/>
                    <a:gd name="connsiteY50" fmla="*/ 3533775 h 4496940"/>
                    <a:gd name="connsiteX51" fmla="*/ 4002427 w 4519987"/>
                    <a:gd name="connsiteY51" fmla="*/ 3600450 h 4496940"/>
                    <a:gd name="connsiteX52" fmla="*/ 3983377 w 4519987"/>
                    <a:gd name="connsiteY52" fmla="*/ 3629025 h 4496940"/>
                    <a:gd name="connsiteX53" fmla="*/ 3954802 w 4519987"/>
                    <a:gd name="connsiteY53" fmla="*/ 3648075 h 4496940"/>
                    <a:gd name="connsiteX54" fmla="*/ 3907177 w 4519987"/>
                    <a:gd name="connsiteY54" fmla="*/ 3686175 h 4496940"/>
                    <a:gd name="connsiteX55" fmla="*/ 3869077 w 4519987"/>
                    <a:gd name="connsiteY55" fmla="*/ 3724275 h 4496940"/>
                    <a:gd name="connsiteX56" fmla="*/ 3792877 w 4519987"/>
                    <a:gd name="connsiteY56" fmla="*/ 3781425 h 4496940"/>
                    <a:gd name="connsiteX57" fmla="*/ 3783352 w 4519987"/>
                    <a:gd name="connsiteY57" fmla="*/ 3810000 h 4496940"/>
                    <a:gd name="connsiteX58" fmla="*/ 3745252 w 4519987"/>
                    <a:gd name="connsiteY58" fmla="*/ 3819525 h 4496940"/>
                    <a:gd name="connsiteX59" fmla="*/ 3678577 w 4519987"/>
                    <a:gd name="connsiteY59" fmla="*/ 3848100 h 4496940"/>
                    <a:gd name="connsiteX60" fmla="*/ 3659527 w 4519987"/>
                    <a:gd name="connsiteY60" fmla="*/ 3971925 h 4496940"/>
                    <a:gd name="connsiteX61" fmla="*/ 3630952 w 4519987"/>
                    <a:gd name="connsiteY61" fmla="*/ 4010025 h 4496940"/>
                    <a:gd name="connsiteX62" fmla="*/ 3621427 w 4519987"/>
                    <a:gd name="connsiteY62" fmla="*/ 4038600 h 4496940"/>
                    <a:gd name="connsiteX63" fmla="*/ 3554752 w 4519987"/>
                    <a:gd name="connsiteY63" fmla="*/ 4095750 h 4496940"/>
                    <a:gd name="connsiteX64" fmla="*/ 3516652 w 4519987"/>
                    <a:gd name="connsiteY64" fmla="*/ 4114800 h 4496940"/>
                    <a:gd name="connsiteX65" fmla="*/ 3497602 w 4519987"/>
                    <a:gd name="connsiteY65" fmla="*/ 4143375 h 4496940"/>
                    <a:gd name="connsiteX66" fmla="*/ 3383302 w 4519987"/>
                    <a:gd name="connsiteY66" fmla="*/ 4210050 h 4496940"/>
                    <a:gd name="connsiteX67" fmla="*/ 3335677 w 4519987"/>
                    <a:gd name="connsiteY67" fmla="*/ 4238625 h 4496940"/>
                    <a:gd name="connsiteX68" fmla="*/ 3288052 w 4519987"/>
                    <a:gd name="connsiteY68" fmla="*/ 4248150 h 4496940"/>
                    <a:gd name="connsiteX69" fmla="*/ 3240427 w 4519987"/>
                    <a:gd name="connsiteY69" fmla="*/ 4267200 h 4496940"/>
                    <a:gd name="connsiteX70" fmla="*/ 3068977 w 4519987"/>
                    <a:gd name="connsiteY70" fmla="*/ 4286250 h 4496940"/>
                    <a:gd name="connsiteX71" fmla="*/ 2935627 w 4519987"/>
                    <a:gd name="connsiteY71" fmla="*/ 4333875 h 4496940"/>
                    <a:gd name="connsiteX72" fmla="*/ 2811802 w 4519987"/>
                    <a:gd name="connsiteY72" fmla="*/ 4371975 h 4496940"/>
                    <a:gd name="connsiteX73" fmla="*/ 2745127 w 4519987"/>
                    <a:gd name="connsiteY73" fmla="*/ 4410075 h 4496940"/>
                    <a:gd name="connsiteX74" fmla="*/ 2697502 w 4519987"/>
                    <a:gd name="connsiteY74" fmla="*/ 4429125 h 4496940"/>
                    <a:gd name="connsiteX75" fmla="*/ 2640352 w 4519987"/>
                    <a:gd name="connsiteY75" fmla="*/ 4457700 h 4496940"/>
                    <a:gd name="connsiteX76" fmla="*/ 2583202 w 4519987"/>
                    <a:gd name="connsiteY76" fmla="*/ 4467225 h 4496940"/>
                    <a:gd name="connsiteX77" fmla="*/ 2545102 w 4519987"/>
                    <a:gd name="connsiteY77" fmla="*/ 4486275 h 4496940"/>
                    <a:gd name="connsiteX78" fmla="*/ 2306977 w 4519987"/>
                    <a:gd name="connsiteY78" fmla="*/ 4476750 h 4496940"/>
                    <a:gd name="connsiteX79" fmla="*/ 2202202 w 4519987"/>
                    <a:gd name="connsiteY79" fmla="*/ 4457700 h 4496940"/>
                    <a:gd name="connsiteX80" fmla="*/ 2126002 w 4519987"/>
                    <a:gd name="connsiteY80" fmla="*/ 4429125 h 4496940"/>
                    <a:gd name="connsiteX81" fmla="*/ 1935502 w 4519987"/>
                    <a:gd name="connsiteY81" fmla="*/ 4400550 h 4496940"/>
                    <a:gd name="connsiteX82" fmla="*/ 1821202 w 4519987"/>
                    <a:gd name="connsiteY82" fmla="*/ 4371975 h 4496940"/>
                    <a:gd name="connsiteX83" fmla="*/ 1754527 w 4519987"/>
                    <a:gd name="connsiteY83" fmla="*/ 4352925 h 4496940"/>
                    <a:gd name="connsiteX84" fmla="*/ 1687852 w 4519987"/>
                    <a:gd name="connsiteY84" fmla="*/ 4343400 h 4496940"/>
                    <a:gd name="connsiteX85" fmla="*/ 1573552 w 4519987"/>
                    <a:gd name="connsiteY85" fmla="*/ 4305300 h 4496940"/>
                    <a:gd name="connsiteX86" fmla="*/ 1402102 w 4519987"/>
                    <a:gd name="connsiteY86" fmla="*/ 4276725 h 4496940"/>
                    <a:gd name="connsiteX87" fmla="*/ 1287802 w 4519987"/>
                    <a:gd name="connsiteY87" fmla="*/ 4229100 h 4496940"/>
                    <a:gd name="connsiteX88" fmla="*/ 1221127 w 4519987"/>
                    <a:gd name="connsiteY88" fmla="*/ 4200525 h 4496940"/>
                    <a:gd name="connsiteX89" fmla="*/ 1144927 w 4519987"/>
                    <a:gd name="connsiteY89" fmla="*/ 4171950 h 4496940"/>
                    <a:gd name="connsiteX90" fmla="*/ 1087777 w 4519987"/>
                    <a:gd name="connsiteY90" fmla="*/ 4143375 h 4496940"/>
                    <a:gd name="connsiteX91" fmla="*/ 1030627 w 4519987"/>
                    <a:gd name="connsiteY91" fmla="*/ 4124325 h 4496940"/>
                    <a:gd name="connsiteX92" fmla="*/ 925852 w 4519987"/>
                    <a:gd name="connsiteY92" fmla="*/ 4067175 h 4496940"/>
                    <a:gd name="connsiteX93" fmla="*/ 830602 w 4519987"/>
                    <a:gd name="connsiteY93" fmla="*/ 3981450 h 4496940"/>
                    <a:gd name="connsiteX94" fmla="*/ 763927 w 4519987"/>
                    <a:gd name="connsiteY94" fmla="*/ 3914775 h 4496940"/>
                    <a:gd name="connsiteX95" fmla="*/ 725827 w 4519987"/>
                    <a:gd name="connsiteY95" fmla="*/ 3876675 h 4496940"/>
                    <a:gd name="connsiteX96" fmla="*/ 697252 w 4519987"/>
                    <a:gd name="connsiteY96" fmla="*/ 3838575 h 4496940"/>
                    <a:gd name="connsiteX97" fmla="*/ 640102 w 4519987"/>
                    <a:gd name="connsiteY97" fmla="*/ 3781425 h 4496940"/>
                    <a:gd name="connsiteX98" fmla="*/ 611527 w 4519987"/>
                    <a:gd name="connsiteY98" fmla="*/ 3733800 h 4496940"/>
                    <a:gd name="connsiteX99" fmla="*/ 554377 w 4519987"/>
                    <a:gd name="connsiteY99" fmla="*/ 3657600 h 4496940"/>
                    <a:gd name="connsiteX100" fmla="*/ 525802 w 4519987"/>
                    <a:gd name="connsiteY100" fmla="*/ 3609975 h 4496940"/>
                    <a:gd name="connsiteX101" fmla="*/ 497227 w 4519987"/>
                    <a:gd name="connsiteY101" fmla="*/ 3552825 h 4496940"/>
                    <a:gd name="connsiteX102" fmla="*/ 440077 w 4519987"/>
                    <a:gd name="connsiteY102" fmla="*/ 3495675 h 4496940"/>
                    <a:gd name="connsiteX103" fmla="*/ 411502 w 4519987"/>
                    <a:gd name="connsiteY103" fmla="*/ 3448050 h 4496940"/>
                    <a:gd name="connsiteX104" fmla="*/ 278152 w 4519987"/>
                    <a:gd name="connsiteY104" fmla="*/ 3257550 h 4496940"/>
                    <a:gd name="connsiteX105" fmla="*/ 249577 w 4519987"/>
                    <a:gd name="connsiteY105" fmla="*/ 3200400 h 4496940"/>
                    <a:gd name="connsiteX106" fmla="*/ 240052 w 4519987"/>
                    <a:gd name="connsiteY106" fmla="*/ 3162300 h 4496940"/>
                    <a:gd name="connsiteX107" fmla="*/ 221002 w 4519987"/>
                    <a:gd name="connsiteY107" fmla="*/ 3105150 h 4496940"/>
                    <a:gd name="connsiteX108" fmla="*/ 173377 w 4519987"/>
                    <a:gd name="connsiteY108" fmla="*/ 3019425 h 4496940"/>
                    <a:gd name="connsiteX109" fmla="*/ 144802 w 4519987"/>
                    <a:gd name="connsiteY109" fmla="*/ 2924175 h 4496940"/>
                    <a:gd name="connsiteX110" fmla="*/ 68602 w 4519987"/>
                    <a:gd name="connsiteY110" fmla="*/ 2724150 h 4496940"/>
                    <a:gd name="connsiteX111" fmla="*/ 49552 w 4519987"/>
                    <a:gd name="connsiteY111" fmla="*/ 2638425 h 4496940"/>
                    <a:gd name="connsiteX112" fmla="*/ 40027 w 4519987"/>
                    <a:gd name="connsiteY112" fmla="*/ 2562225 h 4496940"/>
                    <a:gd name="connsiteX113" fmla="*/ 30502 w 4519987"/>
                    <a:gd name="connsiteY113" fmla="*/ 2514600 h 4496940"/>
                    <a:gd name="connsiteX114" fmla="*/ 11452 w 4519987"/>
                    <a:gd name="connsiteY114" fmla="*/ 2400300 h 4496940"/>
                    <a:gd name="connsiteX115" fmla="*/ 20977 w 4519987"/>
                    <a:gd name="connsiteY115" fmla="*/ 1905000 h 4496940"/>
                    <a:gd name="connsiteX116" fmla="*/ 30502 w 4519987"/>
                    <a:gd name="connsiteY116" fmla="*/ 1838325 h 4496940"/>
                    <a:gd name="connsiteX117" fmla="*/ 49552 w 4519987"/>
                    <a:gd name="connsiteY117" fmla="*/ 1781175 h 4496940"/>
                    <a:gd name="connsiteX118" fmla="*/ 59077 w 4519987"/>
                    <a:gd name="connsiteY118" fmla="*/ 1743075 h 4496940"/>
                    <a:gd name="connsiteX119" fmla="*/ 78127 w 4519987"/>
                    <a:gd name="connsiteY119" fmla="*/ 1685925 h 4496940"/>
                    <a:gd name="connsiteX120" fmla="*/ 87652 w 4519987"/>
                    <a:gd name="connsiteY120" fmla="*/ 1638300 h 4496940"/>
                    <a:gd name="connsiteX121" fmla="*/ 106702 w 4519987"/>
                    <a:gd name="connsiteY121" fmla="*/ 1590675 h 4496940"/>
                    <a:gd name="connsiteX122" fmla="*/ 135277 w 4519987"/>
                    <a:gd name="connsiteY122" fmla="*/ 1504950 h 4496940"/>
                    <a:gd name="connsiteX123" fmla="*/ 154327 w 4519987"/>
                    <a:gd name="connsiteY123" fmla="*/ 1419225 h 4496940"/>
                    <a:gd name="connsiteX124" fmla="*/ 230527 w 4519987"/>
                    <a:gd name="connsiteY124" fmla="*/ 1276350 h 4496940"/>
                    <a:gd name="connsiteX125" fmla="*/ 240052 w 4519987"/>
                    <a:gd name="connsiteY125" fmla="*/ 1247775 h 4496940"/>
                    <a:gd name="connsiteX126" fmla="*/ 268627 w 4519987"/>
                    <a:gd name="connsiteY126" fmla="*/ 1200150 h 4496940"/>
                    <a:gd name="connsiteX127" fmla="*/ 287677 w 4519987"/>
                    <a:gd name="connsiteY127" fmla="*/ 1152525 h 4496940"/>
                    <a:gd name="connsiteX128" fmla="*/ 316252 w 4519987"/>
                    <a:gd name="connsiteY128" fmla="*/ 1114425 h 4496940"/>
                    <a:gd name="connsiteX129" fmla="*/ 363877 w 4519987"/>
                    <a:gd name="connsiteY129" fmla="*/ 1038225 h 4496940"/>
                    <a:gd name="connsiteX130" fmla="*/ 382927 w 4519987"/>
                    <a:gd name="connsiteY130" fmla="*/ 1009650 h 4496940"/>
                    <a:gd name="connsiteX131" fmla="*/ 440077 w 4519987"/>
                    <a:gd name="connsiteY131" fmla="*/ 904875 h 4496940"/>
                    <a:gd name="connsiteX132" fmla="*/ 478177 w 4519987"/>
                    <a:gd name="connsiteY132" fmla="*/ 857250 h 4496940"/>
                    <a:gd name="connsiteX133" fmla="*/ 497227 w 4519987"/>
                    <a:gd name="connsiteY133" fmla="*/ 828675 h 4496940"/>
                    <a:gd name="connsiteX134" fmla="*/ 535327 w 4519987"/>
                    <a:gd name="connsiteY134" fmla="*/ 800100 h 4496940"/>
                    <a:gd name="connsiteX135" fmla="*/ 602002 w 4519987"/>
                    <a:gd name="connsiteY135" fmla="*/ 733425 h 4496940"/>
                    <a:gd name="connsiteX136" fmla="*/ 668677 w 4519987"/>
                    <a:gd name="connsiteY136" fmla="*/ 676275 h 4496940"/>
                    <a:gd name="connsiteX137" fmla="*/ 697252 w 4519987"/>
                    <a:gd name="connsiteY137" fmla="*/ 657225 h 4496940"/>
                    <a:gd name="connsiteX138" fmla="*/ 840127 w 4519987"/>
                    <a:gd name="connsiteY138" fmla="*/ 533400 h 4496940"/>
                    <a:gd name="connsiteX139" fmla="*/ 887752 w 4519987"/>
                    <a:gd name="connsiteY139" fmla="*/ 504825 h 4496940"/>
                    <a:gd name="connsiteX140" fmla="*/ 1167152 w 4519987"/>
                    <a:gd name="connsiteY140" fmla="*/ 311150 h 4496940"/>
                    <a:gd name="connsiteX141" fmla="*/ 1268752 w 4519987"/>
                    <a:gd name="connsiteY141" fmla="*/ 285750 h 4496940"/>
                    <a:gd name="connsiteX142" fmla="*/ 1411627 w 4519987"/>
                    <a:gd name="connsiteY142" fmla="*/ 190500 h 4496940"/>
                    <a:gd name="connsiteX143" fmla="*/ 1449727 w 4519987"/>
                    <a:gd name="connsiteY143" fmla="*/ 161925 h 4496940"/>
                    <a:gd name="connsiteX144" fmla="*/ 1525927 w 4519987"/>
                    <a:gd name="connsiteY144" fmla="*/ 152400 h 4496940"/>
                    <a:gd name="connsiteX145" fmla="*/ 1583077 w 4519987"/>
                    <a:gd name="connsiteY145" fmla="*/ 142875 h 4496940"/>
                    <a:gd name="connsiteX146" fmla="*/ 1716427 w 4519987"/>
                    <a:gd name="connsiteY146" fmla="*/ 123825 h 4496940"/>
                    <a:gd name="connsiteX147" fmla="*/ 1811677 w 4519987"/>
                    <a:gd name="connsiteY147" fmla="*/ 114300 h 4496940"/>
                    <a:gd name="connsiteX148" fmla="*/ 1859302 w 4519987"/>
                    <a:gd name="connsiteY148" fmla="*/ 104775 h 4496940"/>
                    <a:gd name="connsiteX149" fmla="*/ 1916452 w 4519987"/>
                    <a:gd name="connsiteY149" fmla="*/ 95250 h 4496940"/>
                    <a:gd name="connsiteX150" fmla="*/ 2030752 w 4519987"/>
                    <a:gd name="connsiteY150" fmla="*/ 66675 h 4496940"/>
                    <a:gd name="connsiteX151" fmla="*/ 2097427 w 4519987"/>
                    <a:gd name="connsiteY151" fmla="*/ 47625 h 4496940"/>
                    <a:gd name="connsiteX152" fmla="*/ 2164102 w 4519987"/>
                    <a:gd name="connsiteY152" fmla="*/ 38100 h 4496940"/>
                    <a:gd name="connsiteX153" fmla="*/ 2392702 w 4519987"/>
                    <a:gd name="connsiteY15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678577 w 4519987"/>
                    <a:gd name="connsiteY20" fmla="*/ 504825 h 4496940"/>
                    <a:gd name="connsiteX21" fmla="*/ 3745252 w 4519987"/>
                    <a:gd name="connsiteY21" fmla="*/ 542925 h 4496940"/>
                    <a:gd name="connsiteX22" fmla="*/ 3811927 w 4519987"/>
                    <a:gd name="connsiteY22" fmla="*/ 581025 h 4496940"/>
                    <a:gd name="connsiteX23" fmla="*/ 3907177 w 4519987"/>
                    <a:gd name="connsiteY23" fmla="*/ 647700 h 4496940"/>
                    <a:gd name="connsiteX24" fmla="*/ 3935752 w 4519987"/>
                    <a:gd name="connsiteY24" fmla="*/ 676275 h 4496940"/>
                    <a:gd name="connsiteX25" fmla="*/ 4078627 w 4519987"/>
                    <a:gd name="connsiteY25" fmla="*/ 838200 h 4496940"/>
                    <a:gd name="connsiteX26" fmla="*/ 4135777 w 4519987"/>
                    <a:gd name="connsiteY26" fmla="*/ 933450 h 4496940"/>
                    <a:gd name="connsiteX27" fmla="*/ 4164352 w 4519987"/>
                    <a:gd name="connsiteY27" fmla="*/ 990600 h 4496940"/>
                    <a:gd name="connsiteX28" fmla="*/ 4173877 w 4519987"/>
                    <a:gd name="connsiteY28" fmla="*/ 1019175 h 4496940"/>
                    <a:gd name="connsiteX29" fmla="*/ 4192927 w 4519987"/>
                    <a:gd name="connsiteY29" fmla="*/ 1057275 h 4496940"/>
                    <a:gd name="connsiteX30" fmla="*/ 4202452 w 4519987"/>
                    <a:gd name="connsiteY30" fmla="*/ 1085850 h 4496940"/>
                    <a:gd name="connsiteX31" fmla="*/ 4250077 w 4519987"/>
                    <a:gd name="connsiteY31" fmla="*/ 1143000 h 4496940"/>
                    <a:gd name="connsiteX32" fmla="*/ 4259602 w 4519987"/>
                    <a:gd name="connsiteY32" fmla="*/ 1190625 h 4496940"/>
                    <a:gd name="connsiteX33" fmla="*/ 4307227 w 4519987"/>
                    <a:gd name="connsiteY33" fmla="*/ 1266825 h 4496940"/>
                    <a:gd name="connsiteX34" fmla="*/ 4345327 w 4519987"/>
                    <a:gd name="connsiteY34" fmla="*/ 1362075 h 4496940"/>
                    <a:gd name="connsiteX35" fmla="*/ 4373902 w 4519987"/>
                    <a:gd name="connsiteY35" fmla="*/ 1428750 h 4496940"/>
                    <a:gd name="connsiteX36" fmla="*/ 4392952 w 4519987"/>
                    <a:gd name="connsiteY36" fmla="*/ 1552575 h 4496940"/>
                    <a:gd name="connsiteX37" fmla="*/ 4402477 w 4519987"/>
                    <a:gd name="connsiteY37" fmla="*/ 1590675 h 4496940"/>
                    <a:gd name="connsiteX38" fmla="*/ 4431052 w 4519987"/>
                    <a:gd name="connsiteY38" fmla="*/ 1685925 h 4496940"/>
                    <a:gd name="connsiteX39" fmla="*/ 4519952 w 4519987"/>
                    <a:gd name="connsiteY39" fmla="*/ 2181225 h 4496940"/>
                    <a:gd name="connsiteX40" fmla="*/ 4446927 w 4519987"/>
                    <a:gd name="connsiteY40" fmla="*/ 2768600 h 4496940"/>
                    <a:gd name="connsiteX41" fmla="*/ 4383427 w 4519987"/>
                    <a:gd name="connsiteY41" fmla="*/ 2990850 h 4496940"/>
                    <a:gd name="connsiteX42" fmla="*/ 4278652 w 4519987"/>
                    <a:gd name="connsiteY42" fmla="*/ 3248025 h 4496940"/>
                    <a:gd name="connsiteX43" fmla="*/ 4259602 w 4519987"/>
                    <a:gd name="connsiteY43" fmla="*/ 3276600 h 4496940"/>
                    <a:gd name="connsiteX44" fmla="*/ 4221502 w 4519987"/>
                    <a:gd name="connsiteY44" fmla="*/ 3333750 h 4496940"/>
                    <a:gd name="connsiteX45" fmla="*/ 4211977 w 4519987"/>
                    <a:gd name="connsiteY45" fmla="*/ 3362325 h 4496940"/>
                    <a:gd name="connsiteX46" fmla="*/ 4183402 w 4519987"/>
                    <a:gd name="connsiteY46" fmla="*/ 3400425 h 4496940"/>
                    <a:gd name="connsiteX47" fmla="*/ 4164352 w 4519987"/>
                    <a:gd name="connsiteY47" fmla="*/ 3429000 h 4496940"/>
                    <a:gd name="connsiteX48" fmla="*/ 4088152 w 4519987"/>
                    <a:gd name="connsiteY48" fmla="*/ 3495675 h 4496940"/>
                    <a:gd name="connsiteX49" fmla="*/ 4059577 w 4519987"/>
                    <a:gd name="connsiteY49" fmla="*/ 3533775 h 4496940"/>
                    <a:gd name="connsiteX50" fmla="*/ 4002427 w 4519987"/>
                    <a:gd name="connsiteY50" fmla="*/ 3600450 h 4496940"/>
                    <a:gd name="connsiteX51" fmla="*/ 3983377 w 4519987"/>
                    <a:gd name="connsiteY51" fmla="*/ 3629025 h 4496940"/>
                    <a:gd name="connsiteX52" fmla="*/ 3954802 w 4519987"/>
                    <a:gd name="connsiteY52" fmla="*/ 3648075 h 4496940"/>
                    <a:gd name="connsiteX53" fmla="*/ 3907177 w 4519987"/>
                    <a:gd name="connsiteY53" fmla="*/ 3686175 h 4496940"/>
                    <a:gd name="connsiteX54" fmla="*/ 3869077 w 4519987"/>
                    <a:gd name="connsiteY54" fmla="*/ 3724275 h 4496940"/>
                    <a:gd name="connsiteX55" fmla="*/ 3792877 w 4519987"/>
                    <a:gd name="connsiteY55" fmla="*/ 3781425 h 4496940"/>
                    <a:gd name="connsiteX56" fmla="*/ 3783352 w 4519987"/>
                    <a:gd name="connsiteY56" fmla="*/ 3810000 h 4496940"/>
                    <a:gd name="connsiteX57" fmla="*/ 3745252 w 4519987"/>
                    <a:gd name="connsiteY57" fmla="*/ 3819525 h 4496940"/>
                    <a:gd name="connsiteX58" fmla="*/ 3678577 w 4519987"/>
                    <a:gd name="connsiteY58" fmla="*/ 3848100 h 4496940"/>
                    <a:gd name="connsiteX59" fmla="*/ 3659527 w 4519987"/>
                    <a:gd name="connsiteY59" fmla="*/ 3971925 h 4496940"/>
                    <a:gd name="connsiteX60" fmla="*/ 3630952 w 4519987"/>
                    <a:gd name="connsiteY60" fmla="*/ 4010025 h 4496940"/>
                    <a:gd name="connsiteX61" fmla="*/ 3621427 w 4519987"/>
                    <a:gd name="connsiteY61" fmla="*/ 4038600 h 4496940"/>
                    <a:gd name="connsiteX62" fmla="*/ 3554752 w 4519987"/>
                    <a:gd name="connsiteY62" fmla="*/ 4095750 h 4496940"/>
                    <a:gd name="connsiteX63" fmla="*/ 3516652 w 4519987"/>
                    <a:gd name="connsiteY63" fmla="*/ 4114800 h 4496940"/>
                    <a:gd name="connsiteX64" fmla="*/ 3497602 w 4519987"/>
                    <a:gd name="connsiteY64" fmla="*/ 4143375 h 4496940"/>
                    <a:gd name="connsiteX65" fmla="*/ 3383302 w 4519987"/>
                    <a:gd name="connsiteY65" fmla="*/ 4210050 h 4496940"/>
                    <a:gd name="connsiteX66" fmla="*/ 3335677 w 4519987"/>
                    <a:gd name="connsiteY66" fmla="*/ 4238625 h 4496940"/>
                    <a:gd name="connsiteX67" fmla="*/ 3288052 w 4519987"/>
                    <a:gd name="connsiteY67" fmla="*/ 4248150 h 4496940"/>
                    <a:gd name="connsiteX68" fmla="*/ 3240427 w 4519987"/>
                    <a:gd name="connsiteY68" fmla="*/ 4267200 h 4496940"/>
                    <a:gd name="connsiteX69" fmla="*/ 3068977 w 4519987"/>
                    <a:gd name="connsiteY69" fmla="*/ 4286250 h 4496940"/>
                    <a:gd name="connsiteX70" fmla="*/ 2935627 w 4519987"/>
                    <a:gd name="connsiteY70" fmla="*/ 4333875 h 4496940"/>
                    <a:gd name="connsiteX71" fmla="*/ 2811802 w 4519987"/>
                    <a:gd name="connsiteY71" fmla="*/ 4371975 h 4496940"/>
                    <a:gd name="connsiteX72" fmla="*/ 2745127 w 4519987"/>
                    <a:gd name="connsiteY72" fmla="*/ 4410075 h 4496940"/>
                    <a:gd name="connsiteX73" fmla="*/ 2697502 w 4519987"/>
                    <a:gd name="connsiteY73" fmla="*/ 4429125 h 4496940"/>
                    <a:gd name="connsiteX74" fmla="*/ 2640352 w 4519987"/>
                    <a:gd name="connsiteY74" fmla="*/ 4457700 h 4496940"/>
                    <a:gd name="connsiteX75" fmla="*/ 2583202 w 4519987"/>
                    <a:gd name="connsiteY75" fmla="*/ 4467225 h 4496940"/>
                    <a:gd name="connsiteX76" fmla="*/ 2545102 w 4519987"/>
                    <a:gd name="connsiteY76" fmla="*/ 4486275 h 4496940"/>
                    <a:gd name="connsiteX77" fmla="*/ 2306977 w 4519987"/>
                    <a:gd name="connsiteY77" fmla="*/ 4476750 h 4496940"/>
                    <a:gd name="connsiteX78" fmla="*/ 2202202 w 4519987"/>
                    <a:gd name="connsiteY78" fmla="*/ 4457700 h 4496940"/>
                    <a:gd name="connsiteX79" fmla="*/ 2126002 w 4519987"/>
                    <a:gd name="connsiteY79" fmla="*/ 4429125 h 4496940"/>
                    <a:gd name="connsiteX80" fmla="*/ 1935502 w 4519987"/>
                    <a:gd name="connsiteY80" fmla="*/ 4400550 h 4496940"/>
                    <a:gd name="connsiteX81" fmla="*/ 1821202 w 4519987"/>
                    <a:gd name="connsiteY81" fmla="*/ 4371975 h 4496940"/>
                    <a:gd name="connsiteX82" fmla="*/ 1754527 w 4519987"/>
                    <a:gd name="connsiteY82" fmla="*/ 4352925 h 4496940"/>
                    <a:gd name="connsiteX83" fmla="*/ 1687852 w 4519987"/>
                    <a:gd name="connsiteY83" fmla="*/ 4343400 h 4496940"/>
                    <a:gd name="connsiteX84" fmla="*/ 1573552 w 4519987"/>
                    <a:gd name="connsiteY84" fmla="*/ 4305300 h 4496940"/>
                    <a:gd name="connsiteX85" fmla="*/ 1402102 w 4519987"/>
                    <a:gd name="connsiteY85" fmla="*/ 4276725 h 4496940"/>
                    <a:gd name="connsiteX86" fmla="*/ 1287802 w 4519987"/>
                    <a:gd name="connsiteY86" fmla="*/ 4229100 h 4496940"/>
                    <a:gd name="connsiteX87" fmla="*/ 1221127 w 4519987"/>
                    <a:gd name="connsiteY87" fmla="*/ 4200525 h 4496940"/>
                    <a:gd name="connsiteX88" fmla="*/ 1144927 w 4519987"/>
                    <a:gd name="connsiteY88" fmla="*/ 4171950 h 4496940"/>
                    <a:gd name="connsiteX89" fmla="*/ 1087777 w 4519987"/>
                    <a:gd name="connsiteY89" fmla="*/ 4143375 h 4496940"/>
                    <a:gd name="connsiteX90" fmla="*/ 1030627 w 4519987"/>
                    <a:gd name="connsiteY90" fmla="*/ 4124325 h 4496940"/>
                    <a:gd name="connsiteX91" fmla="*/ 925852 w 4519987"/>
                    <a:gd name="connsiteY91" fmla="*/ 4067175 h 4496940"/>
                    <a:gd name="connsiteX92" fmla="*/ 830602 w 4519987"/>
                    <a:gd name="connsiteY92" fmla="*/ 3981450 h 4496940"/>
                    <a:gd name="connsiteX93" fmla="*/ 763927 w 4519987"/>
                    <a:gd name="connsiteY93" fmla="*/ 3914775 h 4496940"/>
                    <a:gd name="connsiteX94" fmla="*/ 725827 w 4519987"/>
                    <a:gd name="connsiteY94" fmla="*/ 3876675 h 4496940"/>
                    <a:gd name="connsiteX95" fmla="*/ 697252 w 4519987"/>
                    <a:gd name="connsiteY95" fmla="*/ 3838575 h 4496940"/>
                    <a:gd name="connsiteX96" fmla="*/ 640102 w 4519987"/>
                    <a:gd name="connsiteY96" fmla="*/ 3781425 h 4496940"/>
                    <a:gd name="connsiteX97" fmla="*/ 611527 w 4519987"/>
                    <a:gd name="connsiteY97" fmla="*/ 3733800 h 4496940"/>
                    <a:gd name="connsiteX98" fmla="*/ 554377 w 4519987"/>
                    <a:gd name="connsiteY98" fmla="*/ 3657600 h 4496940"/>
                    <a:gd name="connsiteX99" fmla="*/ 525802 w 4519987"/>
                    <a:gd name="connsiteY99" fmla="*/ 3609975 h 4496940"/>
                    <a:gd name="connsiteX100" fmla="*/ 497227 w 4519987"/>
                    <a:gd name="connsiteY100" fmla="*/ 3552825 h 4496940"/>
                    <a:gd name="connsiteX101" fmla="*/ 440077 w 4519987"/>
                    <a:gd name="connsiteY101" fmla="*/ 3495675 h 4496940"/>
                    <a:gd name="connsiteX102" fmla="*/ 411502 w 4519987"/>
                    <a:gd name="connsiteY102" fmla="*/ 3448050 h 4496940"/>
                    <a:gd name="connsiteX103" fmla="*/ 278152 w 4519987"/>
                    <a:gd name="connsiteY103" fmla="*/ 3257550 h 4496940"/>
                    <a:gd name="connsiteX104" fmla="*/ 249577 w 4519987"/>
                    <a:gd name="connsiteY104" fmla="*/ 3200400 h 4496940"/>
                    <a:gd name="connsiteX105" fmla="*/ 240052 w 4519987"/>
                    <a:gd name="connsiteY105" fmla="*/ 3162300 h 4496940"/>
                    <a:gd name="connsiteX106" fmla="*/ 221002 w 4519987"/>
                    <a:gd name="connsiteY106" fmla="*/ 3105150 h 4496940"/>
                    <a:gd name="connsiteX107" fmla="*/ 173377 w 4519987"/>
                    <a:gd name="connsiteY107" fmla="*/ 3019425 h 4496940"/>
                    <a:gd name="connsiteX108" fmla="*/ 144802 w 4519987"/>
                    <a:gd name="connsiteY108" fmla="*/ 2924175 h 4496940"/>
                    <a:gd name="connsiteX109" fmla="*/ 68602 w 4519987"/>
                    <a:gd name="connsiteY109" fmla="*/ 2724150 h 4496940"/>
                    <a:gd name="connsiteX110" fmla="*/ 49552 w 4519987"/>
                    <a:gd name="connsiteY110" fmla="*/ 2638425 h 4496940"/>
                    <a:gd name="connsiteX111" fmla="*/ 40027 w 4519987"/>
                    <a:gd name="connsiteY111" fmla="*/ 2562225 h 4496940"/>
                    <a:gd name="connsiteX112" fmla="*/ 30502 w 4519987"/>
                    <a:gd name="connsiteY112" fmla="*/ 2514600 h 4496940"/>
                    <a:gd name="connsiteX113" fmla="*/ 11452 w 4519987"/>
                    <a:gd name="connsiteY113" fmla="*/ 2400300 h 4496940"/>
                    <a:gd name="connsiteX114" fmla="*/ 20977 w 4519987"/>
                    <a:gd name="connsiteY114" fmla="*/ 1905000 h 4496940"/>
                    <a:gd name="connsiteX115" fmla="*/ 30502 w 4519987"/>
                    <a:gd name="connsiteY115" fmla="*/ 1838325 h 4496940"/>
                    <a:gd name="connsiteX116" fmla="*/ 49552 w 4519987"/>
                    <a:gd name="connsiteY116" fmla="*/ 1781175 h 4496940"/>
                    <a:gd name="connsiteX117" fmla="*/ 59077 w 4519987"/>
                    <a:gd name="connsiteY117" fmla="*/ 1743075 h 4496940"/>
                    <a:gd name="connsiteX118" fmla="*/ 78127 w 4519987"/>
                    <a:gd name="connsiteY118" fmla="*/ 1685925 h 4496940"/>
                    <a:gd name="connsiteX119" fmla="*/ 87652 w 4519987"/>
                    <a:gd name="connsiteY119" fmla="*/ 1638300 h 4496940"/>
                    <a:gd name="connsiteX120" fmla="*/ 106702 w 4519987"/>
                    <a:gd name="connsiteY120" fmla="*/ 1590675 h 4496940"/>
                    <a:gd name="connsiteX121" fmla="*/ 135277 w 4519987"/>
                    <a:gd name="connsiteY121" fmla="*/ 1504950 h 4496940"/>
                    <a:gd name="connsiteX122" fmla="*/ 154327 w 4519987"/>
                    <a:gd name="connsiteY122" fmla="*/ 1419225 h 4496940"/>
                    <a:gd name="connsiteX123" fmla="*/ 230527 w 4519987"/>
                    <a:gd name="connsiteY123" fmla="*/ 1276350 h 4496940"/>
                    <a:gd name="connsiteX124" fmla="*/ 240052 w 4519987"/>
                    <a:gd name="connsiteY124" fmla="*/ 1247775 h 4496940"/>
                    <a:gd name="connsiteX125" fmla="*/ 268627 w 4519987"/>
                    <a:gd name="connsiteY125" fmla="*/ 1200150 h 4496940"/>
                    <a:gd name="connsiteX126" fmla="*/ 287677 w 4519987"/>
                    <a:gd name="connsiteY126" fmla="*/ 1152525 h 4496940"/>
                    <a:gd name="connsiteX127" fmla="*/ 316252 w 4519987"/>
                    <a:gd name="connsiteY127" fmla="*/ 1114425 h 4496940"/>
                    <a:gd name="connsiteX128" fmla="*/ 363877 w 4519987"/>
                    <a:gd name="connsiteY128" fmla="*/ 1038225 h 4496940"/>
                    <a:gd name="connsiteX129" fmla="*/ 382927 w 4519987"/>
                    <a:gd name="connsiteY129" fmla="*/ 1009650 h 4496940"/>
                    <a:gd name="connsiteX130" fmla="*/ 440077 w 4519987"/>
                    <a:gd name="connsiteY130" fmla="*/ 904875 h 4496940"/>
                    <a:gd name="connsiteX131" fmla="*/ 478177 w 4519987"/>
                    <a:gd name="connsiteY131" fmla="*/ 857250 h 4496940"/>
                    <a:gd name="connsiteX132" fmla="*/ 497227 w 4519987"/>
                    <a:gd name="connsiteY132" fmla="*/ 828675 h 4496940"/>
                    <a:gd name="connsiteX133" fmla="*/ 535327 w 4519987"/>
                    <a:gd name="connsiteY133" fmla="*/ 800100 h 4496940"/>
                    <a:gd name="connsiteX134" fmla="*/ 602002 w 4519987"/>
                    <a:gd name="connsiteY134" fmla="*/ 733425 h 4496940"/>
                    <a:gd name="connsiteX135" fmla="*/ 668677 w 4519987"/>
                    <a:gd name="connsiteY135" fmla="*/ 676275 h 4496940"/>
                    <a:gd name="connsiteX136" fmla="*/ 697252 w 4519987"/>
                    <a:gd name="connsiteY136" fmla="*/ 657225 h 4496940"/>
                    <a:gd name="connsiteX137" fmla="*/ 840127 w 4519987"/>
                    <a:gd name="connsiteY137" fmla="*/ 533400 h 4496940"/>
                    <a:gd name="connsiteX138" fmla="*/ 887752 w 4519987"/>
                    <a:gd name="connsiteY138" fmla="*/ 504825 h 4496940"/>
                    <a:gd name="connsiteX139" fmla="*/ 1167152 w 4519987"/>
                    <a:gd name="connsiteY139" fmla="*/ 311150 h 4496940"/>
                    <a:gd name="connsiteX140" fmla="*/ 1268752 w 4519987"/>
                    <a:gd name="connsiteY140" fmla="*/ 285750 h 4496940"/>
                    <a:gd name="connsiteX141" fmla="*/ 1411627 w 4519987"/>
                    <a:gd name="connsiteY141" fmla="*/ 190500 h 4496940"/>
                    <a:gd name="connsiteX142" fmla="*/ 1449727 w 4519987"/>
                    <a:gd name="connsiteY142" fmla="*/ 161925 h 4496940"/>
                    <a:gd name="connsiteX143" fmla="*/ 1525927 w 4519987"/>
                    <a:gd name="connsiteY143" fmla="*/ 152400 h 4496940"/>
                    <a:gd name="connsiteX144" fmla="*/ 1583077 w 4519987"/>
                    <a:gd name="connsiteY144" fmla="*/ 142875 h 4496940"/>
                    <a:gd name="connsiteX145" fmla="*/ 1716427 w 4519987"/>
                    <a:gd name="connsiteY145" fmla="*/ 123825 h 4496940"/>
                    <a:gd name="connsiteX146" fmla="*/ 1811677 w 4519987"/>
                    <a:gd name="connsiteY146" fmla="*/ 114300 h 4496940"/>
                    <a:gd name="connsiteX147" fmla="*/ 1859302 w 4519987"/>
                    <a:gd name="connsiteY147" fmla="*/ 104775 h 4496940"/>
                    <a:gd name="connsiteX148" fmla="*/ 1916452 w 4519987"/>
                    <a:gd name="connsiteY148" fmla="*/ 95250 h 4496940"/>
                    <a:gd name="connsiteX149" fmla="*/ 2030752 w 4519987"/>
                    <a:gd name="connsiteY149" fmla="*/ 66675 h 4496940"/>
                    <a:gd name="connsiteX150" fmla="*/ 2097427 w 4519987"/>
                    <a:gd name="connsiteY150" fmla="*/ 47625 h 4496940"/>
                    <a:gd name="connsiteX151" fmla="*/ 2164102 w 4519987"/>
                    <a:gd name="connsiteY151" fmla="*/ 38100 h 4496940"/>
                    <a:gd name="connsiteX152" fmla="*/ 2392702 w 4519987"/>
                    <a:gd name="connsiteY15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745252 w 4519987"/>
                    <a:gd name="connsiteY20" fmla="*/ 542925 h 4496940"/>
                    <a:gd name="connsiteX21" fmla="*/ 3811927 w 4519987"/>
                    <a:gd name="connsiteY21" fmla="*/ 581025 h 4496940"/>
                    <a:gd name="connsiteX22" fmla="*/ 3907177 w 4519987"/>
                    <a:gd name="connsiteY22" fmla="*/ 647700 h 4496940"/>
                    <a:gd name="connsiteX23" fmla="*/ 3935752 w 4519987"/>
                    <a:gd name="connsiteY23" fmla="*/ 676275 h 4496940"/>
                    <a:gd name="connsiteX24" fmla="*/ 4078627 w 4519987"/>
                    <a:gd name="connsiteY24" fmla="*/ 838200 h 4496940"/>
                    <a:gd name="connsiteX25" fmla="*/ 4135777 w 4519987"/>
                    <a:gd name="connsiteY25" fmla="*/ 933450 h 4496940"/>
                    <a:gd name="connsiteX26" fmla="*/ 4164352 w 4519987"/>
                    <a:gd name="connsiteY26" fmla="*/ 990600 h 4496940"/>
                    <a:gd name="connsiteX27" fmla="*/ 4173877 w 4519987"/>
                    <a:gd name="connsiteY27" fmla="*/ 1019175 h 4496940"/>
                    <a:gd name="connsiteX28" fmla="*/ 4192927 w 4519987"/>
                    <a:gd name="connsiteY28" fmla="*/ 1057275 h 4496940"/>
                    <a:gd name="connsiteX29" fmla="*/ 4202452 w 4519987"/>
                    <a:gd name="connsiteY29" fmla="*/ 1085850 h 4496940"/>
                    <a:gd name="connsiteX30" fmla="*/ 4250077 w 4519987"/>
                    <a:gd name="connsiteY30" fmla="*/ 1143000 h 4496940"/>
                    <a:gd name="connsiteX31" fmla="*/ 4259602 w 4519987"/>
                    <a:gd name="connsiteY31" fmla="*/ 1190625 h 4496940"/>
                    <a:gd name="connsiteX32" fmla="*/ 4307227 w 4519987"/>
                    <a:gd name="connsiteY32" fmla="*/ 1266825 h 4496940"/>
                    <a:gd name="connsiteX33" fmla="*/ 4345327 w 4519987"/>
                    <a:gd name="connsiteY33" fmla="*/ 1362075 h 4496940"/>
                    <a:gd name="connsiteX34" fmla="*/ 4373902 w 4519987"/>
                    <a:gd name="connsiteY34" fmla="*/ 1428750 h 4496940"/>
                    <a:gd name="connsiteX35" fmla="*/ 4392952 w 4519987"/>
                    <a:gd name="connsiteY35" fmla="*/ 1552575 h 4496940"/>
                    <a:gd name="connsiteX36" fmla="*/ 4402477 w 4519987"/>
                    <a:gd name="connsiteY36" fmla="*/ 1590675 h 4496940"/>
                    <a:gd name="connsiteX37" fmla="*/ 4431052 w 4519987"/>
                    <a:gd name="connsiteY37" fmla="*/ 1685925 h 4496940"/>
                    <a:gd name="connsiteX38" fmla="*/ 4519952 w 4519987"/>
                    <a:gd name="connsiteY38" fmla="*/ 2181225 h 4496940"/>
                    <a:gd name="connsiteX39" fmla="*/ 4446927 w 4519987"/>
                    <a:gd name="connsiteY39" fmla="*/ 2768600 h 4496940"/>
                    <a:gd name="connsiteX40" fmla="*/ 4383427 w 4519987"/>
                    <a:gd name="connsiteY40" fmla="*/ 2990850 h 4496940"/>
                    <a:gd name="connsiteX41" fmla="*/ 4278652 w 4519987"/>
                    <a:gd name="connsiteY41" fmla="*/ 3248025 h 4496940"/>
                    <a:gd name="connsiteX42" fmla="*/ 4259602 w 4519987"/>
                    <a:gd name="connsiteY42" fmla="*/ 3276600 h 4496940"/>
                    <a:gd name="connsiteX43" fmla="*/ 4221502 w 4519987"/>
                    <a:gd name="connsiteY43" fmla="*/ 3333750 h 4496940"/>
                    <a:gd name="connsiteX44" fmla="*/ 4211977 w 4519987"/>
                    <a:gd name="connsiteY44" fmla="*/ 3362325 h 4496940"/>
                    <a:gd name="connsiteX45" fmla="*/ 4183402 w 4519987"/>
                    <a:gd name="connsiteY45" fmla="*/ 3400425 h 4496940"/>
                    <a:gd name="connsiteX46" fmla="*/ 4164352 w 4519987"/>
                    <a:gd name="connsiteY46" fmla="*/ 3429000 h 4496940"/>
                    <a:gd name="connsiteX47" fmla="*/ 4088152 w 4519987"/>
                    <a:gd name="connsiteY47" fmla="*/ 3495675 h 4496940"/>
                    <a:gd name="connsiteX48" fmla="*/ 4059577 w 4519987"/>
                    <a:gd name="connsiteY48" fmla="*/ 3533775 h 4496940"/>
                    <a:gd name="connsiteX49" fmla="*/ 4002427 w 4519987"/>
                    <a:gd name="connsiteY49" fmla="*/ 3600450 h 4496940"/>
                    <a:gd name="connsiteX50" fmla="*/ 3983377 w 4519987"/>
                    <a:gd name="connsiteY50" fmla="*/ 3629025 h 4496940"/>
                    <a:gd name="connsiteX51" fmla="*/ 3954802 w 4519987"/>
                    <a:gd name="connsiteY51" fmla="*/ 3648075 h 4496940"/>
                    <a:gd name="connsiteX52" fmla="*/ 3907177 w 4519987"/>
                    <a:gd name="connsiteY52" fmla="*/ 3686175 h 4496940"/>
                    <a:gd name="connsiteX53" fmla="*/ 3869077 w 4519987"/>
                    <a:gd name="connsiteY53" fmla="*/ 3724275 h 4496940"/>
                    <a:gd name="connsiteX54" fmla="*/ 3792877 w 4519987"/>
                    <a:gd name="connsiteY54" fmla="*/ 3781425 h 4496940"/>
                    <a:gd name="connsiteX55" fmla="*/ 3783352 w 4519987"/>
                    <a:gd name="connsiteY55" fmla="*/ 3810000 h 4496940"/>
                    <a:gd name="connsiteX56" fmla="*/ 3745252 w 4519987"/>
                    <a:gd name="connsiteY56" fmla="*/ 3819525 h 4496940"/>
                    <a:gd name="connsiteX57" fmla="*/ 3678577 w 4519987"/>
                    <a:gd name="connsiteY57" fmla="*/ 3848100 h 4496940"/>
                    <a:gd name="connsiteX58" fmla="*/ 3659527 w 4519987"/>
                    <a:gd name="connsiteY58" fmla="*/ 3971925 h 4496940"/>
                    <a:gd name="connsiteX59" fmla="*/ 3630952 w 4519987"/>
                    <a:gd name="connsiteY59" fmla="*/ 4010025 h 4496940"/>
                    <a:gd name="connsiteX60" fmla="*/ 3621427 w 4519987"/>
                    <a:gd name="connsiteY60" fmla="*/ 4038600 h 4496940"/>
                    <a:gd name="connsiteX61" fmla="*/ 3554752 w 4519987"/>
                    <a:gd name="connsiteY61" fmla="*/ 4095750 h 4496940"/>
                    <a:gd name="connsiteX62" fmla="*/ 3516652 w 4519987"/>
                    <a:gd name="connsiteY62" fmla="*/ 4114800 h 4496940"/>
                    <a:gd name="connsiteX63" fmla="*/ 3497602 w 4519987"/>
                    <a:gd name="connsiteY63" fmla="*/ 4143375 h 4496940"/>
                    <a:gd name="connsiteX64" fmla="*/ 3383302 w 4519987"/>
                    <a:gd name="connsiteY64" fmla="*/ 4210050 h 4496940"/>
                    <a:gd name="connsiteX65" fmla="*/ 3335677 w 4519987"/>
                    <a:gd name="connsiteY65" fmla="*/ 4238625 h 4496940"/>
                    <a:gd name="connsiteX66" fmla="*/ 3288052 w 4519987"/>
                    <a:gd name="connsiteY66" fmla="*/ 4248150 h 4496940"/>
                    <a:gd name="connsiteX67" fmla="*/ 3240427 w 4519987"/>
                    <a:gd name="connsiteY67" fmla="*/ 4267200 h 4496940"/>
                    <a:gd name="connsiteX68" fmla="*/ 3068977 w 4519987"/>
                    <a:gd name="connsiteY68" fmla="*/ 4286250 h 4496940"/>
                    <a:gd name="connsiteX69" fmla="*/ 2935627 w 4519987"/>
                    <a:gd name="connsiteY69" fmla="*/ 4333875 h 4496940"/>
                    <a:gd name="connsiteX70" fmla="*/ 2811802 w 4519987"/>
                    <a:gd name="connsiteY70" fmla="*/ 4371975 h 4496940"/>
                    <a:gd name="connsiteX71" fmla="*/ 2745127 w 4519987"/>
                    <a:gd name="connsiteY71" fmla="*/ 4410075 h 4496940"/>
                    <a:gd name="connsiteX72" fmla="*/ 2697502 w 4519987"/>
                    <a:gd name="connsiteY72" fmla="*/ 4429125 h 4496940"/>
                    <a:gd name="connsiteX73" fmla="*/ 2640352 w 4519987"/>
                    <a:gd name="connsiteY73" fmla="*/ 4457700 h 4496940"/>
                    <a:gd name="connsiteX74" fmla="*/ 2583202 w 4519987"/>
                    <a:gd name="connsiteY74" fmla="*/ 4467225 h 4496940"/>
                    <a:gd name="connsiteX75" fmla="*/ 2545102 w 4519987"/>
                    <a:gd name="connsiteY75" fmla="*/ 4486275 h 4496940"/>
                    <a:gd name="connsiteX76" fmla="*/ 2306977 w 4519987"/>
                    <a:gd name="connsiteY76" fmla="*/ 4476750 h 4496940"/>
                    <a:gd name="connsiteX77" fmla="*/ 2202202 w 4519987"/>
                    <a:gd name="connsiteY77" fmla="*/ 4457700 h 4496940"/>
                    <a:gd name="connsiteX78" fmla="*/ 2126002 w 4519987"/>
                    <a:gd name="connsiteY78" fmla="*/ 4429125 h 4496940"/>
                    <a:gd name="connsiteX79" fmla="*/ 1935502 w 4519987"/>
                    <a:gd name="connsiteY79" fmla="*/ 4400550 h 4496940"/>
                    <a:gd name="connsiteX80" fmla="*/ 1821202 w 4519987"/>
                    <a:gd name="connsiteY80" fmla="*/ 4371975 h 4496940"/>
                    <a:gd name="connsiteX81" fmla="*/ 1754527 w 4519987"/>
                    <a:gd name="connsiteY81" fmla="*/ 4352925 h 4496940"/>
                    <a:gd name="connsiteX82" fmla="*/ 1687852 w 4519987"/>
                    <a:gd name="connsiteY82" fmla="*/ 4343400 h 4496940"/>
                    <a:gd name="connsiteX83" fmla="*/ 1573552 w 4519987"/>
                    <a:gd name="connsiteY83" fmla="*/ 4305300 h 4496940"/>
                    <a:gd name="connsiteX84" fmla="*/ 1402102 w 4519987"/>
                    <a:gd name="connsiteY84" fmla="*/ 4276725 h 4496940"/>
                    <a:gd name="connsiteX85" fmla="*/ 1287802 w 4519987"/>
                    <a:gd name="connsiteY85" fmla="*/ 4229100 h 4496940"/>
                    <a:gd name="connsiteX86" fmla="*/ 1221127 w 4519987"/>
                    <a:gd name="connsiteY86" fmla="*/ 4200525 h 4496940"/>
                    <a:gd name="connsiteX87" fmla="*/ 1144927 w 4519987"/>
                    <a:gd name="connsiteY87" fmla="*/ 4171950 h 4496940"/>
                    <a:gd name="connsiteX88" fmla="*/ 1087777 w 4519987"/>
                    <a:gd name="connsiteY88" fmla="*/ 4143375 h 4496940"/>
                    <a:gd name="connsiteX89" fmla="*/ 1030627 w 4519987"/>
                    <a:gd name="connsiteY89" fmla="*/ 4124325 h 4496940"/>
                    <a:gd name="connsiteX90" fmla="*/ 925852 w 4519987"/>
                    <a:gd name="connsiteY90" fmla="*/ 4067175 h 4496940"/>
                    <a:gd name="connsiteX91" fmla="*/ 830602 w 4519987"/>
                    <a:gd name="connsiteY91" fmla="*/ 3981450 h 4496940"/>
                    <a:gd name="connsiteX92" fmla="*/ 763927 w 4519987"/>
                    <a:gd name="connsiteY92" fmla="*/ 3914775 h 4496940"/>
                    <a:gd name="connsiteX93" fmla="*/ 725827 w 4519987"/>
                    <a:gd name="connsiteY93" fmla="*/ 3876675 h 4496940"/>
                    <a:gd name="connsiteX94" fmla="*/ 697252 w 4519987"/>
                    <a:gd name="connsiteY94" fmla="*/ 3838575 h 4496940"/>
                    <a:gd name="connsiteX95" fmla="*/ 640102 w 4519987"/>
                    <a:gd name="connsiteY95" fmla="*/ 3781425 h 4496940"/>
                    <a:gd name="connsiteX96" fmla="*/ 611527 w 4519987"/>
                    <a:gd name="connsiteY96" fmla="*/ 3733800 h 4496940"/>
                    <a:gd name="connsiteX97" fmla="*/ 554377 w 4519987"/>
                    <a:gd name="connsiteY97" fmla="*/ 3657600 h 4496940"/>
                    <a:gd name="connsiteX98" fmla="*/ 525802 w 4519987"/>
                    <a:gd name="connsiteY98" fmla="*/ 3609975 h 4496940"/>
                    <a:gd name="connsiteX99" fmla="*/ 497227 w 4519987"/>
                    <a:gd name="connsiteY99" fmla="*/ 3552825 h 4496940"/>
                    <a:gd name="connsiteX100" fmla="*/ 440077 w 4519987"/>
                    <a:gd name="connsiteY100" fmla="*/ 3495675 h 4496940"/>
                    <a:gd name="connsiteX101" fmla="*/ 411502 w 4519987"/>
                    <a:gd name="connsiteY101" fmla="*/ 3448050 h 4496940"/>
                    <a:gd name="connsiteX102" fmla="*/ 278152 w 4519987"/>
                    <a:gd name="connsiteY102" fmla="*/ 3257550 h 4496940"/>
                    <a:gd name="connsiteX103" fmla="*/ 249577 w 4519987"/>
                    <a:gd name="connsiteY103" fmla="*/ 3200400 h 4496940"/>
                    <a:gd name="connsiteX104" fmla="*/ 240052 w 4519987"/>
                    <a:gd name="connsiteY104" fmla="*/ 3162300 h 4496940"/>
                    <a:gd name="connsiteX105" fmla="*/ 221002 w 4519987"/>
                    <a:gd name="connsiteY105" fmla="*/ 3105150 h 4496940"/>
                    <a:gd name="connsiteX106" fmla="*/ 173377 w 4519987"/>
                    <a:gd name="connsiteY106" fmla="*/ 3019425 h 4496940"/>
                    <a:gd name="connsiteX107" fmla="*/ 144802 w 4519987"/>
                    <a:gd name="connsiteY107" fmla="*/ 2924175 h 4496940"/>
                    <a:gd name="connsiteX108" fmla="*/ 68602 w 4519987"/>
                    <a:gd name="connsiteY108" fmla="*/ 2724150 h 4496940"/>
                    <a:gd name="connsiteX109" fmla="*/ 49552 w 4519987"/>
                    <a:gd name="connsiteY109" fmla="*/ 2638425 h 4496940"/>
                    <a:gd name="connsiteX110" fmla="*/ 40027 w 4519987"/>
                    <a:gd name="connsiteY110" fmla="*/ 2562225 h 4496940"/>
                    <a:gd name="connsiteX111" fmla="*/ 30502 w 4519987"/>
                    <a:gd name="connsiteY111" fmla="*/ 2514600 h 4496940"/>
                    <a:gd name="connsiteX112" fmla="*/ 11452 w 4519987"/>
                    <a:gd name="connsiteY112" fmla="*/ 2400300 h 4496940"/>
                    <a:gd name="connsiteX113" fmla="*/ 20977 w 4519987"/>
                    <a:gd name="connsiteY113" fmla="*/ 1905000 h 4496940"/>
                    <a:gd name="connsiteX114" fmla="*/ 30502 w 4519987"/>
                    <a:gd name="connsiteY114" fmla="*/ 1838325 h 4496940"/>
                    <a:gd name="connsiteX115" fmla="*/ 49552 w 4519987"/>
                    <a:gd name="connsiteY115" fmla="*/ 1781175 h 4496940"/>
                    <a:gd name="connsiteX116" fmla="*/ 59077 w 4519987"/>
                    <a:gd name="connsiteY116" fmla="*/ 1743075 h 4496940"/>
                    <a:gd name="connsiteX117" fmla="*/ 78127 w 4519987"/>
                    <a:gd name="connsiteY117" fmla="*/ 1685925 h 4496940"/>
                    <a:gd name="connsiteX118" fmla="*/ 87652 w 4519987"/>
                    <a:gd name="connsiteY118" fmla="*/ 1638300 h 4496940"/>
                    <a:gd name="connsiteX119" fmla="*/ 106702 w 4519987"/>
                    <a:gd name="connsiteY119" fmla="*/ 1590675 h 4496940"/>
                    <a:gd name="connsiteX120" fmla="*/ 135277 w 4519987"/>
                    <a:gd name="connsiteY120" fmla="*/ 1504950 h 4496940"/>
                    <a:gd name="connsiteX121" fmla="*/ 154327 w 4519987"/>
                    <a:gd name="connsiteY121" fmla="*/ 1419225 h 4496940"/>
                    <a:gd name="connsiteX122" fmla="*/ 230527 w 4519987"/>
                    <a:gd name="connsiteY122" fmla="*/ 1276350 h 4496940"/>
                    <a:gd name="connsiteX123" fmla="*/ 240052 w 4519987"/>
                    <a:gd name="connsiteY123" fmla="*/ 1247775 h 4496940"/>
                    <a:gd name="connsiteX124" fmla="*/ 268627 w 4519987"/>
                    <a:gd name="connsiteY124" fmla="*/ 1200150 h 4496940"/>
                    <a:gd name="connsiteX125" fmla="*/ 287677 w 4519987"/>
                    <a:gd name="connsiteY125" fmla="*/ 1152525 h 4496940"/>
                    <a:gd name="connsiteX126" fmla="*/ 316252 w 4519987"/>
                    <a:gd name="connsiteY126" fmla="*/ 1114425 h 4496940"/>
                    <a:gd name="connsiteX127" fmla="*/ 363877 w 4519987"/>
                    <a:gd name="connsiteY127" fmla="*/ 1038225 h 4496940"/>
                    <a:gd name="connsiteX128" fmla="*/ 382927 w 4519987"/>
                    <a:gd name="connsiteY128" fmla="*/ 1009650 h 4496940"/>
                    <a:gd name="connsiteX129" fmla="*/ 440077 w 4519987"/>
                    <a:gd name="connsiteY129" fmla="*/ 904875 h 4496940"/>
                    <a:gd name="connsiteX130" fmla="*/ 478177 w 4519987"/>
                    <a:gd name="connsiteY130" fmla="*/ 857250 h 4496940"/>
                    <a:gd name="connsiteX131" fmla="*/ 497227 w 4519987"/>
                    <a:gd name="connsiteY131" fmla="*/ 828675 h 4496940"/>
                    <a:gd name="connsiteX132" fmla="*/ 535327 w 4519987"/>
                    <a:gd name="connsiteY132" fmla="*/ 800100 h 4496940"/>
                    <a:gd name="connsiteX133" fmla="*/ 602002 w 4519987"/>
                    <a:gd name="connsiteY133" fmla="*/ 733425 h 4496940"/>
                    <a:gd name="connsiteX134" fmla="*/ 668677 w 4519987"/>
                    <a:gd name="connsiteY134" fmla="*/ 676275 h 4496940"/>
                    <a:gd name="connsiteX135" fmla="*/ 697252 w 4519987"/>
                    <a:gd name="connsiteY135" fmla="*/ 657225 h 4496940"/>
                    <a:gd name="connsiteX136" fmla="*/ 840127 w 4519987"/>
                    <a:gd name="connsiteY136" fmla="*/ 533400 h 4496940"/>
                    <a:gd name="connsiteX137" fmla="*/ 887752 w 4519987"/>
                    <a:gd name="connsiteY137" fmla="*/ 504825 h 4496940"/>
                    <a:gd name="connsiteX138" fmla="*/ 1167152 w 4519987"/>
                    <a:gd name="connsiteY138" fmla="*/ 311150 h 4496940"/>
                    <a:gd name="connsiteX139" fmla="*/ 1268752 w 4519987"/>
                    <a:gd name="connsiteY139" fmla="*/ 285750 h 4496940"/>
                    <a:gd name="connsiteX140" fmla="*/ 1411627 w 4519987"/>
                    <a:gd name="connsiteY140" fmla="*/ 190500 h 4496940"/>
                    <a:gd name="connsiteX141" fmla="*/ 1449727 w 4519987"/>
                    <a:gd name="connsiteY141" fmla="*/ 161925 h 4496940"/>
                    <a:gd name="connsiteX142" fmla="*/ 1525927 w 4519987"/>
                    <a:gd name="connsiteY142" fmla="*/ 152400 h 4496940"/>
                    <a:gd name="connsiteX143" fmla="*/ 1583077 w 4519987"/>
                    <a:gd name="connsiteY143" fmla="*/ 142875 h 4496940"/>
                    <a:gd name="connsiteX144" fmla="*/ 1716427 w 4519987"/>
                    <a:gd name="connsiteY144" fmla="*/ 123825 h 4496940"/>
                    <a:gd name="connsiteX145" fmla="*/ 1811677 w 4519987"/>
                    <a:gd name="connsiteY145" fmla="*/ 114300 h 4496940"/>
                    <a:gd name="connsiteX146" fmla="*/ 1859302 w 4519987"/>
                    <a:gd name="connsiteY146" fmla="*/ 104775 h 4496940"/>
                    <a:gd name="connsiteX147" fmla="*/ 1916452 w 4519987"/>
                    <a:gd name="connsiteY147" fmla="*/ 95250 h 4496940"/>
                    <a:gd name="connsiteX148" fmla="*/ 2030752 w 4519987"/>
                    <a:gd name="connsiteY148" fmla="*/ 66675 h 4496940"/>
                    <a:gd name="connsiteX149" fmla="*/ 2097427 w 4519987"/>
                    <a:gd name="connsiteY149" fmla="*/ 47625 h 4496940"/>
                    <a:gd name="connsiteX150" fmla="*/ 2164102 w 4519987"/>
                    <a:gd name="connsiteY150" fmla="*/ 38100 h 4496940"/>
                    <a:gd name="connsiteX151" fmla="*/ 2392702 w 4519987"/>
                    <a:gd name="connsiteY15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3935752 w 4519987"/>
                    <a:gd name="connsiteY22" fmla="*/ 676275 h 4496940"/>
                    <a:gd name="connsiteX23" fmla="*/ 4078627 w 4519987"/>
                    <a:gd name="connsiteY23" fmla="*/ 838200 h 4496940"/>
                    <a:gd name="connsiteX24" fmla="*/ 4135777 w 4519987"/>
                    <a:gd name="connsiteY24" fmla="*/ 933450 h 4496940"/>
                    <a:gd name="connsiteX25" fmla="*/ 4164352 w 4519987"/>
                    <a:gd name="connsiteY25" fmla="*/ 990600 h 4496940"/>
                    <a:gd name="connsiteX26" fmla="*/ 4173877 w 4519987"/>
                    <a:gd name="connsiteY26" fmla="*/ 1019175 h 4496940"/>
                    <a:gd name="connsiteX27" fmla="*/ 4192927 w 4519987"/>
                    <a:gd name="connsiteY27" fmla="*/ 1057275 h 4496940"/>
                    <a:gd name="connsiteX28" fmla="*/ 4202452 w 4519987"/>
                    <a:gd name="connsiteY28" fmla="*/ 1085850 h 4496940"/>
                    <a:gd name="connsiteX29" fmla="*/ 4250077 w 4519987"/>
                    <a:gd name="connsiteY29" fmla="*/ 1143000 h 4496940"/>
                    <a:gd name="connsiteX30" fmla="*/ 4259602 w 4519987"/>
                    <a:gd name="connsiteY30" fmla="*/ 1190625 h 4496940"/>
                    <a:gd name="connsiteX31" fmla="*/ 4307227 w 4519987"/>
                    <a:gd name="connsiteY31" fmla="*/ 1266825 h 4496940"/>
                    <a:gd name="connsiteX32" fmla="*/ 4345327 w 4519987"/>
                    <a:gd name="connsiteY32" fmla="*/ 1362075 h 4496940"/>
                    <a:gd name="connsiteX33" fmla="*/ 4373902 w 4519987"/>
                    <a:gd name="connsiteY33" fmla="*/ 1428750 h 4496940"/>
                    <a:gd name="connsiteX34" fmla="*/ 4392952 w 4519987"/>
                    <a:gd name="connsiteY34" fmla="*/ 1552575 h 4496940"/>
                    <a:gd name="connsiteX35" fmla="*/ 4402477 w 4519987"/>
                    <a:gd name="connsiteY35" fmla="*/ 1590675 h 4496940"/>
                    <a:gd name="connsiteX36" fmla="*/ 4431052 w 4519987"/>
                    <a:gd name="connsiteY36" fmla="*/ 1685925 h 4496940"/>
                    <a:gd name="connsiteX37" fmla="*/ 4519952 w 4519987"/>
                    <a:gd name="connsiteY37" fmla="*/ 2181225 h 4496940"/>
                    <a:gd name="connsiteX38" fmla="*/ 4446927 w 4519987"/>
                    <a:gd name="connsiteY38" fmla="*/ 2768600 h 4496940"/>
                    <a:gd name="connsiteX39" fmla="*/ 4383427 w 4519987"/>
                    <a:gd name="connsiteY39" fmla="*/ 2990850 h 4496940"/>
                    <a:gd name="connsiteX40" fmla="*/ 4278652 w 4519987"/>
                    <a:gd name="connsiteY40" fmla="*/ 3248025 h 4496940"/>
                    <a:gd name="connsiteX41" fmla="*/ 4259602 w 4519987"/>
                    <a:gd name="connsiteY41" fmla="*/ 3276600 h 4496940"/>
                    <a:gd name="connsiteX42" fmla="*/ 4221502 w 4519987"/>
                    <a:gd name="connsiteY42" fmla="*/ 3333750 h 4496940"/>
                    <a:gd name="connsiteX43" fmla="*/ 4211977 w 4519987"/>
                    <a:gd name="connsiteY43" fmla="*/ 3362325 h 4496940"/>
                    <a:gd name="connsiteX44" fmla="*/ 4183402 w 4519987"/>
                    <a:gd name="connsiteY44" fmla="*/ 3400425 h 4496940"/>
                    <a:gd name="connsiteX45" fmla="*/ 4164352 w 4519987"/>
                    <a:gd name="connsiteY45" fmla="*/ 3429000 h 4496940"/>
                    <a:gd name="connsiteX46" fmla="*/ 4088152 w 4519987"/>
                    <a:gd name="connsiteY46" fmla="*/ 3495675 h 4496940"/>
                    <a:gd name="connsiteX47" fmla="*/ 4059577 w 4519987"/>
                    <a:gd name="connsiteY47" fmla="*/ 3533775 h 4496940"/>
                    <a:gd name="connsiteX48" fmla="*/ 4002427 w 4519987"/>
                    <a:gd name="connsiteY48" fmla="*/ 3600450 h 4496940"/>
                    <a:gd name="connsiteX49" fmla="*/ 3983377 w 4519987"/>
                    <a:gd name="connsiteY49" fmla="*/ 3629025 h 4496940"/>
                    <a:gd name="connsiteX50" fmla="*/ 3954802 w 4519987"/>
                    <a:gd name="connsiteY50" fmla="*/ 3648075 h 4496940"/>
                    <a:gd name="connsiteX51" fmla="*/ 3907177 w 4519987"/>
                    <a:gd name="connsiteY51" fmla="*/ 3686175 h 4496940"/>
                    <a:gd name="connsiteX52" fmla="*/ 3869077 w 4519987"/>
                    <a:gd name="connsiteY52" fmla="*/ 3724275 h 4496940"/>
                    <a:gd name="connsiteX53" fmla="*/ 3792877 w 4519987"/>
                    <a:gd name="connsiteY53" fmla="*/ 3781425 h 4496940"/>
                    <a:gd name="connsiteX54" fmla="*/ 3783352 w 4519987"/>
                    <a:gd name="connsiteY54" fmla="*/ 3810000 h 4496940"/>
                    <a:gd name="connsiteX55" fmla="*/ 3745252 w 4519987"/>
                    <a:gd name="connsiteY55" fmla="*/ 3819525 h 4496940"/>
                    <a:gd name="connsiteX56" fmla="*/ 3678577 w 4519987"/>
                    <a:gd name="connsiteY56" fmla="*/ 3848100 h 4496940"/>
                    <a:gd name="connsiteX57" fmla="*/ 3659527 w 4519987"/>
                    <a:gd name="connsiteY57" fmla="*/ 3971925 h 4496940"/>
                    <a:gd name="connsiteX58" fmla="*/ 3630952 w 4519987"/>
                    <a:gd name="connsiteY58" fmla="*/ 4010025 h 4496940"/>
                    <a:gd name="connsiteX59" fmla="*/ 3621427 w 4519987"/>
                    <a:gd name="connsiteY59" fmla="*/ 4038600 h 4496940"/>
                    <a:gd name="connsiteX60" fmla="*/ 3554752 w 4519987"/>
                    <a:gd name="connsiteY60" fmla="*/ 4095750 h 4496940"/>
                    <a:gd name="connsiteX61" fmla="*/ 3516652 w 4519987"/>
                    <a:gd name="connsiteY61" fmla="*/ 4114800 h 4496940"/>
                    <a:gd name="connsiteX62" fmla="*/ 3497602 w 4519987"/>
                    <a:gd name="connsiteY62" fmla="*/ 4143375 h 4496940"/>
                    <a:gd name="connsiteX63" fmla="*/ 3383302 w 4519987"/>
                    <a:gd name="connsiteY63" fmla="*/ 4210050 h 4496940"/>
                    <a:gd name="connsiteX64" fmla="*/ 3335677 w 4519987"/>
                    <a:gd name="connsiteY64" fmla="*/ 4238625 h 4496940"/>
                    <a:gd name="connsiteX65" fmla="*/ 3288052 w 4519987"/>
                    <a:gd name="connsiteY65" fmla="*/ 4248150 h 4496940"/>
                    <a:gd name="connsiteX66" fmla="*/ 3240427 w 4519987"/>
                    <a:gd name="connsiteY66" fmla="*/ 4267200 h 4496940"/>
                    <a:gd name="connsiteX67" fmla="*/ 3068977 w 4519987"/>
                    <a:gd name="connsiteY67" fmla="*/ 4286250 h 4496940"/>
                    <a:gd name="connsiteX68" fmla="*/ 2935627 w 4519987"/>
                    <a:gd name="connsiteY68" fmla="*/ 4333875 h 4496940"/>
                    <a:gd name="connsiteX69" fmla="*/ 2811802 w 4519987"/>
                    <a:gd name="connsiteY69" fmla="*/ 4371975 h 4496940"/>
                    <a:gd name="connsiteX70" fmla="*/ 2745127 w 4519987"/>
                    <a:gd name="connsiteY70" fmla="*/ 4410075 h 4496940"/>
                    <a:gd name="connsiteX71" fmla="*/ 2697502 w 4519987"/>
                    <a:gd name="connsiteY71" fmla="*/ 4429125 h 4496940"/>
                    <a:gd name="connsiteX72" fmla="*/ 2640352 w 4519987"/>
                    <a:gd name="connsiteY72" fmla="*/ 4457700 h 4496940"/>
                    <a:gd name="connsiteX73" fmla="*/ 2583202 w 4519987"/>
                    <a:gd name="connsiteY73" fmla="*/ 4467225 h 4496940"/>
                    <a:gd name="connsiteX74" fmla="*/ 2545102 w 4519987"/>
                    <a:gd name="connsiteY74" fmla="*/ 4486275 h 4496940"/>
                    <a:gd name="connsiteX75" fmla="*/ 2306977 w 4519987"/>
                    <a:gd name="connsiteY75" fmla="*/ 4476750 h 4496940"/>
                    <a:gd name="connsiteX76" fmla="*/ 2202202 w 4519987"/>
                    <a:gd name="connsiteY76" fmla="*/ 4457700 h 4496940"/>
                    <a:gd name="connsiteX77" fmla="*/ 2126002 w 4519987"/>
                    <a:gd name="connsiteY77" fmla="*/ 4429125 h 4496940"/>
                    <a:gd name="connsiteX78" fmla="*/ 1935502 w 4519987"/>
                    <a:gd name="connsiteY78" fmla="*/ 4400550 h 4496940"/>
                    <a:gd name="connsiteX79" fmla="*/ 1821202 w 4519987"/>
                    <a:gd name="connsiteY79" fmla="*/ 4371975 h 4496940"/>
                    <a:gd name="connsiteX80" fmla="*/ 1754527 w 4519987"/>
                    <a:gd name="connsiteY80" fmla="*/ 4352925 h 4496940"/>
                    <a:gd name="connsiteX81" fmla="*/ 1687852 w 4519987"/>
                    <a:gd name="connsiteY81" fmla="*/ 4343400 h 4496940"/>
                    <a:gd name="connsiteX82" fmla="*/ 1573552 w 4519987"/>
                    <a:gd name="connsiteY82" fmla="*/ 4305300 h 4496940"/>
                    <a:gd name="connsiteX83" fmla="*/ 1402102 w 4519987"/>
                    <a:gd name="connsiteY83" fmla="*/ 4276725 h 4496940"/>
                    <a:gd name="connsiteX84" fmla="*/ 1287802 w 4519987"/>
                    <a:gd name="connsiteY84" fmla="*/ 4229100 h 4496940"/>
                    <a:gd name="connsiteX85" fmla="*/ 1221127 w 4519987"/>
                    <a:gd name="connsiteY85" fmla="*/ 4200525 h 4496940"/>
                    <a:gd name="connsiteX86" fmla="*/ 1144927 w 4519987"/>
                    <a:gd name="connsiteY86" fmla="*/ 4171950 h 4496940"/>
                    <a:gd name="connsiteX87" fmla="*/ 1087777 w 4519987"/>
                    <a:gd name="connsiteY87" fmla="*/ 4143375 h 4496940"/>
                    <a:gd name="connsiteX88" fmla="*/ 1030627 w 4519987"/>
                    <a:gd name="connsiteY88" fmla="*/ 4124325 h 4496940"/>
                    <a:gd name="connsiteX89" fmla="*/ 925852 w 4519987"/>
                    <a:gd name="connsiteY89" fmla="*/ 4067175 h 4496940"/>
                    <a:gd name="connsiteX90" fmla="*/ 830602 w 4519987"/>
                    <a:gd name="connsiteY90" fmla="*/ 3981450 h 4496940"/>
                    <a:gd name="connsiteX91" fmla="*/ 763927 w 4519987"/>
                    <a:gd name="connsiteY91" fmla="*/ 3914775 h 4496940"/>
                    <a:gd name="connsiteX92" fmla="*/ 725827 w 4519987"/>
                    <a:gd name="connsiteY92" fmla="*/ 3876675 h 4496940"/>
                    <a:gd name="connsiteX93" fmla="*/ 697252 w 4519987"/>
                    <a:gd name="connsiteY93" fmla="*/ 3838575 h 4496940"/>
                    <a:gd name="connsiteX94" fmla="*/ 640102 w 4519987"/>
                    <a:gd name="connsiteY94" fmla="*/ 3781425 h 4496940"/>
                    <a:gd name="connsiteX95" fmla="*/ 611527 w 4519987"/>
                    <a:gd name="connsiteY95" fmla="*/ 3733800 h 4496940"/>
                    <a:gd name="connsiteX96" fmla="*/ 554377 w 4519987"/>
                    <a:gd name="connsiteY96" fmla="*/ 3657600 h 4496940"/>
                    <a:gd name="connsiteX97" fmla="*/ 525802 w 4519987"/>
                    <a:gd name="connsiteY97" fmla="*/ 3609975 h 4496940"/>
                    <a:gd name="connsiteX98" fmla="*/ 497227 w 4519987"/>
                    <a:gd name="connsiteY98" fmla="*/ 3552825 h 4496940"/>
                    <a:gd name="connsiteX99" fmla="*/ 440077 w 4519987"/>
                    <a:gd name="connsiteY99" fmla="*/ 3495675 h 4496940"/>
                    <a:gd name="connsiteX100" fmla="*/ 411502 w 4519987"/>
                    <a:gd name="connsiteY100" fmla="*/ 3448050 h 4496940"/>
                    <a:gd name="connsiteX101" fmla="*/ 278152 w 4519987"/>
                    <a:gd name="connsiteY101" fmla="*/ 3257550 h 4496940"/>
                    <a:gd name="connsiteX102" fmla="*/ 249577 w 4519987"/>
                    <a:gd name="connsiteY102" fmla="*/ 3200400 h 4496940"/>
                    <a:gd name="connsiteX103" fmla="*/ 240052 w 4519987"/>
                    <a:gd name="connsiteY103" fmla="*/ 3162300 h 4496940"/>
                    <a:gd name="connsiteX104" fmla="*/ 221002 w 4519987"/>
                    <a:gd name="connsiteY104" fmla="*/ 3105150 h 4496940"/>
                    <a:gd name="connsiteX105" fmla="*/ 173377 w 4519987"/>
                    <a:gd name="connsiteY105" fmla="*/ 3019425 h 4496940"/>
                    <a:gd name="connsiteX106" fmla="*/ 144802 w 4519987"/>
                    <a:gd name="connsiteY106" fmla="*/ 2924175 h 4496940"/>
                    <a:gd name="connsiteX107" fmla="*/ 68602 w 4519987"/>
                    <a:gd name="connsiteY107" fmla="*/ 2724150 h 4496940"/>
                    <a:gd name="connsiteX108" fmla="*/ 49552 w 4519987"/>
                    <a:gd name="connsiteY108" fmla="*/ 2638425 h 4496940"/>
                    <a:gd name="connsiteX109" fmla="*/ 40027 w 4519987"/>
                    <a:gd name="connsiteY109" fmla="*/ 2562225 h 4496940"/>
                    <a:gd name="connsiteX110" fmla="*/ 30502 w 4519987"/>
                    <a:gd name="connsiteY110" fmla="*/ 2514600 h 4496940"/>
                    <a:gd name="connsiteX111" fmla="*/ 11452 w 4519987"/>
                    <a:gd name="connsiteY111" fmla="*/ 2400300 h 4496940"/>
                    <a:gd name="connsiteX112" fmla="*/ 20977 w 4519987"/>
                    <a:gd name="connsiteY112" fmla="*/ 1905000 h 4496940"/>
                    <a:gd name="connsiteX113" fmla="*/ 30502 w 4519987"/>
                    <a:gd name="connsiteY113" fmla="*/ 1838325 h 4496940"/>
                    <a:gd name="connsiteX114" fmla="*/ 49552 w 4519987"/>
                    <a:gd name="connsiteY114" fmla="*/ 1781175 h 4496940"/>
                    <a:gd name="connsiteX115" fmla="*/ 59077 w 4519987"/>
                    <a:gd name="connsiteY115" fmla="*/ 1743075 h 4496940"/>
                    <a:gd name="connsiteX116" fmla="*/ 78127 w 4519987"/>
                    <a:gd name="connsiteY116" fmla="*/ 1685925 h 4496940"/>
                    <a:gd name="connsiteX117" fmla="*/ 87652 w 4519987"/>
                    <a:gd name="connsiteY117" fmla="*/ 1638300 h 4496940"/>
                    <a:gd name="connsiteX118" fmla="*/ 106702 w 4519987"/>
                    <a:gd name="connsiteY118" fmla="*/ 1590675 h 4496940"/>
                    <a:gd name="connsiteX119" fmla="*/ 135277 w 4519987"/>
                    <a:gd name="connsiteY119" fmla="*/ 1504950 h 4496940"/>
                    <a:gd name="connsiteX120" fmla="*/ 154327 w 4519987"/>
                    <a:gd name="connsiteY120" fmla="*/ 1419225 h 4496940"/>
                    <a:gd name="connsiteX121" fmla="*/ 230527 w 4519987"/>
                    <a:gd name="connsiteY121" fmla="*/ 1276350 h 4496940"/>
                    <a:gd name="connsiteX122" fmla="*/ 240052 w 4519987"/>
                    <a:gd name="connsiteY122" fmla="*/ 1247775 h 4496940"/>
                    <a:gd name="connsiteX123" fmla="*/ 268627 w 4519987"/>
                    <a:gd name="connsiteY123" fmla="*/ 1200150 h 4496940"/>
                    <a:gd name="connsiteX124" fmla="*/ 287677 w 4519987"/>
                    <a:gd name="connsiteY124" fmla="*/ 1152525 h 4496940"/>
                    <a:gd name="connsiteX125" fmla="*/ 316252 w 4519987"/>
                    <a:gd name="connsiteY125" fmla="*/ 1114425 h 4496940"/>
                    <a:gd name="connsiteX126" fmla="*/ 363877 w 4519987"/>
                    <a:gd name="connsiteY126" fmla="*/ 1038225 h 4496940"/>
                    <a:gd name="connsiteX127" fmla="*/ 382927 w 4519987"/>
                    <a:gd name="connsiteY127" fmla="*/ 1009650 h 4496940"/>
                    <a:gd name="connsiteX128" fmla="*/ 440077 w 4519987"/>
                    <a:gd name="connsiteY128" fmla="*/ 904875 h 4496940"/>
                    <a:gd name="connsiteX129" fmla="*/ 478177 w 4519987"/>
                    <a:gd name="connsiteY129" fmla="*/ 857250 h 4496940"/>
                    <a:gd name="connsiteX130" fmla="*/ 497227 w 4519987"/>
                    <a:gd name="connsiteY130" fmla="*/ 828675 h 4496940"/>
                    <a:gd name="connsiteX131" fmla="*/ 535327 w 4519987"/>
                    <a:gd name="connsiteY131" fmla="*/ 800100 h 4496940"/>
                    <a:gd name="connsiteX132" fmla="*/ 602002 w 4519987"/>
                    <a:gd name="connsiteY132" fmla="*/ 733425 h 4496940"/>
                    <a:gd name="connsiteX133" fmla="*/ 668677 w 4519987"/>
                    <a:gd name="connsiteY133" fmla="*/ 676275 h 4496940"/>
                    <a:gd name="connsiteX134" fmla="*/ 697252 w 4519987"/>
                    <a:gd name="connsiteY134" fmla="*/ 657225 h 4496940"/>
                    <a:gd name="connsiteX135" fmla="*/ 840127 w 4519987"/>
                    <a:gd name="connsiteY135" fmla="*/ 533400 h 4496940"/>
                    <a:gd name="connsiteX136" fmla="*/ 887752 w 4519987"/>
                    <a:gd name="connsiteY136" fmla="*/ 504825 h 4496940"/>
                    <a:gd name="connsiteX137" fmla="*/ 1167152 w 4519987"/>
                    <a:gd name="connsiteY137" fmla="*/ 311150 h 4496940"/>
                    <a:gd name="connsiteX138" fmla="*/ 1268752 w 4519987"/>
                    <a:gd name="connsiteY138" fmla="*/ 285750 h 4496940"/>
                    <a:gd name="connsiteX139" fmla="*/ 1411627 w 4519987"/>
                    <a:gd name="connsiteY139" fmla="*/ 190500 h 4496940"/>
                    <a:gd name="connsiteX140" fmla="*/ 1449727 w 4519987"/>
                    <a:gd name="connsiteY140" fmla="*/ 161925 h 4496940"/>
                    <a:gd name="connsiteX141" fmla="*/ 1525927 w 4519987"/>
                    <a:gd name="connsiteY141" fmla="*/ 152400 h 4496940"/>
                    <a:gd name="connsiteX142" fmla="*/ 1583077 w 4519987"/>
                    <a:gd name="connsiteY142" fmla="*/ 142875 h 4496940"/>
                    <a:gd name="connsiteX143" fmla="*/ 1716427 w 4519987"/>
                    <a:gd name="connsiteY143" fmla="*/ 123825 h 4496940"/>
                    <a:gd name="connsiteX144" fmla="*/ 1811677 w 4519987"/>
                    <a:gd name="connsiteY144" fmla="*/ 114300 h 4496940"/>
                    <a:gd name="connsiteX145" fmla="*/ 1859302 w 4519987"/>
                    <a:gd name="connsiteY145" fmla="*/ 104775 h 4496940"/>
                    <a:gd name="connsiteX146" fmla="*/ 1916452 w 4519987"/>
                    <a:gd name="connsiteY146" fmla="*/ 95250 h 4496940"/>
                    <a:gd name="connsiteX147" fmla="*/ 2030752 w 4519987"/>
                    <a:gd name="connsiteY147" fmla="*/ 66675 h 4496940"/>
                    <a:gd name="connsiteX148" fmla="*/ 2097427 w 4519987"/>
                    <a:gd name="connsiteY148" fmla="*/ 47625 h 4496940"/>
                    <a:gd name="connsiteX149" fmla="*/ 2164102 w 4519987"/>
                    <a:gd name="connsiteY149" fmla="*/ 38100 h 4496940"/>
                    <a:gd name="connsiteX150" fmla="*/ 2392702 w 4519987"/>
                    <a:gd name="connsiteY15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4078627 w 4519987"/>
                    <a:gd name="connsiteY22" fmla="*/ 838200 h 4496940"/>
                    <a:gd name="connsiteX23" fmla="*/ 4135777 w 4519987"/>
                    <a:gd name="connsiteY23" fmla="*/ 933450 h 4496940"/>
                    <a:gd name="connsiteX24" fmla="*/ 4164352 w 4519987"/>
                    <a:gd name="connsiteY24" fmla="*/ 990600 h 4496940"/>
                    <a:gd name="connsiteX25" fmla="*/ 4173877 w 4519987"/>
                    <a:gd name="connsiteY25" fmla="*/ 1019175 h 4496940"/>
                    <a:gd name="connsiteX26" fmla="*/ 4192927 w 4519987"/>
                    <a:gd name="connsiteY26" fmla="*/ 1057275 h 4496940"/>
                    <a:gd name="connsiteX27" fmla="*/ 4202452 w 4519987"/>
                    <a:gd name="connsiteY27" fmla="*/ 1085850 h 4496940"/>
                    <a:gd name="connsiteX28" fmla="*/ 4250077 w 4519987"/>
                    <a:gd name="connsiteY28" fmla="*/ 1143000 h 4496940"/>
                    <a:gd name="connsiteX29" fmla="*/ 4259602 w 4519987"/>
                    <a:gd name="connsiteY29" fmla="*/ 1190625 h 4496940"/>
                    <a:gd name="connsiteX30" fmla="*/ 4307227 w 4519987"/>
                    <a:gd name="connsiteY30" fmla="*/ 1266825 h 4496940"/>
                    <a:gd name="connsiteX31" fmla="*/ 4345327 w 4519987"/>
                    <a:gd name="connsiteY31" fmla="*/ 1362075 h 4496940"/>
                    <a:gd name="connsiteX32" fmla="*/ 4373902 w 4519987"/>
                    <a:gd name="connsiteY32" fmla="*/ 1428750 h 4496940"/>
                    <a:gd name="connsiteX33" fmla="*/ 4392952 w 4519987"/>
                    <a:gd name="connsiteY33" fmla="*/ 1552575 h 4496940"/>
                    <a:gd name="connsiteX34" fmla="*/ 4402477 w 4519987"/>
                    <a:gd name="connsiteY34" fmla="*/ 1590675 h 4496940"/>
                    <a:gd name="connsiteX35" fmla="*/ 4431052 w 4519987"/>
                    <a:gd name="connsiteY35" fmla="*/ 1685925 h 4496940"/>
                    <a:gd name="connsiteX36" fmla="*/ 4519952 w 4519987"/>
                    <a:gd name="connsiteY36" fmla="*/ 2181225 h 4496940"/>
                    <a:gd name="connsiteX37" fmla="*/ 4446927 w 4519987"/>
                    <a:gd name="connsiteY37" fmla="*/ 2768600 h 4496940"/>
                    <a:gd name="connsiteX38" fmla="*/ 4383427 w 4519987"/>
                    <a:gd name="connsiteY38" fmla="*/ 2990850 h 4496940"/>
                    <a:gd name="connsiteX39" fmla="*/ 4278652 w 4519987"/>
                    <a:gd name="connsiteY39" fmla="*/ 3248025 h 4496940"/>
                    <a:gd name="connsiteX40" fmla="*/ 4259602 w 4519987"/>
                    <a:gd name="connsiteY40" fmla="*/ 3276600 h 4496940"/>
                    <a:gd name="connsiteX41" fmla="*/ 4221502 w 4519987"/>
                    <a:gd name="connsiteY41" fmla="*/ 3333750 h 4496940"/>
                    <a:gd name="connsiteX42" fmla="*/ 4211977 w 4519987"/>
                    <a:gd name="connsiteY42" fmla="*/ 3362325 h 4496940"/>
                    <a:gd name="connsiteX43" fmla="*/ 4183402 w 4519987"/>
                    <a:gd name="connsiteY43" fmla="*/ 3400425 h 4496940"/>
                    <a:gd name="connsiteX44" fmla="*/ 4164352 w 4519987"/>
                    <a:gd name="connsiteY44" fmla="*/ 3429000 h 4496940"/>
                    <a:gd name="connsiteX45" fmla="*/ 4088152 w 4519987"/>
                    <a:gd name="connsiteY45" fmla="*/ 3495675 h 4496940"/>
                    <a:gd name="connsiteX46" fmla="*/ 4059577 w 4519987"/>
                    <a:gd name="connsiteY46" fmla="*/ 3533775 h 4496940"/>
                    <a:gd name="connsiteX47" fmla="*/ 4002427 w 4519987"/>
                    <a:gd name="connsiteY47" fmla="*/ 3600450 h 4496940"/>
                    <a:gd name="connsiteX48" fmla="*/ 3983377 w 4519987"/>
                    <a:gd name="connsiteY48" fmla="*/ 3629025 h 4496940"/>
                    <a:gd name="connsiteX49" fmla="*/ 3954802 w 4519987"/>
                    <a:gd name="connsiteY49" fmla="*/ 3648075 h 4496940"/>
                    <a:gd name="connsiteX50" fmla="*/ 3907177 w 4519987"/>
                    <a:gd name="connsiteY50" fmla="*/ 3686175 h 4496940"/>
                    <a:gd name="connsiteX51" fmla="*/ 3869077 w 4519987"/>
                    <a:gd name="connsiteY51" fmla="*/ 3724275 h 4496940"/>
                    <a:gd name="connsiteX52" fmla="*/ 3792877 w 4519987"/>
                    <a:gd name="connsiteY52" fmla="*/ 3781425 h 4496940"/>
                    <a:gd name="connsiteX53" fmla="*/ 3783352 w 4519987"/>
                    <a:gd name="connsiteY53" fmla="*/ 3810000 h 4496940"/>
                    <a:gd name="connsiteX54" fmla="*/ 3745252 w 4519987"/>
                    <a:gd name="connsiteY54" fmla="*/ 3819525 h 4496940"/>
                    <a:gd name="connsiteX55" fmla="*/ 3678577 w 4519987"/>
                    <a:gd name="connsiteY55" fmla="*/ 3848100 h 4496940"/>
                    <a:gd name="connsiteX56" fmla="*/ 3659527 w 4519987"/>
                    <a:gd name="connsiteY56" fmla="*/ 3971925 h 4496940"/>
                    <a:gd name="connsiteX57" fmla="*/ 3630952 w 4519987"/>
                    <a:gd name="connsiteY57" fmla="*/ 4010025 h 4496940"/>
                    <a:gd name="connsiteX58" fmla="*/ 3621427 w 4519987"/>
                    <a:gd name="connsiteY58" fmla="*/ 4038600 h 4496940"/>
                    <a:gd name="connsiteX59" fmla="*/ 3554752 w 4519987"/>
                    <a:gd name="connsiteY59" fmla="*/ 4095750 h 4496940"/>
                    <a:gd name="connsiteX60" fmla="*/ 3516652 w 4519987"/>
                    <a:gd name="connsiteY60" fmla="*/ 4114800 h 4496940"/>
                    <a:gd name="connsiteX61" fmla="*/ 3497602 w 4519987"/>
                    <a:gd name="connsiteY61" fmla="*/ 4143375 h 4496940"/>
                    <a:gd name="connsiteX62" fmla="*/ 3383302 w 4519987"/>
                    <a:gd name="connsiteY62" fmla="*/ 4210050 h 4496940"/>
                    <a:gd name="connsiteX63" fmla="*/ 3335677 w 4519987"/>
                    <a:gd name="connsiteY63" fmla="*/ 4238625 h 4496940"/>
                    <a:gd name="connsiteX64" fmla="*/ 3288052 w 4519987"/>
                    <a:gd name="connsiteY64" fmla="*/ 4248150 h 4496940"/>
                    <a:gd name="connsiteX65" fmla="*/ 3240427 w 4519987"/>
                    <a:gd name="connsiteY65" fmla="*/ 4267200 h 4496940"/>
                    <a:gd name="connsiteX66" fmla="*/ 3068977 w 4519987"/>
                    <a:gd name="connsiteY66" fmla="*/ 4286250 h 4496940"/>
                    <a:gd name="connsiteX67" fmla="*/ 2935627 w 4519987"/>
                    <a:gd name="connsiteY67" fmla="*/ 4333875 h 4496940"/>
                    <a:gd name="connsiteX68" fmla="*/ 2811802 w 4519987"/>
                    <a:gd name="connsiteY68" fmla="*/ 4371975 h 4496940"/>
                    <a:gd name="connsiteX69" fmla="*/ 2745127 w 4519987"/>
                    <a:gd name="connsiteY69" fmla="*/ 4410075 h 4496940"/>
                    <a:gd name="connsiteX70" fmla="*/ 2697502 w 4519987"/>
                    <a:gd name="connsiteY70" fmla="*/ 4429125 h 4496940"/>
                    <a:gd name="connsiteX71" fmla="*/ 2640352 w 4519987"/>
                    <a:gd name="connsiteY71" fmla="*/ 4457700 h 4496940"/>
                    <a:gd name="connsiteX72" fmla="*/ 2583202 w 4519987"/>
                    <a:gd name="connsiteY72" fmla="*/ 4467225 h 4496940"/>
                    <a:gd name="connsiteX73" fmla="*/ 2545102 w 4519987"/>
                    <a:gd name="connsiteY73" fmla="*/ 4486275 h 4496940"/>
                    <a:gd name="connsiteX74" fmla="*/ 2306977 w 4519987"/>
                    <a:gd name="connsiteY74" fmla="*/ 4476750 h 4496940"/>
                    <a:gd name="connsiteX75" fmla="*/ 2202202 w 4519987"/>
                    <a:gd name="connsiteY75" fmla="*/ 4457700 h 4496940"/>
                    <a:gd name="connsiteX76" fmla="*/ 2126002 w 4519987"/>
                    <a:gd name="connsiteY76" fmla="*/ 4429125 h 4496940"/>
                    <a:gd name="connsiteX77" fmla="*/ 1935502 w 4519987"/>
                    <a:gd name="connsiteY77" fmla="*/ 4400550 h 4496940"/>
                    <a:gd name="connsiteX78" fmla="*/ 1821202 w 4519987"/>
                    <a:gd name="connsiteY78" fmla="*/ 4371975 h 4496940"/>
                    <a:gd name="connsiteX79" fmla="*/ 1754527 w 4519987"/>
                    <a:gd name="connsiteY79" fmla="*/ 4352925 h 4496940"/>
                    <a:gd name="connsiteX80" fmla="*/ 1687852 w 4519987"/>
                    <a:gd name="connsiteY80" fmla="*/ 4343400 h 4496940"/>
                    <a:gd name="connsiteX81" fmla="*/ 1573552 w 4519987"/>
                    <a:gd name="connsiteY81" fmla="*/ 4305300 h 4496940"/>
                    <a:gd name="connsiteX82" fmla="*/ 1402102 w 4519987"/>
                    <a:gd name="connsiteY82" fmla="*/ 4276725 h 4496940"/>
                    <a:gd name="connsiteX83" fmla="*/ 1287802 w 4519987"/>
                    <a:gd name="connsiteY83" fmla="*/ 4229100 h 4496940"/>
                    <a:gd name="connsiteX84" fmla="*/ 1221127 w 4519987"/>
                    <a:gd name="connsiteY84" fmla="*/ 4200525 h 4496940"/>
                    <a:gd name="connsiteX85" fmla="*/ 1144927 w 4519987"/>
                    <a:gd name="connsiteY85" fmla="*/ 4171950 h 4496940"/>
                    <a:gd name="connsiteX86" fmla="*/ 1087777 w 4519987"/>
                    <a:gd name="connsiteY86" fmla="*/ 4143375 h 4496940"/>
                    <a:gd name="connsiteX87" fmla="*/ 1030627 w 4519987"/>
                    <a:gd name="connsiteY87" fmla="*/ 4124325 h 4496940"/>
                    <a:gd name="connsiteX88" fmla="*/ 925852 w 4519987"/>
                    <a:gd name="connsiteY88" fmla="*/ 4067175 h 4496940"/>
                    <a:gd name="connsiteX89" fmla="*/ 830602 w 4519987"/>
                    <a:gd name="connsiteY89" fmla="*/ 3981450 h 4496940"/>
                    <a:gd name="connsiteX90" fmla="*/ 763927 w 4519987"/>
                    <a:gd name="connsiteY90" fmla="*/ 3914775 h 4496940"/>
                    <a:gd name="connsiteX91" fmla="*/ 725827 w 4519987"/>
                    <a:gd name="connsiteY91" fmla="*/ 3876675 h 4496940"/>
                    <a:gd name="connsiteX92" fmla="*/ 697252 w 4519987"/>
                    <a:gd name="connsiteY92" fmla="*/ 3838575 h 4496940"/>
                    <a:gd name="connsiteX93" fmla="*/ 640102 w 4519987"/>
                    <a:gd name="connsiteY93" fmla="*/ 3781425 h 4496940"/>
                    <a:gd name="connsiteX94" fmla="*/ 611527 w 4519987"/>
                    <a:gd name="connsiteY94" fmla="*/ 3733800 h 4496940"/>
                    <a:gd name="connsiteX95" fmla="*/ 554377 w 4519987"/>
                    <a:gd name="connsiteY95" fmla="*/ 3657600 h 4496940"/>
                    <a:gd name="connsiteX96" fmla="*/ 525802 w 4519987"/>
                    <a:gd name="connsiteY96" fmla="*/ 3609975 h 4496940"/>
                    <a:gd name="connsiteX97" fmla="*/ 497227 w 4519987"/>
                    <a:gd name="connsiteY97" fmla="*/ 3552825 h 4496940"/>
                    <a:gd name="connsiteX98" fmla="*/ 440077 w 4519987"/>
                    <a:gd name="connsiteY98" fmla="*/ 3495675 h 4496940"/>
                    <a:gd name="connsiteX99" fmla="*/ 411502 w 4519987"/>
                    <a:gd name="connsiteY99" fmla="*/ 3448050 h 4496940"/>
                    <a:gd name="connsiteX100" fmla="*/ 278152 w 4519987"/>
                    <a:gd name="connsiteY100" fmla="*/ 3257550 h 4496940"/>
                    <a:gd name="connsiteX101" fmla="*/ 249577 w 4519987"/>
                    <a:gd name="connsiteY101" fmla="*/ 3200400 h 4496940"/>
                    <a:gd name="connsiteX102" fmla="*/ 240052 w 4519987"/>
                    <a:gd name="connsiteY102" fmla="*/ 3162300 h 4496940"/>
                    <a:gd name="connsiteX103" fmla="*/ 221002 w 4519987"/>
                    <a:gd name="connsiteY103" fmla="*/ 3105150 h 4496940"/>
                    <a:gd name="connsiteX104" fmla="*/ 173377 w 4519987"/>
                    <a:gd name="connsiteY104" fmla="*/ 3019425 h 4496940"/>
                    <a:gd name="connsiteX105" fmla="*/ 144802 w 4519987"/>
                    <a:gd name="connsiteY105" fmla="*/ 2924175 h 4496940"/>
                    <a:gd name="connsiteX106" fmla="*/ 68602 w 4519987"/>
                    <a:gd name="connsiteY106" fmla="*/ 2724150 h 4496940"/>
                    <a:gd name="connsiteX107" fmla="*/ 49552 w 4519987"/>
                    <a:gd name="connsiteY107" fmla="*/ 2638425 h 4496940"/>
                    <a:gd name="connsiteX108" fmla="*/ 40027 w 4519987"/>
                    <a:gd name="connsiteY108" fmla="*/ 2562225 h 4496940"/>
                    <a:gd name="connsiteX109" fmla="*/ 30502 w 4519987"/>
                    <a:gd name="connsiteY109" fmla="*/ 2514600 h 4496940"/>
                    <a:gd name="connsiteX110" fmla="*/ 11452 w 4519987"/>
                    <a:gd name="connsiteY110" fmla="*/ 2400300 h 4496940"/>
                    <a:gd name="connsiteX111" fmla="*/ 20977 w 4519987"/>
                    <a:gd name="connsiteY111" fmla="*/ 1905000 h 4496940"/>
                    <a:gd name="connsiteX112" fmla="*/ 30502 w 4519987"/>
                    <a:gd name="connsiteY112" fmla="*/ 1838325 h 4496940"/>
                    <a:gd name="connsiteX113" fmla="*/ 49552 w 4519987"/>
                    <a:gd name="connsiteY113" fmla="*/ 1781175 h 4496940"/>
                    <a:gd name="connsiteX114" fmla="*/ 59077 w 4519987"/>
                    <a:gd name="connsiteY114" fmla="*/ 1743075 h 4496940"/>
                    <a:gd name="connsiteX115" fmla="*/ 78127 w 4519987"/>
                    <a:gd name="connsiteY115" fmla="*/ 1685925 h 4496940"/>
                    <a:gd name="connsiteX116" fmla="*/ 87652 w 4519987"/>
                    <a:gd name="connsiteY116" fmla="*/ 1638300 h 4496940"/>
                    <a:gd name="connsiteX117" fmla="*/ 106702 w 4519987"/>
                    <a:gd name="connsiteY117" fmla="*/ 1590675 h 4496940"/>
                    <a:gd name="connsiteX118" fmla="*/ 135277 w 4519987"/>
                    <a:gd name="connsiteY118" fmla="*/ 1504950 h 4496940"/>
                    <a:gd name="connsiteX119" fmla="*/ 154327 w 4519987"/>
                    <a:gd name="connsiteY119" fmla="*/ 1419225 h 4496940"/>
                    <a:gd name="connsiteX120" fmla="*/ 230527 w 4519987"/>
                    <a:gd name="connsiteY120" fmla="*/ 1276350 h 4496940"/>
                    <a:gd name="connsiteX121" fmla="*/ 240052 w 4519987"/>
                    <a:gd name="connsiteY121" fmla="*/ 1247775 h 4496940"/>
                    <a:gd name="connsiteX122" fmla="*/ 268627 w 4519987"/>
                    <a:gd name="connsiteY122" fmla="*/ 1200150 h 4496940"/>
                    <a:gd name="connsiteX123" fmla="*/ 287677 w 4519987"/>
                    <a:gd name="connsiteY123" fmla="*/ 1152525 h 4496940"/>
                    <a:gd name="connsiteX124" fmla="*/ 316252 w 4519987"/>
                    <a:gd name="connsiteY124" fmla="*/ 1114425 h 4496940"/>
                    <a:gd name="connsiteX125" fmla="*/ 363877 w 4519987"/>
                    <a:gd name="connsiteY125" fmla="*/ 1038225 h 4496940"/>
                    <a:gd name="connsiteX126" fmla="*/ 382927 w 4519987"/>
                    <a:gd name="connsiteY126" fmla="*/ 1009650 h 4496940"/>
                    <a:gd name="connsiteX127" fmla="*/ 440077 w 4519987"/>
                    <a:gd name="connsiteY127" fmla="*/ 904875 h 4496940"/>
                    <a:gd name="connsiteX128" fmla="*/ 478177 w 4519987"/>
                    <a:gd name="connsiteY128" fmla="*/ 857250 h 4496940"/>
                    <a:gd name="connsiteX129" fmla="*/ 497227 w 4519987"/>
                    <a:gd name="connsiteY129" fmla="*/ 828675 h 4496940"/>
                    <a:gd name="connsiteX130" fmla="*/ 535327 w 4519987"/>
                    <a:gd name="connsiteY130" fmla="*/ 800100 h 4496940"/>
                    <a:gd name="connsiteX131" fmla="*/ 602002 w 4519987"/>
                    <a:gd name="connsiteY131" fmla="*/ 733425 h 4496940"/>
                    <a:gd name="connsiteX132" fmla="*/ 668677 w 4519987"/>
                    <a:gd name="connsiteY132" fmla="*/ 676275 h 4496940"/>
                    <a:gd name="connsiteX133" fmla="*/ 697252 w 4519987"/>
                    <a:gd name="connsiteY133" fmla="*/ 657225 h 4496940"/>
                    <a:gd name="connsiteX134" fmla="*/ 840127 w 4519987"/>
                    <a:gd name="connsiteY134" fmla="*/ 533400 h 4496940"/>
                    <a:gd name="connsiteX135" fmla="*/ 887752 w 4519987"/>
                    <a:gd name="connsiteY135" fmla="*/ 504825 h 4496940"/>
                    <a:gd name="connsiteX136" fmla="*/ 1167152 w 4519987"/>
                    <a:gd name="connsiteY136" fmla="*/ 311150 h 4496940"/>
                    <a:gd name="connsiteX137" fmla="*/ 1268752 w 4519987"/>
                    <a:gd name="connsiteY137" fmla="*/ 285750 h 4496940"/>
                    <a:gd name="connsiteX138" fmla="*/ 1411627 w 4519987"/>
                    <a:gd name="connsiteY138" fmla="*/ 190500 h 4496940"/>
                    <a:gd name="connsiteX139" fmla="*/ 1449727 w 4519987"/>
                    <a:gd name="connsiteY139" fmla="*/ 161925 h 4496940"/>
                    <a:gd name="connsiteX140" fmla="*/ 1525927 w 4519987"/>
                    <a:gd name="connsiteY140" fmla="*/ 152400 h 4496940"/>
                    <a:gd name="connsiteX141" fmla="*/ 1583077 w 4519987"/>
                    <a:gd name="connsiteY141" fmla="*/ 142875 h 4496940"/>
                    <a:gd name="connsiteX142" fmla="*/ 1716427 w 4519987"/>
                    <a:gd name="connsiteY142" fmla="*/ 123825 h 4496940"/>
                    <a:gd name="connsiteX143" fmla="*/ 1811677 w 4519987"/>
                    <a:gd name="connsiteY143" fmla="*/ 114300 h 4496940"/>
                    <a:gd name="connsiteX144" fmla="*/ 1859302 w 4519987"/>
                    <a:gd name="connsiteY144" fmla="*/ 104775 h 4496940"/>
                    <a:gd name="connsiteX145" fmla="*/ 1916452 w 4519987"/>
                    <a:gd name="connsiteY145" fmla="*/ 95250 h 4496940"/>
                    <a:gd name="connsiteX146" fmla="*/ 2030752 w 4519987"/>
                    <a:gd name="connsiteY146" fmla="*/ 66675 h 4496940"/>
                    <a:gd name="connsiteX147" fmla="*/ 2097427 w 4519987"/>
                    <a:gd name="connsiteY147" fmla="*/ 47625 h 4496940"/>
                    <a:gd name="connsiteX148" fmla="*/ 2164102 w 4519987"/>
                    <a:gd name="connsiteY148" fmla="*/ 38100 h 4496940"/>
                    <a:gd name="connsiteX149" fmla="*/ 2392702 w 4519987"/>
                    <a:gd name="connsiteY14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78627 w 4519987"/>
                    <a:gd name="connsiteY21" fmla="*/ 838200 h 4496940"/>
                    <a:gd name="connsiteX22" fmla="*/ 4135777 w 4519987"/>
                    <a:gd name="connsiteY22" fmla="*/ 933450 h 4496940"/>
                    <a:gd name="connsiteX23" fmla="*/ 4164352 w 4519987"/>
                    <a:gd name="connsiteY23" fmla="*/ 990600 h 4496940"/>
                    <a:gd name="connsiteX24" fmla="*/ 4173877 w 4519987"/>
                    <a:gd name="connsiteY24" fmla="*/ 1019175 h 4496940"/>
                    <a:gd name="connsiteX25" fmla="*/ 4192927 w 4519987"/>
                    <a:gd name="connsiteY25" fmla="*/ 1057275 h 4496940"/>
                    <a:gd name="connsiteX26" fmla="*/ 4202452 w 4519987"/>
                    <a:gd name="connsiteY26" fmla="*/ 1085850 h 4496940"/>
                    <a:gd name="connsiteX27" fmla="*/ 4250077 w 4519987"/>
                    <a:gd name="connsiteY27" fmla="*/ 1143000 h 4496940"/>
                    <a:gd name="connsiteX28" fmla="*/ 4259602 w 4519987"/>
                    <a:gd name="connsiteY28" fmla="*/ 1190625 h 4496940"/>
                    <a:gd name="connsiteX29" fmla="*/ 4307227 w 4519987"/>
                    <a:gd name="connsiteY29" fmla="*/ 1266825 h 4496940"/>
                    <a:gd name="connsiteX30" fmla="*/ 4345327 w 4519987"/>
                    <a:gd name="connsiteY30" fmla="*/ 1362075 h 4496940"/>
                    <a:gd name="connsiteX31" fmla="*/ 4373902 w 4519987"/>
                    <a:gd name="connsiteY31" fmla="*/ 1428750 h 4496940"/>
                    <a:gd name="connsiteX32" fmla="*/ 4392952 w 4519987"/>
                    <a:gd name="connsiteY32" fmla="*/ 1552575 h 4496940"/>
                    <a:gd name="connsiteX33" fmla="*/ 4402477 w 4519987"/>
                    <a:gd name="connsiteY33" fmla="*/ 1590675 h 4496940"/>
                    <a:gd name="connsiteX34" fmla="*/ 4431052 w 4519987"/>
                    <a:gd name="connsiteY34" fmla="*/ 1685925 h 4496940"/>
                    <a:gd name="connsiteX35" fmla="*/ 4519952 w 4519987"/>
                    <a:gd name="connsiteY35" fmla="*/ 2181225 h 4496940"/>
                    <a:gd name="connsiteX36" fmla="*/ 4446927 w 4519987"/>
                    <a:gd name="connsiteY36" fmla="*/ 2768600 h 4496940"/>
                    <a:gd name="connsiteX37" fmla="*/ 4383427 w 4519987"/>
                    <a:gd name="connsiteY37" fmla="*/ 2990850 h 4496940"/>
                    <a:gd name="connsiteX38" fmla="*/ 4278652 w 4519987"/>
                    <a:gd name="connsiteY38" fmla="*/ 3248025 h 4496940"/>
                    <a:gd name="connsiteX39" fmla="*/ 4259602 w 4519987"/>
                    <a:gd name="connsiteY39" fmla="*/ 3276600 h 4496940"/>
                    <a:gd name="connsiteX40" fmla="*/ 4221502 w 4519987"/>
                    <a:gd name="connsiteY40" fmla="*/ 3333750 h 4496940"/>
                    <a:gd name="connsiteX41" fmla="*/ 4211977 w 4519987"/>
                    <a:gd name="connsiteY41" fmla="*/ 3362325 h 4496940"/>
                    <a:gd name="connsiteX42" fmla="*/ 4183402 w 4519987"/>
                    <a:gd name="connsiteY42" fmla="*/ 3400425 h 4496940"/>
                    <a:gd name="connsiteX43" fmla="*/ 4164352 w 4519987"/>
                    <a:gd name="connsiteY43" fmla="*/ 3429000 h 4496940"/>
                    <a:gd name="connsiteX44" fmla="*/ 4088152 w 4519987"/>
                    <a:gd name="connsiteY44" fmla="*/ 3495675 h 4496940"/>
                    <a:gd name="connsiteX45" fmla="*/ 4059577 w 4519987"/>
                    <a:gd name="connsiteY45" fmla="*/ 3533775 h 4496940"/>
                    <a:gd name="connsiteX46" fmla="*/ 4002427 w 4519987"/>
                    <a:gd name="connsiteY46" fmla="*/ 3600450 h 4496940"/>
                    <a:gd name="connsiteX47" fmla="*/ 3983377 w 4519987"/>
                    <a:gd name="connsiteY47" fmla="*/ 3629025 h 4496940"/>
                    <a:gd name="connsiteX48" fmla="*/ 3954802 w 4519987"/>
                    <a:gd name="connsiteY48" fmla="*/ 3648075 h 4496940"/>
                    <a:gd name="connsiteX49" fmla="*/ 3907177 w 4519987"/>
                    <a:gd name="connsiteY49" fmla="*/ 3686175 h 4496940"/>
                    <a:gd name="connsiteX50" fmla="*/ 3869077 w 4519987"/>
                    <a:gd name="connsiteY50" fmla="*/ 3724275 h 4496940"/>
                    <a:gd name="connsiteX51" fmla="*/ 3792877 w 4519987"/>
                    <a:gd name="connsiteY51" fmla="*/ 3781425 h 4496940"/>
                    <a:gd name="connsiteX52" fmla="*/ 3783352 w 4519987"/>
                    <a:gd name="connsiteY52" fmla="*/ 3810000 h 4496940"/>
                    <a:gd name="connsiteX53" fmla="*/ 3745252 w 4519987"/>
                    <a:gd name="connsiteY53" fmla="*/ 3819525 h 4496940"/>
                    <a:gd name="connsiteX54" fmla="*/ 3678577 w 4519987"/>
                    <a:gd name="connsiteY54" fmla="*/ 3848100 h 4496940"/>
                    <a:gd name="connsiteX55" fmla="*/ 3659527 w 4519987"/>
                    <a:gd name="connsiteY55" fmla="*/ 3971925 h 4496940"/>
                    <a:gd name="connsiteX56" fmla="*/ 3630952 w 4519987"/>
                    <a:gd name="connsiteY56" fmla="*/ 4010025 h 4496940"/>
                    <a:gd name="connsiteX57" fmla="*/ 3621427 w 4519987"/>
                    <a:gd name="connsiteY57" fmla="*/ 4038600 h 4496940"/>
                    <a:gd name="connsiteX58" fmla="*/ 3554752 w 4519987"/>
                    <a:gd name="connsiteY58" fmla="*/ 4095750 h 4496940"/>
                    <a:gd name="connsiteX59" fmla="*/ 3516652 w 4519987"/>
                    <a:gd name="connsiteY59" fmla="*/ 4114800 h 4496940"/>
                    <a:gd name="connsiteX60" fmla="*/ 3497602 w 4519987"/>
                    <a:gd name="connsiteY60" fmla="*/ 4143375 h 4496940"/>
                    <a:gd name="connsiteX61" fmla="*/ 3383302 w 4519987"/>
                    <a:gd name="connsiteY61" fmla="*/ 4210050 h 4496940"/>
                    <a:gd name="connsiteX62" fmla="*/ 3335677 w 4519987"/>
                    <a:gd name="connsiteY62" fmla="*/ 4238625 h 4496940"/>
                    <a:gd name="connsiteX63" fmla="*/ 3288052 w 4519987"/>
                    <a:gd name="connsiteY63" fmla="*/ 4248150 h 4496940"/>
                    <a:gd name="connsiteX64" fmla="*/ 3240427 w 4519987"/>
                    <a:gd name="connsiteY64" fmla="*/ 4267200 h 4496940"/>
                    <a:gd name="connsiteX65" fmla="*/ 3068977 w 4519987"/>
                    <a:gd name="connsiteY65" fmla="*/ 4286250 h 4496940"/>
                    <a:gd name="connsiteX66" fmla="*/ 2935627 w 4519987"/>
                    <a:gd name="connsiteY66" fmla="*/ 4333875 h 4496940"/>
                    <a:gd name="connsiteX67" fmla="*/ 2811802 w 4519987"/>
                    <a:gd name="connsiteY67" fmla="*/ 4371975 h 4496940"/>
                    <a:gd name="connsiteX68" fmla="*/ 2745127 w 4519987"/>
                    <a:gd name="connsiteY68" fmla="*/ 4410075 h 4496940"/>
                    <a:gd name="connsiteX69" fmla="*/ 2697502 w 4519987"/>
                    <a:gd name="connsiteY69" fmla="*/ 4429125 h 4496940"/>
                    <a:gd name="connsiteX70" fmla="*/ 2640352 w 4519987"/>
                    <a:gd name="connsiteY70" fmla="*/ 4457700 h 4496940"/>
                    <a:gd name="connsiteX71" fmla="*/ 2583202 w 4519987"/>
                    <a:gd name="connsiteY71" fmla="*/ 4467225 h 4496940"/>
                    <a:gd name="connsiteX72" fmla="*/ 2545102 w 4519987"/>
                    <a:gd name="connsiteY72" fmla="*/ 4486275 h 4496940"/>
                    <a:gd name="connsiteX73" fmla="*/ 2306977 w 4519987"/>
                    <a:gd name="connsiteY73" fmla="*/ 4476750 h 4496940"/>
                    <a:gd name="connsiteX74" fmla="*/ 2202202 w 4519987"/>
                    <a:gd name="connsiteY74" fmla="*/ 4457700 h 4496940"/>
                    <a:gd name="connsiteX75" fmla="*/ 2126002 w 4519987"/>
                    <a:gd name="connsiteY75" fmla="*/ 4429125 h 4496940"/>
                    <a:gd name="connsiteX76" fmla="*/ 1935502 w 4519987"/>
                    <a:gd name="connsiteY76" fmla="*/ 4400550 h 4496940"/>
                    <a:gd name="connsiteX77" fmla="*/ 1821202 w 4519987"/>
                    <a:gd name="connsiteY77" fmla="*/ 4371975 h 4496940"/>
                    <a:gd name="connsiteX78" fmla="*/ 1754527 w 4519987"/>
                    <a:gd name="connsiteY78" fmla="*/ 4352925 h 4496940"/>
                    <a:gd name="connsiteX79" fmla="*/ 1687852 w 4519987"/>
                    <a:gd name="connsiteY79" fmla="*/ 4343400 h 4496940"/>
                    <a:gd name="connsiteX80" fmla="*/ 1573552 w 4519987"/>
                    <a:gd name="connsiteY80" fmla="*/ 4305300 h 4496940"/>
                    <a:gd name="connsiteX81" fmla="*/ 1402102 w 4519987"/>
                    <a:gd name="connsiteY81" fmla="*/ 4276725 h 4496940"/>
                    <a:gd name="connsiteX82" fmla="*/ 1287802 w 4519987"/>
                    <a:gd name="connsiteY82" fmla="*/ 4229100 h 4496940"/>
                    <a:gd name="connsiteX83" fmla="*/ 1221127 w 4519987"/>
                    <a:gd name="connsiteY83" fmla="*/ 4200525 h 4496940"/>
                    <a:gd name="connsiteX84" fmla="*/ 1144927 w 4519987"/>
                    <a:gd name="connsiteY84" fmla="*/ 4171950 h 4496940"/>
                    <a:gd name="connsiteX85" fmla="*/ 1087777 w 4519987"/>
                    <a:gd name="connsiteY85" fmla="*/ 4143375 h 4496940"/>
                    <a:gd name="connsiteX86" fmla="*/ 1030627 w 4519987"/>
                    <a:gd name="connsiteY86" fmla="*/ 4124325 h 4496940"/>
                    <a:gd name="connsiteX87" fmla="*/ 925852 w 4519987"/>
                    <a:gd name="connsiteY87" fmla="*/ 4067175 h 4496940"/>
                    <a:gd name="connsiteX88" fmla="*/ 830602 w 4519987"/>
                    <a:gd name="connsiteY88" fmla="*/ 3981450 h 4496940"/>
                    <a:gd name="connsiteX89" fmla="*/ 763927 w 4519987"/>
                    <a:gd name="connsiteY89" fmla="*/ 3914775 h 4496940"/>
                    <a:gd name="connsiteX90" fmla="*/ 725827 w 4519987"/>
                    <a:gd name="connsiteY90" fmla="*/ 3876675 h 4496940"/>
                    <a:gd name="connsiteX91" fmla="*/ 697252 w 4519987"/>
                    <a:gd name="connsiteY91" fmla="*/ 3838575 h 4496940"/>
                    <a:gd name="connsiteX92" fmla="*/ 640102 w 4519987"/>
                    <a:gd name="connsiteY92" fmla="*/ 3781425 h 4496940"/>
                    <a:gd name="connsiteX93" fmla="*/ 611527 w 4519987"/>
                    <a:gd name="connsiteY93" fmla="*/ 3733800 h 4496940"/>
                    <a:gd name="connsiteX94" fmla="*/ 554377 w 4519987"/>
                    <a:gd name="connsiteY94" fmla="*/ 3657600 h 4496940"/>
                    <a:gd name="connsiteX95" fmla="*/ 525802 w 4519987"/>
                    <a:gd name="connsiteY95" fmla="*/ 3609975 h 4496940"/>
                    <a:gd name="connsiteX96" fmla="*/ 497227 w 4519987"/>
                    <a:gd name="connsiteY96" fmla="*/ 3552825 h 4496940"/>
                    <a:gd name="connsiteX97" fmla="*/ 440077 w 4519987"/>
                    <a:gd name="connsiteY97" fmla="*/ 3495675 h 4496940"/>
                    <a:gd name="connsiteX98" fmla="*/ 411502 w 4519987"/>
                    <a:gd name="connsiteY98" fmla="*/ 3448050 h 4496940"/>
                    <a:gd name="connsiteX99" fmla="*/ 278152 w 4519987"/>
                    <a:gd name="connsiteY99" fmla="*/ 3257550 h 4496940"/>
                    <a:gd name="connsiteX100" fmla="*/ 249577 w 4519987"/>
                    <a:gd name="connsiteY100" fmla="*/ 3200400 h 4496940"/>
                    <a:gd name="connsiteX101" fmla="*/ 240052 w 4519987"/>
                    <a:gd name="connsiteY101" fmla="*/ 3162300 h 4496940"/>
                    <a:gd name="connsiteX102" fmla="*/ 221002 w 4519987"/>
                    <a:gd name="connsiteY102" fmla="*/ 3105150 h 4496940"/>
                    <a:gd name="connsiteX103" fmla="*/ 173377 w 4519987"/>
                    <a:gd name="connsiteY103" fmla="*/ 3019425 h 4496940"/>
                    <a:gd name="connsiteX104" fmla="*/ 144802 w 4519987"/>
                    <a:gd name="connsiteY104" fmla="*/ 2924175 h 4496940"/>
                    <a:gd name="connsiteX105" fmla="*/ 68602 w 4519987"/>
                    <a:gd name="connsiteY105" fmla="*/ 2724150 h 4496940"/>
                    <a:gd name="connsiteX106" fmla="*/ 49552 w 4519987"/>
                    <a:gd name="connsiteY106" fmla="*/ 2638425 h 4496940"/>
                    <a:gd name="connsiteX107" fmla="*/ 40027 w 4519987"/>
                    <a:gd name="connsiteY107" fmla="*/ 2562225 h 4496940"/>
                    <a:gd name="connsiteX108" fmla="*/ 30502 w 4519987"/>
                    <a:gd name="connsiteY108" fmla="*/ 2514600 h 4496940"/>
                    <a:gd name="connsiteX109" fmla="*/ 11452 w 4519987"/>
                    <a:gd name="connsiteY109" fmla="*/ 2400300 h 4496940"/>
                    <a:gd name="connsiteX110" fmla="*/ 20977 w 4519987"/>
                    <a:gd name="connsiteY110" fmla="*/ 1905000 h 4496940"/>
                    <a:gd name="connsiteX111" fmla="*/ 30502 w 4519987"/>
                    <a:gd name="connsiteY111" fmla="*/ 1838325 h 4496940"/>
                    <a:gd name="connsiteX112" fmla="*/ 49552 w 4519987"/>
                    <a:gd name="connsiteY112" fmla="*/ 1781175 h 4496940"/>
                    <a:gd name="connsiteX113" fmla="*/ 59077 w 4519987"/>
                    <a:gd name="connsiteY113" fmla="*/ 1743075 h 4496940"/>
                    <a:gd name="connsiteX114" fmla="*/ 78127 w 4519987"/>
                    <a:gd name="connsiteY114" fmla="*/ 1685925 h 4496940"/>
                    <a:gd name="connsiteX115" fmla="*/ 87652 w 4519987"/>
                    <a:gd name="connsiteY115" fmla="*/ 1638300 h 4496940"/>
                    <a:gd name="connsiteX116" fmla="*/ 106702 w 4519987"/>
                    <a:gd name="connsiteY116" fmla="*/ 1590675 h 4496940"/>
                    <a:gd name="connsiteX117" fmla="*/ 135277 w 4519987"/>
                    <a:gd name="connsiteY117" fmla="*/ 1504950 h 4496940"/>
                    <a:gd name="connsiteX118" fmla="*/ 154327 w 4519987"/>
                    <a:gd name="connsiteY118" fmla="*/ 1419225 h 4496940"/>
                    <a:gd name="connsiteX119" fmla="*/ 230527 w 4519987"/>
                    <a:gd name="connsiteY119" fmla="*/ 1276350 h 4496940"/>
                    <a:gd name="connsiteX120" fmla="*/ 240052 w 4519987"/>
                    <a:gd name="connsiteY120" fmla="*/ 1247775 h 4496940"/>
                    <a:gd name="connsiteX121" fmla="*/ 268627 w 4519987"/>
                    <a:gd name="connsiteY121" fmla="*/ 1200150 h 4496940"/>
                    <a:gd name="connsiteX122" fmla="*/ 287677 w 4519987"/>
                    <a:gd name="connsiteY122" fmla="*/ 1152525 h 4496940"/>
                    <a:gd name="connsiteX123" fmla="*/ 316252 w 4519987"/>
                    <a:gd name="connsiteY123" fmla="*/ 1114425 h 4496940"/>
                    <a:gd name="connsiteX124" fmla="*/ 363877 w 4519987"/>
                    <a:gd name="connsiteY124" fmla="*/ 1038225 h 4496940"/>
                    <a:gd name="connsiteX125" fmla="*/ 382927 w 4519987"/>
                    <a:gd name="connsiteY125" fmla="*/ 1009650 h 4496940"/>
                    <a:gd name="connsiteX126" fmla="*/ 440077 w 4519987"/>
                    <a:gd name="connsiteY126" fmla="*/ 904875 h 4496940"/>
                    <a:gd name="connsiteX127" fmla="*/ 478177 w 4519987"/>
                    <a:gd name="connsiteY127" fmla="*/ 857250 h 4496940"/>
                    <a:gd name="connsiteX128" fmla="*/ 497227 w 4519987"/>
                    <a:gd name="connsiteY128" fmla="*/ 828675 h 4496940"/>
                    <a:gd name="connsiteX129" fmla="*/ 535327 w 4519987"/>
                    <a:gd name="connsiteY129" fmla="*/ 800100 h 4496940"/>
                    <a:gd name="connsiteX130" fmla="*/ 602002 w 4519987"/>
                    <a:gd name="connsiteY130" fmla="*/ 733425 h 4496940"/>
                    <a:gd name="connsiteX131" fmla="*/ 668677 w 4519987"/>
                    <a:gd name="connsiteY131" fmla="*/ 676275 h 4496940"/>
                    <a:gd name="connsiteX132" fmla="*/ 697252 w 4519987"/>
                    <a:gd name="connsiteY132" fmla="*/ 657225 h 4496940"/>
                    <a:gd name="connsiteX133" fmla="*/ 840127 w 4519987"/>
                    <a:gd name="connsiteY133" fmla="*/ 533400 h 4496940"/>
                    <a:gd name="connsiteX134" fmla="*/ 887752 w 4519987"/>
                    <a:gd name="connsiteY134" fmla="*/ 504825 h 4496940"/>
                    <a:gd name="connsiteX135" fmla="*/ 1167152 w 4519987"/>
                    <a:gd name="connsiteY135" fmla="*/ 311150 h 4496940"/>
                    <a:gd name="connsiteX136" fmla="*/ 1268752 w 4519987"/>
                    <a:gd name="connsiteY136" fmla="*/ 285750 h 4496940"/>
                    <a:gd name="connsiteX137" fmla="*/ 1411627 w 4519987"/>
                    <a:gd name="connsiteY137" fmla="*/ 190500 h 4496940"/>
                    <a:gd name="connsiteX138" fmla="*/ 1449727 w 4519987"/>
                    <a:gd name="connsiteY138" fmla="*/ 161925 h 4496940"/>
                    <a:gd name="connsiteX139" fmla="*/ 1525927 w 4519987"/>
                    <a:gd name="connsiteY139" fmla="*/ 152400 h 4496940"/>
                    <a:gd name="connsiteX140" fmla="*/ 1583077 w 4519987"/>
                    <a:gd name="connsiteY140" fmla="*/ 142875 h 4496940"/>
                    <a:gd name="connsiteX141" fmla="*/ 1716427 w 4519987"/>
                    <a:gd name="connsiteY141" fmla="*/ 123825 h 4496940"/>
                    <a:gd name="connsiteX142" fmla="*/ 1811677 w 4519987"/>
                    <a:gd name="connsiteY142" fmla="*/ 114300 h 4496940"/>
                    <a:gd name="connsiteX143" fmla="*/ 1859302 w 4519987"/>
                    <a:gd name="connsiteY143" fmla="*/ 104775 h 4496940"/>
                    <a:gd name="connsiteX144" fmla="*/ 1916452 w 4519987"/>
                    <a:gd name="connsiteY144" fmla="*/ 95250 h 4496940"/>
                    <a:gd name="connsiteX145" fmla="*/ 2030752 w 4519987"/>
                    <a:gd name="connsiteY145" fmla="*/ 66675 h 4496940"/>
                    <a:gd name="connsiteX146" fmla="*/ 2097427 w 4519987"/>
                    <a:gd name="connsiteY146" fmla="*/ 47625 h 4496940"/>
                    <a:gd name="connsiteX147" fmla="*/ 2164102 w 4519987"/>
                    <a:gd name="connsiteY147" fmla="*/ 38100 h 4496940"/>
                    <a:gd name="connsiteX148" fmla="*/ 2392702 w 4519987"/>
                    <a:gd name="connsiteY14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135777 w 4519987"/>
                    <a:gd name="connsiteY21" fmla="*/ 9334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02452 w 4519987"/>
                    <a:gd name="connsiteY24" fmla="*/ 1085850 h 4496940"/>
                    <a:gd name="connsiteX25" fmla="*/ 4250077 w 4519987"/>
                    <a:gd name="connsiteY25" fmla="*/ 1143000 h 4496940"/>
                    <a:gd name="connsiteX26" fmla="*/ 4259602 w 4519987"/>
                    <a:gd name="connsiteY26" fmla="*/ 1190625 h 4496940"/>
                    <a:gd name="connsiteX27" fmla="*/ 4307227 w 4519987"/>
                    <a:gd name="connsiteY27" fmla="*/ 1266825 h 4496940"/>
                    <a:gd name="connsiteX28" fmla="*/ 4345327 w 4519987"/>
                    <a:gd name="connsiteY28" fmla="*/ 1362075 h 4496940"/>
                    <a:gd name="connsiteX29" fmla="*/ 4373902 w 4519987"/>
                    <a:gd name="connsiteY29" fmla="*/ 1428750 h 4496940"/>
                    <a:gd name="connsiteX30" fmla="*/ 4392952 w 4519987"/>
                    <a:gd name="connsiteY30" fmla="*/ 1552575 h 4496940"/>
                    <a:gd name="connsiteX31" fmla="*/ 4402477 w 4519987"/>
                    <a:gd name="connsiteY31" fmla="*/ 1590675 h 4496940"/>
                    <a:gd name="connsiteX32" fmla="*/ 4431052 w 4519987"/>
                    <a:gd name="connsiteY32" fmla="*/ 1685925 h 4496940"/>
                    <a:gd name="connsiteX33" fmla="*/ 4519952 w 4519987"/>
                    <a:gd name="connsiteY33" fmla="*/ 2181225 h 4496940"/>
                    <a:gd name="connsiteX34" fmla="*/ 4446927 w 4519987"/>
                    <a:gd name="connsiteY34" fmla="*/ 2768600 h 4496940"/>
                    <a:gd name="connsiteX35" fmla="*/ 4383427 w 4519987"/>
                    <a:gd name="connsiteY35" fmla="*/ 2990850 h 4496940"/>
                    <a:gd name="connsiteX36" fmla="*/ 4278652 w 4519987"/>
                    <a:gd name="connsiteY36" fmla="*/ 3248025 h 4496940"/>
                    <a:gd name="connsiteX37" fmla="*/ 4259602 w 4519987"/>
                    <a:gd name="connsiteY37" fmla="*/ 3276600 h 4496940"/>
                    <a:gd name="connsiteX38" fmla="*/ 4221502 w 4519987"/>
                    <a:gd name="connsiteY38" fmla="*/ 3333750 h 4496940"/>
                    <a:gd name="connsiteX39" fmla="*/ 4211977 w 4519987"/>
                    <a:gd name="connsiteY39" fmla="*/ 3362325 h 4496940"/>
                    <a:gd name="connsiteX40" fmla="*/ 4183402 w 4519987"/>
                    <a:gd name="connsiteY40" fmla="*/ 3400425 h 4496940"/>
                    <a:gd name="connsiteX41" fmla="*/ 4164352 w 4519987"/>
                    <a:gd name="connsiteY41" fmla="*/ 3429000 h 4496940"/>
                    <a:gd name="connsiteX42" fmla="*/ 4088152 w 4519987"/>
                    <a:gd name="connsiteY42" fmla="*/ 3495675 h 4496940"/>
                    <a:gd name="connsiteX43" fmla="*/ 4059577 w 4519987"/>
                    <a:gd name="connsiteY43" fmla="*/ 3533775 h 4496940"/>
                    <a:gd name="connsiteX44" fmla="*/ 4002427 w 4519987"/>
                    <a:gd name="connsiteY44" fmla="*/ 3600450 h 4496940"/>
                    <a:gd name="connsiteX45" fmla="*/ 3983377 w 4519987"/>
                    <a:gd name="connsiteY45" fmla="*/ 3629025 h 4496940"/>
                    <a:gd name="connsiteX46" fmla="*/ 3954802 w 4519987"/>
                    <a:gd name="connsiteY46" fmla="*/ 3648075 h 4496940"/>
                    <a:gd name="connsiteX47" fmla="*/ 3907177 w 4519987"/>
                    <a:gd name="connsiteY47" fmla="*/ 3686175 h 4496940"/>
                    <a:gd name="connsiteX48" fmla="*/ 3869077 w 4519987"/>
                    <a:gd name="connsiteY48" fmla="*/ 3724275 h 4496940"/>
                    <a:gd name="connsiteX49" fmla="*/ 3792877 w 4519987"/>
                    <a:gd name="connsiteY49" fmla="*/ 3781425 h 4496940"/>
                    <a:gd name="connsiteX50" fmla="*/ 3783352 w 4519987"/>
                    <a:gd name="connsiteY50" fmla="*/ 3810000 h 4496940"/>
                    <a:gd name="connsiteX51" fmla="*/ 3745252 w 4519987"/>
                    <a:gd name="connsiteY51" fmla="*/ 3819525 h 4496940"/>
                    <a:gd name="connsiteX52" fmla="*/ 3678577 w 4519987"/>
                    <a:gd name="connsiteY52" fmla="*/ 3848100 h 4496940"/>
                    <a:gd name="connsiteX53" fmla="*/ 3659527 w 4519987"/>
                    <a:gd name="connsiteY53" fmla="*/ 3971925 h 4496940"/>
                    <a:gd name="connsiteX54" fmla="*/ 3630952 w 4519987"/>
                    <a:gd name="connsiteY54" fmla="*/ 4010025 h 4496940"/>
                    <a:gd name="connsiteX55" fmla="*/ 3621427 w 4519987"/>
                    <a:gd name="connsiteY55" fmla="*/ 4038600 h 4496940"/>
                    <a:gd name="connsiteX56" fmla="*/ 3554752 w 4519987"/>
                    <a:gd name="connsiteY56" fmla="*/ 4095750 h 4496940"/>
                    <a:gd name="connsiteX57" fmla="*/ 3516652 w 4519987"/>
                    <a:gd name="connsiteY57" fmla="*/ 4114800 h 4496940"/>
                    <a:gd name="connsiteX58" fmla="*/ 3497602 w 4519987"/>
                    <a:gd name="connsiteY58" fmla="*/ 4143375 h 4496940"/>
                    <a:gd name="connsiteX59" fmla="*/ 3383302 w 4519987"/>
                    <a:gd name="connsiteY59" fmla="*/ 4210050 h 4496940"/>
                    <a:gd name="connsiteX60" fmla="*/ 3335677 w 4519987"/>
                    <a:gd name="connsiteY60" fmla="*/ 4238625 h 4496940"/>
                    <a:gd name="connsiteX61" fmla="*/ 3288052 w 4519987"/>
                    <a:gd name="connsiteY61" fmla="*/ 4248150 h 4496940"/>
                    <a:gd name="connsiteX62" fmla="*/ 3240427 w 4519987"/>
                    <a:gd name="connsiteY62" fmla="*/ 4267200 h 4496940"/>
                    <a:gd name="connsiteX63" fmla="*/ 3068977 w 4519987"/>
                    <a:gd name="connsiteY63" fmla="*/ 4286250 h 4496940"/>
                    <a:gd name="connsiteX64" fmla="*/ 2935627 w 4519987"/>
                    <a:gd name="connsiteY64" fmla="*/ 4333875 h 4496940"/>
                    <a:gd name="connsiteX65" fmla="*/ 2811802 w 4519987"/>
                    <a:gd name="connsiteY65" fmla="*/ 4371975 h 4496940"/>
                    <a:gd name="connsiteX66" fmla="*/ 2745127 w 4519987"/>
                    <a:gd name="connsiteY66" fmla="*/ 4410075 h 4496940"/>
                    <a:gd name="connsiteX67" fmla="*/ 2697502 w 4519987"/>
                    <a:gd name="connsiteY67" fmla="*/ 4429125 h 4496940"/>
                    <a:gd name="connsiteX68" fmla="*/ 2640352 w 4519987"/>
                    <a:gd name="connsiteY68" fmla="*/ 4457700 h 4496940"/>
                    <a:gd name="connsiteX69" fmla="*/ 2583202 w 4519987"/>
                    <a:gd name="connsiteY69" fmla="*/ 4467225 h 4496940"/>
                    <a:gd name="connsiteX70" fmla="*/ 2545102 w 4519987"/>
                    <a:gd name="connsiteY70" fmla="*/ 4486275 h 4496940"/>
                    <a:gd name="connsiteX71" fmla="*/ 2306977 w 4519987"/>
                    <a:gd name="connsiteY71" fmla="*/ 4476750 h 4496940"/>
                    <a:gd name="connsiteX72" fmla="*/ 2202202 w 4519987"/>
                    <a:gd name="connsiteY72" fmla="*/ 4457700 h 4496940"/>
                    <a:gd name="connsiteX73" fmla="*/ 2126002 w 4519987"/>
                    <a:gd name="connsiteY73" fmla="*/ 4429125 h 4496940"/>
                    <a:gd name="connsiteX74" fmla="*/ 1935502 w 4519987"/>
                    <a:gd name="connsiteY74" fmla="*/ 4400550 h 4496940"/>
                    <a:gd name="connsiteX75" fmla="*/ 1821202 w 4519987"/>
                    <a:gd name="connsiteY75" fmla="*/ 4371975 h 4496940"/>
                    <a:gd name="connsiteX76" fmla="*/ 1754527 w 4519987"/>
                    <a:gd name="connsiteY76" fmla="*/ 4352925 h 4496940"/>
                    <a:gd name="connsiteX77" fmla="*/ 1687852 w 4519987"/>
                    <a:gd name="connsiteY77" fmla="*/ 4343400 h 4496940"/>
                    <a:gd name="connsiteX78" fmla="*/ 1573552 w 4519987"/>
                    <a:gd name="connsiteY78" fmla="*/ 4305300 h 4496940"/>
                    <a:gd name="connsiteX79" fmla="*/ 1402102 w 4519987"/>
                    <a:gd name="connsiteY79" fmla="*/ 4276725 h 4496940"/>
                    <a:gd name="connsiteX80" fmla="*/ 1287802 w 4519987"/>
                    <a:gd name="connsiteY80" fmla="*/ 4229100 h 4496940"/>
                    <a:gd name="connsiteX81" fmla="*/ 1221127 w 4519987"/>
                    <a:gd name="connsiteY81" fmla="*/ 4200525 h 4496940"/>
                    <a:gd name="connsiteX82" fmla="*/ 1144927 w 4519987"/>
                    <a:gd name="connsiteY82" fmla="*/ 4171950 h 4496940"/>
                    <a:gd name="connsiteX83" fmla="*/ 1087777 w 4519987"/>
                    <a:gd name="connsiteY83" fmla="*/ 4143375 h 4496940"/>
                    <a:gd name="connsiteX84" fmla="*/ 1030627 w 4519987"/>
                    <a:gd name="connsiteY84" fmla="*/ 4124325 h 4496940"/>
                    <a:gd name="connsiteX85" fmla="*/ 925852 w 4519987"/>
                    <a:gd name="connsiteY85" fmla="*/ 4067175 h 4496940"/>
                    <a:gd name="connsiteX86" fmla="*/ 830602 w 4519987"/>
                    <a:gd name="connsiteY86" fmla="*/ 3981450 h 4496940"/>
                    <a:gd name="connsiteX87" fmla="*/ 763927 w 4519987"/>
                    <a:gd name="connsiteY87" fmla="*/ 3914775 h 4496940"/>
                    <a:gd name="connsiteX88" fmla="*/ 725827 w 4519987"/>
                    <a:gd name="connsiteY88" fmla="*/ 3876675 h 4496940"/>
                    <a:gd name="connsiteX89" fmla="*/ 697252 w 4519987"/>
                    <a:gd name="connsiteY89" fmla="*/ 3838575 h 4496940"/>
                    <a:gd name="connsiteX90" fmla="*/ 640102 w 4519987"/>
                    <a:gd name="connsiteY90" fmla="*/ 3781425 h 4496940"/>
                    <a:gd name="connsiteX91" fmla="*/ 611527 w 4519987"/>
                    <a:gd name="connsiteY91" fmla="*/ 3733800 h 4496940"/>
                    <a:gd name="connsiteX92" fmla="*/ 554377 w 4519987"/>
                    <a:gd name="connsiteY92" fmla="*/ 3657600 h 4496940"/>
                    <a:gd name="connsiteX93" fmla="*/ 525802 w 4519987"/>
                    <a:gd name="connsiteY93" fmla="*/ 3609975 h 4496940"/>
                    <a:gd name="connsiteX94" fmla="*/ 497227 w 4519987"/>
                    <a:gd name="connsiteY94" fmla="*/ 3552825 h 4496940"/>
                    <a:gd name="connsiteX95" fmla="*/ 440077 w 4519987"/>
                    <a:gd name="connsiteY95" fmla="*/ 3495675 h 4496940"/>
                    <a:gd name="connsiteX96" fmla="*/ 411502 w 4519987"/>
                    <a:gd name="connsiteY96" fmla="*/ 3448050 h 4496940"/>
                    <a:gd name="connsiteX97" fmla="*/ 278152 w 4519987"/>
                    <a:gd name="connsiteY97" fmla="*/ 3257550 h 4496940"/>
                    <a:gd name="connsiteX98" fmla="*/ 249577 w 4519987"/>
                    <a:gd name="connsiteY98" fmla="*/ 3200400 h 4496940"/>
                    <a:gd name="connsiteX99" fmla="*/ 240052 w 4519987"/>
                    <a:gd name="connsiteY99" fmla="*/ 3162300 h 4496940"/>
                    <a:gd name="connsiteX100" fmla="*/ 221002 w 4519987"/>
                    <a:gd name="connsiteY100" fmla="*/ 3105150 h 4496940"/>
                    <a:gd name="connsiteX101" fmla="*/ 173377 w 4519987"/>
                    <a:gd name="connsiteY101" fmla="*/ 3019425 h 4496940"/>
                    <a:gd name="connsiteX102" fmla="*/ 144802 w 4519987"/>
                    <a:gd name="connsiteY102" fmla="*/ 2924175 h 4496940"/>
                    <a:gd name="connsiteX103" fmla="*/ 68602 w 4519987"/>
                    <a:gd name="connsiteY103" fmla="*/ 2724150 h 4496940"/>
                    <a:gd name="connsiteX104" fmla="*/ 49552 w 4519987"/>
                    <a:gd name="connsiteY104" fmla="*/ 2638425 h 4496940"/>
                    <a:gd name="connsiteX105" fmla="*/ 40027 w 4519987"/>
                    <a:gd name="connsiteY105" fmla="*/ 2562225 h 4496940"/>
                    <a:gd name="connsiteX106" fmla="*/ 30502 w 4519987"/>
                    <a:gd name="connsiteY106" fmla="*/ 2514600 h 4496940"/>
                    <a:gd name="connsiteX107" fmla="*/ 11452 w 4519987"/>
                    <a:gd name="connsiteY107" fmla="*/ 2400300 h 4496940"/>
                    <a:gd name="connsiteX108" fmla="*/ 20977 w 4519987"/>
                    <a:gd name="connsiteY108" fmla="*/ 1905000 h 4496940"/>
                    <a:gd name="connsiteX109" fmla="*/ 30502 w 4519987"/>
                    <a:gd name="connsiteY109" fmla="*/ 1838325 h 4496940"/>
                    <a:gd name="connsiteX110" fmla="*/ 49552 w 4519987"/>
                    <a:gd name="connsiteY110" fmla="*/ 1781175 h 4496940"/>
                    <a:gd name="connsiteX111" fmla="*/ 59077 w 4519987"/>
                    <a:gd name="connsiteY111" fmla="*/ 1743075 h 4496940"/>
                    <a:gd name="connsiteX112" fmla="*/ 78127 w 4519987"/>
                    <a:gd name="connsiteY112" fmla="*/ 1685925 h 4496940"/>
                    <a:gd name="connsiteX113" fmla="*/ 87652 w 4519987"/>
                    <a:gd name="connsiteY113" fmla="*/ 1638300 h 4496940"/>
                    <a:gd name="connsiteX114" fmla="*/ 106702 w 4519987"/>
                    <a:gd name="connsiteY114" fmla="*/ 1590675 h 4496940"/>
                    <a:gd name="connsiteX115" fmla="*/ 135277 w 4519987"/>
                    <a:gd name="connsiteY115" fmla="*/ 1504950 h 4496940"/>
                    <a:gd name="connsiteX116" fmla="*/ 154327 w 4519987"/>
                    <a:gd name="connsiteY116" fmla="*/ 1419225 h 4496940"/>
                    <a:gd name="connsiteX117" fmla="*/ 230527 w 4519987"/>
                    <a:gd name="connsiteY117" fmla="*/ 1276350 h 4496940"/>
                    <a:gd name="connsiteX118" fmla="*/ 240052 w 4519987"/>
                    <a:gd name="connsiteY118" fmla="*/ 1247775 h 4496940"/>
                    <a:gd name="connsiteX119" fmla="*/ 268627 w 4519987"/>
                    <a:gd name="connsiteY119" fmla="*/ 1200150 h 4496940"/>
                    <a:gd name="connsiteX120" fmla="*/ 287677 w 4519987"/>
                    <a:gd name="connsiteY120" fmla="*/ 1152525 h 4496940"/>
                    <a:gd name="connsiteX121" fmla="*/ 316252 w 4519987"/>
                    <a:gd name="connsiteY121" fmla="*/ 1114425 h 4496940"/>
                    <a:gd name="connsiteX122" fmla="*/ 363877 w 4519987"/>
                    <a:gd name="connsiteY122" fmla="*/ 1038225 h 4496940"/>
                    <a:gd name="connsiteX123" fmla="*/ 382927 w 4519987"/>
                    <a:gd name="connsiteY123" fmla="*/ 1009650 h 4496940"/>
                    <a:gd name="connsiteX124" fmla="*/ 440077 w 4519987"/>
                    <a:gd name="connsiteY124" fmla="*/ 904875 h 4496940"/>
                    <a:gd name="connsiteX125" fmla="*/ 478177 w 4519987"/>
                    <a:gd name="connsiteY125" fmla="*/ 857250 h 4496940"/>
                    <a:gd name="connsiteX126" fmla="*/ 497227 w 4519987"/>
                    <a:gd name="connsiteY126" fmla="*/ 828675 h 4496940"/>
                    <a:gd name="connsiteX127" fmla="*/ 535327 w 4519987"/>
                    <a:gd name="connsiteY127" fmla="*/ 800100 h 4496940"/>
                    <a:gd name="connsiteX128" fmla="*/ 602002 w 4519987"/>
                    <a:gd name="connsiteY128" fmla="*/ 733425 h 4496940"/>
                    <a:gd name="connsiteX129" fmla="*/ 668677 w 4519987"/>
                    <a:gd name="connsiteY129" fmla="*/ 676275 h 4496940"/>
                    <a:gd name="connsiteX130" fmla="*/ 697252 w 4519987"/>
                    <a:gd name="connsiteY130" fmla="*/ 657225 h 4496940"/>
                    <a:gd name="connsiteX131" fmla="*/ 840127 w 4519987"/>
                    <a:gd name="connsiteY131" fmla="*/ 533400 h 4496940"/>
                    <a:gd name="connsiteX132" fmla="*/ 887752 w 4519987"/>
                    <a:gd name="connsiteY132" fmla="*/ 504825 h 4496940"/>
                    <a:gd name="connsiteX133" fmla="*/ 1167152 w 4519987"/>
                    <a:gd name="connsiteY133" fmla="*/ 311150 h 4496940"/>
                    <a:gd name="connsiteX134" fmla="*/ 1268752 w 4519987"/>
                    <a:gd name="connsiteY134" fmla="*/ 285750 h 4496940"/>
                    <a:gd name="connsiteX135" fmla="*/ 1411627 w 4519987"/>
                    <a:gd name="connsiteY135" fmla="*/ 190500 h 4496940"/>
                    <a:gd name="connsiteX136" fmla="*/ 1449727 w 4519987"/>
                    <a:gd name="connsiteY136" fmla="*/ 161925 h 4496940"/>
                    <a:gd name="connsiteX137" fmla="*/ 1525927 w 4519987"/>
                    <a:gd name="connsiteY137" fmla="*/ 152400 h 4496940"/>
                    <a:gd name="connsiteX138" fmla="*/ 1583077 w 4519987"/>
                    <a:gd name="connsiteY138" fmla="*/ 142875 h 4496940"/>
                    <a:gd name="connsiteX139" fmla="*/ 1716427 w 4519987"/>
                    <a:gd name="connsiteY139" fmla="*/ 123825 h 4496940"/>
                    <a:gd name="connsiteX140" fmla="*/ 1811677 w 4519987"/>
                    <a:gd name="connsiteY140" fmla="*/ 114300 h 4496940"/>
                    <a:gd name="connsiteX141" fmla="*/ 1859302 w 4519987"/>
                    <a:gd name="connsiteY141" fmla="*/ 104775 h 4496940"/>
                    <a:gd name="connsiteX142" fmla="*/ 1916452 w 4519987"/>
                    <a:gd name="connsiteY142" fmla="*/ 95250 h 4496940"/>
                    <a:gd name="connsiteX143" fmla="*/ 2030752 w 4519987"/>
                    <a:gd name="connsiteY143" fmla="*/ 66675 h 4496940"/>
                    <a:gd name="connsiteX144" fmla="*/ 2097427 w 4519987"/>
                    <a:gd name="connsiteY144" fmla="*/ 47625 h 4496940"/>
                    <a:gd name="connsiteX145" fmla="*/ 2164102 w 4519987"/>
                    <a:gd name="connsiteY145" fmla="*/ 38100 h 4496940"/>
                    <a:gd name="connsiteX146" fmla="*/ 2392702 w 4519987"/>
                    <a:gd name="connsiteY14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50077 w 4519987"/>
                    <a:gd name="connsiteY24" fmla="*/ 1143000 h 4496940"/>
                    <a:gd name="connsiteX25" fmla="*/ 4259602 w 4519987"/>
                    <a:gd name="connsiteY25" fmla="*/ 1190625 h 4496940"/>
                    <a:gd name="connsiteX26" fmla="*/ 4307227 w 4519987"/>
                    <a:gd name="connsiteY26" fmla="*/ 1266825 h 4496940"/>
                    <a:gd name="connsiteX27" fmla="*/ 4345327 w 4519987"/>
                    <a:gd name="connsiteY27" fmla="*/ 1362075 h 4496940"/>
                    <a:gd name="connsiteX28" fmla="*/ 4373902 w 4519987"/>
                    <a:gd name="connsiteY28" fmla="*/ 1428750 h 4496940"/>
                    <a:gd name="connsiteX29" fmla="*/ 4392952 w 4519987"/>
                    <a:gd name="connsiteY29" fmla="*/ 1552575 h 4496940"/>
                    <a:gd name="connsiteX30" fmla="*/ 4402477 w 4519987"/>
                    <a:gd name="connsiteY30" fmla="*/ 1590675 h 4496940"/>
                    <a:gd name="connsiteX31" fmla="*/ 4431052 w 4519987"/>
                    <a:gd name="connsiteY31" fmla="*/ 1685925 h 4496940"/>
                    <a:gd name="connsiteX32" fmla="*/ 4519952 w 4519987"/>
                    <a:gd name="connsiteY32" fmla="*/ 2181225 h 4496940"/>
                    <a:gd name="connsiteX33" fmla="*/ 4446927 w 4519987"/>
                    <a:gd name="connsiteY33" fmla="*/ 2768600 h 4496940"/>
                    <a:gd name="connsiteX34" fmla="*/ 4383427 w 4519987"/>
                    <a:gd name="connsiteY34" fmla="*/ 2990850 h 4496940"/>
                    <a:gd name="connsiteX35" fmla="*/ 4278652 w 4519987"/>
                    <a:gd name="connsiteY35" fmla="*/ 3248025 h 4496940"/>
                    <a:gd name="connsiteX36" fmla="*/ 4259602 w 4519987"/>
                    <a:gd name="connsiteY36" fmla="*/ 3276600 h 4496940"/>
                    <a:gd name="connsiteX37" fmla="*/ 4221502 w 4519987"/>
                    <a:gd name="connsiteY37" fmla="*/ 3333750 h 4496940"/>
                    <a:gd name="connsiteX38" fmla="*/ 4211977 w 4519987"/>
                    <a:gd name="connsiteY38" fmla="*/ 3362325 h 4496940"/>
                    <a:gd name="connsiteX39" fmla="*/ 4183402 w 4519987"/>
                    <a:gd name="connsiteY39" fmla="*/ 3400425 h 4496940"/>
                    <a:gd name="connsiteX40" fmla="*/ 4164352 w 4519987"/>
                    <a:gd name="connsiteY40" fmla="*/ 3429000 h 4496940"/>
                    <a:gd name="connsiteX41" fmla="*/ 4088152 w 4519987"/>
                    <a:gd name="connsiteY41" fmla="*/ 3495675 h 4496940"/>
                    <a:gd name="connsiteX42" fmla="*/ 4059577 w 4519987"/>
                    <a:gd name="connsiteY42" fmla="*/ 3533775 h 4496940"/>
                    <a:gd name="connsiteX43" fmla="*/ 4002427 w 4519987"/>
                    <a:gd name="connsiteY43" fmla="*/ 3600450 h 4496940"/>
                    <a:gd name="connsiteX44" fmla="*/ 3983377 w 4519987"/>
                    <a:gd name="connsiteY44" fmla="*/ 3629025 h 4496940"/>
                    <a:gd name="connsiteX45" fmla="*/ 3954802 w 4519987"/>
                    <a:gd name="connsiteY45" fmla="*/ 3648075 h 4496940"/>
                    <a:gd name="connsiteX46" fmla="*/ 3907177 w 4519987"/>
                    <a:gd name="connsiteY46" fmla="*/ 3686175 h 4496940"/>
                    <a:gd name="connsiteX47" fmla="*/ 3869077 w 4519987"/>
                    <a:gd name="connsiteY47" fmla="*/ 3724275 h 4496940"/>
                    <a:gd name="connsiteX48" fmla="*/ 3792877 w 4519987"/>
                    <a:gd name="connsiteY48" fmla="*/ 3781425 h 4496940"/>
                    <a:gd name="connsiteX49" fmla="*/ 3783352 w 4519987"/>
                    <a:gd name="connsiteY49" fmla="*/ 3810000 h 4496940"/>
                    <a:gd name="connsiteX50" fmla="*/ 3745252 w 4519987"/>
                    <a:gd name="connsiteY50" fmla="*/ 3819525 h 4496940"/>
                    <a:gd name="connsiteX51" fmla="*/ 3678577 w 4519987"/>
                    <a:gd name="connsiteY51" fmla="*/ 3848100 h 4496940"/>
                    <a:gd name="connsiteX52" fmla="*/ 3659527 w 4519987"/>
                    <a:gd name="connsiteY52" fmla="*/ 3971925 h 4496940"/>
                    <a:gd name="connsiteX53" fmla="*/ 3630952 w 4519987"/>
                    <a:gd name="connsiteY53" fmla="*/ 4010025 h 4496940"/>
                    <a:gd name="connsiteX54" fmla="*/ 3621427 w 4519987"/>
                    <a:gd name="connsiteY54" fmla="*/ 4038600 h 4496940"/>
                    <a:gd name="connsiteX55" fmla="*/ 3554752 w 4519987"/>
                    <a:gd name="connsiteY55" fmla="*/ 4095750 h 4496940"/>
                    <a:gd name="connsiteX56" fmla="*/ 3516652 w 4519987"/>
                    <a:gd name="connsiteY56" fmla="*/ 4114800 h 4496940"/>
                    <a:gd name="connsiteX57" fmla="*/ 3497602 w 4519987"/>
                    <a:gd name="connsiteY57" fmla="*/ 4143375 h 4496940"/>
                    <a:gd name="connsiteX58" fmla="*/ 3383302 w 4519987"/>
                    <a:gd name="connsiteY58" fmla="*/ 4210050 h 4496940"/>
                    <a:gd name="connsiteX59" fmla="*/ 3335677 w 4519987"/>
                    <a:gd name="connsiteY59" fmla="*/ 4238625 h 4496940"/>
                    <a:gd name="connsiteX60" fmla="*/ 3288052 w 4519987"/>
                    <a:gd name="connsiteY60" fmla="*/ 4248150 h 4496940"/>
                    <a:gd name="connsiteX61" fmla="*/ 3240427 w 4519987"/>
                    <a:gd name="connsiteY61" fmla="*/ 4267200 h 4496940"/>
                    <a:gd name="connsiteX62" fmla="*/ 3068977 w 4519987"/>
                    <a:gd name="connsiteY62" fmla="*/ 4286250 h 4496940"/>
                    <a:gd name="connsiteX63" fmla="*/ 2935627 w 4519987"/>
                    <a:gd name="connsiteY63" fmla="*/ 4333875 h 4496940"/>
                    <a:gd name="connsiteX64" fmla="*/ 2811802 w 4519987"/>
                    <a:gd name="connsiteY64" fmla="*/ 4371975 h 4496940"/>
                    <a:gd name="connsiteX65" fmla="*/ 2745127 w 4519987"/>
                    <a:gd name="connsiteY65" fmla="*/ 4410075 h 4496940"/>
                    <a:gd name="connsiteX66" fmla="*/ 2697502 w 4519987"/>
                    <a:gd name="connsiteY66" fmla="*/ 4429125 h 4496940"/>
                    <a:gd name="connsiteX67" fmla="*/ 2640352 w 4519987"/>
                    <a:gd name="connsiteY67" fmla="*/ 4457700 h 4496940"/>
                    <a:gd name="connsiteX68" fmla="*/ 2583202 w 4519987"/>
                    <a:gd name="connsiteY68" fmla="*/ 4467225 h 4496940"/>
                    <a:gd name="connsiteX69" fmla="*/ 2545102 w 4519987"/>
                    <a:gd name="connsiteY69" fmla="*/ 4486275 h 4496940"/>
                    <a:gd name="connsiteX70" fmla="*/ 2306977 w 4519987"/>
                    <a:gd name="connsiteY70" fmla="*/ 4476750 h 4496940"/>
                    <a:gd name="connsiteX71" fmla="*/ 2202202 w 4519987"/>
                    <a:gd name="connsiteY71" fmla="*/ 4457700 h 4496940"/>
                    <a:gd name="connsiteX72" fmla="*/ 2126002 w 4519987"/>
                    <a:gd name="connsiteY72" fmla="*/ 4429125 h 4496940"/>
                    <a:gd name="connsiteX73" fmla="*/ 1935502 w 4519987"/>
                    <a:gd name="connsiteY73" fmla="*/ 4400550 h 4496940"/>
                    <a:gd name="connsiteX74" fmla="*/ 1821202 w 4519987"/>
                    <a:gd name="connsiteY74" fmla="*/ 4371975 h 4496940"/>
                    <a:gd name="connsiteX75" fmla="*/ 1754527 w 4519987"/>
                    <a:gd name="connsiteY75" fmla="*/ 4352925 h 4496940"/>
                    <a:gd name="connsiteX76" fmla="*/ 1687852 w 4519987"/>
                    <a:gd name="connsiteY76" fmla="*/ 4343400 h 4496940"/>
                    <a:gd name="connsiteX77" fmla="*/ 1573552 w 4519987"/>
                    <a:gd name="connsiteY77" fmla="*/ 4305300 h 4496940"/>
                    <a:gd name="connsiteX78" fmla="*/ 1402102 w 4519987"/>
                    <a:gd name="connsiteY78" fmla="*/ 4276725 h 4496940"/>
                    <a:gd name="connsiteX79" fmla="*/ 1287802 w 4519987"/>
                    <a:gd name="connsiteY79" fmla="*/ 4229100 h 4496940"/>
                    <a:gd name="connsiteX80" fmla="*/ 1221127 w 4519987"/>
                    <a:gd name="connsiteY80" fmla="*/ 4200525 h 4496940"/>
                    <a:gd name="connsiteX81" fmla="*/ 1144927 w 4519987"/>
                    <a:gd name="connsiteY81" fmla="*/ 4171950 h 4496940"/>
                    <a:gd name="connsiteX82" fmla="*/ 1087777 w 4519987"/>
                    <a:gd name="connsiteY82" fmla="*/ 4143375 h 4496940"/>
                    <a:gd name="connsiteX83" fmla="*/ 1030627 w 4519987"/>
                    <a:gd name="connsiteY83" fmla="*/ 4124325 h 4496940"/>
                    <a:gd name="connsiteX84" fmla="*/ 925852 w 4519987"/>
                    <a:gd name="connsiteY84" fmla="*/ 4067175 h 4496940"/>
                    <a:gd name="connsiteX85" fmla="*/ 830602 w 4519987"/>
                    <a:gd name="connsiteY85" fmla="*/ 3981450 h 4496940"/>
                    <a:gd name="connsiteX86" fmla="*/ 763927 w 4519987"/>
                    <a:gd name="connsiteY86" fmla="*/ 3914775 h 4496940"/>
                    <a:gd name="connsiteX87" fmla="*/ 725827 w 4519987"/>
                    <a:gd name="connsiteY87" fmla="*/ 3876675 h 4496940"/>
                    <a:gd name="connsiteX88" fmla="*/ 697252 w 4519987"/>
                    <a:gd name="connsiteY88" fmla="*/ 3838575 h 4496940"/>
                    <a:gd name="connsiteX89" fmla="*/ 640102 w 4519987"/>
                    <a:gd name="connsiteY89" fmla="*/ 3781425 h 4496940"/>
                    <a:gd name="connsiteX90" fmla="*/ 611527 w 4519987"/>
                    <a:gd name="connsiteY90" fmla="*/ 3733800 h 4496940"/>
                    <a:gd name="connsiteX91" fmla="*/ 554377 w 4519987"/>
                    <a:gd name="connsiteY91" fmla="*/ 3657600 h 4496940"/>
                    <a:gd name="connsiteX92" fmla="*/ 525802 w 4519987"/>
                    <a:gd name="connsiteY92" fmla="*/ 3609975 h 4496940"/>
                    <a:gd name="connsiteX93" fmla="*/ 497227 w 4519987"/>
                    <a:gd name="connsiteY93" fmla="*/ 3552825 h 4496940"/>
                    <a:gd name="connsiteX94" fmla="*/ 440077 w 4519987"/>
                    <a:gd name="connsiteY94" fmla="*/ 3495675 h 4496940"/>
                    <a:gd name="connsiteX95" fmla="*/ 411502 w 4519987"/>
                    <a:gd name="connsiteY95" fmla="*/ 3448050 h 4496940"/>
                    <a:gd name="connsiteX96" fmla="*/ 278152 w 4519987"/>
                    <a:gd name="connsiteY96" fmla="*/ 3257550 h 4496940"/>
                    <a:gd name="connsiteX97" fmla="*/ 249577 w 4519987"/>
                    <a:gd name="connsiteY97" fmla="*/ 3200400 h 4496940"/>
                    <a:gd name="connsiteX98" fmla="*/ 240052 w 4519987"/>
                    <a:gd name="connsiteY98" fmla="*/ 3162300 h 4496940"/>
                    <a:gd name="connsiteX99" fmla="*/ 221002 w 4519987"/>
                    <a:gd name="connsiteY99" fmla="*/ 3105150 h 4496940"/>
                    <a:gd name="connsiteX100" fmla="*/ 173377 w 4519987"/>
                    <a:gd name="connsiteY100" fmla="*/ 3019425 h 4496940"/>
                    <a:gd name="connsiteX101" fmla="*/ 144802 w 4519987"/>
                    <a:gd name="connsiteY101" fmla="*/ 2924175 h 4496940"/>
                    <a:gd name="connsiteX102" fmla="*/ 68602 w 4519987"/>
                    <a:gd name="connsiteY102" fmla="*/ 2724150 h 4496940"/>
                    <a:gd name="connsiteX103" fmla="*/ 49552 w 4519987"/>
                    <a:gd name="connsiteY103" fmla="*/ 2638425 h 4496940"/>
                    <a:gd name="connsiteX104" fmla="*/ 40027 w 4519987"/>
                    <a:gd name="connsiteY104" fmla="*/ 2562225 h 4496940"/>
                    <a:gd name="connsiteX105" fmla="*/ 30502 w 4519987"/>
                    <a:gd name="connsiteY105" fmla="*/ 2514600 h 4496940"/>
                    <a:gd name="connsiteX106" fmla="*/ 11452 w 4519987"/>
                    <a:gd name="connsiteY106" fmla="*/ 2400300 h 4496940"/>
                    <a:gd name="connsiteX107" fmla="*/ 20977 w 4519987"/>
                    <a:gd name="connsiteY107" fmla="*/ 1905000 h 4496940"/>
                    <a:gd name="connsiteX108" fmla="*/ 30502 w 4519987"/>
                    <a:gd name="connsiteY108" fmla="*/ 1838325 h 4496940"/>
                    <a:gd name="connsiteX109" fmla="*/ 49552 w 4519987"/>
                    <a:gd name="connsiteY109" fmla="*/ 1781175 h 4496940"/>
                    <a:gd name="connsiteX110" fmla="*/ 59077 w 4519987"/>
                    <a:gd name="connsiteY110" fmla="*/ 1743075 h 4496940"/>
                    <a:gd name="connsiteX111" fmla="*/ 78127 w 4519987"/>
                    <a:gd name="connsiteY111" fmla="*/ 1685925 h 4496940"/>
                    <a:gd name="connsiteX112" fmla="*/ 87652 w 4519987"/>
                    <a:gd name="connsiteY112" fmla="*/ 1638300 h 4496940"/>
                    <a:gd name="connsiteX113" fmla="*/ 106702 w 4519987"/>
                    <a:gd name="connsiteY113" fmla="*/ 1590675 h 4496940"/>
                    <a:gd name="connsiteX114" fmla="*/ 135277 w 4519987"/>
                    <a:gd name="connsiteY114" fmla="*/ 1504950 h 4496940"/>
                    <a:gd name="connsiteX115" fmla="*/ 154327 w 4519987"/>
                    <a:gd name="connsiteY115" fmla="*/ 1419225 h 4496940"/>
                    <a:gd name="connsiteX116" fmla="*/ 230527 w 4519987"/>
                    <a:gd name="connsiteY116" fmla="*/ 1276350 h 4496940"/>
                    <a:gd name="connsiteX117" fmla="*/ 240052 w 4519987"/>
                    <a:gd name="connsiteY117" fmla="*/ 1247775 h 4496940"/>
                    <a:gd name="connsiteX118" fmla="*/ 268627 w 4519987"/>
                    <a:gd name="connsiteY118" fmla="*/ 1200150 h 4496940"/>
                    <a:gd name="connsiteX119" fmla="*/ 287677 w 4519987"/>
                    <a:gd name="connsiteY119" fmla="*/ 1152525 h 4496940"/>
                    <a:gd name="connsiteX120" fmla="*/ 316252 w 4519987"/>
                    <a:gd name="connsiteY120" fmla="*/ 1114425 h 4496940"/>
                    <a:gd name="connsiteX121" fmla="*/ 363877 w 4519987"/>
                    <a:gd name="connsiteY121" fmla="*/ 1038225 h 4496940"/>
                    <a:gd name="connsiteX122" fmla="*/ 382927 w 4519987"/>
                    <a:gd name="connsiteY122" fmla="*/ 1009650 h 4496940"/>
                    <a:gd name="connsiteX123" fmla="*/ 440077 w 4519987"/>
                    <a:gd name="connsiteY123" fmla="*/ 904875 h 4496940"/>
                    <a:gd name="connsiteX124" fmla="*/ 478177 w 4519987"/>
                    <a:gd name="connsiteY124" fmla="*/ 857250 h 4496940"/>
                    <a:gd name="connsiteX125" fmla="*/ 497227 w 4519987"/>
                    <a:gd name="connsiteY125" fmla="*/ 828675 h 4496940"/>
                    <a:gd name="connsiteX126" fmla="*/ 535327 w 4519987"/>
                    <a:gd name="connsiteY126" fmla="*/ 800100 h 4496940"/>
                    <a:gd name="connsiteX127" fmla="*/ 602002 w 4519987"/>
                    <a:gd name="connsiteY127" fmla="*/ 733425 h 4496940"/>
                    <a:gd name="connsiteX128" fmla="*/ 668677 w 4519987"/>
                    <a:gd name="connsiteY128" fmla="*/ 676275 h 4496940"/>
                    <a:gd name="connsiteX129" fmla="*/ 697252 w 4519987"/>
                    <a:gd name="connsiteY129" fmla="*/ 657225 h 4496940"/>
                    <a:gd name="connsiteX130" fmla="*/ 840127 w 4519987"/>
                    <a:gd name="connsiteY130" fmla="*/ 533400 h 4496940"/>
                    <a:gd name="connsiteX131" fmla="*/ 887752 w 4519987"/>
                    <a:gd name="connsiteY131" fmla="*/ 504825 h 4496940"/>
                    <a:gd name="connsiteX132" fmla="*/ 1167152 w 4519987"/>
                    <a:gd name="connsiteY132" fmla="*/ 311150 h 4496940"/>
                    <a:gd name="connsiteX133" fmla="*/ 1268752 w 4519987"/>
                    <a:gd name="connsiteY133" fmla="*/ 285750 h 4496940"/>
                    <a:gd name="connsiteX134" fmla="*/ 1411627 w 4519987"/>
                    <a:gd name="connsiteY134" fmla="*/ 190500 h 4496940"/>
                    <a:gd name="connsiteX135" fmla="*/ 1449727 w 4519987"/>
                    <a:gd name="connsiteY135" fmla="*/ 161925 h 4496940"/>
                    <a:gd name="connsiteX136" fmla="*/ 1525927 w 4519987"/>
                    <a:gd name="connsiteY136" fmla="*/ 152400 h 4496940"/>
                    <a:gd name="connsiteX137" fmla="*/ 1583077 w 4519987"/>
                    <a:gd name="connsiteY137" fmla="*/ 142875 h 4496940"/>
                    <a:gd name="connsiteX138" fmla="*/ 1716427 w 4519987"/>
                    <a:gd name="connsiteY138" fmla="*/ 123825 h 4496940"/>
                    <a:gd name="connsiteX139" fmla="*/ 1811677 w 4519987"/>
                    <a:gd name="connsiteY139" fmla="*/ 114300 h 4496940"/>
                    <a:gd name="connsiteX140" fmla="*/ 1859302 w 4519987"/>
                    <a:gd name="connsiteY140" fmla="*/ 104775 h 4496940"/>
                    <a:gd name="connsiteX141" fmla="*/ 1916452 w 4519987"/>
                    <a:gd name="connsiteY141" fmla="*/ 95250 h 4496940"/>
                    <a:gd name="connsiteX142" fmla="*/ 2030752 w 4519987"/>
                    <a:gd name="connsiteY142" fmla="*/ 66675 h 4496940"/>
                    <a:gd name="connsiteX143" fmla="*/ 2097427 w 4519987"/>
                    <a:gd name="connsiteY143" fmla="*/ 47625 h 4496940"/>
                    <a:gd name="connsiteX144" fmla="*/ 2164102 w 4519987"/>
                    <a:gd name="connsiteY144" fmla="*/ 38100 h 4496940"/>
                    <a:gd name="connsiteX145" fmla="*/ 2392702 w 4519987"/>
                    <a:gd name="connsiteY14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259602 w 4519987"/>
                    <a:gd name="connsiteY24" fmla="*/ 1190625 h 4496940"/>
                    <a:gd name="connsiteX25" fmla="*/ 4307227 w 4519987"/>
                    <a:gd name="connsiteY25" fmla="*/ 1266825 h 4496940"/>
                    <a:gd name="connsiteX26" fmla="*/ 4345327 w 4519987"/>
                    <a:gd name="connsiteY26" fmla="*/ 1362075 h 4496940"/>
                    <a:gd name="connsiteX27" fmla="*/ 4373902 w 4519987"/>
                    <a:gd name="connsiteY27" fmla="*/ 1428750 h 4496940"/>
                    <a:gd name="connsiteX28" fmla="*/ 4392952 w 4519987"/>
                    <a:gd name="connsiteY28" fmla="*/ 1552575 h 4496940"/>
                    <a:gd name="connsiteX29" fmla="*/ 4402477 w 4519987"/>
                    <a:gd name="connsiteY29" fmla="*/ 1590675 h 4496940"/>
                    <a:gd name="connsiteX30" fmla="*/ 4431052 w 4519987"/>
                    <a:gd name="connsiteY30" fmla="*/ 1685925 h 4496940"/>
                    <a:gd name="connsiteX31" fmla="*/ 4519952 w 4519987"/>
                    <a:gd name="connsiteY31" fmla="*/ 2181225 h 4496940"/>
                    <a:gd name="connsiteX32" fmla="*/ 4446927 w 4519987"/>
                    <a:gd name="connsiteY32" fmla="*/ 2768600 h 4496940"/>
                    <a:gd name="connsiteX33" fmla="*/ 4383427 w 4519987"/>
                    <a:gd name="connsiteY33" fmla="*/ 2990850 h 4496940"/>
                    <a:gd name="connsiteX34" fmla="*/ 4278652 w 4519987"/>
                    <a:gd name="connsiteY34" fmla="*/ 3248025 h 4496940"/>
                    <a:gd name="connsiteX35" fmla="*/ 4259602 w 4519987"/>
                    <a:gd name="connsiteY35" fmla="*/ 3276600 h 4496940"/>
                    <a:gd name="connsiteX36" fmla="*/ 4221502 w 4519987"/>
                    <a:gd name="connsiteY36" fmla="*/ 3333750 h 4496940"/>
                    <a:gd name="connsiteX37" fmla="*/ 4211977 w 4519987"/>
                    <a:gd name="connsiteY37" fmla="*/ 3362325 h 4496940"/>
                    <a:gd name="connsiteX38" fmla="*/ 4183402 w 4519987"/>
                    <a:gd name="connsiteY38" fmla="*/ 3400425 h 4496940"/>
                    <a:gd name="connsiteX39" fmla="*/ 4164352 w 4519987"/>
                    <a:gd name="connsiteY39" fmla="*/ 3429000 h 4496940"/>
                    <a:gd name="connsiteX40" fmla="*/ 4088152 w 4519987"/>
                    <a:gd name="connsiteY40" fmla="*/ 3495675 h 4496940"/>
                    <a:gd name="connsiteX41" fmla="*/ 4059577 w 4519987"/>
                    <a:gd name="connsiteY41" fmla="*/ 3533775 h 4496940"/>
                    <a:gd name="connsiteX42" fmla="*/ 4002427 w 4519987"/>
                    <a:gd name="connsiteY42" fmla="*/ 3600450 h 4496940"/>
                    <a:gd name="connsiteX43" fmla="*/ 3983377 w 4519987"/>
                    <a:gd name="connsiteY43" fmla="*/ 3629025 h 4496940"/>
                    <a:gd name="connsiteX44" fmla="*/ 3954802 w 4519987"/>
                    <a:gd name="connsiteY44" fmla="*/ 3648075 h 4496940"/>
                    <a:gd name="connsiteX45" fmla="*/ 3907177 w 4519987"/>
                    <a:gd name="connsiteY45" fmla="*/ 3686175 h 4496940"/>
                    <a:gd name="connsiteX46" fmla="*/ 3869077 w 4519987"/>
                    <a:gd name="connsiteY46" fmla="*/ 3724275 h 4496940"/>
                    <a:gd name="connsiteX47" fmla="*/ 3792877 w 4519987"/>
                    <a:gd name="connsiteY47" fmla="*/ 3781425 h 4496940"/>
                    <a:gd name="connsiteX48" fmla="*/ 3783352 w 4519987"/>
                    <a:gd name="connsiteY48" fmla="*/ 3810000 h 4496940"/>
                    <a:gd name="connsiteX49" fmla="*/ 3745252 w 4519987"/>
                    <a:gd name="connsiteY49" fmla="*/ 3819525 h 4496940"/>
                    <a:gd name="connsiteX50" fmla="*/ 3678577 w 4519987"/>
                    <a:gd name="connsiteY50" fmla="*/ 3848100 h 4496940"/>
                    <a:gd name="connsiteX51" fmla="*/ 3659527 w 4519987"/>
                    <a:gd name="connsiteY51" fmla="*/ 3971925 h 4496940"/>
                    <a:gd name="connsiteX52" fmla="*/ 3630952 w 4519987"/>
                    <a:gd name="connsiteY52" fmla="*/ 4010025 h 4496940"/>
                    <a:gd name="connsiteX53" fmla="*/ 3621427 w 4519987"/>
                    <a:gd name="connsiteY53" fmla="*/ 4038600 h 4496940"/>
                    <a:gd name="connsiteX54" fmla="*/ 3554752 w 4519987"/>
                    <a:gd name="connsiteY54" fmla="*/ 4095750 h 4496940"/>
                    <a:gd name="connsiteX55" fmla="*/ 3516652 w 4519987"/>
                    <a:gd name="connsiteY55" fmla="*/ 4114800 h 4496940"/>
                    <a:gd name="connsiteX56" fmla="*/ 3497602 w 4519987"/>
                    <a:gd name="connsiteY56" fmla="*/ 4143375 h 4496940"/>
                    <a:gd name="connsiteX57" fmla="*/ 3383302 w 4519987"/>
                    <a:gd name="connsiteY57" fmla="*/ 4210050 h 4496940"/>
                    <a:gd name="connsiteX58" fmla="*/ 3335677 w 4519987"/>
                    <a:gd name="connsiteY58" fmla="*/ 4238625 h 4496940"/>
                    <a:gd name="connsiteX59" fmla="*/ 3288052 w 4519987"/>
                    <a:gd name="connsiteY59" fmla="*/ 4248150 h 4496940"/>
                    <a:gd name="connsiteX60" fmla="*/ 3240427 w 4519987"/>
                    <a:gd name="connsiteY60" fmla="*/ 4267200 h 4496940"/>
                    <a:gd name="connsiteX61" fmla="*/ 3068977 w 4519987"/>
                    <a:gd name="connsiteY61" fmla="*/ 4286250 h 4496940"/>
                    <a:gd name="connsiteX62" fmla="*/ 2935627 w 4519987"/>
                    <a:gd name="connsiteY62" fmla="*/ 4333875 h 4496940"/>
                    <a:gd name="connsiteX63" fmla="*/ 2811802 w 4519987"/>
                    <a:gd name="connsiteY63" fmla="*/ 4371975 h 4496940"/>
                    <a:gd name="connsiteX64" fmla="*/ 2745127 w 4519987"/>
                    <a:gd name="connsiteY64" fmla="*/ 4410075 h 4496940"/>
                    <a:gd name="connsiteX65" fmla="*/ 2697502 w 4519987"/>
                    <a:gd name="connsiteY65" fmla="*/ 4429125 h 4496940"/>
                    <a:gd name="connsiteX66" fmla="*/ 2640352 w 4519987"/>
                    <a:gd name="connsiteY66" fmla="*/ 4457700 h 4496940"/>
                    <a:gd name="connsiteX67" fmla="*/ 2583202 w 4519987"/>
                    <a:gd name="connsiteY67" fmla="*/ 4467225 h 4496940"/>
                    <a:gd name="connsiteX68" fmla="*/ 2545102 w 4519987"/>
                    <a:gd name="connsiteY68" fmla="*/ 4486275 h 4496940"/>
                    <a:gd name="connsiteX69" fmla="*/ 2306977 w 4519987"/>
                    <a:gd name="connsiteY69" fmla="*/ 4476750 h 4496940"/>
                    <a:gd name="connsiteX70" fmla="*/ 2202202 w 4519987"/>
                    <a:gd name="connsiteY70" fmla="*/ 4457700 h 4496940"/>
                    <a:gd name="connsiteX71" fmla="*/ 2126002 w 4519987"/>
                    <a:gd name="connsiteY71" fmla="*/ 4429125 h 4496940"/>
                    <a:gd name="connsiteX72" fmla="*/ 1935502 w 4519987"/>
                    <a:gd name="connsiteY72" fmla="*/ 4400550 h 4496940"/>
                    <a:gd name="connsiteX73" fmla="*/ 1821202 w 4519987"/>
                    <a:gd name="connsiteY73" fmla="*/ 4371975 h 4496940"/>
                    <a:gd name="connsiteX74" fmla="*/ 1754527 w 4519987"/>
                    <a:gd name="connsiteY74" fmla="*/ 4352925 h 4496940"/>
                    <a:gd name="connsiteX75" fmla="*/ 1687852 w 4519987"/>
                    <a:gd name="connsiteY75" fmla="*/ 4343400 h 4496940"/>
                    <a:gd name="connsiteX76" fmla="*/ 1573552 w 4519987"/>
                    <a:gd name="connsiteY76" fmla="*/ 4305300 h 4496940"/>
                    <a:gd name="connsiteX77" fmla="*/ 1402102 w 4519987"/>
                    <a:gd name="connsiteY77" fmla="*/ 4276725 h 4496940"/>
                    <a:gd name="connsiteX78" fmla="*/ 1287802 w 4519987"/>
                    <a:gd name="connsiteY78" fmla="*/ 4229100 h 4496940"/>
                    <a:gd name="connsiteX79" fmla="*/ 1221127 w 4519987"/>
                    <a:gd name="connsiteY79" fmla="*/ 4200525 h 4496940"/>
                    <a:gd name="connsiteX80" fmla="*/ 1144927 w 4519987"/>
                    <a:gd name="connsiteY80" fmla="*/ 4171950 h 4496940"/>
                    <a:gd name="connsiteX81" fmla="*/ 1087777 w 4519987"/>
                    <a:gd name="connsiteY81" fmla="*/ 4143375 h 4496940"/>
                    <a:gd name="connsiteX82" fmla="*/ 1030627 w 4519987"/>
                    <a:gd name="connsiteY82" fmla="*/ 4124325 h 4496940"/>
                    <a:gd name="connsiteX83" fmla="*/ 925852 w 4519987"/>
                    <a:gd name="connsiteY83" fmla="*/ 4067175 h 4496940"/>
                    <a:gd name="connsiteX84" fmla="*/ 830602 w 4519987"/>
                    <a:gd name="connsiteY84" fmla="*/ 3981450 h 4496940"/>
                    <a:gd name="connsiteX85" fmla="*/ 763927 w 4519987"/>
                    <a:gd name="connsiteY85" fmla="*/ 3914775 h 4496940"/>
                    <a:gd name="connsiteX86" fmla="*/ 725827 w 4519987"/>
                    <a:gd name="connsiteY86" fmla="*/ 3876675 h 4496940"/>
                    <a:gd name="connsiteX87" fmla="*/ 697252 w 4519987"/>
                    <a:gd name="connsiteY87" fmla="*/ 3838575 h 4496940"/>
                    <a:gd name="connsiteX88" fmla="*/ 640102 w 4519987"/>
                    <a:gd name="connsiteY88" fmla="*/ 3781425 h 4496940"/>
                    <a:gd name="connsiteX89" fmla="*/ 611527 w 4519987"/>
                    <a:gd name="connsiteY89" fmla="*/ 3733800 h 4496940"/>
                    <a:gd name="connsiteX90" fmla="*/ 554377 w 4519987"/>
                    <a:gd name="connsiteY90" fmla="*/ 3657600 h 4496940"/>
                    <a:gd name="connsiteX91" fmla="*/ 525802 w 4519987"/>
                    <a:gd name="connsiteY91" fmla="*/ 3609975 h 4496940"/>
                    <a:gd name="connsiteX92" fmla="*/ 497227 w 4519987"/>
                    <a:gd name="connsiteY92" fmla="*/ 3552825 h 4496940"/>
                    <a:gd name="connsiteX93" fmla="*/ 440077 w 4519987"/>
                    <a:gd name="connsiteY93" fmla="*/ 3495675 h 4496940"/>
                    <a:gd name="connsiteX94" fmla="*/ 411502 w 4519987"/>
                    <a:gd name="connsiteY94" fmla="*/ 3448050 h 4496940"/>
                    <a:gd name="connsiteX95" fmla="*/ 278152 w 4519987"/>
                    <a:gd name="connsiteY95" fmla="*/ 3257550 h 4496940"/>
                    <a:gd name="connsiteX96" fmla="*/ 249577 w 4519987"/>
                    <a:gd name="connsiteY96" fmla="*/ 3200400 h 4496940"/>
                    <a:gd name="connsiteX97" fmla="*/ 240052 w 4519987"/>
                    <a:gd name="connsiteY97" fmla="*/ 3162300 h 4496940"/>
                    <a:gd name="connsiteX98" fmla="*/ 221002 w 4519987"/>
                    <a:gd name="connsiteY98" fmla="*/ 3105150 h 4496940"/>
                    <a:gd name="connsiteX99" fmla="*/ 173377 w 4519987"/>
                    <a:gd name="connsiteY99" fmla="*/ 3019425 h 4496940"/>
                    <a:gd name="connsiteX100" fmla="*/ 144802 w 4519987"/>
                    <a:gd name="connsiteY100" fmla="*/ 2924175 h 4496940"/>
                    <a:gd name="connsiteX101" fmla="*/ 68602 w 4519987"/>
                    <a:gd name="connsiteY101" fmla="*/ 2724150 h 4496940"/>
                    <a:gd name="connsiteX102" fmla="*/ 49552 w 4519987"/>
                    <a:gd name="connsiteY102" fmla="*/ 2638425 h 4496940"/>
                    <a:gd name="connsiteX103" fmla="*/ 40027 w 4519987"/>
                    <a:gd name="connsiteY103" fmla="*/ 2562225 h 4496940"/>
                    <a:gd name="connsiteX104" fmla="*/ 30502 w 4519987"/>
                    <a:gd name="connsiteY104" fmla="*/ 2514600 h 4496940"/>
                    <a:gd name="connsiteX105" fmla="*/ 11452 w 4519987"/>
                    <a:gd name="connsiteY105" fmla="*/ 2400300 h 4496940"/>
                    <a:gd name="connsiteX106" fmla="*/ 20977 w 4519987"/>
                    <a:gd name="connsiteY106" fmla="*/ 1905000 h 4496940"/>
                    <a:gd name="connsiteX107" fmla="*/ 30502 w 4519987"/>
                    <a:gd name="connsiteY107" fmla="*/ 1838325 h 4496940"/>
                    <a:gd name="connsiteX108" fmla="*/ 49552 w 4519987"/>
                    <a:gd name="connsiteY108" fmla="*/ 1781175 h 4496940"/>
                    <a:gd name="connsiteX109" fmla="*/ 59077 w 4519987"/>
                    <a:gd name="connsiteY109" fmla="*/ 1743075 h 4496940"/>
                    <a:gd name="connsiteX110" fmla="*/ 78127 w 4519987"/>
                    <a:gd name="connsiteY110" fmla="*/ 1685925 h 4496940"/>
                    <a:gd name="connsiteX111" fmla="*/ 87652 w 4519987"/>
                    <a:gd name="connsiteY111" fmla="*/ 1638300 h 4496940"/>
                    <a:gd name="connsiteX112" fmla="*/ 106702 w 4519987"/>
                    <a:gd name="connsiteY112" fmla="*/ 1590675 h 4496940"/>
                    <a:gd name="connsiteX113" fmla="*/ 135277 w 4519987"/>
                    <a:gd name="connsiteY113" fmla="*/ 1504950 h 4496940"/>
                    <a:gd name="connsiteX114" fmla="*/ 154327 w 4519987"/>
                    <a:gd name="connsiteY114" fmla="*/ 1419225 h 4496940"/>
                    <a:gd name="connsiteX115" fmla="*/ 230527 w 4519987"/>
                    <a:gd name="connsiteY115" fmla="*/ 1276350 h 4496940"/>
                    <a:gd name="connsiteX116" fmla="*/ 240052 w 4519987"/>
                    <a:gd name="connsiteY116" fmla="*/ 1247775 h 4496940"/>
                    <a:gd name="connsiteX117" fmla="*/ 268627 w 4519987"/>
                    <a:gd name="connsiteY117" fmla="*/ 1200150 h 4496940"/>
                    <a:gd name="connsiteX118" fmla="*/ 287677 w 4519987"/>
                    <a:gd name="connsiteY118" fmla="*/ 1152525 h 4496940"/>
                    <a:gd name="connsiteX119" fmla="*/ 316252 w 4519987"/>
                    <a:gd name="connsiteY119" fmla="*/ 1114425 h 4496940"/>
                    <a:gd name="connsiteX120" fmla="*/ 363877 w 4519987"/>
                    <a:gd name="connsiteY120" fmla="*/ 1038225 h 4496940"/>
                    <a:gd name="connsiteX121" fmla="*/ 382927 w 4519987"/>
                    <a:gd name="connsiteY121" fmla="*/ 1009650 h 4496940"/>
                    <a:gd name="connsiteX122" fmla="*/ 440077 w 4519987"/>
                    <a:gd name="connsiteY122" fmla="*/ 904875 h 4496940"/>
                    <a:gd name="connsiteX123" fmla="*/ 478177 w 4519987"/>
                    <a:gd name="connsiteY123" fmla="*/ 857250 h 4496940"/>
                    <a:gd name="connsiteX124" fmla="*/ 497227 w 4519987"/>
                    <a:gd name="connsiteY124" fmla="*/ 828675 h 4496940"/>
                    <a:gd name="connsiteX125" fmla="*/ 535327 w 4519987"/>
                    <a:gd name="connsiteY125" fmla="*/ 800100 h 4496940"/>
                    <a:gd name="connsiteX126" fmla="*/ 602002 w 4519987"/>
                    <a:gd name="connsiteY126" fmla="*/ 733425 h 4496940"/>
                    <a:gd name="connsiteX127" fmla="*/ 668677 w 4519987"/>
                    <a:gd name="connsiteY127" fmla="*/ 676275 h 4496940"/>
                    <a:gd name="connsiteX128" fmla="*/ 697252 w 4519987"/>
                    <a:gd name="connsiteY128" fmla="*/ 657225 h 4496940"/>
                    <a:gd name="connsiteX129" fmla="*/ 840127 w 4519987"/>
                    <a:gd name="connsiteY129" fmla="*/ 533400 h 4496940"/>
                    <a:gd name="connsiteX130" fmla="*/ 887752 w 4519987"/>
                    <a:gd name="connsiteY130" fmla="*/ 504825 h 4496940"/>
                    <a:gd name="connsiteX131" fmla="*/ 1167152 w 4519987"/>
                    <a:gd name="connsiteY131" fmla="*/ 311150 h 4496940"/>
                    <a:gd name="connsiteX132" fmla="*/ 1268752 w 4519987"/>
                    <a:gd name="connsiteY132" fmla="*/ 285750 h 4496940"/>
                    <a:gd name="connsiteX133" fmla="*/ 1411627 w 4519987"/>
                    <a:gd name="connsiteY133" fmla="*/ 190500 h 4496940"/>
                    <a:gd name="connsiteX134" fmla="*/ 1449727 w 4519987"/>
                    <a:gd name="connsiteY134" fmla="*/ 161925 h 4496940"/>
                    <a:gd name="connsiteX135" fmla="*/ 1525927 w 4519987"/>
                    <a:gd name="connsiteY135" fmla="*/ 152400 h 4496940"/>
                    <a:gd name="connsiteX136" fmla="*/ 1583077 w 4519987"/>
                    <a:gd name="connsiteY136" fmla="*/ 142875 h 4496940"/>
                    <a:gd name="connsiteX137" fmla="*/ 1716427 w 4519987"/>
                    <a:gd name="connsiteY137" fmla="*/ 123825 h 4496940"/>
                    <a:gd name="connsiteX138" fmla="*/ 1811677 w 4519987"/>
                    <a:gd name="connsiteY138" fmla="*/ 114300 h 4496940"/>
                    <a:gd name="connsiteX139" fmla="*/ 1859302 w 4519987"/>
                    <a:gd name="connsiteY139" fmla="*/ 104775 h 4496940"/>
                    <a:gd name="connsiteX140" fmla="*/ 1916452 w 4519987"/>
                    <a:gd name="connsiteY140" fmla="*/ 95250 h 4496940"/>
                    <a:gd name="connsiteX141" fmla="*/ 2030752 w 4519987"/>
                    <a:gd name="connsiteY141" fmla="*/ 66675 h 4496940"/>
                    <a:gd name="connsiteX142" fmla="*/ 2097427 w 4519987"/>
                    <a:gd name="connsiteY142" fmla="*/ 47625 h 4496940"/>
                    <a:gd name="connsiteX143" fmla="*/ 2164102 w 4519987"/>
                    <a:gd name="connsiteY143" fmla="*/ 38100 h 4496940"/>
                    <a:gd name="connsiteX144" fmla="*/ 2392702 w 4519987"/>
                    <a:gd name="connsiteY14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73902 w 4519987"/>
                    <a:gd name="connsiteY26" fmla="*/ 1428750 h 4496940"/>
                    <a:gd name="connsiteX27" fmla="*/ 4392952 w 4519987"/>
                    <a:gd name="connsiteY27" fmla="*/ 1552575 h 4496940"/>
                    <a:gd name="connsiteX28" fmla="*/ 4402477 w 4519987"/>
                    <a:gd name="connsiteY28" fmla="*/ 1590675 h 4496940"/>
                    <a:gd name="connsiteX29" fmla="*/ 4431052 w 4519987"/>
                    <a:gd name="connsiteY29" fmla="*/ 1685925 h 4496940"/>
                    <a:gd name="connsiteX30" fmla="*/ 4519952 w 4519987"/>
                    <a:gd name="connsiteY30" fmla="*/ 2181225 h 4496940"/>
                    <a:gd name="connsiteX31" fmla="*/ 4446927 w 4519987"/>
                    <a:gd name="connsiteY31" fmla="*/ 2768600 h 4496940"/>
                    <a:gd name="connsiteX32" fmla="*/ 4383427 w 4519987"/>
                    <a:gd name="connsiteY32" fmla="*/ 2990850 h 4496940"/>
                    <a:gd name="connsiteX33" fmla="*/ 4278652 w 4519987"/>
                    <a:gd name="connsiteY33" fmla="*/ 3248025 h 4496940"/>
                    <a:gd name="connsiteX34" fmla="*/ 4259602 w 4519987"/>
                    <a:gd name="connsiteY34" fmla="*/ 3276600 h 4496940"/>
                    <a:gd name="connsiteX35" fmla="*/ 4221502 w 4519987"/>
                    <a:gd name="connsiteY35" fmla="*/ 3333750 h 4496940"/>
                    <a:gd name="connsiteX36" fmla="*/ 4211977 w 4519987"/>
                    <a:gd name="connsiteY36" fmla="*/ 3362325 h 4496940"/>
                    <a:gd name="connsiteX37" fmla="*/ 4183402 w 4519987"/>
                    <a:gd name="connsiteY37" fmla="*/ 3400425 h 4496940"/>
                    <a:gd name="connsiteX38" fmla="*/ 4164352 w 4519987"/>
                    <a:gd name="connsiteY38" fmla="*/ 3429000 h 4496940"/>
                    <a:gd name="connsiteX39" fmla="*/ 4088152 w 4519987"/>
                    <a:gd name="connsiteY39" fmla="*/ 3495675 h 4496940"/>
                    <a:gd name="connsiteX40" fmla="*/ 4059577 w 4519987"/>
                    <a:gd name="connsiteY40" fmla="*/ 3533775 h 4496940"/>
                    <a:gd name="connsiteX41" fmla="*/ 4002427 w 4519987"/>
                    <a:gd name="connsiteY41" fmla="*/ 3600450 h 4496940"/>
                    <a:gd name="connsiteX42" fmla="*/ 3983377 w 4519987"/>
                    <a:gd name="connsiteY42" fmla="*/ 3629025 h 4496940"/>
                    <a:gd name="connsiteX43" fmla="*/ 3954802 w 4519987"/>
                    <a:gd name="connsiteY43" fmla="*/ 3648075 h 4496940"/>
                    <a:gd name="connsiteX44" fmla="*/ 3907177 w 4519987"/>
                    <a:gd name="connsiteY44" fmla="*/ 3686175 h 4496940"/>
                    <a:gd name="connsiteX45" fmla="*/ 3869077 w 4519987"/>
                    <a:gd name="connsiteY45" fmla="*/ 3724275 h 4496940"/>
                    <a:gd name="connsiteX46" fmla="*/ 3792877 w 4519987"/>
                    <a:gd name="connsiteY46" fmla="*/ 3781425 h 4496940"/>
                    <a:gd name="connsiteX47" fmla="*/ 3783352 w 4519987"/>
                    <a:gd name="connsiteY47" fmla="*/ 3810000 h 4496940"/>
                    <a:gd name="connsiteX48" fmla="*/ 3745252 w 4519987"/>
                    <a:gd name="connsiteY48" fmla="*/ 3819525 h 4496940"/>
                    <a:gd name="connsiteX49" fmla="*/ 3678577 w 4519987"/>
                    <a:gd name="connsiteY49" fmla="*/ 3848100 h 4496940"/>
                    <a:gd name="connsiteX50" fmla="*/ 3659527 w 4519987"/>
                    <a:gd name="connsiteY50" fmla="*/ 3971925 h 4496940"/>
                    <a:gd name="connsiteX51" fmla="*/ 3630952 w 4519987"/>
                    <a:gd name="connsiteY51" fmla="*/ 4010025 h 4496940"/>
                    <a:gd name="connsiteX52" fmla="*/ 3621427 w 4519987"/>
                    <a:gd name="connsiteY52" fmla="*/ 4038600 h 4496940"/>
                    <a:gd name="connsiteX53" fmla="*/ 3554752 w 4519987"/>
                    <a:gd name="connsiteY53" fmla="*/ 4095750 h 4496940"/>
                    <a:gd name="connsiteX54" fmla="*/ 3516652 w 4519987"/>
                    <a:gd name="connsiteY54" fmla="*/ 4114800 h 4496940"/>
                    <a:gd name="connsiteX55" fmla="*/ 3497602 w 4519987"/>
                    <a:gd name="connsiteY55" fmla="*/ 4143375 h 4496940"/>
                    <a:gd name="connsiteX56" fmla="*/ 3383302 w 4519987"/>
                    <a:gd name="connsiteY56" fmla="*/ 4210050 h 4496940"/>
                    <a:gd name="connsiteX57" fmla="*/ 3335677 w 4519987"/>
                    <a:gd name="connsiteY57" fmla="*/ 4238625 h 4496940"/>
                    <a:gd name="connsiteX58" fmla="*/ 3288052 w 4519987"/>
                    <a:gd name="connsiteY58" fmla="*/ 4248150 h 4496940"/>
                    <a:gd name="connsiteX59" fmla="*/ 3240427 w 4519987"/>
                    <a:gd name="connsiteY59" fmla="*/ 4267200 h 4496940"/>
                    <a:gd name="connsiteX60" fmla="*/ 3068977 w 4519987"/>
                    <a:gd name="connsiteY60" fmla="*/ 4286250 h 4496940"/>
                    <a:gd name="connsiteX61" fmla="*/ 2935627 w 4519987"/>
                    <a:gd name="connsiteY61" fmla="*/ 4333875 h 4496940"/>
                    <a:gd name="connsiteX62" fmla="*/ 2811802 w 4519987"/>
                    <a:gd name="connsiteY62" fmla="*/ 4371975 h 4496940"/>
                    <a:gd name="connsiteX63" fmla="*/ 2745127 w 4519987"/>
                    <a:gd name="connsiteY63" fmla="*/ 4410075 h 4496940"/>
                    <a:gd name="connsiteX64" fmla="*/ 2697502 w 4519987"/>
                    <a:gd name="connsiteY64" fmla="*/ 4429125 h 4496940"/>
                    <a:gd name="connsiteX65" fmla="*/ 2640352 w 4519987"/>
                    <a:gd name="connsiteY65" fmla="*/ 4457700 h 4496940"/>
                    <a:gd name="connsiteX66" fmla="*/ 2583202 w 4519987"/>
                    <a:gd name="connsiteY66" fmla="*/ 4467225 h 4496940"/>
                    <a:gd name="connsiteX67" fmla="*/ 2545102 w 4519987"/>
                    <a:gd name="connsiteY67" fmla="*/ 4486275 h 4496940"/>
                    <a:gd name="connsiteX68" fmla="*/ 2306977 w 4519987"/>
                    <a:gd name="connsiteY68" fmla="*/ 4476750 h 4496940"/>
                    <a:gd name="connsiteX69" fmla="*/ 2202202 w 4519987"/>
                    <a:gd name="connsiteY69" fmla="*/ 4457700 h 4496940"/>
                    <a:gd name="connsiteX70" fmla="*/ 2126002 w 4519987"/>
                    <a:gd name="connsiteY70" fmla="*/ 4429125 h 4496940"/>
                    <a:gd name="connsiteX71" fmla="*/ 1935502 w 4519987"/>
                    <a:gd name="connsiteY71" fmla="*/ 4400550 h 4496940"/>
                    <a:gd name="connsiteX72" fmla="*/ 1821202 w 4519987"/>
                    <a:gd name="connsiteY72" fmla="*/ 4371975 h 4496940"/>
                    <a:gd name="connsiteX73" fmla="*/ 1754527 w 4519987"/>
                    <a:gd name="connsiteY73" fmla="*/ 4352925 h 4496940"/>
                    <a:gd name="connsiteX74" fmla="*/ 1687852 w 4519987"/>
                    <a:gd name="connsiteY74" fmla="*/ 4343400 h 4496940"/>
                    <a:gd name="connsiteX75" fmla="*/ 1573552 w 4519987"/>
                    <a:gd name="connsiteY75" fmla="*/ 4305300 h 4496940"/>
                    <a:gd name="connsiteX76" fmla="*/ 1402102 w 4519987"/>
                    <a:gd name="connsiteY76" fmla="*/ 4276725 h 4496940"/>
                    <a:gd name="connsiteX77" fmla="*/ 1287802 w 4519987"/>
                    <a:gd name="connsiteY77" fmla="*/ 4229100 h 4496940"/>
                    <a:gd name="connsiteX78" fmla="*/ 1221127 w 4519987"/>
                    <a:gd name="connsiteY78" fmla="*/ 4200525 h 4496940"/>
                    <a:gd name="connsiteX79" fmla="*/ 1144927 w 4519987"/>
                    <a:gd name="connsiteY79" fmla="*/ 4171950 h 4496940"/>
                    <a:gd name="connsiteX80" fmla="*/ 1087777 w 4519987"/>
                    <a:gd name="connsiteY80" fmla="*/ 4143375 h 4496940"/>
                    <a:gd name="connsiteX81" fmla="*/ 1030627 w 4519987"/>
                    <a:gd name="connsiteY81" fmla="*/ 4124325 h 4496940"/>
                    <a:gd name="connsiteX82" fmla="*/ 925852 w 4519987"/>
                    <a:gd name="connsiteY82" fmla="*/ 4067175 h 4496940"/>
                    <a:gd name="connsiteX83" fmla="*/ 830602 w 4519987"/>
                    <a:gd name="connsiteY83" fmla="*/ 3981450 h 4496940"/>
                    <a:gd name="connsiteX84" fmla="*/ 763927 w 4519987"/>
                    <a:gd name="connsiteY84" fmla="*/ 3914775 h 4496940"/>
                    <a:gd name="connsiteX85" fmla="*/ 725827 w 4519987"/>
                    <a:gd name="connsiteY85" fmla="*/ 3876675 h 4496940"/>
                    <a:gd name="connsiteX86" fmla="*/ 697252 w 4519987"/>
                    <a:gd name="connsiteY86" fmla="*/ 3838575 h 4496940"/>
                    <a:gd name="connsiteX87" fmla="*/ 640102 w 4519987"/>
                    <a:gd name="connsiteY87" fmla="*/ 3781425 h 4496940"/>
                    <a:gd name="connsiteX88" fmla="*/ 611527 w 4519987"/>
                    <a:gd name="connsiteY88" fmla="*/ 3733800 h 4496940"/>
                    <a:gd name="connsiteX89" fmla="*/ 554377 w 4519987"/>
                    <a:gd name="connsiteY89" fmla="*/ 3657600 h 4496940"/>
                    <a:gd name="connsiteX90" fmla="*/ 525802 w 4519987"/>
                    <a:gd name="connsiteY90" fmla="*/ 3609975 h 4496940"/>
                    <a:gd name="connsiteX91" fmla="*/ 497227 w 4519987"/>
                    <a:gd name="connsiteY91" fmla="*/ 3552825 h 4496940"/>
                    <a:gd name="connsiteX92" fmla="*/ 440077 w 4519987"/>
                    <a:gd name="connsiteY92" fmla="*/ 3495675 h 4496940"/>
                    <a:gd name="connsiteX93" fmla="*/ 411502 w 4519987"/>
                    <a:gd name="connsiteY93" fmla="*/ 3448050 h 4496940"/>
                    <a:gd name="connsiteX94" fmla="*/ 278152 w 4519987"/>
                    <a:gd name="connsiteY94" fmla="*/ 3257550 h 4496940"/>
                    <a:gd name="connsiteX95" fmla="*/ 249577 w 4519987"/>
                    <a:gd name="connsiteY95" fmla="*/ 3200400 h 4496940"/>
                    <a:gd name="connsiteX96" fmla="*/ 240052 w 4519987"/>
                    <a:gd name="connsiteY96" fmla="*/ 3162300 h 4496940"/>
                    <a:gd name="connsiteX97" fmla="*/ 221002 w 4519987"/>
                    <a:gd name="connsiteY97" fmla="*/ 3105150 h 4496940"/>
                    <a:gd name="connsiteX98" fmla="*/ 173377 w 4519987"/>
                    <a:gd name="connsiteY98" fmla="*/ 3019425 h 4496940"/>
                    <a:gd name="connsiteX99" fmla="*/ 144802 w 4519987"/>
                    <a:gd name="connsiteY99" fmla="*/ 2924175 h 4496940"/>
                    <a:gd name="connsiteX100" fmla="*/ 68602 w 4519987"/>
                    <a:gd name="connsiteY100" fmla="*/ 2724150 h 4496940"/>
                    <a:gd name="connsiteX101" fmla="*/ 49552 w 4519987"/>
                    <a:gd name="connsiteY101" fmla="*/ 2638425 h 4496940"/>
                    <a:gd name="connsiteX102" fmla="*/ 40027 w 4519987"/>
                    <a:gd name="connsiteY102" fmla="*/ 2562225 h 4496940"/>
                    <a:gd name="connsiteX103" fmla="*/ 30502 w 4519987"/>
                    <a:gd name="connsiteY103" fmla="*/ 2514600 h 4496940"/>
                    <a:gd name="connsiteX104" fmla="*/ 11452 w 4519987"/>
                    <a:gd name="connsiteY104" fmla="*/ 2400300 h 4496940"/>
                    <a:gd name="connsiteX105" fmla="*/ 20977 w 4519987"/>
                    <a:gd name="connsiteY105" fmla="*/ 1905000 h 4496940"/>
                    <a:gd name="connsiteX106" fmla="*/ 30502 w 4519987"/>
                    <a:gd name="connsiteY106" fmla="*/ 1838325 h 4496940"/>
                    <a:gd name="connsiteX107" fmla="*/ 49552 w 4519987"/>
                    <a:gd name="connsiteY107" fmla="*/ 1781175 h 4496940"/>
                    <a:gd name="connsiteX108" fmla="*/ 59077 w 4519987"/>
                    <a:gd name="connsiteY108" fmla="*/ 1743075 h 4496940"/>
                    <a:gd name="connsiteX109" fmla="*/ 78127 w 4519987"/>
                    <a:gd name="connsiteY109" fmla="*/ 1685925 h 4496940"/>
                    <a:gd name="connsiteX110" fmla="*/ 87652 w 4519987"/>
                    <a:gd name="connsiteY110" fmla="*/ 1638300 h 4496940"/>
                    <a:gd name="connsiteX111" fmla="*/ 106702 w 4519987"/>
                    <a:gd name="connsiteY111" fmla="*/ 1590675 h 4496940"/>
                    <a:gd name="connsiteX112" fmla="*/ 135277 w 4519987"/>
                    <a:gd name="connsiteY112" fmla="*/ 1504950 h 4496940"/>
                    <a:gd name="connsiteX113" fmla="*/ 154327 w 4519987"/>
                    <a:gd name="connsiteY113" fmla="*/ 1419225 h 4496940"/>
                    <a:gd name="connsiteX114" fmla="*/ 230527 w 4519987"/>
                    <a:gd name="connsiteY114" fmla="*/ 1276350 h 4496940"/>
                    <a:gd name="connsiteX115" fmla="*/ 240052 w 4519987"/>
                    <a:gd name="connsiteY115" fmla="*/ 1247775 h 4496940"/>
                    <a:gd name="connsiteX116" fmla="*/ 268627 w 4519987"/>
                    <a:gd name="connsiteY116" fmla="*/ 1200150 h 4496940"/>
                    <a:gd name="connsiteX117" fmla="*/ 287677 w 4519987"/>
                    <a:gd name="connsiteY117" fmla="*/ 1152525 h 4496940"/>
                    <a:gd name="connsiteX118" fmla="*/ 316252 w 4519987"/>
                    <a:gd name="connsiteY118" fmla="*/ 1114425 h 4496940"/>
                    <a:gd name="connsiteX119" fmla="*/ 363877 w 4519987"/>
                    <a:gd name="connsiteY119" fmla="*/ 1038225 h 4496940"/>
                    <a:gd name="connsiteX120" fmla="*/ 382927 w 4519987"/>
                    <a:gd name="connsiteY120" fmla="*/ 1009650 h 4496940"/>
                    <a:gd name="connsiteX121" fmla="*/ 440077 w 4519987"/>
                    <a:gd name="connsiteY121" fmla="*/ 904875 h 4496940"/>
                    <a:gd name="connsiteX122" fmla="*/ 478177 w 4519987"/>
                    <a:gd name="connsiteY122" fmla="*/ 857250 h 4496940"/>
                    <a:gd name="connsiteX123" fmla="*/ 497227 w 4519987"/>
                    <a:gd name="connsiteY123" fmla="*/ 828675 h 4496940"/>
                    <a:gd name="connsiteX124" fmla="*/ 535327 w 4519987"/>
                    <a:gd name="connsiteY124" fmla="*/ 800100 h 4496940"/>
                    <a:gd name="connsiteX125" fmla="*/ 602002 w 4519987"/>
                    <a:gd name="connsiteY125" fmla="*/ 733425 h 4496940"/>
                    <a:gd name="connsiteX126" fmla="*/ 668677 w 4519987"/>
                    <a:gd name="connsiteY126" fmla="*/ 676275 h 4496940"/>
                    <a:gd name="connsiteX127" fmla="*/ 697252 w 4519987"/>
                    <a:gd name="connsiteY127" fmla="*/ 657225 h 4496940"/>
                    <a:gd name="connsiteX128" fmla="*/ 840127 w 4519987"/>
                    <a:gd name="connsiteY128" fmla="*/ 533400 h 4496940"/>
                    <a:gd name="connsiteX129" fmla="*/ 887752 w 4519987"/>
                    <a:gd name="connsiteY129" fmla="*/ 504825 h 4496940"/>
                    <a:gd name="connsiteX130" fmla="*/ 1167152 w 4519987"/>
                    <a:gd name="connsiteY130" fmla="*/ 311150 h 4496940"/>
                    <a:gd name="connsiteX131" fmla="*/ 1268752 w 4519987"/>
                    <a:gd name="connsiteY131" fmla="*/ 285750 h 4496940"/>
                    <a:gd name="connsiteX132" fmla="*/ 1411627 w 4519987"/>
                    <a:gd name="connsiteY132" fmla="*/ 190500 h 4496940"/>
                    <a:gd name="connsiteX133" fmla="*/ 1449727 w 4519987"/>
                    <a:gd name="connsiteY133" fmla="*/ 161925 h 4496940"/>
                    <a:gd name="connsiteX134" fmla="*/ 1525927 w 4519987"/>
                    <a:gd name="connsiteY134" fmla="*/ 152400 h 4496940"/>
                    <a:gd name="connsiteX135" fmla="*/ 1583077 w 4519987"/>
                    <a:gd name="connsiteY135" fmla="*/ 142875 h 4496940"/>
                    <a:gd name="connsiteX136" fmla="*/ 1716427 w 4519987"/>
                    <a:gd name="connsiteY136" fmla="*/ 123825 h 4496940"/>
                    <a:gd name="connsiteX137" fmla="*/ 1811677 w 4519987"/>
                    <a:gd name="connsiteY137" fmla="*/ 114300 h 4496940"/>
                    <a:gd name="connsiteX138" fmla="*/ 1859302 w 4519987"/>
                    <a:gd name="connsiteY138" fmla="*/ 104775 h 4496940"/>
                    <a:gd name="connsiteX139" fmla="*/ 1916452 w 4519987"/>
                    <a:gd name="connsiteY139" fmla="*/ 95250 h 4496940"/>
                    <a:gd name="connsiteX140" fmla="*/ 2030752 w 4519987"/>
                    <a:gd name="connsiteY140" fmla="*/ 66675 h 4496940"/>
                    <a:gd name="connsiteX141" fmla="*/ 2097427 w 4519987"/>
                    <a:gd name="connsiteY141" fmla="*/ 47625 h 4496940"/>
                    <a:gd name="connsiteX142" fmla="*/ 2164102 w 4519987"/>
                    <a:gd name="connsiteY142" fmla="*/ 38100 h 4496940"/>
                    <a:gd name="connsiteX143" fmla="*/ 2392702 w 4519987"/>
                    <a:gd name="connsiteY14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02477 w 4519987"/>
                    <a:gd name="connsiteY27" fmla="*/ 1590675 h 4496940"/>
                    <a:gd name="connsiteX28" fmla="*/ 4431052 w 4519987"/>
                    <a:gd name="connsiteY28" fmla="*/ 1685925 h 4496940"/>
                    <a:gd name="connsiteX29" fmla="*/ 4519952 w 4519987"/>
                    <a:gd name="connsiteY29" fmla="*/ 2181225 h 4496940"/>
                    <a:gd name="connsiteX30" fmla="*/ 4446927 w 4519987"/>
                    <a:gd name="connsiteY30" fmla="*/ 2768600 h 4496940"/>
                    <a:gd name="connsiteX31" fmla="*/ 4383427 w 4519987"/>
                    <a:gd name="connsiteY31" fmla="*/ 2990850 h 4496940"/>
                    <a:gd name="connsiteX32" fmla="*/ 4278652 w 4519987"/>
                    <a:gd name="connsiteY32" fmla="*/ 3248025 h 4496940"/>
                    <a:gd name="connsiteX33" fmla="*/ 4259602 w 4519987"/>
                    <a:gd name="connsiteY33" fmla="*/ 3276600 h 4496940"/>
                    <a:gd name="connsiteX34" fmla="*/ 4221502 w 4519987"/>
                    <a:gd name="connsiteY34" fmla="*/ 3333750 h 4496940"/>
                    <a:gd name="connsiteX35" fmla="*/ 4211977 w 4519987"/>
                    <a:gd name="connsiteY35" fmla="*/ 3362325 h 4496940"/>
                    <a:gd name="connsiteX36" fmla="*/ 4183402 w 4519987"/>
                    <a:gd name="connsiteY36" fmla="*/ 3400425 h 4496940"/>
                    <a:gd name="connsiteX37" fmla="*/ 4164352 w 4519987"/>
                    <a:gd name="connsiteY37" fmla="*/ 3429000 h 4496940"/>
                    <a:gd name="connsiteX38" fmla="*/ 4088152 w 4519987"/>
                    <a:gd name="connsiteY38" fmla="*/ 3495675 h 4496940"/>
                    <a:gd name="connsiteX39" fmla="*/ 4059577 w 4519987"/>
                    <a:gd name="connsiteY39" fmla="*/ 3533775 h 4496940"/>
                    <a:gd name="connsiteX40" fmla="*/ 4002427 w 4519987"/>
                    <a:gd name="connsiteY40" fmla="*/ 3600450 h 4496940"/>
                    <a:gd name="connsiteX41" fmla="*/ 3983377 w 4519987"/>
                    <a:gd name="connsiteY41" fmla="*/ 3629025 h 4496940"/>
                    <a:gd name="connsiteX42" fmla="*/ 3954802 w 4519987"/>
                    <a:gd name="connsiteY42" fmla="*/ 3648075 h 4496940"/>
                    <a:gd name="connsiteX43" fmla="*/ 3907177 w 4519987"/>
                    <a:gd name="connsiteY43" fmla="*/ 3686175 h 4496940"/>
                    <a:gd name="connsiteX44" fmla="*/ 3869077 w 4519987"/>
                    <a:gd name="connsiteY44" fmla="*/ 3724275 h 4496940"/>
                    <a:gd name="connsiteX45" fmla="*/ 3792877 w 4519987"/>
                    <a:gd name="connsiteY45" fmla="*/ 3781425 h 4496940"/>
                    <a:gd name="connsiteX46" fmla="*/ 3783352 w 4519987"/>
                    <a:gd name="connsiteY46" fmla="*/ 3810000 h 4496940"/>
                    <a:gd name="connsiteX47" fmla="*/ 3745252 w 4519987"/>
                    <a:gd name="connsiteY47" fmla="*/ 3819525 h 4496940"/>
                    <a:gd name="connsiteX48" fmla="*/ 3678577 w 4519987"/>
                    <a:gd name="connsiteY48" fmla="*/ 3848100 h 4496940"/>
                    <a:gd name="connsiteX49" fmla="*/ 3659527 w 4519987"/>
                    <a:gd name="connsiteY49" fmla="*/ 3971925 h 4496940"/>
                    <a:gd name="connsiteX50" fmla="*/ 3630952 w 4519987"/>
                    <a:gd name="connsiteY50" fmla="*/ 4010025 h 4496940"/>
                    <a:gd name="connsiteX51" fmla="*/ 3621427 w 4519987"/>
                    <a:gd name="connsiteY51" fmla="*/ 4038600 h 4496940"/>
                    <a:gd name="connsiteX52" fmla="*/ 3554752 w 4519987"/>
                    <a:gd name="connsiteY52" fmla="*/ 4095750 h 4496940"/>
                    <a:gd name="connsiteX53" fmla="*/ 3516652 w 4519987"/>
                    <a:gd name="connsiteY53" fmla="*/ 4114800 h 4496940"/>
                    <a:gd name="connsiteX54" fmla="*/ 3497602 w 4519987"/>
                    <a:gd name="connsiteY54" fmla="*/ 4143375 h 4496940"/>
                    <a:gd name="connsiteX55" fmla="*/ 3383302 w 4519987"/>
                    <a:gd name="connsiteY55" fmla="*/ 4210050 h 4496940"/>
                    <a:gd name="connsiteX56" fmla="*/ 3335677 w 4519987"/>
                    <a:gd name="connsiteY56" fmla="*/ 4238625 h 4496940"/>
                    <a:gd name="connsiteX57" fmla="*/ 3288052 w 4519987"/>
                    <a:gd name="connsiteY57" fmla="*/ 4248150 h 4496940"/>
                    <a:gd name="connsiteX58" fmla="*/ 3240427 w 4519987"/>
                    <a:gd name="connsiteY58" fmla="*/ 4267200 h 4496940"/>
                    <a:gd name="connsiteX59" fmla="*/ 3068977 w 4519987"/>
                    <a:gd name="connsiteY59" fmla="*/ 4286250 h 4496940"/>
                    <a:gd name="connsiteX60" fmla="*/ 2935627 w 4519987"/>
                    <a:gd name="connsiteY60" fmla="*/ 4333875 h 4496940"/>
                    <a:gd name="connsiteX61" fmla="*/ 2811802 w 4519987"/>
                    <a:gd name="connsiteY61" fmla="*/ 4371975 h 4496940"/>
                    <a:gd name="connsiteX62" fmla="*/ 2745127 w 4519987"/>
                    <a:gd name="connsiteY62" fmla="*/ 4410075 h 4496940"/>
                    <a:gd name="connsiteX63" fmla="*/ 2697502 w 4519987"/>
                    <a:gd name="connsiteY63" fmla="*/ 4429125 h 4496940"/>
                    <a:gd name="connsiteX64" fmla="*/ 2640352 w 4519987"/>
                    <a:gd name="connsiteY64" fmla="*/ 4457700 h 4496940"/>
                    <a:gd name="connsiteX65" fmla="*/ 2583202 w 4519987"/>
                    <a:gd name="connsiteY65" fmla="*/ 4467225 h 4496940"/>
                    <a:gd name="connsiteX66" fmla="*/ 2545102 w 4519987"/>
                    <a:gd name="connsiteY66" fmla="*/ 4486275 h 4496940"/>
                    <a:gd name="connsiteX67" fmla="*/ 2306977 w 4519987"/>
                    <a:gd name="connsiteY67" fmla="*/ 4476750 h 4496940"/>
                    <a:gd name="connsiteX68" fmla="*/ 2202202 w 4519987"/>
                    <a:gd name="connsiteY68" fmla="*/ 4457700 h 4496940"/>
                    <a:gd name="connsiteX69" fmla="*/ 2126002 w 4519987"/>
                    <a:gd name="connsiteY69" fmla="*/ 4429125 h 4496940"/>
                    <a:gd name="connsiteX70" fmla="*/ 1935502 w 4519987"/>
                    <a:gd name="connsiteY70" fmla="*/ 4400550 h 4496940"/>
                    <a:gd name="connsiteX71" fmla="*/ 1821202 w 4519987"/>
                    <a:gd name="connsiteY71" fmla="*/ 4371975 h 4496940"/>
                    <a:gd name="connsiteX72" fmla="*/ 1754527 w 4519987"/>
                    <a:gd name="connsiteY72" fmla="*/ 4352925 h 4496940"/>
                    <a:gd name="connsiteX73" fmla="*/ 1687852 w 4519987"/>
                    <a:gd name="connsiteY73" fmla="*/ 4343400 h 4496940"/>
                    <a:gd name="connsiteX74" fmla="*/ 1573552 w 4519987"/>
                    <a:gd name="connsiteY74" fmla="*/ 4305300 h 4496940"/>
                    <a:gd name="connsiteX75" fmla="*/ 1402102 w 4519987"/>
                    <a:gd name="connsiteY75" fmla="*/ 4276725 h 4496940"/>
                    <a:gd name="connsiteX76" fmla="*/ 1287802 w 4519987"/>
                    <a:gd name="connsiteY76" fmla="*/ 4229100 h 4496940"/>
                    <a:gd name="connsiteX77" fmla="*/ 1221127 w 4519987"/>
                    <a:gd name="connsiteY77" fmla="*/ 4200525 h 4496940"/>
                    <a:gd name="connsiteX78" fmla="*/ 1144927 w 4519987"/>
                    <a:gd name="connsiteY78" fmla="*/ 4171950 h 4496940"/>
                    <a:gd name="connsiteX79" fmla="*/ 1087777 w 4519987"/>
                    <a:gd name="connsiteY79" fmla="*/ 4143375 h 4496940"/>
                    <a:gd name="connsiteX80" fmla="*/ 1030627 w 4519987"/>
                    <a:gd name="connsiteY80" fmla="*/ 4124325 h 4496940"/>
                    <a:gd name="connsiteX81" fmla="*/ 925852 w 4519987"/>
                    <a:gd name="connsiteY81" fmla="*/ 4067175 h 4496940"/>
                    <a:gd name="connsiteX82" fmla="*/ 830602 w 4519987"/>
                    <a:gd name="connsiteY82" fmla="*/ 3981450 h 4496940"/>
                    <a:gd name="connsiteX83" fmla="*/ 763927 w 4519987"/>
                    <a:gd name="connsiteY83" fmla="*/ 3914775 h 4496940"/>
                    <a:gd name="connsiteX84" fmla="*/ 725827 w 4519987"/>
                    <a:gd name="connsiteY84" fmla="*/ 3876675 h 4496940"/>
                    <a:gd name="connsiteX85" fmla="*/ 697252 w 4519987"/>
                    <a:gd name="connsiteY85" fmla="*/ 3838575 h 4496940"/>
                    <a:gd name="connsiteX86" fmla="*/ 640102 w 4519987"/>
                    <a:gd name="connsiteY86" fmla="*/ 3781425 h 4496940"/>
                    <a:gd name="connsiteX87" fmla="*/ 611527 w 4519987"/>
                    <a:gd name="connsiteY87" fmla="*/ 3733800 h 4496940"/>
                    <a:gd name="connsiteX88" fmla="*/ 554377 w 4519987"/>
                    <a:gd name="connsiteY88" fmla="*/ 3657600 h 4496940"/>
                    <a:gd name="connsiteX89" fmla="*/ 525802 w 4519987"/>
                    <a:gd name="connsiteY89" fmla="*/ 3609975 h 4496940"/>
                    <a:gd name="connsiteX90" fmla="*/ 497227 w 4519987"/>
                    <a:gd name="connsiteY90" fmla="*/ 3552825 h 4496940"/>
                    <a:gd name="connsiteX91" fmla="*/ 440077 w 4519987"/>
                    <a:gd name="connsiteY91" fmla="*/ 3495675 h 4496940"/>
                    <a:gd name="connsiteX92" fmla="*/ 411502 w 4519987"/>
                    <a:gd name="connsiteY92" fmla="*/ 3448050 h 4496940"/>
                    <a:gd name="connsiteX93" fmla="*/ 278152 w 4519987"/>
                    <a:gd name="connsiteY93" fmla="*/ 3257550 h 4496940"/>
                    <a:gd name="connsiteX94" fmla="*/ 249577 w 4519987"/>
                    <a:gd name="connsiteY94" fmla="*/ 3200400 h 4496940"/>
                    <a:gd name="connsiteX95" fmla="*/ 240052 w 4519987"/>
                    <a:gd name="connsiteY95" fmla="*/ 3162300 h 4496940"/>
                    <a:gd name="connsiteX96" fmla="*/ 221002 w 4519987"/>
                    <a:gd name="connsiteY96" fmla="*/ 3105150 h 4496940"/>
                    <a:gd name="connsiteX97" fmla="*/ 173377 w 4519987"/>
                    <a:gd name="connsiteY97" fmla="*/ 3019425 h 4496940"/>
                    <a:gd name="connsiteX98" fmla="*/ 144802 w 4519987"/>
                    <a:gd name="connsiteY98" fmla="*/ 2924175 h 4496940"/>
                    <a:gd name="connsiteX99" fmla="*/ 68602 w 4519987"/>
                    <a:gd name="connsiteY99" fmla="*/ 2724150 h 4496940"/>
                    <a:gd name="connsiteX100" fmla="*/ 49552 w 4519987"/>
                    <a:gd name="connsiteY100" fmla="*/ 2638425 h 4496940"/>
                    <a:gd name="connsiteX101" fmla="*/ 40027 w 4519987"/>
                    <a:gd name="connsiteY101" fmla="*/ 2562225 h 4496940"/>
                    <a:gd name="connsiteX102" fmla="*/ 30502 w 4519987"/>
                    <a:gd name="connsiteY102" fmla="*/ 2514600 h 4496940"/>
                    <a:gd name="connsiteX103" fmla="*/ 11452 w 4519987"/>
                    <a:gd name="connsiteY103" fmla="*/ 2400300 h 4496940"/>
                    <a:gd name="connsiteX104" fmla="*/ 20977 w 4519987"/>
                    <a:gd name="connsiteY104" fmla="*/ 1905000 h 4496940"/>
                    <a:gd name="connsiteX105" fmla="*/ 30502 w 4519987"/>
                    <a:gd name="connsiteY105" fmla="*/ 1838325 h 4496940"/>
                    <a:gd name="connsiteX106" fmla="*/ 49552 w 4519987"/>
                    <a:gd name="connsiteY106" fmla="*/ 1781175 h 4496940"/>
                    <a:gd name="connsiteX107" fmla="*/ 59077 w 4519987"/>
                    <a:gd name="connsiteY107" fmla="*/ 1743075 h 4496940"/>
                    <a:gd name="connsiteX108" fmla="*/ 78127 w 4519987"/>
                    <a:gd name="connsiteY108" fmla="*/ 1685925 h 4496940"/>
                    <a:gd name="connsiteX109" fmla="*/ 87652 w 4519987"/>
                    <a:gd name="connsiteY109" fmla="*/ 1638300 h 4496940"/>
                    <a:gd name="connsiteX110" fmla="*/ 106702 w 4519987"/>
                    <a:gd name="connsiteY110" fmla="*/ 1590675 h 4496940"/>
                    <a:gd name="connsiteX111" fmla="*/ 135277 w 4519987"/>
                    <a:gd name="connsiteY111" fmla="*/ 1504950 h 4496940"/>
                    <a:gd name="connsiteX112" fmla="*/ 154327 w 4519987"/>
                    <a:gd name="connsiteY112" fmla="*/ 1419225 h 4496940"/>
                    <a:gd name="connsiteX113" fmla="*/ 230527 w 4519987"/>
                    <a:gd name="connsiteY113" fmla="*/ 1276350 h 4496940"/>
                    <a:gd name="connsiteX114" fmla="*/ 240052 w 4519987"/>
                    <a:gd name="connsiteY114" fmla="*/ 1247775 h 4496940"/>
                    <a:gd name="connsiteX115" fmla="*/ 268627 w 4519987"/>
                    <a:gd name="connsiteY115" fmla="*/ 1200150 h 4496940"/>
                    <a:gd name="connsiteX116" fmla="*/ 287677 w 4519987"/>
                    <a:gd name="connsiteY116" fmla="*/ 1152525 h 4496940"/>
                    <a:gd name="connsiteX117" fmla="*/ 316252 w 4519987"/>
                    <a:gd name="connsiteY117" fmla="*/ 1114425 h 4496940"/>
                    <a:gd name="connsiteX118" fmla="*/ 363877 w 4519987"/>
                    <a:gd name="connsiteY118" fmla="*/ 1038225 h 4496940"/>
                    <a:gd name="connsiteX119" fmla="*/ 382927 w 4519987"/>
                    <a:gd name="connsiteY119" fmla="*/ 1009650 h 4496940"/>
                    <a:gd name="connsiteX120" fmla="*/ 440077 w 4519987"/>
                    <a:gd name="connsiteY120" fmla="*/ 904875 h 4496940"/>
                    <a:gd name="connsiteX121" fmla="*/ 478177 w 4519987"/>
                    <a:gd name="connsiteY121" fmla="*/ 857250 h 4496940"/>
                    <a:gd name="connsiteX122" fmla="*/ 497227 w 4519987"/>
                    <a:gd name="connsiteY122" fmla="*/ 828675 h 4496940"/>
                    <a:gd name="connsiteX123" fmla="*/ 535327 w 4519987"/>
                    <a:gd name="connsiteY123" fmla="*/ 800100 h 4496940"/>
                    <a:gd name="connsiteX124" fmla="*/ 602002 w 4519987"/>
                    <a:gd name="connsiteY124" fmla="*/ 733425 h 4496940"/>
                    <a:gd name="connsiteX125" fmla="*/ 668677 w 4519987"/>
                    <a:gd name="connsiteY125" fmla="*/ 676275 h 4496940"/>
                    <a:gd name="connsiteX126" fmla="*/ 697252 w 4519987"/>
                    <a:gd name="connsiteY126" fmla="*/ 657225 h 4496940"/>
                    <a:gd name="connsiteX127" fmla="*/ 840127 w 4519987"/>
                    <a:gd name="connsiteY127" fmla="*/ 533400 h 4496940"/>
                    <a:gd name="connsiteX128" fmla="*/ 887752 w 4519987"/>
                    <a:gd name="connsiteY128" fmla="*/ 504825 h 4496940"/>
                    <a:gd name="connsiteX129" fmla="*/ 1167152 w 4519987"/>
                    <a:gd name="connsiteY129" fmla="*/ 311150 h 4496940"/>
                    <a:gd name="connsiteX130" fmla="*/ 1268752 w 4519987"/>
                    <a:gd name="connsiteY130" fmla="*/ 285750 h 4496940"/>
                    <a:gd name="connsiteX131" fmla="*/ 1411627 w 4519987"/>
                    <a:gd name="connsiteY131" fmla="*/ 190500 h 4496940"/>
                    <a:gd name="connsiteX132" fmla="*/ 1449727 w 4519987"/>
                    <a:gd name="connsiteY132" fmla="*/ 161925 h 4496940"/>
                    <a:gd name="connsiteX133" fmla="*/ 1525927 w 4519987"/>
                    <a:gd name="connsiteY133" fmla="*/ 152400 h 4496940"/>
                    <a:gd name="connsiteX134" fmla="*/ 1583077 w 4519987"/>
                    <a:gd name="connsiteY134" fmla="*/ 142875 h 4496940"/>
                    <a:gd name="connsiteX135" fmla="*/ 1716427 w 4519987"/>
                    <a:gd name="connsiteY135" fmla="*/ 123825 h 4496940"/>
                    <a:gd name="connsiteX136" fmla="*/ 1811677 w 4519987"/>
                    <a:gd name="connsiteY136" fmla="*/ 114300 h 4496940"/>
                    <a:gd name="connsiteX137" fmla="*/ 1859302 w 4519987"/>
                    <a:gd name="connsiteY137" fmla="*/ 104775 h 4496940"/>
                    <a:gd name="connsiteX138" fmla="*/ 1916452 w 4519987"/>
                    <a:gd name="connsiteY138" fmla="*/ 95250 h 4496940"/>
                    <a:gd name="connsiteX139" fmla="*/ 2030752 w 4519987"/>
                    <a:gd name="connsiteY139" fmla="*/ 66675 h 4496940"/>
                    <a:gd name="connsiteX140" fmla="*/ 2097427 w 4519987"/>
                    <a:gd name="connsiteY140" fmla="*/ 47625 h 4496940"/>
                    <a:gd name="connsiteX141" fmla="*/ 2164102 w 4519987"/>
                    <a:gd name="connsiteY141" fmla="*/ 38100 h 4496940"/>
                    <a:gd name="connsiteX142" fmla="*/ 2392702 w 4519987"/>
                    <a:gd name="connsiteY14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164352 w 4519987"/>
                    <a:gd name="connsiteY36" fmla="*/ 3429000 h 4496940"/>
                    <a:gd name="connsiteX37" fmla="*/ 4088152 w 4519987"/>
                    <a:gd name="connsiteY37" fmla="*/ 3495675 h 4496940"/>
                    <a:gd name="connsiteX38" fmla="*/ 4059577 w 4519987"/>
                    <a:gd name="connsiteY38" fmla="*/ 3533775 h 4496940"/>
                    <a:gd name="connsiteX39" fmla="*/ 4002427 w 4519987"/>
                    <a:gd name="connsiteY39" fmla="*/ 3600450 h 4496940"/>
                    <a:gd name="connsiteX40" fmla="*/ 3983377 w 4519987"/>
                    <a:gd name="connsiteY40" fmla="*/ 3629025 h 4496940"/>
                    <a:gd name="connsiteX41" fmla="*/ 3954802 w 4519987"/>
                    <a:gd name="connsiteY41" fmla="*/ 3648075 h 4496940"/>
                    <a:gd name="connsiteX42" fmla="*/ 3907177 w 4519987"/>
                    <a:gd name="connsiteY42" fmla="*/ 3686175 h 4496940"/>
                    <a:gd name="connsiteX43" fmla="*/ 3869077 w 4519987"/>
                    <a:gd name="connsiteY43" fmla="*/ 3724275 h 4496940"/>
                    <a:gd name="connsiteX44" fmla="*/ 3792877 w 4519987"/>
                    <a:gd name="connsiteY44" fmla="*/ 3781425 h 4496940"/>
                    <a:gd name="connsiteX45" fmla="*/ 3783352 w 4519987"/>
                    <a:gd name="connsiteY45" fmla="*/ 3810000 h 4496940"/>
                    <a:gd name="connsiteX46" fmla="*/ 3745252 w 4519987"/>
                    <a:gd name="connsiteY46" fmla="*/ 3819525 h 4496940"/>
                    <a:gd name="connsiteX47" fmla="*/ 3678577 w 4519987"/>
                    <a:gd name="connsiteY47" fmla="*/ 3848100 h 4496940"/>
                    <a:gd name="connsiteX48" fmla="*/ 3659527 w 4519987"/>
                    <a:gd name="connsiteY48" fmla="*/ 3971925 h 4496940"/>
                    <a:gd name="connsiteX49" fmla="*/ 3630952 w 4519987"/>
                    <a:gd name="connsiteY49" fmla="*/ 4010025 h 4496940"/>
                    <a:gd name="connsiteX50" fmla="*/ 3621427 w 4519987"/>
                    <a:gd name="connsiteY50" fmla="*/ 4038600 h 4496940"/>
                    <a:gd name="connsiteX51" fmla="*/ 3554752 w 4519987"/>
                    <a:gd name="connsiteY51" fmla="*/ 4095750 h 4496940"/>
                    <a:gd name="connsiteX52" fmla="*/ 3516652 w 4519987"/>
                    <a:gd name="connsiteY52" fmla="*/ 4114800 h 4496940"/>
                    <a:gd name="connsiteX53" fmla="*/ 3497602 w 4519987"/>
                    <a:gd name="connsiteY53" fmla="*/ 4143375 h 4496940"/>
                    <a:gd name="connsiteX54" fmla="*/ 3383302 w 4519987"/>
                    <a:gd name="connsiteY54" fmla="*/ 4210050 h 4496940"/>
                    <a:gd name="connsiteX55" fmla="*/ 3335677 w 4519987"/>
                    <a:gd name="connsiteY55" fmla="*/ 4238625 h 4496940"/>
                    <a:gd name="connsiteX56" fmla="*/ 3288052 w 4519987"/>
                    <a:gd name="connsiteY56" fmla="*/ 4248150 h 4496940"/>
                    <a:gd name="connsiteX57" fmla="*/ 3240427 w 4519987"/>
                    <a:gd name="connsiteY57" fmla="*/ 4267200 h 4496940"/>
                    <a:gd name="connsiteX58" fmla="*/ 3068977 w 4519987"/>
                    <a:gd name="connsiteY58" fmla="*/ 4286250 h 4496940"/>
                    <a:gd name="connsiteX59" fmla="*/ 2935627 w 4519987"/>
                    <a:gd name="connsiteY59" fmla="*/ 4333875 h 4496940"/>
                    <a:gd name="connsiteX60" fmla="*/ 2811802 w 4519987"/>
                    <a:gd name="connsiteY60" fmla="*/ 4371975 h 4496940"/>
                    <a:gd name="connsiteX61" fmla="*/ 2745127 w 4519987"/>
                    <a:gd name="connsiteY61" fmla="*/ 4410075 h 4496940"/>
                    <a:gd name="connsiteX62" fmla="*/ 2697502 w 4519987"/>
                    <a:gd name="connsiteY62" fmla="*/ 4429125 h 4496940"/>
                    <a:gd name="connsiteX63" fmla="*/ 2640352 w 4519987"/>
                    <a:gd name="connsiteY63" fmla="*/ 4457700 h 4496940"/>
                    <a:gd name="connsiteX64" fmla="*/ 2583202 w 4519987"/>
                    <a:gd name="connsiteY64" fmla="*/ 4467225 h 4496940"/>
                    <a:gd name="connsiteX65" fmla="*/ 2545102 w 4519987"/>
                    <a:gd name="connsiteY65" fmla="*/ 4486275 h 4496940"/>
                    <a:gd name="connsiteX66" fmla="*/ 2306977 w 4519987"/>
                    <a:gd name="connsiteY66" fmla="*/ 4476750 h 4496940"/>
                    <a:gd name="connsiteX67" fmla="*/ 2202202 w 4519987"/>
                    <a:gd name="connsiteY67" fmla="*/ 4457700 h 4496940"/>
                    <a:gd name="connsiteX68" fmla="*/ 2126002 w 4519987"/>
                    <a:gd name="connsiteY68" fmla="*/ 4429125 h 4496940"/>
                    <a:gd name="connsiteX69" fmla="*/ 1935502 w 4519987"/>
                    <a:gd name="connsiteY69" fmla="*/ 4400550 h 4496940"/>
                    <a:gd name="connsiteX70" fmla="*/ 1821202 w 4519987"/>
                    <a:gd name="connsiteY70" fmla="*/ 4371975 h 4496940"/>
                    <a:gd name="connsiteX71" fmla="*/ 1754527 w 4519987"/>
                    <a:gd name="connsiteY71" fmla="*/ 4352925 h 4496940"/>
                    <a:gd name="connsiteX72" fmla="*/ 1687852 w 4519987"/>
                    <a:gd name="connsiteY72" fmla="*/ 4343400 h 4496940"/>
                    <a:gd name="connsiteX73" fmla="*/ 1573552 w 4519987"/>
                    <a:gd name="connsiteY73" fmla="*/ 4305300 h 4496940"/>
                    <a:gd name="connsiteX74" fmla="*/ 1402102 w 4519987"/>
                    <a:gd name="connsiteY74" fmla="*/ 4276725 h 4496940"/>
                    <a:gd name="connsiteX75" fmla="*/ 1287802 w 4519987"/>
                    <a:gd name="connsiteY75" fmla="*/ 4229100 h 4496940"/>
                    <a:gd name="connsiteX76" fmla="*/ 1221127 w 4519987"/>
                    <a:gd name="connsiteY76" fmla="*/ 4200525 h 4496940"/>
                    <a:gd name="connsiteX77" fmla="*/ 1144927 w 4519987"/>
                    <a:gd name="connsiteY77" fmla="*/ 4171950 h 4496940"/>
                    <a:gd name="connsiteX78" fmla="*/ 1087777 w 4519987"/>
                    <a:gd name="connsiteY78" fmla="*/ 4143375 h 4496940"/>
                    <a:gd name="connsiteX79" fmla="*/ 1030627 w 4519987"/>
                    <a:gd name="connsiteY79" fmla="*/ 4124325 h 4496940"/>
                    <a:gd name="connsiteX80" fmla="*/ 925852 w 4519987"/>
                    <a:gd name="connsiteY80" fmla="*/ 4067175 h 4496940"/>
                    <a:gd name="connsiteX81" fmla="*/ 830602 w 4519987"/>
                    <a:gd name="connsiteY81" fmla="*/ 3981450 h 4496940"/>
                    <a:gd name="connsiteX82" fmla="*/ 763927 w 4519987"/>
                    <a:gd name="connsiteY82" fmla="*/ 3914775 h 4496940"/>
                    <a:gd name="connsiteX83" fmla="*/ 725827 w 4519987"/>
                    <a:gd name="connsiteY83" fmla="*/ 3876675 h 4496940"/>
                    <a:gd name="connsiteX84" fmla="*/ 697252 w 4519987"/>
                    <a:gd name="connsiteY84" fmla="*/ 3838575 h 4496940"/>
                    <a:gd name="connsiteX85" fmla="*/ 640102 w 4519987"/>
                    <a:gd name="connsiteY85" fmla="*/ 3781425 h 4496940"/>
                    <a:gd name="connsiteX86" fmla="*/ 611527 w 4519987"/>
                    <a:gd name="connsiteY86" fmla="*/ 3733800 h 4496940"/>
                    <a:gd name="connsiteX87" fmla="*/ 554377 w 4519987"/>
                    <a:gd name="connsiteY87" fmla="*/ 3657600 h 4496940"/>
                    <a:gd name="connsiteX88" fmla="*/ 525802 w 4519987"/>
                    <a:gd name="connsiteY88" fmla="*/ 3609975 h 4496940"/>
                    <a:gd name="connsiteX89" fmla="*/ 497227 w 4519987"/>
                    <a:gd name="connsiteY89" fmla="*/ 3552825 h 4496940"/>
                    <a:gd name="connsiteX90" fmla="*/ 440077 w 4519987"/>
                    <a:gd name="connsiteY90" fmla="*/ 3495675 h 4496940"/>
                    <a:gd name="connsiteX91" fmla="*/ 411502 w 4519987"/>
                    <a:gd name="connsiteY91" fmla="*/ 3448050 h 4496940"/>
                    <a:gd name="connsiteX92" fmla="*/ 278152 w 4519987"/>
                    <a:gd name="connsiteY92" fmla="*/ 3257550 h 4496940"/>
                    <a:gd name="connsiteX93" fmla="*/ 249577 w 4519987"/>
                    <a:gd name="connsiteY93" fmla="*/ 3200400 h 4496940"/>
                    <a:gd name="connsiteX94" fmla="*/ 240052 w 4519987"/>
                    <a:gd name="connsiteY94" fmla="*/ 3162300 h 4496940"/>
                    <a:gd name="connsiteX95" fmla="*/ 221002 w 4519987"/>
                    <a:gd name="connsiteY95" fmla="*/ 3105150 h 4496940"/>
                    <a:gd name="connsiteX96" fmla="*/ 173377 w 4519987"/>
                    <a:gd name="connsiteY96" fmla="*/ 3019425 h 4496940"/>
                    <a:gd name="connsiteX97" fmla="*/ 144802 w 4519987"/>
                    <a:gd name="connsiteY97" fmla="*/ 2924175 h 4496940"/>
                    <a:gd name="connsiteX98" fmla="*/ 68602 w 4519987"/>
                    <a:gd name="connsiteY98" fmla="*/ 2724150 h 4496940"/>
                    <a:gd name="connsiteX99" fmla="*/ 49552 w 4519987"/>
                    <a:gd name="connsiteY99" fmla="*/ 2638425 h 4496940"/>
                    <a:gd name="connsiteX100" fmla="*/ 40027 w 4519987"/>
                    <a:gd name="connsiteY100" fmla="*/ 2562225 h 4496940"/>
                    <a:gd name="connsiteX101" fmla="*/ 30502 w 4519987"/>
                    <a:gd name="connsiteY101" fmla="*/ 2514600 h 4496940"/>
                    <a:gd name="connsiteX102" fmla="*/ 11452 w 4519987"/>
                    <a:gd name="connsiteY102" fmla="*/ 2400300 h 4496940"/>
                    <a:gd name="connsiteX103" fmla="*/ 20977 w 4519987"/>
                    <a:gd name="connsiteY103" fmla="*/ 1905000 h 4496940"/>
                    <a:gd name="connsiteX104" fmla="*/ 30502 w 4519987"/>
                    <a:gd name="connsiteY104" fmla="*/ 1838325 h 4496940"/>
                    <a:gd name="connsiteX105" fmla="*/ 49552 w 4519987"/>
                    <a:gd name="connsiteY105" fmla="*/ 1781175 h 4496940"/>
                    <a:gd name="connsiteX106" fmla="*/ 59077 w 4519987"/>
                    <a:gd name="connsiteY106" fmla="*/ 1743075 h 4496940"/>
                    <a:gd name="connsiteX107" fmla="*/ 78127 w 4519987"/>
                    <a:gd name="connsiteY107" fmla="*/ 1685925 h 4496940"/>
                    <a:gd name="connsiteX108" fmla="*/ 87652 w 4519987"/>
                    <a:gd name="connsiteY108" fmla="*/ 1638300 h 4496940"/>
                    <a:gd name="connsiteX109" fmla="*/ 106702 w 4519987"/>
                    <a:gd name="connsiteY109" fmla="*/ 1590675 h 4496940"/>
                    <a:gd name="connsiteX110" fmla="*/ 135277 w 4519987"/>
                    <a:gd name="connsiteY110" fmla="*/ 1504950 h 4496940"/>
                    <a:gd name="connsiteX111" fmla="*/ 154327 w 4519987"/>
                    <a:gd name="connsiteY111" fmla="*/ 1419225 h 4496940"/>
                    <a:gd name="connsiteX112" fmla="*/ 230527 w 4519987"/>
                    <a:gd name="connsiteY112" fmla="*/ 1276350 h 4496940"/>
                    <a:gd name="connsiteX113" fmla="*/ 240052 w 4519987"/>
                    <a:gd name="connsiteY113" fmla="*/ 1247775 h 4496940"/>
                    <a:gd name="connsiteX114" fmla="*/ 268627 w 4519987"/>
                    <a:gd name="connsiteY114" fmla="*/ 1200150 h 4496940"/>
                    <a:gd name="connsiteX115" fmla="*/ 287677 w 4519987"/>
                    <a:gd name="connsiteY115" fmla="*/ 1152525 h 4496940"/>
                    <a:gd name="connsiteX116" fmla="*/ 316252 w 4519987"/>
                    <a:gd name="connsiteY116" fmla="*/ 1114425 h 4496940"/>
                    <a:gd name="connsiteX117" fmla="*/ 363877 w 4519987"/>
                    <a:gd name="connsiteY117" fmla="*/ 1038225 h 4496940"/>
                    <a:gd name="connsiteX118" fmla="*/ 382927 w 4519987"/>
                    <a:gd name="connsiteY118" fmla="*/ 1009650 h 4496940"/>
                    <a:gd name="connsiteX119" fmla="*/ 440077 w 4519987"/>
                    <a:gd name="connsiteY119" fmla="*/ 904875 h 4496940"/>
                    <a:gd name="connsiteX120" fmla="*/ 478177 w 4519987"/>
                    <a:gd name="connsiteY120" fmla="*/ 857250 h 4496940"/>
                    <a:gd name="connsiteX121" fmla="*/ 497227 w 4519987"/>
                    <a:gd name="connsiteY121" fmla="*/ 828675 h 4496940"/>
                    <a:gd name="connsiteX122" fmla="*/ 535327 w 4519987"/>
                    <a:gd name="connsiteY122" fmla="*/ 800100 h 4496940"/>
                    <a:gd name="connsiteX123" fmla="*/ 602002 w 4519987"/>
                    <a:gd name="connsiteY123" fmla="*/ 733425 h 4496940"/>
                    <a:gd name="connsiteX124" fmla="*/ 668677 w 4519987"/>
                    <a:gd name="connsiteY124" fmla="*/ 676275 h 4496940"/>
                    <a:gd name="connsiteX125" fmla="*/ 697252 w 4519987"/>
                    <a:gd name="connsiteY125" fmla="*/ 657225 h 4496940"/>
                    <a:gd name="connsiteX126" fmla="*/ 840127 w 4519987"/>
                    <a:gd name="connsiteY126" fmla="*/ 533400 h 4496940"/>
                    <a:gd name="connsiteX127" fmla="*/ 887752 w 4519987"/>
                    <a:gd name="connsiteY127" fmla="*/ 504825 h 4496940"/>
                    <a:gd name="connsiteX128" fmla="*/ 1167152 w 4519987"/>
                    <a:gd name="connsiteY128" fmla="*/ 311150 h 4496940"/>
                    <a:gd name="connsiteX129" fmla="*/ 1268752 w 4519987"/>
                    <a:gd name="connsiteY129" fmla="*/ 285750 h 4496940"/>
                    <a:gd name="connsiteX130" fmla="*/ 1411627 w 4519987"/>
                    <a:gd name="connsiteY130" fmla="*/ 190500 h 4496940"/>
                    <a:gd name="connsiteX131" fmla="*/ 1449727 w 4519987"/>
                    <a:gd name="connsiteY131" fmla="*/ 161925 h 4496940"/>
                    <a:gd name="connsiteX132" fmla="*/ 1525927 w 4519987"/>
                    <a:gd name="connsiteY132" fmla="*/ 152400 h 4496940"/>
                    <a:gd name="connsiteX133" fmla="*/ 1583077 w 4519987"/>
                    <a:gd name="connsiteY133" fmla="*/ 142875 h 4496940"/>
                    <a:gd name="connsiteX134" fmla="*/ 1716427 w 4519987"/>
                    <a:gd name="connsiteY134" fmla="*/ 123825 h 4496940"/>
                    <a:gd name="connsiteX135" fmla="*/ 1811677 w 4519987"/>
                    <a:gd name="connsiteY135" fmla="*/ 114300 h 4496940"/>
                    <a:gd name="connsiteX136" fmla="*/ 1859302 w 4519987"/>
                    <a:gd name="connsiteY136" fmla="*/ 104775 h 4496940"/>
                    <a:gd name="connsiteX137" fmla="*/ 1916452 w 4519987"/>
                    <a:gd name="connsiteY137" fmla="*/ 95250 h 4496940"/>
                    <a:gd name="connsiteX138" fmla="*/ 2030752 w 4519987"/>
                    <a:gd name="connsiteY138" fmla="*/ 66675 h 4496940"/>
                    <a:gd name="connsiteX139" fmla="*/ 2097427 w 4519987"/>
                    <a:gd name="connsiteY139" fmla="*/ 47625 h 4496940"/>
                    <a:gd name="connsiteX140" fmla="*/ 2164102 w 4519987"/>
                    <a:gd name="connsiteY140" fmla="*/ 38100 h 4496940"/>
                    <a:gd name="connsiteX141" fmla="*/ 2392702 w 4519987"/>
                    <a:gd name="connsiteY14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088152 w 4519987"/>
                    <a:gd name="connsiteY36" fmla="*/ 3495675 h 4496940"/>
                    <a:gd name="connsiteX37" fmla="*/ 4059577 w 4519987"/>
                    <a:gd name="connsiteY37" fmla="*/ 3533775 h 4496940"/>
                    <a:gd name="connsiteX38" fmla="*/ 4002427 w 4519987"/>
                    <a:gd name="connsiteY38" fmla="*/ 3600450 h 4496940"/>
                    <a:gd name="connsiteX39" fmla="*/ 3983377 w 4519987"/>
                    <a:gd name="connsiteY39" fmla="*/ 3629025 h 4496940"/>
                    <a:gd name="connsiteX40" fmla="*/ 3954802 w 4519987"/>
                    <a:gd name="connsiteY40" fmla="*/ 3648075 h 4496940"/>
                    <a:gd name="connsiteX41" fmla="*/ 3907177 w 4519987"/>
                    <a:gd name="connsiteY41" fmla="*/ 3686175 h 4496940"/>
                    <a:gd name="connsiteX42" fmla="*/ 3869077 w 4519987"/>
                    <a:gd name="connsiteY42" fmla="*/ 3724275 h 4496940"/>
                    <a:gd name="connsiteX43" fmla="*/ 3792877 w 4519987"/>
                    <a:gd name="connsiteY43" fmla="*/ 3781425 h 4496940"/>
                    <a:gd name="connsiteX44" fmla="*/ 3783352 w 4519987"/>
                    <a:gd name="connsiteY44" fmla="*/ 3810000 h 4496940"/>
                    <a:gd name="connsiteX45" fmla="*/ 3745252 w 4519987"/>
                    <a:gd name="connsiteY45" fmla="*/ 3819525 h 4496940"/>
                    <a:gd name="connsiteX46" fmla="*/ 3678577 w 4519987"/>
                    <a:gd name="connsiteY46" fmla="*/ 3848100 h 4496940"/>
                    <a:gd name="connsiteX47" fmla="*/ 3659527 w 4519987"/>
                    <a:gd name="connsiteY47" fmla="*/ 3971925 h 4496940"/>
                    <a:gd name="connsiteX48" fmla="*/ 3630952 w 4519987"/>
                    <a:gd name="connsiteY48" fmla="*/ 4010025 h 4496940"/>
                    <a:gd name="connsiteX49" fmla="*/ 3621427 w 4519987"/>
                    <a:gd name="connsiteY49" fmla="*/ 4038600 h 4496940"/>
                    <a:gd name="connsiteX50" fmla="*/ 3554752 w 4519987"/>
                    <a:gd name="connsiteY50" fmla="*/ 4095750 h 4496940"/>
                    <a:gd name="connsiteX51" fmla="*/ 3516652 w 4519987"/>
                    <a:gd name="connsiteY51" fmla="*/ 4114800 h 4496940"/>
                    <a:gd name="connsiteX52" fmla="*/ 3497602 w 4519987"/>
                    <a:gd name="connsiteY52" fmla="*/ 4143375 h 4496940"/>
                    <a:gd name="connsiteX53" fmla="*/ 3383302 w 4519987"/>
                    <a:gd name="connsiteY53" fmla="*/ 4210050 h 4496940"/>
                    <a:gd name="connsiteX54" fmla="*/ 3335677 w 4519987"/>
                    <a:gd name="connsiteY54" fmla="*/ 4238625 h 4496940"/>
                    <a:gd name="connsiteX55" fmla="*/ 3288052 w 4519987"/>
                    <a:gd name="connsiteY55" fmla="*/ 4248150 h 4496940"/>
                    <a:gd name="connsiteX56" fmla="*/ 3240427 w 4519987"/>
                    <a:gd name="connsiteY56" fmla="*/ 4267200 h 4496940"/>
                    <a:gd name="connsiteX57" fmla="*/ 3068977 w 4519987"/>
                    <a:gd name="connsiteY57" fmla="*/ 4286250 h 4496940"/>
                    <a:gd name="connsiteX58" fmla="*/ 2935627 w 4519987"/>
                    <a:gd name="connsiteY58" fmla="*/ 4333875 h 4496940"/>
                    <a:gd name="connsiteX59" fmla="*/ 2811802 w 4519987"/>
                    <a:gd name="connsiteY59" fmla="*/ 4371975 h 4496940"/>
                    <a:gd name="connsiteX60" fmla="*/ 2745127 w 4519987"/>
                    <a:gd name="connsiteY60" fmla="*/ 4410075 h 4496940"/>
                    <a:gd name="connsiteX61" fmla="*/ 2697502 w 4519987"/>
                    <a:gd name="connsiteY61" fmla="*/ 4429125 h 4496940"/>
                    <a:gd name="connsiteX62" fmla="*/ 2640352 w 4519987"/>
                    <a:gd name="connsiteY62" fmla="*/ 4457700 h 4496940"/>
                    <a:gd name="connsiteX63" fmla="*/ 2583202 w 4519987"/>
                    <a:gd name="connsiteY63" fmla="*/ 4467225 h 4496940"/>
                    <a:gd name="connsiteX64" fmla="*/ 2545102 w 4519987"/>
                    <a:gd name="connsiteY64" fmla="*/ 4486275 h 4496940"/>
                    <a:gd name="connsiteX65" fmla="*/ 2306977 w 4519987"/>
                    <a:gd name="connsiteY65" fmla="*/ 4476750 h 4496940"/>
                    <a:gd name="connsiteX66" fmla="*/ 2202202 w 4519987"/>
                    <a:gd name="connsiteY66" fmla="*/ 4457700 h 4496940"/>
                    <a:gd name="connsiteX67" fmla="*/ 2126002 w 4519987"/>
                    <a:gd name="connsiteY67" fmla="*/ 4429125 h 4496940"/>
                    <a:gd name="connsiteX68" fmla="*/ 1935502 w 4519987"/>
                    <a:gd name="connsiteY68" fmla="*/ 4400550 h 4496940"/>
                    <a:gd name="connsiteX69" fmla="*/ 1821202 w 4519987"/>
                    <a:gd name="connsiteY69" fmla="*/ 4371975 h 4496940"/>
                    <a:gd name="connsiteX70" fmla="*/ 1754527 w 4519987"/>
                    <a:gd name="connsiteY70" fmla="*/ 4352925 h 4496940"/>
                    <a:gd name="connsiteX71" fmla="*/ 1687852 w 4519987"/>
                    <a:gd name="connsiteY71" fmla="*/ 4343400 h 4496940"/>
                    <a:gd name="connsiteX72" fmla="*/ 1573552 w 4519987"/>
                    <a:gd name="connsiteY72" fmla="*/ 4305300 h 4496940"/>
                    <a:gd name="connsiteX73" fmla="*/ 1402102 w 4519987"/>
                    <a:gd name="connsiteY73" fmla="*/ 4276725 h 4496940"/>
                    <a:gd name="connsiteX74" fmla="*/ 1287802 w 4519987"/>
                    <a:gd name="connsiteY74" fmla="*/ 4229100 h 4496940"/>
                    <a:gd name="connsiteX75" fmla="*/ 1221127 w 4519987"/>
                    <a:gd name="connsiteY75" fmla="*/ 4200525 h 4496940"/>
                    <a:gd name="connsiteX76" fmla="*/ 1144927 w 4519987"/>
                    <a:gd name="connsiteY76" fmla="*/ 4171950 h 4496940"/>
                    <a:gd name="connsiteX77" fmla="*/ 1087777 w 4519987"/>
                    <a:gd name="connsiteY77" fmla="*/ 4143375 h 4496940"/>
                    <a:gd name="connsiteX78" fmla="*/ 1030627 w 4519987"/>
                    <a:gd name="connsiteY78" fmla="*/ 4124325 h 4496940"/>
                    <a:gd name="connsiteX79" fmla="*/ 925852 w 4519987"/>
                    <a:gd name="connsiteY79" fmla="*/ 4067175 h 4496940"/>
                    <a:gd name="connsiteX80" fmla="*/ 830602 w 4519987"/>
                    <a:gd name="connsiteY80" fmla="*/ 3981450 h 4496940"/>
                    <a:gd name="connsiteX81" fmla="*/ 763927 w 4519987"/>
                    <a:gd name="connsiteY81" fmla="*/ 3914775 h 4496940"/>
                    <a:gd name="connsiteX82" fmla="*/ 725827 w 4519987"/>
                    <a:gd name="connsiteY82" fmla="*/ 3876675 h 4496940"/>
                    <a:gd name="connsiteX83" fmla="*/ 697252 w 4519987"/>
                    <a:gd name="connsiteY83" fmla="*/ 3838575 h 4496940"/>
                    <a:gd name="connsiteX84" fmla="*/ 640102 w 4519987"/>
                    <a:gd name="connsiteY84" fmla="*/ 3781425 h 4496940"/>
                    <a:gd name="connsiteX85" fmla="*/ 611527 w 4519987"/>
                    <a:gd name="connsiteY85" fmla="*/ 3733800 h 4496940"/>
                    <a:gd name="connsiteX86" fmla="*/ 554377 w 4519987"/>
                    <a:gd name="connsiteY86" fmla="*/ 3657600 h 4496940"/>
                    <a:gd name="connsiteX87" fmla="*/ 525802 w 4519987"/>
                    <a:gd name="connsiteY87" fmla="*/ 3609975 h 4496940"/>
                    <a:gd name="connsiteX88" fmla="*/ 497227 w 4519987"/>
                    <a:gd name="connsiteY88" fmla="*/ 3552825 h 4496940"/>
                    <a:gd name="connsiteX89" fmla="*/ 440077 w 4519987"/>
                    <a:gd name="connsiteY89" fmla="*/ 3495675 h 4496940"/>
                    <a:gd name="connsiteX90" fmla="*/ 411502 w 4519987"/>
                    <a:gd name="connsiteY90" fmla="*/ 3448050 h 4496940"/>
                    <a:gd name="connsiteX91" fmla="*/ 278152 w 4519987"/>
                    <a:gd name="connsiteY91" fmla="*/ 3257550 h 4496940"/>
                    <a:gd name="connsiteX92" fmla="*/ 249577 w 4519987"/>
                    <a:gd name="connsiteY92" fmla="*/ 3200400 h 4496940"/>
                    <a:gd name="connsiteX93" fmla="*/ 240052 w 4519987"/>
                    <a:gd name="connsiteY93" fmla="*/ 3162300 h 4496940"/>
                    <a:gd name="connsiteX94" fmla="*/ 221002 w 4519987"/>
                    <a:gd name="connsiteY94" fmla="*/ 3105150 h 4496940"/>
                    <a:gd name="connsiteX95" fmla="*/ 173377 w 4519987"/>
                    <a:gd name="connsiteY95" fmla="*/ 3019425 h 4496940"/>
                    <a:gd name="connsiteX96" fmla="*/ 144802 w 4519987"/>
                    <a:gd name="connsiteY96" fmla="*/ 2924175 h 4496940"/>
                    <a:gd name="connsiteX97" fmla="*/ 68602 w 4519987"/>
                    <a:gd name="connsiteY97" fmla="*/ 2724150 h 4496940"/>
                    <a:gd name="connsiteX98" fmla="*/ 49552 w 4519987"/>
                    <a:gd name="connsiteY98" fmla="*/ 2638425 h 4496940"/>
                    <a:gd name="connsiteX99" fmla="*/ 40027 w 4519987"/>
                    <a:gd name="connsiteY99" fmla="*/ 2562225 h 4496940"/>
                    <a:gd name="connsiteX100" fmla="*/ 30502 w 4519987"/>
                    <a:gd name="connsiteY100" fmla="*/ 2514600 h 4496940"/>
                    <a:gd name="connsiteX101" fmla="*/ 11452 w 4519987"/>
                    <a:gd name="connsiteY101" fmla="*/ 2400300 h 4496940"/>
                    <a:gd name="connsiteX102" fmla="*/ 20977 w 4519987"/>
                    <a:gd name="connsiteY102" fmla="*/ 1905000 h 4496940"/>
                    <a:gd name="connsiteX103" fmla="*/ 30502 w 4519987"/>
                    <a:gd name="connsiteY103" fmla="*/ 1838325 h 4496940"/>
                    <a:gd name="connsiteX104" fmla="*/ 49552 w 4519987"/>
                    <a:gd name="connsiteY104" fmla="*/ 1781175 h 4496940"/>
                    <a:gd name="connsiteX105" fmla="*/ 59077 w 4519987"/>
                    <a:gd name="connsiteY105" fmla="*/ 1743075 h 4496940"/>
                    <a:gd name="connsiteX106" fmla="*/ 78127 w 4519987"/>
                    <a:gd name="connsiteY106" fmla="*/ 1685925 h 4496940"/>
                    <a:gd name="connsiteX107" fmla="*/ 87652 w 4519987"/>
                    <a:gd name="connsiteY107" fmla="*/ 1638300 h 4496940"/>
                    <a:gd name="connsiteX108" fmla="*/ 106702 w 4519987"/>
                    <a:gd name="connsiteY108" fmla="*/ 1590675 h 4496940"/>
                    <a:gd name="connsiteX109" fmla="*/ 135277 w 4519987"/>
                    <a:gd name="connsiteY109" fmla="*/ 1504950 h 4496940"/>
                    <a:gd name="connsiteX110" fmla="*/ 154327 w 4519987"/>
                    <a:gd name="connsiteY110" fmla="*/ 1419225 h 4496940"/>
                    <a:gd name="connsiteX111" fmla="*/ 230527 w 4519987"/>
                    <a:gd name="connsiteY111" fmla="*/ 1276350 h 4496940"/>
                    <a:gd name="connsiteX112" fmla="*/ 240052 w 4519987"/>
                    <a:gd name="connsiteY112" fmla="*/ 1247775 h 4496940"/>
                    <a:gd name="connsiteX113" fmla="*/ 268627 w 4519987"/>
                    <a:gd name="connsiteY113" fmla="*/ 1200150 h 4496940"/>
                    <a:gd name="connsiteX114" fmla="*/ 287677 w 4519987"/>
                    <a:gd name="connsiteY114" fmla="*/ 1152525 h 4496940"/>
                    <a:gd name="connsiteX115" fmla="*/ 316252 w 4519987"/>
                    <a:gd name="connsiteY115" fmla="*/ 1114425 h 4496940"/>
                    <a:gd name="connsiteX116" fmla="*/ 363877 w 4519987"/>
                    <a:gd name="connsiteY116" fmla="*/ 1038225 h 4496940"/>
                    <a:gd name="connsiteX117" fmla="*/ 382927 w 4519987"/>
                    <a:gd name="connsiteY117" fmla="*/ 1009650 h 4496940"/>
                    <a:gd name="connsiteX118" fmla="*/ 440077 w 4519987"/>
                    <a:gd name="connsiteY118" fmla="*/ 904875 h 4496940"/>
                    <a:gd name="connsiteX119" fmla="*/ 478177 w 4519987"/>
                    <a:gd name="connsiteY119" fmla="*/ 857250 h 4496940"/>
                    <a:gd name="connsiteX120" fmla="*/ 497227 w 4519987"/>
                    <a:gd name="connsiteY120" fmla="*/ 828675 h 4496940"/>
                    <a:gd name="connsiteX121" fmla="*/ 535327 w 4519987"/>
                    <a:gd name="connsiteY121" fmla="*/ 800100 h 4496940"/>
                    <a:gd name="connsiteX122" fmla="*/ 602002 w 4519987"/>
                    <a:gd name="connsiteY122" fmla="*/ 733425 h 4496940"/>
                    <a:gd name="connsiteX123" fmla="*/ 668677 w 4519987"/>
                    <a:gd name="connsiteY123" fmla="*/ 676275 h 4496940"/>
                    <a:gd name="connsiteX124" fmla="*/ 697252 w 4519987"/>
                    <a:gd name="connsiteY124" fmla="*/ 657225 h 4496940"/>
                    <a:gd name="connsiteX125" fmla="*/ 840127 w 4519987"/>
                    <a:gd name="connsiteY125" fmla="*/ 533400 h 4496940"/>
                    <a:gd name="connsiteX126" fmla="*/ 887752 w 4519987"/>
                    <a:gd name="connsiteY126" fmla="*/ 504825 h 4496940"/>
                    <a:gd name="connsiteX127" fmla="*/ 1167152 w 4519987"/>
                    <a:gd name="connsiteY127" fmla="*/ 311150 h 4496940"/>
                    <a:gd name="connsiteX128" fmla="*/ 1268752 w 4519987"/>
                    <a:gd name="connsiteY128" fmla="*/ 285750 h 4496940"/>
                    <a:gd name="connsiteX129" fmla="*/ 1411627 w 4519987"/>
                    <a:gd name="connsiteY129" fmla="*/ 190500 h 4496940"/>
                    <a:gd name="connsiteX130" fmla="*/ 1449727 w 4519987"/>
                    <a:gd name="connsiteY130" fmla="*/ 161925 h 4496940"/>
                    <a:gd name="connsiteX131" fmla="*/ 1525927 w 4519987"/>
                    <a:gd name="connsiteY131" fmla="*/ 152400 h 4496940"/>
                    <a:gd name="connsiteX132" fmla="*/ 1583077 w 4519987"/>
                    <a:gd name="connsiteY132" fmla="*/ 142875 h 4496940"/>
                    <a:gd name="connsiteX133" fmla="*/ 1716427 w 4519987"/>
                    <a:gd name="connsiteY133" fmla="*/ 123825 h 4496940"/>
                    <a:gd name="connsiteX134" fmla="*/ 1811677 w 4519987"/>
                    <a:gd name="connsiteY134" fmla="*/ 114300 h 4496940"/>
                    <a:gd name="connsiteX135" fmla="*/ 1859302 w 4519987"/>
                    <a:gd name="connsiteY135" fmla="*/ 104775 h 4496940"/>
                    <a:gd name="connsiteX136" fmla="*/ 1916452 w 4519987"/>
                    <a:gd name="connsiteY136" fmla="*/ 95250 h 4496940"/>
                    <a:gd name="connsiteX137" fmla="*/ 2030752 w 4519987"/>
                    <a:gd name="connsiteY137" fmla="*/ 66675 h 4496940"/>
                    <a:gd name="connsiteX138" fmla="*/ 2097427 w 4519987"/>
                    <a:gd name="connsiteY138" fmla="*/ 47625 h 4496940"/>
                    <a:gd name="connsiteX139" fmla="*/ 2164102 w 4519987"/>
                    <a:gd name="connsiteY139" fmla="*/ 38100 h 4496940"/>
                    <a:gd name="connsiteX140" fmla="*/ 2392702 w 4519987"/>
                    <a:gd name="connsiteY14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183402 w 4519987"/>
                    <a:gd name="connsiteY34" fmla="*/ 3400425 h 4496940"/>
                    <a:gd name="connsiteX35" fmla="*/ 4088152 w 4519987"/>
                    <a:gd name="connsiteY35" fmla="*/ 3495675 h 4496940"/>
                    <a:gd name="connsiteX36" fmla="*/ 4059577 w 4519987"/>
                    <a:gd name="connsiteY36" fmla="*/ 3533775 h 4496940"/>
                    <a:gd name="connsiteX37" fmla="*/ 4002427 w 4519987"/>
                    <a:gd name="connsiteY37" fmla="*/ 3600450 h 4496940"/>
                    <a:gd name="connsiteX38" fmla="*/ 3983377 w 4519987"/>
                    <a:gd name="connsiteY38" fmla="*/ 3629025 h 4496940"/>
                    <a:gd name="connsiteX39" fmla="*/ 3954802 w 4519987"/>
                    <a:gd name="connsiteY39" fmla="*/ 3648075 h 4496940"/>
                    <a:gd name="connsiteX40" fmla="*/ 3907177 w 4519987"/>
                    <a:gd name="connsiteY40" fmla="*/ 3686175 h 4496940"/>
                    <a:gd name="connsiteX41" fmla="*/ 3869077 w 4519987"/>
                    <a:gd name="connsiteY41" fmla="*/ 3724275 h 4496940"/>
                    <a:gd name="connsiteX42" fmla="*/ 3792877 w 4519987"/>
                    <a:gd name="connsiteY42" fmla="*/ 3781425 h 4496940"/>
                    <a:gd name="connsiteX43" fmla="*/ 3783352 w 4519987"/>
                    <a:gd name="connsiteY43" fmla="*/ 3810000 h 4496940"/>
                    <a:gd name="connsiteX44" fmla="*/ 3745252 w 4519987"/>
                    <a:gd name="connsiteY44" fmla="*/ 3819525 h 4496940"/>
                    <a:gd name="connsiteX45" fmla="*/ 3678577 w 4519987"/>
                    <a:gd name="connsiteY45" fmla="*/ 3848100 h 4496940"/>
                    <a:gd name="connsiteX46" fmla="*/ 3659527 w 4519987"/>
                    <a:gd name="connsiteY46" fmla="*/ 3971925 h 4496940"/>
                    <a:gd name="connsiteX47" fmla="*/ 3630952 w 4519987"/>
                    <a:gd name="connsiteY47" fmla="*/ 4010025 h 4496940"/>
                    <a:gd name="connsiteX48" fmla="*/ 3621427 w 4519987"/>
                    <a:gd name="connsiteY48" fmla="*/ 4038600 h 4496940"/>
                    <a:gd name="connsiteX49" fmla="*/ 3554752 w 4519987"/>
                    <a:gd name="connsiteY49" fmla="*/ 4095750 h 4496940"/>
                    <a:gd name="connsiteX50" fmla="*/ 3516652 w 4519987"/>
                    <a:gd name="connsiteY50" fmla="*/ 4114800 h 4496940"/>
                    <a:gd name="connsiteX51" fmla="*/ 3497602 w 4519987"/>
                    <a:gd name="connsiteY51" fmla="*/ 4143375 h 4496940"/>
                    <a:gd name="connsiteX52" fmla="*/ 3383302 w 4519987"/>
                    <a:gd name="connsiteY52" fmla="*/ 4210050 h 4496940"/>
                    <a:gd name="connsiteX53" fmla="*/ 3335677 w 4519987"/>
                    <a:gd name="connsiteY53" fmla="*/ 4238625 h 4496940"/>
                    <a:gd name="connsiteX54" fmla="*/ 3288052 w 4519987"/>
                    <a:gd name="connsiteY54" fmla="*/ 4248150 h 4496940"/>
                    <a:gd name="connsiteX55" fmla="*/ 3240427 w 4519987"/>
                    <a:gd name="connsiteY55" fmla="*/ 4267200 h 4496940"/>
                    <a:gd name="connsiteX56" fmla="*/ 3068977 w 4519987"/>
                    <a:gd name="connsiteY56" fmla="*/ 4286250 h 4496940"/>
                    <a:gd name="connsiteX57" fmla="*/ 2935627 w 4519987"/>
                    <a:gd name="connsiteY57" fmla="*/ 4333875 h 4496940"/>
                    <a:gd name="connsiteX58" fmla="*/ 2811802 w 4519987"/>
                    <a:gd name="connsiteY58" fmla="*/ 4371975 h 4496940"/>
                    <a:gd name="connsiteX59" fmla="*/ 2745127 w 4519987"/>
                    <a:gd name="connsiteY59" fmla="*/ 4410075 h 4496940"/>
                    <a:gd name="connsiteX60" fmla="*/ 2697502 w 4519987"/>
                    <a:gd name="connsiteY60" fmla="*/ 4429125 h 4496940"/>
                    <a:gd name="connsiteX61" fmla="*/ 2640352 w 4519987"/>
                    <a:gd name="connsiteY61" fmla="*/ 4457700 h 4496940"/>
                    <a:gd name="connsiteX62" fmla="*/ 2583202 w 4519987"/>
                    <a:gd name="connsiteY62" fmla="*/ 4467225 h 4496940"/>
                    <a:gd name="connsiteX63" fmla="*/ 2545102 w 4519987"/>
                    <a:gd name="connsiteY63" fmla="*/ 4486275 h 4496940"/>
                    <a:gd name="connsiteX64" fmla="*/ 2306977 w 4519987"/>
                    <a:gd name="connsiteY64" fmla="*/ 4476750 h 4496940"/>
                    <a:gd name="connsiteX65" fmla="*/ 2202202 w 4519987"/>
                    <a:gd name="connsiteY65" fmla="*/ 4457700 h 4496940"/>
                    <a:gd name="connsiteX66" fmla="*/ 2126002 w 4519987"/>
                    <a:gd name="connsiteY66" fmla="*/ 4429125 h 4496940"/>
                    <a:gd name="connsiteX67" fmla="*/ 1935502 w 4519987"/>
                    <a:gd name="connsiteY67" fmla="*/ 4400550 h 4496940"/>
                    <a:gd name="connsiteX68" fmla="*/ 1821202 w 4519987"/>
                    <a:gd name="connsiteY68" fmla="*/ 4371975 h 4496940"/>
                    <a:gd name="connsiteX69" fmla="*/ 1754527 w 4519987"/>
                    <a:gd name="connsiteY69" fmla="*/ 4352925 h 4496940"/>
                    <a:gd name="connsiteX70" fmla="*/ 1687852 w 4519987"/>
                    <a:gd name="connsiteY70" fmla="*/ 4343400 h 4496940"/>
                    <a:gd name="connsiteX71" fmla="*/ 1573552 w 4519987"/>
                    <a:gd name="connsiteY71" fmla="*/ 4305300 h 4496940"/>
                    <a:gd name="connsiteX72" fmla="*/ 1402102 w 4519987"/>
                    <a:gd name="connsiteY72" fmla="*/ 4276725 h 4496940"/>
                    <a:gd name="connsiteX73" fmla="*/ 1287802 w 4519987"/>
                    <a:gd name="connsiteY73" fmla="*/ 4229100 h 4496940"/>
                    <a:gd name="connsiteX74" fmla="*/ 1221127 w 4519987"/>
                    <a:gd name="connsiteY74" fmla="*/ 4200525 h 4496940"/>
                    <a:gd name="connsiteX75" fmla="*/ 1144927 w 4519987"/>
                    <a:gd name="connsiteY75" fmla="*/ 4171950 h 4496940"/>
                    <a:gd name="connsiteX76" fmla="*/ 1087777 w 4519987"/>
                    <a:gd name="connsiteY76" fmla="*/ 4143375 h 4496940"/>
                    <a:gd name="connsiteX77" fmla="*/ 1030627 w 4519987"/>
                    <a:gd name="connsiteY77" fmla="*/ 4124325 h 4496940"/>
                    <a:gd name="connsiteX78" fmla="*/ 925852 w 4519987"/>
                    <a:gd name="connsiteY78" fmla="*/ 4067175 h 4496940"/>
                    <a:gd name="connsiteX79" fmla="*/ 830602 w 4519987"/>
                    <a:gd name="connsiteY79" fmla="*/ 3981450 h 4496940"/>
                    <a:gd name="connsiteX80" fmla="*/ 763927 w 4519987"/>
                    <a:gd name="connsiteY80" fmla="*/ 3914775 h 4496940"/>
                    <a:gd name="connsiteX81" fmla="*/ 725827 w 4519987"/>
                    <a:gd name="connsiteY81" fmla="*/ 3876675 h 4496940"/>
                    <a:gd name="connsiteX82" fmla="*/ 697252 w 4519987"/>
                    <a:gd name="connsiteY82" fmla="*/ 3838575 h 4496940"/>
                    <a:gd name="connsiteX83" fmla="*/ 640102 w 4519987"/>
                    <a:gd name="connsiteY83" fmla="*/ 3781425 h 4496940"/>
                    <a:gd name="connsiteX84" fmla="*/ 611527 w 4519987"/>
                    <a:gd name="connsiteY84" fmla="*/ 3733800 h 4496940"/>
                    <a:gd name="connsiteX85" fmla="*/ 554377 w 4519987"/>
                    <a:gd name="connsiteY85" fmla="*/ 3657600 h 4496940"/>
                    <a:gd name="connsiteX86" fmla="*/ 525802 w 4519987"/>
                    <a:gd name="connsiteY86" fmla="*/ 3609975 h 4496940"/>
                    <a:gd name="connsiteX87" fmla="*/ 497227 w 4519987"/>
                    <a:gd name="connsiteY87" fmla="*/ 3552825 h 4496940"/>
                    <a:gd name="connsiteX88" fmla="*/ 440077 w 4519987"/>
                    <a:gd name="connsiteY88" fmla="*/ 3495675 h 4496940"/>
                    <a:gd name="connsiteX89" fmla="*/ 411502 w 4519987"/>
                    <a:gd name="connsiteY89" fmla="*/ 3448050 h 4496940"/>
                    <a:gd name="connsiteX90" fmla="*/ 278152 w 4519987"/>
                    <a:gd name="connsiteY90" fmla="*/ 3257550 h 4496940"/>
                    <a:gd name="connsiteX91" fmla="*/ 249577 w 4519987"/>
                    <a:gd name="connsiteY91" fmla="*/ 3200400 h 4496940"/>
                    <a:gd name="connsiteX92" fmla="*/ 240052 w 4519987"/>
                    <a:gd name="connsiteY92" fmla="*/ 3162300 h 4496940"/>
                    <a:gd name="connsiteX93" fmla="*/ 221002 w 4519987"/>
                    <a:gd name="connsiteY93" fmla="*/ 3105150 h 4496940"/>
                    <a:gd name="connsiteX94" fmla="*/ 173377 w 4519987"/>
                    <a:gd name="connsiteY94" fmla="*/ 3019425 h 4496940"/>
                    <a:gd name="connsiteX95" fmla="*/ 144802 w 4519987"/>
                    <a:gd name="connsiteY95" fmla="*/ 2924175 h 4496940"/>
                    <a:gd name="connsiteX96" fmla="*/ 68602 w 4519987"/>
                    <a:gd name="connsiteY96" fmla="*/ 2724150 h 4496940"/>
                    <a:gd name="connsiteX97" fmla="*/ 49552 w 4519987"/>
                    <a:gd name="connsiteY97" fmla="*/ 2638425 h 4496940"/>
                    <a:gd name="connsiteX98" fmla="*/ 40027 w 4519987"/>
                    <a:gd name="connsiteY98" fmla="*/ 2562225 h 4496940"/>
                    <a:gd name="connsiteX99" fmla="*/ 30502 w 4519987"/>
                    <a:gd name="connsiteY99" fmla="*/ 2514600 h 4496940"/>
                    <a:gd name="connsiteX100" fmla="*/ 11452 w 4519987"/>
                    <a:gd name="connsiteY100" fmla="*/ 2400300 h 4496940"/>
                    <a:gd name="connsiteX101" fmla="*/ 20977 w 4519987"/>
                    <a:gd name="connsiteY101" fmla="*/ 1905000 h 4496940"/>
                    <a:gd name="connsiteX102" fmla="*/ 30502 w 4519987"/>
                    <a:gd name="connsiteY102" fmla="*/ 1838325 h 4496940"/>
                    <a:gd name="connsiteX103" fmla="*/ 49552 w 4519987"/>
                    <a:gd name="connsiteY103" fmla="*/ 1781175 h 4496940"/>
                    <a:gd name="connsiteX104" fmla="*/ 59077 w 4519987"/>
                    <a:gd name="connsiteY104" fmla="*/ 1743075 h 4496940"/>
                    <a:gd name="connsiteX105" fmla="*/ 78127 w 4519987"/>
                    <a:gd name="connsiteY105" fmla="*/ 1685925 h 4496940"/>
                    <a:gd name="connsiteX106" fmla="*/ 87652 w 4519987"/>
                    <a:gd name="connsiteY106" fmla="*/ 1638300 h 4496940"/>
                    <a:gd name="connsiteX107" fmla="*/ 106702 w 4519987"/>
                    <a:gd name="connsiteY107" fmla="*/ 1590675 h 4496940"/>
                    <a:gd name="connsiteX108" fmla="*/ 135277 w 4519987"/>
                    <a:gd name="connsiteY108" fmla="*/ 1504950 h 4496940"/>
                    <a:gd name="connsiteX109" fmla="*/ 154327 w 4519987"/>
                    <a:gd name="connsiteY109" fmla="*/ 1419225 h 4496940"/>
                    <a:gd name="connsiteX110" fmla="*/ 230527 w 4519987"/>
                    <a:gd name="connsiteY110" fmla="*/ 1276350 h 4496940"/>
                    <a:gd name="connsiteX111" fmla="*/ 240052 w 4519987"/>
                    <a:gd name="connsiteY111" fmla="*/ 1247775 h 4496940"/>
                    <a:gd name="connsiteX112" fmla="*/ 268627 w 4519987"/>
                    <a:gd name="connsiteY112" fmla="*/ 1200150 h 4496940"/>
                    <a:gd name="connsiteX113" fmla="*/ 287677 w 4519987"/>
                    <a:gd name="connsiteY113" fmla="*/ 1152525 h 4496940"/>
                    <a:gd name="connsiteX114" fmla="*/ 316252 w 4519987"/>
                    <a:gd name="connsiteY114" fmla="*/ 1114425 h 4496940"/>
                    <a:gd name="connsiteX115" fmla="*/ 363877 w 4519987"/>
                    <a:gd name="connsiteY115" fmla="*/ 1038225 h 4496940"/>
                    <a:gd name="connsiteX116" fmla="*/ 382927 w 4519987"/>
                    <a:gd name="connsiteY116" fmla="*/ 1009650 h 4496940"/>
                    <a:gd name="connsiteX117" fmla="*/ 440077 w 4519987"/>
                    <a:gd name="connsiteY117" fmla="*/ 904875 h 4496940"/>
                    <a:gd name="connsiteX118" fmla="*/ 478177 w 4519987"/>
                    <a:gd name="connsiteY118" fmla="*/ 857250 h 4496940"/>
                    <a:gd name="connsiteX119" fmla="*/ 497227 w 4519987"/>
                    <a:gd name="connsiteY119" fmla="*/ 828675 h 4496940"/>
                    <a:gd name="connsiteX120" fmla="*/ 535327 w 4519987"/>
                    <a:gd name="connsiteY120" fmla="*/ 800100 h 4496940"/>
                    <a:gd name="connsiteX121" fmla="*/ 602002 w 4519987"/>
                    <a:gd name="connsiteY121" fmla="*/ 733425 h 4496940"/>
                    <a:gd name="connsiteX122" fmla="*/ 668677 w 4519987"/>
                    <a:gd name="connsiteY122" fmla="*/ 676275 h 4496940"/>
                    <a:gd name="connsiteX123" fmla="*/ 697252 w 4519987"/>
                    <a:gd name="connsiteY123" fmla="*/ 657225 h 4496940"/>
                    <a:gd name="connsiteX124" fmla="*/ 840127 w 4519987"/>
                    <a:gd name="connsiteY124" fmla="*/ 533400 h 4496940"/>
                    <a:gd name="connsiteX125" fmla="*/ 887752 w 4519987"/>
                    <a:gd name="connsiteY125" fmla="*/ 504825 h 4496940"/>
                    <a:gd name="connsiteX126" fmla="*/ 1167152 w 4519987"/>
                    <a:gd name="connsiteY126" fmla="*/ 311150 h 4496940"/>
                    <a:gd name="connsiteX127" fmla="*/ 1268752 w 4519987"/>
                    <a:gd name="connsiteY127" fmla="*/ 285750 h 4496940"/>
                    <a:gd name="connsiteX128" fmla="*/ 1411627 w 4519987"/>
                    <a:gd name="connsiteY128" fmla="*/ 190500 h 4496940"/>
                    <a:gd name="connsiteX129" fmla="*/ 1449727 w 4519987"/>
                    <a:gd name="connsiteY129" fmla="*/ 161925 h 4496940"/>
                    <a:gd name="connsiteX130" fmla="*/ 1525927 w 4519987"/>
                    <a:gd name="connsiteY130" fmla="*/ 152400 h 4496940"/>
                    <a:gd name="connsiteX131" fmla="*/ 1583077 w 4519987"/>
                    <a:gd name="connsiteY131" fmla="*/ 142875 h 4496940"/>
                    <a:gd name="connsiteX132" fmla="*/ 1716427 w 4519987"/>
                    <a:gd name="connsiteY132" fmla="*/ 123825 h 4496940"/>
                    <a:gd name="connsiteX133" fmla="*/ 1811677 w 4519987"/>
                    <a:gd name="connsiteY133" fmla="*/ 114300 h 4496940"/>
                    <a:gd name="connsiteX134" fmla="*/ 1859302 w 4519987"/>
                    <a:gd name="connsiteY134" fmla="*/ 104775 h 4496940"/>
                    <a:gd name="connsiteX135" fmla="*/ 1916452 w 4519987"/>
                    <a:gd name="connsiteY135" fmla="*/ 95250 h 4496940"/>
                    <a:gd name="connsiteX136" fmla="*/ 2030752 w 4519987"/>
                    <a:gd name="connsiteY136" fmla="*/ 66675 h 4496940"/>
                    <a:gd name="connsiteX137" fmla="*/ 2097427 w 4519987"/>
                    <a:gd name="connsiteY137" fmla="*/ 47625 h 4496940"/>
                    <a:gd name="connsiteX138" fmla="*/ 2164102 w 4519987"/>
                    <a:gd name="connsiteY138" fmla="*/ 38100 h 4496940"/>
                    <a:gd name="connsiteX139" fmla="*/ 2392702 w 4519987"/>
                    <a:gd name="connsiteY13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83377 w 4519987"/>
                    <a:gd name="connsiteY37" fmla="*/ 3629025 h 4496940"/>
                    <a:gd name="connsiteX38" fmla="*/ 3954802 w 4519987"/>
                    <a:gd name="connsiteY38" fmla="*/ 3648075 h 4496940"/>
                    <a:gd name="connsiteX39" fmla="*/ 3907177 w 4519987"/>
                    <a:gd name="connsiteY39" fmla="*/ 3686175 h 4496940"/>
                    <a:gd name="connsiteX40" fmla="*/ 3869077 w 4519987"/>
                    <a:gd name="connsiteY40" fmla="*/ 3724275 h 4496940"/>
                    <a:gd name="connsiteX41" fmla="*/ 3792877 w 4519987"/>
                    <a:gd name="connsiteY41" fmla="*/ 3781425 h 4496940"/>
                    <a:gd name="connsiteX42" fmla="*/ 3783352 w 4519987"/>
                    <a:gd name="connsiteY42" fmla="*/ 3810000 h 4496940"/>
                    <a:gd name="connsiteX43" fmla="*/ 3745252 w 4519987"/>
                    <a:gd name="connsiteY43" fmla="*/ 3819525 h 4496940"/>
                    <a:gd name="connsiteX44" fmla="*/ 3678577 w 4519987"/>
                    <a:gd name="connsiteY44" fmla="*/ 3848100 h 4496940"/>
                    <a:gd name="connsiteX45" fmla="*/ 3659527 w 4519987"/>
                    <a:gd name="connsiteY45" fmla="*/ 3971925 h 4496940"/>
                    <a:gd name="connsiteX46" fmla="*/ 3630952 w 4519987"/>
                    <a:gd name="connsiteY46" fmla="*/ 4010025 h 4496940"/>
                    <a:gd name="connsiteX47" fmla="*/ 3621427 w 4519987"/>
                    <a:gd name="connsiteY47" fmla="*/ 4038600 h 4496940"/>
                    <a:gd name="connsiteX48" fmla="*/ 3554752 w 4519987"/>
                    <a:gd name="connsiteY48" fmla="*/ 4095750 h 4496940"/>
                    <a:gd name="connsiteX49" fmla="*/ 3516652 w 4519987"/>
                    <a:gd name="connsiteY49" fmla="*/ 4114800 h 4496940"/>
                    <a:gd name="connsiteX50" fmla="*/ 3497602 w 4519987"/>
                    <a:gd name="connsiteY50" fmla="*/ 4143375 h 4496940"/>
                    <a:gd name="connsiteX51" fmla="*/ 3383302 w 4519987"/>
                    <a:gd name="connsiteY51" fmla="*/ 4210050 h 4496940"/>
                    <a:gd name="connsiteX52" fmla="*/ 3335677 w 4519987"/>
                    <a:gd name="connsiteY52" fmla="*/ 4238625 h 4496940"/>
                    <a:gd name="connsiteX53" fmla="*/ 3288052 w 4519987"/>
                    <a:gd name="connsiteY53" fmla="*/ 4248150 h 4496940"/>
                    <a:gd name="connsiteX54" fmla="*/ 3240427 w 4519987"/>
                    <a:gd name="connsiteY54" fmla="*/ 4267200 h 4496940"/>
                    <a:gd name="connsiteX55" fmla="*/ 3068977 w 4519987"/>
                    <a:gd name="connsiteY55" fmla="*/ 4286250 h 4496940"/>
                    <a:gd name="connsiteX56" fmla="*/ 2935627 w 4519987"/>
                    <a:gd name="connsiteY56" fmla="*/ 4333875 h 4496940"/>
                    <a:gd name="connsiteX57" fmla="*/ 2811802 w 4519987"/>
                    <a:gd name="connsiteY57" fmla="*/ 4371975 h 4496940"/>
                    <a:gd name="connsiteX58" fmla="*/ 2745127 w 4519987"/>
                    <a:gd name="connsiteY58" fmla="*/ 4410075 h 4496940"/>
                    <a:gd name="connsiteX59" fmla="*/ 2697502 w 4519987"/>
                    <a:gd name="connsiteY59" fmla="*/ 4429125 h 4496940"/>
                    <a:gd name="connsiteX60" fmla="*/ 2640352 w 4519987"/>
                    <a:gd name="connsiteY60" fmla="*/ 4457700 h 4496940"/>
                    <a:gd name="connsiteX61" fmla="*/ 2583202 w 4519987"/>
                    <a:gd name="connsiteY61" fmla="*/ 4467225 h 4496940"/>
                    <a:gd name="connsiteX62" fmla="*/ 2545102 w 4519987"/>
                    <a:gd name="connsiteY62" fmla="*/ 4486275 h 4496940"/>
                    <a:gd name="connsiteX63" fmla="*/ 2306977 w 4519987"/>
                    <a:gd name="connsiteY63" fmla="*/ 4476750 h 4496940"/>
                    <a:gd name="connsiteX64" fmla="*/ 2202202 w 4519987"/>
                    <a:gd name="connsiteY64" fmla="*/ 4457700 h 4496940"/>
                    <a:gd name="connsiteX65" fmla="*/ 2126002 w 4519987"/>
                    <a:gd name="connsiteY65" fmla="*/ 4429125 h 4496940"/>
                    <a:gd name="connsiteX66" fmla="*/ 1935502 w 4519987"/>
                    <a:gd name="connsiteY66" fmla="*/ 4400550 h 4496940"/>
                    <a:gd name="connsiteX67" fmla="*/ 1821202 w 4519987"/>
                    <a:gd name="connsiteY67" fmla="*/ 4371975 h 4496940"/>
                    <a:gd name="connsiteX68" fmla="*/ 1754527 w 4519987"/>
                    <a:gd name="connsiteY68" fmla="*/ 4352925 h 4496940"/>
                    <a:gd name="connsiteX69" fmla="*/ 1687852 w 4519987"/>
                    <a:gd name="connsiteY69" fmla="*/ 4343400 h 4496940"/>
                    <a:gd name="connsiteX70" fmla="*/ 1573552 w 4519987"/>
                    <a:gd name="connsiteY70" fmla="*/ 4305300 h 4496940"/>
                    <a:gd name="connsiteX71" fmla="*/ 1402102 w 4519987"/>
                    <a:gd name="connsiteY71" fmla="*/ 4276725 h 4496940"/>
                    <a:gd name="connsiteX72" fmla="*/ 1287802 w 4519987"/>
                    <a:gd name="connsiteY72" fmla="*/ 4229100 h 4496940"/>
                    <a:gd name="connsiteX73" fmla="*/ 1221127 w 4519987"/>
                    <a:gd name="connsiteY73" fmla="*/ 4200525 h 4496940"/>
                    <a:gd name="connsiteX74" fmla="*/ 1144927 w 4519987"/>
                    <a:gd name="connsiteY74" fmla="*/ 4171950 h 4496940"/>
                    <a:gd name="connsiteX75" fmla="*/ 1087777 w 4519987"/>
                    <a:gd name="connsiteY75" fmla="*/ 4143375 h 4496940"/>
                    <a:gd name="connsiteX76" fmla="*/ 1030627 w 4519987"/>
                    <a:gd name="connsiteY76" fmla="*/ 4124325 h 4496940"/>
                    <a:gd name="connsiteX77" fmla="*/ 925852 w 4519987"/>
                    <a:gd name="connsiteY77" fmla="*/ 4067175 h 4496940"/>
                    <a:gd name="connsiteX78" fmla="*/ 830602 w 4519987"/>
                    <a:gd name="connsiteY78" fmla="*/ 3981450 h 4496940"/>
                    <a:gd name="connsiteX79" fmla="*/ 763927 w 4519987"/>
                    <a:gd name="connsiteY79" fmla="*/ 3914775 h 4496940"/>
                    <a:gd name="connsiteX80" fmla="*/ 725827 w 4519987"/>
                    <a:gd name="connsiteY80" fmla="*/ 3876675 h 4496940"/>
                    <a:gd name="connsiteX81" fmla="*/ 697252 w 4519987"/>
                    <a:gd name="connsiteY81" fmla="*/ 3838575 h 4496940"/>
                    <a:gd name="connsiteX82" fmla="*/ 640102 w 4519987"/>
                    <a:gd name="connsiteY82" fmla="*/ 3781425 h 4496940"/>
                    <a:gd name="connsiteX83" fmla="*/ 611527 w 4519987"/>
                    <a:gd name="connsiteY83" fmla="*/ 3733800 h 4496940"/>
                    <a:gd name="connsiteX84" fmla="*/ 554377 w 4519987"/>
                    <a:gd name="connsiteY84" fmla="*/ 3657600 h 4496940"/>
                    <a:gd name="connsiteX85" fmla="*/ 525802 w 4519987"/>
                    <a:gd name="connsiteY85" fmla="*/ 3609975 h 4496940"/>
                    <a:gd name="connsiteX86" fmla="*/ 497227 w 4519987"/>
                    <a:gd name="connsiteY86" fmla="*/ 3552825 h 4496940"/>
                    <a:gd name="connsiteX87" fmla="*/ 440077 w 4519987"/>
                    <a:gd name="connsiteY87" fmla="*/ 3495675 h 4496940"/>
                    <a:gd name="connsiteX88" fmla="*/ 411502 w 4519987"/>
                    <a:gd name="connsiteY88" fmla="*/ 3448050 h 4496940"/>
                    <a:gd name="connsiteX89" fmla="*/ 278152 w 4519987"/>
                    <a:gd name="connsiteY89" fmla="*/ 3257550 h 4496940"/>
                    <a:gd name="connsiteX90" fmla="*/ 249577 w 4519987"/>
                    <a:gd name="connsiteY90" fmla="*/ 3200400 h 4496940"/>
                    <a:gd name="connsiteX91" fmla="*/ 240052 w 4519987"/>
                    <a:gd name="connsiteY91" fmla="*/ 3162300 h 4496940"/>
                    <a:gd name="connsiteX92" fmla="*/ 221002 w 4519987"/>
                    <a:gd name="connsiteY92" fmla="*/ 3105150 h 4496940"/>
                    <a:gd name="connsiteX93" fmla="*/ 173377 w 4519987"/>
                    <a:gd name="connsiteY93" fmla="*/ 3019425 h 4496940"/>
                    <a:gd name="connsiteX94" fmla="*/ 144802 w 4519987"/>
                    <a:gd name="connsiteY94" fmla="*/ 2924175 h 4496940"/>
                    <a:gd name="connsiteX95" fmla="*/ 68602 w 4519987"/>
                    <a:gd name="connsiteY95" fmla="*/ 2724150 h 4496940"/>
                    <a:gd name="connsiteX96" fmla="*/ 49552 w 4519987"/>
                    <a:gd name="connsiteY96" fmla="*/ 2638425 h 4496940"/>
                    <a:gd name="connsiteX97" fmla="*/ 40027 w 4519987"/>
                    <a:gd name="connsiteY97" fmla="*/ 2562225 h 4496940"/>
                    <a:gd name="connsiteX98" fmla="*/ 30502 w 4519987"/>
                    <a:gd name="connsiteY98" fmla="*/ 2514600 h 4496940"/>
                    <a:gd name="connsiteX99" fmla="*/ 11452 w 4519987"/>
                    <a:gd name="connsiteY99" fmla="*/ 2400300 h 4496940"/>
                    <a:gd name="connsiteX100" fmla="*/ 20977 w 4519987"/>
                    <a:gd name="connsiteY100" fmla="*/ 1905000 h 4496940"/>
                    <a:gd name="connsiteX101" fmla="*/ 30502 w 4519987"/>
                    <a:gd name="connsiteY101" fmla="*/ 1838325 h 4496940"/>
                    <a:gd name="connsiteX102" fmla="*/ 49552 w 4519987"/>
                    <a:gd name="connsiteY102" fmla="*/ 1781175 h 4496940"/>
                    <a:gd name="connsiteX103" fmla="*/ 59077 w 4519987"/>
                    <a:gd name="connsiteY103" fmla="*/ 1743075 h 4496940"/>
                    <a:gd name="connsiteX104" fmla="*/ 78127 w 4519987"/>
                    <a:gd name="connsiteY104" fmla="*/ 1685925 h 4496940"/>
                    <a:gd name="connsiteX105" fmla="*/ 87652 w 4519987"/>
                    <a:gd name="connsiteY105" fmla="*/ 1638300 h 4496940"/>
                    <a:gd name="connsiteX106" fmla="*/ 106702 w 4519987"/>
                    <a:gd name="connsiteY106" fmla="*/ 1590675 h 4496940"/>
                    <a:gd name="connsiteX107" fmla="*/ 135277 w 4519987"/>
                    <a:gd name="connsiteY107" fmla="*/ 1504950 h 4496940"/>
                    <a:gd name="connsiteX108" fmla="*/ 154327 w 4519987"/>
                    <a:gd name="connsiteY108" fmla="*/ 1419225 h 4496940"/>
                    <a:gd name="connsiteX109" fmla="*/ 230527 w 4519987"/>
                    <a:gd name="connsiteY109" fmla="*/ 1276350 h 4496940"/>
                    <a:gd name="connsiteX110" fmla="*/ 240052 w 4519987"/>
                    <a:gd name="connsiteY110" fmla="*/ 1247775 h 4496940"/>
                    <a:gd name="connsiteX111" fmla="*/ 268627 w 4519987"/>
                    <a:gd name="connsiteY111" fmla="*/ 1200150 h 4496940"/>
                    <a:gd name="connsiteX112" fmla="*/ 287677 w 4519987"/>
                    <a:gd name="connsiteY112" fmla="*/ 1152525 h 4496940"/>
                    <a:gd name="connsiteX113" fmla="*/ 316252 w 4519987"/>
                    <a:gd name="connsiteY113" fmla="*/ 1114425 h 4496940"/>
                    <a:gd name="connsiteX114" fmla="*/ 363877 w 4519987"/>
                    <a:gd name="connsiteY114" fmla="*/ 1038225 h 4496940"/>
                    <a:gd name="connsiteX115" fmla="*/ 382927 w 4519987"/>
                    <a:gd name="connsiteY115" fmla="*/ 1009650 h 4496940"/>
                    <a:gd name="connsiteX116" fmla="*/ 440077 w 4519987"/>
                    <a:gd name="connsiteY116" fmla="*/ 904875 h 4496940"/>
                    <a:gd name="connsiteX117" fmla="*/ 478177 w 4519987"/>
                    <a:gd name="connsiteY117" fmla="*/ 857250 h 4496940"/>
                    <a:gd name="connsiteX118" fmla="*/ 497227 w 4519987"/>
                    <a:gd name="connsiteY118" fmla="*/ 828675 h 4496940"/>
                    <a:gd name="connsiteX119" fmla="*/ 535327 w 4519987"/>
                    <a:gd name="connsiteY119" fmla="*/ 800100 h 4496940"/>
                    <a:gd name="connsiteX120" fmla="*/ 602002 w 4519987"/>
                    <a:gd name="connsiteY120" fmla="*/ 733425 h 4496940"/>
                    <a:gd name="connsiteX121" fmla="*/ 668677 w 4519987"/>
                    <a:gd name="connsiteY121" fmla="*/ 676275 h 4496940"/>
                    <a:gd name="connsiteX122" fmla="*/ 697252 w 4519987"/>
                    <a:gd name="connsiteY122" fmla="*/ 657225 h 4496940"/>
                    <a:gd name="connsiteX123" fmla="*/ 840127 w 4519987"/>
                    <a:gd name="connsiteY123" fmla="*/ 533400 h 4496940"/>
                    <a:gd name="connsiteX124" fmla="*/ 887752 w 4519987"/>
                    <a:gd name="connsiteY124" fmla="*/ 504825 h 4496940"/>
                    <a:gd name="connsiteX125" fmla="*/ 1167152 w 4519987"/>
                    <a:gd name="connsiteY125" fmla="*/ 311150 h 4496940"/>
                    <a:gd name="connsiteX126" fmla="*/ 1268752 w 4519987"/>
                    <a:gd name="connsiteY126" fmla="*/ 285750 h 4496940"/>
                    <a:gd name="connsiteX127" fmla="*/ 1411627 w 4519987"/>
                    <a:gd name="connsiteY127" fmla="*/ 190500 h 4496940"/>
                    <a:gd name="connsiteX128" fmla="*/ 1449727 w 4519987"/>
                    <a:gd name="connsiteY128" fmla="*/ 161925 h 4496940"/>
                    <a:gd name="connsiteX129" fmla="*/ 1525927 w 4519987"/>
                    <a:gd name="connsiteY129" fmla="*/ 152400 h 4496940"/>
                    <a:gd name="connsiteX130" fmla="*/ 1583077 w 4519987"/>
                    <a:gd name="connsiteY130" fmla="*/ 142875 h 4496940"/>
                    <a:gd name="connsiteX131" fmla="*/ 1716427 w 4519987"/>
                    <a:gd name="connsiteY131" fmla="*/ 123825 h 4496940"/>
                    <a:gd name="connsiteX132" fmla="*/ 1811677 w 4519987"/>
                    <a:gd name="connsiteY132" fmla="*/ 114300 h 4496940"/>
                    <a:gd name="connsiteX133" fmla="*/ 1859302 w 4519987"/>
                    <a:gd name="connsiteY133" fmla="*/ 104775 h 4496940"/>
                    <a:gd name="connsiteX134" fmla="*/ 1916452 w 4519987"/>
                    <a:gd name="connsiteY134" fmla="*/ 95250 h 4496940"/>
                    <a:gd name="connsiteX135" fmla="*/ 2030752 w 4519987"/>
                    <a:gd name="connsiteY135" fmla="*/ 66675 h 4496940"/>
                    <a:gd name="connsiteX136" fmla="*/ 2097427 w 4519987"/>
                    <a:gd name="connsiteY136" fmla="*/ 47625 h 4496940"/>
                    <a:gd name="connsiteX137" fmla="*/ 2164102 w 4519987"/>
                    <a:gd name="connsiteY137" fmla="*/ 38100 h 4496940"/>
                    <a:gd name="connsiteX138" fmla="*/ 2392702 w 4519987"/>
                    <a:gd name="connsiteY13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869077 w 4519987"/>
                    <a:gd name="connsiteY39" fmla="*/ 3724275 h 4496940"/>
                    <a:gd name="connsiteX40" fmla="*/ 3792877 w 4519987"/>
                    <a:gd name="connsiteY40" fmla="*/ 3781425 h 4496940"/>
                    <a:gd name="connsiteX41" fmla="*/ 3783352 w 4519987"/>
                    <a:gd name="connsiteY41" fmla="*/ 3810000 h 4496940"/>
                    <a:gd name="connsiteX42" fmla="*/ 3745252 w 4519987"/>
                    <a:gd name="connsiteY42" fmla="*/ 3819525 h 4496940"/>
                    <a:gd name="connsiteX43" fmla="*/ 3678577 w 4519987"/>
                    <a:gd name="connsiteY43" fmla="*/ 3848100 h 4496940"/>
                    <a:gd name="connsiteX44" fmla="*/ 3659527 w 4519987"/>
                    <a:gd name="connsiteY44" fmla="*/ 3971925 h 4496940"/>
                    <a:gd name="connsiteX45" fmla="*/ 3630952 w 4519987"/>
                    <a:gd name="connsiteY45" fmla="*/ 4010025 h 4496940"/>
                    <a:gd name="connsiteX46" fmla="*/ 3621427 w 4519987"/>
                    <a:gd name="connsiteY46" fmla="*/ 4038600 h 4496940"/>
                    <a:gd name="connsiteX47" fmla="*/ 3554752 w 4519987"/>
                    <a:gd name="connsiteY47" fmla="*/ 4095750 h 4496940"/>
                    <a:gd name="connsiteX48" fmla="*/ 3516652 w 4519987"/>
                    <a:gd name="connsiteY48" fmla="*/ 4114800 h 4496940"/>
                    <a:gd name="connsiteX49" fmla="*/ 3497602 w 4519987"/>
                    <a:gd name="connsiteY49" fmla="*/ 4143375 h 4496940"/>
                    <a:gd name="connsiteX50" fmla="*/ 3383302 w 4519987"/>
                    <a:gd name="connsiteY50" fmla="*/ 4210050 h 4496940"/>
                    <a:gd name="connsiteX51" fmla="*/ 3335677 w 4519987"/>
                    <a:gd name="connsiteY51" fmla="*/ 4238625 h 4496940"/>
                    <a:gd name="connsiteX52" fmla="*/ 3288052 w 4519987"/>
                    <a:gd name="connsiteY52" fmla="*/ 4248150 h 4496940"/>
                    <a:gd name="connsiteX53" fmla="*/ 3240427 w 4519987"/>
                    <a:gd name="connsiteY53" fmla="*/ 4267200 h 4496940"/>
                    <a:gd name="connsiteX54" fmla="*/ 3068977 w 4519987"/>
                    <a:gd name="connsiteY54" fmla="*/ 4286250 h 4496940"/>
                    <a:gd name="connsiteX55" fmla="*/ 2935627 w 4519987"/>
                    <a:gd name="connsiteY55" fmla="*/ 4333875 h 4496940"/>
                    <a:gd name="connsiteX56" fmla="*/ 2811802 w 4519987"/>
                    <a:gd name="connsiteY56" fmla="*/ 4371975 h 4496940"/>
                    <a:gd name="connsiteX57" fmla="*/ 2745127 w 4519987"/>
                    <a:gd name="connsiteY57" fmla="*/ 4410075 h 4496940"/>
                    <a:gd name="connsiteX58" fmla="*/ 2697502 w 4519987"/>
                    <a:gd name="connsiteY58" fmla="*/ 4429125 h 4496940"/>
                    <a:gd name="connsiteX59" fmla="*/ 2640352 w 4519987"/>
                    <a:gd name="connsiteY59" fmla="*/ 4457700 h 4496940"/>
                    <a:gd name="connsiteX60" fmla="*/ 2583202 w 4519987"/>
                    <a:gd name="connsiteY60" fmla="*/ 4467225 h 4496940"/>
                    <a:gd name="connsiteX61" fmla="*/ 2545102 w 4519987"/>
                    <a:gd name="connsiteY61" fmla="*/ 4486275 h 4496940"/>
                    <a:gd name="connsiteX62" fmla="*/ 2306977 w 4519987"/>
                    <a:gd name="connsiteY62" fmla="*/ 4476750 h 4496940"/>
                    <a:gd name="connsiteX63" fmla="*/ 2202202 w 4519987"/>
                    <a:gd name="connsiteY63" fmla="*/ 4457700 h 4496940"/>
                    <a:gd name="connsiteX64" fmla="*/ 2126002 w 4519987"/>
                    <a:gd name="connsiteY64" fmla="*/ 4429125 h 4496940"/>
                    <a:gd name="connsiteX65" fmla="*/ 1935502 w 4519987"/>
                    <a:gd name="connsiteY65" fmla="*/ 4400550 h 4496940"/>
                    <a:gd name="connsiteX66" fmla="*/ 1821202 w 4519987"/>
                    <a:gd name="connsiteY66" fmla="*/ 4371975 h 4496940"/>
                    <a:gd name="connsiteX67" fmla="*/ 1754527 w 4519987"/>
                    <a:gd name="connsiteY67" fmla="*/ 4352925 h 4496940"/>
                    <a:gd name="connsiteX68" fmla="*/ 1687852 w 4519987"/>
                    <a:gd name="connsiteY68" fmla="*/ 4343400 h 4496940"/>
                    <a:gd name="connsiteX69" fmla="*/ 1573552 w 4519987"/>
                    <a:gd name="connsiteY69" fmla="*/ 4305300 h 4496940"/>
                    <a:gd name="connsiteX70" fmla="*/ 1402102 w 4519987"/>
                    <a:gd name="connsiteY70" fmla="*/ 4276725 h 4496940"/>
                    <a:gd name="connsiteX71" fmla="*/ 1287802 w 4519987"/>
                    <a:gd name="connsiteY71" fmla="*/ 4229100 h 4496940"/>
                    <a:gd name="connsiteX72" fmla="*/ 1221127 w 4519987"/>
                    <a:gd name="connsiteY72" fmla="*/ 4200525 h 4496940"/>
                    <a:gd name="connsiteX73" fmla="*/ 1144927 w 4519987"/>
                    <a:gd name="connsiteY73" fmla="*/ 4171950 h 4496940"/>
                    <a:gd name="connsiteX74" fmla="*/ 1087777 w 4519987"/>
                    <a:gd name="connsiteY74" fmla="*/ 4143375 h 4496940"/>
                    <a:gd name="connsiteX75" fmla="*/ 1030627 w 4519987"/>
                    <a:gd name="connsiteY75" fmla="*/ 4124325 h 4496940"/>
                    <a:gd name="connsiteX76" fmla="*/ 925852 w 4519987"/>
                    <a:gd name="connsiteY76" fmla="*/ 4067175 h 4496940"/>
                    <a:gd name="connsiteX77" fmla="*/ 830602 w 4519987"/>
                    <a:gd name="connsiteY77" fmla="*/ 3981450 h 4496940"/>
                    <a:gd name="connsiteX78" fmla="*/ 763927 w 4519987"/>
                    <a:gd name="connsiteY78" fmla="*/ 3914775 h 4496940"/>
                    <a:gd name="connsiteX79" fmla="*/ 725827 w 4519987"/>
                    <a:gd name="connsiteY79" fmla="*/ 3876675 h 4496940"/>
                    <a:gd name="connsiteX80" fmla="*/ 697252 w 4519987"/>
                    <a:gd name="connsiteY80" fmla="*/ 3838575 h 4496940"/>
                    <a:gd name="connsiteX81" fmla="*/ 640102 w 4519987"/>
                    <a:gd name="connsiteY81" fmla="*/ 3781425 h 4496940"/>
                    <a:gd name="connsiteX82" fmla="*/ 611527 w 4519987"/>
                    <a:gd name="connsiteY82" fmla="*/ 3733800 h 4496940"/>
                    <a:gd name="connsiteX83" fmla="*/ 554377 w 4519987"/>
                    <a:gd name="connsiteY83" fmla="*/ 3657600 h 4496940"/>
                    <a:gd name="connsiteX84" fmla="*/ 525802 w 4519987"/>
                    <a:gd name="connsiteY84" fmla="*/ 3609975 h 4496940"/>
                    <a:gd name="connsiteX85" fmla="*/ 497227 w 4519987"/>
                    <a:gd name="connsiteY85" fmla="*/ 3552825 h 4496940"/>
                    <a:gd name="connsiteX86" fmla="*/ 440077 w 4519987"/>
                    <a:gd name="connsiteY86" fmla="*/ 3495675 h 4496940"/>
                    <a:gd name="connsiteX87" fmla="*/ 411502 w 4519987"/>
                    <a:gd name="connsiteY87" fmla="*/ 3448050 h 4496940"/>
                    <a:gd name="connsiteX88" fmla="*/ 278152 w 4519987"/>
                    <a:gd name="connsiteY88" fmla="*/ 3257550 h 4496940"/>
                    <a:gd name="connsiteX89" fmla="*/ 249577 w 4519987"/>
                    <a:gd name="connsiteY89" fmla="*/ 3200400 h 4496940"/>
                    <a:gd name="connsiteX90" fmla="*/ 240052 w 4519987"/>
                    <a:gd name="connsiteY90" fmla="*/ 3162300 h 4496940"/>
                    <a:gd name="connsiteX91" fmla="*/ 221002 w 4519987"/>
                    <a:gd name="connsiteY91" fmla="*/ 3105150 h 4496940"/>
                    <a:gd name="connsiteX92" fmla="*/ 173377 w 4519987"/>
                    <a:gd name="connsiteY92" fmla="*/ 3019425 h 4496940"/>
                    <a:gd name="connsiteX93" fmla="*/ 144802 w 4519987"/>
                    <a:gd name="connsiteY93" fmla="*/ 2924175 h 4496940"/>
                    <a:gd name="connsiteX94" fmla="*/ 68602 w 4519987"/>
                    <a:gd name="connsiteY94" fmla="*/ 2724150 h 4496940"/>
                    <a:gd name="connsiteX95" fmla="*/ 49552 w 4519987"/>
                    <a:gd name="connsiteY95" fmla="*/ 2638425 h 4496940"/>
                    <a:gd name="connsiteX96" fmla="*/ 40027 w 4519987"/>
                    <a:gd name="connsiteY96" fmla="*/ 2562225 h 4496940"/>
                    <a:gd name="connsiteX97" fmla="*/ 30502 w 4519987"/>
                    <a:gd name="connsiteY97" fmla="*/ 2514600 h 4496940"/>
                    <a:gd name="connsiteX98" fmla="*/ 11452 w 4519987"/>
                    <a:gd name="connsiteY98" fmla="*/ 2400300 h 4496940"/>
                    <a:gd name="connsiteX99" fmla="*/ 20977 w 4519987"/>
                    <a:gd name="connsiteY99" fmla="*/ 1905000 h 4496940"/>
                    <a:gd name="connsiteX100" fmla="*/ 30502 w 4519987"/>
                    <a:gd name="connsiteY100" fmla="*/ 1838325 h 4496940"/>
                    <a:gd name="connsiteX101" fmla="*/ 49552 w 4519987"/>
                    <a:gd name="connsiteY101" fmla="*/ 1781175 h 4496940"/>
                    <a:gd name="connsiteX102" fmla="*/ 59077 w 4519987"/>
                    <a:gd name="connsiteY102" fmla="*/ 1743075 h 4496940"/>
                    <a:gd name="connsiteX103" fmla="*/ 78127 w 4519987"/>
                    <a:gd name="connsiteY103" fmla="*/ 1685925 h 4496940"/>
                    <a:gd name="connsiteX104" fmla="*/ 87652 w 4519987"/>
                    <a:gd name="connsiteY104" fmla="*/ 1638300 h 4496940"/>
                    <a:gd name="connsiteX105" fmla="*/ 106702 w 4519987"/>
                    <a:gd name="connsiteY105" fmla="*/ 1590675 h 4496940"/>
                    <a:gd name="connsiteX106" fmla="*/ 135277 w 4519987"/>
                    <a:gd name="connsiteY106" fmla="*/ 1504950 h 4496940"/>
                    <a:gd name="connsiteX107" fmla="*/ 154327 w 4519987"/>
                    <a:gd name="connsiteY107" fmla="*/ 1419225 h 4496940"/>
                    <a:gd name="connsiteX108" fmla="*/ 230527 w 4519987"/>
                    <a:gd name="connsiteY108" fmla="*/ 1276350 h 4496940"/>
                    <a:gd name="connsiteX109" fmla="*/ 240052 w 4519987"/>
                    <a:gd name="connsiteY109" fmla="*/ 1247775 h 4496940"/>
                    <a:gd name="connsiteX110" fmla="*/ 268627 w 4519987"/>
                    <a:gd name="connsiteY110" fmla="*/ 1200150 h 4496940"/>
                    <a:gd name="connsiteX111" fmla="*/ 287677 w 4519987"/>
                    <a:gd name="connsiteY111" fmla="*/ 1152525 h 4496940"/>
                    <a:gd name="connsiteX112" fmla="*/ 316252 w 4519987"/>
                    <a:gd name="connsiteY112" fmla="*/ 1114425 h 4496940"/>
                    <a:gd name="connsiteX113" fmla="*/ 363877 w 4519987"/>
                    <a:gd name="connsiteY113" fmla="*/ 1038225 h 4496940"/>
                    <a:gd name="connsiteX114" fmla="*/ 382927 w 4519987"/>
                    <a:gd name="connsiteY114" fmla="*/ 1009650 h 4496940"/>
                    <a:gd name="connsiteX115" fmla="*/ 440077 w 4519987"/>
                    <a:gd name="connsiteY115" fmla="*/ 904875 h 4496940"/>
                    <a:gd name="connsiteX116" fmla="*/ 478177 w 4519987"/>
                    <a:gd name="connsiteY116" fmla="*/ 857250 h 4496940"/>
                    <a:gd name="connsiteX117" fmla="*/ 497227 w 4519987"/>
                    <a:gd name="connsiteY117" fmla="*/ 828675 h 4496940"/>
                    <a:gd name="connsiteX118" fmla="*/ 535327 w 4519987"/>
                    <a:gd name="connsiteY118" fmla="*/ 800100 h 4496940"/>
                    <a:gd name="connsiteX119" fmla="*/ 602002 w 4519987"/>
                    <a:gd name="connsiteY119" fmla="*/ 733425 h 4496940"/>
                    <a:gd name="connsiteX120" fmla="*/ 668677 w 4519987"/>
                    <a:gd name="connsiteY120" fmla="*/ 676275 h 4496940"/>
                    <a:gd name="connsiteX121" fmla="*/ 697252 w 4519987"/>
                    <a:gd name="connsiteY121" fmla="*/ 657225 h 4496940"/>
                    <a:gd name="connsiteX122" fmla="*/ 840127 w 4519987"/>
                    <a:gd name="connsiteY122" fmla="*/ 533400 h 4496940"/>
                    <a:gd name="connsiteX123" fmla="*/ 887752 w 4519987"/>
                    <a:gd name="connsiteY123" fmla="*/ 504825 h 4496940"/>
                    <a:gd name="connsiteX124" fmla="*/ 1167152 w 4519987"/>
                    <a:gd name="connsiteY124" fmla="*/ 311150 h 4496940"/>
                    <a:gd name="connsiteX125" fmla="*/ 1268752 w 4519987"/>
                    <a:gd name="connsiteY125" fmla="*/ 285750 h 4496940"/>
                    <a:gd name="connsiteX126" fmla="*/ 1411627 w 4519987"/>
                    <a:gd name="connsiteY126" fmla="*/ 190500 h 4496940"/>
                    <a:gd name="connsiteX127" fmla="*/ 1449727 w 4519987"/>
                    <a:gd name="connsiteY127" fmla="*/ 161925 h 4496940"/>
                    <a:gd name="connsiteX128" fmla="*/ 1525927 w 4519987"/>
                    <a:gd name="connsiteY128" fmla="*/ 152400 h 4496940"/>
                    <a:gd name="connsiteX129" fmla="*/ 1583077 w 4519987"/>
                    <a:gd name="connsiteY129" fmla="*/ 142875 h 4496940"/>
                    <a:gd name="connsiteX130" fmla="*/ 1716427 w 4519987"/>
                    <a:gd name="connsiteY130" fmla="*/ 123825 h 4496940"/>
                    <a:gd name="connsiteX131" fmla="*/ 1811677 w 4519987"/>
                    <a:gd name="connsiteY131" fmla="*/ 114300 h 4496940"/>
                    <a:gd name="connsiteX132" fmla="*/ 1859302 w 4519987"/>
                    <a:gd name="connsiteY132" fmla="*/ 104775 h 4496940"/>
                    <a:gd name="connsiteX133" fmla="*/ 1916452 w 4519987"/>
                    <a:gd name="connsiteY133" fmla="*/ 95250 h 4496940"/>
                    <a:gd name="connsiteX134" fmla="*/ 2030752 w 4519987"/>
                    <a:gd name="connsiteY134" fmla="*/ 66675 h 4496940"/>
                    <a:gd name="connsiteX135" fmla="*/ 2097427 w 4519987"/>
                    <a:gd name="connsiteY135" fmla="*/ 47625 h 4496940"/>
                    <a:gd name="connsiteX136" fmla="*/ 2164102 w 4519987"/>
                    <a:gd name="connsiteY136" fmla="*/ 38100 h 4496940"/>
                    <a:gd name="connsiteX137" fmla="*/ 2392702 w 4519987"/>
                    <a:gd name="connsiteY13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745252 w 4519987"/>
                    <a:gd name="connsiteY41" fmla="*/ 3819525 h 4496940"/>
                    <a:gd name="connsiteX42" fmla="*/ 3678577 w 4519987"/>
                    <a:gd name="connsiteY42" fmla="*/ 3848100 h 4496940"/>
                    <a:gd name="connsiteX43" fmla="*/ 3659527 w 4519987"/>
                    <a:gd name="connsiteY43" fmla="*/ 3971925 h 4496940"/>
                    <a:gd name="connsiteX44" fmla="*/ 3630952 w 4519987"/>
                    <a:gd name="connsiteY44" fmla="*/ 4010025 h 4496940"/>
                    <a:gd name="connsiteX45" fmla="*/ 3621427 w 4519987"/>
                    <a:gd name="connsiteY45" fmla="*/ 4038600 h 4496940"/>
                    <a:gd name="connsiteX46" fmla="*/ 3554752 w 4519987"/>
                    <a:gd name="connsiteY46" fmla="*/ 4095750 h 4496940"/>
                    <a:gd name="connsiteX47" fmla="*/ 3516652 w 4519987"/>
                    <a:gd name="connsiteY47" fmla="*/ 4114800 h 4496940"/>
                    <a:gd name="connsiteX48" fmla="*/ 3497602 w 4519987"/>
                    <a:gd name="connsiteY48" fmla="*/ 4143375 h 4496940"/>
                    <a:gd name="connsiteX49" fmla="*/ 3383302 w 4519987"/>
                    <a:gd name="connsiteY49" fmla="*/ 4210050 h 4496940"/>
                    <a:gd name="connsiteX50" fmla="*/ 3335677 w 4519987"/>
                    <a:gd name="connsiteY50" fmla="*/ 4238625 h 4496940"/>
                    <a:gd name="connsiteX51" fmla="*/ 3288052 w 4519987"/>
                    <a:gd name="connsiteY51" fmla="*/ 4248150 h 4496940"/>
                    <a:gd name="connsiteX52" fmla="*/ 3240427 w 4519987"/>
                    <a:gd name="connsiteY52" fmla="*/ 4267200 h 4496940"/>
                    <a:gd name="connsiteX53" fmla="*/ 3068977 w 4519987"/>
                    <a:gd name="connsiteY53" fmla="*/ 4286250 h 4496940"/>
                    <a:gd name="connsiteX54" fmla="*/ 2935627 w 4519987"/>
                    <a:gd name="connsiteY54" fmla="*/ 4333875 h 4496940"/>
                    <a:gd name="connsiteX55" fmla="*/ 2811802 w 4519987"/>
                    <a:gd name="connsiteY55" fmla="*/ 4371975 h 4496940"/>
                    <a:gd name="connsiteX56" fmla="*/ 2745127 w 4519987"/>
                    <a:gd name="connsiteY56" fmla="*/ 4410075 h 4496940"/>
                    <a:gd name="connsiteX57" fmla="*/ 2697502 w 4519987"/>
                    <a:gd name="connsiteY57" fmla="*/ 4429125 h 4496940"/>
                    <a:gd name="connsiteX58" fmla="*/ 2640352 w 4519987"/>
                    <a:gd name="connsiteY58" fmla="*/ 4457700 h 4496940"/>
                    <a:gd name="connsiteX59" fmla="*/ 2583202 w 4519987"/>
                    <a:gd name="connsiteY59" fmla="*/ 4467225 h 4496940"/>
                    <a:gd name="connsiteX60" fmla="*/ 2545102 w 4519987"/>
                    <a:gd name="connsiteY60" fmla="*/ 4486275 h 4496940"/>
                    <a:gd name="connsiteX61" fmla="*/ 2306977 w 4519987"/>
                    <a:gd name="connsiteY61" fmla="*/ 4476750 h 4496940"/>
                    <a:gd name="connsiteX62" fmla="*/ 2202202 w 4519987"/>
                    <a:gd name="connsiteY62" fmla="*/ 4457700 h 4496940"/>
                    <a:gd name="connsiteX63" fmla="*/ 2126002 w 4519987"/>
                    <a:gd name="connsiteY63" fmla="*/ 4429125 h 4496940"/>
                    <a:gd name="connsiteX64" fmla="*/ 1935502 w 4519987"/>
                    <a:gd name="connsiteY64" fmla="*/ 4400550 h 4496940"/>
                    <a:gd name="connsiteX65" fmla="*/ 1821202 w 4519987"/>
                    <a:gd name="connsiteY65" fmla="*/ 4371975 h 4496940"/>
                    <a:gd name="connsiteX66" fmla="*/ 1754527 w 4519987"/>
                    <a:gd name="connsiteY66" fmla="*/ 4352925 h 4496940"/>
                    <a:gd name="connsiteX67" fmla="*/ 1687852 w 4519987"/>
                    <a:gd name="connsiteY67" fmla="*/ 4343400 h 4496940"/>
                    <a:gd name="connsiteX68" fmla="*/ 1573552 w 4519987"/>
                    <a:gd name="connsiteY68" fmla="*/ 4305300 h 4496940"/>
                    <a:gd name="connsiteX69" fmla="*/ 1402102 w 4519987"/>
                    <a:gd name="connsiteY69" fmla="*/ 4276725 h 4496940"/>
                    <a:gd name="connsiteX70" fmla="*/ 1287802 w 4519987"/>
                    <a:gd name="connsiteY70" fmla="*/ 4229100 h 4496940"/>
                    <a:gd name="connsiteX71" fmla="*/ 1221127 w 4519987"/>
                    <a:gd name="connsiteY71" fmla="*/ 4200525 h 4496940"/>
                    <a:gd name="connsiteX72" fmla="*/ 1144927 w 4519987"/>
                    <a:gd name="connsiteY72" fmla="*/ 4171950 h 4496940"/>
                    <a:gd name="connsiteX73" fmla="*/ 1087777 w 4519987"/>
                    <a:gd name="connsiteY73" fmla="*/ 4143375 h 4496940"/>
                    <a:gd name="connsiteX74" fmla="*/ 1030627 w 4519987"/>
                    <a:gd name="connsiteY74" fmla="*/ 4124325 h 4496940"/>
                    <a:gd name="connsiteX75" fmla="*/ 925852 w 4519987"/>
                    <a:gd name="connsiteY75" fmla="*/ 4067175 h 4496940"/>
                    <a:gd name="connsiteX76" fmla="*/ 830602 w 4519987"/>
                    <a:gd name="connsiteY76" fmla="*/ 3981450 h 4496940"/>
                    <a:gd name="connsiteX77" fmla="*/ 763927 w 4519987"/>
                    <a:gd name="connsiteY77" fmla="*/ 3914775 h 4496940"/>
                    <a:gd name="connsiteX78" fmla="*/ 725827 w 4519987"/>
                    <a:gd name="connsiteY78" fmla="*/ 3876675 h 4496940"/>
                    <a:gd name="connsiteX79" fmla="*/ 697252 w 4519987"/>
                    <a:gd name="connsiteY79" fmla="*/ 3838575 h 4496940"/>
                    <a:gd name="connsiteX80" fmla="*/ 640102 w 4519987"/>
                    <a:gd name="connsiteY80" fmla="*/ 3781425 h 4496940"/>
                    <a:gd name="connsiteX81" fmla="*/ 611527 w 4519987"/>
                    <a:gd name="connsiteY81" fmla="*/ 3733800 h 4496940"/>
                    <a:gd name="connsiteX82" fmla="*/ 554377 w 4519987"/>
                    <a:gd name="connsiteY82" fmla="*/ 3657600 h 4496940"/>
                    <a:gd name="connsiteX83" fmla="*/ 525802 w 4519987"/>
                    <a:gd name="connsiteY83" fmla="*/ 3609975 h 4496940"/>
                    <a:gd name="connsiteX84" fmla="*/ 497227 w 4519987"/>
                    <a:gd name="connsiteY84" fmla="*/ 3552825 h 4496940"/>
                    <a:gd name="connsiteX85" fmla="*/ 440077 w 4519987"/>
                    <a:gd name="connsiteY85" fmla="*/ 3495675 h 4496940"/>
                    <a:gd name="connsiteX86" fmla="*/ 411502 w 4519987"/>
                    <a:gd name="connsiteY86" fmla="*/ 3448050 h 4496940"/>
                    <a:gd name="connsiteX87" fmla="*/ 278152 w 4519987"/>
                    <a:gd name="connsiteY87" fmla="*/ 3257550 h 4496940"/>
                    <a:gd name="connsiteX88" fmla="*/ 249577 w 4519987"/>
                    <a:gd name="connsiteY88" fmla="*/ 3200400 h 4496940"/>
                    <a:gd name="connsiteX89" fmla="*/ 240052 w 4519987"/>
                    <a:gd name="connsiteY89" fmla="*/ 3162300 h 4496940"/>
                    <a:gd name="connsiteX90" fmla="*/ 221002 w 4519987"/>
                    <a:gd name="connsiteY90" fmla="*/ 3105150 h 4496940"/>
                    <a:gd name="connsiteX91" fmla="*/ 173377 w 4519987"/>
                    <a:gd name="connsiteY91" fmla="*/ 3019425 h 4496940"/>
                    <a:gd name="connsiteX92" fmla="*/ 144802 w 4519987"/>
                    <a:gd name="connsiteY92" fmla="*/ 2924175 h 4496940"/>
                    <a:gd name="connsiteX93" fmla="*/ 68602 w 4519987"/>
                    <a:gd name="connsiteY93" fmla="*/ 2724150 h 4496940"/>
                    <a:gd name="connsiteX94" fmla="*/ 49552 w 4519987"/>
                    <a:gd name="connsiteY94" fmla="*/ 2638425 h 4496940"/>
                    <a:gd name="connsiteX95" fmla="*/ 40027 w 4519987"/>
                    <a:gd name="connsiteY95" fmla="*/ 2562225 h 4496940"/>
                    <a:gd name="connsiteX96" fmla="*/ 30502 w 4519987"/>
                    <a:gd name="connsiteY96" fmla="*/ 2514600 h 4496940"/>
                    <a:gd name="connsiteX97" fmla="*/ 11452 w 4519987"/>
                    <a:gd name="connsiteY97" fmla="*/ 2400300 h 4496940"/>
                    <a:gd name="connsiteX98" fmla="*/ 20977 w 4519987"/>
                    <a:gd name="connsiteY98" fmla="*/ 1905000 h 4496940"/>
                    <a:gd name="connsiteX99" fmla="*/ 30502 w 4519987"/>
                    <a:gd name="connsiteY99" fmla="*/ 1838325 h 4496940"/>
                    <a:gd name="connsiteX100" fmla="*/ 49552 w 4519987"/>
                    <a:gd name="connsiteY100" fmla="*/ 1781175 h 4496940"/>
                    <a:gd name="connsiteX101" fmla="*/ 59077 w 4519987"/>
                    <a:gd name="connsiteY101" fmla="*/ 1743075 h 4496940"/>
                    <a:gd name="connsiteX102" fmla="*/ 78127 w 4519987"/>
                    <a:gd name="connsiteY102" fmla="*/ 1685925 h 4496940"/>
                    <a:gd name="connsiteX103" fmla="*/ 87652 w 4519987"/>
                    <a:gd name="connsiteY103" fmla="*/ 1638300 h 4496940"/>
                    <a:gd name="connsiteX104" fmla="*/ 106702 w 4519987"/>
                    <a:gd name="connsiteY104" fmla="*/ 1590675 h 4496940"/>
                    <a:gd name="connsiteX105" fmla="*/ 135277 w 4519987"/>
                    <a:gd name="connsiteY105" fmla="*/ 1504950 h 4496940"/>
                    <a:gd name="connsiteX106" fmla="*/ 154327 w 4519987"/>
                    <a:gd name="connsiteY106" fmla="*/ 1419225 h 4496940"/>
                    <a:gd name="connsiteX107" fmla="*/ 230527 w 4519987"/>
                    <a:gd name="connsiteY107" fmla="*/ 1276350 h 4496940"/>
                    <a:gd name="connsiteX108" fmla="*/ 240052 w 4519987"/>
                    <a:gd name="connsiteY108" fmla="*/ 1247775 h 4496940"/>
                    <a:gd name="connsiteX109" fmla="*/ 268627 w 4519987"/>
                    <a:gd name="connsiteY109" fmla="*/ 1200150 h 4496940"/>
                    <a:gd name="connsiteX110" fmla="*/ 287677 w 4519987"/>
                    <a:gd name="connsiteY110" fmla="*/ 1152525 h 4496940"/>
                    <a:gd name="connsiteX111" fmla="*/ 316252 w 4519987"/>
                    <a:gd name="connsiteY111" fmla="*/ 1114425 h 4496940"/>
                    <a:gd name="connsiteX112" fmla="*/ 363877 w 4519987"/>
                    <a:gd name="connsiteY112" fmla="*/ 1038225 h 4496940"/>
                    <a:gd name="connsiteX113" fmla="*/ 382927 w 4519987"/>
                    <a:gd name="connsiteY113" fmla="*/ 1009650 h 4496940"/>
                    <a:gd name="connsiteX114" fmla="*/ 440077 w 4519987"/>
                    <a:gd name="connsiteY114" fmla="*/ 904875 h 4496940"/>
                    <a:gd name="connsiteX115" fmla="*/ 478177 w 4519987"/>
                    <a:gd name="connsiteY115" fmla="*/ 857250 h 4496940"/>
                    <a:gd name="connsiteX116" fmla="*/ 497227 w 4519987"/>
                    <a:gd name="connsiteY116" fmla="*/ 828675 h 4496940"/>
                    <a:gd name="connsiteX117" fmla="*/ 535327 w 4519987"/>
                    <a:gd name="connsiteY117" fmla="*/ 800100 h 4496940"/>
                    <a:gd name="connsiteX118" fmla="*/ 602002 w 4519987"/>
                    <a:gd name="connsiteY118" fmla="*/ 733425 h 4496940"/>
                    <a:gd name="connsiteX119" fmla="*/ 668677 w 4519987"/>
                    <a:gd name="connsiteY119" fmla="*/ 676275 h 4496940"/>
                    <a:gd name="connsiteX120" fmla="*/ 697252 w 4519987"/>
                    <a:gd name="connsiteY120" fmla="*/ 657225 h 4496940"/>
                    <a:gd name="connsiteX121" fmla="*/ 840127 w 4519987"/>
                    <a:gd name="connsiteY121" fmla="*/ 533400 h 4496940"/>
                    <a:gd name="connsiteX122" fmla="*/ 887752 w 4519987"/>
                    <a:gd name="connsiteY122" fmla="*/ 504825 h 4496940"/>
                    <a:gd name="connsiteX123" fmla="*/ 1167152 w 4519987"/>
                    <a:gd name="connsiteY123" fmla="*/ 311150 h 4496940"/>
                    <a:gd name="connsiteX124" fmla="*/ 1268752 w 4519987"/>
                    <a:gd name="connsiteY124" fmla="*/ 285750 h 4496940"/>
                    <a:gd name="connsiteX125" fmla="*/ 1411627 w 4519987"/>
                    <a:gd name="connsiteY125" fmla="*/ 190500 h 4496940"/>
                    <a:gd name="connsiteX126" fmla="*/ 1449727 w 4519987"/>
                    <a:gd name="connsiteY126" fmla="*/ 161925 h 4496940"/>
                    <a:gd name="connsiteX127" fmla="*/ 1525927 w 4519987"/>
                    <a:gd name="connsiteY127" fmla="*/ 152400 h 4496940"/>
                    <a:gd name="connsiteX128" fmla="*/ 1583077 w 4519987"/>
                    <a:gd name="connsiteY128" fmla="*/ 142875 h 4496940"/>
                    <a:gd name="connsiteX129" fmla="*/ 1716427 w 4519987"/>
                    <a:gd name="connsiteY129" fmla="*/ 123825 h 4496940"/>
                    <a:gd name="connsiteX130" fmla="*/ 1811677 w 4519987"/>
                    <a:gd name="connsiteY130" fmla="*/ 114300 h 4496940"/>
                    <a:gd name="connsiteX131" fmla="*/ 1859302 w 4519987"/>
                    <a:gd name="connsiteY131" fmla="*/ 104775 h 4496940"/>
                    <a:gd name="connsiteX132" fmla="*/ 1916452 w 4519987"/>
                    <a:gd name="connsiteY132" fmla="*/ 95250 h 4496940"/>
                    <a:gd name="connsiteX133" fmla="*/ 2030752 w 4519987"/>
                    <a:gd name="connsiteY133" fmla="*/ 66675 h 4496940"/>
                    <a:gd name="connsiteX134" fmla="*/ 2097427 w 4519987"/>
                    <a:gd name="connsiteY134" fmla="*/ 47625 h 4496940"/>
                    <a:gd name="connsiteX135" fmla="*/ 2164102 w 4519987"/>
                    <a:gd name="connsiteY135" fmla="*/ 38100 h 4496940"/>
                    <a:gd name="connsiteX136" fmla="*/ 2392702 w 4519987"/>
                    <a:gd name="connsiteY13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678577 w 4519987"/>
                    <a:gd name="connsiteY41" fmla="*/ 3848100 h 4496940"/>
                    <a:gd name="connsiteX42" fmla="*/ 3659527 w 4519987"/>
                    <a:gd name="connsiteY42" fmla="*/ 3971925 h 4496940"/>
                    <a:gd name="connsiteX43" fmla="*/ 3630952 w 4519987"/>
                    <a:gd name="connsiteY43" fmla="*/ 4010025 h 4496940"/>
                    <a:gd name="connsiteX44" fmla="*/ 3621427 w 4519987"/>
                    <a:gd name="connsiteY44" fmla="*/ 4038600 h 4496940"/>
                    <a:gd name="connsiteX45" fmla="*/ 3554752 w 4519987"/>
                    <a:gd name="connsiteY45" fmla="*/ 4095750 h 4496940"/>
                    <a:gd name="connsiteX46" fmla="*/ 3516652 w 4519987"/>
                    <a:gd name="connsiteY46" fmla="*/ 4114800 h 4496940"/>
                    <a:gd name="connsiteX47" fmla="*/ 3497602 w 4519987"/>
                    <a:gd name="connsiteY47" fmla="*/ 4143375 h 4496940"/>
                    <a:gd name="connsiteX48" fmla="*/ 3383302 w 4519987"/>
                    <a:gd name="connsiteY48" fmla="*/ 4210050 h 4496940"/>
                    <a:gd name="connsiteX49" fmla="*/ 3335677 w 4519987"/>
                    <a:gd name="connsiteY49" fmla="*/ 4238625 h 4496940"/>
                    <a:gd name="connsiteX50" fmla="*/ 3288052 w 4519987"/>
                    <a:gd name="connsiteY50" fmla="*/ 4248150 h 4496940"/>
                    <a:gd name="connsiteX51" fmla="*/ 3240427 w 4519987"/>
                    <a:gd name="connsiteY51" fmla="*/ 4267200 h 4496940"/>
                    <a:gd name="connsiteX52" fmla="*/ 3068977 w 4519987"/>
                    <a:gd name="connsiteY52" fmla="*/ 4286250 h 4496940"/>
                    <a:gd name="connsiteX53" fmla="*/ 2935627 w 4519987"/>
                    <a:gd name="connsiteY53" fmla="*/ 4333875 h 4496940"/>
                    <a:gd name="connsiteX54" fmla="*/ 2811802 w 4519987"/>
                    <a:gd name="connsiteY54" fmla="*/ 4371975 h 4496940"/>
                    <a:gd name="connsiteX55" fmla="*/ 2745127 w 4519987"/>
                    <a:gd name="connsiteY55" fmla="*/ 4410075 h 4496940"/>
                    <a:gd name="connsiteX56" fmla="*/ 2697502 w 4519987"/>
                    <a:gd name="connsiteY56" fmla="*/ 4429125 h 4496940"/>
                    <a:gd name="connsiteX57" fmla="*/ 2640352 w 4519987"/>
                    <a:gd name="connsiteY57" fmla="*/ 4457700 h 4496940"/>
                    <a:gd name="connsiteX58" fmla="*/ 2583202 w 4519987"/>
                    <a:gd name="connsiteY58" fmla="*/ 4467225 h 4496940"/>
                    <a:gd name="connsiteX59" fmla="*/ 2545102 w 4519987"/>
                    <a:gd name="connsiteY59" fmla="*/ 4486275 h 4496940"/>
                    <a:gd name="connsiteX60" fmla="*/ 2306977 w 4519987"/>
                    <a:gd name="connsiteY60" fmla="*/ 4476750 h 4496940"/>
                    <a:gd name="connsiteX61" fmla="*/ 2202202 w 4519987"/>
                    <a:gd name="connsiteY61" fmla="*/ 4457700 h 4496940"/>
                    <a:gd name="connsiteX62" fmla="*/ 2126002 w 4519987"/>
                    <a:gd name="connsiteY62" fmla="*/ 4429125 h 4496940"/>
                    <a:gd name="connsiteX63" fmla="*/ 1935502 w 4519987"/>
                    <a:gd name="connsiteY63" fmla="*/ 4400550 h 4496940"/>
                    <a:gd name="connsiteX64" fmla="*/ 1821202 w 4519987"/>
                    <a:gd name="connsiteY64" fmla="*/ 4371975 h 4496940"/>
                    <a:gd name="connsiteX65" fmla="*/ 1754527 w 4519987"/>
                    <a:gd name="connsiteY65" fmla="*/ 4352925 h 4496940"/>
                    <a:gd name="connsiteX66" fmla="*/ 1687852 w 4519987"/>
                    <a:gd name="connsiteY66" fmla="*/ 4343400 h 4496940"/>
                    <a:gd name="connsiteX67" fmla="*/ 1573552 w 4519987"/>
                    <a:gd name="connsiteY67" fmla="*/ 4305300 h 4496940"/>
                    <a:gd name="connsiteX68" fmla="*/ 1402102 w 4519987"/>
                    <a:gd name="connsiteY68" fmla="*/ 4276725 h 4496940"/>
                    <a:gd name="connsiteX69" fmla="*/ 1287802 w 4519987"/>
                    <a:gd name="connsiteY69" fmla="*/ 4229100 h 4496940"/>
                    <a:gd name="connsiteX70" fmla="*/ 1221127 w 4519987"/>
                    <a:gd name="connsiteY70" fmla="*/ 4200525 h 4496940"/>
                    <a:gd name="connsiteX71" fmla="*/ 1144927 w 4519987"/>
                    <a:gd name="connsiteY71" fmla="*/ 4171950 h 4496940"/>
                    <a:gd name="connsiteX72" fmla="*/ 1087777 w 4519987"/>
                    <a:gd name="connsiteY72" fmla="*/ 4143375 h 4496940"/>
                    <a:gd name="connsiteX73" fmla="*/ 1030627 w 4519987"/>
                    <a:gd name="connsiteY73" fmla="*/ 4124325 h 4496940"/>
                    <a:gd name="connsiteX74" fmla="*/ 925852 w 4519987"/>
                    <a:gd name="connsiteY74" fmla="*/ 4067175 h 4496940"/>
                    <a:gd name="connsiteX75" fmla="*/ 830602 w 4519987"/>
                    <a:gd name="connsiteY75" fmla="*/ 3981450 h 4496940"/>
                    <a:gd name="connsiteX76" fmla="*/ 763927 w 4519987"/>
                    <a:gd name="connsiteY76" fmla="*/ 3914775 h 4496940"/>
                    <a:gd name="connsiteX77" fmla="*/ 725827 w 4519987"/>
                    <a:gd name="connsiteY77" fmla="*/ 3876675 h 4496940"/>
                    <a:gd name="connsiteX78" fmla="*/ 697252 w 4519987"/>
                    <a:gd name="connsiteY78" fmla="*/ 3838575 h 4496940"/>
                    <a:gd name="connsiteX79" fmla="*/ 640102 w 4519987"/>
                    <a:gd name="connsiteY79" fmla="*/ 3781425 h 4496940"/>
                    <a:gd name="connsiteX80" fmla="*/ 611527 w 4519987"/>
                    <a:gd name="connsiteY80" fmla="*/ 3733800 h 4496940"/>
                    <a:gd name="connsiteX81" fmla="*/ 554377 w 4519987"/>
                    <a:gd name="connsiteY81" fmla="*/ 3657600 h 4496940"/>
                    <a:gd name="connsiteX82" fmla="*/ 525802 w 4519987"/>
                    <a:gd name="connsiteY82" fmla="*/ 3609975 h 4496940"/>
                    <a:gd name="connsiteX83" fmla="*/ 497227 w 4519987"/>
                    <a:gd name="connsiteY83" fmla="*/ 3552825 h 4496940"/>
                    <a:gd name="connsiteX84" fmla="*/ 440077 w 4519987"/>
                    <a:gd name="connsiteY84" fmla="*/ 3495675 h 4496940"/>
                    <a:gd name="connsiteX85" fmla="*/ 411502 w 4519987"/>
                    <a:gd name="connsiteY85" fmla="*/ 3448050 h 4496940"/>
                    <a:gd name="connsiteX86" fmla="*/ 278152 w 4519987"/>
                    <a:gd name="connsiteY86" fmla="*/ 3257550 h 4496940"/>
                    <a:gd name="connsiteX87" fmla="*/ 249577 w 4519987"/>
                    <a:gd name="connsiteY87" fmla="*/ 3200400 h 4496940"/>
                    <a:gd name="connsiteX88" fmla="*/ 240052 w 4519987"/>
                    <a:gd name="connsiteY88" fmla="*/ 3162300 h 4496940"/>
                    <a:gd name="connsiteX89" fmla="*/ 221002 w 4519987"/>
                    <a:gd name="connsiteY89" fmla="*/ 3105150 h 4496940"/>
                    <a:gd name="connsiteX90" fmla="*/ 173377 w 4519987"/>
                    <a:gd name="connsiteY90" fmla="*/ 3019425 h 4496940"/>
                    <a:gd name="connsiteX91" fmla="*/ 144802 w 4519987"/>
                    <a:gd name="connsiteY91" fmla="*/ 2924175 h 4496940"/>
                    <a:gd name="connsiteX92" fmla="*/ 68602 w 4519987"/>
                    <a:gd name="connsiteY92" fmla="*/ 2724150 h 4496940"/>
                    <a:gd name="connsiteX93" fmla="*/ 49552 w 4519987"/>
                    <a:gd name="connsiteY93" fmla="*/ 2638425 h 4496940"/>
                    <a:gd name="connsiteX94" fmla="*/ 40027 w 4519987"/>
                    <a:gd name="connsiteY94" fmla="*/ 2562225 h 4496940"/>
                    <a:gd name="connsiteX95" fmla="*/ 30502 w 4519987"/>
                    <a:gd name="connsiteY95" fmla="*/ 2514600 h 4496940"/>
                    <a:gd name="connsiteX96" fmla="*/ 11452 w 4519987"/>
                    <a:gd name="connsiteY96" fmla="*/ 2400300 h 4496940"/>
                    <a:gd name="connsiteX97" fmla="*/ 20977 w 4519987"/>
                    <a:gd name="connsiteY97" fmla="*/ 1905000 h 4496940"/>
                    <a:gd name="connsiteX98" fmla="*/ 30502 w 4519987"/>
                    <a:gd name="connsiteY98" fmla="*/ 1838325 h 4496940"/>
                    <a:gd name="connsiteX99" fmla="*/ 49552 w 4519987"/>
                    <a:gd name="connsiteY99" fmla="*/ 1781175 h 4496940"/>
                    <a:gd name="connsiteX100" fmla="*/ 59077 w 4519987"/>
                    <a:gd name="connsiteY100" fmla="*/ 1743075 h 4496940"/>
                    <a:gd name="connsiteX101" fmla="*/ 78127 w 4519987"/>
                    <a:gd name="connsiteY101" fmla="*/ 1685925 h 4496940"/>
                    <a:gd name="connsiteX102" fmla="*/ 87652 w 4519987"/>
                    <a:gd name="connsiteY102" fmla="*/ 1638300 h 4496940"/>
                    <a:gd name="connsiteX103" fmla="*/ 106702 w 4519987"/>
                    <a:gd name="connsiteY103" fmla="*/ 1590675 h 4496940"/>
                    <a:gd name="connsiteX104" fmla="*/ 135277 w 4519987"/>
                    <a:gd name="connsiteY104" fmla="*/ 1504950 h 4496940"/>
                    <a:gd name="connsiteX105" fmla="*/ 154327 w 4519987"/>
                    <a:gd name="connsiteY105" fmla="*/ 1419225 h 4496940"/>
                    <a:gd name="connsiteX106" fmla="*/ 230527 w 4519987"/>
                    <a:gd name="connsiteY106" fmla="*/ 1276350 h 4496940"/>
                    <a:gd name="connsiteX107" fmla="*/ 240052 w 4519987"/>
                    <a:gd name="connsiteY107" fmla="*/ 1247775 h 4496940"/>
                    <a:gd name="connsiteX108" fmla="*/ 268627 w 4519987"/>
                    <a:gd name="connsiteY108" fmla="*/ 1200150 h 4496940"/>
                    <a:gd name="connsiteX109" fmla="*/ 287677 w 4519987"/>
                    <a:gd name="connsiteY109" fmla="*/ 1152525 h 4496940"/>
                    <a:gd name="connsiteX110" fmla="*/ 316252 w 4519987"/>
                    <a:gd name="connsiteY110" fmla="*/ 1114425 h 4496940"/>
                    <a:gd name="connsiteX111" fmla="*/ 363877 w 4519987"/>
                    <a:gd name="connsiteY111" fmla="*/ 1038225 h 4496940"/>
                    <a:gd name="connsiteX112" fmla="*/ 382927 w 4519987"/>
                    <a:gd name="connsiteY112" fmla="*/ 1009650 h 4496940"/>
                    <a:gd name="connsiteX113" fmla="*/ 440077 w 4519987"/>
                    <a:gd name="connsiteY113" fmla="*/ 904875 h 4496940"/>
                    <a:gd name="connsiteX114" fmla="*/ 478177 w 4519987"/>
                    <a:gd name="connsiteY114" fmla="*/ 857250 h 4496940"/>
                    <a:gd name="connsiteX115" fmla="*/ 497227 w 4519987"/>
                    <a:gd name="connsiteY115" fmla="*/ 828675 h 4496940"/>
                    <a:gd name="connsiteX116" fmla="*/ 535327 w 4519987"/>
                    <a:gd name="connsiteY116" fmla="*/ 800100 h 4496940"/>
                    <a:gd name="connsiteX117" fmla="*/ 602002 w 4519987"/>
                    <a:gd name="connsiteY117" fmla="*/ 733425 h 4496940"/>
                    <a:gd name="connsiteX118" fmla="*/ 668677 w 4519987"/>
                    <a:gd name="connsiteY118" fmla="*/ 676275 h 4496940"/>
                    <a:gd name="connsiteX119" fmla="*/ 697252 w 4519987"/>
                    <a:gd name="connsiteY119" fmla="*/ 657225 h 4496940"/>
                    <a:gd name="connsiteX120" fmla="*/ 840127 w 4519987"/>
                    <a:gd name="connsiteY120" fmla="*/ 533400 h 4496940"/>
                    <a:gd name="connsiteX121" fmla="*/ 887752 w 4519987"/>
                    <a:gd name="connsiteY121" fmla="*/ 504825 h 4496940"/>
                    <a:gd name="connsiteX122" fmla="*/ 1167152 w 4519987"/>
                    <a:gd name="connsiteY122" fmla="*/ 311150 h 4496940"/>
                    <a:gd name="connsiteX123" fmla="*/ 1268752 w 4519987"/>
                    <a:gd name="connsiteY123" fmla="*/ 285750 h 4496940"/>
                    <a:gd name="connsiteX124" fmla="*/ 1411627 w 4519987"/>
                    <a:gd name="connsiteY124" fmla="*/ 190500 h 4496940"/>
                    <a:gd name="connsiteX125" fmla="*/ 1449727 w 4519987"/>
                    <a:gd name="connsiteY125" fmla="*/ 161925 h 4496940"/>
                    <a:gd name="connsiteX126" fmla="*/ 1525927 w 4519987"/>
                    <a:gd name="connsiteY126" fmla="*/ 152400 h 4496940"/>
                    <a:gd name="connsiteX127" fmla="*/ 1583077 w 4519987"/>
                    <a:gd name="connsiteY127" fmla="*/ 142875 h 4496940"/>
                    <a:gd name="connsiteX128" fmla="*/ 1716427 w 4519987"/>
                    <a:gd name="connsiteY128" fmla="*/ 123825 h 4496940"/>
                    <a:gd name="connsiteX129" fmla="*/ 1811677 w 4519987"/>
                    <a:gd name="connsiteY129" fmla="*/ 114300 h 4496940"/>
                    <a:gd name="connsiteX130" fmla="*/ 1859302 w 4519987"/>
                    <a:gd name="connsiteY130" fmla="*/ 104775 h 4496940"/>
                    <a:gd name="connsiteX131" fmla="*/ 1916452 w 4519987"/>
                    <a:gd name="connsiteY131" fmla="*/ 95250 h 4496940"/>
                    <a:gd name="connsiteX132" fmla="*/ 2030752 w 4519987"/>
                    <a:gd name="connsiteY132" fmla="*/ 66675 h 4496940"/>
                    <a:gd name="connsiteX133" fmla="*/ 2097427 w 4519987"/>
                    <a:gd name="connsiteY133" fmla="*/ 47625 h 4496940"/>
                    <a:gd name="connsiteX134" fmla="*/ 2164102 w 4519987"/>
                    <a:gd name="connsiteY134" fmla="*/ 38100 h 4496940"/>
                    <a:gd name="connsiteX135" fmla="*/ 2392702 w 4519987"/>
                    <a:gd name="connsiteY13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78577 w 4519987"/>
                    <a:gd name="connsiteY40" fmla="*/ 3848100 h 4496940"/>
                    <a:gd name="connsiteX41" fmla="*/ 3659527 w 4519987"/>
                    <a:gd name="connsiteY41" fmla="*/ 3971925 h 4496940"/>
                    <a:gd name="connsiteX42" fmla="*/ 3630952 w 4519987"/>
                    <a:gd name="connsiteY42" fmla="*/ 4010025 h 4496940"/>
                    <a:gd name="connsiteX43" fmla="*/ 3621427 w 4519987"/>
                    <a:gd name="connsiteY43" fmla="*/ 4038600 h 4496940"/>
                    <a:gd name="connsiteX44" fmla="*/ 3554752 w 4519987"/>
                    <a:gd name="connsiteY44" fmla="*/ 4095750 h 4496940"/>
                    <a:gd name="connsiteX45" fmla="*/ 3516652 w 4519987"/>
                    <a:gd name="connsiteY45" fmla="*/ 4114800 h 4496940"/>
                    <a:gd name="connsiteX46" fmla="*/ 3497602 w 4519987"/>
                    <a:gd name="connsiteY46" fmla="*/ 4143375 h 4496940"/>
                    <a:gd name="connsiteX47" fmla="*/ 3383302 w 4519987"/>
                    <a:gd name="connsiteY47" fmla="*/ 4210050 h 4496940"/>
                    <a:gd name="connsiteX48" fmla="*/ 3335677 w 4519987"/>
                    <a:gd name="connsiteY48" fmla="*/ 4238625 h 4496940"/>
                    <a:gd name="connsiteX49" fmla="*/ 3288052 w 4519987"/>
                    <a:gd name="connsiteY49" fmla="*/ 4248150 h 4496940"/>
                    <a:gd name="connsiteX50" fmla="*/ 3240427 w 4519987"/>
                    <a:gd name="connsiteY50" fmla="*/ 4267200 h 4496940"/>
                    <a:gd name="connsiteX51" fmla="*/ 3068977 w 4519987"/>
                    <a:gd name="connsiteY51" fmla="*/ 4286250 h 4496940"/>
                    <a:gd name="connsiteX52" fmla="*/ 2935627 w 4519987"/>
                    <a:gd name="connsiteY52" fmla="*/ 4333875 h 4496940"/>
                    <a:gd name="connsiteX53" fmla="*/ 2811802 w 4519987"/>
                    <a:gd name="connsiteY53" fmla="*/ 4371975 h 4496940"/>
                    <a:gd name="connsiteX54" fmla="*/ 2745127 w 4519987"/>
                    <a:gd name="connsiteY54" fmla="*/ 4410075 h 4496940"/>
                    <a:gd name="connsiteX55" fmla="*/ 2697502 w 4519987"/>
                    <a:gd name="connsiteY55" fmla="*/ 4429125 h 4496940"/>
                    <a:gd name="connsiteX56" fmla="*/ 2640352 w 4519987"/>
                    <a:gd name="connsiteY56" fmla="*/ 4457700 h 4496940"/>
                    <a:gd name="connsiteX57" fmla="*/ 2583202 w 4519987"/>
                    <a:gd name="connsiteY57" fmla="*/ 4467225 h 4496940"/>
                    <a:gd name="connsiteX58" fmla="*/ 2545102 w 4519987"/>
                    <a:gd name="connsiteY58" fmla="*/ 4486275 h 4496940"/>
                    <a:gd name="connsiteX59" fmla="*/ 2306977 w 4519987"/>
                    <a:gd name="connsiteY59" fmla="*/ 4476750 h 4496940"/>
                    <a:gd name="connsiteX60" fmla="*/ 2202202 w 4519987"/>
                    <a:gd name="connsiteY60" fmla="*/ 4457700 h 4496940"/>
                    <a:gd name="connsiteX61" fmla="*/ 2126002 w 4519987"/>
                    <a:gd name="connsiteY61" fmla="*/ 4429125 h 4496940"/>
                    <a:gd name="connsiteX62" fmla="*/ 1935502 w 4519987"/>
                    <a:gd name="connsiteY62" fmla="*/ 4400550 h 4496940"/>
                    <a:gd name="connsiteX63" fmla="*/ 1821202 w 4519987"/>
                    <a:gd name="connsiteY63" fmla="*/ 4371975 h 4496940"/>
                    <a:gd name="connsiteX64" fmla="*/ 1754527 w 4519987"/>
                    <a:gd name="connsiteY64" fmla="*/ 4352925 h 4496940"/>
                    <a:gd name="connsiteX65" fmla="*/ 1687852 w 4519987"/>
                    <a:gd name="connsiteY65" fmla="*/ 4343400 h 4496940"/>
                    <a:gd name="connsiteX66" fmla="*/ 1573552 w 4519987"/>
                    <a:gd name="connsiteY66" fmla="*/ 4305300 h 4496940"/>
                    <a:gd name="connsiteX67" fmla="*/ 1402102 w 4519987"/>
                    <a:gd name="connsiteY67" fmla="*/ 4276725 h 4496940"/>
                    <a:gd name="connsiteX68" fmla="*/ 1287802 w 4519987"/>
                    <a:gd name="connsiteY68" fmla="*/ 4229100 h 4496940"/>
                    <a:gd name="connsiteX69" fmla="*/ 1221127 w 4519987"/>
                    <a:gd name="connsiteY69" fmla="*/ 4200525 h 4496940"/>
                    <a:gd name="connsiteX70" fmla="*/ 1144927 w 4519987"/>
                    <a:gd name="connsiteY70" fmla="*/ 4171950 h 4496940"/>
                    <a:gd name="connsiteX71" fmla="*/ 1087777 w 4519987"/>
                    <a:gd name="connsiteY71" fmla="*/ 4143375 h 4496940"/>
                    <a:gd name="connsiteX72" fmla="*/ 1030627 w 4519987"/>
                    <a:gd name="connsiteY72" fmla="*/ 4124325 h 4496940"/>
                    <a:gd name="connsiteX73" fmla="*/ 925852 w 4519987"/>
                    <a:gd name="connsiteY73" fmla="*/ 4067175 h 4496940"/>
                    <a:gd name="connsiteX74" fmla="*/ 830602 w 4519987"/>
                    <a:gd name="connsiteY74" fmla="*/ 3981450 h 4496940"/>
                    <a:gd name="connsiteX75" fmla="*/ 763927 w 4519987"/>
                    <a:gd name="connsiteY75" fmla="*/ 3914775 h 4496940"/>
                    <a:gd name="connsiteX76" fmla="*/ 725827 w 4519987"/>
                    <a:gd name="connsiteY76" fmla="*/ 3876675 h 4496940"/>
                    <a:gd name="connsiteX77" fmla="*/ 697252 w 4519987"/>
                    <a:gd name="connsiteY77" fmla="*/ 3838575 h 4496940"/>
                    <a:gd name="connsiteX78" fmla="*/ 640102 w 4519987"/>
                    <a:gd name="connsiteY78" fmla="*/ 3781425 h 4496940"/>
                    <a:gd name="connsiteX79" fmla="*/ 611527 w 4519987"/>
                    <a:gd name="connsiteY79" fmla="*/ 3733800 h 4496940"/>
                    <a:gd name="connsiteX80" fmla="*/ 554377 w 4519987"/>
                    <a:gd name="connsiteY80" fmla="*/ 3657600 h 4496940"/>
                    <a:gd name="connsiteX81" fmla="*/ 525802 w 4519987"/>
                    <a:gd name="connsiteY81" fmla="*/ 3609975 h 4496940"/>
                    <a:gd name="connsiteX82" fmla="*/ 497227 w 4519987"/>
                    <a:gd name="connsiteY82" fmla="*/ 3552825 h 4496940"/>
                    <a:gd name="connsiteX83" fmla="*/ 440077 w 4519987"/>
                    <a:gd name="connsiteY83" fmla="*/ 3495675 h 4496940"/>
                    <a:gd name="connsiteX84" fmla="*/ 411502 w 4519987"/>
                    <a:gd name="connsiteY84" fmla="*/ 3448050 h 4496940"/>
                    <a:gd name="connsiteX85" fmla="*/ 278152 w 4519987"/>
                    <a:gd name="connsiteY85" fmla="*/ 3257550 h 4496940"/>
                    <a:gd name="connsiteX86" fmla="*/ 249577 w 4519987"/>
                    <a:gd name="connsiteY86" fmla="*/ 3200400 h 4496940"/>
                    <a:gd name="connsiteX87" fmla="*/ 240052 w 4519987"/>
                    <a:gd name="connsiteY87" fmla="*/ 3162300 h 4496940"/>
                    <a:gd name="connsiteX88" fmla="*/ 221002 w 4519987"/>
                    <a:gd name="connsiteY88" fmla="*/ 3105150 h 4496940"/>
                    <a:gd name="connsiteX89" fmla="*/ 173377 w 4519987"/>
                    <a:gd name="connsiteY89" fmla="*/ 3019425 h 4496940"/>
                    <a:gd name="connsiteX90" fmla="*/ 144802 w 4519987"/>
                    <a:gd name="connsiteY90" fmla="*/ 2924175 h 4496940"/>
                    <a:gd name="connsiteX91" fmla="*/ 68602 w 4519987"/>
                    <a:gd name="connsiteY91" fmla="*/ 2724150 h 4496940"/>
                    <a:gd name="connsiteX92" fmla="*/ 49552 w 4519987"/>
                    <a:gd name="connsiteY92" fmla="*/ 2638425 h 4496940"/>
                    <a:gd name="connsiteX93" fmla="*/ 40027 w 4519987"/>
                    <a:gd name="connsiteY93" fmla="*/ 2562225 h 4496940"/>
                    <a:gd name="connsiteX94" fmla="*/ 30502 w 4519987"/>
                    <a:gd name="connsiteY94" fmla="*/ 2514600 h 4496940"/>
                    <a:gd name="connsiteX95" fmla="*/ 11452 w 4519987"/>
                    <a:gd name="connsiteY95" fmla="*/ 2400300 h 4496940"/>
                    <a:gd name="connsiteX96" fmla="*/ 20977 w 4519987"/>
                    <a:gd name="connsiteY96" fmla="*/ 1905000 h 4496940"/>
                    <a:gd name="connsiteX97" fmla="*/ 30502 w 4519987"/>
                    <a:gd name="connsiteY97" fmla="*/ 1838325 h 4496940"/>
                    <a:gd name="connsiteX98" fmla="*/ 49552 w 4519987"/>
                    <a:gd name="connsiteY98" fmla="*/ 1781175 h 4496940"/>
                    <a:gd name="connsiteX99" fmla="*/ 59077 w 4519987"/>
                    <a:gd name="connsiteY99" fmla="*/ 1743075 h 4496940"/>
                    <a:gd name="connsiteX100" fmla="*/ 78127 w 4519987"/>
                    <a:gd name="connsiteY100" fmla="*/ 1685925 h 4496940"/>
                    <a:gd name="connsiteX101" fmla="*/ 87652 w 4519987"/>
                    <a:gd name="connsiteY101" fmla="*/ 1638300 h 4496940"/>
                    <a:gd name="connsiteX102" fmla="*/ 106702 w 4519987"/>
                    <a:gd name="connsiteY102" fmla="*/ 1590675 h 4496940"/>
                    <a:gd name="connsiteX103" fmla="*/ 135277 w 4519987"/>
                    <a:gd name="connsiteY103" fmla="*/ 1504950 h 4496940"/>
                    <a:gd name="connsiteX104" fmla="*/ 154327 w 4519987"/>
                    <a:gd name="connsiteY104" fmla="*/ 1419225 h 4496940"/>
                    <a:gd name="connsiteX105" fmla="*/ 230527 w 4519987"/>
                    <a:gd name="connsiteY105" fmla="*/ 1276350 h 4496940"/>
                    <a:gd name="connsiteX106" fmla="*/ 240052 w 4519987"/>
                    <a:gd name="connsiteY106" fmla="*/ 1247775 h 4496940"/>
                    <a:gd name="connsiteX107" fmla="*/ 268627 w 4519987"/>
                    <a:gd name="connsiteY107" fmla="*/ 1200150 h 4496940"/>
                    <a:gd name="connsiteX108" fmla="*/ 287677 w 4519987"/>
                    <a:gd name="connsiteY108" fmla="*/ 1152525 h 4496940"/>
                    <a:gd name="connsiteX109" fmla="*/ 316252 w 4519987"/>
                    <a:gd name="connsiteY109" fmla="*/ 1114425 h 4496940"/>
                    <a:gd name="connsiteX110" fmla="*/ 363877 w 4519987"/>
                    <a:gd name="connsiteY110" fmla="*/ 1038225 h 4496940"/>
                    <a:gd name="connsiteX111" fmla="*/ 382927 w 4519987"/>
                    <a:gd name="connsiteY111" fmla="*/ 1009650 h 4496940"/>
                    <a:gd name="connsiteX112" fmla="*/ 440077 w 4519987"/>
                    <a:gd name="connsiteY112" fmla="*/ 904875 h 4496940"/>
                    <a:gd name="connsiteX113" fmla="*/ 478177 w 4519987"/>
                    <a:gd name="connsiteY113" fmla="*/ 857250 h 4496940"/>
                    <a:gd name="connsiteX114" fmla="*/ 497227 w 4519987"/>
                    <a:gd name="connsiteY114" fmla="*/ 828675 h 4496940"/>
                    <a:gd name="connsiteX115" fmla="*/ 535327 w 4519987"/>
                    <a:gd name="connsiteY115" fmla="*/ 800100 h 4496940"/>
                    <a:gd name="connsiteX116" fmla="*/ 602002 w 4519987"/>
                    <a:gd name="connsiteY116" fmla="*/ 733425 h 4496940"/>
                    <a:gd name="connsiteX117" fmla="*/ 668677 w 4519987"/>
                    <a:gd name="connsiteY117" fmla="*/ 676275 h 4496940"/>
                    <a:gd name="connsiteX118" fmla="*/ 697252 w 4519987"/>
                    <a:gd name="connsiteY118" fmla="*/ 657225 h 4496940"/>
                    <a:gd name="connsiteX119" fmla="*/ 840127 w 4519987"/>
                    <a:gd name="connsiteY119" fmla="*/ 533400 h 4496940"/>
                    <a:gd name="connsiteX120" fmla="*/ 887752 w 4519987"/>
                    <a:gd name="connsiteY120" fmla="*/ 504825 h 4496940"/>
                    <a:gd name="connsiteX121" fmla="*/ 1167152 w 4519987"/>
                    <a:gd name="connsiteY121" fmla="*/ 311150 h 4496940"/>
                    <a:gd name="connsiteX122" fmla="*/ 1268752 w 4519987"/>
                    <a:gd name="connsiteY122" fmla="*/ 285750 h 4496940"/>
                    <a:gd name="connsiteX123" fmla="*/ 1411627 w 4519987"/>
                    <a:gd name="connsiteY123" fmla="*/ 190500 h 4496940"/>
                    <a:gd name="connsiteX124" fmla="*/ 1449727 w 4519987"/>
                    <a:gd name="connsiteY124" fmla="*/ 161925 h 4496940"/>
                    <a:gd name="connsiteX125" fmla="*/ 1525927 w 4519987"/>
                    <a:gd name="connsiteY125" fmla="*/ 152400 h 4496940"/>
                    <a:gd name="connsiteX126" fmla="*/ 1583077 w 4519987"/>
                    <a:gd name="connsiteY126" fmla="*/ 142875 h 4496940"/>
                    <a:gd name="connsiteX127" fmla="*/ 1716427 w 4519987"/>
                    <a:gd name="connsiteY127" fmla="*/ 123825 h 4496940"/>
                    <a:gd name="connsiteX128" fmla="*/ 1811677 w 4519987"/>
                    <a:gd name="connsiteY128" fmla="*/ 114300 h 4496940"/>
                    <a:gd name="connsiteX129" fmla="*/ 1859302 w 4519987"/>
                    <a:gd name="connsiteY129" fmla="*/ 104775 h 4496940"/>
                    <a:gd name="connsiteX130" fmla="*/ 1916452 w 4519987"/>
                    <a:gd name="connsiteY130" fmla="*/ 95250 h 4496940"/>
                    <a:gd name="connsiteX131" fmla="*/ 2030752 w 4519987"/>
                    <a:gd name="connsiteY131" fmla="*/ 66675 h 4496940"/>
                    <a:gd name="connsiteX132" fmla="*/ 2097427 w 4519987"/>
                    <a:gd name="connsiteY132" fmla="*/ 47625 h 4496940"/>
                    <a:gd name="connsiteX133" fmla="*/ 2164102 w 4519987"/>
                    <a:gd name="connsiteY133" fmla="*/ 38100 h 4496940"/>
                    <a:gd name="connsiteX134" fmla="*/ 2392702 w 4519987"/>
                    <a:gd name="connsiteY13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59527 w 4519987"/>
                    <a:gd name="connsiteY40" fmla="*/ 3971925 h 4496940"/>
                    <a:gd name="connsiteX41" fmla="*/ 3630952 w 4519987"/>
                    <a:gd name="connsiteY41" fmla="*/ 4010025 h 4496940"/>
                    <a:gd name="connsiteX42" fmla="*/ 3621427 w 4519987"/>
                    <a:gd name="connsiteY42" fmla="*/ 4038600 h 4496940"/>
                    <a:gd name="connsiteX43" fmla="*/ 3554752 w 4519987"/>
                    <a:gd name="connsiteY43" fmla="*/ 4095750 h 4496940"/>
                    <a:gd name="connsiteX44" fmla="*/ 3516652 w 4519987"/>
                    <a:gd name="connsiteY44" fmla="*/ 4114800 h 4496940"/>
                    <a:gd name="connsiteX45" fmla="*/ 3497602 w 4519987"/>
                    <a:gd name="connsiteY45" fmla="*/ 4143375 h 4496940"/>
                    <a:gd name="connsiteX46" fmla="*/ 3383302 w 4519987"/>
                    <a:gd name="connsiteY46" fmla="*/ 4210050 h 4496940"/>
                    <a:gd name="connsiteX47" fmla="*/ 3335677 w 4519987"/>
                    <a:gd name="connsiteY47" fmla="*/ 4238625 h 4496940"/>
                    <a:gd name="connsiteX48" fmla="*/ 3288052 w 4519987"/>
                    <a:gd name="connsiteY48" fmla="*/ 4248150 h 4496940"/>
                    <a:gd name="connsiteX49" fmla="*/ 3240427 w 4519987"/>
                    <a:gd name="connsiteY49" fmla="*/ 4267200 h 4496940"/>
                    <a:gd name="connsiteX50" fmla="*/ 3068977 w 4519987"/>
                    <a:gd name="connsiteY50" fmla="*/ 4286250 h 4496940"/>
                    <a:gd name="connsiteX51" fmla="*/ 2935627 w 4519987"/>
                    <a:gd name="connsiteY51" fmla="*/ 4333875 h 4496940"/>
                    <a:gd name="connsiteX52" fmla="*/ 2811802 w 4519987"/>
                    <a:gd name="connsiteY52" fmla="*/ 4371975 h 4496940"/>
                    <a:gd name="connsiteX53" fmla="*/ 2745127 w 4519987"/>
                    <a:gd name="connsiteY53" fmla="*/ 4410075 h 4496940"/>
                    <a:gd name="connsiteX54" fmla="*/ 2697502 w 4519987"/>
                    <a:gd name="connsiteY54" fmla="*/ 4429125 h 4496940"/>
                    <a:gd name="connsiteX55" fmla="*/ 2640352 w 4519987"/>
                    <a:gd name="connsiteY55" fmla="*/ 4457700 h 4496940"/>
                    <a:gd name="connsiteX56" fmla="*/ 2583202 w 4519987"/>
                    <a:gd name="connsiteY56" fmla="*/ 4467225 h 4496940"/>
                    <a:gd name="connsiteX57" fmla="*/ 2545102 w 4519987"/>
                    <a:gd name="connsiteY57" fmla="*/ 4486275 h 4496940"/>
                    <a:gd name="connsiteX58" fmla="*/ 2306977 w 4519987"/>
                    <a:gd name="connsiteY58" fmla="*/ 4476750 h 4496940"/>
                    <a:gd name="connsiteX59" fmla="*/ 2202202 w 4519987"/>
                    <a:gd name="connsiteY59" fmla="*/ 4457700 h 4496940"/>
                    <a:gd name="connsiteX60" fmla="*/ 2126002 w 4519987"/>
                    <a:gd name="connsiteY60" fmla="*/ 4429125 h 4496940"/>
                    <a:gd name="connsiteX61" fmla="*/ 1935502 w 4519987"/>
                    <a:gd name="connsiteY61" fmla="*/ 4400550 h 4496940"/>
                    <a:gd name="connsiteX62" fmla="*/ 1821202 w 4519987"/>
                    <a:gd name="connsiteY62" fmla="*/ 4371975 h 4496940"/>
                    <a:gd name="connsiteX63" fmla="*/ 1754527 w 4519987"/>
                    <a:gd name="connsiteY63" fmla="*/ 4352925 h 4496940"/>
                    <a:gd name="connsiteX64" fmla="*/ 1687852 w 4519987"/>
                    <a:gd name="connsiteY64" fmla="*/ 4343400 h 4496940"/>
                    <a:gd name="connsiteX65" fmla="*/ 1573552 w 4519987"/>
                    <a:gd name="connsiteY65" fmla="*/ 4305300 h 4496940"/>
                    <a:gd name="connsiteX66" fmla="*/ 1402102 w 4519987"/>
                    <a:gd name="connsiteY66" fmla="*/ 4276725 h 4496940"/>
                    <a:gd name="connsiteX67" fmla="*/ 1287802 w 4519987"/>
                    <a:gd name="connsiteY67" fmla="*/ 4229100 h 4496940"/>
                    <a:gd name="connsiteX68" fmla="*/ 1221127 w 4519987"/>
                    <a:gd name="connsiteY68" fmla="*/ 4200525 h 4496940"/>
                    <a:gd name="connsiteX69" fmla="*/ 1144927 w 4519987"/>
                    <a:gd name="connsiteY69" fmla="*/ 4171950 h 4496940"/>
                    <a:gd name="connsiteX70" fmla="*/ 1087777 w 4519987"/>
                    <a:gd name="connsiteY70" fmla="*/ 4143375 h 4496940"/>
                    <a:gd name="connsiteX71" fmla="*/ 1030627 w 4519987"/>
                    <a:gd name="connsiteY71" fmla="*/ 4124325 h 4496940"/>
                    <a:gd name="connsiteX72" fmla="*/ 925852 w 4519987"/>
                    <a:gd name="connsiteY72" fmla="*/ 4067175 h 4496940"/>
                    <a:gd name="connsiteX73" fmla="*/ 830602 w 4519987"/>
                    <a:gd name="connsiteY73" fmla="*/ 3981450 h 4496940"/>
                    <a:gd name="connsiteX74" fmla="*/ 763927 w 4519987"/>
                    <a:gd name="connsiteY74" fmla="*/ 3914775 h 4496940"/>
                    <a:gd name="connsiteX75" fmla="*/ 725827 w 4519987"/>
                    <a:gd name="connsiteY75" fmla="*/ 3876675 h 4496940"/>
                    <a:gd name="connsiteX76" fmla="*/ 697252 w 4519987"/>
                    <a:gd name="connsiteY76" fmla="*/ 3838575 h 4496940"/>
                    <a:gd name="connsiteX77" fmla="*/ 640102 w 4519987"/>
                    <a:gd name="connsiteY77" fmla="*/ 3781425 h 4496940"/>
                    <a:gd name="connsiteX78" fmla="*/ 611527 w 4519987"/>
                    <a:gd name="connsiteY78" fmla="*/ 3733800 h 4496940"/>
                    <a:gd name="connsiteX79" fmla="*/ 554377 w 4519987"/>
                    <a:gd name="connsiteY79" fmla="*/ 3657600 h 4496940"/>
                    <a:gd name="connsiteX80" fmla="*/ 525802 w 4519987"/>
                    <a:gd name="connsiteY80" fmla="*/ 3609975 h 4496940"/>
                    <a:gd name="connsiteX81" fmla="*/ 497227 w 4519987"/>
                    <a:gd name="connsiteY81" fmla="*/ 3552825 h 4496940"/>
                    <a:gd name="connsiteX82" fmla="*/ 440077 w 4519987"/>
                    <a:gd name="connsiteY82" fmla="*/ 3495675 h 4496940"/>
                    <a:gd name="connsiteX83" fmla="*/ 411502 w 4519987"/>
                    <a:gd name="connsiteY83" fmla="*/ 3448050 h 4496940"/>
                    <a:gd name="connsiteX84" fmla="*/ 278152 w 4519987"/>
                    <a:gd name="connsiteY84" fmla="*/ 3257550 h 4496940"/>
                    <a:gd name="connsiteX85" fmla="*/ 249577 w 4519987"/>
                    <a:gd name="connsiteY85" fmla="*/ 3200400 h 4496940"/>
                    <a:gd name="connsiteX86" fmla="*/ 240052 w 4519987"/>
                    <a:gd name="connsiteY86" fmla="*/ 3162300 h 4496940"/>
                    <a:gd name="connsiteX87" fmla="*/ 221002 w 4519987"/>
                    <a:gd name="connsiteY87" fmla="*/ 3105150 h 4496940"/>
                    <a:gd name="connsiteX88" fmla="*/ 173377 w 4519987"/>
                    <a:gd name="connsiteY88" fmla="*/ 3019425 h 4496940"/>
                    <a:gd name="connsiteX89" fmla="*/ 144802 w 4519987"/>
                    <a:gd name="connsiteY89" fmla="*/ 2924175 h 4496940"/>
                    <a:gd name="connsiteX90" fmla="*/ 68602 w 4519987"/>
                    <a:gd name="connsiteY90" fmla="*/ 2724150 h 4496940"/>
                    <a:gd name="connsiteX91" fmla="*/ 49552 w 4519987"/>
                    <a:gd name="connsiteY91" fmla="*/ 2638425 h 4496940"/>
                    <a:gd name="connsiteX92" fmla="*/ 40027 w 4519987"/>
                    <a:gd name="connsiteY92" fmla="*/ 2562225 h 4496940"/>
                    <a:gd name="connsiteX93" fmla="*/ 30502 w 4519987"/>
                    <a:gd name="connsiteY93" fmla="*/ 2514600 h 4496940"/>
                    <a:gd name="connsiteX94" fmla="*/ 11452 w 4519987"/>
                    <a:gd name="connsiteY94" fmla="*/ 2400300 h 4496940"/>
                    <a:gd name="connsiteX95" fmla="*/ 20977 w 4519987"/>
                    <a:gd name="connsiteY95" fmla="*/ 1905000 h 4496940"/>
                    <a:gd name="connsiteX96" fmla="*/ 30502 w 4519987"/>
                    <a:gd name="connsiteY96" fmla="*/ 1838325 h 4496940"/>
                    <a:gd name="connsiteX97" fmla="*/ 49552 w 4519987"/>
                    <a:gd name="connsiteY97" fmla="*/ 1781175 h 4496940"/>
                    <a:gd name="connsiteX98" fmla="*/ 59077 w 4519987"/>
                    <a:gd name="connsiteY98" fmla="*/ 1743075 h 4496940"/>
                    <a:gd name="connsiteX99" fmla="*/ 78127 w 4519987"/>
                    <a:gd name="connsiteY99" fmla="*/ 1685925 h 4496940"/>
                    <a:gd name="connsiteX100" fmla="*/ 87652 w 4519987"/>
                    <a:gd name="connsiteY100" fmla="*/ 1638300 h 4496940"/>
                    <a:gd name="connsiteX101" fmla="*/ 106702 w 4519987"/>
                    <a:gd name="connsiteY101" fmla="*/ 1590675 h 4496940"/>
                    <a:gd name="connsiteX102" fmla="*/ 135277 w 4519987"/>
                    <a:gd name="connsiteY102" fmla="*/ 1504950 h 4496940"/>
                    <a:gd name="connsiteX103" fmla="*/ 154327 w 4519987"/>
                    <a:gd name="connsiteY103" fmla="*/ 1419225 h 4496940"/>
                    <a:gd name="connsiteX104" fmla="*/ 230527 w 4519987"/>
                    <a:gd name="connsiteY104" fmla="*/ 1276350 h 4496940"/>
                    <a:gd name="connsiteX105" fmla="*/ 240052 w 4519987"/>
                    <a:gd name="connsiteY105" fmla="*/ 1247775 h 4496940"/>
                    <a:gd name="connsiteX106" fmla="*/ 268627 w 4519987"/>
                    <a:gd name="connsiteY106" fmla="*/ 1200150 h 4496940"/>
                    <a:gd name="connsiteX107" fmla="*/ 287677 w 4519987"/>
                    <a:gd name="connsiteY107" fmla="*/ 1152525 h 4496940"/>
                    <a:gd name="connsiteX108" fmla="*/ 316252 w 4519987"/>
                    <a:gd name="connsiteY108" fmla="*/ 1114425 h 4496940"/>
                    <a:gd name="connsiteX109" fmla="*/ 363877 w 4519987"/>
                    <a:gd name="connsiteY109" fmla="*/ 1038225 h 4496940"/>
                    <a:gd name="connsiteX110" fmla="*/ 382927 w 4519987"/>
                    <a:gd name="connsiteY110" fmla="*/ 1009650 h 4496940"/>
                    <a:gd name="connsiteX111" fmla="*/ 440077 w 4519987"/>
                    <a:gd name="connsiteY111" fmla="*/ 904875 h 4496940"/>
                    <a:gd name="connsiteX112" fmla="*/ 478177 w 4519987"/>
                    <a:gd name="connsiteY112" fmla="*/ 857250 h 4496940"/>
                    <a:gd name="connsiteX113" fmla="*/ 497227 w 4519987"/>
                    <a:gd name="connsiteY113" fmla="*/ 828675 h 4496940"/>
                    <a:gd name="connsiteX114" fmla="*/ 535327 w 4519987"/>
                    <a:gd name="connsiteY114" fmla="*/ 800100 h 4496940"/>
                    <a:gd name="connsiteX115" fmla="*/ 602002 w 4519987"/>
                    <a:gd name="connsiteY115" fmla="*/ 733425 h 4496940"/>
                    <a:gd name="connsiteX116" fmla="*/ 668677 w 4519987"/>
                    <a:gd name="connsiteY116" fmla="*/ 676275 h 4496940"/>
                    <a:gd name="connsiteX117" fmla="*/ 697252 w 4519987"/>
                    <a:gd name="connsiteY117" fmla="*/ 657225 h 4496940"/>
                    <a:gd name="connsiteX118" fmla="*/ 840127 w 4519987"/>
                    <a:gd name="connsiteY118" fmla="*/ 533400 h 4496940"/>
                    <a:gd name="connsiteX119" fmla="*/ 887752 w 4519987"/>
                    <a:gd name="connsiteY119" fmla="*/ 504825 h 4496940"/>
                    <a:gd name="connsiteX120" fmla="*/ 1167152 w 4519987"/>
                    <a:gd name="connsiteY120" fmla="*/ 311150 h 4496940"/>
                    <a:gd name="connsiteX121" fmla="*/ 1268752 w 4519987"/>
                    <a:gd name="connsiteY121" fmla="*/ 285750 h 4496940"/>
                    <a:gd name="connsiteX122" fmla="*/ 1411627 w 4519987"/>
                    <a:gd name="connsiteY122" fmla="*/ 190500 h 4496940"/>
                    <a:gd name="connsiteX123" fmla="*/ 1449727 w 4519987"/>
                    <a:gd name="connsiteY123" fmla="*/ 161925 h 4496940"/>
                    <a:gd name="connsiteX124" fmla="*/ 1525927 w 4519987"/>
                    <a:gd name="connsiteY124" fmla="*/ 152400 h 4496940"/>
                    <a:gd name="connsiteX125" fmla="*/ 1583077 w 4519987"/>
                    <a:gd name="connsiteY125" fmla="*/ 142875 h 4496940"/>
                    <a:gd name="connsiteX126" fmla="*/ 1716427 w 4519987"/>
                    <a:gd name="connsiteY126" fmla="*/ 123825 h 4496940"/>
                    <a:gd name="connsiteX127" fmla="*/ 1811677 w 4519987"/>
                    <a:gd name="connsiteY127" fmla="*/ 114300 h 4496940"/>
                    <a:gd name="connsiteX128" fmla="*/ 1859302 w 4519987"/>
                    <a:gd name="connsiteY128" fmla="*/ 104775 h 4496940"/>
                    <a:gd name="connsiteX129" fmla="*/ 1916452 w 4519987"/>
                    <a:gd name="connsiteY129" fmla="*/ 95250 h 4496940"/>
                    <a:gd name="connsiteX130" fmla="*/ 2030752 w 4519987"/>
                    <a:gd name="connsiteY130" fmla="*/ 66675 h 4496940"/>
                    <a:gd name="connsiteX131" fmla="*/ 2097427 w 4519987"/>
                    <a:gd name="connsiteY131" fmla="*/ 47625 h 4496940"/>
                    <a:gd name="connsiteX132" fmla="*/ 2164102 w 4519987"/>
                    <a:gd name="connsiteY132" fmla="*/ 38100 h 4496940"/>
                    <a:gd name="connsiteX133" fmla="*/ 2392702 w 4519987"/>
                    <a:gd name="connsiteY13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659527 w 4519987"/>
                    <a:gd name="connsiteY39" fmla="*/ 3971925 h 4496940"/>
                    <a:gd name="connsiteX40" fmla="*/ 3630952 w 4519987"/>
                    <a:gd name="connsiteY40" fmla="*/ 4010025 h 4496940"/>
                    <a:gd name="connsiteX41" fmla="*/ 3621427 w 4519987"/>
                    <a:gd name="connsiteY41" fmla="*/ 4038600 h 4496940"/>
                    <a:gd name="connsiteX42" fmla="*/ 3554752 w 4519987"/>
                    <a:gd name="connsiteY42" fmla="*/ 4095750 h 4496940"/>
                    <a:gd name="connsiteX43" fmla="*/ 3516652 w 4519987"/>
                    <a:gd name="connsiteY43" fmla="*/ 4114800 h 4496940"/>
                    <a:gd name="connsiteX44" fmla="*/ 3497602 w 4519987"/>
                    <a:gd name="connsiteY44" fmla="*/ 4143375 h 4496940"/>
                    <a:gd name="connsiteX45" fmla="*/ 3383302 w 4519987"/>
                    <a:gd name="connsiteY45" fmla="*/ 4210050 h 4496940"/>
                    <a:gd name="connsiteX46" fmla="*/ 3335677 w 4519987"/>
                    <a:gd name="connsiteY46" fmla="*/ 4238625 h 4496940"/>
                    <a:gd name="connsiteX47" fmla="*/ 3288052 w 4519987"/>
                    <a:gd name="connsiteY47" fmla="*/ 4248150 h 4496940"/>
                    <a:gd name="connsiteX48" fmla="*/ 3240427 w 4519987"/>
                    <a:gd name="connsiteY48" fmla="*/ 4267200 h 4496940"/>
                    <a:gd name="connsiteX49" fmla="*/ 3068977 w 4519987"/>
                    <a:gd name="connsiteY49" fmla="*/ 4286250 h 4496940"/>
                    <a:gd name="connsiteX50" fmla="*/ 2935627 w 4519987"/>
                    <a:gd name="connsiteY50" fmla="*/ 4333875 h 4496940"/>
                    <a:gd name="connsiteX51" fmla="*/ 2811802 w 4519987"/>
                    <a:gd name="connsiteY51" fmla="*/ 4371975 h 4496940"/>
                    <a:gd name="connsiteX52" fmla="*/ 2745127 w 4519987"/>
                    <a:gd name="connsiteY52" fmla="*/ 4410075 h 4496940"/>
                    <a:gd name="connsiteX53" fmla="*/ 2697502 w 4519987"/>
                    <a:gd name="connsiteY53" fmla="*/ 4429125 h 4496940"/>
                    <a:gd name="connsiteX54" fmla="*/ 2640352 w 4519987"/>
                    <a:gd name="connsiteY54" fmla="*/ 4457700 h 4496940"/>
                    <a:gd name="connsiteX55" fmla="*/ 2583202 w 4519987"/>
                    <a:gd name="connsiteY55" fmla="*/ 4467225 h 4496940"/>
                    <a:gd name="connsiteX56" fmla="*/ 2545102 w 4519987"/>
                    <a:gd name="connsiteY56" fmla="*/ 4486275 h 4496940"/>
                    <a:gd name="connsiteX57" fmla="*/ 2306977 w 4519987"/>
                    <a:gd name="connsiteY57" fmla="*/ 4476750 h 4496940"/>
                    <a:gd name="connsiteX58" fmla="*/ 2202202 w 4519987"/>
                    <a:gd name="connsiteY58" fmla="*/ 4457700 h 4496940"/>
                    <a:gd name="connsiteX59" fmla="*/ 2126002 w 4519987"/>
                    <a:gd name="connsiteY59" fmla="*/ 4429125 h 4496940"/>
                    <a:gd name="connsiteX60" fmla="*/ 1935502 w 4519987"/>
                    <a:gd name="connsiteY60" fmla="*/ 4400550 h 4496940"/>
                    <a:gd name="connsiteX61" fmla="*/ 1821202 w 4519987"/>
                    <a:gd name="connsiteY61" fmla="*/ 4371975 h 4496940"/>
                    <a:gd name="connsiteX62" fmla="*/ 1754527 w 4519987"/>
                    <a:gd name="connsiteY62" fmla="*/ 4352925 h 4496940"/>
                    <a:gd name="connsiteX63" fmla="*/ 1687852 w 4519987"/>
                    <a:gd name="connsiteY63" fmla="*/ 4343400 h 4496940"/>
                    <a:gd name="connsiteX64" fmla="*/ 1573552 w 4519987"/>
                    <a:gd name="connsiteY64" fmla="*/ 4305300 h 4496940"/>
                    <a:gd name="connsiteX65" fmla="*/ 1402102 w 4519987"/>
                    <a:gd name="connsiteY65" fmla="*/ 4276725 h 4496940"/>
                    <a:gd name="connsiteX66" fmla="*/ 1287802 w 4519987"/>
                    <a:gd name="connsiteY66" fmla="*/ 4229100 h 4496940"/>
                    <a:gd name="connsiteX67" fmla="*/ 1221127 w 4519987"/>
                    <a:gd name="connsiteY67" fmla="*/ 4200525 h 4496940"/>
                    <a:gd name="connsiteX68" fmla="*/ 1144927 w 4519987"/>
                    <a:gd name="connsiteY68" fmla="*/ 4171950 h 4496940"/>
                    <a:gd name="connsiteX69" fmla="*/ 1087777 w 4519987"/>
                    <a:gd name="connsiteY69" fmla="*/ 4143375 h 4496940"/>
                    <a:gd name="connsiteX70" fmla="*/ 1030627 w 4519987"/>
                    <a:gd name="connsiteY70" fmla="*/ 4124325 h 4496940"/>
                    <a:gd name="connsiteX71" fmla="*/ 925852 w 4519987"/>
                    <a:gd name="connsiteY71" fmla="*/ 4067175 h 4496940"/>
                    <a:gd name="connsiteX72" fmla="*/ 830602 w 4519987"/>
                    <a:gd name="connsiteY72" fmla="*/ 3981450 h 4496940"/>
                    <a:gd name="connsiteX73" fmla="*/ 763927 w 4519987"/>
                    <a:gd name="connsiteY73" fmla="*/ 3914775 h 4496940"/>
                    <a:gd name="connsiteX74" fmla="*/ 725827 w 4519987"/>
                    <a:gd name="connsiteY74" fmla="*/ 3876675 h 4496940"/>
                    <a:gd name="connsiteX75" fmla="*/ 697252 w 4519987"/>
                    <a:gd name="connsiteY75" fmla="*/ 3838575 h 4496940"/>
                    <a:gd name="connsiteX76" fmla="*/ 640102 w 4519987"/>
                    <a:gd name="connsiteY76" fmla="*/ 3781425 h 4496940"/>
                    <a:gd name="connsiteX77" fmla="*/ 611527 w 4519987"/>
                    <a:gd name="connsiteY77" fmla="*/ 3733800 h 4496940"/>
                    <a:gd name="connsiteX78" fmla="*/ 554377 w 4519987"/>
                    <a:gd name="connsiteY78" fmla="*/ 3657600 h 4496940"/>
                    <a:gd name="connsiteX79" fmla="*/ 525802 w 4519987"/>
                    <a:gd name="connsiteY79" fmla="*/ 3609975 h 4496940"/>
                    <a:gd name="connsiteX80" fmla="*/ 497227 w 4519987"/>
                    <a:gd name="connsiteY80" fmla="*/ 3552825 h 4496940"/>
                    <a:gd name="connsiteX81" fmla="*/ 440077 w 4519987"/>
                    <a:gd name="connsiteY81" fmla="*/ 3495675 h 4496940"/>
                    <a:gd name="connsiteX82" fmla="*/ 411502 w 4519987"/>
                    <a:gd name="connsiteY82" fmla="*/ 3448050 h 4496940"/>
                    <a:gd name="connsiteX83" fmla="*/ 278152 w 4519987"/>
                    <a:gd name="connsiteY83" fmla="*/ 3257550 h 4496940"/>
                    <a:gd name="connsiteX84" fmla="*/ 249577 w 4519987"/>
                    <a:gd name="connsiteY84" fmla="*/ 3200400 h 4496940"/>
                    <a:gd name="connsiteX85" fmla="*/ 240052 w 4519987"/>
                    <a:gd name="connsiteY85" fmla="*/ 3162300 h 4496940"/>
                    <a:gd name="connsiteX86" fmla="*/ 221002 w 4519987"/>
                    <a:gd name="connsiteY86" fmla="*/ 3105150 h 4496940"/>
                    <a:gd name="connsiteX87" fmla="*/ 173377 w 4519987"/>
                    <a:gd name="connsiteY87" fmla="*/ 3019425 h 4496940"/>
                    <a:gd name="connsiteX88" fmla="*/ 144802 w 4519987"/>
                    <a:gd name="connsiteY88" fmla="*/ 2924175 h 4496940"/>
                    <a:gd name="connsiteX89" fmla="*/ 68602 w 4519987"/>
                    <a:gd name="connsiteY89" fmla="*/ 2724150 h 4496940"/>
                    <a:gd name="connsiteX90" fmla="*/ 49552 w 4519987"/>
                    <a:gd name="connsiteY90" fmla="*/ 2638425 h 4496940"/>
                    <a:gd name="connsiteX91" fmla="*/ 40027 w 4519987"/>
                    <a:gd name="connsiteY91" fmla="*/ 2562225 h 4496940"/>
                    <a:gd name="connsiteX92" fmla="*/ 30502 w 4519987"/>
                    <a:gd name="connsiteY92" fmla="*/ 2514600 h 4496940"/>
                    <a:gd name="connsiteX93" fmla="*/ 11452 w 4519987"/>
                    <a:gd name="connsiteY93" fmla="*/ 2400300 h 4496940"/>
                    <a:gd name="connsiteX94" fmla="*/ 20977 w 4519987"/>
                    <a:gd name="connsiteY94" fmla="*/ 1905000 h 4496940"/>
                    <a:gd name="connsiteX95" fmla="*/ 30502 w 4519987"/>
                    <a:gd name="connsiteY95" fmla="*/ 1838325 h 4496940"/>
                    <a:gd name="connsiteX96" fmla="*/ 49552 w 4519987"/>
                    <a:gd name="connsiteY96" fmla="*/ 1781175 h 4496940"/>
                    <a:gd name="connsiteX97" fmla="*/ 59077 w 4519987"/>
                    <a:gd name="connsiteY97" fmla="*/ 1743075 h 4496940"/>
                    <a:gd name="connsiteX98" fmla="*/ 78127 w 4519987"/>
                    <a:gd name="connsiteY98" fmla="*/ 1685925 h 4496940"/>
                    <a:gd name="connsiteX99" fmla="*/ 87652 w 4519987"/>
                    <a:gd name="connsiteY99" fmla="*/ 1638300 h 4496940"/>
                    <a:gd name="connsiteX100" fmla="*/ 106702 w 4519987"/>
                    <a:gd name="connsiteY100" fmla="*/ 1590675 h 4496940"/>
                    <a:gd name="connsiteX101" fmla="*/ 135277 w 4519987"/>
                    <a:gd name="connsiteY101" fmla="*/ 1504950 h 4496940"/>
                    <a:gd name="connsiteX102" fmla="*/ 154327 w 4519987"/>
                    <a:gd name="connsiteY102" fmla="*/ 1419225 h 4496940"/>
                    <a:gd name="connsiteX103" fmla="*/ 230527 w 4519987"/>
                    <a:gd name="connsiteY103" fmla="*/ 1276350 h 4496940"/>
                    <a:gd name="connsiteX104" fmla="*/ 240052 w 4519987"/>
                    <a:gd name="connsiteY104" fmla="*/ 1247775 h 4496940"/>
                    <a:gd name="connsiteX105" fmla="*/ 268627 w 4519987"/>
                    <a:gd name="connsiteY105" fmla="*/ 1200150 h 4496940"/>
                    <a:gd name="connsiteX106" fmla="*/ 287677 w 4519987"/>
                    <a:gd name="connsiteY106" fmla="*/ 1152525 h 4496940"/>
                    <a:gd name="connsiteX107" fmla="*/ 316252 w 4519987"/>
                    <a:gd name="connsiteY107" fmla="*/ 1114425 h 4496940"/>
                    <a:gd name="connsiteX108" fmla="*/ 363877 w 4519987"/>
                    <a:gd name="connsiteY108" fmla="*/ 1038225 h 4496940"/>
                    <a:gd name="connsiteX109" fmla="*/ 382927 w 4519987"/>
                    <a:gd name="connsiteY109" fmla="*/ 1009650 h 4496940"/>
                    <a:gd name="connsiteX110" fmla="*/ 440077 w 4519987"/>
                    <a:gd name="connsiteY110" fmla="*/ 904875 h 4496940"/>
                    <a:gd name="connsiteX111" fmla="*/ 478177 w 4519987"/>
                    <a:gd name="connsiteY111" fmla="*/ 857250 h 4496940"/>
                    <a:gd name="connsiteX112" fmla="*/ 497227 w 4519987"/>
                    <a:gd name="connsiteY112" fmla="*/ 828675 h 4496940"/>
                    <a:gd name="connsiteX113" fmla="*/ 535327 w 4519987"/>
                    <a:gd name="connsiteY113" fmla="*/ 800100 h 4496940"/>
                    <a:gd name="connsiteX114" fmla="*/ 602002 w 4519987"/>
                    <a:gd name="connsiteY114" fmla="*/ 733425 h 4496940"/>
                    <a:gd name="connsiteX115" fmla="*/ 668677 w 4519987"/>
                    <a:gd name="connsiteY115" fmla="*/ 676275 h 4496940"/>
                    <a:gd name="connsiteX116" fmla="*/ 697252 w 4519987"/>
                    <a:gd name="connsiteY116" fmla="*/ 657225 h 4496940"/>
                    <a:gd name="connsiteX117" fmla="*/ 840127 w 4519987"/>
                    <a:gd name="connsiteY117" fmla="*/ 533400 h 4496940"/>
                    <a:gd name="connsiteX118" fmla="*/ 887752 w 4519987"/>
                    <a:gd name="connsiteY118" fmla="*/ 504825 h 4496940"/>
                    <a:gd name="connsiteX119" fmla="*/ 1167152 w 4519987"/>
                    <a:gd name="connsiteY119" fmla="*/ 311150 h 4496940"/>
                    <a:gd name="connsiteX120" fmla="*/ 1268752 w 4519987"/>
                    <a:gd name="connsiteY120" fmla="*/ 285750 h 4496940"/>
                    <a:gd name="connsiteX121" fmla="*/ 1411627 w 4519987"/>
                    <a:gd name="connsiteY121" fmla="*/ 190500 h 4496940"/>
                    <a:gd name="connsiteX122" fmla="*/ 1449727 w 4519987"/>
                    <a:gd name="connsiteY122" fmla="*/ 161925 h 4496940"/>
                    <a:gd name="connsiteX123" fmla="*/ 1525927 w 4519987"/>
                    <a:gd name="connsiteY123" fmla="*/ 152400 h 4496940"/>
                    <a:gd name="connsiteX124" fmla="*/ 1583077 w 4519987"/>
                    <a:gd name="connsiteY124" fmla="*/ 142875 h 4496940"/>
                    <a:gd name="connsiteX125" fmla="*/ 1716427 w 4519987"/>
                    <a:gd name="connsiteY125" fmla="*/ 123825 h 4496940"/>
                    <a:gd name="connsiteX126" fmla="*/ 1811677 w 4519987"/>
                    <a:gd name="connsiteY126" fmla="*/ 114300 h 4496940"/>
                    <a:gd name="connsiteX127" fmla="*/ 1859302 w 4519987"/>
                    <a:gd name="connsiteY127" fmla="*/ 104775 h 4496940"/>
                    <a:gd name="connsiteX128" fmla="*/ 1916452 w 4519987"/>
                    <a:gd name="connsiteY128" fmla="*/ 95250 h 4496940"/>
                    <a:gd name="connsiteX129" fmla="*/ 2030752 w 4519987"/>
                    <a:gd name="connsiteY129" fmla="*/ 66675 h 4496940"/>
                    <a:gd name="connsiteX130" fmla="*/ 2097427 w 4519987"/>
                    <a:gd name="connsiteY130" fmla="*/ 47625 h 4496940"/>
                    <a:gd name="connsiteX131" fmla="*/ 2164102 w 4519987"/>
                    <a:gd name="connsiteY131" fmla="*/ 38100 h 4496940"/>
                    <a:gd name="connsiteX132" fmla="*/ 2392702 w 4519987"/>
                    <a:gd name="connsiteY13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659527 w 4519987"/>
                    <a:gd name="connsiteY38" fmla="*/ 3971925 h 4496940"/>
                    <a:gd name="connsiteX39" fmla="*/ 3630952 w 4519987"/>
                    <a:gd name="connsiteY39" fmla="*/ 4010025 h 4496940"/>
                    <a:gd name="connsiteX40" fmla="*/ 3621427 w 4519987"/>
                    <a:gd name="connsiteY40" fmla="*/ 4038600 h 4496940"/>
                    <a:gd name="connsiteX41" fmla="*/ 3554752 w 4519987"/>
                    <a:gd name="connsiteY41" fmla="*/ 4095750 h 4496940"/>
                    <a:gd name="connsiteX42" fmla="*/ 3516652 w 4519987"/>
                    <a:gd name="connsiteY42" fmla="*/ 4114800 h 4496940"/>
                    <a:gd name="connsiteX43" fmla="*/ 3497602 w 4519987"/>
                    <a:gd name="connsiteY43" fmla="*/ 4143375 h 4496940"/>
                    <a:gd name="connsiteX44" fmla="*/ 3383302 w 4519987"/>
                    <a:gd name="connsiteY44" fmla="*/ 4210050 h 4496940"/>
                    <a:gd name="connsiteX45" fmla="*/ 3335677 w 4519987"/>
                    <a:gd name="connsiteY45" fmla="*/ 4238625 h 4496940"/>
                    <a:gd name="connsiteX46" fmla="*/ 3288052 w 4519987"/>
                    <a:gd name="connsiteY46" fmla="*/ 4248150 h 4496940"/>
                    <a:gd name="connsiteX47" fmla="*/ 3240427 w 4519987"/>
                    <a:gd name="connsiteY47" fmla="*/ 4267200 h 4496940"/>
                    <a:gd name="connsiteX48" fmla="*/ 3068977 w 4519987"/>
                    <a:gd name="connsiteY48" fmla="*/ 4286250 h 4496940"/>
                    <a:gd name="connsiteX49" fmla="*/ 2935627 w 4519987"/>
                    <a:gd name="connsiteY49" fmla="*/ 4333875 h 4496940"/>
                    <a:gd name="connsiteX50" fmla="*/ 2811802 w 4519987"/>
                    <a:gd name="connsiteY50" fmla="*/ 4371975 h 4496940"/>
                    <a:gd name="connsiteX51" fmla="*/ 2745127 w 4519987"/>
                    <a:gd name="connsiteY51" fmla="*/ 4410075 h 4496940"/>
                    <a:gd name="connsiteX52" fmla="*/ 2697502 w 4519987"/>
                    <a:gd name="connsiteY52" fmla="*/ 4429125 h 4496940"/>
                    <a:gd name="connsiteX53" fmla="*/ 2640352 w 4519987"/>
                    <a:gd name="connsiteY53" fmla="*/ 4457700 h 4496940"/>
                    <a:gd name="connsiteX54" fmla="*/ 2583202 w 4519987"/>
                    <a:gd name="connsiteY54" fmla="*/ 4467225 h 4496940"/>
                    <a:gd name="connsiteX55" fmla="*/ 2545102 w 4519987"/>
                    <a:gd name="connsiteY55" fmla="*/ 4486275 h 4496940"/>
                    <a:gd name="connsiteX56" fmla="*/ 2306977 w 4519987"/>
                    <a:gd name="connsiteY56" fmla="*/ 4476750 h 4496940"/>
                    <a:gd name="connsiteX57" fmla="*/ 2202202 w 4519987"/>
                    <a:gd name="connsiteY57" fmla="*/ 4457700 h 4496940"/>
                    <a:gd name="connsiteX58" fmla="*/ 2126002 w 4519987"/>
                    <a:gd name="connsiteY58" fmla="*/ 4429125 h 4496940"/>
                    <a:gd name="connsiteX59" fmla="*/ 1935502 w 4519987"/>
                    <a:gd name="connsiteY59" fmla="*/ 4400550 h 4496940"/>
                    <a:gd name="connsiteX60" fmla="*/ 1821202 w 4519987"/>
                    <a:gd name="connsiteY60" fmla="*/ 4371975 h 4496940"/>
                    <a:gd name="connsiteX61" fmla="*/ 1754527 w 4519987"/>
                    <a:gd name="connsiteY61" fmla="*/ 4352925 h 4496940"/>
                    <a:gd name="connsiteX62" fmla="*/ 1687852 w 4519987"/>
                    <a:gd name="connsiteY62" fmla="*/ 4343400 h 4496940"/>
                    <a:gd name="connsiteX63" fmla="*/ 1573552 w 4519987"/>
                    <a:gd name="connsiteY63" fmla="*/ 4305300 h 4496940"/>
                    <a:gd name="connsiteX64" fmla="*/ 1402102 w 4519987"/>
                    <a:gd name="connsiteY64" fmla="*/ 4276725 h 4496940"/>
                    <a:gd name="connsiteX65" fmla="*/ 1287802 w 4519987"/>
                    <a:gd name="connsiteY65" fmla="*/ 4229100 h 4496940"/>
                    <a:gd name="connsiteX66" fmla="*/ 1221127 w 4519987"/>
                    <a:gd name="connsiteY66" fmla="*/ 4200525 h 4496940"/>
                    <a:gd name="connsiteX67" fmla="*/ 1144927 w 4519987"/>
                    <a:gd name="connsiteY67" fmla="*/ 4171950 h 4496940"/>
                    <a:gd name="connsiteX68" fmla="*/ 1087777 w 4519987"/>
                    <a:gd name="connsiteY68" fmla="*/ 4143375 h 4496940"/>
                    <a:gd name="connsiteX69" fmla="*/ 1030627 w 4519987"/>
                    <a:gd name="connsiteY69" fmla="*/ 4124325 h 4496940"/>
                    <a:gd name="connsiteX70" fmla="*/ 925852 w 4519987"/>
                    <a:gd name="connsiteY70" fmla="*/ 4067175 h 4496940"/>
                    <a:gd name="connsiteX71" fmla="*/ 830602 w 4519987"/>
                    <a:gd name="connsiteY71" fmla="*/ 3981450 h 4496940"/>
                    <a:gd name="connsiteX72" fmla="*/ 763927 w 4519987"/>
                    <a:gd name="connsiteY72" fmla="*/ 3914775 h 4496940"/>
                    <a:gd name="connsiteX73" fmla="*/ 725827 w 4519987"/>
                    <a:gd name="connsiteY73" fmla="*/ 3876675 h 4496940"/>
                    <a:gd name="connsiteX74" fmla="*/ 697252 w 4519987"/>
                    <a:gd name="connsiteY74" fmla="*/ 3838575 h 4496940"/>
                    <a:gd name="connsiteX75" fmla="*/ 640102 w 4519987"/>
                    <a:gd name="connsiteY75" fmla="*/ 3781425 h 4496940"/>
                    <a:gd name="connsiteX76" fmla="*/ 611527 w 4519987"/>
                    <a:gd name="connsiteY76" fmla="*/ 3733800 h 4496940"/>
                    <a:gd name="connsiteX77" fmla="*/ 554377 w 4519987"/>
                    <a:gd name="connsiteY77" fmla="*/ 3657600 h 4496940"/>
                    <a:gd name="connsiteX78" fmla="*/ 525802 w 4519987"/>
                    <a:gd name="connsiteY78" fmla="*/ 3609975 h 4496940"/>
                    <a:gd name="connsiteX79" fmla="*/ 497227 w 4519987"/>
                    <a:gd name="connsiteY79" fmla="*/ 3552825 h 4496940"/>
                    <a:gd name="connsiteX80" fmla="*/ 440077 w 4519987"/>
                    <a:gd name="connsiteY80" fmla="*/ 3495675 h 4496940"/>
                    <a:gd name="connsiteX81" fmla="*/ 411502 w 4519987"/>
                    <a:gd name="connsiteY81" fmla="*/ 3448050 h 4496940"/>
                    <a:gd name="connsiteX82" fmla="*/ 278152 w 4519987"/>
                    <a:gd name="connsiteY82" fmla="*/ 3257550 h 4496940"/>
                    <a:gd name="connsiteX83" fmla="*/ 249577 w 4519987"/>
                    <a:gd name="connsiteY83" fmla="*/ 3200400 h 4496940"/>
                    <a:gd name="connsiteX84" fmla="*/ 240052 w 4519987"/>
                    <a:gd name="connsiteY84" fmla="*/ 3162300 h 4496940"/>
                    <a:gd name="connsiteX85" fmla="*/ 221002 w 4519987"/>
                    <a:gd name="connsiteY85" fmla="*/ 3105150 h 4496940"/>
                    <a:gd name="connsiteX86" fmla="*/ 173377 w 4519987"/>
                    <a:gd name="connsiteY86" fmla="*/ 3019425 h 4496940"/>
                    <a:gd name="connsiteX87" fmla="*/ 144802 w 4519987"/>
                    <a:gd name="connsiteY87" fmla="*/ 2924175 h 4496940"/>
                    <a:gd name="connsiteX88" fmla="*/ 68602 w 4519987"/>
                    <a:gd name="connsiteY88" fmla="*/ 2724150 h 4496940"/>
                    <a:gd name="connsiteX89" fmla="*/ 49552 w 4519987"/>
                    <a:gd name="connsiteY89" fmla="*/ 2638425 h 4496940"/>
                    <a:gd name="connsiteX90" fmla="*/ 40027 w 4519987"/>
                    <a:gd name="connsiteY90" fmla="*/ 2562225 h 4496940"/>
                    <a:gd name="connsiteX91" fmla="*/ 30502 w 4519987"/>
                    <a:gd name="connsiteY91" fmla="*/ 2514600 h 4496940"/>
                    <a:gd name="connsiteX92" fmla="*/ 11452 w 4519987"/>
                    <a:gd name="connsiteY92" fmla="*/ 2400300 h 4496940"/>
                    <a:gd name="connsiteX93" fmla="*/ 20977 w 4519987"/>
                    <a:gd name="connsiteY93" fmla="*/ 1905000 h 4496940"/>
                    <a:gd name="connsiteX94" fmla="*/ 30502 w 4519987"/>
                    <a:gd name="connsiteY94" fmla="*/ 1838325 h 4496940"/>
                    <a:gd name="connsiteX95" fmla="*/ 49552 w 4519987"/>
                    <a:gd name="connsiteY95" fmla="*/ 1781175 h 4496940"/>
                    <a:gd name="connsiteX96" fmla="*/ 59077 w 4519987"/>
                    <a:gd name="connsiteY96" fmla="*/ 1743075 h 4496940"/>
                    <a:gd name="connsiteX97" fmla="*/ 78127 w 4519987"/>
                    <a:gd name="connsiteY97" fmla="*/ 1685925 h 4496940"/>
                    <a:gd name="connsiteX98" fmla="*/ 87652 w 4519987"/>
                    <a:gd name="connsiteY98" fmla="*/ 1638300 h 4496940"/>
                    <a:gd name="connsiteX99" fmla="*/ 106702 w 4519987"/>
                    <a:gd name="connsiteY99" fmla="*/ 1590675 h 4496940"/>
                    <a:gd name="connsiteX100" fmla="*/ 135277 w 4519987"/>
                    <a:gd name="connsiteY100" fmla="*/ 1504950 h 4496940"/>
                    <a:gd name="connsiteX101" fmla="*/ 154327 w 4519987"/>
                    <a:gd name="connsiteY101" fmla="*/ 1419225 h 4496940"/>
                    <a:gd name="connsiteX102" fmla="*/ 230527 w 4519987"/>
                    <a:gd name="connsiteY102" fmla="*/ 1276350 h 4496940"/>
                    <a:gd name="connsiteX103" fmla="*/ 240052 w 4519987"/>
                    <a:gd name="connsiteY103" fmla="*/ 1247775 h 4496940"/>
                    <a:gd name="connsiteX104" fmla="*/ 268627 w 4519987"/>
                    <a:gd name="connsiteY104" fmla="*/ 1200150 h 4496940"/>
                    <a:gd name="connsiteX105" fmla="*/ 287677 w 4519987"/>
                    <a:gd name="connsiteY105" fmla="*/ 1152525 h 4496940"/>
                    <a:gd name="connsiteX106" fmla="*/ 316252 w 4519987"/>
                    <a:gd name="connsiteY106" fmla="*/ 1114425 h 4496940"/>
                    <a:gd name="connsiteX107" fmla="*/ 363877 w 4519987"/>
                    <a:gd name="connsiteY107" fmla="*/ 1038225 h 4496940"/>
                    <a:gd name="connsiteX108" fmla="*/ 382927 w 4519987"/>
                    <a:gd name="connsiteY108" fmla="*/ 1009650 h 4496940"/>
                    <a:gd name="connsiteX109" fmla="*/ 440077 w 4519987"/>
                    <a:gd name="connsiteY109" fmla="*/ 904875 h 4496940"/>
                    <a:gd name="connsiteX110" fmla="*/ 478177 w 4519987"/>
                    <a:gd name="connsiteY110" fmla="*/ 857250 h 4496940"/>
                    <a:gd name="connsiteX111" fmla="*/ 497227 w 4519987"/>
                    <a:gd name="connsiteY111" fmla="*/ 828675 h 4496940"/>
                    <a:gd name="connsiteX112" fmla="*/ 535327 w 4519987"/>
                    <a:gd name="connsiteY112" fmla="*/ 800100 h 4496940"/>
                    <a:gd name="connsiteX113" fmla="*/ 602002 w 4519987"/>
                    <a:gd name="connsiteY113" fmla="*/ 733425 h 4496940"/>
                    <a:gd name="connsiteX114" fmla="*/ 668677 w 4519987"/>
                    <a:gd name="connsiteY114" fmla="*/ 676275 h 4496940"/>
                    <a:gd name="connsiteX115" fmla="*/ 697252 w 4519987"/>
                    <a:gd name="connsiteY115" fmla="*/ 657225 h 4496940"/>
                    <a:gd name="connsiteX116" fmla="*/ 840127 w 4519987"/>
                    <a:gd name="connsiteY116" fmla="*/ 533400 h 4496940"/>
                    <a:gd name="connsiteX117" fmla="*/ 887752 w 4519987"/>
                    <a:gd name="connsiteY117" fmla="*/ 504825 h 4496940"/>
                    <a:gd name="connsiteX118" fmla="*/ 1167152 w 4519987"/>
                    <a:gd name="connsiteY118" fmla="*/ 311150 h 4496940"/>
                    <a:gd name="connsiteX119" fmla="*/ 1268752 w 4519987"/>
                    <a:gd name="connsiteY119" fmla="*/ 285750 h 4496940"/>
                    <a:gd name="connsiteX120" fmla="*/ 1411627 w 4519987"/>
                    <a:gd name="connsiteY120" fmla="*/ 190500 h 4496940"/>
                    <a:gd name="connsiteX121" fmla="*/ 1449727 w 4519987"/>
                    <a:gd name="connsiteY121" fmla="*/ 161925 h 4496940"/>
                    <a:gd name="connsiteX122" fmla="*/ 1525927 w 4519987"/>
                    <a:gd name="connsiteY122" fmla="*/ 152400 h 4496940"/>
                    <a:gd name="connsiteX123" fmla="*/ 1583077 w 4519987"/>
                    <a:gd name="connsiteY123" fmla="*/ 142875 h 4496940"/>
                    <a:gd name="connsiteX124" fmla="*/ 1716427 w 4519987"/>
                    <a:gd name="connsiteY124" fmla="*/ 123825 h 4496940"/>
                    <a:gd name="connsiteX125" fmla="*/ 1811677 w 4519987"/>
                    <a:gd name="connsiteY125" fmla="*/ 114300 h 4496940"/>
                    <a:gd name="connsiteX126" fmla="*/ 1859302 w 4519987"/>
                    <a:gd name="connsiteY126" fmla="*/ 104775 h 4496940"/>
                    <a:gd name="connsiteX127" fmla="*/ 1916452 w 4519987"/>
                    <a:gd name="connsiteY127" fmla="*/ 95250 h 4496940"/>
                    <a:gd name="connsiteX128" fmla="*/ 2030752 w 4519987"/>
                    <a:gd name="connsiteY128" fmla="*/ 66675 h 4496940"/>
                    <a:gd name="connsiteX129" fmla="*/ 2097427 w 4519987"/>
                    <a:gd name="connsiteY129" fmla="*/ 47625 h 4496940"/>
                    <a:gd name="connsiteX130" fmla="*/ 2164102 w 4519987"/>
                    <a:gd name="connsiteY130" fmla="*/ 38100 h 4496940"/>
                    <a:gd name="connsiteX131" fmla="*/ 2392702 w 4519987"/>
                    <a:gd name="connsiteY13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88152 w 4519987"/>
                    <a:gd name="connsiteY33" fmla="*/ 3495675 h 4496940"/>
                    <a:gd name="connsiteX34" fmla="*/ 4059577 w 4519987"/>
                    <a:gd name="connsiteY34" fmla="*/ 3533775 h 4496940"/>
                    <a:gd name="connsiteX35" fmla="*/ 4002427 w 4519987"/>
                    <a:gd name="connsiteY35" fmla="*/ 3600450 h 4496940"/>
                    <a:gd name="connsiteX36" fmla="*/ 3954802 w 4519987"/>
                    <a:gd name="connsiteY36" fmla="*/ 3648075 h 4496940"/>
                    <a:gd name="connsiteX37" fmla="*/ 3659527 w 4519987"/>
                    <a:gd name="connsiteY37" fmla="*/ 3971925 h 4496940"/>
                    <a:gd name="connsiteX38" fmla="*/ 3630952 w 4519987"/>
                    <a:gd name="connsiteY38" fmla="*/ 4010025 h 4496940"/>
                    <a:gd name="connsiteX39" fmla="*/ 3621427 w 4519987"/>
                    <a:gd name="connsiteY39" fmla="*/ 4038600 h 4496940"/>
                    <a:gd name="connsiteX40" fmla="*/ 3554752 w 4519987"/>
                    <a:gd name="connsiteY40" fmla="*/ 4095750 h 4496940"/>
                    <a:gd name="connsiteX41" fmla="*/ 3516652 w 4519987"/>
                    <a:gd name="connsiteY41" fmla="*/ 4114800 h 4496940"/>
                    <a:gd name="connsiteX42" fmla="*/ 3497602 w 4519987"/>
                    <a:gd name="connsiteY42" fmla="*/ 4143375 h 4496940"/>
                    <a:gd name="connsiteX43" fmla="*/ 3383302 w 4519987"/>
                    <a:gd name="connsiteY43" fmla="*/ 4210050 h 4496940"/>
                    <a:gd name="connsiteX44" fmla="*/ 3335677 w 4519987"/>
                    <a:gd name="connsiteY44" fmla="*/ 4238625 h 4496940"/>
                    <a:gd name="connsiteX45" fmla="*/ 3288052 w 4519987"/>
                    <a:gd name="connsiteY45" fmla="*/ 4248150 h 4496940"/>
                    <a:gd name="connsiteX46" fmla="*/ 3240427 w 4519987"/>
                    <a:gd name="connsiteY46" fmla="*/ 4267200 h 4496940"/>
                    <a:gd name="connsiteX47" fmla="*/ 3068977 w 4519987"/>
                    <a:gd name="connsiteY47" fmla="*/ 4286250 h 4496940"/>
                    <a:gd name="connsiteX48" fmla="*/ 2935627 w 4519987"/>
                    <a:gd name="connsiteY48" fmla="*/ 4333875 h 4496940"/>
                    <a:gd name="connsiteX49" fmla="*/ 2811802 w 4519987"/>
                    <a:gd name="connsiteY49" fmla="*/ 4371975 h 4496940"/>
                    <a:gd name="connsiteX50" fmla="*/ 2745127 w 4519987"/>
                    <a:gd name="connsiteY50" fmla="*/ 4410075 h 4496940"/>
                    <a:gd name="connsiteX51" fmla="*/ 2697502 w 4519987"/>
                    <a:gd name="connsiteY51" fmla="*/ 4429125 h 4496940"/>
                    <a:gd name="connsiteX52" fmla="*/ 2640352 w 4519987"/>
                    <a:gd name="connsiteY52" fmla="*/ 4457700 h 4496940"/>
                    <a:gd name="connsiteX53" fmla="*/ 2583202 w 4519987"/>
                    <a:gd name="connsiteY53" fmla="*/ 4467225 h 4496940"/>
                    <a:gd name="connsiteX54" fmla="*/ 2545102 w 4519987"/>
                    <a:gd name="connsiteY54" fmla="*/ 4486275 h 4496940"/>
                    <a:gd name="connsiteX55" fmla="*/ 2306977 w 4519987"/>
                    <a:gd name="connsiteY55" fmla="*/ 4476750 h 4496940"/>
                    <a:gd name="connsiteX56" fmla="*/ 2202202 w 4519987"/>
                    <a:gd name="connsiteY56" fmla="*/ 4457700 h 4496940"/>
                    <a:gd name="connsiteX57" fmla="*/ 2126002 w 4519987"/>
                    <a:gd name="connsiteY57" fmla="*/ 4429125 h 4496940"/>
                    <a:gd name="connsiteX58" fmla="*/ 1935502 w 4519987"/>
                    <a:gd name="connsiteY58" fmla="*/ 4400550 h 4496940"/>
                    <a:gd name="connsiteX59" fmla="*/ 1821202 w 4519987"/>
                    <a:gd name="connsiteY59" fmla="*/ 4371975 h 4496940"/>
                    <a:gd name="connsiteX60" fmla="*/ 1754527 w 4519987"/>
                    <a:gd name="connsiteY60" fmla="*/ 4352925 h 4496940"/>
                    <a:gd name="connsiteX61" fmla="*/ 1687852 w 4519987"/>
                    <a:gd name="connsiteY61" fmla="*/ 4343400 h 4496940"/>
                    <a:gd name="connsiteX62" fmla="*/ 1573552 w 4519987"/>
                    <a:gd name="connsiteY62" fmla="*/ 4305300 h 4496940"/>
                    <a:gd name="connsiteX63" fmla="*/ 1402102 w 4519987"/>
                    <a:gd name="connsiteY63" fmla="*/ 4276725 h 4496940"/>
                    <a:gd name="connsiteX64" fmla="*/ 1287802 w 4519987"/>
                    <a:gd name="connsiteY64" fmla="*/ 4229100 h 4496940"/>
                    <a:gd name="connsiteX65" fmla="*/ 1221127 w 4519987"/>
                    <a:gd name="connsiteY65" fmla="*/ 4200525 h 4496940"/>
                    <a:gd name="connsiteX66" fmla="*/ 1144927 w 4519987"/>
                    <a:gd name="connsiteY66" fmla="*/ 4171950 h 4496940"/>
                    <a:gd name="connsiteX67" fmla="*/ 1087777 w 4519987"/>
                    <a:gd name="connsiteY67" fmla="*/ 4143375 h 4496940"/>
                    <a:gd name="connsiteX68" fmla="*/ 1030627 w 4519987"/>
                    <a:gd name="connsiteY68" fmla="*/ 4124325 h 4496940"/>
                    <a:gd name="connsiteX69" fmla="*/ 925852 w 4519987"/>
                    <a:gd name="connsiteY69" fmla="*/ 4067175 h 4496940"/>
                    <a:gd name="connsiteX70" fmla="*/ 830602 w 4519987"/>
                    <a:gd name="connsiteY70" fmla="*/ 3981450 h 4496940"/>
                    <a:gd name="connsiteX71" fmla="*/ 763927 w 4519987"/>
                    <a:gd name="connsiteY71" fmla="*/ 3914775 h 4496940"/>
                    <a:gd name="connsiteX72" fmla="*/ 725827 w 4519987"/>
                    <a:gd name="connsiteY72" fmla="*/ 3876675 h 4496940"/>
                    <a:gd name="connsiteX73" fmla="*/ 697252 w 4519987"/>
                    <a:gd name="connsiteY73" fmla="*/ 3838575 h 4496940"/>
                    <a:gd name="connsiteX74" fmla="*/ 640102 w 4519987"/>
                    <a:gd name="connsiteY74" fmla="*/ 3781425 h 4496940"/>
                    <a:gd name="connsiteX75" fmla="*/ 611527 w 4519987"/>
                    <a:gd name="connsiteY75" fmla="*/ 3733800 h 4496940"/>
                    <a:gd name="connsiteX76" fmla="*/ 554377 w 4519987"/>
                    <a:gd name="connsiteY76" fmla="*/ 3657600 h 4496940"/>
                    <a:gd name="connsiteX77" fmla="*/ 525802 w 4519987"/>
                    <a:gd name="connsiteY77" fmla="*/ 3609975 h 4496940"/>
                    <a:gd name="connsiteX78" fmla="*/ 497227 w 4519987"/>
                    <a:gd name="connsiteY78" fmla="*/ 3552825 h 4496940"/>
                    <a:gd name="connsiteX79" fmla="*/ 440077 w 4519987"/>
                    <a:gd name="connsiteY79" fmla="*/ 3495675 h 4496940"/>
                    <a:gd name="connsiteX80" fmla="*/ 411502 w 4519987"/>
                    <a:gd name="connsiteY80" fmla="*/ 3448050 h 4496940"/>
                    <a:gd name="connsiteX81" fmla="*/ 278152 w 4519987"/>
                    <a:gd name="connsiteY81" fmla="*/ 3257550 h 4496940"/>
                    <a:gd name="connsiteX82" fmla="*/ 249577 w 4519987"/>
                    <a:gd name="connsiteY82" fmla="*/ 3200400 h 4496940"/>
                    <a:gd name="connsiteX83" fmla="*/ 240052 w 4519987"/>
                    <a:gd name="connsiteY83" fmla="*/ 3162300 h 4496940"/>
                    <a:gd name="connsiteX84" fmla="*/ 221002 w 4519987"/>
                    <a:gd name="connsiteY84" fmla="*/ 3105150 h 4496940"/>
                    <a:gd name="connsiteX85" fmla="*/ 173377 w 4519987"/>
                    <a:gd name="connsiteY85" fmla="*/ 3019425 h 4496940"/>
                    <a:gd name="connsiteX86" fmla="*/ 144802 w 4519987"/>
                    <a:gd name="connsiteY86" fmla="*/ 2924175 h 4496940"/>
                    <a:gd name="connsiteX87" fmla="*/ 68602 w 4519987"/>
                    <a:gd name="connsiteY87" fmla="*/ 2724150 h 4496940"/>
                    <a:gd name="connsiteX88" fmla="*/ 49552 w 4519987"/>
                    <a:gd name="connsiteY88" fmla="*/ 2638425 h 4496940"/>
                    <a:gd name="connsiteX89" fmla="*/ 40027 w 4519987"/>
                    <a:gd name="connsiteY89" fmla="*/ 2562225 h 4496940"/>
                    <a:gd name="connsiteX90" fmla="*/ 30502 w 4519987"/>
                    <a:gd name="connsiteY90" fmla="*/ 2514600 h 4496940"/>
                    <a:gd name="connsiteX91" fmla="*/ 11452 w 4519987"/>
                    <a:gd name="connsiteY91" fmla="*/ 2400300 h 4496940"/>
                    <a:gd name="connsiteX92" fmla="*/ 20977 w 4519987"/>
                    <a:gd name="connsiteY92" fmla="*/ 1905000 h 4496940"/>
                    <a:gd name="connsiteX93" fmla="*/ 30502 w 4519987"/>
                    <a:gd name="connsiteY93" fmla="*/ 1838325 h 4496940"/>
                    <a:gd name="connsiteX94" fmla="*/ 49552 w 4519987"/>
                    <a:gd name="connsiteY94" fmla="*/ 1781175 h 4496940"/>
                    <a:gd name="connsiteX95" fmla="*/ 59077 w 4519987"/>
                    <a:gd name="connsiteY95" fmla="*/ 1743075 h 4496940"/>
                    <a:gd name="connsiteX96" fmla="*/ 78127 w 4519987"/>
                    <a:gd name="connsiteY96" fmla="*/ 1685925 h 4496940"/>
                    <a:gd name="connsiteX97" fmla="*/ 87652 w 4519987"/>
                    <a:gd name="connsiteY97" fmla="*/ 1638300 h 4496940"/>
                    <a:gd name="connsiteX98" fmla="*/ 106702 w 4519987"/>
                    <a:gd name="connsiteY98" fmla="*/ 1590675 h 4496940"/>
                    <a:gd name="connsiteX99" fmla="*/ 135277 w 4519987"/>
                    <a:gd name="connsiteY99" fmla="*/ 1504950 h 4496940"/>
                    <a:gd name="connsiteX100" fmla="*/ 154327 w 4519987"/>
                    <a:gd name="connsiteY100" fmla="*/ 1419225 h 4496940"/>
                    <a:gd name="connsiteX101" fmla="*/ 230527 w 4519987"/>
                    <a:gd name="connsiteY101" fmla="*/ 1276350 h 4496940"/>
                    <a:gd name="connsiteX102" fmla="*/ 240052 w 4519987"/>
                    <a:gd name="connsiteY102" fmla="*/ 1247775 h 4496940"/>
                    <a:gd name="connsiteX103" fmla="*/ 268627 w 4519987"/>
                    <a:gd name="connsiteY103" fmla="*/ 1200150 h 4496940"/>
                    <a:gd name="connsiteX104" fmla="*/ 287677 w 4519987"/>
                    <a:gd name="connsiteY104" fmla="*/ 1152525 h 4496940"/>
                    <a:gd name="connsiteX105" fmla="*/ 316252 w 4519987"/>
                    <a:gd name="connsiteY105" fmla="*/ 1114425 h 4496940"/>
                    <a:gd name="connsiteX106" fmla="*/ 363877 w 4519987"/>
                    <a:gd name="connsiteY106" fmla="*/ 1038225 h 4496940"/>
                    <a:gd name="connsiteX107" fmla="*/ 382927 w 4519987"/>
                    <a:gd name="connsiteY107" fmla="*/ 1009650 h 4496940"/>
                    <a:gd name="connsiteX108" fmla="*/ 440077 w 4519987"/>
                    <a:gd name="connsiteY108" fmla="*/ 904875 h 4496940"/>
                    <a:gd name="connsiteX109" fmla="*/ 478177 w 4519987"/>
                    <a:gd name="connsiteY109" fmla="*/ 857250 h 4496940"/>
                    <a:gd name="connsiteX110" fmla="*/ 497227 w 4519987"/>
                    <a:gd name="connsiteY110" fmla="*/ 828675 h 4496940"/>
                    <a:gd name="connsiteX111" fmla="*/ 535327 w 4519987"/>
                    <a:gd name="connsiteY111" fmla="*/ 800100 h 4496940"/>
                    <a:gd name="connsiteX112" fmla="*/ 602002 w 4519987"/>
                    <a:gd name="connsiteY112" fmla="*/ 733425 h 4496940"/>
                    <a:gd name="connsiteX113" fmla="*/ 668677 w 4519987"/>
                    <a:gd name="connsiteY113" fmla="*/ 676275 h 4496940"/>
                    <a:gd name="connsiteX114" fmla="*/ 697252 w 4519987"/>
                    <a:gd name="connsiteY114" fmla="*/ 657225 h 4496940"/>
                    <a:gd name="connsiteX115" fmla="*/ 840127 w 4519987"/>
                    <a:gd name="connsiteY115" fmla="*/ 533400 h 4496940"/>
                    <a:gd name="connsiteX116" fmla="*/ 887752 w 4519987"/>
                    <a:gd name="connsiteY116" fmla="*/ 504825 h 4496940"/>
                    <a:gd name="connsiteX117" fmla="*/ 1167152 w 4519987"/>
                    <a:gd name="connsiteY117" fmla="*/ 311150 h 4496940"/>
                    <a:gd name="connsiteX118" fmla="*/ 1268752 w 4519987"/>
                    <a:gd name="connsiteY118" fmla="*/ 285750 h 4496940"/>
                    <a:gd name="connsiteX119" fmla="*/ 1411627 w 4519987"/>
                    <a:gd name="connsiteY119" fmla="*/ 190500 h 4496940"/>
                    <a:gd name="connsiteX120" fmla="*/ 1449727 w 4519987"/>
                    <a:gd name="connsiteY120" fmla="*/ 161925 h 4496940"/>
                    <a:gd name="connsiteX121" fmla="*/ 1525927 w 4519987"/>
                    <a:gd name="connsiteY121" fmla="*/ 152400 h 4496940"/>
                    <a:gd name="connsiteX122" fmla="*/ 1583077 w 4519987"/>
                    <a:gd name="connsiteY122" fmla="*/ 142875 h 4496940"/>
                    <a:gd name="connsiteX123" fmla="*/ 1716427 w 4519987"/>
                    <a:gd name="connsiteY123" fmla="*/ 123825 h 4496940"/>
                    <a:gd name="connsiteX124" fmla="*/ 1811677 w 4519987"/>
                    <a:gd name="connsiteY124" fmla="*/ 114300 h 4496940"/>
                    <a:gd name="connsiteX125" fmla="*/ 1859302 w 4519987"/>
                    <a:gd name="connsiteY125" fmla="*/ 104775 h 4496940"/>
                    <a:gd name="connsiteX126" fmla="*/ 1916452 w 4519987"/>
                    <a:gd name="connsiteY126" fmla="*/ 95250 h 4496940"/>
                    <a:gd name="connsiteX127" fmla="*/ 2030752 w 4519987"/>
                    <a:gd name="connsiteY127" fmla="*/ 66675 h 4496940"/>
                    <a:gd name="connsiteX128" fmla="*/ 2097427 w 4519987"/>
                    <a:gd name="connsiteY128" fmla="*/ 47625 h 4496940"/>
                    <a:gd name="connsiteX129" fmla="*/ 2164102 w 4519987"/>
                    <a:gd name="connsiteY129" fmla="*/ 38100 h 4496940"/>
                    <a:gd name="connsiteX130" fmla="*/ 2392702 w 4519987"/>
                    <a:gd name="connsiteY13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4002427 w 4519987"/>
                    <a:gd name="connsiteY34" fmla="*/ 3600450 h 4496940"/>
                    <a:gd name="connsiteX35" fmla="*/ 3954802 w 4519987"/>
                    <a:gd name="connsiteY35" fmla="*/ 3648075 h 4496940"/>
                    <a:gd name="connsiteX36" fmla="*/ 3659527 w 4519987"/>
                    <a:gd name="connsiteY36" fmla="*/ 3971925 h 4496940"/>
                    <a:gd name="connsiteX37" fmla="*/ 3630952 w 4519987"/>
                    <a:gd name="connsiteY37" fmla="*/ 4010025 h 4496940"/>
                    <a:gd name="connsiteX38" fmla="*/ 3621427 w 4519987"/>
                    <a:gd name="connsiteY38" fmla="*/ 4038600 h 4496940"/>
                    <a:gd name="connsiteX39" fmla="*/ 3554752 w 4519987"/>
                    <a:gd name="connsiteY39" fmla="*/ 4095750 h 4496940"/>
                    <a:gd name="connsiteX40" fmla="*/ 3516652 w 4519987"/>
                    <a:gd name="connsiteY40" fmla="*/ 4114800 h 4496940"/>
                    <a:gd name="connsiteX41" fmla="*/ 3497602 w 4519987"/>
                    <a:gd name="connsiteY41" fmla="*/ 4143375 h 4496940"/>
                    <a:gd name="connsiteX42" fmla="*/ 3383302 w 4519987"/>
                    <a:gd name="connsiteY42" fmla="*/ 4210050 h 4496940"/>
                    <a:gd name="connsiteX43" fmla="*/ 3335677 w 4519987"/>
                    <a:gd name="connsiteY43" fmla="*/ 4238625 h 4496940"/>
                    <a:gd name="connsiteX44" fmla="*/ 3288052 w 4519987"/>
                    <a:gd name="connsiteY44" fmla="*/ 4248150 h 4496940"/>
                    <a:gd name="connsiteX45" fmla="*/ 3240427 w 4519987"/>
                    <a:gd name="connsiteY45" fmla="*/ 4267200 h 4496940"/>
                    <a:gd name="connsiteX46" fmla="*/ 3068977 w 4519987"/>
                    <a:gd name="connsiteY46" fmla="*/ 4286250 h 4496940"/>
                    <a:gd name="connsiteX47" fmla="*/ 2935627 w 4519987"/>
                    <a:gd name="connsiteY47" fmla="*/ 4333875 h 4496940"/>
                    <a:gd name="connsiteX48" fmla="*/ 2811802 w 4519987"/>
                    <a:gd name="connsiteY48" fmla="*/ 4371975 h 4496940"/>
                    <a:gd name="connsiteX49" fmla="*/ 2745127 w 4519987"/>
                    <a:gd name="connsiteY49" fmla="*/ 4410075 h 4496940"/>
                    <a:gd name="connsiteX50" fmla="*/ 2697502 w 4519987"/>
                    <a:gd name="connsiteY50" fmla="*/ 4429125 h 4496940"/>
                    <a:gd name="connsiteX51" fmla="*/ 2640352 w 4519987"/>
                    <a:gd name="connsiteY51" fmla="*/ 4457700 h 4496940"/>
                    <a:gd name="connsiteX52" fmla="*/ 2583202 w 4519987"/>
                    <a:gd name="connsiteY52" fmla="*/ 4467225 h 4496940"/>
                    <a:gd name="connsiteX53" fmla="*/ 2545102 w 4519987"/>
                    <a:gd name="connsiteY53" fmla="*/ 4486275 h 4496940"/>
                    <a:gd name="connsiteX54" fmla="*/ 2306977 w 4519987"/>
                    <a:gd name="connsiteY54" fmla="*/ 4476750 h 4496940"/>
                    <a:gd name="connsiteX55" fmla="*/ 2202202 w 4519987"/>
                    <a:gd name="connsiteY55" fmla="*/ 4457700 h 4496940"/>
                    <a:gd name="connsiteX56" fmla="*/ 2126002 w 4519987"/>
                    <a:gd name="connsiteY56" fmla="*/ 4429125 h 4496940"/>
                    <a:gd name="connsiteX57" fmla="*/ 1935502 w 4519987"/>
                    <a:gd name="connsiteY57" fmla="*/ 4400550 h 4496940"/>
                    <a:gd name="connsiteX58" fmla="*/ 1821202 w 4519987"/>
                    <a:gd name="connsiteY58" fmla="*/ 4371975 h 4496940"/>
                    <a:gd name="connsiteX59" fmla="*/ 1754527 w 4519987"/>
                    <a:gd name="connsiteY59" fmla="*/ 4352925 h 4496940"/>
                    <a:gd name="connsiteX60" fmla="*/ 1687852 w 4519987"/>
                    <a:gd name="connsiteY60" fmla="*/ 4343400 h 4496940"/>
                    <a:gd name="connsiteX61" fmla="*/ 1573552 w 4519987"/>
                    <a:gd name="connsiteY61" fmla="*/ 4305300 h 4496940"/>
                    <a:gd name="connsiteX62" fmla="*/ 1402102 w 4519987"/>
                    <a:gd name="connsiteY62" fmla="*/ 4276725 h 4496940"/>
                    <a:gd name="connsiteX63" fmla="*/ 1287802 w 4519987"/>
                    <a:gd name="connsiteY63" fmla="*/ 4229100 h 4496940"/>
                    <a:gd name="connsiteX64" fmla="*/ 1221127 w 4519987"/>
                    <a:gd name="connsiteY64" fmla="*/ 4200525 h 4496940"/>
                    <a:gd name="connsiteX65" fmla="*/ 1144927 w 4519987"/>
                    <a:gd name="connsiteY65" fmla="*/ 4171950 h 4496940"/>
                    <a:gd name="connsiteX66" fmla="*/ 1087777 w 4519987"/>
                    <a:gd name="connsiteY66" fmla="*/ 4143375 h 4496940"/>
                    <a:gd name="connsiteX67" fmla="*/ 1030627 w 4519987"/>
                    <a:gd name="connsiteY67" fmla="*/ 4124325 h 4496940"/>
                    <a:gd name="connsiteX68" fmla="*/ 925852 w 4519987"/>
                    <a:gd name="connsiteY68" fmla="*/ 4067175 h 4496940"/>
                    <a:gd name="connsiteX69" fmla="*/ 830602 w 4519987"/>
                    <a:gd name="connsiteY69" fmla="*/ 3981450 h 4496940"/>
                    <a:gd name="connsiteX70" fmla="*/ 763927 w 4519987"/>
                    <a:gd name="connsiteY70" fmla="*/ 3914775 h 4496940"/>
                    <a:gd name="connsiteX71" fmla="*/ 725827 w 4519987"/>
                    <a:gd name="connsiteY71" fmla="*/ 3876675 h 4496940"/>
                    <a:gd name="connsiteX72" fmla="*/ 697252 w 4519987"/>
                    <a:gd name="connsiteY72" fmla="*/ 3838575 h 4496940"/>
                    <a:gd name="connsiteX73" fmla="*/ 640102 w 4519987"/>
                    <a:gd name="connsiteY73" fmla="*/ 3781425 h 4496940"/>
                    <a:gd name="connsiteX74" fmla="*/ 611527 w 4519987"/>
                    <a:gd name="connsiteY74" fmla="*/ 3733800 h 4496940"/>
                    <a:gd name="connsiteX75" fmla="*/ 554377 w 4519987"/>
                    <a:gd name="connsiteY75" fmla="*/ 3657600 h 4496940"/>
                    <a:gd name="connsiteX76" fmla="*/ 525802 w 4519987"/>
                    <a:gd name="connsiteY76" fmla="*/ 3609975 h 4496940"/>
                    <a:gd name="connsiteX77" fmla="*/ 497227 w 4519987"/>
                    <a:gd name="connsiteY77" fmla="*/ 3552825 h 4496940"/>
                    <a:gd name="connsiteX78" fmla="*/ 440077 w 4519987"/>
                    <a:gd name="connsiteY78" fmla="*/ 3495675 h 4496940"/>
                    <a:gd name="connsiteX79" fmla="*/ 411502 w 4519987"/>
                    <a:gd name="connsiteY79" fmla="*/ 3448050 h 4496940"/>
                    <a:gd name="connsiteX80" fmla="*/ 278152 w 4519987"/>
                    <a:gd name="connsiteY80" fmla="*/ 3257550 h 4496940"/>
                    <a:gd name="connsiteX81" fmla="*/ 249577 w 4519987"/>
                    <a:gd name="connsiteY81" fmla="*/ 3200400 h 4496940"/>
                    <a:gd name="connsiteX82" fmla="*/ 240052 w 4519987"/>
                    <a:gd name="connsiteY82" fmla="*/ 3162300 h 4496940"/>
                    <a:gd name="connsiteX83" fmla="*/ 221002 w 4519987"/>
                    <a:gd name="connsiteY83" fmla="*/ 3105150 h 4496940"/>
                    <a:gd name="connsiteX84" fmla="*/ 173377 w 4519987"/>
                    <a:gd name="connsiteY84" fmla="*/ 3019425 h 4496940"/>
                    <a:gd name="connsiteX85" fmla="*/ 144802 w 4519987"/>
                    <a:gd name="connsiteY85" fmla="*/ 2924175 h 4496940"/>
                    <a:gd name="connsiteX86" fmla="*/ 68602 w 4519987"/>
                    <a:gd name="connsiteY86" fmla="*/ 2724150 h 4496940"/>
                    <a:gd name="connsiteX87" fmla="*/ 49552 w 4519987"/>
                    <a:gd name="connsiteY87" fmla="*/ 2638425 h 4496940"/>
                    <a:gd name="connsiteX88" fmla="*/ 40027 w 4519987"/>
                    <a:gd name="connsiteY88" fmla="*/ 2562225 h 4496940"/>
                    <a:gd name="connsiteX89" fmla="*/ 30502 w 4519987"/>
                    <a:gd name="connsiteY89" fmla="*/ 2514600 h 4496940"/>
                    <a:gd name="connsiteX90" fmla="*/ 11452 w 4519987"/>
                    <a:gd name="connsiteY90" fmla="*/ 2400300 h 4496940"/>
                    <a:gd name="connsiteX91" fmla="*/ 20977 w 4519987"/>
                    <a:gd name="connsiteY91" fmla="*/ 1905000 h 4496940"/>
                    <a:gd name="connsiteX92" fmla="*/ 30502 w 4519987"/>
                    <a:gd name="connsiteY92" fmla="*/ 1838325 h 4496940"/>
                    <a:gd name="connsiteX93" fmla="*/ 49552 w 4519987"/>
                    <a:gd name="connsiteY93" fmla="*/ 1781175 h 4496940"/>
                    <a:gd name="connsiteX94" fmla="*/ 59077 w 4519987"/>
                    <a:gd name="connsiteY94" fmla="*/ 1743075 h 4496940"/>
                    <a:gd name="connsiteX95" fmla="*/ 78127 w 4519987"/>
                    <a:gd name="connsiteY95" fmla="*/ 1685925 h 4496940"/>
                    <a:gd name="connsiteX96" fmla="*/ 87652 w 4519987"/>
                    <a:gd name="connsiteY96" fmla="*/ 1638300 h 4496940"/>
                    <a:gd name="connsiteX97" fmla="*/ 106702 w 4519987"/>
                    <a:gd name="connsiteY97" fmla="*/ 1590675 h 4496940"/>
                    <a:gd name="connsiteX98" fmla="*/ 135277 w 4519987"/>
                    <a:gd name="connsiteY98" fmla="*/ 1504950 h 4496940"/>
                    <a:gd name="connsiteX99" fmla="*/ 154327 w 4519987"/>
                    <a:gd name="connsiteY99" fmla="*/ 1419225 h 4496940"/>
                    <a:gd name="connsiteX100" fmla="*/ 230527 w 4519987"/>
                    <a:gd name="connsiteY100" fmla="*/ 1276350 h 4496940"/>
                    <a:gd name="connsiteX101" fmla="*/ 240052 w 4519987"/>
                    <a:gd name="connsiteY101" fmla="*/ 1247775 h 4496940"/>
                    <a:gd name="connsiteX102" fmla="*/ 268627 w 4519987"/>
                    <a:gd name="connsiteY102" fmla="*/ 1200150 h 4496940"/>
                    <a:gd name="connsiteX103" fmla="*/ 287677 w 4519987"/>
                    <a:gd name="connsiteY103" fmla="*/ 1152525 h 4496940"/>
                    <a:gd name="connsiteX104" fmla="*/ 316252 w 4519987"/>
                    <a:gd name="connsiteY104" fmla="*/ 1114425 h 4496940"/>
                    <a:gd name="connsiteX105" fmla="*/ 363877 w 4519987"/>
                    <a:gd name="connsiteY105" fmla="*/ 1038225 h 4496940"/>
                    <a:gd name="connsiteX106" fmla="*/ 382927 w 4519987"/>
                    <a:gd name="connsiteY106" fmla="*/ 1009650 h 4496940"/>
                    <a:gd name="connsiteX107" fmla="*/ 440077 w 4519987"/>
                    <a:gd name="connsiteY107" fmla="*/ 904875 h 4496940"/>
                    <a:gd name="connsiteX108" fmla="*/ 478177 w 4519987"/>
                    <a:gd name="connsiteY108" fmla="*/ 857250 h 4496940"/>
                    <a:gd name="connsiteX109" fmla="*/ 497227 w 4519987"/>
                    <a:gd name="connsiteY109" fmla="*/ 828675 h 4496940"/>
                    <a:gd name="connsiteX110" fmla="*/ 535327 w 4519987"/>
                    <a:gd name="connsiteY110" fmla="*/ 800100 h 4496940"/>
                    <a:gd name="connsiteX111" fmla="*/ 602002 w 4519987"/>
                    <a:gd name="connsiteY111" fmla="*/ 733425 h 4496940"/>
                    <a:gd name="connsiteX112" fmla="*/ 668677 w 4519987"/>
                    <a:gd name="connsiteY112" fmla="*/ 676275 h 4496940"/>
                    <a:gd name="connsiteX113" fmla="*/ 697252 w 4519987"/>
                    <a:gd name="connsiteY113" fmla="*/ 657225 h 4496940"/>
                    <a:gd name="connsiteX114" fmla="*/ 840127 w 4519987"/>
                    <a:gd name="connsiteY114" fmla="*/ 533400 h 4496940"/>
                    <a:gd name="connsiteX115" fmla="*/ 887752 w 4519987"/>
                    <a:gd name="connsiteY115" fmla="*/ 504825 h 4496940"/>
                    <a:gd name="connsiteX116" fmla="*/ 1167152 w 4519987"/>
                    <a:gd name="connsiteY116" fmla="*/ 311150 h 4496940"/>
                    <a:gd name="connsiteX117" fmla="*/ 1268752 w 4519987"/>
                    <a:gd name="connsiteY117" fmla="*/ 285750 h 4496940"/>
                    <a:gd name="connsiteX118" fmla="*/ 1411627 w 4519987"/>
                    <a:gd name="connsiteY118" fmla="*/ 190500 h 4496940"/>
                    <a:gd name="connsiteX119" fmla="*/ 1449727 w 4519987"/>
                    <a:gd name="connsiteY119" fmla="*/ 161925 h 4496940"/>
                    <a:gd name="connsiteX120" fmla="*/ 1525927 w 4519987"/>
                    <a:gd name="connsiteY120" fmla="*/ 152400 h 4496940"/>
                    <a:gd name="connsiteX121" fmla="*/ 1583077 w 4519987"/>
                    <a:gd name="connsiteY121" fmla="*/ 142875 h 4496940"/>
                    <a:gd name="connsiteX122" fmla="*/ 1716427 w 4519987"/>
                    <a:gd name="connsiteY122" fmla="*/ 123825 h 4496940"/>
                    <a:gd name="connsiteX123" fmla="*/ 1811677 w 4519987"/>
                    <a:gd name="connsiteY123" fmla="*/ 114300 h 4496940"/>
                    <a:gd name="connsiteX124" fmla="*/ 1859302 w 4519987"/>
                    <a:gd name="connsiteY124" fmla="*/ 104775 h 4496940"/>
                    <a:gd name="connsiteX125" fmla="*/ 1916452 w 4519987"/>
                    <a:gd name="connsiteY125" fmla="*/ 95250 h 4496940"/>
                    <a:gd name="connsiteX126" fmla="*/ 2030752 w 4519987"/>
                    <a:gd name="connsiteY126" fmla="*/ 66675 h 4496940"/>
                    <a:gd name="connsiteX127" fmla="*/ 2097427 w 4519987"/>
                    <a:gd name="connsiteY127" fmla="*/ 47625 h 4496940"/>
                    <a:gd name="connsiteX128" fmla="*/ 2164102 w 4519987"/>
                    <a:gd name="connsiteY128" fmla="*/ 38100 h 4496940"/>
                    <a:gd name="connsiteX129" fmla="*/ 2392702 w 4519987"/>
                    <a:gd name="connsiteY12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497602 w 4519987"/>
                    <a:gd name="connsiteY40" fmla="*/ 4143375 h 4496940"/>
                    <a:gd name="connsiteX41" fmla="*/ 3383302 w 4519987"/>
                    <a:gd name="connsiteY41" fmla="*/ 4210050 h 4496940"/>
                    <a:gd name="connsiteX42" fmla="*/ 3335677 w 4519987"/>
                    <a:gd name="connsiteY42" fmla="*/ 4238625 h 4496940"/>
                    <a:gd name="connsiteX43" fmla="*/ 3288052 w 4519987"/>
                    <a:gd name="connsiteY43" fmla="*/ 4248150 h 4496940"/>
                    <a:gd name="connsiteX44" fmla="*/ 3240427 w 4519987"/>
                    <a:gd name="connsiteY44" fmla="*/ 4267200 h 4496940"/>
                    <a:gd name="connsiteX45" fmla="*/ 3068977 w 4519987"/>
                    <a:gd name="connsiteY45" fmla="*/ 4286250 h 4496940"/>
                    <a:gd name="connsiteX46" fmla="*/ 2935627 w 4519987"/>
                    <a:gd name="connsiteY46" fmla="*/ 4333875 h 4496940"/>
                    <a:gd name="connsiteX47" fmla="*/ 2811802 w 4519987"/>
                    <a:gd name="connsiteY47" fmla="*/ 4371975 h 4496940"/>
                    <a:gd name="connsiteX48" fmla="*/ 2745127 w 4519987"/>
                    <a:gd name="connsiteY48" fmla="*/ 4410075 h 4496940"/>
                    <a:gd name="connsiteX49" fmla="*/ 2697502 w 4519987"/>
                    <a:gd name="connsiteY49" fmla="*/ 4429125 h 4496940"/>
                    <a:gd name="connsiteX50" fmla="*/ 2640352 w 4519987"/>
                    <a:gd name="connsiteY50" fmla="*/ 4457700 h 4496940"/>
                    <a:gd name="connsiteX51" fmla="*/ 2583202 w 4519987"/>
                    <a:gd name="connsiteY51" fmla="*/ 4467225 h 4496940"/>
                    <a:gd name="connsiteX52" fmla="*/ 2545102 w 4519987"/>
                    <a:gd name="connsiteY52" fmla="*/ 4486275 h 4496940"/>
                    <a:gd name="connsiteX53" fmla="*/ 2306977 w 4519987"/>
                    <a:gd name="connsiteY53" fmla="*/ 4476750 h 4496940"/>
                    <a:gd name="connsiteX54" fmla="*/ 2202202 w 4519987"/>
                    <a:gd name="connsiteY54" fmla="*/ 4457700 h 4496940"/>
                    <a:gd name="connsiteX55" fmla="*/ 2126002 w 4519987"/>
                    <a:gd name="connsiteY55" fmla="*/ 4429125 h 4496940"/>
                    <a:gd name="connsiteX56" fmla="*/ 1935502 w 4519987"/>
                    <a:gd name="connsiteY56" fmla="*/ 4400550 h 4496940"/>
                    <a:gd name="connsiteX57" fmla="*/ 1821202 w 4519987"/>
                    <a:gd name="connsiteY57" fmla="*/ 4371975 h 4496940"/>
                    <a:gd name="connsiteX58" fmla="*/ 1754527 w 4519987"/>
                    <a:gd name="connsiteY58" fmla="*/ 4352925 h 4496940"/>
                    <a:gd name="connsiteX59" fmla="*/ 1687852 w 4519987"/>
                    <a:gd name="connsiteY59" fmla="*/ 4343400 h 4496940"/>
                    <a:gd name="connsiteX60" fmla="*/ 1573552 w 4519987"/>
                    <a:gd name="connsiteY60" fmla="*/ 4305300 h 4496940"/>
                    <a:gd name="connsiteX61" fmla="*/ 1402102 w 4519987"/>
                    <a:gd name="connsiteY61" fmla="*/ 4276725 h 4496940"/>
                    <a:gd name="connsiteX62" fmla="*/ 1287802 w 4519987"/>
                    <a:gd name="connsiteY62" fmla="*/ 4229100 h 4496940"/>
                    <a:gd name="connsiteX63" fmla="*/ 1221127 w 4519987"/>
                    <a:gd name="connsiteY63" fmla="*/ 4200525 h 4496940"/>
                    <a:gd name="connsiteX64" fmla="*/ 1144927 w 4519987"/>
                    <a:gd name="connsiteY64" fmla="*/ 4171950 h 4496940"/>
                    <a:gd name="connsiteX65" fmla="*/ 1087777 w 4519987"/>
                    <a:gd name="connsiteY65" fmla="*/ 4143375 h 4496940"/>
                    <a:gd name="connsiteX66" fmla="*/ 1030627 w 4519987"/>
                    <a:gd name="connsiteY66" fmla="*/ 4124325 h 4496940"/>
                    <a:gd name="connsiteX67" fmla="*/ 925852 w 4519987"/>
                    <a:gd name="connsiteY67" fmla="*/ 4067175 h 4496940"/>
                    <a:gd name="connsiteX68" fmla="*/ 830602 w 4519987"/>
                    <a:gd name="connsiteY68" fmla="*/ 3981450 h 4496940"/>
                    <a:gd name="connsiteX69" fmla="*/ 763927 w 4519987"/>
                    <a:gd name="connsiteY69" fmla="*/ 3914775 h 4496940"/>
                    <a:gd name="connsiteX70" fmla="*/ 725827 w 4519987"/>
                    <a:gd name="connsiteY70" fmla="*/ 3876675 h 4496940"/>
                    <a:gd name="connsiteX71" fmla="*/ 697252 w 4519987"/>
                    <a:gd name="connsiteY71" fmla="*/ 3838575 h 4496940"/>
                    <a:gd name="connsiteX72" fmla="*/ 640102 w 4519987"/>
                    <a:gd name="connsiteY72" fmla="*/ 3781425 h 4496940"/>
                    <a:gd name="connsiteX73" fmla="*/ 611527 w 4519987"/>
                    <a:gd name="connsiteY73" fmla="*/ 3733800 h 4496940"/>
                    <a:gd name="connsiteX74" fmla="*/ 554377 w 4519987"/>
                    <a:gd name="connsiteY74" fmla="*/ 3657600 h 4496940"/>
                    <a:gd name="connsiteX75" fmla="*/ 525802 w 4519987"/>
                    <a:gd name="connsiteY75" fmla="*/ 3609975 h 4496940"/>
                    <a:gd name="connsiteX76" fmla="*/ 497227 w 4519987"/>
                    <a:gd name="connsiteY76" fmla="*/ 3552825 h 4496940"/>
                    <a:gd name="connsiteX77" fmla="*/ 440077 w 4519987"/>
                    <a:gd name="connsiteY77" fmla="*/ 3495675 h 4496940"/>
                    <a:gd name="connsiteX78" fmla="*/ 411502 w 4519987"/>
                    <a:gd name="connsiteY78" fmla="*/ 3448050 h 4496940"/>
                    <a:gd name="connsiteX79" fmla="*/ 278152 w 4519987"/>
                    <a:gd name="connsiteY79" fmla="*/ 3257550 h 4496940"/>
                    <a:gd name="connsiteX80" fmla="*/ 249577 w 4519987"/>
                    <a:gd name="connsiteY80" fmla="*/ 3200400 h 4496940"/>
                    <a:gd name="connsiteX81" fmla="*/ 240052 w 4519987"/>
                    <a:gd name="connsiteY81" fmla="*/ 3162300 h 4496940"/>
                    <a:gd name="connsiteX82" fmla="*/ 221002 w 4519987"/>
                    <a:gd name="connsiteY82" fmla="*/ 3105150 h 4496940"/>
                    <a:gd name="connsiteX83" fmla="*/ 173377 w 4519987"/>
                    <a:gd name="connsiteY83" fmla="*/ 3019425 h 4496940"/>
                    <a:gd name="connsiteX84" fmla="*/ 144802 w 4519987"/>
                    <a:gd name="connsiteY84" fmla="*/ 2924175 h 4496940"/>
                    <a:gd name="connsiteX85" fmla="*/ 68602 w 4519987"/>
                    <a:gd name="connsiteY85" fmla="*/ 2724150 h 4496940"/>
                    <a:gd name="connsiteX86" fmla="*/ 49552 w 4519987"/>
                    <a:gd name="connsiteY86" fmla="*/ 2638425 h 4496940"/>
                    <a:gd name="connsiteX87" fmla="*/ 40027 w 4519987"/>
                    <a:gd name="connsiteY87" fmla="*/ 2562225 h 4496940"/>
                    <a:gd name="connsiteX88" fmla="*/ 30502 w 4519987"/>
                    <a:gd name="connsiteY88" fmla="*/ 2514600 h 4496940"/>
                    <a:gd name="connsiteX89" fmla="*/ 11452 w 4519987"/>
                    <a:gd name="connsiteY89" fmla="*/ 2400300 h 4496940"/>
                    <a:gd name="connsiteX90" fmla="*/ 20977 w 4519987"/>
                    <a:gd name="connsiteY90" fmla="*/ 1905000 h 4496940"/>
                    <a:gd name="connsiteX91" fmla="*/ 30502 w 4519987"/>
                    <a:gd name="connsiteY91" fmla="*/ 1838325 h 4496940"/>
                    <a:gd name="connsiteX92" fmla="*/ 49552 w 4519987"/>
                    <a:gd name="connsiteY92" fmla="*/ 1781175 h 4496940"/>
                    <a:gd name="connsiteX93" fmla="*/ 59077 w 4519987"/>
                    <a:gd name="connsiteY93" fmla="*/ 1743075 h 4496940"/>
                    <a:gd name="connsiteX94" fmla="*/ 78127 w 4519987"/>
                    <a:gd name="connsiteY94" fmla="*/ 1685925 h 4496940"/>
                    <a:gd name="connsiteX95" fmla="*/ 87652 w 4519987"/>
                    <a:gd name="connsiteY95" fmla="*/ 1638300 h 4496940"/>
                    <a:gd name="connsiteX96" fmla="*/ 106702 w 4519987"/>
                    <a:gd name="connsiteY96" fmla="*/ 1590675 h 4496940"/>
                    <a:gd name="connsiteX97" fmla="*/ 135277 w 4519987"/>
                    <a:gd name="connsiteY97" fmla="*/ 1504950 h 4496940"/>
                    <a:gd name="connsiteX98" fmla="*/ 154327 w 4519987"/>
                    <a:gd name="connsiteY98" fmla="*/ 1419225 h 4496940"/>
                    <a:gd name="connsiteX99" fmla="*/ 230527 w 4519987"/>
                    <a:gd name="connsiteY99" fmla="*/ 1276350 h 4496940"/>
                    <a:gd name="connsiteX100" fmla="*/ 240052 w 4519987"/>
                    <a:gd name="connsiteY100" fmla="*/ 1247775 h 4496940"/>
                    <a:gd name="connsiteX101" fmla="*/ 268627 w 4519987"/>
                    <a:gd name="connsiteY101" fmla="*/ 1200150 h 4496940"/>
                    <a:gd name="connsiteX102" fmla="*/ 287677 w 4519987"/>
                    <a:gd name="connsiteY102" fmla="*/ 1152525 h 4496940"/>
                    <a:gd name="connsiteX103" fmla="*/ 316252 w 4519987"/>
                    <a:gd name="connsiteY103" fmla="*/ 1114425 h 4496940"/>
                    <a:gd name="connsiteX104" fmla="*/ 363877 w 4519987"/>
                    <a:gd name="connsiteY104" fmla="*/ 1038225 h 4496940"/>
                    <a:gd name="connsiteX105" fmla="*/ 382927 w 4519987"/>
                    <a:gd name="connsiteY105" fmla="*/ 1009650 h 4496940"/>
                    <a:gd name="connsiteX106" fmla="*/ 440077 w 4519987"/>
                    <a:gd name="connsiteY106" fmla="*/ 904875 h 4496940"/>
                    <a:gd name="connsiteX107" fmla="*/ 478177 w 4519987"/>
                    <a:gd name="connsiteY107" fmla="*/ 857250 h 4496940"/>
                    <a:gd name="connsiteX108" fmla="*/ 497227 w 4519987"/>
                    <a:gd name="connsiteY108" fmla="*/ 828675 h 4496940"/>
                    <a:gd name="connsiteX109" fmla="*/ 535327 w 4519987"/>
                    <a:gd name="connsiteY109" fmla="*/ 800100 h 4496940"/>
                    <a:gd name="connsiteX110" fmla="*/ 602002 w 4519987"/>
                    <a:gd name="connsiteY110" fmla="*/ 733425 h 4496940"/>
                    <a:gd name="connsiteX111" fmla="*/ 668677 w 4519987"/>
                    <a:gd name="connsiteY111" fmla="*/ 676275 h 4496940"/>
                    <a:gd name="connsiteX112" fmla="*/ 697252 w 4519987"/>
                    <a:gd name="connsiteY112" fmla="*/ 657225 h 4496940"/>
                    <a:gd name="connsiteX113" fmla="*/ 840127 w 4519987"/>
                    <a:gd name="connsiteY113" fmla="*/ 533400 h 4496940"/>
                    <a:gd name="connsiteX114" fmla="*/ 887752 w 4519987"/>
                    <a:gd name="connsiteY114" fmla="*/ 504825 h 4496940"/>
                    <a:gd name="connsiteX115" fmla="*/ 1167152 w 4519987"/>
                    <a:gd name="connsiteY115" fmla="*/ 311150 h 4496940"/>
                    <a:gd name="connsiteX116" fmla="*/ 1268752 w 4519987"/>
                    <a:gd name="connsiteY116" fmla="*/ 285750 h 4496940"/>
                    <a:gd name="connsiteX117" fmla="*/ 1411627 w 4519987"/>
                    <a:gd name="connsiteY117" fmla="*/ 190500 h 4496940"/>
                    <a:gd name="connsiteX118" fmla="*/ 1449727 w 4519987"/>
                    <a:gd name="connsiteY118" fmla="*/ 161925 h 4496940"/>
                    <a:gd name="connsiteX119" fmla="*/ 1525927 w 4519987"/>
                    <a:gd name="connsiteY119" fmla="*/ 152400 h 4496940"/>
                    <a:gd name="connsiteX120" fmla="*/ 1583077 w 4519987"/>
                    <a:gd name="connsiteY120" fmla="*/ 142875 h 4496940"/>
                    <a:gd name="connsiteX121" fmla="*/ 1716427 w 4519987"/>
                    <a:gd name="connsiteY121" fmla="*/ 123825 h 4496940"/>
                    <a:gd name="connsiteX122" fmla="*/ 1811677 w 4519987"/>
                    <a:gd name="connsiteY122" fmla="*/ 114300 h 4496940"/>
                    <a:gd name="connsiteX123" fmla="*/ 1859302 w 4519987"/>
                    <a:gd name="connsiteY123" fmla="*/ 104775 h 4496940"/>
                    <a:gd name="connsiteX124" fmla="*/ 1916452 w 4519987"/>
                    <a:gd name="connsiteY124" fmla="*/ 95250 h 4496940"/>
                    <a:gd name="connsiteX125" fmla="*/ 2030752 w 4519987"/>
                    <a:gd name="connsiteY125" fmla="*/ 66675 h 4496940"/>
                    <a:gd name="connsiteX126" fmla="*/ 2097427 w 4519987"/>
                    <a:gd name="connsiteY126" fmla="*/ 47625 h 4496940"/>
                    <a:gd name="connsiteX127" fmla="*/ 2164102 w 4519987"/>
                    <a:gd name="connsiteY127" fmla="*/ 38100 h 4496940"/>
                    <a:gd name="connsiteX128" fmla="*/ 2392702 w 4519987"/>
                    <a:gd name="connsiteY12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383302 w 4519987"/>
                    <a:gd name="connsiteY40" fmla="*/ 4210050 h 4496940"/>
                    <a:gd name="connsiteX41" fmla="*/ 3335677 w 4519987"/>
                    <a:gd name="connsiteY41" fmla="*/ 4238625 h 4496940"/>
                    <a:gd name="connsiteX42" fmla="*/ 3288052 w 4519987"/>
                    <a:gd name="connsiteY42" fmla="*/ 4248150 h 4496940"/>
                    <a:gd name="connsiteX43" fmla="*/ 3240427 w 4519987"/>
                    <a:gd name="connsiteY43" fmla="*/ 4267200 h 4496940"/>
                    <a:gd name="connsiteX44" fmla="*/ 3068977 w 4519987"/>
                    <a:gd name="connsiteY44" fmla="*/ 4286250 h 4496940"/>
                    <a:gd name="connsiteX45" fmla="*/ 2935627 w 4519987"/>
                    <a:gd name="connsiteY45" fmla="*/ 4333875 h 4496940"/>
                    <a:gd name="connsiteX46" fmla="*/ 2811802 w 4519987"/>
                    <a:gd name="connsiteY46" fmla="*/ 4371975 h 4496940"/>
                    <a:gd name="connsiteX47" fmla="*/ 2745127 w 4519987"/>
                    <a:gd name="connsiteY47" fmla="*/ 4410075 h 4496940"/>
                    <a:gd name="connsiteX48" fmla="*/ 2697502 w 4519987"/>
                    <a:gd name="connsiteY48" fmla="*/ 4429125 h 4496940"/>
                    <a:gd name="connsiteX49" fmla="*/ 2640352 w 4519987"/>
                    <a:gd name="connsiteY49" fmla="*/ 4457700 h 4496940"/>
                    <a:gd name="connsiteX50" fmla="*/ 2583202 w 4519987"/>
                    <a:gd name="connsiteY50" fmla="*/ 4467225 h 4496940"/>
                    <a:gd name="connsiteX51" fmla="*/ 2545102 w 4519987"/>
                    <a:gd name="connsiteY51" fmla="*/ 4486275 h 4496940"/>
                    <a:gd name="connsiteX52" fmla="*/ 2306977 w 4519987"/>
                    <a:gd name="connsiteY52" fmla="*/ 4476750 h 4496940"/>
                    <a:gd name="connsiteX53" fmla="*/ 2202202 w 4519987"/>
                    <a:gd name="connsiteY53" fmla="*/ 4457700 h 4496940"/>
                    <a:gd name="connsiteX54" fmla="*/ 2126002 w 4519987"/>
                    <a:gd name="connsiteY54" fmla="*/ 4429125 h 4496940"/>
                    <a:gd name="connsiteX55" fmla="*/ 1935502 w 4519987"/>
                    <a:gd name="connsiteY55" fmla="*/ 4400550 h 4496940"/>
                    <a:gd name="connsiteX56" fmla="*/ 1821202 w 4519987"/>
                    <a:gd name="connsiteY56" fmla="*/ 4371975 h 4496940"/>
                    <a:gd name="connsiteX57" fmla="*/ 1754527 w 4519987"/>
                    <a:gd name="connsiteY57" fmla="*/ 4352925 h 4496940"/>
                    <a:gd name="connsiteX58" fmla="*/ 1687852 w 4519987"/>
                    <a:gd name="connsiteY58" fmla="*/ 4343400 h 4496940"/>
                    <a:gd name="connsiteX59" fmla="*/ 1573552 w 4519987"/>
                    <a:gd name="connsiteY59" fmla="*/ 4305300 h 4496940"/>
                    <a:gd name="connsiteX60" fmla="*/ 1402102 w 4519987"/>
                    <a:gd name="connsiteY60" fmla="*/ 4276725 h 4496940"/>
                    <a:gd name="connsiteX61" fmla="*/ 1287802 w 4519987"/>
                    <a:gd name="connsiteY61" fmla="*/ 4229100 h 4496940"/>
                    <a:gd name="connsiteX62" fmla="*/ 1221127 w 4519987"/>
                    <a:gd name="connsiteY62" fmla="*/ 4200525 h 4496940"/>
                    <a:gd name="connsiteX63" fmla="*/ 1144927 w 4519987"/>
                    <a:gd name="connsiteY63" fmla="*/ 4171950 h 4496940"/>
                    <a:gd name="connsiteX64" fmla="*/ 1087777 w 4519987"/>
                    <a:gd name="connsiteY64" fmla="*/ 4143375 h 4496940"/>
                    <a:gd name="connsiteX65" fmla="*/ 1030627 w 4519987"/>
                    <a:gd name="connsiteY65" fmla="*/ 4124325 h 4496940"/>
                    <a:gd name="connsiteX66" fmla="*/ 925852 w 4519987"/>
                    <a:gd name="connsiteY66" fmla="*/ 4067175 h 4496940"/>
                    <a:gd name="connsiteX67" fmla="*/ 830602 w 4519987"/>
                    <a:gd name="connsiteY67" fmla="*/ 3981450 h 4496940"/>
                    <a:gd name="connsiteX68" fmla="*/ 763927 w 4519987"/>
                    <a:gd name="connsiteY68" fmla="*/ 3914775 h 4496940"/>
                    <a:gd name="connsiteX69" fmla="*/ 725827 w 4519987"/>
                    <a:gd name="connsiteY69" fmla="*/ 3876675 h 4496940"/>
                    <a:gd name="connsiteX70" fmla="*/ 697252 w 4519987"/>
                    <a:gd name="connsiteY70" fmla="*/ 3838575 h 4496940"/>
                    <a:gd name="connsiteX71" fmla="*/ 640102 w 4519987"/>
                    <a:gd name="connsiteY71" fmla="*/ 3781425 h 4496940"/>
                    <a:gd name="connsiteX72" fmla="*/ 611527 w 4519987"/>
                    <a:gd name="connsiteY72" fmla="*/ 3733800 h 4496940"/>
                    <a:gd name="connsiteX73" fmla="*/ 554377 w 4519987"/>
                    <a:gd name="connsiteY73" fmla="*/ 3657600 h 4496940"/>
                    <a:gd name="connsiteX74" fmla="*/ 525802 w 4519987"/>
                    <a:gd name="connsiteY74" fmla="*/ 3609975 h 4496940"/>
                    <a:gd name="connsiteX75" fmla="*/ 497227 w 4519987"/>
                    <a:gd name="connsiteY75" fmla="*/ 3552825 h 4496940"/>
                    <a:gd name="connsiteX76" fmla="*/ 440077 w 4519987"/>
                    <a:gd name="connsiteY76" fmla="*/ 3495675 h 4496940"/>
                    <a:gd name="connsiteX77" fmla="*/ 411502 w 4519987"/>
                    <a:gd name="connsiteY77" fmla="*/ 3448050 h 4496940"/>
                    <a:gd name="connsiteX78" fmla="*/ 278152 w 4519987"/>
                    <a:gd name="connsiteY78" fmla="*/ 3257550 h 4496940"/>
                    <a:gd name="connsiteX79" fmla="*/ 249577 w 4519987"/>
                    <a:gd name="connsiteY79" fmla="*/ 3200400 h 4496940"/>
                    <a:gd name="connsiteX80" fmla="*/ 240052 w 4519987"/>
                    <a:gd name="connsiteY80" fmla="*/ 3162300 h 4496940"/>
                    <a:gd name="connsiteX81" fmla="*/ 221002 w 4519987"/>
                    <a:gd name="connsiteY81" fmla="*/ 3105150 h 4496940"/>
                    <a:gd name="connsiteX82" fmla="*/ 173377 w 4519987"/>
                    <a:gd name="connsiteY82" fmla="*/ 3019425 h 4496940"/>
                    <a:gd name="connsiteX83" fmla="*/ 144802 w 4519987"/>
                    <a:gd name="connsiteY83" fmla="*/ 2924175 h 4496940"/>
                    <a:gd name="connsiteX84" fmla="*/ 68602 w 4519987"/>
                    <a:gd name="connsiteY84" fmla="*/ 2724150 h 4496940"/>
                    <a:gd name="connsiteX85" fmla="*/ 49552 w 4519987"/>
                    <a:gd name="connsiteY85" fmla="*/ 2638425 h 4496940"/>
                    <a:gd name="connsiteX86" fmla="*/ 40027 w 4519987"/>
                    <a:gd name="connsiteY86" fmla="*/ 2562225 h 4496940"/>
                    <a:gd name="connsiteX87" fmla="*/ 30502 w 4519987"/>
                    <a:gd name="connsiteY87" fmla="*/ 2514600 h 4496940"/>
                    <a:gd name="connsiteX88" fmla="*/ 11452 w 4519987"/>
                    <a:gd name="connsiteY88" fmla="*/ 2400300 h 4496940"/>
                    <a:gd name="connsiteX89" fmla="*/ 20977 w 4519987"/>
                    <a:gd name="connsiteY89" fmla="*/ 1905000 h 4496940"/>
                    <a:gd name="connsiteX90" fmla="*/ 30502 w 4519987"/>
                    <a:gd name="connsiteY90" fmla="*/ 1838325 h 4496940"/>
                    <a:gd name="connsiteX91" fmla="*/ 49552 w 4519987"/>
                    <a:gd name="connsiteY91" fmla="*/ 1781175 h 4496940"/>
                    <a:gd name="connsiteX92" fmla="*/ 59077 w 4519987"/>
                    <a:gd name="connsiteY92" fmla="*/ 1743075 h 4496940"/>
                    <a:gd name="connsiteX93" fmla="*/ 78127 w 4519987"/>
                    <a:gd name="connsiteY93" fmla="*/ 1685925 h 4496940"/>
                    <a:gd name="connsiteX94" fmla="*/ 87652 w 4519987"/>
                    <a:gd name="connsiteY94" fmla="*/ 1638300 h 4496940"/>
                    <a:gd name="connsiteX95" fmla="*/ 106702 w 4519987"/>
                    <a:gd name="connsiteY95" fmla="*/ 1590675 h 4496940"/>
                    <a:gd name="connsiteX96" fmla="*/ 135277 w 4519987"/>
                    <a:gd name="connsiteY96" fmla="*/ 1504950 h 4496940"/>
                    <a:gd name="connsiteX97" fmla="*/ 154327 w 4519987"/>
                    <a:gd name="connsiteY97" fmla="*/ 1419225 h 4496940"/>
                    <a:gd name="connsiteX98" fmla="*/ 230527 w 4519987"/>
                    <a:gd name="connsiteY98" fmla="*/ 1276350 h 4496940"/>
                    <a:gd name="connsiteX99" fmla="*/ 240052 w 4519987"/>
                    <a:gd name="connsiteY99" fmla="*/ 1247775 h 4496940"/>
                    <a:gd name="connsiteX100" fmla="*/ 268627 w 4519987"/>
                    <a:gd name="connsiteY100" fmla="*/ 1200150 h 4496940"/>
                    <a:gd name="connsiteX101" fmla="*/ 287677 w 4519987"/>
                    <a:gd name="connsiteY101" fmla="*/ 1152525 h 4496940"/>
                    <a:gd name="connsiteX102" fmla="*/ 316252 w 4519987"/>
                    <a:gd name="connsiteY102" fmla="*/ 1114425 h 4496940"/>
                    <a:gd name="connsiteX103" fmla="*/ 363877 w 4519987"/>
                    <a:gd name="connsiteY103" fmla="*/ 1038225 h 4496940"/>
                    <a:gd name="connsiteX104" fmla="*/ 382927 w 4519987"/>
                    <a:gd name="connsiteY104" fmla="*/ 1009650 h 4496940"/>
                    <a:gd name="connsiteX105" fmla="*/ 440077 w 4519987"/>
                    <a:gd name="connsiteY105" fmla="*/ 904875 h 4496940"/>
                    <a:gd name="connsiteX106" fmla="*/ 478177 w 4519987"/>
                    <a:gd name="connsiteY106" fmla="*/ 857250 h 4496940"/>
                    <a:gd name="connsiteX107" fmla="*/ 497227 w 4519987"/>
                    <a:gd name="connsiteY107" fmla="*/ 828675 h 4496940"/>
                    <a:gd name="connsiteX108" fmla="*/ 535327 w 4519987"/>
                    <a:gd name="connsiteY108" fmla="*/ 800100 h 4496940"/>
                    <a:gd name="connsiteX109" fmla="*/ 602002 w 4519987"/>
                    <a:gd name="connsiteY109" fmla="*/ 733425 h 4496940"/>
                    <a:gd name="connsiteX110" fmla="*/ 668677 w 4519987"/>
                    <a:gd name="connsiteY110" fmla="*/ 676275 h 4496940"/>
                    <a:gd name="connsiteX111" fmla="*/ 697252 w 4519987"/>
                    <a:gd name="connsiteY111" fmla="*/ 657225 h 4496940"/>
                    <a:gd name="connsiteX112" fmla="*/ 840127 w 4519987"/>
                    <a:gd name="connsiteY112" fmla="*/ 533400 h 4496940"/>
                    <a:gd name="connsiteX113" fmla="*/ 887752 w 4519987"/>
                    <a:gd name="connsiteY113" fmla="*/ 504825 h 4496940"/>
                    <a:gd name="connsiteX114" fmla="*/ 1167152 w 4519987"/>
                    <a:gd name="connsiteY114" fmla="*/ 311150 h 4496940"/>
                    <a:gd name="connsiteX115" fmla="*/ 1268752 w 4519987"/>
                    <a:gd name="connsiteY115" fmla="*/ 285750 h 4496940"/>
                    <a:gd name="connsiteX116" fmla="*/ 1411627 w 4519987"/>
                    <a:gd name="connsiteY116" fmla="*/ 190500 h 4496940"/>
                    <a:gd name="connsiteX117" fmla="*/ 1449727 w 4519987"/>
                    <a:gd name="connsiteY117" fmla="*/ 161925 h 4496940"/>
                    <a:gd name="connsiteX118" fmla="*/ 1525927 w 4519987"/>
                    <a:gd name="connsiteY118" fmla="*/ 152400 h 4496940"/>
                    <a:gd name="connsiteX119" fmla="*/ 1583077 w 4519987"/>
                    <a:gd name="connsiteY119" fmla="*/ 142875 h 4496940"/>
                    <a:gd name="connsiteX120" fmla="*/ 1716427 w 4519987"/>
                    <a:gd name="connsiteY120" fmla="*/ 123825 h 4496940"/>
                    <a:gd name="connsiteX121" fmla="*/ 1811677 w 4519987"/>
                    <a:gd name="connsiteY121" fmla="*/ 114300 h 4496940"/>
                    <a:gd name="connsiteX122" fmla="*/ 1859302 w 4519987"/>
                    <a:gd name="connsiteY122" fmla="*/ 104775 h 4496940"/>
                    <a:gd name="connsiteX123" fmla="*/ 1916452 w 4519987"/>
                    <a:gd name="connsiteY123" fmla="*/ 95250 h 4496940"/>
                    <a:gd name="connsiteX124" fmla="*/ 2030752 w 4519987"/>
                    <a:gd name="connsiteY124" fmla="*/ 66675 h 4496940"/>
                    <a:gd name="connsiteX125" fmla="*/ 2097427 w 4519987"/>
                    <a:gd name="connsiteY125" fmla="*/ 47625 h 4496940"/>
                    <a:gd name="connsiteX126" fmla="*/ 2164102 w 4519987"/>
                    <a:gd name="connsiteY126" fmla="*/ 38100 h 4496940"/>
                    <a:gd name="connsiteX127" fmla="*/ 2392702 w 4519987"/>
                    <a:gd name="connsiteY12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383302 w 4519987"/>
                    <a:gd name="connsiteY39" fmla="*/ 4210050 h 4496940"/>
                    <a:gd name="connsiteX40" fmla="*/ 3335677 w 4519987"/>
                    <a:gd name="connsiteY40" fmla="*/ 4238625 h 4496940"/>
                    <a:gd name="connsiteX41" fmla="*/ 3288052 w 4519987"/>
                    <a:gd name="connsiteY41" fmla="*/ 4248150 h 4496940"/>
                    <a:gd name="connsiteX42" fmla="*/ 3240427 w 4519987"/>
                    <a:gd name="connsiteY42" fmla="*/ 4267200 h 4496940"/>
                    <a:gd name="connsiteX43" fmla="*/ 3068977 w 4519987"/>
                    <a:gd name="connsiteY43" fmla="*/ 4286250 h 4496940"/>
                    <a:gd name="connsiteX44" fmla="*/ 2935627 w 4519987"/>
                    <a:gd name="connsiteY44" fmla="*/ 4333875 h 4496940"/>
                    <a:gd name="connsiteX45" fmla="*/ 2811802 w 4519987"/>
                    <a:gd name="connsiteY45" fmla="*/ 4371975 h 4496940"/>
                    <a:gd name="connsiteX46" fmla="*/ 2745127 w 4519987"/>
                    <a:gd name="connsiteY46" fmla="*/ 4410075 h 4496940"/>
                    <a:gd name="connsiteX47" fmla="*/ 2697502 w 4519987"/>
                    <a:gd name="connsiteY47" fmla="*/ 4429125 h 4496940"/>
                    <a:gd name="connsiteX48" fmla="*/ 2640352 w 4519987"/>
                    <a:gd name="connsiteY48" fmla="*/ 4457700 h 4496940"/>
                    <a:gd name="connsiteX49" fmla="*/ 2583202 w 4519987"/>
                    <a:gd name="connsiteY49" fmla="*/ 4467225 h 4496940"/>
                    <a:gd name="connsiteX50" fmla="*/ 2545102 w 4519987"/>
                    <a:gd name="connsiteY50" fmla="*/ 4486275 h 4496940"/>
                    <a:gd name="connsiteX51" fmla="*/ 2306977 w 4519987"/>
                    <a:gd name="connsiteY51" fmla="*/ 4476750 h 4496940"/>
                    <a:gd name="connsiteX52" fmla="*/ 2202202 w 4519987"/>
                    <a:gd name="connsiteY52" fmla="*/ 4457700 h 4496940"/>
                    <a:gd name="connsiteX53" fmla="*/ 2126002 w 4519987"/>
                    <a:gd name="connsiteY53" fmla="*/ 4429125 h 4496940"/>
                    <a:gd name="connsiteX54" fmla="*/ 1935502 w 4519987"/>
                    <a:gd name="connsiteY54" fmla="*/ 4400550 h 4496940"/>
                    <a:gd name="connsiteX55" fmla="*/ 1821202 w 4519987"/>
                    <a:gd name="connsiteY55" fmla="*/ 4371975 h 4496940"/>
                    <a:gd name="connsiteX56" fmla="*/ 1754527 w 4519987"/>
                    <a:gd name="connsiteY56" fmla="*/ 4352925 h 4496940"/>
                    <a:gd name="connsiteX57" fmla="*/ 1687852 w 4519987"/>
                    <a:gd name="connsiteY57" fmla="*/ 4343400 h 4496940"/>
                    <a:gd name="connsiteX58" fmla="*/ 1573552 w 4519987"/>
                    <a:gd name="connsiteY58" fmla="*/ 4305300 h 4496940"/>
                    <a:gd name="connsiteX59" fmla="*/ 1402102 w 4519987"/>
                    <a:gd name="connsiteY59" fmla="*/ 4276725 h 4496940"/>
                    <a:gd name="connsiteX60" fmla="*/ 1287802 w 4519987"/>
                    <a:gd name="connsiteY60" fmla="*/ 4229100 h 4496940"/>
                    <a:gd name="connsiteX61" fmla="*/ 1221127 w 4519987"/>
                    <a:gd name="connsiteY61" fmla="*/ 4200525 h 4496940"/>
                    <a:gd name="connsiteX62" fmla="*/ 1144927 w 4519987"/>
                    <a:gd name="connsiteY62" fmla="*/ 4171950 h 4496940"/>
                    <a:gd name="connsiteX63" fmla="*/ 1087777 w 4519987"/>
                    <a:gd name="connsiteY63" fmla="*/ 4143375 h 4496940"/>
                    <a:gd name="connsiteX64" fmla="*/ 1030627 w 4519987"/>
                    <a:gd name="connsiteY64" fmla="*/ 4124325 h 4496940"/>
                    <a:gd name="connsiteX65" fmla="*/ 925852 w 4519987"/>
                    <a:gd name="connsiteY65" fmla="*/ 4067175 h 4496940"/>
                    <a:gd name="connsiteX66" fmla="*/ 830602 w 4519987"/>
                    <a:gd name="connsiteY66" fmla="*/ 3981450 h 4496940"/>
                    <a:gd name="connsiteX67" fmla="*/ 763927 w 4519987"/>
                    <a:gd name="connsiteY67" fmla="*/ 3914775 h 4496940"/>
                    <a:gd name="connsiteX68" fmla="*/ 725827 w 4519987"/>
                    <a:gd name="connsiteY68" fmla="*/ 3876675 h 4496940"/>
                    <a:gd name="connsiteX69" fmla="*/ 697252 w 4519987"/>
                    <a:gd name="connsiteY69" fmla="*/ 3838575 h 4496940"/>
                    <a:gd name="connsiteX70" fmla="*/ 640102 w 4519987"/>
                    <a:gd name="connsiteY70" fmla="*/ 3781425 h 4496940"/>
                    <a:gd name="connsiteX71" fmla="*/ 611527 w 4519987"/>
                    <a:gd name="connsiteY71" fmla="*/ 3733800 h 4496940"/>
                    <a:gd name="connsiteX72" fmla="*/ 554377 w 4519987"/>
                    <a:gd name="connsiteY72" fmla="*/ 3657600 h 4496940"/>
                    <a:gd name="connsiteX73" fmla="*/ 525802 w 4519987"/>
                    <a:gd name="connsiteY73" fmla="*/ 3609975 h 4496940"/>
                    <a:gd name="connsiteX74" fmla="*/ 497227 w 4519987"/>
                    <a:gd name="connsiteY74" fmla="*/ 3552825 h 4496940"/>
                    <a:gd name="connsiteX75" fmla="*/ 440077 w 4519987"/>
                    <a:gd name="connsiteY75" fmla="*/ 3495675 h 4496940"/>
                    <a:gd name="connsiteX76" fmla="*/ 411502 w 4519987"/>
                    <a:gd name="connsiteY76" fmla="*/ 3448050 h 4496940"/>
                    <a:gd name="connsiteX77" fmla="*/ 278152 w 4519987"/>
                    <a:gd name="connsiteY77" fmla="*/ 3257550 h 4496940"/>
                    <a:gd name="connsiteX78" fmla="*/ 249577 w 4519987"/>
                    <a:gd name="connsiteY78" fmla="*/ 3200400 h 4496940"/>
                    <a:gd name="connsiteX79" fmla="*/ 240052 w 4519987"/>
                    <a:gd name="connsiteY79" fmla="*/ 3162300 h 4496940"/>
                    <a:gd name="connsiteX80" fmla="*/ 221002 w 4519987"/>
                    <a:gd name="connsiteY80" fmla="*/ 3105150 h 4496940"/>
                    <a:gd name="connsiteX81" fmla="*/ 173377 w 4519987"/>
                    <a:gd name="connsiteY81" fmla="*/ 3019425 h 4496940"/>
                    <a:gd name="connsiteX82" fmla="*/ 144802 w 4519987"/>
                    <a:gd name="connsiteY82" fmla="*/ 2924175 h 4496940"/>
                    <a:gd name="connsiteX83" fmla="*/ 68602 w 4519987"/>
                    <a:gd name="connsiteY83" fmla="*/ 2724150 h 4496940"/>
                    <a:gd name="connsiteX84" fmla="*/ 49552 w 4519987"/>
                    <a:gd name="connsiteY84" fmla="*/ 2638425 h 4496940"/>
                    <a:gd name="connsiteX85" fmla="*/ 40027 w 4519987"/>
                    <a:gd name="connsiteY85" fmla="*/ 2562225 h 4496940"/>
                    <a:gd name="connsiteX86" fmla="*/ 30502 w 4519987"/>
                    <a:gd name="connsiteY86" fmla="*/ 2514600 h 4496940"/>
                    <a:gd name="connsiteX87" fmla="*/ 11452 w 4519987"/>
                    <a:gd name="connsiteY87" fmla="*/ 2400300 h 4496940"/>
                    <a:gd name="connsiteX88" fmla="*/ 20977 w 4519987"/>
                    <a:gd name="connsiteY88" fmla="*/ 1905000 h 4496940"/>
                    <a:gd name="connsiteX89" fmla="*/ 30502 w 4519987"/>
                    <a:gd name="connsiteY89" fmla="*/ 1838325 h 4496940"/>
                    <a:gd name="connsiteX90" fmla="*/ 49552 w 4519987"/>
                    <a:gd name="connsiteY90" fmla="*/ 1781175 h 4496940"/>
                    <a:gd name="connsiteX91" fmla="*/ 59077 w 4519987"/>
                    <a:gd name="connsiteY91" fmla="*/ 1743075 h 4496940"/>
                    <a:gd name="connsiteX92" fmla="*/ 78127 w 4519987"/>
                    <a:gd name="connsiteY92" fmla="*/ 1685925 h 4496940"/>
                    <a:gd name="connsiteX93" fmla="*/ 87652 w 4519987"/>
                    <a:gd name="connsiteY93" fmla="*/ 1638300 h 4496940"/>
                    <a:gd name="connsiteX94" fmla="*/ 106702 w 4519987"/>
                    <a:gd name="connsiteY94" fmla="*/ 1590675 h 4496940"/>
                    <a:gd name="connsiteX95" fmla="*/ 135277 w 4519987"/>
                    <a:gd name="connsiteY95" fmla="*/ 1504950 h 4496940"/>
                    <a:gd name="connsiteX96" fmla="*/ 154327 w 4519987"/>
                    <a:gd name="connsiteY96" fmla="*/ 1419225 h 4496940"/>
                    <a:gd name="connsiteX97" fmla="*/ 230527 w 4519987"/>
                    <a:gd name="connsiteY97" fmla="*/ 1276350 h 4496940"/>
                    <a:gd name="connsiteX98" fmla="*/ 240052 w 4519987"/>
                    <a:gd name="connsiteY98" fmla="*/ 1247775 h 4496940"/>
                    <a:gd name="connsiteX99" fmla="*/ 268627 w 4519987"/>
                    <a:gd name="connsiteY99" fmla="*/ 1200150 h 4496940"/>
                    <a:gd name="connsiteX100" fmla="*/ 287677 w 4519987"/>
                    <a:gd name="connsiteY100" fmla="*/ 1152525 h 4496940"/>
                    <a:gd name="connsiteX101" fmla="*/ 316252 w 4519987"/>
                    <a:gd name="connsiteY101" fmla="*/ 1114425 h 4496940"/>
                    <a:gd name="connsiteX102" fmla="*/ 363877 w 4519987"/>
                    <a:gd name="connsiteY102" fmla="*/ 1038225 h 4496940"/>
                    <a:gd name="connsiteX103" fmla="*/ 382927 w 4519987"/>
                    <a:gd name="connsiteY103" fmla="*/ 1009650 h 4496940"/>
                    <a:gd name="connsiteX104" fmla="*/ 440077 w 4519987"/>
                    <a:gd name="connsiteY104" fmla="*/ 904875 h 4496940"/>
                    <a:gd name="connsiteX105" fmla="*/ 478177 w 4519987"/>
                    <a:gd name="connsiteY105" fmla="*/ 857250 h 4496940"/>
                    <a:gd name="connsiteX106" fmla="*/ 497227 w 4519987"/>
                    <a:gd name="connsiteY106" fmla="*/ 828675 h 4496940"/>
                    <a:gd name="connsiteX107" fmla="*/ 535327 w 4519987"/>
                    <a:gd name="connsiteY107" fmla="*/ 800100 h 4496940"/>
                    <a:gd name="connsiteX108" fmla="*/ 602002 w 4519987"/>
                    <a:gd name="connsiteY108" fmla="*/ 733425 h 4496940"/>
                    <a:gd name="connsiteX109" fmla="*/ 668677 w 4519987"/>
                    <a:gd name="connsiteY109" fmla="*/ 676275 h 4496940"/>
                    <a:gd name="connsiteX110" fmla="*/ 697252 w 4519987"/>
                    <a:gd name="connsiteY110" fmla="*/ 657225 h 4496940"/>
                    <a:gd name="connsiteX111" fmla="*/ 840127 w 4519987"/>
                    <a:gd name="connsiteY111" fmla="*/ 533400 h 4496940"/>
                    <a:gd name="connsiteX112" fmla="*/ 887752 w 4519987"/>
                    <a:gd name="connsiteY112" fmla="*/ 504825 h 4496940"/>
                    <a:gd name="connsiteX113" fmla="*/ 1167152 w 4519987"/>
                    <a:gd name="connsiteY113" fmla="*/ 311150 h 4496940"/>
                    <a:gd name="connsiteX114" fmla="*/ 1268752 w 4519987"/>
                    <a:gd name="connsiteY114" fmla="*/ 285750 h 4496940"/>
                    <a:gd name="connsiteX115" fmla="*/ 1411627 w 4519987"/>
                    <a:gd name="connsiteY115" fmla="*/ 190500 h 4496940"/>
                    <a:gd name="connsiteX116" fmla="*/ 1449727 w 4519987"/>
                    <a:gd name="connsiteY116" fmla="*/ 161925 h 4496940"/>
                    <a:gd name="connsiteX117" fmla="*/ 1525927 w 4519987"/>
                    <a:gd name="connsiteY117" fmla="*/ 152400 h 4496940"/>
                    <a:gd name="connsiteX118" fmla="*/ 1583077 w 4519987"/>
                    <a:gd name="connsiteY118" fmla="*/ 142875 h 4496940"/>
                    <a:gd name="connsiteX119" fmla="*/ 1716427 w 4519987"/>
                    <a:gd name="connsiteY119" fmla="*/ 123825 h 4496940"/>
                    <a:gd name="connsiteX120" fmla="*/ 1811677 w 4519987"/>
                    <a:gd name="connsiteY120" fmla="*/ 114300 h 4496940"/>
                    <a:gd name="connsiteX121" fmla="*/ 1859302 w 4519987"/>
                    <a:gd name="connsiteY121" fmla="*/ 104775 h 4496940"/>
                    <a:gd name="connsiteX122" fmla="*/ 1916452 w 4519987"/>
                    <a:gd name="connsiteY122" fmla="*/ 95250 h 4496940"/>
                    <a:gd name="connsiteX123" fmla="*/ 2030752 w 4519987"/>
                    <a:gd name="connsiteY123" fmla="*/ 66675 h 4496940"/>
                    <a:gd name="connsiteX124" fmla="*/ 2097427 w 4519987"/>
                    <a:gd name="connsiteY124" fmla="*/ 47625 h 4496940"/>
                    <a:gd name="connsiteX125" fmla="*/ 2164102 w 4519987"/>
                    <a:gd name="connsiteY125" fmla="*/ 38100 h 4496940"/>
                    <a:gd name="connsiteX126" fmla="*/ 2392702 w 4519987"/>
                    <a:gd name="connsiteY12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554752 w 4519987"/>
                    <a:gd name="connsiteY37" fmla="*/ 4095750 h 4496940"/>
                    <a:gd name="connsiteX38" fmla="*/ 3383302 w 4519987"/>
                    <a:gd name="connsiteY38" fmla="*/ 4210050 h 4496940"/>
                    <a:gd name="connsiteX39" fmla="*/ 3335677 w 4519987"/>
                    <a:gd name="connsiteY39" fmla="*/ 4238625 h 4496940"/>
                    <a:gd name="connsiteX40" fmla="*/ 3288052 w 4519987"/>
                    <a:gd name="connsiteY40" fmla="*/ 4248150 h 4496940"/>
                    <a:gd name="connsiteX41" fmla="*/ 3240427 w 4519987"/>
                    <a:gd name="connsiteY41" fmla="*/ 4267200 h 4496940"/>
                    <a:gd name="connsiteX42" fmla="*/ 3068977 w 4519987"/>
                    <a:gd name="connsiteY42" fmla="*/ 4286250 h 4496940"/>
                    <a:gd name="connsiteX43" fmla="*/ 2935627 w 4519987"/>
                    <a:gd name="connsiteY43" fmla="*/ 4333875 h 4496940"/>
                    <a:gd name="connsiteX44" fmla="*/ 2811802 w 4519987"/>
                    <a:gd name="connsiteY44" fmla="*/ 4371975 h 4496940"/>
                    <a:gd name="connsiteX45" fmla="*/ 2745127 w 4519987"/>
                    <a:gd name="connsiteY45" fmla="*/ 4410075 h 4496940"/>
                    <a:gd name="connsiteX46" fmla="*/ 2697502 w 4519987"/>
                    <a:gd name="connsiteY46" fmla="*/ 4429125 h 4496940"/>
                    <a:gd name="connsiteX47" fmla="*/ 2640352 w 4519987"/>
                    <a:gd name="connsiteY47" fmla="*/ 4457700 h 4496940"/>
                    <a:gd name="connsiteX48" fmla="*/ 2583202 w 4519987"/>
                    <a:gd name="connsiteY48" fmla="*/ 4467225 h 4496940"/>
                    <a:gd name="connsiteX49" fmla="*/ 2545102 w 4519987"/>
                    <a:gd name="connsiteY49" fmla="*/ 4486275 h 4496940"/>
                    <a:gd name="connsiteX50" fmla="*/ 2306977 w 4519987"/>
                    <a:gd name="connsiteY50" fmla="*/ 4476750 h 4496940"/>
                    <a:gd name="connsiteX51" fmla="*/ 2202202 w 4519987"/>
                    <a:gd name="connsiteY51" fmla="*/ 4457700 h 4496940"/>
                    <a:gd name="connsiteX52" fmla="*/ 2126002 w 4519987"/>
                    <a:gd name="connsiteY52" fmla="*/ 4429125 h 4496940"/>
                    <a:gd name="connsiteX53" fmla="*/ 1935502 w 4519987"/>
                    <a:gd name="connsiteY53" fmla="*/ 4400550 h 4496940"/>
                    <a:gd name="connsiteX54" fmla="*/ 1821202 w 4519987"/>
                    <a:gd name="connsiteY54" fmla="*/ 4371975 h 4496940"/>
                    <a:gd name="connsiteX55" fmla="*/ 1754527 w 4519987"/>
                    <a:gd name="connsiteY55" fmla="*/ 4352925 h 4496940"/>
                    <a:gd name="connsiteX56" fmla="*/ 1687852 w 4519987"/>
                    <a:gd name="connsiteY56" fmla="*/ 4343400 h 4496940"/>
                    <a:gd name="connsiteX57" fmla="*/ 1573552 w 4519987"/>
                    <a:gd name="connsiteY57" fmla="*/ 4305300 h 4496940"/>
                    <a:gd name="connsiteX58" fmla="*/ 1402102 w 4519987"/>
                    <a:gd name="connsiteY58" fmla="*/ 4276725 h 4496940"/>
                    <a:gd name="connsiteX59" fmla="*/ 1287802 w 4519987"/>
                    <a:gd name="connsiteY59" fmla="*/ 4229100 h 4496940"/>
                    <a:gd name="connsiteX60" fmla="*/ 1221127 w 4519987"/>
                    <a:gd name="connsiteY60" fmla="*/ 4200525 h 4496940"/>
                    <a:gd name="connsiteX61" fmla="*/ 1144927 w 4519987"/>
                    <a:gd name="connsiteY61" fmla="*/ 4171950 h 4496940"/>
                    <a:gd name="connsiteX62" fmla="*/ 1087777 w 4519987"/>
                    <a:gd name="connsiteY62" fmla="*/ 4143375 h 4496940"/>
                    <a:gd name="connsiteX63" fmla="*/ 1030627 w 4519987"/>
                    <a:gd name="connsiteY63" fmla="*/ 4124325 h 4496940"/>
                    <a:gd name="connsiteX64" fmla="*/ 925852 w 4519987"/>
                    <a:gd name="connsiteY64" fmla="*/ 4067175 h 4496940"/>
                    <a:gd name="connsiteX65" fmla="*/ 830602 w 4519987"/>
                    <a:gd name="connsiteY65" fmla="*/ 3981450 h 4496940"/>
                    <a:gd name="connsiteX66" fmla="*/ 763927 w 4519987"/>
                    <a:gd name="connsiteY66" fmla="*/ 3914775 h 4496940"/>
                    <a:gd name="connsiteX67" fmla="*/ 725827 w 4519987"/>
                    <a:gd name="connsiteY67" fmla="*/ 3876675 h 4496940"/>
                    <a:gd name="connsiteX68" fmla="*/ 697252 w 4519987"/>
                    <a:gd name="connsiteY68" fmla="*/ 3838575 h 4496940"/>
                    <a:gd name="connsiteX69" fmla="*/ 640102 w 4519987"/>
                    <a:gd name="connsiteY69" fmla="*/ 3781425 h 4496940"/>
                    <a:gd name="connsiteX70" fmla="*/ 611527 w 4519987"/>
                    <a:gd name="connsiteY70" fmla="*/ 3733800 h 4496940"/>
                    <a:gd name="connsiteX71" fmla="*/ 554377 w 4519987"/>
                    <a:gd name="connsiteY71" fmla="*/ 3657600 h 4496940"/>
                    <a:gd name="connsiteX72" fmla="*/ 525802 w 4519987"/>
                    <a:gd name="connsiteY72" fmla="*/ 3609975 h 4496940"/>
                    <a:gd name="connsiteX73" fmla="*/ 497227 w 4519987"/>
                    <a:gd name="connsiteY73" fmla="*/ 3552825 h 4496940"/>
                    <a:gd name="connsiteX74" fmla="*/ 440077 w 4519987"/>
                    <a:gd name="connsiteY74" fmla="*/ 3495675 h 4496940"/>
                    <a:gd name="connsiteX75" fmla="*/ 411502 w 4519987"/>
                    <a:gd name="connsiteY75" fmla="*/ 3448050 h 4496940"/>
                    <a:gd name="connsiteX76" fmla="*/ 278152 w 4519987"/>
                    <a:gd name="connsiteY76" fmla="*/ 3257550 h 4496940"/>
                    <a:gd name="connsiteX77" fmla="*/ 249577 w 4519987"/>
                    <a:gd name="connsiteY77" fmla="*/ 3200400 h 4496940"/>
                    <a:gd name="connsiteX78" fmla="*/ 240052 w 4519987"/>
                    <a:gd name="connsiteY78" fmla="*/ 3162300 h 4496940"/>
                    <a:gd name="connsiteX79" fmla="*/ 221002 w 4519987"/>
                    <a:gd name="connsiteY79" fmla="*/ 3105150 h 4496940"/>
                    <a:gd name="connsiteX80" fmla="*/ 173377 w 4519987"/>
                    <a:gd name="connsiteY80" fmla="*/ 3019425 h 4496940"/>
                    <a:gd name="connsiteX81" fmla="*/ 144802 w 4519987"/>
                    <a:gd name="connsiteY81" fmla="*/ 2924175 h 4496940"/>
                    <a:gd name="connsiteX82" fmla="*/ 68602 w 4519987"/>
                    <a:gd name="connsiteY82" fmla="*/ 2724150 h 4496940"/>
                    <a:gd name="connsiteX83" fmla="*/ 49552 w 4519987"/>
                    <a:gd name="connsiteY83" fmla="*/ 2638425 h 4496940"/>
                    <a:gd name="connsiteX84" fmla="*/ 40027 w 4519987"/>
                    <a:gd name="connsiteY84" fmla="*/ 2562225 h 4496940"/>
                    <a:gd name="connsiteX85" fmla="*/ 30502 w 4519987"/>
                    <a:gd name="connsiteY85" fmla="*/ 2514600 h 4496940"/>
                    <a:gd name="connsiteX86" fmla="*/ 11452 w 4519987"/>
                    <a:gd name="connsiteY86" fmla="*/ 2400300 h 4496940"/>
                    <a:gd name="connsiteX87" fmla="*/ 20977 w 4519987"/>
                    <a:gd name="connsiteY87" fmla="*/ 1905000 h 4496940"/>
                    <a:gd name="connsiteX88" fmla="*/ 30502 w 4519987"/>
                    <a:gd name="connsiteY88" fmla="*/ 1838325 h 4496940"/>
                    <a:gd name="connsiteX89" fmla="*/ 49552 w 4519987"/>
                    <a:gd name="connsiteY89" fmla="*/ 1781175 h 4496940"/>
                    <a:gd name="connsiteX90" fmla="*/ 59077 w 4519987"/>
                    <a:gd name="connsiteY90" fmla="*/ 1743075 h 4496940"/>
                    <a:gd name="connsiteX91" fmla="*/ 78127 w 4519987"/>
                    <a:gd name="connsiteY91" fmla="*/ 1685925 h 4496940"/>
                    <a:gd name="connsiteX92" fmla="*/ 87652 w 4519987"/>
                    <a:gd name="connsiteY92" fmla="*/ 1638300 h 4496940"/>
                    <a:gd name="connsiteX93" fmla="*/ 106702 w 4519987"/>
                    <a:gd name="connsiteY93" fmla="*/ 1590675 h 4496940"/>
                    <a:gd name="connsiteX94" fmla="*/ 135277 w 4519987"/>
                    <a:gd name="connsiteY94" fmla="*/ 1504950 h 4496940"/>
                    <a:gd name="connsiteX95" fmla="*/ 154327 w 4519987"/>
                    <a:gd name="connsiteY95" fmla="*/ 1419225 h 4496940"/>
                    <a:gd name="connsiteX96" fmla="*/ 230527 w 4519987"/>
                    <a:gd name="connsiteY96" fmla="*/ 1276350 h 4496940"/>
                    <a:gd name="connsiteX97" fmla="*/ 240052 w 4519987"/>
                    <a:gd name="connsiteY97" fmla="*/ 1247775 h 4496940"/>
                    <a:gd name="connsiteX98" fmla="*/ 268627 w 4519987"/>
                    <a:gd name="connsiteY98" fmla="*/ 1200150 h 4496940"/>
                    <a:gd name="connsiteX99" fmla="*/ 287677 w 4519987"/>
                    <a:gd name="connsiteY99" fmla="*/ 1152525 h 4496940"/>
                    <a:gd name="connsiteX100" fmla="*/ 316252 w 4519987"/>
                    <a:gd name="connsiteY100" fmla="*/ 1114425 h 4496940"/>
                    <a:gd name="connsiteX101" fmla="*/ 363877 w 4519987"/>
                    <a:gd name="connsiteY101" fmla="*/ 1038225 h 4496940"/>
                    <a:gd name="connsiteX102" fmla="*/ 382927 w 4519987"/>
                    <a:gd name="connsiteY102" fmla="*/ 1009650 h 4496940"/>
                    <a:gd name="connsiteX103" fmla="*/ 440077 w 4519987"/>
                    <a:gd name="connsiteY103" fmla="*/ 904875 h 4496940"/>
                    <a:gd name="connsiteX104" fmla="*/ 478177 w 4519987"/>
                    <a:gd name="connsiteY104" fmla="*/ 857250 h 4496940"/>
                    <a:gd name="connsiteX105" fmla="*/ 497227 w 4519987"/>
                    <a:gd name="connsiteY105" fmla="*/ 828675 h 4496940"/>
                    <a:gd name="connsiteX106" fmla="*/ 535327 w 4519987"/>
                    <a:gd name="connsiteY106" fmla="*/ 800100 h 4496940"/>
                    <a:gd name="connsiteX107" fmla="*/ 602002 w 4519987"/>
                    <a:gd name="connsiteY107" fmla="*/ 733425 h 4496940"/>
                    <a:gd name="connsiteX108" fmla="*/ 668677 w 4519987"/>
                    <a:gd name="connsiteY108" fmla="*/ 676275 h 4496940"/>
                    <a:gd name="connsiteX109" fmla="*/ 697252 w 4519987"/>
                    <a:gd name="connsiteY109" fmla="*/ 657225 h 4496940"/>
                    <a:gd name="connsiteX110" fmla="*/ 840127 w 4519987"/>
                    <a:gd name="connsiteY110" fmla="*/ 533400 h 4496940"/>
                    <a:gd name="connsiteX111" fmla="*/ 887752 w 4519987"/>
                    <a:gd name="connsiteY111" fmla="*/ 504825 h 4496940"/>
                    <a:gd name="connsiteX112" fmla="*/ 1167152 w 4519987"/>
                    <a:gd name="connsiteY112" fmla="*/ 311150 h 4496940"/>
                    <a:gd name="connsiteX113" fmla="*/ 1268752 w 4519987"/>
                    <a:gd name="connsiteY113" fmla="*/ 285750 h 4496940"/>
                    <a:gd name="connsiteX114" fmla="*/ 1411627 w 4519987"/>
                    <a:gd name="connsiteY114" fmla="*/ 190500 h 4496940"/>
                    <a:gd name="connsiteX115" fmla="*/ 1449727 w 4519987"/>
                    <a:gd name="connsiteY115" fmla="*/ 161925 h 4496940"/>
                    <a:gd name="connsiteX116" fmla="*/ 1525927 w 4519987"/>
                    <a:gd name="connsiteY116" fmla="*/ 152400 h 4496940"/>
                    <a:gd name="connsiteX117" fmla="*/ 1583077 w 4519987"/>
                    <a:gd name="connsiteY117" fmla="*/ 142875 h 4496940"/>
                    <a:gd name="connsiteX118" fmla="*/ 1716427 w 4519987"/>
                    <a:gd name="connsiteY118" fmla="*/ 123825 h 4496940"/>
                    <a:gd name="connsiteX119" fmla="*/ 1811677 w 4519987"/>
                    <a:gd name="connsiteY119" fmla="*/ 114300 h 4496940"/>
                    <a:gd name="connsiteX120" fmla="*/ 1859302 w 4519987"/>
                    <a:gd name="connsiteY120" fmla="*/ 104775 h 4496940"/>
                    <a:gd name="connsiteX121" fmla="*/ 1916452 w 4519987"/>
                    <a:gd name="connsiteY121" fmla="*/ 95250 h 4496940"/>
                    <a:gd name="connsiteX122" fmla="*/ 2030752 w 4519987"/>
                    <a:gd name="connsiteY122" fmla="*/ 66675 h 4496940"/>
                    <a:gd name="connsiteX123" fmla="*/ 2097427 w 4519987"/>
                    <a:gd name="connsiteY123" fmla="*/ 47625 h 4496940"/>
                    <a:gd name="connsiteX124" fmla="*/ 2164102 w 4519987"/>
                    <a:gd name="connsiteY124" fmla="*/ 38100 h 4496940"/>
                    <a:gd name="connsiteX125" fmla="*/ 2392702 w 4519987"/>
                    <a:gd name="connsiteY12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54752 w 4519987"/>
                    <a:gd name="connsiteY36" fmla="*/ 40957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88052 w 4519987"/>
                    <a:gd name="connsiteY38" fmla="*/ 4248150 h 4496940"/>
                    <a:gd name="connsiteX39" fmla="*/ 3240427 w 4519987"/>
                    <a:gd name="connsiteY39" fmla="*/ 4267200 h 4496940"/>
                    <a:gd name="connsiteX40" fmla="*/ 3068977 w 4519987"/>
                    <a:gd name="connsiteY40" fmla="*/ 4286250 h 4496940"/>
                    <a:gd name="connsiteX41" fmla="*/ 2935627 w 4519987"/>
                    <a:gd name="connsiteY41" fmla="*/ 4333875 h 4496940"/>
                    <a:gd name="connsiteX42" fmla="*/ 2811802 w 4519987"/>
                    <a:gd name="connsiteY42" fmla="*/ 4371975 h 4496940"/>
                    <a:gd name="connsiteX43" fmla="*/ 2745127 w 4519987"/>
                    <a:gd name="connsiteY43" fmla="*/ 4410075 h 4496940"/>
                    <a:gd name="connsiteX44" fmla="*/ 2697502 w 4519987"/>
                    <a:gd name="connsiteY44" fmla="*/ 4429125 h 4496940"/>
                    <a:gd name="connsiteX45" fmla="*/ 2640352 w 4519987"/>
                    <a:gd name="connsiteY45" fmla="*/ 4457700 h 4496940"/>
                    <a:gd name="connsiteX46" fmla="*/ 2583202 w 4519987"/>
                    <a:gd name="connsiteY46" fmla="*/ 4467225 h 4496940"/>
                    <a:gd name="connsiteX47" fmla="*/ 2545102 w 4519987"/>
                    <a:gd name="connsiteY47" fmla="*/ 4486275 h 4496940"/>
                    <a:gd name="connsiteX48" fmla="*/ 2306977 w 4519987"/>
                    <a:gd name="connsiteY48" fmla="*/ 4476750 h 4496940"/>
                    <a:gd name="connsiteX49" fmla="*/ 2202202 w 4519987"/>
                    <a:gd name="connsiteY49" fmla="*/ 4457700 h 4496940"/>
                    <a:gd name="connsiteX50" fmla="*/ 2126002 w 4519987"/>
                    <a:gd name="connsiteY50" fmla="*/ 4429125 h 4496940"/>
                    <a:gd name="connsiteX51" fmla="*/ 1935502 w 4519987"/>
                    <a:gd name="connsiteY51" fmla="*/ 4400550 h 4496940"/>
                    <a:gd name="connsiteX52" fmla="*/ 1821202 w 4519987"/>
                    <a:gd name="connsiteY52" fmla="*/ 4371975 h 4496940"/>
                    <a:gd name="connsiteX53" fmla="*/ 1754527 w 4519987"/>
                    <a:gd name="connsiteY53" fmla="*/ 4352925 h 4496940"/>
                    <a:gd name="connsiteX54" fmla="*/ 1687852 w 4519987"/>
                    <a:gd name="connsiteY54" fmla="*/ 4343400 h 4496940"/>
                    <a:gd name="connsiteX55" fmla="*/ 1573552 w 4519987"/>
                    <a:gd name="connsiteY55" fmla="*/ 4305300 h 4496940"/>
                    <a:gd name="connsiteX56" fmla="*/ 1402102 w 4519987"/>
                    <a:gd name="connsiteY56" fmla="*/ 4276725 h 4496940"/>
                    <a:gd name="connsiteX57" fmla="*/ 1287802 w 4519987"/>
                    <a:gd name="connsiteY57" fmla="*/ 4229100 h 4496940"/>
                    <a:gd name="connsiteX58" fmla="*/ 1221127 w 4519987"/>
                    <a:gd name="connsiteY58" fmla="*/ 4200525 h 4496940"/>
                    <a:gd name="connsiteX59" fmla="*/ 1144927 w 4519987"/>
                    <a:gd name="connsiteY59" fmla="*/ 4171950 h 4496940"/>
                    <a:gd name="connsiteX60" fmla="*/ 1087777 w 4519987"/>
                    <a:gd name="connsiteY60" fmla="*/ 4143375 h 4496940"/>
                    <a:gd name="connsiteX61" fmla="*/ 1030627 w 4519987"/>
                    <a:gd name="connsiteY61" fmla="*/ 4124325 h 4496940"/>
                    <a:gd name="connsiteX62" fmla="*/ 925852 w 4519987"/>
                    <a:gd name="connsiteY62" fmla="*/ 4067175 h 4496940"/>
                    <a:gd name="connsiteX63" fmla="*/ 830602 w 4519987"/>
                    <a:gd name="connsiteY63" fmla="*/ 3981450 h 4496940"/>
                    <a:gd name="connsiteX64" fmla="*/ 763927 w 4519987"/>
                    <a:gd name="connsiteY64" fmla="*/ 3914775 h 4496940"/>
                    <a:gd name="connsiteX65" fmla="*/ 725827 w 4519987"/>
                    <a:gd name="connsiteY65" fmla="*/ 3876675 h 4496940"/>
                    <a:gd name="connsiteX66" fmla="*/ 697252 w 4519987"/>
                    <a:gd name="connsiteY66" fmla="*/ 3838575 h 4496940"/>
                    <a:gd name="connsiteX67" fmla="*/ 640102 w 4519987"/>
                    <a:gd name="connsiteY67" fmla="*/ 3781425 h 4496940"/>
                    <a:gd name="connsiteX68" fmla="*/ 611527 w 4519987"/>
                    <a:gd name="connsiteY68" fmla="*/ 3733800 h 4496940"/>
                    <a:gd name="connsiteX69" fmla="*/ 554377 w 4519987"/>
                    <a:gd name="connsiteY69" fmla="*/ 3657600 h 4496940"/>
                    <a:gd name="connsiteX70" fmla="*/ 525802 w 4519987"/>
                    <a:gd name="connsiteY70" fmla="*/ 3609975 h 4496940"/>
                    <a:gd name="connsiteX71" fmla="*/ 497227 w 4519987"/>
                    <a:gd name="connsiteY71" fmla="*/ 3552825 h 4496940"/>
                    <a:gd name="connsiteX72" fmla="*/ 440077 w 4519987"/>
                    <a:gd name="connsiteY72" fmla="*/ 3495675 h 4496940"/>
                    <a:gd name="connsiteX73" fmla="*/ 411502 w 4519987"/>
                    <a:gd name="connsiteY73" fmla="*/ 3448050 h 4496940"/>
                    <a:gd name="connsiteX74" fmla="*/ 278152 w 4519987"/>
                    <a:gd name="connsiteY74" fmla="*/ 3257550 h 4496940"/>
                    <a:gd name="connsiteX75" fmla="*/ 249577 w 4519987"/>
                    <a:gd name="connsiteY75" fmla="*/ 3200400 h 4496940"/>
                    <a:gd name="connsiteX76" fmla="*/ 240052 w 4519987"/>
                    <a:gd name="connsiteY76" fmla="*/ 3162300 h 4496940"/>
                    <a:gd name="connsiteX77" fmla="*/ 221002 w 4519987"/>
                    <a:gd name="connsiteY77" fmla="*/ 3105150 h 4496940"/>
                    <a:gd name="connsiteX78" fmla="*/ 173377 w 4519987"/>
                    <a:gd name="connsiteY78" fmla="*/ 3019425 h 4496940"/>
                    <a:gd name="connsiteX79" fmla="*/ 144802 w 4519987"/>
                    <a:gd name="connsiteY79" fmla="*/ 2924175 h 4496940"/>
                    <a:gd name="connsiteX80" fmla="*/ 68602 w 4519987"/>
                    <a:gd name="connsiteY80" fmla="*/ 2724150 h 4496940"/>
                    <a:gd name="connsiteX81" fmla="*/ 49552 w 4519987"/>
                    <a:gd name="connsiteY81" fmla="*/ 2638425 h 4496940"/>
                    <a:gd name="connsiteX82" fmla="*/ 40027 w 4519987"/>
                    <a:gd name="connsiteY82" fmla="*/ 2562225 h 4496940"/>
                    <a:gd name="connsiteX83" fmla="*/ 30502 w 4519987"/>
                    <a:gd name="connsiteY83" fmla="*/ 2514600 h 4496940"/>
                    <a:gd name="connsiteX84" fmla="*/ 11452 w 4519987"/>
                    <a:gd name="connsiteY84" fmla="*/ 2400300 h 4496940"/>
                    <a:gd name="connsiteX85" fmla="*/ 20977 w 4519987"/>
                    <a:gd name="connsiteY85" fmla="*/ 1905000 h 4496940"/>
                    <a:gd name="connsiteX86" fmla="*/ 30502 w 4519987"/>
                    <a:gd name="connsiteY86" fmla="*/ 1838325 h 4496940"/>
                    <a:gd name="connsiteX87" fmla="*/ 49552 w 4519987"/>
                    <a:gd name="connsiteY87" fmla="*/ 1781175 h 4496940"/>
                    <a:gd name="connsiteX88" fmla="*/ 59077 w 4519987"/>
                    <a:gd name="connsiteY88" fmla="*/ 1743075 h 4496940"/>
                    <a:gd name="connsiteX89" fmla="*/ 78127 w 4519987"/>
                    <a:gd name="connsiteY89" fmla="*/ 1685925 h 4496940"/>
                    <a:gd name="connsiteX90" fmla="*/ 87652 w 4519987"/>
                    <a:gd name="connsiteY90" fmla="*/ 1638300 h 4496940"/>
                    <a:gd name="connsiteX91" fmla="*/ 106702 w 4519987"/>
                    <a:gd name="connsiteY91" fmla="*/ 1590675 h 4496940"/>
                    <a:gd name="connsiteX92" fmla="*/ 135277 w 4519987"/>
                    <a:gd name="connsiteY92" fmla="*/ 1504950 h 4496940"/>
                    <a:gd name="connsiteX93" fmla="*/ 154327 w 4519987"/>
                    <a:gd name="connsiteY93" fmla="*/ 1419225 h 4496940"/>
                    <a:gd name="connsiteX94" fmla="*/ 230527 w 4519987"/>
                    <a:gd name="connsiteY94" fmla="*/ 1276350 h 4496940"/>
                    <a:gd name="connsiteX95" fmla="*/ 240052 w 4519987"/>
                    <a:gd name="connsiteY95" fmla="*/ 1247775 h 4496940"/>
                    <a:gd name="connsiteX96" fmla="*/ 268627 w 4519987"/>
                    <a:gd name="connsiteY96" fmla="*/ 1200150 h 4496940"/>
                    <a:gd name="connsiteX97" fmla="*/ 287677 w 4519987"/>
                    <a:gd name="connsiteY97" fmla="*/ 1152525 h 4496940"/>
                    <a:gd name="connsiteX98" fmla="*/ 316252 w 4519987"/>
                    <a:gd name="connsiteY98" fmla="*/ 1114425 h 4496940"/>
                    <a:gd name="connsiteX99" fmla="*/ 363877 w 4519987"/>
                    <a:gd name="connsiteY99" fmla="*/ 1038225 h 4496940"/>
                    <a:gd name="connsiteX100" fmla="*/ 382927 w 4519987"/>
                    <a:gd name="connsiteY100" fmla="*/ 1009650 h 4496940"/>
                    <a:gd name="connsiteX101" fmla="*/ 440077 w 4519987"/>
                    <a:gd name="connsiteY101" fmla="*/ 904875 h 4496940"/>
                    <a:gd name="connsiteX102" fmla="*/ 478177 w 4519987"/>
                    <a:gd name="connsiteY102" fmla="*/ 857250 h 4496940"/>
                    <a:gd name="connsiteX103" fmla="*/ 497227 w 4519987"/>
                    <a:gd name="connsiteY103" fmla="*/ 828675 h 4496940"/>
                    <a:gd name="connsiteX104" fmla="*/ 535327 w 4519987"/>
                    <a:gd name="connsiteY104" fmla="*/ 800100 h 4496940"/>
                    <a:gd name="connsiteX105" fmla="*/ 602002 w 4519987"/>
                    <a:gd name="connsiteY105" fmla="*/ 733425 h 4496940"/>
                    <a:gd name="connsiteX106" fmla="*/ 668677 w 4519987"/>
                    <a:gd name="connsiteY106" fmla="*/ 676275 h 4496940"/>
                    <a:gd name="connsiteX107" fmla="*/ 697252 w 4519987"/>
                    <a:gd name="connsiteY107" fmla="*/ 657225 h 4496940"/>
                    <a:gd name="connsiteX108" fmla="*/ 840127 w 4519987"/>
                    <a:gd name="connsiteY108" fmla="*/ 533400 h 4496940"/>
                    <a:gd name="connsiteX109" fmla="*/ 887752 w 4519987"/>
                    <a:gd name="connsiteY109" fmla="*/ 504825 h 4496940"/>
                    <a:gd name="connsiteX110" fmla="*/ 1167152 w 4519987"/>
                    <a:gd name="connsiteY110" fmla="*/ 311150 h 4496940"/>
                    <a:gd name="connsiteX111" fmla="*/ 1268752 w 4519987"/>
                    <a:gd name="connsiteY111" fmla="*/ 285750 h 4496940"/>
                    <a:gd name="connsiteX112" fmla="*/ 1411627 w 4519987"/>
                    <a:gd name="connsiteY112" fmla="*/ 190500 h 4496940"/>
                    <a:gd name="connsiteX113" fmla="*/ 1449727 w 4519987"/>
                    <a:gd name="connsiteY113" fmla="*/ 161925 h 4496940"/>
                    <a:gd name="connsiteX114" fmla="*/ 1525927 w 4519987"/>
                    <a:gd name="connsiteY114" fmla="*/ 152400 h 4496940"/>
                    <a:gd name="connsiteX115" fmla="*/ 1583077 w 4519987"/>
                    <a:gd name="connsiteY115" fmla="*/ 142875 h 4496940"/>
                    <a:gd name="connsiteX116" fmla="*/ 1716427 w 4519987"/>
                    <a:gd name="connsiteY116" fmla="*/ 123825 h 4496940"/>
                    <a:gd name="connsiteX117" fmla="*/ 1811677 w 4519987"/>
                    <a:gd name="connsiteY117" fmla="*/ 114300 h 4496940"/>
                    <a:gd name="connsiteX118" fmla="*/ 1859302 w 4519987"/>
                    <a:gd name="connsiteY118" fmla="*/ 104775 h 4496940"/>
                    <a:gd name="connsiteX119" fmla="*/ 1916452 w 4519987"/>
                    <a:gd name="connsiteY119" fmla="*/ 95250 h 4496940"/>
                    <a:gd name="connsiteX120" fmla="*/ 2030752 w 4519987"/>
                    <a:gd name="connsiteY120" fmla="*/ 66675 h 4496940"/>
                    <a:gd name="connsiteX121" fmla="*/ 2097427 w 4519987"/>
                    <a:gd name="connsiteY121" fmla="*/ 47625 h 4496940"/>
                    <a:gd name="connsiteX122" fmla="*/ 2164102 w 4519987"/>
                    <a:gd name="connsiteY122" fmla="*/ 38100 h 4496940"/>
                    <a:gd name="connsiteX123" fmla="*/ 2392702 w 4519987"/>
                    <a:gd name="connsiteY12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40427 w 4519987"/>
                    <a:gd name="connsiteY38" fmla="*/ 4267200 h 4496940"/>
                    <a:gd name="connsiteX39" fmla="*/ 3068977 w 4519987"/>
                    <a:gd name="connsiteY39" fmla="*/ 4286250 h 4496940"/>
                    <a:gd name="connsiteX40" fmla="*/ 2935627 w 4519987"/>
                    <a:gd name="connsiteY40" fmla="*/ 4333875 h 4496940"/>
                    <a:gd name="connsiteX41" fmla="*/ 2811802 w 4519987"/>
                    <a:gd name="connsiteY41" fmla="*/ 4371975 h 4496940"/>
                    <a:gd name="connsiteX42" fmla="*/ 2745127 w 4519987"/>
                    <a:gd name="connsiteY42" fmla="*/ 4410075 h 4496940"/>
                    <a:gd name="connsiteX43" fmla="*/ 2697502 w 4519987"/>
                    <a:gd name="connsiteY43" fmla="*/ 4429125 h 4496940"/>
                    <a:gd name="connsiteX44" fmla="*/ 2640352 w 4519987"/>
                    <a:gd name="connsiteY44" fmla="*/ 4457700 h 4496940"/>
                    <a:gd name="connsiteX45" fmla="*/ 2583202 w 4519987"/>
                    <a:gd name="connsiteY45" fmla="*/ 4467225 h 4496940"/>
                    <a:gd name="connsiteX46" fmla="*/ 2545102 w 4519987"/>
                    <a:gd name="connsiteY46" fmla="*/ 4486275 h 4496940"/>
                    <a:gd name="connsiteX47" fmla="*/ 2306977 w 4519987"/>
                    <a:gd name="connsiteY47" fmla="*/ 4476750 h 4496940"/>
                    <a:gd name="connsiteX48" fmla="*/ 2202202 w 4519987"/>
                    <a:gd name="connsiteY48" fmla="*/ 4457700 h 4496940"/>
                    <a:gd name="connsiteX49" fmla="*/ 2126002 w 4519987"/>
                    <a:gd name="connsiteY49" fmla="*/ 4429125 h 4496940"/>
                    <a:gd name="connsiteX50" fmla="*/ 1935502 w 4519987"/>
                    <a:gd name="connsiteY50" fmla="*/ 4400550 h 4496940"/>
                    <a:gd name="connsiteX51" fmla="*/ 1821202 w 4519987"/>
                    <a:gd name="connsiteY51" fmla="*/ 4371975 h 4496940"/>
                    <a:gd name="connsiteX52" fmla="*/ 1754527 w 4519987"/>
                    <a:gd name="connsiteY52" fmla="*/ 4352925 h 4496940"/>
                    <a:gd name="connsiteX53" fmla="*/ 1687852 w 4519987"/>
                    <a:gd name="connsiteY53" fmla="*/ 4343400 h 4496940"/>
                    <a:gd name="connsiteX54" fmla="*/ 1573552 w 4519987"/>
                    <a:gd name="connsiteY54" fmla="*/ 4305300 h 4496940"/>
                    <a:gd name="connsiteX55" fmla="*/ 1402102 w 4519987"/>
                    <a:gd name="connsiteY55" fmla="*/ 4276725 h 4496940"/>
                    <a:gd name="connsiteX56" fmla="*/ 1287802 w 4519987"/>
                    <a:gd name="connsiteY56" fmla="*/ 4229100 h 4496940"/>
                    <a:gd name="connsiteX57" fmla="*/ 1221127 w 4519987"/>
                    <a:gd name="connsiteY57" fmla="*/ 4200525 h 4496940"/>
                    <a:gd name="connsiteX58" fmla="*/ 1144927 w 4519987"/>
                    <a:gd name="connsiteY58" fmla="*/ 4171950 h 4496940"/>
                    <a:gd name="connsiteX59" fmla="*/ 1087777 w 4519987"/>
                    <a:gd name="connsiteY59" fmla="*/ 4143375 h 4496940"/>
                    <a:gd name="connsiteX60" fmla="*/ 1030627 w 4519987"/>
                    <a:gd name="connsiteY60" fmla="*/ 4124325 h 4496940"/>
                    <a:gd name="connsiteX61" fmla="*/ 925852 w 4519987"/>
                    <a:gd name="connsiteY61" fmla="*/ 4067175 h 4496940"/>
                    <a:gd name="connsiteX62" fmla="*/ 830602 w 4519987"/>
                    <a:gd name="connsiteY62" fmla="*/ 3981450 h 4496940"/>
                    <a:gd name="connsiteX63" fmla="*/ 763927 w 4519987"/>
                    <a:gd name="connsiteY63" fmla="*/ 3914775 h 4496940"/>
                    <a:gd name="connsiteX64" fmla="*/ 725827 w 4519987"/>
                    <a:gd name="connsiteY64" fmla="*/ 3876675 h 4496940"/>
                    <a:gd name="connsiteX65" fmla="*/ 697252 w 4519987"/>
                    <a:gd name="connsiteY65" fmla="*/ 3838575 h 4496940"/>
                    <a:gd name="connsiteX66" fmla="*/ 640102 w 4519987"/>
                    <a:gd name="connsiteY66" fmla="*/ 3781425 h 4496940"/>
                    <a:gd name="connsiteX67" fmla="*/ 611527 w 4519987"/>
                    <a:gd name="connsiteY67" fmla="*/ 3733800 h 4496940"/>
                    <a:gd name="connsiteX68" fmla="*/ 554377 w 4519987"/>
                    <a:gd name="connsiteY68" fmla="*/ 3657600 h 4496940"/>
                    <a:gd name="connsiteX69" fmla="*/ 525802 w 4519987"/>
                    <a:gd name="connsiteY69" fmla="*/ 3609975 h 4496940"/>
                    <a:gd name="connsiteX70" fmla="*/ 497227 w 4519987"/>
                    <a:gd name="connsiteY70" fmla="*/ 3552825 h 4496940"/>
                    <a:gd name="connsiteX71" fmla="*/ 440077 w 4519987"/>
                    <a:gd name="connsiteY71" fmla="*/ 3495675 h 4496940"/>
                    <a:gd name="connsiteX72" fmla="*/ 411502 w 4519987"/>
                    <a:gd name="connsiteY72" fmla="*/ 3448050 h 4496940"/>
                    <a:gd name="connsiteX73" fmla="*/ 278152 w 4519987"/>
                    <a:gd name="connsiteY73" fmla="*/ 3257550 h 4496940"/>
                    <a:gd name="connsiteX74" fmla="*/ 249577 w 4519987"/>
                    <a:gd name="connsiteY74" fmla="*/ 3200400 h 4496940"/>
                    <a:gd name="connsiteX75" fmla="*/ 240052 w 4519987"/>
                    <a:gd name="connsiteY75" fmla="*/ 3162300 h 4496940"/>
                    <a:gd name="connsiteX76" fmla="*/ 221002 w 4519987"/>
                    <a:gd name="connsiteY76" fmla="*/ 3105150 h 4496940"/>
                    <a:gd name="connsiteX77" fmla="*/ 173377 w 4519987"/>
                    <a:gd name="connsiteY77" fmla="*/ 3019425 h 4496940"/>
                    <a:gd name="connsiteX78" fmla="*/ 144802 w 4519987"/>
                    <a:gd name="connsiteY78" fmla="*/ 2924175 h 4496940"/>
                    <a:gd name="connsiteX79" fmla="*/ 68602 w 4519987"/>
                    <a:gd name="connsiteY79" fmla="*/ 2724150 h 4496940"/>
                    <a:gd name="connsiteX80" fmla="*/ 49552 w 4519987"/>
                    <a:gd name="connsiteY80" fmla="*/ 2638425 h 4496940"/>
                    <a:gd name="connsiteX81" fmla="*/ 40027 w 4519987"/>
                    <a:gd name="connsiteY81" fmla="*/ 2562225 h 4496940"/>
                    <a:gd name="connsiteX82" fmla="*/ 30502 w 4519987"/>
                    <a:gd name="connsiteY82" fmla="*/ 2514600 h 4496940"/>
                    <a:gd name="connsiteX83" fmla="*/ 11452 w 4519987"/>
                    <a:gd name="connsiteY83" fmla="*/ 2400300 h 4496940"/>
                    <a:gd name="connsiteX84" fmla="*/ 20977 w 4519987"/>
                    <a:gd name="connsiteY84" fmla="*/ 1905000 h 4496940"/>
                    <a:gd name="connsiteX85" fmla="*/ 30502 w 4519987"/>
                    <a:gd name="connsiteY85" fmla="*/ 1838325 h 4496940"/>
                    <a:gd name="connsiteX86" fmla="*/ 49552 w 4519987"/>
                    <a:gd name="connsiteY86" fmla="*/ 1781175 h 4496940"/>
                    <a:gd name="connsiteX87" fmla="*/ 59077 w 4519987"/>
                    <a:gd name="connsiteY87" fmla="*/ 1743075 h 4496940"/>
                    <a:gd name="connsiteX88" fmla="*/ 78127 w 4519987"/>
                    <a:gd name="connsiteY88" fmla="*/ 1685925 h 4496940"/>
                    <a:gd name="connsiteX89" fmla="*/ 87652 w 4519987"/>
                    <a:gd name="connsiteY89" fmla="*/ 1638300 h 4496940"/>
                    <a:gd name="connsiteX90" fmla="*/ 106702 w 4519987"/>
                    <a:gd name="connsiteY90" fmla="*/ 1590675 h 4496940"/>
                    <a:gd name="connsiteX91" fmla="*/ 135277 w 4519987"/>
                    <a:gd name="connsiteY91" fmla="*/ 1504950 h 4496940"/>
                    <a:gd name="connsiteX92" fmla="*/ 154327 w 4519987"/>
                    <a:gd name="connsiteY92" fmla="*/ 1419225 h 4496940"/>
                    <a:gd name="connsiteX93" fmla="*/ 230527 w 4519987"/>
                    <a:gd name="connsiteY93" fmla="*/ 1276350 h 4496940"/>
                    <a:gd name="connsiteX94" fmla="*/ 240052 w 4519987"/>
                    <a:gd name="connsiteY94" fmla="*/ 1247775 h 4496940"/>
                    <a:gd name="connsiteX95" fmla="*/ 268627 w 4519987"/>
                    <a:gd name="connsiteY95" fmla="*/ 1200150 h 4496940"/>
                    <a:gd name="connsiteX96" fmla="*/ 287677 w 4519987"/>
                    <a:gd name="connsiteY96" fmla="*/ 1152525 h 4496940"/>
                    <a:gd name="connsiteX97" fmla="*/ 316252 w 4519987"/>
                    <a:gd name="connsiteY97" fmla="*/ 1114425 h 4496940"/>
                    <a:gd name="connsiteX98" fmla="*/ 363877 w 4519987"/>
                    <a:gd name="connsiteY98" fmla="*/ 1038225 h 4496940"/>
                    <a:gd name="connsiteX99" fmla="*/ 382927 w 4519987"/>
                    <a:gd name="connsiteY99" fmla="*/ 1009650 h 4496940"/>
                    <a:gd name="connsiteX100" fmla="*/ 440077 w 4519987"/>
                    <a:gd name="connsiteY100" fmla="*/ 904875 h 4496940"/>
                    <a:gd name="connsiteX101" fmla="*/ 478177 w 4519987"/>
                    <a:gd name="connsiteY101" fmla="*/ 857250 h 4496940"/>
                    <a:gd name="connsiteX102" fmla="*/ 497227 w 4519987"/>
                    <a:gd name="connsiteY102" fmla="*/ 828675 h 4496940"/>
                    <a:gd name="connsiteX103" fmla="*/ 535327 w 4519987"/>
                    <a:gd name="connsiteY103" fmla="*/ 800100 h 4496940"/>
                    <a:gd name="connsiteX104" fmla="*/ 602002 w 4519987"/>
                    <a:gd name="connsiteY104" fmla="*/ 733425 h 4496940"/>
                    <a:gd name="connsiteX105" fmla="*/ 668677 w 4519987"/>
                    <a:gd name="connsiteY105" fmla="*/ 676275 h 4496940"/>
                    <a:gd name="connsiteX106" fmla="*/ 697252 w 4519987"/>
                    <a:gd name="connsiteY106" fmla="*/ 657225 h 4496940"/>
                    <a:gd name="connsiteX107" fmla="*/ 840127 w 4519987"/>
                    <a:gd name="connsiteY107" fmla="*/ 533400 h 4496940"/>
                    <a:gd name="connsiteX108" fmla="*/ 887752 w 4519987"/>
                    <a:gd name="connsiteY108" fmla="*/ 504825 h 4496940"/>
                    <a:gd name="connsiteX109" fmla="*/ 1167152 w 4519987"/>
                    <a:gd name="connsiteY109" fmla="*/ 311150 h 4496940"/>
                    <a:gd name="connsiteX110" fmla="*/ 1268752 w 4519987"/>
                    <a:gd name="connsiteY110" fmla="*/ 285750 h 4496940"/>
                    <a:gd name="connsiteX111" fmla="*/ 1411627 w 4519987"/>
                    <a:gd name="connsiteY111" fmla="*/ 190500 h 4496940"/>
                    <a:gd name="connsiteX112" fmla="*/ 1449727 w 4519987"/>
                    <a:gd name="connsiteY112" fmla="*/ 161925 h 4496940"/>
                    <a:gd name="connsiteX113" fmla="*/ 1525927 w 4519987"/>
                    <a:gd name="connsiteY113" fmla="*/ 152400 h 4496940"/>
                    <a:gd name="connsiteX114" fmla="*/ 1583077 w 4519987"/>
                    <a:gd name="connsiteY114" fmla="*/ 142875 h 4496940"/>
                    <a:gd name="connsiteX115" fmla="*/ 1716427 w 4519987"/>
                    <a:gd name="connsiteY115" fmla="*/ 123825 h 4496940"/>
                    <a:gd name="connsiteX116" fmla="*/ 1811677 w 4519987"/>
                    <a:gd name="connsiteY116" fmla="*/ 114300 h 4496940"/>
                    <a:gd name="connsiteX117" fmla="*/ 1859302 w 4519987"/>
                    <a:gd name="connsiteY117" fmla="*/ 104775 h 4496940"/>
                    <a:gd name="connsiteX118" fmla="*/ 1916452 w 4519987"/>
                    <a:gd name="connsiteY118" fmla="*/ 95250 h 4496940"/>
                    <a:gd name="connsiteX119" fmla="*/ 2030752 w 4519987"/>
                    <a:gd name="connsiteY119" fmla="*/ 66675 h 4496940"/>
                    <a:gd name="connsiteX120" fmla="*/ 2097427 w 4519987"/>
                    <a:gd name="connsiteY120" fmla="*/ 47625 h 4496940"/>
                    <a:gd name="connsiteX121" fmla="*/ 2164102 w 4519987"/>
                    <a:gd name="connsiteY121" fmla="*/ 38100 h 4496940"/>
                    <a:gd name="connsiteX122" fmla="*/ 2392702 w 4519987"/>
                    <a:gd name="connsiteY12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40427 w 4519987"/>
                    <a:gd name="connsiteY37" fmla="*/ 426720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40352 w 4519987"/>
                    <a:gd name="connsiteY42" fmla="*/ 4457700 h 4496940"/>
                    <a:gd name="connsiteX43" fmla="*/ 2583202 w 4519987"/>
                    <a:gd name="connsiteY43" fmla="*/ 4467225 h 4496940"/>
                    <a:gd name="connsiteX44" fmla="*/ 2545102 w 4519987"/>
                    <a:gd name="connsiteY44" fmla="*/ 4486275 h 4496940"/>
                    <a:gd name="connsiteX45" fmla="*/ 2306977 w 4519987"/>
                    <a:gd name="connsiteY45" fmla="*/ 4476750 h 4496940"/>
                    <a:gd name="connsiteX46" fmla="*/ 2202202 w 4519987"/>
                    <a:gd name="connsiteY46" fmla="*/ 4457700 h 4496940"/>
                    <a:gd name="connsiteX47" fmla="*/ 2126002 w 4519987"/>
                    <a:gd name="connsiteY47" fmla="*/ 4429125 h 4496940"/>
                    <a:gd name="connsiteX48" fmla="*/ 1935502 w 4519987"/>
                    <a:gd name="connsiteY48" fmla="*/ 4400550 h 4496940"/>
                    <a:gd name="connsiteX49" fmla="*/ 1821202 w 4519987"/>
                    <a:gd name="connsiteY49" fmla="*/ 4371975 h 4496940"/>
                    <a:gd name="connsiteX50" fmla="*/ 1754527 w 4519987"/>
                    <a:gd name="connsiteY50" fmla="*/ 4352925 h 4496940"/>
                    <a:gd name="connsiteX51" fmla="*/ 1687852 w 4519987"/>
                    <a:gd name="connsiteY51" fmla="*/ 4343400 h 4496940"/>
                    <a:gd name="connsiteX52" fmla="*/ 1573552 w 4519987"/>
                    <a:gd name="connsiteY52" fmla="*/ 4305300 h 4496940"/>
                    <a:gd name="connsiteX53" fmla="*/ 1402102 w 4519987"/>
                    <a:gd name="connsiteY53" fmla="*/ 4276725 h 4496940"/>
                    <a:gd name="connsiteX54" fmla="*/ 1287802 w 4519987"/>
                    <a:gd name="connsiteY54" fmla="*/ 4229100 h 4496940"/>
                    <a:gd name="connsiteX55" fmla="*/ 1221127 w 4519987"/>
                    <a:gd name="connsiteY55" fmla="*/ 4200525 h 4496940"/>
                    <a:gd name="connsiteX56" fmla="*/ 1144927 w 4519987"/>
                    <a:gd name="connsiteY56" fmla="*/ 4171950 h 4496940"/>
                    <a:gd name="connsiteX57" fmla="*/ 1087777 w 4519987"/>
                    <a:gd name="connsiteY57" fmla="*/ 4143375 h 4496940"/>
                    <a:gd name="connsiteX58" fmla="*/ 1030627 w 4519987"/>
                    <a:gd name="connsiteY58" fmla="*/ 4124325 h 4496940"/>
                    <a:gd name="connsiteX59" fmla="*/ 925852 w 4519987"/>
                    <a:gd name="connsiteY59" fmla="*/ 4067175 h 4496940"/>
                    <a:gd name="connsiteX60" fmla="*/ 830602 w 4519987"/>
                    <a:gd name="connsiteY60" fmla="*/ 3981450 h 4496940"/>
                    <a:gd name="connsiteX61" fmla="*/ 763927 w 4519987"/>
                    <a:gd name="connsiteY61" fmla="*/ 3914775 h 4496940"/>
                    <a:gd name="connsiteX62" fmla="*/ 725827 w 4519987"/>
                    <a:gd name="connsiteY62" fmla="*/ 3876675 h 4496940"/>
                    <a:gd name="connsiteX63" fmla="*/ 697252 w 4519987"/>
                    <a:gd name="connsiteY63" fmla="*/ 3838575 h 4496940"/>
                    <a:gd name="connsiteX64" fmla="*/ 640102 w 4519987"/>
                    <a:gd name="connsiteY64" fmla="*/ 3781425 h 4496940"/>
                    <a:gd name="connsiteX65" fmla="*/ 611527 w 4519987"/>
                    <a:gd name="connsiteY65" fmla="*/ 3733800 h 4496940"/>
                    <a:gd name="connsiteX66" fmla="*/ 554377 w 4519987"/>
                    <a:gd name="connsiteY66" fmla="*/ 3657600 h 4496940"/>
                    <a:gd name="connsiteX67" fmla="*/ 525802 w 4519987"/>
                    <a:gd name="connsiteY67" fmla="*/ 3609975 h 4496940"/>
                    <a:gd name="connsiteX68" fmla="*/ 497227 w 4519987"/>
                    <a:gd name="connsiteY68" fmla="*/ 3552825 h 4496940"/>
                    <a:gd name="connsiteX69" fmla="*/ 440077 w 4519987"/>
                    <a:gd name="connsiteY69" fmla="*/ 3495675 h 4496940"/>
                    <a:gd name="connsiteX70" fmla="*/ 411502 w 4519987"/>
                    <a:gd name="connsiteY70" fmla="*/ 3448050 h 4496940"/>
                    <a:gd name="connsiteX71" fmla="*/ 278152 w 4519987"/>
                    <a:gd name="connsiteY71" fmla="*/ 3257550 h 4496940"/>
                    <a:gd name="connsiteX72" fmla="*/ 249577 w 4519987"/>
                    <a:gd name="connsiteY72" fmla="*/ 3200400 h 4496940"/>
                    <a:gd name="connsiteX73" fmla="*/ 240052 w 4519987"/>
                    <a:gd name="connsiteY73" fmla="*/ 3162300 h 4496940"/>
                    <a:gd name="connsiteX74" fmla="*/ 221002 w 4519987"/>
                    <a:gd name="connsiteY74" fmla="*/ 3105150 h 4496940"/>
                    <a:gd name="connsiteX75" fmla="*/ 173377 w 4519987"/>
                    <a:gd name="connsiteY75" fmla="*/ 3019425 h 4496940"/>
                    <a:gd name="connsiteX76" fmla="*/ 144802 w 4519987"/>
                    <a:gd name="connsiteY76" fmla="*/ 2924175 h 4496940"/>
                    <a:gd name="connsiteX77" fmla="*/ 68602 w 4519987"/>
                    <a:gd name="connsiteY77" fmla="*/ 2724150 h 4496940"/>
                    <a:gd name="connsiteX78" fmla="*/ 49552 w 4519987"/>
                    <a:gd name="connsiteY78" fmla="*/ 2638425 h 4496940"/>
                    <a:gd name="connsiteX79" fmla="*/ 40027 w 4519987"/>
                    <a:gd name="connsiteY79" fmla="*/ 2562225 h 4496940"/>
                    <a:gd name="connsiteX80" fmla="*/ 30502 w 4519987"/>
                    <a:gd name="connsiteY80" fmla="*/ 2514600 h 4496940"/>
                    <a:gd name="connsiteX81" fmla="*/ 11452 w 4519987"/>
                    <a:gd name="connsiteY81" fmla="*/ 2400300 h 4496940"/>
                    <a:gd name="connsiteX82" fmla="*/ 20977 w 4519987"/>
                    <a:gd name="connsiteY82" fmla="*/ 1905000 h 4496940"/>
                    <a:gd name="connsiteX83" fmla="*/ 30502 w 4519987"/>
                    <a:gd name="connsiteY83" fmla="*/ 1838325 h 4496940"/>
                    <a:gd name="connsiteX84" fmla="*/ 49552 w 4519987"/>
                    <a:gd name="connsiteY84" fmla="*/ 1781175 h 4496940"/>
                    <a:gd name="connsiteX85" fmla="*/ 59077 w 4519987"/>
                    <a:gd name="connsiteY85" fmla="*/ 1743075 h 4496940"/>
                    <a:gd name="connsiteX86" fmla="*/ 78127 w 4519987"/>
                    <a:gd name="connsiteY86" fmla="*/ 1685925 h 4496940"/>
                    <a:gd name="connsiteX87" fmla="*/ 87652 w 4519987"/>
                    <a:gd name="connsiteY87" fmla="*/ 1638300 h 4496940"/>
                    <a:gd name="connsiteX88" fmla="*/ 106702 w 4519987"/>
                    <a:gd name="connsiteY88" fmla="*/ 1590675 h 4496940"/>
                    <a:gd name="connsiteX89" fmla="*/ 135277 w 4519987"/>
                    <a:gd name="connsiteY89" fmla="*/ 1504950 h 4496940"/>
                    <a:gd name="connsiteX90" fmla="*/ 154327 w 4519987"/>
                    <a:gd name="connsiteY90" fmla="*/ 1419225 h 4496940"/>
                    <a:gd name="connsiteX91" fmla="*/ 230527 w 4519987"/>
                    <a:gd name="connsiteY91" fmla="*/ 1276350 h 4496940"/>
                    <a:gd name="connsiteX92" fmla="*/ 240052 w 4519987"/>
                    <a:gd name="connsiteY92" fmla="*/ 1247775 h 4496940"/>
                    <a:gd name="connsiteX93" fmla="*/ 268627 w 4519987"/>
                    <a:gd name="connsiteY93" fmla="*/ 1200150 h 4496940"/>
                    <a:gd name="connsiteX94" fmla="*/ 287677 w 4519987"/>
                    <a:gd name="connsiteY94" fmla="*/ 1152525 h 4496940"/>
                    <a:gd name="connsiteX95" fmla="*/ 316252 w 4519987"/>
                    <a:gd name="connsiteY95" fmla="*/ 1114425 h 4496940"/>
                    <a:gd name="connsiteX96" fmla="*/ 363877 w 4519987"/>
                    <a:gd name="connsiteY96" fmla="*/ 1038225 h 4496940"/>
                    <a:gd name="connsiteX97" fmla="*/ 382927 w 4519987"/>
                    <a:gd name="connsiteY97" fmla="*/ 1009650 h 4496940"/>
                    <a:gd name="connsiteX98" fmla="*/ 440077 w 4519987"/>
                    <a:gd name="connsiteY98" fmla="*/ 904875 h 4496940"/>
                    <a:gd name="connsiteX99" fmla="*/ 478177 w 4519987"/>
                    <a:gd name="connsiteY99" fmla="*/ 857250 h 4496940"/>
                    <a:gd name="connsiteX100" fmla="*/ 497227 w 4519987"/>
                    <a:gd name="connsiteY100" fmla="*/ 828675 h 4496940"/>
                    <a:gd name="connsiteX101" fmla="*/ 535327 w 4519987"/>
                    <a:gd name="connsiteY101" fmla="*/ 800100 h 4496940"/>
                    <a:gd name="connsiteX102" fmla="*/ 602002 w 4519987"/>
                    <a:gd name="connsiteY102" fmla="*/ 733425 h 4496940"/>
                    <a:gd name="connsiteX103" fmla="*/ 668677 w 4519987"/>
                    <a:gd name="connsiteY103" fmla="*/ 676275 h 4496940"/>
                    <a:gd name="connsiteX104" fmla="*/ 697252 w 4519987"/>
                    <a:gd name="connsiteY104" fmla="*/ 657225 h 4496940"/>
                    <a:gd name="connsiteX105" fmla="*/ 840127 w 4519987"/>
                    <a:gd name="connsiteY105" fmla="*/ 533400 h 4496940"/>
                    <a:gd name="connsiteX106" fmla="*/ 887752 w 4519987"/>
                    <a:gd name="connsiteY106" fmla="*/ 504825 h 4496940"/>
                    <a:gd name="connsiteX107" fmla="*/ 1167152 w 4519987"/>
                    <a:gd name="connsiteY107" fmla="*/ 311150 h 4496940"/>
                    <a:gd name="connsiteX108" fmla="*/ 1268752 w 4519987"/>
                    <a:gd name="connsiteY108" fmla="*/ 285750 h 4496940"/>
                    <a:gd name="connsiteX109" fmla="*/ 1411627 w 4519987"/>
                    <a:gd name="connsiteY109" fmla="*/ 190500 h 4496940"/>
                    <a:gd name="connsiteX110" fmla="*/ 1449727 w 4519987"/>
                    <a:gd name="connsiteY110" fmla="*/ 161925 h 4496940"/>
                    <a:gd name="connsiteX111" fmla="*/ 1525927 w 4519987"/>
                    <a:gd name="connsiteY111" fmla="*/ 152400 h 4496940"/>
                    <a:gd name="connsiteX112" fmla="*/ 1583077 w 4519987"/>
                    <a:gd name="connsiteY112" fmla="*/ 142875 h 4496940"/>
                    <a:gd name="connsiteX113" fmla="*/ 1716427 w 4519987"/>
                    <a:gd name="connsiteY113" fmla="*/ 123825 h 4496940"/>
                    <a:gd name="connsiteX114" fmla="*/ 1811677 w 4519987"/>
                    <a:gd name="connsiteY114" fmla="*/ 114300 h 4496940"/>
                    <a:gd name="connsiteX115" fmla="*/ 1859302 w 4519987"/>
                    <a:gd name="connsiteY115" fmla="*/ 104775 h 4496940"/>
                    <a:gd name="connsiteX116" fmla="*/ 1916452 w 4519987"/>
                    <a:gd name="connsiteY116" fmla="*/ 95250 h 4496940"/>
                    <a:gd name="connsiteX117" fmla="*/ 2030752 w 4519987"/>
                    <a:gd name="connsiteY117" fmla="*/ 66675 h 4496940"/>
                    <a:gd name="connsiteX118" fmla="*/ 2097427 w 4519987"/>
                    <a:gd name="connsiteY118" fmla="*/ 47625 h 4496940"/>
                    <a:gd name="connsiteX119" fmla="*/ 2164102 w 4519987"/>
                    <a:gd name="connsiteY119" fmla="*/ 38100 h 4496940"/>
                    <a:gd name="connsiteX120" fmla="*/ 2392702 w 4519987"/>
                    <a:gd name="connsiteY120" fmla="*/ 28575 h 4496940"/>
                    <a:gd name="connsiteX0" fmla="*/ 2297452 w 4519987"/>
                    <a:gd name="connsiteY0" fmla="*/ 0 h 4487372"/>
                    <a:gd name="connsiteX1" fmla="*/ 2421277 w 4519987"/>
                    <a:gd name="connsiteY1" fmla="*/ 28575 h 4487372"/>
                    <a:gd name="connsiteX2" fmla="*/ 2497477 w 4519987"/>
                    <a:gd name="connsiteY2" fmla="*/ 47625 h 4487372"/>
                    <a:gd name="connsiteX3" fmla="*/ 2754652 w 4519987"/>
                    <a:gd name="connsiteY3" fmla="*/ 66675 h 4487372"/>
                    <a:gd name="connsiteX4" fmla="*/ 2830852 w 4519987"/>
                    <a:gd name="connsiteY4" fmla="*/ 76200 h 4487372"/>
                    <a:gd name="connsiteX5" fmla="*/ 2916577 w 4519987"/>
                    <a:gd name="connsiteY5" fmla="*/ 85725 h 4487372"/>
                    <a:gd name="connsiteX6" fmla="*/ 2973727 w 4519987"/>
                    <a:gd name="connsiteY6" fmla="*/ 114300 h 4487372"/>
                    <a:gd name="connsiteX7" fmla="*/ 3011827 w 4519987"/>
                    <a:gd name="connsiteY7" fmla="*/ 123825 h 4487372"/>
                    <a:gd name="connsiteX8" fmla="*/ 3135652 w 4519987"/>
                    <a:gd name="connsiteY8" fmla="*/ 171450 h 4487372"/>
                    <a:gd name="connsiteX9" fmla="*/ 3173752 w 4519987"/>
                    <a:gd name="connsiteY9" fmla="*/ 190500 h 4487372"/>
                    <a:gd name="connsiteX10" fmla="*/ 3240427 w 4519987"/>
                    <a:gd name="connsiteY10" fmla="*/ 228600 h 4487372"/>
                    <a:gd name="connsiteX11" fmla="*/ 3269002 w 4519987"/>
                    <a:gd name="connsiteY11" fmla="*/ 238125 h 4487372"/>
                    <a:gd name="connsiteX12" fmla="*/ 3297577 w 4519987"/>
                    <a:gd name="connsiteY12" fmla="*/ 257175 h 4487372"/>
                    <a:gd name="connsiteX13" fmla="*/ 3326152 w 4519987"/>
                    <a:gd name="connsiteY13" fmla="*/ 266700 h 4487372"/>
                    <a:gd name="connsiteX14" fmla="*/ 3354727 w 4519987"/>
                    <a:gd name="connsiteY14" fmla="*/ 285750 h 4487372"/>
                    <a:gd name="connsiteX15" fmla="*/ 3421402 w 4519987"/>
                    <a:gd name="connsiteY15" fmla="*/ 323850 h 4487372"/>
                    <a:gd name="connsiteX16" fmla="*/ 3469027 w 4519987"/>
                    <a:gd name="connsiteY16" fmla="*/ 361950 h 4487372"/>
                    <a:gd name="connsiteX17" fmla="*/ 3516652 w 4519987"/>
                    <a:gd name="connsiteY17" fmla="*/ 390525 h 4487372"/>
                    <a:gd name="connsiteX18" fmla="*/ 3630952 w 4519987"/>
                    <a:gd name="connsiteY18" fmla="*/ 485775 h 4487372"/>
                    <a:gd name="connsiteX19" fmla="*/ 3745252 w 4519987"/>
                    <a:gd name="connsiteY19" fmla="*/ 542925 h 4487372"/>
                    <a:gd name="connsiteX20" fmla="*/ 3811927 w 4519987"/>
                    <a:gd name="connsiteY20" fmla="*/ 581025 h 4487372"/>
                    <a:gd name="connsiteX21" fmla="*/ 4027827 w 4519987"/>
                    <a:gd name="connsiteY21" fmla="*/ 819150 h 4487372"/>
                    <a:gd name="connsiteX22" fmla="*/ 4164352 w 4519987"/>
                    <a:gd name="connsiteY22" fmla="*/ 990600 h 4487372"/>
                    <a:gd name="connsiteX23" fmla="*/ 4250077 w 4519987"/>
                    <a:gd name="connsiteY23" fmla="*/ 1143000 h 4487372"/>
                    <a:gd name="connsiteX24" fmla="*/ 4307227 w 4519987"/>
                    <a:gd name="connsiteY24" fmla="*/ 1266825 h 4487372"/>
                    <a:gd name="connsiteX25" fmla="*/ 4345327 w 4519987"/>
                    <a:gd name="connsiteY25" fmla="*/ 1362075 h 4487372"/>
                    <a:gd name="connsiteX26" fmla="*/ 4392952 w 4519987"/>
                    <a:gd name="connsiteY26" fmla="*/ 1552575 h 4487372"/>
                    <a:gd name="connsiteX27" fmla="*/ 4431052 w 4519987"/>
                    <a:gd name="connsiteY27" fmla="*/ 1685925 h 4487372"/>
                    <a:gd name="connsiteX28" fmla="*/ 4519952 w 4519987"/>
                    <a:gd name="connsiteY28" fmla="*/ 2181225 h 4487372"/>
                    <a:gd name="connsiteX29" fmla="*/ 4446927 w 4519987"/>
                    <a:gd name="connsiteY29" fmla="*/ 2768600 h 4487372"/>
                    <a:gd name="connsiteX30" fmla="*/ 4383427 w 4519987"/>
                    <a:gd name="connsiteY30" fmla="*/ 2990850 h 4487372"/>
                    <a:gd name="connsiteX31" fmla="*/ 4278652 w 4519987"/>
                    <a:gd name="connsiteY31" fmla="*/ 3248025 h 4487372"/>
                    <a:gd name="connsiteX32" fmla="*/ 4183402 w 4519987"/>
                    <a:gd name="connsiteY32" fmla="*/ 3400425 h 4487372"/>
                    <a:gd name="connsiteX33" fmla="*/ 4059577 w 4519987"/>
                    <a:gd name="connsiteY33" fmla="*/ 3533775 h 4487372"/>
                    <a:gd name="connsiteX34" fmla="*/ 3954802 w 4519987"/>
                    <a:gd name="connsiteY34" fmla="*/ 3648075 h 4487372"/>
                    <a:gd name="connsiteX35" fmla="*/ 3659527 w 4519987"/>
                    <a:gd name="connsiteY35" fmla="*/ 3971925 h 4487372"/>
                    <a:gd name="connsiteX36" fmla="*/ 3516652 w 4519987"/>
                    <a:gd name="connsiteY36" fmla="*/ 4083050 h 4487372"/>
                    <a:gd name="connsiteX37" fmla="*/ 3221377 w 4519987"/>
                    <a:gd name="connsiteY37" fmla="*/ 4222750 h 4487372"/>
                    <a:gd name="connsiteX38" fmla="*/ 3068977 w 4519987"/>
                    <a:gd name="connsiteY38" fmla="*/ 4286250 h 4487372"/>
                    <a:gd name="connsiteX39" fmla="*/ 2935627 w 4519987"/>
                    <a:gd name="connsiteY39" fmla="*/ 4333875 h 4487372"/>
                    <a:gd name="connsiteX40" fmla="*/ 2811802 w 4519987"/>
                    <a:gd name="connsiteY40" fmla="*/ 4371975 h 4487372"/>
                    <a:gd name="connsiteX41" fmla="*/ 2745127 w 4519987"/>
                    <a:gd name="connsiteY41" fmla="*/ 4410075 h 4487372"/>
                    <a:gd name="connsiteX42" fmla="*/ 2640352 w 4519987"/>
                    <a:gd name="connsiteY42" fmla="*/ 4457700 h 4487372"/>
                    <a:gd name="connsiteX43" fmla="*/ 2545102 w 4519987"/>
                    <a:gd name="connsiteY43" fmla="*/ 4486275 h 4487372"/>
                    <a:gd name="connsiteX44" fmla="*/ 2306977 w 4519987"/>
                    <a:gd name="connsiteY44" fmla="*/ 4476750 h 4487372"/>
                    <a:gd name="connsiteX45" fmla="*/ 2202202 w 4519987"/>
                    <a:gd name="connsiteY45" fmla="*/ 4457700 h 4487372"/>
                    <a:gd name="connsiteX46" fmla="*/ 2126002 w 4519987"/>
                    <a:gd name="connsiteY46" fmla="*/ 4429125 h 4487372"/>
                    <a:gd name="connsiteX47" fmla="*/ 1935502 w 4519987"/>
                    <a:gd name="connsiteY47" fmla="*/ 4400550 h 4487372"/>
                    <a:gd name="connsiteX48" fmla="*/ 1821202 w 4519987"/>
                    <a:gd name="connsiteY48" fmla="*/ 4371975 h 4487372"/>
                    <a:gd name="connsiteX49" fmla="*/ 1754527 w 4519987"/>
                    <a:gd name="connsiteY49" fmla="*/ 4352925 h 4487372"/>
                    <a:gd name="connsiteX50" fmla="*/ 1687852 w 4519987"/>
                    <a:gd name="connsiteY50" fmla="*/ 4343400 h 4487372"/>
                    <a:gd name="connsiteX51" fmla="*/ 1573552 w 4519987"/>
                    <a:gd name="connsiteY51" fmla="*/ 4305300 h 4487372"/>
                    <a:gd name="connsiteX52" fmla="*/ 1402102 w 4519987"/>
                    <a:gd name="connsiteY52" fmla="*/ 4276725 h 4487372"/>
                    <a:gd name="connsiteX53" fmla="*/ 1287802 w 4519987"/>
                    <a:gd name="connsiteY53" fmla="*/ 4229100 h 4487372"/>
                    <a:gd name="connsiteX54" fmla="*/ 1221127 w 4519987"/>
                    <a:gd name="connsiteY54" fmla="*/ 4200525 h 4487372"/>
                    <a:gd name="connsiteX55" fmla="*/ 1144927 w 4519987"/>
                    <a:gd name="connsiteY55" fmla="*/ 4171950 h 4487372"/>
                    <a:gd name="connsiteX56" fmla="*/ 1087777 w 4519987"/>
                    <a:gd name="connsiteY56" fmla="*/ 4143375 h 4487372"/>
                    <a:gd name="connsiteX57" fmla="*/ 1030627 w 4519987"/>
                    <a:gd name="connsiteY57" fmla="*/ 4124325 h 4487372"/>
                    <a:gd name="connsiteX58" fmla="*/ 925852 w 4519987"/>
                    <a:gd name="connsiteY58" fmla="*/ 4067175 h 4487372"/>
                    <a:gd name="connsiteX59" fmla="*/ 830602 w 4519987"/>
                    <a:gd name="connsiteY59" fmla="*/ 3981450 h 4487372"/>
                    <a:gd name="connsiteX60" fmla="*/ 763927 w 4519987"/>
                    <a:gd name="connsiteY60" fmla="*/ 3914775 h 4487372"/>
                    <a:gd name="connsiteX61" fmla="*/ 725827 w 4519987"/>
                    <a:gd name="connsiteY61" fmla="*/ 3876675 h 4487372"/>
                    <a:gd name="connsiteX62" fmla="*/ 697252 w 4519987"/>
                    <a:gd name="connsiteY62" fmla="*/ 3838575 h 4487372"/>
                    <a:gd name="connsiteX63" fmla="*/ 640102 w 4519987"/>
                    <a:gd name="connsiteY63" fmla="*/ 3781425 h 4487372"/>
                    <a:gd name="connsiteX64" fmla="*/ 611527 w 4519987"/>
                    <a:gd name="connsiteY64" fmla="*/ 3733800 h 4487372"/>
                    <a:gd name="connsiteX65" fmla="*/ 554377 w 4519987"/>
                    <a:gd name="connsiteY65" fmla="*/ 3657600 h 4487372"/>
                    <a:gd name="connsiteX66" fmla="*/ 525802 w 4519987"/>
                    <a:gd name="connsiteY66" fmla="*/ 3609975 h 4487372"/>
                    <a:gd name="connsiteX67" fmla="*/ 497227 w 4519987"/>
                    <a:gd name="connsiteY67" fmla="*/ 3552825 h 4487372"/>
                    <a:gd name="connsiteX68" fmla="*/ 440077 w 4519987"/>
                    <a:gd name="connsiteY68" fmla="*/ 3495675 h 4487372"/>
                    <a:gd name="connsiteX69" fmla="*/ 411502 w 4519987"/>
                    <a:gd name="connsiteY69" fmla="*/ 3448050 h 4487372"/>
                    <a:gd name="connsiteX70" fmla="*/ 278152 w 4519987"/>
                    <a:gd name="connsiteY70" fmla="*/ 3257550 h 4487372"/>
                    <a:gd name="connsiteX71" fmla="*/ 249577 w 4519987"/>
                    <a:gd name="connsiteY71" fmla="*/ 3200400 h 4487372"/>
                    <a:gd name="connsiteX72" fmla="*/ 240052 w 4519987"/>
                    <a:gd name="connsiteY72" fmla="*/ 3162300 h 4487372"/>
                    <a:gd name="connsiteX73" fmla="*/ 221002 w 4519987"/>
                    <a:gd name="connsiteY73" fmla="*/ 3105150 h 4487372"/>
                    <a:gd name="connsiteX74" fmla="*/ 173377 w 4519987"/>
                    <a:gd name="connsiteY74" fmla="*/ 3019425 h 4487372"/>
                    <a:gd name="connsiteX75" fmla="*/ 144802 w 4519987"/>
                    <a:gd name="connsiteY75" fmla="*/ 2924175 h 4487372"/>
                    <a:gd name="connsiteX76" fmla="*/ 68602 w 4519987"/>
                    <a:gd name="connsiteY76" fmla="*/ 2724150 h 4487372"/>
                    <a:gd name="connsiteX77" fmla="*/ 49552 w 4519987"/>
                    <a:gd name="connsiteY77" fmla="*/ 2638425 h 4487372"/>
                    <a:gd name="connsiteX78" fmla="*/ 40027 w 4519987"/>
                    <a:gd name="connsiteY78" fmla="*/ 2562225 h 4487372"/>
                    <a:gd name="connsiteX79" fmla="*/ 30502 w 4519987"/>
                    <a:gd name="connsiteY79" fmla="*/ 2514600 h 4487372"/>
                    <a:gd name="connsiteX80" fmla="*/ 11452 w 4519987"/>
                    <a:gd name="connsiteY80" fmla="*/ 2400300 h 4487372"/>
                    <a:gd name="connsiteX81" fmla="*/ 20977 w 4519987"/>
                    <a:gd name="connsiteY81" fmla="*/ 1905000 h 4487372"/>
                    <a:gd name="connsiteX82" fmla="*/ 30502 w 4519987"/>
                    <a:gd name="connsiteY82" fmla="*/ 1838325 h 4487372"/>
                    <a:gd name="connsiteX83" fmla="*/ 49552 w 4519987"/>
                    <a:gd name="connsiteY83" fmla="*/ 1781175 h 4487372"/>
                    <a:gd name="connsiteX84" fmla="*/ 59077 w 4519987"/>
                    <a:gd name="connsiteY84" fmla="*/ 1743075 h 4487372"/>
                    <a:gd name="connsiteX85" fmla="*/ 78127 w 4519987"/>
                    <a:gd name="connsiteY85" fmla="*/ 1685925 h 4487372"/>
                    <a:gd name="connsiteX86" fmla="*/ 87652 w 4519987"/>
                    <a:gd name="connsiteY86" fmla="*/ 1638300 h 4487372"/>
                    <a:gd name="connsiteX87" fmla="*/ 106702 w 4519987"/>
                    <a:gd name="connsiteY87" fmla="*/ 1590675 h 4487372"/>
                    <a:gd name="connsiteX88" fmla="*/ 135277 w 4519987"/>
                    <a:gd name="connsiteY88" fmla="*/ 1504950 h 4487372"/>
                    <a:gd name="connsiteX89" fmla="*/ 154327 w 4519987"/>
                    <a:gd name="connsiteY89" fmla="*/ 1419225 h 4487372"/>
                    <a:gd name="connsiteX90" fmla="*/ 230527 w 4519987"/>
                    <a:gd name="connsiteY90" fmla="*/ 1276350 h 4487372"/>
                    <a:gd name="connsiteX91" fmla="*/ 240052 w 4519987"/>
                    <a:gd name="connsiteY91" fmla="*/ 1247775 h 4487372"/>
                    <a:gd name="connsiteX92" fmla="*/ 268627 w 4519987"/>
                    <a:gd name="connsiteY92" fmla="*/ 1200150 h 4487372"/>
                    <a:gd name="connsiteX93" fmla="*/ 287677 w 4519987"/>
                    <a:gd name="connsiteY93" fmla="*/ 1152525 h 4487372"/>
                    <a:gd name="connsiteX94" fmla="*/ 316252 w 4519987"/>
                    <a:gd name="connsiteY94" fmla="*/ 1114425 h 4487372"/>
                    <a:gd name="connsiteX95" fmla="*/ 363877 w 4519987"/>
                    <a:gd name="connsiteY95" fmla="*/ 1038225 h 4487372"/>
                    <a:gd name="connsiteX96" fmla="*/ 382927 w 4519987"/>
                    <a:gd name="connsiteY96" fmla="*/ 1009650 h 4487372"/>
                    <a:gd name="connsiteX97" fmla="*/ 440077 w 4519987"/>
                    <a:gd name="connsiteY97" fmla="*/ 904875 h 4487372"/>
                    <a:gd name="connsiteX98" fmla="*/ 478177 w 4519987"/>
                    <a:gd name="connsiteY98" fmla="*/ 857250 h 4487372"/>
                    <a:gd name="connsiteX99" fmla="*/ 497227 w 4519987"/>
                    <a:gd name="connsiteY99" fmla="*/ 828675 h 4487372"/>
                    <a:gd name="connsiteX100" fmla="*/ 535327 w 4519987"/>
                    <a:gd name="connsiteY100" fmla="*/ 800100 h 4487372"/>
                    <a:gd name="connsiteX101" fmla="*/ 602002 w 4519987"/>
                    <a:gd name="connsiteY101" fmla="*/ 733425 h 4487372"/>
                    <a:gd name="connsiteX102" fmla="*/ 668677 w 4519987"/>
                    <a:gd name="connsiteY102" fmla="*/ 676275 h 4487372"/>
                    <a:gd name="connsiteX103" fmla="*/ 697252 w 4519987"/>
                    <a:gd name="connsiteY103" fmla="*/ 657225 h 4487372"/>
                    <a:gd name="connsiteX104" fmla="*/ 840127 w 4519987"/>
                    <a:gd name="connsiteY104" fmla="*/ 533400 h 4487372"/>
                    <a:gd name="connsiteX105" fmla="*/ 887752 w 4519987"/>
                    <a:gd name="connsiteY105" fmla="*/ 504825 h 4487372"/>
                    <a:gd name="connsiteX106" fmla="*/ 1167152 w 4519987"/>
                    <a:gd name="connsiteY106" fmla="*/ 311150 h 4487372"/>
                    <a:gd name="connsiteX107" fmla="*/ 1268752 w 4519987"/>
                    <a:gd name="connsiteY107" fmla="*/ 285750 h 4487372"/>
                    <a:gd name="connsiteX108" fmla="*/ 1411627 w 4519987"/>
                    <a:gd name="connsiteY108" fmla="*/ 190500 h 4487372"/>
                    <a:gd name="connsiteX109" fmla="*/ 1449727 w 4519987"/>
                    <a:gd name="connsiteY109" fmla="*/ 161925 h 4487372"/>
                    <a:gd name="connsiteX110" fmla="*/ 1525927 w 4519987"/>
                    <a:gd name="connsiteY110" fmla="*/ 152400 h 4487372"/>
                    <a:gd name="connsiteX111" fmla="*/ 1583077 w 4519987"/>
                    <a:gd name="connsiteY111" fmla="*/ 142875 h 4487372"/>
                    <a:gd name="connsiteX112" fmla="*/ 1716427 w 4519987"/>
                    <a:gd name="connsiteY112" fmla="*/ 123825 h 4487372"/>
                    <a:gd name="connsiteX113" fmla="*/ 1811677 w 4519987"/>
                    <a:gd name="connsiteY113" fmla="*/ 114300 h 4487372"/>
                    <a:gd name="connsiteX114" fmla="*/ 1859302 w 4519987"/>
                    <a:gd name="connsiteY114" fmla="*/ 104775 h 4487372"/>
                    <a:gd name="connsiteX115" fmla="*/ 1916452 w 4519987"/>
                    <a:gd name="connsiteY115" fmla="*/ 95250 h 4487372"/>
                    <a:gd name="connsiteX116" fmla="*/ 2030752 w 4519987"/>
                    <a:gd name="connsiteY116" fmla="*/ 66675 h 4487372"/>
                    <a:gd name="connsiteX117" fmla="*/ 2097427 w 4519987"/>
                    <a:gd name="connsiteY117" fmla="*/ 47625 h 4487372"/>
                    <a:gd name="connsiteX118" fmla="*/ 2164102 w 4519987"/>
                    <a:gd name="connsiteY118" fmla="*/ 38100 h 4487372"/>
                    <a:gd name="connsiteX119" fmla="*/ 2392702 w 4519987"/>
                    <a:gd name="connsiteY119" fmla="*/ 28575 h 4487372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745127 w 4519987"/>
                    <a:gd name="connsiteY41" fmla="*/ 4410075 h 4476750"/>
                    <a:gd name="connsiteX42" fmla="*/ 2640352 w 4519987"/>
                    <a:gd name="connsiteY42" fmla="*/ 4457700 h 4476750"/>
                    <a:gd name="connsiteX43" fmla="*/ 2306977 w 4519987"/>
                    <a:gd name="connsiteY43" fmla="*/ 4476750 h 4476750"/>
                    <a:gd name="connsiteX44" fmla="*/ 2202202 w 4519987"/>
                    <a:gd name="connsiteY44" fmla="*/ 4457700 h 4476750"/>
                    <a:gd name="connsiteX45" fmla="*/ 2126002 w 4519987"/>
                    <a:gd name="connsiteY45" fmla="*/ 4429125 h 4476750"/>
                    <a:gd name="connsiteX46" fmla="*/ 1935502 w 4519987"/>
                    <a:gd name="connsiteY46" fmla="*/ 4400550 h 4476750"/>
                    <a:gd name="connsiteX47" fmla="*/ 1821202 w 4519987"/>
                    <a:gd name="connsiteY47" fmla="*/ 4371975 h 4476750"/>
                    <a:gd name="connsiteX48" fmla="*/ 1754527 w 4519987"/>
                    <a:gd name="connsiteY48" fmla="*/ 4352925 h 4476750"/>
                    <a:gd name="connsiteX49" fmla="*/ 1687852 w 4519987"/>
                    <a:gd name="connsiteY49" fmla="*/ 4343400 h 4476750"/>
                    <a:gd name="connsiteX50" fmla="*/ 1573552 w 4519987"/>
                    <a:gd name="connsiteY50" fmla="*/ 4305300 h 4476750"/>
                    <a:gd name="connsiteX51" fmla="*/ 1402102 w 4519987"/>
                    <a:gd name="connsiteY51" fmla="*/ 4276725 h 4476750"/>
                    <a:gd name="connsiteX52" fmla="*/ 1287802 w 4519987"/>
                    <a:gd name="connsiteY52" fmla="*/ 4229100 h 4476750"/>
                    <a:gd name="connsiteX53" fmla="*/ 1221127 w 4519987"/>
                    <a:gd name="connsiteY53" fmla="*/ 4200525 h 4476750"/>
                    <a:gd name="connsiteX54" fmla="*/ 1144927 w 4519987"/>
                    <a:gd name="connsiteY54" fmla="*/ 4171950 h 4476750"/>
                    <a:gd name="connsiteX55" fmla="*/ 1087777 w 4519987"/>
                    <a:gd name="connsiteY55" fmla="*/ 4143375 h 4476750"/>
                    <a:gd name="connsiteX56" fmla="*/ 1030627 w 4519987"/>
                    <a:gd name="connsiteY56" fmla="*/ 4124325 h 4476750"/>
                    <a:gd name="connsiteX57" fmla="*/ 925852 w 4519987"/>
                    <a:gd name="connsiteY57" fmla="*/ 4067175 h 4476750"/>
                    <a:gd name="connsiteX58" fmla="*/ 830602 w 4519987"/>
                    <a:gd name="connsiteY58" fmla="*/ 3981450 h 4476750"/>
                    <a:gd name="connsiteX59" fmla="*/ 763927 w 4519987"/>
                    <a:gd name="connsiteY59" fmla="*/ 3914775 h 4476750"/>
                    <a:gd name="connsiteX60" fmla="*/ 725827 w 4519987"/>
                    <a:gd name="connsiteY60" fmla="*/ 3876675 h 4476750"/>
                    <a:gd name="connsiteX61" fmla="*/ 697252 w 4519987"/>
                    <a:gd name="connsiteY61" fmla="*/ 3838575 h 4476750"/>
                    <a:gd name="connsiteX62" fmla="*/ 640102 w 4519987"/>
                    <a:gd name="connsiteY62" fmla="*/ 3781425 h 4476750"/>
                    <a:gd name="connsiteX63" fmla="*/ 611527 w 4519987"/>
                    <a:gd name="connsiteY63" fmla="*/ 3733800 h 4476750"/>
                    <a:gd name="connsiteX64" fmla="*/ 554377 w 4519987"/>
                    <a:gd name="connsiteY64" fmla="*/ 3657600 h 4476750"/>
                    <a:gd name="connsiteX65" fmla="*/ 525802 w 4519987"/>
                    <a:gd name="connsiteY65" fmla="*/ 3609975 h 4476750"/>
                    <a:gd name="connsiteX66" fmla="*/ 497227 w 4519987"/>
                    <a:gd name="connsiteY66" fmla="*/ 3552825 h 4476750"/>
                    <a:gd name="connsiteX67" fmla="*/ 440077 w 4519987"/>
                    <a:gd name="connsiteY67" fmla="*/ 3495675 h 4476750"/>
                    <a:gd name="connsiteX68" fmla="*/ 411502 w 4519987"/>
                    <a:gd name="connsiteY68" fmla="*/ 3448050 h 4476750"/>
                    <a:gd name="connsiteX69" fmla="*/ 278152 w 4519987"/>
                    <a:gd name="connsiteY69" fmla="*/ 3257550 h 4476750"/>
                    <a:gd name="connsiteX70" fmla="*/ 249577 w 4519987"/>
                    <a:gd name="connsiteY70" fmla="*/ 3200400 h 4476750"/>
                    <a:gd name="connsiteX71" fmla="*/ 240052 w 4519987"/>
                    <a:gd name="connsiteY71" fmla="*/ 3162300 h 4476750"/>
                    <a:gd name="connsiteX72" fmla="*/ 221002 w 4519987"/>
                    <a:gd name="connsiteY72" fmla="*/ 3105150 h 4476750"/>
                    <a:gd name="connsiteX73" fmla="*/ 173377 w 4519987"/>
                    <a:gd name="connsiteY73" fmla="*/ 3019425 h 4476750"/>
                    <a:gd name="connsiteX74" fmla="*/ 144802 w 4519987"/>
                    <a:gd name="connsiteY74" fmla="*/ 2924175 h 4476750"/>
                    <a:gd name="connsiteX75" fmla="*/ 68602 w 4519987"/>
                    <a:gd name="connsiteY75" fmla="*/ 2724150 h 4476750"/>
                    <a:gd name="connsiteX76" fmla="*/ 49552 w 4519987"/>
                    <a:gd name="connsiteY76" fmla="*/ 2638425 h 4476750"/>
                    <a:gd name="connsiteX77" fmla="*/ 40027 w 4519987"/>
                    <a:gd name="connsiteY77" fmla="*/ 2562225 h 4476750"/>
                    <a:gd name="connsiteX78" fmla="*/ 30502 w 4519987"/>
                    <a:gd name="connsiteY78" fmla="*/ 2514600 h 4476750"/>
                    <a:gd name="connsiteX79" fmla="*/ 11452 w 4519987"/>
                    <a:gd name="connsiteY79" fmla="*/ 2400300 h 4476750"/>
                    <a:gd name="connsiteX80" fmla="*/ 20977 w 4519987"/>
                    <a:gd name="connsiteY80" fmla="*/ 1905000 h 4476750"/>
                    <a:gd name="connsiteX81" fmla="*/ 30502 w 4519987"/>
                    <a:gd name="connsiteY81" fmla="*/ 1838325 h 4476750"/>
                    <a:gd name="connsiteX82" fmla="*/ 49552 w 4519987"/>
                    <a:gd name="connsiteY82" fmla="*/ 1781175 h 4476750"/>
                    <a:gd name="connsiteX83" fmla="*/ 59077 w 4519987"/>
                    <a:gd name="connsiteY83" fmla="*/ 1743075 h 4476750"/>
                    <a:gd name="connsiteX84" fmla="*/ 78127 w 4519987"/>
                    <a:gd name="connsiteY84" fmla="*/ 1685925 h 4476750"/>
                    <a:gd name="connsiteX85" fmla="*/ 87652 w 4519987"/>
                    <a:gd name="connsiteY85" fmla="*/ 1638300 h 4476750"/>
                    <a:gd name="connsiteX86" fmla="*/ 106702 w 4519987"/>
                    <a:gd name="connsiteY86" fmla="*/ 1590675 h 4476750"/>
                    <a:gd name="connsiteX87" fmla="*/ 135277 w 4519987"/>
                    <a:gd name="connsiteY87" fmla="*/ 1504950 h 4476750"/>
                    <a:gd name="connsiteX88" fmla="*/ 154327 w 4519987"/>
                    <a:gd name="connsiteY88" fmla="*/ 1419225 h 4476750"/>
                    <a:gd name="connsiteX89" fmla="*/ 230527 w 4519987"/>
                    <a:gd name="connsiteY89" fmla="*/ 1276350 h 4476750"/>
                    <a:gd name="connsiteX90" fmla="*/ 240052 w 4519987"/>
                    <a:gd name="connsiteY90" fmla="*/ 1247775 h 4476750"/>
                    <a:gd name="connsiteX91" fmla="*/ 268627 w 4519987"/>
                    <a:gd name="connsiteY91" fmla="*/ 1200150 h 4476750"/>
                    <a:gd name="connsiteX92" fmla="*/ 287677 w 4519987"/>
                    <a:gd name="connsiteY92" fmla="*/ 1152525 h 4476750"/>
                    <a:gd name="connsiteX93" fmla="*/ 316252 w 4519987"/>
                    <a:gd name="connsiteY93" fmla="*/ 1114425 h 4476750"/>
                    <a:gd name="connsiteX94" fmla="*/ 363877 w 4519987"/>
                    <a:gd name="connsiteY94" fmla="*/ 1038225 h 4476750"/>
                    <a:gd name="connsiteX95" fmla="*/ 382927 w 4519987"/>
                    <a:gd name="connsiteY95" fmla="*/ 1009650 h 4476750"/>
                    <a:gd name="connsiteX96" fmla="*/ 440077 w 4519987"/>
                    <a:gd name="connsiteY96" fmla="*/ 904875 h 4476750"/>
                    <a:gd name="connsiteX97" fmla="*/ 478177 w 4519987"/>
                    <a:gd name="connsiteY97" fmla="*/ 857250 h 4476750"/>
                    <a:gd name="connsiteX98" fmla="*/ 497227 w 4519987"/>
                    <a:gd name="connsiteY98" fmla="*/ 828675 h 4476750"/>
                    <a:gd name="connsiteX99" fmla="*/ 535327 w 4519987"/>
                    <a:gd name="connsiteY99" fmla="*/ 800100 h 4476750"/>
                    <a:gd name="connsiteX100" fmla="*/ 602002 w 4519987"/>
                    <a:gd name="connsiteY100" fmla="*/ 733425 h 4476750"/>
                    <a:gd name="connsiteX101" fmla="*/ 668677 w 4519987"/>
                    <a:gd name="connsiteY101" fmla="*/ 676275 h 4476750"/>
                    <a:gd name="connsiteX102" fmla="*/ 697252 w 4519987"/>
                    <a:gd name="connsiteY102" fmla="*/ 657225 h 4476750"/>
                    <a:gd name="connsiteX103" fmla="*/ 840127 w 4519987"/>
                    <a:gd name="connsiteY103" fmla="*/ 533400 h 4476750"/>
                    <a:gd name="connsiteX104" fmla="*/ 887752 w 4519987"/>
                    <a:gd name="connsiteY104" fmla="*/ 504825 h 4476750"/>
                    <a:gd name="connsiteX105" fmla="*/ 1167152 w 4519987"/>
                    <a:gd name="connsiteY105" fmla="*/ 311150 h 4476750"/>
                    <a:gd name="connsiteX106" fmla="*/ 1268752 w 4519987"/>
                    <a:gd name="connsiteY106" fmla="*/ 285750 h 4476750"/>
                    <a:gd name="connsiteX107" fmla="*/ 1411627 w 4519987"/>
                    <a:gd name="connsiteY107" fmla="*/ 190500 h 4476750"/>
                    <a:gd name="connsiteX108" fmla="*/ 1449727 w 4519987"/>
                    <a:gd name="connsiteY108" fmla="*/ 161925 h 4476750"/>
                    <a:gd name="connsiteX109" fmla="*/ 1525927 w 4519987"/>
                    <a:gd name="connsiteY109" fmla="*/ 152400 h 4476750"/>
                    <a:gd name="connsiteX110" fmla="*/ 1583077 w 4519987"/>
                    <a:gd name="connsiteY110" fmla="*/ 142875 h 4476750"/>
                    <a:gd name="connsiteX111" fmla="*/ 1716427 w 4519987"/>
                    <a:gd name="connsiteY111" fmla="*/ 123825 h 4476750"/>
                    <a:gd name="connsiteX112" fmla="*/ 1811677 w 4519987"/>
                    <a:gd name="connsiteY112" fmla="*/ 114300 h 4476750"/>
                    <a:gd name="connsiteX113" fmla="*/ 1859302 w 4519987"/>
                    <a:gd name="connsiteY113" fmla="*/ 104775 h 4476750"/>
                    <a:gd name="connsiteX114" fmla="*/ 1916452 w 4519987"/>
                    <a:gd name="connsiteY114" fmla="*/ 95250 h 4476750"/>
                    <a:gd name="connsiteX115" fmla="*/ 2030752 w 4519987"/>
                    <a:gd name="connsiteY115" fmla="*/ 66675 h 4476750"/>
                    <a:gd name="connsiteX116" fmla="*/ 2097427 w 4519987"/>
                    <a:gd name="connsiteY116" fmla="*/ 47625 h 4476750"/>
                    <a:gd name="connsiteX117" fmla="*/ 2164102 w 4519987"/>
                    <a:gd name="connsiteY117" fmla="*/ 38100 h 4476750"/>
                    <a:gd name="connsiteX118" fmla="*/ 2392702 w 4519987"/>
                    <a:gd name="connsiteY118" fmla="*/ 28575 h 4476750"/>
                    <a:gd name="connsiteX0" fmla="*/ 2297452 w 4519987"/>
                    <a:gd name="connsiteY0" fmla="*/ 0 h 4478541"/>
                    <a:gd name="connsiteX1" fmla="*/ 2421277 w 4519987"/>
                    <a:gd name="connsiteY1" fmla="*/ 28575 h 4478541"/>
                    <a:gd name="connsiteX2" fmla="*/ 2497477 w 4519987"/>
                    <a:gd name="connsiteY2" fmla="*/ 47625 h 4478541"/>
                    <a:gd name="connsiteX3" fmla="*/ 2754652 w 4519987"/>
                    <a:gd name="connsiteY3" fmla="*/ 66675 h 4478541"/>
                    <a:gd name="connsiteX4" fmla="*/ 2830852 w 4519987"/>
                    <a:gd name="connsiteY4" fmla="*/ 76200 h 4478541"/>
                    <a:gd name="connsiteX5" fmla="*/ 2916577 w 4519987"/>
                    <a:gd name="connsiteY5" fmla="*/ 85725 h 4478541"/>
                    <a:gd name="connsiteX6" fmla="*/ 2973727 w 4519987"/>
                    <a:gd name="connsiteY6" fmla="*/ 114300 h 4478541"/>
                    <a:gd name="connsiteX7" fmla="*/ 3011827 w 4519987"/>
                    <a:gd name="connsiteY7" fmla="*/ 123825 h 4478541"/>
                    <a:gd name="connsiteX8" fmla="*/ 3135652 w 4519987"/>
                    <a:gd name="connsiteY8" fmla="*/ 171450 h 4478541"/>
                    <a:gd name="connsiteX9" fmla="*/ 3173752 w 4519987"/>
                    <a:gd name="connsiteY9" fmla="*/ 190500 h 4478541"/>
                    <a:gd name="connsiteX10" fmla="*/ 3240427 w 4519987"/>
                    <a:gd name="connsiteY10" fmla="*/ 228600 h 4478541"/>
                    <a:gd name="connsiteX11" fmla="*/ 3269002 w 4519987"/>
                    <a:gd name="connsiteY11" fmla="*/ 238125 h 4478541"/>
                    <a:gd name="connsiteX12" fmla="*/ 3297577 w 4519987"/>
                    <a:gd name="connsiteY12" fmla="*/ 257175 h 4478541"/>
                    <a:gd name="connsiteX13" fmla="*/ 3326152 w 4519987"/>
                    <a:gd name="connsiteY13" fmla="*/ 266700 h 4478541"/>
                    <a:gd name="connsiteX14" fmla="*/ 3354727 w 4519987"/>
                    <a:gd name="connsiteY14" fmla="*/ 285750 h 4478541"/>
                    <a:gd name="connsiteX15" fmla="*/ 3421402 w 4519987"/>
                    <a:gd name="connsiteY15" fmla="*/ 323850 h 4478541"/>
                    <a:gd name="connsiteX16" fmla="*/ 3469027 w 4519987"/>
                    <a:gd name="connsiteY16" fmla="*/ 361950 h 4478541"/>
                    <a:gd name="connsiteX17" fmla="*/ 3516652 w 4519987"/>
                    <a:gd name="connsiteY17" fmla="*/ 390525 h 4478541"/>
                    <a:gd name="connsiteX18" fmla="*/ 3630952 w 4519987"/>
                    <a:gd name="connsiteY18" fmla="*/ 485775 h 4478541"/>
                    <a:gd name="connsiteX19" fmla="*/ 3745252 w 4519987"/>
                    <a:gd name="connsiteY19" fmla="*/ 542925 h 4478541"/>
                    <a:gd name="connsiteX20" fmla="*/ 3811927 w 4519987"/>
                    <a:gd name="connsiteY20" fmla="*/ 581025 h 4478541"/>
                    <a:gd name="connsiteX21" fmla="*/ 4027827 w 4519987"/>
                    <a:gd name="connsiteY21" fmla="*/ 819150 h 4478541"/>
                    <a:gd name="connsiteX22" fmla="*/ 4164352 w 4519987"/>
                    <a:gd name="connsiteY22" fmla="*/ 990600 h 4478541"/>
                    <a:gd name="connsiteX23" fmla="*/ 4250077 w 4519987"/>
                    <a:gd name="connsiteY23" fmla="*/ 1143000 h 4478541"/>
                    <a:gd name="connsiteX24" fmla="*/ 4307227 w 4519987"/>
                    <a:gd name="connsiteY24" fmla="*/ 1266825 h 4478541"/>
                    <a:gd name="connsiteX25" fmla="*/ 4345327 w 4519987"/>
                    <a:gd name="connsiteY25" fmla="*/ 1362075 h 4478541"/>
                    <a:gd name="connsiteX26" fmla="*/ 4392952 w 4519987"/>
                    <a:gd name="connsiteY26" fmla="*/ 1552575 h 4478541"/>
                    <a:gd name="connsiteX27" fmla="*/ 4431052 w 4519987"/>
                    <a:gd name="connsiteY27" fmla="*/ 1685925 h 4478541"/>
                    <a:gd name="connsiteX28" fmla="*/ 4519952 w 4519987"/>
                    <a:gd name="connsiteY28" fmla="*/ 2181225 h 4478541"/>
                    <a:gd name="connsiteX29" fmla="*/ 4446927 w 4519987"/>
                    <a:gd name="connsiteY29" fmla="*/ 2768600 h 4478541"/>
                    <a:gd name="connsiteX30" fmla="*/ 4383427 w 4519987"/>
                    <a:gd name="connsiteY30" fmla="*/ 2990850 h 4478541"/>
                    <a:gd name="connsiteX31" fmla="*/ 4278652 w 4519987"/>
                    <a:gd name="connsiteY31" fmla="*/ 3248025 h 4478541"/>
                    <a:gd name="connsiteX32" fmla="*/ 4183402 w 4519987"/>
                    <a:gd name="connsiteY32" fmla="*/ 3400425 h 4478541"/>
                    <a:gd name="connsiteX33" fmla="*/ 4059577 w 4519987"/>
                    <a:gd name="connsiteY33" fmla="*/ 3533775 h 4478541"/>
                    <a:gd name="connsiteX34" fmla="*/ 3954802 w 4519987"/>
                    <a:gd name="connsiteY34" fmla="*/ 3648075 h 4478541"/>
                    <a:gd name="connsiteX35" fmla="*/ 3659527 w 4519987"/>
                    <a:gd name="connsiteY35" fmla="*/ 3971925 h 4478541"/>
                    <a:gd name="connsiteX36" fmla="*/ 3516652 w 4519987"/>
                    <a:gd name="connsiteY36" fmla="*/ 4083050 h 4478541"/>
                    <a:gd name="connsiteX37" fmla="*/ 3221377 w 4519987"/>
                    <a:gd name="connsiteY37" fmla="*/ 4222750 h 4478541"/>
                    <a:gd name="connsiteX38" fmla="*/ 3068977 w 4519987"/>
                    <a:gd name="connsiteY38" fmla="*/ 4286250 h 4478541"/>
                    <a:gd name="connsiteX39" fmla="*/ 2935627 w 4519987"/>
                    <a:gd name="connsiteY39" fmla="*/ 4333875 h 4478541"/>
                    <a:gd name="connsiteX40" fmla="*/ 2811802 w 4519987"/>
                    <a:gd name="connsiteY40" fmla="*/ 4371975 h 4478541"/>
                    <a:gd name="connsiteX41" fmla="*/ 2745127 w 4519987"/>
                    <a:gd name="connsiteY41" fmla="*/ 4410075 h 4478541"/>
                    <a:gd name="connsiteX42" fmla="*/ 2306977 w 4519987"/>
                    <a:gd name="connsiteY42" fmla="*/ 4476750 h 4478541"/>
                    <a:gd name="connsiteX43" fmla="*/ 2202202 w 4519987"/>
                    <a:gd name="connsiteY43" fmla="*/ 4457700 h 4478541"/>
                    <a:gd name="connsiteX44" fmla="*/ 2126002 w 4519987"/>
                    <a:gd name="connsiteY44" fmla="*/ 4429125 h 4478541"/>
                    <a:gd name="connsiteX45" fmla="*/ 1935502 w 4519987"/>
                    <a:gd name="connsiteY45" fmla="*/ 4400550 h 4478541"/>
                    <a:gd name="connsiteX46" fmla="*/ 1821202 w 4519987"/>
                    <a:gd name="connsiteY46" fmla="*/ 4371975 h 4478541"/>
                    <a:gd name="connsiteX47" fmla="*/ 1754527 w 4519987"/>
                    <a:gd name="connsiteY47" fmla="*/ 4352925 h 4478541"/>
                    <a:gd name="connsiteX48" fmla="*/ 1687852 w 4519987"/>
                    <a:gd name="connsiteY48" fmla="*/ 4343400 h 4478541"/>
                    <a:gd name="connsiteX49" fmla="*/ 1573552 w 4519987"/>
                    <a:gd name="connsiteY49" fmla="*/ 4305300 h 4478541"/>
                    <a:gd name="connsiteX50" fmla="*/ 1402102 w 4519987"/>
                    <a:gd name="connsiteY50" fmla="*/ 4276725 h 4478541"/>
                    <a:gd name="connsiteX51" fmla="*/ 1287802 w 4519987"/>
                    <a:gd name="connsiteY51" fmla="*/ 4229100 h 4478541"/>
                    <a:gd name="connsiteX52" fmla="*/ 1221127 w 4519987"/>
                    <a:gd name="connsiteY52" fmla="*/ 4200525 h 4478541"/>
                    <a:gd name="connsiteX53" fmla="*/ 1144927 w 4519987"/>
                    <a:gd name="connsiteY53" fmla="*/ 4171950 h 4478541"/>
                    <a:gd name="connsiteX54" fmla="*/ 1087777 w 4519987"/>
                    <a:gd name="connsiteY54" fmla="*/ 4143375 h 4478541"/>
                    <a:gd name="connsiteX55" fmla="*/ 1030627 w 4519987"/>
                    <a:gd name="connsiteY55" fmla="*/ 4124325 h 4478541"/>
                    <a:gd name="connsiteX56" fmla="*/ 925852 w 4519987"/>
                    <a:gd name="connsiteY56" fmla="*/ 4067175 h 4478541"/>
                    <a:gd name="connsiteX57" fmla="*/ 830602 w 4519987"/>
                    <a:gd name="connsiteY57" fmla="*/ 3981450 h 4478541"/>
                    <a:gd name="connsiteX58" fmla="*/ 763927 w 4519987"/>
                    <a:gd name="connsiteY58" fmla="*/ 3914775 h 4478541"/>
                    <a:gd name="connsiteX59" fmla="*/ 725827 w 4519987"/>
                    <a:gd name="connsiteY59" fmla="*/ 3876675 h 4478541"/>
                    <a:gd name="connsiteX60" fmla="*/ 697252 w 4519987"/>
                    <a:gd name="connsiteY60" fmla="*/ 3838575 h 4478541"/>
                    <a:gd name="connsiteX61" fmla="*/ 640102 w 4519987"/>
                    <a:gd name="connsiteY61" fmla="*/ 3781425 h 4478541"/>
                    <a:gd name="connsiteX62" fmla="*/ 611527 w 4519987"/>
                    <a:gd name="connsiteY62" fmla="*/ 3733800 h 4478541"/>
                    <a:gd name="connsiteX63" fmla="*/ 554377 w 4519987"/>
                    <a:gd name="connsiteY63" fmla="*/ 3657600 h 4478541"/>
                    <a:gd name="connsiteX64" fmla="*/ 525802 w 4519987"/>
                    <a:gd name="connsiteY64" fmla="*/ 3609975 h 4478541"/>
                    <a:gd name="connsiteX65" fmla="*/ 497227 w 4519987"/>
                    <a:gd name="connsiteY65" fmla="*/ 3552825 h 4478541"/>
                    <a:gd name="connsiteX66" fmla="*/ 440077 w 4519987"/>
                    <a:gd name="connsiteY66" fmla="*/ 3495675 h 4478541"/>
                    <a:gd name="connsiteX67" fmla="*/ 411502 w 4519987"/>
                    <a:gd name="connsiteY67" fmla="*/ 3448050 h 4478541"/>
                    <a:gd name="connsiteX68" fmla="*/ 278152 w 4519987"/>
                    <a:gd name="connsiteY68" fmla="*/ 3257550 h 4478541"/>
                    <a:gd name="connsiteX69" fmla="*/ 249577 w 4519987"/>
                    <a:gd name="connsiteY69" fmla="*/ 3200400 h 4478541"/>
                    <a:gd name="connsiteX70" fmla="*/ 240052 w 4519987"/>
                    <a:gd name="connsiteY70" fmla="*/ 3162300 h 4478541"/>
                    <a:gd name="connsiteX71" fmla="*/ 221002 w 4519987"/>
                    <a:gd name="connsiteY71" fmla="*/ 3105150 h 4478541"/>
                    <a:gd name="connsiteX72" fmla="*/ 173377 w 4519987"/>
                    <a:gd name="connsiteY72" fmla="*/ 3019425 h 4478541"/>
                    <a:gd name="connsiteX73" fmla="*/ 144802 w 4519987"/>
                    <a:gd name="connsiteY73" fmla="*/ 2924175 h 4478541"/>
                    <a:gd name="connsiteX74" fmla="*/ 68602 w 4519987"/>
                    <a:gd name="connsiteY74" fmla="*/ 2724150 h 4478541"/>
                    <a:gd name="connsiteX75" fmla="*/ 49552 w 4519987"/>
                    <a:gd name="connsiteY75" fmla="*/ 2638425 h 4478541"/>
                    <a:gd name="connsiteX76" fmla="*/ 40027 w 4519987"/>
                    <a:gd name="connsiteY76" fmla="*/ 2562225 h 4478541"/>
                    <a:gd name="connsiteX77" fmla="*/ 30502 w 4519987"/>
                    <a:gd name="connsiteY77" fmla="*/ 2514600 h 4478541"/>
                    <a:gd name="connsiteX78" fmla="*/ 11452 w 4519987"/>
                    <a:gd name="connsiteY78" fmla="*/ 2400300 h 4478541"/>
                    <a:gd name="connsiteX79" fmla="*/ 20977 w 4519987"/>
                    <a:gd name="connsiteY79" fmla="*/ 1905000 h 4478541"/>
                    <a:gd name="connsiteX80" fmla="*/ 30502 w 4519987"/>
                    <a:gd name="connsiteY80" fmla="*/ 1838325 h 4478541"/>
                    <a:gd name="connsiteX81" fmla="*/ 49552 w 4519987"/>
                    <a:gd name="connsiteY81" fmla="*/ 1781175 h 4478541"/>
                    <a:gd name="connsiteX82" fmla="*/ 59077 w 4519987"/>
                    <a:gd name="connsiteY82" fmla="*/ 1743075 h 4478541"/>
                    <a:gd name="connsiteX83" fmla="*/ 78127 w 4519987"/>
                    <a:gd name="connsiteY83" fmla="*/ 1685925 h 4478541"/>
                    <a:gd name="connsiteX84" fmla="*/ 87652 w 4519987"/>
                    <a:gd name="connsiteY84" fmla="*/ 1638300 h 4478541"/>
                    <a:gd name="connsiteX85" fmla="*/ 106702 w 4519987"/>
                    <a:gd name="connsiteY85" fmla="*/ 1590675 h 4478541"/>
                    <a:gd name="connsiteX86" fmla="*/ 135277 w 4519987"/>
                    <a:gd name="connsiteY86" fmla="*/ 1504950 h 4478541"/>
                    <a:gd name="connsiteX87" fmla="*/ 154327 w 4519987"/>
                    <a:gd name="connsiteY87" fmla="*/ 1419225 h 4478541"/>
                    <a:gd name="connsiteX88" fmla="*/ 230527 w 4519987"/>
                    <a:gd name="connsiteY88" fmla="*/ 1276350 h 4478541"/>
                    <a:gd name="connsiteX89" fmla="*/ 240052 w 4519987"/>
                    <a:gd name="connsiteY89" fmla="*/ 1247775 h 4478541"/>
                    <a:gd name="connsiteX90" fmla="*/ 268627 w 4519987"/>
                    <a:gd name="connsiteY90" fmla="*/ 1200150 h 4478541"/>
                    <a:gd name="connsiteX91" fmla="*/ 287677 w 4519987"/>
                    <a:gd name="connsiteY91" fmla="*/ 1152525 h 4478541"/>
                    <a:gd name="connsiteX92" fmla="*/ 316252 w 4519987"/>
                    <a:gd name="connsiteY92" fmla="*/ 1114425 h 4478541"/>
                    <a:gd name="connsiteX93" fmla="*/ 363877 w 4519987"/>
                    <a:gd name="connsiteY93" fmla="*/ 1038225 h 4478541"/>
                    <a:gd name="connsiteX94" fmla="*/ 382927 w 4519987"/>
                    <a:gd name="connsiteY94" fmla="*/ 1009650 h 4478541"/>
                    <a:gd name="connsiteX95" fmla="*/ 440077 w 4519987"/>
                    <a:gd name="connsiteY95" fmla="*/ 904875 h 4478541"/>
                    <a:gd name="connsiteX96" fmla="*/ 478177 w 4519987"/>
                    <a:gd name="connsiteY96" fmla="*/ 857250 h 4478541"/>
                    <a:gd name="connsiteX97" fmla="*/ 497227 w 4519987"/>
                    <a:gd name="connsiteY97" fmla="*/ 828675 h 4478541"/>
                    <a:gd name="connsiteX98" fmla="*/ 535327 w 4519987"/>
                    <a:gd name="connsiteY98" fmla="*/ 800100 h 4478541"/>
                    <a:gd name="connsiteX99" fmla="*/ 602002 w 4519987"/>
                    <a:gd name="connsiteY99" fmla="*/ 733425 h 4478541"/>
                    <a:gd name="connsiteX100" fmla="*/ 668677 w 4519987"/>
                    <a:gd name="connsiteY100" fmla="*/ 676275 h 4478541"/>
                    <a:gd name="connsiteX101" fmla="*/ 697252 w 4519987"/>
                    <a:gd name="connsiteY101" fmla="*/ 657225 h 4478541"/>
                    <a:gd name="connsiteX102" fmla="*/ 840127 w 4519987"/>
                    <a:gd name="connsiteY102" fmla="*/ 533400 h 4478541"/>
                    <a:gd name="connsiteX103" fmla="*/ 887752 w 4519987"/>
                    <a:gd name="connsiteY103" fmla="*/ 504825 h 4478541"/>
                    <a:gd name="connsiteX104" fmla="*/ 1167152 w 4519987"/>
                    <a:gd name="connsiteY104" fmla="*/ 311150 h 4478541"/>
                    <a:gd name="connsiteX105" fmla="*/ 1268752 w 4519987"/>
                    <a:gd name="connsiteY105" fmla="*/ 285750 h 4478541"/>
                    <a:gd name="connsiteX106" fmla="*/ 1411627 w 4519987"/>
                    <a:gd name="connsiteY106" fmla="*/ 190500 h 4478541"/>
                    <a:gd name="connsiteX107" fmla="*/ 1449727 w 4519987"/>
                    <a:gd name="connsiteY107" fmla="*/ 161925 h 4478541"/>
                    <a:gd name="connsiteX108" fmla="*/ 1525927 w 4519987"/>
                    <a:gd name="connsiteY108" fmla="*/ 152400 h 4478541"/>
                    <a:gd name="connsiteX109" fmla="*/ 1583077 w 4519987"/>
                    <a:gd name="connsiteY109" fmla="*/ 142875 h 4478541"/>
                    <a:gd name="connsiteX110" fmla="*/ 1716427 w 4519987"/>
                    <a:gd name="connsiteY110" fmla="*/ 123825 h 4478541"/>
                    <a:gd name="connsiteX111" fmla="*/ 1811677 w 4519987"/>
                    <a:gd name="connsiteY111" fmla="*/ 114300 h 4478541"/>
                    <a:gd name="connsiteX112" fmla="*/ 1859302 w 4519987"/>
                    <a:gd name="connsiteY112" fmla="*/ 104775 h 4478541"/>
                    <a:gd name="connsiteX113" fmla="*/ 1916452 w 4519987"/>
                    <a:gd name="connsiteY113" fmla="*/ 95250 h 4478541"/>
                    <a:gd name="connsiteX114" fmla="*/ 2030752 w 4519987"/>
                    <a:gd name="connsiteY114" fmla="*/ 66675 h 4478541"/>
                    <a:gd name="connsiteX115" fmla="*/ 2097427 w 4519987"/>
                    <a:gd name="connsiteY115" fmla="*/ 47625 h 4478541"/>
                    <a:gd name="connsiteX116" fmla="*/ 2164102 w 4519987"/>
                    <a:gd name="connsiteY116" fmla="*/ 38100 h 4478541"/>
                    <a:gd name="connsiteX117" fmla="*/ 2392702 w 4519987"/>
                    <a:gd name="connsiteY117" fmla="*/ 28575 h 4478541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580027 w 4519987"/>
                    <a:gd name="connsiteY41" fmla="*/ 4391025 h 4476750"/>
                    <a:gd name="connsiteX42" fmla="*/ 2306977 w 4519987"/>
                    <a:gd name="connsiteY42" fmla="*/ 4476750 h 4476750"/>
                    <a:gd name="connsiteX43" fmla="*/ 2202202 w 4519987"/>
                    <a:gd name="connsiteY43" fmla="*/ 4457700 h 4476750"/>
                    <a:gd name="connsiteX44" fmla="*/ 2126002 w 4519987"/>
                    <a:gd name="connsiteY44" fmla="*/ 4429125 h 4476750"/>
                    <a:gd name="connsiteX45" fmla="*/ 1935502 w 4519987"/>
                    <a:gd name="connsiteY45" fmla="*/ 4400550 h 4476750"/>
                    <a:gd name="connsiteX46" fmla="*/ 1821202 w 4519987"/>
                    <a:gd name="connsiteY46" fmla="*/ 4371975 h 4476750"/>
                    <a:gd name="connsiteX47" fmla="*/ 1754527 w 4519987"/>
                    <a:gd name="connsiteY47" fmla="*/ 4352925 h 4476750"/>
                    <a:gd name="connsiteX48" fmla="*/ 1687852 w 4519987"/>
                    <a:gd name="connsiteY48" fmla="*/ 4343400 h 4476750"/>
                    <a:gd name="connsiteX49" fmla="*/ 1573552 w 4519987"/>
                    <a:gd name="connsiteY49" fmla="*/ 4305300 h 4476750"/>
                    <a:gd name="connsiteX50" fmla="*/ 1402102 w 4519987"/>
                    <a:gd name="connsiteY50" fmla="*/ 4276725 h 4476750"/>
                    <a:gd name="connsiteX51" fmla="*/ 1287802 w 4519987"/>
                    <a:gd name="connsiteY51" fmla="*/ 4229100 h 4476750"/>
                    <a:gd name="connsiteX52" fmla="*/ 1221127 w 4519987"/>
                    <a:gd name="connsiteY52" fmla="*/ 4200525 h 4476750"/>
                    <a:gd name="connsiteX53" fmla="*/ 1144927 w 4519987"/>
                    <a:gd name="connsiteY53" fmla="*/ 4171950 h 4476750"/>
                    <a:gd name="connsiteX54" fmla="*/ 1087777 w 4519987"/>
                    <a:gd name="connsiteY54" fmla="*/ 4143375 h 4476750"/>
                    <a:gd name="connsiteX55" fmla="*/ 1030627 w 4519987"/>
                    <a:gd name="connsiteY55" fmla="*/ 4124325 h 4476750"/>
                    <a:gd name="connsiteX56" fmla="*/ 925852 w 4519987"/>
                    <a:gd name="connsiteY56" fmla="*/ 4067175 h 4476750"/>
                    <a:gd name="connsiteX57" fmla="*/ 830602 w 4519987"/>
                    <a:gd name="connsiteY57" fmla="*/ 3981450 h 4476750"/>
                    <a:gd name="connsiteX58" fmla="*/ 763927 w 4519987"/>
                    <a:gd name="connsiteY58" fmla="*/ 3914775 h 4476750"/>
                    <a:gd name="connsiteX59" fmla="*/ 725827 w 4519987"/>
                    <a:gd name="connsiteY59" fmla="*/ 3876675 h 4476750"/>
                    <a:gd name="connsiteX60" fmla="*/ 697252 w 4519987"/>
                    <a:gd name="connsiteY60" fmla="*/ 3838575 h 4476750"/>
                    <a:gd name="connsiteX61" fmla="*/ 640102 w 4519987"/>
                    <a:gd name="connsiteY61" fmla="*/ 3781425 h 4476750"/>
                    <a:gd name="connsiteX62" fmla="*/ 611527 w 4519987"/>
                    <a:gd name="connsiteY62" fmla="*/ 3733800 h 4476750"/>
                    <a:gd name="connsiteX63" fmla="*/ 554377 w 4519987"/>
                    <a:gd name="connsiteY63" fmla="*/ 3657600 h 4476750"/>
                    <a:gd name="connsiteX64" fmla="*/ 525802 w 4519987"/>
                    <a:gd name="connsiteY64" fmla="*/ 3609975 h 4476750"/>
                    <a:gd name="connsiteX65" fmla="*/ 497227 w 4519987"/>
                    <a:gd name="connsiteY65" fmla="*/ 3552825 h 4476750"/>
                    <a:gd name="connsiteX66" fmla="*/ 440077 w 4519987"/>
                    <a:gd name="connsiteY66" fmla="*/ 3495675 h 4476750"/>
                    <a:gd name="connsiteX67" fmla="*/ 411502 w 4519987"/>
                    <a:gd name="connsiteY67" fmla="*/ 3448050 h 4476750"/>
                    <a:gd name="connsiteX68" fmla="*/ 278152 w 4519987"/>
                    <a:gd name="connsiteY68" fmla="*/ 3257550 h 4476750"/>
                    <a:gd name="connsiteX69" fmla="*/ 249577 w 4519987"/>
                    <a:gd name="connsiteY69" fmla="*/ 3200400 h 4476750"/>
                    <a:gd name="connsiteX70" fmla="*/ 240052 w 4519987"/>
                    <a:gd name="connsiteY70" fmla="*/ 3162300 h 4476750"/>
                    <a:gd name="connsiteX71" fmla="*/ 221002 w 4519987"/>
                    <a:gd name="connsiteY71" fmla="*/ 3105150 h 4476750"/>
                    <a:gd name="connsiteX72" fmla="*/ 173377 w 4519987"/>
                    <a:gd name="connsiteY72" fmla="*/ 3019425 h 4476750"/>
                    <a:gd name="connsiteX73" fmla="*/ 144802 w 4519987"/>
                    <a:gd name="connsiteY73" fmla="*/ 2924175 h 4476750"/>
                    <a:gd name="connsiteX74" fmla="*/ 68602 w 4519987"/>
                    <a:gd name="connsiteY74" fmla="*/ 2724150 h 4476750"/>
                    <a:gd name="connsiteX75" fmla="*/ 49552 w 4519987"/>
                    <a:gd name="connsiteY75" fmla="*/ 2638425 h 4476750"/>
                    <a:gd name="connsiteX76" fmla="*/ 40027 w 4519987"/>
                    <a:gd name="connsiteY76" fmla="*/ 2562225 h 4476750"/>
                    <a:gd name="connsiteX77" fmla="*/ 30502 w 4519987"/>
                    <a:gd name="connsiteY77" fmla="*/ 2514600 h 4476750"/>
                    <a:gd name="connsiteX78" fmla="*/ 11452 w 4519987"/>
                    <a:gd name="connsiteY78" fmla="*/ 2400300 h 4476750"/>
                    <a:gd name="connsiteX79" fmla="*/ 20977 w 4519987"/>
                    <a:gd name="connsiteY79" fmla="*/ 1905000 h 4476750"/>
                    <a:gd name="connsiteX80" fmla="*/ 30502 w 4519987"/>
                    <a:gd name="connsiteY80" fmla="*/ 1838325 h 4476750"/>
                    <a:gd name="connsiteX81" fmla="*/ 49552 w 4519987"/>
                    <a:gd name="connsiteY81" fmla="*/ 1781175 h 4476750"/>
                    <a:gd name="connsiteX82" fmla="*/ 59077 w 4519987"/>
                    <a:gd name="connsiteY82" fmla="*/ 1743075 h 4476750"/>
                    <a:gd name="connsiteX83" fmla="*/ 78127 w 4519987"/>
                    <a:gd name="connsiteY83" fmla="*/ 1685925 h 4476750"/>
                    <a:gd name="connsiteX84" fmla="*/ 87652 w 4519987"/>
                    <a:gd name="connsiteY84" fmla="*/ 1638300 h 4476750"/>
                    <a:gd name="connsiteX85" fmla="*/ 106702 w 4519987"/>
                    <a:gd name="connsiteY85" fmla="*/ 1590675 h 4476750"/>
                    <a:gd name="connsiteX86" fmla="*/ 135277 w 4519987"/>
                    <a:gd name="connsiteY86" fmla="*/ 1504950 h 4476750"/>
                    <a:gd name="connsiteX87" fmla="*/ 154327 w 4519987"/>
                    <a:gd name="connsiteY87" fmla="*/ 1419225 h 4476750"/>
                    <a:gd name="connsiteX88" fmla="*/ 230527 w 4519987"/>
                    <a:gd name="connsiteY88" fmla="*/ 1276350 h 4476750"/>
                    <a:gd name="connsiteX89" fmla="*/ 240052 w 4519987"/>
                    <a:gd name="connsiteY89" fmla="*/ 1247775 h 4476750"/>
                    <a:gd name="connsiteX90" fmla="*/ 268627 w 4519987"/>
                    <a:gd name="connsiteY90" fmla="*/ 1200150 h 4476750"/>
                    <a:gd name="connsiteX91" fmla="*/ 287677 w 4519987"/>
                    <a:gd name="connsiteY91" fmla="*/ 1152525 h 4476750"/>
                    <a:gd name="connsiteX92" fmla="*/ 316252 w 4519987"/>
                    <a:gd name="connsiteY92" fmla="*/ 1114425 h 4476750"/>
                    <a:gd name="connsiteX93" fmla="*/ 363877 w 4519987"/>
                    <a:gd name="connsiteY93" fmla="*/ 1038225 h 4476750"/>
                    <a:gd name="connsiteX94" fmla="*/ 382927 w 4519987"/>
                    <a:gd name="connsiteY94" fmla="*/ 1009650 h 4476750"/>
                    <a:gd name="connsiteX95" fmla="*/ 440077 w 4519987"/>
                    <a:gd name="connsiteY95" fmla="*/ 904875 h 4476750"/>
                    <a:gd name="connsiteX96" fmla="*/ 478177 w 4519987"/>
                    <a:gd name="connsiteY96" fmla="*/ 857250 h 4476750"/>
                    <a:gd name="connsiteX97" fmla="*/ 497227 w 4519987"/>
                    <a:gd name="connsiteY97" fmla="*/ 828675 h 4476750"/>
                    <a:gd name="connsiteX98" fmla="*/ 535327 w 4519987"/>
                    <a:gd name="connsiteY98" fmla="*/ 800100 h 4476750"/>
                    <a:gd name="connsiteX99" fmla="*/ 602002 w 4519987"/>
                    <a:gd name="connsiteY99" fmla="*/ 733425 h 4476750"/>
                    <a:gd name="connsiteX100" fmla="*/ 668677 w 4519987"/>
                    <a:gd name="connsiteY100" fmla="*/ 676275 h 4476750"/>
                    <a:gd name="connsiteX101" fmla="*/ 697252 w 4519987"/>
                    <a:gd name="connsiteY101" fmla="*/ 657225 h 4476750"/>
                    <a:gd name="connsiteX102" fmla="*/ 840127 w 4519987"/>
                    <a:gd name="connsiteY102" fmla="*/ 533400 h 4476750"/>
                    <a:gd name="connsiteX103" fmla="*/ 887752 w 4519987"/>
                    <a:gd name="connsiteY103" fmla="*/ 504825 h 4476750"/>
                    <a:gd name="connsiteX104" fmla="*/ 1167152 w 4519987"/>
                    <a:gd name="connsiteY104" fmla="*/ 311150 h 4476750"/>
                    <a:gd name="connsiteX105" fmla="*/ 1268752 w 4519987"/>
                    <a:gd name="connsiteY105" fmla="*/ 285750 h 4476750"/>
                    <a:gd name="connsiteX106" fmla="*/ 1411627 w 4519987"/>
                    <a:gd name="connsiteY106" fmla="*/ 190500 h 4476750"/>
                    <a:gd name="connsiteX107" fmla="*/ 1449727 w 4519987"/>
                    <a:gd name="connsiteY107" fmla="*/ 161925 h 4476750"/>
                    <a:gd name="connsiteX108" fmla="*/ 1525927 w 4519987"/>
                    <a:gd name="connsiteY108" fmla="*/ 152400 h 4476750"/>
                    <a:gd name="connsiteX109" fmla="*/ 1583077 w 4519987"/>
                    <a:gd name="connsiteY109" fmla="*/ 142875 h 4476750"/>
                    <a:gd name="connsiteX110" fmla="*/ 1716427 w 4519987"/>
                    <a:gd name="connsiteY110" fmla="*/ 123825 h 4476750"/>
                    <a:gd name="connsiteX111" fmla="*/ 1811677 w 4519987"/>
                    <a:gd name="connsiteY111" fmla="*/ 114300 h 4476750"/>
                    <a:gd name="connsiteX112" fmla="*/ 1859302 w 4519987"/>
                    <a:gd name="connsiteY112" fmla="*/ 104775 h 4476750"/>
                    <a:gd name="connsiteX113" fmla="*/ 1916452 w 4519987"/>
                    <a:gd name="connsiteY113" fmla="*/ 95250 h 4476750"/>
                    <a:gd name="connsiteX114" fmla="*/ 2030752 w 4519987"/>
                    <a:gd name="connsiteY114" fmla="*/ 66675 h 4476750"/>
                    <a:gd name="connsiteX115" fmla="*/ 2097427 w 4519987"/>
                    <a:gd name="connsiteY115" fmla="*/ 47625 h 4476750"/>
                    <a:gd name="connsiteX116" fmla="*/ 2164102 w 4519987"/>
                    <a:gd name="connsiteY116" fmla="*/ 38100 h 4476750"/>
                    <a:gd name="connsiteX117" fmla="*/ 2392702 w 4519987"/>
                    <a:gd name="connsiteY117" fmla="*/ 28575 h 4476750"/>
                    <a:gd name="connsiteX0" fmla="*/ 2297452 w 4519987"/>
                    <a:gd name="connsiteY0" fmla="*/ 0 h 4457700"/>
                    <a:gd name="connsiteX1" fmla="*/ 2421277 w 4519987"/>
                    <a:gd name="connsiteY1" fmla="*/ 28575 h 4457700"/>
                    <a:gd name="connsiteX2" fmla="*/ 2497477 w 4519987"/>
                    <a:gd name="connsiteY2" fmla="*/ 47625 h 4457700"/>
                    <a:gd name="connsiteX3" fmla="*/ 2754652 w 4519987"/>
                    <a:gd name="connsiteY3" fmla="*/ 66675 h 4457700"/>
                    <a:gd name="connsiteX4" fmla="*/ 2830852 w 4519987"/>
                    <a:gd name="connsiteY4" fmla="*/ 76200 h 4457700"/>
                    <a:gd name="connsiteX5" fmla="*/ 2916577 w 4519987"/>
                    <a:gd name="connsiteY5" fmla="*/ 85725 h 4457700"/>
                    <a:gd name="connsiteX6" fmla="*/ 2973727 w 4519987"/>
                    <a:gd name="connsiteY6" fmla="*/ 114300 h 4457700"/>
                    <a:gd name="connsiteX7" fmla="*/ 3011827 w 4519987"/>
                    <a:gd name="connsiteY7" fmla="*/ 123825 h 4457700"/>
                    <a:gd name="connsiteX8" fmla="*/ 3135652 w 4519987"/>
                    <a:gd name="connsiteY8" fmla="*/ 171450 h 4457700"/>
                    <a:gd name="connsiteX9" fmla="*/ 3173752 w 4519987"/>
                    <a:gd name="connsiteY9" fmla="*/ 190500 h 4457700"/>
                    <a:gd name="connsiteX10" fmla="*/ 3240427 w 4519987"/>
                    <a:gd name="connsiteY10" fmla="*/ 228600 h 4457700"/>
                    <a:gd name="connsiteX11" fmla="*/ 3269002 w 4519987"/>
                    <a:gd name="connsiteY11" fmla="*/ 238125 h 4457700"/>
                    <a:gd name="connsiteX12" fmla="*/ 3297577 w 4519987"/>
                    <a:gd name="connsiteY12" fmla="*/ 257175 h 4457700"/>
                    <a:gd name="connsiteX13" fmla="*/ 3326152 w 4519987"/>
                    <a:gd name="connsiteY13" fmla="*/ 266700 h 4457700"/>
                    <a:gd name="connsiteX14" fmla="*/ 3354727 w 4519987"/>
                    <a:gd name="connsiteY14" fmla="*/ 285750 h 4457700"/>
                    <a:gd name="connsiteX15" fmla="*/ 3421402 w 4519987"/>
                    <a:gd name="connsiteY15" fmla="*/ 323850 h 4457700"/>
                    <a:gd name="connsiteX16" fmla="*/ 3469027 w 4519987"/>
                    <a:gd name="connsiteY16" fmla="*/ 361950 h 4457700"/>
                    <a:gd name="connsiteX17" fmla="*/ 3516652 w 4519987"/>
                    <a:gd name="connsiteY17" fmla="*/ 390525 h 4457700"/>
                    <a:gd name="connsiteX18" fmla="*/ 3630952 w 4519987"/>
                    <a:gd name="connsiteY18" fmla="*/ 485775 h 4457700"/>
                    <a:gd name="connsiteX19" fmla="*/ 3745252 w 4519987"/>
                    <a:gd name="connsiteY19" fmla="*/ 542925 h 4457700"/>
                    <a:gd name="connsiteX20" fmla="*/ 3811927 w 4519987"/>
                    <a:gd name="connsiteY20" fmla="*/ 581025 h 4457700"/>
                    <a:gd name="connsiteX21" fmla="*/ 4027827 w 4519987"/>
                    <a:gd name="connsiteY21" fmla="*/ 819150 h 4457700"/>
                    <a:gd name="connsiteX22" fmla="*/ 4164352 w 4519987"/>
                    <a:gd name="connsiteY22" fmla="*/ 990600 h 4457700"/>
                    <a:gd name="connsiteX23" fmla="*/ 4250077 w 4519987"/>
                    <a:gd name="connsiteY23" fmla="*/ 1143000 h 4457700"/>
                    <a:gd name="connsiteX24" fmla="*/ 4307227 w 4519987"/>
                    <a:gd name="connsiteY24" fmla="*/ 1266825 h 4457700"/>
                    <a:gd name="connsiteX25" fmla="*/ 4345327 w 4519987"/>
                    <a:gd name="connsiteY25" fmla="*/ 1362075 h 4457700"/>
                    <a:gd name="connsiteX26" fmla="*/ 4392952 w 4519987"/>
                    <a:gd name="connsiteY26" fmla="*/ 1552575 h 4457700"/>
                    <a:gd name="connsiteX27" fmla="*/ 4431052 w 4519987"/>
                    <a:gd name="connsiteY27" fmla="*/ 1685925 h 4457700"/>
                    <a:gd name="connsiteX28" fmla="*/ 4519952 w 4519987"/>
                    <a:gd name="connsiteY28" fmla="*/ 2181225 h 4457700"/>
                    <a:gd name="connsiteX29" fmla="*/ 4446927 w 4519987"/>
                    <a:gd name="connsiteY29" fmla="*/ 2768600 h 4457700"/>
                    <a:gd name="connsiteX30" fmla="*/ 4383427 w 4519987"/>
                    <a:gd name="connsiteY30" fmla="*/ 2990850 h 4457700"/>
                    <a:gd name="connsiteX31" fmla="*/ 4278652 w 4519987"/>
                    <a:gd name="connsiteY31" fmla="*/ 3248025 h 4457700"/>
                    <a:gd name="connsiteX32" fmla="*/ 4183402 w 4519987"/>
                    <a:gd name="connsiteY32" fmla="*/ 3400425 h 4457700"/>
                    <a:gd name="connsiteX33" fmla="*/ 4059577 w 4519987"/>
                    <a:gd name="connsiteY33" fmla="*/ 3533775 h 4457700"/>
                    <a:gd name="connsiteX34" fmla="*/ 3954802 w 4519987"/>
                    <a:gd name="connsiteY34" fmla="*/ 3648075 h 4457700"/>
                    <a:gd name="connsiteX35" fmla="*/ 3659527 w 4519987"/>
                    <a:gd name="connsiteY35" fmla="*/ 3971925 h 4457700"/>
                    <a:gd name="connsiteX36" fmla="*/ 3516652 w 4519987"/>
                    <a:gd name="connsiteY36" fmla="*/ 4083050 h 4457700"/>
                    <a:gd name="connsiteX37" fmla="*/ 3221377 w 4519987"/>
                    <a:gd name="connsiteY37" fmla="*/ 4222750 h 4457700"/>
                    <a:gd name="connsiteX38" fmla="*/ 3068977 w 4519987"/>
                    <a:gd name="connsiteY38" fmla="*/ 4286250 h 4457700"/>
                    <a:gd name="connsiteX39" fmla="*/ 2935627 w 4519987"/>
                    <a:gd name="connsiteY39" fmla="*/ 4333875 h 4457700"/>
                    <a:gd name="connsiteX40" fmla="*/ 2811802 w 4519987"/>
                    <a:gd name="connsiteY40" fmla="*/ 4371975 h 4457700"/>
                    <a:gd name="connsiteX41" fmla="*/ 2580027 w 4519987"/>
                    <a:gd name="connsiteY41" fmla="*/ 4391025 h 4457700"/>
                    <a:gd name="connsiteX42" fmla="*/ 2202202 w 4519987"/>
                    <a:gd name="connsiteY42" fmla="*/ 4457700 h 4457700"/>
                    <a:gd name="connsiteX43" fmla="*/ 2126002 w 4519987"/>
                    <a:gd name="connsiteY43" fmla="*/ 4429125 h 4457700"/>
                    <a:gd name="connsiteX44" fmla="*/ 1935502 w 4519987"/>
                    <a:gd name="connsiteY44" fmla="*/ 4400550 h 4457700"/>
                    <a:gd name="connsiteX45" fmla="*/ 1821202 w 4519987"/>
                    <a:gd name="connsiteY45" fmla="*/ 4371975 h 4457700"/>
                    <a:gd name="connsiteX46" fmla="*/ 1754527 w 4519987"/>
                    <a:gd name="connsiteY46" fmla="*/ 4352925 h 4457700"/>
                    <a:gd name="connsiteX47" fmla="*/ 1687852 w 4519987"/>
                    <a:gd name="connsiteY47" fmla="*/ 4343400 h 4457700"/>
                    <a:gd name="connsiteX48" fmla="*/ 1573552 w 4519987"/>
                    <a:gd name="connsiteY48" fmla="*/ 4305300 h 4457700"/>
                    <a:gd name="connsiteX49" fmla="*/ 1402102 w 4519987"/>
                    <a:gd name="connsiteY49" fmla="*/ 4276725 h 4457700"/>
                    <a:gd name="connsiteX50" fmla="*/ 1287802 w 4519987"/>
                    <a:gd name="connsiteY50" fmla="*/ 4229100 h 4457700"/>
                    <a:gd name="connsiteX51" fmla="*/ 1221127 w 4519987"/>
                    <a:gd name="connsiteY51" fmla="*/ 4200525 h 4457700"/>
                    <a:gd name="connsiteX52" fmla="*/ 1144927 w 4519987"/>
                    <a:gd name="connsiteY52" fmla="*/ 4171950 h 4457700"/>
                    <a:gd name="connsiteX53" fmla="*/ 1087777 w 4519987"/>
                    <a:gd name="connsiteY53" fmla="*/ 4143375 h 4457700"/>
                    <a:gd name="connsiteX54" fmla="*/ 1030627 w 4519987"/>
                    <a:gd name="connsiteY54" fmla="*/ 4124325 h 4457700"/>
                    <a:gd name="connsiteX55" fmla="*/ 925852 w 4519987"/>
                    <a:gd name="connsiteY55" fmla="*/ 4067175 h 4457700"/>
                    <a:gd name="connsiteX56" fmla="*/ 830602 w 4519987"/>
                    <a:gd name="connsiteY56" fmla="*/ 3981450 h 4457700"/>
                    <a:gd name="connsiteX57" fmla="*/ 763927 w 4519987"/>
                    <a:gd name="connsiteY57" fmla="*/ 3914775 h 4457700"/>
                    <a:gd name="connsiteX58" fmla="*/ 725827 w 4519987"/>
                    <a:gd name="connsiteY58" fmla="*/ 3876675 h 4457700"/>
                    <a:gd name="connsiteX59" fmla="*/ 697252 w 4519987"/>
                    <a:gd name="connsiteY59" fmla="*/ 3838575 h 4457700"/>
                    <a:gd name="connsiteX60" fmla="*/ 640102 w 4519987"/>
                    <a:gd name="connsiteY60" fmla="*/ 3781425 h 4457700"/>
                    <a:gd name="connsiteX61" fmla="*/ 611527 w 4519987"/>
                    <a:gd name="connsiteY61" fmla="*/ 3733800 h 4457700"/>
                    <a:gd name="connsiteX62" fmla="*/ 554377 w 4519987"/>
                    <a:gd name="connsiteY62" fmla="*/ 3657600 h 4457700"/>
                    <a:gd name="connsiteX63" fmla="*/ 525802 w 4519987"/>
                    <a:gd name="connsiteY63" fmla="*/ 3609975 h 4457700"/>
                    <a:gd name="connsiteX64" fmla="*/ 497227 w 4519987"/>
                    <a:gd name="connsiteY64" fmla="*/ 3552825 h 4457700"/>
                    <a:gd name="connsiteX65" fmla="*/ 440077 w 4519987"/>
                    <a:gd name="connsiteY65" fmla="*/ 3495675 h 4457700"/>
                    <a:gd name="connsiteX66" fmla="*/ 411502 w 4519987"/>
                    <a:gd name="connsiteY66" fmla="*/ 3448050 h 4457700"/>
                    <a:gd name="connsiteX67" fmla="*/ 278152 w 4519987"/>
                    <a:gd name="connsiteY67" fmla="*/ 3257550 h 4457700"/>
                    <a:gd name="connsiteX68" fmla="*/ 249577 w 4519987"/>
                    <a:gd name="connsiteY68" fmla="*/ 3200400 h 4457700"/>
                    <a:gd name="connsiteX69" fmla="*/ 240052 w 4519987"/>
                    <a:gd name="connsiteY69" fmla="*/ 3162300 h 4457700"/>
                    <a:gd name="connsiteX70" fmla="*/ 221002 w 4519987"/>
                    <a:gd name="connsiteY70" fmla="*/ 3105150 h 4457700"/>
                    <a:gd name="connsiteX71" fmla="*/ 173377 w 4519987"/>
                    <a:gd name="connsiteY71" fmla="*/ 3019425 h 4457700"/>
                    <a:gd name="connsiteX72" fmla="*/ 144802 w 4519987"/>
                    <a:gd name="connsiteY72" fmla="*/ 2924175 h 4457700"/>
                    <a:gd name="connsiteX73" fmla="*/ 68602 w 4519987"/>
                    <a:gd name="connsiteY73" fmla="*/ 2724150 h 4457700"/>
                    <a:gd name="connsiteX74" fmla="*/ 49552 w 4519987"/>
                    <a:gd name="connsiteY74" fmla="*/ 2638425 h 4457700"/>
                    <a:gd name="connsiteX75" fmla="*/ 40027 w 4519987"/>
                    <a:gd name="connsiteY75" fmla="*/ 2562225 h 4457700"/>
                    <a:gd name="connsiteX76" fmla="*/ 30502 w 4519987"/>
                    <a:gd name="connsiteY76" fmla="*/ 2514600 h 4457700"/>
                    <a:gd name="connsiteX77" fmla="*/ 11452 w 4519987"/>
                    <a:gd name="connsiteY77" fmla="*/ 2400300 h 4457700"/>
                    <a:gd name="connsiteX78" fmla="*/ 20977 w 4519987"/>
                    <a:gd name="connsiteY78" fmla="*/ 1905000 h 4457700"/>
                    <a:gd name="connsiteX79" fmla="*/ 30502 w 4519987"/>
                    <a:gd name="connsiteY79" fmla="*/ 1838325 h 4457700"/>
                    <a:gd name="connsiteX80" fmla="*/ 49552 w 4519987"/>
                    <a:gd name="connsiteY80" fmla="*/ 1781175 h 4457700"/>
                    <a:gd name="connsiteX81" fmla="*/ 59077 w 4519987"/>
                    <a:gd name="connsiteY81" fmla="*/ 1743075 h 4457700"/>
                    <a:gd name="connsiteX82" fmla="*/ 78127 w 4519987"/>
                    <a:gd name="connsiteY82" fmla="*/ 1685925 h 4457700"/>
                    <a:gd name="connsiteX83" fmla="*/ 87652 w 4519987"/>
                    <a:gd name="connsiteY83" fmla="*/ 1638300 h 4457700"/>
                    <a:gd name="connsiteX84" fmla="*/ 106702 w 4519987"/>
                    <a:gd name="connsiteY84" fmla="*/ 1590675 h 4457700"/>
                    <a:gd name="connsiteX85" fmla="*/ 135277 w 4519987"/>
                    <a:gd name="connsiteY85" fmla="*/ 1504950 h 4457700"/>
                    <a:gd name="connsiteX86" fmla="*/ 154327 w 4519987"/>
                    <a:gd name="connsiteY86" fmla="*/ 1419225 h 4457700"/>
                    <a:gd name="connsiteX87" fmla="*/ 230527 w 4519987"/>
                    <a:gd name="connsiteY87" fmla="*/ 1276350 h 4457700"/>
                    <a:gd name="connsiteX88" fmla="*/ 240052 w 4519987"/>
                    <a:gd name="connsiteY88" fmla="*/ 1247775 h 4457700"/>
                    <a:gd name="connsiteX89" fmla="*/ 268627 w 4519987"/>
                    <a:gd name="connsiteY89" fmla="*/ 1200150 h 4457700"/>
                    <a:gd name="connsiteX90" fmla="*/ 287677 w 4519987"/>
                    <a:gd name="connsiteY90" fmla="*/ 1152525 h 4457700"/>
                    <a:gd name="connsiteX91" fmla="*/ 316252 w 4519987"/>
                    <a:gd name="connsiteY91" fmla="*/ 1114425 h 4457700"/>
                    <a:gd name="connsiteX92" fmla="*/ 363877 w 4519987"/>
                    <a:gd name="connsiteY92" fmla="*/ 1038225 h 4457700"/>
                    <a:gd name="connsiteX93" fmla="*/ 382927 w 4519987"/>
                    <a:gd name="connsiteY93" fmla="*/ 1009650 h 4457700"/>
                    <a:gd name="connsiteX94" fmla="*/ 440077 w 4519987"/>
                    <a:gd name="connsiteY94" fmla="*/ 904875 h 4457700"/>
                    <a:gd name="connsiteX95" fmla="*/ 478177 w 4519987"/>
                    <a:gd name="connsiteY95" fmla="*/ 857250 h 4457700"/>
                    <a:gd name="connsiteX96" fmla="*/ 497227 w 4519987"/>
                    <a:gd name="connsiteY96" fmla="*/ 828675 h 4457700"/>
                    <a:gd name="connsiteX97" fmla="*/ 535327 w 4519987"/>
                    <a:gd name="connsiteY97" fmla="*/ 800100 h 4457700"/>
                    <a:gd name="connsiteX98" fmla="*/ 602002 w 4519987"/>
                    <a:gd name="connsiteY98" fmla="*/ 733425 h 4457700"/>
                    <a:gd name="connsiteX99" fmla="*/ 668677 w 4519987"/>
                    <a:gd name="connsiteY99" fmla="*/ 676275 h 4457700"/>
                    <a:gd name="connsiteX100" fmla="*/ 697252 w 4519987"/>
                    <a:gd name="connsiteY100" fmla="*/ 657225 h 4457700"/>
                    <a:gd name="connsiteX101" fmla="*/ 840127 w 4519987"/>
                    <a:gd name="connsiteY101" fmla="*/ 533400 h 4457700"/>
                    <a:gd name="connsiteX102" fmla="*/ 887752 w 4519987"/>
                    <a:gd name="connsiteY102" fmla="*/ 504825 h 4457700"/>
                    <a:gd name="connsiteX103" fmla="*/ 1167152 w 4519987"/>
                    <a:gd name="connsiteY103" fmla="*/ 311150 h 4457700"/>
                    <a:gd name="connsiteX104" fmla="*/ 1268752 w 4519987"/>
                    <a:gd name="connsiteY104" fmla="*/ 285750 h 4457700"/>
                    <a:gd name="connsiteX105" fmla="*/ 1411627 w 4519987"/>
                    <a:gd name="connsiteY105" fmla="*/ 190500 h 4457700"/>
                    <a:gd name="connsiteX106" fmla="*/ 1449727 w 4519987"/>
                    <a:gd name="connsiteY106" fmla="*/ 161925 h 4457700"/>
                    <a:gd name="connsiteX107" fmla="*/ 1525927 w 4519987"/>
                    <a:gd name="connsiteY107" fmla="*/ 152400 h 4457700"/>
                    <a:gd name="connsiteX108" fmla="*/ 1583077 w 4519987"/>
                    <a:gd name="connsiteY108" fmla="*/ 142875 h 4457700"/>
                    <a:gd name="connsiteX109" fmla="*/ 1716427 w 4519987"/>
                    <a:gd name="connsiteY109" fmla="*/ 123825 h 4457700"/>
                    <a:gd name="connsiteX110" fmla="*/ 1811677 w 4519987"/>
                    <a:gd name="connsiteY110" fmla="*/ 114300 h 4457700"/>
                    <a:gd name="connsiteX111" fmla="*/ 1859302 w 4519987"/>
                    <a:gd name="connsiteY111" fmla="*/ 104775 h 4457700"/>
                    <a:gd name="connsiteX112" fmla="*/ 1916452 w 4519987"/>
                    <a:gd name="connsiteY112" fmla="*/ 95250 h 4457700"/>
                    <a:gd name="connsiteX113" fmla="*/ 2030752 w 4519987"/>
                    <a:gd name="connsiteY113" fmla="*/ 66675 h 4457700"/>
                    <a:gd name="connsiteX114" fmla="*/ 2097427 w 4519987"/>
                    <a:gd name="connsiteY114" fmla="*/ 47625 h 4457700"/>
                    <a:gd name="connsiteX115" fmla="*/ 2164102 w 4519987"/>
                    <a:gd name="connsiteY115" fmla="*/ 38100 h 4457700"/>
                    <a:gd name="connsiteX116" fmla="*/ 2392702 w 4519987"/>
                    <a:gd name="connsiteY116" fmla="*/ 28575 h 4457700"/>
                    <a:gd name="connsiteX0" fmla="*/ 2297452 w 4519987"/>
                    <a:gd name="connsiteY0" fmla="*/ 0 h 4429260"/>
                    <a:gd name="connsiteX1" fmla="*/ 2421277 w 4519987"/>
                    <a:gd name="connsiteY1" fmla="*/ 28575 h 4429260"/>
                    <a:gd name="connsiteX2" fmla="*/ 2497477 w 4519987"/>
                    <a:gd name="connsiteY2" fmla="*/ 47625 h 4429260"/>
                    <a:gd name="connsiteX3" fmla="*/ 2754652 w 4519987"/>
                    <a:gd name="connsiteY3" fmla="*/ 66675 h 4429260"/>
                    <a:gd name="connsiteX4" fmla="*/ 2830852 w 4519987"/>
                    <a:gd name="connsiteY4" fmla="*/ 76200 h 4429260"/>
                    <a:gd name="connsiteX5" fmla="*/ 2916577 w 4519987"/>
                    <a:gd name="connsiteY5" fmla="*/ 85725 h 4429260"/>
                    <a:gd name="connsiteX6" fmla="*/ 2973727 w 4519987"/>
                    <a:gd name="connsiteY6" fmla="*/ 114300 h 4429260"/>
                    <a:gd name="connsiteX7" fmla="*/ 3011827 w 4519987"/>
                    <a:gd name="connsiteY7" fmla="*/ 123825 h 4429260"/>
                    <a:gd name="connsiteX8" fmla="*/ 3135652 w 4519987"/>
                    <a:gd name="connsiteY8" fmla="*/ 171450 h 4429260"/>
                    <a:gd name="connsiteX9" fmla="*/ 3173752 w 4519987"/>
                    <a:gd name="connsiteY9" fmla="*/ 190500 h 4429260"/>
                    <a:gd name="connsiteX10" fmla="*/ 3240427 w 4519987"/>
                    <a:gd name="connsiteY10" fmla="*/ 228600 h 4429260"/>
                    <a:gd name="connsiteX11" fmla="*/ 3269002 w 4519987"/>
                    <a:gd name="connsiteY11" fmla="*/ 238125 h 4429260"/>
                    <a:gd name="connsiteX12" fmla="*/ 3297577 w 4519987"/>
                    <a:gd name="connsiteY12" fmla="*/ 257175 h 4429260"/>
                    <a:gd name="connsiteX13" fmla="*/ 3326152 w 4519987"/>
                    <a:gd name="connsiteY13" fmla="*/ 266700 h 4429260"/>
                    <a:gd name="connsiteX14" fmla="*/ 3354727 w 4519987"/>
                    <a:gd name="connsiteY14" fmla="*/ 285750 h 4429260"/>
                    <a:gd name="connsiteX15" fmla="*/ 3421402 w 4519987"/>
                    <a:gd name="connsiteY15" fmla="*/ 323850 h 4429260"/>
                    <a:gd name="connsiteX16" fmla="*/ 3469027 w 4519987"/>
                    <a:gd name="connsiteY16" fmla="*/ 361950 h 4429260"/>
                    <a:gd name="connsiteX17" fmla="*/ 3516652 w 4519987"/>
                    <a:gd name="connsiteY17" fmla="*/ 390525 h 4429260"/>
                    <a:gd name="connsiteX18" fmla="*/ 3630952 w 4519987"/>
                    <a:gd name="connsiteY18" fmla="*/ 485775 h 4429260"/>
                    <a:gd name="connsiteX19" fmla="*/ 3745252 w 4519987"/>
                    <a:gd name="connsiteY19" fmla="*/ 542925 h 4429260"/>
                    <a:gd name="connsiteX20" fmla="*/ 3811927 w 4519987"/>
                    <a:gd name="connsiteY20" fmla="*/ 581025 h 4429260"/>
                    <a:gd name="connsiteX21" fmla="*/ 4027827 w 4519987"/>
                    <a:gd name="connsiteY21" fmla="*/ 819150 h 4429260"/>
                    <a:gd name="connsiteX22" fmla="*/ 4164352 w 4519987"/>
                    <a:gd name="connsiteY22" fmla="*/ 990600 h 4429260"/>
                    <a:gd name="connsiteX23" fmla="*/ 4250077 w 4519987"/>
                    <a:gd name="connsiteY23" fmla="*/ 1143000 h 4429260"/>
                    <a:gd name="connsiteX24" fmla="*/ 4307227 w 4519987"/>
                    <a:gd name="connsiteY24" fmla="*/ 1266825 h 4429260"/>
                    <a:gd name="connsiteX25" fmla="*/ 4345327 w 4519987"/>
                    <a:gd name="connsiteY25" fmla="*/ 1362075 h 4429260"/>
                    <a:gd name="connsiteX26" fmla="*/ 4392952 w 4519987"/>
                    <a:gd name="connsiteY26" fmla="*/ 1552575 h 4429260"/>
                    <a:gd name="connsiteX27" fmla="*/ 4431052 w 4519987"/>
                    <a:gd name="connsiteY27" fmla="*/ 1685925 h 4429260"/>
                    <a:gd name="connsiteX28" fmla="*/ 4519952 w 4519987"/>
                    <a:gd name="connsiteY28" fmla="*/ 2181225 h 4429260"/>
                    <a:gd name="connsiteX29" fmla="*/ 4446927 w 4519987"/>
                    <a:gd name="connsiteY29" fmla="*/ 2768600 h 4429260"/>
                    <a:gd name="connsiteX30" fmla="*/ 4383427 w 4519987"/>
                    <a:gd name="connsiteY30" fmla="*/ 2990850 h 4429260"/>
                    <a:gd name="connsiteX31" fmla="*/ 4278652 w 4519987"/>
                    <a:gd name="connsiteY31" fmla="*/ 3248025 h 4429260"/>
                    <a:gd name="connsiteX32" fmla="*/ 4183402 w 4519987"/>
                    <a:gd name="connsiteY32" fmla="*/ 3400425 h 4429260"/>
                    <a:gd name="connsiteX33" fmla="*/ 4059577 w 4519987"/>
                    <a:gd name="connsiteY33" fmla="*/ 3533775 h 4429260"/>
                    <a:gd name="connsiteX34" fmla="*/ 3954802 w 4519987"/>
                    <a:gd name="connsiteY34" fmla="*/ 3648075 h 4429260"/>
                    <a:gd name="connsiteX35" fmla="*/ 3659527 w 4519987"/>
                    <a:gd name="connsiteY35" fmla="*/ 3971925 h 4429260"/>
                    <a:gd name="connsiteX36" fmla="*/ 3516652 w 4519987"/>
                    <a:gd name="connsiteY36" fmla="*/ 4083050 h 4429260"/>
                    <a:gd name="connsiteX37" fmla="*/ 3221377 w 4519987"/>
                    <a:gd name="connsiteY37" fmla="*/ 4222750 h 4429260"/>
                    <a:gd name="connsiteX38" fmla="*/ 3068977 w 4519987"/>
                    <a:gd name="connsiteY38" fmla="*/ 4286250 h 4429260"/>
                    <a:gd name="connsiteX39" fmla="*/ 2935627 w 4519987"/>
                    <a:gd name="connsiteY39" fmla="*/ 4333875 h 4429260"/>
                    <a:gd name="connsiteX40" fmla="*/ 2811802 w 4519987"/>
                    <a:gd name="connsiteY40" fmla="*/ 4371975 h 4429260"/>
                    <a:gd name="connsiteX41" fmla="*/ 2580027 w 4519987"/>
                    <a:gd name="connsiteY41" fmla="*/ 4391025 h 4429260"/>
                    <a:gd name="connsiteX42" fmla="*/ 2126002 w 4519987"/>
                    <a:gd name="connsiteY42" fmla="*/ 4429125 h 4429260"/>
                    <a:gd name="connsiteX43" fmla="*/ 1935502 w 4519987"/>
                    <a:gd name="connsiteY43" fmla="*/ 4400550 h 4429260"/>
                    <a:gd name="connsiteX44" fmla="*/ 1821202 w 4519987"/>
                    <a:gd name="connsiteY44" fmla="*/ 4371975 h 4429260"/>
                    <a:gd name="connsiteX45" fmla="*/ 1754527 w 4519987"/>
                    <a:gd name="connsiteY45" fmla="*/ 4352925 h 4429260"/>
                    <a:gd name="connsiteX46" fmla="*/ 1687852 w 4519987"/>
                    <a:gd name="connsiteY46" fmla="*/ 4343400 h 4429260"/>
                    <a:gd name="connsiteX47" fmla="*/ 1573552 w 4519987"/>
                    <a:gd name="connsiteY47" fmla="*/ 4305300 h 4429260"/>
                    <a:gd name="connsiteX48" fmla="*/ 1402102 w 4519987"/>
                    <a:gd name="connsiteY48" fmla="*/ 4276725 h 4429260"/>
                    <a:gd name="connsiteX49" fmla="*/ 1287802 w 4519987"/>
                    <a:gd name="connsiteY49" fmla="*/ 4229100 h 4429260"/>
                    <a:gd name="connsiteX50" fmla="*/ 1221127 w 4519987"/>
                    <a:gd name="connsiteY50" fmla="*/ 4200525 h 4429260"/>
                    <a:gd name="connsiteX51" fmla="*/ 1144927 w 4519987"/>
                    <a:gd name="connsiteY51" fmla="*/ 4171950 h 4429260"/>
                    <a:gd name="connsiteX52" fmla="*/ 1087777 w 4519987"/>
                    <a:gd name="connsiteY52" fmla="*/ 4143375 h 4429260"/>
                    <a:gd name="connsiteX53" fmla="*/ 1030627 w 4519987"/>
                    <a:gd name="connsiteY53" fmla="*/ 4124325 h 4429260"/>
                    <a:gd name="connsiteX54" fmla="*/ 925852 w 4519987"/>
                    <a:gd name="connsiteY54" fmla="*/ 4067175 h 4429260"/>
                    <a:gd name="connsiteX55" fmla="*/ 830602 w 4519987"/>
                    <a:gd name="connsiteY55" fmla="*/ 3981450 h 4429260"/>
                    <a:gd name="connsiteX56" fmla="*/ 763927 w 4519987"/>
                    <a:gd name="connsiteY56" fmla="*/ 3914775 h 4429260"/>
                    <a:gd name="connsiteX57" fmla="*/ 725827 w 4519987"/>
                    <a:gd name="connsiteY57" fmla="*/ 3876675 h 4429260"/>
                    <a:gd name="connsiteX58" fmla="*/ 697252 w 4519987"/>
                    <a:gd name="connsiteY58" fmla="*/ 3838575 h 4429260"/>
                    <a:gd name="connsiteX59" fmla="*/ 640102 w 4519987"/>
                    <a:gd name="connsiteY59" fmla="*/ 3781425 h 4429260"/>
                    <a:gd name="connsiteX60" fmla="*/ 611527 w 4519987"/>
                    <a:gd name="connsiteY60" fmla="*/ 3733800 h 4429260"/>
                    <a:gd name="connsiteX61" fmla="*/ 554377 w 4519987"/>
                    <a:gd name="connsiteY61" fmla="*/ 3657600 h 4429260"/>
                    <a:gd name="connsiteX62" fmla="*/ 525802 w 4519987"/>
                    <a:gd name="connsiteY62" fmla="*/ 3609975 h 4429260"/>
                    <a:gd name="connsiteX63" fmla="*/ 497227 w 4519987"/>
                    <a:gd name="connsiteY63" fmla="*/ 3552825 h 4429260"/>
                    <a:gd name="connsiteX64" fmla="*/ 440077 w 4519987"/>
                    <a:gd name="connsiteY64" fmla="*/ 3495675 h 4429260"/>
                    <a:gd name="connsiteX65" fmla="*/ 411502 w 4519987"/>
                    <a:gd name="connsiteY65" fmla="*/ 3448050 h 4429260"/>
                    <a:gd name="connsiteX66" fmla="*/ 278152 w 4519987"/>
                    <a:gd name="connsiteY66" fmla="*/ 3257550 h 4429260"/>
                    <a:gd name="connsiteX67" fmla="*/ 249577 w 4519987"/>
                    <a:gd name="connsiteY67" fmla="*/ 3200400 h 4429260"/>
                    <a:gd name="connsiteX68" fmla="*/ 240052 w 4519987"/>
                    <a:gd name="connsiteY68" fmla="*/ 3162300 h 4429260"/>
                    <a:gd name="connsiteX69" fmla="*/ 221002 w 4519987"/>
                    <a:gd name="connsiteY69" fmla="*/ 3105150 h 4429260"/>
                    <a:gd name="connsiteX70" fmla="*/ 173377 w 4519987"/>
                    <a:gd name="connsiteY70" fmla="*/ 3019425 h 4429260"/>
                    <a:gd name="connsiteX71" fmla="*/ 144802 w 4519987"/>
                    <a:gd name="connsiteY71" fmla="*/ 2924175 h 4429260"/>
                    <a:gd name="connsiteX72" fmla="*/ 68602 w 4519987"/>
                    <a:gd name="connsiteY72" fmla="*/ 2724150 h 4429260"/>
                    <a:gd name="connsiteX73" fmla="*/ 49552 w 4519987"/>
                    <a:gd name="connsiteY73" fmla="*/ 2638425 h 4429260"/>
                    <a:gd name="connsiteX74" fmla="*/ 40027 w 4519987"/>
                    <a:gd name="connsiteY74" fmla="*/ 2562225 h 4429260"/>
                    <a:gd name="connsiteX75" fmla="*/ 30502 w 4519987"/>
                    <a:gd name="connsiteY75" fmla="*/ 2514600 h 4429260"/>
                    <a:gd name="connsiteX76" fmla="*/ 11452 w 4519987"/>
                    <a:gd name="connsiteY76" fmla="*/ 2400300 h 4429260"/>
                    <a:gd name="connsiteX77" fmla="*/ 20977 w 4519987"/>
                    <a:gd name="connsiteY77" fmla="*/ 1905000 h 4429260"/>
                    <a:gd name="connsiteX78" fmla="*/ 30502 w 4519987"/>
                    <a:gd name="connsiteY78" fmla="*/ 1838325 h 4429260"/>
                    <a:gd name="connsiteX79" fmla="*/ 49552 w 4519987"/>
                    <a:gd name="connsiteY79" fmla="*/ 1781175 h 4429260"/>
                    <a:gd name="connsiteX80" fmla="*/ 59077 w 4519987"/>
                    <a:gd name="connsiteY80" fmla="*/ 1743075 h 4429260"/>
                    <a:gd name="connsiteX81" fmla="*/ 78127 w 4519987"/>
                    <a:gd name="connsiteY81" fmla="*/ 1685925 h 4429260"/>
                    <a:gd name="connsiteX82" fmla="*/ 87652 w 4519987"/>
                    <a:gd name="connsiteY82" fmla="*/ 1638300 h 4429260"/>
                    <a:gd name="connsiteX83" fmla="*/ 106702 w 4519987"/>
                    <a:gd name="connsiteY83" fmla="*/ 1590675 h 4429260"/>
                    <a:gd name="connsiteX84" fmla="*/ 135277 w 4519987"/>
                    <a:gd name="connsiteY84" fmla="*/ 1504950 h 4429260"/>
                    <a:gd name="connsiteX85" fmla="*/ 154327 w 4519987"/>
                    <a:gd name="connsiteY85" fmla="*/ 1419225 h 4429260"/>
                    <a:gd name="connsiteX86" fmla="*/ 230527 w 4519987"/>
                    <a:gd name="connsiteY86" fmla="*/ 1276350 h 4429260"/>
                    <a:gd name="connsiteX87" fmla="*/ 240052 w 4519987"/>
                    <a:gd name="connsiteY87" fmla="*/ 1247775 h 4429260"/>
                    <a:gd name="connsiteX88" fmla="*/ 268627 w 4519987"/>
                    <a:gd name="connsiteY88" fmla="*/ 1200150 h 4429260"/>
                    <a:gd name="connsiteX89" fmla="*/ 287677 w 4519987"/>
                    <a:gd name="connsiteY89" fmla="*/ 1152525 h 4429260"/>
                    <a:gd name="connsiteX90" fmla="*/ 316252 w 4519987"/>
                    <a:gd name="connsiteY90" fmla="*/ 1114425 h 4429260"/>
                    <a:gd name="connsiteX91" fmla="*/ 363877 w 4519987"/>
                    <a:gd name="connsiteY91" fmla="*/ 1038225 h 4429260"/>
                    <a:gd name="connsiteX92" fmla="*/ 382927 w 4519987"/>
                    <a:gd name="connsiteY92" fmla="*/ 1009650 h 4429260"/>
                    <a:gd name="connsiteX93" fmla="*/ 440077 w 4519987"/>
                    <a:gd name="connsiteY93" fmla="*/ 904875 h 4429260"/>
                    <a:gd name="connsiteX94" fmla="*/ 478177 w 4519987"/>
                    <a:gd name="connsiteY94" fmla="*/ 857250 h 4429260"/>
                    <a:gd name="connsiteX95" fmla="*/ 497227 w 4519987"/>
                    <a:gd name="connsiteY95" fmla="*/ 828675 h 4429260"/>
                    <a:gd name="connsiteX96" fmla="*/ 535327 w 4519987"/>
                    <a:gd name="connsiteY96" fmla="*/ 800100 h 4429260"/>
                    <a:gd name="connsiteX97" fmla="*/ 602002 w 4519987"/>
                    <a:gd name="connsiteY97" fmla="*/ 733425 h 4429260"/>
                    <a:gd name="connsiteX98" fmla="*/ 668677 w 4519987"/>
                    <a:gd name="connsiteY98" fmla="*/ 676275 h 4429260"/>
                    <a:gd name="connsiteX99" fmla="*/ 697252 w 4519987"/>
                    <a:gd name="connsiteY99" fmla="*/ 657225 h 4429260"/>
                    <a:gd name="connsiteX100" fmla="*/ 840127 w 4519987"/>
                    <a:gd name="connsiteY100" fmla="*/ 533400 h 4429260"/>
                    <a:gd name="connsiteX101" fmla="*/ 887752 w 4519987"/>
                    <a:gd name="connsiteY101" fmla="*/ 504825 h 4429260"/>
                    <a:gd name="connsiteX102" fmla="*/ 1167152 w 4519987"/>
                    <a:gd name="connsiteY102" fmla="*/ 311150 h 4429260"/>
                    <a:gd name="connsiteX103" fmla="*/ 1268752 w 4519987"/>
                    <a:gd name="connsiteY103" fmla="*/ 285750 h 4429260"/>
                    <a:gd name="connsiteX104" fmla="*/ 1411627 w 4519987"/>
                    <a:gd name="connsiteY104" fmla="*/ 190500 h 4429260"/>
                    <a:gd name="connsiteX105" fmla="*/ 1449727 w 4519987"/>
                    <a:gd name="connsiteY105" fmla="*/ 161925 h 4429260"/>
                    <a:gd name="connsiteX106" fmla="*/ 1525927 w 4519987"/>
                    <a:gd name="connsiteY106" fmla="*/ 152400 h 4429260"/>
                    <a:gd name="connsiteX107" fmla="*/ 1583077 w 4519987"/>
                    <a:gd name="connsiteY107" fmla="*/ 142875 h 4429260"/>
                    <a:gd name="connsiteX108" fmla="*/ 1716427 w 4519987"/>
                    <a:gd name="connsiteY108" fmla="*/ 123825 h 4429260"/>
                    <a:gd name="connsiteX109" fmla="*/ 1811677 w 4519987"/>
                    <a:gd name="connsiteY109" fmla="*/ 114300 h 4429260"/>
                    <a:gd name="connsiteX110" fmla="*/ 1859302 w 4519987"/>
                    <a:gd name="connsiteY110" fmla="*/ 104775 h 4429260"/>
                    <a:gd name="connsiteX111" fmla="*/ 1916452 w 4519987"/>
                    <a:gd name="connsiteY111" fmla="*/ 95250 h 4429260"/>
                    <a:gd name="connsiteX112" fmla="*/ 2030752 w 4519987"/>
                    <a:gd name="connsiteY112" fmla="*/ 66675 h 4429260"/>
                    <a:gd name="connsiteX113" fmla="*/ 2097427 w 4519987"/>
                    <a:gd name="connsiteY113" fmla="*/ 47625 h 4429260"/>
                    <a:gd name="connsiteX114" fmla="*/ 2164102 w 4519987"/>
                    <a:gd name="connsiteY114" fmla="*/ 38100 h 4429260"/>
                    <a:gd name="connsiteX115" fmla="*/ 2392702 w 4519987"/>
                    <a:gd name="connsiteY115" fmla="*/ 28575 h 4429260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687852 w 4519987"/>
                    <a:gd name="connsiteY45" fmla="*/ 4343400 h 4429225"/>
                    <a:gd name="connsiteX46" fmla="*/ 1573552 w 4519987"/>
                    <a:gd name="connsiteY46" fmla="*/ 4305300 h 4429225"/>
                    <a:gd name="connsiteX47" fmla="*/ 1402102 w 4519987"/>
                    <a:gd name="connsiteY47" fmla="*/ 4276725 h 4429225"/>
                    <a:gd name="connsiteX48" fmla="*/ 1287802 w 4519987"/>
                    <a:gd name="connsiteY48" fmla="*/ 4229100 h 4429225"/>
                    <a:gd name="connsiteX49" fmla="*/ 1221127 w 4519987"/>
                    <a:gd name="connsiteY49" fmla="*/ 4200525 h 4429225"/>
                    <a:gd name="connsiteX50" fmla="*/ 1144927 w 4519987"/>
                    <a:gd name="connsiteY50" fmla="*/ 4171950 h 4429225"/>
                    <a:gd name="connsiteX51" fmla="*/ 1087777 w 4519987"/>
                    <a:gd name="connsiteY51" fmla="*/ 4143375 h 4429225"/>
                    <a:gd name="connsiteX52" fmla="*/ 1030627 w 4519987"/>
                    <a:gd name="connsiteY52" fmla="*/ 4124325 h 4429225"/>
                    <a:gd name="connsiteX53" fmla="*/ 925852 w 4519987"/>
                    <a:gd name="connsiteY53" fmla="*/ 4067175 h 4429225"/>
                    <a:gd name="connsiteX54" fmla="*/ 830602 w 4519987"/>
                    <a:gd name="connsiteY54" fmla="*/ 3981450 h 4429225"/>
                    <a:gd name="connsiteX55" fmla="*/ 763927 w 4519987"/>
                    <a:gd name="connsiteY55" fmla="*/ 3914775 h 4429225"/>
                    <a:gd name="connsiteX56" fmla="*/ 725827 w 4519987"/>
                    <a:gd name="connsiteY56" fmla="*/ 3876675 h 4429225"/>
                    <a:gd name="connsiteX57" fmla="*/ 697252 w 4519987"/>
                    <a:gd name="connsiteY57" fmla="*/ 3838575 h 4429225"/>
                    <a:gd name="connsiteX58" fmla="*/ 640102 w 4519987"/>
                    <a:gd name="connsiteY58" fmla="*/ 3781425 h 4429225"/>
                    <a:gd name="connsiteX59" fmla="*/ 611527 w 4519987"/>
                    <a:gd name="connsiteY59" fmla="*/ 3733800 h 4429225"/>
                    <a:gd name="connsiteX60" fmla="*/ 554377 w 4519987"/>
                    <a:gd name="connsiteY60" fmla="*/ 3657600 h 4429225"/>
                    <a:gd name="connsiteX61" fmla="*/ 525802 w 4519987"/>
                    <a:gd name="connsiteY61" fmla="*/ 3609975 h 4429225"/>
                    <a:gd name="connsiteX62" fmla="*/ 497227 w 4519987"/>
                    <a:gd name="connsiteY62" fmla="*/ 3552825 h 4429225"/>
                    <a:gd name="connsiteX63" fmla="*/ 440077 w 4519987"/>
                    <a:gd name="connsiteY63" fmla="*/ 3495675 h 4429225"/>
                    <a:gd name="connsiteX64" fmla="*/ 411502 w 4519987"/>
                    <a:gd name="connsiteY64" fmla="*/ 3448050 h 4429225"/>
                    <a:gd name="connsiteX65" fmla="*/ 278152 w 4519987"/>
                    <a:gd name="connsiteY65" fmla="*/ 3257550 h 4429225"/>
                    <a:gd name="connsiteX66" fmla="*/ 249577 w 4519987"/>
                    <a:gd name="connsiteY66" fmla="*/ 3200400 h 4429225"/>
                    <a:gd name="connsiteX67" fmla="*/ 240052 w 4519987"/>
                    <a:gd name="connsiteY67" fmla="*/ 3162300 h 4429225"/>
                    <a:gd name="connsiteX68" fmla="*/ 221002 w 4519987"/>
                    <a:gd name="connsiteY68" fmla="*/ 3105150 h 4429225"/>
                    <a:gd name="connsiteX69" fmla="*/ 173377 w 4519987"/>
                    <a:gd name="connsiteY69" fmla="*/ 3019425 h 4429225"/>
                    <a:gd name="connsiteX70" fmla="*/ 144802 w 4519987"/>
                    <a:gd name="connsiteY70" fmla="*/ 2924175 h 4429225"/>
                    <a:gd name="connsiteX71" fmla="*/ 68602 w 4519987"/>
                    <a:gd name="connsiteY71" fmla="*/ 2724150 h 4429225"/>
                    <a:gd name="connsiteX72" fmla="*/ 49552 w 4519987"/>
                    <a:gd name="connsiteY72" fmla="*/ 2638425 h 4429225"/>
                    <a:gd name="connsiteX73" fmla="*/ 40027 w 4519987"/>
                    <a:gd name="connsiteY73" fmla="*/ 2562225 h 4429225"/>
                    <a:gd name="connsiteX74" fmla="*/ 30502 w 4519987"/>
                    <a:gd name="connsiteY74" fmla="*/ 2514600 h 4429225"/>
                    <a:gd name="connsiteX75" fmla="*/ 11452 w 4519987"/>
                    <a:gd name="connsiteY75" fmla="*/ 2400300 h 4429225"/>
                    <a:gd name="connsiteX76" fmla="*/ 20977 w 4519987"/>
                    <a:gd name="connsiteY76" fmla="*/ 1905000 h 4429225"/>
                    <a:gd name="connsiteX77" fmla="*/ 30502 w 4519987"/>
                    <a:gd name="connsiteY77" fmla="*/ 1838325 h 4429225"/>
                    <a:gd name="connsiteX78" fmla="*/ 49552 w 4519987"/>
                    <a:gd name="connsiteY78" fmla="*/ 1781175 h 4429225"/>
                    <a:gd name="connsiteX79" fmla="*/ 59077 w 4519987"/>
                    <a:gd name="connsiteY79" fmla="*/ 1743075 h 4429225"/>
                    <a:gd name="connsiteX80" fmla="*/ 78127 w 4519987"/>
                    <a:gd name="connsiteY80" fmla="*/ 1685925 h 4429225"/>
                    <a:gd name="connsiteX81" fmla="*/ 87652 w 4519987"/>
                    <a:gd name="connsiteY81" fmla="*/ 1638300 h 4429225"/>
                    <a:gd name="connsiteX82" fmla="*/ 106702 w 4519987"/>
                    <a:gd name="connsiteY82" fmla="*/ 1590675 h 4429225"/>
                    <a:gd name="connsiteX83" fmla="*/ 135277 w 4519987"/>
                    <a:gd name="connsiteY83" fmla="*/ 1504950 h 4429225"/>
                    <a:gd name="connsiteX84" fmla="*/ 154327 w 4519987"/>
                    <a:gd name="connsiteY84" fmla="*/ 1419225 h 4429225"/>
                    <a:gd name="connsiteX85" fmla="*/ 230527 w 4519987"/>
                    <a:gd name="connsiteY85" fmla="*/ 1276350 h 4429225"/>
                    <a:gd name="connsiteX86" fmla="*/ 240052 w 4519987"/>
                    <a:gd name="connsiteY86" fmla="*/ 1247775 h 4429225"/>
                    <a:gd name="connsiteX87" fmla="*/ 268627 w 4519987"/>
                    <a:gd name="connsiteY87" fmla="*/ 1200150 h 4429225"/>
                    <a:gd name="connsiteX88" fmla="*/ 287677 w 4519987"/>
                    <a:gd name="connsiteY88" fmla="*/ 1152525 h 4429225"/>
                    <a:gd name="connsiteX89" fmla="*/ 316252 w 4519987"/>
                    <a:gd name="connsiteY89" fmla="*/ 1114425 h 4429225"/>
                    <a:gd name="connsiteX90" fmla="*/ 363877 w 4519987"/>
                    <a:gd name="connsiteY90" fmla="*/ 1038225 h 4429225"/>
                    <a:gd name="connsiteX91" fmla="*/ 382927 w 4519987"/>
                    <a:gd name="connsiteY91" fmla="*/ 1009650 h 4429225"/>
                    <a:gd name="connsiteX92" fmla="*/ 440077 w 4519987"/>
                    <a:gd name="connsiteY92" fmla="*/ 904875 h 4429225"/>
                    <a:gd name="connsiteX93" fmla="*/ 478177 w 4519987"/>
                    <a:gd name="connsiteY93" fmla="*/ 857250 h 4429225"/>
                    <a:gd name="connsiteX94" fmla="*/ 497227 w 4519987"/>
                    <a:gd name="connsiteY94" fmla="*/ 828675 h 4429225"/>
                    <a:gd name="connsiteX95" fmla="*/ 535327 w 4519987"/>
                    <a:gd name="connsiteY95" fmla="*/ 800100 h 4429225"/>
                    <a:gd name="connsiteX96" fmla="*/ 602002 w 4519987"/>
                    <a:gd name="connsiteY96" fmla="*/ 733425 h 4429225"/>
                    <a:gd name="connsiteX97" fmla="*/ 668677 w 4519987"/>
                    <a:gd name="connsiteY97" fmla="*/ 676275 h 4429225"/>
                    <a:gd name="connsiteX98" fmla="*/ 697252 w 4519987"/>
                    <a:gd name="connsiteY98" fmla="*/ 657225 h 4429225"/>
                    <a:gd name="connsiteX99" fmla="*/ 840127 w 4519987"/>
                    <a:gd name="connsiteY99" fmla="*/ 533400 h 4429225"/>
                    <a:gd name="connsiteX100" fmla="*/ 887752 w 4519987"/>
                    <a:gd name="connsiteY100" fmla="*/ 504825 h 4429225"/>
                    <a:gd name="connsiteX101" fmla="*/ 1167152 w 4519987"/>
                    <a:gd name="connsiteY101" fmla="*/ 311150 h 4429225"/>
                    <a:gd name="connsiteX102" fmla="*/ 1268752 w 4519987"/>
                    <a:gd name="connsiteY102" fmla="*/ 285750 h 4429225"/>
                    <a:gd name="connsiteX103" fmla="*/ 1411627 w 4519987"/>
                    <a:gd name="connsiteY103" fmla="*/ 190500 h 4429225"/>
                    <a:gd name="connsiteX104" fmla="*/ 1449727 w 4519987"/>
                    <a:gd name="connsiteY104" fmla="*/ 161925 h 4429225"/>
                    <a:gd name="connsiteX105" fmla="*/ 1525927 w 4519987"/>
                    <a:gd name="connsiteY105" fmla="*/ 152400 h 4429225"/>
                    <a:gd name="connsiteX106" fmla="*/ 1583077 w 4519987"/>
                    <a:gd name="connsiteY106" fmla="*/ 142875 h 4429225"/>
                    <a:gd name="connsiteX107" fmla="*/ 1716427 w 4519987"/>
                    <a:gd name="connsiteY107" fmla="*/ 123825 h 4429225"/>
                    <a:gd name="connsiteX108" fmla="*/ 1811677 w 4519987"/>
                    <a:gd name="connsiteY108" fmla="*/ 114300 h 4429225"/>
                    <a:gd name="connsiteX109" fmla="*/ 1859302 w 4519987"/>
                    <a:gd name="connsiteY109" fmla="*/ 104775 h 4429225"/>
                    <a:gd name="connsiteX110" fmla="*/ 1916452 w 4519987"/>
                    <a:gd name="connsiteY110" fmla="*/ 95250 h 4429225"/>
                    <a:gd name="connsiteX111" fmla="*/ 2030752 w 4519987"/>
                    <a:gd name="connsiteY111" fmla="*/ 66675 h 4429225"/>
                    <a:gd name="connsiteX112" fmla="*/ 2097427 w 4519987"/>
                    <a:gd name="connsiteY112" fmla="*/ 47625 h 4429225"/>
                    <a:gd name="connsiteX113" fmla="*/ 2164102 w 4519987"/>
                    <a:gd name="connsiteY113" fmla="*/ 38100 h 4429225"/>
                    <a:gd name="connsiteX114" fmla="*/ 2392702 w 4519987"/>
                    <a:gd name="connsiteY11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402102 w 4519987"/>
                    <a:gd name="connsiteY46" fmla="*/ 4276725 h 4429225"/>
                    <a:gd name="connsiteX47" fmla="*/ 1287802 w 4519987"/>
                    <a:gd name="connsiteY47" fmla="*/ 4229100 h 4429225"/>
                    <a:gd name="connsiteX48" fmla="*/ 1221127 w 4519987"/>
                    <a:gd name="connsiteY48" fmla="*/ 4200525 h 4429225"/>
                    <a:gd name="connsiteX49" fmla="*/ 1144927 w 4519987"/>
                    <a:gd name="connsiteY49" fmla="*/ 4171950 h 4429225"/>
                    <a:gd name="connsiteX50" fmla="*/ 1087777 w 4519987"/>
                    <a:gd name="connsiteY50" fmla="*/ 4143375 h 4429225"/>
                    <a:gd name="connsiteX51" fmla="*/ 1030627 w 4519987"/>
                    <a:gd name="connsiteY51" fmla="*/ 4124325 h 4429225"/>
                    <a:gd name="connsiteX52" fmla="*/ 925852 w 4519987"/>
                    <a:gd name="connsiteY52" fmla="*/ 4067175 h 4429225"/>
                    <a:gd name="connsiteX53" fmla="*/ 830602 w 4519987"/>
                    <a:gd name="connsiteY53" fmla="*/ 3981450 h 4429225"/>
                    <a:gd name="connsiteX54" fmla="*/ 763927 w 4519987"/>
                    <a:gd name="connsiteY54" fmla="*/ 3914775 h 4429225"/>
                    <a:gd name="connsiteX55" fmla="*/ 725827 w 4519987"/>
                    <a:gd name="connsiteY55" fmla="*/ 3876675 h 4429225"/>
                    <a:gd name="connsiteX56" fmla="*/ 697252 w 4519987"/>
                    <a:gd name="connsiteY56" fmla="*/ 3838575 h 4429225"/>
                    <a:gd name="connsiteX57" fmla="*/ 640102 w 4519987"/>
                    <a:gd name="connsiteY57" fmla="*/ 3781425 h 4429225"/>
                    <a:gd name="connsiteX58" fmla="*/ 611527 w 4519987"/>
                    <a:gd name="connsiteY58" fmla="*/ 3733800 h 4429225"/>
                    <a:gd name="connsiteX59" fmla="*/ 554377 w 4519987"/>
                    <a:gd name="connsiteY59" fmla="*/ 3657600 h 4429225"/>
                    <a:gd name="connsiteX60" fmla="*/ 525802 w 4519987"/>
                    <a:gd name="connsiteY60" fmla="*/ 3609975 h 4429225"/>
                    <a:gd name="connsiteX61" fmla="*/ 497227 w 4519987"/>
                    <a:gd name="connsiteY61" fmla="*/ 3552825 h 4429225"/>
                    <a:gd name="connsiteX62" fmla="*/ 440077 w 4519987"/>
                    <a:gd name="connsiteY62" fmla="*/ 3495675 h 4429225"/>
                    <a:gd name="connsiteX63" fmla="*/ 411502 w 4519987"/>
                    <a:gd name="connsiteY63" fmla="*/ 3448050 h 4429225"/>
                    <a:gd name="connsiteX64" fmla="*/ 278152 w 4519987"/>
                    <a:gd name="connsiteY64" fmla="*/ 3257550 h 4429225"/>
                    <a:gd name="connsiteX65" fmla="*/ 249577 w 4519987"/>
                    <a:gd name="connsiteY65" fmla="*/ 3200400 h 4429225"/>
                    <a:gd name="connsiteX66" fmla="*/ 240052 w 4519987"/>
                    <a:gd name="connsiteY66" fmla="*/ 3162300 h 4429225"/>
                    <a:gd name="connsiteX67" fmla="*/ 221002 w 4519987"/>
                    <a:gd name="connsiteY67" fmla="*/ 3105150 h 4429225"/>
                    <a:gd name="connsiteX68" fmla="*/ 173377 w 4519987"/>
                    <a:gd name="connsiteY68" fmla="*/ 3019425 h 4429225"/>
                    <a:gd name="connsiteX69" fmla="*/ 144802 w 4519987"/>
                    <a:gd name="connsiteY69" fmla="*/ 2924175 h 4429225"/>
                    <a:gd name="connsiteX70" fmla="*/ 68602 w 4519987"/>
                    <a:gd name="connsiteY70" fmla="*/ 2724150 h 4429225"/>
                    <a:gd name="connsiteX71" fmla="*/ 49552 w 4519987"/>
                    <a:gd name="connsiteY71" fmla="*/ 2638425 h 4429225"/>
                    <a:gd name="connsiteX72" fmla="*/ 40027 w 4519987"/>
                    <a:gd name="connsiteY72" fmla="*/ 2562225 h 4429225"/>
                    <a:gd name="connsiteX73" fmla="*/ 30502 w 4519987"/>
                    <a:gd name="connsiteY73" fmla="*/ 2514600 h 4429225"/>
                    <a:gd name="connsiteX74" fmla="*/ 11452 w 4519987"/>
                    <a:gd name="connsiteY74" fmla="*/ 2400300 h 4429225"/>
                    <a:gd name="connsiteX75" fmla="*/ 20977 w 4519987"/>
                    <a:gd name="connsiteY75" fmla="*/ 1905000 h 4429225"/>
                    <a:gd name="connsiteX76" fmla="*/ 30502 w 4519987"/>
                    <a:gd name="connsiteY76" fmla="*/ 1838325 h 4429225"/>
                    <a:gd name="connsiteX77" fmla="*/ 49552 w 4519987"/>
                    <a:gd name="connsiteY77" fmla="*/ 1781175 h 4429225"/>
                    <a:gd name="connsiteX78" fmla="*/ 59077 w 4519987"/>
                    <a:gd name="connsiteY78" fmla="*/ 1743075 h 4429225"/>
                    <a:gd name="connsiteX79" fmla="*/ 78127 w 4519987"/>
                    <a:gd name="connsiteY79" fmla="*/ 1685925 h 4429225"/>
                    <a:gd name="connsiteX80" fmla="*/ 87652 w 4519987"/>
                    <a:gd name="connsiteY80" fmla="*/ 1638300 h 4429225"/>
                    <a:gd name="connsiteX81" fmla="*/ 106702 w 4519987"/>
                    <a:gd name="connsiteY81" fmla="*/ 1590675 h 4429225"/>
                    <a:gd name="connsiteX82" fmla="*/ 135277 w 4519987"/>
                    <a:gd name="connsiteY82" fmla="*/ 1504950 h 4429225"/>
                    <a:gd name="connsiteX83" fmla="*/ 154327 w 4519987"/>
                    <a:gd name="connsiteY83" fmla="*/ 1419225 h 4429225"/>
                    <a:gd name="connsiteX84" fmla="*/ 230527 w 4519987"/>
                    <a:gd name="connsiteY84" fmla="*/ 1276350 h 4429225"/>
                    <a:gd name="connsiteX85" fmla="*/ 240052 w 4519987"/>
                    <a:gd name="connsiteY85" fmla="*/ 1247775 h 4429225"/>
                    <a:gd name="connsiteX86" fmla="*/ 268627 w 4519987"/>
                    <a:gd name="connsiteY86" fmla="*/ 1200150 h 4429225"/>
                    <a:gd name="connsiteX87" fmla="*/ 287677 w 4519987"/>
                    <a:gd name="connsiteY87" fmla="*/ 1152525 h 4429225"/>
                    <a:gd name="connsiteX88" fmla="*/ 316252 w 4519987"/>
                    <a:gd name="connsiteY88" fmla="*/ 1114425 h 4429225"/>
                    <a:gd name="connsiteX89" fmla="*/ 363877 w 4519987"/>
                    <a:gd name="connsiteY89" fmla="*/ 1038225 h 4429225"/>
                    <a:gd name="connsiteX90" fmla="*/ 382927 w 4519987"/>
                    <a:gd name="connsiteY90" fmla="*/ 1009650 h 4429225"/>
                    <a:gd name="connsiteX91" fmla="*/ 440077 w 4519987"/>
                    <a:gd name="connsiteY91" fmla="*/ 904875 h 4429225"/>
                    <a:gd name="connsiteX92" fmla="*/ 478177 w 4519987"/>
                    <a:gd name="connsiteY92" fmla="*/ 857250 h 4429225"/>
                    <a:gd name="connsiteX93" fmla="*/ 497227 w 4519987"/>
                    <a:gd name="connsiteY93" fmla="*/ 828675 h 4429225"/>
                    <a:gd name="connsiteX94" fmla="*/ 535327 w 4519987"/>
                    <a:gd name="connsiteY94" fmla="*/ 800100 h 4429225"/>
                    <a:gd name="connsiteX95" fmla="*/ 602002 w 4519987"/>
                    <a:gd name="connsiteY95" fmla="*/ 733425 h 4429225"/>
                    <a:gd name="connsiteX96" fmla="*/ 668677 w 4519987"/>
                    <a:gd name="connsiteY96" fmla="*/ 676275 h 4429225"/>
                    <a:gd name="connsiteX97" fmla="*/ 697252 w 4519987"/>
                    <a:gd name="connsiteY97" fmla="*/ 657225 h 4429225"/>
                    <a:gd name="connsiteX98" fmla="*/ 840127 w 4519987"/>
                    <a:gd name="connsiteY98" fmla="*/ 533400 h 4429225"/>
                    <a:gd name="connsiteX99" fmla="*/ 887752 w 4519987"/>
                    <a:gd name="connsiteY99" fmla="*/ 504825 h 4429225"/>
                    <a:gd name="connsiteX100" fmla="*/ 1167152 w 4519987"/>
                    <a:gd name="connsiteY100" fmla="*/ 311150 h 4429225"/>
                    <a:gd name="connsiteX101" fmla="*/ 1268752 w 4519987"/>
                    <a:gd name="connsiteY101" fmla="*/ 285750 h 4429225"/>
                    <a:gd name="connsiteX102" fmla="*/ 1411627 w 4519987"/>
                    <a:gd name="connsiteY102" fmla="*/ 190500 h 4429225"/>
                    <a:gd name="connsiteX103" fmla="*/ 1449727 w 4519987"/>
                    <a:gd name="connsiteY103" fmla="*/ 161925 h 4429225"/>
                    <a:gd name="connsiteX104" fmla="*/ 1525927 w 4519987"/>
                    <a:gd name="connsiteY104" fmla="*/ 152400 h 4429225"/>
                    <a:gd name="connsiteX105" fmla="*/ 1583077 w 4519987"/>
                    <a:gd name="connsiteY105" fmla="*/ 142875 h 4429225"/>
                    <a:gd name="connsiteX106" fmla="*/ 1716427 w 4519987"/>
                    <a:gd name="connsiteY106" fmla="*/ 123825 h 4429225"/>
                    <a:gd name="connsiteX107" fmla="*/ 1811677 w 4519987"/>
                    <a:gd name="connsiteY107" fmla="*/ 114300 h 4429225"/>
                    <a:gd name="connsiteX108" fmla="*/ 1859302 w 4519987"/>
                    <a:gd name="connsiteY108" fmla="*/ 104775 h 4429225"/>
                    <a:gd name="connsiteX109" fmla="*/ 1916452 w 4519987"/>
                    <a:gd name="connsiteY109" fmla="*/ 95250 h 4429225"/>
                    <a:gd name="connsiteX110" fmla="*/ 2030752 w 4519987"/>
                    <a:gd name="connsiteY110" fmla="*/ 66675 h 4429225"/>
                    <a:gd name="connsiteX111" fmla="*/ 2097427 w 4519987"/>
                    <a:gd name="connsiteY111" fmla="*/ 47625 h 4429225"/>
                    <a:gd name="connsiteX112" fmla="*/ 2164102 w 4519987"/>
                    <a:gd name="connsiteY112" fmla="*/ 38100 h 4429225"/>
                    <a:gd name="connsiteX113" fmla="*/ 2392702 w 4519987"/>
                    <a:gd name="connsiteY11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144927 w 4519987"/>
                    <a:gd name="connsiteY48" fmla="*/ 4171950 h 4429225"/>
                    <a:gd name="connsiteX49" fmla="*/ 1087777 w 4519987"/>
                    <a:gd name="connsiteY49" fmla="*/ 4143375 h 4429225"/>
                    <a:gd name="connsiteX50" fmla="*/ 1030627 w 4519987"/>
                    <a:gd name="connsiteY50" fmla="*/ 4124325 h 4429225"/>
                    <a:gd name="connsiteX51" fmla="*/ 925852 w 4519987"/>
                    <a:gd name="connsiteY51" fmla="*/ 4067175 h 4429225"/>
                    <a:gd name="connsiteX52" fmla="*/ 830602 w 4519987"/>
                    <a:gd name="connsiteY52" fmla="*/ 3981450 h 4429225"/>
                    <a:gd name="connsiteX53" fmla="*/ 763927 w 4519987"/>
                    <a:gd name="connsiteY53" fmla="*/ 3914775 h 4429225"/>
                    <a:gd name="connsiteX54" fmla="*/ 725827 w 4519987"/>
                    <a:gd name="connsiteY54" fmla="*/ 3876675 h 4429225"/>
                    <a:gd name="connsiteX55" fmla="*/ 697252 w 4519987"/>
                    <a:gd name="connsiteY55" fmla="*/ 3838575 h 4429225"/>
                    <a:gd name="connsiteX56" fmla="*/ 640102 w 4519987"/>
                    <a:gd name="connsiteY56" fmla="*/ 3781425 h 4429225"/>
                    <a:gd name="connsiteX57" fmla="*/ 611527 w 4519987"/>
                    <a:gd name="connsiteY57" fmla="*/ 3733800 h 4429225"/>
                    <a:gd name="connsiteX58" fmla="*/ 554377 w 4519987"/>
                    <a:gd name="connsiteY58" fmla="*/ 3657600 h 4429225"/>
                    <a:gd name="connsiteX59" fmla="*/ 525802 w 4519987"/>
                    <a:gd name="connsiteY59" fmla="*/ 3609975 h 4429225"/>
                    <a:gd name="connsiteX60" fmla="*/ 497227 w 4519987"/>
                    <a:gd name="connsiteY60" fmla="*/ 3552825 h 4429225"/>
                    <a:gd name="connsiteX61" fmla="*/ 440077 w 4519987"/>
                    <a:gd name="connsiteY61" fmla="*/ 3495675 h 4429225"/>
                    <a:gd name="connsiteX62" fmla="*/ 411502 w 4519987"/>
                    <a:gd name="connsiteY62" fmla="*/ 3448050 h 4429225"/>
                    <a:gd name="connsiteX63" fmla="*/ 278152 w 4519987"/>
                    <a:gd name="connsiteY63" fmla="*/ 3257550 h 4429225"/>
                    <a:gd name="connsiteX64" fmla="*/ 249577 w 4519987"/>
                    <a:gd name="connsiteY64" fmla="*/ 3200400 h 4429225"/>
                    <a:gd name="connsiteX65" fmla="*/ 240052 w 4519987"/>
                    <a:gd name="connsiteY65" fmla="*/ 3162300 h 4429225"/>
                    <a:gd name="connsiteX66" fmla="*/ 221002 w 4519987"/>
                    <a:gd name="connsiteY66" fmla="*/ 3105150 h 4429225"/>
                    <a:gd name="connsiteX67" fmla="*/ 173377 w 4519987"/>
                    <a:gd name="connsiteY67" fmla="*/ 3019425 h 4429225"/>
                    <a:gd name="connsiteX68" fmla="*/ 144802 w 4519987"/>
                    <a:gd name="connsiteY68" fmla="*/ 2924175 h 4429225"/>
                    <a:gd name="connsiteX69" fmla="*/ 68602 w 4519987"/>
                    <a:gd name="connsiteY69" fmla="*/ 2724150 h 4429225"/>
                    <a:gd name="connsiteX70" fmla="*/ 49552 w 4519987"/>
                    <a:gd name="connsiteY70" fmla="*/ 2638425 h 4429225"/>
                    <a:gd name="connsiteX71" fmla="*/ 40027 w 4519987"/>
                    <a:gd name="connsiteY71" fmla="*/ 2562225 h 4429225"/>
                    <a:gd name="connsiteX72" fmla="*/ 30502 w 4519987"/>
                    <a:gd name="connsiteY72" fmla="*/ 2514600 h 4429225"/>
                    <a:gd name="connsiteX73" fmla="*/ 11452 w 4519987"/>
                    <a:gd name="connsiteY73" fmla="*/ 2400300 h 4429225"/>
                    <a:gd name="connsiteX74" fmla="*/ 20977 w 4519987"/>
                    <a:gd name="connsiteY74" fmla="*/ 1905000 h 4429225"/>
                    <a:gd name="connsiteX75" fmla="*/ 30502 w 4519987"/>
                    <a:gd name="connsiteY75" fmla="*/ 1838325 h 4429225"/>
                    <a:gd name="connsiteX76" fmla="*/ 49552 w 4519987"/>
                    <a:gd name="connsiteY76" fmla="*/ 1781175 h 4429225"/>
                    <a:gd name="connsiteX77" fmla="*/ 59077 w 4519987"/>
                    <a:gd name="connsiteY77" fmla="*/ 1743075 h 4429225"/>
                    <a:gd name="connsiteX78" fmla="*/ 78127 w 4519987"/>
                    <a:gd name="connsiteY78" fmla="*/ 1685925 h 4429225"/>
                    <a:gd name="connsiteX79" fmla="*/ 87652 w 4519987"/>
                    <a:gd name="connsiteY79" fmla="*/ 1638300 h 4429225"/>
                    <a:gd name="connsiteX80" fmla="*/ 106702 w 4519987"/>
                    <a:gd name="connsiteY80" fmla="*/ 1590675 h 4429225"/>
                    <a:gd name="connsiteX81" fmla="*/ 135277 w 4519987"/>
                    <a:gd name="connsiteY81" fmla="*/ 1504950 h 4429225"/>
                    <a:gd name="connsiteX82" fmla="*/ 154327 w 4519987"/>
                    <a:gd name="connsiteY82" fmla="*/ 1419225 h 4429225"/>
                    <a:gd name="connsiteX83" fmla="*/ 230527 w 4519987"/>
                    <a:gd name="connsiteY83" fmla="*/ 1276350 h 4429225"/>
                    <a:gd name="connsiteX84" fmla="*/ 240052 w 4519987"/>
                    <a:gd name="connsiteY84" fmla="*/ 1247775 h 4429225"/>
                    <a:gd name="connsiteX85" fmla="*/ 268627 w 4519987"/>
                    <a:gd name="connsiteY85" fmla="*/ 1200150 h 4429225"/>
                    <a:gd name="connsiteX86" fmla="*/ 287677 w 4519987"/>
                    <a:gd name="connsiteY86" fmla="*/ 1152525 h 4429225"/>
                    <a:gd name="connsiteX87" fmla="*/ 316252 w 4519987"/>
                    <a:gd name="connsiteY87" fmla="*/ 1114425 h 4429225"/>
                    <a:gd name="connsiteX88" fmla="*/ 363877 w 4519987"/>
                    <a:gd name="connsiteY88" fmla="*/ 1038225 h 4429225"/>
                    <a:gd name="connsiteX89" fmla="*/ 382927 w 4519987"/>
                    <a:gd name="connsiteY89" fmla="*/ 1009650 h 4429225"/>
                    <a:gd name="connsiteX90" fmla="*/ 440077 w 4519987"/>
                    <a:gd name="connsiteY90" fmla="*/ 904875 h 4429225"/>
                    <a:gd name="connsiteX91" fmla="*/ 478177 w 4519987"/>
                    <a:gd name="connsiteY91" fmla="*/ 857250 h 4429225"/>
                    <a:gd name="connsiteX92" fmla="*/ 497227 w 4519987"/>
                    <a:gd name="connsiteY92" fmla="*/ 828675 h 4429225"/>
                    <a:gd name="connsiteX93" fmla="*/ 535327 w 4519987"/>
                    <a:gd name="connsiteY93" fmla="*/ 800100 h 4429225"/>
                    <a:gd name="connsiteX94" fmla="*/ 602002 w 4519987"/>
                    <a:gd name="connsiteY94" fmla="*/ 733425 h 4429225"/>
                    <a:gd name="connsiteX95" fmla="*/ 668677 w 4519987"/>
                    <a:gd name="connsiteY95" fmla="*/ 676275 h 4429225"/>
                    <a:gd name="connsiteX96" fmla="*/ 697252 w 4519987"/>
                    <a:gd name="connsiteY96" fmla="*/ 657225 h 4429225"/>
                    <a:gd name="connsiteX97" fmla="*/ 840127 w 4519987"/>
                    <a:gd name="connsiteY97" fmla="*/ 533400 h 4429225"/>
                    <a:gd name="connsiteX98" fmla="*/ 887752 w 4519987"/>
                    <a:gd name="connsiteY98" fmla="*/ 504825 h 4429225"/>
                    <a:gd name="connsiteX99" fmla="*/ 1167152 w 4519987"/>
                    <a:gd name="connsiteY99" fmla="*/ 311150 h 4429225"/>
                    <a:gd name="connsiteX100" fmla="*/ 1268752 w 4519987"/>
                    <a:gd name="connsiteY100" fmla="*/ 285750 h 4429225"/>
                    <a:gd name="connsiteX101" fmla="*/ 1411627 w 4519987"/>
                    <a:gd name="connsiteY101" fmla="*/ 190500 h 4429225"/>
                    <a:gd name="connsiteX102" fmla="*/ 1449727 w 4519987"/>
                    <a:gd name="connsiteY102" fmla="*/ 161925 h 4429225"/>
                    <a:gd name="connsiteX103" fmla="*/ 1525927 w 4519987"/>
                    <a:gd name="connsiteY103" fmla="*/ 152400 h 4429225"/>
                    <a:gd name="connsiteX104" fmla="*/ 1583077 w 4519987"/>
                    <a:gd name="connsiteY104" fmla="*/ 142875 h 4429225"/>
                    <a:gd name="connsiteX105" fmla="*/ 1716427 w 4519987"/>
                    <a:gd name="connsiteY105" fmla="*/ 123825 h 4429225"/>
                    <a:gd name="connsiteX106" fmla="*/ 1811677 w 4519987"/>
                    <a:gd name="connsiteY106" fmla="*/ 114300 h 4429225"/>
                    <a:gd name="connsiteX107" fmla="*/ 1859302 w 4519987"/>
                    <a:gd name="connsiteY107" fmla="*/ 104775 h 4429225"/>
                    <a:gd name="connsiteX108" fmla="*/ 1916452 w 4519987"/>
                    <a:gd name="connsiteY108" fmla="*/ 95250 h 4429225"/>
                    <a:gd name="connsiteX109" fmla="*/ 2030752 w 4519987"/>
                    <a:gd name="connsiteY109" fmla="*/ 66675 h 4429225"/>
                    <a:gd name="connsiteX110" fmla="*/ 2097427 w 4519987"/>
                    <a:gd name="connsiteY110" fmla="*/ 47625 h 4429225"/>
                    <a:gd name="connsiteX111" fmla="*/ 2164102 w 4519987"/>
                    <a:gd name="connsiteY111" fmla="*/ 38100 h 4429225"/>
                    <a:gd name="connsiteX112" fmla="*/ 2392702 w 4519987"/>
                    <a:gd name="connsiteY11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087777 w 4519987"/>
                    <a:gd name="connsiteY48" fmla="*/ 4143375 h 4429225"/>
                    <a:gd name="connsiteX49" fmla="*/ 1030627 w 4519987"/>
                    <a:gd name="connsiteY49" fmla="*/ 4124325 h 4429225"/>
                    <a:gd name="connsiteX50" fmla="*/ 925852 w 4519987"/>
                    <a:gd name="connsiteY50" fmla="*/ 4067175 h 4429225"/>
                    <a:gd name="connsiteX51" fmla="*/ 830602 w 4519987"/>
                    <a:gd name="connsiteY51" fmla="*/ 3981450 h 4429225"/>
                    <a:gd name="connsiteX52" fmla="*/ 763927 w 4519987"/>
                    <a:gd name="connsiteY52" fmla="*/ 3914775 h 4429225"/>
                    <a:gd name="connsiteX53" fmla="*/ 725827 w 4519987"/>
                    <a:gd name="connsiteY53" fmla="*/ 3876675 h 4429225"/>
                    <a:gd name="connsiteX54" fmla="*/ 697252 w 4519987"/>
                    <a:gd name="connsiteY54" fmla="*/ 3838575 h 4429225"/>
                    <a:gd name="connsiteX55" fmla="*/ 640102 w 4519987"/>
                    <a:gd name="connsiteY55" fmla="*/ 3781425 h 4429225"/>
                    <a:gd name="connsiteX56" fmla="*/ 611527 w 4519987"/>
                    <a:gd name="connsiteY56" fmla="*/ 3733800 h 4429225"/>
                    <a:gd name="connsiteX57" fmla="*/ 554377 w 4519987"/>
                    <a:gd name="connsiteY57" fmla="*/ 3657600 h 4429225"/>
                    <a:gd name="connsiteX58" fmla="*/ 525802 w 4519987"/>
                    <a:gd name="connsiteY58" fmla="*/ 3609975 h 4429225"/>
                    <a:gd name="connsiteX59" fmla="*/ 497227 w 4519987"/>
                    <a:gd name="connsiteY59" fmla="*/ 3552825 h 4429225"/>
                    <a:gd name="connsiteX60" fmla="*/ 440077 w 4519987"/>
                    <a:gd name="connsiteY60" fmla="*/ 3495675 h 4429225"/>
                    <a:gd name="connsiteX61" fmla="*/ 411502 w 4519987"/>
                    <a:gd name="connsiteY61" fmla="*/ 3448050 h 4429225"/>
                    <a:gd name="connsiteX62" fmla="*/ 278152 w 4519987"/>
                    <a:gd name="connsiteY62" fmla="*/ 3257550 h 4429225"/>
                    <a:gd name="connsiteX63" fmla="*/ 249577 w 4519987"/>
                    <a:gd name="connsiteY63" fmla="*/ 3200400 h 4429225"/>
                    <a:gd name="connsiteX64" fmla="*/ 240052 w 4519987"/>
                    <a:gd name="connsiteY64" fmla="*/ 3162300 h 4429225"/>
                    <a:gd name="connsiteX65" fmla="*/ 221002 w 4519987"/>
                    <a:gd name="connsiteY65" fmla="*/ 3105150 h 4429225"/>
                    <a:gd name="connsiteX66" fmla="*/ 173377 w 4519987"/>
                    <a:gd name="connsiteY66" fmla="*/ 3019425 h 4429225"/>
                    <a:gd name="connsiteX67" fmla="*/ 144802 w 4519987"/>
                    <a:gd name="connsiteY67" fmla="*/ 2924175 h 4429225"/>
                    <a:gd name="connsiteX68" fmla="*/ 68602 w 4519987"/>
                    <a:gd name="connsiteY68" fmla="*/ 2724150 h 4429225"/>
                    <a:gd name="connsiteX69" fmla="*/ 49552 w 4519987"/>
                    <a:gd name="connsiteY69" fmla="*/ 2638425 h 4429225"/>
                    <a:gd name="connsiteX70" fmla="*/ 40027 w 4519987"/>
                    <a:gd name="connsiteY70" fmla="*/ 2562225 h 4429225"/>
                    <a:gd name="connsiteX71" fmla="*/ 30502 w 4519987"/>
                    <a:gd name="connsiteY71" fmla="*/ 2514600 h 4429225"/>
                    <a:gd name="connsiteX72" fmla="*/ 11452 w 4519987"/>
                    <a:gd name="connsiteY72" fmla="*/ 2400300 h 4429225"/>
                    <a:gd name="connsiteX73" fmla="*/ 20977 w 4519987"/>
                    <a:gd name="connsiteY73" fmla="*/ 1905000 h 4429225"/>
                    <a:gd name="connsiteX74" fmla="*/ 30502 w 4519987"/>
                    <a:gd name="connsiteY74" fmla="*/ 1838325 h 4429225"/>
                    <a:gd name="connsiteX75" fmla="*/ 49552 w 4519987"/>
                    <a:gd name="connsiteY75" fmla="*/ 1781175 h 4429225"/>
                    <a:gd name="connsiteX76" fmla="*/ 59077 w 4519987"/>
                    <a:gd name="connsiteY76" fmla="*/ 1743075 h 4429225"/>
                    <a:gd name="connsiteX77" fmla="*/ 78127 w 4519987"/>
                    <a:gd name="connsiteY77" fmla="*/ 1685925 h 4429225"/>
                    <a:gd name="connsiteX78" fmla="*/ 87652 w 4519987"/>
                    <a:gd name="connsiteY78" fmla="*/ 1638300 h 4429225"/>
                    <a:gd name="connsiteX79" fmla="*/ 106702 w 4519987"/>
                    <a:gd name="connsiteY79" fmla="*/ 1590675 h 4429225"/>
                    <a:gd name="connsiteX80" fmla="*/ 135277 w 4519987"/>
                    <a:gd name="connsiteY80" fmla="*/ 1504950 h 4429225"/>
                    <a:gd name="connsiteX81" fmla="*/ 154327 w 4519987"/>
                    <a:gd name="connsiteY81" fmla="*/ 1419225 h 4429225"/>
                    <a:gd name="connsiteX82" fmla="*/ 230527 w 4519987"/>
                    <a:gd name="connsiteY82" fmla="*/ 1276350 h 4429225"/>
                    <a:gd name="connsiteX83" fmla="*/ 240052 w 4519987"/>
                    <a:gd name="connsiteY83" fmla="*/ 1247775 h 4429225"/>
                    <a:gd name="connsiteX84" fmla="*/ 268627 w 4519987"/>
                    <a:gd name="connsiteY84" fmla="*/ 1200150 h 4429225"/>
                    <a:gd name="connsiteX85" fmla="*/ 287677 w 4519987"/>
                    <a:gd name="connsiteY85" fmla="*/ 1152525 h 4429225"/>
                    <a:gd name="connsiteX86" fmla="*/ 316252 w 4519987"/>
                    <a:gd name="connsiteY86" fmla="*/ 1114425 h 4429225"/>
                    <a:gd name="connsiteX87" fmla="*/ 363877 w 4519987"/>
                    <a:gd name="connsiteY87" fmla="*/ 1038225 h 4429225"/>
                    <a:gd name="connsiteX88" fmla="*/ 382927 w 4519987"/>
                    <a:gd name="connsiteY88" fmla="*/ 1009650 h 4429225"/>
                    <a:gd name="connsiteX89" fmla="*/ 440077 w 4519987"/>
                    <a:gd name="connsiteY89" fmla="*/ 904875 h 4429225"/>
                    <a:gd name="connsiteX90" fmla="*/ 478177 w 4519987"/>
                    <a:gd name="connsiteY90" fmla="*/ 857250 h 4429225"/>
                    <a:gd name="connsiteX91" fmla="*/ 497227 w 4519987"/>
                    <a:gd name="connsiteY91" fmla="*/ 828675 h 4429225"/>
                    <a:gd name="connsiteX92" fmla="*/ 535327 w 4519987"/>
                    <a:gd name="connsiteY92" fmla="*/ 800100 h 4429225"/>
                    <a:gd name="connsiteX93" fmla="*/ 602002 w 4519987"/>
                    <a:gd name="connsiteY93" fmla="*/ 733425 h 4429225"/>
                    <a:gd name="connsiteX94" fmla="*/ 668677 w 4519987"/>
                    <a:gd name="connsiteY94" fmla="*/ 676275 h 4429225"/>
                    <a:gd name="connsiteX95" fmla="*/ 697252 w 4519987"/>
                    <a:gd name="connsiteY95" fmla="*/ 657225 h 4429225"/>
                    <a:gd name="connsiteX96" fmla="*/ 840127 w 4519987"/>
                    <a:gd name="connsiteY96" fmla="*/ 533400 h 4429225"/>
                    <a:gd name="connsiteX97" fmla="*/ 887752 w 4519987"/>
                    <a:gd name="connsiteY97" fmla="*/ 504825 h 4429225"/>
                    <a:gd name="connsiteX98" fmla="*/ 1167152 w 4519987"/>
                    <a:gd name="connsiteY98" fmla="*/ 311150 h 4429225"/>
                    <a:gd name="connsiteX99" fmla="*/ 1268752 w 4519987"/>
                    <a:gd name="connsiteY99" fmla="*/ 285750 h 4429225"/>
                    <a:gd name="connsiteX100" fmla="*/ 1411627 w 4519987"/>
                    <a:gd name="connsiteY100" fmla="*/ 190500 h 4429225"/>
                    <a:gd name="connsiteX101" fmla="*/ 1449727 w 4519987"/>
                    <a:gd name="connsiteY101" fmla="*/ 161925 h 4429225"/>
                    <a:gd name="connsiteX102" fmla="*/ 1525927 w 4519987"/>
                    <a:gd name="connsiteY102" fmla="*/ 152400 h 4429225"/>
                    <a:gd name="connsiteX103" fmla="*/ 1583077 w 4519987"/>
                    <a:gd name="connsiteY103" fmla="*/ 142875 h 4429225"/>
                    <a:gd name="connsiteX104" fmla="*/ 1716427 w 4519987"/>
                    <a:gd name="connsiteY104" fmla="*/ 123825 h 4429225"/>
                    <a:gd name="connsiteX105" fmla="*/ 1811677 w 4519987"/>
                    <a:gd name="connsiteY105" fmla="*/ 114300 h 4429225"/>
                    <a:gd name="connsiteX106" fmla="*/ 1859302 w 4519987"/>
                    <a:gd name="connsiteY106" fmla="*/ 104775 h 4429225"/>
                    <a:gd name="connsiteX107" fmla="*/ 1916452 w 4519987"/>
                    <a:gd name="connsiteY107" fmla="*/ 95250 h 4429225"/>
                    <a:gd name="connsiteX108" fmla="*/ 2030752 w 4519987"/>
                    <a:gd name="connsiteY108" fmla="*/ 66675 h 4429225"/>
                    <a:gd name="connsiteX109" fmla="*/ 2097427 w 4519987"/>
                    <a:gd name="connsiteY109" fmla="*/ 47625 h 4429225"/>
                    <a:gd name="connsiteX110" fmla="*/ 2164102 w 4519987"/>
                    <a:gd name="connsiteY110" fmla="*/ 38100 h 4429225"/>
                    <a:gd name="connsiteX111" fmla="*/ 2392702 w 4519987"/>
                    <a:gd name="connsiteY11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1030627 w 4519987"/>
                    <a:gd name="connsiteY48" fmla="*/ 4124325 h 4429225"/>
                    <a:gd name="connsiteX49" fmla="*/ 925852 w 4519987"/>
                    <a:gd name="connsiteY49" fmla="*/ 4067175 h 4429225"/>
                    <a:gd name="connsiteX50" fmla="*/ 830602 w 4519987"/>
                    <a:gd name="connsiteY50" fmla="*/ 3981450 h 4429225"/>
                    <a:gd name="connsiteX51" fmla="*/ 763927 w 4519987"/>
                    <a:gd name="connsiteY51" fmla="*/ 3914775 h 4429225"/>
                    <a:gd name="connsiteX52" fmla="*/ 725827 w 4519987"/>
                    <a:gd name="connsiteY52" fmla="*/ 3876675 h 4429225"/>
                    <a:gd name="connsiteX53" fmla="*/ 697252 w 4519987"/>
                    <a:gd name="connsiteY53" fmla="*/ 3838575 h 4429225"/>
                    <a:gd name="connsiteX54" fmla="*/ 640102 w 4519987"/>
                    <a:gd name="connsiteY54" fmla="*/ 3781425 h 4429225"/>
                    <a:gd name="connsiteX55" fmla="*/ 611527 w 4519987"/>
                    <a:gd name="connsiteY55" fmla="*/ 3733800 h 4429225"/>
                    <a:gd name="connsiteX56" fmla="*/ 554377 w 4519987"/>
                    <a:gd name="connsiteY56" fmla="*/ 3657600 h 4429225"/>
                    <a:gd name="connsiteX57" fmla="*/ 525802 w 4519987"/>
                    <a:gd name="connsiteY57" fmla="*/ 3609975 h 4429225"/>
                    <a:gd name="connsiteX58" fmla="*/ 497227 w 4519987"/>
                    <a:gd name="connsiteY58" fmla="*/ 3552825 h 4429225"/>
                    <a:gd name="connsiteX59" fmla="*/ 440077 w 4519987"/>
                    <a:gd name="connsiteY59" fmla="*/ 3495675 h 4429225"/>
                    <a:gd name="connsiteX60" fmla="*/ 411502 w 4519987"/>
                    <a:gd name="connsiteY60" fmla="*/ 3448050 h 4429225"/>
                    <a:gd name="connsiteX61" fmla="*/ 278152 w 4519987"/>
                    <a:gd name="connsiteY61" fmla="*/ 3257550 h 4429225"/>
                    <a:gd name="connsiteX62" fmla="*/ 249577 w 4519987"/>
                    <a:gd name="connsiteY62" fmla="*/ 3200400 h 4429225"/>
                    <a:gd name="connsiteX63" fmla="*/ 240052 w 4519987"/>
                    <a:gd name="connsiteY63" fmla="*/ 3162300 h 4429225"/>
                    <a:gd name="connsiteX64" fmla="*/ 221002 w 4519987"/>
                    <a:gd name="connsiteY64" fmla="*/ 3105150 h 4429225"/>
                    <a:gd name="connsiteX65" fmla="*/ 173377 w 4519987"/>
                    <a:gd name="connsiteY65" fmla="*/ 3019425 h 4429225"/>
                    <a:gd name="connsiteX66" fmla="*/ 144802 w 4519987"/>
                    <a:gd name="connsiteY66" fmla="*/ 2924175 h 4429225"/>
                    <a:gd name="connsiteX67" fmla="*/ 68602 w 4519987"/>
                    <a:gd name="connsiteY67" fmla="*/ 2724150 h 4429225"/>
                    <a:gd name="connsiteX68" fmla="*/ 49552 w 4519987"/>
                    <a:gd name="connsiteY68" fmla="*/ 2638425 h 4429225"/>
                    <a:gd name="connsiteX69" fmla="*/ 40027 w 4519987"/>
                    <a:gd name="connsiteY69" fmla="*/ 2562225 h 4429225"/>
                    <a:gd name="connsiteX70" fmla="*/ 30502 w 4519987"/>
                    <a:gd name="connsiteY70" fmla="*/ 2514600 h 4429225"/>
                    <a:gd name="connsiteX71" fmla="*/ 11452 w 4519987"/>
                    <a:gd name="connsiteY71" fmla="*/ 2400300 h 4429225"/>
                    <a:gd name="connsiteX72" fmla="*/ 20977 w 4519987"/>
                    <a:gd name="connsiteY72" fmla="*/ 1905000 h 4429225"/>
                    <a:gd name="connsiteX73" fmla="*/ 30502 w 4519987"/>
                    <a:gd name="connsiteY73" fmla="*/ 1838325 h 4429225"/>
                    <a:gd name="connsiteX74" fmla="*/ 49552 w 4519987"/>
                    <a:gd name="connsiteY74" fmla="*/ 1781175 h 4429225"/>
                    <a:gd name="connsiteX75" fmla="*/ 59077 w 4519987"/>
                    <a:gd name="connsiteY75" fmla="*/ 1743075 h 4429225"/>
                    <a:gd name="connsiteX76" fmla="*/ 78127 w 4519987"/>
                    <a:gd name="connsiteY76" fmla="*/ 1685925 h 4429225"/>
                    <a:gd name="connsiteX77" fmla="*/ 87652 w 4519987"/>
                    <a:gd name="connsiteY77" fmla="*/ 1638300 h 4429225"/>
                    <a:gd name="connsiteX78" fmla="*/ 106702 w 4519987"/>
                    <a:gd name="connsiteY78" fmla="*/ 1590675 h 4429225"/>
                    <a:gd name="connsiteX79" fmla="*/ 135277 w 4519987"/>
                    <a:gd name="connsiteY79" fmla="*/ 1504950 h 4429225"/>
                    <a:gd name="connsiteX80" fmla="*/ 154327 w 4519987"/>
                    <a:gd name="connsiteY80" fmla="*/ 1419225 h 4429225"/>
                    <a:gd name="connsiteX81" fmla="*/ 230527 w 4519987"/>
                    <a:gd name="connsiteY81" fmla="*/ 1276350 h 4429225"/>
                    <a:gd name="connsiteX82" fmla="*/ 240052 w 4519987"/>
                    <a:gd name="connsiteY82" fmla="*/ 1247775 h 4429225"/>
                    <a:gd name="connsiteX83" fmla="*/ 268627 w 4519987"/>
                    <a:gd name="connsiteY83" fmla="*/ 1200150 h 4429225"/>
                    <a:gd name="connsiteX84" fmla="*/ 287677 w 4519987"/>
                    <a:gd name="connsiteY84" fmla="*/ 1152525 h 4429225"/>
                    <a:gd name="connsiteX85" fmla="*/ 316252 w 4519987"/>
                    <a:gd name="connsiteY85" fmla="*/ 1114425 h 4429225"/>
                    <a:gd name="connsiteX86" fmla="*/ 363877 w 4519987"/>
                    <a:gd name="connsiteY86" fmla="*/ 1038225 h 4429225"/>
                    <a:gd name="connsiteX87" fmla="*/ 382927 w 4519987"/>
                    <a:gd name="connsiteY87" fmla="*/ 1009650 h 4429225"/>
                    <a:gd name="connsiteX88" fmla="*/ 440077 w 4519987"/>
                    <a:gd name="connsiteY88" fmla="*/ 904875 h 4429225"/>
                    <a:gd name="connsiteX89" fmla="*/ 478177 w 4519987"/>
                    <a:gd name="connsiteY89" fmla="*/ 857250 h 4429225"/>
                    <a:gd name="connsiteX90" fmla="*/ 497227 w 4519987"/>
                    <a:gd name="connsiteY90" fmla="*/ 828675 h 4429225"/>
                    <a:gd name="connsiteX91" fmla="*/ 535327 w 4519987"/>
                    <a:gd name="connsiteY91" fmla="*/ 800100 h 4429225"/>
                    <a:gd name="connsiteX92" fmla="*/ 602002 w 4519987"/>
                    <a:gd name="connsiteY92" fmla="*/ 733425 h 4429225"/>
                    <a:gd name="connsiteX93" fmla="*/ 668677 w 4519987"/>
                    <a:gd name="connsiteY93" fmla="*/ 676275 h 4429225"/>
                    <a:gd name="connsiteX94" fmla="*/ 697252 w 4519987"/>
                    <a:gd name="connsiteY94" fmla="*/ 657225 h 4429225"/>
                    <a:gd name="connsiteX95" fmla="*/ 840127 w 4519987"/>
                    <a:gd name="connsiteY95" fmla="*/ 533400 h 4429225"/>
                    <a:gd name="connsiteX96" fmla="*/ 887752 w 4519987"/>
                    <a:gd name="connsiteY96" fmla="*/ 504825 h 4429225"/>
                    <a:gd name="connsiteX97" fmla="*/ 1167152 w 4519987"/>
                    <a:gd name="connsiteY97" fmla="*/ 311150 h 4429225"/>
                    <a:gd name="connsiteX98" fmla="*/ 1268752 w 4519987"/>
                    <a:gd name="connsiteY98" fmla="*/ 285750 h 4429225"/>
                    <a:gd name="connsiteX99" fmla="*/ 1411627 w 4519987"/>
                    <a:gd name="connsiteY99" fmla="*/ 190500 h 4429225"/>
                    <a:gd name="connsiteX100" fmla="*/ 1449727 w 4519987"/>
                    <a:gd name="connsiteY100" fmla="*/ 161925 h 4429225"/>
                    <a:gd name="connsiteX101" fmla="*/ 1525927 w 4519987"/>
                    <a:gd name="connsiteY101" fmla="*/ 152400 h 4429225"/>
                    <a:gd name="connsiteX102" fmla="*/ 1583077 w 4519987"/>
                    <a:gd name="connsiteY102" fmla="*/ 142875 h 4429225"/>
                    <a:gd name="connsiteX103" fmla="*/ 1716427 w 4519987"/>
                    <a:gd name="connsiteY103" fmla="*/ 123825 h 4429225"/>
                    <a:gd name="connsiteX104" fmla="*/ 1811677 w 4519987"/>
                    <a:gd name="connsiteY104" fmla="*/ 114300 h 4429225"/>
                    <a:gd name="connsiteX105" fmla="*/ 1859302 w 4519987"/>
                    <a:gd name="connsiteY105" fmla="*/ 104775 h 4429225"/>
                    <a:gd name="connsiteX106" fmla="*/ 1916452 w 4519987"/>
                    <a:gd name="connsiteY106" fmla="*/ 95250 h 4429225"/>
                    <a:gd name="connsiteX107" fmla="*/ 2030752 w 4519987"/>
                    <a:gd name="connsiteY107" fmla="*/ 66675 h 4429225"/>
                    <a:gd name="connsiteX108" fmla="*/ 2097427 w 4519987"/>
                    <a:gd name="connsiteY108" fmla="*/ 47625 h 4429225"/>
                    <a:gd name="connsiteX109" fmla="*/ 2164102 w 4519987"/>
                    <a:gd name="connsiteY109" fmla="*/ 38100 h 4429225"/>
                    <a:gd name="connsiteX110" fmla="*/ 2392702 w 4519987"/>
                    <a:gd name="connsiteY11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925852 w 4519987"/>
                    <a:gd name="connsiteY48" fmla="*/ 4067175 h 4429225"/>
                    <a:gd name="connsiteX49" fmla="*/ 830602 w 4519987"/>
                    <a:gd name="connsiteY49" fmla="*/ 3981450 h 4429225"/>
                    <a:gd name="connsiteX50" fmla="*/ 763927 w 4519987"/>
                    <a:gd name="connsiteY50" fmla="*/ 3914775 h 4429225"/>
                    <a:gd name="connsiteX51" fmla="*/ 725827 w 4519987"/>
                    <a:gd name="connsiteY51" fmla="*/ 3876675 h 4429225"/>
                    <a:gd name="connsiteX52" fmla="*/ 697252 w 4519987"/>
                    <a:gd name="connsiteY52" fmla="*/ 3838575 h 4429225"/>
                    <a:gd name="connsiteX53" fmla="*/ 640102 w 4519987"/>
                    <a:gd name="connsiteY53" fmla="*/ 3781425 h 4429225"/>
                    <a:gd name="connsiteX54" fmla="*/ 611527 w 4519987"/>
                    <a:gd name="connsiteY54" fmla="*/ 3733800 h 4429225"/>
                    <a:gd name="connsiteX55" fmla="*/ 554377 w 4519987"/>
                    <a:gd name="connsiteY55" fmla="*/ 3657600 h 4429225"/>
                    <a:gd name="connsiteX56" fmla="*/ 525802 w 4519987"/>
                    <a:gd name="connsiteY56" fmla="*/ 3609975 h 4429225"/>
                    <a:gd name="connsiteX57" fmla="*/ 497227 w 4519987"/>
                    <a:gd name="connsiteY57" fmla="*/ 3552825 h 4429225"/>
                    <a:gd name="connsiteX58" fmla="*/ 440077 w 4519987"/>
                    <a:gd name="connsiteY58" fmla="*/ 3495675 h 4429225"/>
                    <a:gd name="connsiteX59" fmla="*/ 411502 w 4519987"/>
                    <a:gd name="connsiteY59" fmla="*/ 3448050 h 4429225"/>
                    <a:gd name="connsiteX60" fmla="*/ 278152 w 4519987"/>
                    <a:gd name="connsiteY60" fmla="*/ 3257550 h 4429225"/>
                    <a:gd name="connsiteX61" fmla="*/ 249577 w 4519987"/>
                    <a:gd name="connsiteY61" fmla="*/ 3200400 h 4429225"/>
                    <a:gd name="connsiteX62" fmla="*/ 240052 w 4519987"/>
                    <a:gd name="connsiteY62" fmla="*/ 3162300 h 4429225"/>
                    <a:gd name="connsiteX63" fmla="*/ 221002 w 4519987"/>
                    <a:gd name="connsiteY63" fmla="*/ 3105150 h 4429225"/>
                    <a:gd name="connsiteX64" fmla="*/ 173377 w 4519987"/>
                    <a:gd name="connsiteY64" fmla="*/ 3019425 h 4429225"/>
                    <a:gd name="connsiteX65" fmla="*/ 144802 w 4519987"/>
                    <a:gd name="connsiteY65" fmla="*/ 2924175 h 4429225"/>
                    <a:gd name="connsiteX66" fmla="*/ 68602 w 4519987"/>
                    <a:gd name="connsiteY66" fmla="*/ 2724150 h 4429225"/>
                    <a:gd name="connsiteX67" fmla="*/ 49552 w 4519987"/>
                    <a:gd name="connsiteY67" fmla="*/ 2638425 h 4429225"/>
                    <a:gd name="connsiteX68" fmla="*/ 40027 w 4519987"/>
                    <a:gd name="connsiteY68" fmla="*/ 2562225 h 4429225"/>
                    <a:gd name="connsiteX69" fmla="*/ 30502 w 4519987"/>
                    <a:gd name="connsiteY69" fmla="*/ 2514600 h 4429225"/>
                    <a:gd name="connsiteX70" fmla="*/ 11452 w 4519987"/>
                    <a:gd name="connsiteY70" fmla="*/ 2400300 h 4429225"/>
                    <a:gd name="connsiteX71" fmla="*/ 20977 w 4519987"/>
                    <a:gd name="connsiteY71" fmla="*/ 1905000 h 4429225"/>
                    <a:gd name="connsiteX72" fmla="*/ 30502 w 4519987"/>
                    <a:gd name="connsiteY72" fmla="*/ 1838325 h 4429225"/>
                    <a:gd name="connsiteX73" fmla="*/ 49552 w 4519987"/>
                    <a:gd name="connsiteY73" fmla="*/ 1781175 h 4429225"/>
                    <a:gd name="connsiteX74" fmla="*/ 59077 w 4519987"/>
                    <a:gd name="connsiteY74" fmla="*/ 1743075 h 4429225"/>
                    <a:gd name="connsiteX75" fmla="*/ 78127 w 4519987"/>
                    <a:gd name="connsiteY75" fmla="*/ 1685925 h 4429225"/>
                    <a:gd name="connsiteX76" fmla="*/ 87652 w 4519987"/>
                    <a:gd name="connsiteY76" fmla="*/ 1638300 h 4429225"/>
                    <a:gd name="connsiteX77" fmla="*/ 106702 w 4519987"/>
                    <a:gd name="connsiteY77" fmla="*/ 1590675 h 4429225"/>
                    <a:gd name="connsiteX78" fmla="*/ 135277 w 4519987"/>
                    <a:gd name="connsiteY78" fmla="*/ 1504950 h 4429225"/>
                    <a:gd name="connsiteX79" fmla="*/ 154327 w 4519987"/>
                    <a:gd name="connsiteY79" fmla="*/ 1419225 h 4429225"/>
                    <a:gd name="connsiteX80" fmla="*/ 230527 w 4519987"/>
                    <a:gd name="connsiteY80" fmla="*/ 1276350 h 4429225"/>
                    <a:gd name="connsiteX81" fmla="*/ 240052 w 4519987"/>
                    <a:gd name="connsiteY81" fmla="*/ 1247775 h 4429225"/>
                    <a:gd name="connsiteX82" fmla="*/ 268627 w 4519987"/>
                    <a:gd name="connsiteY82" fmla="*/ 1200150 h 4429225"/>
                    <a:gd name="connsiteX83" fmla="*/ 287677 w 4519987"/>
                    <a:gd name="connsiteY83" fmla="*/ 1152525 h 4429225"/>
                    <a:gd name="connsiteX84" fmla="*/ 316252 w 4519987"/>
                    <a:gd name="connsiteY84" fmla="*/ 1114425 h 4429225"/>
                    <a:gd name="connsiteX85" fmla="*/ 363877 w 4519987"/>
                    <a:gd name="connsiteY85" fmla="*/ 1038225 h 4429225"/>
                    <a:gd name="connsiteX86" fmla="*/ 382927 w 4519987"/>
                    <a:gd name="connsiteY86" fmla="*/ 1009650 h 4429225"/>
                    <a:gd name="connsiteX87" fmla="*/ 440077 w 4519987"/>
                    <a:gd name="connsiteY87" fmla="*/ 904875 h 4429225"/>
                    <a:gd name="connsiteX88" fmla="*/ 478177 w 4519987"/>
                    <a:gd name="connsiteY88" fmla="*/ 857250 h 4429225"/>
                    <a:gd name="connsiteX89" fmla="*/ 497227 w 4519987"/>
                    <a:gd name="connsiteY89" fmla="*/ 828675 h 4429225"/>
                    <a:gd name="connsiteX90" fmla="*/ 535327 w 4519987"/>
                    <a:gd name="connsiteY90" fmla="*/ 800100 h 4429225"/>
                    <a:gd name="connsiteX91" fmla="*/ 602002 w 4519987"/>
                    <a:gd name="connsiteY91" fmla="*/ 733425 h 4429225"/>
                    <a:gd name="connsiteX92" fmla="*/ 668677 w 4519987"/>
                    <a:gd name="connsiteY92" fmla="*/ 676275 h 4429225"/>
                    <a:gd name="connsiteX93" fmla="*/ 697252 w 4519987"/>
                    <a:gd name="connsiteY93" fmla="*/ 657225 h 4429225"/>
                    <a:gd name="connsiteX94" fmla="*/ 840127 w 4519987"/>
                    <a:gd name="connsiteY94" fmla="*/ 533400 h 4429225"/>
                    <a:gd name="connsiteX95" fmla="*/ 887752 w 4519987"/>
                    <a:gd name="connsiteY95" fmla="*/ 504825 h 4429225"/>
                    <a:gd name="connsiteX96" fmla="*/ 1167152 w 4519987"/>
                    <a:gd name="connsiteY96" fmla="*/ 311150 h 4429225"/>
                    <a:gd name="connsiteX97" fmla="*/ 1268752 w 4519987"/>
                    <a:gd name="connsiteY97" fmla="*/ 285750 h 4429225"/>
                    <a:gd name="connsiteX98" fmla="*/ 1411627 w 4519987"/>
                    <a:gd name="connsiteY98" fmla="*/ 190500 h 4429225"/>
                    <a:gd name="connsiteX99" fmla="*/ 1449727 w 4519987"/>
                    <a:gd name="connsiteY99" fmla="*/ 161925 h 4429225"/>
                    <a:gd name="connsiteX100" fmla="*/ 1525927 w 4519987"/>
                    <a:gd name="connsiteY100" fmla="*/ 152400 h 4429225"/>
                    <a:gd name="connsiteX101" fmla="*/ 1583077 w 4519987"/>
                    <a:gd name="connsiteY101" fmla="*/ 142875 h 4429225"/>
                    <a:gd name="connsiteX102" fmla="*/ 1716427 w 4519987"/>
                    <a:gd name="connsiteY102" fmla="*/ 123825 h 4429225"/>
                    <a:gd name="connsiteX103" fmla="*/ 1811677 w 4519987"/>
                    <a:gd name="connsiteY103" fmla="*/ 114300 h 4429225"/>
                    <a:gd name="connsiteX104" fmla="*/ 1859302 w 4519987"/>
                    <a:gd name="connsiteY104" fmla="*/ 104775 h 4429225"/>
                    <a:gd name="connsiteX105" fmla="*/ 1916452 w 4519987"/>
                    <a:gd name="connsiteY105" fmla="*/ 95250 h 4429225"/>
                    <a:gd name="connsiteX106" fmla="*/ 2030752 w 4519987"/>
                    <a:gd name="connsiteY106" fmla="*/ 66675 h 4429225"/>
                    <a:gd name="connsiteX107" fmla="*/ 2097427 w 4519987"/>
                    <a:gd name="connsiteY107" fmla="*/ 47625 h 4429225"/>
                    <a:gd name="connsiteX108" fmla="*/ 2164102 w 4519987"/>
                    <a:gd name="connsiteY108" fmla="*/ 38100 h 4429225"/>
                    <a:gd name="connsiteX109" fmla="*/ 2392702 w 4519987"/>
                    <a:gd name="connsiteY10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725827 w 4519987"/>
                    <a:gd name="connsiteY50" fmla="*/ 3876675 h 4429225"/>
                    <a:gd name="connsiteX51" fmla="*/ 697252 w 4519987"/>
                    <a:gd name="connsiteY51" fmla="*/ 3838575 h 4429225"/>
                    <a:gd name="connsiteX52" fmla="*/ 640102 w 4519987"/>
                    <a:gd name="connsiteY52" fmla="*/ 3781425 h 4429225"/>
                    <a:gd name="connsiteX53" fmla="*/ 611527 w 4519987"/>
                    <a:gd name="connsiteY53" fmla="*/ 3733800 h 4429225"/>
                    <a:gd name="connsiteX54" fmla="*/ 554377 w 4519987"/>
                    <a:gd name="connsiteY54" fmla="*/ 3657600 h 4429225"/>
                    <a:gd name="connsiteX55" fmla="*/ 525802 w 4519987"/>
                    <a:gd name="connsiteY55" fmla="*/ 3609975 h 4429225"/>
                    <a:gd name="connsiteX56" fmla="*/ 497227 w 4519987"/>
                    <a:gd name="connsiteY56" fmla="*/ 3552825 h 4429225"/>
                    <a:gd name="connsiteX57" fmla="*/ 440077 w 4519987"/>
                    <a:gd name="connsiteY57" fmla="*/ 3495675 h 4429225"/>
                    <a:gd name="connsiteX58" fmla="*/ 411502 w 4519987"/>
                    <a:gd name="connsiteY58" fmla="*/ 3448050 h 4429225"/>
                    <a:gd name="connsiteX59" fmla="*/ 278152 w 4519987"/>
                    <a:gd name="connsiteY59" fmla="*/ 3257550 h 4429225"/>
                    <a:gd name="connsiteX60" fmla="*/ 249577 w 4519987"/>
                    <a:gd name="connsiteY60" fmla="*/ 3200400 h 4429225"/>
                    <a:gd name="connsiteX61" fmla="*/ 240052 w 4519987"/>
                    <a:gd name="connsiteY61" fmla="*/ 3162300 h 4429225"/>
                    <a:gd name="connsiteX62" fmla="*/ 221002 w 4519987"/>
                    <a:gd name="connsiteY62" fmla="*/ 3105150 h 4429225"/>
                    <a:gd name="connsiteX63" fmla="*/ 173377 w 4519987"/>
                    <a:gd name="connsiteY63" fmla="*/ 3019425 h 4429225"/>
                    <a:gd name="connsiteX64" fmla="*/ 144802 w 4519987"/>
                    <a:gd name="connsiteY64" fmla="*/ 2924175 h 4429225"/>
                    <a:gd name="connsiteX65" fmla="*/ 68602 w 4519987"/>
                    <a:gd name="connsiteY65" fmla="*/ 2724150 h 4429225"/>
                    <a:gd name="connsiteX66" fmla="*/ 49552 w 4519987"/>
                    <a:gd name="connsiteY66" fmla="*/ 2638425 h 4429225"/>
                    <a:gd name="connsiteX67" fmla="*/ 40027 w 4519987"/>
                    <a:gd name="connsiteY67" fmla="*/ 2562225 h 4429225"/>
                    <a:gd name="connsiteX68" fmla="*/ 30502 w 4519987"/>
                    <a:gd name="connsiteY68" fmla="*/ 2514600 h 4429225"/>
                    <a:gd name="connsiteX69" fmla="*/ 11452 w 4519987"/>
                    <a:gd name="connsiteY69" fmla="*/ 2400300 h 4429225"/>
                    <a:gd name="connsiteX70" fmla="*/ 20977 w 4519987"/>
                    <a:gd name="connsiteY70" fmla="*/ 1905000 h 4429225"/>
                    <a:gd name="connsiteX71" fmla="*/ 30502 w 4519987"/>
                    <a:gd name="connsiteY71" fmla="*/ 1838325 h 4429225"/>
                    <a:gd name="connsiteX72" fmla="*/ 49552 w 4519987"/>
                    <a:gd name="connsiteY72" fmla="*/ 1781175 h 4429225"/>
                    <a:gd name="connsiteX73" fmla="*/ 59077 w 4519987"/>
                    <a:gd name="connsiteY73" fmla="*/ 1743075 h 4429225"/>
                    <a:gd name="connsiteX74" fmla="*/ 78127 w 4519987"/>
                    <a:gd name="connsiteY74" fmla="*/ 1685925 h 4429225"/>
                    <a:gd name="connsiteX75" fmla="*/ 87652 w 4519987"/>
                    <a:gd name="connsiteY75" fmla="*/ 1638300 h 4429225"/>
                    <a:gd name="connsiteX76" fmla="*/ 106702 w 4519987"/>
                    <a:gd name="connsiteY76" fmla="*/ 1590675 h 4429225"/>
                    <a:gd name="connsiteX77" fmla="*/ 135277 w 4519987"/>
                    <a:gd name="connsiteY77" fmla="*/ 1504950 h 4429225"/>
                    <a:gd name="connsiteX78" fmla="*/ 154327 w 4519987"/>
                    <a:gd name="connsiteY78" fmla="*/ 1419225 h 4429225"/>
                    <a:gd name="connsiteX79" fmla="*/ 230527 w 4519987"/>
                    <a:gd name="connsiteY79" fmla="*/ 1276350 h 4429225"/>
                    <a:gd name="connsiteX80" fmla="*/ 240052 w 4519987"/>
                    <a:gd name="connsiteY80" fmla="*/ 1247775 h 4429225"/>
                    <a:gd name="connsiteX81" fmla="*/ 268627 w 4519987"/>
                    <a:gd name="connsiteY81" fmla="*/ 1200150 h 4429225"/>
                    <a:gd name="connsiteX82" fmla="*/ 287677 w 4519987"/>
                    <a:gd name="connsiteY82" fmla="*/ 1152525 h 4429225"/>
                    <a:gd name="connsiteX83" fmla="*/ 316252 w 4519987"/>
                    <a:gd name="connsiteY83" fmla="*/ 1114425 h 4429225"/>
                    <a:gd name="connsiteX84" fmla="*/ 363877 w 4519987"/>
                    <a:gd name="connsiteY84" fmla="*/ 1038225 h 4429225"/>
                    <a:gd name="connsiteX85" fmla="*/ 382927 w 4519987"/>
                    <a:gd name="connsiteY85" fmla="*/ 1009650 h 4429225"/>
                    <a:gd name="connsiteX86" fmla="*/ 440077 w 4519987"/>
                    <a:gd name="connsiteY86" fmla="*/ 904875 h 4429225"/>
                    <a:gd name="connsiteX87" fmla="*/ 478177 w 4519987"/>
                    <a:gd name="connsiteY87" fmla="*/ 857250 h 4429225"/>
                    <a:gd name="connsiteX88" fmla="*/ 497227 w 4519987"/>
                    <a:gd name="connsiteY88" fmla="*/ 828675 h 4429225"/>
                    <a:gd name="connsiteX89" fmla="*/ 535327 w 4519987"/>
                    <a:gd name="connsiteY89" fmla="*/ 800100 h 4429225"/>
                    <a:gd name="connsiteX90" fmla="*/ 602002 w 4519987"/>
                    <a:gd name="connsiteY90" fmla="*/ 733425 h 4429225"/>
                    <a:gd name="connsiteX91" fmla="*/ 668677 w 4519987"/>
                    <a:gd name="connsiteY91" fmla="*/ 676275 h 4429225"/>
                    <a:gd name="connsiteX92" fmla="*/ 697252 w 4519987"/>
                    <a:gd name="connsiteY92" fmla="*/ 657225 h 4429225"/>
                    <a:gd name="connsiteX93" fmla="*/ 840127 w 4519987"/>
                    <a:gd name="connsiteY93" fmla="*/ 533400 h 4429225"/>
                    <a:gd name="connsiteX94" fmla="*/ 887752 w 4519987"/>
                    <a:gd name="connsiteY94" fmla="*/ 504825 h 4429225"/>
                    <a:gd name="connsiteX95" fmla="*/ 1167152 w 4519987"/>
                    <a:gd name="connsiteY95" fmla="*/ 311150 h 4429225"/>
                    <a:gd name="connsiteX96" fmla="*/ 1268752 w 4519987"/>
                    <a:gd name="connsiteY96" fmla="*/ 285750 h 4429225"/>
                    <a:gd name="connsiteX97" fmla="*/ 1411627 w 4519987"/>
                    <a:gd name="connsiteY97" fmla="*/ 190500 h 4429225"/>
                    <a:gd name="connsiteX98" fmla="*/ 1449727 w 4519987"/>
                    <a:gd name="connsiteY98" fmla="*/ 161925 h 4429225"/>
                    <a:gd name="connsiteX99" fmla="*/ 1525927 w 4519987"/>
                    <a:gd name="connsiteY99" fmla="*/ 152400 h 4429225"/>
                    <a:gd name="connsiteX100" fmla="*/ 1583077 w 4519987"/>
                    <a:gd name="connsiteY100" fmla="*/ 142875 h 4429225"/>
                    <a:gd name="connsiteX101" fmla="*/ 1716427 w 4519987"/>
                    <a:gd name="connsiteY101" fmla="*/ 123825 h 4429225"/>
                    <a:gd name="connsiteX102" fmla="*/ 1811677 w 4519987"/>
                    <a:gd name="connsiteY102" fmla="*/ 114300 h 4429225"/>
                    <a:gd name="connsiteX103" fmla="*/ 1859302 w 4519987"/>
                    <a:gd name="connsiteY103" fmla="*/ 104775 h 4429225"/>
                    <a:gd name="connsiteX104" fmla="*/ 1916452 w 4519987"/>
                    <a:gd name="connsiteY104" fmla="*/ 95250 h 4429225"/>
                    <a:gd name="connsiteX105" fmla="*/ 2030752 w 4519987"/>
                    <a:gd name="connsiteY105" fmla="*/ 66675 h 4429225"/>
                    <a:gd name="connsiteX106" fmla="*/ 2097427 w 4519987"/>
                    <a:gd name="connsiteY106" fmla="*/ 47625 h 4429225"/>
                    <a:gd name="connsiteX107" fmla="*/ 2164102 w 4519987"/>
                    <a:gd name="connsiteY107" fmla="*/ 38100 h 4429225"/>
                    <a:gd name="connsiteX108" fmla="*/ 2392702 w 4519987"/>
                    <a:gd name="connsiteY10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40102 w 4519987"/>
                    <a:gd name="connsiteY51" fmla="*/ 3781425 h 4429225"/>
                    <a:gd name="connsiteX52" fmla="*/ 611527 w 4519987"/>
                    <a:gd name="connsiteY52" fmla="*/ 3733800 h 4429225"/>
                    <a:gd name="connsiteX53" fmla="*/ 554377 w 4519987"/>
                    <a:gd name="connsiteY53" fmla="*/ 3657600 h 4429225"/>
                    <a:gd name="connsiteX54" fmla="*/ 525802 w 4519987"/>
                    <a:gd name="connsiteY54" fmla="*/ 3609975 h 4429225"/>
                    <a:gd name="connsiteX55" fmla="*/ 497227 w 4519987"/>
                    <a:gd name="connsiteY55" fmla="*/ 3552825 h 4429225"/>
                    <a:gd name="connsiteX56" fmla="*/ 440077 w 4519987"/>
                    <a:gd name="connsiteY56" fmla="*/ 3495675 h 4429225"/>
                    <a:gd name="connsiteX57" fmla="*/ 411502 w 4519987"/>
                    <a:gd name="connsiteY57" fmla="*/ 3448050 h 4429225"/>
                    <a:gd name="connsiteX58" fmla="*/ 278152 w 4519987"/>
                    <a:gd name="connsiteY58" fmla="*/ 3257550 h 4429225"/>
                    <a:gd name="connsiteX59" fmla="*/ 249577 w 4519987"/>
                    <a:gd name="connsiteY59" fmla="*/ 3200400 h 4429225"/>
                    <a:gd name="connsiteX60" fmla="*/ 240052 w 4519987"/>
                    <a:gd name="connsiteY60" fmla="*/ 3162300 h 4429225"/>
                    <a:gd name="connsiteX61" fmla="*/ 221002 w 4519987"/>
                    <a:gd name="connsiteY61" fmla="*/ 3105150 h 4429225"/>
                    <a:gd name="connsiteX62" fmla="*/ 173377 w 4519987"/>
                    <a:gd name="connsiteY62" fmla="*/ 3019425 h 4429225"/>
                    <a:gd name="connsiteX63" fmla="*/ 144802 w 4519987"/>
                    <a:gd name="connsiteY63" fmla="*/ 2924175 h 4429225"/>
                    <a:gd name="connsiteX64" fmla="*/ 68602 w 4519987"/>
                    <a:gd name="connsiteY64" fmla="*/ 2724150 h 4429225"/>
                    <a:gd name="connsiteX65" fmla="*/ 49552 w 4519987"/>
                    <a:gd name="connsiteY65" fmla="*/ 2638425 h 4429225"/>
                    <a:gd name="connsiteX66" fmla="*/ 40027 w 4519987"/>
                    <a:gd name="connsiteY66" fmla="*/ 2562225 h 4429225"/>
                    <a:gd name="connsiteX67" fmla="*/ 30502 w 4519987"/>
                    <a:gd name="connsiteY67" fmla="*/ 2514600 h 4429225"/>
                    <a:gd name="connsiteX68" fmla="*/ 11452 w 4519987"/>
                    <a:gd name="connsiteY68" fmla="*/ 2400300 h 4429225"/>
                    <a:gd name="connsiteX69" fmla="*/ 20977 w 4519987"/>
                    <a:gd name="connsiteY69" fmla="*/ 1905000 h 4429225"/>
                    <a:gd name="connsiteX70" fmla="*/ 30502 w 4519987"/>
                    <a:gd name="connsiteY70" fmla="*/ 1838325 h 4429225"/>
                    <a:gd name="connsiteX71" fmla="*/ 49552 w 4519987"/>
                    <a:gd name="connsiteY71" fmla="*/ 1781175 h 4429225"/>
                    <a:gd name="connsiteX72" fmla="*/ 59077 w 4519987"/>
                    <a:gd name="connsiteY72" fmla="*/ 1743075 h 4429225"/>
                    <a:gd name="connsiteX73" fmla="*/ 78127 w 4519987"/>
                    <a:gd name="connsiteY73" fmla="*/ 1685925 h 4429225"/>
                    <a:gd name="connsiteX74" fmla="*/ 87652 w 4519987"/>
                    <a:gd name="connsiteY74" fmla="*/ 1638300 h 4429225"/>
                    <a:gd name="connsiteX75" fmla="*/ 106702 w 4519987"/>
                    <a:gd name="connsiteY75" fmla="*/ 1590675 h 4429225"/>
                    <a:gd name="connsiteX76" fmla="*/ 135277 w 4519987"/>
                    <a:gd name="connsiteY76" fmla="*/ 1504950 h 4429225"/>
                    <a:gd name="connsiteX77" fmla="*/ 154327 w 4519987"/>
                    <a:gd name="connsiteY77" fmla="*/ 1419225 h 4429225"/>
                    <a:gd name="connsiteX78" fmla="*/ 230527 w 4519987"/>
                    <a:gd name="connsiteY78" fmla="*/ 1276350 h 4429225"/>
                    <a:gd name="connsiteX79" fmla="*/ 240052 w 4519987"/>
                    <a:gd name="connsiteY79" fmla="*/ 1247775 h 4429225"/>
                    <a:gd name="connsiteX80" fmla="*/ 268627 w 4519987"/>
                    <a:gd name="connsiteY80" fmla="*/ 1200150 h 4429225"/>
                    <a:gd name="connsiteX81" fmla="*/ 287677 w 4519987"/>
                    <a:gd name="connsiteY81" fmla="*/ 1152525 h 4429225"/>
                    <a:gd name="connsiteX82" fmla="*/ 316252 w 4519987"/>
                    <a:gd name="connsiteY82" fmla="*/ 1114425 h 4429225"/>
                    <a:gd name="connsiteX83" fmla="*/ 363877 w 4519987"/>
                    <a:gd name="connsiteY83" fmla="*/ 1038225 h 4429225"/>
                    <a:gd name="connsiteX84" fmla="*/ 382927 w 4519987"/>
                    <a:gd name="connsiteY84" fmla="*/ 1009650 h 4429225"/>
                    <a:gd name="connsiteX85" fmla="*/ 440077 w 4519987"/>
                    <a:gd name="connsiteY85" fmla="*/ 904875 h 4429225"/>
                    <a:gd name="connsiteX86" fmla="*/ 478177 w 4519987"/>
                    <a:gd name="connsiteY86" fmla="*/ 857250 h 4429225"/>
                    <a:gd name="connsiteX87" fmla="*/ 497227 w 4519987"/>
                    <a:gd name="connsiteY87" fmla="*/ 828675 h 4429225"/>
                    <a:gd name="connsiteX88" fmla="*/ 535327 w 4519987"/>
                    <a:gd name="connsiteY88" fmla="*/ 800100 h 4429225"/>
                    <a:gd name="connsiteX89" fmla="*/ 602002 w 4519987"/>
                    <a:gd name="connsiteY89" fmla="*/ 733425 h 4429225"/>
                    <a:gd name="connsiteX90" fmla="*/ 668677 w 4519987"/>
                    <a:gd name="connsiteY90" fmla="*/ 676275 h 4429225"/>
                    <a:gd name="connsiteX91" fmla="*/ 697252 w 4519987"/>
                    <a:gd name="connsiteY91" fmla="*/ 657225 h 4429225"/>
                    <a:gd name="connsiteX92" fmla="*/ 840127 w 4519987"/>
                    <a:gd name="connsiteY92" fmla="*/ 533400 h 4429225"/>
                    <a:gd name="connsiteX93" fmla="*/ 887752 w 4519987"/>
                    <a:gd name="connsiteY93" fmla="*/ 504825 h 4429225"/>
                    <a:gd name="connsiteX94" fmla="*/ 1167152 w 4519987"/>
                    <a:gd name="connsiteY94" fmla="*/ 311150 h 4429225"/>
                    <a:gd name="connsiteX95" fmla="*/ 1268752 w 4519987"/>
                    <a:gd name="connsiteY95" fmla="*/ 285750 h 4429225"/>
                    <a:gd name="connsiteX96" fmla="*/ 1411627 w 4519987"/>
                    <a:gd name="connsiteY96" fmla="*/ 190500 h 4429225"/>
                    <a:gd name="connsiteX97" fmla="*/ 1449727 w 4519987"/>
                    <a:gd name="connsiteY97" fmla="*/ 161925 h 4429225"/>
                    <a:gd name="connsiteX98" fmla="*/ 1525927 w 4519987"/>
                    <a:gd name="connsiteY98" fmla="*/ 152400 h 4429225"/>
                    <a:gd name="connsiteX99" fmla="*/ 1583077 w 4519987"/>
                    <a:gd name="connsiteY99" fmla="*/ 142875 h 4429225"/>
                    <a:gd name="connsiteX100" fmla="*/ 1716427 w 4519987"/>
                    <a:gd name="connsiteY100" fmla="*/ 123825 h 4429225"/>
                    <a:gd name="connsiteX101" fmla="*/ 1811677 w 4519987"/>
                    <a:gd name="connsiteY101" fmla="*/ 114300 h 4429225"/>
                    <a:gd name="connsiteX102" fmla="*/ 1859302 w 4519987"/>
                    <a:gd name="connsiteY102" fmla="*/ 104775 h 4429225"/>
                    <a:gd name="connsiteX103" fmla="*/ 1916452 w 4519987"/>
                    <a:gd name="connsiteY103" fmla="*/ 95250 h 4429225"/>
                    <a:gd name="connsiteX104" fmla="*/ 2030752 w 4519987"/>
                    <a:gd name="connsiteY104" fmla="*/ 66675 h 4429225"/>
                    <a:gd name="connsiteX105" fmla="*/ 2097427 w 4519987"/>
                    <a:gd name="connsiteY105" fmla="*/ 47625 h 4429225"/>
                    <a:gd name="connsiteX106" fmla="*/ 2164102 w 4519987"/>
                    <a:gd name="connsiteY106" fmla="*/ 38100 h 4429225"/>
                    <a:gd name="connsiteX107" fmla="*/ 2392702 w 4519987"/>
                    <a:gd name="connsiteY10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11527 w 4519987"/>
                    <a:gd name="connsiteY51" fmla="*/ 3733800 h 4429225"/>
                    <a:gd name="connsiteX52" fmla="*/ 554377 w 4519987"/>
                    <a:gd name="connsiteY52" fmla="*/ 3657600 h 4429225"/>
                    <a:gd name="connsiteX53" fmla="*/ 525802 w 4519987"/>
                    <a:gd name="connsiteY53" fmla="*/ 3609975 h 4429225"/>
                    <a:gd name="connsiteX54" fmla="*/ 497227 w 4519987"/>
                    <a:gd name="connsiteY54" fmla="*/ 3552825 h 4429225"/>
                    <a:gd name="connsiteX55" fmla="*/ 440077 w 4519987"/>
                    <a:gd name="connsiteY55" fmla="*/ 3495675 h 4429225"/>
                    <a:gd name="connsiteX56" fmla="*/ 411502 w 4519987"/>
                    <a:gd name="connsiteY56" fmla="*/ 3448050 h 4429225"/>
                    <a:gd name="connsiteX57" fmla="*/ 278152 w 4519987"/>
                    <a:gd name="connsiteY57" fmla="*/ 3257550 h 4429225"/>
                    <a:gd name="connsiteX58" fmla="*/ 249577 w 4519987"/>
                    <a:gd name="connsiteY58" fmla="*/ 3200400 h 4429225"/>
                    <a:gd name="connsiteX59" fmla="*/ 240052 w 4519987"/>
                    <a:gd name="connsiteY59" fmla="*/ 3162300 h 4429225"/>
                    <a:gd name="connsiteX60" fmla="*/ 221002 w 4519987"/>
                    <a:gd name="connsiteY60" fmla="*/ 3105150 h 4429225"/>
                    <a:gd name="connsiteX61" fmla="*/ 173377 w 4519987"/>
                    <a:gd name="connsiteY61" fmla="*/ 3019425 h 4429225"/>
                    <a:gd name="connsiteX62" fmla="*/ 144802 w 4519987"/>
                    <a:gd name="connsiteY62" fmla="*/ 2924175 h 4429225"/>
                    <a:gd name="connsiteX63" fmla="*/ 68602 w 4519987"/>
                    <a:gd name="connsiteY63" fmla="*/ 2724150 h 4429225"/>
                    <a:gd name="connsiteX64" fmla="*/ 49552 w 4519987"/>
                    <a:gd name="connsiteY64" fmla="*/ 2638425 h 4429225"/>
                    <a:gd name="connsiteX65" fmla="*/ 40027 w 4519987"/>
                    <a:gd name="connsiteY65" fmla="*/ 2562225 h 4429225"/>
                    <a:gd name="connsiteX66" fmla="*/ 30502 w 4519987"/>
                    <a:gd name="connsiteY66" fmla="*/ 2514600 h 4429225"/>
                    <a:gd name="connsiteX67" fmla="*/ 11452 w 4519987"/>
                    <a:gd name="connsiteY67" fmla="*/ 2400300 h 4429225"/>
                    <a:gd name="connsiteX68" fmla="*/ 20977 w 4519987"/>
                    <a:gd name="connsiteY68" fmla="*/ 1905000 h 4429225"/>
                    <a:gd name="connsiteX69" fmla="*/ 30502 w 4519987"/>
                    <a:gd name="connsiteY69" fmla="*/ 1838325 h 4429225"/>
                    <a:gd name="connsiteX70" fmla="*/ 49552 w 4519987"/>
                    <a:gd name="connsiteY70" fmla="*/ 1781175 h 4429225"/>
                    <a:gd name="connsiteX71" fmla="*/ 59077 w 4519987"/>
                    <a:gd name="connsiteY71" fmla="*/ 1743075 h 4429225"/>
                    <a:gd name="connsiteX72" fmla="*/ 78127 w 4519987"/>
                    <a:gd name="connsiteY72" fmla="*/ 1685925 h 4429225"/>
                    <a:gd name="connsiteX73" fmla="*/ 87652 w 4519987"/>
                    <a:gd name="connsiteY73" fmla="*/ 1638300 h 4429225"/>
                    <a:gd name="connsiteX74" fmla="*/ 106702 w 4519987"/>
                    <a:gd name="connsiteY74" fmla="*/ 1590675 h 4429225"/>
                    <a:gd name="connsiteX75" fmla="*/ 135277 w 4519987"/>
                    <a:gd name="connsiteY75" fmla="*/ 1504950 h 4429225"/>
                    <a:gd name="connsiteX76" fmla="*/ 154327 w 4519987"/>
                    <a:gd name="connsiteY76" fmla="*/ 1419225 h 4429225"/>
                    <a:gd name="connsiteX77" fmla="*/ 230527 w 4519987"/>
                    <a:gd name="connsiteY77" fmla="*/ 1276350 h 4429225"/>
                    <a:gd name="connsiteX78" fmla="*/ 240052 w 4519987"/>
                    <a:gd name="connsiteY78" fmla="*/ 1247775 h 4429225"/>
                    <a:gd name="connsiteX79" fmla="*/ 268627 w 4519987"/>
                    <a:gd name="connsiteY79" fmla="*/ 1200150 h 4429225"/>
                    <a:gd name="connsiteX80" fmla="*/ 287677 w 4519987"/>
                    <a:gd name="connsiteY80" fmla="*/ 1152525 h 4429225"/>
                    <a:gd name="connsiteX81" fmla="*/ 316252 w 4519987"/>
                    <a:gd name="connsiteY81" fmla="*/ 1114425 h 4429225"/>
                    <a:gd name="connsiteX82" fmla="*/ 363877 w 4519987"/>
                    <a:gd name="connsiteY82" fmla="*/ 1038225 h 4429225"/>
                    <a:gd name="connsiteX83" fmla="*/ 382927 w 4519987"/>
                    <a:gd name="connsiteY83" fmla="*/ 1009650 h 4429225"/>
                    <a:gd name="connsiteX84" fmla="*/ 440077 w 4519987"/>
                    <a:gd name="connsiteY84" fmla="*/ 904875 h 4429225"/>
                    <a:gd name="connsiteX85" fmla="*/ 478177 w 4519987"/>
                    <a:gd name="connsiteY85" fmla="*/ 857250 h 4429225"/>
                    <a:gd name="connsiteX86" fmla="*/ 497227 w 4519987"/>
                    <a:gd name="connsiteY86" fmla="*/ 828675 h 4429225"/>
                    <a:gd name="connsiteX87" fmla="*/ 535327 w 4519987"/>
                    <a:gd name="connsiteY87" fmla="*/ 800100 h 4429225"/>
                    <a:gd name="connsiteX88" fmla="*/ 602002 w 4519987"/>
                    <a:gd name="connsiteY88" fmla="*/ 733425 h 4429225"/>
                    <a:gd name="connsiteX89" fmla="*/ 668677 w 4519987"/>
                    <a:gd name="connsiteY89" fmla="*/ 676275 h 4429225"/>
                    <a:gd name="connsiteX90" fmla="*/ 697252 w 4519987"/>
                    <a:gd name="connsiteY90" fmla="*/ 657225 h 4429225"/>
                    <a:gd name="connsiteX91" fmla="*/ 840127 w 4519987"/>
                    <a:gd name="connsiteY91" fmla="*/ 533400 h 4429225"/>
                    <a:gd name="connsiteX92" fmla="*/ 887752 w 4519987"/>
                    <a:gd name="connsiteY92" fmla="*/ 504825 h 4429225"/>
                    <a:gd name="connsiteX93" fmla="*/ 1167152 w 4519987"/>
                    <a:gd name="connsiteY93" fmla="*/ 311150 h 4429225"/>
                    <a:gd name="connsiteX94" fmla="*/ 1268752 w 4519987"/>
                    <a:gd name="connsiteY94" fmla="*/ 285750 h 4429225"/>
                    <a:gd name="connsiteX95" fmla="*/ 1411627 w 4519987"/>
                    <a:gd name="connsiteY95" fmla="*/ 190500 h 4429225"/>
                    <a:gd name="connsiteX96" fmla="*/ 1449727 w 4519987"/>
                    <a:gd name="connsiteY96" fmla="*/ 161925 h 4429225"/>
                    <a:gd name="connsiteX97" fmla="*/ 1525927 w 4519987"/>
                    <a:gd name="connsiteY97" fmla="*/ 152400 h 4429225"/>
                    <a:gd name="connsiteX98" fmla="*/ 1583077 w 4519987"/>
                    <a:gd name="connsiteY98" fmla="*/ 142875 h 4429225"/>
                    <a:gd name="connsiteX99" fmla="*/ 1716427 w 4519987"/>
                    <a:gd name="connsiteY99" fmla="*/ 123825 h 4429225"/>
                    <a:gd name="connsiteX100" fmla="*/ 1811677 w 4519987"/>
                    <a:gd name="connsiteY100" fmla="*/ 114300 h 4429225"/>
                    <a:gd name="connsiteX101" fmla="*/ 1859302 w 4519987"/>
                    <a:gd name="connsiteY101" fmla="*/ 104775 h 4429225"/>
                    <a:gd name="connsiteX102" fmla="*/ 1916452 w 4519987"/>
                    <a:gd name="connsiteY102" fmla="*/ 95250 h 4429225"/>
                    <a:gd name="connsiteX103" fmla="*/ 2030752 w 4519987"/>
                    <a:gd name="connsiteY103" fmla="*/ 66675 h 4429225"/>
                    <a:gd name="connsiteX104" fmla="*/ 2097427 w 4519987"/>
                    <a:gd name="connsiteY104" fmla="*/ 47625 h 4429225"/>
                    <a:gd name="connsiteX105" fmla="*/ 2164102 w 4519987"/>
                    <a:gd name="connsiteY105" fmla="*/ 38100 h 4429225"/>
                    <a:gd name="connsiteX106" fmla="*/ 2392702 w 4519987"/>
                    <a:gd name="connsiteY10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525802 w 4519987"/>
                    <a:gd name="connsiteY52" fmla="*/ 3609975 h 4429225"/>
                    <a:gd name="connsiteX53" fmla="*/ 497227 w 4519987"/>
                    <a:gd name="connsiteY53" fmla="*/ 3552825 h 4429225"/>
                    <a:gd name="connsiteX54" fmla="*/ 440077 w 4519987"/>
                    <a:gd name="connsiteY54" fmla="*/ 3495675 h 4429225"/>
                    <a:gd name="connsiteX55" fmla="*/ 411502 w 4519987"/>
                    <a:gd name="connsiteY55" fmla="*/ 3448050 h 4429225"/>
                    <a:gd name="connsiteX56" fmla="*/ 278152 w 4519987"/>
                    <a:gd name="connsiteY56" fmla="*/ 3257550 h 4429225"/>
                    <a:gd name="connsiteX57" fmla="*/ 249577 w 4519987"/>
                    <a:gd name="connsiteY57" fmla="*/ 3200400 h 4429225"/>
                    <a:gd name="connsiteX58" fmla="*/ 240052 w 4519987"/>
                    <a:gd name="connsiteY58" fmla="*/ 3162300 h 4429225"/>
                    <a:gd name="connsiteX59" fmla="*/ 221002 w 4519987"/>
                    <a:gd name="connsiteY59" fmla="*/ 3105150 h 4429225"/>
                    <a:gd name="connsiteX60" fmla="*/ 173377 w 4519987"/>
                    <a:gd name="connsiteY60" fmla="*/ 3019425 h 4429225"/>
                    <a:gd name="connsiteX61" fmla="*/ 144802 w 4519987"/>
                    <a:gd name="connsiteY61" fmla="*/ 2924175 h 4429225"/>
                    <a:gd name="connsiteX62" fmla="*/ 68602 w 4519987"/>
                    <a:gd name="connsiteY62" fmla="*/ 2724150 h 4429225"/>
                    <a:gd name="connsiteX63" fmla="*/ 49552 w 4519987"/>
                    <a:gd name="connsiteY63" fmla="*/ 2638425 h 4429225"/>
                    <a:gd name="connsiteX64" fmla="*/ 40027 w 4519987"/>
                    <a:gd name="connsiteY64" fmla="*/ 2562225 h 4429225"/>
                    <a:gd name="connsiteX65" fmla="*/ 30502 w 4519987"/>
                    <a:gd name="connsiteY65" fmla="*/ 2514600 h 4429225"/>
                    <a:gd name="connsiteX66" fmla="*/ 11452 w 4519987"/>
                    <a:gd name="connsiteY66" fmla="*/ 2400300 h 4429225"/>
                    <a:gd name="connsiteX67" fmla="*/ 20977 w 4519987"/>
                    <a:gd name="connsiteY67" fmla="*/ 1905000 h 4429225"/>
                    <a:gd name="connsiteX68" fmla="*/ 30502 w 4519987"/>
                    <a:gd name="connsiteY68" fmla="*/ 1838325 h 4429225"/>
                    <a:gd name="connsiteX69" fmla="*/ 49552 w 4519987"/>
                    <a:gd name="connsiteY69" fmla="*/ 1781175 h 4429225"/>
                    <a:gd name="connsiteX70" fmla="*/ 59077 w 4519987"/>
                    <a:gd name="connsiteY70" fmla="*/ 1743075 h 4429225"/>
                    <a:gd name="connsiteX71" fmla="*/ 78127 w 4519987"/>
                    <a:gd name="connsiteY71" fmla="*/ 1685925 h 4429225"/>
                    <a:gd name="connsiteX72" fmla="*/ 87652 w 4519987"/>
                    <a:gd name="connsiteY72" fmla="*/ 1638300 h 4429225"/>
                    <a:gd name="connsiteX73" fmla="*/ 106702 w 4519987"/>
                    <a:gd name="connsiteY73" fmla="*/ 1590675 h 4429225"/>
                    <a:gd name="connsiteX74" fmla="*/ 135277 w 4519987"/>
                    <a:gd name="connsiteY74" fmla="*/ 1504950 h 4429225"/>
                    <a:gd name="connsiteX75" fmla="*/ 154327 w 4519987"/>
                    <a:gd name="connsiteY75" fmla="*/ 1419225 h 4429225"/>
                    <a:gd name="connsiteX76" fmla="*/ 230527 w 4519987"/>
                    <a:gd name="connsiteY76" fmla="*/ 1276350 h 4429225"/>
                    <a:gd name="connsiteX77" fmla="*/ 240052 w 4519987"/>
                    <a:gd name="connsiteY77" fmla="*/ 1247775 h 4429225"/>
                    <a:gd name="connsiteX78" fmla="*/ 268627 w 4519987"/>
                    <a:gd name="connsiteY78" fmla="*/ 1200150 h 4429225"/>
                    <a:gd name="connsiteX79" fmla="*/ 287677 w 4519987"/>
                    <a:gd name="connsiteY79" fmla="*/ 1152525 h 4429225"/>
                    <a:gd name="connsiteX80" fmla="*/ 316252 w 4519987"/>
                    <a:gd name="connsiteY80" fmla="*/ 1114425 h 4429225"/>
                    <a:gd name="connsiteX81" fmla="*/ 363877 w 4519987"/>
                    <a:gd name="connsiteY81" fmla="*/ 1038225 h 4429225"/>
                    <a:gd name="connsiteX82" fmla="*/ 382927 w 4519987"/>
                    <a:gd name="connsiteY82" fmla="*/ 1009650 h 4429225"/>
                    <a:gd name="connsiteX83" fmla="*/ 440077 w 4519987"/>
                    <a:gd name="connsiteY83" fmla="*/ 904875 h 4429225"/>
                    <a:gd name="connsiteX84" fmla="*/ 478177 w 4519987"/>
                    <a:gd name="connsiteY84" fmla="*/ 857250 h 4429225"/>
                    <a:gd name="connsiteX85" fmla="*/ 497227 w 4519987"/>
                    <a:gd name="connsiteY85" fmla="*/ 828675 h 4429225"/>
                    <a:gd name="connsiteX86" fmla="*/ 535327 w 4519987"/>
                    <a:gd name="connsiteY86" fmla="*/ 800100 h 4429225"/>
                    <a:gd name="connsiteX87" fmla="*/ 602002 w 4519987"/>
                    <a:gd name="connsiteY87" fmla="*/ 733425 h 4429225"/>
                    <a:gd name="connsiteX88" fmla="*/ 668677 w 4519987"/>
                    <a:gd name="connsiteY88" fmla="*/ 676275 h 4429225"/>
                    <a:gd name="connsiteX89" fmla="*/ 697252 w 4519987"/>
                    <a:gd name="connsiteY89" fmla="*/ 657225 h 4429225"/>
                    <a:gd name="connsiteX90" fmla="*/ 840127 w 4519987"/>
                    <a:gd name="connsiteY90" fmla="*/ 533400 h 4429225"/>
                    <a:gd name="connsiteX91" fmla="*/ 887752 w 4519987"/>
                    <a:gd name="connsiteY91" fmla="*/ 504825 h 4429225"/>
                    <a:gd name="connsiteX92" fmla="*/ 1167152 w 4519987"/>
                    <a:gd name="connsiteY92" fmla="*/ 311150 h 4429225"/>
                    <a:gd name="connsiteX93" fmla="*/ 1268752 w 4519987"/>
                    <a:gd name="connsiteY93" fmla="*/ 285750 h 4429225"/>
                    <a:gd name="connsiteX94" fmla="*/ 1411627 w 4519987"/>
                    <a:gd name="connsiteY94" fmla="*/ 190500 h 4429225"/>
                    <a:gd name="connsiteX95" fmla="*/ 1449727 w 4519987"/>
                    <a:gd name="connsiteY95" fmla="*/ 161925 h 4429225"/>
                    <a:gd name="connsiteX96" fmla="*/ 1525927 w 4519987"/>
                    <a:gd name="connsiteY96" fmla="*/ 152400 h 4429225"/>
                    <a:gd name="connsiteX97" fmla="*/ 1583077 w 4519987"/>
                    <a:gd name="connsiteY97" fmla="*/ 142875 h 4429225"/>
                    <a:gd name="connsiteX98" fmla="*/ 1716427 w 4519987"/>
                    <a:gd name="connsiteY98" fmla="*/ 123825 h 4429225"/>
                    <a:gd name="connsiteX99" fmla="*/ 1811677 w 4519987"/>
                    <a:gd name="connsiteY99" fmla="*/ 114300 h 4429225"/>
                    <a:gd name="connsiteX100" fmla="*/ 1859302 w 4519987"/>
                    <a:gd name="connsiteY100" fmla="*/ 104775 h 4429225"/>
                    <a:gd name="connsiteX101" fmla="*/ 1916452 w 4519987"/>
                    <a:gd name="connsiteY101" fmla="*/ 95250 h 4429225"/>
                    <a:gd name="connsiteX102" fmla="*/ 2030752 w 4519987"/>
                    <a:gd name="connsiteY102" fmla="*/ 66675 h 4429225"/>
                    <a:gd name="connsiteX103" fmla="*/ 2097427 w 4519987"/>
                    <a:gd name="connsiteY103" fmla="*/ 47625 h 4429225"/>
                    <a:gd name="connsiteX104" fmla="*/ 2164102 w 4519987"/>
                    <a:gd name="connsiteY104" fmla="*/ 38100 h 4429225"/>
                    <a:gd name="connsiteX105" fmla="*/ 2392702 w 4519987"/>
                    <a:gd name="connsiteY105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411502 w 4519987"/>
                    <a:gd name="connsiteY54" fmla="*/ 3448050 h 4429225"/>
                    <a:gd name="connsiteX55" fmla="*/ 278152 w 4519987"/>
                    <a:gd name="connsiteY55" fmla="*/ 3257550 h 4429225"/>
                    <a:gd name="connsiteX56" fmla="*/ 249577 w 4519987"/>
                    <a:gd name="connsiteY56" fmla="*/ 3200400 h 4429225"/>
                    <a:gd name="connsiteX57" fmla="*/ 240052 w 4519987"/>
                    <a:gd name="connsiteY57" fmla="*/ 3162300 h 4429225"/>
                    <a:gd name="connsiteX58" fmla="*/ 221002 w 4519987"/>
                    <a:gd name="connsiteY58" fmla="*/ 3105150 h 4429225"/>
                    <a:gd name="connsiteX59" fmla="*/ 173377 w 4519987"/>
                    <a:gd name="connsiteY59" fmla="*/ 3019425 h 4429225"/>
                    <a:gd name="connsiteX60" fmla="*/ 144802 w 4519987"/>
                    <a:gd name="connsiteY60" fmla="*/ 2924175 h 4429225"/>
                    <a:gd name="connsiteX61" fmla="*/ 68602 w 4519987"/>
                    <a:gd name="connsiteY61" fmla="*/ 2724150 h 4429225"/>
                    <a:gd name="connsiteX62" fmla="*/ 49552 w 4519987"/>
                    <a:gd name="connsiteY62" fmla="*/ 2638425 h 4429225"/>
                    <a:gd name="connsiteX63" fmla="*/ 40027 w 4519987"/>
                    <a:gd name="connsiteY63" fmla="*/ 2562225 h 4429225"/>
                    <a:gd name="connsiteX64" fmla="*/ 30502 w 4519987"/>
                    <a:gd name="connsiteY64" fmla="*/ 2514600 h 4429225"/>
                    <a:gd name="connsiteX65" fmla="*/ 11452 w 4519987"/>
                    <a:gd name="connsiteY65" fmla="*/ 2400300 h 4429225"/>
                    <a:gd name="connsiteX66" fmla="*/ 20977 w 4519987"/>
                    <a:gd name="connsiteY66" fmla="*/ 1905000 h 4429225"/>
                    <a:gd name="connsiteX67" fmla="*/ 30502 w 4519987"/>
                    <a:gd name="connsiteY67" fmla="*/ 1838325 h 4429225"/>
                    <a:gd name="connsiteX68" fmla="*/ 49552 w 4519987"/>
                    <a:gd name="connsiteY68" fmla="*/ 1781175 h 4429225"/>
                    <a:gd name="connsiteX69" fmla="*/ 59077 w 4519987"/>
                    <a:gd name="connsiteY69" fmla="*/ 1743075 h 4429225"/>
                    <a:gd name="connsiteX70" fmla="*/ 78127 w 4519987"/>
                    <a:gd name="connsiteY70" fmla="*/ 1685925 h 4429225"/>
                    <a:gd name="connsiteX71" fmla="*/ 87652 w 4519987"/>
                    <a:gd name="connsiteY71" fmla="*/ 1638300 h 4429225"/>
                    <a:gd name="connsiteX72" fmla="*/ 106702 w 4519987"/>
                    <a:gd name="connsiteY72" fmla="*/ 1590675 h 4429225"/>
                    <a:gd name="connsiteX73" fmla="*/ 135277 w 4519987"/>
                    <a:gd name="connsiteY73" fmla="*/ 1504950 h 4429225"/>
                    <a:gd name="connsiteX74" fmla="*/ 154327 w 4519987"/>
                    <a:gd name="connsiteY74" fmla="*/ 1419225 h 4429225"/>
                    <a:gd name="connsiteX75" fmla="*/ 230527 w 4519987"/>
                    <a:gd name="connsiteY75" fmla="*/ 1276350 h 4429225"/>
                    <a:gd name="connsiteX76" fmla="*/ 240052 w 4519987"/>
                    <a:gd name="connsiteY76" fmla="*/ 1247775 h 4429225"/>
                    <a:gd name="connsiteX77" fmla="*/ 268627 w 4519987"/>
                    <a:gd name="connsiteY77" fmla="*/ 1200150 h 4429225"/>
                    <a:gd name="connsiteX78" fmla="*/ 287677 w 4519987"/>
                    <a:gd name="connsiteY78" fmla="*/ 1152525 h 4429225"/>
                    <a:gd name="connsiteX79" fmla="*/ 316252 w 4519987"/>
                    <a:gd name="connsiteY79" fmla="*/ 1114425 h 4429225"/>
                    <a:gd name="connsiteX80" fmla="*/ 363877 w 4519987"/>
                    <a:gd name="connsiteY80" fmla="*/ 1038225 h 4429225"/>
                    <a:gd name="connsiteX81" fmla="*/ 382927 w 4519987"/>
                    <a:gd name="connsiteY81" fmla="*/ 1009650 h 4429225"/>
                    <a:gd name="connsiteX82" fmla="*/ 440077 w 4519987"/>
                    <a:gd name="connsiteY82" fmla="*/ 904875 h 4429225"/>
                    <a:gd name="connsiteX83" fmla="*/ 478177 w 4519987"/>
                    <a:gd name="connsiteY83" fmla="*/ 857250 h 4429225"/>
                    <a:gd name="connsiteX84" fmla="*/ 497227 w 4519987"/>
                    <a:gd name="connsiteY84" fmla="*/ 828675 h 4429225"/>
                    <a:gd name="connsiteX85" fmla="*/ 535327 w 4519987"/>
                    <a:gd name="connsiteY85" fmla="*/ 800100 h 4429225"/>
                    <a:gd name="connsiteX86" fmla="*/ 602002 w 4519987"/>
                    <a:gd name="connsiteY86" fmla="*/ 733425 h 4429225"/>
                    <a:gd name="connsiteX87" fmla="*/ 668677 w 4519987"/>
                    <a:gd name="connsiteY87" fmla="*/ 676275 h 4429225"/>
                    <a:gd name="connsiteX88" fmla="*/ 697252 w 4519987"/>
                    <a:gd name="connsiteY88" fmla="*/ 657225 h 4429225"/>
                    <a:gd name="connsiteX89" fmla="*/ 840127 w 4519987"/>
                    <a:gd name="connsiteY89" fmla="*/ 533400 h 4429225"/>
                    <a:gd name="connsiteX90" fmla="*/ 887752 w 4519987"/>
                    <a:gd name="connsiteY90" fmla="*/ 504825 h 4429225"/>
                    <a:gd name="connsiteX91" fmla="*/ 1167152 w 4519987"/>
                    <a:gd name="connsiteY91" fmla="*/ 311150 h 4429225"/>
                    <a:gd name="connsiteX92" fmla="*/ 1268752 w 4519987"/>
                    <a:gd name="connsiteY92" fmla="*/ 285750 h 4429225"/>
                    <a:gd name="connsiteX93" fmla="*/ 1411627 w 4519987"/>
                    <a:gd name="connsiteY93" fmla="*/ 190500 h 4429225"/>
                    <a:gd name="connsiteX94" fmla="*/ 1449727 w 4519987"/>
                    <a:gd name="connsiteY94" fmla="*/ 161925 h 4429225"/>
                    <a:gd name="connsiteX95" fmla="*/ 1525927 w 4519987"/>
                    <a:gd name="connsiteY95" fmla="*/ 152400 h 4429225"/>
                    <a:gd name="connsiteX96" fmla="*/ 1583077 w 4519987"/>
                    <a:gd name="connsiteY96" fmla="*/ 142875 h 4429225"/>
                    <a:gd name="connsiteX97" fmla="*/ 1716427 w 4519987"/>
                    <a:gd name="connsiteY97" fmla="*/ 123825 h 4429225"/>
                    <a:gd name="connsiteX98" fmla="*/ 1811677 w 4519987"/>
                    <a:gd name="connsiteY98" fmla="*/ 114300 h 4429225"/>
                    <a:gd name="connsiteX99" fmla="*/ 1859302 w 4519987"/>
                    <a:gd name="connsiteY99" fmla="*/ 104775 h 4429225"/>
                    <a:gd name="connsiteX100" fmla="*/ 1916452 w 4519987"/>
                    <a:gd name="connsiteY100" fmla="*/ 95250 h 4429225"/>
                    <a:gd name="connsiteX101" fmla="*/ 2030752 w 4519987"/>
                    <a:gd name="connsiteY101" fmla="*/ 66675 h 4429225"/>
                    <a:gd name="connsiteX102" fmla="*/ 2097427 w 4519987"/>
                    <a:gd name="connsiteY102" fmla="*/ 47625 h 4429225"/>
                    <a:gd name="connsiteX103" fmla="*/ 2164102 w 4519987"/>
                    <a:gd name="connsiteY103" fmla="*/ 38100 h 4429225"/>
                    <a:gd name="connsiteX104" fmla="*/ 2392702 w 4519987"/>
                    <a:gd name="connsiteY10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278152 w 4519987"/>
                    <a:gd name="connsiteY54" fmla="*/ 3257550 h 4429225"/>
                    <a:gd name="connsiteX55" fmla="*/ 249577 w 4519987"/>
                    <a:gd name="connsiteY55" fmla="*/ 3200400 h 4429225"/>
                    <a:gd name="connsiteX56" fmla="*/ 240052 w 4519987"/>
                    <a:gd name="connsiteY56" fmla="*/ 3162300 h 4429225"/>
                    <a:gd name="connsiteX57" fmla="*/ 221002 w 4519987"/>
                    <a:gd name="connsiteY57" fmla="*/ 3105150 h 4429225"/>
                    <a:gd name="connsiteX58" fmla="*/ 173377 w 4519987"/>
                    <a:gd name="connsiteY58" fmla="*/ 3019425 h 4429225"/>
                    <a:gd name="connsiteX59" fmla="*/ 144802 w 4519987"/>
                    <a:gd name="connsiteY59" fmla="*/ 2924175 h 4429225"/>
                    <a:gd name="connsiteX60" fmla="*/ 68602 w 4519987"/>
                    <a:gd name="connsiteY60" fmla="*/ 2724150 h 4429225"/>
                    <a:gd name="connsiteX61" fmla="*/ 49552 w 4519987"/>
                    <a:gd name="connsiteY61" fmla="*/ 2638425 h 4429225"/>
                    <a:gd name="connsiteX62" fmla="*/ 40027 w 4519987"/>
                    <a:gd name="connsiteY62" fmla="*/ 2562225 h 4429225"/>
                    <a:gd name="connsiteX63" fmla="*/ 30502 w 4519987"/>
                    <a:gd name="connsiteY63" fmla="*/ 2514600 h 4429225"/>
                    <a:gd name="connsiteX64" fmla="*/ 11452 w 4519987"/>
                    <a:gd name="connsiteY64" fmla="*/ 2400300 h 4429225"/>
                    <a:gd name="connsiteX65" fmla="*/ 20977 w 4519987"/>
                    <a:gd name="connsiteY65" fmla="*/ 1905000 h 4429225"/>
                    <a:gd name="connsiteX66" fmla="*/ 30502 w 4519987"/>
                    <a:gd name="connsiteY66" fmla="*/ 1838325 h 4429225"/>
                    <a:gd name="connsiteX67" fmla="*/ 49552 w 4519987"/>
                    <a:gd name="connsiteY67" fmla="*/ 1781175 h 4429225"/>
                    <a:gd name="connsiteX68" fmla="*/ 59077 w 4519987"/>
                    <a:gd name="connsiteY68" fmla="*/ 1743075 h 4429225"/>
                    <a:gd name="connsiteX69" fmla="*/ 78127 w 4519987"/>
                    <a:gd name="connsiteY69" fmla="*/ 1685925 h 4429225"/>
                    <a:gd name="connsiteX70" fmla="*/ 87652 w 4519987"/>
                    <a:gd name="connsiteY70" fmla="*/ 1638300 h 4429225"/>
                    <a:gd name="connsiteX71" fmla="*/ 106702 w 4519987"/>
                    <a:gd name="connsiteY71" fmla="*/ 1590675 h 4429225"/>
                    <a:gd name="connsiteX72" fmla="*/ 135277 w 4519987"/>
                    <a:gd name="connsiteY72" fmla="*/ 1504950 h 4429225"/>
                    <a:gd name="connsiteX73" fmla="*/ 154327 w 4519987"/>
                    <a:gd name="connsiteY73" fmla="*/ 1419225 h 4429225"/>
                    <a:gd name="connsiteX74" fmla="*/ 230527 w 4519987"/>
                    <a:gd name="connsiteY74" fmla="*/ 1276350 h 4429225"/>
                    <a:gd name="connsiteX75" fmla="*/ 240052 w 4519987"/>
                    <a:gd name="connsiteY75" fmla="*/ 1247775 h 4429225"/>
                    <a:gd name="connsiteX76" fmla="*/ 268627 w 4519987"/>
                    <a:gd name="connsiteY76" fmla="*/ 1200150 h 4429225"/>
                    <a:gd name="connsiteX77" fmla="*/ 287677 w 4519987"/>
                    <a:gd name="connsiteY77" fmla="*/ 1152525 h 4429225"/>
                    <a:gd name="connsiteX78" fmla="*/ 316252 w 4519987"/>
                    <a:gd name="connsiteY78" fmla="*/ 1114425 h 4429225"/>
                    <a:gd name="connsiteX79" fmla="*/ 363877 w 4519987"/>
                    <a:gd name="connsiteY79" fmla="*/ 1038225 h 4429225"/>
                    <a:gd name="connsiteX80" fmla="*/ 382927 w 4519987"/>
                    <a:gd name="connsiteY80" fmla="*/ 1009650 h 4429225"/>
                    <a:gd name="connsiteX81" fmla="*/ 440077 w 4519987"/>
                    <a:gd name="connsiteY81" fmla="*/ 904875 h 4429225"/>
                    <a:gd name="connsiteX82" fmla="*/ 478177 w 4519987"/>
                    <a:gd name="connsiteY82" fmla="*/ 857250 h 4429225"/>
                    <a:gd name="connsiteX83" fmla="*/ 497227 w 4519987"/>
                    <a:gd name="connsiteY83" fmla="*/ 828675 h 4429225"/>
                    <a:gd name="connsiteX84" fmla="*/ 535327 w 4519987"/>
                    <a:gd name="connsiteY84" fmla="*/ 800100 h 4429225"/>
                    <a:gd name="connsiteX85" fmla="*/ 602002 w 4519987"/>
                    <a:gd name="connsiteY85" fmla="*/ 733425 h 4429225"/>
                    <a:gd name="connsiteX86" fmla="*/ 668677 w 4519987"/>
                    <a:gd name="connsiteY86" fmla="*/ 676275 h 4429225"/>
                    <a:gd name="connsiteX87" fmla="*/ 697252 w 4519987"/>
                    <a:gd name="connsiteY87" fmla="*/ 657225 h 4429225"/>
                    <a:gd name="connsiteX88" fmla="*/ 840127 w 4519987"/>
                    <a:gd name="connsiteY88" fmla="*/ 533400 h 4429225"/>
                    <a:gd name="connsiteX89" fmla="*/ 887752 w 4519987"/>
                    <a:gd name="connsiteY89" fmla="*/ 504825 h 4429225"/>
                    <a:gd name="connsiteX90" fmla="*/ 1167152 w 4519987"/>
                    <a:gd name="connsiteY90" fmla="*/ 311150 h 4429225"/>
                    <a:gd name="connsiteX91" fmla="*/ 1268752 w 4519987"/>
                    <a:gd name="connsiteY91" fmla="*/ 285750 h 4429225"/>
                    <a:gd name="connsiteX92" fmla="*/ 1411627 w 4519987"/>
                    <a:gd name="connsiteY92" fmla="*/ 190500 h 4429225"/>
                    <a:gd name="connsiteX93" fmla="*/ 1449727 w 4519987"/>
                    <a:gd name="connsiteY93" fmla="*/ 161925 h 4429225"/>
                    <a:gd name="connsiteX94" fmla="*/ 1525927 w 4519987"/>
                    <a:gd name="connsiteY94" fmla="*/ 152400 h 4429225"/>
                    <a:gd name="connsiteX95" fmla="*/ 1583077 w 4519987"/>
                    <a:gd name="connsiteY95" fmla="*/ 142875 h 4429225"/>
                    <a:gd name="connsiteX96" fmla="*/ 1716427 w 4519987"/>
                    <a:gd name="connsiteY96" fmla="*/ 123825 h 4429225"/>
                    <a:gd name="connsiteX97" fmla="*/ 1811677 w 4519987"/>
                    <a:gd name="connsiteY97" fmla="*/ 114300 h 4429225"/>
                    <a:gd name="connsiteX98" fmla="*/ 1859302 w 4519987"/>
                    <a:gd name="connsiteY98" fmla="*/ 104775 h 4429225"/>
                    <a:gd name="connsiteX99" fmla="*/ 1916452 w 4519987"/>
                    <a:gd name="connsiteY99" fmla="*/ 95250 h 4429225"/>
                    <a:gd name="connsiteX100" fmla="*/ 2030752 w 4519987"/>
                    <a:gd name="connsiteY100" fmla="*/ 66675 h 4429225"/>
                    <a:gd name="connsiteX101" fmla="*/ 2097427 w 4519987"/>
                    <a:gd name="connsiteY101" fmla="*/ 47625 h 4429225"/>
                    <a:gd name="connsiteX102" fmla="*/ 2164102 w 4519987"/>
                    <a:gd name="connsiteY102" fmla="*/ 38100 h 4429225"/>
                    <a:gd name="connsiteX103" fmla="*/ 2392702 w 4519987"/>
                    <a:gd name="connsiteY10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40077 w 4519987"/>
                    <a:gd name="connsiteY52" fmla="*/ 3495675 h 4429225"/>
                    <a:gd name="connsiteX53" fmla="*/ 278152 w 4519987"/>
                    <a:gd name="connsiteY53" fmla="*/ 3257550 h 4429225"/>
                    <a:gd name="connsiteX54" fmla="*/ 249577 w 4519987"/>
                    <a:gd name="connsiteY54" fmla="*/ 3200400 h 4429225"/>
                    <a:gd name="connsiteX55" fmla="*/ 240052 w 4519987"/>
                    <a:gd name="connsiteY55" fmla="*/ 3162300 h 4429225"/>
                    <a:gd name="connsiteX56" fmla="*/ 221002 w 4519987"/>
                    <a:gd name="connsiteY56" fmla="*/ 3105150 h 4429225"/>
                    <a:gd name="connsiteX57" fmla="*/ 173377 w 4519987"/>
                    <a:gd name="connsiteY57" fmla="*/ 3019425 h 4429225"/>
                    <a:gd name="connsiteX58" fmla="*/ 144802 w 4519987"/>
                    <a:gd name="connsiteY58" fmla="*/ 2924175 h 4429225"/>
                    <a:gd name="connsiteX59" fmla="*/ 68602 w 4519987"/>
                    <a:gd name="connsiteY59" fmla="*/ 2724150 h 4429225"/>
                    <a:gd name="connsiteX60" fmla="*/ 49552 w 4519987"/>
                    <a:gd name="connsiteY60" fmla="*/ 2638425 h 4429225"/>
                    <a:gd name="connsiteX61" fmla="*/ 40027 w 4519987"/>
                    <a:gd name="connsiteY61" fmla="*/ 2562225 h 4429225"/>
                    <a:gd name="connsiteX62" fmla="*/ 30502 w 4519987"/>
                    <a:gd name="connsiteY62" fmla="*/ 2514600 h 4429225"/>
                    <a:gd name="connsiteX63" fmla="*/ 11452 w 4519987"/>
                    <a:gd name="connsiteY63" fmla="*/ 2400300 h 4429225"/>
                    <a:gd name="connsiteX64" fmla="*/ 20977 w 4519987"/>
                    <a:gd name="connsiteY64" fmla="*/ 1905000 h 4429225"/>
                    <a:gd name="connsiteX65" fmla="*/ 30502 w 4519987"/>
                    <a:gd name="connsiteY65" fmla="*/ 1838325 h 4429225"/>
                    <a:gd name="connsiteX66" fmla="*/ 49552 w 4519987"/>
                    <a:gd name="connsiteY66" fmla="*/ 1781175 h 4429225"/>
                    <a:gd name="connsiteX67" fmla="*/ 59077 w 4519987"/>
                    <a:gd name="connsiteY67" fmla="*/ 1743075 h 4429225"/>
                    <a:gd name="connsiteX68" fmla="*/ 78127 w 4519987"/>
                    <a:gd name="connsiteY68" fmla="*/ 1685925 h 4429225"/>
                    <a:gd name="connsiteX69" fmla="*/ 87652 w 4519987"/>
                    <a:gd name="connsiteY69" fmla="*/ 1638300 h 4429225"/>
                    <a:gd name="connsiteX70" fmla="*/ 106702 w 4519987"/>
                    <a:gd name="connsiteY70" fmla="*/ 1590675 h 4429225"/>
                    <a:gd name="connsiteX71" fmla="*/ 135277 w 4519987"/>
                    <a:gd name="connsiteY71" fmla="*/ 1504950 h 4429225"/>
                    <a:gd name="connsiteX72" fmla="*/ 154327 w 4519987"/>
                    <a:gd name="connsiteY72" fmla="*/ 1419225 h 4429225"/>
                    <a:gd name="connsiteX73" fmla="*/ 230527 w 4519987"/>
                    <a:gd name="connsiteY73" fmla="*/ 1276350 h 4429225"/>
                    <a:gd name="connsiteX74" fmla="*/ 240052 w 4519987"/>
                    <a:gd name="connsiteY74" fmla="*/ 1247775 h 4429225"/>
                    <a:gd name="connsiteX75" fmla="*/ 268627 w 4519987"/>
                    <a:gd name="connsiteY75" fmla="*/ 1200150 h 4429225"/>
                    <a:gd name="connsiteX76" fmla="*/ 287677 w 4519987"/>
                    <a:gd name="connsiteY76" fmla="*/ 1152525 h 4429225"/>
                    <a:gd name="connsiteX77" fmla="*/ 316252 w 4519987"/>
                    <a:gd name="connsiteY77" fmla="*/ 1114425 h 4429225"/>
                    <a:gd name="connsiteX78" fmla="*/ 363877 w 4519987"/>
                    <a:gd name="connsiteY78" fmla="*/ 1038225 h 4429225"/>
                    <a:gd name="connsiteX79" fmla="*/ 382927 w 4519987"/>
                    <a:gd name="connsiteY79" fmla="*/ 1009650 h 4429225"/>
                    <a:gd name="connsiteX80" fmla="*/ 440077 w 4519987"/>
                    <a:gd name="connsiteY80" fmla="*/ 904875 h 4429225"/>
                    <a:gd name="connsiteX81" fmla="*/ 478177 w 4519987"/>
                    <a:gd name="connsiteY81" fmla="*/ 857250 h 4429225"/>
                    <a:gd name="connsiteX82" fmla="*/ 497227 w 4519987"/>
                    <a:gd name="connsiteY82" fmla="*/ 828675 h 4429225"/>
                    <a:gd name="connsiteX83" fmla="*/ 535327 w 4519987"/>
                    <a:gd name="connsiteY83" fmla="*/ 800100 h 4429225"/>
                    <a:gd name="connsiteX84" fmla="*/ 602002 w 4519987"/>
                    <a:gd name="connsiteY84" fmla="*/ 733425 h 4429225"/>
                    <a:gd name="connsiteX85" fmla="*/ 668677 w 4519987"/>
                    <a:gd name="connsiteY85" fmla="*/ 676275 h 4429225"/>
                    <a:gd name="connsiteX86" fmla="*/ 697252 w 4519987"/>
                    <a:gd name="connsiteY86" fmla="*/ 657225 h 4429225"/>
                    <a:gd name="connsiteX87" fmla="*/ 840127 w 4519987"/>
                    <a:gd name="connsiteY87" fmla="*/ 533400 h 4429225"/>
                    <a:gd name="connsiteX88" fmla="*/ 887752 w 4519987"/>
                    <a:gd name="connsiteY88" fmla="*/ 504825 h 4429225"/>
                    <a:gd name="connsiteX89" fmla="*/ 1167152 w 4519987"/>
                    <a:gd name="connsiteY89" fmla="*/ 311150 h 4429225"/>
                    <a:gd name="connsiteX90" fmla="*/ 1268752 w 4519987"/>
                    <a:gd name="connsiteY90" fmla="*/ 285750 h 4429225"/>
                    <a:gd name="connsiteX91" fmla="*/ 1411627 w 4519987"/>
                    <a:gd name="connsiteY91" fmla="*/ 190500 h 4429225"/>
                    <a:gd name="connsiteX92" fmla="*/ 1449727 w 4519987"/>
                    <a:gd name="connsiteY92" fmla="*/ 161925 h 4429225"/>
                    <a:gd name="connsiteX93" fmla="*/ 1525927 w 4519987"/>
                    <a:gd name="connsiteY93" fmla="*/ 152400 h 4429225"/>
                    <a:gd name="connsiteX94" fmla="*/ 1583077 w 4519987"/>
                    <a:gd name="connsiteY94" fmla="*/ 142875 h 4429225"/>
                    <a:gd name="connsiteX95" fmla="*/ 1716427 w 4519987"/>
                    <a:gd name="connsiteY95" fmla="*/ 123825 h 4429225"/>
                    <a:gd name="connsiteX96" fmla="*/ 1811677 w 4519987"/>
                    <a:gd name="connsiteY96" fmla="*/ 114300 h 4429225"/>
                    <a:gd name="connsiteX97" fmla="*/ 1859302 w 4519987"/>
                    <a:gd name="connsiteY97" fmla="*/ 104775 h 4429225"/>
                    <a:gd name="connsiteX98" fmla="*/ 1916452 w 4519987"/>
                    <a:gd name="connsiteY98" fmla="*/ 95250 h 4429225"/>
                    <a:gd name="connsiteX99" fmla="*/ 2030752 w 4519987"/>
                    <a:gd name="connsiteY99" fmla="*/ 66675 h 4429225"/>
                    <a:gd name="connsiteX100" fmla="*/ 2097427 w 4519987"/>
                    <a:gd name="connsiteY100" fmla="*/ 47625 h 4429225"/>
                    <a:gd name="connsiteX101" fmla="*/ 2164102 w 4519987"/>
                    <a:gd name="connsiteY101" fmla="*/ 38100 h 4429225"/>
                    <a:gd name="connsiteX102" fmla="*/ 2392702 w 4519987"/>
                    <a:gd name="connsiteY10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40052 w 4519987"/>
                    <a:gd name="connsiteY54" fmla="*/ 3162300 h 4429225"/>
                    <a:gd name="connsiteX55" fmla="*/ 221002 w 4519987"/>
                    <a:gd name="connsiteY55" fmla="*/ 3105150 h 4429225"/>
                    <a:gd name="connsiteX56" fmla="*/ 173377 w 4519987"/>
                    <a:gd name="connsiteY56" fmla="*/ 3019425 h 4429225"/>
                    <a:gd name="connsiteX57" fmla="*/ 144802 w 4519987"/>
                    <a:gd name="connsiteY57" fmla="*/ 2924175 h 4429225"/>
                    <a:gd name="connsiteX58" fmla="*/ 68602 w 4519987"/>
                    <a:gd name="connsiteY58" fmla="*/ 2724150 h 4429225"/>
                    <a:gd name="connsiteX59" fmla="*/ 49552 w 4519987"/>
                    <a:gd name="connsiteY59" fmla="*/ 2638425 h 4429225"/>
                    <a:gd name="connsiteX60" fmla="*/ 40027 w 4519987"/>
                    <a:gd name="connsiteY60" fmla="*/ 2562225 h 4429225"/>
                    <a:gd name="connsiteX61" fmla="*/ 30502 w 4519987"/>
                    <a:gd name="connsiteY61" fmla="*/ 2514600 h 4429225"/>
                    <a:gd name="connsiteX62" fmla="*/ 11452 w 4519987"/>
                    <a:gd name="connsiteY62" fmla="*/ 2400300 h 4429225"/>
                    <a:gd name="connsiteX63" fmla="*/ 20977 w 4519987"/>
                    <a:gd name="connsiteY63" fmla="*/ 1905000 h 4429225"/>
                    <a:gd name="connsiteX64" fmla="*/ 30502 w 4519987"/>
                    <a:gd name="connsiteY64" fmla="*/ 1838325 h 4429225"/>
                    <a:gd name="connsiteX65" fmla="*/ 49552 w 4519987"/>
                    <a:gd name="connsiteY65" fmla="*/ 1781175 h 4429225"/>
                    <a:gd name="connsiteX66" fmla="*/ 59077 w 4519987"/>
                    <a:gd name="connsiteY66" fmla="*/ 1743075 h 4429225"/>
                    <a:gd name="connsiteX67" fmla="*/ 78127 w 4519987"/>
                    <a:gd name="connsiteY67" fmla="*/ 1685925 h 4429225"/>
                    <a:gd name="connsiteX68" fmla="*/ 87652 w 4519987"/>
                    <a:gd name="connsiteY68" fmla="*/ 1638300 h 4429225"/>
                    <a:gd name="connsiteX69" fmla="*/ 106702 w 4519987"/>
                    <a:gd name="connsiteY69" fmla="*/ 1590675 h 4429225"/>
                    <a:gd name="connsiteX70" fmla="*/ 135277 w 4519987"/>
                    <a:gd name="connsiteY70" fmla="*/ 1504950 h 4429225"/>
                    <a:gd name="connsiteX71" fmla="*/ 154327 w 4519987"/>
                    <a:gd name="connsiteY71" fmla="*/ 1419225 h 4429225"/>
                    <a:gd name="connsiteX72" fmla="*/ 230527 w 4519987"/>
                    <a:gd name="connsiteY72" fmla="*/ 1276350 h 4429225"/>
                    <a:gd name="connsiteX73" fmla="*/ 240052 w 4519987"/>
                    <a:gd name="connsiteY73" fmla="*/ 1247775 h 4429225"/>
                    <a:gd name="connsiteX74" fmla="*/ 268627 w 4519987"/>
                    <a:gd name="connsiteY74" fmla="*/ 1200150 h 4429225"/>
                    <a:gd name="connsiteX75" fmla="*/ 287677 w 4519987"/>
                    <a:gd name="connsiteY75" fmla="*/ 1152525 h 4429225"/>
                    <a:gd name="connsiteX76" fmla="*/ 316252 w 4519987"/>
                    <a:gd name="connsiteY76" fmla="*/ 1114425 h 4429225"/>
                    <a:gd name="connsiteX77" fmla="*/ 363877 w 4519987"/>
                    <a:gd name="connsiteY77" fmla="*/ 1038225 h 4429225"/>
                    <a:gd name="connsiteX78" fmla="*/ 382927 w 4519987"/>
                    <a:gd name="connsiteY78" fmla="*/ 1009650 h 4429225"/>
                    <a:gd name="connsiteX79" fmla="*/ 440077 w 4519987"/>
                    <a:gd name="connsiteY79" fmla="*/ 904875 h 4429225"/>
                    <a:gd name="connsiteX80" fmla="*/ 478177 w 4519987"/>
                    <a:gd name="connsiteY80" fmla="*/ 857250 h 4429225"/>
                    <a:gd name="connsiteX81" fmla="*/ 497227 w 4519987"/>
                    <a:gd name="connsiteY81" fmla="*/ 828675 h 4429225"/>
                    <a:gd name="connsiteX82" fmla="*/ 535327 w 4519987"/>
                    <a:gd name="connsiteY82" fmla="*/ 800100 h 4429225"/>
                    <a:gd name="connsiteX83" fmla="*/ 602002 w 4519987"/>
                    <a:gd name="connsiteY83" fmla="*/ 733425 h 4429225"/>
                    <a:gd name="connsiteX84" fmla="*/ 668677 w 4519987"/>
                    <a:gd name="connsiteY84" fmla="*/ 676275 h 4429225"/>
                    <a:gd name="connsiteX85" fmla="*/ 697252 w 4519987"/>
                    <a:gd name="connsiteY85" fmla="*/ 657225 h 4429225"/>
                    <a:gd name="connsiteX86" fmla="*/ 840127 w 4519987"/>
                    <a:gd name="connsiteY86" fmla="*/ 533400 h 4429225"/>
                    <a:gd name="connsiteX87" fmla="*/ 887752 w 4519987"/>
                    <a:gd name="connsiteY87" fmla="*/ 504825 h 4429225"/>
                    <a:gd name="connsiteX88" fmla="*/ 1167152 w 4519987"/>
                    <a:gd name="connsiteY88" fmla="*/ 311150 h 4429225"/>
                    <a:gd name="connsiteX89" fmla="*/ 1268752 w 4519987"/>
                    <a:gd name="connsiteY89" fmla="*/ 285750 h 4429225"/>
                    <a:gd name="connsiteX90" fmla="*/ 1411627 w 4519987"/>
                    <a:gd name="connsiteY90" fmla="*/ 190500 h 4429225"/>
                    <a:gd name="connsiteX91" fmla="*/ 1449727 w 4519987"/>
                    <a:gd name="connsiteY91" fmla="*/ 161925 h 4429225"/>
                    <a:gd name="connsiteX92" fmla="*/ 1525927 w 4519987"/>
                    <a:gd name="connsiteY92" fmla="*/ 152400 h 4429225"/>
                    <a:gd name="connsiteX93" fmla="*/ 1583077 w 4519987"/>
                    <a:gd name="connsiteY93" fmla="*/ 142875 h 4429225"/>
                    <a:gd name="connsiteX94" fmla="*/ 1716427 w 4519987"/>
                    <a:gd name="connsiteY94" fmla="*/ 123825 h 4429225"/>
                    <a:gd name="connsiteX95" fmla="*/ 1811677 w 4519987"/>
                    <a:gd name="connsiteY95" fmla="*/ 114300 h 4429225"/>
                    <a:gd name="connsiteX96" fmla="*/ 1859302 w 4519987"/>
                    <a:gd name="connsiteY96" fmla="*/ 104775 h 4429225"/>
                    <a:gd name="connsiteX97" fmla="*/ 1916452 w 4519987"/>
                    <a:gd name="connsiteY97" fmla="*/ 95250 h 4429225"/>
                    <a:gd name="connsiteX98" fmla="*/ 2030752 w 4519987"/>
                    <a:gd name="connsiteY98" fmla="*/ 66675 h 4429225"/>
                    <a:gd name="connsiteX99" fmla="*/ 2097427 w 4519987"/>
                    <a:gd name="connsiteY99" fmla="*/ 47625 h 4429225"/>
                    <a:gd name="connsiteX100" fmla="*/ 2164102 w 4519987"/>
                    <a:gd name="connsiteY100" fmla="*/ 38100 h 4429225"/>
                    <a:gd name="connsiteX101" fmla="*/ 2392702 w 4519987"/>
                    <a:gd name="connsiteY10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21002 w 4519987"/>
                    <a:gd name="connsiteY54" fmla="*/ 3105150 h 4429225"/>
                    <a:gd name="connsiteX55" fmla="*/ 173377 w 4519987"/>
                    <a:gd name="connsiteY55" fmla="*/ 3019425 h 4429225"/>
                    <a:gd name="connsiteX56" fmla="*/ 144802 w 4519987"/>
                    <a:gd name="connsiteY56" fmla="*/ 2924175 h 4429225"/>
                    <a:gd name="connsiteX57" fmla="*/ 68602 w 4519987"/>
                    <a:gd name="connsiteY57" fmla="*/ 2724150 h 4429225"/>
                    <a:gd name="connsiteX58" fmla="*/ 49552 w 4519987"/>
                    <a:gd name="connsiteY58" fmla="*/ 2638425 h 4429225"/>
                    <a:gd name="connsiteX59" fmla="*/ 40027 w 4519987"/>
                    <a:gd name="connsiteY59" fmla="*/ 2562225 h 4429225"/>
                    <a:gd name="connsiteX60" fmla="*/ 30502 w 4519987"/>
                    <a:gd name="connsiteY60" fmla="*/ 2514600 h 4429225"/>
                    <a:gd name="connsiteX61" fmla="*/ 11452 w 4519987"/>
                    <a:gd name="connsiteY61" fmla="*/ 2400300 h 4429225"/>
                    <a:gd name="connsiteX62" fmla="*/ 20977 w 4519987"/>
                    <a:gd name="connsiteY62" fmla="*/ 1905000 h 4429225"/>
                    <a:gd name="connsiteX63" fmla="*/ 30502 w 4519987"/>
                    <a:gd name="connsiteY63" fmla="*/ 1838325 h 4429225"/>
                    <a:gd name="connsiteX64" fmla="*/ 49552 w 4519987"/>
                    <a:gd name="connsiteY64" fmla="*/ 1781175 h 4429225"/>
                    <a:gd name="connsiteX65" fmla="*/ 59077 w 4519987"/>
                    <a:gd name="connsiteY65" fmla="*/ 1743075 h 4429225"/>
                    <a:gd name="connsiteX66" fmla="*/ 78127 w 4519987"/>
                    <a:gd name="connsiteY66" fmla="*/ 1685925 h 4429225"/>
                    <a:gd name="connsiteX67" fmla="*/ 87652 w 4519987"/>
                    <a:gd name="connsiteY67" fmla="*/ 1638300 h 4429225"/>
                    <a:gd name="connsiteX68" fmla="*/ 106702 w 4519987"/>
                    <a:gd name="connsiteY68" fmla="*/ 1590675 h 4429225"/>
                    <a:gd name="connsiteX69" fmla="*/ 135277 w 4519987"/>
                    <a:gd name="connsiteY69" fmla="*/ 1504950 h 4429225"/>
                    <a:gd name="connsiteX70" fmla="*/ 154327 w 4519987"/>
                    <a:gd name="connsiteY70" fmla="*/ 1419225 h 4429225"/>
                    <a:gd name="connsiteX71" fmla="*/ 230527 w 4519987"/>
                    <a:gd name="connsiteY71" fmla="*/ 1276350 h 4429225"/>
                    <a:gd name="connsiteX72" fmla="*/ 240052 w 4519987"/>
                    <a:gd name="connsiteY72" fmla="*/ 1247775 h 4429225"/>
                    <a:gd name="connsiteX73" fmla="*/ 268627 w 4519987"/>
                    <a:gd name="connsiteY73" fmla="*/ 1200150 h 4429225"/>
                    <a:gd name="connsiteX74" fmla="*/ 287677 w 4519987"/>
                    <a:gd name="connsiteY74" fmla="*/ 1152525 h 4429225"/>
                    <a:gd name="connsiteX75" fmla="*/ 316252 w 4519987"/>
                    <a:gd name="connsiteY75" fmla="*/ 1114425 h 4429225"/>
                    <a:gd name="connsiteX76" fmla="*/ 363877 w 4519987"/>
                    <a:gd name="connsiteY76" fmla="*/ 1038225 h 4429225"/>
                    <a:gd name="connsiteX77" fmla="*/ 382927 w 4519987"/>
                    <a:gd name="connsiteY77" fmla="*/ 1009650 h 4429225"/>
                    <a:gd name="connsiteX78" fmla="*/ 440077 w 4519987"/>
                    <a:gd name="connsiteY78" fmla="*/ 904875 h 4429225"/>
                    <a:gd name="connsiteX79" fmla="*/ 478177 w 4519987"/>
                    <a:gd name="connsiteY79" fmla="*/ 857250 h 4429225"/>
                    <a:gd name="connsiteX80" fmla="*/ 497227 w 4519987"/>
                    <a:gd name="connsiteY80" fmla="*/ 828675 h 4429225"/>
                    <a:gd name="connsiteX81" fmla="*/ 535327 w 4519987"/>
                    <a:gd name="connsiteY81" fmla="*/ 800100 h 4429225"/>
                    <a:gd name="connsiteX82" fmla="*/ 602002 w 4519987"/>
                    <a:gd name="connsiteY82" fmla="*/ 733425 h 4429225"/>
                    <a:gd name="connsiteX83" fmla="*/ 668677 w 4519987"/>
                    <a:gd name="connsiteY83" fmla="*/ 676275 h 4429225"/>
                    <a:gd name="connsiteX84" fmla="*/ 697252 w 4519987"/>
                    <a:gd name="connsiteY84" fmla="*/ 657225 h 4429225"/>
                    <a:gd name="connsiteX85" fmla="*/ 840127 w 4519987"/>
                    <a:gd name="connsiteY85" fmla="*/ 533400 h 4429225"/>
                    <a:gd name="connsiteX86" fmla="*/ 887752 w 4519987"/>
                    <a:gd name="connsiteY86" fmla="*/ 504825 h 4429225"/>
                    <a:gd name="connsiteX87" fmla="*/ 1167152 w 4519987"/>
                    <a:gd name="connsiteY87" fmla="*/ 311150 h 4429225"/>
                    <a:gd name="connsiteX88" fmla="*/ 1268752 w 4519987"/>
                    <a:gd name="connsiteY88" fmla="*/ 285750 h 4429225"/>
                    <a:gd name="connsiteX89" fmla="*/ 1411627 w 4519987"/>
                    <a:gd name="connsiteY89" fmla="*/ 190500 h 4429225"/>
                    <a:gd name="connsiteX90" fmla="*/ 1449727 w 4519987"/>
                    <a:gd name="connsiteY90" fmla="*/ 161925 h 4429225"/>
                    <a:gd name="connsiteX91" fmla="*/ 1525927 w 4519987"/>
                    <a:gd name="connsiteY91" fmla="*/ 152400 h 4429225"/>
                    <a:gd name="connsiteX92" fmla="*/ 1583077 w 4519987"/>
                    <a:gd name="connsiteY92" fmla="*/ 142875 h 4429225"/>
                    <a:gd name="connsiteX93" fmla="*/ 1716427 w 4519987"/>
                    <a:gd name="connsiteY93" fmla="*/ 123825 h 4429225"/>
                    <a:gd name="connsiteX94" fmla="*/ 1811677 w 4519987"/>
                    <a:gd name="connsiteY94" fmla="*/ 114300 h 4429225"/>
                    <a:gd name="connsiteX95" fmla="*/ 1859302 w 4519987"/>
                    <a:gd name="connsiteY95" fmla="*/ 104775 h 4429225"/>
                    <a:gd name="connsiteX96" fmla="*/ 1916452 w 4519987"/>
                    <a:gd name="connsiteY96" fmla="*/ 95250 h 4429225"/>
                    <a:gd name="connsiteX97" fmla="*/ 2030752 w 4519987"/>
                    <a:gd name="connsiteY97" fmla="*/ 66675 h 4429225"/>
                    <a:gd name="connsiteX98" fmla="*/ 2097427 w 4519987"/>
                    <a:gd name="connsiteY98" fmla="*/ 47625 h 4429225"/>
                    <a:gd name="connsiteX99" fmla="*/ 2164102 w 4519987"/>
                    <a:gd name="connsiteY99" fmla="*/ 38100 h 4429225"/>
                    <a:gd name="connsiteX100" fmla="*/ 2392702 w 4519987"/>
                    <a:gd name="connsiteY10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73377 w 4519987"/>
                    <a:gd name="connsiteY54" fmla="*/ 3019425 h 4429225"/>
                    <a:gd name="connsiteX55" fmla="*/ 144802 w 4519987"/>
                    <a:gd name="connsiteY55" fmla="*/ 2924175 h 4429225"/>
                    <a:gd name="connsiteX56" fmla="*/ 68602 w 4519987"/>
                    <a:gd name="connsiteY56" fmla="*/ 2724150 h 4429225"/>
                    <a:gd name="connsiteX57" fmla="*/ 49552 w 4519987"/>
                    <a:gd name="connsiteY57" fmla="*/ 2638425 h 4429225"/>
                    <a:gd name="connsiteX58" fmla="*/ 40027 w 4519987"/>
                    <a:gd name="connsiteY58" fmla="*/ 2562225 h 4429225"/>
                    <a:gd name="connsiteX59" fmla="*/ 30502 w 4519987"/>
                    <a:gd name="connsiteY59" fmla="*/ 2514600 h 4429225"/>
                    <a:gd name="connsiteX60" fmla="*/ 11452 w 4519987"/>
                    <a:gd name="connsiteY60" fmla="*/ 2400300 h 4429225"/>
                    <a:gd name="connsiteX61" fmla="*/ 20977 w 4519987"/>
                    <a:gd name="connsiteY61" fmla="*/ 1905000 h 4429225"/>
                    <a:gd name="connsiteX62" fmla="*/ 30502 w 4519987"/>
                    <a:gd name="connsiteY62" fmla="*/ 1838325 h 4429225"/>
                    <a:gd name="connsiteX63" fmla="*/ 49552 w 4519987"/>
                    <a:gd name="connsiteY63" fmla="*/ 1781175 h 4429225"/>
                    <a:gd name="connsiteX64" fmla="*/ 59077 w 4519987"/>
                    <a:gd name="connsiteY64" fmla="*/ 1743075 h 4429225"/>
                    <a:gd name="connsiteX65" fmla="*/ 78127 w 4519987"/>
                    <a:gd name="connsiteY65" fmla="*/ 1685925 h 4429225"/>
                    <a:gd name="connsiteX66" fmla="*/ 87652 w 4519987"/>
                    <a:gd name="connsiteY66" fmla="*/ 1638300 h 4429225"/>
                    <a:gd name="connsiteX67" fmla="*/ 106702 w 4519987"/>
                    <a:gd name="connsiteY67" fmla="*/ 1590675 h 4429225"/>
                    <a:gd name="connsiteX68" fmla="*/ 135277 w 4519987"/>
                    <a:gd name="connsiteY68" fmla="*/ 1504950 h 4429225"/>
                    <a:gd name="connsiteX69" fmla="*/ 154327 w 4519987"/>
                    <a:gd name="connsiteY69" fmla="*/ 1419225 h 4429225"/>
                    <a:gd name="connsiteX70" fmla="*/ 230527 w 4519987"/>
                    <a:gd name="connsiteY70" fmla="*/ 1276350 h 4429225"/>
                    <a:gd name="connsiteX71" fmla="*/ 240052 w 4519987"/>
                    <a:gd name="connsiteY71" fmla="*/ 1247775 h 4429225"/>
                    <a:gd name="connsiteX72" fmla="*/ 268627 w 4519987"/>
                    <a:gd name="connsiteY72" fmla="*/ 1200150 h 4429225"/>
                    <a:gd name="connsiteX73" fmla="*/ 287677 w 4519987"/>
                    <a:gd name="connsiteY73" fmla="*/ 1152525 h 4429225"/>
                    <a:gd name="connsiteX74" fmla="*/ 316252 w 4519987"/>
                    <a:gd name="connsiteY74" fmla="*/ 1114425 h 4429225"/>
                    <a:gd name="connsiteX75" fmla="*/ 363877 w 4519987"/>
                    <a:gd name="connsiteY75" fmla="*/ 1038225 h 4429225"/>
                    <a:gd name="connsiteX76" fmla="*/ 382927 w 4519987"/>
                    <a:gd name="connsiteY76" fmla="*/ 1009650 h 4429225"/>
                    <a:gd name="connsiteX77" fmla="*/ 440077 w 4519987"/>
                    <a:gd name="connsiteY77" fmla="*/ 904875 h 4429225"/>
                    <a:gd name="connsiteX78" fmla="*/ 478177 w 4519987"/>
                    <a:gd name="connsiteY78" fmla="*/ 857250 h 4429225"/>
                    <a:gd name="connsiteX79" fmla="*/ 497227 w 4519987"/>
                    <a:gd name="connsiteY79" fmla="*/ 828675 h 4429225"/>
                    <a:gd name="connsiteX80" fmla="*/ 535327 w 4519987"/>
                    <a:gd name="connsiteY80" fmla="*/ 800100 h 4429225"/>
                    <a:gd name="connsiteX81" fmla="*/ 602002 w 4519987"/>
                    <a:gd name="connsiteY81" fmla="*/ 733425 h 4429225"/>
                    <a:gd name="connsiteX82" fmla="*/ 668677 w 4519987"/>
                    <a:gd name="connsiteY82" fmla="*/ 676275 h 4429225"/>
                    <a:gd name="connsiteX83" fmla="*/ 697252 w 4519987"/>
                    <a:gd name="connsiteY83" fmla="*/ 657225 h 4429225"/>
                    <a:gd name="connsiteX84" fmla="*/ 840127 w 4519987"/>
                    <a:gd name="connsiteY84" fmla="*/ 533400 h 4429225"/>
                    <a:gd name="connsiteX85" fmla="*/ 887752 w 4519987"/>
                    <a:gd name="connsiteY85" fmla="*/ 504825 h 4429225"/>
                    <a:gd name="connsiteX86" fmla="*/ 1167152 w 4519987"/>
                    <a:gd name="connsiteY86" fmla="*/ 311150 h 4429225"/>
                    <a:gd name="connsiteX87" fmla="*/ 1268752 w 4519987"/>
                    <a:gd name="connsiteY87" fmla="*/ 285750 h 4429225"/>
                    <a:gd name="connsiteX88" fmla="*/ 1411627 w 4519987"/>
                    <a:gd name="connsiteY88" fmla="*/ 190500 h 4429225"/>
                    <a:gd name="connsiteX89" fmla="*/ 1449727 w 4519987"/>
                    <a:gd name="connsiteY89" fmla="*/ 161925 h 4429225"/>
                    <a:gd name="connsiteX90" fmla="*/ 1525927 w 4519987"/>
                    <a:gd name="connsiteY90" fmla="*/ 152400 h 4429225"/>
                    <a:gd name="connsiteX91" fmla="*/ 1583077 w 4519987"/>
                    <a:gd name="connsiteY91" fmla="*/ 142875 h 4429225"/>
                    <a:gd name="connsiteX92" fmla="*/ 1716427 w 4519987"/>
                    <a:gd name="connsiteY92" fmla="*/ 123825 h 4429225"/>
                    <a:gd name="connsiteX93" fmla="*/ 1811677 w 4519987"/>
                    <a:gd name="connsiteY93" fmla="*/ 114300 h 4429225"/>
                    <a:gd name="connsiteX94" fmla="*/ 1859302 w 4519987"/>
                    <a:gd name="connsiteY94" fmla="*/ 104775 h 4429225"/>
                    <a:gd name="connsiteX95" fmla="*/ 1916452 w 4519987"/>
                    <a:gd name="connsiteY95" fmla="*/ 95250 h 4429225"/>
                    <a:gd name="connsiteX96" fmla="*/ 2030752 w 4519987"/>
                    <a:gd name="connsiteY96" fmla="*/ 66675 h 4429225"/>
                    <a:gd name="connsiteX97" fmla="*/ 2097427 w 4519987"/>
                    <a:gd name="connsiteY97" fmla="*/ 47625 h 4429225"/>
                    <a:gd name="connsiteX98" fmla="*/ 2164102 w 4519987"/>
                    <a:gd name="connsiteY98" fmla="*/ 38100 h 4429225"/>
                    <a:gd name="connsiteX99" fmla="*/ 2392702 w 4519987"/>
                    <a:gd name="connsiteY9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9552 w 4519987"/>
                    <a:gd name="connsiteY56" fmla="*/ 2638425 h 4429225"/>
                    <a:gd name="connsiteX57" fmla="*/ 40027 w 4519987"/>
                    <a:gd name="connsiteY57" fmla="*/ 2562225 h 4429225"/>
                    <a:gd name="connsiteX58" fmla="*/ 30502 w 4519987"/>
                    <a:gd name="connsiteY58" fmla="*/ 2514600 h 4429225"/>
                    <a:gd name="connsiteX59" fmla="*/ 11452 w 4519987"/>
                    <a:gd name="connsiteY59" fmla="*/ 2400300 h 4429225"/>
                    <a:gd name="connsiteX60" fmla="*/ 20977 w 4519987"/>
                    <a:gd name="connsiteY60" fmla="*/ 1905000 h 4429225"/>
                    <a:gd name="connsiteX61" fmla="*/ 30502 w 4519987"/>
                    <a:gd name="connsiteY61" fmla="*/ 1838325 h 4429225"/>
                    <a:gd name="connsiteX62" fmla="*/ 49552 w 4519987"/>
                    <a:gd name="connsiteY62" fmla="*/ 1781175 h 4429225"/>
                    <a:gd name="connsiteX63" fmla="*/ 59077 w 4519987"/>
                    <a:gd name="connsiteY63" fmla="*/ 1743075 h 4429225"/>
                    <a:gd name="connsiteX64" fmla="*/ 78127 w 4519987"/>
                    <a:gd name="connsiteY64" fmla="*/ 1685925 h 4429225"/>
                    <a:gd name="connsiteX65" fmla="*/ 87652 w 4519987"/>
                    <a:gd name="connsiteY65" fmla="*/ 1638300 h 4429225"/>
                    <a:gd name="connsiteX66" fmla="*/ 106702 w 4519987"/>
                    <a:gd name="connsiteY66" fmla="*/ 1590675 h 4429225"/>
                    <a:gd name="connsiteX67" fmla="*/ 135277 w 4519987"/>
                    <a:gd name="connsiteY67" fmla="*/ 1504950 h 4429225"/>
                    <a:gd name="connsiteX68" fmla="*/ 154327 w 4519987"/>
                    <a:gd name="connsiteY68" fmla="*/ 1419225 h 4429225"/>
                    <a:gd name="connsiteX69" fmla="*/ 230527 w 4519987"/>
                    <a:gd name="connsiteY69" fmla="*/ 1276350 h 4429225"/>
                    <a:gd name="connsiteX70" fmla="*/ 240052 w 4519987"/>
                    <a:gd name="connsiteY70" fmla="*/ 1247775 h 4429225"/>
                    <a:gd name="connsiteX71" fmla="*/ 268627 w 4519987"/>
                    <a:gd name="connsiteY71" fmla="*/ 1200150 h 4429225"/>
                    <a:gd name="connsiteX72" fmla="*/ 287677 w 4519987"/>
                    <a:gd name="connsiteY72" fmla="*/ 1152525 h 4429225"/>
                    <a:gd name="connsiteX73" fmla="*/ 316252 w 4519987"/>
                    <a:gd name="connsiteY73" fmla="*/ 1114425 h 4429225"/>
                    <a:gd name="connsiteX74" fmla="*/ 363877 w 4519987"/>
                    <a:gd name="connsiteY74" fmla="*/ 1038225 h 4429225"/>
                    <a:gd name="connsiteX75" fmla="*/ 382927 w 4519987"/>
                    <a:gd name="connsiteY75" fmla="*/ 1009650 h 4429225"/>
                    <a:gd name="connsiteX76" fmla="*/ 440077 w 4519987"/>
                    <a:gd name="connsiteY76" fmla="*/ 904875 h 4429225"/>
                    <a:gd name="connsiteX77" fmla="*/ 478177 w 4519987"/>
                    <a:gd name="connsiteY77" fmla="*/ 857250 h 4429225"/>
                    <a:gd name="connsiteX78" fmla="*/ 497227 w 4519987"/>
                    <a:gd name="connsiteY78" fmla="*/ 828675 h 4429225"/>
                    <a:gd name="connsiteX79" fmla="*/ 535327 w 4519987"/>
                    <a:gd name="connsiteY79" fmla="*/ 800100 h 4429225"/>
                    <a:gd name="connsiteX80" fmla="*/ 602002 w 4519987"/>
                    <a:gd name="connsiteY80" fmla="*/ 733425 h 4429225"/>
                    <a:gd name="connsiteX81" fmla="*/ 668677 w 4519987"/>
                    <a:gd name="connsiteY81" fmla="*/ 676275 h 4429225"/>
                    <a:gd name="connsiteX82" fmla="*/ 697252 w 4519987"/>
                    <a:gd name="connsiteY82" fmla="*/ 657225 h 4429225"/>
                    <a:gd name="connsiteX83" fmla="*/ 840127 w 4519987"/>
                    <a:gd name="connsiteY83" fmla="*/ 533400 h 4429225"/>
                    <a:gd name="connsiteX84" fmla="*/ 887752 w 4519987"/>
                    <a:gd name="connsiteY84" fmla="*/ 504825 h 4429225"/>
                    <a:gd name="connsiteX85" fmla="*/ 1167152 w 4519987"/>
                    <a:gd name="connsiteY85" fmla="*/ 311150 h 4429225"/>
                    <a:gd name="connsiteX86" fmla="*/ 1268752 w 4519987"/>
                    <a:gd name="connsiteY86" fmla="*/ 285750 h 4429225"/>
                    <a:gd name="connsiteX87" fmla="*/ 1411627 w 4519987"/>
                    <a:gd name="connsiteY87" fmla="*/ 190500 h 4429225"/>
                    <a:gd name="connsiteX88" fmla="*/ 1449727 w 4519987"/>
                    <a:gd name="connsiteY88" fmla="*/ 161925 h 4429225"/>
                    <a:gd name="connsiteX89" fmla="*/ 1525927 w 4519987"/>
                    <a:gd name="connsiteY89" fmla="*/ 152400 h 4429225"/>
                    <a:gd name="connsiteX90" fmla="*/ 1583077 w 4519987"/>
                    <a:gd name="connsiteY90" fmla="*/ 142875 h 4429225"/>
                    <a:gd name="connsiteX91" fmla="*/ 1716427 w 4519987"/>
                    <a:gd name="connsiteY91" fmla="*/ 123825 h 4429225"/>
                    <a:gd name="connsiteX92" fmla="*/ 1811677 w 4519987"/>
                    <a:gd name="connsiteY92" fmla="*/ 114300 h 4429225"/>
                    <a:gd name="connsiteX93" fmla="*/ 1859302 w 4519987"/>
                    <a:gd name="connsiteY93" fmla="*/ 104775 h 4429225"/>
                    <a:gd name="connsiteX94" fmla="*/ 1916452 w 4519987"/>
                    <a:gd name="connsiteY94" fmla="*/ 95250 h 4429225"/>
                    <a:gd name="connsiteX95" fmla="*/ 2030752 w 4519987"/>
                    <a:gd name="connsiteY95" fmla="*/ 66675 h 4429225"/>
                    <a:gd name="connsiteX96" fmla="*/ 2097427 w 4519987"/>
                    <a:gd name="connsiteY96" fmla="*/ 47625 h 4429225"/>
                    <a:gd name="connsiteX97" fmla="*/ 2164102 w 4519987"/>
                    <a:gd name="connsiteY97" fmla="*/ 38100 h 4429225"/>
                    <a:gd name="connsiteX98" fmla="*/ 2392702 w 4519987"/>
                    <a:gd name="connsiteY9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30502 w 4519987"/>
                    <a:gd name="connsiteY57" fmla="*/ 2514600 h 4429225"/>
                    <a:gd name="connsiteX58" fmla="*/ 11452 w 4519987"/>
                    <a:gd name="connsiteY58" fmla="*/ 2400300 h 4429225"/>
                    <a:gd name="connsiteX59" fmla="*/ 20977 w 4519987"/>
                    <a:gd name="connsiteY59" fmla="*/ 1905000 h 4429225"/>
                    <a:gd name="connsiteX60" fmla="*/ 30502 w 4519987"/>
                    <a:gd name="connsiteY60" fmla="*/ 1838325 h 4429225"/>
                    <a:gd name="connsiteX61" fmla="*/ 49552 w 4519987"/>
                    <a:gd name="connsiteY61" fmla="*/ 1781175 h 4429225"/>
                    <a:gd name="connsiteX62" fmla="*/ 59077 w 4519987"/>
                    <a:gd name="connsiteY62" fmla="*/ 1743075 h 4429225"/>
                    <a:gd name="connsiteX63" fmla="*/ 78127 w 4519987"/>
                    <a:gd name="connsiteY63" fmla="*/ 1685925 h 4429225"/>
                    <a:gd name="connsiteX64" fmla="*/ 87652 w 4519987"/>
                    <a:gd name="connsiteY64" fmla="*/ 1638300 h 4429225"/>
                    <a:gd name="connsiteX65" fmla="*/ 106702 w 4519987"/>
                    <a:gd name="connsiteY65" fmla="*/ 1590675 h 4429225"/>
                    <a:gd name="connsiteX66" fmla="*/ 135277 w 4519987"/>
                    <a:gd name="connsiteY66" fmla="*/ 1504950 h 4429225"/>
                    <a:gd name="connsiteX67" fmla="*/ 154327 w 4519987"/>
                    <a:gd name="connsiteY67" fmla="*/ 1419225 h 4429225"/>
                    <a:gd name="connsiteX68" fmla="*/ 230527 w 4519987"/>
                    <a:gd name="connsiteY68" fmla="*/ 1276350 h 4429225"/>
                    <a:gd name="connsiteX69" fmla="*/ 240052 w 4519987"/>
                    <a:gd name="connsiteY69" fmla="*/ 1247775 h 4429225"/>
                    <a:gd name="connsiteX70" fmla="*/ 268627 w 4519987"/>
                    <a:gd name="connsiteY70" fmla="*/ 1200150 h 4429225"/>
                    <a:gd name="connsiteX71" fmla="*/ 287677 w 4519987"/>
                    <a:gd name="connsiteY71" fmla="*/ 1152525 h 4429225"/>
                    <a:gd name="connsiteX72" fmla="*/ 316252 w 4519987"/>
                    <a:gd name="connsiteY72" fmla="*/ 1114425 h 4429225"/>
                    <a:gd name="connsiteX73" fmla="*/ 363877 w 4519987"/>
                    <a:gd name="connsiteY73" fmla="*/ 1038225 h 4429225"/>
                    <a:gd name="connsiteX74" fmla="*/ 382927 w 4519987"/>
                    <a:gd name="connsiteY74" fmla="*/ 1009650 h 4429225"/>
                    <a:gd name="connsiteX75" fmla="*/ 440077 w 4519987"/>
                    <a:gd name="connsiteY75" fmla="*/ 904875 h 4429225"/>
                    <a:gd name="connsiteX76" fmla="*/ 478177 w 4519987"/>
                    <a:gd name="connsiteY76" fmla="*/ 857250 h 4429225"/>
                    <a:gd name="connsiteX77" fmla="*/ 497227 w 4519987"/>
                    <a:gd name="connsiteY77" fmla="*/ 828675 h 4429225"/>
                    <a:gd name="connsiteX78" fmla="*/ 535327 w 4519987"/>
                    <a:gd name="connsiteY78" fmla="*/ 800100 h 4429225"/>
                    <a:gd name="connsiteX79" fmla="*/ 602002 w 4519987"/>
                    <a:gd name="connsiteY79" fmla="*/ 733425 h 4429225"/>
                    <a:gd name="connsiteX80" fmla="*/ 668677 w 4519987"/>
                    <a:gd name="connsiteY80" fmla="*/ 676275 h 4429225"/>
                    <a:gd name="connsiteX81" fmla="*/ 697252 w 4519987"/>
                    <a:gd name="connsiteY81" fmla="*/ 657225 h 4429225"/>
                    <a:gd name="connsiteX82" fmla="*/ 840127 w 4519987"/>
                    <a:gd name="connsiteY82" fmla="*/ 533400 h 4429225"/>
                    <a:gd name="connsiteX83" fmla="*/ 887752 w 4519987"/>
                    <a:gd name="connsiteY83" fmla="*/ 504825 h 4429225"/>
                    <a:gd name="connsiteX84" fmla="*/ 1167152 w 4519987"/>
                    <a:gd name="connsiteY84" fmla="*/ 311150 h 4429225"/>
                    <a:gd name="connsiteX85" fmla="*/ 1268752 w 4519987"/>
                    <a:gd name="connsiteY85" fmla="*/ 285750 h 4429225"/>
                    <a:gd name="connsiteX86" fmla="*/ 1411627 w 4519987"/>
                    <a:gd name="connsiteY86" fmla="*/ 190500 h 4429225"/>
                    <a:gd name="connsiteX87" fmla="*/ 1449727 w 4519987"/>
                    <a:gd name="connsiteY87" fmla="*/ 161925 h 4429225"/>
                    <a:gd name="connsiteX88" fmla="*/ 1525927 w 4519987"/>
                    <a:gd name="connsiteY88" fmla="*/ 152400 h 4429225"/>
                    <a:gd name="connsiteX89" fmla="*/ 1583077 w 4519987"/>
                    <a:gd name="connsiteY89" fmla="*/ 142875 h 4429225"/>
                    <a:gd name="connsiteX90" fmla="*/ 1716427 w 4519987"/>
                    <a:gd name="connsiteY90" fmla="*/ 123825 h 4429225"/>
                    <a:gd name="connsiteX91" fmla="*/ 1811677 w 4519987"/>
                    <a:gd name="connsiteY91" fmla="*/ 114300 h 4429225"/>
                    <a:gd name="connsiteX92" fmla="*/ 1859302 w 4519987"/>
                    <a:gd name="connsiteY92" fmla="*/ 104775 h 4429225"/>
                    <a:gd name="connsiteX93" fmla="*/ 1916452 w 4519987"/>
                    <a:gd name="connsiteY93" fmla="*/ 95250 h 4429225"/>
                    <a:gd name="connsiteX94" fmla="*/ 2030752 w 4519987"/>
                    <a:gd name="connsiteY94" fmla="*/ 66675 h 4429225"/>
                    <a:gd name="connsiteX95" fmla="*/ 2097427 w 4519987"/>
                    <a:gd name="connsiteY95" fmla="*/ 47625 h 4429225"/>
                    <a:gd name="connsiteX96" fmla="*/ 2164102 w 4519987"/>
                    <a:gd name="connsiteY96" fmla="*/ 38100 h 4429225"/>
                    <a:gd name="connsiteX97" fmla="*/ 2392702 w 4519987"/>
                    <a:gd name="connsiteY9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11452 w 4519987"/>
                    <a:gd name="connsiteY57" fmla="*/ 2400300 h 4429225"/>
                    <a:gd name="connsiteX58" fmla="*/ 20977 w 4519987"/>
                    <a:gd name="connsiteY58" fmla="*/ 1905000 h 4429225"/>
                    <a:gd name="connsiteX59" fmla="*/ 30502 w 4519987"/>
                    <a:gd name="connsiteY59" fmla="*/ 1838325 h 4429225"/>
                    <a:gd name="connsiteX60" fmla="*/ 49552 w 4519987"/>
                    <a:gd name="connsiteY60" fmla="*/ 1781175 h 4429225"/>
                    <a:gd name="connsiteX61" fmla="*/ 59077 w 4519987"/>
                    <a:gd name="connsiteY61" fmla="*/ 1743075 h 4429225"/>
                    <a:gd name="connsiteX62" fmla="*/ 78127 w 4519987"/>
                    <a:gd name="connsiteY62" fmla="*/ 1685925 h 4429225"/>
                    <a:gd name="connsiteX63" fmla="*/ 87652 w 4519987"/>
                    <a:gd name="connsiteY63" fmla="*/ 1638300 h 4429225"/>
                    <a:gd name="connsiteX64" fmla="*/ 106702 w 4519987"/>
                    <a:gd name="connsiteY64" fmla="*/ 1590675 h 4429225"/>
                    <a:gd name="connsiteX65" fmla="*/ 135277 w 4519987"/>
                    <a:gd name="connsiteY65" fmla="*/ 1504950 h 4429225"/>
                    <a:gd name="connsiteX66" fmla="*/ 154327 w 4519987"/>
                    <a:gd name="connsiteY66" fmla="*/ 1419225 h 4429225"/>
                    <a:gd name="connsiteX67" fmla="*/ 230527 w 4519987"/>
                    <a:gd name="connsiteY67" fmla="*/ 1276350 h 4429225"/>
                    <a:gd name="connsiteX68" fmla="*/ 240052 w 4519987"/>
                    <a:gd name="connsiteY68" fmla="*/ 1247775 h 4429225"/>
                    <a:gd name="connsiteX69" fmla="*/ 268627 w 4519987"/>
                    <a:gd name="connsiteY69" fmla="*/ 1200150 h 4429225"/>
                    <a:gd name="connsiteX70" fmla="*/ 287677 w 4519987"/>
                    <a:gd name="connsiteY70" fmla="*/ 1152525 h 4429225"/>
                    <a:gd name="connsiteX71" fmla="*/ 316252 w 4519987"/>
                    <a:gd name="connsiteY71" fmla="*/ 1114425 h 4429225"/>
                    <a:gd name="connsiteX72" fmla="*/ 363877 w 4519987"/>
                    <a:gd name="connsiteY72" fmla="*/ 1038225 h 4429225"/>
                    <a:gd name="connsiteX73" fmla="*/ 382927 w 4519987"/>
                    <a:gd name="connsiteY73" fmla="*/ 1009650 h 4429225"/>
                    <a:gd name="connsiteX74" fmla="*/ 440077 w 4519987"/>
                    <a:gd name="connsiteY74" fmla="*/ 904875 h 4429225"/>
                    <a:gd name="connsiteX75" fmla="*/ 478177 w 4519987"/>
                    <a:gd name="connsiteY75" fmla="*/ 857250 h 4429225"/>
                    <a:gd name="connsiteX76" fmla="*/ 497227 w 4519987"/>
                    <a:gd name="connsiteY76" fmla="*/ 828675 h 4429225"/>
                    <a:gd name="connsiteX77" fmla="*/ 535327 w 4519987"/>
                    <a:gd name="connsiteY77" fmla="*/ 800100 h 4429225"/>
                    <a:gd name="connsiteX78" fmla="*/ 602002 w 4519987"/>
                    <a:gd name="connsiteY78" fmla="*/ 733425 h 4429225"/>
                    <a:gd name="connsiteX79" fmla="*/ 668677 w 4519987"/>
                    <a:gd name="connsiteY79" fmla="*/ 676275 h 4429225"/>
                    <a:gd name="connsiteX80" fmla="*/ 697252 w 4519987"/>
                    <a:gd name="connsiteY80" fmla="*/ 657225 h 4429225"/>
                    <a:gd name="connsiteX81" fmla="*/ 840127 w 4519987"/>
                    <a:gd name="connsiteY81" fmla="*/ 533400 h 4429225"/>
                    <a:gd name="connsiteX82" fmla="*/ 887752 w 4519987"/>
                    <a:gd name="connsiteY82" fmla="*/ 504825 h 4429225"/>
                    <a:gd name="connsiteX83" fmla="*/ 1167152 w 4519987"/>
                    <a:gd name="connsiteY83" fmla="*/ 311150 h 4429225"/>
                    <a:gd name="connsiteX84" fmla="*/ 1268752 w 4519987"/>
                    <a:gd name="connsiteY84" fmla="*/ 285750 h 4429225"/>
                    <a:gd name="connsiteX85" fmla="*/ 1411627 w 4519987"/>
                    <a:gd name="connsiteY85" fmla="*/ 190500 h 4429225"/>
                    <a:gd name="connsiteX86" fmla="*/ 1449727 w 4519987"/>
                    <a:gd name="connsiteY86" fmla="*/ 161925 h 4429225"/>
                    <a:gd name="connsiteX87" fmla="*/ 1525927 w 4519987"/>
                    <a:gd name="connsiteY87" fmla="*/ 152400 h 4429225"/>
                    <a:gd name="connsiteX88" fmla="*/ 1583077 w 4519987"/>
                    <a:gd name="connsiteY88" fmla="*/ 142875 h 4429225"/>
                    <a:gd name="connsiteX89" fmla="*/ 1716427 w 4519987"/>
                    <a:gd name="connsiteY89" fmla="*/ 123825 h 4429225"/>
                    <a:gd name="connsiteX90" fmla="*/ 1811677 w 4519987"/>
                    <a:gd name="connsiteY90" fmla="*/ 114300 h 4429225"/>
                    <a:gd name="connsiteX91" fmla="*/ 1859302 w 4519987"/>
                    <a:gd name="connsiteY91" fmla="*/ 104775 h 4429225"/>
                    <a:gd name="connsiteX92" fmla="*/ 1916452 w 4519987"/>
                    <a:gd name="connsiteY92" fmla="*/ 95250 h 4429225"/>
                    <a:gd name="connsiteX93" fmla="*/ 2030752 w 4519987"/>
                    <a:gd name="connsiteY93" fmla="*/ 66675 h 4429225"/>
                    <a:gd name="connsiteX94" fmla="*/ 2097427 w 4519987"/>
                    <a:gd name="connsiteY94" fmla="*/ 47625 h 4429225"/>
                    <a:gd name="connsiteX95" fmla="*/ 2164102 w 4519987"/>
                    <a:gd name="connsiteY95" fmla="*/ 38100 h 4429225"/>
                    <a:gd name="connsiteX96" fmla="*/ 2392702 w 4519987"/>
                    <a:gd name="connsiteY9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11452 w 4519987"/>
                    <a:gd name="connsiteY56" fmla="*/ 2400300 h 4429225"/>
                    <a:gd name="connsiteX57" fmla="*/ 20977 w 4519987"/>
                    <a:gd name="connsiteY57" fmla="*/ 1905000 h 4429225"/>
                    <a:gd name="connsiteX58" fmla="*/ 30502 w 4519987"/>
                    <a:gd name="connsiteY58" fmla="*/ 1838325 h 4429225"/>
                    <a:gd name="connsiteX59" fmla="*/ 49552 w 4519987"/>
                    <a:gd name="connsiteY59" fmla="*/ 1781175 h 4429225"/>
                    <a:gd name="connsiteX60" fmla="*/ 59077 w 4519987"/>
                    <a:gd name="connsiteY60" fmla="*/ 1743075 h 4429225"/>
                    <a:gd name="connsiteX61" fmla="*/ 78127 w 4519987"/>
                    <a:gd name="connsiteY61" fmla="*/ 1685925 h 4429225"/>
                    <a:gd name="connsiteX62" fmla="*/ 87652 w 4519987"/>
                    <a:gd name="connsiteY62" fmla="*/ 1638300 h 4429225"/>
                    <a:gd name="connsiteX63" fmla="*/ 106702 w 4519987"/>
                    <a:gd name="connsiteY63" fmla="*/ 1590675 h 4429225"/>
                    <a:gd name="connsiteX64" fmla="*/ 135277 w 4519987"/>
                    <a:gd name="connsiteY64" fmla="*/ 1504950 h 4429225"/>
                    <a:gd name="connsiteX65" fmla="*/ 154327 w 4519987"/>
                    <a:gd name="connsiteY65" fmla="*/ 1419225 h 4429225"/>
                    <a:gd name="connsiteX66" fmla="*/ 230527 w 4519987"/>
                    <a:gd name="connsiteY66" fmla="*/ 1276350 h 4429225"/>
                    <a:gd name="connsiteX67" fmla="*/ 240052 w 4519987"/>
                    <a:gd name="connsiteY67" fmla="*/ 1247775 h 4429225"/>
                    <a:gd name="connsiteX68" fmla="*/ 268627 w 4519987"/>
                    <a:gd name="connsiteY68" fmla="*/ 1200150 h 4429225"/>
                    <a:gd name="connsiteX69" fmla="*/ 287677 w 4519987"/>
                    <a:gd name="connsiteY69" fmla="*/ 1152525 h 4429225"/>
                    <a:gd name="connsiteX70" fmla="*/ 316252 w 4519987"/>
                    <a:gd name="connsiteY70" fmla="*/ 1114425 h 4429225"/>
                    <a:gd name="connsiteX71" fmla="*/ 363877 w 4519987"/>
                    <a:gd name="connsiteY71" fmla="*/ 1038225 h 4429225"/>
                    <a:gd name="connsiteX72" fmla="*/ 382927 w 4519987"/>
                    <a:gd name="connsiteY72" fmla="*/ 1009650 h 4429225"/>
                    <a:gd name="connsiteX73" fmla="*/ 440077 w 4519987"/>
                    <a:gd name="connsiteY73" fmla="*/ 904875 h 4429225"/>
                    <a:gd name="connsiteX74" fmla="*/ 478177 w 4519987"/>
                    <a:gd name="connsiteY74" fmla="*/ 857250 h 4429225"/>
                    <a:gd name="connsiteX75" fmla="*/ 497227 w 4519987"/>
                    <a:gd name="connsiteY75" fmla="*/ 828675 h 4429225"/>
                    <a:gd name="connsiteX76" fmla="*/ 535327 w 4519987"/>
                    <a:gd name="connsiteY76" fmla="*/ 800100 h 4429225"/>
                    <a:gd name="connsiteX77" fmla="*/ 602002 w 4519987"/>
                    <a:gd name="connsiteY77" fmla="*/ 733425 h 4429225"/>
                    <a:gd name="connsiteX78" fmla="*/ 668677 w 4519987"/>
                    <a:gd name="connsiteY78" fmla="*/ 676275 h 4429225"/>
                    <a:gd name="connsiteX79" fmla="*/ 697252 w 4519987"/>
                    <a:gd name="connsiteY79" fmla="*/ 657225 h 4429225"/>
                    <a:gd name="connsiteX80" fmla="*/ 840127 w 4519987"/>
                    <a:gd name="connsiteY80" fmla="*/ 533400 h 4429225"/>
                    <a:gd name="connsiteX81" fmla="*/ 887752 w 4519987"/>
                    <a:gd name="connsiteY81" fmla="*/ 504825 h 4429225"/>
                    <a:gd name="connsiteX82" fmla="*/ 1167152 w 4519987"/>
                    <a:gd name="connsiteY82" fmla="*/ 311150 h 4429225"/>
                    <a:gd name="connsiteX83" fmla="*/ 1268752 w 4519987"/>
                    <a:gd name="connsiteY83" fmla="*/ 285750 h 4429225"/>
                    <a:gd name="connsiteX84" fmla="*/ 1411627 w 4519987"/>
                    <a:gd name="connsiteY84" fmla="*/ 190500 h 4429225"/>
                    <a:gd name="connsiteX85" fmla="*/ 1449727 w 4519987"/>
                    <a:gd name="connsiteY85" fmla="*/ 161925 h 4429225"/>
                    <a:gd name="connsiteX86" fmla="*/ 1525927 w 4519987"/>
                    <a:gd name="connsiteY86" fmla="*/ 152400 h 4429225"/>
                    <a:gd name="connsiteX87" fmla="*/ 1583077 w 4519987"/>
                    <a:gd name="connsiteY87" fmla="*/ 142875 h 4429225"/>
                    <a:gd name="connsiteX88" fmla="*/ 1716427 w 4519987"/>
                    <a:gd name="connsiteY88" fmla="*/ 123825 h 4429225"/>
                    <a:gd name="connsiteX89" fmla="*/ 1811677 w 4519987"/>
                    <a:gd name="connsiteY89" fmla="*/ 114300 h 4429225"/>
                    <a:gd name="connsiteX90" fmla="*/ 1859302 w 4519987"/>
                    <a:gd name="connsiteY90" fmla="*/ 104775 h 4429225"/>
                    <a:gd name="connsiteX91" fmla="*/ 1916452 w 4519987"/>
                    <a:gd name="connsiteY91" fmla="*/ 95250 h 4429225"/>
                    <a:gd name="connsiteX92" fmla="*/ 2030752 w 4519987"/>
                    <a:gd name="connsiteY92" fmla="*/ 66675 h 4429225"/>
                    <a:gd name="connsiteX93" fmla="*/ 2097427 w 4519987"/>
                    <a:gd name="connsiteY93" fmla="*/ 47625 h 4429225"/>
                    <a:gd name="connsiteX94" fmla="*/ 2164102 w 4519987"/>
                    <a:gd name="connsiteY94" fmla="*/ 38100 h 4429225"/>
                    <a:gd name="connsiteX95" fmla="*/ 2392702 w 4519987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49994 w 4501379"/>
                    <a:gd name="connsiteY55" fmla="*/ 2724150 h 4429225"/>
                    <a:gd name="connsiteX56" fmla="*/ 56344 w 4501379"/>
                    <a:gd name="connsiteY56" fmla="*/ 2368550 h 4429225"/>
                    <a:gd name="connsiteX57" fmla="*/ 2369 w 4501379"/>
                    <a:gd name="connsiteY57" fmla="*/ 1905000 h 4429225"/>
                    <a:gd name="connsiteX58" fmla="*/ 11894 w 4501379"/>
                    <a:gd name="connsiteY58" fmla="*/ 1838325 h 4429225"/>
                    <a:gd name="connsiteX59" fmla="*/ 30944 w 4501379"/>
                    <a:gd name="connsiteY59" fmla="*/ 1781175 h 4429225"/>
                    <a:gd name="connsiteX60" fmla="*/ 40469 w 4501379"/>
                    <a:gd name="connsiteY60" fmla="*/ 1743075 h 4429225"/>
                    <a:gd name="connsiteX61" fmla="*/ 59519 w 4501379"/>
                    <a:gd name="connsiteY61" fmla="*/ 1685925 h 4429225"/>
                    <a:gd name="connsiteX62" fmla="*/ 69044 w 4501379"/>
                    <a:gd name="connsiteY62" fmla="*/ 1638300 h 4429225"/>
                    <a:gd name="connsiteX63" fmla="*/ 88094 w 4501379"/>
                    <a:gd name="connsiteY63" fmla="*/ 1590675 h 4429225"/>
                    <a:gd name="connsiteX64" fmla="*/ 116669 w 4501379"/>
                    <a:gd name="connsiteY64" fmla="*/ 1504950 h 4429225"/>
                    <a:gd name="connsiteX65" fmla="*/ 135719 w 4501379"/>
                    <a:gd name="connsiteY65" fmla="*/ 1419225 h 4429225"/>
                    <a:gd name="connsiteX66" fmla="*/ 211919 w 4501379"/>
                    <a:gd name="connsiteY66" fmla="*/ 1276350 h 4429225"/>
                    <a:gd name="connsiteX67" fmla="*/ 221444 w 4501379"/>
                    <a:gd name="connsiteY67" fmla="*/ 1247775 h 4429225"/>
                    <a:gd name="connsiteX68" fmla="*/ 250019 w 4501379"/>
                    <a:gd name="connsiteY68" fmla="*/ 1200150 h 4429225"/>
                    <a:gd name="connsiteX69" fmla="*/ 269069 w 4501379"/>
                    <a:gd name="connsiteY69" fmla="*/ 1152525 h 4429225"/>
                    <a:gd name="connsiteX70" fmla="*/ 297644 w 4501379"/>
                    <a:gd name="connsiteY70" fmla="*/ 1114425 h 4429225"/>
                    <a:gd name="connsiteX71" fmla="*/ 345269 w 4501379"/>
                    <a:gd name="connsiteY71" fmla="*/ 1038225 h 4429225"/>
                    <a:gd name="connsiteX72" fmla="*/ 364319 w 4501379"/>
                    <a:gd name="connsiteY72" fmla="*/ 1009650 h 4429225"/>
                    <a:gd name="connsiteX73" fmla="*/ 421469 w 4501379"/>
                    <a:gd name="connsiteY73" fmla="*/ 904875 h 4429225"/>
                    <a:gd name="connsiteX74" fmla="*/ 459569 w 4501379"/>
                    <a:gd name="connsiteY74" fmla="*/ 857250 h 4429225"/>
                    <a:gd name="connsiteX75" fmla="*/ 478619 w 4501379"/>
                    <a:gd name="connsiteY75" fmla="*/ 828675 h 4429225"/>
                    <a:gd name="connsiteX76" fmla="*/ 516719 w 4501379"/>
                    <a:gd name="connsiteY76" fmla="*/ 800100 h 4429225"/>
                    <a:gd name="connsiteX77" fmla="*/ 583394 w 4501379"/>
                    <a:gd name="connsiteY77" fmla="*/ 733425 h 4429225"/>
                    <a:gd name="connsiteX78" fmla="*/ 650069 w 4501379"/>
                    <a:gd name="connsiteY78" fmla="*/ 676275 h 4429225"/>
                    <a:gd name="connsiteX79" fmla="*/ 678644 w 4501379"/>
                    <a:gd name="connsiteY79" fmla="*/ 657225 h 4429225"/>
                    <a:gd name="connsiteX80" fmla="*/ 821519 w 4501379"/>
                    <a:gd name="connsiteY80" fmla="*/ 533400 h 4429225"/>
                    <a:gd name="connsiteX81" fmla="*/ 869144 w 4501379"/>
                    <a:gd name="connsiteY81" fmla="*/ 504825 h 4429225"/>
                    <a:gd name="connsiteX82" fmla="*/ 1148544 w 4501379"/>
                    <a:gd name="connsiteY82" fmla="*/ 311150 h 4429225"/>
                    <a:gd name="connsiteX83" fmla="*/ 1250144 w 4501379"/>
                    <a:gd name="connsiteY83" fmla="*/ 285750 h 4429225"/>
                    <a:gd name="connsiteX84" fmla="*/ 1393019 w 4501379"/>
                    <a:gd name="connsiteY84" fmla="*/ 190500 h 4429225"/>
                    <a:gd name="connsiteX85" fmla="*/ 1431119 w 4501379"/>
                    <a:gd name="connsiteY85" fmla="*/ 161925 h 4429225"/>
                    <a:gd name="connsiteX86" fmla="*/ 1507319 w 4501379"/>
                    <a:gd name="connsiteY86" fmla="*/ 152400 h 4429225"/>
                    <a:gd name="connsiteX87" fmla="*/ 1564469 w 4501379"/>
                    <a:gd name="connsiteY87" fmla="*/ 142875 h 4429225"/>
                    <a:gd name="connsiteX88" fmla="*/ 1697819 w 4501379"/>
                    <a:gd name="connsiteY88" fmla="*/ 123825 h 4429225"/>
                    <a:gd name="connsiteX89" fmla="*/ 1793069 w 4501379"/>
                    <a:gd name="connsiteY89" fmla="*/ 114300 h 4429225"/>
                    <a:gd name="connsiteX90" fmla="*/ 1840694 w 4501379"/>
                    <a:gd name="connsiteY90" fmla="*/ 104775 h 4429225"/>
                    <a:gd name="connsiteX91" fmla="*/ 1897844 w 4501379"/>
                    <a:gd name="connsiteY91" fmla="*/ 95250 h 4429225"/>
                    <a:gd name="connsiteX92" fmla="*/ 2012144 w 4501379"/>
                    <a:gd name="connsiteY92" fmla="*/ 66675 h 4429225"/>
                    <a:gd name="connsiteX93" fmla="*/ 2078819 w 4501379"/>
                    <a:gd name="connsiteY93" fmla="*/ 47625 h 4429225"/>
                    <a:gd name="connsiteX94" fmla="*/ 2145494 w 4501379"/>
                    <a:gd name="connsiteY94" fmla="*/ 38100 h 4429225"/>
                    <a:gd name="connsiteX95" fmla="*/ 2374094 w 4501379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56344 w 4501379"/>
                    <a:gd name="connsiteY55" fmla="*/ 2368550 h 4429225"/>
                    <a:gd name="connsiteX56" fmla="*/ 2369 w 4501379"/>
                    <a:gd name="connsiteY56" fmla="*/ 1905000 h 4429225"/>
                    <a:gd name="connsiteX57" fmla="*/ 11894 w 4501379"/>
                    <a:gd name="connsiteY57" fmla="*/ 1838325 h 4429225"/>
                    <a:gd name="connsiteX58" fmla="*/ 30944 w 4501379"/>
                    <a:gd name="connsiteY58" fmla="*/ 1781175 h 4429225"/>
                    <a:gd name="connsiteX59" fmla="*/ 40469 w 4501379"/>
                    <a:gd name="connsiteY59" fmla="*/ 1743075 h 4429225"/>
                    <a:gd name="connsiteX60" fmla="*/ 59519 w 4501379"/>
                    <a:gd name="connsiteY60" fmla="*/ 1685925 h 4429225"/>
                    <a:gd name="connsiteX61" fmla="*/ 69044 w 4501379"/>
                    <a:gd name="connsiteY61" fmla="*/ 1638300 h 4429225"/>
                    <a:gd name="connsiteX62" fmla="*/ 88094 w 4501379"/>
                    <a:gd name="connsiteY62" fmla="*/ 1590675 h 4429225"/>
                    <a:gd name="connsiteX63" fmla="*/ 116669 w 4501379"/>
                    <a:gd name="connsiteY63" fmla="*/ 1504950 h 4429225"/>
                    <a:gd name="connsiteX64" fmla="*/ 135719 w 4501379"/>
                    <a:gd name="connsiteY64" fmla="*/ 1419225 h 4429225"/>
                    <a:gd name="connsiteX65" fmla="*/ 211919 w 4501379"/>
                    <a:gd name="connsiteY65" fmla="*/ 1276350 h 4429225"/>
                    <a:gd name="connsiteX66" fmla="*/ 221444 w 4501379"/>
                    <a:gd name="connsiteY66" fmla="*/ 1247775 h 4429225"/>
                    <a:gd name="connsiteX67" fmla="*/ 250019 w 4501379"/>
                    <a:gd name="connsiteY67" fmla="*/ 1200150 h 4429225"/>
                    <a:gd name="connsiteX68" fmla="*/ 269069 w 4501379"/>
                    <a:gd name="connsiteY68" fmla="*/ 1152525 h 4429225"/>
                    <a:gd name="connsiteX69" fmla="*/ 297644 w 4501379"/>
                    <a:gd name="connsiteY69" fmla="*/ 1114425 h 4429225"/>
                    <a:gd name="connsiteX70" fmla="*/ 345269 w 4501379"/>
                    <a:gd name="connsiteY70" fmla="*/ 1038225 h 4429225"/>
                    <a:gd name="connsiteX71" fmla="*/ 364319 w 4501379"/>
                    <a:gd name="connsiteY71" fmla="*/ 1009650 h 4429225"/>
                    <a:gd name="connsiteX72" fmla="*/ 421469 w 4501379"/>
                    <a:gd name="connsiteY72" fmla="*/ 904875 h 4429225"/>
                    <a:gd name="connsiteX73" fmla="*/ 459569 w 4501379"/>
                    <a:gd name="connsiteY73" fmla="*/ 857250 h 4429225"/>
                    <a:gd name="connsiteX74" fmla="*/ 478619 w 4501379"/>
                    <a:gd name="connsiteY74" fmla="*/ 828675 h 4429225"/>
                    <a:gd name="connsiteX75" fmla="*/ 516719 w 4501379"/>
                    <a:gd name="connsiteY75" fmla="*/ 800100 h 4429225"/>
                    <a:gd name="connsiteX76" fmla="*/ 583394 w 4501379"/>
                    <a:gd name="connsiteY76" fmla="*/ 733425 h 4429225"/>
                    <a:gd name="connsiteX77" fmla="*/ 650069 w 4501379"/>
                    <a:gd name="connsiteY77" fmla="*/ 676275 h 4429225"/>
                    <a:gd name="connsiteX78" fmla="*/ 678644 w 4501379"/>
                    <a:gd name="connsiteY78" fmla="*/ 657225 h 4429225"/>
                    <a:gd name="connsiteX79" fmla="*/ 821519 w 4501379"/>
                    <a:gd name="connsiteY79" fmla="*/ 533400 h 4429225"/>
                    <a:gd name="connsiteX80" fmla="*/ 869144 w 4501379"/>
                    <a:gd name="connsiteY80" fmla="*/ 504825 h 4429225"/>
                    <a:gd name="connsiteX81" fmla="*/ 1148544 w 4501379"/>
                    <a:gd name="connsiteY81" fmla="*/ 311150 h 4429225"/>
                    <a:gd name="connsiteX82" fmla="*/ 1250144 w 4501379"/>
                    <a:gd name="connsiteY82" fmla="*/ 285750 h 4429225"/>
                    <a:gd name="connsiteX83" fmla="*/ 1393019 w 4501379"/>
                    <a:gd name="connsiteY83" fmla="*/ 190500 h 4429225"/>
                    <a:gd name="connsiteX84" fmla="*/ 1431119 w 4501379"/>
                    <a:gd name="connsiteY84" fmla="*/ 161925 h 4429225"/>
                    <a:gd name="connsiteX85" fmla="*/ 1507319 w 4501379"/>
                    <a:gd name="connsiteY85" fmla="*/ 152400 h 4429225"/>
                    <a:gd name="connsiteX86" fmla="*/ 1564469 w 4501379"/>
                    <a:gd name="connsiteY86" fmla="*/ 142875 h 4429225"/>
                    <a:gd name="connsiteX87" fmla="*/ 1697819 w 4501379"/>
                    <a:gd name="connsiteY87" fmla="*/ 123825 h 4429225"/>
                    <a:gd name="connsiteX88" fmla="*/ 1793069 w 4501379"/>
                    <a:gd name="connsiteY88" fmla="*/ 114300 h 4429225"/>
                    <a:gd name="connsiteX89" fmla="*/ 1840694 w 4501379"/>
                    <a:gd name="connsiteY89" fmla="*/ 104775 h 4429225"/>
                    <a:gd name="connsiteX90" fmla="*/ 1897844 w 4501379"/>
                    <a:gd name="connsiteY90" fmla="*/ 95250 h 4429225"/>
                    <a:gd name="connsiteX91" fmla="*/ 2012144 w 4501379"/>
                    <a:gd name="connsiteY91" fmla="*/ 66675 h 4429225"/>
                    <a:gd name="connsiteX92" fmla="*/ 2078819 w 4501379"/>
                    <a:gd name="connsiteY92" fmla="*/ 47625 h 4429225"/>
                    <a:gd name="connsiteX93" fmla="*/ 2145494 w 4501379"/>
                    <a:gd name="connsiteY93" fmla="*/ 38100 h 4429225"/>
                    <a:gd name="connsiteX94" fmla="*/ 2374094 w 4501379"/>
                    <a:gd name="connsiteY94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26194 w 4501379"/>
                    <a:gd name="connsiteY53" fmla="*/ 292417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6869 w 4501379"/>
                    <a:gd name="connsiteY51" fmla="*/ 34702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313644 w 4501379"/>
                    <a:gd name="connsiteY46" fmla="*/ 42164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91" fmla="*/ 2374094 w 4501379"/>
                    <a:gd name="connsiteY91" fmla="*/ 28575 h 4429294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0" fmla="*/ 2278844 w 4501379"/>
                    <a:gd name="connsiteY0" fmla="*/ 0 h 4429294"/>
                    <a:gd name="connsiteX1" fmla="*/ 2478869 w 4501379"/>
                    <a:gd name="connsiteY1" fmla="*/ 47625 h 4429294"/>
                    <a:gd name="connsiteX2" fmla="*/ 2736044 w 4501379"/>
                    <a:gd name="connsiteY2" fmla="*/ 66675 h 4429294"/>
                    <a:gd name="connsiteX3" fmla="*/ 2812244 w 4501379"/>
                    <a:gd name="connsiteY3" fmla="*/ 76200 h 4429294"/>
                    <a:gd name="connsiteX4" fmla="*/ 2897969 w 4501379"/>
                    <a:gd name="connsiteY4" fmla="*/ 85725 h 4429294"/>
                    <a:gd name="connsiteX5" fmla="*/ 2955119 w 4501379"/>
                    <a:gd name="connsiteY5" fmla="*/ 114300 h 4429294"/>
                    <a:gd name="connsiteX6" fmla="*/ 2993219 w 4501379"/>
                    <a:gd name="connsiteY6" fmla="*/ 123825 h 4429294"/>
                    <a:gd name="connsiteX7" fmla="*/ 3117044 w 4501379"/>
                    <a:gd name="connsiteY7" fmla="*/ 171450 h 4429294"/>
                    <a:gd name="connsiteX8" fmla="*/ 3155144 w 4501379"/>
                    <a:gd name="connsiteY8" fmla="*/ 190500 h 4429294"/>
                    <a:gd name="connsiteX9" fmla="*/ 3221819 w 4501379"/>
                    <a:gd name="connsiteY9" fmla="*/ 228600 h 4429294"/>
                    <a:gd name="connsiteX10" fmla="*/ 3250394 w 4501379"/>
                    <a:gd name="connsiteY10" fmla="*/ 238125 h 4429294"/>
                    <a:gd name="connsiteX11" fmla="*/ 3278969 w 4501379"/>
                    <a:gd name="connsiteY11" fmla="*/ 257175 h 4429294"/>
                    <a:gd name="connsiteX12" fmla="*/ 3307544 w 4501379"/>
                    <a:gd name="connsiteY12" fmla="*/ 266700 h 4429294"/>
                    <a:gd name="connsiteX13" fmla="*/ 3336119 w 4501379"/>
                    <a:gd name="connsiteY13" fmla="*/ 285750 h 4429294"/>
                    <a:gd name="connsiteX14" fmla="*/ 3402794 w 4501379"/>
                    <a:gd name="connsiteY14" fmla="*/ 323850 h 4429294"/>
                    <a:gd name="connsiteX15" fmla="*/ 3450419 w 4501379"/>
                    <a:gd name="connsiteY15" fmla="*/ 361950 h 4429294"/>
                    <a:gd name="connsiteX16" fmla="*/ 3498044 w 4501379"/>
                    <a:gd name="connsiteY16" fmla="*/ 390525 h 4429294"/>
                    <a:gd name="connsiteX17" fmla="*/ 3612344 w 4501379"/>
                    <a:gd name="connsiteY17" fmla="*/ 485775 h 4429294"/>
                    <a:gd name="connsiteX18" fmla="*/ 3726644 w 4501379"/>
                    <a:gd name="connsiteY18" fmla="*/ 542925 h 4429294"/>
                    <a:gd name="connsiteX19" fmla="*/ 3793319 w 4501379"/>
                    <a:gd name="connsiteY19" fmla="*/ 581025 h 4429294"/>
                    <a:gd name="connsiteX20" fmla="*/ 4009219 w 4501379"/>
                    <a:gd name="connsiteY20" fmla="*/ 819150 h 4429294"/>
                    <a:gd name="connsiteX21" fmla="*/ 4145744 w 4501379"/>
                    <a:gd name="connsiteY21" fmla="*/ 990600 h 4429294"/>
                    <a:gd name="connsiteX22" fmla="*/ 4231469 w 4501379"/>
                    <a:gd name="connsiteY22" fmla="*/ 1143000 h 4429294"/>
                    <a:gd name="connsiteX23" fmla="*/ 4288619 w 4501379"/>
                    <a:gd name="connsiteY23" fmla="*/ 1266825 h 4429294"/>
                    <a:gd name="connsiteX24" fmla="*/ 4326719 w 4501379"/>
                    <a:gd name="connsiteY24" fmla="*/ 1362075 h 4429294"/>
                    <a:gd name="connsiteX25" fmla="*/ 4374344 w 4501379"/>
                    <a:gd name="connsiteY25" fmla="*/ 1552575 h 4429294"/>
                    <a:gd name="connsiteX26" fmla="*/ 4412444 w 4501379"/>
                    <a:gd name="connsiteY26" fmla="*/ 1685925 h 4429294"/>
                    <a:gd name="connsiteX27" fmla="*/ 4501344 w 4501379"/>
                    <a:gd name="connsiteY27" fmla="*/ 2181225 h 4429294"/>
                    <a:gd name="connsiteX28" fmla="*/ 4428319 w 4501379"/>
                    <a:gd name="connsiteY28" fmla="*/ 2768600 h 4429294"/>
                    <a:gd name="connsiteX29" fmla="*/ 4364819 w 4501379"/>
                    <a:gd name="connsiteY29" fmla="*/ 2990850 h 4429294"/>
                    <a:gd name="connsiteX30" fmla="*/ 4260044 w 4501379"/>
                    <a:gd name="connsiteY30" fmla="*/ 3248025 h 4429294"/>
                    <a:gd name="connsiteX31" fmla="*/ 4164794 w 4501379"/>
                    <a:gd name="connsiteY31" fmla="*/ 3400425 h 4429294"/>
                    <a:gd name="connsiteX32" fmla="*/ 4040969 w 4501379"/>
                    <a:gd name="connsiteY32" fmla="*/ 3533775 h 4429294"/>
                    <a:gd name="connsiteX33" fmla="*/ 3936194 w 4501379"/>
                    <a:gd name="connsiteY33" fmla="*/ 3648075 h 4429294"/>
                    <a:gd name="connsiteX34" fmla="*/ 3640919 w 4501379"/>
                    <a:gd name="connsiteY34" fmla="*/ 3971925 h 4429294"/>
                    <a:gd name="connsiteX35" fmla="*/ 3498044 w 4501379"/>
                    <a:gd name="connsiteY35" fmla="*/ 4083050 h 4429294"/>
                    <a:gd name="connsiteX36" fmla="*/ 3202769 w 4501379"/>
                    <a:gd name="connsiteY36" fmla="*/ 4222750 h 4429294"/>
                    <a:gd name="connsiteX37" fmla="*/ 3050369 w 4501379"/>
                    <a:gd name="connsiteY37" fmla="*/ 4286250 h 4429294"/>
                    <a:gd name="connsiteX38" fmla="*/ 2917019 w 4501379"/>
                    <a:gd name="connsiteY38" fmla="*/ 4333875 h 4429294"/>
                    <a:gd name="connsiteX39" fmla="*/ 2793194 w 4501379"/>
                    <a:gd name="connsiteY39" fmla="*/ 4371975 h 4429294"/>
                    <a:gd name="connsiteX40" fmla="*/ 2561419 w 4501379"/>
                    <a:gd name="connsiteY40" fmla="*/ 4391025 h 4429294"/>
                    <a:gd name="connsiteX41" fmla="*/ 2107394 w 4501379"/>
                    <a:gd name="connsiteY41" fmla="*/ 4429125 h 4429294"/>
                    <a:gd name="connsiteX42" fmla="*/ 1916894 w 4501379"/>
                    <a:gd name="connsiteY42" fmla="*/ 4400550 h 4429294"/>
                    <a:gd name="connsiteX43" fmla="*/ 1554944 w 4501379"/>
                    <a:gd name="connsiteY43" fmla="*/ 4305300 h 4429294"/>
                    <a:gd name="connsiteX44" fmla="*/ 1313644 w 4501379"/>
                    <a:gd name="connsiteY44" fmla="*/ 4216400 h 4429294"/>
                    <a:gd name="connsiteX45" fmla="*/ 1145369 w 4501379"/>
                    <a:gd name="connsiteY45" fmla="*/ 4111625 h 4429294"/>
                    <a:gd name="connsiteX46" fmla="*/ 926294 w 4501379"/>
                    <a:gd name="connsiteY46" fmla="*/ 3968750 h 4429294"/>
                    <a:gd name="connsiteX47" fmla="*/ 592919 w 4501379"/>
                    <a:gd name="connsiteY47" fmla="*/ 3657600 h 4429294"/>
                    <a:gd name="connsiteX48" fmla="*/ 446869 w 4501379"/>
                    <a:gd name="connsiteY48" fmla="*/ 3470275 h 4429294"/>
                    <a:gd name="connsiteX49" fmla="*/ 316694 w 4501379"/>
                    <a:gd name="connsiteY49" fmla="*/ 3244850 h 4429294"/>
                    <a:gd name="connsiteX50" fmla="*/ 164294 w 4501379"/>
                    <a:gd name="connsiteY50" fmla="*/ 2892425 h 4429294"/>
                    <a:gd name="connsiteX51" fmla="*/ 56344 w 4501379"/>
                    <a:gd name="connsiteY51" fmla="*/ 2368550 h 4429294"/>
                    <a:gd name="connsiteX52" fmla="*/ 2369 w 4501379"/>
                    <a:gd name="connsiteY52" fmla="*/ 1905000 h 4429294"/>
                    <a:gd name="connsiteX53" fmla="*/ 11894 w 4501379"/>
                    <a:gd name="connsiteY53" fmla="*/ 1838325 h 4429294"/>
                    <a:gd name="connsiteX54" fmla="*/ 30944 w 4501379"/>
                    <a:gd name="connsiteY54" fmla="*/ 1781175 h 4429294"/>
                    <a:gd name="connsiteX55" fmla="*/ 40469 w 4501379"/>
                    <a:gd name="connsiteY55" fmla="*/ 1743075 h 4429294"/>
                    <a:gd name="connsiteX56" fmla="*/ 59519 w 4501379"/>
                    <a:gd name="connsiteY56" fmla="*/ 1685925 h 4429294"/>
                    <a:gd name="connsiteX57" fmla="*/ 69044 w 4501379"/>
                    <a:gd name="connsiteY57" fmla="*/ 1638300 h 4429294"/>
                    <a:gd name="connsiteX58" fmla="*/ 88094 w 4501379"/>
                    <a:gd name="connsiteY58" fmla="*/ 1590675 h 4429294"/>
                    <a:gd name="connsiteX59" fmla="*/ 116669 w 4501379"/>
                    <a:gd name="connsiteY59" fmla="*/ 1504950 h 4429294"/>
                    <a:gd name="connsiteX60" fmla="*/ 135719 w 4501379"/>
                    <a:gd name="connsiteY60" fmla="*/ 1419225 h 4429294"/>
                    <a:gd name="connsiteX61" fmla="*/ 211919 w 4501379"/>
                    <a:gd name="connsiteY61" fmla="*/ 1276350 h 4429294"/>
                    <a:gd name="connsiteX62" fmla="*/ 221444 w 4501379"/>
                    <a:gd name="connsiteY62" fmla="*/ 1247775 h 4429294"/>
                    <a:gd name="connsiteX63" fmla="*/ 250019 w 4501379"/>
                    <a:gd name="connsiteY63" fmla="*/ 1200150 h 4429294"/>
                    <a:gd name="connsiteX64" fmla="*/ 269069 w 4501379"/>
                    <a:gd name="connsiteY64" fmla="*/ 1152525 h 4429294"/>
                    <a:gd name="connsiteX65" fmla="*/ 297644 w 4501379"/>
                    <a:gd name="connsiteY65" fmla="*/ 1114425 h 4429294"/>
                    <a:gd name="connsiteX66" fmla="*/ 345269 w 4501379"/>
                    <a:gd name="connsiteY66" fmla="*/ 1038225 h 4429294"/>
                    <a:gd name="connsiteX67" fmla="*/ 364319 w 4501379"/>
                    <a:gd name="connsiteY67" fmla="*/ 1009650 h 4429294"/>
                    <a:gd name="connsiteX68" fmla="*/ 421469 w 4501379"/>
                    <a:gd name="connsiteY68" fmla="*/ 904875 h 4429294"/>
                    <a:gd name="connsiteX69" fmla="*/ 459569 w 4501379"/>
                    <a:gd name="connsiteY69" fmla="*/ 857250 h 4429294"/>
                    <a:gd name="connsiteX70" fmla="*/ 478619 w 4501379"/>
                    <a:gd name="connsiteY70" fmla="*/ 828675 h 4429294"/>
                    <a:gd name="connsiteX71" fmla="*/ 516719 w 4501379"/>
                    <a:gd name="connsiteY71" fmla="*/ 800100 h 4429294"/>
                    <a:gd name="connsiteX72" fmla="*/ 583394 w 4501379"/>
                    <a:gd name="connsiteY72" fmla="*/ 733425 h 4429294"/>
                    <a:gd name="connsiteX73" fmla="*/ 650069 w 4501379"/>
                    <a:gd name="connsiteY73" fmla="*/ 676275 h 4429294"/>
                    <a:gd name="connsiteX74" fmla="*/ 678644 w 4501379"/>
                    <a:gd name="connsiteY74" fmla="*/ 657225 h 4429294"/>
                    <a:gd name="connsiteX75" fmla="*/ 821519 w 4501379"/>
                    <a:gd name="connsiteY75" fmla="*/ 533400 h 4429294"/>
                    <a:gd name="connsiteX76" fmla="*/ 869144 w 4501379"/>
                    <a:gd name="connsiteY76" fmla="*/ 504825 h 4429294"/>
                    <a:gd name="connsiteX77" fmla="*/ 1148544 w 4501379"/>
                    <a:gd name="connsiteY77" fmla="*/ 311150 h 4429294"/>
                    <a:gd name="connsiteX78" fmla="*/ 1250144 w 4501379"/>
                    <a:gd name="connsiteY78" fmla="*/ 285750 h 4429294"/>
                    <a:gd name="connsiteX79" fmla="*/ 1393019 w 4501379"/>
                    <a:gd name="connsiteY79" fmla="*/ 190500 h 4429294"/>
                    <a:gd name="connsiteX80" fmla="*/ 1431119 w 4501379"/>
                    <a:gd name="connsiteY80" fmla="*/ 161925 h 4429294"/>
                    <a:gd name="connsiteX81" fmla="*/ 1507319 w 4501379"/>
                    <a:gd name="connsiteY81" fmla="*/ 152400 h 4429294"/>
                    <a:gd name="connsiteX82" fmla="*/ 1564469 w 4501379"/>
                    <a:gd name="connsiteY82" fmla="*/ 142875 h 4429294"/>
                    <a:gd name="connsiteX83" fmla="*/ 1697819 w 4501379"/>
                    <a:gd name="connsiteY83" fmla="*/ 123825 h 4429294"/>
                    <a:gd name="connsiteX84" fmla="*/ 1793069 w 4501379"/>
                    <a:gd name="connsiteY84" fmla="*/ 114300 h 4429294"/>
                    <a:gd name="connsiteX85" fmla="*/ 1840694 w 4501379"/>
                    <a:gd name="connsiteY85" fmla="*/ 104775 h 4429294"/>
                    <a:gd name="connsiteX86" fmla="*/ 1897844 w 4501379"/>
                    <a:gd name="connsiteY86" fmla="*/ 95250 h 4429294"/>
                    <a:gd name="connsiteX87" fmla="*/ 2012144 w 4501379"/>
                    <a:gd name="connsiteY87" fmla="*/ 66675 h 4429294"/>
                    <a:gd name="connsiteX88" fmla="*/ 2078819 w 4501379"/>
                    <a:gd name="connsiteY88" fmla="*/ 47625 h 4429294"/>
                    <a:gd name="connsiteX89" fmla="*/ 2145494 w 4501379"/>
                    <a:gd name="connsiteY89" fmla="*/ 38100 h 4429294"/>
                    <a:gd name="connsiteX0" fmla="*/ 2278844 w 4501379"/>
                    <a:gd name="connsiteY0" fmla="*/ 0 h 4429294"/>
                    <a:gd name="connsiteX1" fmla="*/ 2736044 w 4501379"/>
                    <a:gd name="connsiteY1" fmla="*/ 666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2993219 w 4501379"/>
                    <a:gd name="connsiteY4" fmla="*/ 123825 h 4429294"/>
                    <a:gd name="connsiteX5" fmla="*/ 3117044 w 4501379"/>
                    <a:gd name="connsiteY5" fmla="*/ 171450 h 4429294"/>
                    <a:gd name="connsiteX6" fmla="*/ 3155144 w 4501379"/>
                    <a:gd name="connsiteY6" fmla="*/ 190500 h 4429294"/>
                    <a:gd name="connsiteX7" fmla="*/ 3221819 w 4501379"/>
                    <a:gd name="connsiteY7" fmla="*/ 228600 h 4429294"/>
                    <a:gd name="connsiteX8" fmla="*/ 3250394 w 4501379"/>
                    <a:gd name="connsiteY8" fmla="*/ 238125 h 4429294"/>
                    <a:gd name="connsiteX9" fmla="*/ 3278969 w 4501379"/>
                    <a:gd name="connsiteY9" fmla="*/ 257175 h 4429294"/>
                    <a:gd name="connsiteX10" fmla="*/ 3307544 w 4501379"/>
                    <a:gd name="connsiteY10" fmla="*/ 266700 h 4429294"/>
                    <a:gd name="connsiteX11" fmla="*/ 3336119 w 4501379"/>
                    <a:gd name="connsiteY11" fmla="*/ 285750 h 4429294"/>
                    <a:gd name="connsiteX12" fmla="*/ 3402794 w 4501379"/>
                    <a:gd name="connsiteY12" fmla="*/ 323850 h 4429294"/>
                    <a:gd name="connsiteX13" fmla="*/ 3450419 w 4501379"/>
                    <a:gd name="connsiteY13" fmla="*/ 361950 h 4429294"/>
                    <a:gd name="connsiteX14" fmla="*/ 3498044 w 4501379"/>
                    <a:gd name="connsiteY14" fmla="*/ 390525 h 4429294"/>
                    <a:gd name="connsiteX15" fmla="*/ 3612344 w 4501379"/>
                    <a:gd name="connsiteY15" fmla="*/ 485775 h 4429294"/>
                    <a:gd name="connsiteX16" fmla="*/ 3726644 w 4501379"/>
                    <a:gd name="connsiteY16" fmla="*/ 542925 h 4429294"/>
                    <a:gd name="connsiteX17" fmla="*/ 3793319 w 4501379"/>
                    <a:gd name="connsiteY17" fmla="*/ 581025 h 4429294"/>
                    <a:gd name="connsiteX18" fmla="*/ 4009219 w 4501379"/>
                    <a:gd name="connsiteY18" fmla="*/ 819150 h 4429294"/>
                    <a:gd name="connsiteX19" fmla="*/ 4145744 w 4501379"/>
                    <a:gd name="connsiteY19" fmla="*/ 990600 h 4429294"/>
                    <a:gd name="connsiteX20" fmla="*/ 4231469 w 4501379"/>
                    <a:gd name="connsiteY20" fmla="*/ 1143000 h 4429294"/>
                    <a:gd name="connsiteX21" fmla="*/ 4288619 w 4501379"/>
                    <a:gd name="connsiteY21" fmla="*/ 1266825 h 4429294"/>
                    <a:gd name="connsiteX22" fmla="*/ 4326719 w 4501379"/>
                    <a:gd name="connsiteY22" fmla="*/ 1362075 h 4429294"/>
                    <a:gd name="connsiteX23" fmla="*/ 4374344 w 4501379"/>
                    <a:gd name="connsiteY23" fmla="*/ 1552575 h 4429294"/>
                    <a:gd name="connsiteX24" fmla="*/ 4412444 w 4501379"/>
                    <a:gd name="connsiteY24" fmla="*/ 1685925 h 4429294"/>
                    <a:gd name="connsiteX25" fmla="*/ 4501344 w 4501379"/>
                    <a:gd name="connsiteY25" fmla="*/ 2181225 h 4429294"/>
                    <a:gd name="connsiteX26" fmla="*/ 4428319 w 4501379"/>
                    <a:gd name="connsiteY26" fmla="*/ 2768600 h 4429294"/>
                    <a:gd name="connsiteX27" fmla="*/ 4364819 w 4501379"/>
                    <a:gd name="connsiteY27" fmla="*/ 2990850 h 4429294"/>
                    <a:gd name="connsiteX28" fmla="*/ 4260044 w 4501379"/>
                    <a:gd name="connsiteY28" fmla="*/ 3248025 h 4429294"/>
                    <a:gd name="connsiteX29" fmla="*/ 4164794 w 4501379"/>
                    <a:gd name="connsiteY29" fmla="*/ 3400425 h 4429294"/>
                    <a:gd name="connsiteX30" fmla="*/ 4040969 w 4501379"/>
                    <a:gd name="connsiteY30" fmla="*/ 3533775 h 4429294"/>
                    <a:gd name="connsiteX31" fmla="*/ 3936194 w 4501379"/>
                    <a:gd name="connsiteY31" fmla="*/ 3648075 h 4429294"/>
                    <a:gd name="connsiteX32" fmla="*/ 3640919 w 4501379"/>
                    <a:gd name="connsiteY32" fmla="*/ 3971925 h 4429294"/>
                    <a:gd name="connsiteX33" fmla="*/ 3498044 w 4501379"/>
                    <a:gd name="connsiteY33" fmla="*/ 4083050 h 4429294"/>
                    <a:gd name="connsiteX34" fmla="*/ 3202769 w 4501379"/>
                    <a:gd name="connsiteY34" fmla="*/ 4222750 h 4429294"/>
                    <a:gd name="connsiteX35" fmla="*/ 3050369 w 4501379"/>
                    <a:gd name="connsiteY35" fmla="*/ 4286250 h 4429294"/>
                    <a:gd name="connsiteX36" fmla="*/ 2917019 w 4501379"/>
                    <a:gd name="connsiteY36" fmla="*/ 4333875 h 4429294"/>
                    <a:gd name="connsiteX37" fmla="*/ 2793194 w 4501379"/>
                    <a:gd name="connsiteY37" fmla="*/ 4371975 h 4429294"/>
                    <a:gd name="connsiteX38" fmla="*/ 2561419 w 4501379"/>
                    <a:gd name="connsiteY38" fmla="*/ 4391025 h 4429294"/>
                    <a:gd name="connsiteX39" fmla="*/ 2107394 w 4501379"/>
                    <a:gd name="connsiteY39" fmla="*/ 4429125 h 4429294"/>
                    <a:gd name="connsiteX40" fmla="*/ 1916894 w 4501379"/>
                    <a:gd name="connsiteY40" fmla="*/ 4400550 h 4429294"/>
                    <a:gd name="connsiteX41" fmla="*/ 1554944 w 4501379"/>
                    <a:gd name="connsiteY41" fmla="*/ 4305300 h 4429294"/>
                    <a:gd name="connsiteX42" fmla="*/ 1313644 w 4501379"/>
                    <a:gd name="connsiteY42" fmla="*/ 4216400 h 4429294"/>
                    <a:gd name="connsiteX43" fmla="*/ 1145369 w 4501379"/>
                    <a:gd name="connsiteY43" fmla="*/ 4111625 h 4429294"/>
                    <a:gd name="connsiteX44" fmla="*/ 926294 w 4501379"/>
                    <a:gd name="connsiteY44" fmla="*/ 3968750 h 4429294"/>
                    <a:gd name="connsiteX45" fmla="*/ 592919 w 4501379"/>
                    <a:gd name="connsiteY45" fmla="*/ 3657600 h 4429294"/>
                    <a:gd name="connsiteX46" fmla="*/ 446869 w 4501379"/>
                    <a:gd name="connsiteY46" fmla="*/ 3470275 h 4429294"/>
                    <a:gd name="connsiteX47" fmla="*/ 316694 w 4501379"/>
                    <a:gd name="connsiteY47" fmla="*/ 3244850 h 4429294"/>
                    <a:gd name="connsiteX48" fmla="*/ 164294 w 4501379"/>
                    <a:gd name="connsiteY48" fmla="*/ 2892425 h 4429294"/>
                    <a:gd name="connsiteX49" fmla="*/ 56344 w 4501379"/>
                    <a:gd name="connsiteY49" fmla="*/ 2368550 h 4429294"/>
                    <a:gd name="connsiteX50" fmla="*/ 2369 w 4501379"/>
                    <a:gd name="connsiteY50" fmla="*/ 1905000 h 4429294"/>
                    <a:gd name="connsiteX51" fmla="*/ 11894 w 4501379"/>
                    <a:gd name="connsiteY51" fmla="*/ 1838325 h 4429294"/>
                    <a:gd name="connsiteX52" fmla="*/ 30944 w 4501379"/>
                    <a:gd name="connsiteY52" fmla="*/ 1781175 h 4429294"/>
                    <a:gd name="connsiteX53" fmla="*/ 40469 w 4501379"/>
                    <a:gd name="connsiteY53" fmla="*/ 1743075 h 4429294"/>
                    <a:gd name="connsiteX54" fmla="*/ 59519 w 4501379"/>
                    <a:gd name="connsiteY54" fmla="*/ 1685925 h 4429294"/>
                    <a:gd name="connsiteX55" fmla="*/ 69044 w 4501379"/>
                    <a:gd name="connsiteY55" fmla="*/ 1638300 h 4429294"/>
                    <a:gd name="connsiteX56" fmla="*/ 88094 w 4501379"/>
                    <a:gd name="connsiteY56" fmla="*/ 1590675 h 4429294"/>
                    <a:gd name="connsiteX57" fmla="*/ 116669 w 4501379"/>
                    <a:gd name="connsiteY57" fmla="*/ 1504950 h 4429294"/>
                    <a:gd name="connsiteX58" fmla="*/ 135719 w 4501379"/>
                    <a:gd name="connsiteY58" fmla="*/ 1419225 h 4429294"/>
                    <a:gd name="connsiteX59" fmla="*/ 211919 w 4501379"/>
                    <a:gd name="connsiteY59" fmla="*/ 1276350 h 4429294"/>
                    <a:gd name="connsiteX60" fmla="*/ 221444 w 4501379"/>
                    <a:gd name="connsiteY60" fmla="*/ 1247775 h 4429294"/>
                    <a:gd name="connsiteX61" fmla="*/ 250019 w 4501379"/>
                    <a:gd name="connsiteY61" fmla="*/ 1200150 h 4429294"/>
                    <a:gd name="connsiteX62" fmla="*/ 269069 w 4501379"/>
                    <a:gd name="connsiteY62" fmla="*/ 1152525 h 4429294"/>
                    <a:gd name="connsiteX63" fmla="*/ 297644 w 4501379"/>
                    <a:gd name="connsiteY63" fmla="*/ 1114425 h 4429294"/>
                    <a:gd name="connsiteX64" fmla="*/ 345269 w 4501379"/>
                    <a:gd name="connsiteY64" fmla="*/ 1038225 h 4429294"/>
                    <a:gd name="connsiteX65" fmla="*/ 364319 w 4501379"/>
                    <a:gd name="connsiteY65" fmla="*/ 1009650 h 4429294"/>
                    <a:gd name="connsiteX66" fmla="*/ 421469 w 4501379"/>
                    <a:gd name="connsiteY66" fmla="*/ 904875 h 4429294"/>
                    <a:gd name="connsiteX67" fmla="*/ 459569 w 4501379"/>
                    <a:gd name="connsiteY67" fmla="*/ 857250 h 4429294"/>
                    <a:gd name="connsiteX68" fmla="*/ 478619 w 4501379"/>
                    <a:gd name="connsiteY68" fmla="*/ 828675 h 4429294"/>
                    <a:gd name="connsiteX69" fmla="*/ 516719 w 4501379"/>
                    <a:gd name="connsiteY69" fmla="*/ 800100 h 4429294"/>
                    <a:gd name="connsiteX70" fmla="*/ 583394 w 4501379"/>
                    <a:gd name="connsiteY70" fmla="*/ 733425 h 4429294"/>
                    <a:gd name="connsiteX71" fmla="*/ 650069 w 4501379"/>
                    <a:gd name="connsiteY71" fmla="*/ 676275 h 4429294"/>
                    <a:gd name="connsiteX72" fmla="*/ 678644 w 4501379"/>
                    <a:gd name="connsiteY72" fmla="*/ 657225 h 4429294"/>
                    <a:gd name="connsiteX73" fmla="*/ 821519 w 4501379"/>
                    <a:gd name="connsiteY73" fmla="*/ 533400 h 4429294"/>
                    <a:gd name="connsiteX74" fmla="*/ 869144 w 4501379"/>
                    <a:gd name="connsiteY74" fmla="*/ 504825 h 4429294"/>
                    <a:gd name="connsiteX75" fmla="*/ 1148544 w 4501379"/>
                    <a:gd name="connsiteY75" fmla="*/ 311150 h 4429294"/>
                    <a:gd name="connsiteX76" fmla="*/ 1250144 w 4501379"/>
                    <a:gd name="connsiteY76" fmla="*/ 285750 h 4429294"/>
                    <a:gd name="connsiteX77" fmla="*/ 1393019 w 4501379"/>
                    <a:gd name="connsiteY77" fmla="*/ 190500 h 4429294"/>
                    <a:gd name="connsiteX78" fmla="*/ 1431119 w 4501379"/>
                    <a:gd name="connsiteY78" fmla="*/ 161925 h 4429294"/>
                    <a:gd name="connsiteX79" fmla="*/ 1507319 w 4501379"/>
                    <a:gd name="connsiteY79" fmla="*/ 152400 h 4429294"/>
                    <a:gd name="connsiteX80" fmla="*/ 1564469 w 4501379"/>
                    <a:gd name="connsiteY80" fmla="*/ 142875 h 4429294"/>
                    <a:gd name="connsiteX81" fmla="*/ 1697819 w 4501379"/>
                    <a:gd name="connsiteY81" fmla="*/ 123825 h 4429294"/>
                    <a:gd name="connsiteX82" fmla="*/ 1793069 w 4501379"/>
                    <a:gd name="connsiteY82" fmla="*/ 114300 h 4429294"/>
                    <a:gd name="connsiteX83" fmla="*/ 1840694 w 4501379"/>
                    <a:gd name="connsiteY83" fmla="*/ 104775 h 4429294"/>
                    <a:gd name="connsiteX84" fmla="*/ 1897844 w 4501379"/>
                    <a:gd name="connsiteY84" fmla="*/ 95250 h 4429294"/>
                    <a:gd name="connsiteX85" fmla="*/ 2012144 w 4501379"/>
                    <a:gd name="connsiteY85" fmla="*/ 66675 h 4429294"/>
                    <a:gd name="connsiteX86" fmla="*/ 2078819 w 4501379"/>
                    <a:gd name="connsiteY86" fmla="*/ 47625 h 4429294"/>
                    <a:gd name="connsiteX87" fmla="*/ 2145494 w 4501379"/>
                    <a:gd name="connsiteY8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3117044 w 4501379"/>
                    <a:gd name="connsiteY4" fmla="*/ 171450 h 4429294"/>
                    <a:gd name="connsiteX5" fmla="*/ 3155144 w 4501379"/>
                    <a:gd name="connsiteY5" fmla="*/ 190500 h 4429294"/>
                    <a:gd name="connsiteX6" fmla="*/ 3221819 w 4501379"/>
                    <a:gd name="connsiteY6" fmla="*/ 228600 h 4429294"/>
                    <a:gd name="connsiteX7" fmla="*/ 3250394 w 4501379"/>
                    <a:gd name="connsiteY7" fmla="*/ 238125 h 4429294"/>
                    <a:gd name="connsiteX8" fmla="*/ 3278969 w 4501379"/>
                    <a:gd name="connsiteY8" fmla="*/ 257175 h 4429294"/>
                    <a:gd name="connsiteX9" fmla="*/ 3307544 w 4501379"/>
                    <a:gd name="connsiteY9" fmla="*/ 266700 h 4429294"/>
                    <a:gd name="connsiteX10" fmla="*/ 3336119 w 4501379"/>
                    <a:gd name="connsiteY10" fmla="*/ 285750 h 4429294"/>
                    <a:gd name="connsiteX11" fmla="*/ 3402794 w 4501379"/>
                    <a:gd name="connsiteY11" fmla="*/ 323850 h 4429294"/>
                    <a:gd name="connsiteX12" fmla="*/ 3450419 w 4501379"/>
                    <a:gd name="connsiteY12" fmla="*/ 361950 h 4429294"/>
                    <a:gd name="connsiteX13" fmla="*/ 3498044 w 4501379"/>
                    <a:gd name="connsiteY13" fmla="*/ 390525 h 4429294"/>
                    <a:gd name="connsiteX14" fmla="*/ 3612344 w 4501379"/>
                    <a:gd name="connsiteY14" fmla="*/ 485775 h 4429294"/>
                    <a:gd name="connsiteX15" fmla="*/ 3726644 w 4501379"/>
                    <a:gd name="connsiteY15" fmla="*/ 542925 h 4429294"/>
                    <a:gd name="connsiteX16" fmla="*/ 3793319 w 4501379"/>
                    <a:gd name="connsiteY16" fmla="*/ 581025 h 4429294"/>
                    <a:gd name="connsiteX17" fmla="*/ 4009219 w 4501379"/>
                    <a:gd name="connsiteY17" fmla="*/ 819150 h 4429294"/>
                    <a:gd name="connsiteX18" fmla="*/ 4145744 w 4501379"/>
                    <a:gd name="connsiteY18" fmla="*/ 990600 h 4429294"/>
                    <a:gd name="connsiteX19" fmla="*/ 4231469 w 4501379"/>
                    <a:gd name="connsiteY19" fmla="*/ 1143000 h 4429294"/>
                    <a:gd name="connsiteX20" fmla="*/ 4288619 w 4501379"/>
                    <a:gd name="connsiteY20" fmla="*/ 1266825 h 4429294"/>
                    <a:gd name="connsiteX21" fmla="*/ 4326719 w 4501379"/>
                    <a:gd name="connsiteY21" fmla="*/ 1362075 h 4429294"/>
                    <a:gd name="connsiteX22" fmla="*/ 4374344 w 4501379"/>
                    <a:gd name="connsiteY22" fmla="*/ 1552575 h 4429294"/>
                    <a:gd name="connsiteX23" fmla="*/ 4412444 w 4501379"/>
                    <a:gd name="connsiteY23" fmla="*/ 1685925 h 4429294"/>
                    <a:gd name="connsiteX24" fmla="*/ 4501344 w 4501379"/>
                    <a:gd name="connsiteY24" fmla="*/ 2181225 h 4429294"/>
                    <a:gd name="connsiteX25" fmla="*/ 4428319 w 4501379"/>
                    <a:gd name="connsiteY25" fmla="*/ 2768600 h 4429294"/>
                    <a:gd name="connsiteX26" fmla="*/ 4364819 w 4501379"/>
                    <a:gd name="connsiteY26" fmla="*/ 2990850 h 4429294"/>
                    <a:gd name="connsiteX27" fmla="*/ 4260044 w 4501379"/>
                    <a:gd name="connsiteY27" fmla="*/ 3248025 h 4429294"/>
                    <a:gd name="connsiteX28" fmla="*/ 4164794 w 4501379"/>
                    <a:gd name="connsiteY28" fmla="*/ 3400425 h 4429294"/>
                    <a:gd name="connsiteX29" fmla="*/ 4040969 w 4501379"/>
                    <a:gd name="connsiteY29" fmla="*/ 3533775 h 4429294"/>
                    <a:gd name="connsiteX30" fmla="*/ 3936194 w 4501379"/>
                    <a:gd name="connsiteY30" fmla="*/ 3648075 h 4429294"/>
                    <a:gd name="connsiteX31" fmla="*/ 3640919 w 4501379"/>
                    <a:gd name="connsiteY31" fmla="*/ 3971925 h 4429294"/>
                    <a:gd name="connsiteX32" fmla="*/ 3498044 w 4501379"/>
                    <a:gd name="connsiteY32" fmla="*/ 4083050 h 4429294"/>
                    <a:gd name="connsiteX33" fmla="*/ 3202769 w 4501379"/>
                    <a:gd name="connsiteY33" fmla="*/ 4222750 h 4429294"/>
                    <a:gd name="connsiteX34" fmla="*/ 3050369 w 4501379"/>
                    <a:gd name="connsiteY34" fmla="*/ 4286250 h 4429294"/>
                    <a:gd name="connsiteX35" fmla="*/ 2917019 w 4501379"/>
                    <a:gd name="connsiteY35" fmla="*/ 4333875 h 4429294"/>
                    <a:gd name="connsiteX36" fmla="*/ 2793194 w 4501379"/>
                    <a:gd name="connsiteY36" fmla="*/ 4371975 h 4429294"/>
                    <a:gd name="connsiteX37" fmla="*/ 2561419 w 4501379"/>
                    <a:gd name="connsiteY37" fmla="*/ 4391025 h 4429294"/>
                    <a:gd name="connsiteX38" fmla="*/ 2107394 w 4501379"/>
                    <a:gd name="connsiteY38" fmla="*/ 4429125 h 4429294"/>
                    <a:gd name="connsiteX39" fmla="*/ 1916894 w 4501379"/>
                    <a:gd name="connsiteY39" fmla="*/ 4400550 h 4429294"/>
                    <a:gd name="connsiteX40" fmla="*/ 1554944 w 4501379"/>
                    <a:gd name="connsiteY40" fmla="*/ 4305300 h 4429294"/>
                    <a:gd name="connsiteX41" fmla="*/ 1313644 w 4501379"/>
                    <a:gd name="connsiteY41" fmla="*/ 4216400 h 4429294"/>
                    <a:gd name="connsiteX42" fmla="*/ 1145369 w 4501379"/>
                    <a:gd name="connsiteY42" fmla="*/ 4111625 h 4429294"/>
                    <a:gd name="connsiteX43" fmla="*/ 926294 w 4501379"/>
                    <a:gd name="connsiteY43" fmla="*/ 3968750 h 4429294"/>
                    <a:gd name="connsiteX44" fmla="*/ 592919 w 4501379"/>
                    <a:gd name="connsiteY44" fmla="*/ 3657600 h 4429294"/>
                    <a:gd name="connsiteX45" fmla="*/ 446869 w 4501379"/>
                    <a:gd name="connsiteY45" fmla="*/ 3470275 h 4429294"/>
                    <a:gd name="connsiteX46" fmla="*/ 316694 w 4501379"/>
                    <a:gd name="connsiteY46" fmla="*/ 3244850 h 4429294"/>
                    <a:gd name="connsiteX47" fmla="*/ 164294 w 4501379"/>
                    <a:gd name="connsiteY47" fmla="*/ 2892425 h 4429294"/>
                    <a:gd name="connsiteX48" fmla="*/ 56344 w 4501379"/>
                    <a:gd name="connsiteY48" fmla="*/ 2368550 h 4429294"/>
                    <a:gd name="connsiteX49" fmla="*/ 2369 w 4501379"/>
                    <a:gd name="connsiteY49" fmla="*/ 1905000 h 4429294"/>
                    <a:gd name="connsiteX50" fmla="*/ 11894 w 4501379"/>
                    <a:gd name="connsiteY50" fmla="*/ 1838325 h 4429294"/>
                    <a:gd name="connsiteX51" fmla="*/ 30944 w 4501379"/>
                    <a:gd name="connsiteY51" fmla="*/ 1781175 h 4429294"/>
                    <a:gd name="connsiteX52" fmla="*/ 40469 w 4501379"/>
                    <a:gd name="connsiteY52" fmla="*/ 1743075 h 4429294"/>
                    <a:gd name="connsiteX53" fmla="*/ 59519 w 4501379"/>
                    <a:gd name="connsiteY53" fmla="*/ 1685925 h 4429294"/>
                    <a:gd name="connsiteX54" fmla="*/ 69044 w 4501379"/>
                    <a:gd name="connsiteY54" fmla="*/ 1638300 h 4429294"/>
                    <a:gd name="connsiteX55" fmla="*/ 88094 w 4501379"/>
                    <a:gd name="connsiteY55" fmla="*/ 1590675 h 4429294"/>
                    <a:gd name="connsiteX56" fmla="*/ 116669 w 4501379"/>
                    <a:gd name="connsiteY56" fmla="*/ 1504950 h 4429294"/>
                    <a:gd name="connsiteX57" fmla="*/ 135719 w 4501379"/>
                    <a:gd name="connsiteY57" fmla="*/ 1419225 h 4429294"/>
                    <a:gd name="connsiteX58" fmla="*/ 211919 w 4501379"/>
                    <a:gd name="connsiteY58" fmla="*/ 1276350 h 4429294"/>
                    <a:gd name="connsiteX59" fmla="*/ 221444 w 4501379"/>
                    <a:gd name="connsiteY59" fmla="*/ 1247775 h 4429294"/>
                    <a:gd name="connsiteX60" fmla="*/ 250019 w 4501379"/>
                    <a:gd name="connsiteY60" fmla="*/ 1200150 h 4429294"/>
                    <a:gd name="connsiteX61" fmla="*/ 269069 w 4501379"/>
                    <a:gd name="connsiteY61" fmla="*/ 1152525 h 4429294"/>
                    <a:gd name="connsiteX62" fmla="*/ 297644 w 4501379"/>
                    <a:gd name="connsiteY62" fmla="*/ 1114425 h 4429294"/>
                    <a:gd name="connsiteX63" fmla="*/ 345269 w 4501379"/>
                    <a:gd name="connsiteY63" fmla="*/ 1038225 h 4429294"/>
                    <a:gd name="connsiteX64" fmla="*/ 364319 w 4501379"/>
                    <a:gd name="connsiteY64" fmla="*/ 1009650 h 4429294"/>
                    <a:gd name="connsiteX65" fmla="*/ 421469 w 4501379"/>
                    <a:gd name="connsiteY65" fmla="*/ 904875 h 4429294"/>
                    <a:gd name="connsiteX66" fmla="*/ 459569 w 4501379"/>
                    <a:gd name="connsiteY66" fmla="*/ 857250 h 4429294"/>
                    <a:gd name="connsiteX67" fmla="*/ 478619 w 4501379"/>
                    <a:gd name="connsiteY67" fmla="*/ 828675 h 4429294"/>
                    <a:gd name="connsiteX68" fmla="*/ 516719 w 4501379"/>
                    <a:gd name="connsiteY68" fmla="*/ 800100 h 4429294"/>
                    <a:gd name="connsiteX69" fmla="*/ 583394 w 4501379"/>
                    <a:gd name="connsiteY69" fmla="*/ 733425 h 4429294"/>
                    <a:gd name="connsiteX70" fmla="*/ 650069 w 4501379"/>
                    <a:gd name="connsiteY70" fmla="*/ 676275 h 4429294"/>
                    <a:gd name="connsiteX71" fmla="*/ 678644 w 4501379"/>
                    <a:gd name="connsiteY71" fmla="*/ 657225 h 4429294"/>
                    <a:gd name="connsiteX72" fmla="*/ 821519 w 4501379"/>
                    <a:gd name="connsiteY72" fmla="*/ 533400 h 4429294"/>
                    <a:gd name="connsiteX73" fmla="*/ 869144 w 4501379"/>
                    <a:gd name="connsiteY73" fmla="*/ 504825 h 4429294"/>
                    <a:gd name="connsiteX74" fmla="*/ 1148544 w 4501379"/>
                    <a:gd name="connsiteY74" fmla="*/ 311150 h 4429294"/>
                    <a:gd name="connsiteX75" fmla="*/ 1250144 w 4501379"/>
                    <a:gd name="connsiteY75" fmla="*/ 285750 h 4429294"/>
                    <a:gd name="connsiteX76" fmla="*/ 1393019 w 4501379"/>
                    <a:gd name="connsiteY76" fmla="*/ 190500 h 4429294"/>
                    <a:gd name="connsiteX77" fmla="*/ 1431119 w 4501379"/>
                    <a:gd name="connsiteY77" fmla="*/ 161925 h 4429294"/>
                    <a:gd name="connsiteX78" fmla="*/ 1507319 w 4501379"/>
                    <a:gd name="connsiteY78" fmla="*/ 152400 h 4429294"/>
                    <a:gd name="connsiteX79" fmla="*/ 1564469 w 4501379"/>
                    <a:gd name="connsiteY79" fmla="*/ 142875 h 4429294"/>
                    <a:gd name="connsiteX80" fmla="*/ 1697819 w 4501379"/>
                    <a:gd name="connsiteY80" fmla="*/ 123825 h 4429294"/>
                    <a:gd name="connsiteX81" fmla="*/ 1793069 w 4501379"/>
                    <a:gd name="connsiteY81" fmla="*/ 114300 h 4429294"/>
                    <a:gd name="connsiteX82" fmla="*/ 1840694 w 4501379"/>
                    <a:gd name="connsiteY82" fmla="*/ 104775 h 4429294"/>
                    <a:gd name="connsiteX83" fmla="*/ 1897844 w 4501379"/>
                    <a:gd name="connsiteY83" fmla="*/ 95250 h 4429294"/>
                    <a:gd name="connsiteX84" fmla="*/ 2012144 w 4501379"/>
                    <a:gd name="connsiteY84" fmla="*/ 66675 h 4429294"/>
                    <a:gd name="connsiteX85" fmla="*/ 2078819 w 4501379"/>
                    <a:gd name="connsiteY85" fmla="*/ 47625 h 4429294"/>
                    <a:gd name="connsiteX86" fmla="*/ 2145494 w 4501379"/>
                    <a:gd name="connsiteY8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155144 w 4501379"/>
                    <a:gd name="connsiteY4" fmla="*/ 190500 h 4429294"/>
                    <a:gd name="connsiteX5" fmla="*/ 3221819 w 4501379"/>
                    <a:gd name="connsiteY5" fmla="*/ 228600 h 4429294"/>
                    <a:gd name="connsiteX6" fmla="*/ 3250394 w 4501379"/>
                    <a:gd name="connsiteY6" fmla="*/ 238125 h 4429294"/>
                    <a:gd name="connsiteX7" fmla="*/ 3278969 w 4501379"/>
                    <a:gd name="connsiteY7" fmla="*/ 257175 h 4429294"/>
                    <a:gd name="connsiteX8" fmla="*/ 3307544 w 4501379"/>
                    <a:gd name="connsiteY8" fmla="*/ 266700 h 4429294"/>
                    <a:gd name="connsiteX9" fmla="*/ 3336119 w 4501379"/>
                    <a:gd name="connsiteY9" fmla="*/ 285750 h 4429294"/>
                    <a:gd name="connsiteX10" fmla="*/ 3402794 w 4501379"/>
                    <a:gd name="connsiteY10" fmla="*/ 323850 h 4429294"/>
                    <a:gd name="connsiteX11" fmla="*/ 3450419 w 4501379"/>
                    <a:gd name="connsiteY11" fmla="*/ 361950 h 4429294"/>
                    <a:gd name="connsiteX12" fmla="*/ 3498044 w 4501379"/>
                    <a:gd name="connsiteY12" fmla="*/ 390525 h 4429294"/>
                    <a:gd name="connsiteX13" fmla="*/ 3612344 w 4501379"/>
                    <a:gd name="connsiteY13" fmla="*/ 485775 h 4429294"/>
                    <a:gd name="connsiteX14" fmla="*/ 3726644 w 4501379"/>
                    <a:gd name="connsiteY14" fmla="*/ 542925 h 4429294"/>
                    <a:gd name="connsiteX15" fmla="*/ 3793319 w 4501379"/>
                    <a:gd name="connsiteY15" fmla="*/ 581025 h 4429294"/>
                    <a:gd name="connsiteX16" fmla="*/ 4009219 w 4501379"/>
                    <a:gd name="connsiteY16" fmla="*/ 819150 h 4429294"/>
                    <a:gd name="connsiteX17" fmla="*/ 4145744 w 4501379"/>
                    <a:gd name="connsiteY17" fmla="*/ 990600 h 4429294"/>
                    <a:gd name="connsiteX18" fmla="*/ 4231469 w 4501379"/>
                    <a:gd name="connsiteY18" fmla="*/ 1143000 h 4429294"/>
                    <a:gd name="connsiteX19" fmla="*/ 4288619 w 4501379"/>
                    <a:gd name="connsiteY19" fmla="*/ 1266825 h 4429294"/>
                    <a:gd name="connsiteX20" fmla="*/ 4326719 w 4501379"/>
                    <a:gd name="connsiteY20" fmla="*/ 1362075 h 4429294"/>
                    <a:gd name="connsiteX21" fmla="*/ 4374344 w 4501379"/>
                    <a:gd name="connsiteY21" fmla="*/ 1552575 h 4429294"/>
                    <a:gd name="connsiteX22" fmla="*/ 4412444 w 4501379"/>
                    <a:gd name="connsiteY22" fmla="*/ 1685925 h 4429294"/>
                    <a:gd name="connsiteX23" fmla="*/ 4501344 w 4501379"/>
                    <a:gd name="connsiteY23" fmla="*/ 2181225 h 4429294"/>
                    <a:gd name="connsiteX24" fmla="*/ 4428319 w 4501379"/>
                    <a:gd name="connsiteY24" fmla="*/ 2768600 h 4429294"/>
                    <a:gd name="connsiteX25" fmla="*/ 4364819 w 4501379"/>
                    <a:gd name="connsiteY25" fmla="*/ 2990850 h 4429294"/>
                    <a:gd name="connsiteX26" fmla="*/ 4260044 w 4501379"/>
                    <a:gd name="connsiteY26" fmla="*/ 3248025 h 4429294"/>
                    <a:gd name="connsiteX27" fmla="*/ 4164794 w 4501379"/>
                    <a:gd name="connsiteY27" fmla="*/ 3400425 h 4429294"/>
                    <a:gd name="connsiteX28" fmla="*/ 4040969 w 4501379"/>
                    <a:gd name="connsiteY28" fmla="*/ 3533775 h 4429294"/>
                    <a:gd name="connsiteX29" fmla="*/ 3936194 w 4501379"/>
                    <a:gd name="connsiteY29" fmla="*/ 3648075 h 4429294"/>
                    <a:gd name="connsiteX30" fmla="*/ 3640919 w 4501379"/>
                    <a:gd name="connsiteY30" fmla="*/ 3971925 h 4429294"/>
                    <a:gd name="connsiteX31" fmla="*/ 3498044 w 4501379"/>
                    <a:gd name="connsiteY31" fmla="*/ 4083050 h 4429294"/>
                    <a:gd name="connsiteX32" fmla="*/ 3202769 w 4501379"/>
                    <a:gd name="connsiteY32" fmla="*/ 4222750 h 4429294"/>
                    <a:gd name="connsiteX33" fmla="*/ 3050369 w 4501379"/>
                    <a:gd name="connsiteY33" fmla="*/ 4286250 h 4429294"/>
                    <a:gd name="connsiteX34" fmla="*/ 2917019 w 4501379"/>
                    <a:gd name="connsiteY34" fmla="*/ 4333875 h 4429294"/>
                    <a:gd name="connsiteX35" fmla="*/ 2793194 w 4501379"/>
                    <a:gd name="connsiteY35" fmla="*/ 4371975 h 4429294"/>
                    <a:gd name="connsiteX36" fmla="*/ 2561419 w 4501379"/>
                    <a:gd name="connsiteY36" fmla="*/ 4391025 h 4429294"/>
                    <a:gd name="connsiteX37" fmla="*/ 2107394 w 4501379"/>
                    <a:gd name="connsiteY37" fmla="*/ 4429125 h 4429294"/>
                    <a:gd name="connsiteX38" fmla="*/ 1916894 w 4501379"/>
                    <a:gd name="connsiteY38" fmla="*/ 4400550 h 4429294"/>
                    <a:gd name="connsiteX39" fmla="*/ 1554944 w 4501379"/>
                    <a:gd name="connsiteY39" fmla="*/ 4305300 h 4429294"/>
                    <a:gd name="connsiteX40" fmla="*/ 1313644 w 4501379"/>
                    <a:gd name="connsiteY40" fmla="*/ 4216400 h 4429294"/>
                    <a:gd name="connsiteX41" fmla="*/ 1145369 w 4501379"/>
                    <a:gd name="connsiteY41" fmla="*/ 4111625 h 4429294"/>
                    <a:gd name="connsiteX42" fmla="*/ 926294 w 4501379"/>
                    <a:gd name="connsiteY42" fmla="*/ 3968750 h 4429294"/>
                    <a:gd name="connsiteX43" fmla="*/ 592919 w 4501379"/>
                    <a:gd name="connsiteY43" fmla="*/ 3657600 h 4429294"/>
                    <a:gd name="connsiteX44" fmla="*/ 446869 w 4501379"/>
                    <a:gd name="connsiteY44" fmla="*/ 3470275 h 4429294"/>
                    <a:gd name="connsiteX45" fmla="*/ 316694 w 4501379"/>
                    <a:gd name="connsiteY45" fmla="*/ 3244850 h 4429294"/>
                    <a:gd name="connsiteX46" fmla="*/ 164294 w 4501379"/>
                    <a:gd name="connsiteY46" fmla="*/ 2892425 h 4429294"/>
                    <a:gd name="connsiteX47" fmla="*/ 56344 w 4501379"/>
                    <a:gd name="connsiteY47" fmla="*/ 2368550 h 4429294"/>
                    <a:gd name="connsiteX48" fmla="*/ 2369 w 4501379"/>
                    <a:gd name="connsiteY48" fmla="*/ 1905000 h 4429294"/>
                    <a:gd name="connsiteX49" fmla="*/ 11894 w 4501379"/>
                    <a:gd name="connsiteY49" fmla="*/ 1838325 h 4429294"/>
                    <a:gd name="connsiteX50" fmla="*/ 30944 w 4501379"/>
                    <a:gd name="connsiteY50" fmla="*/ 1781175 h 4429294"/>
                    <a:gd name="connsiteX51" fmla="*/ 40469 w 4501379"/>
                    <a:gd name="connsiteY51" fmla="*/ 1743075 h 4429294"/>
                    <a:gd name="connsiteX52" fmla="*/ 59519 w 4501379"/>
                    <a:gd name="connsiteY52" fmla="*/ 1685925 h 4429294"/>
                    <a:gd name="connsiteX53" fmla="*/ 69044 w 4501379"/>
                    <a:gd name="connsiteY53" fmla="*/ 1638300 h 4429294"/>
                    <a:gd name="connsiteX54" fmla="*/ 88094 w 4501379"/>
                    <a:gd name="connsiteY54" fmla="*/ 1590675 h 4429294"/>
                    <a:gd name="connsiteX55" fmla="*/ 116669 w 4501379"/>
                    <a:gd name="connsiteY55" fmla="*/ 1504950 h 4429294"/>
                    <a:gd name="connsiteX56" fmla="*/ 135719 w 4501379"/>
                    <a:gd name="connsiteY56" fmla="*/ 1419225 h 4429294"/>
                    <a:gd name="connsiteX57" fmla="*/ 211919 w 4501379"/>
                    <a:gd name="connsiteY57" fmla="*/ 1276350 h 4429294"/>
                    <a:gd name="connsiteX58" fmla="*/ 221444 w 4501379"/>
                    <a:gd name="connsiteY58" fmla="*/ 1247775 h 4429294"/>
                    <a:gd name="connsiteX59" fmla="*/ 250019 w 4501379"/>
                    <a:gd name="connsiteY59" fmla="*/ 1200150 h 4429294"/>
                    <a:gd name="connsiteX60" fmla="*/ 269069 w 4501379"/>
                    <a:gd name="connsiteY60" fmla="*/ 1152525 h 4429294"/>
                    <a:gd name="connsiteX61" fmla="*/ 297644 w 4501379"/>
                    <a:gd name="connsiteY61" fmla="*/ 1114425 h 4429294"/>
                    <a:gd name="connsiteX62" fmla="*/ 345269 w 4501379"/>
                    <a:gd name="connsiteY62" fmla="*/ 1038225 h 4429294"/>
                    <a:gd name="connsiteX63" fmla="*/ 364319 w 4501379"/>
                    <a:gd name="connsiteY63" fmla="*/ 1009650 h 4429294"/>
                    <a:gd name="connsiteX64" fmla="*/ 421469 w 4501379"/>
                    <a:gd name="connsiteY64" fmla="*/ 904875 h 4429294"/>
                    <a:gd name="connsiteX65" fmla="*/ 459569 w 4501379"/>
                    <a:gd name="connsiteY65" fmla="*/ 857250 h 4429294"/>
                    <a:gd name="connsiteX66" fmla="*/ 478619 w 4501379"/>
                    <a:gd name="connsiteY66" fmla="*/ 828675 h 4429294"/>
                    <a:gd name="connsiteX67" fmla="*/ 516719 w 4501379"/>
                    <a:gd name="connsiteY67" fmla="*/ 800100 h 4429294"/>
                    <a:gd name="connsiteX68" fmla="*/ 583394 w 4501379"/>
                    <a:gd name="connsiteY68" fmla="*/ 733425 h 4429294"/>
                    <a:gd name="connsiteX69" fmla="*/ 650069 w 4501379"/>
                    <a:gd name="connsiteY69" fmla="*/ 676275 h 4429294"/>
                    <a:gd name="connsiteX70" fmla="*/ 678644 w 4501379"/>
                    <a:gd name="connsiteY70" fmla="*/ 657225 h 4429294"/>
                    <a:gd name="connsiteX71" fmla="*/ 821519 w 4501379"/>
                    <a:gd name="connsiteY71" fmla="*/ 533400 h 4429294"/>
                    <a:gd name="connsiteX72" fmla="*/ 869144 w 4501379"/>
                    <a:gd name="connsiteY72" fmla="*/ 504825 h 4429294"/>
                    <a:gd name="connsiteX73" fmla="*/ 1148544 w 4501379"/>
                    <a:gd name="connsiteY73" fmla="*/ 311150 h 4429294"/>
                    <a:gd name="connsiteX74" fmla="*/ 1250144 w 4501379"/>
                    <a:gd name="connsiteY74" fmla="*/ 285750 h 4429294"/>
                    <a:gd name="connsiteX75" fmla="*/ 1393019 w 4501379"/>
                    <a:gd name="connsiteY75" fmla="*/ 190500 h 4429294"/>
                    <a:gd name="connsiteX76" fmla="*/ 1431119 w 4501379"/>
                    <a:gd name="connsiteY76" fmla="*/ 161925 h 4429294"/>
                    <a:gd name="connsiteX77" fmla="*/ 1507319 w 4501379"/>
                    <a:gd name="connsiteY77" fmla="*/ 152400 h 4429294"/>
                    <a:gd name="connsiteX78" fmla="*/ 1564469 w 4501379"/>
                    <a:gd name="connsiteY78" fmla="*/ 142875 h 4429294"/>
                    <a:gd name="connsiteX79" fmla="*/ 1697819 w 4501379"/>
                    <a:gd name="connsiteY79" fmla="*/ 123825 h 4429294"/>
                    <a:gd name="connsiteX80" fmla="*/ 1793069 w 4501379"/>
                    <a:gd name="connsiteY80" fmla="*/ 114300 h 4429294"/>
                    <a:gd name="connsiteX81" fmla="*/ 1840694 w 4501379"/>
                    <a:gd name="connsiteY81" fmla="*/ 104775 h 4429294"/>
                    <a:gd name="connsiteX82" fmla="*/ 1897844 w 4501379"/>
                    <a:gd name="connsiteY82" fmla="*/ 95250 h 4429294"/>
                    <a:gd name="connsiteX83" fmla="*/ 2012144 w 4501379"/>
                    <a:gd name="connsiteY83" fmla="*/ 66675 h 4429294"/>
                    <a:gd name="connsiteX84" fmla="*/ 2078819 w 4501379"/>
                    <a:gd name="connsiteY84" fmla="*/ 47625 h 4429294"/>
                    <a:gd name="connsiteX85" fmla="*/ 2145494 w 4501379"/>
                    <a:gd name="connsiteY8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278969 w 4501379"/>
                    <a:gd name="connsiteY6" fmla="*/ 257175 h 4429294"/>
                    <a:gd name="connsiteX7" fmla="*/ 3307544 w 4501379"/>
                    <a:gd name="connsiteY7" fmla="*/ 266700 h 4429294"/>
                    <a:gd name="connsiteX8" fmla="*/ 3336119 w 4501379"/>
                    <a:gd name="connsiteY8" fmla="*/ 285750 h 4429294"/>
                    <a:gd name="connsiteX9" fmla="*/ 3402794 w 4501379"/>
                    <a:gd name="connsiteY9" fmla="*/ 323850 h 4429294"/>
                    <a:gd name="connsiteX10" fmla="*/ 3450419 w 4501379"/>
                    <a:gd name="connsiteY10" fmla="*/ 361950 h 4429294"/>
                    <a:gd name="connsiteX11" fmla="*/ 3498044 w 4501379"/>
                    <a:gd name="connsiteY11" fmla="*/ 390525 h 4429294"/>
                    <a:gd name="connsiteX12" fmla="*/ 3612344 w 4501379"/>
                    <a:gd name="connsiteY12" fmla="*/ 485775 h 4429294"/>
                    <a:gd name="connsiteX13" fmla="*/ 3726644 w 4501379"/>
                    <a:gd name="connsiteY13" fmla="*/ 542925 h 4429294"/>
                    <a:gd name="connsiteX14" fmla="*/ 3793319 w 4501379"/>
                    <a:gd name="connsiteY14" fmla="*/ 581025 h 4429294"/>
                    <a:gd name="connsiteX15" fmla="*/ 4009219 w 4501379"/>
                    <a:gd name="connsiteY15" fmla="*/ 819150 h 4429294"/>
                    <a:gd name="connsiteX16" fmla="*/ 4145744 w 4501379"/>
                    <a:gd name="connsiteY16" fmla="*/ 990600 h 4429294"/>
                    <a:gd name="connsiteX17" fmla="*/ 4231469 w 4501379"/>
                    <a:gd name="connsiteY17" fmla="*/ 1143000 h 4429294"/>
                    <a:gd name="connsiteX18" fmla="*/ 4288619 w 4501379"/>
                    <a:gd name="connsiteY18" fmla="*/ 1266825 h 4429294"/>
                    <a:gd name="connsiteX19" fmla="*/ 4326719 w 4501379"/>
                    <a:gd name="connsiteY19" fmla="*/ 1362075 h 4429294"/>
                    <a:gd name="connsiteX20" fmla="*/ 4374344 w 4501379"/>
                    <a:gd name="connsiteY20" fmla="*/ 1552575 h 4429294"/>
                    <a:gd name="connsiteX21" fmla="*/ 4412444 w 4501379"/>
                    <a:gd name="connsiteY21" fmla="*/ 1685925 h 4429294"/>
                    <a:gd name="connsiteX22" fmla="*/ 4501344 w 4501379"/>
                    <a:gd name="connsiteY22" fmla="*/ 2181225 h 4429294"/>
                    <a:gd name="connsiteX23" fmla="*/ 4428319 w 4501379"/>
                    <a:gd name="connsiteY23" fmla="*/ 2768600 h 4429294"/>
                    <a:gd name="connsiteX24" fmla="*/ 4364819 w 4501379"/>
                    <a:gd name="connsiteY24" fmla="*/ 2990850 h 4429294"/>
                    <a:gd name="connsiteX25" fmla="*/ 4260044 w 4501379"/>
                    <a:gd name="connsiteY25" fmla="*/ 3248025 h 4429294"/>
                    <a:gd name="connsiteX26" fmla="*/ 4164794 w 4501379"/>
                    <a:gd name="connsiteY26" fmla="*/ 3400425 h 4429294"/>
                    <a:gd name="connsiteX27" fmla="*/ 4040969 w 4501379"/>
                    <a:gd name="connsiteY27" fmla="*/ 3533775 h 4429294"/>
                    <a:gd name="connsiteX28" fmla="*/ 3936194 w 4501379"/>
                    <a:gd name="connsiteY28" fmla="*/ 3648075 h 4429294"/>
                    <a:gd name="connsiteX29" fmla="*/ 3640919 w 4501379"/>
                    <a:gd name="connsiteY29" fmla="*/ 3971925 h 4429294"/>
                    <a:gd name="connsiteX30" fmla="*/ 3498044 w 4501379"/>
                    <a:gd name="connsiteY30" fmla="*/ 4083050 h 4429294"/>
                    <a:gd name="connsiteX31" fmla="*/ 3202769 w 4501379"/>
                    <a:gd name="connsiteY31" fmla="*/ 4222750 h 4429294"/>
                    <a:gd name="connsiteX32" fmla="*/ 3050369 w 4501379"/>
                    <a:gd name="connsiteY32" fmla="*/ 4286250 h 4429294"/>
                    <a:gd name="connsiteX33" fmla="*/ 2917019 w 4501379"/>
                    <a:gd name="connsiteY33" fmla="*/ 4333875 h 4429294"/>
                    <a:gd name="connsiteX34" fmla="*/ 2793194 w 4501379"/>
                    <a:gd name="connsiteY34" fmla="*/ 4371975 h 4429294"/>
                    <a:gd name="connsiteX35" fmla="*/ 2561419 w 4501379"/>
                    <a:gd name="connsiteY35" fmla="*/ 4391025 h 4429294"/>
                    <a:gd name="connsiteX36" fmla="*/ 2107394 w 4501379"/>
                    <a:gd name="connsiteY36" fmla="*/ 4429125 h 4429294"/>
                    <a:gd name="connsiteX37" fmla="*/ 1916894 w 4501379"/>
                    <a:gd name="connsiteY37" fmla="*/ 4400550 h 4429294"/>
                    <a:gd name="connsiteX38" fmla="*/ 1554944 w 4501379"/>
                    <a:gd name="connsiteY38" fmla="*/ 4305300 h 4429294"/>
                    <a:gd name="connsiteX39" fmla="*/ 1313644 w 4501379"/>
                    <a:gd name="connsiteY39" fmla="*/ 4216400 h 4429294"/>
                    <a:gd name="connsiteX40" fmla="*/ 1145369 w 4501379"/>
                    <a:gd name="connsiteY40" fmla="*/ 4111625 h 4429294"/>
                    <a:gd name="connsiteX41" fmla="*/ 926294 w 4501379"/>
                    <a:gd name="connsiteY41" fmla="*/ 3968750 h 4429294"/>
                    <a:gd name="connsiteX42" fmla="*/ 592919 w 4501379"/>
                    <a:gd name="connsiteY42" fmla="*/ 3657600 h 4429294"/>
                    <a:gd name="connsiteX43" fmla="*/ 446869 w 4501379"/>
                    <a:gd name="connsiteY43" fmla="*/ 3470275 h 4429294"/>
                    <a:gd name="connsiteX44" fmla="*/ 316694 w 4501379"/>
                    <a:gd name="connsiteY44" fmla="*/ 3244850 h 4429294"/>
                    <a:gd name="connsiteX45" fmla="*/ 164294 w 4501379"/>
                    <a:gd name="connsiteY45" fmla="*/ 2892425 h 4429294"/>
                    <a:gd name="connsiteX46" fmla="*/ 56344 w 4501379"/>
                    <a:gd name="connsiteY46" fmla="*/ 2368550 h 4429294"/>
                    <a:gd name="connsiteX47" fmla="*/ 2369 w 4501379"/>
                    <a:gd name="connsiteY47" fmla="*/ 1905000 h 4429294"/>
                    <a:gd name="connsiteX48" fmla="*/ 11894 w 4501379"/>
                    <a:gd name="connsiteY48" fmla="*/ 1838325 h 4429294"/>
                    <a:gd name="connsiteX49" fmla="*/ 30944 w 4501379"/>
                    <a:gd name="connsiteY49" fmla="*/ 1781175 h 4429294"/>
                    <a:gd name="connsiteX50" fmla="*/ 40469 w 4501379"/>
                    <a:gd name="connsiteY50" fmla="*/ 1743075 h 4429294"/>
                    <a:gd name="connsiteX51" fmla="*/ 59519 w 4501379"/>
                    <a:gd name="connsiteY51" fmla="*/ 1685925 h 4429294"/>
                    <a:gd name="connsiteX52" fmla="*/ 69044 w 4501379"/>
                    <a:gd name="connsiteY52" fmla="*/ 1638300 h 4429294"/>
                    <a:gd name="connsiteX53" fmla="*/ 88094 w 4501379"/>
                    <a:gd name="connsiteY53" fmla="*/ 1590675 h 4429294"/>
                    <a:gd name="connsiteX54" fmla="*/ 116669 w 4501379"/>
                    <a:gd name="connsiteY54" fmla="*/ 1504950 h 4429294"/>
                    <a:gd name="connsiteX55" fmla="*/ 135719 w 4501379"/>
                    <a:gd name="connsiteY55" fmla="*/ 1419225 h 4429294"/>
                    <a:gd name="connsiteX56" fmla="*/ 211919 w 4501379"/>
                    <a:gd name="connsiteY56" fmla="*/ 1276350 h 4429294"/>
                    <a:gd name="connsiteX57" fmla="*/ 221444 w 4501379"/>
                    <a:gd name="connsiteY57" fmla="*/ 1247775 h 4429294"/>
                    <a:gd name="connsiteX58" fmla="*/ 250019 w 4501379"/>
                    <a:gd name="connsiteY58" fmla="*/ 1200150 h 4429294"/>
                    <a:gd name="connsiteX59" fmla="*/ 269069 w 4501379"/>
                    <a:gd name="connsiteY59" fmla="*/ 1152525 h 4429294"/>
                    <a:gd name="connsiteX60" fmla="*/ 297644 w 4501379"/>
                    <a:gd name="connsiteY60" fmla="*/ 1114425 h 4429294"/>
                    <a:gd name="connsiteX61" fmla="*/ 345269 w 4501379"/>
                    <a:gd name="connsiteY61" fmla="*/ 1038225 h 4429294"/>
                    <a:gd name="connsiteX62" fmla="*/ 364319 w 4501379"/>
                    <a:gd name="connsiteY62" fmla="*/ 1009650 h 4429294"/>
                    <a:gd name="connsiteX63" fmla="*/ 421469 w 4501379"/>
                    <a:gd name="connsiteY63" fmla="*/ 904875 h 4429294"/>
                    <a:gd name="connsiteX64" fmla="*/ 459569 w 4501379"/>
                    <a:gd name="connsiteY64" fmla="*/ 857250 h 4429294"/>
                    <a:gd name="connsiteX65" fmla="*/ 478619 w 4501379"/>
                    <a:gd name="connsiteY65" fmla="*/ 828675 h 4429294"/>
                    <a:gd name="connsiteX66" fmla="*/ 516719 w 4501379"/>
                    <a:gd name="connsiteY66" fmla="*/ 800100 h 4429294"/>
                    <a:gd name="connsiteX67" fmla="*/ 583394 w 4501379"/>
                    <a:gd name="connsiteY67" fmla="*/ 733425 h 4429294"/>
                    <a:gd name="connsiteX68" fmla="*/ 650069 w 4501379"/>
                    <a:gd name="connsiteY68" fmla="*/ 676275 h 4429294"/>
                    <a:gd name="connsiteX69" fmla="*/ 678644 w 4501379"/>
                    <a:gd name="connsiteY69" fmla="*/ 657225 h 4429294"/>
                    <a:gd name="connsiteX70" fmla="*/ 821519 w 4501379"/>
                    <a:gd name="connsiteY70" fmla="*/ 533400 h 4429294"/>
                    <a:gd name="connsiteX71" fmla="*/ 869144 w 4501379"/>
                    <a:gd name="connsiteY71" fmla="*/ 504825 h 4429294"/>
                    <a:gd name="connsiteX72" fmla="*/ 1148544 w 4501379"/>
                    <a:gd name="connsiteY72" fmla="*/ 311150 h 4429294"/>
                    <a:gd name="connsiteX73" fmla="*/ 1250144 w 4501379"/>
                    <a:gd name="connsiteY73" fmla="*/ 285750 h 4429294"/>
                    <a:gd name="connsiteX74" fmla="*/ 1393019 w 4501379"/>
                    <a:gd name="connsiteY74" fmla="*/ 190500 h 4429294"/>
                    <a:gd name="connsiteX75" fmla="*/ 1431119 w 4501379"/>
                    <a:gd name="connsiteY75" fmla="*/ 161925 h 4429294"/>
                    <a:gd name="connsiteX76" fmla="*/ 1507319 w 4501379"/>
                    <a:gd name="connsiteY76" fmla="*/ 152400 h 4429294"/>
                    <a:gd name="connsiteX77" fmla="*/ 1564469 w 4501379"/>
                    <a:gd name="connsiteY77" fmla="*/ 142875 h 4429294"/>
                    <a:gd name="connsiteX78" fmla="*/ 1697819 w 4501379"/>
                    <a:gd name="connsiteY78" fmla="*/ 123825 h 4429294"/>
                    <a:gd name="connsiteX79" fmla="*/ 1793069 w 4501379"/>
                    <a:gd name="connsiteY79" fmla="*/ 114300 h 4429294"/>
                    <a:gd name="connsiteX80" fmla="*/ 1840694 w 4501379"/>
                    <a:gd name="connsiteY80" fmla="*/ 104775 h 4429294"/>
                    <a:gd name="connsiteX81" fmla="*/ 1897844 w 4501379"/>
                    <a:gd name="connsiteY81" fmla="*/ 95250 h 4429294"/>
                    <a:gd name="connsiteX82" fmla="*/ 2012144 w 4501379"/>
                    <a:gd name="connsiteY82" fmla="*/ 66675 h 4429294"/>
                    <a:gd name="connsiteX83" fmla="*/ 2078819 w 4501379"/>
                    <a:gd name="connsiteY83" fmla="*/ 47625 h 4429294"/>
                    <a:gd name="connsiteX84" fmla="*/ 2145494 w 4501379"/>
                    <a:gd name="connsiteY8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336119 w 4501379"/>
                    <a:gd name="connsiteY7" fmla="*/ 285750 h 4429294"/>
                    <a:gd name="connsiteX8" fmla="*/ 3402794 w 4501379"/>
                    <a:gd name="connsiteY8" fmla="*/ 323850 h 4429294"/>
                    <a:gd name="connsiteX9" fmla="*/ 3450419 w 4501379"/>
                    <a:gd name="connsiteY9" fmla="*/ 361950 h 4429294"/>
                    <a:gd name="connsiteX10" fmla="*/ 3498044 w 4501379"/>
                    <a:gd name="connsiteY10" fmla="*/ 390525 h 4429294"/>
                    <a:gd name="connsiteX11" fmla="*/ 3612344 w 4501379"/>
                    <a:gd name="connsiteY11" fmla="*/ 485775 h 4429294"/>
                    <a:gd name="connsiteX12" fmla="*/ 3726644 w 4501379"/>
                    <a:gd name="connsiteY12" fmla="*/ 542925 h 4429294"/>
                    <a:gd name="connsiteX13" fmla="*/ 3793319 w 4501379"/>
                    <a:gd name="connsiteY13" fmla="*/ 581025 h 4429294"/>
                    <a:gd name="connsiteX14" fmla="*/ 4009219 w 4501379"/>
                    <a:gd name="connsiteY14" fmla="*/ 819150 h 4429294"/>
                    <a:gd name="connsiteX15" fmla="*/ 4145744 w 4501379"/>
                    <a:gd name="connsiteY15" fmla="*/ 990600 h 4429294"/>
                    <a:gd name="connsiteX16" fmla="*/ 4231469 w 4501379"/>
                    <a:gd name="connsiteY16" fmla="*/ 1143000 h 4429294"/>
                    <a:gd name="connsiteX17" fmla="*/ 4288619 w 4501379"/>
                    <a:gd name="connsiteY17" fmla="*/ 1266825 h 4429294"/>
                    <a:gd name="connsiteX18" fmla="*/ 4326719 w 4501379"/>
                    <a:gd name="connsiteY18" fmla="*/ 1362075 h 4429294"/>
                    <a:gd name="connsiteX19" fmla="*/ 4374344 w 4501379"/>
                    <a:gd name="connsiteY19" fmla="*/ 1552575 h 4429294"/>
                    <a:gd name="connsiteX20" fmla="*/ 4412444 w 4501379"/>
                    <a:gd name="connsiteY20" fmla="*/ 1685925 h 4429294"/>
                    <a:gd name="connsiteX21" fmla="*/ 4501344 w 4501379"/>
                    <a:gd name="connsiteY21" fmla="*/ 2181225 h 4429294"/>
                    <a:gd name="connsiteX22" fmla="*/ 4428319 w 4501379"/>
                    <a:gd name="connsiteY22" fmla="*/ 2768600 h 4429294"/>
                    <a:gd name="connsiteX23" fmla="*/ 4364819 w 4501379"/>
                    <a:gd name="connsiteY23" fmla="*/ 2990850 h 4429294"/>
                    <a:gd name="connsiteX24" fmla="*/ 4260044 w 4501379"/>
                    <a:gd name="connsiteY24" fmla="*/ 3248025 h 4429294"/>
                    <a:gd name="connsiteX25" fmla="*/ 4164794 w 4501379"/>
                    <a:gd name="connsiteY25" fmla="*/ 3400425 h 4429294"/>
                    <a:gd name="connsiteX26" fmla="*/ 4040969 w 4501379"/>
                    <a:gd name="connsiteY26" fmla="*/ 3533775 h 4429294"/>
                    <a:gd name="connsiteX27" fmla="*/ 3936194 w 4501379"/>
                    <a:gd name="connsiteY27" fmla="*/ 3648075 h 4429294"/>
                    <a:gd name="connsiteX28" fmla="*/ 3640919 w 4501379"/>
                    <a:gd name="connsiteY28" fmla="*/ 3971925 h 4429294"/>
                    <a:gd name="connsiteX29" fmla="*/ 3498044 w 4501379"/>
                    <a:gd name="connsiteY29" fmla="*/ 4083050 h 4429294"/>
                    <a:gd name="connsiteX30" fmla="*/ 3202769 w 4501379"/>
                    <a:gd name="connsiteY30" fmla="*/ 4222750 h 4429294"/>
                    <a:gd name="connsiteX31" fmla="*/ 3050369 w 4501379"/>
                    <a:gd name="connsiteY31" fmla="*/ 4286250 h 4429294"/>
                    <a:gd name="connsiteX32" fmla="*/ 2917019 w 4501379"/>
                    <a:gd name="connsiteY32" fmla="*/ 4333875 h 4429294"/>
                    <a:gd name="connsiteX33" fmla="*/ 2793194 w 4501379"/>
                    <a:gd name="connsiteY33" fmla="*/ 4371975 h 4429294"/>
                    <a:gd name="connsiteX34" fmla="*/ 2561419 w 4501379"/>
                    <a:gd name="connsiteY34" fmla="*/ 4391025 h 4429294"/>
                    <a:gd name="connsiteX35" fmla="*/ 2107394 w 4501379"/>
                    <a:gd name="connsiteY35" fmla="*/ 4429125 h 4429294"/>
                    <a:gd name="connsiteX36" fmla="*/ 1916894 w 4501379"/>
                    <a:gd name="connsiteY36" fmla="*/ 4400550 h 4429294"/>
                    <a:gd name="connsiteX37" fmla="*/ 1554944 w 4501379"/>
                    <a:gd name="connsiteY37" fmla="*/ 4305300 h 4429294"/>
                    <a:gd name="connsiteX38" fmla="*/ 1313644 w 4501379"/>
                    <a:gd name="connsiteY38" fmla="*/ 4216400 h 4429294"/>
                    <a:gd name="connsiteX39" fmla="*/ 1145369 w 4501379"/>
                    <a:gd name="connsiteY39" fmla="*/ 4111625 h 4429294"/>
                    <a:gd name="connsiteX40" fmla="*/ 926294 w 4501379"/>
                    <a:gd name="connsiteY40" fmla="*/ 3968750 h 4429294"/>
                    <a:gd name="connsiteX41" fmla="*/ 592919 w 4501379"/>
                    <a:gd name="connsiteY41" fmla="*/ 3657600 h 4429294"/>
                    <a:gd name="connsiteX42" fmla="*/ 446869 w 4501379"/>
                    <a:gd name="connsiteY42" fmla="*/ 3470275 h 4429294"/>
                    <a:gd name="connsiteX43" fmla="*/ 316694 w 4501379"/>
                    <a:gd name="connsiteY43" fmla="*/ 3244850 h 4429294"/>
                    <a:gd name="connsiteX44" fmla="*/ 164294 w 4501379"/>
                    <a:gd name="connsiteY44" fmla="*/ 2892425 h 4429294"/>
                    <a:gd name="connsiteX45" fmla="*/ 56344 w 4501379"/>
                    <a:gd name="connsiteY45" fmla="*/ 2368550 h 4429294"/>
                    <a:gd name="connsiteX46" fmla="*/ 2369 w 4501379"/>
                    <a:gd name="connsiteY46" fmla="*/ 1905000 h 4429294"/>
                    <a:gd name="connsiteX47" fmla="*/ 11894 w 4501379"/>
                    <a:gd name="connsiteY47" fmla="*/ 1838325 h 4429294"/>
                    <a:gd name="connsiteX48" fmla="*/ 30944 w 4501379"/>
                    <a:gd name="connsiteY48" fmla="*/ 1781175 h 4429294"/>
                    <a:gd name="connsiteX49" fmla="*/ 40469 w 4501379"/>
                    <a:gd name="connsiteY49" fmla="*/ 1743075 h 4429294"/>
                    <a:gd name="connsiteX50" fmla="*/ 59519 w 4501379"/>
                    <a:gd name="connsiteY50" fmla="*/ 1685925 h 4429294"/>
                    <a:gd name="connsiteX51" fmla="*/ 69044 w 4501379"/>
                    <a:gd name="connsiteY51" fmla="*/ 1638300 h 4429294"/>
                    <a:gd name="connsiteX52" fmla="*/ 88094 w 4501379"/>
                    <a:gd name="connsiteY52" fmla="*/ 1590675 h 4429294"/>
                    <a:gd name="connsiteX53" fmla="*/ 116669 w 4501379"/>
                    <a:gd name="connsiteY53" fmla="*/ 1504950 h 4429294"/>
                    <a:gd name="connsiteX54" fmla="*/ 135719 w 4501379"/>
                    <a:gd name="connsiteY54" fmla="*/ 1419225 h 4429294"/>
                    <a:gd name="connsiteX55" fmla="*/ 211919 w 4501379"/>
                    <a:gd name="connsiteY55" fmla="*/ 1276350 h 4429294"/>
                    <a:gd name="connsiteX56" fmla="*/ 221444 w 4501379"/>
                    <a:gd name="connsiteY56" fmla="*/ 1247775 h 4429294"/>
                    <a:gd name="connsiteX57" fmla="*/ 250019 w 4501379"/>
                    <a:gd name="connsiteY57" fmla="*/ 1200150 h 4429294"/>
                    <a:gd name="connsiteX58" fmla="*/ 269069 w 4501379"/>
                    <a:gd name="connsiteY58" fmla="*/ 1152525 h 4429294"/>
                    <a:gd name="connsiteX59" fmla="*/ 297644 w 4501379"/>
                    <a:gd name="connsiteY59" fmla="*/ 1114425 h 4429294"/>
                    <a:gd name="connsiteX60" fmla="*/ 345269 w 4501379"/>
                    <a:gd name="connsiteY60" fmla="*/ 1038225 h 4429294"/>
                    <a:gd name="connsiteX61" fmla="*/ 364319 w 4501379"/>
                    <a:gd name="connsiteY61" fmla="*/ 1009650 h 4429294"/>
                    <a:gd name="connsiteX62" fmla="*/ 421469 w 4501379"/>
                    <a:gd name="connsiteY62" fmla="*/ 904875 h 4429294"/>
                    <a:gd name="connsiteX63" fmla="*/ 459569 w 4501379"/>
                    <a:gd name="connsiteY63" fmla="*/ 857250 h 4429294"/>
                    <a:gd name="connsiteX64" fmla="*/ 478619 w 4501379"/>
                    <a:gd name="connsiteY64" fmla="*/ 828675 h 4429294"/>
                    <a:gd name="connsiteX65" fmla="*/ 516719 w 4501379"/>
                    <a:gd name="connsiteY65" fmla="*/ 800100 h 4429294"/>
                    <a:gd name="connsiteX66" fmla="*/ 583394 w 4501379"/>
                    <a:gd name="connsiteY66" fmla="*/ 733425 h 4429294"/>
                    <a:gd name="connsiteX67" fmla="*/ 650069 w 4501379"/>
                    <a:gd name="connsiteY67" fmla="*/ 676275 h 4429294"/>
                    <a:gd name="connsiteX68" fmla="*/ 678644 w 4501379"/>
                    <a:gd name="connsiteY68" fmla="*/ 657225 h 4429294"/>
                    <a:gd name="connsiteX69" fmla="*/ 821519 w 4501379"/>
                    <a:gd name="connsiteY69" fmla="*/ 533400 h 4429294"/>
                    <a:gd name="connsiteX70" fmla="*/ 869144 w 4501379"/>
                    <a:gd name="connsiteY70" fmla="*/ 504825 h 4429294"/>
                    <a:gd name="connsiteX71" fmla="*/ 1148544 w 4501379"/>
                    <a:gd name="connsiteY71" fmla="*/ 311150 h 4429294"/>
                    <a:gd name="connsiteX72" fmla="*/ 1250144 w 4501379"/>
                    <a:gd name="connsiteY72" fmla="*/ 285750 h 4429294"/>
                    <a:gd name="connsiteX73" fmla="*/ 1393019 w 4501379"/>
                    <a:gd name="connsiteY73" fmla="*/ 190500 h 4429294"/>
                    <a:gd name="connsiteX74" fmla="*/ 1431119 w 4501379"/>
                    <a:gd name="connsiteY74" fmla="*/ 161925 h 4429294"/>
                    <a:gd name="connsiteX75" fmla="*/ 1507319 w 4501379"/>
                    <a:gd name="connsiteY75" fmla="*/ 152400 h 4429294"/>
                    <a:gd name="connsiteX76" fmla="*/ 1564469 w 4501379"/>
                    <a:gd name="connsiteY76" fmla="*/ 142875 h 4429294"/>
                    <a:gd name="connsiteX77" fmla="*/ 1697819 w 4501379"/>
                    <a:gd name="connsiteY77" fmla="*/ 123825 h 4429294"/>
                    <a:gd name="connsiteX78" fmla="*/ 1793069 w 4501379"/>
                    <a:gd name="connsiteY78" fmla="*/ 114300 h 4429294"/>
                    <a:gd name="connsiteX79" fmla="*/ 1840694 w 4501379"/>
                    <a:gd name="connsiteY79" fmla="*/ 104775 h 4429294"/>
                    <a:gd name="connsiteX80" fmla="*/ 1897844 w 4501379"/>
                    <a:gd name="connsiteY80" fmla="*/ 95250 h 4429294"/>
                    <a:gd name="connsiteX81" fmla="*/ 2012144 w 4501379"/>
                    <a:gd name="connsiteY81" fmla="*/ 66675 h 4429294"/>
                    <a:gd name="connsiteX82" fmla="*/ 2078819 w 4501379"/>
                    <a:gd name="connsiteY82" fmla="*/ 47625 h 4429294"/>
                    <a:gd name="connsiteX83" fmla="*/ 2145494 w 4501379"/>
                    <a:gd name="connsiteY8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402794 w 4501379"/>
                    <a:gd name="connsiteY7" fmla="*/ 323850 h 4429294"/>
                    <a:gd name="connsiteX8" fmla="*/ 3450419 w 4501379"/>
                    <a:gd name="connsiteY8" fmla="*/ 361950 h 4429294"/>
                    <a:gd name="connsiteX9" fmla="*/ 3498044 w 4501379"/>
                    <a:gd name="connsiteY9" fmla="*/ 390525 h 4429294"/>
                    <a:gd name="connsiteX10" fmla="*/ 3612344 w 4501379"/>
                    <a:gd name="connsiteY10" fmla="*/ 485775 h 4429294"/>
                    <a:gd name="connsiteX11" fmla="*/ 3726644 w 4501379"/>
                    <a:gd name="connsiteY11" fmla="*/ 542925 h 4429294"/>
                    <a:gd name="connsiteX12" fmla="*/ 3793319 w 4501379"/>
                    <a:gd name="connsiteY12" fmla="*/ 581025 h 4429294"/>
                    <a:gd name="connsiteX13" fmla="*/ 4009219 w 4501379"/>
                    <a:gd name="connsiteY13" fmla="*/ 819150 h 4429294"/>
                    <a:gd name="connsiteX14" fmla="*/ 4145744 w 4501379"/>
                    <a:gd name="connsiteY14" fmla="*/ 990600 h 4429294"/>
                    <a:gd name="connsiteX15" fmla="*/ 4231469 w 4501379"/>
                    <a:gd name="connsiteY15" fmla="*/ 1143000 h 4429294"/>
                    <a:gd name="connsiteX16" fmla="*/ 4288619 w 4501379"/>
                    <a:gd name="connsiteY16" fmla="*/ 1266825 h 4429294"/>
                    <a:gd name="connsiteX17" fmla="*/ 4326719 w 4501379"/>
                    <a:gd name="connsiteY17" fmla="*/ 1362075 h 4429294"/>
                    <a:gd name="connsiteX18" fmla="*/ 4374344 w 4501379"/>
                    <a:gd name="connsiteY18" fmla="*/ 1552575 h 4429294"/>
                    <a:gd name="connsiteX19" fmla="*/ 4412444 w 4501379"/>
                    <a:gd name="connsiteY19" fmla="*/ 1685925 h 4429294"/>
                    <a:gd name="connsiteX20" fmla="*/ 4501344 w 4501379"/>
                    <a:gd name="connsiteY20" fmla="*/ 2181225 h 4429294"/>
                    <a:gd name="connsiteX21" fmla="*/ 4428319 w 4501379"/>
                    <a:gd name="connsiteY21" fmla="*/ 2768600 h 4429294"/>
                    <a:gd name="connsiteX22" fmla="*/ 4364819 w 4501379"/>
                    <a:gd name="connsiteY22" fmla="*/ 2990850 h 4429294"/>
                    <a:gd name="connsiteX23" fmla="*/ 4260044 w 4501379"/>
                    <a:gd name="connsiteY23" fmla="*/ 3248025 h 4429294"/>
                    <a:gd name="connsiteX24" fmla="*/ 4164794 w 4501379"/>
                    <a:gd name="connsiteY24" fmla="*/ 3400425 h 4429294"/>
                    <a:gd name="connsiteX25" fmla="*/ 4040969 w 4501379"/>
                    <a:gd name="connsiteY25" fmla="*/ 3533775 h 4429294"/>
                    <a:gd name="connsiteX26" fmla="*/ 3936194 w 4501379"/>
                    <a:gd name="connsiteY26" fmla="*/ 3648075 h 4429294"/>
                    <a:gd name="connsiteX27" fmla="*/ 3640919 w 4501379"/>
                    <a:gd name="connsiteY27" fmla="*/ 3971925 h 4429294"/>
                    <a:gd name="connsiteX28" fmla="*/ 3498044 w 4501379"/>
                    <a:gd name="connsiteY28" fmla="*/ 4083050 h 4429294"/>
                    <a:gd name="connsiteX29" fmla="*/ 3202769 w 4501379"/>
                    <a:gd name="connsiteY29" fmla="*/ 4222750 h 4429294"/>
                    <a:gd name="connsiteX30" fmla="*/ 3050369 w 4501379"/>
                    <a:gd name="connsiteY30" fmla="*/ 4286250 h 4429294"/>
                    <a:gd name="connsiteX31" fmla="*/ 2917019 w 4501379"/>
                    <a:gd name="connsiteY31" fmla="*/ 4333875 h 4429294"/>
                    <a:gd name="connsiteX32" fmla="*/ 2793194 w 4501379"/>
                    <a:gd name="connsiteY32" fmla="*/ 4371975 h 4429294"/>
                    <a:gd name="connsiteX33" fmla="*/ 2561419 w 4501379"/>
                    <a:gd name="connsiteY33" fmla="*/ 4391025 h 4429294"/>
                    <a:gd name="connsiteX34" fmla="*/ 2107394 w 4501379"/>
                    <a:gd name="connsiteY34" fmla="*/ 4429125 h 4429294"/>
                    <a:gd name="connsiteX35" fmla="*/ 1916894 w 4501379"/>
                    <a:gd name="connsiteY35" fmla="*/ 4400550 h 4429294"/>
                    <a:gd name="connsiteX36" fmla="*/ 1554944 w 4501379"/>
                    <a:gd name="connsiteY36" fmla="*/ 4305300 h 4429294"/>
                    <a:gd name="connsiteX37" fmla="*/ 1313644 w 4501379"/>
                    <a:gd name="connsiteY37" fmla="*/ 4216400 h 4429294"/>
                    <a:gd name="connsiteX38" fmla="*/ 1145369 w 4501379"/>
                    <a:gd name="connsiteY38" fmla="*/ 4111625 h 4429294"/>
                    <a:gd name="connsiteX39" fmla="*/ 926294 w 4501379"/>
                    <a:gd name="connsiteY39" fmla="*/ 3968750 h 4429294"/>
                    <a:gd name="connsiteX40" fmla="*/ 592919 w 4501379"/>
                    <a:gd name="connsiteY40" fmla="*/ 3657600 h 4429294"/>
                    <a:gd name="connsiteX41" fmla="*/ 446869 w 4501379"/>
                    <a:gd name="connsiteY41" fmla="*/ 3470275 h 4429294"/>
                    <a:gd name="connsiteX42" fmla="*/ 316694 w 4501379"/>
                    <a:gd name="connsiteY42" fmla="*/ 3244850 h 4429294"/>
                    <a:gd name="connsiteX43" fmla="*/ 164294 w 4501379"/>
                    <a:gd name="connsiteY43" fmla="*/ 2892425 h 4429294"/>
                    <a:gd name="connsiteX44" fmla="*/ 56344 w 4501379"/>
                    <a:gd name="connsiteY44" fmla="*/ 2368550 h 4429294"/>
                    <a:gd name="connsiteX45" fmla="*/ 2369 w 4501379"/>
                    <a:gd name="connsiteY45" fmla="*/ 1905000 h 4429294"/>
                    <a:gd name="connsiteX46" fmla="*/ 11894 w 4501379"/>
                    <a:gd name="connsiteY46" fmla="*/ 1838325 h 4429294"/>
                    <a:gd name="connsiteX47" fmla="*/ 30944 w 4501379"/>
                    <a:gd name="connsiteY47" fmla="*/ 1781175 h 4429294"/>
                    <a:gd name="connsiteX48" fmla="*/ 40469 w 4501379"/>
                    <a:gd name="connsiteY48" fmla="*/ 1743075 h 4429294"/>
                    <a:gd name="connsiteX49" fmla="*/ 59519 w 4501379"/>
                    <a:gd name="connsiteY49" fmla="*/ 1685925 h 4429294"/>
                    <a:gd name="connsiteX50" fmla="*/ 69044 w 4501379"/>
                    <a:gd name="connsiteY50" fmla="*/ 1638300 h 4429294"/>
                    <a:gd name="connsiteX51" fmla="*/ 88094 w 4501379"/>
                    <a:gd name="connsiteY51" fmla="*/ 1590675 h 4429294"/>
                    <a:gd name="connsiteX52" fmla="*/ 116669 w 4501379"/>
                    <a:gd name="connsiteY52" fmla="*/ 1504950 h 4429294"/>
                    <a:gd name="connsiteX53" fmla="*/ 135719 w 4501379"/>
                    <a:gd name="connsiteY53" fmla="*/ 1419225 h 4429294"/>
                    <a:gd name="connsiteX54" fmla="*/ 211919 w 4501379"/>
                    <a:gd name="connsiteY54" fmla="*/ 1276350 h 4429294"/>
                    <a:gd name="connsiteX55" fmla="*/ 221444 w 4501379"/>
                    <a:gd name="connsiteY55" fmla="*/ 1247775 h 4429294"/>
                    <a:gd name="connsiteX56" fmla="*/ 250019 w 4501379"/>
                    <a:gd name="connsiteY56" fmla="*/ 1200150 h 4429294"/>
                    <a:gd name="connsiteX57" fmla="*/ 269069 w 4501379"/>
                    <a:gd name="connsiteY57" fmla="*/ 1152525 h 4429294"/>
                    <a:gd name="connsiteX58" fmla="*/ 297644 w 4501379"/>
                    <a:gd name="connsiteY58" fmla="*/ 1114425 h 4429294"/>
                    <a:gd name="connsiteX59" fmla="*/ 345269 w 4501379"/>
                    <a:gd name="connsiteY59" fmla="*/ 1038225 h 4429294"/>
                    <a:gd name="connsiteX60" fmla="*/ 364319 w 4501379"/>
                    <a:gd name="connsiteY60" fmla="*/ 1009650 h 4429294"/>
                    <a:gd name="connsiteX61" fmla="*/ 421469 w 4501379"/>
                    <a:gd name="connsiteY61" fmla="*/ 904875 h 4429294"/>
                    <a:gd name="connsiteX62" fmla="*/ 459569 w 4501379"/>
                    <a:gd name="connsiteY62" fmla="*/ 857250 h 4429294"/>
                    <a:gd name="connsiteX63" fmla="*/ 478619 w 4501379"/>
                    <a:gd name="connsiteY63" fmla="*/ 828675 h 4429294"/>
                    <a:gd name="connsiteX64" fmla="*/ 516719 w 4501379"/>
                    <a:gd name="connsiteY64" fmla="*/ 800100 h 4429294"/>
                    <a:gd name="connsiteX65" fmla="*/ 583394 w 4501379"/>
                    <a:gd name="connsiteY65" fmla="*/ 733425 h 4429294"/>
                    <a:gd name="connsiteX66" fmla="*/ 650069 w 4501379"/>
                    <a:gd name="connsiteY66" fmla="*/ 676275 h 4429294"/>
                    <a:gd name="connsiteX67" fmla="*/ 678644 w 4501379"/>
                    <a:gd name="connsiteY67" fmla="*/ 657225 h 4429294"/>
                    <a:gd name="connsiteX68" fmla="*/ 821519 w 4501379"/>
                    <a:gd name="connsiteY68" fmla="*/ 533400 h 4429294"/>
                    <a:gd name="connsiteX69" fmla="*/ 869144 w 4501379"/>
                    <a:gd name="connsiteY69" fmla="*/ 504825 h 4429294"/>
                    <a:gd name="connsiteX70" fmla="*/ 1148544 w 4501379"/>
                    <a:gd name="connsiteY70" fmla="*/ 311150 h 4429294"/>
                    <a:gd name="connsiteX71" fmla="*/ 1250144 w 4501379"/>
                    <a:gd name="connsiteY71" fmla="*/ 285750 h 4429294"/>
                    <a:gd name="connsiteX72" fmla="*/ 1393019 w 4501379"/>
                    <a:gd name="connsiteY72" fmla="*/ 190500 h 4429294"/>
                    <a:gd name="connsiteX73" fmla="*/ 1431119 w 4501379"/>
                    <a:gd name="connsiteY73" fmla="*/ 161925 h 4429294"/>
                    <a:gd name="connsiteX74" fmla="*/ 1507319 w 4501379"/>
                    <a:gd name="connsiteY74" fmla="*/ 152400 h 4429294"/>
                    <a:gd name="connsiteX75" fmla="*/ 1564469 w 4501379"/>
                    <a:gd name="connsiteY75" fmla="*/ 142875 h 4429294"/>
                    <a:gd name="connsiteX76" fmla="*/ 1697819 w 4501379"/>
                    <a:gd name="connsiteY76" fmla="*/ 123825 h 4429294"/>
                    <a:gd name="connsiteX77" fmla="*/ 1793069 w 4501379"/>
                    <a:gd name="connsiteY77" fmla="*/ 114300 h 4429294"/>
                    <a:gd name="connsiteX78" fmla="*/ 1840694 w 4501379"/>
                    <a:gd name="connsiteY78" fmla="*/ 104775 h 4429294"/>
                    <a:gd name="connsiteX79" fmla="*/ 1897844 w 4501379"/>
                    <a:gd name="connsiteY79" fmla="*/ 95250 h 4429294"/>
                    <a:gd name="connsiteX80" fmla="*/ 2012144 w 4501379"/>
                    <a:gd name="connsiteY80" fmla="*/ 66675 h 4429294"/>
                    <a:gd name="connsiteX81" fmla="*/ 2078819 w 4501379"/>
                    <a:gd name="connsiteY81" fmla="*/ 47625 h 4429294"/>
                    <a:gd name="connsiteX82" fmla="*/ 2145494 w 4501379"/>
                    <a:gd name="connsiteY8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307544 w 4501379"/>
                    <a:gd name="connsiteY5" fmla="*/ 266700 h 4429294"/>
                    <a:gd name="connsiteX6" fmla="*/ 3402794 w 4501379"/>
                    <a:gd name="connsiteY6" fmla="*/ 323850 h 4429294"/>
                    <a:gd name="connsiteX7" fmla="*/ 3450419 w 4501379"/>
                    <a:gd name="connsiteY7" fmla="*/ 361950 h 4429294"/>
                    <a:gd name="connsiteX8" fmla="*/ 3498044 w 4501379"/>
                    <a:gd name="connsiteY8" fmla="*/ 390525 h 4429294"/>
                    <a:gd name="connsiteX9" fmla="*/ 3612344 w 4501379"/>
                    <a:gd name="connsiteY9" fmla="*/ 485775 h 4429294"/>
                    <a:gd name="connsiteX10" fmla="*/ 3726644 w 4501379"/>
                    <a:gd name="connsiteY10" fmla="*/ 542925 h 4429294"/>
                    <a:gd name="connsiteX11" fmla="*/ 3793319 w 4501379"/>
                    <a:gd name="connsiteY11" fmla="*/ 581025 h 4429294"/>
                    <a:gd name="connsiteX12" fmla="*/ 4009219 w 4501379"/>
                    <a:gd name="connsiteY12" fmla="*/ 819150 h 4429294"/>
                    <a:gd name="connsiteX13" fmla="*/ 4145744 w 4501379"/>
                    <a:gd name="connsiteY13" fmla="*/ 990600 h 4429294"/>
                    <a:gd name="connsiteX14" fmla="*/ 4231469 w 4501379"/>
                    <a:gd name="connsiteY14" fmla="*/ 1143000 h 4429294"/>
                    <a:gd name="connsiteX15" fmla="*/ 4288619 w 4501379"/>
                    <a:gd name="connsiteY15" fmla="*/ 1266825 h 4429294"/>
                    <a:gd name="connsiteX16" fmla="*/ 4326719 w 4501379"/>
                    <a:gd name="connsiteY16" fmla="*/ 1362075 h 4429294"/>
                    <a:gd name="connsiteX17" fmla="*/ 4374344 w 4501379"/>
                    <a:gd name="connsiteY17" fmla="*/ 1552575 h 4429294"/>
                    <a:gd name="connsiteX18" fmla="*/ 4412444 w 4501379"/>
                    <a:gd name="connsiteY18" fmla="*/ 1685925 h 4429294"/>
                    <a:gd name="connsiteX19" fmla="*/ 4501344 w 4501379"/>
                    <a:gd name="connsiteY19" fmla="*/ 2181225 h 4429294"/>
                    <a:gd name="connsiteX20" fmla="*/ 4428319 w 4501379"/>
                    <a:gd name="connsiteY20" fmla="*/ 2768600 h 4429294"/>
                    <a:gd name="connsiteX21" fmla="*/ 4364819 w 4501379"/>
                    <a:gd name="connsiteY21" fmla="*/ 2990850 h 4429294"/>
                    <a:gd name="connsiteX22" fmla="*/ 4260044 w 4501379"/>
                    <a:gd name="connsiteY22" fmla="*/ 3248025 h 4429294"/>
                    <a:gd name="connsiteX23" fmla="*/ 4164794 w 4501379"/>
                    <a:gd name="connsiteY23" fmla="*/ 3400425 h 4429294"/>
                    <a:gd name="connsiteX24" fmla="*/ 4040969 w 4501379"/>
                    <a:gd name="connsiteY24" fmla="*/ 3533775 h 4429294"/>
                    <a:gd name="connsiteX25" fmla="*/ 3936194 w 4501379"/>
                    <a:gd name="connsiteY25" fmla="*/ 3648075 h 4429294"/>
                    <a:gd name="connsiteX26" fmla="*/ 3640919 w 4501379"/>
                    <a:gd name="connsiteY26" fmla="*/ 3971925 h 4429294"/>
                    <a:gd name="connsiteX27" fmla="*/ 3498044 w 4501379"/>
                    <a:gd name="connsiteY27" fmla="*/ 4083050 h 4429294"/>
                    <a:gd name="connsiteX28" fmla="*/ 3202769 w 4501379"/>
                    <a:gd name="connsiteY28" fmla="*/ 4222750 h 4429294"/>
                    <a:gd name="connsiteX29" fmla="*/ 3050369 w 4501379"/>
                    <a:gd name="connsiteY29" fmla="*/ 4286250 h 4429294"/>
                    <a:gd name="connsiteX30" fmla="*/ 2917019 w 4501379"/>
                    <a:gd name="connsiteY30" fmla="*/ 4333875 h 4429294"/>
                    <a:gd name="connsiteX31" fmla="*/ 2793194 w 4501379"/>
                    <a:gd name="connsiteY31" fmla="*/ 4371975 h 4429294"/>
                    <a:gd name="connsiteX32" fmla="*/ 2561419 w 4501379"/>
                    <a:gd name="connsiteY32" fmla="*/ 4391025 h 4429294"/>
                    <a:gd name="connsiteX33" fmla="*/ 2107394 w 4501379"/>
                    <a:gd name="connsiteY33" fmla="*/ 4429125 h 4429294"/>
                    <a:gd name="connsiteX34" fmla="*/ 1916894 w 4501379"/>
                    <a:gd name="connsiteY34" fmla="*/ 4400550 h 4429294"/>
                    <a:gd name="connsiteX35" fmla="*/ 1554944 w 4501379"/>
                    <a:gd name="connsiteY35" fmla="*/ 4305300 h 4429294"/>
                    <a:gd name="connsiteX36" fmla="*/ 1313644 w 4501379"/>
                    <a:gd name="connsiteY36" fmla="*/ 4216400 h 4429294"/>
                    <a:gd name="connsiteX37" fmla="*/ 1145369 w 4501379"/>
                    <a:gd name="connsiteY37" fmla="*/ 4111625 h 4429294"/>
                    <a:gd name="connsiteX38" fmla="*/ 926294 w 4501379"/>
                    <a:gd name="connsiteY38" fmla="*/ 3968750 h 4429294"/>
                    <a:gd name="connsiteX39" fmla="*/ 592919 w 4501379"/>
                    <a:gd name="connsiteY39" fmla="*/ 3657600 h 4429294"/>
                    <a:gd name="connsiteX40" fmla="*/ 446869 w 4501379"/>
                    <a:gd name="connsiteY40" fmla="*/ 3470275 h 4429294"/>
                    <a:gd name="connsiteX41" fmla="*/ 316694 w 4501379"/>
                    <a:gd name="connsiteY41" fmla="*/ 3244850 h 4429294"/>
                    <a:gd name="connsiteX42" fmla="*/ 164294 w 4501379"/>
                    <a:gd name="connsiteY42" fmla="*/ 2892425 h 4429294"/>
                    <a:gd name="connsiteX43" fmla="*/ 56344 w 4501379"/>
                    <a:gd name="connsiteY43" fmla="*/ 2368550 h 4429294"/>
                    <a:gd name="connsiteX44" fmla="*/ 2369 w 4501379"/>
                    <a:gd name="connsiteY44" fmla="*/ 1905000 h 4429294"/>
                    <a:gd name="connsiteX45" fmla="*/ 11894 w 4501379"/>
                    <a:gd name="connsiteY45" fmla="*/ 1838325 h 4429294"/>
                    <a:gd name="connsiteX46" fmla="*/ 30944 w 4501379"/>
                    <a:gd name="connsiteY46" fmla="*/ 1781175 h 4429294"/>
                    <a:gd name="connsiteX47" fmla="*/ 40469 w 4501379"/>
                    <a:gd name="connsiteY47" fmla="*/ 1743075 h 4429294"/>
                    <a:gd name="connsiteX48" fmla="*/ 59519 w 4501379"/>
                    <a:gd name="connsiteY48" fmla="*/ 1685925 h 4429294"/>
                    <a:gd name="connsiteX49" fmla="*/ 69044 w 4501379"/>
                    <a:gd name="connsiteY49" fmla="*/ 1638300 h 4429294"/>
                    <a:gd name="connsiteX50" fmla="*/ 88094 w 4501379"/>
                    <a:gd name="connsiteY50" fmla="*/ 1590675 h 4429294"/>
                    <a:gd name="connsiteX51" fmla="*/ 116669 w 4501379"/>
                    <a:gd name="connsiteY51" fmla="*/ 1504950 h 4429294"/>
                    <a:gd name="connsiteX52" fmla="*/ 135719 w 4501379"/>
                    <a:gd name="connsiteY52" fmla="*/ 1419225 h 4429294"/>
                    <a:gd name="connsiteX53" fmla="*/ 211919 w 4501379"/>
                    <a:gd name="connsiteY53" fmla="*/ 1276350 h 4429294"/>
                    <a:gd name="connsiteX54" fmla="*/ 221444 w 4501379"/>
                    <a:gd name="connsiteY54" fmla="*/ 1247775 h 4429294"/>
                    <a:gd name="connsiteX55" fmla="*/ 250019 w 4501379"/>
                    <a:gd name="connsiteY55" fmla="*/ 1200150 h 4429294"/>
                    <a:gd name="connsiteX56" fmla="*/ 269069 w 4501379"/>
                    <a:gd name="connsiteY56" fmla="*/ 1152525 h 4429294"/>
                    <a:gd name="connsiteX57" fmla="*/ 297644 w 4501379"/>
                    <a:gd name="connsiteY57" fmla="*/ 1114425 h 4429294"/>
                    <a:gd name="connsiteX58" fmla="*/ 345269 w 4501379"/>
                    <a:gd name="connsiteY58" fmla="*/ 1038225 h 4429294"/>
                    <a:gd name="connsiteX59" fmla="*/ 364319 w 4501379"/>
                    <a:gd name="connsiteY59" fmla="*/ 1009650 h 4429294"/>
                    <a:gd name="connsiteX60" fmla="*/ 421469 w 4501379"/>
                    <a:gd name="connsiteY60" fmla="*/ 904875 h 4429294"/>
                    <a:gd name="connsiteX61" fmla="*/ 459569 w 4501379"/>
                    <a:gd name="connsiteY61" fmla="*/ 857250 h 4429294"/>
                    <a:gd name="connsiteX62" fmla="*/ 478619 w 4501379"/>
                    <a:gd name="connsiteY62" fmla="*/ 828675 h 4429294"/>
                    <a:gd name="connsiteX63" fmla="*/ 516719 w 4501379"/>
                    <a:gd name="connsiteY63" fmla="*/ 800100 h 4429294"/>
                    <a:gd name="connsiteX64" fmla="*/ 583394 w 4501379"/>
                    <a:gd name="connsiteY64" fmla="*/ 733425 h 4429294"/>
                    <a:gd name="connsiteX65" fmla="*/ 650069 w 4501379"/>
                    <a:gd name="connsiteY65" fmla="*/ 676275 h 4429294"/>
                    <a:gd name="connsiteX66" fmla="*/ 678644 w 4501379"/>
                    <a:gd name="connsiteY66" fmla="*/ 657225 h 4429294"/>
                    <a:gd name="connsiteX67" fmla="*/ 821519 w 4501379"/>
                    <a:gd name="connsiteY67" fmla="*/ 533400 h 4429294"/>
                    <a:gd name="connsiteX68" fmla="*/ 869144 w 4501379"/>
                    <a:gd name="connsiteY68" fmla="*/ 504825 h 4429294"/>
                    <a:gd name="connsiteX69" fmla="*/ 1148544 w 4501379"/>
                    <a:gd name="connsiteY69" fmla="*/ 311150 h 4429294"/>
                    <a:gd name="connsiteX70" fmla="*/ 1250144 w 4501379"/>
                    <a:gd name="connsiteY70" fmla="*/ 285750 h 4429294"/>
                    <a:gd name="connsiteX71" fmla="*/ 1393019 w 4501379"/>
                    <a:gd name="connsiteY71" fmla="*/ 190500 h 4429294"/>
                    <a:gd name="connsiteX72" fmla="*/ 1431119 w 4501379"/>
                    <a:gd name="connsiteY72" fmla="*/ 161925 h 4429294"/>
                    <a:gd name="connsiteX73" fmla="*/ 1507319 w 4501379"/>
                    <a:gd name="connsiteY73" fmla="*/ 152400 h 4429294"/>
                    <a:gd name="connsiteX74" fmla="*/ 1564469 w 4501379"/>
                    <a:gd name="connsiteY74" fmla="*/ 142875 h 4429294"/>
                    <a:gd name="connsiteX75" fmla="*/ 1697819 w 4501379"/>
                    <a:gd name="connsiteY75" fmla="*/ 123825 h 4429294"/>
                    <a:gd name="connsiteX76" fmla="*/ 1793069 w 4501379"/>
                    <a:gd name="connsiteY76" fmla="*/ 114300 h 4429294"/>
                    <a:gd name="connsiteX77" fmla="*/ 1840694 w 4501379"/>
                    <a:gd name="connsiteY77" fmla="*/ 104775 h 4429294"/>
                    <a:gd name="connsiteX78" fmla="*/ 1897844 w 4501379"/>
                    <a:gd name="connsiteY78" fmla="*/ 95250 h 4429294"/>
                    <a:gd name="connsiteX79" fmla="*/ 2012144 w 4501379"/>
                    <a:gd name="connsiteY79" fmla="*/ 66675 h 4429294"/>
                    <a:gd name="connsiteX80" fmla="*/ 2078819 w 4501379"/>
                    <a:gd name="connsiteY80" fmla="*/ 47625 h 4429294"/>
                    <a:gd name="connsiteX81" fmla="*/ 2145494 w 4501379"/>
                    <a:gd name="connsiteY8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498044 w 4501379"/>
                    <a:gd name="connsiteY7" fmla="*/ 390525 h 4429294"/>
                    <a:gd name="connsiteX8" fmla="*/ 3612344 w 4501379"/>
                    <a:gd name="connsiteY8" fmla="*/ 485775 h 4429294"/>
                    <a:gd name="connsiteX9" fmla="*/ 3726644 w 4501379"/>
                    <a:gd name="connsiteY9" fmla="*/ 542925 h 4429294"/>
                    <a:gd name="connsiteX10" fmla="*/ 3793319 w 4501379"/>
                    <a:gd name="connsiteY10" fmla="*/ 581025 h 4429294"/>
                    <a:gd name="connsiteX11" fmla="*/ 4009219 w 4501379"/>
                    <a:gd name="connsiteY11" fmla="*/ 819150 h 4429294"/>
                    <a:gd name="connsiteX12" fmla="*/ 4145744 w 4501379"/>
                    <a:gd name="connsiteY12" fmla="*/ 990600 h 4429294"/>
                    <a:gd name="connsiteX13" fmla="*/ 4231469 w 4501379"/>
                    <a:gd name="connsiteY13" fmla="*/ 1143000 h 4429294"/>
                    <a:gd name="connsiteX14" fmla="*/ 4288619 w 4501379"/>
                    <a:gd name="connsiteY14" fmla="*/ 1266825 h 4429294"/>
                    <a:gd name="connsiteX15" fmla="*/ 4326719 w 4501379"/>
                    <a:gd name="connsiteY15" fmla="*/ 1362075 h 4429294"/>
                    <a:gd name="connsiteX16" fmla="*/ 4374344 w 4501379"/>
                    <a:gd name="connsiteY16" fmla="*/ 1552575 h 4429294"/>
                    <a:gd name="connsiteX17" fmla="*/ 4412444 w 4501379"/>
                    <a:gd name="connsiteY17" fmla="*/ 1685925 h 4429294"/>
                    <a:gd name="connsiteX18" fmla="*/ 4501344 w 4501379"/>
                    <a:gd name="connsiteY18" fmla="*/ 2181225 h 4429294"/>
                    <a:gd name="connsiteX19" fmla="*/ 4428319 w 4501379"/>
                    <a:gd name="connsiteY19" fmla="*/ 2768600 h 4429294"/>
                    <a:gd name="connsiteX20" fmla="*/ 4364819 w 4501379"/>
                    <a:gd name="connsiteY20" fmla="*/ 2990850 h 4429294"/>
                    <a:gd name="connsiteX21" fmla="*/ 4260044 w 4501379"/>
                    <a:gd name="connsiteY21" fmla="*/ 3248025 h 4429294"/>
                    <a:gd name="connsiteX22" fmla="*/ 4164794 w 4501379"/>
                    <a:gd name="connsiteY22" fmla="*/ 3400425 h 4429294"/>
                    <a:gd name="connsiteX23" fmla="*/ 4040969 w 4501379"/>
                    <a:gd name="connsiteY23" fmla="*/ 3533775 h 4429294"/>
                    <a:gd name="connsiteX24" fmla="*/ 3936194 w 4501379"/>
                    <a:gd name="connsiteY24" fmla="*/ 3648075 h 4429294"/>
                    <a:gd name="connsiteX25" fmla="*/ 3640919 w 4501379"/>
                    <a:gd name="connsiteY25" fmla="*/ 3971925 h 4429294"/>
                    <a:gd name="connsiteX26" fmla="*/ 3498044 w 4501379"/>
                    <a:gd name="connsiteY26" fmla="*/ 4083050 h 4429294"/>
                    <a:gd name="connsiteX27" fmla="*/ 3202769 w 4501379"/>
                    <a:gd name="connsiteY27" fmla="*/ 4222750 h 4429294"/>
                    <a:gd name="connsiteX28" fmla="*/ 3050369 w 4501379"/>
                    <a:gd name="connsiteY28" fmla="*/ 4286250 h 4429294"/>
                    <a:gd name="connsiteX29" fmla="*/ 2917019 w 4501379"/>
                    <a:gd name="connsiteY29" fmla="*/ 4333875 h 4429294"/>
                    <a:gd name="connsiteX30" fmla="*/ 2793194 w 4501379"/>
                    <a:gd name="connsiteY30" fmla="*/ 4371975 h 4429294"/>
                    <a:gd name="connsiteX31" fmla="*/ 2561419 w 4501379"/>
                    <a:gd name="connsiteY31" fmla="*/ 4391025 h 4429294"/>
                    <a:gd name="connsiteX32" fmla="*/ 2107394 w 4501379"/>
                    <a:gd name="connsiteY32" fmla="*/ 4429125 h 4429294"/>
                    <a:gd name="connsiteX33" fmla="*/ 1916894 w 4501379"/>
                    <a:gd name="connsiteY33" fmla="*/ 4400550 h 4429294"/>
                    <a:gd name="connsiteX34" fmla="*/ 1554944 w 4501379"/>
                    <a:gd name="connsiteY34" fmla="*/ 4305300 h 4429294"/>
                    <a:gd name="connsiteX35" fmla="*/ 1313644 w 4501379"/>
                    <a:gd name="connsiteY35" fmla="*/ 4216400 h 4429294"/>
                    <a:gd name="connsiteX36" fmla="*/ 1145369 w 4501379"/>
                    <a:gd name="connsiteY36" fmla="*/ 4111625 h 4429294"/>
                    <a:gd name="connsiteX37" fmla="*/ 926294 w 4501379"/>
                    <a:gd name="connsiteY37" fmla="*/ 3968750 h 4429294"/>
                    <a:gd name="connsiteX38" fmla="*/ 592919 w 4501379"/>
                    <a:gd name="connsiteY38" fmla="*/ 3657600 h 4429294"/>
                    <a:gd name="connsiteX39" fmla="*/ 446869 w 4501379"/>
                    <a:gd name="connsiteY39" fmla="*/ 3470275 h 4429294"/>
                    <a:gd name="connsiteX40" fmla="*/ 316694 w 4501379"/>
                    <a:gd name="connsiteY40" fmla="*/ 3244850 h 4429294"/>
                    <a:gd name="connsiteX41" fmla="*/ 164294 w 4501379"/>
                    <a:gd name="connsiteY41" fmla="*/ 2892425 h 4429294"/>
                    <a:gd name="connsiteX42" fmla="*/ 56344 w 4501379"/>
                    <a:gd name="connsiteY42" fmla="*/ 2368550 h 4429294"/>
                    <a:gd name="connsiteX43" fmla="*/ 2369 w 4501379"/>
                    <a:gd name="connsiteY43" fmla="*/ 1905000 h 4429294"/>
                    <a:gd name="connsiteX44" fmla="*/ 11894 w 4501379"/>
                    <a:gd name="connsiteY44" fmla="*/ 1838325 h 4429294"/>
                    <a:gd name="connsiteX45" fmla="*/ 30944 w 4501379"/>
                    <a:gd name="connsiteY45" fmla="*/ 1781175 h 4429294"/>
                    <a:gd name="connsiteX46" fmla="*/ 40469 w 4501379"/>
                    <a:gd name="connsiteY46" fmla="*/ 1743075 h 4429294"/>
                    <a:gd name="connsiteX47" fmla="*/ 59519 w 4501379"/>
                    <a:gd name="connsiteY47" fmla="*/ 1685925 h 4429294"/>
                    <a:gd name="connsiteX48" fmla="*/ 69044 w 4501379"/>
                    <a:gd name="connsiteY48" fmla="*/ 1638300 h 4429294"/>
                    <a:gd name="connsiteX49" fmla="*/ 88094 w 4501379"/>
                    <a:gd name="connsiteY49" fmla="*/ 1590675 h 4429294"/>
                    <a:gd name="connsiteX50" fmla="*/ 116669 w 4501379"/>
                    <a:gd name="connsiteY50" fmla="*/ 1504950 h 4429294"/>
                    <a:gd name="connsiteX51" fmla="*/ 135719 w 4501379"/>
                    <a:gd name="connsiteY51" fmla="*/ 1419225 h 4429294"/>
                    <a:gd name="connsiteX52" fmla="*/ 211919 w 4501379"/>
                    <a:gd name="connsiteY52" fmla="*/ 1276350 h 4429294"/>
                    <a:gd name="connsiteX53" fmla="*/ 221444 w 4501379"/>
                    <a:gd name="connsiteY53" fmla="*/ 1247775 h 4429294"/>
                    <a:gd name="connsiteX54" fmla="*/ 250019 w 4501379"/>
                    <a:gd name="connsiteY54" fmla="*/ 1200150 h 4429294"/>
                    <a:gd name="connsiteX55" fmla="*/ 269069 w 4501379"/>
                    <a:gd name="connsiteY55" fmla="*/ 1152525 h 4429294"/>
                    <a:gd name="connsiteX56" fmla="*/ 297644 w 4501379"/>
                    <a:gd name="connsiteY56" fmla="*/ 1114425 h 4429294"/>
                    <a:gd name="connsiteX57" fmla="*/ 345269 w 4501379"/>
                    <a:gd name="connsiteY57" fmla="*/ 1038225 h 4429294"/>
                    <a:gd name="connsiteX58" fmla="*/ 364319 w 4501379"/>
                    <a:gd name="connsiteY58" fmla="*/ 1009650 h 4429294"/>
                    <a:gd name="connsiteX59" fmla="*/ 421469 w 4501379"/>
                    <a:gd name="connsiteY59" fmla="*/ 904875 h 4429294"/>
                    <a:gd name="connsiteX60" fmla="*/ 459569 w 4501379"/>
                    <a:gd name="connsiteY60" fmla="*/ 857250 h 4429294"/>
                    <a:gd name="connsiteX61" fmla="*/ 478619 w 4501379"/>
                    <a:gd name="connsiteY61" fmla="*/ 828675 h 4429294"/>
                    <a:gd name="connsiteX62" fmla="*/ 516719 w 4501379"/>
                    <a:gd name="connsiteY62" fmla="*/ 800100 h 4429294"/>
                    <a:gd name="connsiteX63" fmla="*/ 583394 w 4501379"/>
                    <a:gd name="connsiteY63" fmla="*/ 733425 h 4429294"/>
                    <a:gd name="connsiteX64" fmla="*/ 650069 w 4501379"/>
                    <a:gd name="connsiteY64" fmla="*/ 676275 h 4429294"/>
                    <a:gd name="connsiteX65" fmla="*/ 678644 w 4501379"/>
                    <a:gd name="connsiteY65" fmla="*/ 657225 h 4429294"/>
                    <a:gd name="connsiteX66" fmla="*/ 821519 w 4501379"/>
                    <a:gd name="connsiteY66" fmla="*/ 533400 h 4429294"/>
                    <a:gd name="connsiteX67" fmla="*/ 869144 w 4501379"/>
                    <a:gd name="connsiteY67" fmla="*/ 504825 h 4429294"/>
                    <a:gd name="connsiteX68" fmla="*/ 1148544 w 4501379"/>
                    <a:gd name="connsiteY68" fmla="*/ 311150 h 4429294"/>
                    <a:gd name="connsiteX69" fmla="*/ 1250144 w 4501379"/>
                    <a:gd name="connsiteY69" fmla="*/ 285750 h 4429294"/>
                    <a:gd name="connsiteX70" fmla="*/ 1393019 w 4501379"/>
                    <a:gd name="connsiteY70" fmla="*/ 190500 h 4429294"/>
                    <a:gd name="connsiteX71" fmla="*/ 1431119 w 4501379"/>
                    <a:gd name="connsiteY71" fmla="*/ 161925 h 4429294"/>
                    <a:gd name="connsiteX72" fmla="*/ 1507319 w 4501379"/>
                    <a:gd name="connsiteY72" fmla="*/ 152400 h 4429294"/>
                    <a:gd name="connsiteX73" fmla="*/ 1564469 w 4501379"/>
                    <a:gd name="connsiteY73" fmla="*/ 142875 h 4429294"/>
                    <a:gd name="connsiteX74" fmla="*/ 1697819 w 4501379"/>
                    <a:gd name="connsiteY74" fmla="*/ 123825 h 4429294"/>
                    <a:gd name="connsiteX75" fmla="*/ 1793069 w 4501379"/>
                    <a:gd name="connsiteY75" fmla="*/ 114300 h 4429294"/>
                    <a:gd name="connsiteX76" fmla="*/ 1840694 w 4501379"/>
                    <a:gd name="connsiteY76" fmla="*/ 104775 h 4429294"/>
                    <a:gd name="connsiteX77" fmla="*/ 1897844 w 4501379"/>
                    <a:gd name="connsiteY77" fmla="*/ 95250 h 4429294"/>
                    <a:gd name="connsiteX78" fmla="*/ 2012144 w 4501379"/>
                    <a:gd name="connsiteY78" fmla="*/ 66675 h 4429294"/>
                    <a:gd name="connsiteX79" fmla="*/ 2078819 w 4501379"/>
                    <a:gd name="connsiteY79" fmla="*/ 47625 h 4429294"/>
                    <a:gd name="connsiteX80" fmla="*/ 2145494 w 4501379"/>
                    <a:gd name="connsiteY8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612344 w 4501379"/>
                    <a:gd name="connsiteY7" fmla="*/ 485775 h 4429294"/>
                    <a:gd name="connsiteX8" fmla="*/ 3726644 w 4501379"/>
                    <a:gd name="connsiteY8" fmla="*/ 542925 h 4429294"/>
                    <a:gd name="connsiteX9" fmla="*/ 3793319 w 4501379"/>
                    <a:gd name="connsiteY9" fmla="*/ 581025 h 4429294"/>
                    <a:gd name="connsiteX10" fmla="*/ 4009219 w 4501379"/>
                    <a:gd name="connsiteY10" fmla="*/ 819150 h 4429294"/>
                    <a:gd name="connsiteX11" fmla="*/ 4145744 w 4501379"/>
                    <a:gd name="connsiteY11" fmla="*/ 990600 h 4429294"/>
                    <a:gd name="connsiteX12" fmla="*/ 4231469 w 4501379"/>
                    <a:gd name="connsiteY12" fmla="*/ 1143000 h 4429294"/>
                    <a:gd name="connsiteX13" fmla="*/ 4288619 w 4501379"/>
                    <a:gd name="connsiteY13" fmla="*/ 1266825 h 4429294"/>
                    <a:gd name="connsiteX14" fmla="*/ 4326719 w 4501379"/>
                    <a:gd name="connsiteY14" fmla="*/ 1362075 h 4429294"/>
                    <a:gd name="connsiteX15" fmla="*/ 4374344 w 4501379"/>
                    <a:gd name="connsiteY15" fmla="*/ 1552575 h 4429294"/>
                    <a:gd name="connsiteX16" fmla="*/ 4412444 w 4501379"/>
                    <a:gd name="connsiteY16" fmla="*/ 1685925 h 4429294"/>
                    <a:gd name="connsiteX17" fmla="*/ 4501344 w 4501379"/>
                    <a:gd name="connsiteY17" fmla="*/ 2181225 h 4429294"/>
                    <a:gd name="connsiteX18" fmla="*/ 4428319 w 4501379"/>
                    <a:gd name="connsiteY18" fmla="*/ 2768600 h 4429294"/>
                    <a:gd name="connsiteX19" fmla="*/ 4364819 w 4501379"/>
                    <a:gd name="connsiteY19" fmla="*/ 2990850 h 4429294"/>
                    <a:gd name="connsiteX20" fmla="*/ 4260044 w 4501379"/>
                    <a:gd name="connsiteY20" fmla="*/ 3248025 h 4429294"/>
                    <a:gd name="connsiteX21" fmla="*/ 4164794 w 4501379"/>
                    <a:gd name="connsiteY21" fmla="*/ 3400425 h 4429294"/>
                    <a:gd name="connsiteX22" fmla="*/ 4040969 w 4501379"/>
                    <a:gd name="connsiteY22" fmla="*/ 3533775 h 4429294"/>
                    <a:gd name="connsiteX23" fmla="*/ 3936194 w 4501379"/>
                    <a:gd name="connsiteY23" fmla="*/ 3648075 h 4429294"/>
                    <a:gd name="connsiteX24" fmla="*/ 3640919 w 4501379"/>
                    <a:gd name="connsiteY24" fmla="*/ 3971925 h 4429294"/>
                    <a:gd name="connsiteX25" fmla="*/ 3498044 w 4501379"/>
                    <a:gd name="connsiteY25" fmla="*/ 4083050 h 4429294"/>
                    <a:gd name="connsiteX26" fmla="*/ 3202769 w 4501379"/>
                    <a:gd name="connsiteY26" fmla="*/ 4222750 h 4429294"/>
                    <a:gd name="connsiteX27" fmla="*/ 3050369 w 4501379"/>
                    <a:gd name="connsiteY27" fmla="*/ 4286250 h 4429294"/>
                    <a:gd name="connsiteX28" fmla="*/ 2917019 w 4501379"/>
                    <a:gd name="connsiteY28" fmla="*/ 4333875 h 4429294"/>
                    <a:gd name="connsiteX29" fmla="*/ 2793194 w 4501379"/>
                    <a:gd name="connsiteY29" fmla="*/ 4371975 h 4429294"/>
                    <a:gd name="connsiteX30" fmla="*/ 2561419 w 4501379"/>
                    <a:gd name="connsiteY30" fmla="*/ 4391025 h 4429294"/>
                    <a:gd name="connsiteX31" fmla="*/ 2107394 w 4501379"/>
                    <a:gd name="connsiteY31" fmla="*/ 4429125 h 4429294"/>
                    <a:gd name="connsiteX32" fmla="*/ 1916894 w 4501379"/>
                    <a:gd name="connsiteY32" fmla="*/ 4400550 h 4429294"/>
                    <a:gd name="connsiteX33" fmla="*/ 1554944 w 4501379"/>
                    <a:gd name="connsiteY33" fmla="*/ 4305300 h 4429294"/>
                    <a:gd name="connsiteX34" fmla="*/ 1313644 w 4501379"/>
                    <a:gd name="connsiteY34" fmla="*/ 4216400 h 4429294"/>
                    <a:gd name="connsiteX35" fmla="*/ 1145369 w 4501379"/>
                    <a:gd name="connsiteY35" fmla="*/ 4111625 h 4429294"/>
                    <a:gd name="connsiteX36" fmla="*/ 926294 w 4501379"/>
                    <a:gd name="connsiteY36" fmla="*/ 3968750 h 4429294"/>
                    <a:gd name="connsiteX37" fmla="*/ 592919 w 4501379"/>
                    <a:gd name="connsiteY37" fmla="*/ 3657600 h 4429294"/>
                    <a:gd name="connsiteX38" fmla="*/ 446869 w 4501379"/>
                    <a:gd name="connsiteY38" fmla="*/ 3470275 h 4429294"/>
                    <a:gd name="connsiteX39" fmla="*/ 316694 w 4501379"/>
                    <a:gd name="connsiteY39" fmla="*/ 3244850 h 4429294"/>
                    <a:gd name="connsiteX40" fmla="*/ 164294 w 4501379"/>
                    <a:gd name="connsiteY40" fmla="*/ 2892425 h 4429294"/>
                    <a:gd name="connsiteX41" fmla="*/ 56344 w 4501379"/>
                    <a:gd name="connsiteY41" fmla="*/ 2368550 h 4429294"/>
                    <a:gd name="connsiteX42" fmla="*/ 2369 w 4501379"/>
                    <a:gd name="connsiteY42" fmla="*/ 1905000 h 4429294"/>
                    <a:gd name="connsiteX43" fmla="*/ 11894 w 4501379"/>
                    <a:gd name="connsiteY43" fmla="*/ 1838325 h 4429294"/>
                    <a:gd name="connsiteX44" fmla="*/ 30944 w 4501379"/>
                    <a:gd name="connsiteY44" fmla="*/ 1781175 h 4429294"/>
                    <a:gd name="connsiteX45" fmla="*/ 40469 w 4501379"/>
                    <a:gd name="connsiteY45" fmla="*/ 1743075 h 4429294"/>
                    <a:gd name="connsiteX46" fmla="*/ 59519 w 4501379"/>
                    <a:gd name="connsiteY46" fmla="*/ 1685925 h 4429294"/>
                    <a:gd name="connsiteX47" fmla="*/ 69044 w 4501379"/>
                    <a:gd name="connsiteY47" fmla="*/ 1638300 h 4429294"/>
                    <a:gd name="connsiteX48" fmla="*/ 88094 w 4501379"/>
                    <a:gd name="connsiteY48" fmla="*/ 1590675 h 4429294"/>
                    <a:gd name="connsiteX49" fmla="*/ 116669 w 4501379"/>
                    <a:gd name="connsiteY49" fmla="*/ 1504950 h 4429294"/>
                    <a:gd name="connsiteX50" fmla="*/ 135719 w 4501379"/>
                    <a:gd name="connsiteY50" fmla="*/ 1419225 h 4429294"/>
                    <a:gd name="connsiteX51" fmla="*/ 211919 w 4501379"/>
                    <a:gd name="connsiteY51" fmla="*/ 1276350 h 4429294"/>
                    <a:gd name="connsiteX52" fmla="*/ 221444 w 4501379"/>
                    <a:gd name="connsiteY52" fmla="*/ 1247775 h 4429294"/>
                    <a:gd name="connsiteX53" fmla="*/ 250019 w 4501379"/>
                    <a:gd name="connsiteY53" fmla="*/ 1200150 h 4429294"/>
                    <a:gd name="connsiteX54" fmla="*/ 269069 w 4501379"/>
                    <a:gd name="connsiteY54" fmla="*/ 1152525 h 4429294"/>
                    <a:gd name="connsiteX55" fmla="*/ 297644 w 4501379"/>
                    <a:gd name="connsiteY55" fmla="*/ 1114425 h 4429294"/>
                    <a:gd name="connsiteX56" fmla="*/ 345269 w 4501379"/>
                    <a:gd name="connsiteY56" fmla="*/ 1038225 h 4429294"/>
                    <a:gd name="connsiteX57" fmla="*/ 364319 w 4501379"/>
                    <a:gd name="connsiteY57" fmla="*/ 1009650 h 4429294"/>
                    <a:gd name="connsiteX58" fmla="*/ 421469 w 4501379"/>
                    <a:gd name="connsiteY58" fmla="*/ 904875 h 4429294"/>
                    <a:gd name="connsiteX59" fmla="*/ 459569 w 4501379"/>
                    <a:gd name="connsiteY59" fmla="*/ 857250 h 4429294"/>
                    <a:gd name="connsiteX60" fmla="*/ 478619 w 4501379"/>
                    <a:gd name="connsiteY60" fmla="*/ 828675 h 4429294"/>
                    <a:gd name="connsiteX61" fmla="*/ 516719 w 4501379"/>
                    <a:gd name="connsiteY61" fmla="*/ 800100 h 4429294"/>
                    <a:gd name="connsiteX62" fmla="*/ 583394 w 4501379"/>
                    <a:gd name="connsiteY62" fmla="*/ 733425 h 4429294"/>
                    <a:gd name="connsiteX63" fmla="*/ 650069 w 4501379"/>
                    <a:gd name="connsiteY63" fmla="*/ 676275 h 4429294"/>
                    <a:gd name="connsiteX64" fmla="*/ 678644 w 4501379"/>
                    <a:gd name="connsiteY64" fmla="*/ 657225 h 4429294"/>
                    <a:gd name="connsiteX65" fmla="*/ 821519 w 4501379"/>
                    <a:gd name="connsiteY65" fmla="*/ 533400 h 4429294"/>
                    <a:gd name="connsiteX66" fmla="*/ 869144 w 4501379"/>
                    <a:gd name="connsiteY66" fmla="*/ 504825 h 4429294"/>
                    <a:gd name="connsiteX67" fmla="*/ 1148544 w 4501379"/>
                    <a:gd name="connsiteY67" fmla="*/ 311150 h 4429294"/>
                    <a:gd name="connsiteX68" fmla="*/ 1250144 w 4501379"/>
                    <a:gd name="connsiteY68" fmla="*/ 285750 h 4429294"/>
                    <a:gd name="connsiteX69" fmla="*/ 1393019 w 4501379"/>
                    <a:gd name="connsiteY69" fmla="*/ 190500 h 4429294"/>
                    <a:gd name="connsiteX70" fmla="*/ 1431119 w 4501379"/>
                    <a:gd name="connsiteY70" fmla="*/ 161925 h 4429294"/>
                    <a:gd name="connsiteX71" fmla="*/ 1507319 w 4501379"/>
                    <a:gd name="connsiteY71" fmla="*/ 152400 h 4429294"/>
                    <a:gd name="connsiteX72" fmla="*/ 1564469 w 4501379"/>
                    <a:gd name="connsiteY72" fmla="*/ 142875 h 4429294"/>
                    <a:gd name="connsiteX73" fmla="*/ 1697819 w 4501379"/>
                    <a:gd name="connsiteY73" fmla="*/ 123825 h 4429294"/>
                    <a:gd name="connsiteX74" fmla="*/ 1793069 w 4501379"/>
                    <a:gd name="connsiteY74" fmla="*/ 114300 h 4429294"/>
                    <a:gd name="connsiteX75" fmla="*/ 1840694 w 4501379"/>
                    <a:gd name="connsiteY75" fmla="*/ 104775 h 4429294"/>
                    <a:gd name="connsiteX76" fmla="*/ 1897844 w 4501379"/>
                    <a:gd name="connsiteY76" fmla="*/ 95250 h 4429294"/>
                    <a:gd name="connsiteX77" fmla="*/ 2012144 w 4501379"/>
                    <a:gd name="connsiteY77" fmla="*/ 66675 h 4429294"/>
                    <a:gd name="connsiteX78" fmla="*/ 2078819 w 4501379"/>
                    <a:gd name="connsiteY78" fmla="*/ 47625 h 4429294"/>
                    <a:gd name="connsiteX79" fmla="*/ 2145494 w 4501379"/>
                    <a:gd name="connsiteY7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26644 w 4501379"/>
                    <a:gd name="connsiteY7" fmla="*/ 542925 h 4429294"/>
                    <a:gd name="connsiteX8" fmla="*/ 3793319 w 4501379"/>
                    <a:gd name="connsiteY8" fmla="*/ 581025 h 4429294"/>
                    <a:gd name="connsiteX9" fmla="*/ 4009219 w 4501379"/>
                    <a:gd name="connsiteY9" fmla="*/ 819150 h 4429294"/>
                    <a:gd name="connsiteX10" fmla="*/ 4145744 w 4501379"/>
                    <a:gd name="connsiteY10" fmla="*/ 990600 h 4429294"/>
                    <a:gd name="connsiteX11" fmla="*/ 4231469 w 4501379"/>
                    <a:gd name="connsiteY11" fmla="*/ 1143000 h 4429294"/>
                    <a:gd name="connsiteX12" fmla="*/ 4288619 w 4501379"/>
                    <a:gd name="connsiteY12" fmla="*/ 1266825 h 4429294"/>
                    <a:gd name="connsiteX13" fmla="*/ 4326719 w 4501379"/>
                    <a:gd name="connsiteY13" fmla="*/ 1362075 h 4429294"/>
                    <a:gd name="connsiteX14" fmla="*/ 4374344 w 4501379"/>
                    <a:gd name="connsiteY14" fmla="*/ 1552575 h 4429294"/>
                    <a:gd name="connsiteX15" fmla="*/ 4412444 w 4501379"/>
                    <a:gd name="connsiteY15" fmla="*/ 1685925 h 4429294"/>
                    <a:gd name="connsiteX16" fmla="*/ 4501344 w 4501379"/>
                    <a:gd name="connsiteY16" fmla="*/ 2181225 h 4429294"/>
                    <a:gd name="connsiteX17" fmla="*/ 4428319 w 4501379"/>
                    <a:gd name="connsiteY17" fmla="*/ 2768600 h 4429294"/>
                    <a:gd name="connsiteX18" fmla="*/ 4364819 w 4501379"/>
                    <a:gd name="connsiteY18" fmla="*/ 2990850 h 4429294"/>
                    <a:gd name="connsiteX19" fmla="*/ 4260044 w 4501379"/>
                    <a:gd name="connsiteY19" fmla="*/ 3248025 h 4429294"/>
                    <a:gd name="connsiteX20" fmla="*/ 4164794 w 4501379"/>
                    <a:gd name="connsiteY20" fmla="*/ 3400425 h 4429294"/>
                    <a:gd name="connsiteX21" fmla="*/ 4040969 w 4501379"/>
                    <a:gd name="connsiteY21" fmla="*/ 3533775 h 4429294"/>
                    <a:gd name="connsiteX22" fmla="*/ 3936194 w 4501379"/>
                    <a:gd name="connsiteY22" fmla="*/ 3648075 h 4429294"/>
                    <a:gd name="connsiteX23" fmla="*/ 3640919 w 4501379"/>
                    <a:gd name="connsiteY23" fmla="*/ 3971925 h 4429294"/>
                    <a:gd name="connsiteX24" fmla="*/ 3498044 w 4501379"/>
                    <a:gd name="connsiteY24" fmla="*/ 4083050 h 4429294"/>
                    <a:gd name="connsiteX25" fmla="*/ 3202769 w 4501379"/>
                    <a:gd name="connsiteY25" fmla="*/ 4222750 h 4429294"/>
                    <a:gd name="connsiteX26" fmla="*/ 3050369 w 4501379"/>
                    <a:gd name="connsiteY26" fmla="*/ 4286250 h 4429294"/>
                    <a:gd name="connsiteX27" fmla="*/ 2917019 w 4501379"/>
                    <a:gd name="connsiteY27" fmla="*/ 4333875 h 4429294"/>
                    <a:gd name="connsiteX28" fmla="*/ 2793194 w 4501379"/>
                    <a:gd name="connsiteY28" fmla="*/ 4371975 h 4429294"/>
                    <a:gd name="connsiteX29" fmla="*/ 2561419 w 4501379"/>
                    <a:gd name="connsiteY29" fmla="*/ 4391025 h 4429294"/>
                    <a:gd name="connsiteX30" fmla="*/ 2107394 w 4501379"/>
                    <a:gd name="connsiteY30" fmla="*/ 4429125 h 4429294"/>
                    <a:gd name="connsiteX31" fmla="*/ 1916894 w 4501379"/>
                    <a:gd name="connsiteY31" fmla="*/ 4400550 h 4429294"/>
                    <a:gd name="connsiteX32" fmla="*/ 1554944 w 4501379"/>
                    <a:gd name="connsiteY32" fmla="*/ 4305300 h 4429294"/>
                    <a:gd name="connsiteX33" fmla="*/ 1313644 w 4501379"/>
                    <a:gd name="connsiteY33" fmla="*/ 4216400 h 4429294"/>
                    <a:gd name="connsiteX34" fmla="*/ 1145369 w 4501379"/>
                    <a:gd name="connsiteY34" fmla="*/ 4111625 h 4429294"/>
                    <a:gd name="connsiteX35" fmla="*/ 926294 w 4501379"/>
                    <a:gd name="connsiteY35" fmla="*/ 3968750 h 4429294"/>
                    <a:gd name="connsiteX36" fmla="*/ 592919 w 4501379"/>
                    <a:gd name="connsiteY36" fmla="*/ 3657600 h 4429294"/>
                    <a:gd name="connsiteX37" fmla="*/ 446869 w 4501379"/>
                    <a:gd name="connsiteY37" fmla="*/ 3470275 h 4429294"/>
                    <a:gd name="connsiteX38" fmla="*/ 316694 w 4501379"/>
                    <a:gd name="connsiteY38" fmla="*/ 3244850 h 4429294"/>
                    <a:gd name="connsiteX39" fmla="*/ 164294 w 4501379"/>
                    <a:gd name="connsiteY39" fmla="*/ 2892425 h 4429294"/>
                    <a:gd name="connsiteX40" fmla="*/ 56344 w 4501379"/>
                    <a:gd name="connsiteY40" fmla="*/ 2368550 h 4429294"/>
                    <a:gd name="connsiteX41" fmla="*/ 2369 w 4501379"/>
                    <a:gd name="connsiteY41" fmla="*/ 1905000 h 4429294"/>
                    <a:gd name="connsiteX42" fmla="*/ 11894 w 4501379"/>
                    <a:gd name="connsiteY42" fmla="*/ 1838325 h 4429294"/>
                    <a:gd name="connsiteX43" fmla="*/ 30944 w 4501379"/>
                    <a:gd name="connsiteY43" fmla="*/ 1781175 h 4429294"/>
                    <a:gd name="connsiteX44" fmla="*/ 40469 w 4501379"/>
                    <a:gd name="connsiteY44" fmla="*/ 1743075 h 4429294"/>
                    <a:gd name="connsiteX45" fmla="*/ 59519 w 4501379"/>
                    <a:gd name="connsiteY45" fmla="*/ 1685925 h 4429294"/>
                    <a:gd name="connsiteX46" fmla="*/ 69044 w 4501379"/>
                    <a:gd name="connsiteY46" fmla="*/ 1638300 h 4429294"/>
                    <a:gd name="connsiteX47" fmla="*/ 88094 w 4501379"/>
                    <a:gd name="connsiteY47" fmla="*/ 1590675 h 4429294"/>
                    <a:gd name="connsiteX48" fmla="*/ 116669 w 4501379"/>
                    <a:gd name="connsiteY48" fmla="*/ 1504950 h 4429294"/>
                    <a:gd name="connsiteX49" fmla="*/ 135719 w 4501379"/>
                    <a:gd name="connsiteY49" fmla="*/ 1419225 h 4429294"/>
                    <a:gd name="connsiteX50" fmla="*/ 211919 w 4501379"/>
                    <a:gd name="connsiteY50" fmla="*/ 1276350 h 4429294"/>
                    <a:gd name="connsiteX51" fmla="*/ 221444 w 4501379"/>
                    <a:gd name="connsiteY51" fmla="*/ 1247775 h 4429294"/>
                    <a:gd name="connsiteX52" fmla="*/ 250019 w 4501379"/>
                    <a:gd name="connsiteY52" fmla="*/ 1200150 h 4429294"/>
                    <a:gd name="connsiteX53" fmla="*/ 269069 w 4501379"/>
                    <a:gd name="connsiteY53" fmla="*/ 1152525 h 4429294"/>
                    <a:gd name="connsiteX54" fmla="*/ 297644 w 4501379"/>
                    <a:gd name="connsiteY54" fmla="*/ 1114425 h 4429294"/>
                    <a:gd name="connsiteX55" fmla="*/ 345269 w 4501379"/>
                    <a:gd name="connsiteY55" fmla="*/ 1038225 h 4429294"/>
                    <a:gd name="connsiteX56" fmla="*/ 364319 w 4501379"/>
                    <a:gd name="connsiteY56" fmla="*/ 1009650 h 4429294"/>
                    <a:gd name="connsiteX57" fmla="*/ 421469 w 4501379"/>
                    <a:gd name="connsiteY57" fmla="*/ 904875 h 4429294"/>
                    <a:gd name="connsiteX58" fmla="*/ 459569 w 4501379"/>
                    <a:gd name="connsiteY58" fmla="*/ 857250 h 4429294"/>
                    <a:gd name="connsiteX59" fmla="*/ 478619 w 4501379"/>
                    <a:gd name="connsiteY59" fmla="*/ 828675 h 4429294"/>
                    <a:gd name="connsiteX60" fmla="*/ 516719 w 4501379"/>
                    <a:gd name="connsiteY60" fmla="*/ 800100 h 4429294"/>
                    <a:gd name="connsiteX61" fmla="*/ 583394 w 4501379"/>
                    <a:gd name="connsiteY61" fmla="*/ 733425 h 4429294"/>
                    <a:gd name="connsiteX62" fmla="*/ 650069 w 4501379"/>
                    <a:gd name="connsiteY62" fmla="*/ 676275 h 4429294"/>
                    <a:gd name="connsiteX63" fmla="*/ 678644 w 4501379"/>
                    <a:gd name="connsiteY63" fmla="*/ 657225 h 4429294"/>
                    <a:gd name="connsiteX64" fmla="*/ 821519 w 4501379"/>
                    <a:gd name="connsiteY64" fmla="*/ 533400 h 4429294"/>
                    <a:gd name="connsiteX65" fmla="*/ 869144 w 4501379"/>
                    <a:gd name="connsiteY65" fmla="*/ 504825 h 4429294"/>
                    <a:gd name="connsiteX66" fmla="*/ 1148544 w 4501379"/>
                    <a:gd name="connsiteY66" fmla="*/ 311150 h 4429294"/>
                    <a:gd name="connsiteX67" fmla="*/ 1250144 w 4501379"/>
                    <a:gd name="connsiteY67" fmla="*/ 285750 h 4429294"/>
                    <a:gd name="connsiteX68" fmla="*/ 1393019 w 4501379"/>
                    <a:gd name="connsiteY68" fmla="*/ 190500 h 4429294"/>
                    <a:gd name="connsiteX69" fmla="*/ 1431119 w 4501379"/>
                    <a:gd name="connsiteY69" fmla="*/ 161925 h 4429294"/>
                    <a:gd name="connsiteX70" fmla="*/ 1507319 w 4501379"/>
                    <a:gd name="connsiteY70" fmla="*/ 152400 h 4429294"/>
                    <a:gd name="connsiteX71" fmla="*/ 1564469 w 4501379"/>
                    <a:gd name="connsiteY71" fmla="*/ 142875 h 4429294"/>
                    <a:gd name="connsiteX72" fmla="*/ 1697819 w 4501379"/>
                    <a:gd name="connsiteY72" fmla="*/ 123825 h 4429294"/>
                    <a:gd name="connsiteX73" fmla="*/ 1793069 w 4501379"/>
                    <a:gd name="connsiteY73" fmla="*/ 114300 h 4429294"/>
                    <a:gd name="connsiteX74" fmla="*/ 1840694 w 4501379"/>
                    <a:gd name="connsiteY74" fmla="*/ 104775 h 4429294"/>
                    <a:gd name="connsiteX75" fmla="*/ 1897844 w 4501379"/>
                    <a:gd name="connsiteY75" fmla="*/ 95250 h 4429294"/>
                    <a:gd name="connsiteX76" fmla="*/ 2012144 w 4501379"/>
                    <a:gd name="connsiteY76" fmla="*/ 66675 h 4429294"/>
                    <a:gd name="connsiteX77" fmla="*/ 2078819 w 4501379"/>
                    <a:gd name="connsiteY77" fmla="*/ 47625 h 4429294"/>
                    <a:gd name="connsiteX78" fmla="*/ 2145494 w 4501379"/>
                    <a:gd name="connsiteY7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93319 w 4501379"/>
                    <a:gd name="connsiteY7" fmla="*/ 581025 h 4429294"/>
                    <a:gd name="connsiteX8" fmla="*/ 4009219 w 4501379"/>
                    <a:gd name="connsiteY8" fmla="*/ 819150 h 4429294"/>
                    <a:gd name="connsiteX9" fmla="*/ 4145744 w 4501379"/>
                    <a:gd name="connsiteY9" fmla="*/ 990600 h 4429294"/>
                    <a:gd name="connsiteX10" fmla="*/ 4231469 w 4501379"/>
                    <a:gd name="connsiteY10" fmla="*/ 1143000 h 4429294"/>
                    <a:gd name="connsiteX11" fmla="*/ 4288619 w 4501379"/>
                    <a:gd name="connsiteY11" fmla="*/ 1266825 h 4429294"/>
                    <a:gd name="connsiteX12" fmla="*/ 4326719 w 4501379"/>
                    <a:gd name="connsiteY12" fmla="*/ 1362075 h 4429294"/>
                    <a:gd name="connsiteX13" fmla="*/ 4374344 w 4501379"/>
                    <a:gd name="connsiteY13" fmla="*/ 1552575 h 4429294"/>
                    <a:gd name="connsiteX14" fmla="*/ 4412444 w 4501379"/>
                    <a:gd name="connsiteY14" fmla="*/ 1685925 h 4429294"/>
                    <a:gd name="connsiteX15" fmla="*/ 4501344 w 4501379"/>
                    <a:gd name="connsiteY15" fmla="*/ 2181225 h 4429294"/>
                    <a:gd name="connsiteX16" fmla="*/ 4428319 w 4501379"/>
                    <a:gd name="connsiteY16" fmla="*/ 2768600 h 4429294"/>
                    <a:gd name="connsiteX17" fmla="*/ 4364819 w 4501379"/>
                    <a:gd name="connsiteY17" fmla="*/ 2990850 h 4429294"/>
                    <a:gd name="connsiteX18" fmla="*/ 4260044 w 4501379"/>
                    <a:gd name="connsiteY18" fmla="*/ 3248025 h 4429294"/>
                    <a:gd name="connsiteX19" fmla="*/ 4164794 w 4501379"/>
                    <a:gd name="connsiteY19" fmla="*/ 3400425 h 4429294"/>
                    <a:gd name="connsiteX20" fmla="*/ 4040969 w 4501379"/>
                    <a:gd name="connsiteY20" fmla="*/ 3533775 h 4429294"/>
                    <a:gd name="connsiteX21" fmla="*/ 3936194 w 4501379"/>
                    <a:gd name="connsiteY21" fmla="*/ 3648075 h 4429294"/>
                    <a:gd name="connsiteX22" fmla="*/ 3640919 w 4501379"/>
                    <a:gd name="connsiteY22" fmla="*/ 3971925 h 4429294"/>
                    <a:gd name="connsiteX23" fmla="*/ 3498044 w 4501379"/>
                    <a:gd name="connsiteY23" fmla="*/ 4083050 h 4429294"/>
                    <a:gd name="connsiteX24" fmla="*/ 3202769 w 4501379"/>
                    <a:gd name="connsiteY24" fmla="*/ 4222750 h 4429294"/>
                    <a:gd name="connsiteX25" fmla="*/ 3050369 w 4501379"/>
                    <a:gd name="connsiteY25" fmla="*/ 4286250 h 4429294"/>
                    <a:gd name="connsiteX26" fmla="*/ 2917019 w 4501379"/>
                    <a:gd name="connsiteY26" fmla="*/ 4333875 h 4429294"/>
                    <a:gd name="connsiteX27" fmla="*/ 2793194 w 4501379"/>
                    <a:gd name="connsiteY27" fmla="*/ 4371975 h 4429294"/>
                    <a:gd name="connsiteX28" fmla="*/ 2561419 w 4501379"/>
                    <a:gd name="connsiteY28" fmla="*/ 4391025 h 4429294"/>
                    <a:gd name="connsiteX29" fmla="*/ 2107394 w 4501379"/>
                    <a:gd name="connsiteY29" fmla="*/ 4429125 h 4429294"/>
                    <a:gd name="connsiteX30" fmla="*/ 1916894 w 4501379"/>
                    <a:gd name="connsiteY30" fmla="*/ 4400550 h 4429294"/>
                    <a:gd name="connsiteX31" fmla="*/ 1554944 w 4501379"/>
                    <a:gd name="connsiteY31" fmla="*/ 4305300 h 4429294"/>
                    <a:gd name="connsiteX32" fmla="*/ 1313644 w 4501379"/>
                    <a:gd name="connsiteY32" fmla="*/ 4216400 h 4429294"/>
                    <a:gd name="connsiteX33" fmla="*/ 1145369 w 4501379"/>
                    <a:gd name="connsiteY33" fmla="*/ 4111625 h 4429294"/>
                    <a:gd name="connsiteX34" fmla="*/ 926294 w 4501379"/>
                    <a:gd name="connsiteY34" fmla="*/ 3968750 h 4429294"/>
                    <a:gd name="connsiteX35" fmla="*/ 592919 w 4501379"/>
                    <a:gd name="connsiteY35" fmla="*/ 3657600 h 4429294"/>
                    <a:gd name="connsiteX36" fmla="*/ 446869 w 4501379"/>
                    <a:gd name="connsiteY36" fmla="*/ 3470275 h 4429294"/>
                    <a:gd name="connsiteX37" fmla="*/ 316694 w 4501379"/>
                    <a:gd name="connsiteY37" fmla="*/ 3244850 h 4429294"/>
                    <a:gd name="connsiteX38" fmla="*/ 164294 w 4501379"/>
                    <a:gd name="connsiteY38" fmla="*/ 2892425 h 4429294"/>
                    <a:gd name="connsiteX39" fmla="*/ 56344 w 4501379"/>
                    <a:gd name="connsiteY39" fmla="*/ 2368550 h 4429294"/>
                    <a:gd name="connsiteX40" fmla="*/ 2369 w 4501379"/>
                    <a:gd name="connsiteY40" fmla="*/ 1905000 h 4429294"/>
                    <a:gd name="connsiteX41" fmla="*/ 11894 w 4501379"/>
                    <a:gd name="connsiteY41" fmla="*/ 1838325 h 4429294"/>
                    <a:gd name="connsiteX42" fmla="*/ 30944 w 4501379"/>
                    <a:gd name="connsiteY42" fmla="*/ 1781175 h 4429294"/>
                    <a:gd name="connsiteX43" fmla="*/ 40469 w 4501379"/>
                    <a:gd name="connsiteY43" fmla="*/ 1743075 h 4429294"/>
                    <a:gd name="connsiteX44" fmla="*/ 59519 w 4501379"/>
                    <a:gd name="connsiteY44" fmla="*/ 1685925 h 4429294"/>
                    <a:gd name="connsiteX45" fmla="*/ 69044 w 4501379"/>
                    <a:gd name="connsiteY45" fmla="*/ 1638300 h 4429294"/>
                    <a:gd name="connsiteX46" fmla="*/ 88094 w 4501379"/>
                    <a:gd name="connsiteY46" fmla="*/ 1590675 h 4429294"/>
                    <a:gd name="connsiteX47" fmla="*/ 116669 w 4501379"/>
                    <a:gd name="connsiteY47" fmla="*/ 1504950 h 4429294"/>
                    <a:gd name="connsiteX48" fmla="*/ 135719 w 4501379"/>
                    <a:gd name="connsiteY48" fmla="*/ 1419225 h 4429294"/>
                    <a:gd name="connsiteX49" fmla="*/ 211919 w 4501379"/>
                    <a:gd name="connsiteY49" fmla="*/ 1276350 h 4429294"/>
                    <a:gd name="connsiteX50" fmla="*/ 221444 w 4501379"/>
                    <a:gd name="connsiteY50" fmla="*/ 1247775 h 4429294"/>
                    <a:gd name="connsiteX51" fmla="*/ 250019 w 4501379"/>
                    <a:gd name="connsiteY51" fmla="*/ 1200150 h 4429294"/>
                    <a:gd name="connsiteX52" fmla="*/ 269069 w 4501379"/>
                    <a:gd name="connsiteY52" fmla="*/ 1152525 h 4429294"/>
                    <a:gd name="connsiteX53" fmla="*/ 297644 w 4501379"/>
                    <a:gd name="connsiteY53" fmla="*/ 1114425 h 4429294"/>
                    <a:gd name="connsiteX54" fmla="*/ 345269 w 4501379"/>
                    <a:gd name="connsiteY54" fmla="*/ 1038225 h 4429294"/>
                    <a:gd name="connsiteX55" fmla="*/ 364319 w 4501379"/>
                    <a:gd name="connsiteY55" fmla="*/ 1009650 h 4429294"/>
                    <a:gd name="connsiteX56" fmla="*/ 421469 w 4501379"/>
                    <a:gd name="connsiteY56" fmla="*/ 904875 h 4429294"/>
                    <a:gd name="connsiteX57" fmla="*/ 459569 w 4501379"/>
                    <a:gd name="connsiteY57" fmla="*/ 857250 h 4429294"/>
                    <a:gd name="connsiteX58" fmla="*/ 478619 w 4501379"/>
                    <a:gd name="connsiteY58" fmla="*/ 828675 h 4429294"/>
                    <a:gd name="connsiteX59" fmla="*/ 516719 w 4501379"/>
                    <a:gd name="connsiteY59" fmla="*/ 800100 h 4429294"/>
                    <a:gd name="connsiteX60" fmla="*/ 583394 w 4501379"/>
                    <a:gd name="connsiteY60" fmla="*/ 733425 h 4429294"/>
                    <a:gd name="connsiteX61" fmla="*/ 650069 w 4501379"/>
                    <a:gd name="connsiteY61" fmla="*/ 676275 h 4429294"/>
                    <a:gd name="connsiteX62" fmla="*/ 678644 w 4501379"/>
                    <a:gd name="connsiteY62" fmla="*/ 657225 h 4429294"/>
                    <a:gd name="connsiteX63" fmla="*/ 821519 w 4501379"/>
                    <a:gd name="connsiteY63" fmla="*/ 533400 h 4429294"/>
                    <a:gd name="connsiteX64" fmla="*/ 869144 w 4501379"/>
                    <a:gd name="connsiteY64" fmla="*/ 504825 h 4429294"/>
                    <a:gd name="connsiteX65" fmla="*/ 1148544 w 4501379"/>
                    <a:gd name="connsiteY65" fmla="*/ 311150 h 4429294"/>
                    <a:gd name="connsiteX66" fmla="*/ 1250144 w 4501379"/>
                    <a:gd name="connsiteY66" fmla="*/ 285750 h 4429294"/>
                    <a:gd name="connsiteX67" fmla="*/ 1393019 w 4501379"/>
                    <a:gd name="connsiteY67" fmla="*/ 190500 h 4429294"/>
                    <a:gd name="connsiteX68" fmla="*/ 1431119 w 4501379"/>
                    <a:gd name="connsiteY68" fmla="*/ 161925 h 4429294"/>
                    <a:gd name="connsiteX69" fmla="*/ 1507319 w 4501379"/>
                    <a:gd name="connsiteY69" fmla="*/ 152400 h 4429294"/>
                    <a:gd name="connsiteX70" fmla="*/ 1564469 w 4501379"/>
                    <a:gd name="connsiteY70" fmla="*/ 142875 h 4429294"/>
                    <a:gd name="connsiteX71" fmla="*/ 1697819 w 4501379"/>
                    <a:gd name="connsiteY71" fmla="*/ 123825 h 4429294"/>
                    <a:gd name="connsiteX72" fmla="*/ 1793069 w 4501379"/>
                    <a:gd name="connsiteY72" fmla="*/ 114300 h 4429294"/>
                    <a:gd name="connsiteX73" fmla="*/ 1840694 w 4501379"/>
                    <a:gd name="connsiteY73" fmla="*/ 104775 h 4429294"/>
                    <a:gd name="connsiteX74" fmla="*/ 1897844 w 4501379"/>
                    <a:gd name="connsiteY74" fmla="*/ 95250 h 4429294"/>
                    <a:gd name="connsiteX75" fmla="*/ 2012144 w 4501379"/>
                    <a:gd name="connsiteY75" fmla="*/ 66675 h 4429294"/>
                    <a:gd name="connsiteX76" fmla="*/ 2078819 w 4501379"/>
                    <a:gd name="connsiteY76" fmla="*/ 47625 h 4429294"/>
                    <a:gd name="connsiteX77" fmla="*/ 2145494 w 4501379"/>
                    <a:gd name="connsiteY7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393019 w 4501379"/>
                    <a:gd name="connsiteY66" fmla="*/ 190500 h 4429294"/>
                    <a:gd name="connsiteX67" fmla="*/ 1431119 w 4501379"/>
                    <a:gd name="connsiteY67" fmla="*/ 161925 h 4429294"/>
                    <a:gd name="connsiteX68" fmla="*/ 1507319 w 4501379"/>
                    <a:gd name="connsiteY68" fmla="*/ 152400 h 4429294"/>
                    <a:gd name="connsiteX69" fmla="*/ 1564469 w 4501379"/>
                    <a:gd name="connsiteY69" fmla="*/ 142875 h 4429294"/>
                    <a:gd name="connsiteX70" fmla="*/ 1697819 w 4501379"/>
                    <a:gd name="connsiteY70" fmla="*/ 123825 h 4429294"/>
                    <a:gd name="connsiteX71" fmla="*/ 1793069 w 4501379"/>
                    <a:gd name="connsiteY71" fmla="*/ 114300 h 4429294"/>
                    <a:gd name="connsiteX72" fmla="*/ 1840694 w 4501379"/>
                    <a:gd name="connsiteY72" fmla="*/ 104775 h 4429294"/>
                    <a:gd name="connsiteX73" fmla="*/ 1897844 w 4501379"/>
                    <a:gd name="connsiteY73" fmla="*/ 95250 h 4429294"/>
                    <a:gd name="connsiteX74" fmla="*/ 2012144 w 4501379"/>
                    <a:gd name="connsiteY74" fmla="*/ 66675 h 4429294"/>
                    <a:gd name="connsiteX75" fmla="*/ 2078819 w 4501379"/>
                    <a:gd name="connsiteY75" fmla="*/ 47625 h 4429294"/>
                    <a:gd name="connsiteX76" fmla="*/ 2145494 w 4501379"/>
                    <a:gd name="connsiteY7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431119 w 4501379"/>
                    <a:gd name="connsiteY66" fmla="*/ 161925 h 4429294"/>
                    <a:gd name="connsiteX67" fmla="*/ 1507319 w 4501379"/>
                    <a:gd name="connsiteY67" fmla="*/ 152400 h 4429294"/>
                    <a:gd name="connsiteX68" fmla="*/ 1564469 w 4501379"/>
                    <a:gd name="connsiteY68" fmla="*/ 142875 h 4429294"/>
                    <a:gd name="connsiteX69" fmla="*/ 1697819 w 4501379"/>
                    <a:gd name="connsiteY69" fmla="*/ 123825 h 4429294"/>
                    <a:gd name="connsiteX70" fmla="*/ 1793069 w 4501379"/>
                    <a:gd name="connsiteY70" fmla="*/ 114300 h 4429294"/>
                    <a:gd name="connsiteX71" fmla="*/ 1840694 w 4501379"/>
                    <a:gd name="connsiteY71" fmla="*/ 104775 h 4429294"/>
                    <a:gd name="connsiteX72" fmla="*/ 1897844 w 4501379"/>
                    <a:gd name="connsiteY72" fmla="*/ 95250 h 4429294"/>
                    <a:gd name="connsiteX73" fmla="*/ 2012144 w 4501379"/>
                    <a:gd name="connsiteY73" fmla="*/ 66675 h 4429294"/>
                    <a:gd name="connsiteX74" fmla="*/ 2078819 w 4501379"/>
                    <a:gd name="connsiteY74" fmla="*/ 47625 h 4429294"/>
                    <a:gd name="connsiteX75" fmla="*/ 2145494 w 4501379"/>
                    <a:gd name="connsiteY7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507319 w 4501379"/>
                    <a:gd name="connsiteY66" fmla="*/ 152400 h 4429294"/>
                    <a:gd name="connsiteX67" fmla="*/ 1564469 w 4501379"/>
                    <a:gd name="connsiteY67" fmla="*/ 142875 h 4429294"/>
                    <a:gd name="connsiteX68" fmla="*/ 1697819 w 4501379"/>
                    <a:gd name="connsiteY68" fmla="*/ 123825 h 4429294"/>
                    <a:gd name="connsiteX69" fmla="*/ 1793069 w 4501379"/>
                    <a:gd name="connsiteY69" fmla="*/ 114300 h 4429294"/>
                    <a:gd name="connsiteX70" fmla="*/ 1840694 w 4501379"/>
                    <a:gd name="connsiteY70" fmla="*/ 104775 h 4429294"/>
                    <a:gd name="connsiteX71" fmla="*/ 1897844 w 4501379"/>
                    <a:gd name="connsiteY71" fmla="*/ 95250 h 4429294"/>
                    <a:gd name="connsiteX72" fmla="*/ 2012144 w 4501379"/>
                    <a:gd name="connsiteY72" fmla="*/ 66675 h 4429294"/>
                    <a:gd name="connsiteX73" fmla="*/ 2078819 w 4501379"/>
                    <a:gd name="connsiteY73" fmla="*/ 47625 h 4429294"/>
                    <a:gd name="connsiteX74" fmla="*/ 2145494 w 4501379"/>
                    <a:gd name="connsiteY7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697819 w 4501379"/>
                    <a:gd name="connsiteY67" fmla="*/ 123825 h 4429294"/>
                    <a:gd name="connsiteX68" fmla="*/ 1793069 w 4501379"/>
                    <a:gd name="connsiteY68" fmla="*/ 114300 h 4429294"/>
                    <a:gd name="connsiteX69" fmla="*/ 1840694 w 4501379"/>
                    <a:gd name="connsiteY69" fmla="*/ 104775 h 4429294"/>
                    <a:gd name="connsiteX70" fmla="*/ 1897844 w 4501379"/>
                    <a:gd name="connsiteY70" fmla="*/ 95250 h 4429294"/>
                    <a:gd name="connsiteX71" fmla="*/ 2012144 w 4501379"/>
                    <a:gd name="connsiteY71" fmla="*/ 66675 h 4429294"/>
                    <a:gd name="connsiteX72" fmla="*/ 2078819 w 4501379"/>
                    <a:gd name="connsiteY72" fmla="*/ 47625 h 4429294"/>
                    <a:gd name="connsiteX73" fmla="*/ 2145494 w 4501379"/>
                    <a:gd name="connsiteY7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793069 w 4501379"/>
                    <a:gd name="connsiteY67" fmla="*/ 114300 h 4429294"/>
                    <a:gd name="connsiteX68" fmla="*/ 1840694 w 4501379"/>
                    <a:gd name="connsiteY68" fmla="*/ 104775 h 4429294"/>
                    <a:gd name="connsiteX69" fmla="*/ 1897844 w 4501379"/>
                    <a:gd name="connsiteY69" fmla="*/ 95250 h 4429294"/>
                    <a:gd name="connsiteX70" fmla="*/ 2012144 w 4501379"/>
                    <a:gd name="connsiteY70" fmla="*/ 66675 h 4429294"/>
                    <a:gd name="connsiteX71" fmla="*/ 2078819 w 4501379"/>
                    <a:gd name="connsiteY71" fmla="*/ 47625 h 4429294"/>
                    <a:gd name="connsiteX72" fmla="*/ 2145494 w 4501379"/>
                    <a:gd name="connsiteY7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40694 w 4501379"/>
                    <a:gd name="connsiteY67" fmla="*/ 104775 h 4429294"/>
                    <a:gd name="connsiteX68" fmla="*/ 1897844 w 4501379"/>
                    <a:gd name="connsiteY68" fmla="*/ 95250 h 4429294"/>
                    <a:gd name="connsiteX69" fmla="*/ 2012144 w 4501379"/>
                    <a:gd name="connsiteY69" fmla="*/ 66675 h 4429294"/>
                    <a:gd name="connsiteX70" fmla="*/ 2078819 w 4501379"/>
                    <a:gd name="connsiteY70" fmla="*/ 47625 h 4429294"/>
                    <a:gd name="connsiteX71" fmla="*/ 2145494 w 4501379"/>
                    <a:gd name="connsiteY7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97844 w 4501379"/>
                    <a:gd name="connsiteY67" fmla="*/ 95250 h 4429294"/>
                    <a:gd name="connsiteX68" fmla="*/ 2012144 w 4501379"/>
                    <a:gd name="connsiteY68" fmla="*/ 66675 h 4429294"/>
                    <a:gd name="connsiteX69" fmla="*/ 2078819 w 4501379"/>
                    <a:gd name="connsiteY69" fmla="*/ 47625 h 4429294"/>
                    <a:gd name="connsiteX70" fmla="*/ 2145494 w 4501379"/>
                    <a:gd name="connsiteY7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12144 w 4501379"/>
                    <a:gd name="connsiteY67" fmla="*/ 66675 h 4429294"/>
                    <a:gd name="connsiteX68" fmla="*/ 2078819 w 4501379"/>
                    <a:gd name="connsiteY68" fmla="*/ 47625 h 4429294"/>
                    <a:gd name="connsiteX69" fmla="*/ 2145494 w 4501379"/>
                    <a:gd name="connsiteY6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78819 w 4501379"/>
                    <a:gd name="connsiteY67" fmla="*/ 47625 h 4429294"/>
                    <a:gd name="connsiteX68" fmla="*/ 2145494 w 4501379"/>
                    <a:gd name="connsiteY6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145494 w 4501379"/>
                    <a:gd name="connsiteY6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621619 w 4501379"/>
                    <a:gd name="connsiteY66" fmla="*/ 11112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678644 w 4501379"/>
                    <a:gd name="connsiteY60" fmla="*/ 657225 h 4429294"/>
                    <a:gd name="connsiteX61" fmla="*/ 821519 w 4501379"/>
                    <a:gd name="connsiteY61" fmla="*/ 533400 h 4429294"/>
                    <a:gd name="connsiteX62" fmla="*/ 869144 w 4501379"/>
                    <a:gd name="connsiteY62" fmla="*/ 504825 h 4429294"/>
                    <a:gd name="connsiteX63" fmla="*/ 1148544 w 4501379"/>
                    <a:gd name="connsiteY63" fmla="*/ 311150 h 4429294"/>
                    <a:gd name="connsiteX64" fmla="*/ 1507319 w 4501379"/>
                    <a:gd name="connsiteY64" fmla="*/ 152400 h 4429294"/>
                    <a:gd name="connsiteX65" fmla="*/ 1621619 w 4501379"/>
                    <a:gd name="connsiteY65" fmla="*/ 111125 h 4429294"/>
                    <a:gd name="connsiteX66" fmla="*/ 2253444 w 4501379"/>
                    <a:gd name="connsiteY6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21519 w 4501379"/>
                    <a:gd name="connsiteY60" fmla="*/ 533400 h 4429294"/>
                    <a:gd name="connsiteX61" fmla="*/ 869144 w 4501379"/>
                    <a:gd name="connsiteY61" fmla="*/ 504825 h 4429294"/>
                    <a:gd name="connsiteX62" fmla="*/ 1148544 w 4501379"/>
                    <a:gd name="connsiteY62" fmla="*/ 311150 h 4429294"/>
                    <a:gd name="connsiteX63" fmla="*/ 1507319 w 4501379"/>
                    <a:gd name="connsiteY63" fmla="*/ 152400 h 4429294"/>
                    <a:gd name="connsiteX64" fmla="*/ 1621619 w 4501379"/>
                    <a:gd name="connsiteY64" fmla="*/ 111125 h 4429294"/>
                    <a:gd name="connsiteX65" fmla="*/ 2253444 w 4501379"/>
                    <a:gd name="connsiteY6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69144 w 4501379"/>
                    <a:gd name="connsiteY60" fmla="*/ 504825 h 4429294"/>
                    <a:gd name="connsiteX61" fmla="*/ 1148544 w 4501379"/>
                    <a:gd name="connsiteY61" fmla="*/ 311150 h 4429294"/>
                    <a:gd name="connsiteX62" fmla="*/ 1507319 w 4501379"/>
                    <a:gd name="connsiteY62" fmla="*/ 152400 h 4429294"/>
                    <a:gd name="connsiteX63" fmla="*/ 1621619 w 4501379"/>
                    <a:gd name="connsiteY63" fmla="*/ 111125 h 4429294"/>
                    <a:gd name="connsiteX64" fmla="*/ 2253444 w 4501379"/>
                    <a:gd name="connsiteY6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64319 w 4501379"/>
                    <a:gd name="connsiteY53" fmla="*/ 1009650 h 4429294"/>
                    <a:gd name="connsiteX54" fmla="*/ 421469 w 4501379"/>
                    <a:gd name="connsiteY54" fmla="*/ 904875 h 4429294"/>
                    <a:gd name="connsiteX55" fmla="*/ 459569 w 4501379"/>
                    <a:gd name="connsiteY55" fmla="*/ 857250 h 4429294"/>
                    <a:gd name="connsiteX56" fmla="*/ 478619 w 4501379"/>
                    <a:gd name="connsiteY56" fmla="*/ 828675 h 4429294"/>
                    <a:gd name="connsiteX57" fmla="*/ 516719 w 4501379"/>
                    <a:gd name="connsiteY57" fmla="*/ 800100 h 4429294"/>
                    <a:gd name="connsiteX58" fmla="*/ 650069 w 4501379"/>
                    <a:gd name="connsiteY58" fmla="*/ 676275 h 4429294"/>
                    <a:gd name="connsiteX59" fmla="*/ 869144 w 4501379"/>
                    <a:gd name="connsiteY59" fmla="*/ 504825 h 4429294"/>
                    <a:gd name="connsiteX60" fmla="*/ 1148544 w 4501379"/>
                    <a:gd name="connsiteY60" fmla="*/ 311150 h 4429294"/>
                    <a:gd name="connsiteX61" fmla="*/ 1507319 w 4501379"/>
                    <a:gd name="connsiteY61" fmla="*/ 152400 h 4429294"/>
                    <a:gd name="connsiteX62" fmla="*/ 1621619 w 4501379"/>
                    <a:gd name="connsiteY62" fmla="*/ 111125 h 4429294"/>
                    <a:gd name="connsiteX63" fmla="*/ 2253444 w 4501379"/>
                    <a:gd name="connsiteY63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21469 w 4501379"/>
                    <a:gd name="connsiteY53" fmla="*/ 904875 h 4429294"/>
                    <a:gd name="connsiteX54" fmla="*/ 459569 w 4501379"/>
                    <a:gd name="connsiteY54" fmla="*/ 857250 h 4429294"/>
                    <a:gd name="connsiteX55" fmla="*/ 478619 w 4501379"/>
                    <a:gd name="connsiteY55" fmla="*/ 828675 h 4429294"/>
                    <a:gd name="connsiteX56" fmla="*/ 516719 w 4501379"/>
                    <a:gd name="connsiteY56" fmla="*/ 800100 h 4429294"/>
                    <a:gd name="connsiteX57" fmla="*/ 650069 w 4501379"/>
                    <a:gd name="connsiteY57" fmla="*/ 676275 h 4429294"/>
                    <a:gd name="connsiteX58" fmla="*/ 869144 w 4501379"/>
                    <a:gd name="connsiteY58" fmla="*/ 504825 h 4429294"/>
                    <a:gd name="connsiteX59" fmla="*/ 1148544 w 4501379"/>
                    <a:gd name="connsiteY59" fmla="*/ 311150 h 4429294"/>
                    <a:gd name="connsiteX60" fmla="*/ 1507319 w 4501379"/>
                    <a:gd name="connsiteY60" fmla="*/ 152400 h 4429294"/>
                    <a:gd name="connsiteX61" fmla="*/ 1621619 w 4501379"/>
                    <a:gd name="connsiteY61" fmla="*/ 111125 h 4429294"/>
                    <a:gd name="connsiteX62" fmla="*/ 2253444 w 4501379"/>
                    <a:gd name="connsiteY62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478619 w 4501379"/>
                    <a:gd name="connsiteY54" fmla="*/ 828675 h 4429294"/>
                    <a:gd name="connsiteX55" fmla="*/ 516719 w 4501379"/>
                    <a:gd name="connsiteY55" fmla="*/ 800100 h 4429294"/>
                    <a:gd name="connsiteX56" fmla="*/ 650069 w 4501379"/>
                    <a:gd name="connsiteY56" fmla="*/ 676275 h 4429294"/>
                    <a:gd name="connsiteX57" fmla="*/ 869144 w 4501379"/>
                    <a:gd name="connsiteY57" fmla="*/ 504825 h 4429294"/>
                    <a:gd name="connsiteX58" fmla="*/ 1148544 w 4501379"/>
                    <a:gd name="connsiteY58" fmla="*/ 311150 h 4429294"/>
                    <a:gd name="connsiteX59" fmla="*/ 1507319 w 4501379"/>
                    <a:gd name="connsiteY59" fmla="*/ 152400 h 4429294"/>
                    <a:gd name="connsiteX60" fmla="*/ 1621619 w 4501379"/>
                    <a:gd name="connsiteY60" fmla="*/ 111125 h 4429294"/>
                    <a:gd name="connsiteX61" fmla="*/ 2253444 w 4501379"/>
                    <a:gd name="connsiteY61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516719 w 4501379"/>
                    <a:gd name="connsiteY54" fmla="*/ 800100 h 4429294"/>
                    <a:gd name="connsiteX55" fmla="*/ 650069 w 4501379"/>
                    <a:gd name="connsiteY55" fmla="*/ 676275 h 4429294"/>
                    <a:gd name="connsiteX56" fmla="*/ 869144 w 4501379"/>
                    <a:gd name="connsiteY56" fmla="*/ 504825 h 4429294"/>
                    <a:gd name="connsiteX57" fmla="*/ 1148544 w 4501379"/>
                    <a:gd name="connsiteY57" fmla="*/ 311150 h 4429294"/>
                    <a:gd name="connsiteX58" fmla="*/ 1507319 w 4501379"/>
                    <a:gd name="connsiteY58" fmla="*/ 152400 h 4429294"/>
                    <a:gd name="connsiteX59" fmla="*/ 1621619 w 4501379"/>
                    <a:gd name="connsiteY59" fmla="*/ 111125 h 4429294"/>
                    <a:gd name="connsiteX60" fmla="*/ 2253444 w 4501379"/>
                    <a:gd name="connsiteY60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69069 w 4501379"/>
                    <a:gd name="connsiteY50" fmla="*/ 1152525 h 4429294"/>
                    <a:gd name="connsiteX51" fmla="*/ 297644 w 4501379"/>
                    <a:gd name="connsiteY51" fmla="*/ 1114425 h 4429294"/>
                    <a:gd name="connsiteX52" fmla="*/ 459569 w 4501379"/>
                    <a:gd name="connsiteY52" fmla="*/ 857250 h 4429294"/>
                    <a:gd name="connsiteX53" fmla="*/ 516719 w 4501379"/>
                    <a:gd name="connsiteY53" fmla="*/ 800100 h 4429294"/>
                    <a:gd name="connsiteX54" fmla="*/ 650069 w 4501379"/>
                    <a:gd name="connsiteY54" fmla="*/ 676275 h 4429294"/>
                    <a:gd name="connsiteX55" fmla="*/ 869144 w 4501379"/>
                    <a:gd name="connsiteY55" fmla="*/ 504825 h 4429294"/>
                    <a:gd name="connsiteX56" fmla="*/ 1148544 w 4501379"/>
                    <a:gd name="connsiteY56" fmla="*/ 311150 h 4429294"/>
                    <a:gd name="connsiteX57" fmla="*/ 1507319 w 4501379"/>
                    <a:gd name="connsiteY57" fmla="*/ 152400 h 4429294"/>
                    <a:gd name="connsiteX58" fmla="*/ 1621619 w 4501379"/>
                    <a:gd name="connsiteY58" fmla="*/ 111125 h 4429294"/>
                    <a:gd name="connsiteX59" fmla="*/ 2253444 w 4501379"/>
                    <a:gd name="connsiteY59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97644 w 4501379"/>
                    <a:gd name="connsiteY50" fmla="*/ 1114425 h 4429294"/>
                    <a:gd name="connsiteX51" fmla="*/ 459569 w 4501379"/>
                    <a:gd name="connsiteY51" fmla="*/ 857250 h 4429294"/>
                    <a:gd name="connsiteX52" fmla="*/ 516719 w 4501379"/>
                    <a:gd name="connsiteY52" fmla="*/ 800100 h 4429294"/>
                    <a:gd name="connsiteX53" fmla="*/ 650069 w 4501379"/>
                    <a:gd name="connsiteY53" fmla="*/ 676275 h 4429294"/>
                    <a:gd name="connsiteX54" fmla="*/ 869144 w 4501379"/>
                    <a:gd name="connsiteY54" fmla="*/ 504825 h 4429294"/>
                    <a:gd name="connsiteX55" fmla="*/ 1148544 w 4501379"/>
                    <a:gd name="connsiteY55" fmla="*/ 311150 h 4429294"/>
                    <a:gd name="connsiteX56" fmla="*/ 1507319 w 4501379"/>
                    <a:gd name="connsiteY56" fmla="*/ 152400 h 4429294"/>
                    <a:gd name="connsiteX57" fmla="*/ 1621619 w 4501379"/>
                    <a:gd name="connsiteY57" fmla="*/ 111125 h 4429294"/>
                    <a:gd name="connsiteX58" fmla="*/ 2253444 w 4501379"/>
                    <a:gd name="connsiteY58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97644 w 4501379"/>
                    <a:gd name="connsiteY49" fmla="*/ 1114425 h 4429294"/>
                    <a:gd name="connsiteX50" fmla="*/ 459569 w 4501379"/>
                    <a:gd name="connsiteY50" fmla="*/ 857250 h 4429294"/>
                    <a:gd name="connsiteX51" fmla="*/ 516719 w 4501379"/>
                    <a:gd name="connsiteY51" fmla="*/ 800100 h 4429294"/>
                    <a:gd name="connsiteX52" fmla="*/ 650069 w 4501379"/>
                    <a:gd name="connsiteY52" fmla="*/ 676275 h 4429294"/>
                    <a:gd name="connsiteX53" fmla="*/ 869144 w 4501379"/>
                    <a:gd name="connsiteY53" fmla="*/ 504825 h 4429294"/>
                    <a:gd name="connsiteX54" fmla="*/ 1148544 w 4501379"/>
                    <a:gd name="connsiteY54" fmla="*/ 311150 h 4429294"/>
                    <a:gd name="connsiteX55" fmla="*/ 1507319 w 4501379"/>
                    <a:gd name="connsiteY55" fmla="*/ 152400 h 4429294"/>
                    <a:gd name="connsiteX56" fmla="*/ 1621619 w 4501379"/>
                    <a:gd name="connsiteY56" fmla="*/ 111125 h 4429294"/>
                    <a:gd name="connsiteX57" fmla="*/ 2253444 w 4501379"/>
                    <a:gd name="connsiteY5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35719 w 4501379"/>
                    <a:gd name="connsiteY46" fmla="*/ 1419225 h 4429294"/>
                    <a:gd name="connsiteX47" fmla="*/ 211919 w 4501379"/>
                    <a:gd name="connsiteY47" fmla="*/ 1276350 h 4429294"/>
                    <a:gd name="connsiteX48" fmla="*/ 297644 w 4501379"/>
                    <a:gd name="connsiteY48" fmla="*/ 1114425 h 4429294"/>
                    <a:gd name="connsiteX49" fmla="*/ 459569 w 4501379"/>
                    <a:gd name="connsiteY49" fmla="*/ 857250 h 4429294"/>
                    <a:gd name="connsiteX50" fmla="*/ 516719 w 4501379"/>
                    <a:gd name="connsiteY50" fmla="*/ 800100 h 4429294"/>
                    <a:gd name="connsiteX51" fmla="*/ 650069 w 4501379"/>
                    <a:gd name="connsiteY51" fmla="*/ 676275 h 4429294"/>
                    <a:gd name="connsiteX52" fmla="*/ 869144 w 4501379"/>
                    <a:gd name="connsiteY52" fmla="*/ 504825 h 4429294"/>
                    <a:gd name="connsiteX53" fmla="*/ 1148544 w 4501379"/>
                    <a:gd name="connsiteY53" fmla="*/ 311150 h 4429294"/>
                    <a:gd name="connsiteX54" fmla="*/ 1507319 w 4501379"/>
                    <a:gd name="connsiteY54" fmla="*/ 152400 h 4429294"/>
                    <a:gd name="connsiteX55" fmla="*/ 1621619 w 4501379"/>
                    <a:gd name="connsiteY55" fmla="*/ 111125 h 4429294"/>
                    <a:gd name="connsiteX56" fmla="*/ 2253444 w 4501379"/>
                    <a:gd name="connsiteY5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88094 w 4501379"/>
                    <a:gd name="connsiteY44" fmla="*/ 1590675 h 4429294"/>
                    <a:gd name="connsiteX45" fmla="*/ 135719 w 4501379"/>
                    <a:gd name="connsiteY45" fmla="*/ 1419225 h 4429294"/>
                    <a:gd name="connsiteX46" fmla="*/ 211919 w 4501379"/>
                    <a:gd name="connsiteY46" fmla="*/ 1276350 h 4429294"/>
                    <a:gd name="connsiteX47" fmla="*/ 297644 w 4501379"/>
                    <a:gd name="connsiteY47" fmla="*/ 1114425 h 4429294"/>
                    <a:gd name="connsiteX48" fmla="*/ 459569 w 4501379"/>
                    <a:gd name="connsiteY48" fmla="*/ 857250 h 4429294"/>
                    <a:gd name="connsiteX49" fmla="*/ 516719 w 4501379"/>
                    <a:gd name="connsiteY49" fmla="*/ 800100 h 4429294"/>
                    <a:gd name="connsiteX50" fmla="*/ 650069 w 4501379"/>
                    <a:gd name="connsiteY50" fmla="*/ 676275 h 4429294"/>
                    <a:gd name="connsiteX51" fmla="*/ 869144 w 4501379"/>
                    <a:gd name="connsiteY51" fmla="*/ 504825 h 4429294"/>
                    <a:gd name="connsiteX52" fmla="*/ 1148544 w 4501379"/>
                    <a:gd name="connsiteY52" fmla="*/ 311150 h 4429294"/>
                    <a:gd name="connsiteX53" fmla="*/ 1507319 w 4501379"/>
                    <a:gd name="connsiteY53" fmla="*/ 152400 h 4429294"/>
                    <a:gd name="connsiteX54" fmla="*/ 1621619 w 4501379"/>
                    <a:gd name="connsiteY54" fmla="*/ 111125 h 4429294"/>
                    <a:gd name="connsiteX55" fmla="*/ 2253444 w 4501379"/>
                    <a:gd name="connsiteY5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88094 w 4501379"/>
                    <a:gd name="connsiteY43" fmla="*/ 1590675 h 4429294"/>
                    <a:gd name="connsiteX44" fmla="*/ 135719 w 4501379"/>
                    <a:gd name="connsiteY44" fmla="*/ 1419225 h 4429294"/>
                    <a:gd name="connsiteX45" fmla="*/ 211919 w 4501379"/>
                    <a:gd name="connsiteY45" fmla="*/ 1276350 h 4429294"/>
                    <a:gd name="connsiteX46" fmla="*/ 297644 w 4501379"/>
                    <a:gd name="connsiteY46" fmla="*/ 1114425 h 4429294"/>
                    <a:gd name="connsiteX47" fmla="*/ 459569 w 4501379"/>
                    <a:gd name="connsiteY47" fmla="*/ 857250 h 4429294"/>
                    <a:gd name="connsiteX48" fmla="*/ 516719 w 4501379"/>
                    <a:gd name="connsiteY48" fmla="*/ 800100 h 4429294"/>
                    <a:gd name="connsiteX49" fmla="*/ 650069 w 4501379"/>
                    <a:gd name="connsiteY49" fmla="*/ 676275 h 4429294"/>
                    <a:gd name="connsiteX50" fmla="*/ 869144 w 4501379"/>
                    <a:gd name="connsiteY50" fmla="*/ 504825 h 4429294"/>
                    <a:gd name="connsiteX51" fmla="*/ 1148544 w 4501379"/>
                    <a:gd name="connsiteY51" fmla="*/ 311150 h 4429294"/>
                    <a:gd name="connsiteX52" fmla="*/ 1507319 w 4501379"/>
                    <a:gd name="connsiteY52" fmla="*/ 152400 h 4429294"/>
                    <a:gd name="connsiteX53" fmla="*/ 1621619 w 4501379"/>
                    <a:gd name="connsiteY53" fmla="*/ 111125 h 4429294"/>
                    <a:gd name="connsiteX54" fmla="*/ 2253444 w 4501379"/>
                    <a:gd name="connsiteY5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88094 w 4501379"/>
                    <a:gd name="connsiteY42" fmla="*/ 1590675 h 4429294"/>
                    <a:gd name="connsiteX43" fmla="*/ 135719 w 4501379"/>
                    <a:gd name="connsiteY43" fmla="*/ 1419225 h 4429294"/>
                    <a:gd name="connsiteX44" fmla="*/ 211919 w 4501379"/>
                    <a:gd name="connsiteY44" fmla="*/ 1276350 h 4429294"/>
                    <a:gd name="connsiteX45" fmla="*/ 297644 w 4501379"/>
                    <a:gd name="connsiteY45" fmla="*/ 1114425 h 4429294"/>
                    <a:gd name="connsiteX46" fmla="*/ 459569 w 4501379"/>
                    <a:gd name="connsiteY46" fmla="*/ 857250 h 4429294"/>
                    <a:gd name="connsiteX47" fmla="*/ 516719 w 4501379"/>
                    <a:gd name="connsiteY47" fmla="*/ 800100 h 4429294"/>
                    <a:gd name="connsiteX48" fmla="*/ 650069 w 4501379"/>
                    <a:gd name="connsiteY48" fmla="*/ 676275 h 4429294"/>
                    <a:gd name="connsiteX49" fmla="*/ 869144 w 4501379"/>
                    <a:gd name="connsiteY49" fmla="*/ 504825 h 4429294"/>
                    <a:gd name="connsiteX50" fmla="*/ 1148544 w 4501379"/>
                    <a:gd name="connsiteY50" fmla="*/ 311150 h 4429294"/>
                    <a:gd name="connsiteX51" fmla="*/ 1507319 w 4501379"/>
                    <a:gd name="connsiteY51" fmla="*/ 152400 h 4429294"/>
                    <a:gd name="connsiteX52" fmla="*/ 1621619 w 4501379"/>
                    <a:gd name="connsiteY52" fmla="*/ 111125 h 4429294"/>
                    <a:gd name="connsiteX53" fmla="*/ 2253444 w 4501379"/>
                    <a:gd name="connsiteY53" fmla="*/ 12700 h 4429294"/>
                    <a:gd name="connsiteX0" fmla="*/ 2277090 w 4499625"/>
                    <a:gd name="connsiteY0" fmla="*/ 0 h 4429294"/>
                    <a:gd name="connsiteX1" fmla="*/ 2600940 w 4499625"/>
                    <a:gd name="connsiteY1" fmla="*/ 15875 h 4429294"/>
                    <a:gd name="connsiteX2" fmla="*/ 2896215 w 4499625"/>
                    <a:gd name="connsiteY2" fmla="*/ 85725 h 4429294"/>
                    <a:gd name="connsiteX3" fmla="*/ 3115290 w 4499625"/>
                    <a:gd name="connsiteY3" fmla="*/ 171450 h 4429294"/>
                    <a:gd name="connsiteX4" fmla="*/ 3220065 w 4499625"/>
                    <a:gd name="connsiteY4" fmla="*/ 228600 h 4429294"/>
                    <a:gd name="connsiteX5" fmla="*/ 3401040 w 4499625"/>
                    <a:gd name="connsiteY5" fmla="*/ 323850 h 4429294"/>
                    <a:gd name="connsiteX6" fmla="*/ 3791565 w 4499625"/>
                    <a:gd name="connsiteY6" fmla="*/ 581025 h 4429294"/>
                    <a:gd name="connsiteX7" fmla="*/ 4007465 w 4499625"/>
                    <a:gd name="connsiteY7" fmla="*/ 819150 h 4429294"/>
                    <a:gd name="connsiteX8" fmla="*/ 4143990 w 4499625"/>
                    <a:gd name="connsiteY8" fmla="*/ 990600 h 4429294"/>
                    <a:gd name="connsiteX9" fmla="*/ 4229715 w 4499625"/>
                    <a:gd name="connsiteY9" fmla="*/ 1143000 h 4429294"/>
                    <a:gd name="connsiteX10" fmla="*/ 4286865 w 4499625"/>
                    <a:gd name="connsiteY10" fmla="*/ 1266825 h 4429294"/>
                    <a:gd name="connsiteX11" fmla="*/ 4324965 w 4499625"/>
                    <a:gd name="connsiteY11" fmla="*/ 1362075 h 4429294"/>
                    <a:gd name="connsiteX12" fmla="*/ 4372590 w 4499625"/>
                    <a:gd name="connsiteY12" fmla="*/ 1552575 h 4429294"/>
                    <a:gd name="connsiteX13" fmla="*/ 4410690 w 4499625"/>
                    <a:gd name="connsiteY13" fmla="*/ 1685925 h 4429294"/>
                    <a:gd name="connsiteX14" fmla="*/ 4499590 w 4499625"/>
                    <a:gd name="connsiteY14" fmla="*/ 2181225 h 4429294"/>
                    <a:gd name="connsiteX15" fmla="*/ 4426565 w 4499625"/>
                    <a:gd name="connsiteY15" fmla="*/ 2768600 h 4429294"/>
                    <a:gd name="connsiteX16" fmla="*/ 4363065 w 4499625"/>
                    <a:gd name="connsiteY16" fmla="*/ 2990850 h 4429294"/>
                    <a:gd name="connsiteX17" fmla="*/ 4258290 w 4499625"/>
                    <a:gd name="connsiteY17" fmla="*/ 3248025 h 4429294"/>
                    <a:gd name="connsiteX18" fmla="*/ 4163040 w 4499625"/>
                    <a:gd name="connsiteY18" fmla="*/ 3400425 h 4429294"/>
                    <a:gd name="connsiteX19" fmla="*/ 4039215 w 4499625"/>
                    <a:gd name="connsiteY19" fmla="*/ 3533775 h 4429294"/>
                    <a:gd name="connsiteX20" fmla="*/ 3934440 w 4499625"/>
                    <a:gd name="connsiteY20" fmla="*/ 3648075 h 4429294"/>
                    <a:gd name="connsiteX21" fmla="*/ 3639165 w 4499625"/>
                    <a:gd name="connsiteY21" fmla="*/ 3971925 h 4429294"/>
                    <a:gd name="connsiteX22" fmla="*/ 3496290 w 4499625"/>
                    <a:gd name="connsiteY22" fmla="*/ 4083050 h 4429294"/>
                    <a:gd name="connsiteX23" fmla="*/ 3201015 w 4499625"/>
                    <a:gd name="connsiteY23" fmla="*/ 4222750 h 4429294"/>
                    <a:gd name="connsiteX24" fmla="*/ 3048615 w 4499625"/>
                    <a:gd name="connsiteY24" fmla="*/ 4286250 h 4429294"/>
                    <a:gd name="connsiteX25" fmla="*/ 2915265 w 4499625"/>
                    <a:gd name="connsiteY25" fmla="*/ 4333875 h 4429294"/>
                    <a:gd name="connsiteX26" fmla="*/ 2791440 w 4499625"/>
                    <a:gd name="connsiteY26" fmla="*/ 4371975 h 4429294"/>
                    <a:gd name="connsiteX27" fmla="*/ 2559665 w 4499625"/>
                    <a:gd name="connsiteY27" fmla="*/ 4391025 h 4429294"/>
                    <a:gd name="connsiteX28" fmla="*/ 2105640 w 4499625"/>
                    <a:gd name="connsiteY28" fmla="*/ 4429125 h 4429294"/>
                    <a:gd name="connsiteX29" fmla="*/ 1915140 w 4499625"/>
                    <a:gd name="connsiteY29" fmla="*/ 4400550 h 4429294"/>
                    <a:gd name="connsiteX30" fmla="*/ 1553190 w 4499625"/>
                    <a:gd name="connsiteY30" fmla="*/ 4305300 h 4429294"/>
                    <a:gd name="connsiteX31" fmla="*/ 1311890 w 4499625"/>
                    <a:gd name="connsiteY31" fmla="*/ 4216400 h 4429294"/>
                    <a:gd name="connsiteX32" fmla="*/ 1143615 w 4499625"/>
                    <a:gd name="connsiteY32" fmla="*/ 4111625 h 4429294"/>
                    <a:gd name="connsiteX33" fmla="*/ 924540 w 4499625"/>
                    <a:gd name="connsiteY33" fmla="*/ 3968750 h 4429294"/>
                    <a:gd name="connsiteX34" fmla="*/ 591165 w 4499625"/>
                    <a:gd name="connsiteY34" fmla="*/ 3657600 h 4429294"/>
                    <a:gd name="connsiteX35" fmla="*/ 445115 w 4499625"/>
                    <a:gd name="connsiteY35" fmla="*/ 3470275 h 4429294"/>
                    <a:gd name="connsiteX36" fmla="*/ 314940 w 4499625"/>
                    <a:gd name="connsiteY36" fmla="*/ 3244850 h 4429294"/>
                    <a:gd name="connsiteX37" fmla="*/ 162540 w 4499625"/>
                    <a:gd name="connsiteY37" fmla="*/ 2892425 h 4429294"/>
                    <a:gd name="connsiteX38" fmla="*/ 54590 w 4499625"/>
                    <a:gd name="connsiteY38" fmla="*/ 2368550 h 4429294"/>
                    <a:gd name="connsiteX39" fmla="*/ 615 w 4499625"/>
                    <a:gd name="connsiteY39" fmla="*/ 1905000 h 4429294"/>
                    <a:gd name="connsiteX40" fmla="*/ 29190 w 4499625"/>
                    <a:gd name="connsiteY40" fmla="*/ 1781175 h 4429294"/>
                    <a:gd name="connsiteX41" fmla="*/ 86340 w 4499625"/>
                    <a:gd name="connsiteY41" fmla="*/ 1590675 h 4429294"/>
                    <a:gd name="connsiteX42" fmla="*/ 133965 w 4499625"/>
                    <a:gd name="connsiteY42" fmla="*/ 1419225 h 4429294"/>
                    <a:gd name="connsiteX43" fmla="*/ 210165 w 4499625"/>
                    <a:gd name="connsiteY43" fmla="*/ 1276350 h 4429294"/>
                    <a:gd name="connsiteX44" fmla="*/ 295890 w 4499625"/>
                    <a:gd name="connsiteY44" fmla="*/ 1114425 h 4429294"/>
                    <a:gd name="connsiteX45" fmla="*/ 457815 w 4499625"/>
                    <a:gd name="connsiteY45" fmla="*/ 857250 h 4429294"/>
                    <a:gd name="connsiteX46" fmla="*/ 514965 w 4499625"/>
                    <a:gd name="connsiteY46" fmla="*/ 800100 h 4429294"/>
                    <a:gd name="connsiteX47" fmla="*/ 648315 w 4499625"/>
                    <a:gd name="connsiteY47" fmla="*/ 676275 h 4429294"/>
                    <a:gd name="connsiteX48" fmla="*/ 867390 w 4499625"/>
                    <a:gd name="connsiteY48" fmla="*/ 504825 h 4429294"/>
                    <a:gd name="connsiteX49" fmla="*/ 1146790 w 4499625"/>
                    <a:gd name="connsiteY49" fmla="*/ 311150 h 4429294"/>
                    <a:gd name="connsiteX50" fmla="*/ 1505565 w 4499625"/>
                    <a:gd name="connsiteY50" fmla="*/ 152400 h 4429294"/>
                    <a:gd name="connsiteX51" fmla="*/ 1619865 w 4499625"/>
                    <a:gd name="connsiteY51" fmla="*/ 111125 h 4429294"/>
                    <a:gd name="connsiteX52" fmla="*/ 2251690 w 4499625"/>
                    <a:gd name="connsiteY52" fmla="*/ 12700 h 4429294"/>
                    <a:gd name="connsiteX0" fmla="*/ 2249427 w 4471962"/>
                    <a:gd name="connsiteY0" fmla="*/ 0 h 4429294"/>
                    <a:gd name="connsiteX1" fmla="*/ 2573277 w 4471962"/>
                    <a:gd name="connsiteY1" fmla="*/ 15875 h 4429294"/>
                    <a:gd name="connsiteX2" fmla="*/ 2868552 w 4471962"/>
                    <a:gd name="connsiteY2" fmla="*/ 85725 h 4429294"/>
                    <a:gd name="connsiteX3" fmla="*/ 3087627 w 4471962"/>
                    <a:gd name="connsiteY3" fmla="*/ 171450 h 4429294"/>
                    <a:gd name="connsiteX4" fmla="*/ 3192402 w 4471962"/>
                    <a:gd name="connsiteY4" fmla="*/ 228600 h 4429294"/>
                    <a:gd name="connsiteX5" fmla="*/ 3373377 w 4471962"/>
                    <a:gd name="connsiteY5" fmla="*/ 323850 h 4429294"/>
                    <a:gd name="connsiteX6" fmla="*/ 3763902 w 4471962"/>
                    <a:gd name="connsiteY6" fmla="*/ 581025 h 4429294"/>
                    <a:gd name="connsiteX7" fmla="*/ 3979802 w 4471962"/>
                    <a:gd name="connsiteY7" fmla="*/ 819150 h 4429294"/>
                    <a:gd name="connsiteX8" fmla="*/ 4116327 w 4471962"/>
                    <a:gd name="connsiteY8" fmla="*/ 990600 h 4429294"/>
                    <a:gd name="connsiteX9" fmla="*/ 4202052 w 4471962"/>
                    <a:gd name="connsiteY9" fmla="*/ 1143000 h 4429294"/>
                    <a:gd name="connsiteX10" fmla="*/ 4259202 w 4471962"/>
                    <a:gd name="connsiteY10" fmla="*/ 1266825 h 4429294"/>
                    <a:gd name="connsiteX11" fmla="*/ 4297302 w 4471962"/>
                    <a:gd name="connsiteY11" fmla="*/ 1362075 h 4429294"/>
                    <a:gd name="connsiteX12" fmla="*/ 4344927 w 4471962"/>
                    <a:gd name="connsiteY12" fmla="*/ 1552575 h 4429294"/>
                    <a:gd name="connsiteX13" fmla="*/ 4383027 w 4471962"/>
                    <a:gd name="connsiteY13" fmla="*/ 1685925 h 4429294"/>
                    <a:gd name="connsiteX14" fmla="*/ 4471927 w 4471962"/>
                    <a:gd name="connsiteY14" fmla="*/ 2181225 h 4429294"/>
                    <a:gd name="connsiteX15" fmla="*/ 4398902 w 4471962"/>
                    <a:gd name="connsiteY15" fmla="*/ 2768600 h 4429294"/>
                    <a:gd name="connsiteX16" fmla="*/ 4335402 w 4471962"/>
                    <a:gd name="connsiteY16" fmla="*/ 2990850 h 4429294"/>
                    <a:gd name="connsiteX17" fmla="*/ 4230627 w 4471962"/>
                    <a:gd name="connsiteY17" fmla="*/ 3248025 h 4429294"/>
                    <a:gd name="connsiteX18" fmla="*/ 4135377 w 4471962"/>
                    <a:gd name="connsiteY18" fmla="*/ 3400425 h 4429294"/>
                    <a:gd name="connsiteX19" fmla="*/ 4011552 w 4471962"/>
                    <a:gd name="connsiteY19" fmla="*/ 3533775 h 4429294"/>
                    <a:gd name="connsiteX20" fmla="*/ 3906777 w 4471962"/>
                    <a:gd name="connsiteY20" fmla="*/ 3648075 h 4429294"/>
                    <a:gd name="connsiteX21" fmla="*/ 3611502 w 4471962"/>
                    <a:gd name="connsiteY21" fmla="*/ 3971925 h 4429294"/>
                    <a:gd name="connsiteX22" fmla="*/ 3468627 w 4471962"/>
                    <a:gd name="connsiteY22" fmla="*/ 4083050 h 4429294"/>
                    <a:gd name="connsiteX23" fmla="*/ 3173352 w 4471962"/>
                    <a:gd name="connsiteY23" fmla="*/ 4222750 h 4429294"/>
                    <a:gd name="connsiteX24" fmla="*/ 3020952 w 4471962"/>
                    <a:gd name="connsiteY24" fmla="*/ 4286250 h 4429294"/>
                    <a:gd name="connsiteX25" fmla="*/ 2887602 w 4471962"/>
                    <a:gd name="connsiteY25" fmla="*/ 4333875 h 4429294"/>
                    <a:gd name="connsiteX26" fmla="*/ 2763777 w 4471962"/>
                    <a:gd name="connsiteY26" fmla="*/ 4371975 h 4429294"/>
                    <a:gd name="connsiteX27" fmla="*/ 2532002 w 4471962"/>
                    <a:gd name="connsiteY27" fmla="*/ 4391025 h 4429294"/>
                    <a:gd name="connsiteX28" fmla="*/ 2077977 w 4471962"/>
                    <a:gd name="connsiteY28" fmla="*/ 4429125 h 4429294"/>
                    <a:gd name="connsiteX29" fmla="*/ 1887477 w 4471962"/>
                    <a:gd name="connsiteY29" fmla="*/ 4400550 h 4429294"/>
                    <a:gd name="connsiteX30" fmla="*/ 1525527 w 4471962"/>
                    <a:gd name="connsiteY30" fmla="*/ 4305300 h 4429294"/>
                    <a:gd name="connsiteX31" fmla="*/ 1284227 w 4471962"/>
                    <a:gd name="connsiteY31" fmla="*/ 4216400 h 4429294"/>
                    <a:gd name="connsiteX32" fmla="*/ 1115952 w 4471962"/>
                    <a:gd name="connsiteY32" fmla="*/ 4111625 h 4429294"/>
                    <a:gd name="connsiteX33" fmla="*/ 896877 w 4471962"/>
                    <a:gd name="connsiteY33" fmla="*/ 3968750 h 4429294"/>
                    <a:gd name="connsiteX34" fmla="*/ 563502 w 4471962"/>
                    <a:gd name="connsiteY34" fmla="*/ 3657600 h 4429294"/>
                    <a:gd name="connsiteX35" fmla="*/ 417452 w 4471962"/>
                    <a:gd name="connsiteY35" fmla="*/ 3470275 h 4429294"/>
                    <a:gd name="connsiteX36" fmla="*/ 287277 w 4471962"/>
                    <a:gd name="connsiteY36" fmla="*/ 3244850 h 4429294"/>
                    <a:gd name="connsiteX37" fmla="*/ 134877 w 4471962"/>
                    <a:gd name="connsiteY37" fmla="*/ 2892425 h 4429294"/>
                    <a:gd name="connsiteX38" fmla="*/ 26927 w 4471962"/>
                    <a:gd name="connsiteY38" fmla="*/ 2368550 h 4429294"/>
                    <a:gd name="connsiteX39" fmla="*/ 1527 w 4471962"/>
                    <a:gd name="connsiteY39" fmla="*/ 1781175 h 4429294"/>
                    <a:gd name="connsiteX40" fmla="*/ 58677 w 4471962"/>
                    <a:gd name="connsiteY40" fmla="*/ 1590675 h 4429294"/>
                    <a:gd name="connsiteX41" fmla="*/ 106302 w 4471962"/>
                    <a:gd name="connsiteY41" fmla="*/ 1419225 h 4429294"/>
                    <a:gd name="connsiteX42" fmla="*/ 182502 w 4471962"/>
                    <a:gd name="connsiteY42" fmla="*/ 1276350 h 4429294"/>
                    <a:gd name="connsiteX43" fmla="*/ 268227 w 4471962"/>
                    <a:gd name="connsiteY43" fmla="*/ 1114425 h 4429294"/>
                    <a:gd name="connsiteX44" fmla="*/ 430152 w 4471962"/>
                    <a:gd name="connsiteY44" fmla="*/ 857250 h 4429294"/>
                    <a:gd name="connsiteX45" fmla="*/ 487302 w 4471962"/>
                    <a:gd name="connsiteY45" fmla="*/ 800100 h 4429294"/>
                    <a:gd name="connsiteX46" fmla="*/ 620652 w 4471962"/>
                    <a:gd name="connsiteY46" fmla="*/ 676275 h 4429294"/>
                    <a:gd name="connsiteX47" fmla="*/ 839727 w 4471962"/>
                    <a:gd name="connsiteY47" fmla="*/ 504825 h 4429294"/>
                    <a:gd name="connsiteX48" fmla="*/ 1119127 w 4471962"/>
                    <a:gd name="connsiteY48" fmla="*/ 311150 h 4429294"/>
                    <a:gd name="connsiteX49" fmla="*/ 1477902 w 4471962"/>
                    <a:gd name="connsiteY49" fmla="*/ 152400 h 4429294"/>
                    <a:gd name="connsiteX50" fmla="*/ 1592202 w 4471962"/>
                    <a:gd name="connsiteY50" fmla="*/ 111125 h 4429294"/>
                    <a:gd name="connsiteX51" fmla="*/ 2224027 w 4471962"/>
                    <a:gd name="connsiteY51" fmla="*/ 12700 h 4429294"/>
                    <a:gd name="connsiteX0" fmla="*/ 2231942 w 4454477"/>
                    <a:gd name="connsiteY0" fmla="*/ 0 h 4429294"/>
                    <a:gd name="connsiteX1" fmla="*/ 2555792 w 4454477"/>
                    <a:gd name="connsiteY1" fmla="*/ 15875 h 4429294"/>
                    <a:gd name="connsiteX2" fmla="*/ 2851067 w 4454477"/>
                    <a:gd name="connsiteY2" fmla="*/ 85725 h 4429294"/>
                    <a:gd name="connsiteX3" fmla="*/ 3070142 w 4454477"/>
                    <a:gd name="connsiteY3" fmla="*/ 171450 h 4429294"/>
                    <a:gd name="connsiteX4" fmla="*/ 3174917 w 4454477"/>
                    <a:gd name="connsiteY4" fmla="*/ 228600 h 4429294"/>
                    <a:gd name="connsiteX5" fmla="*/ 3355892 w 4454477"/>
                    <a:gd name="connsiteY5" fmla="*/ 323850 h 4429294"/>
                    <a:gd name="connsiteX6" fmla="*/ 3746417 w 4454477"/>
                    <a:gd name="connsiteY6" fmla="*/ 581025 h 4429294"/>
                    <a:gd name="connsiteX7" fmla="*/ 3962317 w 4454477"/>
                    <a:gd name="connsiteY7" fmla="*/ 819150 h 4429294"/>
                    <a:gd name="connsiteX8" fmla="*/ 4098842 w 4454477"/>
                    <a:gd name="connsiteY8" fmla="*/ 990600 h 4429294"/>
                    <a:gd name="connsiteX9" fmla="*/ 4184567 w 4454477"/>
                    <a:gd name="connsiteY9" fmla="*/ 1143000 h 4429294"/>
                    <a:gd name="connsiteX10" fmla="*/ 4241717 w 4454477"/>
                    <a:gd name="connsiteY10" fmla="*/ 1266825 h 4429294"/>
                    <a:gd name="connsiteX11" fmla="*/ 4279817 w 4454477"/>
                    <a:gd name="connsiteY11" fmla="*/ 1362075 h 4429294"/>
                    <a:gd name="connsiteX12" fmla="*/ 4327442 w 4454477"/>
                    <a:gd name="connsiteY12" fmla="*/ 1552575 h 4429294"/>
                    <a:gd name="connsiteX13" fmla="*/ 4365542 w 4454477"/>
                    <a:gd name="connsiteY13" fmla="*/ 1685925 h 4429294"/>
                    <a:gd name="connsiteX14" fmla="*/ 4454442 w 4454477"/>
                    <a:gd name="connsiteY14" fmla="*/ 2181225 h 4429294"/>
                    <a:gd name="connsiteX15" fmla="*/ 4381417 w 4454477"/>
                    <a:gd name="connsiteY15" fmla="*/ 2768600 h 4429294"/>
                    <a:gd name="connsiteX16" fmla="*/ 4317917 w 4454477"/>
                    <a:gd name="connsiteY16" fmla="*/ 2990850 h 4429294"/>
                    <a:gd name="connsiteX17" fmla="*/ 4213142 w 4454477"/>
                    <a:gd name="connsiteY17" fmla="*/ 3248025 h 4429294"/>
                    <a:gd name="connsiteX18" fmla="*/ 4117892 w 4454477"/>
                    <a:gd name="connsiteY18" fmla="*/ 3400425 h 4429294"/>
                    <a:gd name="connsiteX19" fmla="*/ 3994067 w 4454477"/>
                    <a:gd name="connsiteY19" fmla="*/ 3533775 h 4429294"/>
                    <a:gd name="connsiteX20" fmla="*/ 3889292 w 4454477"/>
                    <a:gd name="connsiteY20" fmla="*/ 3648075 h 4429294"/>
                    <a:gd name="connsiteX21" fmla="*/ 3594017 w 4454477"/>
                    <a:gd name="connsiteY21" fmla="*/ 3971925 h 4429294"/>
                    <a:gd name="connsiteX22" fmla="*/ 3451142 w 4454477"/>
                    <a:gd name="connsiteY22" fmla="*/ 4083050 h 4429294"/>
                    <a:gd name="connsiteX23" fmla="*/ 3155867 w 4454477"/>
                    <a:gd name="connsiteY23" fmla="*/ 4222750 h 4429294"/>
                    <a:gd name="connsiteX24" fmla="*/ 3003467 w 4454477"/>
                    <a:gd name="connsiteY24" fmla="*/ 4286250 h 4429294"/>
                    <a:gd name="connsiteX25" fmla="*/ 2870117 w 4454477"/>
                    <a:gd name="connsiteY25" fmla="*/ 4333875 h 4429294"/>
                    <a:gd name="connsiteX26" fmla="*/ 2746292 w 4454477"/>
                    <a:gd name="connsiteY26" fmla="*/ 4371975 h 4429294"/>
                    <a:gd name="connsiteX27" fmla="*/ 2514517 w 4454477"/>
                    <a:gd name="connsiteY27" fmla="*/ 4391025 h 4429294"/>
                    <a:gd name="connsiteX28" fmla="*/ 2060492 w 4454477"/>
                    <a:gd name="connsiteY28" fmla="*/ 4429125 h 4429294"/>
                    <a:gd name="connsiteX29" fmla="*/ 1869992 w 4454477"/>
                    <a:gd name="connsiteY29" fmla="*/ 4400550 h 4429294"/>
                    <a:gd name="connsiteX30" fmla="*/ 1508042 w 4454477"/>
                    <a:gd name="connsiteY30" fmla="*/ 4305300 h 4429294"/>
                    <a:gd name="connsiteX31" fmla="*/ 1266742 w 4454477"/>
                    <a:gd name="connsiteY31" fmla="*/ 4216400 h 4429294"/>
                    <a:gd name="connsiteX32" fmla="*/ 1098467 w 4454477"/>
                    <a:gd name="connsiteY32" fmla="*/ 4111625 h 4429294"/>
                    <a:gd name="connsiteX33" fmla="*/ 879392 w 4454477"/>
                    <a:gd name="connsiteY33" fmla="*/ 3968750 h 4429294"/>
                    <a:gd name="connsiteX34" fmla="*/ 546017 w 4454477"/>
                    <a:gd name="connsiteY34" fmla="*/ 3657600 h 4429294"/>
                    <a:gd name="connsiteX35" fmla="*/ 399967 w 4454477"/>
                    <a:gd name="connsiteY35" fmla="*/ 3470275 h 4429294"/>
                    <a:gd name="connsiteX36" fmla="*/ 269792 w 4454477"/>
                    <a:gd name="connsiteY36" fmla="*/ 3244850 h 4429294"/>
                    <a:gd name="connsiteX37" fmla="*/ 117392 w 4454477"/>
                    <a:gd name="connsiteY37" fmla="*/ 2892425 h 4429294"/>
                    <a:gd name="connsiteX38" fmla="*/ 9442 w 4454477"/>
                    <a:gd name="connsiteY38" fmla="*/ 2368550 h 4429294"/>
                    <a:gd name="connsiteX39" fmla="*/ 15792 w 4454477"/>
                    <a:gd name="connsiteY39" fmla="*/ 1870075 h 4429294"/>
                    <a:gd name="connsiteX40" fmla="*/ 41192 w 4454477"/>
                    <a:gd name="connsiteY40" fmla="*/ 1590675 h 4429294"/>
                    <a:gd name="connsiteX41" fmla="*/ 88817 w 4454477"/>
                    <a:gd name="connsiteY41" fmla="*/ 1419225 h 4429294"/>
                    <a:gd name="connsiteX42" fmla="*/ 165017 w 4454477"/>
                    <a:gd name="connsiteY42" fmla="*/ 1276350 h 4429294"/>
                    <a:gd name="connsiteX43" fmla="*/ 250742 w 4454477"/>
                    <a:gd name="connsiteY43" fmla="*/ 1114425 h 4429294"/>
                    <a:gd name="connsiteX44" fmla="*/ 412667 w 4454477"/>
                    <a:gd name="connsiteY44" fmla="*/ 857250 h 4429294"/>
                    <a:gd name="connsiteX45" fmla="*/ 469817 w 4454477"/>
                    <a:gd name="connsiteY45" fmla="*/ 800100 h 4429294"/>
                    <a:gd name="connsiteX46" fmla="*/ 603167 w 4454477"/>
                    <a:gd name="connsiteY46" fmla="*/ 676275 h 4429294"/>
                    <a:gd name="connsiteX47" fmla="*/ 822242 w 4454477"/>
                    <a:gd name="connsiteY47" fmla="*/ 504825 h 4429294"/>
                    <a:gd name="connsiteX48" fmla="*/ 1101642 w 4454477"/>
                    <a:gd name="connsiteY48" fmla="*/ 311150 h 4429294"/>
                    <a:gd name="connsiteX49" fmla="*/ 1460417 w 4454477"/>
                    <a:gd name="connsiteY49" fmla="*/ 152400 h 4429294"/>
                    <a:gd name="connsiteX50" fmla="*/ 1574717 w 4454477"/>
                    <a:gd name="connsiteY50" fmla="*/ 111125 h 4429294"/>
                    <a:gd name="connsiteX51" fmla="*/ 2206542 w 4454477"/>
                    <a:gd name="connsiteY51" fmla="*/ 12700 h 4429294"/>
                    <a:gd name="connsiteX0" fmla="*/ 2233750 w 4456285"/>
                    <a:gd name="connsiteY0" fmla="*/ 0 h 4429294"/>
                    <a:gd name="connsiteX1" fmla="*/ 2557600 w 4456285"/>
                    <a:gd name="connsiteY1" fmla="*/ 15875 h 4429294"/>
                    <a:gd name="connsiteX2" fmla="*/ 2852875 w 4456285"/>
                    <a:gd name="connsiteY2" fmla="*/ 85725 h 4429294"/>
                    <a:gd name="connsiteX3" fmla="*/ 3071950 w 4456285"/>
                    <a:gd name="connsiteY3" fmla="*/ 171450 h 4429294"/>
                    <a:gd name="connsiteX4" fmla="*/ 3176725 w 4456285"/>
                    <a:gd name="connsiteY4" fmla="*/ 228600 h 4429294"/>
                    <a:gd name="connsiteX5" fmla="*/ 3357700 w 4456285"/>
                    <a:gd name="connsiteY5" fmla="*/ 323850 h 4429294"/>
                    <a:gd name="connsiteX6" fmla="*/ 3748225 w 4456285"/>
                    <a:gd name="connsiteY6" fmla="*/ 581025 h 4429294"/>
                    <a:gd name="connsiteX7" fmla="*/ 3964125 w 4456285"/>
                    <a:gd name="connsiteY7" fmla="*/ 819150 h 4429294"/>
                    <a:gd name="connsiteX8" fmla="*/ 4100650 w 4456285"/>
                    <a:gd name="connsiteY8" fmla="*/ 990600 h 4429294"/>
                    <a:gd name="connsiteX9" fmla="*/ 4186375 w 4456285"/>
                    <a:gd name="connsiteY9" fmla="*/ 1143000 h 4429294"/>
                    <a:gd name="connsiteX10" fmla="*/ 4243525 w 4456285"/>
                    <a:gd name="connsiteY10" fmla="*/ 1266825 h 4429294"/>
                    <a:gd name="connsiteX11" fmla="*/ 4281625 w 4456285"/>
                    <a:gd name="connsiteY11" fmla="*/ 1362075 h 4429294"/>
                    <a:gd name="connsiteX12" fmla="*/ 4329250 w 4456285"/>
                    <a:gd name="connsiteY12" fmla="*/ 1552575 h 4429294"/>
                    <a:gd name="connsiteX13" fmla="*/ 4367350 w 4456285"/>
                    <a:gd name="connsiteY13" fmla="*/ 1685925 h 4429294"/>
                    <a:gd name="connsiteX14" fmla="*/ 4456250 w 4456285"/>
                    <a:gd name="connsiteY14" fmla="*/ 2181225 h 4429294"/>
                    <a:gd name="connsiteX15" fmla="*/ 4383225 w 4456285"/>
                    <a:gd name="connsiteY15" fmla="*/ 2768600 h 4429294"/>
                    <a:gd name="connsiteX16" fmla="*/ 4319725 w 4456285"/>
                    <a:gd name="connsiteY16" fmla="*/ 2990850 h 4429294"/>
                    <a:gd name="connsiteX17" fmla="*/ 4214950 w 4456285"/>
                    <a:gd name="connsiteY17" fmla="*/ 3248025 h 4429294"/>
                    <a:gd name="connsiteX18" fmla="*/ 4119700 w 4456285"/>
                    <a:gd name="connsiteY18" fmla="*/ 3400425 h 4429294"/>
                    <a:gd name="connsiteX19" fmla="*/ 3995875 w 4456285"/>
                    <a:gd name="connsiteY19" fmla="*/ 3533775 h 4429294"/>
                    <a:gd name="connsiteX20" fmla="*/ 3891100 w 4456285"/>
                    <a:gd name="connsiteY20" fmla="*/ 3648075 h 4429294"/>
                    <a:gd name="connsiteX21" fmla="*/ 3595825 w 4456285"/>
                    <a:gd name="connsiteY21" fmla="*/ 3971925 h 4429294"/>
                    <a:gd name="connsiteX22" fmla="*/ 3452950 w 4456285"/>
                    <a:gd name="connsiteY22" fmla="*/ 4083050 h 4429294"/>
                    <a:gd name="connsiteX23" fmla="*/ 3157675 w 4456285"/>
                    <a:gd name="connsiteY23" fmla="*/ 4222750 h 4429294"/>
                    <a:gd name="connsiteX24" fmla="*/ 3005275 w 4456285"/>
                    <a:gd name="connsiteY24" fmla="*/ 4286250 h 4429294"/>
                    <a:gd name="connsiteX25" fmla="*/ 2871925 w 4456285"/>
                    <a:gd name="connsiteY25" fmla="*/ 4333875 h 4429294"/>
                    <a:gd name="connsiteX26" fmla="*/ 2748100 w 4456285"/>
                    <a:gd name="connsiteY26" fmla="*/ 4371975 h 4429294"/>
                    <a:gd name="connsiteX27" fmla="*/ 2516325 w 4456285"/>
                    <a:gd name="connsiteY27" fmla="*/ 4391025 h 4429294"/>
                    <a:gd name="connsiteX28" fmla="*/ 2062300 w 4456285"/>
                    <a:gd name="connsiteY28" fmla="*/ 4429125 h 4429294"/>
                    <a:gd name="connsiteX29" fmla="*/ 1871800 w 4456285"/>
                    <a:gd name="connsiteY29" fmla="*/ 4400550 h 4429294"/>
                    <a:gd name="connsiteX30" fmla="*/ 1509850 w 4456285"/>
                    <a:gd name="connsiteY30" fmla="*/ 4305300 h 4429294"/>
                    <a:gd name="connsiteX31" fmla="*/ 1268550 w 4456285"/>
                    <a:gd name="connsiteY31" fmla="*/ 4216400 h 4429294"/>
                    <a:gd name="connsiteX32" fmla="*/ 1100275 w 4456285"/>
                    <a:gd name="connsiteY32" fmla="*/ 4111625 h 4429294"/>
                    <a:gd name="connsiteX33" fmla="*/ 881200 w 4456285"/>
                    <a:gd name="connsiteY33" fmla="*/ 3968750 h 4429294"/>
                    <a:gd name="connsiteX34" fmla="*/ 547825 w 4456285"/>
                    <a:gd name="connsiteY34" fmla="*/ 3657600 h 4429294"/>
                    <a:gd name="connsiteX35" fmla="*/ 401775 w 4456285"/>
                    <a:gd name="connsiteY35" fmla="*/ 3470275 h 4429294"/>
                    <a:gd name="connsiteX36" fmla="*/ 271600 w 4456285"/>
                    <a:gd name="connsiteY36" fmla="*/ 3244850 h 4429294"/>
                    <a:gd name="connsiteX37" fmla="*/ 119200 w 4456285"/>
                    <a:gd name="connsiteY37" fmla="*/ 2892425 h 4429294"/>
                    <a:gd name="connsiteX38" fmla="*/ 11250 w 4456285"/>
                    <a:gd name="connsiteY38" fmla="*/ 2368550 h 4429294"/>
                    <a:gd name="connsiteX39" fmla="*/ 17600 w 4456285"/>
                    <a:gd name="connsiteY39" fmla="*/ 1870075 h 4429294"/>
                    <a:gd name="connsiteX40" fmla="*/ 90625 w 4456285"/>
                    <a:gd name="connsiteY40" fmla="*/ 1419225 h 4429294"/>
                    <a:gd name="connsiteX41" fmla="*/ 166825 w 4456285"/>
                    <a:gd name="connsiteY41" fmla="*/ 1276350 h 4429294"/>
                    <a:gd name="connsiteX42" fmla="*/ 252550 w 4456285"/>
                    <a:gd name="connsiteY42" fmla="*/ 1114425 h 4429294"/>
                    <a:gd name="connsiteX43" fmla="*/ 414475 w 4456285"/>
                    <a:gd name="connsiteY43" fmla="*/ 857250 h 4429294"/>
                    <a:gd name="connsiteX44" fmla="*/ 471625 w 4456285"/>
                    <a:gd name="connsiteY44" fmla="*/ 800100 h 4429294"/>
                    <a:gd name="connsiteX45" fmla="*/ 604975 w 4456285"/>
                    <a:gd name="connsiteY45" fmla="*/ 676275 h 4429294"/>
                    <a:gd name="connsiteX46" fmla="*/ 824050 w 4456285"/>
                    <a:gd name="connsiteY46" fmla="*/ 504825 h 4429294"/>
                    <a:gd name="connsiteX47" fmla="*/ 1103450 w 4456285"/>
                    <a:gd name="connsiteY47" fmla="*/ 311150 h 4429294"/>
                    <a:gd name="connsiteX48" fmla="*/ 1462225 w 4456285"/>
                    <a:gd name="connsiteY48" fmla="*/ 152400 h 4429294"/>
                    <a:gd name="connsiteX49" fmla="*/ 1576525 w 4456285"/>
                    <a:gd name="connsiteY49" fmla="*/ 111125 h 4429294"/>
                    <a:gd name="connsiteX50" fmla="*/ 2208350 w 4456285"/>
                    <a:gd name="connsiteY50" fmla="*/ 12700 h 4429294"/>
                    <a:gd name="connsiteX0" fmla="*/ 2237540 w 4460075"/>
                    <a:gd name="connsiteY0" fmla="*/ 0 h 4429294"/>
                    <a:gd name="connsiteX1" fmla="*/ 2561390 w 4460075"/>
                    <a:gd name="connsiteY1" fmla="*/ 15875 h 4429294"/>
                    <a:gd name="connsiteX2" fmla="*/ 2856665 w 4460075"/>
                    <a:gd name="connsiteY2" fmla="*/ 85725 h 4429294"/>
                    <a:gd name="connsiteX3" fmla="*/ 3075740 w 4460075"/>
                    <a:gd name="connsiteY3" fmla="*/ 171450 h 4429294"/>
                    <a:gd name="connsiteX4" fmla="*/ 3180515 w 4460075"/>
                    <a:gd name="connsiteY4" fmla="*/ 228600 h 4429294"/>
                    <a:gd name="connsiteX5" fmla="*/ 3361490 w 4460075"/>
                    <a:gd name="connsiteY5" fmla="*/ 323850 h 4429294"/>
                    <a:gd name="connsiteX6" fmla="*/ 3752015 w 4460075"/>
                    <a:gd name="connsiteY6" fmla="*/ 581025 h 4429294"/>
                    <a:gd name="connsiteX7" fmla="*/ 3967915 w 4460075"/>
                    <a:gd name="connsiteY7" fmla="*/ 819150 h 4429294"/>
                    <a:gd name="connsiteX8" fmla="*/ 4104440 w 4460075"/>
                    <a:gd name="connsiteY8" fmla="*/ 990600 h 4429294"/>
                    <a:gd name="connsiteX9" fmla="*/ 4190165 w 4460075"/>
                    <a:gd name="connsiteY9" fmla="*/ 1143000 h 4429294"/>
                    <a:gd name="connsiteX10" fmla="*/ 4247315 w 4460075"/>
                    <a:gd name="connsiteY10" fmla="*/ 1266825 h 4429294"/>
                    <a:gd name="connsiteX11" fmla="*/ 4285415 w 4460075"/>
                    <a:gd name="connsiteY11" fmla="*/ 1362075 h 4429294"/>
                    <a:gd name="connsiteX12" fmla="*/ 4333040 w 4460075"/>
                    <a:gd name="connsiteY12" fmla="*/ 1552575 h 4429294"/>
                    <a:gd name="connsiteX13" fmla="*/ 4371140 w 4460075"/>
                    <a:gd name="connsiteY13" fmla="*/ 1685925 h 4429294"/>
                    <a:gd name="connsiteX14" fmla="*/ 4460040 w 4460075"/>
                    <a:gd name="connsiteY14" fmla="*/ 2181225 h 4429294"/>
                    <a:gd name="connsiteX15" fmla="*/ 4387015 w 4460075"/>
                    <a:gd name="connsiteY15" fmla="*/ 2768600 h 4429294"/>
                    <a:gd name="connsiteX16" fmla="*/ 4323515 w 4460075"/>
                    <a:gd name="connsiteY16" fmla="*/ 2990850 h 4429294"/>
                    <a:gd name="connsiteX17" fmla="*/ 4218740 w 4460075"/>
                    <a:gd name="connsiteY17" fmla="*/ 3248025 h 4429294"/>
                    <a:gd name="connsiteX18" fmla="*/ 4123490 w 4460075"/>
                    <a:gd name="connsiteY18" fmla="*/ 3400425 h 4429294"/>
                    <a:gd name="connsiteX19" fmla="*/ 3999665 w 4460075"/>
                    <a:gd name="connsiteY19" fmla="*/ 3533775 h 4429294"/>
                    <a:gd name="connsiteX20" fmla="*/ 3894890 w 4460075"/>
                    <a:gd name="connsiteY20" fmla="*/ 3648075 h 4429294"/>
                    <a:gd name="connsiteX21" fmla="*/ 3599615 w 4460075"/>
                    <a:gd name="connsiteY21" fmla="*/ 3971925 h 4429294"/>
                    <a:gd name="connsiteX22" fmla="*/ 3456740 w 4460075"/>
                    <a:gd name="connsiteY22" fmla="*/ 4083050 h 4429294"/>
                    <a:gd name="connsiteX23" fmla="*/ 3161465 w 4460075"/>
                    <a:gd name="connsiteY23" fmla="*/ 4222750 h 4429294"/>
                    <a:gd name="connsiteX24" fmla="*/ 3009065 w 4460075"/>
                    <a:gd name="connsiteY24" fmla="*/ 4286250 h 4429294"/>
                    <a:gd name="connsiteX25" fmla="*/ 2875715 w 4460075"/>
                    <a:gd name="connsiteY25" fmla="*/ 4333875 h 4429294"/>
                    <a:gd name="connsiteX26" fmla="*/ 2751890 w 4460075"/>
                    <a:gd name="connsiteY26" fmla="*/ 4371975 h 4429294"/>
                    <a:gd name="connsiteX27" fmla="*/ 2520115 w 4460075"/>
                    <a:gd name="connsiteY27" fmla="*/ 4391025 h 4429294"/>
                    <a:gd name="connsiteX28" fmla="*/ 2066090 w 4460075"/>
                    <a:gd name="connsiteY28" fmla="*/ 4429125 h 4429294"/>
                    <a:gd name="connsiteX29" fmla="*/ 1875590 w 4460075"/>
                    <a:gd name="connsiteY29" fmla="*/ 4400550 h 4429294"/>
                    <a:gd name="connsiteX30" fmla="*/ 1513640 w 4460075"/>
                    <a:gd name="connsiteY30" fmla="*/ 4305300 h 4429294"/>
                    <a:gd name="connsiteX31" fmla="*/ 1272340 w 4460075"/>
                    <a:gd name="connsiteY31" fmla="*/ 4216400 h 4429294"/>
                    <a:gd name="connsiteX32" fmla="*/ 1104065 w 4460075"/>
                    <a:gd name="connsiteY32" fmla="*/ 4111625 h 4429294"/>
                    <a:gd name="connsiteX33" fmla="*/ 884990 w 4460075"/>
                    <a:gd name="connsiteY33" fmla="*/ 3968750 h 4429294"/>
                    <a:gd name="connsiteX34" fmla="*/ 551615 w 4460075"/>
                    <a:gd name="connsiteY34" fmla="*/ 3657600 h 4429294"/>
                    <a:gd name="connsiteX35" fmla="*/ 405565 w 4460075"/>
                    <a:gd name="connsiteY35" fmla="*/ 3470275 h 4429294"/>
                    <a:gd name="connsiteX36" fmla="*/ 275390 w 4460075"/>
                    <a:gd name="connsiteY36" fmla="*/ 3244850 h 4429294"/>
                    <a:gd name="connsiteX37" fmla="*/ 122990 w 4460075"/>
                    <a:gd name="connsiteY37" fmla="*/ 2892425 h 4429294"/>
                    <a:gd name="connsiteX38" fmla="*/ 15040 w 4460075"/>
                    <a:gd name="connsiteY38" fmla="*/ 2368550 h 4429294"/>
                    <a:gd name="connsiteX39" fmla="*/ 21390 w 4460075"/>
                    <a:gd name="connsiteY39" fmla="*/ 1870075 h 4429294"/>
                    <a:gd name="connsiteX40" fmla="*/ 170615 w 4460075"/>
                    <a:gd name="connsiteY40" fmla="*/ 1276350 h 4429294"/>
                    <a:gd name="connsiteX41" fmla="*/ 256340 w 4460075"/>
                    <a:gd name="connsiteY41" fmla="*/ 1114425 h 4429294"/>
                    <a:gd name="connsiteX42" fmla="*/ 418265 w 4460075"/>
                    <a:gd name="connsiteY42" fmla="*/ 857250 h 4429294"/>
                    <a:gd name="connsiteX43" fmla="*/ 475415 w 4460075"/>
                    <a:gd name="connsiteY43" fmla="*/ 800100 h 4429294"/>
                    <a:gd name="connsiteX44" fmla="*/ 608765 w 4460075"/>
                    <a:gd name="connsiteY44" fmla="*/ 676275 h 4429294"/>
                    <a:gd name="connsiteX45" fmla="*/ 827840 w 4460075"/>
                    <a:gd name="connsiteY45" fmla="*/ 504825 h 4429294"/>
                    <a:gd name="connsiteX46" fmla="*/ 1107240 w 4460075"/>
                    <a:gd name="connsiteY46" fmla="*/ 311150 h 4429294"/>
                    <a:gd name="connsiteX47" fmla="*/ 1466015 w 4460075"/>
                    <a:gd name="connsiteY47" fmla="*/ 152400 h 4429294"/>
                    <a:gd name="connsiteX48" fmla="*/ 1580315 w 4460075"/>
                    <a:gd name="connsiteY48" fmla="*/ 111125 h 4429294"/>
                    <a:gd name="connsiteX49" fmla="*/ 2212140 w 4460075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5706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76140 w 4460800"/>
                    <a:gd name="connsiteY42" fmla="*/ 800100 h 4429294"/>
                    <a:gd name="connsiteX43" fmla="*/ 609490 w 4460800"/>
                    <a:gd name="connsiteY43" fmla="*/ 676275 h 4429294"/>
                    <a:gd name="connsiteX44" fmla="*/ 828565 w 4460800"/>
                    <a:gd name="connsiteY44" fmla="*/ 504825 h 4429294"/>
                    <a:gd name="connsiteX45" fmla="*/ 1107965 w 4460800"/>
                    <a:gd name="connsiteY45" fmla="*/ 311150 h 4429294"/>
                    <a:gd name="connsiteX46" fmla="*/ 1466740 w 4460800"/>
                    <a:gd name="connsiteY46" fmla="*/ 152400 h 4429294"/>
                    <a:gd name="connsiteX47" fmla="*/ 1581040 w 4460800"/>
                    <a:gd name="connsiteY47" fmla="*/ 111125 h 4429294"/>
                    <a:gd name="connsiteX48" fmla="*/ 2212865 w 4460800"/>
                    <a:gd name="connsiteY48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</a:path>
                  </a:pathLst>
                </a:custGeom>
                <a:solidFill>
                  <a:srgbClr val="97A2BB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25" name="Freeform: Shape 1024">
                  <a:extLst>
                    <a:ext uri="{FF2B5EF4-FFF2-40B4-BE49-F238E27FC236}">
                      <a16:creationId xmlns:a16="http://schemas.microsoft.com/office/drawing/2014/main" id="{DB3CDFA9-3B30-FB60-7476-3D8A3F269878}"/>
                    </a:ext>
                  </a:extLst>
                </p:cNvPr>
                <p:cNvSpPr/>
                <p:nvPr/>
              </p:nvSpPr>
              <p:spPr>
                <a:xfrm>
                  <a:off x="1204913" y="5000231"/>
                  <a:ext cx="85725" cy="109932"/>
                </a:xfrm>
                <a:custGeom>
                  <a:avLst/>
                  <a:gdLst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944902 w 4469152"/>
                    <a:gd name="connsiteY150" fmla="*/ 476250 h 4496940"/>
                    <a:gd name="connsiteX151" fmla="*/ 1087777 w 4469152"/>
                    <a:gd name="connsiteY151" fmla="*/ 409575 h 4496940"/>
                    <a:gd name="connsiteX152" fmla="*/ 1202077 w 4469152"/>
                    <a:gd name="connsiteY152" fmla="*/ 314325 h 4496940"/>
                    <a:gd name="connsiteX153" fmla="*/ 1268752 w 4469152"/>
                    <a:gd name="connsiteY153" fmla="*/ 285750 h 4496940"/>
                    <a:gd name="connsiteX154" fmla="*/ 1411627 w 4469152"/>
                    <a:gd name="connsiteY154" fmla="*/ 190500 h 4496940"/>
                    <a:gd name="connsiteX155" fmla="*/ 1449727 w 4469152"/>
                    <a:gd name="connsiteY155" fmla="*/ 161925 h 4496940"/>
                    <a:gd name="connsiteX156" fmla="*/ 1525927 w 4469152"/>
                    <a:gd name="connsiteY156" fmla="*/ 152400 h 4496940"/>
                    <a:gd name="connsiteX157" fmla="*/ 1583077 w 4469152"/>
                    <a:gd name="connsiteY157" fmla="*/ 142875 h 4496940"/>
                    <a:gd name="connsiteX158" fmla="*/ 1716427 w 4469152"/>
                    <a:gd name="connsiteY158" fmla="*/ 123825 h 4496940"/>
                    <a:gd name="connsiteX159" fmla="*/ 1811677 w 4469152"/>
                    <a:gd name="connsiteY159" fmla="*/ 114300 h 4496940"/>
                    <a:gd name="connsiteX160" fmla="*/ 1859302 w 4469152"/>
                    <a:gd name="connsiteY160" fmla="*/ 104775 h 4496940"/>
                    <a:gd name="connsiteX161" fmla="*/ 1916452 w 4469152"/>
                    <a:gd name="connsiteY161" fmla="*/ 95250 h 4496940"/>
                    <a:gd name="connsiteX162" fmla="*/ 2030752 w 4469152"/>
                    <a:gd name="connsiteY162" fmla="*/ 66675 h 4496940"/>
                    <a:gd name="connsiteX163" fmla="*/ 2097427 w 4469152"/>
                    <a:gd name="connsiteY163" fmla="*/ 47625 h 4496940"/>
                    <a:gd name="connsiteX164" fmla="*/ 2164102 w 4469152"/>
                    <a:gd name="connsiteY164" fmla="*/ 38100 h 4496940"/>
                    <a:gd name="connsiteX165" fmla="*/ 2392702 w 4469152"/>
                    <a:gd name="connsiteY165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087777 w 4469152"/>
                    <a:gd name="connsiteY150" fmla="*/ 409575 h 4496940"/>
                    <a:gd name="connsiteX151" fmla="*/ 1202077 w 4469152"/>
                    <a:gd name="connsiteY151" fmla="*/ 314325 h 4496940"/>
                    <a:gd name="connsiteX152" fmla="*/ 1268752 w 4469152"/>
                    <a:gd name="connsiteY152" fmla="*/ 285750 h 4496940"/>
                    <a:gd name="connsiteX153" fmla="*/ 1411627 w 4469152"/>
                    <a:gd name="connsiteY153" fmla="*/ 190500 h 4496940"/>
                    <a:gd name="connsiteX154" fmla="*/ 1449727 w 4469152"/>
                    <a:gd name="connsiteY154" fmla="*/ 161925 h 4496940"/>
                    <a:gd name="connsiteX155" fmla="*/ 1525927 w 4469152"/>
                    <a:gd name="connsiteY155" fmla="*/ 152400 h 4496940"/>
                    <a:gd name="connsiteX156" fmla="*/ 1583077 w 4469152"/>
                    <a:gd name="connsiteY156" fmla="*/ 142875 h 4496940"/>
                    <a:gd name="connsiteX157" fmla="*/ 1716427 w 4469152"/>
                    <a:gd name="connsiteY157" fmla="*/ 123825 h 4496940"/>
                    <a:gd name="connsiteX158" fmla="*/ 1811677 w 4469152"/>
                    <a:gd name="connsiteY158" fmla="*/ 114300 h 4496940"/>
                    <a:gd name="connsiteX159" fmla="*/ 1859302 w 4469152"/>
                    <a:gd name="connsiteY159" fmla="*/ 104775 h 4496940"/>
                    <a:gd name="connsiteX160" fmla="*/ 1916452 w 4469152"/>
                    <a:gd name="connsiteY160" fmla="*/ 95250 h 4496940"/>
                    <a:gd name="connsiteX161" fmla="*/ 2030752 w 4469152"/>
                    <a:gd name="connsiteY161" fmla="*/ 66675 h 4496940"/>
                    <a:gd name="connsiteX162" fmla="*/ 2097427 w 4469152"/>
                    <a:gd name="connsiteY162" fmla="*/ 47625 h 4496940"/>
                    <a:gd name="connsiteX163" fmla="*/ 2164102 w 4469152"/>
                    <a:gd name="connsiteY163" fmla="*/ 38100 h 4496940"/>
                    <a:gd name="connsiteX164" fmla="*/ 2392702 w 4469152"/>
                    <a:gd name="connsiteY164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02077 w 4469152"/>
                    <a:gd name="connsiteY150" fmla="*/ 314325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68752 w 4469152"/>
                    <a:gd name="connsiteY150" fmla="*/ 285750 h 4496940"/>
                    <a:gd name="connsiteX151" fmla="*/ 1411627 w 4469152"/>
                    <a:gd name="connsiteY151" fmla="*/ 190500 h 4496940"/>
                    <a:gd name="connsiteX152" fmla="*/ 1449727 w 4469152"/>
                    <a:gd name="connsiteY152" fmla="*/ 161925 h 4496940"/>
                    <a:gd name="connsiteX153" fmla="*/ 1525927 w 4469152"/>
                    <a:gd name="connsiteY153" fmla="*/ 152400 h 4496940"/>
                    <a:gd name="connsiteX154" fmla="*/ 1583077 w 4469152"/>
                    <a:gd name="connsiteY154" fmla="*/ 142875 h 4496940"/>
                    <a:gd name="connsiteX155" fmla="*/ 1716427 w 4469152"/>
                    <a:gd name="connsiteY155" fmla="*/ 123825 h 4496940"/>
                    <a:gd name="connsiteX156" fmla="*/ 1811677 w 4469152"/>
                    <a:gd name="connsiteY156" fmla="*/ 114300 h 4496940"/>
                    <a:gd name="connsiteX157" fmla="*/ 1859302 w 4469152"/>
                    <a:gd name="connsiteY157" fmla="*/ 104775 h 4496940"/>
                    <a:gd name="connsiteX158" fmla="*/ 1916452 w 4469152"/>
                    <a:gd name="connsiteY158" fmla="*/ 95250 h 4496940"/>
                    <a:gd name="connsiteX159" fmla="*/ 2030752 w 4469152"/>
                    <a:gd name="connsiteY159" fmla="*/ 66675 h 4496940"/>
                    <a:gd name="connsiteX160" fmla="*/ 2097427 w 4469152"/>
                    <a:gd name="connsiteY160" fmla="*/ 47625 h 4496940"/>
                    <a:gd name="connsiteX161" fmla="*/ 2164102 w 4469152"/>
                    <a:gd name="connsiteY161" fmla="*/ 38100 h 4496940"/>
                    <a:gd name="connsiteX162" fmla="*/ 2392702 w 4469152"/>
                    <a:gd name="connsiteY162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167152 w 4469152"/>
                    <a:gd name="connsiteY150" fmla="*/ 311150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40577 w 4519952"/>
                    <a:gd name="connsiteY46" fmla="*/ 1762125 h 4496940"/>
                    <a:gd name="connsiteX47" fmla="*/ 4459627 w 4519952"/>
                    <a:gd name="connsiteY47" fmla="*/ 1828800 h 4496940"/>
                    <a:gd name="connsiteX48" fmla="*/ 4519952 w 4519952"/>
                    <a:gd name="connsiteY48" fmla="*/ 2181225 h 4496940"/>
                    <a:gd name="connsiteX49" fmla="*/ 4440577 w 4519952"/>
                    <a:gd name="connsiteY49" fmla="*/ 2876550 h 4496940"/>
                    <a:gd name="connsiteX50" fmla="*/ 4383427 w 4519952"/>
                    <a:gd name="connsiteY50" fmla="*/ 2990850 h 4496940"/>
                    <a:gd name="connsiteX51" fmla="*/ 4354852 w 4519952"/>
                    <a:gd name="connsiteY51" fmla="*/ 3057525 h 4496940"/>
                    <a:gd name="connsiteX52" fmla="*/ 4335802 w 4519952"/>
                    <a:gd name="connsiteY52" fmla="*/ 3095625 h 4496940"/>
                    <a:gd name="connsiteX53" fmla="*/ 4278652 w 4519952"/>
                    <a:gd name="connsiteY53" fmla="*/ 3248025 h 4496940"/>
                    <a:gd name="connsiteX54" fmla="*/ 4259602 w 4519952"/>
                    <a:gd name="connsiteY54" fmla="*/ 3276600 h 4496940"/>
                    <a:gd name="connsiteX55" fmla="*/ 4221502 w 4519952"/>
                    <a:gd name="connsiteY55" fmla="*/ 3333750 h 4496940"/>
                    <a:gd name="connsiteX56" fmla="*/ 4211977 w 4519952"/>
                    <a:gd name="connsiteY56" fmla="*/ 3362325 h 4496940"/>
                    <a:gd name="connsiteX57" fmla="*/ 4183402 w 4519952"/>
                    <a:gd name="connsiteY57" fmla="*/ 3400425 h 4496940"/>
                    <a:gd name="connsiteX58" fmla="*/ 4164352 w 4519952"/>
                    <a:gd name="connsiteY58" fmla="*/ 3429000 h 4496940"/>
                    <a:gd name="connsiteX59" fmla="*/ 4088152 w 4519952"/>
                    <a:gd name="connsiteY59" fmla="*/ 3495675 h 4496940"/>
                    <a:gd name="connsiteX60" fmla="*/ 4059577 w 4519952"/>
                    <a:gd name="connsiteY60" fmla="*/ 3533775 h 4496940"/>
                    <a:gd name="connsiteX61" fmla="*/ 4002427 w 4519952"/>
                    <a:gd name="connsiteY61" fmla="*/ 3600450 h 4496940"/>
                    <a:gd name="connsiteX62" fmla="*/ 3983377 w 4519952"/>
                    <a:gd name="connsiteY62" fmla="*/ 3629025 h 4496940"/>
                    <a:gd name="connsiteX63" fmla="*/ 3954802 w 4519952"/>
                    <a:gd name="connsiteY63" fmla="*/ 3648075 h 4496940"/>
                    <a:gd name="connsiteX64" fmla="*/ 3907177 w 4519952"/>
                    <a:gd name="connsiteY64" fmla="*/ 3686175 h 4496940"/>
                    <a:gd name="connsiteX65" fmla="*/ 3869077 w 4519952"/>
                    <a:gd name="connsiteY65" fmla="*/ 3724275 h 4496940"/>
                    <a:gd name="connsiteX66" fmla="*/ 3792877 w 4519952"/>
                    <a:gd name="connsiteY66" fmla="*/ 3781425 h 4496940"/>
                    <a:gd name="connsiteX67" fmla="*/ 3783352 w 4519952"/>
                    <a:gd name="connsiteY67" fmla="*/ 3810000 h 4496940"/>
                    <a:gd name="connsiteX68" fmla="*/ 3745252 w 4519952"/>
                    <a:gd name="connsiteY68" fmla="*/ 3819525 h 4496940"/>
                    <a:gd name="connsiteX69" fmla="*/ 3678577 w 4519952"/>
                    <a:gd name="connsiteY69" fmla="*/ 3848100 h 4496940"/>
                    <a:gd name="connsiteX70" fmla="*/ 3659527 w 4519952"/>
                    <a:gd name="connsiteY70" fmla="*/ 3971925 h 4496940"/>
                    <a:gd name="connsiteX71" fmla="*/ 3630952 w 4519952"/>
                    <a:gd name="connsiteY71" fmla="*/ 4010025 h 4496940"/>
                    <a:gd name="connsiteX72" fmla="*/ 3621427 w 4519952"/>
                    <a:gd name="connsiteY72" fmla="*/ 4038600 h 4496940"/>
                    <a:gd name="connsiteX73" fmla="*/ 3554752 w 4519952"/>
                    <a:gd name="connsiteY73" fmla="*/ 4095750 h 4496940"/>
                    <a:gd name="connsiteX74" fmla="*/ 3516652 w 4519952"/>
                    <a:gd name="connsiteY74" fmla="*/ 4114800 h 4496940"/>
                    <a:gd name="connsiteX75" fmla="*/ 3497602 w 4519952"/>
                    <a:gd name="connsiteY75" fmla="*/ 4143375 h 4496940"/>
                    <a:gd name="connsiteX76" fmla="*/ 3383302 w 4519952"/>
                    <a:gd name="connsiteY76" fmla="*/ 4210050 h 4496940"/>
                    <a:gd name="connsiteX77" fmla="*/ 3335677 w 4519952"/>
                    <a:gd name="connsiteY77" fmla="*/ 4238625 h 4496940"/>
                    <a:gd name="connsiteX78" fmla="*/ 3288052 w 4519952"/>
                    <a:gd name="connsiteY78" fmla="*/ 4248150 h 4496940"/>
                    <a:gd name="connsiteX79" fmla="*/ 3240427 w 4519952"/>
                    <a:gd name="connsiteY79" fmla="*/ 4267200 h 4496940"/>
                    <a:gd name="connsiteX80" fmla="*/ 3068977 w 4519952"/>
                    <a:gd name="connsiteY80" fmla="*/ 4286250 h 4496940"/>
                    <a:gd name="connsiteX81" fmla="*/ 2935627 w 4519952"/>
                    <a:gd name="connsiteY81" fmla="*/ 4333875 h 4496940"/>
                    <a:gd name="connsiteX82" fmla="*/ 2811802 w 4519952"/>
                    <a:gd name="connsiteY82" fmla="*/ 4371975 h 4496940"/>
                    <a:gd name="connsiteX83" fmla="*/ 2745127 w 4519952"/>
                    <a:gd name="connsiteY83" fmla="*/ 4410075 h 4496940"/>
                    <a:gd name="connsiteX84" fmla="*/ 2697502 w 4519952"/>
                    <a:gd name="connsiteY84" fmla="*/ 4429125 h 4496940"/>
                    <a:gd name="connsiteX85" fmla="*/ 2640352 w 4519952"/>
                    <a:gd name="connsiteY85" fmla="*/ 4457700 h 4496940"/>
                    <a:gd name="connsiteX86" fmla="*/ 2583202 w 4519952"/>
                    <a:gd name="connsiteY86" fmla="*/ 4467225 h 4496940"/>
                    <a:gd name="connsiteX87" fmla="*/ 2545102 w 4519952"/>
                    <a:gd name="connsiteY87" fmla="*/ 4486275 h 4496940"/>
                    <a:gd name="connsiteX88" fmla="*/ 2306977 w 4519952"/>
                    <a:gd name="connsiteY88" fmla="*/ 4476750 h 4496940"/>
                    <a:gd name="connsiteX89" fmla="*/ 2202202 w 4519952"/>
                    <a:gd name="connsiteY89" fmla="*/ 4457700 h 4496940"/>
                    <a:gd name="connsiteX90" fmla="*/ 2126002 w 4519952"/>
                    <a:gd name="connsiteY90" fmla="*/ 4429125 h 4496940"/>
                    <a:gd name="connsiteX91" fmla="*/ 1935502 w 4519952"/>
                    <a:gd name="connsiteY91" fmla="*/ 4400550 h 4496940"/>
                    <a:gd name="connsiteX92" fmla="*/ 1821202 w 4519952"/>
                    <a:gd name="connsiteY92" fmla="*/ 4371975 h 4496940"/>
                    <a:gd name="connsiteX93" fmla="*/ 1754527 w 4519952"/>
                    <a:gd name="connsiteY93" fmla="*/ 4352925 h 4496940"/>
                    <a:gd name="connsiteX94" fmla="*/ 1687852 w 4519952"/>
                    <a:gd name="connsiteY94" fmla="*/ 4343400 h 4496940"/>
                    <a:gd name="connsiteX95" fmla="*/ 1573552 w 4519952"/>
                    <a:gd name="connsiteY95" fmla="*/ 4305300 h 4496940"/>
                    <a:gd name="connsiteX96" fmla="*/ 1402102 w 4519952"/>
                    <a:gd name="connsiteY96" fmla="*/ 4276725 h 4496940"/>
                    <a:gd name="connsiteX97" fmla="*/ 1287802 w 4519952"/>
                    <a:gd name="connsiteY97" fmla="*/ 4229100 h 4496940"/>
                    <a:gd name="connsiteX98" fmla="*/ 1221127 w 4519952"/>
                    <a:gd name="connsiteY98" fmla="*/ 4200525 h 4496940"/>
                    <a:gd name="connsiteX99" fmla="*/ 1144927 w 4519952"/>
                    <a:gd name="connsiteY99" fmla="*/ 4171950 h 4496940"/>
                    <a:gd name="connsiteX100" fmla="*/ 1087777 w 4519952"/>
                    <a:gd name="connsiteY100" fmla="*/ 4143375 h 4496940"/>
                    <a:gd name="connsiteX101" fmla="*/ 1030627 w 4519952"/>
                    <a:gd name="connsiteY101" fmla="*/ 4124325 h 4496940"/>
                    <a:gd name="connsiteX102" fmla="*/ 925852 w 4519952"/>
                    <a:gd name="connsiteY102" fmla="*/ 4067175 h 4496940"/>
                    <a:gd name="connsiteX103" fmla="*/ 830602 w 4519952"/>
                    <a:gd name="connsiteY103" fmla="*/ 3981450 h 4496940"/>
                    <a:gd name="connsiteX104" fmla="*/ 763927 w 4519952"/>
                    <a:gd name="connsiteY104" fmla="*/ 3914775 h 4496940"/>
                    <a:gd name="connsiteX105" fmla="*/ 725827 w 4519952"/>
                    <a:gd name="connsiteY105" fmla="*/ 3876675 h 4496940"/>
                    <a:gd name="connsiteX106" fmla="*/ 697252 w 4519952"/>
                    <a:gd name="connsiteY106" fmla="*/ 3838575 h 4496940"/>
                    <a:gd name="connsiteX107" fmla="*/ 640102 w 4519952"/>
                    <a:gd name="connsiteY107" fmla="*/ 3781425 h 4496940"/>
                    <a:gd name="connsiteX108" fmla="*/ 611527 w 4519952"/>
                    <a:gd name="connsiteY108" fmla="*/ 3733800 h 4496940"/>
                    <a:gd name="connsiteX109" fmla="*/ 554377 w 4519952"/>
                    <a:gd name="connsiteY109" fmla="*/ 3657600 h 4496940"/>
                    <a:gd name="connsiteX110" fmla="*/ 525802 w 4519952"/>
                    <a:gd name="connsiteY110" fmla="*/ 3609975 h 4496940"/>
                    <a:gd name="connsiteX111" fmla="*/ 497227 w 4519952"/>
                    <a:gd name="connsiteY111" fmla="*/ 3552825 h 4496940"/>
                    <a:gd name="connsiteX112" fmla="*/ 440077 w 4519952"/>
                    <a:gd name="connsiteY112" fmla="*/ 3495675 h 4496940"/>
                    <a:gd name="connsiteX113" fmla="*/ 411502 w 4519952"/>
                    <a:gd name="connsiteY113" fmla="*/ 3448050 h 4496940"/>
                    <a:gd name="connsiteX114" fmla="*/ 278152 w 4519952"/>
                    <a:gd name="connsiteY114" fmla="*/ 3257550 h 4496940"/>
                    <a:gd name="connsiteX115" fmla="*/ 249577 w 4519952"/>
                    <a:gd name="connsiteY115" fmla="*/ 3200400 h 4496940"/>
                    <a:gd name="connsiteX116" fmla="*/ 240052 w 4519952"/>
                    <a:gd name="connsiteY116" fmla="*/ 3162300 h 4496940"/>
                    <a:gd name="connsiteX117" fmla="*/ 221002 w 4519952"/>
                    <a:gd name="connsiteY117" fmla="*/ 3105150 h 4496940"/>
                    <a:gd name="connsiteX118" fmla="*/ 173377 w 4519952"/>
                    <a:gd name="connsiteY118" fmla="*/ 3019425 h 4496940"/>
                    <a:gd name="connsiteX119" fmla="*/ 144802 w 4519952"/>
                    <a:gd name="connsiteY119" fmla="*/ 2924175 h 4496940"/>
                    <a:gd name="connsiteX120" fmla="*/ 68602 w 4519952"/>
                    <a:gd name="connsiteY120" fmla="*/ 2724150 h 4496940"/>
                    <a:gd name="connsiteX121" fmla="*/ 49552 w 4519952"/>
                    <a:gd name="connsiteY121" fmla="*/ 2638425 h 4496940"/>
                    <a:gd name="connsiteX122" fmla="*/ 40027 w 4519952"/>
                    <a:gd name="connsiteY122" fmla="*/ 2562225 h 4496940"/>
                    <a:gd name="connsiteX123" fmla="*/ 30502 w 4519952"/>
                    <a:gd name="connsiteY123" fmla="*/ 2514600 h 4496940"/>
                    <a:gd name="connsiteX124" fmla="*/ 11452 w 4519952"/>
                    <a:gd name="connsiteY124" fmla="*/ 2400300 h 4496940"/>
                    <a:gd name="connsiteX125" fmla="*/ 20977 w 4519952"/>
                    <a:gd name="connsiteY125" fmla="*/ 1905000 h 4496940"/>
                    <a:gd name="connsiteX126" fmla="*/ 30502 w 4519952"/>
                    <a:gd name="connsiteY126" fmla="*/ 1838325 h 4496940"/>
                    <a:gd name="connsiteX127" fmla="*/ 49552 w 4519952"/>
                    <a:gd name="connsiteY127" fmla="*/ 1781175 h 4496940"/>
                    <a:gd name="connsiteX128" fmla="*/ 59077 w 4519952"/>
                    <a:gd name="connsiteY128" fmla="*/ 1743075 h 4496940"/>
                    <a:gd name="connsiteX129" fmla="*/ 78127 w 4519952"/>
                    <a:gd name="connsiteY129" fmla="*/ 1685925 h 4496940"/>
                    <a:gd name="connsiteX130" fmla="*/ 87652 w 4519952"/>
                    <a:gd name="connsiteY130" fmla="*/ 1638300 h 4496940"/>
                    <a:gd name="connsiteX131" fmla="*/ 106702 w 4519952"/>
                    <a:gd name="connsiteY131" fmla="*/ 1590675 h 4496940"/>
                    <a:gd name="connsiteX132" fmla="*/ 135277 w 4519952"/>
                    <a:gd name="connsiteY132" fmla="*/ 1504950 h 4496940"/>
                    <a:gd name="connsiteX133" fmla="*/ 154327 w 4519952"/>
                    <a:gd name="connsiteY133" fmla="*/ 1419225 h 4496940"/>
                    <a:gd name="connsiteX134" fmla="*/ 230527 w 4519952"/>
                    <a:gd name="connsiteY134" fmla="*/ 1276350 h 4496940"/>
                    <a:gd name="connsiteX135" fmla="*/ 240052 w 4519952"/>
                    <a:gd name="connsiteY135" fmla="*/ 1247775 h 4496940"/>
                    <a:gd name="connsiteX136" fmla="*/ 268627 w 4519952"/>
                    <a:gd name="connsiteY136" fmla="*/ 1200150 h 4496940"/>
                    <a:gd name="connsiteX137" fmla="*/ 287677 w 4519952"/>
                    <a:gd name="connsiteY137" fmla="*/ 1152525 h 4496940"/>
                    <a:gd name="connsiteX138" fmla="*/ 316252 w 4519952"/>
                    <a:gd name="connsiteY138" fmla="*/ 1114425 h 4496940"/>
                    <a:gd name="connsiteX139" fmla="*/ 363877 w 4519952"/>
                    <a:gd name="connsiteY139" fmla="*/ 1038225 h 4496940"/>
                    <a:gd name="connsiteX140" fmla="*/ 382927 w 4519952"/>
                    <a:gd name="connsiteY140" fmla="*/ 1009650 h 4496940"/>
                    <a:gd name="connsiteX141" fmla="*/ 440077 w 4519952"/>
                    <a:gd name="connsiteY141" fmla="*/ 904875 h 4496940"/>
                    <a:gd name="connsiteX142" fmla="*/ 478177 w 4519952"/>
                    <a:gd name="connsiteY142" fmla="*/ 857250 h 4496940"/>
                    <a:gd name="connsiteX143" fmla="*/ 497227 w 4519952"/>
                    <a:gd name="connsiteY143" fmla="*/ 828675 h 4496940"/>
                    <a:gd name="connsiteX144" fmla="*/ 535327 w 4519952"/>
                    <a:gd name="connsiteY144" fmla="*/ 800100 h 4496940"/>
                    <a:gd name="connsiteX145" fmla="*/ 602002 w 4519952"/>
                    <a:gd name="connsiteY145" fmla="*/ 733425 h 4496940"/>
                    <a:gd name="connsiteX146" fmla="*/ 668677 w 4519952"/>
                    <a:gd name="connsiteY146" fmla="*/ 676275 h 4496940"/>
                    <a:gd name="connsiteX147" fmla="*/ 697252 w 4519952"/>
                    <a:gd name="connsiteY147" fmla="*/ 657225 h 4496940"/>
                    <a:gd name="connsiteX148" fmla="*/ 840127 w 4519952"/>
                    <a:gd name="connsiteY148" fmla="*/ 533400 h 4496940"/>
                    <a:gd name="connsiteX149" fmla="*/ 887752 w 4519952"/>
                    <a:gd name="connsiteY149" fmla="*/ 504825 h 4496940"/>
                    <a:gd name="connsiteX150" fmla="*/ 1167152 w 4519952"/>
                    <a:gd name="connsiteY150" fmla="*/ 311150 h 4496940"/>
                    <a:gd name="connsiteX151" fmla="*/ 1268752 w 4519952"/>
                    <a:gd name="connsiteY151" fmla="*/ 285750 h 4496940"/>
                    <a:gd name="connsiteX152" fmla="*/ 1411627 w 4519952"/>
                    <a:gd name="connsiteY152" fmla="*/ 190500 h 4496940"/>
                    <a:gd name="connsiteX153" fmla="*/ 1449727 w 4519952"/>
                    <a:gd name="connsiteY153" fmla="*/ 161925 h 4496940"/>
                    <a:gd name="connsiteX154" fmla="*/ 1525927 w 4519952"/>
                    <a:gd name="connsiteY154" fmla="*/ 152400 h 4496940"/>
                    <a:gd name="connsiteX155" fmla="*/ 1583077 w 4519952"/>
                    <a:gd name="connsiteY155" fmla="*/ 142875 h 4496940"/>
                    <a:gd name="connsiteX156" fmla="*/ 1716427 w 4519952"/>
                    <a:gd name="connsiteY156" fmla="*/ 123825 h 4496940"/>
                    <a:gd name="connsiteX157" fmla="*/ 1811677 w 4519952"/>
                    <a:gd name="connsiteY157" fmla="*/ 114300 h 4496940"/>
                    <a:gd name="connsiteX158" fmla="*/ 1859302 w 4519952"/>
                    <a:gd name="connsiteY158" fmla="*/ 104775 h 4496940"/>
                    <a:gd name="connsiteX159" fmla="*/ 1916452 w 4519952"/>
                    <a:gd name="connsiteY159" fmla="*/ 95250 h 4496940"/>
                    <a:gd name="connsiteX160" fmla="*/ 2030752 w 4519952"/>
                    <a:gd name="connsiteY160" fmla="*/ 66675 h 4496940"/>
                    <a:gd name="connsiteX161" fmla="*/ 2097427 w 4519952"/>
                    <a:gd name="connsiteY161" fmla="*/ 47625 h 4496940"/>
                    <a:gd name="connsiteX162" fmla="*/ 2164102 w 4519952"/>
                    <a:gd name="connsiteY162" fmla="*/ 38100 h 4496940"/>
                    <a:gd name="connsiteX163" fmla="*/ 2392702 w 45199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59627 w 4519952"/>
                    <a:gd name="connsiteY46" fmla="*/ 1828800 h 4496940"/>
                    <a:gd name="connsiteX47" fmla="*/ 4519952 w 4519952"/>
                    <a:gd name="connsiteY47" fmla="*/ 2181225 h 4496940"/>
                    <a:gd name="connsiteX48" fmla="*/ 4440577 w 4519952"/>
                    <a:gd name="connsiteY48" fmla="*/ 2876550 h 4496940"/>
                    <a:gd name="connsiteX49" fmla="*/ 4383427 w 4519952"/>
                    <a:gd name="connsiteY49" fmla="*/ 2990850 h 4496940"/>
                    <a:gd name="connsiteX50" fmla="*/ 4354852 w 4519952"/>
                    <a:gd name="connsiteY50" fmla="*/ 3057525 h 4496940"/>
                    <a:gd name="connsiteX51" fmla="*/ 4335802 w 4519952"/>
                    <a:gd name="connsiteY51" fmla="*/ 3095625 h 4496940"/>
                    <a:gd name="connsiteX52" fmla="*/ 4278652 w 4519952"/>
                    <a:gd name="connsiteY52" fmla="*/ 3248025 h 4496940"/>
                    <a:gd name="connsiteX53" fmla="*/ 4259602 w 4519952"/>
                    <a:gd name="connsiteY53" fmla="*/ 3276600 h 4496940"/>
                    <a:gd name="connsiteX54" fmla="*/ 4221502 w 4519952"/>
                    <a:gd name="connsiteY54" fmla="*/ 3333750 h 4496940"/>
                    <a:gd name="connsiteX55" fmla="*/ 4211977 w 4519952"/>
                    <a:gd name="connsiteY55" fmla="*/ 3362325 h 4496940"/>
                    <a:gd name="connsiteX56" fmla="*/ 4183402 w 4519952"/>
                    <a:gd name="connsiteY56" fmla="*/ 3400425 h 4496940"/>
                    <a:gd name="connsiteX57" fmla="*/ 4164352 w 4519952"/>
                    <a:gd name="connsiteY57" fmla="*/ 3429000 h 4496940"/>
                    <a:gd name="connsiteX58" fmla="*/ 4088152 w 4519952"/>
                    <a:gd name="connsiteY58" fmla="*/ 3495675 h 4496940"/>
                    <a:gd name="connsiteX59" fmla="*/ 4059577 w 4519952"/>
                    <a:gd name="connsiteY59" fmla="*/ 3533775 h 4496940"/>
                    <a:gd name="connsiteX60" fmla="*/ 4002427 w 4519952"/>
                    <a:gd name="connsiteY60" fmla="*/ 3600450 h 4496940"/>
                    <a:gd name="connsiteX61" fmla="*/ 3983377 w 4519952"/>
                    <a:gd name="connsiteY61" fmla="*/ 3629025 h 4496940"/>
                    <a:gd name="connsiteX62" fmla="*/ 3954802 w 4519952"/>
                    <a:gd name="connsiteY62" fmla="*/ 3648075 h 4496940"/>
                    <a:gd name="connsiteX63" fmla="*/ 3907177 w 4519952"/>
                    <a:gd name="connsiteY63" fmla="*/ 3686175 h 4496940"/>
                    <a:gd name="connsiteX64" fmla="*/ 3869077 w 4519952"/>
                    <a:gd name="connsiteY64" fmla="*/ 3724275 h 4496940"/>
                    <a:gd name="connsiteX65" fmla="*/ 3792877 w 4519952"/>
                    <a:gd name="connsiteY65" fmla="*/ 3781425 h 4496940"/>
                    <a:gd name="connsiteX66" fmla="*/ 3783352 w 4519952"/>
                    <a:gd name="connsiteY66" fmla="*/ 3810000 h 4496940"/>
                    <a:gd name="connsiteX67" fmla="*/ 3745252 w 4519952"/>
                    <a:gd name="connsiteY67" fmla="*/ 3819525 h 4496940"/>
                    <a:gd name="connsiteX68" fmla="*/ 3678577 w 4519952"/>
                    <a:gd name="connsiteY68" fmla="*/ 3848100 h 4496940"/>
                    <a:gd name="connsiteX69" fmla="*/ 3659527 w 4519952"/>
                    <a:gd name="connsiteY69" fmla="*/ 3971925 h 4496940"/>
                    <a:gd name="connsiteX70" fmla="*/ 3630952 w 4519952"/>
                    <a:gd name="connsiteY70" fmla="*/ 4010025 h 4496940"/>
                    <a:gd name="connsiteX71" fmla="*/ 3621427 w 4519952"/>
                    <a:gd name="connsiteY71" fmla="*/ 4038600 h 4496940"/>
                    <a:gd name="connsiteX72" fmla="*/ 3554752 w 4519952"/>
                    <a:gd name="connsiteY72" fmla="*/ 4095750 h 4496940"/>
                    <a:gd name="connsiteX73" fmla="*/ 3516652 w 4519952"/>
                    <a:gd name="connsiteY73" fmla="*/ 4114800 h 4496940"/>
                    <a:gd name="connsiteX74" fmla="*/ 3497602 w 4519952"/>
                    <a:gd name="connsiteY74" fmla="*/ 4143375 h 4496940"/>
                    <a:gd name="connsiteX75" fmla="*/ 3383302 w 4519952"/>
                    <a:gd name="connsiteY75" fmla="*/ 4210050 h 4496940"/>
                    <a:gd name="connsiteX76" fmla="*/ 3335677 w 4519952"/>
                    <a:gd name="connsiteY76" fmla="*/ 4238625 h 4496940"/>
                    <a:gd name="connsiteX77" fmla="*/ 3288052 w 4519952"/>
                    <a:gd name="connsiteY77" fmla="*/ 4248150 h 4496940"/>
                    <a:gd name="connsiteX78" fmla="*/ 3240427 w 4519952"/>
                    <a:gd name="connsiteY78" fmla="*/ 4267200 h 4496940"/>
                    <a:gd name="connsiteX79" fmla="*/ 3068977 w 4519952"/>
                    <a:gd name="connsiteY79" fmla="*/ 4286250 h 4496940"/>
                    <a:gd name="connsiteX80" fmla="*/ 2935627 w 4519952"/>
                    <a:gd name="connsiteY80" fmla="*/ 4333875 h 4496940"/>
                    <a:gd name="connsiteX81" fmla="*/ 2811802 w 4519952"/>
                    <a:gd name="connsiteY81" fmla="*/ 4371975 h 4496940"/>
                    <a:gd name="connsiteX82" fmla="*/ 2745127 w 4519952"/>
                    <a:gd name="connsiteY82" fmla="*/ 4410075 h 4496940"/>
                    <a:gd name="connsiteX83" fmla="*/ 2697502 w 4519952"/>
                    <a:gd name="connsiteY83" fmla="*/ 4429125 h 4496940"/>
                    <a:gd name="connsiteX84" fmla="*/ 2640352 w 4519952"/>
                    <a:gd name="connsiteY84" fmla="*/ 4457700 h 4496940"/>
                    <a:gd name="connsiteX85" fmla="*/ 2583202 w 4519952"/>
                    <a:gd name="connsiteY85" fmla="*/ 4467225 h 4496940"/>
                    <a:gd name="connsiteX86" fmla="*/ 2545102 w 4519952"/>
                    <a:gd name="connsiteY86" fmla="*/ 4486275 h 4496940"/>
                    <a:gd name="connsiteX87" fmla="*/ 2306977 w 4519952"/>
                    <a:gd name="connsiteY87" fmla="*/ 4476750 h 4496940"/>
                    <a:gd name="connsiteX88" fmla="*/ 2202202 w 4519952"/>
                    <a:gd name="connsiteY88" fmla="*/ 4457700 h 4496940"/>
                    <a:gd name="connsiteX89" fmla="*/ 2126002 w 4519952"/>
                    <a:gd name="connsiteY89" fmla="*/ 4429125 h 4496940"/>
                    <a:gd name="connsiteX90" fmla="*/ 1935502 w 4519952"/>
                    <a:gd name="connsiteY90" fmla="*/ 4400550 h 4496940"/>
                    <a:gd name="connsiteX91" fmla="*/ 1821202 w 4519952"/>
                    <a:gd name="connsiteY91" fmla="*/ 4371975 h 4496940"/>
                    <a:gd name="connsiteX92" fmla="*/ 1754527 w 4519952"/>
                    <a:gd name="connsiteY92" fmla="*/ 4352925 h 4496940"/>
                    <a:gd name="connsiteX93" fmla="*/ 1687852 w 4519952"/>
                    <a:gd name="connsiteY93" fmla="*/ 4343400 h 4496940"/>
                    <a:gd name="connsiteX94" fmla="*/ 1573552 w 4519952"/>
                    <a:gd name="connsiteY94" fmla="*/ 4305300 h 4496940"/>
                    <a:gd name="connsiteX95" fmla="*/ 1402102 w 4519952"/>
                    <a:gd name="connsiteY95" fmla="*/ 4276725 h 4496940"/>
                    <a:gd name="connsiteX96" fmla="*/ 1287802 w 4519952"/>
                    <a:gd name="connsiteY96" fmla="*/ 4229100 h 4496940"/>
                    <a:gd name="connsiteX97" fmla="*/ 1221127 w 4519952"/>
                    <a:gd name="connsiteY97" fmla="*/ 4200525 h 4496940"/>
                    <a:gd name="connsiteX98" fmla="*/ 1144927 w 4519952"/>
                    <a:gd name="connsiteY98" fmla="*/ 4171950 h 4496940"/>
                    <a:gd name="connsiteX99" fmla="*/ 1087777 w 4519952"/>
                    <a:gd name="connsiteY99" fmla="*/ 4143375 h 4496940"/>
                    <a:gd name="connsiteX100" fmla="*/ 1030627 w 4519952"/>
                    <a:gd name="connsiteY100" fmla="*/ 4124325 h 4496940"/>
                    <a:gd name="connsiteX101" fmla="*/ 925852 w 4519952"/>
                    <a:gd name="connsiteY101" fmla="*/ 4067175 h 4496940"/>
                    <a:gd name="connsiteX102" fmla="*/ 830602 w 4519952"/>
                    <a:gd name="connsiteY102" fmla="*/ 3981450 h 4496940"/>
                    <a:gd name="connsiteX103" fmla="*/ 763927 w 4519952"/>
                    <a:gd name="connsiteY103" fmla="*/ 3914775 h 4496940"/>
                    <a:gd name="connsiteX104" fmla="*/ 725827 w 4519952"/>
                    <a:gd name="connsiteY104" fmla="*/ 3876675 h 4496940"/>
                    <a:gd name="connsiteX105" fmla="*/ 697252 w 4519952"/>
                    <a:gd name="connsiteY105" fmla="*/ 3838575 h 4496940"/>
                    <a:gd name="connsiteX106" fmla="*/ 640102 w 4519952"/>
                    <a:gd name="connsiteY106" fmla="*/ 3781425 h 4496940"/>
                    <a:gd name="connsiteX107" fmla="*/ 611527 w 4519952"/>
                    <a:gd name="connsiteY107" fmla="*/ 3733800 h 4496940"/>
                    <a:gd name="connsiteX108" fmla="*/ 554377 w 4519952"/>
                    <a:gd name="connsiteY108" fmla="*/ 3657600 h 4496940"/>
                    <a:gd name="connsiteX109" fmla="*/ 525802 w 4519952"/>
                    <a:gd name="connsiteY109" fmla="*/ 3609975 h 4496940"/>
                    <a:gd name="connsiteX110" fmla="*/ 497227 w 4519952"/>
                    <a:gd name="connsiteY110" fmla="*/ 3552825 h 4496940"/>
                    <a:gd name="connsiteX111" fmla="*/ 440077 w 4519952"/>
                    <a:gd name="connsiteY111" fmla="*/ 3495675 h 4496940"/>
                    <a:gd name="connsiteX112" fmla="*/ 411502 w 4519952"/>
                    <a:gd name="connsiteY112" fmla="*/ 3448050 h 4496940"/>
                    <a:gd name="connsiteX113" fmla="*/ 278152 w 4519952"/>
                    <a:gd name="connsiteY113" fmla="*/ 3257550 h 4496940"/>
                    <a:gd name="connsiteX114" fmla="*/ 249577 w 4519952"/>
                    <a:gd name="connsiteY114" fmla="*/ 3200400 h 4496940"/>
                    <a:gd name="connsiteX115" fmla="*/ 240052 w 4519952"/>
                    <a:gd name="connsiteY115" fmla="*/ 3162300 h 4496940"/>
                    <a:gd name="connsiteX116" fmla="*/ 221002 w 4519952"/>
                    <a:gd name="connsiteY116" fmla="*/ 3105150 h 4496940"/>
                    <a:gd name="connsiteX117" fmla="*/ 173377 w 4519952"/>
                    <a:gd name="connsiteY117" fmla="*/ 3019425 h 4496940"/>
                    <a:gd name="connsiteX118" fmla="*/ 144802 w 4519952"/>
                    <a:gd name="connsiteY118" fmla="*/ 2924175 h 4496940"/>
                    <a:gd name="connsiteX119" fmla="*/ 68602 w 4519952"/>
                    <a:gd name="connsiteY119" fmla="*/ 2724150 h 4496940"/>
                    <a:gd name="connsiteX120" fmla="*/ 49552 w 4519952"/>
                    <a:gd name="connsiteY120" fmla="*/ 2638425 h 4496940"/>
                    <a:gd name="connsiteX121" fmla="*/ 40027 w 4519952"/>
                    <a:gd name="connsiteY121" fmla="*/ 2562225 h 4496940"/>
                    <a:gd name="connsiteX122" fmla="*/ 30502 w 4519952"/>
                    <a:gd name="connsiteY122" fmla="*/ 2514600 h 4496940"/>
                    <a:gd name="connsiteX123" fmla="*/ 11452 w 4519952"/>
                    <a:gd name="connsiteY123" fmla="*/ 2400300 h 4496940"/>
                    <a:gd name="connsiteX124" fmla="*/ 20977 w 4519952"/>
                    <a:gd name="connsiteY124" fmla="*/ 1905000 h 4496940"/>
                    <a:gd name="connsiteX125" fmla="*/ 30502 w 4519952"/>
                    <a:gd name="connsiteY125" fmla="*/ 1838325 h 4496940"/>
                    <a:gd name="connsiteX126" fmla="*/ 49552 w 4519952"/>
                    <a:gd name="connsiteY126" fmla="*/ 1781175 h 4496940"/>
                    <a:gd name="connsiteX127" fmla="*/ 59077 w 4519952"/>
                    <a:gd name="connsiteY127" fmla="*/ 1743075 h 4496940"/>
                    <a:gd name="connsiteX128" fmla="*/ 78127 w 4519952"/>
                    <a:gd name="connsiteY128" fmla="*/ 1685925 h 4496940"/>
                    <a:gd name="connsiteX129" fmla="*/ 87652 w 4519952"/>
                    <a:gd name="connsiteY129" fmla="*/ 1638300 h 4496940"/>
                    <a:gd name="connsiteX130" fmla="*/ 106702 w 4519952"/>
                    <a:gd name="connsiteY130" fmla="*/ 1590675 h 4496940"/>
                    <a:gd name="connsiteX131" fmla="*/ 135277 w 4519952"/>
                    <a:gd name="connsiteY131" fmla="*/ 1504950 h 4496940"/>
                    <a:gd name="connsiteX132" fmla="*/ 154327 w 4519952"/>
                    <a:gd name="connsiteY132" fmla="*/ 1419225 h 4496940"/>
                    <a:gd name="connsiteX133" fmla="*/ 230527 w 4519952"/>
                    <a:gd name="connsiteY133" fmla="*/ 1276350 h 4496940"/>
                    <a:gd name="connsiteX134" fmla="*/ 240052 w 4519952"/>
                    <a:gd name="connsiteY134" fmla="*/ 1247775 h 4496940"/>
                    <a:gd name="connsiteX135" fmla="*/ 268627 w 4519952"/>
                    <a:gd name="connsiteY135" fmla="*/ 1200150 h 4496940"/>
                    <a:gd name="connsiteX136" fmla="*/ 287677 w 4519952"/>
                    <a:gd name="connsiteY136" fmla="*/ 1152525 h 4496940"/>
                    <a:gd name="connsiteX137" fmla="*/ 316252 w 4519952"/>
                    <a:gd name="connsiteY137" fmla="*/ 1114425 h 4496940"/>
                    <a:gd name="connsiteX138" fmla="*/ 363877 w 4519952"/>
                    <a:gd name="connsiteY138" fmla="*/ 1038225 h 4496940"/>
                    <a:gd name="connsiteX139" fmla="*/ 382927 w 4519952"/>
                    <a:gd name="connsiteY139" fmla="*/ 1009650 h 4496940"/>
                    <a:gd name="connsiteX140" fmla="*/ 440077 w 4519952"/>
                    <a:gd name="connsiteY140" fmla="*/ 904875 h 4496940"/>
                    <a:gd name="connsiteX141" fmla="*/ 478177 w 4519952"/>
                    <a:gd name="connsiteY141" fmla="*/ 857250 h 4496940"/>
                    <a:gd name="connsiteX142" fmla="*/ 497227 w 4519952"/>
                    <a:gd name="connsiteY142" fmla="*/ 828675 h 4496940"/>
                    <a:gd name="connsiteX143" fmla="*/ 535327 w 4519952"/>
                    <a:gd name="connsiteY143" fmla="*/ 800100 h 4496940"/>
                    <a:gd name="connsiteX144" fmla="*/ 602002 w 4519952"/>
                    <a:gd name="connsiteY144" fmla="*/ 733425 h 4496940"/>
                    <a:gd name="connsiteX145" fmla="*/ 668677 w 4519952"/>
                    <a:gd name="connsiteY145" fmla="*/ 676275 h 4496940"/>
                    <a:gd name="connsiteX146" fmla="*/ 697252 w 4519952"/>
                    <a:gd name="connsiteY146" fmla="*/ 657225 h 4496940"/>
                    <a:gd name="connsiteX147" fmla="*/ 840127 w 4519952"/>
                    <a:gd name="connsiteY147" fmla="*/ 533400 h 4496940"/>
                    <a:gd name="connsiteX148" fmla="*/ 887752 w 4519952"/>
                    <a:gd name="connsiteY148" fmla="*/ 504825 h 4496940"/>
                    <a:gd name="connsiteX149" fmla="*/ 1167152 w 4519952"/>
                    <a:gd name="connsiteY149" fmla="*/ 311150 h 4496940"/>
                    <a:gd name="connsiteX150" fmla="*/ 1268752 w 4519952"/>
                    <a:gd name="connsiteY150" fmla="*/ 285750 h 4496940"/>
                    <a:gd name="connsiteX151" fmla="*/ 1411627 w 4519952"/>
                    <a:gd name="connsiteY151" fmla="*/ 190500 h 4496940"/>
                    <a:gd name="connsiteX152" fmla="*/ 1449727 w 4519952"/>
                    <a:gd name="connsiteY152" fmla="*/ 161925 h 4496940"/>
                    <a:gd name="connsiteX153" fmla="*/ 1525927 w 4519952"/>
                    <a:gd name="connsiteY153" fmla="*/ 152400 h 4496940"/>
                    <a:gd name="connsiteX154" fmla="*/ 1583077 w 4519952"/>
                    <a:gd name="connsiteY154" fmla="*/ 142875 h 4496940"/>
                    <a:gd name="connsiteX155" fmla="*/ 1716427 w 4519952"/>
                    <a:gd name="connsiteY155" fmla="*/ 123825 h 4496940"/>
                    <a:gd name="connsiteX156" fmla="*/ 1811677 w 4519952"/>
                    <a:gd name="connsiteY156" fmla="*/ 114300 h 4496940"/>
                    <a:gd name="connsiteX157" fmla="*/ 1859302 w 4519952"/>
                    <a:gd name="connsiteY157" fmla="*/ 104775 h 4496940"/>
                    <a:gd name="connsiteX158" fmla="*/ 1916452 w 4519952"/>
                    <a:gd name="connsiteY158" fmla="*/ 95250 h 4496940"/>
                    <a:gd name="connsiteX159" fmla="*/ 2030752 w 4519952"/>
                    <a:gd name="connsiteY159" fmla="*/ 66675 h 4496940"/>
                    <a:gd name="connsiteX160" fmla="*/ 2097427 w 4519952"/>
                    <a:gd name="connsiteY160" fmla="*/ 47625 h 4496940"/>
                    <a:gd name="connsiteX161" fmla="*/ 2164102 w 4519952"/>
                    <a:gd name="connsiteY161" fmla="*/ 38100 h 4496940"/>
                    <a:gd name="connsiteX162" fmla="*/ 2392702 w 4519952"/>
                    <a:gd name="connsiteY162" fmla="*/ 28575 h 4496940"/>
                    <a:gd name="connsiteX0" fmla="*/ 2297452 w 4519983"/>
                    <a:gd name="connsiteY0" fmla="*/ 0 h 4496940"/>
                    <a:gd name="connsiteX1" fmla="*/ 2421277 w 4519983"/>
                    <a:gd name="connsiteY1" fmla="*/ 28575 h 4496940"/>
                    <a:gd name="connsiteX2" fmla="*/ 2497477 w 4519983"/>
                    <a:gd name="connsiteY2" fmla="*/ 47625 h 4496940"/>
                    <a:gd name="connsiteX3" fmla="*/ 2754652 w 4519983"/>
                    <a:gd name="connsiteY3" fmla="*/ 66675 h 4496940"/>
                    <a:gd name="connsiteX4" fmla="*/ 2830852 w 4519983"/>
                    <a:gd name="connsiteY4" fmla="*/ 76200 h 4496940"/>
                    <a:gd name="connsiteX5" fmla="*/ 2916577 w 4519983"/>
                    <a:gd name="connsiteY5" fmla="*/ 85725 h 4496940"/>
                    <a:gd name="connsiteX6" fmla="*/ 2973727 w 4519983"/>
                    <a:gd name="connsiteY6" fmla="*/ 114300 h 4496940"/>
                    <a:gd name="connsiteX7" fmla="*/ 3011827 w 4519983"/>
                    <a:gd name="connsiteY7" fmla="*/ 123825 h 4496940"/>
                    <a:gd name="connsiteX8" fmla="*/ 3135652 w 4519983"/>
                    <a:gd name="connsiteY8" fmla="*/ 171450 h 4496940"/>
                    <a:gd name="connsiteX9" fmla="*/ 3173752 w 4519983"/>
                    <a:gd name="connsiteY9" fmla="*/ 190500 h 4496940"/>
                    <a:gd name="connsiteX10" fmla="*/ 3240427 w 4519983"/>
                    <a:gd name="connsiteY10" fmla="*/ 228600 h 4496940"/>
                    <a:gd name="connsiteX11" fmla="*/ 3269002 w 4519983"/>
                    <a:gd name="connsiteY11" fmla="*/ 238125 h 4496940"/>
                    <a:gd name="connsiteX12" fmla="*/ 3297577 w 4519983"/>
                    <a:gd name="connsiteY12" fmla="*/ 257175 h 4496940"/>
                    <a:gd name="connsiteX13" fmla="*/ 3326152 w 4519983"/>
                    <a:gd name="connsiteY13" fmla="*/ 266700 h 4496940"/>
                    <a:gd name="connsiteX14" fmla="*/ 3354727 w 4519983"/>
                    <a:gd name="connsiteY14" fmla="*/ 285750 h 4496940"/>
                    <a:gd name="connsiteX15" fmla="*/ 3421402 w 4519983"/>
                    <a:gd name="connsiteY15" fmla="*/ 323850 h 4496940"/>
                    <a:gd name="connsiteX16" fmla="*/ 3469027 w 4519983"/>
                    <a:gd name="connsiteY16" fmla="*/ 361950 h 4496940"/>
                    <a:gd name="connsiteX17" fmla="*/ 3516652 w 4519983"/>
                    <a:gd name="connsiteY17" fmla="*/ 390525 h 4496940"/>
                    <a:gd name="connsiteX18" fmla="*/ 3545227 w 4519983"/>
                    <a:gd name="connsiteY18" fmla="*/ 419100 h 4496940"/>
                    <a:gd name="connsiteX19" fmla="*/ 3602377 w 4519983"/>
                    <a:gd name="connsiteY19" fmla="*/ 457200 h 4496940"/>
                    <a:gd name="connsiteX20" fmla="*/ 3630952 w 4519983"/>
                    <a:gd name="connsiteY20" fmla="*/ 485775 h 4496940"/>
                    <a:gd name="connsiteX21" fmla="*/ 3678577 w 4519983"/>
                    <a:gd name="connsiteY21" fmla="*/ 504825 h 4496940"/>
                    <a:gd name="connsiteX22" fmla="*/ 3745252 w 4519983"/>
                    <a:gd name="connsiteY22" fmla="*/ 542925 h 4496940"/>
                    <a:gd name="connsiteX23" fmla="*/ 3811927 w 4519983"/>
                    <a:gd name="connsiteY23" fmla="*/ 581025 h 4496940"/>
                    <a:gd name="connsiteX24" fmla="*/ 3840502 w 4519983"/>
                    <a:gd name="connsiteY24" fmla="*/ 600075 h 4496940"/>
                    <a:gd name="connsiteX25" fmla="*/ 3869077 w 4519983"/>
                    <a:gd name="connsiteY25" fmla="*/ 628650 h 4496940"/>
                    <a:gd name="connsiteX26" fmla="*/ 3907177 w 4519983"/>
                    <a:gd name="connsiteY26" fmla="*/ 647700 h 4496940"/>
                    <a:gd name="connsiteX27" fmla="*/ 3935752 w 4519983"/>
                    <a:gd name="connsiteY27" fmla="*/ 676275 h 4496940"/>
                    <a:gd name="connsiteX28" fmla="*/ 3992902 w 4519983"/>
                    <a:gd name="connsiteY28" fmla="*/ 714375 h 4496940"/>
                    <a:gd name="connsiteX29" fmla="*/ 4050052 w 4519983"/>
                    <a:gd name="connsiteY29" fmla="*/ 790575 h 4496940"/>
                    <a:gd name="connsiteX30" fmla="*/ 4078627 w 4519983"/>
                    <a:gd name="connsiteY30" fmla="*/ 838200 h 4496940"/>
                    <a:gd name="connsiteX31" fmla="*/ 4107202 w 4519983"/>
                    <a:gd name="connsiteY31" fmla="*/ 876300 h 4496940"/>
                    <a:gd name="connsiteX32" fmla="*/ 4116727 w 4519983"/>
                    <a:gd name="connsiteY32" fmla="*/ 904875 h 4496940"/>
                    <a:gd name="connsiteX33" fmla="*/ 4135777 w 4519983"/>
                    <a:gd name="connsiteY33" fmla="*/ 933450 h 4496940"/>
                    <a:gd name="connsiteX34" fmla="*/ 4164352 w 4519983"/>
                    <a:gd name="connsiteY34" fmla="*/ 990600 h 4496940"/>
                    <a:gd name="connsiteX35" fmla="*/ 4173877 w 4519983"/>
                    <a:gd name="connsiteY35" fmla="*/ 1019175 h 4496940"/>
                    <a:gd name="connsiteX36" fmla="*/ 4192927 w 4519983"/>
                    <a:gd name="connsiteY36" fmla="*/ 1057275 h 4496940"/>
                    <a:gd name="connsiteX37" fmla="*/ 4202452 w 4519983"/>
                    <a:gd name="connsiteY37" fmla="*/ 1085850 h 4496940"/>
                    <a:gd name="connsiteX38" fmla="*/ 4250077 w 4519983"/>
                    <a:gd name="connsiteY38" fmla="*/ 1143000 h 4496940"/>
                    <a:gd name="connsiteX39" fmla="*/ 4259602 w 4519983"/>
                    <a:gd name="connsiteY39" fmla="*/ 1190625 h 4496940"/>
                    <a:gd name="connsiteX40" fmla="*/ 4307227 w 4519983"/>
                    <a:gd name="connsiteY40" fmla="*/ 1266825 h 4496940"/>
                    <a:gd name="connsiteX41" fmla="*/ 4345327 w 4519983"/>
                    <a:gd name="connsiteY41" fmla="*/ 1362075 h 4496940"/>
                    <a:gd name="connsiteX42" fmla="*/ 4373902 w 4519983"/>
                    <a:gd name="connsiteY42" fmla="*/ 1428750 h 4496940"/>
                    <a:gd name="connsiteX43" fmla="*/ 4392952 w 4519983"/>
                    <a:gd name="connsiteY43" fmla="*/ 1552575 h 4496940"/>
                    <a:gd name="connsiteX44" fmla="*/ 4402477 w 4519983"/>
                    <a:gd name="connsiteY44" fmla="*/ 1590675 h 4496940"/>
                    <a:gd name="connsiteX45" fmla="*/ 4431052 w 4519983"/>
                    <a:gd name="connsiteY45" fmla="*/ 1685925 h 4496940"/>
                    <a:gd name="connsiteX46" fmla="*/ 4519952 w 4519983"/>
                    <a:gd name="connsiteY46" fmla="*/ 2181225 h 4496940"/>
                    <a:gd name="connsiteX47" fmla="*/ 4440577 w 4519983"/>
                    <a:gd name="connsiteY47" fmla="*/ 2876550 h 4496940"/>
                    <a:gd name="connsiteX48" fmla="*/ 4383427 w 4519983"/>
                    <a:gd name="connsiteY48" fmla="*/ 2990850 h 4496940"/>
                    <a:gd name="connsiteX49" fmla="*/ 4354852 w 4519983"/>
                    <a:gd name="connsiteY49" fmla="*/ 3057525 h 4496940"/>
                    <a:gd name="connsiteX50" fmla="*/ 4335802 w 4519983"/>
                    <a:gd name="connsiteY50" fmla="*/ 3095625 h 4496940"/>
                    <a:gd name="connsiteX51" fmla="*/ 4278652 w 4519983"/>
                    <a:gd name="connsiteY51" fmla="*/ 3248025 h 4496940"/>
                    <a:gd name="connsiteX52" fmla="*/ 4259602 w 4519983"/>
                    <a:gd name="connsiteY52" fmla="*/ 3276600 h 4496940"/>
                    <a:gd name="connsiteX53" fmla="*/ 4221502 w 4519983"/>
                    <a:gd name="connsiteY53" fmla="*/ 3333750 h 4496940"/>
                    <a:gd name="connsiteX54" fmla="*/ 4211977 w 4519983"/>
                    <a:gd name="connsiteY54" fmla="*/ 3362325 h 4496940"/>
                    <a:gd name="connsiteX55" fmla="*/ 4183402 w 4519983"/>
                    <a:gd name="connsiteY55" fmla="*/ 3400425 h 4496940"/>
                    <a:gd name="connsiteX56" fmla="*/ 4164352 w 4519983"/>
                    <a:gd name="connsiteY56" fmla="*/ 3429000 h 4496940"/>
                    <a:gd name="connsiteX57" fmla="*/ 4088152 w 4519983"/>
                    <a:gd name="connsiteY57" fmla="*/ 3495675 h 4496940"/>
                    <a:gd name="connsiteX58" fmla="*/ 4059577 w 4519983"/>
                    <a:gd name="connsiteY58" fmla="*/ 3533775 h 4496940"/>
                    <a:gd name="connsiteX59" fmla="*/ 4002427 w 4519983"/>
                    <a:gd name="connsiteY59" fmla="*/ 3600450 h 4496940"/>
                    <a:gd name="connsiteX60" fmla="*/ 3983377 w 4519983"/>
                    <a:gd name="connsiteY60" fmla="*/ 3629025 h 4496940"/>
                    <a:gd name="connsiteX61" fmla="*/ 3954802 w 4519983"/>
                    <a:gd name="connsiteY61" fmla="*/ 3648075 h 4496940"/>
                    <a:gd name="connsiteX62" fmla="*/ 3907177 w 4519983"/>
                    <a:gd name="connsiteY62" fmla="*/ 3686175 h 4496940"/>
                    <a:gd name="connsiteX63" fmla="*/ 3869077 w 4519983"/>
                    <a:gd name="connsiteY63" fmla="*/ 3724275 h 4496940"/>
                    <a:gd name="connsiteX64" fmla="*/ 3792877 w 4519983"/>
                    <a:gd name="connsiteY64" fmla="*/ 3781425 h 4496940"/>
                    <a:gd name="connsiteX65" fmla="*/ 3783352 w 4519983"/>
                    <a:gd name="connsiteY65" fmla="*/ 3810000 h 4496940"/>
                    <a:gd name="connsiteX66" fmla="*/ 3745252 w 4519983"/>
                    <a:gd name="connsiteY66" fmla="*/ 3819525 h 4496940"/>
                    <a:gd name="connsiteX67" fmla="*/ 3678577 w 4519983"/>
                    <a:gd name="connsiteY67" fmla="*/ 3848100 h 4496940"/>
                    <a:gd name="connsiteX68" fmla="*/ 3659527 w 4519983"/>
                    <a:gd name="connsiteY68" fmla="*/ 3971925 h 4496940"/>
                    <a:gd name="connsiteX69" fmla="*/ 3630952 w 4519983"/>
                    <a:gd name="connsiteY69" fmla="*/ 4010025 h 4496940"/>
                    <a:gd name="connsiteX70" fmla="*/ 3621427 w 4519983"/>
                    <a:gd name="connsiteY70" fmla="*/ 4038600 h 4496940"/>
                    <a:gd name="connsiteX71" fmla="*/ 3554752 w 4519983"/>
                    <a:gd name="connsiteY71" fmla="*/ 4095750 h 4496940"/>
                    <a:gd name="connsiteX72" fmla="*/ 3516652 w 4519983"/>
                    <a:gd name="connsiteY72" fmla="*/ 4114800 h 4496940"/>
                    <a:gd name="connsiteX73" fmla="*/ 3497602 w 4519983"/>
                    <a:gd name="connsiteY73" fmla="*/ 4143375 h 4496940"/>
                    <a:gd name="connsiteX74" fmla="*/ 3383302 w 4519983"/>
                    <a:gd name="connsiteY74" fmla="*/ 4210050 h 4496940"/>
                    <a:gd name="connsiteX75" fmla="*/ 3335677 w 4519983"/>
                    <a:gd name="connsiteY75" fmla="*/ 4238625 h 4496940"/>
                    <a:gd name="connsiteX76" fmla="*/ 3288052 w 4519983"/>
                    <a:gd name="connsiteY76" fmla="*/ 4248150 h 4496940"/>
                    <a:gd name="connsiteX77" fmla="*/ 3240427 w 4519983"/>
                    <a:gd name="connsiteY77" fmla="*/ 4267200 h 4496940"/>
                    <a:gd name="connsiteX78" fmla="*/ 3068977 w 4519983"/>
                    <a:gd name="connsiteY78" fmla="*/ 4286250 h 4496940"/>
                    <a:gd name="connsiteX79" fmla="*/ 2935627 w 4519983"/>
                    <a:gd name="connsiteY79" fmla="*/ 4333875 h 4496940"/>
                    <a:gd name="connsiteX80" fmla="*/ 2811802 w 4519983"/>
                    <a:gd name="connsiteY80" fmla="*/ 4371975 h 4496940"/>
                    <a:gd name="connsiteX81" fmla="*/ 2745127 w 4519983"/>
                    <a:gd name="connsiteY81" fmla="*/ 4410075 h 4496940"/>
                    <a:gd name="connsiteX82" fmla="*/ 2697502 w 4519983"/>
                    <a:gd name="connsiteY82" fmla="*/ 4429125 h 4496940"/>
                    <a:gd name="connsiteX83" fmla="*/ 2640352 w 4519983"/>
                    <a:gd name="connsiteY83" fmla="*/ 4457700 h 4496940"/>
                    <a:gd name="connsiteX84" fmla="*/ 2583202 w 4519983"/>
                    <a:gd name="connsiteY84" fmla="*/ 4467225 h 4496940"/>
                    <a:gd name="connsiteX85" fmla="*/ 2545102 w 4519983"/>
                    <a:gd name="connsiteY85" fmla="*/ 4486275 h 4496940"/>
                    <a:gd name="connsiteX86" fmla="*/ 2306977 w 4519983"/>
                    <a:gd name="connsiteY86" fmla="*/ 4476750 h 4496940"/>
                    <a:gd name="connsiteX87" fmla="*/ 2202202 w 4519983"/>
                    <a:gd name="connsiteY87" fmla="*/ 4457700 h 4496940"/>
                    <a:gd name="connsiteX88" fmla="*/ 2126002 w 4519983"/>
                    <a:gd name="connsiteY88" fmla="*/ 4429125 h 4496940"/>
                    <a:gd name="connsiteX89" fmla="*/ 1935502 w 4519983"/>
                    <a:gd name="connsiteY89" fmla="*/ 4400550 h 4496940"/>
                    <a:gd name="connsiteX90" fmla="*/ 1821202 w 4519983"/>
                    <a:gd name="connsiteY90" fmla="*/ 4371975 h 4496940"/>
                    <a:gd name="connsiteX91" fmla="*/ 1754527 w 4519983"/>
                    <a:gd name="connsiteY91" fmla="*/ 4352925 h 4496940"/>
                    <a:gd name="connsiteX92" fmla="*/ 1687852 w 4519983"/>
                    <a:gd name="connsiteY92" fmla="*/ 4343400 h 4496940"/>
                    <a:gd name="connsiteX93" fmla="*/ 1573552 w 4519983"/>
                    <a:gd name="connsiteY93" fmla="*/ 4305300 h 4496940"/>
                    <a:gd name="connsiteX94" fmla="*/ 1402102 w 4519983"/>
                    <a:gd name="connsiteY94" fmla="*/ 4276725 h 4496940"/>
                    <a:gd name="connsiteX95" fmla="*/ 1287802 w 4519983"/>
                    <a:gd name="connsiteY95" fmla="*/ 4229100 h 4496940"/>
                    <a:gd name="connsiteX96" fmla="*/ 1221127 w 4519983"/>
                    <a:gd name="connsiteY96" fmla="*/ 4200525 h 4496940"/>
                    <a:gd name="connsiteX97" fmla="*/ 1144927 w 4519983"/>
                    <a:gd name="connsiteY97" fmla="*/ 4171950 h 4496940"/>
                    <a:gd name="connsiteX98" fmla="*/ 1087777 w 4519983"/>
                    <a:gd name="connsiteY98" fmla="*/ 4143375 h 4496940"/>
                    <a:gd name="connsiteX99" fmla="*/ 1030627 w 4519983"/>
                    <a:gd name="connsiteY99" fmla="*/ 4124325 h 4496940"/>
                    <a:gd name="connsiteX100" fmla="*/ 925852 w 4519983"/>
                    <a:gd name="connsiteY100" fmla="*/ 4067175 h 4496940"/>
                    <a:gd name="connsiteX101" fmla="*/ 830602 w 4519983"/>
                    <a:gd name="connsiteY101" fmla="*/ 3981450 h 4496940"/>
                    <a:gd name="connsiteX102" fmla="*/ 763927 w 4519983"/>
                    <a:gd name="connsiteY102" fmla="*/ 3914775 h 4496940"/>
                    <a:gd name="connsiteX103" fmla="*/ 725827 w 4519983"/>
                    <a:gd name="connsiteY103" fmla="*/ 3876675 h 4496940"/>
                    <a:gd name="connsiteX104" fmla="*/ 697252 w 4519983"/>
                    <a:gd name="connsiteY104" fmla="*/ 3838575 h 4496940"/>
                    <a:gd name="connsiteX105" fmla="*/ 640102 w 4519983"/>
                    <a:gd name="connsiteY105" fmla="*/ 3781425 h 4496940"/>
                    <a:gd name="connsiteX106" fmla="*/ 611527 w 4519983"/>
                    <a:gd name="connsiteY106" fmla="*/ 3733800 h 4496940"/>
                    <a:gd name="connsiteX107" fmla="*/ 554377 w 4519983"/>
                    <a:gd name="connsiteY107" fmla="*/ 3657600 h 4496940"/>
                    <a:gd name="connsiteX108" fmla="*/ 525802 w 4519983"/>
                    <a:gd name="connsiteY108" fmla="*/ 3609975 h 4496940"/>
                    <a:gd name="connsiteX109" fmla="*/ 497227 w 4519983"/>
                    <a:gd name="connsiteY109" fmla="*/ 3552825 h 4496940"/>
                    <a:gd name="connsiteX110" fmla="*/ 440077 w 4519983"/>
                    <a:gd name="connsiteY110" fmla="*/ 3495675 h 4496940"/>
                    <a:gd name="connsiteX111" fmla="*/ 411502 w 4519983"/>
                    <a:gd name="connsiteY111" fmla="*/ 3448050 h 4496940"/>
                    <a:gd name="connsiteX112" fmla="*/ 278152 w 4519983"/>
                    <a:gd name="connsiteY112" fmla="*/ 3257550 h 4496940"/>
                    <a:gd name="connsiteX113" fmla="*/ 249577 w 4519983"/>
                    <a:gd name="connsiteY113" fmla="*/ 3200400 h 4496940"/>
                    <a:gd name="connsiteX114" fmla="*/ 240052 w 4519983"/>
                    <a:gd name="connsiteY114" fmla="*/ 3162300 h 4496940"/>
                    <a:gd name="connsiteX115" fmla="*/ 221002 w 4519983"/>
                    <a:gd name="connsiteY115" fmla="*/ 3105150 h 4496940"/>
                    <a:gd name="connsiteX116" fmla="*/ 173377 w 4519983"/>
                    <a:gd name="connsiteY116" fmla="*/ 3019425 h 4496940"/>
                    <a:gd name="connsiteX117" fmla="*/ 144802 w 4519983"/>
                    <a:gd name="connsiteY117" fmla="*/ 2924175 h 4496940"/>
                    <a:gd name="connsiteX118" fmla="*/ 68602 w 4519983"/>
                    <a:gd name="connsiteY118" fmla="*/ 2724150 h 4496940"/>
                    <a:gd name="connsiteX119" fmla="*/ 49552 w 4519983"/>
                    <a:gd name="connsiteY119" fmla="*/ 2638425 h 4496940"/>
                    <a:gd name="connsiteX120" fmla="*/ 40027 w 4519983"/>
                    <a:gd name="connsiteY120" fmla="*/ 2562225 h 4496940"/>
                    <a:gd name="connsiteX121" fmla="*/ 30502 w 4519983"/>
                    <a:gd name="connsiteY121" fmla="*/ 2514600 h 4496940"/>
                    <a:gd name="connsiteX122" fmla="*/ 11452 w 4519983"/>
                    <a:gd name="connsiteY122" fmla="*/ 2400300 h 4496940"/>
                    <a:gd name="connsiteX123" fmla="*/ 20977 w 4519983"/>
                    <a:gd name="connsiteY123" fmla="*/ 1905000 h 4496940"/>
                    <a:gd name="connsiteX124" fmla="*/ 30502 w 4519983"/>
                    <a:gd name="connsiteY124" fmla="*/ 1838325 h 4496940"/>
                    <a:gd name="connsiteX125" fmla="*/ 49552 w 4519983"/>
                    <a:gd name="connsiteY125" fmla="*/ 1781175 h 4496940"/>
                    <a:gd name="connsiteX126" fmla="*/ 59077 w 4519983"/>
                    <a:gd name="connsiteY126" fmla="*/ 1743075 h 4496940"/>
                    <a:gd name="connsiteX127" fmla="*/ 78127 w 4519983"/>
                    <a:gd name="connsiteY127" fmla="*/ 1685925 h 4496940"/>
                    <a:gd name="connsiteX128" fmla="*/ 87652 w 4519983"/>
                    <a:gd name="connsiteY128" fmla="*/ 1638300 h 4496940"/>
                    <a:gd name="connsiteX129" fmla="*/ 106702 w 4519983"/>
                    <a:gd name="connsiteY129" fmla="*/ 1590675 h 4496940"/>
                    <a:gd name="connsiteX130" fmla="*/ 135277 w 4519983"/>
                    <a:gd name="connsiteY130" fmla="*/ 1504950 h 4496940"/>
                    <a:gd name="connsiteX131" fmla="*/ 154327 w 4519983"/>
                    <a:gd name="connsiteY131" fmla="*/ 1419225 h 4496940"/>
                    <a:gd name="connsiteX132" fmla="*/ 230527 w 4519983"/>
                    <a:gd name="connsiteY132" fmla="*/ 1276350 h 4496940"/>
                    <a:gd name="connsiteX133" fmla="*/ 240052 w 4519983"/>
                    <a:gd name="connsiteY133" fmla="*/ 1247775 h 4496940"/>
                    <a:gd name="connsiteX134" fmla="*/ 268627 w 4519983"/>
                    <a:gd name="connsiteY134" fmla="*/ 1200150 h 4496940"/>
                    <a:gd name="connsiteX135" fmla="*/ 287677 w 4519983"/>
                    <a:gd name="connsiteY135" fmla="*/ 1152525 h 4496940"/>
                    <a:gd name="connsiteX136" fmla="*/ 316252 w 4519983"/>
                    <a:gd name="connsiteY136" fmla="*/ 1114425 h 4496940"/>
                    <a:gd name="connsiteX137" fmla="*/ 363877 w 4519983"/>
                    <a:gd name="connsiteY137" fmla="*/ 1038225 h 4496940"/>
                    <a:gd name="connsiteX138" fmla="*/ 382927 w 4519983"/>
                    <a:gd name="connsiteY138" fmla="*/ 1009650 h 4496940"/>
                    <a:gd name="connsiteX139" fmla="*/ 440077 w 4519983"/>
                    <a:gd name="connsiteY139" fmla="*/ 904875 h 4496940"/>
                    <a:gd name="connsiteX140" fmla="*/ 478177 w 4519983"/>
                    <a:gd name="connsiteY140" fmla="*/ 857250 h 4496940"/>
                    <a:gd name="connsiteX141" fmla="*/ 497227 w 4519983"/>
                    <a:gd name="connsiteY141" fmla="*/ 828675 h 4496940"/>
                    <a:gd name="connsiteX142" fmla="*/ 535327 w 4519983"/>
                    <a:gd name="connsiteY142" fmla="*/ 800100 h 4496940"/>
                    <a:gd name="connsiteX143" fmla="*/ 602002 w 4519983"/>
                    <a:gd name="connsiteY143" fmla="*/ 733425 h 4496940"/>
                    <a:gd name="connsiteX144" fmla="*/ 668677 w 4519983"/>
                    <a:gd name="connsiteY144" fmla="*/ 676275 h 4496940"/>
                    <a:gd name="connsiteX145" fmla="*/ 697252 w 4519983"/>
                    <a:gd name="connsiteY145" fmla="*/ 657225 h 4496940"/>
                    <a:gd name="connsiteX146" fmla="*/ 840127 w 4519983"/>
                    <a:gd name="connsiteY146" fmla="*/ 533400 h 4496940"/>
                    <a:gd name="connsiteX147" fmla="*/ 887752 w 4519983"/>
                    <a:gd name="connsiteY147" fmla="*/ 504825 h 4496940"/>
                    <a:gd name="connsiteX148" fmla="*/ 1167152 w 4519983"/>
                    <a:gd name="connsiteY148" fmla="*/ 311150 h 4496940"/>
                    <a:gd name="connsiteX149" fmla="*/ 1268752 w 4519983"/>
                    <a:gd name="connsiteY149" fmla="*/ 285750 h 4496940"/>
                    <a:gd name="connsiteX150" fmla="*/ 1411627 w 4519983"/>
                    <a:gd name="connsiteY150" fmla="*/ 190500 h 4496940"/>
                    <a:gd name="connsiteX151" fmla="*/ 1449727 w 4519983"/>
                    <a:gd name="connsiteY151" fmla="*/ 161925 h 4496940"/>
                    <a:gd name="connsiteX152" fmla="*/ 1525927 w 4519983"/>
                    <a:gd name="connsiteY152" fmla="*/ 152400 h 4496940"/>
                    <a:gd name="connsiteX153" fmla="*/ 1583077 w 4519983"/>
                    <a:gd name="connsiteY153" fmla="*/ 142875 h 4496940"/>
                    <a:gd name="connsiteX154" fmla="*/ 1716427 w 4519983"/>
                    <a:gd name="connsiteY154" fmla="*/ 123825 h 4496940"/>
                    <a:gd name="connsiteX155" fmla="*/ 1811677 w 4519983"/>
                    <a:gd name="connsiteY155" fmla="*/ 114300 h 4496940"/>
                    <a:gd name="connsiteX156" fmla="*/ 1859302 w 4519983"/>
                    <a:gd name="connsiteY156" fmla="*/ 104775 h 4496940"/>
                    <a:gd name="connsiteX157" fmla="*/ 1916452 w 4519983"/>
                    <a:gd name="connsiteY157" fmla="*/ 95250 h 4496940"/>
                    <a:gd name="connsiteX158" fmla="*/ 2030752 w 4519983"/>
                    <a:gd name="connsiteY158" fmla="*/ 66675 h 4496940"/>
                    <a:gd name="connsiteX159" fmla="*/ 2097427 w 4519983"/>
                    <a:gd name="connsiteY159" fmla="*/ 47625 h 4496940"/>
                    <a:gd name="connsiteX160" fmla="*/ 2164102 w 4519983"/>
                    <a:gd name="connsiteY160" fmla="*/ 38100 h 4496940"/>
                    <a:gd name="connsiteX161" fmla="*/ 2392702 w 4519983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335802 w 4519987"/>
                    <a:gd name="connsiteY50" fmla="*/ 3095625 h 4496940"/>
                    <a:gd name="connsiteX51" fmla="*/ 4278652 w 4519987"/>
                    <a:gd name="connsiteY51" fmla="*/ 3248025 h 4496940"/>
                    <a:gd name="connsiteX52" fmla="*/ 4259602 w 4519987"/>
                    <a:gd name="connsiteY52" fmla="*/ 3276600 h 4496940"/>
                    <a:gd name="connsiteX53" fmla="*/ 4221502 w 4519987"/>
                    <a:gd name="connsiteY53" fmla="*/ 3333750 h 4496940"/>
                    <a:gd name="connsiteX54" fmla="*/ 4211977 w 4519987"/>
                    <a:gd name="connsiteY54" fmla="*/ 3362325 h 4496940"/>
                    <a:gd name="connsiteX55" fmla="*/ 4183402 w 4519987"/>
                    <a:gd name="connsiteY55" fmla="*/ 3400425 h 4496940"/>
                    <a:gd name="connsiteX56" fmla="*/ 4164352 w 4519987"/>
                    <a:gd name="connsiteY56" fmla="*/ 3429000 h 4496940"/>
                    <a:gd name="connsiteX57" fmla="*/ 4088152 w 4519987"/>
                    <a:gd name="connsiteY57" fmla="*/ 3495675 h 4496940"/>
                    <a:gd name="connsiteX58" fmla="*/ 4059577 w 4519987"/>
                    <a:gd name="connsiteY58" fmla="*/ 3533775 h 4496940"/>
                    <a:gd name="connsiteX59" fmla="*/ 4002427 w 4519987"/>
                    <a:gd name="connsiteY59" fmla="*/ 3600450 h 4496940"/>
                    <a:gd name="connsiteX60" fmla="*/ 3983377 w 4519987"/>
                    <a:gd name="connsiteY60" fmla="*/ 3629025 h 4496940"/>
                    <a:gd name="connsiteX61" fmla="*/ 3954802 w 4519987"/>
                    <a:gd name="connsiteY61" fmla="*/ 3648075 h 4496940"/>
                    <a:gd name="connsiteX62" fmla="*/ 3907177 w 4519987"/>
                    <a:gd name="connsiteY62" fmla="*/ 3686175 h 4496940"/>
                    <a:gd name="connsiteX63" fmla="*/ 3869077 w 4519987"/>
                    <a:gd name="connsiteY63" fmla="*/ 3724275 h 4496940"/>
                    <a:gd name="connsiteX64" fmla="*/ 3792877 w 4519987"/>
                    <a:gd name="connsiteY64" fmla="*/ 3781425 h 4496940"/>
                    <a:gd name="connsiteX65" fmla="*/ 3783352 w 4519987"/>
                    <a:gd name="connsiteY65" fmla="*/ 3810000 h 4496940"/>
                    <a:gd name="connsiteX66" fmla="*/ 3745252 w 4519987"/>
                    <a:gd name="connsiteY66" fmla="*/ 3819525 h 4496940"/>
                    <a:gd name="connsiteX67" fmla="*/ 3678577 w 4519987"/>
                    <a:gd name="connsiteY67" fmla="*/ 3848100 h 4496940"/>
                    <a:gd name="connsiteX68" fmla="*/ 3659527 w 4519987"/>
                    <a:gd name="connsiteY68" fmla="*/ 3971925 h 4496940"/>
                    <a:gd name="connsiteX69" fmla="*/ 3630952 w 4519987"/>
                    <a:gd name="connsiteY69" fmla="*/ 4010025 h 4496940"/>
                    <a:gd name="connsiteX70" fmla="*/ 3621427 w 4519987"/>
                    <a:gd name="connsiteY70" fmla="*/ 4038600 h 4496940"/>
                    <a:gd name="connsiteX71" fmla="*/ 3554752 w 4519987"/>
                    <a:gd name="connsiteY71" fmla="*/ 4095750 h 4496940"/>
                    <a:gd name="connsiteX72" fmla="*/ 3516652 w 4519987"/>
                    <a:gd name="connsiteY72" fmla="*/ 4114800 h 4496940"/>
                    <a:gd name="connsiteX73" fmla="*/ 3497602 w 4519987"/>
                    <a:gd name="connsiteY73" fmla="*/ 4143375 h 4496940"/>
                    <a:gd name="connsiteX74" fmla="*/ 3383302 w 4519987"/>
                    <a:gd name="connsiteY74" fmla="*/ 4210050 h 4496940"/>
                    <a:gd name="connsiteX75" fmla="*/ 3335677 w 4519987"/>
                    <a:gd name="connsiteY75" fmla="*/ 4238625 h 4496940"/>
                    <a:gd name="connsiteX76" fmla="*/ 3288052 w 4519987"/>
                    <a:gd name="connsiteY76" fmla="*/ 4248150 h 4496940"/>
                    <a:gd name="connsiteX77" fmla="*/ 3240427 w 4519987"/>
                    <a:gd name="connsiteY77" fmla="*/ 4267200 h 4496940"/>
                    <a:gd name="connsiteX78" fmla="*/ 3068977 w 4519987"/>
                    <a:gd name="connsiteY78" fmla="*/ 4286250 h 4496940"/>
                    <a:gd name="connsiteX79" fmla="*/ 2935627 w 4519987"/>
                    <a:gd name="connsiteY79" fmla="*/ 4333875 h 4496940"/>
                    <a:gd name="connsiteX80" fmla="*/ 2811802 w 4519987"/>
                    <a:gd name="connsiteY80" fmla="*/ 4371975 h 4496940"/>
                    <a:gd name="connsiteX81" fmla="*/ 2745127 w 4519987"/>
                    <a:gd name="connsiteY81" fmla="*/ 4410075 h 4496940"/>
                    <a:gd name="connsiteX82" fmla="*/ 2697502 w 4519987"/>
                    <a:gd name="connsiteY82" fmla="*/ 4429125 h 4496940"/>
                    <a:gd name="connsiteX83" fmla="*/ 2640352 w 4519987"/>
                    <a:gd name="connsiteY83" fmla="*/ 4457700 h 4496940"/>
                    <a:gd name="connsiteX84" fmla="*/ 2583202 w 4519987"/>
                    <a:gd name="connsiteY84" fmla="*/ 4467225 h 4496940"/>
                    <a:gd name="connsiteX85" fmla="*/ 2545102 w 4519987"/>
                    <a:gd name="connsiteY85" fmla="*/ 4486275 h 4496940"/>
                    <a:gd name="connsiteX86" fmla="*/ 2306977 w 4519987"/>
                    <a:gd name="connsiteY86" fmla="*/ 4476750 h 4496940"/>
                    <a:gd name="connsiteX87" fmla="*/ 2202202 w 4519987"/>
                    <a:gd name="connsiteY87" fmla="*/ 4457700 h 4496940"/>
                    <a:gd name="connsiteX88" fmla="*/ 2126002 w 4519987"/>
                    <a:gd name="connsiteY88" fmla="*/ 4429125 h 4496940"/>
                    <a:gd name="connsiteX89" fmla="*/ 1935502 w 4519987"/>
                    <a:gd name="connsiteY89" fmla="*/ 4400550 h 4496940"/>
                    <a:gd name="connsiteX90" fmla="*/ 1821202 w 4519987"/>
                    <a:gd name="connsiteY90" fmla="*/ 4371975 h 4496940"/>
                    <a:gd name="connsiteX91" fmla="*/ 1754527 w 4519987"/>
                    <a:gd name="connsiteY91" fmla="*/ 4352925 h 4496940"/>
                    <a:gd name="connsiteX92" fmla="*/ 1687852 w 4519987"/>
                    <a:gd name="connsiteY92" fmla="*/ 4343400 h 4496940"/>
                    <a:gd name="connsiteX93" fmla="*/ 1573552 w 4519987"/>
                    <a:gd name="connsiteY93" fmla="*/ 4305300 h 4496940"/>
                    <a:gd name="connsiteX94" fmla="*/ 1402102 w 4519987"/>
                    <a:gd name="connsiteY94" fmla="*/ 4276725 h 4496940"/>
                    <a:gd name="connsiteX95" fmla="*/ 1287802 w 4519987"/>
                    <a:gd name="connsiteY95" fmla="*/ 4229100 h 4496940"/>
                    <a:gd name="connsiteX96" fmla="*/ 1221127 w 4519987"/>
                    <a:gd name="connsiteY96" fmla="*/ 4200525 h 4496940"/>
                    <a:gd name="connsiteX97" fmla="*/ 1144927 w 4519987"/>
                    <a:gd name="connsiteY97" fmla="*/ 4171950 h 4496940"/>
                    <a:gd name="connsiteX98" fmla="*/ 1087777 w 4519987"/>
                    <a:gd name="connsiteY98" fmla="*/ 4143375 h 4496940"/>
                    <a:gd name="connsiteX99" fmla="*/ 1030627 w 4519987"/>
                    <a:gd name="connsiteY99" fmla="*/ 4124325 h 4496940"/>
                    <a:gd name="connsiteX100" fmla="*/ 925852 w 4519987"/>
                    <a:gd name="connsiteY100" fmla="*/ 4067175 h 4496940"/>
                    <a:gd name="connsiteX101" fmla="*/ 830602 w 4519987"/>
                    <a:gd name="connsiteY101" fmla="*/ 3981450 h 4496940"/>
                    <a:gd name="connsiteX102" fmla="*/ 763927 w 4519987"/>
                    <a:gd name="connsiteY102" fmla="*/ 3914775 h 4496940"/>
                    <a:gd name="connsiteX103" fmla="*/ 725827 w 4519987"/>
                    <a:gd name="connsiteY103" fmla="*/ 3876675 h 4496940"/>
                    <a:gd name="connsiteX104" fmla="*/ 697252 w 4519987"/>
                    <a:gd name="connsiteY104" fmla="*/ 3838575 h 4496940"/>
                    <a:gd name="connsiteX105" fmla="*/ 640102 w 4519987"/>
                    <a:gd name="connsiteY105" fmla="*/ 3781425 h 4496940"/>
                    <a:gd name="connsiteX106" fmla="*/ 611527 w 4519987"/>
                    <a:gd name="connsiteY106" fmla="*/ 3733800 h 4496940"/>
                    <a:gd name="connsiteX107" fmla="*/ 554377 w 4519987"/>
                    <a:gd name="connsiteY107" fmla="*/ 3657600 h 4496940"/>
                    <a:gd name="connsiteX108" fmla="*/ 525802 w 4519987"/>
                    <a:gd name="connsiteY108" fmla="*/ 3609975 h 4496940"/>
                    <a:gd name="connsiteX109" fmla="*/ 497227 w 4519987"/>
                    <a:gd name="connsiteY109" fmla="*/ 3552825 h 4496940"/>
                    <a:gd name="connsiteX110" fmla="*/ 440077 w 4519987"/>
                    <a:gd name="connsiteY110" fmla="*/ 3495675 h 4496940"/>
                    <a:gd name="connsiteX111" fmla="*/ 411502 w 4519987"/>
                    <a:gd name="connsiteY111" fmla="*/ 3448050 h 4496940"/>
                    <a:gd name="connsiteX112" fmla="*/ 278152 w 4519987"/>
                    <a:gd name="connsiteY112" fmla="*/ 3257550 h 4496940"/>
                    <a:gd name="connsiteX113" fmla="*/ 249577 w 4519987"/>
                    <a:gd name="connsiteY113" fmla="*/ 3200400 h 4496940"/>
                    <a:gd name="connsiteX114" fmla="*/ 240052 w 4519987"/>
                    <a:gd name="connsiteY114" fmla="*/ 3162300 h 4496940"/>
                    <a:gd name="connsiteX115" fmla="*/ 221002 w 4519987"/>
                    <a:gd name="connsiteY115" fmla="*/ 3105150 h 4496940"/>
                    <a:gd name="connsiteX116" fmla="*/ 173377 w 4519987"/>
                    <a:gd name="connsiteY116" fmla="*/ 3019425 h 4496940"/>
                    <a:gd name="connsiteX117" fmla="*/ 144802 w 4519987"/>
                    <a:gd name="connsiteY117" fmla="*/ 2924175 h 4496940"/>
                    <a:gd name="connsiteX118" fmla="*/ 68602 w 4519987"/>
                    <a:gd name="connsiteY118" fmla="*/ 2724150 h 4496940"/>
                    <a:gd name="connsiteX119" fmla="*/ 49552 w 4519987"/>
                    <a:gd name="connsiteY119" fmla="*/ 2638425 h 4496940"/>
                    <a:gd name="connsiteX120" fmla="*/ 40027 w 4519987"/>
                    <a:gd name="connsiteY120" fmla="*/ 2562225 h 4496940"/>
                    <a:gd name="connsiteX121" fmla="*/ 30502 w 4519987"/>
                    <a:gd name="connsiteY121" fmla="*/ 2514600 h 4496940"/>
                    <a:gd name="connsiteX122" fmla="*/ 11452 w 4519987"/>
                    <a:gd name="connsiteY122" fmla="*/ 2400300 h 4496940"/>
                    <a:gd name="connsiteX123" fmla="*/ 20977 w 4519987"/>
                    <a:gd name="connsiteY123" fmla="*/ 1905000 h 4496940"/>
                    <a:gd name="connsiteX124" fmla="*/ 30502 w 4519987"/>
                    <a:gd name="connsiteY124" fmla="*/ 1838325 h 4496940"/>
                    <a:gd name="connsiteX125" fmla="*/ 49552 w 4519987"/>
                    <a:gd name="connsiteY125" fmla="*/ 1781175 h 4496940"/>
                    <a:gd name="connsiteX126" fmla="*/ 59077 w 4519987"/>
                    <a:gd name="connsiteY126" fmla="*/ 1743075 h 4496940"/>
                    <a:gd name="connsiteX127" fmla="*/ 78127 w 4519987"/>
                    <a:gd name="connsiteY127" fmla="*/ 1685925 h 4496940"/>
                    <a:gd name="connsiteX128" fmla="*/ 87652 w 4519987"/>
                    <a:gd name="connsiteY128" fmla="*/ 1638300 h 4496940"/>
                    <a:gd name="connsiteX129" fmla="*/ 106702 w 4519987"/>
                    <a:gd name="connsiteY129" fmla="*/ 1590675 h 4496940"/>
                    <a:gd name="connsiteX130" fmla="*/ 135277 w 4519987"/>
                    <a:gd name="connsiteY130" fmla="*/ 1504950 h 4496940"/>
                    <a:gd name="connsiteX131" fmla="*/ 154327 w 4519987"/>
                    <a:gd name="connsiteY131" fmla="*/ 1419225 h 4496940"/>
                    <a:gd name="connsiteX132" fmla="*/ 230527 w 4519987"/>
                    <a:gd name="connsiteY132" fmla="*/ 1276350 h 4496940"/>
                    <a:gd name="connsiteX133" fmla="*/ 240052 w 4519987"/>
                    <a:gd name="connsiteY133" fmla="*/ 1247775 h 4496940"/>
                    <a:gd name="connsiteX134" fmla="*/ 268627 w 4519987"/>
                    <a:gd name="connsiteY134" fmla="*/ 1200150 h 4496940"/>
                    <a:gd name="connsiteX135" fmla="*/ 287677 w 4519987"/>
                    <a:gd name="connsiteY135" fmla="*/ 1152525 h 4496940"/>
                    <a:gd name="connsiteX136" fmla="*/ 316252 w 4519987"/>
                    <a:gd name="connsiteY136" fmla="*/ 1114425 h 4496940"/>
                    <a:gd name="connsiteX137" fmla="*/ 363877 w 4519987"/>
                    <a:gd name="connsiteY137" fmla="*/ 1038225 h 4496940"/>
                    <a:gd name="connsiteX138" fmla="*/ 382927 w 4519987"/>
                    <a:gd name="connsiteY138" fmla="*/ 1009650 h 4496940"/>
                    <a:gd name="connsiteX139" fmla="*/ 440077 w 4519987"/>
                    <a:gd name="connsiteY139" fmla="*/ 904875 h 4496940"/>
                    <a:gd name="connsiteX140" fmla="*/ 478177 w 4519987"/>
                    <a:gd name="connsiteY140" fmla="*/ 857250 h 4496940"/>
                    <a:gd name="connsiteX141" fmla="*/ 497227 w 4519987"/>
                    <a:gd name="connsiteY141" fmla="*/ 828675 h 4496940"/>
                    <a:gd name="connsiteX142" fmla="*/ 535327 w 4519987"/>
                    <a:gd name="connsiteY142" fmla="*/ 800100 h 4496940"/>
                    <a:gd name="connsiteX143" fmla="*/ 602002 w 4519987"/>
                    <a:gd name="connsiteY143" fmla="*/ 733425 h 4496940"/>
                    <a:gd name="connsiteX144" fmla="*/ 668677 w 4519987"/>
                    <a:gd name="connsiteY144" fmla="*/ 676275 h 4496940"/>
                    <a:gd name="connsiteX145" fmla="*/ 697252 w 4519987"/>
                    <a:gd name="connsiteY145" fmla="*/ 657225 h 4496940"/>
                    <a:gd name="connsiteX146" fmla="*/ 840127 w 4519987"/>
                    <a:gd name="connsiteY146" fmla="*/ 533400 h 4496940"/>
                    <a:gd name="connsiteX147" fmla="*/ 887752 w 4519987"/>
                    <a:gd name="connsiteY147" fmla="*/ 504825 h 4496940"/>
                    <a:gd name="connsiteX148" fmla="*/ 1167152 w 4519987"/>
                    <a:gd name="connsiteY148" fmla="*/ 311150 h 4496940"/>
                    <a:gd name="connsiteX149" fmla="*/ 1268752 w 4519987"/>
                    <a:gd name="connsiteY149" fmla="*/ 285750 h 4496940"/>
                    <a:gd name="connsiteX150" fmla="*/ 1411627 w 4519987"/>
                    <a:gd name="connsiteY150" fmla="*/ 190500 h 4496940"/>
                    <a:gd name="connsiteX151" fmla="*/ 1449727 w 4519987"/>
                    <a:gd name="connsiteY151" fmla="*/ 161925 h 4496940"/>
                    <a:gd name="connsiteX152" fmla="*/ 1525927 w 4519987"/>
                    <a:gd name="connsiteY152" fmla="*/ 152400 h 4496940"/>
                    <a:gd name="connsiteX153" fmla="*/ 1583077 w 4519987"/>
                    <a:gd name="connsiteY153" fmla="*/ 142875 h 4496940"/>
                    <a:gd name="connsiteX154" fmla="*/ 1716427 w 4519987"/>
                    <a:gd name="connsiteY154" fmla="*/ 123825 h 4496940"/>
                    <a:gd name="connsiteX155" fmla="*/ 1811677 w 4519987"/>
                    <a:gd name="connsiteY155" fmla="*/ 114300 h 4496940"/>
                    <a:gd name="connsiteX156" fmla="*/ 1859302 w 4519987"/>
                    <a:gd name="connsiteY156" fmla="*/ 104775 h 4496940"/>
                    <a:gd name="connsiteX157" fmla="*/ 1916452 w 4519987"/>
                    <a:gd name="connsiteY157" fmla="*/ 95250 h 4496940"/>
                    <a:gd name="connsiteX158" fmla="*/ 2030752 w 4519987"/>
                    <a:gd name="connsiteY158" fmla="*/ 66675 h 4496940"/>
                    <a:gd name="connsiteX159" fmla="*/ 2097427 w 4519987"/>
                    <a:gd name="connsiteY159" fmla="*/ 47625 h 4496940"/>
                    <a:gd name="connsiteX160" fmla="*/ 2164102 w 4519987"/>
                    <a:gd name="connsiteY160" fmla="*/ 38100 h 4496940"/>
                    <a:gd name="connsiteX161" fmla="*/ 2392702 w 4519987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278652 w 4519987"/>
                    <a:gd name="connsiteY50" fmla="*/ 3248025 h 4496940"/>
                    <a:gd name="connsiteX51" fmla="*/ 4259602 w 4519987"/>
                    <a:gd name="connsiteY51" fmla="*/ 3276600 h 4496940"/>
                    <a:gd name="connsiteX52" fmla="*/ 4221502 w 4519987"/>
                    <a:gd name="connsiteY52" fmla="*/ 3333750 h 4496940"/>
                    <a:gd name="connsiteX53" fmla="*/ 4211977 w 4519987"/>
                    <a:gd name="connsiteY53" fmla="*/ 3362325 h 4496940"/>
                    <a:gd name="connsiteX54" fmla="*/ 4183402 w 4519987"/>
                    <a:gd name="connsiteY54" fmla="*/ 3400425 h 4496940"/>
                    <a:gd name="connsiteX55" fmla="*/ 4164352 w 4519987"/>
                    <a:gd name="connsiteY55" fmla="*/ 3429000 h 4496940"/>
                    <a:gd name="connsiteX56" fmla="*/ 4088152 w 4519987"/>
                    <a:gd name="connsiteY56" fmla="*/ 3495675 h 4496940"/>
                    <a:gd name="connsiteX57" fmla="*/ 4059577 w 4519987"/>
                    <a:gd name="connsiteY57" fmla="*/ 3533775 h 4496940"/>
                    <a:gd name="connsiteX58" fmla="*/ 4002427 w 4519987"/>
                    <a:gd name="connsiteY58" fmla="*/ 3600450 h 4496940"/>
                    <a:gd name="connsiteX59" fmla="*/ 3983377 w 4519987"/>
                    <a:gd name="connsiteY59" fmla="*/ 3629025 h 4496940"/>
                    <a:gd name="connsiteX60" fmla="*/ 3954802 w 4519987"/>
                    <a:gd name="connsiteY60" fmla="*/ 3648075 h 4496940"/>
                    <a:gd name="connsiteX61" fmla="*/ 3907177 w 4519987"/>
                    <a:gd name="connsiteY61" fmla="*/ 3686175 h 4496940"/>
                    <a:gd name="connsiteX62" fmla="*/ 3869077 w 4519987"/>
                    <a:gd name="connsiteY62" fmla="*/ 3724275 h 4496940"/>
                    <a:gd name="connsiteX63" fmla="*/ 3792877 w 4519987"/>
                    <a:gd name="connsiteY63" fmla="*/ 3781425 h 4496940"/>
                    <a:gd name="connsiteX64" fmla="*/ 3783352 w 4519987"/>
                    <a:gd name="connsiteY64" fmla="*/ 3810000 h 4496940"/>
                    <a:gd name="connsiteX65" fmla="*/ 3745252 w 4519987"/>
                    <a:gd name="connsiteY65" fmla="*/ 3819525 h 4496940"/>
                    <a:gd name="connsiteX66" fmla="*/ 3678577 w 4519987"/>
                    <a:gd name="connsiteY66" fmla="*/ 3848100 h 4496940"/>
                    <a:gd name="connsiteX67" fmla="*/ 3659527 w 4519987"/>
                    <a:gd name="connsiteY67" fmla="*/ 3971925 h 4496940"/>
                    <a:gd name="connsiteX68" fmla="*/ 3630952 w 4519987"/>
                    <a:gd name="connsiteY68" fmla="*/ 4010025 h 4496940"/>
                    <a:gd name="connsiteX69" fmla="*/ 3621427 w 4519987"/>
                    <a:gd name="connsiteY69" fmla="*/ 4038600 h 4496940"/>
                    <a:gd name="connsiteX70" fmla="*/ 3554752 w 4519987"/>
                    <a:gd name="connsiteY70" fmla="*/ 4095750 h 4496940"/>
                    <a:gd name="connsiteX71" fmla="*/ 3516652 w 4519987"/>
                    <a:gd name="connsiteY71" fmla="*/ 4114800 h 4496940"/>
                    <a:gd name="connsiteX72" fmla="*/ 3497602 w 4519987"/>
                    <a:gd name="connsiteY72" fmla="*/ 4143375 h 4496940"/>
                    <a:gd name="connsiteX73" fmla="*/ 3383302 w 4519987"/>
                    <a:gd name="connsiteY73" fmla="*/ 4210050 h 4496940"/>
                    <a:gd name="connsiteX74" fmla="*/ 3335677 w 4519987"/>
                    <a:gd name="connsiteY74" fmla="*/ 4238625 h 4496940"/>
                    <a:gd name="connsiteX75" fmla="*/ 3288052 w 4519987"/>
                    <a:gd name="connsiteY75" fmla="*/ 4248150 h 4496940"/>
                    <a:gd name="connsiteX76" fmla="*/ 3240427 w 4519987"/>
                    <a:gd name="connsiteY76" fmla="*/ 4267200 h 4496940"/>
                    <a:gd name="connsiteX77" fmla="*/ 3068977 w 4519987"/>
                    <a:gd name="connsiteY77" fmla="*/ 4286250 h 4496940"/>
                    <a:gd name="connsiteX78" fmla="*/ 2935627 w 4519987"/>
                    <a:gd name="connsiteY78" fmla="*/ 4333875 h 4496940"/>
                    <a:gd name="connsiteX79" fmla="*/ 2811802 w 4519987"/>
                    <a:gd name="connsiteY79" fmla="*/ 4371975 h 4496940"/>
                    <a:gd name="connsiteX80" fmla="*/ 2745127 w 4519987"/>
                    <a:gd name="connsiteY80" fmla="*/ 4410075 h 4496940"/>
                    <a:gd name="connsiteX81" fmla="*/ 2697502 w 4519987"/>
                    <a:gd name="connsiteY81" fmla="*/ 4429125 h 4496940"/>
                    <a:gd name="connsiteX82" fmla="*/ 2640352 w 4519987"/>
                    <a:gd name="connsiteY82" fmla="*/ 4457700 h 4496940"/>
                    <a:gd name="connsiteX83" fmla="*/ 2583202 w 4519987"/>
                    <a:gd name="connsiteY83" fmla="*/ 4467225 h 4496940"/>
                    <a:gd name="connsiteX84" fmla="*/ 2545102 w 4519987"/>
                    <a:gd name="connsiteY84" fmla="*/ 4486275 h 4496940"/>
                    <a:gd name="connsiteX85" fmla="*/ 2306977 w 4519987"/>
                    <a:gd name="connsiteY85" fmla="*/ 4476750 h 4496940"/>
                    <a:gd name="connsiteX86" fmla="*/ 2202202 w 4519987"/>
                    <a:gd name="connsiteY86" fmla="*/ 4457700 h 4496940"/>
                    <a:gd name="connsiteX87" fmla="*/ 2126002 w 4519987"/>
                    <a:gd name="connsiteY87" fmla="*/ 4429125 h 4496940"/>
                    <a:gd name="connsiteX88" fmla="*/ 1935502 w 4519987"/>
                    <a:gd name="connsiteY88" fmla="*/ 4400550 h 4496940"/>
                    <a:gd name="connsiteX89" fmla="*/ 1821202 w 4519987"/>
                    <a:gd name="connsiteY89" fmla="*/ 4371975 h 4496940"/>
                    <a:gd name="connsiteX90" fmla="*/ 1754527 w 4519987"/>
                    <a:gd name="connsiteY90" fmla="*/ 4352925 h 4496940"/>
                    <a:gd name="connsiteX91" fmla="*/ 1687852 w 4519987"/>
                    <a:gd name="connsiteY91" fmla="*/ 4343400 h 4496940"/>
                    <a:gd name="connsiteX92" fmla="*/ 1573552 w 4519987"/>
                    <a:gd name="connsiteY92" fmla="*/ 4305300 h 4496940"/>
                    <a:gd name="connsiteX93" fmla="*/ 1402102 w 4519987"/>
                    <a:gd name="connsiteY93" fmla="*/ 4276725 h 4496940"/>
                    <a:gd name="connsiteX94" fmla="*/ 1287802 w 4519987"/>
                    <a:gd name="connsiteY94" fmla="*/ 4229100 h 4496940"/>
                    <a:gd name="connsiteX95" fmla="*/ 1221127 w 4519987"/>
                    <a:gd name="connsiteY95" fmla="*/ 4200525 h 4496940"/>
                    <a:gd name="connsiteX96" fmla="*/ 1144927 w 4519987"/>
                    <a:gd name="connsiteY96" fmla="*/ 4171950 h 4496940"/>
                    <a:gd name="connsiteX97" fmla="*/ 1087777 w 4519987"/>
                    <a:gd name="connsiteY97" fmla="*/ 4143375 h 4496940"/>
                    <a:gd name="connsiteX98" fmla="*/ 1030627 w 4519987"/>
                    <a:gd name="connsiteY98" fmla="*/ 4124325 h 4496940"/>
                    <a:gd name="connsiteX99" fmla="*/ 925852 w 4519987"/>
                    <a:gd name="connsiteY99" fmla="*/ 4067175 h 4496940"/>
                    <a:gd name="connsiteX100" fmla="*/ 830602 w 4519987"/>
                    <a:gd name="connsiteY100" fmla="*/ 3981450 h 4496940"/>
                    <a:gd name="connsiteX101" fmla="*/ 763927 w 4519987"/>
                    <a:gd name="connsiteY101" fmla="*/ 3914775 h 4496940"/>
                    <a:gd name="connsiteX102" fmla="*/ 725827 w 4519987"/>
                    <a:gd name="connsiteY102" fmla="*/ 3876675 h 4496940"/>
                    <a:gd name="connsiteX103" fmla="*/ 697252 w 4519987"/>
                    <a:gd name="connsiteY103" fmla="*/ 3838575 h 4496940"/>
                    <a:gd name="connsiteX104" fmla="*/ 640102 w 4519987"/>
                    <a:gd name="connsiteY104" fmla="*/ 3781425 h 4496940"/>
                    <a:gd name="connsiteX105" fmla="*/ 611527 w 4519987"/>
                    <a:gd name="connsiteY105" fmla="*/ 3733800 h 4496940"/>
                    <a:gd name="connsiteX106" fmla="*/ 554377 w 4519987"/>
                    <a:gd name="connsiteY106" fmla="*/ 3657600 h 4496940"/>
                    <a:gd name="connsiteX107" fmla="*/ 525802 w 4519987"/>
                    <a:gd name="connsiteY107" fmla="*/ 3609975 h 4496940"/>
                    <a:gd name="connsiteX108" fmla="*/ 497227 w 4519987"/>
                    <a:gd name="connsiteY108" fmla="*/ 3552825 h 4496940"/>
                    <a:gd name="connsiteX109" fmla="*/ 440077 w 4519987"/>
                    <a:gd name="connsiteY109" fmla="*/ 3495675 h 4496940"/>
                    <a:gd name="connsiteX110" fmla="*/ 411502 w 4519987"/>
                    <a:gd name="connsiteY110" fmla="*/ 3448050 h 4496940"/>
                    <a:gd name="connsiteX111" fmla="*/ 278152 w 4519987"/>
                    <a:gd name="connsiteY111" fmla="*/ 3257550 h 4496940"/>
                    <a:gd name="connsiteX112" fmla="*/ 249577 w 4519987"/>
                    <a:gd name="connsiteY112" fmla="*/ 3200400 h 4496940"/>
                    <a:gd name="connsiteX113" fmla="*/ 240052 w 4519987"/>
                    <a:gd name="connsiteY113" fmla="*/ 3162300 h 4496940"/>
                    <a:gd name="connsiteX114" fmla="*/ 221002 w 4519987"/>
                    <a:gd name="connsiteY114" fmla="*/ 3105150 h 4496940"/>
                    <a:gd name="connsiteX115" fmla="*/ 173377 w 4519987"/>
                    <a:gd name="connsiteY115" fmla="*/ 3019425 h 4496940"/>
                    <a:gd name="connsiteX116" fmla="*/ 144802 w 4519987"/>
                    <a:gd name="connsiteY116" fmla="*/ 2924175 h 4496940"/>
                    <a:gd name="connsiteX117" fmla="*/ 68602 w 4519987"/>
                    <a:gd name="connsiteY117" fmla="*/ 2724150 h 4496940"/>
                    <a:gd name="connsiteX118" fmla="*/ 49552 w 4519987"/>
                    <a:gd name="connsiteY118" fmla="*/ 2638425 h 4496940"/>
                    <a:gd name="connsiteX119" fmla="*/ 40027 w 4519987"/>
                    <a:gd name="connsiteY119" fmla="*/ 2562225 h 4496940"/>
                    <a:gd name="connsiteX120" fmla="*/ 30502 w 4519987"/>
                    <a:gd name="connsiteY120" fmla="*/ 2514600 h 4496940"/>
                    <a:gd name="connsiteX121" fmla="*/ 11452 w 4519987"/>
                    <a:gd name="connsiteY121" fmla="*/ 2400300 h 4496940"/>
                    <a:gd name="connsiteX122" fmla="*/ 20977 w 4519987"/>
                    <a:gd name="connsiteY122" fmla="*/ 1905000 h 4496940"/>
                    <a:gd name="connsiteX123" fmla="*/ 30502 w 4519987"/>
                    <a:gd name="connsiteY123" fmla="*/ 1838325 h 4496940"/>
                    <a:gd name="connsiteX124" fmla="*/ 49552 w 4519987"/>
                    <a:gd name="connsiteY124" fmla="*/ 1781175 h 4496940"/>
                    <a:gd name="connsiteX125" fmla="*/ 59077 w 4519987"/>
                    <a:gd name="connsiteY125" fmla="*/ 1743075 h 4496940"/>
                    <a:gd name="connsiteX126" fmla="*/ 78127 w 4519987"/>
                    <a:gd name="connsiteY126" fmla="*/ 1685925 h 4496940"/>
                    <a:gd name="connsiteX127" fmla="*/ 87652 w 4519987"/>
                    <a:gd name="connsiteY127" fmla="*/ 1638300 h 4496940"/>
                    <a:gd name="connsiteX128" fmla="*/ 106702 w 4519987"/>
                    <a:gd name="connsiteY128" fmla="*/ 1590675 h 4496940"/>
                    <a:gd name="connsiteX129" fmla="*/ 135277 w 4519987"/>
                    <a:gd name="connsiteY129" fmla="*/ 1504950 h 4496940"/>
                    <a:gd name="connsiteX130" fmla="*/ 154327 w 4519987"/>
                    <a:gd name="connsiteY130" fmla="*/ 1419225 h 4496940"/>
                    <a:gd name="connsiteX131" fmla="*/ 230527 w 4519987"/>
                    <a:gd name="connsiteY131" fmla="*/ 1276350 h 4496940"/>
                    <a:gd name="connsiteX132" fmla="*/ 240052 w 4519987"/>
                    <a:gd name="connsiteY132" fmla="*/ 1247775 h 4496940"/>
                    <a:gd name="connsiteX133" fmla="*/ 268627 w 4519987"/>
                    <a:gd name="connsiteY133" fmla="*/ 1200150 h 4496940"/>
                    <a:gd name="connsiteX134" fmla="*/ 287677 w 4519987"/>
                    <a:gd name="connsiteY134" fmla="*/ 1152525 h 4496940"/>
                    <a:gd name="connsiteX135" fmla="*/ 316252 w 4519987"/>
                    <a:gd name="connsiteY135" fmla="*/ 1114425 h 4496940"/>
                    <a:gd name="connsiteX136" fmla="*/ 363877 w 4519987"/>
                    <a:gd name="connsiteY136" fmla="*/ 1038225 h 4496940"/>
                    <a:gd name="connsiteX137" fmla="*/ 382927 w 4519987"/>
                    <a:gd name="connsiteY137" fmla="*/ 1009650 h 4496940"/>
                    <a:gd name="connsiteX138" fmla="*/ 440077 w 4519987"/>
                    <a:gd name="connsiteY138" fmla="*/ 904875 h 4496940"/>
                    <a:gd name="connsiteX139" fmla="*/ 478177 w 4519987"/>
                    <a:gd name="connsiteY139" fmla="*/ 857250 h 4496940"/>
                    <a:gd name="connsiteX140" fmla="*/ 497227 w 4519987"/>
                    <a:gd name="connsiteY140" fmla="*/ 828675 h 4496940"/>
                    <a:gd name="connsiteX141" fmla="*/ 535327 w 4519987"/>
                    <a:gd name="connsiteY141" fmla="*/ 800100 h 4496940"/>
                    <a:gd name="connsiteX142" fmla="*/ 602002 w 4519987"/>
                    <a:gd name="connsiteY142" fmla="*/ 733425 h 4496940"/>
                    <a:gd name="connsiteX143" fmla="*/ 668677 w 4519987"/>
                    <a:gd name="connsiteY143" fmla="*/ 676275 h 4496940"/>
                    <a:gd name="connsiteX144" fmla="*/ 697252 w 4519987"/>
                    <a:gd name="connsiteY144" fmla="*/ 657225 h 4496940"/>
                    <a:gd name="connsiteX145" fmla="*/ 840127 w 4519987"/>
                    <a:gd name="connsiteY145" fmla="*/ 533400 h 4496940"/>
                    <a:gd name="connsiteX146" fmla="*/ 887752 w 4519987"/>
                    <a:gd name="connsiteY146" fmla="*/ 504825 h 4496940"/>
                    <a:gd name="connsiteX147" fmla="*/ 1167152 w 4519987"/>
                    <a:gd name="connsiteY147" fmla="*/ 311150 h 4496940"/>
                    <a:gd name="connsiteX148" fmla="*/ 1268752 w 4519987"/>
                    <a:gd name="connsiteY148" fmla="*/ 285750 h 4496940"/>
                    <a:gd name="connsiteX149" fmla="*/ 1411627 w 4519987"/>
                    <a:gd name="connsiteY149" fmla="*/ 190500 h 4496940"/>
                    <a:gd name="connsiteX150" fmla="*/ 1449727 w 4519987"/>
                    <a:gd name="connsiteY150" fmla="*/ 161925 h 4496940"/>
                    <a:gd name="connsiteX151" fmla="*/ 1525927 w 4519987"/>
                    <a:gd name="connsiteY151" fmla="*/ 152400 h 4496940"/>
                    <a:gd name="connsiteX152" fmla="*/ 1583077 w 4519987"/>
                    <a:gd name="connsiteY152" fmla="*/ 142875 h 4496940"/>
                    <a:gd name="connsiteX153" fmla="*/ 1716427 w 4519987"/>
                    <a:gd name="connsiteY153" fmla="*/ 123825 h 4496940"/>
                    <a:gd name="connsiteX154" fmla="*/ 1811677 w 4519987"/>
                    <a:gd name="connsiteY154" fmla="*/ 114300 h 4496940"/>
                    <a:gd name="connsiteX155" fmla="*/ 1859302 w 4519987"/>
                    <a:gd name="connsiteY155" fmla="*/ 104775 h 4496940"/>
                    <a:gd name="connsiteX156" fmla="*/ 1916452 w 4519987"/>
                    <a:gd name="connsiteY156" fmla="*/ 95250 h 4496940"/>
                    <a:gd name="connsiteX157" fmla="*/ 2030752 w 4519987"/>
                    <a:gd name="connsiteY157" fmla="*/ 66675 h 4496940"/>
                    <a:gd name="connsiteX158" fmla="*/ 2097427 w 4519987"/>
                    <a:gd name="connsiteY158" fmla="*/ 47625 h 4496940"/>
                    <a:gd name="connsiteX159" fmla="*/ 2164102 w 4519987"/>
                    <a:gd name="connsiteY159" fmla="*/ 38100 h 4496940"/>
                    <a:gd name="connsiteX160" fmla="*/ 2392702 w 4519987"/>
                    <a:gd name="connsiteY16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278652 w 4519987"/>
                    <a:gd name="connsiteY49" fmla="*/ 3248025 h 4496940"/>
                    <a:gd name="connsiteX50" fmla="*/ 4259602 w 4519987"/>
                    <a:gd name="connsiteY50" fmla="*/ 3276600 h 4496940"/>
                    <a:gd name="connsiteX51" fmla="*/ 4221502 w 4519987"/>
                    <a:gd name="connsiteY51" fmla="*/ 3333750 h 4496940"/>
                    <a:gd name="connsiteX52" fmla="*/ 4211977 w 4519987"/>
                    <a:gd name="connsiteY52" fmla="*/ 3362325 h 4496940"/>
                    <a:gd name="connsiteX53" fmla="*/ 4183402 w 4519987"/>
                    <a:gd name="connsiteY53" fmla="*/ 3400425 h 4496940"/>
                    <a:gd name="connsiteX54" fmla="*/ 4164352 w 4519987"/>
                    <a:gd name="connsiteY54" fmla="*/ 3429000 h 4496940"/>
                    <a:gd name="connsiteX55" fmla="*/ 4088152 w 4519987"/>
                    <a:gd name="connsiteY55" fmla="*/ 3495675 h 4496940"/>
                    <a:gd name="connsiteX56" fmla="*/ 4059577 w 4519987"/>
                    <a:gd name="connsiteY56" fmla="*/ 3533775 h 4496940"/>
                    <a:gd name="connsiteX57" fmla="*/ 4002427 w 4519987"/>
                    <a:gd name="connsiteY57" fmla="*/ 3600450 h 4496940"/>
                    <a:gd name="connsiteX58" fmla="*/ 3983377 w 4519987"/>
                    <a:gd name="connsiteY58" fmla="*/ 3629025 h 4496940"/>
                    <a:gd name="connsiteX59" fmla="*/ 3954802 w 4519987"/>
                    <a:gd name="connsiteY59" fmla="*/ 3648075 h 4496940"/>
                    <a:gd name="connsiteX60" fmla="*/ 3907177 w 4519987"/>
                    <a:gd name="connsiteY60" fmla="*/ 3686175 h 4496940"/>
                    <a:gd name="connsiteX61" fmla="*/ 3869077 w 4519987"/>
                    <a:gd name="connsiteY61" fmla="*/ 3724275 h 4496940"/>
                    <a:gd name="connsiteX62" fmla="*/ 3792877 w 4519987"/>
                    <a:gd name="connsiteY62" fmla="*/ 3781425 h 4496940"/>
                    <a:gd name="connsiteX63" fmla="*/ 3783352 w 4519987"/>
                    <a:gd name="connsiteY63" fmla="*/ 3810000 h 4496940"/>
                    <a:gd name="connsiteX64" fmla="*/ 3745252 w 4519987"/>
                    <a:gd name="connsiteY64" fmla="*/ 3819525 h 4496940"/>
                    <a:gd name="connsiteX65" fmla="*/ 3678577 w 4519987"/>
                    <a:gd name="connsiteY65" fmla="*/ 3848100 h 4496940"/>
                    <a:gd name="connsiteX66" fmla="*/ 3659527 w 4519987"/>
                    <a:gd name="connsiteY66" fmla="*/ 3971925 h 4496940"/>
                    <a:gd name="connsiteX67" fmla="*/ 3630952 w 4519987"/>
                    <a:gd name="connsiteY67" fmla="*/ 4010025 h 4496940"/>
                    <a:gd name="connsiteX68" fmla="*/ 3621427 w 4519987"/>
                    <a:gd name="connsiteY68" fmla="*/ 4038600 h 4496940"/>
                    <a:gd name="connsiteX69" fmla="*/ 3554752 w 4519987"/>
                    <a:gd name="connsiteY69" fmla="*/ 4095750 h 4496940"/>
                    <a:gd name="connsiteX70" fmla="*/ 3516652 w 4519987"/>
                    <a:gd name="connsiteY70" fmla="*/ 4114800 h 4496940"/>
                    <a:gd name="connsiteX71" fmla="*/ 3497602 w 4519987"/>
                    <a:gd name="connsiteY71" fmla="*/ 4143375 h 4496940"/>
                    <a:gd name="connsiteX72" fmla="*/ 3383302 w 4519987"/>
                    <a:gd name="connsiteY72" fmla="*/ 4210050 h 4496940"/>
                    <a:gd name="connsiteX73" fmla="*/ 3335677 w 4519987"/>
                    <a:gd name="connsiteY73" fmla="*/ 4238625 h 4496940"/>
                    <a:gd name="connsiteX74" fmla="*/ 3288052 w 4519987"/>
                    <a:gd name="connsiteY74" fmla="*/ 4248150 h 4496940"/>
                    <a:gd name="connsiteX75" fmla="*/ 3240427 w 4519987"/>
                    <a:gd name="connsiteY75" fmla="*/ 4267200 h 4496940"/>
                    <a:gd name="connsiteX76" fmla="*/ 3068977 w 4519987"/>
                    <a:gd name="connsiteY76" fmla="*/ 4286250 h 4496940"/>
                    <a:gd name="connsiteX77" fmla="*/ 2935627 w 4519987"/>
                    <a:gd name="connsiteY77" fmla="*/ 4333875 h 4496940"/>
                    <a:gd name="connsiteX78" fmla="*/ 2811802 w 4519987"/>
                    <a:gd name="connsiteY78" fmla="*/ 4371975 h 4496940"/>
                    <a:gd name="connsiteX79" fmla="*/ 2745127 w 4519987"/>
                    <a:gd name="connsiteY79" fmla="*/ 4410075 h 4496940"/>
                    <a:gd name="connsiteX80" fmla="*/ 2697502 w 4519987"/>
                    <a:gd name="connsiteY80" fmla="*/ 4429125 h 4496940"/>
                    <a:gd name="connsiteX81" fmla="*/ 2640352 w 4519987"/>
                    <a:gd name="connsiteY81" fmla="*/ 4457700 h 4496940"/>
                    <a:gd name="connsiteX82" fmla="*/ 2583202 w 4519987"/>
                    <a:gd name="connsiteY82" fmla="*/ 4467225 h 4496940"/>
                    <a:gd name="connsiteX83" fmla="*/ 2545102 w 4519987"/>
                    <a:gd name="connsiteY83" fmla="*/ 4486275 h 4496940"/>
                    <a:gd name="connsiteX84" fmla="*/ 2306977 w 4519987"/>
                    <a:gd name="connsiteY84" fmla="*/ 4476750 h 4496940"/>
                    <a:gd name="connsiteX85" fmla="*/ 2202202 w 4519987"/>
                    <a:gd name="connsiteY85" fmla="*/ 4457700 h 4496940"/>
                    <a:gd name="connsiteX86" fmla="*/ 2126002 w 4519987"/>
                    <a:gd name="connsiteY86" fmla="*/ 4429125 h 4496940"/>
                    <a:gd name="connsiteX87" fmla="*/ 1935502 w 4519987"/>
                    <a:gd name="connsiteY87" fmla="*/ 4400550 h 4496940"/>
                    <a:gd name="connsiteX88" fmla="*/ 1821202 w 4519987"/>
                    <a:gd name="connsiteY88" fmla="*/ 4371975 h 4496940"/>
                    <a:gd name="connsiteX89" fmla="*/ 1754527 w 4519987"/>
                    <a:gd name="connsiteY89" fmla="*/ 4352925 h 4496940"/>
                    <a:gd name="connsiteX90" fmla="*/ 1687852 w 4519987"/>
                    <a:gd name="connsiteY90" fmla="*/ 4343400 h 4496940"/>
                    <a:gd name="connsiteX91" fmla="*/ 1573552 w 4519987"/>
                    <a:gd name="connsiteY91" fmla="*/ 4305300 h 4496940"/>
                    <a:gd name="connsiteX92" fmla="*/ 1402102 w 4519987"/>
                    <a:gd name="connsiteY92" fmla="*/ 4276725 h 4496940"/>
                    <a:gd name="connsiteX93" fmla="*/ 1287802 w 4519987"/>
                    <a:gd name="connsiteY93" fmla="*/ 4229100 h 4496940"/>
                    <a:gd name="connsiteX94" fmla="*/ 1221127 w 4519987"/>
                    <a:gd name="connsiteY94" fmla="*/ 4200525 h 4496940"/>
                    <a:gd name="connsiteX95" fmla="*/ 1144927 w 4519987"/>
                    <a:gd name="connsiteY95" fmla="*/ 4171950 h 4496940"/>
                    <a:gd name="connsiteX96" fmla="*/ 1087777 w 4519987"/>
                    <a:gd name="connsiteY96" fmla="*/ 4143375 h 4496940"/>
                    <a:gd name="connsiteX97" fmla="*/ 1030627 w 4519987"/>
                    <a:gd name="connsiteY97" fmla="*/ 4124325 h 4496940"/>
                    <a:gd name="connsiteX98" fmla="*/ 925852 w 4519987"/>
                    <a:gd name="connsiteY98" fmla="*/ 4067175 h 4496940"/>
                    <a:gd name="connsiteX99" fmla="*/ 830602 w 4519987"/>
                    <a:gd name="connsiteY99" fmla="*/ 3981450 h 4496940"/>
                    <a:gd name="connsiteX100" fmla="*/ 763927 w 4519987"/>
                    <a:gd name="connsiteY100" fmla="*/ 3914775 h 4496940"/>
                    <a:gd name="connsiteX101" fmla="*/ 725827 w 4519987"/>
                    <a:gd name="connsiteY101" fmla="*/ 3876675 h 4496940"/>
                    <a:gd name="connsiteX102" fmla="*/ 697252 w 4519987"/>
                    <a:gd name="connsiteY102" fmla="*/ 3838575 h 4496940"/>
                    <a:gd name="connsiteX103" fmla="*/ 640102 w 4519987"/>
                    <a:gd name="connsiteY103" fmla="*/ 3781425 h 4496940"/>
                    <a:gd name="connsiteX104" fmla="*/ 611527 w 4519987"/>
                    <a:gd name="connsiteY104" fmla="*/ 3733800 h 4496940"/>
                    <a:gd name="connsiteX105" fmla="*/ 554377 w 4519987"/>
                    <a:gd name="connsiteY105" fmla="*/ 3657600 h 4496940"/>
                    <a:gd name="connsiteX106" fmla="*/ 525802 w 4519987"/>
                    <a:gd name="connsiteY106" fmla="*/ 3609975 h 4496940"/>
                    <a:gd name="connsiteX107" fmla="*/ 497227 w 4519987"/>
                    <a:gd name="connsiteY107" fmla="*/ 3552825 h 4496940"/>
                    <a:gd name="connsiteX108" fmla="*/ 440077 w 4519987"/>
                    <a:gd name="connsiteY108" fmla="*/ 3495675 h 4496940"/>
                    <a:gd name="connsiteX109" fmla="*/ 411502 w 4519987"/>
                    <a:gd name="connsiteY109" fmla="*/ 3448050 h 4496940"/>
                    <a:gd name="connsiteX110" fmla="*/ 278152 w 4519987"/>
                    <a:gd name="connsiteY110" fmla="*/ 3257550 h 4496940"/>
                    <a:gd name="connsiteX111" fmla="*/ 249577 w 4519987"/>
                    <a:gd name="connsiteY111" fmla="*/ 3200400 h 4496940"/>
                    <a:gd name="connsiteX112" fmla="*/ 240052 w 4519987"/>
                    <a:gd name="connsiteY112" fmla="*/ 3162300 h 4496940"/>
                    <a:gd name="connsiteX113" fmla="*/ 221002 w 4519987"/>
                    <a:gd name="connsiteY113" fmla="*/ 3105150 h 4496940"/>
                    <a:gd name="connsiteX114" fmla="*/ 173377 w 4519987"/>
                    <a:gd name="connsiteY114" fmla="*/ 3019425 h 4496940"/>
                    <a:gd name="connsiteX115" fmla="*/ 144802 w 4519987"/>
                    <a:gd name="connsiteY115" fmla="*/ 2924175 h 4496940"/>
                    <a:gd name="connsiteX116" fmla="*/ 68602 w 4519987"/>
                    <a:gd name="connsiteY116" fmla="*/ 2724150 h 4496940"/>
                    <a:gd name="connsiteX117" fmla="*/ 49552 w 4519987"/>
                    <a:gd name="connsiteY117" fmla="*/ 2638425 h 4496940"/>
                    <a:gd name="connsiteX118" fmla="*/ 40027 w 4519987"/>
                    <a:gd name="connsiteY118" fmla="*/ 2562225 h 4496940"/>
                    <a:gd name="connsiteX119" fmla="*/ 30502 w 4519987"/>
                    <a:gd name="connsiteY119" fmla="*/ 2514600 h 4496940"/>
                    <a:gd name="connsiteX120" fmla="*/ 11452 w 4519987"/>
                    <a:gd name="connsiteY120" fmla="*/ 2400300 h 4496940"/>
                    <a:gd name="connsiteX121" fmla="*/ 20977 w 4519987"/>
                    <a:gd name="connsiteY121" fmla="*/ 1905000 h 4496940"/>
                    <a:gd name="connsiteX122" fmla="*/ 30502 w 4519987"/>
                    <a:gd name="connsiteY122" fmla="*/ 1838325 h 4496940"/>
                    <a:gd name="connsiteX123" fmla="*/ 49552 w 4519987"/>
                    <a:gd name="connsiteY123" fmla="*/ 1781175 h 4496940"/>
                    <a:gd name="connsiteX124" fmla="*/ 59077 w 4519987"/>
                    <a:gd name="connsiteY124" fmla="*/ 1743075 h 4496940"/>
                    <a:gd name="connsiteX125" fmla="*/ 78127 w 4519987"/>
                    <a:gd name="connsiteY125" fmla="*/ 1685925 h 4496940"/>
                    <a:gd name="connsiteX126" fmla="*/ 87652 w 4519987"/>
                    <a:gd name="connsiteY126" fmla="*/ 1638300 h 4496940"/>
                    <a:gd name="connsiteX127" fmla="*/ 106702 w 4519987"/>
                    <a:gd name="connsiteY127" fmla="*/ 1590675 h 4496940"/>
                    <a:gd name="connsiteX128" fmla="*/ 135277 w 4519987"/>
                    <a:gd name="connsiteY128" fmla="*/ 1504950 h 4496940"/>
                    <a:gd name="connsiteX129" fmla="*/ 154327 w 4519987"/>
                    <a:gd name="connsiteY129" fmla="*/ 1419225 h 4496940"/>
                    <a:gd name="connsiteX130" fmla="*/ 230527 w 4519987"/>
                    <a:gd name="connsiteY130" fmla="*/ 1276350 h 4496940"/>
                    <a:gd name="connsiteX131" fmla="*/ 240052 w 4519987"/>
                    <a:gd name="connsiteY131" fmla="*/ 1247775 h 4496940"/>
                    <a:gd name="connsiteX132" fmla="*/ 268627 w 4519987"/>
                    <a:gd name="connsiteY132" fmla="*/ 1200150 h 4496940"/>
                    <a:gd name="connsiteX133" fmla="*/ 287677 w 4519987"/>
                    <a:gd name="connsiteY133" fmla="*/ 1152525 h 4496940"/>
                    <a:gd name="connsiteX134" fmla="*/ 316252 w 4519987"/>
                    <a:gd name="connsiteY134" fmla="*/ 1114425 h 4496940"/>
                    <a:gd name="connsiteX135" fmla="*/ 363877 w 4519987"/>
                    <a:gd name="connsiteY135" fmla="*/ 1038225 h 4496940"/>
                    <a:gd name="connsiteX136" fmla="*/ 382927 w 4519987"/>
                    <a:gd name="connsiteY136" fmla="*/ 1009650 h 4496940"/>
                    <a:gd name="connsiteX137" fmla="*/ 440077 w 4519987"/>
                    <a:gd name="connsiteY137" fmla="*/ 904875 h 4496940"/>
                    <a:gd name="connsiteX138" fmla="*/ 478177 w 4519987"/>
                    <a:gd name="connsiteY138" fmla="*/ 857250 h 4496940"/>
                    <a:gd name="connsiteX139" fmla="*/ 497227 w 4519987"/>
                    <a:gd name="connsiteY139" fmla="*/ 828675 h 4496940"/>
                    <a:gd name="connsiteX140" fmla="*/ 535327 w 4519987"/>
                    <a:gd name="connsiteY140" fmla="*/ 800100 h 4496940"/>
                    <a:gd name="connsiteX141" fmla="*/ 602002 w 4519987"/>
                    <a:gd name="connsiteY141" fmla="*/ 733425 h 4496940"/>
                    <a:gd name="connsiteX142" fmla="*/ 668677 w 4519987"/>
                    <a:gd name="connsiteY142" fmla="*/ 676275 h 4496940"/>
                    <a:gd name="connsiteX143" fmla="*/ 697252 w 4519987"/>
                    <a:gd name="connsiteY143" fmla="*/ 657225 h 4496940"/>
                    <a:gd name="connsiteX144" fmla="*/ 840127 w 4519987"/>
                    <a:gd name="connsiteY144" fmla="*/ 533400 h 4496940"/>
                    <a:gd name="connsiteX145" fmla="*/ 887752 w 4519987"/>
                    <a:gd name="connsiteY145" fmla="*/ 504825 h 4496940"/>
                    <a:gd name="connsiteX146" fmla="*/ 1167152 w 4519987"/>
                    <a:gd name="connsiteY146" fmla="*/ 311150 h 4496940"/>
                    <a:gd name="connsiteX147" fmla="*/ 1268752 w 4519987"/>
                    <a:gd name="connsiteY147" fmla="*/ 285750 h 4496940"/>
                    <a:gd name="connsiteX148" fmla="*/ 1411627 w 4519987"/>
                    <a:gd name="connsiteY148" fmla="*/ 190500 h 4496940"/>
                    <a:gd name="connsiteX149" fmla="*/ 1449727 w 4519987"/>
                    <a:gd name="connsiteY149" fmla="*/ 161925 h 4496940"/>
                    <a:gd name="connsiteX150" fmla="*/ 1525927 w 4519987"/>
                    <a:gd name="connsiteY150" fmla="*/ 152400 h 4496940"/>
                    <a:gd name="connsiteX151" fmla="*/ 1583077 w 4519987"/>
                    <a:gd name="connsiteY151" fmla="*/ 142875 h 4496940"/>
                    <a:gd name="connsiteX152" fmla="*/ 1716427 w 4519987"/>
                    <a:gd name="connsiteY152" fmla="*/ 123825 h 4496940"/>
                    <a:gd name="connsiteX153" fmla="*/ 1811677 w 4519987"/>
                    <a:gd name="connsiteY153" fmla="*/ 114300 h 4496940"/>
                    <a:gd name="connsiteX154" fmla="*/ 1859302 w 4519987"/>
                    <a:gd name="connsiteY154" fmla="*/ 104775 h 4496940"/>
                    <a:gd name="connsiteX155" fmla="*/ 1916452 w 4519987"/>
                    <a:gd name="connsiteY155" fmla="*/ 95250 h 4496940"/>
                    <a:gd name="connsiteX156" fmla="*/ 2030752 w 4519987"/>
                    <a:gd name="connsiteY156" fmla="*/ 66675 h 4496940"/>
                    <a:gd name="connsiteX157" fmla="*/ 2097427 w 4519987"/>
                    <a:gd name="connsiteY157" fmla="*/ 47625 h 4496940"/>
                    <a:gd name="connsiteX158" fmla="*/ 2164102 w 4519987"/>
                    <a:gd name="connsiteY158" fmla="*/ 38100 h 4496940"/>
                    <a:gd name="connsiteX159" fmla="*/ 2392702 w 4519987"/>
                    <a:gd name="connsiteY15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50052 w 4519987"/>
                    <a:gd name="connsiteY28" fmla="*/ 790575 h 4496940"/>
                    <a:gd name="connsiteX29" fmla="*/ 4078627 w 4519987"/>
                    <a:gd name="connsiteY29" fmla="*/ 838200 h 4496940"/>
                    <a:gd name="connsiteX30" fmla="*/ 4107202 w 4519987"/>
                    <a:gd name="connsiteY30" fmla="*/ 876300 h 4496940"/>
                    <a:gd name="connsiteX31" fmla="*/ 4116727 w 4519987"/>
                    <a:gd name="connsiteY31" fmla="*/ 904875 h 4496940"/>
                    <a:gd name="connsiteX32" fmla="*/ 4135777 w 4519987"/>
                    <a:gd name="connsiteY32" fmla="*/ 933450 h 4496940"/>
                    <a:gd name="connsiteX33" fmla="*/ 4164352 w 4519987"/>
                    <a:gd name="connsiteY33" fmla="*/ 990600 h 4496940"/>
                    <a:gd name="connsiteX34" fmla="*/ 4173877 w 4519987"/>
                    <a:gd name="connsiteY34" fmla="*/ 1019175 h 4496940"/>
                    <a:gd name="connsiteX35" fmla="*/ 4192927 w 4519987"/>
                    <a:gd name="connsiteY35" fmla="*/ 1057275 h 4496940"/>
                    <a:gd name="connsiteX36" fmla="*/ 4202452 w 4519987"/>
                    <a:gd name="connsiteY36" fmla="*/ 1085850 h 4496940"/>
                    <a:gd name="connsiteX37" fmla="*/ 4250077 w 4519987"/>
                    <a:gd name="connsiteY37" fmla="*/ 1143000 h 4496940"/>
                    <a:gd name="connsiteX38" fmla="*/ 4259602 w 4519987"/>
                    <a:gd name="connsiteY38" fmla="*/ 1190625 h 4496940"/>
                    <a:gd name="connsiteX39" fmla="*/ 4307227 w 4519987"/>
                    <a:gd name="connsiteY39" fmla="*/ 1266825 h 4496940"/>
                    <a:gd name="connsiteX40" fmla="*/ 4345327 w 4519987"/>
                    <a:gd name="connsiteY40" fmla="*/ 1362075 h 4496940"/>
                    <a:gd name="connsiteX41" fmla="*/ 4373902 w 4519987"/>
                    <a:gd name="connsiteY41" fmla="*/ 1428750 h 4496940"/>
                    <a:gd name="connsiteX42" fmla="*/ 4392952 w 4519987"/>
                    <a:gd name="connsiteY42" fmla="*/ 1552575 h 4496940"/>
                    <a:gd name="connsiteX43" fmla="*/ 4402477 w 4519987"/>
                    <a:gd name="connsiteY43" fmla="*/ 1590675 h 4496940"/>
                    <a:gd name="connsiteX44" fmla="*/ 4431052 w 4519987"/>
                    <a:gd name="connsiteY44" fmla="*/ 1685925 h 4496940"/>
                    <a:gd name="connsiteX45" fmla="*/ 4519952 w 4519987"/>
                    <a:gd name="connsiteY45" fmla="*/ 2181225 h 4496940"/>
                    <a:gd name="connsiteX46" fmla="*/ 4446927 w 4519987"/>
                    <a:gd name="connsiteY46" fmla="*/ 2768600 h 4496940"/>
                    <a:gd name="connsiteX47" fmla="*/ 4383427 w 4519987"/>
                    <a:gd name="connsiteY47" fmla="*/ 2990850 h 4496940"/>
                    <a:gd name="connsiteX48" fmla="*/ 4278652 w 4519987"/>
                    <a:gd name="connsiteY48" fmla="*/ 3248025 h 4496940"/>
                    <a:gd name="connsiteX49" fmla="*/ 4259602 w 4519987"/>
                    <a:gd name="connsiteY49" fmla="*/ 3276600 h 4496940"/>
                    <a:gd name="connsiteX50" fmla="*/ 4221502 w 4519987"/>
                    <a:gd name="connsiteY50" fmla="*/ 3333750 h 4496940"/>
                    <a:gd name="connsiteX51" fmla="*/ 4211977 w 4519987"/>
                    <a:gd name="connsiteY51" fmla="*/ 3362325 h 4496940"/>
                    <a:gd name="connsiteX52" fmla="*/ 4183402 w 4519987"/>
                    <a:gd name="connsiteY52" fmla="*/ 3400425 h 4496940"/>
                    <a:gd name="connsiteX53" fmla="*/ 4164352 w 4519987"/>
                    <a:gd name="connsiteY53" fmla="*/ 3429000 h 4496940"/>
                    <a:gd name="connsiteX54" fmla="*/ 4088152 w 4519987"/>
                    <a:gd name="connsiteY54" fmla="*/ 3495675 h 4496940"/>
                    <a:gd name="connsiteX55" fmla="*/ 4059577 w 4519987"/>
                    <a:gd name="connsiteY55" fmla="*/ 3533775 h 4496940"/>
                    <a:gd name="connsiteX56" fmla="*/ 4002427 w 4519987"/>
                    <a:gd name="connsiteY56" fmla="*/ 3600450 h 4496940"/>
                    <a:gd name="connsiteX57" fmla="*/ 3983377 w 4519987"/>
                    <a:gd name="connsiteY57" fmla="*/ 3629025 h 4496940"/>
                    <a:gd name="connsiteX58" fmla="*/ 3954802 w 4519987"/>
                    <a:gd name="connsiteY58" fmla="*/ 3648075 h 4496940"/>
                    <a:gd name="connsiteX59" fmla="*/ 3907177 w 4519987"/>
                    <a:gd name="connsiteY59" fmla="*/ 3686175 h 4496940"/>
                    <a:gd name="connsiteX60" fmla="*/ 3869077 w 4519987"/>
                    <a:gd name="connsiteY60" fmla="*/ 3724275 h 4496940"/>
                    <a:gd name="connsiteX61" fmla="*/ 3792877 w 4519987"/>
                    <a:gd name="connsiteY61" fmla="*/ 3781425 h 4496940"/>
                    <a:gd name="connsiteX62" fmla="*/ 3783352 w 4519987"/>
                    <a:gd name="connsiteY62" fmla="*/ 3810000 h 4496940"/>
                    <a:gd name="connsiteX63" fmla="*/ 3745252 w 4519987"/>
                    <a:gd name="connsiteY63" fmla="*/ 3819525 h 4496940"/>
                    <a:gd name="connsiteX64" fmla="*/ 3678577 w 4519987"/>
                    <a:gd name="connsiteY64" fmla="*/ 3848100 h 4496940"/>
                    <a:gd name="connsiteX65" fmla="*/ 3659527 w 4519987"/>
                    <a:gd name="connsiteY65" fmla="*/ 3971925 h 4496940"/>
                    <a:gd name="connsiteX66" fmla="*/ 3630952 w 4519987"/>
                    <a:gd name="connsiteY66" fmla="*/ 4010025 h 4496940"/>
                    <a:gd name="connsiteX67" fmla="*/ 3621427 w 4519987"/>
                    <a:gd name="connsiteY67" fmla="*/ 4038600 h 4496940"/>
                    <a:gd name="connsiteX68" fmla="*/ 3554752 w 4519987"/>
                    <a:gd name="connsiteY68" fmla="*/ 4095750 h 4496940"/>
                    <a:gd name="connsiteX69" fmla="*/ 3516652 w 4519987"/>
                    <a:gd name="connsiteY69" fmla="*/ 4114800 h 4496940"/>
                    <a:gd name="connsiteX70" fmla="*/ 3497602 w 4519987"/>
                    <a:gd name="connsiteY70" fmla="*/ 4143375 h 4496940"/>
                    <a:gd name="connsiteX71" fmla="*/ 3383302 w 4519987"/>
                    <a:gd name="connsiteY71" fmla="*/ 4210050 h 4496940"/>
                    <a:gd name="connsiteX72" fmla="*/ 3335677 w 4519987"/>
                    <a:gd name="connsiteY72" fmla="*/ 4238625 h 4496940"/>
                    <a:gd name="connsiteX73" fmla="*/ 3288052 w 4519987"/>
                    <a:gd name="connsiteY73" fmla="*/ 4248150 h 4496940"/>
                    <a:gd name="connsiteX74" fmla="*/ 3240427 w 4519987"/>
                    <a:gd name="connsiteY74" fmla="*/ 4267200 h 4496940"/>
                    <a:gd name="connsiteX75" fmla="*/ 3068977 w 4519987"/>
                    <a:gd name="connsiteY75" fmla="*/ 4286250 h 4496940"/>
                    <a:gd name="connsiteX76" fmla="*/ 2935627 w 4519987"/>
                    <a:gd name="connsiteY76" fmla="*/ 4333875 h 4496940"/>
                    <a:gd name="connsiteX77" fmla="*/ 2811802 w 4519987"/>
                    <a:gd name="connsiteY77" fmla="*/ 4371975 h 4496940"/>
                    <a:gd name="connsiteX78" fmla="*/ 2745127 w 4519987"/>
                    <a:gd name="connsiteY78" fmla="*/ 4410075 h 4496940"/>
                    <a:gd name="connsiteX79" fmla="*/ 2697502 w 4519987"/>
                    <a:gd name="connsiteY79" fmla="*/ 4429125 h 4496940"/>
                    <a:gd name="connsiteX80" fmla="*/ 2640352 w 4519987"/>
                    <a:gd name="connsiteY80" fmla="*/ 4457700 h 4496940"/>
                    <a:gd name="connsiteX81" fmla="*/ 2583202 w 4519987"/>
                    <a:gd name="connsiteY81" fmla="*/ 4467225 h 4496940"/>
                    <a:gd name="connsiteX82" fmla="*/ 2545102 w 4519987"/>
                    <a:gd name="connsiteY82" fmla="*/ 4486275 h 4496940"/>
                    <a:gd name="connsiteX83" fmla="*/ 2306977 w 4519987"/>
                    <a:gd name="connsiteY83" fmla="*/ 4476750 h 4496940"/>
                    <a:gd name="connsiteX84" fmla="*/ 2202202 w 4519987"/>
                    <a:gd name="connsiteY84" fmla="*/ 4457700 h 4496940"/>
                    <a:gd name="connsiteX85" fmla="*/ 2126002 w 4519987"/>
                    <a:gd name="connsiteY85" fmla="*/ 4429125 h 4496940"/>
                    <a:gd name="connsiteX86" fmla="*/ 1935502 w 4519987"/>
                    <a:gd name="connsiteY86" fmla="*/ 4400550 h 4496940"/>
                    <a:gd name="connsiteX87" fmla="*/ 1821202 w 4519987"/>
                    <a:gd name="connsiteY87" fmla="*/ 4371975 h 4496940"/>
                    <a:gd name="connsiteX88" fmla="*/ 1754527 w 4519987"/>
                    <a:gd name="connsiteY88" fmla="*/ 4352925 h 4496940"/>
                    <a:gd name="connsiteX89" fmla="*/ 1687852 w 4519987"/>
                    <a:gd name="connsiteY89" fmla="*/ 4343400 h 4496940"/>
                    <a:gd name="connsiteX90" fmla="*/ 1573552 w 4519987"/>
                    <a:gd name="connsiteY90" fmla="*/ 4305300 h 4496940"/>
                    <a:gd name="connsiteX91" fmla="*/ 1402102 w 4519987"/>
                    <a:gd name="connsiteY91" fmla="*/ 4276725 h 4496940"/>
                    <a:gd name="connsiteX92" fmla="*/ 1287802 w 4519987"/>
                    <a:gd name="connsiteY92" fmla="*/ 4229100 h 4496940"/>
                    <a:gd name="connsiteX93" fmla="*/ 1221127 w 4519987"/>
                    <a:gd name="connsiteY93" fmla="*/ 4200525 h 4496940"/>
                    <a:gd name="connsiteX94" fmla="*/ 1144927 w 4519987"/>
                    <a:gd name="connsiteY94" fmla="*/ 4171950 h 4496940"/>
                    <a:gd name="connsiteX95" fmla="*/ 1087777 w 4519987"/>
                    <a:gd name="connsiteY95" fmla="*/ 4143375 h 4496940"/>
                    <a:gd name="connsiteX96" fmla="*/ 1030627 w 4519987"/>
                    <a:gd name="connsiteY96" fmla="*/ 4124325 h 4496940"/>
                    <a:gd name="connsiteX97" fmla="*/ 925852 w 4519987"/>
                    <a:gd name="connsiteY97" fmla="*/ 4067175 h 4496940"/>
                    <a:gd name="connsiteX98" fmla="*/ 830602 w 4519987"/>
                    <a:gd name="connsiteY98" fmla="*/ 3981450 h 4496940"/>
                    <a:gd name="connsiteX99" fmla="*/ 763927 w 4519987"/>
                    <a:gd name="connsiteY99" fmla="*/ 3914775 h 4496940"/>
                    <a:gd name="connsiteX100" fmla="*/ 725827 w 4519987"/>
                    <a:gd name="connsiteY100" fmla="*/ 3876675 h 4496940"/>
                    <a:gd name="connsiteX101" fmla="*/ 697252 w 4519987"/>
                    <a:gd name="connsiteY101" fmla="*/ 3838575 h 4496940"/>
                    <a:gd name="connsiteX102" fmla="*/ 640102 w 4519987"/>
                    <a:gd name="connsiteY102" fmla="*/ 3781425 h 4496940"/>
                    <a:gd name="connsiteX103" fmla="*/ 611527 w 4519987"/>
                    <a:gd name="connsiteY103" fmla="*/ 3733800 h 4496940"/>
                    <a:gd name="connsiteX104" fmla="*/ 554377 w 4519987"/>
                    <a:gd name="connsiteY104" fmla="*/ 3657600 h 4496940"/>
                    <a:gd name="connsiteX105" fmla="*/ 525802 w 4519987"/>
                    <a:gd name="connsiteY105" fmla="*/ 3609975 h 4496940"/>
                    <a:gd name="connsiteX106" fmla="*/ 497227 w 4519987"/>
                    <a:gd name="connsiteY106" fmla="*/ 3552825 h 4496940"/>
                    <a:gd name="connsiteX107" fmla="*/ 440077 w 4519987"/>
                    <a:gd name="connsiteY107" fmla="*/ 3495675 h 4496940"/>
                    <a:gd name="connsiteX108" fmla="*/ 411502 w 4519987"/>
                    <a:gd name="connsiteY108" fmla="*/ 3448050 h 4496940"/>
                    <a:gd name="connsiteX109" fmla="*/ 278152 w 4519987"/>
                    <a:gd name="connsiteY109" fmla="*/ 3257550 h 4496940"/>
                    <a:gd name="connsiteX110" fmla="*/ 249577 w 4519987"/>
                    <a:gd name="connsiteY110" fmla="*/ 3200400 h 4496940"/>
                    <a:gd name="connsiteX111" fmla="*/ 240052 w 4519987"/>
                    <a:gd name="connsiteY111" fmla="*/ 3162300 h 4496940"/>
                    <a:gd name="connsiteX112" fmla="*/ 221002 w 4519987"/>
                    <a:gd name="connsiteY112" fmla="*/ 3105150 h 4496940"/>
                    <a:gd name="connsiteX113" fmla="*/ 173377 w 4519987"/>
                    <a:gd name="connsiteY113" fmla="*/ 3019425 h 4496940"/>
                    <a:gd name="connsiteX114" fmla="*/ 144802 w 4519987"/>
                    <a:gd name="connsiteY114" fmla="*/ 2924175 h 4496940"/>
                    <a:gd name="connsiteX115" fmla="*/ 68602 w 4519987"/>
                    <a:gd name="connsiteY115" fmla="*/ 2724150 h 4496940"/>
                    <a:gd name="connsiteX116" fmla="*/ 49552 w 4519987"/>
                    <a:gd name="connsiteY116" fmla="*/ 2638425 h 4496940"/>
                    <a:gd name="connsiteX117" fmla="*/ 40027 w 4519987"/>
                    <a:gd name="connsiteY117" fmla="*/ 2562225 h 4496940"/>
                    <a:gd name="connsiteX118" fmla="*/ 30502 w 4519987"/>
                    <a:gd name="connsiteY118" fmla="*/ 2514600 h 4496940"/>
                    <a:gd name="connsiteX119" fmla="*/ 11452 w 4519987"/>
                    <a:gd name="connsiteY119" fmla="*/ 2400300 h 4496940"/>
                    <a:gd name="connsiteX120" fmla="*/ 20977 w 4519987"/>
                    <a:gd name="connsiteY120" fmla="*/ 1905000 h 4496940"/>
                    <a:gd name="connsiteX121" fmla="*/ 30502 w 4519987"/>
                    <a:gd name="connsiteY121" fmla="*/ 1838325 h 4496940"/>
                    <a:gd name="connsiteX122" fmla="*/ 49552 w 4519987"/>
                    <a:gd name="connsiteY122" fmla="*/ 1781175 h 4496940"/>
                    <a:gd name="connsiteX123" fmla="*/ 59077 w 4519987"/>
                    <a:gd name="connsiteY123" fmla="*/ 1743075 h 4496940"/>
                    <a:gd name="connsiteX124" fmla="*/ 78127 w 4519987"/>
                    <a:gd name="connsiteY124" fmla="*/ 1685925 h 4496940"/>
                    <a:gd name="connsiteX125" fmla="*/ 87652 w 4519987"/>
                    <a:gd name="connsiteY125" fmla="*/ 1638300 h 4496940"/>
                    <a:gd name="connsiteX126" fmla="*/ 106702 w 4519987"/>
                    <a:gd name="connsiteY126" fmla="*/ 1590675 h 4496940"/>
                    <a:gd name="connsiteX127" fmla="*/ 135277 w 4519987"/>
                    <a:gd name="connsiteY127" fmla="*/ 1504950 h 4496940"/>
                    <a:gd name="connsiteX128" fmla="*/ 154327 w 4519987"/>
                    <a:gd name="connsiteY128" fmla="*/ 1419225 h 4496940"/>
                    <a:gd name="connsiteX129" fmla="*/ 230527 w 4519987"/>
                    <a:gd name="connsiteY129" fmla="*/ 1276350 h 4496940"/>
                    <a:gd name="connsiteX130" fmla="*/ 240052 w 4519987"/>
                    <a:gd name="connsiteY130" fmla="*/ 1247775 h 4496940"/>
                    <a:gd name="connsiteX131" fmla="*/ 268627 w 4519987"/>
                    <a:gd name="connsiteY131" fmla="*/ 1200150 h 4496940"/>
                    <a:gd name="connsiteX132" fmla="*/ 287677 w 4519987"/>
                    <a:gd name="connsiteY132" fmla="*/ 1152525 h 4496940"/>
                    <a:gd name="connsiteX133" fmla="*/ 316252 w 4519987"/>
                    <a:gd name="connsiteY133" fmla="*/ 1114425 h 4496940"/>
                    <a:gd name="connsiteX134" fmla="*/ 363877 w 4519987"/>
                    <a:gd name="connsiteY134" fmla="*/ 1038225 h 4496940"/>
                    <a:gd name="connsiteX135" fmla="*/ 382927 w 4519987"/>
                    <a:gd name="connsiteY135" fmla="*/ 1009650 h 4496940"/>
                    <a:gd name="connsiteX136" fmla="*/ 440077 w 4519987"/>
                    <a:gd name="connsiteY136" fmla="*/ 904875 h 4496940"/>
                    <a:gd name="connsiteX137" fmla="*/ 478177 w 4519987"/>
                    <a:gd name="connsiteY137" fmla="*/ 857250 h 4496940"/>
                    <a:gd name="connsiteX138" fmla="*/ 497227 w 4519987"/>
                    <a:gd name="connsiteY138" fmla="*/ 828675 h 4496940"/>
                    <a:gd name="connsiteX139" fmla="*/ 535327 w 4519987"/>
                    <a:gd name="connsiteY139" fmla="*/ 800100 h 4496940"/>
                    <a:gd name="connsiteX140" fmla="*/ 602002 w 4519987"/>
                    <a:gd name="connsiteY140" fmla="*/ 733425 h 4496940"/>
                    <a:gd name="connsiteX141" fmla="*/ 668677 w 4519987"/>
                    <a:gd name="connsiteY141" fmla="*/ 676275 h 4496940"/>
                    <a:gd name="connsiteX142" fmla="*/ 697252 w 4519987"/>
                    <a:gd name="connsiteY142" fmla="*/ 657225 h 4496940"/>
                    <a:gd name="connsiteX143" fmla="*/ 840127 w 4519987"/>
                    <a:gd name="connsiteY143" fmla="*/ 533400 h 4496940"/>
                    <a:gd name="connsiteX144" fmla="*/ 887752 w 4519987"/>
                    <a:gd name="connsiteY144" fmla="*/ 504825 h 4496940"/>
                    <a:gd name="connsiteX145" fmla="*/ 1167152 w 4519987"/>
                    <a:gd name="connsiteY145" fmla="*/ 311150 h 4496940"/>
                    <a:gd name="connsiteX146" fmla="*/ 1268752 w 4519987"/>
                    <a:gd name="connsiteY146" fmla="*/ 285750 h 4496940"/>
                    <a:gd name="connsiteX147" fmla="*/ 1411627 w 4519987"/>
                    <a:gd name="connsiteY147" fmla="*/ 190500 h 4496940"/>
                    <a:gd name="connsiteX148" fmla="*/ 1449727 w 4519987"/>
                    <a:gd name="connsiteY148" fmla="*/ 161925 h 4496940"/>
                    <a:gd name="connsiteX149" fmla="*/ 1525927 w 4519987"/>
                    <a:gd name="connsiteY149" fmla="*/ 152400 h 4496940"/>
                    <a:gd name="connsiteX150" fmla="*/ 1583077 w 4519987"/>
                    <a:gd name="connsiteY150" fmla="*/ 142875 h 4496940"/>
                    <a:gd name="connsiteX151" fmla="*/ 1716427 w 4519987"/>
                    <a:gd name="connsiteY151" fmla="*/ 123825 h 4496940"/>
                    <a:gd name="connsiteX152" fmla="*/ 1811677 w 4519987"/>
                    <a:gd name="connsiteY152" fmla="*/ 114300 h 4496940"/>
                    <a:gd name="connsiteX153" fmla="*/ 1859302 w 4519987"/>
                    <a:gd name="connsiteY153" fmla="*/ 104775 h 4496940"/>
                    <a:gd name="connsiteX154" fmla="*/ 1916452 w 4519987"/>
                    <a:gd name="connsiteY154" fmla="*/ 95250 h 4496940"/>
                    <a:gd name="connsiteX155" fmla="*/ 2030752 w 4519987"/>
                    <a:gd name="connsiteY155" fmla="*/ 66675 h 4496940"/>
                    <a:gd name="connsiteX156" fmla="*/ 2097427 w 4519987"/>
                    <a:gd name="connsiteY156" fmla="*/ 47625 h 4496940"/>
                    <a:gd name="connsiteX157" fmla="*/ 2164102 w 4519987"/>
                    <a:gd name="connsiteY157" fmla="*/ 38100 h 4496940"/>
                    <a:gd name="connsiteX158" fmla="*/ 2392702 w 4519987"/>
                    <a:gd name="connsiteY15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16727 w 4519987"/>
                    <a:gd name="connsiteY30" fmla="*/ 904875 h 4496940"/>
                    <a:gd name="connsiteX31" fmla="*/ 4135777 w 4519987"/>
                    <a:gd name="connsiteY31" fmla="*/ 933450 h 4496940"/>
                    <a:gd name="connsiteX32" fmla="*/ 4164352 w 4519987"/>
                    <a:gd name="connsiteY32" fmla="*/ 990600 h 4496940"/>
                    <a:gd name="connsiteX33" fmla="*/ 4173877 w 4519987"/>
                    <a:gd name="connsiteY33" fmla="*/ 1019175 h 4496940"/>
                    <a:gd name="connsiteX34" fmla="*/ 4192927 w 4519987"/>
                    <a:gd name="connsiteY34" fmla="*/ 1057275 h 4496940"/>
                    <a:gd name="connsiteX35" fmla="*/ 4202452 w 4519987"/>
                    <a:gd name="connsiteY35" fmla="*/ 1085850 h 4496940"/>
                    <a:gd name="connsiteX36" fmla="*/ 4250077 w 4519987"/>
                    <a:gd name="connsiteY36" fmla="*/ 1143000 h 4496940"/>
                    <a:gd name="connsiteX37" fmla="*/ 4259602 w 4519987"/>
                    <a:gd name="connsiteY37" fmla="*/ 1190625 h 4496940"/>
                    <a:gd name="connsiteX38" fmla="*/ 4307227 w 4519987"/>
                    <a:gd name="connsiteY38" fmla="*/ 1266825 h 4496940"/>
                    <a:gd name="connsiteX39" fmla="*/ 4345327 w 4519987"/>
                    <a:gd name="connsiteY39" fmla="*/ 1362075 h 4496940"/>
                    <a:gd name="connsiteX40" fmla="*/ 4373902 w 4519987"/>
                    <a:gd name="connsiteY40" fmla="*/ 1428750 h 4496940"/>
                    <a:gd name="connsiteX41" fmla="*/ 4392952 w 4519987"/>
                    <a:gd name="connsiteY41" fmla="*/ 1552575 h 4496940"/>
                    <a:gd name="connsiteX42" fmla="*/ 4402477 w 4519987"/>
                    <a:gd name="connsiteY42" fmla="*/ 1590675 h 4496940"/>
                    <a:gd name="connsiteX43" fmla="*/ 4431052 w 4519987"/>
                    <a:gd name="connsiteY43" fmla="*/ 1685925 h 4496940"/>
                    <a:gd name="connsiteX44" fmla="*/ 4519952 w 4519987"/>
                    <a:gd name="connsiteY44" fmla="*/ 2181225 h 4496940"/>
                    <a:gd name="connsiteX45" fmla="*/ 4446927 w 4519987"/>
                    <a:gd name="connsiteY45" fmla="*/ 2768600 h 4496940"/>
                    <a:gd name="connsiteX46" fmla="*/ 4383427 w 4519987"/>
                    <a:gd name="connsiteY46" fmla="*/ 2990850 h 4496940"/>
                    <a:gd name="connsiteX47" fmla="*/ 4278652 w 4519987"/>
                    <a:gd name="connsiteY47" fmla="*/ 3248025 h 4496940"/>
                    <a:gd name="connsiteX48" fmla="*/ 4259602 w 4519987"/>
                    <a:gd name="connsiteY48" fmla="*/ 3276600 h 4496940"/>
                    <a:gd name="connsiteX49" fmla="*/ 4221502 w 4519987"/>
                    <a:gd name="connsiteY49" fmla="*/ 3333750 h 4496940"/>
                    <a:gd name="connsiteX50" fmla="*/ 4211977 w 4519987"/>
                    <a:gd name="connsiteY50" fmla="*/ 3362325 h 4496940"/>
                    <a:gd name="connsiteX51" fmla="*/ 4183402 w 4519987"/>
                    <a:gd name="connsiteY51" fmla="*/ 3400425 h 4496940"/>
                    <a:gd name="connsiteX52" fmla="*/ 4164352 w 4519987"/>
                    <a:gd name="connsiteY52" fmla="*/ 3429000 h 4496940"/>
                    <a:gd name="connsiteX53" fmla="*/ 4088152 w 4519987"/>
                    <a:gd name="connsiteY53" fmla="*/ 3495675 h 4496940"/>
                    <a:gd name="connsiteX54" fmla="*/ 4059577 w 4519987"/>
                    <a:gd name="connsiteY54" fmla="*/ 3533775 h 4496940"/>
                    <a:gd name="connsiteX55" fmla="*/ 4002427 w 4519987"/>
                    <a:gd name="connsiteY55" fmla="*/ 3600450 h 4496940"/>
                    <a:gd name="connsiteX56" fmla="*/ 3983377 w 4519987"/>
                    <a:gd name="connsiteY56" fmla="*/ 3629025 h 4496940"/>
                    <a:gd name="connsiteX57" fmla="*/ 3954802 w 4519987"/>
                    <a:gd name="connsiteY57" fmla="*/ 3648075 h 4496940"/>
                    <a:gd name="connsiteX58" fmla="*/ 3907177 w 4519987"/>
                    <a:gd name="connsiteY58" fmla="*/ 3686175 h 4496940"/>
                    <a:gd name="connsiteX59" fmla="*/ 3869077 w 4519987"/>
                    <a:gd name="connsiteY59" fmla="*/ 3724275 h 4496940"/>
                    <a:gd name="connsiteX60" fmla="*/ 3792877 w 4519987"/>
                    <a:gd name="connsiteY60" fmla="*/ 3781425 h 4496940"/>
                    <a:gd name="connsiteX61" fmla="*/ 3783352 w 4519987"/>
                    <a:gd name="connsiteY61" fmla="*/ 3810000 h 4496940"/>
                    <a:gd name="connsiteX62" fmla="*/ 3745252 w 4519987"/>
                    <a:gd name="connsiteY62" fmla="*/ 3819525 h 4496940"/>
                    <a:gd name="connsiteX63" fmla="*/ 3678577 w 4519987"/>
                    <a:gd name="connsiteY63" fmla="*/ 3848100 h 4496940"/>
                    <a:gd name="connsiteX64" fmla="*/ 3659527 w 4519987"/>
                    <a:gd name="connsiteY64" fmla="*/ 3971925 h 4496940"/>
                    <a:gd name="connsiteX65" fmla="*/ 3630952 w 4519987"/>
                    <a:gd name="connsiteY65" fmla="*/ 4010025 h 4496940"/>
                    <a:gd name="connsiteX66" fmla="*/ 3621427 w 4519987"/>
                    <a:gd name="connsiteY66" fmla="*/ 4038600 h 4496940"/>
                    <a:gd name="connsiteX67" fmla="*/ 3554752 w 4519987"/>
                    <a:gd name="connsiteY67" fmla="*/ 4095750 h 4496940"/>
                    <a:gd name="connsiteX68" fmla="*/ 3516652 w 4519987"/>
                    <a:gd name="connsiteY68" fmla="*/ 4114800 h 4496940"/>
                    <a:gd name="connsiteX69" fmla="*/ 3497602 w 4519987"/>
                    <a:gd name="connsiteY69" fmla="*/ 4143375 h 4496940"/>
                    <a:gd name="connsiteX70" fmla="*/ 3383302 w 4519987"/>
                    <a:gd name="connsiteY70" fmla="*/ 4210050 h 4496940"/>
                    <a:gd name="connsiteX71" fmla="*/ 3335677 w 4519987"/>
                    <a:gd name="connsiteY71" fmla="*/ 4238625 h 4496940"/>
                    <a:gd name="connsiteX72" fmla="*/ 3288052 w 4519987"/>
                    <a:gd name="connsiteY72" fmla="*/ 4248150 h 4496940"/>
                    <a:gd name="connsiteX73" fmla="*/ 3240427 w 4519987"/>
                    <a:gd name="connsiteY73" fmla="*/ 4267200 h 4496940"/>
                    <a:gd name="connsiteX74" fmla="*/ 3068977 w 4519987"/>
                    <a:gd name="connsiteY74" fmla="*/ 4286250 h 4496940"/>
                    <a:gd name="connsiteX75" fmla="*/ 2935627 w 4519987"/>
                    <a:gd name="connsiteY75" fmla="*/ 4333875 h 4496940"/>
                    <a:gd name="connsiteX76" fmla="*/ 2811802 w 4519987"/>
                    <a:gd name="connsiteY76" fmla="*/ 4371975 h 4496940"/>
                    <a:gd name="connsiteX77" fmla="*/ 2745127 w 4519987"/>
                    <a:gd name="connsiteY77" fmla="*/ 4410075 h 4496940"/>
                    <a:gd name="connsiteX78" fmla="*/ 2697502 w 4519987"/>
                    <a:gd name="connsiteY78" fmla="*/ 4429125 h 4496940"/>
                    <a:gd name="connsiteX79" fmla="*/ 2640352 w 4519987"/>
                    <a:gd name="connsiteY79" fmla="*/ 4457700 h 4496940"/>
                    <a:gd name="connsiteX80" fmla="*/ 2583202 w 4519987"/>
                    <a:gd name="connsiteY80" fmla="*/ 4467225 h 4496940"/>
                    <a:gd name="connsiteX81" fmla="*/ 2545102 w 4519987"/>
                    <a:gd name="connsiteY81" fmla="*/ 4486275 h 4496940"/>
                    <a:gd name="connsiteX82" fmla="*/ 2306977 w 4519987"/>
                    <a:gd name="connsiteY82" fmla="*/ 4476750 h 4496940"/>
                    <a:gd name="connsiteX83" fmla="*/ 2202202 w 4519987"/>
                    <a:gd name="connsiteY83" fmla="*/ 4457700 h 4496940"/>
                    <a:gd name="connsiteX84" fmla="*/ 2126002 w 4519987"/>
                    <a:gd name="connsiteY84" fmla="*/ 4429125 h 4496940"/>
                    <a:gd name="connsiteX85" fmla="*/ 1935502 w 4519987"/>
                    <a:gd name="connsiteY85" fmla="*/ 4400550 h 4496940"/>
                    <a:gd name="connsiteX86" fmla="*/ 1821202 w 4519987"/>
                    <a:gd name="connsiteY86" fmla="*/ 4371975 h 4496940"/>
                    <a:gd name="connsiteX87" fmla="*/ 1754527 w 4519987"/>
                    <a:gd name="connsiteY87" fmla="*/ 4352925 h 4496940"/>
                    <a:gd name="connsiteX88" fmla="*/ 1687852 w 4519987"/>
                    <a:gd name="connsiteY88" fmla="*/ 4343400 h 4496940"/>
                    <a:gd name="connsiteX89" fmla="*/ 1573552 w 4519987"/>
                    <a:gd name="connsiteY89" fmla="*/ 4305300 h 4496940"/>
                    <a:gd name="connsiteX90" fmla="*/ 1402102 w 4519987"/>
                    <a:gd name="connsiteY90" fmla="*/ 4276725 h 4496940"/>
                    <a:gd name="connsiteX91" fmla="*/ 1287802 w 4519987"/>
                    <a:gd name="connsiteY91" fmla="*/ 4229100 h 4496940"/>
                    <a:gd name="connsiteX92" fmla="*/ 1221127 w 4519987"/>
                    <a:gd name="connsiteY92" fmla="*/ 4200525 h 4496940"/>
                    <a:gd name="connsiteX93" fmla="*/ 1144927 w 4519987"/>
                    <a:gd name="connsiteY93" fmla="*/ 4171950 h 4496940"/>
                    <a:gd name="connsiteX94" fmla="*/ 1087777 w 4519987"/>
                    <a:gd name="connsiteY94" fmla="*/ 4143375 h 4496940"/>
                    <a:gd name="connsiteX95" fmla="*/ 1030627 w 4519987"/>
                    <a:gd name="connsiteY95" fmla="*/ 4124325 h 4496940"/>
                    <a:gd name="connsiteX96" fmla="*/ 925852 w 4519987"/>
                    <a:gd name="connsiteY96" fmla="*/ 4067175 h 4496940"/>
                    <a:gd name="connsiteX97" fmla="*/ 830602 w 4519987"/>
                    <a:gd name="connsiteY97" fmla="*/ 3981450 h 4496940"/>
                    <a:gd name="connsiteX98" fmla="*/ 763927 w 4519987"/>
                    <a:gd name="connsiteY98" fmla="*/ 3914775 h 4496940"/>
                    <a:gd name="connsiteX99" fmla="*/ 725827 w 4519987"/>
                    <a:gd name="connsiteY99" fmla="*/ 3876675 h 4496940"/>
                    <a:gd name="connsiteX100" fmla="*/ 697252 w 4519987"/>
                    <a:gd name="connsiteY100" fmla="*/ 3838575 h 4496940"/>
                    <a:gd name="connsiteX101" fmla="*/ 640102 w 4519987"/>
                    <a:gd name="connsiteY101" fmla="*/ 3781425 h 4496940"/>
                    <a:gd name="connsiteX102" fmla="*/ 611527 w 4519987"/>
                    <a:gd name="connsiteY102" fmla="*/ 3733800 h 4496940"/>
                    <a:gd name="connsiteX103" fmla="*/ 554377 w 4519987"/>
                    <a:gd name="connsiteY103" fmla="*/ 3657600 h 4496940"/>
                    <a:gd name="connsiteX104" fmla="*/ 525802 w 4519987"/>
                    <a:gd name="connsiteY104" fmla="*/ 3609975 h 4496940"/>
                    <a:gd name="connsiteX105" fmla="*/ 497227 w 4519987"/>
                    <a:gd name="connsiteY105" fmla="*/ 3552825 h 4496940"/>
                    <a:gd name="connsiteX106" fmla="*/ 440077 w 4519987"/>
                    <a:gd name="connsiteY106" fmla="*/ 3495675 h 4496940"/>
                    <a:gd name="connsiteX107" fmla="*/ 411502 w 4519987"/>
                    <a:gd name="connsiteY107" fmla="*/ 3448050 h 4496940"/>
                    <a:gd name="connsiteX108" fmla="*/ 278152 w 4519987"/>
                    <a:gd name="connsiteY108" fmla="*/ 3257550 h 4496940"/>
                    <a:gd name="connsiteX109" fmla="*/ 249577 w 4519987"/>
                    <a:gd name="connsiteY109" fmla="*/ 3200400 h 4496940"/>
                    <a:gd name="connsiteX110" fmla="*/ 240052 w 4519987"/>
                    <a:gd name="connsiteY110" fmla="*/ 3162300 h 4496940"/>
                    <a:gd name="connsiteX111" fmla="*/ 221002 w 4519987"/>
                    <a:gd name="connsiteY111" fmla="*/ 3105150 h 4496940"/>
                    <a:gd name="connsiteX112" fmla="*/ 173377 w 4519987"/>
                    <a:gd name="connsiteY112" fmla="*/ 3019425 h 4496940"/>
                    <a:gd name="connsiteX113" fmla="*/ 144802 w 4519987"/>
                    <a:gd name="connsiteY113" fmla="*/ 2924175 h 4496940"/>
                    <a:gd name="connsiteX114" fmla="*/ 68602 w 4519987"/>
                    <a:gd name="connsiteY114" fmla="*/ 2724150 h 4496940"/>
                    <a:gd name="connsiteX115" fmla="*/ 49552 w 4519987"/>
                    <a:gd name="connsiteY115" fmla="*/ 2638425 h 4496940"/>
                    <a:gd name="connsiteX116" fmla="*/ 40027 w 4519987"/>
                    <a:gd name="connsiteY116" fmla="*/ 2562225 h 4496940"/>
                    <a:gd name="connsiteX117" fmla="*/ 30502 w 4519987"/>
                    <a:gd name="connsiteY117" fmla="*/ 2514600 h 4496940"/>
                    <a:gd name="connsiteX118" fmla="*/ 11452 w 4519987"/>
                    <a:gd name="connsiteY118" fmla="*/ 2400300 h 4496940"/>
                    <a:gd name="connsiteX119" fmla="*/ 20977 w 4519987"/>
                    <a:gd name="connsiteY119" fmla="*/ 1905000 h 4496940"/>
                    <a:gd name="connsiteX120" fmla="*/ 30502 w 4519987"/>
                    <a:gd name="connsiteY120" fmla="*/ 1838325 h 4496940"/>
                    <a:gd name="connsiteX121" fmla="*/ 49552 w 4519987"/>
                    <a:gd name="connsiteY121" fmla="*/ 1781175 h 4496940"/>
                    <a:gd name="connsiteX122" fmla="*/ 59077 w 4519987"/>
                    <a:gd name="connsiteY122" fmla="*/ 1743075 h 4496940"/>
                    <a:gd name="connsiteX123" fmla="*/ 78127 w 4519987"/>
                    <a:gd name="connsiteY123" fmla="*/ 1685925 h 4496940"/>
                    <a:gd name="connsiteX124" fmla="*/ 87652 w 4519987"/>
                    <a:gd name="connsiteY124" fmla="*/ 1638300 h 4496940"/>
                    <a:gd name="connsiteX125" fmla="*/ 106702 w 4519987"/>
                    <a:gd name="connsiteY125" fmla="*/ 1590675 h 4496940"/>
                    <a:gd name="connsiteX126" fmla="*/ 135277 w 4519987"/>
                    <a:gd name="connsiteY126" fmla="*/ 1504950 h 4496940"/>
                    <a:gd name="connsiteX127" fmla="*/ 154327 w 4519987"/>
                    <a:gd name="connsiteY127" fmla="*/ 1419225 h 4496940"/>
                    <a:gd name="connsiteX128" fmla="*/ 230527 w 4519987"/>
                    <a:gd name="connsiteY128" fmla="*/ 1276350 h 4496940"/>
                    <a:gd name="connsiteX129" fmla="*/ 240052 w 4519987"/>
                    <a:gd name="connsiteY129" fmla="*/ 1247775 h 4496940"/>
                    <a:gd name="connsiteX130" fmla="*/ 268627 w 4519987"/>
                    <a:gd name="connsiteY130" fmla="*/ 1200150 h 4496940"/>
                    <a:gd name="connsiteX131" fmla="*/ 287677 w 4519987"/>
                    <a:gd name="connsiteY131" fmla="*/ 1152525 h 4496940"/>
                    <a:gd name="connsiteX132" fmla="*/ 316252 w 4519987"/>
                    <a:gd name="connsiteY132" fmla="*/ 1114425 h 4496940"/>
                    <a:gd name="connsiteX133" fmla="*/ 363877 w 4519987"/>
                    <a:gd name="connsiteY133" fmla="*/ 1038225 h 4496940"/>
                    <a:gd name="connsiteX134" fmla="*/ 382927 w 4519987"/>
                    <a:gd name="connsiteY134" fmla="*/ 1009650 h 4496940"/>
                    <a:gd name="connsiteX135" fmla="*/ 440077 w 4519987"/>
                    <a:gd name="connsiteY135" fmla="*/ 904875 h 4496940"/>
                    <a:gd name="connsiteX136" fmla="*/ 478177 w 4519987"/>
                    <a:gd name="connsiteY136" fmla="*/ 857250 h 4496940"/>
                    <a:gd name="connsiteX137" fmla="*/ 497227 w 4519987"/>
                    <a:gd name="connsiteY137" fmla="*/ 828675 h 4496940"/>
                    <a:gd name="connsiteX138" fmla="*/ 535327 w 4519987"/>
                    <a:gd name="connsiteY138" fmla="*/ 800100 h 4496940"/>
                    <a:gd name="connsiteX139" fmla="*/ 602002 w 4519987"/>
                    <a:gd name="connsiteY139" fmla="*/ 733425 h 4496940"/>
                    <a:gd name="connsiteX140" fmla="*/ 668677 w 4519987"/>
                    <a:gd name="connsiteY140" fmla="*/ 676275 h 4496940"/>
                    <a:gd name="connsiteX141" fmla="*/ 697252 w 4519987"/>
                    <a:gd name="connsiteY141" fmla="*/ 657225 h 4496940"/>
                    <a:gd name="connsiteX142" fmla="*/ 840127 w 4519987"/>
                    <a:gd name="connsiteY142" fmla="*/ 533400 h 4496940"/>
                    <a:gd name="connsiteX143" fmla="*/ 887752 w 4519987"/>
                    <a:gd name="connsiteY143" fmla="*/ 504825 h 4496940"/>
                    <a:gd name="connsiteX144" fmla="*/ 1167152 w 4519987"/>
                    <a:gd name="connsiteY144" fmla="*/ 311150 h 4496940"/>
                    <a:gd name="connsiteX145" fmla="*/ 1268752 w 4519987"/>
                    <a:gd name="connsiteY145" fmla="*/ 285750 h 4496940"/>
                    <a:gd name="connsiteX146" fmla="*/ 1411627 w 4519987"/>
                    <a:gd name="connsiteY146" fmla="*/ 190500 h 4496940"/>
                    <a:gd name="connsiteX147" fmla="*/ 1449727 w 4519987"/>
                    <a:gd name="connsiteY147" fmla="*/ 161925 h 4496940"/>
                    <a:gd name="connsiteX148" fmla="*/ 1525927 w 4519987"/>
                    <a:gd name="connsiteY148" fmla="*/ 152400 h 4496940"/>
                    <a:gd name="connsiteX149" fmla="*/ 1583077 w 4519987"/>
                    <a:gd name="connsiteY149" fmla="*/ 142875 h 4496940"/>
                    <a:gd name="connsiteX150" fmla="*/ 1716427 w 4519987"/>
                    <a:gd name="connsiteY150" fmla="*/ 123825 h 4496940"/>
                    <a:gd name="connsiteX151" fmla="*/ 1811677 w 4519987"/>
                    <a:gd name="connsiteY151" fmla="*/ 114300 h 4496940"/>
                    <a:gd name="connsiteX152" fmla="*/ 1859302 w 4519987"/>
                    <a:gd name="connsiteY152" fmla="*/ 104775 h 4496940"/>
                    <a:gd name="connsiteX153" fmla="*/ 1916452 w 4519987"/>
                    <a:gd name="connsiteY153" fmla="*/ 95250 h 4496940"/>
                    <a:gd name="connsiteX154" fmla="*/ 2030752 w 4519987"/>
                    <a:gd name="connsiteY154" fmla="*/ 66675 h 4496940"/>
                    <a:gd name="connsiteX155" fmla="*/ 2097427 w 4519987"/>
                    <a:gd name="connsiteY155" fmla="*/ 47625 h 4496940"/>
                    <a:gd name="connsiteX156" fmla="*/ 2164102 w 4519987"/>
                    <a:gd name="connsiteY156" fmla="*/ 38100 h 4496940"/>
                    <a:gd name="connsiteX157" fmla="*/ 2392702 w 4519987"/>
                    <a:gd name="connsiteY15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35777 w 4519987"/>
                    <a:gd name="connsiteY30" fmla="*/ 933450 h 4496940"/>
                    <a:gd name="connsiteX31" fmla="*/ 4164352 w 4519987"/>
                    <a:gd name="connsiteY31" fmla="*/ 990600 h 4496940"/>
                    <a:gd name="connsiteX32" fmla="*/ 4173877 w 4519987"/>
                    <a:gd name="connsiteY32" fmla="*/ 1019175 h 4496940"/>
                    <a:gd name="connsiteX33" fmla="*/ 4192927 w 4519987"/>
                    <a:gd name="connsiteY33" fmla="*/ 1057275 h 4496940"/>
                    <a:gd name="connsiteX34" fmla="*/ 4202452 w 4519987"/>
                    <a:gd name="connsiteY34" fmla="*/ 1085850 h 4496940"/>
                    <a:gd name="connsiteX35" fmla="*/ 4250077 w 4519987"/>
                    <a:gd name="connsiteY35" fmla="*/ 1143000 h 4496940"/>
                    <a:gd name="connsiteX36" fmla="*/ 4259602 w 4519987"/>
                    <a:gd name="connsiteY36" fmla="*/ 1190625 h 4496940"/>
                    <a:gd name="connsiteX37" fmla="*/ 4307227 w 4519987"/>
                    <a:gd name="connsiteY37" fmla="*/ 1266825 h 4496940"/>
                    <a:gd name="connsiteX38" fmla="*/ 4345327 w 4519987"/>
                    <a:gd name="connsiteY38" fmla="*/ 1362075 h 4496940"/>
                    <a:gd name="connsiteX39" fmla="*/ 4373902 w 4519987"/>
                    <a:gd name="connsiteY39" fmla="*/ 1428750 h 4496940"/>
                    <a:gd name="connsiteX40" fmla="*/ 4392952 w 4519987"/>
                    <a:gd name="connsiteY40" fmla="*/ 1552575 h 4496940"/>
                    <a:gd name="connsiteX41" fmla="*/ 4402477 w 4519987"/>
                    <a:gd name="connsiteY41" fmla="*/ 1590675 h 4496940"/>
                    <a:gd name="connsiteX42" fmla="*/ 4431052 w 4519987"/>
                    <a:gd name="connsiteY42" fmla="*/ 1685925 h 4496940"/>
                    <a:gd name="connsiteX43" fmla="*/ 4519952 w 4519987"/>
                    <a:gd name="connsiteY43" fmla="*/ 2181225 h 4496940"/>
                    <a:gd name="connsiteX44" fmla="*/ 4446927 w 4519987"/>
                    <a:gd name="connsiteY44" fmla="*/ 2768600 h 4496940"/>
                    <a:gd name="connsiteX45" fmla="*/ 4383427 w 4519987"/>
                    <a:gd name="connsiteY45" fmla="*/ 2990850 h 4496940"/>
                    <a:gd name="connsiteX46" fmla="*/ 4278652 w 4519987"/>
                    <a:gd name="connsiteY46" fmla="*/ 3248025 h 4496940"/>
                    <a:gd name="connsiteX47" fmla="*/ 4259602 w 4519987"/>
                    <a:gd name="connsiteY47" fmla="*/ 3276600 h 4496940"/>
                    <a:gd name="connsiteX48" fmla="*/ 4221502 w 4519987"/>
                    <a:gd name="connsiteY48" fmla="*/ 3333750 h 4496940"/>
                    <a:gd name="connsiteX49" fmla="*/ 4211977 w 4519987"/>
                    <a:gd name="connsiteY49" fmla="*/ 3362325 h 4496940"/>
                    <a:gd name="connsiteX50" fmla="*/ 4183402 w 4519987"/>
                    <a:gd name="connsiteY50" fmla="*/ 3400425 h 4496940"/>
                    <a:gd name="connsiteX51" fmla="*/ 4164352 w 4519987"/>
                    <a:gd name="connsiteY51" fmla="*/ 3429000 h 4496940"/>
                    <a:gd name="connsiteX52" fmla="*/ 4088152 w 4519987"/>
                    <a:gd name="connsiteY52" fmla="*/ 3495675 h 4496940"/>
                    <a:gd name="connsiteX53" fmla="*/ 4059577 w 4519987"/>
                    <a:gd name="connsiteY53" fmla="*/ 3533775 h 4496940"/>
                    <a:gd name="connsiteX54" fmla="*/ 4002427 w 4519987"/>
                    <a:gd name="connsiteY54" fmla="*/ 3600450 h 4496940"/>
                    <a:gd name="connsiteX55" fmla="*/ 3983377 w 4519987"/>
                    <a:gd name="connsiteY55" fmla="*/ 3629025 h 4496940"/>
                    <a:gd name="connsiteX56" fmla="*/ 3954802 w 4519987"/>
                    <a:gd name="connsiteY56" fmla="*/ 3648075 h 4496940"/>
                    <a:gd name="connsiteX57" fmla="*/ 3907177 w 4519987"/>
                    <a:gd name="connsiteY57" fmla="*/ 3686175 h 4496940"/>
                    <a:gd name="connsiteX58" fmla="*/ 3869077 w 4519987"/>
                    <a:gd name="connsiteY58" fmla="*/ 3724275 h 4496940"/>
                    <a:gd name="connsiteX59" fmla="*/ 3792877 w 4519987"/>
                    <a:gd name="connsiteY59" fmla="*/ 3781425 h 4496940"/>
                    <a:gd name="connsiteX60" fmla="*/ 3783352 w 4519987"/>
                    <a:gd name="connsiteY60" fmla="*/ 3810000 h 4496940"/>
                    <a:gd name="connsiteX61" fmla="*/ 3745252 w 4519987"/>
                    <a:gd name="connsiteY61" fmla="*/ 3819525 h 4496940"/>
                    <a:gd name="connsiteX62" fmla="*/ 3678577 w 4519987"/>
                    <a:gd name="connsiteY62" fmla="*/ 3848100 h 4496940"/>
                    <a:gd name="connsiteX63" fmla="*/ 3659527 w 4519987"/>
                    <a:gd name="connsiteY63" fmla="*/ 3971925 h 4496940"/>
                    <a:gd name="connsiteX64" fmla="*/ 3630952 w 4519987"/>
                    <a:gd name="connsiteY64" fmla="*/ 4010025 h 4496940"/>
                    <a:gd name="connsiteX65" fmla="*/ 3621427 w 4519987"/>
                    <a:gd name="connsiteY65" fmla="*/ 4038600 h 4496940"/>
                    <a:gd name="connsiteX66" fmla="*/ 3554752 w 4519987"/>
                    <a:gd name="connsiteY66" fmla="*/ 4095750 h 4496940"/>
                    <a:gd name="connsiteX67" fmla="*/ 3516652 w 4519987"/>
                    <a:gd name="connsiteY67" fmla="*/ 4114800 h 4496940"/>
                    <a:gd name="connsiteX68" fmla="*/ 3497602 w 4519987"/>
                    <a:gd name="connsiteY68" fmla="*/ 4143375 h 4496940"/>
                    <a:gd name="connsiteX69" fmla="*/ 3383302 w 4519987"/>
                    <a:gd name="connsiteY69" fmla="*/ 4210050 h 4496940"/>
                    <a:gd name="connsiteX70" fmla="*/ 3335677 w 4519987"/>
                    <a:gd name="connsiteY70" fmla="*/ 4238625 h 4496940"/>
                    <a:gd name="connsiteX71" fmla="*/ 3288052 w 4519987"/>
                    <a:gd name="connsiteY71" fmla="*/ 4248150 h 4496940"/>
                    <a:gd name="connsiteX72" fmla="*/ 3240427 w 4519987"/>
                    <a:gd name="connsiteY72" fmla="*/ 4267200 h 4496940"/>
                    <a:gd name="connsiteX73" fmla="*/ 3068977 w 4519987"/>
                    <a:gd name="connsiteY73" fmla="*/ 4286250 h 4496940"/>
                    <a:gd name="connsiteX74" fmla="*/ 2935627 w 4519987"/>
                    <a:gd name="connsiteY74" fmla="*/ 4333875 h 4496940"/>
                    <a:gd name="connsiteX75" fmla="*/ 2811802 w 4519987"/>
                    <a:gd name="connsiteY75" fmla="*/ 4371975 h 4496940"/>
                    <a:gd name="connsiteX76" fmla="*/ 2745127 w 4519987"/>
                    <a:gd name="connsiteY76" fmla="*/ 4410075 h 4496940"/>
                    <a:gd name="connsiteX77" fmla="*/ 2697502 w 4519987"/>
                    <a:gd name="connsiteY77" fmla="*/ 4429125 h 4496940"/>
                    <a:gd name="connsiteX78" fmla="*/ 2640352 w 4519987"/>
                    <a:gd name="connsiteY78" fmla="*/ 4457700 h 4496940"/>
                    <a:gd name="connsiteX79" fmla="*/ 2583202 w 4519987"/>
                    <a:gd name="connsiteY79" fmla="*/ 4467225 h 4496940"/>
                    <a:gd name="connsiteX80" fmla="*/ 2545102 w 4519987"/>
                    <a:gd name="connsiteY80" fmla="*/ 4486275 h 4496940"/>
                    <a:gd name="connsiteX81" fmla="*/ 2306977 w 4519987"/>
                    <a:gd name="connsiteY81" fmla="*/ 4476750 h 4496940"/>
                    <a:gd name="connsiteX82" fmla="*/ 2202202 w 4519987"/>
                    <a:gd name="connsiteY82" fmla="*/ 4457700 h 4496940"/>
                    <a:gd name="connsiteX83" fmla="*/ 2126002 w 4519987"/>
                    <a:gd name="connsiteY83" fmla="*/ 4429125 h 4496940"/>
                    <a:gd name="connsiteX84" fmla="*/ 1935502 w 4519987"/>
                    <a:gd name="connsiteY84" fmla="*/ 4400550 h 4496940"/>
                    <a:gd name="connsiteX85" fmla="*/ 1821202 w 4519987"/>
                    <a:gd name="connsiteY85" fmla="*/ 4371975 h 4496940"/>
                    <a:gd name="connsiteX86" fmla="*/ 1754527 w 4519987"/>
                    <a:gd name="connsiteY86" fmla="*/ 4352925 h 4496940"/>
                    <a:gd name="connsiteX87" fmla="*/ 1687852 w 4519987"/>
                    <a:gd name="connsiteY87" fmla="*/ 4343400 h 4496940"/>
                    <a:gd name="connsiteX88" fmla="*/ 1573552 w 4519987"/>
                    <a:gd name="connsiteY88" fmla="*/ 4305300 h 4496940"/>
                    <a:gd name="connsiteX89" fmla="*/ 1402102 w 4519987"/>
                    <a:gd name="connsiteY89" fmla="*/ 4276725 h 4496940"/>
                    <a:gd name="connsiteX90" fmla="*/ 1287802 w 4519987"/>
                    <a:gd name="connsiteY90" fmla="*/ 4229100 h 4496940"/>
                    <a:gd name="connsiteX91" fmla="*/ 1221127 w 4519987"/>
                    <a:gd name="connsiteY91" fmla="*/ 4200525 h 4496940"/>
                    <a:gd name="connsiteX92" fmla="*/ 1144927 w 4519987"/>
                    <a:gd name="connsiteY92" fmla="*/ 4171950 h 4496940"/>
                    <a:gd name="connsiteX93" fmla="*/ 1087777 w 4519987"/>
                    <a:gd name="connsiteY93" fmla="*/ 4143375 h 4496940"/>
                    <a:gd name="connsiteX94" fmla="*/ 1030627 w 4519987"/>
                    <a:gd name="connsiteY94" fmla="*/ 4124325 h 4496940"/>
                    <a:gd name="connsiteX95" fmla="*/ 925852 w 4519987"/>
                    <a:gd name="connsiteY95" fmla="*/ 4067175 h 4496940"/>
                    <a:gd name="connsiteX96" fmla="*/ 830602 w 4519987"/>
                    <a:gd name="connsiteY96" fmla="*/ 3981450 h 4496940"/>
                    <a:gd name="connsiteX97" fmla="*/ 763927 w 4519987"/>
                    <a:gd name="connsiteY97" fmla="*/ 3914775 h 4496940"/>
                    <a:gd name="connsiteX98" fmla="*/ 725827 w 4519987"/>
                    <a:gd name="connsiteY98" fmla="*/ 3876675 h 4496940"/>
                    <a:gd name="connsiteX99" fmla="*/ 697252 w 4519987"/>
                    <a:gd name="connsiteY99" fmla="*/ 3838575 h 4496940"/>
                    <a:gd name="connsiteX100" fmla="*/ 640102 w 4519987"/>
                    <a:gd name="connsiteY100" fmla="*/ 3781425 h 4496940"/>
                    <a:gd name="connsiteX101" fmla="*/ 611527 w 4519987"/>
                    <a:gd name="connsiteY101" fmla="*/ 3733800 h 4496940"/>
                    <a:gd name="connsiteX102" fmla="*/ 554377 w 4519987"/>
                    <a:gd name="connsiteY102" fmla="*/ 3657600 h 4496940"/>
                    <a:gd name="connsiteX103" fmla="*/ 525802 w 4519987"/>
                    <a:gd name="connsiteY103" fmla="*/ 3609975 h 4496940"/>
                    <a:gd name="connsiteX104" fmla="*/ 497227 w 4519987"/>
                    <a:gd name="connsiteY104" fmla="*/ 3552825 h 4496940"/>
                    <a:gd name="connsiteX105" fmla="*/ 440077 w 4519987"/>
                    <a:gd name="connsiteY105" fmla="*/ 3495675 h 4496940"/>
                    <a:gd name="connsiteX106" fmla="*/ 411502 w 4519987"/>
                    <a:gd name="connsiteY106" fmla="*/ 3448050 h 4496940"/>
                    <a:gd name="connsiteX107" fmla="*/ 278152 w 4519987"/>
                    <a:gd name="connsiteY107" fmla="*/ 3257550 h 4496940"/>
                    <a:gd name="connsiteX108" fmla="*/ 249577 w 4519987"/>
                    <a:gd name="connsiteY108" fmla="*/ 3200400 h 4496940"/>
                    <a:gd name="connsiteX109" fmla="*/ 240052 w 4519987"/>
                    <a:gd name="connsiteY109" fmla="*/ 3162300 h 4496940"/>
                    <a:gd name="connsiteX110" fmla="*/ 221002 w 4519987"/>
                    <a:gd name="connsiteY110" fmla="*/ 3105150 h 4496940"/>
                    <a:gd name="connsiteX111" fmla="*/ 173377 w 4519987"/>
                    <a:gd name="connsiteY111" fmla="*/ 3019425 h 4496940"/>
                    <a:gd name="connsiteX112" fmla="*/ 144802 w 4519987"/>
                    <a:gd name="connsiteY112" fmla="*/ 2924175 h 4496940"/>
                    <a:gd name="connsiteX113" fmla="*/ 68602 w 4519987"/>
                    <a:gd name="connsiteY113" fmla="*/ 2724150 h 4496940"/>
                    <a:gd name="connsiteX114" fmla="*/ 49552 w 4519987"/>
                    <a:gd name="connsiteY114" fmla="*/ 2638425 h 4496940"/>
                    <a:gd name="connsiteX115" fmla="*/ 40027 w 4519987"/>
                    <a:gd name="connsiteY115" fmla="*/ 2562225 h 4496940"/>
                    <a:gd name="connsiteX116" fmla="*/ 30502 w 4519987"/>
                    <a:gd name="connsiteY116" fmla="*/ 2514600 h 4496940"/>
                    <a:gd name="connsiteX117" fmla="*/ 11452 w 4519987"/>
                    <a:gd name="connsiteY117" fmla="*/ 2400300 h 4496940"/>
                    <a:gd name="connsiteX118" fmla="*/ 20977 w 4519987"/>
                    <a:gd name="connsiteY118" fmla="*/ 1905000 h 4496940"/>
                    <a:gd name="connsiteX119" fmla="*/ 30502 w 4519987"/>
                    <a:gd name="connsiteY119" fmla="*/ 1838325 h 4496940"/>
                    <a:gd name="connsiteX120" fmla="*/ 49552 w 4519987"/>
                    <a:gd name="connsiteY120" fmla="*/ 1781175 h 4496940"/>
                    <a:gd name="connsiteX121" fmla="*/ 59077 w 4519987"/>
                    <a:gd name="connsiteY121" fmla="*/ 1743075 h 4496940"/>
                    <a:gd name="connsiteX122" fmla="*/ 78127 w 4519987"/>
                    <a:gd name="connsiteY122" fmla="*/ 1685925 h 4496940"/>
                    <a:gd name="connsiteX123" fmla="*/ 87652 w 4519987"/>
                    <a:gd name="connsiteY123" fmla="*/ 1638300 h 4496940"/>
                    <a:gd name="connsiteX124" fmla="*/ 106702 w 4519987"/>
                    <a:gd name="connsiteY124" fmla="*/ 1590675 h 4496940"/>
                    <a:gd name="connsiteX125" fmla="*/ 135277 w 4519987"/>
                    <a:gd name="connsiteY125" fmla="*/ 1504950 h 4496940"/>
                    <a:gd name="connsiteX126" fmla="*/ 154327 w 4519987"/>
                    <a:gd name="connsiteY126" fmla="*/ 1419225 h 4496940"/>
                    <a:gd name="connsiteX127" fmla="*/ 230527 w 4519987"/>
                    <a:gd name="connsiteY127" fmla="*/ 1276350 h 4496940"/>
                    <a:gd name="connsiteX128" fmla="*/ 240052 w 4519987"/>
                    <a:gd name="connsiteY128" fmla="*/ 1247775 h 4496940"/>
                    <a:gd name="connsiteX129" fmla="*/ 268627 w 4519987"/>
                    <a:gd name="connsiteY129" fmla="*/ 1200150 h 4496940"/>
                    <a:gd name="connsiteX130" fmla="*/ 287677 w 4519987"/>
                    <a:gd name="connsiteY130" fmla="*/ 1152525 h 4496940"/>
                    <a:gd name="connsiteX131" fmla="*/ 316252 w 4519987"/>
                    <a:gd name="connsiteY131" fmla="*/ 1114425 h 4496940"/>
                    <a:gd name="connsiteX132" fmla="*/ 363877 w 4519987"/>
                    <a:gd name="connsiteY132" fmla="*/ 1038225 h 4496940"/>
                    <a:gd name="connsiteX133" fmla="*/ 382927 w 4519987"/>
                    <a:gd name="connsiteY133" fmla="*/ 1009650 h 4496940"/>
                    <a:gd name="connsiteX134" fmla="*/ 440077 w 4519987"/>
                    <a:gd name="connsiteY134" fmla="*/ 904875 h 4496940"/>
                    <a:gd name="connsiteX135" fmla="*/ 478177 w 4519987"/>
                    <a:gd name="connsiteY135" fmla="*/ 857250 h 4496940"/>
                    <a:gd name="connsiteX136" fmla="*/ 497227 w 4519987"/>
                    <a:gd name="connsiteY136" fmla="*/ 828675 h 4496940"/>
                    <a:gd name="connsiteX137" fmla="*/ 535327 w 4519987"/>
                    <a:gd name="connsiteY137" fmla="*/ 800100 h 4496940"/>
                    <a:gd name="connsiteX138" fmla="*/ 602002 w 4519987"/>
                    <a:gd name="connsiteY138" fmla="*/ 733425 h 4496940"/>
                    <a:gd name="connsiteX139" fmla="*/ 668677 w 4519987"/>
                    <a:gd name="connsiteY139" fmla="*/ 676275 h 4496940"/>
                    <a:gd name="connsiteX140" fmla="*/ 697252 w 4519987"/>
                    <a:gd name="connsiteY140" fmla="*/ 657225 h 4496940"/>
                    <a:gd name="connsiteX141" fmla="*/ 840127 w 4519987"/>
                    <a:gd name="connsiteY141" fmla="*/ 533400 h 4496940"/>
                    <a:gd name="connsiteX142" fmla="*/ 887752 w 4519987"/>
                    <a:gd name="connsiteY142" fmla="*/ 504825 h 4496940"/>
                    <a:gd name="connsiteX143" fmla="*/ 1167152 w 4519987"/>
                    <a:gd name="connsiteY143" fmla="*/ 311150 h 4496940"/>
                    <a:gd name="connsiteX144" fmla="*/ 1268752 w 4519987"/>
                    <a:gd name="connsiteY144" fmla="*/ 285750 h 4496940"/>
                    <a:gd name="connsiteX145" fmla="*/ 1411627 w 4519987"/>
                    <a:gd name="connsiteY145" fmla="*/ 190500 h 4496940"/>
                    <a:gd name="connsiteX146" fmla="*/ 1449727 w 4519987"/>
                    <a:gd name="connsiteY146" fmla="*/ 161925 h 4496940"/>
                    <a:gd name="connsiteX147" fmla="*/ 1525927 w 4519987"/>
                    <a:gd name="connsiteY147" fmla="*/ 152400 h 4496940"/>
                    <a:gd name="connsiteX148" fmla="*/ 1583077 w 4519987"/>
                    <a:gd name="connsiteY148" fmla="*/ 142875 h 4496940"/>
                    <a:gd name="connsiteX149" fmla="*/ 1716427 w 4519987"/>
                    <a:gd name="connsiteY149" fmla="*/ 123825 h 4496940"/>
                    <a:gd name="connsiteX150" fmla="*/ 1811677 w 4519987"/>
                    <a:gd name="connsiteY150" fmla="*/ 114300 h 4496940"/>
                    <a:gd name="connsiteX151" fmla="*/ 1859302 w 4519987"/>
                    <a:gd name="connsiteY151" fmla="*/ 104775 h 4496940"/>
                    <a:gd name="connsiteX152" fmla="*/ 1916452 w 4519987"/>
                    <a:gd name="connsiteY152" fmla="*/ 95250 h 4496940"/>
                    <a:gd name="connsiteX153" fmla="*/ 2030752 w 4519987"/>
                    <a:gd name="connsiteY153" fmla="*/ 66675 h 4496940"/>
                    <a:gd name="connsiteX154" fmla="*/ 2097427 w 4519987"/>
                    <a:gd name="connsiteY154" fmla="*/ 47625 h 4496940"/>
                    <a:gd name="connsiteX155" fmla="*/ 2164102 w 4519987"/>
                    <a:gd name="connsiteY155" fmla="*/ 38100 h 4496940"/>
                    <a:gd name="connsiteX156" fmla="*/ 2392702 w 4519987"/>
                    <a:gd name="connsiteY15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35777 w 4519987"/>
                    <a:gd name="connsiteY29" fmla="*/ 933450 h 4496940"/>
                    <a:gd name="connsiteX30" fmla="*/ 4164352 w 4519987"/>
                    <a:gd name="connsiteY30" fmla="*/ 990600 h 4496940"/>
                    <a:gd name="connsiteX31" fmla="*/ 4173877 w 4519987"/>
                    <a:gd name="connsiteY31" fmla="*/ 1019175 h 4496940"/>
                    <a:gd name="connsiteX32" fmla="*/ 4192927 w 4519987"/>
                    <a:gd name="connsiteY32" fmla="*/ 1057275 h 4496940"/>
                    <a:gd name="connsiteX33" fmla="*/ 4202452 w 4519987"/>
                    <a:gd name="connsiteY33" fmla="*/ 1085850 h 4496940"/>
                    <a:gd name="connsiteX34" fmla="*/ 4250077 w 4519987"/>
                    <a:gd name="connsiteY34" fmla="*/ 1143000 h 4496940"/>
                    <a:gd name="connsiteX35" fmla="*/ 4259602 w 4519987"/>
                    <a:gd name="connsiteY35" fmla="*/ 1190625 h 4496940"/>
                    <a:gd name="connsiteX36" fmla="*/ 4307227 w 4519987"/>
                    <a:gd name="connsiteY36" fmla="*/ 1266825 h 4496940"/>
                    <a:gd name="connsiteX37" fmla="*/ 4345327 w 4519987"/>
                    <a:gd name="connsiteY37" fmla="*/ 1362075 h 4496940"/>
                    <a:gd name="connsiteX38" fmla="*/ 4373902 w 4519987"/>
                    <a:gd name="connsiteY38" fmla="*/ 1428750 h 4496940"/>
                    <a:gd name="connsiteX39" fmla="*/ 4392952 w 4519987"/>
                    <a:gd name="connsiteY39" fmla="*/ 1552575 h 4496940"/>
                    <a:gd name="connsiteX40" fmla="*/ 4402477 w 4519987"/>
                    <a:gd name="connsiteY40" fmla="*/ 1590675 h 4496940"/>
                    <a:gd name="connsiteX41" fmla="*/ 4431052 w 4519987"/>
                    <a:gd name="connsiteY41" fmla="*/ 1685925 h 4496940"/>
                    <a:gd name="connsiteX42" fmla="*/ 4519952 w 4519987"/>
                    <a:gd name="connsiteY42" fmla="*/ 2181225 h 4496940"/>
                    <a:gd name="connsiteX43" fmla="*/ 4446927 w 4519987"/>
                    <a:gd name="connsiteY43" fmla="*/ 2768600 h 4496940"/>
                    <a:gd name="connsiteX44" fmla="*/ 4383427 w 4519987"/>
                    <a:gd name="connsiteY44" fmla="*/ 2990850 h 4496940"/>
                    <a:gd name="connsiteX45" fmla="*/ 4278652 w 4519987"/>
                    <a:gd name="connsiteY45" fmla="*/ 3248025 h 4496940"/>
                    <a:gd name="connsiteX46" fmla="*/ 4259602 w 4519987"/>
                    <a:gd name="connsiteY46" fmla="*/ 3276600 h 4496940"/>
                    <a:gd name="connsiteX47" fmla="*/ 4221502 w 4519987"/>
                    <a:gd name="connsiteY47" fmla="*/ 3333750 h 4496940"/>
                    <a:gd name="connsiteX48" fmla="*/ 4211977 w 4519987"/>
                    <a:gd name="connsiteY48" fmla="*/ 3362325 h 4496940"/>
                    <a:gd name="connsiteX49" fmla="*/ 4183402 w 4519987"/>
                    <a:gd name="connsiteY49" fmla="*/ 3400425 h 4496940"/>
                    <a:gd name="connsiteX50" fmla="*/ 4164352 w 4519987"/>
                    <a:gd name="connsiteY50" fmla="*/ 3429000 h 4496940"/>
                    <a:gd name="connsiteX51" fmla="*/ 4088152 w 4519987"/>
                    <a:gd name="connsiteY51" fmla="*/ 3495675 h 4496940"/>
                    <a:gd name="connsiteX52" fmla="*/ 4059577 w 4519987"/>
                    <a:gd name="connsiteY52" fmla="*/ 3533775 h 4496940"/>
                    <a:gd name="connsiteX53" fmla="*/ 4002427 w 4519987"/>
                    <a:gd name="connsiteY53" fmla="*/ 3600450 h 4496940"/>
                    <a:gd name="connsiteX54" fmla="*/ 3983377 w 4519987"/>
                    <a:gd name="connsiteY54" fmla="*/ 3629025 h 4496940"/>
                    <a:gd name="connsiteX55" fmla="*/ 3954802 w 4519987"/>
                    <a:gd name="connsiteY55" fmla="*/ 3648075 h 4496940"/>
                    <a:gd name="connsiteX56" fmla="*/ 3907177 w 4519987"/>
                    <a:gd name="connsiteY56" fmla="*/ 3686175 h 4496940"/>
                    <a:gd name="connsiteX57" fmla="*/ 3869077 w 4519987"/>
                    <a:gd name="connsiteY57" fmla="*/ 3724275 h 4496940"/>
                    <a:gd name="connsiteX58" fmla="*/ 3792877 w 4519987"/>
                    <a:gd name="connsiteY58" fmla="*/ 3781425 h 4496940"/>
                    <a:gd name="connsiteX59" fmla="*/ 3783352 w 4519987"/>
                    <a:gd name="connsiteY59" fmla="*/ 3810000 h 4496940"/>
                    <a:gd name="connsiteX60" fmla="*/ 3745252 w 4519987"/>
                    <a:gd name="connsiteY60" fmla="*/ 3819525 h 4496940"/>
                    <a:gd name="connsiteX61" fmla="*/ 3678577 w 4519987"/>
                    <a:gd name="connsiteY61" fmla="*/ 3848100 h 4496940"/>
                    <a:gd name="connsiteX62" fmla="*/ 3659527 w 4519987"/>
                    <a:gd name="connsiteY62" fmla="*/ 3971925 h 4496940"/>
                    <a:gd name="connsiteX63" fmla="*/ 3630952 w 4519987"/>
                    <a:gd name="connsiteY63" fmla="*/ 4010025 h 4496940"/>
                    <a:gd name="connsiteX64" fmla="*/ 3621427 w 4519987"/>
                    <a:gd name="connsiteY64" fmla="*/ 4038600 h 4496940"/>
                    <a:gd name="connsiteX65" fmla="*/ 3554752 w 4519987"/>
                    <a:gd name="connsiteY65" fmla="*/ 4095750 h 4496940"/>
                    <a:gd name="connsiteX66" fmla="*/ 3516652 w 4519987"/>
                    <a:gd name="connsiteY66" fmla="*/ 4114800 h 4496940"/>
                    <a:gd name="connsiteX67" fmla="*/ 3497602 w 4519987"/>
                    <a:gd name="connsiteY67" fmla="*/ 4143375 h 4496940"/>
                    <a:gd name="connsiteX68" fmla="*/ 3383302 w 4519987"/>
                    <a:gd name="connsiteY68" fmla="*/ 4210050 h 4496940"/>
                    <a:gd name="connsiteX69" fmla="*/ 3335677 w 4519987"/>
                    <a:gd name="connsiteY69" fmla="*/ 4238625 h 4496940"/>
                    <a:gd name="connsiteX70" fmla="*/ 3288052 w 4519987"/>
                    <a:gd name="connsiteY70" fmla="*/ 4248150 h 4496940"/>
                    <a:gd name="connsiteX71" fmla="*/ 3240427 w 4519987"/>
                    <a:gd name="connsiteY71" fmla="*/ 4267200 h 4496940"/>
                    <a:gd name="connsiteX72" fmla="*/ 3068977 w 4519987"/>
                    <a:gd name="connsiteY72" fmla="*/ 4286250 h 4496940"/>
                    <a:gd name="connsiteX73" fmla="*/ 2935627 w 4519987"/>
                    <a:gd name="connsiteY73" fmla="*/ 4333875 h 4496940"/>
                    <a:gd name="connsiteX74" fmla="*/ 2811802 w 4519987"/>
                    <a:gd name="connsiteY74" fmla="*/ 4371975 h 4496940"/>
                    <a:gd name="connsiteX75" fmla="*/ 2745127 w 4519987"/>
                    <a:gd name="connsiteY75" fmla="*/ 4410075 h 4496940"/>
                    <a:gd name="connsiteX76" fmla="*/ 2697502 w 4519987"/>
                    <a:gd name="connsiteY76" fmla="*/ 4429125 h 4496940"/>
                    <a:gd name="connsiteX77" fmla="*/ 2640352 w 4519987"/>
                    <a:gd name="connsiteY77" fmla="*/ 4457700 h 4496940"/>
                    <a:gd name="connsiteX78" fmla="*/ 2583202 w 4519987"/>
                    <a:gd name="connsiteY78" fmla="*/ 4467225 h 4496940"/>
                    <a:gd name="connsiteX79" fmla="*/ 2545102 w 4519987"/>
                    <a:gd name="connsiteY79" fmla="*/ 4486275 h 4496940"/>
                    <a:gd name="connsiteX80" fmla="*/ 2306977 w 4519987"/>
                    <a:gd name="connsiteY80" fmla="*/ 4476750 h 4496940"/>
                    <a:gd name="connsiteX81" fmla="*/ 2202202 w 4519987"/>
                    <a:gd name="connsiteY81" fmla="*/ 4457700 h 4496940"/>
                    <a:gd name="connsiteX82" fmla="*/ 2126002 w 4519987"/>
                    <a:gd name="connsiteY82" fmla="*/ 4429125 h 4496940"/>
                    <a:gd name="connsiteX83" fmla="*/ 1935502 w 4519987"/>
                    <a:gd name="connsiteY83" fmla="*/ 4400550 h 4496940"/>
                    <a:gd name="connsiteX84" fmla="*/ 1821202 w 4519987"/>
                    <a:gd name="connsiteY84" fmla="*/ 4371975 h 4496940"/>
                    <a:gd name="connsiteX85" fmla="*/ 1754527 w 4519987"/>
                    <a:gd name="connsiteY85" fmla="*/ 4352925 h 4496940"/>
                    <a:gd name="connsiteX86" fmla="*/ 1687852 w 4519987"/>
                    <a:gd name="connsiteY86" fmla="*/ 4343400 h 4496940"/>
                    <a:gd name="connsiteX87" fmla="*/ 1573552 w 4519987"/>
                    <a:gd name="connsiteY87" fmla="*/ 4305300 h 4496940"/>
                    <a:gd name="connsiteX88" fmla="*/ 1402102 w 4519987"/>
                    <a:gd name="connsiteY88" fmla="*/ 4276725 h 4496940"/>
                    <a:gd name="connsiteX89" fmla="*/ 1287802 w 4519987"/>
                    <a:gd name="connsiteY89" fmla="*/ 4229100 h 4496940"/>
                    <a:gd name="connsiteX90" fmla="*/ 1221127 w 4519987"/>
                    <a:gd name="connsiteY90" fmla="*/ 4200525 h 4496940"/>
                    <a:gd name="connsiteX91" fmla="*/ 1144927 w 4519987"/>
                    <a:gd name="connsiteY91" fmla="*/ 4171950 h 4496940"/>
                    <a:gd name="connsiteX92" fmla="*/ 1087777 w 4519987"/>
                    <a:gd name="connsiteY92" fmla="*/ 4143375 h 4496940"/>
                    <a:gd name="connsiteX93" fmla="*/ 1030627 w 4519987"/>
                    <a:gd name="connsiteY93" fmla="*/ 4124325 h 4496940"/>
                    <a:gd name="connsiteX94" fmla="*/ 925852 w 4519987"/>
                    <a:gd name="connsiteY94" fmla="*/ 4067175 h 4496940"/>
                    <a:gd name="connsiteX95" fmla="*/ 830602 w 4519987"/>
                    <a:gd name="connsiteY95" fmla="*/ 3981450 h 4496940"/>
                    <a:gd name="connsiteX96" fmla="*/ 763927 w 4519987"/>
                    <a:gd name="connsiteY96" fmla="*/ 3914775 h 4496940"/>
                    <a:gd name="connsiteX97" fmla="*/ 725827 w 4519987"/>
                    <a:gd name="connsiteY97" fmla="*/ 3876675 h 4496940"/>
                    <a:gd name="connsiteX98" fmla="*/ 697252 w 4519987"/>
                    <a:gd name="connsiteY98" fmla="*/ 3838575 h 4496940"/>
                    <a:gd name="connsiteX99" fmla="*/ 640102 w 4519987"/>
                    <a:gd name="connsiteY99" fmla="*/ 3781425 h 4496940"/>
                    <a:gd name="connsiteX100" fmla="*/ 611527 w 4519987"/>
                    <a:gd name="connsiteY100" fmla="*/ 3733800 h 4496940"/>
                    <a:gd name="connsiteX101" fmla="*/ 554377 w 4519987"/>
                    <a:gd name="connsiteY101" fmla="*/ 3657600 h 4496940"/>
                    <a:gd name="connsiteX102" fmla="*/ 525802 w 4519987"/>
                    <a:gd name="connsiteY102" fmla="*/ 3609975 h 4496940"/>
                    <a:gd name="connsiteX103" fmla="*/ 497227 w 4519987"/>
                    <a:gd name="connsiteY103" fmla="*/ 3552825 h 4496940"/>
                    <a:gd name="connsiteX104" fmla="*/ 440077 w 4519987"/>
                    <a:gd name="connsiteY104" fmla="*/ 3495675 h 4496940"/>
                    <a:gd name="connsiteX105" fmla="*/ 411502 w 4519987"/>
                    <a:gd name="connsiteY105" fmla="*/ 3448050 h 4496940"/>
                    <a:gd name="connsiteX106" fmla="*/ 278152 w 4519987"/>
                    <a:gd name="connsiteY106" fmla="*/ 3257550 h 4496940"/>
                    <a:gd name="connsiteX107" fmla="*/ 249577 w 4519987"/>
                    <a:gd name="connsiteY107" fmla="*/ 3200400 h 4496940"/>
                    <a:gd name="connsiteX108" fmla="*/ 240052 w 4519987"/>
                    <a:gd name="connsiteY108" fmla="*/ 3162300 h 4496940"/>
                    <a:gd name="connsiteX109" fmla="*/ 221002 w 4519987"/>
                    <a:gd name="connsiteY109" fmla="*/ 3105150 h 4496940"/>
                    <a:gd name="connsiteX110" fmla="*/ 173377 w 4519987"/>
                    <a:gd name="connsiteY110" fmla="*/ 3019425 h 4496940"/>
                    <a:gd name="connsiteX111" fmla="*/ 144802 w 4519987"/>
                    <a:gd name="connsiteY111" fmla="*/ 2924175 h 4496940"/>
                    <a:gd name="connsiteX112" fmla="*/ 68602 w 4519987"/>
                    <a:gd name="connsiteY112" fmla="*/ 2724150 h 4496940"/>
                    <a:gd name="connsiteX113" fmla="*/ 49552 w 4519987"/>
                    <a:gd name="connsiteY113" fmla="*/ 2638425 h 4496940"/>
                    <a:gd name="connsiteX114" fmla="*/ 40027 w 4519987"/>
                    <a:gd name="connsiteY114" fmla="*/ 2562225 h 4496940"/>
                    <a:gd name="connsiteX115" fmla="*/ 30502 w 4519987"/>
                    <a:gd name="connsiteY115" fmla="*/ 2514600 h 4496940"/>
                    <a:gd name="connsiteX116" fmla="*/ 11452 w 4519987"/>
                    <a:gd name="connsiteY116" fmla="*/ 2400300 h 4496940"/>
                    <a:gd name="connsiteX117" fmla="*/ 20977 w 4519987"/>
                    <a:gd name="connsiteY117" fmla="*/ 1905000 h 4496940"/>
                    <a:gd name="connsiteX118" fmla="*/ 30502 w 4519987"/>
                    <a:gd name="connsiteY118" fmla="*/ 1838325 h 4496940"/>
                    <a:gd name="connsiteX119" fmla="*/ 49552 w 4519987"/>
                    <a:gd name="connsiteY119" fmla="*/ 1781175 h 4496940"/>
                    <a:gd name="connsiteX120" fmla="*/ 59077 w 4519987"/>
                    <a:gd name="connsiteY120" fmla="*/ 1743075 h 4496940"/>
                    <a:gd name="connsiteX121" fmla="*/ 78127 w 4519987"/>
                    <a:gd name="connsiteY121" fmla="*/ 1685925 h 4496940"/>
                    <a:gd name="connsiteX122" fmla="*/ 87652 w 4519987"/>
                    <a:gd name="connsiteY122" fmla="*/ 1638300 h 4496940"/>
                    <a:gd name="connsiteX123" fmla="*/ 106702 w 4519987"/>
                    <a:gd name="connsiteY123" fmla="*/ 1590675 h 4496940"/>
                    <a:gd name="connsiteX124" fmla="*/ 135277 w 4519987"/>
                    <a:gd name="connsiteY124" fmla="*/ 1504950 h 4496940"/>
                    <a:gd name="connsiteX125" fmla="*/ 154327 w 4519987"/>
                    <a:gd name="connsiteY125" fmla="*/ 1419225 h 4496940"/>
                    <a:gd name="connsiteX126" fmla="*/ 230527 w 4519987"/>
                    <a:gd name="connsiteY126" fmla="*/ 1276350 h 4496940"/>
                    <a:gd name="connsiteX127" fmla="*/ 240052 w 4519987"/>
                    <a:gd name="connsiteY127" fmla="*/ 1247775 h 4496940"/>
                    <a:gd name="connsiteX128" fmla="*/ 268627 w 4519987"/>
                    <a:gd name="connsiteY128" fmla="*/ 1200150 h 4496940"/>
                    <a:gd name="connsiteX129" fmla="*/ 287677 w 4519987"/>
                    <a:gd name="connsiteY129" fmla="*/ 1152525 h 4496940"/>
                    <a:gd name="connsiteX130" fmla="*/ 316252 w 4519987"/>
                    <a:gd name="connsiteY130" fmla="*/ 1114425 h 4496940"/>
                    <a:gd name="connsiteX131" fmla="*/ 363877 w 4519987"/>
                    <a:gd name="connsiteY131" fmla="*/ 1038225 h 4496940"/>
                    <a:gd name="connsiteX132" fmla="*/ 382927 w 4519987"/>
                    <a:gd name="connsiteY132" fmla="*/ 1009650 h 4496940"/>
                    <a:gd name="connsiteX133" fmla="*/ 440077 w 4519987"/>
                    <a:gd name="connsiteY133" fmla="*/ 904875 h 4496940"/>
                    <a:gd name="connsiteX134" fmla="*/ 478177 w 4519987"/>
                    <a:gd name="connsiteY134" fmla="*/ 857250 h 4496940"/>
                    <a:gd name="connsiteX135" fmla="*/ 497227 w 4519987"/>
                    <a:gd name="connsiteY135" fmla="*/ 828675 h 4496940"/>
                    <a:gd name="connsiteX136" fmla="*/ 535327 w 4519987"/>
                    <a:gd name="connsiteY136" fmla="*/ 800100 h 4496940"/>
                    <a:gd name="connsiteX137" fmla="*/ 602002 w 4519987"/>
                    <a:gd name="connsiteY137" fmla="*/ 733425 h 4496940"/>
                    <a:gd name="connsiteX138" fmla="*/ 668677 w 4519987"/>
                    <a:gd name="connsiteY138" fmla="*/ 676275 h 4496940"/>
                    <a:gd name="connsiteX139" fmla="*/ 697252 w 4519987"/>
                    <a:gd name="connsiteY139" fmla="*/ 657225 h 4496940"/>
                    <a:gd name="connsiteX140" fmla="*/ 840127 w 4519987"/>
                    <a:gd name="connsiteY140" fmla="*/ 533400 h 4496940"/>
                    <a:gd name="connsiteX141" fmla="*/ 887752 w 4519987"/>
                    <a:gd name="connsiteY141" fmla="*/ 504825 h 4496940"/>
                    <a:gd name="connsiteX142" fmla="*/ 1167152 w 4519987"/>
                    <a:gd name="connsiteY142" fmla="*/ 311150 h 4496940"/>
                    <a:gd name="connsiteX143" fmla="*/ 1268752 w 4519987"/>
                    <a:gd name="connsiteY143" fmla="*/ 285750 h 4496940"/>
                    <a:gd name="connsiteX144" fmla="*/ 1411627 w 4519987"/>
                    <a:gd name="connsiteY144" fmla="*/ 190500 h 4496940"/>
                    <a:gd name="connsiteX145" fmla="*/ 1449727 w 4519987"/>
                    <a:gd name="connsiteY145" fmla="*/ 161925 h 4496940"/>
                    <a:gd name="connsiteX146" fmla="*/ 1525927 w 4519987"/>
                    <a:gd name="connsiteY146" fmla="*/ 152400 h 4496940"/>
                    <a:gd name="connsiteX147" fmla="*/ 1583077 w 4519987"/>
                    <a:gd name="connsiteY147" fmla="*/ 142875 h 4496940"/>
                    <a:gd name="connsiteX148" fmla="*/ 1716427 w 4519987"/>
                    <a:gd name="connsiteY148" fmla="*/ 123825 h 4496940"/>
                    <a:gd name="connsiteX149" fmla="*/ 1811677 w 4519987"/>
                    <a:gd name="connsiteY149" fmla="*/ 114300 h 4496940"/>
                    <a:gd name="connsiteX150" fmla="*/ 1859302 w 4519987"/>
                    <a:gd name="connsiteY150" fmla="*/ 104775 h 4496940"/>
                    <a:gd name="connsiteX151" fmla="*/ 1916452 w 4519987"/>
                    <a:gd name="connsiteY151" fmla="*/ 95250 h 4496940"/>
                    <a:gd name="connsiteX152" fmla="*/ 2030752 w 4519987"/>
                    <a:gd name="connsiteY152" fmla="*/ 66675 h 4496940"/>
                    <a:gd name="connsiteX153" fmla="*/ 2097427 w 4519987"/>
                    <a:gd name="connsiteY153" fmla="*/ 47625 h 4496940"/>
                    <a:gd name="connsiteX154" fmla="*/ 2164102 w 4519987"/>
                    <a:gd name="connsiteY154" fmla="*/ 38100 h 4496940"/>
                    <a:gd name="connsiteX155" fmla="*/ 2392702 w 4519987"/>
                    <a:gd name="connsiteY15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907177 w 4519987"/>
                    <a:gd name="connsiteY25" fmla="*/ 647700 h 4496940"/>
                    <a:gd name="connsiteX26" fmla="*/ 3935752 w 4519987"/>
                    <a:gd name="connsiteY26" fmla="*/ 676275 h 4496940"/>
                    <a:gd name="connsiteX27" fmla="*/ 4078627 w 4519987"/>
                    <a:gd name="connsiteY27" fmla="*/ 838200 h 4496940"/>
                    <a:gd name="connsiteX28" fmla="*/ 4135777 w 4519987"/>
                    <a:gd name="connsiteY28" fmla="*/ 933450 h 4496940"/>
                    <a:gd name="connsiteX29" fmla="*/ 4164352 w 4519987"/>
                    <a:gd name="connsiteY29" fmla="*/ 990600 h 4496940"/>
                    <a:gd name="connsiteX30" fmla="*/ 4173877 w 4519987"/>
                    <a:gd name="connsiteY30" fmla="*/ 1019175 h 4496940"/>
                    <a:gd name="connsiteX31" fmla="*/ 4192927 w 4519987"/>
                    <a:gd name="connsiteY31" fmla="*/ 1057275 h 4496940"/>
                    <a:gd name="connsiteX32" fmla="*/ 4202452 w 4519987"/>
                    <a:gd name="connsiteY32" fmla="*/ 1085850 h 4496940"/>
                    <a:gd name="connsiteX33" fmla="*/ 4250077 w 4519987"/>
                    <a:gd name="connsiteY33" fmla="*/ 1143000 h 4496940"/>
                    <a:gd name="connsiteX34" fmla="*/ 4259602 w 4519987"/>
                    <a:gd name="connsiteY34" fmla="*/ 1190625 h 4496940"/>
                    <a:gd name="connsiteX35" fmla="*/ 4307227 w 4519987"/>
                    <a:gd name="connsiteY35" fmla="*/ 1266825 h 4496940"/>
                    <a:gd name="connsiteX36" fmla="*/ 4345327 w 4519987"/>
                    <a:gd name="connsiteY36" fmla="*/ 1362075 h 4496940"/>
                    <a:gd name="connsiteX37" fmla="*/ 4373902 w 4519987"/>
                    <a:gd name="connsiteY37" fmla="*/ 1428750 h 4496940"/>
                    <a:gd name="connsiteX38" fmla="*/ 4392952 w 4519987"/>
                    <a:gd name="connsiteY38" fmla="*/ 1552575 h 4496940"/>
                    <a:gd name="connsiteX39" fmla="*/ 4402477 w 4519987"/>
                    <a:gd name="connsiteY39" fmla="*/ 1590675 h 4496940"/>
                    <a:gd name="connsiteX40" fmla="*/ 4431052 w 4519987"/>
                    <a:gd name="connsiteY40" fmla="*/ 1685925 h 4496940"/>
                    <a:gd name="connsiteX41" fmla="*/ 4519952 w 4519987"/>
                    <a:gd name="connsiteY41" fmla="*/ 2181225 h 4496940"/>
                    <a:gd name="connsiteX42" fmla="*/ 4446927 w 4519987"/>
                    <a:gd name="connsiteY42" fmla="*/ 2768600 h 4496940"/>
                    <a:gd name="connsiteX43" fmla="*/ 4383427 w 4519987"/>
                    <a:gd name="connsiteY43" fmla="*/ 2990850 h 4496940"/>
                    <a:gd name="connsiteX44" fmla="*/ 4278652 w 4519987"/>
                    <a:gd name="connsiteY44" fmla="*/ 3248025 h 4496940"/>
                    <a:gd name="connsiteX45" fmla="*/ 4259602 w 4519987"/>
                    <a:gd name="connsiteY45" fmla="*/ 3276600 h 4496940"/>
                    <a:gd name="connsiteX46" fmla="*/ 4221502 w 4519987"/>
                    <a:gd name="connsiteY46" fmla="*/ 3333750 h 4496940"/>
                    <a:gd name="connsiteX47" fmla="*/ 4211977 w 4519987"/>
                    <a:gd name="connsiteY47" fmla="*/ 3362325 h 4496940"/>
                    <a:gd name="connsiteX48" fmla="*/ 4183402 w 4519987"/>
                    <a:gd name="connsiteY48" fmla="*/ 3400425 h 4496940"/>
                    <a:gd name="connsiteX49" fmla="*/ 4164352 w 4519987"/>
                    <a:gd name="connsiteY49" fmla="*/ 3429000 h 4496940"/>
                    <a:gd name="connsiteX50" fmla="*/ 4088152 w 4519987"/>
                    <a:gd name="connsiteY50" fmla="*/ 3495675 h 4496940"/>
                    <a:gd name="connsiteX51" fmla="*/ 4059577 w 4519987"/>
                    <a:gd name="connsiteY51" fmla="*/ 3533775 h 4496940"/>
                    <a:gd name="connsiteX52" fmla="*/ 4002427 w 4519987"/>
                    <a:gd name="connsiteY52" fmla="*/ 3600450 h 4496940"/>
                    <a:gd name="connsiteX53" fmla="*/ 3983377 w 4519987"/>
                    <a:gd name="connsiteY53" fmla="*/ 3629025 h 4496940"/>
                    <a:gd name="connsiteX54" fmla="*/ 3954802 w 4519987"/>
                    <a:gd name="connsiteY54" fmla="*/ 3648075 h 4496940"/>
                    <a:gd name="connsiteX55" fmla="*/ 3907177 w 4519987"/>
                    <a:gd name="connsiteY55" fmla="*/ 3686175 h 4496940"/>
                    <a:gd name="connsiteX56" fmla="*/ 3869077 w 4519987"/>
                    <a:gd name="connsiteY56" fmla="*/ 3724275 h 4496940"/>
                    <a:gd name="connsiteX57" fmla="*/ 3792877 w 4519987"/>
                    <a:gd name="connsiteY57" fmla="*/ 3781425 h 4496940"/>
                    <a:gd name="connsiteX58" fmla="*/ 3783352 w 4519987"/>
                    <a:gd name="connsiteY58" fmla="*/ 3810000 h 4496940"/>
                    <a:gd name="connsiteX59" fmla="*/ 3745252 w 4519987"/>
                    <a:gd name="connsiteY59" fmla="*/ 3819525 h 4496940"/>
                    <a:gd name="connsiteX60" fmla="*/ 3678577 w 4519987"/>
                    <a:gd name="connsiteY60" fmla="*/ 3848100 h 4496940"/>
                    <a:gd name="connsiteX61" fmla="*/ 3659527 w 4519987"/>
                    <a:gd name="connsiteY61" fmla="*/ 3971925 h 4496940"/>
                    <a:gd name="connsiteX62" fmla="*/ 3630952 w 4519987"/>
                    <a:gd name="connsiteY62" fmla="*/ 4010025 h 4496940"/>
                    <a:gd name="connsiteX63" fmla="*/ 3621427 w 4519987"/>
                    <a:gd name="connsiteY63" fmla="*/ 4038600 h 4496940"/>
                    <a:gd name="connsiteX64" fmla="*/ 3554752 w 4519987"/>
                    <a:gd name="connsiteY64" fmla="*/ 4095750 h 4496940"/>
                    <a:gd name="connsiteX65" fmla="*/ 3516652 w 4519987"/>
                    <a:gd name="connsiteY65" fmla="*/ 4114800 h 4496940"/>
                    <a:gd name="connsiteX66" fmla="*/ 3497602 w 4519987"/>
                    <a:gd name="connsiteY66" fmla="*/ 4143375 h 4496940"/>
                    <a:gd name="connsiteX67" fmla="*/ 3383302 w 4519987"/>
                    <a:gd name="connsiteY67" fmla="*/ 4210050 h 4496940"/>
                    <a:gd name="connsiteX68" fmla="*/ 3335677 w 4519987"/>
                    <a:gd name="connsiteY68" fmla="*/ 4238625 h 4496940"/>
                    <a:gd name="connsiteX69" fmla="*/ 3288052 w 4519987"/>
                    <a:gd name="connsiteY69" fmla="*/ 4248150 h 4496940"/>
                    <a:gd name="connsiteX70" fmla="*/ 3240427 w 4519987"/>
                    <a:gd name="connsiteY70" fmla="*/ 4267200 h 4496940"/>
                    <a:gd name="connsiteX71" fmla="*/ 3068977 w 4519987"/>
                    <a:gd name="connsiteY71" fmla="*/ 4286250 h 4496940"/>
                    <a:gd name="connsiteX72" fmla="*/ 2935627 w 4519987"/>
                    <a:gd name="connsiteY72" fmla="*/ 4333875 h 4496940"/>
                    <a:gd name="connsiteX73" fmla="*/ 2811802 w 4519987"/>
                    <a:gd name="connsiteY73" fmla="*/ 4371975 h 4496940"/>
                    <a:gd name="connsiteX74" fmla="*/ 2745127 w 4519987"/>
                    <a:gd name="connsiteY74" fmla="*/ 4410075 h 4496940"/>
                    <a:gd name="connsiteX75" fmla="*/ 2697502 w 4519987"/>
                    <a:gd name="connsiteY75" fmla="*/ 4429125 h 4496940"/>
                    <a:gd name="connsiteX76" fmla="*/ 2640352 w 4519987"/>
                    <a:gd name="connsiteY76" fmla="*/ 4457700 h 4496940"/>
                    <a:gd name="connsiteX77" fmla="*/ 2583202 w 4519987"/>
                    <a:gd name="connsiteY77" fmla="*/ 4467225 h 4496940"/>
                    <a:gd name="connsiteX78" fmla="*/ 2545102 w 4519987"/>
                    <a:gd name="connsiteY78" fmla="*/ 4486275 h 4496940"/>
                    <a:gd name="connsiteX79" fmla="*/ 2306977 w 4519987"/>
                    <a:gd name="connsiteY79" fmla="*/ 4476750 h 4496940"/>
                    <a:gd name="connsiteX80" fmla="*/ 2202202 w 4519987"/>
                    <a:gd name="connsiteY80" fmla="*/ 4457700 h 4496940"/>
                    <a:gd name="connsiteX81" fmla="*/ 2126002 w 4519987"/>
                    <a:gd name="connsiteY81" fmla="*/ 4429125 h 4496940"/>
                    <a:gd name="connsiteX82" fmla="*/ 1935502 w 4519987"/>
                    <a:gd name="connsiteY82" fmla="*/ 4400550 h 4496940"/>
                    <a:gd name="connsiteX83" fmla="*/ 1821202 w 4519987"/>
                    <a:gd name="connsiteY83" fmla="*/ 4371975 h 4496940"/>
                    <a:gd name="connsiteX84" fmla="*/ 1754527 w 4519987"/>
                    <a:gd name="connsiteY84" fmla="*/ 4352925 h 4496940"/>
                    <a:gd name="connsiteX85" fmla="*/ 1687852 w 4519987"/>
                    <a:gd name="connsiteY85" fmla="*/ 4343400 h 4496940"/>
                    <a:gd name="connsiteX86" fmla="*/ 1573552 w 4519987"/>
                    <a:gd name="connsiteY86" fmla="*/ 4305300 h 4496940"/>
                    <a:gd name="connsiteX87" fmla="*/ 1402102 w 4519987"/>
                    <a:gd name="connsiteY87" fmla="*/ 4276725 h 4496940"/>
                    <a:gd name="connsiteX88" fmla="*/ 1287802 w 4519987"/>
                    <a:gd name="connsiteY88" fmla="*/ 4229100 h 4496940"/>
                    <a:gd name="connsiteX89" fmla="*/ 1221127 w 4519987"/>
                    <a:gd name="connsiteY89" fmla="*/ 4200525 h 4496940"/>
                    <a:gd name="connsiteX90" fmla="*/ 1144927 w 4519987"/>
                    <a:gd name="connsiteY90" fmla="*/ 4171950 h 4496940"/>
                    <a:gd name="connsiteX91" fmla="*/ 1087777 w 4519987"/>
                    <a:gd name="connsiteY91" fmla="*/ 4143375 h 4496940"/>
                    <a:gd name="connsiteX92" fmla="*/ 1030627 w 4519987"/>
                    <a:gd name="connsiteY92" fmla="*/ 4124325 h 4496940"/>
                    <a:gd name="connsiteX93" fmla="*/ 925852 w 4519987"/>
                    <a:gd name="connsiteY93" fmla="*/ 4067175 h 4496940"/>
                    <a:gd name="connsiteX94" fmla="*/ 830602 w 4519987"/>
                    <a:gd name="connsiteY94" fmla="*/ 3981450 h 4496940"/>
                    <a:gd name="connsiteX95" fmla="*/ 763927 w 4519987"/>
                    <a:gd name="connsiteY95" fmla="*/ 3914775 h 4496940"/>
                    <a:gd name="connsiteX96" fmla="*/ 725827 w 4519987"/>
                    <a:gd name="connsiteY96" fmla="*/ 3876675 h 4496940"/>
                    <a:gd name="connsiteX97" fmla="*/ 697252 w 4519987"/>
                    <a:gd name="connsiteY97" fmla="*/ 3838575 h 4496940"/>
                    <a:gd name="connsiteX98" fmla="*/ 640102 w 4519987"/>
                    <a:gd name="connsiteY98" fmla="*/ 3781425 h 4496940"/>
                    <a:gd name="connsiteX99" fmla="*/ 611527 w 4519987"/>
                    <a:gd name="connsiteY99" fmla="*/ 3733800 h 4496940"/>
                    <a:gd name="connsiteX100" fmla="*/ 554377 w 4519987"/>
                    <a:gd name="connsiteY100" fmla="*/ 3657600 h 4496940"/>
                    <a:gd name="connsiteX101" fmla="*/ 525802 w 4519987"/>
                    <a:gd name="connsiteY101" fmla="*/ 3609975 h 4496940"/>
                    <a:gd name="connsiteX102" fmla="*/ 497227 w 4519987"/>
                    <a:gd name="connsiteY102" fmla="*/ 3552825 h 4496940"/>
                    <a:gd name="connsiteX103" fmla="*/ 440077 w 4519987"/>
                    <a:gd name="connsiteY103" fmla="*/ 3495675 h 4496940"/>
                    <a:gd name="connsiteX104" fmla="*/ 411502 w 4519987"/>
                    <a:gd name="connsiteY104" fmla="*/ 3448050 h 4496940"/>
                    <a:gd name="connsiteX105" fmla="*/ 278152 w 4519987"/>
                    <a:gd name="connsiteY105" fmla="*/ 3257550 h 4496940"/>
                    <a:gd name="connsiteX106" fmla="*/ 249577 w 4519987"/>
                    <a:gd name="connsiteY106" fmla="*/ 3200400 h 4496940"/>
                    <a:gd name="connsiteX107" fmla="*/ 240052 w 4519987"/>
                    <a:gd name="connsiteY107" fmla="*/ 3162300 h 4496940"/>
                    <a:gd name="connsiteX108" fmla="*/ 221002 w 4519987"/>
                    <a:gd name="connsiteY108" fmla="*/ 3105150 h 4496940"/>
                    <a:gd name="connsiteX109" fmla="*/ 173377 w 4519987"/>
                    <a:gd name="connsiteY109" fmla="*/ 3019425 h 4496940"/>
                    <a:gd name="connsiteX110" fmla="*/ 144802 w 4519987"/>
                    <a:gd name="connsiteY110" fmla="*/ 2924175 h 4496940"/>
                    <a:gd name="connsiteX111" fmla="*/ 68602 w 4519987"/>
                    <a:gd name="connsiteY111" fmla="*/ 2724150 h 4496940"/>
                    <a:gd name="connsiteX112" fmla="*/ 49552 w 4519987"/>
                    <a:gd name="connsiteY112" fmla="*/ 2638425 h 4496940"/>
                    <a:gd name="connsiteX113" fmla="*/ 40027 w 4519987"/>
                    <a:gd name="connsiteY113" fmla="*/ 2562225 h 4496940"/>
                    <a:gd name="connsiteX114" fmla="*/ 30502 w 4519987"/>
                    <a:gd name="connsiteY114" fmla="*/ 2514600 h 4496940"/>
                    <a:gd name="connsiteX115" fmla="*/ 11452 w 4519987"/>
                    <a:gd name="connsiteY115" fmla="*/ 2400300 h 4496940"/>
                    <a:gd name="connsiteX116" fmla="*/ 20977 w 4519987"/>
                    <a:gd name="connsiteY116" fmla="*/ 1905000 h 4496940"/>
                    <a:gd name="connsiteX117" fmla="*/ 30502 w 4519987"/>
                    <a:gd name="connsiteY117" fmla="*/ 1838325 h 4496940"/>
                    <a:gd name="connsiteX118" fmla="*/ 49552 w 4519987"/>
                    <a:gd name="connsiteY118" fmla="*/ 1781175 h 4496940"/>
                    <a:gd name="connsiteX119" fmla="*/ 59077 w 4519987"/>
                    <a:gd name="connsiteY119" fmla="*/ 1743075 h 4496940"/>
                    <a:gd name="connsiteX120" fmla="*/ 78127 w 4519987"/>
                    <a:gd name="connsiteY120" fmla="*/ 1685925 h 4496940"/>
                    <a:gd name="connsiteX121" fmla="*/ 87652 w 4519987"/>
                    <a:gd name="connsiteY121" fmla="*/ 1638300 h 4496940"/>
                    <a:gd name="connsiteX122" fmla="*/ 106702 w 4519987"/>
                    <a:gd name="connsiteY122" fmla="*/ 1590675 h 4496940"/>
                    <a:gd name="connsiteX123" fmla="*/ 135277 w 4519987"/>
                    <a:gd name="connsiteY123" fmla="*/ 1504950 h 4496940"/>
                    <a:gd name="connsiteX124" fmla="*/ 154327 w 4519987"/>
                    <a:gd name="connsiteY124" fmla="*/ 1419225 h 4496940"/>
                    <a:gd name="connsiteX125" fmla="*/ 230527 w 4519987"/>
                    <a:gd name="connsiteY125" fmla="*/ 1276350 h 4496940"/>
                    <a:gd name="connsiteX126" fmla="*/ 240052 w 4519987"/>
                    <a:gd name="connsiteY126" fmla="*/ 1247775 h 4496940"/>
                    <a:gd name="connsiteX127" fmla="*/ 268627 w 4519987"/>
                    <a:gd name="connsiteY127" fmla="*/ 1200150 h 4496940"/>
                    <a:gd name="connsiteX128" fmla="*/ 287677 w 4519987"/>
                    <a:gd name="connsiteY128" fmla="*/ 1152525 h 4496940"/>
                    <a:gd name="connsiteX129" fmla="*/ 316252 w 4519987"/>
                    <a:gd name="connsiteY129" fmla="*/ 1114425 h 4496940"/>
                    <a:gd name="connsiteX130" fmla="*/ 363877 w 4519987"/>
                    <a:gd name="connsiteY130" fmla="*/ 1038225 h 4496940"/>
                    <a:gd name="connsiteX131" fmla="*/ 382927 w 4519987"/>
                    <a:gd name="connsiteY131" fmla="*/ 1009650 h 4496940"/>
                    <a:gd name="connsiteX132" fmla="*/ 440077 w 4519987"/>
                    <a:gd name="connsiteY132" fmla="*/ 904875 h 4496940"/>
                    <a:gd name="connsiteX133" fmla="*/ 478177 w 4519987"/>
                    <a:gd name="connsiteY133" fmla="*/ 857250 h 4496940"/>
                    <a:gd name="connsiteX134" fmla="*/ 497227 w 4519987"/>
                    <a:gd name="connsiteY134" fmla="*/ 828675 h 4496940"/>
                    <a:gd name="connsiteX135" fmla="*/ 535327 w 4519987"/>
                    <a:gd name="connsiteY135" fmla="*/ 800100 h 4496940"/>
                    <a:gd name="connsiteX136" fmla="*/ 602002 w 4519987"/>
                    <a:gd name="connsiteY136" fmla="*/ 733425 h 4496940"/>
                    <a:gd name="connsiteX137" fmla="*/ 668677 w 4519987"/>
                    <a:gd name="connsiteY137" fmla="*/ 676275 h 4496940"/>
                    <a:gd name="connsiteX138" fmla="*/ 697252 w 4519987"/>
                    <a:gd name="connsiteY138" fmla="*/ 657225 h 4496940"/>
                    <a:gd name="connsiteX139" fmla="*/ 840127 w 4519987"/>
                    <a:gd name="connsiteY139" fmla="*/ 533400 h 4496940"/>
                    <a:gd name="connsiteX140" fmla="*/ 887752 w 4519987"/>
                    <a:gd name="connsiteY140" fmla="*/ 504825 h 4496940"/>
                    <a:gd name="connsiteX141" fmla="*/ 1167152 w 4519987"/>
                    <a:gd name="connsiteY141" fmla="*/ 311150 h 4496940"/>
                    <a:gd name="connsiteX142" fmla="*/ 1268752 w 4519987"/>
                    <a:gd name="connsiteY142" fmla="*/ 285750 h 4496940"/>
                    <a:gd name="connsiteX143" fmla="*/ 1411627 w 4519987"/>
                    <a:gd name="connsiteY143" fmla="*/ 190500 h 4496940"/>
                    <a:gd name="connsiteX144" fmla="*/ 1449727 w 4519987"/>
                    <a:gd name="connsiteY144" fmla="*/ 161925 h 4496940"/>
                    <a:gd name="connsiteX145" fmla="*/ 1525927 w 4519987"/>
                    <a:gd name="connsiteY145" fmla="*/ 152400 h 4496940"/>
                    <a:gd name="connsiteX146" fmla="*/ 1583077 w 4519987"/>
                    <a:gd name="connsiteY146" fmla="*/ 142875 h 4496940"/>
                    <a:gd name="connsiteX147" fmla="*/ 1716427 w 4519987"/>
                    <a:gd name="connsiteY147" fmla="*/ 123825 h 4496940"/>
                    <a:gd name="connsiteX148" fmla="*/ 1811677 w 4519987"/>
                    <a:gd name="connsiteY148" fmla="*/ 114300 h 4496940"/>
                    <a:gd name="connsiteX149" fmla="*/ 1859302 w 4519987"/>
                    <a:gd name="connsiteY149" fmla="*/ 104775 h 4496940"/>
                    <a:gd name="connsiteX150" fmla="*/ 1916452 w 4519987"/>
                    <a:gd name="connsiteY150" fmla="*/ 95250 h 4496940"/>
                    <a:gd name="connsiteX151" fmla="*/ 2030752 w 4519987"/>
                    <a:gd name="connsiteY151" fmla="*/ 66675 h 4496940"/>
                    <a:gd name="connsiteX152" fmla="*/ 2097427 w 4519987"/>
                    <a:gd name="connsiteY152" fmla="*/ 47625 h 4496940"/>
                    <a:gd name="connsiteX153" fmla="*/ 2164102 w 4519987"/>
                    <a:gd name="connsiteY153" fmla="*/ 38100 h 4496940"/>
                    <a:gd name="connsiteX154" fmla="*/ 2392702 w 4519987"/>
                    <a:gd name="connsiteY15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907177 w 4519987"/>
                    <a:gd name="connsiteY24" fmla="*/ 647700 h 4496940"/>
                    <a:gd name="connsiteX25" fmla="*/ 3935752 w 4519987"/>
                    <a:gd name="connsiteY25" fmla="*/ 676275 h 4496940"/>
                    <a:gd name="connsiteX26" fmla="*/ 4078627 w 4519987"/>
                    <a:gd name="connsiteY26" fmla="*/ 838200 h 4496940"/>
                    <a:gd name="connsiteX27" fmla="*/ 4135777 w 4519987"/>
                    <a:gd name="connsiteY27" fmla="*/ 933450 h 4496940"/>
                    <a:gd name="connsiteX28" fmla="*/ 4164352 w 4519987"/>
                    <a:gd name="connsiteY28" fmla="*/ 990600 h 4496940"/>
                    <a:gd name="connsiteX29" fmla="*/ 4173877 w 4519987"/>
                    <a:gd name="connsiteY29" fmla="*/ 1019175 h 4496940"/>
                    <a:gd name="connsiteX30" fmla="*/ 4192927 w 4519987"/>
                    <a:gd name="connsiteY30" fmla="*/ 1057275 h 4496940"/>
                    <a:gd name="connsiteX31" fmla="*/ 4202452 w 4519987"/>
                    <a:gd name="connsiteY31" fmla="*/ 1085850 h 4496940"/>
                    <a:gd name="connsiteX32" fmla="*/ 4250077 w 4519987"/>
                    <a:gd name="connsiteY32" fmla="*/ 1143000 h 4496940"/>
                    <a:gd name="connsiteX33" fmla="*/ 4259602 w 4519987"/>
                    <a:gd name="connsiteY33" fmla="*/ 1190625 h 4496940"/>
                    <a:gd name="connsiteX34" fmla="*/ 4307227 w 4519987"/>
                    <a:gd name="connsiteY34" fmla="*/ 1266825 h 4496940"/>
                    <a:gd name="connsiteX35" fmla="*/ 4345327 w 4519987"/>
                    <a:gd name="connsiteY35" fmla="*/ 1362075 h 4496940"/>
                    <a:gd name="connsiteX36" fmla="*/ 4373902 w 4519987"/>
                    <a:gd name="connsiteY36" fmla="*/ 1428750 h 4496940"/>
                    <a:gd name="connsiteX37" fmla="*/ 4392952 w 4519987"/>
                    <a:gd name="connsiteY37" fmla="*/ 1552575 h 4496940"/>
                    <a:gd name="connsiteX38" fmla="*/ 4402477 w 4519987"/>
                    <a:gd name="connsiteY38" fmla="*/ 1590675 h 4496940"/>
                    <a:gd name="connsiteX39" fmla="*/ 4431052 w 4519987"/>
                    <a:gd name="connsiteY39" fmla="*/ 1685925 h 4496940"/>
                    <a:gd name="connsiteX40" fmla="*/ 4519952 w 4519987"/>
                    <a:gd name="connsiteY40" fmla="*/ 2181225 h 4496940"/>
                    <a:gd name="connsiteX41" fmla="*/ 4446927 w 4519987"/>
                    <a:gd name="connsiteY41" fmla="*/ 2768600 h 4496940"/>
                    <a:gd name="connsiteX42" fmla="*/ 4383427 w 4519987"/>
                    <a:gd name="connsiteY42" fmla="*/ 2990850 h 4496940"/>
                    <a:gd name="connsiteX43" fmla="*/ 4278652 w 4519987"/>
                    <a:gd name="connsiteY43" fmla="*/ 3248025 h 4496940"/>
                    <a:gd name="connsiteX44" fmla="*/ 4259602 w 4519987"/>
                    <a:gd name="connsiteY44" fmla="*/ 3276600 h 4496940"/>
                    <a:gd name="connsiteX45" fmla="*/ 4221502 w 4519987"/>
                    <a:gd name="connsiteY45" fmla="*/ 3333750 h 4496940"/>
                    <a:gd name="connsiteX46" fmla="*/ 4211977 w 4519987"/>
                    <a:gd name="connsiteY46" fmla="*/ 3362325 h 4496940"/>
                    <a:gd name="connsiteX47" fmla="*/ 4183402 w 4519987"/>
                    <a:gd name="connsiteY47" fmla="*/ 3400425 h 4496940"/>
                    <a:gd name="connsiteX48" fmla="*/ 4164352 w 4519987"/>
                    <a:gd name="connsiteY48" fmla="*/ 3429000 h 4496940"/>
                    <a:gd name="connsiteX49" fmla="*/ 4088152 w 4519987"/>
                    <a:gd name="connsiteY49" fmla="*/ 3495675 h 4496940"/>
                    <a:gd name="connsiteX50" fmla="*/ 4059577 w 4519987"/>
                    <a:gd name="connsiteY50" fmla="*/ 3533775 h 4496940"/>
                    <a:gd name="connsiteX51" fmla="*/ 4002427 w 4519987"/>
                    <a:gd name="connsiteY51" fmla="*/ 3600450 h 4496940"/>
                    <a:gd name="connsiteX52" fmla="*/ 3983377 w 4519987"/>
                    <a:gd name="connsiteY52" fmla="*/ 3629025 h 4496940"/>
                    <a:gd name="connsiteX53" fmla="*/ 3954802 w 4519987"/>
                    <a:gd name="connsiteY53" fmla="*/ 3648075 h 4496940"/>
                    <a:gd name="connsiteX54" fmla="*/ 3907177 w 4519987"/>
                    <a:gd name="connsiteY54" fmla="*/ 3686175 h 4496940"/>
                    <a:gd name="connsiteX55" fmla="*/ 3869077 w 4519987"/>
                    <a:gd name="connsiteY55" fmla="*/ 3724275 h 4496940"/>
                    <a:gd name="connsiteX56" fmla="*/ 3792877 w 4519987"/>
                    <a:gd name="connsiteY56" fmla="*/ 3781425 h 4496940"/>
                    <a:gd name="connsiteX57" fmla="*/ 3783352 w 4519987"/>
                    <a:gd name="connsiteY57" fmla="*/ 3810000 h 4496940"/>
                    <a:gd name="connsiteX58" fmla="*/ 3745252 w 4519987"/>
                    <a:gd name="connsiteY58" fmla="*/ 3819525 h 4496940"/>
                    <a:gd name="connsiteX59" fmla="*/ 3678577 w 4519987"/>
                    <a:gd name="connsiteY59" fmla="*/ 3848100 h 4496940"/>
                    <a:gd name="connsiteX60" fmla="*/ 3659527 w 4519987"/>
                    <a:gd name="connsiteY60" fmla="*/ 3971925 h 4496940"/>
                    <a:gd name="connsiteX61" fmla="*/ 3630952 w 4519987"/>
                    <a:gd name="connsiteY61" fmla="*/ 4010025 h 4496940"/>
                    <a:gd name="connsiteX62" fmla="*/ 3621427 w 4519987"/>
                    <a:gd name="connsiteY62" fmla="*/ 4038600 h 4496940"/>
                    <a:gd name="connsiteX63" fmla="*/ 3554752 w 4519987"/>
                    <a:gd name="connsiteY63" fmla="*/ 4095750 h 4496940"/>
                    <a:gd name="connsiteX64" fmla="*/ 3516652 w 4519987"/>
                    <a:gd name="connsiteY64" fmla="*/ 4114800 h 4496940"/>
                    <a:gd name="connsiteX65" fmla="*/ 3497602 w 4519987"/>
                    <a:gd name="connsiteY65" fmla="*/ 4143375 h 4496940"/>
                    <a:gd name="connsiteX66" fmla="*/ 3383302 w 4519987"/>
                    <a:gd name="connsiteY66" fmla="*/ 4210050 h 4496940"/>
                    <a:gd name="connsiteX67" fmla="*/ 3335677 w 4519987"/>
                    <a:gd name="connsiteY67" fmla="*/ 4238625 h 4496940"/>
                    <a:gd name="connsiteX68" fmla="*/ 3288052 w 4519987"/>
                    <a:gd name="connsiteY68" fmla="*/ 4248150 h 4496940"/>
                    <a:gd name="connsiteX69" fmla="*/ 3240427 w 4519987"/>
                    <a:gd name="connsiteY69" fmla="*/ 4267200 h 4496940"/>
                    <a:gd name="connsiteX70" fmla="*/ 3068977 w 4519987"/>
                    <a:gd name="connsiteY70" fmla="*/ 4286250 h 4496940"/>
                    <a:gd name="connsiteX71" fmla="*/ 2935627 w 4519987"/>
                    <a:gd name="connsiteY71" fmla="*/ 4333875 h 4496940"/>
                    <a:gd name="connsiteX72" fmla="*/ 2811802 w 4519987"/>
                    <a:gd name="connsiteY72" fmla="*/ 4371975 h 4496940"/>
                    <a:gd name="connsiteX73" fmla="*/ 2745127 w 4519987"/>
                    <a:gd name="connsiteY73" fmla="*/ 4410075 h 4496940"/>
                    <a:gd name="connsiteX74" fmla="*/ 2697502 w 4519987"/>
                    <a:gd name="connsiteY74" fmla="*/ 4429125 h 4496940"/>
                    <a:gd name="connsiteX75" fmla="*/ 2640352 w 4519987"/>
                    <a:gd name="connsiteY75" fmla="*/ 4457700 h 4496940"/>
                    <a:gd name="connsiteX76" fmla="*/ 2583202 w 4519987"/>
                    <a:gd name="connsiteY76" fmla="*/ 4467225 h 4496940"/>
                    <a:gd name="connsiteX77" fmla="*/ 2545102 w 4519987"/>
                    <a:gd name="connsiteY77" fmla="*/ 4486275 h 4496940"/>
                    <a:gd name="connsiteX78" fmla="*/ 2306977 w 4519987"/>
                    <a:gd name="connsiteY78" fmla="*/ 4476750 h 4496940"/>
                    <a:gd name="connsiteX79" fmla="*/ 2202202 w 4519987"/>
                    <a:gd name="connsiteY79" fmla="*/ 4457700 h 4496940"/>
                    <a:gd name="connsiteX80" fmla="*/ 2126002 w 4519987"/>
                    <a:gd name="connsiteY80" fmla="*/ 4429125 h 4496940"/>
                    <a:gd name="connsiteX81" fmla="*/ 1935502 w 4519987"/>
                    <a:gd name="connsiteY81" fmla="*/ 4400550 h 4496940"/>
                    <a:gd name="connsiteX82" fmla="*/ 1821202 w 4519987"/>
                    <a:gd name="connsiteY82" fmla="*/ 4371975 h 4496940"/>
                    <a:gd name="connsiteX83" fmla="*/ 1754527 w 4519987"/>
                    <a:gd name="connsiteY83" fmla="*/ 4352925 h 4496940"/>
                    <a:gd name="connsiteX84" fmla="*/ 1687852 w 4519987"/>
                    <a:gd name="connsiteY84" fmla="*/ 4343400 h 4496940"/>
                    <a:gd name="connsiteX85" fmla="*/ 1573552 w 4519987"/>
                    <a:gd name="connsiteY85" fmla="*/ 4305300 h 4496940"/>
                    <a:gd name="connsiteX86" fmla="*/ 1402102 w 4519987"/>
                    <a:gd name="connsiteY86" fmla="*/ 4276725 h 4496940"/>
                    <a:gd name="connsiteX87" fmla="*/ 1287802 w 4519987"/>
                    <a:gd name="connsiteY87" fmla="*/ 4229100 h 4496940"/>
                    <a:gd name="connsiteX88" fmla="*/ 1221127 w 4519987"/>
                    <a:gd name="connsiteY88" fmla="*/ 4200525 h 4496940"/>
                    <a:gd name="connsiteX89" fmla="*/ 1144927 w 4519987"/>
                    <a:gd name="connsiteY89" fmla="*/ 4171950 h 4496940"/>
                    <a:gd name="connsiteX90" fmla="*/ 1087777 w 4519987"/>
                    <a:gd name="connsiteY90" fmla="*/ 4143375 h 4496940"/>
                    <a:gd name="connsiteX91" fmla="*/ 1030627 w 4519987"/>
                    <a:gd name="connsiteY91" fmla="*/ 4124325 h 4496940"/>
                    <a:gd name="connsiteX92" fmla="*/ 925852 w 4519987"/>
                    <a:gd name="connsiteY92" fmla="*/ 4067175 h 4496940"/>
                    <a:gd name="connsiteX93" fmla="*/ 830602 w 4519987"/>
                    <a:gd name="connsiteY93" fmla="*/ 3981450 h 4496940"/>
                    <a:gd name="connsiteX94" fmla="*/ 763927 w 4519987"/>
                    <a:gd name="connsiteY94" fmla="*/ 3914775 h 4496940"/>
                    <a:gd name="connsiteX95" fmla="*/ 725827 w 4519987"/>
                    <a:gd name="connsiteY95" fmla="*/ 3876675 h 4496940"/>
                    <a:gd name="connsiteX96" fmla="*/ 697252 w 4519987"/>
                    <a:gd name="connsiteY96" fmla="*/ 3838575 h 4496940"/>
                    <a:gd name="connsiteX97" fmla="*/ 640102 w 4519987"/>
                    <a:gd name="connsiteY97" fmla="*/ 3781425 h 4496940"/>
                    <a:gd name="connsiteX98" fmla="*/ 611527 w 4519987"/>
                    <a:gd name="connsiteY98" fmla="*/ 3733800 h 4496940"/>
                    <a:gd name="connsiteX99" fmla="*/ 554377 w 4519987"/>
                    <a:gd name="connsiteY99" fmla="*/ 3657600 h 4496940"/>
                    <a:gd name="connsiteX100" fmla="*/ 525802 w 4519987"/>
                    <a:gd name="connsiteY100" fmla="*/ 3609975 h 4496940"/>
                    <a:gd name="connsiteX101" fmla="*/ 497227 w 4519987"/>
                    <a:gd name="connsiteY101" fmla="*/ 3552825 h 4496940"/>
                    <a:gd name="connsiteX102" fmla="*/ 440077 w 4519987"/>
                    <a:gd name="connsiteY102" fmla="*/ 3495675 h 4496940"/>
                    <a:gd name="connsiteX103" fmla="*/ 411502 w 4519987"/>
                    <a:gd name="connsiteY103" fmla="*/ 3448050 h 4496940"/>
                    <a:gd name="connsiteX104" fmla="*/ 278152 w 4519987"/>
                    <a:gd name="connsiteY104" fmla="*/ 3257550 h 4496940"/>
                    <a:gd name="connsiteX105" fmla="*/ 249577 w 4519987"/>
                    <a:gd name="connsiteY105" fmla="*/ 3200400 h 4496940"/>
                    <a:gd name="connsiteX106" fmla="*/ 240052 w 4519987"/>
                    <a:gd name="connsiteY106" fmla="*/ 3162300 h 4496940"/>
                    <a:gd name="connsiteX107" fmla="*/ 221002 w 4519987"/>
                    <a:gd name="connsiteY107" fmla="*/ 3105150 h 4496940"/>
                    <a:gd name="connsiteX108" fmla="*/ 173377 w 4519987"/>
                    <a:gd name="connsiteY108" fmla="*/ 3019425 h 4496940"/>
                    <a:gd name="connsiteX109" fmla="*/ 144802 w 4519987"/>
                    <a:gd name="connsiteY109" fmla="*/ 2924175 h 4496940"/>
                    <a:gd name="connsiteX110" fmla="*/ 68602 w 4519987"/>
                    <a:gd name="connsiteY110" fmla="*/ 2724150 h 4496940"/>
                    <a:gd name="connsiteX111" fmla="*/ 49552 w 4519987"/>
                    <a:gd name="connsiteY111" fmla="*/ 2638425 h 4496940"/>
                    <a:gd name="connsiteX112" fmla="*/ 40027 w 4519987"/>
                    <a:gd name="connsiteY112" fmla="*/ 2562225 h 4496940"/>
                    <a:gd name="connsiteX113" fmla="*/ 30502 w 4519987"/>
                    <a:gd name="connsiteY113" fmla="*/ 2514600 h 4496940"/>
                    <a:gd name="connsiteX114" fmla="*/ 11452 w 4519987"/>
                    <a:gd name="connsiteY114" fmla="*/ 2400300 h 4496940"/>
                    <a:gd name="connsiteX115" fmla="*/ 20977 w 4519987"/>
                    <a:gd name="connsiteY115" fmla="*/ 1905000 h 4496940"/>
                    <a:gd name="connsiteX116" fmla="*/ 30502 w 4519987"/>
                    <a:gd name="connsiteY116" fmla="*/ 1838325 h 4496940"/>
                    <a:gd name="connsiteX117" fmla="*/ 49552 w 4519987"/>
                    <a:gd name="connsiteY117" fmla="*/ 1781175 h 4496940"/>
                    <a:gd name="connsiteX118" fmla="*/ 59077 w 4519987"/>
                    <a:gd name="connsiteY118" fmla="*/ 1743075 h 4496940"/>
                    <a:gd name="connsiteX119" fmla="*/ 78127 w 4519987"/>
                    <a:gd name="connsiteY119" fmla="*/ 1685925 h 4496940"/>
                    <a:gd name="connsiteX120" fmla="*/ 87652 w 4519987"/>
                    <a:gd name="connsiteY120" fmla="*/ 1638300 h 4496940"/>
                    <a:gd name="connsiteX121" fmla="*/ 106702 w 4519987"/>
                    <a:gd name="connsiteY121" fmla="*/ 1590675 h 4496940"/>
                    <a:gd name="connsiteX122" fmla="*/ 135277 w 4519987"/>
                    <a:gd name="connsiteY122" fmla="*/ 1504950 h 4496940"/>
                    <a:gd name="connsiteX123" fmla="*/ 154327 w 4519987"/>
                    <a:gd name="connsiteY123" fmla="*/ 1419225 h 4496940"/>
                    <a:gd name="connsiteX124" fmla="*/ 230527 w 4519987"/>
                    <a:gd name="connsiteY124" fmla="*/ 1276350 h 4496940"/>
                    <a:gd name="connsiteX125" fmla="*/ 240052 w 4519987"/>
                    <a:gd name="connsiteY125" fmla="*/ 1247775 h 4496940"/>
                    <a:gd name="connsiteX126" fmla="*/ 268627 w 4519987"/>
                    <a:gd name="connsiteY126" fmla="*/ 1200150 h 4496940"/>
                    <a:gd name="connsiteX127" fmla="*/ 287677 w 4519987"/>
                    <a:gd name="connsiteY127" fmla="*/ 1152525 h 4496940"/>
                    <a:gd name="connsiteX128" fmla="*/ 316252 w 4519987"/>
                    <a:gd name="connsiteY128" fmla="*/ 1114425 h 4496940"/>
                    <a:gd name="connsiteX129" fmla="*/ 363877 w 4519987"/>
                    <a:gd name="connsiteY129" fmla="*/ 1038225 h 4496940"/>
                    <a:gd name="connsiteX130" fmla="*/ 382927 w 4519987"/>
                    <a:gd name="connsiteY130" fmla="*/ 1009650 h 4496940"/>
                    <a:gd name="connsiteX131" fmla="*/ 440077 w 4519987"/>
                    <a:gd name="connsiteY131" fmla="*/ 904875 h 4496940"/>
                    <a:gd name="connsiteX132" fmla="*/ 478177 w 4519987"/>
                    <a:gd name="connsiteY132" fmla="*/ 857250 h 4496940"/>
                    <a:gd name="connsiteX133" fmla="*/ 497227 w 4519987"/>
                    <a:gd name="connsiteY133" fmla="*/ 828675 h 4496940"/>
                    <a:gd name="connsiteX134" fmla="*/ 535327 w 4519987"/>
                    <a:gd name="connsiteY134" fmla="*/ 800100 h 4496940"/>
                    <a:gd name="connsiteX135" fmla="*/ 602002 w 4519987"/>
                    <a:gd name="connsiteY135" fmla="*/ 733425 h 4496940"/>
                    <a:gd name="connsiteX136" fmla="*/ 668677 w 4519987"/>
                    <a:gd name="connsiteY136" fmla="*/ 676275 h 4496940"/>
                    <a:gd name="connsiteX137" fmla="*/ 697252 w 4519987"/>
                    <a:gd name="connsiteY137" fmla="*/ 657225 h 4496940"/>
                    <a:gd name="connsiteX138" fmla="*/ 840127 w 4519987"/>
                    <a:gd name="connsiteY138" fmla="*/ 533400 h 4496940"/>
                    <a:gd name="connsiteX139" fmla="*/ 887752 w 4519987"/>
                    <a:gd name="connsiteY139" fmla="*/ 504825 h 4496940"/>
                    <a:gd name="connsiteX140" fmla="*/ 1167152 w 4519987"/>
                    <a:gd name="connsiteY140" fmla="*/ 311150 h 4496940"/>
                    <a:gd name="connsiteX141" fmla="*/ 1268752 w 4519987"/>
                    <a:gd name="connsiteY141" fmla="*/ 285750 h 4496940"/>
                    <a:gd name="connsiteX142" fmla="*/ 1411627 w 4519987"/>
                    <a:gd name="connsiteY142" fmla="*/ 190500 h 4496940"/>
                    <a:gd name="connsiteX143" fmla="*/ 1449727 w 4519987"/>
                    <a:gd name="connsiteY143" fmla="*/ 161925 h 4496940"/>
                    <a:gd name="connsiteX144" fmla="*/ 1525927 w 4519987"/>
                    <a:gd name="connsiteY144" fmla="*/ 152400 h 4496940"/>
                    <a:gd name="connsiteX145" fmla="*/ 1583077 w 4519987"/>
                    <a:gd name="connsiteY145" fmla="*/ 142875 h 4496940"/>
                    <a:gd name="connsiteX146" fmla="*/ 1716427 w 4519987"/>
                    <a:gd name="connsiteY146" fmla="*/ 123825 h 4496940"/>
                    <a:gd name="connsiteX147" fmla="*/ 1811677 w 4519987"/>
                    <a:gd name="connsiteY147" fmla="*/ 114300 h 4496940"/>
                    <a:gd name="connsiteX148" fmla="*/ 1859302 w 4519987"/>
                    <a:gd name="connsiteY148" fmla="*/ 104775 h 4496940"/>
                    <a:gd name="connsiteX149" fmla="*/ 1916452 w 4519987"/>
                    <a:gd name="connsiteY149" fmla="*/ 95250 h 4496940"/>
                    <a:gd name="connsiteX150" fmla="*/ 2030752 w 4519987"/>
                    <a:gd name="connsiteY150" fmla="*/ 66675 h 4496940"/>
                    <a:gd name="connsiteX151" fmla="*/ 2097427 w 4519987"/>
                    <a:gd name="connsiteY151" fmla="*/ 47625 h 4496940"/>
                    <a:gd name="connsiteX152" fmla="*/ 2164102 w 4519987"/>
                    <a:gd name="connsiteY152" fmla="*/ 38100 h 4496940"/>
                    <a:gd name="connsiteX153" fmla="*/ 2392702 w 4519987"/>
                    <a:gd name="connsiteY15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678577 w 4519987"/>
                    <a:gd name="connsiteY20" fmla="*/ 504825 h 4496940"/>
                    <a:gd name="connsiteX21" fmla="*/ 3745252 w 4519987"/>
                    <a:gd name="connsiteY21" fmla="*/ 542925 h 4496940"/>
                    <a:gd name="connsiteX22" fmla="*/ 3811927 w 4519987"/>
                    <a:gd name="connsiteY22" fmla="*/ 581025 h 4496940"/>
                    <a:gd name="connsiteX23" fmla="*/ 3907177 w 4519987"/>
                    <a:gd name="connsiteY23" fmla="*/ 647700 h 4496940"/>
                    <a:gd name="connsiteX24" fmla="*/ 3935752 w 4519987"/>
                    <a:gd name="connsiteY24" fmla="*/ 676275 h 4496940"/>
                    <a:gd name="connsiteX25" fmla="*/ 4078627 w 4519987"/>
                    <a:gd name="connsiteY25" fmla="*/ 838200 h 4496940"/>
                    <a:gd name="connsiteX26" fmla="*/ 4135777 w 4519987"/>
                    <a:gd name="connsiteY26" fmla="*/ 933450 h 4496940"/>
                    <a:gd name="connsiteX27" fmla="*/ 4164352 w 4519987"/>
                    <a:gd name="connsiteY27" fmla="*/ 990600 h 4496940"/>
                    <a:gd name="connsiteX28" fmla="*/ 4173877 w 4519987"/>
                    <a:gd name="connsiteY28" fmla="*/ 1019175 h 4496940"/>
                    <a:gd name="connsiteX29" fmla="*/ 4192927 w 4519987"/>
                    <a:gd name="connsiteY29" fmla="*/ 1057275 h 4496940"/>
                    <a:gd name="connsiteX30" fmla="*/ 4202452 w 4519987"/>
                    <a:gd name="connsiteY30" fmla="*/ 1085850 h 4496940"/>
                    <a:gd name="connsiteX31" fmla="*/ 4250077 w 4519987"/>
                    <a:gd name="connsiteY31" fmla="*/ 1143000 h 4496940"/>
                    <a:gd name="connsiteX32" fmla="*/ 4259602 w 4519987"/>
                    <a:gd name="connsiteY32" fmla="*/ 1190625 h 4496940"/>
                    <a:gd name="connsiteX33" fmla="*/ 4307227 w 4519987"/>
                    <a:gd name="connsiteY33" fmla="*/ 1266825 h 4496940"/>
                    <a:gd name="connsiteX34" fmla="*/ 4345327 w 4519987"/>
                    <a:gd name="connsiteY34" fmla="*/ 1362075 h 4496940"/>
                    <a:gd name="connsiteX35" fmla="*/ 4373902 w 4519987"/>
                    <a:gd name="connsiteY35" fmla="*/ 1428750 h 4496940"/>
                    <a:gd name="connsiteX36" fmla="*/ 4392952 w 4519987"/>
                    <a:gd name="connsiteY36" fmla="*/ 1552575 h 4496940"/>
                    <a:gd name="connsiteX37" fmla="*/ 4402477 w 4519987"/>
                    <a:gd name="connsiteY37" fmla="*/ 1590675 h 4496940"/>
                    <a:gd name="connsiteX38" fmla="*/ 4431052 w 4519987"/>
                    <a:gd name="connsiteY38" fmla="*/ 1685925 h 4496940"/>
                    <a:gd name="connsiteX39" fmla="*/ 4519952 w 4519987"/>
                    <a:gd name="connsiteY39" fmla="*/ 2181225 h 4496940"/>
                    <a:gd name="connsiteX40" fmla="*/ 4446927 w 4519987"/>
                    <a:gd name="connsiteY40" fmla="*/ 2768600 h 4496940"/>
                    <a:gd name="connsiteX41" fmla="*/ 4383427 w 4519987"/>
                    <a:gd name="connsiteY41" fmla="*/ 2990850 h 4496940"/>
                    <a:gd name="connsiteX42" fmla="*/ 4278652 w 4519987"/>
                    <a:gd name="connsiteY42" fmla="*/ 3248025 h 4496940"/>
                    <a:gd name="connsiteX43" fmla="*/ 4259602 w 4519987"/>
                    <a:gd name="connsiteY43" fmla="*/ 3276600 h 4496940"/>
                    <a:gd name="connsiteX44" fmla="*/ 4221502 w 4519987"/>
                    <a:gd name="connsiteY44" fmla="*/ 3333750 h 4496940"/>
                    <a:gd name="connsiteX45" fmla="*/ 4211977 w 4519987"/>
                    <a:gd name="connsiteY45" fmla="*/ 3362325 h 4496940"/>
                    <a:gd name="connsiteX46" fmla="*/ 4183402 w 4519987"/>
                    <a:gd name="connsiteY46" fmla="*/ 3400425 h 4496940"/>
                    <a:gd name="connsiteX47" fmla="*/ 4164352 w 4519987"/>
                    <a:gd name="connsiteY47" fmla="*/ 3429000 h 4496940"/>
                    <a:gd name="connsiteX48" fmla="*/ 4088152 w 4519987"/>
                    <a:gd name="connsiteY48" fmla="*/ 3495675 h 4496940"/>
                    <a:gd name="connsiteX49" fmla="*/ 4059577 w 4519987"/>
                    <a:gd name="connsiteY49" fmla="*/ 3533775 h 4496940"/>
                    <a:gd name="connsiteX50" fmla="*/ 4002427 w 4519987"/>
                    <a:gd name="connsiteY50" fmla="*/ 3600450 h 4496940"/>
                    <a:gd name="connsiteX51" fmla="*/ 3983377 w 4519987"/>
                    <a:gd name="connsiteY51" fmla="*/ 3629025 h 4496940"/>
                    <a:gd name="connsiteX52" fmla="*/ 3954802 w 4519987"/>
                    <a:gd name="connsiteY52" fmla="*/ 3648075 h 4496940"/>
                    <a:gd name="connsiteX53" fmla="*/ 3907177 w 4519987"/>
                    <a:gd name="connsiteY53" fmla="*/ 3686175 h 4496940"/>
                    <a:gd name="connsiteX54" fmla="*/ 3869077 w 4519987"/>
                    <a:gd name="connsiteY54" fmla="*/ 3724275 h 4496940"/>
                    <a:gd name="connsiteX55" fmla="*/ 3792877 w 4519987"/>
                    <a:gd name="connsiteY55" fmla="*/ 3781425 h 4496940"/>
                    <a:gd name="connsiteX56" fmla="*/ 3783352 w 4519987"/>
                    <a:gd name="connsiteY56" fmla="*/ 3810000 h 4496940"/>
                    <a:gd name="connsiteX57" fmla="*/ 3745252 w 4519987"/>
                    <a:gd name="connsiteY57" fmla="*/ 3819525 h 4496940"/>
                    <a:gd name="connsiteX58" fmla="*/ 3678577 w 4519987"/>
                    <a:gd name="connsiteY58" fmla="*/ 3848100 h 4496940"/>
                    <a:gd name="connsiteX59" fmla="*/ 3659527 w 4519987"/>
                    <a:gd name="connsiteY59" fmla="*/ 3971925 h 4496940"/>
                    <a:gd name="connsiteX60" fmla="*/ 3630952 w 4519987"/>
                    <a:gd name="connsiteY60" fmla="*/ 4010025 h 4496940"/>
                    <a:gd name="connsiteX61" fmla="*/ 3621427 w 4519987"/>
                    <a:gd name="connsiteY61" fmla="*/ 4038600 h 4496940"/>
                    <a:gd name="connsiteX62" fmla="*/ 3554752 w 4519987"/>
                    <a:gd name="connsiteY62" fmla="*/ 4095750 h 4496940"/>
                    <a:gd name="connsiteX63" fmla="*/ 3516652 w 4519987"/>
                    <a:gd name="connsiteY63" fmla="*/ 4114800 h 4496940"/>
                    <a:gd name="connsiteX64" fmla="*/ 3497602 w 4519987"/>
                    <a:gd name="connsiteY64" fmla="*/ 4143375 h 4496940"/>
                    <a:gd name="connsiteX65" fmla="*/ 3383302 w 4519987"/>
                    <a:gd name="connsiteY65" fmla="*/ 4210050 h 4496940"/>
                    <a:gd name="connsiteX66" fmla="*/ 3335677 w 4519987"/>
                    <a:gd name="connsiteY66" fmla="*/ 4238625 h 4496940"/>
                    <a:gd name="connsiteX67" fmla="*/ 3288052 w 4519987"/>
                    <a:gd name="connsiteY67" fmla="*/ 4248150 h 4496940"/>
                    <a:gd name="connsiteX68" fmla="*/ 3240427 w 4519987"/>
                    <a:gd name="connsiteY68" fmla="*/ 4267200 h 4496940"/>
                    <a:gd name="connsiteX69" fmla="*/ 3068977 w 4519987"/>
                    <a:gd name="connsiteY69" fmla="*/ 4286250 h 4496940"/>
                    <a:gd name="connsiteX70" fmla="*/ 2935627 w 4519987"/>
                    <a:gd name="connsiteY70" fmla="*/ 4333875 h 4496940"/>
                    <a:gd name="connsiteX71" fmla="*/ 2811802 w 4519987"/>
                    <a:gd name="connsiteY71" fmla="*/ 4371975 h 4496940"/>
                    <a:gd name="connsiteX72" fmla="*/ 2745127 w 4519987"/>
                    <a:gd name="connsiteY72" fmla="*/ 4410075 h 4496940"/>
                    <a:gd name="connsiteX73" fmla="*/ 2697502 w 4519987"/>
                    <a:gd name="connsiteY73" fmla="*/ 4429125 h 4496940"/>
                    <a:gd name="connsiteX74" fmla="*/ 2640352 w 4519987"/>
                    <a:gd name="connsiteY74" fmla="*/ 4457700 h 4496940"/>
                    <a:gd name="connsiteX75" fmla="*/ 2583202 w 4519987"/>
                    <a:gd name="connsiteY75" fmla="*/ 4467225 h 4496940"/>
                    <a:gd name="connsiteX76" fmla="*/ 2545102 w 4519987"/>
                    <a:gd name="connsiteY76" fmla="*/ 4486275 h 4496940"/>
                    <a:gd name="connsiteX77" fmla="*/ 2306977 w 4519987"/>
                    <a:gd name="connsiteY77" fmla="*/ 4476750 h 4496940"/>
                    <a:gd name="connsiteX78" fmla="*/ 2202202 w 4519987"/>
                    <a:gd name="connsiteY78" fmla="*/ 4457700 h 4496940"/>
                    <a:gd name="connsiteX79" fmla="*/ 2126002 w 4519987"/>
                    <a:gd name="connsiteY79" fmla="*/ 4429125 h 4496940"/>
                    <a:gd name="connsiteX80" fmla="*/ 1935502 w 4519987"/>
                    <a:gd name="connsiteY80" fmla="*/ 4400550 h 4496940"/>
                    <a:gd name="connsiteX81" fmla="*/ 1821202 w 4519987"/>
                    <a:gd name="connsiteY81" fmla="*/ 4371975 h 4496940"/>
                    <a:gd name="connsiteX82" fmla="*/ 1754527 w 4519987"/>
                    <a:gd name="connsiteY82" fmla="*/ 4352925 h 4496940"/>
                    <a:gd name="connsiteX83" fmla="*/ 1687852 w 4519987"/>
                    <a:gd name="connsiteY83" fmla="*/ 4343400 h 4496940"/>
                    <a:gd name="connsiteX84" fmla="*/ 1573552 w 4519987"/>
                    <a:gd name="connsiteY84" fmla="*/ 4305300 h 4496940"/>
                    <a:gd name="connsiteX85" fmla="*/ 1402102 w 4519987"/>
                    <a:gd name="connsiteY85" fmla="*/ 4276725 h 4496940"/>
                    <a:gd name="connsiteX86" fmla="*/ 1287802 w 4519987"/>
                    <a:gd name="connsiteY86" fmla="*/ 4229100 h 4496940"/>
                    <a:gd name="connsiteX87" fmla="*/ 1221127 w 4519987"/>
                    <a:gd name="connsiteY87" fmla="*/ 4200525 h 4496940"/>
                    <a:gd name="connsiteX88" fmla="*/ 1144927 w 4519987"/>
                    <a:gd name="connsiteY88" fmla="*/ 4171950 h 4496940"/>
                    <a:gd name="connsiteX89" fmla="*/ 1087777 w 4519987"/>
                    <a:gd name="connsiteY89" fmla="*/ 4143375 h 4496940"/>
                    <a:gd name="connsiteX90" fmla="*/ 1030627 w 4519987"/>
                    <a:gd name="connsiteY90" fmla="*/ 4124325 h 4496940"/>
                    <a:gd name="connsiteX91" fmla="*/ 925852 w 4519987"/>
                    <a:gd name="connsiteY91" fmla="*/ 4067175 h 4496940"/>
                    <a:gd name="connsiteX92" fmla="*/ 830602 w 4519987"/>
                    <a:gd name="connsiteY92" fmla="*/ 3981450 h 4496940"/>
                    <a:gd name="connsiteX93" fmla="*/ 763927 w 4519987"/>
                    <a:gd name="connsiteY93" fmla="*/ 3914775 h 4496940"/>
                    <a:gd name="connsiteX94" fmla="*/ 725827 w 4519987"/>
                    <a:gd name="connsiteY94" fmla="*/ 3876675 h 4496940"/>
                    <a:gd name="connsiteX95" fmla="*/ 697252 w 4519987"/>
                    <a:gd name="connsiteY95" fmla="*/ 3838575 h 4496940"/>
                    <a:gd name="connsiteX96" fmla="*/ 640102 w 4519987"/>
                    <a:gd name="connsiteY96" fmla="*/ 3781425 h 4496940"/>
                    <a:gd name="connsiteX97" fmla="*/ 611527 w 4519987"/>
                    <a:gd name="connsiteY97" fmla="*/ 3733800 h 4496940"/>
                    <a:gd name="connsiteX98" fmla="*/ 554377 w 4519987"/>
                    <a:gd name="connsiteY98" fmla="*/ 3657600 h 4496940"/>
                    <a:gd name="connsiteX99" fmla="*/ 525802 w 4519987"/>
                    <a:gd name="connsiteY99" fmla="*/ 3609975 h 4496940"/>
                    <a:gd name="connsiteX100" fmla="*/ 497227 w 4519987"/>
                    <a:gd name="connsiteY100" fmla="*/ 3552825 h 4496940"/>
                    <a:gd name="connsiteX101" fmla="*/ 440077 w 4519987"/>
                    <a:gd name="connsiteY101" fmla="*/ 3495675 h 4496940"/>
                    <a:gd name="connsiteX102" fmla="*/ 411502 w 4519987"/>
                    <a:gd name="connsiteY102" fmla="*/ 3448050 h 4496940"/>
                    <a:gd name="connsiteX103" fmla="*/ 278152 w 4519987"/>
                    <a:gd name="connsiteY103" fmla="*/ 3257550 h 4496940"/>
                    <a:gd name="connsiteX104" fmla="*/ 249577 w 4519987"/>
                    <a:gd name="connsiteY104" fmla="*/ 3200400 h 4496940"/>
                    <a:gd name="connsiteX105" fmla="*/ 240052 w 4519987"/>
                    <a:gd name="connsiteY105" fmla="*/ 3162300 h 4496940"/>
                    <a:gd name="connsiteX106" fmla="*/ 221002 w 4519987"/>
                    <a:gd name="connsiteY106" fmla="*/ 3105150 h 4496940"/>
                    <a:gd name="connsiteX107" fmla="*/ 173377 w 4519987"/>
                    <a:gd name="connsiteY107" fmla="*/ 3019425 h 4496940"/>
                    <a:gd name="connsiteX108" fmla="*/ 144802 w 4519987"/>
                    <a:gd name="connsiteY108" fmla="*/ 2924175 h 4496940"/>
                    <a:gd name="connsiteX109" fmla="*/ 68602 w 4519987"/>
                    <a:gd name="connsiteY109" fmla="*/ 2724150 h 4496940"/>
                    <a:gd name="connsiteX110" fmla="*/ 49552 w 4519987"/>
                    <a:gd name="connsiteY110" fmla="*/ 2638425 h 4496940"/>
                    <a:gd name="connsiteX111" fmla="*/ 40027 w 4519987"/>
                    <a:gd name="connsiteY111" fmla="*/ 2562225 h 4496940"/>
                    <a:gd name="connsiteX112" fmla="*/ 30502 w 4519987"/>
                    <a:gd name="connsiteY112" fmla="*/ 2514600 h 4496940"/>
                    <a:gd name="connsiteX113" fmla="*/ 11452 w 4519987"/>
                    <a:gd name="connsiteY113" fmla="*/ 2400300 h 4496940"/>
                    <a:gd name="connsiteX114" fmla="*/ 20977 w 4519987"/>
                    <a:gd name="connsiteY114" fmla="*/ 1905000 h 4496940"/>
                    <a:gd name="connsiteX115" fmla="*/ 30502 w 4519987"/>
                    <a:gd name="connsiteY115" fmla="*/ 1838325 h 4496940"/>
                    <a:gd name="connsiteX116" fmla="*/ 49552 w 4519987"/>
                    <a:gd name="connsiteY116" fmla="*/ 1781175 h 4496940"/>
                    <a:gd name="connsiteX117" fmla="*/ 59077 w 4519987"/>
                    <a:gd name="connsiteY117" fmla="*/ 1743075 h 4496940"/>
                    <a:gd name="connsiteX118" fmla="*/ 78127 w 4519987"/>
                    <a:gd name="connsiteY118" fmla="*/ 1685925 h 4496940"/>
                    <a:gd name="connsiteX119" fmla="*/ 87652 w 4519987"/>
                    <a:gd name="connsiteY119" fmla="*/ 1638300 h 4496940"/>
                    <a:gd name="connsiteX120" fmla="*/ 106702 w 4519987"/>
                    <a:gd name="connsiteY120" fmla="*/ 1590675 h 4496940"/>
                    <a:gd name="connsiteX121" fmla="*/ 135277 w 4519987"/>
                    <a:gd name="connsiteY121" fmla="*/ 1504950 h 4496940"/>
                    <a:gd name="connsiteX122" fmla="*/ 154327 w 4519987"/>
                    <a:gd name="connsiteY122" fmla="*/ 1419225 h 4496940"/>
                    <a:gd name="connsiteX123" fmla="*/ 230527 w 4519987"/>
                    <a:gd name="connsiteY123" fmla="*/ 1276350 h 4496940"/>
                    <a:gd name="connsiteX124" fmla="*/ 240052 w 4519987"/>
                    <a:gd name="connsiteY124" fmla="*/ 1247775 h 4496940"/>
                    <a:gd name="connsiteX125" fmla="*/ 268627 w 4519987"/>
                    <a:gd name="connsiteY125" fmla="*/ 1200150 h 4496940"/>
                    <a:gd name="connsiteX126" fmla="*/ 287677 w 4519987"/>
                    <a:gd name="connsiteY126" fmla="*/ 1152525 h 4496940"/>
                    <a:gd name="connsiteX127" fmla="*/ 316252 w 4519987"/>
                    <a:gd name="connsiteY127" fmla="*/ 1114425 h 4496940"/>
                    <a:gd name="connsiteX128" fmla="*/ 363877 w 4519987"/>
                    <a:gd name="connsiteY128" fmla="*/ 1038225 h 4496940"/>
                    <a:gd name="connsiteX129" fmla="*/ 382927 w 4519987"/>
                    <a:gd name="connsiteY129" fmla="*/ 1009650 h 4496940"/>
                    <a:gd name="connsiteX130" fmla="*/ 440077 w 4519987"/>
                    <a:gd name="connsiteY130" fmla="*/ 904875 h 4496940"/>
                    <a:gd name="connsiteX131" fmla="*/ 478177 w 4519987"/>
                    <a:gd name="connsiteY131" fmla="*/ 857250 h 4496940"/>
                    <a:gd name="connsiteX132" fmla="*/ 497227 w 4519987"/>
                    <a:gd name="connsiteY132" fmla="*/ 828675 h 4496940"/>
                    <a:gd name="connsiteX133" fmla="*/ 535327 w 4519987"/>
                    <a:gd name="connsiteY133" fmla="*/ 800100 h 4496940"/>
                    <a:gd name="connsiteX134" fmla="*/ 602002 w 4519987"/>
                    <a:gd name="connsiteY134" fmla="*/ 733425 h 4496940"/>
                    <a:gd name="connsiteX135" fmla="*/ 668677 w 4519987"/>
                    <a:gd name="connsiteY135" fmla="*/ 676275 h 4496940"/>
                    <a:gd name="connsiteX136" fmla="*/ 697252 w 4519987"/>
                    <a:gd name="connsiteY136" fmla="*/ 657225 h 4496940"/>
                    <a:gd name="connsiteX137" fmla="*/ 840127 w 4519987"/>
                    <a:gd name="connsiteY137" fmla="*/ 533400 h 4496940"/>
                    <a:gd name="connsiteX138" fmla="*/ 887752 w 4519987"/>
                    <a:gd name="connsiteY138" fmla="*/ 504825 h 4496940"/>
                    <a:gd name="connsiteX139" fmla="*/ 1167152 w 4519987"/>
                    <a:gd name="connsiteY139" fmla="*/ 311150 h 4496940"/>
                    <a:gd name="connsiteX140" fmla="*/ 1268752 w 4519987"/>
                    <a:gd name="connsiteY140" fmla="*/ 285750 h 4496940"/>
                    <a:gd name="connsiteX141" fmla="*/ 1411627 w 4519987"/>
                    <a:gd name="connsiteY141" fmla="*/ 190500 h 4496940"/>
                    <a:gd name="connsiteX142" fmla="*/ 1449727 w 4519987"/>
                    <a:gd name="connsiteY142" fmla="*/ 161925 h 4496940"/>
                    <a:gd name="connsiteX143" fmla="*/ 1525927 w 4519987"/>
                    <a:gd name="connsiteY143" fmla="*/ 152400 h 4496940"/>
                    <a:gd name="connsiteX144" fmla="*/ 1583077 w 4519987"/>
                    <a:gd name="connsiteY144" fmla="*/ 142875 h 4496940"/>
                    <a:gd name="connsiteX145" fmla="*/ 1716427 w 4519987"/>
                    <a:gd name="connsiteY145" fmla="*/ 123825 h 4496940"/>
                    <a:gd name="connsiteX146" fmla="*/ 1811677 w 4519987"/>
                    <a:gd name="connsiteY146" fmla="*/ 114300 h 4496940"/>
                    <a:gd name="connsiteX147" fmla="*/ 1859302 w 4519987"/>
                    <a:gd name="connsiteY147" fmla="*/ 104775 h 4496940"/>
                    <a:gd name="connsiteX148" fmla="*/ 1916452 w 4519987"/>
                    <a:gd name="connsiteY148" fmla="*/ 95250 h 4496940"/>
                    <a:gd name="connsiteX149" fmla="*/ 2030752 w 4519987"/>
                    <a:gd name="connsiteY149" fmla="*/ 66675 h 4496940"/>
                    <a:gd name="connsiteX150" fmla="*/ 2097427 w 4519987"/>
                    <a:gd name="connsiteY150" fmla="*/ 47625 h 4496940"/>
                    <a:gd name="connsiteX151" fmla="*/ 2164102 w 4519987"/>
                    <a:gd name="connsiteY151" fmla="*/ 38100 h 4496940"/>
                    <a:gd name="connsiteX152" fmla="*/ 2392702 w 4519987"/>
                    <a:gd name="connsiteY15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745252 w 4519987"/>
                    <a:gd name="connsiteY20" fmla="*/ 542925 h 4496940"/>
                    <a:gd name="connsiteX21" fmla="*/ 3811927 w 4519987"/>
                    <a:gd name="connsiteY21" fmla="*/ 581025 h 4496940"/>
                    <a:gd name="connsiteX22" fmla="*/ 3907177 w 4519987"/>
                    <a:gd name="connsiteY22" fmla="*/ 647700 h 4496940"/>
                    <a:gd name="connsiteX23" fmla="*/ 3935752 w 4519987"/>
                    <a:gd name="connsiteY23" fmla="*/ 676275 h 4496940"/>
                    <a:gd name="connsiteX24" fmla="*/ 4078627 w 4519987"/>
                    <a:gd name="connsiteY24" fmla="*/ 838200 h 4496940"/>
                    <a:gd name="connsiteX25" fmla="*/ 4135777 w 4519987"/>
                    <a:gd name="connsiteY25" fmla="*/ 933450 h 4496940"/>
                    <a:gd name="connsiteX26" fmla="*/ 4164352 w 4519987"/>
                    <a:gd name="connsiteY26" fmla="*/ 990600 h 4496940"/>
                    <a:gd name="connsiteX27" fmla="*/ 4173877 w 4519987"/>
                    <a:gd name="connsiteY27" fmla="*/ 1019175 h 4496940"/>
                    <a:gd name="connsiteX28" fmla="*/ 4192927 w 4519987"/>
                    <a:gd name="connsiteY28" fmla="*/ 1057275 h 4496940"/>
                    <a:gd name="connsiteX29" fmla="*/ 4202452 w 4519987"/>
                    <a:gd name="connsiteY29" fmla="*/ 1085850 h 4496940"/>
                    <a:gd name="connsiteX30" fmla="*/ 4250077 w 4519987"/>
                    <a:gd name="connsiteY30" fmla="*/ 1143000 h 4496940"/>
                    <a:gd name="connsiteX31" fmla="*/ 4259602 w 4519987"/>
                    <a:gd name="connsiteY31" fmla="*/ 1190625 h 4496940"/>
                    <a:gd name="connsiteX32" fmla="*/ 4307227 w 4519987"/>
                    <a:gd name="connsiteY32" fmla="*/ 1266825 h 4496940"/>
                    <a:gd name="connsiteX33" fmla="*/ 4345327 w 4519987"/>
                    <a:gd name="connsiteY33" fmla="*/ 1362075 h 4496940"/>
                    <a:gd name="connsiteX34" fmla="*/ 4373902 w 4519987"/>
                    <a:gd name="connsiteY34" fmla="*/ 1428750 h 4496940"/>
                    <a:gd name="connsiteX35" fmla="*/ 4392952 w 4519987"/>
                    <a:gd name="connsiteY35" fmla="*/ 1552575 h 4496940"/>
                    <a:gd name="connsiteX36" fmla="*/ 4402477 w 4519987"/>
                    <a:gd name="connsiteY36" fmla="*/ 1590675 h 4496940"/>
                    <a:gd name="connsiteX37" fmla="*/ 4431052 w 4519987"/>
                    <a:gd name="connsiteY37" fmla="*/ 1685925 h 4496940"/>
                    <a:gd name="connsiteX38" fmla="*/ 4519952 w 4519987"/>
                    <a:gd name="connsiteY38" fmla="*/ 2181225 h 4496940"/>
                    <a:gd name="connsiteX39" fmla="*/ 4446927 w 4519987"/>
                    <a:gd name="connsiteY39" fmla="*/ 2768600 h 4496940"/>
                    <a:gd name="connsiteX40" fmla="*/ 4383427 w 4519987"/>
                    <a:gd name="connsiteY40" fmla="*/ 2990850 h 4496940"/>
                    <a:gd name="connsiteX41" fmla="*/ 4278652 w 4519987"/>
                    <a:gd name="connsiteY41" fmla="*/ 3248025 h 4496940"/>
                    <a:gd name="connsiteX42" fmla="*/ 4259602 w 4519987"/>
                    <a:gd name="connsiteY42" fmla="*/ 3276600 h 4496940"/>
                    <a:gd name="connsiteX43" fmla="*/ 4221502 w 4519987"/>
                    <a:gd name="connsiteY43" fmla="*/ 3333750 h 4496940"/>
                    <a:gd name="connsiteX44" fmla="*/ 4211977 w 4519987"/>
                    <a:gd name="connsiteY44" fmla="*/ 3362325 h 4496940"/>
                    <a:gd name="connsiteX45" fmla="*/ 4183402 w 4519987"/>
                    <a:gd name="connsiteY45" fmla="*/ 3400425 h 4496940"/>
                    <a:gd name="connsiteX46" fmla="*/ 4164352 w 4519987"/>
                    <a:gd name="connsiteY46" fmla="*/ 3429000 h 4496940"/>
                    <a:gd name="connsiteX47" fmla="*/ 4088152 w 4519987"/>
                    <a:gd name="connsiteY47" fmla="*/ 3495675 h 4496940"/>
                    <a:gd name="connsiteX48" fmla="*/ 4059577 w 4519987"/>
                    <a:gd name="connsiteY48" fmla="*/ 3533775 h 4496940"/>
                    <a:gd name="connsiteX49" fmla="*/ 4002427 w 4519987"/>
                    <a:gd name="connsiteY49" fmla="*/ 3600450 h 4496940"/>
                    <a:gd name="connsiteX50" fmla="*/ 3983377 w 4519987"/>
                    <a:gd name="connsiteY50" fmla="*/ 3629025 h 4496940"/>
                    <a:gd name="connsiteX51" fmla="*/ 3954802 w 4519987"/>
                    <a:gd name="connsiteY51" fmla="*/ 3648075 h 4496940"/>
                    <a:gd name="connsiteX52" fmla="*/ 3907177 w 4519987"/>
                    <a:gd name="connsiteY52" fmla="*/ 3686175 h 4496940"/>
                    <a:gd name="connsiteX53" fmla="*/ 3869077 w 4519987"/>
                    <a:gd name="connsiteY53" fmla="*/ 3724275 h 4496940"/>
                    <a:gd name="connsiteX54" fmla="*/ 3792877 w 4519987"/>
                    <a:gd name="connsiteY54" fmla="*/ 3781425 h 4496940"/>
                    <a:gd name="connsiteX55" fmla="*/ 3783352 w 4519987"/>
                    <a:gd name="connsiteY55" fmla="*/ 3810000 h 4496940"/>
                    <a:gd name="connsiteX56" fmla="*/ 3745252 w 4519987"/>
                    <a:gd name="connsiteY56" fmla="*/ 3819525 h 4496940"/>
                    <a:gd name="connsiteX57" fmla="*/ 3678577 w 4519987"/>
                    <a:gd name="connsiteY57" fmla="*/ 3848100 h 4496940"/>
                    <a:gd name="connsiteX58" fmla="*/ 3659527 w 4519987"/>
                    <a:gd name="connsiteY58" fmla="*/ 3971925 h 4496940"/>
                    <a:gd name="connsiteX59" fmla="*/ 3630952 w 4519987"/>
                    <a:gd name="connsiteY59" fmla="*/ 4010025 h 4496940"/>
                    <a:gd name="connsiteX60" fmla="*/ 3621427 w 4519987"/>
                    <a:gd name="connsiteY60" fmla="*/ 4038600 h 4496940"/>
                    <a:gd name="connsiteX61" fmla="*/ 3554752 w 4519987"/>
                    <a:gd name="connsiteY61" fmla="*/ 4095750 h 4496940"/>
                    <a:gd name="connsiteX62" fmla="*/ 3516652 w 4519987"/>
                    <a:gd name="connsiteY62" fmla="*/ 4114800 h 4496940"/>
                    <a:gd name="connsiteX63" fmla="*/ 3497602 w 4519987"/>
                    <a:gd name="connsiteY63" fmla="*/ 4143375 h 4496940"/>
                    <a:gd name="connsiteX64" fmla="*/ 3383302 w 4519987"/>
                    <a:gd name="connsiteY64" fmla="*/ 4210050 h 4496940"/>
                    <a:gd name="connsiteX65" fmla="*/ 3335677 w 4519987"/>
                    <a:gd name="connsiteY65" fmla="*/ 4238625 h 4496940"/>
                    <a:gd name="connsiteX66" fmla="*/ 3288052 w 4519987"/>
                    <a:gd name="connsiteY66" fmla="*/ 4248150 h 4496940"/>
                    <a:gd name="connsiteX67" fmla="*/ 3240427 w 4519987"/>
                    <a:gd name="connsiteY67" fmla="*/ 4267200 h 4496940"/>
                    <a:gd name="connsiteX68" fmla="*/ 3068977 w 4519987"/>
                    <a:gd name="connsiteY68" fmla="*/ 4286250 h 4496940"/>
                    <a:gd name="connsiteX69" fmla="*/ 2935627 w 4519987"/>
                    <a:gd name="connsiteY69" fmla="*/ 4333875 h 4496940"/>
                    <a:gd name="connsiteX70" fmla="*/ 2811802 w 4519987"/>
                    <a:gd name="connsiteY70" fmla="*/ 4371975 h 4496940"/>
                    <a:gd name="connsiteX71" fmla="*/ 2745127 w 4519987"/>
                    <a:gd name="connsiteY71" fmla="*/ 4410075 h 4496940"/>
                    <a:gd name="connsiteX72" fmla="*/ 2697502 w 4519987"/>
                    <a:gd name="connsiteY72" fmla="*/ 4429125 h 4496940"/>
                    <a:gd name="connsiteX73" fmla="*/ 2640352 w 4519987"/>
                    <a:gd name="connsiteY73" fmla="*/ 4457700 h 4496940"/>
                    <a:gd name="connsiteX74" fmla="*/ 2583202 w 4519987"/>
                    <a:gd name="connsiteY74" fmla="*/ 4467225 h 4496940"/>
                    <a:gd name="connsiteX75" fmla="*/ 2545102 w 4519987"/>
                    <a:gd name="connsiteY75" fmla="*/ 4486275 h 4496940"/>
                    <a:gd name="connsiteX76" fmla="*/ 2306977 w 4519987"/>
                    <a:gd name="connsiteY76" fmla="*/ 4476750 h 4496940"/>
                    <a:gd name="connsiteX77" fmla="*/ 2202202 w 4519987"/>
                    <a:gd name="connsiteY77" fmla="*/ 4457700 h 4496940"/>
                    <a:gd name="connsiteX78" fmla="*/ 2126002 w 4519987"/>
                    <a:gd name="connsiteY78" fmla="*/ 4429125 h 4496940"/>
                    <a:gd name="connsiteX79" fmla="*/ 1935502 w 4519987"/>
                    <a:gd name="connsiteY79" fmla="*/ 4400550 h 4496940"/>
                    <a:gd name="connsiteX80" fmla="*/ 1821202 w 4519987"/>
                    <a:gd name="connsiteY80" fmla="*/ 4371975 h 4496940"/>
                    <a:gd name="connsiteX81" fmla="*/ 1754527 w 4519987"/>
                    <a:gd name="connsiteY81" fmla="*/ 4352925 h 4496940"/>
                    <a:gd name="connsiteX82" fmla="*/ 1687852 w 4519987"/>
                    <a:gd name="connsiteY82" fmla="*/ 4343400 h 4496940"/>
                    <a:gd name="connsiteX83" fmla="*/ 1573552 w 4519987"/>
                    <a:gd name="connsiteY83" fmla="*/ 4305300 h 4496940"/>
                    <a:gd name="connsiteX84" fmla="*/ 1402102 w 4519987"/>
                    <a:gd name="connsiteY84" fmla="*/ 4276725 h 4496940"/>
                    <a:gd name="connsiteX85" fmla="*/ 1287802 w 4519987"/>
                    <a:gd name="connsiteY85" fmla="*/ 4229100 h 4496940"/>
                    <a:gd name="connsiteX86" fmla="*/ 1221127 w 4519987"/>
                    <a:gd name="connsiteY86" fmla="*/ 4200525 h 4496940"/>
                    <a:gd name="connsiteX87" fmla="*/ 1144927 w 4519987"/>
                    <a:gd name="connsiteY87" fmla="*/ 4171950 h 4496940"/>
                    <a:gd name="connsiteX88" fmla="*/ 1087777 w 4519987"/>
                    <a:gd name="connsiteY88" fmla="*/ 4143375 h 4496940"/>
                    <a:gd name="connsiteX89" fmla="*/ 1030627 w 4519987"/>
                    <a:gd name="connsiteY89" fmla="*/ 4124325 h 4496940"/>
                    <a:gd name="connsiteX90" fmla="*/ 925852 w 4519987"/>
                    <a:gd name="connsiteY90" fmla="*/ 4067175 h 4496940"/>
                    <a:gd name="connsiteX91" fmla="*/ 830602 w 4519987"/>
                    <a:gd name="connsiteY91" fmla="*/ 3981450 h 4496940"/>
                    <a:gd name="connsiteX92" fmla="*/ 763927 w 4519987"/>
                    <a:gd name="connsiteY92" fmla="*/ 3914775 h 4496940"/>
                    <a:gd name="connsiteX93" fmla="*/ 725827 w 4519987"/>
                    <a:gd name="connsiteY93" fmla="*/ 3876675 h 4496940"/>
                    <a:gd name="connsiteX94" fmla="*/ 697252 w 4519987"/>
                    <a:gd name="connsiteY94" fmla="*/ 3838575 h 4496940"/>
                    <a:gd name="connsiteX95" fmla="*/ 640102 w 4519987"/>
                    <a:gd name="connsiteY95" fmla="*/ 3781425 h 4496940"/>
                    <a:gd name="connsiteX96" fmla="*/ 611527 w 4519987"/>
                    <a:gd name="connsiteY96" fmla="*/ 3733800 h 4496940"/>
                    <a:gd name="connsiteX97" fmla="*/ 554377 w 4519987"/>
                    <a:gd name="connsiteY97" fmla="*/ 3657600 h 4496940"/>
                    <a:gd name="connsiteX98" fmla="*/ 525802 w 4519987"/>
                    <a:gd name="connsiteY98" fmla="*/ 3609975 h 4496940"/>
                    <a:gd name="connsiteX99" fmla="*/ 497227 w 4519987"/>
                    <a:gd name="connsiteY99" fmla="*/ 3552825 h 4496940"/>
                    <a:gd name="connsiteX100" fmla="*/ 440077 w 4519987"/>
                    <a:gd name="connsiteY100" fmla="*/ 3495675 h 4496940"/>
                    <a:gd name="connsiteX101" fmla="*/ 411502 w 4519987"/>
                    <a:gd name="connsiteY101" fmla="*/ 3448050 h 4496940"/>
                    <a:gd name="connsiteX102" fmla="*/ 278152 w 4519987"/>
                    <a:gd name="connsiteY102" fmla="*/ 3257550 h 4496940"/>
                    <a:gd name="connsiteX103" fmla="*/ 249577 w 4519987"/>
                    <a:gd name="connsiteY103" fmla="*/ 3200400 h 4496940"/>
                    <a:gd name="connsiteX104" fmla="*/ 240052 w 4519987"/>
                    <a:gd name="connsiteY104" fmla="*/ 3162300 h 4496940"/>
                    <a:gd name="connsiteX105" fmla="*/ 221002 w 4519987"/>
                    <a:gd name="connsiteY105" fmla="*/ 3105150 h 4496940"/>
                    <a:gd name="connsiteX106" fmla="*/ 173377 w 4519987"/>
                    <a:gd name="connsiteY106" fmla="*/ 3019425 h 4496940"/>
                    <a:gd name="connsiteX107" fmla="*/ 144802 w 4519987"/>
                    <a:gd name="connsiteY107" fmla="*/ 2924175 h 4496940"/>
                    <a:gd name="connsiteX108" fmla="*/ 68602 w 4519987"/>
                    <a:gd name="connsiteY108" fmla="*/ 2724150 h 4496940"/>
                    <a:gd name="connsiteX109" fmla="*/ 49552 w 4519987"/>
                    <a:gd name="connsiteY109" fmla="*/ 2638425 h 4496940"/>
                    <a:gd name="connsiteX110" fmla="*/ 40027 w 4519987"/>
                    <a:gd name="connsiteY110" fmla="*/ 2562225 h 4496940"/>
                    <a:gd name="connsiteX111" fmla="*/ 30502 w 4519987"/>
                    <a:gd name="connsiteY111" fmla="*/ 2514600 h 4496940"/>
                    <a:gd name="connsiteX112" fmla="*/ 11452 w 4519987"/>
                    <a:gd name="connsiteY112" fmla="*/ 2400300 h 4496940"/>
                    <a:gd name="connsiteX113" fmla="*/ 20977 w 4519987"/>
                    <a:gd name="connsiteY113" fmla="*/ 1905000 h 4496940"/>
                    <a:gd name="connsiteX114" fmla="*/ 30502 w 4519987"/>
                    <a:gd name="connsiteY114" fmla="*/ 1838325 h 4496940"/>
                    <a:gd name="connsiteX115" fmla="*/ 49552 w 4519987"/>
                    <a:gd name="connsiteY115" fmla="*/ 1781175 h 4496940"/>
                    <a:gd name="connsiteX116" fmla="*/ 59077 w 4519987"/>
                    <a:gd name="connsiteY116" fmla="*/ 1743075 h 4496940"/>
                    <a:gd name="connsiteX117" fmla="*/ 78127 w 4519987"/>
                    <a:gd name="connsiteY117" fmla="*/ 1685925 h 4496940"/>
                    <a:gd name="connsiteX118" fmla="*/ 87652 w 4519987"/>
                    <a:gd name="connsiteY118" fmla="*/ 1638300 h 4496940"/>
                    <a:gd name="connsiteX119" fmla="*/ 106702 w 4519987"/>
                    <a:gd name="connsiteY119" fmla="*/ 1590675 h 4496940"/>
                    <a:gd name="connsiteX120" fmla="*/ 135277 w 4519987"/>
                    <a:gd name="connsiteY120" fmla="*/ 1504950 h 4496940"/>
                    <a:gd name="connsiteX121" fmla="*/ 154327 w 4519987"/>
                    <a:gd name="connsiteY121" fmla="*/ 1419225 h 4496940"/>
                    <a:gd name="connsiteX122" fmla="*/ 230527 w 4519987"/>
                    <a:gd name="connsiteY122" fmla="*/ 1276350 h 4496940"/>
                    <a:gd name="connsiteX123" fmla="*/ 240052 w 4519987"/>
                    <a:gd name="connsiteY123" fmla="*/ 1247775 h 4496940"/>
                    <a:gd name="connsiteX124" fmla="*/ 268627 w 4519987"/>
                    <a:gd name="connsiteY124" fmla="*/ 1200150 h 4496940"/>
                    <a:gd name="connsiteX125" fmla="*/ 287677 w 4519987"/>
                    <a:gd name="connsiteY125" fmla="*/ 1152525 h 4496940"/>
                    <a:gd name="connsiteX126" fmla="*/ 316252 w 4519987"/>
                    <a:gd name="connsiteY126" fmla="*/ 1114425 h 4496940"/>
                    <a:gd name="connsiteX127" fmla="*/ 363877 w 4519987"/>
                    <a:gd name="connsiteY127" fmla="*/ 1038225 h 4496940"/>
                    <a:gd name="connsiteX128" fmla="*/ 382927 w 4519987"/>
                    <a:gd name="connsiteY128" fmla="*/ 1009650 h 4496940"/>
                    <a:gd name="connsiteX129" fmla="*/ 440077 w 4519987"/>
                    <a:gd name="connsiteY129" fmla="*/ 904875 h 4496940"/>
                    <a:gd name="connsiteX130" fmla="*/ 478177 w 4519987"/>
                    <a:gd name="connsiteY130" fmla="*/ 857250 h 4496940"/>
                    <a:gd name="connsiteX131" fmla="*/ 497227 w 4519987"/>
                    <a:gd name="connsiteY131" fmla="*/ 828675 h 4496940"/>
                    <a:gd name="connsiteX132" fmla="*/ 535327 w 4519987"/>
                    <a:gd name="connsiteY132" fmla="*/ 800100 h 4496940"/>
                    <a:gd name="connsiteX133" fmla="*/ 602002 w 4519987"/>
                    <a:gd name="connsiteY133" fmla="*/ 733425 h 4496940"/>
                    <a:gd name="connsiteX134" fmla="*/ 668677 w 4519987"/>
                    <a:gd name="connsiteY134" fmla="*/ 676275 h 4496940"/>
                    <a:gd name="connsiteX135" fmla="*/ 697252 w 4519987"/>
                    <a:gd name="connsiteY135" fmla="*/ 657225 h 4496940"/>
                    <a:gd name="connsiteX136" fmla="*/ 840127 w 4519987"/>
                    <a:gd name="connsiteY136" fmla="*/ 533400 h 4496940"/>
                    <a:gd name="connsiteX137" fmla="*/ 887752 w 4519987"/>
                    <a:gd name="connsiteY137" fmla="*/ 504825 h 4496940"/>
                    <a:gd name="connsiteX138" fmla="*/ 1167152 w 4519987"/>
                    <a:gd name="connsiteY138" fmla="*/ 311150 h 4496940"/>
                    <a:gd name="connsiteX139" fmla="*/ 1268752 w 4519987"/>
                    <a:gd name="connsiteY139" fmla="*/ 285750 h 4496940"/>
                    <a:gd name="connsiteX140" fmla="*/ 1411627 w 4519987"/>
                    <a:gd name="connsiteY140" fmla="*/ 190500 h 4496940"/>
                    <a:gd name="connsiteX141" fmla="*/ 1449727 w 4519987"/>
                    <a:gd name="connsiteY141" fmla="*/ 161925 h 4496940"/>
                    <a:gd name="connsiteX142" fmla="*/ 1525927 w 4519987"/>
                    <a:gd name="connsiteY142" fmla="*/ 152400 h 4496940"/>
                    <a:gd name="connsiteX143" fmla="*/ 1583077 w 4519987"/>
                    <a:gd name="connsiteY143" fmla="*/ 142875 h 4496940"/>
                    <a:gd name="connsiteX144" fmla="*/ 1716427 w 4519987"/>
                    <a:gd name="connsiteY144" fmla="*/ 123825 h 4496940"/>
                    <a:gd name="connsiteX145" fmla="*/ 1811677 w 4519987"/>
                    <a:gd name="connsiteY145" fmla="*/ 114300 h 4496940"/>
                    <a:gd name="connsiteX146" fmla="*/ 1859302 w 4519987"/>
                    <a:gd name="connsiteY146" fmla="*/ 104775 h 4496940"/>
                    <a:gd name="connsiteX147" fmla="*/ 1916452 w 4519987"/>
                    <a:gd name="connsiteY147" fmla="*/ 95250 h 4496940"/>
                    <a:gd name="connsiteX148" fmla="*/ 2030752 w 4519987"/>
                    <a:gd name="connsiteY148" fmla="*/ 66675 h 4496940"/>
                    <a:gd name="connsiteX149" fmla="*/ 2097427 w 4519987"/>
                    <a:gd name="connsiteY149" fmla="*/ 47625 h 4496940"/>
                    <a:gd name="connsiteX150" fmla="*/ 2164102 w 4519987"/>
                    <a:gd name="connsiteY150" fmla="*/ 38100 h 4496940"/>
                    <a:gd name="connsiteX151" fmla="*/ 2392702 w 4519987"/>
                    <a:gd name="connsiteY15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3935752 w 4519987"/>
                    <a:gd name="connsiteY22" fmla="*/ 676275 h 4496940"/>
                    <a:gd name="connsiteX23" fmla="*/ 4078627 w 4519987"/>
                    <a:gd name="connsiteY23" fmla="*/ 838200 h 4496940"/>
                    <a:gd name="connsiteX24" fmla="*/ 4135777 w 4519987"/>
                    <a:gd name="connsiteY24" fmla="*/ 933450 h 4496940"/>
                    <a:gd name="connsiteX25" fmla="*/ 4164352 w 4519987"/>
                    <a:gd name="connsiteY25" fmla="*/ 990600 h 4496940"/>
                    <a:gd name="connsiteX26" fmla="*/ 4173877 w 4519987"/>
                    <a:gd name="connsiteY26" fmla="*/ 1019175 h 4496940"/>
                    <a:gd name="connsiteX27" fmla="*/ 4192927 w 4519987"/>
                    <a:gd name="connsiteY27" fmla="*/ 1057275 h 4496940"/>
                    <a:gd name="connsiteX28" fmla="*/ 4202452 w 4519987"/>
                    <a:gd name="connsiteY28" fmla="*/ 1085850 h 4496940"/>
                    <a:gd name="connsiteX29" fmla="*/ 4250077 w 4519987"/>
                    <a:gd name="connsiteY29" fmla="*/ 1143000 h 4496940"/>
                    <a:gd name="connsiteX30" fmla="*/ 4259602 w 4519987"/>
                    <a:gd name="connsiteY30" fmla="*/ 1190625 h 4496940"/>
                    <a:gd name="connsiteX31" fmla="*/ 4307227 w 4519987"/>
                    <a:gd name="connsiteY31" fmla="*/ 1266825 h 4496940"/>
                    <a:gd name="connsiteX32" fmla="*/ 4345327 w 4519987"/>
                    <a:gd name="connsiteY32" fmla="*/ 1362075 h 4496940"/>
                    <a:gd name="connsiteX33" fmla="*/ 4373902 w 4519987"/>
                    <a:gd name="connsiteY33" fmla="*/ 1428750 h 4496940"/>
                    <a:gd name="connsiteX34" fmla="*/ 4392952 w 4519987"/>
                    <a:gd name="connsiteY34" fmla="*/ 1552575 h 4496940"/>
                    <a:gd name="connsiteX35" fmla="*/ 4402477 w 4519987"/>
                    <a:gd name="connsiteY35" fmla="*/ 1590675 h 4496940"/>
                    <a:gd name="connsiteX36" fmla="*/ 4431052 w 4519987"/>
                    <a:gd name="connsiteY36" fmla="*/ 1685925 h 4496940"/>
                    <a:gd name="connsiteX37" fmla="*/ 4519952 w 4519987"/>
                    <a:gd name="connsiteY37" fmla="*/ 2181225 h 4496940"/>
                    <a:gd name="connsiteX38" fmla="*/ 4446927 w 4519987"/>
                    <a:gd name="connsiteY38" fmla="*/ 2768600 h 4496940"/>
                    <a:gd name="connsiteX39" fmla="*/ 4383427 w 4519987"/>
                    <a:gd name="connsiteY39" fmla="*/ 2990850 h 4496940"/>
                    <a:gd name="connsiteX40" fmla="*/ 4278652 w 4519987"/>
                    <a:gd name="connsiteY40" fmla="*/ 3248025 h 4496940"/>
                    <a:gd name="connsiteX41" fmla="*/ 4259602 w 4519987"/>
                    <a:gd name="connsiteY41" fmla="*/ 3276600 h 4496940"/>
                    <a:gd name="connsiteX42" fmla="*/ 4221502 w 4519987"/>
                    <a:gd name="connsiteY42" fmla="*/ 3333750 h 4496940"/>
                    <a:gd name="connsiteX43" fmla="*/ 4211977 w 4519987"/>
                    <a:gd name="connsiteY43" fmla="*/ 3362325 h 4496940"/>
                    <a:gd name="connsiteX44" fmla="*/ 4183402 w 4519987"/>
                    <a:gd name="connsiteY44" fmla="*/ 3400425 h 4496940"/>
                    <a:gd name="connsiteX45" fmla="*/ 4164352 w 4519987"/>
                    <a:gd name="connsiteY45" fmla="*/ 3429000 h 4496940"/>
                    <a:gd name="connsiteX46" fmla="*/ 4088152 w 4519987"/>
                    <a:gd name="connsiteY46" fmla="*/ 3495675 h 4496940"/>
                    <a:gd name="connsiteX47" fmla="*/ 4059577 w 4519987"/>
                    <a:gd name="connsiteY47" fmla="*/ 3533775 h 4496940"/>
                    <a:gd name="connsiteX48" fmla="*/ 4002427 w 4519987"/>
                    <a:gd name="connsiteY48" fmla="*/ 3600450 h 4496940"/>
                    <a:gd name="connsiteX49" fmla="*/ 3983377 w 4519987"/>
                    <a:gd name="connsiteY49" fmla="*/ 3629025 h 4496940"/>
                    <a:gd name="connsiteX50" fmla="*/ 3954802 w 4519987"/>
                    <a:gd name="connsiteY50" fmla="*/ 3648075 h 4496940"/>
                    <a:gd name="connsiteX51" fmla="*/ 3907177 w 4519987"/>
                    <a:gd name="connsiteY51" fmla="*/ 3686175 h 4496940"/>
                    <a:gd name="connsiteX52" fmla="*/ 3869077 w 4519987"/>
                    <a:gd name="connsiteY52" fmla="*/ 3724275 h 4496940"/>
                    <a:gd name="connsiteX53" fmla="*/ 3792877 w 4519987"/>
                    <a:gd name="connsiteY53" fmla="*/ 3781425 h 4496940"/>
                    <a:gd name="connsiteX54" fmla="*/ 3783352 w 4519987"/>
                    <a:gd name="connsiteY54" fmla="*/ 3810000 h 4496940"/>
                    <a:gd name="connsiteX55" fmla="*/ 3745252 w 4519987"/>
                    <a:gd name="connsiteY55" fmla="*/ 3819525 h 4496940"/>
                    <a:gd name="connsiteX56" fmla="*/ 3678577 w 4519987"/>
                    <a:gd name="connsiteY56" fmla="*/ 3848100 h 4496940"/>
                    <a:gd name="connsiteX57" fmla="*/ 3659527 w 4519987"/>
                    <a:gd name="connsiteY57" fmla="*/ 3971925 h 4496940"/>
                    <a:gd name="connsiteX58" fmla="*/ 3630952 w 4519987"/>
                    <a:gd name="connsiteY58" fmla="*/ 4010025 h 4496940"/>
                    <a:gd name="connsiteX59" fmla="*/ 3621427 w 4519987"/>
                    <a:gd name="connsiteY59" fmla="*/ 4038600 h 4496940"/>
                    <a:gd name="connsiteX60" fmla="*/ 3554752 w 4519987"/>
                    <a:gd name="connsiteY60" fmla="*/ 4095750 h 4496940"/>
                    <a:gd name="connsiteX61" fmla="*/ 3516652 w 4519987"/>
                    <a:gd name="connsiteY61" fmla="*/ 4114800 h 4496940"/>
                    <a:gd name="connsiteX62" fmla="*/ 3497602 w 4519987"/>
                    <a:gd name="connsiteY62" fmla="*/ 4143375 h 4496940"/>
                    <a:gd name="connsiteX63" fmla="*/ 3383302 w 4519987"/>
                    <a:gd name="connsiteY63" fmla="*/ 4210050 h 4496940"/>
                    <a:gd name="connsiteX64" fmla="*/ 3335677 w 4519987"/>
                    <a:gd name="connsiteY64" fmla="*/ 4238625 h 4496940"/>
                    <a:gd name="connsiteX65" fmla="*/ 3288052 w 4519987"/>
                    <a:gd name="connsiteY65" fmla="*/ 4248150 h 4496940"/>
                    <a:gd name="connsiteX66" fmla="*/ 3240427 w 4519987"/>
                    <a:gd name="connsiteY66" fmla="*/ 4267200 h 4496940"/>
                    <a:gd name="connsiteX67" fmla="*/ 3068977 w 4519987"/>
                    <a:gd name="connsiteY67" fmla="*/ 4286250 h 4496940"/>
                    <a:gd name="connsiteX68" fmla="*/ 2935627 w 4519987"/>
                    <a:gd name="connsiteY68" fmla="*/ 4333875 h 4496940"/>
                    <a:gd name="connsiteX69" fmla="*/ 2811802 w 4519987"/>
                    <a:gd name="connsiteY69" fmla="*/ 4371975 h 4496940"/>
                    <a:gd name="connsiteX70" fmla="*/ 2745127 w 4519987"/>
                    <a:gd name="connsiteY70" fmla="*/ 4410075 h 4496940"/>
                    <a:gd name="connsiteX71" fmla="*/ 2697502 w 4519987"/>
                    <a:gd name="connsiteY71" fmla="*/ 4429125 h 4496940"/>
                    <a:gd name="connsiteX72" fmla="*/ 2640352 w 4519987"/>
                    <a:gd name="connsiteY72" fmla="*/ 4457700 h 4496940"/>
                    <a:gd name="connsiteX73" fmla="*/ 2583202 w 4519987"/>
                    <a:gd name="connsiteY73" fmla="*/ 4467225 h 4496940"/>
                    <a:gd name="connsiteX74" fmla="*/ 2545102 w 4519987"/>
                    <a:gd name="connsiteY74" fmla="*/ 4486275 h 4496940"/>
                    <a:gd name="connsiteX75" fmla="*/ 2306977 w 4519987"/>
                    <a:gd name="connsiteY75" fmla="*/ 4476750 h 4496940"/>
                    <a:gd name="connsiteX76" fmla="*/ 2202202 w 4519987"/>
                    <a:gd name="connsiteY76" fmla="*/ 4457700 h 4496940"/>
                    <a:gd name="connsiteX77" fmla="*/ 2126002 w 4519987"/>
                    <a:gd name="connsiteY77" fmla="*/ 4429125 h 4496940"/>
                    <a:gd name="connsiteX78" fmla="*/ 1935502 w 4519987"/>
                    <a:gd name="connsiteY78" fmla="*/ 4400550 h 4496940"/>
                    <a:gd name="connsiteX79" fmla="*/ 1821202 w 4519987"/>
                    <a:gd name="connsiteY79" fmla="*/ 4371975 h 4496940"/>
                    <a:gd name="connsiteX80" fmla="*/ 1754527 w 4519987"/>
                    <a:gd name="connsiteY80" fmla="*/ 4352925 h 4496940"/>
                    <a:gd name="connsiteX81" fmla="*/ 1687852 w 4519987"/>
                    <a:gd name="connsiteY81" fmla="*/ 4343400 h 4496940"/>
                    <a:gd name="connsiteX82" fmla="*/ 1573552 w 4519987"/>
                    <a:gd name="connsiteY82" fmla="*/ 4305300 h 4496940"/>
                    <a:gd name="connsiteX83" fmla="*/ 1402102 w 4519987"/>
                    <a:gd name="connsiteY83" fmla="*/ 4276725 h 4496940"/>
                    <a:gd name="connsiteX84" fmla="*/ 1287802 w 4519987"/>
                    <a:gd name="connsiteY84" fmla="*/ 4229100 h 4496940"/>
                    <a:gd name="connsiteX85" fmla="*/ 1221127 w 4519987"/>
                    <a:gd name="connsiteY85" fmla="*/ 4200525 h 4496940"/>
                    <a:gd name="connsiteX86" fmla="*/ 1144927 w 4519987"/>
                    <a:gd name="connsiteY86" fmla="*/ 4171950 h 4496940"/>
                    <a:gd name="connsiteX87" fmla="*/ 1087777 w 4519987"/>
                    <a:gd name="connsiteY87" fmla="*/ 4143375 h 4496940"/>
                    <a:gd name="connsiteX88" fmla="*/ 1030627 w 4519987"/>
                    <a:gd name="connsiteY88" fmla="*/ 4124325 h 4496940"/>
                    <a:gd name="connsiteX89" fmla="*/ 925852 w 4519987"/>
                    <a:gd name="connsiteY89" fmla="*/ 4067175 h 4496940"/>
                    <a:gd name="connsiteX90" fmla="*/ 830602 w 4519987"/>
                    <a:gd name="connsiteY90" fmla="*/ 3981450 h 4496940"/>
                    <a:gd name="connsiteX91" fmla="*/ 763927 w 4519987"/>
                    <a:gd name="connsiteY91" fmla="*/ 3914775 h 4496940"/>
                    <a:gd name="connsiteX92" fmla="*/ 725827 w 4519987"/>
                    <a:gd name="connsiteY92" fmla="*/ 3876675 h 4496940"/>
                    <a:gd name="connsiteX93" fmla="*/ 697252 w 4519987"/>
                    <a:gd name="connsiteY93" fmla="*/ 3838575 h 4496940"/>
                    <a:gd name="connsiteX94" fmla="*/ 640102 w 4519987"/>
                    <a:gd name="connsiteY94" fmla="*/ 3781425 h 4496940"/>
                    <a:gd name="connsiteX95" fmla="*/ 611527 w 4519987"/>
                    <a:gd name="connsiteY95" fmla="*/ 3733800 h 4496940"/>
                    <a:gd name="connsiteX96" fmla="*/ 554377 w 4519987"/>
                    <a:gd name="connsiteY96" fmla="*/ 3657600 h 4496940"/>
                    <a:gd name="connsiteX97" fmla="*/ 525802 w 4519987"/>
                    <a:gd name="connsiteY97" fmla="*/ 3609975 h 4496940"/>
                    <a:gd name="connsiteX98" fmla="*/ 497227 w 4519987"/>
                    <a:gd name="connsiteY98" fmla="*/ 3552825 h 4496940"/>
                    <a:gd name="connsiteX99" fmla="*/ 440077 w 4519987"/>
                    <a:gd name="connsiteY99" fmla="*/ 3495675 h 4496940"/>
                    <a:gd name="connsiteX100" fmla="*/ 411502 w 4519987"/>
                    <a:gd name="connsiteY100" fmla="*/ 3448050 h 4496940"/>
                    <a:gd name="connsiteX101" fmla="*/ 278152 w 4519987"/>
                    <a:gd name="connsiteY101" fmla="*/ 3257550 h 4496940"/>
                    <a:gd name="connsiteX102" fmla="*/ 249577 w 4519987"/>
                    <a:gd name="connsiteY102" fmla="*/ 3200400 h 4496940"/>
                    <a:gd name="connsiteX103" fmla="*/ 240052 w 4519987"/>
                    <a:gd name="connsiteY103" fmla="*/ 3162300 h 4496940"/>
                    <a:gd name="connsiteX104" fmla="*/ 221002 w 4519987"/>
                    <a:gd name="connsiteY104" fmla="*/ 3105150 h 4496940"/>
                    <a:gd name="connsiteX105" fmla="*/ 173377 w 4519987"/>
                    <a:gd name="connsiteY105" fmla="*/ 3019425 h 4496940"/>
                    <a:gd name="connsiteX106" fmla="*/ 144802 w 4519987"/>
                    <a:gd name="connsiteY106" fmla="*/ 2924175 h 4496940"/>
                    <a:gd name="connsiteX107" fmla="*/ 68602 w 4519987"/>
                    <a:gd name="connsiteY107" fmla="*/ 2724150 h 4496940"/>
                    <a:gd name="connsiteX108" fmla="*/ 49552 w 4519987"/>
                    <a:gd name="connsiteY108" fmla="*/ 2638425 h 4496940"/>
                    <a:gd name="connsiteX109" fmla="*/ 40027 w 4519987"/>
                    <a:gd name="connsiteY109" fmla="*/ 2562225 h 4496940"/>
                    <a:gd name="connsiteX110" fmla="*/ 30502 w 4519987"/>
                    <a:gd name="connsiteY110" fmla="*/ 2514600 h 4496940"/>
                    <a:gd name="connsiteX111" fmla="*/ 11452 w 4519987"/>
                    <a:gd name="connsiteY111" fmla="*/ 2400300 h 4496940"/>
                    <a:gd name="connsiteX112" fmla="*/ 20977 w 4519987"/>
                    <a:gd name="connsiteY112" fmla="*/ 1905000 h 4496940"/>
                    <a:gd name="connsiteX113" fmla="*/ 30502 w 4519987"/>
                    <a:gd name="connsiteY113" fmla="*/ 1838325 h 4496940"/>
                    <a:gd name="connsiteX114" fmla="*/ 49552 w 4519987"/>
                    <a:gd name="connsiteY114" fmla="*/ 1781175 h 4496940"/>
                    <a:gd name="connsiteX115" fmla="*/ 59077 w 4519987"/>
                    <a:gd name="connsiteY115" fmla="*/ 1743075 h 4496940"/>
                    <a:gd name="connsiteX116" fmla="*/ 78127 w 4519987"/>
                    <a:gd name="connsiteY116" fmla="*/ 1685925 h 4496940"/>
                    <a:gd name="connsiteX117" fmla="*/ 87652 w 4519987"/>
                    <a:gd name="connsiteY117" fmla="*/ 1638300 h 4496940"/>
                    <a:gd name="connsiteX118" fmla="*/ 106702 w 4519987"/>
                    <a:gd name="connsiteY118" fmla="*/ 1590675 h 4496940"/>
                    <a:gd name="connsiteX119" fmla="*/ 135277 w 4519987"/>
                    <a:gd name="connsiteY119" fmla="*/ 1504950 h 4496940"/>
                    <a:gd name="connsiteX120" fmla="*/ 154327 w 4519987"/>
                    <a:gd name="connsiteY120" fmla="*/ 1419225 h 4496940"/>
                    <a:gd name="connsiteX121" fmla="*/ 230527 w 4519987"/>
                    <a:gd name="connsiteY121" fmla="*/ 1276350 h 4496940"/>
                    <a:gd name="connsiteX122" fmla="*/ 240052 w 4519987"/>
                    <a:gd name="connsiteY122" fmla="*/ 1247775 h 4496940"/>
                    <a:gd name="connsiteX123" fmla="*/ 268627 w 4519987"/>
                    <a:gd name="connsiteY123" fmla="*/ 1200150 h 4496940"/>
                    <a:gd name="connsiteX124" fmla="*/ 287677 w 4519987"/>
                    <a:gd name="connsiteY124" fmla="*/ 1152525 h 4496940"/>
                    <a:gd name="connsiteX125" fmla="*/ 316252 w 4519987"/>
                    <a:gd name="connsiteY125" fmla="*/ 1114425 h 4496940"/>
                    <a:gd name="connsiteX126" fmla="*/ 363877 w 4519987"/>
                    <a:gd name="connsiteY126" fmla="*/ 1038225 h 4496940"/>
                    <a:gd name="connsiteX127" fmla="*/ 382927 w 4519987"/>
                    <a:gd name="connsiteY127" fmla="*/ 1009650 h 4496940"/>
                    <a:gd name="connsiteX128" fmla="*/ 440077 w 4519987"/>
                    <a:gd name="connsiteY128" fmla="*/ 904875 h 4496940"/>
                    <a:gd name="connsiteX129" fmla="*/ 478177 w 4519987"/>
                    <a:gd name="connsiteY129" fmla="*/ 857250 h 4496940"/>
                    <a:gd name="connsiteX130" fmla="*/ 497227 w 4519987"/>
                    <a:gd name="connsiteY130" fmla="*/ 828675 h 4496940"/>
                    <a:gd name="connsiteX131" fmla="*/ 535327 w 4519987"/>
                    <a:gd name="connsiteY131" fmla="*/ 800100 h 4496940"/>
                    <a:gd name="connsiteX132" fmla="*/ 602002 w 4519987"/>
                    <a:gd name="connsiteY132" fmla="*/ 733425 h 4496940"/>
                    <a:gd name="connsiteX133" fmla="*/ 668677 w 4519987"/>
                    <a:gd name="connsiteY133" fmla="*/ 676275 h 4496940"/>
                    <a:gd name="connsiteX134" fmla="*/ 697252 w 4519987"/>
                    <a:gd name="connsiteY134" fmla="*/ 657225 h 4496940"/>
                    <a:gd name="connsiteX135" fmla="*/ 840127 w 4519987"/>
                    <a:gd name="connsiteY135" fmla="*/ 533400 h 4496940"/>
                    <a:gd name="connsiteX136" fmla="*/ 887752 w 4519987"/>
                    <a:gd name="connsiteY136" fmla="*/ 504825 h 4496940"/>
                    <a:gd name="connsiteX137" fmla="*/ 1167152 w 4519987"/>
                    <a:gd name="connsiteY137" fmla="*/ 311150 h 4496940"/>
                    <a:gd name="connsiteX138" fmla="*/ 1268752 w 4519987"/>
                    <a:gd name="connsiteY138" fmla="*/ 285750 h 4496940"/>
                    <a:gd name="connsiteX139" fmla="*/ 1411627 w 4519987"/>
                    <a:gd name="connsiteY139" fmla="*/ 190500 h 4496940"/>
                    <a:gd name="connsiteX140" fmla="*/ 1449727 w 4519987"/>
                    <a:gd name="connsiteY140" fmla="*/ 161925 h 4496940"/>
                    <a:gd name="connsiteX141" fmla="*/ 1525927 w 4519987"/>
                    <a:gd name="connsiteY141" fmla="*/ 152400 h 4496940"/>
                    <a:gd name="connsiteX142" fmla="*/ 1583077 w 4519987"/>
                    <a:gd name="connsiteY142" fmla="*/ 142875 h 4496940"/>
                    <a:gd name="connsiteX143" fmla="*/ 1716427 w 4519987"/>
                    <a:gd name="connsiteY143" fmla="*/ 123825 h 4496940"/>
                    <a:gd name="connsiteX144" fmla="*/ 1811677 w 4519987"/>
                    <a:gd name="connsiteY144" fmla="*/ 114300 h 4496940"/>
                    <a:gd name="connsiteX145" fmla="*/ 1859302 w 4519987"/>
                    <a:gd name="connsiteY145" fmla="*/ 104775 h 4496940"/>
                    <a:gd name="connsiteX146" fmla="*/ 1916452 w 4519987"/>
                    <a:gd name="connsiteY146" fmla="*/ 95250 h 4496940"/>
                    <a:gd name="connsiteX147" fmla="*/ 2030752 w 4519987"/>
                    <a:gd name="connsiteY147" fmla="*/ 66675 h 4496940"/>
                    <a:gd name="connsiteX148" fmla="*/ 2097427 w 4519987"/>
                    <a:gd name="connsiteY148" fmla="*/ 47625 h 4496940"/>
                    <a:gd name="connsiteX149" fmla="*/ 2164102 w 4519987"/>
                    <a:gd name="connsiteY149" fmla="*/ 38100 h 4496940"/>
                    <a:gd name="connsiteX150" fmla="*/ 2392702 w 4519987"/>
                    <a:gd name="connsiteY15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4078627 w 4519987"/>
                    <a:gd name="connsiteY22" fmla="*/ 838200 h 4496940"/>
                    <a:gd name="connsiteX23" fmla="*/ 4135777 w 4519987"/>
                    <a:gd name="connsiteY23" fmla="*/ 933450 h 4496940"/>
                    <a:gd name="connsiteX24" fmla="*/ 4164352 w 4519987"/>
                    <a:gd name="connsiteY24" fmla="*/ 990600 h 4496940"/>
                    <a:gd name="connsiteX25" fmla="*/ 4173877 w 4519987"/>
                    <a:gd name="connsiteY25" fmla="*/ 1019175 h 4496940"/>
                    <a:gd name="connsiteX26" fmla="*/ 4192927 w 4519987"/>
                    <a:gd name="connsiteY26" fmla="*/ 1057275 h 4496940"/>
                    <a:gd name="connsiteX27" fmla="*/ 4202452 w 4519987"/>
                    <a:gd name="connsiteY27" fmla="*/ 1085850 h 4496940"/>
                    <a:gd name="connsiteX28" fmla="*/ 4250077 w 4519987"/>
                    <a:gd name="connsiteY28" fmla="*/ 1143000 h 4496940"/>
                    <a:gd name="connsiteX29" fmla="*/ 4259602 w 4519987"/>
                    <a:gd name="connsiteY29" fmla="*/ 1190625 h 4496940"/>
                    <a:gd name="connsiteX30" fmla="*/ 4307227 w 4519987"/>
                    <a:gd name="connsiteY30" fmla="*/ 1266825 h 4496940"/>
                    <a:gd name="connsiteX31" fmla="*/ 4345327 w 4519987"/>
                    <a:gd name="connsiteY31" fmla="*/ 1362075 h 4496940"/>
                    <a:gd name="connsiteX32" fmla="*/ 4373902 w 4519987"/>
                    <a:gd name="connsiteY32" fmla="*/ 1428750 h 4496940"/>
                    <a:gd name="connsiteX33" fmla="*/ 4392952 w 4519987"/>
                    <a:gd name="connsiteY33" fmla="*/ 1552575 h 4496940"/>
                    <a:gd name="connsiteX34" fmla="*/ 4402477 w 4519987"/>
                    <a:gd name="connsiteY34" fmla="*/ 1590675 h 4496940"/>
                    <a:gd name="connsiteX35" fmla="*/ 4431052 w 4519987"/>
                    <a:gd name="connsiteY35" fmla="*/ 1685925 h 4496940"/>
                    <a:gd name="connsiteX36" fmla="*/ 4519952 w 4519987"/>
                    <a:gd name="connsiteY36" fmla="*/ 2181225 h 4496940"/>
                    <a:gd name="connsiteX37" fmla="*/ 4446927 w 4519987"/>
                    <a:gd name="connsiteY37" fmla="*/ 2768600 h 4496940"/>
                    <a:gd name="connsiteX38" fmla="*/ 4383427 w 4519987"/>
                    <a:gd name="connsiteY38" fmla="*/ 2990850 h 4496940"/>
                    <a:gd name="connsiteX39" fmla="*/ 4278652 w 4519987"/>
                    <a:gd name="connsiteY39" fmla="*/ 3248025 h 4496940"/>
                    <a:gd name="connsiteX40" fmla="*/ 4259602 w 4519987"/>
                    <a:gd name="connsiteY40" fmla="*/ 3276600 h 4496940"/>
                    <a:gd name="connsiteX41" fmla="*/ 4221502 w 4519987"/>
                    <a:gd name="connsiteY41" fmla="*/ 3333750 h 4496940"/>
                    <a:gd name="connsiteX42" fmla="*/ 4211977 w 4519987"/>
                    <a:gd name="connsiteY42" fmla="*/ 3362325 h 4496940"/>
                    <a:gd name="connsiteX43" fmla="*/ 4183402 w 4519987"/>
                    <a:gd name="connsiteY43" fmla="*/ 3400425 h 4496940"/>
                    <a:gd name="connsiteX44" fmla="*/ 4164352 w 4519987"/>
                    <a:gd name="connsiteY44" fmla="*/ 3429000 h 4496940"/>
                    <a:gd name="connsiteX45" fmla="*/ 4088152 w 4519987"/>
                    <a:gd name="connsiteY45" fmla="*/ 3495675 h 4496940"/>
                    <a:gd name="connsiteX46" fmla="*/ 4059577 w 4519987"/>
                    <a:gd name="connsiteY46" fmla="*/ 3533775 h 4496940"/>
                    <a:gd name="connsiteX47" fmla="*/ 4002427 w 4519987"/>
                    <a:gd name="connsiteY47" fmla="*/ 3600450 h 4496940"/>
                    <a:gd name="connsiteX48" fmla="*/ 3983377 w 4519987"/>
                    <a:gd name="connsiteY48" fmla="*/ 3629025 h 4496940"/>
                    <a:gd name="connsiteX49" fmla="*/ 3954802 w 4519987"/>
                    <a:gd name="connsiteY49" fmla="*/ 3648075 h 4496940"/>
                    <a:gd name="connsiteX50" fmla="*/ 3907177 w 4519987"/>
                    <a:gd name="connsiteY50" fmla="*/ 3686175 h 4496940"/>
                    <a:gd name="connsiteX51" fmla="*/ 3869077 w 4519987"/>
                    <a:gd name="connsiteY51" fmla="*/ 3724275 h 4496940"/>
                    <a:gd name="connsiteX52" fmla="*/ 3792877 w 4519987"/>
                    <a:gd name="connsiteY52" fmla="*/ 3781425 h 4496940"/>
                    <a:gd name="connsiteX53" fmla="*/ 3783352 w 4519987"/>
                    <a:gd name="connsiteY53" fmla="*/ 3810000 h 4496940"/>
                    <a:gd name="connsiteX54" fmla="*/ 3745252 w 4519987"/>
                    <a:gd name="connsiteY54" fmla="*/ 3819525 h 4496940"/>
                    <a:gd name="connsiteX55" fmla="*/ 3678577 w 4519987"/>
                    <a:gd name="connsiteY55" fmla="*/ 3848100 h 4496940"/>
                    <a:gd name="connsiteX56" fmla="*/ 3659527 w 4519987"/>
                    <a:gd name="connsiteY56" fmla="*/ 3971925 h 4496940"/>
                    <a:gd name="connsiteX57" fmla="*/ 3630952 w 4519987"/>
                    <a:gd name="connsiteY57" fmla="*/ 4010025 h 4496940"/>
                    <a:gd name="connsiteX58" fmla="*/ 3621427 w 4519987"/>
                    <a:gd name="connsiteY58" fmla="*/ 4038600 h 4496940"/>
                    <a:gd name="connsiteX59" fmla="*/ 3554752 w 4519987"/>
                    <a:gd name="connsiteY59" fmla="*/ 4095750 h 4496940"/>
                    <a:gd name="connsiteX60" fmla="*/ 3516652 w 4519987"/>
                    <a:gd name="connsiteY60" fmla="*/ 4114800 h 4496940"/>
                    <a:gd name="connsiteX61" fmla="*/ 3497602 w 4519987"/>
                    <a:gd name="connsiteY61" fmla="*/ 4143375 h 4496940"/>
                    <a:gd name="connsiteX62" fmla="*/ 3383302 w 4519987"/>
                    <a:gd name="connsiteY62" fmla="*/ 4210050 h 4496940"/>
                    <a:gd name="connsiteX63" fmla="*/ 3335677 w 4519987"/>
                    <a:gd name="connsiteY63" fmla="*/ 4238625 h 4496940"/>
                    <a:gd name="connsiteX64" fmla="*/ 3288052 w 4519987"/>
                    <a:gd name="connsiteY64" fmla="*/ 4248150 h 4496940"/>
                    <a:gd name="connsiteX65" fmla="*/ 3240427 w 4519987"/>
                    <a:gd name="connsiteY65" fmla="*/ 4267200 h 4496940"/>
                    <a:gd name="connsiteX66" fmla="*/ 3068977 w 4519987"/>
                    <a:gd name="connsiteY66" fmla="*/ 4286250 h 4496940"/>
                    <a:gd name="connsiteX67" fmla="*/ 2935627 w 4519987"/>
                    <a:gd name="connsiteY67" fmla="*/ 4333875 h 4496940"/>
                    <a:gd name="connsiteX68" fmla="*/ 2811802 w 4519987"/>
                    <a:gd name="connsiteY68" fmla="*/ 4371975 h 4496940"/>
                    <a:gd name="connsiteX69" fmla="*/ 2745127 w 4519987"/>
                    <a:gd name="connsiteY69" fmla="*/ 4410075 h 4496940"/>
                    <a:gd name="connsiteX70" fmla="*/ 2697502 w 4519987"/>
                    <a:gd name="connsiteY70" fmla="*/ 4429125 h 4496940"/>
                    <a:gd name="connsiteX71" fmla="*/ 2640352 w 4519987"/>
                    <a:gd name="connsiteY71" fmla="*/ 4457700 h 4496940"/>
                    <a:gd name="connsiteX72" fmla="*/ 2583202 w 4519987"/>
                    <a:gd name="connsiteY72" fmla="*/ 4467225 h 4496940"/>
                    <a:gd name="connsiteX73" fmla="*/ 2545102 w 4519987"/>
                    <a:gd name="connsiteY73" fmla="*/ 4486275 h 4496940"/>
                    <a:gd name="connsiteX74" fmla="*/ 2306977 w 4519987"/>
                    <a:gd name="connsiteY74" fmla="*/ 4476750 h 4496940"/>
                    <a:gd name="connsiteX75" fmla="*/ 2202202 w 4519987"/>
                    <a:gd name="connsiteY75" fmla="*/ 4457700 h 4496940"/>
                    <a:gd name="connsiteX76" fmla="*/ 2126002 w 4519987"/>
                    <a:gd name="connsiteY76" fmla="*/ 4429125 h 4496940"/>
                    <a:gd name="connsiteX77" fmla="*/ 1935502 w 4519987"/>
                    <a:gd name="connsiteY77" fmla="*/ 4400550 h 4496940"/>
                    <a:gd name="connsiteX78" fmla="*/ 1821202 w 4519987"/>
                    <a:gd name="connsiteY78" fmla="*/ 4371975 h 4496940"/>
                    <a:gd name="connsiteX79" fmla="*/ 1754527 w 4519987"/>
                    <a:gd name="connsiteY79" fmla="*/ 4352925 h 4496940"/>
                    <a:gd name="connsiteX80" fmla="*/ 1687852 w 4519987"/>
                    <a:gd name="connsiteY80" fmla="*/ 4343400 h 4496940"/>
                    <a:gd name="connsiteX81" fmla="*/ 1573552 w 4519987"/>
                    <a:gd name="connsiteY81" fmla="*/ 4305300 h 4496940"/>
                    <a:gd name="connsiteX82" fmla="*/ 1402102 w 4519987"/>
                    <a:gd name="connsiteY82" fmla="*/ 4276725 h 4496940"/>
                    <a:gd name="connsiteX83" fmla="*/ 1287802 w 4519987"/>
                    <a:gd name="connsiteY83" fmla="*/ 4229100 h 4496940"/>
                    <a:gd name="connsiteX84" fmla="*/ 1221127 w 4519987"/>
                    <a:gd name="connsiteY84" fmla="*/ 4200525 h 4496940"/>
                    <a:gd name="connsiteX85" fmla="*/ 1144927 w 4519987"/>
                    <a:gd name="connsiteY85" fmla="*/ 4171950 h 4496940"/>
                    <a:gd name="connsiteX86" fmla="*/ 1087777 w 4519987"/>
                    <a:gd name="connsiteY86" fmla="*/ 4143375 h 4496940"/>
                    <a:gd name="connsiteX87" fmla="*/ 1030627 w 4519987"/>
                    <a:gd name="connsiteY87" fmla="*/ 4124325 h 4496940"/>
                    <a:gd name="connsiteX88" fmla="*/ 925852 w 4519987"/>
                    <a:gd name="connsiteY88" fmla="*/ 4067175 h 4496940"/>
                    <a:gd name="connsiteX89" fmla="*/ 830602 w 4519987"/>
                    <a:gd name="connsiteY89" fmla="*/ 3981450 h 4496940"/>
                    <a:gd name="connsiteX90" fmla="*/ 763927 w 4519987"/>
                    <a:gd name="connsiteY90" fmla="*/ 3914775 h 4496940"/>
                    <a:gd name="connsiteX91" fmla="*/ 725827 w 4519987"/>
                    <a:gd name="connsiteY91" fmla="*/ 3876675 h 4496940"/>
                    <a:gd name="connsiteX92" fmla="*/ 697252 w 4519987"/>
                    <a:gd name="connsiteY92" fmla="*/ 3838575 h 4496940"/>
                    <a:gd name="connsiteX93" fmla="*/ 640102 w 4519987"/>
                    <a:gd name="connsiteY93" fmla="*/ 3781425 h 4496940"/>
                    <a:gd name="connsiteX94" fmla="*/ 611527 w 4519987"/>
                    <a:gd name="connsiteY94" fmla="*/ 3733800 h 4496940"/>
                    <a:gd name="connsiteX95" fmla="*/ 554377 w 4519987"/>
                    <a:gd name="connsiteY95" fmla="*/ 3657600 h 4496940"/>
                    <a:gd name="connsiteX96" fmla="*/ 525802 w 4519987"/>
                    <a:gd name="connsiteY96" fmla="*/ 3609975 h 4496940"/>
                    <a:gd name="connsiteX97" fmla="*/ 497227 w 4519987"/>
                    <a:gd name="connsiteY97" fmla="*/ 3552825 h 4496940"/>
                    <a:gd name="connsiteX98" fmla="*/ 440077 w 4519987"/>
                    <a:gd name="connsiteY98" fmla="*/ 3495675 h 4496940"/>
                    <a:gd name="connsiteX99" fmla="*/ 411502 w 4519987"/>
                    <a:gd name="connsiteY99" fmla="*/ 3448050 h 4496940"/>
                    <a:gd name="connsiteX100" fmla="*/ 278152 w 4519987"/>
                    <a:gd name="connsiteY100" fmla="*/ 3257550 h 4496940"/>
                    <a:gd name="connsiteX101" fmla="*/ 249577 w 4519987"/>
                    <a:gd name="connsiteY101" fmla="*/ 3200400 h 4496940"/>
                    <a:gd name="connsiteX102" fmla="*/ 240052 w 4519987"/>
                    <a:gd name="connsiteY102" fmla="*/ 3162300 h 4496940"/>
                    <a:gd name="connsiteX103" fmla="*/ 221002 w 4519987"/>
                    <a:gd name="connsiteY103" fmla="*/ 3105150 h 4496940"/>
                    <a:gd name="connsiteX104" fmla="*/ 173377 w 4519987"/>
                    <a:gd name="connsiteY104" fmla="*/ 3019425 h 4496940"/>
                    <a:gd name="connsiteX105" fmla="*/ 144802 w 4519987"/>
                    <a:gd name="connsiteY105" fmla="*/ 2924175 h 4496940"/>
                    <a:gd name="connsiteX106" fmla="*/ 68602 w 4519987"/>
                    <a:gd name="connsiteY106" fmla="*/ 2724150 h 4496940"/>
                    <a:gd name="connsiteX107" fmla="*/ 49552 w 4519987"/>
                    <a:gd name="connsiteY107" fmla="*/ 2638425 h 4496940"/>
                    <a:gd name="connsiteX108" fmla="*/ 40027 w 4519987"/>
                    <a:gd name="connsiteY108" fmla="*/ 2562225 h 4496940"/>
                    <a:gd name="connsiteX109" fmla="*/ 30502 w 4519987"/>
                    <a:gd name="connsiteY109" fmla="*/ 2514600 h 4496940"/>
                    <a:gd name="connsiteX110" fmla="*/ 11452 w 4519987"/>
                    <a:gd name="connsiteY110" fmla="*/ 2400300 h 4496940"/>
                    <a:gd name="connsiteX111" fmla="*/ 20977 w 4519987"/>
                    <a:gd name="connsiteY111" fmla="*/ 1905000 h 4496940"/>
                    <a:gd name="connsiteX112" fmla="*/ 30502 w 4519987"/>
                    <a:gd name="connsiteY112" fmla="*/ 1838325 h 4496940"/>
                    <a:gd name="connsiteX113" fmla="*/ 49552 w 4519987"/>
                    <a:gd name="connsiteY113" fmla="*/ 1781175 h 4496940"/>
                    <a:gd name="connsiteX114" fmla="*/ 59077 w 4519987"/>
                    <a:gd name="connsiteY114" fmla="*/ 1743075 h 4496940"/>
                    <a:gd name="connsiteX115" fmla="*/ 78127 w 4519987"/>
                    <a:gd name="connsiteY115" fmla="*/ 1685925 h 4496940"/>
                    <a:gd name="connsiteX116" fmla="*/ 87652 w 4519987"/>
                    <a:gd name="connsiteY116" fmla="*/ 1638300 h 4496940"/>
                    <a:gd name="connsiteX117" fmla="*/ 106702 w 4519987"/>
                    <a:gd name="connsiteY117" fmla="*/ 1590675 h 4496940"/>
                    <a:gd name="connsiteX118" fmla="*/ 135277 w 4519987"/>
                    <a:gd name="connsiteY118" fmla="*/ 1504950 h 4496940"/>
                    <a:gd name="connsiteX119" fmla="*/ 154327 w 4519987"/>
                    <a:gd name="connsiteY119" fmla="*/ 1419225 h 4496940"/>
                    <a:gd name="connsiteX120" fmla="*/ 230527 w 4519987"/>
                    <a:gd name="connsiteY120" fmla="*/ 1276350 h 4496940"/>
                    <a:gd name="connsiteX121" fmla="*/ 240052 w 4519987"/>
                    <a:gd name="connsiteY121" fmla="*/ 1247775 h 4496940"/>
                    <a:gd name="connsiteX122" fmla="*/ 268627 w 4519987"/>
                    <a:gd name="connsiteY122" fmla="*/ 1200150 h 4496940"/>
                    <a:gd name="connsiteX123" fmla="*/ 287677 w 4519987"/>
                    <a:gd name="connsiteY123" fmla="*/ 1152525 h 4496940"/>
                    <a:gd name="connsiteX124" fmla="*/ 316252 w 4519987"/>
                    <a:gd name="connsiteY124" fmla="*/ 1114425 h 4496940"/>
                    <a:gd name="connsiteX125" fmla="*/ 363877 w 4519987"/>
                    <a:gd name="connsiteY125" fmla="*/ 1038225 h 4496940"/>
                    <a:gd name="connsiteX126" fmla="*/ 382927 w 4519987"/>
                    <a:gd name="connsiteY126" fmla="*/ 1009650 h 4496940"/>
                    <a:gd name="connsiteX127" fmla="*/ 440077 w 4519987"/>
                    <a:gd name="connsiteY127" fmla="*/ 904875 h 4496940"/>
                    <a:gd name="connsiteX128" fmla="*/ 478177 w 4519987"/>
                    <a:gd name="connsiteY128" fmla="*/ 857250 h 4496940"/>
                    <a:gd name="connsiteX129" fmla="*/ 497227 w 4519987"/>
                    <a:gd name="connsiteY129" fmla="*/ 828675 h 4496940"/>
                    <a:gd name="connsiteX130" fmla="*/ 535327 w 4519987"/>
                    <a:gd name="connsiteY130" fmla="*/ 800100 h 4496940"/>
                    <a:gd name="connsiteX131" fmla="*/ 602002 w 4519987"/>
                    <a:gd name="connsiteY131" fmla="*/ 733425 h 4496940"/>
                    <a:gd name="connsiteX132" fmla="*/ 668677 w 4519987"/>
                    <a:gd name="connsiteY132" fmla="*/ 676275 h 4496940"/>
                    <a:gd name="connsiteX133" fmla="*/ 697252 w 4519987"/>
                    <a:gd name="connsiteY133" fmla="*/ 657225 h 4496940"/>
                    <a:gd name="connsiteX134" fmla="*/ 840127 w 4519987"/>
                    <a:gd name="connsiteY134" fmla="*/ 533400 h 4496940"/>
                    <a:gd name="connsiteX135" fmla="*/ 887752 w 4519987"/>
                    <a:gd name="connsiteY135" fmla="*/ 504825 h 4496940"/>
                    <a:gd name="connsiteX136" fmla="*/ 1167152 w 4519987"/>
                    <a:gd name="connsiteY136" fmla="*/ 311150 h 4496940"/>
                    <a:gd name="connsiteX137" fmla="*/ 1268752 w 4519987"/>
                    <a:gd name="connsiteY137" fmla="*/ 285750 h 4496940"/>
                    <a:gd name="connsiteX138" fmla="*/ 1411627 w 4519987"/>
                    <a:gd name="connsiteY138" fmla="*/ 190500 h 4496940"/>
                    <a:gd name="connsiteX139" fmla="*/ 1449727 w 4519987"/>
                    <a:gd name="connsiteY139" fmla="*/ 161925 h 4496940"/>
                    <a:gd name="connsiteX140" fmla="*/ 1525927 w 4519987"/>
                    <a:gd name="connsiteY140" fmla="*/ 152400 h 4496940"/>
                    <a:gd name="connsiteX141" fmla="*/ 1583077 w 4519987"/>
                    <a:gd name="connsiteY141" fmla="*/ 142875 h 4496940"/>
                    <a:gd name="connsiteX142" fmla="*/ 1716427 w 4519987"/>
                    <a:gd name="connsiteY142" fmla="*/ 123825 h 4496940"/>
                    <a:gd name="connsiteX143" fmla="*/ 1811677 w 4519987"/>
                    <a:gd name="connsiteY143" fmla="*/ 114300 h 4496940"/>
                    <a:gd name="connsiteX144" fmla="*/ 1859302 w 4519987"/>
                    <a:gd name="connsiteY144" fmla="*/ 104775 h 4496940"/>
                    <a:gd name="connsiteX145" fmla="*/ 1916452 w 4519987"/>
                    <a:gd name="connsiteY145" fmla="*/ 95250 h 4496940"/>
                    <a:gd name="connsiteX146" fmla="*/ 2030752 w 4519987"/>
                    <a:gd name="connsiteY146" fmla="*/ 66675 h 4496940"/>
                    <a:gd name="connsiteX147" fmla="*/ 2097427 w 4519987"/>
                    <a:gd name="connsiteY147" fmla="*/ 47625 h 4496940"/>
                    <a:gd name="connsiteX148" fmla="*/ 2164102 w 4519987"/>
                    <a:gd name="connsiteY148" fmla="*/ 38100 h 4496940"/>
                    <a:gd name="connsiteX149" fmla="*/ 2392702 w 4519987"/>
                    <a:gd name="connsiteY14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78627 w 4519987"/>
                    <a:gd name="connsiteY21" fmla="*/ 838200 h 4496940"/>
                    <a:gd name="connsiteX22" fmla="*/ 4135777 w 4519987"/>
                    <a:gd name="connsiteY22" fmla="*/ 933450 h 4496940"/>
                    <a:gd name="connsiteX23" fmla="*/ 4164352 w 4519987"/>
                    <a:gd name="connsiteY23" fmla="*/ 990600 h 4496940"/>
                    <a:gd name="connsiteX24" fmla="*/ 4173877 w 4519987"/>
                    <a:gd name="connsiteY24" fmla="*/ 1019175 h 4496940"/>
                    <a:gd name="connsiteX25" fmla="*/ 4192927 w 4519987"/>
                    <a:gd name="connsiteY25" fmla="*/ 1057275 h 4496940"/>
                    <a:gd name="connsiteX26" fmla="*/ 4202452 w 4519987"/>
                    <a:gd name="connsiteY26" fmla="*/ 1085850 h 4496940"/>
                    <a:gd name="connsiteX27" fmla="*/ 4250077 w 4519987"/>
                    <a:gd name="connsiteY27" fmla="*/ 1143000 h 4496940"/>
                    <a:gd name="connsiteX28" fmla="*/ 4259602 w 4519987"/>
                    <a:gd name="connsiteY28" fmla="*/ 1190625 h 4496940"/>
                    <a:gd name="connsiteX29" fmla="*/ 4307227 w 4519987"/>
                    <a:gd name="connsiteY29" fmla="*/ 1266825 h 4496940"/>
                    <a:gd name="connsiteX30" fmla="*/ 4345327 w 4519987"/>
                    <a:gd name="connsiteY30" fmla="*/ 1362075 h 4496940"/>
                    <a:gd name="connsiteX31" fmla="*/ 4373902 w 4519987"/>
                    <a:gd name="connsiteY31" fmla="*/ 1428750 h 4496940"/>
                    <a:gd name="connsiteX32" fmla="*/ 4392952 w 4519987"/>
                    <a:gd name="connsiteY32" fmla="*/ 1552575 h 4496940"/>
                    <a:gd name="connsiteX33" fmla="*/ 4402477 w 4519987"/>
                    <a:gd name="connsiteY33" fmla="*/ 1590675 h 4496940"/>
                    <a:gd name="connsiteX34" fmla="*/ 4431052 w 4519987"/>
                    <a:gd name="connsiteY34" fmla="*/ 1685925 h 4496940"/>
                    <a:gd name="connsiteX35" fmla="*/ 4519952 w 4519987"/>
                    <a:gd name="connsiteY35" fmla="*/ 2181225 h 4496940"/>
                    <a:gd name="connsiteX36" fmla="*/ 4446927 w 4519987"/>
                    <a:gd name="connsiteY36" fmla="*/ 2768600 h 4496940"/>
                    <a:gd name="connsiteX37" fmla="*/ 4383427 w 4519987"/>
                    <a:gd name="connsiteY37" fmla="*/ 2990850 h 4496940"/>
                    <a:gd name="connsiteX38" fmla="*/ 4278652 w 4519987"/>
                    <a:gd name="connsiteY38" fmla="*/ 3248025 h 4496940"/>
                    <a:gd name="connsiteX39" fmla="*/ 4259602 w 4519987"/>
                    <a:gd name="connsiteY39" fmla="*/ 3276600 h 4496940"/>
                    <a:gd name="connsiteX40" fmla="*/ 4221502 w 4519987"/>
                    <a:gd name="connsiteY40" fmla="*/ 3333750 h 4496940"/>
                    <a:gd name="connsiteX41" fmla="*/ 4211977 w 4519987"/>
                    <a:gd name="connsiteY41" fmla="*/ 3362325 h 4496940"/>
                    <a:gd name="connsiteX42" fmla="*/ 4183402 w 4519987"/>
                    <a:gd name="connsiteY42" fmla="*/ 3400425 h 4496940"/>
                    <a:gd name="connsiteX43" fmla="*/ 4164352 w 4519987"/>
                    <a:gd name="connsiteY43" fmla="*/ 3429000 h 4496940"/>
                    <a:gd name="connsiteX44" fmla="*/ 4088152 w 4519987"/>
                    <a:gd name="connsiteY44" fmla="*/ 3495675 h 4496940"/>
                    <a:gd name="connsiteX45" fmla="*/ 4059577 w 4519987"/>
                    <a:gd name="connsiteY45" fmla="*/ 3533775 h 4496940"/>
                    <a:gd name="connsiteX46" fmla="*/ 4002427 w 4519987"/>
                    <a:gd name="connsiteY46" fmla="*/ 3600450 h 4496940"/>
                    <a:gd name="connsiteX47" fmla="*/ 3983377 w 4519987"/>
                    <a:gd name="connsiteY47" fmla="*/ 3629025 h 4496940"/>
                    <a:gd name="connsiteX48" fmla="*/ 3954802 w 4519987"/>
                    <a:gd name="connsiteY48" fmla="*/ 3648075 h 4496940"/>
                    <a:gd name="connsiteX49" fmla="*/ 3907177 w 4519987"/>
                    <a:gd name="connsiteY49" fmla="*/ 3686175 h 4496940"/>
                    <a:gd name="connsiteX50" fmla="*/ 3869077 w 4519987"/>
                    <a:gd name="connsiteY50" fmla="*/ 3724275 h 4496940"/>
                    <a:gd name="connsiteX51" fmla="*/ 3792877 w 4519987"/>
                    <a:gd name="connsiteY51" fmla="*/ 3781425 h 4496940"/>
                    <a:gd name="connsiteX52" fmla="*/ 3783352 w 4519987"/>
                    <a:gd name="connsiteY52" fmla="*/ 3810000 h 4496940"/>
                    <a:gd name="connsiteX53" fmla="*/ 3745252 w 4519987"/>
                    <a:gd name="connsiteY53" fmla="*/ 3819525 h 4496940"/>
                    <a:gd name="connsiteX54" fmla="*/ 3678577 w 4519987"/>
                    <a:gd name="connsiteY54" fmla="*/ 3848100 h 4496940"/>
                    <a:gd name="connsiteX55" fmla="*/ 3659527 w 4519987"/>
                    <a:gd name="connsiteY55" fmla="*/ 3971925 h 4496940"/>
                    <a:gd name="connsiteX56" fmla="*/ 3630952 w 4519987"/>
                    <a:gd name="connsiteY56" fmla="*/ 4010025 h 4496940"/>
                    <a:gd name="connsiteX57" fmla="*/ 3621427 w 4519987"/>
                    <a:gd name="connsiteY57" fmla="*/ 4038600 h 4496940"/>
                    <a:gd name="connsiteX58" fmla="*/ 3554752 w 4519987"/>
                    <a:gd name="connsiteY58" fmla="*/ 4095750 h 4496940"/>
                    <a:gd name="connsiteX59" fmla="*/ 3516652 w 4519987"/>
                    <a:gd name="connsiteY59" fmla="*/ 4114800 h 4496940"/>
                    <a:gd name="connsiteX60" fmla="*/ 3497602 w 4519987"/>
                    <a:gd name="connsiteY60" fmla="*/ 4143375 h 4496940"/>
                    <a:gd name="connsiteX61" fmla="*/ 3383302 w 4519987"/>
                    <a:gd name="connsiteY61" fmla="*/ 4210050 h 4496940"/>
                    <a:gd name="connsiteX62" fmla="*/ 3335677 w 4519987"/>
                    <a:gd name="connsiteY62" fmla="*/ 4238625 h 4496940"/>
                    <a:gd name="connsiteX63" fmla="*/ 3288052 w 4519987"/>
                    <a:gd name="connsiteY63" fmla="*/ 4248150 h 4496940"/>
                    <a:gd name="connsiteX64" fmla="*/ 3240427 w 4519987"/>
                    <a:gd name="connsiteY64" fmla="*/ 4267200 h 4496940"/>
                    <a:gd name="connsiteX65" fmla="*/ 3068977 w 4519987"/>
                    <a:gd name="connsiteY65" fmla="*/ 4286250 h 4496940"/>
                    <a:gd name="connsiteX66" fmla="*/ 2935627 w 4519987"/>
                    <a:gd name="connsiteY66" fmla="*/ 4333875 h 4496940"/>
                    <a:gd name="connsiteX67" fmla="*/ 2811802 w 4519987"/>
                    <a:gd name="connsiteY67" fmla="*/ 4371975 h 4496940"/>
                    <a:gd name="connsiteX68" fmla="*/ 2745127 w 4519987"/>
                    <a:gd name="connsiteY68" fmla="*/ 4410075 h 4496940"/>
                    <a:gd name="connsiteX69" fmla="*/ 2697502 w 4519987"/>
                    <a:gd name="connsiteY69" fmla="*/ 4429125 h 4496940"/>
                    <a:gd name="connsiteX70" fmla="*/ 2640352 w 4519987"/>
                    <a:gd name="connsiteY70" fmla="*/ 4457700 h 4496940"/>
                    <a:gd name="connsiteX71" fmla="*/ 2583202 w 4519987"/>
                    <a:gd name="connsiteY71" fmla="*/ 4467225 h 4496940"/>
                    <a:gd name="connsiteX72" fmla="*/ 2545102 w 4519987"/>
                    <a:gd name="connsiteY72" fmla="*/ 4486275 h 4496940"/>
                    <a:gd name="connsiteX73" fmla="*/ 2306977 w 4519987"/>
                    <a:gd name="connsiteY73" fmla="*/ 4476750 h 4496940"/>
                    <a:gd name="connsiteX74" fmla="*/ 2202202 w 4519987"/>
                    <a:gd name="connsiteY74" fmla="*/ 4457700 h 4496940"/>
                    <a:gd name="connsiteX75" fmla="*/ 2126002 w 4519987"/>
                    <a:gd name="connsiteY75" fmla="*/ 4429125 h 4496940"/>
                    <a:gd name="connsiteX76" fmla="*/ 1935502 w 4519987"/>
                    <a:gd name="connsiteY76" fmla="*/ 4400550 h 4496940"/>
                    <a:gd name="connsiteX77" fmla="*/ 1821202 w 4519987"/>
                    <a:gd name="connsiteY77" fmla="*/ 4371975 h 4496940"/>
                    <a:gd name="connsiteX78" fmla="*/ 1754527 w 4519987"/>
                    <a:gd name="connsiteY78" fmla="*/ 4352925 h 4496940"/>
                    <a:gd name="connsiteX79" fmla="*/ 1687852 w 4519987"/>
                    <a:gd name="connsiteY79" fmla="*/ 4343400 h 4496940"/>
                    <a:gd name="connsiteX80" fmla="*/ 1573552 w 4519987"/>
                    <a:gd name="connsiteY80" fmla="*/ 4305300 h 4496940"/>
                    <a:gd name="connsiteX81" fmla="*/ 1402102 w 4519987"/>
                    <a:gd name="connsiteY81" fmla="*/ 4276725 h 4496940"/>
                    <a:gd name="connsiteX82" fmla="*/ 1287802 w 4519987"/>
                    <a:gd name="connsiteY82" fmla="*/ 4229100 h 4496940"/>
                    <a:gd name="connsiteX83" fmla="*/ 1221127 w 4519987"/>
                    <a:gd name="connsiteY83" fmla="*/ 4200525 h 4496940"/>
                    <a:gd name="connsiteX84" fmla="*/ 1144927 w 4519987"/>
                    <a:gd name="connsiteY84" fmla="*/ 4171950 h 4496940"/>
                    <a:gd name="connsiteX85" fmla="*/ 1087777 w 4519987"/>
                    <a:gd name="connsiteY85" fmla="*/ 4143375 h 4496940"/>
                    <a:gd name="connsiteX86" fmla="*/ 1030627 w 4519987"/>
                    <a:gd name="connsiteY86" fmla="*/ 4124325 h 4496940"/>
                    <a:gd name="connsiteX87" fmla="*/ 925852 w 4519987"/>
                    <a:gd name="connsiteY87" fmla="*/ 4067175 h 4496940"/>
                    <a:gd name="connsiteX88" fmla="*/ 830602 w 4519987"/>
                    <a:gd name="connsiteY88" fmla="*/ 3981450 h 4496940"/>
                    <a:gd name="connsiteX89" fmla="*/ 763927 w 4519987"/>
                    <a:gd name="connsiteY89" fmla="*/ 3914775 h 4496940"/>
                    <a:gd name="connsiteX90" fmla="*/ 725827 w 4519987"/>
                    <a:gd name="connsiteY90" fmla="*/ 3876675 h 4496940"/>
                    <a:gd name="connsiteX91" fmla="*/ 697252 w 4519987"/>
                    <a:gd name="connsiteY91" fmla="*/ 3838575 h 4496940"/>
                    <a:gd name="connsiteX92" fmla="*/ 640102 w 4519987"/>
                    <a:gd name="connsiteY92" fmla="*/ 3781425 h 4496940"/>
                    <a:gd name="connsiteX93" fmla="*/ 611527 w 4519987"/>
                    <a:gd name="connsiteY93" fmla="*/ 3733800 h 4496940"/>
                    <a:gd name="connsiteX94" fmla="*/ 554377 w 4519987"/>
                    <a:gd name="connsiteY94" fmla="*/ 3657600 h 4496940"/>
                    <a:gd name="connsiteX95" fmla="*/ 525802 w 4519987"/>
                    <a:gd name="connsiteY95" fmla="*/ 3609975 h 4496940"/>
                    <a:gd name="connsiteX96" fmla="*/ 497227 w 4519987"/>
                    <a:gd name="connsiteY96" fmla="*/ 3552825 h 4496940"/>
                    <a:gd name="connsiteX97" fmla="*/ 440077 w 4519987"/>
                    <a:gd name="connsiteY97" fmla="*/ 3495675 h 4496940"/>
                    <a:gd name="connsiteX98" fmla="*/ 411502 w 4519987"/>
                    <a:gd name="connsiteY98" fmla="*/ 3448050 h 4496940"/>
                    <a:gd name="connsiteX99" fmla="*/ 278152 w 4519987"/>
                    <a:gd name="connsiteY99" fmla="*/ 3257550 h 4496940"/>
                    <a:gd name="connsiteX100" fmla="*/ 249577 w 4519987"/>
                    <a:gd name="connsiteY100" fmla="*/ 3200400 h 4496940"/>
                    <a:gd name="connsiteX101" fmla="*/ 240052 w 4519987"/>
                    <a:gd name="connsiteY101" fmla="*/ 3162300 h 4496940"/>
                    <a:gd name="connsiteX102" fmla="*/ 221002 w 4519987"/>
                    <a:gd name="connsiteY102" fmla="*/ 3105150 h 4496940"/>
                    <a:gd name="connsiteX103" fmla="*/ 173377 w 4519987"/>
                    <a:gd name="connsiteY103" fmla="*/ 3019425 h 4496940"/>
                    <a:gd name="connsiteX104" fmla="*/ 144802 w 4519987"/>
                    <a:gd name="connsiteY104" fmla="*/ 2924175 h 4496940"/>
                    <a:gd name="connsiteX105" fmla="*/ 68602 w 4519987"/>
                    <a:gd name="connsiteY105" fmla="*/ 2724150 h 4496940"/>
                    <a:gd name="connsiteX106" fmla="*/ 49552 w 4519987"/>
                    <a:gd name="connsiteY106" fmla="*/ 2638425 h 4496940"/>
                    <a:gd name="connsiteX107" fmla="*/ 40027 w 4519987"/>
                    <a:gd name="connsiteY107" fmla="*/ 2562225 h 4496940"/>
                    <a:gd name="connsiteX108" fmla="*/ 30502 w 4519987"/>
                    <a:gd name="connsiteY108" fmla="*/ 2514600 h 4496940"/>
                    <a:gd name="connsiteX109" fmla="*/ 11452 w 4519987"/>
                    <a:gd name="connsiteY109" fmla="*/ 2400300 h 4496940"/>
                    <a:gd name="connsiteX110" fmla="*/ 20977 w 4519987"/>
                    <a:gd name="connsiteY110" fmla="*/ 1905000 h 4496940"/>
                    <a:gd name="connsiteX111" fmla="*/ 30502 w 4519987"/>
                    <a:gd name="connsiteY111" fmla="*/ 1838325 h 4496940"/>
                    <a:gd name="connsiteX112" fmla="*/ 49552 w 4519987"/>
                    <a:gd name="connsiteY112" fmla="*/ 1781175 h 4496940"/>
                    <a:gd name="connsiteX113" fmla="*/ 59077 w 4519987"/>
                    <a:gd name="connsiteY113" fmla="*/ 1743075 h 4496940"/>
                    <a:gd name="connsiteX114" fmla="*/ 78127 w 4519987"/>
                    <a:gd name="connsiteY114" fmla="*/ 1685925 h 4496940"/>
                    <a:gd name="connsiteX115" fmla="*/ 87652 w 4519987"/>
                    <a:gd name="connsiteY115" fmla="*/ 1638300 h 4496940"/>
                    <a:gd name="connsiteX116" fmla="*/ 106702 w 4519987"/>
                    <a:gd name="connsiteY116" fmla="*/ 1590675 h 4496940"/>
                    <a:gd name="connsiteX117" fmla="*/ 135277 w 4519987"/>
                    <a:gd name="connsiteY117" fmla="*/ 1504950 h 4496940"/>
                    <a:gd name="connsiteX118" fmla="*/ 154327 w 4519987"/>
                    <a:gd name="connsiteY118" fmla="*/ 1419225 h 4496940"/>
                    <a:gd name="connsiteX119" fmla="*/ 230527 w 4519987"/>
                    <a:gd name="connsiteY119" fmla="*/ 1276350 h 4496940"/>
                    <a:gd name="connsiteX120" fmla="*/ 240052 w 4519987"/>
                    <a:gd name="connsiteY120" fmla="*/ 1247775 h 4496940"/>
                    <a:gd name="connsiteX121" fmla="*/ 268627 w 4519987"/>
                    <a:gd name="connsiteY121" fmla="*/ 1200150 h 4496940"/>
                    <a:gd name="connsiteX122" fmla="*/ 287677 w 4519987"/>
                    <a:gd name="connsiteY122" fmla="*/ 1152525 h 4496940"/>
                    <a:gd name="connsiteX123" fmla="*/ 316252 w 4519987"/>
                    <a:gd name="connsiteY123" fmla="*/ 1114425 h 4496940"/>
                    <a:gd name="connsiteX124" fmla="*/ 363877 w 4519987"/>
                    <a:gd name="connsiteY124" fmla="*/ 1038225 h 4496940"/>
                    <a:gd name="connsiteX125" fmla="*/ 382927 w 4519987"/>
                    <a:gd name="connsiteY125" fmla="*/ 1009650 h 4496940"/>
                    <a:gd name="connsiteX126" fmla="*/ 440077 w 4519987"/>
                    <a:gd name="connsiteY126" fmla="*/ 904875 h 4496940"/>
                    <a:gd name="connsiteX127" fmla="*/ 478177 w 4519987"/>
                    <a:gd name="connsiteY127" fmla="*/ 857250 h 4496940"/>
                    <a:gd name="connsiteX128" fmla="*/ 497227 w 4519987"/>
                    <a:gd name="connsiteY128" fmla="*/ 828675 h 4496940"/>
                    <a:gd name="connsiteX129" fmla="*/ 535327 w 4519987"/>
                    <a:gd name="connsiteY129" fmla="*/ 800100 h 4496940"/>
                    <a:gd name="connsiteX130" fmla="*/ 602002 w 4519987"/>
                    <a:gd name="connsiteY130" fmla="*/ 733425 h 4496940"/>
                    <a:gd name="connsiteX131" fmla="*/ 668677 w 4519987"/>
                    <a:gd name="connsiteY131" fmla="*/ 676275 h 4496940"/>
                    <a:gd name="connsiteX132" fmla="*/ 697252 w 4519987"/>
                    <a:gd name="connsiteY132" fmla="*/ 657225 h 4496940"/>
                    <a:gd name="connsiteX133" fmla="*/ 840127 w 4519987"/>
                    <a:gd name="connsiteY133" fmla="*/ 533400 h 4496940"/>
                    <a:gd name="connsiteX134" fmla="*/ 887752 w 4519987"/>
                    <a:gd name="connsiteY134" fmla="*/ 504825 h 4496940"/>
                    <a:gd name="connsiteX135" fmla="*/ 1167152 w 4519987"/>
                    <a:gd name="connsiteY135" fmla="*/ 311150 h 4496940"/>
                    <a:gd name="connsiteX136" fmla="*/ 1268752 w 4519987"/>
                    <a:gd name="connsiteY136" fmla="*/ 285750 h 4496940"/>
                    <a:gd name="connsiteX137" fmla="*/ 1411627 w 4519987"/>
                    <a:gd name="connsiteY137" fmla="*/ 190500 h 4496940"/>
                    <a:gd name="connsiteX138" fmla="*/ 1449727 w 4519987"/>
                    <a:gd name="connsiteY138" fmla="*/ 161925 h 4496940"/>
                    <a:gd name="connsiteX139" fmla="*/ 1525927 w 4519987"/>
                    <a:gd name="connsiteY139" fmla="*/ 152400 h 4496940"/>
                    <a:gd name="connsiteX140" fmla="*/ 1583077 w 4519987"/>
                    <a:gd name="connsiteY140" fmla="*/ 142875 h 4496940"/>
                    <a:gd name="connsiteX141" fmla="*/ 1716427 w 4519987"/>
                    <a:gd name="connsiteY141" fmla="*/ 123825 h 4496940"/>
                    <a:gd name="connsiteX142" fmla="*/ 1811677 w 4519987"/>
                    <a:gd name="connsiteY142" fmla="*/ 114300 h 4496940"/>
                    <a:gd name="connsiteX143" fmla="*/ 1859302 w 4519987"/>
                    <a:gd name="connsiteY143" fmla="*/ 104775 h 4496940"/>
                    <a:gd name="connsiteX144" fmla="*/ 1916452 w 4519987"/>
                    <a:gd name="connsiteY144" fmla="*/ 95250 h 4496940"/>
                    <a:gd name="connsiteX145" fmla="*/ 2030752 w 4519987"/>
                    <a:gd name="connsiteY145" fmla="*/ 66675 h 4496940"/>
                    <a:gd name="connsiteX146" fmla="*/ 2097427 w 4519987"/>
                    <a:gd name="connsiteY146" fmla="*/ 47625 h 4496940"/>
                    <a:gd name="connsiteX147" fmla="*/ 2164102 w 4519987"/>
                    <a:gd name="connsiteY147" fmla="*/ 38100 h 4496940"/>
                    <a:gd name="connsiteX148" fmla="*/ 2392702 w 4519987"/>
                    <a:gd name="connsiteY14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135777 w 4519987"/>
                    <a:gd name="connsiteY21" fmla="*/ 9334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02452 w 4519987"/>
                    <a:gd name="connsiteY24" fmla="*/ 1085850 h 4496940"/>
                    <a:gd name="connsiteX25" fmla="*/ 4250077 w 4519987"/>
                    <a:gd name="connsiteY25" fmla="*/ 1143000 h 4496940"/>
                    <a:gd name="connsiteX26" fmla="*/ 4259602 w 4519987"/>
                    <a:gd name="connsiteY26" fmla="*/ 1190625 h 4496940"/>
                    <a:gd name="connsiteX27" fmla="*/ 4307227 w 4519987"/>
                    <a:gd name="connsiteY27" fmla="*/ 1266825 h 4496940"/>
                    <a:gd name="connsiteX28" fmla="*/ 4345327 w 4519987"/>
                    <a:gd name="connsiteY28" fmla="*/ 1362075 h 4496940"/>
                    <a:gd name="connsiteX29" fmla="*/ 4373902 w 4519987"/>
                    <a:gd name="connsiteY29" fmla="*/ 1428750 h 4496940"/>
                    <a:gd name="connsiteX30" fmla="*/ 4392952 w 4519987"/>
                    <a:gd name="connsiteY30" fmla="*/ 1552575 h 4496940"/>
                    <a:gd name="connsiteX31" fmla="*/ 4402477 w 4519987"/>
                    <a:gd name="connsiteY31" fmla="*/ 1590675 h 4496940"/>
                    <a:gd name="connsiteX32" fmla="*/ 4431052 w 4519987"/>
                    <a:gd name="connsiteY32" fmla="*/ 1685925 h 4496940"/>
                    <a:gd name="connsiteX33" fmla="*/ 4519952 w 4519987"/>
                    <a:gd name="connsiteY33" fmla="*/ 2181225 h 4496940"/>
                    <a:gd name="connsiteX34" fmla="*/ 4446927 w 4519987"/>
                    <a:gd name="connsiteY34" fmla="*/ 2768600 h 4496940"/>
                    <a:gd name="connsiteX35" fmla="*/ 4383427 w 4519987"/>
                    <a:gd name="connsiteY35" fmla="*/ 2990850 h 4496940"/>
                    <a:gd name="connsiteX36" fmla="*/ 4278652 w 4519987"/>
                    <a:gd name="connsiteY36" fmla="*/ 3248025 h 4496940"/>
                    <a:gd name="connsiteX37" fmla="*/ 4259602 w 4519987"/>
                    <a:gd name="connsiteY37" fmla="*/ 3276600 h 4496940"/>
                    <a:gd name="connsiteX38" fmla="*/ 4221502 w 4519987"/>
                    <a:gd name="connsiteY38" fmla="*/ 3333750 h 4496940"/>
                    <a:gd name="connsiteX39" fmla="*/ 4211977 w 4519987"/>
                    <a:gd name="connsiteY39" fmla="*/ 3362325 h 4496940"/>
                    <a:gd name="connsiteX40" fmla="*/ 4183402 w 4519987"/>
                    <a:gd name="connsiteY40" fmla="*/ 3400425 h 4496940"/>
                    <a:gd name="connsiteX41" fmla="*/ 4164352 w 4519987"/>
                    <a:gd name="connsiteY41" fmla="*/ 3429000 h 4496940"/>
                    <a:gd name="connsiteX42" fmla="*/ 4088152 w 4519987"/>
                    <a:gd name="connsiteY42" fmla="*/ 3495675 h 4496940"/>
                    <a:gd name="connsiteX43" fmla="*/ 4059577 w 4519987"/>
                    <a:gd name="connsiteY43" fmla="*/ 3533775 h 4496940"/>
                    <a:gd name="connsiteX44" fmla="*/ 4002427 w 4519987"/>
                    <a:gd name="connsiteY44" fmla="*/ 3600450 h 4496940"/>
                    <a:gd name="connsiteX45" fmla="*/ 3983377 w 4519987"/>
                    <a:gd name="connsiteY45" fmla="*/ 3629025 h 4496940"/>
                    <a:gd name="connsiteX46" fmla="*/ 3954802 w 4519987"/>
                    <a:gd name="connsiteY46" fmla="*/ 3648075 h 4496940"/>
                    <a:gd name="connsiteX47" fmla="*/ 3907177 w 4519987"/>
                    <a:gd name="connsiteY47" fmla="*/ 3686175 h 4496940"/>
                    <a:gd name="connsiteX48" fmla="*/ 3869077 w 4519987"/>
                    <a:gd name="connsiteY48" fmla="*/ 3724275 h 4496940"/>
                    <a:gd name="connsiteX49" fmla="*/ 3792877 w 4519987"/>
                    <a:gd name="connsiteY49" fmla="*/ 3781425 h 4496940"/>
                    <a:gd name="connsiteX50" fmla="*/ 3783352 w 4519987"/>
                    <a:gd name="connsiteY50" fmla="*/ 3810000 h 4496940"/>
                    <a:gd name="connsiteX51" fmla="*/ 3745252 w 4519987"/>
                    <a:gd name="connsiteY51" fmla="*/ 3819525 h 4496940"/>
                    <a:gd name="connsiteX52" fmla="*/ 3678577 w 4519987"/>
                    <a:gd name="connsiteY52" fmla="*/ 3848100 h 4496940"/>
                    <a:gd name="connsiteX53" fmla="*/ 3659527 w 4519987"/>
                    <a:gd name="connsiteY53" fmla="*/ 3971925 h 4496940"/>
                    <a:gd name="connsiteX54" fmla="*/ 3630952 w 4519987"/>
                    <a:gd name="connsiteY54" fmla="*/ 4010025 h 4496940"/>
                    <a:gd name="connsiteX55" fmla="*/ 3621427 w 4519987"/>
                    <a:gd name="connsiteY55" fmla="*/ 4038600 h 4496940"/>
                    <a:gd name="connsiteX56" fmla="*/ 3554752 w 4519987"/>
                    <a:gd name="connsiteY56" fmla="*/ 4095750 h 4496940"/>
                    <a:gd name="connsiteX57" fmla="*/ 3516652 w 4519987"/>
                    <a:gd name="connsiteY57" fmla="*/ 4114800 h 4496940"/>
                    <a:gd name="connsiteX58" fmla="*/ 3497602 w 4519987"/>
                    <a:gd name="connsiteY58" fmla="*/ 4143375 h 4496940"/>
                    <a:gd name="connsiteX59" fmla="*/ 3383302 w 4519987"/>
                    <a:gd name="connsiteY59" fmla="*/ 4210050 h 4496940"/>
                    <a:gd name="connsiteX60" fmla="*/ 3335677 w 4519987"/>
                    <a:gd name="connsiteY60" fmla="*/ 4238625 h 4496940"/>
                    <a:gd name="connsiteX61" fmla="*/ 3288052 w 4519987"/>
                    <a:gd name="connsiteY61" fmla="*/ 4248150 h 4496940"/>
                    <a:gd name="connsiteX62" fmla="*/ 3240427 w 4519987"/>
                    <a:gd name="connsiteY62" fmla="*/ 4267200 h 4496940"/>
                    <a:gd name="connsiteX63" fmla="*/ 3068977 w 4519987"/>
                    <a:gd name="connsiteY63" fmla="*/ 4286250 h 4496940"/>
                    <a:gd name="connsiteX64" fmla="*/ 2935627 w 4519987"/>
                    <a:gd name="connsiteY64" fmla="*/ 4333875 h 4496940"/>
                    <a:gd name="connsiteX65" fmla="*/ 2811802 w 4519987"/>
                    <a:gd name="connsiteY65" fmla="*/ 4371975 h 4496940"/>
                    <a:gd name="connsiteX66" fmla="*/ 2745127 w 4519987"/>
                    <a:gd name="connsiteY66" fmla="*/ 4410075 h 4496940"/>
                    <a:gd name="connsiteX67" fmla="*/ 2697502 w 4519987"/>
                    <a:gd name="connsiteY67" fmla="*/ 4429125 h 4496940"/>
                    <a:gd name="connsiteX68" fmla="*/ 2640352 w 4519987"/>
                    <a:gd name="connsiteY68" fmla="*/ 4457700 h 4496940"/>
                    <a:gd name="connsiteX69" fmla="*/ 2583202 w 4519987"/>
                    <a:gd name="connsiteY69" fmla="*/ 4467225 h 4496940"/>
                    <a:gd name="connsiteX70" fmla="*/ 2545102 w 4519987"/>
                    <a:gd name="connsiteY70" fmla="*/ 4486275 h 4496940"/>
                    <a:gd name="connsiteX71" fmla="*/ 2306977 w 4519987"/>
                    <a:gd name="connsiteY71" fmla="*/ 4476750 h 4496940"/>
                    <a:gd name="connsiteX72" fmla="*/ 2202202 w 4519987"/>
                    <a:gd name="connsiteY72" fmla="*/ 4457700 h 4496940"/>
                    <a:gd name="connsiteX73" fmla="*/ 2126002 w 4519987"/>
                    <a:gd name="connsiteY73" fmla="*/ 4429125 h 4496940"/>
                    <a:gd name="connsiteX74" fmla="*/ 1935502 w 4519987"/>
                    <a:gd name="connsiteY74" fmla="*/ 4400550 h 4496940"/>
                    <a:gd name="connsiteX75" fmla="*/ 1821202 w 4519987"/>
                    <a:gd name="connsiteY75" fmla="*/ 4371975 h 4496940"/>
                    <a:gd name="connsiteX76" fmla="*/ 1754527 w 4519987"/>
                    <a:gd name="connsiteY76" fmla="*/ 4352925 h 4496940"/>
                    <a:gd name="connsiteX77" fmla="*/ 1687852 w 4519987"/>
                    <a:gd name="connsiteY77" fmla="*/ 4343400 h 4496940"/>
                    <a:gd name="connsiteX78" fmla="*/ 1573552 w 4519987"/>
                    <a:gd name="connsiteY78" fmla="*/ 4305300 h 4496940"/>
                    <a:gd name="connsiteX79" fmla="*/ 1402102 w 4519987"/>
                    <a:gd name="connsiteY79" fmla="*/ 4276725 h 4496940"/>
                    <a:gd name="connsiteX80" fmla="*/ 1287802 w 4519987"/>
                    <a:gd name="connsiteY80" fmla="*/ 4229100 h 4496940"/>
                    <a:gd name="connsiteX81" fmla="*/ 1221127 w 4519987"/>
                    <a:gd name="connsiteY81" fmla="*/ 4200525 h 4496940"/>
                    <a:gd name="connsiteX82" fmla="*/ 1144927 w 4519987"/>
                    <a:gd name="connsiteY82" fmla="*/ 4171950 h 4496940"/>
                    <a:gd name="connsiteX83" fmla="*/ 1087777 w 4519987"/>
                    <a:gd name="connsiteY83" fmla="*/ 4143375 h 4496940"/>
                    <a:gd name="connsiteX84" fmla="*/ 1030627 w 4519987"/>
                    <a:gd name="connsiteY84" fmla="*/ 4124325 h 4496940"/>
                    <a:gd name="connsiteX85" fmla="*/ 925852 w 4519987"/>
                    <a:gd name="connsiteY85" fmla="*/ 4067175 h 4496940"/>
                    <a:gd name="connsiteX86" fmla="*/ 830602 w 4519987"/>
                    <a:gd name="connsiteY86" fmla="*/ 3981450 h 4496940"/>
                    <a:gd name="connsiteX87" fmla="*/ 763927 w 4519987"/>
                    <a:gd name="connsiteY87" fmla="*/ 3914775 h 4496940"/>
                    <a:gd name="connsiteX88" fmla="*/ 725827 w 4519987"/>
                    <a:gd name="connsiteY88" fmla="*/ 3876675 h 4496940"/>
                    <a:gd name="connsiteX89" fmla="*/ 697252 w 4519987"/>
                    <a:gd name="connsiteY89" fmla="*/ 3838575 h 4496940"/>
                    <a:gd name="connsiteX90" fmla="*/ 640102 w 4519987"/>
                    <a:gd name="connsiteY90" fmla="*/ 3781425 h 4496940"/>
                    <a:gd name="connsiteX91" fmla="*/ 611527 w 4519987"/>
                    <a:gd name="connsiteY91" fmla="*/ 3733800 h 4496940"/>
                    <a:gd name="connsiteX92" fmla="*/ 554377 w 4519987"/>
                    <a:gd name="connsiteY92" fmla="*/ 3657600 h 4496940"/>
                    <a:gd name="connsiteX93" fmla="*/ 525802 w 4519987"/>
                    <a:gd name="connsiteY93" fmla="*/ 3609975 h 4496940"/>
                    <a:gd name="connsiteX94" fmla="*/ 497227 w 4519987"/>
                    <a:gd name="connsiteY94" fmla="*/ 3552825 h 4496940"/>
                    <a:gd name="connsiteX95" fmla="*/ 440077 w 4519987"/>
                    <a:gd name="connsiteY95" fmla="*/ 3495675 h 4496940"/>
                    <a:gd name="connsiteX96" fmla="*/ 411502 w 4519987"/>
                    <a:gd name="connsiteY96" fmla="*/ 3448050 h 4496940"/>
                    <a:gd name="connsiteX97" fmla="*/ 278152 w 4519987"/>
                    <a:gd name="connsiteY97" fmla="*/ 3257550 h 4496940"/>
                    <a:gd name="connsiteX98" fmla="*/ 249577 w 4519987"/>
                    <a:gd name="connsiteY98" fmla="*/ 3200400 h 4496940"/>
                    <a:gd name="connsiteX99" fmla="*/ 240052 w 4519987"/>
                    <a:gd name="connsiteY99" fmla="*/ 3162300 h 4496940"/>
                    <a:gd name="connsiteX100" fmla="*/ 221002 w 4519987"/>
                    <a:gd name="connsiteY100" fmla="*/ 3105150 h 4496940"/>
                    <a:gd name="connsiteX101" fmla="*/ 173377 w 4519987"/>
                    <a:gd name="connsiteY101" fmla="*/ 3019425 h 4496940"/>
                    <a:gd name="connsiteX102" fmla="*/ 144802 w 4519987"/>
                    <a:gd name="connsiteY102" fmla="*/ 2924175 h 4496940"/>
                    <a:gd name="connsiteX103" fmla="*/ 68602 w 4519987"/>
                    <a:gd name="connsiteY103" fmla="*/ 2724150 h 4496940"/>
                    <a:gd name="connsiteX104" fmla="*/ 49552 w 4519987"/>
                    <a:gd name="connsiteY104" fmla="*/ 2638425 h 4496940"/>
                    <a:gd name="connsiteX105" fmla="*/ 40027 w 4519987"/>
                    <a:gd name="connsiteY105" fmla="*/ 2562225 h 4496940"/>
                    <a:gd name="connsiteX106" fmla="*/ 30502 w 4519987"/>
                    <a:gd name="connsiteY106" fmla="*/ 2514600 h 4496940"/>
                    <a:gd name="connsiteX107" fmla="*/ 11452 w 4519987"/>
                    <a:gd name="connsiteY107" fmla="*/ 2400300 h 4496940"/>
                    <a:gd name="connsiteX108" fmla="*/ 20977 w 4519987"/>
                    <a:gd name="connsiteY108" fmla="*/ 1905000 h 4496940"/>
                    <a:gd name="connsiteX109" fmla="*/ 30502 w 4519987"/>
                    <a:gd name="connsiteY109" fmla="*/ 1838325 h 4496940"/>
                    <a:gd name="connsiteX110" fmla="*/ 49552 w 4519987"/>
                    <a:gd name="connsiteY110" fmla="*/ 1781175 h 4496940"/>
                    <a:gd name="connsiteX111" fmla="*/ 59077 w 4519987"/>
                    <a:gd name="connsiteY111" fmla="*/ 1743075 h 4496940"/>
                    <a:gd name="connsiteX112" fmla="*/ 78127 w 4519987"/>
                    <a:gd name="connsiteY112" fmla="*/ 1685925 h 4496940"/>
                    <a:gd name="connsiteX113" fmla="*/ 87652 w 4519987"/>
                    <a:gd name="connsiteY113" fmla="*/ 1638300 h 4496940"/>
                    <a:gd name="connsiteX114" fmla="*/ 106702 w 4519987"/>
                    <a:gd name="connsiteY114" fmla="*/ 1590675 h 4496940"/>
                    <a:gd name="connsiteX115" fmla="*/ 135277 w 4519987"/>
                    <a:gd name="connsiteY115" fmla="*/ 1504950 h 4496940"/>
                    <a:gd name="connsiteX116" fmla="*/ 154327 w 4519987"/>
                    <a:gd name="connsiteY116" fmla="*/ 1419225 h 4496940"/>
                    <a:gd name="connsiteX117" fmla="*/ 230527 w 4519987"/>
                    <a:gd name="connsiteY117" fmla="*/ 1276350 h 4496940"/>
                    <a:gd name="connsiteX118" fmla="*/ 240052 w 4519987"/>
                    <a:gd name="connsiteY118" fmla="*/ 1247775 h 4496940"/>
                    <a:gd name="connsiteX119" fmla="*/ 268627 w 4519987"/>
                    <a:gd name="connsiteY119" fmla="*/ 1200150 h 4496940"/>
                    <a:gd name="connsiteX120" fmla="*/ 287677 w 4519987"/>
                    <a:gd name="connsiteY120" fmla="*/ 1152525 h 4496940"/>
                    <a:gd name="connsiteX121" fmla="*/ 316252 w 4519987"/>
                    <a:gd name="connsiteY121" fmla="*/ 1114425 h 4496940"/>
                    <a:gd name="connsiteX122" fmla="*/ 363877 w 4519987"/>
                    <a:gd name="connsiteY122" fmla="*/ 1038225 h 4496940"/>
                    <a:gd name="connsiteX123" fmla="*/ 382927 w 4519987"/>
                    <a:gd name="connsiteY123" fmla="*/ 1009650 h 4496940"/>
                    <a:gd name="connsiteX124" fmla="*/ 440077 w 4519987"/>
                    <a:gd name="connsiteY124" fmla="*/ 904875 h 4496940"/>
                    <a:gd name="connsiteX125" fmla="*/ 478177 w 4519987"/>
                    <a:gd name="connsiteY125" fmla="*/ 857250 h 4496940"/>
                    <a:gd name="connsiteX126" fmla="*/ 497227 w 4519987"/>
                    <a:gd name="connsiteY126" fmla="*/ 828675 h 4496940"/>
                    <a:gd name="connsiteX127" fmla="*/ 535327 w 4519987"/>
                    <a:gd name="connsiteY127" fmla="*/ 800100 h 4496940"/>
                    <a:gd name="connsiteX128" fmla="*/ 602002 w 4519987"/>
                    <a:gd name="connsiteY128" fmla="*/ 733425 h 4496940"/>
                    <a:gd name="connsiteX129" fmla="*/ 668677 w 4519987"/>
                    <a:gd name="connsiteY129" fmla="*/ 676275 h 4496940"/>
                    <a:gd name="connsiteX130" fmla="*/ 697252 w 4519987"/>
                    <a:gd name="connsiteY130" fmla="*/ 657225 h 4496940"/>
                    <a:gd name="connsiteX131" fmla="*/ 840127 w 4519987"/>
                    <a:gd name="connsiteY131" fmla="*/ 533400 h 4496940"/>
                    <a:gd name="connsiteX132" fmla="*/ 887752 w 4519987"/>
                    <a:gd name="connsiteY132" fmla="*/ 504825 h 4496940"/>
                    <a:gd name="connsiteX133" fmla="*/ 1167152 w 4519987"/>
                    <a:gd name="connsiteY133" fmla="*/ 311150 h 4496940"/>
                    <a:gd name="connsiteX134" fmla="*/ 1268752 w 4519987"/>
                    <a:gd name="connsiteY134" fmla="*/ 285750 h 4496940"/>
                    <a:gd name="connsiteX135" fmla="*/ 1411627 w 4519987"/>
                    <a:gd name="connsiteY135" fmla="*/ 190500 h 4496940"/>
                    <a:gd name="connsiteX136" fmla="*/ 1449727 w 4519987"/>
                    <a:gd name="connsiteY136" fmla="*/ 161925 h 4496940"/>
                    <a:gd name="connsiteX137" fmla="*/ 1525927 w 4519987"/>
                    <a:gd name="connsiteY137" fmla="*/ 152400 h 4496940"/>
                    <a:gd name="connsiteX138" fmla="*/ 1583077 w 4519987"/>
                    <a:gd name="connsiteY138" fmla="*/ 142875 h 4496940"/>
                    <a:gd name="connsiteX139" fmla="*/ 1716427 w 4519987"/>
                    <a:gd name="connsiteY139" fmla="*/ 123825 h 4496940"/>
                    <a:gd name="connsiteX140" fmla="*/ 1811677 w 4519987"/>
                    <a:gd name="connsiteY140" fmla="*/ 114300 h 4496940"/>
                    <a:gd name="connsiteX141" fmla="*/ 1859302 w 4519987"/>
                    <a:gd name="connsiteY141" fmla="*/ 104775 h 4496940"/>
                    <a:gd name="connsiteX142" fmla="*/ 1916452 w 4519987"/>
                    <a:gd name="connsiteY142" fmla="*/ 95250 h 4496940"/>
                    <a:gd name="connsiteX143" fmla="*/ 2030752 w 4519987"/>
                    <a:gd name="connsiteY143" fmla="*/ 66675 h 4496940"/>
                    <a:gd name="connsiteX144" fmla="*/ 2097427 w 4519987"/>
                    <a:gd name="connsiteY144" fmla="*/ 47625 h 4496940"/>
                    <a:gd name="connsiteX145" fmla="*/ 2164102 w 4519987"/>
                    <a:gd name="connsiteY145" fmla="*/ 38100 h 4496940"/>
                    <a:gd name="connsiteX146" fmla="*/ 2392702 w 4519987"/>
                    <a:gd name="connsiteY14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50077 w 4519987"/>
                    <a:gd name="connsiteY24" fmla="*/ 1143000 h 4496940"/>
                    <a:gd name="connsiteX25" fmla="*/ 4259602 w 4519987"/>
                    <a:gd name="connsiteY25" fmla="*/ 1190625 h 4496940"/>
                    <a:gd name="connsiteX26" fmla="*/ 4307227 w 4519987"/>
                    <a:gd name="connsiteY26" fmla="*/ 1266825 h 4496940"/>
                    <a:gd name="connsiteX27" fmla="*/ 4345327 w 4519987"/>
                    <a:gd name="connsiteY27" fmla="*/ 1362075 h 4496940"/>
                    <a:gd name="connsiteX28" fmla="*/ 4373902 w 4519987"/>
                    <a:gd name="connsiteY28" fmla="*/ 1428750 h 4496940"/>
                    <a:gd name="connsiteX29" fmla="*/ 4392952 w 4519987"/>
                    <a:gd name="connsiteY29" fmla="*/ 1552575 h 4496940"/>
                    <a:gd name="connsiteX30" fmla="*/ 4402477 w 4519987"/>
                    <a:gd name="connsiteY30" fmla="*/ 1590675 h 4496940"/>
                    <a:gd name="connsiteX31" fmla="*/ 4431052 w 4519987"/>
                    <a:gd name="connsiteY31" fmla="*/ 1685925 h 4496940"/>
                    <a:gd name="connsiteX32" fmla="*/ 4519952 w 4519987"/>
                    <a:gd name="connsiteY32" fmla="*/ 2181225 h 4496940"/>
                    <a:gd name="connsiteX33" fmla="*/ 4446927 w 4519987"/>
                    <a:gd name="connsiteY33" fmla="*/ 2768600 h 4496940"/>
                    <a:gd name="connsiteX34" fmla="*/ 4383427 w 4519987"/>
                    <a:gd name="connsiteY34" fmla="*/ 2990850 h 4496940"/>
                    <a:gd name="connsiteX35" fmla="*/ 4278652 w 4519987"/>
                    <a:gd name="connsiteY35" fmla="*/ 3248025 h 4496940"/>
                    <a:gd name="connsiteX36" fmla="*/ 4259602 w 4519987"/>
                    <a:gd name="connsiteY36" fmla="*/ 3276600 h 4496940"/>
                    <a:gd name="connsiteX37" fmla="*/ 4221502 w 4519987"/>
                    <a:gd name="connsiteY37" fmla="*/ 3333750 h 4496940"/>
                    <a:gd name="connsiteX38" fmla="*/ 4211977 w 4519987"/>
                    <a:gd name="connsiteY38" fmla="*/ 3362325 h 4496940"/>
                    <a:gd name="connsiteX39" fmla="*/ 4183402 w 4519987"/>
                    <a:gd name="connsiteY39" fmla="*/ 3400425 h 4496940"/>
                    <a:gd name="connsiteX40" fmla="*/ 4164352 w 4519987"/>
                    <a:gd name="connsiteY40" fmla="*/ 3429000 h 4496940"/>
                    <a:gd name="connsiteX41" fmla="*/ 4088152 w 4519987"/>
                    <a:gd name="connsiteY41" fmla="*/ 3495675 h 4496940"/>
                    <a:gd name="connsiteX42" fmla="*/ 4059577 w 4519987"/>
                    <a:gd name="connsiteY42" fmla="*/ 3533775 h 4496940"/>
                    <a:gd name="connsiteX43" fmla="*/ 4002427 w 4519987"/>
                    <a:gd name="connsiteY43" fmla="*/ 3600450 h 4496940"/>
                    <a:gd name="connsiteX44" fmla="*/ 3983377 w 4519987"/>
                    <a:gd name="connsiteY44" fmla="*/ 3629025 h 4496940"/>
                    <a:gd name="connsiteX45" fmla="*/ 3954802 w 4519987"/>
                    <a:gd name="connsiteY45" fmla="*/ 3648075 h 4496940"/>
                    <a:gd name="connsiteX46" fmla="*/ 3907177 w 4519987"/>
                    <a:gd name="connsiteY46" fmla="*/ 3686175 h 4496940"/>
                    <a:gd name="connsiteX47" fmla="*/ 3869077 w 4519987"/>
                    <a:gd name="connsiteY47" fmla="*/ 3724275 h 4496940"/>
                    <a:gd name="connsiteX48" fmla="*/ 3792877 w 4519987"/>
                    <a:gd name="connsiteY48" fmla="*/ 3781425 h 4496940"/>
                    <a:gd name="connsiteX49" fmla="*/ 3783352 w 4519987"/>
                    <a:gd name="connsiteY49" fmla="*/ 3810000 h 4496940"/>
                    <a:gd name="connsiteX50" fmla="*/ 3745252 w 4519987"/>
                    <a:gd name="connsiteY50" fmla="*/ 3819525 h 4496940"/>
                    <a:gd name="connsiteX51" fmla="*/ 3678577 w 4519987"/>
                    <a:gd name="connsiteY51" fmla="*/ 3848100 h 4496940"/>
                    <a:gd name="connsiteX52" fmla="*/ 3659527 w 4519987"/>
                    <a:gd name="connsiteY52" fmla="*/ 3971925 h 4496940"/>
                    <a:gd name="connsiteX53" fmla="*/ 3630952 w 4519987"/>
                    <a:gd name="connsiteY53" fmla="*/ 4010025 h 4496940"/>
                    <a:gd name="connsiteX54" fmla="*/ 3621427 w 4519987"/>
                    <a:gd name="connsiteY54" fmla="*/ 4038600 h 4496940"/>
                    <a:gd name="connsiteX55" fmla="*/ 3554752 w 4519987"/>
                    <a:gd name="connsiteY55" fmla="*/ 4095750 h 4496940"/>
                    <a:gd name="connsiteX56" fmla="*/ 3516652 w 4519987"/>
                    <a:gd name="connsiteY56" fmla="*/ 4114800 h 4496940"/>
                    <a:gd name="connsiteX57" fmla="*/ 3497602 w 4519987"/>
                    <a:gd name="connsiteY57" fmla="*/ 4143375 h 4496940"/>
                    <a:gd name="connsiteX58" fmla="*/ 3383302 w 4519987"/>
                    <a:gd name="connsiteY58" fmla="*/ 4210050 h 4496940"/>
                    <a:gd name="connsiteX59" fmla="*/ 3335677 w 4519987"/>
                    <a:gd name="connsiteY59" fmla="*/ 4238625 h 4496940"/>
                    <a:gd name="connsiteX60" fmla="*/ 3288052 w 4519987"/>
                    <a:gd name="connsiteY60" fmla="*/ 4248150 h 4496940"/>
                    <a:gd name="connsiteX61" fmla="*/ 3240427 w 4519987"/>
                    <a:gd name="connsiteY61" fmla="*/ 4267200 h 4496940"/>
                    <a:gd name="connsiteX62" fmla="*/ 3068977 w 4519987"/>
                    <a:gd name="connsiteY62" fmla="*/ 4286250 h 4496940"/>
                    <a:gd name="connsiteX63" fmla="*/ 2935627 w 4519987"/>
                    <a:gd name="connsiteY63" fmla="*/ 4333875 h 4496940"/>
                    <a:gd name="connsiteX64" fmla="*/ 2811802 w 4519987"/>
                    <a:gd name="connsiteY64" fmla="*/ 4371975 h 4496940"/>
                    <a:gd name="connsiteX65" fmla="*/ 2745127 w 4519987"/>
                    <a:gd name="connsiteY65" fmla="*/ 4410075 h 4496940"/>
                    <a:gd name="connsiteX66" fmla="*/ 2697502 w 4519987"/>
                    <a:gd name="connsiteY66" fmla="*/ 4429125 h 4496940"/>
                    <a:gd name="connsiteX67" fmla="*/ 2640352 w 4519987"/>
                    <a:gd name="connsiteY67" fmla="*/ 4457700 h 4496940"/>
                    <a:gd name="connsiteX68" fmla="*/ 2583202 w 4519987"/>
                    <a:gd name="connsiteY68" fmla="*/ 4467225 h 4496940"/>
                    <a:gd name="connsiteX69" fmla="*/ 2545102 w 4519987"/>
                    <a:gd name="connsiteY69" fmla="*/ 4486275 h 4496940"/>
                    <a:gd name="connsiteX70" fmla="*/ 2306977 w 4519987"/>
                    <a:gd name="connsiteY70" fmla="*/ 4476750 h 4496940"/>
                    <a:gd name="connsiteX71" fmla="*/ 2202202 w 4519987"/>
                    <a:gd name="connsiteY71" fmla="*/ 4457700 h 4496940"/>
                    <a:gd name="connsiteX72" fmla="*/ 2126002 w 4519987"/>
                    <a:gd name="connsiteY72" fmla="*/ 4429125 h 4496940"/>
                    <a:gd name="connsiteX73" fmla="*/ 1935502 w 4519987"/>
                    <a:gd name="connsiteY73" fmla="*/ 4400550 h 4496940"/>
                    <a:gd name="connsiteX74" fmla="*/ 1821202 w 4519987"/>
                    <a:gd name="connsiteY74" fmla="*/ 4371975 h 4496940"/>
                    <a:gd name="connsiteX75" fmla="*/ 1754527 w 4519987"/>
                    <a:gd name="connsiteY75" fmla="*/ 4352925 h 4496940"/>
                    <a:gd name="connsiteX76" fmla="*/ 1687852 w 4519987"/>
                    <a:gd name="connsiteY76" fmla="*/ 4343400 h 4496940"/>
                    <a:gd name="connsiteX77" fmla="*/ 1573552 w 4519987"/>
                    <a:gd name="connsiteY77" fmla="*/ 4305300 h 4496940"/>
                    <a:gd name="connsiteX78" fmla="*/ 1402102 w 4519987"/>
                    <a:gd name="connsiteY78" fmla="*/ 4276725 h 4496940"/>
                    <a:gd name="connsiteX79" fmla="*/ 1287802 w 4519987"/>
                    <a:gd name="connsiteY79" fmla="*/ 4229100 h 4496940"/>
                    <a:gd name="connsiteX80" fmla="*/ 1221127 w 4519987"/>
                    <a:gd name="connsiteY80" fmla="*/ 4200525 h 4496940"/>
                    <a:gd name="connsiteX81" fmla="*/ 1144927 w 4519987"/>
                    <a:gd name="connsiteY81" fmla="*/ 4171950 h 4496940"/>
                    <a:gd name="connsiteX82" fmla="*/ 1087777 w 4519987"/>
                    <a:gd name="connsiteY82" fmla="*/ 4143375 h 4496940"/>
                    <a:gd name="connsiteX83" fmla="*/ 1030627 w 4519987"/>
                    <a:gd name="connsiteY83" fmla="*/ 4124325 h 4496940"/>
                    <a:gd name="connsiteX84" fmla="*/ 925852 w 4519987"/>
                    <a:gd name="connsiteY84" fmla="*/ 4067175 h 4496940"/>
                    <a:gd name="connsiteX85" fmla="*/ 830602 w 4519987"/>
                    <a:gd name="connsiteY85" fmla="*/ 3981450 h 4496940"/>
                    <a:gd name="connsiteX86" fmla="*/ 763927 w 4519987"/>
                    <a:gd name="connsiteY86" fmla="*/ 3914775 h 4496940"/>
                    <a:gd name="connsiteX87" fmla="*/ 725827 w 4519987"/>
                    <a:gd name="connsiteY87" fmla="*/ 3876675 h 4496940"/>
                    <a:gd name="connsiteX88" fmla="*/ 697252 w 4519987"/>
                    <a:gd name="connsiteY88" fmla="*/ 3838575 h 4496940"/>
                    <a:gd name="connsiteX89" fmla="*/ 640102 w 4519987"/>
                    <a:gd name="connsiteY89" fmla="*/ 3781425 h 4496940"/>
                    <a:gd name="connsiteX90" fmla="*/ 611527 w 4519987"/>
                    <a:gd name="connsiteY90" fmla="*/ 3733800 h 4496940"/>
                    <a:gd name="connsiteX91" fmla="*/ 554377 w 4519987"/>
                    <a:gd name="connsiteY91" fmla="*/ 3657600 h 4496940"/>
                    <a:gd name="connsiteX92" fmla="*/ 525802 w 4519987"/>
                    <a:gd name="connsiteY92" fmla="*/ 3609975 h 4496940"/>
                    <a:gd name="connsiteX93" fmla="*/ 497227 w 4519987"/>
                    <a:gd name="connsiteY93" fmla="*/ 3552825 h 4496940"/>
                    <a:gd name="connsiteX94" fmla="*/ 440077 w 4519987"/>
                    <a:gd name="connsiteY94" fmla="*/ 3495675 h 4496940"/>
                    <a:gd name="connsiteX95" fmla="*/ 411502 w 4519987"/>
                    <a:gd name="connsiteY95" fmla="*/ 3448050 h 4496940"/>
                    <a:gd name="connsiteX96" fmla="*/ 278152 w 4519987"/>
                    <a:gd name="connsiteY96" fmla="*/ 3257550 h 4496940"/>
                    <a:gd name="connsiteX97" fmla="*/ 249577 w 4519987"/>
                    <a:gd name="connsiteY97" fmla="*/ 3200400 h 4496940"/>
                    <a:gd name="connsiteX98" fmla="*/ 240052 w 4519987"/>
                    <a:gd name="connsiteY98" fmla="*/ 3162300 h 4496940"/>
                    <a:gd name="connsiteX99" fmla="*/ 221002 w 4519987"/>
                    <a:gd name="connsiteY99" fmla="*/ 3105150 h 4496940"/>
                    <a:gd name="connsiteX100" fmla="*/ 173377 w 4519987"/>
                    <a:gd name="connsiteY100" fmla="*/ 3019425 h 4496940"/>
                    <a:gd name="connsiteX101" fmla="*/ 144802 w 4519987"/>
                    <a:gd name="connsiteY101" fmla="*/ 2924175 h 4496940"/>
                    <a:gd name="connsiteX102" fmla="*/ 68602 w 4519987"/>
                    <a:gd name="connsiteY102" fmla="*/ 2724150 h 4496940"/>
                    <a:gd name="connsiteX103" fmla="*/ 49552 w 4519987"/>
                    <a:gd name="connsiteY103" fmla="*/ 2638425 h 4496940"/>
                    <a:gd name="connsiteX104" fmla="*/ 40027 w 4519987"/>
                    <a:gd name="connsiteY104" fmla="*/ 2562225 h 4496940"/>
                    <a:gd name="connsiteX105" fmla="*/ 30502 w 4519987"/>
                    <a:gd name="connsiteY105" fmla="*/ 2514600 h 4496940"/>
                    <a:gd name="connsiteX106" fmla="*/ 11452 w 4519987"/>
                    <a:gd name="connsiteY106" fmla="*/ 2400300 h 4496940"/>
                    <a:gd name="connsiteX107" fmla="*/ 20977 w 4519987"/>
                    <a:gd name="connsiteY107" fmla="*/ 1905000 h 4496940"/>
                    <a:gd name="connsiteX108" fmla="*/ 30502 w 4519987"/>
                    <a:gd name="connsiteY108" fmla="*/ 1838325 h 4496940"/>
                    <a:gd name="connsiteX109" fmla="*/ 49552 w 4519987"/>
                    <a:gd name="connsiteY109" fmla="*/ 1781175 h 4496940"/>
                    <a:gd name="connsiteX110" fmla="*/ 59077 w 4519987"/>
                    <a:gd name="connsiteY110" fmla="*/ 1743075 h 4496940"/>
                    <a:gd name="connsiteX111" fmla="*/ 78127 w 4519987"/>
                    <a:gd name="connsiteY111" fmla="*/ 1685925 h 4496940"/>
                    <a:gd name="connsiteX112" fmla="*/ 87652 w 4519987"/>
                    <a:gd name="connsiteY112" fmla="*/ 1638300 h 4496940"/>
                    <a:gd name="connsiteX113" fmla="*/ 106702 w 4519987"/>
                    <a:gd name="connsiteY113" fmla="*/ 1590675 h 4496940"/>
                    <a:gd name="connsiteX114" fmla="*/ 135277 w 4519987"/>
                    <a:gd name="connsiteY114" fmla="*/ 1504950 h 4496940"/>
                    <a:gd name="connsiteX115" fmla="*/ 154327 w 4519987"/>
                    <a:gd name="connsiteY115" fmla="*/ 1419225 h 4496940"/>
                    <a:gd name="connsiteX116" fmla="*/ 230527 w 4519987"/>
                    <a:gd name="connsiteY116" fmla="*/ 1276350 h 4496940"/>
                    <a:gd name="connsiteX117" fmla="*/ 240052 w 4519987"/>
                    <a:gd name="connsiteY117" fmla="*/ 1247775 h 4496940"/>
                    <a:gd name="connsiteX118" fmla="*/ 268627 w 4519987"/>
                    <a:gd name="connsiteY118" fmla="*/ 1200150 h 4496940"/>
                    <a:gd name="connsiteX119" fmla="*/ 287677 w 4519987"/>
                    <a:gd name="connsiteY119" fmla="*/ 1152525 h 4496940"/>
                    <a:gd name="connsiteX120" fmla="*/ 316252 w 4519987"/>
                    <a:gd name="connsiteY120" fmla="*/ 1114425 h 4496940"/>
                    <a:gd name="connsiteX121" fmla="*/ 363877 w 4519987"/>
                    <a:gd name="connsiteY121" fmla="*/ 1038225 h 4496940"/>
                    <a:gd name="connsiteX122" fmla="*/ 382927 w 4519987"/>
                    <a:gd name="connsiteY122" fmla="*/ 1009650 h 4496940"/>
                    <a:gd name="connsiteX123" fmla="*/ 440077 w 4519987"/>
                    <a:gd name="connsiteY123" fmla="*/ 904875 h 4496940"/>
                    <a:gd name="connsiteX124" fmla="*/ 478177 w 4519987"/>
                    <a:gd name="connsiteY124" fmla="*/ 857250 h 4496940"/>
                    <a:gd name="connsiteX125" fmla="*/ 497227 w 4519987"/>
                    <a:gd name="connsiteY125" fmla="*/ 828675 h 4496940"/>
                    <a:gd name="connsiteX126" fmla="*/ 535327 w 4519987"/>
                    <a:gd name="connsiteY126" fmla="*/ 800100 h 4496940"/>
                    <a:gd name="connsiteX127" fmla="*/ 602002 w 4519987"/>
                    <a:gd name="connsiteY127" fmla="*/ 733425 h 4496940"/>
                    <a:gd name="connsiteX128" fmla="*/ 668677 w 4519987"/>
                    <a:gd name="connsiteY128" fmla="*/ 676275 h 4496940"/>
                    <a:gd name="connsiteX129" fmla="*/ 697252 w 4519987"/>
                    <a:gd name="connsiteY129" fmla="*/ 657225 h 4496940"/>
                    <a:gd name="connsiteX130" fmla="*/ 840127 w 4519987"/>
                    <a:gd name="connsiteY130" fmla="*/ 533400 h 4496940"/>
                    <a:gd name="connsiteX131" fmla="*/ 887752 w 4519987"/>
                    <a:gd name="connsiteY131" fmla="*/ 504825 h 4496940"/>
                    <a:gd name="connsiteX132" fmla="*/ 1167152 w 4519987"/>
                    <a:gd name="connsiteY132" fmla="*/ 311150 h 4496940"/>
                    <a:gd name="connsiteX133" fmla="*/ 1268752 w 4519987"/>
                    <a:gd name="connsiteY133" fmla="*/ 285750 h 4496940"/>
                    <a:gd name="connsiteX134" fmla="*/ 1411627 w 4519987"/>
                    <a:gd name="connsiteY134" fmla="*/ 190500 h 4496940"/>
                    <a:gd name="connsiteX135" fmla="*/ 1449727 w 4519987"/>
                    <a:gd name="connsiteY135" fmla="*/ 161925 h 4496940"/>
                    <a:gd name="connsiteX136" fmla="*/ 1525927 w 4519987"/>
                    <a:gd name="connsiteY136" fmla="*/ 152400 h 4496940"/>
                    <a:gd name="connsiteX137" fmla="*/ 1583077 w 4519987"/>
                    <a:gd name="connsiteY137" fmla="*/ 142875 h 4496940"/>
                    <a:gd name="connsiteX138" fmla="*/ 1716427 w 4519987"/>
                    <a:gd name="connsiteY138" fmla="*/ 123825 h 4496940"/>
                    <a:gd name="connsiteX139" fmla="*/ 1811677 w 4519987"/>
                    <a:gd name="connsiteY139" fmla="*/ 114300 h 4496940"/>
                    <a:gd name="connsiteX140" fmla="*/ 1859302 w 4519987"/>
                    <a:gd name="connsiteY140" fmla="*/ 104775 h 4496940"/>
                    <a:gd name="connsiteX141" fmla="*/ 1916452 w 4519987"/>
                    <a:gd name="connsiteY141" fmla="*/ 95250 h 4496940"/>
                    <a:gd name="connsiteX142" fmla="*/ 2030752 w 4519987"/>
                    <a:gd name="connsiteY142" fmla="*/ 66675 h 4496940"/>
                    <a:gd name="connsiteX143" fmla="*/ 2097427 w 4519987"/>
                    <a:gd name="connsiteY143" fmla="*/ 47625 h 4496940"/>
                    <a:gd name="connsiteX144" fmla="*/ 2164102 w 4519987"/>
                    <a:gd name="connsiteY144" fmla="*/ 38100 h 4496940"/>
                    <a:gd name="connsiteX145" fmla="*/ 2392702 w 4519987"/>
                    <a:gd name="connsiteY14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259602 w 4519987"/>
                    <a:gd name="connsiteY24" fmla="*/ 1190625 h 4496940"/>
                    <a:gd name="connsiteX25" fmla="*/ 4307227 w 4519987"/>
                    <a:gd name="connsiteY25" fmla="*/ 1266825 h 4496940"/>
                    <a:gd name="connsiteX26" fmla="*/ 4345327 w 4519987"/>
                    <a:gd name="connsiteY26" fmla="*/ 1362075 h 4496940"/>
                    <a:gd name="connsiteX27" fmla="*/ 4373902 w 4519987"/>
                    <a:gd name="connsiteY27" fmla="*/ 1428750 h 4496940"/>
                    <a:gd name="connsiteX28" fmla="*/ 4392952 w 4519987"/>
                    <a:gd name="connsiteY28" fmla="*/ 1552575 h 4496940"/>
                    <a:gd name="connsiteX29" fmla="*/ 4402477 w 4519987"/>
                    <a:gd name="connsiteY29" fmla="*/ 1590675 h 4496940"/>
                    <a:gd name="connsiteX30" fmla="*/ 4431052 w 4519987"/>
                    <a:gd name="connsiteY30" fmla="*/ 1685925 h 4496940"/>
                    <a:gd name="connsiteX31" fmla="*/ 4519952 w 4519987"/>
                    <a:gd name="connsiteY31" fmla="*/ 2181225 h 4496940"/>
                    <a:gd name="connsiteX32" fmla="*/ 4446927 w 4519987"/>
                    <a:gd name="connsiteY32" fmla="*/ 2768600 h 4496940"/>
                    <a:gd name="connsiteX33" fmla="*/ 4383427 w 4519987"/>
                    <a:gd name="connsiteY33" fmla="*/ 2990850 h 4496940"/>
                    <a:gd name="connsiteX34" fmla="*/ 4278652 w 4519987"/>
                    <a:gd name="connsiteY34" fmla="*/ 3248025 h 4496940"/>
                    <a:gd name="connsiteX35" fmla="*/ 4259602 w 4519987"/>
                    <a:gd name="connsiteY35" fmla="*/ 3276600 h 4496940"/>
                    <a:gd name="connsiteX36" fmla="*/ 4221502 w 4519987"/>
                    <a:gd name="connsiteY36" fmla="*/ 3333750 h 4496940"/>
                    <a:gd name="connsiteX37" fmla="*/ 4211977 w 4519987"/>
                    <a:gd name="connsiteY37" fmla="*/ 3362325 h 4496940"/>
                    <a:gd name="connsiteX38" fmla="*/ 4183402 w 4519987"/>
                    <a:gd name="connsiteY38" fmla="*/ 3400425 h 4496940"/>
                    <a:gd name="connsiteX39" fmla="*/ 4164352 w 4519987"/>
                    <a:gd name="connsiteY39" fmla="*/ 3429000 h 4496940"/>
                    <a:gd name="connsiteX40" fmla="*/ 4088152 w 4519987"/>
                    <a:gd name="connsiteY40" fmla="*/ 3495675 h 4496940"/>
                    <a:gd name="connsiteX41" fmla="*/ 4059577 w 4519987"/>
                    <a:gd name="connsiteY41" fmla="*/ 3533775 h 4496940"/>
                    <a:gd name="connsiteX42" fmla="*/ 4002427 w 4519987"/>
                    <a:gd name="connsiteY42" fmla="*/ 3600450 h 4496940"/>
                    <a:gd name="connsiteX43" fmla="*/ 3983377 w 4519987"/>
                    <a:gd name="connsiteY43" fmla="*/ 3629025 h 4496940"/>
                    <a:gd name="connsiteX44" fmla="*/ 3954802 w 4519987"/>
                    <a:gd name="connsiteY44" fmla="*/ 3648075 h 4496940"/>
                    <a:gd name="connsiteX45" fmla="*/ 3907177 w 4519987"/>
                    <a:gd name="connsiteY45" fmla="*/ 3686175 h 4496940"/>
                    <a:gd name="connsiteX46" fmla="*/ 3869077 w 4519987"/>
                    <a:gd name="connsiteY46" fmla="*/ 3724275 h 4496940"/>
                    <a:gd name="connsiteX47" fmla="*/ 3792877 w 4519987"/>
                    <a:gd name="connsiteY47" fmla="*/ 3781425 h 4496940"/>
                    <a:gd name="connsiteX48" fmla="*/ 3783352 w 4519987"/>
                    <a:gd name="connsiteY48" fmla="*/ 3810000 h 4496940"/>
                    <a:gd name="connsiteX49" fmla="*/ 3745252 w 4519987"/>
                    <a:gd name="connsiteY49" fmla="*/ 3819525 h 4496940"/>
                    <a:gd name="connsiteX50" fmla="*/ 3678577 w 4519987"/>
                    <a:gd name="connsiteY50" fmla="*/ 3848100 h 4496940"/>
                    <a:gd name="connsiteX51" fmla="*/ 3659527 w 4519987"/>
                    <a:gd name="connsiteY51" fmla="*/ 3971925 h 4496940"/>
                    <a:gd name="connsiteX52" fmla="*/ 3630952 w 4519987"/>
                    <a:gd name="connsiteY52" fmla="*/ 4010025 h 4496940"/>
                    <a:gd name="connsiteX53" fmla="*/ 3621427 w 4519987"/>
                    <a:gd name="connsiteY53" fmla="*/ 4038600 h 4496940"/>
                    <a:gd name="connsiteX54" fmla="*/ 3554752 w 4519987"/>
                    <a:gd name="connsiteY54" fmla="*/ 4095750 h 4496940"/>
                    <a:gd name="connsiteX55" fmla="*/ 3516652 w 4519987"/>
                    <a:gd name="connsiteY55" fmla="*/ 4114800 h 4496940"/>
                    <a:gd name="connsiteX56" fmla="*/ 3497602 w 4519987"/>
                    <a:gd name="connsiteY56" fmla="*/ 4143375 h 4496940"/>
                    <a:gd name="connsiteX57" fmla="*/ 3383302 w 4519987"/>
                    <a:gd name="connsiteY57" fmla="*/ 4210050 h 4496940"/>
                    <a:gd name="connsiteX58" fmla="*/ 3335677 w 4519987"/>
                    <a:gd name="connsiteY58" fmla="*/ 4238625 h 4496940"/>
                    <a:gd name="connsiteX59" fmla="*/ 3288052 w 4519987"/>
                    <a:gd name="connsiteY59" fmla="*/ 4248150 h 4496940"/>
                    <a:gd name="connsiteX60" fmla="*/ 3240427 w 4519987"/>
                    <a:gd name="connsiteY60" fmla="*/ 4267200 h 4496940"/>
                    <a:gd name="connsiteX61" fmla="*/ 3068977 w 4519987"/>
                    <a:gd name="connsiteY61" fmla="*/ 4286250 h 4496940"/>
                    <a:gd name="connsiteX62" fmla="*/ 2935627 w 4519987"/>
                    <a:gd name="connsiteY62" fmla="*/ 4333875 h 4496940"/>
                    <a:gd name="connsiteX63" fmla="*/ 2811802 w 4519987"/>
                    <a:gd name="connsiteY63" fmla="*/ 4371975 h 4496940"/>
                    <a:gd name="connsiteX64" fmla="*/ 2745127 w 4519987"/>
                    <a:gd name="connsiteY64" fmla="*/ 4410075 h 4496940"/>
                    <a:gd name="connsiteX65" fmla="*/ 2697502 w 4519987"/>
                    <a:gd name="connsiteY65" fmla="*/ 4429125 h 4496940"/>
                    <a:gd name="connsiteX66" fmla="*/ 2640352 w 4519987"/>
                    <a:gd name="connsiteY66" fmla="*/ 4457700 h 4496940"/>
                    <a:gd name="connsiteX67" fmla="*/ 2583202 w 4519987"/>
                    <a:gd name="connsiteY67" fmla="*/ 4467225 h 4496940"/>
                    <a:gd name="connsiteX68" fmla="*/ 2545102 w 4519987"/>
                    <a:gd name="connsiteY68" fmla="*/ 4486275 h 4496940"/>
                    <a:gd name="connsiteX69" fmla="*/ 2306977 w 4519987"/>
                    <a:gd name="connsiteY69" fmla="*/ 4476750 h 4496940"/>
                    <a:gd name="connsiteX70" fmla="*/ 2202202 w 4519987"/>
                    <a:gd name="connsiteY70" fmla="*/ 4457700 h 4496940"/>
                    <a:gd name="connsiteX71" fmla="*/ 2126002 w 4519987"/>
                    <a:gd name="connsiteY71" fmla="*/ 4429125 h 4496940"/>
                    <a:gd name="connsiteX72" fmla="*/ 1935502 w 4519987"/>
                    <a:gd name="connsiteY72" fmla="*/ 4400550 h 4496940"/>
                    <a:gd name="connsiteX73" fmla="*/ 1821202 w 4519987"/>
                    <a:gd name="connsiteY73" fmla="*/ 4371975 h 4496940"/>
                    <a:gd name="connsiteX74" fmla="*/ 1754527 w 4519987"/>
                    <a:gd name="connsiteY74" fmla="*/ 4352925 h 4496940"/>
                    <a:gd name="connsiteX75" fmla="*/ 1687852 w 4519987"/>
                    <a:gd name="connsiteY75" fmla="*/ 4343400 h 4496940"/>
                    <a:gd name="connsiteX76" fmla="*/ 1573552 w 4519987"/>
                    <a:gd name="connsiteY76" fmla="*/ 4305300 h 4496940"/>
                    <a:gd name="connsiteX77" fmla="*/ 1402102 w 4519987"/>
                    <a:gd name="connsiteY77" fmla="*/ 4276725 h 4496940"/>
                    <a:gd name="connsiteX78" fmla="*/ 1287802 w 4519987"/>
                    <a:gd name="connsiteY78" fmla="*/ 4229100 h 4496940"/>
                    <a:gd name="connsiteX79" fmla="*/ 1221127 w 4519987"/>
                    <a:gd name="connsiteY79" fmla="*/ 4200525 h 4496940"/>
                    <a:gd name="connsiteX80" fmla="*/ 1144927 w 4519987"/>
                    <a:gd name="connsiteY80" fmla="*/ 4171950 h 4496940"/>
                    <a:gd name="connsiteX81" fmla="*/ 1087777 w 4519987"/>
                    <a:gd name="connsiteY81" fmla="*/ 4143375 h 4496940"/>
                    <a:gd name="connsiteX82" fmla="*/ 1030627 w 4519987"/>
                    <a:gd name="connsiteY82" fmla="*/ 4124325 h 4496940"/>
                    <a:gd name="connsiteX83" fmla="*/ 925852 w 4519987"/>
                    <a:gd name="connsiteY83" fmla="*/ 4067175 h 4496940"/>
                    <a:gd name="connsiteX84" fmla="*/ 830602 w 4519987"/>
                    <a:gd name="connsiteY84" fmla="*/ 3981450 h 4496940"/>
                    <a:gd name="connsiteX85" fmla="*/ 763927 w 4519987"/>
                    <a:gd name="connsiteY85" fmla="*/ 3914775 h 4496940"/>
                    <a:gd name="connsiteX86" fmla="*/ 725827 w 4519987"/>
                    <a:gd name="connsiteY86" fmla="*/ 3876675 h 4496940"/>
                    <a:gd name="connsiteX87" fmla="*/ 697252 w 4519987"/>
                    <a:gd name="connsiteY87" fmla="*/ 3838575 h 4496940"/>
                    <a:gd name="connsiteX88" fmla="*/ 640102 w 4519987"/>
                    <a:gd name="connsiteY88" fmla="*/ 3781425 h 4496940"/>
                    <a:gd name="connsiteX89" fmla="*/ 611527 w 4519987"/>
                    <a:gd name="connsiteY89" fmla="*/ 3733800 h 4496940"/>
                    <a:gd name="connsiteX90" fmla="*/ 554377 w 4519987"/>
                    <a:gd name="connsiteY90" fmla="*/ 3657600 h 4496940"/>
                    <a:gd name="connsiteX91" fmla="*/ 525802 w 4519987"/>
                    <a:gd name="connsiteY91" fmla="*/ 3609975 h 4496940"/>
                    <a:gd name="connsiteX92" fmla="*/ 497227 w 4519987"/>
                    <a:gd name="connsiteY92" fmla="*/ 3552825 h 4496940"/>
                    <a:gd name="connsiteX93" fmla="*/ 440077 w 4519987"/>
                    <a:gd name="connsiteY93" fmla="*/ 3495675 h 4496940"/>
                    <a:gd name="connsiteX94" fmla="*/ 411502 w 4519987"/>
                    <a:gd name="connsiteY94" fmla="*/ 3448050 h 4496940"/>
                    <a:gd name="connsiteX95" fmla="*/ 278152 w 4519987"/>
                    <a:gd name="connsiteY95" fmla="*/ 3257550 h 4496940"/>
                    <a:gd name="connsiteX96" fmla="*/ 249577 w 4519987"/>
                    <a:gd name="connsiteY96" fmla="*/ 3200400 h 4496940"/>
                    <a:gd name="connsiteX97" fmla="*/ 240052 w 4519987"/>
                    <a:gd name="connsiteY97" fmla="*/ 3162300 h 4496940"/>
                    <a:gd name="connsiteX98" fmla="*/ 221002 w 4519987"/>
                    <a:gd name="connsiteY98" fmla="*/ 3105150 h 4496940"/>
                    <a:gd name="connsiteX99" fmla="*/ 173377 w 4519987"/>
                    <a:gd name="connsiteY99" fmla="*/ 3019425 h 4496940"/>
                    <a:gd name="connsiteX100" fmla="*/ 144802 w 4519987"/>
                    <a:gd name="connsiteY100" fmla="*/ 2924175 h 4496940"/>
                    <a:gd name="connsiteX101" fmla="*/ 68602 w 4519987"/>
                    <a:gd name="connsiteY101" fmla="*/ 2724150 h 4496940"/>
                    <a:gd name="connsiteX102" fmla="*/ 49552 w 4519987"/>
                    <a:gd name="connsiteY102" fmla="*/ 2638425 h 4496940"/>
                    <a:gd name="connsiteX103" fmla="*/ 40027 w 4519987"/>
                    <a:gd name="connsiteY103" fmla="*/ 2562225 h 4496940"/>
                    <a:gd name="connsiteX104" fmla="*/ 30502 w 4519987"/>
                    <a:gd name="connsiteY104" fmla="*/ 2514600 h 4496940"/>
                    <a:gd name="connsiteX105" fmla="*/ 11452 w 4519987"/>
                    <a:gd name="connsiteY105" fmla="*/ 2400300 h 4496940"/>
                    <a:gd name="connsiteX106" fmla="*/ 20977 w 4519987"/>
                    <a:gd name="connsiteY106" fmla="*/ 1905000 h 4496940"/>
                    <a:gd name="connsiteX107" fmla="*/ 30502 w 4519987"/>
                    <a:gd name="connsiteY107" fmla="*/ 1838325 h 4496940"/>
                    <a:gd name="connsiteX108" fmla="*/ 49552 w 4519987"/>
                    <a:gd name="connsiteY108" fmla="*/ 1781175 h 4496940"/>
                    <a:gd name="connsiteX109" fmla="*/ 59077 w 4519987"/>
                    <a:gd name="connsiteY109" fmla="*/ 1743075 h 4496940"/>
                    <a:gd name="connsiteX110" fmla="*/ 78127 w 4519987"/>
                    <a:gd name="connsiteY110" fmla="*/ 1685925 h 4496940"/>
                    <a:gd name="connsiteX111" fmla="*/ 87652 w 4519987"/>
                    <a:gd name="connsiteY111" fmla="*/ 1638300 h 4496940"/>
                    <a:gd name="connsiteX112" fmla="*/ 106702 w 4519987"/>
                    <a:gd name="connsiteY112" fmla="*/ 1590675 h 4496940"/>
                    <a:gd name="connsiteX113" fmla="*/ 135277 w 4519987"/>
                    <a:gd name="connsiteY113" fmla="*/ 1504950 h 4496940"/>
                    <a:gd name="connsiteX114" fmla="*/ 154327 w 4519987"/>
                    <a:gd name="connsiteY114" fmla="*/ 1419225 h 4496940"/>
                    <a:gd name="connsiteX115" fmla="*/ 230527 w 4519987"/>
                    <a:gd name="connsiteY115" fmla="*/ 1276350 h 4496940"/>
                    <a:gd name="connsiteX116" fmla="*/ 240052 w 4519987"/>
                    <a:gd name="connsiteY116" fmla="*/ 1247775 h 4496940"/>
                    <a:gd name="connsiteX117" fmla="*/ 268627 w 4519987"/>
                    <a:gd name="connsiteY117" fmla="*/ 1200150 h 4496940"/>
                    <a:gd name="connsiteX118" fmla="*/ 287677 w 4519987"/>
                    <a:gd name="connsiteY118" fmla="*/ 1152525 h 4496940"/>
                    <a:gd name="connsiteX119" fmla="*/ 316252 w 4519987"/>
                    <a:gd name="connsiteY119" fmla="*/ 1114425 h 4496940"/>
                    <a:gd name="connsiteX120" fmla="*/ 363877 w 4519987"/>
                    <a:gd name="connsiteY120" fmla="*/ 1038225 h 4496940"/>
                    <a:gd name="connsiteX121" fmla="*/ 382927 w 4519987"/>
                    <a:gd name="connsiteY121" fmla="*/ 1009650 h 4496940"/>
                    <a:gd name="connsiteX122" fmla="*/ 440077 w 4519987"/>
                    <a:gd name="connsiteY122" fmla="*/ 904875 h 4496940"/>
                    <a:gd name="connsiteX123" fmla="*/ 478177 w 4519987"/>
                    <a:gd name="connsiteY123" fmla="*/ 857250 h 4496940"/>
                    <a:gd name="connsiteX124" fmla="*/ 497227 w 4519987"/>
                    <a:gd name="connsiteY124" fmla="*/ 828675 h 4496940"/>
                    <a:gd name="connsiteX125" fmla="*/ 535327 w 4519987"/>
                    <a:gd name="connsiteY125" fmla="*/ 800100 h 4496940"/>
                    <a:gd name="connsiteX126" fmla="*/ 602002 w 4519987"/>
                    <a:gd name="connsiteY126" fmla="*/ 733425 h 4496940"/>
                    <a:gd name="connsiteX127" fmla="*/ 668677 w 4519987"/>
                    <a:gd name="connsiteY127" fmla="*/ 676275 h 4496940"/>
                    <a:gd name="connsiteX128" fmla="*/ 697252 w 4519987"/>
                    <a:gd name="connsiteY128" fmla="*/ 657225 h 4496940"/>
                    <a:gd name="connsiteX129" fmla="*/ 840127 w 4519987"/>
                    <a:gd name="connsiteY129" fmla="*/ 533400 h 4496940"/>
                    <a:gd name="connsiteX130" fmla="*/ 887752 w 4519987"/>
                    <a:gd name="connsiteY130" fmla="*/ 504825 h 4496940"/>
                    <a:gd name="connsiteX131" fmla="*/ 1167152 w 4519987"/>
                    <a:gd name="connsiteY131" fmla="*/ 311150 h 4496940"/>
                    <a:gd name="connsiteX132" fmla="*/ 1268752 w 4519987"/>
                    <a:gd name="connsiteY132" fmla="*/ 285750 h 4496940"/>
                    <a:gd name="connsiteX133" fmla="*/ 1411627 w 4519987"/>
                    <a:gd name="connsiteY133" fmla="*/ 190500 h 4496940"/>
                    <a:gd name="connsiteX134" fmla="*/ 1449727 w 4519987"/>
                    <a:gd name="connsiteY134" fmla="*/ 161925 h 4496940"/>
                    <a:gd name="connsiteX135" fmla="*/ 1525927 w 4519987"/>
                    <a:gd name="connsiteY135" fmla="*/ 152400 h 4496940"/>
                    <a:gd name="connsiteX136" fmla="*/ 1583077 w 4519987"/>
                    <a:gd name="connsiteY136" fmla="*/ 142875 h 4496940"/>
                    <a:gd name="connsiteX137" fmla="*/ 1716427 w 4519987"/>
                    <a:gd name="connsiteY137" fmla="*/ 123825 h 4496940"/>
                    <a:gd name="connsiteX138" fmla="*/ 1811677 w 4519987"/>
                    <a:gd name="connsiteY138" fmla="*/ 114300 h 4496940"/>
                    <a:gd name="connsiteX139" fmla="*/ 1859302 w 4519987"/>
                    <a:gd name="connsiteY139" fmla="*/ 104775 h 4496940"/>
                    <a:gd name="connsiteX140" fmla="*/ 1916452 w 4519987"/>
                    <a:gd name="connsiteY140" fmla="*/ 95250 h 4496940"/>
                    <a:gd name="connsiteX141" fmla="*/ 2030752 w 4519987"/>
                    <a:gd name="connsiteY141" fmla="*/ 66675 h 4496940"/>
                    <a:gd name="connsiteX142" fmla="*/ 2097427 w 4519987"/>
                    <a:gd name="connsiteY142" fmla="*/ 47625 h 4496940"/>
                    <a:gd name="connsiteX143" fmla="*/ 2164102 w 4519987"/>
                    <a:gd name="connsiteY143" fmla="*/ 38100 h 4496940"/>
                    <a:gd name="connsiteX144" fmla="*/ 2392702 w 4519987"/>
                    <a:gd name="connsiteY14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73902 w 4519987"/>
                    <a:gd name="connsiteY26" fmla="*/ 1428750 h 4496940"/>
                    <a:gd name="connsiteX27" fmla="*/ 4392952 w 4519987"/>
                    <a:gd name="connsiteY27" fmla="*/ 1552575 h 4496940"/>
                    <a:gd name="connsiteX28" fmla="*/ 4402477 w 4519987"/>
                    <a:gd name="connsiteY28" fmla="*/ 1590675 h 4496940"/>
                    <a:gd name="connsiteX29" fmla="*/ 4431052 w 4519987"/>
                    <a:gd name="connsiteY29" fmla="*/ 1685925 h 4496940"/>
                    <a:gd name="connsiteX30" fmla="*/ 4519952 w 4519987"/>
                    <a:gd name="connsiteY30" fmla="*/ 2181225 h 4496940"/>
                    <a:gd name="connsiteX31" fmla="*/ 4446927 w 4519987"/>
                    <a:gd name="connsiteY31" fmla="*/ 2768600 h 4496940"/>
                    <a:gd name="connsiteX32" fmla="*/ 4383427 w 4519987"/>
                    <a:gd name="connsiteY32" fmla="*/ 2990850 h 4496940"/>
                    <a:gd name="connsiteX33" fmla="*/ 4278652 w 4519987"/>
                    <a:gd name="connsiteY33" fmla="*/ 3248025 h 4496940"/>
                    <a:gd name="connsiteX34" fmla="*/ 4259602 w 4519987"/>
                    <a:gd name="connsiteY34" fmla="*/ 3276600 h 4496940"/>
                    <a:gd name="connsiteX35" fmla="*/ 4221502 w 4519987"/>
                    <a:gd name="connsiteY35" fmla="*/ 3333750 h 4496940"/>
                    <a:gd name="connsiteX36" fmla="*/ 4211977 w 4519987"/>
                    <a:gd name="connsiteY36" fmla="*/ 3362325 h 4496940"/>
                    <a:gd name="connsiteX37" fmla="*/ 4183402 w 4519987"/>
                    <a:gd name="connsiteY37" fmla="*/ 3400425 h 4496940"/>
                    <a:gd name="connsiteX38" fmla="*/ 4164352 w 4519987"/>
                    <a:gd name="connsiteY38" fmla="*/ 3429000 h 4496940"/>
                    <a:gd name="connsiteX39" fmla="*/ 4088152 w 4519987"/>
                    <a:gd name="connsiteY39" fmla="*/ 3495675 h 4496940"/>
                    <a:gd name="connsiteX40" fmla="*/ 4059577 w 4519987"/>
                    <a:gd name="connsiteY40" fmla="*/ 3533775 h 4496940"/>
                    <a:gd name="connsiteX41" fmla="*/ 4002427 w 4519987"/>
                    <a:gd name="connsiteY41" fmla="*/ 3600450 h 4496940"/>
                    <a:gd name="connsiteX42" fmla="*/ 3983377 w 4519987"/>
                    <a:gd name="connsiteY42" fmla="*/ 3629025 h 4496940"/>
                    <a:gd name="connsiteX43" fmla="*/ 3954802 w 4519987"/>
                    <a:gd name="connsiteY43" fmla="*/ 3648075 h 4496940"/>
                    <a:gd name="connsiteX44" fmla="*/ 3907177 w 4519987"/>
                    <a:gd name="connsiteY44" fmla="*/ 3686175 h 4496940"/>
                    <a:gd name="connsiteX45" fmla="*/ 3869077 w 4519987"/>
                    <a:gd name="connsiteY45" fmla="*/ 3724275 h 4496940"/>
                    <a:gd name="connsiteX46" fmla="*/ 3792877 w 4519987"/>
                    <a:gd name="connsiteY46" fmla="*/ 3781425 h 4496940"/>
                    <a:gd name="connsiteX47" fmla="*/ 3783352 w 4519987"/>
                    <a:gd name="connsiteY47" fmla="*/ 3810000 h 4496940"/>
                    <a:gd name="connsiteX48" fmla="*/ 3745252 w 4519987"/>
                    <a:gd name="connsiteY48" fmla="*/ 3819525 h 4496940"/>
                    <a:gd name="connsiteX49" fmla="*/ 3678577 w 4519987"/>
                    <a:gd name="connsiteY49" fmla="*/ 3848100 h 4496940"/>
                    <a:gd name="connsiteX50" fmla="*/ 3659527 w 4519987"/>
                    <a:gd name="connsiteY50" fmla="*/ 3971925 h 4496940"/>
                    <a:gd name="connsiteX51" fmla="*/ 3630952 w 4519987"/>
                    <a:gd name="connsiteY51" fmla="*/ 4010025 h 4496940"/>
                    <a:gd name="connsiteX52" fmla="*/ 3621427 w 4519987"/>
                    <a:gd name="connsiteY52" fmla="*/ 4038600 h 4496940"/>
                    <a:gd name="connsiteX53" fmla="*/ 3554752 w 4519987"/>
                    <a:gd name="connsiteY53" fmla="*/ 4095750 h 4496940"/>
                    <a:gd name="connsiteX54" fmla="*/ 3516652 w 4519987"/>
                    <a:gd name="connsiteY54" fmla="*/ 4114800 h 4496940"/>
                    <a:gd name="connsiteX55" fmla="*/ 3497602 w 4519987"/>
                    <a:gd name="connsiteY55" fmla="*/ 4143375 h 4496940"/>
                    <a:gd name="connsiteX56" fmla="*/ 3383302 w 4519987"/>
                    <a:gd name="connsiteY56" fmla="*/ 4210050 h 4496940"/>
                    <a:gd name="connsiteX57" fmla="*/ 3335677 w 4519987"/>
                    <a:gd name="connsiteY57" fmla="*/ 4238625 h 4496940"/>
                    <a:gd name="connsiteX58" fmla="*/ 3288052 w 4519987"/>
                    <a:gd name="connsiteY58" fmla="*/ 4248150 h 4496940"/>
                    <a:gd name="connsiteX59" fmla="*/ 3240427 w 4519987"/>
                    <a:gd name="connsiteY59" fmla="*/ 4267200 h 4496940"/>
                    <a:gd name="connsiteX60" fmla="*/ 3068977 w 4519987"/>
                    <a:gd name="connsiteY60" fmla="*/ 4286250 h 4496940"/>
                    <a:gd name="connsiteX61" fmla="*/ 2935627 w 4519987"/>
                    <a:gd name="connsiteY61" fmla="*/ 4333875 h 4496940"/>
                    <a:gd name="connsiteX62" fmla="*/ 2811802 w 4519987"/>
                    <a:gd name="connsiteY62" fmla="*/ 4371975 h 4496940"/>
                    <a:gd name="connsiteX63" fmla="*/ 2745127 w 4519987"/>
                    <a:gd name="connsiteY63" fmla="*/ 4410075 h 4496940"/>
                    <a:gd name="connsiteX64" fmla="*/ 2697502 w 4519987"/>
                    <a:gd name="connsiteY64" fmla="*/ 4429125 h 4496940"/>
                    <a:gd name="connsiteX65" fmla="*/ 2640352 w 4519987"/>
                    <a:gd name="connsiteY65" fmla="*/ 4457700 h 4496940"/>
                    <a:gd name="connsiteX66" fmla="*/ 2583202 w 4519987"/>
                    <a:gd name="connsiteY66" fmla="*/ 4467225 h 4496940"/>
                    <a:gd name="connsiteX67" fmla="*/ 2545102 w 4519987"/>
                    <a:gd name="connsiteY67" fmla="*/ 4486275 h 4496940"/>
                    <a:gd name="connsiteX68" fmla="*/ 2306977 w 4519987"/>
                    <a:gd name="connsiteY68" fmla="*/ 4476750 h 4496940"/>
                    <a:gd name="connsiteX69" fmla="*/ 2202202 w 4519987"/>
                    <a:gd name="connsiteY69" fmla="*/ 4457700 h 4496940"/>
                    <a:gd name="connsiteX70" fmla="*/ 2126002 w 4519987"/>
                    <a:gd name="connsiteY70" fmla="*/ 4429125 h 4496940"/>
                    <a:gd name="connsiteX71" fmla="*/ 1935502 w 4519987"/>
                    <a:gd name="connsiteY71" fmla="*/ 4400550 h 4496940"/>
                    <a:gd name="connsiteX72" fmla="*/ 1821202 w 4519987"/>
                    <a:gd name="connsiteY72" fmla="*/ 4371975 h 4496940"/>
                    <a:gd name="connsiteX73" fmla="*/ 1754527 w 4519987"/>
                    <a:gd name="connsiteY73" fmla="*/ 4352925 h 4496940"/>
                    <a:gd name="connsiteX74" fmla="*/ 1687852 w 4519987"/>
                    <a:gd name="connsiteY74" fmla="*/ 4343400 h 4496940"/>
                    <a:gd name="connsiteX75" fmla="*/ 1573552 w 4519987"/>
                    <a:gd name="connsiteY75" fmla="*/ 4305300 h 4496940"/>
                    <a:gd name="connsiteX76" fmla="*/ 1402102 w 4519987"/>
                    <a:gd name="connsiteY76" fmla="*/ 4276725 h 4496940"/>
                    <a:gd name="connsiteX77" fmla="*/ 1287802 w 4519987"/>
                    <a:gd name="connsiteY77" fmla="*/ 4229100 h 4496940"/>
                    <a:gd name="connsiteX78" fmla="*/ 1221127 w 4519987"/>
                    <a:gd name="connsiteY78" fmla="*/ 4200525 h 4496940"/>
                    <a:gd name="connsiteX79" fmla="*/ 1144927 w 4519987"/>
                    <a:gd name="connsiteY79" fmla="*/ 4171950 h 4496940"/>
                    <a:gd name="connsiteX80" fmla="*/ 1087777 w 4519987"/>
                    <a:gd name="connsiteY80" fmla="*/ 4143375 h 4496940"/>
                    <a:gd name="connsiteX81" fmla="*/ 1030627 w 4519987"/>
                    <a:gd name="connsiteY81" fmla="*/ 4124325 h 4496940"/>
                    <a:gd name="connsiteX82" fmla="*/ 925852 w 4519987"/>
                    <a:gd name="connsiteY82" fmla="*/ 4067175 h 4496940"/>
                    <a:gd name="connsiteX83" fmla="*/ 830602 w 4519987"/>
                    <a:gd name="connsiteY83" fmla="*/ 3981450 h 4496940"/>
                    <a:gd name="connsiteX84" fmla="*/ 763927 w 4519987"/>
                    <a:gd name="connsiteY84" fmla="*/ 3914775 h 4496940"/>
                    <a:gd name="connsiteX85" fmla="*/ 725827 w 4519987"/>
                    <a:gd name="connsiteY85" fmla="*/ 3876675 h 4496940"/>
                    <a:gd name="connsiteX86" fmla="*/ 697252 w 4519987"/>
                    <a:gd name="connsiteY86" fmla="*/ 3838575 h 4496940"/>
                    <a:gd name="connsiteX87" fmla="*/ 640102 w 4519987"/>
                    <a:gd name="connsiteY87" fmla="*/ 3781425 h 4496940"/>
                    <a:gd name="connsiteX88" fmla="*/ 611527 w 4519987"/>
                    <a:gd name="connsiteY88" fmla="*/ 3733800 h 4496940"/>
                    <a:gd name="connsiteX89" fmla="*/ 554377 w 4519987"/>
                    <a:gd name="connsiteY89" fmla="*/ 3657600 h 4496940"/>
                    <a:gd name="connsiteX90" fmla="*/ 525802 w 4519987"/>
                    <a:gd name="connsiteY90" fmla="*/ 3609975 h 4496940"/>
                    <a:gd name="connsiteX91" fmla="*/ 497227 w 4519987"/>
                    <a:gd name="connsiteY91" fmla="*/ 3552825 h 4496940"/>
                    <a:gd name="connsiteX92" fmla="*/ 440077 w 4519987"/>
                    <a:gd name="connsiteY92" fmla="*/ 3495675 h 4496940"/>
                    <a:gd name="connsiteX93" fmla="*/ 411502 w 4519987"/>
                    <a:gd name="connsiteY93" fmla="*/ 3448050 h 4496940"/>
                    <a:gd name="connsiteX94" fmla="*/ 278152 w 4519987"/>
                    <a:gd name="connsiteY94" fmla="*/ 3257550 h 4496940"/>
                    <a:gd name="connsiteX95" fmla="*/ 249577 w 4519987"/>
                    <a:gd name="connsiteY95" fmla="*/ 3200400 h 4496940"/>
                    <a:gd name="connsiteX96" fmla="*/ 240052 w 4519987"/>
                    <a:gd name="connsiteY96" fmla="*/ 3162300 h 4496940"/>
                    <a:gd name="connsiteX97" fmla="*/ 221002 w 4519987"/>
                    <a:gd name="connsiteY97" fmla="*/ 3105150 h 4496940"/>
                    <a:gd name="connsiteX98" fmla="*/ 173377 w 4519987"/>
                    <a:gd name="connsiteY98" fmla="*/ 3019425 h 4496940"/>
                    <a:gd name="connsiteX99" fmla="*/ 144802 w 4519987"/>
                    <a:gd name="connsiteY99" fmla="*/ 2924175 h 4496940"/>
                    <a:gd name="connsiteX100" fmla="*/ 68602 w 4519987"/>
                    <a:gd name="connsiteY100" fmla="*/ 2724150 h 4496940"/>
                    <a:gd name="connsiteX101" fmla="*/ 49552 w 4519987"/>
                    <a:gd name="connsiteY101" fmla="*/ 2638425 h 4496940"/>
                    <a:gd name="connsiteX102" fmla="*/ 40027 w 4519987"/>
                    <a:gd name="connsiteY102" fmla="*/ 2562225 h 4496940"/>
                    <a:gd name="connsiteX103" fmla="*/ 30502 w 4519987"/>
                    <a:gd name="connsiteY103" fmla="*/ 2514600 h 4496940"/>
                    <a:gd name="connsiteX104" fmla="*/ 11452 w 4519987"/>
                    <a:gd name="connsiteY104" fmla="*/ 2400300 h 4496940"/>
                    <a:gd name="connsiteX105" fmla="*/ 20977 w 4519987"/>
                    <a:gd name="connsiteY105" fmla="*/ 1905000 h 4496940"/>
                    <a:gd name="connsiteX106" fmla="*/ 30502 w 4519987"/>
                    <a:gd name="connsiteY106" fmla="*/ 1838325 h 4496940"/>
                    <a:gd name="connsiteX107" fmla="*/ 49552 w 4519987"/>
                    <a:gd name="connsiteY107" fmla="*/ 1781175 h 4496940"/>
                    <a:gd name="connsiteX108" fmla="*/ 59077 w 4519987"/>
                    <a:gd name="connsiteY108" fmla="*/ 1743075 h 4496940"/>
                    <a:gd name="connsiteX109" fmla="*/ 78127 w 4519987"/>
                    <a:gd name="connsiteY109" fmla="*/ 1685925 h 4496940"/>
                    <a:gd name="connsiteX110" fmla="*/ 87652 w 4519987"/>
                    <a:gd name="connsiteY110" fmla="*/ 1638300 h 4496940"/>
                    <a:gd name="connsiteX111" fmla="*/ 106702 w 4519987"/>
                    <a:gd name="connsiteY111" fmla="*/ 1590675 h 4496940"/>
                    <a:gd name="connsiteX112" fmla="*/ 135277 w 4519987"/>
                    <a:gd name="connsiteY112" fmla="*/ 1504950 h 4496940"/>
                    <a:gd name="connsiteX113" fmla="*/ 154327 w 4519987"/>
                    <a:gd name="connsiteY113" fmla="*/ 1419225 h 4496940"/>
                    <a:gd name="connsiteX114" fmla="*/ 230527 w 4519987"/>
                    <a:gd name="connsiteY114" fmla="*/ 1276350 h 4496940"/>
                    <a:gd name="connsiteX115" fmla="*/ 240052 w 4519987"/>
                    <a:gd name="connsiteY115" fmla="*/ 1247775 h 4496940"/>
                    <a:gd name="connsiteX116" fmla="*/ 268627 w 4519987"/>
                    <a:gd name="connsiteY116" fmla="*/ 1200150 h 4496940"/>
                    <a:gd name="connsiteX117" fmla="*/ 287677 w 4519987"/>
                    <a:gd name="connsiteY117" fmla="*/ 1152525 h 4496940"/>
                    <a:gd name="connsiteX118" fmla="*/ 316252 w 4519987"/>
                    <a:gd name="connsiteY118" fmla="*/ 1114425 h 4496940"/>
                    <a:gd name="connsiteX119" fmla="*/ 363877 w 4519987"/>
                    <a:gd name="connsiteY119" fmla="*/ 1038225 h 4496940"/>
                    <a:gd name="connsiteX120" fmla="*/ 382927 w 4519987"/>
                    <a:gd name="connsiteY120" fmla="*/ 1009650 h 4496940"/>
                    <a:gd name="connsiteX121" fmla="*/ 440077 w 4519987"/>
                    <a:gd name="connsiteY121" fmla="*/ 904875 h 4496940"/>
                    <a:gd name="connsiteX122" fmla="*/ 478177 w 4519987"/>
                    <a:gd name="connsiteY122" fmla="*/ 857250 h 4496940"/>
                    <a:gd name="connsiteX123" fmla="*/ 497227 w 4519987"/>
                    <a:gd name="connsiteY123" fmla="*/ 828675 h 4496940"/>
                    <a:gd name="connsiteX124" fmla="*/ 535327 w 4519987"/>
                    <a:gd name="connsiteY124" fmla="*/ 800100 h 4496940"/>
                    <a:gd name="connsiteX125" fmla="*/ 602002 w 4519987"/>
                    <a:gd name="connsiteY125" fmla="*/ 733425 h 4496940"/>
                    <a:gd name="connsiteX126" fmla="*/ 668677 w 4519987"/>
                    <a:gd name="connsiteY126" fmla="*/ 676275 h 4496940"/>
                    <a:gd name="connsiteX127" fmla="*/ 697252 w 4519987"/>
                    <a:gd name="connsiteY127" fmla="*/ 657225 h 4496940"/>
                    <a:gd name="connsiteX128" fmla="*/ 840127 w 4519987"/>
                    <a:gd name="connsiteY128" fmla="*/ 533400 h 4496940"/>
                    <a:gd name="connsiteX129" fmla="*/ 887752 w 4519987"/>
                    <a:gd name="connsiteY129" fmla="*/ 504825 h 4496940"/>
                    <a:gd name="connsiteX130" fmla="*/ 1167152 w 4519987"/>
                    <a:gd name="connsiteY130" fmla="*/ 311150 h 4496940"/>
                    <a:gd name="connsiteX131" fmla="*/ 1268752 w 4519987"/>
                    <a:gd name="connsiteY131" fmla="*/ 285750 h 4496940"/>
                    <a:gd name="connsiteX132" fmla="*/ 1411627 w 4519987"/>
                    <a:gd name="connsiteY132" fmla="*/ 190500 h 4496940"/>
                    <a:gd name="connsiteX133" fmla="*/ 1449727 w 4519987"/>
                    <a:gd name="connsiteY133" fmla="*/ 161925 h 4496940"/>
                    <a:gd name="connsiteX134" fmla="*/ 1525927 w 4519987"/>
                    <a:gd name="connsiteY134" fmla="*/ 152400 h 4496940"/>
                    <a:gd name="connsiteX135" fmla="*/ 1583077 w 4519987"/>
                    <a:gd name="connsiteY135" fmla="*/ 142875 h 4496940"/>
                    <a:gd name="connsiteX136" fmla="*/ 1716427 w 4519987"/>
                    <a:gd name="connsiteY136" fmla="*/ 123825 h 4496940"/>
                    <a:gd name="connsiteX137" fmla="*/ 1811677 w 4519987"/>
                    <a:gd name="connsiteY137" fmla="*/ 114300 h 4496940"/>
                    <a:gd name="connsiteX138" fmla="*/ 1859302 w 4519987"/>
                    <a:gd name="connsiteY138" fmla="*/ 104775 h 4496940"/>
                    <a:gd name="connsiteX139" fmla="*/ 1916452 w 4519987"/>
                    <a:gd name="connsiteY139" fmla="*/ 95250 h 4496940"/>
                    <a:gd name="connsiteX140" fmla="*/ 2030752 w 4519987"/>
                    <a:gd name="connsiteY140" fmla="*/ 66675 h 4496940"/>
                    <a:gd name="connsiteX141" fmla="*/ 2097427 w 4519987"/>
                    <a:gd name="connsiteY141" fmla="*/ 47625 h 4496940"/>
                    <a:gd name="connsiteX142" fmla="*/ 2164102 w 4519987"/>
                    <a:gd name="connsiteY142" fmla="*/ 38100 h 4496940"/>
                    <a:gd name="connsiteX143" fmla="*/ 2392702 w 4519987"/>
                    <a:gd name="connsiteY14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02477 w 4519987"/>
                    <a:gd name="connsiteY27" fmla="*/ 1590675 h 4496940"/>
                    <a:gd name="connsiteX28" fmla="*/ 4431052 w 4519987"/>
                    <a:gd name="connsiteY28" fmla="*/ 1685925 h 4496940"/>
                    <a:gd name="connsiteX29" fmla="*/ 4519952 w 4519987"/>
                    <a:gd name="connsiteY29" fmla="*/ 2181225 h 4496940"/>
                    <a:gd name="connsiteX30" fmla="*/ 4446927 w 4519987"/>
                    <a:gd name="connsiteY30" fmla="*/ 2768600 h 4496940"/>
                    <a:gd name="connsiteX31" fmla="*/ 4383427 w 4519987"/>
                    <a:gd name="connsiteY31" fmla="*/ 2990850 h 4496940"/>
                    <a:gd name="connsiteX32" fmla="*/ 4278652 w 4519987"/>
                    <a:gd name="connsiteY32" fmla="*/ 3248025 h 4496940"/>
                    <a:gd name="connsiteX33" fmla="*/ 4259602 w 4519987"/>
                    <a:gd name="connsiteY33" fmla="*/ 3276600 h 4496940"/>
                    <a:gd name="connsiteX34" fmla="*/ 4221502 w 4519987"/>
                    <a:gd name="connsiteY34" fmla="*/ 3333750 h 4496940"/>
                    <a:gd name="connsiteX35" fmla="*/ 4211977 w 4519987"/>
                    <a:gd name="connsiteY35" fmla="*/ 3362325 h 4496940"/>
                    <a:gd name="connsiteX36" fmla="*/ 4183402 w 4519987"/>
                    <a:gd name="connsiteY36" fmla="*/ 3400425 h 4496940"/>
                    <a:gd name="connsiteX37" fmla="*/ 4164352 w 4519987"/>
                    <a:gd name="connsiteY37" fmla="*/ 3429000 h 4496940"/>
                    <a:gd name="connsiteX38" fmla="*/ 4088152 w 4519987"/>
                    <a:gd name="connsiteY38" fmla="*/ 3495675 h 4496940"/>
                    <a:gd name="connsiteX39" fmla="*/ 4059577 w 4519987"/>
                    <a:gd name="connsiteY39" fmla="*/ 3533775 h 4496940"/>
                    <a:gd name="connsiteX40" fmla="*/ 4002427 w 4519987"/>
                    <a:gd name="connsiteY40" fmla="*/ 3600450 h 4496940"/>
                    <a:gd name="connsiteX41" fmla="*/ 3983377 w 4519987"/>
                    <a:gd name="connsiteY41" fmla="*/ 3629025 h 4496940"/>
                    <a:gd name="connsiteX42" fmla="*/ 3954802 w 4519987"/>
                    <a:gd name="connsiteY42" fmla="*/ 3648075 h 4496940"/>
                    <a:gd name="connsiteX43" fmla="*/ 3907177 w 4519987"/>
                    <a:gd name="connsiteY43" fmla="*/ 3686175 h 4496940"/>
                    <a:gd name="connsiteX44" fmla="*/ 3869077 w 4519987"/>
                    <a:gd name="connsiteY44" fmla="*/ 3724275 h 4496940"/>
                    <a:gd name="connsiteX45" fmla="*/ 3792877 w 4519987"/>
                    <a:gd name="connsiteY45" fmla="*/ 3781425 h 4496940"/>
                    <a:gd name="connsiteX46" fmla="*/ 3783352 w 4519987"/>
                    <a:gd name="connsiteY46" fmla="*/ 3810000 h 4496940"/>
                    <a:gd name="connsiteX47" fmla="*/ 3745252 w 4519987"/>
                    <a:gd name="connsiteY47" fmla="*/ 3819525 h 4496940"/>
                    <a:gd name="connsiteX48" fmla="*/ 3678577 w 4519987"/>
                    <a:gd name="connsiteY48" fmla="*/ 3848100 h 4496940"/>
                    <a:gd name="connsiteX49" fmla="*/ 3659527 w 4519987"/>
                    <a:gd name="connsiteY49" fmla="*/ 3971925 h 4496940"/>
                    <a:gd name="connsiteX50" fmla="*/ 3630952 w 4519987"/>
                    <a:gd name="connsiteY50" fmla="*/ 4010025 h 4496940"/>
                    <a:gd name="connsiteX51" fmla="*/ 3621427 w 4519987"/>
                    <a:gd name="connsiteY51" fmla="*/ 4038600 h 4496940"/>
                    <a:gd name="connsiteX52" fmla="*/ 3554752 w 4519987"/>
                    <a:gd name="connsiteY52" fmla="*/ 4095750 h 4496940"/>
                    <a:gd name="connsiteX53" fmla="*/ 3516652 w 4519987"/>
                    <a:gd name="connsiteY53" fmla="*/ 4114800 h 4496940"/>
                    <a:gd name="connsiteX54" fmla="*/ 3497602 w 4519987"/>
                    <a:gd name="connsiteY54" fmla="*/ 4143375 h 4496940"/>
                    <a:gd name="connsiteX55" fmla="*/ 3383302 w 4519987"/>
                    <a:gd name="connsiteY55" fmla="*/ 4210050 h 4496940"/>
                    <a:gd name="connsiteX56" fmla="*/ 3335677 w 4519987"/>
                    <a:gd name="connsiteY56" fmla="*/ 4238625 h 4496940"/>
                    <a:gd name="connsiteX57" fmla="*/ 3288052 w 4519987"/>
                    <a:gd name="connsiteY57" fmla="*/ 4248150 h 4496940"/>
                    <a:gd name="connsiteX58" fmla="*/ 3240427 w 4519987"/>
                    <a:gd name="connsiteY58" fmla="*/ 4267200 h 4496940"/>
                    <a:gd name="connsiteX59" fmla="*/ 3068977 w 4519987"/>
                    <a:gd name="connsiteY59" fmla="*/ 4286250 h 4496940"/>
                    <a:gd name="connsiteX60" fmla="*/ 2935627 w 4519987"/>
                    <a:gd name="connsiteY60" fmla="*/ 4333875 h 4496940"/>
                    <a:gd name="connsiteX61" fmla="*/ 2811802 w 4519987"/>
                    <a:gd name="connsiteY61" fmla="*/ 4371975 h 4496940"/>
                    <a:gd name="connsiteX62" fmla="*/ 2745127 w 4519987"/>
                    <a:gd name="connsiteY62" fmla="*/ 4410075 h 4496940"/>
                    <a:gd name="connsiteX63" fmla="*/ 2697502 w 4519987"/>
                    <a:gd name="connsiteY63" fmla="*/ 4429125 h 4496940"/>
                    <a:gd name="connsiteX64" fmla="*/ 2640352 w 4519987"/>
                    <a:gd name="connsiteY64" fmla="*/ 4457700 h 4496940"/>
                    <a:gd name="connsiteX65" fmla="*/ 2583202 w 4519987"/>
                    <a:gd name="connsiteY65" fmla="*/ 4467225 h 4496940"/>
                    <a:gd name="connsiteX66" fmla="*/ 2545102 w 4519987"/>
                    <a:gd name="connsiteY66" fmla="*/ 4486275 h 4496940"/>
                    <a:gd name="connsiteX67" fmla="*/ 2306977 w 4519987"/>
                    <a:gd name="connsiteY67" fmla="*/ 4476750 h 4496940"/>
                    <a:gd name="connsiteX68" fmla="*/ 2202202 w 4519987"/>
                    <a:gd name="connsiteY68" fmla="*/ 4457700 h 4496940"/>
                    <a:gd name="connsiteX69" fmla="*/ 2126002 w 4519987"/>
                    <a:gd name="connsiteY69" fmla="*/ 4429125 h 4496940"/>
                    <a:gd name="connsiteX70" fmla="*/ 1935502 w 4519987"/>
                    <a:gd name="connsiteY70" fmla="*/ 4400550 h 4496940"/>
                    <a:gd name="connsiteX71" fmla="*/ 1821202 w 4519987"/>
                    <a:gd name="connsiteY71" fmla="*/ 4371975 h 4496940"/>
                    <a:gd name="connsiteX72" fmla="*/ 1754527 w 4519987"/>
                    <a:gd name="connsiteY72" fmla="*/ 4352925 h 4496940"/>
                    <a:gd name="connsiteX73" fmla="*/ 1687852 w 4519987"/>
                    <a:gd name="connsiteY73" fmla="*/ 4343400 h 4496940"/>
                    <a:gd name="connsiteX74" fmla="*/ 1573552 w 4519987"/>
                    <a:gd name="connsiteY74" fmla="*/ 4305300 h 4496940"/>
                    <a:gd name="connsiteX75" fmla="*/ 1402102 w 4519987"/>
                    <a:gd name="connsiteY75" fmla="*/ 4276725 h 4496940"/>
                    <a:gd name="connsiteX76" fmla="*/ 1287802 w 4519987"/>
                    <a:gd name="connsiteY76" fmla="*/ 4229100 h 4496940"/>
                    <a:gd name="connsiteX77" fmla="*/ 1221127 w 4519987"/>
                    <a:gd name="connsiteY77" fmla="*/ 4200525 h 4496940"/>
                    <a:gd name="connsiteX78" fmla="*/ 1144927 w 4519987"/>
                    <a:gd name="connsiteY78" fmla="*/ 4171950 h 4496940"/>
                    <a:gd name="connsiteX79" fmla="*/ 1087777 w 4519987"/>
                    <a:gd name="connsiteY79" fmla="*/ 4143375 h 4496940"/>
                    <a:gd name="connsiteX80" fmla="*/ 1030627 w 4519987"/>
                    <a:gd name="connsiteY80" fmla="*/ 4124325 h 4496940"/>
                    <a:gd name="connsiteX81" fmla="*/ 925852 w 4519987"/>
                    <a:gd name="connsiteY81" fmla="*/ 4067175 h 4496940"/>
                    <a:gd name="connsiteX82" fmla="*/ 830602 w 4519987"/>
                    <a:gd name="connsiteY82" fmla="*/ 3981450 h 4496940"/>
                    <a:gd name="connsiteX83" fmla="*/ 763927 w 4519987"/>
                    <a:gd name="connsiteY83" fmla="*/ 3914775 h 4496940"/>
                    <a:gd name="connsiteX84" fmla="*/ 725827 w 4519987"/>
                    <a:gd name="connsiteY84" fmla="*/ 3876675 h 4496940"/>
                    <a:gd name="connsiteX85" fmla="*/ 697252 w 4519987"/>
                    <a:gd name="connsiteY85" fmla="*/ 3838575 h 4496940"/>
                    <a:gd name="connsiteX86" fmla="*/ 640102 w 4519987"/>
                    <a:gd name="connsiteY86" fmla="*/ 3781425 h 4496940"/>
                    <a:gd name="connsiteX87" fmla="*/ 611527 w 4519987"/>
                    <a:gd name="connsiteY87" fmla="*/ 3733800 h 4496940"/>
                    <a:gd name="connsiteX88" fmla="*/ 554377 w 4519987"/>
                    <a:gd name="connsiteY88" fmla="*/ 3657600 h 4496940"/>
                    <a:gd name="connsiteX89" fmla="*/ 525802 w 4519987"/>
                    <a:gd name="connsiteY89" fmla="*/ 3609975 h 4496940"/>
                    <a:gd name="connsiteX90" fmla="*/ 497227 w 4519987"/>
                    <a:gd name="connsiteY90" fmla="*/ 3552825 h 4496940"/>
                    <a:gd name="connsiteX91" fmla="*/ 440077 w 4519987"/>
                    <a:gd name="connsiteY91" fmla="*/ 3495675 h 4496940"/>
                    <a:gd name="connsiteX92" fmla="*/ 411502 w 4519987"/>
                    <a:gd name="connsiteY92" fmla="*/ 3448050 h 4496940"/>
                    <a:gd name="connsiteX93" fmla="*/ 278152 w 4519987"/>
                    <a:gd name="connsiteY93" fmla="*/ 3257550 h 4496940"/>
                    <a:gd name="connsiteX94" fmla="*/ 249577 w 4519987"/>
                    <a:gd name="connsiteY94" fmla="*/ 3200400 h 4496940"/>
                    <a:gd name="connsiteX95" fmla="*/ 240052 w 4519987"/>
                    <a:gd name="connsiteY95" fmla="*/ 3162300 h 4496940"/>
                    <a:gd name="connsiteX96" fmla="*/ 221002 w 4519987"/>
                    <a:gd name="connsiteY96" fmla="*/ 3105150 h 4496940"/>
                    <a:gd name="connsiteX97" fmla="*/ 173377 w 4519987"/>
                    <a:gd name="connsiteY97" fmla="*/ 3019425 h 4496940"/>
                    <a:gd name="connsiteX98" fmla="*/ 144802 w 4519987"/>
                    <a:gd name="connsiteY98" fmla="*/ 2924175 h 4496940"/>
                    <a:gd name="connsiteX99" fmla="*/ 68602 w 4519987"/>
                    <a:gd name="connsiteY99" fmla="*/ 2724150 h 4496940"/>
                    <a:gd name="connsiteX100" fmla="*/ 49552 w 4519987"/>
                    <a:gd name="connsiteY100" fmla="*/ 2638425 h 4496940"/>
                    <a:gd name="connsiteX101" fmla="*/ 40027 w 4519987"/>
                    <a:gd name="connsiteY101" fmla="*/ 2562225 h 4496940"/>
                    <a:gd name="connsiteX102" fmla="*/ 30502 w 4519987"/>
                    <a:gd name="connsiteY102" fmla="*/ 2514600 h 4496940"/>
                    <a:gd name="connsiteX103" fmla="*/ 11452 w 4519987"/>
                    <a:gd name="connsiteY103" fmla="*/ 2400300 h 4496940"/>
                    <a:gd name="connsiteX104" fmla="*/ 20977 w 4519987"/>
                    <a:gd name="connsiteY104" fmla="*/ 1905000 h 4496940"/>
                    <a:gd name="connsiteX105" fmla="*/ 30502 w 4519987"/>
                    <a:gd name="connsiteY105" fmla="*/ 1838325 h 4496940"/>
                    <a:gd name="connsiteX106" fmla="*/ 49552 w 4519987"/>
                    <a:gd name="connsiteY106" fmla="*/ 1781175 h 4496940"/>
                    <a:gd name="connsiteX107" fmla="*/ 59077 w 4519987"/>
                    <a:gd name="connsiteY107" fmla="*/ 1743075 h 4496940"/>
                    <a:gd name="connsiteX108" fmla="*/ 78127 w 4519987"/>
                    <a:gd name="connsiteY108" fmla="*/ 1685925 h 4496940"/>
                    <a:gd name="connsiteX109" fmla="*/ 87652 w 4519987"/>
                    <a:gd name="connsiteY109" fmla="*/ 1638300 h 4496940"/>
                    <a:gd name="connsiteX110" fmla="*/ 106702 w 4519987"/>
                    <a:gd name="connsiteY110" fmla="*/ 1590675 h 4496940"/>
                    <a:gd name="connsiteX111" fmla="*/ 135277 w 4519987"/>
                    <a:gd name="connsiteY111" fmla="*/ 1504950 h 4496940"/>
                    <a:gd name="connsiteX112" fmla="*/ 154327 w 4519987"/>
                    <a:gd name="connsiteY112" fmla="*/ 1419225 h 4496940"/>
                    <a:gd name="connsiteX113" fmla="*/ 230527 w 4519987"/>
                    <a:gd name="connsiteY113" fmla="*/ 1276350 h 4496940"/>
                    <a:gd name="connsiteX114" fmla="*/ 240052 w 4519987"/>
                    <a:gd name="connsiteY114" fmla="*/ 1247775 h 4496940"/>
                    <a:gd name="connsiteX115" fmla="*/ 268627 w 4519987"/>
                    <a:gd name="connsiteY115" fmla="*/ 1200150 h 4496940"/>
                    <a:gd name="connsiteX116" fmla="*/ 287677 w 4519987"/>
                    <a:gd name="connsiteY116" fmla="*/ 1152525 h 4496940"/>
                    <a:gd name="connsiteX117" fmla="*/ 316252 w 4519987"/>
                    <a:gd name="connsiteY117" fmla="*/ 1114425 h 4496940"/>
                    <a:gd name="connsiteX118" fmla="*/ 363877 w 4519987"/>
                    <a:gd name="connsiteY118" fmla="*/ 1038225 h 4496940"/>
                    <a:gd name="connsiteX119" fmla="*/ 382927 w 4519987"/>
                    <a:gd name="connsiteY119" fmla="*/ 1009650 h 4496940"/>
                    <a:gd name="connsiteX120" fmla="*/ 440077 w 4519987"/>
                    <a:gd name="connsiteY120" fmla="*/ 904875 h 4496940"/>
                    <a:gd name="connsiteX121" fmla="*/ 478177 w 4519987"/>
                    <a:gd name="connsiteY121" fmla="*/ 857250 h 4496940"/>
                    <a:gd name="connsiteX122" fmla="*/ 497227 w 4519987"/>
                    <a:gd name="connsiteY122" fmla="*/ 828675 h 4496940"/>
                    <a:gd name="connsiteX123" fmla="*/ 535327 w 4519987"/>
                    <a:gd name="connsiteY123" fmla="*/ 800100 h 4496940"/>
                    <a:gd name="connsiteX124" fmla="*/ 602002 w 4519987"/>
                    <a:gd name="connsiteY124" fmla="*/ 733425 h 4496940"/>
                    <a:gd name="connsiteX125" fmla="*/ 668677 w 4519987"/>
                    <a:gd name="connsiteY125" fmla="*/ 676275 h 4496940"/>
                    <a:gd name="connsiteX126" fmla="*/ 697252 w 4519987"/>
                    <a:gd name="connsiteY126" fmla="*/ 657225 h 4496940"/>
                    <a:gd name="connsiteX127" fmla="*/ 840127 w 4519987"/>
                    <a:gd name="connsiteY127" fmla="*/ 533400 h 4496940"/>
                    <a:gd name="connsiteX128" fmla="*/ 887752 w 4519987"/>
                    <a:gd name="connsiteY128" fmla="*/ 504825 h 4496940"/>
                    <a:gd name="connsiteX129" fmla="*/ 1167152 w 4519987"/>
                    <a:gd name="connsiteY129" fmla="*/ 311150 h 4496940"/>
                    <a:gd name="connsiteX130" fmla="*/ 1268752 w 4519987"/>
                    <a:gd name="connsiteY130" fmla="*/ 285750 h 4496940"/>
                    <a:gd name="connsiteX131" fmla="*/ 1411627 w 4519987"/>
                    <a:gd name="connsiteY131" fmla="*/ 190500 h 4496940"/>
                    <a:gd name="connsiteX132" fmla="*/ 1449727 w 4519987"/>
                    <a:gd name="connsiteY132" fmla="*/ 161925 h 4496940"/>
                    <a:gd name="connsiteX133" fmla="*/ 1525927 w 4519987"/>
                    <a:gd name="connsiteY133" fmla="*/ 152400 h 4496940"/>
                    <a:gd name="connsiteX134" fmla="*/ 1583077 w 4519987"/>
                    <a:gd name="connsiteY134" fmla="*/ 142875 h 4496940"/>
                    <a:gd name="connsiteX135" fmla="*/ 1716427 w 4519987"/>
                    <a:gd name="connsiteY135" fmla="*/ 123825 h 4496940"/>
                    <a:gd name="connsiteX136" fmla="*/ 1811677 w 4519987"/>
                    <a:gd name="connsiteY136" fmla="*/ 114300 h 4496940"/>
                    <a:gd name="connsiteX137" fmla="*/ 1859302 w 4519987"/>
                    <a:gd name="connsiteY137" fmla="*/ 104775 h 4496940"/>
                    <a:gd name="connsiteX138" fmla="*/ 1916452 w 4519987"/>
                    <a:gd name="connsiteY138" fmla="*/ 95250 h 4496940"/>
                    <a:gd name="connsiteX139" fmla="*/ 2030752 w 4519987"/>
                    <a:gd name="connsiteY139" fmla="*/ 66675 h 4496940"/>
                    <a:gd name="connsiteX140" fmla="*/ 2097427 w 4519987"/>
                    <a:gd name="connsiteY140" fmla="*/ 47625 h 4496940"/>
                    <a:gd name="connsiteX141" fmla="*/ 2164102 w 4519987"/>
                    <a:gd name="connsiteY141" fmla="*/ 38100 h 4496940"/>
                    <a:gd name="connsiteX142" fmla="*/ 2392702 w 4519987"/>
                    <a:gd name="connsiteY14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164352 w 4519987"/>
                    <a:gd name="connsiteY36" fmla="*/ 3429000 h 4496940"/>
                    <a:gd name="connsiteX37" fmla="*/ 4088152 w 4519987"/>
                    <a:gd name="connsiteY37" fmla="*/ 3495675 h 4496940"/>
                    <a:gd name="connsiteX38" fmla="*/ 4059577 w 4519987"/>
                    <a:gd name="connsiteY38" fmla="*/ 3533775 h 4496940"/>
                    <a:gd name="connsiteX39" fmla="*/ 4002427 w 4519987"/>
                    <a:gd name="connsiteY39" fmla="*/ 3600450 h 4496940"/>
                    <a:gd name="connsiteX40" fmla="*/ 3983377 w 4519987"/>
                    <a:gd name="connsiteY40" fmla="*/ 3629025 h 4496940"/>
                    <a:gd name="connsiteX41" fmla="*/ 3954802 w 4519987"/>
                    <a:gd name="connsiteY41" fmla="*/ 3648075 h 4496940"/>
                    <a:gd name="connsiteX42" fmla="*/ 3907177 w 4519987"/>
                    <a:gd name="connsiteY42" fmla="*/ 3686175 h 4496940"/>
                    <a:gd name="connsiteX43" fmla="*/ 3869077 w 4519987"/>
                    <a:gd name="connsiteY43" fmla="*/ 3724275 h 4496940"/>
                    <a:gd name="connsiteX44" fmla="*/ 3792877 w 4519987"/>
                    <a:gd name="connsiteY44" fmla="*/ 3781425 h 4496940"/>
                    <a:gd name="connsiteX45" fmla="*/ 3783352 w 4519987"/>
                    <a:gd name="connsiteY45" fmla="*/ 3810000 h 4496940"/>
                    <a:gd name="connsiteX46" fmla="*/ 3745252 w 4519987"/>
                    <a:gd name="connsiteY46" fmla="*/ 3819525 h 4496940"/>
                    <a:gd name="connsiteX47" fmla="*/ 3678577 w 4519987"/>
                    <a:gd name="connsiteY47" fmla="*/ 3848100 h 4496940"/>
                    <a:gd name="connsiteX48" fmla="*/ 3659527 w 4519987"/>
                    <a:gd name="connsiteY48" fmla="*/ 3971925 h 4496940"/>
                    <a:gd name="connsiteX49" fmla="*/ 3630952 w 4519987"/>
                    <a:gd name="connsiteY49" fmla="*/ 4010025 h 4496940"/>
                    <a:gd name="connsiteX50" fmla="*/ 3621427 w 4519987"/>
                    <a:gd name="connsiteY50" fmla="*/ 4038600 h 4496940"/>
                    <a:gd name="connsiteX51" fmla="*/ 3554752 w 4519987"/>
                    <a:gd name="connsiteY51" fmla="*/ 4095750 h 4496940"/>
                    <a:gd name="connsiteX52" fmla="*/ 3516652 w 4519987"/>
                    <a:gd name="connsiteY52" fmla="*/ 4114800 h 4496940"/>
                    <a:gd name="connsiteX53" fmla="*/ 3497602 w 4519987"/>
                    <a:gd name="connsiteY53" fmla="*/ 4143375 h 4496940"/>
                    <a:gd name="connsiteX54" fmla="*/ 3383302 w 4519987"/>
                    <a:gd name="connsiteY54" fmla="*/ 4210050 h 4496940"/>
                    <a:gd name="connsiteX55" fmla="*/ 3335677 w 4519987"/>
                    <a:gd name="connsiteY55" fmla="*/ 4238625 h 4496940"/>
                    <a:gd name="connsiteX56" fmla="*/ 3288052 w 4519987"/>
                    <a:gd name="connsiteY56" fmla="*/ 4248150 h 4496940"/>
                    <a:gd name="connsiteX57" fmla="*/ 3240427 w 4519987"/>
                    <a:gd name="connsiteY57" fmla="*/ 4267200 h 4496940"/>
                    <a:gd name="connsiteX58" fmla="*/ 3068977 w 4519987"/>
                    <a:gd name="connsiteY58" fmla="*/ 4286250 h 4496940"/>
                    <a:gd name="connsiteX59" fmla="*/ 2935627 w 4519987"/>
                    <a:gd name="connsiteY59" fmla="*/ 4333875 h 4496940"/>
                    <a:gd name="connsiteX60" fmla="*/ 2811802 w 4519987"/>
                    <a:gd name="connsiteY60" fmla="*/ 4371975 h 4496940"/>
                    <a:gd name="connsiteX61" fmla="*/ 2745127 w 4519987"/>
                    <a:gd name="connsiteY61" fmla="*/ 4410075 h 4496940"/>
                    <a:gd name="connsiteX62" fmla="*/ 2697502 w 4519987"/>
                    <a:gd name="connsiteY62" fmla="*/ 4429125 h 4496940"/>
                    <a:gd name="connsiteX63" fmla="*/ 2640352 w 4519987"/>
                    <a:gd name="connsiteY63" fmla="*/ 4457700 h 4496940"/>
                    <a:gd name="connsiteX64" fmla="*/ 2583202 w 4519987"/>
                    <a:gd name="connsiteY64" fmla="*/ 4467225 h 4496940"/>
                    <a:gd name="connsiteX65" fmla="*/ 2545102 w 4519987"/>
                    <a:gd name="connsiteY65" fmla="*/ 4486275 h 4496940"/>
                    <a:gd name="connsiteX66" fmla="*/ 2306977 w 4519987"/>
                    <a:gd name="connsiteY66" fmla="*/ 4476750 h 4496940"/>
                    <a:gd name="connsiteX67" fmla="*/ 2202202 w 4519987"/>
                    <a:gd name="connsiteY67" fmla="*/ 4457700 h 4496940"/>
                    <a:gd name="connsiteX68" fmla="*/ 2126002 w 4519987"/>
                    <a:gd name="connsiteY68" fmla="*/ 4429125 h 4496940"/>
                    <a:gd name="connsiteX69" fmla="*/ 1935502 w 4519987"/>
                    <a:gd name="connsiteY69" fmla="*/ 4400550 h 4496940"/>
                    <a:gd name="connsiteX70" fmla="*/ 1821202 w 4519987"/>
                    <a:gd name="connsiteY70" fmla="*/ 4371975 h 4496940"/>
                    <a:gd name="connsiteX71" fmla="*/ 1754527 w 4519987"/>
                    <a:gd name="connsiteY71" fmla="*/ 4352925 h 4496940"/>
                    <a:gd name="connsiteX72" fmla="*/ 1687852 w 4519987"/>
                    <a:gd name="connsiteY72" fmla="*/ 4343400 h 4496940"/>
                    <a:gd name="connsiteX73" fmla="*/ 1573552 w 4519987"/>
                    <a:gd name="connsiteY73" fmla="*/ 4305300 h 4496940"/>
                    <a:gd name="connsiteX74" fmla="*/ 1402102 w 4519987"/>
                    <a:gd name="connsiteY74" fmla="*/ 4276725 h 4496940"/>
                    <a:gd name="connsiteX75" fmla="*/ 1287802 w 4519987"/>
                    <a:gd name="connsiteY75" fmla="*/ 4229100 h 4496940"/>
                    <a:gd name="connsiteX76" fmla="*/ 1221127 w 4519987"/>
                    <a:gd name="connsiteY76" fmla="*/ 4200525 h 4496940"/>
                    <a:gd name="connsiteX77" fmla="*/ 1144927 w 4519987"/>
                    <a:gd name="connsiteY77" fmla="*/ 4171950 h 4496940"/>
                    <a:gd name="connsiteX78" fmla="*/ 1087777 w 4519987"/>
                    <a:gd name="connsiteY78" fmla="*/ 4143375 h 4496940"/>
                    <a:gd name="connsiteX79" fmla="*/ 1030627 w 4519987"/>
                    <a:gd name="connsiteY79" fmla="*/ 4124325 h 4496940"/>
                    <a:gd name="connsiteX80" fmla="*/ 925852 w 4519987"/>
                    <a:gd name="connsiteY80" fmla="*/ 4067175 h 4496940"/>
                    <a:gd name="connsiteX81" fmla="*/ 830602 w 4519987"/>
                    <a:gd name="connsiteY81" fmla="*/ 3981450 h 4496940"/>
                    <a:gd name="connsiteX82" fmla="*/ 763927 w 4519987"/>
                    <a:gd name="connsiteY82" fmla="*/ 3914775 h 4496940"/>
                    <a:gd name="connsiteX83" fmla="*/ 725827 w 4519987"/>
                    <a:gd name="connsiteY83" fmla="*/ 3876675 h 4496940"/>
                    <a:gd name="connsiteX84" fmla="*/ 697252 w 4519987"/>
                    <a:gd name="connsiteY84" fmla="*/ 3838575 h 4496940"/>
                    <a:gd name="connsiteX85" fmla="*/ 640102 w 4519987"/>
                    <a:gd name="connsiteY85" fmla="*/ 3781425 h 4496940"/>
                    <a:gd name="connsiteX86" fmla="*/ 611527 w 4519987"/>
                    <a:gd name="connsiteY86" fmla="*/ 3733800 h 4496940"/>
                    <a:gd name="connsiteX87" fmla="*/ 554377 w 4519987"/>
                    <a:gd name="connsiteY87" fmla="*/ 3657600 h 4496940"/>
                    <a:gd name="connsiteX88" fmla="*/ 525802 w 4519987"/>
                    <a:gd name="connsiteY88" fmla="*/ 3609975 h 4496940"/>
                    <a:gd name="connsiteX89" fmla="*/ 497227 w 4519987"/>
                    <a:gd name="connsiteY89" fmla="*/ 3552825 h 4496940"/>
                    <a:gd name="connsiteX90" fmla="*/ 440077 w 4519987"/>
                    <a:gd name="connsiteY90" fmla="*/ 3495675 h 4496940"/>
                    <a:gd name="connsiteX91" fmla="*/ 411502 w 4519987"/>
                    <a:gd name="connsiteY91" fmla="*/ 3448050 h 4496940"/>
                    <a:gd name="connsiteX92" fmla="*/ 278152 w 4519987"/>
                    <a:gd name="connsiteY92" fmla="*/ 3257550 h 4496940"/>
                    <a:gd name="connsiteX93" fmla="*/ 249577 w 4519987"/>
                    <a:gd name="connsiteY93" fmla="*/ 3200400 h 4496940"/>
                    <a:gd name="connsiteX94" fmla="*/ 240052 w 4519987"/>
                    <a:gd name="connsiteY94" fmla="*/ 3162300 h 4496940"/>
                    <a:gd name="connsiteX95" fmla="*/ 221002 w 4519987"/>
                    <a:gd name="connsiteY95" fmla="*/ 3105150 h 4496940"/>
                    <a:gd name="connsiteX96" fmla="*/ 173377 w 4519987"/>
                    <a:gd name="connsiteY96" fmla="*/ 3019425 h 4496940"/>
                    <a:gd name="connsiteX97" fmla="*/ 144802 w 4519987"/>
                    <a:gd name="connsiteY97" fmla="*/ 2924175 h 4496940"/>
                    <a:gd name="connsiteX98" fmla="*/ 68602 w 4519987"/>
                    <a:gd name="connsiteY98" fmla="*/ 2724150 h 4496940"/>
                    <a:gd name="connsiteX99" fmla="*/ 49552 w 4519987"/>
                    <a:gd name="connsiteY99" fmla="*/ 2638425 h 4496940"/>
                    <a:gd name="connsiteX100" fmla="*/ 40027 w 4519987"/>
                    <a:gd name="connsiteY100" fmla="*/ 2562225 h 4496940"/>
                    <a:gd name="connsiteX101" fmla="*/ 30502 w 4519987"/>
                    <a:gd name="connsiteY101" fmla="*/ 2514600 h 4496940"/>
                    <a:gd name="connsiteX102" fmla="*/ 11452 w 4519987"/>
                    <a:gd name="connsiteY102" fmla="*/ 2400300 h 4496940"/>
                    <a:gd name="connsiteX103" fmla="*/ 20977 w 4519987"/>
                    <a:gd name="connsiteY103" fmla="*/ 1905000 h 4496940"/>
                    <a:gd name="connsiteX104" fmla="*/ 30502 w 4519987"/>
                    <a:gd name="connsiteY104" fmla="*/ 1838325 h 4496940"/>
                    <a:gd name="connsiteX105" fmla="*/ 49552 w 4519987"/>
                    <a:gd name="connsiteY105" fmla="*/ 1781175 h 4496940"/>
                    <a:gd name="connsiteX106" fmla="*/ 59077 w 4519987"/>
                    <a:gd name="connsiteY106" fmla="*/ 1743075 h 4496940"/>
                    <a:gd name="connsiteX107" fmla="*/ 78127 w 4519987"/>
                    <a:gd name="connsiteY107" fmla="*/ 1685925 h 4496940"/>
                    <a:gd name="connsiteX108" fmla="*/ 87652 w 4519987"/>
                    <a:gd name="connsiteY108" fmla="*/ 1638300 h 4496940"/>
                    <a:gd name="connsiteX109" fmla="*/ 106702 w 4519987"/>
                    <a:gd name="connsiteY109" fmla="*/ 1590675 h 4496940"/>
                    <a:gd name="connsiteX110" fmla="*/ 135277 w 4519987"/>
                    <a:gd name="connsiteY110" fmla="*/ 1504950 h 4496940"/>
                    <a:gd name="connsiteX111" fmla="*/ 154327 w 4519987"/>
                    <a:gd name="connsiteY111" fmla="*/ 1419225 h 4496940"/>
                    <a:gd name="connsiteX112" fmla="*/ 230527 w 4519987"/>
                    <a:gd name="connsiteY112" fmla="*/ 1276350 h 4496940"/>
                    <a:gd name="connsiteX113" fmla="*/ 240052 w 4519987"/>
                    <a:gd name="connsiteY113" fmla="*/ 1247775 h 4496940"/>
                    <a:gd name="connsiteX114" fmla="*/ 268627 w 4519987"/>
                    <a:gd name="connsiteY114" fmla="*/ 1200150 h 4496940"/>
                    <a:gd name="connsiteX115" fmla="*/ 287677 w 4519987"/>
                    <a:gd name="connsiteY115" fmla="*/ 1152525 h 4496940"/>
                    <a:gd name="connsiteX116" fmla="*/ 316252 w 4519987"/>
                    <a:gd name="connsiteY116" fmla="*/ 1114425 h 4496940"/>
                    <a:gd name="connsiteX117" fmla="*/ 363877 w 4519987"/>
                    <a:gd name="connsiteY117" fmla="*/ 1038225 h 4496940"/>
                    <a:gd name="connsiteX118" fmla="*/ 382927 w 4519987"/>
                    <a:gd name="connsiteY118" fmla="*/ 1009650 h 4496940"/>
                    <a:gd name="connsiteX119" fmla="*/ 440077 w 4519987"/>
                    <a:gd name="connsiteY119" fmla="*/ 904875 h 4496940"/>
                    <a:gd name="connsiteX120" fmla="*/ 478177 w 4519987"/>
                    <a:gd name="connsiteY120" fmla="*/ 857250 h 4496940"/>
                    <a:gd name="connsiteX121" fmla="*/ 497227 w 4519987"/>
                    <a:gd name="connsiteY121" fmla="*/ 828675 h 4496940"/>
                    <a:gd name="connsiteX122" fmla="*/ 535327 w 4519987"/>
                    <a:gd name="connsiteY122" fmla="*/ 800100 h 4496940"/>
                    <a:gd name="connsiteX123" fmla="*/ 602002 w 4519987"/>
                    <a:gd name="connsiteY123" fmla="*/ 733425 h 4496940"/>
                    <a:gd name="connsiteX124" fmla="*/ 668677 w 4519987"/>
                    <a:gd name="connsiteY124" fmla="*/ 676275 h 4496940"/>
                    <a:gd name="connsiteX125" fmla="*/ 697252 w 4519987"/>
                    <a:gd name="connsiteY125" fmla="*/ 657225 h 4496940"/>
                    <a:gd name="connsiteX126" fmla="*/ 840127 w 4519987"/>
                    <a:gd name="connsiteY126" fmla="*/ 533400 h 4496940"/>
                    <a:gd name="connsiteX127" fmla="*/ 887752 w 4519987"/>
                    <a:gd name="connsiteY127" fmla="*/ 504825 h 4496940"/>
                    <a:gd name="connsiteX128" fmla="*/ 1167152 w 4519987"/>
                    <a:gd name="connsiteY128" fmla="*/ 311150 h 4496940"/>
                    <a:gd name="connsiteX129" fmla="*/ 1268752 w 4519987"/>
                    <a:gd name="connsiteY129" fmla="*/ 285750 h 4496940"/>
                    <a:gd name="connsiteX130" fmla="*/ 1411627 w 4519987"/>
                    <a:gd name="connsiteY130" fmla="*/ 190500 h 4496940"/>
                    <a:gd name="connsiteX131" fmla="*/ 1449727 w 4519987"/>
                    <a:gd name="connsiteY131" fmla="*/ 161925 h 4496940"/>
                    <a:gd name="connsiteX132" fmla="*/ 1525927 w 4519987"/>
                    <a:gd name="connsiteY132" fmla="*/ 152400 h 4496940"/>
                    <a:gd name="connsiteX133" fmla="*/ 1583077 w 4519987"/>
                    <a:gd name="connsiteY133" fmla="*/ 142875 h 4496940"/>
                    <a:gd name="connsiteX134" fmla="*/ 1716427 w 4519987"/>
                    <a:gd name="connsiteY134" fmla="*/ 123825 h 4496940"/>
                    <a:gd name="connsiteX135" fmla="*/ 1811677 w 4519987"/>
                    <a:gd name="connsiteY135" fmla="*/ 114300 h 4496940"/>
                    <a:gd name="connsiteX136" fmla="*/ 1859302 w 4519987"/>
                    <a:gd name="connsiteY136" fmla="*/ 104775 h 4496940"/>
                    <a:gd name="connsiteX137" fmla="*/ 1916452 w 4519987"/>
                    <a:gd name="connsiteY137" fmla="*/ 95250 h 4496940"/>
                    <a:gd name="connsiteX138" fmla="*/ 2030752 w 4519987"/>
                    <a:gd name="connsiteY138" fmla="*/ 66675 h 4496940"/>
                    <a:gd name="connsiteX139" fmla="*/ 2097427 w 4519987"/>
                    <a:gd name="connsiteY139" fmla="*/ 47625 h 4496940"/>
                    <a:gd name="connsiteX140" fmla="*/ 2164102 w 4519987"/>
                    <a:gd name="connsiteY140" fmla="*/ 38100 h 4496940"/>
                    <a:gd name="connsiteX141" fmla="*/ 2392702 w 4519987"/>
                    <a:gd name="connsiteY14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088152 w 4519987"/>
                    <a:gd name="connsiteY36" fmla="*/ 3495675 h 4496940"/>
                    <a:gd name="connsiteX37" fmla="*/ 4059577 w 4519987"/>
                    <a:gd name="connsiteY37" fmla="*/ 3533775 h 4496940"/>
                    <a:gd name="connsiteX38" fmla="*/ 4002427 w 4519987"/>
                    <a:gd name="connsiteY38" fmla="*/ 3600450 h 4496940"/>
                    <a:gd name="connsiteX39" fmla="*/ 3983377 w 4519987"/>
                    <a:gd name="connsiteY39" fmla="*/ 3629025 h 4496940"/>
                    <a:gd name="connsiteX40" fmla="*/ 3954802 w 4519987"/>
                    <a:gd name="connsiteY40" fmla="*/ 3648075 h 4496940"/>
                    <a:gd name="connsiteX41" fmla="*/ 3907177 w 4519987"/>
                    <a:gd name="connsiteY41" fmla="*/ 3686175 h 4496940"/>
                    <a:gd name="connsiteX42" fmla="*/ 3869077 w 4519987"/>
                    <a:gd name="connsiteY42" fmla="*/ 3724275 h 4496940"/>
                    <a:gd name="connsiteX43" fmla="*/ 3792877 w 4519987"/>
                    <a:gd name="connsiteY43" fmla="*/ 3781425 h 4496940"/>
                    <a:gd name="connsiteX44" fmla="*/ 3783352 w 4519987"/>
                    <a:gd name="connsiteY44" fmla="*/ 3810000 h 4496940"/>
                    <a:gd name="connsiteX45" fmla="*/ 3745252 w 4519987"/>
                    <a:gd name="connsiteY45" fmla="*/ 3819525 h 4496940"/>
                    <a:gd name="connsiteX46" fmla="*/ 3678577 w 4519987"/>
                    <a:gd name="connsiteY46" fmla="*/ 3848100 h 4496940"/>
                    <a:gd name="connsiteX47" fmla="*/ 3659527 w 4519987"/>
                    <a:gd name="connsiteY47" fmla="*/ 3971925 h 4496940"/>
                    <a:gd name="connsiteX48" fmla="*/ 3630952 w 4519987"/>
                    <a:gd name="connsiteY48" fmla="*/ 4010025 h 4496940"/>
                    <a:gd name="connsiteX49" fmla="*/ 3621427 w 4519987"/>
                    <a:gd name="connsiteY49" fmla="*/ 4038600 h 4496940"/>
                    <a:gd name="connsiteX50" fmla="*/ 3554752 w 4519987"/>
                    <a:gd name="connsiteY50" fmla="*/ 4095750 h 4496940"/>
                    <a:gd name="connsiteX51" fmla="*/ 3516652 w 4519987"/>
                    <a:gd name="connsiteY51" fmla="*/ 4114800 h 4496940"/>
                    <a:gd name="connsiteX52" fmla="*/ 3497602 w 4519987"/>
                    <a:gd name="connsiteY52" fmla="*/ 4143375 h 4496940"/>
                    <a:gd name="connsiteX53" fmla="*/ 3383302 w 4519987"/>
                    <a:gd name="connsiteY53" fmla="*/ 4210050 h 4496940"/>
                    <a:gd name="connsiteX54" fmla="*/ 3335677 w 4519987"/>
                    <a:gd name="connsiteY54" fmla="*/ 4238625 h 4496940"/>
                    <a:gd name="connsiteX55" fmla="*/ 3288052 w 4519987"/>
                    <a:gd name="connsiteY55" fmla="*/ 4248150 h 4496940"/>
                    <a:gd name="connsiteX56" fmla="*/ 3240427 w 4519987"/>
                    <a:gd name="connsiteY56" fmla="*/ 4267200 h 4496940"/>
                    <a:gd name="connsiteX57" fmla="*/ 3068977 w 4519987"/>
                    <a:gd name="connsiteY57" fmla="*/ 4286250 h 4496940"/>
                    <a:gd name="connsiteX58" fmla="*/ 2935627 w 4519987"/>
                    <a:gd name="connsiteY58" fmla="*/ 4333875 h 4496940"/>
                    <a:gd name="connsiteX59" fmla="*/ 2811802 w 4519987"/>
                    <a:gd name="connsiteY59" fmla="*/ 4371975 h 4496940"/>
                    <a:gd name="connsiteX60" fmla="*/ 2745127 w 4519987"/>
                    <a:gd name="connsiteY60" fmla="*/ 4410075 h 4496940"/>
                    <a:gd name="connsiteX61" fmla="*/ 2697502 w 4519987"/>
                    <a:gd name="connsiteY61" fmla="*/ 4429125 h 4496940"/>
                    <a:gd name="connsiteX62" fmla="*/ 2640352 w 4519987"/>
                    <a:gd name="connsiteY62" fmla="*/ 4457700 h 4496940"/>
                    <a:gd name="connsiteX63" fmla="*/ 2583202 w 4519987"/>
                    <a:gd name="connsiteY63" fmla="*/ 4467225 h 4496940"/>
                    <a:gd name="connsiteX64" fmla="*/ 2545102 w 4519987"/>
                    <a:gd name="connsiteY64" fmla="*/ 4486275 h 4496940"/>
                    <a:gd name="connsiteX65" fmla="*/ 2306977 w 4519987"/>
                    <a:gd name="connsiteY65" fmla="*/ 4476750 h 4496940"/>
                    <a:gd name="connsiteX66" fmla="*/ 2202202 w 4519987"/>
                    <a:gd name="connsiteY66" fmla="*/ 4457700 h 4496940"/>
                    <a:gd name="connsiteX67" fmla="*/ 2126002 w 4519987"/>
                    <a:gd name="connsiteY67" fmla="*/ 4429125 h 4496940"/>
                    <a:gd name="connsiteX68" fmla="*/ 1935502 w 4519987"/>
                    <a:gd name="connsiteY68" fmla="*/ 4400550 h 4496940"/>
                    <a:gd name="connsiteX69" fmla="*/ 1821202 w 4519987"/>
                    <a:gd name="connsiteY69" fmla="*/ 4371975 h 4496940"/>
                    <a:gd name="connsiteX70" fmla="*/ 1754527 w 4519987"/>
                    <a:gd name="connsiteY70" fmla="*/ 4352925 h 4496940"/>
                    <a:gd name="connsiteX71" fmla="*/ 1687852 w 4519987"/>
                    <a:gd name="connsiteY71" fmla="*/ 4343400 h 4496940"/>
                    <a:gd name="connsiteX72" fmla="*/ 1573552 w 4519987"/>
                    <a:gd name="connsiteY72" fmla="*/ 4305300 h 4496940"/>
                    <a:gd name="connsiteX73" fmla="*/ 1402102 w 4519987"/>
                    <a:gd name="connsiteY73" fmla="*/ 4276725 h 4496940"/>
                    <a:gd name="connsiteX74" fmla="*/ 1287802 w 4519987"/>
                    <a:gd name="connsiteY74" fmla="*/ 4229100 h 4496940"/>
                    <a:gd name="connsiteX75" fmla="*/ 1221127 w 4519987"/>
                    <a:gd name="connsiteY75" fmla="*/ 4200525 h 4496940"/>
                    <a:gd name="connsiteX76" fmla="*/ 1144927 w 4519987"/>
                    <a:gd name="connsiteY76" fmla="*/ 4171950 h 4496940"/>
                    <a:gd name="connsiteX77" fmla="*/ 1087777 w 4519987"/>
                    <a:gd name="connsiteY77" fmla="*/ 4143375 h 4496940"/>
                    <a:gd name="connsiteX78" fmla="*/ 1030627 w 4519987"/>
                    <a:gd name="connsiteY78" fmla="*/ 4124325 h 4496940"/>
                    <a:gd name="connsiteX79" fmla="*/ 925852 w 4519987"/>
                    <a:gd name="connsiteY79" fmla="*/ 4067175 h 4496940"/>
                    <a:gd name="connsiteX80" fmla="*/ 830602 w 4519987"/>
                    <a:gd name="connsiteY80" fmla="*/ 3981450 h 4496940"/>
                    <a:gd name="connsiteX81" fmla="*/ 763927 w 4519987"/>
                    <a:gd name="connsiteY81" fmla="*/ 3914775 h 4496940"/>
                    <a:gd name="connsiteX82" fmla="*/ 725827 w 4519987"/>
                    <a:gd name="connsiteY82" fmla="*/ 3876675 h 4496940"/>
                    <a:gd name="connsiteX83" fmla="*/ 697252 w 4519987"/>
                    <a:gd name="connsiteY83" fmla="*/ 3838575 h 4496940"/>
                    <a:gd name="connsiteX84" fmla="*/ 640102 w 4519987"/>
                    <a:gd name="connsiteY84" fmla="*/ 3781425 h 4496940"/>
                    <a:gd name="connsiteX85" fmla="*/ 611527 w 4519987"/>
                    <a:gd name="connsiteY85" fmla="*/ 3733800 h 4496940"/>
                    <a:gd name="connsiteX86" fmla="*/ 554377 w 4519987"/>
                    <a:gd name="connsiteY86" fmla="*/ 3657600 h 4496940"/>
                    <a:gd name="connsiteX87" fmla="*/ 525802 w 4519987"/>
                    <a:gd name="connsiteY87" fmla="*/ 3609975 h 4496940"/>
                    <a:gd name="connsiteX88" fmla="*/ 497227 w 4519987"/>
                    <a:gd name="connsiteY88" fmla="*/ 3552825 h 4496940"/>
                    <a:gd name="connsiteX89" fmla="*/ 440077 w 4519987"/>
                    <a:gd name="connsiteY89" fmla="*/ 3495675 h 4496940"/>
                    <a:gd name="connsiteX90" fmla="*/ 411502 w 4519987"/>
                    <a:gd name="connsiteY90" fmla="*/ 3448050 h 4496940"/>
                    <a:gd name="connsiteX91" fmla="*/ 278152 w 4519987"/>
                    <a:gd name="connsiteY91" fmla="*/ 3257550 h 4496940"/>
                    <a:gd name="connsiteX92" fmla="*/ 249577 w 4519987"/>
                    <a:gd name="connsiteY92" fmla="*/ 3200400 h 4496940"/>
                    <a:gd name="connsiteX93" fmla="*/ 240052 w 4519987"/>
                    <a:gd name="connsiteY93" fmla="*/ 3162300 h 4496940"/>
                    <a:gd name="connsiteX94" fmla="*/ 221002 w 4519987"/>
                    <a:gd name="connsiteY94" fmla="*/ 3105150 h 4496940"/>
                    <a:gd name="connsiteX95" fmla="*/ 173377 w 4519987"/>
                    <a:gd name="connsiteY95" fmla="*/ 3019425 h 4496940"/>
                    <a:gd name="connsiteX96" fmla="*/ 144802 w 4519987"/>
                    <a:gd name="connsiteY96" fmla="*/ 2924175 h 4496940"/>
                    <a:gd name="connsiteX97" fmla="*/ 68602 w 4519987"/>
                    <a:gd name="connsiteY97" fmla="*/ 2724150 h 4496940"/>
                    <a:gd name="connsiteX98" fmla="*/ 49552 w 4519987"/>
                    <a:gd name="connsiteY98" fmla="*/ 2638425 h 4496940"/>
                    <a:gd name="connsiteX99" fmla="*/ 40027 w 4519987"/>
                    <a:gd name="connsiteY99" fmla="*/ 2562225 h 4496940"/>
                    <a:gd name="connsiteX100" fmla="*/ 30502 w 4519987"/>
                    <a:gd name="connsiteY100" fmla="*/ 2514600 h 4496940"/>
                    <a:gd name="connsiteX101" fmla="*/ 11452 w 4519987"/>
                    <a:gd name="connsiteY101" fmla="*/ 2400300 h 4496940"/>
                    <a:gd name="connsiteX102" fmla="*/ 20977 w 4519987"/>
                    <a:gd name="connsiteY102" fmla="*/ 1905000 h 4496940"/>
                    <a:gd name="connsiteX103" fmla="*/ 30502 w 4519987"/>
                    <a:gd name="connsiteY103" fmla="*/ 1838325 h 4496940"/>
                    <a:gd name="connsiteX104" fmla="*/ 49552 w 4519987"/>
                    <a:gd name="connsiteY104" fmla="*/ 1781175 h 4496940"/>
                    <a:gd name="connsiteX105" fmla="*/ 59077 w 4519987"/>
                    <a:gd name="connsiteY105" fmla="*/ 1743075 h 4496940"/>
                    <a:gd name="connsiteX106" fmla="*/ 78127 w 4519987"/>
                    <a:gd name="connsiteY106" fmla="*/ 1685925 h 4496940"/>
                    <a:gd name="connsiteX107" fmla="*/ 87652 w 4519987"/>
                    <a:gd name="connsiteY107" fmla="*/ 1638300 h 4496940"/>
                    <a:gd name="connsiteX108" fmla="*/ 106702 w 4519987"/>
                    <a:gd name="connsiteY108" fmla="*/ 1590675 h 4496940"/>
                    <a:gd name="connsiteX109" fmla="*/ 135277 w 4519987"/>
                    <a:gd name="connsiteY109" fmla="*/ 1504950 h 4496940"/>
                    <a:gd name="connsiteX110" fmla="*/ 154327 w 4519987"/>
                    <a:gd name="connsiteY110" fmla="*/ 1419225 h 4496940"/>
                    <a:gd name="connsiteX111" fmla="*/ 230527 w 4519987"/>
                    <a:gd name="connsiteY111" fmla="*/ 1276350 h 4496940"/>
                    <a:gd name="connsiteX112" fmla="*/ 240052 w 4519987"/>
                    <a:gd name="connsiteY112" fmla="*/ 1247775 h 4496940"/>
                    <a:gd name="connsiteX113" fmla="*/ 268627 w 4519987"/>
                    <a:gd name="connsiteY113" fmla="*/ 1200150 h 4496940"/>
                    <a:gd name="connsiteX114" fmla="*/ 287677 w 4519987"/>
                    <a:gd name="connsiteY114" fmla="*/ 1152525 h 4496940"/>
                    <a:gd name="connsiteX115" fmla="*/ 316252 w 4519987"/>
                    <a:gd name="connsiteY115" fmla="*/ 1114425 h 4496940"/>
                    <a:gd name="connsiteX116" fmla="*/ 363877 w 4519987"/>
                    <a:gd name="connsiteY116" fmla="*/ 1038225 h 4496940"/>
                    <a:gd name="connsiteX117" fmla="*/ 382927 w 4519987"/>
                    <a:gd name="connsiteY117" fmla="*/ 1009650 h 4496940"/>
                    <a:gd name="connsiteX118" fmla="*/ 440077 w 4519987"/>
                    <a:gd name="connsiteY118" fmla="*/ 904875 h 4496940"/>
                    <a:gd name="connsiteX119" fmla="*/ 478177 w 4519987"/>
                    <a:gd name="connsiteY119" fmla="*/ 857250 h 4496940"/>
                    <a:gd name="connsiteX120" fmla="*/ 497227 w 4519987"/>
                    <a:gd name="connsiteY120" fmla="*/ 828675 h 4496940"/>
                    <a:gd name="connsiteX121" fmla="*/ 535327 w 4519987"/>
                    <a:gd name="connsiteY121" fmla="*/ 800100 h 4496940"/>
                    <a:gd name="connsiteX122" fmla="*/ 602002 w 4519987"/>
                    <a:gd name="connsiteY122" fmla="*/ 733425 h 4496940"/>
                    <a:gd name="connsiteX123" fmla="*/ 668677 w 4519987"/>
                    <a:gd name="connsiteY123" fmla="*/ 676275 h 4496940"/>
                    <a:gd name="connsiteX124" fmla="*/ 697252 w 4519987"/>
                    <a:gd name="connsiteY124" fmla="*/ 657225 h 4496940"/>
                    <a:gd name="connsiteX125" fmla="*/ 840127 w 4519987"/>
                    <a:gd name="connsiteY125" fmla="*/ 533400 h 4496940"/>
                    <a:gd name="connsiteX126" fmla="*/ 887752 w 4519987"/>
                    <a:gd name="connsiteY126" fmla="*/ 504825 h 4496940"/>
                    <a:gd name="connsiteX127" fmla="*/ 1167152 w 4519987"/>
                    <a:gd name="connsiteY127" fmla="*/ 311150 h 4496940"/>
                    <a:gd name="connsiteX128" fmla="*/ 1268752 w 4519987"/>
                    <a:gd name="connsiteY128" fmla="*/ 285750 h 4496940"/>
                    <a:gd name="connsiteX129" fmla="*/ 1411627 w 4519987"/>
                    <a:gd name="connsiteY129" fmla="*/ 190500 h 4496940"/>
                    <a:gd name="connsiteX130" fmla="*/ 1449727 w 4519987"/>
                    <a:gd name="connsiteY130" fmla="*/ 161925 h 4496940"/>
                    <a:gd name="connsiteX131" fmla="*/ 1525927 w 4519987"/>
                    <a:gd name="connsiteY131" fmla="*/ 152400 h 4496940"/>
                    <a:gd name="connsiteX132" fmla="*/ 1583077 w 4519987"/>
                    <a:gd name="connsiteY132" fmla="*/ 142875 h 4496940"/>
                    <a:gd name="connsiteX133" fmla="*/ 1716427 w 4519987"/>
                    <a:gd name="connsiteY133" fmla="*/ 123825 h 4496940"/>
                    <a:gd name="connsiteX134" fmla="*/ 1811677 w 4519987"/>
                    <a:gd name="connsiteY134" fmla="*/ 114300 h 4496940"/>
                    <a:gd name="connsiteX135" fmla="*/ 1859302 w 4519987"/>
                    <a:gd name="connsiteY135" fmla="*/ 104775 h 4496940"/>
                    <a:gd name="connsiteX136" fmla="*/ 1916452 w 4519987"/>
                    <a:gd name="connsiteY136" fmla="*/ 95250 h 4496940"/>
                    <a:gd name="connsiteX137" fmla="*/ 2030752 w 4519987"/>
                    <a:gd name="connsiteY137" fmla="*/ 66675 h 4496940"/>
                    <a:gd name="connsiteX138" fmla="*/ 2097427 w 4519987"/>
                    <a:gd name="connsiteY138" fmla="*/ 47625 h 4496940"/>
                    <a:gd name="connsiteX139" fmla="*/ 2164102 w 4519987"/>
                    <a:gd name="connsiteY139" fmla="*/ 38100 h 4496940"/>
                    <a:gd name="connsiteX140" fmla="*/ 2392702 w 4519987"/>
                    <a:gd name="connsiteY14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183402 w 4519987"/>
                    <a:gd name="connsiteY34" fmla="*/ 3400425 h 4496940"/>
                    <a:gd name="connsiteX35" fmla="*/ 4088152 w 4519987"/>
                    <a:gd name="connsiteY35" fmla="*/ 3495675 h 4496940"/>
                    <a:gd name="connsiteX36" fmla="*/ 4059577 w 4519987"/>
                    <a:gd name="connsiteY36" fmla="*/ 3533775 h 4496940"/>
                    <a:gd name="connsiteX37" fmla="*/ 4002427 w 4519987"/>
                    <a:gd name="connsiteY37" fmla="*/ 3600450 h 4496940"/>
                    <a:gd name="connsiteX38" fmla="*/ 3983377 w 4519987"/>
                    <a:gd name="connsiteY38" fmla="*/ 3629025 h 4496940"/>
                    <a:gd name="connsiteX39" fmla="*/ 3954802 w 4519987"/>
                    <a:gd name="connsiteY39" fmla="*/ 3648075 h 4496940"/>
                    <a:gd name="connsiteX40" fmla="*/ 3907177 w 4519987"/>
                    <a:gd name="connsiteY40" fmla="*/ 3686175 h 4496940"/>
                    <a:gd name="connsiteX41" fmla="*/ 3869077 w 4519987"/>
                    <a:gd name="connsiteY41" fmla="*/ 3724275 h 4496940"/>
                    <a:gd name="connsiteX42" fmla="*/ 3792877 w 4519987"/>
                    <a:gd name="connsiteY42" fmla="*/ 3781425 h 4496940"/>
                    <a:gd name="connsiteX43" fmla="*/ 3783352 w 4519987"/>
                    <a:gd name="connsiteY43" fmla="*/ 3810000 h 4496940"/>
                    <a:gd name="connsiteX44" fmla="*/ 3745252 w 4519987"/>
                    <a:gd name="connsiteY44" fmla="*/ 3819525 h 4496940"/>
                    <a:gd name="connsiteX45" fmla="*/ 3678577 w 4519987"/>
                    <a:gd name="connsiteY45" fmla="*/ 3848100 h 4496940"/>
                    <a:gd name="connsiteX46" fmla="*/ 3659527 w 4519987"/>
                    <a:gd name="connsiteY46" fmla="*/ 3971925 h 4496940"/>
                    <a:gd name="connsiteX47" fmla="*/ 3630952 w 4519987"/>
                    <a:gd name="connsiteY47" fmla="*/ 4010025 h 4496940"/>
                    <a:gd name="connsiteX48" fmla="*/ 3621427 w 4519987"/>
                    <a:gd name="connsiteY48" fmla="*/ 4038600 h 4496940"/>
                    <a:gd name="connsiteX49" fmla="*/ 3554752 w 4519987"/>
                    <a:gd name="connsiteY49" fmla="*/ 4095750 h 4496940"/>
                    <a:gd name="connsiteX50" fmla="*/ 3516652 w 4519987"/>
                    <a:gd name="connsiteY50" fmla="*/ 4114800 h 4496940"/>
                    <a:gd name="connsiteX51" fmla="*/ 3497602 w 4519987"/>
                    <a:gd name="connsiteY51" fmla="*/ 4143375 h 4496940"/>
                    <a:gd name="connsiteX52" fmla="*/ 3383302 w 4519987"/>
                    <a:gd name="connsiteY52" fmla="*/ 4210050 h 4496940"/>
                    <a:gd name="connsiteX53" fmla="*/ 3335677 w 4519987"/>
                    <a:gd name="connsiteY53" fmla="*/ 4238625 h 4496940"/>
                    <a:gd name="connsiteX54" fmla="*/ 3288052 w 4519987"/>
                    <a:gd name="connsiteY54" fmla="*/ 4248150 h 4496940"/>
                    <a:gd name="connsiteX55" fmla="*/ 3240427 w 4519987"/>
                    <a:gd name="connsiteY55" fmla="*/ 4267200 h 4496940"/>
                    <a:gd name="connsiteX56" fmla="*/ 3068977 w 4519987"/>
                    <a:gd name="connsiteY56" fmla="*/ 4286250 h 4496940"/>
                    <a:gd name="connsiteX57" fmla="*/ 2935627 w 4519987"/>
                    <a:gd name="connsiteY57" fmla="*/ 4333875 h 4496940"/>
                    <a:gd name="connsiteX58" fmla="*/ 2811802 w 4519987"/>
                    <a:gd name="connsiteY58" fmla="*/ 4371975 h 4496940"/>
                    <a:gd name="connsiteX59" fmla="*/ 2745127 w 4519987"/>
                    <a:gd name="connsiteY59" fmla="*/ 4410075 h 4496940"/>
                    <a:gd name="connsiteX60" fmla="*/ 2697502 w 4519987"/>
                    <a:gd name="connsiteY60" fmla="*/ 4429125 h 4496940"/>
                    <a:gd name="connsiteX61" fmla="*/ 2640352 w 4519987"/>
                    <a:gd name="connsiteY61" fmla="*/ 4457700 h 4496940"/>
                    <a:gd name="connsiteX62" fmla="*/ 2583202 w 4519987"/>
                    <a:gd name="connsiteY62" fmla="*/ 4467225 h 4496940"/>
                    <a:gd name="connsiteX63" fmla="*/ 2545102 w 4519987"/>
                    <a:gd name="connsiteY63" fmla="*/ 4486275 h 4496940"/>
                    <a:gd name="connsiteX64" fmla="*/ 2306977 w 4519987"/>
                    <a:gd name="connsiteY64" fmla="*/ 4476750 h 4496940"/>
                    <a:gd name="connsiteX65" fmla="*/ 2202202 w 4519987"/>
                    <a:gd name="connsiteY65" fmla="*/ 4457700 h 4496940"/>
                    <a:gd name="connsiteX66" fmla="*/ 2126002 w 4519987"/>
                    <a:gd name="connsiteY66" fmla="*/ 4429125 h 4496940"/>
                    <a:gd name="connsiteX67" fmla="*/ 1935502 w 4519987"/>
                    <a:gd name="connsiteY67" fmla="*/ 4400550 h 4496940"/>
                    <a:gd name="connsiteX68" fmla="*/ 1821202 w 4519987"/>
                    <a:gd name="connsiteY68" fmla="*/ 4371975 h 4496940"/>
                    <a:gd name="connsiteX69" fmla="*/ 1754527 w 4519987"/>
                    <a:gd name="connsiteY69" fmla="*/ 4352925 h 4496940"/>
                    <a:gd name="connsiteX70" fmla="*/ 1687852 w 4519987"/>
                    <a:gd name="connsiteY70" fmla="*/ 4343400 h 4496940"/>
                    <a:gd name="connsiteX71" fmla="*/ 1573552 w 4519987"/>
                    <a:gd name="connsiteY71" fmla="*/ 4305300 h 4496940"/>
                    <a:gd name="connsiteX72" fmla="*/ 1402102 w 4519987"/>
                    <a:gd name="connsiteY72" fmla="*/ 4276725 h 4496940"/>
                    <a:gd name="connsiteX73" fmla="*/ 1287802 w 4519987"/>
                    <a:gd name="connsiteY73" fmla="*/ 4229100 h 4496940"/>
                    <a:gd name="connsiteX74" fmla="*/ 1221127 w 4519987"/>
                    <a:gd name="connsiteY74" fmla="*/ 4200525 h 4496940"/>
                    <a:gd name="connsiteX75" fmla="*/ 1144927 w 4519987"/>
                    <a:gd name="connsiteY75" fmla="*/ 4171950 h 4496940"/>
                    <a:gd name="connsiteX76" fmla="*/ 1087777 w 4519987"/>
                    <a:gd name="connsiteY76" fmla="*/ 4143375 h 4496940"/>
                    <a:gd name="connsiteX77" fmla="*/ 1030627 w 4519987"/>
                    <a:gd name="connsiteY77" fmla="*/ 4124325 h 4496940"/>
                    <a:gd name="connsiteX78" fmla="*/ 925852 w 4519987"/>
                    <a:gd name="connsiteY78" fmla="*/ 4067175 h 4496940"/>
                    <a:gd name="connsiteX79" fmla="*/ 830602 w 4519987"/>
                    <a:gd name="connsiteY79" fmla="*/ 3981450 h 4496940"/>
                    <a:gd name="connsiteX80" fmla="*/ 763927 w 4519987"/>
                    <a:gd name="connsiteY80" fmla="*/ 3914775 h 4496940"/>
                    <a:gd name="connsiteX81" fmla="*/ 725827 w 4519987"/>
                    <a:gd name="connsiteY81" fmla="*/ 3876675 h 4496940"/>
                    <a:gd name="connsiteX82" fmla="*/ 697252 w 4519987"/>
                    <a:gd name="connsiteY82" fmla="*/ 3838575 h 4496940"/>
                    <a:gd name="connsiteX83" fmla="*/ 640102 w 4519987"/>
                    <a:gd name="connsiteY83" fmla="*/ 3781425 h 4496940"/>
                    <a:gd name="connsiteX84" fmla="*/ 611527 w 4519987"/>
                    <a:gd name="connsiteY84" fmla="*/ 3733800 h 4496940"/>
                    <a:gd name="connsiteX85" fmla="*/ 554377 w 4519987"/>
                    <a:gd name="connsiteY85" fmla="*/ 3657600 h 4496940"/>
                    <a:gd name="connsiteX86" fmla="*/ 525802 w 4519987"/>
                    <a:gd name="connsiteY86" fmla="*/ 3609975 h 4496940"/>
                    <a:gd name="connsiteX87" fmla="*/ 497227 w 4519987"/>
                    <a:gd name="connsiteY87" fmla="*/ 3552825 h 4496940"/>
                    <a:gd name="connsiteX88" fmla="*/ 440077 w 4519987"/>
                    <a:gd name="connsiteY88" fmla="*/ 3495675 h 4496940"/>
                    <a:gd name="connsiteX89" fmla="*/ 411502 w 4519987"/>
                    <a:gd name="connsiteY89" fmla="*/ 3448050 h 4496940"/>
                    <a:gd name="connsiteX90" fmla="*/ 278152 w 4519987"/>
                    <a:gd name="connsiteY90" fmla="*/ 3257550 h 4496940"/>
                    <a:gd name="connsiteX91" fmla="*/ 249577 w 4519987"/>
                    <a:gd name="connsiteY91" fmla="*/ 3200400 h 4496940"/>
                    <a:gd name="connsiteX92" fmla="*/ 240052 w 4519987"/>
                    <a:gd name="connsiteY92" fmla="*/ 3162300 h 4496940"/>
                    <a:gd name="connsiteX93" fmla="*/ 221002 w 4519987"/>
                    <a:gd name="connsiteY93" fmla="*/ 3105150 h 4496940"/>
                    <a:gd name="connsiteX94" fmla="*/ 173377 w 4519987"/>
                    <a:gd name="connsiteY94" fmla="*/ 3019425 h 4496940"/>
                    <a:gd name="connsiteX95" fmla="*/ 144802 w 4519987"/>
                    <a:gd name="connsiteY95" fmla="*/ 2924175 h 4496940"/>
                    <a:gd name="connsiteX96" fmla="*/ 68602 w 4519987"/>
                    <a:gd name="connsiteY96" fmla="*/ 2724150 h 4496940"/>
                    <a:gd name="connsiteX97" fmla="*/ 49552 w 4519987"/>
                    <a:gd name="connsiteY97" fmla="*/ 2638425 h 4496940"/>
                    <a:gd name="connsiteX98" fmla="*/ 40027 w 4519987"/>
                    <a:gd name="connsiteY98" fmla="*/ 2562225 h 4496940"/>
                    <a:gd name="connsiteX99" fmla="*/ 30502 w 4519987"/>
                    <a:gd name="connsiteY99" fmla="*/ 2514600 h 4496940"/>
                    <a:gd name="connsiteX100" fmla="*/ 11452 w 4519987"/>
                    <a:gd name="connsiteY100" fmla="*/ 2400300 h 4496940"/>
                    <a:gd name="connsiteX101" fmla="*/ 20977 w 4519987"/>
                    <a:gd name="connsiteY101" fmla="*/ 1905000 h 4496940"/>
                    <a:gd name="connsiteX102" fmla="*/ 30502 w 4519987"/>
                    <a:gd name="connsiteY102" fmla="*/ 1838325 h 4496940"/>
                    <a:gd name="connsiteX103" fmla="*/ 49552 w 4519987"/>
                    <a:gd name="connsiteY103" fmla="*/ 1781175 h 4496940"/>
                    <a:gd name="connsiteX104" fmla="*/ 59077 w 4519987"/>
                    <a:gd name="connsiteY104" fmla="*/ 1743075 h 4496940"/>
                    <a:gd name="connsiteX105" fmla="*/ 78127 w 4519987"/>
                    <a:gd name="connsiteY105" fmla="*/ 1685925 h 4496940"/>
                    <a:gd name="connsiteX106" fmla="*/ 87652 w 4519987"/>
                    <a:gd name="connsiteY106" fmla="*/ 1638300 h 4496940"/>
                    <a:gd name="connsiteX107" fmla="*/ 106702 w 4519987"/>
                    <a:gd name="connsiteY107" fmla="*/ 1590675 h 4496940"/>
                    <a:gd name="connsiteX108" fmla="*/ 135277 w 4519987"/>
                    <a:gd name="connsiteY108" fmla="*/ 1504950 h 4496940"/>
                    <a:gd name="connsiteX109" fmla="*/ 154327 w 4519987"/>
                    <a:gd name="connsiteY109" fmla="*/ 1419225 h 4496940"/>
                    <a:gd name="connsiteX110" fmla="*/ 230527 w 4519987"/>
                    <a:gd name="connsiteY110" fmla="*/ 1276350 h 4496940"/>
                    <a:gd name="connsiteX111" fmla="*/ 240052 w 4519987"/>
                    <a:gd name="connsiteY111" fmla="*/ 1247775 h 4496940"/>
                    <a:gd name="connsiteX112" fmla="*/ 268627 w 4519987"/>
                    <a:gd name="connsiteY112" fmla="*/ 1200150 h 4496940"/>
                    <a:gd name="connsiteX113" fmla="*/ 287677 w 4519987"/>
                    <a:gd name="connsiteY113" fmla="*/ 1152525 h 4496940"/>
                    <a:gd name="connsiteX114" fmla="*/ 316252 w 4519987"/>
                    <a:gd name="connsiteY114" fmla="*/ 1114425 h 4496940"/>
                    <a:gd name="connsiteX115" fmla="*/ 363877 w 4519987"/>
                    <a:gd name="connsiteY115" fmla="*/ 1038225 h 4496940"/>
                    <a:gd name="connsiteX116" fmla="*/ 382927 w 4519987"/>
                    <a:gd name="connsiteY116" fmla="*/ 1009650 h 4496940"/>
                    <a:gd name="connsiteX117" fmla="*/ 440077 w 4519987"/>
                    <a:gd name="connsiteY117" fmla="*/ 904875 h 4496940"/>
                    <a:gd name="connsiteX118" fmla="*/ 478177 w 4519987"/>
                    <a:gd name="connsiteY118" fmla="*/ 857250 h 4496940"/>
                    <a:gd name="connsiteX119" fmla="*/ 497227 w 4519987"/>
                    <a:gd name="connsiteY119" fmla="*/ 828675 h 4496940"/>
                    <a:gd name="connsiteX120" fmla="*/ 535327 w 4519987"/>
                    <a:gd name="connsiteY120" fmla="*/ 800100 h 4496940"/>
                    <a:gd name="connsiteX121" fmla="*/ 602002 w 4519987"/>
                    <a:gd name="connsiteY121" fmla="*/ 733425 h 4496940"/>
                    <a:gd name="connsiteX122" fmla="*/ 668677 w 4519987"/>
                    <a:gd name="connsiteY122" fmla="*/ 676275 h 4496940"/>
                    <a:gd name="connsiteX123" fmla="*/ 697252 w 4519987"/>
                    <a:gd name="connsiteY123" fmla="*/ 657225 h 4496940"/>
                    <a:gd name="connsiteX124" fmla="*/ 840127 w 4519987"/>
                    <a:gd name="connsiteY124" fmla="*/ 533400 h 4496940"/>
                    <a:gd name="connsiteX125" fmla="*/ 887752 w 4519987"/>
                    <a:gd name="connsiteY125" fmla="*/ 504825 h 4496940"/>
                    <a:gd name="connsiteX126" fmla="*/ 1167152 w 4519987"/>
                    <a:gd name="connsiteY126" fmla="*/ 311150 h 4496940"/>
                    <a:gd name="connsiteX127" fmla="*/ 1268752 w 4519987"/>
                    <a:gd name="connsiteY127" fmla="*/ 285750 h 4496940"/>
                    <a:gd name="connsiteX128" fmla="*/ 1411627 w 4519987"/>
                    <a:gd name="connsiteY128" fmla="*/ 190500 h 4496940"/>
                    <a:gd name="connsiteX129" fmla="*/ 1449727 w 4519987"/>
                    <a:gd name="connsiteY129" fmla="*/ 161925 h 4496940"/>
                    <a:gd name="connsiteX130" fmla="*/ 1525927 w 4519987"/>
                    <a:gd name="connsiteY130" fmla="*/ 152400 h 4496940"/>
                    <a:gd name="connsiteX131" fmla="*/ 1583077 w 4519987"/>
                    <a:gd name="connsiteY131" fmla="*/ 142875 h 4496940"/>
                    <a:gd name="connsiteX132" fmla="*/ 1716427 w 4519987"/>
                    <a:gd name="connsiteY132" fmla="*/ 123825 h 4496940"/>
                    <a:gd name="connsiteX133" fmla="*/ 1811677 w 4519987"/>
                    <a:gd name="connsiteY133" fmla="*/ 114300 h 4496940"/>
                    <a:gd name="connsiteX134" fmla="*/ 1859302 w 4519987"/>
                    <a:gd name="connsiteY134" fmla="*/ 104775 h 4496940"/>
                    <a:gd name="connsiteX135" fmla="*/ 1916452 w 4519987"/>
                    <a:gd name="connsiteY135" fmla="*/ 95250 h 4496940"/>
                    <a:gd name="connsiteX136" fmla="*/ 2030752 w 4519987"/>
                    <a:gd name="connsiteY136" fmla="*/ 66675 h 4496940"/>
                    <a:gd name="connsiteX137" fmla="*/ 2097427 w 4519987"/>
                    <a:gd name="connsiteY137" fmla="*/ 47625 h 4496940"/>
                    <a:gd name="connsiteX138" fmla="*/ 2164102 w 4519987"/>
                    <a:gd name="connsiteY138" fmla="*/ 38100 h 4496940"/>
                    <a:gd name="connsiteX139" fmla="*/ 2392702 w 4519987"/>
                    <a:gd name="connsiteY13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83377 w 4519987"/>
                    <a:gd name="connsiteY37" fmla="*/ 3629025 h 4496940"/>
                    <a:gd name="connsiteX38" fmla="*/ 3954802 w 4519987"/>
                    <a:gd name="connsiteY38" fmla="*/ 3648075 h 4496940"/>
                    <a:gd name="connsiteX39" fmla="*/ 3907177 w 4519987"/>
                    <a:gd name="connsiteY39" fmla="*/ 3686175 h 4496940"/>
                    <a:gd name="connsiteX40" fmla="*/ 3869077 w 4519987"/>
                    <a:gd name="connsiteY40" fmla="*/ 3724275 h 4496940"/>
                    <a:gd name="connsiteX41" fmla="*/ 3792877 w 4519987"/>
                    <a:gd name="connsiteY41" fmla="*/ 3781425 h 4496940"/>
                    <a:gd name="connsiteX42" fmla="*/ 3783352 w 4519987"/>
                    <a:gd name="connsiteY42" fmla="*/ 3810000 h 4496940"/>
                    <a:gd name="connsiteX43" fmla="*/ 3745252 w 4519987"/>
                    <a:gd name="connsiteY43" fmla="*/ 3819525 h 4496940"/>
                    <a:gd name="connsiteX44" fmla="*/ 3678577 w 4519987"/>
                    <a:gd name="connsiteY44" fmla="*/ 3848100 h 4496940"/>
                    <a:gd name="connsiteX45" fmla="*/ 3659527 w 4519987"/>
                    <a:gd name="connsiteY45" fmla="*/ 3971925 h 4496940"/>
                    <a:gd name="connsiteX46" fmla="*/ 3630952 w 4519987"/>
                    <a:gd name="connsiteY46" fmla="*/ 4010025 h 4496940"/>
                    <a:gd name="connsiteX47" fmla="*/ 3621427 w 4519987"/>
                    <a:gd name="connsiteY47" fmla="*/ 4038600 h 4496940"/>
                    <a:gd name="connsiteX48" fmla="*/ 3554752 w 4519987"/>
                    <a:gd name="connsiteY48" fmla="*/ 4095750 h 4496940"/>
                    <a:gd name="connsiteX49" fmla="*/ 3516652 w 4519987"/>
                    <a:gd name="connsiteY49" fmla="*/ 4114800 h 4496940"/>
                    <a:gd name="connsiteX50" fmla="*/ 3497602 w 4519987"/>
                    <a:gd name="connsiteY50" fmla="*/ 4143375 h 4496940"/>
                    <a:gd name="connsiteX51" fmla="*/ 3383302 w 4519987"/>
                    <a:gd name="connsiteY51" fmla="*/ 4210050 h 4496940"/>
                    <a:gd name="connsiteX52" fmla="*/ 3335677 w 4519987"/>
                    <a:gd name="connsiteY52" fmla="*/ 4238625 h 4496940"/>
                    <a:gd name="connsiteX53" fmla="*/ 3288052 w 4519987"/>
                    <a:gd name="connsiteY53" fmla="*/ 4248150 h 4496940"/>
                    <a:gd name="connsiteX54" fmla="*/ 3240427 w 4519987"/>
                    <a:gd name="connsiteY54" fmla="*/ 4267200 h 4496940"/>
                    <a:gd name="connsiteX55" fmla="*/ 3068977 w 4519987"/>
                    <a:gd name="connsiteY55" fmla="*/ 4286250 h 4496940"/>
                    <a:gd name="connsiteX56" fmla="*/ 2935627 w 4519987"/>
                    <a:gd name="connsiteY56" fmla="*/ 4333875 h 4496940"/>
                    <a:gd name="connsiteX57" fmla="*/ 2811802 w 4519987"/>
                    <a:gd name="connsiteY57" fmla="*/ 4371975 h 4496940"/>
                    <a:gd name="connsiteX58" fmla="*/ 2745127 w 4519987"/>
                    <a:gd name="connsiteY58" fmla="*/ 4410075 h 4496940"/>
                    <a:gd name="connsiteX59" fmla="*/ 2697502 w 4519987"/>
                    <a:gd name="connsiteY59" fmla="*/ 4429125 h 4496940"/>
                    <a:gd name="connsiteX60" fmla="*/ 2640352 w 4519987"/>
                    <a:gd name="connsiteY60" fmla="*/ 4457700 h 4496940"/>
                    <a:gd name="connsiteX61" fmla="*/ 2583202 w 4519987"/>
                    <a:gd name="connsiteY61" fmla="*/ 4467225 h 4496940"/>
                    <a:gd name="connsiteX62" fmla="*/ 2545102 w 4519987"/>
                    <a:gd name="connsiteY62" fmla="*/ 4486275 h 4496940"/>
                    <a:gd name="connsiteX63" fmla="*/ 2306977 w 4519987"/>
                    <a:gd name="connsiteY63" fmla="*/ 4476750 h 4496940"/>
                    <a:gd name="connsiteX64" fmla="*/ 2202202 w 4519987"/>
                    <a:gd name="connsiteY64" fmla="*/ 4457700 h 4496940"/>
                    <a:gd name="connsiteX65" fmla="*/ 2126002 w 4519987"/>
                    <a:gd name="connsiteY65" fmla="*/ 4429125 h 4496940"/>
                    <a:gd name="connsiteX66" fmla="*/ 1935502 w 4519987"/>
                    <a:gd name="connsiteY66" fmla="*/ 4400550 h 4496940"/>
                    <a:gd name="connsiteX67" fmla="*/ 1821202 w 4519987"/>
                    <a:gd name="connsiteY67" fmla="*/ 4371975 h 4496940"/>
                    <a:gd name="connsiteX68" fmla="*/ 1754527 w 4519987"/>
                    <a:gd name="connsiteY68" fmla="*/ 4352925 h 4496940"/>
                    <a:gd name="connsiteX69" fmla="*/ 1687852 w 4519987"/>
                    <a:gd name="connsiteY69" fmla="*/ 4343400 h 4496940"/>
                    <a:gd name="connsiteX70" fmla="*/ 1573552 w 4519987"/>
                    <a:gd name="connsiteY70" fmla="*/ 4305300 h 4496940"/>
                    <a:gd name="connsiteX71" fmla="*/ 1402102 w 4519987"/>
                    <a:gd name="connsiteY71" fmla="*/ 4276725 h 4496940"/>
                    <a:gd name="connsiteX72" fmla="*/ 1287802 w 4519987"/>
                    <a:gd name="connsiteY72" fmla="*/ 4229100 h 4496940"/>
                    <a:gd name="connsiteX73" fmla="*/ 1221127 w 4519987"/>
                    <a:gd name="connsiteY73" fmla="*/ 4200525 h 4496940"/>
                    <a:gd name="connsiteX74" fmla="*/ 1144927 w 4519987"/>
                    <a:gd name="connsiteY74" fmla="*/ 4171950 h 4496940"/>
                    <a:gd name="connsiteX75" fmla="*/ 1087777 w 4519987"/>
                    <a:gd name="connsiteY75" fmla="*/ 4143375 h 4496940"/>
                    <a:gd name="connsiteX76" fmla="*/ 1030627 w 4519987"/>
                    <a:gd name="connsiteY76" fmla="*/ 4124325 h 4496940"/>
                    <a:gd name="connsiteX77" fmla="*/ 925852 w 4519987"/>
                    <a:gd name="connsiteY77" fmla="*/ 4067175 h 4496940"/>
                    <a:gd name="connsiteX78" fmla="*/ 830602 w 4519987"/>
                    <a:gd name="connsiteY78" fmla="*/ 3981450 h 4496940"/>
                    <a:gd name="connsiteX79" fmla="*/ 763927 w 4519987"/>
                    <a:gd name="connsiteY79" fmla="*/ 3914775 h 4496940"/>
                    <a:gd name="connsiteX80" fmla="*/ 725827 w 4519987"/>
                    <a:gd name="connsiteY80" fmla="*/ 3876675 h 4496940"/>
                    <a:gd name="connsiteX81" fmla="*/ 697252 w 4519987"/>
                    <a:gd name="connsiteY81" fmla="*/ 3838575 h 4496940"/>
                    <a:gd name="connsiteX82" fmla="*/ 640102 w 4519987"/>
                    <a:gd name="connsiteY82" fmla="*/ 3781425 h 4496940"/>
                    <a:gd name="connsiteX83" fmla="*/ 611527 w 4519987"/>
                    <a:gd name="connsiteY83" fmla="*/ 3733800 h 4496940"/>
                    <a:gd name="connsiteX84" fmla="*/ 554377 w 4519987"/>
                    <a:gd name="connsiteY84" fmla="*/ 3657600 h 4496940"/>
                    <a:gd name="connsiteX85" fmla="*/ 525802 w 4519987"/>
                    <a:gd name="connsiteY85" fmla="*/ 3609975 h 4496940"/>
                    <a:gd name="connsiteX86" fmla="*/ 497227 w 4519987"/>
                    <a:gd name="connsiteY86" fmla="*/ 3552825 h 4496940"/>
                    <a:gd name="connsiteX87" fmla="*/ 440077 w 4519987"/>
                    <a:gd name="connsiteY87" fmla="*/ 3495675 h 4496940"/>
                    <a:gd name="connsiteX88" fmla="*/ 411502 w 4519987"/>
                    <a:gd name="connsiteY88" fmla="*/ 3448050 h 4496940"/>
                    <a:gd name="connsiteX89" fmla="*/ 278152 w 4519987"/>
                    <a:gd name="connsiteY89" fmla="*/ 3257550 h 4496940"/>
                    <a:gd name="connsiteX90" fmla="*/ 249577 w 4519987"/>
                    <a:gd name="connsiteY90" fmla="*/ 3200400 h 4496940"/>
                    <a:gd name="connsiteX91" fmla="*/ 240052 w 4519987"/>
                    <a:gd name="connsiteY91" fmla="*/ 3162300 h 4496940"/>
                    <a:gd name="connsiteX92" fmla="*/ 221002 w 4519987"/>
                    <a:gd name="connsiteY92" fmla="*/ 3105150 h 4496940"/>
                    <a:gd name="connsiteX93" fmla="*/ 173377 w 4519987"/>
                    <a:gd name="connsiteY93" fmla="*/ 3019425 h 4496940"/>
                    <a:gd name="connsiteX94" fmla="*/ 144802 w 4519987"/>
                    <a:gd name="connsiteY94" fmla="*/ 2924175 h 4496940"/>
                    <a:gd name="connsiteX95" fmla="*/ 68602 w 4519987"/>
                    <a:gd name="connsiteY95" fmla="*/ 2724150 h 4496940"/>
                    <a:gd name="connsiteX96" fmla="*/ 49552 w 4519987"/>
                    <a:gd name="connsiteY96" fmla="*/ 2638425 h 4496940"/>
                    <a:gd name="connsiteX97" fmla="*/ 40027 w 4519987"/>
                    <a:gd name="connsiteY97" fmla="*/ 2562225 h 4496940"/>
                    <a:gd name="connsiteX98" fmla="*/ 30502 w 4519987"/>
                    <a:gd name="connsiteY98" fmla="*/ 2514600 h 4496940"/>
                    <a:gd name="connsiteX99" fmla="*/ 11452 w 4519987"/>
                    <a:gd name="connsiteY99" fmla="*/ 2400300 h 4496940"/>
                    <a:gd name="connsiteX100" fmla="*/ 20977 w 4519987"/>
                    <a:gd name="connsiteY100" fmla="*/ 1905000 h 4496940"/>
                    <a:gd name="connsiteX101" fmla="*/ 30502 w 4519987"/>
                    <a:gd name="connsiteY101" fmla="*/ 1838325 h 4496940"/>
                    <a:gd name="connsiteX102" fmla="*/ 49552 w 4519987"/>
                    <a:gd name="connsiteY102" fmla="*/ 1781175 h 4496940"/>
                    <a:gd name="connsiteX103" fmla="*/ 59077 w 4519987"/>
                    <a:gd name="connsiteY103" fmla="*/ 1743075 h 4496940"/>
                    <a:gd name="connsiteX104" fmla="*/ 78127 w 4519987"/>
                    <a:gd name="connsiteY104" fmla="*/ 1685925 h 4496940"/>
                    <a:gd name="connsiteX105" fmla="*/ 87652 w 4519987"/>
                    <a:gd name="connsiteY105" fmla="*/ 1638300 h 4496940"/>
                    <a:gd name="connsiteX106" fmla="*/ 106702 w 4519987"/>
                    <a:gd name="connsiteY106" fmla="*/ 1590675 h 4496940"/>
                    <a:gd name="connsiteX107" fmla="*/ 135277 w 4519987"/>
                    <a:gd name="connsiteY107" fmla="*/ 1504950 h 4496940"/>
                    <a:gd name="connsiteX108" fmla="*/ 154327 w 4519987"/>
                    <a:gd name="connsiteY108" fmla="*/ 1419225 h 4496940"/>
                    <a:gd name="connsiteX109" fmla="*/ 230527 w 4519987"/>
                    <a:gd name="connsiteY109" fmla="*/ 1276350 h 4496940"/>
                    <a:gd name="connsiteX110" fmla="*/ 240052 w 4519987"/>
                    <a:gd name="connsiteY110" fmla="*/ 1247775 h 4496940"/>
                    <a:gd name="connsiteX111" fmla="*/ 268627 w 4519987"/>
                    <a:gd name="connsiteY111" fmla="*/ 1200150 h 4496940"/>
                    <a:gd name="connsiteX112" fmla="*/ 287677 w 4519987"/>
                    <a:gd name="connsiteY112" fmla="*/ 1152525 h 4496940"/>
                    <a:gd name="connsiteX113" fmla="*/ 316252 w 4519987"/>
                    <a:gd name="connsiteY113" fmla="*/ 1114425 h 4496940"/>
                    <a:gd name="connsiteX114" fmla="*/ 363877 w 4519987"/>
                    <a:gd name="connsiteY114" fmla="*/ 1038225 h 4496940"/>
                    <a:gd name="connsiteX115" fmla="*/ 382927 w 4519987"/>
                    <a:gd name="connsiteY115" fmla="*/ 1009650 h 4496940"/>
                    <a:gd name="connsiteX116" fmla="*/ 440077 w 4519987"/>
                    <a:gd name="connsiteY116" fmla="*/ 904875 h 4496940"/>
                    <a:gd name="connsiteX117" fmla="*/ 478177 w 4519987"/>
                    <a:gd name="connsiteY117" fmla="*/ 857250 h 4496940"/>
                    <a:gd name="connsiteX118" fmla="*/ 497227 w 4519987"/>
                    <a:gd name="connsiteY118" fmla="*/ 828675 h 4496940"/>
                    <a:gd name="connsiteX119" fmla="*/ 535327 w 4519987"/>
                    <a:gd name="connsiteY119" fmla="*/ 800100 h 4496940"/>
                    <a:gd name="connsiteX120" fmla="*/ 602002 w 4519987"/>
                    <a:gd name="connsiteY120" fmla="*/ 733425 h 4496940"/>
                    <a:gd name="connsiteX121" fmla="*/ 668677 w 4519987"/>
                    <a:gd name="connsiteY121" fmla="*/ 676275 h 4496940"/>
                    <a:gd name="connsiteX122" fmla="*/ 697252 w 4519987"/>
                    <a:gd name="connsiteY122" fmla="*/ 657225 h 4496940"/>
                    <a:gd name="connsiteX123" fmla="*/ 840127 w 4519987"/>
                    <a:gd name="connsiteY123" fmla="*/ 533400 h 4496940"/>
                    <a:gd name="connsiteX124" fmla="*/ 887752 w 4519987"/>
                    <a:gd name="connsiteY124" fmla="*/ 504825 h 4496940"/>
                    <a:gd name="connsiteX125" fmla="*/ 1167152 w 4519987"/>
                    <a:gd name="connsiteY125" fmla="*/ 311150 h 4496940"/>
                    <a:gd name="connsiteX126" fmla="*/ 1268752 w 4519987"/>
                    <a:gd name="connsiteY126" fmla="*/ 285750 h 4496940"/>
                    <a:gd name="connsiteX127" fmla="*/ 1411627 w 4519987"/>
                    <a:gd name="connsiteY127" fmla="*/ 190500 h 4496940"/>
                    <a:gd name="connsiteX128" fmla="*/ 1449727 w 4519987"/>
                    <a:gd name="connsiteY128" fmla="*/ 161925 h 4496940"/>
                    <a:gd name="connsiteX129" fmla="*/ 1525927 w 4519987"/>
                    <a:gd name="connsiteY129" fmla="*/ 152400 h 4496940"/>
                    <a:gd name="connsiteX130" fmla="*/ 1583077 w 4519987"/>
                    <a:gd name="connsiteY130" fmla="*/ 142875 h 4496940"/>
                    <a:gd name="connsiteX131" fmla="*/ 1716427 w 4519987"/>
                    <a:gd name="connsiteY131" fmla="*/ 123825 h 4496940"/>
                    <a:gd name="connsiteX132" fmla="*/ 1811677 w 4519987"/>
                    <a:gd name="connsiteY132" fmla="*/ 114300 h 4496940"/>
                    <a:gd name="connsiteX133" fmla="*/ 1859302 w 4519987"/>
                    <a:gd name="connsiteY133" fmla="*/ 104775 h 4496940"/>
                    <a:gd name="connsiteX134" fmla="*/ 1916452 w 4519987"/>
                    <a:gd name="connsiteY134" fmla="*/ 95250 h 4496940"/>
                    <a:gd name="connsiteX135" fmla="*/ 2030752 w 4519987"/>
                    <a:gd name="connsiteY135" fmla="*/ 66675 h 4496940"/>
                    <a:gd name="connsiteX136" fmla="*/ 2097427 w 4519987"/>
                    <a:gd name="connsiteY136" fmla="*/ 47625 h 4496940"/>
                    <a:gd name="connsiteX137" fmla="*/ 2164102 w 4519987"/>
                    <a:gd name="connsiteY137" fmla="*/ 38100 h 4496940"/>
                    <a:gd name="connsiteX138" fmla="*/ 2392702 w 4519987"/>
                    <a:gd name="connsiteY13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869077 w 4519987"/>
                    <a:gd name="connsiteY39" fmla="*/ 3724275 h 4496940"/>
                    <a:gd name="connsiteX40" fmla="*/ 3792877 w 4519987"/>
                    <a:gd name="connsiteY40" fmla="*/ 3781425 h 4496940"/>
                    <a:gd name="connsiteX41" fmla="*/ 3783352 w 4519987"/>
                    <a:gd name="connsiteY41" fmla="*/ 3810000 h 4496940"/>
                    <a:gd name="connsiteX42" fmla="*/ 3745252 w 4519987"/>
                    <a:gd name="connsiteY42" fmla="*/ 3819525 h 4496940"/>
                    <a:gd name="connsiteX43" fmla="*/ 3678577 w 4519987"/>
                    <a:gd name="connsiteY43" fmla="*/ 3848100 h 4496940"/>
                    <a:gd name="connsiteX44" fmla="*/ 3659527 w 4519987"/>
                    <a:gd name="connsiteY44" fmla="*/ 3971925 h 4496940"/>
                    <a:gd name="connsiteX45" fmla="*/ 3630952 w 4519987"/>
                    <a:gd name="connsiteY45" fmla="*/ 4010025 h 4496940"/>
                    <a:gd name="connsiteX46" fmla="*/ 3621427 w 4519987"/>
                    <a:gd name="connsiteY46" fmla="*/ 4038600 h 4496940"/>
                    <a:gd name="connsiteX47" fmla="*/ 3554752 w 4519987"/>
                    <a:gd name="connsiteY47" fmla="*/ 4095750 h 4496940"/>
                    <a:gd name="connsiteX48" fmla="*/ 3516652 w 4519987"/>
                    <a:gd name="connsiteY48" fmla="*/ 4114800 h 4496940"/>
                    <a:gd name="connsiteX49" fmla="*/ 3497602 w 4519987"/>
                    <a:gd name="connsiteY49" fmla="*/ 4143375 h 4496940"/>
                    <a:gd name="connsiteX50" fmla="*/ 3383302 w 4519987"/>
                    <a:gd name="connsiteY50" fmla="*/ 4210050 h 4496940"/>
                    <a:gd name="connsiteX51" fmla="*/ 3335677 w 4519987"/>
                    <a:gd name="connsiteY51" fmla="*/ 4238625 h 4496940"/>
                    <a:gd name="connsiteX52" fmla="*/ 3288052 w 4519987"/>
                    <a:gd name="connsiteY52" fmla="*/ 4248150 h 4496940"/>
                    <a:gd name="connsiteX53" fmla="*/ 3240427 w 4519987"/>
                    <a:gd name="connsiteY53" fmla="*/ 4267200 h 4496940"/>
                    <a:gd name="connsiteX54" fmla="*/ 3068977 w 4519987"/>
                    <a:gd name="connsiteY54" fmla="*/ 4286250 h 4496940"/>
                    <a:gd name="connsiteX55" fmla="*/ 2935627 w 4519987"/>
                    <a:gd name="connsiteY55" fmla="*/ 4333875 h 4496940"/>
                    <a:gd name="connsiteX56" fmla="*/ 2811802 w 4519987"/>
                    <a:gd name="connsiteY56" fmla="*/ 4371975 h 4496940"/>
                    <a:gd name="connsiteX57" fmla="*/ 2745127 w 4519987"/>
                    <a:gd name="connsiteY57" fmla="*/ 4410075 h 4496940"/>
                    <a:gd name="connsiteX58" fmla="*/ 2697502 w 4519987"/>
                    <a:gd name="connsiteY58" fmla="*/ 4429125 h 4496940"/>
                    <a:gd name="connsiteX59" fmla="*/ 2640352 w 4519987"/>
                    <a:gd name="connsiteY59" fmla="*/ 4457700 h 4496940"/>
                    <a:gd name="connsiteX60" fmla="*/ 2583202 w 4519987"/>
                    <a:gd name="connsiteY60" fmla="*/ 4467225 h 4496940"/>
                    <a:gd name="connsiteX61" fmla="*/ 2545102 w 4519987"/>
                    <a:gd name="connsiteY61" fmla="*/ 4486275 h 4496940"/>
                    <a:gd name="connsiteX62" fmla="*/ 2306977 w 4519987"/>
                    <a:gd name="connsiteY62" fmla="*/ 4476750 h 4496940"/>
                    <a:gd name="connsiteX63" fmla="*/ 2202202 w 4519987"/>
                    <a:gd name="connsiteY63" fmla="*/ 4457700 h 4496940"/>
                    <a:gd name="connsiteX64" fmla="*/ 2126002 w 4519987"/>
                    <a:gd name="connsiteY64" fmla="*/ 4429125 h 4496940"/>
                    <a:gd name="connsiteX65" fmla="*/ 1935502 w 4519987"/>
                    <a:gd name="connsiteY65" fmla="*/ 4400550 h 4496940"/>
                    <a:gd name="connsiteX66" fmla="*/ 1821202 w 4519987"/>
                    <a:gd name="connsiteY66" fmla="*/ 4371975 h 4496940"/>
                    <a:gd name="connsiteX67" fmla="*/ 1754527 w 4519987"/>
                    <a:gd name="connsiteY67" fmla="*/ 4352925 h 4496940"/>
                    <a:gd name="connsiteX68" fmla="*/ 1687852 w 4519987"/>
                    <a:gd name="connsiteY68" fmla="*/ 4343400 h 4496940"/>
                    <a:gd name="connsiteX69" fmla="*/ 1573552 w 4519987"/>
                    <a:gd name="connsiteY69" fmla="*/ 4305300 h 4496940"/>
                    <a:gd name="connsiteX70" fmla="*/ 1402102 w 4519987"/>
                    <a:gd name="connsiteY70" fmla="*/ 4276725 h 4496940"/>
                    <a:gd name="connsiteX71" fmla="*/ 1287802 w 4519987"/>
                    <a:gd name="connsiteY71" fmla="*/ 4229100 h 4496940"/>
                    <a:gd name="connsiteX72" fmla="*/ 1221127 w 4519987"/>
                    <a:gd name="connsiteY72" fmla="*/ 4200525 h 4496940"/>
                    <a:gd name="connsiteX73" fmla="*/ 1144927 w 4519987"/>
                    <a:gd name="connsiteY73" fmla="*/ 4171950 h 4496940"/>
                    <a:gd name="connsiteX74" fmla="*/ 1087777 w 4519987"/>
                    <a:gd name="connsiteY74" fmla="*/ 4143375 h 4496940"/>
                    <a:gd name="connsiteX75" fmla="*/ 1030627 w 4519987"/>
                    <a:gd name="connsiteY75" fmla="*/ 4124325 h 4496940"/>
                    <a:gd name="connsiteX76" fmla="*/ 925852 w 4519987"/>
                    <a:gd name="connsiteY76" fmla="*/ 4067175 h 4496940"/>
                    <a:gd name="connsiteX77" fmla="*/ 830602 w 4519987"/>
                    <a:gd name="connsiteY77" fmla="*/ 3981450 h 4496940"/>
                    <a:gd name="connsiteX78" fmla="*/ 763927 w 4519987"/>
                    <a:gd name="connsiteY78" fmla="*/ 3914775 h 4496940"/>
                    <a:gd name="connsiteX79" fmla="*/ 725827 w 4519987"/>
                    <a:gd name="connsiteY79" fmla="*/ 3876675 h 4496940"/>
                    <a:gd name="connsiteX80" fmla="*/ 697252 w 4519987"/>
                    <a:gd name="connsiteY80" fmla="*/ 3838575 h 4496940"/>
                    <a:gd name="connsiteX81" fmla="*/ 640102 w 4519987"/>
                    <a:gd name="connsiteY81" fmla="*/ 3781425 h 4496940"/>
                    <a:gd name="connsiteX82" fmla="*/ 611527 w 4519987"/>
                    <a:gd name="connsiteY82" fmla="*/ 3733800 h 4496940"/>
                    <a:gd name="connsiteX83" fmla="*/ 554377 w 4519987"/>
                    <a:gd name="connsiteY83" fmla="*/ 3657600 h 4496940"/>
                    <a:gd name="connsiteX84" fmla="*/ 525802 w 4519987"/>
                    <a:gd name="connsiteY84" fmla="*/ 3609975 h 4496940"/>
                    <a:gd name="connsiteX85" fmla="*/ 497227 w 4519987"/>
                    <a:gd name="connsiteY85" fmla="*/ 3552825 h 4496940"/>
                    <a:gd name="connsiteX86" fmla="*/ 440077 w 4519987"/>
                    <a:gd name="connsiteY86" fmla="*/ 3495675 h 4496940"/>
                    <a:gd name="connsiteX87" fmla="*/ 411502 w 4519987"/>
                    <a:gd name="connsiteY87" fmla="*/ 3448050 h 4496940"/>
                    <a:gd name="connsiteX88" fmla="*/ 278152 w 4519987"/>
                    <a:gd name="connsiteY88" fmla="*/ 3257550 h 4496940"/>
                    <a:gd name="connsiteX89" fmla="*/ 249577 w 4519987"/>
                    <a:gd name="connsiteY89" fmla="*/ 3200400 h 4496940"/>
                    <a:gd name="connsiteX90" fmla="*/ 240052 w 4519987"/>
                    <a:gd name="connsiteY90" fmla="*/ 3162300 h 4496940"/>
                    <a:gd name="connsiteX91" fmla="*/ 221002 w 4519987"/>
                    <a:gd name="connsiteY91" fmla="*/ 3105150 h 4496940"/>
                    <a:gd name="connsiteX92" fmla="*/ 173377 w 4519987"/>
                    <a:gd name="connsiteY92" fmla="*/ 3019425 h 4496940"/>
                    <a:gd name="connsiteX93" fmla="*/ 144802 w 4519987"/>
                    <a:gd name="connsiteY93" fmla="*/ 2924175 h 4496940"/>
                    <a:gd name="connsiteX94" fmla="*/ 68602 w 4519987"/>
                    <a:gd name="connsiteY94" fmla="*/ 2724150 h 4496940"/>
                    <a:gd name="connsiteX95" fmla="*/ 49552 w 4519987"/>
                    <a:gd name="connsiteY95" fmla="*/ 2638425 h 4496940"/>
                    <a:gd name="connsiteX96" fmla="*/ 40027 w 4519987"/>
                    <a:gd name="connsiteY96" fmla="*/ 2562225 h 4496940"/>
                    <a:gd name="connsiteX97" fmla="*/ 30502 w 4519987"/>
                    <a:gd name="connsiteY97" fmla="*/ 2514600 h 4496940"/>
                    <a:gd name="connsiteX98" fmla="*/ 11452 w 4519987"/>
                    <a:gd name="connsiteY98" fmla="*/ 2400300 h 4496940"/>
                    <a:gd name="connsiteX99" fmla="*/ 20977 w 4519987"/>
                    <a:gd name="connsiteY99" fmla="*/ 1905000 h 4496940"/>
                    <a:gd name="connsiteX100" fmla="*/ 30502 w 4519987"/>
                    <a:gd name="connsiteY100" fmla="*/ 1838325 h 4496940"/>
                    <a:gd name="connsiteX101" fmla="*/ 49552 w 4519987"/>
                    <a:gd name="connsiteY101" fmla="*/ 1781175 h 4496940"/>
                    <a:gd name="connsiteX102" fmla="*/ 59077 w 4519987"/>
                    <a:gd name="connsiteY102" fmla="*/ 1743075 h 4496940"/>
                    <a:gd name="connsiteX103" fmla="*/ 78127 w 4519987"/>
                    <a:gd name="connsiteY103" fmla="*/ 1685925 h 4496940"/>
                    <a:gd name="connsiteX104" fmla="*/ 87652 w 4519987"/>
                    <a:gd name="connsiteY104" fmla="*/ 1638300 h 4496940"/>
                    <a:gd name="connsiteX105" fmla="*/ 106702 w 4519987"/>
                    <a:gd name="connsiteY105" fmla="*/ 1590675 h 4496940"/>
                    <a:gd name="connsiteX106" fmla="*/ 135277 w 4519987"/>
                    <a:gd name="connsiteY106" fmla="*/ 1504950 h 4496940"/>
                    <a:gd name="connsiteX107" fmla="*/ 154327 w 4519987"/>
                    <a:gd name="connsiteY107" fmla="*/ 1419225 h 4496940"/>
                    <a:gd name="connsiteX108" fmla="*/ 230527 w 4519987"/>
                    <a:gd name="connsiteY108" fmla="*/ 1276350 h 4496940"/>
                    <a:gd name="connsiteX109" fmla="*/ 240052 w 4519987"/>
                    <a:gd name="connsiteY109" fmla="*/ 1247775 h 4496940"/>
                    <a:gd name="connsiteX110" fmla="*/ 268627 w 4519987"/>
                    <a:gd name="connsiteY110" fmla="*/ 1200150 h 4496940"/>
                    <a:gd name="connsiteX111" fmla="*/ 287677 w 4519987"/>
                    <a:gd name="connsiteY111" fmla="*/ 1152525 h 4496940"/>
                    <a:gd name="connsiteX112" fmla="*/ 316252 w 4519987"/>
                    <a:gd name="connsiteY112" fmla="*/ 1114425 h 4496940"/>
                    <a:gd name="connsiteX113" fmla="*/ 363877 w 4519987"/>
                    <a:gd name="connsiteY113" fmla="*/ 1038225 h 4496940"/>
                    <a:gd name="connsiteX114" fmla="*/ 382927 w 4519987"/>
                    <a:gd name="connsiteY114" fmla="*/ 1009650 h 4496940"/>
                    <a:gd name="connsiteX115" fmla="*/ 440077 w 4519987"/>
                    <a:gd name="connsiteY115" fmla="*/ 904875 h 4496940"/>
                    <a:gd name="connsiteX116" fmla="*/ 478177 w 4519987"/>
                    <a:gd name="connsiteY116" fmla="*/ 857250 h 4496940"/>
                    <a:gd name="connsiteX117" fmla="*/ 497227 w 4519987"/>
                    <a:gd name="connsiteY117" fmla="*/ 828675 h 4496940"/>
                    <a:gd name="connsiteX118" fmla="*/ 535327 w 4519987"/>
                    <a:gd name="connsiteY118" fmla="*/ 800100 h 4496940"/>
                    <a:gd name="connsiteX119" fmla="*/ 602002 w 4519987"/>
                    <a:gd name="connsiteY119" fmla="*/ 733425 h 4496940"/>
                    <a:gd name="connsiteX120" fmla="*/ 668677 w 4519987"/>
                    <a:gd name="connsiteY120" fmla="*/ 676275 h 4496940"/>
                    <a:gd name="connsiteX121" fmla="*/ 697252 w 4519987"/>
                    <a:gd name="connsiteY121" fmla="*/ 657225 h 4496940"/>
                    <a:gd name="connsiteX122" fmla="*/ 840127 w 4519987"/>
                    <a:gd name="connsiteY122" fmla="*/ 533400 h 4496940"/>
                    <a:gd name="connsiteX123" fmla="*/ 887752 w 4519987"/>
                    <a:gd name="connsiteY123" fmla="*/ 504825 h 4496940"/>
                    <a:gd name="connsiteX124" fmla="*/ 1167152 w 4519987"/>
                    <a:gd name="connsiteY124" fmla="*/ 311150 h 4496940"/>
                    <a:gd name="connsiteX125" fmla="*/ 1268752 w 4519987"/>
                    <a:gd name="connsiteY125" fmla="*/ 285750 h 4496940"/>
                    <a:gd name="connsiteX126" fmla="*/ 1411627 w 4519987"/>
                    <a:gd name="connsiteY126" fmla="*/ 190500 h 4496940"/>
                    <a:gd name="connsiteX127" fmla="*/ 1449727 w 4519987"/>
                    <a:gd name="connsiteY127" fmla="*/ 161925 h 4496940"/>
                    <a:gd name="connsiteX128" fmla="*/ 1525927 w 4519987"/>
                    <a:gd name="connsiteY128" fmla="*/ 152400 h 4496940"/>
                    <a:gd name="connsiteX129" fmla="*/ 1583077 w 4519987"/>
                    <a:gd name="connsiteY129" fmla="*/ 142875 h 4496940"/>
                    <a:gd name="connsiteX130" fmla="*/ 1716427 w 4519987"/>
                    <a:gd name="connsiteY130" fmla="*/ 123825 h 4496940"/>
                    <a:gd name="connsiteX131" fmla="*/ 1811677 w 4519987"/>
                    <a:gd name="connsiteY131" fmla="*/ 114300 h 4496940"/>
                    <a:gd name="connsiteX132" fmla="*/ 1859302 w 4519987"/>
                    <a:gd name="connsiteY132" fmla="*/ 104775 h 4496940"/>
                    <a:gd name="connsiteX133" fmla="*/ 1916452 w 4519987"/>
                    <a:gd name="connsiteY133" fmla="*/ 95250 h 4496940"/>
                    <a:gd name="connsiteX134" fmla="*/ 2030752 w 4519987"/>
                    <a:gd name="connsiteY134" fmla="*/ 66675 h 4496940"/>
                    <a:gd name="connsiteX135" fmla="*/ 2097427 w 4519987"/>
                    <a:gd name="connsiteY135" fmla="*/ 47625 h 4496940"/>
                    <a:gd name="connsiteX136" fmla="*/ 2164102 w 4519987"/>
                    <a:gd name="connsiteY136" fmla="*/ 38100 h 4496940"/>
                    <a:gd name="connsiteX137" fmla="*/ 2392702 w 4519987"/>
                    <a:gd name="connsiteY13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745252 w 4519987"/>
                    <a:gd name="connsiteY41" fmla="*/ 3819525 h 4496940"/>
                    <a:gd name="connsiteX42" fmla="*/ 3678577 w 4519987"/>
                    <a:gd name="connsiteY42" fmla="*/ 3848100 h 4496940"/>
                    <a:gd name="connsiteX43" fmla="*/ 3659527 w 4519987"/>
                    <a:gd name="connsiteY43" fmla="*/ 3971925 h 4496940"/>
                    <a:gd name="connsiteX44" fmla="*/ 3630952 w 4519987"/>
                    <a:gd name="connsiteY44" fmla="*/ 4010025 h 4496940"/>
                    <a:gd name="connsiteX45" fmla="*/ 3621427 w 4519987"/>
                    <a:gd name="connsiteY45" fmla="*/ 4038600 h 4496940"/>
                    <a:gd name="connsiteX46" fmla="*/ 3554752 w 4519987"/>
                    <a:gd name="connsiteY46" fmla="*/ 4095750 h 4496940"/>
                    <a:gd name="connsiteX47" fmla="*/ 3516652 w 4519987"/>
                    <a:gd name="connsiteY47" fmla="*/ 4114800 h 4496940"/>
                    <a:gd name="connsiteX48" fmla="*/ 3497602 w 4519987"/>
                    <a:gd name="connsiteY48" fmla="*/ 4143375 h 4496940"/>
                    <a:gd name="connsiteX49" fmla="*/ 3383302 w 4519987"/>
                    <a:gd name="connsiteY49" fmla="*/ 4210050 h 4496940"/>
                    <a:gd name="connsiteX50" fmla="*/ 3335677 w 4519987"/>
                    <a:gd name="connsiteY50" fmla="*/ 4238625 h 4496940"/>
                    <a:gd name="connsiteX51" fmla="*/ 3288052 w 4519987"/>
                    <a:gd name="connsiteY51" fmla="*/ 4248150 h 4496940"/>
                    <a:gd name="connsiteX52" fmla="*/ 3240427 w 4519987"/>
                    <a:gd name="connsiteY52" fmla="*/ 4267200 h 4496940"/>
                    <a:gd name="connsiteX53" fmla="*/ 3068977 w 4519987"/>
                    <a:gd name="connsiteY53" fmla="*/ 4286250 h 4496940"/>
                    <a:gd name="connsiteX54" fmla="*/ 2935627 w 4519987"/>
                    <a:gd name="connsiteY54" fmla="*/ 4333875 h 4496940"/>
                    <a:gd name="connsiteX55" fmla="*/ 2811802 w 4519987"/>
                    <a:gd name="connsiteY55" fmla="*/ 4371975 h 4496940"/>
                    <a:gd name="connsiteX56" fmla="*/ 2745127 w 4519987"/>
                    <a:gd name="connsiteY56" fmla="*/ 4410075 h 4496940"/>
                    <a:gd name="connsiteX57" fmla="*/ 2697502 w 4519987"/>
                    <a:gd name="connsiteY57" fmla="*/ 4429125 h 4496940"/>
                    <a:gd name="connsiteX58" fmla="*/ 2640352 w 4519987"/>
                    <a:gd name="connsiteY58" fmla="*/ 4457700 h 4496940"/>
                    <a:gd name="connsiteX59" fmla="*/ 2583202 w 4519987"/>
                    <a:gd name="connsiteY59" fmla="*/ 4467225 h 4496940"/>
                    <a:gd name="connsiteX60" fmla="*/ 2545102 w 4519987"/>
                    <a:gd name="connsiteY60" fmla="*/ 4486275 h 4496940"/>
                    <a:gd name="connsiteX61" fmla="*/ 2306977 w 4519987"/>
                    <a:gd name="connsiteY61" fmla="*/ 4476750 h 4496940"/>
                    <a:gd name="connsiteX62" fmla="*/ 2202202 w 4519987"/>
                    <a:gd name="connsiteY62" fmla="*/ 4457700 h 4496940"/>
                    <a:gd name="connsiteX63" fmla="*/ 2126002 w 4519987"/>
                    <a:gd name="connsiteY63" fmla="*/ 4429125 h 4496940"/>
                    <a:gd name="connsiteX64" fmla="*/ 1935502 w 4519987"/>
                    <a:gd name="connsiteY64" fmla="*/ 4400550 h 4496940"/>
                    <a:gd name="connsiteX65" fmla="*/ 1821202 w 4519987"/>
                    <a:gd name="connsiteY65" fmla="*/ 4371975 h 4496940"/>
                    <a:gd name="connsiteX66" fmla="*/ 1754527 w 4519987"/>
                    <a:gd name="connsiteY66" fmla="*/ 4352925 h 4496940"/>
                    <a:gd name="connsiteX67" fmla="*/ 1687852 w 4519987"/>
                    <a:gd name="connsiteY67" fmla="*/ 4343400 h 4496940"/>
                    <a:gd name="connsiteX68" fmla="*/ 1573552 w 4519987"/>
                    <a:gd name="connsiteY68" fmla="*/ 4305300 h 4496940"/>
                    <a:gd name="connsiteX69" fmla="*/ 1402102 w 4519987"/>
                    <a:gd name="connsiteY69" fmla="*/ 4276725 h 4496940"/>
                    <a:gd name="connsiteX70" fmla="*/ 1287802 w 4519987"/>
                    <a:gd name="connsiteY70" fmla="*/ 4229100 h 4496940"/>
                    <a:gd name="connsiteX71" fmla="*/ 1221127 w 4519987"/>
                    <a:gd name="connsiteY71" fmla="*/ 4200525 h 4496940"/>
                    <a:gd name="connsiteX72" fmla="*/ 1144927 w 4519987"/>
                    <a:gd name="connsiteY72" fmla="*/ 4171950 h 4496940"/>
                    <a:gd name="connsiteX73" fmla="*/ 1087777 w 4519987"/>
                    <a:gd name="connsiteY73" fmla="*/ 4143375 h 4496940"/>
                    <a:gd name="connsiteX74" fmla="*/ 1030627 w 4519987"/>
                    <a:gd name="connsiteY74" fmla="*/ 4124325 h 4496940"/>
                    <a:gd name="connsiteX75" fmla="*/ 925852 w 4519987"/>
                    <a:gd name="connsiteY75" fmla="*/ 4067175 h 4496940"/>
                    <a:gd name="connsiteX76" fmla="*/ 830602 w 4519987"/>
                    <a:gd name="connsiteY76" fmla="*/ 3981450 h 4496940"/>
                    <a:gd name="connsiteX77" fmla="*/ 763927 w 4519987"/>
                    <a:gd name="connsiteY77" fmla="*/ 3914775 h 4496940"/>
                    <a:gd name="connsiteX78" fmla="*/ 725827 w 4519987"/>
                    <a:gd name="connsiteY78" fmla="*/ 3876675 h 4496940"/>
                    <a:gd name="connsiteX79" fmla="*/ 697252 w 4519987"/>
                    <a:gd name="connsiteY79" fmla="*/ 3838575 h 4496940"/>
                    <a:gd name="connsiteX80" fmla="*/ 640102 w 4519987"/>
                    <a:gd name="connsiteY80" fmla="*/ 3781425 h 4496940"/>
                    <a:gd name="connsiteX81" fmla="*/ 611527 w 4519987"/>
                    <a:gd name="connsiteY81" fmla="*/ 3733800 h 4496940"/>
                    <a:gd name="connsiteX82" fmla="*/ 554377 w 4519987"/>
                    <a:gd name="connsiteY82" fmla="*/ 3657600 h 4496940"/>
                    <a:gd name="connsiteX83" fmla="*/ 525802 w 4519987"/>
                    <a:gd name="connsiteY83" fmla="*/ 3609975 h 4496940"/>
                    <a:gd name="connsiteX84" fmla="*/ 497227 w 4519987"/>
                    <a:gd name="connsiteY84" fmla="*/ 3552825 h 4496940"/>
                    <a:gd name="connsiteX85" fmla="*/ 440077 w 4519987"/>
                    <a:gd name="connsiteY85" fmla="*/ 3495675 h 4496940"/>
                    <a:gd name="connsiteX86" fmla="*/ 411502 w 4519987"/>
                    <a:gd name="connsiteY86" fmla="*/ 3448050 h 4496940"/>
                    <a:gd name="connsiteX87" fmla="*/ 278152 w 4519987"/>
                    <a:gd name="connsiteY87" fmla="*/ 3257550 h 4496940"/>
                    <a:gd name="connsiteX88" fmla="*/ 249577 w 4519987"/>
                    <a:gd name="connsiteY88" fmla="*/ 3200400 h 4496940"/>
                    <a:gd name="connsiteX89" fmla="*/ 240052 w 4519987"/>
                    <a:gd name="connsiteY89" fmla="*/ 3162300 h 4496940"/>
                    <a:gd name="connsiteX90" fmla="*/ 221002 w 4519987"/>
                    <a:gd name="connsiteY90" fmla="*/ 3105150 h 4496940"/>
                    <a:gd name="connsiteX91" fmla="*/ 173377 w 4519987"/>
                    <a:gd name="connsiteY91" fmla="*/ 3019425 h 4496940"/>
                    <a:gd name="connsiteX92" fmla="*/ 144802 w 4519987"/>
                    <a:gd name="connsiteY92" fmla="*/ 2924175 h 4496940"/>
                    <a:gd name="connsiteX93" fmla="*/ 68602 w 4519987"/>
                    <a:gd name="connsiteY93" fmla="*/ 2724150 h 4496940"/>
                    <a:gd name="connsiteX94" fmla="*/ 49552 w 4519987"/>
                    <a:gd name="connsiteY94" fmla="*/ 2638425 h 4496940"/>
                    <a:gd name="connsiteX95" fmla="*/ 40027 w 4519987"/>
                    <a:gd name="connsiteY95" fmla="*/ 2562225 h 4496940"/>
                    <a:gd name="connsiteX96" fmla="*/ 30502 w 4519987"/>
                    <a:gd name="connsiteY96" fmla="*/ 2514600 h 4496940"/>
                    <a:gd name="connsiteX97" fmla="*/ 11452 w 4519987"/>
                    <a:gd name="connsiteY97" fmla="*/ 2400300 h 4496940"/>
                    <a:gd name="connsiteX98" fmla="*/ 20977 w 4519987"/>
                    <a:gd name="connsiteY98" fmla="*/ 1905000 h 4496940"/>
                    <a:gd name="connsiteX99" fmla="*/ 30502 w 4519987"/>
                    <a:gd name="connsiteY99" fmla="*/ 1838325 h 4496940"/>
                    <a:gd name="connsiteX100" fmla="*/ 49552 w 4519987"/>
                    <a:gd name="connsiteY100" fmla="*/ 1781175 h 4496940"/>
                    <a:gd name="connsiteX101" fmla="*/ 59077 w 4519987"/>
                    <a:gd name="connsiteY101" fmla="*/ 1743075 h 4496940"/>
                    <a:gd name="connsiteX102" fmla="*/ 78127 w 4519987"/>
                    <a:gd name="connsiteY102" fmla="*/ 1685925 h 4496940"/>
                    <a:gd name="connsiteX103" fmla="*/ 87652 w 4519987"/>
                    <a:gd name="connsiteY103" fmla="*/ 1638300 h 4496940"/>
                    <a:gd name="connsiteX104" fmla="*/ 106702 w 4519987"/>
                    <a:gd name="connsiteY104" fmla="*/ 1590675 h 4496940"/>
                    <a:gd name="connsiteX105" fmla="*/ 135277 w 4519987"/>
                    <a:gd name="connsiteY105" fmla="*/ 1504950 h 4496940"/>
                    <a:gd name="connsiteX106" fmla="*/ 154327 w 4519987"/>
                    <a:gd name="connsiteY106" fmla="*/ 1419225 h 4496940"/>
                    <a:gd name="connsiteX107" fmla="*/ 230527 w 4519987"/>
                    <a:gd name="connsiteY107" fmla="*/ 1276350 h 4496940"/>
                    <a:gd name="connsiteX108" fmla="*/ 240052 w 4519987"/>
                    <a:gd name="connsiteY108" fmla="*/ 1247775 h 4496940"/>
                    <a:gd name="connsiteX109" fmla="*/ 268627 w 4519987"/>
                    <a:gd name="connsiteY109" fmla="*/ 1200150 h 4496940"/>
                    <a:gd name="connsiteX110" fmla="*/ 287677 w 4519987"/>
                    <a:gd name="connsiteY110" fmla="*/ 1152525 h 4496940"/>
                    <a:gd name="connsiteX111" fmla="*/ 316252 w 4519987"/>
                    <a:gd name="connsiteY111" fmla="*/ 1114425 h 4496940"/>
                    <a:gd name="connsiteX112" fmla="*/ 363877 w 4519987"/>
                    <a:gd name="connsiteY112" fmla="*/ 1038225 h 4496940"/>
                    <a:gd name="connsiteX113" fmla="*/ 382927 w 4519987"/>
                    <a:gd name="connsiteY113" fmla="*/ 1009650 h 4496940"/>
                    <a:gd name="connsiteX114" fmla="*/ 440077 w 4519987"/>
                    <a:gd name="connsiteY114" fmla="*/ 904875 h 4496940"/>
                    <a:gd name="connsiteX115" fmla="*/ 478177 w 4519987"/>
                    <a:gd name="connsiteY115" fmla="*/ 857250 h 4496940"/>
                    <a:gd name="connsiteX116" fmla="*/ 497227 w 4519987"/>
                    <a:gd name="connsiteY116" fmla="*/ 828675 h 4496940"/>
                    <a:gd name="connsiteX117" fmla="*/ 535327 w 4519987"/>
                    <a:gd name="connsiteY117" fmla="*/ 800100 h 4496940"/>
                    <a:gd name="connsiteX118" fmla="*/ 602002 w 4519987"/>
                    <a:gd name="connsiteY118" fmla="*/ 733425 h 4496940"/>
                    <a:gd name="connsiteX119" fmla="*/ 668677 w 4519987"/>
                    <a:gd name="connsiteY119" fmla="*/ 676275 h 4496940"/>
                    <a:gd name="connsiteX120" fmla="*/ 697252 w 4519987"/>
                    <a:gd name="connsiteY120" fmla="*/ 657225 h 4496940"/>
                    <a:gd name="connsiteX121" fmla="*/ 840127 w 4519987"/>
                    <a:gd name="connsiteY121" fmla="*/ 533400 h 4496940"/>
                    <a:gd name="connsiteX122" fmla="*/ 887752 w 4519987"/>
                    <a:gd name="connsiteY122" fmla="*/ 504825 h 4496940"/>
                    <a:gd name="connsiteX123" fmla="*/ 1167152 w 4519987"/>
                    <a:gd name="connsiteY123" fmla="*/ 311150 h 4496940"/>
                    <a:gd name="connsiteX124" fmla="*/ 1268752 w 4519987"/>
                    <a:gd name="connsiteY124" fmla="*/ 285750 h 4496940"/>
                    <a:gd name="connsiteX125" fmla="*/ 1411627 w 4519987"/>
                    <a:gd name="connsiteY125" fmla="*/ 190500 h 4496940"/>
                    <a:gd name="connsiteX126" fmla="*/ 1449727 w 4519987"/>
                    <a:gd name="connsiteY126" fmla="*/ 161925 h 4496940"/>
                    <a:gd name="connsiteX127" fmla="*/ 1525927 w 4519987"/>
                    <a:gd name="connsiteY127" fmla="*/ 152400 h 4496940"/>
                    <a:gd name="connsiteX128" fmla="*/ 1583077 w 4519987"/>
                    <a:gd name="connsiteY128" fmla="*/ 142875 h 4496940"/>
                    <a:gd name="connsiteX129" fmla="*/ 1716427 w 4519987"/>
                    <a:gd name="connsiteY129" fmla="*/ 123825 h 4496940"/>
                    <a:gd name="connsiteX130" fmla="*/ 1811677 w 4519987"/>
                    <a:gd name="connsiteY130" fmla="*/ 114300 h 4496940"/>
                    <a:gd name="connsiteX131" fmla="*/ 1859302 w 4519987"/>
                    <a:gd name="connsiteY131" fmla="*/ 104775 h 4496940"/>
                    <a:gd name="connsiteX132" fmla="*/ 1916452 w 4519987"/>
                    <a:gd name="connsiteY132" fmla="*/ 95250 h 4496940"/>
                    <a:gd name="connsiteX133" fmla="*/ 2030752 w 4519987"/>
                    <a:gd name="connsiteY133" fmla="*/ 66675 h 4496940"/>
                    <a:gd name="connsiteX134" fmla="*/ 2097427 w 4519987"/>
                    <a:gd name="connsiteY134" fmla="*/ 47625 h 4496940"/>
                    <a:gd name="connsiteX135" fmla="*/ 2164102 w 4519987"/>
                    <a:gd name="connsiteY135" fmla="*/ 38100 h 4496940"/>
                    <a:gd name="connsiteX136" fmla="*/ 2392702 w 4519987"/>
                    <a:gd name="connsiteY13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678577 w 4519987"/>
                    <a:gd name="connsiteY41" fmla="*/ 3848100 h 4496940"/>
                    <a:gd name="connsiteX42" fmla="*/ 3659527 w 4519987"/>
                    <a:gd name="connsiteY42" fmla="*/ 3971925 h 4496940"/>
                    <a:gd name="connsiteX43" fmla="*/ 3630952 w 4519987"/>
                    <a:gd name="connsiteY43" fmla="*/ 4010025 h 4496940"/>
                    <a:gd name="connsiteX44" fmla="*/ 3621427 w 4519987"/>
                    <a:gd name="connsiteY44" fmla="*/ 4038600 h 4496940"/>
                    <a:gd name="connsiteX45" fmla="*/ 3554752 w 4519987"/>
                    <a:gd name="connsiteY45" fmla="*/ 4095750 h 4496940"/>
                    <a:gd name="connsiteX46" fmla="*/ 3516652 w 4519987"/>
                    <a:gd name="connsiteY46" fmla="*/ 4114800 h 4496940"/>
                    <a:gd name="connsiteX47" fmla="*/ 3497602 w 4519987"/>
                    <a:gd name="connsiteY47" fmla="*/ 4143375 h 4496940"/>
                    <a:gd name="connsiteX48" fmla="*/ 3383302 w 4519987"/>
                    <a:gd name="connsiteY48" fmla="*/ 4210050 h 4496940"/>
                    <a:gd name="connsiteX49" fmla="*/ 3335677 w 4519987"/>
                    <a:gd name="connsiteY49" fmla="*/ 4238625 h 4496940"/>
                    <a:gd name="connsiteX50" fmla="*/ 3288052 w 4519987"/>
                    <a:gd name="connsiteY50" fmla="*/ 4248150 h 4496940"/>
                    <a:gd name="connsiteX51" fmla="*/ 3240427 w 4519987"/>
                    <a:gd name="connsiteY51" fmla="*/ 4267200 h 4496940"/>
                    <a:gd name="connsiteX52" fmla="*/ 3068977 w 4519987"/>
                    <a:gd name="connsiteY52" fmla="*/ 4286250 h 4496940"/>
                    <a:gd name="connsiteX53" fmla="*/ 2935627 w 4519987"/>
                    <a:gd name="connsiteY53" fmla="*/ 4333875 h 4496940"/>
                    <a:gd name="connsiteX54" fmla="*/ 2811802 w 4519987"/>
                    <a:gd name="connsiteY54" fmla="*/ 4371975 h 4496940"/>
                    <a:gd name="connsiteX55" fmla="*/ 2745127 w 4519987"/>
                    <a:gd name="connsiteY55" fmla="*/ 4410075 h 4496940"/>
                    <a:gd name="connsiteX56" fmla="*/ 2697502 w 4519987"/>
                    <a:gd name="connsiteY56" fmla="*/ 4429125 h 4496940"/>
                    <a:gd name="connsiteX57" fmla="*/ 2640352 w 4519987"/>
                    <a:gd name="connsiteY57" fmla="*/ 4457700 h 4496940"/>
                    <a:gd name="connsiteX58" fmla="*/ 2583202 w 4519987"/>
                    <a:gd name="connsiteY58" fmla="*/ 4467225 h 4496940"/>
                    <a:gd name="connsiteX59" fmla="*/ 2545102 w 4519987"/>
                    <a:gd name="connsiteY59" fmla="*/ 4486275 h 4496940"/>
                    <a:gd name="connsiteX60" fmla="*/ 2306977 w 4519987"/>
                    <a:gd name="connsiteY60" fmla="*/ 4476750 h 4496940"/>
                    <a:gd name="connsiteX61" fmla="*/ 2202202 w 4519987"/>
                    <a:gd name="connsiteY61" fmla="*/ 4457700 h 4496940"/>
                    <a:gd name="connsiteX62" fmla="*/ 2126002 w 4519987"/>
                    <a:gd name="connsiteY62" fmla="*/ 4429125 h 4496940"/>
                    <a:gd name="connsiteX63" fmla="*/ 1935502 w 4519987"/>
                    <a:gd name="connsiteY63" fmla="*/ 4400550 h 4496940"/>
                    <a:gd name="connsiteX64" fmla="*/ 1821202 w 4519987"/>
                    <a:gd name="connsiteY64" fmla="*/ 4371975 h 4496940"/>
                    <a:gd name="connsiteX65" fmla="*/ 1754527 w 4519987"/>
                    <a:gd name="connsiteY65" fmla="*/ 4352925 h 4496940"/>
                    <a:gd name="connsiteX66" fmla="*/ 1687852 w 4519987"/>
                    <a:gd name="connsiteY66" fmla="*/ 4343400 h 4496940"/>
                    <a:gd name="connsiteX67" fmla="*/ 1573552 w 4519987"/>
                    <a:gd name="connsiteY67" fmla="*/ 4305300 h 4496940"/>
                    <a:gd name="connsiteX68" fmla="*/ 1402102 w 4519987"/>
                    <a:gd name="connsiteY68" fmla="*/ 4276725 h 4496940"/>
                    <a:gd name="connsiteX69" fmla="*/ 1287802 w 4519987"/>
                    <a:gd name="connsiteY69" fmla="*/ 4229100 h 4496940"/>
                    <a:gd name="connsiteX70" fmla="*/ 1221127 w 4519987"/>
                    <a:gd name="connsiteY70" fmla="*/ 4200525 h 4496940"/>
                    <a:gd name="connsiteX71" fmla="*/ 1144927 w 4519987"/>
                    <a:gd name="connsiteY71" fmla="*/ 4171950 h 4496940"/>
                    <a:gd name="connsiteX72" fmla="*/ 1087777 w 4519987"/>
                    <a:gd name="connsiteY72" fmla="*/ 4143375 h 4496940"/>
                    <a:gd name="connsiteX73" fmla="*/ 1030627 w 4519987"/>
                    <a:gd name="connsiteY73" fmla="*/ 4124325 h 4496940"/>
                    <a:gd name="connsiteX74" fmla="*/ 925852 w 4519987"/>
                    <a:gd name="connsiteY74" fmla="*/ 4067175 h 4496940"/>
                    <a:gd name="connsiteX75" fmla="*/ 830602 w 4519987"/>
                    <a:gd name="connsiteY75" fmla="*/ 3981450 h 4496940"/>
                    <a:gd name="connsiteX76" fmla="*/ 763927 w 4519987"/>
                    <a:gd name="connsiteY76" fmla="*/ 3914775 h 4496940"/>
                    <a:gd name="connsiteX77" fmla="*/ 725827 w 4519987"/>
                    <a:gd name="connsiteY77" fmla="*/ 3876675 h 4496940"/>
                    <a:gd name="connsiteX78" fmla="*/ 697252 w 4519987"/>
                    <a:gd name="connsiteY78" fmla="*/ 3838575 h 4496940"/>
                    <a:gd name="connsiteX79" fmla="*/ 640102 w 4519987"/>
                    <a:gd name="connsiteY79" fmla="*/ 3781425 h 4496940"/>
                    <a:gd name="connsiteX80" fmla="*/ 611527 w 4519987"/>
                    <a:gd name="connsiteY80" fmla="*/ 3733800 h 4496940"/>
                    <a:gd name="connsiteX81" fmla="*/ 554377 w 4519987"/>
                    <a:gd name="connsiteY81" fmla="*/ 3657600 h 4496940"/>
                    <a:gd name="connsiteX82" fmla="*/ 525802 w 4519987"/>
                    <a:gd name="connsiteY82" fmla="*/ 3609975 h 4496940"/>
                    <a:gd name="connsiteX83" fmla="*/ 497227 w 4519987"/>
                    <a:gd name="connsiteY83" fmla="*/ 3552825 h 4496940"/>
                    <a:gd name="connsiteX84" fmla="*/ 440077 w 4519987"/>
                    <a:gd name="connsiteY84" fmla="*/ 3495675 h 4496940"/>
                    <a:gd name="connsiteX85" fmla="*/ 411502 w 4519987"/>
                    <a:gd name="connsiteY85" fmla="*/ 3448050 h 4496940"/>
                    <a:gd name="connsiteX86" fmla="*/ 278152 w 4519987"/>
                    <a:gd name="connsiteY86" fmla="*/ 3257550 h 4496940"/>
                    <a:gd name="connsiteX87" fmla="*/ 249577 w 4519987"/>
                    <a:gd name="connsiteY87" fmla="*/ 3200400 h 4496940"/>
                    <a:gd name="connsiteX88" fmla="*/ 240052 w 4519987"/>
                    <a:gd name="connsiteY88" fmla="*/ 3162300 h 4496940"/>
                    <a:gd name="connsiteX89" fmla="*/ 221002 w 4519987"/>
                    <a:gd name="connsiteY89" fmla="*/ 3105150 h 4496940"/>
                    <a:gd name="connsiteX90" fmla="*/ 173377 w 4519987"/>
                    <a:gd name="connsiteY90" fmla="*/ 3019425 h 4496940"/>
                    <a:gd name="connsiteX91" fmla="*/ 144802 w 4519987"/>
                    <a:gd name="connsiteY91" fmla="*/ 2924175 h 4496940"/>
                    <a:gd name="connsiteX92" fmla="*/ 68602 w 4519987"/>
                    <a:gd name="connsiteY92" fmla="*/ 2724150 h 4496940"/>
                    <a:gd name="connsiteX93" fmla="*/ 49552 w 4519987"/>
                    <a:gd name="connsiteY93" fmla="*/ 2638425 h 4496940"/>
                    <a:gd name="connsiteX94" fmla="*/ 40027 w 4519987"/>
                    <a:gd name="connsiteY94" fmla="*/ 2562225 h 4496940"/>
                    <a:gd name="connsiteX95" fmla="*/ 30502 w 4519987"/>
                    <a:gd name="connsiteY95" fmla="*/ 2514600 h 4496940"/>
                    <a:gd name="connsiteX96" fmla="*/ 11452 w 4519987"/>
                    <a:gd name="connsiteY96" fmla="*/ 2400300 h 4496940"/>
                    <a:gd name="connsiteX97" fmla="*/ 20977 w 4519987"/>
                    <a:gd name="connsiteY97" fmla="*/ 1905000 h 4496940"/>
                    <a:gd name="connsiteX98" fmla="*/ 30502 w 4519987"/>
                    <a:gd name="connsiteY98" fmla="*/ 1838325 h 4496940"/>
                    <a:gd name="connsiteX99" fmla="*/ 49552 w 4519987"/>
                    <a:gd name="connsiteY99" fmla="*/ 1781175 h 4496940"/>
                    <a:gd name="connsiteX100" fmla="*/ 59077 w 4519987"/>
                    <a:gd name="connsiteY100" fmla="*/ 1743075 h 4496940"/>
                    <a:gd name="connsiteX101" fmla="*/ 78127 w 4519987"/>
                    <a:gd name="connsiteY101" fmla="*/ 1685925 h 4496940"/>
                    <a:gd name="connsiteX102" fmla="*/ 87652 w 4519987"/>
                    <a:gd name="connsiteY102" fmla="*/ 1638300 h 4496940"/>
                    <a:gd name="connsiteX103" fmla="*/ 106702 w 4519987"/>
                    <a:gd name="connsiteY103" fmla="*/ 1590675 h 4496940"/>
                    <a:gd name="connsiteX104" fmla="*/ 135277 w 4519987"/>
                    <a:gd name="connsiteY104" fmla="*/ 1504950 h 4496940"/>
                    <a:gd name="connsiteX105" fmla="*/ 154327 w 4519987"/>
                    <a:gd name="connsiteY105" fmla="*/ 1419225 h 4496940"/>
                    <a:gd name="connsiteX106" fmla="*/ 230527 w 4519987"/>
                    <a:gd name="connsiteY106" fmla="*/ 1276350 h 4496940"/>
                    <a:gd name="connsiteX107" fmla="*/ 240052 w 4519987"/>
                    <a:gd name="connsiteY107" fmla="*/ 1247775 h 4496940"/>
                    <a:gd name="connsiteX108" fmla="*/ 268627 w 4519987"/>
                    <a:gd name="connsiteY108" fmla="*/ 1200150 h 4496940"/>
                    <a:gd name="connsiteX109" fmla="*/ 287677 w 4519987"/>
                    <a:gd name="connsiteY109" fmla="*/ 1152525 h 4496940"/>
                    <a:gd name="connsiteX110" fmla="*/ 316252 w 4519987"/>
                    <a:gd name="connsiteY110" fmla="*/ 1114425 h 4496940"/>
                    <a:gd name="connsiteX111" fmla="*/ 363877 w 4519987"/>
                    <a:gd name="connsiteY111" fmla="*/ 1038225 h 4496940"/>
                    <a:gd name="connsiteX112" fmla="*/ 382927 w 4519987"/>
                    <a:gd name="connsiteY112" fmla="*/ 1009650 h 4496940"/>
                    <a:gd name="connsiteX113" fmla="*/ 440077 w 4519987"/>
                    <a:gd name="connsiteY113" fmla="*/ 904875 h 4496940"/>
                    <a:gd name="connsiteX114" fmla="*/ 478177 w 4519987"/>
                    <a:gd name="connsiteY114" fmla="*/ 857250 h 4496940"/>
                    <a:gd name="connsiteX115" fmla="*/ 497227 w 4519987"/>
                    <a:gd name="connsiteY115" fmla="*/ 828675 h 4496940"/>
                    <a:gd name="connsiteX116" fmla="*/ 535327 w 4519987"/>
                    <a:gd name="connsiteY116" fmla="*/ 800100 h 4496940"/>
                    <a:gd name="connsiteX117" fmla="*/ 602002 w 4519987"/>
                    <a:gd name="connsiteY117" fmla="*/ 733425 h 4496940"/>
                    <a:gd name="connsiteX118" fmla="*/ 668677 w 4519987"/>
                    <a:gd name="connsiteY118" fmla="*/ 676275 h 4496940"/>
                    <a:gd name="connsiteX119" fmla="*/ 697252 w 4519987"/>
                    <a:gd name="connsiteY119" fmla="*/ 657225 h 4496940"/>
                    <a:gd name="connsiteX120" fmla="*/ 840127 w 4519987"/>
                    <a:gd name="connsiteY120" fmla="*/ 533400 h 4496940"/>
                    <a:gd name="connsiteX121" fmla="*/ 887752 w 4519987"/>
                    <a:gd name="connsiteY121" fmla="*/ 504825 h 4496940"/>
                    <a:gd name="connsiteX122" fmla="*/ 1167152 w 4519987"/>
                    <a:gd name="connsiteY122" fmla="*/ 311150 h 4496940"/>
                    <a:gd name="connsiteX123" fmla="*/ 1268752 w 4519987"/>
                    <a:gd name="connsiteY123" fmla="*/ 285750 h 4496940"/>
                    <a:gd name="connsiteX124" fmla="*/ 1411627 w 4519987"/>
                    <a:gd name="connsiteY124" fmla="*/ 190500 h 4496940"/>
                    <a:gd name="connsiteX125" fmla="*/ 1449727 w 4519987"/>
                    <a:gd name="connsiteY125" fmla="*/ 161925 h 4496940"/>
                    <a:gd name="connsiteX126" fmla="*/ 1525927 w 4519987"/>
                    <a:gd name="connsiteY126" fmla="*/ 152400 h 4496940"/>
                    <a:gd name="connsiteX127" fmla="*/ 1583077 w 4519987"/>
                    <a:gd name="connsiteY127" fmla="*/ 142875 h 4496940"/>
                    <a:gd name="connsiteX128" fmla="*/ 1716427 w 4519987"/>
                    <a:gd name="connsiteY128" fmla="*/ 123825 h 4496940"/>
                    <a:gd name="connsiteX129" fmla="*/ 1811677 w 4519987"/>
                    <a:gd name="connsiteY129" fmla="*/ 114300 h 4496940"/>
                    <a:gd name="connsiteX130" fmla="*/ 1859302 w 4519987"/>
                    <a:gd name="connsiteY130" fmla="*/ 104775 h 4496940"/>
                    <a:gd name="connsiteX131" fmla="*/ 1916452 w 4519987"/>
                    <a:gd name="connsiteY131" fmla="*/ 95250 h 4496940"/>
                    <a:gd name="connsiteX132" fmla="*/ 2030752 w 4519987"/>
                    <a:gd name="connsiteY132" fmla="*/ 66675 h 4496940"/>
                    <a:gd name="connsiteX133" fmla="*/ 2097427 w 4519987"/>
                    <a:gd name="connsiteY133" fmla="*/ 47625 h 4496940"/>
                    <a:gd name="connsiteX134" fmla="*/ 2164102 w 4519987"/>
                    <a:gd name="connsiteY134" fmla="*/ 38100 h 4496940"/>
                    <a:gd name="connsiteX135" fmla="*/ 2392702 w 4519987"/>
                    <a:gd name="connsiteY13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78577 w 4519987"/>
                    <a:gd name="connsiteY40" fmla="*/ 3848100 h 4496940"/>
                    <a:gd name="connsiteX41" fmla="*/ 3659527 w 4519987"/>
                    <a:gd name="connsiteY41" fmla="*/ 3971925 h 4496940"/>
                    <a:gd name="connsiteX42" fmla="*/ 3630952 w 4519987"/>
                    <a:gd name="connsiteY42" fmla="*/ 4010025 h 4496940"/>
                    <a:gd name="connsiteX43" fmla="*/ 3621427 w 4519987"/>
                    <a:gd name="connsiteY43" fmla="*/ 4038600 h 4496940"/>
                    <a:gd name="connsiteX44" fmla="*/ 3554752 w 4519987"/>
                    <a:gd name="connsiteY44" fmla="*/ 4095750 h 4496940"/>
                    <a:gd name="connsiteX45" fmla="*/ 3516652 w 4519987"/>
                    <a:gd name="connsiteY45" fmla="*/ 4114800 h 4496940"/>
                    <a:gd name="connsiteX46" fmla="*/ 3497602 w 4519987"/>
                    <a:gd name="connsiteY46" fmla="*/ 4143375 h 4496940"/>
                    <a:gd name="connsiteX47" fmla="*/ 3383302 w 4519987"/>
                    <a:gd name="connsiteY47" fmla="*/ 4210050 h 4496940"/>
                    <a:gd name="connsiteX48" fmla="*/ 3335677 w 4519987"/>
                    <a:gd name="connsiteY48" fmla="*/ 4238625 h 4496940"/>
                    <a:gd name="connsiteX49" fmla="*/ 3288052 w 4519987"/>
                    <a:gd name="connsiteY49" fmla="*/ 4248150 h 4496940"/>
                    <a:gd name="connsiteX50" fmla="*/ 3240427 w 4519987"/>
                    <a:gd name="connsiteY50" fmla="*/ 4267200 h 4496940"/>
                    <a:gd name="connsiteX51" fmla="*/ 3068977 w 4519987"/>
                    <a:gd name="connsiteY51" fmla="*/ 4286250 h 4496940"/>
                    <a:gd name="connsiteX52" fmla="*/ 2935627 w 4519987"/>
                    <a:gd name="connsiteY52" fmla="*/ 4333875 h 4496940"/>
                    <a:gd name="connsiteX53" fmla="*/ 2811802 w 4519987"/>
                    <a:gd name="connsiteY53" fmla="*/ 4371975 h 4496940"/>
                    <a:gd name="connsiteX54" fmla="*/ 2745127 w 4519987"/>
                    <a:gd name="connsiteY54" fmla="*/ 4410075 h 4496940"/>
                    <a:gd name="connsiteX55" fmla="*/ 2697502 w 4519987"/>
                    <a:gd name="connsiteY55" fmla="*/ 4429125 h 4496940"/>
                    <a:gd name="connsiteX56" fmla="*/ 2640352 w 4519987"/>
                    <a:gd name="connsiteY56" fmla="*/ 4457700 h 4496940"/>
                    <a:gd name="connsiteX57" fmla="*/ 2583202 w 4519987"/>
                    <a:gd name="connsiteY57" fmla="*/ 4467225 h 4496940"/>
                    <a:gd name="connsiteX58" fmla="*/ 2545102 w 4519987"/>
                    <a:gd name="connsiteY58" fmla="*/ 4486275 h 4496940"/>
                    <a:gd name="connsiteX59" fmla="*/ 2306977 w 4519987"/>
                    <a:gd name="connsiteY59" fmla="*/ 4476750 h 4496940"/>
                    <a:gd name="connsiteX60" fmla="*/ 2202202 w 4519987"/>
                    <a:gd name="connsiteY60" fmla="*/ 4457700 h 4496940"/>
                    <a:gd name="connsiteX61" fmla="*/ 2126002 w 4519987"/>
                    <a:gd name="connsiteY61" fmla="*/ 4429125 h 4496940"/>
                    <a:gd name="connsiteX62" fmla="*/ 1935502 w 4519987"/>
                    <a:gd name="connsiteY62" fmla="*/ 4400550 h 4496940"/>
                    <a:gd name="connsiteX63" fmla="*/ 1821202 w 4519987"/>
                    <a:gd name="connsiteY63" fmla="*/ 4371975 h 4496940"/>
                    <a:gd name="connsiteX64" fmla="*/ 1754527 w 4519987"/>
                    <a:gd name="connsiteY64" fmla="*/ 4352925 h 4496940"/>
                    <a:gd name="connsiteX65" fmla="*/ 1687852 w 4519987"/>
                    <a:gd name="connsiteY65" fmla="*/ 4343400 h 4496940"/>
                    <a:gd name="connsiteX66" fmla="*/ 1573552 w 4519987"/>
                    <a:gd name="connsiteY66" fmla="*/ 4305300 h 4496940"/>
                    <a:gd name="connsiteX67" fmla="*/ 1402102 w 4519987"/>
                    <a:gd name="connsiteY67" fmla="*/ 4276725 h 4496940"/>
                    <a:gd name="connsiteX68" fmla="*/ 1287802 w 4519987"/>
                    <a:gd name="connsiteY68" fmla="*/ 4229100 h 4496940"/>
                    <a:gd name="connsiteX69" fmla="*/ 1221127 w 4519987"/>
                    <a:gd name="connsiteY69" fmla="*/ 4200525 h 4496940"/>
                    <a:gd name="connsiteX70" fmla="*/ 1144927 w 4519987"/>
                    <a:gd name="connsiteY70" fmla="*/ 4171950 h 4496940"/>
                    <a:gd name="connsiteX71" fmla="*/ 1087777 w 4519987"/>
                    <a:gd name="connsiteY71" fmla="*/ 4143375 h 4496940"/>
                    <a:gd name="connsiteX72" fmla="*/ 1030627 w 4519987"/>
                    <a:gd name="connsiteY72" fmla="*/ 4124325 h 4496940"/>
                    <a:gd name="connsiteX73" fmla="*/ 925852 w 4519987"/>
                    <a:gd name="connsiteY73" fmla="*/ 4067175 h 4496940"/>
                    <a:gd name="connsiteX74" fmla="*/ 830602 w 4519987"/>
                    <a:gd name="connsiteY74" fmla="*/ 3981450 h 4496940"/>
                    <a:gd name="connsiteX75" fmla="*/ 763927 w 4519987"/>
                    <a:gd name="connsiteY75" fmla="*/ 3914775 h 4496940"/>
                    <a:gd name="connsiteX76" fmla="*/ 725827 w 4519987"/>
                    <a:gd name="connsiteY76" fmla="*/ 3876675 h 4496940"/>
                    <a:gd name="connsiteX77" fmla="*/ 697252 w 4519987"/>
                    <a:gd name="connsiteY77" fmla="*/ 3838575 h 4496940"/>
                    <a:gd name="connsiteX78" fmla="*/ 640102 w 4519987"/>
                    <a:gd name="connsiteY78" fmla="*/ 3781425 h 4496940"/>
                    <a:gd name="connsiteX79" fmla="*/ 611527 w 4519987"/>
                    <a:gd name="connsiteY79" fmla="*/ 3733800 h 4496940"/>
                    <a:gd name="connsiteX80" fmla="*/ 554377 w 4519987"/>
                    <a:gd name="connsiteY80" fmla="*/ 3657600 h 4496940"/>
                    <a:gd name="connsiteX81" fmla="*/ 525802 w 4519987"/>
                    <a:gd name="connsiteY81" fmla="*/ 3609975 h 4496940"/>
                    <a:gd name="connsiteX82" fmla="*/ 497227 w 4519987"/>
                    <a:gd name="connsiteY82" fmla="*/ 3552825 h 4496940"/>
                    <a:gd name="connsiteX83" fmla="*/ 440077 w 4519987"/>
                    <a:gd name="connsiteY83" fmla="*/ 3495675 h 4496940"/>
                    <a:gd name="connsiteX84" fmla="*/ 411502 w 4519987"/>
                    <a:gd name="connsiteY84" fmla="*/ 3448050 h 4496940"/>
                    <a:gd name="connsiteX85" fmla="*/ 278152 w 4519987"/>
                    <a:gd name="connsiteY85" fmla="*/ 3257550 h 4496940"/>
                    <a:gd name="connsiteX86" fmla="*/ 249577 w 4519987"/>
                    <a:gd name="connsiteY86" fmla="*/ 3200400 h 4496940"/>
                    <a:gd name="connsiteX87" fmla="*/ 240052 w 4519987"/>
                    <a:gd name="connsiteY87" fmla="*/ 3162300 h 4496940"/>
                    <a:gd name="connsiteX88" fmla="*/ 221002 w 4519987"/>
                    <a:gd name="connsiteY88" fmla="*/ 3105150 h 4496940"/>
                    <a:gd name="connsiteX89" fmla="*/ 173377 w 4519987"/>
                    <a:gd name="connsiteY89" fmla="*/ 3019425 h 4496940"/>
                    <a:gd name="connsiteX90" fmla="*/ 144802 w 4519987"/>
                    <a:gd name="connsiteY90" fmla="*/ 2924175 h 4496940"/>
                    <a:gd name="connsiteX91" fmla="*/ 68602 w 4519987"/>
                    <a:gd name="connsiteY91" fmla="*/ 2724150 h 4496940"/>
                    <a:gd name="connsiteX92" fmla="*/ 49552 w 4519987"/>
                    <a:gd name="connsiteY92" fmla="*/ 2638425 h 4496940"/>
                    <a:gd name="connsiteX93" fmla="*/ 40027 w 4519987"/>
                    <a:gd name="connsiteY93" fmla="*/ 2562225 h 4496940"/>
                    <a:gd name="connsiteX94" fmla="*/ 30502 w 4519987"/>
                    <a:gd name="connsiteY94" fmla="*/ 2514600 h 4496940"/>
                    <a:gd name="connsiteX95" fmla="*/ 11452 w 4519987"/>
                    <a:gd name="connsiteY95" fmla="*/ 2400300 h 4496940"/>
                    <a:gd name="connsiteX96" fmla="*/ 20977 w 4519987"/>
                    <a:gd name="connsiteY96" fmla="*/ 1905000 h 4496940"/>
                    <a:gd name="connsiteX97" fmla="*/ 30502 w 4519987"/>
                    <a:gd name="connsiteY97" fmla="*/ 1838325 h 4496940"/>
                    <a:gd name="connsiteX98" fmla="*/ 49552 w 4519987"/>
                    <a:gd name="connsiteY98" fmla="*/ 1781175 h 4496940"/>
                    <a:gd name="connsiteX99" fmla="*/ 59077 w 4519987"/>
                    <a:gd name="connsiteY99" fmla="*/ 1743075 h 4496940"/>
                    <a:gd name="connsiteX100" fmla="*/ 78127 w 4519987"/>
                    <a:gd name="connsiteY100" fmla="*/ 1685925 h 4496940"/>
                    <a:gd name="connsiteX101" fmla="*/ 87652 w 4519987"/>
                    <a:gd name="connsiteY101" fmla="*/ 1638300 h 4496940"/>
                    <a:gd name="connsiteX102" fmla="*/ 106702 w 4519987"/>
                    <a:gd name="connsiteY102" fmla="*/ 1590675 h 4496940"/>
                    <a:gd name="connsiteX103" fmla="*/ 135277 w 4519987"/>
                    <a:gd name="connsiteY103" fmla="*/ 1504950 h 4496940"/>
                    <a:gd name="connsiteX104" fmla="*/ 154327 w 4519987"/>
                    <a:gd name="connsiteY104" fmla="*/ 1419225 h 4496940"/>
                    <a:gd name="connsiteX105" fmla="*/ 230527 w 4519987"/>
                    <a:gd name="connsiteY105" fmla="*/ 1276350 h 4496940"/>
                    <a:gd name="connsiteX106" fmla="*/ 240052 w 4519987"/>
                    <a:gd name="connsiteY106" fmla="*/ 1247775 h 4496940"/>
                    <a:gd name="connsiteX107" fmla="*/ 268627 w 4519987"/>
                    <a:gd name="connsiteY107" fmla="*/ 1200150 h 4496940"/>
                    <a:gd name="connsiteX108" fmla="*/ 287677 w 4519987"/>
                    <a:gd name="connsiteY108" fmla="*/ 1152525 h 4496940"/>
                    <a:gd name="connsiteX109" fmla="*/ 316252 w 4519987"/>
                    <a:gd name="connsiteY109" fmla="*/ 1114425 h 4496940"/>
                    <a:gd name="connsiteX110" fmla="*/ 363877 w 4519987"/>
                    <a:gd name="connsiteY110" fmla="*/ 1038225 h 4496940"/>
                    <a:gd name="connsiteX111" fmla="*/ 382927 w 4519987"/>
                    <a:gd name="connsiteY111" fmla="*/ 1009650 h 4496940"/>
                    <a:gd name="connsiteX112" fmla="*/ 440077 w 4519987"/>
                    <a:gd name="connsiteY112" fmla="*/ 904875 h 4496940"/>
                    <a:gd name="connsiteX113" fmla="*/ 478177 w 4519987"/>
                    <a:gd name="connsiteY113" fmla="*/ 857250 h 4496940"/>
                    <a:gd name="connsiteX114" fmla="*/ 497227 w 4519987"/>
                    <a:gd name="connsiteY114" fmla="*/ 828675 h 4496940"/>
                    <a:gd name="connsiteX115" fmla="*/ 535327 w 4519987"/>
                    <a:gd name="connsiteY115" fmla="*/ 800100 h 4496940"/>
                    <a:gd name="connsiteX116" fmla="*/ 602002 w 4519987"/>
                    <a:gd name="connsiteY116" fmla="*/ 733425 h 4496940"/>
                    <a:gd name="connsiteX117" fmla="*/ 668677 w 4519987"/>
                    <a:gd name="connsiteY117" fmla="*/ 676275 h 4496940"/>
                    <a:gd name="connsiteX118" fmla="*/ 697252 w 4519987"/>
                    <a:gd name="connsiteY118" fmla="*/ 657225 h 4496940"/>
                    <a:gd name="connsiteX119" fmla="*/ 840127 w 4519987"/>
                    <a:gd name="connsiteY119" fmla="*/ 533400 h 4496940"/>
                    <a:gd name="connsiteX120" fmla="*/ 887752 w 4519987"/>
                    <a:gd name="connsiteY120" fmla="*/ 504825 h 4496940"/>
                    <a:gd name="connsiteX121" fmla="*/ 1167152 w 4519987"/>
                    <a:gd name="connsiteY121" fmla="*/ 311150 h 4496940"/>
                    <a:gd name="connsiteX122" fmla="*/ 1268752 w 4519987"/>
                    <a:gd name="connsiteY122" fmla="*/ 285750 h 4496940"/>
                    <a:gd name="connsiteX123" fmla="*/ 1411627 w 4519987"/>
                    <a:gd name="connsiteY123" fmla="*/ 190500 h 4496940"/>
                    <a:gd name="connsiteX124" fmla="*/ 1449727 w 4519987"/>
                    <a:gd name="connsiteY124" fmla="*/ 161925 h 4496940"/>
                    <a:gd name="connsiteX125" fmla="*/ 1525927 w 4519987"/>
                    <a:gd name="connsiteY125" fmla="*/ 152400 h 4496940"/>
                    <a:gd name="connsiteX126" fmla="*/ 1583077 w 4519987"/>
                    <a:gd name="connsiteY126" fmla="*/ 142875 h 4496940"/>
                    <a:gd name="connsiteX127" fmla="*/ 1716427 w 4519987"/>
                    <a:gd name="connsiteY127" fmla="*/ 123825 h 4496940"/>
                    <a:gd name="connsiteX128" fmla="*/ 1811677 w 4519987"/>
                    <a:gd name="connsiteY128" fmla="*/ 114300 h 4496940"/>
                    <a:gd name="connsiteX129" fmla="*/ 1859302 w 4519987"/>
                    <a:gd name="connsiteY129" fmla="*/ 104775 h 4496940"/>
                    <a:gd name="connsiteX130" fmla="*/ 1916452 w 4519987"/>
                    <a:gd name="connsiteY130" fmla="*/ 95250 h 4496940"/>
                    <a:gd name="connsiteX131" fmla="*/ 2030752 w 4519987"/>
                    <a:gd name="connsiteY131" fmla="*/ 66675 h 4496940"/>
                    <a:gd name="connsiteX132" fmla="*/ 2097427 w 4519987"/>
                    <a:gd name="connsiteY132" fmla="*/ 47625 h 4496940"/>
                    <a:gd name="connsiteX133" fmla="*/ 2164102 w 4519987"/>
                    <a:gd name="connsiteY133" fmla="*/ 38100 h 4496940"/>
                    <a:gd name="connsiteX134" fmla="*/ 2392702 w 4519987"/>
                    <a:gd name="connsiteY13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59527 w 4519987"/>
                    <a:gd name="connsiteY40" fmla="*/ 3971925 h 4496940"/>
                    <a:gd name="connsiteX41" fmla="*/ 3630952 w 4519987"/>
                    <a:gd name="connsiteY41" fmla="*/ 4010025 h 4496940"/>
                    <a:gd name="connsiteX42" fmla="*/ 3621427 w 4519987"/>
                    <a:gd name="connsiteY42" fmla="*/ 4038600 h 4496940"/>
                    <a:gd name="connsiteX43" fmla="*/ 3554752 w 4519987"/>
                    <a:gd name="connsiteY43" fmla="*/ 4095750 h 4496940"/>
                    <a:gd name="connsiteX44" fmla="*/ 3516652 w 4519987"/>
                    <a:gd name="connsiteY44" fmla="*/ 4114800 h 4496940"/>
                    <a:gd name="connsiteX45" fmla="*/ 3497602 w 4519987"/>
                    <a:gd name="connsiteY45" fmla="*/ 4143375 h 4496940"/>
                    <a:gd name="connsiteX46" fmla="*/ 3383302 w 4519987"/>
                    <a:gd name="connsiteY46" fmla="*/ 4210050 h 4496940"/>
                    <a:gd name="connsiteX47" fmla="*/ 3335677 w 4519987"/>
                    <a:gd name="connsiteY47" fmla="*/ 4238625 h 4496940"/>
                    <a:gd name="connsiteX48" fmla="*/ 3288052 w 4519987"/>
                    <a:gd name="connsiteY48" fmla="*/ 4248150 h 4496940"/>
                    <a:gd name="connsiteX49" fmla="*/ 3240427 w 4519987"/>
                    <a:gd name="connsiteY49" fmla="*/ 4267200 h 4496940"/>
                    <a:gd name="connsiteX50" fmla="*/ 3068977 w 4519987"/>
                    <a:gd name="connsiteY50" fmla="*/ 4286250 h 4496940"/>
                    <a:gd name="connsiteX51" fmla="*/ 2935627 w 4519987"/>
                    <a:gd name="connsiteY51" fmla="*/ 4333875 h 4496940"/>
                    <a:gd name="connsiteX52" fmla="*/ 2811802 w 4519987"/>
                    <a:gd name="connsiteY52" fmla="*/ 4371975 h 4496940"/>
                    <a:gd name="connsiteX53" fmla="*/ 2745127 w 4519987"/>
                    <a:gd name="connsiteY53" fmla="*/ 4410075 h 4496940"/>
                    <a:gd name="connsiteX54" fmla="*/ 2697502 w 4519987"/>
                    <a:gd name="connsiteY54" fmla="*/ 4429125 h 4496940"/>
                    <a:gd name="connsiteX55" fmla="*/ 2640352 w 4519987"/>
                    <a:gd name="connsiteY55" fmla="*/ 4457700 h 4496940"/>
                    <a:gd name="connsiteX56" fmla="*/ 2583202 w 4519987"/>
                    <a:gd name="connsiteY56" fmla="*/ 4467225 h 4496940"/>
                    <a:gd name="connsiteX57" fmla="*/ 2545102 w 4519987"/>
                    <a:gd name="connsiteY57" fmla="*/ 4486275 h 4496940"/>
                    <a:gd name="connsiteX58" fmla="*/ 2306977 w 4519987"/>
                    <a:gd name="connsiteY58" fmla="*/ 4476750 h 4496940"/>
                    <a:gd name="connsiteX59" fmla="*/ 2202202 w 4519987"/>
                    <a:gd name="connsiteY59" fmla="*/ 4457700 h 4496940"/>
                    <a:gd name="connsiteX60" fmla="*/ 2126002 w 4519987"/>
                    <a:gd name="connsiteY60" fmla="*/ 4429125 h 4496940"/>
                    <a:gd name="connsiteX61" fmla="*/ 1935502 w 4519987"/>
                    <a:gd name="connsiteY61" fmla="*/ 4400550 h 4496940"/>
                    <a:gd name="connsiteX62" fmla="*/ 1821202 w 4519987"/>
                    <a:gd name="connsiteY62" fmla="*/ 4371975 h 4496940"/>
                    <a:gd name="connsiteX63" fmla="*/ 1754527 w 4519987"/>
                    <a:gd name="connsiteY63" fmla="*/ 4352925 h 4496940"/>
                    <a:gd name="connsiteX64" fmla="*/ 1687852 w 4519987"/>
                    <a:gd name="connsiteY64" fmla="*/ 4343400 h 4496940"/>
                    <a:gd name="connsiteX65" fmla="*/ 1573552 w 4519987"/>
                    <a:gd name="connsiteY65" fmla="*/ 4305300 h 4496940"/>
                    <a:gd name="connsiteX66" fmla="*/ 1402102 w 4519987"/>
                    <a:gd name="connsiteY66" fmla="*/ 4276725 h 4496940"/>
                    <a:gd name="connsiteX67" fmla="*/ 1287802 w 4519987"/>
                    <a:gd name="connsiteY67" fmla="*/ 4229100 h 4496940"/>
                    <a:gd name="connsiteX68" fmla="*/ 1221127 w 4519987"/>
                    <a:gd name="connsiteY68" fmla="*/ 4200525 h 4496940"/>
                    <a:gd name="connsiteX69" fmla="*/ 1144927 w 4519987"/>
                    <a:gd name="connsiteY69" fmla="*/ 4171950 h 4496940"/>
                    <a:gd name="connsiteX70" fmla="*/ 1087777 w 4519987"/>
                    <a:gd name="connsiteY70" fmla="*/ 4143375 h 4496940"/>
                    <a:gd name="connsiteX71" fmla="*/ 1030627 w 4519987"/>
                    <a:gd name="connsiteY71" fmla="*/ 4124325 h 4496940"/>
                    <a:gd name="connsiteX72" fmla="*/ 925852 w 4519987"/>
                    <a:gd name="connsiteY72" fmla="*/ 4067175 h 4496940"/>
                    <a:gd name="connsiteX73" fmla="*/ 830602 w 4519987"/>
                    <a:gd name="connsiteY73" fmla="*/ 3981450 h 4496940"/>
                    <a:gd name="connsiteX74" fmla="*/ 763927 w 4519987"/>
                    <a:gd name="connsiteY74" fmla="*/ 3914775 h 4496940"/>
                    <a:gd name="connsiteX75" fmla="*/ 725827 w 4519987"/>
                    <a:gd name="connsiteY75" fmla="*/ 3876675 h 4496940"/>
                    <a:gd name="connsiteX76" fmla="*/ 697252 w 4519987"/>
                    <a:gd name="connsiteY76" fmla="*/ 3838575 h 4496940"/>
                    <a:gd name="connsiteX77" fmla="*/ 640102 w 4519987"/>
                    <a:gd name="connsiteY77" fmla="*/ 3781425 h 4496940"/>
                    <a:gd name="connsiteX78" fmla="*/ 611527 w 4519987"/>
                    <a:gd name="connsiteY78" fmla="*/ 3733800 h 4496940"/>
                    <a:gd name="connsiteX79" fmla="*/ 554377 w 4519987"/>
                    <a:gd name="connsiteY79" fmla="*/ 3657600 h 4496940"/>
                    <a:gd name="connsiteX80" fmla="*/ 525802 w 4519987"/>
                    <a:gd name="connsiteY80" fmla="*/ 3609975 h 4496940"/>
                    <a:gd name="connsiteX81" fmla="*/ 497227 w 4519987"/>
                    <a:gd name="connsiteY81" fmla="*/ 3552825 h 4496940"/>
                    <a:gd name="connsiteX82" fmla="*/ 440077 w 4519987"/>
                    <a:gd name="connsiteY82" fmla="*/ 3495675 h 4496940"/>
                    <a:gd name="connsiteX83" fmla="*/ 411502 w 4519987"/>
                    <a:gd name="connsiteY83" fmla="*/ 3448050 h 4496940"/>
                    <a:gd name="connsiteX84" fmla="*/ 278152 w 4519987"/>
                    <a:gd name="connsiteY84" fmla="*/ 3257550 h 4496940"/>
                    <a:gd name="connsiteX85" fmla="*/ 249577 w 4519987"/>
                    <a:gd name="connsiteY85" fmla="*/ 3200400 h 4496940"/>
                    <a:gd name="connsiteX86" fmla="*/ 240052 w 4519987"/>
                    <a:gd name="connsiteY86" fmla="*/ 3162300 h 4496940"/>
                    <a:gd name="connsiteX87" fmla="*/ 221002 w 4519987"/>
                    <a:gd name="connsiteY87" fmla="*/ 3105150 h 4496940"/>
                    <a:gd name="connsiteX88" fmla="*/ 173377 w 4519987"/>
                    <a:gd name="connsiteY88" fmla="*/ 3019425 h 4496940"/>
                    <a:gd name="connsiteX89" fmla="*/ 144802 w 4519987"/>
                    <a:gd name="connsiteY89" fmla="*/ 2924175 h 4496940"/>
                    <a:gd name="connsiteX90" fmla="*/ 68602 w 4519987"/>
                    <a:gd name="connsiteY90" fmla="*/ 2724150 h 4496940"/>
                    <a:gd name="connsiteX91" fmla="*/ 49552 w 4519987"/>
                    <a:gd name="connsiteY91" fmla="*/ 2638425 h 4496940"/>
                    <a:gd name="connsiteX92" fmla="*/ 40027 w 4519987"/>
                    <a:gd name="connsiteY92" fmla="*/ 2562225 h 4496940"/>
                    <a:gd name="connsiteX93" fmla="*/ 30502 w 4519987"/>
                    <a:gd name="connsiteY93" fmla="*/ 2514600 h 4496940"/>
                    <a:gd name="connsiteX94" fmla="*/ 11452 w 4519987"/>
                    <a:gd name="connsiteY94" fmla="*/ 2400300 h 4496940"/>
                    <a:gd name="connsiteX95" fmla="*/ 20977 w 4519987"/>
                    <a:gd name="connsiteY95" fmla="*/ 1905000 h 4496940"/>
                    <a:gd name="connsiteX96" fmla="*/ 30502 w 4519987"/>
                    <a:gd name="connsiteY96" fmla="*/ 1838325 h 4496940"/>
                    <a:gd name="connsiteX97" fmla="*/ 49552 w 4519987"/>
                    <a:gd name="connsiteY97" fmla="*/ 1781175 h 4496940"/>
                    <a:gd name="connsiteX98" fmla="*/ 59077 w 4519987"/>
                    <a:gd name="connsiteY98" fmla="*/ 1743075 h 4496940"/>
                    <a:gd name="connsiteX99" fmla="*/ 78127 w 4519987"/>
                    <a:gd name="connsiteY99" fmla="*/ 1685925 h 4496940"/>
                    <a:gd name="connsiteX100" fmla="*/ 87652 w 4519987"/>
                    <a:gd name="connsiteY100" fmla="*/ 1638300 h 4496940"/>
                    <a:gd name="connsiteX101" fmla="*/ 106702 w 4519987"/>
                    <a:gd name="connsiteY101" fmla="*/ 1590675 h 4496940"/>
                    <a:gd name="connsiteX102" fmla="*/ 135277 w 4519987"/>
                    <a:gd name="connsiteY102" fmla="*/ 1504950 h 4496940"/>
                    <a:gd name="connsiteX103" fmla="*/ 154327 w 4519987"/>
                    <a:gd name="connsiteY103" fmla="*/ 1419225 h 4496940"/>
                    <a:gd name="connsiteX104" fmla="*/ 230527 w 4519987"/>
                    <a:gd name="connsiteY104" fmla="*/ 1276350 h 4496940"/>
                    <a:gd name="connsiteX105" fmla="*/ 240052 w 4519987"/>
                    <a:gd name="connsiteY105" fmla="*/ 1247775 h 4496940"/>
                    <a:gd name="connsiteX106" fmla="*/ 268627 w 4519987"/>
                    <a:gd name="connsiteY106" fmla="*/ 1200150 h 4496940"/>
                    <a:gd name="connsiteX107" fmla="*/ 287677 w 4519987"/>
                    <a:gd name="connsiteY107" fmla="*/ 1152525 h 4496940"/>
                    <a:gd name="connsiteX108" fmla="*/ 316252 w 4519987"/>
                    <a:gd name="connsiteY108" fmla="*/ 1114425 h 4496940"/>
                    <a:gd name="connsiteX109" fmla="*/ 363877 w 4519987"/>
                    <a:gd name="connsiteY109" fmla="*/ 1038225 h 4496940"/>
                    <a:gd name="connsiteX110" fmla="*/ 382927 w 4519987"/>
                    <a:gd name="connsiteY110" fmla="*/ 1009650 h 4496940"/>
                    <a:gd name="connsiteX111" fmla="*/ 440077 w 4519987"/>
                    <a:gd name="connsiteY111" fmla="*/ 904875 h 4496940"/>
                    <a:gd name="connsiteX112" fmla="*/ 478177 w 4519987"/>
                    <a:gd name="connsiteY112" fmla="*/ 857250 h 4496940"/>
                    <a:gd name="connsiteX113" fmla="*/ 497227 w 4519987"/>
                    <a:gd name="connsiteY113" fmla="*/ 828675 h 4496940"/>
                    <a:gd name="connsiteX114" fmla="*/ 535327 w 4519987"/>
                    <a:gd name="connsiteY114" fmla="*/ 800100 h 4496940"/>
                    <a:gd name="connsiteX115" fmla="*/ 602002 w 4519987"/>
                    <a:gd name="connsiteY115" fmla="*/ 733425 h 4496940"/>
                    <a:gd name="connsiteX116" fmla="*/ 668677 w 4519987"/>
                    <a:gd name="connsiteY116" fmla="*/ 676275 h 4496940"/>
                    <a:gd name="connsiteX117" fmla="*/ 697252 w 4519987"/>
                    <a:gd name="connsiteY117" fmla="*/ 657225 h 4496940"/>
                    <a:gd name="connsiteX118" fmla="*/ 840127 w 4519987"/>
                    <a:gd name="connsiteY118" fmla="*/ 533400 h 4496940"/>
                    <a:gd name="connsiteX119" fmla="*/ 887752 w 4519987"/>
                    <a:gd name="connsiteY119" fmla="*/ 504825 h 4496940"/>
                    <a:gd name="connsiteX120" fmla="*/ 1167152 w 4519987"/>
                    <a:gd name="connsiteY120" fmla="*/ 311150 h 4496940"/>
                    <a:gd name="connsiteX121" fmla="*/ 1268752 w 4519987"/>
                    <a:gd name="connsiteY121" fmla="*/ 285750 h 4496940"/>
                    <a:gd name="connsiteX122" fmla="*/ 1411627 w 4519987"/>
                    <a:gd name="connsiteY122" fmla="*/ 190500 h 4496940"/>
                    <a:gd name="connsiteX123" fmla="*/ 1449727 w 4519987"/>
                    <a:gd name="connsiteY123" fmla="*/ 161925 h 4496940"/>
                    <a:gd name="connsiteX124" fmla="*/ 1525927 w 4519987"/>
                    <a:gd name="connsiteY124" fmla="*/ 152400 h 4496940"/>
                    <a:gd name="connsiteX125" fmla="*/ 1583077 w 4519987"/>
                    <a:gd name="connsiteY125" fmla="*/ 142875 h 4496940"/>
                    <a:gd name="connsiteX126" fmla="*/ 1716427 w 4519987"/>
                    <a:gd name="connsiteY126" fmla="*/ 123825 h 4496940"/>
                    <a:gd name="connsiteX127" fmla="*/ 1811677 w 4519987"/>
                    <a:gd name="connsiteY127" fmla="*/ 114300 h 4496940"/>
                    <a:gd name="connsiteX128" fmla="*/ 1859302 w 4519987"/>
                    <a:gd name="connsiteY128" fmla="*/ 104775 h 4496940"/>
                    <a:gd name="connsiteX129" fmla="*/ 1916452 w 4519987"/>
                    <a:gd name="connsiteY129" fmla="*/ 95250 h 4496940"/>
                    <a:gd name="connsiteX130" fmla="*/ 2030752 w 4519987"/>
                    <a:gd name="connsiteY130" fmla="*/ 66675 h 4496940"/>
                    <a:gd name="connsiteX131" fmla="*/ 2097427 w 4519987"/>
                    <a:gd name="connsiteY131" fmla="*/ 47625 h 4496940"/>
                    <a:gd name="connsiteX132" fmla="*/ 2164102 w 4519987"/>
                    <a:gd name="connsiteY132" fmla="*/ 38100 h 4496940"/>
                    <a:gd name="connsiteX133" fmla="*/ 2392702 w 4519987"/>
                    <a:gd name="connsiteY13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659527 w 4519987"/>
                    <a:gd name="connsiteY39" fmla="*/ 3971925 h 4496940"/>
                    <a:gd name="connsiteX40" fmla="*/ 3630952 w 4519987"/>
                    <a:gd name="connsiteY40" fmla="*/ 4010025 h 4496940"/>
                    <a:gd name="connsiteX41" fmla="*/ 3621427 w 4519987"/>
                    <a:gd name="connsiteY41" fmla="*/ 4038600 h 4496940"/>
                    <a:gd name="connsiteX42" fmla="*/ 3554752 w 4519987"/>
                    <a:gd name="connsiteY42" fmla="*/ 4095750 h 4496940"/>
                    <a:gd name="connsiteX43" fmla="*/ 3516652 w 4519987"/>
                    <a:gd name="connsiteY43" fmla="*/ 4114800 h 4496940"/>
                    <a:gd name="connsiteX44" fmla="*/ 3497602 w 4519987"/>
                    <a:gd name="connsiteY44" fmla="*/ 4143375 h 4496940"/>
                    <a:gd name="connsiteX45" fmla="*/ 3383302 w 4519987"/>
                    <a:gd name="connsiteY45" fmla="*/ 4210050 h 4496940"/>
                    <a:gd name="connsiteX46" fmla="*/ 3335677 w 4519987"/>
                    <a:gd name="connsiteY46" fmla="*/ 4238625 h 4496940"/>
                    <a:gd name="connsiteX47" fmla="*/ 3288052 w 4519987"/>
                    <a:gd name="connsiteY47" fmla="*/ 4248150 h 4496940"/>
                    <a:gd name="connsiteX48" fmla="*/ 3240427 w 4519987"/>
                    <a:gd name="connsiteY48" fmla="*/ 4267200 h 4496940"/>
                    <a:gd name="connsiteX49" fmla="*/ 3068977 w 4519987"/>
                    <a:gd name="connsiteY49" fmla="*/ 4286250 h 4496940"/>
                    <a:gd name="connsiteX50" fmla="*/ 2935627 w 4519987"/>
                    <a:gd name="connsiteY50" fmla="*/ 4333875 h 4496940"/>
                    <a:gd name="connsiteX51" fmla="*/ 2811802 w 4519987"/>
                    <a:gd name="connsiteY51" fmla="*/ 4371975 h 4496940"/>
                    <a:gd name="connsiteX52" fmla="*/ 2745127 w 4519987"/>
                    <a:gd name="connsiteY52" fmla="*/ 4410075 h 4496940"/>
                    <a:gd name="connsiteX53" fmla="*/ 2697502 w 4519987"/>
                    <a:gd name="connsiteY53" fmla="*/ 4429125 h 4496940"/>
                    <a:gd name="connsiteX54" fmla="*/ 2640352 w 4519987"/>
                    <a:gd name="connsiteY54" fmla="*/ 4457700 h 4496940"/>
                    <a:gd name="connsiteX55" fmla="*/ 2583202 w 4519987"/>
                    <a:gd name="connsiteY55" fmla="*/ 4467225 h 4496940"/>
                    <a:gd name="connsiteX56" fmla="*/ 2545102 w 4519987"/>
                    <a:gd name="connsiteY56" fmla="*/ 4486275 h 4496940"/>
                    <a:gd name="connsiteX57" fmla="*/ 2306977 w 4519987"/>
                    <a:gd name="connsiteY57" fmla="*/ 4476750 h 4496940"/>
                    <a:gd name="connsiteX58" fmla="*/ 2202202 w 4519987"/>
                    <a:gd name="connsiteY58" fmla="*/ 4457700 h 4496940"/>
                    <a:gd name="connsiteX59" fmla="*/ 2126002 w 4519987"/>
                    <a:gd name="connsiteY59" fmla="*/ 4429125 h 4496940"/>
                    <a:gd name="connsiteX60" fmla="*/ 1935502 w 4519987"/>
                    <a:gd name="connsiteY60" fmla="*/ 4400550 h 4496940"/>
                    <a:gd name="connsiteX61" fmla="*/ 1821202 w 4519987"/>
                    <a:gd name="connsiteY61" fmla="*/ 4371975 h 4496940"/>
                    <a:gd name="connsiteX62" fmla="*/ 1754527 w 4519987"/>
                    <a:gd name="connsiteY62" fmla="*/ 4352925 h 4496940"/>
                    <a:gd name="connsiteX63" fmla="*/ 1687852 w 4519987"/>
                    <a:gd name="connsiteY63" fmla="*/ 4343400 h 4496940"/>
                    <a:gd name="connsiteX64" fmla="*/ 1573552 w 4519987"/>
                    <a:gd name="connsiteY64" fmla="*/ 4305300 h 4496940"/>
                    <a:gd name="connsiteX65" fmla="*/ 1402102 w 4519987"/>
                    <a:gd name="connsiteY65" fmla="*/ 4276725 h 4496940"/>
                    <a:gd name="connsiteX66" fmla="*/ 1287802 w 4519987"/>
                    <a:gd name="connsiteY66" fmla="*/ 4229100 h 4496940"/>
                    <a:gd name="connsiteX67" fmla="*/ 1221127 w 4519987"/>
                    <a:gd name="connsiteY67" fmla="*/ 4200525 h 4496940"/>
                    <a:gd name="connsiteX68" fmla="*/ 1144927 w 4519987"/>
                    <a:gd name="connsiteY68" fmla="*/ 4171950 h 4496940"/>
                    <a:gd name="connsiteX69" fmla="*/ 1087777 w 4519987"/>
                    <a:gd name="connsiteY69" fmla="*/ 4143375 h 4496940"/>
                    <a:gd name="connsiteX70" fmla="*/ 1030627 w 4519987"/>
                    <a:gd name="connsiteY70" fmla="*/ 4124325 h 4496940"/>
                    <a:gd name="connsiteX71" fmla="*/ 925852 w 4519987"/>
                    <a:gd name="connsiteY71" fmla="*/ 4067175 h 4496940"/>
                    <a:gd name="connsiteX72" fmla="*/ 830602 w 4519987"/>
                    <a:gd name="connsiteY72" fmla="*/ 3981450 h 4496940"/>
                    <a:gd name="connsiteX73" fmla="*/ 763927 w 4519987"/>
                    <a:gd name="connsiteY73" fmla="*/ 3914775 h 4496940"/>
                    <a:gd name="connsiteX74" fmla="*/ 725827 w 4519987"/>
                    <a:gd name="connsiteY74" fmla="*/ 3876675 h 4496940"/>
                    <a:gd name="connsiteX75" fmla="*/ 697252 w 4519987"/>
                    <a:gd name="connsiteY75" fmla="*/ 3838575 h 4496940"/>
                    <a:gd name="connsiteX76" fmla="*/ 640102 w 4519987"/>
                    <a:gd name="connsiteY76" fmla="*/ 3781425 h 4496940"/>
                    <a:gd name="connsiteX77" fmla="*/ 611527 w 4519987"/>
                    <a:gd name="connsiteY77" fmla="*/ 3733800 h 4496940"/>
                    <a:gd name="connsiteX78" fmla="*/ 554377 w 4519987"/>
                    <a:gd name="connsiteY78" fmla="*/ 3657600 h 4496940"/>
                    <a:gd name="connsiteX79" fmla="*/ 525802 w 4519987"/>
                    <a:gd name="connsiteY79" fmla="*/ 3609975 h 4496940"/>
                    <a:gd name="connsiteX80" fmla="*/ 497227 w 4519987"/>
                    <a:gd name="connsiteY80" fmla="*/ 3552825 h 4496940"/>
                    <a:gd name="connsiteX81" fmla="*/ 440077 w 4519987"/>
                    <a:gd name="connsiteY81" fmla="*/ 3495675 h 4496940"/>
                    <a:gd name="connsiteX82" fmla="*/ 411502 w 4519987"/>
                    <a:gd name="connsiteY82" fmla="*/ 3448050 h 4496940"/>
                    <a:gd name="connsiteX83" fmla="*/ 278152 w 4519987"/>
                    <a:gd name="connsiteY83" fmla="*/ 3257550 h 4496940"/>
                    <a:gd name="connsiteX84" fmla="*/ 249577 w 4519987"/>
                    <a:gd name="connsiteY84" fmla="*/ 3200400 h 4496940"/>
                    <a:gd name="connsiteX85" fmla="*/ 240052 w 4519987"/>
                    <a:gd name="connsiteY85" fmla="*/ 3162300 h 4496940"/>
                    <a:gd name="connsiteX86" fmla="*/ 221002 w 4519987"/>
                    <a:gd name="connsiteY86" fmla="*/ 3105150 h 4496940"/>
                    <a:gd name="connsiteX87" fmla="*/ 173377 w 4519987"/>
                    <a:gd name="connsiteY87" fmla="*/ 3019425 h 4496940"/>
                    <a:gd name="connsiteX88" fmla="*/ 144802 w 4519987"/>
                    <a:gd name="connsiteY88" fmla="*/ 2924175 h 4496940"/>
                    <a:gd name="connsiteX89" fmla="*/ 68602 w 4519987"/>
                    <a:gd name="connsiteY89" fmla="*/ 2724150 h 4496940"/>
                    <a:gd name="connsiteX90" fmla="*/ 49552 w 4519987"/>
                    <a:gd name="connsiteY90" fmla="*/ 2638425 h 4496940"/>
                    <a:gd name="connsiteX91" fmla="*/ 40027 w 4519987"/>
                    <a:gd name="connsiteY91" fmla="*/ 2562225 h 4496940"/>
                    <a:gd name="connsiteX92" fmla="*/ 30502 w 4519987"/>
                    <a:gd name="connsiteY92" fmla="*/ 2514600 h 4496940"/>
                    <a:gd name="connsiteX93" fmla="*/ 11452 w 4519987"/>
                    <a:gd name="connsiteY93" fmla="*/ 2400300 h 4496940"/>
                    <a:gd name="connsiteX94" fmla="*/ 20977 w 4519987"/>
                    <a:gd name="connsiteY94" fmla="*/ 1905000 h 4496940"/>
                    <a:gd name="connsiteX95" fmla="*/ 30502 w 4519987"/>
                    <a:gd name="connsiteY95" fmla="*/ 1838325 h 4496940"/>
                    <a:gd name="connsiteX96" fmla="*/ 49552 w 4519987"/>
                    <a:gd name="connsiteY96" fmla="*/ 1781175 h 4496940"/>
                    <a:gd name="connsiteX97" fmla="*/ 59077 w 4519987"/>
                    <a:gd name="connsiteY97" fmla="*/ 1743075 h 4496940"/>
                    <a:gd name="connsiteX98" fmla="*/ 78127 w 4519987"/>
                    <a:gd name="connsiteY98" fmla="*/ 1685925 h 4496940"/>
                    <a:gd name="connsiteX99" fmla="*/ 87652 w 4519987"/>
                    <a:gd name="connsiteY99" fmla="*/ 1638300 h 4496940"/>
                    <a:gd name="connsiteX100" fmla="*/ 106702 w 4519987"/>
                    <a:gd name="connsiteY100" fmla="*/ 1590675 h 4496940"/>
                    <a:gd name="connsiteX101" fmla="*/ 135277 w 4519987"/>
                    <a:gd name="connsiteY101" fmla="*/ 1504950 h 4496940"/>
                    <a:gd name="connsiteX102" fmla="*/ 154327 w 4519987"/>
                    <a:gd name="connsiteY102" fmla="*/ 1419225 h 4496940"/>
                    <a:gd name="connsiteX103" fmla="*/ 230527 w 4519987"/>
                    <a:gd name="connsiteY103" fmla="*/ 1276350 h 4496940"/>
                    <a:gd name="connsiteX104" fmla="*/ 240052 w 4519987"/>
                    <a:gd name="connsiteY104" fmla="*/ 1247775 h 4496940"/>
                    <a:gd name="connsiteX105" fmla="*/ 268627 w 4519987"/>
                    <a:gd name="connsiteY105" fmla="*/ 1200150 h 4496940"/>
                    <a:gd name="connsiteX106" fmla="*/ 287677 w 4519987"/>
                    <a:gd name="connsiteY106" fmla="*/ 1152525 h 4496940"/>
                    <a:gd name="connsiteX107" fmla="*/ 316252 w 4519987"/>
                    <a:gd name="connsiteY107" fmla="*/ 1114425 h 4496940"/>
                    <a:gd name="connsiteX108" fmla="*/ 363877 w 4519987"/>
                    <a:gd name="connsiteY108" fmla="*/ 1038225 h 4496940"/>
                    <a:gd name="connsiteX109" fmla="*/ 382927 w 4519987"/>
                    <a:gd name="connsiteY109" fmla="*/ 1009650 h 4496940"/>
                    <a:gd name="connsiteX110" fmla="*/ 440077 w 4519987"/>
                    <a:gd name="connsiteY110" fmla="*/ 904875 h 4496940"/>
                    <a:gd name="connsiteX111" fmla="*/ 478177 w 4519987"/>
                    <a:gd name="connsiteY111" fmla="*/ 857250 h 4496940"/>
                    <a:gd name="connsiteX112" fmla="*/ 497227 w 4519987"/>
                    <a:gd name="connsiteY112" fmla="*/ 828675 h 4496940"/>
                    <a:gd name="connsiteX113" fmla="*/ 535327 w 4519987"/>
                    <a:gd name="connsiteY113" fmla="*/ 800100 h 4496940"/>
                    <a:gd name="connsiteX114" fmla="*/ 602002 w 4519987"/>
                    <a:gd name="connsiteY114" fmla="*/ 733425 h 4496940"/>
                    <a:gd name="connsiteX115" fmla="*/ 668677 w 4519987"/>
                    <a:gd name="connsiteY115" fmla="*/ 676275 h 4496940"/>
                    <a:gd name="connsiteX116" fmla="*/ 697252 w 4519987"/>
                    <a:gd name="connsiteY116" fmla="*/ 657225 h 4496940"/>
                    <a:gd name="connsiteX117" fmla="*/ 840127 w 4519987"/>
                    <a:gd name="connsiteY117" fmla="*/ 533400 h 4496940"/>
                    <a:gd name="connsiteX118" fmla="*/ 887752 w 4519987"/>
                    <a:gd name="connsiteY118" fmla="*/ 504825 h 4496940"/>
                    <a:gd name="connsiteX119" fmla="*/ 1167152 w 4519987"/>
                    <a:gd name="connsiteY119" fmla="*/ 311150 h 4496940"/>
                    <a:gd name="connsiteX120" fmla="*/ 1268752 w 4519987"/>
                    <a:gd name="connsiteY120" fmla="*/ 285750 h 4496940"/>
                    <a:gd name="connsiteX121" fmla="*/ 1411627 w 4519987"/>
                    <a:gd name="connsiteY121" fmla="*/ 190500 h 4496940"/>
                    <a:gd name="connsiteX122" fmla="*/ 1449727 w 4519987"/>
                    <a:gd name="connsiteY122" fmla="*/ 161925 h 4496940"/>
                    <a:gd name="connsiteX123" fmla="*/ 1525927 w 4519987"/>
                    <a:gd name="connsiteY123" fmla="*/ 152400 h 4496940"/>
                    <a:gd name="connsiteX124" fmla="*/ 1583077 w 4519987"/>
                    <a:gd name="connsiteY124" fmla="*/ 142875 h 4496940"/>
                    <a:gd name="connsiteX125" fmla="*/ 1716427 w 4519987"/>
                    <a:gd name="connsiteY125" fmla="*/ 123825 h 4496940"/>
                    <a:gd name="connsiteX126" fmla="*/ 1811677 w 4519987"/>
                    <a:gd name="connsiteY126" fmla="*/ 114300 h 4496940"/>
                    <a:gd name="connsiteX127" fmla="*/ 1859302 w 4519987"/>
                    <a:gd name="connsiteY127" fmla="*/ 104775 h 4496940"/>
                    <a:gd name="connsiteX128" fmla="*/ 1916452 w 4519987"/>
                    <a:gd name="connsiteY128" fmla="*/ 95250 h 4496940"/>
                    <a:gd name="connsiteX129" fmla="*/ 2030752 w 4519987"/>
                    <a:gd name="connsiteY129" fmla="*/ 66675 h 4496940"/>
                    <a:gd name="connsiteX130" fmla="*/ 2097427 w 4519987"/>
                    <a:gd name="connsiteY130" fmla="*/ 47625 h 4496940"/>
                    <a:gd name="connsiteX131" fmla="*/ 2164102 w 4519987"/>
                    <a:gd name="connsiteY131" fmla="*/ 38100 h 4496940"/>
                    <a:gd name="connsiteX132" fmla="*/ 2392702 w 4519987"/>
                    <a:gd name="connsiteY13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659527 w 4519987"/>
                    <a:gd name="connsiteY38" fmla="*/ 3971925 h 4496940"/>
                    <a:gd name="connsiteX39" fmla="*/ 3630952 w 4519987"/>
                    <a:gd name="connsiteY39" fmla="*/ 4010025 h 4496940"/>
                    <a:gd name="connsiteX40" fmla="*/ 3621427 w 4519987"/>
                    <a:gd name="connsiteY40" fmla="*/ 4038600 h 4496940"/>
                    <a:gd name="connsiteX41" fmla="*/ 3554752 w 4519987"/>
                    <a:gd name="connsiteY41" fmla="*/ 4095750 h 4496940"/>
                    <a:gd name="connsiteX42" fmla="*/ 3516652 w 4519987"/>
                    <a:gd name="connsiteY42" fmla="*/ 4114800 h 4496940"/>
                    <a:gd name="connsiteX43" fmla="*/ 3497602 w 4519987"/>
                    <a:gd name="connsiteY43" fmla="*/ 4143375 h 4496940"/>
                    <a:gd name="connsiteX44" fmla="*/ 3383302 w 4519987"/>
                    <a:gd name="connsiteY44" fmla="*/ 4210050 h 4496940"/>
                    <a:gd name="connsiteX45" fmla="*/ 3335677 w 4519987"/>
                    <a:gd name="connsiteY45" fmla="*/ 4238625 h 4496940"/>
                    <a:gd name="connsiteX46" fmla="*/ 3288052 w 4519987"/>
                    <a:gd name="connsiteY46" fmla="*/ 4248150 h 4496940"/>
                    <a:gd name="connsiteX47" fmla="*/ 3240427 w 4519987"/>
                    <a:gd name="connsiteY47" fmla="*/ 4267200 h 4496940"/>
                    <a:gd name="connsiteX48" fmla="*/ 3068977 w 4519987"/>
                    <a:gd name="connsiteY48" fmla="*/ 4286250 h 4496940"/>
                    <a:gd name="connsiteX49" fmla="*/ 2935627 w 4519987"/>
                    <a:gd name="connsiteY49" fmla="*/ 4333875 h 4496940"/>
                    <a:gd name="connsiteX50" fmla="*/ 2811802 w 4519987"/>
                    <a:gd name="connsiteY50" fmla="*/ 4371975 h 4496940"/>
                    <a:gd name="connsiteX51" fmla="*/ 2745127 w 4519987"/>
                    <a:gd name="connsiteY51" fmla="*/ 4410075 h 4496940"/>
                    <a:gd name="connsiteX52" fmla="*/ 2697502 w 4519987"/>
                    <a:gd name="connsiteY52" fmla="*/ 4429125 h 4496940"/>
                    <a:gd name="connsiteX53" fmla="*/ 2640352 w 4519987"/>
                    <a:gd name="connsiteY53" fmla="*/ 4457700 h 4496940"/>
                    <a:gd name="connsiteX54" fmla="*/ 2583202 w 4519987"/>
                    <a:gd name="connsiteY54" fmla="*/ 4467225 h 4496940"/>
                    <a:gd name="connsiteX55" fmla="*/ 2545102 w 4519987"/>
                    <a:gd name="connsiteY55" fmla="*/ 4486275 h 4496940"/>
                    <a:gd name="connsiteX56" fmla="*/ 2306977 w 4519987"/>
                    <a:gd name="connsiteY56" fmla="*/ 4476750 h 4496940"/>
                    <a:gd name="connsiteX57" fmla="*/ 2202202 w 4519987"/>
                    <a:gd name="connsiteY57" fmla="*/ 4457700 h 4496940"/>
                    <a:gd name="connsiteX58" fmla="*/ 2126002 w 4519987"/>
                    <a:gd name="connsiteY58" fmla="*/ 4429125 h 4496940"/>
                    <a:gd name="connsiteX59" fmla="*/ 1935502 w 4519987"/>
                    <a:gd name="connsiteY59" fmla="*/ 4400550 h 4496940"/>
                    <a:gd name="connsiteX60" fmla="*/ 1821202 w 4519987"/>
                    <a:gd name="connsiteY60" fmla="*/ 4371975 h 4496940"/>
                    <a:gd name="connsiteX61" fmla="*/ 1754527 w 4519987"/>
                    <a:gd name="connsiteY61" fmla="*/ 4352925 h 4496940"/>
                    <a:gd name="connsiteX62" fmla="*/ 1687852 w 4519987"/>
                    <a:gd name="connsiteY62" fmla="*/ 4343400 h 4496940"/>
                    <a:gd name="connsiteX63" fmla="*/ 1573552 w 4519987"/>
                    <a:gd name="connsiteY63" fmla="*/ 4305300 h 4496940"/>
                    <a:gd name="connsiteX64" fmla="*/ 1402102 w 4519987"/>
                    <a:gd name="connsiteY64" fmla="*/ 4276725 h 4496940"/>
                    <a:gd name="connsiteX65" fmla="*/ 1287802 w 4519987"/>
                    <a:gd name="connsiteY65" fmla="*/ 4229100 h 4496940"/>
                    <a:gd name="connsiteX66" fmla="*/ 1221127 w 4519987"/>
                    <a:gd name="connsiteY66" fmla="*/ 4200525 h 4496940"/>
                    <a:gd name="connsiteX67" fmla="*/ 1144927 w 4519987"/>
                    <a:gd name="connsiteY67" fmla="*/ 4171950 h 4496940"/>
                    <a:gd name="connsiteX68" fmla="*/ 1087777 w 4519987"/>
                    <a:gd name="connsiteY68" fmla="*/ 4143375 h 4496940"/>
                    <a:gd name="connsiteX69" fmla="*/ 1030627 w 4519987"/>
                    <a:gd name="connsiteY69" fmla="*/ 4124325 h 4496940"/>
                    <a:gd name="connsiteX70" fmla="*/ 925852 w 4519987"/>
                    <a:gd name="connsiteY70" fmla="*/ 4067175 h 4496940"/>
                    <a:gd name="connsiteX71" fmla="*/ 830602 w 4519987"/>
                    <a:gd name="connsiteY71" fmla="*/ 3981450 h 4496940"/>
                    <a:gd name="connsiteX72" fmla="*/ 763927 w 4519987"/>
                    <a:gd name="connsiteY72" fmla="*/ 3914775 h 4496940"/>
                    <a:gd name="connsiteX73" fmla="*/ 725827 w 4519987"/>
                    <a:gd name="connsiteY73" fmla="*/ 3876675 h 4496940"/>
                    <a:gd name="connsiteX74" fmla="*/ 697252 w 4519987"/>
                    <a:gd name="connsiteY74" fmla="*/ 3838575 h 4496940"/>
                    <a:gd name="connsiteX75" fmla="*/ 640102 w 4519987"/>
                    <a:gd name="connsiteY75" fmla="*/ 3781425 h 4496940"/>
                    <a:gd name="connsiteX76" fmla="*/ 611527 w 4519987"/>
                    <a:gd name="connsiteY76" fmla="*/ 3733800 h 4496940"/>
                    <a:gd name="connsiteX77" fmla="*/ 554377 w 4519987"/>
                    <a:gd name="connsiteY77" fmla="*/ 3657600 h 4496940"/>
                    <a:gd name="connsiteX78" fmla="*/ 525802 w 4519987"/>
                    <a:gd name="connsiteY78" fmla="*/ 3609975 h 4496940"/>
                    <a:gd name="connsiteX79" fmla="*/ 497227 w 4519987"/>
                    <a:gd name="connsiteY79" fmla="*/ 3552825 h 4496940"/>
                    <a:gd name="connsiteX80" fmla="*/ 440077 w 4519987"/>
                    <a:gd name="connsiteY80" fmla="*/ 3495675 h 4496940"/>
                    <a:gd name="connsiteX81" fmla="*/ 411502 w 4519987"/>
                    <a:gd name="connsiteY81" fmla="*/ 3448050 h 4496940"/>
                    <a:gd name="connsiteX82" fmla="*/ 278152 w 4519987"/>
                    <a:gd name="connsiteY82" fmla="*/ 3257550 h 4496940"/>
                    <a:gd name="connsiteX83" fmla="*/ 249577 w 4519987"/>
                    <a:gd name="connsiteY83" fmla="*/ 3200400 h 4496940"/>
                    <a:gd name="connsiteX84" fmla="*/ 240052 w 4519987"/>
                    <a:gd name="connsiteY84" fmla="*/ 3162300 h 4496940"/>
                    <a:gd name="connsiteX85" fmla="*/ 221002 w 4519987"/>
                    <a:gd name="connsiteY85" fmla="*/ 3105150 h 4496940"/>
                    <a:gd name="connsiteX86" fmla="*/ 173377 w 4519987"/>
                    <a:gd name="connsiteY86" fmla="*/ 3019425 h 4496940"/>
                    <a:gd name="connsiteX87" fmla="*/ 144802 w 4519987"/>
                    <a:gd name="connsiteY87" fmla="*/ 2924175 h 4496940"/>
                    <a:gd name="connsiteX88" fmla="*/ 68602 w 4519987"/>
                    <a:gd name="connsiteY88" fmla="*/ 2724150 h 4496940"/>
                    <a:gd name="connsiteX89" fmla="*/ 49552 w 4519987"/>
                    <a:gd name="connsiteY89" fmla="*/ 2638425 h 4496940"/>
                    <a:gd name="connsiteX90" fmla="*/ 40027 w 4519987"/>
                    <a:gd name="connsiteY90" fmla="*/ 2562225 h 4496940"/>
                    <a:gd name="connsiteX91" fmla="*/ 30502 w 4519987"/>
                    <a:gd name="connsiteY91" fmla="*/ 2514600 h 4496940"/>
                    <a:gd name="connsiteX92" fmla="*/ 11452 w 4519987"/>
                    <a:gd name="connsiteY92" fmla="*/ 2400300 h 4496940"/>
                    <a:gd name="connsiteX93" fmla="*/ 20977 w 4519987"/>
                    <a:gd name="connsiteY93" fmla="*/ 1905000 h 4496940"/>
                    <a:gd name="connsiteX94" fmla="*/ 30502 w 4519987"/>
                    <a:gd name="connsiteY94" fmla="*/ 1838325 h 4496940"/>
                    <a:gd name="connsiteX95" fmla="*/ 49552 w 4519987"/>
                    <a:gd name="connsiteY95" fmla="*/ 1781175 h 4496940"/>
                    <a:gd name="connsiteX96" fmla="*/ 59077 w 4519987"/>
                    <a:gd name="connsiteY96" fmla="*/ 1743075 h 4496940"/>
                    <a:gd name="connsiteX97" fmla="*/ 78127 w 4519987"/>
                    <a:gd name="connsiteY97" fmla="*/ 1685925 h 4496940"/>
                    <a:gd name="connsiteX98" fmla="*/ 87652 w 4519987"/>
                    <a:gd name="connsiteY98" fmla="*/ 1638300 h 4496940"/>
                    <a:gd name="connsiteX99" fmla="*/ 106702 w 4519987"/>
                    <a:gd name="connsiteY99" fmla="*/ 1590675 h 4496940"/>
                    <a:gd name="connsiteX100" fmla="*/ 135277 w 4519987"/>
                    <a:gd name="connsiteY100" fmla="*/ 1504950 h 4496940"/>
                    <a:gd name="connsiteX101" fmla="*/ 154327 w 4519987"/>
                    <a:gd name="connsiteY101" fmla="*/ 1419225 h 4496940"/>
                    <a:gd name="connsiteX102" fmla="*/ 230527 w 4519987"/>
                    <a:gd name="connsiteY102" fmla="*/ 1276350 h 4496940"/>
                    <a:gd name="connsiteX103" fmla="*/ 240052 w 4519987"/>
                    <a:gd name="connsiteY103" fmla="*/ 1247775 h 4496940"/>
                    <a:gd name="connsiteX104" fmla="*/ 268627 w 4519987"/>
                    <a:gd name="connsiteY104" fmla="*/ 1200150 h 4496940"/>
                    <a:gd name="connsiteX105" fmla="*/ 287677 w 4519987"/>
                    <a:gd name="connsiteY105" fmla="*/ 1152525 h 4496940"/>
                    <a:gd name="connsiteX106" fmla="*/ 316252 w 4519987"/>
                    <a:gd name="connsiteY106" fmla="*/ 1114425 h 4496940"/>
                    <a:gd name="connsiteX107" fmla="*/ 363877 w 4519987"/>
                    <a:gd name="connsiteY107" fmla="*/ 1038225 h 4496940"/>
                    <a:gd name="connsiteX108" fmla="*/ 382927 w 4519987"/>
                    <a:gd name="connsiteY108" fmla="*/ 1009650 h 4496940"/>
                    <a:gd name="connsiteX109" fmla="*/ 440077 w 4519987"/>
                    <a:gd name="connsiteY109" fmla="*/ 904875 h 4496940"/>
                    <a:gd name="connsiteX110" fmla="*/ 478177 w 4519987"/>
                    <a:gd name="connsiteY110" fmla="*/ 857250 h 4496940"/>
                    <a:gd name="connsiteX111" fmla="*/ 497227 w 4519987"/>
                    <a:gd name="connsiteY111" fmla="*/ 828675 h 4496940"/>
                    <a:gd name="connsiteX112" fmla="*/ 535327 w 4519987"/>
                    <a:gd name="connsiteY112" fmla="*/ 800100 h 4496940"/>
                    <a:gd name="connsiteX113" fmla="*/ 602002 w 4519987"/>
                    <a:gd name="connsiteY113" fmla="*/ 733425 h 4496940"/>
                    <a:gd name="connsiteX114" fmla="*/ 668677 w 4519987"/>
                    <a:gd name="connsiteY114" fmla="*/ 676275 h 4496940"/>
                    <a:gd name="connsiteX115" fmla="*/ 697252 w 4519987"/>
                    <a:gd name="connsiteY115" fmla="*/ 657225 h 4496940"/>
                    <a:gd name="connsiteX116" fmla="*/ 840127 w 4519987"/>
                    <a:gd name="connsiteY116" fmla="*/ 533400 h 4496940"/>
                    <a:gd name="connsiteX117" fmla="*/ 887752 w 4519987"/>
                    <a:gd name="connsiteY117" fmla="*/ 504825 h 4496940"/>
                    <a:gd name="connsiteX118" fmla="*/ 1167152 w 4519987"/>
                    <a:gd name="connsiteY118" fmla="*/ 311150 h 4496940"/>
                    <a:gd name="connsiteX119" fmla="*/ 1268752 w 4519987"/>
                    <a:gd name="connsiteY119" fmla="*/ 285750 h 4496940"/>
                    <a:gd name="connsiteX120" fmla="*/ 1411627 w 4519987"/>
                    <a:gd name="connsiteY120" fmla="*/ 190500 h 4496940"/>
                    <a:gd name="connsiteX121" fmla="*/ 1449727 w 4519987"/>
                    <a:gd name="connsiteY121" fmla="*/ 161925 h 4496940"/>
                    <a:gd name="connsiteX122" fmla="*/ 1525927 w 4519987"/>
                    <a:gd name="connsiteY122" fmla="*/ 152400 h 4496940"/>
                    <a:gd name="connsiteX123" fmla="*/ 1583077 w 4519987"/>
                    <a:gd name="connsiteY123" fmla="*/ 142875 h 4496940"/>
                    <a:gd name="connsiteX124" fmla="*/ 1716427 w 4519987"/>
                    <a:gd name="connsiteY124" fmla="*/ 123825 h 4496940"/>
                    <a:gd name="connsiteX125" fmla="*/ 1811677 w 4519987"/>
                    <a:gd name="connsiteY125" fmla="*/ 114300 h 4496940"/>
                    <a:gd name="connsiteX126" fmla="*/ 1859302 w 4519987"/>
                    <a:gd name="connsiteY126" fmla="*/ 104775 h 4496940"/>
                    <a:gd name="connsiteX127" fmla="*/ 1916452 w 4519987"/>
                    <a:gd name="connsiteY127" fmla="*/ 95250 h 4496940"/>
                    <a:gd name="connsiteX128" fmla="*/ 2030752 w 4519987"/>
                    <a:gd name="connsiteY128" fmla="*/ 66675 h 4496940"/>
                    <a:gd name="connsiteX129" fmla="*/ 2097427 w 4519987"/>
                    <a:gd name="connsiteY129" fmla="*/ 47625 h 4496940"/>
                    <a:gd name="connsiteX130" fmla="*/ 2164102 w 4519987"/>
                    <a:gd name="connsiteY130" fmla="*/ 38100 h 4496940"/>
                    <a:gd name="connsiteX131" fmla="*/ 2392702 w 4519987"/>
                    <a:gd name="connsiteY13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88152 w 4519987"/>
                    <a:gd name="connsiteY33" fmla="*/ 3495675 h 4496940"/>
                    <a:gd name="connsiteX34" fmla="*/ 4059577 w 4519987"/>
                    <a:gd name="connsiteY34" fmla="*/ 3533775 h 4496940"/>
                    <a:gd name="connsiteX35" fmla="*/ 4002427 w 4519987"/>
                    <a:gd name="connsiteY35" fmla="*/ 3600450 h 4496940"/>
                    <a:gd name="connsiteX36" fmla="*/ 3954802 w 4519987"/>
                    <a:gd name="connsiteY36" fmla="*/ 3648075 h 4496940"/>
                    <a:gd name="connsiteX37" fmla="*/ 3659527 w 4519987"/>
                    <a:gd name="connsiteY37" fmla="*/ 3971925 h 4496940"/>
                    <a:gd name="connsiteX38" fmla="*/ 3630952 w 4519987"/>
                    <a:gd name="connsiteY38" fmla="*/ 4010025 h 4496940"/>
                    <a:gd name="connsiteX39" fmla="*/ 3621427 w 4519987"/>
                    <a:gd name="connsiteY39" fmla="*/ 4038600 h 4496940"/>
                    <a:gd name="connsiteX40" fmla="*/ 3554752 w 4519987"/>
                    <a:gd name="connsiteY40" fmla="*/ 4095750 h 4496940"/>
                    <a:gd name="connsiteX41" fmla="*/ 3516652 w 4519987"/>
                    <a:gd name="connsiteY41" fmla="*/ 4114800 h 4496940"/>
                    <a:gd name="connsiteX42" fmla="*/ 3497602 w 4519987"/>
                    <a:gd name="connsiteY42" fmla="*/ 4143375 h 4496940"/>
                    <a:gd name="connsiteX43" fmla="*/ 3383302 w 4519987"/>
                    <a:gd name="connsiteY43" fmla="*/ 4210050 h 4496940"/>
                    <a:gd name="connsiteX44" fmla="*/ 3335677 w 4519987"/>
                    <a:gd name="connsiteY44" fmla="*/ 4238625 h 4496940"/>
                    <a:gd name="connsiteX45" fmla="*/ 3288052 w 4519987"/>
                    <a:gd name="connsiteY45" fmla="*/ 4248150 h 4496940"/>
                    <a:gd name="connsiteX46" fmla="*/ 3240427 w 4519987"/>
                    <a:gd name="connsiteY46" fmla="*/ 4267200 h 4496940"/>
                    <a:gd name="connsiteX47" fmla="*/ 3068977 w 4519987"/>
                    <a:gd name="connsiteY47" fmla="*/ 4286250 h 4496940"/>
                    <a:gd name="connsiteX48" fmla="*/ 2935627 w 4519987"/>
                    <a:gd name="connsiteY48" fmla="*/ 4333875 h 4496940"/>
                    <a:gd name="connsiteX49" fmla="*/ 2811802 w 4519987"/>
                    <a:gd name="connsiteY49" fmla="*/ 4371975 h 4496940"/>
                    <a:gd name="connsiteX50" fmla="*/ 2745127 w 4519987"/>
                    <a:gd name="connsiteY50" fmla="*/ 4410075 h 4496940"/>
                    <a:gd name="connsiteX51" fmla="*/ 2697502 w 4519987"/>
                    <a:gd name="connsiteY51" fmla="*/ 4429125 h 4496940"/>
                    <a:gd name="connsiteX52" fmla="*/ 2640352 w 4519987"/>
                    <a:gd name="connsiteY52" fmla="*/ 4457700 h 4496940"/>
                    <a:gd name="connsiteX53" fmla="*/ 2583202 w 4519987"/>
                    <a:gd name="connsiteY53" fmla="*/ 4467225 h 4496940"/>
                    <a:gd name="connsiteX54" fmla="*/ 2545102 w 4519987"/>
                    <a:gd name="connsiteY54" fmla="*/ 4486275 h 4496940"/>
                    <a:gd name="connsiteX55" fmla="*/ 2306977 w 4519987"/>
                    <a:gd name="connsiteY55" fmla="*/ 4476750 h 4496940"/>
                    <a:gd name="connsiteX56" fmla="*/ 2202202 w 4519987"/>
                    <a:gd name="connsiteY56" fmla="*/ 4457700 h 4496940"/>
                    <a:gd name="connsiteX57" fmla="*/ 2126002 w 4519987"/>
                    <a:gd name="connsiteY57" fmla="*/ 4429125 h 4496940"/>
                    <a:gd name="connsiteX58" fmla="*/ 1935502 w 4519987"/>
                    <a:gd name="connsiteY58" fmla="*/ 4400550 h 4496940"/>
                    <a:gd name="connsiteX59" fmla="*/ 1821202 w 4519987"/>
                    <a:gd name="connsiteY59" fmla="*/ 4371975 h 4496940"/>
                    <a:gd name="connsiteX60" fmla="*/ 1754527 w 4519987"/>
                    <a:gd name="connsiteY60" fmla="*/ 4352925 h 4496940"/>
                    <a:gd name="connsiteX61" fmla="*/ 1687852 w 4519987"/>
                    <a:gd name="connsiteY61" fmla="*/ 4343400 h 4496940"/>
                    <a:gd name="connsiteX62" fmla="*/ 1573552 w 4519987"/>
                    <a:gd name="connsiteY62" fmla="*/ 4305300 h 4496940"/>
                    <a:gd name="connsiteX63" fmla="*/ 1402102 w 4519987"/>
                    <a:gd name="connsiteY63" fmla="*/ 4276725 h 4496940"/>
                    <a:gd name="connsiteX64" fmla="*/ 1287802 w 4519987"/>
                    <a:gd name="connsiteY64" fmla="*/ 4229100 h 4496940"/>
                    <a:gd name="connsiteX65" fmla="*/ 1221127 w 4519987"/>
                    <a:gd name="connsiteY65" fmla="*/ 4200525 h 4496940"/>
                    <a:gd name="connsiteX66" fmla="*/ 1144927 w 4519987"/>
                    <a:gd name="connsiteY66" fmla="*/ 4171950 h 4496940"/>
                    <a:gd name="connsiteX67" fmla="*/ 1087777 w 4519987"/>
                    <a:gd name="connsiteY67" fmla="*/ 4143375 h 4496940"/>
                    <a:gd name="connsiteX68" fmla="*/ 1030627 w 4519987"/>
                    <a:gd name="connsiteY68" fmla="*/ 4124325 h 4496940"/>
                    <a:gd name="connsiteX69" fmla="*/ 925852 w 4519987"/>
                    <a:gd name="connsiteY69" fmla="*/ 4067175 h 4496940"/>
                    <a:gd name="connsiteX70" fmla="*/ 830602 w 4519987"/>
                    <a:gd name="connsiteY70" fmla="*/ 3981450 h 4496940"/>
                    <a:gd name="connsiteX71" fmla="*/ 763927 w 4519987"/>
                    <a:gd name="connsiteY71" fmla="*/ 3914775 h 4496940"/>
                    <a:gd name="connsiteX72" fmla="*/ 725827 w 4519987"/>
                    <a:gd name="connsiteY72" fmla="*/ 3876675 h 4496940"/>
                    <a:gd name="connsiteX73" fmla="*/ 697252 w 4519987"/>
                    <a:gd name="connsiteY73" fmla="*/ 3838575 h 4496940"/>
                    <a:gd name="connsiteX74" fmla="*/ 640102 w 4519987"/>
                    <a:gd name="connsiteY74" fmla="*/ 3781425 h 4496940"/>
                    <a:gd name="connsiteX75" fmla="*/ 611527 w 4519987"/>
                    <a:gd name="connsiteY75" fmla="*/ 3733800 h 4496940"/>
                    <a:gd name="connsiteX76" fmla="*/ 554377 w 4519987"/>
                    <a:gd name="connsiteY76" fmla="*/ 3657600 h 4496940"/>
                    <a:gd name="connsiteX77" fmla="*/ 525802 w 4519987"/>
                    <a:gd name="connsiteY77" fmla="*/ 3609975 h 4496940"/>
                    <a:gd name="connsiteX78" fmla="*/ 497227 w 4519987"/>
                    <a:gd name="connsiteY78" fmla="*/ 3552825 h 4496940"/>
                    <a:gd name="connsiteX79" fmla="*/ 440077 w 4519987"/>
                    <a:gd name="connsiteY79" fmla="*/ 3495675 h 4496940"/>
                    <a:gd name="connsiteX80" fmla="*/ 411502 w 4519987"/>
                    <a:gd name="connsiteY80" fmla="*/ 3448050 h 4496940"/>
                    <a:gd name="connsiteX81" fmla="*/ 278152 w 4519987"/>
                    <a:gd name="connsiteY81" fmla="*/ 3257550 h 4496940"/>
                    <a:gd name="connsiteX82" fmla="*/ 249577 w 4519987"/>
                    <a:gd name="connsiteY82" fmla="*/ 3200400 h 4496940"/>
                    <a:gd name="connsiteX83" fmla="*/ 240052 w 4519987"/>
                    <a:gd name="connsiteY83" fmla="*/ 3162300 h 4496940"/>
                    <a:gd name="connsiteX84" fmla="*/ 221002 w 4519987"/>
                    <a:gd name="connsiteY84" fmla="*/ 3105150 h 4496940"/>
                    <a:gd name="connsiteX85" fmla="*/ 173377 w 4519987"/>
                    <a:gd name="connsiteY85" fmla="*/ 3019425 h 4496940"/>
                    <a:gd name="connsiteX86" fmla="*/ 144802 w 4519987"/>
                    <a:gd name="connsiteY86" fmla="*/ 2924175 h 4496940"/>
                    <a:gd name="connsiteX87" fmla="*/ 68602 w 4519987"/>
                    <a:gd name="connsiteY87" fmla="*/ 2724150 h 4496940"/>
                    <a:gd name="connsiteX88" fmla="*/ 49552 w 4519987"/>
                    <a:gd name="connsiteY88" fmla="*/ 2638425 h 4496940"/>
                    <a:gd name="connsiteX89" fmla="*/ 40027 w 4519987"/>
                    <a:gd name="connsiteY89" fmla="*/ 2562225 h 4496940"/>
                    <a:gd name="connsiteX90" fmla="*/ 30502 w 4519987"/>
                    <a:gd name="connsiteY90" fmla="*/ 2514600 h 4496940"/>
                    <a:gd name="connsiteX91" fmla="*/ 11452 w 4519987"/>
                    <a:gd name="connsiteY91" fmla="*/ 2400300 h 4496940"/>
                    <a:gd name="connsiteX92" fmla="*/ 20977 w 4519987"/>
                    <a:gd name="connsiteY92" fmla="*/ 1905000 h 4496940"/>
                    <a:gd name="connsiteX93" fmla="*/ 30502 w 4519987"/>
                    <a:gd name="connsiteY93" fmla="*/ 1838325 h 4496940"/>
                    <a:gd name="connsiteX94" fmla="*/ 49552 w 4519987"/>
                    <a:gd name="connsiteY94" fmla="*/ 1781175 h 4496940"/>
                    <a:gd name="connsiteX95" fmla="*/ 59077 w 4519987"/>
                    <a:gd name="connsiteY95" fmla="*/ 1743075 h 4496940"/>
                    <a:gd name="connsiteX96" fmla="*/ 78127 w 4519987"/>
                    <a:gd name="connsiteY96" fmla="*/ 1685925 h 4496940"/>
                    <a:gd name="connsiteX97" fmla="*/ 87652 w 4519987"/>
                    <a:gd name="connsiteY97" fmla="*/ 1638300 h 4496940"/>
                    <a:gd name="connsiteX98" fmla="*/ 106702 w 4519987"/>
                    <a:gd name="connsiteY98" fmla="*/ 1590675 h 4496940"/>
                    <a:gd name="connsiteX99" fmla="*/ 135277 w 4519987"/>
                    <a:gd name="connsiteY99" fmla="*/ 1504950 h 4496940"/>
                    <a:gd name="connsiteX100" fmla="*/ 154327 w 4519987"/>
                    <a:gd name="connsiteY100" fmla="*/ 1419225 h 4496940"/>
                    <a:gd name="connsiteX101" fmla="*/ 230527 w 4519987"/>
                    <a:gd name="connsiteY101" fmla="*/ 1276350 h 4496940"/>
                    <a:gd name="connsiteX102" fmla="*/ 240052 w 4519987"/>
                    <a:gd name="connsiteY102" fmla="*/ 1247775 h 4496940"/>
                    <a:gd name="connsiteX103" fmla="*/ 268627 w 4519987"/>
                    <a:gd name="connsiteY103" fmla="*/ 1200150 h 4496940"/>
                    <a:gd name="connsiteX104" fmla="*/ 287677 w 4519987"/>
                    <a:gd name="connsiteY104" fmla="*/ 1152525 h 4496940"/>
                    <a:gd name="connsiteX105" fmla="*/ 316252 w 4519987"/>
                    <a:gd name="connsiteY105" fmla="*/ 1114425 h 4496940"/>
                    <a:gd name="connsiteX106" fmla="*/ 363877 w 4519987"/>
                    <a:gd name="connsiteY106" fmla="*/ 1038225 h 4496940"/>
                    <a:gd name="connsiteX107" fmla="*/ 382927 w 4519987"/>
                    <a:gd name="connsiteY107" fmla="*/ 1009650 h 4496940"/>
                    <a:gd name="connsiteX108" fmla="*/ 440077 w 4519987"/>
                    <a:gd name="connsiteY108" fmla="*/ 904875 h 4496940"/>
                    <a:gd name="connsiteX109" fmla="*/ 478177 w 4519987"/>
                    <a:gd name="connsiteY109" fmla="*/ 857250 h 4496940"/>
                    <a:gd name="connsiteX110" fmla="*/ 497227 w 4519987"/>
                    <a:gd name="connsiteY110" fmla="*/ 828675 h 4496940"/>
                    <a:gd name="connsiteX111" fmla="*/ 535327 w 4519987"/>
                    <a:gd name="connsiteY111" fmla="*/ 800100 h 4496940"/>
                    <a:gd name="connsiteX112" fmla="*/ 602002 w 4519987"/>
                    <a:gd name="connsiteY112" fmla="*/ 733425 h 4496940"/>
                    <a:gd name="connsiteX113" fmla="*/ 668677 w 4519987"/>
                    <a:gd name="connsiteY113" fmla="*/ 676275 h 4496940"/>
                    <a:gd name="connsiteX114" fmla="*/ 697252 w 4519987"/>
                    <a:gd name="connsiteY114" fmla="*/ 657225 h 4496940"/>
                    <a:gd name="connsiteX115" fmla="*/ 840127 w 4519987"/>
                    <a:gd name="connsiteY115" fmla="*/ 533400 h 4496940"/>
                    <a:gd name="connsiteX116" fmla="*/ 887752 w 4519987"/>
                    <a:gd name="connsiteY116" fmla="*/ 504825 h 4496940"/>
                    <a:gd name="connsiteX117" fmla="*/ 1167152 w 4519987"/>
                    <a:gd name="connsiteY117" fmla="*/ 311150 h 4496940"/>
                    <a:gd name="connsiteX118" fmla="*/ 1268752 w 4519987"/>
                    <a:gd name="connsiteY118" fmla="*/ 285750 h 4496940"/>
                    <a:gd name="connsiteX119" fmla="*/ 1411627 w 4519987"/>
                    <a:gd name="connsiteY119" fmla="*/ 190500 h 4496940"/>
                    <a:gd name="connsiteX120" fmla="*/ 1449727 w 4519987"/>
                    <a:gd name="connsiteY120" fmla="*/ 161925 h 4496940"/>
                    <a:gd name="connsiteX121" fmla="*/ 1525927 w 4519987"/>
                    <a:gd name="connsiteY121" fmla="*/ 152400 h 4496940"/>
                    <a:gd name="connsiteX122" fmla="*/ 1583077 w 4519987"/>
                    <a:gd name="connsiteY122" fmla="*/ 142875 h 4496940"/>
                    <a:gd name="connsiteX123" fmla="*/ 1716427 w 4519987"/>
                    <a:gd name="connsiteY123" fmla="*/ 123825 h 4496940"/>
                    <a:gd name="connsiteX124" fmla="*/ 1811677 w 4519987"/>
                    <a:gd name="connsiteY124" fmla="*/ 114300 h 4496940"/>
                    <a:gd name="connsiteX125" fmla="*/ 1859302 w 4519987"/>
                    <a:gd name="connsiteY125" fmla="*/ 104775 h 4496940"/>
                    <a:gd name="connsiteX126" fmla="*/ 1916452 w 4519987"/>
                    <a:gd name="connsiteY126" fmla="*/ 95250 h 4496940"/>
                    <a:gd name="connsiteX127" fmla="*/ 2030752 w 4519987"/>
                    <a:gd name="connsiteY127" fmla="*/ 66675 h 4496940"/>
                    <a:gd name="connsiteX128" fmla="*/ 2097427 w 4519987"/>
                    <a:gd name="connsiteY128" fmla="*/ 47625 h 4496940"/>
                    <a:gd name="connsiteX129" fmla="*/ 2164102 w 4519987"/>
                    <a:gd name="connsiteY129" fmla="*/ 38100 h 4496940"/>
                    <a:gd name="connsiteX130" fmla="*/ 2392702 w 4519987"/>
                    <a:gd name="connsiteY13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4002427 w 4519987"/>
                    <a:gd name="connsiteY34" fmla="*/ 3600450 h 4496940"/>
                    <a:gd name="connsiteX35" fmla="*/ 3954802 w 4519987"/>
                    <a:gd name="connsiteY35" fmla="*/ 3648075 h 4496940"/>
                    <a:gd name="connsiteX36" fmla="*/ 3659527 w 4519987"/>
                    <a:gd name="connsiteY36" fmla="*/ 3971925 h 4496940"/>
                    <a:gd name="connsiteX37" fmla="*/ 3630952 w 4519987"/>
                    <a:gd name="connsiteY37" fmla="*/ 4010025 h 4496940"/>
                    <a:gd name="connsiteX38" fmla="*/ 3621427 w 4519987"/>
                    <a:gd name="connsiteY38" fmla="*/ 4038600 h 4496940"/>
                    <a:gd name="connsiteX39" fmla="*/ 3554752 w 4519987"/>
                    <a:gd name="connsiteY39" fmla="*/ 4095750 h 4496940"/>
                    <a:gd name="connsiteX40" fmla="*/ 3516652 w 4519987"/>
                    <a:gd name="connsiteY40" fmla="*/ 4114800 h 4496940"/>
                    <a:gd name="connsiteX41" fmla="*/ 3497602 w 4519987"/>
                    <a:gd name="connsiteY41" fmla="*/ 4143375 h 4496940"/>
                    <a:gd name="connsiteX42" fmla="*/ 3383302 w 4519987"/>
                    <a:gd name="connsiteY42" fmla="*/ 4210050 h 4496940"/>
                    <a:gd name="connsiteX43" fmla="*/ 3335677 w 4519987"/>
                    <a:gd name="connsiteY43" fmla="*/ 4238625 h 4496940"/>
                    <a:gd name="connsiteX44" fmla="*/ 3288052 w 4519987"/>
                    <a:gd name="connsiteY44" fmla="*/ 4248150 h 4496940"/>
                    <a:gd name="connsiteX45" fmla="*/ 3240427 w 4519987"/>
                    <a:gd name="connsiteY45" fmla="*/ 4267200 h 4496940"/>
                    <a:gd name="connsiteX46" fmla="*/ 3068977 w 4519987"/>
                    <a:gd name="connsiteY46" fmla="*/ 4286250 h 4496940"/>
                    <a:gd name="connsiteX47" fmla="*/ 2935627 w 4519987"/>
                    <a:gd name="connsiteY47" fmla="*/ 4333875 h 4496940"/>
                    <a:gd name="connsiteX48" fmla="*/ 2811802 w 4519987"/>
                    <a:gd name="connsiteY48" fmla="*/ 4371975 h 4496940"/>
                    <a:gd name="connsiteX49" fmla="*/ 2745127 w 4519987"/>
                    <a:gd name="connsiteY49" fmla="*/ 4410075 h 4496940"/>
                    <a:gd name="connsiteX50" fmla="*/ 2697502 w 4519987"/>
                    <a:gd name="connsiteY50" fmla="*/ 4429125 h 4496940"/>
                    <a:gd name="connsiteX51" fmla="*/ 2640352 w 4519987"/>
                    <a:gd name="connsiteY51" fmla="*/ 4457700 h 4496940"/>
                    <a:gd name="connsiteX52" fmla="*/ 2583202 w 4519987"/>
                    <a:gd name="connsiteY52" fmla="*/ 4467225 h 4496940"/>
                    <a:gd name="connsiteX53" fmla="*/ 2545102 w 4519987"/>
                    <a:gd name="connsiteY53" fmla="*/ 4486275 h 4496940"/>
                    <a:gd name="connsiteX54" fmla="*/ 2306977 w 4519987"/>
                    <a:gd name="connsiteY54" fmla="*/ 4476750 h 4496940"/>
                    <a:gd name="connsiteX55" fmla="*/ 2202202 w 4519987"/>
                    <a:gd name="connsiteY55" fmla="*/ 4457700 h 4496940"/>
                    <a:gd name="connsiteX56" fmla="*/ 2126002 w 4519987"/>
                    <a:gd name="connsiteY56" fmla="*/ 4429125 h 4496940"/>
                    <a:gd name="connsiteX57" fmla="*/ 1935502 w 4519987"/>
                    <a:gd name="connsiteY57" fmla="*/ 4400550 h 4496940"/>
                    <a:gd name="connsiteX58" fmla="*/ 1821202 w 4519987"/>
                    <a:gd name="connsiteY58" fmla="*/ 4371975 h 4496940"/>
                    <a:gd name="connsiteX59" fmla="*/ 1754527 w 4519987"/>
                    <a:gd name="connsiteY59" fmla="*/ 4352925 h 4496940"/>
                    <a:gd name="connsiteX60" fmla="*/ 1687852 w 4519987"/>
                    <a:gd name="connsiteY60" fmla="*/ 4343400 h 4496940"/>
                    <a:gd name="connsiteX61" fmla="*/ 1573552 w 4519987"/>
                    <a:gd name="connsiteY61" fmla="*/ 4305300 h 4496940"/>
                    <a:gd name="connsiteX62" fmla="*/ 1402102 w 4519987"/>
                    <a:gd name="connsiteY62" fmla="*/ 4276725 h 4496940"/>
                    <a:gd name="connsiteX63" fmla="*/ 1287802 w 4519987"/>
                    <a:gd name="connsiteY63" fmla="*/ 4229100 h 4496940"/>
                    <a:gd name="connsiteX64" fmla="*/ 1221127 w 4519987"/>
                    <a:gd name="connsiteY64" fmla="*/ 4200525 h 4496940"/>
                    <a:gd name="connsiteX65" fmla="*/ 1144927 w 4519987"/>
                    <a:gd name="connsiteY65" fmla="*/ 4171950 h 4496940"/>
                    <a:gd name="connsiteX66" fmla="*/ 1087777 w 4519987"/>
                    <a:gd name="connsiteY66" fmla="*/ 4143375 h 4496940"/>
                    <a:gd name="connsiteX67" fmla="*/ 1030627 w 4519987"/>
                    <a:gd name="connsiteY67" fmla="*/ 4124325 h 4496940"/>
                    <a:gd name="connsiteX68" fmla="*/ 925852 w 4519987"/>
                    <a:gd name="connsiteY68" fmla="*/ 4067175 h 4496940"/>
                    <a:gd name="connsiteX69" fmla="*/ 830602 w 4519987"/>
                    <a:gd name="connsiteY69" fmla="*/ 3981450 h 4496940"/>
                    <a:gd name="connsiteX70" fmla="*/ 763927 w 4519987"/>
                    <a:gd name="connsiteY70" fmla="*/ 3914775 h 4496940"/>
                    <a:gd name="connsiteX71" fmla="*/ 725827 w 4519987"/>
                    <a:gd name="connsiteY71" fmla="*/ 3876675 h 4496940"/>
                    <a:gd name="connsiteX72" fmla="*/ 697252 w 4519987"/>
                    <a:gd name="connsiteY72" fmla="*/ 3838575 h 4496940"/>
                    <a:gd name="connsiteX73" fmla="*/ 640102 w 4519987"/>
                    <a:gd name="connsiteY73" fmla="*/ 3781425 h 4496940"/>
                    <a:gd name="connsiteX74" fmla="*/ 611527 w 4519987"/>
                    <a:gd name="connsiteY74" fmla="*/ 3733800 h 4496940"/>
                    <a:gd name="connsiteX75" fmla="*/ 554377 w 4519987"/>
                    <a:gd name="connsiteY75" fmla="*/ 3657600 h 4496940"/>
                    <a:gd name="connsiteX76" fmla="*/ 525802 w 4519987"/>
                    <a:gd name="connsiteY76" fmla="*/ 3609975 h 4496940"/>
                    <a:gd name="connsiteX77" fmla="*/ 497227 w 4519987"/>
                    <a:gd name="connsiteY77" fmla="*/ 3552825 h 4496940"/>
                    <a:gd name="connsiteX78" fmla="*/ 440077 w 4519987"/>
                    <a:gd name="connsiteY78" fmla="*/ 3495675 h 4496940"/>
                    <a:gd name="connsiteX79" fmla="*/ 411502 w 4519987"/>
                    <a:gd name="connsiteY79" fmla="*/ 3448050 h 4496940"/>
                    <a:gd name="connsiteX80" fmla="*/ 278152 w 4519987"/>
                    <a:gd name="connsiteY80" fmla="*/ 3257550 h 4496940"/>
                    <a:gd name="connsiteX81" fmla="*/ 249577 w 4519987"/>
                    <a:gd name="connsiteY81" fmla="*/ 3200400 h 4496940"/>
                    <a:gd name="connsiteX82" fmla="*/ 240052 w 4519987"/>
                    <a:gd name="connsiteY82" fmla="*/ 3162300 h 4496940"/>
                    <a:gd name="connsiteX83" fmla="*/ 221002 w 4519987"/>
                    <a:gd name="connsiteY83" fmla="*/ 3105150 h 4496940"/>
                    <a:gd name="connsiteX84" fmla="*/ 173377 w 4519987"/>
                    <a:gd name="connsiteY84" fmla="*/ 3019425 h 4496940"/>
                    <a:gd name="connsiteX85" fmla="*/ 144802 w 4519987"/>
                    <a:gd name="connsiteY85" fmla="*/ 2924175 h 4496940"/>
                    <a:gd name="connsiteX86" fmla="*/ 68602 w 4519987"/>
                    <a:gd name="connsiteY86" fmla="*/ 2724150 h 4496940"/>
                    <a:gd name="connsiteX87" fmla="*/ 49552 w 4519987"/>
                    <a:gd name="connsiteY87" fmla="*/ 2638425 h 4496940"/>
                    <a:gd name="connsiteX88" fmla="*/ 40027 w 4519987"/>
                    <a:gd name="connsiteY88" fmla="*/ 2562225 h 4496940"/>
                    <a:gd name="connsiteX89" fmla="*/ 30502 w 4519987"/>
                    <a:gd name="connsiteY89" fmla="*/ 2514600 h 4496940"/>
                    <a:gd name="connsiteX90" fmla="*/ 11452 w 4519987"/>
                    <a:gd name="connsiteY90" fmla="*/ 2400300 h 4496940"/>
                    <a:gd name="connsiteX91" fmla="*/ 20977 w 4519987"/>
                    <a:gd name="connsiteY91" fmla="*/ 1905000 h 4496940"/>
                    <a:gd name="connsiteX92" fmla="*/ 30502 w 4519987"/>
                    <a:gd name="connsiteY92" fmla="*/ 1838325 h 4496940"/>
                    <a:gd name="connsiteX93" fmla="*/ 49552 w 4519987"/>
                    <a:gd name="connsiteY93" fmla="*/ 1781175 h 4496940"/>
                    <a:gd name="connsiteX94" fmla="*/ 59077 w 4519987"/>
                    <a:gd name="connsiteY94" fmla="*/ 1743075 h 4496940"/>
                    <a:gd name="connsiteX95" fmla="*/ 78127 w 4519987"/>
                    <a:gd name="connsiteY95" fmla="*/ 1685925 h 4496940"/>
                    <a:gd name="connsiteX96" fmla="*/ 87652 w 4519987"/>
                    <a:gd name="connsiteY96" fmla="*/ 1638300 h 4496940"/>
                    <a:gd name="connsiteX97" fmla="*/ 106702 w 4519987"/>
                    <a:gd name="connsiteY97" fmla="*/ 1590675 h 4496940"/>
                    <a:gd name="connsiteX98" fmla="*/ 135277 w 4519987"/>
                    <a:gd name="connsiteY98" fmla="*/ 1504950 h 4496940"/>
                    <a:gd name="connsiteX99" fmla="*/ 154327 w 4519987"/>
                    <a:gd name="connsiteY99" fmla="*/ 1419225 h 4496940"/>
                    <a:gd name="connsiteX100" fmla="*/ 230527 w 4519987"/>
                    <a:gd name="connsiteY100" fmla="*/ 1276350 h 4496940"/>
                    <a:gd name="connsiteX101" fmla="*/ 240052 w 4519987"/>
                    <a:gd name="connsiteY101" fmla="*/ 1247775 h 4496940"/>
                    <a:gd name="connsiteX102" fmla="*/ 268627 w 4519987"/>
                    <a:gd name="connsiteY102" fmla="*/ 1200150 h 4496940"/>
                    <a:gd name="connsiteX103" fmla="*/ 287677 w 4519987"/>
                    <a:gd name="connsiteY103" fmla="*/ 1152525 h 4496940"/>
                    <a:gd name="connsiteX104" fmla="*/ 316252 w 4519987"/>
                    <a:gd name="connsiteY104" fmla="*/ 1114425 h 4496940"/>
                    <a:gd name="connsiteX105" fmla="*/ 363877 w 4519987"/>
                    <a:gd name="connsiteY105" fmla="*/ 1038225 h 4496940"/>
                    <a:gd name="connsiteX106" fmla="*/ 382927 w 4519987"/>
                    <a:gd name="connsiteY106" fmla="*/ 1009650 h 4496940"/>
                    <a:gd name="connsiteX107" fmla="*/ 440077 w 4519987"/>
                    <a:gd name="connsiteY107" fmla="*/ 904875 h 4496940"/>
                    <a:gd name="connsiteX108" fmla="*/ 478177 w 4519987"/>
                    <a:gd name="connsiteY108" fmla="*/ 857250 h 4496940"/>
                    <a:gd name="connsiteX109" fmla="*/ 497227 w 4519987"/>
                    <a:gd name="connsiteY109" fmla="*/ 828675 h 4496940"/>
                    <a:gd name="connsiteX110" fmla="*/ 535327 w 4519987"/>
                    <a:gd name="connsiteY110" fmla="*/ 800100 h 4496940"/>
                    <a:gd name="connsiteX111" fmla="*/ 602002 w 4519987"/>
                    <a:gd name="connsiteY111" fmla="*/ 733425 h 4496940"/>
                    <a:gd name="connsiteX112" fmla="*/ 668677 w 4519987"/>
                    <a:gd name="connsiteY112" fmla="*/ 676275 h 4496940"/>
                    <a:gd name="connsiteX113" fmla="*/ 697252 w 4519987"/>
                    <a:gd name="connsiteY113" fmla="*/ 657225 h 4496940"/>
                    <a:gd name="connsiteX114" fmla="*/ 840127 w 4519987"/>
                    <a:gd name="connsiteY114" fmla="*/ 533400 h 4496940"/>
                    <a:gd name="connsiteX115" fmla="*/ 887752 w 4519987"/>
                    <a:gd name="connsiteY115" fmla="*/ 504825 h 4496940"/>
                    <a:gd name="connsiteX116" fmla="*/ 1167152 w 4519987"/>
                    <a:gd name="connsiteY116" fmla="*/ 311150 h 4496940"/>
                    <a:gd name="connsiteX117" fmla="*/ 1268752 w 4519987"/>
                    <a:gd name="connsiteY117" fmla="*/ 285750 h 4496940"/>
                    <a:gd name="connsiteX118" fmla="*/ 1411627 w 4519987"/>
                    <a:gd name="connsiteY118" fmla="*/ 190500 h 4496940"/>
                    <a:gd name="connsiteX119" fmla="*/ 1449727 w 4519987"/>
                    <a:gd name="connsiteY119" fmla="*/ 161925 h 4496940"/>
                    <a:gd name="connsiteX120" fmla="*/ 1525927 w 4519987"/>
                    <a:gd name="connsiteY120" fmla="*/ 152400 h 4496940"/>
                    <a:gd name="connsiteX121" fmla="*/ 1583077 w 4519987"/>
                    <a:gd name="connsiteY121" fmla="*/ 142875 h 4496940"/>
                    <a:gd name="connsiteX122" fmla="*/ 1716427 w 4519987"/>
                    <a:gd name="connsiteY122" fmla="*/ 123825 h 4496940"/>
                    <a:gd name="connsiteX123" fmla="*/ 1811677 w 4519987"/>
                    <a:gd name="connsiteY123" fmla="*/ 114300 h 4496940"/>
                    <a:gd name="connsiteX124" fmla="*/ 1859302 w 4519987"/>
                    <a:gd name="connsiteY124" fmla="*/ 104775 h 4496940"/>
                    <a:gd name="connsiteX125" fmla="*/ 1916452 w 4519987"/>
                    <a:gd name="connsiteY125" fmla="*/ 95250 h 4496940"/>
                    <a:gd name="connsiteX126" fmla="*/ 2030752 w 4519987"/>
                    <a:gd name="connsiteY126" fmla="*/ 66675 h 4496940"/>
                    <a:gd name="connsiteX127" fmla="*/ 2097427 w 4519987"/>
                    <a:gd name="connsiteY127" fmla="*/ 47625 h 4496940"/>
                    <a:gd name="connsiteX128" fmla="*/ 2164102 w 4519987"/>
                    <a:gd name="connsiteY128" fmla="*/ 38100 h 4496940"/>
                    <a:gd name="connsiteX129" fmla="*/ 2392702 w 4519987"/>
                    <a:gd name="connsiteY12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497602 w 4519987"/>
                    <a:gd name="connsiteY40" fmla="*/ 4143375 h 4496940"/>
                    <a:gd name="connsiteX41" fmla="*/ 3383302 w 4519987"/>
                    <a:gd name="connsiteY41" fmla="*/ 4210050 h 4496940"/>
                    <a:gd name="connsiteX42" fmla="*/ 3335677 w 4519987"/>
                    <a:gd name="connsiteY42" fmla="*/ 4238625 h 4496940"/>
                    <a:gd name="connsiteX43" fmla="*/ 3288052 w 4519987"/>
                    <a:gd name="connsiteY43" fmla="*/ 4248150 h 4496940"/>
                    <a:gd name="connsiteX44" fmla="*/ 3240427 w 4519987"/>
                    <a:gd name="connsiteY44" fmla="*/ 4267200 h 4496940"/>
                    <a:gd name="connsiteX45" fmla="*/ 3068977 w 4519987"/>
                    <a:gd name="connsiteY45" fmla="*/ 4286250 h 4496940"/>
                    <a:gd name="connsiteX46" fmla="*/ 2935627 w 4519987"/>
                    <a:gd name="connsiteY46" fmla="*/ 4333875 h 4496940"/>
                    <a:gd name="connsiteX47" fmla="*/ 2811802 w 4519987"/>
                    <a:gd name="connsiteY47" fmla="*/ 4371975 h 4496940"/>
                    <a:gd name="connsiteX48" fmla="*/ 2745127 w 4519987"/>
                    <a:gd name="connsiteY48" fmla="*/ 4410075 h 4496940"/>
                    <a:gd name="connsiteX49" fmla="*/ 2697502 w 4519987"/>
                    <a:gd name="connsiteY49" fmla="*/ 4429125 h 4496940"/>
                    <a:gd name="connsiteX50" fmla="*/ 2640352 w 4519987"/>
                    <a:gd name="connsiteY50" fmla="*/ 4457700 h 4496940"/>
                    <a:gd name="connsiteX51" fmla="*/ 2583202 w 4519987"/>
                    <a:gd name="connsiteY51" fmla="*/ 4467225 h 4496940"/>
                    <a:gd name="connsiteX52" fmla="*/ 2545102 w 4519987"/>
                    <a:gd name="connsiteY52" fmla="*/ 4486275 h 4496940"/>
                    <a:gd name="connsiteX53" fmla="*/ 2306977 w 4519987"/>
                    <a:gd name="connsiteY53" fmla="*/ 4476750 h 4496940"/>
                    <a:gd name="connsiteX54" fmla="*/ 2202202 w 4519987"/>
                    <a:gd name="connsiteY54" fmla="*/ 4457700 h 4496940"/>
                    <a:gd name="connsiteX55" fmla="*/ 2126002 w 4519987"/>
                    <a:gd name="connsiteY55" fmla="*/ 4429125 h 4496940"/>
                    <a:gd name="connsiteX56" fmla="*/ 1935502 w 4519987"/>
                    <a:gd name="connsiteY56" fmla="*/ 4400550 h 4496940"/>
                    <a:gd name="connsiteX57" fmla="*/ 1821202 w 4519987"/>
                    <a:gd name="connsiteY57" fmla="*/ 4371975 h 4496940"/>
                    <a:gd name="connsiteX58" fmla="*/ 1754527 w 4519987"/>
                    <a:gd name="connsiteY58" fmla="*/ 4352925 h 4496940"/>
                    <a:gd name="connsiteX59" fmla="*/ 1687852 w 4519987"/>
                    <a:gd name="connsiteY59" fmla="*/ 4343400 h 4496940"/>
                    <a:gd name="connsiteX60" fmla="*/ 1573552 w 4519987"/>
                    <a:gd name="connsiteY60" fmla="*/ 4305300 h 4496940"/>
                    <a:gd name="connsiteX61" fmla="*/ 1402102 w 4519987"/>
                    <a:gd name="connsiteY61" fmla="*/ 4276725 h 4496940"/>
                    <a:gd name="connsiteX62" fmla="*/ 1287802 w 4519987"/>
                    <a:gd name="connsiteY62" fmla="*/ 4229100 h 4496940"/>
                    <a:gd name="connsiteX63" fmla="*/ 1221127 w 4519987"/>
                    <a:gd name="connsiteY63" fmla="*/ 4200525 h 4496940"/>
                    <a:gd name="connsiteX64" fmla="*/ 1144927 w 4519987"/>
                    <a:gd name="connsiteY64" fmla="*/ 4171950 h 4496940"/>
                    <a:gd name="connsiteX65" fmla="*/ 1087777 w 4519987"/>
                    <a:gd name="connsiteY65" fmla="*/ 4143375 h 4496940"/>
                    <a:gd name="connsiteX66" fmla="*/ 1030627 w 4519987"/>
                    <a:gd name="connsiteY66" fmla="*/ 4124325 h 4496940"/>
                    <a:gd name="connsiteX67" fmla="*/ 925852 w 4519987"/>
                    <a:gd name="connsiteY67" fmla="*/ 4067175 h 4496940"/>
                    <a:gd name="connsiteX68" fmla="*/ 830602 w 4519987"/>
                    <a:gd name="connsiteY68" fmla="*/ 3981450 h 4496940"/>
                    <a:gd name="connsiteX69" fmla="*/ 763927 w 4519987"/>
                    <a:gd name="connsiteY69" fmla="*/ 3914775 h 4496940"/>
                    <a:gd name="connsiteX70" fmla="*/ 725827 w 4519987"/>
                    <a:gd name="connsiteY70" fmla="*/ 3876675 h 4496940"/>
                    <a:gd name="connsiteX71" fmla="*/ 697252 w 4519987"/>
                    <a:gd name="connsiteY71" fmla="*/ 3838575 h 4496940"/>
                    <a:gd name="connsiteX72" fmla="*/ 640102 w 4519987"/>
                    <a:gd name="connsiteY72" fmla="*/ 3781425 h 4496940"/>
                    <a:gd name="connsiteX73" fmla="*/ 611527 w 4519987"/>
                    <a:gd name="connsiteY73" fmla="*/ 3733800 h 4496940"/>
                    <a:gd name="connsiteX74" fmla="*/ 554377 w 4519987"/>
                    <a:gd name="connsiteY74" fmla="*/ 3657600 h 4496940"/>
                    <a:gd name="connsiteX75" fmla="*/ 525802 w 4519987"/>
                    <a:gd name="connsiteY75" fmla="*/ 3609975 h 4496940"/>
                    <a:gd name="connsiteX76" fmla="*/ 497227 w 4519987"/>
                    <a:gd name="connsiteY76" fmla="*/ 3552825 h 4496940"/>
                    <a:gd name="connsiteX77" fmla="*/ 440077 w 4519987"/>
                    <a:gd name="connsiteY77" fmla="*/ 3495675 h 4496940"/>
                    <a:gd name="connsiteX78" fmla="*/ 411502 w 4519987"/>
                    <a:gd name="connsiteY78" fmla="*/ 3448050 h 4496940"/>
                    <a:gd name="connsiteX79" fmla="*/ 278152 w 4519987"/>
                    <a:gd name="connsiteY79" fmla="*/ 3257550 h 4496940"/>
                    <a:gd name="connsiteX80" fmla="*/ 249577 w 4519987"/>
                    <a:gd name="connsiteY80" fmla="*/ 3200400 h 4496940"/>
                    <a:gd name="connsiteX81" fmla="*/ 240052 w 4519987"/>
                    <a:gd name="connsiteY81" fmla="*/ 3162300 h 4496940"/>
                    <a:gd name="connsiteX82" fmla="*/ 221002 w 4519987"/>
                    <a:gd name="connsiteY82" fmla="*/ 3105150 h 4496940"/>
                    <a:gd name="connsiteX83" fmla="*/ 173377 w 4519987"/>
                    <a:gd name="connsiteY83" fmla="*/ 3019425 h 4496940"/>
                    <a:gd name="connsiteX84" fmla="*/ 144802 w 4519987"/>
                    <a:gd name="connsiteY84" fmla="*/ 2924175 h 4496940"/>
                    <a:gd name="connsiteX85" fmla="*/ 68602 w 4519987"/>
                    <a:gd name="connsiteY85" fmla="*/ 2724150 h 4496940"/>
                    <a:gd name="connsiteX86" fmla="*/ 49552 w 4519987"/>
                    <a:gd name="connsiteY86" fmla="*/ 2638425 h 4496940"/>
                    <a:gd name="connsiteX87" fmla="*/ 40027 w 4519987"/>
                    <a:gd name="connsiteY87" fmla="*/ 2562225 h 4496940"/>
                    <a:gd name="connsiteX88" fmla="*/ 30502 w 4519987"/>
                    <a:gd name="connsiteY88" fmla="*/ 2514600 h 4496940"/>
                    <a:gd name="connsiteX89" fmla="*/ 11452 w 4519987"/>
                    <a:gd name="connsiteY89" fmla="*/ 2400300 h 4496940"/>
                    <a:gd name="connsiteX90" fmla="*/ 20977 w 4519987"/>
                    <a:gd name="connsiteY90" fmla="*/ 1905000 h 4496940"/>
                    <a:gd name="connsiteX91" fmla="*/ 30502 w 4519987"/>
                    <a:gd name="connsiteY91" fmla="*/ 1838325 h 4496940"/>
                    <a:gd name="connsiteX92" fmla="*/ 49552 w 4519987"/>
                    <a:gd name="connsiteY92" fmla="*/ 1781175 h 4496940"/>
                    <a:gd name="connsiteX93" fmla="*/ 59077 w 4519987"/>
                    <a:gd name="connsiteY93" fmla="*/ 1743075 h 4496940"/>
                    <a:gd name="connsiteX94" fmla="*/ 78127 w 4519987"/>
                    <a:gd name="connsiteY94" fmla="*/ 1685925 h 4496940"/>
                    <a:gd name="connsiteX95" fmla="*/ 87652 w 4519987"/>
                    <a:gd name="connsiteY95" fmla="*/ 1638300 h 4496940"/>
                    <a:gd name="connsiteX96" fmla="*/ 106702 w 4519987"/>
                    <a:gd name="connsiteY96" fmla="*/ 1590675 h 4496940"/>
                    <a:gd name="connsiteX97" fmla="*/ 135277 w 4519987"/>
                    <a:gd name="connsiteY97" fmla="*/ 1504950 h 4496940"/>
                    <a:gd name="connsiteX98" fmla="*/ 154327 w 4519987"/>
                    <a:gd name="connsiteY98" fmla="*/ 1419225 h 4496940"/>
                    <a:gd name="connsiteX99" fmla="*/ 230527 w 4519987"/>
                    <a:gd name="connsiteY99" fmla="*/ 1276350 h 4496940"/>
                    <a:gd name="connsiteX100" fmla="*/ 240052 w 4519987"/>
                    <a:gd name="connsiteY100" fmla="*/ 1247775 h 4496940"/>
                    <a:gd name="connsiteX101" fmla="*/ 268627 w 4519987"/>
                    <a:gd name="connsiteY101" fmla="*/ 1200150 h 4496940"/>
                    <a:gd name="connsiteX102" fmla="*/ 287677 w 4519987"/>
                    <a:gd name="connsiteY102" fmla="*/ 1152525 h 4496940"/>
                    <a:gd name="connsiteX103" fmla="*/ 316252 w 4519987"/>
                    <a:gd name="connsiteY103" fmla="*/ 1114425 h 4496940"/>
                    <a:gd name="connsiteX104" fmla="*/ 363877 w 4519987"/>
                    <a:gd name="connsiteY104" fmla="*/ 1038225 h 4496940"/>
                    <a:gd name="connsiteX105" fmla="*/ 382927 w 4519987"/>
                    <a:gd name="connsiteY105" fmla="*/ 1009650 h 4496940"/>
                    <a:gd name="connsiteX106" fmla="*/ 440077 w 4519987"/>
                    <a:gd name="connsiteY106" fmla="*/ 904875 h 4496940"/>
                    <a:gd name="connsiteX107" fmla="*/ 478177 w 4519987"/>
                    <a:gd name="connsiteY107" fmla="*/ 857250 h 4496940"/>
                    <a:gd name="connsiteX108" fmla="*/ 497227 w 4519987"/>
                    <a:gd name="connsiteY108" fmla="*/ 828675 h 4496940"/>
                    <a:gd name="connsiteX109" fmla="*/ 535327 w 4519987"/>
                    <a:gd name="connsiteY109" fmla="*/ 800100 h 4496940"/>
                    <a:gd name="connsiteX110" fmla="*/ 602002 w 4519987"/>
                    <a:gd name="connsiteY110" fmla="*/ 733425 h 4496940"/>
                    <a:gd name="connsiteX111" fmla="*/ 668677 w 4519987"/>
                    <a:gd name="connsiteY111" fmla="*/ 676275 h 4496940"/>
                    <a:gd name="connsiteX112" fmla="*/ 697252 w 4519987"/>
                    <a:gd name="connsiteY112" fmla="*/ 657225 h 4496940"/>
                    <a:gd name="connsiteX113" fmla="*/ 840127 w 4519987"/>
                    <a:gd name="connsiteY113" fmla="*/ 533400 h 4496940"/>
                    <a:gd name="connsiteX114" fmla="*/ 887752 w 4519987"/>
                    <a:gd name="connsiteY114" fmla="*/ 504825 h 4496940"/>
                    <a:gd name="connsiteX115" fmla="*/ 1167152 w 4519987"/>
                    <a:gd name="connsiteY115" fmla="*/ 311150 h 4496940"/>
                    <a:gd name="connsiteX116" fmla="*/ 1268752 w 4519987"/>
                    <a:gd name="connsiteY116" fmla="*/ 285750 h 4496940"/>
                    <a:gd name="connsiteX117" fmla="*/ 1411627 w 4519987"/>
                    <a:gd name="connsiteY117" fmla="*/ 190500 h 4496940"/>
                    <a:gd name="connsiteX118" fmla="*/ 1449727 w 4519987"/>
                    <a:gd name="connsiteY118" fmla="*/ 161925 h 4496940"/>
                    <a:gd name="connsiteX119" fmla="*/ 1525927 w 4519987"/>
                    <a:gd name="connsiteY119" fmla="*/ 152400 h 4496940"/>
                    <a:gd name="connsiteX120" fmla="*/ 1583077 w 4519987"/>
                    <a:gd name="connsiteY120" fmla="*/ 142875 h 4496940"/>
                    <a:gd name="connsiteX121" fmla="*/ 1716427 w 4519987"/>
                    <a:gd name="connsiteY121" fmla="*/ 123825 h 4496940"/>
                    <a:gd name="connsiteX122" fmla="*/ 1811677 w 4519987"/>
                    <a:gd name="connsiteY122" fmla="*/ 114300 h 4496940"/>
                    <a:gd name="connsiteX123" fmla="*/ 1859302 w 4519987"/>
                    <a:gd name="connsiteY123" fmla="*/ 104775 h 4496940"/>
                    <a:gd name="connsiteX124" fmla="*/ 1916452 w 4519987"/>
                    <a:gd name="connsiteY124" fmla="*/ 95250 h 4496940"/>
                    <a:gd name="connsiteX125" fmla="*/ 2030752 w 4519987"/>
                    <a:gd name="connsiteY125" fmla="*/ 66675 h 4496940"/>
                    <a:gd name="connsiteX126" fmla="*/ 2097427 w 4519987"/>
                    <a:gd name="connsiteY126" fmla="*/ 47625 h 4496940"/>
                    <a:gd name="connsiteX127" fmla="*/ 2164102 w 4519987"/>
                    <a:gd name="connsiteY127" fmla="*/ 38100 h 4496940"/>
                    <a:gd name="connsiteX128" fmla="*/ 2392702 w 4519987"/>
                    <a:gd name="connsiteY12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383302 w 4519987"/>
                    <a:gd name="connsiteY40" fmla="*/ 4210050 h 4496940"/>
                    <a:gd name="connsiteX41" fmla="*/ 3335677 w 4519987"/>
                    <a:gd name="connsiteY41" fmla="*/ 4238625 h 4496940"/>
                    <a:gd name="connsiteX42" fmla="*/ 3288052 w 4519987"/>
                    <a:gd name="connsiteY42" fmla="*/ 4248150 h 4496940"/>
                    <a:gd name="connsiteX43" fmla="*/ 3240427 w 4519987"/>
                    <a:gd name="connsiteY43" fmla="*/ 4267200 h 4496940"/>
                    <a:gd name="connsiteX44" fmla="*/ 3068977 w 4519987"/>
                    <a:gd name="connsiteY44" fmla="*/ 4286250 h 4496940"/>
                    <a:gd name="connsiteX45" fmla="*/ 2935627 w 4519987"/>
                    <a:gd name="connsiteY45" fmla="*/ 4333875 h 4496940"/>
                    <a:gd name="connsiteX46" fmla="*/ 2811802 w 4519987"/>
                    <a:gd name="connsiteY46" fmla="*/ 4371975 h 4496940"/>
                    <a:gd name="connsiteX47" fmla="*/ 2745127 w 4519987"/>
                    <a:gd name="connsiteY47" fmla="*/ 4410075 h 4496940"/>
                    <a:gd name="connsiteX48" fmla="*/ 2697502 w 4519987"/>
                    <a:gd name="connsiteY48" fmla="*/ 4429125 h 4496940"/>
                    <a:gd name="connsiteX49" fmla="*/ 2640352 w 4519987"/>
                    <a:gd name="connsiteY49" fmla="*/ 4457700 h 4496940"/>
                    <a:gd name="connsiteX50" fmla="*/ 2583202 w 4519987"/>
                    <a:gd name="connsiteY50" fmla="*/ 4467225 h 4496940"/>
                    <a:gd name="connsiteX51" fmla="*/ 2545102 w 4519987"/>
                    <a:gd name="connsiteY51" fmla="*/ 4486275 h 4496940"/>
                    <a:gd name="connsiteX52" fmla="*/ 2306977 w 4519987"/>
                    <a:gd name="connsiteY52" fmla="*/ 4476750 h 4496940"/>
                    <a:gd name="connsiteX53" fmla="*/ 2202202 w 4519987"/>
                    <a:gd name="connsiteY53" fmla="*/ 4457700 h 4496940"/>
                    <a:gd name="connsiteX54" fmla="*/ 2126002 w 4519987"/>
                    <a:gd name="connsiteY54" fmla="*/ 4429125 h 4496940"/>
                    <a:gd name="connsiteX55" fmla="*/ 1935502 w 4519987"/>
                    <a:gd name="connsiteY55" fmla="*/ 4400550 h 4496940"/>
                    <a:gd name="connsiteX56" fmla="*/ 1821202 w 4519987"/>
                    <a:gd name="connsiteY56" fmla="*/ 4371975 h 4496940"/>
                    <a:gd name="connsiteX57" fmla="*/ 1754527 w 4519987"/>
                    <a:gd name="connsiteY57" fmla="*/ 4352925 h 4496940"/>
                    <a:gd name="connsiteX58" fmla="*/ 1687852 w 4519987"/>
                    <a:gd name="connsiteY58" fmla="*/ 4343400 h 4496940"/>
                    <a:gd name="connsiteX59" fmla="*/ 1573552 w 4519987"/>
                    <a:gd name="connsiteY59" fmla="*/ 4305300 h 4496940"/>
                    <a:gd name="connsiteX60" fmla="*/ 1402102 w 4519987"/>
                    <a:gd name="connsiteY60" fmla="*/ 4276725 h 4496940"/>
                    <a:gd name="connsiteX61" fmla="*/ 1287802 w 4519987"/>
                    <a:gd name="connsiteY61" fmla="*/ 4229100 h 4496940"/>
                    <a:gd name="connsiteX62" fmla="*/ 1221127 w 4519987"/>
                    <a:gd name="connsiteY62" fmla="*/ 4200525 h 4496940"/>
                    <a:gd name="connsiteX63" fmla="*/ 1144927 w 4519987"/>
                    <a:gd name="connsiteY63" fmla="*/ 4171950 h 4496940"/>
                    <a:gd name="connsiteX64" fmla="*/ 1087777 w 4519987"/>
                    <a:gd name="connsiteY64" fmla="*/ 4143375 h 4496940"/>
                    <a:gd name="connsiteX65" fmla="*/ 1030627 w 4519987"/>
                    <a:gd name="connsiteY65" fmla="*/ 4124325 h 4496940"/>
                    <a:gd name="connsiteX66" fmla="*/ 925852 w 4519987"/>
                    <a:gd name="connsiteY66" fmla="*/ 4067175 h 4496940"/>
                    <a:gd name="connsiteX67" fmla="*/ 830602 w 4519987"/>
                    <a:gd name="connsiteY67" fmla="*/ 3981450 h 4496940"/>
                    <a:gd name="connsiteX68" fmla="*/ 763927 w 4519987"/>
                    <a:gd name="connsiteY68" fmla="*/ 3914775 h 4496940"/>
                    <a:gd name="connsiteX69" fmla="*/ 725827 w 4519987"/>
                    <a:gd name="connsiteY69" fmla="*/ 3876675 h 4496940"/>
                    <a:gd name="connsiteX70" fmla="*/ 697252 w 4519987"/>
                    <a:gd name="connsiteY70" fmla="*/ 3838575 h 4496940"/>
                    <a:gd name="connsiteX71" fmla="*/ 640102 w 4519987"/>
                    <a:gd name="connsiteY71" fmla="*/ 3781425 h 4496940"/>
                    <a:gd name="connsiteX72" fmla="*/ 611527 w 4519987"/>
                    <a:gd name="connsiteY72" fmla="*/ 3733800 h 4496940"/>
                    <a:gd name="connsiteX73" fmla="*/ 554377 w 4519987"/>
                    <a:gd name="connsiteY73" fmla="*/ 3657600 h 4496940"/>
                    <a:gd name="connsiteX74" fmla="*/ 525802 w 4519987"/>
                    <a:gd name="connsiteY74" fmla="*/ 3609975 h 4496940"/>
                    <a:gd name="connsiteX75" fmla="*/ 497227 w 4519987"/>
                    <a:gd name="connsiteY75" fmla="*/ 3552825 h 4496940"/>
                    <a:gd name="connsiteX76" fmla="*/ 440077 w 4519987"/>
                    <a:gd name="connsiteY76" fmla="*/ 3495675 h 4496940"/>
                    <a:gd name="connsiteX77" fmla="*/ 411502 w 4519987"/>
                    <a:gd name="connsiteY77" fmla="*/ 3448050 h 4496940"/>
                    <a:gd name="connsiteX78" fmla="*/ 278152 w 4519987"/>
                    <a:gd name="connsiteY78" fmla="*/ 3257550 h 4496940"/>
                    <a:gd name="connsiteX79" fmla="*/ 249577 w 4519987"/>
                    <a:gd name="connsiteY79" fmla="*/ 3200400 h 4496940"/>
                    <a:gd name="connsiteX80" fmla="*/ 240052 w 4519987"/>
                    <a:gd name="connsiteY80" fmla="*/ 3162300 h 4496940"/>
                    <a:gd name="connsiteX81" fmla="*/ 221002 w 4519987"/>
                    <a:gd name="connsiteY81" fmla="*/ 3105150 h 4496940"/>
                    <a:gd name="connsiteX82" fmla="*/ 173377 w 4519987"/>
                    <a:gd name="connsiteY82" fmla="*/ 3019425 h 4496940"/>
                    <a:gd name="connsiteX83" fmla="*/ 144802 w 4519987"/>
                    <a:gd name="connsiteY83" fmla="*/ 2924175 h 4496940"/>
                    <a:gd name="connsiteX84" fmla="*/ 68602 w 4519987"/>
                    <a:gd name="connsiteY84" fmla="*/ 2724150 h 4496940"/>
                    <a:gd name="connsiteX85" fmla="*/ 49552 w 4519987"/>
                    <a:gd name="connsiteY85" fmla="*/ 2638425 h 4496940"/>
                    <a:gd name="connsiteX86" fmla="*/ 40027 w 4519987"/>
                    <a:gd name="connsiteY86" fmla="*/ 2562225 h 4496940"/>
                    <a:gd name="connsiteX87" fmla="*/ 30502 w 4519987"/>
                    <a:gd name="connsiteY87" fmla="*/ 2514600 h 4496940"/>
                    <a:gd name="connsiteX88" fmla="*/ 11452 w 4519987"/>
                    <a:gd name="connsiteY88" fmla="*/ 2400300 h 4496940"/>
                    <a:gd name="connsiteX89" fmla="*/ 20977 w 4519987"/>
                    <a:gd name="connsiteY89" fmla="*/ 1905000 h 4496940"/>
                    <a:gd name="connsiteX90" fmla="*/ 30502 w 4519987"/>
                    <a:gd name="connsiteY90" fmla="*/ 1838325 h 4496940"/>
                    <a:gd name="connsiteX91" fmla="*/ 49552 w 4519987"/>
                    <a:gd name="connsiteY91" fmla="*/ 1781175 h 4496940"/>
                    <a:gd name="connsiteX92" fmla="*/ 59077 w 4519987"/>
                    <a:gd name="connsiteY92" fmla="*/ 1743075 h 4496940"/>
                    <a:gd name="connsiteX93" fmla="*/ 78127 w 4519987"/>
                    <a:gd name="connsiteY93" fmla="*/ 1685925 h 4496940"/>
                    <a:gd name="connsiteX94" fmla="*/ 87652 w 4519987"/>
                    <a:gd name="connsiteY94" fmla="*/ 1638300 h 4496940"/>
                    <a:gd name="connsiteX95" fmla="*/ 106702 w 4519987"/>
                    <a:gd name="connsiteY95" fmla="*/ 1590675 h 4496940"/>
                    <a:gd name="connsiteX96" fmla="*/ 135277 w 4519987"/>
                    <a:gd name="connsiteY96" fmla="*/ 1504950 h 4496940"/>
                    <a:gd name="connsiteX97" fmla="*/ 154327 w 4519987"/>
                    <a:gd name="connsiteY97" fmla="*/ 1419225 h 4496940"/>
                    <a:gd name="connsiteX98" fmla="*/ 230527 w 4519987"/>
                    <a:gd name="connsiteY98" fmla="*/ 1276350 h 4496940"/>
                    <a:gd name="connsiteX99" fmla="*/ 240052 w 4519987"/>
                    <a:gd name="connsiteY99" fmla="*/ 1247775 h 4496940"/>
                    <a:gd name="connsiteX100" fmla="*/ 268627 w 4519987"/>
                    <a:gd name="connsiteY100" fmla="*/ 1200150 h 4496940"/>
                    <a:gd name="connsiteX101" fmla="*/ 287677 w 4519987"/>
                    <a:gd name="connsiteY101" fmla="*/ 1152525 h 4496940"/>
                    <a:gd name="connsiteX102" fmla="*/ 316252 w 4519987"/>
                    <a:gd name="connsiteY102" fmla="*/ 1114425 h 4496940"/>
                    <a:gd name="connsiteX103" fmla="*/ 363877 w 4519987"/>
                    <a:gd name="connsiteY103" fmla="*/ 1038225 h 4496940"/>
                    <a:gd name="connsiteX104" fmla="*/ 382927 w 4519987"/>
                    <a:gd name="connsiteY104" fmla="*/ 1009650 h 4496940"/>
                    <a:gd name="connsiteX105" fmla="*/ 440077 w 4519987"/>
                    <a:gd name="connsiteY105" fmla="*/ 904875 h 4496940"/>
                    <a:gd name="connsiteX106" fmla="*/ 478177 w 4519987"/>
                    <a:gd name="connsiteY106" fmla="*/ 857250 h 4496940"/>
                    <a:gd name="connsiteX107" fmla="*/ 497227 w 4519987"/>
                    <a:gd name="connsiteY107" fmla="*/ 828675 h 4496940"/>
                    <a:gd name="connsiteX108" fmla="*/ 535327 w 4519987"/>
                    <a:gd name="connsiteY108" fmla="*/ 800100 h 4496940"/>
                    <a:gd name="connsiteX109" fmla="*/ 602002 w 4519987"/>
                    <a:gd name="connsiteY109" fmla="*/ 733425 h 4496940"/>
                    <a:gd name="connsiteX110" fmla="*/ 668677 w 4519987"/>
                    <a:gd name="connsiteY110" fmla="*/ 676275 h 4496940"/>
                    <a:gd name="connsiteX111" fmla="*/ 697252 w 4519987"/>
                    <a:gd name="connsiteY111" fmla="*/ 657225 h 4496940"/>
                    <a:gd name="connsiteX112" fmla="*/ 840127 w 4519987"/>
                    <a:gd name="connsiteY112" fmla="*/ 533400 h 4496940"/>
                    <a:gd name="connsiteX113" fmla="*/ 887752 w 4519987"/>
                    <a:gd name="connsiteY113" fmla="*/ 504825 h 4496940"/>
                    <a:gd name="connsiteX114" fmla="*/ 1167152 w 4519987"/>
                    <a:gd name="connsiteY114" fmla="*/ 311150 h 4496940"/>
                    <a:gd name="connsiteX115" fmla="*/ 1268752 w 4519987"/>
                    <a:gd name="connsiteY115" fmla="*/ 285750 h 4496940"/>
                    <a:gd name="connsiteX116" fmla="*/ 1411627 w 4519987"/>
                    <a:gd name="connsiteY116" fmla="*/ 190500 h 4496940"/>
                    <a:gd name="connsiteX117" fmla="*/ 1449727 w 4519987"/>
                    <a:gd name="connsiteY117" fmla="*/ 161925 h 4496940"/>
                    <a:gd name="connsiteX118" fmla="*/ 1525927 w 4519987"/>
                    <a:gd name="connsiteY118" fmla="*/ 152400 h 4496940"/>
                    <a:gd name="connsiteX119" fmla="*/ 1583077 w 4519987"/>
                    <a:gd name="connsiteY119" fmla="*/ 142875 h 4496940"/>
                    <a:gd name="connsiteX120" fmla="*/ 1716427 w 4519987"/>
                    <a:gd name="connsiteY120" fmla="*/ 123825 h 4496940"/>
                    <a:gd name="connsiteX121" fmla="*/ 1811677 w 4519987"/>
                    <a:gd name="connsiteY121" fmla="*/ 114300 h 4496940"/>
                    <a:gd name="connsiteX122" fmla="*/ 1859302 w 4519987"/>
                    <a:gd name="connsiteY122" fmla="*/ 104775 h 4496940"/>
                    <a:gd name="connsiteX123" fmla="*/ 1916452 w 4519987"/>
                    <a:gd name="connsiteY123" fmla="*/ 95250 h 4496940"/>
                    <a:gd name="connsiteX124" fmla="*/ 2030752 w 4519987"/>
                    <a:gd name="connsiteY124" fmla="*/ 66675 h 4496940"/>
                    <a:gd name="connsiteX125" fmla="*/ 2097427 w 4519987"/>
                    <a:gd name="connsiteY125" fmla="*/ 47625 h 4496940"/>
                    <a:gd name="connsiteX126" fmla="*/ 2164102 w 4519987"/>
                    <a:gd name="connsiteY126" fmla="*/ 38100 h 4496940"/>
                    <a:gd name="connsiteX127" fmla="*/ 2392702 w 4519987"/>
                    <a:gd name="connsiteY12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383302 w 4519987"/>
                    <a:gd name="connsiteY39" fmla="*/ 4210050 h 4496940"/>
                    <a:gd name="connsiteX40" fmla="*/ 3335677 w 4519987"/>
                    <a:gd name="connsiteY40" fmla="*/ 4238625 h 4496940"/>
                    <a:gd name="connsiteX41" fmla="*/ 3288052 w 4519987"/>
                    <a:gd name="connsiteY41" fmla="*/ 4248150 h 4496940"/>
                    <a:gd name="connsiteX42" fmla="*/ 3240427 w 4519987"/>
                    <a:gd name="connsiteY42" fmla="*/ 4267200 h 4496940"/>
                    <a:gd name="connsiteX43" fmla="*/ 3068977 w 4519987"/>
                    <a:gd name="connsiteY43" fmla="*/ 4286250 h 4496940"/>
                    <a:gd name="connsiteX44" fmla="*/ 2935627 w 4519987"/>
                    <a:gd name="connsiteY44" fmla="*/ 4333875 h 4496940"/>
                    <a:gd name="connsiteX45" fmla="*/ 2811802 w 4519987"/>
                    <a:gd name="connsiteY45" fmla="*/ 4371975 h 4496940"/>
                    <a:gd name="connsiteX46" fmla="*/ 2745127 w 4519987"/>
                    <a:gd name="connsiteY46" fmla="*/ 4410075 h 4496940"/>
                    <a:gd name="connsiteX47" fmla="*/ 2697502 w 4519987"/>
                    <a:gd name="connsiteY47" fmla="*/ 4429125 h 4496940"/>
                    <a:gd name="connsiteX48" fmla="*/ 2640352 w 4519987"/>
                    <a:gd name="connsiteY48" fmla="*/ 4457700 h 4496940"/>
                    <a:gd name="connsiteX49" fmla="*/ 2583202 w 4519987"/>
                    <a:gd name="connsiteY49" fmla="*/ 4467225 h 4496940"/>
                    <a:gd name="connsiteX50" fmla="*/ 2545102 w 4519987"/>
                    <a:gd name="connsiteY50" fmla="*/ 4486275 h 4496940"/>
                    <a:gd name="connsiteX51" fmla="*/ 2306977 w 4519987"/>
                    <a:gd name="connsiteY51" fmla="*/ 4476750 h 4496940"/>
                    <a:gd name="connsiteX52" fmla="*/ 2202202 w 4519987"/>
                    <a:gd name="connsiteY52" fmla="*/ 4457700 h 4496940"/>
                    <a:gd name="connsiteX53" fmla="*/ 2126002 w 4519987"/>
                    <a:gd name="connsiteY53" fmla="*/ 4429125 h 4496940"/>
                    <a:gd name="connsiteX54" fmla="*/ 1935502 w 4519987"/>
                    <a:gd name="connsiteY54" fmla="*/ 4400550 h 4496940"/>
                    <a:gd name="connsiteX55" fmla="*/ 1821202 w 4519987"/>
                    <a:gd name="connsiteY55" fmla="*/ 4371975 h 4496940"/>
                    <a:gd name="connsiteX56" fmla="*/ 1754527 w 4519987"/>
                    <a:gd name="connsiteY56" fmla="*/ 4352925 h 4496940"/>
                    <a:gd name="connsiteX57" fmla="*/ 1687852 w 4519987"/>
                    <a:gd name="connsiteY57" fmla="*/ 4343400 h 4496940"/>
                    <a:gd name="connsiteX58" fmla="*/ 1573552 w 4519987"/>
                    <a:gd name="connsiteY58" fmla="*/ 4305300 h 4496940"/>
                    <a:gd name="connsiteX59" fmla="*/ 1402102 w 4519987"/>
                    <a:gd name="connsiteY59" fmla="*/ 4276725 h 4496940"/>
                    <a:gd name="connsiteX60" fmla="*/ 1287802 w 4519987"/>
                    <a:gd name="connsiteY60" fmla="*/ 4229100 h 4496940"/>
                    <a:gd name="connsiteX61" fmla="*/ 1221127 w 4519987"/>
                    <a:gd name="connsiteY61" fmla="*/ 4200525 h 4496940"/>
                    <a:gd name="connsiteX62" fmla="*/ 1144927 w 4519987"/>
                    <a:gd name="connsiteY62" fmla="*/ 4171950 h 4496940"/>
                    <a:gd name="connsiteX63" fmla="*/ 1087777 w 4519987"/>
                    <a:gd name="connsiteY63" fmla="*/ 4143375 h 4496940"/>
                    <a:gd name="connsiteX64" fmla="*/ 1030627 w 4519987"/>
                    <a:gd name="connsiteY64" fmla="*/ 4124325 h 4496940"/>
                    <a:gd name="connsiteX65" fmla="*/ 925852 w 4519987"/>
                    <a:gd name="connsiteY65" fmla="*/ 4067175 h 4496940"/>
                    <a:gd name="connsiteX66" fmla="*/ 830602 w 4519987"/>
                    <a:gd name="connsiteY66" fmla="*/ 3981450 h 4496940"/>
                    <a:gd name="connsiteX67" fmla="*/ 763927 w 4519987"/>
                    <a:gd name="connsiteY67" fmla="*/ 3914775 h 4496940"/>
                    <a:gd name="connsiteX68" fmla="*/ 725827 w 4519987"/>
                    <a:gd name="connsiteY68" fmla="*/ 3876675 h 4496940"/>
                    <a:gd name="connsiteX69" fmla="*/ 697252 w 4519987"/>
                    <a:gd name="connsiteY69" fmla="*/ 3838575 h 4496940"/>
                    <a:gd name="connsiteX70" fmla="*/ 640102 w 4519987"/>
                    <a:gd name="connsiteY70" fmla="*/ 3781425 h 4496940"/>
                    <a:gd name="connsiteX71" fmla="*/ 611527 w 4519987"/>
                    <a:gd name="connsiteY71" fmla="*/ 3733800 h 4496940"/>
                    <a:gd name="connsiteX72" fmla="*/ 554377 w 4519987"/>
                    <a:gd name="connsiteY72" fmla="*/ 3657600 h 4496940"/>
                    <a:gd name="connsiteX73" fmla="*/ 525802 w 4519987"/>
                    <a:gd name="connsiteY73" fmla="*/ 3609975 h 4496940"/>
                    <a:gd name="connsiteX74" fmla="*/ 497227 w 4519987"/>
                    <a:gd name="connsiteY74" fmla="*/ 3552825 h 4496940"/>
                    <a:gd name="connsiteX75" fmla="*/ 440077 w 4519987"/>
                    <a:gd name="connsiteY75" fmla="*/ 3495675 h 4496940"/>
                    <a:gd name="connsiteX76" fmla="*/ 411502 w 4519987"/>
                    <a:gd name="connsiteY76" fmla="*/ 3448050 h 4496940"/>
                    <a:gd name="connsiteX77" fmla="*/ 278152 w 4519987"/>
                    <a:gd name="connsiteY77" fmla="*/ 3257550 h 4496940"/>
                    <a:gd name="connsiteX78" fmla="*/ 249577 w 4519987"/>
                    <a:gd name="connsiteY78" fmla="*/ 3200400 h 4496940"/>
                    <a:gd name="connsiteX79" fmla="*/ 240052 w 4519987"/>
                    <a:gd name="connsiteY79" fmla="*/ 3162300 h 4496940"/>
                    <a:gd name="connsiteX80" fmla="*/ 221002 w 4519987"/>
                    <a:gd name="connsiteY80" fmla="*/ 3105150 h 4496940"/>
                    <a:gd name="connsiteX81" fmla="*/ 173377 w 4519987"/>
                    <a:gd name="connsiteY81" fmla="*/ 3019425 h 4496940"/>
                    <a:gd name="connsiteX82" fmla="*/ 144802 w 4519987"/>
                    <a:gd name="connsiteY82" fmla="*/ 2924175 h 4496940"/>
                    <a:gd name="connsiteX83" fmla="*/ 68602 w 4519987"/>
                    <a:gd name="connsiteY83" fmla="*/ 2724150 h 4496940"/>
                    <a:gd name="connsiteX84" fmla="*/ 49552 w 4519987"/>
                    <a:gd name="connsiteY84" fmla="*/ 2638425 h 4496940"/>
                    <a:gd name="connsiteX85" fmla="*/ 40027 w 4519987"/>
                    <a:gd name="connsiteY85" fmla="*/ 2562225 h 4496940"/>
                    <a:gd name="connsiteX86" fmla="*/ 30502 w 4519987"/>
                    <a:gd name="connsiteY86" fmla="*/ 2514600 h 4496940"/>
                    <a:gd name="connsiteX87" fmla="*/ 11452 w 4519987"/>
                    <a:gd name="connsiteY87" fmla="*/ 2400300 h 4496940"/>
                    <a:gd name="connsiteX88" fmla="*/ 20977 w 4519987"/>
                    <a:gd name="connsiteY88" fmla="*/ 1905000 h 4496940"/>
                    <a:gd name="connsiteX89" fmla="*/ 30502 w 4519987"/>
                    <a:gd name="connsiteY89" fmla="*/ 1838325 h 4496940"/>
                    <a:gd name="connsiteX90" fmla="*/ 49552 w 4519987"/>
                    <a:gd name="connsiteY90" fmla="*/ 1781175 h 4496940"/>
                    <a:gd name="connsiteX91" fmla="*/ 59077 w 4519987"/>
                    <a:gd name="connsiteY91" fmla="*/ 1743075 h 4496940"/>
                    <a:gd name="connsiteX92" fmla="*/ 78127 w 4519987"/>
                    <a:gd name="connsiteY92" fmla="*/ 1685925 h 4496940"/>
                    <a:gd name="connsiteX93" fmla="*/ 87652 w 4519987"/>
                    <a:gd name="connsiteY93" fmla="*/ 1638300 h 4496940"/>
                    <a:gd name="connsiteX94" fmla="*/ 106702 w 4519987"/>
                    <a:gd name="connsiteY94" fmla="*/ 1590675 h 4496940"/>
                    <a:gd name="connsiteX95" fmla="*/ 135277 w 4519987"/>
                    <a:gd name="connsiteY95" fmla="*/ 1504950 h 4496940"/>
                    <a:gd name="connsiteX96" fmla="*/ 154327 w 4519987"/>
                    <a:gd name="connsiteY96" fmla="*/ 1419225 h 4496940"/>
                    <a:gd name="connsiteX97" fmla="*/ 230527 w 4519987"/>
                    <a:gd name="connsiteY97" fmla="*/ 1276350 h 4496940"/>
                    <a:gd name="connsiteX98" fmla="*/ 240052 w 4519987"/>
                    <a:gd name="connsiteY98" fmla="*/ 1247775 h 4496940"/>
                    <a:gd name="connsiteX99" fmla="*/ 268627 w 4519987"/>
                    <a:gd name="connsiteY99" fmla="*/ 1200150 h 4496940"/>
                    <a:gd name="connsiteX100" fmla="*/ 287677 w 4519987"/>
                    <a:gd name="connsiteY100" fmla="*/ 1152525 h 4496940"/>
                    <a:gd name="connsiteX101" fmla="*/ 316252 w 4519987"/>
                    <a:gd name="connsiteY101" fmla="*/ 1114425 h 4496940"/>
                    <a:gd name="connsiteX102" fmla="*/ 363877 w 4519987"/>
                    <a:gd name="connsiteY102" fmla="*/ 1038225 h 4496940"/>
                    <a:gd name="connsiteX103" fmla="*/ 382927 w 4519987"/>
                    <a:gd name="connsiteY103" fmla="*/ 1009650 h 4496940"/>
                    <a:gd name="connsiteX104" fmla="*/ 440077 w 4519987"/>
                    <a:gd name="connsiteY104" fmla="*/ 904875 h 4496940"/>
                    <a:gd name="connsiteX105" fmla="*/ 478177 w 4519987"/>
                    <a:gd name="connsiteY105" fmla="*/ 857250 h 4496940"/>
                    <a:gd name="connsiteX106" fmla="*/ 497227 w 4519987"/>
                    <a:gd name="connsiteY106" fmla="*/ 828675 h 4496940"/>
                    <a:gd name="connsiteX107" fmla="*/ 535327 w 4519987"/>
                    <a:gd name="connsiteY107" fmla="*/ 800100 h 4496940"/>
                    <a:gd name="connsiteX108" fmla="*/ 602002 w 4519987"/>
                    <a:gd name="connsiteY108" fmla="*/ 733425 h 4496940"/>
                    <a:gd name="connsiteX109" fmla="*/ 668677 w 4519987"/>
                    <a:gd name="connsiteY109" fmla="*/ 676275 h 4496940"/>
                    <a:gd name="connsiteX110" fmla="*/ 697252 w 4519987"/>
                    <a:gd name="connsiteY110" fmla="*/ 657225 h 4496940"/>
                    <a:gd name="connsiteX111" fmla="*/ 840127 w 4519987"/>
                    <a:gd name="connsiteY111" fmla="*/ 533400 h 4496940"/>
                    <a:gd name="connsiteX112" fmla="*/ 887752 w 4519987"/>
                    <a:gd name="connsiteY112" fmla="*/ 504825 h 4496940"/>
                    <a:gd name="connsiteX113" fmla="*/ 1167152 w 4519987"/>
                    <a:gd name="connsiteY113" fmla="*/ 311150 h 4496940"/>
                    <a:gd name="connsiteX114" fmla="*/ 1268752 w 4519987"/>
                    <a:gd name="connsiteY114" fmla="*/ 285750 h 4496940"/>
                    <a:gd name="connsiteX115" fmla="*/ 1411627 w 4519987"/>
                    <a:gd name="connsiteY115" fmla="*/ 190500 h 4496940"/>
                    <a:gd name="connsiteX116" fmla="*/ 1449727 w 4519987"/>
                    <a:gd name="connsiteY116" fmla="*/ 161925 h 4496940"/>
                    <a:gd name="connsiteX117" fmla="*/ 1525927 w 4519987"/>
                    <a:gd name="connsiteY117" fmla="*/ 152400 h 4496940"/>
                    <a:gd name="connsiteX118" fmla="*/ 1583077 w 4519987"/>
                    <a:gd name="connsiteY118" fmla="*/ 142875 h 4496940"/>
                    <a:gd name="connsiteX119" fmla="*/ 1716427 w 4519987"/>
                    <a:gd name="connsiteY119" fmla="*/ 123825 h 4496940"/>
                    <a:gd name="connsiteX120" fmla="*/ 1811677 w 4519987"/>
                    <a:gd name="connsiteY120" fmla="*/ 114300 h 4496940"/>
                    <a:gd name="connsiteX121" fmla="*/ 1859302 w 4519987"/>
                    <a:gd name="connsiteY121" fmla="*/ 104775 h 4496940"/>
                    <a:gd name="connsiteX122" fmla="*/ 1916452 w 4519987"/>
                    <a:gd name="connsiteY122" fmla="*/ 95250 h 4496940"/>
                    <a:gd name="connsiteX123" fmla="*/ 2030752 w 4519987"/>
                    <a:gd name="connsiteY123" fmla="*/ 66675 h 4496940"/>
                    <a:gd name="connsiteX124" fmla="*/ 2097427 w 4519987"/>
                    <a:gd name="connsiteY124" fmla="*/ 47625 h 4496940"/>
                    <a:gd name="connsiteX125" fmla="*/ 2164102 w 4519987"/>
                    <a:gd name="connsiteY125" fmla="*/ 38100 h 4496940"/>
                    <a:gd name="connsiteX126" fmla="*/ 2392702 w 4519987"/>
                    <a:gd name="connsiteY12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554752 w 4519987"/>
                    <a:gd name="connsiteY37" fmla="*/ 4095750 h 4496940"/>
                    <a:gd name="connsiteX38" fmla="*/ 3383302 w 4519987"/>
                    <a:gd name="connsiteY38" fmla="*/ 4210050 h 4496940"/>
                    <a:gd name="connsiteX39" fmla="*/ 3335677 w 4519987"/>
                    <a:gd name="connsiteY39" fmla="*/ 4238625 h 4496940"/>
                    <a:gd name="connsiteX40" fmla="*/ 3288052 w 4519987"/>
                    <a:gd name="connsiteY40" fmla="*/ 4248150 h 4496940"/>
                    <a:gd name="connsiteX41" fmla="*/ 3240427 w 4519987"/>
                    <a:gd name="connsiteY41" fmla="*/ 4267200 h 4496940"/>
                    <a:gd name="connsiteX42" fmla="*/ 3068977 w 4519987"/>
                    <a:gd name="connsiteY42" fmla="*/ 4286250 h 4496940"/>
                    <a:gd name="connsiteX43" fmla="*/ 2935627 w 4519987"/>
                    <a:gd name="connsiteY43" fmla="*/ 4333875 h 4496940"/>
                    <a:gd name="connsiteX44" fmla="*/ 2811802 w 4519987"/>
                    <a:gd name="connsiteY44" fmla="*/ 4371975 h 4496940"/>
                    <a:gd name="connsiteX45" fmla="*/ 2745127 w 4519987"/>
                    <a:gd name="connsiteY45" fmla="*/ 4410075 h 4496940"/>
                    <a:gd name="connsiteX46" fmla="*/ 2697502 w 4519987"/>
                    <a:gd name="connsiteY46" fmla="*/ 4429125 h 4496940"/>
                    <a:gd name="connsiteX47" fmla="*/ 2640352 w 4519987"/>
                    <a:gd name="connsiteY47" fmla="*/ 4457700 h 4496940"/>
                    <a:gd name="connsiteX48" fmla="*/ 2583202 w 4519987"/>
                    <a:gd name="connsiteY48" fmla="*/ 4467225 h 4496940"/>
                    <a:gd name="connsiteX49" fmla="*/ 2545102 w 4519987"/>
                    <a:gd name="connsiteY49" fmla="*/ 4486275 h 4496940"/>
                    <a:gd name="connsiteX50" fmla="*/ 2306977 w 4519987"/>
                    <a:gd name="connsiteY50" fmla="*/ 4476750 h 4496940"/>
                    <a:gd name="connsiteX51" fmla="*/ 2202202 w 4519987"/>
                    <a:gd name="connsiteY51" fmla="*/ 4457700 h 4496940"/>
                    <a:gd name="connsiteX52" fmla="*/ 2126002 w 4519987"/>
                    <a:gd name="connsiteY52" fmla="*/ 4429125 h 4496940"/>
                    <a:gd name="connsiteX53" fmla="*/ 1935502 w 4519987"/>
                    <a:gd name="connsiteY53" fmla="*/ 4400550 h 4496940"/>
                    <a:gd name="connsiteX54" fmla="*/ 1821202 w 4519987"/>
                    <a:gd name="connsiteY54" fmla="*/ 4371975 h 4496940"/>
                    <a:gd name="connsiteX55" fmla="*/ 1754527 w 4519987"/>
                    <a:gd name="connsiteY55" fmla="*/ 4352925 h 4496940"/>
                    <a:gd name="connsiteX56" fmla="*/ 1687852 w 4519987"/>
                    <a:gd name="connsiteY56" fmla="*/ 4343400 h 4496940"/>
                    <a:gd name="connsiteX57" fmla="*/ 1573552 w 4519987"/>
                    <a:gd name="connsiteY57" fmla="*/ 4305300 h 4496940"/>
                    <a:gd name="connsiteX58" fmla="*/ 1402102 w 4519987"/>
                    <a:gd name="connsiteY58" fmla="*/ 4276725 h 4496940"/>
                    <a:gd name="connsiteX59" fmla="*/ 1287802 w 4519987"/>
                    <a:gd name="connsiteY59" fmla="*/ 4229100 h 4496940"/>
                    <a:gd name="connsiteX60" fmla="*/ 1221127 w 4519987"/>
                    <a:gd name="connsiteY60" fmla="*/ 4200525 h 4496940"/>
                    <a:gd name="connsiteX61" fmla="*/ 1144927 w 4519987"/>
                    <a:gd name="connsiteY61" fmla="*/ 4171950 h 4496940"/>
                    <a:gd name="connsiteX62" fmla="*/ 1087777 w 4519987"/>
                    <a:gd name="connsiteY62" fmla="*/ 4143375 h 4496940"/>
                    <a:gd name="connsiteX63" fmla="*/ 1030627 w 4519987"/>
                    <a:gd name="connsiteY63" fmla="*/ 4124325 h 4496940"/>
                    <a:gd name="connsiteX64" fmla="*/ 925852 w 4519987"/>
                    <a:gd name="connsiteY64" fmla="*/ 4067175 h 4496940"/>
                    <a:gd name="connsiteX65" fmla="*/ 830602 w 4519987"/>
                    <a:gd name="connsiteY65" fmla="*/ 3981450 h 4496940"/>
                    <a:gd name="connsiteX66" fmla="*/ 763927 w 4519987"/>
                    <a:gd name="connsiteY66" fmla="*/ 3914775 h 4496940"/>
                    <a:gd name="connsiteX67" fmla="*/ 725827 w 4519987"/>
                    <a:gd name="connsiteY67" fmla="*/ 3876675 h 4496940"/>
                    <a:gd name="connsiteX68" fmla="*/ 697252 w 4519987"/>
                    <a:gd name="connsiteY68" fmla="*/ 3838575 h 4496940"/>
                    <a:gd name="connsiteX69" fmla="*/ 640102 w 4519987"/>
                    <a:gd name="connsiteY69" fmla="*/ 3781425 h 4496940"/>
                    <a:gd name="connsiteX70" fmla="*/ 611527 w 4519987"/>
                    <a:gd name="connsiteY70" fmla="*/ 3733800 h 4496940"/>
                    <a:gd name="connsiteX71" fmla="*/ 554377 w 4519987"/>
                    <a:gd name="connsiteY71" fmla="*/ 3657600 h 4496940"/>
                    <a:gd name="connsiteX72" fmla="*/ 525802 w 4519987"/>
                    <a:gd name="connsiteY72" fmla="*/ 3609975 h 4496940"/>
                    <a:gd name="connsiteX73" fmla="*/ 497227 w 4519987"/>
                    <a:gd name="connsiteY73" fmla="*/ 3552825 h 4496940"/>
                    <a:gd name="connsiteX74" fmla="*/ 440077 w 4519987"/>
                    <a:gd name="connsiteY74" fmla="*/ 3495675 h 4496940"/>
                    <a:gd name="connsiteX75" fmla="*/ 411502 w 4519987"/>
                    <a:gd name="connsiteY75" fmla="*/ 3448050 h 4496940"/>
                    <a:gd name="connsiteX76" fmla="*/ 278152 w 4519987"/>
                    <a:gd name="connsiteY76" fmla="*/ 3257550 h 4496940"/>
                    <a:gd name="connsiteX77" fmla="*/ 249577 w 4519987"/>
                    <a:gd name="connsiteY77" fmla="*/ 3200400 h 4496940"/>
                    <a:gd name="connsiteX78" fmla="*/ 240052 w 4519987"/>
                    <a:gd name="connsiteY78" fmla="*/ 3162300 h 4496940"/>
                    <a:gd name="connsiteX79" fmla="*/ 221002 w 4519987"/>
                    <a:gd name="connsiteY79" fmla="*/ 3105150 h 4496940"/>
                    <a:gd name="connsiteX80" fmla="*/ 173377 w 4519987"/>
                    <a:gd name="connsiteY80" fmla="*/ 3019425 h 4496940"/>
                    <a:gd name="connsiteX81" fmla="*/ 144802 w 4519987"/>
                    <a:gd name="connsiteY81" fmla="*/ 2924175 h 4496940"/>
                    <a:gd name="connsiteX82" fmla="*/ 68602 w 4519987"/>
                    <a:gd name="connsiteY82" fmla="*/ 2724150 h 4496940"/>
                    <a:gd name="connsiteX83" fmla="*/ 49552 w 4519987"/>
                    <a:gd name="connsiteY83" fmla="*/ 2638425 h 4496940"/>
                    <a:gd name="connsiteX84" fmla="*/ 40027 w 4519987"/>
                    <a:gd name="connsiteY84" fmla="*/ 2562225 h 4496940"/>
                    <a:gd name="connsiteX85" fmla="*/ 30502 w 4519987"/>
                    <a:gd name="connsiteY85" fmla="*/ 2514600 h 4496940"/>
                    <a:gd name="connsiteX86" fmla="*/ 11452 w 4519987"/>
                    <a:gd name="connsiteY86" fmla="*/ 2400300 h 4496940"/>
                    <a:gd name="connsiteX87" fmla="*/ 20977 w 4519987"/>
                    <a:gd name="connsiteY87" fmla="*/ 1905000 h 4496940"/>
                    <a:gd name="connsiteX88" fmla="*/ 30502 w 4519987"/>
                    <a:gd name="connsiteY88" fmla="*/ 1838325 h 4496940"/>
                    <a:gd name="connsiteX89" fmla="*/ 49552 w 4519987"/>
                    <a:gd name="connsiteY89" fmla="*/ 1781175 h 4496940"/>
                    <a:gd name="connsiteX90" fmla="*/ 59077 w 4519987"/>
                    <a:gd name="connsiteY90" fmla="*/ 1743075 h 4496940"/>
                    <a:gd name="connsiteX91" fmla="*/ 78127 w 4519987"/>
                    <a:gd name="connsiteY91" fmla="*/ 1685925 h 4496940"/>
                    <a:gd name="connsiteX92" fmla="*/ 87652 w 4519987"/>
                    <a:gd name="connsiteY92" fmla="*/ 1638300 h 4496940"/>
                    <a:gd name="connsiteX93" fmla="*/ 106702 w 4519987"/>
                    <a:gd name="connsiteY93" fmla="*/ 1590675 h 4496940"/>
                    <a:gd name="connsiteX94" fmla="*/ 135277 w 4519987"/>
                    <a:gd name="connsiteY94" fmla="*/ 1504950 h 4496940"/>
                    <a:gd name="connsiteX95" fmla="*/ 154327 w 4519987"/>
                    <a:gd name="connsiteY95" fmla="*/ 1419225 h 4496940"/>
                    <a:gd name="connsiteX96" fmla="*/ 230527 w 4519987"/>
                    <a:gd name="connsiteY96" fmla="*/ 1276350 h 4496940"/>
                    <a:gd name="connsiteX97" fmla="*/ 240052 w 4519987"/>
                    <a:gd name="connsiteY97" fmla="*/ 1247775 h 4496940"/>
                    <a:gd name="connsiteX98" fmla="*/ 268627 w 4519987"/>
                    <a:gd name="connsiteY98" fmla="*/ 1200150 h 4496940"/>
                    <a:gd name="connsiteX99" fmla="*/ 287677 w 4519987"/>
                    <a:gd name="connsiteY99" fmla="*/ 1152525 h 4496940"/>
                    <a:gd name="connsiteX100" fmla="*/ 316252 w 4519987"/>
                    <a:gd name="connsiteY100" fmla="*/ 1114425 h 4496940"/>
                    <a:gd name="connsiteX101" fmla="*/ 363877 w 4519987"/>
                    <a:gd name="connsiteY101" fmla="*/ 1038225 h 4496940"/>
                    <a:gd name="connsiteX102" fmla="*/ 382927 w 4519987"/>
                    <a:gd name="connsiteY102" fmla="*/ 1009650 h 4496940"/>
                    <a:gd name="connsiteX103" fmla="*/ 440077 w 4519987"/>
                    <a:gd name="connsiteY103" fmla="*/ 904875 h 4496940"/>
                    <a:gd name="connsiteX104" fmla="*/ 478177 w 4519987"/>
                    <a:gd name="connsiteY104" fmla="*/ 857250 h 4496940"/>
                    <a:gd name="connsiteX105" fmla="*/ 497227 w 4519987"/>
                    <a:gd name="connsiteY105" fmla="*/ 828675 h 4496940"/>
                    <a:gd name="connsiteX106" fmla="*/ 535327 w 4519987"/>
                    <a:gd name="connsiteY106" fmla="*/ 800100 h 4496940"/>
                    <a:gd name="connsiteX107" fmla="*/ 602002 w 4519987"/>
                    <a:gd name="connsiteY107" fmla="*/ 733425 h 4496940"/>
                    <a:gd name="connsiteX108" fmla="*/ 668677 w 4519987"/>
                    <a:gd name="connsiteY108" fmla="*/ 676275 h 4496940"/>
                    <a:gd name="connsiteX109" fmla="*/ 697252 w 4519987"/>
                    <a:gd name="connsiteY109" fmla="*/ 657225 h 4496940"/>
                    <a:gd name="connsiteX110" fmla="*/ 840127 w 4519987"/>
                    <a:gd name="connsiteY110" fmla="*/ 533400 h 4496940"/>
                    <a:gd name="connsiteX111" fmla="*/ 887752 w 4519987"/>
                    <a:gd name="connsiteY111" fmla="*/ 504825 h 4496940"/>
                    <a:gd name="connsiteX112" fmla="*/ 1167152 w 4519987"/>
                    <a:gd name="connsiteY112" fmla="*/ 311150 h 4496940"/>
                    <a:gd name="connsiteX113" fmla="*/ 1268752 w 4519987"/>
                    <a:gd name="connsiteY113" fmla="*/ 285750 h 4496940"/>
                    <a:gd name="connsiteX114" fmla="*/ 1411627 w 4519987"/>
                    <a:gd name="connsiteY114" fmla="*/ 190500 h 4496940"/>
                    <a:gd name="connsiteX115" fmla="*/ 1449727 w 4519987"/>
                    <a:gd name="connsiteY115" fmla="*/ 161925 h 4496940"/>
                    <a:gd name="connsiteX116" fmla="*/ 1525927 w 4519987"/>
                    <a:gd name="connsiteY116" fmla="*/ 152400 h 4496940"/>
                    <a:gd name="connsiteX117" fmla="*/ 1583077 w 4519987"/>
                    <a:gd name="connsiteY117" fmla="*/ 142875 h 4496940"/>
                    <a:gd name="connsiteX118" fmla="*/ 1716427 w 4519987"/>
                    <a:gd name="connsiteY118" fmla="*/ 123825 h 4496940"/>
                    <a:gd name="connsiteX119" fmla="*/ 1811677 w 4519987"/>
                    <a:gd name="connsiteY119" fmla="*/ 114300 h 4496940"/>
                    <a:gd name="connsiteX120" fmla="*/ 1859302 w 4519987"/>
                    <a:gd name="connsiteY120" fmla="*/ 104775 h 4496940"/>
                    <a:gd name="connsiteX121" fmla="*/ 1916452 w 4519987"/>
                    <a:gd name="connsiteY121" fmla="*/ 95250 h 4496940"/>
                    <a:gd name="connsiteX122" fmla="*/ 2030752 w 4519987"/>
                    <a:gd name="connsiteY122" fmla="*/ 66675 h 4496940"/>
                    <a:gd name="connsiteX123" fmla="*/ 2097427 w 4519987"/>
                    <a:gd name="connsiteY123" fmla="*/ 47625 h 4496940"/>
                    <a:gd name="connsiteX124" fmla="*/ 2164102 w 4519987"/>
                    <a:gd name="connsiteY124" fmla="*/ 38100 h 4496940"/>
                    <a:gd name="connsiteX125" fmla="*/ 2392702 w 4519987"/>
                    <a:gd name="connsiteY12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54752 w 4519987"/>
                    <a:gd name="connsiteY36" fmla="*/ 40957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88052 w 4519987"/>
                    <a:gd name="connsiteY38" fmla="*/ 4248150 h 4496940"/>
                    <a:gd name="connsiteX39" fmla="*/ 3240427 w 4519987"/>
                    <a:gd name="connsiteY39" fmla="*/ 4267200 h 4496940"/>
                    <a:gd name="connsiteX40" fmla="*/ 3068977 w 4519987"/>
                    <a:gd name="connsiteY40" fmla="*/ 4286250 h 4496940"/>
                    <a:gd name="connsiteX41" fmla="*/ 2935627 w 4519987"/>
                    <a:gd name="connsiteY41" fmla="*/ 4333875 h 4496940"/>
                    <a:gd name="connsiteX42" fmla="*/ 2811802 w 4519987"/>
                    <a:gd name="connsiteY42" fmla="*/ 4371975 h 4496940"/>
                    <a:gd name="connsiteX43" fmla="*/ 2745127 w 4519987"/>
                    <a:gd name="connsiteY43" fmla="*/ 4410075 h 4496940"/>
                    <a:gd name="connsiteX44" fmla="*/ 2697502 w 4519987"/>
                    <a:gd name="connsiteY44" fmla="*/ 4429125 h 4496940"/>
                    <a:gd name="connsiteX45" fmla="*/ 2640352 w 4519987"/>
                    <a:gd name="connsiteY45" fmla="*/ 4457700 h 4496940"/>
                    <a:gd name="connsiteX46" fmla="*/ 2583202 w 4519987"/>
                    <a:gd name="connsiteY46" fmla="*/ 4467225 h 4496940"/>
                    <a:gd name="connsiteX47" fmla="*/ 2545102 w 4519987"/>
                    <a:gd name="connsiteY47" fmla="*/ 4486275 h 4496940"/>
                    <a:gd name="connsiteX48" fmla="*/ 2306977 w 4519987"/>
                    <a:gd name="connsiteY48" fmla="*/ 4476750 h 4496940"/>
                    <a:gd name="connsiteX49" fmla="*/ 2202202 w 4519987"/>
                    <a:gd name="connsiteY49" fmla="*/ 4457700 h 4496940"/>
                    <a:gd name="connsiteX50" fmla="*/ 2126002 w 4519987"/>
                    <a:gd name="connsiteY50" fmla="*/ 4429125 h 4496940"/>
                    <a:gd name="connsiteX51" fmla="*/ 1935502 w 4519987"/>
                    <a:gd name="connsiteY51" fmla="*/ 4400550 h 4496940"/>
                    <a:gd name="connsiteX52" fmla="*/ 1821202 w 4519987"/>
                    <a:gd name="connsiteY52" fmla="*/ 4371975 h 4496940"/>
                    <a:gd name="connsiteX53" fmla="*/ 1754527 w 4519987"/>
                    <a:gd name="connsiteY53" fmla="*/ 4352925 h 4496940"/>
                    <a:gd name="connsiteX54" fmla="*/ 1687852 w 4519987"/>
                    <a:gd name="connsiteY54" fmla="*/ 4343400 h 4496940"/>
                    <a:gd name="connsiteX55" fmla="*/ 1573552 w 4519987"/>
                    <a:gd name="connsiteY55" fmla="*/ 4305300 h 4496940"/>
                    <a:gd name="connsiteX56" fmla="*/ 1402102 w 4519987"/>
                    <a:gd name="connsiteY56" fmla="*/ 4276725 h 4496940"/>
                    <a:gd name="connsiteX57" fmla="*/ 1287802 w 4519987"/>
                    <a:gd name="connsiteY57" fmla="*/ 4229100 h 4496940"/>
                    <a:gd name="connsiteX58" fmla="*/ 1221127 w 4519987"/>
                    <a:gd name="connsiteY58" fmla="*/ 4200525 h 4496940"/>
                    <a:gd name="connsiteX59" fmla="*/ 1144927 w 4519987"/>
                    <a:gd name="connsiteY59" fmla="*/ 4171950 h 4496940"/>
                    <a:gd name="connsiteX60" fmla="*/ 1087777 w 4519987"/>
                    <a:gd name="connsiteY60" fmla="*/ 4143375 h 4496940"/>
                    <a:gd name="connsiteX61" fmla="*/ 1030627 w 4519987"/>
                    <a:gd name="connsiteY61" fmla="*/ 4124325 h 4496940"/>
                    <a:gd name="connsiteX62" fmla="*/ 925852 w 4519987"/>
                    <a:gd name="connsiteY62" fmla="*/ 4067175 h 4496940"/>
                    <a:gd name="connsiteX63" fmla="*/ 830602 w 4519987"/>
                    <a:gd name="connsiteY63" fmla="*/ 3981450 h 4496940"/>
                    <a:gd name="connsiteX64" fmla="*/ 763927 w 4519987"/>
                    <a:gd name="connsiteY64" fmla="*/ 3914775 h 4496940"/>
                    <a:gd name="connsiteX65" fmla="*/ 725827 w 4519987"/>
                    <a:gd name="connsiteY65" fmla="*/ 3876675 h 4496940"/>
                    <a:gd name="connsiteX66" fmla="*/ 697252 w 4519987"/>
                    <a:gd name="connsiteY66" fmla="*/ 3838575 h 4496940"/>
                    <a:gd name="connsiteX67" fmla="*/ 640102 w 4519987"/>
                    <a:gd name="connsiteY67" fmla="*/ 3781425 h 4496940"/>
                    <a:gd name="connsiteX68" fmla="*/ 611527 w 4519987"/>
                    <a:gd name="connsiteY68" fmla="*/ 3733800 h 4496940"/>
                    <a:gd name="connsiteX69" fmla="*/ 554377 w 4519987"/>
                    <a:gd name="connsiteY69" fmla="*/ 3657600 h 4496940"/>
                    <a:gd name="connsiteX70" fmla="*/ 525802 w 4519987"/>
                    <a:gd name="connsiteY70" fmla="*/ 3609975 h 4496940"/>
                    <a:gd name="connsiteX71" fmla="*/ 497227 w 4519987"/>
                    <a:gd name="connsiteY71" fmla="*/ 3552825 h 4496940"/>
                    <a:gd name="connsiteX72" fmla="*/ 440077 w 4519987"/>
                    <a:gd name="connsiteY72" fmla="*/ 3495675 h 4496940"/>
                    <a:gd name="connsiteX73" fmla="*/ 411502 w 4519987"/>
                    <a:gd name="connsiteY73" fmla="*/ 3448050 h 4496940"/>
                    <a:gd name="connsiteX74" fmla="*/ 278152 w 4519987"/>
                    <a:gd name="connsiteY74" fmla="*/ 3257550 h 4496940"/>
                    <a:gd name="connsiteX75" fmla="*/ 249577 w 4519987"/>
                    <a:gd name="connsiteY75" fmla="*/ 3200400 h 4496940"/>
                    <a:gd name="connsiteX76" fmla="*/ 240052 w 4519987"/>
                    <a:gd name="connsiteY76" fmla="*/ 3162300 h 4496940"/>
                    <a:gd name="connsiteX77" fmla="*/ 221002 w 4519987"/>
                    <a:gd name="connsiteY77" fmla="*/ 3105150 h 4496940"/>
                    <a:gd name="connsiteX78" fmla="*/ 173377 w 4519987"/>
                    <a:gd name="connsiteY78" fmla="*/ 3019425 h 4496940"/>
                    <a:gd name="connsiteX79" fmla="*/ 144802 w 4519987"/>
                    <a:gd name="connsiteY79" fmla="*/ 2924175 h 4496940"/>
                    <a:gd name="connsiteX80" fmla="*/ 68602 w 4519987"/>
                    <a:gd name="connsiteY80" fmla="*/ 2724150 h 4496940"/>
                    <a:gd name="connsiteX81" fmla="*/ 49552 w 4519987"/>
                    <a:gd name="connsiteY81" fmla="*/ 2638425 h 4496940"/>
                    <a:gd name="connsiteX82" fmla="*/ 40027 w 4519987"/>
                    <a:gd name="connsiteY82" fmla="*/ 2562225 h 4496940"/>
                    <a:gd name="connsiteX83" fmla="*/ 30502 w 4519987"/>
                    <a:gd name="connsiteY83" fmla="*/ 2514600 h 4496940"/>
                    <a:gd name="connsiteX84" fmla="*/ 11452 w 4519987"/>
                    <a:gd name="connsiteY84" fmla="*/ 2400300 h 4496940"/>
                    <a:gd name="connsiteX85" fmla="*/ 20977 w 4519987"/>
                    <a:gd name="connsiteY85" fmla="*/ 1905000 h 4496940"/>
                    <a:gd name="connsiteX86" fmla="*/ 30502 w 4519987"/>
                    <a:gd name="connsiteY86" fmla="*/ 1838325 h 4496940"/>
                    <a:gd name="connsiteX87" fmla="*/ 49552 w 4519987"/>
                    <a:gd name="connsiteY87" fmla="*/ 1781175 h 4496940"/>
                    <a:gd name="connsiteX88" fmla="*/ 59077 w 4519987"/>
                    <a:gd name="connsiteY88" fmla="*/ 1743075 h 4496940"/>
                    <a:gd name="connsiteX89" fmla="*/ 78127 w 4519987"/>
                    <a:gd name="connsiteY89" fmla="*/ 1685925 h 4496940"/>
                    <a:gd name="connsiteX90" fmla="*/ 87652 w 4519987"/>
                    <a:gd name="connsiteY90" fmla="*/ 1638300 h 4496940"/>
                    <a:gd name="connsiteX91" fmla="*/ 106702 w 4519987"/>
                    <a:gd name="connsiteY91" fmla="*/ 1590675 h 4496940"/>
                    <a:gd name="connsiteX92" fmla="*/ 135277 w 4519987"/>
                    <a:gd name="connsiteY92" fmla="*/ 1504950 h 4496940"/>
                    <a:gd name="connsiteX93" fmla="*/ 154327 w 4519987"/>
                    <a:gd name="connsiteY93" fmla="*/ 1419225 h 4496940"/>
                    <a:gd name="connsiteX94" fmla="*/ 230527 w 4519987"/>
                    <a:gd name="connsiteY94" fmla="*/ 1276350 h 4496940"/>
                    <a:gd name="connsiteX95" fmla="*/ 240052 w 4519987"/>
                    <a:gd name="connsiteY95" fmla="*/ 1247775 h 4496940"/>
                    <a:gd name="connsiteX96" fmla="*/ 268627 w 4519987"/>
                    <a:gd name="connsiteY96" fmla="*/ 1200150 h 4496940"/>
                    <a:gd name="connsiteX97" fmla="*/ 287677 w 4519987"/>
                    <a:gd name="connsiteY97" fmla="*/ 1152525 h 4496940"/>
                    <a:gd name="connsiteX98" fmla="*/ 316252 w 4519987"/>
                    <a:gd name="connsiteY98" fmla="*/ 1114425 h 4496940"/>
                    <a:gd name="connsiteX99" fmla="*/ 363877 w 4519987"/>
                    <a:gd name="connsiteY99" fmla="*/ 1038225 h 4496940"/>
                    <a:gd name="connsiteX100" fmla="*/ 382927 w 4519987"/>
                    <a:gd name="connsiteY100" fmla="*/ 1009650 h 4496940"/>
                    <a:gd name="connsiteX101" fmla="*/ 440077 w 4519987"/>
                    <a:gd name="connsiteY101" fmla="*/ 904875 h 4496940"/>
                    <a:gd name="connsiteX102" fmla="*/ 478177 w 4519987"/>
                    <a:gd name="connsiteY102" fmla="*/ 857250 h 4496940"/>
                    <a:gd name="connsiteX103" fmla="*/ 497227 w 4519987"/>
                    <a:gd name="connsiteY103" fmla="*/ 828675 h 4496940"/>
                    <a:gd name="connsiteX104" fmla="*/ 535327 w 4519987"/>
                    <a:gd name="connsiteY104" fmla="*/ 800100 h 4496940"/>
                    <a:gd name="connsiteX105" fmla="*/ 602002 w 4519987"/>
                    <a:gd name="connsiteY105" fmla="*/ 733425 h 4496940"/>
                    <a:gd name="connsiteX106" fmla="*/ 668677 w 4519987"/>
                    <a:gd name="connsiteY106" fmla="*/ 676275 h 4496940"/>
                    <a:gd name="connsiteX107" fmla="*/ 697252 w 4519987"/>
                    <a:gd name="connsiteY107" fmla="*/ 657225 h 4496940"/>
                    <a:gd name="connsiteX108" fmla="*/ 840127 w 4519987"/>
                    <a:gd name="connsiteY108" fmla="*/ 533400 h 4496940"/>
                    <a:gd name="connsiteX109" fmla="*/ 887752 w 4519987"/>
                    <a:gd name="connsiteY109" fmla="*/ 504825 h 4496940"/>
                    <a:gd name="connsiteX110" fmla="*/ 1167152 w 4519987"/>
                    <a:gd name="connsiteY110" fmla="*/ 311150 h 4496940"/>
                    <a:gd name="connsiteX111" fmla="*/ 1268752 w 4519987"/>
                    <a:gd name="connsiteY111" fmla="*/ 285750 h 4496940"/>
                    <a:gd name="connsiteX112" fmla="*/ 1411627 w 4519987"/>
                    <a:gd name="connsiteY112" fmla="*/ 190500 h 4496940"/>
                    <a:gd name="connsiteX113" fmla="*/ 1449727 w 4519987"/>
                    <a:gd name="connsiteY113" fmla="*/ 161925 h 4496940"/>
                    <a:gd name="connsiteX114" fmla="*/ 1525927 w 4519987"/>
                    <a:gd name="connsiteY114" fmla="*/ 152400 h 4496940"/>
                    <a:gd name="connsiteX115" fmla="*/ 1583077 w 4519987"/>
                    <a:gd name="connsiteY115" fmla="*/ 142875 h 4496940"/>
                    <a:gd name="connsiteX116" fmla="*/ 1716427 w 4519987"/>
                    <a:gd name="connsiteY116" fmla="*/ 123825 h 4496940"/>
                    <a:gd name="connsiteX117" fmla="*/ 1811677 w 4519987"/>
                    <a:gd name="connsiteY117" fmla="*/ 114300 h 4496940"/>
                    <a:gd name="connsiteX118" fmla="*/ 1859302 w 4519987"/>
                    <a:gd name="connsiteY118" fmla="*/ 104775 h 4496940"/>
                    <a:gd name="connsiteX119" fmla="*/ 1916452 w 4519987"/>
                    <a:gd name="connsiteY119" fmla="*/ 95250 h 4496940"/>
                    <a:gd name="connsiteX120" fmla="*/ 2030752 w 4519987"/>
                    <a:gd name="connsiteY120" fmla="*/ 66675 h 4496940"/>
                    <a:gd name="connsiteX121" fmla="*/ 2097427 w 4519987"/>
                    <a:gd name="connsiteY121" fmla="*/ 47625 h 4496940"/>
                    <a:gd name="connsiteX122" fmla="*/ 2164102 w 4519987"/>
                    <a:gd name="connsiteY122" fmla="*/ 38100 h 4496940"/>
                    <a:gd name="connsiteX123" fmla="*/ 2392702 w 4519987"/>
                    <a:gd name="connsiteY12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40427 w 4519987"/>
                    <a:gd name="connsiteY38" fmla="*/ 4267200 h 4496940"/>
                    <a:gd name="connsiteX39" fmla="*/ 3068977 w 4519987"/>
                    <a:gd name="connsiteY39" fmla="*/ 4286250 h 4496940"/>
                    <a:gd name="connsiteX40" fmla="*/ 2935627 w 4519987"/>
                    <a:gd name="connsiteY40" fmla="*/ 4333875 h 4496940"/>
                    <a:gd name="connsiteX41" fmla="*/ 2811802 w 4519987"/>
                    <a:gd name="connsiteY41" fmla="*/ 4371975 h 4496940"/>
                    <a:gd name="connsiteX42" fmla="*/ 2745127 w 4519987"/>
                    <a:gd name="connsiteY42" fmla="*/ 4410075 h 4496940"/>
                    <a:gd name="connsiteX43" fmla="*/ 2697502 w 4519987"/>
                    <a:gd name="connsiteY43" fmla="*/ 4429125 h 4496940"/>
                    <a:gd name="connsiteX44" fmla="*/ 2640352 w 4519987"/>
                    <a:gd name="connsiteY44" fmla="*/ 4457700 h 4496940"/>
                    <a:gd name="connsiteX45" fmla="*/ 2583202 w 4519987"/>
                    <a:gd name="connsiteY45" fmla="*/ 4467225 h 4496940"/>
                    <a:gd name="connsiteX46" fmla="*/ 2545102 w 4519987"/>
                    <a:gd name="connsiteY46" fmla="*/ 4486275 h 4496940"/>
                    <a:gd name="connsiteX47" fmla="*/ 2306977 w 4519987"/>
                    <a:gd name="connsiteY47" fmla="*/ 4476750 h 4496940"/>
                    <a:gd name="connsiteX48" fmla="*/ 2202202 w 4519987"/>
                    <a:gd name="connsiteY48" fmla="*/ 4457700 h 4496940"/>
                    <a:gd name="connsiteX49" fmla="*/ 2126002 w 4519987"/>
                    <a:gd name="connsiteY49" fmla="*/ 4429125 h 4496940"/>
                    <a:gd name="connsiteX50" fmla="*/ 1935502 w 4519987"/>
                    <a:gd name="connsiteY50" fmla="*/ 4400550 h 4496940"/>
                    <a:gd name="connsiteX51" fmla="*/ 1821202 w 4519987"/>
                    <a:gd name="connsiteY51" fmla="*/ 4371975 h 4496940"/>
                    <a:gd name="connsiteX52" fmla="*/ 1754527 w 4519987"/>
                    <a:gd name="connsiteY52" fmla="*/ 4352925 h 4496940"/>
                    <a:gd name="connsiteX53" fmla="*/ 1687852 w 4519987"/>
                    <a:gd name="connsiteY53" fmla="*/ 4343400 h 4496940"/>
                    <a:gd name="connsiteX54" fmla="*/ 1573552 w 4519987"/>
                    <a:gd name="connsiteY54" fmla="*/ 4305300 h 4496940"/>
                    <a:gd name="connsiteX55" fmla="*/ 1402102 w 4519987"/>
                    <a:gd name="connsiteY55" fmla="*/ 4276725 h 4496940"/>
                    <a:gd name="connsiteX56" fmla="*/ 1287802 w 4519987"/>
                    <a:gd name="connsiteY56" fmla="*/ 4229100 h 4496940"/>
                    <a:gd name="connsiteX57" fmla="*/ 1221127 w 4519987"/>
                    <a:gd name="connsiteY57" fmla="*/ 4200525 h 4496940"/>
                    <a:gd name="connsiteX58" fmla="*/ 1144927 w 4519987"/>
                    <a:gd name="connsiteY58" fmla="*/ 4171950 h 4496940"/>
                    <a:gd name="connsiteX59" fmla="*/ 1087777 w 4519987"/>
                    <a:gd name="connsiteY59" fmla="*/ 4143375 h 4496940"/>
                    <a:gd name="connsiteX60" fmla="*/ 1030627 w 4519987"/>
                    <a:gd name="connsiteY60" fmla="*/ 4124325 h 4496940"/>
                    <a:gd name="connsiteX61" fmla="*/ 925852 w 4519987"/>
                    <a:gd name="connsiteY61" fmla="*/ 4067175 h 4496940"/>
                    <a:gd name="connsiteX62" fmla="*/ 830602 w 4519987"/>
                    <a:gd name="connsiteY62" fmla="*/ 3981450 h 4496940"/>
                    <a:gd name="connsiteX63" fmla="*/ 763927 w 4519987"/>
                    <a:gd name="connsiteY63" fmla="*/ 3914775 h 4496940"/>
                    <a:gd name="connsiteX64" fmla="*/ 725827 w 4519987"/>
                    <a:gd name="connsiteY64" fmla="*/ 3876675 h 4496940"/>
                    <a:gd name="connsiteX65" fmla="*/ 697252 w 4519987"/>
                    <a:gd name="connsiteY65" fmla="*/ 3838575 h 4496940"/>
                    <a:gd name="connsiteX66" fmla="*/ 640102 w 4519987"/>
                    <a:gd name="connsiteY66" fmla="*/ 3781425 h 4496940"/>
                    <a:gd name="connsiteX67" fmla="*/ 611527 w 4519987"/>
                    <a:gd name="connsiteY67" fmla="*/ 3733800 h 4496940"/>
                    <a:gd name="connsiteX68" fmla="*/ 554377 w 4519987"/>
                    <a:gd name="connsiteY68" fmla="*/ 3657600 h 4496940"/>
                    <a:gd name="connsiteX69" fmla="*/ 525802 w 4519987"/>
                    <a:gd name="connsiteY69" fmla="*/ 3609975 h 4496940"/>
                    <a:gd name="connsiteX70" fmla="*/ 497227 w 4519987"/>
                    <a:gd name="connsiteY70" fmla="*/ 3552825 h 4496940"/>
                    <a:gd name="connsiteX71" fmla="*/ 440077 w 4519987"/>
                    <a:gd name="connsiteY71" fmla="*/ 3495675 h 4496940"/>
                    <a:gd name="connsiteX72" fmla="*/ 411502 w 4519987"/>
                    <a:gd name="connsiteY72" fmla="*/ 3448050 h 4496940"/>
                    <a:gd name="connsiteX73" fmla="*/ 278152 w 4519987"/>
                    <a:gd name="connsiteY73" fmla="*/ 3257550 h 4496940"/>
                    <a:gd name="connsiteX74" fmla="*/ 249577 w 4519987"/>
                    <a:gd name="connsiteY74" fmla="*/ 3200400 h 4496940"/>
                    <a:gd name="connsiteX75" fmla="*/ 240052 w 4519987"/>
                    <a:gd name="connsiteY75" fmla="*/ 3162300 h 4496940"/>
                    <a:gd name="connsiteX76" fmla="*/ 221002 w 4519987"/>
                    <a:gd name="connsiteY76" fmla="*/ 3105150 h 4496940"/>
                    <a:gd name="connsiteX77" fmla="*/ 173377 w 4519987"/>
                    <a:gd name="connsiteY77" fmla="*/ 3019425 h 4496940"/>
                    <a:gd name="connsiteX78" fmla="*/ 144802 w 4519987"/>
                    <a:gd name="connsiteY78" fmla="*/ 2924175 h 4496940"/>
                    <a:gd name="connsiteX79" fmla="*/ 68602 w 4519987"/>
                    <a:gd name="connsiteY79" fmla="*/ 2724150 h 4496940"/>
                    <a:gd name="connsiteX80" fmla="*/ 49552 w 4519987"/>
                    <a:gd name="connsiteY80" fmla="*/ 2638425 h 4496940"/>
                    <a:gd name="connsiteX81" fmla="*/ 40027 w 4519987"/>
                    <a:gd name="connsiteY81" fmla="*/ 2562225 h 4496940"/>
                    <a:gd name="connsiteX82" fmla="*/ 30502 w 4519987"/>
                    <a:gd name="connsiteY82" fmla="*/ 2514600 h 4496940"/>
                    <a:gd name="connsiteX83" fmla="*/ 11452 w 4519987"/>
                    <a:gd name="connsiteY83" fmla="*/ 2400300 h 4496940"/>
                    <a:gd name="connsiteX84" fmla="*/ 20977 w 4519987"/>
                    <a:gd name="connsiteY84" fmla="*/ 1905000 h 4496940"/>
                    <a:gd name="connsiteX85" fmla="*/ 30502 w 4519987"/>
                    <a:gd name="connsiteY85" fmla="*/ 1838325 h 4496940"/>
                    <a:gd name="connsiteX86" fmla="*/ 49552 w 4519987"/>
                    <a:gd name="connsiteY86" fmla="*/ 1781175 h 4496940"/>
                    <a:gd name="connsiteX87" fmla="*/ 59077 w 4519987"/>
                    <a:gd name="connsiteY87" fmla="*/ 1743075 h 4496940"/>
                    <a:gd name="connsiteX88" fmla="*/ 78127 w 4519987"/>
                    <a:gd name="connsiteY88" fmla="*/ 1685925 h 4496940"/>
                    <a:gd name="connsiteX89" fmla="*/ 87652 w 4519987"/>
                    <a:gd name="connsiteY89" fmla="*/ 1638300 h 4496940"/>
                    <a:gd name="connsiteX90" fmla="*/ 106702 w 4519987"/>
                    <a:gd name="connsiteY90" fmla="*/ 1590675 h 4496940"/>
                    <a:gd name="connsiteX91" fmla="*/ 135277 w 4519987"/>
                    <a:gd name="connsiteY91" fmla="*/ 1504950 h 4496940"/>
                    <a:gd name="connsiteX92" fmla="*/ 154327 w 4519987"/>
                    <a:gd name="connsiteY92" fmla="*/ 1419225 h 4496940"/>
                    <a:gd name="connsiteX93" fmla="*/ 230527 w 4519987"/>
                    <a:gd name="connsiteY93" fmla="*/ 1276350 h 4496940"/>
                    <a:gd name="connsiteX94" fmla="*/ 240052 w 4519987"/>
                    <a:gd name="connsiteY94" fmla="*/ 1247775 h 4496940"/>
                    <a:gd name="connsiteX95" fmla="*/ 268627 w 4519987"/>
                    <a:gd name="connsiteY95" fmla="*/ 1200150 h 4496940"/>
                    <a:gd name="connsiteX96" fmla="*/ 287677 w 4519987"/>
                    <a:gd name="connsiteY96" fmla="*/ 1152525 h 4496940"/>
                    <a:gd name="connsiteX97" fmla="*/ 316252 w 4519987"/>
                    <a:gd name="connsiteY97" fmla="*/ 1114425 h 4496940"/>
                    <a:gd name="connsiteX98" fmla="*/ 363877 w 4519987"/>
                    <a:gd name="connsiteY98" fmla="*/ 1038225 h 4496940"/>
                    <a:gd name="connsiteX99" fmla="*/ 382927 w 4519987"/>
                    <a:gd name="connsiteY99" fmla="*/ 1009650 h 4496940"/>
                    <a:gd name="connsiteX100" fmla="*/ 440077 w 4519987"/>
                    <a:gd name="connsiteY100" fmla="*/ 904875 h 4496940"/>
                    <a:gd name="connsiteX101" fmla="*/ 478177 w 4519987"/>
                    <a:gd name="connsiteY101" fmla="*/ 857250 h 4496940"/>
                    <a:gd name="connsiteX102" fmla="*/ 497227 w 4519987"/>
                    <a:gd name="connsiteY102" fmla="*/ 828675 h 4496940"/>
                    <a:gd name="connsiteX103" fmla="*/ 535327 w 4519987"/>
                    <a:gd name="connsiteY103" fmla="*/ 800100 h 4496940"/>
                    <a:gd name="connsiteX104" fmla="*/ 602002 w 4519987"/>
                    <a:gd name="connsiteY104" fmla="*/ 733425 h 4496940"/>
                    <a:gd name="connsiteX105" fmla="*/ 668677 w 4519987"/>
                    <a:gd name="connsiteY105" fmla="*/ 676275 h 4496940"/>
                    <a:gd name="connsiteX106" fmla="*/ 697252 w 4519987"/>
                    <a:gd name="connsiteY106" fmla="*/ 657225 h 4496940"/>
                    <a:gd name="connsiteX107" fmla="*/ 840127 w 4519987"/>
                    <a:gd name="connsiteY107" fmla="*/ 533400 h 4496940"/>
                    <a:gd name="connsiteX108" fmla="*/ 887752 w 4519987"/>
                    <a:gd name="connsiteY108" fmla="*/ 504825 h 4496940"/>
                    <a:gd name="connsiteX109" fmla="*/ 1167152 w 4519987"/>
                    <a:gd name="connsiteY109" fmla="*/ 311150 h 4496940"/>
                    <a:gd name="connsiteX110" fmla="*/ 1268752 w 4519987"/>
                    <a:gd name="connsiteY110" fmla="*/ 285750 h 4496940"/>
                    <a:gd name="connsiteX111" fmla="*/ 1411627 w 4519987"/>
                    <a:gd name="connsiteY111" fmla="*/ 190500 h 4496940"/>
                    <a:gd name="connsiteX112" fmla="*/ 1449727 w 4519987"/>
                    <a:gd name="connsiteY112" fmla="*/ 161925 h 4496940"/>
                    <a:gd name="connsiteX113" fmla="*/ 1525927 w 4519987"/>
                    <a:gd name="connsiteY113" fmla="*/ 152400 h 4496940"/>
                    <a:gd name="connsiteX114" fmla="*/ 1583077 w 4519987"/>
                    <a:gd name="connsiteY114" fmla="*/ 142875 h 4496940"/>
                    <a:gd name="connsiteX115" fmla="*/ 1716427 w 4519987"/>
                    <a:gd name="connsiteY115" fmla="*/ 123825 h 4496940"/>
                    <a:gd name="connsiteX116" fmla="*/ 1811677 w 4519987"/>
                    <a:gd name="connsiteY116" fmla="*/ 114300 h 4496940"/>
                    <a:gd name="connsiteX117" fmla="*/ 1859302 w 4519987"/>
                    <a:gd name="connsiteY117" fmla="*/ 104775 h 4496940"/>
                    <a:gd name="connsiteX118" fmla="*/ 1916452 w 4519987"/>
                    <a:gd name="connsiteY118" fmla="*/ 95250 h 4496940"/>
                    <a:gd name="connsiteX119" fmla="*/ 2030752 w 4519987"/>
                    <a:gd name="connsiteY119" fmla="*/ 66675 h 4496940"/>
                    <a:gd name="connsiteX120" fmla="*/ 2097427 w 4519987"/>
                    <a:gd name="connsiteY120" fmla="*/ 47625 h 4496940"/>
                    <a:gd name="connsiteX121" fmla="*/ 2164102 w 4519987"/>
                    <a:gd name="connsiteY121" fmla="*/ 38100 h 4496940"/>
                    <a:gd name="connsiteX122" fmla="*/ 2392702 w 4519987"/>
                    <a:gd name="connsiteY12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40427 w 4519987"/>
                    <a:gd name="connsiteY37" fmla="*/ 426720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40352 w 4519987"/>
                    <a:gd name="connsiteY42" fmla="*/ 4457700 h 4496940"/>
                    <a:gd name="connsiteX43" fmla="*/ 2583202 w 4519987"/>
                    <a:gd name="connsiteY43" fmla="*/ 4467225 h 4496940"/>
                    <a:gd name="connsiteX44" fmla="*/ 2545102 w 4519987"/>
                    <a:gd name="connsiteY44" fmla="*/ 4486275 h 4496940"/>
                    <a:gd name="connsiteX45" fmla="*/ 2306977 w 4519987"/>
                    <a:gd name="connsiteY45" fmla="*/ 4476750 h 4496940"/>
                    <a:gd name="connsiteX46" fmla="*/ 2202202 w 4519987"/>
                    <a:gd name="connsiteY46" fmla="*/ 4457700 h 4496940"/>
                    <a:gd name="connsiteX47" fmla="*/ 2126002 w 4519987"/>
                    <a:gd name="connsiteY47" fmla="*/ 4429125 h 4496940"/>
                    <a:gd name="connsiteX48" fmla="*/ 1935502 w 4519987"/>
                    <a:gd name="connsiteY48" fmla="*/ 4400550 h 4496940"/>
                    <a:gd name="connsiteX49" fmla="*/ 1821202 w 4519987"/>
                    <a:gd name="connsiteY49" fmla="*/ 4371975 h 4496940"/>
                    <a:gd name="connsiteX50" fmla="*/ 1754527 w 4519987"/>
                    <a:gd name="connsiteY50" fmla="*/ 4352925 h 4496940"/>
                    <a:gd name="connsiteX51" fmla="*/ 1687852 w 4519987"/>
                    <a:gd name="connsiteY51" fmla="*/ 4343400 h 4496940"/>
                    <a:gd name="connsiteX52" fmla="*/ 1573552 w 4519987"/>
                    <a:gd name="connsiteY52" fmla="*/ 4305300 h 4496940"/>
                    <a:gd name="connsiteX53" fmla="*/ 1402102 w 4519987"/>
                    <a:gd name="connsiteY53" fmla="*/ 4276725 h 4496940"/>
                    <a:gd name="connsiteX54" fmla="*/ 1287802 w 4519987"/>
                    <a:gd name="connsiteY54" fmla="*/ 4229100 h 4496940"/>
                    <a:gd name="connsiteX55" fmla="*/ 1221127 w 4519987"/>
                    <a:gd name="connsiteY55" fmla="*/ 4200525 h 4496940"/>
                    <a:gd name="connsiteX56" fmla="*/ 1144927 w 4519987"/>
                    <a:gd name="connsiteY56" fmla="*/ 4171950 h 4496940"/>
                    <a:gd name="connsiteX57" fmla="*/ 1087777 w 4519987"/>
                    <a:gd name="connsiteY57" fmla="*/ 4143375 h 4496940"/>
                    <a:gd name="connsiteX58" fmla="*/ 1030627 w 4519987"/>
                    <a:gd name="connsiteY58" fmla="*/ 4124325 h 4496940"/>
                    <a:gd name="connsiteX59" fmla="*/ 925852 w 4519987"/>
                    <a:gd name="connsiteY59" fmla="*/ 4067175 h 4496940"/>
                    <a:gd name="connsiteX60" fmla="*/ 830602 w 4519987"/>
                    <a:gd name="connsiteY60" fmla="*/ 3981450 h 4496940"/>
                    <a:gd name="connsiteX61" fmla="*/ 763927 w 4519987"/>
                    <a:gd name="connsiteY61" fmla="*/ 3914775 h 4496940"/>
                    <a:gd name="connsiteX62" fmla="*/ 725827 w 4519987"/>
                    <a:gd name="connsiteY62" fmla="*/ 3876675 h 4496940"/>
                    <a:gd name="connsiteX63" fmla="*/ 697252 w 4519987"/>
                    <a:gd name="connsiteY63" fmla="*/ 3838575 h 4496940"/>
                    <a:gd name="connsiteX64" fmla="*/ 640102 w 4519987"/>
                    <a:gd name="connsiteY64" fmla="*/ 3781425 h 4496940"/>
                    <a:gd name="connsiteX65" fmla="*/ 611527 w 4519987"/>
                    <a:gd name="connsiteY65" fmla="*/ 3733800 h 4496940"/>
                    <a:gd name="connsiteX66" fmla="*/ 554377 w 4519987"/>
                    <a:gd name="connsiteY66" fmla="*/ 3657600 h 4496940"/>
                    <a:gd name="connsiteX67" fmla="*/ 525802 w 4519987"/>
                    <a:gd name="connsiteY67" fmla="*/ 3609975 h 4496940"/>
                    <a:gd name="connsiteX68" fmla="*/ 497227 w 4519987"/>
                    <a:gd name="connsiteY68" fmla="*/ 3552825 h 4496940"/>
                    <a:gd name="connsiteX69" fmla="*/ 440077 w 4519987"/>
                    <a:gd name="connsiteY69" fmla="*/ 3495675 h 4496940"/>
                    <a:gd name="connsiteX70" fmla="*/ 411502 w 4519987"/>
                    <a:gd name="connsiteY70" fmla="*/ 3448050 h 4496940"/>
                    <a:gd name="connsiteX71" fmla="*/ 278152 w 4519987"/>
                    <a:gd name="connsiteY71" fmla="*/ 3257550 h 4496940"/>
                    <a:gd name="connsiteX72" fmla="*/ 249577 w 4519987"/>
                    <a:gd name="connsiteY72" fmla="*/ 3200400 h 4496940"/>
                    <a:gd name="connsiteX73" fmla="*/ 240052 w 4519987"/>
                    <a:gd name="connsiteY73" fmla="*/ 3162300 h 4496940"/>
                    <a:gd name="connsiteX74" fmla="*/ 221002 w 4519987"/>
                    <a:gd name="connsiteY74" fmla="*/ 3105150 h 4496940"/>
                    <a:gd name="connsiteX75" fmla="*/ 173377 w 4519987"/>
                    <a:gd name="connsiteY75" fmla="*/ 3019425 h 4496940"/>
                    <a:gd name="connsiteX76" fmla="*/ 144802 w 4519987"/>
                    <a:gd name="connsiteY76" fmla="*/ 2924175 h 4496940"/>
                    <a:gd name="connsiteX77" fmla="*/ 68602 w 4519987"/>
                    <a:gd name="connsiteY77" fmla="*/ 2724150 h 4496940"/>
                    <a:gd name="connsiteX78" fmla="*/ 49552 w 4519987"/>
                    <a:gd name="connsiteY78" fmla="*/ 2638425 h 4496940"/>
                    <a:gd name="connsiteX79" fmla="*/ 40027 w 4519987"/>
                    <a:gd name="connsiteY79" fmla="*/ 2562225 h 4496940"/>
                    <a:gd name="connsiteX80" fmla="*/ 30502 w 4519987"/>
                    <a:gd name="connsiteY80" fmla="*/ 2514600 h 4496940"/>
                    <a:gd name="connsiteX81" fmla="*/ 11452 w 4519987"/>
                    <a:gd name="connsiteY81" fmla="*/ 2400300 h 4496940"/>
                    <a:gd name="connsiteX82" fmla="*/ 20977 w 4519987"/>
                    <a:gd name="connsiteY82" fmla="*/ 1905000 h 4496940"/>
                    <a:gd name="connsiteX83" fmla="*/ 30502 w 4519987"/>
                    <a:gd name="connsiteY83" fmla="*/ 1838325 h 4496940"/>
                    <a:gd name="connsiteX84" fmla="*/ 49552 w 4519987"/>
                    <a:gd name="connsiteY84" fmla="*/ 1781175 h 4496940"/>
                    <a:gd name="connsiteX85" fmla="*/ 59077 w 4519987"/>
                    <a:gd name="connsiteY85" fmla="*/ 1743075 h 4496940"/>
                    <a:gd name="connsiteX86" fmla="*/ 78127 w 4519987"/>
                    <a:gd name="connsiteY86" fmla="*/ 1685925 h 4496940"/>
                    <a:gd name="connsiteX87" fmla="*/ 87652 w 4519987"/>
                    <a:gd name="connsiteY87" fmla="*/ 1638300 h 4496940"/>
                    <a:gd name="connsiteX88" fmla="*/ 106702 w 4519987"/>
                    <a:gd name="connsiteY88" fmla="*/ 1590675 h 4496940"/>
                    <a:gd name="connsiteX89" fmla="*/ 135277 w 4519987"/>
                    <a:gd name="connsiteY89" fmla="*/ 1504950 h 4496940"/>
                    <a:gd name="connsiteX90" fmla="*/ 154327 w 4519987"/>
                    <a:gd name="connsiteY90" fmla="*/ 1419225 h 4496940"/>
                    <a:gd name="connsiteX91" fmla="*/ 230527 w 4519987"/>
                    <a:gd name="connsiteY91" fmla="*/ 1276350 h 4496940"/>
                    <a:gd name="connsiteX92" fmla="*/ 240052 w 4519987"/>
                    <a:gd name="connsiteY92" fmla="*/ 1247775 h 4496940"/>
                    <a:gd name="connsiteX93" fmla="*/ 268627 w 4519987"/>
                    <a:gd name="connsiteY93" fmla="*/ 1200150 h 4496940"/>
                    <a:gd name="connsiteX94" fmla="*/ 287677 w 4519987"/>
                    <a:gd name="connsiteY94" fmla="*/ 1152525 h 4496940"/>
                    <a:gd name="connsiteX95" fmla="*/ 316252 w 4519987"/>
                    <a:gd name="connsiteY95" fmla="*/ 1114425 h 4496940"/>
                    <a:gd name="connsiteX96" fmla="*/ 363877 w 4519987"/>
                    <a:gd name="connsiteY96" fmla="*/ 1038225 h 4496940"/>
                    <a:gd name="connsiteX97" fmla="*/ 382927 w 4519987"/>
                    <a:gd name="connsiteY97" fmla="*/ 1009650 h 4496940"/>
                    <a:gd name="connsiteX98" fmla="*/ 440077 w 4519987"/>
                    <a:gd name="connsiteY98" fmla="*/ 904875 h 4496940"/>
                    <a:gd name="connsiteX99" fmla="*/ 478177 w 4519987"/>
                    <a:gd name="connsiteY99" fmla="*/ 857250 h 4496940"/>
                    <a:gd name="connsiteX100" fmla="*/ 497227 w 4519987"/>
                    <a:gd name="connsiteY100" fmla="*/ 828675 h 4496940"/>
                    <a:gd name="connsiteX101" fmla="*/ 535327 w 4519987"/>
                    <a:gd name="connsiteY101" fmla="*/ 800100 h 4496940"/>
                    <a:gd name="connsiteX102" fmla="*/ 602002 w 4519987"/>
                    <a:gd name="connsiteY102" fmla="*/ 733425 h 4496940"/>
                    <a:gd name="connsiteX103" fmla="*/ 668677 w 4519987"/>
                    <a:gd name="connsiteY103" fmla="*/ 676275 h 4496940"/>
                    <a:gd name="connsiteX104" fmla="*/ 697252 w 4519987"/>
                    <a:gd name="connsiteY104" fmla="*/ 657225 h 4496940"/>
                    <a:gd name="connsiteX105" fmla="*/ 840127 w 4519987"/>
                    <a:gd name="connsiteY105" fmla="*/ 533400 h 4496940"/>
                    <a:gd name="connsiteX106" fmla="*/ 887752 w 4519987"/>
                    <a:gd name="connsiteY106" fmla="*/ 504825 h 4496940"/>
                    <a:gd name="connsiteX107" fmla="*/ 1167152 w 4519987"/>
                    <a:gd name="connsiteY107" fmla="*/ 311150 h 4496940"/>
                    <a:gd name="connsiteX108" fmla="*/ 1268752 w 4519987"/>
                    <a:gd name="connsiteY108" fmla="*/ 285750 h 4496940"/>
                    <a:gd name="connsiteX109" fmla="*/ 1411627 w 4519987"/>
                    <a:gd name="connsiteY109" fmla="*/ 190500 h 4496940"/>
                    <a:gd name="connsiteX110" fmla="*/ 1449727 w 4519987"/>
                    <a:gd name="connsiteY110" fmla="*/ 161925 h 4496940"/>
                    <a:gd name="connsiteX111" fmla="*/ 1525927 w 4519987"/>
                    <a:gd name="connsiteY111" fmla="*/ 152400 h 4496940"/>
                    <a:gd name="connsiteX112" fmla="*/ 1583077 w 4519987"/>
                    <a:gd name="connsiteY112" fmla="*/ 142875 h 4496940"/>
                    <a:gd name="connsiteX113" fmla="*/ 1716427 w 4519987"/>
                    <a:gd name="connsiteY113" fmla="*/ 123825 h 4496940"/>
                    <a:gd name="connsiteX114" fmla="*/ 1811677 w 4519987"/>
                    <a:gd name="connsiteY114" fmla="*/ 114300 h 4496940"/>
                    <a:gd name="connsiteX115" fmla="*/ 1859302 w 4519987"/>
                    <a:gd name="connsiteY115" fmla="*/ 104775 h 4496940"/>
                    <a:gd name="connsiteX116" fmla="*/ 1916452 w 4519987"/>
                    <a:gd name="connsiteY116" fmla="*/ 95250 h 4496940"/>
                    <a:gd name="connsiteX117" fmla="*/ 2030752 w 4519987"/>
                    <a:gd name="connsiteY117" fmla="*/ 66675 h 4496940"/>
                    <a:gd name="connsiteX118" fmla="*/ 2097427 w 4519987"/>
                    <a:gd name="connsiteY118" fmla="*/ 47625 h 4496940"/>
                    <a:gd name="connsiteX119" fmla="*/ 2164102 w 4519987"/>
                    <a:gd name="connsiteY119" fmla="*/ 38100 h 4496940"/>
                    <a:gd name="connsiteX120" fmla="*/ 2392702 w 4519987"/>
                    <a:gd name="connsiteY120" fmla="*/ 28575 h 4496940"/>
                    <a:gd name="connsiteX0" fmla="*/ 2297452 w 4519987"/>
                    <a:gd name="connsiteY0" fmla="*/ 0 h 4487372"/>
                    <a:gd name="connsiteX1" fmla="*/ 2421277 w 4519987"/>
                    <a:gd name="connsiteY1" fmla="*/ 28575 h 4487372"/>
                    <a:gd name="connsiteX2" fmla="*/ 2497477 w 4519987"/>
                    <a:gd name="connsiteY2" fmla="*/ 47625 h 4487372"/>
                    <a:gd name="connsiteX3" fmla="*/ 2754652 w 4519987"/>
                    <a:gd name="connsiteY3" fmla="*/ 66675 h 4487372"/>
                    <a:gd name="connsiteX4" fmla="*/ 2830852 w 4519987"/>
                    <a:gd name="connsiteY4" fmla="*/ 76200 h 4487372"/>
                    <a:gd name="connsiteX5" fmla="*/ 2916577 w 4519987"/>
                    <a:gd name="connsiteY5" fmla="*/ 85725 h 4487372"/>
                    <a:gd name="connsiteX6" fmla="*/ 2973727 w 4519987"/>
                    <a:gd name="connsiteY6" fmla="*/ 114300 h 4487372"/>
                    <a:gd name="connsiteX7" fmla="*/ 3011827 w 4519987"/>
                    <a:gd name="connsiteY7" fmla="*/ 123825 h 4487372"/>
                    <a:gd name="connsiteX8" fmla="*/ 3135652 w 4519987"/>
                    <a:gd name="connsiteY8" fmla="*/ 171450 h 4487372"/>
                    <a:gd name="connsiteX9" fmla="*/ 3173752 w 4519987"/>
                    <a:gd name="connsiteY9" fmla="*/ 190500 h 4487372"/>
                    <a:gd name="connsiteX10" fmla="*/ 3240427 w 4519987"/>
                    <a:gd name="connsiteY10" fmla="*/ 228600 h 4487372"/>
                    <a:gd name="connsiteX11" fmla="*/ 3269002 w 4519987"/>
                    <a:gd name="connsiteY11" fmla="*/ 238125 h 4487372"/>
                    <a:gd name="connsiteX12" fmla="*/ 3297577 w 4519987"/>
                    <a:gd name="connsiteY12" fmla="*/ 257175 h 4487372"/>
                    <a:gd name="connsiteX13" fmla="*/ 3326152 w 4519987"/>
                    <a:gd name="connsiteY13" fmla="*/ 266700 h 4487372"/>
                    <a:gd name="connsiteX14" fmla="*/ 3354727 w 4519987"/>
                    <a:gd name="connsiteY14" fmla="*/ 285750 h 4487372"/>
                    <a:gd name="connsiteX15" fmla="*/ 3421402 w 4519987"/>
                    <a:gd name="connsiteY15" fmla="*/ 323850 h 4487372"/>
                    <a:gd name="connsiteX16" fmla="*/ 3469027 w 4519987"/>
                    <a:gd name="connsiteY16" fmla="*/ 361950 h 4487372"/>
                    <a:gd name="connsiteX17" fmla="*/ 3516652 w 4519987"/>
                    <a:gd name="connsiteY17" fmla="*/ 390525 h 4487372"/>
                    <a:gd name="connsiteX18" fmla="*/ 3630952 w 4519987"/>
                    <a:gd name="connsiteY18" fmla="*/ 485775 h 4487372"/>
                    <a:gd name="connsiteX19" fmla="*/ 3745252 w 4519987"/>
                    <a:gd name="connsiteY19" fmla="*/ 542925 h 4487372"/>
                    <a:gd name="connsiteX20" fmla="*/ 3811927 w 4519987"/>
                    <a:gd name="connsiteY20" fmla="*/ 581025 h 4487372"/>
                    <a:gd name="connsiteX21" fmla="*/ 4027827 w 4519987"/>
                    <a:gd name="connsiteY21" fmla="*/ 819150 h 4487372"/>
                    <a:gd name="connsiteX22" fmla="*/ 4164352 w 4519987"/>
                    <a:gd name="connsiteY22" fmla="*/ 990600 h 4487372"/>
                    <a:gd name="connsiteX23" fmla="*/ 4250077 w 4519987"/>
                    <a:gd name="connsiteY23" fmla="*/ 1143000 h 4487372"/>
                    <a:gd name="connsiteX24" fmla="*/ 4307227 w 4519987"/>
                    <a:gd name="connsiteY24" fmla="*/ 1266825 h 4487372"/>
                    <a:gd name="connsiteX25" fmla="*/ 4345327 w 4519987"/>
                    <a:gd name="connsiteY25" fmla="*/ 1362075 h 4487372"/>
                    <a:gd name="connsiteX26" fmla="*/ 4392952 w 4519987"/>
                    <a:gd name="connsiteY26" fmla="*/ 1552575 h 4487372"/>
                    <a:gd name="connsiteX27" fmla="*/ 4431052 w 4519987"/>
                    <a:gd name="connsiteY27" fmla="*/ 1685925 h 4487372"/>
                    <a:gd name="connsiteX28" fmla="*/ 4519952 w 4519987"/>
                    <a:gd name="connsiteY28" fmla="*/ 2181225 h 4487372"/>
                    <a:gd name="connsiteX29" fmla="*/ 4446927 w 4519987"/>
                    <a:gd name="connsiteY29" fmla="*/ 2768600 h 4487372"/>
                    <a:gd name="connsiteX30" fmla="*/ 4383427 w 4519987"/>
                    <a:gd name="connsiteY30" fmla="*/ 2990850 h 4487372"/>
                    <a:gd name="connsiteX31" fmla="*/ 4278652 w 4519987"/>
                    <a:gd name="connsiteY31" fmla="*/ 3248025 h 4487372"/>
                    <a:gd name="connsiteX32" fmla="*/ 4183402 w 4519987"/>
                    <a:gd name="connsiteY32" fmla="*/ 3400425 h 4487372"/>
                    <a:gd name="connsiteX33" fmla="*/ 4059577 w 4519987"/>
                    <a:gd name="connsiteY33" fmla="*/ 3533775 h 4487372"/>
                    <a:gd name="connsiteX34" fmla="*/ 3954802 w 4519987"/>
                    <a:gd name="connsiteY34" fmla="*/ 3648075 h 4487372"/>
                    <a:gd name="connsiteX35" fmla="*/ 3659527 w 4519987"/>
                    <a:gd name="connsiteY35" fmla="*/ 3971925 h 4487372"/>
                    <a:gd name="connsiteX36" fmla="*/ 3516652 w 4519987"/>
                    <a:gd name="connsiteY36" fmla="*/ 4083050 h 4487372"/>
                    <a:gd name="connsiteX37" fmla="*/ 3221377 w 4519987"/>
                    <a:gd name="connsiteY37" fmla="*/ 4222750 h 4487372"/>
                    <a:gd name="connsiteX38" fmla="*/ 3068977 w 4519987"/>
                    <a:gd name="connsiteY38" fmla="*/ 4286250 h 4487372"/>
                    <a:gd name="connsiteX39" fmla="*/ 2935627 w 4519987"/>
                    <a:gd name="connsiteY39" fmla="*/ 4333875 h 4487372"/>
                    <a:gd name="connsiteX40" fmla="*/ 2811802 w 4519987"/>
                    <a:gd name="connsiteY40" fmla="*/ 4371975 h 4487372"/>
                    <a:gd name="connsiteX41" fmla="*/ 2745127 w 4519987"/>
                    <a:gd name="connsiteY41" fmla="*/ 4410075 h 4487372"/>
                    <a:gd name="connsiteX42" fmla="*/ 2640352 w 4519987"/>
                    <a:gd name="connsiteY42" fmla="*/ 4457700 h 4487372"/>
                    <a:gd name="connsiteX43" fmla="*/ 2545102 w 4519987"/>
                    <a:gd name="connsiteY43" fmla="*/ 4486275 h 4487372"/>
                    <a:gd name="connsiteX44" fmla="*/ 2306977 w 4519987"/>
                    <a:gd name="connsiteY44" fmla="*/ 4476750 h 4487372"/>
                    <a:gd name="connsiteX45" fmla="*/ 2202202 w 4519987"/>
                    <a:gd name="connsiteY45" fmla="*/ 4457700 h 4487372"/>
                    <a:gd name="connsiteX46" fmla="*/ 2126002 w 4519987"/>
                    <a:gd name="connsiteY46" fmla="*/ 4429125 h 4487372"/>
                    <a:gd name="connsiteX47" fmla="*/ 1935502 w 4519987"/>
                    <a:gd name="connsiteY47" fmla="*/ 4400550 h 4487372"/>
                    <a:gd name="connsiteX48" fmla="*/ 1821202 w 4519987"/>
                    <a:gd name="connsiteY48" fmla="*/ 4371975 h 4487372"/>
                    <a:gd name="connsiteX49" fmla="*/ 1754527 w 4519987"/>
                    <a:gd name="connsiteY49" fmla="*/ 4352925 h 4487372"/>
                    <a:gd name="connsiteX50" fmla="*/ 1687852 w 4519987"/>
                    <a:gd name="connsiteY50" fmla="*/ 4343400 h 4487372"/>
                    <a:gd name="connsiteX51" fmla="*/ 1573552 w 4519987"/>
                    <a:gd name="connsiteY51" fmla="*/ 4305300 h 4487372"/>
                    <a:gd name="connsiteX52" fmla="*/ 1402102 w 4519987"/>
                    <a:gd name="connsiteY52" fmla="*/ 4276725 h 4487372"/>
                    <a:gd name="connsiteX53" fmla="*/ 1287802 w 4519987"/>
                    <a:gd name="connsiteY53" fmla="*/ 4229100 h 4487372"/>
                    <a:gd name="connsiteX54" fmla="*/ 1221127 w 4519987"/>
                    <a:gd name="connsiteY54" fmla="*/ 4200525 h 4487372"/>
                    <a:gd name="connsiteX55" fmla="*/ 1144927 w 4519987"/>
                    <a:gd name="connsiteY55" fmla="*/ 4171950 h 4487372"/>
                    <a:gd name="connsiteX56" fmla="*/ 1087777 w 4519987"/>
                    <a:gd name="connsiteY56" fmla="*/ 4143375 h 4487372"/>
                    <a:gd name="connsiteX57" fmla="*/ 1030627 w 4519987"/>
                    <a:gd name="connsiteY57" fmla="*/ 4124325 h 4487372"/>
                    <a:gd name="connsiteX58" fmla="*/ 925852 w 4519987"/>
                    <a:gd name="connsiteY58" fmla="*/ 4067175 h 4487372"/>
                    <a:gd name="connsiteX59" fmla="*/ 830602 w 4519987"/>
                    <a:gd name="connsiteY59" fmla="*/ 3981450 h 4487372"/>
                    <a:gd name="connsiteX60" fmla="*/ 763927 w 4519987"/>
                    <a:gd name="connsiteY60" fmla="*/ 3914775 h 4487372"/>
                    <a:gd name="connsiteX61" fmla="*/ 725827 w 4519987"/>
                    <a:gd name="connsiteY61" fmla="*/ 3876675 h 4487372"/>
                    <a:gd name="connsiteX62" fmla="*/ 697252 w 4519987"/>
                    <a:gd name="connsiteY62" fmla="*/ 3838575 h 4487372"/>
                    <a:gd name="connsiteX63" fmla="*/ 640102 w 4519987"/>
                    <a:gd name="connsiteY63" fmla="*/ 3781425 h 4487372"/>
                    <a:gd name="connsiteX64" fmla="*/ 611527 w 4519987"/>
                    <a:gd name="connsiteY64" fmla="*/ 3733800 h 4487372"/>
                    <a:gd name="connsiteX65" fmla="*/ 554377 w 4519987"/>
                    <a:gd name="connsiteY65" fmla="*/ 3657600 h 4487372"/>
                    <a:gd name="connsiteX66" fmla="*/ 525802 w 4519987"/>
                    <a:gd name="connsiteY66" fmla="*/ 3609975 h 4487372"/>
                    <a:gd name="connsiteX67" fmla="*/ 497227 w 4519987"/>
                    <a:gd name="connsiteY67" fmla="*/ 3552825 h 4487372"/>
                    <a:gd name="connsiteX68" fmla="*/ 440077 w 4519987"/>
                    <a:gd name="connsiteY68" fmla="*/ 3495675 h 4487372"/>
                    <a:gd name="connsiteX69" fmla="*/ 411502 w 4519987"/>
                    <a:gd name="connsiteY69" fmla="*/ 3448050 h 4487372"/>
                    <a:gd name="connsiteX70" fmla="*/ 278152 w 4519987"/>
                    <a:gd name="connsiteY70" fmla="*/ 3257550 h 4487372"/>
                    <a:gd name="connsiteX71" fmla="*/ 249577 w 4519987"/>
                    <a:gd name="connsiteY71" fmla="*/ 3200400 h 4487372"/>
                    <a:gd name="connsiteX72" fmla="*/ 240052 w 4519987"/>
                    <a:gd name="connsiteY72" fmla="*/ 3162300 h 4487372"/>
                    <a:gd name="connsiteX73" fmla="*/ 221002 w 4519987"/>
                    <a:gd name="connsiteY73" fmla="*/ 3105150 h 4487372"/>
                    <a:gd name="connsiteX74" fmla="*/ 173377 w 4519987"/>
                    <a:gd name="connsiteY74" fmla="*/ 3019425 h 4487372"/>
                    <a:gd name="connsiteX75" fmla="*/ 144802 w 4519987"/>
                    <a:gd name="connsiteY75" fmla="*/ 2924175 h 4487372"/>
                    <a:gd name="connsiteX76" fmla="*/ 68602 w 4519987"/>
                    <a:gd name="connsiteY76" fmla="*/ 2724150 h 4487372"/>
                    <a:gd name="connsiteX77" fmla="*/ 49552 w 4519987"/>
                    <a:gd name="connsiteY77" fmla="*/ 2638425 h 4487372"/>
                    <a:gd name="connsiteX78" fmla="*/ 40027 w 4519987"/>
                    <a:gd name="connsiteY78" fmla="*/ 2562225 h 4487372"/>
                    <a:gd name="connsiteX79" fmla="*/ 30502 w 4519987"/>
                    <a:gd name="connsiteY79" fmla="*/ 2514600 h 4487372"/>
                    <a:gd name="connsiteX80" fmla="*/ 11452 w 4519987"/>
                    <a:gd name="connsiteY80" fmla="*/ 2400300 h 4487372"/>
                    <a:gd name="connsiteX81" fmla="*/ 20977 w 4519987"/>
                    <a:gd name="connsiteY81" fmla="*/ 1905000 h 4487372"/>
                    <a:gd name="connsiteX82" fmla="*/ 30502 w 4519987"/>
                    <a:gd name="connsiteY82" fmla="*/ 1838325 h 4487372"/>
                    <a:gd name="connsiteX83" fmla="*/ 49552 w 4519987"/>
                    <a:gd name="connsiteY83" fmla="*/ 1781175 h 4487372"/>
                    <a:gd name="connsiteX84" fmla="*/ 59077 w 4519987"/>
                    <a:gd name="connsiteY84" fmla="*/ 1743075 h 4487372"/>
                    <a:gd name="connsiteX85" fmla="*/ 78127 w 4519987"/>
                    <a:gd name="connsiteY85" fmla="*/ 1685925 h 4487372"/>
                    <a:gd name="connsiteX86" fmla="*/ 87652 w 4519987"/>
                    <a:gd name="connsiteY86" fmla="*/ 1638300 h 4487372"/>
                    <a:gd name="connsiteX87" fmla="*/ 106702 w 4519987"/>
                    <a:gd name="connsiteY87" fmla="*/ 1590675 h 4487372"/>
                    <a:gd name="connsiteX88" fmla="*/ 135277 w 4519987"/>
                    <a:gd name="connsiteY88" fmla="*/ 1504950 h 4487372"/>
                    <a:gd name="connsiteX89" fmla="*/ 154327 w 4519987"/>
                    <a:gd name="connsiteY89" fmla="*/ 1419225 h 4487372"/>
                    <a:gd name="connsiteX90" fmla="*/ 230527 w 4519987"/>
                    <a:gd name="connsiteY90" fmla="*/ 1276350 h 4487372"/>
                    <a:gd name="connsiteX91" fmla="*/ 240052 w 4519987"/>
                    <a:gd name="connsiteY91" fmla="*/ 1247775 h 4487372"/>
                    <a:gd name="connsiteX92" fmla="*/ 268627 w 4519987"/>
                    <a:gd name="connsiteY92" fmla="*/ 1200150 h 4487372"/>
                    <a:gd name="connsiteX93" fmla="*/ 287677 w 4519987"/>
                    <a:gd name="connsiteY93" fmla="*/ 1152525 h 4487372"/>
                    <a:gd name="connsiteX94" fmla="*/ 316252 w 4519987"/>
                    <a:gd name="connsiteY94" fmla="*/ 1114425 h 4487372"/>
                    <a:gd name="connsiteX95" fmla="*/ 363877 w 4519987"/>
                    <a:gd name="connsiteY95" fmla="*/ 1038225 h 4487372"/>
                    <a:gd name="connsiteX96" fmla="*/ 382927 w 4519987"/>
                    <a:gd name="connsiteY96" fmla="*/ 1009650 h 4487372"/>
                    <a:gd name="connsiteX97" fmla="*/ 440077 w 4519987"/>
                    <a:gd name="connsiteY97" fmla="*/ 904875 h 4487372"/>
                    <a:gd name="connsiteX98" fmla="*/ 478177 w 4519987"/>
                    <a:gd name="connsiteY98" fmla="*/ 857250 h 4487372"/>
                    <a:gd name="connsiteX99" fmla="*/ 497227 w 4519987"/>
                    <a:gd name="connsiteY99" fmla="*/ 828675 h 4487372"/>
                    <a:gd name="connsiteX100" fmla="*/ 535327 w 4519987"/>
                    <a:gd name="connsiteY100" fmla="*/ 800100 h 4487372"/>
                    <a:gd name="connsiteX101" fmla="*/ 602002 w 4519987"/>
                    <a:gd name="connsiteY101" fmla="*/ 733425 h 4487372"/>
                    <a:gd name="connsiteX102" fmla="*/ 668677 w 4519987"/>
                    <a:gd name="connsiteY102" fmla="*/ 676275 h 4487372"/>
                    <a:gd name="connsiteX103" fmla="*/ 697252 w 4519987"/>
                    <a:gd name="connsiteY103" fmla="*/ 657225 h 4487372"/>
                    <a:gd name="connsiteX104" fmla="*/ 840127 w 4519987"/>
                    <a:gd name="connsiteY104" fmla="*/ 533400 h 4487372"/>
                    <a:gd name="connsiteX105" fmla="*/ 887752 w 4519987"/>
                    <a:gd name="connsiteY105" fmla="*/ 504825 h 4487372"/>
                    <a:gd name="connsiteX106" fmla="*/ 1167152 w 4519987"/>
                    <a:gd name="connsiteY106" fmla="*/ 311150 h 4487372"/>
                    <a:gd name="connsiteX107" fmla="*/ 1268752 w 4519987"/>
                    <a:gd name="connsiteY107" fmla="*/ 285750 h 4487372"/>
                    <a:gd name="connsiteX108" fmla="*/ 1411627 w 4519987"/>
                    <a:gd name="connsiteY108" fmla="*/ 190500 h 4487372"/>
                    <a:gd name="connsiteX109" fmla="*/ 1449727 w 4519987"/>
                    <a:gd name="connsiteY109" fmla="*/ 161925 h 4487372"/>
                    <a:gd name="connsiteX110" fmla="*/ 1525927 w 4519987"/>
                    <a:gd name="connsiteY110" fmla="*/ 152400 h 4487372"/>
                    <a:gd name="connsiteX111" fmla="*/ 1583077 w 4519987"/>
                    <a:gd name="connsiteY111" fmla="*/ 142875 h 4487372"/>
                    <a:gd name="connsiteX112" fmla="*/ 1716427 w 4519987"/>
                    <a:gd name="connsiteY112" fmla="*/ 123825 h 4487372"/>
                    <a:gd name="connsiteX113" fmla="*/ 1811677 w 4519987"/>
                    <a:gd name="connsiteY113" fmla="*/ 114300 h 4487372"/>
                    <a:gd name="connsiteX114" fmla="*/ 1859302 w 4519987"/>
                    <a:gd name="connsiteY114" fmla="*/ 104775 h 4487372"/>
                    <a:gd name="connsiteX115" fmla="*/ 1916452 w 4519987"/>
                    <a:gd name="connsiteY115" fmla="*/ 95250 h 4487372"/>
                    <a:gd name="connsiteX116" fmla="*/ 2030752 w 4519987"/>
                    <a:gd name="connsiteY116" fmla="*/ 66675 h 4487372"/>
                    <a:gd name="connsiteX117" fmla="*/ 2097427 w 4519987"/>
                    <a:gd name="connsiteY117" fmla="*/ 47625 h 4487372"/>
                    <a:gd name="connsiteX118" fmla="*/ 2164102 w 4519987"/>
                    <a:gd name="connsiteY118" fmla="*/ 38100 h 4487372"/>
                    <a:gd name="connsiteX119" fmla="*/ 2392702 w 4519987"/>
                    <a:gd name="connsiteY119" fmla="*/ 28575 h 4487372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745127 w 4519987"/>
                    <a:gd name="connsiteY41" fmla="*/ 4410075 h 4476750"/>
                    <a:gd name="connsiteX42" fmla="*/ 2640352 w 4519987"/>
                    <a:gd name="connsiteY42" fmla="*/ 4457700 h 4476750"/>
                    <a:gd name="connsiteX43" fmla="*/ 2306977 w 4519987"/>
                    <a:gd name="connsiteY43" fmla="*/ 4476750 h 4476750"/>
                    <a:gd name="connsiteX44" fmla="*/ 2202202 w 4519987"/>
                    <a:gd name="connsiteY44" fmla="*/ 4457700 h 4476750"/>
                    <a:gd name="connsiteX45" fmla="*/ 2126002 w 4519987"/>
                    <a:gd name="connsiteY45" fmla="*/ 4429125 h 4476750"/>
                    <a:gd name="connsiteX46" fmla="*/ 1935502 w 4519987"/>
                    <a:gd name="connsiteY46" fmla="*/ 4400550 h 4476750"/>
                    <a:gd name="connsiteX47" fmla="*/ 1821202 w 4519987"/>
                    <a:gd name="connsiteY47" fmla="*/ 4371975 h 4476750"/>
                    <a:gd name="connsiteX48" fmla="*/ 1754527 w 4519987"/>
                    <a:gd name="connsiteY48" fmla="*/ 4352925 h 4476750"/>
                    <a:gd name="connsiteX49" fmla="*/ 1687852 w 4519987"/>
                    <a:gd name="connsiteY49" fmla="*/ 4343400 h 4476750"/>
                    <a:gd name="connsiteX50" fmla="*/ 1573552 w 4519987"/>
                    <a:gd name="connsiteY50" fmla="*/ 4305300 h 4476750"/>
                    <a:gd name="connsiteX51" fmla="*/ 1402102 w 4519987"/>
                    <a:gd name="connsiteY51" fmla="*/ 4276725 h 4476750"/>
                    <a:gd name="connsiteX52" fmla="*/ 1287802 w 4519987"/>
                    <a:gd name="connsiteY52" fmla="*/ 4229100 h 4476750"/>
                    <a:gd name="connsiteX53" fmla="*/ 1221127 w 4519987"/>
                    <a:gd name="connsiteY53" fmla="*/ 4200525 h 4476750"/>
                    <a:gd name="connsiteX54" fmla="*/ 1144927 w 4519987"/>
                    <a:gd name="connsiteY54" fmla="*/ 4171950 h 4476750"/>
                    <a:gd name="connsiteX55" fmla="*/ 1087777 w 4519987"/>
                    <a:gd name="connsiteY55" fmla="*/ 4143375 h 4476750"/>
                    <a:gd name="connsiteX56" fmla="*/ 1030627 w 4519987"/>
                    <a:gd name="connsiteY56" fmla="*/ 4124325 h 4476750"/>
                    <a:gd name="connsiteX57" fmla="*/ 925852 w 4519987"/>
                    <a:gd name="connsiteY57" fmla="*/ 4067175 h 4476750"/>
                    <a:gd name="connsiteX58" fmla="*/ 830602 w 4519987"/>
                    <a:gd name="connsiteY58" fmla="*/ 3981450 h 4476750"/>
                    <a:gd name="connsiteX59" fmla="*/ 763927 w 4519987"/>
                    <a:gd name="connsiteY59" fmla="*/ 3914775 h 4476750"/>
                    <a:gd name="connsiteX60" fmla="*/ 725827 w 4519987"/>
                    <a:gd name="connsiteY60" fmla="*/ 3876675 h 4476750"/>
                    <a:gd name="connsiteX61" fmla="*/ 697252 w 4519987"/>
                    <a:gd name="connsiteY61" fmla="*/ 3838575 h 4476750"/>
                    <a:gd name="connsiteX62" fmla="*/ 640102 w 4519987"/>
                    <a:gd name="connsiteY62" fmla="*/ 3781425 h 4476750"/>
                    <a:gd name="connsiteX63" fmla="*/ 611527 w 4519987"/>
                    <a:gd name="connsiteY63" fmla="*/ 3733800 h 4476750"/>
                    <a:gd name="connsiteX64" fmla="*/ 554377 w 4519987"/>
                    <a:gd name="connsiteY64" fmla="*/ 3657600 h 4476750"/>
                    <a:gd name="connsiteX65" fmla="*/ 525802 w 4519987"/>
                    <a:gd name="connsiteY65" fmla="*/ 3609975 h 4476750"/>
                    <a:gd name="connsiteX66" fmla="*/ 497227 w 4519987"/>
                    <a:gd name="connsiteY66" fmla="*/ 3552825 h 4476750"/>
                    <a:gd name="connsiteX67" fmla="*/ 440077 w 4519987"/>
                    <a:gd name="connsiteY67" fmla="*/ 3495675 h 4476750"/>
                    <a:gd name="connsiteX68" fmla="*/ 411502 w 4519987"/>
                    <a:gd name="connsiteY68" fmla="*/ 3448050 h 4476750"/>
                    <a:gd name="connsiteX69" fmla="*/ 278152 w 4519987"/>
                    <a:gd name="connsiteY69" fmla="*/ 3257550 h 4476750"/>
                    <a:gd name="connsiteX70" fmla="*/ 249577 w 4519987"/>
                    <a:gd name="connsiteY70" fmla="*/ 3200400 h 4476750"/>
                    <a:gd name="connsiteX71" fmla="*/ 240052 w 4519987"/>
                    <a:gd name="connsiteY71" fmla="*/ 3162300 h 4476750"/>
                    <a:gd name="connsiteX72" fmla="*/ 221002 w 4519987"/>
                    <a:gd name="connsiteY72" fmla="*/ 3105150 h 4476750"/>
                    <a:gd name="connsiteX73" fmla="*/ 173377 w 4519987"/>
                    <a:gd name="connsiteY73" fmla="*/ 3019425 h 4476750"/>
                    <a:gd name="connsiteX74" fmla="*/ 144802 w 4519987"/>
                    <a:gd name="connsiteY74" fmla="*/ 2924175 h 4476750"/>
                    <a:gd name="connsiteX75" fmla="*/ 68602 w 4519987"/>
                    <a:gd name="connsiteY75" fmla="*/ 2724150 h 4476750"/>
                    <a:gd name="connsiteX76" fmla="*/ 49552 w 4519987"/>
                    <a:gd name="connsiteY76" fmla="*/ 2638425 h 4476750"/>
                    <a:gd name="connsiteX77" fmla="*/ 40027 w 4519987"/>
                    <a:gd name="connsiteY77" fmla="*/ 2562225 h 4476750"/>
                    <a:gd name="connsiteX78" fmla="*/ 30502 w 4519987"/>
                    <a:gd name="connsiteY78" fmla="*/ 2514600 h 4476750"/>
                    <a:gd name="connsiteX79" fmla="*/ 11452 w 4519987"/>
                    <a:gd name="connsiteY79" fmla="*/ 2400300 h 4476750"/>
                    <a:gd name="connsiteX80" fmla="*/ 20977 w 4519987"/>
                    <a:gd name="connsiteY80" fmla="*/ 1905000 h 4476750"/>
                    <a:gd name="connsiteX81" fmla="*/ 30502 w 4519987"/>
                    <a:gd name="connsiteY81" fmla="*/ 1838325 h 4476750"/>
                    <a:gd name="connsiteX82" fmla="*/ 49552 w 4519987"/>
                    <a:gd name="connsiteY82" fmla="*/ 1781175 h 4476750"/>
                    <a:gd name="connsiteX83" fmla="*/ 59077 w 4519987"/>
                    <a:gd name="connsiteY83" fmla="*/ 1743075 h 4476750"/>
                    <a:gd name="connsiteX84" fmla="*/ 78127 w 4519987"/>
                    <a:gd name="connsiteY84" fmla="*/ 1685925 h 4476750"/>
                    <a:gd name="connsiteX85" fmla="*/ 87652 w 4519987"/>
                    <a:gd name="connsiteY85" fmla="*/ 1638300 h 4476750"/>
                    <a:gd name="connsiteX86" fmla="*/ 106702 w 4519987"/>
                    <a:gd name="connsiteY86" fmla="*/ 1590675 h 4476750"/>
                    <a:gd name="connsiteX87" fmla="*/ 135277 w 4519987"/>
                    <a:gd name="connsiteY87" fmla="*/ 1504950 h 4476750"/>
                    <a:gd name="connsiteX88" fmla="*/ 154327 w 4519987"/>
                    <a:gd name="connsiteY88" fmla="*/ 1419225 h 4476750"/>
                    <a:gd name="connsiteX89" fmla="*/ 230527 w 4519987"/>
                    <a:gd name="connsiteY89" fmla="*/ 1276350 h 4476750"/>
                    <a:gd name="connsiteX90" fmla="*/ 240052 w 4519987"/>
                    <a:gd name="connsiteY90" fmla="*/ 1247775 h 4476750"/>
                    <a:gd name="connsiteX91" fmla="*/ 268627 w 4519987"/>
                    <a:gd name="connsiteY91" fmla="*/ 1200150 h 4476750"/>
                    <a:gd name="connsiteX92" fmla="*/ 287677 w 4519987"/>
                    <a:gd name="connsiteY92" fmla="*/ 1152525 h 4476750"/>
                    <a:gd name="connsiteX93" fmla="*/ 316252 w 4519987"/>
                    <a:gd name="connsiteY93" fmla="*/ 1114425 h 4476750"/>
                    <a:gd name="connsiteX94" fmla="*/ 363877 w 4519987"/>
                    <a:gd name="connsiteY94" fmla="*/ 1038225 h 4476750"/>
                    <a:gd name="connsiteX95" fmla="*/ 382927 w 4519987"/>
                    <a:gd name="connsiteY95" fmla="*/ 1009650 h 4476750"/>
                    <a:gd name="connsiteX96" fmla="*/ 440077 w 4519987"/>
                    <a:gd name="connsiteY96" fmla="*/ 904875 h 4476750"/>
                    <a:gd name="connsiteX97" fmla="*/ 478177 w 4519987"/>
                    <a:gd name="connsiteY97" fmla="*/ 857250 h 4476750"/>
                    <a:gd name="connsiteX98" fmla="*/ 497227 w 4519987"/>
                    <a:gd name="connsiteY98" fmla="*/ 828675 h 4476750"/>
                    <a:gd name="connsiteX99" fmla="*/ 535327 w 4519987"/>
                    <a:gd name="connsiteY99" fmla="*/ 800100 h 4476750"/>
                    <a:gd name="connsiteX100" fmla="*/ 602002 w 4519987"/>
                    <a:gd name="connsiteY100" fmla="*/ 733425 h 4476750"/>
                    <a:gd name="connsiteX101" fmla="*/ 668677 w 4519987"/>
                    <a:gd name="connsiteY101" fmla="*/ 676275 h 4476750"/>
                    <a:gd name="connsiteX102" fmla="*/ 697252 w 4519987"/>
                    <a:gd name="connsiteY102" fmla="*/ 657225 h 4476750"/>
                    <a:gd name="connsiteX103" fmla="*/ 840127 w 4519987"/>
                    <a:gd name="connsiteY103" fmla="*/ 533400 h 4476750"/>
                    <a:gd name="connsiteX104" fmla="*/ 887752 w 4519987"/>
                    <a:gd name="connsiteY104" fmla="*/ 504825 h 4476750"/>
                    <a:gd name="connsiteX105" fmla="*/ 1167152 w 4519987"/>
                    <a:gd name="connsiteY105" fmla="*/ 311150 h 4476750"/>
                    <a:gd name="connsiteX106" fmla="*/ 1268752 w 4519987"/>
                    <a:gd name="connsiteY106" fmla="*/ 285750 h 4476750"/>
                    <a:gd name="connsiteX107" fmla="*/ 1411627 w 4519987"/>
                    <a:gd name="connsiteY107" fmla="*/ 190500 h 4476750"/>
                    <a:gd name="connsiteX108" fmla="*/ 1449727 w 4519987"/>
                    <a:gd name="connsiteY108" fmla="*/ 161925 h 4476750"/>
                    <a:gd name="connsiteX109" fmla="*/ 1525927 w 4519987"/>
                    <a:gd name="connsiteY109" fmla="*/ 152400 h 4476750"/>
                    <a:gd name="connsiteX110" fmla="*/ 1583077 w 4519987"/>
                    <a:gd name="connsiteY110" fmla="*/ 142875 h 4476750"/>
                    <a:gd name="connsiteX111" fmla="*/ 1716427 w 4519987"/>
                    <a:gd name="connsiteY111" fmla="*/ 123825 h 4476750"/>
                    <a:gd name="connsiteX112" fmla="*/ 1811677 w 4519987"/>
                    <a:gd name="connsiteY112" fmla="*/ 114300 h 4476750"/>
                    <a:gd name="connsiteX113" fmla="*/ 1859302 w 4519987"/>
                    <a:gd name="connsiteY113" fmla="*/ 104775 h 4476750"/>
                    <a:gd name="connsiteX114" fmla="*/ 1916452 w 4519987"/>
                    <a:gd name="connsiteY114" fmla="*/ 95250 h 4476750"/>
                    <a:gd name="connsiteX115" fmla="*/ 2030752 w 4519987"/>
                    <a:gd name="connsiteY115" fmla="*/ 66675 h 4476750"/>
                    <a:gd name="connsiteX116" fmla="*/ 2097427 w 4519987"/>
                    <a:gd name="connsiteY116" fmla="*/ 47625 h 4476750"/>
                    <a:gd name="connsiteX117" fmla="*/ 2164102 w 4519987"/>
                    <a:gd name="connsiteY117" fmla="*/ 38100 h 4476750"/>
                    <a:gd name="connsiteX118" fmla="*/ 2392702 w 4519987"/>
                    <a:gd name="connsiteY118" fmla="*/ 28575 h 4476750"/>
                    <a:gd name="connsiteX0" fmla="*/ 2297452 w 4519987"/>
                    <a:gd name="connsiteY0" fmla="*/ 0 h 4478541"/>
                    <a:gd name="connsiteX1" fmla="*/ 2421277 w 4519987"/>
                    <a:gd name="connsiteY1" fmla="*/ 28575 h 4478541"/>
                    <a:gd name="connsiteX2" fmla="*/ 2497477 w 4519987"/>
                    <a:gd name="connsiteY2" fmla="*/ 47625 h 4478541"/>
                    <a:gd name="connsiteX3" fmla="*/ 2754652 w 4519987"/>
                    <a:gd name="connsiteY3" fmla="*/ 66675 h 4478541"/>
                    <a:gd name="connsiteX4" fmla="*/ 2830852 w 4519987"/>
                    <a:gd name="connsiteY4" fmla="*/ 76200 h 4478541"/>
                    <a:gd name="connsiteX5" fmla="*/ 2916577 w 4519987"/>
                    <a:gd name="connsiteY5" fmla="*/ 85725 h 4478541"/>
                    <a:gd name="connsiteX6" fmla="*/ 2973727 w 4519987"/>
                    <a:gd name="connsiteY6" fmla="*/ 114300 h 4478541"/>
                    <a:gd name="connsiteX7" fmla="*/ 3011827 w 4519987"/>
                    <a:gd name="connsiteY7" fmla="*/ 123825 h 4478541"/>
                    <a:gd name="connsiteX8" fmla="*/ 3135652 w 4519987"/>
                    <a:gd name="connsiteY8" fmla="*/ 171450 h 4478541"/>
                    <a:gd name="connsiteX9" fmla="*/ 3173752 w 4519987"/>
                    <a:gd name="connsiteY9" fmla="*/ 190500 h 4478541"/>
                    <a:gd name="connsiteX10" fmla="*/ 3240427 w 4519987"/>
                    <a:gd name="connsiteY10" fmla="*/ 228600 h 4478541"/>
                    <a:gd name="connsiteX11" fmla="*/ 3269002 w 4519987"/>
                    <a:gd name="connsiteY11" fmla="*/ 238125 h 4478541"/>
                    <a:gd name="connsiteX12" fmla="*/ 3297577 w 4519987"/>
                    <a:gd name="connsiteY12" fmla="*/ 257175 h 4478541"/>
                    <a:gd name="connsiteX13" fmla="*/ 3326152 w 4519987"/>
                    <a:gd name="connsiteY13" fmla="*/ 266700 h 4478541"/>
                    <a:gd name="connsiteX14" fmla="*/ 3354727 w 4519987"/>
                    <a:gd name="connsiteY14" fmla="*/ 285750 h 4478541"/>
                    <a:gd name="connsiteX15" fmla="*/ 3421402 w 4519987"/>
                    <a:gd name="connsiteY15" fmla="*/ 323850 h 4478541"/>
                    <a:gd name="connsiteX16" fmla="*/ 3469027 w 4519987"/>
                    <a:gd name="connsiteY16" fmla="*/ 361950 h 4478541"/>
                    <a:gd name="connsiteX17" fmla="*/ 3516652 w 4519987"/>
                    <a:gd name="connsiteY17" fmla="*/ 390525 h 4478541"/>
                    <a:gd name="connsiteX18" fmla="*/ 3630952 w 4519987"/>
                    <a:gd name="connsiteY18" fmla="*/ 485775 h 4478541"/>
                    <a:gd name="connsiteX19" fmla="*/ 3745252 w 4519987"/>
                    <a:gd name="connsiteY19" fmla="*/ 542925 h 4478541"/>
                    <a:gd name="connsiteX20" fmla="*/ 3811927 w 4519987"/>
                    <a:gd name="connsiteY20" fmla="*/ 581025 h 4478541"/>
                    <a:gd name="connsiteX21" fmla="*/ 4027827 w 4519987"/>
                    <a:gd name="connsiteY21" fmla="*/ 819150 h 4478541"/>
                    <a:gd name="connsiteX22" fmla="*/ 4164352 w 4519987"/>
                    <a:gd name="connsiteY22" fmla="*/ 990600 h 4478541"/>
                    <a:gd name="connsiteX23" fmla="*/ 4250077 w 4519987"/>
                    <a:gd name="connsiteY23" fmla="*/ 1143000 h 4478541"/>
                    <a:gd name="connsiteX24" fmla="*/ 4307227 w 4519987"/>
                    <a:gd name="connsiteY24" fmla="*/ 1266825 h 4478541"/>
                    <a:gd name="connsiteX25" fmla="*/ 4345327 w 4519987"/>
                    <a:gd name="connsiteY25" fmla="*/ 1362075 h 4478541"/>
                    <a:gd name="connsiteX26" fmla="*/ 4392952 w 4519987"/>
                    <a:gd name="connsiteY26" fmla="*/ 1552575 h 4478541"/>
                    <a:gd name="connsiteX27" fmla="*/ 4431052 w 4519987"/>
                    <a:gd name="connsiteY27" fmla="*/ 1685925 h 4478541"/>
                    <a:gd name="connsiteX28" fmla="*/ 4519952 w 4519987"/>
                    <a:gd name="connsiteY28" fmla="*/ 2181225 h 4478541"/>
                    <a:gd name="connsiteX29" fmla="*/ 4446927 w 4519987"/>
                    <a:gd name="connsiteY29" fmla="*/ 2768600 h 4478541"/>
                    <a:gd name="connsiteX30" fmla="*/ 4383427 w 4519987"/>
                    <a:gd name="connsiteY30" fmla="*/ 2990850 h 4478541"/>
                    <a:gd name="connsiteX31" fmla="*/ 4278652 w 4519987"/>
                    <a:gd name="connsiteY31" fmla="*/ 3248025 h 4478541"/>
                    <a:gd name="connsiteX32" fmla="*/ 4183402 w 4519987"/>
                    <a:gd name="connsiteY32" fmla="*/ 3400425 h 4478541"/>
                    <a:gd name="connsiteX33" fmla="*/ 4059577 w 4519987"/>
                    <a:gd name="connsiteY33" fmla="*/ 3533775 h 4478541"/>
                    <a:gd name="connsiteX34" fmla="*/ 3954802 w 4519987"/>
                    <a:gd name="connsiteY34" fmla="*/ 3648075 h 4478541"/>
                    <a:gd name="connsiteX35" fmla="*/ 3659527 w 4519987"/>
                    <a:gd name="connsiteY35" fmla="*/ 3971925 h 4478541"/>
                    <a:gd name="connsiteX36" fmla="*/ 3516652 w 4519987"/>
                    <a:gd name="connsiteY36" fmla="*/ 4083050 h 4478541"/>
                    <a:gd name="connsiteX37" fmla="*/ 3221377 w 4519987"/>
                    <a:gd name="connsiteY37" fmla="*/ 4222750 h 4478541"/>
                    <a:gd name="connsiteX38" fmla="*/ 3068977 w 4519987"/>
                    <a:gd name="connsiteY38" fmla="*/ 4286250 h 4478541"/>
                    <a:gd name="connsiteX39" fmla="*/ 2935627 w 4519987"/>
                    <a:gd name="connsiteY39" fmla="*/ 4333875 h 4478541"/>
                    <a:gd name="connsiteX40" fmla="*/ 2811802 w 4519987"/>
                    <a:gd name="connsiteY40" fmla="*/ 4371975 h 4478541"/>
                    <a:gd name="connsiteX41" fmla="*/ 2745127 w 4519987"/>
                    <a:gd name="connsiteY41" fmla="*/ 4410075 h 4478541"/>
                    <a:gd name="connsiteX42" fmla="*/ 2306977 w 4519987"/>
                    <a:gd name="connsiteY42" fmla="*/ 4476750 h 4478541"/>
                    <a:gd name="connsiteX43" fmla="*/ 2202202 w 4519987"/>
                    <a:gd name="connsiteY43" fmla="*/ 4457700 h 4478541"/>
                    <a:gd name="connsiteX44" fmla="*/ 2126002 w 4519987"/>
                    <a:gd name="connsiteY44" fmla="*/ 4429125 h 4478541"/>
                    <a:gd name="connsiteX45" fmla="*/ 1935502 w 4519987"/>
                    <a:gd name="connsiteY45" fmla="*/ 4400550 h 4478541"/>
                    <a:gd name="connsiteX46" fmla="*/ 1821202 w 4519987"/>
                    <a:gd name="connsiteY46" fmla="*/ 4371975 h 4478541"/>
                    <a:gd name="connsiteX47" fmla="*/ 1754527 w 4519987"/>
                    <a:gd name="connsiteY47" fmla="*/ 4352925 h 4478541"/>
                    <a:gd name="connsiteX48" fmla="*/ 1687852 w 4519987"/>
                    <a:gd name="connsiteY48" fmla="*/ 4343400 h 4478541"/>
                    <a:gd name="connsiteX49" fmla="*/ 1573552 w 4519987"/>
                    <a:gd name="connsiteY49" fmla="*/ 4305300 h 4478541"/>
                    <a:gd name="connsiteX50" fmla="*/ 1402102 w 4519987"/>
                    <a:gd name="connsiteY50" fmla="*/ 4276725 h 4478541"/>
                    <a:gd name="connsiteX51" fmla="*/ 1287802 w 4519987"/>
                    <a:gd name="connsiteY51" fmla="*/ 4229100 h 4478541"/>
                    <a:gd name="connsiteX52" fmla="*/ 1221127 w 4519987"/>
                    <a:gd name="connsiteY52" fmla="*/ 4200525 h 4478541"/>
                    <a:gd name="connsiteX53" fmla="*/ 1144927 w 4519987"/>
                    <a:gd name="connsiteY53" fmla="*/ 4171950 h 4478541"/>
                    <a:gd name="connsiteX54" fmla="*/ 1087777 w 4519987"/>
                    <a:gd name="connsiteY54" fmla="*/ 4143375 h 4478541"/>
                    <a:gd name="connsiteX55" fmla="*/ 1030627 w 4519987"/>
                    <a:gd name="connsiteY55" fmla="*/ 4124325 h 4478541"/>
                    <a:gd name="connsiteX56" fmla="*/ 925852 w 4519987"/>
                    <a:gd name="connsiteY56" fmla="*/ 4067175 h 4478541"/>
                    <a:gd name="connsiteX57" fmla="*/ 830602 w 4519987"/>
                    <a:gd name="connsiteY57" fmla="*/ 3981450 h 4478541"/>
                    <a:gd name="connsiteX58" fmla="*/ 763927 w 4519987"/>
                    <a:gd name="connsiteY58" fmla="*/ 3914775 h 4478541"/>
                    <a:gd name="connsiteX59" fmla="*/ 725827 w 4519987"/>
                    <a:gd name="connsiteY59" fmla="*/ 3876675 h 4478541"/>
                    <a:gd name="connsiteX60" fmla="*/ 697252 w 4519987"/>
                    <a:gd name="connsiteY60" fmla="*/ 3838575 h 4478541"/>
                    <a:gd name="connsiteX61" fmla="*/ 640102 w 4519987"/>
                    <a:gd name="connsiteY61" fmla="*/ 3781425 h 4478541"/>
                    <a:gd name="connsiteX62" fmla="*/ 611527 w 4519987"/>
                    <a:gd name="connsiteY62" fmla="*/ 3733800 h 4478541"/>
                    <a:gd name="connsiteX63" fmla="*/ 554377 w 4519987"/>
                    <a:gd name="connsiteY63" fmla="*/ 3657600 h 4478541"/>
                    <a:gd name="connsiteX64" fmla="*/ 525802 w 4519987"/>
                    <a:gd name="connsiteY64" fmla="*/ 3609975 h 4478541"/>
                    <a:gd name="connsiteX65" fmla="*/ 497227 w 4519987"/>
                    <a:gd name="connsiteY65" fmla="*/ 3552825 h 4478541"/>
                    <a:gd name="connsiteX66" fmla="*/ 440077 w 4519987"/>
                    <a:gd name="connsiteY66" fmla="*/ 3495675 h 4478541"/>
                    <a:gd name="connsiteX67" fmla="*/ 411502 w 4519987"/>
                    <a:gd name="connsiteY67" fmla="*/ 3448050 h 4478541"/>
                    <a:gd name="connsiteX68" fmla="*/ 278152 w 4519987"/>
                    <a:gd name="connsiteY68" fmla="*/ 3257550 h 4478541"/>
                    <a:gd name="connsiteX69" fmla="*/ 249577 w 4519987"/>
                    <a:gd name="connsiteY69" fmla="*/ 3200400 h 4478541"/>
                    <a:gd name="connsiteX70" fmla="*/ 240052 w 4519987"/>
                    <a:gd name="connsiteY70" fmla="*/ 3162300 h 4478541"/>
                    <a:gd name="connsiteX71" fmla="*/ 221002 w 4519987"/>
                    <a:gd name="connsiteY71" fmla="*/ 3105150 h 4478541"/>
                    <a:gd name="connsiteX72" fmla="*/ 173377 w 4519987"/>
                    <a:gd name="connsiteY72" fmla="*/ 3019425 h 4478541"/>
                    <a:gd name="connsiteX73" fmla="*/ 144802 w 4519987"/>
                    <a:gd name="connsiteY73" fmla="*/ 2924175 h 4478541"/>
                    <a:gd name="connsiteX74" fmla="*/ 68602 w 4519987"/>
                    <a:gd name="connsiteY74" fmla="*/ 2724150 h 4478541"/>
                    <a:gd name="connsiteX75" fmla="*/ 49552 w 4519987"/>
                    <a:gd name="connsiteY75" fmla="*/ 2638425 h 4478541"/>
                    <a:gd name="connsiteX76" fmla="*/ 40027 w 4519987"/>
                    <a:gd name="connsiteY76" fmla="*/ 2562225 h 4478541"/>
                    <a:gd name="connsiteX77" fmla="*/ 30502 w 4519987"/>
                    <a:gd name="connsiteY77" fmla="*/ 2514600 h 4478541"/>
                    <a:gd name="connsiteX78" fmla="*/ 11452 w 4519987"/>
                    <a:gd name="connsiteY78" fmla="*/ 2400300 h 4478541"/>
                    <a:gd name="connsiteX79" fmla="*/ 20977 w 4519987"/>
                    <a:gd name="connsiteY79" fmla="*/ 1905000 h 4478541"/>
                    <a:gd name="connsiteX80" fmla="*/ 30502 w 4519987"/>
                    <a:gd name="connsiteY80" fmla="*/ 1838325 h 4478541"/>
                    <a:gd name="connsiteX81" fmla="*/ 49552 w 4519987"/>
                    <a:gd name="connsiteY81" fmla="*/ 1781175 h 4478541"/>
                    <a:gd name="connsiteX82" fmla="*/ 59077 w 4519987"/>
                    <a:gd name="connsiteY82" fmla="*/ 1743075 h 4478541"/>
                    <a:gd name="connsiteX83" fmla="*/ 78127 w 4519987"/>
                    <a:gd name="connsiteY83" fmla="*/ 1685925 h 4478541"/>
                    <a:gd name="connsiteX84" fmla="*/ 87652 w 4519987"/>
                    <a:gd name="connsiteY84" fmla="*/ 1638300 h 4478541"/>
                    <a:gd name="connsiteX85" fmla="*/ 106702 w 4519987"/>
                    <a:gd name="connsiteY85" fmla="*/ 1590675 h 4478541"/>
                    <a:gd name="connsiteX86" fmla="*/ 135277 w 4519987"/>
                    <a:gd name="connsiteY86" fmla="*/ 1504950 h 4478541"/>
                    <a:gd name="connsiteX87" fmla="*/ 154327 w 4519987"/>
                    <a:gd name="connsiteY87" fmla="*/ 1419225 h 4478541"/>
                    <a:gd name="connsiteX88" fmla="*/ 230527 w 4519987"/>
                    <a:gd name="connsiteY88" fmla="*/ 1276350 h 4478541"/>
                    <a:gd name="connsiteX89" fmla="*/ 240052 w 4519987"/>
                    <a:gd name="connsiteY89" fmla="*/ 1247775 h 4478541"/>
                    <a:gd name="connsiteX90" fmla="*/ 268627 w 4519987"/>
                    <a:gd name="connsiteY90" fmla="*/ 1200150 h 4478541"/>
                    <a:gd name="connsiteX91" fmla="*/ 287677 w 4519987"/>
                    <a:gd name="connsiteY91" fmla="*/ 1152525 h 4478541"/>
                    <a:gd name="connsiteX92" fmla="*/ 316252 w 4519987"/>
                    <a:gd name="connsiteY92" fmla="*/ 1114425 h 4478541"/>
                    <a:gd name="connsiteX93" fmla="*/ 363877 w 4519987"/>
                    <a:gd name="connsiteY93" fmla="*/ 1038225 h 4478541"/>
                    <a:gd name="connsiteX94" fmla="*/ 382927 w 4519987"/>
                    <a:gd name="connsiteY94" fmla="*/ 1009650 h 4478541"/>
                    <a:gd name="connsiteX95" fmla="*/ 440077 w 4519987"/>
                    <a:gd name="connsiteY95" fmla="*/ 904875 h 4478541"/>
                    <a:gd name="connsiteX96" fmla="*/ 478177 w 4519987"/>
                    <a:gd name="connsiteY96" fmla="*/ 857250 h 4478541"/>
                    <a:gd name="connsiteX97" fmla="*/ 497227 w 4519987"/>
                    <a:gd name="connsiteY97" fmla="*/ 828675 h 4478541"/>
                    <a:gd name="connsiteX98" fmla="*/ 535327 w 4519987"/>
                    <a:gd name="connsiteY98" fmla="*/ 800100 h 4478541"/>
                    <a:gd name="connsiteX99" fmla="*/ 602002 w 4519987"/>
                    <a:gd name="connsiteY99" fmla="*/ 733425 h 4478541"/>
                    <a:gd name="connsiteX100" fmla="*/ 668677 w 4519987"/>
                    <a:gd name="connsiteY100" fmla="*/ 676275 h 4478541"/>
                    <a:gd name="connsiteX101" fmla="*/ 697252 w 4519987"/>
                    <a:gd name="connsiteY101" fmla="*/ 657225 h 4478541"/>
                    <a:gd name="connsiteX102" fmla="*/ 840127 w 4519987"/>
                    <a:gd name="connsiteY102" fmla="*/ 533400 h 4478541"/>
                    <a:gd name="connsiteX103" fmla="*/ 887752 w 4519987"/>
                    <a:gd name="connsiteY103" fmla="*/ 504825 h 4478541"/>
                    <a:gd name="connsiteX104" fmla="*/ 1167152 w 4519987"/>
                    <a:gd name="connsiteY104" fmla="*/ 311150 h 4478541"/>
                    <a:gd name="connsiteX105" fmla="*/ 1268752 w 4519987"/>
                    <a:gd name="connsiteY105" fmla="*/ 285750 h 4478541"/>
                    <a:gd name="connsiteX106" fmla="*/ 1411627 w 4519987"/>
                    <a:gd name="connsiteY106" fmla="*/ 190500 h 4478541"/>
                    <a:gd name="connsiteX107" fmla="*/ 1449727 w 4519987"/>
                    <a:gd name="connsiteY107" fmla="*/ 161925 h 4478541"/>
                    <a:gd name="connsiteX108" fmla="*/ 1525927 w 4519987"/>
                    <a:gd name="connsiteY108" fmla="*/ 152400 h 4478541"/>
                    <a:gd name="connsiteX109" fmla="*/ 1583077 w 4519987"/>
                    <a:gd name="connsiteY109" fmla="*/ 142875 h 4478541"/>
                    <a:gd name="connsiteX110" fmla="*/ 1716427 w 4519987"/>
                    <a:gd name="connsiteY110" fmla="*/ 123825 h 4478541"/>
                    <a:gd name="connsiteX111" fmla="*/ 1811677 w 4519987"/>
                    <a:gd name="connsiteY111" fmla="*/ 114300 h 4478541"/>
                    <a:gd name="connsiteX112" fmla="*/ 1859302 w 4519987"/>
                    <a:gd name="connsiteY112" fmla="*/ 104775 h 4478541"/>
                    <a:gd name="connsiteX113" fmla="*/ 1916452 w 4519987"/>
                    <a:gd name="connsiteY113" fmla="*/ 95250 h 4478541"/>
                    <a:gd name="connsiteX114" fmla="*/ 2030752 w 4519987"/>
                    <a:gd name="connsiteY114" fmla="*/ 66675 h 4478541"/>
                    <a:gd name="connsiteX115" fmla="*/ 2097427 w 4519987"/>
                    <a:gd name="connsiteY115" fmla="*/ 47625 h 4478541"/>
                    <a:gd name="connsiteX116" fmla="*/ 2164102 w 4519987"/>
                    <a:gd name="connsiteY116" fmla="*/ 38100 h 4478541"/>
                    <a:gd name="connsiteX117" fmla="*/ 2392702 w 4519987"/>
                    <a:gd name="connsiteY117" fmla="*/ 28575 h 4478541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580027 w 4519987"/>
                    <a:gd name="connsiteY41" fmla="*/ 4391025 h 4476750"/>
                    <a:gd name="connsiteX42" fmla="*/ 2306977 w 4519987"/>
                    <a:gd name="connsiteY42" fmla="*/ 4476750 h 4476750"/>
                    <a:gd name="connsiteX43" fmla="*/ 2202202 w 4519987"/>
                    <a:gd name="connsiteY43" fmla="*/ 4457700 h 4476750"/>
                    <a:gd name="connsiteX44" fmla="*/ 2126002 w 4519987"/>
                    <a:gd name="connsiteY44" fmla="*/ 4429125 h 4476750"/>
                    <a:gd name="connsiteX45" fmla="*/ 1935502 w 4519987"/>
                    <a:gd name="connsiteY45" fmla="*/ 4400550 h 4476750"/>
                    <a:gd name="connsiteX46" fmla="*/ 1821202 w 4519987"/>
                    <a:gd name="connsiteY46" fmla="*/ 4371975 h 4476750"/>
                    <a:gd name="connsiteX47" fmla="*/ 1754527 w 4519987"/>
                    <a:gd name="connsiteY47" fmla="*/ 4352925 h 4476750"/>
                    <a:gd name="connsiteX48" fmla="*/ 1687852 w 4519987"/>
                    <a:gd name="connsiteY48" fmla="*/ 4343400 h 4476750"/>
                    <a:gd name="connsiteX49" fmla="*/ 1573552 w 4519987"/>
                    <a:gd name="connsiteY49" fmla="*/ 4305300 h 4476750"/>
                    <a:gd name="connsiteX50" fmla="*/ 1402102 w 4519987"/>
                    <a:gd name="connsiteY50" fmla="*/ 4276725 h 4476750"/>
                    <a:gd name="connsiteX51" fmla="*/ 1287802 w 4519987"/>
                    <a:gd name="connsiteY51" fmla="*/ 4229100 h 4476750"/>
                    <a:gd name="connsiteX52" fmla="*/ 1221127 w 4519987"/>
                    <a:gd name="connsiteY52" fmla="*/ 4200525 h 4476750"/>
                    <a:gd name="connsiteX53" fmla="*/ 1144927 w 4519987"/>
                    <a:gd name="connsiteY53" fmla="*/ 4171950 h 4476750"/>
                    <a:gd name="connsiteX54" fmla="*/ 1087777 w 4519987"/>
                    <a:gd name="connsiteY54" fmla="*/ 4143375 h 4476750"/>
                    <a:gd name="connsiteX55" fmla="*/ 1030627 w 4519987"/>
                    <a:gd name="connsiteY55" fmla="*/ 4124325 h 4476750"/>
                    <a:gd name="connsiteX56" fmla="*/ 925852 w 4519987"/>
                    <a:gd name="connsiteY56" fmla="*/ 4067175 h 4476750"/>
                    <a:gd name="connsiteX57" fmla="*/ 830602 w 4519987"/>
                    <a:gd name="connsiteY57" fmla="*/ 3981450 h 4476750"/>
                    <a:gd name="connsiteX58" fmla="*/ 763927 w 4519987"/>
                    <a:gd name="connsiteY58" fmla="*/ 3914775 h 4476750"/>
                    <a:gd name="connsiteX59" fmla="*/ 725827 w 4519987"/>
                    <a:gd name="connsiteY59" fmla="*/ 3876675 h 4476750"/>
                    <a:gd name="connsiteX60" fmla="*/ 697252 w 4519987"/>
                    <a:gd name="connsiteY60" fmla="*/ 3838575 h 4476750"/>
                    <a:gd name="connsiteX61" fmla="*/ 640102 w 4519987"/>
                    <a:gd name="connsiteY61" fmla="*/ 3781425 h 4476750"/>
                    <a:gd name="connsiteX62" fmla="*/ 611527 w 4519987"/>
                    <a:gd name="connsiteY62" fmla="*/ 3733800 h 4476750"/>
                    <a:gd name="connsiteX63" fmla="*/ 554377 w 4519987"/>
                    <a:gd name="connsiteY63" fmla="*/ 3657600 h 4476750"/>
                    <a:gd name="connsiteX64" fmla="*/ 525802 w 4519987"/>
                    <a:gd name="connsiteY64" fmla="*/ 3609975 h 4476750"/>
                    <a:gd name="connsiteX65" fmla="*/ 497227 w 4519987"/>
                    <a:gd name="connsiteY65" fmla="*/ 3552825 h 4476750"/>
                    <a:gd name="connsiteX66" fmla="*/ 440077 w 4519987"/>
                    <a:gd name="connsiteY66" fmla="*/ 3495675 h 4476750"/>
                    <a:gd name="connsiteX67" fmla="*/ 411502 w 4519987"/>
                    <a:gd name="connsiteY67" fmla="*/ 3448050 h 4476750"/>
                    <a:gd name="connsiteX68" fmla="*/ 278152 w 4519987"/>
                    <a:gd name="connsiteY68" fmla="*/ 3257550 h 4476750"/>
                    <a:gd name="connsiteX69" fmla="*/ 249577 w 4519987"/>
                    <a:gd name="connsiteY69" fmla="*/ 3200400 h 4476750"/>
                    <a:gd name="connsiteX70" fmla="*/ 240052 w 4519987"/>
                    <a:gd name="connsiteY70" fmla="*/ 3162300 h 4476750"/>
                    <a:gd name="connsiteX71" fmla="*/ 221002 w 4519987"/>
                    <a:gd name="connsiteY71" fmla="*/ 3105150 h 4476750"/>
                    <a:gd name="connsiteX72" fmla="*/ 173377 w 4519987"/>
                    <a:gd name="connsiteY72" fmla="*/ 3019425 h 4476750"/>
                    <a:gd name="connsiteX73" fmla="*/ 144802 w 4519987"/>
                    <a:gd name="connsiteY73" fmla="*/ 2924175 h 4476750"/>
                    <a:gd name="connsiteX74" fmla="*/ 68602 w 4519987"/>
                    <a:gd name="connsiteY74" fmla="*/ 2724150 h 4476750"/>
                    <a:gd name="connsiteX75" fmla="*/ 49552 w 4519987"/>
                    <a:gd name="connsiteY75" fmla="*/ 2638425 h 4476750"/>
                    <a:gd name="connsiteX76" fmla="*/ 40027 w 4519987"/>
                    <a:gd name="connsiteY76" fmla="*/ 2562225 h 4476750"/>
                    <a:gd name="connsiteX77" fmla="*/ 30502 w 4519987"/>
                    <a:gd name="connsiteY77" fmla="*/ 2514600 h 4476750"/>
                    <a:gd name="connsiteX78" fmla="*/ 11452 w 4519987"/>
                    <a:gd name="connsiteY78" fmla="*/ 2400300 h 4476750"/>
                    <a:gd name="connsiteX79" fmla="*/ 20977 w 4519987"/>
                    <a:gd name="connsiteY79" fmla="*/ 1905000 h 4476750"/>
                    <a:gd name="connsiteX80" fmla="*/ 30502 w 4519987"/>
                    <a:gd name="connsiteY80" fmla="*/ 1838325 h 4476750"/>
                    <a:gd name="connsiteX81" fmla="*/ 49552 w 4519987"/>
                    <a:gd name="connsiteY81" fmla="*/ 1781175 h 4476750"/>
                    <a:gd name="connsiteX82" fmla="*/ 59077 w 4519987"/>
                    <a:gd name="connsiteY82" fmla="*/ 1743075 h 4476750"/>
                    <a:gd name="connsiteX83" fmla="*/ 78127 w 4519987"/>
                    <a:gd name="connsiteY83" fmla="*/ 1685925 h 4476750"/>
                    <a:gd name="connsiteX84" fmla="*/ 87652 w 4519987"/>
                    <a:gd name="connsiteY84" fmla="*/ 1638300 h 4476750"/>
                    <a:gd name="connsiteX85" fmla="*/ 106702 w 4519987"/>
                    <a:gd name="connsiteY85" fmla="*/ 1590675 h 4476750"/>
                    <a:gd name="connsiteX86" fmla="*/ 135277 w 4519987"/>
                    <a:gd name="connsiteY86" fmla="*/ 1504950 h 4476750"/>
                    <a:gd name="connsiteX87" fmla="*/ 154327 w 4519987"/>
                    <a:gd name="connsiteY87" fmla="*/ 1419225 h 4476750"/>
                    <a:gd name="connsiteX88" fmla="*/ 230527 w 4519987"/>
                    <a:gd name="connsiteY88" fmla="*/ 1276350 h 4476750"/>
                    <a:gd name="connsiteX89" fmla="*/ 240052 w 4519987"/>
                    <a:gd name="connsiteY89" fmla="*/ 1247775 h 4476750"/>
                    <a:gd name="connsiteX90" fmla="*/ 268627 w 4519987"/>
                    <a:gd name="connsiteY90" fmla="*/ 1200150 h 4476750"/>
                    <a:gd name="connsiteX91" fmla="*/ 287677 w 4519987"/>
                    <a:gd name="connsiteY91" fmla="*/ 1152525 h 4476750"/>
                    <a:gd name="connsiteX92" fmla="*/ 316252 w 4519987"/>
                    <a:gd name="connsiteY92" fmla="*/ 1114425 h 4476750"/>
                    <a:gd name="connsiteX93" fmla="*/ 363877 w 4519987"/>
                    <a:gd name="connsiteY93" fmla="*/ 1038225 h 4476750"/>
                    <a:gd name="connsiteX94" fmla="*/ 382927 w 4519987"/>
                    <a:gd name="connsiteY94" fmla="*/ 1009650 h 4476750"/>
                    <a:gd name="connsiteX95" fmla="*/ 440077 w 4519987"/>
                    <a:gd name="connsiteY95" fmla="*/ 904875 h 4476750"/>
                    <a:gd name="connsiteX96" fmla="*/ 478177 w 4519987"/>
                    <a:gd name="connsiteY96" fmla="*/ 857250 h 4476750"/>
                    <a:gd name="connsiteX97" fmla="*/ 497227 w 4519987"/>
                    <a:gd name="connsiteY97" fmla="*/ 828675 h 4476750"/>
                    <a:gd name="connsiteX98" fmla="*/ 535327 w 4519987"/>
                    <a:gd name="connsiteY98" fmla="*/ 800100 h 4476750"/>
                    <a:gd name="connsiteX99" fmla="*/ 602002 w 4519987"/>
                    <a:gd name="connsiteY99" fmla="*/ 733425 h 4476750"/>
                    <a:gd name="connsiteX100" fmla="*/ 668677 w 4519987"/>
                    <a:gd name="connsiteY100" fmla="*/ 676275 h 4476750"/>
                    <a:gd name="connsiteX101" fmla="*/ 697252 w 4519987"/>
                    <a:gd name="connsiteY101" fmla="*/ 657225 h 4476750"/>
                    <a:gd name="connsiteX102" fmla="*/ 840127 w 4519987"/>
                    <a:gd name="connsiteY102" fmla="*/ 533400 h 4476750"/>
                    <a:gd name="connsiteX103" fmla="*/ 887752 w 4519987"/>
                    <a:gd name="connsiteY103" fmla="*/ 504825 h 4476750"/>
                    <a:gd name="connsiteX104" fmla="*/ 1167152 w 4519987"/>
                    <a:gd name="connsiteY104" fmla="*/ 311150 h 4476750"/>
                    <a:gd name="connsiteX105" fmla="*/ 1268752 w 4519987"/>
                    <a:gd name="connsiteY105" fmla="*/ 285750 h 4476750"/>
                    <a:gd name="connsiteX106" fmla="*/ 1411627 w 4519987"/>
                    <a:gd name="connsiteY106" fmla="*/ 190500 h 4476750"/>
                    <a:gd name="connsiteX107" fmla="*/ 1449727 w 4519987"/>
                    <a:gd name="connsiteY107" fmla="*/ 161925 h 4476750"/>
                    <a:gd name="connsiteX108" fmla="*/ 1525927 w 4519987"/>
                    <a:gd name="connsiteY108" fmla="*/ 152400 h 4476750"/>
                    <a:gd name="connsiteX109" fmla="*/ 1583077 w 4519987"/>
                    <a:gd name="connsiteY109" fmla="*/ 142875 h 4476750"/>
                    <a:gd name="connsiteX110" fmla="*/ 1716427 w 4519987"/>
                    <a:gd name="connsiteY110" fmla="*/ 123825 h 4476750"/>
                    <a:gd name="connsiteX111" fmla="*/ 1811677 w 4519987"/>
                    <a:gd name="connsiteY111" fmla="*/ 114300 h 4476750"/>
                    <a:gd name="connsiteX112" fmla="*/ 1859302 w 4519987"/>
                    <a:gd name="connsiteY112" fmla="*/ 104775 h 4476750"/>
                    <a:gd name="connsiteX113" fmla="*/ 1916452 w 4519987"/>
                    <a:gd name="connsiteY113" fmla="*/ 95250 h 4476750"/>
                    <a:gd name="connsiteX114" fmla="*/ 2030752 w 4519987"/>
                    <a:gd name="connsiteY114" fmla="*/ 66675 h 4476750"/>
                    <a:gd name="connsiteX115" fmla="*/ 2097427 w 4519987"/>
                    <a:gd name="connsiteY115" fmla="*/ 47625 h 4476750"/>
                    <a:gd name="connsiteX116" fmla="*/ 2164102 w 4519987"/>
                    <a:gd name="connsiteY116" fmla="*/ 38100 h 4476750"/>
                    <a:gd name="connsiteX117" fmla="*/ 2392702 w 4519987"/>
                    <a:gd name="connsiteY117" fmla="*/ 28575 h 4476750"/>
                    <a:gd name="connsiteX0" fmla="*/ 2297452 w 4519987"/>
                    <a:gd name="connsiteY0" fmla="*/ 0 h 4457700"/>
                    <a:gd name="connsiteX1" fmla="*/ 2421277 w 4519987"/>
                    <a:gd name="connsiteY1" fmla="*/ 28575 h 4457700"/>
                    <a:gd name="connsiteX2" fmla="*/ 2497477 w 4519987"/>
                    <a:gd name="connsiteY2" fmla="*/ 47625 h 4457700"/>
                    <a:gd name="connsiteX3" fmla="*/ 2754652 w 4519987"/>
                    <a:gd name="connsiteY3" fmla="*/ 66675 h 4457700"/>
                    <a:gd name="connsiteX4" fmla="*/ 2830852 w 4519987"/>
                    <a:gd name="connsiteY4" fmla="*/ 76200 h 4457700"/>
                    <a:gd name="connsiteX5" fmla="*/ 2916577 w 4519987"/>
                    <a:gd name="connsiteY5" fmla="*/ 85725 h 4457700"/>
                    <a:gd name="connsiteX6" fmla="*/ 2973727 w 4519987"/>
                    <a:gd name="connsiteY6" fmla="*/ 114300 h 4457700"/>
                    <a:gd name="connsiteX7" fmla="*/ 3011827 w 4519987"/>
                    <a:gd name="connsiteY7" fmla="*/ 123825 h 4457700"/>
                    <a:gd name="connsiteX8" fmla="*/ 3135652 w 4519987"/>
                    <a:gd name="connsiteY8" fmla="*/ 171450 h 4457700"/>
                    <a:gd name="connsiteX9" fmla="*/ 3173752 w 4519987"/>
                    <a:gd name="connsiteY9" fmla="*/ 190500 h 4457700"/>
                    <a:gd name="connsiteX10" fmla="*/ 3240427 w 4519987"/>
                    <a:gd name="connsiteY10" fmla="*/ 228600 h 4457700"/>
                    <a:gd name="connsiteX11" fmla="*/ 3269002 w 4519987"/>
                    <a:gd name="connsiteY11" fmla="*/ 238125 h 4457700"/>
                    <a:gd name="connsiteX12" fmla="*/ 3297577 w 4519987"/>
                    <a:gd name="connsiteY12" fmla="*/ 257175 h 4457700"/>
                    <a:gd name="connsiteX13" fmla="*/ 3326152 w 4519987"/>
                    <a:gd name="connsiteY13" fmla="*/ 266700 h 4457700"/>
                    <a:gd name="connsiteX14" fmla="*/ 3354727 w 4519987"/>
                    <a:gd name="connsiteY14" fmla="*/ 285750 h 4457700"/>
                    <a:gd name="connsiteX15" fmla="*/ 3421402 w 4519987"/>
                    <a:gd name="connsiteY15" fmla="*/ 323850 h 4457700"/>
                    <a:gd name="connsiteX16" fmla="*/ 3469027 w 4519987"/>
                    <a:gd name="connsiteY16" fmla="*/ 361950 h 4457700"/>
                    <a:gd name="connsiteX17" fmla="*/ 3516652 w 4519987"/>
                    <a:gd name="connsiteY17" fmla="*/ 390525 h 4457700"/>
                    <a:gd name="connsiteX18" fmla="*/ 3630952 w 4519987"/>
                    <a:gd name="connsiteY18" fmla="*/ 485775 h 4457700"/>
                    <a:gd name="connsiteX19" fmla="*/ 3745252 w 4519987"/>
                    <a:gd name="connsiteY19" fmla="*/ 542925 h 4457700"/>
                    <a:gd name="connsiteX20" fmla="*/ 3811927 w 4519987"/>
                    <a:gd name="connsiteY20" fmla="*/ 581025 h 4457700"/>
                    <a:gd name="connsiteX21" fmla="*/ 4027827 w 4519987"/>
                    <a:gd name="connsiteY21" fmla="*/ 819150 h 4457700"/>
                    <a:gd name="connsiteX22" fmla="*/ 4164352 w 4519987"/>
                    <a:gd name="connsiteY22" fmla="*/ 990600 h 4457700"/>
                    <a:gd name="connsiteX23" fmla="*/ 4250077 w 4519987"/>
                    <a:gd name="connsiteY23" fmla="*/ 1143000 h 4457700"/>
                    <a:gd name="connsiteX24" fmla="*/ 4307227 w 4519987"/>
                    <a:gd name="connsiteY24" fmla="*/ 1266825 h 4457700"/>
                    <a:gd name="connsiteX25" fmla="*/ 4345327 w 4519987"/>
                    <a:gd name="connsiteY25" fmla="*/ 1362075 h 4457700"/>
                    <a:gd name="connsiteX26" fmla="*/ 4392952 w 4519987"/>
                    <a:gd name="connsiteY26" fmla="*/ 1552575 h 4457700"/>
                    <a:gd name="connsiteX27" fmla="*/ 4431052 w 4519987"/>
                    <a:gd name="connsiteY27" fmla="*/ 1685925 h 4457700"/>
                    <a:gd name="connsiteX28" fmla="*/ 4519952 w 4519987"/>
                    <a:gd name="connsiteY28" fmla="*/ 2181225 h 4457700"/>
                    <a:gd name="connsiteX29" fmla="*/ 4446927 w 4519987"/>
                    <a:gd name="connsiteY29" fmla="*/ 2768600 h 4457700"/>
                    <a:gd name="connsiteX30" fmla="*/ 4383427 w 4519987"/>
                    <a:gd name="connsiteY30" fmla="*/ 2990850 h 4457700"/>
                    <a:gd name="connsiteX31" fmla="*/ 4278652 w 4519987"/>
                    <a:gd name="connsiteY31" fmla="*/ 3248025 h 4457700"/>
                    <a:gd name="connsiteX32" fmla="*/ 4183402 w 4519987"/>
                    <a:gd name="connsiteY32" fmla="*/ 3400425 h 4457700"/>
                    <a:gd name="connsiteX33" fmla="*/ 4059577 w 4519987"/>
                    <a:gd name="connsiteY33" fmla="*/ 3533775 h 4457700"/>
                    <a:gd name="connsiteX34" fmla="*/ 3954802 w 4519987"/>
                    <a:gd name="connsiteY34" fmla="*/ 3648075 h 4457700"/>
                    <a:gd name="connsiteX35" fmla="*/ 3659527 w 4519987"/>
                    <a:gd name="connsiteY35" fmla="*/ 3971925 h 4457700"/>
                    <a:gd name="connsiteX36" fmla="*/ 3516652 w 4519987"/>
                    <a:gd name="connsiteY36" fmla="*/ 4083050 h 4457700"/>
                    <a:gd name="connsiteX37" fmla="*/ 3221377 w 4519987"/>
                    <a:gd name="connsiteY37" fmla="*/ 4222750 h 4457700"/>
                    <a:gd name="connsiteX38" fmla="*/ 3068977 w 4519987"/>
                    <a:gd name="connsiteY38" fmla="*/ 4286250 h 4457700"/>
                    <a:gd name="connsiteX39" fmla="*/ 2935627 w 4519987"/>
                    <a:gd name="connsiteY39" fmla="*/ 4333875 h 4457700"/>
                    <a:gd name="connsiteX40" fmla="*/ 2811802 w 4519987"/>
                    <a:gd name="connsiteY40" fmla="*/ 4371975 h 4457700"/>
                    <a:gd name="connsiteX41" fmla="*/ 2580027 w 4519987"/>
                    <a:gd name="connsiteY41" fmla="*/ 4391025 h 4457700"/>
                    <a:gd name="connsiteX42" fmla="*/ 2202202 w 4519987"/>
                    <a:gd name="connsiteY42" fmla="*/ 4457700 h 4457700"/>
                    <a:gd name="connsiteX43" fmla="*/ 2126002 w 4519987"/>
                    <a:gd name="connsiteY43" fmla="*/ 4429125 h 4457700"/>
                    <a:gd name="connsiteX44" fmla="*/ 1935502 w 4519987"/>
                    <a:gd name="connsiteY44" fmla="*/ 4400550 h 4457700"/>
                    <a:gd name="connsiteX45" fmla="*/ 1821202 w 4519987"/>
                    <a:gd name="connsiteY45" fmla="*/ 4371975 h 4457700"/>
                    <a:gd name="connsiteX46" fmla="*/ 1754527 w 4519987"/>
                    <a:gd name="connsiteY46" fmla="*/ 4352925 h 4457700"/>
                    <a:gd name="connsiteX47" fmla="*/ 1687852 w 4519987"/>
                    <a:gd name="connsiteY47" fmla="*/ 4343400 h 4457700"/>
                    <a:gd name="connsiteX48" fmla="*/ 1573552 w 4519987"/>
                    <a:gd name="connsiteY48" fmla="*/ 4305300 h 4457700"/>
                    <a:gd name="connsiteX49" fmla="*/ 1402102 w 4519987"/>
                    <a:gd name="connsiteY49" fmla="*/ 4276725 h 4457700"/>
                    <a:gd name="connsiteX50" fmla="*/ 1287802 w 4519987"/>
                    <a:gd name="connsiteY50" fmla="*/ 4229100 h 4457700"/>
                    <a:gd name="connsiteX51" fmla="*/ 1221127 w 4519987"/>
                    <a:gd name="connsiteY51" fmla="*/ 4200525 h 4457700"/>
                    <a:gd name="connsiteX52" fmla="*/ 1144927 w 4519987"/>
                    <a:gd name="connsiteY52" fmla="*/ 4171950 h 4457700"/>
                    <a:gd name="connsiteX53" fmla="*/ 1087777 w 4519987"/>
                    <a:gd name="connsiteY53" fmla="*/ 4143375 h 4457700"/>
                    <a:gd name="connsiteX54" fmla="*/ 1030627 w 4519987"/>
                    <a:gd name="connsiteY54" fmla="*/ 4124325 h 4457700"/>
                    <a:gd name="connsiteX55" fmla="*/ 925852 w 4519987"/>
                    <a:gd name="connsiteY55" fmla="*/ 4067175 h 4457700"/>
                    <a:gd name="connsiteX56" fmla="*/ 830602 w 4519987"/>
                    <a:gd name="connsiteY56" fmla="*/ 3981450 h 4457700"/>
                    <a:gd name="connsiteX57" fmla="*/ 763927 w 4519987"/>
                    <a:gd name="connsiteY57" fmla="*/ 3914775 h 4457700"/>
                    <a:gd name="connsiteX58" fmla="*/ 725827 w 4519987"/>
                    <a:gd name="connsiteY58" fmla="*/ 3876675 h 4457700"/>
                    <a:gd name="connsiteX59" fmla="*/ 697252 w 4519987"/>
                    <a:gd name="connsiteY59" fmla="*/ 3838575 h 4457700"/>
                    <a:gd name="connsiteX60" fmla="*/ 640102 w 4519987"/>
                    <a:gd name="connsiteY60" fmla="*/ 3781425 h 4457700"/>
                    <a:gd name="connsiteX61" fmla="*/ 611527 w 4519987"/>
                    <a:gd name="connsiteY61" fmla="*/ 3733800 h 4457700"/>
                    <a:gd name="connsiteX62" fmla="*/ 554377 w 4519987"/>
                    <a:gd name="connsiteY62" fmla="*/ 3657600 h 4457700"/>
                    <a:gd name="connsiteX63" fmla="*/ 525802 w 4519987"/>
                    <a:gd name="connsiteY63" fmla="*/ 3609975 h 4457700"/>
                    <a:gd name="connsiteX64" fmla="*/ 497227 w 4519987"/>
                    <a:gd name="connsiteY64" fmla="*/ 3552825 h 4457700"/>
                    <a:gd name="connsiteX65" fmla="*/ 440077 w 4519987"/>
                    <a:gd name="connsiteY65" fmla="*/ 3495675 h 4457700"/>
                    <a:gd name="connsiteX66" fmla="*/ 411502 w 4519987"/>
                    <a:gd name="connsiteY66" fmla="*/ 3448050 h 4457700"/>
                    <a:gd name="connsiteX67" fmla="*/ 278152 w 4519987"/>
                    <a:gd name="connsiteY67" fmla="*/ 3257550 h 4457700"/>
                    <a:gd name="connsiteX68" fmla="*/ 249577 w 4519987"/>
                    <a:gd name="connsiteY68" fmla="*/ 3200400 h 4457700"/>
                    <a:gd name="connsiteX69" fmla="*/ 240052 w 4519987"/>
                    <a:gd name="connsiteY69" fmla="*/ 3162300 h 4457700"/>
                    <a:gd name="connsiteX70" fmla="*/ 221002 w 4519987"/>
                    <a:gd name="connsiteY70" fmla="*/ 3105150 h 4457700"/>
                    <a:gd name="connsiteX71" fmla="*/ 173377 w 4519987"/>
                    <a:gd name="connsiteY71" fmla="*/ 3019425 h 4457700"/>
                    <a:gd name="connsiteX72" fmla="*/ 144802 w 4519987"/>
                    <a:gd name="connsiteY72" fmla="*/ 2924175 h 4457700"/>
                    <a:gd name="connsiteX73" fmla="*/ 68602 w 4519987"/>
                    <a:gd name="connsiteY73" fmla="*/ 2724150 h 4457700"/>
                    <a:gd name="connsiteX74" fmla="*/ 49552 w 4519987"/>
                    <a:gd name="connsiteY74" fmla="*/ 2638425 h 4457700"/>
                    <a:gd name="connsiteX75" fmla="*/ 40027 w 4519987"/>
                    <a:gd name="connsiteY75" fmla="*/ 2562225 h 4457700"/>
                    <a:gd name="connsiteX76" fmla="*/ 30502 w 4519987"/>
                    <a:gd name="connsiteY76" fmla="*/ 2514600 h 4457700"/>
                    <a:gd name="connsiteX77" fmla="*/ 11452 w 4519987"/>
                    <a:gd name="connsiteY77" fmla="*/ 2400300 h 4457700"/>
                    <a:gd name="connsiteX78" fmla="*/ 20977 w 4519987"/>
                    <a:gd name="connsiteY78" fmla="*/ 1905000 h 4457700"/>
                    <a:gd name="connsiteX79" fmla="*/ 30502 w 4519987"/>
                    <a:gd name="connsiteY79" fmla="*/ 1838325 h 4457700"/>
                    <a:gd name="connsiteX80" fmla="*/ 49552 w 4519987"/>
                    <a:gd name="connsiteY80" fmla="*/ 1781175 h 4457700"/>
                    <a:gd name="connsiteX81" fmla="*/ 59077 w 4519987"/>
                    <a:gd name="connsiteY81" fmla="*/ 1743075 h 4457700"/>
                    <a:gd name="connsiteX82" fmla="*/ 78127 w 4519987"/>
                    <a:gd name="connsiteY82" fmla="*/ 1685925 h 4457700"/>
                    <a:gd name="connsiteX83" fmla="*/ 87652 w 4519987"/>
                    <a:gd name="connsiteY83" fmla="*/ 1638300 h 4457700"/>
                    <a:gd name="connsiteX84" fmla="*/ 106702 w 4519987"/>
                    <a:gd name="connsiteY84" fmla="*/ 1590675 h 4457700"/>
                    <a:gd name="connsiteX85" fmla="*/ 135277 w 4519987"/>
                    <a:gd name="connsiteY85" fmla="*/ 1504950 h 4457700"/>
                    <a:gd name="connsiteX86" fmla="*/ 154327 w 4519987"/>
                    <a:gd name="connsiteY86" fmla="*/ 1419225 h 4457700"/>
                    <a:gd name="connsiteX87" fmla="*/ 230527 w 4519987"/>
                    <a:gd name="connsiteY87" fmla="*/ 1276350 h 4457700"/>
                    <a:gd name="connsiteX88" fmla="*/ 240052 w 4519987"/>
                    <a:gd name="connsiteY88" fmla="*/ 1247775 h 4457700"/>
                    <a:gd name="connsiteX89" fmla="*/ 268627 w 4519987"/>
                    <a:gd name="connsiteY89" fmla="*/ 1200150 h 4457700"/>
                    <a:gd name="connsiteX90" fmla="*/ 287677 w 4519987"/>
                    <a:gd name="connsiteY90" fmla="*/ 1152525 h 4457700"/>
                    <a:gd name="connsiteX91" fmla="*/ 316252 w 4519987"/>
                    <a:gd name="connsiteY91" fmla="*/ 1114425 h 4457700"/>
                    <a:gd name="connsiteX92" fmla="*/ 363877 w 4519987"/>
                    <a:gd name="connsiteY92" fmla="*/ 1038225 h 4457700"/>
                    <a:gd name="connsiteX93" fmla="*/ 382927 w 4519987"/>
                    <a:gd name="connsiteY93" fmla="*/ 1009650 h 4457700"/>
                    <a:gd name="connsiteX94" fmla="*/ 440077 w 4519987"/>
                    <a:gd name="connsiteY94" fmla="*/ 904875 h 4457700"/>
                    <a:gd name="connsiteX95" fmla="*/ 478177 w 4519987"/>
                    <a:gd name="connsiteY95" fmla="*/ 857250 h 4457700"/>
                    <a:gd name="connsiteX96" fmla="*/ 497227 w 4519987"/>
                    <a:gd name="connsiteY96" fmla="*/ 828675 h 4457700"/>
                    <a:gd name="connsiteX97" fmla="*/ 535327 w 4519987"/>
                    <a:gd name="connsiteY97" fmla="*/ 800100 h 4457700"/>
                    <a:gd name="connsiteX98" fmla="*/ 602002 w 4519987"/>
                    <a:gd name="connsiteY98" fmla="*/ 733425 h 4457700"/>
                    <a:gd name="connsiteX99" fmla="*/ 668677 w 4519987"/>
                    <a:gd name="connsiteY99" fmla="*/ 676275 h 4457700"/>
                    <a:gd name="connsiteX100" fmla="*/ 697252 w 4519987"/>
                    <a:gd name="connsiteY100" fmla="*/ 657225 h 4457700"/>
                    <a:gd name="connsiteX101" fmla="*/ 840127 w 4519987"/>
                    <a:gd name="connsiteY101" fmla="*/ 533400 h 4457700"/>
                    <a:gd name="connsiteX102" fmla="*/ 887752 w 4519987"/>
                    <a:gd name="connsiteY102" fmla="*/ 504825 h 4457700"/>
                    <a:gd name="connsiteX103" fmla="*/ 1167152 w 4519987"/>
                    <a:gd name="connsiteY103" fmla="*/ 311150 h 4457700"/>
                    <a:gd name="connsiteX104" fmla="*/ 1268752 w 4519987"/>
                    <a:gd name="connsiteY104" fmla="*/ 285750 h 4457700"/>
                    <a:gd name="connsiteX105" fmla="*/ 1411627 w 4519987"/>
                    <a:gd name="connsiteY105" fmla="*/ 190500 h 4457700"/>
                    <a:gd name="connsiteX106" fmla="*/ 1449727 w 4519987"/>
                    <a:gd name="connsiteY106" fmla="*/ 161925 h 4457700"/>
                    <a:gd name="connsiteX107" fmla="*/ 1525927 w 4519987"/>
                    <a:gd name="connsiteY107" fmla="*/ 152400 h 4457700"/>
                    <a:gd name="connsiteX108" fmla="*/ 1583077 w 4519987"/>
                    <a:gd name="connsiteY108" fmla="*/ 142875 h 4457700"/>
                    <a:gd name="connsiteX109" fmla="*/ 1716427 w 4519987"/>
                    <a:gd name="connsiteY109" fmla="*/ 123825 h 4457700"/>
                    <a:gd name="connsiteX110" fmla="*/ 1811677 w 4519987"/>
                    <a:gd name="connsiteY110" fmla="*/ 114300 h 4457700"/>
                    <a:gd name="connsiteX111" fmla="*/ 1859302 w 4519987"/>
                    <a:gd name="connsiteY111" fmla="*/ 104775 h 4457700"/>
                    <a:gd name="connsiteX112" fmla="*/ 1916452 w 4519987"/>
                    <a:gd name="connsiteY112" fmla="*/ 95250 h 4457700"/>
                    <a:gd name="connsiteX113" fmla="*/ 2030752 w 4519987"/>
                    <a:gd name="connsiteY113" fmla="*/ 66675 h 4457700"/>
                    <a:gd name="connsiteX114" fmla="*/ 2097427 w 4519987"/>
                    <a:gd name="connsiteY114" fmla="*/ 47625 h 4457700"/>
                    <a:gd name="connsiteX115" fmla="*/ 2164102 w 4519987"/>
                    <a:gd name="connsiteY115" fmla="*/ 38100 h 4457700"/>
                    <a:gd name="connsiteX116" fmla="*/ 2392702 w 4519987"/>
                    <a:gd name="connsiteY116" fmla="*/ 28575 h 4457700"/>
                    <a:gd name="connsiteX0" fmla="*/ 2297452 w 4519987"/>
                    <a:gd name="connsiteY0" fmla="*/ 0 h 4429260"/>
                    <a:gd name="connsiteX1" fmla="*/ 2421277 w 4519987"/>
                    <a:gd name="connsiteY1" fmla="*/ 28575 h 4429260"/>
                    <a:gd name="connsiteX2" fmla="*/ 2497477 w 4519987"/>
                    <a:gd name="connsiteY2" fmla="*/ 47625 h 4429260"/>
                    <a:gd name="connsiteX3" fmla="*/ 2754652 w 4519987"/>
                    <a:gd name="connsiteY3" fmla="*/ 66675 h 4429260"/>
                    <a:gd name="connsiteX4" fmla="*/ 2830852 w 4519987"/>
                    <a:gd name="connsiteY4" fmla="*/ 76200 h 4429260"/>
                    <a:gd name="connsiteX5" fmla="*/ 2916577 w 4519987"/>
                    <a:gd name="connsiteY5" fmla="*/ 85725 h 4429260"/>
                    <a:gd name="connsiteX6" fmla="*/ 2973727 w 4519987"/>
                    <a:gd name="connsiteY6" fmla="*/ 114300 h 4429260"/>
                    <a:gd name="connsiteX7" fmla="*/ 3011827 w 4519987"/>
                    <a:gd name="connsiteY7" fmla="*/ 123825 h 4429260"/>
                    <a:gd name="connsiteX8" fmla="*/ 3135652 w 4519987"/>
                    <a:gd name="connsiteY8" fmla="*/ 171450 h 4429260"/>
                    <a:gd name="connsiteX9" fmla="*/ 3173752 w 4519987"/>
                    <a:gd name="connsiteY9" fmla="*/ 190500 h 4429260"/>
                    <a:gd name="connsiteX10" fmla="*/ 3240427 w 4519987"/>
                    <a:gd name="connsiteY10" fmla="*/ 228600 h 4429260"/>
                    <a:gd name="connsiteX11" fmla="*/ 3269002 w 4519987"/>
                    <a:gd name="connsiteY11" fmla="*/ 238125 h 4429260"/>
                    <a:gd name="connsiteX12" fmla="*/ 3297577 w 4519987"/>
                    <a:gd name="connsiteY12" fmla="*/ 257175 h 4429260"/>
                    <a:gd name="connsiteX13" fmla="*/ 3326152 w 4519987"/>
                    <a:gd name="connsiteY13" fmla="*/ 266700 h 4429260"/>
                    <a:gd name="connsiteX14" fmla="*/ 3354727 w 4519987"/>
                    <a:gd name="connsiteY14" fmla="*/ 285750 h 4429260"/>
                    <a:gd name="connsiteX15" fmla="*/ 3421402 w 4519987"/>
                    <a:gd name="connsiteY15" fmla="*/ 323850 h 4429260"/>
                    <a:gd name="connsiteX16" fmla="*/ 3469027 w 4519987"/>
                    <a:gd name="connsiteY16" fmla="*/ 361950 h 4429260"/>
                    <a:gd name="connsiteX17" fmla="*/ 3516652 w 4519987"/>
                    <a:gd name="connsiteY17" fmla="*/ 390525 h 4429260"/>
                    <a:gd name="connsiteX18" fmla="*/ 3630952 w 4519987"/>
                    <a:gd name="connsiteY18" fmla="*/ 485775 h 4429260"/>
                    <a:gd name="connsiteX19" fmla="*/ 3745252 w 4519987"/>
                    <a:gd name="connsiteY19" fmla="*/ 542925 h 4429260"/>
                    <a:gd name="connsiteX20" fmla="*/ 3811927 w 4519987"/>
                    <a:gd name="connsiteY20" fmla="*/ 581025 h 4429260"/>
                    <a:gd name="connsiteX21" fmla="*/ 4027827 w 4519987"/>
                    <a:gd name="connsiteY21" fmla="*/ 819150 h 4429260"/>
                    <a:gd name="connsiteX22" fmla="*/ 4164352 w 4519987"/>
                    <a:gd name="connsiteY22" fmla="*/ 990600 h 4429260"/>
                    <a:gd name="connsiteX23" fmla="*/ 4250077 w 4519987"/>
                    <a:gd name="connsiteY23" fmla="*/ 1143000 h 4429260"/>
                    <a:gd name="connsiteX24" fmla="*/ 4307227 w 4519987"/>
                    <a:gd name="connsiteY24" fmla="*/ 1266825 h 4429260"/>
                    <a:gd name="connsiteX25" fmla="*/ 4345327 w 4519987"/>
                    <a:gd name="connsiteY25" fmla="*/ 1362075 h 4429260"/>
                    <a:gd name="connsiteX26" fmla="*/ 4392952 w 4519987"/>
                    <a:gd name="connsiteY26" fmla="*/ 1552575 h 4429260"/>
                    <a:gd name="connsiteX27" fmla="*/ 4431052 w 4519987"/>
                    <a:gd name="connsiteY27" fmla="*/ 1685925 h 4429260"/>
                    <a:gd name="connsiteX28" fmla="*/ 4519952 w 4519987"/>
                    <a:gd name="connsiteY28" fmla="*/ 2181225 h 4429260"/>
                    <a:gd name="connsiteX29" fmla="*/ 4446927 w 4519987"/>
                    <a:gd name="connsiteY29" fmla="*/ 2768600 h 4429260"/>
                    <a:gd name="connsiteX30" fmla="*/ 4383427 w 4519987"/>
                    <a:gd name="connsiteY30" fmla="*/ 2990850 h 4429260"/>
                    <a:gd name="connsiteX31" fmla="*/ 4278652 w 4519987"/>
                    <a:gd name="connsiteY31" fmla="*/ 3248025 h 4429260"/>
                    <a:gd name="connsiteX32" fmla="*/ 4183402 w 4519987"/>
                    <a:gd name="connsiteY32" fmla="*/ 3400425 h 4429260"/>
                    <a:gd name="connsiteX33" fmla="*/ 4059577 w 4519987"/>
                    <a:gd name="connsiteY33" fmla="*/ 3533775 h 4429260"/>
                    <a:gd name="connsiteX34" fmla="*/ 3954802 w 4519987"/>
                    <a:gd name="connsiteY34" fmla="*/ 3648075 h 4429260"/>
                    <a:gd name="connsiteX35" fmla="*/ 3659527 w 4519987"/>
                    <a:gd name="connsiteY35" fmla="*/ 3971925 h 4429260"/>
                    <a:gd name="connsiteX36" fmla="*/ 3516652 w 4519987"/>
                    <a:gd name="connsiteY36" fmla="*/ 4083050 h 4429260"/>
                    <a:gd name="connsiteX37" fmla="*/ 3221377 w 4519987"/>
                    <a:gd name="connsiteY37" fmla="*/ 4222750 h 4429260"/>
                    <a:gd name="connsiteX38" fmla="*/ 3068977 w 4519987"/>
                    <a:gd name="connsiteY38" fmla="*/ 4286250 h 4429260"/>
                    <a:gd name="connsiteX39" fmla="*/ 2935627 w 4519987"/>
                    <a:gd name="connsiteY39" fmla="*/ 4333875 h 4429260"/>
                    <a:gd name="connsiteX40" fmla="*/ 2811802 w 4519987"/>
                    <a:gd name="connsiteY40" fmla="*/ 4371975 h 4429260"/>
                    <a:gd name="connsiteX41" fmla="*/ 2580027 w 4519987"/>
                    <a:gd name="connsiteY41" fmla="*/ 4391025 h 4429260"/>
                    <a:gd name="connsiteX42" fmla="*/ 2126002 w 4519987"/>
                    <a:gd name="connsiteY42" fmla="*/ 4429125 h 4429260"/>
                    <a:gd name="connsiteX43" fmla="*/ 1935502 w 4519987"/>
                    <a:gd name="connsiteY43" fmla="*/ 4400550 h 4429260"/>
                    <a:gd name="connsiteX44" fmla="*/ 1821202 w 4519987"/>
                    <a:gd name="connsiteY44" fmla="*/ 4371975 h 4429260"/>
                    <a:gd name="connsiteX45" fmla="*/ 1754527 w 4519987"/>
                    <a:gd name="connsiteY45" fmla="*/ 4352925 h 4429260"/>
                    <a:gd name="connsiteX46" fmla="*/ 1687852 w 4519987"/>
                    <a:gd name="connsiteY46" fmla="*/ 4343400 h 4429260"/>
                    <a:gd name="connsiteX47" fmla="*/ 1573552 w 4519987"/>
                    <a:gd name="connsiteY47" fmla="*/ 4305300 h 4429260"/>
                    <a:gd name="connsiteX48" fmla="*/ 1402102 w 4519987"/>
                    <a:gd name="connsiteY48" fmla="*/ 4276725 h 4429260"/>
                    <a:gd name="connsiteX49" fmla="*/ 1287802 w 4519987"/>
                    <a:gd name="connsiteY49" fmla="*/ 4229100 h 4429260"/>
                    <a:gd name="connsiteX50" fmla="*/ 1221127 w 4519987"/>
                    <a:gd name="connsiteY50" fmla="*/ 4200525 h 4429260"/>
                    <a:gd name="connsiteX51" fmla="*/ 1144927 w 4519987"/>
                    <a:gd name="connsiteY51" fmla="*/ 4171950 h 4429260"/>
                    <a:gd name="connsiteX52" fmla="*/ 1087777 w 4519987"/>
                    <a:gd name="connsiteY52" fmla="*/ 4143375 h 4429260"/>
                    <a:gd name="connsiteX53" fmla="*/ 1030627 w 4519987"/>
                    <a:gd name="connsiteY53" fmla="*/ 4124325 h 4429260"/>
                    <a:gd name="connsiteX54" fmla="*/ 925852 w 4519987"/>
                    <a:gd name="connsiteY54" fmla="*/ 4067175 h 4429260"/>
                    <a:gd name="connsiteX55" fmla="*/ 830602 w 4519987"/>
                    <a:gd name="connsiteY55" fmla="*/ 3981450 h 4429260"/>
                    <a:gd name="connsiteX56" fmla="*/ 763927 w 4519987"/>
                    <a:gd name="connsiteY56" fmla="*/ 3914775 h 4429260"/>
                    <a:gd name="connsiteX57" fmla="*/ 725827 w 4519987"/>
                    <a:gd name="connsiteY57" fmla="*/ 3876675 h 4429260"/>
                    <a:gd name="connsiteX58" fmla="*/ 697252 w 4519987"/>
                    <a:gd name="connsiteY58" fmla="*/ 3838575 h 4429260"/>
                    <a:gd name="connsiteX59" fmla="*/ 640102 w 4519987"/>
                    <a:gd name="connsiteY59" fmla="*/ 3781425 h 4429260"/>
                    <a:gd name="connsiteX60" fmla="*/ 611527 w 4519987"/>
                    <a:gd name="connsiteY60" fmla="*/ 3733800 h 4429260"/>
                    <a:gd name="connsiteX61" fmla="*/ 554377 w 4519987"/>
                    <a:gd name="connsiteY61" fmla="*/ 3657600 h 4429260"/>
                    <a:gd name="connsiteX62" fmla="*/ 525802 w 4519987"/>
                    <a:gd name="connsiteY62" fmla="*/ 3609975 h 4429260"/>
                    <a:gd name="connsiteX63" fmla="*/ 497227 w 4519987"/>
                    <a:gd name="connsiteY63" fmla="*/ 3552825 h 4429260"/>
                    <a:gd name="connsiteX64" fmla="*/ 440077 w 4519987"/>
                    <a:gd name="connsiteY64" fmla="*/ 3495675 h 4429260"/>
                    <a:gd name="connsiteX65" fmla="*/ 411502 w 4519987"/>
                    <a:gd name="connsiteY65" fmla="*/ 3448050 h 4429260"/>
                    <a:gd name="connsiteX66" fmla="*/ 278152 w 4519987"/>
                    <a:gd name="connsiteY66" fmla="*/ 3257550 h 4429260"/>
                    <a:gd name="connsiteX67" fmla="*/ 249577 w 4519987"/>
                    <a:gd name="connsiteY67" fmla="*/ 3200400 h 4429260"/>
                    <a:gd name="connsiteX68" fmla="*/ 240052 w 4519987"/>
                    <a:gd name="connsiteY68" fmla="*/ 3162300 h 4429260"/>
                    <a:gd name="connsiteX69" fmla="*/ 221002 w 4519987"/>
                    <a:gd name="connsiteY69" fmla="*/ 3105150 h 4429260"/>
                    <a:gd name="connsiteX70" fmla="*/ 173377 w 4519987"/>
                    <a:gd name="connsiteY70" fmla="*/ 3019425 h 4429260"/>
                    <a:gd name="connsiteX71" fmla="*/ 144802 w 4519987"/>
                    <a:gd name="connsiteY71" fmla="*/ 2924175 h 4429260"/>
                    <a:gd name="connsiteX72" fmla="*/ 68602 w 4519987"/>
                    <a:gd name="connsiteY72" fmla="*/ 2724150 h 4429260"/>
                    <a:gd name="connsiteX73" fmla="*/ 49552 w 4519987"/>
                    <a:gd name="connsiteY73" fmla="*/ 2638425 h 4429260"/>
                    <a:gd name="connsiteX74" fmla="*/ 40027 w 4519987"/>
                    <a:gd name="connsiteY74" fmla="*/ 2562225 h 4429260"/>
                    <a:gd name="connsiteX75" fmla="*/ 30502 w 4519987"/>
                    <a:gd name="connsiteY75" fmla="*/ 2514600 h 4429260"/>
                    <a:gd name="connsiteX76" fmla="*/ 11452 w 4519987"/>
                    <a:gd name="connsiteY76" fmla="*/ 2400300 h 4429260"/>
                    <a:gd name="connsiteX77" fmla="*/ 20977 w 4519987"/>
                    <a:gd name="connsiteY77" fmla="*/ 1905000 h 4429260"/>
                    <a:gd name="connsiteX78" fmla="*/ 30502 w 4519987"/>
                    <a:gd name="connsiteY78" fmla="*/ 1838325 h 4429260"/>
                    <a:gd name="connsiteX79" fmla="*/ 49552 w 4519987"/>
                    <a:gd name="connsiteY79" fmla="*/ 1781175 h 4429260"/>
                    <a:gd name="connsiteX80" fmla="*/ 59077 w 4519987"/>
                    <a:gd name="connsiteY80" fmla="*/ 1743075 h 4429260"/>
                    <a:gd name="connsiteX81" fmla="*/ 78127 w 4519987"/>
                    <a:gd name="connsiteY81" fmla="*/ 1685925 h 4429260"/>
                    <a:gd name="connsiteX82" fmla="*/ 87652 w 4519987"/>
                    <a:gd name="connsiteY82" fmla="*/ 1638300 h 4429260"/>
                    <a:gd name="connsiteX83" fmla="*/ 106702 w 4519987"/>
                    <a:gd name="connsiteY83" fmla="*/ 1590675 h 4429260"/>
                    <a:gd name="connsiteX84" fmla="*/ 135277 w 4519987"/>
                    <a:gd name="connsiteY84" fmla="*/ 1504950 h 4429260"/>
                    <a:gd name="connsiteX85" fmla="*/ 154327 w 4519987"/>
                    <a:gd name="connsiteY85" fmla="*/ 1419225 h 4429260"/>
                    <a:gd name="connsiteX86" fmla="*/ 230527 w 4519987"/>
                    <a:gd name="connsiteY86" fmla="*/ 1276350 h 4429260"/>
                    <a:gd name="connsiteX87" fmla="*/ 240052 w 4519987"/>
                    <a:gd name="connsiteY87" fmla="*/ 1247775 h 4429260"/>
                    <a:gd name="connsiteX88" fmla="*/ 268627 w 4519987"/>
                    <a:gd name="connsiteY88" fmla="*/ 1200150 h 4429260"/>
                    <a:gd name="connsiteX89" fmla="*/ 287677 w 4519987"/>
                    <a:gd name="connsiteY89" fmla="*/ 1152525 h 4429260"/>
                    <a:gd name="connsiteX90" fmla="*/ 316252 w 4519987"/>
                    <a:gd name="connsiteY90" fmla="*/ 1114425 h 4429260"/>
                    <a:gd name="connsiteX91" fmla="*/ 363877 w 4519987"/>
                    <a:gd name="connsiteY91" fmla="*/ 1038225 h 4429260"/>
                    <a:gd name="connsiteX92" fmla="*/ 382927 w 4519987"/>
                    <a:gd name="connsiteY92" fmla="*/ 1009650 h 4429260"/>
                    <a:gd name="connsiteX93" fmla="*/ 440077 w 4519987"/>
                    <a:gd name="connsiteY93" fmla="*/ 904875 h 4429260"/>
                    <a:gd name="connsiteX94" fmla="*/ 478177 w 4519987"/>
                    <a:gd name="connsiteY94" fmla="*/ 857250 h 4429260"/>
                    <a:gd name="connsiteX95" fmla="*/ 497227 w 4519987"/>
                    <a:gd name="connsiteY95" fmla="*/ 828675 h 4429260"/>
                    <a:gd name="connsiteX96" fmla="*/ 535327 w 4519987"/>
                    <a:gd name="connsiteY96" fmla="*/ 800100 h 4429260"/>
                    <a:gd name="connsiteX97" fmla="*/ 602002 w 4519987"/>
                    <a:gd name="connsiteY97" fmla="*/ 733425 h 4429260"/>
                    <a:gd name="connsiteX98" fmla="*/ 668677 w 4519987"/>
                    <a:gd name="connsiteY98" fmla="*/ 676275 h 4429260"/>
                    <a:gd name="connsiteX99" fmla="*/ 697252 w 4519987"/>
                    <a:gd name="connsiteY99" fmla="*/ 657225 h 4429260"/>
                    <a:gd name="connsiteX100" fmla="*/ 840127 w 4519987"/>
                    <a:gd name="connsiteY100" fmla="*/ 533400 h 4429260"/>
                    <a:gd name="connsiteX101" fmla="*/ 887752 w 4519987"/>
                    <a:gd name="connsiteY101" fmla="*/ 504825 h 4429260"/>
                    <a:gd name="connsiteX102" fmla="*/ 1167152 w 4519987"/>
                    <a:gd name="connsiteY102" fmla="*/ 311150 h 4429260"/>
                    <a:gd name="connsiteX103" fmla="*/ 1268752 w 4519987"/>
                    <a:gd name="connsiteY103" fmla="*/ 285750 h 4429260"/>
                    <a:gd name="connsiteX104" fmla="*/ 1411627 w 4519987"/>
                    <a:gd name="connsiteY104" fmla="*/ 190500 h 4429260"/>
                    <a:gd name="connsiteX105" fmla="*/ 1449727 w 4519987"/>
                    <a:gd name="connsiteY105" fmla="*/ 161925 h 4429260"/>
                    <a:gd name="connsiteX106" fmla="*/ 1525927 w 4519987"/>
                    <a:gd name="connsiteY106" fmla="*/ 152400 h 4429260"/>
                    <a:gd name="connsiteX107" fmla="*/ 1583077 w 4519987"/>
                    <a:gd name="connsiteY107" fmla="*/ 142875 h 4429260"/>
                    <a:gd name="connsiteX108" fmla="*/ 1716427 w 4519987"/>
                    <a:gd name="connsiteY108" fmla="*/ 123825 h 4429260"/>
                    <a:gd name="connsiteX109" fmla="*/ 1811677 w 4519987"/>
                    <a:gd name="connsiteY109" fmla="*/ 114300 h 4429260"/>
                    <a:gd name="connsiteX110" fmla="*/ 1859302 w 4519987"/>
                    <a:gd name="connsiteY110" fmla="*/ 104775 h 4429260"/>
                    <a:gd name="connsiteX111" fmla="*/ 1916452 w 4519987"/>
                    <a:gd name="connsiteY111" fmla="*/ 95250 h 4429260"/>
                    <a:gd name="connsiteX112" fmla="*/ 2030752 w 4519987"/>
                    <a:gd name="connsiteY112" fmla="*/ 66675 h 4429260"/>
                    <a:gd name="connsiteX113" fmla="*/ 2097427 w 4519987"/>
                    <a:gd name="connsiteY113" fmla="*/ 47625 h 4429260"/>
                    <a:gd name="connsiteX114" fmla="*/ 2164102 w 4519987"/>
                    <a:gd name="connsiteY114" fmla="*/ 38100 h 4429260"/>
                    <a:gd name="connsiteX115" fmla="*/ 2392702 w 4519987"/>
                    <a:gd name="connsiteY115" fmla="*/ 28575 h 4429260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687852 w 4519987"/>
                    <a:gd name="connsiteY45" fmla="*/ 4343400 h 4429225"/>
                    <a:gd name="connsiteX46" fmla="*/ 1573552 w 4519987"/>
                    <a:gd name="connsiteY46" fmla="*/ 4305300 h 4429225"/>
                    <a:gd name="connsiteX47" fmla="*/ 1402102 w 4519987"/>
                    <a:gd name="connsiteY47" fmla="*/ 4276725 h 4429225"/>
                    <a:gd name="connsiteX48" fmla="*/ 1287802 w 4519987"/>
                    <a:gd name="connsiteY48" fmla="*/ 4229100 h 4429225"/>
                    <a:gd name="connsiteX49" fmla="*/ 1221127 w 4519987"/>
                    <a:gd name="connsiteY49" fmla="*/ 4200525 h 4429225"/>
                    <a:gd name="connsiteX50" fmla="*/ 1144927 w 4519987"/>
                    <a:gd name="connsiteY50" fmla="*/ 4171950 h 4429225"/>
                    <a:gd name="connsiteX51" fmla="*/ 1087777 w 4519987"/>
                    <a:gd name="connsiteY51" fmla="*/ 4143375 h 4429225"/>
                    <a:gd name="connsiteX52" fmla="*/ 1030627 w 4519987"/>
                    <a:gd name="connsiteY52" fmla="*/ 4124325 h 4429225"/>
                    <a:gd name="connsiteX53" fmla="*/ 925852 w 4519987"/>
                    <a:gd name="connsiteY53" fmla="*/ 4067175 h 4429225"/>
                    <a:gd name="connsiteX54" fmla="*/ 830602 w 4519987"/>
                    <a:gd name="connsiteY54" fmla="*/ 3981450 h 4429225"/>
                    <a:gd name="connsiteX55" fmla="*/ 763927 w 4519987"/>
                    <a:gd name="connsiteY55" fmla="*/ 3914775 h 4429225"/>
                    <a:gd name="connsiteX56" fmla="*/ 725827 w 4519987"/>
                    <a:gd name="connsiteY56" fmla="*/ 3876675 h 4429225"/>
                    <a:gd name="connsiteX57" fmla="*/ 697252 w 4519987"/>
                    <a:gd name="connsiteY57" fmla="*/ 3838575 h 4429225"/>
                    <a:gd name="connsiteX58" fmla="*/ 640102 w 4519987"/>
                    <a:gd name="connsiteY58" fmla="*/ 3781425 h 4429225"/>
                    <a:gd name="connsiteX59" fmla="*/ 611527 w 4519987"/>
                    <a:gd name="connsiteY59" fmla="*/ 3733800 h 4429225"/>
                    <a:gd name="connsiteX60" fmla="*/ 554377 w 4519987"/>
                    <a:gd name="connsiteY60" fmla="*/ 3657600 h 4429225"/>
                    <a:gd name="connsiteX61" fmla="*/ 525802 w 4519987"/>
                    <a:gd name="connsiteY61" fmla="*/ 3609975 h 4429225"/>
                    <a:gd name="connsiteX62" fmla="*/ 497227 w 4519987"/>
                    <a:gd name="connsiteY62" fmla="*/ 3552825 h 4429225"/>
                    <a:gd name="connsiteX63" fmla="*/ 440077 w 4519987"/>
                    <a:gd name="connsiteY63" fmla="*/ 3495675 h 4429225"/>
                    <a:gd name="connsiteX64" fmla="*/ 411502 w 4519987"/>
                    <a:gd name="connsiteY64" fmla="*/ 3448050 h 4429225"/>
                    <a:gd name="connsiteX65" fmla="*/ 278152 w 4519987"/>
                    <a:gd name="connsiteY65" fmla="*/ 3257550 h 4429225"/>
                    <a:gd name="connsiteX66" fmla="*/ 249577 w 4519987"/>
                    <a:gd name="connsiteY66" fmla="*/ 3200400 h 4429225"/>
                    <a:gd name="connsiteX67" fmla="*/ 240052 w 4519987"/>
                    <a:gd name="connsiteY67" fmla="*/ 3162300 h 4429225"/>
                    <a:gd name="connsiteX68" fmla="*/ 221002 w 4519987"/>
                    <a:gd name="connsiteY68" fmla="*/ 3105150 h 4429225"/>
                    <a:gd name="connsiteX69" fmla="*/ 173377 w 4519987"/>
                    <a:gd name="connsiteY69" fmla="*/ 3019425 h 4429225"/>
                    <a:gd name="connsiteX70" fmla="*/ 144802 w 4519987"/>
                    <a:gd name="connsiteY70" fmla="*/ 2924175 h 4429225"/>
                    <a:gd name="connsiteX71" fmla="*/ 68602 w 4519987"/>
                    <a:gd name="connsiteY71" fmla="*/ 2724150 h 4429225"/>
                    <a:gd name="connsiteX72" fmla="*/ 49552 w 4519987"/>
                    <a:gd name="connsiteY72" fmla="*/ 2638425 h 4429225"/>
                    <a:gd name="connsiteX73" fmla="*/ 40027 w 4519987"/>
                    <a:gd name="connsiteY73" fmla="*/ 2562225 h 4429225"/>
                    <a:gd name="connsiteX74" fmla="*/ 30502 w 4519987"/>
                    <a:gd name="connsiteY74" fmla="*/ 2514600 h 4429225"/>
                    <a:gd name="connsiteX75" fmla="*/ 11452 w 4519987"/>
                    <a:gd name="connsiteY75" fmla="*/ 2400300 h 4429225"/>
                    <a:gd name="connsiteX76" fmla="*/ 20977 w 4519987"/>
                    <a:gd name="connsiteY76" fmla="*/ 1905000 h 4429225"/>
                    <a:gd name="connsiteX77" fmla="*/ 30502 w 4519987"/>
                    <a:gd name="connsiteY77" fmla="*/ 1838325 h 4429225"/>
                    <a:gd name="connsiteX78" fmla="*/ 49552 w 4519987"/>
                    <a:gd name="connsiteY78" fmla="*/ 1781175 h 4429225"/>
                    <a:gd name="connsiteX79" fmla="*/ 59077 w 4519987"/>
                    <a:gd name="connsiteY79" fmla="*/ 1743075 h 4429225"/>
                    <a:gd name="connsiteX80" fmla="*/ 78127 w 4519987"/>
                    <a:gd name="connsiteY80" fmla="*/ 1685925 h 4429225"/>
                    <a:gd name="connsiteX81" fmla="*/ 87652 w 4519987"/>
                    <a:gd name="connsiteY81" fmla="*/ 1638300 h 4429225"/>
                    <a:gd name="connsiteX82" fmla="*/ 106702 w 4519987"/>
                    <a:gd name="connsiteY82" fmla="*/ 1590675 h 4429225"/>
                    <a:gd name="connsiteX83" fmla="*/ 135277 w 4519987"/>
                    <a:gd name="connsiteY83" fmla="*/ 1504950 h 4429225"/>
                    <a:gd name="connsiteX84" fmla="*/ 154327 w 4519987"/>
                    <a:gd name="connsiteY84" fmla="*/ 1419225 h 4429225"/>
                    <a:gd name="connsiteX85" fmla="*/ 230527 w 4519987"/>
                    <a:gd name="connsiteY85" fmla="*/ 1276350 h 4429225"/>
                    <a:gd name="connsiteX86" fmla="*/ 240052 w 4519987"/>
                    <a:gd name="connsiteY86" fmla="*/ 1247775 h 4429225"/>
                    <a:gd name="connsiteX87" fmla="*/ 268627 w 4519987"/>
                    <a:gd name="connsiteY87" fmla="*/ 1200150 h 4429225"/>
                    <a:gd name="connsiteX88" fmla="*/ 287677 w 4519987"/>
                    <a:gd name="connsiteY88" fmla="*/ 1152525 h 4429225"/>
                    <a:gd name="connsiteX89" fmla="*/ 316252 w 4519987"/>
                    <a:gd name="connsiteY89" fmla="*/ 1114425 h 4429225"/>
                    <a:gd name="connsiteX90" fmla="*/ 363877 w 4519987"/>
                    <a:gd name="connsiteY90" fmla="*/ 1038225 h 4429225"/>
                    <a:gd name="connsiteX91" fmla="*/ 382927 w 4519987"/>
                    <a:gd name="connsiteY91" fmla="*/ 1009650 h 4429225"/>
                    <a:gd name="connsiteX92" fmla="*/ 440077 w 4519987"/>
                    <a:gd name="connsiteY92" fmla="*/ 904875 h 4429225"/>
                    <a:gd name="connsiteX93" fmla="*/ 478177 w 4519987"/>
                    <a:gd name="connsiteY93" fmla="*/ 857250 h 4429225"/>
                    <a:gd name="connsiteX94" fmla="*/ 497227 w 4519987"/>
                    <a:gd name="connsiteY94" fmla="*/ 828675 h 4429225"/>
                    <a:gd name="connsiteX95" fmla="*/ 535327 w 4519987"/>
                    <a:gd name="connsiteY95" fmla="*/ 800100 h 4429225"/>
                    <a:gd name="connsiteX96" fmla="*/ 602002 w 4519987"/>
                    <a:gd name="connsiteY96" fmla="*/ 733425 h 4429225"/>
                    <a:gd name="connsiteX97" fmla="*/ 668677 w 4519987"/>
                    <a:gd name="connsiteY97" fmla="*/ 676275 h 4429225"/>
                    <a:gd name="connsiteX98" fmla="*/ 697252 w 4519987"/>
                    <a:gd name="connsiteY98" fmla="*/ 657225 h 4429225"/>
                    <a:gd name="connsiteX99" fmla="*/ 840127 w 4519987"/>
                    <a:gd name="connsiteY99" fmla="*/ 533400 h 4429225"/>
                    <a:gd name="connsiteX100" fmla="*/ 887752 w 4519987"/>
                    <a:gd name="connsiteY100" fmla="*/ 504825 h 4429225"/>
                    <a:gd name="connsiteX101" fmla="*/ 1167152 w 4519987"/>
                    <a:gd name="connsiteY101" fmla="*/ 311150 h 4429225"/>
                    <a:gd name="connsiteX102" fmla="*/ 1268752 w 4519987"/>
                    <a:gd name="connsiteY102" fmla="*/ 285750 h 4429225"/>
                    <a:gd name="connsiteX103" fmla="*/ 1411627 w 4519987"/>
                    <a:gd name="connsiteY103" fmla="*/ 190500 h 4429225"/>
                    <a:gd name="connsiteX104" fmla="*/ 1449727 w 4519987"/>
                    <a:gd name="connsiteY104" fmla="*/ 161925 h 4429225"/>
                    <a:gd name="connsiteX105" fmla="*/ 1525927 w 4519987"/>
                    <a:gd name="connsiteY105" fmla="*/ 152400 h 4429225"/>
                    <a:gd name="connsiteX106" fmla="*/ 1583077 w 4519987"/>
                    <a:gd name="connsiteY106" fmla="*/ 142875 h 4429225"/>
                    <a:gd name="connsiteX107" fmla="*/ 1716427 w 4519987"/>
                    <a:gd name="connsiteY107" fmla="*/ 123825 h 4429225"/>
                    <a:gd name="connsiteX108" fmla="*/ 1811677 w 4519987"/>
                    <a:gd name="connsiteY108" fmla="*/ 114300 h 4429225"/>
                    <a:gd name="connsiteX109" fmla="*/ 1859302 w 4519987"/>
                    <a:gd name="connsiteY109" fmla="*/ 104775 h 4429225"/>
                    <a:gd name="connsiteX110" fmla="*/ 1916452 w 4519987"/>
                    <a:gd name="connsiteY110" fmla="*/ 95250 h 4429225"/>
                    <a:gd name="connsiteX111" fmla="*/ 2030752 w 4519987"/>
                    <a:gd name="connsiteY111" fmla="*/ 66675 h 4429225"/>
                    <a:gd name="connsiteX112" fmla="*/ 2097427 w 4519987"/>
                    <a:gd name="connsiteY112" fmla="*/ 47625 h 4429225"/>
                    <a:gd name="connsiteX113" fmla="*/ 2164102 w 4519987"/>
                    <a:gd name="connsiteY113" fmla="*/ 38100 h 4429225"/>
                    <a:gd name="connsiteX114" fmla="*/ 2392702 w 4519987"/>
                    <a:gd name="connsiteY11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402102 w 4519987"/>
                    <a:gd name="connsiteY46" fmla="*/ 4276725 h 4429225"/>
                    <a:gd name="connsiteX47" fmla="*/ 1287802 w 4519987"/>
                    <a:gd name="connsiteY47" fmla="*/ 4229100 h 4429225"/>
                    <a:gd name="connsiteX48" fmla="*/ 1221127 w 4519987"/>
                    <a:gd name="connsiteY48" fmla="*/ 4200525 h 4429225"/>
                    <a:gd name="connsiteX49" fmla="*/ 1144927 w 4519987"/>
                    <a:gd name="connsiteY49" fmla="*/ 4171950 h 4429225"/>
                    <a:gd name="connsiteX50" fmla="*/ 1087777 w 4519987"/>
                    <a:gd name="connsiteY50" fmla="*/ 4143375 h 4429225"/>
                    <a:gd name="connsiteX51" fmla="*/ 1030627 w 4519987"/>
                    <a:gd name="connsiteY51" fmla="*/ 4124325 h 4429225"/>
                    <a:gd name="connsiteX52" fmla="*/ 925852 w 4519987"/>
                    <a:gd name="connsiteY52" fmla="*/ 4067175 h 4429225"/>
                    <a:gd name="connsiteX53" fmla="*/ 830602 w 4519987"/>
                    <a:gd name="connsiteY53" fmla="*/ 3981450 h 4429225"/>
                    <a:gd name="connsiteX54" fmla="*/ 763927 w 4519987"/>
                    <a:gd name="connsiteY54" fmla="*/ 3914775 h 4429225"/>
                    <a:gd name="connsiteX55" fmla="*/ 725827 w 4519987"/>
                    <a:gd name="connsiteY55" fmla="*/ 3876675 h 4429225"/>
                    <a:gd name="connsiteX56" fmla="*/ 697252 w 4519987"/>
                    <a:gd name="connsiteY56" fmla="*/ 3838575 h 4429225"/>
                    <a:gd name="connsiteX57" fmla="*/ 640102 w 4519987"/>
                    <a:gd name="connsiteY57" fmla="*/ 3781425 h 4429225"/>
                    <a:gd name="connsiteX58" fmla="*/ 611527 w 4519987"/>
                    <a:gd name="connsiteY58" fmla="*/ 3733800 h 4429225"/>
                    <a:gd name="connsiteX59" fmla="*/ 554377 w 4519987"/>
                    <a:gd name="connsiteY59" fmla="*/ 3657600 h 4429225"/>
                    <a:gd name="connsiteX60" fmla="*/ 525802 w 4519987"/>
                    <a:gd name="connsiteY60" fmla="*/ 3609975 h 4429225"/>
                    <a:gd name="connsiteX61" fmla="*/ 497227 w 4519987"/>
                    <a:gd name="connsiteY61" fmla="*/ 3552825 h 4429225"/>
                    <a:gd name="connsiteX62" fmla="*/ 440077 w 4519987"/>
                    <a:gd name="connsiteY62" fmla="*/ 3495675 h 4429225"/>
                    <a:gd name="connsiteX63" fmla="*/ 411502 w 4519987"/>
                    <a:gd name="connsiteY63" fmla="*/ 3448050 h 4429225"/>
                    <a:gd name="connsiteX64" fmla="*/ 278152 w 4519987"/>
                    <a:gd name="connsiteY64" fmla="*/ 3257550 h 4429225"/>
                    <a:gd name="connsiteX65" fmla="*/ 249577 w 4519987"/>
                    <a:gd name="connsiteY65" fmla="*/ 3200400 h 4429225"/>
                    <a:gd name="connsiteX66" fmla="*/ 240052 w 4519987"/>
                    <a:gd name="connsiteY66" fmla="*/ 3162300 h 4429225"/>
                    <a:gd name="connsiteX67" fmla="*/ 221002 w 4519987"/>
                    <a:gd name="connsiteY67" fmla="*/ 3105150 h 4429225"/>
                    <a:gd name="connsiteX68" fmla="*/ 173377 w 4519987"/>
                    <a:gd name="connsiteY68" fmla="*/ 3019425 h 4429225"/>
                    <a:gd name="connsiteX69" fmla="*/ 144802 w 4519987"/>
                    <a:gd name="connsiteY69" fmla="*/ 2924175 h 4429225"/>
                    <a:gd name="connsiteX70" fmla="*/ 68602 w 4519987"/>
                    <a:gd name="connsiteY70" fmla="*/ 2724150 h 4429225"/>
                    <a:gd name="connsiteX71" fmla="*/ 49552 w 4519987"/>
                    <a:gd name="connsiteY71" fmla="*/ 2638425 h 4429225"/>
                    <a:gd name="connsiteX72" fmla="*/ 40027 w 4519987"/>
                    <a:gd name="connsiteY72" fmla="*/ 2562225 h 4429225"/>
                    <a:gd name="connsiteX73" fmla="*/ 30502 w 4519987"/>
                    <a:gd name="connsiteY73" fmla="*/ 2514600 h 4429225"/>
                    <a:gd name="connsiteX74" fmla="*/ 11452 w 4519987"/>
                    <a:gd name="connsiteY74" fmla="*/ 2400300 h 4429225"/>
                    <a:gd name="connsiteX75" fmla="*/ 20977 w 4519987"/>
                    <a:gd name="connsiteY75" fmla="*/ 1905000 h 4429225"/>
                    <a:gd name="connsiteX76" fmla="*/ 30502 w 4519987"/>
                    <a:gd name="connsiteY76" fmla="*/ 1838325 h 4429225"/>
                    <a:gd name="connsiteX77" fmla="*/ 49552 w 4519987"/>
                    <a:gd name="connsiteY77" fmla="*/ 1781175 h 4429225"/>
                    <a:gd name="connsiteX78" fmla="*/ 59077 w 4519987"/>
                    <a:gd name="connsiteY78" fmla="*/ 1743075 h 4429225"/>
                    <a:gd name="connsiteX79" fmla="*/ 78127 w 4519987"/>
                    <a:gd name="connsiteY79" fmla="*/ 1685925 h 4429225"/>
                    <a:gd name="connsiteX80" fmla="*/ 87652 w 4519987"/>
                    <a:gd name="connsiteY80" fmla="*/ 1638300 h 4429225"/>
                    <a:gd name="connsiteX81" fmla="*/ 106702 w 4519987"/>
                    <a:gd name="connsiteY81" fmla="*/ 1590675 h 4429225"/>
                    <a:gd name="connsiteX82" fmla="*/ 135277 w 4519987"/>
                    <a:gd name="connsiteY82" fmla="*/ 1504950 h 4429225"/>
                    <a:gd name="connsiteX83" fmla="*/ 154327 w 4519987"/>
                    <a:gd name="connsiteY83" fmla="*/ 1419225 h 4429225"/>
                    <a:gd name="connsiteX84" fmla="*/ 230527 w 4519987"/>
                    <a:gd name="connsiteY84" fmla="*/ 1276350 h 4429225"/>
                    <a:gd name="connsiteX85" fmla="*/ 240052 w 4519987"/>
                    <a:gd name="connsiteY85" fmla="*/ 1247775 h 4429225"/>
                    <a:gd name="connsiteX86" fmla="*/ 268627 w 4519987"/>
                    <a:gd name="connsiteY86" fmla="*/ 1200150 h 4429225"/>
                    <a:gd name="connsiteX87" fmla="*/ 287677 w 4519987"/>
                    <a:gd name="connsiteY87" fmla="*/ 1152525 h 4429225"/>
                    <a:gd name="connsiteX88" fmla="*/ 316252 w 4519987"/>
                    <a:gd name="connsiteY88" fmla="*/ 1114425 h 4429225"/>
                    <a:gd name="connsiteX89" fmla="*/ 363877 w 4519987"/>
                    <a:gd name="connsiteY89" fmla="*/ 1038225 h 4429225"/>
                    <a:gd name="connsiteX90" fmla="*/ 382927 w 4519987"/>
                    <a:gd name="connsiteY90" fmla="*/ 1009650 h 4429225"/>
                    <a:gd name="connsiteX91" fmla="*/ 440077 w 4519987"/>
                    <a:gd name="connsiteY91" fmla="*/ 904875 h 4429225"/>
                    <a:gd name="connsiteX92" fmla="*/ 478177 w 4519987"/>
                    <a:gd name="connsiteY92" fmla="*/ 857250 h 4429225"/>
                    <a:gd name="connsiteX93" fmla="*/ 497227 w 4519987"/>
                    <a:gd name="connsiteY93" fmla="*/ 828675 h 4429225"/>
                    <a:gd name="connsiteX94" fmla="*/ 535327 w 4519987"/>
                    <a:gd name="connsiteY94" fmla="*/ 800100 h 4429225"/>
                    <a:gd name="connsiteX95" fmla="*/ 602002 w 4519987"/>
                    <a:gd name="connsiteY95" fmla="*/ 733425 h 4429225"/>
                    <a:gd name="connsiteX96" fmla="*/ 668677 w 4519987"/>
                    <a:gd name="connsiteY96" fmla="*/ 676275 h 4429225"/>
                    <a:gd name="connsiteX97" fmla="*/ 697252 w 4519987"/>
                    <a:gd name="connsiteY97" fmla="*/ 657225 h 4429225"/>
                    <a:gd name="connsiteX98" fmla="*/ 840127 w 4519987"/>
                    <a:gd name="connsiteY98" fmla="*/ 533400 h 4429225"/>
                    <a:gd name="connsiteX99" fmla="*/ 887752 w 4519987"/>
                    <a:gd name="connsiteY99" fmla="*/ 504825 h 4429225"/>
                    <a:gd name="connsiteX100" fmla="*/ 1167152 w 4519987"/>
                    <a:gd name="connsiteY100" fmla="*/ 311150 h 4429225"/>
                    <a:gd name="connsiteX101" fmla="*/ 1268752 w 4519987"/>
                    <a:gd name="connsiteY101" fmla="*/ 285750 h 4429225"/>
                    <a:gd name="connsiteX102" fmla="*/ 1411627 w 4519987"/>
                    <a:gd name="connsiteY102" fmla="*/ 190500 h 4429225"/>
                    <a:gd name="connsiteX103" fmla="*/ 1449727 w 4519987"/>
                    <a:gd name="connsiteY103" fmla="*/ 161925 h 4429225"/>
                    <a:gd name="connsiteX104" fmla="*/ 1525927 w 4519987"/>
                    <a:gd name="connsiteY104" fmla="*/ 152400 h 4429225"/>
                    <a:gd name="connsiteX105" fmla="*/ 1583077 w 4519987"/>
                    <a:gd name="connsiteY105" fmla="*/ 142875 h 4429225"/>
                    <a:gd name="connsiteX106" fmla="*/ 1716427 w 4519987"/>
                    <a:gd name="connsiteY106" fmla="*/ 123825 h 4429225"/>
                    <a:gd name="connsiteX107" fmla="*/ 1811677 w 4519987"/>
                    <a:gd name="connsiteY107" fmla="*/ 114300 h 4429225"/>
                    <a:gd name="connsiteX108" fmla="*/ 1859302 w 4519987"/>
                    <a:gd name="connsiteY108" fmla="*/ 104775 h 4429225"/>
                    <a:gd name="connsiteX109" fmla="*/ 1916452 w 4519987"/>
                    <a:gd name="connsiteY109" fmla="*/ 95250 h 4429225"/>
                    <a:gd name="connsiteX110" fmla="*/ 2030752 w 4519987"/>
                    <a:gd name="connsiteY110" fmla="*/ 66675 h 4429225"/>
                    <a:gd name="connsiteX111" fmla="*/ 2097427 w 4519987"/>
                    <a:gd name="connsiteY111" fmla="*/ 47625 h 4429225"/>
                    <a:gd name="connsiteX112" fmla="*/ 2164102 w 4519987"/>
                    <a:gd name="connsiteY112" fmla="*/ 38100 h 4429225"/>
                    <a:gd name="connsiteX113" fmla="*/ 2392702 w 4519987"/>
                    <a:gd name="connsiteY11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144927 w 4519987"/>
                    <a:gd name="connsiteY48" fmla="*/ 4171950 h 4429225"/>
                    <a:gd name="connsiteX49" fmla="*/ 1087777 w 4519987"/>
                    <a:gd name="connsiteY49" fmla="*/ 4143375 h 4429225"/>
                    <a:gd name="connsiteX50" fmla="*/ 1030627 w 4519987"/>
                    <a:gd name="connsiteY50" fmla="*/ 4124325 h 4429225"/>
                    <a:gd name="connsiteX51" fmla="*/ 925852 w 4519987"/>
                    <a:gd name="connsiteY51" fmla="*/ 4067175 h 4429225"/>
                    <a:gd name="connsiteX52" fmla="*/ 830602 w 4519987"/>
                    <a:gd name="connsiteY52" fmla="*/ 3981450 h 4429225"/>
                    <a:gd name="connsiteX53" fmla="*/ 763927 w 4519987"/>
                    <a:gd name="connsiteY53" fmla="*/ 3914775 h 4429225"/>
                    <a:gd name="connsiteX54" fmla="*/ 725827 w 4519987"/>
                    <a:gd name="connsiteY54" fmla="*/ 3876675 h 4429225"/>
                    <a:gd name="connsiteX55" fmla="*/ 697252 w 4519987"/>
                    <a:gd name="connsiteY55" fmla="*/ 3838575 h 4429225"/>
                    <a:gd name="connsiteX56" fmla="*/ 640102 w 4519987"/>
                    <a:gd name="connsiteY56" fmla="*/ 3781425 h 4429225"/>
                    <a:gd name="connsiteX57" fmla="*/ 611527 w 4519987"/>
                    <a:gd name="connsiteY57" fmla="*/ 3733800 h 4429225"/>
                    <a:gd name="connsiteX58" fmla="*/ 554377 w 4519987"/>
                    <a:gd name="connsiteY58" fmla="*/ 3657600 h 4429225"/>
                    <a:gd name="connsiteX59" fmla="*/ 525802 w 4519987"/>
                    <a:gd name="connsiteY59" fmla="*/ 3609975 h 4429225"/>
                    <a:gd name="connsiteX60" fmla="*/ 497227 w 4519987"/>
                    <a:gd name="connsiteY60" fmla="*/ 3552825 h 4429225"/>
                    <a:gd name="connsiteX61" fmla="*/ 440077 w 4519987"/>
                    <a:gd name="connsiteY61" fmla="*/ 3495675 h 4429225"/>
                    <a:gd name="connsiteX62" fmla="*/ 411502 w 4519987"/>
                    <a:gd name="connsiteY62" fmla="*/ 3448050 h 4429225"/>
                    <a:gd name="connsiteX63" fmla="*/ 278152 w 4519987"/>
                    <a:gd name="connsiteY63" fmla="*/ 3257550 h 4429225"/>
                    <a:gd name="connsiteX64" fmla="*/ 249577 w 4519987"/>
                    <a:gd name="connsiteY64" fmla="*/ 3200400 h 4429225"/>
                    <a:gd name="connsiteX65" fmla="*/ 240052 w 4519987"/>
                    <a:gd name="connsiteY65" fmla="*/ 3162300 h 4429225"/>
                    <a:gd name="connsiteX66" fmla="*/ 221002 w 4519987"/>
                    <a:gd name="connsiteY66" fmla="*/ 3105150 h 4429225"/>
                    <a:gd name="connsiteX67" fmla="*/ 173377 w 4519987"/>
                    <a:gd name="connsiteY67" fmla="*/ 3019425 h 4429225"/>
                    <a:gd name="connsiteX68" fmla="*/ 144802 w 4519987"/>
                    <a:gd name="connsiteY68" fmla="*/ 2924175 h 4429225"/>
                    <a:gd name="connsiteX69" fmla="*/ 68602 w 4519987"/>
                    <a:gd name="connsiteY69" fmla="*/ 2724150 h 4429225"/>
                    <a:gd name="connsiteX70" fmla="*/ 49552 w 4519987"/>
                    <a:gd name="connsiteY70" fmla="*/ 2638425 h 4429225"/>
                    <a:gd name="connsiteX71" fmla="*/ 40027 w 4519987"/>
                    <a:gd name="connsiteY71" fmla="*/ 2562225 h 4429225"/>
                    <a:gd name="connsiteX72" fmla="*/ 30502 w 4519987"/>
                    <a:gd name="connsiteY72" fmla="*/ 2514600 h 4429225"/>
                    <a:gd name="connsiteX73" fmla="*/ 11452 w 4519987"/>
                    <a:gd name="connsiteY73" fmla="*/ 2400300 h 4429225"/>
                    <a:gd name="connsiteX74" fmla="*/ 20977 w 4519987"/>
                    <a:gd name="connsiteY74" fmla="*/ 1905000 h 4429225"/>
                    <a:gd name="connsiteX75" fmla="*/ 30502 w 4519987"/>
                    <a:gd name="connsiteY75" fmla="*/ 1838325 h 4429225"/>
                    <a:gd name="connsiteX76" fmla="*/ 49552 w 4519987"/>
                    <a:gd name="connsiteY76" fmla="*/ 1781175 h 4429225"/>
                    <a:gd name="connsiteX77" fmla="*/ 59077 w 4519987"/>
                    <a:gd name="connsiteY77" fmla="*/ 1743075 h 4429225"/>
                    <a:gd name="connsiteX78" fmla="*/ 78127 w 4519987"/>
                    <a:gd name="connsiteY78" fmla="*/ 1685925 h 4429225"/>
                    <a:gd name="connsiteX79" fmla="*/ 87652 w 4519987"/>
                    <a:gd name="connsiteY79" fmla="*/ 1638300 h 4429225"/>
                    <a:gd name="connsiteX80" fmla="*/ 106702 w 4519987"/>
                    <a:gd name="connsiteY80" fmla="*/ 1590675 h 4429225"/>
                    <a:gd name="connsiteX81" fmla="*/ 135277 w 4519987"/>
                    <a:gd name="connsiteY81" fmla="*/ 1504950 h 4429225"/>
                    <a:gd name="connsiteX82" fmla="*/ 154327 w 4519987"/>
                    <a:gd name="connsiteY82" fmla="*/ 1419225 h 4429225"/>
                    <a:gd name="connsiteX83" fmla="*/ 230527 w 4519987"/>
                    <a:gd name="connsiteY83" fmla="*/ 1276350 h 4429225"/>
                    <a:gd name="connsiteX84" fmla="*/ 240052 w 4519987"/>
                    <a:gd name="connsiteY84" fmla="*/ 1247775 h 4429225"/>
                    <a:gd name="connsiteX85" fmla="*/ 268627 w 4519987"/>
                    <a:gd name="connsiteY85" fmla="*/ 1200150 h 4429225"/>
                    <a:gd name="connsiteX86" fmla="*/ 287677 w 4519987"/>
                    <a:gd name="connsiteY86" fmla="*/ 1152525 h 4429225"/>
                    <a:gd name="connsiteX87" fmla="*/ 316252 w 4519987"/>
                    <a:gd name="connsiteY87" fmla="*/ 1114425 h 4429225"/>
                    <a:gd name="connsiteX88" fmla="*/ 363877 w 4519987"/>
                    <a:gd name="connsiteY88" fmla="*/ 1038225 h 4429225"/>
                    <a:gd name="connsiteX89" fmla="*/ 382927 w 4519987"/>
                    <a:gd name="connsiteY89" fmla="*/ 1009650 h 4429225"/>
                    <a:gd name="connsiteX90" fmla="*/ 440077 w 4519987"/>
                    <a:gd name="connsiteY90" fmla="*/ 904875 h 4429225"/>
                    <a:gd name="connsiteX91" fmla="*/ 478177 w 4519987"/>
                    <a:gd name="connsiteY91" fmla="*/ 857250 h 4429225"/>
                    <a:gd name="connsiteX92" fmla="*/ 497227 w 4519987"/>
                    <a:gd name="connsiteY92" fmla="*/ 828675 h 4429225"/>
                    <a:gd name="connsiteX93" fmla="*/ 535327 w 4519987"/>
                    <a:gd name="connsiteY93" fmla="*/ 800100 h 4429225"/>
                    <a:gd name="connsiteX94" fmla="*/ 602002 w 4519987"/>
                    <a:gd name="connsiteY94" fmla="*/ 733425 h 4429225"/>
                    <a:gd name="connsiteX95" fmla="*/ 668677 w 4519987"/>
                    <a:gd name="connsiteY95" fmla="*/ 676275 h 4429225"/>
                    <a:gd name="connsiteX96" fmla="*/ 697252 w 4519987"/>
                    <a:gd name="connsiteY96" fmla="*/ 657225 h 4429225"/>
                    <a:gd name="connsiteX97" fmla="*/ 840127 w 4519987"/>
                    <a:gd name="connsiteY97" fmla="*/ 533400 h 4429225"/>
                    <a:gd name="connsiteX98" fmla="*/ 887752 w 4519987"/>
                    <a:gd name="connsiteY98" fmla="*/ 504825 h 4429225"/>
                    <a:gd name="connsiteX99" fmla="*/ 1167152 w 4519987"/>
                    <a:gd name="connsiteY99" fmla="*/ 311150 h 4429225"/>
                    <a:gd name="connsiteX100" fmla="*/ 1268752 w 4519987"/>
                    <a:gd name="connsiteY100" fmla="*/ 285750 h 4429225"/>
                    <a:gd name="connsiteX101" fmla="*/ 1411627 w 4519987"/>
                    <a:gd name="connsiteY101" fmla="*/ 190500 h 4429225"/>
                    <a:gd name="connsiteX102" fmla="*/ 1449727 w 4519987"/>
                    <a:gd name="connsiteY102" fmla="*/ 161925 h 4429225"/>
                    <a:gd name="connsiteX103" fmla="*/ 1525927 w 4519987"/>
                    <a:gd name="connsiteY103" fmla="*/ 152400 h 4429225"/>
                    <a:gd name="connsiteX104" fmla="*/ 1583077 w 4519987"/>
                    <a:gd name="connsiteY104" fmla="*/ 142875 h 4429225"/>
                    <a:gd name="connsiteX105" fmla="*/ 1716427 w 4519987"/>
                    <a:gd name="connsiteY105" fmla="*/ 123825 h 4429225"/>
                    <a:gd name="connsiteX106" fmla="*/ 1811677 w 4519987"/>
                    <a:gd name="connsiteY106" fmla="*/ 114300 h 4429225"/>
                    <a:gd name="connsiteX107" fmla="*/ 1859302 w 4519987"/>
                    <a:gd name="connsiteY107" fmla="*/ 104775 h 4429225"/>
                    <a:gd name="connsiteX108" fmla="*/ 1916452 w 4519987"/>
                    <a:gd name="connsiteY108" fmla="*/ 95250 h 4429225"/>
                    <a:gd name="connsiteX109" fmla="*/ 2030752 w 4519987"/>
                    <a:gd name="connsiteY109" fmla="*/ 66675 h 4429225"/>
                    <a:gd name="connsiteX110" fmla="*/ 2097427 w 4519987"/>
                    <a:gd name="connsiteY110" fmla="*/ 47625 h 4429225"/>
                    <a:gd name="connsiteX111" fmla="*/ 2164102 w 4519987"/>
                    <a:gd name="connsiteY111" fmla="*/ 38100 h 4429225"/>
                    <a:gd name="connsiteX112" fmla="*/ 2392702 w 4519987"/>
                    <a:gd name="connsiteY11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087777 w 4519987"/>
                    <a:gd name="connsiteY48" fmla="*/ 4143375 h 4429225"/>
                    <a:gd name="connsiteX49" fmla="*/ 1030627 w 4519987"/>
                    <a:gd name="connsiteY49" fmla="*/ 4124325 h 4429225"/>
                    <a:gd name="connsiteX50" fmla="*/ 925852 w 4519987"/>
                    <a:gd name="connsiteY50" fmla="*/ 4067175 h 4429225"/>
                    <a:gd name="connsiteX51" fmla="*/ 830602 w 4519987"/>
                    <a:gd name="connsiteY51" fmla="*/ 3981450 h 4429225"/>
                    <a:gd name="connsiteX52" fmla="*/ 763927 w 4519987"/>
                    <a:gd name="connsiteY52" fmla="*/ 3914775 h 4429225"/>
                    <a:gd name="connsiteX53" fmla="*/ 725827 w 4519987"/>
                    <a:gd name="connsiteY53" fmla="*/ 3876675 h 4429225"/>
                    <a:gd name="connsiteX54" fmla="*/ 697252 w 4519987"/>
                    <a:gd name="connsiteY54" fmla="*/ 3838575 h 4429225"/>
                    <a:gd name="connsiteX55" fmla="*/ 640102 w 4519987"/>
                    <a:gd name="connsiteY55" fmla="*/ 3781425 h 4429225"/>
                    <a:gd name="connsiteX56" fmla="*/ 611527 w 4519987"/>
                    <a:gd name="connsiteY56" fmla="*/ 3733800 h 4429225"/>
                    <a:gd name="connsiteX57" fmla="*/ 554377 w 4519987"/>
                    <a:gd name="connsiteY57" fmla="*/ 3657600 h 4429225"/>
                    <a:gd name="connsiteX58" fmla="*/ 525802 w 4519987"/>
                    <a:gd name="connsiteY58" fmla="*/ 3609975 h 4429225"/>
                    <a:gd name="connsiteX59" fmla="*/ 497227 w 4519987"/>
                    <a:gd name="connsiteY59" fmla="*/ 3552825 h 4429225"/>
                    <a:gd name="connsiteX60" fmla="*/ 440077 w 4519987"/>
                    <a:gd name="connsiteY60" fmla="*/ 3495675 h 4429225"/>
                    <a:gd name="connsiteX61" fmla="*/ 411502 w 4519987"/>
                    <a:gd name="connsiteY61" fmla="*/ 3448050 h 4429225"/>
                    <a:gd name="connsiteX62" fmla="*/ 278152 w 4519987"/>
                    <a:gd name="connsiteY62" fmla="*/ 3257550 h 4429225"/>
                    <a:gd name="connsiteX63" fmla="*/ 249577 w 4519987"/>
                    <a:gd name="connsiteY63" fmla="*/ 3200400 h 4429225"/>
                    <a:gd name="connsiteX64" fmla="*/ 240052 w 4519987"/>
                    <a:gd name="connsiteY64" fmla="*/ 3162300 h 4429225"/>
                    <a:gd name="connsiteX65" fmla="*/ 221002 w 4519987"/>
                    <a:gd name="connsiteY65" fmla="*/ 3105150 h 4429225"/>
                    <a:gd name="connsiteX66" fmla="*/ 173377 w 4519987"/>
                    <a:gd name="connsiteY66" fmla="*/ 3019425 h 4429225"/>
                    <a:gd name="connsiteX67" fmla="*/ 144802 w 4519987"/>
                    <a:gd name="connsiteY67" fmla="*/ 2924175 h 4429225"/>
                    <a:gd name="connsiteX68" fmla="*/ 68602 w 4519987"/>
                    <a:gd name="connsiteY68" fmla="*/ 2724150 h 4429225"/>
                    <a:gd name="connsiteX69" fmla="*/ 49552 w 4519987"/>
                    <a:gd name="connsiteY69" fmla="*/ 2638425 h 4429225"/>
                    <a:gd name="connsiteX70" fmla="*/ 40027 w 4519987"/>
                    <a:gd name="connsiteY70" fmla="*/ 2562225 h 4429225"/>
                    <a:gd name="connsiteX71" fmla="*/ 30502 w 4519987"/>
                    <a:gd name="connsiteY71" fmla="*/ 2514600 h 4429225"/>
                    <a:gd name="connsiteX72" fmla="*/ 11452 w 4519987"/>
                    <a:gd name="connsiteY72" fmla="*/ 2400300 h 4429225"/>
                    <a:gd name="connsiteX73" fmla="*/ 20977 w 4519987"/>
                    <a:gd name="connsiteY73" fmla="*/ 1905000 h 4429225"/>
                    <a:gd name="connsiteX74" fmla="*/ 30502 w 4519987"/>
                    <a:gd name="connsiteY74" fmla="*/ 1838325 h 4429225"/>
                    <a:gd name="connsiteX75" fmla="*/ 49552 w 4519987"/>
                    <a:gd name="connsiteY75" fmla="*/ 1781175 h 4429225"/>
                    <a:gd name="connsiteX76" fmla="*/ 59077 w 4519987"/>
                    <a:gd name="connsiteY76" fmla="*/ 1743075 h 4429225"/>
                    <a:gd name="connsiteX77" fmla="*/ 78127 w 4519987"/>
                    <a:gd name="connsiteY77" fmla="*/ 1685925 h 4429225"/>
                    <a:gd name="connsiteX78" fmla="*/ 87652 w 4519987"/>
                    <a:gd name="connsiteY78" fmla="*/ 1638300 h 4429225"/>
                    <a:gd name="connsiteX79" fmla="*/ 106702 w 4519987"/>
                    <a:gd name="connsiteY79" fmla="*/ 1590675 h 4429225"/>
                    <a:gd name="connsiteX80" fmla="*/ 135277 w 4519987"/>
                    <a:gd name="connsiteY80" fmla="*/ 1504950 h 4429225"/>
                    <a:gd name="connsiteX81" fmla="*/ 154327 w 4519987"/>
                    <a:gd name="connsiteY81" fmla="*/ 1419225 h 4429225"/>
                    <a:gd name="connsiteX82" fmla="*/ 230527 w 4519987"/>
                    <a:gd name="connsiteY82" fmla="*/ 1276350 h 4429225"/>
                    <a:gd name="connsiteX83" fmla="*/ 240052 w 4519987"/>
                    <a:gd name="connsiteY83" fmla="*/ 1247775 h 4429225"/>
                    <a:gd name="connsiteX84" fmla="*/ 268627 w 4519987"/>
                    <a:gd name="connsiteY84" fmla="*/ 1200150 h 4429225"/>
                    <a:gd name="connsiteX85" fmla="*/ 287677 w 4519987"/>
                    <a:gd name="connsiteY85" fmla="*/ 1152525 h 4429225"/>
                    <a:gd name="connsiteX86" fmla="*/ 316252 w 4519987"/>
                    <a:gd name="connsiteY86" fmla="*/ 1114425 h 4429225"/>
                    <a:gd name="connsiteX87" fmla="*/ 363877 w 4519987"/>
                    <a:gd name="connsiteY87" fmla="*/ 1038225 h 4429225"/>
                    <a:gd name="connsiteX88" fmla="*/ 382927 w 4519987"/>
                    <a:gd name="connsiteY88" fmla="*/ 1009650 h 4429225"/>
                    <a:gd name="connsiteX89" fmla="*/ 440077 w 4519987"/>
                    <a:gd name="connsiteY89" fmla="*/ 904875 h 4429225"/>
                    <a:gd name="connsiteX90" fmla="*/ 478177 w 4519987"/>
                    <a:gd name="connsiteY90" fmla="*/ 857250 h 4429225"/>
                    <a:gd name="connsiteX91" fmla="*/ 497227 w 4519987"/>
                    <a:gd name="connsiteY91" fmla="*/ 828675 h 4429225"/>
                    <a:gd name="connsiteX92" fmla="*/ 535327 w 4519987"/>
                    <a:gd name="connsiteY92" fmla="*/ 800100 h 4429225"/>
                    <a:gd name="connsiteX93" fmla="*/ 602002 w 4519987"/>
                    <a:gd name="connsiteY93" fmla="*/ 733425 h 4429225"/>
                    <a:gd name="connsiteX94" fmla="*/ 668677 w 4519987"/>
                    <a:gd name="connsiteY94" fmla="*/ 676275 h 4429225"/>
                    <a:gd name="connsiteX95" fmla="*/ 697252 w 4519987"/>
                    <a:gd name="connsiteY95" fmla="*/ 657225 h 4429225"/>
                    <a:gd name="connsiteX96" fmla="*/ 840127 w 4519987"/>
                    <a:gd name="connsiteY96" fmla="*/ 533400 h 4429225"/>
                    <a:gd name="connsiteX97" fmla="*/ 887752 w 4519987"/>
                    <a:gd name="connsiteY97" fmla="*/ 504825 h 4429225"/>
                    <a:gd name="connsiteX98" fmla="*/ 1167152 w 4519987"/>
                    <a:gd name="connsiteY98" fmla="*/ 311150 h 4429225"/>
                    <a:gd name="connsiteX99" fmla="*/ 1268752 w 4519987"/>
                    <a:gd name="connsiteY99" fmla="*/ 285750 h 4429225"/>
                    <a:gd name="connsiteX100" fmla="*/ 1411627 w 4519987"/>
                    <a:gd name="connsiteY100" fmla="*/ 190500 h 4429225"/>
                    <a:gd name="connsiteX101" fmla="*/ 1449727 w 4519987"/>
                    <a:gd name="connsiteY101" fmla="*/ 161925 h 4429225"/>
                    <a:gd name="connsiteX102" fmla="*/ 1525927 w 4519987"/>
                    <a:gd name="connsiteY102" fmla="*/ 152400 h 4429225"/>
                    <a:gd name="connsiteX103" fmla="*/ 1583077 w 4519987"/>
                    <a:gd name="connsiteY103" fmla="*/ 142875 h 4429225"/>
                    <a:gd name="connsiteX104" fmla="*/ 1716427 w 4519987"/>
                    <a:gd name="connsiteY104" fmla="*/ 123825 h 4429225"/>
                    <a:gd name="connsiteX105" fmla="*/ 1811677 w 4519987"/>
                    <a:gd name="connsiteY105" fmla="*/ 114300 h 4429225"/>
                    <a:gd name="connsiteX106" fmla="*/ 1859302 w 4519987"/>
                    <a:gd name="connsiteY106" fmla="*/ 104775 h 4429225"/>
                    <a:gd name="connsiteX107" fmla="*/ 1916452 w 4519987"/>
                    <a:gd name="connsiteY107" fmla="*/ 95250 h 4429225"/>
                    <a:gd name="connsiteX108" fmla="*/ 2030752 w 4519987"/>
                    <a:gd name="connsiteY108" fmla="*/ 66675 h 4429225"/>
                    <a:gd name="connsiteX109" fmla="*/ 2097427 w 4519987"/>
                    <a:gd name="connsiteY109" fmla="*/ 47625 h 4429225"/>
                    <a:gd name="connsiteX110" fmla="*/ 2164102 w 4519987"/>
                    <a:gd name="connsiteY110" fmla="*/ 38100 h 4429225"/>
                    <a:gd name="connsiteX111" fmla="*/ 2392702 w 4519987"/>
                    <a:gd name="connsiteY11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1030627 w 4519987"/>
                    <a:gd name="connsiteY48" fmla="*/ 4124325 h 4429225"/>
                    <a:gd name="connsiteX49" fmla="*/ 925852 w 4519987"/>
                    <a:gd name="connsiteY49" fmla="*/ 4067175 h 4429225"/>
                    <a:gd name="connsiteX50" fmla="*/ 830602 w 4519987"/>
                    <a:gd name="connsiteY50" fmla="*/ 3981450 h 4429225"/>
                    <a:gd name="connsiteX51" fmla="*/ 763927 w 4519987"/>
                    <a:gd name="connsiteY51" fmla="*/ 3914775 h 4429225"/>
                    <a:gd name="connsiteX52" fmla="*/ 725827 w 4519987"/>
                    <a:gd name="connsiteY52" fmla="*/ 3876675 h 4429225"/>
                    <a:gd name="connsiteX53" fmla="*/ 697252 w 4519987"/>
                    <a:gd name="connsiteY53" fmla="*/ 3838575 h 4429225"/>
                    <a:gd name="connsiteX54" fmla="*/ 640102 w 4519987"/>
                    <a:gd name="connsiteY54" fmla="*/ 3781425 h 4429225"/>
                    <a:gd name="connsiteX55" fmla="*/ 611527 w 4519987"/>
                    <a:gd name="connsiteY55" fmla="*/ 3733800 h 4429225"/>
                    <a:gd name="connsiteX56" fmla="*/ 554377 w 4519987"/>
                    <a:gd name="connsiteY56" fmla="*/ 3657600 h 4429225"/>
                    <a:gd name="connsiteX57" fmla="*/ 525802 w 4519987"/>
                    <a:gd name="connsiteY57" fmla="*/ 3609975 h 4429225"/>
                    <a:gd name="connsiteX58" fmla="*/ 497227 w 4519987"/>
                    <a:gd name="connsiteY58" fmla="*/ 3552825 h 4429225"/>
                    <a:gd name="connsiteX59" fmla="*/ 440077 w 4519987"/>
                    <a:gd name="connsiteY59" fmla="*/ 3495675 h 4429225"/>
                    <a:gd name="connsiteX60" fmla="*/ 411502 w 4519987"/>
                    <a:gd name="connsiteY60" fmla="*/ 3448050 h 4429225"/>
                    <a:gd name="connsiteX61" fmla="*/ 278152 w 4519987"/>
                    <a:gd name="connsiteY61" fmla="*/ 3257550 h 4429225"/>
                    <a:gd name="connsiteX62" fmla="*/ 249577 w 4519987"/>
                    <a:gd name="connsiteY62" fmla="*/ 3200400 h 4429225"/>
                    <a:gd name="connsiteX63" fmla="*/ 240052 w 4519987"/>
                    <a:gd name="connsiteY63" fmla="*/ 3162300 h 4429225"/>
                    <a:gd name="connsiteX64" fmla="*/ 221002 w 4519987"/>
                    <a:gd name="connsiteY64" fmla="*/ 3105150 h 4429225"/>
                    <a:gd name="connsiteX65" fmla="*/ 173377 w 4519987"/>
                    <a:gd name="connsiteY65" fmla="*/ 3019425 h 4429225"/>
                    <a:gd name="connsiteX66" fmla="*/ 144802 w 4519987"/>
                    <a:gd name="connsiteY66" fmla="*/ 2924175 h 4429225"/>
                    <a:gd name="connsiteX67" fmla="*/ 68602 w 4519987"/>
                    <a:gd name="connsiteY67" fmla="*/ 2724150 h 4429225"/>
                    <a:gd name="connsiteX68" fmla="*/ 49552 w 4519987"/>
                    <a:gd name="connsiteY68" fmla="*/ 2638425 h 4429225"/>
                    <a:gd name="connsiteX69" fmla="*/ 40027 w 4519987"/>
                    <a:gd name="connsiteY69" fmla="*/ 2562225 h 4429225"/>
                    <a:gd name="connsiteX70" fmla="*/ 30502 w 4519987"/>
                    <a:gd name="connsiteY70" fmla="*/ 2514600 h 4429225"/>
                    <a:gd name="connsiteX71" fmla="*/ 11452 w 4519987"/>
                    <a:gd name="connsiteY71" fmla="*/ 2400300 h 4429225"/>
                    <a:gd name="connsiteX72" fmla="*/ 20977 w 4519987"/>
                    <a:gd name="connsiteY72" fmla="*/ 1905000 h 4429225"/>
                    <a:gd name="connsiteX73" fmla="*/ 30502 w 4519987"/>
                    <a:gd name="connsiteY73" fmla="*/ 1838325 h 4429225"/>
                    <a:gd name="connsiteX74" fmla="*/ 49552 w 4519987"/>
                    <a:gd name="connsiteY74" fmla="*/ 1781175 h 4429225"/>
                    <a:gd name="connsiteX75" fmla="*/ 59077 w 4519987"/>
                    <a:gd name="connsiteY75" fmla="*/ 1743075 h 4429225"/>
                    <a:gd name="connsiteX76" fmla="*/ 78127 w 4519987"/>
                    <a:gd name="connsiteY76" fmla="*/ 1685925 h 4429225"/>
                    <a:gd name="connsiteX77" fmla="*/ 87652 w 4519987"/>
                    <a:gd name="connsiteY77" fmla="*/ 1638300 h 4429225"/>
                    <a:gd name="connsiteX78" fmla="*/ 106702 w 4519987"/>
                    <a:gd name="connsiteY78" fmla="*/ 1590675 h 4429225"/>
                    <a:gd name="connsiteX79" fmla="*/ 135277 w 4519987"/>
                    <a:gd name="connsiteY79" fmla="*/ 1504950 h 4429225"/>
                    <a:gd name="connsiteX80" fmla="*/ 154327 w 4519987"/>
                    <a:gd name="connsiteY80" fmla="*/ 1419225 h 4429225"/>
                    <a:gd name="connsiteX81" fmla="*/ 230527 w 4519987"/>
                    <a:gd name="connsiteY81" fmla="*/ 1276350 h 4429225"/>
                    <a:gd name="connsiteX82" fmla="*/ 240052 w 4519987"/>
                    <a:gd name="connsiteY82" fmla="*/ 1247775 h 4429225"/>
                    <a:gd name="connsiteX83" fmla="*/ 268627 w 4519987"/>
                    <a:gd name="connsiteY83" fmla="*/ 1200150 h 4429225"/>
                    <a:gd name="connsiteX84" fmla="*/ 287677 w 4519987"/>
                    <a:gd name="connsiteY84" fmla="*/ 1152525 h 4429225"/>
                    <a:gd name="connsiteX85" fmla="*/ 316252 w 4519987"/>
                    <a:gd name="connsiteY85" fmla="*/ 1114425 h 4429225"/>
                    <a:gd name="connsiteX86" fmla="*/ 363877 w 4519987"/>
                    <a:gd name="connsiteY86" fmla="*/ 1038225 h 4429225"/>
                    <a:gd name="connsiteX87" fmla="*/ 382927 w 4519987"/>
                    <a:gd name="connsiteY87" fmla="*/ 1009650 h 4429225"/>
                    <a:gd name="connsiteX88" fmla="*/ 440077 w 4519987"/>
                    <a:gd name="connsiteY88" fmla="*/ 904875 h 4429225"/>
                    <a:gd name="connsiteX89" fmla="*/ 478177 w 4519987"/>
                    <a:gd name="connsiteY89" fmla="*/ 857250 h 4429225"/>
                    <a:gd name="connsiteX90" fmla="*/ 497227 w 4519987"/>
                    <a:gd name="connsiteY90" fmla="*/ 828675 h 4429225"/>
                    <a:gd name="connsiteX91" fmla="*/ 535327 w 4519987"/>
                    <a:gd name="connsiteY91" fmla="*/ 800100 h 4429225"/>
                    <a:gd name="connsiteX92" fmla="*/ 602002 w 4519987"/>
                    <a:gd name="connsiteY92" fmla="*/ 733425 h 4429225"/>
                    <a:gd name="connsiteX93" fmla="*/ 668677 w 4519987"/>
                    <a:gd name="connsiteY93" fmla="*/ 676275 h 4429225"/>
                    <a:gd name="connsiteX94" fmla="*/ 697252 w 4519987"/>
                    <a:gd name="connsiteY94" fmla="*/ 657225 h 4429225"/>
                    <a:gd name="connsiteX95" fmla="*/ 840127 w 4519987"/>
                    <a:gd name="connsiteY95" fmla="*/ 533400 h 4429225"/>
                    <a:gd name="connsiteX96" fmla="*/ 887752 w 4519987"/>
                    <a:gd name="connsiteY96" fmla="*/ 504825 h 4429225"/>
                    <a:gd name="connsiteX97" fmla="*/ 1167152 w 4519987"/>
                    <a:gd name="connsiteY97" fmla="*/ 311150 h 4429225"/>
                    <a:gd name="connsiteX98" fmla="*/ 1268752 w 4519987"/>
                    <a:gd name="connsiteY98" fmla="*/ 285750 h 4429225"/>
                    <a:gd name="connsiteX99" fmla="*/ 1411627 w 4519987"/>
                    <a:gd name="connsiteY99" fmla="*/ 190500 h 4429225"/>
                    <a:gd name="connsiteX100" fmla="*/ 1449727 w 4519987"/>
                    <a:gd name="connsiteY100" fmla="*/ 161925 h 4429225"/>
                    <a:gd name="connsiteX101" fmla="*/ 1525927 w 4519987"/>
                    <a:gd name="connsiteY101" fmla="*/ 152400 h 4429225"/>
                    <a:gd name="connsiteX102" fmla="*/ 1583077 w 4519987"/>
                    <a:gd name="connsiteY102" fmla="*/ 142875 h 4429225"/>
                    <a:gd name="connsiteX103" fmla="*/ 1716427 w 4519987"/>
                    <a:gd name="connsiteY103" fmla="*/ 123825 h 4429225"/>
                    <a:gd name="connsiteX104" fmla="*/ 1811677 w 4519987"/>
                    <a:gd name="connsiteY104" fmla="*/ 114300 h 4429225"/>
                    <a:gd name="connsiteX105" fmla="*/ 1859302 w 4519987"/>
                    <a:gd name="connsiteY105" fmla="*/ 104775 h 4429225"/>
                    <a:gd name="connsiteX106" fmla="*/ 1916452 w 4519987"/>
                    <a:gd name="connsiteY106" fmla="*/ 95250 h 4429225"/>
                    <a:gd name="connsiteX107" fmla="*/ 2030752 w 4519987"/>
                    <a:gd name="connsiteY107" fmla="*/ 66675 h 4429225"/>
                    <a:gd name="connsiteX108" fmla="*/ 2097427 w 4519987"/>
                    <a:gd name="connsiteY108" fmla="*/ 47625 h 4429225"/>
                    <a:gd name="connsiteX109" fmla="*/ 2164102 w 4519987"/>
                    <a:gd name="connsiteY109" fmla="*/ 38100 h 4429225"/>
                    <a:gd name="connsiteX110" fmla="*/ 2392702 w 4519987"/>
                    <a:gd name="connsiteY11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925852 w 4519987"/>
                    <a:gd name="connsiteY48" fmla="*/ 4067175 h 4429225"/>
                    <a:gd name="connsiteX49" fmla="*/ 830602 w 4519987"/>
                    <a:gd name="connsiteY49" fmla="*/ 3981450 h 4429225"/>
                    <a:gd name="connsiteX50" fmla="*/ 763927 w 4519987"/>
                    <a:gd name="connsiteY50" fmla="*/ 3914775 h 4429225"/>
                    <a:gd name="connsiteX51" fmla="*/ 725827 w 4519987"/>
                    <a:gd name="connsiteY51" fmla="*/ 3876675 h 4429225"/>
                    <a:gd name="connsiteX52" fmla="*/ 697252 w 4519987"/>
                    <a:gd name="connsiteY52" fmla="*/ 3838575 h 4429225"/>
                    <a:gd name="connsiteX53" fmla="*/ 640102 w 4519987"/>
                    <a:gd name="connsiteY53" fmla="*/ 3781425 h 4429225"/>
                    <a:gd name="connsiteX54" fmla="*/ 611527 w 4519987"/>
                    <a:gd name="connsiteY54" fmla="*/ 3733800 h 4429225"/>
                    <a:gd name="connsiteX55" fmla="*/ 554377 w 4519987"/>
                    <a:gd name="connsiteY55" fmla="*/ 3657600 h 4429225"/>
                    <a:gd name="connsiteX56" fmla="*/ 525802 w 4519987"/>
                    <a:gd name="connsiteY56" fmla="*/ 3609975 h 4429225"/>
                    <a:gd name="connsiteX57" fmla="*/ 497227 w 4519987"/>
                    <a:gd name="connsiteY57" fmla="*/ 3552825 h 4429225"/>
                    <a:gd name="connsiteX58" fmla="*/ 440077 w 4519987"/>
                    <a:gd name="connsiteY58" fmla="*/ 3495675 h 4429225"/>
                    <a:gd name="connsiteX59" fmla="*/ 411502 w 4519987"/>
                    <a:gd name="connsiteY59" fmla="*/ 3448050 h 4429225"/>
                    <a:gd name="connsiteX60" fmla="*/ 278152 w 4519987"/>
                    <a:gd name="connsiteY60" fmla="*/ 3257550 h 4429225"/>
                    <a:gd name="connsiteX61" fmla="*/ 249577 w 4519987"/>
                    <a:gd name="connsiteY61" fmla="*/ 3200400 h 4429225"/>
                    <a:gd name="connsiteX62" fmla="*/ 240052 w 4519987"/>
                    <a:gd name="connsiteY62" fmla="*/ 3162300 h 4429225"/>
                    <a:gd name="connsiteX63" fmla="*/ 221002 w 4519987"/>
                    <a:gd name="connsiteY63" fmla="*/ 3105150 h 4429225"/>
                    <a:gd name="connsiteX64" fmla="*/ 173377 w 4519987"/>
                    <a:gd name="connsiteY64" fmla="*/ 3019425 h 4429225"/>
                    <a:gd name="connsiteX65" fmla="*/ 144802 w 4519987"/>
                    <a:gd name="connsiteY65" fmla="*/ 2924175 h 4429225"/>
                    <a:gd name="connsiteX66" fmla="*/ 68602 w 4519987"/>
                    <a:gd name="connsiteY66" fmla="*/ 2724150 h 4429225"/>
                    <a:gd name="connsiteX67" fmla="*/ 49552 w 4519987"/>
                    <a:gd name="connsiteY67" fmla="*/ 2638425 h 4429225"/>
                    <a:gd name="connsiteX68" fmla="*/ 40027 w 4519987"/>
                    <a:gd name="connsiteY68" fmla="*/ 2562225 h 4429225"/>
                    <a:gd name="connsiteX69" fmla="*/ 30502 w 4519987"/>
                    <a:gd name="connsiteY69" fmla="*/ 2514600 h 4429225"/>
                    <a:gd name="connsiteX70" fmla="*/ 11452 w 4519987"/>
                    <a:gd name="connsiteY70" fmla="*/ 2400300 h 4429225"/>
                    <a:gd name="connsiteX71" fmla="*/ 20977 w 4519987"/>
                    <a:gd name="connsiteY71" fmla="*/ 1905000 h 4429225"/>
                    <a:gd name="connsiteX72" fmla="*/ 30502 w 4519987"/>
                    <a:gd name="connsiteY72" fmla="*/ 1838325 h 4429225"/>
                    <a:gd name="connsiteX73" fmla="*/ 49552 w 4519987"/>
                    <a:gd name="connsiteY73" fmla="*/ 1781175 h 4429225"/>
                    <a:gd name="connsiteX74" fmla="*/ 59077 w 4519987"/>
                    <a:gd name="connsiteY74" fmla="*/ 1743075 h 4429225"/>
                    <a:gd name="connsiteX75" fmla="*/ 78127 w 4519987"/>
                    <a:gd name="connsiteY75" fmla="*/ 1685925 h 4429225"/>
                    <a:gd name="connsiteX76" fmla="*/ 87652 w 4519987"/>
                    <a:gd name="connsiteY76" fmla="*/ 1638300 h 4429225"/>
                    <a:gd name="connsiteX77" fmla="*/ 106702 w 4519987"/>
                    <a:gd name="connsiteY77" fmla="*/ 1590675 h 4429225"/>
                    <a:gd name="connsiteX78" fmla="*/ 135277 w 4519987"/>
                    <a:gd name="connsiteY78" fmla="*/ 1504950 h 4429225"/>
                    <a:gd name="connsiteX79" fmla="*/ 154327 w 4519987"/>
                    <a:gd name="connsiteY79" fmla="*/ 1419225 h 4429225"/>
                    <a:gd name="connsiteX80" fmla="*/ 230527 w 4519987"/>
                    <a:gd name="connsiteY80" fmla="*/ 1276350 h 4429225"/>
                    <a:gd name="connsiteX81" fmla="*/ 240052 w 4519987"/>
                    <a:gd name="connsiteY81" fmla="*/ 1247775 h 4429225"/>
                    <a:gd name="connsiteX82" fmla="*/ 268627 w 4519987"/>
                    <a:gd name="connsiteY82" fmla="*/ 1200150 h 4429225"/>
                    <a:gd name="connsiteX83" fmla="*/ 287677 w 4519987"/>
                    <a:gd name="connsiteY83" fmla="*/ 1152525 h 4429225"/>
                    <a:gd name="connsiteX84" fmla="*/ 316252 w 4519987"/>
                    <a:gd name="connsiteY84" fmla="*/ 1114425 h 4429225"/>
                    <a:gd name="connsiteX85" fmla="*/ 363877 w 4519987"/>
                    <a:gd name="connsiteY85" fmla="*/ 1038225 h 4429225"/>
                    <a:gd name="connsiteX86" fmla="*/ 382927 w 4519987"/>
                    <a:gd name="connsiteY86" fmla="*/ 1009650 h 4429225"/>
                    <a:gd name="connsiteX87" fmla="*/ 440077 w 4519987"/>
                    <a:gd name="connsiteY87" fmla="*/ 904875 h 4429225"/>
                    <a:gd name="connsiteX88" fmla="*/ 478177 w 4519987"/>
                    <a:gd name="connsiteY88" fmla="*/ 857250 h 4429225"/>
                    <a:gd name="connsiteX89" fmla="*/ 497227 w 4519987"/>
                    <a:gd name="connsiteY89" fmla="*/ 828675 h 4429225"/>
                    <a:gd name="connsiteX90" fmla="*/ 535327 w 4519987"/>
                    <a:gd name="connsiteY90" fmla="*/ 800100 h 4429225"/>
                    <a:gd name="connsiteX91" fmla="*/ 602002 w 4519987"/>
                    <a:gd name="connsiteY91" fmla="*/ 733425 h 4429225"/>
                    <a:gd name="connsiteX92" fmla="*/ 668677 w 4519987"/>
                    <a:gd name="connsiteY92" fmla="*/ 676275 h 4429225"/>
                    <a:gd name="connsiteX93" fmla="*/ 697252 w 4519987"/>
                    <a:gd name="connsiteY93" fmla="*/ 657225 h 4429225"/>
                    <a:gd name="connsiteX94" fmla="*/ 840127 w 4519987"/>
                    <a:gd name="connsiteY94" fmla="*/ 533400 h 4429225"/>
                    <a:gd name="connsiteX95" fmla="*/ 887752 w 4519987"/>
                    <a:gd name="connsiteY95" fmla="*/ 504825 h 4429225"/>
                    <a:gd name="connsiteX96" fmla="*/ 1167152 w 4519987"/>
                    <a:gd name="connsiteY96" fmla="*/ 311150 h 4429225"/>
                    <a:gd name="connsiteX97" fmla="*/ 1268752 w 4519987"/>
                    <a:gd name="connsiteY97" fmla="*/ 285750 h 4429225"/>
                    <a:gd name="connsiteX98" fmla="*/ 1411627 w 4519987"/>
                    <a:gd name="connsiteY98" fmla="*/ 190500 h 4429225"/>
                    <a:gd name="connsiteX99" fmla="*/ 1449727 w 4519987"/>
                    <a:gd name="connsiteY99" fmla="*/ 161925 h 4429225"/>
                    <a:gd name="connsiteX100" fmla="*/ 1525927 w 4519987"/>
                    <a:gd name="connsiteY100" fmla="*/ 152400 h 4429225"/>
                    <a:gd name="connsiteX101" fmla="*/ 1583077 w 4519987"/>
                    <a:gd name="connsiteY101" fmla="*/ 142875 h 4429225"/>
                    <a:gd name="connsiteX102" fmla="*/ 1716427 w 4519987"/>
                    <a:gd name="connsiteY102" fmla="*/ 123825 h 4429225"/>
                    <a:gd name="connsiteX103" fmla="*/ 1811677 w 4519987"/>
                    <a:gd name="connsiteY103" fmla="*/ 114300 h 4429225"/>
                    <a:gd name="connsiteX104" fmla="*/ 1859302 w 4519987"/>
                    <a:gd name="connsiteY104" fmla="*/ 104775 h 4429225"/>
                    <a:gd name="connsiteX105" fmla="*/ 1916452 w 4519987"/>
                    <a:gd name="connsiteY105" fmla="*/ 95250 h 4429225"/>
                    <a:gd name="connsiteX106" fmla="*/ 2030752 w 4519987"/>
                    <a:gd name="connsiteY106" fmla="*/ 66675 h 4429225"/>
                    <a:gd name="connsiteX107" fmla="*/ 2097427 w 4519987"/>
                    <a:gd name="connsiteY107" fmla="*/ 47625 h 4429225"/>
                    <a:gd name="connsiteX108" fmla="*/ 2164102 w 4519987"/>
                    <a:gd name="connsiteY108" fmla="*/ 38100 h 4429225"/>
                    <a:gd name="connsiteX109" fmla="*/ 2392702 w 4519987"/>
                    <a:gd name="connsiteY10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725827 w 4519987"/>
                    <a:gd name="connsiteY50" fmla="*/ 3876675 h 4429225"/>
                    <a:gd name="connsiteX51" fmla="*/ 697252 w 4519987"/>
                    <a:gd name="connsiteY51" fmla="*/ 3838575 h 4429225"/>
                    <a:gd name="connsiteX52" fmla="*/ 640102 w 4519987"/>
                    <a:gd name="connsiteY52" fmla="*/ 3781425 h 4429225"/>
                    <a:gd name="connsiteX53" fmla="*/ 611527 w 4519987"/>
                    <a:gd name="connsiteY53" fmla="*/ 3733800 h 4429225"/>
                    <a:gd name="connsiteX54" fmla="*/ 554377 w 4519987"/>
                    <a:gd name="connsiteY54" fmla="*/ 3657600 h 4429225"/>
                    <a:gd name="connsiteX55" fmla="*/ 525802 w 4519987"/>
                    <a:gd name="connsiteY55" fmla="*/ 3609975 h 4429225"/>
                    <a:gd name="connsiteX56" fmla="*/ 497227 w 4519987"/>
                    <a:gd name="connsiteY56" fmla="*/ 3552825 h 4429225"/>
                    <a:gd name="connsiteX57" fmla="*/ 440077 w 4519987"/>
                    <a:gd name="connsiteY57" fmla="*/ 3495675 h 4429225"/>
                    <a:gd name="connsiteX58" fmla="*/ 411502 w 4519987"/>
                    <a:gd name="connsiteY58" fmla="*/ 3448050 h 4429225"/>
                    <a:gd name="connsiteX59" fmla="*/ 278152 w 4519987"/>
                    <a:gd name="connsiteY59" fmla="*/ 3257550 h 4429225"/>
                    <a:gd name="connsiteX60" fmla="*/ 249577 w 4519987"/>
                    <a:gd name="connsiteY60" fmla="*/ 3200400 h 4429225"/>
                    <a:gd name="connsiteX61" fmla="*/ 240052 w 4519987"/>
                    <a:gd name="connsiteY61" fmla="*/ 3162300 h 4429225"/>
                    <a:gd name="connsiteX62" fmla="*/ 221002 w 4519987"/>
                    <a:gd name="connsiteY62" fmla="*/ 3105150 h 4429225"/>
                    <a:gd name="connsiteX63" fmla="*/ 173377 w 4519987"/>
                    <a:gd name="connsiteY63" fmla="*/ 3019425 h 4429225"/>
                    <a:gd name="connsiteX64" fmla="*/ 144802 w 4519987"/>
                    <a:gd name="connsiteY64" fmla="*/ 2924175 h 4429225"/>
                    <a:gd name="connsiteX65" fmla="*/ 68602 w 4519987"/>
                    <a:gd name="connsiteY65" fmla="*/ 2724150 h 4429225"/>
                    <a:gd name="connsiteX66" fmla="*/ 49552 w 4519987"/>
                    <a:gd name="connsiteY66" fmla="*/ 2638425 h 4429225"/>
                    <a:gd name="connsiteX67" fmla="*/ 40027 w 4519987"/>
                    <a:gd name="connsiteY67" fmla="*/ 2562225 h 4429225"/>
                    <a:gd name="connsiteX68" fmla="*/ 30502 w 4519987"/>
                    <a:gd name="connsiteY68" fmla="*/ 2514600 h 4429225"/>
                    <a:gd name="connsiteX69" fmla="*/ 11452 w 4519987"/>
                    <a:gd name="connsiteY69" fmla="*/ 2400300 h 4429225"/>
                    <a:gd name="connsiteX70" fmla="*/ 20977 w 4519987"/>
                    <a:gd name="connsiteY70" fmla="*/ 1905000 h 4429225"/>
                    <a:gd name="connsiteX71" fmla="*/ 30502 w 4519987"/>
                    <a:gd name="connsiteY71" fmla="*/ 1838325 h 4429225"/>
                    <a:gd name="connsiteX72" fmla="*/ 49552 w 4519987"/>
                    <a:gd name="connsiteY72" fmla="*/ 1781175 h 4429225"/>
                    <a:gd name="connsiteX73" fmla="*/ 59077 w 4519987"/>
                    <a:gd name="connsiteY73" fmla="*/ 1743075 h 4429225"/>
                    <a:gd name="connsiteX74" fmla="*/ 78127 w 4519987"/>
                    <a:gd name="connsiteY74" fmla="*/ 1685925 h 4429225"/>
                    <a:gd name="connsiteX75" fmla="*/ 87652 w 4519987"/>
                    <a:gd name="connsiteY75" fmla="*/ 1638300 h 4429225"/>
                    <a:gd name="connsiteX76" fmla="*/ 106702 w 4519987"/>
                    <a:gd name="connsiteY76" fmla="*/ 1590675 h 4429225"/>
                    <a:gd name="connsiteX77" fmla="*/ 135277 w 4519987"/>
                    <a:gd name="connsiteY77" fmla="*/ 1504950 h 4429225"/>
                    <a:gd name="connsiteX78" fmla="*/ 154327 w 4519987"/>
                    <a:gd name="connsiteY78" fmla="*/ 1419225 h 4429225"/>
                    <a:gd name="connsiteX79" fmla="*/ 230527 w 4519987"/>
                    <a:gd name="connsiteY79" fmla="*/ 1276350 h 4429225"/>
                    <a:gd name="connsiteX80" fmla="*/ 240052 w 4519987"/>
                    <a:gd name="connsiteY80" fmla="*/ 1247775 h 4429225"/>
                    <a:gd name="connsiteX81" fmla="*/ 268627 w 4519987"/>
                    <a:gd name="connsiteY81" fmla="*/ 1200150 h 4429225"/>
                    <a:gd name="connsiteX82" fmla="*/ 287677 w 4519987"/>
                    <a:gd name="connsiteY82" fmla="*/ 1152525 h 4429225"/>
                    <a:gd name="connsiteX83" fmla="*/ 316252 w 4519987"/>
                    <a:gd name="connsiteY83" fmla="*/ 1114425 h 4429225"/>
                    <a:gd name="connsiteX84" fmla="*/ 363877 w 4519987"/>
                    <a:gd name="connsiteY84" fmla="*/ 1038225 h 4429225"/>
                    <a:gd name="connsiteX85" fmla="*/ 382927 w 4519987"/>
                    <a:gd name="connsiteY85" fmla="*/ 1009650 h 4429225"/>
                    <a:gd name="connsiteX86" fmla="*/ 440077 w 4519987"/>
                    <a:gd name="connsiteY86" fmla="*/ 904875 h 4429225"/>
                    <a:gd name="connsiteX87" fmla="*/ 478177 w 4519987"/>
                    <a:gd name="connsiteY87" fmla="*/ 857250 h 4429225"/>
                    <a:gd name="connsiteX88" fmla="*/ 497227 w 4519987"/>
                    <a:gd name="connsiteY88" fmla="*/ 828675 h 4429225"/>
                    <a:gd name="connsiteX89" fmla="*/ 535327 w 4519987"/>
                    <a:gd name="connsiteY89" fmla="*/ 800100 h 4429225"/>
                    <a:gd name="connsiteX90" fmla="*/ 602002 w 4519987"/>
                    <a:gd name="connsiteY90" fmla="*/ 733425 h 4429225"/>
                    <a:gd name="connsiteX91" fmla="*/ 668677 w 4519987"/>
                    <a:gd name="connsiteY91" fmla="*/ 676275 h 4429225"/>
                    <a:gd name="connsiteX92" fmla="*/ 697252 w 4519987"/>
                    <a:gd name="connsiteY92" fmla="*/ 657225 h 4429225"/>
                    <a:gd name="connsiteX93" fmla="*/ 840127 w 4519987"/>
                    <a:gd name="connsiteY93" fmla="*/ 533400 h 4429225"/>
                    <a:gd name="connsiteX94" fmla="*/ 887752 w 4519987"/>
                    <a:gd name="connsiteY94" fmla="*/ 504825 h 4429225"/>
                    <a:gd name="connsiteX95" fmla="*/ 1167152 w 4519987"/>
                    <a:gd name="connsiteY95" fmla="*/ 311150 h 4429225"/>
                    <a:gd name="connsiteX96" fmla="*/ 1268752 w 4519987"/>
                    <a:gd name="connsiteY96" fmla="*/ 285750 h 4429225"/>
                    <a:gd name="connsiteX97" fmla="*/ 1411627 w 4519987"/>
                    <a:gd name="connsiteY97" fmla="*/ 190500 h 4429225"/>
                    <a:gd name="connsiteX98" fmla="*/ 1449727 w 4519987"/>
                    <a:gd name="connsiteY98" fmla="*/ 161925 h 4429225"/>
                    <a:gd name="connsiteX99" fmla="*/ 1525927 w 4519987"/>
                    <a:gd name="connsiteY99" fmla="*/ 152400 h 4429225"/>
                    <a:gd name="connsiteX100" fmla="*/ 1583077 w 4519987"/>
                    <a:gd name="connsiteY100" fmla="*/ 142875 h 4429225"/>
                    <a:gd name="connsiteX101" fmla="*/ 1716427 w 4519987"/>
                    <a:gd name="connsiteY101" fmla="*/ 123825 h 4429225"/>
                    <a:gd name="connsiteX102" fmla="*/ 1811677 w 4519987"/>
                    <a:gd name="connsiteY102" fmla="*/ 114300 h 4429225"/>
                    <a:gd name="connsiteX103" fmla="*/ 1859302 w 4519987"/>
                    <a:gd name="connsiteY103" fmla="*/ 104775 h 4429225"/>
                    <a:gd name="connsiteX104" fmla="*/ 1916452 w 4519987"/>
                    <a:gd name="connsiteY104" fmla="*/ 95250 h 4429225"/>
                    <a:gd name="connsiteX105" fmla="*/ 2030752 w 4519987"/>
                    <a:gd name="connsiteY105" fmla="*/ 66675 h 4429225"/>
                    <a:gd name="connsiteX106" fmla="*/ 2097427 w 4519987"/>
                    <a:gd name="connsiteY106" fmla="*/ 47625 h 4429225"/>
                    <a:gd name="connsiteX107" fmla="*/ 2164102 w 4519987"/>
                    <a:gd name="connsiteY107" fmla="*/ 38100 h 4429225"/>
                    <a:gd name="connsiteX108" fmla="*/ 2392702 w 4519987"/>
                    <a:gd name="connsiteY10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40102 w 4519987"/>
                    <a:gd name="connsiteY51" fmla="*/ 3781425 h 4429225"/>
                    <a:gd name="connsiteX52" fmla="*/ 611527 w 4519987"/>
                    <a:gd name="connsiteY52" fmla="*/ 3733800 h 4429225"/>
                    <a:gd name="connsiteX53" fmla="*/ 554377 w 4519987"/>
                    <a:gd name="connsiteY53" fmla="*/ 3657600 h 4429225"/>
                    <a:gd name="connsiteX54" fmla="*/ 525802 w 4519987"/>
                    <a:gd name="connsiteY54" fmla="*/ 3609975 h 4429225"/>
                    <a:gd name="connsiteX55" fmla="*/ 497227 w 4519987"/>
                    <a:gd name="connsiteY55" fmla="*/ 3552825 h 4429225"/>
                    <a:gd name="connsiteX56" fmla="*/ 440077 w 4519987"/>
                    <a:gd name="connsiteY56" fmla="*/ 3495675 h 4429225"/>
                    <a:gd name="connsiteX57" fmla="*/ 411502 w 4519987"/>
                    <a:gd name="connsiteY57" fmla="*/ 3448050 h 4429225"/>
                    <a:gd name="connsiteX58" fmla="*/ 278152 w 4519987"/>
                    <a:gd name="connsiteY58" fmla="*/ 3257550 h 4429225"/>
                    <a:gd name="connsiteX59" fmla="*/ 249577 w 4519987"/>
                    <a:gd name="connsiteY59" fmla="*/ 3200400 h 4429225"/>
                    <a:gd name="connsiteX60" fmla="*/ 240052 w 4519987"/>
                    <a:gd name="connsiteY60" fmla="*/ 3162300 h 4429225"/>
                    <a:gd name="connsiteX61" fmla="*/ 221002 w 4519987"/>
                    <a:gd name="connsiteY61" fmla="*/ 3105150 h 4429225"/>
                    <a:gd name="connsiteX62" fmla="*/ 173377 w 4519987"/>
                    <a:gd name="connsiteY62" fmla="*/ 3019425 h 4429225"/>
                    <a:gd name="connsiteX63" fmla="*/ 144802 w 4519987"/>
                    <a:gd name="connsiteY63" fmla="*/ 2924175 h 4429225"/>
                    <a:gd name="connsiteX64" fmla="*/ 68602 w 4519987"/>
                    <a:gd name="connsiteY64" fmla="*/ 2724150 h 4429225"/>
                    <a:gd name="connsiteX65" fmla="*/ 49552 w 4519987"/>
                    <a:gd name="connsiteY65" fmla="*/ 2638425 h 4429225"/>
                    <a:gd name="connsiteX66" fmla="*/ 40027 w 4519987"/>
                    <a:gd name="connsiteY66" fmla="*/ 2562225 h 4429225"/>
                    <a:gd name="connsiteX67" fmla="*/ 30502 w 4519987"/>
                    <a:gd name="connsiteY67" fmla="*/ 2514600 h 4429225"/>
                    <a:gd name="connsiteX68" fmla="*/ 11452 w 4519987"/>
                    <a:gd name="connsiteY68" fmla="*/ 2400300 h 4429225"/>
                    <a:gd name="connsiteX69" fmla="*/ 20977 w 4519987"/>
                    <a:gd name="connsiteY69" fmla="*/ 1905000 h 4429225"/>
                    <a:gd name="connsiteX70" fmla="*/ 30502 w 4519987"/>
                    <a:gd name="connsiteY70" fmla="*/ 1838325 h 4429225"/>
                    <a:gd name="connsiteX71" fmla="*/ 49552 w 4519987"/>
                    <a:gd name="connsiteY71" fmla="*/ 1781175 h 4429225"/>
                    <a:gd name="connsiteX72" fmla="*/ 59077 w 4519987"/>
                    <a:gd name="connsiteY72" fmla="*/ 1743075 h 4429225"/>
                    <a:gd name="connsiteX73" fmla="*/ 78127 w 4519987"/>
                    <a:gd name="connsiteY73" fmla="*/ 1685925 h 4429225"/>
                    <a:gd name="connsiteX74" fmla="*/ 87652 w 4519987"/>
                    <a:gd name="connsiteY74" fmla="*/ 1638300 h 4429225"/>
                    <a:gd name="connsiteX75" fmla="*/ 106702 w 4519987"/>
                    <a:gd name="connsiteY75" fmla="*/ 1590675 h 4429225"/>
                    <a:gd name="connsiteX76" fmla="*/ 135277 w 4519987"/>
                    <a:gd name="connsiteY76" fmla="*/ 1504950 h 4429225"/>
                    <a:gd name="connsiteX77" fmla="*/ 154327 w 4519987"/>
                    <a:gd name="connsiteY77" fmla="*/ 1419225 h 4429225"/>
                    <a:gd name="connsiteX78" fmla="*/ 230527 w 4519987"/>
                    <a:gd name="connsiteY78" fmla="*/ 1276350 h 4429225"/>
                    <a:gd name="connsiteX79" fmla="*/ 240052 w 4519987"/>
                    <a:gd name="connsiteY79" fmla="*/ 1247775 h 4429225"/>
                    <a:gd name="connsiteX80" fmla="*/ 268627 w 4519987"/>
                    <a:gd name="connsiteY80" fmla="*/ 1200150 h 4429225"/>
                    <a:gd name="connsiteX81" fmla="*/ 287677 w 4519987"/>
                    <a:gd name="connsiteY81" fmla="*/ 1152525 h 4429225"/>
                    <a:gd name="connsiteX82" fmla="*/ 316252 w 4519987"/>
                    <a:gd name="connsiteY82" fmla="*/ 1114425 h 4429225"/>
                    <a:gd name="connsiteX83" fmla="*/ 363877 w 4519987"/>
                    <a:gd name="connsiteY83" fmla="*/ 1038225 h 4429225"/>
                    <a:gd name="connsiteX84" fmla="*/ 382927 w 4519987"/>
                    <a:gd name="connsiteY84" fmla="*/ 1009650 h 4429225"/>
                    <a:gd name="connsiteX85" fmla="*/ 440077 w 4519987"/>
                    <a:gd name="connsiteY85" fmla="*/ 904875 h 4429225"/>
                    <a:gd name="connsiteX86" fmla="*/ 478177 w 4519987"/>
                    <a:gd name="connsiteY86" fmla="*/ 857250 h 4429225"/>
                    <a:gd name="connsiteX87" fmla="*/ 497227 w 4519987"/>
                    <a:gd name="connsiteY87" fmla="*/ 828675 h 4429225"/>
                    <a:gd name="connsiteX88" fmla="*/ 535327 w 4519987"/>
                    <a:gd name="connsiteY88" fmla="*/ 800100 h 4429225"/>
                    <a:gd name="connsiteX89" fmla="*/ 602002 w 4519987"/>
                    <a:gd name="connsiteY89" fmla="*/ 733425 h 4429225"/>
                    <a:gd name="connsiteX90" fmla="*/ 668677 w 4519987"/>
                    <a:gd name="connsiteY90" fmla="*/ 676275 h 4429225"/>
                    <a:gd name="connsiteX91" fmla="*/ 697252 w 4519987"/>
                    <a:gd name="connsiteY91" fmla="*/ 657225 h 4429225"/>
                    <a:gd name="connsiteX92" fmla="*/ 840127 w 4519987"/>
                    <a:gd name="connsiteY92" fmla="*/ 533400 h 4429225"/>
                    <a:gd name="connsiteX93" fmla="*/ 887752 w 4519987"/>
                    <a:gd name="connsiteY93" fmla="*/ 504825 h 4429225"/>
                    <a:gd name="connsiteX94" fmla="*/ 1167152 w 4519987"/>
                    <a:gd name="connsiteY94" fmla="*/ 311150 h 4429225"/>
                    <a:gd name="connsiteX95" fmla="*/ 1268752 w 4519987"/>
                    <a:gd name="connsiteY95" fmla="*/ 285750 h 4429225"/>
                    <a:gd name="connsiteX96" fmla="*/ 1411627 w 4519987"/>
                    <a:gd name="connsiteY96" fmla="*/ 190500 h 4429225"/>
                    <a:gd name="connsiteX97" fmla="*/ 1449727 w 4519987"/>
                    <a:gd name="connsiteY97" fmla="*/ 161925 h 4429225"/>
                    <a:gd name="connsiteX98" fmla="*/ 1525927 w 4519987"/>
                    <a:gd name="connsiteY98" fmla="*/ 152400 h 4429225"/>
                    <a:gd name="connsiteX99" fmla="*/ 1583077 w 4519987"/>
                    <a:gd name="connsiteY99" fmla="*/ 142875 h 4429225"/>
                    <a:gd name="connsiteX100" fmla="*/ 1716427 w 4519987"/>
                    <a:gd name="connsiteY100" fmla="*/ 123825 h 4429225"/>
                    <a:gd name="connsiteX101" fmla="*/ 1811677 w 4519987"/>
                    <a:gd name="connsiteY101" fmla="*/ 114300 h 4429225"/>
                    <a:gd name="connsiteX102" fmla="*/ 1859302 w 4519987"/>
                    <a:gd name="connsiteY102" fmla="*/ 104775 h 4429225"/>
                    <a:gd name="connsiteX103" fmla="*/ 1916452 w 4519987"/>
                    <a:gd name="connsiteY103" fmla="*/ 95250 h 4429225"/>
                    <a:gd name="connsiteX104" fmla="*/ 2030752 w 4519987"/>
                    <a:gd name="connsiteY104" fmla="*/ 66675 h 4429225"/>
                    <a:gd name="connsiteX105" fmla="*/ 2097427 w 4519987"/>
                    <a:gd name="connsiteY105" fmla="*/ 47625 h 4429225"/>
                    <a:gd name="connsiteX106" fmla="*/ 2164102 w 4519987"/>
                    <a:gd name="connsiteY106" fmla="*/ 38100 h 4429225"/>
                    <a:gd name="connsiteX107" fmla="*/ 2392702 w 4519987"/>
                    <a:gd name="connsiteY10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11527 w 4519987"/>
                    <a:gd name="connsiteY51" fmla="*/ 3733800 h 4429225"/>
                    <a:gd name="connsiteX52" fmla="*/ 554377 w 4519987"/>
                    <a:gd name="connsiteY52" fmla="*/ 3657600 h 4429225"/>
                    <a:gd name="connsiteX53" fmla="*/ 525802 w 4519987"/>
                    <a:gd name="connsiteY53" fmla="*/ 3609975 h 4429225"/>
                    <a:gd name="connsiteX54" fmla="*/ 497227 w 4519987"/>
                    <a:gd name="connsiteY54" fmla="*/ 3552825 h 4429225"/>
                    <a:gd name="connsiteX55" fmla="*/ 440077 w 4519987"/>
                    <a:gd name="connsiteY55" fmla="*/ 3495675 h 4429225"/>
                    <a:gd name="connsiteX56" fmla="*/ 411502 w 4519987"/>
                    <a:gd name="connsiteY56" fmla="*/ 3448050 h 4429225"/>
                    <a:gd name="connsiteX57" fmla="*/ 278152 w 4519987"/>
                    <a:gd name="connsiteY57" fmla="*/ 3257550 h 4429225"/>
                    <a:gd name="connsiteX58" fmla="*/ 249577 w 4519987"/>
                    <a:gd name="connsiteY58" fmla="*/ 3200400 h 4429225"/>
                    <a:gd name="connsiteX59" fmla="*/ 240052 w 4519987"/>
                    <a:gd name="connsiteY59" fmla="*/ 3162300 h 4429225"/>
                    <a:gd name="connsiteX60" fmla="*/ 221002 w 4519987"/>
                    <a:gd name="connsiteY60" fmla="*/ 3105150 h 4429225"/>
                    <a:gd name="connsiteX61" fmla="*/ 173377 w 4519987"/>
                    <a:gd name="connsiteY61" fmla="*/ 3019425 h 4429225"/>
                    <a:gd name="connsiteX62" fmla="*/ 144802 w 4519987"/>
                    <a:gd name="connsiteY62" fmla="*/ 2924175 h 4429225"/>
                    <a:gd name="connsiteX63" fmla="*/ 68602 w 4519987"/>
                    <a:gd name="connsiteY63" fmla="*/ 2724150 h 4429225"/>
                    <a:gd name="connsiteX64" fmla="*/ 49552 w 4519987"/>
                    <a:gd name="connsiteY64" fmla="*/ 2638425 h 4429225"/>
                    <a:gd name="connsiteX65" fmla="*/ 40027 w 4519987"/>
                    <a:gd name="connsiteY65" fmla="*/ 2562225 h 4429225"/>
                    <a:gd name="connsiteX66" fmla="*/ 30502 w 4519987"/>
                    <a:gd name="connsiteY66" fmla="*/ 2514600 h 4429225"/>
                    <a:gd name="connsiteX67" fmla="*/ 11452 w 4519987"/>
                    <a:gd name="connsiteY67" fmla="*/ 2400300 h 4429225"/>
                    <a:gd name="connsiteX68" fmla="*/ 20977 w 4519987"/>
                    <a:gd name="connsiteY68" fmla="*/ 1905000 h 4429225"/>
                    <a:gd name="connsiteX69" fmla="*/ 30502 w 4519987"/>
                    <a:gd name="connsiteY69" fmla="*/ 1838325 h 4429225"/>
                    <a:gd name="connsiteX70" fmla="*/ 49552 w 4519987"/>
                    <a:gd name="connsiteY70" fmla="*/ 1781175 h 4429225"/>
                    <a:gd name="connsiteX71" fmla="*/ 59077 w 4519987"/>
                    <a:gd name="connsiteY71" fmla="*/ 1743075 h 4429225"/>
                    <a:gd name="connsiteX72" fmla="*/ 78127 w 4519987"/>
                    <a:gd name="connsiteY72" fmla="*/ 1685925 h 4429225"/>
                    <a:gd name="connsiteX73" fmla="*/ 87652 w 4519987"/>
                    <a:gd name="connsiteY73" fmla="*/ 1638300 h 4429225"/>
                    <a:gd name="connsiteX74" fmla="*/ 106702 w 4519987"/>
                    <a:gd name="connsiteY74" fmla="*/ 1590675 h 4429225"/>
                    <a:gd name="connsiteX75" fmla="*/ 135277 w 4519987"/>
                    <a:gd name="connsiteY75" fmla="*/ 1504950 h 4429225"/>
                    <a:gd name="connsiteX76" fmla="*/ 154327 w 4519987"/>
                    <a:gd name="connsiteY76" fmla="*/ 1419225 h 4429225"/>
                    <a:gd name="connsiteX77" fmla="*/ 230527 w 4519987"/>
                    <a:gd name="connsiteY77" fmla="*/ 1276350 h 4429225"/>
                    <a:gd name="connsiteX78" fmla="*/ 240052 w 4519987"/>
                    <a:gd name="connsiteY78" fmla="*/ 1247775 h 4429225"/>
                    <a:gd name="connsiteX79" fmla="*/ 268627 w 4519987"/>
                    <a:gd name="connsiteY79" fmla="*/ 1200150 h 4429225"/>
                    <a:gd name="connsiteX80" fmla="*/ 287677 w 4519987"/>
                    <a:gd name="connsiteY80" fmla="*/ 1152525 h 4429225"/>
                    <a:gd name="connsiteX81" fmla="*/ 316252 w 4519987"/>
                    <a:gd name="connsiteY81" fmla="*/ 1114425 h 4429225"/>
                    <a:gd name="connsiteX82" fmla="*/ 363877 w 4519987"/>
                    <a:gd name="connsiteY82" fmla="*/ 1038225 h 4429225"/>
                    <a:gd name="connsiteX83" fmla="*/ 382927 w 4519987"/>
                    <a:gd name="connsiteY83" fmla="*/ 1009650 h 4429225"/>
                    <a:gd name="connsiteX84" fmla="*/ 440077 w 4519987"/>
                    <a:gd name="connsiteY84" fmla="*/ 904875 h 4429225"/>
                    <a:gd name="connsiteX85" fmla="*/ 478177 w 4519987"/>
                    <a:gd name="connsiteY85" fmla="*/ 857250 h 4429225"/>
                    <a:gd name="connsiteX86" fmla="*/ 497227 w 4519987"/>
                    <a:gd name="connsiteY86" fmla="*/ 828675 h 4429225"/>
                    <a:gd name="connsiteX87" fmla="*/ 535327 w 4519987"/>
                    <a:gd name="connsiteY87" fmla="*/ 800100 h 4429225"/>
                    <a:gd name="connsiteX88" fmla="*/ 602002 w 4519987"/>
                    <a:gd name="connsiteY88" fmla="*/ 733425 h 4429225"/>
                    <a:gd name="connsiteX89" fmla="*/ 668677 w 4519987"/>
                    <a:gd name="connsiteY89" fmla="*/ 676275 h 4429225"/>
                    <a:gd name="connsiteX90" fmla="*/ 697252 w 4519987"/>
                    <a:gd name="connsiteY90" fmla="*/ 657225 h 4429225"/>
                    <a:gd name="connsiteX91" fmla="*/ 840127 w 4519987"/>
                    <a:gd name="connsiteY91" fmla="*/ 533400 h 4429225"/>
                    <a:gd name="connsiteX92" fmla="*/ 887752 w 4519987"/>
                    <a:gd name="connsiteY92" fmla="*/ 504825 h 4429225"/>
                    <a:gd name="connsiteX93" fmla="*/ 1167152 w 4519987"/>
                    <a:gd name="connsiteY93" fmla="*/ 311150 h 4429225"/>
                    <a:gd name="connsiteX94" fmla="*/ 1268752 w 4519987"/>
                    <a:gd name="connsiteY94" fmla="*/ 285750 h 4429225"/>
                    <a:gd name="connsiteX95" fmla="*/ 1411627 w 4519987"/>
                    <a:gd name="connsiteY95" fmla="*/ 190500 h 4429225"/>
                    <a:gd name="connsiteX96" fmla="*/ 1449727 w 4519987"/>
                    <a:gd name="connsiteY96" fmla="*/ 161925 h 4429225"/>
                    <a:gd name="connsiteX97" fmla="*/ 1525927 w 4519987"/>
                    <a:gd name="connsiteY97" fmla="*/ 152400 h 4429225"/>
                    <a:gd name="connsiteX98" fmla="*/ 1583077 w 4519987"/>
                    <a:gd name="connsiteY98" fmla="*/ 142875 h 4429225"/>
                    <a:gd name="connsiteX99" fmla="*/ 1716427 w 4519987"/>
                    <a:gd name="connsiteY99" fmla="*/ 123825 h 4429225"/>
                    <a:gd name="connsiteX100" fmla="*/ 1811677 w 4519987"/>
                    <a:gd name="connsiteY100" fmla="*/ 114300 h 4429225"/>
                    <a:gd name="connsiteX101" fmla="*/ 1859302 w 4519987"/>
                    <a:gd name="connsiteY101" fmla="*/ 104775 h 4429225"/>
                    <a:gd name="connsiteX102" fmla="*/ 1916452 w 4519987"/>
                    <a:gd name="connsiteY102" fmla="*/ 95250 h 4429225"/>
                    <a:gd name="connsiteX103" fmla="*/ 2030752 w 4519987"/>
                    <a:gd name="connsiteY103" fmla="*/ 66675 h 4429225"/>
                    <a:gd name="connsiteX104" fmla="*/ 2097427 w 4519987"/>
                    <a:gd name="connsiteY104" fmla="*/ 47625 h 4429225"/>
                    <a:gd name="connsiteX105" fmla="*/ 2164102 w 4519987"/>
                    <a:gd name="connsiteY105" fmla="*/ 38100 h 4429225"/>
                    <a:gd name="connsiteX106" fmla="*/ 2392702 w 4519987"/>
                    <a:gd name="connsiteY10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525802 w 4519987"/>
                    <a:gd name="connsiteY52" fmla="*/ 3609975 h 4429225"/>
                    <a:gd name="connsiteX53" fmla="*/ 497227 w 4519987"/>
                    <a:gd name="connsiteY53" fmla="*/ 3552825 h 4429225"/>
                    <a:gd name="connsiteX54" fmla="*/ 440077 w 4519987"/>
                    <a:gd name="connsiteY54" fmla="*/ 3495675 h 4429225"/>
                    <a:gd name="connsiteX55" fmla="*/ 411502 w 4519987"/>
                    <a:gd name="connsiteY55" fmla="*/ 3448050 h 4429225"/>
                    <a:gd name="connsiteX56" fmla="*/ 278152 w 4519987"/>
                    <a:gd name="connsiteY56" fmla="*/ 3257550 h 4429225"/>
                    <a:gd name="connsiteX57" fmla="*/ 249577 w 4519987"/>
                    <a:gd name="connsiteY57" fmla="*/ 3200400 h 4429225"/>
                    <a:gd name="connsiteX58" fmla="*/ 240052 w 4519987"/>
                    <a:gd name="connsiteY58" fmla="*/ 3162300 h 4429225"/>
                    <a:gd name="connsiteX59" fmla="*/ 221002 w 4519987"/>
                    <a:gd name="connsiteY59" fmla="*/ 3105150 h 4429225"/>
                    <a:gd name="connsiteX60" fmla="*/ 173377 w 4519987"/>
                    <a:gd name="connsiteY60" fmla="*/ 3019425 h 4429225"/>
                    <a:gd name="connsiteX61" fmla="*/ 144802 w 4519987"/>
                    <a:gd name="connsiteY61" fmla="*/ 2924175 h 4429225"/>
                    <a:gd name="connsiteX62" fmla="*/ 68602 w 4519987"/>
                    <a:gd name="connsiteY62" fmla="*/ 2724150 h 4429225"/>
                    <a:gd name="connsiteX63" fmla="*/ 49552 w 4519987"/>
                    <a:gd name="connsiteY63" fmla="*/ 2638425 h 4429225"/>
                    <a:gd name="connsiteX64" fmla="*/ 40027 w 4519987"/>
                    <a:gd name="connsiteY64" fmla="*/ 2562225 h 4429225"/>
                    <a:gd name="connsiteX65" fmla="*/ 30502 w 4519987"/>
                    <a:gd name="connsiteY65" fmla="*/ 2514600 h 4429225"/>
                    <a:gd name="connsiteX66" fmla="*/ 11452 w 4519987"/>
                    <a:gd name="connsiteY66" fmla="*/ 2400300 h 4429225"/>
                    <a:gd name="connsiteX67" fmla="*/ 20977 w 4519987"/>
                    <a:gd name="connsiteY67" fmla="*/ 1905000 h 4429225"/>
                    <a:gd name="connsiteX68" fmla="*/ 30502 w 4519987"/>
                    <a:gd name="connsiteY68" fmla="*/ 1838325 h 4429225"/>
                    <a:gd name="connsiteX69" fmla="*/ 49552 w 4519987"/>
                    <a:gd name="connsiteY69" fmla="*/ 1781175 h 4429225"/>
                    <a:gd name="connsiteX70" fmla="*/ 59077 w 4519987"/>
                    <a:gd name="connsiteY70" fmla="*/ 1743075 h 4429225"/>
                    <a:gd name="connsiteX71" fmla="*/ 78127 w 4519987"/>
                    <a:gd name="connsiteY71" fmla="*/ 1685925 h 4429225"/>
                    <a:gd name="connsiteX72" fmla="*/ 87652 w 4519987"/>
                    <a:gd name="connsiteY72" fmla="*/ 1638300 h 4429225"/>
                    <a:gd name="connsiteX73" fmla="*/ 106702 w 4519987"/>
                    <a:gd name="connsiteY73" fmla="*/ 1590675 h 4429225"/>
                    <a:gd name="connsiteX74" fmla="*/ 135277 w 4519987"/>
                    <a:gd name="connsiteY74" fmla="*/ 1504950 h 4429225"/>
                    <a:gd name="connsiteX75" fmla="*/ 154327 w 4519987"/>
                    <a:gd name="connsiteY75" fmla="*/ 1419225 h 4429225"/>
                    <a:gd name="connsiteX76" fmla="*/ 230527 w 4519987"/>
                    <a:gd name="connsiteY76" fmla="*/ 1276350 h 4429225"/>
                    <a:gd name="connsiteX77" fmla="*/ 240052 w 4519987"/>
                    <a:gd name="connsiteY77" fmla="*/ 1247775 h 4429225"/>
                    <a:gd name="connsiteX78" fmla="*/ 268627 w 4519987"/>
                    <a:gd name="connsiteY78" fmla="*/ 1200150 h 4429225"/>
                    <a:gd name="connsiteX79" fmla="*/ 287677 w 4519987"/>
                    <a:gd name="connsiteY79" fmla="*/ 1152525 h 4429225"/>
                    <a:gd name="connsiteX80" fmla="*/ 316252 w 4519987"/>
                    <a:gd name="connsiteY80" fmla="*/ 1114425 h 4429225"/>
                    <a:gd name="connsiteX81" fmla="*/ 363877 w 4519987"/>
                    <a:gd name="connsiteY81" fmla="*/ 1038225 h 4429225"/>
                    <a:gd name="connsiteX82" fmla="*/ 382927 w 4519987"/>
                    <a:gd name="connsiteY82" fmla="*/ 1009650 h 4429225"/>
                    <a:gd name="connsiteX83" fmla="*/ 440077 w 4519987"/>
                    <a:gd name="connsiteY83" fmla="*/ 904875 h 4429225"/>
                    <a:gd name="connsiteX84" fmla="*/ 478177 w 4519987"/>
                    <a:gd name="connsiteY84" fmla="*/ 857250 h 4429225"/>
                    <a:gd name="connsiteX85" fmla="*/ 497227 w 4519987"/>
                    <a:gd name="connsiteY85" fmla="*/ 828675 h 4429225"/>
                    <a:gd name="connsiteX86" fmla="*/ 535327 w 4519987"/>
                    <a:gd name="connsiteY86" fmla="*/ 800100 h 4429225"/>
                    <a:gd name="connsiteX87" fmla="*/ 602002 w 4519987"/>
                    <a:gd name="connsiteY87" fmla="*/ 733425 h 4429225"/>
                    <a:gd name="connsiteX88" fmla="*/ 668677 w 4519987"/>
                    <a:gd name="connsiteY88" fmla="*/ 676275 h 4429225"/>
                    <a:gd name="connsiteX89" fmla="*/ 697252 w 4519987"/>
                    <a:gd name="connsiteY89" fmla="*/ 657225 h 4429225"/>
                    <a:gd name="connsiteX90" fmla="*/ 840127 w 4519987"/>
                    <a:gd name="connsiteY90" fmla="*/ 533400 h 4429225"/>
                    <a:gd name="connsiteX91" fmla="*/ 887752 w 4519987"/>
                    <a:gd name="connsiteY91" fmla="*/ 504825 h 4429225"/>
                    <a:gd name="connsiteX92" fmla="*/ 1167152 w 4519987"/>
                    <a:gd name="connsiteY92" fmla="*/ 311150 h 4429225"/>
                    <a:gd name="connsiteX93" fmla="*/ 1268752 w 4519987"/>
                    <a:gd name="connsiteY93" fmla="*/ 285750 h 4429225"/>
                    <a:gd name="connsiteX94" fmla="*/ 1411627 w 4519987"/>
                    <a:gd name="connsiteY94" fmla="*/ 190500 h 4429225"/>
                    <a:gd name="connsiteX95" fmla="*/ 1449727 w 4519987"/>
                    <a:gd name="connsiteY95" fmla="*/ 161925 h 4429225"/>
                    <a:gd name="connsiteX96" fmla="*/ 1525927 w 4519987"/>
                    <a:gd name="connsiteY96" fmla="*/ 152400 h 4429225"/>
                    <a:gd name="connsiteX97" fmla="*/ 1583077 w 4519987"/>
                    <a:gd name="connsiteY97" fmla="*/ 142875 h 4429225"/>
                    <a:gd name="connsiteX98" fmla="*/ 1716427 w 4519987"/>
                    <a:gd name="connsiteY98" fmla="*/ 123825 h 4429225"/>
                    <a:gd name="connsiteX99" fmla="*/ 1811677 w 4519987"/>
                    <a:gd name="connsiteY99" fmla="*/ 114300 h 4429225"/>
                    <a:gd name="connsiteX100" fmla="*/ 1859302 w 4519987"/>
                    <a:gd name="connsiteY100" fmla="*/ 104775 h 4429225"/>
                    <a:gd name="connsiteX101" fmla="*/ 1916452 w 4519987"/>
                    <a:gd name="connsiteY101" fmla="*/ 95250 h 4429225"/>
                    <a:gd name="connsiteX102" fmla="*/ 2030752 w 4519987"/>
                    <a:gd name="connsiteY102" fmla="*/ 66675 h 4429225"/>
                    <a:gd name="connsiteX103" fmla="*/ 2097427 w 4519987"/>
                    <a:gd name="connsiteY103" fmla="*/ 47625 h 4429225"/>
                    <a:gd name="connsiteX104" fmla="*/ 2164102 w 4519987"/>
                    <a:gd name="connsiteY104" fmla="*/ 38100 h 4429225"/>
                    <a:gd name="connsiteX105" fmla="*/ 2392702 w 4519987"/>
                    <a:gd name="connsiteY105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411502 w 4519987"/>
                    <a:gd name="connsiteY54" fmla="*/ 3448050 h 4429225"/>
                    <a:gd name="connsiteX55" fmla="*/ 278152 w 4519987"/>
                    <a:gd name="connsiteY55" fmla="*/ 3257550 h 4429225"/>
                    <a:gd name="connsiteX56" fmla="*/ 249577 w 4519987"/>
                    <a:gd name="connsiteY56" fmla="*/ 3200400 h 4429225"/>
                    <a:gd name="connsiteX57" fmla="*/ 240052 w 4519987"/>
                    <a:gd name="connsiteY57" fmla="*/ 3162300 h 4429225"/>
                    <a:gd name="connsiteX58" fmla="*/ 221002 w 4519987"/>
                    <a:gd name="connsiteY58" fmla="*/ 3105150 h 4429225"/>
                    <a:gd name="connsiteX59" fmla="*/ 173377 w 4519987"/>
                    <a:gd name="connsiteY59" fmla="*/ 3019425 h 4429225"/>
                    <a:gd name="connsiteX60" fmla="*/ 144802 w 4519987"/>
                    <a:gd name="connsiteY60" fmla="*/ 2924175 h 4429225"/>
                    <a:gd name="connsiteX61" fmla="*/ 68602 w 4519987"/>
                    <a:gd name="connsiteY61" fmla="*/ 2724150 h 4429225"/>
                    <a:gd name="connsiteX62" fmla="*/ 49552 w 4519987"/>
                    <a:gd name="connsiteY62" fmla="*/ 2638425 h 4429225"/>
                    <a:gd name="connsiteX63" fmla="*/ 40027 w 4519987"/>
                    <a:gd name="connsiteY63" fmla="*/ 2562225 h 4429225"/>
                    <a:gd name="connsiteX64" fmla="*/ 30502 w 4519987"/>
                    <a:gd name="connsiteY64" fmla="*/ 2514600 h 4429225"/>
                    <a:gd name="connsiteX65" fmla="*/ 11452 w 4519987"/>
                    <a:gd name="connsiteY65" fmla="*/ 2400300 h 4429225"/>
                    <a:gd name="connsiteX66" fmla="*/ 20977 w 4519987"/>
                    <a:gd name="connsiteY66" fmla="*/ 1905000 h 4429225"/>
                    <a:gd name="connsiteX67" fmla="*/ 30502 w 4519987"/>
                    <a:gd name="connsiteY67" fmla="*/ 1838325 h 4429225"/>
                    <a:gd name="connsiteX68" fmla="*/ 49552 w 4519987"/>
                    <a:gd name="connsiteY68" fmla="*/ 1781175 h 4429225"/>
                    <a:gd name="connsiteX69" fmla="*/ 59077 w 4519987"/>
                    <a:gd name="connsiteY69" fmla="*/ 1743075 h 4429225"/>
                    <a:gd name="connsiteX70" fmla="*/ 78127 w 4519987"/>
                    <a:gd name="connsiteY70" fmla="*/ 1685925 h 4429225"/>
                    <a:gd name="connsiteX71" fmla="*/ 87652 w 4519987"/>
                    <a:gd name="connsiteY71" fmla="*/ 1638300 h 4429225"/>
                    <a:gd name="connsiteX72" fmla="*/ 106702 w 4519987"/>
                    <a:gd name="connsiteY72" fmla="*/ 1590675 h 4429225"/>
                    <a:gd name="connsiteX73" fmla="*/ 135277 w 4519987"/>
                    <a:gd name="connsiteY73" fmla="*/ 1504950 h 4429225"/>
                    <a:gd name="connsiteX74" fmla="*/ 154327 w 4519987"/>
                    <a:gd name="connsiteY74" fmla="*/ 1419225 h 4429225"/>
                    <a:gd name="connsiteX75" fmla="*/ 230527 w 4519987"/>
                    <a:gd name="connsiteY75" fmla="*/ 1276350 h 4429225"/>
                    <a:gd name="connsiteX76" fmla="*/ 240052 w 4519987"/>
                    <a:gd name="connsiteY76" fmla="*/ 1247775 h 4429225"/>
                    <a:gd name="connsiteX77" fmla="*/ 268627 w 4519987"/>
                    <a:gd name="connsiteY77" fmla="*/ 1200150 h 4429225"/>
                    <a:gd name="connsiteX78" fmla="*/ 287677 w 4519987"/>
                    <a:gd name="connsiteY78" fmla="*/ 1152525 h 4429225"/>
                    <a:gd name="connsiteX79" fmla="*/ 316252 w 4519987"/>
                    <a:gd name="connsiteY79" fmla="*/ 1114425 h 4429225"/>
                    <a:gd name="connsiteX80" fmla="*/ 363877 w 4519987"/>
                    <a:gd name="connsiteY80" fmla="*/ 1038225 h 4429225"/>
                    <a:gd name="connsiteX81" fmla="*/ 382927 w 4519987"/>
                    <a:gd name="connsiteY81" fmla="*/ 1009650 h 4429225"/>
                    <a:gd name="connsiteX82" fmla="*/ 440077 w 4519987"/>
                    <a:gd name="connsiteY82" fmla="*/ 904875 h 4429225"/>
                    <a:gd name="connsiteX83" fmla="*/ 478177 w 4519987"/>
                    <a:gd name="connsiteY83" fmla="*/ 857250 h 4429225"/>
                    <a:gd name="connsiteX84" fmla="*/ 497227 w 4519987"/>
                    <a:gd name="connsiteY84" fmla="*/ 828675 h 4429225"/>
                    <a:gd name="connsiteX85" fmla="*/ 535327 w 4519987"/>
                    <a:gd name="connsiteY85" fmla="*/ 800100 h 4429225"/>
                    <a:gd name="connsiteX86" fmla="*/ 602002 w 4519987"/>
                    <a:gd name="connsiteY86" fmla="*/ 733425 h 4429225"/>
                    <a:gd name="connsiteX87" fmla="*/ 668677 w 4519987"/>
                    <a:gd name="connsiteY87" fmla="*/ 676275 h 4429225"/>
                    <a:gd name="connsiteX88" fmla="*/ 697252 w 4519987"/>
                    <a:gd name="connsiteY88" fmla="*/ 657225 h 4429225"/>
                    <a:gd name="connsiteX89" fmla="*/ 840127 w 4519987"/>
                    <a:gd name="connsiteY89" fmla="*/ 533400 h 4429225"/>
                    <a:gd name="connsiteX90" fmla="*/ 887752 w 4519987"/>
                    <a:gd name="connsiteY90" fmla="*/ 504825 h 4429225"/>
                    <a:gd name="connsiteX91" fmla="*/ 1167152 w 4519987"/>
                    <a:gd name="connsiteY91" fmla="*/ 311150 h 4429225"/>
                    <a:gd name="connsiteX92" fmla="*/ 1268752 w 4519987"/>
                    <a:gd name="connsiteY92" fmla="*/ 285750 h 4429225"/>
                    <a:gd name="connsiteX93" fmla="*/ 1411627 w 4519987"/>
                    <a:gd name="connsiteY93" fmla="*/ 190500 h 4429225"/>
                    <a:gd name="connsiteX94" fmla="*/ 1449727 w 4519987"/>
                    <a:gd name="connsiteY94" fmla="*/ 161925 h 4429225"/>
                    <a:gd name="connsiteX95" fmla="*/ 1525927 w 4519987"/>
                    <a:gd name="connsiteY95" fmla="*/ 152400 h 4429225"/>
                    <a:gd name="connsiteX96" fmla="*/ 1583077 w 4519987"/>
                    <a:gd name="connsiteY96" fmla="*/ 142875 h 4429225"/>
                    <a:gd name="connsiteX97" fmla="*/ 1716427 w 4519987"/>
                    <a:gd name="connsiteY97" fmla="*/ 123825 h 4429225"/>
                    <a:gd name="connsiteX98" fmla="*/ 1811677 w 4519987"/>
                    <a:gd name="connsiteY98" fmla="*/ 114300 h 4429225"/>
                    <a:gd name="connsiteX99" fmla="*/ 1859302 w 4519987"/>
                    <a:gd name="connsiteY99" fmla="*/ 104775 h 4429225"/>
                    <a:gd name="connsiteX100" fmla="*/ 1916452 w 4519987"/>
                    <a:gd name="connsiteY100" fmla="*/ 95250 h 4429225"/>
                    <a:gd name="connsiteX101" fmla="*/ 2030752 w 4519987"/>
                    <a:gd name="connsiteY101" fmla="*/ 66675 h 4429225"/>
                    <a:gd name="connsiteX102" fmla="*/ 2097427 w 4519987"/>
                    <a:gd name="connsiteY102" fmla="*/ 47625 h 4429225"/>
                    <a:gd name="connsiteX103" fmla="*/ 2164102 w 4519987"/>
                    <a:gd name="connsiteY103" fmla="*/ 38100 h 4429225"/>
                    <a:gd name="connsiteX104" fmla="*/ 2392702 w 4519987"/>
                    <a:gd name="connsiteY10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278152 w 4519987"/>
                    <a:gd name="connsiteY54" fmla="*/ 3257550 h 4429225"/>
                    <a:gd name="connsiteX55" fmla="*/ 249577 w 4519987"/>
                    <a:gd name="connsiteY55" fmla="*/ 3200400 h 4429225"/>
                    <a:gd name="connsiteX56" fmla="*/ 240052 w 4519987"/>
                    <a:gd name="connsiteY56" fmla="*/ 3162300 h 4429225"/>
                    <a:gd name="connsiteX57" fmla="*/ 221002 w 4519987"/>
                    <a:gd name="connsiteY57" fmla="*/ 3105150 h 4429225"/>
                    <a:gd name="connsiteX58" fmla="*/ 173377 w 4519987"/>
                    <a:gd name="connsiteY58" fmla="*/ 3019425 h 4429225"/>
                    <a:gd name="connsiteX59" fmla="*/ 144802 w 4519987"/>
                    <a:gd name="connsiteY59" fmla="*/ 2924175 h 4429225"/>
                    <a:gd name="connsiteX60" fmla="*/ 68602 w 4519987"/>
                    <a:gd name="connsiteY60" fmla="*/ 2724150 h 4429225"/>
                    <a:gd name="connsiteX61" fmla="*/ 49552 w 4519987"/>
                    <a:gd name="connsiteY61" fmla="*/ 2638425 h 4429225"/>
                    <a:gd name="connsiteX62" fmla="*/ 40027 w 4519987"/>
                    <a:gd name="connsiteY62" fmla="*/ 2562225 h 4429225"/>
                    <a:gd name="connsiteX63" fmla="*/ 30502 w 4519987"/>
                    <a:gd name="connsiteY63" fmla="*/ 2514600 h 4429225"/>
                    <a:gd name="connsiteX64" fmla="*/ 11452 w 4519987"/>
                    <a:gd name="connsiteY64" fmla="*/ 2400300 h 4429225"/>
                    <a:gd name="connsiteX65" fmla="*/ 20977 w 4519987"/>
                    <a:gd name="connsiteY65" fmla="*/ 1905000 h 4429225"/>
                    <a:gd name="connsiteX66" fmla="*/ 30502 w 4519987"/>
                    <a:gd name="connsiteY66" fmla="*/ 1838325 h 4429225"/>
                    <a:gd name="connsiteX67" fmla="*/ 49552 w 4519987"/>
                    <a:gd name="connsiteY67" fmla="*/ 1781175 h 4429225"/>
                    <a:gd name="connsiteX68" fmla="*/ 59077 w 4519987"/>
                    <a:gd name="connsiteY68" fmla="*/ 1743075 h 4429225"/>
                    <a:gd name="connsiteX69" fmla="*/ 78127 w 4519987"/>
                    <a:gd name="connsiteY69" fmla="*/ 1685925 h 4429225"/>
                    <a:gd name="connsiteX70" fmla="*/ 87652 w 4519987"/>
                    <a:gd name="connsiteY70" fmla="*/ 1638300 h 4429225"/>
                    <a:gd name="connsiteX71" fmla="*/ 106702 w 4519987"/>
                    <a:gd name="connsiteY71" fmla="*/ 1590675 h 4429225"/>
                    <a:gd name="connsiteX72" fmla="*/ 135277 w 4519987"/>
                    <a:gd name="connsiteY72" fmla="*/ 1504950 h 4429225"/>
                    <a:gd name="connsiteX73" fmla="*/ 154327 w 4519987"/>
                    <a:gd name="connsiteY73" fmla="*/ 1419225 h 4429225"/>
                    <a:gd name="connsiteX74" fmla="*/ 230527 w 4519987"/>
                    <a:gd name="connsiteY74" fmla="*/ 1276350 h 4429225"/>
                    <a:gd name="connsiteX75" fmla="*/ 240052 w 4519987"/>
                    <a:gd name="connsiteY75" fmla="*/ 1247775 h 4429225"/>
                    <a:gd name="connsiteX76" fmla="*/ 268627 w 4519987"/>
                    <a:gd name="connsiteY76" fmla="*/ 1200150 h 4429225"/>
                    <a:gd name="connsiteX77" fmla="*/ 287677 w 4519987"/>
                    <a:gd name="connsiteY77" fmla="*/ 1152525 h 4429225"/>
                    <a:gd name="connsiteX78" fmla="*/ 316252 w 4519987"/>
                    <a:gd name="connsiteY78" fmla="*/ 1114425 h 4429225"/>
                    <a:gd name="connsiteX79" fmla="*/ 363877 w 4519987"/>
                    <a:gd name="connsiteY79" fmla="*/ 1038225 h 4429225"/>
                    <a:gd name="connsiteX80" fmla="*/ 382927 w 4519987"/>
                    <a:gd name="connsiteY80" fmla="*/ 1009650 h 4429225"/>
                    <a:gd name="connsiteX81" fmla="*/ 440077 w 4519987"/>
                    <a:gd name="connsiteY81" fmla="*/ 904875 h 4429225"/>
                    <a:gd name="connsiteX82" fmla="*/ 478177 w 4519987"/>
                    <a:gd name="connsiteY82" fmla="*/ 857250 h 4429225"/>
                    <a:gd name="connsiteX83" fmla="*/ 497227 w 4519987"/>
                    <a:gd name="connsiteY83" fmla="*/ 828675 h 4429225"/>
                    <a:gd name="connsiteX84" fmla="*/ 535327 w 4519987"/>
                    <a:gd name="connsiteY84" fmla="*/ 800100 h 4429225"/>
                    <a:gd name="connsiteX85" fmla="*/ 602002 w 4519987"/>
                    <a:gd name="connsiteY85" fmla="*/ 733425 h 4429225"/>
                    <a:gd name="connsiteX86" fmla="*/ 668677 w 4519987"/>
                    <a:gd name="connsiteY86" fmla="*/ 676275 h 4429225"/>
                    <a:gd name="connsiteX87" fmla="*/ 697252 w 4519987"/>
                    <a:gd name="connsiteY87" fmla="*/ 657225 h 4429225"/>
                    <a:gd name="connsiteX88" fmla="*/ 840127 w 4519987"/>
                    <a:gd name="connsiteY88" fmla="*/ 533400 h 4429225"/>
                    <a:gd name="connsiteX89" fmla="*/ 887752 w 4519987"/>
                    <a:gd name="connsiteY89" fmla="*/ 504825 h 4429225"/>
                    <a:gd name="connsiteX90" fmla="*/ 1167152 w 4519987"/>
                    <a:gd name="connsiteY90" fmla="*/ 311150 h 4429225"/>
                    <a:gd name="connsiteX91" fmla="*/ 1268752 w 4519987"/>
                    <a:gd name="connsiteY91" fmla="*/ 285750 h 4429225"/>
                    <a:gd name="connsiteX92" fmla="*/ 1411627 w 4519987"/>
                    <a:gd name="connsiteY92" fmla="*/ 190500 h 4429225"/>
                    <a:gd name="connsiteX93" fmla="*/ 1449727 w 4519987"/>
                    <a:gd name="connsiteY93" fmla="*/ 161925 h 4429225"/>
                    <a:gd name="connsiteX94" fmla="*/ 1525927 w 4519987"/>
                    <a:gd name="connsiteY94" fmla="*/ 152400 h 4429225"/>
                    <a:gd name="connsiteX95" fmla="*/ 1583077 w 4519987"/>
                    <a:gd name="connsiteY95" fmla="*/ 142875 h 4429225"/>
                    <a:gd name="connsiteX96" fmla="*/ 1716427 w 4519987"/>
                    <a:gd name="connsiteY96" fmla="*/ 123825 h 4429225"/>
                    <a:gd name="connsiteX97" fmla="*/ 1811677 w 4519987"/>
                    <a:gd name="connsiteY97" fmla="*/ 114300 h 4429225"/>
                    <a:gd name="connsiteX98" fmla="*/ 1859302 w 4519987"/>
                    <a:gd name="connsiteY98" fmla="*/ 104775 h 4429225"/>
                    <a:gd name="connsiteX99" fmla="*/ 1916452 w 4519987"/>
                    <a:gd name="connsiteY99" fmla="*/ 95250 h 4429225"/>
                    <a:gd name="connsiteX100" fmla="*/ 2030752 w 4519987"/>
                    <a:gd name="connsiteY100" fmla="*/ 66675 h 4429225"/>
                    <a:gd name="connsiteX101" fmla="*/ 2097427 w 4519987"/>
                    <a:gd name="connsiteY101" fmla="*/ 47625 h 4429225"/>
                    <a:gd name="connsiteX102" fmla="*/ 2164102 w 4519987"/>
                    <a:gd name="connsiteY102" fmla="*/ 38100 h 4429225"/>
                    <a:gd name="connsiteX103" fmla="*/ 2392702 w 4519987"/>
                    <a:gd name="connsiteY10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40077 w 4519987"/>
                    <a:gd name="connsiteY52" fmla="*/ 3495675 h 4429225"/>
                    <a:gd name="connsiteX53" fmla="*/ 278152 w 4519987"/>
                    <a:gd name="connsiteY53" fmla="*/ 3257550 h 4429225"/>
                    <a:gd name="connsiteX54" fmla="*/ 249577 w 4519987"/>
                    <a:gd name="connsiteY54" fmla="*/ 3200400 h 4429225"/>
                    <a:gd name="connsiteX55" fmla="*/ 240052 w 4519987"/>
                    <a:gd name="connsiteY55" fmla="*/ 3162300 h 4429225"/>
                    <a:gd name="connsiteX56" fmla="*/ 221002 w 4519987"/>
                    <a:gd name="connsiteY56" fmla="*/ 3105150 h 4429225"/>
                    <a:gd name="connsiteX57" fmla="*/ 173377 w 4519987"/>
                    <a:gd name="connsiteY57" fmla="*/ 3019425 h 4429225"/>
                    <a:gd name="connsiteX58" fmla="*/ 144802 w 4519987"/>
                    <a:gd name="connsiteY58" fmla="*/ 2924175 h 4429225"/>
                    <a:gd name="connsiteX59" fmla="*/ 68602 w 4519987"/>
                    <a:gd name="connsiteY59" fmla="*/ 2724150 h 4429225"/>
                    <a:gd name="connsiteX60" fmla="*/ 49552 w 4519987"/>
                    <a:gd name="connsiteY60" fmla="*/ 2638425 h 4429225"/>
                    <a:gd name="connsiteX61" fmla="*/ 40027 w 4519987"/>
                    <a:gd name="connsiteY61" fmla="*/ 2562225 h 4429225"/>
                    <a:gd name="connsiteX62" fmla="*/ 30502 w 4519987"/>
                    <a:gd name="connsiteY62" fmla="*/ 2514600 h 4429225"/>
                    <a:gd name="connsiteX63" fmla="*/ 11452 w 4519987"/>
                    <a:gd name="connsiteY63" fmla="*/ 2400300 h 4429225"/>
                    <a:gd name="connsiteX64" fmla="*/ 20977 w 4519987"/>
                    <a:gd name="connsiteY64" fmla="*/ 1905000 h 4429225"/>
                    <a:gd name="connsiteX65" fmla="*/ 30502 w 4519987"/>
                    <a:gd name="connsiteY65" fmla="*/ 1838325 h 4429225"/>
                    <a:gd name="connsiteX66" fmla="*/ 49552 w 4519987"/>
                    <a:gd name="connsiteY66" fmla="*/ 1781175 h 4429225"/>
                    <a:gd name="connsiteX67" fmla="*/ 59077 w 4519987"/>
                    <a:gd name="connsiteY67" fmla="*/ 1743075 h 4429225"/>
                    <a:gd name="connsiteX68" fmla="*/ 78127 w 4519987"/>
                    <a:gd name="connsiteY68" fmla="*/ 1685925 h 4429225"/>
                    <a:gd name="connsiteX69" fmla="*/ 87652 w 4519987"/>
                    <a:gd name="connsiteY69" fmla="*/ 1638300 h 4429225"/>
                    <a:gd name="connsiteX70" fmla="*/ 106702 w 4519987"/>
                    <a:gd name="connsiteY70" fmla="*/ 1590675 h 4429225"/>
                    <a:gd name="connsiteX71" fmla="*/ 135277 w 4519987"/>
                    <a:gd name="connsiteY71" fmla="*/ 1504950 h 4429225"/>
                    <a:gd name="connsiteX72" fmla="*/ 154327 w 4519987"/>
                    <a:gd name="connsiteY72" fmla="*/ 1419225 h 4429225"/>
                    <a:gd name="connsiteX73" fmla="*/ 230527 w 4519987"/>
                    <a:gd name="connsiteY73" fmla="*/ 1276350 h 4429225"/>
                    <a:gd name="connsiteX74" fmla="*/ 240052 w 4519987"/>
                    <a:gd name="connsiteY74" fmla="*/ 1247775 h 4429225"/>
                    <a:gd name="connsiteX75" fmla="*/ 268627 w 4519987"/>
                    <a:gd name="connsiteY75" fmla="*/ 1200150 h 4429225"/>
                    <a:gd name="connsiteX76" fmla="*/ 287677 w 4519987"/>
                    <a:gd name="connsiteY76" fmla="*/ 1152525 h 4429225"/>
                    <a:gd name="connsiteX77" fmla="*/ 316252 w 4519987"/>
                    <a:gd name="connsiteY77" fmla="*/ 1114425 h 4429225"/>
                    <a:gd name="connsiteX78" fmla="*/ 363877 w 4519987"/>
                    <a:gd name="connsiteY78" fmla="*/ 1038225 h 4429225"/>
                    <a:gd name="connsiteX79" fmla="*/ 382927 w 4519987"/>
                    <a:gd name="connsiteY79" fmla="*/ 1009650 h 4429225"/>
                    <a:gd name="connsiteX80" fmla="*/ 440077 w 4519987"/>
                    <a:gd name="connsiteY80" fmla="*/ 904875 h 4429225"/>
                    <a:gd name="connsiteX81" fmla="*/ 478177 w 4519987"/>
                    <a:gd name="connsiteY81" fmla="*/ 857250 h 4429225"/>
                    <a:gd name="connsiteX82" fmla="*/ 497227 w 4519987"/>
                    <a:gd name="connsiteY82" fmla="*/ 828675 h 4429225"/>
                    <a:gd name="connsiteX83" fmla="*/ 535327 w 4519987"/>
                    <a:gd name="connsiteY83" fmla="*/ 800100 h 4429225"/>
                    <a:gd name="connsiteX84" fmla="*/ 602002 w 4519987"/>
                    <a:gd name="connsiteY84" fmla="*/ 733425 h 4429225"/>
                    <a:gd name="connsiteX85" fmla="*/ 668677 w 4519987"/>
                    <a:gd name="connsiteY85" fmla="*/ 676275 h 4429225"/>
                    <a:gd name="connsiteX86" fmla="*/ 697252 w 4519987"/>
                    <a:gd name="connsiteY86" fmla="*/ 657225 h 4429225"/>
                    <a:gd name="connsiteX87" fmla="*/ 840127 w 4519987"/>
                    <a:gd name="connsiteY87" fmla="*/ 533400 h 4429225"/>
                    <a:gd name="connsiteX88" fmla="*/ 887752 w 4519987"/>
                    <a:gd name="connsiteY88" fmla="*/ 504825 h 4429225"/>
                    <a:gd name="connsiteX89" fmla="*/ 1167152 w 4519987"/>
                    <a:gd name="connsiteY89" fmla="*/ 311150 h 4429225"/>
                    <a:gd name="connsiteX90" fmla="*/ 1268752 w 4519987"/>
                    <a:gd name="connsiteY90" fmla="*/ 285750 h 4429225"/>
                    <a:gd name="connsiteX91" fmla="*/ 1411627 w 4519987"/>
                    <a:gd name="connsiteY91" fmla="*/ 190500 h 4429225"/>
                    <a:gd name="connsiteX92" fmla="*/ 1449727 w 4519987"/>
                    <a:gd name="connsiteY92" fmla="*/ 161925 h 4429225"/>
                    <a:gd name="connsiteX93" fmla="*/ 1525927 w 4519987"/>
                    <a:gd name="connsiteY93" fmla="*/ 152400 h 4429225"/>
                    <a:gd name="connsiteX94" fmla="*/ 1583077 w 4519987"/>
                    <a:gd name="connsiteY94" fmla="*/ 142875 h 4429225"/>
                    <a:gd name="connsiteX95" fmla="*/ 1716427 w 4519987"/>
                    <a:gd name="connsiteY95" fmla="*/ 123825 h 4429225"/>
                    <a:gd name="connsiteX96" fmla="*/ 1811677 w 4519987"/>
                    <a:gd name="connsiteY96" fmla="*/ 114300 h 4429225"/>
                    <a:gd name="connsiteX97" fmla="*/ 1859302 w 4519987"/>
                    <a:gd name="connsiteY97" fmla="*/ 104775 h 4429225"/>
                    <a:gd name="connsiteX98" fmla="*/ 1916452 w 4519987"/>
                    <a:gd name="connsiteY98" fmla="*/ 95250 h 4429225"/>
                    <a:gd name="connsiteX99" fmla="*/ 2030752 w 4519987"/>
                    <a:gd name="connsiteY99" fmla="*/ 66675 h 4429225"/>
                    <a:gd name="connsiteX100" fmla="*/ 2097427 w 4519987"/>
                    <a:gd name="connsiteY100" fmla="*/ 47625 h 4429225"/>
                    <a:gd name="connsiteX101" fmla="*/ 2164102 w 4519987"/>
                    <a:gd name="connsiteY101" fmla="*/ 38100 h 4429225"/>
                    <a:gd name="connsiteX102" fmla="*/ 2392702 w 4519987"/>
                    <a:gd name="connsiteY10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40052 w 4519987"/>
                    <a:gd name="connsiteY54" fmla="*/ 3162300 h 4429225"/>
                    <a:gd name="connsiteX55" fmla="*/ 221002 w 4519987"/>
                    <a:gd name="connsiteY55" fmla="*/ 3105150 h 4429225"/>
                    <a:gd name="connsiteX56" fmla="*/ 173377 w 4519987"/>
                    <a:gd name="connsiteY56" fmla="*/ 3019425 h 4429225"/>
                    <a:gd name="connsiteX57" fmla="*/ 144802 w 4519987"/>
                    <a:gd name="connsiteY57" fmla="*/ 2924175 h 4429225"/>
                    <a:gd name="connsiteX58" fmla="*/ 68602 w 4519987"/>
                    <a:gd name="connsiteY58" fmla="*/ 2724150 h 4429225"/>
                    <a:gd name="connsiteX59" fmla="*/ 49552 w 4519987"/>
                    <a:gd name="connsiteY59" fmla="*/ 2638425 h 4429225"/>
                    <a:gd name="connsiteX60" fmla="*/ 40027 w 4519987"/>
                    <a:gd name="connsiteY60" fmla="*/ 2562225 h 4429225"/>
                    <a:gd name="connsiteX61" fmla="*/ 30502 w 4519987"/>
                    <a:gd name="connsiteY61" fmla="*/ 2514600 h 4429225"/>
                    <a:gd name="connsiteX62" fmla="*/ 11452 w 4519987"/>
                    <a:gd name="connsiteY62" fmla="*/ 2400300 h 4429225"/>
                    <a:gd name="connsiteX63" fmla="*/ 20977 w 4519987"/>
                    <a:gd name="connsiteY63" fmla="*/ 1905000 h 4429225"/>
                    <a:gd name="connsiteX64" fmla="*/ 30502 w 4519987"/>
                    <a:gd name="connsiteY64" fmla="*/ 1838325 h 4429225"/>
                    <a:gd name="connsiteX65" fmla="*/ 49552 w 4519987"/>
                    <a:gd name="connsiteY65" fmla="*/ 1781175 h 4429225"/>
                    <a:gd name="connsiteX66" fmla="*/ 59077 w 4519987"/>
                    <a:gd name="connsiteY66" fmla="*/ 1743075 h 4429225"/>
                    <a:gd name="connsiteX67" fmla="*/ 78127 w 4519987"/>
                    <a:gd name="connsiteY67" fmla="*/ 1685925 h 4429225"/>
                    <a:gd name="connsiteX68" fmla="*/ 87652 w 4519987"/>
                    <a:gd name="connsiteY68" fmla="*/ 1638300 h 4429225"/>
                    <a:gd name="connsiteX69" fmla="*/ 106702 w 4519987"/>
                    <a:gd name="connsiteY69" fmla="*/ 1590675 h 4429225"/>
                    <a:gd name="connsiteX70" fmla="*/ 135277 w 4519987"/>
                    <a:gd name="connsiteY70" fmla="*/ 1504950 h 4429225"/>
                    <a:gd name="connsiteX71" fmla="*/ 154327 w 4519987"/>
                    <a:gd name="connsiteY71" fmla="*/ 1419225 h 4429225"/>
                    <a:gd name="connsiteX72" fmla="*/ 230527 w 4519987"/>
                    <a:gd name="connsiteY72" fmla="*/ 1276350 h 4429225"/>
                    <a:gd name="connsiteX73" fmla="*/ 240052 w 4519987"/>
                    <a:gd name="connsiteY73" fmla="*/ 1247775 h 4429225"/>
                    <a:gd name="connsiteX74" fmla="*/ 268627 w 4519987"/>
                    <a:gd name="connsiteY74" fmla="*/ 1200150 h 4429225"/>
                    <a:gd name="connsiteX75" fmla="*/ 287677 w 4519987"/>
                    <a:gd name="connsiteY75" fmla="*/ 1152525 h 4429225"/>
                    <a:gd name="connsiteX76" fmla="*/ 316252 w 4519987"/>
                    <a:gd name="connsiteY76" fmla="*/ 1114425 h 4429225"/>
                    <a:gd name="connsiteX77" fmla="*/ 363877 w 4519987"/>
                    <a:gd name="connsiteY77" fmla="*/ 1038225 h 4429225"/>
                    <a:gd name="connsiteX78" fmla="*/ 382927 w 4519987"/>
                    <a:gd name="connsiteY78" fmla="*/ 1009650 h 4429225"/>
                    <a:gd name="connsiteX79" fmla="*/ 440077 w 4519987"/>
                    <a:gd name="connsiteY79" fmla="*/ 904875 h 4429225"/>
                    <a:gd name="connsiteX80" fmla="*/ 478177 w 4519987"/>
                    <a:gd name="connsiteY80" fmla="*/ 857250 h 4429225"/>
                    <a:gd name="connsiteX81" fmla="*/ 497227 w 4519987"/>
                    <a:gd name="connsiteY81" fmla="*/ 828675 h 4429225"/>
                    <a:gd name="connsiteX82" fmla="*/ 535327 w 4519987"/>
                    <a:gd name="connsiteY82" fmla="*/ 800100 h 4429225"/>
                    <a:gd name="connsiteX83" fmla="*/ 602002 w 4519987"/>
                    <a:gd name="connsiteY83" fmla="*/ 733425 h 4429225"/>
                    <a:gd name="connsiteX84" fmla="*/ 668677 w 4519987"/>
                    <a:gd name="connsiteY84" fmla="*/ 676275 h 4429225"/>
                    <a:gd name="connsiteX85" fmla="*/ 697252 w 4519987"/>
                    <a:gd name="connsiteY85" fmla="*/ 657225 h 4429225"/>
                    <a:gd name="connsiteX86" fmla="*/ 840127 w 4519987"/>
                    <a:gd name="connsiteY86" fmla="*/ 533400 h 4429225"/>
                    <a:gd name="connsiteX87" fmla="*/ 887752 w 4519987"/>
                    <a:gd name="connsiteY87" fmla="*/ 504825 h 4429225"/>
                    <a:gd name="connsiteX88" fmla="*/ 1167152 w 4519987"/>
                    <a:gd name="connsiteY88" fmla="*/ 311150 h 4429225"/>
                    <a:gd name="connsiteX89" fmla="*/ 1268752 w 4519987"/>
                    <a:gd name="connsiteY89" fmla="*/ 285750 h 4429225"/>
                    <a:gd name="connsiteX90" fmla="*/ 1411627 w 4519987"/>
                    <a:gd name="connsiteY90" fmla="*/ 190500 h 4429225"/>
                    <a:gd name="connsiteX91" fmla="*/ 1449727 w 4519987"/>
                    <a:gd name="connsiteY91" fmla="*/ 161925 h 4429225"/>
                    <a:gd name="connsiteX92" fmla="*/ 1525927 w 4519987"/>
                    <a:gd name="connsiteY92" fmla="*/ 152400 h 4429225"/>
                    <a:gd name="connsiteX93" fmla="*/ 1583077 w 4519987"/>
                    <a:gd name="connsiteY93" fmla="*/ 142875 h 4429225"/>
                    <a:gd name="connsiteX94" fmla="*/ 1716427 w 4519987"/>
                    <a:gd name="connsiteY94" fmla="*/ 123825 h 4429225"/>
                    <a:gd name="connsiteX95" fmla="*/ 1811677 w 4519987"/>
                    <a:gd name="connsiteY95" fmla="*/ 114300 h 4429225"/>
                    <a:gd name="connsiteX96" fmla="*/ 1859302 w 4519987"/>
                    <a:gd name="connsiteY96" fmla="*/ 104775 h 4429225"/>
                    <a:gd name="connsiteX97" fmla="*/ 1916452 w 4519987"/>
                    <a:gd name="connsiteY97" fmla="*/ 95250 h 4429225"/>
                    <a:gd name="connsiteX98" fmla="*/ 2030752 w 4519987"/>
                    <a:gd name="connsiteY98" fmla="*/ 66675 h 4429225"/>
                    <a:gd name="connsiteX99" fmla="*/ 2097427 w 4519987"/>
                    <a:gd name="connsiteY99" fmla="*/ 47625 h 4429225"/>
                    <a:gd name="connsiteX100" fmla="*/ 2164102 w 4519987"/>
                    <a:gd name="connsiteY100" fmla="*/ 38100 h 4429225"/>
                    <a:gd name="connsiteX101" fmla="*/ 2392702 w 4519987"/>
                    <a:gd name="connsiteY10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21002 w 4519987"/>
                    <a:gd name="connsiteY54" fmla="*/ 3105150 h 4429225"/>
                    <a:gd name="connsiteX55" fmla="*/ 173377 w 4519987"/>
                    <a:gd name="connsiteY55" fmla="*/ 3019425 h 4429225"/>
                    <a:gd name="connsiteX56" fmla="*/ 144802 w 4519987"/>
                    <a:gd name="connsiteY56" fmla="*/ 2924175 h 4429225"/>
                    <a:gd name="connsiteX57" fmla="*/ 68602 w 4519987"/>
                    <a:gd name="connsiteY57" fmla="*/ 2724150 h 4429225"/>
                    <a:gd name="connsiteX58" fmla="*/ 49552 w 4519987"/>
                    <a:gd name="connsiteY58" fmla="*/ 2638425 h 4429225"/>
                    <a:gd name="connsiteX59" fmla="*/ 40027 w 4519987"/>
                    <a:gd name="connsiteY59" fmla="*/ 2562225 h 4429225"/>
                    <a:gd name="connsiteX60" fmla="*/ 30502 w 4519987"/>
                    <a:gd name="connsiteY60" fmla="*/ 2514600 h 4429225"/>
                    <a:gd name="connsiteX61" fmla="*/ 11452 w 4519987"/>
                    <a:gd name="connsiteY61" fmla="*/ 2400300 h 4429225"/>
                    <a:gd name="connsiteX62" fmla="*/ 20977 w 4519987"/>
                    <a:gd name="connsiteY62" fmla="*/ 1905000 h 4429225"/>
                    <a:gd name="connsiteX63" fmla="*/ 30502 w 4519987"/>
                    <a:gd name="connsiteY63" fmla="*/ 1838325 h 4429225"/>
                    <a:gd name="connsiteX64" fmla="*/ 49552 w 4519987"/>
                    <a:gd name="connsiteY64" fmla="*/ 1781175 h 4429225"/>
                    <a:gd name="connsiteX65" fmla="*/ 59077 w 4519987"/>
                    <a:gd name="connsiteY65" fmla="*/ 1743075 h 4429225"/>
                    <a:gd name="connsiteX66" fmla="*/ 78127 w 4519987"/>
                    <a:gd name="connsiteY66" fmla="*/ 1685925 h 4429225"/>
                    <a:gd name="connsiteX67" fmla="*/ 87652 w 4519987"/>
                    <a:gd name="connsiteY67" fmla="*/ 1638300 h 4429225"/>
                    <a:gd name="connsiteX68" fmla="*/ 106702 w 4519987"/>
                    <a:gd name="connsiteY68" fmla="*/ 1590675 h 4429225"/>
                    <a:gd name="connsiteX69" fmla="*/ 135277 w 4519987"/>
                    <a:gd name="connsiteY69" fmla="*/ 1504950 h 4429225"/>
                    <a:gd name="connsiteX70" fmla="*/ 154327 w 4519987"/>
                    <a:gd name="connsiteY70" fmla="*/ 1419225 h 4429225"/>
                    <a:gd name="connsiteX71" fmla="*/ 230527 w 4519987"/>
                    <a:gd name="connsiteY71" fmla="*/ 1276350 h 4429225"/>
                    <a:gd name="connsiteX72" fmla="*/ 240052 w 4519987"/>
                    <a:gd name="connsiteY72" fmla="*/ 1247775 h 4429225"/>
                    <a:gd name="connsiteX73" fmla="*/ 268627 w 4519987"/>
                    <a:gd name="connsiteY73" fmla="*/ 1200150 h 4429225"/>
                    <a:gd name="connsiteX74" fmla="*/ 287677 w 4519987"/>
                    <a:gd name="connsiteY74" fmla="*/ 1152525 h 4429225"/>
                    <a:gd name="connsiteX75" fmla="*/ 316252 w 4519987"/>
                    <a:gd name="connsiteY75" fmla="*/ 1114425 h 4429225"/>
                    <a:gd name="connsiteX76" fmla="*/ 363877 w 4519987"/>
                    <a:gd name="connsiteY76" fmla="*/ 1038225 h 4429225"/>
                    <a:gd name="connsiteX77" fmla="*/ 382927 w 4519987"/>
                    <a:gd name="connsiteY77" fmla="*/ 1009650 h 4429225"/>
                    <a:gd name="connsiteX78" fmla="*/ 440077 w 4519987"/>
                    <a:gd name="connsiteY78" fmla="*/ 904875 h 4429225"/>
                    <a:gd name="connsiteX79" fmla="*/ 478177 w 4519987"/>
                    <a:gd name="connsiteY79" fmla="*/ 857250 h 4429225"/>
                    <a:gd name="connsiteX80" fmla="*/ 497227 w 4519987"/>
                    <a:gd name="connsiteY80" fmla="*/ 828675 h 4429225"/>
                    <a:gd name="connsiteX81" fmla="*/ 535327 w 4519987"/>
                    <a:gd name="connsiteY81" fmla="*/ 800100 h 4429225"/>
                    <a:gd name="connsiteX82" fmla="*/ 602002 w 4519987"/>
                    <a:gd name="connsiteY82" fmla="*/ 733425 h 4429225"/>
                    <a:gd name="connsiteX83" fmla="*/ 668677 w 4519987"/>
                    <a:gd name="connsiteY83" fmla="*/ 676275 h 4429225"/>
                    <a:gd name="connsiteX84" fmla="*/ 697252 w 4519987"/>
                    <a:gd name="connsiteY84" fmla="*/ 657225 h 4429225"/>
                    <a:gd name="connsiteX85" fmla="*/ 840127 w 4519987"/>
                    <a:gd name="connsiteY85" fmla="*/ 533400 h 4429225"/>
                    <a:gd name="connsiteX86" fmla="*/ 887752 w 4519987"/>
                    <a:gd name="connsiteY86" fmla="*/ 504825 h 4429225"/>
                    <a:gd name="connsiteX87" fmla="*/ 1167152 w 4519987"/>
                    <a:gd name="connsiteY87" fmla="*/ 311150 h 4429225"/>
                    <a:gd name="connsiteX88" fmla="*/ 1268752 w 4519987"/>
                    <a:gd name="connsiteY88" fmla="*/ 285750 h 4429225"/>
                    <a:gd name="connsiteX89" fmla="*/ 1411627 w 4519987"/>
                    <a:gd name="connsiteY89" fmla="*/ 190500 h 4429225"/>
                    <a:gd name="connsiteX90" fmla="*/ 1449727 w 4519987"/>
                    <a:gd name="connsiteY90" fmla="*/ 161925 h 4429225"/>
                    <a:gd name="connsiteX91" fmla="*/ 1525927 w 4519987"/>
                    <a:gd name="connsiteY91" fmla="*/ 152400 h 4429225"/>
                    <a:gd name="connsiteX92" fmla="*/ 1583077 w 4519987"/>
                    <a:gd name="connsiteY92" fmla="*/ 142875 h 4429225"/>
                    <a:gd name="connsiteX93" fmla="*/ 1716427 w 4519987"/>
                    <a:gd name="connsiteY93" fmla="*/ 123825 h 4429225"/>
                    <a:gd name="connsiteX94" fmla="*/ 1811677 w 4519987"/>
                    <a:gd name="connsiteY94" fmla="*/ 114300 h 4429225"/>
                    <a:gd name="connsiteX95" fmla="*/ 1859302 w 4519987"/>
                    <a:gd name="connsiteY95" fmla="*/ 104775 h 4429225"/>
                    <a:gd name="connsiteX96" fmla="*/ 1916452 w 4519987"/>
                    <a:gd name="connsiteY96" fmla="*/ 95250 h 4429225"/>
                    <a:gd name="connsiteX97" fmla="*/ 2030752 w 4519987"/>
                    <a:gd name="connsiteY97" fmla="*/ 66675 h 4429225"/>
                    <a:gd name="connsiteX98" fmla="*/ 2097427 w 4519987"/>
                    <a:gd name="connsiteY98" fmla="*/ 47625 h 4429225"/>
                    <a:gd name="connsiteX99" fmla="*/ 2164102 w 4519987"/>
                    <a:gd name="connsiteY99" fmla="*/ 38100 h 4429225"/>
                    <a:gd name="connsiteX100" fmla="*/ 2392702 w 4519987"/>
                    <a:gd name="connsiteY10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73377 w 4519987"/>
                    <a:gd name="connsiteY54" fmla="*/ 3019425 h 4429225"/>
                    <a:gd name="connsiteX55" fmla="*/ 144802 w 4519987"/>
                    <a:gd name="connsiteY55" fmla="*/ 2924175 h 4429225"/>
                    <a:gd name="connsiteX56" fmla="*/ 68602 w 4519987"/>
                    <a:gd name="connsiteY56" fmla="*/ 2724150 h 4429225"/>
                    <a:gd name="connsiteX57" fmla="*/ 49552 w 4519987"/>
                    <a:gd name="connsiteY57" fmla="*/ 2638425 h 4429225"/>
                    <a:gd name="connsiteX58" fmla="*/ 40027 w 4519987"/>
                    <a:gd name="connsiteY58" fmla="*/ 2562225 h 4429225"/>
                    <a:gd name="connsiteX59" fmla="*/ 30502 w 4519987"/>
                    <a:gd name="connsiteY59" fmla="*/ 2514600 h 4429225"/>
                    <a:gd name="connsiteX60" fmla="*/ 11452 w 4519987"/>
                    <a:gd name="connsiteY60" fmla="*/ 2400300 h 4429225"/>
                    <a:gd name="connsiteX61" fmla="*/ 20977 w 4519987"/>
                    <a:gd name="connsiteY61" fmla="*/ 1905000 h 4429225"/>
                    <a:gd name="connsiteX62" fmla="*/ 30502 w 4519987"/>
                    <a:gd name="connsiteY62" fmla="*/ 1838325 h 4429225"/>
                    <a:gd name="connsiteX63" fmla="*/ 49552 w 4519987"/>
                    <a:gd name="connsiteY63" fmla="*/ 1781175 h 4429225"/>
                    <a:gd name="connsiteX64" fmla="*/ 59077 w 4519987"/>
                    <a:gd name="connsiteY64" fmla="*/ 1743075 h 4429225"/>
                    <a:gd name="connsiteX65" fmla="*/ 78127 w 4519987"/>
                    <a:gd name="connsiteY65" fmla="*/ 1685925 h 4429225"/>
                    <a:gd name="connsiteX66" fmla="*/ 87652 w 4519987"/>
                    <a:gd name="connsiteY66" fmla="*/ 1638300 h 4429225"/>
                    <a:gd name="connsiteX67" fmla="*/ 106702 w 4519987"/>
                    <a:gd name="connsiteY67" fmla="*/ 1590675 h 4429225"/>
                    <a:gd name="connsiteX68" fmla="*/ 135277 w 4519987"/>
                    <a:gd name="connsiteY68" fmla="*/ 1504950 h 4429225"/>
                    <a:gd name="connsiteX69" fmla="*/ 154327 w 4519987"/>
                    <a:gd name="connsiteY69" fmla="*/ 1419225 h 4429225"/>
                    <a:gd name="connsiteX70" fmla="*/ 230527 w 4519987"/>
                    <a:gd name="connsiteY70" fmla="*/ 1276350 h 4429225"/>
                    <a:gd name="connsiteX71" fmla="*/ 240052 w 4519987"/>
                    <a:gd name="connsiteY71" fmla="*/ 1247775 h 4429225"/>
                    <a:gd name="connsiteX72" fmla="*/ 268627 w 4519987"/>
                    <a:gd name="connsiteY72" fmla="*/ 1200150 h 4429225"/>
                    <a:gd name="connsiteX73" fmla="*/ 287677 w 4519987"/>
                    <a:gd name="connsiteY73" fmla="*/ 1152525 h 4429225"/>
                    <a:gd name="connsiteX74" fmla="*/ 316252 w 4519987"/>
                    <a:gd name="connsiteY74" fmla="*/ 1114425 h 4429225"/>
                    <a:gd name="connsiteX75" fmla="*/ 363877 w 4519987"/>
                    <a:gd name="connsiteY75" fmla="*/ 1038225 h 4429225"/>
                    <a:gd name="connsiteX76" fmla="*/ 382927 w 4519987"/>
                    <a:gd name="connsiteY76" fmla="*/ 1009650 h 4429225"/>
                    <a:gd name="connsiteX77" fmla="*/ 440077 w 4519987"/>
                    <a:gd name="connsiteY77" fmla="*/ 904875 h 4429225"/>
                    <a:gd name="connsiteX78" fmla="*/ 478177 w 4519987"/>
                    <a:gd name="connsiteY78" fmla="*/ 857250 h 4429225"/>
                    <a:gd name="connsiteX79" fmla="*/ 497227 w 4519987"/>
                    <a:gd name="connsiteY79" fmla="*/ 828675 h 4429225"/>
                    <a:gd name="connsiteX80" fmla="*/ 535327 w 4519987"/>
                    <a:gd name="connsiteY80" fmla="*/ 800100 h 4429225"/>
                    <a:gd name="connsiteX81" fmla="*/ 602002 w 4519987"/>
                    <a:gd name="connsiteY81" fmla="*/ 733425 h 4429225"/>
                    <a:gd name="connsiteX82" fmla="*/ 668677 w 4519987"/>
                    <a:gd name="connsiteY82" fmla="*/ 676275 h 4429225"/>
                    <a:gd name="connsiteX83" fmla="*/ 697252 w 4519987"/>
                    <a:gd name="connsiteY83" fmla="*/ 657225 h 4429225"/>
                    <a:gd name="connsiteX84" fmla="*/ 840127 w 4519987"/>
                    <a:gd name="connsiteY84" fmla="*/ 533400 h 4429225"/>
                    <a:gd name="connsiteX85" fmla="*/ 887752 w 4519987"/>
                    <a:gd name="connsiteY85" fmla="*/ 504825 h 4429225"/>
                    <a:gd name="connsiteX86" fmla="*/ 1167152 w 4519987"/>
                    <a:gd name="connsiteY86" fmla="*/ 311150 h 4429225"/>
                    <a:gd name="connsiteX87" fmla="*/ 1268752 w 4519987"/>
                    <a:gd name="connsiteY87" fmla="*/ 285750 h 4429225"/>
                    <a:gd name="connsiteX88" fmla="*/ 1411627 w 4519987"/>
                    <a:gd name="connsiteY88" fmla="*/ 190500 h 4429225"/>
                    <a:gd name="connsiteX89" fmla="*/ 1449727 w 4519987"/>
                    <a:gd name="connsiteY89" fmla="*/ 161925 h 4429225"/>
                    <a:gd name="connsiteX90" fmla="*/ 1525927 w 4519987"/>
                    <a:gd name="connsiteY90" fmla="*/ 152400 h 4429225"/>
                    <a:gd name="connsiteX91" fmla="*/ 1583077 w 4519987"/>
                    <a:gd name="connsiteY91" fmla="*/ 142875 h 4429225"/>
                    <a:gd name="connsiteX92" fmla="*/ 1716427 w 4519987"/>
                    <a:gd name="connsiteY92" fmla="*/ 123825 h 4429225"/>
                    <a:gd name="connsiteX93" fmla="*/ 1811677 w 4519987"/>
                    <a:gd name="connsiteY93" fmla="*/ 114300 h 4429225"/>
                    <a:gd name="connsiteX94" fmla="*/ 1859302 w 4519987"/>
                    <a:gd name="connsiteY94" fmla="*/ 104775 h 4429225"/>
                    <a:gd name="connsiteX95" fmla="*/ 1916452 w 4519987"/>
                    <a:gd name="connsiteY95" fmla="*/ 95250 h 4429225"/>
                    <a:gd name="connsiteX96" fmla="*/ 2030752 w 4519987"/>
                    <a:gd name="connsiteY96" fmla="*/ 66675 h 4429225"/>
                    <a:gd name="connsiteX97" fmla="*/ 2097427 w 4519987"/>
                    <a:gd name="connsiteY97" fmla="*/ 47625 h 4429225"/>
                    <a:gd name="connsiteX98" fmla="*/ 2164102 w 4519987"/>
                    <a:gd name="connsiteY98" fmla="*/ 38100 h 4429225"/>
                    <a:gd name="connsiteX99" fmla="*/ 2392702 w 4519987"/>
                    <a:gd name="connsiteY9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9552 w 4519987"/>
                    <a:gd name="connsiteY56" fmla="*/ 2638425 h 4429225"/>
                    <a:gd name="connsiteX57" fmla="*/ 40027 w 4519987"/>
                    <a:gd name="connsiteY57" fmla="*/ 2562225 h 4429225"/>
                    <a:gd name="connsiteX58" fmla="*/ 30502 w 4519987"/>
                    <a:gd name="connsiteY58" fmla="*/ 2514600 h 4429225"/>
                    <a:gd name="connsiteX59" fmla="*/ 11452 w 4519987"/>
                    <a:gd name="connsiteY59" fmla="*/ 2400300 h 4429225"/>
                    <a:gd name="connsiteX60" fmla="*/ 20977 w 4519987"/>
                    <a:gd name="connsiteY60" fmla="*/ 1905000 h 4429225"/>
                    <a:gd name="connsiteX61" fmla="*/ 30502 w 4519987"/>
                    <a:gd name="connsiteY61" fmla="*/ 1838325 h 4429225"/>
                    <a:gd name="connsiteX62" fmla="*/ 49552 w 4519987"/>
                    <a:gd name="connsiteY62" fmla="*/ 1781175 h 4429225"/>
                    <a:gd name="connsiteX63" fmla="*/ 59077 w 4519987"/>
                    <a:gd name="connsiteY63" fmla="*/ 1743075 h 4429225"/>
                    <a:gd name="connsiteX64" fmla="*/ 78127 w 4519987"/>
                    <a:gd name="connsiteY64" fmla="*/ 1685925 h 4429225"/>
                    <a:gd name="connsiteX65" fmla="*/ 87652 w 4519987"/>
                    <a:gd name="connsiteY65" fmla="*/ 1638300 h 4429225"/>
                    <a:gd name="connsiteX66" fmla="*/ 106702 w 4519987"/>
                    <a:gd name="connsiteY66" fmla="*/ 1590675 h 4429225"/>
                    <a:gd name="connsiteX67" fmla="*/ 135277 w 4519987"/>
                    <a:gd name="connsiteY67" fmla="*/ 1504950 h 4429225"/>
                    <a:gd name="connsiteX68" fmla="*/ 154327 w 4519987"/>
                    <a:gd name="connsiteY68" fmla="*/ 1419225 h 4429225"/>
                    <a:gd name="connsiteX69" fmla="*/ 230527 w 4519987"/>
                    <a:gd name="connsiteY69" fmla="*/ 1276350 h 4429225"/>
                    <a:gd name="connsiteX70" fmla="*/ 240052 w 4519987"/>
                    <a:gd name="connsiteY70" fmla="*/ 1247775 h 4429225"/>
                    <a:gd name="connsiteX71" fmla="*/ 268627 w 4519987"/>
                    <a:gd name="connsiteY71" fmla="*/ 1200150 h 4429225"/>
                    <a:gd name="connsiteX72" fmla="*/ 287677 w 4519987"/>
                    <a:gd name="connsiteY72" fmla="*/ 1152525 h 4429225"/>
                    <a:gd name="connsiteX73" fmla="*/ 316252 w 4519987"/>
                    <a:gd name="connsiteY73" fmla="*/ 1114425 h 4429225"/>
                    <a:gd name="connsiteX74" fmla="*/ 363877 w 4519987"/>
                    <a:gd name="connsiteY74" fmla="*/ 1038225 h 4429225"/>
                    <a:gd name="connsiteX75" fmla="*/ 382927 w 4519987"/>
                    <a:gd name="connsiteY75" fmla="*/ 1009650 h 4429225"/>
                    <a:gd name="connsiteX76" fmla="*/ 440077 w 4519987"/>
                    <a:gd name="connsiteY76" fmla="*/ 904875 h 4429225"/>
                    <a:gd name="connsiteX77" fmla="*/ 478177 w 4519987"/>
                    <a:gd name="connsiteY77" fmla="*/ 857250 h 4429225"/>
                    <a:gd name="connsiteX78" fmla="*/ 497227 w 4519987"/>
                    <a:gd name="connsiteY78" fmla="*/ 828675 h 4429225"/>
                    <a:gd name="connsiteX79" fmla="*/ 535327 w 4519987"/>
                    <a:gd name="connsiteY79" fmla="*/ 800100 h 4429225"/>
                    <a:gd name="connsiteX80" fmla="*/ 602002 w 4519987"/>
                    <a:gd name="connsiteY80" fmla="*/ 733425 h 4429225"/>
                    <a:gd name="connsiteX81" fmla="*/ 668677 w 4519987"/>
                    <a:gd name="connsiteY81" fmla="*/ 676275 h 4429225"/>
                    <a:gd name="connsiteX82" fmla="*/ 697252 w 4519987"/>
                    <a:gd name="connsiteY82" fmla="*/ 657225 h 4429225"/>
                    <a:gd name="connsiteX83" fmla="*/ 840127 w 4519987"/>
                    <a:gd name="connsiteY83" fmla="*/ 533400 h 4429225"/>
                    <a:gd name="connsiteX84" fmla="*/ 887752 w 4519987"/>
                    <a:gd name="connsiteY84" fmla="*/ 504825 h 4429225"/>
                    <a:gd name="connsiteX85" fmla="*/ 1167152 w 4519987"/>
                    <a:gd name="connsiteY85" fmla="*/ 311150 h 4429225"/>
                    <a:gd name="connsiteX86" fmla="*/ 1268752 w 4519987"/>
                    <a:gd name="connsiteY86" fmla="*/ 285750 h 4429225"/>
                    <a:gd name="connsiteX87" fmla="*/ 1411627 w 4519987"/>
                    <a:gd name="connsiteY87" fmla="*/ 190500 h 4429225"/>
                    <a:gd name="connsiteX88" fmla="*/ 1449727 w 4519987"/>
                    <a:gd name="connsiteY88" fmla="*/ 161925 h 4429225"/>
                    <a:gd name="connsiteX89" fmla="*/ 1525927 w 4519987"/>
                    <a:gd name="connsiteY89" fmla="*/ 152400 h 4429225"/>
                    <a:gd name="connsiteX90" fmla="*/ 1583077 w 4519987"/>
                    <a:gd name="connsiteY90" fmla="*/ 142875 h 4429225"/>
                    <a:gd name="connsiteX91" fmla="*/ 1716427 w 4519987"/>
                    <a:gd name="connsiteY91" fmla="*/ 123825 h 4429225"/>
                    <a:gd name="connsiteX92" fmla="*/ 1811677 w 4519987"/>
                    <a:gd name="connsiteY92" fmla="*/ 114300 h 4429225"/>
                    <a:gd name="connsiteX93" fmla="*/ 1859302 w 4519987"/>
                    <a:gd name="connsiteY93" fmla="*/ 104775 h 4429225"/>
                    <a:gd name="connsiteX94" fmla="*/ 1916452 w 4519987"/>
                    <a:gd name="connsiteY94" fmla="*/ 95250 h 4429225"/>
                    <a:gd name="connsiteX95" fmla="*/ 2030752 w 4519987"/>
                    <a:gd name="connsiteY95" fmla="*/ 66675 h 4429225"/>
                    <a:gd name="connsiteX96" fmla="*/ 2097427 w 4519987"/>
                    <a:gd name="connsiteY96" fmla="*/ 47625 h 4429225"/>
                    <a:gd name="connsiteX97" fmla="*/ 2164102 w 4519987"/>
                    <a:gd name="connsiteY97" fmla="*/ 38100 h 4429225"/>
                    <a:gd name="connsiteX98" fmla="*/ 2392702 w 4519987"/>
                    <a:gd name="connsiteY9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30502 w 4519987"/>
                    <a:gd name="connsiteY57" fmla="*/ 2514600 h 4429225"/>
                    <a:gd name="connsiteX58" fmla="*/ 11452 w 4519987"/>
                    <a:gd name="connsiteY58" fmla="*/ 2400300 h 4429225"/>
                    <a:gd name="connsiteX59" fmla="*/ 20977 w 4519987"/>
                    <a:gd name="connsiteY59" fmla="*/ 1905000 h 4429225"/>
                    <a:gd name="connsiteX60" fmla="*/ 30502 w 4519987"/>
                    <a:gd name="connsiteY60" fmla="*/ 1838325 h 4429225"/>
                    <a:gd name="connsiteX61" fmla="*/ 49552 w 4519987"/>
                    <a:gd name="connsiteY61" fmla="*/ 1781175 h 4429225"/>
                    <a:gd name="connsiteX62" fmla="*/ 59077 w 4519987"/>
                    <a:gd name="connsiteY62" fmla="*/ 1743075 h 4429225"/>
                    <a:gd name="connsiteX63" fmla="*/ 78127 w 4519987"/>
                    <a:gd name="connsiteY63" fmla="*/ 1685925 h 4429225"/>
                    <a:gd name="connsiteX64" fmla="*/ 87652 w 4519987"/>
                    <a:gd name="connsiteY64" fmla="*/ 1638300 h 4429225"/>
                    <a:gd name="connsiteX65" fmla="*/ 106702 w 4519987"/>
                    <a:gd name="connsiteY65" fmla="*/ 1590675 h 4429225"/>
                    <a:gd name="connsiteX66" fmla="*/ 135277 w 4519987"/>
                    <a:gd name="connsiteY66" fmla="*/ 1504950 h 4429225"/>
                    <a:gd name="connsiteX67" fmla="*/ 154327 w 4519987"/>
                    <a:gd name="connsiteY67" fmla="*/ 1419225 h 4429225"/>
                    <a:gd name="connsiteX68" fmla="*/ 230527 w 4519987"/>
                    <a:gd name="connsiteY68" fmla="*/ 1276350 h 4429225"/>
                    <a:gd name="connsiteX69" fmla="*/ 240052 w 4519987"/>
                    <a:gd name="connsiteY69" fmla="*/ 1247775 h 4429225"/>
                    <a:gd name="connsiteX70" fmla="*/ 268627 w 4519987"/>
                    <a:gd name="connsiteY70" fmla="*/ 1200150 h 4429225"/>
                    <a:gd name="connsiteX71" fmla="*/ 287677 w 4519987"/>
                    <a:gd name="connsiteY71" fmla="*/ 1152525 h 4429225"/>
                    <a:gd name="connsiteX72" fmla="*/ 316252 w 4519987"/>
                    <a:gd name="connsiteY72" fmla="*/ 1114425 h 4429225"/>
                    <a:gd name="connsiteX73" fmla="*/ 363877 w 4519987"/>
                    <a:gd name="connsiteY73" fmla="*/ 1038225 h 4429225"/>
                    <a:gd name="connsiteX74" fmla="*/ 382927 w 4519987"/>
                    <a:gd name="connsiteY74" fmla="*/ 1009650 h 4429225"/>
                    <a:gd name="connsiteX75" fmla="*/ 440077 w 4519987"/>
                    <a:gd name="connsiteY75" fmla="*/ 904875 h 4429225"/>
                    <a:gd name="connsiteX76" fmla="*/ 478177 w 4519987"/>
                    <a:gd name="connsiteY76" fmla="*/ 857250 h 4429225"/>
                    <a:gd name="connsiteX77" fmla="*/ 497227 w 4519987"/>
                    <a:gd name="connsiteY77" fmla="*/ 828675 h 4429225"/>
                    <a:gd name="connsiteX78" fmla="*/ 535327 w 4519987"/>
                    <a:gd name="connsiteY78" fmla="*/ 800100 h 4429225"/>
                    <a:gd name="connsiteX79" fmla="*/ 602002 w 4519987"/>
                    <a:gd name="connsiteY79" fmla="*/ 733425 h 4429225"/>
                    <a:gd name="connsiteX80" fmla="*/ 668677 w 4519987"/>
                    <a:gd name="connsiteY80" fmla="*/ 676275 h 4429225"/>
                    <a:gd name="connsiteX81" fmla="*/ 697252 w 4519987"/>
                    <a:gd name="connsiteY81" fmla="*/ 657225 h 4429225"/>
                    <a:gd name="connsiteX82" fmla="*/ 840127 w 4519987"/>
                    <a:gd name="connsiteY82" fmla="*/ 533400 h 4429225"/>
                    <a:gd name="connsiteX83" fmla="*/ 887752 w 4519987"/>
                    <a:gd name="connsiteY83" fmla="*/ 504825 h 4429225"/>
                    <a:gd name="connsiteX84" fmla="*/ 1167152 w 4519987"/>
                    <a:gd name="connsiteY84" fmla="*/ 311150 h 4429225"/>
                    <a:gd name="connsiteX85" fmla="*/ 1268752 w 4519987"/>
                    <a:gd name="connsiteY85" fmla="*/ 285750 h 4429225"/>
                    <a:gd name="connsiteX86" fmla="*/ 1411627 w 4519987"/>
                    <a:gd name="connsiteY86" fmla="*/ 190500 h 4429225"/>
                    <a:gd name="connsiteX87" fmla="*/ 1449727 w 4519987"/>
                    <a:gd name="connsiteY87" fmla="*/ 161925 h 4429225"/>
                    <a:gd name="connsiteX88" fmla="*/ 1525927 w 4519987"/>
                    <a:gd name="connsiteY88" fmla="*/ 152400 h 4429225"/>
                    <a:gd name="connsiteX89" fmla="*/ 1583077 w 4519987"/>
                    <a:gd name="connsiteY89" fmla="*/ 142875 h 4429225"/>
                    <a:gd name="connsiteX90" fmla="*/ 1716427 w 4519987"/>
                    <a:gd name="connsiteY90" fmla="*/ 123825 h 4429225"/>
                    <a:gd name="connsiteX91" fmla="*/ 1811677 w 4519987"/>
                    <a:gd name="connsiteY91" fmla="*/ 114300 h 4429225"/>
                    <a:gd name="connsiteX92" fmla="*/ 1859302 w 4519987"/>
                    <a:gd name="connsiteY92" fmla="*/ 104775 h 4429225"/>
                    <a:gd name="connsiteX93" fmla="*/ 1916452 w 4519987"/>
                    <a:gd name="connsiteY93" fmla="*/ 95250 h 4429225"/>
                    <a:gd name="connsiteX94" fmla="*/ 2030752 w 4519987"/>
                    <a:gd name="connsiteY94" fmla="*/ 66675 h 4429225"/>
                    <a:gd name="connsiteX95" fmla="*/ 2097427 w 4519987"/>
                    <a:gd name="connsiteY95" fmla="*/ 47625 h 4429225"/>
                    <a:gd name="connsiteX96" fmla="*/ 2164102 w 4519987"/>
                    <a:gd name="connsiteY96" fmla="*/ 38100 h 4429225"/>
                    <a:gd name="connsiteX97" fmla="*/ 2392702 w 4519987"/>
                    <a:gd name="connsiteY9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11452 w 4519987"/>
                    <a:gd name="connsiteY57" fmla="*/ 2400300 h 4429225"/>
                    <a:gd name="connsiteX58" fmla="*/ 20977 w 4519987"/>
                    <a:gd name="connsiteY58" fmla="*/ 1905000 h 4429225"/>
                    <a:gd name="connsiteX59" fmla="*/ 30502 w 4519987"/>
                    <a:gd name="connsiteY59" fmla="*/ 1838325 h 4429225"/>
                    <a:gd name="connsiteX60" fmla="*/ 49552 w 4519987"/>
                    <a:gd name="connsiteY60" fmla="*/ 1781175 h 4429225"/>
                    <a:gd name="connsiteX61" fmla="*/ 59077 w 4519987"/>
                    <a:gd name="connsiteY61" fmla="*/ 1743075 h 4429225"/>
                    <a:gd name="connsiteX62" fmla="*/ 78127 w 4519987"/>
                    <a:gd name="connsiteY62" fmla="*/ 1685925 h 4429225"/>
                    <a:gd name="connsiteX63" fmla="*/ 87652 w 4519987"/>
                    <a:gd name="connsiteY63" fmla="*/ 1638300 h 4429225"/>
                    <a:gd name="connsiteX64" fmla="*/ 106702 w 4519987"/>
                    <a:gd name="connsiteY64" fmla="*/ 1590675 h 4429225"/>
                    <a:gd name="connsiteX65" fmla="*/ 135277 w 4519987"/>
                    <a:gd name="connsiteY65" fmla="*/ 1504950 h 4429225"/>
                    <a:gd name="connsiteX66" fmla="*/ 154327 w 4519987"/>
                    <a:gd name="connsiteY66" fmla="*/ 1419225 h 4429225"/>
                    <a:gd name="connsiteX67" fmla="*/ 230527 w 4519987"/>
                    <a:gd name="connsiteY67" fmla="*/ 1276350 h 4429225"/>
                    <a:gd name="connsiteX68" fmla="*/ 240052 w 4519987"/>
                    <a:gd name="connsiteY68" fmla="*/ 1247775 h 4429225"/>
                    <a:gd name="connsiteX69" fmla="*/ 268627 w 4519987"/>
                    <a:gd name="connsiteY69" fmla="*/ 1200150 h 4429225"/>
                    <a:gd name="connsiteX70" fmla="*/ 287677 w 4519987"/>
                    <a:gd name="connsiteY70" fmla="*/ 1152525 h 4429225"/>
                    <a:gd name="connsiteX71" fmla="*/ 316252 w 4519987"/>
                    <a:gd name="connsiteY71" fmla="*/ 1114425 h 4429225"/>
                    <a:gd name="connsiteX72" fmla="*/ 363877 w 4519987"/>
                    <a:gd name="connsiteY72" fmla="*/ 1038225 h 4429225"/>
                    <a:gd name="connsiteX73" fmla="*/ 382927 w 4519987"/>
                    <a:gd name="connsiteY73" fmla="*/ 1009650 h 4429225"/>
                    <a:gd name="connsiteX74" fmla="*/ 440077 w 4519987"/>
                    <a:gd name="connsiteY74" fmla="*/ 904875 h 4429225"/>
                    <a:gd name="connsiteX75" fmla="*/ 478177 w 4519987"/>
                    <a:gd name="connsiteY75" fmla="*/ 857250 h 4429225"/>
                    <a:gd name="connsiteX76" fmla="*/ 497227 w 4519987"/>
                    <a:gd name="connsiteY76" fmla="*/ 828675 h 4429225"/>
                    <a:gd name="connsiteX77" fmla="*/ 535327 w 4519987"/>
                    <a:gd name="connsiteY77" fmla="*/ 800100 h 4429225"/>
                    <a:gd name="connsiteX78" fmla="*/ 602002 w 4519987"/>
                    <a:gd name="connsiteY78" fmla="*/ 733425 h 4429225"/>
                    <a:gd name="connsiteX79" fmla="*/ 668677 w 4519987"/>
                    <a:gd name="connsiteY79" fmla="*/ 676275 h 4429225"/>
                    <a:gd name="connsiteX80" fmla="*/ 697252 w 4519987"/>
                    <a:gd name="connsiteY80" fmla="*/ 657225 h 4429225"/>
                    <a:gd name="connsiteX81" fmla="*/ 840127 w 4519987"/>
                    <a:gd name="connsiteY81" fmla="*/ 533400 h 4429225"/>
                    <a:gd name="connsiteX82" fmla="*/ 887752 w 4519987"/>
                    <a:gd name="connsiteY82" fmla="*/ 504825 h 4429225"/>
                    <a:gd name="connsiteX83" fmla="*/ 1167152 w 4519987"/>
                    <a:gd name="connsiteY83" fmla="*/ 311150 h 4429225"/>
                    <a:gd name="connsiteX84" fmla="*/ 1268752 w 4519987"/>
                    <a:gd name="connsiteY84" fmla="*/ 285750 h 4429225"/>
                    <a:gd name="connsiteX85" fmla="*/ 1411627 w 4519987"/>
                    <a:gd name="connsiteY85" fmla="*/ 190500 h 4429225"/>
                    <a:gd name="connsiteX86" fmla="*/ 1449727 w 4519987"/>
                    <a:gd name="connsiteY86" fmla="*/ 161925 h 4429225"/>
                    <a:gd name="connsiteX87" fmla="*/ 1525927 w 4519987"/>
                    <a:gd name="connsiteY87" fmla="*/ 152400 h 4429225"/>
                    <a:gd name="connsiteX88" fmla="*/ 1583077 w 4519987"/>
                    <a:gd name="connsiteY88" fmla="*/ 142875 h 4429225"/>
                    <a:gd name="connsiteX89" fmla="*/ 1716427 w 4519987"/>
                    <a:gd name="connsiteY89" fmla="*/ 123825 h 4429225"/>
                    <a:gd name="connsiteX90" fmla="*/ 1811677 w 4519987"/>
                    <a:gd name="connsiteY90" fmla="*/ 114300 h 4429225"/>
                    <a:gd name="connsiteX91" fmla="*/ 1859302 w 4519987"/>
                    <a:gd name="connsiteY91" fmla="*/ 104775 h 4429225"/>
                    <a:gd name="connsiteX92" fmla="*/ 1916452 w 4519987"/>
                    <a:gd name="connsiteY92" fmla="*/ 95250 h 4429225"/>
                    <a:gd name="connsiteX93" fmla="*/ 2030752 w 4519987"/>
                    <a:gd name="connsiteY93" fmla="*/ 66675 h 4429225"/>
                    <a:gd name="connsiteX94" fmla="*/ 2097427 w 4519987"/>
                    <a:gd name="connsiteY94" fmla="*/ 47625 h 4429225"/>
                    <a:gd name="connsiteX95" fmla="*/ 2164102 w 4519987"/>
                    <a:gd name="connsiteY95" fmla="*/ 38100 h 4429225"/>
                    <a:gd name="connsiteX96" fmla="*/ 2392702 w 4519987"/>
                    <a:gd name="connsiteY9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11452 w 4519987"/>
                    <a:gd name="connsiteY56" fmla="*/ 2400300 h 4429225"/>
                    <a:gd name="connsiteX57" fmla="*/ 20977 w 4519987"/>
                    <a:gd name="connsiteY57" fmla="*/ 1905000 h 4429225"/>
                    <a:gd name="connsiteX58" fmla="*/ 30502 w 4519987"/>
                    <a:gd name="connsiteY58" fmla="*/ 1838325 h 4429225"/>
                    <a:gd name="connsiteX59" fmla="*/ 49552 w 4519987"/>
                    <a:gd name="connsiteY59" fmla="*/ 1781175 h 4429225"/>
                    <a:gd name="connsiteX60" fmla="*/ 59077 w 4519987"/>
                    <a:gd name="connsiteY60" fmla="*/ 1743075 h 4429225"/>
                    <a:gd name="connsiteX61" fmla="*/ 78127 w 4519987"/>
                    <a:gd name="connsiteY61" fmla="*/ 1685925 h 4429225"/>
                    <a:gd name="connsiteX62" fmla="*/ 87652 w 4519987"/>
                    <a:gd name="connsiteY62" fmla="*/ 1638300 h 4429225"/>
                    <a:gd name="connsiteX63" fmla="*/ 106702 w 4519987"/>
                    <a:gd name="connsiteY63" fmla="*/ 1590675 h 4429225"/>
                    <a:gd name="connsiteX64" fmla="*/ 135277 w 4519987"/>
                    <a:gd name="connsiteY64" fmla="*/ 1504950 h 4429225"/>
                    <a:gd name="connsiteX65" fmla="*/ 154327 w 4519987"/>
                    <a:gd name="connsiteY65" fmla="*/ 1419225 h 4429225"/>
                    <a:gd name="connsiteX66" fmla="*/ 230527 w 4519987"/>
                    <a:gd name="connsiteY66" fmla="*/ 1276350 h 4429225"/>
                    <a:gd name="connsiteX67" fmla="*/ 240052 w 4519987"/>
                    <a:gd name="connsiteY67" fmla="*/ 1247775 h 4429225"/>
                    <a:gd name="connsiteX68" fmla="*/ 268627 w 4519987"/>
                    <a:gd name="connsiteY68" fmla="*/ 1200150 h 4429225"/>
                    <a:gd name="connsiteX69" fmla="*/ 287677 w 4519987"/>
                    <a:gd name="connsiteY69" fmla="*/ 1152525 h 4429225"/>
                    <a:gd name="connsiteX70" fmla="*/ 316252 w 4519987"/>
                    <a:gd name="connsiteY70" fmla="*/ 1114425 h 4429225"/>
                    <a:gd name="connsiteX71" fmla="*/ 363877 w 4519987"/>
                    <a:gd name="connsiteY71" fmla="*/ 1038225 h 4429225"/>
                    <a:gd name="connsiteX72" fmla="*/ 382927 w 4519987"/>
                    <a:gd name="connsiteY72" fmla="*/ 1009650 h 4429225"/>
                    <a:gd name="connsiteX73" fmla="*/ 440077 w 4519987"/>
                    <a:gd name="connsiteY73" fmla="*/ 904875 h 4429225"/>
                    <a:gd name="connsiteX74" fmla="*/ 478177 w 4519987"/>
                    <a:gd name="connsiteY74" fmla="*/ 857250 h 4429225"/>
                    <a:gd name="connsiteX75" fmla="*/ 497227 w 4519987"/>
                    <a:gd name="connsiteY75" fmla="*/ 828675 h 4429225"/>
                    <a:gd name="connsiteX76" fmla="*/ 535327 w 4519987"/>
                    <a:gd name="connsiteY76" fmla="*/ 800100 h 4429225"/>
                    <a:gd name="connsiteX77" fmla="*/ 602002 w 4519987"/>
                    <a:gd name="connsiteY77" fmla="*/ 733425 h 4429225"/>
                    <a:gd name="connsiteX78" fmla="*/ 668677 w 4519987"/>
                    <a:gd name="connsiteY78" fmla="*/ 676275 h 4429225"/>
                    <a:gd name="connsiteX79" fmla="*/ 697252 w 4519987"/>
                    <a:gd name="connsiteY79" fmla="*/ 657225 h 4429225"/>
                    <a:gd name="connsiteX80" fmla="*/ 840127 w 4519987"/>
                    <a:gd name="connsiteY80" fmla="*/ 533400 h 4429225"/>
                    <a:gd name="connsiteX81" fmla="*/ 887752 w 4519987"/>
                    <a:gd name="connsiteY81" fmla="*/ 504825 h 4429225"/>
                    <a:gd name="connsiteX82" fmla="*/ 1167152 w 4519987"/>
                    <a:gd name="connsiteY82" fmla="*/ 311150 h 4429225"/>
                    <a:gd name="connsiteX83" fmla="*/ 1268752 w 4519987"/>
                    <a:gd name="connsiteY83" fmla="*/ 285750 h 4429225"/>
                    <a:gd name="connsiteX84" fmla="*/ 1411627 w 4519987"/>
                    <a:gd name="connsiteY84" fmla="*/ 190500 h 4429225"/>
                    <a:gd name="connsiteX85" fmla="*/ 1449727 w 4519987"/>
                    <a:gd name="connsiteY85" fmla="*/ 161925 h 4429225"/>
                    <a:gd name="connsiteX86" fmla="*/ 1525927 w 4519987"/>
                    <a:gd name="connsiteY86" fmla="*/ 152400 h 4429225"/>
                    <a:gd name="connsiteX87" fmla="*/ 1583077 w 4519987"/>
                    <a:gd name="connsiteY87" fmla="*/ 142875 h 4429225"/>
                    <a:gd name="connsiteX88" fmla="*/ 1716427 w 4519987"/>
                    <a:gd name="connsiteY88" fmla="*/ 123825 h 4429225"/>
                    <a:gd name="connsiteX89" fmla="*/ 1811677 w 4519987"/>
                    <a:gd name="connsiteY89" fmla="*/ 114300 h 4429225"/>
                    <a:gd name="connsiteX90" fmla="*/ 1859302 w 4519987"/>
                    <a:gd name="connsiteY90" fmla="*/ 104775 h 4429225"/>
                    <a:gd name="connsiteX91" fmla="*/ 1916452 w 4519987"/>
                    <a:gd name="connsiteY91" fmla="*/ 95250 h 4429225"/>
                    <a:gd name="connsiteX92" fmla="*/ 2030752 w 4519987"/>
                    <a:gd name="connsiteY92" fmla="*/ 66675 h 4429225"/>
                    <a:gd name="connsiteX93" fmla="*/ 2097427 w 4519987"/>
                    <a:gd name="connsiteY93" fmla="*/ 47625 h 4429225"/>
                    <a:gd name="connsiteX94" fmla="*/ 2164102 w 4519987"/>
                    <a:gd name="connsiteY94" fmla="*/ 38100 h 4429225"/>
                    <a:gd name="connsiteX95" fmla="*/ 2392702 w 4519987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49994 w 4501379"/>
                    <a:gd name="connsiteY55" fmla="*/ 2724150 h 4429225"/>
                    <a:gd name="connsiteX56" fmla="*/ 56344 w 4501379"/>
                    <a:gd name="connsiteY56" fmla="*/ 2368550 h 4429225"/>
                    <a:gd name="connsiteX57" fmla="*/ 2369 w 4501379"/>
                    <a:gd name="connsiteY57" fmla="*/ 1905000 h 4429225"/>
                    <a:gd name="connsiteX58" fmla="*/ 11894 w 4501379"/>
                    <a:gd name="connsiteY58" fmla="*/ 1838325 h 4429225"/>
                    <a:gd name="connsiteX59" fmla="*/ 30944 w 4501379"/>
                    <a:gd name="connsiteY59" fmla="*/ 1781175 h 4429225"/>
                    <a:gd name="connsiteX60" fmla="*/ 40469 w 4501379"/>
                    <a:gd name="connsiteY60" fmla="*/ 1743075 h 4429225"/>
                    <a:gd name="connsiteX61" fmla="*/ 59519 w 4501379"/>
                    <a:gd name="connsiteY61" fmla="*/ 1685925 h 4429225"/>
                    <a:gd name="connsiteX62" fmla="*/ 69044 w 4501379"/>
                    <a:gd name="connsiteY62" fmla="*/ 1638300 h 4429225"/>
                    <a:gd name="connsiteX63" fmla="*/ 88094 w 4501379"/>
                    <a:gd name="connsiteY63" fmla="*/ 1590675 h 4429225"/>
                    <a:gd name="connsiteX64" fmla="*/ 116669 w 4501379"/>
                    <a:gd name="connsiteY64" fmla="*/ 1504950 h 4429225"/>
                    <a:gd name="connsiteX65" fmla="*/ 135719 w 4501379"/>
                    <a:gd name="connsiteY65" fmla="*/ 1419225 h 4429225"/>
                    <a:gd name="connsiteX66" fmla="*/ 211919 w 4501379"/>
                    <a:gd name="connsiteY66" fmla="*/ 1276350 h 4429225"/>
                    <a:gd name="connsiteX67" fmla="*/ 221444 w 4501379"/>
                    <a:gd name="connsiteY67" fmla="*/ 1247775 h 4429225"/>
                    <a:gd name="connsiteX68" fmla="*/ 250019 w 4501379"/>
                    <a:gd name="connsiteY68" fmla="*/ 1200150 h 4429225"/>
                    <a:gd name="connsiteX69" fmla="*/ 269069 w 4501379"/>
                    <a:gd name="connsiteY69" fmla="*/ 1152525 h 4429225"/>
                    <a:gd name="connsiteX70" fmla="*/ 297644 w 4501379"/>
                    <a:gd name="connsiteY70" fmla="*/ 1114425 h 4429225"/>
                    <a:gd name="connsiteX71" fmla="*/ 345269 w 4501379"/>
                    <a:gd name="connsiteY71" fmla="*/ 1038225 h 4429225"/>
                    <a:gd name="connsiteX72" fmla="*/ 364319 w 4501379"/>
                    <a:gd name="connsiteY72" fmla="*/ 1009650 h 4429225"/>
                    <a:gd name="connsiteX73" fmla="*/ 421469 w 4501379"/>
                    <a:gd name="connsiteY73" fmla="*/ 904875 h 4429225"/>
                    <a:gd name="connsiteX74" fmla="*/ 459569 w 4501379"/>
                    <a:gd name="connsiteY74" fmla="*/ 857250 h 4429225"/>
                    <a:gd name="connsiteX75" fmla="*/ 478619 w 4501379"/>
                    <a:gd name="connsiteY75" fmla="*/ 828675 h 4429225"/>
                    <a:gd name="connsiteX76" fmla="*/ 516719 w 4501379"/>
                    <a:gd name="connsiteY76" fmla="*/ 800100 h 4429225"/>
                    <a:gd name="connsiteX77" fmla="*/ 583394 w 4501379"/>
                    <a:gd name="connsiteY77" fmla="*/ 733425 h 4429225"/>
                    <a:gd name="connsiteX78" fmla="*/ 650069 w 4501379"/>
                    <a:gd name="connsiteY78" fmla="*/ 676275 h 4429225"/>
                    <a:gd name="connsiteX79" fmla="*/ 678644 w 4501379"/>
                    <a:gd name="connsiteY79" fmla="*/ 657225 h 4429225"/>
                    <a:gd name="connsiteX80" fmla="*/ 821519 w 4501379"/>
                    <a:gd name="connsiteY80" fmla="*/ 533400 h 4429225"/>
                    <a:gd name="connsiteX81" fmla="*/ 869144 w 4501379"/>
                    <a:gd name="connsiteY81" fmla="*/ 504825 h 4429225"/>
                    <a:gd name="connsiteX82" fmla="*/ 1148544 w 4501379"/>
                    <a:gd name="connsiteY82" fmla="*/ 311150 h 4429225"/>
                    <a:gd name="connsiteX83" fmla="*/ 1250144 w 4501379"/>
                    <a:gd name="connsiteY83" fmla="*/ 285750 h 4429225"/>
                    <a:gd name="connsiteX84" fmla="*/ 1393019 w 4501379"/>
                    <a:gd name="connsiteY84" fmla="*/ 190500 h 4429225"/>
                    <a:gd name="connsiteX85" fmla="*/ 1431119 w 4501379"/>
                    <a:gd name="connsiteY85" fmla="*/ 161925 h 4429225"/>
                    <a:gd name="connsiteX86" fmla="*/ 1507319 w 4501379"/>
                    <a:gd name="connsiteY86" fmla="*/ 152400 h 4429225"/>
                    <a:gd name="connsiteX87" fmla="*/ 1564469 w 4501379"/>
                    <a:gd name="connsiteY87" fmla="*/ 142875 h 4429225"/>
                    <a:gd name="connsiteX88" fmla="*/ 1697819 w 4501379"/>
                    <a:gd name="connsiteY88" fmla="*/ 123825 h 4429225"/>
                    <a:gd name="connsiteX89" fmla="*/ 1793069 w 4501379"/>
                    <a:gd name="connsiteY89" fmla="*/ 114300 h 4429225"/>
                    <a:gd name="connsiteX90" fmla="*/ 1840694 w 4501379"/>
                    <a:gd name="connsiteY90" fmla="*/ 104775 h 4429225"/>
                    <a:gd name="connsiteX91" fmla="*/ 1897844 w 4501379"/>
                    <a:gd name="connsiteY91" fmla="*/ 95250 h 4429225"/>
                    <a:gd name="connsiteX92" fmla="*/ 2012144 w 4501379"/>
                    <a:gd name="connsiteY92" fmla="*/ 66675 h 4429225"/>
                    <a:gd name="connsiteX93" fmla="*/ 2078819 w 4501379"/>
                    <a:gd name="connsiteY93" fmla="*/ 47625 h 4429225"/>
                    <a:gd name="connsiteX94" fmla="*/ 2145494 w 4501379"/>
                    <a:gd name="connsiteY94" fmla="*/ 38100 h 4429225"/>
                    <a:gd name="connsiteX95" fmla="*/ 2374094 w 4501379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56344 w 4501379"/>
                    <a:gd name="connsiteY55" fmla="*/ 2368550 h 4429225"/>
                    <a:gd name="connsiteX56" fmla="*/ 2369 w 4501379"/>
                    <a:gd name="connsiteY56" fmla="*/ 1905000 h 4429225"/>
                    <a:gd name="connsiteX57" fmla="*/ 11894 w 4501379"/>
                    <a:gd name="connsiteY57" fmla="*/ 1838325 h 4429225"/>
                    <a:gd name="connsiteX58" fmla="*/ 30944 w 4501379"/>
                    <a:gd name="connsiteY58" fmla="*/ 1781175 h 4429225"/>
                    <a:gd name="connsiteX59" fmla="*/ 40469 w 4501379"/>
                    <a:gd name="connsiteY59" fmla="*/ 1743075 h 4429225"/>
                    <a:gd name="connsiteX60" fmla="*/ 59519 w 4501379"/>
                    <a:gd name="connsiteY60" fmla="*/ 1685925 h 4429225"/>
                    <a:gd name="connsiteX61" fmla="*/ 69044 w 4501379"/>
                    <a:gd name="connsiteY61" fmla="*/ 1638300 h 4429225"/>
                    <a:gd name="connsiteX62" fmla="*/ 88094 w 4501379"/>
                    <a:gd name="connsiteY62" fmla="*/ 1590675 h 4429225"/>
                    <a:gd name="connsiteX63" fmla="*/ 116669 w 4501379"/>
                    <a:gd name="connsiteY63" fmla="*/ 1504950 h 4429225"/>
                    <a:gd name="connsiteX64" fmla="*/ 135719 w 4501379"/>
                    <a:gd name="connsiteY64" fmla="*/ 1419225 h 4429225"/>
                    <a:gd name="connsiteX65" fmla="*/ 211919 w 4501379"/>
                    <a:gd name="connsiteY65" fmla="*/ 1276350 h 4429225"/>
                    <a:gd name="connsiteX66" fmla="*/ 221444 w 4501379"/>
                    <a:gd name="connsiteY66" fmla="*/ 1247775 h 4429225"/>
                    <a:gd name="connsiteX67" fmla="*/ 250019 w 4501379"/>
                    <a:gd name="connsiteY67" fmla="*/ 1200150 h 4429225"/>
                    <a:gd name="connsiteX68" fmla="*/ 269069 w 4501379"/>
                    <a:gd name="connsiteY68" fmla="*/ 1152525 h 4429225"/>
                    <a:gd name="connsiteX69" fmla="*/ 297644 w 4501379"/>
                    <a:gd name="connsiteY69" fmla="*/ 1114425 h 4429225"/>
                    <a:gd name="connsiteX70" fmla="*/ 345269 w 4501379"/>
                    <a:gd name="connsiteY70" fmla="*/ 1038225 h 4429225"/>
                    <a:gd name="connsiteX71" fmla="*/ 364319 w 4501379"/>
                    <a:gd name="connsiteY71" fmla="*/ 1009650 h 4429225"/>
                    <a:gd name="connsiteX72" fmla="*/ 421469 w 4501379"/>
                    <a:gd name="connsiteY72" fmla="*/ 904875 h 4429225"/>
                    <a:gd name="connsiteX73" fmla="*/ 459569 w 4501379"/>
                    <a:gd name="connsiteY73" fmla="*/ 857250 h 4429225"/>
                    <a:gd name="connsiteX74" fmla="*/ 478619 w 4501379"/>
                    <a:gd name="connsiteY74" fmla="*/ 828675 h 4429225"/>
                    <a:gd name="connsiteX75" fmla="*/ 516719 w 4501379"/>
                    <a:gd name="connsiteY75" fmla="*/ 800100 h 4429225"/>
                    <a:gd name="connsiteX76" fmla="*/ 583394 w 4501379"/>
                    <a:gd name="connsiteY76" fmla="*/ 733425 h 4429225"/>
                    <a:gd name="connsiteX77" fmla="*/ 650069 w 4501379"/>
                    <a:gd name="connsiteY77" fmla="*/ 676275 h 4429225"/>
                    <a:gd name="connsiteX78" fmla="*/ 678644 w 4501379"/>
                    <a:gd name="connsiteY78" fmla="*/ 657225 h 4429225"/>
                    <a:gd name="connsiteX79" fmla="*/ 821519 w 4501379"/>
                    <a:gd name="connsiteY79" fmla="*/ 533400 h 4429225"/>
                    <a:gd name="connsiteX80" fmla="*/ 869144 w 4501379"/>
                    <a:gd name="connsiteY80" fmla="*/ 504825 h 4429225"/>
                    <a:gd name="connsiteX81" fmla="*/ 1148544 w 4501379"/>
                    <a:gd name="connsiteY81" fmla="*/ 311150 h 4429225"/>
                    <a:gd name="connsiteX82" fmla="*/ 1250144 w 4501379"/>
                    <a:gd name="connsiteY82" fmla="*/ 285750 h 4429225"/>
                    <a:gd name="connsiteX83" fmla="*/ 1393019 w 4501379"/>
                    <a:gd name="connsiteY83" fmla="*/ 190500 h 4429225"/>
                    <a:gd name="connsiteX84" fmla="*/ 1431119 w 4501379"/>
                    <a:gd name="connsiteY84" fmla="*/ 161925 h 4429225"/>
                    <a:gd name="connsiteX85" fmla="*/ 1507319 w 4501379"/>
                    <a:gd name="connsiteY85" fmla="*/ 152400 h 4429225"/>
                    <a:gd name="connsiteX86" fmla="*/ 1564469 w 4501379"/>
                    <a:gd name="connsiteY86" fmla="*/ 142875 h 4429225"/>
                    <a:gd name="connsiteX87" fmla="*/ 1697819 w 4501379"/>
                    <a:gd name="connsiteY87" fmla="*/ 123825 h 4429225"/>
                    <a:gd name="connsiteX88" fmla="*/ 1793069 w 4501379"/>
                    <a:gd name="connsiteY88" fmla="*/ 114300 h 4429225"/>
                    <a:gd name="connsiteX89" fmla="*/ 1840694 w 4501379"/>
                    <a:gd name="connsiteY89" fmla="*/ 104775 h 4429225"/>
                    <a:gd name="connsiteX90" fmla="*/ 1897844 w 4501379"/>
                    <a:gd name="connsiteY90" fmla="*/ 95250 h 4429225"/>
                    <a:gd name="connsiteX91" fmla="*/ 2012144 w 4501379"/>
                    <a:gd name="connsiteY91" fmla="*/ 66675 h 4429225"/>
                    <a:gd name="connsiteX92" fmla="*/ 2078819 w 4501379"/>
                    <a:gd name="connsiteY92" fmla="*/ 47625 h 4429225"/>
                    <a:gd name="connsiteX93" fmla="*/ 2145494 w 4501379"/>
                    <a:gd name="connsiteY93" fmla="*/ 38100 h 4429225"/>
                    <a:gd name="connsiteX94" fmla="*/ 2374094 w 4501379"/>
                    <a:gd name="connsiteY94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26194 w 4501379"/>
                    <a:gd name="connsiteY53" fmla="*/ 292417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6869 w 4501379"/>
                    <a:gd name="connsiteY51" fmla="*/ 34702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313644 w 4501379"/>
                    <a:gd name="connsiteY46" fmla="*/ 42164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91" fmla="*/ 2374094 w 4501379"/>
                    <a:gd name="connsiteY91" fmla="*/ 28575 h 4429294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0" fmla="*/ 2278844 w 4501379"/>
                    <a:gd name="connsiteY0" fmla="*/ 0 h 4429294"/>
                    <a:gd name="connsiteX1" fmla="*/ 2478869 w 4501379"/>
                    <a:gd name="connsiteY1" fmla="*/ 47625 h 4429294"/>
                    <a:gd name="connsiteX2" fmla="*/ 2736044 w 4501379"/>
                    <a:gd name="connsiteY2" fmla="*/ 66675 h 4429294"/>
                    <a:gd name="connsiteX3" fmla="*/ 2812244 w 4501379"/>
                    <a:gd name="connsiteY3" fmla="*/ 76200 h 4429294"/>
                    <a:gd name="connsiteX4" fmla="*/ 2897969 w 4501379"/>
                    <a:gd name="connsiteY4" fmla="*/ 85725 h 4429294"/>
                    <a:gd name="connsiteX5" fmla="*/ 2955119 w 4501379"/>
                    <a:gd name="connsiteY5" fmla="*/ 114300 h 4429294"/>
                    <a:gd name="connsiteX6" fmla="*/ 2993219 w 4501379"/>
                    <a:gd name="connsiteY6" fmla="*/ 123825 h 4429294"/>
                    <a:gd name="connsiteX7" fmla="*/ 3117044 w 4501379"/>
                    <a:gd name="connsiteY7" fmla="*/ 171450 h 4429294"/>
                    <a:gd name="connsiteX8" fmla="*/ 3155144 w 4501379"/>
                    <a:gd name="connsiteY8" fmla="*/ 190500 h 4429294"/>
                    <a:gd name="connsiteX9" fmla="*/ 3221819 w 4501379"/>
                    <a:gd name="connsiteY9" fmla="*/ 228600 h 4429294"/>
                    <a:gd name="connsiteX10" fmla="*/ 3250394 w 4501379"/>
                    <a:gd name="connsiteY10" fmla="*/ 238125 h 4429294"/>
                    <a:gd name="connsiteX11" fmla="*/ 3278969 w 4501379"/>
                    <a:gd name="connsiteY11" fmla="*/ 257175 h 4429294"/>
                    <a:gd name="connsiteX12" fmla="*/ 3307544 w 4501379"/>
                    <a:gd name="connsiteY12" fmla="*/ 266700 h 4429294"/>
                    <a:gd name="connsiteX13" fmla="*/ 3336119 w 4501379"/>
                    <a:gd name="connsiteY13" fmla="*/ 285750 h 4429294"/>
                    <a:gd name="connsiteX14" fmla="*/ 3402794 w 4501379"/>
                    <a:gd name="connsiteY14" fmla="*/ 323850 h 4429294"/>
                    <a:gd name="connsiteX15" fmla="*/ 3450419 w 4501379"/>
                    <a:gd name="connsiteY15" fmla="*/ 361950 h 4429294"/>
                    <a:gd name="connsiteX16" fmla="*/ 3498044 w 4501379"/>
                    <a:gd name="connsiteY16" fmla="*/ 390525 h 4429294"/>
                    <a:gd name="connsiteX17" fmla="*/ 3612344 w 4501379"/>
                    <a:gd name="connsiteY17" fmla="*/ 485775 h 4429294"/>
                    <a:gd name="connsiteX18" fmla="*/ 3726644 w 4501379"/>
                    <a:gd name="connsiteY18" fmla="*/ 542925 h 4429294"/>
                    <a:gd name="connsiteX19" fmla="*/ 3793319 w 4501379"/>
                    <a:gd name="connsiteY19" fmla="*/ 581025 h 4429294"/>
                    <a:gd name="connsiteX20" fmla="*/ 4009219 w 4501379"/>
                    <a:gd name="connsiteY20" fmla="*/ 819150 h 4429294"/>
                    <a:gd name="connsiteX21" fmla="*/ 4145744 w 4501379"/>
                    <a:gd name="connsiteY21" fmla="*/ 990600 h 4429294"/>
                    <a:gd name="connsiteX22" fmla="*/ 4231469 w 4501379"/>
                    <a:gd name="connsiteY22" fmla="*/ 1143000 h 4429294"/>
                    <a:gd name="connsiteX23" fmla="*/ 4288619 w 4501379"/>
                    <a:gd name="connsiteY23" fmla="*/ 1266825 h 4429294"/>
                    <a:gd name="connsiteX24" fmla="*/ 4326719 w 4501379"/>
                    <a:gd name="connsiteY24" fmla="*/ 1362075 h 4429294"/>
                    <a:gd name="connsiteX25" fmla="*/ 4374344 w 4501379"/>
                    <a:gd name="connsiteY25" fmla="*/ 1552575 h 4429294"/>
                    <a:gd name="connsiteX26" fmla="*/ 4412444 w 4501379"/>
                    <a:gd name="connsiteY26" fmla="*/ 1685925 h 4429294"/>
                    <a:gd name="connsiteX27" fmla="*/ 4501344 w 4501379"/>
                    <a:gd name="connsiteY27" fmla="*/ 2181225 h 4429294"/>
                    <a:gd name="connsiteX28" fmla="*/ 4428319 w 4501379"/>
                    <a:gd name="connsiteY28" fmla="*/ 2768600 h 4429294"/>
                    <a:gd name="connsiteX29" fmla="*/ 4364819 w 4501379"/>
                    <a:gd name="connsiteY29" fmla="*/ 2990850 h 4429294"/>
                    <a:gd name="connsiteX30" fmla="*/ 4260044 w 4501379"/>
                    <a:gd name="connsiteY30" fmla="*/ 3248025 h 4429294"/>
                    <a:gd name="connsiteX31" fmla="*/ 4164794 w 4501379"/>
                    <a:gd name="connsiteY31" fmla="*/ 3400425 h 4429294"/>
                    <a:gd name="connsiteX32" fmla="*/ 4040969 w 4501379"/>
                    <a:gd name="connsiteY32" fmla="*/ 3533775 h 4429294"/>
                    <a:gd name="connsiteX33" fmla="*/ 3936194 w 4501379"/>
                    <a:gd name="connsiteY33" fmla="*/ 3648075 h 4429294"/>
                    <a:gd name="connsiteX34" fmla="*/ 3640919 w 4501379"/>
                    <a:gd name="connsiteY34" fmla="*/ 3971925 h 4429294"/>
                    <a:gd name="connsiteX35" fmla="*/ 3498044 w 4501379"/>
                    <a:gd name="connsiteY35" fmla="*/ 4083050 h 4429294"/>
                    <a:gd name="connsiteX36" fmla="*/ 3202769 w 4501379"/>
                    <a:gd name="connsiteY36" fmla="*/ 4222750 h 4429294"/>
                    <a:gd name="connsiteX37" fmla="*/ 3050369 w 4501379"/>
                    <a:gd name="connsiteY37" fmla="*/ 4286250 h 4429294"/>
                    <a:gd name="connsiteX38" fmla="*/ 2917019 w 4501379"/>
                    <a:gd name="connsiteY38" fmla="*/ 4333875 h 4429294"/>
                    <a:gd name="connsiteX39" fmla="*/ 2793194 w 4501379"/>
                    <a:gd name="connsiteY39" fmla="*/ 4371975 h 4429294"/>
                    <a:gd name="connsiteX40" fmla="*/ 2561419 w 4501379"/>
                    <a:gd name="connsiteY40" fmla="*/ 4391025 h 4429294"/>
                    <a:gd name="connsiteX41" fmla="*/ 2107394 w 4501379"/>
                    <a:gd name="connsiteY41" fmla="*/ 4429125 h 4429294"/>
                    <a:gd name="connsiteX42" fmla="*/ 1916894 w 4501379"/>
                    <a:gd name="connsiteY42" fmla="*/ 4400550 h 4429294"/>
                    <a:gd name="connsiteX43" fmla="*/ 1554944 w 4501379"/>
                    <a:gd name="connsiteY43" fmla="*/ 4305300 h 4429294"/>
                    <a:gd name="connsiteX44" fmla="*/ 1313644 w 4501379"/>
                    <a:gd name="connsiteY44" fmla="*/ 4216400 h 4429294"/>
                    <a:gd name="connsiteX45" fmla="*/ 1145369 w 4501379"/>
                    <a:gd name="connsiteY45" fmla="*/ 4111625 h 4429294"/>
                    <a:gd name="connsiteX46" fmla="*/ 926294 w 4501379"/>
                    <a:gd name="connsiteY46" fmla="*/ 3968750 h 4429294"/>
                    <a:gd name="connsiteX47" fmla="*/ 592919 w 4501379"/>
                    <a:gd name="connsiteY47" fmla="*/ 3657600 h 4429294"/>
                    <a:gd name="connsiteX48" fmla="*/ 446869 w 4501379"/>
                    <a:gd name="connsiteY48" fmla="*/ 3470275 h 4429294"/>
                    <a:gd name="connsiteX49" fmla="*/ 316694 w 4501379"/>
                    <a:gd name="connsiteY49" fmla="*/ 3244850 h 4429294"/>
                    <a:gd name="connsiteX50" fmla="*/ 164294 w 4501379"/>
                    <a:gd name="connsiteY50" fmla="*/ 2892425 h 4429294"/>
                    <a:gd name="connsiteX51" fmla="*/ 56344 w 4501379"/>
                    <a:gd name="connsiteY51" fmla="*/ 2368550 h 4429294"/>
                    <a:gd name="connsiteX52" fmla="*/ 2369 w 4501379"/>
                    <a:gd name="connsiteY52" fmla="*/ 1905000 h 4429294"/>
                    <a:gd name="connsiteX53" fmla="*/ 11894 w 4501379"/>
                    <a:gd name="connsiteY53" fmla="*/ 1838325 h 4429294"/>
                    <a:gd name="connsiteX54" fmla="*/ 30944 w 4501379"/>
                    <a:gd name="connsiteY54" fmla="*/ 1781175 h 4429294"/>
                    <a:gd name="connsiteX55" fmla="*/ 40469 w 4501379"/>
                    <a:gd name="connsiteY55" fmla="*/ 1743075 h 4429294"/>
                    <a:gd name="connsiteX56" fmla="*/ 59519 w 4501379"/>
                    <a:gd name="connsiteY56" fmla="*/ 1685925 h 4429294"/>
                    <a:gd name="connsiteX57" fmla="*/ 69044 w 4501379"/>
                    <a:gd name="connsiteY57" fmla="*/ 1638300 h 4429294"/>
                    <a:gd name="connsiteX58" fmla="*/ 88094 w 4501379"/>
                    <a:gd name="connsiteY58" fmla="*/ 1590675 h 4429294"/>
                    <a:gd name="connsiteX59" fmla="*/ 116669 w 4501379"/>
                    <a:gd name="connsiteY59" fmla="*/ 1504950 h 4429294"/>
                    <a:gd name="connsiteX60" fmla="*/ 135719 w 4501379"/>
                    <a:gd name="connsiteY60" fmla="*/ 1419225 h 4429294"/>
                    <a:gd name="connsiteX61" fmla="*/ 211919 w 4501379"/>
                    <a:gd name="connsiteY61" fmla="*/ 1276350 h 4429294"/>
                    <a:gd name="connsiteX62" fmla="*/ 221444 w 4501379"/>
                    <a:gd name="connsiteY62" fmla="*/ 1247775 h 4429294"/>
                    <a:gd name="connsiteX63" fmla="*/ 250019 w 4501379"/>
                    <a:gd name="connsiteY63" fmla="*/ 1200150 h 4429294"/>
                    <a:gd name="connsiteX64" fmla="*/ 269069 w 4501379"/>
                    <a:gd name="connsiteY64" fmla="*/ 1152525 h 4429294"/>
                    <a:gd name="connsiteX65" fmla="*/ 297644 w 4501379"/>
                    <a:gd name="connsiteY65" fmla="*/ 1114425 h 4429294"/>
                    <a:gd name="connsiteX66" fmla="*/ 345269 w 4501379"/>
                    <a:gd name="connsiteY66" fmla="*/ 1038225 h 4429294"/>
                    <a:gd name="connsiteX67" fmla="*/ 364319 w 4501379"/>
                    <a:gd name="connsiteY67" fmla="*/ 1009650 h 4429294"/>
                    <a:gd name="connsiteX68" fmla="*/ 421469 w 4501379"/>
                    <a:gd name="connsiteY68" fmla="*/ 904875 h 4429294"/>
                    <a:gd name="connsiteX69" fmla="*/ 459569 w 4501379"/>
                    <a:gd name="connsiteY69" fmla="*/ 857250 h 4429294"/>
                    <a:gd name="connsiteX70" fmla="*/ 478619 w 4501379"/>
                    <a:gd name="connsiteY70" fmla="*/ 828675 h 4429294"/>
                    <a:gd name="connsiteX71" fmla="*/ 516719 w 4501379"/>
                    <a:gd name="connsiteY71" fmla="*/ 800100 h 4429294"/>
                    <a:gd name="connsiteX72" fmla="*/ 583394 w 4501379"/>
                    <a:gd name="connsiteY72" fmla="*/ 733425 h 4429294"/>
                    <a:gd name="connsiteX73" fmla="*/ 650069 w 4501379"/>
                    <a:gd name="connsiteY73" fmla="*/ 676275 h 4429294"/>
                    <a:gd name="connsiteX74" fmla="*/ 678644 w 4501379"/>
                    <a:gd name="connsiteY74" fmla="*/ 657225 h 4429294"/>
                    <a:gd name="connsiteX75" fmla="*/ 821519 w 4501379"/>
                    <a:gd name="connsiteY75" fmla="*/ 533400 h 4429294"/>
                    <a:gd name="connsiteX76" fmla="*/ 869144 w 4501379"/>
                    <a:gd name="connsiteY76" fmla="*/ 504825 h 4429294"/>
                    <a:gd name="connsiteX77" fmla="*/ 1148544 w 4501379"/>
                    <a:gd name="connsiteY77" fmla="*/ 311150 h 4429294"/>
                    <a:gd name="connsiteX78" fmla="*/ 1250144 w 4501379"/>
                    <a:gd name="connsiteY78" fmla="*/ 285750 h 4429294"/>
                    <a:gd name="connsiteX79" fmla="*/ 1393019 w 4501379"/>
                    <a:gd name="connsiteY79" fmla="*/ 190500 h 4429294"/>
                    <a:gd name="connsiteX80" fmla="*/ 1431119 w 4501379"/>
                    <a:gd name="connsiteY80" fmla="*/ 161925 h 4429294"/>
                    <a:gd name="connsiteX81" fmla="*/ 1507319 w 4501379"/>
                    <a:gd name="connsiteY81" fmla="*/ 152400 h 4429294"/>
                    <a:gd name="connsiteX82" fmla="*/ 1564469 w 4501379"/>
                    <a:gd name="connsiteY82" fmla="*/ 142875 h 4429294"/>
                    <a:gd name="connsiteX83" fmla="*/ 1697819 w 4501379"/>
                    <a:gd name="connsiteY83" fmla="*/ 123825 h 4429294"/>
                    <a:gd name="connsiteX84" fmla="*/ 1793069 w 4501379"/>
                    <a:gd name="connsiteY84" fmla="*/ 114300 h 4429294"/>
                    <a:gd name="connsiteX85" fmla="*/ 1840694 w 4501379"/>
                    <a:gd name="connsiteY85" fmla="*/ 104775 h 4429294"/>
                    <a:gd name="connsiteX86" fmla="*/ 1897844 w 4501379"/>
                    <a:gd name="connsiteY86" fmla="*/ 95250 h 4429294"/>
                    <a:gd name="connsiteX87" fmla="*/ 2012144 w 4501379"/>
                    <a:gd name="connsiteY87" fmla="*/ 66675 h 4429294"/>
                    <a:gd name="connsiteX88" fmla="*/ 2078819 w 4501379"/>
                    <a:gd name="connsiteY88" fmla="*/ 47625 h 4429294"/>
                    <a:gd name="connsiteX89" fmla="*/ 2145494 w 4501379"/>
                    <a:gd name="connsiteY89" fmla="*/ 38100 h 4429294"/>
                    <a:gd name="connsiteX0" fmla="*/ 2278844 w 4501379"/>
                    <a:gd name="connsiteY0" fmla="*/ 0 h 4429294"/>
                    <a:gd name="connsiteX1" fmla="*/ 2736044 w 4501379"/>
                    <a:gd name="connsiteY1" fmla="*/ 666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2993219 w 4501379"/>
                    <a:gd name="connsiteY4" fmla="*/ 123825 h 4429294"/>
                    <a:gd name="connsiteX5" fmla="*/ 3117044 w 4501379"/>
                    <a:gd name="connsiteY5" fmla="*/ 171450 h 4429294"/>
                    <a:gd name="connsiteX6" fmla="*/ 3155144 w 4501379"/>
                    <a:gd name="connsiteY6" fmla="*/ 190500 h 4429294"/>
                    <a:gd name="connsiteX7" fmla="*/ 3221819 w 4501379"/>
                    <a:gd name="connsiteY7" fmla="*/ 228600 h 4429294"/>
                    <a:gd name="connsiteX8" fmla="*/ 3250394 w 4501379"/>
                    <a:gd name="connsiteY8" fmla="*/ 238125 h 4429294"/>
                    <a:gd name="connsiteX9" fmla="*/ 3278969 w 4501379"/>
                    <a:gd name="connsiteY9" fmla="*/ 257175 h 4429294"/>
                    <a:gd name="connsiteX10" fmla="*/ 3307544 w 4501379"/>
                    <a:gd name="connsiteY10" fmla="*/ 266700 h 4429294"/>
                    <a:gd name="connsiteX11" fmla="*/ 3336119 w 4501379"/>
                    <a:gd name="connsiteY11" fmla="*/ 285750 h 4429294"/>
                    <a:gd name="connsiteX12" fmla="*/ 3402794 w 4501379"/>
                    <a:gd name="connsiteY12" fmla="*/ 323850 h 4429294"/>
                    <a:gd name="connsiteX13" fmla="*/ 3450419 w 4501379"/>
                    <a:gd name="connsiteY13" fmla="*/ 361950 h 4429294"/>
                    <a:gd name="connsiteX14" fmla="*/ 3498044 w 4501379"/>
                    <a:gd name="connsiteY14" fmla="*/ 390525 h 4429294"/>
                    <a:gd name="connsiteX15" fmla="*/ 3612344 w 4501379"/>
                    <a:gd name="connsiteY15" fmla="*/ 485775 h 4429294"/>
                    <a:gd name="connsiteX16" fmla="*/ 3726644 w 4501379"/>
                    <a:gd name="connsiteY16" fmla="*/ 542925 h 4429294"/>
                    <a:gd name="connsiteX17" fmla="*/ 3793319 w 4501379"/>
                    <a:gd name="connsiteY17" fmla="*/ 581025 h 4429294"/>
                    <a:gd name="connsiteX18" fmla="*/ 4009219 w 4501379"/>
                    <a:gd name="connsiteY18" fmla="*/ 819150 h 4429294"/>
                    <a:gd name="connsiteX19" fmla="*/ 4145744 w 4501379"/>
                    <a:gd name="connsiteY19" fmla="*/ 990600 h 4429294"/>
                    <a:gd name="connsiteX20" fmla="*/ 4231469 w 4501379"/>
                    <a:gd name="connsiteY20" fmla="*/ 1143000 h 4429294"/>
                    <a:gd name="connsiteX21" fmla="*/ 4288619 w 4501379"/>
                    <a:gd name="connsiteY21" fmla="*/ 1266825 h 4429294"/>
                    <a:gd name="connsiteX22" fmla="*/ 4326719 w 4501379"/>
                    <a:gd name="connsiteY22" fmla="*/ 1362075 h 4429294"/>
                    <a:gd name="connsiteX23" fmla="*/ 4374344 w 4501379"/>
                    <a:gd name="connsiteY23" fmla="*/ 1552575 h 4429294"/>
                    <a:gd name="connsiteX24" fmla="*/ 4412444 w 4501379"/>
                    <a:gd name="connsiteY24" fmla="*/ 1685925 h 4429294"/>
                    <a:gd name="connsiteX25" fmla="*/ 4501344 w 4501379"/>
                    <a:gd name="connsiteY25" fmla="*/ 2181225 h 4429294"/>
                    <a:gd name="connsiteX26" fmla="*/ 4428319 w 4501379"/>
                    <a:gd name="connsiteY26" fmla="*/ 2768600 h 4429294"/>
                    <a:gd name="connsiteX27" fmla="*/ 4364819 w 4501379"/>
                    <a:gd name="connsiteY27" fmla="*/ 2990850 h 4429294"/>
                    <a:gd name="connsiteX28" fmla="*/ 4260044 w 4501379"/>
                    <a:gd name="connsiteY28" fmla="*/ 3248025 h 4429294"/>
                    <a:gd name="connsiteX29" fmla="*/ 4164794 w 4501379"/>
                    <a:gd name="connsiteY29" fmla="*/ 3400425 h 4429294"/>
                    <a:gd name="connsiteX30" fmla="*/ 4040969 w 4501379"/>
                    <a:gd name="connsiteY30" fmla="*/ 3533775 h 4429294"/>
                    <a:gd name="connsiteX31" fmla="*/ 3936194 w 4501379"/>
                    <a:gd name="connsiteY31" fmla="*/ 3648075 h 4429294"/>
                    <a:gd name="connsiteX32" fmla="*/ 3640919 w 4501379"/>
                    <a:gd name="connsiteY32" fmla="*/ 3971925 h 4429294"/>
                    <a:gd name="connsiteX33" fmla="*/ 3498044 w 4501379"/>
                    <a:gd name="connsiteY33" fmla="*/ 4083050 h 4429294"/>
                    <a:gd name="connsiteX34" fmla="*/ 3202769 w 4501379"/>
                    <a:gd name="connsiteY34" fmla="*/ 4222750 h 4429294"/>
                    <a:gd name="connsiteX35" fmla="*/ 3050369 w 4501379"/>
                    <a:gd name="connsiteY35" fmla="*/ 4286250 h 4429294"/>
                    <a:gd name="connsiteX36" fmla="*/ 2917019 w 4501379"/>
                    <a:gd name="connsiteY36" fmla="*/ 4333875 h 4429294"/>
                    <a:gd name="connsiteX37" fmla="*/ 2793194 w 4501379"/>
                    <a:gd name="connsiteY37" fmla="*/ 4371975 h 4429294"/>
                    <a:gd name="connsiteX38" fmla="*/ 2561419 w 4501379"/>
                    <a:gd name="connsiteY38" fmla="*/ 4391025 h 4429294"/>
                    <a:gd name="connsiteX39" fmla="*/ 2107394 w 4501379"/>
                    <a:gd name="connsiteY39" fmla="*/ 4429125 h 4429294"/>
                    <a:gd name="connsiteX40" fmla="*/ 1916894 w 4501379"/>
                    <a:gd name="connsiteY40" fmla="*/ 4400550 h 4429294"/>
                    <a:gd name="connsiteX41" fmla="*/ 1554944 w 4501379"/>
                    <a:gd name="connsiteY41" fmla="*/ 4305300 h 4429294"/>
                    <a:gd name="connsiteX42" fmla="*/ 1313644 w 4501379"/>
                    <a:gd name="connsiteY42" fmla="*/ 4216400 h 4429294"/>
                    <a:gd name="connsiteX43" fmla="*/ 1145369 w 4501379"/>
                    <a:gd name="connsiteY43" fmla="*/ 4111625 h 4429294"/>
                    <a:gd name="connsiteX44" fmla="*/ 926294 w 4501379"/>
                    <a:gd name="connsiteY44" fmla="*/ 3968750 h 4429294"/>
                    <a:gd name="connsiteX45" fmla="*/ 592919 w 4501379"/>
                    <a:gd name="connsiteY45" fmla="*/ 3657600 h 4429294"/>
                    <a:gd name="connsiteX46" fmla="*/ 446869 w 4501379"/>
                    <a:gd name="connsiteY46" fmla="*/ 3470275 h 4429294"/>
                    <a:gd name="connsiteX47" fmla="*/ 316694 w 4501379"/>
                    <a:gd name="connsiteY47" fmla="*/ 3244850 h 4429294"/>
                    <a:gd name="connsiteX48" fmla="*/ 164294 w 4501379"/>
                    <a:gd name="connsiteY48" fmla="*/ 2892425 h 4429294"/>
                    <a:gd name="connsiteX49" fmla="*/ 56344 w 4501379"/>
                    <a:gd name="connsiteY49" fmla="*/ 2368550 h 4429294"/>
                    <a:gd name="connsiteX50" fmla="*/ 2369 w 4501379"/>
                    <a:gd name="connsiteY50" fmla="*/ 1905000 h 4429294"/>
                    <a:gd name="connsiteX51" fmla="*/ 11894 w 4501379"/>
                    <a:gd name="connsiteY51" fmla="*/ 1838325 h 4429294"/>
                    <a:gd name="connsiteX52" fmla="*/ 30944 w 4501379"/>
                    <a:gd name="connsiteY52" fmla="*/ 1781175 h 4429294"/>
                    <a:gd name="connsiteX53" fmla="*/ 40469 w 4501379"/>
                    <a:gd name="connsiteY53" fmla="*/ 1743075 h 4429294"/>
                    <a:gd name="connsiteX54" fmla="*/ 59519 w 4501379"/>
                    <a:gd name="connsiteY54" fmla="*/ 1685925 h 4429294"/>
                    <a:gd name="connsiteX55" fmla="*/ 69044 w 4501379"/>
                    <a:gd name="connsiteY55" fmla="*/ 1638300 h 4429294"/>
                    <a:gd name="connsiteX56" fmla="*/ 88094 w 4501379"/>
                    <a:gd name="connsiteY56" fmla="*/ 1590675 h 4429294"/>
                    <a:gd name="connsiteX57" fmla="*/ 116669 w 4501379"/>
                    <a:gd name="connsiteY57" fmla="*/ 1504950 h 4429294"/>
                    <a:gd name="connsiteX58" fmla="*/ 135719 w 4501379"/>
                    <a:gd name="connsiteY58" fmla="*/ 1419225 h 4429294"/>
                    <a:gd name="connsiteX59" fmla="*/ 211919 w 4501379"/>
                    <a:gd name="connsiteY59" fmla="*/ 1276350 h 4429294"/>
                    <a:gd name="connsiteX60" fmla="*/ 221444 w 4501379"/>
                    <a:gd name="connsiteY60" fmla="*/ 1247775 h 4429294"/>
                    <a:gd name="connsiteX61" fmla="*/ 250019 w 4501379"/>
                    <a:gd name="connsiteY61" fmla="*/ 1200150 h 4429294"/>
                    <a:gd name="connsiteX62" fmla="*/ 269069 w 4501379"/>
                    <a:gd name="connsiteY62" fmla="*/ 1152525 h 4429294"/>
                    <a:gd name="connsiteX63" fmla="*/ 297644 w 4501379"/>
                    <a:gd name="connsiteY63" fmla="*/ 1114425 h 4429294"/>
                    <a:gd name="connsiteX64" fmla="*/ 345269 w 4501379"/>
                    <a:gd name="connsiteY64" fmla="*/ 1038225 h 4429294"/>
                    <a:gd name="connsiteX65" fmla="*/ 364319 w 4501379"/>
                    <a:gd name="connsiteY65" fmla="*/ 1009650 h 4429294"/>
                    <a:gd name="connsiteX66" fmla="*/ 421469 w 4501379"/>
                    <a:gd name="connsiteY66" fmla="*/ 904875 h 4429294"/>
                    <a:gd name="connsiteX67" fmla="*/ 459569 w 4501379"/>
                    <a:gd name="connsiteY67" fmla="*/ 857250 h 4429294"/>
                    <a:gd name="connsiteX68" fmla="*/ 478619 w 4501379"/>
                    <a:gd name="connsiteY68" fmla="*/ 828675 h 4429294"/>
                    <a:gd name="connsiteX69" fmla="*/ 516719 w 4501379"/>
                    <a:gd name="connsiteY69" fmla="*/ 800100 h 4429294"/>
                    <a:gd name="connsiteX70" fmla="*/ 583394 w 4501379"/>
                    <a:gd name="connsiteY70" fmla="*/ 733425 h 4429294"/>
                    <a:gd name="connsiteX71" fmla="*/ 650069 w 4501379"/>
                    <a:gd name="connsiteY71" fmla="*/ 676275 h 4429294"/>
                    <a:gd name="connsiteX72" fmla="*/ 678644 w 4501379"/>
                    <a:gd name="connsiteY72" fmla="*/ 657225 h 4429294"/>
                    <a:gd name="connsiteX73" fmla="*/ 821519 w 4501379"/>
                    <a:gd name="connsiteY73" fmla="*/ 533400 h 4429294"/>
                    <a:gd name="connsiteX74" fmla="*/ 869144 w 4501379"/>
                    <a:gd name="connsiteY74" fmla="*/ 504825 h 4429294"/>
                    <a:gd name="connsiteX75" fmla="*/ 1148544 w 4501379"/>
                    <a:gd name="connsiteY75" fmla="*/ 311150 h 4429294"/>
                    <a:gd name="connsiteX76" fmla="*/ 1250144 w 4501379"/>
                    <a:gd name="connsiteY76" fmla="*/ 285750 h 4429294"/>
                    <a:gd name="connsiteX77" fmla="*/ 1393019 w 4501379"/>
                    <a:gd name="connsiteY77" fmla="*/ 190500 h 4429294"/>
                    <a:gd name="connsiteX78" fmla="*/ 1431119 w 4501379"/>
                    <a:gd name="connsiteY78" fmla="*/ 161925 h 4429294"/>
                    <a:gd name="connsiteX79" fmla="*/ 1507319 w 4501379"/>
                    <a:gd name="connsiteY79" fmla="*/ 152400 h 4429294"/>
                    <a:gd name="connsiteX80" fmla="*/ 1564469 w 4501379"/>
                    <a:gd name="connsiteY80" fmla="*/ 142875 h 4429294"/>
                    <a:gd name="connsiteX81" fmla="*/ 1697819 w 4501379"/>
                    <a:gd name="connsiteY81" fmla="*/ 123825 h 4429294"/>
                    <a:gd name="connsiteX82" fmla="*/ 1793069 w 4501379"/>
                    <a:gd name="connsiteY82" fmla="*/ 114300 h 4429294"/>
                    <a:gd name="connsiteX83" fmla="*/ 1840694 w 4501379"/>
                    <a:gd name="connsiteY83" fmla="*/ 104775 h 4429294"/>
                    <a:gd name="connsiteX84" fmla="*/ 1897844 w 4501379"/>
                    <a:gd name="connsiteY84" fmla="*/ 95250 h 4429294"/>
                    <a:gd name="connsiteX85" fmla="*/ 2012144 w 4501379"/>
                    <a:gd name="connsiteY85" fmla="*/ 66675 h 4429294"/>
                    <a:gd name="connsiteX86" fmla="*/ 2078819 w 4501379"/>
                    <a:gd name="connsiteY86" fmla="*/ 47625 h 4429294"/>
                    <a:gd name="connsiteX87" fmla="*/ 2145494 w 4501379"/>
                    <a:gd name="connsiteY8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3117044 w 4501379"/>
                    <a:gd name="connsiteY4" fmla="*/ 171450 h 4429294"/>
                    <a:gd name="connsiteX5" fmla="*/ 3155144 w 4501379"/>
                    <a:gd name="connsiteY5" fmla="*/ 190500 h 4429294"/>
                    <a:gd name="connsiteX6" fmla="*/ 3221819 w 4501379"/>
                    <a:gd name="connsiteY6" fmla="*/ 228600 h 4429294"/>
                    <a:gd name="connsiteX7" fmla="*/ 3250394 w 4501379"/>
                    <a:gd name="connsiteY7" fmla="*/ 238125 h 4429294"/>
                    <a:gd name="connsiteX8" fmla="*/ 3278969 w 4501379"/>
                    <a:gd name="connsiteY8" fmla="*/ 257175 h 4429294"/>
                    <a:gd name="connsiteX9" fmla="*/ 3307544 w 4501379"/>
                    <a:gd name="connsiteY9" fmla="*/ 266700 h 4429294"/>
                    <a:gd name="connsiteX10" fmla="*/ 3336119 w 4501379"/>
                    <a:gd name="connsiteY10" fmla="*/ 285750 h 4429294"/>
                    <a:gd name="connsiteX11" fmla="*/ 3402794 w 4501379"/>
                    <a:gd name="connsiteY11" fmla="*/ 323850 h 4429294"/>
                    <a:gd name="connsiteX12" fmla="*/ 3450419 w 4501379"/>
                    <a:gd name="connsiteY12" fmla="*/ 361950 h 4429294"/>
                    <a:gd name="connsiteX13" fmla="*/ 3498044 w 4501379"/>
                    <a:gd name="connsiteY13" fmla="*/ 390525 h 4429294"/>
                    <a:gd name="connsiteX14" fmla="*/ 3612344 w 4501379"/>
                    <a:gd name="connsiteY14" fmla="*/ 485775 h 4429294"/>
                    <a:gd name="connsiteX15" fmla="*/ 3726644 w 4501379"/>
                    <a:gd name="connsiteY15" fmla="*/ 542925 h 4429294"/>
                    <a:gd name="connsiteX16" fmla="*/ 3793319 w 4501379"/>
                    <a:gd name="connsiteY16" fmla="*/ 581025 h 4429294"/>
                    <a:gd name="connsiteX17" fmla="*/ 4009219 w 4501379"/>
                    <a:gd name="connsiteY17" fmla="*/ 819150 h 4429294"/>
                    <a:gd name="connsiteX18" fmla="*/ 4145744 w 4501379"/>
                    <a:gd name="connsiteY18" fmla="*/ 990600 h 4429294"/>
                    <a:gd name="connsiteX19" fmla="*/ 4231469 w 4501379"/>
                    <a:gd name="connsiteY19" fmla="*/ 1143000 h 4429294"/>
                    <a:gd name="connsiteX20" fmla="*/ 4288619 w 4501379"/>
                    <a:gd name="connsiteY20" fmla="*/ 1266825 h 4429294"/>
                    <a:gd name="connsiteX21" fmla="*/ 4326719 w 4501379"/>
                    <a:gd name="connsiteY21" fmla="*/ 1362075 h 4429294"/>
                    <a:gd name="connsiteX22" fmla="*/ 4374344 w 4501379"/>
                    <a:gd name="connsiteY22" fmla="*/ 1552575 h 4429294"/>
                    <a:gd name="connsiteX23" fmla="*/ 4412444 w 4501379"/>
                    <a:gd name="connsiteY23" fmla="*/ 1685925 h 4429294"/>
                    <a:gd name="connsiteX24" fmla="*/ 4501344 w 4501379"/>
                    <a:gd name="connsiteY24" fmla="*/ 2181225 h 4429294"/>
                    <a:gd name="connsiteX25" fmla="*/ 4428319 w 4501379"/>
                    <a:gd name="connsiteY25" fmla="*/ 2768600 h 4429294"/>
                    <a:gd name="connsiteX26" fmla="*/ 4364819 w 4501379"/>
                    <a:gd name="connsiteY26" fmla="*/ 2990850 h 4429294"/>
                    <a:gd name="connsiteX27" fmla="*/ 4260044 w 4501379"/>
                    <a:gd name="connsiteY27" fmla="*/ 3248025 h 4429294"/>
                    <a:gd name="connsiteX28" fmla="*/ 4164794 w 4501379"/>
                    <a:gd name="connsiteY28" fmla="*/ 3400425 h 4429294"/>
                    <a:gd name="connsiteX29" fmla="*/ 4040969 w 4501379"/>
                    <a:gd name="connsiteY29" fmla="*/ 3533775 h 4429294"/>
                    <a:gd name="connsiteX30" fmla="*/ 3936194 w 4501379"/>
                    <a:gd name="connsiteY30" fmla="*/ 3648075 h 4429294"/>
                    <a:gd name="connsiteX31" fmla="*/ 3640919 w 4501379"/>
                    <a:gd name="connsiteY31" fmla="*/ 3971925 h 4429294"/>
                    <a:gd name="connsiteX32" fmla="*/ 3498044 w 4501379"/>
                    <a:gd name="connsiteY32" fmla="*/ 4083050 h 4429294"/>
                    <a:gd name="connsiteX33" fmla="*/ 3202769 w 4501379"/>
                    <a:gd name="connsiteY33" fmla="*/ 4222750 h 4429294"/>
                    <a:gd name="connsiteX34" fmla="*/ 3050369 w 4501379"/>
                    <a:gd name="connsiteY34" fmla="*/ 4286250 h 4429294"/>
                    <a:gd name="connsiteX35" fmla="*/ 2917019 w 4501379"/>
                    <a:gd name="connsiteY35" fmla="*/ 4333875 h 4429294"/>
                    <a:gd name="connsiteX36" fmla="*/ 2793194 w 4501379"/>
                    <a:gd name="connsiteY36" fmla="*/ 4371975 h 4429294"/>
                    <a:gd name="connsiteX37" fmla="*/ 2561419 w 4501379"/>
                    <a:gd name="connsiteY37" fmla="*/ 4391025 h 4429294"/>
                    <a:gd name="connsiteX38" fmla="*/ 2107394 w 4501379"/>
                    <a:gd name="connsiteY38" fmla="*/ 4429125 h 4429294"/>
                    <a:gd name="connsiteX39" fmla="*/ 1916894 w 4501379"/>
                    <a:gd name="connsiteY39" fmla="*/ 4400550 h 4429294"/>
                    <a:gd name="connsiteX40" fmla="*/ 1554944 w 4501379"/>
                    <a:gd name="connsiteY40" fmla="*/ 4305300 h 4429294"/>
                    <a:gd name="connsiteX41" fmla="*/ 1313644 w 4501379"/>
                    <a:gd name="connsiteY41" fmla="*/ 4216400 h 4429294"/>
                    <a:gd name="connsiteX42" fmla="*/ 1145369 w 4501379"/>
                    <a:gd name="connsiteY42" fmla="*/ 4111625 h 4429294"/>
                    <a:gd name="connsiteX43" fmla="*/ 926294 w 4501379"/>
                    <a:gd name="connsiteY43" fmla="*/ 3968750 h 4429294"/>
                    <a:gd name="connsiteX44" fmla="*/ 592919 w 4501379"/>
                    <a:gd name="connsiteY44" fmla="*/ 3657600 h 4429294"/>
                    <a:gd name="connsiteX45" fmla="*/ 446869 w 4501379"/>
                    <a:gd name="connsiteY45" fmla="*/ 3470275 h 4429294"/>
                    <a:gd name="connsiteX46" fmla="*/ 316694 w 4501379"/>
                    <a:gd name="connsiteY46" fmla="*/ 3244850 h 4429294"/>
                    <a:gd name="connsiteX47" fmla="*/ 164294 w 4501379"/>
                    <a:gd name="connsiteY47" fmla="*/ 2892425 h 4429294"/>
                    <a:gd name="connsiteX48" fmla="*/ 56344 w 4501379"/>
                    <a:gd name="connsiteY48" fmla="*/ 2368550 h 4429294"/>
                    <a:gd name="connsiteX49" fmla="*/ 2369 w 4501379"/>
                    <a:gd name="connsiteY49" fmla="*/ 1905000 h 4429294"/>
                    <a:gd name="connsiteX50" fmla="*/ 11894 w 4501379"/>
                    <a:gd name="connsiteY50" fmla="*/ 1838325 h 4429294"/>
                    <a:gd name="connsiteX51" fmla="*/ 30944 w 4501379"/>
                    <a:gd name="connsiteY51" fmla="*/ 1781175 h 4429294"/>
                    <a:gd name="connsiteX52" fmla="*/ 40469 w 4501379"/>
                    <a:gd name="connsiteY52" fmla="*/ 1743075 h 4429294"/>
                    <a:gd name="connsiteX53" fmla="*/ 59519 w 4501379"/>
                    <a:gd name="connsiteY53" fmla="*/ 1685925 h 4429294"/>
                    <a:gd name="connsiteX54" fmla="*/ 69044 w 4501379"/>
                    <a:gd name="connsiteY54" fmla="*/ 1638300 h 4429294"/>
                    <a:gd name="connsiteX55" fmla="*/ 88094 w 4501379"/>
                    <a:gd name="connsiteY55" fmla="*/ 1590675 h 4429294"/>
                    <a:gd name="connsiteX56" fmla="*/ 116669 w 4501379"/>
                    <a:gd name="connsiteY56" fmla="*/ 1504950 h 4429294"/>
                    <a:gd name="connsiteX57" fmla="*/ 135719 w 4501379"/>
                    <a:gd name="connsiteY57" fmla="*/ 1419225 h 4429294"/>
                    <a:gd name="connsiteX58" fmla="*/ 211919 w 4501379"/>
                    <a:gd name="connsiteY58" fmla="*/ 1276350 h 4429294"/>
                    <a:gd name="connsiteX59" fmla="*/ 221444 w 4501379"/>
                    <a:gd name="connsiteY59" fmla="*/ 1247775 h 4429294"/>
                    <a:gd name="connsiteX60" fmla="*/ 250019 w 4501379"/>
                    <a:gd name="connsiteY60" fmla="*/ 1200150 h 4429294"/>
                    <a:gd name="connsiteX61" fmla="*/ 269069 w 4501379"/>
                    <a:gd name="connsiteY61" fmla="*/ 1152525 h 4429294"/>
                    <a:gd name="connsiteX62" fmla="*/ 297644 w 4501379"/>
                    <a:gd name="connsiteY62" fmla="*/ 1114425 h 4429294"/>
                    <a:gd name="connsiteX63" fmla="*/ 345269 w 4501379"/>
                    <a:gd name="connsiteY63" fmla="*/ 1038225 h 4429294"/>
                    <a:gd name="connsiteX64" fmla="*/ 364319 w 4501379"/>
                    <a:gd name="connsiteY64" fmla="*/ 1009650 h 4429294"/>
                    <a:gd name="connsiteX65" fmla="*/ 421469 w 4501379"/>
                    <a:gd name="connsiteY65" fmla="*/ 904875 h 4429294"/>
                    <a:gd name="connsiteX66" fmla="*/ 459569 w 4501379"/>
                    <a:gd name="connsiteY66" fmla="*/ 857250 h 4429294"/>
                    <a:gd name="connsiteX67" fmla="*/ 478619 w 4501379"/>
                    <a:gd name="connsiteY67" fmla="*/ 828675 h 4429294"/>
                    <a:gd name="connsiteX68" fmla="*/ 516719 w 4501379"/>
                    <a:gd name="connsiteY68" fmla="*/ 800100 h 4429294"/>
                    <a:gd name="connsiteX69" fmla="*/ 583394 w 4501379"/>
                    <a:gd name="connsiteY69" fmla="*/ 733425 h 4429294"/>
                    <a:gd name="connsiteX70" fmla="*/ 650069 w 4501379"/>
                    <a:gd name="connsiteY70" fmla="*/ 676275 h 4429294"/>
                    <a:gd name="connsiteX71" fmla="*/ 678644 w 4501379"/>
                    <a:gd name="connsiteY71" fmla="*/ 657225 h 4429294"/>
                    <a:gd name="connsiteX72" fmla="*/ 821519 w 4501379"/>
                    <a:gd name="connsiteY72" fmla="*/ 533400 h 4429294"/>
                    <a:gd name="connsiteX73" fmla="*/ 869144 w 4501379"/>
                    <a:gd name="connsiteY73" fmla="*/ 504825 h 4429294"/>
                    <a:gd name="connsiteX74" fmla="*/ 1148544 w 4501379"/>
                    <a:gd name="connsiteY74" fmla="*/ 311150 h 4429294"/>
                    <a:gd name="connsiteX75" fmla="*/ 1250144 w 4501379"/>
                    <a:gd name="connsiteY75" fmla="*/ 285750 h 4429294"/>
                    <a:gd name="connsiteX76" fmla="*/ 1393019 w 4501379"/>
                    <a:gd name="connsiteY76" fmla="*/ 190500 h 4429294"/>
                    <a:gd name="connsiteX77" fmla="*/ 1431119 w 4501379"/>
                    <a:gd name="connsiteY77" fmla="*/ 161925 h 4429294"/>
                    <a:gd name="connsiteX78" fmla="*/ 1507319 w 4501379"/>
                    <a:gd name="connsiteY78" fmla="*/ 152400 h 4429294"/>
                    <a:gd name="connsiteX79" fmla="*/ 1564469 w 4501379"/>
                    <a:gd name="connsiteY79" fmla="*/ 142875 h 4429294"/>
                    <a:gd name="connsiteX80" fmla="*/ 1697819 w 4501379"/>
                    <a:gd name="connsiteY80" fmla="*/ 123825 h 4429294"/>
                    <a:gd name="connsiteX81" fmla="*/ 1793069 w 4501379"/>
                    <a:gd name="connsiteY81" fmla="*/ 114300 h 4429294"/>
                    <a:gd name="connsiteX82" fmla="*/ 1840694 w 4501379"/>
                    <a:gd name="connsiteY82" fmla="*/ 104775 h 4429294"/>
                    <a:gd name="connsiteX83" fmla="*/ 1897844 w 4501379"/>
                    <a:gd name="connsiteY83" fmla="*/ 95250 h 4429294"/>
                    <a:gd name="connsiteX84" fmla="*/ 2012144 w 4501379"/>
                    <a:gd name="connsiteY84" fmla="*/ 66675 h 4429294"/>
                    <a:gd name="connsiteX85" fmla="*/ 2078819 w 4501379"/>
                    <a:gd name="connsiteY85" fmla="*/ 47625 h 4429294"/>
                    <a:gd name="connsiteX86" fmla="*/ 2145494 w 4501379"/>
                    <a:gd name="connsiteY8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155144 w 4501379"/>
                    <a:gd name="connsiteY4" fmla="*/ 190500 h 4429294"/>
                    <a:gd name="connsiteX5" fmla="*/ 3221819 w 4501379"/>
                    <a:gd name="connsiteY5" fmla="*/ 228600 h 4429294"/>
                    <a:gd name="connsiteX6" fmla="*/ 3250394 w 4501379"/>
                    <a:gd name="connsiteY6" fmla="*/ 238125 h 4429294"/>
                    <a:gd name="connsiteX7" fmla="*/ 3278969 w 4501379"/>
                    <a:gd name="connsiteY7" fmla="*/ 257175 h 4429294"/>
                    <a:gd name="connsiteX8" fmla="*/ 3307544 w 4501379"/>
                    <a:gd name="connsiteY8" fmla="*/ 266700 h 4429294"/>
                    <a:gd name="connsiteX9" fmla="*/ 3336119 w 4501379"/>
                    <a:gd name="connsiteY9" fmla="*/ 285750 h 4429294"/>
                    <a:gd name="connsiteX10" fmla="*/ 3402794 w 4501379"/>
                    <a:gd name="connsiteY10" fmla="*/ 323850 h 4429294"/>
                    <a:gd name="connsiteX11" fmla="*/ 3450419 w 4501379"/>
                    <a:gd name="connsiteY11" fmla="*/ 361950 h 4429294"/>
                    <a:gd name="connsiteX12" fmla="*/ 3498044 w 4501379"/>
                    <a:gd name="connsiteY12" fmla="*/ 390525 h 4429294"/>
                    <a:gd name="connsiteX13" fmla="*/ 3612344 w 4501379"/>
                    <a:gd name="connsiteY13" fmla="*/ 485775 h 4429294"/>
                    <a:gd name="connsiteX14" fmla="*/ 3726644 w 4501379"/>
                    <a:gd name="connsiteY14" fmla="*/ 542925 h 4429294"/>
                    <a:gd name="connsiteX15" fmla="*/ 3793319 w 4501379"/>
                    <a:gd name="connsiteY15" fmla="*/ 581025 h 4429294"/>
                    <a:gd name="connsiteX16" fmla="*/ 4009219 w 4501379"/>
                    <a:gd name="connsiteY16" fmla="*/ 819150 h 4429294"/>
                    <a:gd name="connsiteX17" fmla="*/ 4145744 w 4501379"/>
                    <a:gd name="connsiteY17" fmla="*/ 990600 h 4429294"/>
                    <a:gd name="connsiteX18" fmla="*/ 4231469 w 4501379"/>
                    <a:gd name="connsiteY18" fmla="*/ 1143000 h 4429294"/>
                    <a:gd name="connsiteX19" fmla="*/ 4288619 w 4501379"/>
                    <a:gd name="connsiteY19" fmla="*/ 1266825 h 4429294"/>
                    <a:gd name="connsiteX20" fmla="*/ 4326719 w 4501379"/>
                    <a:gd name="connsiteY20" fmla="*/ 1362075 h 4429294"/>
                    <a:gd name="connsiteX21" fmla="*/ 4374344 w 4501379"/>
                    <a:gd name="connsiteY21" fmla="*/ 1552575 h 4429294"/>
                    <a:gd name="connsiteX22" fmla="*/ 4412444 w 4501379"/>
                    <a:gd name="connsiteY22" fmla="*/ 1685925 h 4429294"/>
                    <a:gd name="connsiteX23" fmla="*/ 4501344 w 4501379"/>
                    <a:gd name="connsiteY23" fmla="*/ 2181225 h 4429294"/>
                    <a:gd name="connsiteX24" fmla="*/ 4428319 w 4501379"/>
                    <a:gd name="connsiteY24" fmla="*/ 2768600 h 4429294"/>
                    <a:gd name="connsiteX25" fmla="*/ 4364819 w 4501379"/>
                    <a:gd name="connsiteY25" fmla="*/ 2990850 h 4429294"/>
                    <a:gd name="connsiteX26" fmla="*/ 4260044 w 4501379"/>
                    <a:gd name="connsiteY26" fmla="*/ 3248025 h 4429294"/>
                    <a:gd name="connsiteX27" fmla="*/ 4164794 w 4501379"/>
                    <a:gd name="connsiteY27" fmla="*/ 3400425 h 4429294"/>
                    <a:gd name="connsiteX28" fmla="*/ 4040969 w 4501379"/>
                    <a:gd name="connsiteY28" fmla="*/ 3533775 h 4429294"/>
                    <a:gd name="connsiteX29" fmla="*/ 3936194 w 4501379"/>
                    <a:gd name="connsiteY29" fmla="*/ 3648075 h 4429294"/>
                    <a:gd name="connsiteX30" fmla="*/ 3640919 w 4501379"/>
                    <a:gd name="connsiteY30" fmla="*/ 3971925 h 4429294"/>
                    <a:gd name="connsiteX31" fmla="*/ 3498044 w 4501379"/>
                    <a:gd name="connsiteY31" fmla="*/ 4083050 h 4429294"/>
                    <a:gd name="connsiteX32" fmla="*/ 3202769 w 4501379"/>
                    <a:gd name="connsiteY32" fmla="*/ 4222750 h 4429294"/>
                    <a:gd name="connsiteX33" fmla="*/ 3050369 w 4501379"/>
                    <a:gd name="connsiteY33" fmla="*/ 4286250 h 4429294"/>
                    <a:gd name="connsiteX34" fmla="*/ 2917019 w 4501379"/>
                    <a:gd name="connsiteY34" fmla="*/ 4333875 h 4429294"/>
                    <a:gd name="connsiteX35" fmla="*/ 2793194 w 4501379"/>
                    <a:gd name="connsiteY35" fmla="*/ 4371975 h 4429294"/>
                    <a:gd name="connsiteX36" fmla="*/ 2561419 w 4501379"/>
                    <a:gd name="connsiteY36" fmla="*/ 4391025 h 4429294"/>
                    <a:gd name="connsiteX37" fmla="*/ 2107394 w 4501379"/>
                    <a:gd name="connsiteY37" fmla="*/ 4429125 h 4429294"/>
                    <a:gd name="connsiteX38" fmla="*/ 1916894 w 4501379"/>
                    <a:gd name="connsiteY38" fmla="*/ 4400550 h 4429294"/>
                    <a:gd name="connsiteX39" fmla="*/ 1554944 w 4501379"/>
                    <a:gd name="connsiteY39" fmla="*/ 4305300 h 4429294"/>
                    <a:gd name="connsiteX40" fmla="*/ 1313644 w 4501379"/>
                    <a:gd name="connsiteY40" fmla="*/ 4216400 h 4429294"/>
                    <a:gd name="connsiteX41" fmla="*/ 1145369 w 4501379"/>
                    <a:gd name="connsiteY41" fmla="*/ 4111625 h 4429294"/>
                    <a:gd name="connsiteX42" fmla="*/ 926294 w 4501379"/>
                    <a:gd name="connsiteY42" fmla="*/ 3968750 h 4429294"/>
                    <a:gd name="connsiteX43" fmla="*/ 592919 w 4501379"/>
                    <a:gd name="connsiteY43" fmla="*/ 3657600 h 4429294"/>
                    <a:gd name="connsiteX44" fmla="*/ 446869 w 4501379"/>
                    <a:gd name="connsiteY44" fmla="*/ 3470275 h 4429294"/>
                    <a:gd name="connsiteX45" fmla="*/ 316694 w 4501379"/>
                    <a:gd name="connsiteY45" fmla="*/ 3244850 h 4429294"/>
                    <a:gd name="connsiteX46" fmla="*/ 164294 w 4501379"/>
                    <a:gd name="connsiteY46" fmla="*/ 2892425 h 4429294"/>
                    <a:gd name="connsiteX47" fmla="*/ 56344 w 4501379"/>
                    <a:gd name="connsiteY47" fmla="*/ 2368550 h 4429294"/>
                    <a:gd name="connsiteX48" fmla="*/ 2369 w 4501379"/>
                    <a:gd name="connsiteY48" fmla="*/ 1905000 h 4429294"/>
                    <a:gd name="connsiteX49" fmla="*/ 11894 w 4501379"/>
                    <a:gd name="connsiteY49" fmla="*/ 1838325 h 4429294"/>
                    <a:gd name="connsiteX50" fmla="*/ 30944 w 4501379"/>
                    <a:gd name="connsiteY50" fmla="*/ 1781175 h 4429294"/>
                    <a:gd name="connsiteX51" fmla="*/ 40469 w 4501379"/>
                    <a:gd name="connsiteY51" fmla="*/ 1743075 h 4429294"/>
                    <a:gd name="connsiteX52" fmla="*/ 59519 w 4501379"/>
                    <a:gd name="connsiteY52" fmla="*/ 1685925 h 4429294"/>
                    <a:gd name="connsiteX53" fmla="*/ 69044 w 4501379"/>
                    <a:gd name="connsiteY53" fmla="*/ 1638300 h 4429294"/>
                    <a:gd name="connsiteX54" fmla="*/ 88094 w 4501379"/>
                    <a:gd name="connsiteY54" fmla="*/ 1590675 h 4429294"/>
                    <a:gd name="connsiteX55" fmla="*/ 116669 w 4501379"/>
                    <a:gd name="connsiteY55" fmla="*/ 1504950 h 4429294"/>
                    <a:gd name="connsiteX56" fmla="*/ 135719 w 4501379"/>
                    <a:gd name="connsiteY56" fmla="*/ 1419225 h 4429294"/>
                    <a:gd name="connsiteX57" fmla="*/ 211919 w 4501379"/>
                    <a:gd name="connsiteY57" fmla="*/ 1276350 h 4429294"/>
                    <a:gd name="connsiteX58" fmla="*/ 221444 w 4501379"/>
                    <a:gd name="connsiteY58" fmla="*/ 1247775 h 4429294"/>
                    <a:gd name="connsiteX59" fmla="*/ 250019 w 4501379"/>
                    <a:gd name="connsiteY59" fmla="*/ 1200150 h 4429294"/>
                    <a:gd name="connsiteX60" fmla="*/ 269069 w 4501379"/>
                    <a:gd name="connsiteY60" fmla="*/ 1152525 h 4429294"/>
                    <a:gd name="connsiteX61" fmla="*/ 297644 w 4501379"/>
                    <a:gd name="connsiteY61" fmla="*/ 1114425 h 4429294"/>
                    <a:gd name="connsiteX62" fmla="*/ 345269 w 4501379"/>
                    <a:gd name="connsiteY62" fmla="*/ 1038225 h 4429294"/>
                    <a:gd name="connsiteX63" fmla="*/ 364319 w 4501379"/>
                    <a:gd name="connsiteY63" fmla="*/ 1009650 h 4429294"/>
                    <a:gd name="connsiteX64" fmla="*/ 421469 w 4501379"/>
                    <a:gd name="connsiteY64" fmla="*/ 904875 h 4429294"/>
                    <a:gd name="connsiteX65" fmla="*/ 459569 w 4501379"/>
                    <a:gd name="connsiteY65" fmla="*/ 857250 h 4429294"/>
                    <a:gd name="connsiteX66" fmla="*/ 478619 w 4501379"/>
                    <a:gd name="connsiteY66" fmla="*/ 828675 h 4429294"/>
                    <a:gd name="connsiteX67" fmla="*/ 516719 w 4501379"/>
                    <a:gd name="connsiteY67" fmla="*/ 800100 h 4429294"/>
                    <a:gd name="connsiteX68" fmla="*/ 583394 w 4501379"/>
                    <a:gd name="connsiteY68" fmla="*/ 733425 h 4429294"/>
                    <a:gd name="connsiteX69" fmla="*/ 650069 w 4501379"/>
                    <a:gd name="connsiteY69" fmla="*/ 676275 h 4429294"/>
                    <a:gd name="connsiteX70" fmla="*/ 678644 w 4501379"/>
                    <a:gd name="connsiteY70" fmla="*/ 657225 h 4429294"/>
                    <a:gd name="connsiteX71" fmla="*/ 821519 w 4501379"/>
                    <a:gd name="connsiteY71" fmla="*/ 533400 h 4429294"/>
                    <a:gd name="connsiteX72" fmla="*/ 869144 w 4501379"/>
                    <a:gd name="connsiteY72" fmla="*/ 504825 h 4429294"/>
                    <a:gd name="connsiteX73" fmla="*/ 1148544 w 4501379"/>
                    <a:gd name="connsiteY73" fmla="*/ 311150 h 4429294"/>
                    <a:gd name="connsiteX74" fmla="*/ 1250144 w 4501379"/>
                    <a:gd name="connsiteY74" fmla="*/ 285750 h 4429294"/>
                    <a:gd name="connsiteX75" fmla="*/ 1393019 w 4501379"/>
                    <a:gd name="connsiteY75" fmla="*/ 190500 h 4429294"/>
                    <a:gd name="connsiteX76" fmla="*/ 1431119 w 4501379"/>
                    <a:gd name="connsiteY76" fmla="*/ 161925 h 4429294"/>
                    <a:gd name="connsiteX77" fmla="*/ 1507319 w 4501379"/>
                    <a:gd name="connsiteY77" fmla="*/ 152400 h 4429294"/>
                    <a:gd name="connsiteX78" fmla="*/ 1564469 w 4501379"/>
                    <a:gd name="connsiteY78" fmla="*/ 142875 h 4429294"/>
                    <a:gd name="connsiteX79" fmla="*/ 1697819 w 4501379"/>
                    <a:gd name="connsiteY79" fmla="*/ 123825 h 4429294"/>
                    <a:gd name="connsiteX80" fmla="*/ 1793069 w 4501379"/>
                    <a:gd name="connsiteY80" fmla="*/ 114300 h 4429294"/>
                    <a:gd name="connsiteX81" fmla="*/ 1840694 w 4501379"/>
                    <a:gd name="connsiteY81" fmla="*/ 104775 h 4429294"/>
                    <a:gd name="connsiteX82" fmla="*/ 1897844 w 4501379"/>
                    <a:gd name="connsiteY82" fmla="*/ 95250 h 4429294"/>
                    <a:gd name="connsiteX83" fmla="*/ 2012144 w 4501379"/>
                    <a:gd name="connsiteY83" fmla="*/ 66675 h 4429294"/>
                    <a:gd name="connsiteX84" fmla="*/ 2078819 w 4501379"/>
                    <a:gd name="connsiteY84" fmla="*/ 47625 h 4429294"/>
                    <a:gd name="connsiteX85" fmla="*/ 2145494 w 4501379"/>
                    <a:gd name="connsiteY8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278969 w 4501379"/>
                    <a:gd name="connsiteY6" fmla="*/ 257175 h 4429294"/>
                    <a:gd name="connsiteX7" fmla="*/ 3307544 w 4501379"/>
                    <a:gd name="connsiteY7" fmla="*/ 266700 h 4429294"/>
                    <a:gd name="connsiteX8" fmla="*/ 3336119 w 4501379"/>
                    <a:gd name="connsiteY8" fmla="*/ 285750 h 4429294"/>
                    <a:gd name="connsiteX9" fmla="*/ 3402794 w 4501379"/>
                    <a:gd name="connsiteY9" fmla="*/ 323850 h 4429294"/>
                    <a:gd name="connsiteX10" fmla="*/ 3450419 w 4501379"/>
                    <a:gd name="connsiteY10" fmla="*/ 361950 h 4429294"/>
                    <a:gd name="connsiteX11" fmla="*/ 3498044 w 4501379"/>
                    <a:gd name="connsiteY11" fmla="*/ 390525 h 4429294"/>
                    <a:gd name="connsiteX12" fmla="*/ 3612344 w 4501379"/>
                    <a:gd name="connsiteY12" fmla="*/ 485775 h 4429294"/>
                    <a:gd name="connsiteX13" fmla="*/ 3726644 w 4501379"/>
                    <a:gd name="connsiteY13" fmla="*/ 542925 h 4429294"/>
                    <a:gd name="connsiteX14" fmla="*/ 3793319 w 4501379"/>
                    <a:gd name="connsiteY14" fmla="*/ 581025 h 4429294"/>
                    <a:gd name="connsiteX15" fmla="*/ 4009219 w 4501379"/>
                    <a:gd name="connsiteY15" fmla="*/ 819150 h 4429294"/>
                    <a:gd name="connsiteX16" fmla="*/ 4145744 w 4501379"/>
                    <a:gd name="connsiteY16" fmla="*/ 990600 h 4429294"/>
                    <a:gd name="connsiteX17" fmla="*/ 4231469 w 4501379"/>
                    <a:gd name="connsiteY17" fmla="*/ 1143000 h 4429294"/>
                    <a:gd name="connsiteX18" fmla="*/ 4288619 w 4501379"/>
                    <a:gd name="connsiteY18" fmla="*/ 1266825 h 4429294"/>
                    <a:gd name="connsiteX19" fmla="*/ 4326719 w 4501379"/>
                    <a:gd name="connsiteY19" fmla="*/ 1362075 h 4429294"/>
                    <a:gd name="connsiteX20" fmla="*/ 4374344 w 4501379"/>
                    <a:gd name="connsiteY20" fmla="*/ 1552575 h 4429294"/>
                    <a:gd name="connsiteX21" fmla="*/ 4412444 w 4501379"/>
                    <a:gd name="connsiteY21" fmla="*/ 1685925 h 4429294"/>
                    <a:gd name="connsiteX22" fmla="*/ 4501344 w 4501379"/>
                    <a:gd name="connsiteY22" fmla="*/ 2181225 h 4429294"/>
                    <a:gd name="connsiteX23" fmla="*/ 4428319 w 4501379"/>
                    <a:gd name="connsiteY23" fmla="*/ 2768600 h 4429294"/>
                    <a:gd name="connsiteX24" fmla="*/ 4364819 w 4501379"/>
                    <a:gd name="connsiteY24" fmla="*/ 2990850 h 4429294"/>
                    <a:gd name="connsiteX25" fmla="*/ 4260044 w 4501379"/>
                    <a:gd name="connsiteY25" fmla="*/ 3248025 h 4429294"/>
                    <a:gd name="connsiteX26" fmla="*/ 4164794 w 4501379"/>
                    <a:gd name="connsiteY26" fmla="*/ 3400425 h 4429294"/>
                    <a:gd name="connsiteX27" fmla="*/ 4040969 w 4501379"/>
                    <a:gd name="connsiteY27" fmla="*/ 3533775 h 4429294"/>
                    <a:gd name="connsiteX28" fmla="*/ 3936194 w 4501379"/>
                    <a:gd name="connsiteY28" fmla="*/ 3648075 h 4429294"/>
                    <a:gd name="connsiteX29" fmla="*/ 3640919 w 4501379"/>
                    <a:gd name="connsiteY29" fmla="*/ 3971925 h 4429294"/>
                    <a:gd name="connsiteX30" fmla="*/ 3498044 w 4501379"/>
                    <a:gd name="connsiteY30" fmla="*/ 4083050 h 4429294"/>
                    <a:gd name="connsiteX31" fmla="*/ 3202769 w 4501379"/>
                    <a:gd name="connsiteY31" fmla="*/ 4222750 h 4429294"/>
                    <a:gd name="connsiteX32" fmla="*/ 3050369 w 4501379"/>
                    <a:gd name="connsiteY32" fmla="*/ 4286250 h 4429294"/>
                    <a:gd name="connsiteX33" fmla="*/ 2917019 w 4501379"/>
                    <a:gd name="connsiteY33" fmla="*/ 4333875 h 4429294"/>
                    <a:gd name="connsiteX34" fmla="*/ 2793194 w 4501379"/>
                    <a:gd name="connsiteY34" fmla="*/ 4371975 h 4429294"/>
                    <a:gd name="connsiteX35" fmla="*/ 2561419 w 4501379"/>
                    <a:gd name="connsiteY35" fmla="*/ 4391025 h 4429294"/>
                    <a:gd name="connsiteX36" fmla="*/ 2107394 w 4501379"/>
                    <a:gd name="connsiteY36" fmla="*/ 4429125 h 4429294"/>
                    <a:gd name="connsiteX37" fmla="*/ 1916894 w 4501379"/>
                    <a:gd name="connsiteY37" fmla="*/ 4400550 h 4429294"/>
                    <a:gd name="connsiteX38" fmla="*/ 1554944 w 4501379"/>
                    <a:gd name="connsiteY38" fmla="*/ 4305300 h 4429294"/>
                    <a:gd name="connsiteX39" fmla="*/ 1313644 w 4501379"/>
                    <a:gd name="connsiteY39" fmla="*/ 4216400 h 4429294"/>
                    <a:gd name="connsiteX40" fmla="*/ 1145369 w 4501379"/>
                    <a:gd name="connsiteY40" fmla="*/ 4111625 h 4429294"/>
                    <a:gd name="connsiteX41" fmla="*/ 926294 w 4501379"/>
                    <a:gd name="connsiteY41" fmla="*/ 3968750 h 4429294"/>
                    <a:gd name="connsiteX42" fmla="*/ 592919 w 4501379"/>
                    <a:gd name="connsiteY42" fmla="*/ 3657600 h 4429294"/>
                    <a:gd name="connsiteX43" fmla="*/ 446869 w 4501379"/>
                    <a:gd name="connsiteY43" fmla="*/ 3470275 h 4429294"/>
                    <a:gd name="connsiteX44" fmla="*/ 316694 w 4501379"/>
                    <a:gd name="connsiteY44" fmla="*/ 3244850 h 4429294"/>
                    <a:gd name="connsiteX45" fmla="*/ 164294 w 4501379"/>
                    <a:gd name="connsiteY45" fmla="*/ 2892425 h 4429294"/>
                    <a:gd name="connsiteX46" fmla="*/ 56344 w 4501379"/>
                    <a:gd name="connsiteY46" fmla="*/ 2368550 h 4429294"/>
                    <a:gd name="connsiteX47" fmla="*/ 2369 w 4501379"/>
                    <a:gd name="connsiteY47" fmla="*/ 1905000 h 4429294"/>
                    <a:gd name="connsiteX48" fmla="*/ 11894 w 4501379"/>
                    <a:gd name="connsiteY48" fmla="*/ 1838325 h 4429294"/>
                    <a:gd name="connsiteX49" fmla="*/ 30944 w 4501379"/>
                    <a:gd name="connsiteY49" fmla="*/ 1781175 h 4429294"/>
                    <a:gd name="connsiteX50" fmla="*/ 40469 w 4501379"/>
                    <a:gd name="connsiteY50" fmla="*/ 1743075 h 4429294"/>
                    <a:gd name="connsiteX51" fmla="*/ 59519 w 4501379"/>
                    <a:gd name="connsiteY51" fmla="*/ 1685925 h 4429294"/>
                    <a:gd name="connsiteX52" fmla="*/ 69044 w 4501379"/>
                    <a:gd name="connsiteY52" fmla="*/ 1638300 h 4429294"/>
                    <a:gd name="connsiteX53" fmla="*/ 88094 w 4501379"/>
                    <a:gd name="connsiteY53" fmla="*/ 1590675 h 4429294"/>
                    <a:gd name="connsiteX54" fmla="*/ 116669 w 4501379"/>
                    <a:gd name="connsiteY54" fmla="*/ 1504950 h 4429294"/>
                    <a:gd name="connsiteX55" fmla="*/ 135719 w 4501379"/>
                    <a:gd name="connsiteY55" fmla="*/ 1419225 h 4429294"/>
                    <a:gd name="connsiteX56" fmla="*/ 211919 w 4501379"/>
                    <a:gd name="connsiteY56" fmla="*/ 1276350 h 4429294"/>
                    <a:gd name="connsiteX57" fmla="*/ 221444 w 4501379"/>
                    <a:gd name="connsiteY57" fmla="*/ 1247775 h 4429294"/>
                    <a:gd name="connsiteX58" fmla="*/ 250019 w 4501379"/>
                    <a:gd name="connsiteY58" fmla="*/ 1200150 h 4429294"/>
                    <a:gd name="connsiteX59" fmla="*/ 269069 w 4501379"/>
                    <a:gd name="connsiteY59" fmla="*/ 1152525 h 4429294"/>
                    <a:gd name="connsiteX60" fmla="*/ 297644 w 4501379"/>
                    <a:gd name="connsiteY60" fmla="*/ 1114425 h 4429294"/>
                    <a:gd name="connsiteX61" fmla="*/ 345269 w 4501379"/>
                    <a:gd name="connsiteY61" fmla="*/ 1038225 h 4429294"/>
                    <a:gd name="connsiteX62" fmla="*/ 364319 w 4501379"/>
                    <a:gd name="connsiteY62" fmla="*/ 1009650 h 4429294"/>
                    <a:gd name="connsiteX63" fmla="*/ 421469 w 4501379"/>
                    <a:gd name="connsiteY63" fmla="*/ 904875 h 4429294"/>
                    <a:gd name="connsiteX64" fmla="*/ 459569 w 4501379"/>
                    <a:gd name="connsiteY64" fmla="*/ 857250 h 4429294"/>
                    <a:gd name="connsiteX65" fmla="*/ 478619 w 4501379"/>
                    <a:gd name="connsiteY65" fmla="*/ 828675 h 4429294"/>
                    <a:gd name="connsiteX66" fmla="*/ 516719 w 4501379"/>
                    <a:gd name="connsiteY66" fmla="*/ 800100 h 4429294"/>
                    <a:gd name="connsiteX67" fmla="*/ 583394 w 4501379"/>
                    <a:gd name="connsiteY67" fmla="*/ 733425 h 4429294"/>
                    <a:gd name="connsiteX68" fmla="*/ 650069 w 4501379"/>
                    <a:gd name="connsiteY68" fmla="*/ 676275 h 4429294"/>
                    <a:gd name="connsiteX69" fmla="*/ 678644 w 4501379"/>
                    <a:gd name="connsiteY69" fmla="*/ 657225 h 4429294"/>
                    <a:gd name="connsiteX70" fmla="*/ 821519 w 4501379"/>
                    <a:gd name="connsiteY70" fmla="*/ 533400 h 4429294"/>
                    <a:gd name="connsiteX71" fmla="*/ 869144 w 4501379"/>
                    <a:gd name="connsiteY71" fmla="*/ 504825 h 4429294"/>
                    <a:gd name="connsiteX72" fmla="*/ 1148544 w 4501379"/>
                    <a:gd name="connsiteY72" fmla="*/ 311150 h 4429294"/>
                    <a:gd name="connsiteX73" fmla="*/ 1250144 w 4501379"/>
                    <a:gd name="connsiteY73" fmla="*/ 285750 h 4429294"/>
                    <a:gd name="connsiteX74" fmla="*/ 1393019 w 4501379"/>
                    <a:gd name="connsiteY74" fmla="*/ 190500 h 4429294"/>
                    <a:gd name="connsiteX75" fmla="*/ 1431119 w 4501379"/>
                    <a:gd name="connsiteY75" fmla="*/ 161925 h 4429294"/>
                    <a:gd name="connsiteX76" fmla="*/ 1507319 w 4501379"/>
                    <a:gd name="connsiteY76" fmla="*/ 152400 h 4429294"/>
                    <a:gd name="connsiteX77" fmla="*/ 1564469 w 4501379"/>
                    <a:gd name="connsiteY77" fmla="*/ 142875 h 4429294"/>
                    <a:gd name="connsiteX78" fmla="*/ 1697819 w 4501379"/>
                    <a:gd name="connsiteY78" fmla="*/ 123825 h 4429294"/>
                    <a:gd name="connsiteX79" fmla="*/ 1793069 w 4501379"/>
                    <a:gd name="connsiteY79" fmla="*/ 114300 h 4429294"/>
                    <a:gd name="connsiteX80" fmla="*/ 1840694 w 4501379"/>
                    <a:gd name="connsiteY80" fmla="*/ 104775 h 4429294"/>
                    <a:gd name="connsiteX81" fmla="*/ 1897844 w 4501379"/>
                    <a:gd name="connsiteY81" fmla="*/ 95250 h 4429294"/>
                    <a:gd name="connsiteX82" fmla="*/ 2012144 w 4501379"/>
                    <a:gd name="connsiteY82" fmla="*/ 66675 h 4429294"/>
                    <a:gd name="connsiteX83" fmla="*/ 2078819 w 4501379"/>
                    <a:gd name="connsiteY83" fmla="*/ 47625 h 4429294"/>
                    <a:gd name="connsiteX84" fmla="*/ 2145494 w 4501379"/>
                    <a:gd name="connsiteY8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336119 w 4501379"/>
                    <a:gd name="connsiteY7" fmla="*/ 285750 h 4429294"/>
                    <a:gd name="connsiteX8" fmla="*/ 3402794 w 4501379"/>
                    <a:gd name="connsiteY8" fmla="*/ 323850 h 4429294"/>
                    <a:gd name="connsiteX9" fmla="*/ 3450419 w 4501379"/>
                    <a:gd name="connsiteY9" fmla="*/ 361950 h 4429294"/>
                    <a:gd name="connsiteX10" fmla="*/ 3498044 w 4501379"/>
                    <a:gd name="connsiteY10" fmla="*/ 390525 h 4429294"/>
                    <a:gd name="connsiteX11" fmla="*/ 3612344 w 4501379"/>
                    <a:gd name="connsiteY11" fmla="*/ 485775 h 4429294"/>
                    <a:gd name="connsiteX12" fmla="*/ 3726644 w 4501379"/>
                    <a:gd name="connsiteY12" fmla="*/ 542925 h 4429294"/>
                    <a:gd name="connsiteX13" fmla="*/ 3793319 w 4501379"/>
                    <a:gd name="connsiteY13" fmla="*/ 581025 h 4429294"/>
                    <a:gd name="connsiteX14" fmla="*/ 4009219 w 4501379"/>
                    <a:gd name="connsiteY14" fmla="*/ 819150 h 4429294"/>
                    <a:gd name="connsiteX15" fmla="*/ 4145744 w 4501379"/>
                    <a:gd name="connsiteY15" fmla="*/ 990600 h 4429294"/>
                    <a:gd name="connsiteX16" fmla="*/ 4231469 w 4501379"/>
                    <a:gd name="connsiteY16" fmla="*/ 1143000 h 4429294"/>
                    <a:gd name="connsiteX17" fmla="*/ 4288619 w 4501379"/>
                    <a:gd name="connsiteY17" fmla="*/ 1266825 h 4429294"/>
                    <a:gd name="connsiteX18" fmla="*/ 4326719 w 4501379"/>
                    <a:gd name="connsiteY18" fmla="*/ 1362075 h 4429294"/>
                    <a:gd name="connsiteX19" fmla="*/ 4374344 w 4501379"/>
                    <a:gd name="connsiteY19" fmla="*/ 1552575 h 4429294"/>
                    <a:gd name="connsiteX20" fmla="*/ 4412444 w 4501379"/>
                    <a:gd name="connsiteY20" fmla="*/ 1685925 h 4429294"/>
                    <a:gd name="connsiteX21" fmla="*/ 4501344 w 4501379"/>
                    <a:gd name="connsiteY21" fmla="*/ 2181225 h 4429294"/>
                    <a:gd name="connsiteX22" fmla="*/ 4428319 w 4501379"/>
                    <a:gd name="connsiteY22" fmla="*/ 2768600 h 4429294"/>
                    <a:gd name="connsiteX23" fmla="*/ 4364819 w 4501379"/>
                    <a:gd name="connsiteY23" fmla="*/ 2990850 h 4429294"/>
                    <a:gd name="connsiteX24" fmla="*/ 4260044 w 4501379"/>
                    <a:gd name="connsiteY24" fmla="*/ 3248025 h 4429294"/>
                    <a:gd name="connsiteX25" fmla="*/ 4164794 w 4501379"/>
                    <a:gd name="connsiteY25" fmla="*/ 3400425 h 4429294"/>
                    <a:gd name="connsiteX26" fmla="*/ 4040969 w 4501379"/>
                    <a:gd name="connsiteY26" fmla="*/ 3533775 h 4429294"/>
                    <a:gd name="connsiteX27" fmla="*/ 3936194 w 4501379"/>
                    <a:gd name="connsiteY27" fmla="*/ 3648075 h 4429294"/>
                    <a:gd name="connsiteX28" fmla="*/ 3640919 w 4501379"/>
                    <a:gd name="connsiteY28" fmla="*/ 3971925 h 4429294"/>
                    <a:gd name="connsiteX29" fmla="*/ 3498044 w 4501379"/>
                    <a:gd name="connsiteY29" fmla="*/ 4083050 h 4429294"/>
                    <a:gd name="connsiteX30" fmla="*/ 3202769 w 4501379"/>
                    <a:gd name="connsiteY30" fmla="*/ 4222750 h 4429294"/>
                    <a:gd name="connsiteX31" fmla="*/ 3050369 w 4501379"/>
                    <a:gd name="connsiteY31" fmla="*/ 4286250 h 4429294"/>
                    <a:gd name="connsiteX32" fmla="*/ 2917019 w 4501379"/>
                    <a:gd name="connsiteY32" fmla="*/ 4333875 h 4429294"/>
                    <a:gd name="connsiteX33" fmla="*/ 2793194 w 4501379"/>
                    <a:gd name="connsiteY33" fmla="*/ 4371975 h 4429294"/>
                    <a:gd name="connsiteX34" fmla="*/ 2561419 w 4501379"/>
                    <a:gd name="connsiteY34" fmla="*/ 4391025 h 4429294"/>
                    <a:gd name="connsiteX35" fmla="*/ 2107394 w 4501379"/>
                    <a:gd name="connsiteY35" fmla="*/ 4429125 h 4429294"/>
                    <a:gd name="connsiteX36" fmla="*/ 1916894 w 4501379"/>
                    <a:gd name="connsiteY36" fmla="*/ 4400550 h 4429294"/>
                    <a:gd name="connsiteX37" fmla="*/ 1554944 w 4501379"/>
                    <a:gd name="connsiteY37" fmla="*/ 4305300 h 4429294"/>
                    <a:gd name="connsiteX38" fmla="*/ 1313644 w 4501379"/>
                    <a:gd name="connsiteY38" fmla="*/ 4216400 h 4429294"/>
                    <a:gd name="connsiteX39" fmla="*/ 1145369 w 4501379"/>
                    <a:gd name="connsiteY39" fmla="*/ 4111625 h 4429294"/>
                    <a:gd name="connsiteX40" fmla="*/ 926294 w 4501379"/>
                    <a:gd name="connsiteY40" fmla="*/ 3968750 h 4429294"/>
                    <a:gd name="connsiteX41" fmla="*/ 592919 w 4501379"/>
                    <a:gd name="connsiteY41" fmla="*/ 3657600 h 4429294"/>
                    <a:gd name="connsiteX42" fmla="*/ 446869 w 4501379"/>
                    <a:gd name="connsiteY42" fmla="*/ 3470275 h 4429294"/>
                    <a:gd name="connsiteX43" fmla="*/ 316694 w 4501379"/>
                    <a:gd name="connsiteY43" fmla="*/ 3244850 h 4429294"/>
                    <a:gd name="connsiteX44" fmla="*/ 164294 w 4501379"/>
                    <a:gd name="connsiteY44" fmla="*/ 2892425 h 4429294"/>
                    <a:gd name="connsiteX45" fmla="*/ 56344 w 4501379"/>
                    <a:gd name="connsiteY45" fmla="*/ 2368550 h 4429294"/>
                    <a:gd name="connsiteX46" fmla="*/ 2369 w 4501379"/>
                    <a:gd name="connsiteY46" fmla="*/ 1905000 h 4429294"/>
                    <a:gd name="connsiteX47" fmla="*/ 11894 w 4501379"/>
                    <a:gd name="connsiteY47" fmla="*/ 1838325 h 4429294"/>
                    <a:gd name="connsiteX48" fmla="*/ 30944 w 4501379"/>
                    <a:gd name="connsiteY48" fmla="*/ 1781175 h 4429294"/>
                    <a:gd name="connsiteX49" fmla="*/ 40469 w 4501379"/>
                    <a:gd name="connsiteY49" fmla="*/ 1743075 h 4429294"/>
                    <a:gd name="connsiteX50" fmla="*/ 59519 w 4501379"/>
                    <a:gd name="connsiteY50" fmla="*/ 1685925 h 4429294"/>
                    <a:gd name="connsiteX51" fmla="*/ 69044 w 4501379"/>
                    <a:gd name="connsiteY51" fmla="*/ 1638300 h 4429294"/>
                    <a:gd name="connsiteX52" fmla="*/ 88094 w 4501379"/>
                    <a:gd name="connsiteY52" fmla="*/ 1590675 h 4429294"/>
                    <a:gd name="connsiteX53" fmla="*/ 116669 w 4501379"/>
                    <a:gd name="connsiteY53" fmla="*/ 1504950 h 4429294"/>
                    <a:gd name="connsiteX54" fmla="*/ 135719 w 4501379"/>
                    <a:gd name="connsiteY54" fmla="*/ 1419225 h 4429294"/>
                    <a:gd name="connsiteX55" fmla="*/ 211919 w 4501379"/>
                    <a:gd name="connsiteY55" fmla="*/ 1276350 h 4429294"/>
                    <a:gd name="connsiteX56" fmla="*/ 221444 w 4501379"/>
                    <a:gd name="connsiteY56" fmla="*/ 1247775 h 4429294"/>
                    <a:gd name="connsiteX57" fmla="*/ 250019 w 4501379"/>
                    <a:gd name="connsiteY57" fmla="*/ 1200150 h 4429294"/>
                    <a:gd name="connsiteX58" fmla="*/ 269069 w 4501379"/>
                    <a:gd name="connsiteY58" fmla="*/ 1152525 h 4429294"/>
                    <a:gd name="connsiteX59" fmla="*/ 297644 w 4501379"/>
                    <a:gd name="connsiteY59" fmla="*/ 1114425 h 4429294"/>
                    <a:gd name="connsiteX60" fmla="*/ 345269 w 4501379"/>
                    <a:gd name="connsiteY60" fmla="*/ 1038225 h 4429294"/>
                    <a:gd name="connsiteX61" fmla="*/ 364319 w 4501379"/>
                    <a:gd name="connsiteY61" fmla="*/ 1009650 h 4429294"/>
                    <a:gd name="connsiteX62" fmla="*/ 421469 w 4501379"/>
                    <a:gd name="connsiteY62" fmla="*/ 904875 h 4429294"/>
                    <a:gd name="connsiteX63" fmla="*/ 459569 w 4501379"/>
                    <a:gd name="connsiteY63" fmla="*/ 857250 h 4429294"/>
                    <a:gd name="connsiteX64" fmla="*/ 478619 w 4501379"/>
                    <a:gd name="connsiteY64" fmla="*/ 828675 h 4429294"/>
                    <a:gd name="connsiteX65" fmla="*/ 516719 w 4501379"/>
                    <a:gd name="connsiteY65" fmla="*/ 800100 h 4429294"/>
                    <a:gd name="connsiteX66" fmla="*/ 583394 w 4501379"/>
                    <a:gd name="connsiteY66" fmla="*/ 733425 h 4429294"/>
                    <a:gd name="connsiteX67" fmla="*/ 650069 w 4501379"/>
                    <a:gd name="connsiteY67" fmla="*/ 676275 h 4429294"/>
                    <a:gd name="connsiteX68" fmla="*/ 678644 w 4501379"/>
                    <a:gd name="connsiteY68" fmla="*/ 657225 h 4429294"/>
                    <a:gd name="connsiteX69" fmla="*/ 821519 w 4501379"/>
                    <a:gd name="connsiteY69" fmla="*/ 533400 h 4429294"/>
                    <a:gd name="connsiteX70" fmla="*/ 869144 w 4501379"/>
                    <a:gd name="connsiteY70" fmla="*/ 504825 h 4429294"/>
                    <a:gd name="connsiteX71" fmla="*/ 1148544 w 4501379"/>
                    <a:gd name="connsiteY71" fmla="*/ 311150 h 4429294"/>
                    <a:gd name="connsiteX72" fmla="*/ 1250144 w 4501379"/>
                    <a:gd name="connsiteY72" fmla="*/ 285750 h 4429294"/>
                    <a:gd name="connsiteX73" fmla="*/ 1393019 w 4501379"/>
                    <a:gd name="connsiteY73" fmla="*/ 190500 h 4429294"/>
                    <a:gd name="connsiteX74" fmla="*/ 1431119 w 4501379"/>
                    <a:gd name="connsiteY74" fmla="*/ 161925 h 4429294"/>
                    <a:gd name="connsiteX75" fmla="*/ 1507319 w 4501379"/>
                    <a:gd name="connsiteY75" fmla="*/ 152400 h 4429294"/>
                    <a:gd name="connsiteX76" fmla="*/ 1564469 w 4501379"/>
                    <a:gd name="connsiteY76" fmla="*/ 142875 h 4429294"/>
                    <a:gd name="connsiteX77" fmla="*/ 1697819 w 4501379"/>
                    <a:gd name="connsiteY77" fmla="*/ 123825 h 4429294"/>
                    <a:gd name="connsiteX78" fmla="*/ 1793069 w 4501379"/>
                    <a:gd name="connsiteY78" fmla="*/ 114300 h 4429294"/>
                    <a:gd name="connsiteX79" fmla="*/ 1840694 w 4501379"/>
                    <a:gd name="connsiteY79" fmla="*/ 104775 h 4429294"/>
                    <a:gd name="connsiteX80" fmla="*/ 1897844 w 4501379"/>
                    <a:gd name="connsiteY80" fmla="*/ 95250 h 4429294"/>
                    <a:gd name="connsiteX81" fmla="*/ 2012144 w 4501379"/>
                    <a:gd name="connsiteY81" fmla="*/ 66675 h 4429294"/>
                    <a:gd name="connsiteX82" fmla="*/ 2078819 w 4501379"/>
                    <a:gd name="connsiteY82" fmla="*/ 47625 h 4429294"/>
                    <a:gd name="connsiteX83" fmla="*/ 2145494 w 4501379"/>
                    <a:gd name="connsiteY8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402794 w 4501379"/>
                    <a:gd name="connsiteY7" fmla="*/ 323850 h 4429294"/>
                    <a:gd name="connsiteX8" fmla="*/ 3450419 w 4501379"/>
                    <a:gd name="connsiteY8" fmla="*/ 361950 h 4429294"/>
                    <a:gd name="connsiteX9" fmla="*/ 3498044 w 4501379"/>
                    <a:gd name="connsiteY9" fmla="*/ 390525 h 4429294"/>
                    <a:gd name="connsiteX10" fmla="*/ 3612344 w 4501379"/>
                    <a:gd name="connsiteY10" fmla="*/ 485775 h 4429294"/>
                    <a:gd name="connsiteX11" fmla="*/ 3726644 w 4501379"/>
                    <a:gd name="connsiteY11" fmla="*/ 542925 h 4429294"/>
                    <a:gd name="connsiteX12" fmla="*/ 3793319 w 4501379"/>
                    <a:gd name="connsiteY12" fmla="*/ 581025 h 4429294"/>
                    <a:gd name="connsiteX13" fmla="*/ 4009219 w 4501379"/>
                    <a:gd name="connsiteY13" fmla="*/ 819150 h 4429294"/>
                    <a:gd name="connsiteX14" fmla="*/ 4145744 w 4501379"/>
                    <a:gd name="connsiteY14" fmla="*/ 990600 h 4429294"/>
                    <a:gd name="connsiteX15" fmla="*/ 4231469 w 4501379"/>
                    <a:gd name="connsiteY15" fmla="*/ 1143000 h 4429294"/>
                    <a:gd name="connsiteX16" fmla="*/ 4288619 w 4501379"/>
                    <a:gd name="connsiteY16" fmla="*/ 1266825 h 4429294"/>
                    <a:gd name="connsiteX17" fmla="*/ 4326719 w 4501379"/>
                    <a:gd name="connsiteY17" fmla="*/ 1362075 h 4429294"/>
                    <a:gd name="connsiteX18" fmla="*/ 4374344 w 4501379"/>
                    <a:gd name="connsiteY18" fmla="*/ 1552575 h 4429294"/>
                    <a:gd name="connsiteX19" fmla="*/ 4412444 w 4501379"/>
                    <a:gd name="connsiteY19" fmla="*/ 1685925 h 4429294"/>
                    <a:gd name="connsiteX20" fmla="*/ 4501344 w 4501379"/>
                    <a:gd name="connsiteY20" fmla="*/ 2181225 h 4429294"/>
                    <a:gd name="connsiteX21" fmla="*/ 4428319 w 4501379"/>
                    <a:gd name="connsiteY21" fmla="*/ 2768600 h 4429294"/>
                    <a:gd name="connsiteX22" fmla="*/ 4364819 w 4501379"/>
                    <a:gd name="connsiteY22" fmla="*/ 2990850 h 4429294"/>
                    <a:gd name="connsiteX23" fmla="*/ 4260044 w 4501379"/>
                    <a:gd name="connsiteY23" fmla="*/ 3248025 h 4429294"/>
                    <a:gd name="connsiteX24" fmla="*/ 4164794 w 4501379"/>
                    <a:gd name="connsiteY24" fmla="*/ 3400425 h 4429294"/>
                    <a:gd name="connsiteX25" fmla="*/ 4040969 w 4501379"/>
                    <a:gd name="connsiteY25" fmla="*/ 3533775 h 4429294"/>
                    <a:gd name="connsiteX26" fmla="*/ 3936194 w 4501379"/>
                    <a:gd name="connsiteY26" fmla="*/ 3648075 h 4429294"/>
                    <a:gd name="connsiteX27" fmla="*/ 3640919 w 4501379"/>
                    <a:gd name="connsiteY27" fmla="*/ 3971925 h 4429294"/>
                    <a:gd name="connsiteX28" fmla="*/ 3498044 w 4501379"/>
                    <a:gd name="connsiteY28" fmla="*/ 4083050 h 4429294"/>
                    <a:gd name="connsiteX29" fmla="*/ 3202769 w 4501379"/>
                    <a:gd name="connsiteY29" fmla="*/ 4222750 h 4429294"/>
                    <a:gd name="connsiteX30" fmla="*/ 3050369 w 4501379"/>
                    <a:gd name="connsiteY30" fmla="*/ 4286250 h 4429294"/>
                    <a:gd name="connsiteX31" fmla="*/ 2917019 w 4501379"/>
                    <a:gd name="connsiteY31" fmla="*/ 4333875 h 4429294"/>
                    <a:gd name="connsiteX32" fmla="*/ 2793194 w 4501379"/>
                    <a:gd name="connsiteY32" fmla="*/ 4371975 h 4429294"/>
                    <a:gd name="connsiteX33" fmla="*/ 2561419 w 4501379"/>
                    <a:gd name="connsiteY33" fmla="*/ 4391025 h 4429294"/>
                    <a:gd name="connsiteX34" fmla="*/ 2107394 w 4501379"/>
                    <a:gd name="connsiteY34" fmla="*/ 4429125 h 4429294"/>
                    <a:gd name="connsiteX35" fmla="*/ 1916894 w 4501379"/>
                    <a:gd name="connsiteY35" fmla="*/ 4400550 h 4429294"/>
                    <a:gd name="connsiteX36" fmla="*/ 1554944 w 4501379"/>
                    <a:gd name="connsiteY36" fmla="*/ 4305300 h 4429294"/>
                    <a:gd name="connsiteX37" fmla="*/ 1313644 w 4501379"/>
                    <a:gd name="connsiteY37" fmla="*/ 4216400 h 4429294"/>
                    <a:gd name="connsiteX38" fmla="*/ 1145369 w 4501379"/>
                    <a:gd name="connsiteY38" fmla="*/ 4111625 h 4429294"/>
                    <a:gd name="connsiteX39" fmla="*/ 926294 w 4501379"/>
                    <a:gd name="connsiteY39" fmla="*/ 3968750 h 4429294"/>
                    <a:gd name="connsiteX40" fmla="*/ 592919 w 4501379"/>
                    <a:gd name="connsiteY40" fmla="*/ 3657600 h 4429294"/>
                    <a:gd name="connsiteX41" fmla="*/ 446869 w 4501379"/>
                    <a:gd name="connsiteY41" fmla="*/ 3470275 h 4429294"/>
                    <a:gd name="connsiteX42" fmla="*/ 316694 w 4501379"/>
                    <a:gd name="connsiteY42" fmla="*/ 3244850 h 4429294"/>
                    <a:gd name="connsiteX43" fmla="*/ 164294 w 4501379"/>
                    <a:gd name="connsiteY43" fmla="*/ 2892425 h 4429294"/>
                    <a:gd name="connsiteX44" fmla="*/ 56344 w 4501379"/>
                    <a:gd name="connsiteY44" fmla="*/ 2368550 h 4429294"/>
                    <a:gd name="connsiteX45" fmla="*/ 2369 w 4501379"/>
                    <a:gd name="connsiteY45" fmla="*/ 1905000 h 4429294"/>
                    <a:gd name="connsiteX46" fmla="*/ 11894 w 4501379"/>
                    <a:gd name="connsiteY46" fmla="*/ 1838325 h 4429294"/>
                    <a:gd name="connsiteX47" fmla="*/ 30944 w 4501379"/>
                    <a:gd name="connsiteY47" fmla="*/ 1781175 h 4429294"/>
                    <a:gd name="connsiteX48" fmla="*/ 40469 w 4501379"/>
                    <a:gd name="connsiteY48" fmla="*/ 1743075 h 4429294"/>
                    <a:gd name="connsiteX49" fmla="*/ 59519 w 4501379"/>
                    <a:gd name="connsiteY49" fmla="*/ 1685925 h 4429294"/>
                    <a:gd name="connsiteX50" fmla="*/ 69044 w 4501379"/>
                    <a:gd name="connsiteY50" fmla="*/ 1638300 h 4429294"/>
                    <a:gd name="connsiteX51" fmla="*/ 88094 w 4501379"/>
                    <a:gd name="connsiteY51" fmla="*/ 1590675 h 4429294"/>
                    <a:gd name="connsiteX52" fmla="*/ 116669 w 4501379"/>
                    <a:gd name="connsiteY52" fmla="*/ 1504950 h 4429294"/>
                    <a:gd name="connsiteX53" fmla="*/ 135719 w 4501379"/>
                    <a:gd name="connsiteY53" fmla="*/ 1419225 h 4429294"/>
                    <a:gd name="connsiteX54" fmla="*/ 211919 w 4501379"/>
                    <a:gd name="connsiteY54" fmla="*/ 1276350 h 4429294"/>
                    <a:gd name="connsiteX55" fmla="*/ 221444 w 4501379"/>
                    <a:gd name="connsiteY55" fmla="*/ 1247775 h 4429294"/>
                    <a:gd name="connsiteX56" fmla="*/ 250019 w 4501379"/>
                    <a:gd name="connsiteY56" fmla="*/ 1200150 h 4429294"/>
                    <a:gd name="connsiteX57" fmla="*/ 269069 w 4501379"/>
                    <a:gd name="connsiteY57" fmla="*/ 1152525 h 4429294"/>
                    <a:gd name="connsiteX58" fmla="*/ 297644 w 4501379"/>
                    <a:gd name="connsiteY58" fmla="*/ 1114425 h 4429294"/>
                    <a:gd name="connsiteX59" fmla="*/ 345269 w 4501379"/>
                    <a:gd name="connsiteY59" fmla="*/ 1038225 h 4429294"/>
                    <a:gd name="connsiteX60" fmla="*/ 364319 w 4501379"/>
                    <a:gd name="connsiteY60" fmla="*/ 1009650 h 4429294"/>
                    <a:gd name="connsiteX61" fmla="*/ 421469 w 4501379"/>
                    <a:gd name="connsiteY61" fmla="*/ 904875 h 4429294"/>
                    <a:gd name="connsiteX62" fmla="*/ 459569 w 4501379"/>
                    <a:gd name="connsiteY62" fmla="*/ 857250 h 4429294"/>
                    <a:gd name="connsiteX63" fmla="*/ 478619 w 4501379"/>
                    <a:gd name="connsiteY63" fmla="*/ 828675 h 4429294"/>
                    <a:gd name="connsiteX64" fmla="*/ 516719 w 4501379"/>
                    <a:gd name="connsiteY64" fmla="*/ 800100 h 4429294"/>
                    <a:gd name="connsiteX65" fmla="*/ 583394 w 4501379"/>
                    <a:gd name="connsiteY65" fmla="*/ 733425 h 4429294"/>
                    <a:gd name="connsiteX66" fmla="*/ 650069 w 4501379"/>
                    <a:gd name="connsiteY66" fmla="*/ 676275 h 4429294"/>
                    <a:gd name="connsiteX67" fmla="*/ 678644 w 4501379"/>
                    <a:gd name="connsiteY67" fmla="*/ 657225 h 4429294"/>
                    <a:gd name="connsiteX68" fmla="*/ 821519 w 4501379"/>
                    <a:gd name="connsiteY68" fmla="*/ 533400 h 4429294"/>
                    <a:gd name="connsiteX69" fmla="*/ 869144 w 4501379"/>
                    <a:gd name="connsiteY69" fmla="*/ 504825 h 4429294"/>
                    <a:gd name="connsiteX70" fmla="*/ 1148544 w 4501379"/>
                    <a:gd name="connsiteY70" fmla="*/ 311150 h 4429294"/>
                    <a:gd name="connsiteX71" fmla="*/ 1250144 w 4501379"/>
                    <a:gd name="connsiteY71" fmla="*/ 285750 h 4429294"/>
                    <a:gd name="connsiteX72" fmla="*/ 1393019 w 4501379"/>
                    <a:gd name="connsiteY72" fmla="*/ 190500 h 4429294"/>
                    <a:gd name="connsiteX73" fmla="*/ 1431119 w 4501379"/>
                    <a:gd name="connsiteY73" fmla="*/ 161925 h 4429294"/>
                    <a:gd name="connsiteX74" fmla="*/ 1507319 w 4501379"/>
                    <a:gd name="connsiteY74" fmla="*/ 152400 h 4429294"/>
                    <a:gd name="connsiteX75" fmla="*/ 1564469 w 4501379"/>
                    <a:gd name="connsiteY75" fmla="*/ 142875 h 4429294"/>
                    <a:gd name="connsiteX76" fmla="*/ 1697819 w 4501379"/>
                    <a:gd name="connsiteY76" fmla="*/ 123825 h 4429294"/>
                    <a:gd name="connsiteX77" fmla="*/ 1793069 w 4501379"/>
                    <a:gd name="connsiteY77" fmla="*/ 114300 h 4429294"/>
                    <a:gd name="connsiteX78" fmla="*/ 1840694 w 4501379"/>
                    <a:gd name="connsiteY78" fmla="*/ 104775 h 4429294"/>
                    <a:gd name="connsiteX79" fmla="*/ 1897844 w 4501379"/>
                    <a:gd name="connsiteY79" fmla="*/ 95250 h 4429294"/>
                    <a:gd name="connsiteX80" fmla="*/ 2012144 w 4501379"/>
                    <a:gd name="connsiteY80" fmla="*/ 66675 h 4429294"/>
                    <a:gd name="connsiteX81" fmla="*/ 2078819 w 4501379"/>
                    <a:gd name="connsiteY81" fmla="*/ 47625 h 4429294"/>
                    <a:gd name="connsiteX82" fmla="*/ 2145494 w 4501379"/>
                    <a:gd name="connsiteY8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307544 w 4501379"/>
                    <a:gd name="connsiteY5" fmla="*/ 266700 h 4429294"/>
                    <a:gd name="connsiteX6" fmla="*/ 3402794 w 4501379"/>
                    <a:gd name="connsiteY6" fmla="*/ 323850 h 4429294"/>
                    <a:gd name="connsiteX7" fmla="*/ 3450419 w 4501379"/>
                    <a:gd name="connsiteY7" fmla="*/ 361950 h 4429294"/>
                    <a:gd name="connsiteX8" fmla="*/ 3498044 w 4501379"/>
                    <a:gd name="connsiteY8" fmla="*/ 390525 h 4429294"/>
                    <a:gd name="connsiteX9" fmla="*/ 3612344 w 4501379"/>
                    <a:gd name="connsiteY9" fmla="*/ 485775 h 4429294"/>
                    <a:gd name="connsiteX10" fmla="*/ 3726644 w 4501379"/>
                    <a:gd name="connsiteY10" fmla="*/ 542925 h 4429294"/>
                    <a:gd name="connsiteX11" fmla="*/ 3793319 w 4501379"/>
                    <a:gd name="connsiteY11" fmla="*/ 581025 h 4429294"/>
                    <a:gd name="connsiteX12" fmla="*/ 4009219 w 4501379"/>
                    <a:gd name="connsiteY12" fmla="*/ 819150 h 4429294"/>
                    <a:gd name="connsiteX13" fmla="*/ 4145744 w 4501379"/>
                    <a:gd name="connsiteY13" fmla="*/ 990600 h 4429294"/>
                    <a:gd name="connsiteX14" fmla="*/ 4231469 w 4501379"/>
                    <a:gd name="connsiteY14" fmla="*/ 1143000 h 4429294"/>
                    <a:gd name="connsiteX15" fmla="*/ 4288619 w 4501379"/>
                    <a:gd name="connsiteY15" fmla="*/ 1266825 h 4429294"/>
                    <a:gd name="connsiteX16" fmla="*/ 4326719 w 4501379"/>
                    <a:gd name="connsiteY16" fmla="*/ 1362075 h 4429294"/>
                    <a:gd name="connsiteX17" fmla="*/ 4374344 w 4501379"/>
                    <a:gd name="connsiteY17" fmla="*/ 1552575 h 4429294"/>
                    <a:gd name="connsiteX18" fmla="*/ 4412444 w 4501379"/>
                    <a:gd name="connsiteY18" fmla="*/ 1685925 h 4429294"/>
                    <a:gd name="connsiteX19" fmla="*/ 4501344 w 4501379"/>
                    <a:gd name="connsiteY19" fmla="*/ 2181225 h 4429294"/>
                    <a:gd name="connsiteX20" fmla="*/ 4428319 w 4501379"/>
                    <a:gd name="connsiteY20" fmla="*/ 2768600 h 4429294"/>
                    <a:gd name="connsiteX21" fmla="*/ 4364819 w 4501379"/>
                    <a:gd name="connsiteY21" fmla="*/ 2990850 h 4429294"/>
                    <a:gd name="connsiteX22" fmla="*/ 4260044 w 4501379"/>
                    <a:gd name="connsiteY22" fmla="*/ 3248025 h 4429294"/>
                    <a:gd name="connsiteX23" fmla="*/ 4164794 w 4501379"/>
                    <a:gd name="connsiteY23" fmla="*/ 3400425 h 4429294"/>
                    <a:gd name="connsiteX24" fmla="*/ 4040969 w 4501379"/>
                    <a:gd name="connsiteY24" fmla="*/ 3533775 h 4429294"/>
                    <a:gd name="connsiteX25" fmla="*/ 3936194 w 4501379"/>
                    <a:gd name="connsiteY25" fmla="*/ 3648075 h 4429294"/>
                    <a:gd name="connsiteX26" fmla="*/ 3640919 w 4501379"/>
                    <a:gd name="connsiteY26" fmla="*/ 3971925 h 4429294"/>
                    <a:gd name="connsiteX27" fmla="*/ 3498044 w 4501379"/>
                    <a:gd name="connsiteY27" fmla="*/ 4083050 h 4429294"/>
                    <a:gd name="connsiteX28" fmla="*/ 3202769 w 4501379"/>
                    <a:gd name="connsiteY28" fmla="*/ 4222750 h 4429294"/>
                    <a:gd name="connsiteX29" fmla="*/ 3050369 w 4501379"/>
                    <a:gd name="connsiteY29" fmla="*/ 4286250 h 4429294"/>
                    <a:gd name="connsiteX30" fmla="*/ 2917019 w 4501379"/>
                    <a:gd name="connsiteY30" fmla="*/ 4333875 h 4429294"/>
                    <a:gd name="connsiteX31" fmla="*/ 2793194 w 4501379"/>
                    <a:gd name="connsiteY31" fmla="*/ 4371975 h 4429294"/>
                    <a:gd name="connsiteX32" fmla="*/ 2561419 w 4501379"/>
                    <a:gd name="connsiteY32" fmla="*/ 4391025 h 4429294"/>
                    <a:gd name="connsiteX33" fmla="*/ 2107394 w 4501379"/>
                    <a:gd name="connsiteY33" fmla="*/ 4429125 h 4429294"/>
                    <a:gd name="connsiteX34" fmla="*/ 1916894 w 4501379"/>
                    <a:gd name="connsiteY34" fmla="*/ 4400550 h 4429294"/>
                    <a:gd name="connsiteX35" fmla="*/ 1554944 w 4501379"/>
                    <a:gd name="connsiteY35" fmla="*/ 4305300 h 4429294"/>
                    <a:gd name="connsiteX36" fmla="*/ 1313644 w 4501379"/>
                    <a:gd name="connsiteY36" fmla="*/ 4216400 h 4429294"/>
                    <a:gd name="connsiteX37" fmla="*/ 1145369 w 4501379"/>
                    <a:gd name="connsiteY37" fmla="*/ 4111625 h 4429294"/>
                    <a:gd name="connsiteX38" fmla="*/ 926294 w 4501379"/>
                    <a:gd name="connsiteY38" fmla="*/ 3968750 h 4429294"/>
                    <a:gd name="connsiteX39" fmla="*/ 592919 w 4501379"/>
                    <a:gd name="connsiteY39" fmla="*/ 3657600 h 4429294"/>
                    <a:gd name="connsiteX40" fmla="*/ 446869 w 4501379"/>
                    <a:gd name="connsiteY40" fmla="*/ 3470275 h 4429294"/>
                    <a:gd name="connsiteX41" fmla="*/ 316694 w 4501379"/>
                    <a:gd name="connsiteY41" fmla="*/ 3244850 h 4429294"/>
                    <a:gd name="connsiteX42" fmla="*/ 164294 w 4501379"/>
                    <a:gd name="connsiteY42" fmla="*/ 2892425 h 4429294"/>
                    <a:gd name="connsiteX43" fmla="*/ 56344 w 4501379"/>
                    <a:gd name="connsiteY43" fmla="*/ 2368550 h 4429294"/>
                    <a:gd name="connsiteX44" fmla="*/ 2369 w 4501379"/>
                    <a:gd name="connsiteY44" fmla="*/ 1905000 h 4429294"/>
                    <a:gd name="connsiteX45" fmla="*/ 11894 w 4501379"/>
                    <a:gd name="connsiteY45" fmla="*/ 1838325 h 4429294"/>
                    <a:gd name="connsiteX46" fmla="*/ 30944 w 4501379"/>
                    <a:gd name="connsiteY46" fmla="*/ 1781175 h 4429294"/>
                    <a:gd name="connsiteX47" fmla="*/ 40469 w 4501379"/>
                    <a:gd name="connsiteY47" fmla="*/ 1743075 h 4429294"/>
                    <a:gd name="connsiteX48" fmla="*/ 59519 w 4501379"/>
                    <a:gd name="connsiteY48" fmla="*/ 1685925 h 4429294"/>
                    <a:gd name="connsiteX49" fmla="*/ 69044 w 4501379"/>
                    <a:gd name="connsiteY49" fmla="*/ 1638300 h 4429294"/>
                    <a:gd name="connsiteX50" fmla="*/ 88094 w 4501379"/>
                    <a:gd name="connsiteY50" fmla="*/ 1590675 h 4429294"/>
                    <a:gd name="connsiteX51" fmla="*/ 116669 w 4501379"/>
                    <a:gd name="connsiteY51" fmla="*/ 1504950 h 4429294"/>
                    <a:gd name="connsiteX52" fmla="*/ 135719 w 4501379"/>
                    <a:gd name="connsiteY52" fmla="*/ 1419225 h 4429294"/>
                    <a:gd name="connsiteX53" fmla="*/ 211919 w 4501379"/>
                    <a:gd name="connsiteY53" fmla="*/ 1276350 h 4429294"/>
                    <a:gd name="connsiteX54" fmla="*/ 221444 w 4501379"/>
                    <a:gd name="connsiteY54" fmla="*/ 1247775 h 4429294"/>
                    <a:gd name="connsiteX55" fmla="*/ 250019 w 4501379"/>
                    <a:gd name="connsiteY55" fmla="*/ 1200150 h 4429294"/>
                    <a:gd name="connsiteX56" fmla="*/ 269069 w 4501379"/>
                    <a:gd name="connsiteY56" fmla="*/ 1152525 h 4429294"/>
                    <a:gd name="connsiteX57" fmla="*/ 297644 w 4501379"/>
                    <a:gd name="connsiteY57" fmla="*/ 1114425 h 4429294"/>
                    <a:gd name="connsiteX58" fmla="*/ 345269 w 4501379"/>
                    <a:gd name="connsiteY58" fmla="*/ 1038225 h 4429294"/>
                    <a:gd name="connsiteX59" fmla="*/ 364319 w 4501379"/>
                    <a:gd name="connsiteY59" fmla="*/ 1009650 h 4429294"/>
                    <a:gd name="connsiteX60" fmla="*/ 421469 w 4501379"/>
                    <a:gd name="connsiteY60" fmla="*/ 904875 h 4429294"/>
                    <a:gd name="connsiteX61" fmla="*/ 459569 w 4501379"/>
                    <a:gd name="connsiteY61" fmla="*/ 857250 h 4429294"/>
                    <a:gd name="connsiteX62" fmla="*/ 478619 w 4501379"/>
                    <a:gd name="connsiteY62" fmla="*/ 828675 h 4429294"/>
                    <a:gd name="connsiteX63" fmla="*/ 516719 w 4501379"/>
                    <a:gd name="connsiteY63" fmla="*/ 800100 h 4429294"/>
                    <a:gd name="connsiteX64" fmla="*/ 583394 w 4501379"/>
                    <a:gd name="connsiteY64" fmla="*/ 733425 h 4429294"/>
                    <a:gd name="connsiteX65" fmla="*/ 650069 w 4501379"/>
                    <a:gd name="connsiteY65" fmla="*/ 676275 h 4429294"/>
                    <a:gd name="connsiteX66" fmla="*/ 678644 w 4501379"/>
                    <a:gd name="connsiteY66" fmla="*/ 657225 h 4429294"/>
                    <a:gd name="connsiteX67" fmla="*/ 821519 w 4501379"/>
                    <a:gd name="connsiteY67" fmla="*/ 533400 h 4429294"/>
                    <a:gd name="connsiteX68" fmla="*/ 869144 w 4501379"/>
                    <a:gd name="connsiteY68" fmla="*/ 504825 h 4429294"/>
                    <a:gd name="connsiteX69" fmla="*/ 1148544 w 4501379"/>
                    <a:gd name="connsiteY69" fmla="*/ 311150 h 4429294"/>
                    <a:gd name="connsiteX70" fmla="*/ 1250144 w 4501379"/>
                    <a:gd name="connsiteY70" fmla="*/ 285750 h 4429294"/>
                    <a:gd name="connsiteX71" fmla="*/ 1393019 w 4501379"/>
                    <a:gd name="connsiteY71" fmla="*/ 190500 h 4429294"/>
                    <a:gd name="connsiteX72" fmla="*/ 1431119 w 4501379"/>
                    <a:gd name="connsiteY72" fmla="*/ 161925 h 4429294"/>
                    <a:gd name="connsiteX73" fmla="*/ 1507319 w 4501379"/>
                    <a:gd name="connsiteY73" fmla="*/ 152400 h 4429294"/>
                    <a:gd name="connsiteX74" fmla="*/ 1564469 w 4501379"/>
                    <a:gd name="connsiteY74" fmla="*/ 142875 h 4429294"/>
                    <a:gd name="connsiteX75" fmla="*/ 1697819 w 4501379"/>
                    <a:gd name="connsiteY75" fmla="*/ 123825 h 4429294"/>
                    <a:gd name="connsiteX76" fmla="*/ 1793069 w 4501379"/>
                    <a:gd name="connsiteY76" fmla="*/ 114300 h 4429294"/>
                    <a:gd name="connsiteX77" fmla="*/ 1840694 w 4501379"/>
                    <a:gd name="connsiteY77" fmla="*/ 104775 h 4429294"/>
                    <a:gd name="connsiteX78" fmla="*/ 1897844 w 4501379"/>
                    <a:gd name="connsiteY78" fmla="*/ 95250 h 4429294"/>
                    <a:gd name="connsiteX79" fmla="*/ 2012144 w 4501379"/>
                    <a:gd name="connsiteY79" fmla="*/ 66675 h 4429294"/>
                    <a:gd name="connsiteX80" fmla="*/ 2078819 w 4501379"/>
                    <a:gd name="connsiteY80" fmla="*/ 47625 h 4429294"/>
                    <a:gd name="connsiteX81" fmla="*/ 2145494 w 4501379"/>
                    <a:gd name="connsiteY8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498044 w 4501379"/>
                    <a:gd name="connsiteY7" fmla="*/ 390525 h 4429294"/>
                    <a:gd name="connsiteX8" fmla="*/ 3612344 w 4501379"/>
                    <a:gd name="connsiteY8" fmla="*/ 485775 h 4429294"/>
                    <a:gd name="connsiteX9" fmla="*/ 3726644 w 4501379"/>
                    <a:gd name="connsiteY9" fmla="*/ 542925 h 4429294"/>
                    <a:gd name="connsiteX10" fmla="*/ 3793319 w 4501379"/>
                    <a:gd name="connsiteY10" fmla="*/ 581025 h 4429294"/>
                    <a:gd name="connsiteX11" fmla="*/ 4009219 w 4501379"/>
                    <a:gd name="connsiteY11" fmla="*/ 819150 h 4429294"/>
                    <a:gd name="connsiteX12" fmla="*/ 4145744 w 4501379"/>
                    <a:gd name="connsiteY12" fmla="*/ 990600 h 4429294"/>
                    <a:gd name="connsiteX13" fmla="*/ 4231469 w 4501379"/>
                    <a:gd name="connsiteY13" fmla="*/ 1143000 h 4429294"/>
                    <a:gd name="connsiteX14" fmla="*/ 4288619 w 4501379"/>
                    <a:gd name="connsiteY14" fmla="*/ 1266825 h 4429294"/>
                    <a:gd name="connsiteX15" fmla="*/ 4326719 w 4501379"/>
                    <a:gd name="connsiteY15" fmla="*/ 1362075 h 4429294"/>
                    <a:gd name="connsiteX16" fmla="*/ 4374344 w 4501379"/>
                    <a:gd name="connsiteY16" fmla="*/ 1552575 h 4429294"/>
                    <a:gd name="connsiteX17" fmla="*/ 4412444 w 4501379"/>
                    <a:gd name="connsiteY17" fmla="*/ 1685925 h 4429294"/>
                    <a:gd name="connsiteX18" fmla="*/ 4501344 w 4501379"/>
                    <a:gd name="connsiteY18" fmla="*/ 2181225 h 4429294"/>
                    <a:gd name="connsiteX19" fmla="*/ 4428319 w 4501379"/>
                    <a:gd name="connsiteY19" fmla="*/ 2768600 h 4429294"/>
                    <a:gd name="connsiteX20" fmla="*/ 4364819 w 4501379"/>
                    <a:gd name="connsiteY20" fmla="*/ 2990850 h 4429294"/>
                    <a:gd name="connsiteX21" fmla="*/ 4260044 w 4501379"/>
                    <a:gd name="connsiteY21" fmla="*/ 3248025 h 4429294"/>
                    <a:gd name="connsiteX22" fmla="*/ 4164794 w 4501379"/>
                    <a:gd name="connsiteY22" fmla="*/ 3400425 h 4429294"/>
                    <a:gd name="connsiteX23" fmla="*/ 4040969 w 4501379"/>
                    <a:gd name="connsiteY23" fmla="*/ 3533775 h 4429294"/>
                    <a:gd name="connsiteX24" fmla="*/ 3936194 w 4501379"/>
                    <a:gd name="connsiteY24" fmla="*/ 3648075 h 4429294"/>
                    <a:gd name="connsiteX25" fmla="*/ 3640919 w 4501379"/>
                    <a:gd name="connsiteY25" fmla="*/ 3971925 h 4429294"/>
                    <a:gd name="connsiteX26" fmla="*/ 3498044 w 4501379"/>
                    <a:gd name="connsiteY26" fmla="*/ 4083050 h 4429294"/>
                    <a:gd name="connsiteX27" fmla="*/ 3202769 w 4501379"/>
                    <a:gd name="connsiteY27" fmla="*/ 4222750 h 4429294"/>
                    <a:gd name="connsiteX28" fmla="*/ 3050369 w 4501379"/>
                    <a:gd name="connsiteY28" fmla="*/ 4286250 h 4429294"/>
                    <a:gd name="connsiteX29" fmla="*/ 2917019 w 4501379"/>
                    <a:gd name="connsiteY29" fmla="*/ 4333875 h 4429294"/>
                    <a:gd name="connsiteX30" fmla="*/ 2793194 w 4501379"/>
                    <a:gd name="connsiteY30" fmla="*/ 4371975 h 4429294"/>
                    <a:gd name="connsiteX31" fmla="*/ 2561419 w 4501379"/>
                    <a:gd name="connsiteY31" fmla="*/ 4391025 h 4429294"/>
                    <a:gd name="connsiteX32" fmla="*/ 2107394 w 4501379"/>
                    <a:gd name="connsiteY32" fmla="*/ 4429125 h 4429294"/>
                    <a:gd name="connsiteX33" fmla="*/ 1916894 w 4501379"/>
                    <a:gd name="connsiteY33" fmla="*/ 4400550 h 4429294"/>
                    <a:gd name="connsiteX34" fmla="*/ 1554944 w 4501379"/>
                    <a:gd name="connsiteY34" fmla="*/ 4305300 h 4429294"/>
                    <a:gd name="connsiteX35" fmla="*/ 1313644 w 4501379"/>
                    <a:gd name="connsiteY35" fmla="*/ 4216400 h 4429294"/>
                    <a:gd name="connsiteX36" fmla="*/ 1145369 w 4501379"/>
                    <a:gd name="connsiteY36" fmla="*/ 4111625 h 4429294"/>
                    <a:gd name="connsiteX37" fmla="*/ 926294 w 4501379"/>
                    <a:gd name="connsiteY37" fmla="*/ 3968750 h 4429294"/>
                    <a:gd name="connsiteX38" fmla="*/ 592919 w 4501379"/>
                    <a:gd name="connsiteY38" fmla="*/ 3657600 h 4429294"/>
                    <a:gd name="connsiteX39" fmla="*/ 446869 w 4501379"/>
                    <a:gd name="connsiteY39" fmla="*/ 3470275 h 4429294"/>
                    <a:gd name="connsiteX40" fmla="*/ 316694 w 4501379"/>
                    <a:gd name="connsiteY40" fmla="*/ 3244850 h 4429294"/>
                    <a:gd name="connsiteX41" fmla="*/ 164294 w 4501379"/>
                    <a:gd name="connsiteY41" fmla="*/ 2892425 h 4429294"/>
                    <a:gd name="connsiteX42" fmla="*/ 56344 w 4501379"/>
                    <a:gd name="connsiteY42" fmla="*/ 2368550 h 4429294"/>
                    <a:gd name="connsiteX43" fmla="*/ 2369 w 4501379"/>
                    <a:gd name="connsiteY43" fmla="*/ 1905000 h 4429294"/>
                    <a:gd name="connsiteX44" fmla="*/ 11894 w 4501379"/>
                    <a:gd name="connsiteY44" fmla="*/ 1838325 h 4429294"/>
                    <a:gd name="connsiteX45" fmla="*/ 30944 w 4501379"/>
                    <a:gd name="connsiteY45" fmla="*/ 1781175 h 4429294"/>
                    <a:gd name="connsiteX46" fmla="*/ 40469 w 4501379"/>
                    <a:gd name="connsiteY46" fmla="*/ 1743075 h 4429294"/>
                    <a:gd name="connsiteX47" fmla="*/ 59519 w 4501379"/>
                    <a:gd name="connsiteY47" fmla="*/ 1685925 h 4429294"/>
                    <a:gd name="connsiteX48" fmla="*/ 69044 w 4501379"/>
                    <a:gd name="connsiteY48" fmla="*/ 1638300 h 4429294"/>
                    <a:gd name="connsiteX49" fmla="*/ 88094 w 4501379"/>
                    <a:gd name="connsiteY49" fmla="*/ 1590675 h 4429294"/>
                    <a:gd name="connsiteX50" fmla="*/ 116669 w 4501379"/>
                    <a:gd name="connsiteY50" fmla="*/ 1504950 h 4429294"/>
                    <a:gd name="connsiteX51" fmla="*/ 135719 w 4501379"/>
                    <a:gd name="connsiteY51" fmla="*/ 1419225 h 4429294"/>
                    <a:gd name="connsiteX52" fmla="*/ 211919 w 4501379"/>
                    <a:gd name="connsiteY52" fmla="*/ 1276350 h 4429294"/>
                    <a:gd name="connsiteX53" fmla="*/ 221444 w 4501379"/>
                    <a:gd name="connsiteY53" fmla="*/ 1247775 h 4429294"/>
                    <a:gd name="connsiteX54" fmla="*/ 250019 w 4501379"/>
                    <a:gd name="connsiteY54" fmla="*/ 1200150 h 4429294"/>
                    <a:gd name="connsiteX55" fmla="*/ 269069 w 4501379"/>
                    <a:gd name="connsiteY55" fmla="*/ 1152525 h 4429294"/>
                    <a:gd name="connsiteX56" fmla="*/ 297644 w 4501379"/>
                    <a:gd name="connsiteY56" fmla="*/ 1114425 h 4429294"/>
                    <a:gd name="connsiteX57" fmla="*/ 345269 w 4501379"/>
                    <a:gd name="connsiteY57" fmla="*/ 1038225 h 4429294"/>
                    <a:gd name="connsiteX58" fmla="*/ 364319 w 4501379"/>
                    <a:gd name="connsiteY58" fmla="*/ 1009650 h 4429294"/>
                    <a:gd name="connsiteX59" fmla="*/ 421469 w 4501379"/>
                    <a:gd name="connsiteY59" fmla="*/ 904875 h 4429294"/>
                    <a:gd name="connsiteX60" fmla="*/ 459569 w 4501379"/>
                    <a:gd name="connsiteY60" fmla="*/ 857250 h 4429294"/>
                    <a:gd name="connsiteX61" fmla="*/ 478619 w 4501379"/>
                    <a:gd name="connsiteY61" fmla="*/ 828675 h 4429294"/>
                    <a:gd name="connsiteX62" fmla="*/ 516719 w 4501379"/>
                    <a:gd name="connsiteY62" fmla="*/ 800100 h 4429294"/>
                    <a:gd name="connsiteX63" fmla="*/ 583394 w 4501379"/>
                    <a:gd name="connsiteY63" fmla="*/ 733425 h 4429294"/>
                    <a:gd name="connsiteX64" fmla="*/ 650069 w 4501379"/>
                    <a:gd name="connsiteY64" fmla="*/ 676275 h 4429294"/>
                    <a:gd name="connsiteX65" fmla="*/ 678644 w 4501379"/>
                    <a:gd name="connsiteY65" fmla="*/ 657225 h 4429294"/>
                    <a:gd name="connsiteX66" fmla="*/ 821519 w 4501379"/>
                    <a:gd name="connsiteY66" fmla="*/ 533400 h 4429294"/>
                    <a:gd name="connsiteX67" fmla="*/ 869144 w 4501379"/>
                    <a:gd name="connsiteY67" fmla="*/ 504825 h 4429294"/>
                    <a:gd name="connsiteX68" fmla="*/ 1148544 w 4501379"/>
                    <a:gd name="connsiteY68" fmla="*/ 311150 h 4429294"/>
                    <a:gd name="connsiteX69" fmla="*/ 1250144 w 4501379"/>
                    <a:gd name="connsiteY69" fmla="*/ 285750 h 4429294"/>
                    <a:gd name="connsiteX70" fmla="*/ 1393019 w 4501379"/>
                    <a:gd name="connsiteY70" fmla="*/ 190500 h 4429294"/>
                    <a:gd name="connsiteX71" fmla="*/ 1431119 w 4501379"/>
                    <a:gd name="connsiteY71" fmla="*/ 161925 h 4429294"/>
                    <a:gd name="connsiteX72" fmla="*/ 1507319 w 4501379"/>
                    <a:gd name="connsiteY72" fmla="*/ 152400 h 4429294"/>
                    <a:gd name="connsiteX73" fmla="*/ 1564469 w 4501379"/>
                    <a:gd name="connsiteY73" fmla="*/ 142875 h 4429294"/>
                    <a:gd name="connsiteX74" fmla="*/ 1697819 w 4501379"/>
                    <a:gd name="connsiteY74" fmla="*/ 123825 h 4429294"/>
                    <a:gd name="connsiteX75" fmla="*/ 1793069 w 4501379"/>
                    <a:gd name="connsiteY75" fmla="*/ 114300 h 4429294"/>
                    <a:gd name="connsiteX76" fmla="*/ 1840694 w 4501379"/>
                    <a:gd name="connsiteY76" fmla="*/ 104775 h 4429294"/>
                    <a:gd name="connsiteX77" fmla="*/ 1897844 w 4501379"/>
                    <a:gd name="connsiteY77" fmla="*/ 95250 h 4429294"/>
                    <a:gd name="connsiteX78" fmla="*/ 2012144 w 4501379"/>
                    <a:gd name="connsiteY78" fmla="*/ 66675 h 4429294"/>
                    <a:gd name="connsiteX79" fmla="*/ 2078819 w 4501379"/>
                    <a:gd name="connsiteY79" fmla="*/ 47625 h 4429294"/>
                    <a:gd name="connsiteX80" fmla="*/ 2145494 w 4501379"/>
                    <a:gd name="connsiteY8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612344 w 4501379"/>
                    <a:gd name="connsiteY7" fmla="*/ 485775 h 4429294"/>
                    <a:gd name="connsiteX8" fmla="*/ 3726644 w 4501379"/>
                    <a:gd name="connsiteY8" fmla="*/ 542925 h 4429294"/>
                    <a:gd name="connsiteX9" fmla="*/ 3793319 w 4501379"/>
                    <a:gd name="connsiteY9" fmla="*/ 581025 h 4429294"/>
                    <a:gd name="connsiteX10" fmla="*/ 4009219 w 4501379"/>
                    <a:gd name="connsiteY10" fmla="*/ 819150 h 4429294"/>
                    <a:gd name="connsiteX11" fmla="*/ 4145744 w 4501379"/>
                    <a:gd name="connsiteY11" fmla="*/ 990600 h 4429294"/>
                    <a:gd name="connsiteX12" fmla="*/ 4231469 w 4501379"/>
                    <a:gd name="connsiteY12" fmla="*/ 1143000 h 4429294"/>
                    <a:gd name="connsiteX13" fmla="*/ 4288619 w 4501379"/>
                    <a:gd name="connsiteY13" fmla="*/ 1266825 h 4429294"/>
                    <a:gd name="connsiteX14" fmla="*/ 4326719 w 4501379"/>
                    <a:gd name="connsiteY14" fmla="*/ 1362075 h 4429294"/>
                    <a:gd name="connsiteX15" fmla="*/ 4374344 w 4501379"/>
                    <a:gd name="connsiteY15" fmla="*/ 1552575 h 4429294"/>
                    <a:gd name="connsiteX16" fmla="*/ 4412444 w 4501379"/>
                    <a:gd name="connsiteY16" fmla="*/ 1685925 h 4429294"/>
                    <a:gd name="connsiteX17" fmla="*/ 4501344 w 4501379"/>
                    <a:gd name="connsiteY17" fmla="*/ 2181225 h 4429294"/>
                    <a:gd name="connsiteX18" fmla="*/ 4428319 w 4501379"/>
                    <a:gd name="connsiteY18" fmla="*/ 2768600 h 4429294"/>
                    <a:gd name="connsiteX19" fmla="*/ 4364819 w 4501379"/>
                    <a:gd name="connsiteY19" fmla="*/ 2990850 h 4429294"/>
                    <a:gd name="connsiteX20" fmla="*/ 4260044 w 4501379"/>
                    <a:gd name="connsiteY20" fmla="*/ 3248025 h 4429294"/>
                    <a:gd name="connsiteX21" fmla="*/ 4164794 w 4501379"/>
                    <a:gd name="connsiteY21" fmla="*/ 3400425 h 4429294"/>
                    <a:gd name="connsiteX22" fmla="*/ 4040969 w 4501379"/>
                    <a:gd name="connsiteY22" fmla="*/ 3533775 h 4429294"/>
                    <a:gd name="connsiteX23" fmla="*/ 3936194 w 4501379"/>
                    <a:gd name="connsiteY23" fmla="*/ 3648075 h 4429294"/>
                    <a:gd name="connsiteX24" fmla="*/ 3640919 w 4501379"/>
                    <a:gd name="connsiteY24" fmla="*/ 3971925 h 4429294"/>
                    <a:gd name="connsiteX25" fmla="*/ 3498044 w 4501379"/>
                    <a:gd name="connsiteY25" fmla="*/ 4083050 h 4429294"/>
                    <a:gd name="connsiteX26" fmla="*/ 3202769 w 4501379"/>
                    <a:gd name="connsiteY26" fmla="*/ 4222750 h 4429294"/>
                    <a:gd name="connsiteX27" fmla="*/ 3050369 w 4501379"/>
                    <a:gd name="connsiteY27" fmla="*/ 4286250 h 4429294"/>
                    <a:gd name="connsiteX28" fmla="*/ 2917019 w 4501379"/>
                    <a:gd name="connsiteY28" fmla="*/ 4333875 h 4429294"/>
                    <a:gd name="connsiteX29" fmla="*/ 2793194 w 4501379"/>
                    <a:gd name="connsiteY29" fmla="*/ 4371975 h 4429294"/>
                    <a:gd name="connsiteX30" fmla="*/ 2561419 w 4501379"/>
                    <a:gd name="connsiteY30" fmla="*/ 4391025 h 4429294"/>
                    <a:gd name="connsiteX31" fmla="*/ 2107394 w 4501379"/>
                    <a:gd name="connsiteY31" fmla="*/ 4429125 h 4429294"/>
                    <a:gd name="connsiteX32" fmla="*/ 1916894 w 4501379"/>
                    <a:gd name="connsiteY32" fmla="*/ 4400550 h 4429294"/>
                    <a:gd name="connsiteX33" fmla="*/ 1554944 w 4501379"/>
                    <a:gd name="connsiteY33" fmla="*/ 4305300 h 4429294"/>
                    <a:gd name="connsiteX34" fmla="*/ 1313644 w 4501379"/>
                    <a:gd name="connsiteY34" fmla="*/ 4216400 h 4429294"/>
                    <a:gd name="connsiteX35" fmla="*/ 1145369 w 4501379"/>
                    <a:gd name="connsiteY35" fmla="*/ 4111625 h 4429294"/>
                    <a:gd name="connsiteX36" fmla="*/ 926294 w 4501379"/>
                    <a:gd name="connsiteY36" fmla="*/ 3968750 h 4429294"/>
                    <a:gd name="connsiteX37" fmla="*/ 592919 w 4501379"/>
                    <a:gd name="connsiteY37" fmla="*/ 3657600 h 4429294"/>
                    <a:gd name="connsiteX38" fmla="*/ 446869 w 4501379"/>
                    <a:gd name="connsiteY38" fmla="*/ 3470275 h 4429294"/>
                    <a:gd name="connsiteX39" fmla="*/ 316694 w 4501379"/>
                    <a:gd name="connsiteY39" fmla="*/ 3244850 h 4429294"/>
                    <a:gd name="connsiteX40" fmla="*/ 164294 w 4501379"/>
                    <a:gd name="connsiteY40" fmla="*/ 2892425 h 4429294"/>
                    <a:gd name="connsiteX41" fmla="*/ 56344 w 4501379"/>
                    <a:gd name="connsiteY41" fmla="*/ 2368550 h 4429294"/>
                    <a:gd name="connsiteX42" fmla="*/ 2369 w 4501379"/>
                    <a:gd name="connsiteY42" fmla="*/ 1905000 h 4429294"/>
                    <a:gd name="connsiteX43" fmla="*/ 11894 w 4501379"/>
                    <a:gd name="connsiteY43" fmla="*/ 1838325 h 4429294"/>
                    <a:gd name="connsiteX44" fmla="*/ 30944 w 4501379"/>
                    <a:gd name="connsiteY44" fmla="*/ 1781175 h 4429294"/>
                    <a:gd name="connsiteX45" fmla="*/ 40469 w 4501379"/>
                    <a:gd name="connsiteY45" fmla="*/ 1743075 h 4429294"/>
                    <a:gd name="connsiteX46" fmla="*/ 59519 w 4501379"/>
                    <a:gd name="connsiteY46" fmla="*/ 1685925 h 4429294"/>
                    <a:gd name="connsiteX47" fmla="*/ 69044 w 4501379"/>
                    <a:gd name="connsiteY47" fmla="*/ 1638300 h 4429294"/>
                    <a:gd name="connsiteX48" fmla="*/ 88094 w 4501379"/>
                    <a:gd name="connsiteY48" fmla="*/ 1590675 h 4429294"/>
                    <a:gd name="connsiteX49" fmla="*/ 116669 w 4501379"/>
                    <a:gd name="connsiteY49" fmla="*/ 1504950 h 4429294"/>
                    <a:gd name="connsiteX50" fmla="*/ 135719 w 4501379"/>
                    <a:gd name="connsiteY50" fmla="*/ 1419225 h 4429294"/>
                    <a:gd name="connsiteX51" fmla="*/ 211919 w 4501379"/>
                    <a:gd name="connsiteY51" fmla="*/ 1276350 h 4429294"/>
                    <a:gd name="connsiteX52" fmla="*/ 221444 w 4501379"/>
                    <a:gd name="connsiteY52" fmla="*/ 1247775 h 4429294"/>
                    <a:gd name="connsiteX53" fmla="*/ 250019 w 4501379"/>
                    <a:gd name="connsiteY53" fmla="*/ 1200150 h 4429294"/>
                    <a:gd name="connsiteX54" fmla="*/ 269069 w 4501379"/>
                    <a:gd name="connsiteY54" fmla="*/ 1152525 h 4429294"/>
                    <a:gd name="connsiteX55" fmla="*/ 297644 w 4501379"/>
                    <a:gd name="connsiteY55" fmla="*/ 1114425 h 4429294"/>
                    <a:gd name="connsiteX56" fmla="*/ 345269 w 4501379"/>
                    <a:gd name="connsiteY56" fmla="*/ 1038225 h 4429294"/>
                    <a:gd name="connsiteX57" fmla="*/ 364319 w 4501379"/>
                    <a:gd name="connsiteY57" fmla="*/ 1009650 h 4429294"/>
                    <a:gd name="connsiteX58" fmla="*/ 421469 w 4501379"/>
                    <a:gd name="connsiteY58" fmla="*/ 904875 h 4429294"/>
                    <a:gd name="connsiteX59" fmla="*/ 459569 w 4501379"/>
                    <a:gd name="connsiteY59" fmla="*/ 857250 h 4429294"/>
                    <a:gd name="connsiteX60" fmla="*/ 478619 w 4501379"/>
                    <a:gd name="connsiteY60" fmla="*/ 828675 h 4429294"/>
                    <a:gd name="connsiteX61" fmla="*/ 516719 w 4501379"/>
                    <a:gd name="connsiteY61" fmla="*/ 800100 h 4429294"/>
                    <a:gd name="connsiteX62" fmla="*/ 583394 w 4501379"/>
                    <a:gd name="connsiteY62" fmla="*/ 733425 h 4429294"/>
                    <a:gd name="connsiteX63" fmla="*/ 650069 w 4501379"/>
                    <a:gd name="connsiteY63" fmla="*/ 676275 h 4429294"/>
                    <a:gd name="connsiteX64" fmla="*/ 678644 w 4501379"/>
                    <a:gd name="connsiteY64" fmla="*/ 657225 h 4429294"/>
                    <a:gd name="connsiteX65" fmla="*/ 821519 w 4501379"/>
                    <a:gd name="connsiteY65" fmla="*/ 533400 h 4429294"/>
                    <a:gd name="connsiteX66" fmla="*/ 869144 w 4501379"/>
                    <a:gd name="connsiteY66" fmla="*/ 504825 h 4429294"/>
                    <a:gd name="connsiteX67" fmla="*/ 1148544 w 4501379"/>
                    <a:gd name="connsiteY67" fmla="*/ 311150 h 4429294"/>
                    <a:gd name="connsiteX68" fmla="*/ 1250144 w 4501379"/>
                    <a:gd name="connsiteY68" fmla="*/ 285750 h 4429294"/>
                    <a:gd name="connsiteX69" fmla="*/ 1393019 w 4501379"/>
                    <a:gd name="connsiteY69" fmla="*/ 190500 h 4429294"/>
                    <a:gd name="connsiteX70" fmla="*/ 1431119 w 4501379"/>
                    <a:gd name="connsiteY70" fmla="*/ 161925 h 4429294"/>
                    <a:gd name="connsiteX71" fmla="*/ 1507319 w 4501379"/>
                    <a:gd name="connsiteY71" fmla="*/ 152400 h 4429294"/>
                    <a:gd name="connsiteX72" fmla="*/ 1564469 w 4501379"/>
                    <a:gd name="connsiteY72" fmla="*/ 142875 h 4429294"/>
                    <a:gd name="connsiteX73" fmla="*/ 1697819 w 4501379"/>
                    <a:gd name="connsiteY73" fmla="*/ 123825 h 4429294"/>
                    <a:gd name="connsiteX74" fmla="*/ 1793069 w 4501379"/>
                    <a:gd name="connsiteY74" fmla="*/ 114300 h 4429294"/>
                    <a:gd name="connsiteX75" fmla="*/ 1840694 w 4501379"/>
                    <a:gd name="connsiteY75" fmla="*/ 104775 h 4429294"/>
                    <a:gd name="connsiteX76" fmla="*/ 1897844 w 4501379"/>
                    <a:gd name="connsiteY76" fmla="*/ 95250 h 4429294"/>
                    <a:gd name="connsiteX77" fmla="*/ 2012144 w 4501379"/>
                    <a:gd name="connsiteY77" fmla="*/ 66675 h 4429294"/>
                    <a:gd name="connsiteX78" fmla="*/ 2078819 w 4501379"/>
                    <a:gd name="connsiteY78" fmla="*/ 47625 h 4429294"/>
                    <a:gd name="connsiteX79" fmla="*/ 2145494 w 4501379"/>
                    <a:gd name="connsiteY7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26644 w 4501379"/>
                    <a:gd name="connsiteY7" fmla="*/ 542925 h 4429294"/>
                    <a:gd name="connsiteX8" fmla="*/ 3793319 w 4501379"/>
                    <a:gd name="connsiteY8" fmla="*/ 581025 h 4429294"/>
                    <a:gd name="connsiteX9" fmla="*/ 4009219 w 4501379"/>
                    <a:gd name="connsiteY9" fmla="*/ 819150 h 4429294"/>
                    <a:gd name="connsiteX10" fmla="*/ 4145744 w 4501379"/>
                    <a:gd name="connsiteY10" fmla="*/ 990600 h 4429294"/>
                    <a:gd name="connsiteX11" fmla="*/ 4231469 w 4501379"/>
                    <a:gd name="connsiteY11" fmla="*/ 1143000 h 4429294"/>
                    <a:gd name="connsiteX12" fmla="*/ 4288619 w 4501379"/>
                    <a:gd name="connsiteY12" fmla="*/ 1266825 h 4429294"/>
                    <a:gd name="connsiteX13" fmla="*/ 4326719 w 4501379"/>
                    <a:gd name="connsiteY13" fmla="*/ 1362075 h 4429294"/>
                    <a:gd name="connsiteX14" fmla="*/ 4374344 w 4501379"/>
                    <a:gd name="connsiteY14" fmla="*/ 1552575 h 4429294"/>
                    <a:gd name="connsiteX15" fmla="*/ 4412444 w 4501379"/>
                    <a:gd name="connsiteY15" fmla="*/ 1685925 h 4429294"/>
                    <a:gd name="connsiteX16" fmla="*/ 4501344 w 4501379"/>
                    <a:gd name="connsiteY16" fmla="*/ 2181225 h 4429294"/>
                    <a:gd name="connsiteX17" fmla="*/ 4428319 w 4501379"/>
                    <a:gd name="connsiteY17" fmla="*/ 2768600 h 4429294"/>
                    <a:gd name="connsiteX18" fmla="*/ 4364819 w 4501379"/>
                    <a:gd name="connsiteY18" fmla="*/ 2990850 h 4429294"/>
                    <a:gd name="connsiteX19" fmla="*/ 4260044 w 4501379"/>
                    <a:gd name="connsiteY19" fmla="*/ 3248025 h 4429294"/>
                    <a:gd name="connsiteX20" fmla="*/ 4164794 w 4501379"/>
                    <a:gd name="connsiteY20" fmla="*/ 3400425 h 4429294"/>
                    <a:gd name="connsiteX21" fmla="*/ 4040969 w 4501379"/>
                    <a:gd name="connsiteY21" fmla="*/ 3533775 h 4429294"/>
                    <a:gd name="connsiteX22" fmla="*/ 3936194 w 4501379"/>
                    <a:gd name="connsiteY22" fmla="*/ 3648075 h 4429294"/>
                    <a:gd name="connsiteX23" fmla="*/ 3640919 w 4501379"/>
                    <a:gd name="connsiteY23" fmla="*/ 3971925 h 4429294"/>
                    <a:gd name="connsiteX24" fmla="*/ 3498044 w 4501379"/>
                    <a:gd name="connsiteY24" fmla="*/ 4083050 h 4429294"/>
                    <a:gd name="connsiteX25" fmla="*/ 3202769 w 4501379"/>
                    <a:gd name="connsiteY25" fmla="*/ 4222750 h 4429294"/>
                    <a:gd name="connsiteX26" fmla="*/ 3050369 w 4501379"/>
                    <a:gd name="connsiteY26" fmla="*/ 4286250 h 4429294"/>
                    <a:gd name="connsiteX27" fmla="*/ 2917019 w 4501379"/>
                    <a:gd name="connsiteY27" fmla="*/ 4333875 h 4429294"/>
                    <a:gd name="connsiteX28" fmla="*/ 2793194 w 4501379"/>
                    <a:gd name="connsiteY28" fmla="*/ 4371975 h 4429294"/>
                    <a:gd name="connsiteX29" fmla="*/ 2561419 w 4501379"/>
                    <a:gd name="connsiteY29" fmla="*/ 4391025 h 4429294"/>
                    <a:gd name="connsiteX30" fmla="*/ 2107394 w 4501379"/>
                    <a:gd name="connsiteY30" fmla="*/ 4429125 h 4429294"/>
                    <a:gd name="connsiteX31" fmla="*/ 1916894 w 4501379"/>
                    <a:gd name="connsiteY31" fmla="*/ 4400550 h 4429294"/>
                    <a:gd name="connsiteX32" fmla="*/ 1554944 w 4501379"/>
                    <a:gd name="connsiteY32" fmla="*/ 4305300 h 4429294"/>
                    <a:gd name="connsiteX33" fmla="*/ 1313644 w 4501379"/>
                    <a:gd name="connsiteY33" fmla="*/ 4216400 h 4429294"/>
                    <a:gd name="connsiteX34" fmla="*/ 1145369 w 4501379"/>
                    <a:gd name="connsiteY34" fmla="*/ 4111625 h 4429294"/>
                    <a:gd name="connsiteX35" fmla="*/ 926294 w 4501379"/>
                    <a:gd name="connsiteY35" fmla="*/ 3968750 h 4429294"/>
                    <a:gd name="connsiteX36" fmla="*/ 592919 w 4501379"/>
                    <a:gd name="connsiteY36" fmla="*/ 3657600 h 4429294"/>
                    <a:gd name="connsiteX37" fmla="*/ 446869 w 4501379"/>
                    <a:gd name="connsiteY37" fmla="*/ 3470275 h 4429294"/>
                    <a:gd name="connsiteX38" fmla="*/ 316694 w 4501379"/>
                    <a:gd name="connsiteY38" fmla="*/ 3244850 h 4429294"/>
                    <a:gd name="connsiteX39" fmla="*/ 164294 w 4501379"/>
                    <a:gd name="connsiteY39" fmla="*/ 2892425 h 4429294"/>
                    <a:gd name="connsiteX40" fmla="*/ 56344 w 4501379"/>
                    <a:gd name="connsiteY40" fmla="*/ 2368550 h 4429294"/>
                    <a:gd name="connsiteX41" fmla="*/ 2369 w 4501379"/>
                    <a:gd name="connsiteY41" fmla="*/ 1905000 h 4429294"/>
                    <a:gd name="connsiteX42" fmla="*/ 11894 w 4501379"/>
                    <a:gd name="connsiteY42" fmla="*/ 1838325 h 4429294"/>
                    <a:gd name="connsiteX43" fmla="*/ 30944 w 4501379"/>
                    <a:gd name="connsiteY43" fmla="*/ 1781175 h 4429294"/>
                    <a:gd name="connsiteX44" fmla="*/ 40469 w 4501379"/>
                    <a:gd name="connsiteY44" fmla="*/ 1743075 h 4429294"/>
                    <a:gd name="connsiteX45" fmla="*/ 59519 w 4501379"/>
                    <a:gd name="connsiteY45" fmla="*/ 1685925 h 4429294"/>
                    <a:gd name="connsiteX46" fmla="*/ 69044 w 4501379"/>
                    <a:gd name="connsiteY46" fmla="*/ 1638300 h 4429294"/>
                    <a:gd name="connsiteX47" fmla="*/ 88094 w 4501379"/>
                    <a:gd name="connsiteY47" fmla="*/ 1590675 h 4429294"/>
                    <a:gd name="connsiteX48" fmla="*/ 116669 w 4501379"/>
                    <a:gd name="connsiteY48" fmla="*/ 1504950 h 4429294"/>
                    <a:gd name="connsiteX49" fmla="*/ 135719 w 4501379"/>
                    <a:gd name="connsiteY49" fmla="*/ 1419225 h 4429294"/>
                    <a:gd name="connsiteX50" fmla="*/ 211919 w 4501379"/>
                    <a:gd name="connsiteY50" fmla="*/ 1276350 h 4429294"/>
                    <a:gd name="connsiteX51" fmla="*/ 221444 w 4501379"/>
                    <a:gd name="connsiteY51" fmla="*/ 1247775 h 4429294"/>
                    <a:gd name="connsiteX52" fmla="*/ 250019 w 4501379"/>
                    <a:gd name="connsiteY52" fmla="*/ 1200150 h 4429294"/>
                    <a:gd name="connsiteX53" fmla="*/ 269069 w 4501379"/>
                    <a:gd name="connsiteY53" fmla="*/ 1152525 h 4429294"/>
                    <a:gd name="connsiteX54" fmla="*/ 297644 w 4501379"/>
                    <a:gd name="connsiteY54" fmla="*/ 1114425 h 4429294"/>
                    <a:gd name="connsiteX55" fmla="*/ 345269 w 4501379"/>
                    <a:gd name="connsiteY55" fmla="*/ 1038225 h 4429294"/>
                    <a:gd name="connsiteX56" fmla="*/ 364319 w 4501379"/>
                    <a:gd name="connsiteY56" fmla="*/ 1009650 h 4429294"/>
                    <a:gd name="connsiteX57" fmla="*/ 421469 w 4501379"/>
                    <a:gd name="connsiteY57" fmla="*/ 904875 h 4429294"/>
                    <a:gd name="connsiteX58" fmla="*/ 459569 w 4501379"/>
                    <a:gd name="connsiteY58" fmla="*/ 857250 h 4429294"/>
                    <a:gd name="connsiteX59" fmla="*/ 478619 w 4501379"/>
                    <a:gd name="connsiteY59" fmla="*/ 828675 h 4429294"/>
                    <a:gd name="connsiteX60" fmla="*/ 516719 w 4501379"/>
                    <a:gd name="connsiteY60" fmla="*/ 800100 h 4429294"/>
                    <a:gd name="connsiteX61" fmla="*/ 583394 w 4501379"/>
                    <a:gd name="connsiteY61" fmla="*/ 733425 h 4429294"/>
                    <a:gd name="connsiteX62" fmla="*/ 650069 w 4501379"/>
                    <a:gd name="connsiteY62" fmla="*/ 676275 h 4429294"/>
                    <a:gd name="connsiteX63" fmla="*/ 678644 w 4501379"/>
                    <a:gd name="connsiteY63" fmla="*/ 657225 h 4429294"/>
                    <a:gd name="connsiteX64" fmla="*/ 821519 w 4501379"/>
                    <a:gd name="connsiteY64" fmla="*/ 533400 h 4429294"/>
                    <a:gd name="connsiteX65" fmla="*/ 869144 w 4501379"/>
                    <a:gd name="connsiteY65" fmla="*/ 504825 h 4429294"/>
                    <a:gd name="connsiteX66" fmla="*/ 1148544 w 4501379"/>
                    <a:gd name="connsiteY66" fmla="*/ 311150 h 4429294"/>
                    <a:gd name="connsiteX67" fmla="*/ 1250144 w 4501379"/>
                    <a:gd name="connsiteY67" fmla="*/ 285750 h 4429294"/>
                    <a:gd name="connsiteX68" fmla="*/ 1393019 w 4501379"/>
                    <a:gd name="connsiteY68" fmla="*/ 190500 h 4429294"/>
                    <a:gd name="connsiteX69" fmla="*/ 1431119 w 4501379"/>
                    <a:gd name="connsiteY69" fmla="*/ 161925 h 4429294"/>
                    <a:gd name="connsiteX70" fmla="*/ 1507319 w 4501379"/>
                    <a:gd name="connsiteY70" fmla="*/ 152400 h 4429294"/>
                    <a:gd name="connsiteX71" fmla="*/ 1564469 w 4501379"/>
                    <a:gd name="connsiteY71" fmla="*/ 142875 h 4429294"/>
                    <a:gd name="connsiteX72" fmla="*/ 1697819 w 4501379"/>
                    <a:gd name="connsiteY72" fmla="*/ 123825 h 4429294"/>
                    <a:gd name="connsiteX73" fmla="*/ 1793069 w 4501379"/>
                    <a:gd name="connsiteY73" fmla="*/ 114300 h 4429294"/>
                    <a:gd name="connsiteX74" fmla="*/ 1840694 w 4501379"/>
                    <a:gd name="connsiteY74" fmla="*/ 104775 h 4429294"/>
                    <a:gd name="connsiteX75" fmla="*/ 1897844 w 4501379"/>
                    <a:gd name="connsiteY75" fmla="*/ 95250 h 4429294"/>
                    <a:gd name="connsiteX76" fmla="*/ 2012144 w 4501379"/>
                    <a:gd name="connsiteY76" fmla="*/ 66675 h 4429294"/>
                    <a:gd name="connsiteX77" fmla="*/ 2078819 w 4501379"/>
                    <a:gd name="connsiteY77" fmla="*/ 47625 h 4429294"/>
                    <a:gd name="connsiteX78" fmla="*/ 2145494 w 4501379"/>
                    <a:gd name="connsiteY7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93319 w 4501379"/>
                    <a:gd name="connsiteY7" fmla="*/ 581025 h 4429294"/>
                    <a:gd name="connsiteX8" fmla="*/ 4009219 w 4501379"/>
                    <a:gd name="connsiteY8" fmla="*/ 819150 h 4429294"/>
                    <a:gd name="connsiteX9" fmla="*/ 4145744 w 4501379"/>
                    <a:gd name="connsiteY9" fmla="*/ 990600 h 4429294"/>
                    <a:gd name="connsiteX10" fmla="*/ 4231469 w 4501379"/>
                    <a:gd name="connsiteY10" fmla="*/ 1143000 h 4429294"/>
                    <a:gd name="connsiteX11" fmla="*/ 4288619 w 4501379"/>
                    <a:gd name="connsiteY11" fmla="*/ 1266825 h 4429294"/>
                    <a:gd name="connsiteX12" fmla="*/ 4326719 w 4501379"/>
                    <a:gd name="connsiteY12" fmla="*/ 1362075 h 4429294"/>
                    <a:gd name="connsiteX13" fmla="*/ 4374344 w 4501379"/>
                    <a:gd name="connsiteY13" fmla="*/ 1552575 h 4429294"/>
                    <a:gd name="connsiteX14" fmla="*/ 4412444 w 4501379"/>
                    <a:gd name="connsiteY14" fmla="*/ 1685925 h 4429294"/>
                    <a:gd name="connsiteX15" fmla="*/ 4501344 w 4501379"/>
                    <a:gd name="connsiteY15" fmla="*/ 2181225 h 4429294"/>
                    <a:gd name="connsiteX16" fmla="*/ 4428319 w 4501379"/>
                    <a:gd name="connsiteY16" fmla="*/ 2768600 h 4429294"/>
                    <a:gd name="connsiteX17" fmla="*/ 4364819 w 4501379"/>
                    <a:gd name="connsiteY17" fmla="*/ 2990850 h 4429294"/>
                    <a:gd name="connsiteX18" fmla="*/ 4260044 w 4501379"/>
                    <a:gd name="connsiteY18" fmla="*/ 3248025 h 4429294"/>
                    <a:gd name="connsiteX19" fmla="*/ 4164794 w 4501379"/>
                    <a:gd name="connsiteY19" fmla="*/ 3400425 h 4429294"/>
                    <a:gd name="connsiteX20" fmla="*/ 4040969 w 4501379"/>
                    <a:gd name="connsiteY20" fmla="*/ 3533775 h 4429294"/>
                    <a:gd name="connsiteX21" fmla="*/ 3936194 w 4501379"/>
                    <a:gd name="connsiteY21" fmla="*/ 3648075 h 4429294"/>
                    <a:gd name="connsiteX22" fmla="*/ 3640919 w 4501379"/>
                    <a:gd name="connsiteY22" fmla="*/ 3971925 h 4429294"/>
                    <a:gd name="connsiteX23" fmla="*/ 3498044 w 4501379"/>
                    <a:gd name="connsiteY23" fmla="*/ 4083050 h 4429294"/>
                    <a:gd name="connsiteX24" fmla="*/ 3202769 w 4501379"/>
                    <a:gd name="connsiteY24" fmla="*/ 4222750 h 4429294"/>
                    <a:gd name="connsiteX25" fmla="*/ 3050369 w 4501379"/>
                    <a:gd name="connsiteY25" fmla="*/ 4286250 h 4429294"/>
                    <a:gd name="connsiteX26" fmla="*/ 2917019 w 4501379"/>
                    <a:gd name="connsiteY26" fmla="*/ 4333875 h 4429294"/>
                    <a:gd name="connsiteX27" fmla="*/ 2793194 w 4501379"/>
                    <a:gd name="connsiteY27" fmla="*/ 4371975 h 4429294"/>
                    <a:gd name="connsiteX28" fmla="*/ 2561419 w 4501379"/>
                    <a:gd name="connsiteY28" fmla="*/ 4391025 h 4429294"/>
                    <a:gd name="connsiteX29" fmla="*/ 2107394 w 4501379"/>
                    <a:gd name="connsiteY29" fmla="*/ 4429125 h 4429294"/>
                    <a:gd name="connsiteX30" fmla="*/ 1916894 w 4501379"/>
                    <a:gd name="connsiteY30" fmla="*/ 4400550 h 4429294"/>
                    <a:gd name="connsiteX31" fmla="*/ 1554944 w 4501379"/>
                    <a:gd name="connsiteY31" fmla="*/ 4305300 h 4429294"/>
                    <a:gd name="connsiteX32" fmla="*/ 1313644 w 4501379"/>
                    <a:gd name="connsiteY32" fmla="*/ 4216400 h 4429294"/>
                    <a:gd name="connsiteX33" fmla="*/ 1145369 w 4501379"/>
                    <a:gd name="connsiteY33" fmla="*/ 4111625 h 4429294"/>
                    <a:gd name="connsiteX34" fmla="*/ 926294 w 4501379"/>
                    <a:gd name="connsiteY34" fmla="*/ 3968750 h 4429294"/>
                    <a:gd name="connsiteX35" fmla="*/ 592919 w 4501379"/>
                    <a:gd name="connsiteY35" fmla="*/ 3657600 h 4429294"/>
                    <a:gd name="connsiteX36" fmla="*/ 446869 w 4501379"/>
                    <a:gd name="connsiteY36" fmla="*/ 3470275 h 4429294"/>
                    <a:gd name="connsiteX37" fmla="*/ 316694 w 4501379"/>
                    <a:gd name="connsiteY37" fmla="*/ 3244850 h 4429294"/>
                    <a:gd name="connsiteX38" fmla="*/ 164294 w 4501379"/>
                    <a:gd name="connsiteY38" fmla="*/ 2892425 h 4429294"/>
                    <a:gd name="connsiteX39" fmla="*/ 56344 w 4501379"/>
                    <a:gd name="connsiteY39" fmla="*/ 2368550 h 4429294"/>
                    <a:gd name="connsiteX40" fmla="*/ 2369 w 4501379"/>
                    <a:gd name="connsiteY40" fmla="*/ 1905000 h 4429294"/>
                    <a:gd name="connsiteX41" fmla="*/ 11894 w 4501379"/>
                    <a:gd name="connsiteY41" fmla="*/ 1838325 h 4429294"/>
                    <a:gd name="connsiteX42" fmla="*/ 30944 w 4501379"/>
                    <a:gd name="connsiteY42" fmla="*/ 1781175 h 4429294"/>
                    <a:gd name="connsiteX43" fmla="*/ 40469 w 4501379"/>
                    <a:gd name="connsiteY43" fmla="*/ 1743075 h 4429294"/>
                    <a:gd name="connsiteX44" fmla="*/ 59519 w 4501379"/>
                    <a:gd name="connsiteY44" fmla="*/ 1685925 h 4429294"/>
                    <a:gd name="connsiteX45" fmla="*/ 69044 w 4501379"/>
                    <a:gd name="connsiteY45" fmla="*/ 1638300 h 4429294"/>
                    <a:gd name="connsiteX46" fmla="*/ 88094 w 4501379"/>
                    <a:gd name="connsiteY46" fmla="*/ 1590675 h 4429294"/>
                    <a:gd name="connsiteX47" fmla="*/ 116669 w 4501379"/>
                    <a:gd name="connsiteY47" fmla="*/ 1504950 h 4429294"/>
                    <a:gd name="connsiteX48" fmla="*/ 135719 w 4501379"/>
                    <a:gd name="connsiteY48" fmla="*/ 1419225 h 4429294"/>
                    <a:gd name="connsiteX49" fmla="*/ 211919 w 4501379"/>
                    <a:gd name="connsiteY49" fmla="*/ 1276350 h 4429294"/>
                    <a:gd name="connsiteX50" fmla="*/ 221444 w 4501379"/>
                    <a:gd name="connsiteY50" fmla="*/ 1247775 h 4429294"/>
                    <a:gd name="connsiteX51" fmla="*/ 250019 w 4501379"/>
                    <a:gd name="connsiteY51" fmla="*/ 1200150 h 4429294"/>
                    <a:gd name="connsiteX52" fmla="*/ 269069 w 4501379"/>
                    <a:gd name="connsiteY52" fmla="*/ 1152525 h 4429294"/>
                    <a:gd name="connsiteX53" fmla="*/ 297644 w 4501379"/>
                    <a:gd name="connsiteY53" fmla="*/ 1114425 h 4429294"/>
                    <a:gd name="connsiteX54" fmla="*/ 345269 w 4501379"/>
                    <a:gd name="connsiteY54" fmla="*/ 1038225 h 4429294"/>
                    <a:gd name="connsiteX55" fmla="*/ 364319 w 4501379"/>
                    <a:gd name="connsiteY55" fmla="*/ 1009650 h 4429294"/>
                    <a:gd name="connsiteX56" fmla="*/ 421469 w 4501379"/>
                    <a:gd name="connsiteY56" fmla="*/ 904875 h 4429294"/>
                    <a:gd name="connsiteX57" fmla="*/ 459569 w 4501379"/>
                    <a:gd name="connsiteY57" fmla="*/ 857250 h 4429294"/>
                    <a:gd name="connsiteX58" fmla="*/ 478619 w 4501379"/>
                    <a:gd name="connsiteY58" fmla="*/ 828675 h 4429294"/>
                    <a:gd name="connsiteX59" fmla="*/ 516719 w 4501379"/>
                    <a:gd name="connsiteY59" fmla="*/ 800100 h 4429294"/>
                    <a:gd name="connsiteX60" fmla="*/ 583394 w 4501379"/>
                    <a:gd name="connsiteY60" fmla="*/ 733425 h 4429294"/>
                    <a:gd name="connsiteX61" fmla="*/ 650069 w 4501379"/>
                    <a:gd name="connsiteY61" fmla="*/ 676275 h 4429294"/>
                    <a:gd name="connsiteX62" fmla="*/ 678644 w 4501379"/>
                    <a:gd name="connsiteY62" fmla="*/ 657225 h 4429294"/>
                    <a:gd name="connsiteX63" fmla="*/ 821519 w 4501379"/>
                    <a:gd name="connsiteY63" fmla="*/ 533400 h 4429294"/>
                    <a:gd name="connsiteX64" fmla="*/ 869144 w 4501379"/>
                    <a:gd name="connsiteY64" fmla="*/ 504825 h 4429294"/>
                    <a:gd name="connsiteX65" fmla="*/ 1148544 w 4501379"/>
                    <a:gd name="connsiteY65" fmla="*/ 311150 h 4429294"/>
                    <a:gd name="connsiteX66" fmla="*/ 1250144 w 4501379"/>
                    <a:gd name="connsiteY66" fmla="*/ 285750 h 4429294"/>
                    <a:gd name="connsiteX67" fmla="*/ 1393019 w 4501379"/>
                    <a:gd name="connsiteY67" fmla="*/ 190500 h 4429294"/>
                    <a:gd name="connsiteX68" fmla="*/ 1431119 w 4501379"/>
                    <a:gd name="connsiteY68" fmla="*/ 161925 h 4429294"/>
                    <a:gd name="connsiteX69" fmla="*/ 1507319 w 4501379"/>
                    <a:gd name="connsiteY69" fmla="*/ 152400 h 4429294"/>
                    <a:gd name="connsiteX70" fmla="*/ 1564469 w 4501379"/>
                    <a:gd name="connsiteY70" fmla="*/ 142875 h 4429294"/>
                    <a:gd name="connsiteX71" fmla="*/ 1697819 w 4501379"/>
                    <a:gd name="connsiteY71" fmla="*/ 123825 h 4429294"/>
                    <a:gd name="connsiteX72" fmla="*/ 1793069 w 4501379"/>
                    <a:gd name="connsiteY72" fmla="*/ 114300 h 4429294"/>
                    <a:gd name="connsiteX73" fmla="*/ 1840694 w 4501379"/>
                    <a:gd name="connsiteY73" fmla="*/ 104775 h 4429294"/>
                    <a:gd name="connsiteX74" fmla="*/ 1897844 w 4501379"/>
                    <a:gd name="connsiteY74" fmla="*/ 95250 h 4429294"/>
                    <a:gd name="connsiteX75" fmla="*/ 2012144 w 4501379"/>
                    <a:gd name="connsiteY75" fmla="*/ 66675 h 4429294"/>
                    <a:gd name="connsiteX76" fmla="*/ 2078819 w 4501379"/>
                    <a:gd name="connsiteY76" fmla="*/ 47625 h 4429294"/>
                    <a:gd name="connsiteX77" fmla="*/ 2145494 w 4501379"/>
                    <a:gd name="connsiteY7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393019 w 4501379"/>
                    <a:gd name="connsiteY66" fmla="*/ 190500 h 4429294"/>
                    <a:gd name="connsiteX67" fmla="*/ 1431119 w 4501379"/>
                    <a:gd name="connsiteY67" fmla="*/ 161925 h 4429294"/>
                    <a:gd name="connsiteX68" fmla="*/ 1507319 w 4501379"/>
                    <a:gd name="connsiteY68" fmla="*/ 152400 h 4429294"/>
                    <a:gd name="connsiteX69" fmla="*/ 1564469 w 4501379"/>
                    <a:gd name="connsiteY69" fmla="*/ 142875 h 4429294"/>
                    <a:gd name="connsiteX70" fmla="*/ 1697819 w 4501379"/>
                    <a:gd name="connsiteY70" fmla="*/ 123825 h 4429294"/>
                    <a:gd name="connsiteX71" fmla="*/ 1793069 w 4501379"/>
                    <a:gd name="connsiteY71" fmla="*/ 114300 h 4429294"/>
                    <a:gd name="connsiteX72" fmla="*/ 1840694 w 4501379"/>
                    <a:gd name="connsiteY72" fmla="*/ 104775 h 4429294"/>
                    <a:gd name="connsiteX73" fmla="*/ 1897844 w 4501379"/>
                    <a:gd name="connsiteY73" fmla="*/ 95250 h 4429294"/>
                    <a:gd name="connsiteX74" fmla="*/ 2012144 w 4501379"/>
                    <a:gd name="connsiteY74" fmla="*/ 66675 h 4429294"/>
                    <a:gd name="connsiteX75" fmla="*/ 2078819 w 4501379"/>
                    <a:gd name="connsiteY75" fmla="*/ 47625 h 4429294"/>
                    <a:gd name="connsiteX76" fmla="*/ 2145494 w 4501379"/>
                    <a:gd name="connsiteY7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431119 w 4501379"/>
                    <a:gd name="connsiteY66" fmla="*/ 161925 h 4429294"/>
                    <a:gd name="connsiteX67" fmla="*/ 1507319 w 4501379"/>
                    <a:gd name="connsiteY67" fmla="*/ 152400 h 4429294"/>
                    <a:gd name="connsiteX68" fmla="*/ 1564469 w 4501379"/>
                    <a:gd name="connsiteY68" fmla="*/ 142875 h 4429294"/>
                    <a:gd name="connsiteX69" fmla="*/ 1697819 w 4501379"/>
                    <a:gd name="connsiteY69" fmla="*/ 123825 h 4429294"/>
                    <a:gd name="connsiteX70" fmla="*/ 1793069 w 4501379"/>
                    <a:gd name="connsiteY70" fmla="*/ 114300 h 4429294"/>
                    <a:gd name="connsiteX71" fmla="*/ 1840694 w 4501379"/>
                    <a:gd name="connsiteY71" fmla="*/ 104775 h 4429294"/>
                    <a:gd name="connsiteX72" fmla="*/ 1897844 w 4501379"/>
                    <a:gd name="connsiteY72" fmla="*/ 95250 h 4429294"/>
                    <a:gd name="connsiteX73" fmla="*/ 2012144 w 4501379"/>
                    <a:gd name="connsiteY73" fmla="*/ 66675 h 4429294"/>
                    <a:gd name="connsiteX74" fmla="*/ 2078819 w 4501379"/>
                    <a:gd name="connsiteY74" fmla="*/ 47625 h 4429294"/>
                    <a:gd name="connsiteX75" fmla="*/ 2145494 w 4501379"/>
                    <a:gd name="connsiteY7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507319 w 4501379"/>
                    <a:gd name="connsiteY66" fmla="*/ 152400 h 4429294"/>
                    <a:gd name="connsiteX67" fmla="*/ 1564469 w 4501379"/>
                    <a:gd name="connsiteY67" fmla="*/ 142875 h 4429294"/>
                    <a:gd name="connsiteX68" fmla="*/ 1697819 w 4501379"/>
                    <a:gd name="connsiteY68" fmla="*/ 123825 h 4429294"/>
                    <a:gd name="connsiteX69" fmla="*/ 1793069 w 4501379"/>
                    <a:gd name="connsiteY69" fmla="*/ 114300 h 4429294"/>
                    <a:gd name="connsiteX70" fmla="*/ 1840694 w 4501379"/>
                    <a:gd name="connsiteY70" fmla="*/ 104775 h 4429294"/>
                    <a:gd name="connsiteX71" fmla="*/ 1897844 w 4501379"/>
                    <a:gd name="connsiteY71" fmla="*/ 95250 h 4429294"/>
                    <a:gd name="connsiteX72" fmla="*/ 2012144 w 4501379"/>
                    <a:gd name="connsiteY72" fmla="*/ 66675 h 4429294"/>
                    <a:gd name="connsiteX73" fmla="*/ 2078819 w 4501379"/>
                    <a:gd name="connsiteY73" fmla="*/ 47625 h 4429294"/>
                    <a:gd name="connsiteX74" fmla="*/ 2145494 w 4501379"/>
                    <a:gd name="connsiteY7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697819 w 4501379"/>
                    <a:gd name="connsiteY67" fmla="*/ 123825 h 4429294"/>
                    <a:gd name="connsiteX68" fmla="*/ 1793069 w 4501379"/>
                    <a:gd name="connsiteY68" fmla="*/ 114300 h 4429294"/>
                    <a:gd name="connsiteX69" fmla="*/ 1840694 w 4501379"/>
                    <a:gd name="connsiteY69" fmla="*/ 104775 h 4429294"/>
                    <a:gd name="connsiteX70" fmla="*/ 1897844 w 4501379"/>
                    <a:gd name="connsiteY70" fmla="*/ 95250 h 4429294"/>
                    <a:gd name="connsiteX71" fmla="*/ 2012144 w 4501379"/>
                    <a:gd name="connsiteY71" fmla="*/ 66675 h 4429294"/>
                    <a:gd name="connsiteX72" fmla="*/ 2078819 w 4501379"/>
                    <a:gd name="connsiteY72" fmla="*/ 47625 h 4429294"/>
                    <a:gd name="connsiteX73" fmla="*/ 2145494 w 4501379"/>
                    <a:gd name="connsiteY7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793069 w 4501379"/>
                    <a:gd name="connsiteY67" fmla="*/ 114300 h 4429294"/>
                    <a:gd name="connsiteX68" fmla="*/ 1840694 w 4501379"/>
                    <a:gd name="connsiteY68" fmla="*/ 104775 h 4429294"/>
                    <a:gd name="connsiteX69" fmla="*/ 1897844 w 4501379"/>
                    <a:gd name="connsiteY69" fmla="*/ 95250 h 4429294"/>
                    <a:gd name="connsiteX70" fmla="*/ 2012144 w 4501379"/>
                    <a:gd name="connsiteY70" fmla="*/ 66675 h 4429294"/>
                    <a:gd name="connsiteX71" fmla="*/ 2078819 w 4501379"/>
                    <a:gd name="connsiteY71" fmla="*/ 47625 h 4429294"/>
                    <a:gd name="connsiteX72" fmla="*/ 2145494 w 4501379"/>
                    <a:gd name="connsiteY7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40694 w 4501379"/>
                    <a:gd name="connsiteY67" fmla="*/ 104775 h 4429294"/>
                    <a:gd name="connsiteX68" fmla="*/ 1897844 w 4501379"/>
                    <a:gd name="connsiteY68" fmla="*/ 95250 h 4429294"/>
                    <a:gd name="connsiteX69" fmla="*/ 2012144 w 4501379"/>
                    <a:gd name="connsiteY69" fmla="*/ 66675 h 4429294"/>
                    <a:gd name="connsiteX70" fmla="*/ 2078819 w 4501379"/>
                    <a:gd name="connsiteY70" fmla="*/ 47625 h 4429294"/>
                    <a:gd name="connsiteX71" fmla="*/ 2145494 w 4501379"/>
                    <a:gd name="connsiteY7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97844 w 4501379"/>
                    <a:gd name="connsiteY67" fmla="*/ 95250 h 4429294"/>
                    <a:gd name="connsiteX68" fmla="*/ 2012144 w 4501379"/>
                    <a:gd name="connsiteY68" fmla="*/ 66675 h 4429294"/>
                    <a:gd name="connsiteX69" fmla="*/ 2078819 w 4501379"/>
                    <a:gd name="connsiteY69" fmla="*/ 47625 h 4429294"/>
                    <a:gd name="connsiteX70" fmla="*/ 2145494 w 4501379"/>
                    <a:gd name="connsiteY7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12144 w 4501379"/>
                    <a:gd name="connsiteY67" fmla="*/ 66675 h 4429294"/>
                    <a:gd name="connsiteX68" fmla="*/ 2078819 w 4501379"/>
                    <a:gd name="connsiteY68" fmla="*/ 47625 h 4429294"/>
                    <a:gd name="connsiteX69" fmla="*/ 2145494 w 4501379"/>
                    <a:gd name="connsiteY6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78819 w 4501379"/>
                    <a:gd name="connsiteY67" fmla="*/ 47625 h 4429294"/>
                    <a:gd name="connsiteX68" fmla="*/ 2145494 w 4501379"/>
                    <a:gd name="connsiteY6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145494 w 4501379"/>
                    <a:gd name="connsiteY6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621619 w 4501379"/>
                    <a:gd name="connsiteY66" fmla="*/ 11112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678644 w 4501379"/>
                    <a:gd name="connsiteY60" fmla="*/ 657225 h 4429294"/>
                    <a:gd name="connsiteX61" fmla="*/ 821519 w 4501379"/>
                    <a:gd name="connsiteY61" fmla="*/ 533400 h 4429294"/>
                    <a:gd name="connsiteX62" fmla="*/ 869144 w 4501379"/>
                    <a:gd name="connsiteY62" fmla="*/ 504825 h 4429294"/>
                    <a:gd name="connsiteX63" fmla="*/ 1148544 w 4501379"/>
                    <a:gd name="connsiteY63" fmla="*/ 311150 h 4429294"/>
                    <a:gd name="connsiteX64" fmla="*/ 1507319 w 4501379"/>
                    <a:gd name="connsiteY64" fmla="*/ 152400 h 4429294"/>
                    <a:gd name="connsiteX65" fmla="*/ 1621619 w 4501379"/>
                    <a:gd name="connsiteY65" fmla="*/ 111125 h 4429294"/>
                    <a:gd name="connsiteX66" fmla="*/ 2253444 w 4501379"/>
                    <a:gd name="connsiteY6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21519 w 4501379"/>
                    <a:gd name="connsiteY60" fmla="*/ 533400 h 4429294"/>
                    <a:gd name="connsiteX61" fmla="*/ 869144 w 4501379"/>
                    <a:gd name="connsiteY61" fmla="*/ 504825 h 4429294"/>
                    <a:gd name="connsiteX62" fmla="*/ 1148544 w 4501379"/>
                    <a:gd name="connsiteY62" fmla="*/ 311150 h 4429294"/>
                    <a:gd name="connsiteX63" fmla="*/ 1507319 w 4501379"/>
                    <a:gd name="connsiteY63" fmla="*/ 152400 h 4429294"/>
                    <a:gd name="connsiteX64" fmla="*/ 1621619 w 4501379"/>
                    <a:gd name="connsiteY64" fmla="*/ 111125 h 4429294"/>
                    <a:gd name="connsiteX65" fmla="*/ 2253444 w 4501379"/>
                    <a:gd name="connsiteY6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69144 w 4501379"/>
                    <a:gd name="connsiteY60" fmla="*/ 504825 h 4429294"/>
                    <a:gd name="connsiteX61" fmla="*/ 1148544 w 4501379"/>
                    <a:gd name="connsiteY61" fmla="*/ 311150 h 4429294"/>
                    <a:gd name="connsiteX62" fmla="*/ 1507319 w 4501379"/>
                    <a:gd name="connsiteY62" fmla="*/ 152400 h 4429294"/>
                    <a:gd name="connsiteX63" fmla="*/ 1621619 w 4501379"/>
                    <a:gd name="connsiteY63" fmla="*/ 111125 h 4429294"/>
                    <a:gd name="connsiteX64" fmla="*/ 2253444 w 4501379"/>
                    <a:gd name="connsiteY6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64319 w 4501379"/>
                    <a:gd name="connsiteY53" fmla="*/ 1009650 h 4429294"/>
                    <a:gd name="connsiteX54" fmla="*/ 421469 w 4501379"/>
                    <a:gd name="connsiteY54" fmla="*/ 904875 h 4429294"/>
                    <a:gd name="connsiteX55" fmla="*/ 459569 w 4501379"/>
                    <a:gd name="connsiteY55" fmla="*/ 857250 h 4429294"/>
                    <a:gd name="connsiteX56" fmla="*/ 478619 w 4501379"/>
                    <a:gd name="connsiteY56" fmla="*/ 828675 h 4429294"/>
                    <a:gd name="connsiteX57" fmla="*/ 516719 w 4501379"/>
                    <a:gd name="connsiteY57" fmla="*/ 800100 h 4429294"/>
                    <a:gd name="connsiteX58" fmla="*/ 650069 w 4501379"/>
                    <a:gd name="connsiteY58" fmla="*/ 676275 h 4429294"/>
                    <a:gd name="connsiteX59" fmla="*/ 869144 w 4501379"/>
                    <a:gd name="connsiteY59" fmla="*/ 504825 h 4429294"/>
                    <a:gd name="connsiteX60" fmla="*/ 1148544 w 4501379"/>
                    <a:gd name="connsiteY60" fmla="*/ 311150 h 4429294"/>
                    <a:gd name="connsiteX61" fmla="*/ 1507319 w 4501379"/>
                    <a:gd name="connsiteY61" fmla="*/ 152400 h 4429294"/>
                    <a:gd name="connsiteX62" fmla="*/ 1621619 w 4501379"/>
                    <a:gd name="connsiteY62" fmla="*/ 111125 h 4429294"/>
                    <a:gd name="connsiteX63" fmla="*/ 2253444 w 4501379"/>
                    <a:gd name="connsiteY63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21469 w 4501379"/>
                    <a:gd name="connsiteY53" fmla="*/ 904875 h 4429294"/>
                    <a:gd name="connsiteX54" fmla="*/ 459569 w 4501379"/>
                    <a:gd name="connsiteY54" fmla="*/ 857250 h 4429294"/>
                    <a:gd name="connsiteX55" fmla="*/ 478619 w 4501379"/>
                    <a:gd name="connsiteY55" fmla="*/ 828675 h 4429294"/>
                    <a:gd name="connsiteX56" fmla="*/ 516719 w 4501379"/>
                    <a:gd name="connsiteY56" fmla="*/ 800100 h 4429294"/>
                    <a:gd name="connsiteX57" fmla="*/ 650069 w 4501379"/>
                    <a:gd name="connsiteY57" fmla="*/ 676275 h 4429294"/>
                    <a:gd name="connsiteX58" fmla="*/ 869144 w 4501379"/>
                    <a:gd name="connsiteY58" fmla="*/ 504825 h 4429294"/>
                    <a:gd name="connsiteX59" fmla="*/ 1148544 w 4501379"/>
                    <a:gd name="connsiteY59" fmla="*/ 311150 h 4429294"/>
                    <a:gd name="connsiteX60" fmla="*/ 1507319 w 4501379"/>
                    <a:gd name="connsiteY60" fmla="*/ 152400 h 4429294"/>
                    <a:gd name="connsiteX61" fmla="*/ 1621619 w 4501379"/>
                    <a:gd name="connsiteY61" fmla="*/ 111125 h 4429294"/>
                    <a:gd name="connsiteX62" fmla="*/ 2253444 w 4501379"/>
                    <a:gd name="connsiteY62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478619 w 4501379"/>
                    <a:gd name="connsiteY54" fmla="*/ 828675 h 4429294"/>
                    <a:gd name="connsiteX55" fmla="*/ 516719 w 4501379"/>
                    <a:gd name="connsiteY55" fmla="*/ 800100 h 4429294"/>
                    <a:gd name="connsiteX56" fmla="*/ 650069 w 4501379"/>
                    <a:gd name="connsiteY56" fmla="*/ 676275 h 4429294"/>
                    <a:gd name="connsiteX57" fmla="*/ 869144 w 4501379"/>
                    <a:gd name="connsiteY57" fmla="*/ 504825 h 4429294"/>
                    <a:gd name="connsiteX58" fmla="*/ 1148544 w 4501379"/>
                    <a:gd name="connsiteY58" fmla="*/ 311150 h 4429294"/>
                    <a:gd name="connsiteX59" fmla="*/ 1507319 w 4501379"/>
                    <a:gd name="connsiteY59" fmla="*/ 152400 h 4429294"/>
                    <a:gd name="connsiteX60" fmla="*/ 1621619 w 4501379"/>
                    <a:gd name="connsiteY60" fmla="*/ 111125 h 4429294"/>
                    <a:gd name="connsiteX61" fmla="*/ 2253444 w 4501379"/>
                    <a:gd name="connsiteY61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516719 w 4501379"/>
                    <a:gd name="connsiteY54" fmla="*/ 800100 h 4429294"/>
                    <a:gd name="connsiteX55" fmla="*/ 650069 w 4501379"/>
                    <a:gd name="connsiteY55" fmla="*/ 676275 h 4429294"/>
                    <a:gd name="connsiteX56" fmla="*/ 869144 w 4501379"/>
                    <a:gd name="connsiteY56" fmla="*/ 504825 h 4429294"/>
                    <a:gd name="connsiteX57" fmla="*/ 1148544 w 4501379"/>
                    <a:gd name="connsiteY57" fmla="*/ 311150 h 4429294"/>
                    <a:gd name="connsiteX58" fmla="*/ 1507319 w 4501379"/>
                    <a:gd name="connsiteY58" fmla="*/ 152400 h 4429294"/>
                    <a:gd name="connsiteX59" fmla="*/ 1621619 w 4501379"/>
                    <a:gd name="connsiteY59" fmla="*/ 111125 h 4429294"/>
                    <a:gd name="connsiteX60" fmla="*/ 2253444 w 4501379"/>
                    <a:gd name="connsiteY60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69069 w 4501379"/>
                    <a:gd name="connsiteY50" fmla="*/ 1152525 h 4429294"/>
                    <a:gd name="connsiteX51" fmla="*/ 297644 w 4501379"/>
                    <a:gd name="connsiteY51" fmla="*/ 1114425 h 4429294"/>
                    <a:gd name="connsiteX52" fmla="*/ 459569 w 4501379"/>
                    <a:gd name="connsiteY52" fmla="*/ 857250 h 4429294"/>
                    <a:gd name="connsiteX53" fmla="*/ 516719 w 4501379"/>
                    <a:gd name="connsiteY53" fmla="*/ 800100 h 4429294"/>
                    <a:gd name="connsiteX54" fmla="*/ 650069 w 4501379"/>
                    <a:gd name="connsiteY54" fmla="*/ 676275 h 4429294"/>
                    <a:gd name="connsiteX55" fmla="*/ 869144 w 4501379"/>
                    <a:gd name="connsiteY55" fmla="*/ 504825 h 4429294"/>
                    <a:gd name="connsiteX56" fmla="*/ 1148544 w 4501379"/>
                    <a:gd name="connsiteY56" fmla="*/ 311150 h 4429294"/>
                    <a:gd name="connsiteX57" fmla="*/ 1507319 w 4501379"/>
                    <a:gd name="connsiteY57" fmla="*/ 152400 h 4429294"/>
                    <a:gd name="connsiteX58" fmla="*/ 1621619 w 4501379"/>
                    <a:gd name="connsiteY58" fmla="*/ 111125 h 4429294"/>
                    <a:gd name="connsiteX59" fmla="*/ 2253444 w 4501379"/>
                    <a:gd name="connsiteY59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97644 w 4501379"/>
                    <a:gd name="connsiteY50" fmla="*/ 1114425 h 4429294"/>
                    <a:gd name="connsiteX51" fmla="*/ 459569 w 4501379"/>
                    <a:gd name="connsiteY51" fmla="*/ 857250 h 4429294"/>
                    <a:gd name="connsiteX52" fmla="*/ 516719 w 4501379"/>
                    <a:gd name="connsiteY52" fmla="*/ 800100 h 4429294"/>
                    <a:gd name="connsiteX53" fmla="*/ 650069 w 4501379"/>
                    <a:gd name="connsiteY53" fmla="*/ 676275 h 4429294"/>
                    <a:gd name="connsiteX54" fmla="*/ 869144 w 4501379"/>
                    <a:gd name="connsiteY54" fmla="*/ 504825 h 4429294"/>
                    <a:gd name="connsiteX55" fmla="*/ 1148544 w 4501379"/>
                    <a:gd name="connsiteY55" fmla="*/ 311150 h 4429294"/>
                    <a:gd name="connsiteX56" fmla="*/ 1507319 w 4501379"/>
                    <a:gd name="connsiteY56" fmla="*/ 152400 h 4429294"/>
                    <a:gd name="connsiteX57" fmla="*/ 1621619 w 4501379"/>
                    <a:gd name="connsiteY57" fmla="*/ 111125 h 4429294"/>
                    <a:gd name="connsiteX58" fmla="*/ 2253444 w 4501379"/>
                    <a:gd name="connsiteY58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97644 w 4501379"/>
                    <a:gd name="connsiteY49" fmla="*/ 1114425 h 4429294"/>
                    <a:gd name="connsiteX50" fmla="*/ 459569 w 4501379"/>
                    <a:gd name="connsiteY50" fmla="*/ 857250 h 4429294"/>
                    <a:gd name="connsiteX51" fmla="*/ 516719 w 4501379"/>
                    <a:gd name="connsiteY51" fmla="*/ 800100 h 4429294"/>
                    <a:gd name="connsiteX52" fmla="*/ 650069 w 4501379"/>
                    <a:gd name="connsiteY52" fmla="*/ 676275 h 4429294"/>
                    <a:gd name="connsiteX53" fmla="*/ 869144 w 4501379"/>
                    <a:gd name="connsiteY53" fmla="*/ 504825 h 4429294"/>
                    <a:gd name="connsiteX54" fmla="*/ 1148544 w 4501379"/>
                    <a:gd name="connsiteY54" fmla="*/ 311150 h 4429294"/>
                    <a:gd name="connsiteX55" fmla="*/ 1507319 w 4501379"/>
                    <a:gd name="connsiteY55" fmla="*/ 152400 h 4429294"/>
                    <a:gd name="connsiteX56" fmla="*/ 1621619 w 4501379"/>
                    <a:gd name="connsiteY56" fmla="*/ 111125 h 4429294"/>
                    <a:gd name="connsiteX57" fmla="*/ 2253444 w 4501379"/>
                    <a:gd name="connsiteY5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35719 w 4501379"/>
                    <a:gd name="connsiteY46" fmla="*/ 1419225 h 4429294"/>
                    <a:gd name="connsiteX47" fmla="*/ 211919 w 4501379"/>
                    <a:gd name="connsiteY47" fmla="*/ 1276350 h 4429294"/>
                    <a:gd name="connsiteX48" fmla="*/ 297644 w 4501379"/>
                    <a:gd name="connsiteY48" fmla="*/ 1114425 h 4429294"/>
                    <a:gd name="connsiteX49" fmla="*/ 459569 w 4501379"/>
                    <a:gd name="connsiteY49" fmla="*/ 857250 h 4429294"/>
                    <a:gd name="connsiteX50" fmla="*/ 516719 w 4501379"/>
                    <a:gd name="connsiteY50" fmla="*/ 800100 h 4429294"/>
                    <a:gd name="connsiteX51" fmla="*/ 650069 w 4501379"/>
                    <a:gd name="connsiteY51" fmla="*/ 676275 h 4429294"/>
                    <a:gd name="connsiteX52" fmla="*/ 869144 w 4501379"/>
                    <a:gd name="connsiteY52" fmla="*/ 504825 h 4429294"/>
                    <a:gd name="connsiteX53" fmla="*/ 1148544 w 4501379"/>
                    <a:gd name="connsiteY53" fmla="*/ 311150 h 4429294"/>
                    <a:gd name="connsiteX54" fmla="*/ 1507319 w 4501379"/>
                    <a:gd name="connsiteY54" fmla="*/ 152400 h 4429294"/>
                    <a:gd name="connsiteX55" fmla="*/ 1621619 w 4501379"/>
                    <a:gd name="connsiteY55" fmla="*/ 111125 h 4429294"/>
                    <a:gd name="connsiteX56" fmla="*/ 2253444 w 4501379"/>
                    <a:gd name="connsiteY5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88094 w 4501379"/>
                    <a:gd name="connsiteY44" fmla="*/ 1590675 h 4429294"/>
                    <a:gd name="connsiteX45" fmla="*/ 135719 w 4501379"/>
                    <a:gd name="connsiteY45" fmla="*/ 1419225 h 4429294"/>
                    <a:gd name="connsiteX46" fmla="*/ 211919 w 4501379"/>
                    <a:gd name="connsiteY46" fmla="*/ 1276350 h 4429294"/>
                    <a:gd name="connsiteX47" fmla="*/ 297644 w 4501379"/>
                    <a:gd name="connsiteY47" fmla="*/ 1114425 h 4429294"/>
                    <a:gd name="connsiteX48" fmla="*/ 459569 w 4501379"/>
                    <a:gd name="connsiteY48" fmla="*/ 857250 h 4429294"/>
                    <a:gd name="connsiteX49" fmla="*/ 516719 w 4501379"/>
                    <a:gd name="connsiteY49" fmla="*/ 800100 h 4429294"/>
                    <a:gd name="connsiteX50" fmla="*/ 650069 w 4501379"/>
                    <a:gd name="connsiteY50" fmla="*/ 676275 h 4429294"/>
                    <a:gd name="connsiteX51" fmla="*/ 869144 w 4501379"/>
                    <a:gd name="connsiteY51" fmla="*/ 504825 h 4429294"/>
                    <a:gd name="connsiteX52" fmla="*/ 1148544 w 4501379"/>
                    <a:gd name="connsiteY52" fmla="*/ 311150 h 4429294"/>
                    <a:gd name="connsiteX53" fmla="*/ 1507319 w 4501379"/>
                    <a:gd name="connsiteY53" fmla="*/ 152400 h 4429294"/>
                    <a:gd name="connsiteX54" fmla="*/ 1621619 w 4501379"/>
                    <a:gd name="connsiteY54" fmla="*/ 111125 h 4429294"/>
                    <a:gd name="connsiteX55" fmla="*/ 2253444 w 4501379"/>
                    <a:gd name="connsiteY5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88094 w 4501379"/>
                    <a:gd name="connsiteY43" fmla="*/ 1590675 h 4429294"/>
                    <a:gd name="connsiteX44" fmla="*/ 135719 w 4501379"/>
                    <a:gd name="connsiteY44" fmla="*/ 1419225 h 4429294"/>
                    <a:gd name="connsiteX45" fmla="*/ 211919 w 4501379"/>
                    <a:gd name="connsiteY45" fmla="*/ 1276350 h 4429294"/>
                    <a:gd name="connsiteX46" fmla="*/ 297644 w 4501379"/>
                    <a:gd name="connsiteY46" fmla="*/ 1114425 h 4429294"/>
                    <a:gd name="connsiteX47" fmla="*/ 459569 w 4501379"/>
                    <a:gd name="connsiteY47" fmla="*/ 857250 h 4429294"/>
                    <a:gd name="connsiteX48" fmla="*/ 516719 w 4501379"/>
                    <a:gd name="connsiteY48" fmla="*/ 800100 h 4429294"/>
                    <a:gd name="connsiteX49" fmla="*/ 650069 w 4501379"/>
                    <a:gd name="connsiteY49" fmla="*/ 676275 h 4429294"/>
                    <a:gd name="connsiteX50" fmla="*/ 869144 w 4501379"/>
                    <a:gd name="connsiteY50" fmla="*/ 504825 h 4429294"/>
                    <a:gd name="connsiteX51" fmla="*/ 1148544 w 4501379"/>
                    <a:gd name="connsiteY51" fmla="*/ 311150 h 4429294"/>
                    <a:gd name="connsiteX52" fmla="*/ 1507319 w 4501379"/>
                    <a:gd name="connsiteY52" fmla="*/ 152400 h 4429294"/>
                    <a:gd name="connsiteX53" fmla="*/ 1621619 w 4501379"/>
                    <a:gd name="connsiteY53" fmla="*/ 111125 h 4429294"/>
                    <a:gd name="connsiteX54" fmla="*/ 2253444 w 4501379"/>
                    <a:gd name="connsiteY5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88094 w 4501379"/>
                    <a:gd name="connsiteY42" fmla="*/ 1590675 h 4429294"/>
                    <a:gd name="connsiteX43" fmla="*/ 135719 w 4501379"/>
                    <a:gd name="connsiteY43" fmla="*/ 1419225 h 4429294"/>
                    <a:gd name="connsiteX44" fmla="*/ 211919 w 4501379"/>
                    <a:gd name="connsiteY44" fmla="*/ 1276350 h 4429294"/>
                    <a:gd name="connsiteX45" fmla="*/ 297644 w 4501379"/>
                    <a:gd name="connsiteY45" fmla="*/ 1114425 h 4429294"/>
                    <a:gd name="connsiteX46" fmla="*/ 459569 w 4501379"/>
                    <a:gd name="connsiteY46" fmla="*/ 857250 h 4429294"/>
                    <a:gd name="connsiteX47" fmla="*/ 516719 w 4501379"/>
                    <a:gd name="connsiteY47" fmla="*/ 800100 h 4429294"/>
                    <a:gd name="connsiteX48" fmla="*/ 650069 w 4501379"/>
                    <a:gd name="connsiteY48" fmla="*/ 676275 h 4429294"/>
                    <a:gd name="connsiteX49" fmla="*/ 869144 w 4501379"/>
                    <a:gd name="connsiteY49" fmla="*/ 504825 h 4429294"/>
                    <a:gd name="connsiteX50" fmla="*/ 1148544 w 4501379"/>
                    <a:gd name="connsiteY50" fmla="*/ 311150 h 4429294"/>
                    <a:gd name="connsiteX51" fmla="*/ 1507319 w 4501379"/>
                    <a:gd name="connsiteY51" fmla="*/ 152400 h 4429294"/>
                    <a:gd name="connsiteX52" fmla="*/ 1621619 w 4501379"/>
                    <a:gd name="connsiteY52" fmla="*/ 111125 h 4429294"/>
                    <a:gd name="connsiteX53" fmla="*/ 2253444 w 4501379"/>
                    <a:gd name="connsiteY53" fmla="*/ 12700 h 4429294"/>
                    <a:gd name="connsiteX0" fmla="*/ 2277090 w 4499625"/>
                    <a:gd name="connsiteY0" fmla="*/ 0 h 4429294"/>
                    <a:gd name="connsiteX1" fmla="*/ 2600940 w 4499625"/>
                    <a:gd name="connsiteY1" fmla="*/ 15875 h 4429294"/>
                    <a:gd name="connsiteX2" fmla="*/ 2896215 w 4499625"/>
                    <a:gd name="connsiteY2" fmla="*/ 85725 h 4429294"/>
                    <a:gd name="connsiteX3" fmla="*/ 3115290 w 4499625"/>
                    <a:gd name="connsiteY3" fmla="*/ 171450 h 4429294"/>
                    <a:gd name="connsiteX4" fmla="*/ 3220065 w 4499625"/>
                    <a:gd name="connsiteY4" fmla="*/ 228600 h 4429294"/>
                    <a:gd name="connsiteX5" fmla="*/ 3401040 w 4499625"/>
                    <a:gd name="connsiteY5" fmla="*/ 323850 h 4429294"/>
                    <a:gd name="connsiteX6" fmla="*/ 3791565 w 4499625"/>
                    <a:gd name="connsiteY6" fmla="*/ 581025 h 4429294"/>
                    <a:gd name="connsiteX7" fmla="*/ 4007465 w 4499625"/>
                    <a:gd name="connsiteY7" fmla="*/ 819150 h 4429294"/>
                    <a:gd name="connsiteX8" fmla="*/ 4143990 w 4499625"/>
                    <a:gd name="connsiteY8" fmla="*/ 990600 h 4429294"/>
                    <a:gd name="connsiteX9" fmla="*/ 4229715 w 4499625"/>
                    <a:gd name="connsiteY9" fmla="*/ 1143000 h 4429294"/>
                    <a:gd name="connsiteX10" fmla="*/ 4286865 w 4499625"/>
                    <a:gd name="connsiteY10" fmla="*/ 1266825 h 4429294"/>
                    <a:gd name="connsiteX11" fmla="*/ 4324965 w 4499625"/>
                    <a:gd name="connsiteY11" fmla="*/ 1362075 h 4429294"/>
                    <a:gd name="connsiteX12" fmla="*/ 4372590 w 4499625"/>
                    <a:gd name="connsiteY12" fmla="*/ 1552575 h 4429294"/>
                    <a:gd name="connsiteX13" fmla="*/ 4410690 w 4499625"/>
                    <a:gd name="connsiteY13" fmla="*/ 1685925 h 4429294"/>
                    <a:gd name="connsiteX14" fmla="*/ 4499590 w 4499625"/>
                    <a:gd name="connsiteY14" fmla="*/ 2181225 h 4429294"/>
                    <a:gd name="connsiteX15" fmla="*/ 4426565 w 4499625"/>
                    <a:gd name="connsiteY15" fmla="*/ 2768600 h 4429294"/>
                    <a:gd name="connsiteX16" fmla="*/ 4363065 w 4499625"/>
                    <a:gd name="connsiteY16" fmla="*/ 2990850 h 4429294"/>
                    <a:gd name="connsiteX17" fmla="*/ 4258290 w 4499625"/>
                    <a:gd name="connsiteY17" fmla="*/ 3248025 h 4429294"/>
                    <a:gd name="connsiteX18" fmla="*/ 4163040 w 4499625"/>
                    <a:gd name="connsiteY18" fmla="*/ 3400425 h 4429294"/>
                    <a:gd name="connsiteX19" fmla="*/ 4039215 w 4499625"/>
                    <a:gd name="connsiteY19" fmla="*/ 3533775 h 4429294"/>
                    <a:gd name="connsiteX20" fmla="*/ 3934440 w 4499625"/>
                    <a:gd name="connsiteY20" fmla="*/ 3648075 h 4429294"/>
                    <a:gd name="connsiteX21" fmla="*/ 3639165 w 4499625"/>
                    <a:gd name="connsiteY21" fmla="*/ 3971925 h 4429294"/>
                    <a:gd name="connsiteX22" fmla="*/ 3496290 w 4499625"/>
                    <a:gd name="connsiteY22" fmla="*/ 4083050 h 4429294"/>
                    <a:gd name="connsiteX23" fmla="*/ 3201015 w 4499625"/>
                    <a:gd name="connsiteY23" fmla="*/ 4222750 h 4429294"/>
                    <a:gd name="connsiteX24" fmla="*/ 3048615 w 4499625"/>
                    <a:gd name="connsiteY24" fmla="*/ 4286250 h 4429294"/>
                    <a:gd name="connsiteX25" fmla="*/ 2915265 w 4499625"/>
                    <a:gd name="connsiteY25" fmla="*/ 4333875 h 4429294"/>
                    <a:gd name="connsiteX26" fmla="*/ 2791440 w 4499625"/>
                    <a:gd name="connsiteY26" fmla="*/ 4371975 h 4429294"/>
                    <a:gd name="connsiteX27" fmla="*/ 2559665 w 4499625"/>
                    <a:gd name="connsiteY27" fmla="*/ 4391025 h 4429294"/>
                    <a:gd name="connsiteX28" fmla="*/ 2105640 w 4499625"/>
                    <a:gd name="connsiteY28" fmla="*/ 4429125 h 4429294"/>
                    <a:gd name="connsiteX29" fmla="*/ 1915140 w 4499625"/>
                    <a:gd name="connsiteY29" fmla="*/ 4400550 h 4429294"/>
                    <a:gd name="connsiteX30" fmla="*/ 1553190 w 4499625"/>
                    <a:gd name="connsiteY30" fmla="*/ 4305300 h 4429294"/>
                    <a:gd name="connsiteX31" fmla="*/ 1311890 w 4499625"/>
                    <a:gd name="connsiteY31" fmla="*/ 4216400 h 4429294"/>
                    <a:gd name="connsiteX32" fmla="*/ 1143615 w 4499625"/>
                    <a:gd name="connsiteY32" fmla="*/ 4111625 h 4429294"/>
                    <a:gd name="connsiteX33" fmla="*/ 924540 w 4499625"/>
                    <a:gd name="connsiteY33" fmla="*/ 3968750 h 4429294"/>
                    <a:gd name="connsiteX34" fmla="*/ 591165 w 4499625"/>
                    <a:gd name="connsiteY34" fmla="*/ 3657600 h 4429294"/>
                    <a:gd name="connsiteX35" fmla="*/ 445115 w 4499625"/>
                    <a:gd name="connsiteY35" fmla="*/ 3470275 h 4429294"/>
                    <a:gd name="connsiteX36" fmla="*/ 314940 w 4499625"/>
                    <a:gd name="connsiteY36" fmla="*/ 3244850 h 4429294"/>
                    <a:gd name="connsiteX37" fmla="*/ 162540 w 4499625"/>
                    <a:gd name="connsiteY37" fmla="*/ 2892425 h 4429294"/>
                    <a:gd name="connsiteX38" fmla="*/ 54590 w 4499625"/>
                    <a:gd name="connsiteY38" fmla="*/ 2368550 h 4429294"/>
                    <a:gd name="connsiteX39" fmla="*/ 615 w 4499625"/>
                    <a:gd name="connsiteY39" fmla="*/ 1905000 h 4429294"/>
                    <a:gd name="connsiteX40" fmla="*/ 29190 w 4499625"/>
                    <a:gd name="connsiteY40" fmla="*/ 1781175 h 4429294"/>
                    <a:gd name="connsiteX41" fmla="*/ 86340 w 4499625"/>
                    <a:gd name="connsiteY41" fmla="*/ 1590675 h 4429294"/>
                    <a:gd name="connsiteX42" fmla="*/ 133965 w 4499625"/>
                    <a:gd name="connsiteY42" fmla="*/ 1419225 h 4429294"/>
                    <a:gd name="connsiteX43" fmla="*/ 210165 w 4499625"/>
                    <a:gd name="connsiteY43" fmla="*/ 1276350 h 4429294"/>
                    <a:gd name="connsiteX44" fmla="*/ 295890 w 4499625"/>
                    <a:gd name="connsiteY44" fmla="*/ 1114425 h 4429294"/>
                    <a:gd name="connsiteX45" fmla="*/ 457815 w 4499625"/>
                    <a:gd name="connsiteY45" fmla="*/ 857250 h 4429294"/>
                    <a:gd name="connsiteX46" fmla="*/ 514965 w 4499625"/>
                    <a:gd name="connsiteY46" fmla="*/ 800100 h 4429294"/>
                    <a:gd name="connsiteX47" fmla="*/ 648315 w 4499625"/>
                    <a:gd name="connsiteY47" fmla="*/ 676275 h 4429294"/>
                    <a:gd name="connsiteX48" fmla="*/ 867390 w 4499625"/>
                    <a:gd name="connsiteY48" fmla="*/ 504825 h 4429294"/>
                    <a:gd name="connsiteX49" fmla="*/ 1146790 w 4499625"/>
                    <a:gd name="connsiteY49" fmla="*/ 311150 h 4429294"/>
                    <a:gd name="connsiteX50" fmla="*/ 1505565 w 4499625"/>
                    <a:gd name="connsiteY50" fmla="*/ 152400 h 4429294"/>
                    <a:gd name="connsiteX51" fmla="*/ 1619865 w 4499625"/>
                    <a:gd name="connsiteY51" fmla="*/ 111125 h 4429294"/>
                    <a:gd name="connsiteX52" fmla="*/ 2251690 w 4499625"/>
                    <a:gd name="connsiteY52" fmla="*/ 12700 h 4429294"/>
                    <a:gd name="connsiteX0" fmla="*/ 2249427 w 4471962"/>
                    <a:gd name="connsiteY0" fmla="*/ 0 h 4429294"/>
                    <a:gd name="connsiteX1" fmla="*/ 2573277 w 4471962"/>
                    <a:gd name="connsiteY1" fmla="*/ 15875 h 4429294"/>
                    <a:gd name="connsiteX2" fmla="*/ 2868552 w 4471962"/>
                    <a:gd name="connsiteY2" fmla="*/ 85725 h 4429294"/>
                    <a:gd name="connsiteX3" fmla="*/ 3087627 w 4471962"/>
                    <a:gd name="connsiteY3" fmla="*/ 171450 h 4429294"/>
                    <a:gd name="connsiteX4" fmla="*/ 3192402 w 4471962"/>
                    <a:gd name="connsiteY4" fmla="*/ 228600 h 4429294"/>
                    <a:gd name="connsiteX5" fmla="*/ 3373377 w 4471962"/>
                    <a:gd name="connsiteY5" fmla="*/ 323850 h 4429294"/>
                    <a:gd name="connsiteX6" fmla="*/ 3763902 w 4471962"/>
                    <a:gd name="connsiteY6" fmla="*/ 581025 h 4429294"/>
                    <a:gd name="connsiteX7" fmla="*/ 3979802 w 4471962"/>
                    <a:gd name="connsiteY7" fmla="*/ 819150 h 4429294"/>
                    <a:gd name="connsiteX8" fmla="*/ 4116327 w 4471962"/>
                    <a:gd name="connsiteY8" fmla="*/ 990600 h 4429294"/>
                    <a:gd name="connsiteX9" fmla="*/ 4202052 w 4471962"/>
                    <a:gd name="connsiteY9" fmla="*/ 1143000 h 4429294"/>
                    <a:gd name="connsiteX10" fmla="*/ 4259202 w 4471962"/>
                    <a:gd name="connsiteY10" fmla="*/ 1266825 h 4429294"/>
                    <a:gd name="connsiteX11" fmla="*/ 4297302 w 4471962"/>
                    <a:gd name="connsiteY11" fmla="*/ 1362075 h 4429294"/>
                    <a:gd name="connsiteX12" fmla="*/ 4344927 w 4471962"/>
                    <a:gd name="connsiteY12" fmla="*/ 1552575 h 4429294"/>
                    <a:gd name="connsiteX13" fmla="*/ 4383027 w 4471962"/>
                    <a:gd name="connsiteY13" fmla="*/ 1685925 h 4429294"/>
                    <a:gd name="connsiteX14" fmla="*/ 4471927 w 4471962"/>
                    <a:gd name="connsiteY14" fmla="*/ 2181225 h 4429294"/>
                    <a:gd name="connsiteX15" fmla="*/ 4398902 w 4471962"/>
                    <a:gd name="connsiteY15" fmla="*/ 2768600 h 4429294"/>
                    <a:gd name="connsiteX16" fmla="*/ 4335402 w 4471962"/>
                    <a:gd name="connsiteY16" fmla="*/ 2990850 h 4429294"/>
                    <a:gd name="connsiteX17" fmla="*/ 4230627 w 4471962"/>
                    <a:gd name="connsiteY17" fmla="*/ 3248025 h 4429294"/>
                    <a:gd name="connsiteX18" fmla="*/ 4135377 w 4471962"/>
                    <a:gd name="connsiteY18" fmla="*/ 3400425 h 4429294"/>
                    <a:gd name="connsiteX19" fmla="*/ 4011552 w 4471962"/>
                    <a:gd name="connsiteY19" fmla="*/ 3533775 h 4429294"/>
                    <a:gd name="connsiteX20" fmla="*/ 3906777 w 4471962"/>
                    <a:gd name="connsiteY20" fmla="*/ 3648075 h 4429294"/>
                    <a:gd name="connsiteX21" fmla="*/ 3611502 w 4471962"/>
                    <a:gd name="connsiteY21" fmla="*/ 3971925 h 4429294"/>
                    <a:gd name="connsiteX22" fmla="*/ 3468627 w 4471962"/>
                    <a:gd name="connsiteY22" fmla="*/ 4083050 h 4429294"/>
                    <a:gd name="connsiteX23" fmla="*/ 3173352 w 4471962"/>
                    <a:gd name="connsiteY23" fmla="*/ 4222750 h 4429294"/>
                    <a:gd name="connsiteX24" fmla="*/ 3020952 w 4471962"/>
                    <a:gd name="connsiteY24" fmla="*/ 4286250 h 4429294"/>
                    <a:gd name="connsiteX25" fmla="*/ 2887602 w 4471962"/>
                    <a:gd name="connsiteY25" fmla="*/ 4333875 h 4429294"/>
                    <a:gd name="connsiteX26" fmla="*/ 2763777 w 4471962"/>
                    <a:gd name="connsiteY26" fmla="*/ 4371975 h 4429294"/>
                    <a:gd name="connsiteX27" fmla="*/ 2532002 w 4471962"/>
                    <a:gd name="connsiteY27" fmla="*/ 4391025 h 4429294"/>
                    <a:gd name="connsiteX28" fmla="*/ 2077977 w 4471962"/>
                    <a:gd name="connsiteY28" fmla="*/ 4429125 h 4429294"/>
                    <a:gd name="connsiteX29" fmla="*/ 1887477 w 4471962"/>
                    <a:gd name="connsiteY29" fmla="*/ 4400550 h 4429294"/>
                    <a:gd name="connsiteX30" fmla="*/ 1525527 w 4471962"/>
                    <a:gd name="connsiteY30" fmla="*/ 4305300 h 4429294"/>
                    <a:gd name="connsiteX31" fmla="*/ 1284227 w 4471962"/>
                    <a:gd name="connsiteY31" fmla="*/ 4216400 h 4429294"/>
                    <a:gd name="connsiteX32" fmla="*/ 1115952 w 4471962"/>
                    <a:gd name="connsiteY32" fmla="*/ 4111625 h 4429294"/>
                    <a:gd name="connsiteX33" fmla="*/ 896877 w 4471962"/>
                    <a:gd name="connsiteY33" fmla="*/ 3968750 h 4429294"/>
                    <a:gd name="connsiteX34" fmla="*/ 563502 w 4471962"/>
                    <a:gd name="connsiteY34" fmla="*/ 3657600 h 4429294"/>
                    <a:gd name="connsiteX35" fmla="*/ 417452 w 4471962"/>
                    <a:gd name="connsiteY35" fmla="*/ 3470275 h 4429294"/>
                    <a:gd name="connsiteX36" fmla="*/ 287277 w 4471962"/>
                    <a:gd name="connsiteY36" fmla="*/ 3244850 h 4429294"/>
                    <a:gd name="connsiteX37" fmla="*/ 134877 w 4471962"/>
                    <a:gd name="connsiteY37" fmla="*/ 2892425 h 4429294"/>
                    <a:gd name="connsiteX38" fmla="*/ 26927 w 4471962"/>
                    <a:gd name="connsiteY38" fmla="*/ 2368550 h 4429294"/>
                    <a:gd name="connsiteX39" fmla="*/ 1527 w 4471962"/>
                    <a:gd name="connsiteY39" fmla="*/ 1781175 h 4429294"/>
                    <a:gd name="connsiteX40" fmla="*/ 58677 w 4471962"/>
                    <a:gd name="connsiteY40" fmla="*/ 1590675 h 4429294"/>
                    <a:gd name="connsiteX41" fmla="*/ 106302 w 4471962"/>
                    <a:gd name="connsiteY41" fmla="*/ 1419225 h 4429294"/>
                    <a:gd name="connsiteX42" fmla="*/ 182502 w 4471962"/>
                    <a:gd name="connsiteY42" fmla="*/ 1276350 h 4429294"/>
                    <a:gd name="connsiteX43" fmla="*/ 268227 w 4471962"/>
                    <a:gd name="connsiteY43" fmla="*/ 1114425 h 4429294"/>
                    <a:gd name="connsiteX44" fmla="*/ 430152 w 4471962"/>
                    <a:gd name="connsiteY44" fmla="*/ 857250 h 4429294"/>
                    <a:gd name="connsiteX45" fmla="*/ 487302 w 4471962"/>
                    <a:gd name="connsiteY45" fmla="*/ 800100 h 4429294"/>
                    <a:gd name="connsiteX46" fmla="*/ 620652 w 4471962"/>
                    <a:gd name="connsiteY46" fmla="*/ 676275 h 4429294"/>
                    <a:gd name="connsiteX47" fmla="*/ 839727 w 4471962"/>
                    <a:gd name="connsiteY47" fmla="*/ 504825 h 4429294"/>
                    <a:gd name="connsiteX48" fmla="*/ 1119127 w 4471962"/>
                    <a:gd name="connsiteY48" fmla="*/ 311150 h 4429294"/>
                    <a:gd name="connsiteX49" fmla="*/ 1477902 w 4471962"/>
                    <a:gd name="connsiteY49" fmla="*/ 152400 h 4429294"/>
                    <a:gd name="connsiteX50" fmla="*/ 1592202 w 4471962"/>
                    <a:gd name="connsiteY50" fmla="*/ 111125 h 4429294"/>
                    <a:gd name="connsiteX51" fmla="*/ 2224027 w 4471962"/>
                    <a:gd name="connsiteY51" fmla="*/ 12700 h 4429294"/>
                    <a:gd name="connsiteX0" fmla="*/ 2231942 w 4454477"/>
                    <a:gd name="connsiteY0" fmla="*/ 0 h 4429294"/>
                    <a:gd name="connsiteX1" fmla="*/ 2555792 w 4454477"/>
                    <a:gd name="connsiteY1" fmla="*/ 15875 h 4429294"/>
                    <a:gd name="connsiteX2" fmla="*/ 2851067 w 4454477"/>
                    <a:gd name="connsiteY2" fmla="*/ 85725 h 4429294"/>
                    <a:gd name="connsiteX3" fmla="*/ 3070142 w 4454477"/>
                    <a:gd name="connsiteY3" fmla="*/ 171450 h 4429294"/>
                    <a:gd name="connsiteX4" fmla="*/ 3174917 w 4454477"/>
                    <a:gd name="connsiteY4" fmla="*/ 228600 h 4429294"/>
                    <a:gd name="connsiteX5" fmla="*/ 3355892 w 4454477"/>
                    <a:gd name="connsiteY5" fmla="*/ 323850 h 4429294"/>
                    <a:gd name="connsiteX6" fmla="*/ 3746417 w 4454477"/>
                    <a:gd name="connsiteY6" fmla="*/ 581025 h 4429294"/>
                    <a:gd name="connsiteX7" fmla="*/ 3962317 w 4454477"/>
                    <a:gd name="connsiteY7" fmla="*/ 819150 h 4429294"/>
                    <a:gd name="connsiteX8" fmla="*/ 4098842 w 4454477"/>
                    <a:gd name="connsiteY8" fmla="*/ 990600 h 4429294"/>
                    <a:gd name="connsiteX9" fmla="*/ 4184567 w 4454477"/>
                    <a:gd name="connsiteY9" fmla="*/ 1143000 h 4429294"/>
                    <a:gd name="connsiteX10" fmla="*/ 4241717 w 4454477"/>
                    <a:gd name="connsiteY10" fmla="*/ 1266825 h 4429294"/>
                    <a:gd name="connsiteX11" fmla="*/ 4279817 w 4454477"/>
                    <a:gd name="connsiteY11" fmla="*/ 1362075 h 4429294"/>
                    <a:gd name="connsiteX12" fmla="*/ 4327442 w 4454477"/>
                    <a:gd name="connsiteY12" fmla="*/ 1552575 h 4429294"/>
                    <a:gd name="connsiteX13" fmla="*/ 4365542 w 4454477"/>
                    <a:gd name="connsiteY13" fmla="*/ 1685925 h 4429294"/>
                    <a:gd name="connsiteX14" fmla="*/ 4454442 w 4454477"/>
                    <a:gd name="connsiteY14" fmla="*/ 2181225 h 4429294"/>
                    <a:gd name="connsiteX15" fmla="*/ 4381417 w 4454477"/>
                    <a:gd name="connsiteY15" fmla="*/ 2768600 h 4429294"/>
                    <a:gd name="connsiteX16" fmla="*/ 4317917 w 4454477"/>
                    <a:gd name="connsiteY16" fmla="*/ 2990850 h 4429294"/>
                    <a:gd name="connsiteX17" fmla="*/ 4213142 w 4454477"/>
                    <a:gd name="connsiteY17" fmla="*/ 3248025 h 4429294"/>
                    <a:gd name="connsiteX18" fmla="*/ 4117892 w 4454477"/>
                    <a:gd name="connsiteY18" fmla="*/ 3400425 h 4429294"/>
                    <a:gd name="connsiteX19" fmla="*/ 3994067 w 4454477"/>
                    <a:gd name="connsiteY19" fmla="*/ 3533775 h 4429294"/>
                    <a:gd name="connsiteX20" fmla="*/ 3889292 w 4454477"/>
                    <a:gd name="connsiteY20" fmla="*/ 3648075 h 4429294"/>
                    <a:gd name="connsiteX21" fmla="*/ 3594017 w 4454477"/>
                    <a:gd name="connsiteY21" fmla="*/ 3971925 h 4429294"/>
                    <a:gd name="connsiteX22" fmla="*/ 3451142 w 4454477"/>
                    <a:gd name="connsiteY22" fmla="*/ 4083050 h 4429294"/>
                    <a:gd name="connsiteX23" fmla="*/ 3155867 w 4454477"/>
                    <a:gd name="connsiteY23" fmla="*/ 4222750 h 4429294"/>
                    <a:gd name="connsiteX24" fmla="*/ 3003467 w 4454477"/>
                    <a:gd name="connsiteY24" fmla="*/ 4286250 h 4429294"/>
                    <a:gd name="connsiteX25" fmla="*/ 2870117 w 4454477"/>
                    <a:gd name="connsiteY25" fmla="*/ 4333875 h 4429294"/>
                    <a:gd name="connsiteX26" fmla="*/ 2746292 w 4454477"/>
                    <a:gd name="connsiteY26" fmla="*/ 4371975 h 4429294"/>
                    <a:gd name="connsiteX27" fmla="*/ 2514517 w 4454477"/>
                    <a:gd name="connsiteY27" fmla="*/ 4391025 h 4429294"/>
                    <a:gd name="connsiteX28" fmla="*/ 2060492 w 4454477"/>
                    <a:gd name="connsiteY28" fmla="*/ 4429125 h 4429294"/>
                    <a:gd name="connsiteX29" fmla="*/ 1869992 w 4454477"/>
                    <a:gd name="connsiteY29" fmla="*/ 4400550 h 4429294"/>
                    <a:gd name="connsiteX30" fmla="*/ 1508042 w 4454477"/>
                    <a:gd name="connsiteY30" fmla="*/ 4305300 h 4429294"/>
                    <a:gd name="connsiteX31" fmla="*/ 1266742 w 4454477"/>
                    <a:gd name="connsiteY31" fmla="*/ 4216400 h 4429294"/>
                    <a:gd name="connsiteX32" fmla="*/ 1098467 w 4454477"/>
                    <a:gd name="connsiteY32" fmla="*/ 4111625 h 4429294"/>
                    <a:gd name="connsiteX33" fmla="*/ 879392 w 4454477"/>
                    <a:gd name="connsiteY33" fmla="*/ 3968750 h 4429294"/>
                    <a:gd name="connsiteX34" fmla="*/ 546017 w 4454477"/>
                    <a:gd name="connsiteY34" fmla="*/ 3657600 h 4429294"/>
                    <a:gd name="connsiteX35" fmla="*/ 399967 w 4454477"/>
                    <a:gd name="connsiteY35" fmla="*/ 3470275 h 4429294"/>
                    <a:gd name="connsiteX36" fmla="*/ 269792 w 4454477"/>
                    <a:gd name="connsiteY36" fmla="*/ 3244850 h 4429294"/>
                    <a:gd name="connsiteX37" fmla="*/ 117392 w 4454477"/>
                    <a:gd name="connsiteY37" fmla="*/ 2892425 h 4429294"/>
                    <a:gd name="connsiteX38" fmla="*/ 9442 w 4454477"/>
                    <a:gd name="connsiteY38" fmla="*/ 2368550 h 4429294"/>
                    <a:gd name="connsiteX39" fmla="*/ 15792 w 4454477"/>
                    <a:gd name="connsiteY39" fmla="*/ 1870075 h 4429294"/>
                    <a:gd name="connsiteX40" fmla="*/ 41192 w 4454477"/>
                    <a:gd name="connsiteY40" fmla="*/ 1590675 h 4429294"/>
                    <a:gd name="connsiteX41" fmla="*/ 88817 w 4454477"/>
                    <a:gd name="connsiteY41" fmla="*/ 1419225 h 4429294"/>
                    <a:gd name="connsiteX42" fmla="*/ 165017 w 4454477"/>
                    <a:gd name="connsiteY42" fmla="*/ 1276350 h 4429294"/>
                    <a:gd name="connsiteX43" fmla="*/ 250742 w 4454477"/>
                    <a:gd name="connsiteY43" fmla="*/ 1114425 h 4429294"/>
                    <a:gd name="connsiteX44" fmla="*/ 412667 w 4454477"/>
                    <a:gd name="connsiteY44" fmla="*/ 857250 h 4429294"/>
                    <a:gd name="connsiteX45" fmla="*/ 469817 w 4454477"/>
                    <a:gd name="connsiteY45" fmla="*/ 800100 h 4429294"/>
                    <a:gd name="connsiteX46" fmla="*/ 603167 w 4454477"/>
                    <a:gd name="connsiteY46" fmla="*/ 676275 h 4429294"/>
                    <a:gd name="connsiteX47" fmla="*/ 822242 w 4454477"/>
                    <a:gd name="connsiteY47" fmla="*/ 504825 h 4429294"/>
                    <a:gd name="connsiteX48" fmla="*/ 1101642 w 4454477"/>
                    <a:gd name="connsiteY48" fmla="*/ 311150 h 4429294"/>
                    <a:gd name="connsiteX49" fmla="*/ 1460417 w 4454477"/>
                    <a:gd name="connsiteY49" fmla="*/ 152400 h 4429294"/>
                    <a:gd name="connsiteX50" fmla="*/ 1574717 w 4454477"/>
                    <a:gd name="connsiteY50" fmla="*/ 111125 h 4429294"/>
                    <a:gd name="connsiteX51" fmla="*/ 2206542 w 4454477"/>
                    <a:gd name="connsiteY51" fmla="*/ 12700 h 4429294"/>
                    <a:gd name="connsiteX0" fmla="*/ 2233750 w 4456285"/>
                    <a:gd name="connsiteY0" fmla="*/ 0 h 4429294"/>
                    <a:gd name="connsiteX1" fmla="*/ 2557600 w 4456285"/>
                    <a:gd name="connsiteY1" fmla="*/ 15875 h 4429294"/>
                    <a:gd name="connsiteX2" fmla="*/ 2852875 w 4456285"/>
                    <a:gd name="connsiteY2" fmla="*/ 85725 h 4429294"/>
                    <a:gd name="connsiteX3" fmla="*/ 3071950 w 4456285"/>
                    <a:gd name="connsiteY3" fmla="*/ 171450 h 4429294"/>
                    <a:gd name="connsiteX4" fmla="*/ 3176725 w 4456285"/>
                    <a:gd name="connsiteY4" fmla="*/ 228600 h 4429294"/>
                    <a:gd name="connsiteX5" fmla="*/ 3357700 w 4456285"/>
                    <a:gd name="connsiteY5" fmla="*/ 323850 h 4429294"/>
                    <a:gd name="connsiteX6" fmla="*/ 3748225 w 4456285"/>
                    <a:gd name="connsiteY6" fmla="*/ 581025 h 4429294"/>
                    <a:gd name="connsiteX7" fmla="*/ 3964125 w 4456285"/>
                    <a:gd name="connsiteY7" fmla="*/ 819150 h 4429294"/>
                    <a:gd name="connsiteX8" fmla="*/ 4100650 w 4456285"/>
                    <a:gd name="connsiteY8" fmla="*/ 990600 h 4429294"/>
                    <a:gd name="connsiteX9" fmla="*/ 4186375 w 4456285"/>
                    <a:gd name="connsiteY9" fmla="*/ 1143000 h 4429294"/>
                    <a:gd name="connsiteX10" fmla="*/ 4243525 w 4456285"/>
                    <a:gd name="connsiteY10" fmla="*/ 1266825 h 4429294"/>
                    <a:gd name="connsiteX11" fmla="*/ 4281625 w 4456285"/>
                    <a:gd name="connsiteY11" fmla="*/ 1362075 h 4429294"/>
                    <a:gd name="connsiteX12" fmla="*/ 4329250 w 4456285"/>
                    <a:gd name="connsiteY12" fmla="*/ 1552575 h 4429294"/>
                    <a:gd name="connsiteX13" fmla="*/ 4367350 w 4456285"/>
                    <a:gd name="connsiteY13" fmla="*/ 1685925 h 4429294"/>
                    <a:gd name="connsiteX14" fmla="*/ 4456250 w 4456285"/>
                    <a:gd name="connsiteY14" fmla="*/ 2181225 h 4429294"/>
                    <a:gd name="connsiteX15" fmla="*/ 4383225 w 4456285"/>
                    <a:gd name="connsiteY15" fmla="*/ 2768600 h 4429294"/>
                    <a:gd name="connsiteX16" fmla="*/ 4319725 w 4456285"/>
                    <a:gd name="connsiteY16" fmla="*/ 2990850 h 4429294"/>
                    <a:gd name="connsiteX17" fmla="*/ 4214950 w 4456285"/>
                    <a:gd name="connsiteY17" fmla="*/ 3248025 h 4429294"/>
                    <a:gd name="connsiteX18" fmla="*/ 4119700 w 4456285"/>
                    <a:gd name="connsiteY18" fmla="*/ 3400425 h 4429294"/>
                    <a:gd name="connsiteX19" fmla="*/ 3995875 w 4456285"/>
                    <a:gd name="connsiteY19" fmla="*/ 3533775 h 4429294"/>
                    <a:gd name="connsiteX20" fmla="*/ 3891100 w 4456285"/>
                    <a:gd name="connsiteY20" fmla="*/ 3648075 h 4429294"/>
                    <a:gd name="connsiteX21" fmla="*/ 3595825 w 4456285"/>
                    <a:gd name="connsiteY21" fmla="*/ 3971925 h 4429294"/>
                    <a:gd name="connsiteX22" fmla="*/ 3452950 w 4456285"/>
                    <a:gd name="connsiteY22" fmla="*/ 4083050 h 4429294"/>
                    <a:gd name="connsiteX23" fmla="*/ 3157675 w 4456285"/>
                    <a:gd name="connsiteY23" fmla="*/ 4222750 h 4429294"/>
                    <a:gd name="connsiteX24" fmla="*/ 3005275 w 4456285"/>
                    <a:gd name="connsiteY24" fmla="*/ 4286250 h 4429294"/>
                    <a:gd name="connsiteX25" fmla="*/ 2871925 w 4456285"/>
                    <a:gd name="connsiteY25" fmla="*/ 4333875 h 4429294"/>
                    <a:gd name="connsiteX26" fmla="*/ 2748100 w 4456285"/>
                    <a:gd name="connsiteY26" fmla="*/ 4371975 h 4429294"/>
                    <a:gd name="connsiteX27" fmla="*/ 2516325 w 4456285"/>
                    <a:gd name="connsiteY27" fmla="*/ 4391025 h 4429294"/>
                    <a:gd name="connsiteX28" fmla="*/ 2062300 w 4456285"/>
                    <a:gd name="connsiteY28" fmla="*/ 4429125 h 4429294"/>
                    <a:gd name="connsiteX29" fmla="*/ 1871800 w 4456285"/>
                    <a:gd name="connsiteY29" fmla="*/ 4400550 h 4429294"/>
                    <a:gd name="connsiteX30" fmla="*/ 1509850 w 4456285"/>
                    <a:gd name="connsiteY30" fmla="*/ 4305300 h 4429294"/>
                    <a:gd name="connsiteX31" fmla="*/ 1268550 w 4456285"/>
                    <a:gd name="connsiteY31" fmla="*/ 4216400 h 4429294"/>
                    <a:gd name="connsiteX32" fmla="*/ 1100275 w 4456285"/>
                    <a:gd name="connsiteY32" fmla="*/ 4111625 h 4429294"/>
                    <a:gd name="connsiteX33" fmla="*/ 881200 w 4456285"/>
                    <a:gd name="connsiteY33" fmla="*/ 3968750 h 4429294"/>
                    <a:gd name="connsiteX34" fmla="*/ 547825 w 4456285"/>
                    <a:gd name="connsiteY34" fmla="*/ 3657600 h 4429294"/>
                    <a:gd name="connsiteX35" fmla="*/ 401775 w 4456285"/>
                    <a:gd name="connsiteY35" fmla="*/ 3470275 h 4429294"/>
                    <a:gd name="connsiteX36" fmla="*/ 271600 w 4456285"/>
                    <a:gd name="connsiteY36" fmla="*/ 3244850 h 4429294"/>
                    <a:gd name="connsiteX37" fmla="*/ 119200 w 4456285"/>
                    <a:gd name="connsiteY37" fmla="*/ 2892425 h 4429294"/>
                    <a:gd name="connsiteX38" fmla="*/ 11250 w 4456285"/>
                    <a:gd name="connsiteY38" fmla="*/ 2368550 h 4429294"/>
                    <a:gd name="connsiteX39" fmla="*/ 17600 w 4456285"/>
                    <a:gd name="connsiteY39" fmla="*/ 1870075 h 4429294"/>
                    <a:gd name="connsiteX40" fmla="*/ 90625 w 4456285"/>
                    <a:gd name="connsiteY40" fmla="*/ 1419225 h 4429294"/>
                    <a:gd name="connsiteX41" fmla="*/ 166825 w 4456285"/>
                    <a:gd name="connsiteY41" fmla="*/ 1276350 h 4429294"/>
                    <a:gd name="connsiteX42" fmla="*/ 252550 w 4456285"/>
                    <a:gd name="connsiteY42" fmla="*/ 1114425 h 4429294"/>
                    <a:gd name="connsiteX43" fmla="*/ 414475 w 4456285"/>
                    <a:gd name="connsiteY43" fmla="*/ 857250 h 4429294"/>
                    <a:gd name="connsiteX44" fmla="*/ 471625 w 4456285"/>
                    <a:gd name="connsiteY44" fmla="*/ 800100 h 4429294"/>
                    <a:gd name="connsiteX45" fmla="*/ 604975 w 4456285"/>
                    <a:gd name="connsiteY45" fmla="*/ 676275 h 4429294"/>
                    <a:gd name="connsiteX46" fmla="*/ 824050 w 4456285"/>
                    <a:gd name="connsiteY46" fmla="*/ 504825 h 4429294"/>
                    <a:gd name="connsiteX47" fmla="*/ 1103450 w 4456285"/>
                    <a:gd name="connsiteY47" fmla="*/ 311150 h 4429294"/>
                    <a:gd name="connsiteX48" fmla="*/ 1462225 w 4456285"/>
                    <a:gd name="connsiteY48" fmla="*/ 152400 h 4429294"/>
                    <a:gd name="connsiteX49" fmla="*/ 1576525 w 4456285"/>
                    <a:gd name="connsiteY49" fmla="*/ 111125 h 4429294"/>
                    <a:gd name="connsiteX50" fmla="*/ 2208350 w 4456285"/>
                    <a:gd name="connsiteY50" fmla="*/ 12700 h 4429294"/>
                    <a:gd name="connsiteX0" fmla="*/ 2237540 w 4460075"/>
                    <a:gd name="connsiteY0" fmla="*/ 0 h 4429294"/>
                    <a:gd name="connsiteX1" fmla="*/ 2561390 w 4460075"/>
                    <a:gd name="connsiteY1" fmla="*/ 15875 h 4429294"/>
                    <a:gd name="connsiteX2" fmla="*/ 2856665 w 4460075"/>
                    <a:gd name="connsiteY2" fmla="*/ 85725 h 4429294"/>
                    <a:gd name="connsiteX3" fmla="*/ 3075740 w 4460075"/>
                    <a:gd name="connsiteY3" fmla="*/ 171450 h 4429294"/>
                    <a:gd name="connsiteX4" fmla="*/ 3180515 w 4460075"/>
                    <a:gd name="connsiteY4" fmla="*/ 228600 h 4429294"/>
                    <a:gd name="connsiteX5" fmla="*/ 3361490 w 4460075"/>
                    <a:gd name="connsiteY5" fmla="*/ 323850 h 4429294"/>
                    <a:gd name="connsiteX6" fmla="*/ 3752015 w 4460075"/>
                    <a:gd name="connsiteY6" fmla="*/ 581025 h 4429294"/>
                    <a:gd name="connsiteX7" fmla="*/ 3967915 w 4460075"/>
                    <a:gd name="connsiteY7" fmla="*/ 819150 h 4429294"/>
                    <a:gd name="connsiteX8" fmla="*/ 4104440 w 4460075"/>
                    <a:gd name="connsiteY8" fmla="*/ 990600 h 4429294"/>
                    <a:gd name="connsiteX9" fmla="*/ 4190165 w 4460075"/>
                    <a:gd name="connsiteY9" fmla="*/ 1143000 h 4429294"/>
                    <a:gd name="connsiteX10" fmla="*/ 4247315 w 4460075"/>
                    <a:gd name="connsiteY10" fmla="*/ 1266825 h 4429294"/>
                    <a:gd name="connsiteX11" fmla="*/ 4285415 w 4460075"/>
                    <a:gd name="connsiteY11" fmla="*/ 1362075 h 4429294"/>
                    <a:gd name="connsiteX12" fmla="*/ 4333040 w 4460075"/>
                    <a:gd name="connsiteY12" fmla="*/ 1552575 h 4429294"/>
                    <a:gd name="connsiteX13" fmla="*/ 4371140 w 4460075"/>
                    <a:gd name="connsiteY13" fmla="*/ 1685925 h 4429294"/>
                    <a:gd name="connsiteX14" fmla="*/ 4460040 w 4460075"/>
                    <a:gd name="connsiteY14" fmla="*/ 2181225 h 4429294"/>
                    <a:gd name="connsiteX15" fmla="*/ 4387015 w 4460075"/>
                    <a:gd name="connsiteY15" fmla="*/ 2768600 h 4429294"/>
                    <a:gd name="connsiteX16" fmla="*/ 4323515 w 4460075"/>
                    <a:gd name="connsiteY16" fmla="*/ 2990850 h 4429294"/>
                    <a:gd name="connsiteX17" fmla="*/ 4218740 w 4460075"/>
                    <a:gd name="connsiteY17" fmla="*/ 3248025 h 4429294"/>
                    <a:gd name="connsiteX18" fmla="*/ 4123490 w 4460075"/>
                    <a:gd name="connsiteY18" fmla="*/ 3400425 h 4429294"/>
                    <a:gd name="connsiteX19" fmla="*/ 3999665 w 4460075"/>
                    <a:gd name="connsiteY19" fmla="*/ 3533775 h 4429294"/>
                    <a:gd name="connsiteX20" fmla="*/ 3894890 w 4460075"/>
                    <a:gd name="connsiteY20" fmla="*/ 3648075 h 4429294"/>
                    <a:gd name="connsiteX21" fmla="*/ 3599615 w 4460075"/>
                    <a:gd name="connsiteY21" fmla="*/ 3971925 h 4429294"/>
                    <a:gd name="connsiteX22" fmla="*/ 3456740 w 4460075"/>
                    <a:gd name="connsiteY22" fmla="*/ 4083050 h 4429294"/>
                    <a:gd name="connsiteX23" fmla="*/ 3161465 w 4460075"/>
                    <a:gd name="connsiteY23" fmla="*/ 4222750 h 4429294"/>
                    <a:gd name="connsiteX24" fmla="*/ 3009065 w 4460075"/>
                    <a:gd name="connsiteY24" fmla="*/ 4286250 h 4429294"/>
                    <a:gd name="connsiteX25" fmla="*/ 2875715 w 4460075"/>
                    <a:gd name="connsiteY25" fmla="*/ 4333875 h 4429294"/>
                    <a:gd name="connsiteX26" fmla="*/ 2751890 w 4460075"/>
                    <a:gd name="connsiteY26" fmla="*/ 4371975 h 4429294"/>
                    <a:gd name="connsiteX27" fmla="*/ 2520115 w 4460075"/>
                    <a:gd name="connsiteY27" fmla="*/ 4391025 h 4429294"/>
                    <a:gd name="connsiteX28" fmla="*/ 2066090 w 4460075"/>
                    <a:gd name="connsiteY28" fmla="*/ 4429125 h 4429294"/>
                    <a:gd name="connsiteX29" fmla="*/ 1875590 w 4460075"/>
                    <a:gd name="connsiteY29" fmla="*/ 4400550 h 4429294"/>
                    <a:gd name="connsiteX30" fmla="*/ 1513640 w 4460075"/>
                    <a:gd name="connsiteY30" fmla="*/ 4305300 h 4429294"/>
                    <a:gd name="connsiteX31" fmla="*/ 1272340 w 4460075"/>
                    <a:gd name="connsiteY31" fmla="*/ 4216400 h 4429294"/>
                    <a:gd name="connsiteX32" fmla="*/ 1104065 w 4460075"/>
                    <a:gd name="connsiteY32" fmla="*/ 4111625 h 4429294"/>
                    <a:gd name="connsiteX33" fmla="*/ 884990 w 4460075"/>
                    <a:gd name="connsiteY33" fmla="*/ 3968750 h 4429294"/>
                    <a:gd name="connsiteX34" fmla="*/ 551615 w 4460075"/>
                    <a:gd name="connsiteY34" fmla="*/ 3657600 h 4429294"/>
                    <a:gd name="connsiteX35" fmla="*/ 405565 w 4460075"/>
                    <a:gd name="connsiteY35" fmla="*/ 3470275 h 4429294"/>
                    <a:gd name="connsiteX36" fmla="*/ 275390 w 4460075"/>
                    <a:gd name="connsiteY36" fmla="*/ 3244850 h 4429294"/>
                    <a:gd name="connsiteX37" fmla="*/ 122990 w 4460075"/>
                    <a:gd name="connsiteY37" fmla="*/ 2892425 h 4429294"/>
                    <a:gd name="connsiteX38" fmla="*/ 15040 w 4460075"/>
                    <a:gd name="connsiteY38" fmla="*/ 2368550 h 4429294"/>
                    <a:gd name="connsiteX39" fmla="*/ 21390 w 4460075"/>
                    <a:gd name="connsiteY39" fmla="*/ 1870075 h 4429294"/>
                    <a:gd name="connsiteX40" fmla="*/ 170615 w 4460075"/>
                    <a:gd name="connsiteY40" fmla="*/ 1276350 h 4429294"/>
                    <a:gd name="connsiteX41" fmla="*/ 256340 w 4460075"/>
                    <a:gd name="connsiteY41" fmla="*/ 1114425 h 4429294"/>
                    <a:gd name="connsiteX42" fmla="*/ 418265 w 4460075"/>
                    <a:gd name="connsiteY42" fmla="*/ 857250 h 4429294"/>
                    <a:gd name="connsiteX43" fmla="*/ 475415 w 4460075"/>
                    <a:gd name="connsiteY43" fmla="*/ 800100 h 4429294"/>
                    <a:gd name="connsiteX44" fmla="*/ 608765 w 4460075"/>
                    <a:gd name="connsiteY44" fmla="*/ 676275 h 4429294"/>
                    <a:gd name="connsiteX45" fmla="*/ 827840 w 4460075"/>
                    <a:gd name="connsiteY45" fmla="*/ 504825 h 4429294"/>
                    <a:gd name="connsiteX46" fmla="*/ 1107240 w 4460075"/>
                    <a:gd name="connsiteY46" fmla="*/ 311150 h 4429294"/>
                    <a:gd name="connsiteX47" fmla="*/ 1466015 w 4460075"/>
                    <a:gd name="connsiteY47" fmla="*/ 152400 h 4429294"/>
                    <a:gd name="connsiteX48" fmla="*/ 1580315 w 4460075"/>
                    <a:gd name="connsiteY48" fmla="*/ 111125 h 4429294"/>
                    <a:gd name="connsiteX49" fmla="*/ 2212140 w 4460075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5706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76140 w 4460800"/>
                    <a:gd name="connsiteY42" fmla="*/ 800100 h 4429294"/>
                    <a:gd name="connsiteX43" fmla="*/ 609490 w 4460800"/>
                    <a:gd name="connsiteY43" fmla="*/ 676275 h 4429294"/>
                    <a:gd name="connsiteX44" fmla="*/ 828565 w 4460800"/>
                    <a:gd name="connsiteY44" fmla="*/ 504825 h 4429294"/>
                    <a:gd name="connsiteX45" fmla="*/ 1107965 w 4460800"/>
                    <a:gd name="connsiteY45" fmla="*/ 311150 h 4429294"/>
                    <a:gd name="connsiteX46" fmla="*/ 1466740 w 4460800"/>
                    <a:gd name="connsiteY46" fmla="*/ 152400 h 4429294"/>
                    <a:gd name="connsiteX47" fmla="*/ 1581040 w 4460800"/>
                    <a:gd name="connsiteY47" fmla="*/ 111125 h 4429294"/>
                    <a:gd name="connsiteX48" fmla="*/ 2212865 w 4460800"/>
                    <a:gd name="connsiteY48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</a:path>
                  </a:pathLst>
                </a:custGeom>
                <a:solidFill>
                  <a:srgbClr val="97A2BB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27" name="Freeform: Shape 1026">
                  <a:extLst>
                    <a:ext uri="{FF2B5EF4-FFF2-40B4-BE49-F238E27FC236}">
                      <a16:creationId xmlns:a16="http://schemas.microsoft.com/office/drawing/2014/main" id="{85896067-3508-F693-977B-796DC07AB04C}"/>
                    </a:ext>
                  </a:extLst>
                </p:cNvPr>
                <p:cNvSpPr/>
                <p:nvPr/>
              </p:nvSpPr>
              <p:spPr>
                <a:xfrm>
                  <a:off x="1720410" y="4523971"/>
                  <a:ext cx="85725" cy="109932"/>
                </a:xfrm>
                <a:custGeom>
                  <a:avLst/>
                  <a:gdLst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944902 w 4469152"/>
                    <a:gd name="connsiteY150" fmla="*/ 476250 h 4496940"/>
                    <a:gd name="connsiteX151" fmla="*/ 1087777 w 4469152"/>
                    <a:gd name="connsiteY151" fmla="*/ 409575 h 4496940"/>
                    <a:gd name="connsiteX152" fmla="*/ 1202077 w 4469152"/>
                    <a:gd name="connsiteY152" fmla="*/ 314325 h 4496940"/>
                    <a:gd name="connsiteX153" fmla="*/ 1268752 w 4469152"/>
                    <a:gd name="connsiteY153" fmla="*/ 285750 h 4496940"/>
                    <a:gd name="connsiteX154" fmla="*/ 1411627 w 4469152"/>
                    <a:gd name="connsiteY154" fmla="*/ 190500 h 4496940"/>
                    <a:gd name="connsiteX155" fmla="*/ 1449727 w 4469152"/>
                    <a:gd name="connsiteY155" fmla="*/ 161925 h 4496940"/>
                    <a:gd name="connsiteX156" fmla="*/ 1525927 w 4469152"/>
                    <a:gd name="connsiteY156" fmla="*/ 152400 h 4496940"/>
                    <a:gd name="connsiteX157" fmla="*/ 1583077 w 4469152"/>
                    <a:gd name="connsiteY157" fmla="*/ 142875 h 4496940"/>
                    <a:gd name="connsiteX158" fmla="*/ 1716427 w 4469152"/>
                    <a:gd name="connsiteY158" fmla="*/ 123825 h 4496940"/>
                    <a:gd name="connsiteX159" fmla="*/ 1811677 w 4469152"/>
                    <a:gd name="connsiteY159" fmla="*/ 114300 h 4496940"/>
                    <a:gd name="connsiteX160" fmla="*/ 1859302 w 4469152"/>
                    <a:gd name="connsiteY160" fmla="*/ 104775 h 4496940"/>
                    <a:gd name="connsiteX161" fmla="*/ 1916452 w 4469152"/>
                    <a:gd name="connsiteY161" fmla="*/ 95250 h 4496940"/>
                    <a:gd name="connsiteX162" fmla="*/ 2030752 w 4469152"/>
                    <a:gd name="connsiteY162" fmla="*/ 66675 h 4496940"/>
                    <a:gd name="connsiteX163" fmla="*/ 2097427 w 4469152"/>
                    <a:gd name="connsiteY163" fmla="*/ 47625 h 4496940"/>
                    <a:gd name="connsiteX164" fmla="*/ 2164102 w 4469152"/>
                    <a:gd name="connsiteY164" fmla="*/ 38100 h 4496940"/>
                    <a:gd name="connsiteX165" fmla="*/ 2392702 w 4469152"/>
                    <a:gd name="connsiteY165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087777 w 4469152"/>
                    <a:gd name="connsiteY150" fmla="*/ 409575 h 4496940"/>
                    <a:gd name="connsiteX151" fmla="*/ 1202077 w 4469152"/>
                    <a:gd name="connsiteY151" fmla="*/ 314325 h 4496940"/>
                    <a:gd name="connsiteX152" fmla="*/ 1268752 w 4469152"/>
                    <a:gd name="connsiteY152" fmla="*/ 285750 h 4496940"/>
                    <a:gd name="connsiteX153" fmla="*/ 1411627 w 4469152"/>
                    <a:gd name="connsiteY153" fmla="*/ 190500 h 4496940"/>
                    <a:gd name="connsiteX154" fmla="*/ 1449727 w 4469152"/>
                    <a:gd name="connsiteY154" fmla="*/ 161925 h 4496940"/>
                    <a:gd name="connsiteX155" fmla="*/ 1525927 w 4469152"/>
                    <a:gd name="connsiteY155" fmla="*/ 152400 h 4496940"/>
                    <a:gd name="connsiteX156" fmla="*/ 1583077 w 4469152"/>
                    <a:gd name="connsiteY156" fmla="*/ 142875 h 4496940"/>
                    <a:gd name="connsiteX157" fmla="*/ 1716427 w 4469152"/>
                    <a:gd name="connsiteY157" fmla="*/ 123825 h 4496940"/>
                    <a:gd name="connsiteX158" fmla="*/ 1811677 w 4469152"/>
                    <a:gd name="connsiteY158" fmla="*/ 114300 h 4496940"/>
                    <a:gd name="connsiteX159" fmla="*/ 1859302 w 4469152"/>
                    <a:gd name="connsiteY159" fmla="*/ 104775 h 4496940"/>
                    <a:gd name="connsiteX160" fmla="*/ 1916452 w 4469152"/>
                    <a:gd name="connsiteY160" fmla="*/ 95250 h 4496940"/>
                    <a:gd name="connsiteX161" fmla="*/ 2030752 w 4469152"/>
                    <a:gd name="connsiteY161" fmla="*/ 66675 h 4496940"/>
                    <a:gd name="connsiteX162" fmla="*/ 2097427 w 4469152"/>
                    <a:gd name="connsiteY162" fmla="*/ 47625 h 4496940"/>
                    <a:gd name="connsiteX163" fmla="*/ 2164102 w 4469152"/>
                    <a:gd name="connsiteY163" fmla="*/ 38100 h 4496940"/>
                    <a:gd name="connsiteX164" fmla="*/ 2392702 w 4469152"/>
                    <a:gd name="connsiteY164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02077 w 4469152"/>
                    <a:gd name="connsiteY150" fmla="*/ 314325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68752 w 4469152"/>
                    <a:gd name="connsiteY150" fmla="*/ 285750 h 4496940"/>
                    <a:gd name="connsiteX151" fmla="*/ 1411627 w 4469152"/>
                    <a:gd name="connsiteY151" fmla="*/ 190500 h 4496940"/>
                    <a:gd name="connsiteX152" fmla="*/ 1449727 w 4469152"/>
                    <a:gd name="connsiteY152" fmla="*/ 161925 h 4496940"/>
                    <a:gd name="connsiteX153" fmla="*/ 1525927 w 4469152"/>
                    <a:gd name="connsiteY153" fmla="*/ 152400 h 4496940"/>
                    <a:gd name="connsiteX154" fmla="*/ 1583077 w 4469152"/>
                    <a:gd name="connsiteY154" fmla="*/ 142875 h 4496940"/>
                    <a:gd name="connsiteX155" fmla="*/ 1716427 w 4469152"/>
                    <a:gd name="connsiteY155" fmla="*/ 123825 h 4496940"/>
                    <a:gd name="connsiteX156" fmla="*/ 1811677 w 4469152"/>
                    <a:gd name="connsiteY156" fmla="*/ 114300 h 4496940"/>
                    <a:gd name="connsiteX157" fmla="*/ 1859302 w 4469152"/>
                    <a:gd name="connsiteY157" fmla="*/ 104775 h 4496940"/>
                    <a:gd name="connsiteX158" fmla="*/ 1916452 w 4469152"/>
                    <a:gd name="connsiteY158" fmla="*/ 95250 h 4496940"/>
                    <a:gd name="connsiteX159" fmla="*/ 2030752 w 4469152"/>
                    <a:gd name="connsiteY159" fmla="*/ 66675 h 4496940"/>
                    <a:gd name="connsiteX160" fmla="*/ 2097427 w 4469152"/>
                    <a:gd name="connsiteY160" fmla="*/ 47625 h 4496940"/>
                    <a:gd name="connsiteX161" fmla="*/ 2164102 w 4469152"/>
                    <a:gd name="connsiteY161" fmla="*/ 38100 h 4496940"/>
                    <a:gd name="connsiteX162" fmla="*/ 2392702 w 4469152"/>
                    <a:gd name="connsiteY162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167152 w 4469152"/>
                    <a:gd name="connsiteY150" fmla="*/ 311150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40577 w 4519952"/>
                    <a:gd name="connsiteY46" fmla="*/ 1762125 h 4496940"/>
                    <a:gd name="connsiteX47" fmla="*/ 4459627 w 4519952"/>
                    <a:gd name="connsiteY47" fmla="*/ 1828800 h 4496940"/>
                    <a:gd name="connsiteX48" fmla="*/ 4519952 w 4519952"/>
                    <a:gd name="connsiteY48" fmla="*/ 2181225 h 4496940"/>
                    <a:gd name="connsiteX49" fmla="*/ 4440577 w 4519952"/>
                    <a:gd name="connsiteY49" fmla="*/ 2876550 h 4496940"/>
                    <a:gd name="connsiteX50" fmla="*/ 4383427 w 4519952"/>
                    <a:gd name="connsiteY50" fmla="*/ 2990850 h 4496940"/>
                    <a:gd name="connsiteX51" fmla="*/ 4354852 w 4519952"/>
                    <a:gd name="connsiteY51" fmla="*/ 3057525 h 4496940"/>
                    <a:gd name="connsiteX52" fmla="*/ 4335802 w 4519952"/>
                    <a:gd name="connsiteY52" fmla="*/ 3095625 h 4496940"/>
                    <a:gd name="connsiteX53" fmla="*/ 4278652 w 4519952"/>
                    <a:gd name="connsiteY53" fmla="*/ 3248025 h 4496940"/>
                    <a:gd name="connsiteX54" fmla="*/ 4259602 w 4519952"/>
                    <a:gd name="connsiteY54" fmla="*/ 3276600 h 4496940"/>
                    <a:gd name="connsiteX55" fmla="*/ 4221502 w 4519952"/>
                    <a:gd name="connsiteY55" fmla="*/ 3333750 h 4496940"/>
                    <a:gd name="connsiteX56" fmla="*/ 4211977 w 4519952"/>
                    <a:gd name="connsiteY56" fmla="*/ 3362325 h 4496940"/>
                    <a:gd name="connsiteX57" fmla="*/ 4183402 w 4519952"/>
                    <a:gd name="connsiteY57" fmla="*/ 3400425 h 4496940"/>
                    <a:gd name="connsiteX58" fmla="*/ 4164352 w 4519952"/>
                    <a:gd name="connsiteY58" fmla="*/ 3429000 h 4496940"/>
                    <a:gd name="connsiteX59" fmla="*/ 4088152 w 4519952"/>
                    <a:gd name="connsiteY59" fmla="*/ 3495675 h 4496940"/>
                    <a:gd name="connsiteX60" fmla="*/ 4059577 w 4519952"/>
                    <a:gd name="connsiteY60" fmla="*/ 3533775 h 4496940"/>
                    <a:gd name="connsiteX61" fmla="*/ 4002427 w 4519952"/>
                    <a:gd name="connsiteY61" fmla="*/ 3600450 h 4496940"/>
                    <a:gd name="connsiteX62" fmla="*/ 3983377 w 4519952"/>
                    <a:gd name="connsiteY62" fmla="*/ 3629025 h 4496940"/>
                    <a:gd name="connsiteX63" fmla="*/ 3954802 w 4519952"/>
                    <a:gd name="connsiteY63" fmla="*/ 3648075 h 4496940"/>
                    <a:gd name="connsiteX64" fmla="*/ 3907177 w 4519952"/>
                    <a:gd name="connsiteY64" fmla="*/ 3686175 h 4496940"/>
                    <a:gd name="connsiteX65" fmla="*/ 3869077 w 4519952"/>
                    <a:gd name="connsiteY65" fmla="*/ 3724275 h 4496940"/>
                    <a:gd name="connsiteX66" fmla="*/ 3792877 w 4519952"/>
                    <a:gd name="connsiteY66" fmla="*/ 3781425 h 4496940"/>
                    <a:gd name="connsiteX67" fmla="*/ 3783352 w 4519952"/>
                    <a:gd name="connsiteY67" fmla="*/ 3810000 h 4496940"/>
                    <a:gd name="connsiteX68" fmla="*/ 3745252 w 4519952"/>
                    <a:gd name="connsiteY68" fmla="*/ 3819525 h 4496940"/>
                    <a:gd name="connsiteX69" fmla="*/ 3678577 w 4519952"/>
                    <a:gd name="connsiteY69" fmla="*/ 3848100 h 4496940"/>
                    <a:gd name="connsiteX70" fmla="*/ 3659527 w 4519952"/>
                    <a:gd name="connsiteY70" fmla="*/ 3971925 h 4496940"/>
                    <a:gd name="connsiteX71" fmla="*/ 3630952 w 4519952"/>
                    <a:gd name="connsiteY71" fmla="*/ 4010025 h 4496940"/>
                    <a:gd name="connsiteX72" fmla="*/ 3621427 w 4519952"/>
                    <a:gd name="connsiteY72" fmla="*/ 4038600 h 4496940"/>
                    <a:gd name="connsiteX73" fmla="*/ 3554752 w 4519952"/>
                    <a:gd name="connsiteY73" fmla="*/ 4095750 h 4496940"/>
                    <a:gd name="connsiteX74" fmla="*/ 3516652 w 4519952"/>
                    <a:gd name="connsiteY74" fmla="*/ 4114800 h 4496940"/>
                    <a:gd name="connsiteX75" fmla="*/ 3497602 w 4519952"/>
                    <a:gd name="connsiteY75" fmla="*/ 4143375 h 4496940"/>
                    <a:gd name="connsiteX76" fmla="*/ 3383302 w 4519952"/>
                    <a:gd name="connsiteY76" fmla="*/ 4210050 h 4496940"/>
                    <a:gd name="connsiteX77" fmla="*/ 3335677 w 4519952"/>
                    <a:gd name="connsiteY77" fmla="*/ 4238625 h 4496940"/>
                    <a:gd name="connsiteX78" fmla="*/ 3288052 w 4519952"/>
                    <a:gd name="connsiteY78" fmla="*/ 4248150 h 4496940"/>
                    <a:gd name="connsiteX79" fmla="*/ 3240427 w 4519952"/>
                    <a:gd name="connsiteY79" fmla="*/ 4267200 h 4496940"/>
                    <a:gd name="connsiteX80" fmla="*/ 3068977 w 4519952"/>
                    <a:gd name="connsiteY80" fmla="*/ 4286250 h 4496940"/>
                    <a:gd name="connsiteX81" fmla="*/ 2935627 w 4519952"/>
                    <a:gd name="connsiteY81" fmla="*/ 4333875 h 4496940"/>
                    <a:gd name="connsiteX82" fmla="*/ 2811802 w 4519952"/>
                    <a:gd name="connsiteY82" fmla="*/ 4371975 h 4496940"/>
                    <a:gd name="connsiteX83" fmla="*/ 2745127 w 4519952"/>
                    <a:gd name="connsiteY83" fmla="*/ 4410075 h 4496940"/>
                    <a:gd name="connsiteX84" fmla="*/ 2697502 w 4519952"/>
                    <a:gd name="connsiteY84" fmla="*/ 4429125 h 4496940"/>
                    <a:gd name="connsiteX85" fmla="*/ 2640352 w 4519952"/>
                    <a:gd name="connsiteY85" fmla="*/ 4457700 h 4496940"/>
                    <a:gd name="connsiteX86" fmla="*/ 2583202 w 4519952"/>
                    <a:gd name="connsiteY86" fmla="*/ 4467225 h 4496940"/>
                    <a:gd name="connsiteX87" fmla="*/ 2545102 w 4519952"/>
                    <a:gd name="connsiteY87" fmla="*/ 4486275 h 4496940"/>
                    <a:gd name="connsiteX88" fmla="*/ 2306977 w 4519952"/>
                    <a:gd name="connsiteY88" fmla="*/ 4476750 h 4496940"/>
                    <a:gd name="connsiteX89" fmla="*/ 2202202 w 4519952"/>
                    <a:gd name="connsiteY89" fmla="*/ 4457700 h 4496940"/>
                    <a:gd name="connsiteX90" fmla="*/ 2126002 w 4519952"/>
                    <a:gd name="connsiteY90" fmla="*/ 4429125 h 4496940"/>
                    <a:gd name="connsiteX91" fmla="*/ 1935502 w 4519952"/>
                    <a:gd name="connsiteY91" fmla="*/ 4400550 h 4496940"/>
                    <a:gd name="connsiteX92" fmla="*/ 1821202 w 4519952"/>
                    <a:gd name="connsiteY92" fmla="*/ 4371975 h 4496940"/>
                    <a:gd name="connsiteX93" fmla="*/ 1754527 w 4519952"/>
                    <a:gd name="connsiteY93" fmla="*/ 4352925 h 4496940"/>
                    <a:gd name="connsiteX94" fmla="*/ 1687852 w 4519952"/>
                    <a:gd name="connsiteY94" fmla="*/ 4343400 h 4496940"/>
                    <a:gd name="connsiteX95" fmla="*/ 1573552 w 4519952"/>
                    <a:gd name="connsiteY95" fmla="*/ 4305300 h 4496940"/>
                    <a:gd name="connsiteX96" fmla="*/ 1402102 w 4519952"/>
                    <a:gd name="connsiteY96" fmla="*/ 4276725 h 4496940"/>
                    <a:gd name="connsiteX97" fmla="*/ 1287802 w 4519952"/>
                    <a:gd name="connsiteY97" fmla="*/ 4229100 h 4496940"/>
                    <a:gd name="connsiteX98" fmla="*/ 1221127 w 4519952"/>
                    <a:gd name="connsiteY98" fmla="*/ 4200525 h 4496940"/>
                    <a:gd name="connsiteX99" fmla="*/ 1144927 w 4519952"/>
                    <a:gd name="connsiteY99" fmla="*/ 4171950 h 4496940"/>
                    <a:gd name="connsiteX100" fmla="*/ 1087777 w 4519952"/>
                    <a:gd name="connsiteY100" fmla="*/ 4143375 h 4496940"/>
                    <a:gd name="connsiteX101" fmla="*/ 1030627 w 4519952"/>
                    <a:gd name="connsiteY101" fmla="*/ 4124325 h 4496940"/>
                    <a:gd name="connsiteX102" fmla="*/ 925852 w 4519952"/>
                    <a:gd name="connsiteY102" fmla="*/ 4067175 h 4496940"/>
                    <a:gd name="connsiteX103" fmla="*/ 830602 w 4519952"/>
                    <a:gd name="connsiteY103" fmla="*/ 3981450 h 4496940"/>
                    <a:gd name="connsiteX104" fmla="*/ 763927 w 4519952"/>
                    <a:gd name="connsiteY104" fmla="*/ 3914775 h 4496940"/>
                    <a:gd name="connsiteX105" fmla="*/ 725827 w 4519952"/>
                    <a:gd name="connsiteY105" fmla="*/ 3876675 h 4496940"/>
                    <a:gd name="connsiteX106" fmla="*/ 697252 w 4519952"/>
                    <a:gd name="connsiteY106" fmla="*/ 3838575 h 4496940"/>
                    <a:gd name="connsiteX107" fmla="*/ 640102 w 4519952"/>
                    <a:gd name="connsiteY107" fmla="*/ 3781425 h 4496940"/>
                    <a:gd name="connsiteX108" fmla="*/ 611527 w 4519952"/>
                    <a:gd name="connsiteY108" fmla="*/ 3733800 h 4496940"/>
                    <a:gd name="connsiteX109" fmla="*/ 554377 w 4519952"/>
                    <a:gd name="connsiteY109" fmla="*/ 3657600 h 4496940"/>
                    <a:gd name="connsiteX110" fmla="*/ 525802 w 4519952"/>
                    <a:gd name="connsiteY110" fmla="*/ 3609975 h 4496940"/>
                    <a:gd name="connsiteX111" fmla="*/ 497227 w 4519952"/>
                    <a:gd name="connsiteY111" fmla="*/ 3552825 h 4496940"/>
                    <a:gd name="connsiteX112" fmla="*/ 440077 w 4519952"/>
                    <a:gd name="connsiteY112" fmla="*/ 3495675 h 4496940"/>
                    <a:gd name="connsiteX113" fmla="*/ 411502 w 4519952"/>
                    <a:gd name="connsiteY113" fmla="*/ 3448050 h 4496940"/>
                    <a:gd name="connsiteX114" fmla="*/ 278152 w 4519952"/>
                    <a:gd name="connsiteY114" fmla="*/ 3257550 h 4496940"/>
                    <a:gd name="connsiteX115" fmla="*/ 249577 w 4519952"/>
                    <a:gd name="connsiteY115" fmla="*/ 3200400 h 4496940"/>
                    <a:gd name="connsiteX116" fmla="*/ 240052 w 4519952"/>
                    <a:gd name="connsiteY116" fmla="*/ 3162300 h 4496940"/>
                    <a:gd name="connsiteX117" fmla="*/ 221002 w 4519952"/>
                    <a:gd name="connsiteY117" fmla="*/ 3105150 h 4496940"/>
                    <a:gd name="connsiteX118" fmla="*/ 173377 w 4519952"/>
                    <a:gd name="connsiteY118" fmla="*/ 3019425 h 4496940"/>
                    <a:gd name="connsiteX119" fmla="*/ 144802 w 4519952"/>
                    <a:gd name="connsiteY119" fmla="*/ 2924175 h 4496940"/>
                    <a:gd name="connsiteX120" fmla="*/ 68602 w 4519952"/>
                    <a:gd name="connsiteY120" fmla="*/ 2724150 h 4496940"/>
                    <a:gd name="connsiteX121" fmla="*/ 49552 w 4519952"/>
                    <a:gd name="connsiteY121" fmla="*/ 2638425 h 4496940"/>
                    <a:gd name="connsiteX122" fmla="*/ 40027 w 4519952"/>
                    <a:gd name="connsiteY122" fmla="*/ 2562225 h 4496940"/>
                    <a:gd name="connsiteX123" fmla="*/ 30502 w 4519952"/>
                    <a:gd name="connsiteY123" fmla="*/ 2514600 h 4496940"/>
                    <a:gd name="connsiteX124" fmla="*/ 11452 w 4519952"/>
                    <a:gd name="connsiteY124" fmla="*/ 2400300 h 4496940"/>
                    <a:gd name="connsiteX125" fmla="*/ 20977 w 4519952"/>
                    <a:gd name="connsiteY125" fmla="*/ 1905000 h 4496940"/>
                    <a:gd name="connsiteX126" fmla="*/ 30502 w 4519952"/>
                    <a:gd name="connsiteY126" fmla="*/ 1838325 h 4496940"/>
                    <a:gd name="connsiteX127" fmla="*/ 49552 w 4519952"/>
                    <a:gd name="connsiteY127" fmla="*/ 1781175 h 4496940"/>
                    <a:gd name="connsiteX128" fmla="*/ 59077 w 4519952"/>
                    <a:gd name="connsiteY128" fmla="*/ 1743075 h 4496940"/>
                    <a:gd name="connsiteX129" fmla="*/ 78127 w 4519952"/>
                    <a:gd name="connsiteY129" fmla="*/ 1685925 h 4496940"/>
                    <a:gd name="connsiteX130" fmla="*/ 87652 w 4519952"/>
                    <a:gd name="connsiteY130" fmla="*/ 1638300 h 4496940"/>
                    <a:gd name="connsiteX131" fmla="*/ 106702 w 4519952"/>
                    <a:gd name="connsiteY131" fmla="*/ 1590675 h 4496940"/>
                    <a:gd name="connsiteX132" fmla="*/ 135277 w 4519952"/>
                    <a:gd name="connsiteY132" fmla="*/ 1504950 h 4496940"/>
                    <a:gd name="connsiteX133" fmla="*/ 154327 w 4519952"/>
                    <a:gd name="connsiteY133" fmla="*/ 1419225 h 4496940"/>
                    <a:gd name="connsiteX134" fmla="*/ 230527 w 4519952"/>
                    <a:gd name="connsiteY134" fmla="*/ 1276350 h 4496940"/>
                    <a:gd name="connsiteX135" fmla="*/ 240052 w 4519952"/>
                    <a:gd name="connsiteY135" fmla="*/ 1247775 h 4496940"/>
                    <a:gd name="connsiteX136" fmla="*/ 268627 w 4519952"/>
                    <a:gd name="connsiteY136" fmla="*/ 1200150 h 4496940"/>
                    <a:gd name="connsiteX137" fmla="*/ 287677 w 4519952"/>
                    <a:gd name="connsiteY137" fmla="*/ 1152525 h 4496940"/>
                    <a:gd name="connsiteX138" fmla="*/ 316252 w 4519952"/>
                    <a:gd name="connsiteY138" fmla="*/ 1114425 h 4496940"/>
                    <a:gd name="connsiteX139" fmla="*/ 363877 w 4519952"/>
                    <a:gd name="connsiteY139" fmla="*/ 1038225 h 4496940"/>
                    <a:gd name="connsiteX140" fmla="*/ 382927 w 4519952"/>
                    <a:gd name="connsiteY140" fmla="*/ 1009650 h 4496940"/>
                    <a:gd name="connsiteX141" fmla="*/ 440077 w 4519952"/>
                    <a:gd name="connsiteY141" fmla="*/ 904875 h 4496940"/>
                    <a:gd name="connsiteX142" fmla="*/ 478177 w 4519952"/>
                    <a:gd name="connsiteY142" fmla="*/ 857250 h 4496940"/>
                    <a:gd name="connsiteX143" fmla="*/ 497227 w 4519952"/>
                    <a:gd name="connsiteY143" fmla="*/ 828675 h 4496940"/>
                    <a:gd name="connsiteX144" fmla="*/ 535327 w 4519952"/>
                    <a:gd name="connsiteY144" fmla="*/ 800100 h 4496940"/>
                    <a:gd name="connsiteX145" fmla="*/ 602002 w 4519952"/>
                    <a:gd name="connsiteY145" fmla="*/ 733425 h 4496940"/>
                    <a:gd name="connsiteX146" fmla="*/ 668677 w 4519952"/>
                    <a:gd name="connsiteY146" fmla="*/ 676275 h 4496940"/>
                    <a:gd name="connsiteX147" fmla="*/ 697252 w 4519952"/>
                    <a:gd name="connsiteY147" fmla="*/ 657225 h 4496940"/>
                    <a:gd name="connsiteX148" fmla="*/ 840127 w 4519952"/>
                    <a:gd name="connsiteY148" fmla="*/ 533400 h 4496940"/>
                    <a:gd name="connsiteX149" fmla="*/ 887752 w 4519952"/>
                    <a:gd name="connsiteY149" fmla="*/ 504825 h 4496940"/>
                    <a:gd name="connsiteX150" fmla="*/ 1167152 w 4519952"/>
                    <a:gd name="connsiteY150" fmla="*/ 311150 h 4496940"/>
                    <a:gd name="connsiteX151" fmla="*/ 1268752 w 4519952"/>
                    <a:gd name="connsiteY151" fmla="*/ 285750 h 4496940"/>
                    <a:gd name="connsiteX152" fmla="*/ 1411627 w 4519952"/>
                    <a:gd name="connsiteY152" fmla="*/ 190500 h 4496940"/>
                    <a:gd name="connsiteX153" fmla="*/ 1449727 w 4519952"/>
                    <a:gd name="connsiteY153" fmla="*/ 161925 h 4496940"/>
                    <a:gd name="connsiteX154" fmla="*/ 1525927 w 4519952"/>
                    <a:gd name="connsiteY154" fmla="*/ 152400 h 4496940"/>
                    <a:gd name="connsiteX155" fmla="*/ 1583077 w 4519952"/>
                    <a:gd name="connsiteY155" fmla="*/ 142875 h 4496940"/>
                    <a:gd name="connsiteX156" fmla="*/ 1716427 w 4519952"/>
                    <a:gd name="connsiteY156" fmla="*/ 123825 h 4496940"/>
                    <a:gd name="connsiteX157" fmla="*/ 1811677 w 4519952"/>
                    <a:gd name="connsiteY157" fmla="*/ 114300 h 4496940"/>
                    <a:gd name="connsiteX158" fmla="*/ 1859302 w 4519952"/>
                    <a:gd name="connsiteY158" fmla="*/ 104775 h 4496940"/>
                    <a:gd name="connsiteX159" fmla="*/ 1916452 w 4519952"/>
                    <a:gd name="connsiteY159" fmla="*/ 95250 h 4496940"/>
                    <a:gd name="connsiteX160" fmla="*/ 2030752 w 4519952"/>
                    <a:gd name="connsiteY160" fmla="*/ 66675 h 4496940"/>
                    <a:gd name="connsiteX161" fmla="*/ 2097427 w 4519952"/>
                    <a:gd name="connsiteY161" fmla="*/ 47625 h 4496940"/>
                    <a:gd name="connsiteX162" fmla="*/ 2164102 w 4519952"/>
                    <a:gd name="connsiteY162" fmla="*/ 38100 h 4496940"/>
                    <a:gd name="connsiteX163" fmla="*/ 2392702 w 45199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59627 w 4519952"/>
                    <a:gd name="connsiteY46" fmla="*/ 1828800 h 4496940"/>
                    <a:gd name="connsiteX47" fmla="*/ 4519952 w 4519952"/>
                    <a:gd name="connsiteY47" fmla="*/ 2181225 h 4496940"/>
                    <a:gd name="connsiteX48" fmla="*/ 4440577 w 4519952"/>
                    <a:gd name="connsiteY48" fmla="*/ 2876550 h 4496940"/>
                    <a:gd name="connsiteX49" fmla="*/ 4383427 w 4519952"/>
                    <a:gd name="connsiteY49" fmla="*/ 2990850 h 4496940"/>
                    <a:gd name="connsiteX50" fmla="*/ 4354852 w 4519952"/>
                    <a:gd name="connsiteY50" fmla="*/ 3057525 h 4496940"/>
                    <a:gd name="connsiteX51" fmla="*/ 4335802 w 4519952"/>
                    <a:gd name="connsiteY51" fmla="*/ 3095625 h 4496940"/>
                    <a:gd name="connsiteX52" fmla="*/ 4278652 w 4519952"/>
                    <a:gd name="connsiteY52" fmla="*/ 3248025 h 4496940"/>
                    <a:gd name="connsiteX53" fmla="*/ 4259602 w 4519952"/>
                    <a:gd name="connsiteY53" fmla="*/ 3276600 h 4496940"/>
                    <a:gd name="connsiteX54" fmla="*/ 4221502 w 4519952"/>
                    <a:gd name="connsiteY54" fmla="*/ 3333750 h 4496940"/>
                    <a:gd name="connsiteX55" fmla="*/ 4211977 w 4519952"/>
                    <a:gd name="connsiteY55" fmla="*/ 3362325 h 4496940"/>
                    <a:gd name="connsiteX56" fmla="*/ 4183402 w 4519952"/>
                    <a:gd name="connsiteY56" fmla="*/ 3400425 h 4496940"/>
                    <a:gd name="connsiteX57" fmla="*/ 4164352 w 4519952"/>
                    <a:gd name="connsiteY57" fmla="*/ 3429000 h 4496940"/>
                    <a:gd name="connsiteX58" fmla="*/ 4088152 w 4519952"/>
                    <a:gd name="connsiteY58" fmla="*/ 3495675 h 4496940"/>
                    <a:gd name="connsiteX59" fmla="*/ 4059577 w 4519952"/>
                    <a:gd name="connsiteY59" fmla="*/ 3533775 h 4496940"/>
                    <a:gd name="connsiteX60" fmla="*/ 4002427 w 4519952"/>
                    <a:gd name="connsiteY60" fmla="*/ 3600450 h 4496940"/>
                    <a:gd name="connsiteX61" fmla="*/ 3983377 w 4519952"/>
                    <a:gd name="connsiteY61" fmla="*/ 3629025 h 4496940"/>
                    <a:gd name="connsiteX62" fmla="*/ 3954802 w 4519952"/>
                    <a:gd name="connsiteY62" fmla="*/ 3648075 h 4496940"/>
                    <a:gd name="connsiteX63" fmla="*/ 3907177 w 4519952"/>
                    <a:gd name="connsiteY63" fmla="*/ 3686175 h 4496940"/>
                    <a:gd name="connsiteX64" fmla="*/ 3869077 w 4519952"/>
                    <a:gd name="connsiteY64" fmla="*/ 3724275 h 4496940"/>
                    <a:gd name="connsiteX65" fmla="*/ 3792877 w 4519952"/>
                    <a:gd name="connsiteY65" fmla="*/ 3781425 h 4496940"/>
                    <a:gd name="connsiteX66" fmla="*/ 3783352 w 4519952"/>
                    <a:gd name="connsiteY66" fmla="*/ 3810000 h 4496940"/>
                    <a:gd name="connsiteX67" fmla="*/ 3745252 w 4519952"/>
                    <a:gd name="connsiteY67" fmla="*/ 3819525 h 4496940"/>
                    <a:gd name="connsiteX68" fmla="*/ 3678577 w 4519952"/>
                    <a:gd name="connsiteY68" fmla="*/ 3848100 h 4496940"/>
                    <a:gd name="connsiteX69" fmla="*/ 3659527 w 4519952"/>
                    <a:gd name="connsiteY69" fmla="*/ 3971925 h 4496940"/>
                    <a:gd name="connsiteX70" fmla="*/ 3630952 w 4519952"/>
                    <a:gd name="connsiteY70" fmla="*/ 4010025 h 4496940"/>
                    <a:gd name="connsiteX71" fmla="*/ 3621427 w 4519952"/>
                    <a:gd name="connsiteY71" fmla="*/ 4038600 h 4496940"/>
                    <a:gd name="connsiteX72" fmla="*/ 3554752 w 4519952"/>
                    <a:gd name="connsiteY72" fmla="*/ 4095750 h 4496940"/>
                    <a:gd name="connsiteX73" fmla="*/ 3516652 w 4519952"/>
                    <a:gd name="connsiteY73" fmla="*/ 4114800 h 4496940"/>
                    <a:gd name="connsiteX74" fmla="*/ 3497602 w 4519952"/>
                    <a:gd name="connsiteY74" fmla="*/ 4143375 h 4496940"/>
                    <a:gd name="connsiteX75" fmla="*/ 3383302 w 4519952"/>
                    <a:gd name="connsiteY75" fmla="*/ 4210050 h 4496940"/>
                    <a:gd name="connsiteX76" fmla="*/ 3335677 w 4519952"/>
                    <a:gd name="connsiteY76" fmla="*/ 4238625 h 4496940"/>
                    <a:gd name="connsiteX77" fmla="*/ 3288052 w 4519952"/>
                    <a:gd name="connsiteY77" fmla="*/ 4248150 h 4496940"/>
                    <a:gd name="connsiteX78" fmla="*/ 3240427 w 4519952"/>
                    <a:gd name="connsiteY78" fmla="*/ 4267200 h 4496940"/>
                    <a:gd name="connsiteX79" fmla="*/ 3068977 w 4519952"/>
                    <a:gd name="connsiteY79" fmla="*/ 4286250 h 4496940"/>
                    <a:gd name="connsiteX80" fmla="*/ 2935627 w 4519952"/>
                    <a:gd name="connsiteY80" fmla="*/ 4333875 h 4496940"/>
                    <a:gd name="connsiteX81" fmla="*/ 2811802 w 4519952"/>
                    <a:gd name="connsiteY81" fmla="*/ 4371975 h 4496940"/>
                    <a:gd name="connsiteX82" fmla="*/ 2745127 w 4519952"/>
                    <a:gd name="connsiteY82" fmla="*/ 4410075 h 4496940"/>
                    <a:gd name="connsiteX83" fmla="*/ 2697502 w 4519952"/>
                    <a:gd name="connsiteY83" fmla="*/ 4429125 h 4496940"/>
                    <a:gd name="connsiteX84" fmla="*/ 2640352 w 4519952"/>
                    <a:gd name="connsiteY84" fmla="*/ 4457700 h 4496940"/>
                    <a:gd name="connsiteX85" fmla="*/ 2583202 w 4519952"/>
                    <a:gd name="connsiteY85" fmla="*/ 4467225 h 4496940"/>
                    <a:gd name="connsiteX86" fmla="*/ 2545102 w 4519952"/>
                    <a:gd name="connsiteY86" fmla="*/ 4486275 h 4496940"/>
                    <a:gd name="connsiteX87" fmla="*/ 2306977 w 4519952"/>
                    <a:gd name="connsiteY87" fmla="*/ 4476750 h 4496940"/>
                    <a:gd name="connsiteX88" fmla="*/ 2202202 w 4519952"/>
                    <a:gd name="connsiteY88" fmla="*/ 4457700 h 4496940"/>
                    <a:gd name="connsiteX89" fmla="*/ 2126002 w 4519952"/>
                    <a:gd name="connsiteY89" fmla="*/ 4429125 h 4496940"/>
                    <a:gd name="connsiteX90" fmla="*/ 1935502 w 4519952"/>
                    <a:gd name="connsiteY90" fmla="*/ 4400550 h 4496940"/>
                    <a:gd name="connsiteX91" fmla="*/ 1821202 w 4519952"/>
                    <a:gd name="connsiteY91" fmla="*/ 4371975 h 4496940"/>
                    <a:gd name="connsiteX92" fmla="*/ 1754527 w 4519952"/>
                    <a:gd name="connsiteY92" fmla="*/ 4352925 h 4496940"/>
                    <a:gd name="connsiteX93" fmla="*/ 1687852 w 4519952"/>
                    <a:gd name="connsiteY93" fmla="*/ 4343400 h 4496940"/>
                    <a:gd name="connsiteX94" fmla="*/ 1573552 w 4519952"/>
                    <a:gd name="connsiteY94" fmla="*/ 4305300 h 4496940"/>
                    <a:gd name="connsiteX95" fmla="*/ 1402102 w 4519952"/>
                    <a:gd name="connsiteY95" fmla="*/ 4276725 h 4496940"/>
                    <a:gd name="connsiteX96" fmla="*/ 1287802 w 4519952"/>
                    <a:gd name="connsiteY96" fmla="*/ 4229100 h 4496940"/>
                    <a:gd name="connsiteX97" fmla="*/ 1221127 w 4519952"/>
                    <a:gd name="connsiteY97" fmla="*/ 4200525 h 4496940"/>
                    <a:gd name="connsiteX98" fmla="*/ 1144927 w 4519952"/>
                    <a:gd name="connsiteY98" fmla="*/ 4171950 h 4496940"/>
                    <a:gd name="connsiteX99" fmla="*/ 1087777 w 4519952"/>
                    <a:gd name="connsiteY99" fmla="*/ 4143375 h 4496940"/>
                    <a:gd name="connsiteX100" fmla="*/ 1030627 w 4519952"/>
                    <a:gd name="connsiteY100" fmla="*/ 4124325 h 4496940"/>
                    <a:gd name="connsiteX101" fmla="*/ 925852 w 4519952"/>
                    <a:gd name="connsiteY101" fmla="*/ 4067175 h 4496940"/>
                    <a:gd name="connsiteX102" fmla="*/ 830602 w 4519952"/>
                    <a:gd name="connsiteY102" fmla="*/ 3981450 h 4496940"/>
                    <a:gd name="connsiteX103" fmla="*/ 763927 w 4519952"/>
                    <a:gd name="connsiteY103" fmla="*/ 3914775 h 4496940"/>
                    <a:gd name="connsiteX104" fmla="*/ 725827 w 4519952"/>
                    <a:gd name="connsiteY104" fmla="*/ 3876675 h 4496940"/>
                    <a:gd name="connsiteX105" fmla="*/ 697252 w 4519952"/>
                    <a:gd name="connsiteY105" fmla="*/ 3838575 h 4496940"/>
                    <a:gd name="connsiteX106" fmla="*/ 640102 w 4519952"/>
                    <a:gd name="connsiteY106" fmla="*/ 3781425 h 4496940"/>
                    <a:gd name="connsiteX107" fmla="*/ 611527 w 4519952"/>
                    <a:gd name="connsiteY107" fmla="*/ 3733800 h 4496940"/>
                    <a:gd name="connsiteX108" fmla="*/ 554377 w 4519952"/>
                    <a:gd name="connsiteY108" fmla="*/ 3657600 h 4496940"/>
                    <a:gd name="connsiteX109" fmla="*/ 525802 w 4519952"/>
                    <a:gd name="connsiteY109" fmla="*/ 3609975 h 4496940"/>
                    <a:gd name="connsiteX110" fmla="*/ 497227 w 4519952"/>
                    <a:gd name="connsiteY110" fmla="*/ 3552825 h 4496940"/>
                    <a:gd name="connsiteX111" fmla="*/ 440077 w 4519952"/>
                    <a:gd name="connsiteY111" fmla="*/ 3495675 h 4496940"/>
                    <a:gd name="connsiteX112" fmla="*/ 411502 w 4519952"/>
                    <a:gd name="connsiteY112" fmla="*/ 3448050 h 4496940"/>
                    <a:gd name="connsiteX113" fmla="*/ 278152 w 4519952"/>
                    <a:gd name="connsiteY113" fmla="*/ 3257550 h 4496940"/>
                    <a:gd name="connsiteX114" fmla="*/ 249577 w 4519952"/>
                    <a:gd name="connsiteY114" fmla="*/ 3200400 h 4496940"/>
                    <a:gd name="connsiteX115" fmla="*/ 240052 w 4519952"/>
                    <a:gd name="connsiteY115" fmla="*/ 3162300 h 4496940"/>
                    <a:gd name="connsiteX116" fmla="*/ 221002 w 4519952"/>
                    <a:gd name="connsiteY116" fmla="*/ 3105150 h 4496940"/>
                    <a:gd name="connsiteX117" fmla="*/ 173377 w 4519952"/>
                    <a:gd name="connsiteY117" fmla="*/ 3019425 h 4496940"/>
                    <a:gd name="connsiteX118" fmla="*/ 144802 w 4519952"/>
                    <a:gd name="connsiteY118" fmla="*/ 2924175 h 4496940"/>
                    <a:gd name="connsiteX119" fmla="*/ 68602 w 4519952"/>
                    <a:gd name="connsiteY119" fmla="*/ 2724150 h 4496940"/>
                    <a:gd name="connsiteX120" fmla="*/ 49552 w 4519952"/>
                    <a:gd name="connsiteY120" fmla="*/ 2638425 h 4496940"/>
                    <a:gd name="connsiteX121" fmla="*/ 40027 w 4519952"/>
                    <a:gd name="connsiteY121" fmla="*/ 2562225 h 4496940"/>
                    <a:gd name="connsiteX122" fmla="*/ 30502 w 4519952"/>
                    <a:gd name="connsiteY122" fmla="*/ 2514600 h 4496940"/>
                    <a:gd name="connsiteX123" fmla="*/ 11452 w 4519952"/>
                    <a:gd name="connsiteY123" fmla="*/ 2400300 h 4496940"/>
                    <a:gd name="connsiteX124" fmla="*/ 20977 w 4519952"/>
                    <a:gd name="connsiteY124" fmla="*/ 1905000 h 4496940"/>
                    <a:gd name="connsiteX125" fmla="*/ 30502 w 4519952"/>
                    <a:gd name="connsiteY125" fmla="*/ 1838325 h 4496940"/>
                    <a:gd name="connsiteX126" fmla="*/ 49552 w 4519952"/>
                    <a:gd name="connsiteY126" fmla="*/ 1781175 h 4496940"/>
                    <a:gd name="connsiteX127" fmla="*/ 59077 w 4519952"/>
                    <a:gd name="connsiteY127" fmla="*/ 1743075 h 4496940"/>
                    <a:gd name="connsiteX128" fmla="*/ 78127 w 4519952"/>
                    <a:gd name="connsiteY128" fmla="*/ 1685925 h 4496940"/>
                    <a:gd name="connsiteX129" fmla="*/ 87652 w 4519952"/>
                    <a:gd name="connsiteY129" fmla="*/ 1638300 h 4496940"/>
                    <a:gd name="connsiteX130" fmla="*/ 106702 w 4519952"/>
                    <a:gd name="connsiteY130" fmla="*/ 1590675 h 4496940"/>
                    <a:gd name="connsiteX131" fmla="*/ 135277 w 4519952"/>
                    <a:gd name="connsiteY131" fmla="*/ 1504950 h 4496940"/>
                    <a:gd name="connsiteX132" fmla="*/ 154327 w 4519952"/>
                    <a:gd name="connsiteY132" fmla="*/ 1419225 h 4496940"/>
                    <a:gd name="connsiteX133" fmla="*/ 230527 w 4519952"/>
                    <a:gd name="connsiteY133" fmla="*/ 1276350 h 4496940"/>
                    <a:gd name="connsiteX134" fmla="*/ 240052 w 4519952"/>
                    <a:gd name="connsiteY134" fmla="*/ 1247775 h 4496940"/>
                    <a:gd name="connsiteX135" fmla="*/ 268627 w 4519952"/>
                    <a:gd name="connsiteY135" fmla="*/ 1200150 h 4496940"/>
                    <a:gd name="connsiteX136" fmla="*/ 287677 w 4519952"/>
                    <a:gd name="connsiteY136" fmla="*/ 1152525 h 4496940"/>
                    <a:gd name="connsiteX137" fmla="*/ 316252 w 4519952"/>
                    <a:gd name="connsiteY137" fmla="*/ 1114425 h 4496940"/>
                    <a:gd name="connsiteX138" fmla="*/ 363877 w 4519952"/>
                    <a:gd name="connsiteY138" fmla="*/ 1038225 h 4496940"/>
                    <a:gd name="connsiteX139" fmla="*/ 382927 w 4519952"/>
                    <a:gd name="connsiteY139" fmla="*/ 1009650 h 4496940"/>
                    <a:gd name="connsiteX140" fmla="*/ 440077 w 4519952"/>
                    <a:gd name="connsiteY140" fmla="*/ 904875 h 4496940"/>
                    <a:gd name="connsiteX141" fmla="*/ 478177 w 4519952"/>
                    <a:gd name="connsiteY141" fmla="*/ 857250 h 4496940"/>
                    <a:gd name="connsiteX142" fmla="*/ 497227 w 4519952"/>
                    <a:gd name="connsiteY142" fmla="*/ 828675 h 4496940"/>
                    <a:gd name="connsiteX143" fmla="*/ 535327 w 4519952"/>
                    <a:gd name="connsiteY143" fmla="*/ 800100 h 4496940"/>
                    <a:gd name="connsiteX144" fmla="*/ 602002 w 4519952"/>
                    <a:gd name="connsiteY144" fmla="*/ 733425 h 4496940"/>
                    <a:gd name="connsiteX145" fmla="*/ 668677 w 4519952"/>
                    <a:gd name="connsiteY145" fmla="*/ 676275 h 4496940"/>
                    <a:gd name="connsiteX146" fmla="*/ 697252 w 4519952"/>
                    <a:gd name="connsiteY146" fmla="*/ 657225 h 4496940"/>
                    <a:gd name="connsiteX147" fmla="*/ 840127 w 4519952"/>
                    <a:gd name="connsiteY147" fmla="*/ 533400 h 4496940"/>
                    <a:gd name="connsiteX148" fmla="*/ 887752 w 4519952"/>
                    <a:gd name="connsiteY148" fmla="*/ 504825 h 4496940"/>
                    <a:gd name="connsiteX149" fmla="*/ 1167152 w 4519952"/>
                    <a:gd name="connsiteY149" fmla="*/ 311150 h 4496940"/>
                    <a:gd name="connsiteX150" fmla="*/ 1268752 w 4519952"/>
                    <a:gd name="connsiteY150" fmla="*/ 285750 h 4496940"/>
                    <a:gd name="connsiteX151" fmla="*/ 1411627 w 4519952"/>
                    <a:gd name="connsiteY151" fmla="*/ 190500 h 4496940"/>
                    <a:gd name="connsiteX152" fmla="*/ 1449727 w 4519952"/>
                    <a:gd name="connsiteY152" fmla="*/ 161925 h 4496940"/>
                    <a:gd name="connsiteX153" fmla="*/ 1525927 w 4519952"/>
                    <a:gd name="connsiteY153" fmla="*/ 152400 h 4496940"/>
                    <a:gd name="connsiteX154" fmla="*/ 1583077 w 4519952"/>
                    <a:gd name="connsiteY154" fmla="*/ 142875 h 4496940"/>
                    <a:gd name="connsiteX155" fmla="*/ 1716427 w 4519952"/>
                    <a:gd name="connsiteY155" fmla="*/ 123825 h 4496940"/>
                    <a:gd name="connsiteX156" fmla="*/ 1811677 w 4519952"/>
                    <a:gd name="connsiteY156" fmla="*/ 114300 h 4496940"/>
                    <a:gd name="connsiteX157" fmla="*/ 1859302 w 4519952"/>
                    <a:gd name="connsiteY157" fmla="*/ 104775 h 4496940"/>
                    <a:gd name="connsiteX158" fmla="*/ 1916452 w 4519952"/>
                    <a:gd name="connsiteY158" fmla="*/ 95250 h 4496940"/>
                    <a:gd name="connsiteX159" fmla="*/ 2030752 w 4519952"/>
                    <a:gd name="connsiteY159" fmla="*/ 66675 h 4496940"/>
                    <a:gd name="connsiteX160" fmla="*/ 2097427 w 4519952"/>
                    <a:gd name="connsiteY160" fmla="*/ 47625 h 4496940"/>
                    <a:gd name="connsiteX161" fmla="*/ 2164102 w 4519952"/>
                    <a:gd name="connsiteY161" fmla="*/ 38100 h 4496940"/>
                    <a:gd name="connsiteX162" fmla="*/ 2392702 w 4519952"/>
                    <a:gd name="connsiteY162" fmla="*/ 28575 h 4496940"/>
                    <a:gd name="connsiteX0" fmla="*/ 2297452 w 4519983"/>
                    <a:gd name="connsiteY0" fmla="*/ 0 h 4496940"/>
                    <a:gd name="connsiteX1" fmla="*/ 2421277 w 4519983"/>
                    <a:gd name="connsiteY1" fmla="*/ 28575 h 4496940"/>
                    <a:gd name="connsiteX2" fmla="*/ 2497477 w 4519983"/>
                    <a:gd name="connsiteY2" fmla="*/ 47625 h 4496940"/>
                    <a:gd name="connsiteX3" fmla="*/ 2754652 w 4519983"/>
                    <a:gd name="connsiteY3" fmla="*/ 66675 h 4496940"/>
                    <a:gd name="connsiteX4" fmla="*/ 2830852 w 4519983"/>
                    <a:gd name="connsiteY4" fmla="*/ 76200 h 4496940"/>
                    <a:gd name="connsiteX5" fmla="*/ 2916577 w 4519983"/>
                    <a:gd name="connsiteY5" fmla="*/ 85725 h 4496940"/>
                    <a:gd name="connsiteX6" fmla="*/ 2973727 w 4519983"/>
                    <a:gd name="connsiteY6" fmla="*/ 114300 h 4496940"/>
                    <a:gd name="connsiteX7" fmla="*/ 3011827 w 4519983"/>
                    <a:gd name="connsiteY7" fmla="*/ 123825 h 4496940"/>
                    <a:gd name="connsiteX8" fmla="*/ 3135652 w 4519983"/>
                    <a:gd name="connsiteY8" fmla="*/ 171450 h 4496940"/>
                    <a:gd name="connsiteX9" fmla="*/ 3173752 w 4519983"/>
                    <a:gd name="connsiteY9" fmla="*/ 190500 h 4496940"/>
                    <a:gd name="connsiteX10" fmla="*/ 3240427 w 4519983"/>
                    <a:gd name="connsiteY10" fmla="*/ 228600 h 4496940"/>
                    <a:gd name="connsiteX11" fmla="*/ 3269002 w 4519983"/>
                    <a:gd name="connsiteY11" fmla="*/ 238125 h 4496940"/>
                    <a:gd name="connsiteX12" fmla="*/ 3297577 w 4519983"/>
                    <a:gd name="connsiteY12" fmla="*/ 257175 h 4496940"/>
                    <a:gd name="connsiteX13" fmla="*/ 3326152 w 4519983"/>
                    <a:gd name="connsiteY13" fmla="*/ 266700 h 4496940"/>
                    <a:gd name="connsiteX14" fmla="*/ 3354727 w 4519983"/>
                    <a:gd name="connsiteY14" fmla="*/ 285750 h 4496940"/>
                    <a:gd name="connsiteX15" fmla="*/ 3421402 w 4519983"/>
                    <a:gd name="connsiteY15" fmla="*/ 323850 h 4496940"/>
                    <a:gd name="connsiteX16" fmla="*/ 3469027 w 4519983"/>
                    <a:gd name="connsiteY16" fmla="*/ 361950 h 4496940"/>
                    <a:gd name="connsiteX17" fmla="*/ 3516652 w 4519983"/>
                    <a:gd name="connsiteY17" fmla="*/ 390525 h 4496940"/>
                    <a:gd name="connsiteX18" fmla="*/ 3545227 w 4519983"/>
                    <a:gd name="connsiteY18" fmla="*/ 419100 h 4496940"/>
                    <a:gd name="connsiteX19" fmla="*/ 3602377 w 4519983"/>
                    <a:gd name="connsiteY19" fmla="*/ 457200 h 4496940"/>
                    <a:gd name="connsiteX20" fmla="*/ 3630952 w 4519983"/>
                    <a:gd name="connsiteY20" fmla="*/ 485775 h 4496940"/>
                    <a:gd name="connsiteX21" fmla="*/ 3678577 w 4519983"/>
                    <a:gd name="connsiteY21" fmla="*/ 504825 h 4496940"/>
                    <a:gd name="connsiteX22" fmla="*/ 3745252 w 4519983"/>
                    <a:gd name="connsiteY22" fmla="*/ 542925 h 4496940"/>
                    <a:gd name="connsiteX23" fmla="*/ 3811927 w 4519983"/>
                    <a:gd name="connsiteY23" fmla="*/ 581025 h 4496940"/>
                    <a:gd name="connsiteX24" fmla="*/ 3840502 w 4519983"/>
                    <a:gd name="connsiteY24" fmla="*/ 600075 h 4496940"/>
                    <a:gd name="connsiteX25" fmla="*/ 3869077 w 4519983"/>
                    <a:gd name="connsiteY25" fmla="*/ 628650 h 4496940"/>
                    <a:gd name="connsiteX26" fmla="*/ 3907177 w 4519983"/>
                    <a:gd name="connsiteY26" fmla="*/ 647700 h 4496940"/>
                    <a:gd name="connsiteX27" fmla="*/ 3935752 w 4519983"/>
                    <a:gd name="connsiteY27" fmla="*/ 676275 h 4496940"/>
                    <a:gd name="connsiteX28" fmla="*/ 3992902 w 4519983"/>
                    <a:gd name="connsiteY28" fmla="*/ 714375 h 4496940"/>
                    <a:gd name="connsiteX29" fmla="*/ 4050052 w 4519983"/>
                    <a:gd name="connsiteY29" fmla="*/ 790575 h 4496940"/>
                    <a:gd name="connsiteX30" fmla="*/ 4078627 w 4519983"/>
                    <a:gd name="connsiteY30" fmla="*/ 838200 h 4496940"/>
                    <a:gd name="connsiteX31" fmla="*/ 4107202 w 4519983"/>
                    <a:gd name="connsiteY31" fmla="*/ 876300 h 4496940"/>
                    <a:gd name="connsiteX32" fmla="*/ 4116727 w 4519983"/>
                    <a:gd name="connsiteY32" fmla="*/ 904875 h 4496940"/>
                    <a:gd name="connsiteX33" fmla="*/ 4135777 w 4519983"/>
                    <a:gd name="connsiteY33" fmla="*/ 933450 h 4496940"/>
                    <a:gd name="connsiteX34" fmla="*/ 4164352 w 4519983"/>
                    <a:gd name="connsiteY34" fmla="*/ 990600 h 4496940"/>
                    <a:gd name="connsiteX35" fmla="*/ 4173877 w 4519983"/>
                    <a:gd name="connsiteY35" fmla="*/ 1019175 h 4496940"/>
                    <a:gd name="connsiteX36" fmla="*/ 4192927 w 4519983"/>
                    <a:gd name="connsiteY36" fmla="*/ 1057275 h 4496940"/>
                    <a:gd name="connsiteX37" fmla="*/ 4202452 w 4519983"/>
                    <a:gd name="connsiteY37" fmla="*/ 1085850 h 4496940"/>
                    <a:gd name="connsiteX38" fmla="*/ 4250077 w 4519983"/>
                    <a:gd name="connsiteY38" fmla="*/ 1143000 h 4496940"/>
                    <a:gd name="connsiteX39" fmla="*/ 4259602 w 4519983"/>
                    <a:gd name="connsiteY39" fmla="*/ 1190625 h 4496940"/>
                    <a:gd name="connsiteX40" fmla="*/ 4307227 w 4519983"/>
                    <a:gd name="connsiteY40" fmla="*/ 1266825 h 4496940"/>
                    <a:gd name="connsiteX41" fmla="*/ 4345327 w 4519983"/>
                    <a:gd name="connsiteY41" fmla="*/ 1362075 h 4496940"/>
                    <a:gd name="connsiteX42" fmla="*/ 4373902 w 4519983"/>
                    <a:gd name="connsiteY42" fmla="*/ 1428750 h 4496940"/>
                    <a:gd name="connsiteX43" fmla="*/ 4392952 w 4519983"/>
                    <a:gd name="connsiteY43" fmla="*/ 1552575 h 4496940"/>
                    <a:gd name="connsiteX44" fmla="*/ 4402477 w 4519983"/>
                    <a:gd name="connsiteY44" fmla="*/ 1590675 h 4496940"/>
                    <a:gd name="connsiteX45" fmla="*/ 4431052 w 4519983"/>
                    <a:gd name="connsiteY45" fmla="*/ 1685925 h 4496940"/>
                    <a:gd name="connsiteX46" fmla="*/ 4519952 w 4519983"/>
                    <a:gd name="connsiteY46" fmla="*/ 2181225 h 4496940"/>
                    <a:gd name="connsiteX47" fmla="*/ 4440577 w 4519983"/>
                    <a:gd name="connsiteY47" fmla="*/ 2876550 h 4496940"/>
                    <a:gd name="connsiteX48" fmla="*/ 4383427 w 4519983"/>
                    <a:gd name="connsiteY48" fmla="*/ 2990850 h 4496940"/>
                    <a:gd name="connsiteX49" fmla="*/ 4354852 w 4519983"/>
                    <a:gd name="connsiteY49" fmla="*/ 3057525 h 4496940"/>
                    <a:gd name="connsiteX50" fmla="*/ 4335802 w 4519983"/>
                    <a:gd name="connsiteY50" fmla="*/ 3095625 h 4496940"/>
                    <a:gd name="connsiteX51" fmla="*/ 4278652 w 4519983"/>
                    <a:gd name="connsiteY51" fmla="*/ 3248025 h 4496940"/>
                    <a:gd name="connsiteX52" fmla="*/ 4259602 w 4519983"/>
                    <a:gd name="connsiteY52" fmla="*/ 3276600 h 4496940"/>
                    <a:gd name="connsiteX53" fmla="*/ 4221502 w 4519983"/>
                    <a:gd name="connsiteY53" fmla="*/ 3333750 h 4496940"/>
                    <a:gd name="connsiteX54" fmla="*/ 4211977 w 4519983"/>
                    <a:gd name="connsiteY54" fmla="*/ 3362325 h 4496940"/>
                    <a:gd name="connsiteX55" fmla="*/ 4183402 w 4519983"/>
                    <a:gd name="connsiteY55" fmla="*/ 3400425 h 4496940"/>
                    <a:gd name="connsiteX56" fmla="*/ 4164352 w 4519983"/>
                    <a:gd name="connsiteY56" fmla="*/ 3429000 h 4496940"/>
                    <a:gd name="connsiteX57" fmla="*/ 4088152 w 4519983"/>
                    <a:gd name="connsiteY57" fmla="*/ 3495675 h 4496940"/>
                    <a:gd name="connsiteX58" fmla="*/ 4059577 w 4519983"/>
                    <a:gd name="connsiteY58" fmla="*/ 3533775 h 4496940"/>
                    <a:gd name="connsiteX59" fmla="*/ 4002427 w 4519983"/>
                    <a:gd name="connsiteY59" fmla="*/ 3600450 h 4496940"/>
                    <a:gd name="connsiteX60" fmla="*/ 3983377 w 4519983"/>
                    <a:gd name="connsiteY60" fmla="*/ 3629025 h 4496940"/>
                    <a:gd name="connsiteX61" fmla="*/ 3954802 w 4519983"/>
                    <a:gd name="connsiteY61" fmla="*/ 3648075 h 4496940"/>
                    <a:gd name="connsiteX62" fmla="*/ 3907177 w 4519983"/>
                    <a:gd name="connsiteY62" fmla="*/ 3686175 h 4496940"/>
                    <a:gd name="connsiteX63" fmla="*/ 3869077 w 4519983"/>
                    <a:gd name="connsiteY63" fmla="*/ 3724275 h 4496940"/>
                    <a:gd name="connsiteX64" fmla="*/ 3792877 w 4519983"/>
                    <a:gd name="connsiteY64" fmla="*/ 3781425 h 4496940"/>
                    <a:gd name="connsiteX65" fmla="*/ 3783352 w 4519983"/>
                    <a:gd name="connsiteY65" fmla="*/ 3810000 h 4496940"/>
                    <a:gd name="connsiteX66" fmla="*/ 3745252 w 4519983"/>
                    <a:gd name="connsiteY66" fmla="*/ 3819525 h 4496940"/>
                    <a:gd name="connsiteX67" fmla="*/ 3678577 w 4519983"/>
                    <a:gd name="connsiteY67" fmla="*/ 3848100 h 4496940"/>
                    <a:gd name="connsiteX68" fmla="*/ 3659527 w 4519983"/>
                    <a:gd name="connsiteY68" fmla="*/ 3971925 h 4496940"/>
                    <a:gd name="connsiteX69" fmla="*/ 3630952 w 4519983"/>
                    <a:gd name="connsiteY69" fmla="*/ 4010025 h 4496940"/>
                    <a:gd name="connsiteX70" fmla="*/ 3621427 w 4519983"/>
                    <a:gd name="connsiteY70" fmla="*/ 4038600 h 4496940"/>
                    <a:gd name="connsiteX71" fmla="*/ 3554752 w 4519983"/>
                    <a:gd name="connsiteY71" fmla="*/ 4095750 h 4496940"/>
                    <a:gd name="connsiteX72" fmla="*/ 3516652 w 4519983"/>
                    <a:gd name="connsiteY72" fmla="*/ 4114800 h 4496940"/>
                    <a:gd name="connsiteX73" fmla="*/ 3497602 w 4519983"/>
                    <a:gd name="connsiteY73" fmla="*/ 4143375 h 4496940"/>
                    <a:gd name="connsiteX74" fmla="*/ 3383302 w 4519983"/>
                    <a:gd name="connsiteY74" fmla="*/ 4210050 h 4496940"/>
                    <a:gd name="connsiteX75" fmla="*/ 3335677 w 4519983"/>
                    <a:gd name="connsiteY75" fmla="*/ 4238625 h 4496940"/>
                    <a:gd name="connsiteX76" fmla="*/ 3288052 w 4519983"/>
                    <a:gd name="connsiteY76" fmla="*/ 4248150 h 4496940"/>
                    <a:gd name="connsiteX77" fmla="*/ 3240427 w 4519983"/>
                    <a:gd name="connsiteY77" fmla="*/ 4267200 h 4496940"/>
                    <a:gd name="connsiteX78" fmla="*/ 3068977 w 4519983"/>
                    <a:gd name="connsiteY78" fmla="*/ 4286250 h 4496940"/>
                    <a:gd name="connsiteX79" fmla="*/ 2935627 w 4519983"/>
                    <a:gd name="connsiteY79" fmla="*/ 4333875 h 4496940"/>
                    <a:gd name="connsiteX80" fmla="*/ 2811802 w 4519983"/>
                    <a:gd name="connsiteY80" fmla="*/ 4371975 h 4496940"/>
                    <a:gd name="connsiteX81" fmla="*/ 2745127 w 4519983"/>
                    <a:gd name="connsiteY81" fmla="*/ 4410075 h 4496940"/>
                    <a:gd name="connsiteX82" fmla="*/ 2697502 w 4519983"/>
                    <a:gd name="connsiteY82" fmla="*/ 4429125 h 4496940"/>
                    <a:gd name="connsiteX83" fmla="*/ 2640352 w 4519983"/>
                    <a:gd name="connsiteY83" fmla="*/ 4457700 h 4496940"/>
                    <a:gd name="connsiteX84" fmla="*/ 2583202 w 4519983"/>
                    <a:gd name="connsiteY84" fmla="*/ 4467225 h 4496940"/>
                    <a:gd name="connsiteX85" fmla="*/ 2545102 w 4519983"/>
                    <a:gd name="connsiteY85" fmla="*/ 4486275 h 4496940"/>
                    <a:gd name="connsiteX86" fmla="*/ 2306977 w 4519983"/>
                    <a:gd name="connsiteY86" fmla="*/ 4476750 h 4496940"/>
                    <a:gd name="connsiteX87" fmla="*/ 2202202 w 4519983"/>
                    <a:gd name="connsiteY87" fmla="*/ 4457700 h 4496940"/>
                    <a:gd name="connsiteX88" fmla="*/ 2126002 w 4519983"/>
                    <a:gd name="connsiteY88" fmla="*/ 4429125 h 4496940"/>
                    <a:gd name="connsiteX89" fmla="*/ 1935502 w 4519983"/>
                    <a:gd name="connsiteY89" fmla="*/ 4400550 h 4496940"/>
                    <a:gd name="connsiteX90" fmla="*/ 1821202 w 4519983"/>
                    <a:gd name="connsiteY90" fmla="*/ 4371975 h 4496940"/>
                    <a:gd name="connsiteX91" fmla="*/ 1754527 w 4519983"/>
                    <a:gd name="connsiteY91" fmla="*/ 4352925 h 4496940"/>
                    <a:gd name="connsiteX92" fmla="*/ 1687852 w 4519983"/>
                    <a:gd name="connsiteY92" fmla="*/ 4343400 h 4496940"/>
                    <a:gd name="connsiteX93" fmla="*/ 1573552 w 4519983"/>
                    <a:gd name="connsiteY93" fmla="*/ 4305300 h 4496940"/>
                    <a:gd name="connsiteX94" fmla="*/ 1402102 w 4519983"/>
                    <a:gd name="connsiteY94" fmla="*/ 4276725 h 4496940"/>
                    <a:gd name="connsiteX95" fmla="*/ 1287802 w 4519983"/>
                    <a:gd name="connsiteY95" fmla="*/ 4229100 h 4496940"/>
                    <a:gd name="connsiteX96" fmla="*/ 1221127 w 4519983"/>
                    <a:gd name="connsiteY96" fmla="*/ 4200525 h 4496940"/>
                    <a:gd name="connsiteX97" fmla="*/ 1144927 w 4519983"/>
                    <a:gd name="connsiteY97" fmla="*/ 4171950 h 4496940"/>
                    <a:gd name="connsiteX98" fmla="*/ 1087777 w 4519983"/>
                    <a:gd name="connsiteY98" fmla="*/ 4143375 h 4496940"/>
                    <a:gd name="connsiteX99" fmla="*/ 1030627 w 4519983"/>
                    <a:gd name="connsiteY99" fmla="*/ 4124325 h 4496940"/>
                    <a:gd name="connsiteX100" fmla="*/ 925852 w 4519983"/>
                    <a:gd name="connsiteY100" fmla="*/ 4067175 h 4496940"/>
                    <a:gd name="connsiteX101" fmla="*/ 830602 w 4519983"/>
                    <a:gd name="connsiteY101" fmla="*/ 3981450 h 4496940"/>
                    <a:gd name="connsiteX102" fmla="*/ 763927 w 4519983"/>
                    <a:gd name="connsiteY102" fmla="*/ 3914775 h 4496940"/>
                    <a:gd name="connsiteX103" fmla="*/ 725827 w 4519983"/>
                    <a:gd name="connsiteY103" fmla="*/ 3876675 h 4496940"/>
                    <a:gd name="connsiteX104" fmla="*/ 697252 w 4519983"/>
                    <a:gd name="connsiteY104" fmla="*/ 3838575 h 4496940"/>
                    <a:gd name="connsiteX105" fmla="*/ 640102 w 4519983"/>
                    <a:gd name="connsiteY105" fmla="*/ 3781425 h 4496940"/>
                    <a:gd name="connsiteX106" fmla="*/ 611527 w 4519983"/>
                    <a:gd name="connsiteY106" fmla="*/ 3733800 h 4496940"/>
                    <a:gd name="connsiteX107" fmla="*/ 554377 w 4519983"/>
                    <a:gd name="connsiteY107" fmla="*/ 3657600 h 4496940"/>
                    <a:gd name="connsiteX108" fmla="*/ 525802 w 4519983"/>
                    <a:gd name="connsiteY108" fmla="*/ 3609975 h 4496940"/>
                    <a:gd name="connsiteX109" fmla="*/ 497227 w 4519983"/>
                    <a:gd name="connsiteY109" fmla="*/ 3552825 h 4496940"/>
                    <a:gd name="connsiteX110" fmla="*/ 440077 w 4519983"/>
                    <a:gd name="connsiteY110" fmla="*/ 3495675 h 4496940"/>
                    <a:gd name="connsiteX111" fmla="*/ 411502 w 4519983"/>
                    <a:gd name="connsiteY111" fmla="*/ 3448050 h 4496940"/>
                    <a:gd name="connsiteX112" fmla="*/ 278152 w 4519983"/>
                    <a:gd name="connsiteY112" fmla="*/ 3257550 h 4496940"/>
                    <a:gd name="connsiteX113" fmla="*/ 249577 w 4519983"/>
                    <a:gd name="connsiteY113" fmla="*/ 3200400 h 4496940"/>
                    <a:gd name="connsiteX114" fmla="*/ 240052 w 4519983"/>
                    <a:gd name="connsiteY114" fmla="*/ 3162300 h 4496940"/>
                    <a:gd name="connsiteX115" fmla="*/ 221002 w 4519983"/>
                    <a:gd name="connsiteY115" fmla="*/ 3105150 h 4496940"/>
                    <a:gd name="connsiteX116" fmla="*/ 173377 w 4519983"/>
                    <a:gd name="connsiteY116" fmla="*/ 3019425 h 4496940"/>
                    <a:gd name="connsiteX117" fmla="*/ 144802 w 4519983"/>
                    <a:gd name="connsiteY117" fmla="*/ 2924175 h 4496940"/>
                    <a:gd name="connsiteX118" fmla="*/ 68602 w 4519983"/>
                    <a:gd name="connsiteY118" fmla="*/ 2724150 h 4496940"/>
                    <a:gd name="connsiteX119" fmla="*/ 49552 w 4519983"/>
                    <a:gd name="connsiteY119" fmla="*/ 2638425 h 4496940"/>
                    <a:gd name="connsiteX120" fmla="*/ 40027 w 4519983"/>
                    <a:gd name="connsiteY120" fmla="*/ 2562225 h 4496940"/>
                    <a:gd name="connsiteX121" fmla="*/ 30502 w 4519983"/>
                    <a:gd name="connsiteY121" fmla="*/ 2514600 h 4496940"/>
                    <a:gd name="connsiteX122" fmla="*/ 11452 w 4519983"/>
                    <a:gd name="connsiteY122" fmla="*/ 2400300 h 4496940"/>
                    <a:gd name="connsiteX123" fmla="*/ 20977 w 4519983"/>
                    <a:gd name="connsiteY123" fmla="*/ 1905000 h 4496940"/>
                    <a:gd name="connsiteX124" fmla="*/ 30502 w 4519983"/>
                    <a:gd name="connsiteY124" fmla="*/ 1838325 h 4496940"/>
                    <a:gd name="connsiteX125" fmla="*/ 49552 w 4519983"/>
                    <a:gd name="connsiteY125" fmla="*/ 1781175 h 4496940"/>
                    <a:gd name="connsiteX126" fmla="*/ 59077 w 4519983"/>
                    <a:gd name="connsiteY126" fmla="*/ 1743075 h 4496940"/>
                    <a:gd name="connsiteX127" fmla="*/ 78127 w 4519983"/>
                    <a:gd name="connsiteY127" fmla="*/ 1685925 h 4496940"/>
                    <a:gd name="connsiteX128" fmla="*/ 87652 w 4519983"/>
                    <a:gd name="connsiteY128" fmla="*/ 1638300 h 4496940"/>
                    <a:gd name="connsiteX129" fmla="*/ 106702 w 4519983"/>
                    <a:gd name="connsiteY129" fmla="*/ 1590675 h 4496940"/>
                    <a:gd name="connsiteX130" fmla="*/ 135277 w 4519983"/>
                    <a:gd name="connsiteY130" fmla="*/ 1504950 h 4496940"/>
                    <a:gd name="connsiteX131" fmla="*/ 154327 w 4519983"/>
                    <a:gd name="connsiteY131" fmla="*/ 1419225 h 4496940"/>
                    <a:gd name="connsiteX132" fmla="*/ 230527 w 4519983"/>
                    <a:gd name="connsiteY132" fmla="*/ 1276350 h 4496940"/>
                    <a:gd name="connsiteX133" fmla="*/ 240052 w 4519983"/>
                    <a:gd name="connsiteY133" fmla="*/ 1247775 h 4496940"/>
                    <a:gd name="connsiteX134" fmla="*/ 268627 w 4519983"/>
                    <a:gd name="connsiteY134" fmla="*/ 1200150 h 4496940"/>
                    <a:gd name="connsiteX135" fmla="*/ 287677 w 4519983"/>
                    <a:gd name="connsiteY135" fmla="*/ 1152525 h 4496940"/>
                    <a:gd name="connsiteX136" fmla="*/ 316252 w 4519983"/>
                    <a:gd name="connsiteY136" fmla="*/ 1114425 h 4496940"/>
                    <a:gd name="connsiteX137" fmla="*/ 363877 w 4519983"/>
                    <a:gd name="connsiteY137" fmla="*/ 1038225 h 4496940"/>
                    <a:gd name="connsiteX138" fmla="*/ 382927 w 4519983"/>
                    <a:gd name="connsiteY138" fmla="*/ 1009650 h 4496940"/>
                    <a:gd name="connsiteX139" fmla="*/ 440077 w 4519983"/>
                    <a:gd name="connsiteY139" fmla="*/ 904875 h 4496940"/>
                    <a:gd name="connsiteX140" fmla="*/ 478177 w 4519983"/>
                    <a:gd name="connsiteY140" fmla="*/ 857250 h 4496940"/>
                    <a:gd name="connsiteX141" fmla="*/ 497227 w 4519983"/>
                    <a:gd name="connsiteY141" fmla="*/ 828675 h 4496940"/>
                    <a:gd name="connsiteX142" fmla="*/ 535327 w 4519983"/>
                    <a:gd name="connsiteY142" fmla="*/ 800100 h 4496940"/>
                    <a:gd name="connsiteX143" fmla="*/ 602002 w 4519983"/>
                    <a:gd name="connsiteY143" fmla="*/ 733425 h 4496940"/>
                    <a:gd name="connsiteX144" fmla="*/ 668677 w 4519983"/>
                    <a:gd name="connsiteY144" fmla="*/ 676275 h 4496940"/>
                    <a:gd name="connsiteX145" fmla="*/ 697252 w 4519983"/>
                    <a:gd name="connsiteY145" fmla="*/ 657225 h 4496940"/>
                    <a:gd name="connsiteX146" fmla="*/ 840127 w 4519983"/>
                    <a:gd name="connsiteY146" fmla="*/ 533400 h 4496940"/>
                    <a:gd name="connsiteX147" fmla="*/ 887752 w 4519983"/>
                    <a:gd name="connsiteY147" fmla="*/ 504825 h 4496940"/>
                    <a:gd name="connsiteX148" fmla="*/ 1167152 w 4519983"/>
                    <a:gd name="connsiteY148" fmla="*/ 311150 h 4496940"/>
                    <a:gd name="connsiteX149" fmla="*/ 1268752 w 4519983"/>
                    <a:gd name="connsiteY149" fmla="*/ 285750 h 4496940"/>
                    <a:gd name="connsiteX150" fmla="*/ 1411627 w 4519983"/>
                    <a:gd name="connsiteY150" fmla="*/ 190500 h 4496940"/>
                    <a:gd name="connsiteX151" fmla="*/ 1449727 w 4519983"/>
                    <a:gd name="connsiteY151" fmla="*/ 161925 h 4496940"/>
                    <a:gd name="connsiteX152" fmla="*/ 1525927 w 4519983"/>
                    <a:gd name="connsiteY152" fmla="*/ 152400 h 4496940"/>
                    <a:gd name="connsiteX153" fmla="*/ 1583077 w 4519983"/>
                    <a:gd name="connsiteY153" fmla="*/ 142875 h 4496940"/>
                    <a:gd name="connsiteX154" fmla="*/ 1716427 w 4519983"/>
                    <a:gd name="connsiteY154" fmla="*/ 123825 h 4496940"/>
                    <a:gd name="connsiteX155" fmla="*/ 1811677 w 4519983"/>
                    <a:gd name="connsiteY155" fmla="*/ 114300 h 4496940"/>
                    <a:gd name="connsiteX156" fmla="*/ 1859302 w 4519983"/>
                    <a:gd name="connsiteY156" fmla="*/ 104775 h 4496940"/>
                    <a:gd name="connsiteX157" fmla="*/ 1916452 w 4519983"/>
                    <a:gd name="connsiteY157" fmla="*/ 95250 h 4496940"/>
                    <a:gd name="connsiteX158" fmla="*/ 2030752 w 4519983"/>
                    <a:gd name="connsiteY158" fmla="*/ 66675 h 4496940"/>
                    <a:gd name="connsiteX159" fmla="*/ 2097427 w 4519983"/>
                    <a:gd name="connsiteY159" fmla="*/ 47625 h 4496940"/>
                    <a:gd name="connsiteX160" fmla="*/ 2164102 w 4519983"/>
                    <a:gd name="connsiteY160" fmla="*/ 38100 h 4496940"/>
                    <a:gd name="connsiteX161" fmla="*/ 2392702 w 4519983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335802 w 4519987"/>
                    <a:gd name="connsiteY50" fmla="*/ 3095625 h 4496940"/>
                    <a:gd name="connsiteX51" fmla="*/ 4278652 w 4519987"/>
                    <a:gd name="connsiteY51" fmla="*/ 3248025 h 4496940"/>
                    <a:gd name="connsiteX52" fmla="*/ 4259602 w 4519987"/>
                    <a:gd name="connsiteY52" fmla="*/ 3276600 h 4496940"/>
                    <a:gd name="connsiteX53" fmla="*/ 4221502 w 4519987"/>
                    <a:gd name="connsiteY53" fmla="*/ 3333750 h 4496940"/>
                    <a:gd name="connsiteX54" fmla="*/ 4211977 w 4519987"/>
                    <a:gd name="connsiteY54" fmla="*/ 3362325 h 4496940"/>
                    <a:gd name="connsiteX55" fmla="*/ 4183402 w 4519987"/>
                    <a:gd name="connsiteY55" fmla="*/ 3400425 h 4496940"/>
                    <a:gd name="connsiteX56" fmla="*/ 4164352 w 4519987"/>
                    <a:gd name="connsiteY56" fmla="*/ 3429000 h 4496940"/>
                    <a:gd name="connsiteX57" fmla="*/ 4088152 w 4519987"/>
                    <a:gd name="connsiteY57" fmla="*/ 3495675 h 4496940"/>
                    <a:gd name="connsiteX58" fmla="*/ 4059577 w 4519987"/>
                    <a:gd name="connsiteY58" fmla="*/ 3533775 h 4496940"/>
                    <a:gd name="connsiteX59" fmla="*/ 4002427 w 4519987"/>
                    <a:gd name="connsiteY59" fmla="*/ 3600450 h 4496940"/>
                    <a:gd name="connsiteX60" fmla="*/ 3983377 w 4519987"/>
                    <a:gd name="connsiteY60" fmla="*/ 3629025 h 4496940"/>
                    <a:gd name="connsiteX61" fmla="*/ 3954802 w 4519987"/>
                    <a:gd name="connsiteY61" fmla="*/ 3648075 h 4496940"/>
                    <a:gd name="connsiteX62" fmla="*/ 3907177 w 4519987"/>
                    <a:gd name="connsiteY62" fmla="*/ 3686175 h 4496940"/>
                    <a:gd name="connsiteX63" fmla="*/ 3869077 w 4519987"/>
                    <a:gd name="connsiteY63" fmla="*/ 3724275 h 4496940"/>
                    <a:gd name="connsiteX64" fmla="*/ 3792877 w 4519987"/>
                    <a:gd name="connsiteY64" fmla="*/ 3781425 h 4496940"/>
                    <a:gd name="connsiteX65" fmla="*/ 3783352 w 4519987"/>
                    <a:gd name="connsiteY65" fmla="*/ 3810000 h 4496940"/>
                    <a:gd name="connsiteX66" fmla="*/ 3745252 w 4519987"/>
                    <a:gd name="connsiteY66" fmla="*/ 3819525 h 4496940"/>
                    <a:gd name="connsiteX67" fmla="*/ 3678577 w 4519987"/>
                    <a:gd name="connsiteY67" fmla="*/ 3848100 h 4496940"/>
                    <a:gd name="connsiteX68" fmla="*/ 3659527 w 4519987"/>
                    <a:gd name="connsiteY68" fmla="*/ 3971925 h 4496940"/>
                    <a:gd name="connsiteX69" fmla="*/ 3630952 w 4519987"/>
                    <a:gd name="connsiteY69" fmla="*/ 4010025 h 4496940"/>
                    <a:gd name="connsiteX70" fmla="*/ 3621427 w 4519987"/>
                    <a:gd name="connsiteY70" fmla="*/ 4038600 h 4496940"/>
                    <a:gd name="connsiteX71" fmla="*/ 3554752 w 4519987"/>
                    <a:gd name="connsiteY71" fmla="*/ 4095750 h 4496940"/>
                    <a:gd name="connsiteX72" fmla="*/ 3516652 w 4519987"/>
                    <a:gd name="connsiteY72" fmla="*/ 4114800 h 4496940"/>
                    <a:gd name="connsiteX73" fmla="*/ 3497602 w 4519987"/>
                    <a:gd name="connsiteY73" fmla="*/ 4143375 h 4496940"/>
                    <a:gd name="connsiteX74" fmla="*/ 3383302 w 4519987"/>
                    <a:gd name="connsiteY74" fmla="*/ 4210050 h 4496940"/>
                    <a:gd name="connsiteX75" fmla="*/ 3335677 w 4519987"/>
                    <a:gd name="connsiteY75" fmla="*/ 4238625 h 4496940"/>
                    <a:gd name="connsiteX76" fmla="*/ 3288052 w 4519987"/>
                    <a:gd name="connsiteY76" fmla="*/ 4248150 h 4496940"/>
                    <a:gd name="connsiteX77" fmla="*/ 3240427 w 4519987"/>
                    <a:gd name="connsiteY77" fmla="*/ 4267200 h 4496940"/>
                    <a:gd name="connsiteX78" fmla="*/ 3068977 w 4519987"/>
                    <a:gd name="connsiteY78" fmla="*/ 4286250 h 4496940"/>
                    <a:gd name="connsiteX79" fmla="*/ 2935627 w 4519987"/>
                    <a:gd name="connsiteY79" fmla="*/ 4333875 h 4496940"/>
                    <a:gd name="connsiteX80" fmla="*/ 2811802 w 4519987"/>
                    <a:gd name="connsiteY80" fmla="*/ 4371975 h 4496940"/>
                    <a:gd name="connsiteX81" fmla="*/ 2745127 w 4519987"/>
                    <a:gd name="connsiteY81" fmla="*/ 4410075 h 4496940"/>
                    <a:gd name="connsiteX82" fmla="*/ 2697502 w 4519987"/>
                    <a:gd name="connsiteY82" fmla="*/ 4429125 h 4496940"/>
                    <a:gd name="connsiteX83" fmla="*/ 2640352 w 4519987"/>
                    <a:gd name="connsiteY83" fmla="*/ 4457700 h 4496940"/>
                    <a:gd name="connsiteX84" fmla="*/ 2583202 w 4519987"/>
                    <a:gd name="connsiteY84" fmla="*/ 4467225 h 4496940"/>
                    <a:gd name="connsiteX85" fmla="*/ 2545102 w 4519987"/>
                    <a:gd name="connsiteY85" fmla="*/ 4486275 h 4496940"/>
                    <a:gd name="connsiteX86" fmla="*/ 2306977 w 4519987"/>
                    <a:gd name="connsiteY86" fmla="*/ 4476750 h 4496940"/>
                    <a:gd name="connsiteX87" fmla="*/ 2202202 w 4519987"/>
                    <a:gd name="connsiteY87" fmla="*/ 4457700 h 4496940"/>
                    <a:gd name="connsiteX88" fmla="*/ 2126002 w 4519987"/>
                    <a:gd name="connsiteY88" fmla="*/ 4429125 h 4496940"/>
                    <a:gd name="connsiteX89" fmla="*/ 1935502 w 4519987"/>
                    <a:gd name="connsiteY89" fmla="*/ 4400550 h 4496940"/>
                    <a:gd name="connsiteX90" fmla="*/ 1821202 w 4519987"/>
                    <a:gd name="connsiteY90" fmla="*/ 4371975 h 4496940"/>
                    <a:gd name="connsiteX91" fmla="*/ 1754527 w 4519987"/>
                    <a:gd name="connsiteY91" fmla="*/ 4352925 h 4496940"/>
                    <a:gd name="connsiteX92" fmla="*/ 1687852 w 4519987"/>
                    <a:gd name="connsiteY92" fmla="*/ 4343400 h 4496940"/>
                    <a:gd name="connsiteX93" fmla="*/ 1573552 w 4519987"/>
                    <a:gd name="connsiteY93" fmla="*/ 4305300 h 4496940"/>
                    <a:gd name="connsiteX94" fmla="*/ 1402102 w 4519987"/>
                    <a:gd name="connsiteY94" fmla="*/ 4276725 h 4496940"/>
                    <a:gd name="connsiteX95" fmla="*/ 1287802 w 4519987"/>
                    <a:gd name="connsiteY95" fmla="*/ 4229100 h 4496940"/>
                    <a:gd name="connsiteX96" fmla="*/ 1221127 w 4519987"/>
                    <a:gd name="connsiteY96" fmla="*/ 4200525 h 4496940"/>
                    <a:gd name="connsiteX97" fmla="*/ 1144927 w 4519987"/>
                    <a:gd name="connsiteY97" fmla="*/ 4171950 h 4496940"/>
                    <a:gd name="connsiteX98" fmla="*/ 1087777 w 4519987"/>
                    <a:gd name="connsiteY98" fmla="*/ 4143375 h 4496940"/>
                    <a:gd name="connsiteX99" fmla="*/ 1030627 w 4519987"/>
                    <a:gd name="connsiteY99" fmla="*/ 4124325 h 4496940"/>
                    <a:gd name="connsiteX100" fmla="*/ 925852 w 4519987"/>
                    <a:gd name="connsiteY100" fmla="*/ 4067175 h 4496940"/>
                    <a:gd name="connsiteX101" fmla="*/ 830602 w 4519987"/>
                    <a:gd name="connsiteY101" fmla="*/ 3981450 h 4496940"/>
                    <a:gd name="connsiteX102" fmla="*/ 763927 w 4519987"/>
                    <a:gd name="connsiteY102" fmla="*/ 3914775 h 4496940"/>
                    <a:gd name="connsiteX103" fmla="*/ 725827 w 4519987"/>
                    <a:gd name="connsiteY103" fmla="*/ 3876675 h 4496940"/>
                    <a:gd name="connsiteX104" fmla="*/ 697252 w 4519987"/>
                    <a:gd name="connsiteY104" fmla="*/ 3838575 h 4496940"/>
                    <a:gd name="connsiteX105" fmla="*/ 640102 w 4519987"/>
                    <a:gd name="connsiteY105" fmla="*/ 3781425 h 4496940"/>
                    <a:gd name="connsiteX106" fmla="*/ 611527 w 4519987"/>
                    <a:gd name="connsiteY106" fmla="*/ 3733800 h 4496940"/>
                    <a:gd name="connsiteX107" fmla="*/ 554377 w 4519987"/>
                    <a:gd name="connsiteY107" fmla="*/ 3657600 h 4496940"/>
                    <a:gd name="connsiteX108" fmla="*/ 525802 w 4519987"/>
                    <a:gd name="connsiteY108" fmla="*/ 3609975 h 4496940"/>
                    <a:gd name="connsiteX109" fmla="*/ 497227 w 4519987"/>
                    <a:gd name="connsiteY109" fmla="*/ 3552825 h 4496940"/>
                    <a:gd name="connsiteX110" fmla="*/ 440077 w 4519987"/>
                    <a:gd name="connsiteY110" fmla="*/ 3495675 h 4496940"/>
                    <a:gd name="connsiteX111" fmla="*/ 411502 w 4519987"/>
                    <a:gd name="connsiteY111" fmla="*/ 3448050 h 4496940"/>
                    <a:gd name="connsiteX112" fmla="*/ 278152 w 4519987"/>
                    <a:gd name="connsiteY112" fmla="*/ 3257550 h 4496940"/>
                    <a:gd name="connsiteX113" fmla="*/ 249577 w 4519987"/>
                    <a:gd name="connsiteY113" fmla="*/ 3200400 h 4496940"/>
                    <a:gd name="connsiteX114" fmla="*/ 240052 w 4519987"/>
                    <a:gd name="connsiteY114" fmla="*/ 3162300 h 4496940"/>
                    <a:gd name="connsiteX115" fmla="*/ 221002 w 4519987"/>
                    <a:gd name="connsiteY115" fmla="*/ 3105150 h 4496940"/>
                    <a:gd name="connsiteX116" fmla="*/ 173377 w 4519987"/>
                    <a:gd name="connsiteY116" fmla="*/ 3019425 h 4496940"/>
                    <a:gd name="connsiteX117" fmla="*/ 144802 w 4519987"/>
                    <a:gd name="connsiteY117" fmla="*/ 2924175 h 4496940"/>
                    <a:gd name="connsiteX118" fmla="*/ 68602 w 4519987"/>
                    <a:gd name="connsiteY118" fmla="*/ 2724150 h 4496940"/>
                    <a:gd name="connsiteX119" fmla="*/ 49552 w 4519987"/>
                    <a:gd name="connsiteY119" fmla="*/ 2638425 h 4496940"/>
                    <a:gd name="connsiteX120" fmla="*/ 40027 w 4519987"/>
                    <a:gd name="connsiteY120" fmla="*/ 2562225 h 4496940"/>
                    <a:gd name="connsiteX121" fmla="*/ 30502 w 4519987"/>
                    <a:gd name="connsiteY121" fmla="*/ 2514600 h 4496940"/>
                    <a:gd name="connsiteX122" fmla="*/ 11452 w 4519987"/>
                    <a:gd name="connsiteY122" fmla="*/ 2400300 h 4496940"/>
                    <a:gd name="connsiteX123" fmla="*/ 20977 w 4519987"/>
                    <a:gd name="connsiteY123" fmla="*/ 1905000 h 4496940"/>
                    <a:gd name="connsiteX124" fmla="*/ 30502 w 4519987"/>
                    <a:gd name="connsiteY124" fmla="*/ 1838325 h 4496940"/>
                    <a:gd name="connsiteX125" fmla="*/ 49552 w 4519987"/>
                    <a:gd name="connsiteY125" fmla="*/ 1781175 h 4496940"/>
                    <a:gd name="connsiteX126" fmla="*/ 59077 w 4519987"/>
                    <a:gd name="connsiteY126" fmla="*/ 1743075 h 4496940"/>
                    <a:gd name="connsiteX127" fmla="*/ 78127 w 4519987"/>
                    <a:gd name="connsiteY127" fmla="*/ 1685925 h 4496940"/>
                    <a:gd name="connsiteX128" fmla="*/ 87652 w 4519987"/>
                    <a:gd name="connsiteY128" fmla="*/ 1638300 h 4496940"/>
                    <a:gd name="connsiteX129" fmla="*/ 106702 w 4519987"/>
                    <a:gd name="connsiteY129" fmla="*/ 1590675 h 4496940"/>
                    <a:gd name="connsiteX130" fmla="*/ 135277 w 4519987"/>
                    <a:gd name="connsiteY130" fmla="*/ 1504950 h 4496940"/>
                    <a:gd name="connsiteX131" fmla="*/ 154327 w 4519987"/>
                    <a:gd name="connsiteY131" fmla="*/ 1419225 h 4496940"/>
                    <a:gd name="connsiteX132" fmla="*/ 230527 w 4519987"/>
                    <a:gd name="connsiteY132" fmla="*/ 1276350 h 4496940"/>
                    <a:gd name="connsiteX133" fmla="*/ 240052 w 4519987"/>
                    <a:gd name="connsiteY133" fmla="*/ 1247775 h 4496940"/>
                    <a:gd name="connsiteX134" fmla="*/ 268627 w 4519987"/>
                    <a:gd name="connsiteY134" fmla="*/ 1200150 h 4496940"/>
                    <a:gd name="connsiteX135" fmla="*/ 287677 w 4519987"/>
                    <a:gd name="connsiteY135" fmla="*/ 1152525 h 4496940"/>
                    <a:gd name="connsiteX136" fmla="*/ 316252 w 4519987"/>
                    <a:gd name="connsiteY136" fmla="*/ 1114425 h 4496940"/>
                    <a:gd name="connsiteX137" fmla="*/ 363877 w 4519987"/>
                    <a:gd name="connsiteY137" fmla="*/ 1038225 h 4496940"/>
                    <a:gd name="connsiteX138" fmla="*/ 382927 w 4519987"/>
                    <a:gd name="connsiteY138" fmla="*/ 1009650 h 4496940"/>
                    <a:gd name="connsiteX139" fmla="*/ 440077 w 4519987"/>
                    <a:gd name="connsiteY139" fmla="*/ 904875 h 4496940"/>
                    <a:gd name="connsiteX140" fmla="*/ 478177 w 4519987"/>
                    <a:gd name="connsiteY140" fmla="*/ 857250 h 4496940"/>
                    <a:gd name="connsiteX141" fmla="*/ 497227 w 4519987"/>
                    <a:gd name="connsiteY141" fmla="*/ 828675 h 4496940"/>
                    <a:gd name="connsiteX142" fmla="*/ 535327 w 4519987"/>
                    <a:gd name="connsiteY142" fmla="*/ 800100 h 4496940"/>
                    <a:gd name="connsiteX143" fmla="*/ 602002 w 4519987"/>
                    <a:gd name="connsiteY143" fmla="*/ 733425 h 4496940"/>
                    <a:gd name="connsiteX144" fmla="*/ 668677 w 4519987"/>
                    <a:gd name="connsiteY144" fmla="*/ 676275 h 4496940"/>
                    <a:gd name="connsiteX145" fmla="*/ 697252 w 4519987"/>
                    <a:gd name="connsiteY145" fmla="*/ 657225 h 4496940"/>
                    <a:gd name="connsiteX146" fmla="*/ 840127 w 4519987"/>
                    <a:gd name="connsiteY146" fmla="*/ 533400 h 4496940"/>
                    <a:gd name="connsiteX147" fmla="*/ 887752 w 4519987"/>
                    <a:gd name="connsiteY147" fmla="*/ 504825 h 4496940"/>
                    <a:gd name="connsiteX148" fmla="*/ 1167152 w 4519987"/>
                    <a:gd name="connsiteY148" fmla="*/ 311150 h 4496940"/>
                    <a:gd name="connsiteX149" fmla="*/ 1268752 w 4519987"/>
                    <a:gd name="connsiteY149" fmla="*/ 285750 h 4496940"/>
                    <a:gd name="connsiteX150" fmla="*/ 1411627 w 4519987"/>
                    <a:gd name="connsiteY150" fmla="*/ 190500 h 4496940"/>
                    <a:gd name="connsiteX151" fmla="*/ 1449727 w 4519987"/>
                    <a:gd name="connsiteY151" fmla="*/ 161925 h 4496940"/>
                    <a:gd name="connsiteX152" fmla="*/ 1525927 w 4519987"/>
                    <a:gd name="connsiteY152" fmla="*/ 152400 h 4496940"/>
                    <a:gd name="connsiteX153" fmla="*/ 1583077 w 4519987"/>
                    <a:gd name="connsiteY153" fmla="*/ 142875 h 4496940"/>
                    <a:gd name="connsiteX154" fmla="*/ 1716427 w 4519987"/>
                    <a:gd name="connsiteY154" fmla="*/ 123825 h 4496940"/>
                    <a:gd name="connsiteX155" fmla="*/ 1811677 w 4519987"/>
                    <a:gd name="connsiteY155" fmla="*/ 114300 h 4496940"/>
                    <a:gd name="connsiteX156" fmla="*/ 1859302 w 4519987"/>
                    <a:gd name="connsiteY156" fmla="*/ 104775 h 4496940"/>
                    <a:gd name="connsiteX157" fmla="*/ 1916452 w 4519987"/>
                    <a:gd name="connsiteY157" fmla="*/ 95250 h 4496940"/>
                    <a:gd name="connsiteX158" fmla="*/ 2030752 w 4519987"/>
                    <a:gd name="connsiteY158" fmla="*/ 66675 h 4496940"/>
                    <a:gd name="connsiteX159" fmla="*/ 2097427 w 4519987"/>
                    <a:gd name="connsiteY159" fmla="*/ 47625 h 4496940"/>
                    <a:gd name="connsiteX160" fmla="*/ 2164102 w 4519987"/>
                    <a:gd name="connsiteY160" fmla="*/ 38100 h 4496940"/>
                    <a:gd name="connsiteX161" fmla="*/ 2392702 w 4519987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278652 w 4519987"/>
                    <a:gd name="connsiteY50" fmla="*/ 3248025 h 4496940"/>
                    <a:gd name="connsiteX51" fmla="*/ 4259602 w 4519987"/>
                    <a:gd name="connsiteY51" fmla="*/ 3276600 h 4496940"/>
                    <a:gd name="connsiteX52" fmla="*/ 4221502 w 4519987"/>
                    <a:gd name="connsiteY52" fmla="*/ 3333750 h 4496940"/>
                    <a:gd name="connsiteX53" fmla="*/ 4211977 w 4519987"/>
                    <a:gd name="connsiteY53" fmla="*/ 3362325 h 4496940"/>
                    <a:gd name="connsiteX54" fmla="*/ 4183402 w 4519987"/>
                    <a:gd name="connsiteY54" fmla="*/ 3400425 h 4496940"/>
                    <a:gd name="connsiteX55" fmla="*/ 4164352 w 4519987"/>
                    <a:gd name="connsiteY55" fmla="*/ 3429000 h 4496940"/>
                    <a:gd name="connsiteX56" fmla="*/ 4088152 w 4519987"/>
                    <a:gd name="connsiteY56" fmla="*/ 3495675 h 4496940"/>
                    <a:gd name="connsiteX57" fmla="*/ 4059577 w 4519987"/>
                    <a:gd name="connsiteY57" fmla="*/ 3533775 h 4496940"/>
                    <a:gd name="connsiteX58" fmla="*/ 4002427 w 4519987"/>
                    <a:gd name="connsiteY58" fmla="*/ 3600450 h 4496940"/>
                    <a:gd name="connsiteX59" fmla="*/ 3983377 w 4519987"/>
                    <a:gd name="connsiteY59" fmla="*/ 3629025 h 4496940"/>
                    <a:gd name="connsiteX60" fmla="*/ 3954802 w 4519987"/>
                    <a:gd name="connsiteY60" fmla="*/ 3648075 h 4496940"/>
                    <a:gd name="connsiteX61" fmla="*/ 3907177 w 4519987"/>
                    <a:gd name="connsiteY61" fmla="*/ 3686175 h 4496940"/>
                    <a:gd name="connsiteX62" fmla="*/ 3869077 w 4519987"/>
                    <a:gd name="connsiteY62" fmla="*/ 3724275 h 4496940"/>
                    <a:gd name="connsiteX63" fmla="*/ 3792877 w 4519987"/>
                    <a:gd name="connsiteY63" fmla="*/ 3781425 h 4496940"/>
                    <a:gd name="connsiteX64" fmla="*/ 3783352 w 4519987"/>
                    <a:gd name="connsiteY64" fmla="*/ 3810000 h 4496940"/>
                    <a:gd name="connsiteX65" fmla="*/ 3745252 w 4519987"/>
                    <a:gd name="connsiteY65" fmla="*/ 3819525 h 4496940"/>
                    <a:gd name="connsiteX66" fmla="*/ 3678577 w 4519987"/>
                    <a:gd name="connsiteY66" fmla="*/ 3848100 h 4496940"/>
                    <a:gd name="connsiteX67" fmla="*/ 3659527 w 4519987"/>
                    <a:gd name="connsiteY67" fmla="*/ 3971925 h 4496940"/>
                    <a:gd name="connsiteX68" fmla="*/ 3630952 w 4519987"/>
                    <a:gd name="connsiteY68" fmla="*/ 4010025 h 4496940"/>
                    <a:gd name="connsiteX69" fmla="*/ 3621427 w 4519987"/>
                    <a:gd name="connsiteY69" fmla="*/ 4038600 h 4496940"/>
                    <a:gd name="connsiteX70" fmla="*/ 3554752 w 4519987"/>
                    <a:gd name="connsiteY70" fmla="*/ 4095750 h 4496940"/>
                    <a:gd name="connsiteX71" fmla="*/ 3516652 w 4519987"/>
                    <a:gd name="connsiteY71" fmla="*/ 4114800 h 4496940"/>
                    <a:gd name="connsiteX72" fmla="*/ 3497602 w 4519987"/>
                    <a:gd name="connsiteY72" fmla="*/ 4143375 h 4496940"/>
                    <a:gd name="connsiteX73" fmla="*/ 3383302 w 4519987"/>
                    <a:gd name="connsiteY73" fmla="*/ 4210050 h 4496940"/>
                    <a:gd name="connsiteX74" fmla="*/ 3335677 w 4519987"/>
                    <a:gd name="connsiteY74" fmla="*/ 4238625 h 4496940"/>
                    <a:gd name="connsiteX75" fmla="*/ 3288052 w 4519987"/>
                    <a:gd name="connsiteY75" fmla="*/ 4248150 h 4496940"/>
                    <a:gd name="connsiteX76" fmla="*/ 3240427 w 4519987"/>
                    <a:gd name="connsiteY76" fmla="*/ 4267200 h 4496940"/>
                    <a:gd name="connsiteX77" fmla="*/ 3068977 w 4519987"/>
                    <a:gd name="connsiteY77" fmla="*/ 4286250 h 4496940"/>
                    <a:gd name="connsiteX78" fmla="*/ 2935627 w 4519987"/>
                    <a:gd name="connsiteY78" fmla="*/ 4333875 h 4496940"/>
                    <a:gd name="connsiteX79" fmla="*/ 2811802 w 4519987"/>
                    <a:gd name="connsiteY79" fmla="*/ 4371975 h 4496940"/>
                    <a:gd name="connsiteX80" fmla="*/ 2745127 w 4519987"/>
                    <a:gd name="connsiteY80" fmla="*/ 4410075 h 4496940"/>
                    <a:gd name="connsiteX81" fmla="*/ 2697502 w 4519987"/>
                    <a:gd name="connsiteY81" fmla="*/ 4429125 h 4496940"/>
                    <a:gd name="connsiteX82" fmla="*/ 2640352 w 4519987"/>
                    <a:gd name="connsiteY82" fmla="*/ 4457700 h 4496940"/>
                    <a:gd name="connsiteX83" fmla="*/ 2583202 w 4519987"/>
                    <a:gd name="connsiteY83" fmla="*/ 4467225 h 4496940"/>
                    <a:gd name="connsiteX84" fmla="*/ 2545102 w 4519987"/>
                    <a:gd name="connsiteY84" fmla="*/ 4486275 h 4496940"/>
                    <a:gd name="connsiteX85" fmla="*/ 2306977 w 4519987"/>
                    <a:gd name="connsiteY85" fmla="*/ 4476750 h 4496940"/>
                    <a:gd name="connsiteX86" fmla="*/ 2202202 w 4519987"/>
                    <a:gd name="connsiteY86" fmla="*/ 4457700 h 4496940"/>
                    <a:gd name="connsiteX87" fmla="*/ 2126002 w 4519987"/>
                    <a:gd name="connsiteY87" fmla="*/ 4429125 h 4496940"/>
                    <a:gd name="connsiteX88" fmla="*/ 1935502 w 4519987"/>
                    <a:gd name="connsiteY88" fmla="*/ 4400550 h 4496940"/>
                    <a:gd name="connsiteX89" fmla="*/ 1821202 w 4519987"/>
                    <a:gd name="connsiteY89" fmla="*/ 4371975 h 4496940"/>
                    <a:gd name="connsiteX90" fmla="*/ 1754527 w 4519987"/>
                    <a:gd name="connsiteY90" fmla="*/ 4352925 h 4496940"/>
                    <a:gd name="connsiteX91" fmla="*/ 1687852 w 4519987"/>
                    <a:gd name="connsiteY91" fmla="*/ 4343400 h 4496940"/>
                    <a:gd name="connsiteX92" fmla="*/ 1573552 w 4519987"/>
                    <a:gd name="connsiteY92" fmla="*/ 4305300 h 4496940"/>
                    <a:gd name="connsiteX93" fmla="*/ 1402102 w 4519987"/>
                    <a:gd name="connsiteY93" fmla="*/ 4276725 h 4496940"/>
                    <a:gd name="connsiteX94" fmla="*/ 1287802 w 4519987"/>
                    <a:gd name="connsiteY94" fmla="*/ 4229100 h 4496940"/>
                    <a:gd name="connsiteX95" fmla="*/ 1221127 w 4519987"/>
                    <a:gd name="connsiteY95" fmla="*/ 4200525 h 4496940"/>
                    <a:gd name="connsiteX96" fmla="*/ 1144927 w 4519987"/>
                    <a:gd name="connsiteY96" fmla="*/ 4171950 h 4496940"/>
                    <a:gd name="connsiteX97" fmla="*/ 1087777 w 4519987"/>
                    <a:gd name="connsiteY97" fmla="*/ 4143375 h 4496940"/>
                    <a:gd name="connsiteX98" fmla="*/ 1030627 w 4519987"/>
                    <a:gd name="connsiteY98" fmla="*/ 4124325 h 4496940"/>
                    <a:gd name="connsiteX99" fmla="*/ 925852 w 4519987"/>
                    <a:gd name="connsiteY99" fmla="*/ 4067175 h 4496940"/>
                    <a:gd name="connsiteX100" fmla="*/ 830602 w 4519987"/>
                    <a:gd name="connsiteY100" fmla="*/ 3981450 h 4496940"/>
                    <a:gd name="connsiteX101" fmla="*/ 763927 w 4519987"/>
                    <a:gd name="connsiteY101" fmla="*/ 3914775 h 4496940"/>
                    <a:gd name="connsiteX102" fmla="*/ 725827 w 4519987"/>
                    <a:gd name="connsiteY102" fmla="*/ 3876675 h 4496940"/>
                    <a:gd name="connsiteX103" fmla="*/ 697252 w 4519987"/>
                    <a:gd name="connsiteY103" fmla="*/ 3838575 h 4496940"/>
                    <a:gd name="connsiteX104" fmla="*/ 640102 w 4519987"/>
                    <a:gd name="connsiteY104" fmla="*/ 3781425 h 4496940"/>
                    <a:gd name="connsiteX105" fmla="*/ 611527 w 4519987"/>
                    <a:gd name="connsiteY105" fmla="*/ 3733800 h 4496940"/>
                    <a:gd name="connsiteX106" fmla="*/ 554377 w 4519987"/>
                    <a:gd name="connsiteY106" fmla="*/ 3657600 h 4496940"/>
                    <a:gd name="connsiteX107" fmla="*/ 525802 w 4519987"/>
                    <a:gd name="connsiteY107" fmla="*/ 3609975 h 4496940"/>
                    <a:gd name="connsiteX108" fmla="*/ 497227 w 4519987"/>
                    <a:gd name="connsiteY108" fmla="*/ 3552825 h 4496940"/>
                    <a:gd name="connsiteX109" fmla="*/ 440077 w 4519987"/>
                    <a:gd name="connsiteY109" fmla="*/ 3495675 h 4496940"/>
                    <a:gd name="connsiteX110" fmla="*/ 411502 w 4519987"/>
                    <a:gd name="connsiteY110" fmla="*/ 3448050 h 4496940"/>
                    <a:gd name="connsiteX111" fmla="*/ 278152 w 4519987"/>
                    <a:gd name="connsiteY111" fmla="*/ 3257550 h 4496940"/>
                    <a:gd name="connsiteX112" fmla="*/ 249577 w 4519987"/>
                    <a:gd name="connsiteY112" fmla="*/ 3200400 h 4496940"/>
                    <a:gd name="connsiteX113" fmla="*/ 240052 w 4519987"/>
                    <a:gd name="connsiteY113" fmla="*/ 3162300 h 4496940"/>
                    <a:gd name="connsiteX114" fmla="*/ 221002 w 4519987"/>
                    <a:gd name="connsiteY114" fmla="*/ 3105150 h 4496940"/>
                    <a:gd name="connsiteX115" fmla="*/ 173377 w 4519987"/>
                    <a:gd name="connsiteY115" fmla="*/ 3019425 h 4496940"/>
                    <a:gd name="connsiteX116" fmla="*/ 144802 w 4519987"/>
                    <a:gd name="connsiteY116" fmla="*/ 2924175 h 4496940"/>
                    <a:gd name="connsiteX117" fmla="*/ 68602 w 4519987"/>
                    <a:gd name="connsiteY117" fmla="*/ 2724150 h 4496940"/>
                    <a:gd name="connsiteX118" fmla="*/ 49552 w 4519987"/>
                    <a:gd name="connsiteY118" fmla="*/ 2638425 h 4496940"/>
                    <a:gd name="connsiteX119" fmla="*/ 40027 w 4519987"/>
                    <a:gd name="connsiteY119" fmla="*/ 2562225 h 4496940"/>
                    <a:gd name="connsiteX120" fmla="*/ 30502 w 4519987"/>
                    <a:gd name="connsiteY120" fmla="*/ 2514600 h 4496940"/>
                    <a:gd name="connsiteX121" fmla="*/ 11452 w 4519987"/>
                    <a:gd name="connsiteY121" fmla="*/ 2400300 h 4496940"/>
                    <a:gd name="connsiteX122" fmla="*/ 20977 w 4519987"/>
                    <a:gd name="connsiteY122" fmla="*/ 1905000 h 4496940"/>
                    <a:gd name="connsiteX123" fmla="*/ 30502 w 4519987"/>
                    <a:gd name="connsiteY123" fmla="*/ 1838325 h 4496940"/>
                    <a:gd name="connsiteX124" fmla="*/ 49552 w 4519987"/>
                    <a:gd name="connsiteY124" fmla="*/ 1781175 h 4496940"/>
                    <a:gd name="connsiteX125" fmla="*/ 59077 w 4519987"/>
                    <a:gd name="connsiteY125" fmla="*/ 1743075 h 4496940"/>
                    <a:gd name="connsiteX126" fmla="*/ 78127 w 4519987"/>
                    <a:gd name="connsiteY126" fmla="*/ 1685925 h 4496940"/>
                    <a:gd name="connsiteX127" fmla="*/ 87652 w 4519987"/>
                    <a:gd name="connsiteY127" fmla="*/ 1638300 h 4496940"/>
                    <a:gd name="connsiteX128" fmla="*/ 106702 w 4519987"/>
                    <a:gd name="connsiteY128" fmla="*/ 1590675 h 4496940"/>
                    <a:gd name="connsiteX129" fmla="*/ 135277 w 4519987"/>
                    <a:gd name="connsiteY129" fmla="*/ 1504950 h 4496940"/>
                    <a:gd name="connsiteX130" fmla="*/ 154327 w 4519987"/>
                    <a:gd name="connsiteY130" fmla="*/ 1419225 h 4496940"/>
                    <a:gd name="connsiteX131" fmla="*/ 230527 w 4519987"/>
                    <a:gd name="connsiteY131" fmla="*/ 1276350 h 4496940"/>
                    <a:gd name="connsiteX132" fmla="*/ 240052 w 4519987"/>
                    <a:gd name="connsiteY132" fmla="*/ 1247775 h 4496940"/>
                    <a:gd name="connsiteX133" fmla="*/ 268627 w 4519987"/>
                    <a:gd name="connsiteY133" fmla="*/ 1200150 h 4496940"/>
                    <a:gd name="connsiteX134" fmla="*/ 287677 w 4519987"/>
                    <a:gd name="connsiteY134" fmla="*/ 1152525 h 4496940"/>
                    <a:gd name="connsiteX135" fmla="*/ 316252 w 4519987"/>
                    <a:gd name="connsiteY135" fmla="*/ 1114425 h 4496940"/>
                    <a:gd name="connsiteX136" fmla="*/ 363877 w 4519987"/>
                    <a:gd name="connsiteY136" fmla="*/ 1038225 h 4496940"/>
                    <a:gd name="connsiteX137" fmla="*/ 382927 w 4519987"/>
                    <a:gd name="connsiteY137" fmla="*/ 1009650 h 4496940"/>
                    <a:gd name="connsiteX138" fmla="*/ 440077 w 4519987"/>
                    <a:gd name="connsiteY138" fmla="*/ 904875 h 4496940"/>
                    <a:gd name="connsiteX139" fmla="*/ 478177 w 4519987"/>
                    <a:gd name="connsiteY139" fmla="*/ 857250 h 4496940"/>
                    <a:gd name="connsiteX140" fmla="*/ 497227 w 4519987"/>
                    <a:gd name="connsiteY140" fmla="*/ 828675 h 4496940"/>
                    <a:gd name="connsiteX141" fmla="*/ 535327 w 4519987"/>
                    <a:gd name="connsiteY141" fmla="*/ 800100 h 4496940"/>
                    <a:gd name="connsiteX142" fmla="*/ 602002 w 4519987"/>
                    <a:gd name="connsiteY142" fmla="*/ 733425 h 4496940"/>
                    <a:gd name="connsiteX143" fmla="*/ 668677 w 4519987"/>
                    <a:gd name="connsiteY143" fmla="*/ 676275 h 4496940"/>
                    <a:gd name="connsiteX144" fmla="*/ 697252 w 4519987"/>
                    <a:gd name="connsiteY144" fmla="*/ 657225 h 4496940"/>
                    <a:gd name="connsiteX145" fmla="*/ 840127 w 4519987"/>
                    <a:gd name="connsiteY145" fmla="*/ 533400 h 4496940"/>
                    <a:gd name="connsiteX146" fmla="*/ 887752 w 4519987"/>
                    <a:gd name="connsiteY146" fmla="*/ 504825 h 4496940"/>
                    <a:gd name="connsiteX147" fmla="*/ 1167152 w 4519987"/>
                    <a:gd name="connsiteY147" fmla="*/ 311150 h 4496940"/>
                    <a:gd name="connsiteX148" fmla="*/ 1268752 w 4519987"/>
                    <a:gd name="connsiteY148" fmla="*/ 285750 h 4496940"/>
                    <a:gd name="connsiteX149" fmla="*/ 1411627 w 4519987"/>
                    <a:gd name="connsiteY149" fmla="*/ 190500 h 4496940"/>
                    <a:gd name="connsiteX150" fmla="*/ 1449727 w 4519987"/>
                    <a:gd name="connsiteY150" fmla="*/ 161925 h 4496940"/>
                    <a:gd name="connsiteX151" fmla="*/ 1525927 w 4519987"/>
                    <a:gd name="connsiteY151" fmla="*/ 152400 h 4496940"/>
                    <a:gd name="connsiteX152" fmla="*/ 1583077 w 4519987"/>
                    <a:gd name="connsiteY152" fmla="*/ 142875 h 4496940"/>
                    <a:gd name="connsiteX153" fmla="*/ 1716427 w 4519987"/>
                    <a:gd name="connsiteY153" fmla="*/ 123825 h 4496940"/>
                    <a:gd name="connsiteX154" fmla="*/ 1811677 w 4519987"/>
                    <a:gd name="connsiteY154" fmla="*/ 114300 h 4496940"/>
                    <a:gd name="connsiteX155" fmla="*/ 1859302 w 4519987"/>
                    <a:gd name="connsiteY155" fmla="*/ 104775 h 4496940"/>
                    <a:gd name="connsiteX156" fmla="*/ 1916452 w 4519987"/>
                    <a:gd name="connsiteY156" fmla="*/ 95250 h 4496940"/>
                    <a:gd name="connsiteX157" fmla="*/ 2030752 w 4519987"/>
                    <a:gd name="connsiteY157" fmla="*/ 66675 h 4496940"/>
                    <a:gd name="connsiteX158" fmla="*/ 2097427 w 4519987"/>
                    <a:gd name="connsiteY158" fmla="*/ 47625 h 4496940"/>
                    <a:gd name="connsiteX159" fmla="*/ 2164102 w 4519987"/>
                    <a:gd name="connsiteY159" fmla="*/ 38100 h 4496940"/>
                    <a:gd name="connsiteX160" fmla="*/ 2392702 w 4519987"/>
                    <a:gd name="connsiteY16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278652 w 4519987"/>
                    <a:gd name="connsiteY49" fmla="*/ 3248025 h 4496940"/>
                    <a:gd name="connsiteX50" fmla="*/ 4259602 w 4519987"/>
                    <a:gd name="connsiteY50" fmla="*/ 3276600 h 4496940"/>
                    <a:gd name="connsiteX51" fmla="*/ 4221502 w 4519987"/>
                    <a:gd name="connsiteY51" fmla="*/ 3333750 h 4496940"/>
                    <a:gd name="connsiteX52" fmla="*/ 4211977 w 4519987"/>
                    <a:gd name="connsiteY52" fmla="*/ 3362325 h 4496940"/>
                    <a:gd name="connsiteX53" fmla="*/ 4183402 w 4519987"/>
                    <a:gd name="connsiteY53" fmla="*/ 3400425 h 4496940"/>
                    <a:gd name="connsiteX54" fmla="*/ 4164352 w 4519987"/>
                    <a:gd name="connsiteY54" fmla="*/ 3429000 h 4496940"/>
                    <a:gd name="connsiteX55" fmla="*/ 4088152 w 4519987"/>
                    <a:gd name="connsiteY55" fmla="*/ 3495675 h 4496940"/>
                    <a:gd name="connsiteX56" fmla="*/ 4059577 w 4519987"/>
                    <a:gd name="connsiteY56" fmla="*/ 3533775 h 4496940"/>
                    <a:gd name="connsiteX57" fmla="*/ 4002427 w 4519987"/>
                    <a:gd name="connsiteY57" fmla="*/ 3600450 h 4496940"/>
                    <a:gd name="connsiteX58" fmla="*/ 3983377 w 4519987"/>
                    <a:gd name="connsiteY58" fmla="*/ 3629025 h 4496940"/>
                    <a:gd name="connsiteX59" fmla="*/ 3954802 w 4519987"/>
                    <a:gd name="connsiteY59" fmla="*/ 3648075 h 4496940"/>
                    <a:gd name="connsiteX60" fmla="*/ 3907177 w 4519987"/>
                    <a:gd name="connsiteY60" fmla="*/ 3686175 h 4496940"/>
                    <a:gd name="connsiteX61" fmla="*/ 3869077 w 4519987"/>
                    <a:gd name="connsiteY61" fmla="*/ 3724275 h 4496940"/>
                    <a:gd name="connsiteX62" fmla="*/ 3792877 w 4519987"/>
                    <a:gd name="connsiteY62" fmla="*/ 3781425 h 4496940"/>
                    <a:gd name="connsiteX63" fmla="*/ 3783352 w 4519987"/>
                    <a:gd name="connsiteY63" fmla="*/ 3810000 h 4496940"/>
                    <a:gd name="connsiteX64" fmla="*/ 3745252 w 4519987"/>
                    <a:gd name="connsiteY64" fmla="*/ 3819525 h 4496940"/>
                    <a:gd name="connsiteX65" fmla="*/ 3678577 w 4519987"/>
                    <a:gd name="connsiteY65" fmla="*/ 3848100 h 4496940"/>
                    <a:gd name="connsiteX66" fmla="*/ 3659527 w 4519987"/>
                    <a:gd name="connsiteY66" fmla="*/ 3971925 h 4496940"/>
                    <a:gd name="connsiteX67" fmla="*/ 3630952 w 4519987"/>
                    <a:gd name="connsiteY67" fmla="*/ 4010025 h 4496940"/>
                    <a:gd name="connsiteX68" fmla="*/ 3621427 w 4519987"/>
                    <a:gd name="connsiteY68" fmla="*/ 4038600 h 4496940"/>
                    <a:gd name="connsiteX69" fmla="*/ 3554752 w 4519987"/>
                    <a:gd name="connsiteY69" fmla="*/ 4095750 h 4496940"/>
                    <a:gd name="connsiteX70" fmla="*/ 3516652 w 4519987"/>
                    <a:gd name="connsiteY70" fmla="*/ 4114800 h 4496940"/>
                    <a:gd name="connsiteX71" fmla="*/ 3497602 w 4519987"/>
                    <a:gd name="connsiteY71" fmla="*/ 4143375 h 4496940"/>
                    <a:gd name="connsiteX72" fmla="*/ 3383302 w 4519987"/>
                    <a:gd name="connsiteY72" fmla="*/ 4210050 h 4496940"/>
                    <a:gd name="connsiteX73" fmla="*/ 3335677 w 4519987"/>
                    <a:gd name="connsiteY73" fmla="*/ 4238625 h 4496940"/>
                    <a:gd name="connsiteX74" fmla="*/ 3288052 w 4519987"/>
                    <a:gd name="connsiteY74" fmla="*/ 4248150 h 4496940"/>
                    <a:gd name="connsiteX75" fmla="*/ 3240427 w 4519987"/>
                    <a:gd name="connsiteY75" fmla="*/ 4267200 h 4496940"/>
                    <a:gd name="connsiteX76" fmla="*/ 3068977 w 4519987"/>
                    <a:gd name="connsiteY76" fmla="*/ 4286250 h 4496940"/>
                    <a:gd name="connsiteX77" fmla="*/ 2935627 w 4519987"/>
                    <a:gd name="connsiteY77" fmla="*/ 4333875 h 4496940"/>
                    <a:gd name="connsiteX78" fmla="*/ 2811802 w 4519987"/>
                    <a:gd name="connsiteY78" fmla="*/ 4371975 h 4496940"/>
                    <a:gd name="connsiteX79" fmla="*/ 2745127 w 4519987"/>
                    <a:gd name="connsiteY79" fmla="*/ 4410075 h 4496940"/>
                    <a:gd name="connsiteX80" fmla="*/ 2697502 w 4519987"/>
                    <a:gd name="connsiteY80" fmla="*/ 4429125 h 4496940"/>
                    <a:gd name="connsiteX81" fmla="*/ 2640352 w 4519987"/>
                    <a:gd name="connsiteY81" fmla="*/ 4457700 h 4496940"/>
                    <a:gd name="connsiteX82" fmla="*/ 2583202 w 4519987"/>
                    <a:gd name="connsiteY82" fmla="*/ 4467225 h 4496940"/>
                    <a:gd name="connsiteX83" fmla="*/ 2545102 w 4519987"/>
                    <a:gd name="connsiteY83" fmla="*/ 4486275 h 4496940"/>
                    <a:gd name="connsiteX84" fmla="*/ 2306977 w 4519987"/>
                    <a:gd name="connsiteY84" fmla="*/ 4476750 h 4496940"/>
                    <a:gd name="connsiteX85" fmla="*/ 2202202 w 4519987"/>
                    <a:gd name="connsiteY85" fmla="*/ 4457700 h 4496940"/>
                    <a:gd name="connsiteX86" fmla="*/ 2126002 w 4519987"/>
                    <a:gd name="connsiteY86" fmla="*/ 4429125 h 4496940"/>
                    <a:gd name="connsiteX87" fmla="*/ 1935502 w 4519987"/>
                    <a:gd name="connsiteY87" fmla="*/ 4400550 h 4496940"/>
                    <a:gd name="connsiteX88" fmla="*/ 1821202 w 4519987"/>
                    <a:gd name="connsiteY88" fmla="*/ 4371975 h 4496940"/>
                    <a:gd name="connsiteX89" fmla="*/ 1754527 w 4519987"/>
                    <a:gd name="connsiteY89" fmla="*/ 4352925 h 4496940"/>
                    <a:gd name="connsiteX90" fmla="*/ 1687852 w 4519987"/>
                    <a:gd name="connsiteY90" fmla="*/ 4343400 h 4496940"/>
                    <a:gd name="connsiteX91" fmla="*/ 1573552 w 4519987"/>
                    <a:gd name="connsiteY91" fmla="*/ 4305300 h 4496940"/>
                    <a:gd name="connsiteX92" fmla="*/ 1402102 w 4519987"/>
                    <a:gd name="connsiteY92" fmla="*/ 4276725 h 4496940"/>
                    <a:gd name="connsiteX93" fmla="*/ 1287802 w 4519987"/>
                    <a:gd name="connsiteY93" fmla="*/ 4229100 h 4496940"/>
                    <a:gd name="connsiteX94" fmla="*/ 1221127 w 4519987"/>
                    <a:gd name="connsiteY94" fmla="*/ 4200525 h 4496940"/>
                    <a:gd name="connsiteX95" fmla="*/ 1144927 w 4519987"/>
                    <a:gd name="connsiteY95" fmla="*/ 4171950 h 4496940"/>
                    <a:gd name="connsiteX96" fmla="*/ 1087777 w 4519987"/>
                    <a:gd name="connsiteY96" fmla="*/ 4143375 h 4496940"/>
                    <a:gd name="connsiteX97" fmla="*/ 1030627 w 4519987"/>
                    <a:gd name="connsiteY97" fmla="*/ 4124325 h 4496940"/>
                    <a:gd name="connsiteX98" fmla="*/ 925852 w 4519987"/>
                    <a:gd name="connsiteY98" fmla="*/ 4067175 h 4496940"/>
                    <a:gd name="connsiteX99" fmla="*/ 830602 w 4519987"/>
                    <a:gd name="connsiteY99" fmla="*/ 3981450 h 4496940"/>
                    <a:gd name="connsiteX100" fmla="*/ 763927 w 4519987"/>
                    <a:gd name="connsiteY100" fmla="*/ 3914775 h 4496940"/>
                    <a:gd name="connsiteX101" fmla="*/ 725827 w 4519987"/>
                    <a:gd name="connsiteY101" fmla="*/ 3876675 h 4496940"/>
                    <a:gd name="connsiteX102" fmla="*/ 697252 w 4519987"/>
                    <a:gd name="connsiteY102" fmla="*/ 3838575 h 4496940"/>
                    <a:gd name="connsiteX103" fmla="*/ 640102 w 4519987"/>
                    <a:gd name="connsiteY103" fmla="*/ 3781425 h 4496940"/>
                    <a:gd name="connsiteX104" fmla="*/ 611527 w 4519987"/>
                    <a:gd name="connsiteY104" fmla="*/ 3733800 h 4496940"/>
                    <a:gd name="connsiteX105" fmla="*/ 554377 w 4519987"/>
                    <a:gd name="connsiteY105" fmla="*/ 3657600 h 4496940"/>
                    <a:gd name="connsiteX106" fmla="*/ 525802 w 4519987"/>
                    <a:gd name="connsiteY106" fmla="*/ 3609975 h 4496940"/>
                    <a:gd name="connsiteX107" fmla="*/ 497227 w 4519987"/>
                    <a:gd name="connsiteY107" fmla="*/ 3552825 h 4496940"/>
                    <a:gd name="connsiteX108" fmla="*/ 440077 w 4519987"/>
                    <a:gd name="connsiteY108" fmla="*/ 3495675 h 4496940"/>
                    <a:gd name="connsiteX109" fmla="*/ 411502 w 4519987"/>
                    <a:gd name="connsiteY109" fmla="*/ 3448050 h 4496940"/>
                    <a:gd name="connsiteX110" fmla="*/ 278152 w 4519987"/>
                    <a:gd name="connsiteY110" fmla="*/ 3257550 h 4496940"/>
                    <a:gd name="connsiteX111" fmla="*/ 249577 w 4519987"/>
                    <a:gd name="connsiteY111" fmla="*/ 3200400 h 4496940"/>
                    <a:gd name="connsiteX112" fmla="*/ 240052 w 4519987"/>
                    <a:gd name="connsiteY112" fmla="*/ 3162300 h 4496940"/>
                    <a:gd name="connsiteX113" fmla="*/ 221002 w 4519987"/>
                    <a:gd name="connsiteY113" fmla="*/ 3105150 h 4496940"/>
                    <a:gd name="connsiteX114" fmla="*/ 173377 w 4519987"/>
                    <a:gd name="connsiteY114" fmla="*/ 3019425 h 4496940"/>
                    <a:gd name="connsiteX115" fmla="*/ 144802 w 4519987"/>
                    <a:gd name="connsiteY115" fmla="*/ 2924175 h 4496940"/>
                    <a:gd name="connsiteX116" fmla="*/ 68602 w 4519987"/>
                    <a:gd name="connsiteY116" fmla="*/ 2724150 h 4496940"/>
                    <a:gd name="connsiteX117" fmla="*/ 49552 w 4519987"/>
                    <a:gd name="connsiteY117" fmla="*/ 2638425 h 4496940"/>
                    <a:gd name="connsiteX118" fmla="*/ 40027 w 4519987"/>
                    <a:gd name="connsiteY118" fmla="*/ 2562225 h 4496940"/>
                    <a:gd name="connsiteX119" fmla="*/ 30502 w 4519987"/>
                    <a:gd name="connsiteY119" fmla="*/ 2514600 h 4496940"/>
                    <a:gd name="connsiteX120" fmla="*/ 11452 w 4519987"/>
                    <a:gd name="connsiteY120" fmla="*/ 2400300 h 4496940"/>
                    <a:gd name="connsiteX121" fmla="*/ 20977 w 4519987"/>
                    <a:gd name="connsiteY121" fmla="*/ 1905000 h 4496940"/>
                    <a:gd name="connsiteX122" fmla="*/ 30502 w 4519987"/>
                    <a:gd name="connsiteY122" fmla="*/ 1838325 h 4496940"/>
                    <a:gd name="connsiteX123" fmla="*/ 49552 w 4519987"/>
                    <a:gd name="connsiteY123" fmla="*/ 1781175 h 4496940"/>
                    <a:gd name="connsiteX124" fmla="*/ 59077 w 4519987"/>
                    <a:gd name="connsiteY124" fmla="*/ 1743075 h 4496940"/>
                    <a:gd name="connsiteX125" fmla="*/ 78127 w 4519987"/>
                    <a:gd name="connsiteY125" fmla="*/ 1685925 h 4496940"/>
                    <a:gd name="connsiteX126" fmla="*/ 87652 w 4519987"/>
                    <a:gd name="connsiteY126" fmla="*/ 1638300 h 4496940"/>
                    <a:gd name="connsiteX127" fmla="*/ 106702 w 4519987"/>
                    <a:gd name="connsiteY127" fmla="*/ 1590675 h 4496940"/>
                    <a:gd name="connsiteX128" fmla="*/ 135277 w 4519987"/>
                    <a:gd name="connsiteY128" fmla="*/ 1504950 h 4496940"/>
                    <a:gd name="connsiteX129" fmla="*/ 154327 w 4519987"/>
                    <a:gd name="connsiteY129" fmla="*/ 1419225 h 4496940"/>
                    <a:gd name="connsiteX130" fmla="*/ 230527 w 4519987"/>
                    <a:gd name="connsiteY130" fmla="*/ 1276350 h 4496940"/>
                    <a:gd name="connsiteX131" fmla="*/ 240052 w 4519987"/>
                    <a:gd name="connsiteY131" fmla="*/ 1247775 h 4496940"/>
                    <a:gd name="connsiteX132" fmla="*/ 268627 w 4519987"/>
                    <a:gd name="connsiteY132" fmla="*/ 1200150 h 4496940"/>
                    <a:gd name="connsiteX133" fmla="*/ 287677 w 4519987"/>
                    <a:gd name="connsiteY133" fmla="*/ 1152525 h 4496940"/>
                    <a:gd name="connsiteX134" fmla="*/ 316252 w 4519987"/>
                    <a:gd name="connsiteY134" fmla="*/ 1114425 h 4496940"/>
                    <a:gd name="connsiteX135" fmla="*/ 363877 w 4519987"/>
                    <a:gd name="connsiteY135" fmla="*/ 1038225 h 4496940"/>
                    <a:gd name="connsiteX136" fmla="*/ 382927 w 4519987"/>
                    <a:gd name="connsiteY136" fmla="*/ 1009650 h 4496940"/>
                    <a:gd name="connsiteX137" fmla="*/ 440077 w 4519987"/>
                    <a:gd name="connsiteY137" fmla="*/ 904875 h 4496940"/>
                    <a:gd name="connsiteX138" fmla="*/ 478177 w 4519987"/>
                    <a:gd name="connsiteY138" fmla="*/ 857250 h 4496940"/>
                    <a:gd name="connsiteX139" fmla="*/ 497227 w 4519987"/>
                    <a:gd name="connsiteY139" fmla="*/ 828675 h 4496940"/>
                    <a:gd name="connsiteX140" fmla="*/ 535327 w 4519987"/>
                    <a:gd name="connsiteY140" fmla="*/ 800100 h 4496940"/>
                    <a:gd name="connsiteX141" fmla="*/ 602002 w 4519987"/>
                    <a:gd name="connsiteY141" fmla="*/ 733425 h 4496940"/>
                    <a:gd name="connsiteX142" fmla="*/ 668677 w 4519987"/>
                    <a:gd name="connsiteY142" fmla="*/ 676275 h 4496940"/>
                    <a:gd name="connsiteX143" fmla="*/ 697252 w 4519987"/>
                    <a:gd name="connsiteY143" fmla="*/ 657225 h 4496940"/>
                    <a:gd name="connsiteX144" fmla="*/ 840127 w 4519987"/>
                    <a:gd name="connsiteY144" fmla="*/ 533400 h 4496940"/>
                    <a:gd name="connsiteX145" fmla="*/ 887752 w 4519987"/>
                    <a:gd name="connsiteY145" fmla="*/ 504825 h 4496940"/>
                    <a:gd name="connsiteX146" fmla="*/ 1167152 w 4519987"/>
                    <a:gd name="connsiteY146" fmla="*/ 311150 h 4496940"/>
                    <a:gd name="connsiteX147" fmla="*/ 1268752 w 4519987"/>
                    <a:gd name="connsiteY147" fmla="*/ 285750 h 4496940"/>
                    <a:gd name="connsiteX148" fmla="*/ 1411627 w 4519987"/>
                    <a:gd name="connsiteY148" fmla="*/ 190500 h 4496940"/>
                    <a:gd name="connsiteX149" fmla="*/ 1449727 w 4519987"/>
                    <a:gd name="connsiteY149" fmla="*/ 161925 h 4496940"/>
                    <a:gd name="connsiteX150" fmla="*/ 1525927 w 4519987"/>
                    <a:gd name="connsiteY150" fmla="*/ 152400 h 4496940"/>
                    <a:gd name="connsiteX151" fmla="*/ 1583077 w 4519987"/>
                    <a:gd name="connsiteY151" fmla="*/ 142875 h 4496940"/>
                    <a:gd name="connsiteX152" fmla="*/ 1716427 w 4519987"/>
                    <a:gd name="connsiteY152" fmla="*/ 123825 h 4496940"/>
                    <a:gd name="connsiteX153" fmla="*/ 1811677 w 4519987"/>
                    <a:gd name="connsiteY153" fmla="*/ 114300 h 4496940"/>
                    <a:gd name="connsiteX154" fmla="*/ 1859302 w 4519987"/>
                    <a:gd name="connsiteY154" fmla="*/ 104775 h 4496940"/>
                    <a:gd name="connsiteX155" fmla="*/ 1916452 w 4519987"/>
                    <a:gd name="connsiteY155" fmla="*/ 95250 h 4496940"/>
                    <a:gd name="connsiteX156" fmla="*/ 2030752 w 4519987"/>
                    <a:gd name="connsiteY156" fmla="*/ 66675 h 4496940"/>
                    <a:gd name="connsiteX157" fmla="*/ 2097427 w 4519987"/>
                    <a:gd name="connsiteY157" fmla="*/ 47625 h 4496940"/>
                    <a:gd name="connsiteX158" fmla="*/ 2164102 w 4519987"/>
                    <a:gd name="connsiteY158" fmla="*/ 38100 h 4496940"/>
                    <a:gd name="connsiteX159" fmla="*/ 2392702 w 4519987"/>
                    <a:gd name="connsiteY15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50052 w 4519987"/>
                    <a:gd name="connsiteY28" fmla="*/ 790575 h 4496940"/>
                    <a:gd name="connsiteX29" fmla="*/ 4078627 w 4519987"/>
                    <a:gd name="connsiteY29" fmla="*/ 838200 h 4496940"/>
                    <a:gd name="connsiteX30" fmla="*/ 4107202 w 4519987"/>
                    <a:gd name="connsiteY30" fmla="*/ 876300 h 4496940"/>
                    <a:gd name="connsiteX31" fmla="*/ 4116727 w 4519987"/>
                    <a:gd name="connsiteY31" fmla="*/ 904875 h 4496940"/>
                    <a:gd name="connsiteX32" fmla="*/ 4135777 w 4519987"/>
                    <a:gd name="connsiteY32" fmla="*/ 933450 h 4496940"/>
                    <a:gd name="connsiteX33" fmla="*/ 4164352 w 4519987"/>
                    <a:gd name="connsiteY33" fmla="*/ 990600 h 4496940"/>
                    <a:gd name="connsiteX34" fmla="*/ 4173877 w 4519987"/>
                    <a:gd name="connsiteY34" fmla="*/ 1019175 h 4496940"/>
                    <a:gd name="connsiteX35" fmla="*/ 4192927 w 4519987"/>
                    <a:gd name="connsiteY35" fmla="*/ 1057275 h 4496940"/>
                    <a:gd name="connsiteX36" fmla="*/ 4202452 w 4519987"/>
                    <a:gd name="connsiteY36" fmla="*/ 1085850 h 4496940"/>
                    <a:gd name="connsiteX37" fmla="*/ 4250077 w 4519987"/>
                    <a:gd name="connsiteY37" fmla="*/ 1143000 h 4496940"/>
                    <a:gd name="connsiteX38" fmla="*/ 4259602 w 4519987"/>
                    <a:gd name="connsiteY38" fmla="*/ 1190625 h 4496940"/>
                    <a:gd name="connsiteX39" fmla="*/ 4307227 w 4519987"/>
                    <a:gd name="connsiteY39" fmla="*/ 1266825 h 4496940"/>
                    <a:gd name="connsiteX40" fmla="*/ 4345327 w 4519987"/>
                    <a:gd name="connsiteY40" fmla="*/ 1362075 h 4496940"/>
                    <a:gd name="connsiteX41" fmla="*/ 4373902 w 4519987"/>
                    <a:gd name="connsiteY41" fmla="*/ 1428750 h 4496940"/>
                    <a:gd name="connsiteX42" fmla="*/ 4392952 w 4519987"/>
                    <a:gd name="connsiteY42" fmla="*/ 1552575 h 4496940"/>
                    <a:gd name="connsiteX43" fmla="*/ 4402477 w 4519987"/>
                    <a:gd name="connsiteY43" fmla="*/ 1590675 h 4496940"/>
                    <a:gd name="connsiteX44" fmla="*/ 4431052 w 4519987"/>
                    <a:gd name="connsiteY44" fmla="*/ 1685925 h 4496940"/>
                    <a:gd name="connsiteX45" fmla="*/ 4519952 w 4519987"/>
                    <a:gd name="connsiteY45" fmla="*/ 2181225 h 4496940"/>
                    <a:gd name="connsiteX46" fmla="*/ 4446927 w 4519987"/>
                    <a:gd name="connsiteY46" fmla="*/ 2768600 h 4496940"/>
                    <a:gd name="connsiteX47" fmla="*/ 4383427 w 4519987"/>
                    <a:gd name="connsiteY47" fmla="*/ 2990850 h 4496940"/>
                    <a:gd name="connsiteX48" fmla="*/ 4278652 w 4519987"/>
                    <a:gd name="connsiteY48" fmla="*/ 3248025 h 4496940"/>
                    <a:gd name="connsiteX49" fmla="*/ 4259602 w 4519987"/>
                    <a:gd name="connsiteY49" fmla="*/ 3276600 h 4496940"/>
                    <a:gd name="connsiteX50" fmla="*/ 4221502 w 4519987"/>
                    <a:gd name="connsiteY50" fmla="*/ 3333750 h 4496940"/>
                    <a:gd name="connsiteX51" fmla="*/ 4211977 w 4519987"/>
                    <a:gd name="connsiteY51" fmla="*/ 3362325 h 4496940"/>
                    <a:gd name="connsiteX52" fmla="*/ 4183402 w 4519987"/>
                    <a:gd name="connsiteY52" fmla="*/ 3400425 h 4496940"/>
                    <a:gd name="connsiteX53" fmla="*/ 4164352 w 4519987"/>
                    <a:gd name="connsiteY53" fmla="*/ 3429000 h 4496940"/>
                    <a:gd name="connsiteX54" fmla="*/ 4088152 w 4519987"/>
                    <a:gd name="connsiteY54" fmla="*/ 3495675 h 4496940"/>
                    <a:gd name="connsiteX55" fmla="*/ 4059577 w 4519987"/>
                    <a:gd name="connsiteY55" fmla="*/ 3533775 h 4496940"/>
                    <a:gd name="connsiteX56" fmla="*/ 4002427 w 4519987"/>
                    <a:gd name="connsiteY56" fmla="*/ 3600450 h 4496940"/>
                    <a:gd name="connsiteX57" fmla="*/ 3983377 w 4519987"/>
                    <a:gd name="connsiteY57" fmla="*/ 3629025 h 4496940"/>
                    <a:gd name="connsiteX58" fmla="*/ 3954802 w 4519987"/>
                    <a:gd name="connsiteY58" fmla="*/ 3648075 h 4496940"/>
                    <a:gd name="connsiteX59" fmla="*/ 3907177 w 4519987"/>
                    <a:gd name="connsiteY59" fmla="*/ 3686175 h 4496940"/>
                    <a:gd name="connsiteX60" fmla="*/ 3869077 w 4519987"/>
                    <a:gd name="connsiteY60" fmla="*/ 3724275 h 4496940"/>
                    <a:gd name="connsiteX61" fmla="*/ 3792877 w 4519987"/>
                    <a:gd name="connsiteY61" fmla="*/ 3781425 h 4496940"/>
                    <a:gd name="connsiteX62" fmla="*/ 3783352 w 4519987"/>
                    <a:gd name="connsiteY62" fmla="*/ 3810000 h 4496940"/>
                    <a:gd name="connsiteX63" fmla="*/ 3745252 w 4519987"/>
                    <a:gd name="connsiteY63" fmla="*/ 3819525 h 4496940"/>
                    <a:gd name="connsiteX64" fmla="*/ 3678577 w 4519987"/>
                    <a:gd name="connsiteY64" fmla="*/ 3848100 h 4496940"/>
                    <a:gd name="connsiteX65" fmla="*/ 3659527 w 4519987"/>
                    <a:gd name="connsiteY65" fmla="*/ 3971925 h 4496940"/>
                    <a:gd name="connsiteX66" fmla="*/ 3630952 w 4519987"/>
                    <a:gd name="connsiteY66" fmla="*/ 4010025 h 4496940"/>
                    <a:gd name="connsiteX67" fmla="*/ 3621427 w 4519987"/>
                    <a:gd name="connsiteY67" fmla="*/ 4038600 h 4496940"/>
                    <a:gd name="connsiteX68" fmla="*/ 3554752 w 4519987"/>
                    <a:gd name="connsiteY68" fmla="*/ 4095750 h 4496940"/>
                    <a:gd name="connsiteX69" fmla="*/ 3516652 w 4519987"/>
                    <a:gd name="connsiteY69" fmla="*/ 4114800 h 4496940"/>
                    <a:gd name="connsiteX70" fmla="*/ 3497602 w 4519987"/>
                    <a:gd name="connsiteY70" fmla="*/ 4143375 h 4496940"/>
                    <a:gd name="connsiteX71" fmla="*/ 3383302 w 4519987"/>
                    <a:gd name="connsiteY71" fmla="*/ 4210050 h 4496940"/>
                    <a:gd name="connsiteX72" fmla="*/ 3335677 w 4519987"/>
                    <a:gd name="connsiteY72" fmla="*/ 4238625 h 4496940"/>
                    <a:gd name="connsiteX73" fmla="*/ 3288052 w 4519987"/>
                    <a:gd name="connsiteY73" fmla="*/ 4248150 h 4496940"/>
                    <a:gd name="connsiteX74" fmla="*/ 3240427 w 4519987"/>
                    <a:gd name="connsiteY74" fmla="*/ 4267200 h 4496940"/>
                    <a:gd name="connsiteX75" fmla="*/ 3068977 w 4519987"/>
                    <a:gd name="connsiteY75" fmla="*/ 4286250 h 4496940"/>
                    <a:gd name="connsiteX76" fmla="*/ 2935627 w 4519987"/>
                    <a:gd name="connsiteY76" fmla="*/ 4333875 h 4496940"/>
                    <a:gd name="connsiteX77" fmla="*/ 2811802 w 4519987"/>
                    <a:gd name="connsiteY77" fmla="*/ 4371975 h 4496940"/>
                    <a:gd name="connsiteX78" fmla="*/ 2745127 w 4519987"/>
                    <a:gd name="connsiteY78" fmla="*/ 4410075 h 4496940"/>
                    <a:gd name="connsiteX79" fmla="*/ 2697502 w 4519987"/>
                    <a:gd name="connsiteY79" fmla="*/ 4429125 h 4496940"/>
                    <a:gd name="connsiteX80" fmla="*/ 2640352 w 4519987"/>
                    <a:gd name="connsiteY80" fmla="*/ 4457700 h 4496940"/>
                    <a:gd name="connsiteX81" fmla="*/ 2583202 w 4519987"/>
                    <a:gd name="connsiteY81" fmla="*/ 4467225 h 4496940"/>
                    <a:gd name="connsiteX82" fmla="*/ 2545102 w 4519987"/>
                    <a:gd name="connsiteY82" fmla="*/ 4486275 h 4496940"/>
                    <a:gd name="connsiteX83" fmla="*/ 2306977 w 4519987"/>
                    <a:gd name="connsiteY83" fmla="*/ 4476750 h 4496940"/>
                    <a:gd name="connsiteX84" fmla="*/ 2202202 w 4519987"/>
                    <a:gd name="connsiteY84" fmla="*/ 4457700 h 4496940"/>
                    <a:gd name="connsiteX85" fmla="*/ 2126002 w 4519987"/>
                    <a:gd name="connsiteY85" fmla="*/ 4429125 h 4496940"/>
                    <a:gd name="connsiteX86" fmla="*/ 1935502 w 4519987"/>
                    <a:gd name="connsiteY86" fmla="*/ 4400550 h 4496940"/>
                    <a:gd name="connsiteX87" fmla="*/ 1821202 w 4519987"/>
                    <a:gd name="connsiteY87" fmla="*/ 4371975 h 4496940"/>
                    <a:gd name="connsiteX88" fmla="*/ 1754527 w 4519987"/>
                    <a:gd name="connsiteY88" fmla="*/ 4352925 h 4496940"/>
                    <a:gd name="connsiteX89" fmla="*/ 1687852 w 4519987"/>
                    <a:gd name="connsiteY89" fmla="*/ 4343400 h 4496940"/>
                    <a:gd name="connsiteX90" fmla="*/ 1573552 w 4519987"/>
                    <a:gd name="connsiteY90" fmla="*/ 4305300 h 4496940"/>
                    <a:gd name="connsiteX91" fmla="*/ 1402102 w 4519987"/>
                    <a:gd name="connsiteY91" fmla="*/ 4276725 h 4496940"/>
                    <a:gd name="connsiteX92" fmla="*/ 1287802 w 4519987"/>
                    <a:gd name="connsiteY92" fmla="*/ 4229100 h 4496940"/>
                    <a:gd name="connsiteX93" fmla="*/ 1221127 w 4519987"/>
                    <a:gd name="connsiteY93" fmla="*/ 4200525 h 4496940"/>
                    <a:gd name="connsiteX94" fmla="*/ 1144927 w 4519987"/>
                    <a:gd name="connsiteY94" fmla="*/ 4171950 h 4496940"/>
                    <a:gd name="connsiteX95" fmla="*/ 1087777 w 4519987"/>
                    <a:gd name="connsiteY95" fmla="*/ 4143375 h 4496940"/>
                    <a:gd name="connsiteX96" fmla="*/ 1030627 w 4519987"/>
                    <a:gd name="connsiteY96" fmla="*/ 4124325 h 4496940"/>
                    <a:gd name="connsiteX97" fmla="*/ 925852 w 4519987"/>
                    <a:gd name="connsiteY97" fmla="*/ 4067175 h 4496940"/>
                    <a:gd name="connsiteX98" fmla="*/ 830602 w 4519987"/>
                    <a:gd name="connsiteY98" fmla="*/ 3981450 h 4496940"/>
                    <a:gd name="connsiteX99" fmla="*/ 763927 w 4519987"/>
                    <a:gd name="connsiteY99" fmla="*/ 3914775 h 4496940"/>
                    <a:gd name="connsiteX100" fmla="*/ 725827 w 4519987"/>
                    <a:gd name="connsiteY100" fmla="*/ 3876675 h 4496940"/>
                    <a:gd name="connsiteX101" fmla="*/ 697252 w 4519987"/>
                    <a:gd name="connsiteY101" fmla="*/ 3838575 h 4496940"/>
                    <a:gd name="connsiteX102" fmla="*/ 640102 w 4519987"/>
                    <a:gd name="connsiteY102" fmla="*/ 3781425 h 4496940"/>
                    <a:gd name="connsiteX103" fmla="*/ 611527 w 4519987"/>
                    <a:gd name="connsiteY103" fmla="*/ 3733800 h 4496940"/>
                    <a:gd name="connsiteX104" fmla="*/ 554377 w 4519987"/>
                    <a:gd name="connsiteY104" fmla="*/ 3657600 h 4496940"/>
                    <a:gd name="connsiteX105" fmla="*/ 525802 w 4519987"/>
                    <a:gd name="connsiteY105" fmla="*/ 3609975 h 4496940"/>
                    <a:gd name="connsiteX106" fmla="*/ 497227 w 4519987"/>
                    <a:gd name="connsiteY106" fmla="*/ 3552825 h 4496940"/>
                    <a:gd name="connsiteX107" fmla="*/ 440077 w 4519987"/>
                    <a:gd name="connsiteY107" fmla="*/ 3495675 h 4496940"/>
                    <a:gd name="connsiteX108" fmla="*/ 411502 w 4519987"/>
                    <a:gd name="connsiteY108" fmla="*/ 3448050 h 4496940"/>
                    <a:gd name="connsiteX109" fmla="*/ 278152 w 4519987"/>
                    <a:gd name="connsiteY109" fmla="*/ 3257550 h 4496940"/>
                    <a:gd name="connsiteX110" fmla="*/ 249577 w 4519987"/>
                    <a:gd name="connsiteY110" fmla="*/ 3200400 h 4496940"/>
                    <a:gd name="connsiteX111" fmla="*/ 240052 w 4519987"/>
                    <a:gd name="connsiteY111" fmla="*/ 3162300 h 4496940"/>
                    <a:gd name="connsiteX112" fmla="*/ 221002 w 4519987"/>
                    <a:gd name="connsiteY112" fmla="*/ 3105150 h 4496940"/>
                    <a:gd name="connsiteX113" fmla="*/ 173377 w 4519987"/>
                    <a:gd name="connsiteY113" fmla="*/ 3019425 h 4496940"/>
                    <a:gd name="connsiteX114" fmla="*/ 144802 w 4519987"/>
                    <a:gd name="connsiteY114" fmla="*/ 2924175 h 4496940"/>
                    <a:gd name="connsiteX115" fmla="*/ 68602 w 4519987"/>
                    <a:gd name="connsiteY115" fmla="*/ 2724150 h 4496940"/>
                    <a:gd name="connsiteX116" fmla="*/ 49552 w 4519987"/>
                    <a:gd name="connsiteY116" fmla="*/ 2638425 h 4496940"/>
                    <a:gd name="connsiteX117" fmla="*/ 40027 w 4519987"/>
                    <a:gd name="connsiteY117" fmla="*/ 2562225 h 4496940"/>
                    <a:gd name="connsiteX118" fmla="*/ 30502 w 4519987"/>
                    <a:gd name="connsiteY118" fmla="*/ 2514600 h 4496940"/>
                    <a:gd name="connsiteX119" fmla="*/ 11452 w 4519987"/>
                    <a:gd name="connsiteY119" fmla="*/ 2400300 h 4496940"/>
                    <a:gd name="connsiteX120" fmla="*/ 20977 w 4519987"/>
                    <a:gd name="connsiteY120" fmla="*/ 1905000 h 4496940"/>
                    <a:gd name="connsiteX121" fmla="*/ 30502 w 4519987"/>
                    <a:gd name="connsiteY121" fmla="*/ 1838325 h 4496940"/>
                    <a:gd name="connsiteX122" fmla="*/ 49552 w 4519987"/>
                    <a:gd name="connsiteY122" fmla="*/ 1781175 h 4496940"/>
                    <a:gd name="connsiteX123" fmla="*/ 59077 w 4519987"/>
                    <a:gd name="connsiteY123" fmla="*/ 1743075 h 4496940"/>
                    <a:gd name="connsiteX124" fmla="*/ 78127 w 4519987"/>
                    <a:gd name="connsiteY124" fmla="*/ 1685925 h 4496940"/>
                    <a:gd name="connsiteX125" fmla="*/ 87652 w 4519987"/>
                    <a:gd name="connsiteY125" fmla="*/ 1638300 h 4496940"/>
                    <a:gd name="connsiteX126" fmla="*/ 106702 w 4519987"/>
                    <a:gd name="connsiteY126" fmla="*/ 1590675 h 4496940"/>
                    <a:gd name="connsiteX127" fmla="*/ 135277 w 4519987"/>
                    <a:gd name="connsiteY127" fmla="*/ 1504950 h 4496940"/>
                    <a:gd name="connsiteX128" fmla="*/ 154327 w 4519987"/>
                    <a:gd name="connsiteY128" fmla="*/ 1419225 h 4496940"/>
                    <a:gd name="connsiteX129" fmla="*/ 230527 w 4519987"/>
                    <a:gd name="connsiteY129" fmla="*/ 1276350 h 4496940"/>
                    <a:gd name="connsiteX130" fmla="*/ 240052 w 4519987"/>
                    <a:gd name="connsiteY130" fmla="*/ 1247775 h 4496940"/>
                    <a:gd name="connsiteX131" fmla="*/ 268627 w 4519987"/>
                    <a:gd name="connsiteY131" fmla="*/ 1200150 h 4496940"/>
                    <a:gd name="connsiteX132" fmla="*/ 287677 w 4519987"/>
                    <a:gd name="connsiteY132" fmla="*/ 1152525 h 4496940"/>
                    <a:gd name="connsiteX133" fmla="*/ 316252 w 4519987"/>
                    <a:gd name="connsiteY133" fmla="*/ 1114425 h 4496940"/>
                    <a:gd name="connsiteX134" fmla="*/ 363877 w 4519987"/>
                    <a:gd name="connsiteY134" fmla="*/ 1038225 h 4496940"/>
                    <a:gd name="connsiteX135" fmla="*/ 382927 w 4519987"/>
                    <a:gd name="connsiteY135" fmla="*/ 1009650 h 4496940"/>
                    <a:gd name="connsiteX136" fmla="*/ 440077 w 4519987"/>
                    <a:gd name="connsiteY136" fmla="*/ 904875 h 4496940"/>
                    <a:gd name="connsiteX137" fmla="*/ 478177 w 4519987"/>
                    <a:gd name="connsiteY137" fmla="*/ 857250 h 4496940"/>
                    <a:gd name="connsiteX138" fmla="*/ 497227 w 4519987"/>
                    <a:gd name="connsiteY138" fmla="*/ 828675 h 4496940"/>
                    <a:gd name="connsiteX139" fmla="*/ 535327 w 4519987"/>
                    <a:gd name="connsiteY139" fmla="*/ 800100 h 4496940"/>
                    <a:gd name="connsiteX140" fmla="*/ 602002 w 4519987"/>
                    <a:gd name="connsiteY140" fmla="*/ 733425 h 4496940"/>
                    <a:gd name="connsiteX141" fmla="*/ 668677 w 4519987"/>
                    <a:gd name="connsiteY141" fmla="*/ 676275 h 4496940"/>
                    <a:gd name="connsiteX142" fmla="*/ 697252 w 4519987"/>
                    <a:gd name="connsiteY142" fmla="*/ 657225 h 4496940"/>
                    <a:gd name="connsiteX143" fmla="*/ 840127 w 4519987"/>
                    <a:gd name="connsiteY143" fmla="*/ 533400 h 4496940"/>
                    <a:gd name="connsiteX144" fmla="*/ 887752 w 4519987"/>
                    <a:gd name="connsiteY144" fmla="*/ 504825 h 4496940"/>
                    <a:gd name="connsiteX145" fmla="*/ 1167152 w 4519987"/>
                    <a:gd name="connsiteY145" fmla="*/ 311150 h 4496940"/>
                    <a:gd name="connsiteX146" fmla="*/ 1268752 w 4519987"/>
                    <a:gd name="connsiteY146" fmla="*/ 285750 h 4496940"/>
                    <a:gd name="connsiteX147" fmla="*/ 1411627 w 4519987"/>
                    <a:gd name="connsiteY147" fmla="*/ 190500 h 4496940"/>
                    <a:gd name="connsiteX148" fmla="*/ 1449727 w 4519987"/>
                    <a:gd name="connsiteY148" fmla="*/ 161925 h 4496940"/>
                    <a:gd name="connsiteX149" fmla="*/ 1525927 w 4519987"/>
                    <a:gd name="connsiteY149" fmla="*/ 152400 h 4496940"/>
                    <a:gd name="connsiteX150" fmla="*/ 1583077 w 4519987"/>
                    <a:gd name="connsiteY150" fmla="*/ 142875 h 4496940"/>
                    <a:gd name="connsiteX151" fmla="*/ 1716427 w 4519987"/>
                    <a:gd name="connsiteY151" fmla="*/ 123825 h 4496940"/>
                    <a:gd name="connsiteX152" fmla="*/ 1811677 w 4519987"/>
                    <a:gd name="connsiteY152" fmla="*/ 114300 h 4496940"/>
                    <a:gd name="connsiteX153" fmla="*/ 1859302 w 4519987"/>
                    <a:gd name="connsiteY153" fmla="*/ 104775 h 4496940"/>
                    <a:gd name="connsiteX154" fmla="*/ 1916452 w 4519987"/>
                    <a:gd name="connsiteY154" fmla="*/ 95250 h 4496940"/>
                    <a:gd name="connsiteX155" fmla="*/ 2030752 w 4519987"/>
                    <a:gd name="connsiteY155" fmla="*/ 66675 h 4496940"/>
                    <a:gd name="connsiteX156" fmla="*/ 2097427 w 4519987"/>
                    <a:gd name="connsiteY156" fmla="*/ 47625 h 4496940"/>
                    <a:gd name="connsiteX157" fmla="*/ 2164102 w 4519987"/>
                    <a:gd name="connsiteY157" fmla="*/ 38100 h 4496940"/>
                    <a:gd name="connsiteX158" fmla="*/ 2392702 w 4519987"/>
                    <a:gd name="connsiteY15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16727 w 4519987"/>
                    <a:gd name="connsiteY30" fmla="*/ 904875 h 4496940"/>
                    <a:gd name="connsiteX31" fmla="*/ 4135777 w 4519987"/>
                    <a:gd name="connsiteY31" fmla="*/ 933450 h 4496940"/>
                    <a:gd name="connsiteX32" fmla="*/ 4164352 w 4519987"/>
                    <a:gd name="connsiteY32" fmla="*/ 990600 h 4496940"/>
                    <a:gd name="connsiteX33" fmla="*/ 4173877 w 4519987"/>
                    <a:gd name="connsiteY33" fmla="*/ 1019175 h 4496940"/>
                    <a:gd name="connsiteX34" fmla="*/ 4192927 w 4519987"/>
                    <a:gd name="connsiteY34" fmla="*/ 1057275 h 4496940"/>
                    <a:gd name="connsiteX35" fmla="*/ 4202452 w 4519987"/>
                    <a:gd name="connsiteY35" fmla="*/ 1085850 h 4496940"/>
                    <a:gd name="connsiteX36" fmla="*/ 4250077 w 4519987"/>
                    <a:gd name="connsiteY36" fmla="*/ 1143000 h 4496940"/>
                    <a:gd name="connsiteX37" fmla="*/ 4259602 w 4519987"/>
                    <a:gd name="connsiteY37" fmla="*/ 1190625 h 4496940"/>
                    <a:gd name="connsiteX38" fmla="*/ 4307227 w 4519987"/>
                    <a:gd name="connsiteY38" fmla="*/ 1266825 h 4496940"/>
                    <a:gd name="connsiteX39" fmla="*/ 4345327 w 4519987"/>
                    <a:gd name="connsiteY39" fmla="*/ 1362075 h 4496940"/>
                    <a:gd name="connsiteX40" fmla="*/ 4373902 w 4519987"/>
                    <a:gd name="connsiteY40" fmla="*/ 1428750 h 4496940"/>
                    <a:gd name="connsiteX41" fmla="*/ 4392952 w 4519987"/>
                    <a:gd name="connsiteY41" fmla="*/ 1552575 h 4496940"/>
                    <a:gd name="connsiteX42" fmla="*/ 4402477 w 4519987"/>
                    <a:gd name="connsiteY42" fmla="*/ 1590675 h 4496940"/>
                    <a:gd name="connsiteX43" fmla="*/ 4431052 w 4519987"/>
                    <a:gd name="connsiteY43" fmla="*/ 1685925 h 4496940"/>
                    <a:gd name="connsiteX44" fmla="*/ 4519952 w 4519987"/>
                    <a:gd name="connsiteY44" fmla="*/ 2181225 h 4496940"/>
                    <a:gd name="connsiteX45" fmla="*/ 4446927 w 4519987"/>
                    <a:gd name="connsiteY45" fmla="*/ 2768600 h 4496940"/>
                    <a:gd name="connsiteX46" fmla="*/ 4383427 w 4519987"/>
                    <a:gd name="connsiteY46" fmla="*/ 2990850 h 4496940"/>
                    <a:gd name="connsiteX47" fmla="*/ 4278652 w 4519987"/>
                    <a:gd name="connsiteY47" fmla="*/ 3248025 h 4496940"/>
                    <a:gd name="connsiteX48" fmla="*/ 4259602 w 4519987"/>
                    <a:gd name="connsiteY48" fmla="*/ 3276600 h 4496940"/>
                    <a:gd name="connsiteX49" fmla="*/ 4221502 w 4519987"/>
                    <a:gd name="connsiteY49" fmla="*/ 3333750 h 4496940"/>
                    <a:gd name="connsiteX50" fmla="*/ 4211977 w 4519987"/>
                    <a:gd name="connsiteY50" fmla="*/ 3362325 h 4496940"/>
                    <a:gd name="connsiteX51" fmla="*/ 4183402 w 4519987"/>
                    <a:gd name="connsiteY51" fmla="*/ 3400425 h 4496940"/>
                    <a:gd name="connsiteX52" fmla="*/ 4164352 w 4519987"/>
                    <a:gd name="connsiteY52" fmla="*/ 3429000 h 4496940"/>
                    <a:gd name="connsiteX53" fmla="*/ 4088152 w 4519987"/>
                    <a:gd name="connsiteY53" fmla="*/ 3495675 h 4496940"/>
                    <a:gd name="connsiteX54" fmla="*/ 4059577 w 4519987"/>
                    <a:gd name="connsiteY54" fmla="*/ 3533775 h 4496940"/>
                    <a:gd name="connsiteX55" fmla="*/ 4002427 w 4519987"/>
                    <a:gd name="connsiteY55" fmla="*/ 3600450 h 4496940"/>
                    <a:gd name="connsiteX56" fmla="*/ 3983377 w 4519987"/>
                    <a:gd name="connsiteY56" fmla="*/ 3629025 h 4496940"/>
                    <a:gd name="connsiteX57" fmla="*/ 3954802 w 4519987"/>
                    <a:gd name="connsiteY57" fmla="*/ 3648075 h 4496940"/>
                    <a:gd name="connsiteX58" fmla="*/ 3907177 w 4519987"/>
                    <a:gd name="connsiteY58" fmla="*/ 3686175 h 4496940"/>
                    <a:gd name="connsiteX59" fmla="*/ 3869077 w 4519987"/>
                    <a:gd name="connsiteY59" fmla="*/ 3724275 h 4496940"/>
                    <a:gd name="connsiteX60" fmla="*/ 3792877 w 4519987"/>
                    <a:gd name="connsiteY60" fmla="*/ 3781425 h 4496940"/>
                    <a:gd name="connsiteX61" fmla="*/ 3783352 w 4519987"/>
                    <a:gd name="connsiteY61" fmla="*/ 3810000 h 4496940"/>
                    <a:gd name="connsiteX62" fmla="*/ 3745252 w 4519987"/>
                    <a:gd name="connsiteY62" fmla="*/ 3819525 h 4496940"/>
                    <a:gd name="connsiteX63" fmla="*/ 3678577 w 4519987"/>
                    <a:gd name="connsiteY63" fmla="*/ 3848100 h 4496940"/>
                    <a:gd name="connsiteX64" fmla="*/ 3659527 w 4519987"/>
                    <a:gd name="connsiteY64" fmla="*/ 3971925 h 4496940"/>
                    <a:gd name="connsiteX65" fmla="*/ 3630952 w 4519987"/>
                    <a:gd name="connsiteY65" fmla="*/ 4010025 h 4496940"/>
                    <a:gd name="connsiteX66" fmla="*/ 3621427 w 4519987"/>
                    <a:gd name="connsiteY66" fmla="*/ 4038600 h 4496940"/>
                    <a:gd name="connsiteX67" fmla="*/ 3554752 w 4519987"/>
                    <a:gd name="connsiteY67" fmla="*/ 4095750 h 4496940"/>
                    <a:gd name="connsiteX68" fmla="*/ 3516652 w 4519987"/>
                    <a:gd name="connsiteY68" fmla="*/ 4114800 h 4496940"/>
                    <a:gd name="connsiteX69" fmla="*/ 3497602 w 4519987"/>
                    <a:gd name="connsiteY69" fmla="*/ 4143375 h 4496940"/>
                    <a:gd name="connsiteX70" fmla="*/ 3383302 w 4519987"/>
                    <a:gd name="connsiteY70" fmla="*/ 4210050 h 4496940"/>
                    <a:gd name="connsiteX71" fmla="*/ 3335677 w 4519987"/>
                    <a:gd name="connsiteY71" fmla="*/ 4238625 h 4496940"/>
                    <a:gd name="connsiteX72" fmla="*/ 3288052 w 4519987"/>
                    <a:gd name="connsiteY72" fmla="*/ 4248150 h 4496940"/>
                    <a:gd name="connsiteX73" fmla="*/ 3240427 w 4519987"/>
                    <a:gd name="connsiteY73" fmla="*/ 4267200 h 4496940"/>
                    <a:gd name="connsiteX74" fmla="*/ 3068977 w 4519987"/>
                    <a:gd name="connsiteY74" fmla="*/ 4286250 h 4496940"/>
                    <a:gd name="connsiteX75" fmla="*/ 2935627 w 4519987"/>
                    <a:gd name="connsiteY75" fmla="*/ 4333875 h 4496940"/>
                    <a:gd name="connsiteX76" fmla="*/ 2811802 w 4519987"/>
                    <a:gd name="connsiteY76" fmla="*/ 4371975 h 4496940"/>
                    <a:gd name="connsiteX77" fmla="*/ 2745127 w 4519987"/>
                    <a:gd name="connsiteY77" fmla="*/ 4410075 h 4496940"/>
                    <a:gd name="connsiteX78" fmla="*/ 2697502 w 4519987"/>
                    <a:gd name="connsiteY78" fmla="*/ 4429125 h 4496940"/>
                    <a:gd name="connsiteX79" fmla="*/ 2640352 w 4519987"/>
                    <a:gd name="connsiteY79" fmla="*/ 4457700 h 4496940"/>
                    <a:gd name="connsiteX80" fmla="*/ 2583202 w 4519987"/>
                    <a:gd name="connsiteY80" fmla="*/ 4467225 h 4496940"/>
                    <a:gd name="connsiteX81" fmla="*/ 2545102 w 4519987"/>
                    <a:gd name="connsiteY81" fmla="*/ 4486275 h 4496940"/>
                    <a:gd name="connsiteX82" fmla="*/ 2306977 w 4519987"/>
                    <a:gd name="connsiteY82" fmla="*/ 4476750 h 4496940"/>
                    <a:gd name="connsiteX83" fmla="*/ 2202202 w 4519987"/>
                    <a:gd name="connsiteY83" fmla="*/ 4457700 h 4496940"/>
                    <a:gd name="connsiteX84" fmla="*/ 2126002 w 4519987"/>
                    <a:gd name="connsiteY84" fmla="*/ 4429125 h 4496940"/>
                    <a:gd name="connsiteX85" fmla="*/ 1935502 w 4519987"/>
                    <a:gd name="connsiteY85" fmla="*/ 4400550 h 4496940"/>
                    <a:gd name="connsiteX86" fmla="*/ 1821202 w 4519987"/>
                    <a:gd name="connsiteY86" fmla="*/ 4371975 h 4496940"/>
                    <a:gd name="connsiteX87" fmla="*/ 1754527 w 4519987"/>
                    <a:gd name="connsiteY87" fmla="*/ 4352925 h 4496940"/>
                    <a:gd name="connsiteX88" fmla="*/ 1687852 w 4519987"/>
                    <a:gd name="connsiteY88" fmla="*/ 4343400 h 4496940"/>
                    <a:gd name="connsiteX89" fmla="*/ 1573552 w 4519987"/>
                    <a:gd name="connsiteY89" fmla="*/ 4305300 h 4496940"/>
                    <a:gd name="connsiteX90" fmla="*/ 1402102 w 4519987"/>
                    <a:gd name="connsiteY90" fmla="*/ 4276725 h 4496940"/>
                    <a:gd name="connsiteX91" fmla="*/ 1287802 w 4519987"/>
                    <a:gd name="connsiteY91" fmla="*/ 4229100 h 4496940"/>
                    <a:gd name="connsiteX92" fmla="*/ 1221127 w 4519987"/>
                    <a:gd name="connsiteY92" fmla="*/ 4200525 h 4496940"/>
                    <a:gd name="connsiteX93" fmla="*/ 1144927 w 4519987"/>
                    <a:gd name="connsiteY93" fmla="*/ 4171950 h 4496940"/>
                    <a:gd name="connsiteX94" fmla="*/ 1087777 w 4519987"/>
                    <a:gd name="connsiteY94" fmla="*/ 4143375 h 4496940"/>
                    <a:gd name="connsiteX95" fmla="*/ 1030627 w 4519987"/>
                    <a:gd name="connsiteY95" fmla="*/ 4124325 h 4496940"/>
                    <a:gd name="connsiteX96" fmla="*/ 925852 w 4519987"/>
                    <a:gd name="connsiteY96" fmla="*/ 4067175 h 4496940"/>
                    <a:gd name="connsiteX97" fmla="*/ 830602 w 4519987"/>
                    <a:gd name="connsiteY97" fmla="*/ 3981450 h 4496940"/>
                    <a:gd name="connsiteX98" fmla="*/ 763927 w 4519987"/>
                    <a:gd name="connsiteY98" fmla="*/ 3914775 h 4496940"/>
                    <a:gd name="connsiteX99" fmla="*/ 725827 w 4519987"/>
                    <a:gd name="connsiteY99" fmla="*/ 3876675 h 4496940"/>
                    <a:gd name="connsiteX100" fmla="*/ 697252 w 4519987"/>
                    <a:gd name="connsiteY100" fmla="*/ 3838575 h 4496940"/>
                    <a:gd name="connsiteX101" fmla="*/ 640102 w 4519987"/>
                    <a:gd name="connsiteY101" fmla="*/ 3781425 h 4496940"/>
                    <a:gd name="connsiteX102" fmla="*/ 611527 w 4519987"/>
                    <a:gd name="connsiteY102" fmla="*/ 3733800 h 4496940"/>
                    <a:gd name="connsiteX103" fmla="*/ 554377 w 4519987"/>
                    <a:gd name="connsiteY103" fmla="*/ 3657600 h 4496940"/>
                    <a:gd name="connsiteX104" fmla="*/ 525802 w 4519987"/>
                    <a:gd name="connsiteY104" fmla="*/ 3609975 h 4496940"/>
                    <a:gd name="connsiteX105" fmla="*/ 497227 w 4519987"/>
                    <a:gd name="connsiteY105" fmla="*/ 3552825 h 4496940"/>
                    <a:gd name="connsiteX106" fmla="*/ 440077 w 4519987"/>
                    <a:gd name="connsiteY106" fmla="*/ 3495675 h 4496940"/>
                    <a:gd name="connsiteX107" fmla="*/ 411502 w 4519987"/>
                    <a:gd name="connsiteY107" fmla="*/ 3448050 h 4496940"/>
                    <a:gd name="connsiteX108" fmla="*/ 278152 w 4519987"/>
                    <a:gd name="connsiteY108" fmla="*/ 3257550 h 4496940"/>
                    <a:gd name="connsiteX109" fmla="*/ 249577 w 4519987"/>
                    <a:gd name="connsiteY109" fmla="*/ 3200400 h 4496940"/>
                    <a:gd name="connsiteX110" fmla="*/ 240052 w 4519987"/>
                    <a:gd name="connsiteY110" fmla="*/ 3162300 h 4496940"/>
                    <a:gd name="connsiteX111" fmla="*/ 221002 w 4519987"/>
                    <a:gd name="connsiteY111" fmla="*/ 3105150 h 4496940"/>
                    <a:gd name="connsiteX112" fmla="*/ 173377 w 4519987"/>
                    <a:gd name="connsiteY112" fmla="*/ 3019425 h 4496940"/>
                    <a:gd name="connsiteX113" fmla="*/ 144802 w 4519987"/>
                    <a:gd name="connsiteY113" fmla="*/ 2924175 h 4496940"/>
                    <a:gd name="connsiteX114" fmla="*/ 68602 w 4519987"/>
                    <a:gd name="connsiteY114" fmla="*/ 2724150 h 4496940"/>
                    <a:gd name="connsiteX115" fmla="*/ 49552 w 4519987"/>
                    <a:gd name="connsiteY115" fmla="*/ 2638425 h 4496940"/>
                    <a:gd name="connsiteX116" fmla="*/ 40027 w 4519987"/>
                    <a:gd name="connsiteY116" fmla="*/ 2562225 h 4496940"/>
                    <a:gd name="connsiteX117" fmla="*/ 30502 w 4519987"/>
                    <a:gd name="connsiteY117" fmla="*/ 2514600 h 4496940"/>
                    <a:gd name="connsiteX118" fmla="*/ 11452 w 4519987"/>
                    <a:gd name="connsiteY118" fmla="*/ 2400300 h 4496940"/>
                    <a:gd name="connsiteX119" fmla="*/ 20977 w 4519987"/>
                    <a:gd name="connsiteY119" fmla="*/ 1905000 h 4496940"/>
                    <a:gd name="connsiteX120" fmla="*/ 30502 w 4519987"/>
                    <a:gd name="connsiteY120" fmla="*/ 1838325 h 4496940"/>
                    <a:gd name="connsiteX121" fmla="*/ 49552 w 4519987"/>
                    <a:gd name="connsiteY121" fmla="*/ 1781175 h 4496940"/>
                    <a:gd name="connsiteX122" fmla="*/ 59077 w 4519987"/>
                    <a:gd name="connsiteY122" fmla="*/ 1743075 h 4496940"/>
                    <a:gd name="connsiteX123" fmla="*/ 78127 w 4519987"/>
                    <a:gd name="connsiteY123" fmla="*/ 1685925 h 4496940"/>
                    <a:gd name="connsiteX124" fmla="*/ 87652 w 4519987"/>
                    <a:gd name="connsiteY124" fmla="*/ 1638300 h 4496940"/>
                    <a:gd name="connsiteX125" fmla="*/ 106702 w 4519987"/>
                    <a:gd name="connsiteY125" fmla="*/ 1590675 h 4496940"/>
                    <a:gd name="connsiteX126" fmla="*/ 135277 w 4519987"/>
                    <a:gd name="connsiteY126" fmla="*/ 1504950 h 4496940"/>
                    <a:gd name="connsiteX127" fmla="*/ 154327 w 4519987"/>
                    <a:gd name="connsiteY127" fmla="*/ 1419225 h 4496940"/>
                    <a:gd name="connsiteX128" fmla="*/ 230527 w 4519987"/>
                    <a:gd name="connsiteY128" fmla="*/ 1276350 h 4496940"/>
                    <a:gd name="connsiteX129" fmla="*/ 240052 w 4519987"/>
                    <a:gd name="connsiteY129" fmla="*/ 1247775 h 4496940"/>
                    <a:gd name="connsiteX130" fmla="*/ 268627 w 4519987"/>
                    <a:gd name="connsiteY130" fmla="*/ 1200150 h 4496940"/>
                    <a:gd name="connsiteX131" fmla="*/ 287677 w 4519987"/>
                    <a:gd name="connsiteY131" fmla="*/ 1152525 h 4496940"/>
                    <a:gd name="connsiteX132" fmla="*/ 316252 w 4519987"/>
                    <a:gd name="connsiteY132" fmla="*/ 1114425 h 4496940"/>
                    <a:gd name="connsiteX133" fmla="*/ 363877 w 4519987"/>
                    <a:gd name="connsiteY133" fmla="*/ 1038225 h 4496940"/>
                    <a:gd name="connsiteX134" fmla="*/ 382927 w 4519987"/>
                    <a:gd name="connsiteY134" fmla="*/ 1009650 h 4496940"/>
                    <a:gd name="connsiteX135" fmla="*/ 440077 w 4519987"/>
                    <a:gd name="connsiteY135" fmla="*/ 904875 h 4496940"/>
                    <a:gd name="connsiteX136" fmla="*/ 478177 w 4519987"/>
                    <a:gd name="connsiteY136" fmla="*/ 857250 h 4496940"/>
                    <a:gd name="connsiteX137" fmla="*/ 497227 w 4519987"/>
                    <a:gd name="connsiteY137" fmla="*/ 828675 h 4496940"/>
                    <a:gd name="connsiteX138" fmla="*/ 535327 w 4519987"/>
                    <a:gd name="connsiteY138" fmla="*/ 800100 h 4496940"/>
                    <a:gd name="connsiteX139" fmla="*/ 602002 w 4519987"/>
                    <a:gd name="connsiteY139" fmla="*/ 733425 h 4496940"/>
                    <a:gd name="connsiteX140" fmla="*/ 668677 w 4519987"/>
                    <a:gd name="connsiteY140" fmla="*/ 676275 h 4496940"/>
                    <a:gd name="connsiteX141" fmla="*/ 697252 w 4519987"/>
                    <a:gd name="connsiteY141" fmla="*/ 657225 h 4496940"/>
                    <a:gd name="connsiteX142" fmla="*/ 840127 w 4519987"/>
                    <a:gd name="connsiteY142" fmla="*/ 533400 h 4496940"/>
                    <a:gd name="connsiteX143" fmla="*/ 887752 w 4519987"/>
                    <a:gd name="connsiteY143" fmla="*/ 504825 h 4496940"/>
                    <a:gd name="connsiteX144" fmla="*/ 1167152 w 4519987"/>
                    <a:gd name="connsiteY144" fmla="*/ 311150 h 4496940"/>
                    <a:gd name="connsiteX145" fmla="*/ 1268752 w 4519987"/>
                    <a:gd name="connsiteY145" fmla="*/ 285750 h 4496940"/>
                    <a:gd name="connsiteX146" fmla="*/ 1411627 w 4519987"/>
                    <a:gd name="connsiteY146" fmla="*/ 190500 h 4496940"/>
                    <a:gd name="connsiteX147" fmla="*/ 1449727 w 4519987"/>
                    <a:gd name="connsiteY147" fmla="*/ 161925 h 4496940"/>
                    <a:gd name="connsiteX148" fmla="*/ 1525927 w 4519987"/>
                    <a:gd name="connsiteY148" fmla="*/ 152400 h 4496940"/>
                    <a:gd name="connsiteX149" fmla="*/ 1583077 w 4519987"/>
                    <a:gd name="connsiteY149" fmla="*/ 142875 h 4496940"/>
                    <a:gd name="connsiteX150" fmla="*/ 1716427 w 4519987"/>
                    <a:gd name="connsiteY150" fmla="*/ 123825 h 4496940"/>
                    <a:gd name="connsiteX151" fmla="*/ 1811677 w 4519987"/>
                    <a:gd name="connsiteY151" fmla="*/ 114300 h 4496940"/>
                    <a:gd name="connsiteX152" fmla="*/ 1859302 w 4519987"/>
                    <a:gd name="connsiteY152" fmla="*/ 104775 h 4496940"/>
                    <a:gd name="connsiteX153" fmla="*/ 1916452 w 4519987"/>
                    <a:gd name="connsiteY153" fmla="*/ 95250 h 4496940"/>
                    <a:gd name="connsiteX154" fmla="*/ 2030752 w 4519987"/>
                    <a:gd name="connsiteY154" fmla="*/ 66675 h 4496940"/>
                    <a:gd name="connsiteX155" fmla="*/ 2097427 w 4519987"/>
                    <a:gd name="connsiteY155" fmla="*/ 47625 h 4496940"/>
                    <a:gd name="connsiteX156" fmla="*/ 2164102 w 4519987"/>
                    <a:gd name="connsiteY156" fmla="*/ 38100 h 4496940"/>
                    <a:gd name="connsiteX157" fmla="*/ 2392702 w 4519987"/>
                    <a:gd name="connsiteY15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35777 w 4519987"/>
                    <a:gd name="connsiteY30" fmla="*/ 933450 h 4496940"/>
                    <a:gd name="connsiteX31" fmla="*/ 4164352 w 4519987"/>
                    <a:gd name="connsiteY31" fmla="*/ 990600 h 4496940"/>
                    <a:gd name="connsiteX32" fmla="*/ 4173877 w 4519987"/>
                    <a:gd name="connsiteY32" fmla="*/ 1019175 h 4496940"/>
                    <a:gd name="connsiteX33" fmla="*/ 4192927 w 4519987"/>
                    <a:gd name="connsiteY33" fmla="*/ 1057275 h 4496940"/>
                    <a:gd name="connsiteX34" fmla="*/ 4202452 w 4519987"/>
                    <a:gd name="connsiteY34" fmla="*/ 1085850 h 4496940"/>
                    <a:gd name="connsiteX35" fmla="*/ 4250077 w 4519987"/>
                    <a:gd name="connsiteY35" fmla="*/ 1143000 h 4496940"/>
                    <a:gd name="connsiteX36" fmla="*/ 4259602 w 4519987"/>
                    <a:gd name="connsiteY36" fmla="*/ 1190625 h 4496940"/>
                    <a:gd name="connsiteX37" fmla="*/ 4307227 w 4519987"/>
                    <a:gd name="connsiteY37" fmla="*/ 1266825 h 4496940"/>
                    <a:gd name="connsiteX38" fmla="*/ 4345327 w 4519987"/>
                    <a:gd name="connsiteY38" fmla="*/ 1362075 h 4496940"/>
                    <a:gd name="connsiteX39" fmla="*/ 4373902 w 4519987"/>
                    <a:gd name="connsiteY39" fmla="*/ 1428750 h 4496940"/>
                    <a:gd name="connsiteX40" fmla="*/ 4392952 w 4519987"/>
                    <a:gd name="connsiteY40" fmla="*/ 1552575 h 4496940"/>
                    <a:gd name="connsiteX41" fmla="*/ 4402477 w 4519987"/>
                    <a:gd name="connsiteY41" fmla="*/ 1590675 h 4496940"/>
                    <a:gd name="connsiteX42" fmla="*/ 4431052 w 4519987"/>
                    <a:gd name="connsiteY42" fmla="*/ 1685925 h 4496940"/>
                    <a:gd name="connsiteX43" fmla="*/ 4519952 w 4519987"/>
                    <a:gd name="connsiteY43" fmla="*/ 2181225 h 4496940"/>
                    <a:gd name="connsiteX44" fmla="*/ 4446927 w 4519987"/>
                    <a:gd name="connsiteY44" fmla="*/ 2768600 h 4496940"/>
                    <a:gd name="connsiteX45" fmla="*/ 4383427 w 4519987"/>
                    <a:gd name="connsiteY45" fmla="*/ 2990850 h 4496940"/>
                    <a:gd name="connsiteX46" fmla="*/ 4278652 w 4519987"/>
                    <a:gd name="connsiteY46" fmla="*/ 3248025 h 4496940"/>
                    <a:gd name="connsiteX47" fmla="*/ 4259602 w 4519987"/>
                    <a:gd name="connsiteY47" fmla="*/ 3276600 h 4496940"/>
                    <a:gd name="connsiteX48" fmla="*/ 4221502 w 4519987"/>
                    <a:gd name="connsiteY48" fmla="*/ 3333750 h 4496940"/>
                    <a:gd name="connsiteX49" fmla="*/ 4211977 w 4519987"/>
                    <a:gd name="connsiteY49" fmla="*/ 3362325 h 4496940"/>
                    <a:gd name="connsiteX50" fmla="*/ 4183402 w 4519987"/>
                    <a:gd name="connsiteY50" fmla="*/ 3400425 h 4496940"/>
                    <a:gd name="connsiteX51" fmla="*/ 4164352 w 4519987"/>
                    <a:gd name="connsiteY51" fmla="*/ 3429000 h 4496940"/>
                    <a:gd name="connsiteX52" fmla="*/ 4088152 w 4519987"/>
                    <a:gd name="connsiteY52" fmla="*/ 3495675 h 4496940"/>
                    <a:gd name="connsiteX53" fmla="*/ 4059577 w 4519987"/>
                    <a:gd name="connsiteY53" fmla="*/ 3533775 h 4496940"/>
                    <a:gd name="connsiteX54" fmla="*/ 4002427 w 4519987"/>
                    <a:gd name="connsiteY54" fmla="*/ 3600450 h 4496940"/>
                    <a:gd name="connsiteX55" fmla="*/ 3983377 w 4519987"/>
                    <a:gd name="connsiteY55" fmla="*/ 3629025 h 4496940"/>
                    <a:gd name="connsiteX56" fmla="*/ 3954802 w 4519987"/>
                    <a:gd name="connsiteY56" fmla="*/ 3648075 h 4496940"/>
                    <a:gd name="connsiteX57" fmla="*/ 3907177 w 4519987"/>
                    <a:gd name="connsiteY57" fmla="*/ 3686175 h 4496940"/>
                    <a:gd name="connsiteX58" fmla="*/ 3869077 w 4519987"/>
                    <a:gd name="connsiteY58" fmla="*/ 3724275 h 4496940"/>
                    <a:gd name="connsiteX59" fmla="*/ 3792877 w 4519987"/>
                    <a:gd name="connsiteY59" fmla="*/ 3781425 h 4496940"/>
                    <a:gd name="connsiteX60" fmla="*/ 3783352 w 4519987"/>
                    <a:gd name="connsiteY60" fmla="*/ 3810000 h 4496940"/>
                    <a:gd name="connsiteX61" fmla="*/ 3745252 w 4519987"/>
                    <a:gd name="connsiteY61" fmla="*/ 3819525 h 4496940"/>
                    <a:gd name="connsiteX62" fmla="*/ 3678577 w 4519987"/>
                    <a:gd name="connsiteY62" fmla="*/ 3848100 h 4496940"/>
                    <a:gd name="connsiteX63" fmla="*/ 3659527 w 4519987"/>
                    <a:gd name="connsiteY63" fmla="*/ 3971925 h 4496940"/>
                    <a:gd name="connsiteX64" fmla="*/ 3630952 w 4519987"/>
                    <a:gd name="connsiteY64" fmla="*/ 4010025 h 4496940"/>
                    <a:gd name="connsiteX65" fmla="*/ 3621427 w 4519987"/>
                    <a:gd name="connsiteY65" fmla="*/ 4038600 h 4496940"/>
                    <a:gd name="connsiteX66" fmla="*/ 3554752 w 4519987"/>
                    <a:gd name="connsiteY66" fmla="*/ 4095750 h 4496940"/>
                    <a:gd name="connsiteX67" fmla="*/ 3516652 w 4519987"/>
                    <a:gd name="connsiteY67" fmla="*/ 4114800 h 4496940"/>
                    <a:gd name="connsiteX68" fmla="*/ 3497602 w 4519987"/>
                    <a:gd name="connsiteY68" fmla="*/ 4143375 h 4496940"/>
                    <a:gd name="connsiteX69" fmla="*/ 3383302 w 4519987"/>
                    <a:gd name="connsiteY69" fmla="*/ 4210050 h 4496940"/>
                    <a:gd name="connsiteX70" fmla="*/ 3335677 w 4519987"/>
                    <a:gd name="connsiteY70" fmla="*/ 4238625 h 4496940"/>
                    <a:gd name="connsiteX71" fmla="*/ 3288052 w 4519987"/>
                    <a:gd name="connsiteY71" fmla="*/ 4248150 h 4496940"/>
                    <a:gd name="connsiteX72" fmla="*/ 3240427 w 4519987"/>
                    <a:gd name="connsiteY72" fmla="*/ 4267200 h 4496940"/>
                    <a:gd name="connsiteX73" fmla="*/ 3068977 w 4519987"/>
                    <a:gd name="connsiteY73" fmla="*/ 4286250 h 4496940"/>
                    <a:gd name="connsiteX74" fmla="*/ 2935627 w 4519987"/>
                    <a:gd name="connsiteY74" fmla="*/ 4333875 h 4496940"/>
                    <a:gd name="connsiteX75" fmla="*/ 2811802 w 4519987"/>
                    <a:gd name="connsiteY75" fmla="*/ 4371975 h 4496940"/>
                    <a:gd name="connsiteX76" fmla="*/ 2745127 w 4519987"/>
                    <a:gd name="connsiteY76" fmla="*/ 4410075 h 4496940"/>
                    <a:gd name="connsiteX77" fmla="*/ 2697502 w 4519987"/>
                    <a:gd name="connsiteY77" fmla="*/ 4429125 h 4496940"/>
                    <a:gd name="connsiteX78" fmla="*/ 2640352 w 4519987"/>
                    <a:gd name="connsiteY78" fmla="*/ 4457700 h 4496940"/>
                    <a:gd name="connsiteX79" fmla="*/ 2583202 w 4519987"/>
                    <a:gd name="connsiteY79" fmla="*/ 4467225 h 4496940"/>
                    <a:gd name="connsiteX80" fmla="*/ 2545102 w 4519987"/>
                    <a:gd name="connsiteY80" fmla="*/ 4486275 h 4496940"/>
                    <a:gd name="connsiteX81" fmla="*/ 2306977 w 4519987"/>
                    <a:gd name="connsiteY81" fmla="*/ 4476750 h 4496940"/>
                    <a:gd name="connsiteX82" fmla="*/ 2202202 w 4519987"/>
                    <a:gd name="connsiteY82" fmla="*/ 4457700 h 4496940"/>
                    <a:gd name="connsiteX83" fmla="*/ 2126002 w 4519987"/>
                    <a:gd name="connsiteY83" fmla="*/ 4429125 h 4496940"/>
                    <a:gd name="connsiteX84" fmla="*/ 1935502 w 4519987"/>
                    <a:gd name="connsiteY84" fmla="*/ 4400550 h 4496940"/>
                    <a:gd name="connsiteX85" fmla="*/ 1821202 w 4519987"/>
                    <a:gd name="connsiteY85" fmla="*/ 4371975 h 4496940"/>
                    <a:gd name="connsiteX86" fmla="*/ 1754527 w 4519987"/>
                    <a:gd name="connsiteY86" fmla="*/ 4352925 h 4496940"/>
                    <a:gd name="connsiteX87" fmla="*/ 1687852 w 4519987"/>
                    <a:gd name="connsiteY87" fmla="*/ 4343400 h 4496940"/>
                    <a:gd name="connsiteX88" fmla="*/ 1573552 w 4519987"/>
                    <a:gd name="connsiteY88" fmla="*/ 4305300 h 4496940"/>
                    <a:gd name="connsiteX89" fmla="*/ 1402102 w 4519987"/>
                    <a:gd name="connsiteY89" fmla="*/ 4276725 h 4496940"/>
                    <a:gd name="connsiteX90" fmla="*/ 1287802 w 4519987"/>
                    <a:gd name="connsiteY90" fmla="*/ 4229100 h 4496940"/>
                    <a:gd name="connsiteX91" fmla="*/ 1221127 w 4519987"/>
                    <a:gd name="connsiteY91" fmla="*/ 4200525 h 4496940"/>
                    <a:gd name="connsiteX92" fmla="*/ 1144927 w 4519987"/>
                    <a:gd name="connsiteY92" fmla="*/ 4171950 h 4496940"/>
                    <a:gd name="connsiteX93" fmla="*/ 1087777 w 4519987"/>
                    <a:gd name="connsiteY93" fmla="*/ 4143375 h 4496940"/>
                    <a:gd name="connsiteX94" fmla="*/ 1030627 w 4519987"/>
                    <a:gd name="connsiteY94" fmla="*/ 4124325 h 4496940"/>
                    <a:gd name="connsiteX95" fmla="*/ 925852 w 4519987"/>
                    <a:gd name="connsiteY95" fmla="*/ 4067175 h 4496940"/>
                    <a:gd name="connsiteX96" fmla="*/ 830602 w 4519987"/>
                    <a:gd name="connsiteY96" fmla="*/ 3981450 h 4496940"/>
                    <a:gd name="connsiteX97" fmla="*/ 763927 w 4519987"/>
                    <a:gd name="connsiteY97" fmla="*/ 3914775 h 4496940"/>
                    <a:gd name="connsiteX98" fmla="*/ 725827 w 4519987"/>
                    <a:gd name="connsiteY98" fmla="*/ 3876675 h 4496940"/>
                    <a:gd name="connsiteX99" fmla="*/ 697252 w 4519987"/>
                    <a:gd name="connsiteY99" fmla="*/ 3838575 h 4496940"/>
                    <a:gd name="connsiteX100" fmla="*/ 640102 w 4519987"/>
                    <a:gd name="connsiteY100" fmla="*/ 3781425 h 4496940"/>
                    <a:gd name="connsiteX101" fmla="*/ 611527 w 4519987"/>
                    <a:gd name="connsiteY101" fmla="*/ 3733800 h 4496940"/>
                    <a:gd name="connsiteX102" fmla="*/ 554377 w 4519987"/>
                    <a:gd name="connsiteY102" fmla="*/ 3657600 h 4496940"/>
                    <a:gd name="connsiteX103" fmla="*/ 525802 w 4519987"/>
                    <a:gd name="connsiteY103" fmla="*/ 3609975 h 4496940"/>
                    <a:gd name="connsiteX104" fmla="*/ 497227 w 4519987"/>
                    <a:gd name="connsiteY104" fmla="*/ 3552825 h 4496940"/>
                    <a:gd name="connsiteX105" fmla="*/ 440077 w 4519987"/>
                    <a:gd name="connsiteY105" fmla="*/ 3495675 h 4496940"/>
                    <a:gd name="connsiteX106" fmla="*/ 411502 w 4519987"/>
                    <a:gd name="connsiteY106" fmla="*/ 3448050 h 4496940"/>
                    <a:gd name="connsiteX107" fmla="*/ 278152 w 4519987"/>
                    <a:gd name="connsiteY107" fmla="*/ 3257550 h 4496940"/>
                    <a:gd name="connsiteX108" fmla="*/ 249577 w 4519987"/>
                    <a:gd name="connsiteY108" fmla="*/ 3200400 h 4496940"/>
                    <a:gd name="connsiteX109" fmla="*/ 240052 w 4519987"/>
                    <a:gd name="connsiteY109" fmla="*/ 3162300 h 4496940"/>
                    <a:gd name="connsiteX110" fmla="*/ 221002 w 4519987"/>
                    <a:gd name="connsiteY110" fmla="*/ 3105150 h 4496940"/>
                    <a:gd name="connsiteX111" fmla="*/ 173377 w 4519987"/>
                    <a:gd name="connsiteY111" fmla="*/ 3019425 h 4496940"/>
                    <a:gd name="connsiteX112" fmla="*/ 144802 w 4519987"/>
                    <a:gd name="connsiteY112" fmla="*/ 2924175 h 4496940"/>
                    <a:gd name="connsiteX113" fmla="*/ 68602 w 4519987"/>
                    <a:gd name="connsiteY113" fmla="*/ 2724150 h 4496940"/>
                    <a:gd name="connsiteX114" fmla="*/ 49552 w 4519987"/>
                    <a:gd name="connsiteY114" fmla="*/ 2638425 h 4496940"/>
                    <a:gd name="connsiteX115" fmla="*/ 40027 w 4519987"/>
                    <a:gd name="connsiteY115" fmla="*/ 2562225 h 4496940"/>
                    <a:gd name="connsiteX116" fmla="*/ 30502 w 4519987"/>
                    <a:gd name="connsiteY116" fmla="*/ 2514600 h 4496940"/>
                    <a:gd name="connsiteX117" fmla="*/ 11452 w 4519987"/>
                    <a:gd name="connsiteY117" fmla="*/ 2400300 h 4496940"/>
                    <a:gd name="connsiteX118" fmla="*/ 20977 w 4519987"/>
                    <a:gd name="connsiteY118" fmla="*/ 1905000 h 4496940"/>
                    <a:gd name="connsiteX119" fmla="*/ 30502 w 4519987"/>
                    <a:gd name="connsiteY119" fmla="*/ 1838325 h 4496940"/>
                    <a:gd name="connsiteX120" fmla="*/ 49552 w 4519987"/>
                    <a:gd name="connsiteY120" fmla="*/ 1781175 h 4496940"/>
                    <a:gd name="connsiteX121" fmla="*/ 59077 w 4519987"/>
                    <a:gd name="connsiteY121" fmla="*/ 1743075 h 4496940"/>
                    <a:gd name="connsiteX122" fmla="*/ 78127 w 4519987"/>
                    <a:gd name="connsiteY122" fmla="*/ 1685925 h 4496940"/>
                    <a:gd name="connsiteX123" fmla="*/ 87652 w 4519987"/>
                    <a:gd name="connsiteY123" fmla="*/ 1638300 h 4496940"/>
                    <a:gd name="connsiteX124" fmla="*/ 106702 w 4519987"/>
                    <a:gd name="connsiteY124" fmla="*/ 1590675 h 4496940"/>
                    <a:gd name="connsiteX125" fmla="*/ 135277 w 4519987"/>
                    <a:gd name="connsiteY125" fmla="*/ 1504950 h 4496940"/>
                    <a:gd name="connsiteX126" fmla="*/ 154327 w 4519987"/>
                    <a:gd name="connsiteY126" fmla="*/ 1419225 h 4496940"/>
                    <a:gd name="connsiteX127" fmla="*/ 230527 w 4519987"/>
                    <a:gd name="connsiteY127" fmla="*/ 1276350 h 4496940"/>
                    <a:gd name="connsiteX128" fmla="*/ 240052 w 4519987"/>
                    <a:gd name="connsiteY128" fmla="*/ 1247775 h 4496940"/>
                    <a:gd name="connsiteX129" fmla="*/ 268627 w 4519987"/>
                    <a:gd name="connsiteY129" fmla="*/ 1200150 h 4496940"/>
                    <a:gd name="connsiteX130" fmla="*/ 287677 w 4519987"/>
                    <a:gd name="connsiteY130" fmla="*/ 1152525 h 4496940"/>
                    <a:gd name="connsiteX131" fmla="*/ 316252 w 4519987"/>
                    <a:gd name="connsiteY131" fmla="*/ 1114425 h 4496940"/>
                    <a:gd name="connsiteX132" fmla="*/ 363877 w 4519987"/>
                    <a:gd name="connsiteY132" fmla="*/ 1038225 h 4496940"/>
                    <a:gd name="connsiteX133" fmla="*/ 382927 w 4519987"/>
                    <a:gd name="connsiteY133" fmla="*/ 1009650 h 4496940"/>
                    <a:gd name="connsiteX134" fmla="*/ 440077 w 4519987"/>
                    <a:gd name="connsiteY134" fmla="*/ 904875 h 4496940"/>
                    <a:gd name="connsiteX135" fmla="*/ 478177 w 4519987"/>
                    <a:gd name="connsiteY135" fmla="*/ 857250 h 4496940"/>
                    <a:gd name="connsiteX136" fmla="*/ 497227 w 4519987"/>
                    <a:gd name="connsiteY136" fmla="*/ 828675 h 4496940"/>
                    <a:gd name="connsiteX137" fmla="*/ 535327 w 4519987"/>
                    <a:gd name="connsiteY137" fmla="*/ 800100 h 4496940"/>
                    <a:gd name="connsiteX138" fmla="*/ 602002 w 4519987"/>
                    <a:gd name="connsiteY138" fmla="*/ 733425 h 4496940"/>
                    <a:gd name="connsiteX139" fmla="*/ 668677 w 4519987"/>
                    <a:gd name="connsiteY139" fmla="*/ 676275 h 4496940"/>
                    <a:gd name="connsiteX140" fmla="*/ 697252 w 4519987"/>
                    <a:gd name="connsiteY140" fmla="*/ 657225 h 4496940"/>
                    <a:gd name="connsiteX141" fmla="*/ 840127 w 4519987"/>
                    <a:gd name="connsiteY141" fmla="*/ 533400 h 4496940"/>
                    <a:gd name="connsiteX142" fmla="*/ 887752 w 4519987"/>
                    <a:gd name="connsiteY142" fmla="*/ 504825 h 4496940"/>
                    <a:gd name="connsiteX143" fmla="*/ 1167152 w 4519987"/>
                    <a:gd name="connsiteY143" fmla="*/ 311150 h 4496940"/>
                    <a:gd name="connsiteX144" fmla="*/ 1268752 w 4519987"/>
                    <a:gd name="connsiteY144" fmla="*/ 285750 h 4496940"/>
                    <a:gd name="connsiteX145" fmla="*/ 1411627 w 4519987"/>
                    <a:gd name="connsiteY145" fmla="*/ 190500 h 4496940"/>
                    <a:gd name="connsiteX146" fmla="*/ 1449727 w 4519987"/>
                    <a:gd name="connsiteY146" fmla="*/ 161925 h 4496940"/>
                    <a:gd name="connsiteX147" fmla="*/ 1525927 w 4519987"/>
                    <a:gd name="connsiteY147" fmla="*/ 152400 h 4496940"/>
                    <a:gd name="connsiteX148" fmla="*/ 1583077 w 4519987"/>
                    <a:gd name="connsiteY148" fmla="*/ 142875 h 4496940"/>
                    <a:gd name="connsiteX149" fmla="*/ 1716427 w 4519987"/>
                    <a:gd name="connsiteY149" fmla="*/ 123825 h 4496940"/>
                    <a:gd name="connsiteX150" fmla="*/ 1811677 w 4519987"/>
                    <a:gd name="connsiteY150" fmla="*/ 114300 h 4496940"/>
                    <a:gd name="connsiteX151" fmla="*/ 1859302 w 4519987"/>
                    <a:gd name="connsiteY151" fmla="*/ 104775 h 4496940"/>
                    <a:gd name="connsiteX152" fmla="*/ 1916452 w 4519987"/>
                    <a:gd name="connsiteY152" fmla="*/ 95250 h 4496940"/>
                    <a:gd name="connsiteX153" fmla="*/ 2030752 w 4519987"/>
                    <a:gd name="connsiteY153" fmla="*/ 66675 h 4496940"/>
                    <a:gd name="connsiteX154" fmla="*/ 2097427 w 4519987"/>
                    <a:gd name="connsiteY154" fmla="*/ 47625 h 4496940"/>
                    <a:gd name="connsiteX155" fmla="*/ 2164102 w 4519987"/>
                    <a:gd name="connsiteY155" fmla="*/ 38100 h 4496940"/>
                    <a:gd name="connsiteX156" fmla="*/ 2392702 w 4519987"/>
                    <a:gd name="connsiteY15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35777 w 4519987"/>
                    <a:gd name="connsiteY29" fmla="*/ 933450 h 4496940"/>
                    <a:gd name="connsiteX30" fmla="*/ 4164352 w 4519987"/>
                    <a:gd name="connsiteY30" fmla="*/ 990600 h 4496940"/>
                    <a:gd name="connsiteX31" fmla="*/ 4173877 w 4519987"/>
                    <a:gd name="connsiteY31" fmla="*/ 1019175 h 4496940"/>
                    <a:gd name="connsiteX32" fmla="*/ 4192927 w 4519987"/>
                    <a:gd name="connsiteY32" fmla="*/ 1057275 h 4496940"/>
                    <a:gd name="connsiteX33" fmla="*/ 4202452 w 4519987"/>
                    <a:gd name="connsiteY33" fmla="*/ 1085850 h 4496940"/>
                    <a:gd name="connsiteX34" fmla="*/ 4250077 w 4519987"/>
                    <a:gd name="connsiteY34" fmla="*/ 1143000 h 4496940"/>
                    <a:gd name="connsiteX35" fmla="*/ 4259602 w 4519987"/>
                    <a:gd name="connsiteY35" fmla="*/ 1190625 h 4496940"/>
                    <a:gd name="connsiteX36" fmla="*/ 4307227 w 4519987"/>
                    <a:gd name="connsiteY36" fmla="*/ 1266825 h 4496940"/>
                    <a:gd name="connsiteX37" fmla="*/ 4345327 w 4519987"/>
                    <a:gd name="connsiteY37" fmla="*/ 1362075 h 4496940"/>
                    <a:gd name="connsiteX38" fmla="*/ 4373902 w 4519987"/>
                    <a:gd name="connsiteY38" fmla="*/ 1428750 h 4496940"/>
                    <a:gd name="connsiteX39" fmla="*/ 4392952 w 4519987"/>
                    <a:gd name="connsiteY39" fmla="*/ 1552575 h 4496940"/>
                    <a:gd name="connsiteX40" fmla="*/ 4402477 w 4519987"/>
                    <a:gd name="connsiteY40" fmla="*/ 1590675 h 4496940"/>
                    <a:gd name="connsiteX41" fmla="*/ 4431052 w 4519987"/>
                    <a:gd name="connsiteY41" fmla="*/ 1685925 h 4496940"/>
                    <a:gd name="connsiteX42" fmla="*/ 4519952 w 4519987"/>
                    <a:gd name="connsiteY42" fmla="*/ 2181225 h 4496940"/>
                    <a:gd name="connsiteX43" fmla="*/ 4446927 w 4519987"/>
                    <a:gd name="connsiteY43" fmla="*/ 2768600 h 4496940"/>
                    <a:gd name="connsiteX44" fmla="*/ 4383427 w 4519987"/>
                    <a:gd name="connsiteY44" fmla="*/ 2990850 h 4496940"/>
                    <a:gd name="connsiteX45" fmla="*/ 4278652 w 4519987"/>
                    <a:gd name="connsiteY45" fmla="*/ 3248025 h 4496940"/>
                    <a:gd name="connsiteX46" fmla="*/ 4259602 w 4519987"/>
                    <a:gd name="connsiteY46" fmla="*/ 3276600 h 4496940"/>
                    <a:gd name="connsiteX47" fmla="*/ 4221502 w 4519987"/>
                    <a:gd name="connsiteY47" fmla="*/ 3333750 h 4496940"/>
                    <a:gd name="connsiteX48" fmla="*/ 4211977 w 4519987"/>
                    <a:gd name="connsiteY48" fmla="*/ 3362325 h 4496940"/>
                    <a:gd name="connsiteX49" fmla="*/ 4183402 w 4519987"/>
                    <a:gd name="connsiteY49" fmla="*/ 3400425 h 4496940"/>
                    <a:gd name="connsiteX50" fmla="*/ 4164352 w 4519987"/>
                    <a:gd name="connsiteY50" fmla="*/ 3429000 h 4496940"/>
                    <a:gd name="connsiteX51" fmla="*/ 4088152 w 4519987"/>
                    <a:gd name="connsiteY51" fmla="*/ 3495675 h 4496940"/>
                    <a:gd name="connsiteX52" fmla="*/ 4059577 w 4519987"/>
                    <a:gd name="connsiteY52" fmla="*/ 3533775 h 4496940"/>
                    <a:gd name="connsiteX53" fmla="*/ 4002427 w 4519987"/>
                    <a:gd name="connsiteY53" fmla="*/ 3600450 h 4496940"/>
                    <a:gd name="connsiteX54" fmla="*/ 3983377 w 4519987"/>
                    <a:gd name="connsiteY54" fmla="*/ 3629025 h 4496940"/>
                    <a:gd name="connsiteX55" fmla="*/ 3954802 w 4519987"/>
                    <a:gd name="connsiteY55" fmla="*/ 3648075 h 4496940"/>
                    <a:gd name="connsiteX56" fmla="*/ 3907177 w 4519987"/>
                    <a:gd name="connsiteY56" fmla="*/ 3686175 h 4496940"/>
                    <a:gd name="connsiteX57" fmla="*/ 3869077 w 4519987"/>
                    <a:gd name="connsiteY57" fmla="*/ 3724275 h 4496940"/>
                    <a:gd name="connsiteX58" fmla="*/ 3792877 w 4519987"/>
                    <a:gd name="connsiteY58" fmla="*/ 3781425 h 4496940"/>
                    <a:gd name="connsiteX59" fmla="*/ 3783352 w 4519987"/>
                    <a:gd name="connsiteY59" fmla="*/ 3810000 h 4496940"/>
                    <a:gd name="connsiteX60" fmla="*/ 3745252 w 4519987"/>
                    <a:gd name="connsiteY60" fmla="*/ 3819525 h 4496940"/>
                    <a:gd name="connsiteX61" fmla="*/ 3678577 w 4519987"/>
                    <a:gd name="connsiteY61" fmla="*/ 3848100 h 4496940"/>
                    <a:gd name="connsiteX62" fmla="*/ 3659527 w 4519987"/>
                    <a:gd name="connsiteY62" fmla="*/ 3971925 h 4496940"/>
                    <a:gd name="connsiteX63" fmla="*/ 3630952 w 4519987"/>
                    <a:gd name="connsiteY63" fmla="*/ 4010025 h 4496940"/>
                    <a:gd name="connsiteX64" fmla="*/ 3621427 w 4519987"/>
                    <a:gd name="connsiteY64" fmla="*/ 4038600 h 4496940"/>
                    <a:gd name="connsiteX65" fmla="*/ 3554752 w 4519987"/>
                    <a:gd name="connsiteY65" fmla="*/ 4095750 h 4496940"/>
                    <a:gd name="connsiteX66" fmla="*/ 3516652 w 4519987"/>
                    <a:gd name="connsiteY66" fmla="*/ 4114800 h 4496940"/>
                    <a:gd name="connsiteX67" fmla="*/ 3497602 w 4519987"/>
                    <a:gd name="connsiteY67" fmla="*/ 4143375 h 4496940"/>
                    <a:gd name="connsiteX68" fmla="*/ 3383302 w 4519987"/>
                    <a:gd name="connsiteY68" fmla="*/ 4210050 h 4496940"/>
                    <a:gd name="connsiteX69" fmla="*/ 3335677 w 4519987"/>
                    <a:gd name="connsiteY69" fmla="*/ 4238625 h 4496940"/>
                    <a:gd name="connsiteX70" fmla="*/ 3288052 w 4519987"/>
                    <a:gd name="connsiteY70" fmla="*/ 4248150 h 4496940"/>
                    <a:gd name="connsiteX71" fmla="*/ 3240427 w 4519987"/>
                    <a:gd name="connsiteY71" fmla="*/ 4267200 h 4496940"/>
                    <a:gd name="connsiteX72" fmla="*/ 3068977 w 4519987"/>
                    <a:gd name="connsiteY72" fmla="*/ 4286250 h 4496940"/>
                    <a:gd name="connsiteX73" fmla="*/ 2935627 w 4519987"/>
                    <a:gd name="connsiteY73" fmla="*/ 4333875 h 4496940"/>
                    <a:gd name="connsiteX74" fmla="*/ 2811802 w 4519987"/>
                    <a:gd name="connsiteY74" fmla="*/ 4371975 h 4496940"/>
                    <a:gd name="connsiteX75" fmla="*/ 2745127 w 4519987"/>
                    <a:gd name="connsiteY75" fmla="*/ 4410075 h 4496940"/>
                    <a:gd name="connsiteX76" fmla="*/ 2697502 w 4519987"/>
                    <a:gd name="connsiteY76" fmla="*/ 4429125 h 4496940"/>
                    <a:gd name="connsiteX77" fmla="*/ 2640352 w 4519987"/>
                    <a:gd name="connsiteY77" fmla="*/ 4457700 h 4496940"/>
                    <a:gd name="connsiteX78" fmla="*/ 2583202 w 4519987"/>
                    <a:gd name="connsiteY78" fmla="*/ 4467225 h 4496940"/>
                    <a:gd name="connsiteX79" fmla="*/ 2545102 w 4519987"/>
                    <a:gd name="connsiteY79" fmla="*/ 4486275 h 4496940"/>
                    <a:gd name="connsiteX80" fmla="*/ 2306977 w 4519987"/>
                    <a:gd name="connsiteY80" fmla="*/ 4476750 h 4496940"/>
                    <a:gd name="connsiteX81" fmla="*/ 2202202 w 4519987"/>
                    <a:gd name="connsiteY81" fmla="*/ 4457700 h 4496940"/>
                    <a:gd name="connsiteX82" fmla="*/ 2126002 w 4519987"/>
                    <a:gd name="connsiteY82" fmla="*/ 4429125 h 4496940"/>
                    <a:gd name="connsiteX83" fmla="*/ 1935502 w 4519987"/>
                    <a:gd name="connsiteY83" fmla="*/ 4400550 h 4496940"/>
                    <a:gd name="connsiteX84" fmla="*/ 1821202 w 4519987"/>
                    <a:gd name="connsiteY84" fmla="*/ 4371975 h 4496940"/>
                    <a:gd name="connsiteX85" fmla="*/ 1754527 w 4519987"/>
                    <a:gd name="connsiteY85" fmla="*/ 4352925 h 4496940"/>
                    <a:gd name="connsiteX86" fmla="*/ 1687852 w 4519987"/>
                    <a:gd name="connsiteY86" fmla="*/ 4343400 h 4496940"/>
                    <a:gd name="connsiteX87" fmla="*/ 1573552 w 4519987"/>
                    <a:gd name="connsiteY87" fmla="*/ 4305300 h 4496940"/>
                    <a:gd name="connsiteX88" fmla="*/ 1402102 w 4519987"/>
                    <a:gd name="connsiteY88" fmla="*/ 4276725 h 4496940"/>
                    <a:gd name="connsiteX89" fmla="*/ 1287802 w 4519987"/>
                    <a:gd name="connsiteY89" fmla="*/ 4229100 h 4496940"/>
                    <a:gd name="connsiteX90" fmla="*/ 1221127 w 4519987"/>
                    <a:gd name="connsiteY90" fmla="*/ 4200525 h 4496940"/>
                    <a:gd name="connsiteX91" fmla="*/ 1144927 w 4519987"/>
                    <a:gd name="connsiteY91" fmla="*/ 4171950 h 4496940"/>
                    <a:gd name="connsiteX92" fmla="*/ 1087777 w 4519987"/>
                    <a:gd name="connsiteY92" fmla="*/ 4143375 h 4496940"/>
                    <a:gd name="connsiteX93" fmla="*/ 1030627 w 4519987"/>
                    <a:gd name="connsiteY93" fmla="*/ 4124325 h 4496940"/>
                    <a:gd name="connsiteX94" fmla="*/ 925852 w 4519987"/>
                    <a:gd name="connsiteY94" fmla="*/ 4067175 h 4496940"/>
                    <a:gd name="connsiteX95" fmla="*/ 830602 w 4519987"/>
                    <a:gd name="connsiteY95" fmla="*/ 3981450 h 4496940"/>
                    <a:gd name="connsiteX96" fmla="*/ 763927 w 4519987"/>
                    <a:gd name="connsiteY96" fmla="*/ 3914775 h 4496940"/>
                    <a:gd name="connsiteX97" fmla="*/ 725827 w 4519987"/>
                    <a:gd name="connsiteY97" fmla="*/ 3876675 h 4496940"/>
                    <a:gd name="connsiteX98" fmla="*/ 697252 w 4519987"/>
                    <a:gd name="connsiteY98" fmla="*/ 3838575 h 4496940"/>
                    <a:gd name="connsiteX99" fmla="*/ 640102 w 4519987"/>
                    <a:gd name="connsiteY99" fmla="*/ 3781425 h 4496940"/>
                    <a:gd name="connsiteX100" fmla="*/ 611527 w 4519987"/>
                    <a:gd name="connsiteY100" fmla="*/ 3733800 h 4496940"/>
                    <a:gd name="connsiteX101" fmla="*/ 554377 w 4519987"/>
                    <a:gd name="connsiteY101" fmla="*/ 3657600 h 4496940"/>
                    <a:gd name="connsiteX102" fmla="*/ 525802 w 4519987"/>
                    <a:gd name="connsiteY102" fmla="*/ 3609975 h 4496940"/>
                    <a:gd name="connsiteX103" fmla="*/ 497227 w 4519987"/>
                    <a:gd name="connsiteY103" fmla="*/ 3552825 h 4496940"/>
                    <a:gd name="connsiteX104" fmla="*/ 440077 w 4519987"/>
                    <a:gd name="connsiteY104" fmla="*/ 3495675 h 4496940"/>
                    <a:gd name="connsiteX105" fmla="*/ 411502 w 4519987"/>
                    <a:gd name="connsiteY105" fmla="*/ 3448050 h 4496940"/>
                    <a:gd name="connsiteX106" fmla="*/ 278152 w 4519987"/>
                    <a:gd name="connsiteY106" fmla="*/ 3257550 h 4496940"/>
                    <a:gd name="connsiteX107" fmla="*/ 249577 w 4519987"/>
                    <a:gd name="connsiteY107" fmla="*/ 3200400 h 4496940"/>
                    <a:gd name="connsiteX108" fmla="*/ 240052 w 4519987"/>
                    <a:gd name="connsiteY108" fmla="*/ 3162300 h 4496940"/>
                    <a:gd name="connsiteX109" fmla="*/ 221002 w 4519987"/>
                    <a:gd name="connsiteY109" fmla="*/ 3105150 h 4496940"/>
                    <a:gd name="connsiteX110" fmla="*/ 173377 w 4519987"/>
                    <a:gd name="connsiteY110" fmla="*/ 3019425 h 4496940"/>
                    <a:gd name="connsiteX111" fmla="*/ 144802 w 4519987"/>
                    <a:gd name="connsiteY111" fmla="*/ 2924175 h 4496940"/>
                    <a:gd name="connsiteX112" fmla="*/ 68602 w 4519987"/>
                    <a:gd name="connsiteY112" fmla="*/ 2724150 h 4496940"/>
                    <a:gd name="connsiteX113" fmla="*/ 49552 w 4519987"/>
                    <a:gd name="connsiteY113" fmla="*/ 2638425 h 4496940"/>
                    <a:gd name="connsiteX114" fmla="*/ 40027 w 4519987"/>
                    <a:gd name="connsiteY114" fmla="*/ 2562225 h 4496940"/>
                    <a:gd name="connsiteX115" fmla="*/ 30502 w 4519987"/>
                    <a:gd name="connsiteY115" fmla="*/ 2514600 h 4496940"/>
                    <a:gd name="connsiteX116" fmla="*/ 11452 w 4519987"/>
                    <a:gd name="connsiteY116" fmla="*/ 2400300 h 4496940"/>
                    <a:gd name="connsiteX117" fmla="*/ 20977 w 4519987"/>
                    <a:gd name="connsiteY117" fmla="*/ 1905000 h 4496940"/>
                    <a:gd name="connsiteX118" fmla="*/ 30502 w 4519987"/>
                    <a:gd name="connsiteY118" fmla="*/ 1838325 h 4496940"/>
                    <a:gd name="connsiteX119" fmla="*/ 49552 w 4519987"/>
                    <a:gd name="connsiteY119" fmla="*/ 1781175 h 4496940"/>
                    <a:gd name="connsiteX120" fmla="*/ 59077 w 4519987"/>
                    <a:gd name="connsiteY120" fmla="*/ 1743075 h 4496940"/>
                    <a:gd name="connsiteX121" fmla="*/ 78127 w 4519987"/>
                    <a:gd name="connsiteY121" fmla="*/ 1685925 h 4496940"/>
                    <a:gd name="connsiteX122" fmla="*/ 87652 w 4519987"/>
                    <a:gd name="connsiteY122" fmla="*/ 1638300 h 4496940"/>
                    <a:gd name="connsiteX123" fmla="*/ 106702 w 4519987"/>
                    <a:gd name="connsiteY123" fmla="*/ 1590675 h 4496940"/>
                    <a:gd name="connsiteX124" fmla="*/ 135277 w 4519987"/>
                    <a:gd name="connsiteY124" fmla="*/ 1504950 h 4496940"/>
                    <a:gd name="connsiteX125" fmla="*/ 154327 w 4519987"/>
                    <a:gd name="connsiteY125" fmla="*/ 1419225 h 4496940"/>
                    <a:gd name="connsiteX126" fmla="*/ 230527 w 4519987"/>
                    <a:gd name="connsiteY126" fmla="*/ 1276350 h 4496940"/>
                    <a:gd name="connsiteX127" fmla="*/ 240052 w 4519987"/>
                    <a:gd name="connsiteY127" fmla="*/ 1247775 h 4496940"/>
                    <a:gd name="connsiteX128" fmla="*/ 268627 w 4519987"/>
                    <a:gd name="connsiteY128" fmla="*/ 1200150 h 4496940"/>
                    <a:gd name="connsiteX129" fmla="*/ 287677 w 4519987"/>
                    <a:gd name="connsiteY129" fmla="*/ 1152525 h 4496940"/>
                    <a:gd name="connsiteX130" fmla="*/ 316252 w 4519987"/>
                    <a:gd name="connsiteY130" fmla="*/ 1114425 h 4496940"/>
                    <a:gd name="connsiteX131" fmla="*/ 363877 w 4519987"/>
                    <a:gd name="connsiteY131" fmla="*/ 1038225 h 4496940"/>
                    <a:gd name="connsiteX132" fmla="*/ 382927 w 4519987"/>
                    <a:gd name="connsiteY132" fmla="*/ 1009650 h 4496940"/>
                    <a:gd name="connsiteX133" fmla="*/ 440077 w 4519987"/>
                    <a:gd name="connsiteY133" fmla="*/ 904875 h 4496940"/>
                    <a:gd name="connsiteX134" fmla="*/ 478177 w 4519987"/>
                    <a:gd name="connsiteY134" fmla="*/ 857250 h 4496940"/>
                    <a:gd name="connsiteX135" fmla="*/ 497227 w 4519987"/>
                    <a:gd name="connsiteY135" fmla="*/ 828675 h 4496940"/>
                    <a:gd name="connsiteX136" fmla="*/ 535327 w 4519987"/>
                    <a:gd name="connsiteY136" fmla="*/ 800100 h 4496940"/>
                    <a:gd name="connsiteX137" fmla="*/ 602002 w 4519987"/>
                    <a:gd name="connsiteY137" fmla="*/ 733425 h 4496940"/>
                    <a:gd name="connsiteX138" fmla="*/ 668677 w 4519987"/>
                    <a:gd name="connsiteY138" fmla="*/ 676275 h 4496940"/>
                    <a:gd name="connsiteX139" fmla="*/ 697252 w 4519987"/>
                    <a:gd name="connsiteY139" fmla="*/ 657225 h 4496940"/>
                    <a:gd name="connsiteX140" fmla="*/ 840127 w 4519987"/>
                    <a:gd name="connsiteY140" fmla="*/ 533400 h 4496940"/>
                    <a:gd name="connsiteX141" fmla="*/ 887752 w 4519987"/>
                    <a:gd name="connsiteY141" fmla="*/ 504825 h 4496940"/>
                    <a:gd name="connsiteX142" fmla="*/ 1167152 w 4519987"/>
                    <a:gd name="connsiteY142" fmla="*/ 311150 h 4496940"/>
                    <a:gd name="connsiteX143" fmla="*/ 1268752 w 4519987"/>
                    <a:gd name="connsiteY143" fmla="*/ 285750 h 4496940"/>
                    <a:gd name="connsiteX144" fmla="*/ 1411627 w 4519987"/>
                    <a:gd name="connsiteY144" fmla="*/ 190500 h 4496940"/>
                    <a:gd name="connsiteX145" fmla="*/ 1449727 w 4519987"/>
                    <a:gd name="connsiteY145" fmla="*/ 161925 h 4496940"/>
                    <a:gd name="connsiteX146" fmla="*/ 1525927 w 4519987"/>
                    <a:gd name="connsiteY146" fmla="*/ 152400 h 4496940"/>
                    <a:gd name="connsiteX147" fmla="*/ 1583077 w 4519987"/>
                    <a:gd name="connsiteY147" fmla="*/ 142875 h 4496940"/>
                    <a:gd name="connsiteX148" fmla="*/ 1716427 w 4519987"/>
                    <a:gd name="connsiteY148" fmla="*/ 123825 h 4496940"/>
                    <a:gd name="connsiteX149" fmla="*/ 1811677 w 4519987"/>
                    <a:gd name="connsiteY149" fmla="*/ 114300 h 4496940"/>
                    <a:gd name="connsiteX150" fmla="*/ 1859302 w 4519987"/>
                    <a:gd name="connsiteY150" fmla="*/ 104775 h 4496940"/>
                    <a:gd name="connsiteX151" fmla="*/ 1916452 w 4519987"/>
                    <a:gd name="connsiteY151" fmla="*/ 95250 h 4496940"/>
                    <a:gd name="connsiteX152" fmla="*/ 2030752 w 4519987"/>
                    <a:gd name="connsiteY152" fmla="*/ 66675 h 4496940"/>
                    <a:gd name="connsiteX153" fmla="*/ 2097427 w 4519987"/>
                    <a:gd name="connsiteY153" fmla="*/ 47625 h 4496940"/>
                    <a:gd name="connsiteX154" fmla="*/ 2164102 w 4519987"/>
                    <a:gd name="connsiteY154" fmla="*/ 38100 h 4496940"/>
                    <a:gd name="connsiteX155" fmla="*/ 2392702 w 4519987"/>
                    <a:gd name="connsiteY15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907177 w 4519987"/>
                    <a:gd name="connsiteY25" fmla="*/ 647700 h 4496940"/>
                    <a:gd name="connsiteX26" fmla="*/ 3935752 w 4519987"/>
                    <a:gd name="connsiteY26" fmla="*/ 676275 h 4496940"/>
                    <a:gd name="connsiteX27" fmla="*/ 4078627 w 4519987"/>
                    <a:gd name="connsiteY27" fmla="*/ 838200 h 4496940"/>
                    <a:gd name="connsiteX28" fmla="*/ 4135777 w 4519987"/>
                    <a:gd name="connsiteY28" fmla="*/ 933450 h 4496940"/>
                    <a:gd name="connsiteX29" fmla="*/ 4164352 w 4519987"/>
                    <a:gd name="connsiteY29" fmla="*/ 990600 h 4496940"/>
                    <a:gd name="connsiteX30" fmla="*/ 4173877 w 4519987"/>
                    <a:gd name="connsiteY30" fmla="*/ 1019175 h 4496940"/>
                    <a:gd name="connsiteX31" fmla="*/ 4192927 w 4519987"/>
                    <a:gd name="connsiteY31" fmla="*/ 1057275 h 4496940"/>
                    <a:gd name="connsiteX32" fmla="*/ 4202452 w 4519987"/>
                    <a:gd name="connsiteY32" fmla="*/ 1085850 h 4496940"/>
                    <a:gd name="connsiteX33" fmla="*/ 4250077 w 4519987"/>
                    <a:gd name="connsiteY33" fmla="*/ 1143000 h 4496940"/>
                    <a:gd name="connsiteX34" fmla="*/ 4259602 w 4519987"/>
                    <a:gd name="connsiteY34" fmla="*/ 1190625 h 4496940"/>
                    <a:gd name="connsiteX35" fmla="*/ 4307227 w 4519987"/>
                    <a:gd name="connsiteY35" fmla="*/ 1266825 h 4496940"/>
                    <a:gd name="connsiteX36" fmla="*/ 4345327 w 4519987"/>
                    <a:gd name="connsiteY36" fmla="*/ 1362075 h 4496940"/>
                    <a:gd name="connsiteX37" fmla="*/ 4373902 w 4519987"/>
                    <a:gd name="connsiteY37" fmla="*/ 1428750 h 4496940"/>
                    <a:gd name="connsiteX38" fmla="*/ 4392952 w 4519987"/>
                    <a:gd name="connsiteY38" fmla="*/ 1552575 h 4496940"/>
                    <a:gd name="connsiteX39" fmla="*/ 4402477 w 4519987"/>
                    <a:gd name="connsiteY39" fmla="*/ 1590675 h 4496940"/>
                    <a:gd name="connsiteX40" fmla="*/ 4431052 w 4519987"/>
                    <a:gd name="connsiteY40" fmla="*/ 1685925 h 4496940"/>
                    <a:gd name="connsiteX41" fmla="*/ 4519952 w 4519987"/>
                    <a:gd name="connsiteY41" fmla="*/ 2181225 h 4496940"/>
                    <a:gd name="connsiteX42" fmla="*/ 4446927 w 4519987"/>
                    <a:gd name="connsiteY42" fmla="*/ 2768600 h 4496940"/>
                    <a:gd name="connsiteX43" fmla="*/ 4383427 w 4519987"/>
                    <a:gd name="connsiteY43" fmla="*/ 2990850 h 4496940"/>
                    <a:gd name="connsiteX44" fmla="*/ 4278652 w 4519987"/>
                    <a:gd name="connsiteY44" fmla="*/ 3248025 h 4496940"/>
                    <a:gd name="connsiteX45" fmla="*/ 4259602 w 4519987"/>
                    <a:gd name="connsiteY45" fmla="*/ 3276600 h 4496940"/>
                    <a:gd name="connsiteX46" fmla="*/ 4221502 w 4519987"/>
                    <a:gd name="connsiteY46" fmla="*/ 3333750 h 4496940"/>
                    <a:gd name="connsiteX47" fmla="*/ 4211977 w 4519987"/>
                    <a:gd name="connsiteY47" fmla="*/ 3362325 h 4496940"/>
                    <a:gd name="connsiteX48" fmla="*/ 4183402 w 4519987"/>
                    <a:gd name="connsiteY48" fmla="*/ 3400425 h 4496940"/>
                    <a:gd name="connsiteX49" fmla="*/ 4164352 w 4519987"/>
                    <a:gd name="connsiteY49" fmla="*/ 3429000 h 4496940"/>
                    <a:gd name="connsiteX50" fmla="*/ 4088152 w 4519987"/>
                    <a:gd name="connsiteY50" fmla="*/ 3495675 h 4496940"/>
                    <a:gd name="connsiteX51" fmla="*/ 4059577 w 4519987"/>
                    <a:gd name="connsiteY51" fmla="*/ 3533775 h 4496940"/>
                    <a:gd name="connsiteX52" fmla="*/ 4002427 w 4519987"/>
                    <a:gd name="connsiteY52" fmla="*/ 3600450 h 4496940"/>
                    <a:gd name="connsiteX53" fmla="*/ 3983377 w 4519987"/>
                    <a:gd name="connsiteY53" fmla="*/ 3629025 h 4496940"/>
                    <a:gd name="connsiteX54" fmla="*/ 3954802 w 4519987"/>
                    <a:gd name="connsiteY54" fmla="*/ 3648075 h 4496940"/>
                    <a:gd name="connsiteX55" fmla="*/ 3907177 w 4519987"/>
                    <a:gd name="connsiteY55" fmla="*/ 3686175 h 4496940"/>
                    <a:gd name="connsiteX56" fmla="*/ 3869077 w 4519987"/>
                    <a:gd name="connsiteY56" fmla="*/ 3724275 h 4496940"/>
                    <a:gd name="connsiteX57" fmla="*/ 3792877 w 4519987"/>
                    <a:gd name="connsiteY57" fmla="*/ 3781425 h 4496940"/>
                    <a:gd name="connsiteX58" fmla="*/ 3783352 w 4519987"/>
                    <a:gd name="connsiteY58" fmla="*/ 3810000 h 4496940"/>
                    <a:gd name="connsiteX59" fmla="*/ 3745252 w 4519987"/>
                    <a:gd name="connsiteY59" fmla="*/ 3819525 h 4496940"/>
                    <a:gd name="connsiteX60" fmla="*/ 3678577 w 4519987"/>
                    <a:gd name="connsiteY60" fmla="*/ 3848100 h 4496940"/>
                    <a:gd name="connsiteX61" fmla="*/ 3659527 w 4519987"/>
                    <a:gd name="connsiteY61" fmla="*/ 3971925 h 4496940"/>
                    <a:gd name="connsiteX62" fmla="*/ 3630952 w 4519987"/>
                    <a:gd name="connsiteY62" fmla="*/ 4010025 h 4496940"/>
                    <a:gd name="connsiteX63" fmla="*/ 3621427 w 4519987"/>
                    <a:gd name="connsiteY63" fmla="*/ 4038600 h 4496940"/>
                    <a:gd name="connsiteX64" fmla="*/ 3554752 w 4519987"/>
                    <a:gd name="connsiteY64" fmla="*/ 4095750 h 4496940"/>
                    <a:gd name="connsiteX65" fmla="*/ 3516652 w 4519987"/>
                    <a:gd name="connsiteY65" fmla="*/ 4114800 h 4496940"/>
                    <a:gd name="connsiteX66" fmla="*/ 3497602 w 4519987"/>
                    <a:gd name="connsiteY66" fmla="*/ 4143375 h 4496940"/>
                    <a:gd name="connsiteX67" fmla="*/ 3383302 w 4519987"/>
                    <a:gd name="connsiteY67" fmla="*/ 4210050 h 4496940"/>
                    <a:gd name="connsiteX68" fmla="*/ 3335677 w 4519987"/>
                    <a:gd name="connsiteY68" fmla="*/ 4238625 h 4496940"/>
                    <a:gd name="connsiteX69" fmla="*/ 3288052 w 4519987"/>
                    <a:gd name="connsiteY69" fmla="*/ 4248150 h 4496940"/>
                    <a:gd name="connsiteX70" fmla="*/ 3240427 w 4519987"/>
                    <a:gd name="connsiteY70" fmla="*/ 4267200 h 4496940"/>
                    <a:gd name="connsiteX71" fmla="*/ 3068977 w 4519987"/>
                    <a:gd name="connsiteY71" fmla="*/ 4286250 h 4496940"/>
                    <a:gd name="connsiteX72" fmla="*/ 2935627 w 4519987"/>
                    <a:gd name="connsiteY72" fmla="*/ 4333875 h 4496940"/>
                    <a:gd name="connsiteX73" fmla="*/ 2811802 w 4519987"/>
                    <a:gd name="connsiteY73" fmla="*/ 4371975 h 4496940"/>
                    <a:gd name="connsiteX74" fmla="*/ 2745127 w 4519987"/>
                    <a:gd name="connsiteY74" fmla="*/ 4410075 h 4496940"/>
                    <a:gd name="connsiteX75" fmla="*/ 2697502 w 4519987"/>
                    <a:gd name="connsiteY75" fmla="*/ 4429125 h 4496940"/>
                    <a:gd name="connsiteX76" fmla="*/ 2640352 w 4519987"/>
                    <a:gd name="connsiteY76" fmla="*/ 4457700 h 4496940"/>
                    <a:gd name="connsiteX77" fmla="*/ 2583202 w 4519987"/>
                    <a:gd name="connsiteY77" fmla="*/ 4467225 h 4496940"/>
                    <a:gd name="connsiteX78" fmla="*/ 2545102 w 4519987"/>
                    <a:gd name="connsiteY78" fmla="*/ 4486275 h 4496940"/>
                    <a:gd name="connsiteX79" fmla="*/ 2306977 w 4519987"/>
                    <a:gd name="connsiteY79" fmla="*/ 4476750 h 4496940"/>
                    <a:gd name="connsiteX80" fmla="*/ 2202202 w 4519987"/>
                    <a:gd name="connsiteY80" fmla="*/ 4457700 h 4496940"/>
                    <a:gd name="connsiteX81" fmla="*/ 2126002 w 4519987"/>
                    <a:gd name="connsiteY81" fmla="*/ 4429125 h 4496940"/>
                    <a:gd name="connsiteX82" fmla="*/ 1935502 w 4519987"/>
                    <a:gd name="connsiteY82" fmla="*/ 4400550 h 4496940"/>
                    <a:gd name="connsiteX83" fmla="*/ 1821202 w 4519987"/>
                    <a:gd name="connsiteY83" fmla="*/ 4371975 h 4496940"/>
                    <a:gd name="connsiteX84" fmla="*/ 1754527 w 4519987"/>
                    <a:gd name="connsiteY84" fmla="*/ 4352925 h 4496940"/>
                    <a:gd name="connsiteX85" fmla="*/ 1687852 w 4519987"/>
                    <a:gd name="connsiteY85" fmla="*/ 4343400 h 4496940"/>
                    <a:gd name="connsiteX86" fmla="*/ 1573552 w 4519987"/>
                    <a:gd name="connsiteY86" fmla="*/ 4305300 h 4496940"/>
                    <a:gd name="connsiteX87" fmla="*/ 1402102 w 4519987"/>
                    <a:gd name="connsiteY87" fmla="*/ 4276725 h 4496940"/>
                    <a:gd name="connsiteX88" fmla="*/ 1287802 w 4519987"/>
                    <a:gd name="connsiteY88" fmla="*/ 4229100 h 4496940"/>
                    <a:gd name="connsiteX89" fmla="*/ 1221127 w 4519987"/>
                    <a:gd name="connsiteY89" fmla="*/ 4200525 h 4496940"/>
                    <a:gd name="connsiteX90" fmla="*/ 1144927 w 4519987"/>
                    <a:gd name="connsiteY90" fmla="*/ 4171950 h 4496940"/>
                    <a:gd name="connsiteX91" fmla="*/ 1087777 w 4519987"/>
                    <a:gd name="connsiteY91" fmla="*/ 4143375 h 4496940"/>
                    <a:gd name="connsiteX92" fmla="*/ 1030627 w 4519987"/>
                    <a:gd name="connsiteY92" fmla="*/ 4124325 h 4496940"/>
                    <a:gd name="connsiteX93" fmla="*/ 925852 w 4519987"/>
                    <a:gd name="connsiteY93" fmla="*/ 4067175 h 4496940"/>
                    <a:gd name="connsiteX94" fmla="*/ 830602 w 4519987"/>
                    <a:gd name="connsiteY94" fmla="*/ 3981450 h 4496940"/>
                    <a:gd name="connsiteX95" fmla="*/ 763927 w 4519987"/>
                    <a:gd name="connsiteY95" fmla="*/ 3914775 h 4496940"/>
                    <a:gd name="connsiteX96" fmla="*/ 725827 w 4519987"/>
                    <a:gd name="connsiteY96" fmla="*/ 3876675 h 4496940"/>
                    <a:gd name="connsiteX97" fmla="*/ 697252 w 4519987"/>
                    <a:gd name="connsiteY97" fmla="*/ 3838575 h 4496940"/>
                    <a:gd name="connsiteX98" fmla="*/ 640102 w 4519987"/>
                    <a:gd name="connsiteY98" fmla="*/ 3781425 h 4496940"/>
                    <a:gd name="connsiteX99" fmla="*/ 611527 w 4519987"/>
                    <a:gd name="connsiteY99" fmla="*/ 3733800 h 4496940"/>
                    <a:gd name="connsiteX100" fmla="*/ 554377 w 4519987"/>
                    <a:gd name="connsiteY100" fmla="*/ 3657600 h 4496940"/>
                    <a:gd name="connsiteX101" fmla="*/ 525802 w 4519987"/>
                    <a:gd name="connsiteY101" fmla="*/ 3609975 h 4496940"/>
                    <a:gd name="connsiteX102" fmla="*/ 497227 w 4519987"/>
                    <a:gd name="connsiteY102" fmla="*/ 3552825 h 4496940"/>
                    <a:gd name="connsiteX103" fmla="*/ 440077 w 4519987"/>
                    <a:gd name="connsiteY103" fmla="*/ 3495675 h 4496940"/>
                    <a:gd name="connsiteX104" fmla="*/ 411502 w 4519987"/>
                    <a:gd name="connsiteY104" fmla="*/ 3448050 h 4496940"/>
                    <a:gd name="connsiteX105" fmla="*/ 278152 w 4519987"/>
                    <a:gd name="connsiteY105" fmla="*/ 3257550 h 4496940"/>
                    <a:gd name="connsiteX106" fmla="*/ 249577 w 4519987"/>
                    <a:gd name="connsiteY106" fmla="*/ 3200400 h 4496940"/>
                    <a:gd name="connsiteX107" fmla="*/ 240052 w 4519987"/>
                    <a:gd name="connsiteY107" fmla="*/ 3162300 h 4496940"/>
                    <a:gd name="connsiteX108" fmla="*/ 221002 w 4519987"/>
                    <a:gd name="connsiteY108" fmla="*/ 3105150 h 4496940"/>
                    <a:gd name="connsiteX109" fmla="*/ 173377 w 4519987"/>
                    <a:gd name="connsiteY109" fmla="*/ 3019425 h 4496940"/>
                    <a:gd name="connsiteX110" fmla="*/ 144802 w 4519987"/>
                    <a:gd name="connsiteY110" fmla="*/ 2924175 h 4496940"/>
                    <a:gd name="connsiteX111" fmla="*/ 68602 w 4519987"/>
                    <a:gd name="connsiteY111" fmla="*/ 2724150 h 4496940"/>
                    <a:gd name="connsiteX112" fmla="*/ 49552 w 4519987"/>
                    <a:gd name="connsiteY112" fmla="*/ 2638425 h 4496940"/>
                    <a:gd name="connsiteX113" fmla="*/ 40027 w 4519987"/>
                    <a:gd name="connsiteY113" fmla="*/ 2562225 h 4496940"/>
                    <a:gd name="connsiteX114" fmla="*/ 30502 w 4519987"/>
                    <a:gd name="connsiteY114" fmla="*/ 2514600 h 4496940"/>
                    <a:gd name="connsiteX115" fmla="*/ 11452 w 4519987"/>
                    <a:gd name="connsiteY115" fmla="*/ 2400300 h 4496940"/>
                    <a:gd name="connsiteX116" fmla="*/ 20977 w 4519987"/>
                    <a:gd name="connsiteY116" fmla="*/ 1905000 h 4496940"/>
                    <a:gd name="connsiteX117" fmla="*/ 30502 w 4519987"/>
                    <a:gd name="connsiteY117" fmla="*/ 1838325 h 4496940"/>
                    <a:gd name="connsiteX118" fmla="*/ 49552 w 4519987"/>
                    <a:gd name="connsiteY118" fmla="*/ 1781175 h 4496940"/>
                    <a:gd name="connsiteX119" fmla="*/ 59077 w 4519987"/>
                    <a:gd name="connsiteY119" fmla="*/ 1743075 h 4496940"/>
                    <a:gd name="connsiteX120" fmla="*/ 78127 w 4519987"/>
                    <a:gd name="connsiteY120" fmla="*/ 1685925 h 4496940"/>
                    <a:gd name="connsiteX121" fmla="*/ 87652 w 4519987"/>
                    <a:gd name="connsiteY121" fmla="*/ 1638300 h 4496940"/>
                    <a:gd name="connsiteX122" fmla="*/ 106702 w 4519987"/>
                    <a:gd name="connsiteY122" fmla="*/ 1590675 h 4496940"/>
                    <a:gd name="connsiteX123" fmla="*/ 135277 w 4519987"/>
                    <a:gd name="connsiteY123" fmla="*/ 1504950 h 4496940"/>
                    <a:gd name="connsiteX124" fmla="*/ 154327 w 4519987"/>
                    <a:gd name="connsiteY124" fmla="*/ 1419225 h 4496940"/>
                    <a:gd name="connsiteX125" fmla="*/ 230527 w 4519987"/>
                    <a:gd name="connsiteY125" fmla="*/ 1276350 h 4496940"/>
                    <a:gd name="connsiteX126" fmla="*/ 240052 w 4519987"/>
                    <a:gd name="connsiteY126" fmla="*/ 1247775 h 4496940"/>
                    <a:gd name="connsiteX127" fmla="*/ 268627 w 4519987"/>
                    <a:gd name="connsiteY127" fmla="*/ 1200150 h 4496940"/>
                    <a:gd name="connsiteX128" fmla="*/ 287677 w 4519987"/>
                    <a:gd name="connsiteY128" fmla="*/ 1152525 h 4496940"/>
                    <a:gd name="connsiteX129" fmla="*/ 316252 w 4519987"/>
                    <a:gd name="connsiteY129" fmla="*/ 1114425 h 4496940"/>
                    <a:gd name="connsiteX130" fmla="*/ 363877 w 4519987"/>
                    <a:gd name="connsiteY130" fmla="*/ 1038225 h 4496940"/>
                    <a:gd name="connsiteX131" fmla="*/ 382927 w 4519987"/>
                    <a:gd name="connsiteY131" fmla="*/ 1009650 h 4496940"/>
                    <a:gd name="connsiteX132" fmla="*/ 440077 w 4519987"/>
                    <a:gd name="connsiteY132" fmla="*/ 904875 h 4496940"/>
                    <a:gd name="connsiteX133" fmla="*/ 478177 w 4519987"/>
                    <a:gd name="connsiteY133" fmla="*/ 857250 h 4496940"/>
                    <a:gd name="connsiteX134" fmla="*/ 497227 w 4519987"/>
                    <a:gd name="connsiteY134" fmla="*/ 828675 h 4496940"/>
                    <a:gd name="connsiteX135" fmla="*/ 535327 w 4519987"/>
                    <a:gd name="connsiteY135" fmla="*/ 800100 h 4496940"/>
                    <a:gd name="connsiteX136" fmla="*/ 602002 w 4519987"/>
                    <a:gd name="connsiteY136" fmla="*/ 733425 h 4496940"/>
                    <a:gd name="connsiteX137" fmla="*/ 668677 w 4519987"/>
                    <a:gd name="connsiteY137" fmla="*/ 676275 h 4496940"/>
                    <a:gd name="connsiteX138" fmla="*/ 697252 w 4519987"/>
                    <a:gd name="connsiteY138" fmla="*/ 657225 h 4496940"/>
                    <a:gd name="connsiteX139" fmla="*/ 840127 w 4519987"/>
                    <a:gd name="connsiteY139" fmla="*/ 533400 h 4496940"/>
                    <a:gd name="connsiteX140" fmla="*/ 887752 w 4519987"/>
                    <a:gd name="connsiteY140" fmla="*/ 504825 h 4496940"/>
                    <a:gd name="connsiteX141" fmla="*/ 1167152 w 4519987"/>
                    <a:gd name="connsiteY141" fmla="*/ 311150 h 4496940"/>
                    <a:gd name="connsiteX142" fmla="*/ 1268752 w 4519987"/>
                    <a:gd name="connsiteY142" fmla="*/ 285750 h 4496940"/>
                    <a:gd name="connsiteX143" fmla="*/ 1411627 w 4519987"/>
                    <a:gd name="connsiteY143" fmla="*/ 190500 h 4496940"/>
                    <a:gd name="connsiteX144" fmla="*/ 1449727 w 4519987"/>
                    <a:gd name="connsiteY144" fmla="*/ 161925 h 4496940"/>
                    <a:gd name="connsiteX145" fmla="*/ 1525927 w 4519987"/>
                    <a:gd name="connsiteY145" fmla="*/ 152400 h 4496940"/>
                    <a:gd name="connsiteX146" fmla="*/ 1583077 w 4519987"/>
                    <a:gd name="connsiteY146" fmla="*/ 142875 h 4496940"/>
                    <a:gd name="connsiteX147" fmla="*/ 1716427 w 4519987"/>
                    <a:gd name="connsiteY147" fmla="*/ 123825 h 4496940"/>
                    <a:gd name="connsiteX148" fmla="*/ 1811677 w 4519987"/>
                    <a:gd name="connsiteY148" fmla="*/ 114300 h 4496940"/>
                    <a:gd name="connsiteX149" fmla="*/ 1859302 w 4519987"/>
                    <a:gd name="connsiteY149" fmla="*/ 104775 h 4496940"/>
                    <a:gd name="connsiteX150" fmla="*/ 1916452 w 4519987"/>
                    <a:gd name="connsiteY150" fmla="*/ 95250 h 4496940"/>
                    <a:gd name="connsiteX151" fmla="*/ 2030752 w 4519987"/>
                    <a:gd name="connsiteY151" fmla="*/ 66675 h 4496940"/>
                    <a:gd name="connsiteX152" fmla="*/ 2097427 w 4519987"/>
                    <a:gd name="connsiteY152" fmla="*/ 47625 h 4496940"/>
                    <a:gd name="connsiteX153" fmla="*/ 2164102 w 4519987"/>
                    <a:gd name="connsiteY153" fmla="*/ 38100 h 4496940"/>
                    <a:gd name="connsiteX154" fmla="*/ 2392702 w 4519987"/>
                    <a:gd name="connsiteY15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907177 w 4519987"/>
                    <a:gd name="connsiteY24" fmla="*/ 647700 h 4496940"/>
                    <a:gd name="connsiteX25" fmla="*/ 3935752 w 4519987"/>
                    <a:gd name="connsiteY25" fmla="*/ 676275 h 4496940"/>
                    <a:gd name="connsiteX26" fmla="*/ 4078627 w 4519987"/>
                    <a:gd name="connsiteY26" fmla="*/ 838200 h 4496940"/>
                    <a:gd name="connsiteX27" fmla="*/ 4135777 w 4519987"/>
                    <a:gd name="connsiteY27" fmla="*/ 933450 h 4496940"/>
                    <a:gd name="connsiteX28" fmla="*/ 4164352 w 4519987"/>
                    <a:gd name="connsiteY28" fmla="*/ 990600 h 4496940"/>
                    <a:gd name="connsiteX29" fmla="*/ 4173877 w 4519987"/>
                    <a:gd name="connsiteY29" fmla="*/ 1019175 h 4496940"/>
                    <a:gd name="connsiteX30" fmla="*/ 4192927 w 4519987"/>
                    <a:gd name="connsiteY30" fmla="*/ 1057275 h 4496940"/>
                    <a:gd name="connsiteX31" fmla="*/ 4202452 w 4519987"/>
                    <a:gd name="connsiteY31" fmla="*/ 1085850 h 4496940"/>
                    <a:gd name="connsiteX32" fmla="*/ 4250077 w 4519987"/>
                    <a:gd name="connsiteY32" fmla="*/ 1143000 h 4496940"/>
                    <a:gd name="connsiteX33" fmla="*/ 4259602 w 4519987"/>
                    <a:gd name="connsiteY33" fmla="*/ 1190625 h 4496940"/>
                    <a:gd name="connsiteX34" fmla="*/ 4307227 w 4519987"/>
                    <a:gd name="connsiteY34" fmla="*/ 1266825 h 4496940"/>
                    <a:gd name="connsiteX35" fmla="*/ 4345327 w 4519987"/>
                    <a:gd name="connsiteY35" fmla="*/ 1362075 h 4496940"/>
                    <a:gd name="connsiteX36" fmla="*/ 4373902 w 4519987"/>
                    <a:gd name="connsiteY36" fmla="*/ 1428750 h 4496940"/>
                    <a:gd name="connsiteX37" fmla="*/ 4392952 w 4519987"/>
                    <a:gd name="connsiteY37" fmla="*/ 1552575 h 4496940"/>
                    <a:gd name="connsiteX38" fmla="*/ 4402477 w 4519987"/>
                    <a:gd name="connsiteY38" fmla="*/ 1590675 h 4496940"/>
                    <a:gd name="connsiteX39" fmla="*/ 4431052 w 4519987"/>
                    <a:gd name="connsiteY39" fmla="*/ 1685925 h 4496940"/>
                    <a:gd name="connsiteX40" fmla="*/ 4519952 w 4519987"/>
                    <a:gd name="connsiteY40" fmla="*/ 2181225 h 4496940"/>
                    <a:gd name="connsiteX41" fmla="*/ 4446927 w 4519987"/>
                    <a:gd name="connsiteY41" fmla="*/ 2768600 h 4496940"/>
                    <a:gd name="connsiteX42" fmla="*/ 4383427 w 4519987"/>
                    <a:gd name="connsiteY42" fmla="*/ 2990850 h 4496940"/>
                    <a:gd name="connsiteX43" fmla="*/ 4278652 w 4519987"/>
                    <a:gd name="connsiteY43" fmla="*/ 3248025 h 4496940"/>
                    <a:gd name="connsiteX44" fmla="*/ 4259602 w 4519987"/>
                    <a:gd name="connsiteY44" fmla="*/ 3276600 h 4496940"/>
                    <a:gd name="connsiteX45" fmla="*/ 4221502 w 4519987"/>
                    <a:gd name="connsiteY45" fmla="*/ 3333750 h 4496940"/>
                    <a:gd name="connsiteX46" fmla="*/ 4211977 w 4519987"/>
                    <a:gd name="connsiteY46" fmla="*/ 3362325 h 4496940"/>
                    <a:gd name="connsiteX47" fmla="*/ 4183402 w 4519987"/>
                    <a:gd name="connsiteY47" fmla="*/ 3400425 h 4496940"/>
                    <a:gd name="connsiteX48" fmla="*/ 4164352 w 4519987"/>
                    <a:gd name="connsiteY48" fmla="*/ 3429000 h 4496940"/>
                    <a:gd name="connsiteX49" fmla="*/ 4088152 w 4519987"/>
                    <a:gd name="connsiteY49" fmla="*/ 3495675 h 4496940"/>
                    <a:gd name="connsiteX50" fmla="*/ 4059577 w 4519987"/>
                    <a:gd name="connsiteY50" fmla="*/ 3533775 h 4496940"/>
                    <a:gd name="connsiteX51" fmla="*/ 4002427 w 4519987"/>
                    <a:gd name="connsiteY51" fmla="*/ 3600450 h 4496940"/>
                    <a:gd name="connsiteX52" fmla="*/ 3983377 w 4519987"/>
                    <a:gd name="connsiteY52" fmla="*/ 3629025 h 4496940"/>
                    <a:gd name="connsiteX53" fmla="*/ 3954802 w 4519987"/>
                    <a:gd name="connsiteY53" fmla="*/ 3648075 h 4496940"/>
                    <a:gd name="connsiteX54" fmla="*/ 3907177 w 4519987"/>
                    <a:gd name="connsiteY54" fmla="*/ 3686175 h 4496940"/>
                    <a:gd name="connsiteX55" fmla="*/ 3869077 w 4519987"/>
                    <a:gd name="connsiteY55" fmla="*/ 3724275 h 4496940"/>
                    <a:gd name="connsiteX56" fmla="*/ 3792877 w 4519987"/>
                    <a:gd name="connsiteY56" fmla="*/ 3781425 h 4496940"/>
                    <a:gd name="connsiteX57" fmla="*/ 3783352 w 4519987"/>
                    <a:gd name="connsiteY57" fmla="*/ 3810000 h 4496940"/>
                    <a:gd name="connsiteX58" fmla="*/ 3745252 w 4519987"/>
                    <a:gd name="connsiteY58" fmla="*/ 3819525 h 4496940"/>
                    <a:gd name="connsiteX59" fmla="*/ 3678577 w 4519987"/>
                    <a:gd name="connsiteY59" fmla="*/ 3848100 h 4496940"/>
                    <a:gd name="connsiteX60" fmla="*/ 3659527 w 4519987"/>
                    <a:gd name="connsiteY60" fmla="*/ 3971925 h 4496940"/>
                    <a:gd name="connsiteX61" fmla="*/ 3630952 w 4519987"/>
                    <a:gd name="connsiteY61" fmla="*/ 4010025 h 4496940"/>
                    <a:gd name="connsiteX62" fmla="*/ 3621427 w 4519987"/>
                    <a:gd name="connsiteY62" fmla="*/ 4038600 h 4496940"/>
                    <a:gd name="connsiteX63" fmla="*/ 3554752 w 4519987"/>
                    <a:gd name="connsiteY63" fmla="*/ 4095750 h 4496940"/>
                    <a:gd name="connsiteX64" fmla="*/ 3516652 w 4519987"/>
                    <a:gd name="connsiteY64" fmla="*/ 4114800 h 4496940"/>
                    <a:gd name="connsiteX65" fmla="*/ 3497602 w 4519987"/>
                    <a:gd name="connsiteY65" fmla="*/ 4143375 h 4496940"/>
                    <a:gd name="connsiteX66" fmla="*/ 3383302 w 4519987"/>
                    <a:gd name="connsiteY66" fmla="*/ 4210050 h 4496940"/>
                    <a:gd name="connsiteX67" fmla="*/ 3335677 w 4519987"/>
                    <a:gd name="connsiteY67" fmla="*/ 4238625 h 4496940"/>
                    <a:gd name="connsiteX68" fmla="*/ 3288052 w 4519987"/>
                    <a:gd name="connsiteY68" fmla="*/ 4248150 h 4496940"/>
                    <a:gd name="connsiteX69" fmla="*/ 3240427 w 4519987"/>
                    <a:gd name="connsiteY69" fmla="*/ 4267200 h 4496940"/>
                    <a:gd name="connsiteX70" fmla="*/ 3068977 w 4519987"/>
                    <a:gd name="connsiteY70" fmla="*/ 4286250 h 4496940"/>
                    <a:gd name="connsiteX71" fmla="*/ 2935627 w 4519987"/>
                    <a:gd name="connsiteY71" fmla="*/ 4333875 h 4496940"/>
                    <a:gd name="connsiteX72" fmla="*/ 2811802 w 4519987"/>
                    <a:gd name="connsiteY72" fmla="*/ 4371975 h 4496940"/>
                    <a:gd name="connsiteX73" fmla="*/ 2745127 w 4519987"/>
                    <a:gd name="connsiteY73" fmla="*/ 4410075 h 4496940"/>
                    <a:gd name="connsiteX74" fmla="*/ 2697502 w 4519987"/>
                    <a:gd name="connsiteY74" fmla="*/ 4429125 h 4496940"/>
                    <a:gd name="connsiteX75" fmla="*/ 2640352 w 4519987"/>
                    <a:gd name="connsiteY75" fmla="*/ 4457700 h 4496940"/>
                    <a:gd name="connsiteX76" fmla="*/ 2583202 w 4519987"/>
                    <a:gd name="connsiteY76" fmla="*/ 4467225 h 4496940"/>
                    <a:gd name="connsiteX77" fmla="*/ 2545102 w 4519987"/>
                    <a:gd name="connsiteY77" fmla="*/ 4486275 h 4496940"/>
                    <a:gd name="connsiteX78" fmla="*/ 2306977 w 4519987"/>
                    <a:gd name="connsiteY78" fmla="*/ 4476750 h 4496940"/>
                    <a:gd name="connsiteX79" fmla="*/ 2202202 w 4519987"/>
                    <a:gd name="connsiteY79" fmla="*/ 4457700 h 4496940"/>
                    <a:gd name="connsiteX80" fmla="*/ 2126002 w 4519987"/>
                    <a:gd name="connsiteY80" fmla="*/ 4429125 h 4496940"/>
                    <a:gd name="connsiteX81" fmla="*/ 1935502 w 4519987"/>
                    <a:gd name="connsiteY81" fmla="*/ 4400550 h 4496940"/>
                    <a:gd name="connsiteX82" fmla="*/ 1821202 w 4519987"/>
                    <a:gd name="connsiteY82" fmla="*/ 4371975 h 4496940"/>
                    <a:gd name="connsiteX83" fmla="*/ 1754527 w 4519987"/>
                    <a:gd name="connsiteY83" fmla="*/ 4352925 h 4496940"/>
                    <a:gd name="connsiteX84" fmla="*/ 1687852 w 4519987"/>
                    <a:gd name="connsiteY84" fmla="*/ 4343400 h 4496940"/>
                    <a:gd name="connsiteX85" fmla="*/ 1573552 w 4519987"/>
                    <a:gd name="connsiteY85" fmla="*/ 4305300 h 4496940"/>
                    <a:gd name="connsiteX86" fmla="*/ 1402102 w 4519987"/>
                    <a:gd name="connsiteY86" fmla="*/ 4276725 h 4496940"/>
                    <a:gd name="connsiteX87" fmla="*/ 1287802 w 4519987"/>
                    <a:gd name="connsiteY87" fmla="*/ 4229100 h 4496940"/>
                    <a:gd name="connsiteX88" fmla="*/ 1221127 w 4519987"/>
                    <a:gd name="connsiteY88" fmla="*/ 4200525 h 4496940"/>
                    <a:gd name="connsiteX89" fmla="*/ 1144927 w 4519987"/>
                    <a:gd name="connsiteY89" fmla="*/ 4171950 h 4496940"/>
                    <a:gd name="connsiteX90" fmla="*/ 1087777 w 4519987"/>
                    <a:gd name="connsiteY90" fmla="*/ 4143375 h 4496940"/>
                    <a:gd name="connsiteX91" fmla="*/ 1030627 w 4519987"/>
                    <a:gd name="connsiteY91" fmla="*/ 4124325 h 4496940"/>
                    <a:gd name="connsiteX92" fmla="*/ 925852 w 4519987"/>
                    <a:gd name="connsiteY92" fmla="*/ 4067175 h 4496940"/>
                    <a:gd name="connsiteX93" fmla="*/ 830602 w 4519987"/>
                    <a:gd name="connsiteY93" fmla="*/ 3981450 h 4496940"/>
                    <a:gd name="connsiteX94" fmla="*/ 763927 w 4519987"/>
                    <a:gd name="connsiteY94" fmla="*/ 3914775 h 4496940"/>
                    <a:gd name="connsiteX95" fmla="*/ 725827 w 4519987"/>
                    <a:gd name="connsiteY95" fmla="*/ 3876675 h 4496940"/>
                    <a:gd name="connsiteX96" fmla="*/ 697252 w 4519987"/>
                    <a:gd name="connsiteY96" fmla="*/ 3838575 h 4496940"/>
                    <a:gd name="connsiteX97" fmla="*/ 640102 w 4519987"/>
                    <a:gd name="connsiteY97" fmla="*/ 3781425 h 4496940"/>
                    <a:gd name="connsiteX98" fmla="*/ 611527 w 4519987"/>
                    <a:gd name="connsiteY98" fmla="*/ 3733800 h 4496940"/>
                    <a:gd name="connsiteX99" fmla="*/ 554377 w 4519987"/>
                    <a:gd name="connsiteY99" fmla="*/ 3657600 h 4496940"/>
                    <a:gd name="connsiteX100" fmla="*/ 525802 w 4519987"/>
                    <a:gd name="connsiteY100" fmla="*/ 3609975 h 4496940"/>
                    <a:gd name="connsiteX101" fmla="*/ 497227 w 4519987"/>
                    <a:gd name="connsiteY101" fmla="*/ 3552825 h 4496940"/>
                    <a:gd name="connsiteX102" fmla="*/ 440077 w 4519987"/>
                    <a:gd name="connsiteY102" fmla="*/ 3495675 h 4496940"/>
                    <a:gd name="connsiteX103" fmla="*/ 411502 w 4519987"/>
                    <a:gd name="connsiteY103" fmla="*/ 3448050 h 4496940"/>
                    <a:gd name="connsiteX104" fmla="*/ 278152 w 4519987"/>
                    <a:gd name="connsiteY104" fmla="*/ 3257550 h 4496940"/>
                    <a:gd name="connsiteX105" fmla="*/ 249577 w 4519987"/>
                    <a:gd name="connsiteY105" fmla="*/ 3200400 h 4496940"/>
                    <a:gd name="connsiteX106" fmla="*/ 240052 w 4519987"/>
                    <a:gd name="connsiteY106" fmla="*/ 3162300 h 4496940"/>
                    <a:gd name="connsiteX107" fmla="*/ 221002 w 4519987"/>
                    <a:gd name="connsiteY107" fmla="*/ 3105150 h 4496940"/>
                    <a:gd name="connsiteX108" fmla="*/ 173377 w 4519987"/>
                    <a:gd name="connsiteY108" fmla="*/ 3019425 h 4496940"/>
                    <a:gd name="connsiteX109" fmla="*/ 144802 w 4519987"/>
                    <a:gd name="connsiteY109" fmla="*/ 2924175 h 4496940"/>
                    <a:gd name="connsiteX110" fmla="*/ 68602 w 4519987"/>
                    <a:gd name="connsiteY110" fmla="*/ 2724150 h 4496940"/>
                    <a:gd name="connsiteX111" fmla="*/ 49552 w 4519987"/>
                    <a:gd name="connsiteY111" fmla="*/ 2638425 h 4496940"/>
                    <a:gd name="connsiteX112" fmla="*/ 40027 w 4519987"/>
                    <a:gd name="connsiteY112" fmla="*/ 2562225 h 4496940"/>
                    <a:gd name="connsiteX113" fmla="*/ 30502 w 4519987"/>
                    <a:gd name="connsiteY113" fmla="*/ 2514600 h 4496940"/>
                    <a:gd name="connsiteX114" fmla="*/ 11452 w 4519987"/>
                    <a:gd name="connsiteY114" fmla="*/ 2400300 h 4496940"/>
                    <a:gd name="connsiteX115" fmla="*/ 20977 w 4519987"/>
                    <a:gd name="connsiteY115" fmla="*/ 1905000 h 4496940"/>
                    <a:gd name="connsiteX116" fmla="*/ 30502 w 4519987"/>
                    <a:gd name="connsiteY116" fmla="*/ 1838325 h 4496940"/>
                    <a:gd name="connsiteX117" fmla="*/ 49552 w 4519987"/>
                    <a:gd name="connsiteY117" fmla="*/ 1781175 h 4496940"/>
                    <a:gd name="connsiteX118" fmla="*/ 59077 w 4519987"/>
                    <a:gd name="connsiteY118" fmla="*/ 1743075 h 4496940"/>
                    <a:gd name="connsiteX119" fmla="*/ 78127 w 4519987"/>
                    <a:gd name="connsiteY119" fmla="*/ 1685925 h 4496940"/>
                    <a:gd name="connsiteX120" fmla="*/ 87652 w 4519987"/>
                    <a:gd name="connsiteY120" fmla="*/ 1638300 h 4496940"/>
                    <a:gd name="connsiteX121" fmla="*/ 106702 w 4519987"/>
                    <a:gd name="connsiteY121" fmla="*/ 1590675 h 4496940"/>
                    <a:gd name="connsiteX122" fmla="*/ 135277 w 4519987"/>
                    <a:gd name="connsiteY122" fmla="*/ 1504950 h 4496940"/>
                    <a:gd name="connsiteX123" fmla="*/ 154327 w 4519987"/>
                    <a:gd name="connsiteY123" fmla="*/ 1419225 h 4496940"/>
                    <a:gd name="connsiteX124" fmla="*/ 230527 w 4519987"/>
                    <a:gd name="connsiteY124" fmla="*/ 1276350 h 4496940"/>
                    <a:gd name="connsiteX125" fmla="*/ 240052 w 4519987"/>
                    <a:gd name="connsiteY125" fmla="*/ 1247775 h 4496940"/>
                    <a:gd name="connsiteX126" fmla="*/ 268627 w 4519987"/>
                    <a:gd name="connsiteY126" fmla="*/ 1200150 h 4496940"/>
                    <a:gd name="connsiteX127" fmla="*/ 287677 w 4519987"/>
                    <a:gd name="connsiteY127" fmla="*/ 1152525 h 4496940"/>
                    <a:gd name="connsiteX128" fmla="*/ 316252 w 4519987"/>
                    <a:gd name="connsiteY128" fmla="*/ 1114425 h 4496940"/>
                    <a:gd name="connsiteX129" fmla="*/ 363877 w 4519987"/>
                    <a:gd name="connsiteY129" fmla="*/ 1038225 h 4496940"/>
                    <a:gd name="connsiteX130" fmla="*/ 382927 w 4519987"/>
                    <a:gd name="connsiteY130" fmla="*/ 1009650 h 4496940"/>
                    <a:gd name="connsiteX131" fmla="*/ 440077 w 4519987"/>
                    <a:gd name="connsiteY131" fmla="*/ 904875 h 4496940"/>
                    <a:gd name="connsiteX132" fmla="*/ 478177 w 4519987"/>
                    <a:gd name="connsiteY132" fmla="*/ 857250 h 4496940"/>
                    <a:gd name="connsiteX133" fmla="*/ 497227 w 4519987"/>
                    <a:gd name="connsiteY133" fmla="*/ 828675 h 4496940"/>
                    <a:gd name="connsiteX134" fmla="*/ 535327 w 4519987"/>
                    <a:gd name="connsiteY134" fmla="*/ 800100 h 4496940"/>
                    <a:gd name="connsiteX135" fmla="*/ 602002 w 4519987"/>
                    <a:gd name="connsiteY135" fmla="*/ 733425 h 4496940"/>
                    <a:gd name="connsiteX136" fmla="*/ 668677 w 4519987"/>
                    <a:gd name="connsiteY136" fmla="*/ 676275 h 4496940"/>
                    <a:gd name="connsiteX137" fmla="*/ 697252 w 4519987"/>
                    <a:gd name="connsiteY137" fmla="*/ 657225 h 4496940"/>
                    <a:gd name="connsiteX138" fmla="*/ 840127 w 4519987"/>
                    <a:gd name="connsiteY138" fmla="*/ 533400 h 4496940"/>
                    <a:gd name="connsiteX139" fmla="*/ 887752 w 4519987"/>
                    <a:gd name="connsiteY139" fmla="*/ 504825 h 4496940"/>
                    <a:gd name="connsiteX140" fmla="*/ 1167152 w 4519987"/>
                    <a:gd name="connsiteY140" fmla="*/ 311150 h 4496940"/>
                    <a:gd name="connsiteX141" fmla="*/ 1268752 w 4519987"/>
                    <a:gd name="connsiteY141" fmla="*/ 285750 h 4496940"/>
                    <a:gd name="connsiteX142" fmla="*/ 1411627 w 4519987"/>
                    <a:gd name="connsiteY142" fmla="*/ 190500 h 4496940"/>
                    <a:gd name="connsiteX143" fmla="*/ 1449727 w 4519987"/>
                    <a:gd name="connsiteY143" fmla="*/ 161925 h 4496940"/>
                    <a:gd name="connsiteX144" fmla="*/ 1525927 w 4519987"/>
                    <a:gd name="connsiteY144" fmla="*/ 152400 h 4496940"/>
                    <a:gd name="connsiteX145" fmla="*/ 1583077 w 4519987"/>
                    <a:gd name="connsiteY145" fmla="*/ 142875 h 4496940"/>
                    <a:gd name="connsiteX146" fmla="*/ 1716427 w 4519987"/>
                    <a:gd name="connsiteY146" fmla="*/ 123825 h 4496940"/>
                    <a:gd name="connsiteX147" fmla="*/ 1811677 w 4519987"/>
                    <a:gd name="connsiteY147" fmla="*/ 114300 h 4496940"/>
                    <a:gd name="connsiteX148" fmla="*/ 1859302 w 4519987"/>
                    <a:gd name="connsiteY148" fmla="*/ 104775 h 4496940"/>
                    <a:gd name="connsiteX149" fmla="*/ 1916452 w 4519987"/>
                    <a:gd name="connsiteY149" fmla="*/ 95250 h 4496940"/>
                    <a:gd name="connsiteX150" fmla="*/ 2030752 w 4519987"/>
                    <a:gd name="connsiteY150" fmla="*/ 66675 h 4496940"/>
                    <a:gd name="connsiteX151" fmla="*/ 2097427 w 4519987"/>
                    <a:gd name="connsiteY151" fmla="*/ 47625 h 4496940"/>
                    <a:gd name="connsiteX152" fmla="*/ 2164102 w 4519987"/>
                    <a:gd name="connsiteY152" fmla="*/ 38100 h 4496940"/>
                    <a:gd name="connsiteX153" fmla="*/ 2392702 w 4519987"/>
                    <a:gd name="connsiteY15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678577 w 4519987"/>
                    <a:gd name="connsiteY20" fmla="*/ 504825 h 4496940"/>
                    <a:gd name="connsiteX21" fmla="*/ 3745252 w 4519987"/>
                    <a:gd name="connsiteY21" fmla="*/ 542925 h 4496940"/>
                    <a:gd name="connsiteX22" fmla="*/ 3811927 w 4519987"/>
                    <a:gd name="connsiteY22" fmla="*/ 581025 h 4496940"/>
                    <a:gd name="connsiteX23" fmla="*/ 3907177 w 4519987"/>
                    <a:gd name="connsiteY23" fmla="*/ 647700 h 4496940"/>
                    <a:gd name="connsiteX24" fmla="*/ 3935752 w 4519987"/>
                    <a:gd name="connsiteY24" fmla="*/ 676275 h 4496940"/>
                    <a:gd name="connsiteX25" fmla="*/ 4078627 w 4519987"/>
                    <a:gd name="connsiteY25" fmla="*/ 838200 h 4496940"/>
                    <a:gd name="connsiteX26" fmla="*/ 4135777 w 4519987"/>
                    <a:gd name="connsiteY26" fmla="*/ 933450 h 4496940"/>
                    <a:gd name="connsiteX27" fmla="*/ 4164352 w 4519987"/>
                    <a:gd name="connsiteY27" fmla="*/ 990600 h 4496940"/>
                    <a:gd name="connsiteX28" fmla="*/ 4173877 w 4519987"/>
                    <a:gd name="connsiteY28" fmla="*/ 1019175 h 4496940"/>
                    <a:gd name="connsiteX29" fmla="*/ 4192927 w 4519987"/>
                    <a:gd name="connsiteY29" fmla="*/ 1057275 h 4496940"/>
                    <a:gd name="connsiteX30" fmla="*/ 4202452 w 4519987"/>
                    <a:gd name="connsiteY30" fmla="*/ 1085850 h 4496940"/>
                    <a:gd name="connsiteX31" fmla="*/ 4250077 w 4519987"/>
                    <a:gd name="connsiteY31" fmla="*/ 1143000 h 4496940"/>
                    <a:gd name="connsiteX32" fmla="*/ 4259602 w 4519987"/>
                    <a:gd name="connsiteY32" fmla="*/ 1190625 h 4496940"/>
                    <a:gd name="connsiteX33" fmla="*/ 4307227 w 4519987"/>
                    <a:gd name="connsiteY33" fmla="*/ 1266825 h 4496940"/>
                    <a:gd name="connsiteX34" fmla="*/ 4345327 w 4519987"/>
                    <a:gd name="connsiteY34" fmla="*/ 1362075 h 4496940"/>
                    <a:gd name="connsiteX35" fmla="*/ 4373902 w 4519987"/>
                    <a:gd name="connsiteY35" fmla="*/ 1428750 h 4496940"/>
                    <a:gd name="connsiteX36" fmla="*/ 4392952 w 4519987"/>
                    <a:gd name="connsiteY36" fmla="*/ 1552575 h 4496940"/>
                    <a:gd name="connsiteX37" fmla="*/ 4402477 w 4519987"/>
                    <a:gd name="connsiteY37" fmla="*/ 1590675 h 4496940"/>
                    <a:gd name="connsiteX38" fmla="*/ 4431052 w 4519987"/>
                    <a:gd name="connsiteY38" fmla="*/ 1685925 h 4496940"/>
                    <a:gd name="connsiteX39" fmla="*/ 4519952 w 4519987"/>
                    <a:gd name="connsiteY39" fmla="*/ 2181225 h 4496940"/>
                    <a:gd name="connsiteX40" fmla="*/ 4446927 w 4519987"/>
                    <a:gd name="connsiteY40" fmla="*/ 2768600 h 4496940"/>
                    <a:gd name="connsiteX41" fmla="*/ 4383427 w 4519987"/>
                    <a:gd name="connsiteY41" fmla="*/ 2990850 h 4496940"/>
                    <a:gd name="connsiteX42" fmla="*/ 4278652 w 4519987"/>
                    <a:gd name="connsiteY42" fmla="*/ 3248025 h 4496940"/>
                    <a:gd name="connsiteX43" fmla="*/ 4259602 w 4519987"/>
                    <a:gd name="connsiteY43" fmla="*/ 3276600 h 4496940"/>
                    <a:gd name="connsiteX44" fmla="*/ 4221502 w 4519987"/>
                    <a:gd name="connsiteY44" fmla="*/ 3333750 h 4496940"/>
                    <a:gd name="connsiteX45" fmla="*/ 4211977 w 4519987"/>
                    <a:gd name="connsiteY45" fmla="*/ 3362325 h 4496940"/>
                    <a:gd name="connsiteX46" fmla="*/ 4183402 w 4519987"/>
                    <a:gd name="connsiteY46" fmla="*/ 3400425 h 4496940"/>
                    <a:gd name="connsiteX47" fmla="*/ 4164352 w 4519987"/>
                    <a:gd name="connsiteY47" fmla="*/ 3429000 h 4496940"/>
                    <a:gd name="connsiteX48" fmla="*/ 4088152 w 4519987"/>
                    <a:gd name="connsiteY48" fmla="*/ 3495675 h 4496940"/>
                    <a:gd name="connsiteX49" fmla="*/ 4059577 w 4519987"/>
                    <a:gd name="connsiteY49" fmla="*/ 3533775 h 4496940"/>
                    <a:gd name="connsiteX50" fmla="*/ 4002427 w 4519987"/>
                    <a:gd name="connsiteY50" fmla="*/ 3600450 h 4496940"/>
                    <a:gd name="connsiteX51" fmla="*/ 3983377 w 4519987"/>
                    <a:gd name="connsiteY51" fmla="*/ 3629025 h 4496940"/>
                    <a:gd name="connsiteX52" fmla="*/ 3954802 w 4519987"/>
                    <a:gd name="connsiteY52" fmla="*/ 3648075 h 4496940"/>
                    <a:gd name="connsiteX53" fmla="*/ 3907177 w 4519987"/>
                    <a:gd name="connsiteY53" fmla="*/ 3686175 h 4496940"/>
                    <a:gd name="connsiteX54" fmla="*/ 3869077 w 4519987"/>
                    <a:gd name="connsiteY54" fmla="*/ 3724275 h 4496940"/>
                    <a:gd name="connsiteX55" fmla="*/ 3792877 w 4519987"/>
                    <a:gd name="connsiteY55" fmla="*/ 3781425 h 4496940"/>
                    <a:gd name="connsiteX56" fmla="*/ 3783352 w 4519987"/>
                    <a:gd name="connsiteY56" fmla="*/ 3810000 h 4496940"/>
                    <a:gd name="connsiteX57" fmla="*/ 3745252 w 4519987"/>
                    <a:gd name="connsiteY57" fmla="*/ 3819525 h 4496940"/>
                    <a:gd name="connsiteX58" fmla="*/ 3678577 w 4519987"/>
                    <a:gd name="connsiteY58" fmla="*/ 3848100 h 4496940"/>
                    <a:gd name="connsiteX59" fmla="*/ 3659527 w 4519987"/>
                    <a:gd name="connsiteY59" fmla="*/ 3971925 h 4496940"/>
                    <a:gd name="connsiteX60" fmla="*/ 3630952 w 4519987"/>
                    <a:gd name="connsiteY60" fmla="*/ 4010025 h 4496940"/>
                    <a:gd name="connsiteX61" fmla="*/ 3621427 w 4519987"/>
                    <a:gd name="connsiteY61" fmla="*/ 4038600 h 4496940"/>
                    <a:gd name="connsiteX62" fmla="*/ 3554752 w 4519987"/>
                    <a:gd name="connsiteY62" fmla="*/ 4095750 h 4496940"/>
                    <a:gd name="connsiteX63" fmla="*/ 3516652 w 4519987"/>
                    <a:gd name="connsiteY63" fmla="*/ 4114800 h 4496940"/>
                    <a:gd name="connsiteX64" fmla="*/ 3497602 w 4519987"/>
                    <a:gd name="connsiteY64" fmla="*/ 4143375 h 4496940"/>
                    <a:gd name="connsiteX65" fmla="*/ 3383302 w 4519987"/>
                    <a:gd name="connsiteY65" fmla="*/ 4210050 h 4496940"/>
                    <a:gd name="connsiteX66" fmla="*/ 3335677 w 4519987"/>
                    <a:gd name="connsiteY66" fmla="*/ 4238625 h 4496940"/>
                    <a:gd name="connsiteX67" fmla="*/ 3288052 w 4519987"/>
                    <a:gd name="connsiteY67" fmla="*/ 4248150 h 4496940"/>
                    <a:gd name="connsiteX68" fmla="*/ 3240427 w 4519987"/>
                    <a:gd name="connsiteY68" fmla="*/ 4267200 h 4496940"/>
                    <a:gd name="connsiteX69" fmla="*/ 3068977 w 4519987"/>
                    <a:gd name="connsiteY69" fmla="*/ 4286250 h 4496940"/>
                    <a:gd name="connsiteX70" fmla="*/ 2935627 w 4519987"/>
                    <a:gd name="connsiteY70" fmla="*/ 4333875 h 4496940"/>
                    <a:gd name="connsiteX71" fmla="*/ 2811802 w 4519987"/>
                    <a:gd name="connsiteY71" fmla="*/ 4371975 h 4496940"/>
                    <a:gd name="connsiteX72" fmla="*/ 2745127 w 4519987"/>
                    <a:gd name="connsiteY72" fmla="*/ 4410075 h 4496940"/>
                    <a:gd name="connsiteX73" fmla="*/ 2697502 w 4519987"/>
                    <a:gd name="connsiteY73" fmla="*/ 4429125 h 4496940"/>
                    <a:gd name="connsiteX74" fmla="*/ 2640352 w 4519987"/>
                    <a:gd name="connsiteY74" fmla="*/ 4457700 h 4496940"/>
                    <a:gd name="connsiteX75" fmla="*/ 2583202 w 4519987"/>
                    <a:gd name="connsiteY75" fmla="*/ 4467225 h 4496940"/>
                    <a:gd name="connsiteX76" fmla="*/ 2545102 w 4519987"/>
                    <a:gd name="connsiteY76" fmla="*/ 4486275 h 4496940"/>
                    <a:gd name="connsiteX77" fmla="*/ 2306977 w 4519987"/>
                    <a:gd name="connsiteY77" fmla="*/ 4476750 h 4496940"/>
                    <a:gd name="connsiteX78" fmla="*/ 2202202 w 4519987"/>
                    <a:gd name="connsiteY78" fmla="*/ 4457700 h 4496940"/>
                    <a:gd name="connsiteX79" fmla="*/ 2126002 w 4519987"/>
                    <a:gd name="connsiteY79" fmla="*/ 4429125 h 4496940"/>
                    <a:gd name="connsiteX80" fmla="*/ 1935502 w 4519987"/>
                    <a:gd name="connsiteY80" fmla="*/ 4400550 h 4496940"/>
                    <a:gd name="connsiteX81" fmla="*/ 1821202 w 4519987"/>
                    <a:gd name="connsiteY81" fmla="*/ 4371975 h 4496940"/>
                    <a:gd name="connsiteX82" fmla="*/ 1754527 w 4519987"/>
                    <a:gd name="connsiteY82" fmla="*/ 4352925 h 4496940"/>
                    <a:gd name="connsiteX83" fmla="*/ 1687852 w 4519987"/>
                    <a:gd name="connsiteY83" fmla="*/ 4343400 h 4496940"/>
                    <a:gd name="connsiteX84" fmla="*/ 1573552 w 4519987"/>
                    <a:gd name="connsiteY84" fmla="*/ 4305300 h 4496940"/>
                    <a:gd name="connsiteX85" fmla="*/ 1402102 w 4519987"/>
                    <a:gd name="connsiteY85" fmla="*/ 4276725 h 4496940"/>
                    <a:gd name="connsiteX86" fmla="*/ 1287802 w 4519987"/>
                    <a:gd name="connsiteY86" fmla="*/ 4229100 h 4496940"/>
                    <a:gd name="connsiteX87" fmla="*/ 1221127 w 4519987"/>
                    <a:gd name="connsiteY87" fmla="*/ 4200525 h 4496940"/>
                    <a:gd name="connsiteX88" fmla="*/ 1144927 w 4519987"/>
                    <a:gd name="connsiteY88" fmla="*/ 4171950 h 4496940"/>
                    <a:gd name="connsiteX89" fmla="*/ 1087777 w 4519987"/>
                    <a:gd name="connsiteY89" fmla="*/ 4143375 h 4496940"/>
                    <a:gd name="connsiteX90" fmla="*/ 1030627 w 4519987"/>
                    <a:gd name="connsiteY90" fmla="*/ 4124325 h 4496940"/>
                    <a:gd name="connsiteX91" fmla="*/ 925852 w 4519987"/>
                    <a:gd name="connsiteY91" fmla="*/ 4067175 h 4496940"/>
                    <a:gd name="connsiteX92" fmla="*/ 830602 w 4519987"/>
                    <a:gd name="connsiteY92" fmla="*/ 3981450 h 4496940"/>
                    <a:gd name="connsiteX93" fmla="*/ 763927 w 4519987"/>
                    <a:gd name="connsiteY93" fmla="*/ 3914775 h 4496940"/>
                    <a:gd name="connsiteX94" fmla="*/ 725827 w 4519987"/>
                    <a:gd name="connsiteY94" fmla="*/ 3876675 h 4496940"/>
                    <a:gd name="connsiteX95" fmla="*/ 697252 w 4519987"/>
                    <a:gd name="connsiteY95" fmla="*/ 3838575 h 4496940"/>
                    <a:gd name="connsiteX96" fmla="*/ 640102 w 4519987"/>
                    <a:gd name="connsiteY96" fmla="*/ 3781425 h 4496940"/>
                    <a:gd name="connsiteX97" fmla="*/ 611527 w 4519987"/>
                    <a:gd name="connsiteY97" fmla="*/ 3733800 h 4496940"/>
                    <a:gd name="connsiteX98" fmla="*/ 554377 w 4519987"/>
                    <a:gd name="connsiteY98" fmla="*/ 3657600 h 4496940"/>
                    <a:gd name="connsiteX99" fmla="*/ 525802 w 4519987"/>
                    <a:gd name="connsiteY99" fmla="*/ 3609975 h 4496940"/>
                    <a:gd name="connsiteX100" fmla="*/ 497227 w 4519987"/>
                    <a:gd name="connsiteY100" fmla="*/ 3552825 h 4496940"/>
                    <a:gd name="connsiteX101" fmla="*/ 440077 w 4519987"/>
                    <a:gd name="connsiteY101" fmla="*/ 3495675 h 4496940"/>
                    <a:gd name="connsiteX102" fmla="*/ 411502 w 4519987"/>
                    <a:gd name="connsiteY102" fmla="*/ 3448050 h 4496940"/>
                    <a:gd name="connsiteX103" fmla="*/ 278152 w 4519987"/>
                    <a:gd name="connsiteY103" fmla="*/ 3257550 h 4496940"/>
                    <a:gd name="connsiteX104" fmla="*/ 249577 w 4519987"/>
                    <a:gd name="connsiteY104" fmla="*/ 3200400 h 4496940"/>
                    <a:gd name="connsiteX105" fmla="*/ 240052 w 4519987"/>
                    <a:gd name="connsiteY105" fmla="*/ 3162300 h 4496940"/>
                    <a:gd name="connsiteX106" fmla="*/ 221002 w 4519987"/>
                    <a:gd name="connsiteY106" fmla="*/ 3105150 h 4496940"/>
                    <a:gd name="connsiteX107" fmla="*/ 173377 w 4519987"/>
                    <a:gd name="connsiteY107" fmla="*/ 3019425 h 4496940"/>
                    <a:gd name="connsiteX108" fmla="*/ 144802 w 4519987"/>
                    <a:gd name="connsiteY108" fmla="*/ 2924175 h 4496940"/>
                    <a:gd name="connsiteX109" fmla="*/ 68602 w 4519987"/>
                    <a:gd name="connsiteY109" fmla="*/ 2724150 h 4496940"/>
                    <a:gd name="connsiteX110" fmla="*/ 49552 w 4519987"/>
                    <a:gd name="connsiteY110" fmla="*/ 2638425 h 4496940"/>
                    <a:gd name="connsiteX111" fmla="*/ 40027 w 4519987"/>
                    <a:gd name="connsiteY111" fmla="*/ 2562225 h 4496940"/>
                    <a:gd name="connsiteX112" fmla="*/ 30502 w 4519987"/>
                    <a:gd name="connsiteY112" fmla="*/ 2514600 h 4496940"/>
                    <a:gd name="connsiteX113" fmla="*/ 11452 w 4519987"/>
                    <a:gd name="connsiteY113" fmla="*/ 2400300 h 4496940"/>
                    <a:gd name="connsiteX114" fmla="*/ 20977 w 4519987"/>
                    <a:gd name="connsiteY114" fmla="*/ 1905000 h 4496940"/>
                    <a:gd name="connsiteX115" fmla="*/ 30502 w 4519987"/>
                    <a:gd name="connsiteY115" fmla="*/ 1838325 h 4496940"/>
                    <a:gd name="connsiteX116" fmla="*/ 49552 w 4519987"/>
                    <a:gd name="connsiteY116" fmla="*/ 1781175 h 4496940"/>
                    <a:gd name="connsiteX117" fmla="*/ 59077 w 4519987"/>
                    <a:gd name="connsiteY117" fmla="*/ 1743075 h 4496940"/>
                    <a:gd name="connsiteX118" fmla="*/ 78127 w 4519987"/>
                    <a:gd name="connsiteY118" fmla="*/ 1685925 h 4496940"/>
                    <a:gd name="connsiteX119" fmla="*/ 87652 w 4519987"/>
                    <a:gd name="connsiteY119" fmla="*/ 1638300 h 4496940"/>
                    <a:gd name="connsiteX120" fmla="*/ 106702 w 4519987"/>
                    <a:gd name="connsiteY120" fmla="*/ 1590675 h 4496940"/>
                    <a:gd name="connsiteX121" fmla="*/ 135277 w 4519987"/>
                    <a:gd name="connsiteY121" fmla="*/ 1504950 h 4496940"/>
                    <a:gd name="connsiteX122" fmla="*/ 154327 w 4519987"/>
                    <a:gd name="connsiteY122" fmla="*/ 1419225 h 4496940"/>
                    <a:gd name="connsiteX123" fmla="*/ 230527 w 4519987"/>
                    <a:gd name="connsiteY123" fmla="*/ 1276350 h 4496940"/>
                    <a:gd name="connsiteX124" fmla="*/ 240052 w 4519987"/>
                    <a:gd name="connsiteY124" fmla="*/ 1247775 h 4496940"/>
                    <a:gd name="connsiteX125" fmla="*/ 268627 w 4519987"/>
                    <a:gd name="connsiteY125" fmla="*/ 1200150 h 4496940"/>
                    <a:gd name="connsiteX126" fmla="*/ 287677 w 4519987"/>
                    <a:gd name="connsiteY126" fmla="*/ 1152525 h 4496940"/>
                    <a:gd name="connsiteX127" fmla="*/ 316252 w 4519987"/>
                    <a:gd name="connsiteY127" fmla="*/ 1114425 h 4496940"/>
                    <a:gd name="connsiteX128" fmla="*/ 363877 w 4519987"/>
                    <a:gd name="connsiteY128" fmla="*/ 1038225 h 4496940"/>
                    <a:gd name="connsiteX129" fmla="*/ 382927 w 4519987"/>
                    <a:gd name="connsiteY129" fmla="*/ 1009650 h 4496940"/>
                    <a:gd name="connsiteX130" fmla="*/ 440077 w 4519987"/>
                    <a:gd name="connsiteY130" fmla="*/ 904875 h 4496940"/>
                    <a:gd name="connsiteX131" fmla="*/ 478177 w 4519987"/>
                    <a:gd name="connsiteY131" fmla="*/ 857250 h 4496940"/>
                    <a:gd name="connsiteX132" fmla="*/ 497227 w 4519987"/>
                    <a:gd name="connsiteY132" fmla="*/ 828675 h 4496940"/>
                    <a:gd name="connsiteX133" fmla="*/ 535327 w 4519987"/>
                    <a:gd name="connsiteY133" fmla="*/ 800100 h 4496940"/>
                    <a:gd name="connsiteX134" fmla="*/ 602002 w 4519987"/>
                    <a:gd name="connsiteY134" fmla="*/ 733425 h 4496940"/>
                    <a:gd name="connsiteX135" fmla="*/ 668677 w 4519987"/>
                    <a:gd name="connsiteY135" fmla="*/ 676275 h 4496940"/>
                    <a:gd name="connsiteX136" fmla="*/ 697252 w 4519987"/>
                    <a:gd name="connsiteY136" fmla="*/ 657225 h 4496940"/>
                    <a:gd name="connsiteX137" fmla="*/ 840127 w 4519987"/>
                    <a:gd name="connsiteY137" fmla="*/ 533400 h 4496940"/>
                    <a:gd name="connsiteX138" fmla="*/ 887752 w 4519987"/>
                    <a:gd name="connsiteY138" fmla="*/ 504825 h 4496940"/>
                    <a:gd name="connsiteX139" fmla="*/ 1167152 w 4519987"/>
                    <a:gd name="connsiteY139" fmla="*/ 311150 h 4496940"/>
                    <a:gd name="connsiteX140" fmla="*/ 1268752 w 4519987"/>
                    <a:gd name="connsiteY140" fmla="*/ 285750 h 4496940"/>
                    <a:gd name="connsiteX141" fmla="*/ 1411627 w 4519987"/>
                    <a:gd name="connsiteY141" fmla="*/ 190500 h 4496940"/>
                    <a:gd name="connsiteX142" fmla="*/ 1449727 w 4519987"/>
                    <a:gd name="connsiteY142" fmla="*/ 161925 h 4496940"/>
                    <a:gd name="connsiteX143" fmla="*/ 1525927 w 4519987"/>
                    <a:gd name="connsiteY143" fmla="*/ 152400 h 4496940"/>
                    <a:gd name="connsiteX144" fmla="*/ 1583077 w 4519987"/>
                    <a:gd name="connsiteY144" fmla="*/ 142875 h 4496940"/>
                    <a:gd name="connsiteX145" fmla="*/ 1716427 w 4519987"/>
                    <a:gd name="connsiteY145" fmla="*/ 123825 h 4496940"/>
                    <a:gd name="connsiteX146" fmla="*/ 1811677 w 4519987"/>
                    <a:gd name="connsiteY146" fmla="*/ 114300 h 4496940"/>
                    <a:gd name="connsiteX147" fmla="*/ 1859302 w 4519987"/>
                    <a:gd name="connsiteY147" fmla="*/ 104775 h 4496940"/>
                    <a:gd name="connsiteX148" fmla="*/ 1916452 w 4519987"/>
                    <a:gd name="connsiteY148" fmla="*/ 95250 h 4496940"/>
                    <a:gd name="connsiteX149" fmla="*/ 2030752 w 4519987"/>
                    <a:gd name="connsiteY149" fmla="*/ 66675 h 4496940"/>
                    <a:gd name="connsiteX150" fmla="*/ 2097427 w 4519987"/>
                    <a:gd name="connsiteY150" fmla="*/ 47625 h 4496940"/>
                    <a:gd name="connsiteX151" fmla="*/ 2164102 w 4519987"/>
                    <a:gd name="connsiteY151" fmla="*/ 38100 h 4496940"/>
                    <a:gd name="connsiteX152" fmla="*/ 2392702 w 4519987"/>
                    <a:gd name="connsiteY15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745252 w 4519987"/>
                    <a:gd name="connsiteY20" fmla="*/ 542925 h 4496940"/>
                    <a:gd name="connsiteX21" fmla="*/ 3811927 w 4519987"/>
                    <a:gd name="connsiteY21" fmla="*/ 581025 h 4496940"/>
                    <a:gd name="connsiteX22" fmla="*/ 3907177 w 4519987"/>
                    <a:gd name="connsiteY22" fmla="*/ 647700 h 4496940"/>
                    <a:gd name="connsiteX23" fmla="*/ 3935752 w 4519987"/>
                    <a:gd name="connsiteY23" fmla="*/ 676275 h 4496940"/>
                    <a:gd name="connsiteX24" fmla="*/ 4078627 w 4519987"/>
                    <a:gd name="connsiteY24" fmla="*/ 838200 h 4496940"/>
                    <a:gd name="connsiteX25" fmla="*/ 4135777 w 4519987"/>
                    <a:gd name="connsiteY25" fmla="*/ 933450 h 4496940"/>
                    <a:gd name="connsiteX26" fmla="*/ 4164352 w 4519987"/>
                    <a:gd name="connsiteY26" fmla="*/ 990600 h 4496940"/>
                    <a:gd name="connsiteX27" fmla="*/ 4173877 w 4519987"/>
                    <a:gd name="connsiteY27" fmla="*/ 1019175 h 4496940"/>
                    <a:gd name="connsiteX28" fmla="*/ 4192927 w 4519987"/>
                    <a:gd name="connsiteY28" fmla="*/ 1057275 h 4496940"/>
                    <a:gd name="connsiteX29" fmla="*/ 4202452 w 4519987"/>
                    <a:gd name="connsiteY29" fmla="*/ 1085850 h 4496940"/>
                    <a:gd name="connsiteX30" fmla="*/ 4250077 w 4519987"/>
                    <a:gd name="connsiteY30" fmla="*/ 1143000 h 4496940"/>
                    <a:gd name="connsiteX31" fmla="*/ 4259602 w 4519987"/>
                    <a:gd name="connsiteY31" fmla="*/ 1190625 h 4496940"/>
                    <a:gd name="connsiteX32" fmla="*/ 4307227 w 4519987"/>
                    <a:gd name="connsiteY32" fmla="*/ 1266825 h 4496940"/>
                    <a:gd name="connsiteX33" fmla="*/ 4345327 w 4519987"/>
                    <a:gd name="connsiteY33" fmla="*/ 1362075 h 4496940"/>
                    <a:gd name="connsiteX34" fmla="*/ 4373902 w 4519987"/>
                    <a:gd name="connsiteY34" fmla="*/ 1428750 h 4496940"/>
                    <a:gd name="connsiteX35" fmla="*/ 4392952 w 4519987"/>
                    <a:gd name="connsiteY35" fmla="*/ 1552575 h 4496940"/>
                    <a:gd name="connsiteX36" fmla="*/ 4402477 w 4519987"/>
                    <a:gd name="connsiteY36" fmla="*/ 1590675 h 4496940"/>
                    <a:gd name="connsiteX37" fmla="*/ 4431052 w 4519987"/>
                    <a:gd name="connsiteY37" fmla="*/ 1685925 h 4496940"/>
                    <a:gd name="connsiteX38" fmla="*/ 4519952 w 4519987"/>
                    <a:gd name="connsiteY38" fmla="*/ 2181225 h 4496940"/>
                    <a:gd name="connsiteX39" fmla="*/ 4446927 w 4519987"/>
                    <a:gd name="connsiteY39" fmla="*/ 2768600 h 4496940"/>
                    <a:gd name="connsiteX40" fmla="*/ 4383427 w 4519987"/>
                    <a:gd name="connsiteY40" fmla="*/ 2990850 h 4496940"/>
                    <a:gd name="connsiteX41" fmla="*/ 4278652 w 4519987"/>
                    <a:gd name="connsiteY41" fmla="*/ 3248025 h 4496940"/>
                    <a:gd name="connsiteX42" fmla="*/ 4259602 w 4519987"/>
                    <a:gd name="connsiteY42" fmla="*/ 3276600 h 4496940"/>
                    <a:gd name="connsiteX43" fmla="*/ 4221502 w 4519987"/>
                    <a:gd name="connsiteY43" fmla="*/ 3333750 h 4496940"/>
                    <a:gd name="connsiteX44" fmla="*/ 4211977 w 4519987"/>
                    <a:gd name="connsiteY44" fmla="*/ 3362325 h 4496940"/>
                    <a:gd name="connsiteX45" fmla="*/ 4183402 w 4519987"/>
                    <a:gd name="connsiteY45" fmla="*/ 3400425 h 4496940"/>
                    <a:gd name="connsiteX46" fmla="*/ 4164352 w 4519987"/>
                    <a:gd name="connsiteY46" fmla="*/ 3429000 h 4496940"/>
                    <a:gd name="connsiteX47" fmla="*/ 4088152 w 4519987"/>
                    <a:gd name="connsiteY47" fmla="*/ 3495675 h 4496940"/>
                    <a:gd name="connsiteX48" fmla="*/ 4059577 w 4519987"/>
                    <a:gd name="connsiteY48" fmla="*/ 3533775 h 4496940"/>
                    <a:gd name="connsiteX49" fmla="*/ 4002427 w 4519987"/>
                    <a:gd name="connsiteY49" fmla="*/ 3600450 h 4496940"/>
                    <a:gd name="connsiteX50" fmla="*/ 3983377 w 4519987"/>
                    <a:gd name="connsiteY50" fmla="*/ 3629025 h 4496940"/>
                    <a:gd name="connsiteX51" fmla="*/ 3954802 w 4519987"/>
                    <a:gd name="connsiteY51" fmla="*/ 3648075 h 4496940"/>
                    <a:gd name="connsiteX52" fmla="*/ 3907177 w 4519987"/>
                    <a:gd name="connsiteY52" fmla="*/ 3686175 h 4496940"/>
                    <a:gd name="connsiteX53" fmla="*/ 3869077 w 4519987"/>
                    <a:gd name="connsiteY53" fmla="*/ 3724275 h 4496940"/>
                    <a:gd name="connsiteX54" fmla="*/ 3792877 w 4519987"/>
                    <a:gd name="connsiteY54" fmla="*/ 3781425 h 4496940"/>
                    <a:gd name="connsiteX55" fmla="*/ 3783352 w 4519987"/>
                    <a:gd name="connsiteY55" fmla="*/ 3810000 h 4496940"/>
                    <a:gd name="connsiteX56" fmla="*/ 3745252 w 4519987"/>
                    <a:gd name="connsiteY56" fmla="*/ 3819525 h 4496940"/>
                    <a:gd name="connsiteX57" fmla="*/ 3678577 w 4519987"/>
                    <a:gd name="connsiteY57" fmla="*/ 3848100 h 4496940"/>
                    <a:gd name="connsiteX58" fmla="*/ 3659527 w 4519987"/>
                    <a:gd name="connsiteY58" fmla="*/ 3971925 h 4496940"/>
                    <a:gd name="connsiteX59" fmla="*/ 3630952 w 4519987"/>
                    <a:gd name="connsiteY59" fmla="*/ 4010025 h 4496940"/>
                    <a:gd name="connsiteX60" fmla="*/ 3621427 w 4519987"/>
                    <a:gd name="connsiteY60" fmla="*/ 4038600 h 4496940"/>
                    <a:gd name="connsiteX61" fmla="*/ 3554752 w 4519987"/>
                    <a:gd name="connsiteY61" fmla="*/ 4095750 h 4496940"/>
                    <a:gd name="connsiteX62" fmla="*/ 3516652 w 4519987"/>
                    <a:gd name="connsiteY62" fmla="*/ 4114800 h 4496940"/>
                    <a:gd name="connsiteX63" fmla="*/ 3497602 w 4519987"/>
                    <a:gd name="connsiteY63" fmla="*/ 4143375 h 4496940"/>
                    <a:gd name="connsiteX64" fmla="*/ 3383302 w 4519987"/>
                    <a:gd name="connsiteY64" fmla="*/ 4210050 h 4496940"/>
                    <a:gd name="connsiteX65" fmla="*/ 3335677 w 4519987"/>
                    <a:gd name="connsiteY65" fmla="*/ 4238625 h 4496940"/>
                    <a:gd name="connsiteX66" fmla="*/ 3288052 w 4519987"/>
                    <a:gd name="connsiteY66" fmla="*/ 4248150 h 4496940"/>
                    <a:gd name="connsiteX67" fmla="*/ 3240427 w 4519987"/>
                    <a:gd name="connsiteY67" fmla="*/ 4267200 h 4496940"/>
                    <a:gd name="connsiteX68" fmla="*/ 3068977 w 4519987"/>
                    <a:gd name="connsiteY68" fmla="*/ 4286250 h 4496940"/>
                    <a:gd name="connsiteX69" fmla="*/ 2935627 w 4519987"/>
                    <a:gd name="connsiteY69" fmla="*/ 4333875 h 4496940"/>
                    <a:gd name="connsiteX70" fmla="*/ 2811802 w 4519987"/>
                    <a:gd name="connsiteY70" fmla="*/ 4371975 h 4496940"/>
                    <a:gd name="connsiteX71" fmla="*/ 2745127 w 4519987"/>
                    <a:gd name="connsiteY71" fmla="*/ 4410075 h 4496940"/>
                    <a:gd name="connsiteX72" fmla="*/ 2697502 w 4519987"/>
                    <a:gd name="connsiteY72" fmla="*/ 4429125 h 4496940"/>
                    <a:gd name="connsiteX73" fmla="*/ 2640352 w 4519987"/>
                    <a:gd name="connsiteY73" fmla="*/ 4457700 h 4496940"/>
                    <a:gd name="connsiteX74" fmla="*/ 2583202 w 4519987"/>
                    <a:gd name="connsiteY74" fmla="*/ 4467225 h 4496940"/>
                    <a:gd name="connsiteX75" fmla="*/ 2545102 w 4519987"/>
                    <a:gd name="connsiteY75" fmla="*/ 4486275 h 4496940"/>
                    <a:gd name="connsiteX76" fmla="*/ 2306977 w 4519987"/>
                    <a:gd name="connsiteY76" fmla="*/ 4476750 h 4496940"/>
                    <a:gd name="connsiteX77" fmla="*/ 2202202 w 4519987"/>
                    <a:gd name="connsiteY77" fmla="*/ 4457700 h 4496940"/>
                    <a:gd name="connsiteX78" fmla="*/ 2126002 w 4519987"/>
                    <a:gd name="connsiteY78" fmla="*/ 4429125 h 4496940"/>
                    <a:gd name="connsiteX79" fmla="*/ 1935502 w 4519987"/>
                    <a:gd name="connsiteY79" fmla="*/ 4400550 h 4496940"/>
                    <a:gd name="connsiteX80" fmla="*/ 1821202 w 4519987"/>
                    <a:gd name="connsiteY80" fmla="*/ 4371975 h 4496940"/>
                    <a:gd name="connsiteX81" fmla="*/ 1754527 w 4519987"/>
                    <a:gd name="connsiteY81" fmla="*/ 4352925 h 4496940"/>
                    <a:gd name="connsiteX82" fmla="*/ 1687852 w 4519987"/>
                    <a:gd name="connsiteY82" fmla="*/ 4343400 h 4496940"/>
                    <a:gd name="connsiteX83" fmla="*/ 1573552 w 4519987"/>
                    <a:gd name="connsiteY83" fmla="*/ 4305300 h 4496940"/>
                    <a:gd name="connsiteX84" fmla="*/ 1402102 w 4519987"/>
                    <a:gd name="connsiteY84" fmla="*/ 4276725 h 4496940"/>
                    <a:gd name="connsiteX85" fmla="*/ 1287802 w 4519987"/>
                    <a:gd name="connsiteY85" fmla="*/ 4229100 h 4496940"/>
                    <a:gd name="connsiteX86" fmla="*/ 1221127 w 4519987"/>
                    <a:gd name="connsiteY86" fmla="*/ 4200525 h 4496940"/>
                    <a:gd name="connsiteX87" fmla="*/ 1144927 w 4519987"/>
                    <a:gd name="connsiteY87" fmla="*/ 4171950 h 4496940"/>
                    <a:gd name="connsiteX88" fmla="*/ 1087777 w 4519987"/>
                    <a:gd name="connsiteY88" fmla="*/ 4143375 h 4496940"/>
                    <a:gd name="connsiteX89" fmla="*/ 1030627 w 4519987"/>
                    <a:gd name="connsiteY89" fmla="*/ 4124325 h 4496940"/>
                    <a:gd name="connsiteX90" fmla="*/ 925852 w 4519987"/>
                    <a:gd name="connsiteY90" fmla="*/ 4067175 h 4496940"/>
                    <a:gd name="connsiteX91" fmla="*/ 830602 w 4519987"/>
                    <a:gd name="connsiteY91" fmla="*/ 3981450 h 4496940"/>
                    <a:gd name="connsiteX92" fmla="*/ 763927 w 4519987"/>
                    <a:gd name="connsiteY92" fmla="*/ 3914775 h 4496940"/>
                    <a:gd name="connsiteX93" fmla="*/ 725827 w 4519987"/>
                    <a:gd name="connsiteY93" fmla="*/ 3876675 h 4496940"/>
                    <a:gd name="connsiteX94" fmla="*/ 697252 w 4519987"/>
                    <a:gd name="connsiteY94" fmla="*/ 3838575 h 4496940"/>
                    <a:gd name="connsiteX95" fmla="*/ 640102 w 4519987"/>
                    <a:gd name="connsiteY95" fmla="*/ 3781425 h 4496940"/>
                    <a:gd name="connsiteX96" fmla="*/ 611527 w 4519987"/>
                    <a:gd name="connsiteY96" fmla="*/ 3733800 h 4496940"/>
                    <a:gd name="connsiteX97" fmla="*/ 554377 w 4519987"/>
                    <a:gd name="connsiteY97" fmla="*/ 3657600 h 4496940"/>
                    <a:gd name="connsiteX98" fmla="*/ 525802 w 4519987"/>
                    <a:gd name="connsiteY98" fmla="*/ 3609975 h 4496940"/>
                    <a:gd name="connsiteX99" fmla="*/ 497227 w 4519987"/>
                    <a:gd name="connsiteY99" fmla="*/ 3552825 h 4496940"/>
                    <a:gd name="connsiteX100" fmla="*/ 440077 w 4519987"/>
                    <a:gd name="connsiteY100" fmla="*/ 3495675 h 4496940"/>
                    <a:gd name="connsiteX101" fmla="*/ 411502 w 4519987"/>
                    <a:gd name="connsiteY101" fmla="*/ 3448050 h 4496940"/>
                    <a:gd name="connsiteX102" fmla="*/ 278152 w 4519987"/>
                    <a:gd name="connsiteY102" fmla="*/ 3257550 h 4496940"/>
                    <a:gd name="connsiteX103" fmla="*/ 249577 w 4519987"/>
                    <a:gd name="connsiteY103" fmla="*/ 3200400 h 4496940"/>
                    <a:gd name="connsiteX104" fmla="*/ 240052 w 4519987"/>
                    <a:gd name="connsiteY104" fmla="*/ 3162300 h 4496940"/>
                    <a:gd name="connsiteX105" fmla="*/ 221002 w 4519987"/>
                    <a:gd name="connsiteY105" fmla="*/ 3105150 h 4496940"/>
                    <a:gd name="connsiteX106" fmla="*/ 173377 w 4519987"/>
                    <a:gd name="connsiteY106" fmla="*/ 3019425 h 4496940"/>
                    <a:gd name="connsiteX107" fmla="*/ 144802 w 4519987"/>
                    <a:gd name="connsiteY107" fmla="*/ 2924175 h 4496940"/>
                    <a:gd name="connsiteX108" fmla="*/ 68602 w 4519987"/>
                    <a:gd name="connsiteY108" fmla="*/ 2724150 h 4496940"/>
                    <a:gd name="connsiteX109" fmla="*/ 49552 w 4519987"/>
                    <a:gd name="connsiteY109" fmla="*/ 2638425 h 4496940"/>
                    <a:gd name="connsiteX110" fmla="*/ 40027 w 4519987"/>
                    <a:gd name="connsiteY110" fmla="*/ 2562225 h 4496940"/>
                    <a:gd name="connsiteX111" fmla="*/ 30502 w 4519987"/>
                    <a:gd name="connsiteY111" fmla="*/ 2514600 h 4496940"/>
                    <a:gd name="connsiteX112" fmla="*/ 11452 w 4519987"/>
                    <a:gd name="connsiteY112" fmla="*/ 2400300 h 4496940"/>
                    <a:gd name="connsiteX113" fmla="*/ 20977 w 4519987"/>
                    <a:gd name="connsiteY113" fmla="*/ 1905000 h 4496940"/>
                    <a:gd name="connsiteX114" fmla="*/ 30502 w 4519987"/>
                    <a:gd name="connsiteY114" fmla="*/ 1838325 h 4496940"/>
                    <a:gd name="connsiteX115" fmla="*/ 49552 w 4519987"/>
                    <a:gd name="connsiteY115" fmla="*/ 1781175 h 4496940"/>
                    <a:gd name="connsiteX116" fmla="*/ 59077 w 4519987"/>
                    <a:gd name="connsiteY116" fmla="*/ 1743075 h 4496940"/>
                    <a:gd name="connsiteX117" fmla="*/ 78127 w 4519987"/>
                    <a:gd name="connsiteY117" fmla="*/ 1685925 h 4496940"/>
                    <a:gd name="connsiteX118" fmla="*/ 87652 w 4519987"/>
                    <a:gd name="connsiteY118" fmla="*/ 1638300 h 4496940"/>
                    <a:gd name="connsiteX119" fmla="*/ 106702 w 4519987"/>
                    <a:gd name="connsiteY119" fmla="*/ 1590675 h 4496940"/>
                    <a:gd name="connsiteX120" fmla="*/ 135277 w 4519987"/>
                    <a:gd name="connsiteY120" fmla="*/ 1504950 h 4496940"/>
                    <a:gd name="connsiteX121" fmla="*/ 154327 w 4519987"/>
                    <a:gd name="connsiteY121" fmla="*/ 1419225 h 4496940"/>
                    <a:gd name="connsiteX122" fmla="*/ 230527 w 4519987"/>
                    <a:gd name="connsiteY122" fmla="*/ 1276350 h 4496940"/>
                    <a:gd name="connsiteX123" fmla="*/ 240052 w 4519987"/>
                    <a:gd name="connsiteY123" fmla="*/ 1247775 h 4496940"/>
                    <a:gd name="connsiteX124" fmla="*/ 268627 w 4519987"/>
                    <a:gd name="connsiteY124" fmla="*/ 1200150 h 4496940"/>
                    <a:gd name="connsiteX125" fmla="*/ 287677 w 4519987"/>
                    <a:gd name="connsiteY125" fmla="*/ 1152525 h 4496940"/>
                    <a:gd name="connsiteX126" fmla="*/ 316252 w 4519987"/>
                    <a:gd name="connsiteY126" fmla="*/ 1114425 h 4496940"/>
                    <a:gd name="connsiteX127" fmla="*/ 363877 w 4519987"/>
                    <a:gd name="connsiteY127" fmla="*/ 1038225 h 4496940"/>
                    <a:gd name="connsiteX128" fmla="*/ 382927 w 4519987"/>
                    <a:gd name="connsiteY128" fmla="*/ 1009650 h 4496940"/>
                    <a:gd name="connsiteX129" fmla="*/ 440077 w 4519987"/>
                    <a:gd name="connsiteY129" fmla="*/ 904875 h 4496940"/>
                    <a:gd name="connsiteX130" fmla="*/ 478177 w 4519987"/>
                    <a:gd name="connsiteY130" fmla="*/ 857250 h 4496940"/>
                    <a:gd name="connsiteX131" fmla="*/ 497227 w 4519987"/>
                    <a:gd name="connsiteY131" fmla="*/ 828675 h 4496940"/>
                    <a:gd name="connsiteX132" fmla="*/ 535327 w 4519987"/>
                    <a:gd name="connsiteY132" fmla="*/ 800100 h 4496940"/>
                    <a:gd name="connsiteX133" fmla="*/ 602002 w 4519987"/>
                    <a:gd name="connsiteY133" fmla="*/ 733425 h 4496940"/>
                    <a:gd name="connsiteX134" fmla="*/ 668677 w 4519987"/>
                    <a:gd name="connsiteY134" fmla="*/ 676275 h 4496940"/>
                    <a:gd name="connsiteX135" fmla="*/ 697252 w 4519987"/>
                    <a:gd name="connsiteY135" fmla="*/ 657225 h 4496940"/>
                    <a:gd name="connsiteX136" fmla="*/ 840127 w 4519987"/>
                    <a:gd name="connsiteY136" fmla="*/ 533400 h 4496940"/>
                    <a:gd name="connsiteX137" fmla="*/ 887752 w 4519987"/>
                    <a:gd name="connsiteY137" fmla="*/ 504825 h 4496940"/>
                    <a:gd name="connsiteX138" fmla="*/ 1167152 w 4519987"/>
                    <a:gd name="connsiteY138" fmla="*/ 311150 h 4496940"/>
                    <a:gd name="connsiteX139" fmla="*/ 1268752 w 4519987"/>
                    <a:gd name="connsiteY139" fmla="*/ 285750 h 4496940"/>
                    <a:gd name="connsiteX140" fmla="*/ 1411627 w 4519987"/>
                    <a:gd name="connsiteY140" fmla="*/ 190500 h 4496940"/>
                    <a:gd name="connsiteX141" fmla="*/ 1449727 w 4519987"/>
                    <a:gd name="connsiteY141" fmla="*/ 161925 h 4496940"/>
                    <a:gd name="connsiteX142" fmla="*/ 1525927 w 4519987"/>
                    <a:gd name="connsiteY142" fmla="*/ 152400 h 4496940"/>
                    <a:gd name="connsiteX143" fmla="*/ 1583077 w 4519987"/>
                    <a:gd name="connsiteY143" fmla="*/ 142875 h 4496940"/>
                    <a:gd name="connsiteX144" fmla="*/ 1716427 w 4519987"/>
                    <a:gd name="connsiteY144" fmla="*/ 123825 h 4496940"/>
                    <a:gd name="connsiteX145" fmla="*/ 1811677 w 4519987"/>
                    <a:gd name="connsiteY145" fmla="*/ 114300 h 4496940"/>
                    <a:gd name="connsiteX146" fmla="*/ 1859302 w 4519987"/>
                    <a:gd name="connsiteY146" fmla="*/ 104775 h 4496940"/>
                    <a:gd name="connsiteX147" fmla="*/ 1916452 w 4519987"/>
                    <a:gd name="connsiteY147" fmla="*/ 95250 h 4496940"/>
                    <a:gd name="connsiteX148" fmla="*/ 2030752 w 4519987"/>
                    <a:gd name="connsiteY148" fmla="*/ 66675 h 4496940"/>
                    <a:gd name="connsiteX149" fmla="*/ 2097427 w 4519987"/>
                    <a:gd name="connsiteY149" fmla="*/ 47625 h 4496940"/>
                    <a:gd name="connsiteX150" fmla="*/ 2164102 w 4519987"/>
                    <a:gd name="connsiteY150" fmla="*/ 38100 h 4496940"/>
                    <a:gd name="connsiteX151" fmla="*/ 2392702 w 4519987"/>
                    <a:gd name="connsiteY15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3935752 w 4519987"/>
                    <a:gd name="connsiteY22" fmla="*/ 676275 h 4496940"/>
                    <a:gd name="connsiteX23" fmla="*/ 4078627 w 4519987"/>
                    <a:gd name="connsiteY23" fmla="*/ 838200 h 4496940"/>
                    <a:gd name="connsiteX24" fmla="*/ 4135777 w 4519987"/>
                    <a:gd name="connsiteY24" fmla="*/ 933450 h 4496940"/>
                    <a:gd name="connsiteX25" fmla="*/ 4164352 w 4519987"/>
                    <a:gd name="connsiteY25" fmla="*/ 990600 h 4496940"/>
                    <a:gd name="connsiteX26" fmla="*/ 4173877 w 4519987"/>
                    <a:gd name="connsiteY26" fmla="*/ 1019175 h 4496940"/>
                    <a:gd name="connsiteX27" fmla="*/ 4192927 w 4519987"/>
                    <a:gd name="connsiteY27" fmla="*/ 1057275 h 4496940"/>
                    <a:gd name="connsiteX28" fmla="*/ 4202452 w 4519987"/>
                    <a:gd name="connsiteY28" fmla="*/ 1085850 h 4496940"/>
                    <a:gd name="connsiteX29" fmla="*/ 4250077 w 4519987"/>
                    <a:gd name="connsiteY29" fmla="*/ 1143000 h 4496940"/>
                    <a:gd name="connsiteX30" fmla="*/ 4259602 w 4519987"/>
                    <a:gd name="connsiteY30" fmla="*/ 1190625 h 4496940"/>
                    <a:gd name="connsiteX31" fmla="*/ 4307227 w 4519987"/>
                    <a:gd name="connsiteY31" fmla="*/ 1266825 h 4496940"/>
                    <a:gd name="connsiteX32" fmla="*/ 4345327 w 4519987"/>
                    <a:gd name="connsiteY32" fmla="*/ 1362075 h 4496940"/>
                    <a:gd name="connsiteX33" fmla="*/ 4373902 w 4519987"/>
                    <a:gd name="connsiteY33" fmla="*/ 1428750 h 4496940"/>
                    <a:gd name="connsiteX34" fmla="*/ 4392952 w 4519987"/>
                    <a:gd name="connsiteY34" fmla="*/ 1552575 h 4496940"/>
                    <a:gd name="connsiteX35" fmla="*/ 4402477 w 4519987"/>
                    <a:gd name="connsiteY35" fmla="*/ 1590675 h 4496940"/>
                    <a:gd name="connsiteX36" fmla="*/ 4431052 w 4519987"/>
                    <a:gd name="connsiteY36" fmla="*/ 1685925 h 4496940"/>
                    <a:gd name="connsiteX37" fmla="*/ 4519952 w 4519987"/>
                    <a:gd name="connsiteY37" fmla="*/ 2181225 h 4496940"/>
                    <a:gd name="connsiteX38" fmla="*/ 4446927 w 4519987"/>
                    <a:gd name="connsiteY38" fmla="*/ 2768600 h 4496940"/>
                    <a:gd name="connsiteX39" fmla="*/ 4383427 w 4519987"/>
                    <a:gd name="connsiteY39" fmla="*/ 2990850 h 4496940"/>
                    <a:gd name="connsiteX40" fmla="*/ 4278652 w 4519987"/>
                    <a:gd name="connsiteY40" fmla="*/ 3248025 h 4496940"/>
                    <a:gd name="connsiteX41" fmla="*/ 4259602 w 4519987"/>
                    <a:gd name="connsiteY41" fmla="*/ 3276600 h 4496940"/>
                    <a:gd name="connsiteX42" fmla="*/ 4221502 w 4519987"/>
                    <a:gd name="connsiteY42" fmla="*/ 3333750 h 4496940"/>
                    <a:gd name="connsiteX43" fmla="*/ 4211977 w 4519987"/>
                    <a:gd name="connsiteY43" fmla="*/ 3362325 h 4496940"/>
                    <a:gd name="connsiteX44" fmla="*/ 4183402 w 4519987"/>
                    <a:gd name="connsiteY44" fmla="*/ 3400425 h 4496940"/>
                    <a:gd name="connsiteX45" fmla="*/ 4164352 w 4519987"/>
                    <a:gd name="connsiteY45" fmla="*/ 3429000 h 4496940"/>
                    <a:gd name="connsiteX46" fmla="*/ 4088152 w 4519987"/>
                    <a:gd name="connsiteY46" fmla="*/ 3495675 h 4496940"/>
                    <a:gd name="connsiteX47" fmla="*/ 4059577 w 4519987"/>
                    <a:gd name="connsiteY47" fmla="*/ 3533775 h 4496940"/>
                    <a:gd name="connsiteX48" fmla="*/ 4002427 w 4519987"/>
                    <a:gd name="connsiteY48" fmla="*/ 3600450 h 4496940"/>
                    <a:gd name="connsiteX49" fmla="*/ 3983377 w 4519987"/>
                    <a:gd name="connsiteY49" fmla="*/ 3629025 h 4496940"/>
                    <a:gd name="connsiteX50" fmla="*/ 3954802 w 4519987"/>
                    <a:gd name="connsiteY50" fmla="*/ 3648075 h 4496940"/>
                    <a:gd name="connsiteX51" fmla="*/ 3907177 w 4519987"/>
                    <a:gd name="connsiteY51" fmla="*/ 3686175 h 4496940"/>
                    <a:gd name="connsiteX52" fmla="*/ 3869077 w 4519987"/>
                    <a:gd name="connsiteY52" fmla="*/ 3724275 h 4496940"/>
                    <a:gd name="connsiteX53" fmla="*/ 3792877 w 4519987"/>
                    <a:gd name="connsiteY53" fmla="*/ 3781425 h 4496940"/>
                    <a:gd name="connsiteX54" fmla="*/ 3783352 w 4519987"/>
                    <a:gd name="connsiteY54" fmla="*/ 3810000 h 4496940"/>
                    <a:gd name="connsiteX55" fmla="*/ 3745252 w 4519987"/>
                    <a:gd name="connsiteY55" fmla="*/ 3819525 h 4496940"/>
                    <a:gd name="connsiteX56" fmla="*/ 3678577 w 4519987"/>
                    <a:gd name="connsiteY56" fmla="*/ 3848100 h 4496940"/>
                    <a:gd name="connsiteX57" fmla="*/ 3659527 w 4519987"/>
                    <a:gd name="connsiteY57" fmla="*/ 3971925 h 4496940"/>
                    <a:gd name="connsiteX58" fmla="*/ 3630952 w 4519987"/>
                    <a:gd name="connsiteY58" fmla="*/ 4010025 h 4496940"/>
                    <a:gd name="connsiteX59" fmla="*/ 3621427 w 4519987"/>
                    <a:gd name="connsiteY59" fmla="*/ 4038600 h 4496940"/>
                    <a:gd name="connsiteX60" fmla="*/ 3554752 w 4519987"/>
                    <a:gd name="connsiteY60" fmla="*/ 4095750 h 4496940"/>
                    <a:gd name="connsiteX61" fmla="*/ 3516652 w 4519987"/>
                    <a:gd name="connsiteY61" fmla="*/ 4114800 h 4496940"/>
                    <a:gd name="connsiteX62" fmla="*/ 3497602 w 4519987"/>
                    <a:gd name="connsiteY62" fmla="*/ 4143375 h 4496940"/>
                    <a:gd name="connsiteX63" fmla="*/ 3383302 w 4519987"/>
                    <a:gd name="connsiteY63" fmla="*/ 4210050 h 4496940"/>
                    <a:gd name="connsiteX64" fmla="*/ 3335677 w 4519987"/>
                    <a:gd name="connsiteY64" fmla="*/ 4238625 h 4496940"/>
                    <a:gd name="connsiteX65" fmla="*/ 3288052 w 4519987"/>
                    <a:gd name="connsiteY65" fmla="*/ 4248150 h 4496940"/>
                    <a:gd name="connsiteX66" fmla="*/ 3240427 w 4519987"/>
                    <a:gd name="connsiteY66" fmla="*/ 4267200 h 4496940"/>
                    <a:gd name="connsiteX67" fmla="*/ 3068977 w 4519987"/>
                    <a:gd name="connsiteY67" fmla="*/ 4286250 h 4496940"/>
                    <a:gd name="connsiteX68" fmla="*/ 2935627 w 4519987"/>
                    <a:gd name="connsiteY68" fmla="*/ 4333875 h 4496940"/>
                    <a:gd name="connsiteX69" fmla="*/ 2811802 w 4519987"/>
                    <a:gd name="connsiteY69" fmla="*/ 4371975 h 4496940"/>
                    <a:gd name="connsiteX70" fmla="*/ 2745127 w 4519987"/>
                    <a:gd name="connsiteY70" fmla="*/ 4410075 h 4496940"/>
                    <a:gd name="connsiteX71" fmla="*/ 2697502 w 4519987"/>
                    <a:gd name="connsiteY71" fmla="*/ 4429125 h 4496940"/>
                    <a:gd name="connsiteX72" fmla="*/ 2640352 w 4519987"/>
                    <a:gd name="connsiteY72" fmla="*/ 4457700 h 4496940"/>
                    <a:gd name="connsiteX73" fmla="*/ 2583202 w 4519987"/>
                    <a:gd name="connsiteY73" fmla="*/ 4467225 h 4496940"/>
                    <a:gd name="connsiteX74" fmla="*/ 2545102 w 4519987"/>
                    <a:gd name="connsiteY74" fmla="*/ 4486275 h 4496940"/>
                    <a:gd name="connsiteX75" fmla="*/ 2306977 w 4519987"/>
                    <a:gd name="connsiteY75" fmla="*/ 4476750 h 4496940"/>
                    <a:gd name="connsiteX76" fmla="*/ 2202202 w 4519987"/>
                    <a:gd name="connsiteY76" fmla="*/ 4457700 h 4496940"/>
                    <a:gd name="connsiteX77" fmla="*/ 2126002 w 4519987"/>
                    <a:gd name="connsiteY77" fmla="*/ 4429125 h 4496940"/>
                    <a:gd name="connsiteX78" fmla="*/ 1935502 w 4519987"/>
                    <a:gd name="connsiteY78" fmla="*/ 4400550 h 4496940"/>
                    <a:gd name="connsiteX79" fmla="*/ 1821202 w 4519987"/>
                    <a:gd name="connsiteY79" fmla="*/ 4371975 h 4496940"/>
                    <a:gd name="connsiteX80" fmla="*/ 1754527 w 4519987"/>
                    <a:gd name="connsiteY80" fmla="*/ 4352925 h 4496940"/>
                    <a:gd name="connsiteX81" fmla="*/ 1687852 w 4519987"/>
                    <a:gd name="connsiteY81" fmla="*/ 4343400 h 4496940"/>
                    <a:gd name="connsiteX82" fmla="*/ 1573552 w 4519987"/>
                    <a:gd name="connsiteY82" fmla="*/ 4305300 h 4496940"/>
                    <a:gd name="connsiteX83" fmla="*/ 1402102 w 4519987"/>
                    <a:gd name="connsiteY83" fmla="*/ 4276725 h 4496940"/>
                    <a:gd name="connsiteX84" fmla="*/ 1287802 w 4519987"/>
                    <a:gd name="connsiteY84" fmla="*/ 4229100 h 4496940"/>
                    <a:gd name="connsiteX85" fmla="*/ 1221127 w 4519987"/>
                    <a:gd name="connsiteY85" fmla="*/ 4200525 h 4496940"/>
                    <a:gd name="connsiteX86" fmla="*/ 1144927 w 4519987"/>
                    <a:gd name="connsiteY86" fmla="*/ 4171950 h 4496940"/>
                    <a:gd name="connsiteX87" fmla="*/ 1087777 w 4519987"/>
                    <a:gd name="connsiteY87" fmla="*/ 4143375 h 4496940"/>
                    <a:gd name="connsiteX88" fmla="*/ 1030627 w 4519987"/>
                    <a:gd name="connsiteY88" fmla="*/ 4124325 h 4496940"/>
                    <a:gd name="connsiteX89" fmla="*/ 925852 w 4519987"/>
                    <a:gd name="connsiteY89" fmla="*/ 4067175 h 4496940"/>
                    <a:gd name="connsiteX90" fmla="*/ 830602 w 4519987"/>
                    <a:gd name="connsiteY90" fmla="*/ 3981450 h 4496940"/>
                    <a:gd name="connsiteX91" fmla="*/ 763927 w 4519987"/>
                    <a:gd name="connsiteY91" fmla="*/ 3914775 h 4496940"/>
                    <a:gd name="connsiteX92" fmla="*/ 725827 w 4519987"/>
                    <a:gd name="connsiteY92" fmla="*/ 3876675 h 4496940"/>
                    <a:gd name="connsiteX93" fmla="*/ 697252 w 4519987"/>
                    <a:gd name="connsiteY93" fmla="*/ 3838575 h 4496940"/>
                    <a:gd name="connsiteX94" fmla="*/ 640102 w 4519987"/>
                    <a:gd name="connsiteY94" fmla="*/ 3781425 h 4496940"/>
                    <a:gd name="connsiteX95" fmla="*/ 611527 w 4519987"/>
                    <a:gd name="connsiteY95" fmla="*/ 3733800 h 4496940"/>
                    <a:gd name="connsiteX96" fmla="*/ 554377 w 4519987"/>
                    <a:gd name="connsiteY96" fmla="*/ 3657600 h 4496940"/>
                    <a:gd name="connsiteX97" fmla="*/ 525802 w 4519987"/>
                    <a:gd name="connsiteY97" fmla="*/ 3609975 h 4496940"/>
                    <a:gd name="connsiteX98" fmla="*/ 497227 w 4519987"/>
                    <a:gd name="connsiteY98" fmla="*/ 3552825 h 4496940"/>
                    <a:gd name="connsiteX99" fmla="*/ 440077 w 4519987"/>
                    <a:gd name="connsiteY99" fmla="*/ 3495675 h 4496940"/>
                    <a:gd name="connsiteX100" fmla="*/ 411502 w 4519987"/>
                    <a:gd name="connsiteY100" fmla="*/ 3448050 h 4496940"/>
                    <a:gd name="connsiteX101" fmla="*/ 278152 w 4519987"/>
                    <a:gd name="connsiteY101" fmla="*/ 3257550 h 4496940"/>
                    <a:gd name="connsiteX102" fmla="*/ 249577 w 4519987"/>
                    <a:gd name="connsiteY102" fmla="*/ 3200400 h 4496940"/>
                    <a:gd name="connsiteX103" fmla="*/ 240052 w 4519987"/>
                    <a:gd name="connsiteY103" fmla="*/ 3162300 h 4496940"/>
                    <a:gd name="connsiteX104" fmla="*/ 221002 w 4519987"/>
                    <a:gd name="connsiteY104" fmla="*/ 3105150 h 4496940"/>
                    <a:gd name="connsiteX105" fmla="*/ 173377 w 4519987"/>
                    <a:gd name="connsiteY105" fmla="*/ 3019425 h 4496940"/>
                    <a:gd name="connsiteX106" fmla="*/ 144802 w 4519987"/>
                    <a:gd name="connsiteY106" fmla="*/ 2924175 h 4496940"/>
                    <a:gd name="connsiteX107" fmla="*/ 68602 w 4519987"/>
                    <a:gd name="connsiteY107" fmla="*/ 2724150 h 4496940"/>
                    <a:gd name="connsiteX108" fmla="*/ 49552 w 4519987"/>
                    <a:gd name="connsiteY108" fmla="*/ 2638425 h 4496940"/>
                    <a:gd name="connsiteX109" fmla="*/ 40027 w 4519987"/>
                    <a:gd name="connsiteY109" fmla="*/ 2562225 h 4496940"/>
                    <a:gd name="connsiteX110" fmla="*/ 30502 w 4519987"/>
                    <a:gd name="connsiteY110" fmla="*/ 2514600 h 4496940"/>
                    <a:gd name="connsiteX111" fmla="*/ 11452 w 4519987"/>
                    <a:gd name="connsiteY111" fmla="*/ 2400300 h 4496940"/>
                    <a:gd name="connsiteX112" fmla="*/ 20977 w 4519987"/>
                    <a:gd name="connsiteY112" fmla="*/ 1905000 h 4496940"/>
                    <a:gd name="connsiteX113" fmla="*/ 30502 w 4519987"/>
                    <a:gd name="connsiteY113" fmla="*/ 1838325 h 4496940"/>
                    <a:gd name="connsiteX114" fmla="*/ 49552 w 4519987"/>
                    <a:gd name="connsiteY114" fmla="*/ 1781175 h 4496940"/>
                    <a:gd name="connsiteX115" fmla="*/ 59077 w 4519987"/>
                    <a:gd name="connsiteY115" fmla="*/ 1743075 h 4496940"/>
                    <a:gd name="connsiteX116" fmla="*/ 78127 w 4519987"/>
                    <a:gd name="connsiteY116" fmla="*/ 1685925 h 4496940"/>
                    <a:gd name="connsiteX117" fmla="*/ 87652 w 4519987"/>
                    <a:gd name="connsiteY117" fmla="*/ 1638300 h 4496940"/>
                    <a:gd name="connsiteX118" fmla="*/ 106702 w 4519987"/>
                    <a:gd name="connsiteY118" fmla="*/ 1590675 h 4496940"/>
                    <a:gd name="connsiteX119" fmla="*/ 135277 w 4519987"/>
                    <a:gd name="connsiteY119" fmla="*/ 1504950 h 4496940"/>
                    <a:gd name="connsiteX120" fmla="*/ 154327 w 4519987"/>
                    <a:gd name="connsiteY120" fmla="*/ 1419225 h 4496940"/>
                    <a:gd name="connsiteX121" fmla="*/ 230527 w 4519987"/>
                    <a:gd name="connsiteY121" fmla="*/ 1276350 h 4496940"/>
                    <a:gd name="connsiteX122" fmla="*/ 240052 w 4519987"/>
                    <a:gd name="connsiteY122" fmla="*/ 1247775 h 4496940"/>
                    <a:gd name="connsiteX123" fmla="*/ 268627 w 4519987"/>
                    <a:gd name="connsiteY123" fmla="*/ 1200150 h 4496940"/>
                    <a:gd name="connsiteX124" fmla="*/ 287677 w 4519987"/>
                    <a:gd name="connsiteY124" fmla="*/ 1152525 h 4496940"/>
                    <a:gd name="connsiteX125" fmla="*/ 316252 w 4519987"/>
                    <a:gd name="connsiteY125" fmla="*/ 1114425 h 4496940"/>
                    <a:gd name="connsiteX126" fmla="*/ 363877 w 4519987"/>
                    <a:gd name="connsiteY126" fmla="*/ 1038225 h 4496940"/>
                    <a:gd name="connsiteX127" fmla="*/ 382927 w 4519987"/>
                    <a:gd name="connsiteY127" fmla="*/ 1009650 h 4496940"/>
                    <a:gd name="connsiteX128" fmla="*/ 440077 w 4519987"/>
                    <a:gd name="connsiteY128" fmla="*/ 904875 h 4496940"/>
                    <a:gd name="connsiteX129" fmla="*/ 478177 w 4519987"/>
                    <a:gd name="connsiteY129" fmla="*/ 857250 h 4496940"/>
                    <a:gd name="connsiteX130" fmla="*/ 497227 w 4519987"/>
                    <a:gd name="connsiteY130" fmla="*/ 828675 h 4496940"/>
                    <a:gd name="connsiteX131" fmla="*/ 535327 w 4519987"/>
                    <a:gd name="connsiteY131" fmla="*/ 800100 h 4496940"/>
                    <a:gd name="connsiteX132" fmla="*/ 602002 w 4519987"/>
                    <a:gd name="connsiteY132" fmla="*/ 733425 h 4496940"/>
                    <a:gd name="connsiteX133" fmla="*/ 668677 w 4519987"/>
                    <a:gd name="connsiteY133" fmla="*/ 676275 h 4496940"/>
                    <a:gd name="connsiteX134" fmla="*/ 697252 w 4519987"/>
                    <a:gd name="connsiteY134" fmla="*/ 657225 h 4496940"/>
                    <a:gd name="connsiteX135" fmla="*/ 840127 w 4519987"/>
                    <a:gd name="connsiteY135" fmla="*/ 533400 h 4496940"/>
                    <a:gd name="connsiteX136" fmla="*/ 887752 w 4519987"/>
                    <a:gd name="connsiteY136" fmla="*/ 504825 h 4496940"/>
                    <a:gd name="connsiteX137" fmla="*/ 1167152 w 4519987"/>
                    <a:gd name="connsiteY137" fmla="*/ 311150 h 4496940"/>
                    <a:gd name="connsiteX138" fmla="*/ 1268752 w 4519987"/>
                    <a:gd name="connsiteY138" fmla="*/ 285750 h 4496940"/>
                    <a:gd name="connsiteX139" fmla="*/ 1411627 w 4519987"/>
                    <a:gd name="connsiteY139" fmla="*/ 190500 h 4496940"/>
                    <a:gd name="connsiteX140" fmla="*/ 1449727 w 4519987"/>
                    <a:gd name="connsiteY140" fmla="*/ 161925 h 4496940"/>
                    <a:gd name="connsiteX141" fmla="*/ 1525927 w 4519987"/>
                    <a:gd name="connsiteY141" fmla="*/ 152400 h 4496940"/>
                    <a:gd name="connsiteX142" fmla="*/ 1583077 w 4519987"/>
                    <a:gd name="connsiteY142" fmla="*/ 142875 h 4496940"/>
                    <a:gd name="connsiteX143" fmla="*/ 1716427 w 4519987"/>
                    <a:gd name="connsiteY143" fmla="*/ 123825 h 4496940"/>
                    <a:gd name="connsiteX144" fmla="*/ 1811677 w 4519987"/>
                    <a:gd name="connsiteY144" fmla="*/ 114300 h 4496940"/>
                    <a:gd name="connsiteX145" fmla="*/ 1859302 w 4519987"/>
                    <a:gd name="connsiteY145" fmla="*/ 104775 h 4496940"/>
                    <a:gd name="connsiteX146" fmla="*/ 1916452 w 4519987"/>
                    <a:gd name="connsiteY146" fmla="*/ 95250 h 4496940"/>
                    <a:gd name="connsiteX147" fmla="*/ 2030752 w 4519987"/>
                    <a:gd name="connsiteY147" fmla="*/ 66675 h 4496940"/>
                    <a:gd name="connsiteX148" fmla="*/ 2097427 w 4519987"/>
                    <a:gd name="connsiteY148" fmla="*/ 47625 h 4496940"/>
                    <a:gd name="connsiteX149" fmla="*/ 2164102 w 4519987"/>
                    <a:gd name="connsiteY149" fmla="*/ 38100 h 4496940"/>
                    <a:gd name="connsiteX150" fmla="*/ 2392702 w 4519987"/>
                    <a:gd name="connsiteY15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4078627 w 4519987"/>
                    <a:gd name="connsiteY22" fmla="*/ 838200 h 4496940"/>
                    <a:gd name="connsiteX23" fmla="*/ 4135777 w 4519987"/>
                    <a:gd name="connsiteY23" fmla="*/ 933450 h 4496940"/>
                    <a:gd name="connsiteX24" fmla="*/ 4164352 w 4519987"/>
                    <a:gd name="connsiteY24" fmla="*/ 990600 h 4496940"/>
                    <a:gd name="connsiteX25" fmla="*/ 4173877 w 4519987"/>
                    <a:gd name="connsiteY25" fmla="*/ 1019175 h 4496940"/>
                    <a:gd name="connsiteX26" fmla="*/ 4192927 w 4519987"/>
                    <a:gd name="connsiteY26" fmla="*/ 1057275 h 4496940"/>
                    <a:gd name="connsiteX27" fmla="*/ 4202452 w 4519987"/>
                    <a:gd name="connsiteY27" fmla="*/ 1085850 h 4496940"/>
                    <a:gd name="connsiteX28" fmla="*/ 4250077 w 4519987"/>
                    <a:gd name="connsiteY28" fmla="*/ 1143000 h 4496940"/>
                    <a:gd name="connsiteX29" fmla="*/ 4259602 w 4519987"/>
                    <a:gd name="connsiteY29" fmla="*/ 1190625 h 4496940"/>
                    <a:gd name="connsiteX30" fmla="*/ 4307227 w 4519987"/>
                    <a:gd name="connsiteY30" fmla="*/ 1266825 h 4496940"/>
                    <a:gd name="connsiteX31" fmla="*/ 4345327 w 4519987"/>
                    <a:gd name="connsiteY31" fmla="*/ 1362075 h 4496940"/>
                    <a:gd name="connsiteX32" fmla="*/ 4373902 w 4519987"/>
                    <a:gd name="connsiteY32" fmla="*/ 1428750 h 4496940"/>
                    <a:gd name="connsiteX33" fmla="*/ 4392952 w 4519987"/>
                    <a:gd name="connsiteY33" fmla="*/ 1552575 h 4496940"/>
                    <a:gd name="connsiteX34" fmla="*/ 4402477 w 4519987"/>
                    <a:gd name="connsiteY34" fmla="*/ 1590675 h 4496940"/>
                    <a:gd name="connsiteX35" fmla="*/ 4431052 w 4519987"/>
                    <a:gd name="connsiteY35" fmla="*/ 1685925 h 4496940"/>
                    <a:gd name="connsiteX36" fmla="*/ 4519952 w 4519987"/>
                    <a:gd name="connsiteY36" fmla="*/ 2181225 h 4496940"/>
                    <a:gd name="connsiteX37" fmla="*/ 4446927 w 4519987"/>
                    <a:gd name="connsiteY37" fmla="*/ 2768600 h 4496940"/>
                    <a:gd name="connsiteX38" fmla="*/ 4383427 w 4519987"/>
                    <a:gd name="connsiteY38" fmla="*/ 2990850 h 4496940"/>
                    <a:gd name="connsiteX39" fmla="*/ 4278652 w 4519987"/>
                    <a:gd name="connsiteY39" fmla="*/ 3248025 h 4496940"/>
                    <a:gd name="connsiteX40" fmla="*/ 4259602 w 4519987"/>
                    <a:gd name="connsiteY40" fmla="*/ 3276600 h 4496940"/>
                    <a:gd name="connsiteX41" fmla="*/ 4221502 w 4519987"/>
                    <a:gd name="connsiteY41" fmla="*/ 3333750 h 4496940"/>
                    <a:gd name="connsiteX42" fmla="*/ 4211977 w 4519987"/>
                    <a:gd name="connsiteY42" fmla="*/ 3362325 h 4496940"/>
                    <a:gd name="connsiteX43" fmla="*/ 4183402 w 4519987"/>
                    <a:gd name="connsiteY43" fmla="*/ 3400425 h 4496940"/>
                    <a:gd name="connsiteX44" fmla="*/ 4164352 w 4519987"/>
                    <a:gd name="connsiteY44" fmla="*/ 3429000 h 4496940"/>
                    <a:gd name="connsiteX45" fmla="*/ 4088152 w 4519987"/>
                    <a:gd name="connsiteY45" fmla="*/ 3495675 h 4496940"/>
                    <a:gd name="connsiteX46" fmla="*/ 4059577 w 4519987"/>
                    <a:gd name="connsiteY46" fmla="*/ 3533775 h 4496940"/>
                    <a:gd name="connsiteX47" fmla="*/ 4002427 w 4519987"/>
                    <a:gd name="connsiteY47" fmla="*/ 3600450 h 4496940"/>
                    <a:gd name="connsiteX48" fmla="*/ 3983377 w 4519987"/>
                    <a:gd name="connsiteY48" fmla="*/ 3629025 h 4496940"/>
                    <a:gd name="connsiteX49" fmla="*/ 3954802 w 4519987"/>
                    <a:gd name="connsiteY49" fmla="*/ 3648075 h 4496940"/>
                    <a:gd name="connsiteX50" fmla="*/ 3907177 w 4519987"/>
                    <a:gd name="connsiteY50" fmla="*/ 3686175 h 4496940"/>
                    <a:gd name="connsiteX51" fmla="*/ 3869077 w 4519987"/>
                    <a:gd name="connsiteY51" fmla="*/ 3724275 h 4496940"/>
                    <a:gd name="connsiteX52" fmla="*/ 3792877 w 4519987"/>
                    <a:gd name="connsiteY52" fmla="*/ 3781425 h 4496940"/>
                    <a:gd name="connsiteX53" fmla="*/ 3783352 w 4519987"/>
                    <a:gd name="connsiteY53" fmla="*/ 3810000 h 4496940"/>
                    <a:gd name="connsiteX54" fmla="*/ 3745252 w 4519987"/>
                    <a:gd name="connsiteY54" fmla="*/ 3819525 h 4496940"/>
                    <a:gd name="connsiteX55" fmla="*/ 3678577 w 4519987"/>
                    <a:gd name="connsiteY55" fmla="*/ 3848100 h 4496940"/>
                    <a:gd name="connsiteX56" fmla="*/ 3659527 w 4519987"/>
                    <a:gd name="connsiteY56" fmla="*/ 3971925 h 4496940"/>
                    <a:gd name="connsiteX57" fmla="*/ 3630952 w 4519987"/>
                    <a:gd name="connsiteY57" fmla="*/ 4010025 h 4496940"/>
                    <a:gd name="connsiteX58" fmla="*/ 3621427 w 4519987"/>
                    <a:gd name="connsiteY58" fmla="*/ 4038600 h 4496940"/>
                    <a:gd name="connsiteX59" fmla="*/ 3554752 w 4519987"/>
                    <a:gd name="connsiteY59" fmla="*/ 4095750 h 4496940"/>
                    <a:gd name="connsiteX60" fmla="*/ 3516652 w 4519987"/>
                    <a:gd name="connsiteY60" fmla="*/ 4114800 h 4496940"/>
                    <a:gd name="connsiteX61" fmla="*/ 3497602 w 4519987"/>
                    <a:gd name="connsiteY61" fmla="*/ 4143375 h 4496940"/>
                    <a:gd name="connsiteX62" fmla="*/ 3383302 w 4519987"/>
                    <a:gd name="connsiteY62" fmla="*/ 4210050 h 4496940"/>
                    <a:gd name="connsiteX63" fmla="*/ 3335677 w 4519987"/>
                    <a:gd name="connsiteY63" fmla="*/ 4238625 h 4496940"/>
                    <a:gd name="connsiteX64" fmla="*/ 3288052 w 4519987"/>
                    <a:gd name="connsiteY64" fmla="*/ 4248150 h 4496940"/>
                    <a:gd name="connsiteX65" fmla="*/ 3240427 w 4519987"/>
                    <a:gd name="connsiteY65" fmla="*/ 4267200 h 4496940"/>
                    <a:gd name="connsiteX66" fmla="*/ 3068977 w 4519987"/>
                    <a:gd name="connsiteY66" fmla="*/ 4286250 h 4496940"/>
                    <a:gd name="connsiteX67" fmla="*/ 2935627 w 4519987"/>
                    <a:gd name="connsiteY67" fmla="*/ 4333875 h 4496940"/>
                    <a:gd name="connsiteX68" fmla="*/ 2811802 w 4519987"/>
                    <a:gd name="connsiteY68" fmla="*/ 4371975 h 4496940"/>
                    <a:gd name="connsiteX69" fmla="*/ 2745127 w 4519987"/>
                    <a:gd name="connsiteY69" fmla="*/ 4410075 h 4496940"/>
                    <a:gd name="connsiteX70" fmla="*/ 2697502 w 4519987"/>
                    <a:gd name="connsiteY70" fmla="*/ 4429125 h 4496940"/>
                    <a:gd name="connsiteX71" fmla="*/ 2640352 w 4519987"/>
                    <a:gd name="connsiteY71" fmla="*/ 4457700 h 4496940"/>
                    <a:gd name="connsiteX72" fmla="*/ 2583202 w 4519987"/>
                    <a:gd name="connsiteY72" fmla="*/ 4467225 h 4496940"/>
                    <a:gd name="connsiteX73" fmla="*/ 2545102 w 4519987"/>
                    <a:gd name="connsiteY73" fmla="*/ 4486275 h 4496940"/>
                    <a:gd name="connsiteX74" fmla="*/ 2306977 w 4519987"/>
                    <a:gd name="connsiteY74" fmla="*/ 4476750 h 4496940"/>
                    <a:gd name="connsiteX75" fmla="*/ 2202202 w 4519987"/>
                    <a:gd name="connsiteY75" fmla="*/ 4457700 h 4496940"/>
                    <a:gd name="connsiteX76" fmla="*/ 2126002 w 4519987"/>
                    <a:gd name="connsiteY76" fmla="*/ 4429125 h 4496940"/>
                    <a:gd name="connsiteX77" fmla="*/ 1935502 w 4519987"/>
                    <a:gd name="connsiteY77" fmla="*/ 4400550 h 4496940"/>
                    <a:gd name="connsiteX78" fmla="*/ 1821202 w 4519987"/>
                    <a:gd name="connsiteY78" fmla="*/ 4371975 h 4496940"/>
                    <a:gd name="connsiteX79" fmla="*/ 1754527 w 4519987"/>
                    <a:gd name="connsiteY79" fmla="*/ 4352925 h 4496940"/>
                    <a:gd name="connsiteX80" fmla="*/ 1687852 w 4519987"/>
                    <a:gd name="connsiteY80" fmla="*/ 4343400 h 4496940"/>
                    <a:gd name="connsiteX81" fmla="*/ 1573552 w 4519987"/>
                    <a:gd name="connsiteY81" fmla="*/ 4305300 h 4496940"/>
                    <a:gd name="connsiteX82" fmla="*/ 1402102 w 4519987"/>
                    <a:gd name="connsiteY82" fmla="*/ 4276725 h 4496940"/>
                    <a:gd name="connsiteX83" fmla="*/ 1287802 w 4519987"/>
                    <a:gd name="connsiteY83" fmla="*/ 4229100 h 4496940"/>
                    <a:gd name="connsiteX84" fmla="*/ 1221127 w 4519987"/>
                    <a:gd name="connsiteY84" fmla="*/ 4200525 h 4496940"/>
                    <a:gd name="connsiteX85" fmla="*/ 1144927 w 4519987"/>
                    <a:gd name="connsiteY85" fmla="*/ 4171950 h 4496940"/>
                    <a:gd name="connsiteX86" fmla="*/ 1087777 w 4519987"/>
                    <a:gd name="connsiteY86" fmla="*/ 4143375 h 4496940"/>
                    <a:gd name="connsiteX87" fmla="*/ 1030627 w 4519987"/>
                    <a:gd name="connsiteY87" fmla="*/ 4124325 h 4496940"/>
                    <a:gd name="connsiteX88" fmla="*/ 925852 w 4519987"/>
                    <a:gd name="connsiteY88" fmla="*/ 4067175 h 4496940"/>
                    <a:gd name="connsiteX89" fmla="*/ 830602 w 4519987"/>
                    <a:gd name="connsiteY89" fmla="*/ 3981450 h 4496940"/>
                    <a:gd name="connsiteX90" fmla="*/ 763927 w 4519987"/>
                    <a:gd name="connsiteY90" fmla="*/ 3914775 h 4496940"/>
                    <a:gd name="connsiteX91" fmla="*/ 725827 w 4519987"/>
                    <a:gd name="connsiteY91" fmla="*/ 3876675 h 4496940"/>
                    <a:gd name="connsiteX92" fmla="*/ 697252 w 4519987"/>
                    <a:gd name="connsiteY92" fmla="*/ 3838575 h 4496940"/>
                    <a:gd name="connsiteX93" fmla="*/ 640102 w 4519987"/>
                    <a:gd name="connsiteY93" fmla="*/ 3781425 h 4496940"/>
                    <a:gd name="connsiteX94" fmla="*/ 611527 w 4519987"/>
                    <a:gd name="connsiteY94" fmla="*/ 3733800 h 4496940"/>
                    <a:gd name="connsiteX95" fmla="*/ 554377 w 4519987"/>
                    <a:gd name="connsiteY95" fmla="*/ 3657600 h 4496940"/>
                    <a:gd name="connsiteX96" fmla="*/ 525802 w 4519987"/>
                    <a:gd name="connsiteY96" fmla="*/ 3609975 h 4496940"/>
                    <a:gd name="connsiteX97" fmla="*/ 497227 w 4519987"/>
                    <a:gd name="connsiteY97" fmla="*/ 3552825 h 4496940"/>
                    <a:gd name="connsiteX98" fmla="*/ 440077 w 4519987"/>
                    <a:gd name="connsiteY98" fmla="*/ 3495675 h 4496940"/>
                    <a:gd name="connsiteX99" fmla="*/ 411502 w 4519987"/>
                    <a:gd name="connsiteY99" fmla="*/ 3448050 h 4496940"/>
                    <a:gd name="connsiteX100" fmla="*/ 278152 w 4519987"/>
                    <a:gd name="connsiteY100" fmla="*/ 3257550 h 4496940"/>
                    <a:gd name="connsiteX101" fmla="*/ 249577 w 4519987"/>
                    <a:gd name="connsiteY101" fmla="*/ 3200400 h 4496940"/>
                    <a:gd name="connsiteX102" fmla="*/ 240052 w 4519987"/>
                    <a:gd name="connsiteY102" fmla="*/ 3162300 h 4496940"/>
                    <a:gd name="connsiteX103" fmla="*/ 221002 w 4519987"/>
                    <a:gd name="connsiteY103" fmla="*/ 3105150 h 4496940"/>
                    <a:gd name="connsiteX104" fmla="*/ 173377 w 4519987"/>
                    <a:gd name="connsiteY104" fmla="*/ 3019425 h 4496940"/>
                    <a:gd name="connsiteX105" fmla="*/ 144802 w 4519987"/>
                    <a:gd name="connsiteY105" fmla="*/ 2924175 h 4496940"/>
                    <a:gd name="connsiteX106" fmla="*/ 68602 w 4519987"/>
                    <a:gd name="connsiteY106" fmla="*/ 2724150 h 4496940"/>
                    <a:gd name="connsiteX107" fmla="*/ 49552 w 4519987"/>
                    <a:gd name="connsiteY107" fmla="*/ 2638425 h 4496940"/>
                    <a:gd name="connsiteX108" fmla="*/ 40027 w 4519987"/>
                    <a:gd name="connsiteY108" fmla="*/ 2562225 h 4496940"/>
                    <a:gd name="connsiteX109" fmla="*/ 30502 w 4519987"/>
                    <a:gd name="connsiteY109" fmla="*/ 2514600 h 4496940"/>
                    <a:gd name="connsiteX110" fmla="*/ 11452 w 4519987"/>
                    <a:gd name="connsiteY110" fmla="*/ 2400300 h 4496940"/>
                    <a:gd name="connsiteX111" fmla="*/ 20977 w 4519987"/>
                    <a:gd name="connsiteY111" fmla="*/ 1905000 h 4496940"/>
                    <a:gd name="connsiteX112" fmla="*/ 30502 w 4519987"/>
                    <a:gd name="connsiteY112" fmla="*/ 1838325 h 4496940"/>
                    <a:gd name="connsiteX113" fmla="*/ 49552 w 4519987"/>
                    <a:gd name="connsiteY113" fmla="*/ 1781175 h 4496940"/>
                    <a:gd name="connsiteX114" fmla="*/ 59077 w 4519987"/>
                    <a:gd name="connsiteY114" fmla="*/ 1743075 h 4496940"/>
                    <a:gd name="connsiteX115" fmla="*/ 78127 w 4519987"/>
                    <a:gd name="connsiteY115" fmla="*/ 1685925 h 4496940"/>
                    <a:gd name="connsiteX116" fmla="*/ 87652 w 4519987"/>
                    <a:gd name="connsiteY116" fmla="*/ 1638300 h 4496940"/>
                    <a:gd name="connsiteX117" fmla="*/ 106702 w 4519987"/>
                    <a:gd name="connsiteY117" fmla="*/ 1590675 h 4496940"/>
                    <a:gd name="connsiteX118" fmla="*/ 135277 w 4519987"/>
                    <a:gd name="connsiteY118" fmla="*/ 1504950 h 4496940"/>
                    <a:gd name="connsiteX119" fmla="*/ 154327 w 4519987"/>
                    <a:gd name="connsiteY119" fmla="*/ 1419225 h 4496940"/>
                    <a:gd name="connsiteX120" fmla="*/ 230527 w 4519987"/>
                    <a:gd name="connsiteY120" fmla="*/ 1276350 h 4496940"/>
                    <a:gd name="connsiteX121" fmla="*/ 240052 w 4519987"/>
                    <a:gd name="connsiteY121" fmla="*/ 1247775 h 4496940"/>
                    <a:gd name="connsiteX122" fmla="*/ 268627 w 4519987"/>
                    <a:gd name="connsiteY122" fmla="*/ 1200150 h 4496940"/>
                    <a:gd name="connsiteX123" fmla="*/ 287677 w 4519987"/>
                    <a:gd name="connsiteY123" fmla="*/ 1152525 h 4496940"/>
                    <a:gd name="connsiteX124" fmla="*/ 316252 w 4519987"/>
                    <a:gd name="connsiteY124" fmla="*/ 1114425 h 4496940"/>
                    <a:gd name="connsiteX125" fmla="*/ 363877 w 4519987"/>
                    <a:gd name="connsiteY125" fmla="*/ 1038225 h 4496940"/>
                    <a:gd name="connsiteX126" fmla="*/ 382927 w 4519987"/>
                    <a:gd name="connsiteY126" fmla="*/ 1009650 h 4496940"/>
                    <a:gd name="connsiteX127" fmla="*/ 440077 w 4519987"/>
                    <a:gd name="connsiteY127" fmla="*/ 904875 h 4496940"/>
                    <a:gd name="connsiteX128" fmla="*/ 478177 w 4519987"/>
                    <a:gd name="connsiteY128" fmla="*/ 857250 h 4496940"/>
                    <a:gd name="connsiteX129" fmla="*/ 497227 w 4519987"/>
                    <a:gd name="connsiteY129" fmla="*/ 828675 h 4496940"/>
                    <a:gd name="connsiteX130" fmla="*/ 535327 w 4519987"/>
                    <a:gd name="connsiteY130" fmla="*/ 800100 h 4496940"/>
                    <a:gd name="connsiteX131" fmla="*/ 602002 w 4519987"/>
                    <a:gd name="connsiteY131" fmla="*/ 733425 h 4496940"/>
                    <a:gd name="connsiteX132" fmla="*/ 668677 w 4519987"/>
                    <a:gd name="connsiteY132" fmla="*/ 676275 h 4496940"/>
                    <a:gd name="connsiteX133" fmla="*/ 697252 w 4519987"/>
                    <a:gd name="connsiteY133" fmla="*/ 657225 h 4496940"/>
                    <a:gd name="connsiteX134" fmla="*/ 840127 w 4519987"/>
                    <a:gd name="connsiteY134" fmla="*/ 533400 h 4496940"/>
                    <a:gd name="connsiteX135" fmla="*/ 887752 w 4519987"/>
                    <a:gd name="connsiteY135" fmla="*/ 504825 h 4496940"/>
                    <a:gd name="connsiteX136" fmla="*/ 1167152 w 4519987"/>
                    <a:gd name="connsiteY136" fmla="*/ 311150 h 4496940"/>
                    <a:gd name="connsiteX137" fmla="*/ 1268752 w 4519987"/>
                    <a:gd name="connsiteY137" fmla="*/ 285750 h 4496940"/>
                    <a:gd name="connsiteX138" fmla="*/ 1411627 w 4519987"/>
                    <a:gd name="connsiteY138" fmla="*/ 190500 h 4496940"/>
                    <a:gd name="connsiteX139" fmla="*/ 1449727 w 4519987"/>
                    <a:gd name="connsiteY139" fmla="*/ 161925 h 4496940"/>
                    <a:gd name="connsiteX140" fmla="*/ 1525927 w 4519987"/>
                    <a:gd name="connsiteY140" fmla="*/ 152400 h 4496940"/>
                    <a:gd name="connsiteX141" fmla="*/ 1583077 w 4519987"/>
                    <a:gd name="connsiteY141" fmla="*/ 142875 h 4496940"/>
                    <a:gd name="connsiteX142" fmla="*/ 1716427 w 4519987"/>
                    <a:gd name="connsiteY142" fmla="*/ 123825 h 4496940"/>
                    <a:gd name="connsiteX143" fmla="*/ 1811677 w 4519987"/>
                    <a:gd name="connsiteY143" fmla="*/ 114300 h 4496940"/>
                    <a:gd name="connsiteX144" fmla="*/ 1859302 w 4519987"/>
                    <a:gd name="connsiteY144" fmla="*/ 104775 h 4496940"/>
                    <a:gd name="connsiteX145" fmla="*/ 1916452 w 4519987"/>
                    <a:gd name="connsiteY145" fmla="*/ 95250 h 4496940"/>
                    <a:gd name="connsiteX146" fmla="*/ 2030752 w 4519987"/>
                    <a:gd name="connsiteY146" fmla="*/ 66675 h 4496940"/>
                    <a:gd name="connsiteX147" fmla="*/ 2097427 w 4519987"/>
                    <a:gd name="connsiteY147" fmla="*/ 47625 h 4496940"/>
                    <a:gd name="connsiteX148" fmla="*/ 2164102 w 4519987"/>
                    <a:gd name="connsiteY148" fmla="*/ 38100 h 4496940"/>
                    <a:gd name="connsiteX149" fmla="*/ 2392702 w 4519987"/>
                    <a:gd name="connsiteY14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78627 w 4519987"/>
                    <a:gd name="connsiteY21" fmla="*/ 838200 h 4496940"/>
                    <a:gd name="connsiteX22" fmla="*/ 4135777 w 4519987"/>
                    <a:gd name="connsiteY22" fmla="*/ 933450 h 4496940"/>
                    <a:gd name="connsiteX23" fmla="*/ 4164352 w 4519987"/>
                    <a:gd name="connsiteY23" fmla="*/ 990600 h 4496940"/>
                    <a:gd name="connsiteX24" fmla="*/ 4173877 w 4519987"/>
                    <a:gd name="connsiteY24" fmla="*/ 1019175 h 4496940"/>
                    <a:gd name="connsiteX25" fmla="*/ 4192927 w 4519987"/>
                    <a:gd name="connsiteY25" fmla="*/ 1057275 h 4496940"/>
                    <a:gd name="connsiteX26" fmla="*/ 4202452 w 4519987"/>
                    <a:gd name="connsiteY26" fmla="*/ 1085850 h 4496940"/>
                    <a:gd name="connsiteX27" fmla="*/ 4250077 w 4519987"/>
                    <a:gd name="connsiteY27" fmla="*/ 1143000 h 4496940"/>
                    <a:gd name="connsiteX28" fmla="*/ 4259602 w 4519987"/>
                    <a:gd name="connsiteY28" fmla="*/ 1190625 h 4496940"/>
                    <a:gd name="connsiteX29" fmla="*/ 4307227 w 4519987"/>
                    <a:gd name="connsiteY29" fmla="*/ 1266825 h 4496940"/>
                    <a:gd name="connsiteX30" fmla="*/ 4345327 w 4519987"/>
                    <a:gd name="connsiteY30" fmla="*/ 1362075 h 4496940"/>
                    <a:gd name="connsiteX31" fmla="*/ 4373902 w 4519987"/>
                    <a:gd name="connsiteY31" fmla="*/ 1428750 h 4496940"/>
                    <a:gd name="connsiteX32" fmla="*/ 4392952 w 4519987"/>
                    <a:gd name="connsiteY32" fmla="*/ 1552575 h 4496940"/>
                    <a:gd name="connsiteX33" fmla="*/ 4402477 w 4519987"/>
                    <a:gd name="connsiteY33" fmla="*/ 1590675 h 4496940"/>
                    <a:gd name="connsiteX34" fmla="*/ 4431052 w 4519987"/>
                    <a:gd name="connsiteY34" fmla="*/ 1685925 h 4496940"/>
                    <a:gd name="connsiteX35" fmla="*/ 4519952 w 4519987"/>
                    <a:gd name="connsiteY35" fmla="*/ 2181225 h 4496940"/>
                    <a:gd name="connsiteX36" fmla="*/ 4446927 w 4519987"/>
                    <a:gd name="connsiteY36" fmla="*/ 2768600 h 4496940"/>
                    <a:gd name="connsiteX37" fmla="*/ 4383427 w 4519987"/>
                    <a:gd name="connsiteY37" fmla="*/ 2990850 h 4496940"/>
                    <a:gd name="connsiteX38" fmla="*/ 4278652 w 4519987"/>
                    <a:gd name="connsiteY38" fmla="*/ 3248025 h 4496940"/>
                    <a:gd name="connsiteX39" fmla="*/ 4259602 w 4519987"/>
                    <a:gd name="connsiteY39" fmla="*/ 3276600 h 4496940"/>
                    <a:gd name="connsiteX40" fmla="*/ 4221502 w 4519987"/>
                    <a:gd name="connsiteY40" fmla="*/ 3333750 h 4496940"/>
                    <a:gd name="connsiteX41" fmla="*/ 4211977 w 4519987"/>
                    <a:gd name="connsiteY41" fmla="*/ 3362325 h 4496940"/>
                    <a:gd name="connsiteX42" fmla="*/ 4183402 w 4519987"/>
                    <a:gd name="connsiteY42" fmla="*/ 3400425 h 4496940"/>
                    <a:gd name="connsiteX43" fmla="*/ 4164352 w 4519987"/>
                    <a:gd name="connsiteY43" fmla="*/ 3429000 h 4496940"/>
                    <a:gd name="connsiteX44" fmla="*/ 4088152 w 4519987"/>
                    <a:gd name="connsiteY44" fmla="*/ 3495675 h 4496940"/>
                    <a:gd name="connsiteX45" fmla="*/ 4059577 w 4519987"/>
                    <a:gd name="connsiteY45" fmla="*/ 3533775 h 4496940"/>
                    <a:gd name="connsiteX46" fmla="*/ 4002427 w 4519987"/>
                    <a:gd name="connsiteY46" fmla="*/ 3600450 h 4496940"/>
                    <a:gd name="connsiteX47" fmla="*/ 3983377 w 4519987"/>
                    <a:gd name="connsiteY47" fmla="*/ 3629025 h 4496940"/>
                    <a:gd name="connsiteX48" fmla="*/ 3954802 w 4519987"/>
                    <a:gd name="connsiteY48" fmla="*/ 3648075 h 4496940"/>
                    <a:gd name="connsiteX49" fmla="*/ 3907177 w 4519987"/>
                    <a:gd name="connsiteY49" fmla="*/ 3686175 h 4496940"/>
                    <a:gd name="connsiteX50" fmla="*/ 3869077 w 4519987"/>
                    <a:gd name="connsiteY50" fmla="*/ 3724275 h 4496940"/>
                    <a:gd name="connsiteX51" fmla="*/ 3792877 w 4519987"/>
                    <a:gd name="connsiteY51" fmla="*/ 3781425 h 4496940"/>
                    <a:gd name="connsiteX52" fmla="*/ 3783352 w 4519987"/>
                    <a:gd name="connsiteY52" fmla="*/ 3810000 h 4496940"/>
                    <a:gd name="connsiteX53" fmla="*/ 3745252 w 4519987"/>
                    <a:gd name="connsiteY53" fmla="*/ 3819525 h 4496940"/>
                    <a:gd name="connsiteX54" fmla="*/ 3678577 w 4519987"/>
                    <a:gd name="connsiteY54" fmla="*/ 3848100 h 4496940"/>
                    <a:gd name="connsiteX55" fmla="*/ 3659527 w 4519987"/>
                    <a:gd name="connsiteY55" fmla="*/ 3971925 h 4496940"/>
                    <a:gd name="connsiteX56" fmla="*/ 3630952 w 4519987"/>
                    <a:gd name="connsiteY56" fmla="*/ 4010025 h 4496940"/>
                    <a:gd name="connsiteX57" fmla="*/ 3621427 w 4519987"/>
                    <a:gd name="connsiteY57" fmla="*/ 4038600 h 4496940"/>
                    <a:gd name="connsiteX58" fmla="*/ 3554752 w 4519987"/>
                    <a:gd name="connsiteY58" fmla="*/ 4095750 h 4496940"/>
                    <a:gd name="connsiteX59" fmla="*/ 3516652 w 4519987"/>
                    <a:gd name="connsiteY59" fmla="*/ 4114800 h 4496940"/>
                    <a:gd name="connsiteX60" fmla="*/ 3497602 w 4519987"/>
                    <a:gd name="connsiteY60" fmla="*/ 4143375 h 4496940"/>
                    <a:gd name="connsiteX61" fmla="*/ 3383302 w 4519987"/>
                    <a:gd name="connsiteY61" fmla="*/ 4210050 h 4496940"/>
                    <a:gd name="connsiteX62" fmla="*/ 3335677 w 4519987"/>
                    <a:gd name="connsiteY62" fmla="*/ 4238625 h 4496940"/>
                    <a:gd name="connsiteX63" fmla="*/ 3288052 w 4519987"/>
                    <a:gd name="connsiteY63" fmla="*/ 4248150 h 4496940"/>
                    <a:gd name="connsiteX64" fmla="*/ 3240427 w 4519987"/>
                    <a:gd name="connsiteY64" fmla="*/ 4267200 h 4496940"/>
                    <a:gd name="connsiteX65" fmla="*/ 3068977 w 4519987"/>
                    <a:gd name="connsiteY65" fmla="*/ 4286250 h 4496940"/>
                    <a:gd name="connsiteX66" fmla="*/ 2935627 w 4519987"/>
                    <a:gd name="connsiteY66" fmla="*/ 4333875 h 4496940"/>
                    <a:gd name="connsiteX67" fmla="*/ 2811802 w 4519987"/>
                    <a:gd name="connsiteY67" fmla="*/ 4371975 h 4496940"/>
                    <a:gd name="connsiteX68" fmla="*/ 2745127 w 4519987"/>
                    <a:gd name="connsiteY68" fmla="*/ 4410075 h 4496940"/>
                    <a:gd name="connsiteX69" fmla="*/ 2697502 w 4519987"/>
                    <a:gd name="connsiteY69" fmla="*/ 4429125 h 4496940"/>
                    <a:gd name="connsiteX70" fmla="*/ 2640352 w 4519987"/>
                    <a:gd name="connsiteY70" fmla="*/ 4457700 h 4496940"/>
                    <a:gd name="connsiteX71" fmla="*/ 2583202 w 4519987"/>
                    <a:gd name="connsiteY71" fmla="*/ 4467225 h 4496940"/>
                    <a:gd name="connsiteX72" fmla="*/ 2545102 w 4519987"/>
                    <a:gd name="connsiteY72" fmla="*/ 4486275 h 4496940"/>
                    <a:gd name="connsiteX73" fmla="*/ 2306977 w 4519987"/>
                    <a:gd name="connsiteY73" fmla="*/ 4476750 h 4496940"/>
                    <a:gd name="connsiteX74" fmla="*/ 2202202 w 4519987"/>
                    <a:gd name="connsiteY74" fmla="*/ 4457700 h 4496940"/>
                    <a:gd name="connsiteX75" fmla="*/ 2126002 w 4519987"/>
                    <a:gd name="connsiteY75" fmla="*/ 4429125 h 4496940"/>
                    <a:gd name="connsiteX76" fmla="*/ 1935502 w 4519987"/>
                    <a:gd name="connsiteY76" fmla="*/ 4400550 h 4496940"/>
                    <a:gd name="connsiteX77" fmla="*/ 1821202 w 4519987"/>
                    <a:gd name="connsiteY77" fmla="*/ 4371975 h 4496940"/>
                    <a:gd name="connsiteX78" fmla="*/ 1754527 w 4519987"/>
                    <a:gd name="connsiteY78" fmla="*/ 4352925 h 4496940"/>
                    <a:gd name="connsiteX79" fmla="*/ 1687852 w 4519987"/>
                    <a:gd name="connsiteY79" fmla="*/ 4343400 h 4496940"/>
                    <a:gd name="connsiteX80" fmla="*/ 1573552 w 4519987"/>
                    <a:gd name="connsiteY80" fmla="*/ 4305300 h 4496940"/>
                    <a:gd name="connsiteX81" fmla="*/ 1402102 w 4519987"/>
                    <a:gd name="connsiteY81" fmla="*/ 4276725 h 4496940"/>
                    <a:gd name="connsiteX82" fmla="*/ 1287802 w 4519987"/>
                    <a:gd name="connsiteY82" fmla="*/ 4229100 h 4496940"/>
                    <a:gd name="connsiteX83" fmla="*/ 1221127 w 4519987"/>
                    <a:gd name="connsiteY83" fmla="*/ 4200525 h 4496940"/>
                    <a:gd name="connsiteX84" fmla="*/ 1144927 w 4519987"/>
                    <a:gd name="connsiteY84" fmla="*/ 4171950 h 4496940"/>
                    <a:gd name="connsiteX85" fmla="*/ 1087777 w 4519987"/>
                    <a:gd name="connsiteY85" fmla="*/ 4143375 h 4496940"/>
                    <a:gd name="connsiteX86" fmla="*/ 1030627 w 4519987"/>
                    <a:gd name="connsiteY86" fmla="*/ 4124325 h 4496940"/>
                    <a:gd name="connsiteX87" fmla="*/ 925852 w 4519987"/>
                    <a:gd name="connsiteY87" fmla="*/ 4067175 h 4496940"/>
                    <a:gd name="connsiteX88" fmla="*/ 830602 w 4519987"/>
                    <a:gd name="connsiteY88" fmla="*/ 3981450 h 4496940"/>
                    <a:gd name="connsiteX89" fmla="*/ 763927 w 4519987"/>
                    <a:gd name="connsiteY89" fmla="*/ 3914775 h 4496940"/>
                    <a:gd name="connsiteX90" fmla="*/ 725827 w 4519987"/>
                    <a:gd name="connsiteY90" fmla="*/ 3876675 h 4496940"/>
                    <a:gd name="connsiteX91" fmla="*/ 697252 w 4519987"/>
                    <a:gd name="connsiteY91" fmla="*/ 3838575 h 4496940"/>
                    <a:gd name="connsiteX92" fmla="*/ 640102 w 4519987"/>
                    <a:gd name="connsiteY92" fmla="*/ 3781425 h 4496940"/>
                    <a:gd name="connsiteX93" fmla="*/ 611527 w 4519987"/>
                    <a:gd name="connsiteY93" fmla="*/ 3733800 h 4496940"/>
                    <a:gd name="connsiteX94" fmla="*/ 554377 w 4519987"/>
                    <a:gd name="connsiteY94" fmla="*/ 3657600 h 4496940"/>
                    <a:gd name="connsiteX95" fmla="*/ 525802 w 4519987"/>
                    <a:gd name="connsiteY95" fmla="*/ 3609975 h 4496940"/>
                    <a:gd name="connsiteX96" fmla="*/ 497227 w 4519987"/>
                    <a:gd name="connsiteY96" fmla="*/ 3552825 h 4496940"/>
                    <a:gd name="connsiteX97" fmla="*/ 440077 w 4519987"/>
                    <a:gd name="connsiteY97" fmla="*/ 3495675 h 4496940"/>
                    <a:gd name="connsiteX98" fmla="*/ 411502 w 4519987"/>
                    <a:gd name="connsiteY98" fmla="*/ 3448050 h 4496940"/>
                    <a:gd name="connsiteX99" fmla="*/ 278152 w 4519987"/>
                    <a:gd name="connsiteY99" fmla="*/ 3257550 h 4496940"/>
                    <a:gd name="connsiteX100" fmla="*/ 249577 w 4519987"/>
                    <a:gd name="connsiteY100" fmla="*/ 3200400 h 4496940"/>
                    <a:gd name="connsiteX101" fmla="*/ 240052 w 4519987"/>
                    <a:gd name="connsiteY101" fmla="*/ 3162300 h 4496940"/>
                    <a:gd name="connsiteX102" fmla="*/ 221002 w 4519987"/>
                    <a:gd name="connsiteY102" fmla="*/ 3105150 h 4496940"/>
                    <a:gd name="connsiteX103" fmla="*/ 173377 w 4519987"/>
                    <a:gd name="connsiteY103" fmla="*/ 3019425 h 4496940"/>
                    <a:gd name="connsiteX104" fmla="*/ 144802 w 4519987"/>
                    <a:gd name="connsiteY104" fmla="*/ 2924175 h 4496940"/>
                    <a:gd name="connsiteX105" fmla="*/ 68602 w 4519987"/>
                    <a:gd name="connsiteY105" fmla="*/ 2724150 h 4496940"/>
                    <a:gd name="connsiteX106" fmla="*/ 49552 w 4519987"/>
                    <a:gd name="connsiteY106" fmla="*/ 2638425 h 4496940"/>
                    <a:gd name="connsiteX107" fmla="*/ 40027 w 4519987"/>
                    <a:gd name="connsiteY107" fmla="*/ 2562225 h 4496940"/>
                    <a:gd name="connsiteX108" fmla="*/ 30502 w 4519987"/>
                    <a:gd name="connsiteY108" fmla="*/ 2514600 h 4496940"/>
                    <a:gd name="connsiteX109" fmla="*/ 11452 w 4519987"/>
                    <a:gd name="connsiteY109" fmla="*/ 2400300 h 4496940"/>
                    <a:gd name="connsiteX110" fmla="*/ 20977 w 4519987"/>
                    <a:gd name="connsiteY110" fmla="*/ 1905000 h 4496940"/>
                    <a:gd name="connsiteX111" fmla="*/ 30502 w 4519987"/>
                    <a:gd name="connsiteY111" fmla="*/ 1838325 h 4496940"/>
                    <a:gd name="connsiteX112" fmla="*/ 49552 w 4519987"/>
                    <a:gd name="connsiteY112" fmla="*/ 1781175 h 4496940"/>
                    <a:gd name="connsiteX113" fmla="*/ 59077 w 4519987"/>
                    <a:gd name="connsiteY113" fmla="*/ 1743075 h 4496940"/>
                    <a:gd name="connsiteX114" fmla="*/ 78127 w 4519987"/>
                    <a:gd name="connsiteY114" fmla="*/ 1685925 h 4496940"/>
                    <a:gd name="connsiteX115" fmla="*/ 87652 w 4519987"/>
                    <a:gd name="connsiteY115" fmla="*/ 1638300 h 4496940"/>
                    <a:gd name="connsiteX116" fmla="*/ 106702 w 4519987"/>
                    <a:gd name="connsiteY116" fmla="*/ 1590675 h 4496940"/>
                    <a:gd name="connsiteX117" fmla="*/ 135277 w 4519987"/>
                    <a:gd name="connsiteY117" fmla="*/ 1504950 h 4496940"/>
                    <a:gd name="connsiteX118" fmla="*/ 154327 w 4519987"/>
                    <a:gd name="connsiteY118" fmla="*/ 1419225 h 4496940"/>
                    <a:gd name="connsiteX119" fmla="*/ 230527 w 4519987"/>
                    <a:gd name="connsiteY119" fmla="*/ 1276350 h 4496940"/>
                    <a:gd name="connsiteX120" fmla="*/ 240052 w 4519987"/>
                    <a:gd name="connsiteY120" fmla="*/ 1247775 h 4496940"/>
                    <a:gd name="connsiteX121" fmla="*/ 268627 w 4519987"/>
                    <a:gd name="connsiteY121" fmla="*/ 1200150 h 4496940"/>
                    <a:gd name="connsiteX122" fmla="*/ 287677 w 4519987"/>
                    <a:gd name="connsiteY122" fmla="*/ 1152525 h 4496940"/>
                    <a:gd name="connsiteX123" fmla="*/ 316252 w 4519987"/>
                    <a:gd name="connsiteY123" fmla="*/ 1114425 h 4496940"/>
                    <a:gd name="connsiteX124" fmla="*/ 363877 w 4519987"/>
                    <a:gd name="connsiteY124" fmla="*/ 1038225 h 4496940"/>
                    <a:gd name="connsiteX125" fmla="*/ 382927 w 4519987"/>
                    <a:gd name="connsiteY125" fmla="*/ 1009650 h 4496940"/>
                    <a:gd name="connsiteX126" fmla="*/ 440077 w 4519987"/>
                    <a:gd name="connsiteY126" fmla="*/ 904875 h 4496940"/>
                    <a:gd name="connsiteX127" fmla="*/ 478177 w 4519987"/>
                    <a:gd name="connsiteY127" fmla="*/ 857250 h 4496940"/>
                    <a:gd name="connsiteX128" fmla="*/ 497227 w 4519987"/>
                    <a:gd name="connsiteY128" fmla="*/ 828675 h 4496940"/>
                    <a:gd name="connsiteX129" fmla="*/ 535327 w 4519987"/>
                    <a:gd name="connsiteY129" fmla="*/ 800100 h 4496940"/>
                    <a:gd name="connsiteX130" fmla="*/ 602002 w 4519987"/>
                    <a:gd name="connsiteY130" fmla="*/ 733425 h 4496940"/>
                    <a:gd name="connsiteX131" fmla="*/ 668677 w 4519987"/>
                    <a:gd name="connsiteY131" fmla="*/ 676275 h 4496940"/>
                    <a:gd name="connsiteX132" fmla="*/ 697252 w 4519987"/>
                    <a:gd name="connsiteY132" fmla="*/ 657225 h 4496940"/>
                    <a:gd name="connsiteX133" fmla="*/ 840127 w 4519987"/>
                    <a:gd name="connsiteY133" fmla="*/ 533400 h 4496940"/>
                    <a:gd name="connsiteX134" fmla="*/ 887752 w 4519987"/>
                    <a:gd name="connsiteY134" fmla="*/ 504825 h 4496940"/>
                    <a:gd name="connsiteX135" fmla="*/ 1167152 w 4519987"/>
                    <a:gd name="connsiteY135" fmla="*/ 311150 h 4496940"/>
                    <a:gd name="connsiteX136" fmla="*/ 1268752 w 4519987"/>
                    <a:gd name="connsiteY136" fmla="*/ 285750 h 4496940"/>
                    <a:gd name="connsiteX137" fmla="*/ 1411627 w 4519987"/>
                    <a:gd name="connsiteY137" fmla="*/ 190500 h 4496940"/>
                    <a:gd name="connsiteX138" fmla="*/ 1449727 w 4519987"/>
                    <a:gd name="connsiteY138" fmla="*/ 161925 h 4496940"/>
                    <a:gd name="connsiteX139" fmla="*/ 1525927 w 4519987"/>
                    <a:gd name="connsiteY139" fmla="*/ 152400 h 4496940"/>
                    <a:gd name="connsiteX140" fmla="*/ 1583077 w 4519987"/>
                    <a:gd name="connsiteY140" fmla="*/ 142875 h 4496940"/>
                    <a:gd name="connsiteX141" fmla="*/ 1716427 w 4519987"/>
                    <a:gd name="connsiteY141" fmla="*/ 123825 h 4496940"/>
                    <a:gd name="connsiteX142" fmla="*/ 1811677 w 4519987"/>
                    <a:gd name="connsiteY142" fmla="*/ 114300 h 4496940"/>
                    <a:gd name="connsiteX143" fmla="*/ 1859302 w 4519987"/>
                    <a:gd name="connsiteY143" fmla="*/ 104775 h 4496940"/>
                    <a:gd name="connsiteX144" fmla="*/ 1916452 w 4519987"/>
                    <a:gd name="connsiteY144" fmla="*/ 95250 h 4496940"/>
                    <a:gd name="connsiteX145" fmla="*/ 2030752 w 4519987"/>
                    <a:gd name="connsiteY145" fmla="*/ 66675 h 4496940"/>
                    <a:gd name="connsiteX146" fmla="*/ 2097427 w 4519987"/>
                    <a:gd name="connsiteY146" fmla="*/ 47625 h 4496940"/>
                    <a:gd name="connsiteX147" fmla="*/ 2164102 w 4519987"/>
                    <a:gd name="connsiteY147" fmla="*/ 38100 h 4496940"/>
                    <a:gd name="connsiteX148" fmla="*/ 2392702 w 4519987"/>
                    <a:gd name="connsiteY14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135777 w 4519987"/>
                    <a:gd name="connsiteY21" fmla="*/ 9334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02452 w 4519987"/>
                    <a:gd name="connsiteY24" fmla="*/ 1085850 h 4496940"/>
                    <a:gd name="connsiteX25" fmla="*/ 4250077 w 4519987"/>
                    <a:gd name="connsiteY25" fmla="*/ 1143000 h 4496940"/>
                    <a:gd name="connsiteX26" fmla="*/ 4259602 w 4519987"/>
                    <a:gd name="connsiteY26" fmla="*/ 1190625 h 4496940"/>
                    <a:gd name="connsiteX27" fmla="*/ 4307227 w 4519987"/>
                    <a:gd name="connsiteY27" fmla="*/ 1266825 h 4496940"/>
                    <a:gd name="connsiteX28" fmla="*/ 4345327 w 4519987"/>
                    <a:gd name="connsiteY28" fmla="*/ 1362075 h 4496940"/>
                    <a:gd name="connsiteX29" fmla="*/ 4373902 w 4519987"/>
                    <a:gd name="connsiteY29" fmla="*/ 1428750 h 4496940"/>
                    <a:gd name="connsiteX30" fmla="*/ 4392952 w 4519987"/>
                    <a:gd name="connsiteY30" fmla="*/ 1552575 h 4496940"/>
                    <a:gd name="connsiteX31" fmla="*/ 4402477 w 4519987"/>
                    <a:gd name="connsiteY31" fmla="*/ 1590675 h 4496940"/>
                    <a:gd name="connsiteX32" fmla="*/ 4431052 w 4519987"/>
                    <a:gd name="connsiteY32" fmla="*/ 1685925 h 4496940"/>
                    <a:gd name="connsiteX33" fmla="*/ 4519952 w 4519987"/>
                    <a:gd name="connsiteY33" fmla="*/ 2181225 h 4496940"/>
                    <a:gd name="connsiteX34" fmla="*/ 4446927 w 4519987"/>
                    <a:gd name="connsiteY34" fmla="*/ 2768600 h 4496940"/>
                    <a:gd name="connsiteX35" fmla="*/ 4383427 w 4519987"/>
                    <a:gd name="connsiteY35" fmla="*/ 2990850 h 4496940"/>
                    <a:gd name="connsiteX36" fmla="*/ 4278652 w 4519987"/>
                    <a:gd name="connsiteY36" fmla="*/ 3248025 h 4496940"/>
                    <a:gd name="connsiteX37" fmla="*/ 4259602 w 4519987"/>
                    <a:gd name="connsiteY37" fmla="*/ 3276600 h 4496940"/>
                    <a:gd name="connsiteX38" fmla="*/ 4221502 w 4519987"/>
                    <a:gd name="connsiteY38" fmla="*/ 3333750 h 4496940"/>
                    <a:gd name="connsiteX39" fmla="*/ 4211977 w 4519987"/>
                    <a:gd name="connsiteY39" fmla="*/ 3362325 h 4496940"/>
                    <a:gd name="connsiteX40" fmla="*/ 4183402 w 4519987"/>
                    <a:gd name="connsiteY40" fmla="*/ 3400425 h 4496940"/>
                    <a:gd name="connsiteX41" fmla="*/ 4164352 w 4519987"/>
                    <a:gd name="connsiteY41" fmla="*/ 3429000 h 4496940"/>
                    <a:gd name="connsiteX42" fmla="*/ 4088152 w 4519987"/>
                    <a:gd name="connsiteY42" fmla="*/ 3495675 h 4496940"/>
                    <a:gd name="connsiteX43" fmla="*/ 4059577 w 4519987"/>
                    <a:gd name="connsiteY43" fmla="*/ 3533775 h 4496940"/>
                    <a:gd name="connsiteX44" fmla="*/ 4002427 w 4519987"/>
                    <a:gd name="connsiteY44" fmla="*/ 3600450 h 4496940"/>
                    <a:gd name="connsiteX45" fmla="*/ 3983377 w 4519987"/>
                    <a:gd name="connsiteY45" fmla="*/ 3629025 h 4496940"/>
                    <a:gd name="connsiteX46" fmla="*/ 3954802 w 4519987"/>
                    <a:gd name="connsiteY46" fmla="*/ 3648075 h 4496940"/>
                    <a:gd name="connsiteX47" fmla="*/ 3907177 w 4519987"/>
                    <a:gd name="connsiteY47" fmla="*/ 3686175 h 4496940"/>
                    <a:gd name="connsiteX48" fmla="*/ 3869077 w 4519987"/>
                    <a:gd name="connsiteY48" fmla="*/ 3724275 h 4496940"/>
                    <a:gd name="connsiteX49" fmla="*/ 3792877 w 4519987"/>
                    <a:gd name="connsiteY49" fmla="*/ 3781425 h 4496940"/>
                    <a:gd name="connsiteX50" fmla="*/ 3783352 w 4519987"/>
                    <a:gd name="connsiteY50" fmla="*/ 3810000 h 4496940"/>
                    <a:gd name="connsiteX51" fmla="*/ 3745252 w 4519987"/>
                    <a:gd name="connsiteY51" fmla="*/ 3819525 h 4496940"/>
                    <a:gd name="connsiteX52" fmla="*/ 3678577 w 4519987"/>
                    <a:gd name="connsiteY52" fmla="*/ 3848100 h 4496940"/>
                    <a:gd name="connsiteX53" fmla="*/ 3659527 w 4519987"/>
                    <a:gd name="connsiteY53" fmla="*/ 3971925 h 4496940"/>
                    <a:gd name="connsiteX54" fmla="*/ 3630952 w 4519987"/>
                    <a:gd name="connsiteY54" fmla="*/ 4010025 h 4496940"/>
                    <a:gd name="connsiteX55" fmla="*/ 3621427 w 4519987"/>
                    <a:gd name="connsiteY55" fmla="*/ 4038600 h 4496940"/>
                    <a:gd name="connsiteX56" fmla="*/ 3554752 w 4519987"/>
                    <a:gd name="connsiteY56" fmla="*/ 4095750 h 4496940"/>
                    <a:gd name="connsiteX57" fmla="*/ 3516652 w 4519987"/>
                    <a:gd name="connsiteY57" fmla="*/ 4114800 h 4496940"/>
                    <a:gd name="connsiteX58" fmla="*/ 3497602 w 4519987"/>
                    <a:gd name="connsiteY58" fmla="*/ 4143375 h 4496940"/>
                    <a:gd name="connsiteX59" fmla="*/ 3383302 w 4519987"/>
                    <a:gd name="connsiteY59" fmla="*/ 4210050 h 4496940"/>
                    <a:gd name="connsiteX60" fmla="*/ 3335677 w 4519987"/>
                    <a:gd name="connsiteY60" fmla="*/ 4238625 h 4496940"/>
                    <a:gd name="connsiteX61" fmla="*/ 3288052 w 4519987"/>
                    <a:gd name="connsiteY61" fmla="*/ 4248150 h 4496940"/>
                    <a:gd name="connsiteX62" fmla="*/ 3240427 w 4519987"/>
                    <a:gd name="connsiteY62" fmla="*/ 4267200 h 4496940"/>
                    <a:gd name="connsiteX63" fmla="*/ 3068977 w 4519987"/>
                    <a:gd name="connsiteY63" fmla="*/ 4286250 h 4496940"/>
                    <a:gd name="connsiteX64" fmla="*/ 2935627 w 4519987"/>
                    <a:gd name="connsiteY64" fmla="*/ 4333875 h 4496940"/>
                    <a:gd name="connsiteX65" fmla="*/ 2811802 w 4519987"/>
                    <a:gd name="connsiteY65" fmla="*/ 4371975 h 4496940"/>
                    <a:gd name="connsiteX66" fmla="*/ 2745127 w 4519987"/>
                    <a:gd name="connsiteY66" fmla="*/ 4410075 h 4496940"/>
                    <a:gd name="connsiteX67" fmla="*/ 2697502 w 4519987"/>
                    <a:gd name="connsiteY67" fmla="*/ 4429125 h 4496940"/>
                    <a:gd name="connsiteX68" fmla="*/ 2640352 w 4519987"/>
                    <a:gd name="connsiteY68" fmla="*/ 4457700 h 4496940"/>
                    <a:gd name="connsiteX69" fmla="*/ 2583202 w 4519987"/>
                    <a:gd name="connsiteY69" fmla="*/ 4467225 h 4496940"/>
                    <a:gd name="connsiteX70" fmla="*/ 2545102 w 4519987"/>
                    <a:gd name="connsiteY70" fmla="*/ 4486275 h 4496940"/>
                    <a:gd name="connsiteX71" fmla="*/ 2306977 w 4519987"/>
                    <a:gd name="connsiteY71" fmla="*/ 4476750 h 4496940"/>
                    <a:gd name="connsiteX72" fmla="*/ 2202202 w 4519987"/>
                    <a:gd name="connsiteY72" fmla="*/ 4457700 h 4496940"/>
                    <a:gd name="connsiteX73" fmla="*/ 2126002 w 4519987"/>
                    <a:gd name="connsiteY73" fmla="*/ 4429125 h 4496940"/>
                    <a:gd name="connsiteX74" fmla="*/ 1935502 w 4519987"/>
                    <a:gd name="connsiteY74" fmla="*/ 4400550 h 4496940"/>
                    <a:gd name="connsiteX75" fmla="*/ 1821202 w 4519987"/>
                    <a:gd name="connsiteY75" fmla="*/ 4371975 h 4496940"/>
                    <a:gd name="connsiteX76" fmla="*/ 1754527 w 4519987"/>
                    <a:gd name="connsiteY76" fmla="*/ 4352925 h 4496940"/>
                    <a:gd name="connsiteX77" fmla="*/ 1687852 w 4519987"/>
                    <a:gd name="connsiteY77" fmla="*/ 4343400 h 4496940"/>
                    <a:gd name="connsiteX78" fmla="*/ 1573552 w 4519987"/>
                    <a:gd name="connsiteY78" fmla="*/ 4305300 h 4496940"/>
                    <a:gd name="connsiteX79" fmla="*/ 1402102 w 4519987"/>
                    <a:gd name="connsiteY79" fmla="*/ 4276725 h 4496940"/>
                    <a:gd name="connsiteX80" fmla="*/ 1287802 w 4519987"/>
                    <a:gd name="connsiteY80" fmla="*/ 4229100 h 4496940"/>
                    <a:gd name="connsiteX81" fmla="*/ 1221127 w 4519987"/>
                    <a:gd name="connsiteY81" fmla="*/ 4200525 h 4496940"/>
                    <a:gd name="connsiteX82" fmla="*/ 1144927 w 4519987"/>
                    <a:gd name="connsiteY82" fmla="*/ 4171950 h 4496940"/>
                    <a:gd name="connsiteX83" fmla="*/ 1087777 w 4519987"/>
                    <a:gd name="connsiteY83" fmla="*/ 4143375 h 4496940"/>
                    <a:gd name="connsiteX84" fmla="*/ 1030627 w 4519987"/>
                    <a:gd name="connsiteY84" fmla="*/ 4124325 h 4496940"/>
                    <a:gd name="connsiteX85" fmla="*/ 925852 w 4519987"/>
                    <a:gd name="connsiteY85" fmla="*/ 4067175 h 4496940"/>
                    <a:gd name="connsiteX86" fmla="*/ 830602 w 4519987"/>
                    <a:gd name="connsiteY86" fmla="*/ 3981450 h 4496940"/>
                    <a:gd name="connsiteX87" fmla="*/ 763927 w 4519987"/>
                    <a:gd name="connsiteY87" fmla="*/ 3914775 h 4496940"/>
                    <a:gd name="connsiteX88" fmla="*/ 725827 w 4519987"/>
                    <a:gd name="connsiteY88" fmla="*/ 3876675 h 4496940"/>
                    <a:gd name="connsiteX89" fmla="*/ 697252 w 4519987"/>
                    <a:gd name="connsiteY89" fmla="*/ 3838575 h 4496940"/>
                    <a:gd name="connsiteX90" fmla="*/ 640102 w 4519987"/>
                    <a:gd name="connsiteY90" fmla="*/ 3781425 h 4496940"/>
                    <a:gd name="connsiteX91" fmla="*/ 611527 w 4519987"/>
                    <a:gd name="connsiteY91" fmla="*/ 3733800 h 4496940"/>
                    <a:gd name="connsiteX92" fmla="*/ 554377 w 4519987"/>
                    <a:gd name="connsiteY92" fmla="*/ 3657600 h 4496940"/>
                    <a:gd name="connsiteX93" fmla="*/ 525802 w 4519987"/>
                    <a:gd name="connsiteY93" fmla="*/ 3609975 h 4496940"/>
                    <a:gd name="connsiteX94" fmla="*/ 497227 w 4519987"/>
                    <a:gd name="connsiteY94" fmla="*/ 3552825 h 4496940"/>
                    <a:gd name="connsiteX95" fmla="*/ 440077 w 4519987"/>
                    <a:gd name="connsiteY95" fmla="*/ 3495675 h 4496940"/>
                    <a:gd name="connsiteX96" fmla="*/ 411502 w 4519987"/>
                    <a:gd name="connsiteY96" fmla="*/ 3448050 h 4496940"/>
                    <a:gd name="connsiteX97" fmla="*/ 278152 w 4519987"/>
                    <a:gd name="connsiteY97" fmla="*/ 3257550 h 4496940"/>
                    <a:gd name="connsiteX98" fmla="*/ 249577 w 4519987"/>
                    <a:gd name="connsiteY98" fmla="*/ 3200400 h 4496940"/>
                    <a:gd name="connsiteX99" fmla="*/ 240052 w 4519987"/>
                    <a:gd name="connsiteY99" fmla="*/ 3162300 h 4496940"/>
                    <a:gd name="connsiteX100" fmla="*/ 221002 w 4519987"/>
                    <a:gd name="connsiteY100" fmla="*/ 3105150 h 4496940"/>
                    <a:gd name="connsiteX101" fmla="*/ 173377 w 4519987"/>
                    <a:gd name="connsiteY101" fmla="*/ 3019425 h 4496940"/>
                    <a:gd name="connsiteX102" fmla="*/ 144802 w 4519987"/>
                    <a:gd name="connsiteY102" fmla="*/ 2924175 h 4496940"/>
                    <a:gd name="connsiteX103" fmla="*/ 68602 w 4519987"/>
                    <a:gd name="connsiteY103" fmla="*/ 2724150 h 4496940"/>
                    <a:gd name="connsiteX104" fmla="*/ 49552 w 4519987"/>
                    <a:gd name="connsiteY104" fmla="*/ 2638425 h 4496940"/>
                    <a:gd name="connsiteX105" fmla="*/ 40027 w 4519987"/>
                    <a:gd name="connsiteY105" fmla="*/ 2562225 h 4496940"/>
                    <a:gd name="connsiteX106" fmla="*/ 30502 w 4519987"/>
                    <a:gd name="connsiteY106" fmla="*/ 2514600 h 4496940"/>
                    <a:gd name="connsiteX107" fmla="*/ 11452 w 4519987"/>
                    <a:gd name="connsiteY107" fmla="*/ 2400300 h 4496940"/>
                    <a:gd name="connsiteX108" fmla="*/ 20977 w 4519987"/>
                    <a:gd name="connsiteY108" fmla="*/ 1905000 h 4496940"/>
                    <a:gd name="connsiteX109" fmla="*/ 30502 w 4519987"/>
                    <a:gd name="connsiteY109" fmla="*/ 1838325 h 4496940"/>
                    <a:gd name="connsiteX110" fmla="*/ 49552 w 4519987"/>
                    <a:gd name="connsiteY110" fmla="*/ 1781175 h 4496940"/>
                    <a:gd name="connsiteX111" fmla="*/ 59077 w 4519987"/>
                    <a:gd name="connsiteY111" fmla="*/ 1743075 h 4496940"/>
                    <a:gd name="connsiteX112" fmla="*/ 78127 w 4519987"/>
                    <a:gd name="connsiteY112" fmla="*/ 1685925 h 4496940"/>
                    <a:gd name="connsiteX113" fmla="*/ 87652 w 4519987"/>
                    <a:gd name="connsiteY113" fmla="*/ 1638300 h 4496940"/>
                    <a:gd name="connsiteX114" fmla="*/ 106702 w 4519987"/>
                    <a:gd name="connsiteY114" fmla="*/ 1590675 h 4496940"/>
                    <a:gd name="connsiteX115" fmla="*/ 135277 w 4519987"/>
                    <a:gd name="connsiteY115" fmla="*/ 1504950 h 4496940"/>
                    <a:gd name="connsiteX116" fmla="*/ 154327 w 4519987"/>
                    <a:gd name="connsiteY116" fmla="*/ 1419225 h 4496940"/>
                    <a:gd name="connsiteX117" fmla="*/ 230527 w 4519987"/>
                    <a:gd name="connsiteY117" fmla="*/ 1276350 h 4496940"/>
                    <a:gd name="connsiteX118" fmla="*/ 240052 w 4519987"/>
                    <a:gd name="connsiteY118" fmla="*/ 1247775 h 4496940"/>
                    <a:gd name="connsiteX119" fmla="*/ 268627 w 4519987"/>
                    <a:gd name="connsiteY119" fmla="*/ 1200150 h 4496940"/>
                    <a:gd name="connsiteX120" fmla="*/ 287677 w 4519987"/>
                    <a:gd name="connsiteY120" fmla="*/ 1152525 h 4496940"/>
                    <a:gd name="connsiteX121" fmla="*/ 316252 w 4519987"/>
                    <a:gd name="connsiteY121" fmla="*/ 1114425 h 4496940"/>
                    <a:gd name="connsiteX122" fmla="*/ 363877 w 4519987"/>
                    <a:gd name="connsiteY122" fmla="*/ 1038225 h 4496940"/>
                    <a:gd name="connsiteX123" fmla="*/ 382927 w 4519987"/>
                    <a:gd name="connsiteY123" fmla="*/ 1009650 h 4496940"/>
                    <a:gd name="connsiteX124" fmla="*/ 440077 w 4519987"/>
                    <a:gd name="connsiteY124" fmla="*/ 904875 h 4496940"/>
                    <a:gd name="connsiteX125" fmla="*/ 478177 w 4519987"/>
                    <a:gd name="connsiteY125" fmla="*/ 857250 h 4496940"/>
                    <a:gd name="connsiteX126" fmla="*/ 497227 w 4519987"/>
                    <a:gd name="connsiteY126" fmla="*/ 828675 h 4496940"/>
                    <a:gd name="connsiteX127" fmla="*/ 535327 w 4519987"/>
                    <a:gd name="connsiteY127" fmla="*/ 800100 h 4496940"/>
                    <a:gd name="connsiteX128" fmla="*/ 602002 w 4519987"/>
                    <a:gd name="connsiteY128" fmla="*/ 733425 h 4496940"/>
                    <a:gd name="connsiteX129" fmla="*/ 668677 w 4519987"/>
                    <a:gd name="connsiteY129" fmla="*/ 676275 h 4496940"/>
                    <a:gd name="connsiteX130" fmla="*/ 697252 w 4519987"/>
                    <a:gd name="connsiteY130" fmla="*/ 657225 h 4496940"/>
                    <a:gd name="connsiteX131" fmla="*/ 840127 w 4519987"/>
                    <a:gd name="connsiteY131" fmla="*/ 533400 h 4496940"/>
                    <a:gd name="connsiteX132" fmla="*/ 887752 w 4519987"/>
                    <a:gd name="connsiteY132" fmla="*/ 504825 h 4496940"/>
                    <a:gd name="connsiteX133" fmla="*/ 1167152 w 4519987"/>
                    <a:gd name="connsiteY133" fmla="*/ 311150 h 4496940"/>
                    <a:gd name="connsiteX134" fmla="*/ 1268752 w 4519987"/>
                    <a:gd name="connsiteY134" fmla="*/ 285750 h 4496940"/>
                    <a:gd name="connsiteX135" fmla="*/ 1411627 w 4519987"/>
                    <a:gd name="connsiteY135" fmla="*/ 190500 h 4496940"/>
                    <a:gd name="connsiteX136" fmla="*/ 1449727 w 4519987"/>
                    <a:gd name="connsiteY136" fmla="*/ 161925 h 4496940"/>
                    <a:gd name="connsiteX137" fmla="*/ 1525927 w 4519987"/>
                    <a:gd name="connsiteY137" fmla="*/ 152400 h 4496940"/>
                    <a:gd name="connsiteX138" fmla="*/ 1583077 w 4519987"/>
                    <a:gd name="connsiteY138" fmla="*/ 142875 h 4496940"/>
                    <a:gd name="connsiteX139" fmla="*/ 1716427 w 4519987"/>
                    <a:gd name="connsiteY139" fmla="*/ 123825 h 4496940"/>
                    <a:gd name="connsiteX140" fmla="*/ 1811677 w 4519987"/>
                    <a:gd name="connsiteY140" fmla="*/ 114300 h 4496940"/>
                    <a:gd name="connsiteX141" fmla="*/ 1859302 w 4519987"/>
                    <a:gd name="connsiteY141" fmla="*/ 104775 h 4496940"/>
                    <a:gd name="connsiteX142" fmla="*/ 1916452 w 4519987"/>
                    <a:gd name="connsiteY142" fmla="*/ 95250 h 4496940"/>
                    <a:gd name="connsiteX143" fmla="*/ 2030752 w 4519987"/>
                    <a:gd name="connsiteY143" fmla="*/ 66675 h 4496940"/>
                    <a:gd name="connsiteX144" fmla="*/ 2097427 w 4519987"/>
                    <a:gd name="connsiteY144" fmla="*/ 47625 h 4496940"/>
                    <a:gd name="connsiteX145" fmla="*/ 2164102 w 4519987"/>
                    <a:gd name="connsiteY145" fmla="*/ 38100 h 4496940"/>
                    <a:gd name="connsiteX146" fmla="*/ 2392702 w 4519987"/>
                    <a:gd name="connsiteY14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50077 w 4519987"/>
                    <a:gd name="connsiteY24" fmla="*/ 1143000 h 4496940"/>
                    <a:gd name="connsiteX25" fmla="*/ 4259602 w 4519987"/>
                    <a:gd name="connsiteY25" fmla="*/ 1190625 h 4496940"/>
                    <a:gd name="connsiteX26" fmla="*/ 4307227 w 4519987"/>
                    <a:gd name="connsiteY26" fmla="*/ 1266825 h 4496940"/>
                    <a:gd name="connsiteX27" fmla="*/ 4345327 w 4519987"/>
                    <a:gd name="connsiteY27" fmla="*/ 1362075 h 4496940"/>
                    <a:gd name="connsiteX28" fmla="*/ 4373902 w 4519987"/>
                    <a:gd name="connsiteY28" fmla="*/ 1428750 h 4496940"/>
                    <a:gd name="connsiteX29" fmla="*/ 4392952 w 4519987"/>
                    <a:gd name="connsiteY29" fmla="*/ 1552575 h 4496940"/>
                    <a:gd name="connsiteX30" fmla="*/ 4402477 w 4519987"/>
                    <a:gd name="connsiteY30" fmla="*/ 1590675 h 4496940"/>
                    <a:gd name="connsiteX31" fmla="*/ 4431052 w 4519987"/>
                    <a:gd name="connsiteY31" fmla="*/ 1685925 h 4496940"/>
                    <a:gd name="connsiteX32" fmla="*/ 4519952 w 4519987"/>
                    <a:gd name="connsiteY32" fmla="*/ 2181225 h 4496940"/>
                    <a:gd name="connsiteX33" fmla="*/ 4446927 w 4519987"/>
                    <a:gd name="connsiteY33" fmla="*/ 2768600 h 4496940"/>
                    <a:gd name="connsiteX34" fmla="*/ 4383427 w 4519987"/>
                    <a:gd name="connsiteY34" fmla="*/ 2990850 h 4496940"/>
                    <a:gd name="connsiteX35" fmla="*/ 4278652 w 4519987"/>
                    <a:gd name="connsiteY35" fmla="*/ 3248025 h 4496940"/>
                    <a:gd name="connsiteX36" fmla="*/ 4259602 w 4519987"/>
                    <a:gd name="connsiteY36" fmla="*/ 3276600 h 4496940"/>
                    <a:gd name="connsiteX37" fmla="*/ 4221502 w 4519987"/>
                    <a:gd name="connsiteY37" fmla="*/ 3333750 h 4496940"/>
                    <a:gd name="connsiteX38" fmla="*/ 4211977 w 4519987"/>
                    <a:gd name="connsiteY38" fmla="*/ 3362325 h 4496940"/>
                    <a:gd name="connsiteX39" fmla="*/ 4183402 w 4519987"/>
                    <a:gd name="connsiteY39" fmla="*/ 3400425 h 4496940"/>
                    <a:gd name="connsiteX40" fmla="*/ 4164352 w 4519987"/>
                    <a:gd name="connsiteY40" fmla="*/ 3429000 h 4496940"/>
                    <a:gd name="connsiteX41" fmla="*/ 4088152 w 4519987"/>
                    <a:gd name="connsiteY41" fmla="*/ 3495675 h 4496940"/>
                    <a:gd name="connsiteX42" fmla="*/ 4059577 w 4519987"/>
                    <a:gd name="connsiteY42" fmla="*/ 3533775 h 4496940"/>
                    <a:gd name="connsiteX43" fmla="*/ 4002427 w 4519987"/>
                    <a:gd name="connsiteY43" fmla="*/ 3600450 h 4496940"/>
                    <a:gd name="connsiteX44" fmla="*/ 3983377 w 4519987"/>
                    <a:gd name="connsiteY44" fmla="*/ 3629025 h 4496940"/>
                    <a:gd name="connsiteX45" fmla="*/ 3954802 w 4519987"/>
                    <a:gd name="connsiteY45" fmla="*/ 3648075 h 4496940"/>
                    <a:gd name="connsiteX46" fmla="*/ 3907177 w 4519987"/>
                    <a:gd name="connsiteY46" fmla="*/ 3686175 h 4496940"/>
                    <a:gd name="connsiteX47" fmla="*/ 3869077 w 4519987"/>
                    <a:gd name="connsiteY47" fmla="*/ 3724275 h 4496940"/>
                    <a:gd name="connsiteX48" fmla="*/ 3792877 w 4519987"/>
                    <a:gd name="connsiteY48" fmla="*/ 3781425 h 4496940"/>
                    <a:gd name="connsiteX49" fmla="*/ 3783352 w 4519987"/>
                    <a:gd name="connsiteY49" fmla="*/ 3810000 h 4496940"/>
                    <a:gd name="connsiteX50" fmla="*/ 3745252 w 4519987"/>
                    <a:gd name="connsiteY50" fmla="*/ 3819525 h 4496940"/>
                    <a:gd name="connsiteX51" fmla="*/ 3678577 w 4519987"/>
                    <a:gd name="connsiteY51" fmla="*/ 3848100 h 4496940"/>
                    <a:gd name="connsiteX52" fmla="*/ 3659527 w 4519987"/>
                    <a:gd name="connsiteY52" fmla="*/ 3971925 h 4496940"/>
                    <a:gd name="connsiteX53" fmla="*/ 3630952 w 4519987"/>
                    <a:gd name="connsiteY53" fmla="*/ 4010025 h 4496940"/>
                    <a:gd name="connsiteX54" fmla="*/ 3621427 w 4519987"/>
                    <a:gd name="connsiteY54" fmla="*/ 4038600 h 4496940"/>
                    <a:gd name="connsiteX55" fmla="*/ 3554752 w 4519987"/>
                    <a:gd name="connsiteY55" fmla="*/ 4095750 h 4496940"/>
                    <a:gd name="connsiteX56" fmla="*/ 3516652 w 4519987"/>
                    <a:gd name="connsiteY56" fmla="*/ 4114800 h 4496940"/>
                    <a:gd name="connsiteX57" fmla="*/ 3497602 w 4519987"/>
                    <a:gd name="connsiteY57" fmla="*/ 4143375 h 4496940"/>
                    <a:gd name="connsiteX58" fmla="*/ 3383302 w 4519987"/>
                    <a:gd name="connsiteY58" fmla="*/ 4210050 h 4496940"/>
                    <a:gd name="connsiteX59" fmla="*/ 3335677 w 4519987"/>
                    <a:gd name="connsiteY59" fmla="*/ 4238625 h 4496940"/>
                    <a:gd name="connsiteX60" fmla="*/ 3288052 w 4519987"/>
                    <a:gd name="connsiteY60" fmla="*/ 4248150 h 4496940"/>
                    <a:gd name="connsiteX61" fmla="*/ 3240427 w 4519987"/>
                    <a:gd name="connsiteY61" fmla="*/ 4267200 h 4496940"/>
                    <a:gd name="connsiteX62" fmla="*/ 3068977 w 4519987"/>
                    <a:gd name="connsiteY62" fmla="*/ 4286250 h 4496940"/>
                    <a:gd name="connsiteX63" fmla="*/ 2935627 w 4519987"/>
                    <a:gd name="connsiteY63" fmla="*/ 4333875 h 4496940"/>
                    <a:gd name="connsiteX64" fmla="*/ 2811802 w 4519987"/>
                    <a:gd name="connsiteY64" fmla="*/ 4371975 h 4496940"/>
                    <a:gd name="connsiteX65" fmla="*/ 2745127 w 4519987"/>
                    <a:gd name="connsiteY65" fmla="*/ 4410075 h 4496940"/>
                    <a:gd name="connsiteX66" fmla="*/ 2697502 w 4519987"/>
                    <a:gd name="connsiteY66" fmla="*/ 4429125 h 4496940"/>
                    <a:gd name="connsiteX67" fmla="*/ 2640352 w 4519987"/>
                    <a:gd name="connsiteY67" fmla="*/ 4457700 h 4496940"/>
                    <a:gd name="connsiteX68" fmla="*/ 2583202 w 4519987"/>
                    <a:gd name="connsiteY68" fmla="*/ 4467225 h 4496940"/>
                    <a:gd name="connsiteX69" fmla="*/ 2545102 w 4519987"/>
                    <a:gd name="connsiteY69" fmla="*/ 4486275 h 4496940"/>
                    <a:gd name="connsiteX70" fmla="*/ 2306977 w 4519987"/>
                    <a:gd name="connsiteY70" fmla="*/ 4476750 h 4496940"/>
                    <a:gd name="connsiteX71" fmla="*/ 2202202 w 4519987"/>
                    <a:gd name="connsiteY71" fmla="*/ 4457700 h 4496940"/>
                    <a:gd name="connsiteX72" fmla="*/ 2126002 w 4519987"/>
                    <a:gd name="connsiteY72" fmla="*/ 4429125 h 4496940"/>
                    <a:gd name="connsiteX73" fmla="*/ 1935502 w 4519987"/>
                    <a:gd name="connsiteY73" fmla="*/ 4400550 h 4496940"/>
                    <a:gd name="connsiteX74" fmla="*/ 1821202 w 4519987"/>
                    <a:gd name="connsiteY74" fmla="*/ 4371975 h 4496940"/>
                    <a:gd name="connsiteX75" fmla="*/ 1754527 w 4519987"/>
                    <a:gd name="connsiteY75" fmla="*/ 4352925 h 4496940"/>
                    <a:gd name="connsiteX76" fmla="*/ 1687852 w 4519987"/>
                    <a:gd name="connsiteY76" fmla="*/ 4343400 h 4496940"/>
                    <a:gd name="connsiteX77" fmla="*/ 1573552 w 4519987"/>
                    <a:gd name="connsiteY77" fmla="*/ 4305300 h 4496940"/>
                    <a:gd name="connsiteX78" fmla="*/ 1402102 w 4519987"/>
                    <a:gd name="connsiteY78" fmla="*/ 4276725 h 4496940"/>
                    <a:gd name="connsiteX79" fmla="*/ 1287802 w 4519987"/>
                    <a:gd name="connsiteY79" fmla="*/ 4229100 h 4496940"/>
                    <a:gd name="connsiteX80" fmla="*/ 1221127 w 4519987"/>
                    <a:gd name="connsiteY80" fmla="*/ 4200525 h 4496940"/>
                    <a:gd name="connsiteX81" fmla="*/ 1144927 w 4519987"/>
                    <a:gd name="connsiteY81" fmla="*/ 4171950 h 4496940"/>
                    <a:gd name="connsiteX82" fmla="*/ 1087777 w 4519987"/>
                    <a:gd name="connsiteY82" fmla="*/ 4143375 h 4496940"/>
                    <a:gd name="connsiteX83" fmla="*/ 1030627 w 4519987"/>
                    <a:gd name="connsiteY83" fmla="*/ 4124325 h 4496940"/>
                    <a:gd name="connsiteX84" fmla="*/ 925852 w 4519987"/>
                    <a:gd name="connsiteY84" fmla="*/ 4067175 h 4496940"/>
                    <a:gd name="connsiteX85" fmla="*/ 830602 w 4519987"/>
                    <a:gd name="connsiteY85" fmla="*/ 3981450 h 4496940"/>
                    <a:gd name="connsiteX86" fmla="*/ 763927 w 4519987"/>
                    <a:gd name="connsiteY86" fmla="*/ 3914775 h 4496940"/>
                    <a:gd name="connsiteX87" fmla="*/ 725827 w 4519987"/>
                    <a:gd name="connsiteY87" fmla="*/ 3876675 h 4496940"/>
                    <a:gd name="connsiteX88" fmla="*/ 697252 w 4519987"/>
                    <a:gd name="connsiteY88" fmla="*/ 3838575 h 4496940"/>
                    <a:gd name="connsiteX89" fmla="*/ 640102 w 4519987"/>
                    <a:gd name="connsiteY89" fmla="*/ 3781425 h 4496940"/>
                    <a:gd name="connsiteX90" fmla="*/ 611527 w 4519987"/>
                    <a:gd name="connsiteY90" fmla="*/ 3733800 h 4496940"/>
                    <a:gd name="connsiteX91" fmla="*/ 554377 w 4519987"/>
                    <a:gd name="connsiteY91" fmla="*/ 3657600 h 4496940"/>
                    <a:gd name="connsiteX92" fmla="*/ 525802 w 4519987"/>
                    <a:gd name="connsiteY92" fmla="*/ 3609975 h 4496940"/>
                    <a:gd name="connsiteX93" fmla="*/ 497227 w 4519987"/>
                    <a:gd name="connsiteY93" fmla="*/ 3552825 h 4496940"/>
                    <a:gd name="connsiteX94" fmla="*/ 440077 w 4519987"/>
                    <a:gd name="connsiteY94" fmla="*/ 3495675 h 4496940"/>
                    <a:gd name="connsiteX95" fmla="*/ 411502 w 4519987"/>
                    <a:gd name="connsiteY95" fmla="*/ 3448050 h 4496940"/>
                    <a:gd name="connsiteX96" fmla="*/ 278152 w 4519987"/>
                    <a:gd name="connsiteY96" fmla="*/ 3257550 h 4496940"/>
                    <a:gd name="connsiteX97" fmla="*/ 249577 w 4519987"/>
                    <a:gd name="connsiteY97" fmla="*/ 3200400 h 4496940"/>
                    <a:gd name="connsiteX98" fmla="*/ 240052 w 4519987"/>
                    <a:gd name="connsiteY98" fmla="*/ 3162300 h 4496940"/>
                    <a:gd name="connsiteX99" fmla="*/ 221002 w 4519987"/>
                    <a:gd name="connsiteY99" fmla="*/ 3105150 h 4496940"/>
                    <a:gd name="connsiteX100" fmla="*/ 173377 w 4519987"/>
                    <a:gd name="connsiteY100" fmla="*/ 3019425 h 4496940"/>
                    <a:gd name="connsiteX101" fmla="*/ 144802 w 4519987"/>
                    <a:gd name="connsiteY101" fmla="*/ 2924175 h 4496940"/>
                    <a:gd name="connsiteX102" fmla="*/ 68602 w 4519987"/>
                    <a:gd name="connsiteY102" fmla="*/ 2724150 h 4496940"/>
                    <a:gd name="connsiteX103" fmla="*/ 49552 w 4519987"/>
                    <a:gd name="connsiteY103" fmla="*/ 2638425 h 4496940"/>
                    <a:gd name="connsiteX104" fmla="*/ 40027 w 4519987"/>
                    <a:gd name="connsiteY104" fmla="*/ 2562225 h 4496940"/>
                    <a:gd name="connsiteX105" fmla="*/ 30502 w 4519987"/>
                    <a:gd name="connsiteY105" fmla="*/ 2514600 h 4496940"/>
                    <a:gd name="connsiteX106" fmla="*/ 11452 w 4519987"/>
                    <a:gd name="connsiteY106" fmla="*/ 2400300 h 4496940"/>
                    <a:gd name="connsiteX107" fmla="*/ 20977 w 4519987"/>
                    <a:gd name="connsiteY107" fmla="*/ 1905000 h 4496940"/>
                    <a:gd name="connsiteX108" fmla="*/ 30502 w 4519987"/>
                    <a:gd name="connsiteY108" fmla="*/ 1838325 h 4496940"/>
                    <a:gd name="connsiteX109" fmla="*/ 49552 w 4519987"/>
                    <a:gd name="connsiteY109" fmla="*/ 1781175 h 4496940"/>
                    <a:gd name="connsiteX110" fmla="*/ 59077 w 4519987"/>
                    <a:gd name="connsiteY110" fmla="*/ 1743075 h 4496940"/>
                    <a:gd name="connsiteX111" fmla="*/ 78127 w 4519987"/>
                    <a:gd name="connsiteY111" fmla="*/ 1685925 h 4496940"/>
                    <a:gd name="connsiteX112" fmla="*/ 87652 w 4519987"/>
                    <a:gd name="connsiteY112" fmla="*/ 1638300 h 4496940"/>
                    <a:gd name="connsiteX113" fmla="*/ 106702 w 4519987"/>
                    <a:gd name="connsiteY113" fmla="*/ 1590675 h 4496940"/>
                    <a:gd name="connsiteX114" fmla="*/ 135277 w 4519987"/>
                    <a:gd name="connsiteY114" fmla="*/ 1504950 h 4496940"/>
                    <a:gd name="connsiteX115" fmla="*/ 154327 w 4519987"/>
                    <a:gd name="connsiteY115" fmla="*/ 1419225 h 4496940"/>
                    <a:gd name="connsiteX116" fmla="*/ 230527 w 4519987"/>
                    <a:gd name="connsiteY116" fmla="*/ 1276350 h 4496940"/>
                    <a:gd name="connsiteX117" fmla="*/ 240052 w 4519987"/>
                    <a:gd name="connsiteY117" fmla="*/ 1247775 h 4496940"/>
                    <a:gd name="connsiteX118" fmla="*/ 268627 w 4519987"/>
                    <a:gd name="connsiteY118" fmla="*/ 1200150 h 4496940"/>
                    <a:gd name="connsiteX119" fmla="*/ 287677 w 4519987"/>
                    <a:gd name="connsiteY119" fmla="*/ 1152525 h 4496940"/>
                    <a:gd name="connsiteX120" fmla="*/ 316252 w 4519987"/>
                    <a:gd name="connsiteY120" fmla="*/ 1114425 h 4496940"/>
                    <a:gd name="connsiteX121" fmla="*/ 363877 w 4519987"/>
                    <a:gd name="connsiteY121" fmla="*/ 1038225 h 4496940"/>
                    <a:gd name="connsiteX122" fmla="*/ 382927 w 4519987"/>
                    <a:gd name="connsiteY122" fmla="*/ 1009650 h 4496940"/>
                    <a:gd name="connsiteX123" fmla="*/ 440077 w 4519987"/>
                    <a:gd name="connsiteY123" fmla="*/ 904875 h 4496940"/>
                    <a:gd name="connsiteX124" fmla="*/ 478177 w 4519987"/>
                    <a:gd name="connsiteY124" fmla="*/ 857250 h 4496940"/>
                    <a:gd name="connsiteX125" fmla="*/ 497227 w 4519987"/>
                    <a:gd name="connsiteY125" fmla="*/ 828675 h 4496940"/>
                    <a:gd name="connsiteX126" fmla="*/ 535327 w 4519987"/>
                    <a:gd name="connsiteY126" fmla="*/ 800100 h 4496940"/>
                    <a:gd name="connsiteX127" fmla="*/ 602002 w 4519987"/>
                    <a:gd name="connsiteY127" fmla="*/ 733425 h 4496940"/>
                    <a:gd name="connsiteX128" fmla="*/ 668677 w 4519987"/>
                    <a:gd name="connsiteY128" fmla="*/ 676275 h 4496940"/>
                    <a:gd name="connsiteX129" fmla="*/ 697252 w 4519987"/>
                    <a:gd name="connsiteY129" fmla="*/ 657225 h 4496940"/>
                    <a:gd name="connsiteX130" fmla="*/ 840127 w 4519987"/>
                    <a:gd name="connsiteY130" fmla="*/ 533400 h 4496940"/>
                    <a:gd name="connsiteX131" fmla="*/ 887752 w 4519987"/>
                    <a:gd name="connsiteY131" fmla="*/ 504825 h 4496940"/>
                    <a:gd name="connsiteX132" fmla="*/ 1167152 w 4519987"/>
                    <a:gd name="connsiteY132" fmla="*/ 311150 h 4496940"/>
                    <a:gd name="connsiteX133" fmla="*/ 1268752 w 4519987"/>
                    <a:gd name="connsiteY133" fmla="*/ 285750 h 4496940"/>
                    <a:gd name="connsiteX134" fmla="*/ 1411627 w 4519987"/>
                    <a:gd name="connsiteY134" fmla="*/ 190500 h 4496940"/>
                    <a:gd name="connsiteX135" fmla="*/ 1449727 w 4519987"/>
                    <a:gd name="connsiteY135" fmla="*/ 161925 h 4496940"/>
                    <a:gd name="connsiteX136" fmla="*/ 1525927 w 4519987"/>
                    <a:gd name="connsiteY136" fmla="*/ 152400 h 4496940"/>
                    <a:gd name="connsiteX137" fmla="*/ 1583077 w 4519987"/>
                    <a:gd name="connsiteY137" fmla="*/ 142875 h 4496940"/>
                    <a:gd name="connsiteX138" fmla="*/ 1716427 w 4519987"/>
                    <a:gd name="connsiteY138" fmla="*/ 123825 h 4496940"/>
                    <a:gd name="connsiteX139" fmla="*/ 1811677 w 4519987"/>
                    <a:gd name="connsiteY139" fmla="*/ 114300 h 4496940"/>
                    <a:gd name="connsiteX140" fmla="*/ 1859302 w 4519987"/>
                    <a:gd name="connsiteY140" fmla="*/ 104775 h 4496940"/>
                    <a:gd name="connsiteX141" fmla="*/ 1916452 w 4519987"/>
                    <a:gd name="connsiteY141" fmla="*/ 95250 h 4496940"/>
                    <a:gd name="connsiteX142" fmla="*/ 2030752 w 4519987"/>
                    <a:gd name="connsiteY142" fmla="*/ 66675 h 4496940"/>
                    <a:gd name="connsiteX143" fmla="*/ 2097427 w 4519987"/>
                    <a:gd name="connsiteY143" fmla="*/ 47625 h 4496940"/>
                    <a:gd name="connsiteX144" fmla="*/ 2164102 w 4519987"/>
                    <a:gd name="connsiteY144" fmla="*/ 38100 h 4496940"/>
                    <a:gd name="connsiteX145" fmla="*/ 2392702 w 4519987"/>
                    <a:gd name="connsiteY14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259602 w 4519987"/>
                    <a:gd name="connsiteY24" fmla="*/ 1190625 h 4496940"/>
                    <a:gd name="connsiteX25" fmla="*/ 4307227 w 4519987"/>
                    <a:gd name="connsiteY25" fmla="*/ 1266825 h 4496940"/>
                    <a:gd name="connsiteX26" fmla="*/ 4345327 w 4519987"/>
                    <a:gd name="connsiteY26" fmla="*/ 1362075 h 4496940"/>
                    <a:gd name="connsiteX27" fmla="*/ 4373902 w 4519987"/>
                    <a:gd name="connsiteY27" fmla="*/ 1428750 h 4496940"/>
                    <a:gd name="connsiteX28" fmla="*/ 4392952 w 4519987"/>
                    <a:gd name="connsiteY28" fmla="*/ 1552575 h 4496940"/>
                    <a:gd name="connsiteX29" fmla="*/ 4402477 w 4519987"/>
                    <a:gd name="connsiteY29" fmla="*/ 1590675 h 4496940"/>
                    <a:gd name="connsiteX30" fmla="*/ 4431052 w 4519987"/>
                    <a:gd name="connsiteY30" fmla="*/ 1685925 h 4496940"/>
                    <a:gd name="connsiteX31" fmla="*/ 4519952 w 4519987"/>
                    <a:gd name="connsiteY31" fmla="*/ 2181225 h 4496940"/>
                    <a:gd name="connsiteX32" fmla="*/ 4446927 w 4519987"/>
                    <a:gd name="connsiteY32" fmla="*/ 2768600 h 4496940"/>
                    <a:gd name="connsiteX33" fmla="*/ 4383427 w 4519987"/>
                    <a:gd name="connsiteY33" fmla="*/ 2990850 h 4496940"/>
                    <a:gd name="connsiteX34" fmla="*/ 4278652 w 4519987"/>
                    <a:gd name="connsiteY34" fmla="*/ 3248025 h 4496940"/>
                    <a:gd name="connsiteX35" fmla="*/ 4259602 w 4519987"/>
                    <a:gd name="connsiteY35" fmla="*/ 3276600 h 4496940"/>
                    <a:gd name="connsiteX36" fmla="*/ 4221502 w 4519987"/>
                    <a:gd name="connsiteY36" fmla="*/ 3333750 h 4496940"/>
                    <a:gd name="connsiteX37" fmla="*/ 4211977 w 4519987"/>
                    <a:gd name="connsiteY37" fmla="*/ 3362325 h 4496940"/>
                    <a:gd name="connsiteX38" fmla="*/ 4183402 w 4519987"/>
                    <a:gd name="connsiteY38" fmla="*/ 3400425 h 4496940"/>
                    <a:gd name="connsiteX39" fmla="*/ 4164352 w 4519987"/>
                    <a:gd name="connsiteY39" fmla="*/ 3429000 h 4496940"/>
                    <a:gd name="connsiteX40" fmla="*/ 4088152 w 4519987"/>
                    <a:gd name="connsiteY40" fmla="*/ 3495675 h 4496940"/>
                    <a:gd name="connsiteX41" fmla="*/ 4059577 w 4519987"/>
                    <a:gd name="connsiteY41" fmla="*/ 3533775 h 4496940"/>
                    <a:gd name="connsiteX42" fmla="*/ 4002427 w 4519987"/>
                    <a:gd name="connsiteY42" fmla="*/ 3600450 h 4496940"/>
                    <a:gd name="connsiteX43" fmla="*/ 3983377 w 4519987"/>
                    <a:gd name="connsiteY43" fmla="*/ 3629025 h 4496940"/>
                    <a:gd name="connsiteX44" fmla="*/ 3954802 w 4519987"/>
                    <a:gd name="connsiteY44" fmla="*/ 3648075 h 4496940"/>
                    <a:gd name="connsiteX45" fmla="*/ 3907177 w 4519987"/>
                    <a:gd name="connsiteY45" fmla="*/ 3686175 h 4496940"/>
                    <a:gd name="connsiteX46" fmla="*/ 3869077 w 4519987"/>
                    <a:gd name="connsiteY46" fmla="*/ 3724275 h 4496940"/>
                    <a:gd name="connsiteX47" fmla="*/ 3792877 w 4519987"/>
                    <a:gd name="connsiteY47" fmla="*/ 3781425 h 4496940"/>
                    <a:gd name="connsiteX48" fmla="*/ 3783352 w 4519987"/>
                    <a:gd name="connsiteY48" fmla="*/ 3810000 h 4496940"/>
                    <a:gd name="connsiteX49" fmla="*/ 3745252 w 4519987"/>
                    <a:gd name="connsiteY49" fmla="*/ 3819525 h 4496940"/>
                    <a:gd name="connsiteX50" fmla="*/ 3678577 w 4519987"/>
                    <a:gd name="connsiteY50" fmla="*/ 3848100 h 4496940"/>
                    <a:gd name="connsiteX51" fmla="*/ 3659527 w 4519987"/>
                    <a:gd name="connsiteY51" fmla="*/ 3971925 h 4496940"/>
                    <a:gd name="connsiteX52" fmla="*/ 3630952 w 4519987"/>
                    <a:gd name="connsiteY52" fmla="*/ 4010025 h 4496940"/>
                    <a:gd name="connsiteX53" fmla="*/ 3621427 w 4519987"/>
                    <a:gd name="connsiteY53" fmla="*/ 4038600 h 4496940"/>
                    <a:gd name="connsiteX54" fmla="*/ 3554752 w 4519987"/>
                    <a:gd name="connsiteY54" fmla="*/ 4095750 h 4496940"/>
                    <a:gd name="connsiteX55" fmla="*/ 3516652 w 4519987"/>
                    <a:gd name="connsiteY55" fmla="*/ 4114800 h 4496940"/>
                    <a:gd name="connsiteX56" fmla="*/ 3497602 w 4519987"/>
                    <a:gd name="connsiteY56" fmla="*/ 4143375 h 4496940"/>
                    <a:gd name="connsiteX57" fmla="*/ 3383302 w 4519987"/>
                    <a:gd name="connsiteY57" fmla="*/ 4210050 h 4496940"/>
                    <a:gd name="connsiteX58" fmla="*/ 3335677 w 4519987"/>
                    <a:gd name="connsiteY58" fmla="*/ 4238625 h 4496940"/>
                    <a:gd name="connsiteX59" fmla="*/ 3288052 w 4519987"/>
                    <a:gd name="connsiteY59" fmla="*/ 4248150 h 4496940"/>
                    <a:gd name="connsiteX60" fmla="*/ 3240427 w 4519987"/>
                    <a:gd name="connsiteY60" fmla="*/ 4267200 h 4496940"/>
                    <a:gd name="connsiteX61" fmla="*/ 3068977 w 4519987"/>
                    <a:gd name="connsiteY61" fmla="*/ 4286250 h 4496940"/>
                    <a:gd name="connsiteX62" fmla="*/ 2935627 w 4519987"/>
                    <a:gd name="connsiteY62" fmla="*/ 4333875 h 4496940"/>
                    <a:gd name="connsiteX63" fmla="*/ 2811802 w 4519987"/>
                    <a:gd name="connsiteY63" fmla="*/ 4371975 h 4496940"/>
                    <a:gd name="connsiteX64" fmla="*/ 2745127 w 4519987"/>
                    <a:gd name="connsiteY64" fmla="*/ 4410075 h 4496940"/>
                    <a:gd name="connsiteX65" fmla="*/ 2697502 w 4519987"/>
                    <a:gd name="connsiteY65" fmla="*/ 4429125 h 4496940"/>
                    <a:gd name="connsiteX66" fmla="*/ 2640352 w 4519987"/>
                    <a:gd name="connsiteY66" fmla="*/ 4457700 h 4496940"/>
                    <a:gd name="connsiteX67" fmla="*/ 2583202 w 4519987"/>
                    <a:gd name="connsiteY67" fmla="*/ 4467225 h 4496940"/>
                    <a:gd name="connsiteX68" fmla="*/ 2545102 w 4519987"/>
                    <a:gd name="connsiteY68" fmla="*/ 4486275 h 4496940"/>
                    <a:gd name="connsiteX69" fmla="*/ 2306977 w 4519987"/>
                    <a:gd name="connsiteY69" fmla="*/ 4476750 h 4496940"/>
                    <a:gd name="connsiteX70" fmla="*/ 2202202 w 4519987"/>
                    <a:gd name="connsiteY70" fmla="*/ 4457700 h 4496940"/>
                    <a:gd name="connsiteX71" fmla="*/ 2126002 w 4519987"/>
                    <a:gd name="connsiteY71" fmla="*/ 4429125 h 4496940"/>
                    <a:gd name="connsiteX72" fmla="*/ 1935502 w 4519987"/>
                    <a:gd name="connsiteY72" fmla="*/ 4400550 h 4496940"/>
                    <a:gd name="connsiteX73" fmla="*/ 1821202 w 4519987"/>
                    <a:gd name="connsiteY73" fmla="*/ 4371975 h 4496940"/>
                    <a:gd name="connsiteX74" fmla="*/ 1754527 w 4519987"/>
                    <a:gd name="connsiteY74" fmla="*/ 4352925 h 4496940"/>
                    <a:gd name="connsiteX75" fmla="*/ 1687852 w 4519987"/>
                    <a:gd name="connsiteY75" fmla="*/ 4343400 h 4496940"/>
                    <a:gd name="connsiteX76" fmla="*/ 1573552 w 4519987"/>
                    <a:gd name="connsiteY76" fmla="*/ 4305300 h 4496940"/>
                    <a:gd name="connsiteX77" fmla="*/ 1402102 w 4519987"/>
                    <a:gd name="connsiteY77" fmla="*/ 4276725 h 4496940"/>
                    <a:gd name="connsiteX78" fmla="*/ 1287802 w 4519987"/>
                    <a:gd name="connsiteY78" fmla="*/ 4229100 h 4496940"/>
                    <a:gd name="connsiteX79" fmla="*/ 1221127 w 4519987"/>
                    <a:gd name="connsiteY79" fmla="*/ 4200525 h 4496940"/>
                    <a:gd name="connsiteX80" fmla="*/ 1144927 w 4519987"/>
                    <a:gd name="connsiteY80" fmla="*/ 4171950 h 4496940"/>
                    <a:gd name="connsiteX81" fmla="*/ 1087777 w 4519987"/>
                    <a:gd name="connsiteY81" fmla="*/ 4143375 h 4496940"/>
                    <a:gd name="connsiteX82" fmla="*/ 1030627 w 4519987"/>
                    <a:gd name="connsiteY82" fmla="*/ 4124325 h 4496940"/>
                    <a:gd name="connsiteX83" fmla="*/ 925852 w 4519987"/>
                    <a:gd name="connsiteY83" fmla="*/ 4067175 h 4496940"/>
                    <a:gd name="connsiteX84" fmla="*/ 830602 w 4519987"/>
                    <a:gd name="connsiteY84" fmla="*/ 3981450 h 4496940"/>
                    <a:gd name="connsiteX85" fmla="*/ 763927 w 4519987"/>
                    <a:gd name="connsiteY85" fmla="*/ 3914775 h 4496940"/>
                    <a:gd name="connsiteX86" fmla="*/ 725827 w 4519987"/>
                    <a:gd name="connsiteY86" fmla="*/ 3876675 h 4496940"/>
                    <a:gd name="connsiteX87" fmla="*/ 697252 w 4519987"/>
                    <a:gd name="connsiteY87" fmla="*/ 3838575 h 4496940"/>
                    <a:gd name="connsiteX88" fmla="*/ 640102 w 4519987"/>
                    <a:gd name="connsiteY88" fmla="*/ 3781425 h 4496940"/>
                    <a:gd name="connsiteX89" fmla="*/ 611527 w 4519987"/>
                    <a:gd name="connsiteY89" fmla="*/ 3733800 h 4496940"/>
                    <a:gd name="connsiteX90" fmla="*/ 554377 w 4519987"/>
                    <a:gd name="connsiteY90" fmla="*/ 3657600 h 4496940"/>
                    <a:gd name="connsiteX91" fmla="*/ 525802 w 4519987"/>
                    <a:gd name="connsiteY91" fmla="*/ 3609975 h 4496940"/>
                    <a:gd name="connsiteX92" fmla="*/ 497227 w 4519987"/>
                    <a:gd name="connsiteY92" fmla="*/ 3552825 h 4496940"/>
                    <a:gd name="connsiteX93" fmla="*/ 440077 w 4519987"/>
                    <a:gd name="connsiteY93" fmla="*/ 3495675 h 4496940"/>
                    <a:gd name="connsiteX94" fmla="*/ 411502 w 4519987"/>
                    <a:gd name="connsiteY94" fmla="*/ 3448050 h 4496940"/>
                    <a:gd name="connsiteX95" fmla="*/ 278152 w 4519987"/>
                    <a:gd name="connsiteY95" fmla="*/ 3257550 h 4496940"/>
                    <a:gd name="connsiteX96" fmla="*/ 249577 w 4519987"/>
                    <a:gd name="connsiteY96" fmla="*/ 3200400 h 4496940"/>
                    <a:gd name="connsiteX97" fmla="*/ 240052 w 4519987"/>
                    <a:gd name="connsiteY97" fmla="*/ 3162300 h 4496940"/>
                    <a:gd name="connsiteX98" fmla="*/ 221002 w 4519987"/>
                    <a:gd name="connsiteY98" fmla="*/ 3105150 h 4496940"/>
                    <a:gd name="connsiteX99" fmla="*/ 173377 w 4519987"/>
                    <a:gd name="connsiteY99" fmla="*/ 3019425 h 4496940"/>
                    <a:gd name="connsiteX100" fmla="*/ 144802 w 4519987"/>
                    <a:gd name="connsiteY100" fmla="*/ 2924175 h 4496940"/>
                    <a:gd name="connsiteX101" fmla="*/ 68602 w 4519987"/>
                    <a:gd name="connsiteY101" fmla="*/ 2724150 h 4496940"/>
                    <a:gd name="connsiteX102" fmla="*/ 49552 w 4519987"/>
                    <a:gd name="connsiteY102" fmla="*/ 2638425 h 4496940"/>
                    <a:gd name="connsiteX103" fmla="*/ 40027 w 4519987"/>
                    <a:gd name="connsiteY103" fmla="*/ 2562225 h 4496940"/>
                    <a:gd name="connsiteX104" fmla="*/ 30502 w 4519987"/>
                    <a:gd name="connsiteY104" fmla="*/ 2514600 h 4496940"/>
                    <a:gd name="connsiteX105" fmla="*/ 11452 w 4519987"/>
                    <a:gd name="connsiteY105" fmla="*/ 2400300 h 4496940"/>
                    <a:gd name="connsiteX106" fmla="*/ 20977 w 4519987"/>
                    <a:gd name="connsiteY106" fmla="*/ 1905000 h 4496940"/>
                    <a:gd name="connsiteX107" fmla="*/ 30502 w 4519987"/>
                    <a:gd name="connsiteY107" fmla="*/ 1838325 h 4496940"/>
                    <a:gd name="connsiteX108" fmla="*/ 49552 w 4519987"/>
                    <a:gd name="connsiteY108" fmla="*/ 1781175 h 4496940"/>
                    <a:gd name="connsiteX109" fmla="*/ 59077 w 4519987"/>
                    <a:gd name="connsiteY109" fmla="*/ 1743075 h 4496940"/>
                    <a:gd name="connsiteX110" fmla="*/ 78127 w 4519987"/>
                    <a:gd name="connsiteY110" fmla="*/ 1685925 h 4496940"/>
                    <a:gd name="connsiteX111" fmla="*/ 87652 w 4519987"/>
                    <a:gd name="connsiteY111" fmla="*/ 1638300 h 4496940"/>
                    <a:gd name="connsiteX112" fmla="*/ 106702 w 4519987"/>
                    <a:gd name="connsiteY112" fmla="*/ 1590675 h 4496940"/>
                    <a:gd name="connsiteX113" fmla="*/ 135277 w 4519987"/>
                    <a:gd name="connsiteY113" fmla="*/ 1504950 h 4496940"/>
                    <a:gd name="connsiteX114" fmla="*/ 154327 w 4519987"/>
                    <a:gd name="connsiteY114" fmla="*/ 1419225 h 4496940"/>
                    <a:gd name="connsiteX115" fmla="*/ 230527 w 4519987"/>
                    <a:gd name="connsiteY115" fmla="*/ 1276350 h 4496940"/>
                    <a:gd name="connsiteX116" fmla="*/ 240052 w 4519987"/>
                    <a:gd name="connsiteY116" fmla="*/ 1247775 h 4496940"/>
                    <a:gd name="connsiteX117" fmla="*/ 268627 w 4519987"/>
                    <a:gd name="connsiteY117" fmla="*/ 1200150 h 4496940"/>
                    <a:gd name="connsiteX118" fmla="*/ 287677 w 4519987"/>
                    <a:gd name="connsiteY118" fmla="*/ 1152525 h 4496940"/>
                    <a:gd name="connsiteX119" fmla="*/ 316252 w 4519987"/>
                    <a:gd name="connsiteY119" fmla="*/ 1114425 h 4496940"/>
                    <a:gd name="connsiteX120" fmla="*/ 363877 w 4519987"/>
                    <a:gd name="connsiteY120" fmla="*/ 1038225 h 4496940"/>
                    <a:gd name="connsiteX121" fmla="*/ 382927 w 4519987"/>
                    <a:gd name="connsiteY121" fmla="*/ 1009650 h 4496940"/>
                    <a:gd name="connsiteX122" fmla="*/ 440077 w 4519987"/>
                    <a:gd name="connsiteY122" fmla="*/ 904875 h 4496940"/>
                    <a:gd name="connsiteX123" fmla="*/ 478177 w 4519987"/>
                    <a:gd name="connsiteY123" fmla="*/ 857250 h 4496940"/>
                    <a:gd name="connsiteX124" fmla="*/ 497227 w 4519987"/>
                    <a:gd name="connsiteY124" fmla="*/ 828675 h 4496940"/>
                    <a:gd name="connsiteX125" fmla="*/ 535327 w 4519987"/>
                    <a:gd name="connsiteY125" fmla="*/ 800100 h 4496940"/>
                    <a:gd name="connsiteX126" fmla="*/ 602002 w 4519987"/>
                    <a:gd name="connsiteY126" fmla="*/ 733425 h 4496940"/>
                    <a:gd name="connsiteX127" fmla="*/ 668677 w 4519987"/>
                    <a:gd name="connsiteY127" fmla="*/ 676275 h 4496940"/>
                    <a:gd name="connsiteX128" fmla="*/ 697252 w 4519987"/>
                    <a:gd name="connsiteY128" fmla="*/ 657225 h 4496940"/>
                    <a:gd name="connsiteX129" fmla="*/ 840127 w 4519987"/>
                    <a:gd name="connsiteY129" fmla="*/ 533400 h 4496940"/>
                    <a:gd name="connsiteX130" fmla="*/ 887752 w 4519987"/>
                    <a:gd name="connsiteY130" fmla="*/ 504825 h 4496940"/>
                    <a:gd name="connsiteX131" fmla="*/ 1167152 w 4519987"/>
                    <a:gd name="connsiteY131" fmla="*/ 311150 h 4496940"/>
                    <a:gd name="connsiteX132" fmla="*/ 1268752 w 4519987"/>
                    <a:gd name="connsiteY132" fmla="*/ 285750 h 4496940"/>
                    <a:gd name="connsiteX133" fmla="*/ 1411627 w 4519987"/>
                    <a:gd name="connsiteY133" fmla="*/ 190500 h 4496940"/>
                    <a:gd name="connsiteX134" fmla="*/ 1449727 w 4519987"/>
                    <a:gd name="connsiteY134" fmla="*/ 161925 h 4496940"/>
                    <a:gd name="connsiteX135" fmla="*/ 1525927 w 4519987"/>
                    <a:gd name="connsiteY135" fmla="*/ 152400 h 4496940"/>
                    <a:gd name="connsiteX136" fmla="*/ 1583077 w 4519987"/>
                    <a:gd name="connsiteY136" fmla="*/ 142875 h 4496940"/>
                    <a:gd name="connsiteX137" fmla="*/ 1716427 w 4519987"/>
                    <a:gd name="connsiteY137" fmla="*/ 123825 h 4496940"/>
                    <a:gd name="connsiteX138" fmla="*/ 1811677 w 4519987"/>
                    <a:gd name="connsiteY138" fmla="*/ 114300 h 4496940"/>
                    <a:gd name="connsiteX139" fmla="*/ 1859302 w 4519987"/>
                    <a:gd name="connsiteY139" fmla="*/ 104775 h 4496940"/>
                    <a:gd name="connsiteX140" fmla="*/ 1916452 w 4519987"/>
                    <a:gd name="connsiteY140" fmla="*/ 95250 h 4496940"/>
                    <a:gd name="connsiteX141" fmla="*/ 2030752 w 4519987"/>
                    <a:gd name="connsiteY141" fmla="*/ 66675 h 4496940"/>
                    <a:gd name="connsiteX142" fmla="*/ 2097427 w 4519987"/>
                    <a:gd name="connsiteY142" fmla="*/ 47625 h 4496940"/>
                    <a:gd name="connsiteX143" fmla="*/ 2164102 w 4519987"/>
                    <a:gd name="connsiteY143" fmla="*/ 38100 h 4496940"/>
                    <a:gd name="connsiteX144" fmla="*/ 2392702 w 4519987"/>
                    <a:gd name="connsiteY14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73902 w 4519987"/>
                    <a:gd name="connsiteY26" fmla="*/ 1428750 h 4496940"/>
                    <a:gd name="connsiteX27" fmla="*/ 4392952 w 4519987"/>
                    <a:gd name="connsiteY27" fmla="*/ 1552575 h 4496940"/>
                    <a:gd name="connsiteX28" fmla="*/ 4402477 w 4519987"/>
                    <a:gd name="connsiteY28" fmla="*/ 1590675 h 4496940"/>
                    <a:gd name="connsiteX29" fmla="*/ 4431052 w 4519987"/>
                    <a:gd name="connsiteY29" fmla="*/ 1685925 h 4496940"/>
                    <a:gd name="connsiteX30" fmla="*/ 4519952 w 4519987"/>
                    <a:gd name="connsiteY30" fmla="*/ 2181225 h 4496940"/>
                    <a:gd name="connsiteX31" fmla="*/ 4446927 w 4519987"/>
                    <a:gd name="connsiteY31" fmla="*/ 2768600 h 4496940"/>
                    <a:gd name="connsiteX32" fmla="*/ 4383427 w 4519987"/>
                    <a:gd name="connsiteY32" fmla="*/ 2990850 h 4496940"/>
                    <a:gd name="connsiteX33" fmla="*/ 4278652 w 4519987"/>
                    <a:gd name="connsiteY33" fmla="*/ 3248025 h 4496940"/>
                    <a:gd name="connsiteX34" fmla="*/ 4259602 w 4519987"/>
                    <a:gd name="connsiteY34" fmla="*/ 3276600 h 4496940"/>
                    <a:gd name="connsiteX35" fmla="*/ 4221502 w 4519987"/>
                    <a:gd name="connsiteY35" fmla="*/ 3333750 h 4496940"/>
                    <a:gd name="connsiteX36" fmla="*/ 4211977 w 4519987"/>
                    <a:gd name="connsiteY36" fmla="*/ 3362325 h 4496940"/>
                    <a:gd name="connsiteX37" fmla="*/ 4183402 w 4519987"/>
                    <a:gd name="connsiteY37" fmla="*/ 3400425 h 4496940"/>
                    <a:gd name="connsiteX38" fmla="*/ 4164352 w 4519987"/>
                    <a:gd name="connsiteY38" fmla="*/ 3429000 h 4496940"/>
                    <a:gd name="connsiteX39" fmla="*/ 4088152 w 4519987"/>
                    <a:gd name="connsiteY39" fmla="*/ 3495675 h 4496940"/>
                    <a:gd name="connsiteX40" fmla="*/ 4059577 w 4519987"/>
                    <a:gd name="connsiteY40" fmla="*/ 3533775 h 4496940"/>
                    <a:gd name="connsiteX41" fmla="*/ 4002427 w 4519987"/>
                    <a:gd name="connsiteY41" fmla="*/ 3600450 h 4496940"/>
                    <a:gd name="connsiteX42" fmla="*/ 3983377 w 4519987"/>
                    <a:gd name="connsiteY42" fmla="*/ 3629025 h 4496940"/>
                    <a:gd name="connsiteX43" fmla="*/ 3954802 w 4519987"/>
                    <a:gd name="connsiteY43" fmla="*/ 3648075 h 4496940"/>
                    <a:gd name="connsiteX44" fmla="*/ 3907177 w 4519987"/>
                    <a:gd name="connsiteY44" fmla="*/ 3686175 h 4496940"/>
                    <a:gd name="connsiteX45" fmla="*/ 3869077 w 4519987"/>
                    <a:gd name="connsiteY45" fmla="*/ 3724275 h 4496940"/>
                    <a:gd name="connsiteX46" fmla="*/ 3792877 w 4519987"/>
                    <a:gd name="connsiteY46" fmla="*/ 3781425 h 4496940"/>
                    <a:gd name="connsiteX47" fmla="*/ 3783352 w 4519987"/>
                    <a:gd name="connsiteY47" fmla="*/ 3810000 h 4496940"/>
                    <a:gd name="connsiteX48" fmla="*/ 3745252 w 4519987"/>
                    <a:gd name="connsiteY48" fmla="*/ 3819525 h 4496940"/>
                    <a:gd name="connsiteX49" fmla="*/ 3678577 w 4519987"/>
                    <a:gd name="connsiteY49" fmla="*/ 3848100 h 4496940"/>
                    <a:gd name="connsiteX50" fmla="*/ 3659527 w 4519987"/>
                    <a:gd name="connsiteY50" fmla="*/ 3971925 h 4496940"/>
                    <a:gd name="connsiteX51" fmla="*/ 3630952 w 4519987"/>
                    <a:gd name="connsiteY51" fmla="*/ 4010025 h 4496940"/>
                    <a:gd name="connsiteX52" fmla="*/ 3621427 w 4519987"/>
                    <a:gd name="connsiteY52" fmla="*/ 4038600 h 4496940"/>
                    <a:gd name="connsiteX53" fmla="*/ 3554752 w 4519987"/>
                    <a:gd name="connsiteY53" fmla="*/ 4095750 h 4496940"/>
                    <a:gd name="connsiteX54" fmla="*/ 3516652 w 4519987"/>
                    <a:gd name="connsiteY54" fmla="*/ 4114800 h 4496940"/>
                    <a:gd name="connsiteX55" fmla="*/ 3497602 w 4519987"/>
                    <a:gd name="connsiteY55" fmla="*/ 4143375 h 4496940"/>
                    <a:gd name="connsiteX56" fmla="*/ 3383302 w 4519987"/>
                    <a:gd name="connsiteY56" fmla="*/ 4210050 h 4496940"/>
                    <a:gd name="connsiteX57" fmla="*/ 3335677 w 4519987"/>
                    <a:gd name="connsiteY57" fmla="*/ 4238625 h 4496940"/>
                    <a:gd name="connsiteX58" fmla="*/ 3288052 w 4519987"/>
                    <a:gd name="connsiteY58" fmla="*/ 4248150 h 4496940"/>
                    <a:gd name="connsiteX59" fmla="*/ 3240427 w 4519987"/>
                    <a:gd name="connsiteY59" fmla="*/ 4267200 h 4496940"/>
                    <a:gd name="connsiteX60" fmla="*/ 3068977 w 4519987"/>
                    <a:gd name="connsiteY60" fmla="*/ 4286250 h 4496940"/>
                    <a:gd name="connsiteX61" fmla="*/ 2935627 w 4519987"/>
                    <a:gd name="connsiteY61" fmla="*/ 4333875 h 4496940"/>
                    <a:gd name="connsiteX62" fmla="*/ 2811802 w 4519987"/>
                    <a:gd name="connsiteY62" fmla="*/ 4371975 h 4496940"/>
                    <a:gd name="connsiteX63" fmla="*/ 2745127 w 4519987"/>
                    <a:gd name="connsiteY63" fmla="*/ 4410075 h 4496940"/>
                    <a:gd name="connsiteX64" fmla="*/ 2697502 w 4519987"/>
                    <a:gd name="connsiteY64" fmla="*/ 4429125 h 4496940"/>
                    <a:gd name="connsiteX65" fmla="*/ 2640352 w 4519987"/>
                    <a:gd name="connsiteY65" fmla="*/ 4457700 h 4496940"/>
                    <a:gd name="connsiteX66" fmla="*/ 2583202 w 4519987"/>
                    <a:gd name="connsiteY66" fmla="*/ 4467225 h 4496940"/>
                    <a:gd name="connsiteX67" fmla="*/ 2545102 w 4519987"/>
                    <a:gd name="connsiteY67" fmla="*/ 4486275 h 4496940"/>
                    <a:gd name="connsiteX68" fmla="*/ 2306977 w 4519987"/>
                    <a:gd name="connsiteY68" fmla="*/ 4476750 h 4496940"/>
                    <a:gd name="connsiteX69" fmla="*/ 2202202 w 4519987"/>
                    <a:gd name="connsiteY69" fmla="*/ 4457700 h 4496940"/>
                    <a:gd name="connsiteX70" fmla="*/ 2126002 w 4519987"/>
                    <a:gd name="connsiteY70" fmla="*/ 4429125 h 4496940"/>
                    <a:gd name="connsiteX71" fmla="*/ 1935502 w 4519987"/>
                    <a:gd name="connsiteY71" fmla="*/ 4400550 h 4496940"/>
                    <a:gd name="connsiteX72" fmla="*/ 1821202 w 4519987"/>
                    <a:gd name="connsiteY72" fmla="*/ 4371975 h 4496940"/>
                    <a:gd name="connsiteX73" fmla="*/ 1754527 w 4519987"/>
                    <a:gd name="connsiteY73" fmla="*/ 4352925 h 4496940"/>
                    <a:gd name="connsiteX74" fmla="*/ 1687852 w 4519987"/>
                    <a:gd name="connsiteY74" fmla="*/ 4343400 h 4496940"/>
                    <a:gd name="connsiteX75" fmla="*/ 1573552 w 4519987"/>
                    <a:gd name="connsiteY75" fmla="*/ 4305300 h 4496940"/>
                    <a:gd name="connsiteX76" fmla="*/ 1402102 w 4519987"/>
                    <a:gd name="connsiteY76" fmla="*/ 4276725 h 4496940"/>
                    <a:gd name="connsiteX77" fmla="*/ 1287802 w 4519987"/>
                    <a:gd name="connsiteY77" fmla="*/ 4229100 h 4496940"/>
                    <a:gd name="connsiteX78" fmla="*/ 1221127 w 4519987"/>
                    <a:gd name="connsiteY78" fmla="*/ 4200525 h 4496940"/>
                    <a:gd name="connsiteX79" fmla="*/ 1144927 w 4519987"/>
                    <a:gd name="connsiteY79" fmla="*/ 4171950 h 4496940"/>
                    <a:gd name="connsiteX80" fmla="*/ 1087777 w 4519987"/>
                    <a:gd name="connsiteY80" fmla="*/ 4143375 h 4496940"/>
                    <a:gd name="connsiteX81" fmla="*/ 1030627 w 4519987"/>
                    <a:gd name="connsiteY81" fmla="*/ 4124325 h 4496940"/>
                    <a:gd name="connsiteX82" fmla="*/ 925852 w 4519987"/>
                    <a:gd name="connsiteY82" fmla="*/ 4067175 h 4496940"/>
                    <a:gd name="connsiteX83" fmla="*/ 830602 w 4519987"/>
                    <a:gd name="connsiteY83" fmla="*/ 3981450 h 4496940"/>
                    <a:gd name="connsiteX84" fmla="*/ 763927 w 4519987"/>
                    <a:gd name="connsiteY84" fmla="*/ 3914775 h 4496940"/>
                    <a:gd name="connsiteX85" fmla="*/ 725827 w 4519987"/>
                    <a:gd name="connsiteY85" fmla="*/ 3876675 h 4496940"/>
                    <a:gd name="connsiteX86" fmla="*/ 697252 w 4519987"/>
                    <a:gd name="connsiteY86" fmla="*/ 3838575 h 4496940"/>
                    <a:gd name="connsiteX87" fmla="*/ 640102 w 4519987"/>
                    <a:gd name="connsiteY87" fmla="*/ 3781425 h 4496940"/>
                    <a:gd name="connsiteX88" fmla="*/ 611527 w 4519987"/>
                    <a:gd name="connsiteY88" fmla="*/ 3733800 h 4496940"/>
                    <a:gd name="connsiteX89" fmla="*/ 554377 w 4519987"/>
                    <a:gd name="connsiteY89" fmla="*/ 3657600 h 4496940"/>
                    <a:gd name="connsiteX90" fmla="*/ 525802 w 4519987"/>
                    <a:gd name="connsiteY90" fmla="*/ 3609975 h 4496940"/>
                    <a:gd name="connsiteX91" fmla="*/ 497227 w 4519987"/>
                    <a:gd name="connsiteY91" fmla="*/ 3552825 h 4496940"/>
                    <a:gd name="connsiteX92" fmla="*/ 440077 w 4519987"/>
                    <a:gd name="connsiteY92" fmla="*/ 3495675 h 4496940"/>
                    <a:gd name="connsiteX93" fmla="*/ 411502 w 4519987"/>
                    <a:gd name="connsiteY93" fmla="*/ 3448050 h 4496940"/>
                    <a:gd name="connsiteX94" fmla="*/ 278152 w 4519987"/>
                    <a:gd name="connsiteY94" fmla="*/ 3257550 h 4496940"/>
                    <a:gd name="connsiteX95" fmla="*/ 249577 w 4519987"/>
                    <a:gd name="connsiteY95" fmla="*/ 3200400 h 4496940"/>
                    <a:gd name="connsiteX96" fmla="*/ 240052 w 4519987"/>
                    <a:gd name="connsiteY96" fmla="*/ 3162300 h 4496940"/>
                    <a:gd name="connsiteX97" fmla="*/ 221002 w 4519987"/>
                    <a:gd name="connsiteY97" fmla="*/ 3105150 h 4496940"/>
                    <a:gd name="connsiteX98" fmla="*/ 173377 w 4519987"/>
                    <a:gd name="connsiteY98" fmla="*/ 3019425 h 4496940"/>
                    <a:gd name="connsiteX99" fmla="*/ 144802 w 4519987"/>
                    <a:gd name="connsiteY99" fmla="*/ 2924175 h 4496940"/>
                    <a:gd name="connsiteX100" fmla="*/ 68602 w 4519987"/>
                    <a:gd name="connsiteY100" fmla="*/ 2724150 h 4496940"/>
                    <a:gd name="connsiteX101" fmla="*/ 49552 w 4519987"/>
                    <a:gd name="connsiteY101" fmla="*/ 2638425 h 4496940"/>
                    <a:gd name="connsiteX102" fmla="*/ 40027 w 4519987"/>
                    <a:gd name="connsiteY102" fmla="*/ 2562225 h 4496940"/>
                    <a:gd name="connsiteX103" fmla="*/ 30502 w 4519987"/>
                    <a:gd name="connsiteY103" fmla="*/ 2514600 h 4496940"/>
                    <a:gd name="connsiteX104" fmla="*/ 11452 w 4519987"/>
                    <a:gd name="connsiteY104" fmla="*/ 2400300 h 4496940"/>
                    <a:gd name="connsiteX105" fmla="*/ 20977 w 4519987"/>
                    <a:gd name="connsiteY105" fmla="*/ 1905000 h 4496940"/>
                    <a:gd name="connsiteX106" fmla="*/ 30502 w 4519987"/>
                    <a:gd name="connsiteY106" fmla="*/ 1838325 h 4496940"/>
                    <a:gd name="connsiteX107" fmla="*/ 49552 w 4519987"/>
                    <a:gd name="connsiteY107" fmla="*/ 1781175 h 4496940"/>
                    <a:gd name="connsiteX108" fmla="*/ 59077 w 4519987"/>
                    <a:gd name="connsiteY108" fmla="*/ 1743075 h 4496940"/>
                    <a:gd name="connsiteX109" fmla="*/ 78127 w 4519987"/>
                    <a:gd name="connsiteY109" fmla="*/ 1685925 h 4496940"/>
                    <a:gd name="connsiteX110" fmla="*/ 87652 w 4519987"/>
                    <a:gd name="connsiteY110" fmla="*/ 1638300 h 4496940"/>
                    <a:gd name="connsiteX111" fmla="*/ 106702 w 4519987"/>
                    <a:gd name="connsiteY111" fmla="*/ 1590675 h 4496940"/>
                    <a:gd name="connsiteX112" fmla="*/ 135277 w 4519987"/>
                    <a:gd name="connsiteY112" fmla="*/ 1504950 h 4496940"/>
                    <a:gd name="connsiteX113" fmla="*/ 154327 w 4519987"/>
                    <a:gd name="connsiteY113" fmla="*/ 1419225 h 4496940"/>
                    <a:gd name="connsiteX114" fmla="*/ 230527 w 4519987"/>
                    <a:gd name="connsiteY114" fmla="*/ 1276350 h 4496940"/>
                    <a:gd name="connsiteX115" fmla="*/ 240052 w 4519987"/>
                    <a:gd name="connsiteY115" fmla="*/ 1247775 h 4496940"/>
                    <a:gd name="connsiteX116" fmla="*/ 268627 w 4519987"/>
                    <a:gd name="connsiteY116" fmla="*/ 1200150 h 4496940"/>
                    <a:gd name="connsiteX117" fmla="*/ 287677 w 4519987"/>
                    <a:gd name="connsiteY117" fmla="*/ 1152525 h 4496940"/>
                    <a:gd name="connsiteX118" fmla="*/ 316252 w 4519987"/>
                    <a:gd name="connsiteY118" fmla="*/ 1114425 h 4496940"/>
                    <a:gd name="connsiteX119" fmla="*/ 363877 w 4519987"/>
                    <a:gd name="connsiteY119" fmla="*/ 1038225 h 4496940"/>
                    <a:gd name="connsiteX120" fmla="*/ 382927 w 4519987"/>
                    <a:gd name="connsiteY120" fmla="*/ 1009650 h 4496940"/>
                    <a:gd name="connsiteX121" fmla="*/ 440077 w 4519987"/>
                    <a:gd name="connsiteY121" fmla="*/ 904875 h 4496940"/>
                    <a:gd name="connsiteX122" fmla="*/ 478177 w 4519987"/>
                    <a:gd name="connsiteY122" fmla="*/ 857250 h 4496940"/>
                    <a:gd name="connsiteX123" fmla="*/ 497227 w 4519987"/>
                    <a:gd name="connsiteY123" fmla="*/ 828675 h 4496940"/>
                    <a:gd name="connsiteX124" fmla="*/ 535327 w 4519987"/>
                    <a:gd name="connsiteY124" fmla="*/ 800100 h 4496940"/>
                    <a:gd name="connsiteX125" fmla="*/ 602002 w 4519987"/>
                    <a:gd name="connsiteY125" fmla="*/ 733425 h 4496940"/>
                    <a:gd name="connsiteX126" fmla="*/ 668677 w 4519987"/>
                    <a:gd name="connsiteY126" fmla="*/ 676275 h 4496940"/>
                    <a:gd name="connsiteX127" fmla="*/ 697252 w 4519987"/>
                    <a:gd name="connsiteY127" fmla="*/ 657225 h 4496940"/>
                    <a:gd name="connsiteX128" fmla="*/ 840127 w 4519987"/>
                    <a:gd name="connsiteY128" fmla="*/ 533400 h 4496940"/>
                    <a:gd name="connsiteX129" fmla="*/ 887752 w 4519987"/>
                    <a:gd name="connsiteY129" fmla="*/ 504825 h 4496940"/>
                    <a:gd name="connsiteX130" fmla="*/ 1167152 w 4519987"/>
                    <a:gd name="connsiteY130" fmla="*/ 311150 h 4496940"/>
                    <a:gd name="connsiteX131" fmla="*/ 1268752 w 4519987"/>
                    <a:gd name="connsiteY131" fmla="*/ 285750 h 4496940"/>
                    <a:gd name="connsiteX132" fmla="*/ 1411627 w 4519987"/>
                    <a:gd name="connsiteY132" fmla="*/ 190500 h 4496940"/>
                    <a:gd name="connsiteX133" fmla="*/ 1449727 w 4519987"/>
                    <a:gd name="connsiteY133" fmla="*/ 161925 h 4496940"/>
                    <a:gd name="connsiteX134" fmla="*/ 1525927 w 4519987"/>
                    <a:gd name="connsiteY134" fmla="*/ 152400 h 4496940"/>
                    <a:gd name="connsiteX135" fmla="*/ 1583077 w 4519987"/>
                    <a:gd name="connsiteY135" fmla="*/ 142875 h 4496940"/>
                    <a:gd name="connsiteX136" fmla="*/ 1716427 w 4519987"/>
                    <a:gd name="connsiteY136" fmla="*/ 123825 h 4496940"/>
                    <a:gd name="connsiteX137" fmla="*/ 1811677 w 4519987"/>
                    <a:gd name="connsiteY137" fmla="*/ 114300 h 4496940"/>
                    <a:gd name="connsiteX138" fmla="*/ 1859302 w 4519987"/>
                    <a:gd name="connsiteY138" fmla="*/ 104775 h 4496940"/>
                    <a:gd name="connsiteX139" fmla="*/ 1916452 w 4519987"/>
                    <a:gd name="connsiteY139" fmla="*/ 95250 h 4496940"/>
                    <a:gd name="connsiteX140" fmla="*/ 2030752 w 4519987"/>
                    <a:gd name="connsiteY140" fmla="*/ 66675 h 4496940"/>
                    <a:gd name="connsiteX141" fmla="*/ 2097427 w 4519987"/>
                    <a:gd name="connsiteY141" fmla="*/ 47625 h 4496940"/>
                    <a:gd name="connsiteX142" fmla="*/ 2164102 w 4519987"/>
                    <a:gd name="connsiteY142" fmla="*/ 38100 h 4496940"/>
                    <a:gd name="connsiteX143" fmla="*/ 2392702 w 4519987"/>
                    <a:gd name="connsiteY14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02477 w 4519987"/>
                    <a:gd name="connsiteY27" fmla="*/ 1590675 h 4496940"/>
                    <a:gd name="connsiteX28" fmla="*/ 4431052 w 4519987"/>
                    <a:gd name="connsiteY28" fmla="*/ 1685925 h 4496940"/>
                    <a:gd name="connsiteX29" fmla="*/ 4519952 w 4519987"/>
                    <a:gd name="connsiteY29" fmla="*/ 2181225 h 4496940"/>
                    <a:gd name="connsiteX30" fmla="*/ 4446927 w 4519987"/>
                    <a:gd name="connsiteY30" fmla="*/ 2768600 h 4496940"/>
                    <a:gd name="connsiteX31" fmla="*/ 4383427 w 4519987"/>
                    <a:gd name="connsiteY31" fmla="*/ 2990850 h 4496940"/>
                    <a:gd name="connsiteX32" fmla="*/ 4278652 w 4519987"/>
                    <a:gd name="connsiteY32" fmla="*/ 3248025 h 4496940"/>
                    <a:gd name="connsiteX33" fmla="*/ 4259602 w 4519987"/>
                    <a:gd name="connsiteY33" fmla="*/ 3276600 h 4496940"/>
                    <a:gd name="connsiteX34" fmla="*/ 4221502 w 4519987"/>
                    <a:gd name="connsiteY34" fmla="*/ 3333750 h 4496940"/>
                    <a:gd name="connsiteX35" fmla="*/ 4211977 w 4519987"/>
                    <a:gd name="connsiteY35" fmla="*/ 3362325 h 4496940"/>
                    <a:gd name="connsiteX36" fmla="*/ 4183402 w 4519987"/>
                    <a:gd name="connsiteY36" fmla="*/ 3400425 h 4496940"/>
                    <a:gd name="connsiteX37" fmla="*/ 4164352 w 4519987"/>
                    <a:gd name="connsiteY37" fmla="*/ 3429000 h 4496940"/>
                    <a:gd name="connsiteX38" fmla="*/ 4088152 w 4519987"/>
                    <a:gd name="connsiteY38" fmla="*/ 3495675 h 4496940"/>
                    <a:gd name="connsiteX39" fmla="*/ 4059577 w 4519987"/>
                    <a:gd name="connsiteY39" fmla="*/ 3533775 h 4496940"/>
                    <a:gd name="connsiteX40" fmla="*/ 4002427 w 4519987"/>
                    <a:gd name="connsiteY40" fmla="*/ 3600450 h 4496940"/>
                    <a:gd name="connsiteX41" fmla="*/ 3983377 w 4519987"/>
                    <a:gd name="connsiteY41" fmla="*/ 3629025 h 4496940"/>
                    <a:gd name="connsiteX42" fmla="*/ 3954802 w 4519987"/>
                    <a:gd name="connsiteY42" fmla="*/ 3648075 h 4496940"/>
                    <a:gd name="connsiteX43" fmla="*/ 3907177 w 4519987"/>
                    <a:gd name="connsiteY43" fmla="*/ 3686175 h 4496940"/>
                    <a:gd name="connsiteX44" fmla="*/ 3869077 w 4519987"/>
                    <a:gd name="connsiteY44" fmla="*/ 3724275 h 4496940"/>
                    <a:gd name="connsiteX45" fmla="*/ 3792877 w 4519987"/>
                    <a:gd name="connsiteY45" fmla="*/ 3781425 h 4496940"/>
                    <a:gd name="connsiteX46" fmla="*/ 3783352 w 4519987"/>
                    <a:gd name="connsiteY46" fmla="*/ 3810000 h 4496940"/>
                    <a:gd name="connsiteX47" fmla="*/ 3745252 w 4519987"/>
                    <a:gd name="connsiteY47" fmla="*/ 3819525 h 4496940"/>
                    <a:gd name="connsiteX48" fmla="*/ 3678577 w 4519987"/>
                    <a:gd name="connsiteY48" fmla="*/ 3848100 h 4496940"/>
                    <a:gd name="connsiteX49" fmla="*/ 3659527 w 4519987"/>
                    <a:gd name="connsiteY49" fmla="*/ 3971925 h 4496940"/>
                    <a:gd name="connsiteX50" fmla="*/ 3630952 w 4519987"/>
                    <a:gd name="connsiteY50" fmla="*/ 4010025 h 4496940"/>
                    <a:gd name="connsiteX51" fmla="*/ 3621427 w 4519987"/>
                    <a:gd name="connsiteY51" fmla="*/ 4038600 h 4496940"/>
                    <a:gd name="connsiteX52" fmla="*/ 3554752 w 4519987"/>
                    <a:gd name="connsiteY52" fmla="*/ 4095750 h 4496940"/>
                    <a:gd name="connsiteX53" fmla="*/ 3516652 w 4519987"/>
                    <a:gd name="connsiteY53" fmla="*/ 4114800 h 4496940"/>
                    <a:gd name="connsiteX54" fmla="*/ 3497602 w 4519987"/>
                    <a:gd name="connsiteY54" fmla="*/ 4143375 h 4496940"/>
                    <a:gd name="connsiteX55" fmla="*/ 3383302 w 4519987"/>
                    <a:gd name="connsiteY55" fmla="*/ 4210050 h 4496940"/>
                    <a:gd name="connsiteX56" fmla="*/ 3335677 w 4519987"/>
                    <a:gd name="connsiteY56" fmla="*/ 4238625 h 4496940"/>
                    <a:gd name="connsiteX57" fmla="*/ 3288052 w 4519987"/>
                    <a:gd name="connsiteY57" fmla="*/ 4248150 h 4496940"/>
                    <a:gd name="connsiteX58" fmla="*/ 3240427 w 4519987"/>
                    <a:gd name="connsiteY58" fmla="*/ 4267200 h 4496940"/>
                    <a:gd name="connsiteX59" fmla="*/ 3068977 w 4519987"/>
                    <a:gd name="connsiteY59" fmla="*/ 4286250 h 4496940"/>
                    <a:gd name="connsiteX60" fmla="*/ 2935627 w 4519987"/>
                    <a:gd name="connsiteY60" fmla="*/ 4333875 h 4496940"/>
                    <a:gd name="connsiteX61" fmla="*/ 2811802 w 4519987"/>
                    <a:gd name="connsiteY61" fmla="*/ 4371975 h 4496940"/>
                    <a:gd name="connsiteX62" fmla="*/ 2745127 w 4519987"/>
                    <a:gd name="connsiteY62" fmla="*/ 4410075 h 4496940"/>
                    <a:gd name="connsiteX63" fmla="*/ 2697502 w 4519987"/>
                    <a:gd name="connsiteY63" fmla="*/ 4429125 h 4496940"/>
                    <a:gd name="connsiteX64" fmla="*/ 2640352 w 4519987"/>
                    <a:gd name="connsiteY64" fmla="*/ 4457700 h 4496940"/>
                    <a:gd name="connsiteX65" fmla="*/ 2583202 w 4519987"/>
                    <a:gd name="connsiteY65" fmla="*/ 4467225 h 4496940"/>
                    <a:gd name="connsiteX66" fmla="*/ 2545102 w 4519987"/>
                    <a:gd name="connsiteY66" fmla="*/ 4486275 h 4496940"/>
                    <a:gd name="connsiteX67" fmla="*/ 2306977 w 4519987"/>
                    <a:gd name="connsiteY67" fmla="*/ 4476750 h 4496940"/>
                    <a:gd name="connsiteX68" fmla="*/ 2202202 w 4519987"/>
                    <a:gd name="connsiteY68" fmla="*/ 4457700 h 4496940"/>
                    <a:gd name="connsiteX69" fmla="*/ 2126002 w 4519987"/>
                    <a:gd name="connsiteY69" fmla="*/ 4429125 h 4496940"/>
                    <a:gd name="connsiteX70" fmla="*/ 1935502 w 4519987"/>
                    <a:gd name="connsiteY70" fmla="*/ 4400550 h 4496940"/>
                    <a:gd name="connsiteX71" fmla="*/ 1821202 w 4519987"/>
                    <a:gd name="connsiteY71" fmla="*/ 4371975 h 4496940"/>
                    <a:gd name="connsiteX72" fmla="*/ 1754527 w 4519987"/>
                    <a:gd name="connsiteY72" fmla="*/ 4352925 h 4496940"/>
                    <a:gd name="connsiteX73" fmla="*/ 1687852 w 4519987"/>
                    <a:gd name="connsiteY73" fmla="*/ 4343400 h 4496940"/>
                    <a:gd name="connsiteX74" fmla="*/ 1573552 w 4519987"/>
                    <a:gd name="connsiteY74" fmla="*/ 4305300 h 4496940"/>
                    <a:gd name="connsiteX75" fmla="*/ 1402102 w 4519987"/>
                    <a:gd name="connsiteY75" fmla="*/ 4276725 h 4496940"/>
                    <a:gd name="connsiteX76" fmla="*/ 1287802 w 4519987"/>
                    <a:gd name="connsiteY76" fmla="*/ 4229100 h 4496940"/>
                    <a:gd name="connsiteX77" fmla="*/ 1221127 w 4519987"/>
                    <a:gd name="connsiteY77" fmla="*/ 4200525 h 4496940"/>
                    <a:gd name="connsiteX78" fmla="*/ 1144927 w 4519987"/>
                    <a:gd name="connsiteY78" fmla="*/ 4171950 h 4496940"/>
                    <a:gd name="connsiteX79" fmla="*/ 1087777 w 4519987"/>
                    <a:gd name="connsiteY79" fmla="*/ 4143375 h 4496940"/>
                    <a:gd name="connsiteX80" fmla="*/ 1030627 w 4519987"/>
                    <a:gd name="connsiteY80" fmla="*/ 4124325 h 4496940"/>
                    <a:gd name="connsiteX81" fmla="*/ 925852 w 4519987"/>
                    <a:gd name="connsiteY81" fmla="*/ 4067175 h 4496940"/>
                    <a:gd name="connsiteX82" fmla="*/ 830602 w 4519987"/>
                    <a:gd name="connsiteY82" fmla="*/ 3981450 h 4496940"/>
                    <a:gd name="connsiteX83" fmla="*/ 763927 w 4519987"/>
                    <a:gd name="connsiteY83" fmla="*/ 3914775 h 4496940"/>
                    <a:gd name="connsiteX84" fmla="*/ 725827 w 4519987"/>
                    <a:gd name="connsiteY84" fmla="*/ 3876675 h 4496940"/>
                    <a:gd name="connsiteX85" fmla="*/ 697252 w 4519987"/>
                    <a:gd name="connsiteY85" fmla="*/ 3838575 h 4496940"/>
                    <a:gd name="connsiteX86" fmla="*/ 640102 w 4519987"/>
                    <a:gd name="connsiteY86" fmla="*/ 3781425 h 4496940"/>
                    <a:gd name="connsiteX87" fmla="*/ 611527 w 4519987"/>
                    <a:gd name="connsiteY87" fmla="*/ 3733800 h 4496940"/>
                    <a:gd name="connsiteX88" fmla="*/ 554377 w 4519987"/>
                    <a:gd name="connsiteY88" fmla="*/ 3657600 h 4496940"/>
                    <a:gd name="connsiteX89" fmla="*/ 525802 w 4519987"/>
                    <a:gd name="connsiteY89" fmla="*/ 3609975 h 4496940"/>
                    <a:gd name="connsiteX90" fmla="*/ 497227 w 4519987"/>
                    <a:gd name="connsiteY90" fmla="*/ 3552825 h 4496940"/>
                    <a:gd name="connsiteX91" fmla="*/ 440077 w 4519987"/>
                    <a:gd name="connsiteY91" fmla="*/ 3495675 h 4496940"/>
                    <a:gd name="connsiteX92" fmla="*/ 411502 w 4519987"/>
                    <a:gd name="connsiteY92" fmla="*/ 3448050 h 4496940"/>
                    <a:gd name="connsiteX93" fmla="*/ 278152 w 4519987"/>
                    <a:gd name="connsiteY93" fmla="*/ 3257550 h 4496940"/>
                    <a:gd name="connsiteX94" fmla="*/ 249577 w 4519987"/>
                    <a:gd name="connsiteY94" fmla="*/ 3200400 h 4496940"/>
                    <a:gd name="connsiteX95" fmla="*/ 240052 w 4519987"/>
                    <a:gd name="connsiteY95" fmla="*/ 3162300 h 4496940"/>
                    <a:gd name="connsiteX96" fmla="*/ 221002 w 4519987"/>
                    <a:gd name="connsiteY96" fmla="*/ 3105150 h 4496940"/>
                    <a:gd name="connsiteX97" fmla="*/ 173377 w 4519987"/>
                    <a:gd name="connsiteY97" fmla="*/ 3019425 h 4496940"/>
                    <a:gd name="connsiteX98" fmla="*/ 144802 w 4519987"/>
                    <a:gd name="connsiteY98" fmla="*/ 2924175 h 4496940"/>
                    <a:gd name="connsiteX99" fmla="*/ 68602 w 4519987"/>
                    <a:gd name="connsiteY99" fmla="*/ 2724150 h 4496940"/>
                    <a:gd name="connsiteX100" fmla="*/ 49552 w 4519987"/>
                    <a:gd name="connsiteY100" fmla="*/ 2638425 h 4496940"/>
                    <a:gd name="connsiteX101" fmla="*/ 40027 w 4519987"/>
                    <a:gd name="connsiteY101" fmla="*/ 2562225 h 4496940"/>
                    <a:gd name="connsiteX102" fmla="*/ 30502 w 4519987"/>
                    <a:gd name="connsiteY102" fmla="*/ 2514600 h 4496940"/>
                    <a:gd name="connsiteX103" fmla="*/ 11452 w 4519987"/>
                    <a:gd name="connsiteY103" fmla="*/ 2400300 h 4496940"/>
                    <a:gd name="connsiteX104" fmla="*/ 20977 w 4519987"/>
                    <a:gd name="connsiteY104" fmla="*/ 1905000 h 4496940"/>
                    <a:gd name="connsiteX105" fmla="*/ 30502 w 4519987"/>
                    <a:gd name="connsiteY105" fmla="*/ 1838325 h 4496940"/>
                    <a:gd name="connsiteX106" fmla="*/ 49552 w 4519987"/>
                    <a:gd name="connsiteY106" fmla="*/ 1781175 h 4496940"/>
                    <a:gd name="connsiteX107" fmla="*/ 59077 w 4519987"/>
                    <a:gd name="connsiteY107" fmla="*/ 1743075 h 4496940"/>
                    <a:gd name="connsiteX108" fmla="*/ 78127 w 4519987"/>
                    <a:gd name="connsiteY108" fmla="*/ 1685925 h 4496940"/>
                    <a:gd name="connsiteX109" fmla="*/ 87652 w 4519987"/>
                    <a:gd name="connsiteY109" fmla="*/ 1638300 h 4496940"/>
                    <a:gd name="connsiteX110" fmla="*/ 106702 w 4519987"/>
                    <a:gd name="connsiteY110" fmla="*/ 1590675 h 4496940"/>
                    <a:gd name="connsiteX111" fmla="*/ 135277 w 4519987"/>
                    <a:gd name="connsiteY111" fmla="*/ 1504950 h 4496940"/>
                    <a:gd name="connsiteX112" fmla="*/ 154327 w 4519987"/>
                    <a:gd name="connsiteY112" fmla="*/ 1419225 h 4496940"/>
                    <a:gd name="connsiteX113" fmla="*/ 230527 w 4519987"/>
                    <a:gd name="connsiteY113" fmla="*/ 1276350 h 4496940"/>
                    <a:gd name="connsiteX114" fmla="*/ 240052 w 4519987"/>
                    <a:gd name="connsiteY114" fmla="*/ 1247775 h 4496940"/>
                    <a:gd name="connsiteX115" fmla="*/ 268627 w 4519987"/>
                    <a:gd name="connsiteY115" fmla="*/ 1200150 h 4496940"/>
                    <a:gd name="connsiteX116" fmla="*/ 287677 w 4519987"/>
                    <a:gd name="connsiteY116" fmla="*/ 1152525 h 4496940"/>
                    <a:gd name="connsiteX117" fmla="*/ 316252 w 4519987"/>
                    <a:gd name="connsiteY117" fmla="*/ 1114425 h 4496940"/>
                    <a:gd name="connsiteX118" fmla="*/ 363877 w 4519987"/>
                    <a:gd name="connsiteY118" fmla="*/ 1038225 h 4496940"/>
                    <a:gd name="connsiteX119" fmla="*/ 382927 w 4519987"/>
                    <a:gd name="connsiteY119" fmla="*/ 1009650 h 4496940"/>
                    <a:gd name="connsiteX120" fmla="*/ 440077 w 4519987"/>
                    <a:gd name="connsiteY120" fmla="*/ 904875 h 4496940"/>
                    <a:gd name="connsiteX121" fmla="*/ 478177 w 4519987"/>
                    <a:gd name="connsiteY121" fmla="*/ 857250 h 4496940"/>
                    <a:gd name="connsiteX122" fmla="*/ 497227 w 4519987"/>
                    <a:gd name="connsiteY122" fmla="*/ 828675 h 4496940"/>
                    <a:gd name="connsiteX123" fmla="*/ 535327 w 4519987"/>
                    <a:gd name="connsiteY123" fmla="*/ 800100 h 4496940"/>
                    <a:gd name="connsiteX124" fmla="*/ 602002 w 4519987"/>
                    <a:gd name="connsiteY124" fmla="*/ 733425 h 4496940"/>
                    <a:gd name="connsiteX125" fmla="*/ 668677 w 4519987"/>
                    <a:gd name="connsiteY125" fmla="*/ 676275 h 4496940"/>
                    <a:gd name="connsiteX126" fmla="*/ 697252 w 4519987"/>
                    <a:gd name="connsiteY126" fmla="*/ 657225 h 4496940"/>
                    <a:gd name="connsiteX127" fmla="*/ 840127 w 4519987"/>
                    <a:gd name="connsiteY127" fmla="*/ 533400 h 4496940"/>
                    <a:gd name="connsiteX128" fmla="*/ 887752 w 4519987"/>
                    <a:gd name="connsiteY128" fmla="*/ 504825 h 4496940"/>
                    <a:gd name="connsiteX129" fmla="*/ 1167152 w 4519987"/>
                    <a:gd name="connsiteY129" fmla="*/ 311150 h 4496940"/>
                    <a:gd name="connsiteX130" fmla="*/ 1268752 w 4519987"/>
                    <a:gd name="connsiteY130" fmla="*/ 285750 h 4496940"/>
                    <a:gd name="connsiteX131" fmla="*/ 1411627 w 4519987"/>
                    <a:gd name="connsiteY131" fmla="*/ 190500 h 4496940"/>
                    <a:gd name="connsiteX132" fmla="*/ 1449727 w 4519987"/>
                    <a:gd name="connsiteY132" fmla="*/ 161925 h 4496940"/>
                    <a:gd name="connsiteX133" fmla="*/ 1525927 w 4519987"/>
                    <a:gd name="connsiteY133" fmla="*/ 152400 h 4496940"/>
                    <a:gd name="connsiteX134" fmla="*/ 1583077 w 4519987"/>
                    <a:gd name="connsiteY134" fmla="*/ 142875 h 4496940"/>
                    <a:gd name="connsiteX135" fmla="*/ 1716427 w 4519987"/>
                    <a:gd name="connsiteY135" fmla="*/ 123825 h 4496940"/>
                    <a:gd name="connsiteX136" fmla="*/ 1811677 w 4519987"/>
                    <a:gd name="connsiteY136" fmla="*/ 114300 h 4496940"/>
                    <a:gd name="connsiteX137" fmla="*/ 1859302 w 4519987"/>
                    <a:gd name="connsiteY137" fmla="*/ 104775 h 4496940"/>
                    <a:gd name="connsiteX138" fmla="*/ 1916452 w 4519987"/>
                    <a:gd name="connsiteY138" fmla="*/ 95250 h 4496940"/>
                    <a:gd name="connsiteX139" fmla="*/ 2030752 w 4519987"/>
                    <a:gd name="connsiteY139" fmla="*/ 66675 h 4496940"/>
                    <a:gd name="connsiteX140" fmla="*/ 2097427 w 4519987"/>
                    <a:gd name="connsiteY140" fmla="*/ 47625 h 4496940"/>
                    <a:gd name="connsiteX141" fmla="*/ 2164102 w 4519987"/>
                    <a:gd name="connsiteY141" fmla="*/ 38100 h 4496940"/>
                    <a:gd name="connsiteX142" fmla="*/ 2392702 w 4519987"/>
                    <a:gd name="connsiteY14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164352 w 4519987"/>
                    <a:gd name="connsiteY36" fmla="*/ 3429000 h 4496940"/>
                    <a:gd name="connsiteX37" fmla="*/ 4088152 w 4519987"/>
                    <a:gd name="connsiteY37" fmla="*/ 3495675 h 4496940"/>
                    <a:gd name="connsiteX38" fmla="*/ 4059577 w 4519987"/>
                    <a:gd name="connsiteY38" fmla="*/ 3533775 h 4496940"/>
                    <a:gd name="connsiteX39" fmla="*/ 4002427 w 4519987"/>
                    <a:gd name="connsiteY39" fmla="*/ 3600450 h 4496940"/>
                    <a:gd name="connsiteX40" fmla="*/ 3983377 w 4519987"/>
                    <a:gd name="connsiteY40" fmla="*/ 3629025 h 4496940"/>
                    <a:gd name="connsiteX41" fmla="*/ 3954802 w 4519987"/>
                    <a:gd name="connsiteY41" fmla="*/ 3648075 h 4496940"/>
                    <a:gd name="connsiteX42" fmla="*/ 3907177 w 4519987"/>
                    <a:gd name="connsiteY42" fmla="*/ 3686175 h 4496940"/>
                    <a:gd name="connsiteX43" fmla="*/ 3869077 w 4519987"/>
                    <a:gd name="connsiteY43" fmla="*/ 3724275 h 4496940"/>
                    <a:gd name="connsiteX44" fmla="*/ 3792877 w 4519987"/>
                    <a:gd name="connsiteY44" fmla="*/ 3781425 h 4496940"/>
                    <a:gd name="connsiteX45" fmla="*/ 3783352 w 4519987"/>
                    <a:gd name="connsiteY45" fmla="*/ 3810000 h 4496940"/>
                    <a:gd name="connsiteX46" fmla="*/ 3745252 w 4519987"/>
                    <a:gd name="connsiteY46" fmla="*/ 3819525 h 4496940"/>
                    <a:gd name="connsiteX47" fmla="*/ 3678577 w 4519987"/>
                    <a:gd name="connsiteY47" fmla="*/ 3848100 h 4496940"/>
                    <a:gd name="connsiteX48" fmla="*/ 3659527 w 4519987"/>
                    <a:gd name="connsiteY48" fmla="*/ 3971925 h 4496940"/>
                    <a:gd name="connsiteX49" fmla="*/ 3630952 w 4519987"/>
                    <a:gd name="connsiteY49" fmla="*/ 4010025 h 4496940"/>
                    <a:gd name="connsiteX50" fmla="*/ 3621427 w 4519987"/>
                    <a:gd name="connsiteY50" fmla="*/ 4038600 h 4496940"/>
                    <a:gd name="connsiteX51" fmla="*/ 3554752 w 4519987"/>
                    <a:gd name="connsiteY51" fmla="*/ 4095750 h 4496940"/>
                    <a:gd name="connsiteX52" fmla="*/ 3516652 w 4519987"/>
                    <a:gd name="connsiteY52" fmla="*/ 4114800 h 4496940"/>
                    <a:gd name="connsiteX53" fmla="*/ 3497602 w 4519987"/>
                    <a:gd name="connsiteY53" fmla="*/ 4143375 h 4496940"/>
                    <a:gd name="connsiteX54" fmla="*/ 3383302 w 4519987"/>
                    <a:gd name="connsiteY54" fmla="*/ 4210050 h 4496940"/>
                    <a:gd name="connsiteX55" fmla="*/ 3335677 w 4519987"/>
                    <a:gd name="connsiteY55" fmla="*/ 4238625 h 4496940"/>
                    <a:gd name="connsiteX56" fmla="*/ 3288052 w 4519987"/>
                    <a:gd name="connsiteY56" fmla="*/ 4248150 h 4496940"/>
                    <a:gd name="connsiteX57" fmla="*/ 3240427 w 4519987"/>
                    <a:gd name="connsiteY57" fmla="*/ 4267200 h 4496940"/>
                    <a:gd name="connsiteX58" fmla="*/ 3068977 w 4519987"/>
                    <a:gd name="connsiteY58" fmla="*/ 4286250 h 4496940"/>
                    <a:gd name="connsiteX59" fmla="*/ 2935627 w 4519987"/>
                    <a:gd name="connsiteY59" fmla="*/ 4333875 h 4496940"/>
                    <a:gd name="connsiteX60" fmla="*/ 2811802 w 4519987"/>
                    <a:gd name="connsiteY60" fmla="*/ 4371975 h 4496940"/>
                    <a:gd name="connsiteX61" fmla="*/ 2745127 w 4519987"/>
                    <a:gd name="connsiteY61" fmla="*/ 4410075 h 4496940"/>
                    <a:gd name="connsiteX62" fmla="*/ 2697502 w 4519987"/>
                    <a:gd name="connsiteY62" fmla="*/ 4429125 h 4496940"/>
                    <a:gd name="connsiteX63" fmla="*/ 2640352 w 4519987"/>
                    <a:gd name="connsiteY63" fmla="*/ 4457700 h 4496940"/>
                    <a:gd name="connsiteX64" fmla="*/ 2583202 w 4519987"/>
                    <a:gd name="connsiteY64" fmla="*/ 4467225 h 4496940"/>
                    <a:gd name="connsiteX65" fmla="*/ 2545102 w 4519987"/>
                    <a:gd name="connsiteY65" fmla="*/ 4486275 h 4496940"/>
                    <a:gd name="connsiteX66" fmla="*/ 2306977 w 4519987"/>
                    <a:gd name="connsiteY66" fmla="*/ 4476750 h 4496940"/>
                    <a:gd name="connsiteX67" fmla="*/ 2202202 w 4519987"/>
                    <a:gd name="connsiteY67" fmla="*/ 4457700 h 4496940"/>
                    <a:gd name="connsiteX68" fmla="*/ 2126002 w 4519987"/>
                    <a:gd name="connsiteY68" fmla="*/ 4429125 h 4496940"/>
                    <a:gd name="connsiteX69" fmla="*/ 1935502 w 4519987"/>
                    <a:gd name="connsiteY69" fmla="*/ 4400550 h 4496940"/>
                    <a:gd name="connsiteX70" fmla="*/ 1821202 w 4519987"/>
                    <a:gd name="connsiteY70" fmla="*/ 4371975 h 4496940"/>
                    <a:gd name="connsiteX71" fmla="*/ 1754527 w 4519987"/>
                    <a:gd name="connsiteY71" fmla="*/ 4352925 h 4496940"/>
                    <a:gd name="connsiteX72" fmla="*/ 1687852 w 4519987"/>
                    <a:gd name="connsiteY72" fmla="*/ 4343400 h 4496940"/>
                    <a:gd name="connsiteX73" fmla="*/ 1573552 w 4519987"/>
                    <a:gd name="connsiteY73" fmla="*/ 4305300 h 4496940"/>
                    <a:gd name="connsiteX74" fmla="*/ 1402102 w 4519987"/>
                    <a:gd name="connsiteY74" fmla="*/ 4276725 h 4496940"/>
                    <a:gd name="connsiteX75" fmla="*/ 1287802 w 4519987"/>
                    <a:gd name="connsiteY75" fmla="*/ 4229100 h 4496940"/>
                    <a:gd name="connsiteX76" fmla="*/ 1221127 w 4519987"/>
                    <a:gd name="connsiteY76" fmla="*/ 4200525 h 4496940"/>
                    <a:gd name="connsiteX77" fmla="*/ 1144927 w 4519987"/>
                    <a:gd name="connsiteY77" fmla="*/ 4171950 h 4496940"/>
                    <a:gd name="connsiteX78" fmla="*/ 1087777 w 4519987"/>
                    <a:gd name="connsiteY78" fmla="*/ 4143375 h 4496940"/>
                    <a:gd name="connsiteX79" fmla="*/ 1030627 w 4519987"/>
                    <a:gd name="connsiteY79" fmla="*/ 4124325 h 4496940"/>
                    <a:gd name="connsiteX80" fmla="*/ 925852 w 4519987"/>
                    <a:gd name="connsiteY80" fmla="*/ 4067175 h 4496940"/>
                    <a:gd name="connsiteX81" fmla="*/ 830602 w 4519987"/>
                    <a:gd name="connsiteY81" fmla="*/ 3981450 h 4496940"/>
                    <a:gd name="connsiteX82" fmla="*/ 763927 w 4519987"/>
                    <a:gd name="connsiteY82" fmla="*/ 3914775 h 4496940"/>
                    <a:gd name="connsiteX83" fmla="*/ 725827 w 4519987"/>
                    <a:gd name="connsiteY83" fmla="*/ 3876675 h 4496940"/>
                    <a:gd name="connsiteX84" fmla="*/ 697252 w 4519987"/>
                    <a:gd name="connsiteY84" fmla="*/ 3838575 h 4496940"/>
                    <a:gd name="connsiteX85" fmla="*/ 640102 w 4519987"/>
                    <a:gd name="connsiteY85" fmla="*/ 3781425 h 4496940"/>
                    <a:gd name="connsiteX86" fmla="*/ 611527 w 4519987"/>
                    <a:gd name="connsiteY86" fmla="*/ 3733800 h 4496940"/>
                    <a:gd name="connsiteX87" fmla="*/ 554377 w 4519987"/>
                    <a:gd name="connsiteY87" fmla="*/ 3657600 h 4496940"/>
                    <a:gd name="connsiteX88" fmla="*/ 525802 w 4519987"/>
                    <a:gd name="connsiteY88" fmla="*/ 3609975 h 4496940"/>
                    <a:gd name="connsiteX89" fmla="*/ 497227 w 4519987"/>
                    <a:gd name="connsiteY89" fmla="*/ 3552825 h 4496940"/>
                    <a:gd name="connsiteX90" fmla="*/ 440077 w 4519987"/>
                    <a:gd name="connsiteY90" fmla="*/ 3495675 h 4496940"/>
                    <a:gd name="connsiteX91" fmla="*/ 411502 w 4519987"/>
                    <a:gd name="connsiteY91" fmla="*/ 3448050 h 4496940"/>
                    <a:gd name="connsiteX92" fmla="*/ 278152 w 4519987"/>
                    <a:gd name="connsiteY92" fmla="*/ 3257550 h 4496940"/>
                    <a:gd name="connsiteX93" fmla="*/ 249577 w 4519987"/>
                    <a:gd name="connsiteY93" fmla="*/ 3200400 h 4496940"/>
                    <a:gd name="connsiteX94" fmla="*/ 240052 w 4519987"/>
                    <a:gd name="connsiteY94" fmla="*/ 3162300 h 4496940"/>
                    <a:gd name="connsiteX95" fmla="*/ 221002 w 4519987"/>
                    <a:gd name="connsiteY95" fmla="*/ 3105150 h 4496940"/>
                    <a:gd name="connsiteX96" fmla="*/ 173377 w 4519987"/>
                    <a:gd name="connsiteY96" fmla="*/ 3019425 h 4496940"/>
                    <a:gd name="connsiteX97" fmla="*/ 144802 w 4519987"/>
                    <a:gd name="connsiteY97" fmla="*/ 2924175 h 4496940"/>
                    <a:gd name="connsiteX98" fmla="*/ 68602 w 4519987"/>
                    <a:gd name="connsiteY98" fmla="*/ 2724150 h 4496940"/>
                    <a:gd name="connsiteX99" fmla="*/ 49552 w 4519987"/>
                    <a:gd name="connsiteY99" fmla="*/ 2638425 h 4496940"/>
                    <a:gd name="connsiteX100" fmla="*/ 40027 w 4519987"/>
                    <a:gd name="connsiteY100" fmla="*/ 2562225 h 4496940"/>
                    <a:gd name="connsiteX101" fmla="*/ 30502 w 4519987"/>
                    <a:gd name="connsiteY101" fmla="*/ 2514600 h 4496940"/>
                    <a:gd name="connsiteX102" fmla="*/ 11452 w 4519987"/>
                    <a:gd name="connsiteY102" fmla="*/ 2400300 h 4496940"/>
                    <a:gd name="connsiteX103" fmla="*/ 20977 w 4519987"/>
                    <a:gd name="connsiteY103" fmla="*/ 1905000 h 4496940"/>
                    <a:gd name="connsiteX104" fmla="*/ 30502 w 4519987"/>
                    <a:gd name="connsiteY104" fmla="*/ 1838325 h 4496940"/>
                    <a:gd name="connsiteX105" fmla="*/ 49552 w 4519987"/>
                    <a:gd name="connsiteY105" fmla="*/ 1781175 h 4496940"/>
                    <a:gd name="connsiteX106" fmla="*/ 59077 w 4519987"/>
                    <a:gd name="connsiteY106" fmla="*/ 1743075 h 4496940"/>
                    <a:gd name="connsiteX107" fmla="*/ 78127 w 4519987"/>
                    <a:gd name="connsiteY107" fmla="*/ 1685925 h 4496940"/>
                    <a:gd name="connsiteX108" fmla="*/ 87652 w 4519987"/>
                    <a:gd name="connsiteY108" fmla="*/ 1638300 h 4496940"/>
                    <a:gd name="connsiteX109" fmla="*/ 106702 w 4519987"/>
                    <a:gd name="connsiteY109" fmla="*/ 1590675 h 4496940"/>
                    <a:gd name="connsiteX110" fmla="*/ 135277 w 4519987"/>
                    <a:gd name="connsiteY110" fmla="*/ 1504950 h 4496940"/>
                    <a:gd name="connsiteX111" fmla="*/ 154327 w 4519987"/>
                    <a:gd name="connsiteY111" fmla="*/ 1419225 h 4496940"/>
                    <a:gd name="connsiteX112" fmla="*/ 230527 w 4519987"/>
                    <a:gd name="connsiteY112" fmla="*/ 1276350 h 4496940"/>
                    <a:gd name="connsiteX113" fmla="*/ 240052 w 4519987"/>
                    <a:gd name="connsiteY113" fmla="*/ 1247775 h 4496940"/>
                    <a:gd name="connsiteX114" fmla="*/ 268627 w 4519987"/>
                    <a:gd name="connsiteY114" fmla="*/ 1200150 h 4496940"/>
                    <a:gd name="connsiteX115" fmla="*/ 287677 w 4519987"/>
                    <a:gd name="connsiteY115" fmla="*/ 1152525 h 4496940"/>
                    <a:gd name="connsiteX116" fmla="*/ 316252 w 4519987"/>
                    <a:gd name="connsiteY116" fmla="*/ 1114425 h 4496940"/>
                    <a:gd name="connsiteX117" fmla="*/ 363877 w 4519987"/>
                    <a:gd name="connsiteY117" fmla="*/ 1038225 h 4496940"/>
                    <a:gd name="connsiteX118" fmla="*/ 382927 w 4519987"/>
                    <a:gd name="connsiteY118" fmla="*/ 1009650 h 4496940"/>
                    <a:gd name="connsiteX119" fmla="*/ 440077 w 4519987"/>
                    <a:gd name="connsiteY119" fmla="*/ 904875 h 4496940"/>
                    <a:gd name="connsiteX120" fmla="*/ 478177 w 4519987"/>
                    <a:gd name="connsiteY120" fmla="*/ 857250 h 4496940"/>
                    <a:gd name="connsiteX121" fmla="*/ 497227 w 4519987"/>
                    <a:gd name="connsiteY121" fmla="*/ 828675 h 4496940"/>
                    <a:gd name="connsiteX122" fmla="*/ 535327 w 4519987"/>
                    <a:gd name="connsiteY122" fmla="*/ 800100 h 4496940"/>
                    <a:gd name="connsiteX123" fmla="*/ 602002 w 4519987"/>
                    <a:gd name="connsiteY123" fmla="*/ 733425 h 4496940"/>
                    <a:gd name="connsiteX124" fmla="*/ 668677 w 4519987"/>
                    <a:gd name="connsiteY124" fmla="*/ 676275 h 4496940"/>
                    <a:gd name="connsiteX125" fmla="*/ 697252 w 4519987"/>
                    <a:gd name="connsiteY125" fmla="*/ 657225 h 4496940"/>
                    <a:gd name="connsiteX126" fmla="*/ 840127 w 4519987"/>
                    <a:gd name="connsiteY126" fmla="*/ 533400 h 4496940"/>
                    <a:gd name="connsiteX127" fmla="*/ 887752 w 4519987"/>
                    <a:gd name="connsiteY127" fmla="*/ 504825 h 4496940"/>
                    <a:gd name="connsiteX128" fmla="*/ 1167152 w 4519987"/>
                    <a:gd name="connsiteY128" fmla="*/ 311150 h 4496940"/>
                    <a:gd name="connsiteX129" fmla="*/ 1268752 w 4519987"/>
                    <a:gd name="connsiteY129" fmla="*/ 285750 h 4496940"/>
                    <a:gd name="connsiteX130" fmla="*/ 1411627 w 4519987"/>
                    <a:gd name="connsiteY130" fmla="*/ 190500 h 4496940"/>
                    <a:gd name="connsiteX131" fmla="*/ 1449727 w 4519987"/>
                    <a:gd name="connsiteY131" fmla="*/ 161925 h 4496940"/>
                    <a:gd name="connsiteX132" fmla="*/ 1525927 w 4519987"/>
                    <a:gd name="connsiteY132" fmla="*/ 152400 h 4496940"/>
                    <a:gd name="connsiteX133" fmla="*/ 1583077 w 4519987"/>
                    <a:gd name="connsiteY133" fmla="*/ 142875 h 4496940"/>
                    <a:gd name="connsiteX134" fmla="*/ 1716427 w 4519987"/>
                    <a:gd name="connsiteY134" fmla="*/ 123825 h 4496940"/>
                    <a:gd name="connsiteX135" fmla="*/ 1811677 w 4519987"/>
                    <a:gd name="connsiteY135" fmla="*/ 114300 h 4496940"/>
                    <a:gd name="connsiteX136" fmla="*/ 1859302 w 4519987"/>
                    <a:gd name="connsiteY136" fmla="*/ 104775 h 4496940"/>
                    <a:gd name="connsiteX137" fmla="*/ 1916452 w 4519987"/>
                    <a:gd name="connsiteY137" fmla="*/ 95250 h 4496940"/>
                    <a:gd name="connsiteX138" fmla="*/ 2030752 w 4519987"/>
                    <a:gd name="connsiteY138" fmla="*/ 66675 h 4496940"/>
                    <a:gd name="connsiteX139" fmla="*/ 2097427 w 4519987"/>
                    <a:gd name="connsiteY139" fmla="*/ 47625 h 4496940"/>
                    <a:gd name="connsiteX140" fmla="*/ 2164102 w 4519987"/>
                    <a:gd name="connsiteY140" fmla="*/ 38100 h 4496940"/>
                    <a:gd name="connsiteX141" fmla="*/ 2392702 w 4519987"/>
                    <a:gd name="connsiteY14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088152 w 4519987"/>
                    <a:gd name="connsiteY36" fmla="*/ 3495675 h 4496940"/>
                    <a:gd name="connsiteX37" fmla="*/ 4059577 w 4519987"/>
                    <a:gd name="connsiteY37" fmla="*/ 3533775 h 4496940"/>
                    <a:gd name="connsiteX38" fmla="*/ 4002427 w 4519987"/>
                    <a:gd name="connsiteY38" fmla="*/ 3600450 h 4496940"/>
                    <a:gd name="connsiteX39" fmla="*/ 3983377 w 4519987"/>
                    <a:gd name="connsiteY39" fmla="*/ 3629025 h 4496940"/>
                    <a:gd name="connsiteX40" fmla="*/ 3954802 w 4519987"/>
                    <a:gd name="connsiteY40" fmla="*/ 3648075 h 4496940"/>
                    <a:gd name="connsiteX41" fmla="*/ 3907177 w 4519987"/>
                    <a:gd name="connsiteY41" fmla="*/ 3686175 h 4496940"/>
                    <a:gd name="connsiteX42" fmla="*/ 3869077 w 4519987"/>
                    <a:gd name="connsiteY42" fmla="*/ 3724275 h 4496940"/>
                    <a:gd name="connsiteX43" fmla="*/ 3792877 w 4519987"/>
                    <a:gd name="connsiteY43" fmla="*/ 3781425 h 4496940"/>
                    <a:gd name="connsiteX44" fmla="*/ 3783352 w 4519987"/>
                    <a:gd name="connsiteY44" fmla="*/ 3810000 h 4496940"/>
                    <a:gd name="connsiteX45" fmla="*/ 3745252 w 4519987"/>
                    <a:gd name="connsiteY45" fmla="*/ 3819525 h 4496940"/>
                    <a:gd name="connsiteX46" fmla="*/ 3678577 w 4519987"/>
                    <a:gd name="connsiteY46" fmla="*/ 3848100 h 4496940"/>
                    <a:gd name="connsiteX47" fmla="*/ 3659527 w 4519987"/>
                    <a:gd name="connsiteY47" fmla="*/ 3971925 h 4496940"/>
                    <a:gd name="connsiteX48" fmla="*/ 3630952 w 4519987"/>
                    <a:gd name="connsiteY48" fmla="*/ 4010025 h 4496940"/>
                    <a:gd name="connsiteX49" fmla="*/ 3621427 w 4519987"/>
                    <a:gd name="connsiteY49" fmla="*/ 4038600 h 4496940"/>
                    <a:gd name="connsiteX50" fmla="*/ 3554752 w 4519987"/>
                    <a:gd name="connsiteY50" fmla="*/ 4095750 h 4496940"/>
                    <a:gd name="connsiteX51" fmla="*/ 3516652 w 4519987"/>
                    <a:gd name="connsiteY51" fmla="*/ 4114800 h 4496940"/>
                    <a:gd name="connsiteX52" fmla="*/ 3497602 w 4519987"/>
                    <a:gd name="connsiteY52" fmla="*/ 4143375 h 4496940"/>
                    <a:gd name="connsiteX53" fmla="*/ 3383302 w 4519987"/>
                    <a:gd name="connsiteY53" fmla="*/ 4210050 h 4496940"/>
                    <a:gd name="connsiteX54" fmla="*/ 3335677 w 4519987"/>
                    <a:gd name="connsiteY54" fmla="*/ 4238625 h 4496940"/>
                    <a:gd name="connsiteX55" fmla="*/ 3288052 w 4519987"/>
                    <a:gd name="connsiteY55" fmla="*/ 4248150 h 4496940"/>
                    <a:gd name="connsiteX56" fmla="*/ 3240427 w 4519987"/>
                    <a:gd name="connsiteY56" fmla="*/ 4267200 h 4496940"/>
                    <a:gd name="connsiteX57" fmla="*/ 3068977 w 4519987"/>
                    <a:gd name="connsiteY57" fmla="*/ 4286250 h 4496940"/>
                    <a:gd name="connsiteX58" fmla="*/ 2935627 w 4519987"/>
                    <a:gd name="connsiteY58" fmla="*/ 4333875 h 4496940"/>
                    <a:gd name="connsiteX59" fmla="*/ 2811802 w 4519987"/>
                    <a:gd name="connsiteY59" fmla="*/ 4371975 h 4496940"/>
                    <a:gd name="connsiteX60" fmla="*/ 2745127 w 4519987"/>
                    <a:gd name="connsiteY60" fmla="*/ 4410075 h 4496940"/>
                    <a:gd name="connsiteX61" fmla="*/ 2697502 w 4519987"/>
                    <a:gd name="connsiteY61" fmla="*/ 4429125 h 4496940"/>
                    <a:gd name="connsiteX62" fmla="*/ 2640352 w 4519987"/>
                    <a:gd name="connsiteY62" fmla="*/ 4457700 h 4496940"/>
                    <a:gd name="connsiteX63" fmla="*/ 2583202 w 4519987"/>
                    <a:gd name="connsiteY63" fmla="*/ 4467225 h 4496940"/>
                    <a:gd name="connsiteX64" fmla="*/ 2545102 w 4519987"/>
                    <a:gd name="connsiteY64" fmla="*/ 4486275 h 4496940"/>
                    <a:gd name="connsiteX65" fmla="*/ 2306977 w 4519987"/>
                    <a:gd name="connsiteY65" fmla="*/ 4476750 h 4496940"/>
                    <a:gd name="connsiteX66" fmla="*/ 2202202 w 4519987"/>
                    <a:gd name="connsiteY66" fmla="*/ 4457700 h 4496940"/>
                    <a:gd name="connsiteX67" fmla="*/ 2126002 w 4519987"/>
                    <a:gd name="connsiteY67" fmla="*/ 4429125 h 4496940"/>
                    <a:gd name="connsiteX68" fmla="*/ 1935502 w 4519987"/>
                    <a:gd name="connsiteY68" fmla="*/ 4400550 h 4496940"/>
                    <a:gd name="connsiteX69" fmla="*/ 1821202 w 4519987"/>
                    <a:gd name="connsiteY69" fmla="*/ 4371975 h 4496940"/>
                    <a:gd name="connsiteX70" fmla="*/ 1754527 w 4519987"/>
                    <a:gd name="connsiteY70" fmla="*/ 4352925 h 4496940"/>
                    <a:gd name="connsiteX71" fmla="*/ 1687852 w 4519987"/>
                    <a:gd name="connsiteY71" fmla="*/ 4343400 h 4496940"/>
                    <a:gd name="connsiteX72" fmla="*/ 1573552 w 4519987"/>
                    <a:gd name="connsiteY72" fmla="*/ 4305300 h 4496940"/>
                    <a:gd name="connsiteX73" fmla="*/ 1402102 w 4519987"/>
                    <a:gd name="connsiteY73" fmla="*/ 4276725 h 4496940"/>
                    <a:gd name="connsiteX74" fmla="*/ 1287802 w 4519987"/>
                    <a:gd name="connsiteY74" fmla="*/ 4229100 h 4496940"/>
                    <a:gd name="connsiteX75" fmla="*/ 1221127 w 4519987"/>
                    <a:gd name="connsiteY75" fmla="*/ 4200525 h 4496940"/>
                    <a:gd name="connsiteX76" fmla="*/ 1144927 w 4519987"/>
                    <a:gd name="connsiteY76" fmla="*/ 4171950 h 4496940"/>
                    <a:gd name="connsiteX77" fmla="*/ 1087777 w 4519987"/>
                    <a:gd name="connsiteY77" fmla="*/ 4143375 h 4496940"/>
                    <a:gd name="connsiteX78" fmla="*/ 1030627 w 4519987"/>
                    <a:gd name="connsiteY78" fmla="*/ 4124325 h 4496940"/>
                    <a:gd name="connsiteX79" fmla="*/ 925852 w 4519987"/>
                    <a:gd name="connsiteY79" fmla="*/ 4067175 h 4496940"/>
                    <a:gd name="connsiteX80" fmla="*/ 830602 w 4519987"/>
                    <a:gd name="connsiteY80" fmla="*/ 3981450 h 4496940"/>
                    <a:gd name="connsiteX81" fmla="*/ 763927 w 4519987"/>
                    <a:gd name="connsiteY81" fmla="*/ 3914775 h 4496940"/>
                    <a:gd name="connsiteX82" fmla="*/ 725827 w 4519987"/>
                    <a:gd name="connsiteY82" fmla="*/ 3876675 h 4496940"/>
                    <a:gd name="connsiteX83" fmla="*/ 697252 w 4519987"/>
                    <a:gd name="connsiteY83" fmla="*/ 3838575 h 4496940"/>
                    <a:gd name="connsiteX84" fmla="*/ 640102 w 4519987"/>
                    <a:gd name="connsiteY84" fmla="*/ 3781425 h 4496940"/>
                    <a:gd name="connsiteX85" fmla="*/ 611527 w 4519987"/>
                    <a:gd name="connsiteY85" fmla="*/ 3733800 h 4496940"/>
                    <a:gd name="connsiteX86" fmla="*/ 554377 w 4519987"/>
                    <a:gd name="connsiteY86" fmla="*/ 3657600 h 4496940"/>
                    <a:gd name="connsiteX87" fmla="*/ 525802 w 4519987"/>
                    <a:gd name="connsiteY87" fmla="*/ 3609975 h 4496940"/>
                    <a:gd name="connsiteX88" fmla="*/ 497227 w 4519987"/>
                    <a:gd name="connsiteY88" fmla="*/ 3552825 h 4496940"/>
                    <a:gd name="connsiteX89" fmla="*/ 440077 w 4519987"/>
                    <a:gd name="connsiteY89" fmla="*/ 3495675 h 4496940"/>
                    <a:gd name="connsiteX90" fmla="*/ 411502 w 4519987"/>
                    <a:gd name="connsiteY90" fmla="*/ 3448050 h 4496940"/>
                    <a:gd name="connsiteX91" fmla="*/ 278152 w 4519987"/>
                    <a:gd name="connsiteY91" fmla="*/ 3257550 h 4496940"/>
                    <a:gd name="connsiteX92" fmla="*/ 249577 w 4519987"/>
                    <a:gd name="connsiteY92" fmla="*/ 3200400 h 4496940"/>
                    <a:gd name="connsiteX93" fmla="*/ 240052 w 4519987"/>
                    <a:gd name="connsiteY93" fmla="*/ 3162300 h 4496940"/>
                    <a:gd name="connsiteX94" fmla="*/ 221002 w 4519987"/>
                    <a:gd name="connsiteY94" fmla="*/ 3105150 h 4496940"/>
                    <a:gd name="connsiteX95" fmla="*/ 173377 w 4519987"/>
                    <a:gd name="connsiteY95" fmla="*/ 3019425 h 4496940"/>
                    <a:gd name="connsiteX96" fmla="*/ 144802 w 4519987"/>
                    <a:gd name="connsiteY96" fmla="*/ 2924175 h 4496940"/>
                    <a:gd name="connsiteX97" fmla="*/ 68602 w 4519987"/>
                    <a:gd name="connsiteY97" fmla="*/ 2724150 h 4496940"/>
                    <a:gd name="connsiteX98" fmla="*/ 49552 w 4519987"/>
                    <a:gd name="connsiteY98" fmla="*/ 2638425 h 4496940"/>
                    <a:gd name="connsiteX99" fmla="*/ 40027 w 4519987"/>
                    <a:gd name="connsiteY99" fmla="*/ 2562225 h 4496940"/>
                    <a:gd name="connsiteX100" fmla="*/ 30502 w 4519987"/>
                    <a:gd name="connsiteY100" fmla="*/ 2514600 h 4496940"/>
                    <a:gd name="connsiteX101" fmla="*/ 11452 w 4519987"/>
                    <a:gd name="connsiteY101" fmla="*/ 2400300 h 4496940"/>
                    <a:gd name="connsiteX102" fmla="*/ 20977 w 4519987"/>
                    <a:gd name="connsiteY102" fmla="*/ 1905000 h 4496940"/>
                    <a:gd name="connsiteX103" fmla="*/ 30502 w 4519987"/>
                    <a:gd name="connsiteY103" fmla="*/ 1838325 h 4496940"/>
                    <a:gd name="connsiteX104" fmla="*/ 49552 w 4519987"/>
                    <a:gd name="connsiteY104" fmla="*/ 1781175 h 4496940"/>
                    <a:gd name="connsiteX105" fmla="*/ 59077 w 4519987"/>
                    <a:gd name="connsiteY105" fmla="*/ 1743075 h 4496940"/>
                    <a:gd name="connsiteX106" fmla="*/ 78127 w 4519987"/>
                    <a:gd name="connsiteY106" fmla="*/ 1685925 h 4496940"/>
                    <a:gd name="connsiteX107" fmla="*/ 87652 w 4519987"/>
                    <a:gd name="connsiteY107" fmla="*/ 1638300 h 4496940"/>
                    <a:gd name="connsiteX108" fmla="*/ 106702 w 4519987"/>
                    <a:gd name="connsiteY108" fmla="*/ 1590675 h 4496940"/>
                    <a:gd name="connsiteX109" fmla="*/ 135277 w 4519987"/>
                    <a:gd name="connsiteY109" fmla="*/ 1504950 h 4496940"/>
                    <a:gd name="connsiteX110" fmla="*/ 154327 w 4519987"/>
                    <a:gd name="connsiteY110" fmla="*/ 1419225 h 4496940"/>
                    <a:gd name="connsiteX111" fmla="*/ 230527 w 4519987"/>
                    <a:gd name="connsiteY111" fmla="*/ 1276350 h 4496940"/>
                    <a:gd name="connsiteX112" fmla="*/ 240052 w 4519987"/>
                    <a:gd name="connsiteY112" fmla="*/ 1247775 h 4496940"/>
                    <a:gd name="connsiteX113" fmla="*/ 268627 w 4519987"/>
                    <a:gd name="connsiteY113" fmla="*/ 1200150 h 4496940"/>
                    <a:gd name="connsiteX114" fmla="*/ 287677 w 4519987"/>
                    <a:gd name="connsiteY114" fmla="*/ 1152525 h 4496940"/>
                    <a:gd name="connsiteX115" fmla="*/ 316252 w 4519987"/>
                    <a:gd name="connsiteY115" fmla="*/ 1114425 h 4496940"/>
                    <a:gd name="connsiteX116" fmla="*/ 363877 w 4519987"/>
                    <a:gd name="connsiteY116" fmla="*/ 1038225 h 4496940"/>
                    <a:gd name="connsiteX117" fmla="*/ 382927 w 4519987"/>
                    <a:gd name="connsiteY117" fmla="*/ 1009650 h 4496940"/>
                    <a:gd name="connsiteX118" fmla="*/ 440077 w 4519987"/>
                    <a:gd name="connsiteY118" fmla="*/ 904875 h 4496940"/>
                    <a:gd name="connsiteX119" fmla="*/ 478177 w 4519987"/>
                    <a:gd name="connsiteY119" fmla="*/ 857250 h 4496940"/>
                    <a:gd name="connsiteX120" fmla="*/ 497227 w 4519987"/>
                    <a:gd name="connsiteY120" fmla="*/ 828675 h 4496940"/>
                    <a:gd name="connsiteX121" fmla="*/ 535327 w 4519987"/>
                    <a:gd name="connsiteY121" fmla="*/ 800100 h 4496940"/>
                    <a:gd name="connsiteX122" fmla="*/ 602002 w 4519987"/>
                    <a:gd name="connsiteY122" fmla="*/ 733425 h 4496940"/>
                    <a:gd name="connsiteX123" fmla="*/ 668677 w 4519987"/>
                    <a:gd name="connsiteY123" fmla="*/ 676275 h 4496940"/>
                    <a:gd name="connsiteX124" fmla="*/ 697252 w 4519987"/>
                    <a:gd name="connsiteY124" fmla="*/ 657225 h 4496940"/>
                    <a:gd name="connsiteX125" fmla="*/ 840127 w 4519987"/>
                    <a:gd name="connsiteY125" fmla="*/ 533400 h 4496940"/>
                    <a:gd name="connsiteX126" fmla="*/ 887752 w 4519987"/>
                    <a:gd name="connsiteY126" fmla="*/ 504825 h 4496940"/>
                    <a:gd name="connsiteX127" fmla="*/ 1167152 w 4519987"/>
                    <a:gd name="connsiteY127" fmla="*/ 311150 h 4496940"/>
                    <a:gd name="connsiteX128" fmla="*/ 1268752 w 4519987"/>
                    <a:gd name="connsiteY128" fmla="*/ 285750 h 4496940"/>
                    <a:gd name="connsiteX129" fmla="*/ 1411627 w 4519987"/>
                    <a:gd name="connsiteY129" fmla="*/ 190500 h 4496940"/>
                    <a:gd name="connsiteX130" fmla="*/ 1449727 w 4519987"/>
                    <a:gd name="connsiteY130" fmla="*/ 161925 h 4496940"/>
                    <a:gd name="connsiteX131" fmla="*/ 1525927 w 4519987"/>
                    <a:gd name="connsiteY131" fmla="*/ 152400 h 4496940"/>
                    <a:gd name="connsiteX132" fmla="*/ 1583077 w 4519987"/>
                    <a:gd name="connsiteY132" fmla="*/ 142875 h 4496940"/>
                    <a:gd name="connsiteX133" fmla="*/ 1716427 w 4519987"/>
                    <a:gd name="connsiteY133" fmla="*/ 123825 h 4496940"/>
                    <a:gd name="connsiteX134" fmla="*/ 1811677 w 4519987"/>
                    <a:gd name="connsiteY134" fmla="*/ 114300 h 4496940"/>
                    <a:gd name="connsiteX135" fmla="*/ 1859302 w 4519987"/>
                    <a:gd name="connsiteY135" fmla="*/ 104775 h 4496940"/>
                    <a:gd name="connsiteX136" fmla="*/ 1916452 w 4519987"/>
                    <a:gd name="connsiteY136" fmla="*/ 95250 h 4496940"/>
                    <a:gd name="connsiteX137" fmla="*/ 2030752 w 4519987"/>
                    <a:gd name="connsiteY137" fmla="*/ 66675 h 4496940"/>
                    <a:gd name="connsiteX138" fmla="*/ 2097427 w 4519987"/>
                    <a:gd name="connsiteY138" fmla="*/ 47625 h 4496940"/>
                    <a:gd name="connsiteX139" fmla="*/ 2164102 w 4519987"/>
                    <a:gd name="connsiteY139" fmla="*/ 38100 h 4496940"/>
                    <a:gd name="connsiteX140" fmla="*/ 2392702 w 4519987"/>
                    <a:gd name="connsiteY14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183402 w 4519987"/>
                    <a:gd name="connsiteY34" fmla="*/ 3400425 h 4496940"/>
                    <a:gd name="connsiteX35" fmla="*/ 4088152 w 4519987"/>
                    <a:gd name="connsiteY35" fmla="*/ 3495675 h 4496940"/>
                    <a:gd name="connsiteX36" fmla="*/ 4059577 w 4519987"/>
                    <a:gd name="connsiteY36" fmla="*/ 3533775 h 4496940"/>
                    <a:gd name="connsiteX37" fmla="*/ 4002427 w 4519987"/>
                    <a:gd name="connsiteY37" fmla="*/ 3600450 h 4496940"/>
                    <a:gd name="connsiteX38" fmla="*/ 3983377 w 4519987"/>
                    <a:gd name="connsiteY38" fmla="*/ 3629025 h 4496940"/>
                    <a:gd name="connsiteX39" fmla="*/ 3954802 w 4519987"/>
                    <a:gd name="connsiteY39" fmla="*/ 3648075 h 4496940"/>
                    <a:gd name="connsiteX40" fmla="*/ 3907177 w 4519987"/>
                    <a:gd name="connsiteY40" fmla="*/ 3686175 h 4496940"/>
                    <a:gd name="connsiteX41" fmla="*/ 3869077 w 4519987"/>
                    <a:gd name="connsiteY41" fmla="*/ 3724275 h 4496940"/>
                    <a:gd name="connsiteX42" fmla="*/ 3792877 w 4519987"/>
                    <a:gd name="connsiteY42" fmla="*/ 3781425 h 4496940"/>
                    <a:gd name="connsiteX43" fmla="*/ 3783352 w 4519987"/>
                    <a:gd name="connsiteY43" fmla="*/ 3810000 h 4496940"/>
                    <a:gd name="connsiteX44" fmla="*/ 3745252 w 4519987"/>
                    <a:gd name="connsiteY44" fmla="*/ 3819525 h 4496940"/>
                    <a:gd name="connsiteX45" fmla="*/ 3678577 w 4519987"/>
                    <a:gd name="connsiteY45" fmla="*/ 3848100 h 4496940"/>
                    <a:gd name="connsiteX46" fmla="*/ 3659527 w 4519987"/>
                    <a:gd name="connsiteY46" fmla="*/ 3971925 h 4496940"/>
                    <a:gd name="connsiteX47" fmla="*/ 3630952 w 4519987"/>
                    <a:gd name="connsiteY47" fmla="*/ 4010025 h 4496940"/>
                    <a:gd name="connsiteX48" fmla="*/ 3621427 w 4519987"/>
                    <a:gd name="connsiteY48" fmla="*/ 4038600 h 4496940"/>
                    <a:gd name="connsiteX49" fmla="*/ 3554752 w 4519987"/>
                    <a:gd name="connsiteY49" fmla="*/ 4095750 h 4496940"/>
                    <a:gd name="connsiteX50" fmla="*/ 3516652 w 4519987"/>
                    <a:gd name="connsiteY50" fmla="*/ 4114800 h 4496940"/>
                    <a:gd name="connsiteX51" fmla="*/ 3497602 w 4519987"/>
                    <a:gd name="connsiteY51" fmla="*/ 4143375 h 4496940"/>
                    <a:gd name="connsiteX52" fmla="*/ 3383302 w 4519987"/>
                    <a:gd name="connsiteY52" fmla="*/ 4210050 h 4496940"/>
                    <a:gd name="connsiteX53" fmla="*/ 3335677 w 4519987"/>
                    <a:gd name="connsiteY53" fmla="*/ 4238625 h 4496940"/>
                    <a:gd name="connsiteX54" fmla="*/ 3288052 w 4519987"/>
                    <a:gd name="connsiteY54" fmla="*/ 4248150 h 4496940"/>
                    <a:gd name="connsiteX55" fmla="*/ 3240427 w 4519987"/>
                    <a:gd name="connsiteY55" fmla="*/ 4267200 h 4496940"/>
                    <a:gd name="connsiteX56" fmla="*/ 3068977 w 4519987"/>
                    <a:gd name="connsiteY56" fmla="*/ 4286250 h 4496940"/>
                    <a:gd name="connsiteX57" fmla="*/ 2935627 w 4519987"/>
                    <a:gd name="connsiteY57" fmla="*/ 4333875 h 4496940"/>
                    <a:gd name="connsiteX58" fmla="*/ 2811802 w 4519987"/>
                    <a:gd name="connsiteY58" fmla="*/ 4371975 h 4496940"/>
                    <a:gd name="connsiteX59" fmla="*/ 2745127 w 4519987"/>
                    <a:gd name="connsiteY59" fmla="*/ 4410075 h 4496940"/>
                    <a:gd name="connsiteX60" fmla="*/ 2697502 w 4519987"/>
                    <a:gd name="connsiteY60" fmla="*/ 4429125 h 4496940"/>
                    <a:gd name="connsiteX61" fmla="*/ 2640352 w 4519987"/>
                    <a:gd name="connsiteY61" fmla="*/ 4457700 h 4496940"/>
                    <a:gd name="connsiteX62" fmla="*/ 2583202 w 4519987"/>
                    <a:gd name="connsiteY62" fmla="*/ 4467225 h 4496940"/>
                    <a:gd name="connsiteX63" fmla="*/ 2545102 w 4519987"/>
                    <a:gd name="connsiteY63" fmla="*/ 4486275 h 4496940"/>
                    <a:gd name="connsiteX64" fmla="*/ 2306977 w 4519987"/>
                    <a:gd name="connsiteY64" fmla="*/ 4476750 h 4496940"/>
                    <a:gd name="connsiteX65" fmla="*/ 2202202 w 4519987"/>
                    <a:gd name="connsiteY65" fmla="*/ 4457700 h 4496940"/>
                    <a:gd name="connsiteX66" fmla="*/ 2126002 w 4519987"/>
                    <a:gd name="connsiteY66" fmla="*/ 4429125 h 4496940"/>
                    <a:gd name="connsiteX67" fmla="*/ 1935502 w 4519987"/>
                    <a:gd name="connsiteY67" fmla="*/ 4400550 h 4496940"/>
                    <a:gd name="connsiteX68" fmla="*/ 1821202 w 4519987"/>
                    <a:gd name="connsiteY68" fmla="*/ 4371975 h 4496940"/>
                    <a:gd name="connsiteX69" fmla="*/ 1754527 w 4519987"/>
                    <a:gd name="connsiteY69" fmla="*/ 4352925 h 4496940"/>
                    <a:gd name="connsiteX70" fmla="*/ 1687852 w 4519987"/>
                    <a:gd name="connsiteY70" fmla="*/ 4343400 h 4496940"/>
                    <a:gd name="connsiteX71" fmla="*/ 1573552 w 4519987"/>
                    <a:gd name="connsiteY71" fmla="*/ 4305300 h 4496940"/>
                    <a:gd name="connsiteX72" fmla="*/ 1402102 w 4519987"/>
                    <a:gd name="connsiteY72" fmla="*/ 4276725 h 4496940"/>
                    <a:gd name="connsiteX73" fmla="*/ 1287802 w 4519987"/>
                    <a:gd name="connsiteY73" fmla="*/ 4229100 h 4496940"/>
                    <a:gd name="connsiteX74" fmla="*/ 1221127 w 4519987"/>
                    <a:gd name="connsiteY74" fmla="*/ 4200525 h 4496940"/>
                    <a:gd name="connsiteX75" fmla="*/ 1144927 w 4519987"/>
                    <a:gd name="connsiteY75" fmla="*/ 4171950 h 4496940"/>
                    <a:gd name="connsiteX76" fmla="*/ 1087777 w 4519987"/>
                    <a:gd name="connsiteY76" fmla="*/ 4143375 h 4496940"/>
                    <a:gd name="connsiteX77" fmla="*/ 1030627 w 4519987"/>
                    <a:gd name="connsiteY77" fmla="*/ 4124325 h 4496940"/>
                    <a:gd name="connsiteX78" fmla="*/ 925852 w 4519987"/>
                    <a:gd name="connsiteY78" fmla="*/ 4067175 h 4496940"/>
                    <a:gd name="connsiteX79" fmla="*/ 830602 w 4519987"/>
                    <a:gd name="connsiteY79" fmla="*/ 3981450 h 4496940"/>
                    <a:gd name="connsiteX80" fmla="*/ 763927 w 4519987"/>
                    <a:gd name="connsiteY80" fmla="*/ 3914775 h 4496940"/>
                    <a:gd name="connsiteX81" fmla="*/ 725827 w 4519987"/>
                    <a:gd name="connsiteY81" fmla="*/ 3876675 h 4496940"/>
                    <a:gd name="connsiteX82" fmla="*/ 697252 w 4519987"/>
                    <a:gd name="connsiteY82" fmla="*/ 3838575 h 4496940"/>
                    <a:gd name="connsiteX83" fmla="*/ 640102 w 4519987"/>
                    <a:gd name="connsiteY83" fmla="*/ 3781425 h 4496940"/>
                    <a:gd name="connsiteX84" fmla="*/ 611527 w 4519987"/>
                    <a:gd name="connsiteY84" fmla="*/ 3733800 h 4496940"/>
                    <a:gd name="connsiteX85" fmla="*/ 554377 w 4519987"/>
                    <a:gd name="connsiteY85" fmla="*/ 3657600 h 4496940"/>
                    <a:gd name="connsiteX86" fmla="*/ 525802 w 4519987"/>
                    <a:gd name="connsiteY86" fmla="*/ 3609975 h 4496940"/>
                    <a:gd name="connsiteX87" fmla="*/ 497227 w 4519987"/>
                    <a:gd name="connsiteY87" fmla="*/ 3552825 h 4496940"/>
                    <a:gd name="connsiteX88" fmla="*/ 440077 w 4519987"/>
                    <a:gd name="connsiteY88" fmla="*/ 3495675 h 4496940"/>
                    <a:gd name="connsiteX89" fmla="*/ 411502 w 4519987"/>
                    <a:gd name="connsiteY89" fmla="*/ 3448050 h 4496940"/>
                    <a:gd name="connsiteX90" fmla="*/ 278152 w 4519987"/>
                    <a:gd name="connsiteY90" fmla="*/ 3257550 h 4496940"/>
                    <a:gd name="connsiteX91" fmla="*/ 249577 w 4519987"/>
                    <a:gd name="connsiteY91" fmla="*/ 3200400 h 4496940"/>
                    <a:gd name="connsiteX92" fmla="*/ 240052 w 4519987"/>
                    <a:gd name="connsiteY92" fmla="*/ 3162300 h 4496940"/>
                    <a:gd name="connsiteX93" fmla="*/ 221002 w 4519987"/>
                    <a:gd name="connsiteY93" fmla="*/ 3105150 h 4496940"/>
                    <a:gd name="connsiteX94" fmla="*/ 173377 w 4519987"/>
                    <a:gd name="connsiteY94" fmla="*/ 3019425 h 4496940"/>
                    <a:gd name="connsiteX95" fmla="*/ 144802 w 4519987"/>
                    <a:gd name="connsiteY95" fmla="*/ 2924175 h 4496940"/>
                    <a:gd name="connsiteX96" fmla="*/ 68602 w 4519987"/>
                    <a:gd name="connsiteY96" fmla="*/ 2724150 h 4496940"/>
                    <a:gd name="connsiteX97" fmla="*/ 49552 w 4519987"/>
                    <a:gd name="connsiteY97" fmla="*/ 2638425 h 4496940"/>
                    <a:gd name="connsiteX98" fmla="*/ 40027 w 4519987"/>
                    <a:gd name="connsiteY98" fmla="*/ 2562225 h 4496940"/>
                    <a:gd name="connsiteX99" fmla="*/ 30502 w 4519987"/>
                    <a:gd name="connsiteY99" fmla="*/ 2514600 h 4496940"/>
                    <a:gd name="connsiteX100" fmla="*/ 11452 w 4519987"/>
                    <a:gd name="connsiteY100" fmla="*/ 2400300 h 4496940"/>
                    <a:gd name="connsiteX101" fmla="*/ 20977 w 4519987"/>
                    <a:gd name="connsiteY101" fmla="*/ 1905000 h 4496940"/>
                    <a:gd name="connsiteX102" fmla="*/ 30502 w 4519987"/>
                    <a:gd name="connsiteY102" fmla="*/ 1838325 h 4496940"/>
                    <a:gd name="connsiteX103" fmla="*/ 49552 w 4519987"/>
                    <a:gd name="connsiteY103" fmla="*/ 1781175 h 4496940"/>
                    <a:gd name="connsiteX104" fmla="*/ 59077 w 4519987"/>
                    <a:gd name="connsiteY104" fmla="*/ 1743075 h 4496940"/>
                    <a:gd name="connsiteX105" fmla="*/ 78127 w 4519987"/>
                    <a:gd name="connsiteY105" fmla="*/ 1685925 h 4496940"/>
                    <a:gd name="connsiteX106" fmla="*/ 87652 w 4519987"/>
                    <a:gd name="connsiteY106" fmla="*/ 1638300 h 4496940"/>
                    <a:gd name="connsiteX107" fmla="*/ 106702 w 4519987"/>
                    <a:gd name="connsiteY107" fmla="*/ 1590675 h 4496940"/>
                    <a:gd name="connsiteX108" fmla="*/ 135277 w 4519987"/>
                    <a:gd name="connsiteY108" fmla="*/ 1504950 h 4496940"/>
                    <a:gd name="connsiteX109" fmla="*/ 154327 w 4519987"/>
                    <a:gd name="connsiteY109" fmla="*/ 1419225 h 4496940"/>
                    <a:gd name="connsiteX110" fmla="*/ 230527 w 4519987"/>
                    <a:gd name="connsiteY110" fmla="*/ 1276350 h 4496940"/>
                    <a:gd name="connsiteX111" fmla="*/ 240052 w 4519987"/>
                    <a:gd name="connsiteY111" fmla="*/ 1247775 h 4496940"/>
                    <a:gd name="connsiteX112" fmla="*/ 268627 w 4519987"/>
                    <a:gd name="connsiteY112" fmla="*/ 1200150 h 4496940"/>
                    <a:gd name="connsiteX113" fmla="*/ 287677 w 4519987"/>
                    <a:gd name="connsiteY113" fmla="*/ 1152525 h 4496940"/>
                    <a:gd name="connsiteX114" fmla="*/ 316252 w 4519987"/>
                    <a:gd name="connsiteY114" fmla="*/ 1114425 h 4496940"/>
                    <a:gd name="connsiteX115" fmla="*/ 363877 w 4519987"/>
                    <a:gd name="connsiteY115" fmla="*/ 1038225 h 4496940"/>
                    <a:gd name="connsiteX116" fmla="*/ 382927 w 4519987"/>
                    <a:gd name="connsiteY116" fmla="*/ 1009650 h 4496940"/>
                    <a:gd name="connsiteX117" fmla="*/ 440077 w 4519987"/>
                    <a:gd name="connsiteY117" fmla="*/ 904875 h 4496940"/>
                    <a:gd name="connsiteX118" fmla="*/ 478177 w 4519987"/>
                    <a:gd name="connsiteY118" fmla="*/ 857250 h 4496940"/>
                    <a:gd name="connsiteX119" fmla="*/ 497227 w 4519987"/>
                    <a:gd name="connsiteY119" fmla="*/ 828675 h 4496940"/>
                    <a:gd name="connsiteX120" fmla="*/ 535327 w 4519987"/>
                    <a:gd name="connsiteY120" fmla="*/ 800100 h 4496940"/>
                    <a:gd name="connsiteX121" fmla="*/ 602002 w 4519987"/>
                    <a:gd name="connsiteY121" fmla="*/ 733425 h 4496940"/>
                    <a:gd name="connsiteX122" fmla="*/ 668677 w 4519987"/>
                    <a:gd name="connsiteY122" fmla="*/ 676275 h 4496940"/>
                    <a:gd name="connsiteX123" fmla="*/ 697252 w 4519987"/>
                    <a:gd name="connsiteY123" fmla="*/ 657225 h 4496940"/>
                    <a:gd name="connsiteX124" fmla="*/ 840127 w 4519987"/>
                    <a:gd name="connsiteY124" fmla="*/ 533400 h 4496940"/>
                    <a:gd name="connsiteX125" fmla="*/ 887752 w 4519987"/>
                    <a:gd name="connsiteY125" fmla="*/ 504825 h 4496940"/>
                    <a:gd name="connsiteX126" fmla="*/ 1167152 w 4519987"/>
                    <a:gd name="connsiteY126" fmla="*/ 311150 h 4496940"/>
                    <a:gd name="connsiteX127" fmla="*/ 1268752 w 4519987"/>
                    <a:gd name="connsiteY127" fmla="*/ 285750 h 4496940"/>
                    <a:gd name="connsiteX128" fmla="*/ 1411627 w 4519987"/>
                    <a:gd name="connsiteY128" fmla="*/ 190500 h 4496940"/>
                    <a:gd name="connsiteX129" fmla="*/ 1449727 w 4519987"/>
                    <a:gd name="connsiteY129" fmla="*/ 161925 h 4496940"/>
                    <a:gd name="connsiteX130" fmla="*/ 1525927 w 4519987"/>
                    <a:gd name="connsiteY130" fmla="*/ 152400 h 4496940"/>
                    <a:gd name="connsiteX131" fmla="*/ 1583077 w 4519987"/>
                    <a:gd name="connsiteY131" fmla="*/ 142875 h 4496940"/>
                    <a:gd name="connsiteX132" fmla="*/ 1716427 w 4519987"/>
                    <a:gd name="connsiteY132" fmla="*/ 123825 h 4496940"/>
                    <a:gd name="connsiteX133" fmla="*/ 1811677 w 4519987"/>
                    <a:gd name="connsiteY133" fmla="*/ 114300 h 4496940"/>
                    <a:gd name="connsiteX134" fmla="*/ 1859302 w 4519987"/>
                    <a:gd name="connsiteY134" fmla="*/ 104775 h 4496940"/>
                    <a:gd name="connsiteX135" fmla="*/ 1916452 w 4519987"/>
                    <a:gd name="connsiteY135" fmla="*/ 95250 h 4496940"/>
                    <a:gd name="connsiteX136" fmla="*/ 2030752 w 4519987"/>
                    <a:gd name="connsiteY136" fmla="*/ 66675 h 4496940"/>
                    <a:gd name="connsiteX137" fmla="*/ 2097427 w 4519987"/>
                    <a:gd name="connsiteY137" fmla="*/ 47625 h 4496940"/>
                    <a:gd name="connsiteX138" fmla="*/ 2164102 w 4519987"/>
                    <a:gd name="connsiteY138" fmla="*/ 38100 h 4496940"/>
                    <a:gd name="connsiteX139" fmla="*/ 2392702 w 4519987"/>
                    <a:gd name="connsiteY13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83377 w 4519987"/>
                    <a:gd name="connsiteY37" fmla="*/ 3629025 h 4496940"/>
                    <a:gd name="connsiteX38" fmla="*/ 3954802 w 4519987"/>
                    <a:gd name="connsiteY38" fmla="*/ 3648075 h 4496940"/>
                    <a:gd name="connsiteX39" fmla="*/ 3907177 w 4519987"/>
                    <a:gd name="connsiteY39" fmla="*/ 3686175 h 4496940"/>
                    <a:gd name="connsiteX40" fmla="*/ 3869077 w 4519987"/>
                    <a:gd name="connsiteY40" fmla="*/ 3724275 h 4496940"/>
                    <a:gd name="connsiteX41" fmla="*/ 3792877 w 4519987"/>
                    <a:gd name="connsiteY41" fmla="*/ 3781425 h 4496940"/>
                    <a:gd name="connsiteX42" fmla="*/ 3783352 w 4519987"/>
                    <a:gd name="connsiteY42" fmla="*/ 3810000 h 4496940"/>
                    <a:gd name="connsiteX43" fmla="*/ 3745252 w 4519987"/>
                    <a:gd name="connsiteY43" fmla="*/ 3819525 h 4496940"/>
                    <a:gd name="connsiteX44" fmla="*/ 3678577 w 4519987"/>
                    <a:gd name="connsiteY44" fmla="*/ 3848100 h 4496940"/>
                    <a:gd name="connsiteX45" fmla="*/ 3659527 w 4519987"/>
                    <a:gd name="connsiteY45" fmla="*/ 3971925 h 4496940"/>
                    <a:gd name="connsiteX46" fmla="*/ 3630952 w 4519987"/>
                    <a:gd name="connsiteY46" fmla="*/ 4010025 h 4496940"/>
                    <a:gd name="connsiteX47" fmla="*/ 3621427 w 4519987"/>
                    <a:gd name="connsiteY47" fmla="*/ 4038600 h 4496940"/>
                    <a:gd name="connsiteX48" fmla="*/ 3554752 w 4519987"/>
                    <a:gd name="connsiteY48" fmla="*/ 4095750 h 4496940"/>
                    <a:gd name="connsiteX49" fmla="*/ 3516652 w 4519987"/>
                    <a:gd name="connsiteY49" fmla="*/ 4114800 h 4496940"/>
                    <a:gd name="connsiteX50" fmla="*/ 3497602 w 4519987"/>
                    <a:gd name="connsiteY50" fmla="*/ 4143375 h 4496940"/>
                    <a:gd name="connsiteX51" fmla="*/ 3383302 w 4519987"/>
                    <a:gd name="connsiteY51" fmla="*/ 4210050 h 4496940"/>
                    <a:gd name="connsiteX52" fmla="*/ 3335677 w 4519987"/>
                    <a:gd name="connsiteY52" fmla="*/ 4238625 h 4496940"/>
                    <a:gd name="connsiteX53" fmla="*/ 3288052 w 4519987"/>
                    <a:gd name="connsiteY53" fmla="*/ 4248150 h 4496940"/>
                    <a:gd name="connsiteX54" fmla="*/ 3240427 w 4519987"/>
                    <a:gd name="connsiteY54" fmla="*/ 4267200 h 4496940"/>
                    <a:gd name="connsiteX55" fmla="*/ 3068977 w 4519987"/>
                    <a:gd name="connsiteY55" fmla="*/ 4286250 h 4496940"/>
                    <a:gd name="connsiteX56" fmla="*/ 2935627 w 4519987"/>
                    <a:gd name="connsiteY56" fmla="*/ 4333875 h 4496940"/>
                    <a:gd name="connsiteX57" fmla="*/ 2811802 w 4519987"/>
                    <a:gd name="connsiteY57" fmla="*/ 4371975 h 4496940"/>
                    <a:gd name="connsiteX58" fmla="*/ 2745127 w 4519987"/>
                    <a:gd name="connsiteY58" fmla="*/ 4410075 h 4496940"/>
                    <a:gd name="connsiteX59" fmla="*/ 2697502 w 4519987"/>
                    <a:gd name="connsiteY59" fmla="*/ 4429125 h 4496940"/>
                    <a:gd name="connsiteX60" fmla="*/ 2640352 w 4519987"/>
                    <a:gd name="connsiteY60" fmla="*/ 4457700 h 4496940"/>
                    <a:gd name="connsiteX61" fmla="*/ 2583202 w 4519987"/>
                    <a:gd name="connsiteY61" fmla="*/ 4467225 h 4496940"/>
                    <a:gd name="connsiteX62" fmla="*/ 2545102 w 4519987"/>
                    <a:gd name="connsiteY62" fmla="*/ 4486275 h 4496940"/>
                    <a:gd name="connsiteX63" fmla="*/ 2306977 w 4519987"/>
                    <a:gd name="connsiteY63" fmla="*/ 4476750 h 4496940"/>
                    <a:gd name="connsiteX64" fmla="*/ 2202202 w 4519987"/>
                    <a:gd name="connsiteY64" fmla="*/ 4457700 h 4496940"/>
                    <a:gd name="connsiteX65" fmla="*/ 2126002 w 4519987"/>
                    <a:gd name="connsiteY65" fmla="*/ 4429125 h 4496940"/>
                    <a:gd name="connsiteX66" fmla="*/ 1935502 w 4519987"/>
                    <a:gd name="connsiteY66" fmla="*/ 4400550 h 4496940"/>
                    <a:gd name="connsiteX67" fmla="*/ 1821202 w 4519987"/>
                    <a:gd name="connsiteY67" fmla="*/ 4371975 h 4496940"/>
                    <a:gd name="connsiteX68" fmla="*/ 1754527 w 4519987"/>
                    <a:gd name="connsiteY68" fmla="*/ 4352925 h 4496940"/>
                    <a:gd name="connsiteX69" fmla="*/ 1687852 w 4519987"/>
                    <a:gd name="connsiteY69" fmla="*/ 4343400 h 4496940"/>
                    <a:gd name="connsiteX70" fmla="*/ 1573552 w 4519987"/>
                    <a:gd name="connsiteY70" fmla="*/ 4305300 h 4496940"/>
                    <a:gd name="connsiteX71" fmla="*/ 1402102 w 4519987"/>
                    <a:gd name="connsiteY71" fmla="*/ 4276725 h 4496940"/>
                    <a:gd name="connsiteX72" fmla="*/ 1287802 w 4519987"/>
                    <a:gd name="connsiteY72" fmla="*/ 4229100 h 4496940"/>
                    <a:gd name="connsiteX73" fmla="*/ 1221127 w 4519987"/>
                    <a:gd name="connsiteY73" fmla="*/ 4200525 h 4496940"/>
                    <a:gd name="connsiteX74" fmla="*/ 1144927 w 4519987"/>
                    <a:gd name="connsiteY74" fmla="*/ 4171950 h 4496940"/>
                    <a:gd name="connsiteX75" fmla="*/ 1087777 w 4519987"/>
                    <a:gd name="connsiteY75" fmla="*/ 4143375 h 4496940"/>
                    <a:gd name="connsiteX76" fmla="*/ 1030627 w 4519987"/>
                    <a:gd name="connsiteY76" fmla="*/ 4124325 h 4496940"/>
                    <a:gd name="connsiteX77" fmla="*/ 925852 w 4519987"/>
                    <a:gd name="connsiteY77" fmla="*/ 4067175 h 4496940"/>
                    <a:gd name="connsiteX78" fmla="*/ 830602 w 4519987"/>
                    <a:gd name="connsiteY78" fmla="*/ 3981450 h 4496940"/>
                    <a:gd name="connsiteX79" fmla="*/ 763927 w 4519987"/>
                    <a:gd name="connsiteY79" fmla="*/ 3914775 h 4496940"/>
                    <a:gd name="connsiteX80" fmla="*/ 725827 w 4519987"/>
                    <a:gd name="connsiteY80" fmla="*/ 3876675 h 4496940"/>
                    <a:gd name="connsiteX81" fmla="*/ 697252 w 4519987"/>
                    <a:gd name="connsiteY81" fmla="*/ 3838575 h 4496940"/>
                    <a:gd name="connsiteX82" fmla="*/ 640102 w 4519987"/>
                    <a:gd name="connsiteY82" fmla="*/ 3781425 h 4496940"/>
                    <a:gd name="connsiteX83" fmla="*/ 611527 w 4519987"/>
                    <a:gd name="connsiteY83" fmla="*/ 3733800 h 4496940"/>
                    <a:gd name="connsiteX84" fmla="*/ 554377 w 4519987"/>
                    <a:gd name="connsiteY84" fmla="*/ 3657600 h 4496940"/>
                    <a:gd name="connsiteX85" fmla="*/ 525802 w 4519987"/>
                    <a:gd name="connsiteY85" fmla="*/ 3609975 h 4496940"/>
                    <a:gd name="connsiteX86" fmla="*/ 497227 w 4519987"/>
                    <a:gd name="connsiteY86" fmla="*/ 3552825 h 4496940"/>
                    <a:gd name="connsiteX87" fmla="*/ 440077 w 4519987"/>
                    <a:gd name="connsiteY87" fmla="*/ 3495675 h 4496940"/>
                    <a:gd name="connsiteX88" fmla="*/ 411502 w 4519987"/>
                    <a:gd name="connsiteY88" fmla="*/ 3448050 h 4496940"/>
                    <a:gd name="connsiteX89" fmla="*/ 278152 w 4519987"/>
                    <a:gd name="connsiteY89" fmla="*/ 3257550 h 4496940"/>
                    <a:gd name="connsiteX90" fmla="*/ 249577 w 4519987"/>
                    <a:gd name="connsiteY90" fmla="*/ 3200400 h 4496940"/>
                    <a:gd name="connsiteX91" fmla="*/ 240052 w 4519987"/>
                    <a:gd name="connsiteY91" fmla="*/ 3162300 h 4496940"/>
                    <a:gd name="connsiteX92" fmla="*/ 221002 w 4519987"/>
                    <a:gd name="connsiteY92" fmla="*/ 3105150 h 4496940"/>
                    <a:gd name="connsiteX93" fmla="*/ 173377 w 4519987"/>
                    <a:gd name="connsiteY93" fmla="*/ 3019425 h 4496940"/>
                    <a:gd name="connsiteX94" fmla="*/ 144802 w 4519987"/>
                    <a:gd name="connsiteY94" fmla="*/ 2924175 h 4496940"/>
                    <a:gd name="connsiteX95" fmla="*/ 68602 w 4519987"/>
                    <a:gd name="connsiteY95" fmla="*/ 2724150 h 4496940"/>
                    <a:gd name="connsiteX96" fmla="*/ 49552 w 4519987"/>
                    <a:gd name="connsiteY96" fmla="*/ 2638425 h 4496940"/>
                    <a:gd name="connsiteX97" fmla="*/ 40027 w 4519987"/>
                    <a:gd name="connsiteY97" fmla="*/ 2562225 h 4496940"/>
                    <a:gd name="connsiteX98" fmla="*/ 30502 w 4519987"/>
                    <a:gd name="connsiteY98" fmla="*/ 2514600 h 4496940"/>
                    <a:gd name="connsiteX99" fmla="*/ 11452 w 4519987"/>
                    <a:gd name="connsiteY99" fmla="*/ 2400300 h 4496940"/>
                    <a:gd name="connsiteX100" fmla="*/ 20977 w 4519987"/>
                    <a:gd name="connsiteY100" fmla="*/ 1905000 h 4496940"/>
                    <a:gd name="connsiteX101" fmla="*/ 30502 w 4519987"/>
                    <a:gd name="connsiteY101" fmla="*/ 1838325 h 4496940"/>
                    <a:gd name="connsiteX102" fmla="*/ 49552 w 4519987"/>
                    <a:gd name="connsiteY102" fmla="*/ 1781175 h 4496940"/>
                    <a:gd name="connsiteX103" fmla="*/ 59077 w 4519987"/>
                    <a:gd name="connsiteY103" fmla="*/ 1743075 h 4496940"/>
                    <a:gd name="connsiteX104" fmla="*/ 78127 w 4519987"/>
                    <a:gd name="connsiteY104" fmla="*/ 1685925 h 4496940"/>
                    <a:gd name="connsiteX105" fmla="*/ 87652 w 4519987"/>
                    <a:gd name="connsiteY105" fmla="*/ 1638300 h 4496940"/>
                    <a:gd name="connsiteX106" fmla="*/ 106702 w 4519987"/>
                    <a:gd name="connsiteY106" fmla="*/ 1590675 h 4496940"/>
                    <a:gd name="connsiteX107" fmla="*/ 135277 w 4519987"/>
                    <a:gd name="connsiteY107" fmla="*/ 1504950 h 4496940"/>
                    <a:gd name="connsiteX108" fmla="*/ 154327 w 4519987"/>
                    <a:gd name="connsiteY108" fmla="*/ 1419225 h 4496940"/>
                    <a:gd name="connsiteX109" fmla="*/ 230527 w 4519987"/>
                    <a:gd name="connsiteY109" fmla="*/ 1276350 h 4496940"/>
                    <a:gd name="connsiteX110" fmla="*/ 240052 w 4519987"/>
                    <a:gd name="connsiteY110" fmla="*/ 1247775 h 4496940"/>
                    <a:gd name="connsiteX111" fmla="*/ 268627 w 4519987"/>
                    <a:gd name="connsiteY111" fmla="*/ 1200150 h 4496940"/>
                    <a:gd name="connsiteX112" fmla="*/ 287677 w 4519987"/>
                    <a:gd name="connsiteY112" fmla="*/ 1152525 h 4496940"/>
                    <a:gd name="connsiteX113" fmla="*/ 316252 w 4519987"/>
                    <a:gd name="connsiteY113" fmla="*/ 1114425 h 4496940"/>
                    <a:gd name="connsiteX114" fmla="*/ 363877 w 4519987"/>
                    <a:gd name="connsiteY114" fmla="*/ 1038225 h 4496940"/>
                    <a:gd name="connsiteX115" fmla="*/ 382927 w 4519987"/>
                    <a:gd name="connsiteY115" fmla="*/ 1009650 h 4496940"/>
                    <a:gd name="connsiteX116" fmla="*/ 440077 w 4519987"/>
                    <a:gd name="connsiteY116" fmla="*/ 904875 h 4496940"/>
                    <a:gd name="connsiteX117" fmla="*/ 478177 w 4519987"/>
                    <a:gd name="connsiteY117" fmla="*/ 857250 h 4496940"/>
                    <a:gd name="connsiteX118" fmla="*/ 497227 w 4519987"/>
                    <a:gd name="connsiteY118" fmla="*/ 828675 h 4496940"/>
                    <a:gd name="connsiteX119" fmla="*/ 535327 w 4519987"/>
                    <a:gd name="connsiteY119" fmla="*/ 800100 h 4496940"/>
                    <a:gd name="connsiteX120" fmla="*/ 602002 w 4519987"/>
                    <a:gd name="connsiteY120" fmla="*/ 733425 h 4496940"/>
                    <a:gd name="connsiteX121" fmla="*/ 668677 w 4519987"/>
                    <a:gd name="connsiteY121" fmla="*/ 676275 h 4496940"/>
                    <a:gd name="connsiteX122" fmla="*/ 697252 w 4519987"/>
                    <a:gd name="connsiteY122" fmla="*/ 657225 h 4496940"/>
                    <a:gd name="connsiteX123" fmla="*/ 840127 w 4519987"/>
                    <a:gd name="connsiteY123" fmla="*/ 533400 h 4496940"/>
                    <a:gd name="connsiteX124" fmla="*/ 887752 w 4519987"/>
                    <a:gd name="connsiteY124" fmla="*/ 504825 h 4496940"/>
                    <a:gd name="connsiteX125" fmla="*/ 1167152 w 4519987"/>
                    <a:gd name="connsiteY125" fmla="*/ 311150 h 4496940"/>
                    <a:gd name="connsiteX126" fmla="*/ 1268752 w 4519987"/>
                    <a:gd name="connsiteY126" fmla="*/ 285750 h 4496940"/>
                    <a:gd name="connsiteX127" fmla="*/ 1411627 w 4519987"/>
                    <a:gd name="connsiteY127" fmla="*/ 190500 h 4496940"/>
                    <a:gd name="connsiteX128" fmla="*/ 1449727 w 4519987"/>
                    <a:gd name="connsiteY128" fmla="*/ 161925 h 4496940"/>
                    <a:gd name="connsiteX129" fmla="*/ 1525927 w 4519987"/>
                    <a:gd name="connsiteY129" fmla="*/ 152400 h 4496940"/>
                    <a:gd name="connsiteX130" fmla="*/ 1583077 w 4519987"/>
                    <a:gd name="connsiteY130" fmla="*/ 142875 h 4496940"/>
                    <a:gd name="connsiteX131" fmla="*/ 1716427 w 4519987"/>
                    <a:gd name="connsiteY131" fmla="*/ 123825 h 4496940"/>
                    <a:gd name="connsiteX132" fmla="*/ 1811677 w 4519987"/>
                    <a:gd name="connsiteY132" fmla="*/ 114300 h 4496940"/>
                    <a:gd name="connsiteX133" fmla="*/ 1859302 w 4519987"/>
                    <a:gd name="connsiteY133" fmla="*/ 104775 h 4496940"/>
                    <a:gd name="connsiteX134" fmla="*/ 1916452 w 4519987"/>
                    <a:gd name="connsiteY134" fmla="*/ 95250 h 4496940"/>
                    <a:gd name="connsiteX135" fmla="*/ 2030752 w 4519987"/>
                    <a:gd name="connsiteY135" fmla="*/ 66675 h 4496940"/>
                    <a:gd name="connsiteX136" fmla="*/ 2097427 w 4519987"/>
                    <a:gd name="connsiteY136" fmla="*/ 47625 h 4496940"/>
                    <a:gd name="connsiteX137" fmla="*/ 2164102 w 4519987"/>
                    <a:gd name="connsiteY137" fmla="*/ 38100 h 4496940"/>
                    <a:gd name="connsiteX138" fmla="*/ 2392702 w 4519987"/>
                    <a:gd name="connsiteY13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869077 w 4519987"/>
                    <a:gd name="connsiteY39" fmla="*/ 3724275 h 4496940"/>
                    <a:gd name="connsiteX40" fmla="*/ 3792877 w 4519987"/>
                    <a:gd name="connsiteY40" fmla="*/ 3781425 h 4496940"/>
                    <a:gd name="connsiteX41" fmla="*/ 3783352 w 4519987"/>
                    <a:gd name="connsiteY41" fmla="*/ 3810000 h 4496940"/>
                    <a:gd name="connsiteX42" fmla="*/ 3745252 w 4519987"/>
                    <a:gd name="connsiteY42" fmla="*/ 3819525 h 4496940"/>
                    <a:gd name="connsiteX43" fmla="*/ 3678577 w 4519987"/>
                    <a:gd name="connsiteY43" fmla="*/ 3848100 h 4496940"/>
                    <a:gd name="connsiteX44" fmla="*/ 3659527 w 4519987"/>
                    <a:gd name="connsiteY44" fmla="*/ 3971925 h 4496940"/>
                    <a:gd name="connsiteX45" fmla="*/ 3630952 w 4519987"/>
                    <a:gd name="connsiteY45" fmla="*/ 4010025 h 4496940"/>
                    <a:gd name="connsiteX46" fmla="*/ 3621427 w 4519987"/>
                    <a:gd name="connsiteY46" fmla="*/ 4038600 h 4496940"/>
                    <a:gd name="connsiteX47" fmla="*/ 3554752 w 4519987"/>
                    <a:gd name="connsiteY47" fmla="*/ 4095750 h 4496940"/>
                    <a:gd name="connsiteX48" fmla="*/ 3516652 w 4519987"/>
                    <a:gd name="connsiteY48" fmla="*/ 4114800 h 4496940"/>
                    <a:gd name="connsiteX49" fmla="*/ 3497602 w 4519987"/>
                    <a:gd name="connsiteY49" fmla="*/ 4143375 h 4496940"/>
                    <a:gd name="connsiteX50" fmla="*/ 3383302 w 4519987"/>
                    <a:gd name="connsiteY50" fmla="*/ 4210050 h 4496940"/>
                    <a:gd name="connsiteX51" fmla="*/ 3335677 w 4519987"/>
                    <a:gd name="connsiteY51" fmla="*/ 4238625 h 4496940"/>
                    <a:gd name="connsiteX52" fmla="*/ 3288052 w 4519987"/>
                    <a:gd name="connsiteY52" fmla="*/ 4248150 h 4496940"/>
                    <a:gd name="connsiteX53" fmla="*/ 3240427 w 4519987"/>
                    <a:gd name="connsiteY53" fmla="*/ 4267200 h 4496940"/>
                    <a:gd name="connsiteX54" fmla="*/ 3068977 w 4519987"/>
                    <a:gd name="connsiteY54" fmla="*/ 4286250 h 4496940"/>
                    <a:gd name="connsiteX55" fmla="*/ 2935627 w 4519987"/>
                    <a:gd name="connsiteY55" fmla="*/ 4333875 h 4496940"/>
                    <a:gd name="connsiteX56" fmla="*/ 2811802 w 4519987"/>
                    <a:gd name="connsiteY56" fmla="*/ 4371975 h 4496940"/>
                    <a:gd name="connsiteX57" fmla="*/ 2745127 w 4519987"/>
                    <a:gd name="connsiteY57" fmla="*/ 4410075 h 4496940"/>
                    <a:gd name="connsiteX58" fmla="*/ 2697502 w 4519987"/>
                    <a:gd name="connsiteY58" fmla="*/ 4429125 h 4496940"/>
                    <a:gd name="connsiteX59" fmla="*/ 2640352 w 4519987"/>
                    <a:gd name="connsiteY59" fmla="*/ 4457700 h 4496940"/>
                    <a:gd name="connsiteX60" fmla="*/ 2583202 w 4519987"/>
                    <a:gd name="connsiteY60" fmla="*/ 4467225 h 4496940"/>
                    <a:gd name="connsiteX61" fmla="*/ 2545102 w 4519987"/>
                    <a:gd name="connsiteY61" fmla="*/ 4486275 h 4496940"/>
                    <a:gd name="connsiteX62" fmla="*/ 2306977 w 4519987"/>
                    <a:gd name="connsiteY62" fmla="*/ 4476750 h 4496940"/>
                    <a:gd name="connsiteX63" fmla="*/ 2202202 w 4519987"/>
                    <a:gd name="connsiteY63" fmla="*/ 4457700 h 4496940"/>
                    <a:gd name="connsiteX64" fmla="*/ 2126002 w 4519987"/>
                    <a:gd name="connsiteY64" fmla="*/ 4429125 h 4496940"/>
                    <a:gd name="connsiteX65" fmla="*/ 1935502 w 4519987"/>
                    <a:gd name="connsiteY65" fmla="*/ 4400550 h 4496940"/>
                    <a:gd name="connsiteX66" fmla="*/ 1821202 w 4519987"/>
                    <a:gd name="connsiteY66" fmla="*/ 4371975 h 4496940"/>
                    <a:gd name="connsiteX67" fmla="*/ 1754527 w 4519987"/>
                    <a:gd name="connsiteY67" fmla="*/ 4352925 h 4496940"/>
                    <a:gd name="connsiteX68" fmla="*/ 1687852 w 4519987"/>
                    <a:gd name="connsiteY68" fmla="*/ 4343400 h 4496940"/>
                    <a:gd name="connsiteX69" fmla="*/ 1573552 w 4519987"/>
                    <a:gd name="connsiteY69" fmla="*/ 4305300 h 4496940"/>
                    <a:gd name="connsiteX70" fmla="*/ 1402102 w 4519987"/>
                    <a:gd name="connsiteY70" fmla="*/ 4276725 h 4496940"/>
                    <a:gd name="connsiteX71" fmla="*/ 1287802 w 4519987"/>
                    <a:gd name="connsiteY71" fmla="*/ 4229100 h 4496940"/>
                    <a:gd name="connsiteX72" fmla="*/ 1221127 w 4519987"/>
                    <a:gd name="connsiteY72" fmla="*/ 4200525 h 4496940"/>
                    <a:gd name="connsiteX73" fmla="*/ 1144927 w 4519987"/>
                    <a:gd name="connsiteY73" fmla="*/ 4171950 h 4496940"/>
                    <a:gd name="connsiteX74" fmla="*/ 1087777 w 4519987"/>
                    <a:gd name="connsiteY74" fmla="*/ 4143375 h 4496940"/>
                    <a:gd name="connsiteX75" fmla="*/ 1030627 w 4519987"/>
                    <a:gd name="connsiteY75" fmla="*/ 4124325 h 4496940"/>
                    <a:gd name="connsiteX76" fmla="*/ 925852 w 4519987"/>
                    <a:gd name="connsiteY76" fmla="*/ 4067175 h 4496940"/>
                    <a:gd name="connsiteX77" fmla="*/ 830602 w 4519987"/>
                    <a:gd name="connsiteY77" fmla="*/ 3981450 h 4496940"/>
                    <a:gd name="connsiteX78" fmla="*/ 763927 w 4519987"/>
                    <a:gd name="connsiteY78" fmla="*/ 3914775 h 4496940"/>
                    <a:gd name="connsiteX79" fmla="*/ 725827 w 4519987"/>
                    <a:gd name="connsiteY79" fmla="*/ 3876675 h 4496940"/>
                    <a:gd name="connsiteX80" fmla="*/ 697252 w 4519987"/>
                    <a:gd name="connsiteY80" fmla="*/ 3838575 h 4496940"/>
                    <a:gd name="connsiteX81" fmla="*/ 640102 w 4519987"/>
                    <a:gd name="connsiteY81" fmla="*/ 3781425 h 4496940"/>
                    <a:gd name="connsiteX82" fmla="*/ 611527 w 4519987"/>
                    <a:gd name="connsiteY82" fmla="*/ 3733800 h 4496940"/>
                    <a:gd name="connsiteX83" fmla="*/ 554377 w 4519987"/>
                    <a:gd name="connsiteY83" fmla="*/ 3657600 h 4496940"/>
                    <a:gd name="connsiteX84" fmla="*/ 525802 w 4519987"/>
                    <a:gd name="connsiteY84" fmla="*/ 3609975 h 4496940"/>
                    <a:gd name="connsiteX85" fmla="*/ 497227 w 4519987"/>
                    <a:gd name="connsiteY85" fmla="*/ 3552825 h 4496940"/>
                    <a:gd name="connsiteX86" fmla="*/ 440077 w 4519987"/>
                    <a:gd name="connsiteY86" fmla="*/ 3495675 h 4496940"/>
                    <a:gd name="connsiteX87" fmla="*/ 411502 w 4519987"/>
                    <a:gd name="connsiteY87" fmla="*/ 3448050 h 4496940"/>
                    <a:gd name="connsiteX88" fmla="*/ 278152 w 4519987"/>
                    <a:gd name="connsiteY88" fmla="*/ 3257550 h 4496940"/>
                    <a:gd name="connsiteX89" fmla="*/ 249577 w 4519987"/>
                    <a:gd name="connsiteY89" fmla="*/ 3200400 h 4496940"/>
                    <a:gd name="connsiteX90" fmla="*/ 240052 w 4519987"/>
                    <a:gd name="connsiteY90" fmla="*/ 3162300 h 4496940"/>
                    <a:gd name="connsiteX91" fmla="*/ 221002 w 4519987"/>
                    <a:gd name="connsiteY91" fmla="*/ 3105150 h 4496940"/>
                    <a:gd name="connsiteX92" fmla="*/ 173377 w 4519987"/>
                    <a:gd name="connsiteY92" fmla="*/ 3019425 h 4496940"/>
                    <a:gd name="connsiteX93" fmla="*/ 144802 w 4519987"/>
                    <a:gd name="connsiteY93" fmla="*/ 2924175 h 4496940"/>
                    <a:gd name="connsiteX94" fmla="*/ 68602 w 4519987"/>
                    <a:gd name="connsiteY94" fmla="*/ 2724150 h 4496940"/>
                    <a:gd name="connsiteX95" fmla="*/ 49552 w 4519987"/>
                    <a:gd name="connsiteY95" fmla="*/ 2638425 h 4496940"/>
                    <a:gd name="connsiteX96" fmla="*/ 40027 w 4519987"/>
                    <a:gd name="connsiteY96" fmla="*/ 2562225 h 4496940"/>
                    <a:gd name="connsiteX97" fmla="*/ 30502 w 4519987"/>
                    <a:gd name="connsiteY97" fmla="*/ 2514600 h 4496940"/>
                    <a:gd name="connsiteX98" fmla="*/ 11452 w 4519987"/>
                    <a:gd name="connsiteY98" fmla="*/ 2400300 h 4496940"/>
                    <a:gd name="connsiteX99" fmla="*/ 20977 w 4519987"/>
                    <a:gd name="connsiteY99" fmla="*/ 1905000 h 4496940"/>
                    <a:gd name="connsiteX100" fmla="*/ 30502 w 4519987"/>
                    <a:gd name="connsiteY100" fmla="*/ 1838325 h 4496940"/>
                    <a:gd name="connsiteX101" fmla="*/ 49552 w 4519987"/>
                    <a:gd name="connsiteY101" fmla="*/ 1781175 h 4496940"/>
                    <a:gd name="connsiteX102" fmla="*/ 59077 w 4519987"/>
                    <a:gd name="connsiteY102" fmla="*/ 1743075 h 4496940"/>
                    <a:gd name="connsiteX103" fmla="*/ 78127 w 4519987"/>
                    <a:gd name="connsiteY103" fmla="*/ 1685925 h 4496940"/>
                    <a:gd name="connsiteX104" fmla="*/ 87652 w 4519987"/>
                    <a:gd name="connsiteY104" fmla="*/ 1638300 h 4496940"/>
                    <a:gd name="connsiteX105" fmla="*/ 106702 w 4519987"/>
                    <a:gd name="connsiteY105" fmla="*/ 1590675 h 4496940"/>
                    <a:gd name="connsiteX106" fmla="*/ 135277 w 4519987"/>
                    <a:gd name="connsiteY106" fmla="*/ 1504950 h 4496940"/>
                    <a:gd name="connsiteX107" fmla="*/ 154327 w 4519987"/>
                    <a:gd name="connsiteY107" fmla="*/ 1419225 h 4496940"/>
                    <a:gd name="connsiteX108" fmla="*/ 230527 w 4519987"/>
                    <a:gd name="connsiteY108" fmla="*/ 1276350 h 4496940"/>
                    <a:gd name="connsiteX109" fmla="*/ 240052 w 4519987"/>
                    <a:gd name="connsiteY109" fmla="*/ 1247775 h 4496940"/>
                    <a:gd name="connsiteX110" fmla="*/ 268627 w 4519987"/>
                    <a:gd name="connsiteY110" fmla="*/ 1200150 h 4496940"/>
                    <a:gd name="connsiteX111" fmla="*/ 287677 w 4519987"/>
                    <a:gd name="connsiteY111" fmla="*/ 1152525 h 4496940"/>
                    <a:gd name="connsiteX112" fmla="*/ 316252 w 4519987"/>
                    <a:gd name="connsiteY112" fmla="*/ 1114425 h 4496940"/>
                    <a:gd name="connsiteX113" fmla="*/ 363877 w 4519987"/>
                    <a:gd name="connsiteY113" fmla="*/ 1038225 h 4496940"/>
                    <a:gd name="connsiteX114" fmla="*/ 382927 w 4519987"/>
                    <a:gd name="connsiteY114" fmla="*/ 1009650 h 4496940"/>
                    <a:gd name="connsiteX115" fmla="*/ 440077 w 4519987"/>
                    <a:gd name="connsiteY115" fmla="*/ 904875 h 4496940"/>
                    <a:gd name="connsiteX116" fmla="*/ 478177 w 4519987"/>
                    <a:gd name="connsiteY116" fmla="*/ 857250 h 4496940"/>
                    <a:gd name="connsiteX117" fmla="*/ 497227 w 4519987"/>
                    <a:gd name="connsiteY117" fmla="*/ 828675 h 4496940"/>
                    <a:gd name="connsiteX118" fmla="*/ 535327 w 4519987"/>
                    <a:gd name="connsiteY118" fmla="*/ 800100 h 4496940"/>
                    <a:gd name="connsiteX119" fmla="*/ 602002 w 4519987"/>
                    <a:gd name="connsiteY119" fmla="*/ 733425 h 4496940"/>
                    <a:gd name="connsiteX120" fmla="*/ 668677 w 4519987"/>
                    <a:gd name="connsiteY120" fmla="*/ 676275 h 4496940"/>
                    <a:gd name="connsiteX121" fmla="*/ 697252 w 4519987"/>
                    <a:gd name="connsiteY121" fmla="*/ 657225 h 4496940"/>
                    <a:gd name="connsiteX122" fmla="*/ 840127 w 4519987"/>
                    <a:gd name="connsiteY122" fmla="*/ 533400 h 4496940"/>
                    <a:gd name="connsiteX123" fmla="*/ 887752 w 4519987"/>
                    <a:gd name="connsiteY123" fmla="*/ 504825 h 4496940"/>
                    <a:gd name="connsiteX124" fmla="*/ 1167152 w 4519987"/>
                    <a:gd name="connsiteY124" fmla="*/ 311150 h 4496940"/>
                    <a:gd name="connsiteX125" fmla="*/ 1268752 w 4519987"/>
                    <a:gd name="connsiteY125" fmla="*/ 285750 h 4496940"/>
                    <a:gd name="connsiteX126" fmla="*/ 1411627 w 4519987"/>
                    <a:gd name="connsiteY126" fmla="*/ 190500 h 4496940"/>
                    <a:gd name="connsiteX127" fmla="*/ 1449727 w 4519987"/>
                    <a:gd name="connsiteY127" fmla="*/ 161925 h 4496940"/>
                    <a:gd name="connsiteX128" fmla="*/ 1525927 w 4519987"/>
                    <a:gd name="connsiteY128" fmla="*/ 152400 h 4496940"/>
                    <a:gd name="connsiteX129" fmla="*/ 1583077 w 4519987"/>
                    <a:gd name="connsiteY129" fmla="*/ 142875 h 4496940"/>
                    <a:gd name="connsiteX130" fmla="*/ 1716427 w 4519987"/>
                    <a:gd name="connsiteY130" fmla="*/ 123825 h 4496940"/>
                    <a:gd name="connsiteX131" fmla="*/ 1811677 w 4519987"/>
                    <a:gd name="connsiteY131" fmla="*/ 114300 h 4496940"/>
                    <a:gd name="connsiteX132" fmla="*/ 1859302 w 4519987"/>
                    <a:gd name="connsiteY132" fmla="*/ 104775 h 4496940"/>
                    <a:gd name="connsiteX133" fmla="*/ 1916452 w 4519987"/>
                    <a:gd name="connsiteY133" fmla="*/ 95250 h 4496940"/>
                    <a:gd name="connsiteX134" fmla="*/ 2030752 w 4519987"/>
                    <a:gd name="connsiteY134" fmla="*/ 66675 h 4496940"/>
                    <a:gd name="connsiteX135" fmla="*/ 2097427 w 4519987"/>
                    <a:gd name="connsiteY135" fmla="*/ 47625 h 4496940"/>
                    <a:gd name="connsiteX136" fmla="*/ 2164102 w 4519987"/>
                    <a:gd name="connsiteY136" fmla="*/ 38100 h 4496940"/>
                    <a:gd name="connsiteX137" fmla="*/ 2392702 w 4519987"/>
                    <a:gd name="connsiteY13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745252 w 4519987"/>
                    <a:gd name="connsiteY41" fmla="*/ 3819525 h 4496940"/>
                    <a:gd name="connsiteX42" fmla="*/ 3678577 w 4519987"/>
                    <a:gd name="connsiteY42" fmla="*/ 3848100 h 4496940"/>
                    <a:gd name="connsiteX43" fmla="*/ 3659527 w 4519987"/>
                    <a:gd name="connsiteY43" fmla="*/ 3971925 h 4496940"/>
                    <a:gd name="connsiteX44" fmla="*/ 3630952 w 4519987"/>
                    <a:gd name="connsiteY44" fmla="*/ 4010025 h 4496940"/>
                    <a:gd name="connsiteX45" fmla="*/ 3621427 w 4519987"/>
                    <a:gd name="connsiteY45" fmla="*/ 4038600 h 4496940"/>
                    <a:gd name="connsiteX46" fmla="*/ 3554752 w 4519987"/>
                    <a:gd name="connsiteY46" fmla="*/ 4095750 h 4496940"/>
                    <a:gd name="connsiteX47" fmla="*/ 3516652 w 4519987"/>
                    <a:gd name="connsiteY47" fmla="*/ 4114800 h 4496940"/>
                    <a:gd name="connsiteX48" fmla="*/ 3497602 w 4519987"/>
                    <a:gd name="connsiteY48" fmla="*/ 4143375 h 4496940"/>
                    <a:gd name="connsiteX49" fmla="*/ 3383302 w 4519987"/>
                    <a:gd name="connsiteY49" fmla="*/ 4210050 h 4496940"/>
                    <a:gd name="connsiteX50" fmla="*/ 3335677 w 4519987"/>
                    <a:gd name="connsiteY50" fmla="*/ 4238625 h 4496940"/>
                    <a:gd name="connsiteX51" fmla="*/ 3288052 w 4519987"/>
                    <a:gd name="connsiteY51" fmla="*/ 4248150 h 4496940"/>
                    <a:gd name="connsiteX52" fmla="*/ 3240427 w 4519987"/>
                    <a:gd name="connsiteY52" fmla="*/ 4267200 h 4496940"/>
                    <a:gd name="connsiteX53" fmla="*/ 3068977 w 4519987"/>
                    <a:gd name="connsiteY53" fmla="*/ 4286250 h 4496940"/>
                    <a:gd name="connsiteX54" fmla="*/ 2935627 w 4519987"/>
                    <a:gd name="connsiteY54" fmla="*/ 4333875 h 4496940"/>
                    <a:gd name="connsiteX55" fmla="*/ 2811802 w 4519987"/>
                    <a:gd name="connsiteY55" fmla="*/ 4371975 h 4496940"/>
                    <a:gd name="connsiteX56" fmla="*/ 2745127 w 4519987"/>
                    <a:gd name="connsiteY56" fmla="*/ 4410075 h 4496940"/>
                    <a:gd name="connsiteX57" fmla="*/ 2697502 w 4519987"/>
                    <a:gd name="connsiteY57" fmla="*/ 4429125 h 4496940"/>
                    <a:gd name="connsiteX58" fmla="*/ 2640352 w 4519987"/>
                    <a:gd name="connsiteY58" fmla="*/ 4457700 h 4496940"/>
                    <a:gd name="connsiteX59" fmla="*/ 2583202 w 4519987"/>
                    <a:gd name="connsiteY59" fmla="*/ 4467225 h 4496940"/>
                    <a:gd name="connsiteX60" fmla="*/ 2545102 w 4519987"/>
                    <a:gd name="connsiteY60" fmla="*/ 4486275 h 4496940"/>
                    <a:gd name="connsiteX61" fmla="*/ 2306977 w 4519987"/>
                    <a:gd name="connsiteY61" fmla="*/ 4476750 h 4496940"/>
                    <a:gd name="connsiteX62" fmla="*/ 2202202 w 4519987"/>
                    <a:gd name="connsiteY62" fmla="*/ 4457700 h 4496940"/>
                    <a:gd name="connsiteX63" fmla="*/ 2126002 w 4519987"/>
                    <a:gd name="connsiteY63" fmla="*/ 4429125 h 4496940"/>
                    <a:gd name="connsiteX64" fmla="*/ 1935502 w 4519987"/>
                    <a:gd name="connsiteY64" fmla="*/ 4400550 h 4496940"/>
                    <a:gd name="connsiteX65" fmla="*/ 1821202 w 4519987"/>
                    <a:gd name="connsiteY65" fmla="*/ 4371975 h 4496940"/>
                    <a:gd name="connsiteX66" fmla="*/ 1754527 w 4519987"/>
                    <a:gd name="connsiteY66" fmla="*/ 4352925 h 4496940"/>
                    <a:gd name="connsiteX67" fmla="*/ 1687852 w 4519987"/>
                    <a:gd name="connsiteY67" fmla="*/ 4343400 h 4496940"/>
                    <a:gd name="connsiteX68" fmla="*/ 1573552 w 4519987"/>
                    <a:gd name="connsiteY68" fmla="*/ 4305300 h 4496940"/>
                    <a:gd name="connsiteX69" fmla="*/ 1402102 w 4519987"/>
                    <a:gd name="connsiteY69" fmla="*/ 4276725 h 4496940"/>
                    <a:gd name="connsiteX70" fmla="*/ 1287802 w 4519987"/>
                    <a:gd name="connsiteY70" fmla="*/ 4229100 h 4496940"/>
                    <a:gd name="connsiteX71" fmla="*/ 1221127 w 4519987"/>
                    <a:gd name="connsiteY71" fmla="*/ 4200525 h 4496940"/>
                    <a:gd name="connsiteX72" fmla="*/ 1144927 w 4519987"/>
                    <a:gd name="connsiteY72" fmla="*/ 4171950 h 4496940"/>
                    <a:gd name="connsiteX73" fmla="*/ 1087777 w 4519987"/>
                    <a:gd name="connsiteY73" fmla="*/ 4143375 h 4496940"/>
                    <a:gd name="connsiteX74" fmla="*/ 1030627 w 4519987"/>
                    <a:gd name="connsiteY74" fmla="*/ 4124325 h 4496940"/>
                    <a:gd name="connsiteX75" fmla="*/ 925852 w 4519987"/>
                    <a:gd name="connsiteY75" fmla="*/ 4067175 h 4496940"/>
                    <a:gd name="connsiteX76" fmla="*/ 830602 w 4519987"/>
                    <a:gd name="connsiteY76" fmla="*/ 3981450 h 4496940"/>
                    <a:gd name="connsiteX77" fmla="*/ 763927 w 4519987"/>
                    <a:gd name="connsiteY77" fmla="*/ 3914775 h 4496940"/>
                    <a:gd name="connsiteX78" fmla="*/ 725827 w 4519987"/>
                    <a:gd name="connsiteY78" fmla="*/ 3876675 h 4496940"/>
                    <a:gd name="connsiteX79" fmla="*/ 697252 w 4519987"/>
                    <a:gd name="connsiteY79" fmla="*/ 3838575 h 4496940"/>
                    <a:gd name="connsiteX80" fmla="*/ 640102 w 4519987"/>
                    <a:gd name="connsiteY80" fmla="*/ 3781425 h 4496940"/>
                    <a:gd name="connsiteX81" fmla="*/ 611527 w 4519987"/>
                    <a:gd name="connsiteY81" fmla="*/ 3733800 h 4496940"/>
                    <a:gd name="connsiteX82" fmla="*/ 554377 w 4519987"/>
                    <a:gd name="connsiteY82" fmla="*/ 3657600 h 4496940"/>
                    <a:gd name="connsiteX83" fmla="*/ 525802 w 4519987"/>
                    <a:gd name="connsiteY83" fmla="*/ 3609975 h 4496940"/>
                    <a:gd name="connsiteX84" fmla="*/ 497227 w 4519987"/>
                    <a:gd name="connsiteY84" fmla="*/ 3552825 h 4496940"/>
                    <a:gd name="connsiteX85" fmla="*/ 440077 w 4519987"/>
                    <a:gd name="connsiteY85" fmla="*/ 3495675 h 4496940"/>
                    <a:gd name="connsiteX86" fmla="*/ 411502 w 4519987"/>
                    <a:gd name="connsiteY86" fmla="*/ 3448050 h 4496940"/>
                    <a:gd name="connsiteX87" fmla="*/ 278152 w 4519987"/>
                    <a:gd name="connsiteY87" fmla="*/ 3257550 h 4496940"/>
                    <a:gd name="connsiteX88" fmla="*/ 249577 w 4519987"/>
                    <a:gd name="connsiteY88" fmla="*/ 3200400 h 4496940"/>
                    <a:gd name="connsiteX89" fmla="*/ 240052 w 4519987"/>
                    <a:gd name="connsiteY89" fmla="*/ 3162300 h 4496940"/>
                    <a:gd name="connsiteX90" fmla="*/ 221002 w 4519987"/>
                    <a:gd name="connsiteY90" fmla="*/ 3105150 h 4496940"/>
                    <a:gd name="connsiteX91" fmla="*/ 173377 w 4519987"/>
                    <a:gd name="connsiteY91" fmla="*/ 3019425 h 4496940"/>
                    <a:gd name="connsiteX92" fmla="*/ 144802 w 4519987"/>
                    <a:gd name="connsiteY92" fmla="*/ 2924175 h 4496940"/>
                    <a:gd name="connsiteX93" fmla="*/ 68602 w 4519987"/>
                    <a:gd name="connsiteY93" fmla="*/ 2724150 h 4496940"/>
                    <a:gd name="connsiteX94" fmla="*/ 49552 w 4519987"/>
                    <a:gd name="connsiteY94" fmla="*/ 2638425 h 4496940"/>
                    <a:gd name="connsiteX95" fmla="*/ 40027 w 4519987"/>
                    <a:gd name="connsiteY95" fmla="*/ 2562225 h 4496940"/>
                    <a:gd name="connsiteX96" fmla="*/ 30502 w 4519987"/>
                    <a:gd name="connsiteY96" fmla="*/ 2514600 h 4496940"/>
                    <a:gd name="connsiteX97" fmla="*/ 11452 w 4519987"/>
                    <a:gd name="connsiteY97" fmla="*/ 2400300 h 4496940"/>
                    <a:gd name="connsiteX98" fmla="*/ 20977 w 4519987"/>
                    <a:gd name="connsiteY98" fmla="*/ 1905000 h 4496940"/>
                    <a:gd name="connsiteX99" fmla="*/ 30502 w 4519987"/>
                    <a:gd name="connsiteY99" fmla="*/ 1838325 h 4496940"/>
                    <a:gd name="connsiteX100" fmla="*/ 49552 w 4519987"/>
                    <a:gd name="connsiteY100" fmla="*/ 1781175 h 4496940"/>
                    <a:gd name="connsiteX101" fmla="*/ 59077 w 4519987"/>
                    <a:gd name="connsiteY101" fmla="*/ 1743075 h 4496940"/>
                    <a:gd name="connsiteX102" fmla="*/ 78127 w 4519987"/>
                    <a:gd name="connsiteY102" fmla="*/ 1685925 h 4496940"/>
                    <a:gd name="connsiteX103" fmla="*/ 87652 w 4519987"/>
                    <a:gd name="connsiteY103" fmla="*/ 1638300 h 4496940"/>
                    <a:gd name="connsiteX104" fmla="*/ 106702 w 4519987"/>
                    <a:gd name="connsiteY104" fmla="*/ 1590675 h 4496940"/>
                    <a:gd name="connsiteX105" fmla="*/ 135277 w 4519987"/>
                    <a:gd name="connsiteY105" fmla="*/ 1504950 h 4496940"/>
                    <a:gd name="connsiteX106" fmla="*/ 154327 w 4519987"/>
                    <a:gd name="connsiteY106" fmla="*/ 1419225 h 4496940"/>
                    <a:gd name="connsiteX107" fmla="*/ 230527 w 4519987"/>
                    <a:gd name="connsiteY107" fmla="*/ 1276350 h 4496940"/>
                    <a:gd name="connsiteX108" fmla="*/ 240052 w 4519987"/>
                    <a:gd name="connsiteY108" fmla="*/ 1247775 h 4496940"/>
                    <a:gd name="connsiteX109" fmla="*/ 268627 w 4519987"/>
                    <a:gd name="connsiteY109" fmla="*/ 1200150 h 4496940"/>
                    <a:gd name="connsiteX110" fmla="*/ 287677 w 4519987"/>
                    <a:gd name="connsiteY110" fmla="*/ 1152525 h 4496940"/>
                    <a:gd name="connsiteX111" fmla="*/ 316252 w 4519987"/>
                    <a:gd name="connsiteY111" fmla="*/ 1114425 h 4496940"/>
                    <a:gd name="connsiteX112" fmla="*/ 363877 w 4519987"/>
                    <a:gd name="connsiteY112" fmla="*/ 1038225 h 4496940"/>
                    <a:gd name="connsiteX113" fmla="*/ 382927 w 4519987"/>
                    <a:gd name="connsiteY113" fmla="*/ 1009650 h 4496940"/>
                    <a:gd name="connsiteX114" fmla="*/ 440077 w 4519987"/>
                    <a:gd name="connsiteY114" fmla="*/ 904875 h 4496940"/>
                    <a:gd name="connsiteX115" fmla="*/ 478177 w 4519987"/>
                    <a:gd name="connsiteY115" fmla="*/ 857250 h 4496940"/>
                    <a:gd name="connsiteX116" fmla="*/ 497227 w 4519987"/>
                    <a:gd name="connsiteY116" fmla="*/ 828675 h 4496940"/>
                    <a:gd name="connsiteX117" fmla="*/ 535327 w 4519987"/>
                    <a:gd name="connsiteY117" fmla="*/ 800100 h 4496940"/>
                    <a:gd name="connsiteX118" fmla="*/ 602002 w 4519987"/>
                    <a:gd name="connsiteY118" fmla="*/ 733425 h 4496940"/>
                    <a:gd name="connsiteX119" fmla="*/ 668677 w 4519987"/>
                    <a:gd name="connsiteY119" fmla="*/ 676275 h 4496940"/>
                    <a:gd name="connsiteX120" fmla="*/ 697252 w 4519987"/>
                    <a:gd name="connsiteY120" fmla="*/ 657225 h 4496940"/>
                    <a:gd name="connsiteX121" fmla="*/ 840127 w 4519987"/>
                    <a:gd name="connsiteY121" fmla="*/ 533400 h 4496940"/>
                    <a:gd name="connsiteX122" fmla="*/ 887752 w 4519987"/>
                    <a:gd name="connsiteY122" fmla="*/ 504825 h 4496940"/>
                    <a:gd name="connsiteX123" fmla="*/ 1167152 w 4519987"/>
                    <a:gd name="connsiteY123" fmla="*/ 311150 h 4496940"/>
                    <a:gd name="connsiteX124" fmla="*/ 1268752 w 4519987"/>
                    <a:gd name="connsiteY124" fmla="*/ 285750 h 4496940"/>
                    <a:gd name="connsiteX125" fmla="*/ 1411627 w 4519987"/>
                    <a:gd name="connsiteY125" fmla="*/ 190500 h 4496940"/>
                    <a:gd name="connsiteX126" fmla="*/ 1449727 w 4519987"/>
                    <a:gd name="connsiteY126" fmla="*/ 161925 h 4496940"/>
                    <a:gd name="connsiteX127" fmla="*/ 1525927 w 4519987"/>
                    <a:gd name="connsiteY127" fmla="*/ 152400 h 4496940"/>
                    <a:gd name="connsiteX128" fmla="*/ 1583077 w 4519987"/>
                    <a:gd name="connsiteY128" fmla="*/ 142875 h 4496940"/>
                    <a:gd name="connsiteX129" fmla="*/ 1716427 w 4519987"/>
                    <a:gd name="connsiteY129" fmla="*/ 123825 h 4496940"/>
                    <a:gd name="connsiteX130" fmla="*/ 1811677 w 4519987"/>
                    <a:gd name="connsiteY130" fmla="*/ 114300 h 4496940"/>
                    <a:gd name="connsiteX131" fmla="*/ 1859302 w 4519987"/>
                    <a:gd name="connsiteY131" fmla="*/ 104775 h 4496940"/>
                    <a:gd name="connsiteX132" fmla="*/ 1916452 w 4519987"/>
                    <a:gd name="connsiteY132" fmla="*/ 95250 h 4496940"/>
                    <a:gd name="connsiteX133" fmla="*/ 2030752 w 4519987"/>
                    <a:gd name="connsiteY133" fmla="*/ 66675 h 4496940"/>
                    <a:gd name="connsiteX134" fmla="*/ 2097427 w 4519987"/>
                    <a:gd name="connsiteY134" fmla="*/ 47625 h 4496940"/>
                    <a:gd name="connsiteX135" fmla="*/ 2164102 w 4519987"/>
                    <a:gd name="connsiteY135" fmla="*/ 38100 h 4496940"/>
                    <a:gd name="connsiteX136" fmla="*/ 2392702 w 4519987"/>
                    <a:gd name="connsiteY13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678577 w 4519987"/>
                    <a:gd name="connsiteY41" fmla="*/ 3848100 h 4496940"/>
                    <a:gd name="connsiteX42" fmla="*/ 3659527 w 4519987"/>
                    <a:gd name="connsiteY42" fmla="*/ 3971925 h 4496940"/>
                    <a:gd name="connsiteX43" fmla="*/ 3630952 w 4519987"/>
                    <a:gd name="connsiteY43" fmla="*/ 4010025 h 4496940"/>
                    <a:gd name="connsiteX44" fmla="*/ 3621427 w 4519987"/>
                    <a:gd name="connsiteY44" fmla="*/ 4038600 h 4496940"/>
                    <a:gd name="connsiteX45" fmla="*/ 3554752 w 4519987"/>
                    <a:gd name="connsiteY45" fmla="*/ 4095750 h 4496940"/>
                    <a:gd name="connsiteX46" fmla="*/ 3516652 w 4519987"/>
                    <a:gd name="connsiteY46" fmla="*/ 4114800 h 4496940"/>
                    <a:gd name="connsiteX47" fmla="*/ 3497602 w 4519987"/>
                    <a:gd name="connsiteY47" fmla="*/ 4143375 h 4496940"/>
                    <a:gd name="connsiteX48" fmla="*/ 3383302 w 4519987"/>
                    <a:gd name="connsiteY48" fmla="*/ 4210050 h 4496940"/>
                    <a:gd name="connsiteX49" fmla="*/ 3335677 w 4519987"/>
                    <a:gd name="connsiteY49" fmla="*/ 4238625 h 4496940"/>
                    <a:gd name="connsiteX50" fmla="*/ 3288052 w 4519987"/>
                    <a:gd name="connsiteY50" fmla="*/ 4248150 h 4496940"/>
                    <a:gd name="connsiteX51" fmla="*/ 3240427 w 4519987"/>
                    <a:gd name="connsiteY51" fmla="*/ 4267200 h 4496940"/>
                    <a:gd name="connsiteX52" fmla="*/ 3068977 w 4519987"/>
                    <a:gd name="connsiteY52" fmla="*/ 4286250 h 4496940"/>
                    <a:gd name="connsiteX53" fmla="*/ 2935627 w 4519987"/>
                    <a:gd name="connsiteY53" fmla="*/ 4333875 h 4496940"/>
                    <a:gd name="connsiteX54" fmla="*/ 2811802 w 4519987"/>
                    <a:gd name="connsiteY54" fmla="*/ 4371975 h 4496940"/>
                    <a:gd name="connsiteX55" fmla="*/ 2745127 w 4519987"/>
                    <a:gd name="connsiteY55" fmla="*/ 4410075 h 4496940"/>
                    <a:gd name="connsiteX56" fmla="*/ 2697502 w 4519987"/>
                    <a:gd name="connsiteY56" fmla="*/ 4429125 h 4496940"/>
                    <a:gd name="connsiteX57" fmla="*/ 2640352 w 4519987"/>
                    <a:gd name="connsiteY57" fmla="*/ 4457700 h 4496940"/>
                    <a:gd name="connsiteX58" fmla="*/ 2583202 w 4519987"/>
                    <a:gd name="connsiteY58" fmla="*/ 4467225 h 4496940"/>
                    <a:gd name="connsiteX59" fmla="*/ 2545102 w 4519987"/>
                    <a:gd name="connsiteY59" fmla="*/ 4486275 h 4496940"/>
                    <a:gd name="connsiteX60" fmla="*/ 2306977 w 4519987"/>
                    <a:gd name="connsiteY60" fmla="*/ 4476750 h 4496940"/>
                    <a:gd name="connsiteX61" fmla="*/ 2202202 w 4519987"/>
                    <a:gd name="connsiteY61" fmla="*/ 4457700 h 4496940"/>
                    <a:gd name="connsiteX62" fmla="*/ 2126002 w 4519987"/>
                    <a:gd name="connsiteY62" fmla="*/ 4429125 h 4496940"/>
                    <a:gd name="connsiteX63" fmla="*/ 1935502 w 4519987"/>
                    <a:gd name="connsiteY63" fmla="*/ 4400550 h 4496940"/>
                    <a:gd name="connsiteX64" fmla="*/ 1821202 w 4519987"/>
                    <a:gd name="connsiteY64" fmla="*/ 4371975 h 4496940"/>
                    <a:gd name="connsiteX65" fmla="*/ 1754527 w 4519987"/>
                    <a:gd name="connsiteY65" fmla="*/ 4352925 h 4496940"/>
                    <a:gd name="connsiteX66" fmla="*/ 1687852 w 4519987"/>
                    <a:gd name="connsiteY66" fmla="*/ 4343400 h 4496940"/>
                    <a:gd name="connsiteX67" fmla="*/ 1573552 w 4519987"/>
                    <a:gd name="connsiteY67" fmla="*/ 4305300 h 4496940"/>
                    <a:gd name="connsiteX68" fmla="*/ 1402102 w 4519987"/>
                    <a:gd name="connsiteY68" fmla="*/ 4276725 h 4496940"/>
                    <a:gd name="connsiteX69" fmla="*/ 1287802 w 4519987"/>
                    <a:gd name="connsiteY69" fmla="*/ 4229100 h 4496940"/>
                    <a:gd name="connsiteX70" fmla="*/ 1221127 w 4519987"/>
                    <a:gd name="connsiteY70" fmla="*/ 4200525 h 4496940"/>
                    <a:gd name="connsiteX71" fmla="*/ 1144927 w 4519987"/>
                    <a:gd name="connsiteY71" fmla="*/ 4171950 h 4496940"/>
                    <a:gd name="connsiteX72" fmla="*/ 1087777 w 4519987"/>
                    <a:gd name="connsiteY72" fmla="*/ 4143375 h 4496940"/>
                    <a:gd name="connsiteX73" fmla="*/ 1030627 w 4519987"/>
                    <a:gd name="connsiteY73" fmla="*/ 4124325 h 4496940"/>
                    <a:gd name="connsiteX74" fmla="*/ 925852 w 4519987"/>
                    <a:gd name="connsiteY74" fmla="*/ 4067175 h 4496940"/>
                    <a:gd name="connsiteX75" fmla="*/ 830602 w 4519987"/>
                    <a:gd name="connsiteY75" fmla="*/ 3981450 h 4496940"/>
                    <a:gd name="connsiteX76" fmla="*/ 763927 w 4519987"/>
                    <a:gd name="connsiteY76" fmla="*/ 3914775 h 4496940"/>
                    <a:gd name="connsiteX77" fmla="*/ 725827 w 4519987"/>
                    <a:gd name="connsiteY77" fmla="*/ 3876675 h 4496940"/>
                    <a:gd name="connsiteX78" fmla="*/ 697252 w 4519987"/>
                    <a:gd name="connsiteY78" fmla="*/ 3838575 h 4496940"/>
                    <a:gd name="connsiteX79" fmla="*/ 640102 w 4519987"/>
                    <a:gd name="connsiteY79" fmla="*/ 3781425 h 4496940"/>
                    <a:gd name="connsiteX80" fmla="*/ 611527 w 4519987"/>
                    <a:gd name="connsiteY80" fmla="*/ 3733800 h 4496940"/>
                    <a:gd name="connsiteX81" fmla="*/ 554377 w 4519987"/>
                    <a:gd name="connsiteY81" fmla="*/ 3657600 h 4496940"/>
                    <a:gd name="connsiteX82" fmla="*/ 525802 w 4519987"/>
                    <a:gd name="connsiteY82" fmla="*/ 3609975 h 4496940"/>
                    <a:gd name="connsiteX83" fmla="*/ 497227 w 4519987"/>
                    <a:gd name="connsiteY83" fmla="*/ 3552825 h 4496940"/>
                    <a:gd name="connsiteX84" fmla="*/ 440077 w 4519987"/>
                    <a:gd name="connsiteY84" fmla="*/ 3495675 h 4496940"/>
                    <a:gd name="connsiteX85" fmla="*/ 411502 w 4519987"/>
                    <a:gd name="connsiteY85" fmla="*/ 3448050 h 4496940"/>
                    <a:gd name="connsiteX86" fmla="*/ 278152 w 4519987"/>
                    <a:gd name="connsiteY86" fmla="*/ 3257550 h 4496940"/>
                    <a:gd name="connsiteX87" fmla="*/ 249577 w 4519987"/>
                    <a:gd name="connsiteY87" fmla="*/ 3200400 h 4496940"/>
                    <a:gd name="connsiteX88" fmla="*/ 240052 w 4519987"/>
                    <a:gd name="connsiteY88" fmla="*/ 3162300 h 4496940"/>
                    <a:gd name="connsiteX89" fmla="*/ 221002 w 4519987"/>
                    <a:gd name="connsiteY89" fmla="*/ 3105150 h 4496940"/>
                    <a:gd name="connsiteX90" fmla="*/ 173377 w 4519987"/>
                    <a:gd name="connsiteY90" fmla="*/ 3019425 h 4496940"/>
                    <a:gd name="connsiteX91" fmla="*/ 144802 w 4519987"/>
                    <a:gd name="connsiteY91" fmla="*/ 2924175 h 4496940"/>
                    <a:gd name="connsiteX92" fmla="*/ 68602 w 4519987"/>
                    <a:gd name="connsiteY92" fmla="*/ 2724150 h 4496940"/>
                    <a:gd name="connsiteX93" fmla="*/ 49552 w 4519987"/>
                    <a:gd name="connsiteY93" fmla="*/ 2638425 h 4496940"/>
                    <a:gd name="connsiteX94" fmla="*/ 40027 w 4519987"/>
                    <a:gd name="connsiteY94" fmla="*/ 2562225 h 4496940"/>
                    <a:gd name="connsiteX95" fmla="*/ 30502 w 4519987"/>
                    <a:gd name="connsiteY95" fmla="*/ 2514600 h 4496940"/>
                    <a:gd name="connsiteX96" fmla="*/ 11452 w 4519987"/>
                    <a:gd name="connsiteY96" fmla="*/ 2400300 h 4496940"/>
                    <a:gd name="connsiteX97" fmla="*/ 20977 w 4519987"/>
                    <a:gd name="connsiteY97" fmla="*/ 1905000 h 4496940"/>
                    <a:gd name="connsiteX98" fmla="*/ 30502 w 4519987"/>
                    <a:gd name="connsiteY98" fmla="*/ 1838325 h 4496940"/>
                    <a:gd name="connsiteX99" fmla="*/ 49552 w 4519987"/>
                    <a:gd name="connsiteY99" fmla="*/ 1781175 h 4496940"/>
                    <a:gd name="connsiteX100" fmla="*/ 59077 w 4519987"/>
                    <a:gd name="connsiteY100" fmla="*/ 1743075 h 4496940"/>
                    <a:gd name="connsiteX101" fmla="*/ 78127 w 4519987"/>
                    <a:gd name="connsiteY101" fmla="*/ 1685925 h 4496940"/>
                    <a:gd name="connsiteX102" fmla="*/ 87652 w 4519987"/>
                    <a:gd name="connsiteY102" fmla="*/ 1638300 h 4496940"/>
                    <a:gd name="connsiteX103" fmla="*/ 106702 w 4519987"/>
                    <a:gd name="connsiteY103" fmla="*/ 1590675 h 4496940"/>
                    <a:gd name="connsiteX104" fmla="*/ 135277 w 4519987"/>
                    <a:gd name="connsiteY104" fmla="*/ 1504950 h 4496940"/>
                    <a:gd name="connsiteX105" fmla="*/ 154327 w 4519987"/>
                    <a:gd name="connsiteY105" fmla="*/ 1419225 h 4496940"/>
                    <a:gd name="connsiteX106" fmla="*/ 230527 w 4519987"/>
                    <a:gd name="connsiteY106" fmla="*/ 1276350 h 4496940"/>
                    <a:gd name="connsiteX107" fmla="*/ 240052 w 4519987"/>
                    <a:gd name="connsiteY107" fmla="*/ 1247775 h 4496940"/>
                    <a:gd name="connsiteX108" fmla="*/ 268627 w 4519987"/>
                    <a:gd name="connsiteY108" fmla="*/ 1200150 h 4496940"/>
                    <a:gd name="connsiteX109" fmla="*/ 287677 w 4519987"/>
                    <a:gd name="connsiteY109" fmla="*/ 1152525 h 4496940"/>
                    <a:gd name="connsiteX110" fmla="*/ 316252 w 4519987"/>
                    <a:gd name="connsiteY110" fmla="*/ 1114425 h 4496940"/>
                    <a:gd name="connsiteX111" fmla="*/ 363877 w 4519987"/>
                    <a:gd name="connsiteY111" fmla="*/ 1038225 h 4496940"/>
                    <a:gd name="connsiteX112" fmla="*/ 382927 w 4519987"/>
                    <a:gd name="connsiteY112" fmla="*/ 1009650 h 4496940"/>
                    <a:gd name="connsiteX113" fmla="*/ 440077 w 4519987"/>
                    <a:gd name="connsiteY113" fmla="*/ 904875 h 4496940"/>
                    <a:gd name="connsiteX114" fmla="*/ 478177 w 4519987"/>
                    <a:gd name="connsiteY114" fmla="*/ 857250 h 4496940"/>
                    <a:gd name="connsiteX115" fmla="*/ 497227 w 4519987"/>
                    <a:gd name="connsiteY115" fmla="*/ 828675 h 4496940"/>
                    <a:gd name="connsiteX116" fmla="*/ 535327 w 4519987"/>
                    <a:gd name="connsiteY116" fmla="*/ 800100 h 4496940"/>
                    <a:gd name="connsiteX117" fmla="*/ 602002 w 4519987"/>
                    <a:gd name="connsiteY117" fmla="*/ 733425 h 4496940"/>
                    <a:gd name="connsiteX118" fmla="*/ 668677 w 4519987"/>
                    <a:gd name="connsiteY118" fmla="*/ 676275 h 4496940"/>
                    <a:gd name="connsiteX119" fmla="*/ 697252 w 4519987"/>
                    <a:gd name="connsiteY119" fmla="*/ 657225 h 4496940"/>
                    <a:gd name="connsiteX120" fmla="*/ 840127 w 4519987"/>
                    <a:gd name="connsiteY120" fmla="*/ 533400 h 4496940"/>
                    <a:gd name="connsiteX121" fmla="*/ 887752 w 4519987"/>
                    <a:gd name="connsiteY121" fmla="*/ 504825 h 4496940"/>
                    <a:gd name="connsiteX122" fmla="*/ 1167152 w 4519987"/>
                    <a:gd name="connsiteY122" fmla="*/ 311150 h 4496940"/>
                    <a:gd name="connsiteX123" fmla="*/ 1268752 w 4519987"/>
                    <a:gd name="connsiteY123" fmla="*/ 285750 h 4496940"/>
                    <a:gd name="connsiteX124" fmla="*/ 1411627 w 4519987"/>
                    <a:gd name="connsiteY124" fmla="*/ 190500 h 4496940"/>
                    <a:gd name="connsiteX125" fmla="*/ 1449727 w 4519987"/>
                    <a:gd name="connsiteY125" fmla="*/ 161925 h 4496940"/>
                    <a:gd name="connsiteX126" fmla="*/ 1525927 w 4519987"/>
                    <a:gd name="connsiteY126" fmla="*/ 152400 h 4496940"/>
                    <a:gd name="connsiteX127" fmla="*/ 1583077 w 4519987"/>
                    <a:gd name="connsiteY127" fmla="*/ 142875 h 4496940"/>
                    <a:gd name="connsiteX128" fmla="*/ 1716427 w 4519987"/>
                    <a:gd name="connsiteY128" fmla="*/ 123825 h 4496940"/>
                    <a:gd name="connsiteX129" fmla="*/ 1811677 w 4519987"/>
                    <a:gd name="connsiteY129" fmla="*/ 114300 h 4496940"/>
                    <a:gd name="connsiteX130" fmla="*/ 1859302 w 4519987"/>
                    <a:gd name="connsiteY130" fmla="*/ 104775 h 4496940"/>
                    <a:gd name="connsiteX131" fmla="*/ 1916452 w 4519987"/>
                    <a:gd name="connsiteY131" fmla="*/ 95250 h 4496940"/>
                    <a:gd name="connsiteX132" fmla="*/ 2030752 w 4519987"/>
                    <a:gd name="connsiteY132" fmla="*/ 66675 h 4496940"/>
                    <a:gd name="connsiteX133" fmla="*/ 2097427 w 4519987"/>
                    <a:gd name="connsiteY133" fmla="*/ 47625 h 4496940"/>
                    <a:gd name="connsiteX134" fmla="*/ 2164102 w 4519987"/>
                    <a:gd name="connsiteY134" fmla="*/ 38100 h 4496940"/>
                    <a:gd name="connsiteX135" fmla="*/ 2392702 w 4519987"/>
                    <a:gd name="connsiteY13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78577 w 4519987"/>
                    <a:gd name="connsiteY40" fmla="*/ 3848100 h 4496940"/>
                    <a:gd name="connsiteX41" fmla="*/ 3659527 w 4519987"/>
                    <a:gd name="connsiteY41" fmla="*/ 3971925 h 4496940"/>
                    <a:gd name="connsiteX42" fmla="*/ 3630952 w 4519987"/>
                    <a:gd name="connsiteY42" fmla="*/ 4010025 h 4496940"/>
                    <a:gd name="connsiteX43" fmla="*/ 3621427 w 4519987"/>
                    <a:gd name="connsiteY43" fmla="*/ 4038600 h 4496940"/>
                    <a:gd name="connsiteX44" fmla="*/ 3554752 w 4519987"/>
                    <a:gd name="connsiteY44" fmla="*/ 4095750 h 4496940"/>
                    <a:gd name="connsiteX45" fmla="*/ 3516652 w 4519987"/>
                    <a:gd name="connsiteY45" fmla="*/ 4114800 h 4496940"/>
                    <a:gd name="connsiteX46" fmla="*/ 3497602 w 4519987"/>
                    <a:gd name="connsiteY46" fmla="*/ 4143375 h 4496940"/>
                    <a:gd name="connsiteX47" fmla="*/ 3383302 w 4519987"/>
                    <a:gd name="connsiteY47" fmla="*/ 4210050 h 4496940"/>
                    <a:gd name="connsiteX48" fmla="*/ 3335677 w 4519987"/>
                    <a:gd name="connsiteY48" fmla="*/ 4238625 h 4496940"/>
                    <a:gd name="connsiteX49" fmla="*/ 3288052 w 4519987"/>
                    <a:gd name="connsiteY49" fmla="*/ 4248150 h 4496940"/>
                    <a:gd name="connsiteX50" fmla="*/ 3240427 w 4519987"/>
                    <a:gd name="connsiteY50" fmla="*/ 4267200 h 4496940"/>
                    <a:gd name="connsiteX51" fmla="*/ 3068977 w 4519987"/>
                    <a:gd name="connsiteY51" fmla="*/ 4286250 h 4496940"/>
                    <a:gd name="connsiteX52" fmla="*/ 2935627 w 4519987"/>
                    <a:gd name="connsiteY52" fmla="*/ 4333875 h 4496940"/>
                    <a:gd name="connsiteX53" fmla="*/ 2811802 w 4519987"/>
                    <a:gd name="connsiteY53" fmla="*/ 4371975 h 4496940"/>
                    <a:gd name="connsiteX54" fmla="*/ 2745127 w 4519987"/>
                    <a:gd name="connsiteY54" fmla="*/ 4410075 h 4496940"/>
                    <a:gd name="connsiteX55" fmla="*/ 2697502 w 4519987"/>
                    <a:gd name="connsiteY55" fmla="*/ 4429125 h 4496940"/>
                    <a:gd name="connsiteX56" fmla="*/ 2640352 w 4519987"/>
                    <a:gd name="connsiteY56" fmla="*/ 4457700 h 4496940"/>
                    <a:gd name="connsiteX57" fmla="*/ 2583202 w 4519987"/>
                    <a:gd name="connsiteY57" fmla="*/ 4467225 h 4496940"/>
                    <a:gd name="connsiteX58" fmla="*/ 2545102 w 4519987"/>
                    <a:gd name="connsiteY58" fmla="*/ 4486275 h 4496940"/>
                    <a:gd name="connsiteX59" fmla="*/ 2306977 w 4519987"/>
                    <a:gd name="connsiteY59" fmla="*/ 4476750 h 4496940"/>
                    <a:gd name="connsiteX60" fmla="*/ 2202202 w 4519987"/>
                    <a:gd name="connsiteY60" fmla="*/ 4457700 h 4496940"/>
                    <a:gd name="connsiteX61" fmla="*/ 2126002 w 4519987"/>
                    <a:gd name="connsiteY61" fmla="*/ 4429125 h 4496940"/>
                    <a:gd name="connsiteX62" fmla="*/ 1935502 w 4519987"/>
                    <a:gd name="connsiteY62" fmla="*/ 4400550 h 4496940"/>
                    <a:gd name="connsiteX63" fmla="*/ 1821202 w 4519987"/>
                    <a:gd name="connsiteY63" fmla="*/ 4371975 h 4496940"/>
                    <a:gd name="connsiteX64" fmla="*/ 1754527 w 4519987"/>
                    <a:gd name="connsiteY64" fmla="*/ 4352925 h 4496940"/>
                    <a:gd name="connsiteX65" fmla="*/ 1687852 w 4519987"/>
                    <a:gd name="connsiteY65" fmla="*/ 4343400 h 4496940"/>
                    <a:gd name="connsiteX66" fmla="*/ 1573552 w 4519987"/>
                    <a:gd name="connsiteY66" fmla="*/ 4305300 h 4496940"/>
                    <a:gd name="connsiteX67" fmla="*/ 1402102 w 4519987"/>
                    <a:gd name="connsiteY67" fmla="*/ 4276725 h 4496940"/>
                    <a:gd name="connsiteX68" fmla="*/ 1287802 w 4519987"/>
                    <a:gd name="connsiteY68" fmla="*/ 4229100 h 4496940"/>
                    <a:gd name="connsiteX69" fmla="*/ 1221127 w 4519987"/>
                    <a:gd name="connsiteY69" fmla="*/ 4200525 h 4496940"/>
                    <a:gd name="connsiteX70" fmla="*/ 1144927 w 4519987"/>
                    <a:gd name="connsiteY70" fmla="*/ 4171950 h 4496940"/>
                    <a:gd name="connsiteX71" fmla="*/ 1087777 w 4519987"/>
                    <a:gd name="connsiteY71" fmla="*/ 4143375 h 4496940"/>
                    <a:gd name="connsiteX72" fmla="*/ 1030627 w 4519987"/>
                    <a:gd name="connsiteY72" fmla="*/ 4124325 h 4496940"/>
                    <a:gd name="connsiteX73" fmla="*/ 925852 w 4519987"/>
                    <a:gd name="connsiteY73" fmla="*/ 4067175 h 4496940"/>
                    <a:gd name="connsiteX74" fmla="*/ 830602 w 4519987"/>
                    <a:gd name="connsiteY74" fmla="*/ 3981450 h 4496940"/>
                    <a:gd name="connsiteX75" fmla="*/ 763927 w 4519987"/>
                    <a:gd name="connsiteY75" fmla="*/ 3914775 h 4496940"/>
                    <a:gd name="connsiteX76" fmla="*/ 725827 w 4519987"/>
                    <a:gd name="connsiteY76" fmla="*/ 3876675 h 4496940"/>
                    <a:gd name="connsiteX77" fmla="*/ 697252 w 4519987"/>
                    <a:gd name="connsiteY77" fmla="*/ 3838575 h 4496940"/>
                    <a:gd name="connsiteX78" fmla="*/ 640102 w 4519987"/>
                    <a:gd name="connsiteY78" fmla="*/ 3781425 h 4496940"/>
                    <a:gd name="connsiteX79" fmla="*/ 611527 w 4519987"/>
                    <a:gd name="connsiteY79" fmla="*/ 3733800 h 4496940"/>
                    <a:gd name="connsiteX80" fmla="*/ 554377 w 4519987"/>
                    <a:gd name="connsiteY80" fmla="*/ 3657600 h 4496940"/>
                    <a:gd name="connsiteX81" fmla="*/ 525802 w 4519987"/>
                    <a:gd name="connsiteY81" fmla="*/ 3609975 h 4496940"/>
                    <a:gd name="connsiteX82" fmla="*/ 497227 w 4519987"/>
                    <a:gd name="connsiteY82" fmla="*/ 3552825 h 4496940"/>
                    <a:gd name="connsiteX83" fmla="*/ 440077 w 4519987"/>
                    <a:gd name="connsiteY83" fmla="*/ 3495675 h 4496940"/>
                    <a:gd name="connsiteX84" fmla="*/ 411502 w 4519987"/>
                    <a:gd name="connsiteY84" fmla="*/ 3448050 h 4496940"/>
                    <a:gd name="connsiteX85" fmla="*/ 278152 w 4519987"/>
                    <a:gd name="connsiteY85" fmla="*/ 3257550 h 4496940"/>
                    <a:gd name="connsiteX86" fmla="*/ 249577 w 4519987"/>
                    <a:gd name="connsiteY86" fmla="*/ 3200400 h 4496940"/>
                    <a:gd name="connsiteX87" fmla="*/ 240052 w 4519987"/>
                    <a:gd name="connsiteY87" fmla="*/ 3162300 h 4496940"/>
                    <a:gd name="connsiteX88" fmla="*/ 221002 w 4519987"/>
                    <a:gd name="connsiteY88" fmla="*/ 3105150 h 4496940"/>
                    <a:gd name="connsiteX89" fmla="*/ 173377 w 4519987"/>
                    <a:gd name="connsiteY89" fmla="*/ 3019425 h 4496940"/>
                    <a:gd name="connsiteX90" fmla="*/ 144802 w 4519987"/>
                    <a:gd name="connsiteY90" fmla="*/ 2924175 h 4496940"/>
                    <a:gd name="connsiteX91" fmla="*/ 68602 w 4519987"/>
                    <a:gd name="connsiteY91" fmla="*/ 2724150 h 4496940"/>
                    <a:gd name="connsiteX92" fmla="*/ 49552 w 4519987"/>
                    <a:gd name="connsiteY92" fmla="*/ 2638425 h 4496940"/>
                    <a:gd name="connsiteX93" fmla="*/ 40027 w 4519987"/>
                    <a:gd name="connsiteY93" fmla="*/ 2562225 h 4496940"/>
                    <a:gd name="connsiteX94" fmla="*/ 30502 w 4519987"/>
                    <a:gd name="connsiteY94" fmla="*/ 2514600 h 4496940"/>
                    <a:gd name="connsiteX95" fmla="*/ 11452 w 4519987"/>
                    <a:gd name="connsiteY95" fmla="*/ 2400300 h 4496940"/>
                    <a:gd name="connsiteX96" fmla="*/ 20977 w 4519987"/>
                    <a:gd name="connsiteY96" fmla="*/ 1905000 h 4496940"/>
                    <a:gd name="connsiteX97" fmla="*/ 30502 w 4519987"/>
                    <a:gd name="connsiteY97" fmla="*/ 1838325 h 4496940"/>
                    <a:gd name="connsiteX98" fmla="*/ 49552 w 4519987"/>
                    <a:gd name="connsiteY98" fmla="*/ 1781175 h 4496940"/>
                    <a:gd name="connsiteX99" fmla="*/ 59077 w 4519987"/>
                    <a:gd name="connsiteY99" fmla="*/ 1743075 h 4496940"/>
                    <a:gd name="connsiteX100" fmla="*/ 78127 w 4519987"/>
                    <a:gd name="connsiteY100" fmla="*/ 1685925 h 4496940"/>
                    <a:gd name="connsiteX101" fmla="*/ 87652 w 4519987"/>
                    <a:gd name="connsiteY101" fmla="*/ 1638300 h 4496940"/>
                    <a:gd name="connsiteX102" fmla="*/ 106702 w 4519987"/>
                    <a:gd name="connsiteY102" fmla="*/ 1590675 h 4496940"/>
                    <a:gd name="connsiteX103" fmla="*/ 135277 w 4519987"/>
                    <a:gd name="connsiteY103" fmla="*/ 1504950 h 4496940"/>
                    <a:gd name="connsiteX104" fmla="*/ 154327 w 4519987"/>
                    <a:gd name="connsiteY104" fmla="*/ 1419225 h 4496940"/>
                    <a:gd name="connsiteX105" fmla="*/ 230527 w 4519987"/>
                    <a:gd name="connsiteY105" fmla="*/ 1276350 h 4496940"/>
                    <a:gd name="connsiteX106" fmla="*/ 240052 w 4519987"/>
                    <a:gd name="connsiteY106" fmla="*/ 1247775 h 4496940"/>
                    <a:gd name="connsiteX107" fmla="*/ 268627 w 4519987"/>
                    <a:gd name="connsiteY107" fmla="*/ 1200150 h 4496940"/>
                    <a:gd name="connsiteX108" fmla="*/ 287677 w 4519987"/>
                    <a:gd name="connsiteY108" fmla="*/ 1152525 h 4496940"/>
                    <a:gd name="connsiteX109" fmla="*/ 316252 w 4519987"/>
                    <a:gd name="connsiteY109" fmla="*/ 1114425 h 4496940"/>
                    <a:gd name="connsiteX110" fmla="*/ 363877 w 4519987"/>
                    <a:gd name="connsiteY110" fmla="*/ 1038225 h 4496940"/>
                    <a:gd name="connsiteX111" fmla="*/ 382927 w 4519987"/>
                    <a:gd name="connsiteY111" fmla="*/ 1009650 h 4496940"/>
                    <a:gd name="connsiteX112" fmla="*/ 440077 w 4519987"/>
                    <a:gd name="connsiteY112" fmla="*/ 904875 h 4496940"/>
                    <a:gd name="connsiteX113" fmla="*/ 478177 w 4519987"/>
                    <a:gd name="connsiteY113" fmla="*/ 857250 h 4496940"/>
                    <a:gd name="connsiteX114" fmla="*/ 497227 w 4519987"/>
                    <a:gd name="connsiteY114" fmla="*/ 828675 h 4496940"/>
                    <a:gd name="connsiteX115" fmla="*/ 535327 w 4519987"/>
                    <a:gd name="connsiteY115" fmla="*/ 800100 h 4496940"/>
                    <a:gd name="connsiteX116" fmla="*/ 602002 w 4519987"/>
                    <a:gd name="connsiteY116" fmla="*/ 733425 h 4496940"/>
                    <a:gd name="connsiteX117" fmla="*/ 668677 w 4519987"/>
                    <a:gd name="connsiteY117" fmla="*/ 676275 h 4496940"/>
                    <a:gd name="connsiteX118" fmla="*/ 697252 w 4519987"/>
                    <a:gd name="connsiteY118" fmla="*/ 657225 h 4496940"/>
                    <a:gd name="connsiteX119" fmla="*/ 840127 w 4519987"/>
                    <a:gd name="connsiteY119" fmla="*/ 533400 h 4496940"/>
                    <a:gd name="connsiteX120" fmla="*/ 887752 w 4519987"/>
                    <a:gd name="connsiteY120" fmla="*/ 504825 h 4496940"/>
                    <a:gd name="connsiteX121" fmla="*/ 1167152 w 4519987"/>
                    <a:gd name="connsiteY121" fmla="*/ 311150 h 4496940"/>
                    <a:gd name="connsiteX122" fmla="*/ 1268752 w 4519987"/>
                    <a:gd name="connsiteY122" fmla="*/ 285750 h 4496940"/>
                    <a:gd name="connsiteX123" fmla="*/ 1411627 w 4519987"/>
                    <a:gd name="connsiteY123" fmla="*/ 190500 h 4496940"/>
                    <a:gd name="connsiteX124" fmla="*/ 1449727 w 4519987"/>
                    <a:gd name="connsiteY124" fmla="*/ 161925 h 4496940"/>
                    <a:gd name="connsiteX125" fmla="*/ 1525927 w 4519987"/>
                    <a:gd name="connsiteY125" fmla="*/ 152400 h 4496940"/>
                    <a:gd name="connsiteX126" fmla="*/ 1583077 w 4519987"/>
                    <a:gd name="connsiteY126" fmla="*/ 142875 h 4496940"/>
                    <a:gd name="connsiteX127" fmla="*/ 1716427 w 4519987"/>
                    <a:gd name="connsiteY127" fmla="*/ 123825 h 4496940"/>
                    <a:gd name="connsiteX128" fmla="*/ 1811677 w 4519987"/>
                    <a:gd name="connsiteY128" fmla="*/ 114300 h 4496940"/>
                    <a:gd name="connsiteX129" fmla="*/ 1859302 w 4519987"/>
                    <a:gd name="connsiteY129" fmla="*/ 104775 h 4496940"/>
                    <a:gd name="connsiteX130" fmla="*/ 1916452 w 4519987"/>
                    <a:gd name="connsiteY130" fmla="*/ 95250 h 4496940"/>
                    <a:gd name="connsiteX131" fmla="*/ 2030752 w 4519987"/>
                    <a:gd name="connsiteY131" fmla="*/ 66675 h 4496940"/>
                    <a:gd name="connsiteX132" fmla="*/ 2097427 w 4519987"/>
                    <a:gd name="connsiteY132" fmla="*/ 47625 h 4496940"/>
                    <a:gd name="connsiteX133" fmla="*/ 2164102 w 4519987"/>
                    <a:gd name="connsiteY133" fmla="*/ 38100 h 4496940"/>
                    <a:gd name="connsiteX134" fmla="*/ 2392702 w 4519987"/>
                    <a:gd name="connsiteY13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59527 w 4519987"/>
                    <a:gd name="connsiteY40" fmla="*/ 3971925 h 4496940"/>
                    <a:gd name="connsiteX41" fmla="*/ 3630952 w 4519987"/>
                    <a:gd name="connsiteY41" fmla="*/ 4010025 h 4496940"/>
                    <a:gd name="connsiteX42" fmla="*/ 3621427 w 4519987"/>
                    <a:gd name="connsiteY42" fmla="*/ 4038600 h 4496940"/>
                    <a:gd name="connsiteX43" fmla="*/ 3554752 w 4519987"/>
                    <a:gd name="connsiteY43" fmla="*/ 4095750 h 4496940"/>
                    <a:gd name="connsiteX44" fmla="*/ 3516652 w 4519987"/>
                    <a:gd name="connsiteY44" fmla="*/ 4114800 h 4496940"/>
                    <a:gd name="connsiteX45" fmla="*/ 3497602 w 4519987"/>
                    <a:gd name="connsiteY45" fmla="*/ 4143375 h 4496940"/>
                    <a:gd name="connsiteX46" fmla="*/ 3383302 w 4519987"/>
                    <a:gd name="connsiteY46" fmla="*/ 4210050 h 4496940"/>
                    <a:gd name="connsiteX47" fmla="*/ 3335677 w 4519987"/>
                    <a:gd name="connsiteY47" fmla="*/ 4238625 h 4496940"/>
                    <a:gd name="connsiteX48" fmla="*/ 3288052 w 4519987"/>
                    <a:gd name="connsiteY48" fmla="*/ 4248150 h 4496940"/>
                    <a:gd name="connsiteX49" fmla="*/ 3240427 w 4519987"/>
                    <a:gd name="connsiteY49" fmla="*/ 4267200 h 4496940"/>
                    <a:gd name="connsiteX50" fmla="*/ 3068977 w 4519987"/>
                    <a:gd name="connsiteY50" fmla="*/ 4286250 h 4496940"/>
                    <a:gd name="connsiteX51" fmla="*/ 2935627 w 4519987"/>
                    <a:gd name="connsiteY51" fmla="*/ 4333875 h 4496940"/>
                    <a:gd name="connsiteX52" fmla="*/ 2811802 w 4519987"/>
                    <a:gd name="connsiteY52" fmla="*/ 4371975 h 4496940"/>
                    <a:gd name="connsiteX53" fmla="*/ 2745127 w 4519987"/>
                    <a:gd name="connsiteY53" fmla="*/ 4410075 h 4496940"/>
                    <a:gd name="connsiteX54" fmla="*/ 2697502 w 4519987"/>
                    <a:gd name="connsiteY54" fmla="*/ 4429125 h 4496940"/>
                    <a:gd name="connsiteX55" fmla="*/ 2640352 w 4519987"/>
                    <a:gd name="connsiteY55" fmla="*/ 4457700 h 4496940"/>
                    <a:gd name="connsiteX56" fmla="*/ 2583202 w 4519987"/>
                    <a:gd name="connsiteY56" fmla="*/ 4467225 h 4496940"/>
                    <a:gd name="connsiteX57" fmla="*/ 2545102 w 4519987"/>
                    <a:gd name="connsiteY57" fmla="*/ 4486275 h 4496940"/>
                    <a:gd name="connsiteX58" fmla="*/ 2306977 w 4519987"/>
                    <a:gd name="connsiteY58" fmla="*/ 4476750 h 4496940"/>
                    <a:gd name="connsiteX59" fmla="*/ 2202202 w 4519987"/>
                    <a:gd name="connsiteY59" fmla="*/ 4457700 h 4496940"/>
                    <a:gd name="connsiteX60" fmla="*/ 2126002 w 4519987"/>
                    <a:gd name="connsiteY60" fmla="*/ 4429125 h 4496940"/>
                    <a:gd name="connsiteX61" fmla="*/ 1935502 w 4519987"/>
                    <a:gd name="connsiteY61" fmla="*/ 4400550 h 4496940"/>
                    <a:gd name="connsiteX62" fmla="*/ 1821202 w 4519987"/>
                    <a:gd name="connsiteY62" fmla="*/ 4371975 h 4496940"/>
                    <a:gd name="connsiteX63" fmla="*/ 1754527 w 4519987"/>
                    <a:gd name="connsiteY63" fmla="*/ 4352925 h 4496940"/>
                    <a:gd name="connsiteX64" fmla="*/ 1687852 w 4519987"/>
                    <a:gd name="connsiteY64" fmla="*/ 4343400 h 4496940"/>
                    <a:gd name="connsiteX65" fmla="*/ 1573552 w 4519987"/>
                    <a:gd name="connsiteY65" fmla="*/ 4305300 h 4496940"/>
                    <a:gd name="connsiteX66" fmla="*/ 1402102 w 4519987"/>
                    <a:gd name="connsiteY66" fmla="*/ 4276725 h 4496940"/>
                    <a:gd name="connsiteX67" fmla="*/ 1287802 w 4519987"/>
                    <a:gd name="connsiteY67" fmla="*/ 4229100 h 4496940"/>
                    <a:gd name="connsiteX68" fmla="*/ 1221127 w 4519987"/>
                    <a:gd name="connsiteY68" fmla="*/ 4200525 h 4496940"/>
                    <a:gd name="connsiteX69" fmla="*/ 1144927 w 4519987"/>
                    <a:gd name="connsiteY69" fmla="*/ 4171950 h 4496940"/>
                    <a:gd name="connsiteX70" fmla="*/ 1087777 w 4519987"/>
                    <a:gd name="connsiteY70" fmla="*/ 4143375 h 4496940"/>
                    <a:gd name="connsiteX71" fmla="*/ 1030627 w 4519987"/>
                    <a:gd name="connsiteY71" fmla="*/ 4124325 h 4496940"/>
                    <a:gd name="connsiteX72" fmla="*/ 925852 w 4519987"/>
                    <a:gd name="connsiteY72" fmla="*/ 4067175 h 4496940"/>
                    <a:gd name="connsiteX73" fmla="*/ 830602 w 4519987"/>
                    <a:gd name="connsiteY73" fmla="*/ 3981450 h 4496940"/>
                    <a:gd name="connsiteX74" fmla="*/ 763927 w 4519987"/>
                    <a:gd name="connsiteY74" fmla="*/ 3914775 h 4496940"/>
                    <a:gd name="connsiteX75" fmla="*/ 725827 w 4519987"/>
                    <a:gd name="connsiteY75" fmla="*/ 3876675 h 4496940"/>
                    <a:gd name="connsiteX76" fmla="*/ 697252 w 4519987"/>
                    <a:gd name="connsiteY76" fmla="*/ 3838575 h 4496940"/>
                    <a:gd name="connsiteX77" fmla="*/ 640102 w 4519987"/>
                    <a:gd name="connsiteY77" fmla="*/ 3781425 h 4496940"/>
                    <a:gd name="connsiteX78" fmla="*/ 611527 w 4519987"/>
                    <a:gd name="connsiteY78" fmla="*/ 3733800 h 4496940"/>
                    <a:gd name="connsiteX79" fmla="*/ 554377 w 4519987"/>
                    <a:gd name="connsiteY79" fmla="*/ 3657600 h 4496940"/>
                    <a:gd name="connsiteX80" fmla="*/ 525802 w 4519987"/>
                    <a:gd name="connsiteY80" fmla="*/ 3609975 h 4496940"/>
                    <a:gd name="connsiteX81" fmla="*/ 497227 w 4519987"/>
                    <a:gd name="connsiteY81" fmla="*/ 3552825 h 4496940"/>
                    <a:gd name="connsiteX82" fmla="*/ 440077 w 4519987"/>
                    <a:gd name="connsiteY82" fmla="*/ 3495675 h 4496940"/>
                    <a:gd name="connsiteX83" fmla="*/ 411502 w 4519987"/>
                    <a:gd name="connsiteY83" fmla="*/ 3448050 h 4496940"/>
                    <a:gd name="connsiteX84" fmla="*/ 278152 w 4519987"/>
                    <a:gd name="connsiteY84" fmla="*/ 3257550 h 4496940"/>
                    <a:gd name="connsiteX85" fmla="*/ 249577 w 4519987"/>
                    <a:gd name="connsiteY85" fmla="*/ 3200400 h 4496940"/>
                    <a:gd name="connsiteX86" fmla="*/ 240052 w 4519987"/>
                    <a:gd name="connsiteY86" fmla="*/ 3162300 h 4496940"/>
                    <a:gd name="connsiteX87" fmla="*/ 221002 w 4519987"/>
                    <a:gd name="connsiteY87" fmla="*/ 3105150 h 4496940"/>
                    <a:gd name="connsiteX88" fmla="*/ 173377 w 4519987"/>
                    <a:gd name="connsiteY88" fmla="*/ 3019425 h 4496940"/>
                    <a:gd name="connsiteX89" fmla="*/ 144802 w 4519987"/>
                    <a:gd name="connsiteY89" fmla="*/ 2924175 h 4496940"/>
                    <a:gd name="connsiteX90" fmla="*/ 68602 w 4519987"/>
                    <a:gd name="connsiteY90" fmla="*/ 2724150 h 4496940"/>
                    <a:gd name="connsiteX91" fmla="*/ 49552 w 4519987"/>
                    <a:gd name="connsiteY91" fmla="*/ 2638425 h 4496940"/>
                    <a:gd name="connsiteX92" fmla="*/ 40027 w 4519987"/>
                    <a:gd name="connsiteY92" fmla="*/ 2562225 h 4496940"/>
                    <a:gd name="connsiteX93" fmla="*/ 30502 w 4519987"/>
                    <a:gd name="connsiteY93" fmla="*/ 2514600 h 4496940"/>
                    <a:gd name="connsiteX94" fmla="*/ 11452 w 4519987"/>
                    <a:gd name="connsiteY94" fmla="*/ 2400300 h 4496940"/>
                    <a:gd name="connsiteX95" fmla="*/ 20977 w 4519987"/>
                    <a:gd name="connsiteY95" fmla="*/ 1905000 h 4496940"/>
                    <a:gd name="connsiteX96" fmla="*/ 30502 w 4519987"/>
                    <a:gd name="connsiteY96" fmla="*/ 1838325 h 4496940"/>
                    <a:gd name="connsiteX97" fmla="*/ 49552 w 4519987"/>
                    <a:gd name="connsiteY97" fmla="*/ 1781175 h 4496940"/>
                    <a:gd name="connsiteX98" fmla="*/ 59077 w 4519987"/>
                    <a:gd name="connsiteY98" fmla="*/ 1743075 h 4496940"/>
                    <a:gd name="connsiteX99" fmla="*/ 78127 w 4519987"/>
                    <a:gd name="connsiteY99" fmla="*/ 1685925 h 4496940"/>
                    <a:gd name="connsiteX100" fmla="*/ 87652 w 4519987"/>
                    <a:gd name="connsiteY100" fmla="*/ 1638300 h 4496940"/>
                    <a:gd name="connsiteX101" fmla="*/ 106702 w 4519987"/>
                    <a:gd name="connsiteY101" fmla="*/ 1590675 h 4496940"/>
                    <a:gd name="connsiteX102" fmla="*/ 135277 w 4519987"/>
                    <a:gd name="connsiteY102" fmla="*/ 1504950 h 4496940"/>
                    <a:gd name="connsiteX103" fmla="*/ 154327 w 4519987"/>
                    <a:gd name="connsiteY103" fmla="*/ 1419225 h 4496940"/>
                    <a:gd name="connsiteX104" fmla="*/ 230527 w 4519987"/>
                    <a:gd name="connsiteY104" fmla="*/ 1276350 h 4496940"/>
                    <a:gd name="connsiteX105" fmla="*/ 240052 w 4519987"/>
                    <a:gd name="connsiteY105" fmla="*/ 1247775 h 4496940"/>
                    <a:gd name="connsiteX106" fmla="*/ 268627 w 4519987"/>
                    <a:gd name="connsiteY106" fmla="*/ 1200150 h 4496940"/>
                    <a:gd name="connsiteX107" fmla="*/ 287677 w 4519987"/>
                    <a:gd name="connsiteY107" fmla="*/ 1152525 h 4496940"/>
                    <a:gd name="connsiteX108" fmla="*/ 316252 w 4519987"/>
                    <a:gd name="connsiteY108" fmla="*/ 1114425 h 4496940"/>
                    <a:gd name="connsiteX109" fmla="*/ 363877 w 4519987"/>
                    <a:gd name="connsiteY109" fmla="*/ 1038225 h 4496940"/>
                    <a:gd name="connsiteX110" fmla="*/ 382927 w 4519987"/>
                    <a:gd name="connsiteY110" fmla="*/ 1009650 h 4496940"/>
                    <a:gd name="connsiteX111" fmla="*/ 440077 w 4519987"/>
                    <a:gd name="connsiteY111" fmla="*/ 904875 h 4496940"/>
                    <a:gd name="connsiteX112" fmla="*/ 478177 w 4519987"/>
                    <a:gd name="connsiteY112" fmla="*/ 857250 h 4496940"/>
                    <a:gd name="connsiteX113" fmla="*/ 497227 w 4519987"/>
                    <a:gd name="connsiteY113" fmla="*/ 828675 h 4496940"/>
                    <a:gd name="connsiteX114" fmla="*/ 535327 w 4519987"/>
                    <a:gd name="connsiteY114" fmla="*/ 800100 h 4496940"/>
                    <a:gd name="connsiteX115" fmla="*/ 602002 w 4519987"/>
                    <a:gd name="connsiteY115" fmla="*/ 733425 h 4496940"/>
                    <a:gd name="connsiteX116" fmla="*/ 668677 w 4519987"/>
                    <a:gd name="connsiteY116" fmla="*/ 676275 h 4496940"/>
                    <a:gd name="connsiteX117" fmla="*/ 697252 w 4519987"/>
                    <a:gd name="connsiteY117" fmla="*/ 657225 h 4496940"/>
                    <a:gd name="connsiteX118" fmla="*/ 840127 w 4519987"/>
                    <a:gd name="connsiteY118" fmla="*/ 533400 h 4496940"/>
                    <a:gd name="connsiteX119" fmla="*/ 887752 w 4519987"/>
                    <a:gd name="connsiteY119" fmla="*/ 504825 h 4496940"/>
                    <a:gd name="connsiteX120" fmla="*/ 1167152 w 4519987"/>
                    <a:gd name="connsiteY120" fmla="*/ 311150 h 4496940"/>
                    <a:gd name="connsiteX121" fmla="*/ 1268752 w 4519987"/>
                    <a:gd name="connsiteY121" fmla="*/ 285750 h 4496940"/>
                    <a:gd name="connsiteX122" fmla="*/ 1411627 w 4519987"/>
                    <a:gd name="connsiteY122" fmla="*/ 190500 h 4496940"/>
                    <a:gd name="connsiteX123" fmla="*/ 1449727 w 4519987"/>
                    <a:gd name="connsiteY123" fmla="*/ 161925 h 4496940"/>
                    <a:gd name="connsiteX124" fmla="*/ 1525927 w 4519987"/>
                    <a:gd name="connsiteY124" fmla="*/ 152400 h 4496940"/>
                    <a:gd name="connsiteX125" fmla="*/ 1583077 w 4519987"/>
                    <a:gd name="connsiteY125" fmla="*/ 142875 h 4496940"/>
                    <a:gd name="connsiteX126" fmla="*/ 1716427 w 4519987"/>
                    <a:gd name="connsiteY126" fmla="*/ 123825 h 4496940"/>
                    <a:gd name="connsiteX127" fmla="*/ 1811677 w 4519987"/>
                    <a:gd name="connsiteY127" fmla="*/ 114300 h 4496940"/>
                    <a:gd name="connsiteX128" fmla="*/ 1859302 w 4519987"/>
                    <a:gd name="connsiteY128" fmla="*/ 104775 h 4496940"/>
                    <a:gd name="connsiteX129" fmla="*/ 1916452 w 4519987"/>
                    <a:gd name="connsiteY129" fmla="*/ 95250 h 4496940"/>
                    <a:gd name="connsiteX130" fmla="*/ 2030752 w 4519987"/>
                    <a:gd name="connsiteY130" fmla="*/ 66675 h 4496940"/>
                    <a:gd name="connsiteX131" fmla="*/ 2097427 w 4519987"/>
                    <a:gd name="connsiteY131" fmla="*/ 47625 h 4496940"/>
                    <a:gd name="connsiteX132" fmla="*/ 2164102 w 4519987"/>
                    <a:gd name="connsiteY132" fmla="*/ 38100 h 4496940"/>
                    <a:gd name="connsiteX133" fmla="*/ 2392702 w 4519987"/>
                    <a:gd name="connsiteY13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659527 w 4519987"/>
                    <a:gd name="connsiteY39" fmla="*/ 3971925 h 4496940"/>
                    <a:gd name="connsiteX40" fmla="*/ 3630952 w 4519987"/>
                    <a:gd name="connsiteY40" fmla="*/ 4010025 h 4496940"/>
                    <a:gd name="connsiteX41" fmla="*/ 3621427 w 4519987"/>
                    <a:gd name="connsiteY41" fmla="*/ 4038600 h 4496940"/>
                    <a:gd name="connsiteX42" fmla="*/ 3554752 w 4519987"/>
                    <a:gd name="connsiteY42" fmla="*/ 4095750 h 4496940"/>
                    <a:gd name="connsiteX43" fmla="*/ 3516652 w 4519987"/>
                    <a:gd name="connsiteY43" fmla="*/ 4114800 h 4496940"/>
                    <a:gd name="connsiteX44" fmla="*/ 3497602 w 4519987"/>
                    <a:gd name="connsiteY44" fmla="*/ 4143375 h 4496940"/>
                    <a:gd name="connsiteX45" fmla="*/ 3383302 w 4519987"/>
                    <a:gd name="connsiteY45" fmla="*/ 4210050 h 4496940"/>
                    <a:gd name="connsiteX46" fmla="*/ 3335677 w 4519987"/>
                    <a:gd name="connsiteY46" fmla="*/ 4238625 h 4496940"/>
                    <a:gd name="connsiteX47" fmla="*/ 3288052 w 4519987"/>
                    <a:gd name="connsiteY47" fmla="*/ 4248150 h 4496940"/>
                    <a:gd name="connsiteX48" fmla="*/ 3240427 w 4519987"/>
                    <a:gd name="connsiteY48" fmla="*/ 4267200 h 4496940"/>
                    <a:gd name="connsiteX49" fmla="*/ 3068977 w 4519987"/>
                    <a:gd name="connsiteY49" fmla="*/ 4286250 h 4496940"/>
                    <a:gd name="connsiteX50" fmla="*/ 2935627 w 4519987"/>
                    <a:gd name="connsiteY50" fmla="*/ 4333875 h 4496940"/>
                    <a:gd name="connsiteX51" fmla="*/ 2811802 w 4519987"/>
                    <a:gd name="connsiteY51" fmla="*/ 4371975 h 4496940"/>
                    <a:gd name="connsiteX52" fmla="*/ 2745127 w 4519987"/>
                    <a:gd name="connsiteY52" fmla="*/ 4410075 h 4496940"/>
                    <a:gd name="connsiteX53" fmla="*/ 2697502 w 4519987"/>
                    <a:gd name="connsiteY53" fmla="*/ 4429125 h 4496940"/>
                    <a:gd name="connsiteX54" fmla="*/ 2640352 w 4519987"/>
                    <a:gd name="connsiteY54" fmla="*/ 4457700 h 4496940"/>
                    <a:gd name="connsiteX55" fmla="*/ 2583202 w 4519987"/>
                    <a:gd name="connsiteY55" fmla="*/ 4467225 h 4496940"/>
                    <a:gd name="connsiteX56" fmla="*/ 2545102 w 4519987"/>
                    <a:gd name="connsiteY56" fmla="*/ 4486275 h 4496940"/>
                    <a:gd name="connsiteX57" fmla="*/ 2306977 w 4519987"/>
                    <a:gd name="connsiteY57" fmla="*/ 4476750 h 4496940"/>
                    <a:gd name="connsiteX58" fmla="*/ 2202202 w 4519987"/>
                    <a:gd name="connsiteY58" fmla="*/ 4457700 h 4496940"/>
                    <a:gd name="connsiteX59" fmla="*/ 2126002 w 4519987"/>
                    <a:gd name="connsiteY59" fmla="*/ 4429125 h 4496940"/>
                    <a:gd name="connsiteX60" fmla="*/ 1935502 w 4519987"/>
                    <a:gd name="connsiteY60" fmla="*/ 4400550 h 4496940"/>
                    <a:gd name="connsiteX61" fmla="*/ 1821202 w 4519987"/>
                    <a:gd name="connsiteY61" fmla="*/ 4371975 h 4496940"/>
                    <a:gd name="connsiteX62" fmla="*/ 1754527 w 4519987"/>
                    <a:gd name="connsiteY62" fmla="*/ 4352925 h 4496940"/>
                    <a:gd name="connsiteX63" fmla="*/ 1687852 w 4519987"/>
                    <a:gd name="connsiteY63" fmla="*/ 4343400 h 4496940"/>
                    <a:gd name="connsiteX64" fmla="*/ 1573552 w 4519987"/>
                    <a:gd name="connsiteY64" fmla="*/ 4305300 h 4496940"/>
                    <a:gd name="connsiteX65" fmla="*/ 1402102 w 4519987"/>
                    <a:gd name="connsiteY65" fmla="*/ 4276725 h 4496940"/>
                    <a:gd name="connsiteX66" fmla="*/ 1287802 w 4519987"/>
                    <a:gd name="connsiteY66" fmla="*/ 4229100 h 4496940"/>
                    <a:gd name="connsiteX67" fmla="*/ 1221127 w 4519987"/>
                    <a:gd name="connsiteY67" fmla="*/ 4200525 h 4496940"/>
                    <a:gd name="connsiteX68" fmla="*/ 1144927 w 4519987"/>
                    <a:gd name="connsiteY68" fmla="*/ 4171950 h 4496940"/>
                    <a:gd name="connsiteX69" fmla="*/ 1087777 w 4519987"/>
                    <a:gd name="connsiteY69" fmla="*/ 4143375 h 4496940"/>
                    <a:gd name="connsiteX70" fmla="*/ 1030627 w 4519987"/>
                    <a:gd name="connsiteY70" fmla="*/ 4124325 h 4496940"/>
                    <a:gd name="connsiteX71" fmla="*/ 925852 w 4519987"/>
                    <a:gd name="connsiteY71" fmla="*/ 4067175 h 4496940"/>
                    <a:gd name="connsiteX72" fmla="*/ 830602 w 4519987"/>
                    <a:gd name="connsiteY72" fmla="*/ 3981450 h 4496940"/>
                    <a:gd name="connsiteX73" fmla="*/ 763927 w 4519987"/>
                    <a:gd name="connsiteY73" fmla="*/ 3914775 h 4496940"/>
                    <a:gd name="connsiteX74" fmla="*/ 725827 w 4519987"/>
                    <a:gd name="connsiteY74" fmla="*/ 3876675 h 4496940"/>
                    <a:gd name="connsiteX75" fmla="*/ 697252 w 4519987"/>
                    <a:gd name="connsiteY75" fmla="*/ 3838575 h 4496940"/>
                    <a:gd name="connsiteX76" fmla="*/ 640102 w 4519987"/>
                    <a:gd name="connsiteY76" fmla="*/ 3781425 h 4496940"/>
                    <a:gd name="connsiteX77" fmla="*/ 611527 w 4519987"/>
                    <a:gd name="connsiteY77" fmla="*/ 3733800 h 4496940"/>
                    <a:gd name="connsiteX78" fmla="*/ 554377 w 4519987"/>
                    <a:gd name="connsiteY78" fmla="*/ 3657600 h 4496940"/>
                    <a:gd name="connsiteX79" fmla="*/ 525802 w 4519987"/>
                    <a:gd name="connsiteY79" fmla="*/ 3609975 h 4496940"/>
                    <a:gd name="connsiteX80" fmla="*/ 497227 w 4519987"/>
                    <a:gd name="connsiteY80" fmla="*/ 3552825 h 4496940"/>
                    <a:gd name="connsiteX81" fmla="*/ 440077 w 4519987"/>
                    <a:gd name="connsiteY81" fmla="*/ 3495675 h 4496940"/>
                    <a:gd name="connsiteX82" fmla="*/ 411502 w 4519987"/>
                    <a:gd name="connsiteY82" fmla="*/ 3448050 h 4496940"/>
                    <a:gd name="connsiteX83" fmla="*/ 278152 w 4519987"/>
                    <a:gd name="connsiteY83" fmla="*/ 3257550 h 4496940"/>
                    <a:gd name="connsiteX84" fmla="*/ 249577 w 4519987"/>
                    <a:gd name="connsiteY84" fmla="*/ 3200400 h 4496940"/>
                    <a:gd name="connsiteX85" fmla="*/ 240052 w 4519987"/>
                    <a:gd name="connsiteY85" fmla="*/ 3162300 h 4496940"/>
                    <a:gd name="connsiteX86" fmla="*/ 221002 w 4519987"/>
                    <a:gd name="connsiteY86" fmla="*/ 3105150 h 4496940"/>
                    <a:gd name="connsiteX87" fmla="*/ 173377 w 4519987"/>
                    <a:gd name="connsiteY87" fmla="*/ 3019425 h 4496940"/>
                    <a:gd name="connsiteX88" fmla="*/ 144802 w 4519987"/>
                    <a:gd name="connsiteY88" fmla="*/ 2924175 h 4496940"/>
                    <a:gd name="connsiteX89" fmla="*/ 68602 w 4519987"/>
                    <a:gd name="connsiteY89" fmla="*/ 2724150 h 4496940"/>
                    <a:gd name="connsiteX90" fmla="*/ 49552 w 4519987"/>
                    <a:gd name="connsiteY90" fmla="*/ 2638425 h 4496940"/>
                    <a:gd name="connsiteX91" fmla="*/ 40027 w 4519987"/>
                    <a:gd name="connsiteY91" fmla="*/ 2562225 h 4496940"/>
                    <a:gd name="connsiteX92" fmla="*/ 30502 w 4519987"/>
                    <a:gd name="connsiteY92" fmla="*/ 2514600 h 4496940"/>
                    <a:gd name="connsiteX93" fmla="*/ 11452 w 4519987"/>
                    <a:gd name="connsiteY93" fmla="*/ 2400300 h 4496940"/>
                    <a:gd name="connsiteX94" fmla="*/ 20977 w 4519987"/>
                    <a:gd name="connsiteY94" fmla="*/ 1905000 h 4496940"/>
                    <a:gd name="connsiteX95" fmla="*/ 30502 w 4519987"/>
                    <a:gd name="connsiteY95" fmla="*/ 1838325 h 4496940"/>
                    <a:gd name="connsiteX96" fmla="*/ 49552 w 4519987"/>
                    <a:gd name="connsiteY96" fmla="*/ 1781175 h 4496940"/>
                    <a:gd name="connsiteX97" fmla="*/ 59077 w 4519987"/>
                    <a:gd name="connsiteY97" fmla="*/ 1743075 h 4496940"/>
                    <a:gd name="connsiteX98" fmla="*/ 78127 w 4519987"/>
                    <a:gd name="connsiteY98" fmla="*/ 1685925 h 4496940"/>
                    <a:gd name="connsiteX99" fmla="*/ 87652 w 4519987"/>
                    <a:gd name="connsiteY99" fmla="*/ 1638300 h 4496940"/>
                    <a:gd name="connsiteX100" fmla="*/ 106702 w 4519987"/>
                    <a:gd name="connsiteY100" fmla="*/ 1590675 h 4496940"/>
                    <a:gd name="connsiteX101" fmla="*/ 135277 w 4519987"/>
                    <a:gd name="connsiteY101" fmla="*/ 1504950 h 4496940"/>
                    <a:gd name="connsiteX102" fmla="*/ 154327 w 4519987"/>
                    <a:gd name="connsiteY102" fmla="*/ 1419225 h 4496940"/>
                    <a:gd name="connsiteX103" fmla="*/ 230527 w 4519987"/>
                    <a:gd name="connsiteY103" fmla="*/ 1276350 h 4496940"/>
                    <a:gd name="connsiteX104" fmla="*/ 240052 w 4519987"/>
                    <a:gd name="connsiteY104" fmla="*/ 1247775 h 4496940"/>
                    <a:gd name="connsiteX105" fmla="*/ 268627 w 4519987"/>
                    <a:gd name="connsiteY105" fmla="*/ 1200150 h 4496940"/>
                    <a:gd name="connsiteX106" fmla="*/ 287677 w 4519987"/>
                    <a:gd name="connsiteY106" fmla="*/ 1152525 h 4496940"/>
                    <a:gd name="connsiteX107" fmla="*/ 316252 w 4519987"/>
                    <a:gd name="connsiteY107" fmla="*/ 1114425 h 4496940"/>
                    <a:gd name="connsiteX108" fmla="*/ 363877 w 4519987"/>
                    <a:gd name="connsiteY108" fmla="*/ 1038225 h 4496940"/>
                    <a:gd name="connsiteX109" fmla="*/ 382927 w 4519987"/>
                    <a:gd name="connsiteY109" fmla="*/ 1009650 h 4496940"/>
                    <a:gd name="connsiteX110" fmla="*/ 440077 w 4519987"/>
                    <a:gd name="connsiteY110" fmla="*/ 904875 h 4496940"/>
                    <a:gd name="connsiteX111" fmla="*/ 478177 w 4519987"/>
                    <a:gd name="connsiteY111" fmla="*/ 857250 h 4496940"/>
                    <a:gd name="connsiteX112" fmla="*/ 497227 w 4519987"/>
                    <a:gd name="connsiteY112" fmla="*/ 828675 h 4496940"/>
                    <a:gd name="connsiteX113" fmla="*/ 535327 w 4519987"/>
                    <a:gd name="connsiteY113" fmla="*/ 800100 h 4496940"/>
                    <a:gd name="connsiteX114" fmla="*/ 602002 w 4519987"/>
                    <a:gd name="connsiteY114" fmla="*/ 733425 h 4496940"/>
                    <a:gd name="connsiteX115" fmla="*/ 668677 w 4519987"/>
                    <a:gd name="connsiteY115" fmla="*/ 676275 h 4496940"/>
                    <a:gd name="connsiteX116" fmla="*/ 697252 w 4519987"/>
                    <a:gd name="connsiteY116" fmla="*/ 657225 h 4496940"/>
                    <a:gd name="connsiteX117" fmla="*/ 840127 w 4519987"/>
                    <a:gd name="connsiteY117" fmla="*/ 533400 h 4496940"/>
                    <a:gd name="connsiteX118" fmla="*/ 887752 w 4519987"/>
                    <a:gd name="connsiteY118" fmla="*/ 504825 h 4496940"/>
                    <a:gd name="connsiteX119" fmla="*/ 1167152 w 4519987"/>
                    <a:gd name="connsiteY119" fmla="*/ 311150 h 4496940"/>
                    <a:gd name="connsiteX120" fmla="*/ 1268752 w 4519987"/>
                    <a:gd name="connsiteY120" fmla="*/ 285750 h 4496940"/>
                    <a:gd name="connsiteX121" fmla="*/ 1411627 w 4519987"/>
                    <a:gd name="connsiteY121" fmla="*/ 190500 h 4496940"/>
                    <a:gd name="connsiteX122" fmla="*/ 1449727 w 4519987"/>
                    <a:gd name="connsiteY122" fmla="*/ 161925 h 4496940"/>
                    <a:gd name="connsiteX123" fmla="*/ 1525927 w 4519987"/>
                    <a:gd name="connsiteY123" fmla="*/ 152400 h 4496940"/>
                    <a:gd name="connsiteX124" fmla="*/ 1583077 w 4519987"/>
                    <a:gd name="connsiteY124" fmla="*/ 142875 h 4496940"/>
                    <a:gd name="connsiteX125" fmla="*/ 1716427 w 4519987"/>
                    <a:gd name="connsiteY125" fmla="*/ 123825 h 4496940"/>
                    <a:gd name="connsiteX126" fmla="*/ 1811677 w 4519987"/>
                    <a:gd name="connsiteY126" fmla="*/ 114300 h 4496940"/>
                    <a:gd name="connsiteX127" fmla="*/ 1859302 w 4519987"/>
                    <a:gd name="connsiteY127" fmla="*/ 104775 h 4496940"/>
                    <a:gd name="connsiteX128" fmla="*/ 1916452 w 4519987"/>
                    <a:gd name="connsiteY128" fmla="*/ 95250 h 4496940"/>
                    <a:gd name="connsiteX129" fmla="*/ 2030752 w 4519987"/>
                    <a:gd name="connsiteY129" fmla="*/ 66675 h 4496940"/>
                    <a:gd name="connsiteX130" fmla="*/ 2097427 w 4519987"/>
                    <a:gd name="connsiteY130" fmla="*/ 47625 h 4496940"/>
                    <a:gd name="connsiteX131" fmla="*/ 2164102 w 4519987"/>
                    <a:gd name="connsiteY131" fmla="*/ 38100 h 4496940"/>
                    <a:gd name="connsiteX132" fmla="*/ 2392702 w 4519987"/>
                    <a:gd name="connsiteY13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659527 w 4519987"/>
                    <a:gd name="connsiteY38" fmla="*/ 3971925 h 4496940"/>
                    <a:gd name="connsiteX39" fmla="*/ 3630952 w 4519987"/>
                    <a:gd name="connsiteY39" fmla="*/ 4010025 h 4496940"/>
                    <a:gd name="connsiteX40" fmla="*/ 3621427 w 4519987"/>
                    <a:gd name="connsiteY40" fmla="*/ 4038600 h 4496940"/>
                    <a:gd name="connsiteX41" fmla="*/ 3554752 w 4519987"/>
                    <a:gd name="connsiteY41" fmla="*/ 4095750 h 4496940"/>
                    <a:gd name="connsiteX42" fmla="*/ 3516652 w 4519987"/>
                    <a:gd name="connsiteY42" fmla="*/ 4114800 h 4496940"/>
                    <a:gd name="connsiteX43" fmla="*/ 3497602 w 4519987"/>
                    <a:gd name="connsiteY43" fmla="*/ 4143375 h 4496940"/>
                    <a:gd name="connsiteX44" fmla="*/ 3383302 w 4519987"/>
                    <a:gd name="connsiteY44" fmla="*/ 4210050 h 4496940"/>
                    <a:gd name="connsiteX45" fmla="*/ 3335677 w 4519987"/>
                    <a:gd name="connsiteY45" fmla="*/ 4238625 h 4496940"/>
                    <a:gd name="connsiteX46" fmla="*/ 3288052 w 4519987"/>
                    <a:gd name="connsiteY46" fmla="*/ 4248150 h 4496940"/>
                    <a:gd name="connsiteX47" fmla="*/ 3240427 w 4519987"/>
                    <a:gd name="connsiteY47" fmla="*/ 4267200 h 4496940"/>
                    <a:gd name="connsiteX48" fmla="*/ 3068977 w 4519987"/>
                    <a:gd name="connsiteY48" fmla="*/ 4286250 h 4496940"/>
                    <a:gd name="connsiteX49" fmla="*/ 2935627 w 4519987"/>
                    <a:gd name="connsiteY49" fmla="*/ 4333875 h 4496940"/>
                    <a:gd name="connsiteX50" fmla="*/ 2811802 w 4519987"/>
                    <a:gd name="connsiteY50" fmla="*/ 4371975 h 4496940"/>
                    <a:gd name="connsiteX51" fmla="*/ 2745127 w 4519987"/>
                    <a:gd name="connsiteY51" fmla="*/ 4410075 h 4496940"/>
                    <a:gd name="connsiteX52" fmla="*/ 2697502 w 4519987"/>
                    <a:gd name="connsiteY52" fmla="*/ 4429125 h 4496940"/>
                    <a:gd name="connsiteX53" fmla="*/ 2640352 w 4519987"/>
                    <a:gd name="connsiteY53" fmla="*/ 4457700 h 4496940"/>
                    <a:gd name="connsiteX54" fmla="*/ 2583202 w 4519987"/>
                    <a:gd name="connsiteY54" fmla="*/ 4467225 h 4496940"/>
                    <a:gd name="connsiteX55" fmla="*/ 2545102 w 4519987"/>
                    <a:gd name="connsiteY55" fmla="*/ 4486275 h 4496940"/>
                    <a:gd name="connsiteX56" fmla="*/ 2306977 w 4519987"/>
                    <a:gd name="connsiteY56" fmla="*/ 4476750 h 4496940"/>
                    <a:gd name="connsiteX57" fmla="*/ 2202202 w 4519987"/>
                    <a:gd name="connsiteY57" fmla="*/ 4457700 h 4496940"/>
                    <a:gd name="connsiteX58" fmla="*/ 2126002 w 4519987"/>
                    <a:gd name="connsiteY58" fmla="*/ 4429125 h 4496940"/>
                    <a:gd name="connsiteX59" fmla="*/ 1935502 w 4519987"/>
                    <a:gd name="connsiteY59" fmla="*/ 4400550 h 4496940"/>
                    <a:gd name="connsiteX60" fmla="*/ 1821202 w 4519987"/>
                    <a:gd name="connsiteY60" fmla="*/ 4371975 h 4496940"/>
                    <a:gd name="connsiteX61" fmla="*/ 1754527 w 4519987"/>
                    <a:gd name="connsiteY61" fmla="*/ 4352925 h 4496940"/>
                    <a:gd name="connsiteX62" fmla="*/ 1687852 w 4519987"/>
                    <a:gd name="connsiteY62" fmla="*/ 4343400 h 4496940"/>
                    <a:gd name="connsiteX63" fmla="*/ 1573552 w 4519987"/>
                    <a:gd name="connsiteY63" fmla="*/ 4305300 h 4496940"/>
                    <a:gd name="connsiteX64" fmla="*/ 1402102 w 4519987"/>
                    <a:gd name="connsiteY64" fmla="*/ 4276725 h 4496940"/>
                    <a:gd name="connsiteX65" fmla="*/ 1287802 w 4519987"/>
                    <a:gd name="connsiteY65" fmla="*/ 4229100 h 4496940"/>
                    <a:gd name="connsiteX66" fmla="*/ 1221127 w 4519987"/>
                    <a:gd name="connsiteY66" fmla="*/ 4200525 h 4496940"/>
                    <a:gd name="connsiteX67" fmla="*/ 1144927 w 4519987"/>
                    <a:gd name="connsiteY67" fmla="*/ 4171950 h 4496940"/>
                    <a:gd name="connsiteX68" fmla="*/ 1087777 w 4519987"/>
                    <a:gd name="connsiteY68" fmla="*/ 4143375 h 4496940"/>
                    <a:gd name="connsiteX69" fmla="*/ 1030627 w 4519987"/>
                    <a:gd name="connsiteY69" fmla="*/ 4124325 h 4496940"/>
                    <a:gd name="connsiteX70" fmla="*/ 925852 w 4519987"/>
                    <a:gd name="connsiteY70" fmla="*/ 4067175 h 4496940"/>
                    <a:gd name="connsiteX71" fmla="*/ 830602 w 4519987"/>
                    <a:gd name="connsiteY71" fmla="*/ 3981450 h 4496940"/>
                    <a:gd name="connsiteX72" fmla="*/ 763927 w 4519987"/>
                    <a:gd name="connsiteY72" fmla="*/ 3914775 h 4496940"/>
                    <a:gd name="connsiteX73" fmla="*/ 725827 w 4519987"/>
                    <a:gd name="connsiteY73" fmla="*/ 3876675 h 4496940"/>
                    <a:gd name="connsiteX74" fmla="*/ 697252 w 4519987"/>
                    <a:gd name="connsiteY74" fmla="*/ 3838575 h 4496940"/>
                    <a:gd name="connsiteX75" fmla="*/ 640102 w 4519987"/>
                    <a:gd name="connsiteY75" fmla="*/ 3781425 h 4496940"/>
                    <a:gd name="connsiteX76" fmla="*/ 611527 w 4519987"/>
                    <a:gd name="connsiteY76" fmla="*/ 3733800 h 4496940"/>
                    <a:gd name="connsiteX77" fmla="*/ 554377 w 4519987"/>
                    <a:gd name="connsiteY77" fmla="*/ 3657600 h 4496940"/>
                    <a:gd name="connsiteX78" fmla="*/ 525802 w 4519987"/>
                    <a:gd name="connsiteY78" fmla="*/ 3609975 h 4496940"/>
                    <a:gd name="connsiteX79" fmla="*/ 497227 w 4519987"/>
                    <a:gd name="connsiteY79" fmla="*/ 3552825 h 4496940"/>
                    <a:gd name="connsiteX80" fmla="*/ 440077 w 4519987"/>
                    <a:gd name="connsiteY80" fmla="*/ 3495675 h 4496940"/>
                    <a:gd name="connsiteX81" fmla="*/ 411502 w 4519987"/>
                    <a:gd name="connsiteY81" fmla="*/ 3448050 h 4496940"/>
                    <a:gd name="connsiteX82" fmla="*/ 278152 w 4519987"/>
                    <a:gd name="connsiteY82" fmla="*/ 3257550 h 4496940"/>
                    <a:gd name="connsiteX83" fmla="*/ 249577 w 4519987"/>
                    <a:gd name="connsiteY83" fmla="*/ 3200400 h 4496940"/>
                    <a:gd name="connsiteX84" fmla="*/ 240052 w 4519987"/>
                    <a:gd name="connsiteY84" fmla="*/ 3162300 h 4496940"/>
                    <a:gd name="connsiteX85" fmla="*/ 221002 w 4519987"/>
                    <a:gd name="connsiteY85" fmla="*/ 3105150 h 4496940"/>
                    <a:gd name="connsiteX86" fmla="*/ 173377 w 4519987"/>
                    <a:gd name="connsiteY86" fmla="*/ 3019425 h 4496940"/>
                    <a:gd name="connsiteX87" fmla="*/ 144802 w 4519987"/>
                    <a:gd name="connsiteY87" fmla="*/ 2924175 h 4496940"/>
                    <a:gd name="connsiteX88" fmla="*/ 68602 w 4519987"/>
                    <a:gd name="connsiteY88" fmla="*/ 2724150 h 4496940"/>
                    <a:gd name="connsiteX89" fmla="*/ 49552 w 4519987"/>
                    <a:gd name="connsiteY89" fmla="*/ 2638425 h 4496940"/>
                    <a:gd name="connsiteX90" fmla="*/ 40027 w 4519987"/>
                    <a:gd name="connsiteY90" fmla="*/ 2562225 h 4496940"/>
                    <a:gd name="connsiteX91" fmla="*/ 30502 w 4519987"/>
                    <a:gd name="connsiteY91" fmla="*/ 2514600 h 4496940"/>
                    <a:gd name="connsiteX92" fmla="*/ 11452 w 4519987"/>
                    <a:gd name="connsiteY92" fmla="*/ 2400300 h 4496940"/>
                    <a:gd name="connsiteX93" fmla="*/ 20977 w 4519987"/>
                    <a:gd name="connsiteY93" fmla="*/ 1905000 h 4496940"/>
                    <a:gd name="connsiteX94" fmla="*/ 30502 w 4519987"/>
                    <a:gd name="connsiteY94" fmla="*/ 1838325 h 4496940"/>
                    <a:gd name="connsiteX95" fmla="*/ 49552 w 4519987"/>
                    <a:gd name="connsiteY95" fmla="*/ 1781175 h 4496940"/>
                    <a:gd name="connsiteX96" fmla="*/ 59077 w 4519987"/>
                    <a:gd name="connsiteY96" fmla="*/ 1743075 h 4496940"/>
                    <a:gd name="connsiteX97" fmla="*/ 78127 w 4519987"/>
                    <a:gd name="connsiteY97" fmla="*/ 1685925 h 4496940"/>
                    <a:gd name="connsiteX98" fmla="*/ 87652 w 4519987"/>
                    <a:gd name="connsiteY98" fmla="*/ 1638300 h 4496940"/>
                    <a:gd name="connsiteX99" fmla="*/ 106702 w 4519987"/>
                    <a:gd name="connsiteY99" fmla="*/ 1590675 h 4496940"/>
                    <a:gd name="connsiteX100" fmla="*/ 135277 w 4519987"/>
                    <a:gd name="connsiteY100" fmla="*/ 1504950 h 4496940"/>
                    <a:gd name="connsiteX101" fmla="*/ 154327 w 4519987"/>
                    <a:gd name="connsiteY101" fmla="*/ 1419225 h 4496940"/>
                    <a:gd name="connsiteX102" fmla="*/ 230527 w 4519987"/>
                    <a:gd name="connsiteY102" fmla="*/ 1276350 h 4496940"/>
                    <a:gd name="connsiteX103" fmla="*/ 240052 w 4519987"/>
                    <a:gd name="connsiteY103" fmla="*/ 1247775 h 4496940"/>
                    <a:gd name="connsiteX104" fmla="*/ 268627 w 4519987"/>
                    <a:gd name="connsiteY104" fmla="*/ 1200150 h 4496940"/>
                    <a:gd name="connsiteX105" fmla="*/ 287677 w 4519987"/>
                    <a:gd name="connsiteY105" fmla="*/ 1152525 h 4496940"/>
                    <a:gd name="connsiteX106" fmla="*/ 316252 w 4519987"/>
                    <a:gd name="connsiteY106" fmla="*/ 1114425 h 4496940"/>
                    <a:gd name="connsiteX107" fmla="*/ 363877 w 4519987"/>
                    <a:gd name="connsiteY107" fmla="*/ 1038225 h 4496940"/>
                    <a:gd name="connsiteX108" fmla="*/ 382927 w 4519987"/>
                    <a:gd name="connsiteY108" fmla="*/ 1009650 h 4496940"/>
                    <a:gd name="connsiteX109" fmla="*/ 440077 w 4519987"/>
                    <a:gd name="connsiteY109" fmla="*/ 904875 h 4496940"/>
                    <a:gd name="connsiteX110" fmla="*/ 478177 w 4519987"/>
                    <a:gd name="connsiteY110" fmla="*/ 857250 h 4496940"/>
                    <a:gd name="connsiteX111" fmla="*/ 497227 w 4519987"/>
                    <a:gd name="connsiteY111" fmla="*/ 828675 h 4496940"/>
                    <a:gd name="connsiteX112" fmla="*/ 535327 w 4519987"/>
                    <a:gd name="connsiteY112" fmla="*/ 800100 h 4496940"/>
                    <a:gd name="connsiteX113" fmla="*/ 602002 w 4519987"/>
                    <a:gd name="connsiteY113" fmla="*/ 733425 h 4496940"/>
                    <a:gd name="connsiteX114" fmla="*/ 668677 w 4519987"/>
                    <a:gd name="connsiteY114" fmla="*/ 676275 h 4496940"/>
                    <a:gd name="connsiteX115" fmla="*/ 697252 w 4519987"/>
                    <a:gd name="connsiteY115" fmla="*/ 657225 h 4496940"/>
                    <a:gd name="connsiteX116" fmla="*/ 840127 w 4519987"/>
                    <a:gd name="connsiteY116" fmla="*/ 533400 h 4496940"/>
                    <a:gd name="connsiteX117" fmla="*/ 887752 w 4519987"/>
                    <a:gd name="connsiteY117" fmla="*/ 504825 h 4496940"/>
                    <a:gd name="connsiteX118" fmla="*/ 1167152 w 4519987"/>
                    <a:gd name="connsiteY118" fmla="*/ 311150 h 4496940"/>
                    <a:gd name="connsiteX119" fmla="*/ 1268752 w 4519987"/>
                    <a:gd name="connsiteY119" fmla="*/ 285750 h 4496940"/>
                    <a:gd name="connsiteX120" fmla="*/ 1411627 w 4519987"/>
                    <a:gd name="connsiteY120" fmla="*/ 190500 h 4496940"/>
                    <a:gd name="connsiteX121" fmla="*/ 1449727 w 4519987"/>
                    <a:gd name="connsiteY121" fmla="*/ 161925 h 4496940"/>
                    <a:gd name="connsiteX122" fmla="*/ 1525927 w 4519987"/>
                    <a:gd name="connsiteY122" fmla="*/ 152400 h 4496940"/>
                    <a:gd name="connsiteX123" fmla="*/ 1583077 w 4519987"/>
                    <a:gd name="connsiteY123" fmla="*/ 142875 h 4496940"/>
                    <a:gd name="connsiteX124" fmla="*/ 1716427 w 4519987"/>
                    <a:gd name="connsiteY124" fmla="*/ 123825 h 4496940"/>
                    <a:gd name="connsiteX125" fmla="*/ 1811677 w 4519987"/>
                    <a:gd name="connsiteY125" fmla="*/ 114300 h 4496940"/>
                    <a:gd name="connsiteX126" fmla="*/ 1859302 w 4519987"/>
                    <a:gd name="connsiteY126" fmla="*/ 104775 h 4496940"/>
                    <a:gd name="connsiteX127" fmla="*/ 1916452 w 4519987"/>
                    <a:gd name="connsiteY127" fmla="*/ 95250 h 4496940"/>
                    <a:gd name="connsiteX128" fmla="*/ 2030752 w 4519987"/>
                    <a:gd name="connsiteY128" fmla="*/ 66675 h 4496940"/>
                    <a:gd name="connsiteX129" fmla="*/ 2097427 w 4519987"/>
                    <a:gd name="connsiteY129" fmla="*/ 47625 h 4496940"/>
                    <a:gd name="connsiteX130" fmla="*/ 2164102 w 4519987"/>
                    <a:gd name="connsiteY130" fmla="*/ 38100 h 4496940"/>
                    <a:gd name="connsiteX131" fmla="*/ 2392702 w 4519987"/>
                    <a:gd name="connsiteY13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88152 w 4519987"/>
                    <a:gd name="connsiteY33" fmla="*/ 3495675 h 4496940"/>
                    <a:gd name="connsiteX34" fmla="*/ 4059577 w 4519987"/>
                    <a:gd name="connsiteY34" fmla="*/ 3533775 h 4496940"/>
                    <a:gd name="connsiteX35" fmla="*/ 4002427 w 4519987"/>
                    <a:gd name="connsiteY35" fmla="*/ 3600450 h 4496940"/>
                    <a:gd name="connsiteX36" fmla="*/ 3954802 w 4519987"/>
                    <a:gd name="connsiteY36" fmla="*/ 3648075 h 4496940"/>
                    <a:gd name="connsiteX37" fmla="*/ 3659527 w 4519987"/>
                    <a:gd name="connsiteY37" fmla="*/ 3971925 h 4496940"/>
                    <a:gd name="connsiteX38" fmla="*/ 3630952 w 4519987"/>
                    <a:gd name="connsiteY38" fmla="*/ 4010025 h 4496940"/>
                    <a:gd name="connsiteX39" fmla="*/ 3621427 w 4519987"/>
                    <a:gd name="connsiteY39" fmla="*/ 4038600 h 4496940"/>
                    <a:gd name="connsiteX40" fmla="*/ 3554752 w 4519987"/>
                    <a:gd name="connsiteY40" fmla="*/ 4095750 h 4496940"/>
                    <a:gd name="connsiteX41" fmla="*/ 3516652 w 4519987"/>
                    <a:gd name="connsiteY41" fmla="*/ 4114800 h 4496940"/>
                    <a:gd name="connsiteX42" fmla="*/ 3497602 w 4519987"/>
                    <a:gd name="connsiteY42" fmla="*/ 4143375 h 4496940"/>
                    <a:gd name="connsiteX43" fmla="*/ 3383302 w 4519987"/>
                    <a:gd name="connsiteY43" fmla="*/ 4210050 h 4496940"/>
                    <a:gd name="connsiteX44" fmla="*/ 3335677 w 4519987"/>
                    <a:gd name="connsiteY44" fmla="*/ 4238625 h 4496940"/>
                    <a:gd name="connsiteX45" fmla="*/ 3288052 w 4519987"/>
                    <a:gd name="connsiteY45" fmla="*/ 4248150 h 4496940"/>
                    <a:gd name="connsiteX46" fmla="*/ 3240427 w 4519987"/>
                    <a:gd name="connsiteY46" fmla="*/ 4267200 h 4496940"/>
                    <a:gd name="connsiteX47" fmla="*/ 3068977 w 4519987"/>
                    <a:gd name="connsiteY47" fmla="*/ 4286250 h 4496940"/>
                    <a:gd name="connsiteX48" fmla="*/ 2935627 w 4519987"/>
                    <a:gd name="connsiteY48" fmla="*/ 4333875 h 4496940"/>
                    <a:gd name="connsiteX49" fmla="*/ 2811802 w 4519987"/>
                    <a:gd name="connsiteY49" fmla="*/ 4371975 h 4496940"/>
                    <a:gd name="connsiteX50" fmla="*/ 2745127 w 4519987"/>
                    <a:gd name="connsiteY50" fmla="*/ 4410075 h 4496940"/>
                    <a:gd name="connsiteX51" fmla="*/ 2697502 w 4519987"/>
                    <a:gd name="connsiteY51" fmla="*/ 4429125 h 4496940"/>
                    <a:gd name="connsiteX52" fmla="*/ 2640352 w 4519987"/>
                    <a:gd name="connsiteY52" fmla="*/ 4457700 h 4496940"/>
                    <a:gd name="connsiteX53" fmla="*/ 2583202 w 4519987"/>
                    <a:gd name="connsiteY53" fmla="*/ 4467225 h 4496940"/>
                    <a:gd name="connsiteX54" fmla="*/ 2545102 w 4519987"/>
                    <a:gd name="connsiteY54" fmla="*/ 4486275 h 4496940"/>
                    <a:gd name="connsiteX55" fmla="*/ 2306977 w 4519987"/>
                    <a:gd name="connsiteY55" fmla="*/ 4476750 h 4496940"/>
                    <a:gd name="connsiteX56" fmla="*/ 2202202 w 4519987"/>
                    <a:gd name="connsiteY56" fmla="*/ 4457700 h 4496940"/>
                    <a:gd name="connsiteX57" fmla="*/ 2126002 w 4519987"/>
                    <a:gd name="connsiteY57" fmla="*/ 4429125 h 4496940"/>
                    <a:gd name="connsiteX58" fmla="*/ 1935502 w 4519987"/>
                    <a:gd name="connsiteY58" fmla="*/ 4400550 h 4496940"/>
                    <a:gd name="connsiteX59" fmla="*/ 1821202 w 4519987"/>
                    <a:gd name="connsiteY59" fmla="*/ 4371975 h 4496940"/>
                    <a:gd name="connsiteX60" fmla="*/ 1754527 w 4519987"/>
                    <a:gd name="connsiteY60" fmla="*/ 4352925 h 4496940"/>
                    <a:gd name="connsiteX61" fmla="*/ 1687852 w 4519987"/>
                    <a:gd name="connsiteY61" fmla="*/ 4343400 h 4496940"/>
                    <a:gd name="connsiteX62" fmla="*/ 1573552 w 4519987"/>
                    <a:gd name="connsiteY62" fmla="*/ 4305300 h 4496940"/>
                    <a:gd name="connsiteX63" fmla="*/ 1402102 w 4519987"/>
                    <a:gd name="connsiteY63" fmla="*/ 4276725 h 4496940"/>
                    <a:gd name="connsiteX64" fmla="*/ 1287802 w 4519987"/>
                    <a:gd name="connsiteY64" fmla="*/ 4229100 h 4496940"/>
                    <a:gd name="connsiteX65" fmla="*/ 1221127 w 4519987"/>
                    <a:gd name="connsiteY65" fmla="*/ 4200525 h 4496940"/>
                    <a:gd name="connsiteX66" fmla="*/ 1144927 w 4519987"/>
                    <a:gd name="connsiteY66" fmla="*/ 4171950 h 4496940"/>
                    <a:gd name="connsiteX67" fmla="*/ 1087777 w 4519987"/>
                    <a:gd name="connsiteY67" fmla="*/ 4143375 h 4496940"/>
                    <a:gd name="connsiteX68" fmla="*/ 1030627 w 4519987"/>
                    <a:gd name="connsiteY68" fmla="*/ 4124325 h 4496940"/>
                    <a:gd name="connsiteX69" fmla="*/ 925852 w 4519987"/>
                    <a:gd name="connsiteY69" fmla="*/ 4067175 h 4496940"/>
                    <a:gd name="connsiteX70" fmla="*/ 830602 w 4519987"/>
                    <a:gd name="connsiteY70" fmla="*/ 3981450 h 4496940"/>
                    <a:gd name="connsiteX71" fmla="*/ 763927 w 4519987"/>
                    <a:gd name="connsiteY71" fmla="*/ 3914775 h 4496940"/>
                    <a:gd name="connsiteX72" fmla="*/ 725827 w 4519987"/>
                    <a:gd name="connsiteY72" fmla="*/ 3876675 h 4496940"/>
                    <a:gd name="connsiteX73" fmla="*/ 697252 w 4519987"/>
                    <a:gd name="connsiteY73" fmla="*/ 3838575 h 4496940"/>
                    <a:gd name="connsiteX74" fmla="*/ 640102 w 4519987"/>
                    <a:gd name="connsiteY74" fmla="*/ 3781425 h 4496940"/>
                    <a:gd name="connsiteX75" fmla="*/ 611527 w 4519987"/>
                    <a:gd name="connsiteY75" fmla="*/ 3733800 h 4496940"/>
                    <a:gd name="connsiteX76" fmla="*/ 554377 w 4519987"/>
                    <a:gd name="connsiteY76" fmla="*/ 3657600 h 4496940"/>
                    <a:gd name="connsiteX77" fmla="*/ 525802 w 4519987"/>
                    <a:gd name="connsiteY77" fmla="*/ 3609975 h 4496940"/>
                    <a:gd name="connsiteX78" fmla="*/ 497227 w 4519987"/>
                    <a:gd name="connsiteY78" fmla="*/ 3552825 h 4496940"/>
                    <a:gd name="connsiteX79" fmla="*/ 440077 w 4519987"/>
                    <a:gd name="connsiteY79" fmla="*/ 3495675 h 4496940"/>
                    <a:gd name="connsiteX80" fmla="*/ 411502 w 4519987"/>
                    <a:gd name="connsiteY80" fmla="*/ 3448050 h 4496940"/>
                    <a:gd name="connsiteX81" fmla="*/ 278152 w 4519987"/>
                    <a:gd name="connsiteY81" fmla="*/ 3257550 h 4496940"/>
                    <a:gd name="connsiteX82" fmla="*/ 249577 w 4519987"/>
                    <a:gd name="connsiteY82" fmla="*/ 3200400 h 4496940"/>
                    <a:gd name="connsiteX83" fmla="*/ 240052 w 4519987"/>
                    <a:gd name="connsiteY83" fmla="*/ 3162300 h 4496940"/>
                    <a:gd name="connsiteX84" fmla="*/ 221002 w 4519987"/>
                    <a:gd name="connsiteY84" fmla="*/ 3105150 h 4496940"/>
                    <a:gd name="connsiteX85" fmla="*/ 173377 w 4519987"/>
                    <a:gd name="connsiteY85" fmla="*/ 3019425 h 4496940"/>
                    <a:gd name="connsiteX86" fmla="*/ 144802 w 4519987"/>
                    <a:gd name="connsiteY86" fmla="*/ 2924175 h 4496940"/>
                    <a:gd name="connsiteX87" fmla="*/ 68602 w 4519987"/>
                    <a:gd name="connsiteY87" fmla="*/ 2724150 h 4496940"/>
                    <a:gd name="connsiteX88" fmla="*/ 49552 w 4519987"/>
                    <a:gd name="connsiteY88" fmla="*/ 2638425 h 4496940"/>
                    <a:gd name="connsiteX89" fmla="*/ 40027 w 4519987"/>
                    <a:gd name="connsiteY89" fmla="*/ 2562225 h 4496940"/>
                    <a:gd name="connsiteX90" fmla="*/ 30502 w 4519987"/>
                    <a:gd name="connsiteY90" fmla="*/ 2514600 h 4496940"/>
                    <a:gd name="connsiteX91" fmla="*/ 11452 w 4519987"/>
                    <a:gd name="connsiteY91" fmla="*/ 2400300 h 4496940"/>
                    <a:gd name="connsiteX92" fmla="*/ 20977 w 4519987"/>
                    <a:gd name="connsiteY92" fmla="*/ 1905000 h 4496940"/>
                    <a:gd name="connsiteX93" fmla="*/ 30502 w 4519987"/>
                    <a:gd name="connsiteY93" fmla="*/ 1838325 h 4496940"/>
                    <a:gd name="connsiteX94" fmla="*/ 49552 w 4519987"/>
                    <a:gd name="connsiteY94" fmla="*/ 1781175 h 4496940"/>
                    <a:gd name="connsiteX95" fmla="*/ 59077 w 4519987"/>
                    <a:gd name="connsiteY95" fmla="*/ 1743075 h 4496940"/>
                    <a:gd name="connsiteX96" fmla="*/ 78127 w 4519987"/>
                    <a:gd name="connsiteY96" fmla="*/ 1685925 h 4496940"/>
                    <a:gd name="connsiteX97" fmla="*/ 87652 w 4519987"/>
                    <a:gd name="connsiteY97" fmla="*/ 1638300 h 4496940"/>
                    <a:gd name="connsiteX98" fmla="*/ 106702 w 4519987"/>
                    <a:gd name="connsiteY98" fmla="*/ 1590675 h 4496940"/>
                    <a:gd name="connsiteX99" fmla="*/ 135277 w 4519987"/>
                    <a:gd name="connsiteY99" fmla="*/ 1504950 h 4496940"/>
                    <a:gd name="connsiteX100" fmla="*/ 154327 w 4519987"/>
                    <a:gd name="connsiteY100" fmla="*/ 1419225 h 4496940"/>
                    <a:gd name="connsiteX101" fmla="*/ 230527 w 4519987"/>
                    <a:gd name="connsiteY101" fmla="*/ 1276350 h 4496940"/>
                    <a:gd name="connsiteX102" fmla="*/ 240052 w 4519987"/>
                    <a:gd name="connsiteY102" fmla="*/ 1247775 h 4496940"/>
                    <a:gd name="connsiteX103" fmla="*/ 268627 w 4519987"/>
                    <a:gd name="connsiteY103" fmla="*/ 1200150 h 4496940"/>
                    <a:gd name="connsiteX104" fmla="*/ 287677 w 4519987"/>
                    <a:gd name="connsiteY104" fmla="*/ 1152525 h 4496940"/>
                    <a:gd name="connsiteX105" fmla="*/ 316252 w 4519987"/>
                    <a:gd name="connsiteY105" fmla="*/ 1114425 h 4496940"/>
                    <a:gd name="connsiteX106" fmla="*/ 363877 w 4519987"/>
                    <a:gd name="connsiteY106" fmla="*/ 1038225 h 4496940"/>
                    <a:gd name="connsiteX107" fmla="*/ 382927 w 4519987"/>
                    <a:gd name="connsiteY107" fmla="*/ 1009650 h 4496940"/>
                    <a:gd name="connsiteX108" fmla="*/ 440077 w 4519987"/>
                    <a:gd name="connsiteY108" fmla="*/ 904875 h 4496940"/>
                    <a:gd name="connsiteX109" fmla="*/ 478177 w 4519987"/>
                    <a:gd name="connsiteY109" fmla="*/ 857250 h 4496940"/>
                    <a:gd name="connsiteX110" fmla="*/ 497227 w 4519987"/>
                    <a:gd name="connsiteY110" fmla="*/ 828675 h 4496940"/>
                    <a:gd name="connsiteX111" fmla="*/ 535327 w 4519987"/>
                    <a:gd name="connsiteY111" fmla="*/ 800100 h 4496940"/>
                    <a:gd name="connsiteX112" fmla="*/ 602002 w 4519987"/>
                    <a:gd name="connsiteY112" fmla="*/ 733425 h 4496940"/>
                    <a:gd name="connsiteX113" fmla="*/ 668677 w 4519987"/>
                    <a:gd name="connsiteY113" fmla="*/ 676275 h 4496940"/>
                    <a:gd name="connsiteX114" fmla="*/ 697252 w 4519987"/>
                    <a:gd name="connsiteY114" fmla="*/ 657225 h 4496940"/>
                    <a:gd name="connsiteX115" fmla="*/ 840127 w 4519987"/>
                    <a:gd name="connsiteY115" fmla="*/ 533400 h 4496940"/>
                    <a:gd name="connsiteX116" fmla="*/ 887752 w 4519987"/>
                    <a:gd name="connsiteY116" fmla="*/ 504825 h 4496940"/>
                    <a:gd name="connsiteX117" fmla="*/ 1167152 w 4519987"/>
                    <a:gd name="connsiteY117" fmla="*/ 311150 h 4496940"/>
                    <a:gd name="connsiteX118" fmla="*/ 1268752 w 4519987"/>
                    <a:gd name="connsiteY118" fmla="*/ 285750 h 4496940"/>
                    <a:gd name="connsiteX119" fmla="*/ 1411627 w 4519987"/>
                    <a:gd name="connsiteY119" fmla="*/ 190500 h 4496940"/>
                    <a:gd name="connsiteX120" fmla="*/ 1449727 w 4519987"/>
                    <a:gd name="connsiteY120" fmla="*/ 161925 h 4496940"/>
                    <a:gd name="connsiteX121" fmla="*/ 1525927 w 4519987"/>
                    <a:gd name="connsiteY121" fmla="*/ 152400 h 4496940"/>
                    <a:gd name="connsiteX122" fmla="*/ 1583077 w 4519987"/>
                    <a:gd name="connsiteY122" fmla="*/ 142875 h 4496940"/>
                    <a:gd name="connsiteX123" fmla="*/ 1716427 w 4519987"/>
                    <a:gd name="connsiteY123" fmla="*/ 123825 h 4496940"/>
                    <a:gd name="connsiteX124" fmla="*/ 1811677 w 4519987"/>
                    <a:gd name="connsiteY124" fmla="*/ 114300 h 4496940"/>
                    <a:gd name="connsiteX125" fmla="*/ 1859302 w 4519987"/>
                    <a:gd name="connsiteY125" fmla="*/ 104775 h 4496940"/>
                    <a:gd name="connsiteX126" fmla="*/ 1916452 w 4519987"/>
                    <a:gd name="connsiteY126" fmla="*/ 95250 h 4496940"/>
                    <a:gd name="connsiteX127" fmla="*/ 2030752 w 4519987"/>
                    <a:gd name="connsiteY127" fmla="*/ 66675 h 4496940"/>
                    <a:gd name="connsiteX128" fmla="*/ 2097427 w 4519987"/>
                    <a:gd name="connsiteY128" fmla="*/ 47625 h 4496940"/>
                    <a:gd name="connsiteX129" fmla="*/ 2164102 w 4519987"/>
                    <a:gd name="connsiteY129" fmla="*/ 38100 h 4496940"/>
                    <a:gd name="connsiteX130" fmla="*/ 2392702 w 4519987"/>
                    <a:gd name="connsiteY13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4002427 w 4519987"/>
                    <a:gd name="connsiteY34" fmla="*/ 3600450 h 4496940"/>
                    <a:gd name="connsiteX35" fmla="*/ 3954802 w 4519987"/>
                    <a:gd name="connsiteY35" fmla="*/ 3648075 h 4496940"/>
                    <a:gd name="connsiteX36" fmla="*/ 3659527 w 4519987"/>
                    <a:gd name="connsiteY36" fmla="*/ 3971925 h 4496940"/>
                    <a:gd name="connsiteX37" fmla="*/ 3630952 w 4519987"/>
                    <a:gd name="connsiteY37" fmla="*/ 4010025 h 4496940"/>
                    <a:gd name="connsiteX38" fmla="*/ 3621427 w 4519987"/>
                    <a:gd name="connsiteY38" fmla="*/ 4038600 h 4496940"/>
                    <a:gd name="connsiteX39" fmla="*/ 3554752 w 4519987"/>
                    <a:gd name="connsiteY39" fmla="*/ 4095750 h 4496940"/>
                    <a:gd name="connsiteX40" fmla="*/ 3516652 w 4519987"/>
                    <a:gd name="connsiteY40" fmla="*/ 4114800 h 4496940"/>
                    <a:gd name="connsiteX41" fmla="*/ 3497602 w 4519987"/>
                    <a:gd name="connsiteY41" fmla="*/ 4143375 h 4496940"/>
                    <a:gd name="connsiteX42" fmla="*/ 3383302 w 4519987"/>
                    <a:gd name="connsiteY42" fmla="*/ 4210050 h 4496940"/>
                    <a:gd name="connsiteX43" fmla="*/ 3335677 w 4519987"/>
                    <a:gd name="connsiteY43" fmla="*/ 4238625 h 4496940"/>
                    <a:gd name="connsiteX44" fmla="*/ 3288052 w 4519987"/>
                    <a:gd name="connsiteY44" fmla="*/ 4248150 h 4496940"/>
                    <a:gd name="connsiteX45" fmla="*/ 3240427 w 4519987"/>
                    <a:gd name="connsiteY45" fmla="*/ 4267200 h 4496940"/>
                    <a:gd name="connsiteX46" fmla="*/ 3068977 w 4519987"/>
                    <a:gd name="connsiteY46" fmla="*/ 4286250 h 4496940"/>
                    <a:gd name="connsiteX47" fmla="*/ 2935627 w 4519987"/>
                    <a:gd name="connsiteY47" fmla="*/ 4333875 h 4496940"/>
                    <a:gd name="connsiteX48" fmla="*/ 2811802 w 4519987"/>
                    <a:gd name="connsiteY48" fmla="*/ 4371975 h 4496940"/>
                    <a:gd name="connsiteX49" fmla="*/ 2745127 w 4519987"/>
                    <a:gd name="connsiteY49" fmla="*/ 4410075 h 4496940"/>
                    <a:gd name="connsiteX50" fmla="*/ 2697502 w 4519987"/>
                    <a:gd name="connsiteY50" fmla="*/ 4429125 h 4496940"/>
                    <a:gd name="connsiteX51" fmla="*/ 2640352 w 4519987"/>
                    <a:gd name="connsiteY51" fmla="*/ 4457700 h 4496940"/>
                    <a:gd name="connsiteX52" fmla="*/ 2583202 w 4519987"/>
                    <a:gd name="connsiteY52" fmla="*/ 4467225 h 4496940"/>
                    <a:gd name="connsiteX53" fmla="*/ 2545102 w 4519987"/>
                    <a:gd name="connsiteY53" fmla="*/ 4486275 h 4496940"/>
                    <a:gd name="connsiteX54" fmla="*/ 2306977 w 4519987"/>
                    <a:gd name="connsiteY54" fmla="*/ 4476750 h 4496940"/>
                    <a:gd name="connsiteX55" fmla="*/ 2202202 w 4519987"/>
                    <a:gd name="connsiteY55" fmla="*/ 4457700 h 4496940"/>
                    <a:gd name="connsiteX56" fmla="*/ 2126002 w 4519987"/>
                    <a:gd name="connsiteY56" fmla="*/ 4429125 h 4496940"/>
                    <a:gd name="connsiteX57" fmla="*/ 1935502 w 4519987"/>
                    <a:gd name="connsiteY57" fmla="*/ 4400550 h 4496940"/>
                    <a:gd name="connsiteX58" fmla="*/ 1821202 w 4519987"/>
                    <a:gd name="connsiteY58" fmla="*/ 4371975 h 4496940"/>
                    <a:gd name="connsiteX59" fmla="*/ 1754527 w 4519987"/>
                    <a:gd name="connsiteY59" fmla="*/ 4352925 h 4496940"/>
                    <a:gd name="connsiteX60" fmla="*/ 1687852 w 4519987"/>
                    <a:gd name="connsiteY60" fmla="*/ 4343400 h 4496940"/>
                    <a:gd name="connsiteX61" fmla="*/ 1573552 w 4519987"/>
                    <a:gd name="connsiteY61" fmla="*/ 4305300 h 4496940"/>
                    <a:gd name="connsiteX62" fmla="*/ 1402102 w 4519987"/>
                    <a:gd name="connsiteY62" fmla="*/ 4276725 h 4496940"/>
                    <a:gd name="connsiteX63" fmla="*/ 1287802 w 4519987"/>
                    <a:gd name="connsiteY63" fmla="*/ 4229100 h 4496940"/>
                    <a:gd name="connsiteX64" fmla="*/ 1221127 w 4519987"/>
                    <a:gd name="connsiteY64" fmla="*/ 4200525 h 4496940"/>
                    <a:gd name="connsiteX65" fmla="*/ 1144927 w 4519987"/>
                    <a:gd name="connsiteY65" fmla="*/ 4171950 h 4496940"/>
                    <a:gd name="connsiteX66" fmla="*/ 1087777 w 4519987"/>
                    <a:gd name="connsiteY66" fmla="*/ 4143375 h 4496940"/>
                    <a:gd name="connsiteX67" fmla="*/ 1030627 w 4519987"/>
                    <a:gd name="connsiteY67" fmla="*/ 4124325 h 4496940"/>
                    <a:gd name="connsiteX68" fmla="*/ 925852 w 4519987"/>
                    <a:gd name="connsiteY68" fmla="*/ 4067175 h 4496940"/>
                    <a:gd name="connsiteX69" fmla="*/ 830602 w 4519987"/>
                    <a:gd name="connsiteY69" fmla="*/ 3981450 h 4496940"/>
                    <a:gd name="connsiteX70" fmla="*/ 763927 w 4519987"/>
                    <a:gd name="connsiteY70" fmla="*/ 3914775 h 4496940"/>
                    <a:gd name="connsiteX71" fmla="*/ 725827 w 4519987"/>
                    <a:gd name="connsiteY71" fmla="*/ 3876675 h 4496940"/>
                    <a:gd name="connsiteX72" fmla="*/ 697252 w 4519987"/>
                    <a:gd name="connsiteY72" fmla="*/ 3838575 h 4496940"/>
                    <a:gd name="connsiteX73" fmla="*/ 640102 w 4519987"/>
                    <a:gd name="connsiteY73" fmla="*/ 3781425 h 4496940"/>
                    <a:gd name="connsiteX74" fmla="*/ 611527 w 4519987"/>
                    <a:gd name="connsiteY74" fmla="*/ 3733800 h 4496940"/>
                    <a:gd name="connsiteX75" fmla="*/ 554377 w 4519987"/>
                    <a:gd name="connsiteY75" fmla="*/ 3657600 h 4496940"/>
                    <a:gd name="connsiteX76" fmla="*/ 525802 w 4519987"/>
                    <a:gd name="connsiteY76" fmla="*/ 3609975 h 4496940"/>
                    <a:gd name="connsiteX77" fmla="*/ 497227 w 4519987"/>
                    <a:gd name="connsiteY77" fmla="*/ 3552825 h 4496940"/>
                    <a:gd name="connsiteX78" fmla="*/ 440077 w 4519987"/>
                    <a:gd name="connsiteY78" fmla="*/ 3495675 h 4496940"/>
                    <a:gd name="connsiteX79" fmla="*/ 411502 w 4519987"/>
                    <a:gd name="connsiteY79" fmla="*/ 3448050 h 4496940"/>
                    <a:gd name="connsiteX80" fmla="*/ 278152 w 4519987"/>
                    <a:gd name="connsiteY80" fmla="*/ 3257550 h 4496940"/>
                    <a:gd name="connsiteX81" fmla="*/ 249577 w 4519987"/>
                    <a:gd name="connsiteY81" fmla="*/ 3200400 h 4496940"/>
                    <a:gd name="connsiteX82" fmla="*/ 240052 w 4519987"/>
                    <a:gd name="connsiteY82" fmla="*/ 3162300 h 4496940"/>
                    <a:gd name="connsiteX83" fmla="*/ 221002 w 4519987"/>
                    <a:gd name="connsiteY83" fmla="*/ 3105150 h 4496940"/>
                    <a:gd name="connsiteX84" fmla="*/ 173377 w 4519987"/>
                    <a:gd name="connsiteY84" fmla="*/ 3019425 h 4496940"/>
                    <a:gd name="connsiteX85" fmla="*/ 144802 w 4519987"/>
                    <a:gd name="connsiteY85" fmla="*/ 2924175 h 4496940"/>
                    <a:gd name="connsiteX86" fmla="*/ 68602 w 4519987"/>
                    <a:gd name="connsiteY86" fmla="*/ 2724150 h 4496940"/>
                    <a:gd name="connsiteX87" fmla="*/ 49552 w 4519987"/>
                    <a:gd name="connsiteY87" fmla="*/ 2638425 h 4496940"/>
                    <a:gd name="connsiteX88" fmla="*/ 40027 w 4519987"/>
                    <a:gd name="connsiteY88" fmla="*/ 2562225 h 4496940"/>
                    <a:gd name="connsiteX89" fmla="*/ 30502 w 4519987"/>
                    <a:gd name="connsiteY89" fmla="*/ 2514600 h 4496940"/>
                    <a:gd name="connsiteX90" fmla="*/ 11452 w 4519987"/>
                    <a:gd name="connsiteY90" fmla="*/ 2400300 h 4496940"/>
                    <a:gd name="connsiteX91" fmla="*/ 20977 w 4519987"/>
                    <a:gd name="connsiteY91" fmla="*/ 1905000 h 4496940"/>
                    <a:gd name="connsiteX92" fmla="*/ 30502 w 4519987"/>
                    <a:gd name="connsiteY92" fmla="*/ 1838325 h 4496940"/>
                    <a:gd name="connsiteX93" fmla="*/ 49552 w 4519987"/>
                    <a:gd name="connsiteY93" fmla="*/ 1781175 h 4496940"/>
                    <a:gd name="connsiteX94" fmla="*/ 59077 w 4519987"/>
                    <a:gd name="connsiteY94" fmla="*/ 1743075 h 4496940"/>
                    <a:gd name="connsiteX95" fmla="*/ 78127 w 4519987"/>
                    <a:gd name="connsiteY95" fmla="*/ 1685925 h 4496940"/>
                    <a:gd name="connsiteX96" fmla="*/ 87652 w 4519987"/>
                    <a:gd name="connsiteY96" fmla="*/ 1638300 h 4496940"/>
                    <a:gd name="connsiteX97" fmla="*/ 106702 w 4519987"/>
                    <a:gd name="connsiteY97" fmla="*/ 1590675 h 4496940"/>
                    <a:gd name="connsiteX98" fmla="*/ 135277 w 4519987"/>
                    <a:gd name="connsiteY98" fmla="*/ 1504950 h 4496940"/>
                    <a:gd name="connsiteX99" fmla="*/ 154327 w 4519987"/>
                    <a:gd name="connsiteY99" fmla="*/ 1419225 h 4496940"/>
                    <a:gd name="connsiteX100" fmla="*/ 230527 w 4519987"/>
                    <a:gd name="connsiteY100" fmla="*/ 1276350 h 4496940"/>
                    <a:gd name="connsiteX101" fmla="*/ 240052 w 4519987"/>
                    <a:gd name="connsiteY101" fmla="*/ 1247775 h 4496940"/>
                    <a:gd name="connsiteX102" fmla="*/ 268627 w 4519987"/>
                    <a:gd name="connsiteY102" fmla="*/ 1200150 h 4496940"/>
                    <a:gd name="connsiteX103" fmla="*/ 287677 w 4519987"/>
                    <a:gd name="connsiteY103" fmla="*/ 1152525 h 4496940"/>
                    <a:gd name="connsiteX104" fmla="*/ 316252 w 4519987"/>
                    <a:gd name="connsiteY104" fmla="*/ 1114425 h 4496940"/>
                    <a:gd name="connsiteX105" fmla="*/ 363877 w 4519987"/>
                    <a:gd name="connsiteY105" fmla="*/ 1038225 h 4496940"/>
                    <a:gd name="connsiteX106" fmla="*/ 382927 w 4519987"/>
                    <a:gd name="connsiteY106" fmla="*/ 1009650 h 4496940"/>
                    <a:gd name="connsiteX107" fmla="*/ 440077 w 4519987"/>
                    <a:gd name="connsiteY107" fmla="*/ 904875 h 4496940"/>
                    <a:gd name="connsiteX108" fmla="*/ 478177 w 4519987"/>
                    <a:gd name="connsiteY108" fmla="*/ 857250 h 4496940"/>
                    <a:gd name="connsiteX109" fmla="*/ 497227 w 4519987"/>
                    <a:gd name="connsiteY109" fmla="*/ 828675 h 4496940"/>
                    <a:gd name="connsiteX110" fmla="*/ 535327 w 4519987"/>
                    <a:gd name="connsiteY110" fmla="*/ 800100 h 4496940"/>
                    <a:gd name="connsiteX111" fmla="*/ 602002 w 4519987"/>
                    <a:gd name="connsiteY111" fmla="*/ 733425 h 4496940"/>
                    <a:gd name="connsiteX112" fmla="*/ 668677 w 4519987"/>
                    <a:gd name="connsiteY112" fmla="*/ 676275 h 4496940"/>
                    <a:gd name="connsiteX113" fmla="*/ 697252 w 4519987"/>
                    <a:gd name="connsiteY113" fmla="*/ 657225 h 4496940"/>
                    <a:gd name="connsiteX114" fmla="*/ 840127 w 4519987"/>
                    <a:gd name="connsiteY114" fmla="*/ 533400 h 4496940"/>
                    <a:gd name="connsiteX115" fmla="*/ 887752 w 4519987"/>
                    <a:gd name="connsiteY115" fmla="*/ 504825 h 4496940"/>
                    <a:gd name="connsiteX116" fmla="*/ 1167152 w 4519987"/>
                    <a:gd name="connsiteY116" fmla="*/ 311150 h 4496940"/>
                    <a:gd name="connsiteX117" fmla="*/ 1268752 w 4519987"/>
                    <a:gd name="connsiteY117" fmla="*/ 285750 h 4496940"/>
                    <a:gd name="connsiteX118" fmla="*/ 1411627 w 4519987"/>
                    <a:gd name="connsiteY118" fmla="*/ 190500 h 4496940"/>
                    <a:gd name="connsiteX119" fmla="*/ 1449727 w 4519987"/>
                    <a:gd name="connsiteY119" fmla="*/ 161925 h 4496940"/>
                    <a:gd name="connsiteX120" fmla="*/ 1525927 w 4519987"/>
                    <a:gd name="connsiteY120" fmla="*/ 152400 h 4496940"/>
                    <a:gd name="connsiteX121" fmla="*/ 1583077 w 4519987"/>
                    <a:gd name="connsiteY121" fmla="*/ 142875 h 4496940"/>
                    <a:gd name="connsiteX122" fmla="*/ 1716427 w 4519987"/>
                    <a:gd name="connsiteY122" fmla="*/ 123825 h 4496940"/>
                    <a:gd name="connsiteX123" fmla="*/ 1811677 w 4519987"/>
                    <a:gd name="connsiteY123" fmla="*/ 114300 h 4496940"/>
                    <a:gd name="connsiteX124" fmla="*/ 1859302 w 4519987"/>
                    <a:gd name="connsiteY124" fmla="*/ 104775 h 4496940"/>
                    <a:gd name="connsiteX125" fmla="*/ 1916452 w 4519987"/>
                    <a:gd name="connsiteY125" fmla="*/ 95250 h 4496940"/>
                    <a:gd name="connsiteX126" fmla="*/ 2030752 w 4519987"/>
                    <a:gd name="connsiteY126" fmla="*/ 66675 h 4496940"/>
                    <a:gd name="connsiteX127" fmla="*/ 2097427 w 4519987"/>
                    <a:gd name="connsiteY127" fmla="*/ 47625 h 4496940"/>
                    <a:gd name="connsiteX128" fmla="*/ 2164102 w 4519987"/>
                    <a:gd name="connsiteY128" fmla="*/ 38100 h 4496940"/>
                    <a:gd name="connsiteX129" fmla="*/ 2392702 w 4519987"/>
                    <a:gd name="connsiteY12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497602 w 4519987"/>
                    <a:gd name="connsiteY40" fmla="*/ 4143375 h 4496940"/>
                    <a:gd name="connsiteX41" fmla="*/ 3383302 w 4519987"/>
                    <a:gd name="connsiteY41" fmla="*/ 4210050 h 4496940"/>
                    <a:gd name="connsiteX42" fmla="*/ 3335677 w 4519987"/>
                    <a:gd name="connsiteY42" fmla="*/ 4238625 h 4496940"/>
                    <a:gd name="connsiteX43" fmla="*/ 3288052 w 4519987"/>
                    <a:gd name="connsiteY43" fmla="*/ 4248150 h 4496940"/>
                    <a:gd name="connsiteX44" fmla="*/ 3240427 w 4519987"/>
                    <a:gd name="connsiteY44" fmla="*/ 4267200 h 4496940"/>
                    <a:gd name="connsiteX45" fmla="*/ 3068977 w 4519987"/>
                    <a:gd name="connsiteY45" fmla="*/ 4286250 h 4496940"/>
                    <a:gd name="connsiteX46" fmla="*/ 2935627 w 4519987"/>
                    <a:gd name="connsiteY46" fmla="*/ 4333875 h 4496940"/>
                    <a:gd name="connsiteX47" fmla="*/ 2811802 w 4519987"/>
                    <a:gd name="connsiteY47" fmla="*/ 4371975 h 4496940"/>
                    <a:gd name="connsiteX48" fmla="*/ 2745127 w 4519987"/>
                    <a:gd name="connsiteY48" fmla="*/ 4410075 h 4496940"/>
                    <a:gd name="connsiteX49" fmla="*/ 2697502 w 4519987"/>
                    <a:gd name="connsiteY49" fmla="*/ 4429125 h 4496940"/>
                    <a:gd name="connsiteX50" fmla="*/ 2640352 w 4519987"/>
                    <a:gd name="connsiteY50" fmla="*/ 4457700 h 4496940"/>
                    <a:gd name="connsiteX51" fmla="*/ 2583202 w 4519987"/>
                    <a:gd name="connsiteY51" fmla="*/ 4467225 h 4496940"/>
                    <a:gd name="connsiteX52" fmla="*/ 2545102 w 4519987"/>
                    <a:gd name="connsiteY52" fmla="*/ 4486275 h 4496940"/>
                    <a:gd name="connsiteX53" fmla="*/ 2306977 w 4519987"/>
                    <a:gd name="connsiteY53" fmla="*/ 4476750 h 4496940"/>
                    <a:gd name="connsiteX54" fmla="*/ 2202202 w 4519987"/>
                    <a:gd name="connsiteY54" fmla="*/ 4457700 h 4496940"/>
                    <a:gd name="connsiteX55" fmla="*/ 2126002 w 4519987"/>
                    <a:gd name="connsiteY55" fmla="*/ 4429125 h 4496940"/>
                    <a:gd name="connsiteX56" fmla="*/ 1935502 w 4519987"/>
                    <a:gd name="connsiteY56" fmla="*/ 4400550 h 4496940"/>
                    <a:gd name="connsiteX57" fmla="*/ 1821202 w 4519987"/>
                    <a:gd name="connsiteY57" fmla="*/ 4371975 h 4496940"/>
                    <a:gd name="connsiteX58" fmla="*/ 1754527 w 4519987"/>
                    <a:gd name="connsiteY58" fmla="*/ 4352925 h 4496940"/>
                    <a:gd name="connsiteX59" fmla="*/ 1687852 w 4519987"/>
                    <a:gd name="connsiteY59" fmla="*/ 4343400 h 4496940"/>
                    <a:gd name="connsiteX60" fmla="*/ 1573552 w 4519987"/>
                    <a:gd name="connsiteY60" fmla="*/ 4305300 h 4496940"/>
                    <a:gd name="connsiteX61" fmla="*/ 1402102 w 4519987"/>
                    <a:gd name="connsiteY61" fmla="*/ 4276725 h 4496940"/>
                    <a:gd name="connsiteX62" fmla="*/ 1287802 w 4519987"/>
                    <a:gd name="connsiteY62" fmla="*/ 4229100 h 4496940"/>
                    <a:gd name="connsiteX63" fmla="*/ 1221127 w 4519987"/>
                    <a:gd name="connsiteY63" fmla="*/ 4200525 h 4496940"/>
                    <a:gd name="connsiteX64" fmla="*/ 1144927 w 4519987"/>
                    <a:gd name="connsiteY64" fmla="*/ 4171950 h 4496940"/>
                    <a:gd name="connsiteX65" fmla="*/ 1087777 w 4519987"/>
                    <a:gd name="connsiteY65" fmla="*/ 4143375 h 4496940"/>
                    <a:gd name="connsiteX66" fmla="*/ 1030627 w 4519987"/>
                    <a:gd name="connsiteY66" fmla="*/ 4124325 h 4496940"/>
                    <a:gd name="connsiteX67" fmla="*/ 925852 w 4519987"/>
                    <a:gd name="connsiteY67" fmla="*/ 4067175 h 4496940"/>
                    <a:gd name="connsiteX68" fmla="*/ 830602 w 4519987"/>
                    <a:gd name="connsiteY68" fmla="*/ 3981450 h 4496940"/>
                    <a:gd name="connsiteX69" fmla="*/ 763927 w 4519987"/>
                    <a:gd name="connsiteY69" fmla="*/ 3914775 h 4496940"/>
                    <a:gd name="connsiteX70" fmla="*/ 725827 w 4519987"/>
                    <a:gd name="connsiteY70" fmla="*/ 3876675 h 4496940"/>
                    <a:gd name="connsiteX71" fmla="*/ 697252 w 4519987"/>
                    <a:gd name="connsiteY71" fmla="*/ 3838575 h 4496940"/>
                    <a:gd name="connsiteX72" fmla="*/ 640102 w 4519987"/>
                    <a:gd name="connsiteY72" fmla="*/ 3781425 h 4496940"/>
                    <a:gd name="connsiteX73" fmla="*/ 611527 w 4519987"/>
                    <a:gd name="connsiteY73" fmla="*/ 3733800 h 4496940"/>
                    <a:gd name="connsiteX74" fmla="*/ 554377 w 4519987"/>
                    <a:gd name="connsiteY74" fmla="*/ 3657600 h 4496940"/>
                    <a:gd name="connsiteX75" fmla="*/ 525802 w 4519987"/>
                    <a:gd name="connsiteY75" fmla="*/ 3609975 h 4496940"/>
                    <a:gd name="connsiteX76" fmla="*/ 497227 w 4519987"/>
                    <a:gd name="connsiteY76" fmla="*/ 3552825 h 4496940"/>
                    <a:gd name="connsiteX77" fmla="*/ 440077 w 4519987"/>
                    <a:gd name="connsiteY77" fmla="*/ 3495675 h 4496940"/>
                    <a:gd name="connsiteX78" fmla="*/ 411502 w 4519987"/>
                    <a:gd name="connsiteY78" fmla="*/ 3448050 h 4496940"/>
                    <a:gd name="connsiteX79" fmla="*/ 278152 w 4519987"/>
                    <a:gd name="connsiteY79" fmla="*/ 3257550 h 4496940"/>
                    <a:gd name="connsiteX80" fmla="*/ 249577 w 4519987"/>
                    <a:gd name="connsiteY80" fmla="*/ 3200400 h 4496940"/>
                    <a:gd name="connsiteX81" fmla="*/ 240052 w 4519987"/>
                    <a:gd name="connsiteY81" fmla="*/ 3162300 h 4496940"/>
                    <a:gd name="connsiteX82" fmla="*/ 221002 w 4519987"/>
                    <a:gd name="connsiteY82" fmla="*/ 3105150 h 4496940"/>
                    <a:gd name="connsiteX83" fmla="*/ 173377 w 4519987"/>
                    <a:gd name="connsiteY83" fmla="*/ 3019425 h 4496940"/>
                    <a:gd name="connsiteX84" fmla="*/ 144802 w 4519987"/>
                    <a:gd name="connsiteY84" fmla="*/ 2924175 h 4496940"/>
                    <a:gd name="connsiteX85" fmla="*/ 68602 w 4519987"/>
                    <a:gd name="connsiteY85" fmla="*/ 2724150 h 4496940"/>
                    <a:gd name="connsiteX86" fmla="*/ 49552 w 4519987"/>
                    <a:gd name="connsiteY86" fmla="*/ 2638425 h 4496940"/>
                    <a:gd name="connsiteX87" fmla="*/ 40027 w 4519987"/>
                    <a:gd name="connsiteY87" fmla="*/ 2562225 h 4496940"/>
                    <a:gd name="connsiteX88" fmla="*/ 30502 w 4519987"/>
                    <a:gd name="connsiteY88" fmla="*/ 2514600 h 4496940"/>
                    <a:gd name="connsiteX89" fmla="*/ 11452 w 4519987"/>
                    <a:gd name="connsiteY89" fmla="*/ 2400300 h 4496940"/>
                    <a:gd name="connsiteX90" fmla="*/ 20977 w 4519987"/>
                    <a:gd name="connsiteY90" fmla="*/ 1905000 h 4496940"/>
                    <a:gd name="connsiteX91" fmla="*/ 30502 w 4519987"/>
                    <a:gd name="connsiteY91" fmla="*/ 1838325 h 4496940"/>
                    <a:gd name="connsiteX92" fmla="*/ 49552 w 4519987"/>
                    <a:gd name="connsiteY92" fmla="*/ 1781175 h 4496940"/>
                    <a:gd name="connsiteX93" fmla="*/ 59077 w 4519987"/>
                    <a:gd name="connsiteY93" fmla="*/ 1743075 h 4496940"/>
                    <a:gd name="connsiteX94" fmla="*/ 78127 w 4519987"/>
                    <a:gd name="connsiteY94" fmla="*/ 1685925 h 4496940"/>
                    <a:gd name="connsiteX95" fmla="*/ 87652 w 4519987"/>
                    <a:gd name="connsiteY95" fmla="*/ 1638300 h 4496940"/>
                    <a:gd name="connsiteX96" fmla="*/ 106702 w 4519987"/>
                    <a:gd name="connsiteY96" fmla="*/ 1590675 h 4496940"/>
                    <a:gd name="connsiteX97" fmla="*/ 135277 w 4519987"/>
                    <a:gd name="connsiteY97" fmla="*/ 1504950 h 4496940"/>
                    <a:gd name="connsiteX98" fmla="*/ 154327 w 4519987"/>
                    <a:gd name="connsiteY98" fmla="*/ 1419225 h 4496940"/>
                    <a:gd name="connsiteX99" fmla="*/ 230527 w 4519987"/>
                    <a:gd name="connsiteY99" fmla="*/ 1276350 h 4496940"/>
                    <a:gd name="connsiteX100" fmla="*/ 240052 w 4519987"/>
                    <a:gd name="connsiteY100" fmla="*/ 1247775 h 4496940"/>
                    <a:gd name="connsiteX101" fmla="*/ 268627 w 4519987"/>
                    <a:gd name="connsiteY101" fmla="*/ 1200150 h 4496940"/>
                    <a:gd name="connsiteX102" fmla="*/ 287677 w 4519987"/>
                    <a:gd name="connsiteY102" fmla="*/ 1152525 h 4496940"/>
                    <a:gd name="connsiteX103" fmla="*/ 316252 w 4519987"/>
                    <a:gd name="connsiteY103" fmla="*/ 1114425 h 4496940"/>
                    <a:gd name="connsiteX104" fmla="*/ 363877 w 4519987"/>
                    <a:gd name="connsiteY104" fmla="*/ 1038225 h 4496940"/>
                    <a:gd name="connsiteX105" fmla="*/ 382927 w 4519987"/>
                    <a:gd name="connsiteY105" fmla="*/ 1009650 h 4496940"/>
                    <a:gd name="connsiteX106" fmla="*/ 440077 w 4519987"/>
                    <a:gd name="connsiteY106" fmla="*/ 904875 h 4496940"/>
                    <a:gd name="connsiteX107" fmla="*/ 478177 w 4519987"/>
                    <a:gd name="connsiteY107" fmla="*/ 857250 h 4496940"/>
                    <a:gd name="connsiteX108" fmla="*/ 497227 w 4519987"/>
                    <a:gd name="connsiteY108" fmla="*/ 828675 h 4496940"/>
                    <a:gd name="connsiteX109" fmla="*/ 535327 w 4519987"/>
                    <a:gd name="connsiteY109" fmla="*/ 800100 h 4496940"/>
                    <a:gd name="connsiteX110" fmla="*/ 602002 w 4519987"/>
                    <a:gd name="connsiteY110" fmla="*/ 733425 h 4496940"/>
                    <a:gd name="connsiteX111" fmla="*/ 668677 w 4519987"/>
                    <a:gd name="connsiteY111" fmla="*/ 676275 h 4496940"/>
                    <a:gd name="connsiteX112" fmla="*/ 697252 w 4519987"/>
                    <a:gd name="connsiteY112" fmla="*/ 657225 h 4496940"/>
                    <a:gd name="connsiteX113" fmla="*/ 840127 w 4519987"/>
                    <a:gd name="connsiteY113" fmla="*/ 533400 h 4496940"/>
                    <a:gd name="connsiteX114" fmla="*/ 887752 w 4519987"/>
                    <a:gd name="connsiteY114" fmla="*/ 504825 h 4496940"/>
                    <a:gd name="connsiteX115" fmla="*/ 1167152 w 4519987"/>
                    <a:gd name="connsiteY115" fmla="*/ 311150 h 4496940"/>
                    <a:gd name="connsiteX116" fmla="*/ 1268752 w 4519987"/>
                    <a:gd name="connsiteY116" fmla="*/ 285750 h 4496940"/>
                    <a:gd name="connsiteX117" fmla="*/ 1411627 w 4519987"/>
                    <a:gd name="connsiteY117" fmla="*/ 190500 h 4496940"/>
                    <a:gd name="connsiteX118" fmla="*/ 1449727 w 4519987"/>
                    <a:gd name="connsiteY118" fmla="*/ 161925 h 4496940"/>
                    <a:gd name="connsiteX119" fmla="*/ 1525927 w 4519987"/>
                    <a:gd name="connsiteY119" fmla="*/ 152400 h 4496940"/>
                    <a:gd name="connsiteX120" fmla="*/ 1583077 w 4519987"/>
                    <a:gd name="connsiteY120" fmla="*/ 142875 h 4496940"/>
                    <a:gd name="connsiteX121" fmla="*/ 1716427 w 4519987"/>
                    <a:gd name="connsiteY121" fmla="*/ 123825 h 4496940"/>
                    <a:gd name="connsiteX122" fmla="*/ 1811677 w 4519987"/>
                    <a:gd name="connsiteY122" fmla="*/ 114300 h 4496940"/>
                    <a:gd name="connsiteX123" fmla="*/ 1859302 w 4519987"/>
                    <a:gd name="connsiteY123" fmla="*/ 104775 h 4496940"/>
                    <a:gd name="connsiteX124" fmla="*/ 1916452 w 4519987"/>
                    <a:gd name="connsiteY124" fmla="*/ 95250 h 4496940"/>
                    <a:gd name="connsiteX125" fmla="*/ 2030752 w 4519987"/>
                    <a:gd name="connsiteY125" fmla="*/ 66675 h 4496940"/>
                    <a:gd name="connsiteX126" fmla="*/ 2097427 w 4519987"/>
                    <a:gd name="connsiteY126" fmla="*/ 47625 h 4496940"/>
                    <a:gd name="connsiteX127" fmla="*/ 2164102 w 4519987"/>
                    <a:gd name="connsiteY127" fmla="*/ 38100 h 4496940"/>
                    <a:gd name="connsiteX128" fmla="*/ 2392702 w 4519987"/>
                    <a:gd name="connsiteY12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383302 w 4519987"/>
                    <a:gd name="connsiteY40" fmla="*/ 4210050 h 4496940"/>
                    <a:gd name="connsiteX41" fmla="*/ 3335677 w 4519987"/>
                    <a:gd name="connsiteY41" fmla="*/ 4238625 h 4496940"/>
                    <a:gd name="connsiteX42" fmla="*/ 3288052 w 4519987"/>
                    <a:gd name="connsiteY42" fmla="*/ 4248150 h 4496940"/>
                    <a:gd name="connsiteX43" fmla="*/ 3240427 w 4519987"/>
                    <a:gd name="connsiteY43" fmla="*/ 4267200 h 4496940"/>
                    <a:gd name="connsiteX44" fmla="*/ 3068977 w 4519987"/>
                    <a:gd name="connsiteY44" fmla="*/ 4286250 h 4496940"/>
                    <a:gd name="connsiteX45" fmla="*/ 2935627 w 4519987"/>
                    <a:gd name="connsiteY45" fmla="*/ 4333875 h 4496940"/>
                    <a:gd name="connsiteX46" fmla="*/ 2811802 w 4519987"/>
                    <a:gd name="connsiteY46" fmla="*/ 4371975 h 4496940"/>
                    <a:gd name="connsiteX47" fmla="*/ 2745127 w 4519987"/>
                    <a:gd name="connsiteY47" fmla="*/ 4410075 h 4496940"/>
                    <a:gd name="connsiteX48" fmla="*/ 2697502 w 4519987"/>
                    <a:gd name="connsiteY48" fmla="*/ 4429125 h 4496940"/>
                    <a:gd name="connsiteX49" fmla="*/ 2640352 w 4519987"/>
                    <a:gd name="connsiteY49" fmla="*/ 4457700 h 4496940"/>
                    <a:gd name="connsiteX50" fmla="*/ 2583202 w 4519987"/>
                    <a:gd name="connsiteY50" fmla="*/ 4467225 h 4496940"/>
                    <a:gd name="connsiteX51" fmla="*/ 2545102 w 4519987"/>
                    <a:gd name="connsiteY51" fmla="*/ 4486275 h 4496940"/>
                    <a:gd name="connsiteX52" fmla="*/ 2306977 w 4519987"/>
                    <a:gd name="connsiteY52" fmla="*/ 4476750 h 4496940"/>
                    <a:gd name="connsiteX53" fmla="*/ 2202202 w 4519987"/>
                    <a:gd name="connsiteY53" fmla="*/ 4457700 h 4496940"/>
                    <a:gd name="connsiteX54" fmla="*/ 2126002 w 4519987"/>
                    <a:gd name="connsiteY54" fmla="*/ 4429125 h 4496940"/>
                    <a:gd name="connsiteX55" fmla="*/ 1935502 w 4519987"/>
                    <a:gd name="connsiteY55" fmla="*/ 4400550 h 4496940"/>
                    <a:gd name="connsiteX56" fmla="*/ 1821202 w 4519987"/>
                    <a:gd name="connsiteY56" fmla="*/ 4371975 h 4496940"/>
                    <a:gd name="connsiteX57" fmla="*/ 1754527 w 4519987"/>
                    <a:gd name="connsiteY57" fmla="*/ 4352925 h 4496940"/>
                    <a:gd name="connsiteX58" fmla="*/ 1687852 w 4519987"/>
                    <a:gd name="connsiteY58" fmla="*/ 4343400 h 4496940"/>
                    <a:gd name="connsiteX59" fmla="*/ 1573552 w 4519987"/>
                    <a:gd name="connsiteY59" fmla="*/ 4305300 h 4496940"/>
                    <a:gd name="connsiteX60" fmla="*/ 1402102 w 4519987"/>
                    <a:gd name="connsiteY60" fmla="*/ 4276725 h 4496940"/>
                    <a:gd name="connsiteX61" fmla="*/ 1287802 w 4519987"/>
                    <a:gd name="connsiteY61" fmla="*/ 4229100 h 4496940"/>
                    <a:gd name="connsiteX62" fmla="*/ 1221127 w 4519987"/>
                    <a:gd name="connsiteY62" fmla="*/ 4200525 h 4496940"/>
                    <a:gd name="connsiteX63" fmla="*/ 1144927 w 4519987"/>
                    <a:gd name="connsiteY63" fmla="*/ 4171950 h 4496940"/>
                    <a:gd name="connsiteX64" fmla="*/ 1087777 w 4519987"/>
                    <a:gd name="connsiteY64" fmla="*/ 4143375 h 4496940"/>
                    <a:gd name="connsiteX65" fmla="*/ 1030627 w 4519987"/>
                    <a:gd name="connsiteY65" fmla="*/ 4124325 h 4496940"/>
                    <a:gd name="connsiteX66" fmla="*/ 925852 w 4519987"/>
                    <a:gd name="connsiteY66" fmla="*/ 4067175 h 4496940"/>
                    <a:gd name="connsiteX67" fmla="*/ 830602 w 4519987"/>
                    <a:gd name="connsiteY67" fmla="*/ 3981450 h 4496940"/>
                    <a:gd name="connsiteX68" fmla="*/ 763927 w 4519987"/>
                    <a:gd name="connsiteY68" fmla="*/ 3914775 h 4496940"/>
                    <a:gd name="connsiteX69" fmla="*/ 725827 w 4519987"/>
                    <a:gd name="connsiteY69" fmla="*/ 3876675 h 4496940"/>
                    <a:gd name="connsiteX70" fmla="*/ 697252 w 4519987"/>
                    <a:gd name="connsiteY70" fmla="*/ 3838575 h 4496940"/>
                    <a:gd name="connsiteX71" fmla="*/ 640102 w 4519987"/>
                    <a:gd name="connsiteY71" fmla="*/ 3781425 h 4496940"/>
                    <a:gd name="connsiteX72" fmla="*/ 611527 w 4519987"/>
                    <a:gd name="connsiteY72" fmla="*/ 3733800 h 4496940"/>
                    <a:gd name="connsiteX73" fmla="*/ 554377 w 4519987"/>
                    <a:gd name="connsiteY73" fmla="*/ 3657600 h 4496940"/>
                    <a:gd name="connsiteX74" fmla="*/ 525802 w 4519987"/>
                    <a:gd name="connsiteY74" fmla="*/ 3609975 h 4496940"/>
                    <a:gd name="connsiteX75" fmla="*/ 497227 w 4519987"/>
                    <a:gd name="connsiteY75" fmla="*/ 3552825 h 4496940"/>
                    <a:gd name="connsiteX76" fmla="*/ 440077 w 4519987"/>
                    <a:gd name="connsiteY76" fmla="*/ 3495675 h 4496940"/>
                    <a:gd name="connsiteX77" fmla="*/ 411502 w 4519987"/>
                    <a:gd name="connsiteY77" fmla="*/ 3448050 h 4496940"/>
                    <a:gd name="connsiteX78" fmla="*/ 278152 w 4519987"/>
                    <a:gd name="connsiteY78" fmla="*/ 3257550 h 4496940"/>
                    <a:gd name="connsiteX79" fmla="*/ 249577 w 4519987"/>
                    <a:gd name="connsiteY79" fmla="*/ 3200400 h 4496940"/>
                    <a:gd name="connsiteX80" fmla="*/ 240052 w 4519987"/>
                    <a:gd name="connsiteY80" fmla="*/ 3162300 h 4496940"/>
                    <a:gd name="connsiteX81" fmla="*/ 221002 w 4519987"/>
                    <a:gd name="connsiteY81" fmla="*/ 3105150 h 4496940"/>
                    <a:gd name="connsiteX82" fmla="*/ 173377 w 4519987"/>
                    <a:gd name="connsiteY82" fmla="*/ 3019425 h 4496940"/>
                    <a:gd name="connsiteX83" fmla="*/ 144802 w 4519987"/>
                    <a:gd name="connsiteY83" fmla="*/ 2924175 h 4496940"/>
                    <a:gd name="connsiteX84" fmla="*/ 68602 w 4519987"/>
                    <a:gd name="connsiteY84" fmla="*/ 2724150 h 4496940"/>
                    <a:gd name="connsiteX85" fmla="*/ 49552 w 4519987"/>
                    <a:gd name="connsiteY85" fmla="*/ 2638425 h 4496940"/>
                    <a:gd name="connsiteX86" fmla="*/ 40027 w 4519987"/>
                    <a:gd name="connsiteY86" fmla="*/ 2562225 h 4496940"/>
                    <a:gd name="connsiteX87" fmla="*/ 30502 w 4519987"/>
                    <a:gd name="connsiteY87" fmla="*/ 2514600 h 4496940"/>
                    <a:gd name="connsiteX88" fmla="*/ 11452 w 4519987"/>
                    <a:gd name="connsiteY88" fmla="*/ 2400300 h 4496940"/>
                    <a:gd name="connsiteX89" fmla="*/ 20977 w 4519987"/>
                    <a:gd name="connsiteY89" fmla="*/ 1905000 h 4496940"/>
                    <a:gd name="connsiteX90" fmla="*/ 30502 w 4519987"/>
                    <a:gd name="connsiteY90" fmla="*/ 1838325 h 4496940"/>
                    <a:gd name="connsiteX91" fmla="*/ 49552 w 4519987"/>
                    <a:gd name="connsiteY91" fmla="*/ 1781175 h 4496940"/>
                    <a:gd name="connsiteX92" fmla="*/ 59077 w 4519987"/>
                    <a:gd name="connsiteY92" fmla="*/ 1743075 h 4496940"/>
                    <a:gd name="connsiteX93" fmla="*/ 78127 w 4519987"/>
                    <a:gd name="connsiteY93" fmla="*/ 1685925 h 4496940"/>
                    <a:gd name="connsiteX94" fmla="*/ 87652 w 4519987"/>
                    <a:gd name="connsiteY94" fmla="*/ 1638300 h 4496940"/>
                    <a:gd name="connsiteX95" fmla="*/ 106702 w 4519987"/>
                    <a:gd name="connsiteY95" fmla="*/ 1590675 h 4496940"/>
                    <a:gd name="connsiteX96" fmla="*/ 135277 w 4519987"/>
                    <a:gd name="connsiteY96" fmla="*/ 1504950 h 4496940"/>
                    <a:gd name="connsiteX97" fmla="*/ 154327 w 4519987"/>
                    <a:gd name="connsiteY97" fmla="*/ 1419225 h 4496940"/>
                    <a:gd name="connsiteX98" fmla="*/ 230527 w 4519987"/>
                    <a:gd name="connsiteY98" fmla="*/ 1276350 h 4496940"/>
                    <a:gd name="connsiteX99" fmla="*/ 240052 w 4519987"/>
                    <a:gd name="connsiteY99" fmla="*/ 1247775 h 4496940"/>
                    <a:gd name="connsiteX100" fmla="*/ 268627 w 4519987"/>
                    <a:gd name="connsiteY100" fmla="*/ 1200150 h 4496940"/>
                    <a:gd name="connsiteX101" fmla="*/ 287677 w 4519987"/>
                    <a:gd name="connsiteY101" fmla="*/ 1152525 h 4496940"/>
                    <a:gd name="connsiteX102" fmla="*/ 316252 w 4519987"/>
                    <a:gd name="connsiteY102" fmla="*/ 1114425 h 4496940"/>
                    <a:gd name="connsiteX103" fmla="*/ 363877 w 4519987"/>
                    <a:gd name="connsiteY103" fmla="*/ 1038225 h 4496940"/>
                    <a:gd name="connsiteX104" fmla="*/ 382927 w 4519987"/>
                    <a:gd name="connsiteY104" fmla="*/ 1009650 h 4496940"/>
                    <a:gd name="connsiteX105" fmla="*/ 440077 w 4519987"/>
                    <a:gd name="connsiteY105" fmla="*/ 904875 h 4496940"/>
                    <a:gd name="connsiteX106" fmla="*/ 478177 w 4519987"/>
                    <a:gd name="connsiteY106" fmla="*/ 857250 h 4496940"/>
                    <a:gd name="connsiteX107" fmla="*/ 497227 w 4519987"/>
                    <a:gd name="connsiteY107" fmla="*/ 828675 h 4496940"/>
                    <a:gd name="connsiteX108" fmla="*/ 535327 w 4519987"/>
                    <a:gd name="connsiteY108" fmla="*/ 800100 h 4496940"/>
                    <a:gd name="connsiteX109" fmla="*/ 602002 w 4519987"/>
                    <a:gd name="connsiteY109" fmla="*/ 733425 h 4496940"/>
                    <a:gd name="connsiteX110" fmla="*/ 668677 w 4519987"/>
                    <a:gd name="connsiteY110" fmla="*/ 676275 h 4496940"/>
                    <a:gd name="connsiteX111" fmla="*/ 697252 w 4519987"/>
                    <a:gd name="connsiteY111" fmla="*/ 657225 h 4496940"/>
                    <a:gd name="connsiteX112" fmla="*/ 840127 w 4519987"/>
                    <a:gd name="connsiteY112" fmla="*/ 533400 h 4496940"/>
                    <a:gd name="connsiteX113" fmla="*/ 887752 w 4519987"/>
                    <a:gd name="connsiteY113" fmla="*/ 504825 h 4496940"/>
                    <a:gd name="connsiteX114" fmla="*/ 1167152 w 4519987"/>
                    <a:gd name="connsiteY114" fmla="*/ 311150 h 4496940"/>
                    <a:gd name="connsiteX115" fmla="*/ 1268752 w 4519987"/>
                    <a:gd name="connsiteY115" fmla="*/ 285750 h 4496940"/>
                    <a:gd name="connsiteX116" fmla="*/ 1411627 w 4519987"/>
                    <a:gd name="connsiteY116" fmla="*/ 190500 h 4496940"/>
                    <a:gd name="connsiteX117" fmla="*/ 1449727 w 4519987"/>
                    <a:gd name="connsiteY117" fmla="*/ 161925 h 4496940"/>
                    <a:gd name="connsiteX118" fmla="*/ 1525927 w 4519987"/>
                    <a:gd name="connsiteY118" fmla="*/ 152400 h 4496940"/>
                    <a:gd name="connsiteX119" fmla="*/ 1583077 w 4519987"/>
                    <a:gd name="connsiteY119" fmla="*/ 142875 h 4496940"/>
                    <a:gd name="connsiteX120" fmla="*/ 1716427 w 4519987"/>
                    <a:gd name="connsiteY120" fmla="*/ 123825 h 4496940"/>
                    <a:gd name="connsiteX121" fmla="*/ 1811677 w 4519987"/>
                    <a:gd name="connsiteY121" fmla="*/ 114300 h 4496940"/>
                    <a:gd name="connsiteX122" fmla="*/ 1859302 w 4519987"/>
                    <a:gd name="connsiteY122" fmla="*/ 104775 h 4496940"/>
                    <a:gd name="connsiteX123" fmla="*/ 1916452 w 4519987"/>
                    <a:gd name="connsiteY123" fmla="*/ 95250 h 4496940"/>
                    <a:gd name="connsiteX124" fmla="*/ 2030752 w 4519987"/>
                    <a:gd name="connsiteY124" fmla="*/ 66675 h 4496940"/>
                    <a:gd name="connsiteX125" fmla="*/ 2097427 w 4519987"/>
                    <a:gd name="connsiteY125" fmla="*/ 47625 h 4496940"/>
                    <a:gd name="connsiteX126" fmla="*/ 2164102 w 4519987"/>
                    <a:gd name="connsiteY126" fmla="*/ 38100 h 4496940"/>
                    <a:gd name="connsiteX127" fmla="*/ 2392702 w 4519987"/>
                    <a:gd name="connsiteY12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383302 w 4519987"/>
                    <a:gd name="connsiteY39" fmla="*/ 4210050 h 4496940"/>
                    <a:gd name="connsiteX40" fmla="*/ 3335677 w 4519987"/>
                    <a:gd name="connsiteY40" fmla="*/ 4238625 h 4496940"/>
                    <a:gd name="connsiteX41" fmla="*/ 3288052 w 4519987"/>
                    <a:gd name="connsiteY41" fmla="*/ 4248150 h 4496940"/>
                    <a:gd name="connsiteX42" fmla="*/ 3240427 w 4519987"/>
                    <a:gd name="connsiteY42" fmla="*/ 4267200 h 4496940"/>
                    <a:gd name="connsiteX43" fmla="*/ 3068977 w 4519987"/>
                    <a:gd name="connsiteY43" fmla="*/ 4286250 h 4496940"/>
                    <a:gd name="connsiteX44" fmla="*/ 2935627 w 4519987"/>
                    <a:gd name="connsiteY44" fmla="*/ 4333875 h 4496940"/>
                    <a:gd name="connsiteX45" fmla="*/ 2811802 w 4519987"/>
                    <a:gd name="connsiteY45" fmla="*/ 4371975 h 4496940"/>
                    <a:gd name="connsiteX46" fmla="*/ 2745127 w 4519987"/>
                    <a:gd name="connsiteY46" fmla="*/ 4410075 h 4496940"/>
                    <a:gd name="connsiteX47" fmla="*/ 2697502 w 4519987"/>
                    <a:gd name="connsiteY47" fmla="*/ 4429125 h 4496940"/>
                    <a:gd name="connsiteX48" fmla="*/ 2640352 w 4519987"/>
                    <a:gd name="connsiteY48" fmla="*/ 4457700 h 4496940"/>
                    <a:gd name="connsiteX49" fmla="*/ 2583202 w 4519987"/>
                    <a:gd name="connsiteY49" fmla="*/ 4467225 h 4496940"/>
                    <a:gd name="connsiteX50" fmla="*/ 2545102 w 4519987"/>
                    <a:gd name="connsiteY50" fmla="*/ 4486275 h 4496940"/>
                    <a:gd name="connsiteX51" fmla="*/ 2306977 w 4519987"/>
                    <a:gd name="connsiteY51" fmla="*/ 4476750 h 4496940"/>
                    <a:gd name="connsiteX52" fmla="*/ 2202202 w 4519987"/>
                    <a:gd name="connsiteY52" fmla="*/ 4457700 h 4496940"/>
                    <a:gd name="connsiteX53" fmla="*/ 2126002 w 4519987"/>
                    <a:gd name="connsiteY53" fmla="*/ 4429125 h 4496940"/>
                    <a:gd name="connsiteX54" fmla="*/ 1935502 w 4519987"/>
                    <a:gd name="connsiteY54" fmla="*/ 4400550 h 4496940"/>
                    <a:gd name="connsiteX55" fmla="*/ 1821202 w 4519987"/>
                    <a:gd name="connsiteY55" fmla="*/ 4371975 h 4496940"/>
                    <a:gd name="connsiteX56" fmla="*/ 1754527 w 4519987"/>
                    <a:gd name="connsiteY56" fmla="*/ 4352925 h 4496940"/>
                    <a:gd name="connsiteX57" fmla="*/ 1687852 w 4519987"/>
                    <a:gd name="connsiteY57" fmla="*/ 4343400 h 4496940"/>
                    <a:gd name="connsiteX58" fmla="*/ 1573552 w 4519987"/>
                    <a:gd name="connsiteY58" fmla="*/ 4305300 h 4496940"/>
                    <a:gd name="connsiteX59" fmla="*/ 1402102 w 4519987"/>
                    <a:gd name="connsiteY59" fmla="*/ 4276725 h 4496940"/>
                    <a:gd name="connsiteX60" fmla="*/ 1287802 w 4519987"/>
                    <a:gd name="connsiteY60" fmla="*/ 4229100 h 4496940"/>
                    <a:gd name="connsiteX61" fmla="*/ 1221127 w 4519987"/>
                    <a:gd name="connsiteY61" fmla="*/ 4200525 h 4496940"/>
                    <a:gd name="connsiteX62" fmla="*/ 1144927 w 4519987"/>
                    <a:gd name="connsiteY62" fmla="*/ 4171950 h 4496940"/>
                    <a:gd name="connsiteX63" fmla="*/ 1087777 w 4519987"/>
                    <a:gd name="connsiteY63" fmla="*/ 4143375 h 4496940"/>
                    <a:gd name="connsiteX64" fmla="*/ 1030627 w 4519987"/>
                    <a:gd name="connsiteY64" fmla="*/ 4124325 h 4496940"/>
                    <a:gd name="connsiteX65" fmla="*/ 925852 w 4519987"/>
                    <a:gd name="connsiteY65" fmla="*/ 4067175 h 4496940"/>
                    <a:gd name="connsiteX66" fmla="*/ 830602 w 4519987"/>
                    <a:gd name="connsiteY66" fmla="*/ 3981450 h 4496940"/>
                    <a:gd name="connsiteX67" fmla="*/ 763927 w 4519987"/>
                    <a:gd name="connsiteY67" fmla="*/ 3914775 h 4496940"/>
                    <a:gd name="connsiteX68" fmla="*/ 725827 w 4519987"/>
                    <a:gd name="connsiteY68" fmla="*/ 3876675 h 4496940"/>
                    <a:gd name="connsiteX69" fmla="*/ 697252 w 4519987"/>
                    <a:gd name="connsiteY69" fmla="*/ 3838575 h 4496940"/>
                    <a:gd name="connsiteX70" fmla="*/ 640102 w 4519987"/>
                    <a:gd name="connsiteY70" fmla="*/ 3781425 h 4496940"/>
                    <a:gd name="connsiteX71" fmla="*/ 611527 w 4519987"/>
                    <a:gd name="connsiteY71" fmla="*/ 3733800 h 4496940"/>
                    <a:gd name="connsiteX72" fmla="*/ 554377 w 4519987"/>
                    <a:gd name="connsiteY72" fmla="*/ 3657600 h 4496940"/>
                    <a:gd name="connsiteX73" fmla="*/ 525802 w 4519987"/>
                    <a:gd name="connsiteY73" fmla="*/ 3609975 h 4496940"/>
                    <a:gd name="connsiteX74" fmla="*/ 497227 w 4519987"/>
                    <a:gd name="connsiteY74" fmla="*/ 3552825 h 4496940"/>
                    <a:gd name="connsiteX75" fmla="*/ 440077 w 4519987"/>
                    <a:gd name="connsiteY75" fmla="*/ 3495675 h 4496940"/>
                    <a:gd name="connsiteX76" fmla="*/ 411502 w 4519987"/>
                    <a:gd name="connsiteY76" fmla="*/ 3448050 h 4496940"/>
                    <a:gd name="connsiteX77" fmla="*/ 278152 w 4519987"/>
                    <a:gd name="connsiteY77" fmla="*/ 3257550 h 4496940"/>
                    <a:gd name="connsiteX78" fmla="*/ 249577 w 4519987"/>
                    <a:gd name="connsiteY78" fmla="*/ 3200400 h 4496940"/>
                    <a:gd name="connsiteX79" fmla="*/ 240052 w 4519987"/>
                    <a:gd name="connsiteY79" fmla="*/ 3162300 h 4496940"/>
                    <a:gd name="connsiteX80" fmla="*/ 221002 w 4519987"/>
                    <a:gd name="connsiteY80" fmla="*/ 3105150 h 4496940"/>
                    <a:gd name="connsiteX81" fmla="*/ 173377 w 4519987"/>
                    <a:gd name="connsiteY81" fmla="*/ 3019425 h 4496940"/>
                    <a:gd name="connsiteX82" fmla="*/ 144802 w 4519987"/>
                    <a:gd name="connsiteY82" fmla="*/ 2924175 h 4496940"/>
                    <a:gd name="connsiteX83" fmla="*/ 68602 w 4519987"/>
                    <a:gd name="connsiteY83" fmla="*/ 2724150 h 4496940"/>
                    <a:gd name="connsiteX84" fmla="*/ 49552 w 4519987"/>
                    <a:gd name="connsiteY84" fmla="*/ 2638425 h 4496940"/>
                    <a:gd name="connsiteX85" fmla="*/ 40027 w 4519987"/>
                    <a:gd name="connsiteY85" fmla="*/ 2562225 h 4496940"/>
                    <a:gd name="connsiteX86" fmla="*/ 30502 w 4519987"/>
                    <a:gd name="connsiteY86" fmla="*/ 2514600 h 4496940"/>
                    <a:gd name="connsiteX87" fmla="*/ 11452 w 4519987"/>
                    <a:gd name="connsiteY87" fmla="*/ 2400300 h 4496940"/>
                    <a:gd name="connsiteX88" fmla="*/ 20977 w 4519987"/>
                    <a:gd name="connsiteY88" fmla="*/ 1905000 h 4496940"/>
                    <a:gd name="connsiteX89" fmla="*/ 30502 w 4519987"/>
                    <a:gd name="connsiteY89" fmla="*/ 1838325 h 4496940"/>
                    <a:gd name="connsiteX90" fmla="*/ 49552 w 4519987"/>
                    <a:gd name="connsiteY90" fmla="*/ 1781175 h 4496940"/>
                    <a:gd name="connsiteX91" fmla="*/ 59077 w 4519987"/>
                    <a:gd name="connsiteY91" fmla="*/ 1743075 h 4496940"/>
                    <a:gd name="connsiteX92" fmla="*/ 78127 w 4519987"/>
                    <a:gd name="connsiteY92" fmla="*/ 1685925 h 4496940"/>
                    <a:gd name="connsiteX93" fmla="*/ 87652 w 4519987"/>
                    <a:gd name="connsiteY93" fmla="*/ 1638300 h 4496940"/>
                    <a:gd name="connsiteX94" fmla="*/ 106702 w 4519987"/>
                    <a:gd name="connsiteY94" fmla="*/ 1590675 h 4496940"/>
                    <a:gd name="connsiteX95" fmla="*/ 135277 w 4519987"/>
                    <a:gd name="connsiteY95" fmla="*/ 1504950 h 4496940"/>
                    <a:gd name="connsiteX96" fmla="*/ 154327 w 4519987"/>
                    <a:gd name="connsiteY96" fmla="*/ 1419225 h 4496940"/>
                    <a:gd name="connsiteX97" fmla="*/ 230527 w 4519987"/>
                    <a:gd name="connsiteY97" fmla="*/ 1276350 h 4496940"/>
                    <a:gd name="connsiteX98" fmla="*/ 240052 w 4519987"/>
                    <a:gd name="connsiteY98" fmla="*/ 1247775 h 4496940"/>
                    <a:gd name="connsiteX99" fmla="*/ 268627 w 4519987"/>
                    <a:gd name="connsiteY99" fmla="*/ 1200150 h 4496940"/>
                    <a:gd name="connsiteX100" fmla="*/ 287677 w 4519987"/>
                    <a:gd name="connsiteY100" fmla="*/ 1152525 h 4496940"/>
                    <a:gd name="connsiteX101" fmla="*/ 316252 w 4519987"/>
                    <a:gd name="connsiteY101" fmla="*/ 1114425 h 4496940"/>
                    <a:gd name="connsiteX102" fmla="*/ 363877 w 4519987"/>
                    <a:gd name="connsiteY102" fmla="*/ 1038225 h 4496940"/>
                    <a:gd name="connsiteX103" fmla="*/ 382927 w 4519987"/>
                    <a:gd name="connsiteY103" fmla="*/ 1009650 h 4496940"/>
                    <a:gd name="connsiteX104" fmla="*/ 440077 w 4519987"/>
                    <a:gd name="connsiteY104" fmla="*/ 904875 h 4496940"/>
                    <a:gd name="connsiteX105" fmla="*/ 478177 w 4519987"/>
                    <a:gd name="connsiteY105" fmla="*/ 857250 h 4496940"/>
                    <a:gd name="connsiteX106" fmla="*/ 497227 w 4519987"/>
                    <a:gd name="connsiteY106" fmla="*/ 828675 h 4496940"/>
                    <a:gd name="connsiteX107" fmla="*/ 535327 w 4519987"/>
                    <a:gd name="connsiteY107" fmla="*/ 800100 h 4496940"/>
                    <a:gd name="connsiteX108" fmla="*/ 602002 w 4519987"/>
                    <a:gd name="connsiteY108" fmla="*/ 733425 h 4496940"/>
                    <a:gd name="connsiteX109" fmla="*/ 668677 w 4519987"/>
                    <a:gd name="connsiteY109" fmla="*/ 676275 h 4496940"/>
                    <a:gd name="connsiteX110" fmla="*/ 697252 w 4519987"/>
                    <a:gd name="connsiteY110" fmla="*/ 657225 h 4496940"/>
                    <a:gd name="connsiteX111" fmla="*/ 840127 w 4519987"/>
                    <a:gd name="connsiteY111" fmla="*/ 533400 h 4496940"/>
                    <a:gd name="connsiteX112" fmla="*/ 887752 w 4519987"/>
                    <a:gd name="connsiteY112" fmla="*/ 504825 h 4496940"/>
                    <a:gd name="connsiteX113" fmla="*/ 1167152 w 4519987"/>
                    <a:gd name="connsiteY113" fmla="*/ 311150 h 4496940"/>
                    <a:gd name="connsiteX114" fmla="*/ 1268752 w 4519987"/>
                    <a:gd name="connsiteY114" fmla="*/ 285750 h 4496940"/>
                    <a:gd name="connsiteX115" fmla="*/ 1411627 w 4519987"/>
                    <a:gd name="connsiteY115" fmla="*/ 190500 h 4496940"/>
                    <a:gd name="connsiteX116" fmla="*/ 1449727 w 4519987"/>
                    <a:gd name="connsiteY116" fmla="*/ 161925 h 4496940"/>
                    <a:gd name="connsiteX117" fmla="*/ 1525927 w 4519987"/>
                    <a:gd name="connsiteY117" fmla="*/ 152400 h 4496940"/>
                    <a:gd name="connsiteX118" fmla="*/ 1583077 w 4519987"/>
                    <a:gd name="connsiteY118" fmla="*/ 142875 h 4496940"/>
                    <a:gd name="connsiteX119" fmla="*/ 1716427 w 4519987"/>
                    <a:gd name="connsiteY119" fmla="*/ 123825 h 4496940"/>
                    <a:gd name="connsiteX120" fmla="*/ 1811677 w 4519987"/>
                    <a:gd name="connsiteY120" fmla="*/ 114300 h 4496940"/>
                    <a:gd name="connsiteX121" fmla="*/ 1859302 w 4519987"/>
                    <a:gd name="connsiteY121" fmla="*/ 104775 h 4496940"/>
                    <a:gd name="connsiteX122" fmla="*/ 1916452 w 4519987"/>
                    <a:gd name="connsiteY122" fmla="*/ 95250 h 4496940"/>
                    <a:gd name="connsiteX123" fmla="*/ 2030752 w 4519987"/>
                    <a:gd name="connsiteY123" fmla="*/ 66675 h 4496940"/>
                    <a:gd name="connsiteX124" fmla="*/ 2097427 w 4519987"/>
                    <a:gd name="connsiteY124" fmla="*/ 47625 h 4496940"/>
                    <a:gd name="connsiteX125" fmla="*/ 2164102 w 4519987"/>
                    <a:gd name="connsiteY125" fmla="*/ 38100 h 4496940"/>
                    <a:gd name="connsiteX126" fmla="*/ 2392702 w 4519987"/>
                    <a:gd name="connsiteY12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554752 w 4519987"/>
                    <a:gd name="connsiteY37" fmla="*/ 4095750 h 4496940"/>
                    <a:gd name="connsiteX38" fmla="*/ 3383302 w 4519987"/>
                    <a:gd name="connsiteY38" fmla="*/ 4210050 h 4496940"/>
                    <a:gd name="connsiteX39" fmla="*/ 3335677 w 4519987"/>
                    <a:gd name="connsiteY39" fmla="*/ 4238625 h 4496940"/>
                    <a:gd name="connsiteX40" fmla="*/ 3288052 w 4519987"/>
                    <a:gd name="connsiteY40" fmla="*/ 4248150 h 4496940"/>
                    <a:gd name="connsiteX41" fmla="*/ 3240427 w 4519987"/>
                    <a:gd name="connsiteY41" fmla="*/ 4267200 h 4496940"/>
                    <a:gd name="connsiteX42" fmla="*/ 3068977 w 4519987"/>
                    <a:gd name="connsiteY42" fmla="*/ 4286250 h 4496940"/>
                    <a:gd name="connsiteX43" fmla="*/ 2935627 w 4519987"/>
                    <a:gd name="connsiteY43" fmla="*/ 4333875 h 4496940"/>
                    <a:gd name="connsiteX44" fmla="*/ 2811802 w 4519987"/>
                    <a:gd name="connsiteY44" fmla="*/ 4371975 h 4496940"/>
                    <a:gd name="connsiteX45" fmla="*/ 2745127 w 4519987"/>
                    <a:gd name="connsiteY45" fmla="*/ 4410075 h 4496940"/>
                    <a:gd name="connsiteX46" fmla="*/ 2697502 w 4519987"/>
                    <a:gd name="connsiteY46" fmla="*/ 4429125 h 4496940"/>
                    <a:gd name="connsiteX47" fmla="*/ 2640352 w 4519987"/>
                    <a:gd name="connsiteY47" fmla="*/ 4457700 h 4496940"/>
                    <a:gd name="connsiteX48" fmla="*/ 2583202 w 4519987"/>
                    <a:gd name="connsiteY48" fmla="*/ 4467225 h 4496940"/>
                    <a:gd name="connsiteX49" fmla="*/ 2545102 w 4519987"/>
                    <a:gd name="connsiteY49" fmla="*/ 4486275 h 4496940"/>
                    <a:gd name="connsiteX50" fmla="*/ 2306977 w 4519987"/>
                    <a:gd name="connsiteY50" fmla="*/ 4476750 h 4496940"/>
                    <a:gd name="connsiteX51" fmla="*/ 2202202 w 4519987"/>
                    <a:gd name="connsiteY51" fmla="*/ 4457700 h 4496940"/>
                    <a:gd name="connsiteX52" fmla="*/ 2126002 w 4519987"/>
                    <a:gd name="connsiteY52" fmla="*/ 4429125 h 4496940"/>
                    <a:gd name="connsiteX53" fmla="*/ 1935502 w 4519987"/>
                    <a:gd name="connsiteY53" fmla="*/ 4400550 h 4496940"/>
                    <a:gd name="connsiteX54" fmla="*/ 1821202 w 4519987"/>
                    <a:gd name="connsiteY54" fmla="*/ 4371975 h 4496940"/>
                    <a:gd name="connsiteX55" fmla="*/ 1754527 w 4519987"/>
                    <a:gd name="connsiteY55" fmla="*/ 4352925 h 4496940"/>
                    <a:gd name="connsiteX56" fmla="*/ 1687852 w 4519987"/>
                    <a:gd name="connsiteY56" fmla="*/ 4343400 h 4496940"/>
                    <a:gd name="connsiteX57" fmla="*/ 1573552 w 4519987"/>
                    <a:gd name="connsiteY57" fmla="*/ 4305300 h 4496940"/>
                    <a:gd name="connsiteX58" fmla="*/ 1402102 w 4519987"/>
                    <a:gd name="connsiteY58" fmla="*/ 4276725 h 4496940"/>
                    <a:gd name="connsiteX59" fmla="*/ 1287802 w 4519987"/>
                    <a:gd name="connsiteY59" fmla="*/ 4229100 h 4496940"/>
                    <a:gd name="connsiteX60" fmla="*/ 1221127 w 4519987"/>
                    <a:gd name="connsiteY60" fmla="*/ 4200525 h 4496940"/>
                    <a:gd name="connsiteX61" fmla="*/ 1144927 w 4519987"/>
                    <a:gd name="connsiteY61" fmla="*/ 4171950 h 4496940"/>
                    <a:gd name="connsiteX62" fmla="*/ 1087777 w 4519987"/>
                    <a:gd name="connsiteY62" fmla="*/ 4143375 h 4496940"/>
                    <a:gd name="connsiteX63" fmla="*/ 1030627 w 4519987"/>
                    <a:gd name="connsiteY63" fmla="*/ 4124325 h 4496940"/>
                    <a:gd name="connsiteX64" fmla="*/ 925852 w 4519987"/>
                    <a:gd name="connsiteY64" fmla="*/ 4067175 h 4496940"/>
                    <a:gd name="connsiteX65" fmla="*/ 830602 w 4519987"/>
                    <a:gd name="connsiteY65" fmla="*/ 3981450 h 4496940"/>
                    <a:gd name="connsiteX66" fmla="*/ 763927 w 4519987"/>
                    <a:gd name="connsiteY66" fmla="*/ 3914775 h 4496940"/>
                    <a:gd name="connsiteX67" fmla="*/ 725827 w 4519987"/>
                    <a:gd name="connsiteY67" fmla="*/ 3876675 h 4496940"/>
                    <a:gd name="connsiteX68" fmla="*/ 697252 w 4519987"/>
                    <a:gd name="connsiteY68" fmla="*/ 3838575 h 4496940"/>
                    <a:gd name="connsiteX69" fmla="*/ 640102 w 4519987"/>
                    <a:gd name="connsiteY69" fmla="*/ 3781425 h 4496940"/>
                    <a:gd name="connsiteX70" fmla="*/ 611527 w 4519987"/>
                    <a:gd name="connsiteY70" fmla="*/ 3733800 h 4496940"/>
                    <a:gd name="connsiteX71" fmla="*/ 554377 w 4519987"/>
                    <a:gd name="connsiteY71" fmla="*/ 3657600 h 4496940"/>
                    <a:gd name="connsiteX72" fmla="*/ 525802 w 4519987"/>
                    <a:gd name="connsiteY72" fmla="*/ 3609975 h 4496940"/>
                    <a:gd name="connsiteX73" fmla="*/ 497227 w 4519987"/>
                    <a:gd name="connsiteY73" fmla="*/ 3552825 h 4496940"/>
                    <a:gd name="connsiteX74" fmla="*/ 440077 w 4519987"/>
                    <a:gd name="connsiteY74" fmla="*/ 3495675 h 4496940"/>
                    <a:gd name="connsiteX75" fmla="*/ 411502 w 4519987"/>
                    <a:gd name="connsiteY75" fmla="*/ 3448050 h 4496940"/>
                    <a:gd name="connsiteX76" fmla="*/ 278152 w 4519987"/>
                    <a:gd name="connsiteY76" fmla="*/ 3257550 h 4496940"/>
                    <a:gd name="connsiteX77" fmla="*/ 249577 w 4519987"/>
                    <a:gd name="connsiteY77" fmla="*/ 3200400 h 4496940"/>
                    <a:gd name="connsiteX78" fmla="*/ 240052 w 4519987"/>
                    <a:gd name="connsiteY78" fmla="*/ 3162300 h 4496940"/>
                    <a:gd name="connsiteX79" fmla="*/ 221002 w 4519987"/>
                    <a:gd name="connsiteY79" fmla="*/ 3105150 h 4496940"/>
                    <a:gd name="connsiteX80" fmla="*/ 173377 w 4519987"/>
                    <a:gd name="connsiteY80" fmla="*/ 3019425 h 4496940"/>
                    <a:gd name="connsiteX81" fmla="*/ 144802 w 4519987"/>
                    <a:gd name="connsiteY81" fmla="*/ 2924175 h 4496940"/>
                    <a:gd name="connsiteX82" fmla="*/ 68602 w 4519987"/>
                    <a:gd name="connsiteY82" fmla="*/ 2724150 h 4496940"/>
                    <a:gd name="connsiteX83" fmla="*/ 49552 w 4519987"/>
                    <a:gd name="connsiteY83" fmla="*/ 2638425 h 4496940"/>
                    <a:gd name="connsiteX84" fmla="*/ 40027 w 4519987"/>
                    <a:gd name="connsiteY84" fmla="*/ 2562225 h 4496940"/>
                    <a:gd name="connsiteX85" fmla="*/ 30502 w 4519987"/>
                    <a:gd name="connsiteY85" fmla="*/ 2514600 h 4496940"/>
                    <a:gd name="connsiteX86" fmla="*/ 11452 w 4519987"/>
                    <a:gd name="connsiteY86" fmla="*/ 2400300 h 4496940"/>
                    <a:gd name="connsiteX87" fmla="*/ 20977 w 4519987"/>
                    <a:gd name="connsiteY87" fmla="*/ 1905000 h 4496940"/>
                    <a:gd name="connsiteX88" fmla="*/ 30502 w 4519987"/>
                    <a:gd name="connsiteY88" fmla="*/ 1838325 h 4496940"/>
                    <a:gd name="connsiteX89" fmla="*/ 49552 w 4519987"/>
                    <a:gd name="connsiteY89" fmla="*/ 1781175 h 4496940"/>
                    <a:gd name="connsiteX90" fmla="*/ 59077 w 4519987"/>
                    <a:gd name="connsiteY90" fmla="*/ 1743075 h 4496940"/>
                    <a:gd name="connsiteX91" fmla="*/ 78127 w 4519987"/>
                    <a:gd name="connsiteY91" fmla="*/ 1685925 h 4496940"/>
                    <a:gd name="connsiteX92" fmla="*/ 87652 w 4519987"/>
                    <a:gd name="connsiteY92" fmla="*/ 1638300 h 4496940"/>
                    <a:gd name="connsiteX93" fmla="*/ 106702 w 4519987"/>
                    <a:gd name="connsiteY93" fmla="*/ 1590675 h 4496940"/>
                    <a:gd name="connsiteX94" fmla="*/ 135277 w 4519987"/>
                    <a:gd name="connsiteY94" fmla="*/ 1504950 h 4496940"/>
                    <a:gd name="connsiteX95" fmla="*/ 154327 w 4519987"/>
                    <a:gd name="connsiteY95" fmla="*/ 1419225 h 4496940"/>
                    <a:gd name="connsiteX96" fmla="*/ 230527 w 4519987"/>
                    <a:gd name="connsiteY96" fmla="*/ 1276350 h 4496940"/>
                    <a:gd name="connsiteX97" fmla="*/ 240052 w 4519987"/>
                    <a:gd name="connsiteY97" fmla="*/ 1247775 h 4496940"/>
                    <a:gd name="connsiteX98" fmla="*/ 268627 w 4519987"/>
                    <a:gd name="connsiteY98" fmla="*/ 1200150 h 4496940"/>
                    <a:gd name="connsiteX99" fmla="*/ 287677 w 4519987"/>
                    <a:gd name="connsiteY99" fmla="*/ 1152525 h 4496940"/>
                    <a:gd name="connsiteX100" fmla="*/ 316252 w 4519987"/>
                    <a:gd name="connsiteY100" fmla="*/ 1114425 h 4496940"/>
                    <a:gd name="connsiteX101" fmla="*/ 363877 w 4519987"/>
                    <a:gd name="connsiteY101" fmla="*/ 1038225 h 4496940"/>
                    <a:gd name="connsiteX102" fmla="*/ 382927 w 4519987"/>
                    <a:gd name="connsiteY102" fmla="*/ 1009650 h 4496940"/>
                    <a:gd name="connsiteX103" fmla="*/ 440077 w 4519987"/>
                    <a:gd name="connsiteY103" fmla="*/ 904875 h 4496940"/>
                    <a:gd name="connsiteX104" fmla="*/ 478177 w 4519987"/>
                    <a:gd name="connsiteY104" fmla="*/ 857250 h 4496940"/>
                    <a:gd name="connsiteX105" fmla="*/ 497227 w 4519987"/>
                    <a:gd name="connsiteY105" fmla="*/ 828675 h 4496940"/>
                    <a:gd name="connsiteX106" fmla="*/ 535327 w 4519987"/>
                    <a:gd name="connsiteY106" fmla="*/ 800100 h 4496940"/>
                    <a:gd name="connsiteX107" fmla="*/ 602002 w 4519987"/>
                    <a:gd name="connsiteY107" fmla="*/ 733425 h 4496940"/>
                    <a:gd name="connsiteX108" fmla="*/ 668677 w 4519987"/>
                    <a:gd name="connsiteY108" fmla="*/ 676275 h 4496940"/>
                    <a:gd name="connsiteX109" fmla="*/ 697252 w 4519987"/>
                    <a:gd name="connsiteY109" fmla="*/ 657225 h 4496940"/>
                    <a:gd name="connsiteX110" fmla="*/ 840127 w 4519987"/>
                    <a:gd name="connsiteY110" fmla="*/ 533400 h 4496940"/>
                    <a:gd name="connsiteX111" fmla="*/ 887752 w 4519987"/>
                    <a:gd name="connsiteY111" fmla="*/ 504825 h 4496940"/>
                    <a:gd name="connsiteX112" fmla="*/ 1167152 w 4519987"/>
                    <a:gd name="connsiteY112" fmla="*/ 311150 h 4496940"/>
                    <a:gd name="connsiteX113" fmla="*/ 1268752 w 4519987"/>
                    <a:gd name="connsiteY113" fmla="*/ 285750 h 4496940"/>
                    <a:gd name="connsiteX114" fmla="*/ 1411627 w 4519987"/>
                    <a:gd name="connsiteY114" fmla="*/ 190500 h 4496940"/>
                    <a:gd name="connsiteX115" fmla="*/ 1449727 w 4519987"/>
                    <a:gd name="connsiteY115" fmla="*/ 161925 h 4496940"/>
                    <a:gd name="connsiteX116" fmla="*/ 1525927 w 4519987"/>
                    <a:gd name="connsiteY116" fmla="*/ 152400 h 4496940"/>
                    <a:gd name="connsiteX117" fmla="*/ 1583077 w 4519987"/>
                    <a:gd name="connsiteY117" fmla="*/ 142875 h 4496940"/>
                    <a:gd name="connsiteX118" fmla="*/ 1716427 w 4519987"/>
                    <a:gd name="connsiteY118" fmla="*/ 123825 h 4496940"/>
                    <a:gd name="connsiteX119" fmla="*/ 1811677 w 4519987"/>
                    <a:gd name="connsiteY119" fmla="*/ 114300 h 4496940"/>
                    <a:gd name="connsiteX120" fmla="*/ 1859302 w 4519987"/>
                    <a:gd name="connsiteY120" fmla="*/ 104775 h 4496940"/>
                    <a:gd name="connsiteX121" fmla="*/ 1916452 w 4519987"/>
                    <a:gd name="connsiteY121" fmla="*/ 95250 h 4496940"/>
                    <a:gd name="connsiteX122" fmla="*/ 2030752 w 4519987"/>
                    <a:gd name="connsiteY122" fmla="*/ 66675 h 4496940"/>
                    <a:gd name="connsiteX123" fmla="*/ 2097427 w 4519987"/>
                    <a:gd name="connsiteY123" fmla="*/ 47625 h 4496940"/>
                    <a:gd name="connsiteX124" fmla="*/ 2164102 w 4519987"/>
                    <a:gd name="connsiteY124" fmla="*/ 38100 h 4496940"/>
                    <a:gd name="connsiteX125" fmla="*/ 2392702 w 4519987"/>
                    <a:gd name="connsiteY12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54752 w 4519987"/>
                    <a:gd name="connsiteY36" fmla="*/ 40957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88052 w 4519987"/>
                    <a:gd name="connsiteY38" fmla="*/ 4248150 h 4496940"/>
                    <a:gd name="connsiteX39" fmla="*/ 3240427 w 4519987"/>
                    <a:gd name="connsiteY39" fmla="*/ 4267200 h 4496940"/>
                    <a:gd name="connsiteX40" fmla="*/ 3068977 w 4519987"/>
                    <a:gd name="connsiteY40" fmla="*/ 4286250 h 4496940"/>
                    <a:gd name="connsiteX41" fmla="*/ 2935627 w 4519987"/>
                    <a:gd name="connsiteY41" fmla="*/ 4333875 h 4496940"/>
                    <a:gd name="connsiteX42" fmla="*/ 2811802 w 4519987"/>
                    <a:gd name="connsiteY42" fmla="*/ 4371975 h 4496940"/>
                    <a:gd name="connsiteX43" fmla="*/ 2745127 w 4519987"/>
                    <a:gd name="connsiteY43" fmla="*/ 4410075 h 4496940"/>
                    <a:gd name="connsiteX44" fmla="*/ 2697502 w 4519987"/>
                    <a:gd name="connsiteY44" fmla="*/ 4429125 h 4496940"/>
                    <a:gd name="connsiteX45" fmla="*/ 2640352 w 4519987"/>
                    <a:gd name="connsiteY45" fmla="*/ 4457700 h 4496940"/>
                    <a:gd name="connsiteX46" fmla="*/ 2583202 w 4519987"/>
                    <a:gd name="connsiteY46" fmla="*/ 4467225 h 4496940"/>
                    <a:gd name="connsiteX47" fmla="*/ 2545102 w 4519987"/>
                    <a:gd name="connsiteY47" fmla="*/ 4486275 h 4496940"/>
                    <a:gd name="connsiteX48" fmla="*/ 2306977 w 4519987"/>
                    <a:gd name="connsiteY48" fmla="*/ 4476750 h 4496940"/>
                    <a:gd name="connsiteX49" fmla="*/ 2202202 w 4519987"/>
                    <a:gd name="connsiteY49" fmla="*/ 4457700 h 4496940"/>
                    <a:gd name="connsiteX50" fmla="*/ 2126002 w 4519987"/>
                    <a:gd name="connsiteY50" fmla="*/ 4429125 h 4496940"/>
                    <a:gd name="connsiteX51" fmla="*/ 1935502 w 4519987"/>
                    <a:gd name="connsiteY51" fmla="*/ 4400550 h 4496940"/>
                    <a:gd name="connsiteX52" fmla="*/ 1821202 w 4519987"/>
                    <a:gd name="connsiteY52" fmla="*/ 4371975 h 4496940"/>
                    <a:gd name="connsiteX53" fmla="*/ 1754527 w 4519987"/>
                    <a:gd name="connsiteY53" fmla="*/ 4352925 h 4496940"/>
                    <a:gd name="connsiteX54" fmla="*/ 1687852 w 4519987"/>
                    <a:gd name="connsiteY54" fmla="*/ 4343400 h 4496940"/>
                    <a:gd name="connsiteX55" fmla="*/ 1573552 w 4519987"/>
                    <a:gd name="connsiteY55" fmla="*/ 4305300 h 4496940"/>
                    <a:gd name="connsiteX56" fmla="*/ 1402102 w 4519987"/>
                    <a:gd name="connsiteY56" fmla="*/ 4276725 h 4496940"/>
                    <a:gd name="connsiteX57" fmla="*/ 1287802 w 4519987"/>
                    <a:gd name="connsiteY57" fmla="*/ 4229100 h 4496940"/>
                    <a:gd name="connsiteX58" fmla="*/ 1221127 w 4519987"/>
                    <a:gd name="connsiteY58" fmla="*/ 4200525 h 4496940"/>
                    <a:gd name="connsiteX59" fmla="*/ 1144927 w 4519987"/>
                    <a:gd name="connsiteY59" fmla="*/ 4171950 h 4496940"/>
                    <a:gd name="connsiteX60" fmla="*/ 1087777 w 4519987"/>
                    <a:gd name="connsiteY60" fmla="*/ 4143375 h 4496940"/>
                    <a:gd name="connsiteX61" fmla="*/ 1030627 w 4519987"/>
                    <a:gd name="connsiteY61" fmla="*/ 4124325 h 4496940"/>
                    <a:gd name="connsiteX62" fmla="*/ 925852 w 4519987"/>
                    <a:gd name="connsiteY62" fmla="*/ 4067175 h 4496940"/>
                    <a:gd name="connsiteX63" fmla="*/ 830602 w 4519987"/>
                    <a:gd name="connsiteY63" fmla="*/ 3981450 h 4496940"/>
                    <a:gd name="connsiteX64" fmla="*/ 763927 w 4519987"/>
                    <a:gd name="connsiteY64" fmla="*/ 3914775 h 4496940"/>
                    <a:gd name="connsiteX65" fmla="*/ 725827 w 4519987"/>
                    <a:gd name="connsiteY65" fmla="*/ 3876675 h 4496940"/>
                    <a:gd name="connsiteX66" fmla="*/ 697252 w 4519987"/>
                    <a:gd name="connsiteY66" fmla="*/ 3838575 h 4496940"/>
                    <a:gd name="connsiteX67" fmla="*/ 640102 w 4519987"/>
                    <a:gd name="connsiteY67" fmla="*/ 3781425 h 4496940"/>
                    <a:gd name="connsiteX68" fmla="*/ 611527 w 4519987"/>
                    <a:gd name="connsiteY68" fmla="*/ 3733800 h 4496940"/>
                    <a:gd name="connsiteX69" fmla="*/ 554377 w 4519987"/>
                    <a:gd name="connsiteY69" fmla="*/ 3657600 h 4496940"/>
                    <a:gd name="connsiteX70" fmla="*/ 525802 w 4519987"/>
                    <a:gd name="connsiteY70" fmla="*/ 3609975 h 4496940"/>
                    <a:gd name="connsiteX71" fmla="*/ 497227 w 4519987"/>
                    <a:gd name="connsiteY71" fmla="*/ 3552825 h 4496940"/>
                    <a:gd name="connsiteX72" fmla="*/ 440077 w 4519987"/>
                    <a:gd name="connsiteY72" fmla="*/ 3495675 h 4496940"/>
                    <a:gd name="connsiteX73" fmla="*/ 411502 w 4519987"/>
                    <a:gd name="connsiteY73" fmla="*/ 3448050 h 4496940"/>
                    <a:gd name="connsiteX74" fmla="*/ 278152 w 4519987"/>
                    <a:gd name="connsiteY74" fmla="*/ 3257550 h 4496940"/>
                    <a:gd name="connsiteX75" fmla="*/ 249577 w 4519987"/>
                    <a:gd name="connsiteY75" fmla="*/ 3200400 h 4496940"/>
                    <a:gd name="connsiteX76" fmla="*/ 240052 w 4519987"/>
                    <a:gd name="connsiteY76" fmla="*/ 3162300 h 4496940"/>
                    <a:gd name="connsiteX77" fmla="*/ 221002 w 4519987"/>
                    <a:gd name="connsiteY77" fmla="*/ 3105150 h 4496940"/>
                    <a:gd name="connsiteX78" fmla="*/ 173377 w 4519987"/>
                    <a:gd name="connsiteY78" fmla="*/ 3019425 h 4496940"/>
                    <a:gd name="connsiteX79" fmla="*/ 144802 w 4519987"/>
                    <a:gd name="connsiteY79" fmla="*/ 2924175 h 4496940"/>
                    <a:gd name="connsiteX80" fmla="*/ 68602 w 4519987"/>
                    <a:gd name="connsiteY80" fmla="*/ 2724150 h 4496940"/>
                    <a:gd name="connsiteX81" fmla="*/ 49552 w 4519987"/>
                    <a:gd name="connsiteY81" fmla="*/ 2638425 h 4496940"/>
                    <a:gd name="connsiteX82" fmla="*/ 40027 w 4519987"/>
                    <a:gd name="connsiteY82" fmla="*/ 2562225 h 4496940"/>
                    <a:gd name="connsiteX83" fmla="*/ 30502 w 4519987"/>
                    <a:gd name="connsiteY83" fmla="*/ 2514600 h 4496940"/>
                    <a:gd name="connsiteX84" fmla="*/ 11452 w 4519987"/>
                    <a:gd name="connsiteY84" fmla="*/ 2400300 h 4496940"/>
                    <a:gd name="connsiteX85" fmla="*/ 20977 w 4519987"/>
                    <a:gd name="connsiteY85" fmla="*/ 1905000 h 4496940"/>
                    <a:gd name="connsiteX86" fmla="*/ 30502 w 4519987"/>
                    <a:gd name="connsiteY86" fmla="*/ 1838325 h 4496940"/>
                    <a:gd name="connsiteX87" fmla="*/ 49552 w 4519987"/>
                    <a:gd name="connsiteY87" fmla="*/ 1781175 h 4496940"/>
                    <a:gd name="connsiteX88" fmla="*/ 59077 w 4519987"/>
                    <a:gd name="connsiteY88" fmla="*/ 1743075 h 4496940"/>
                    <a:gd name="connsiteX89" fmla="*/ 78127 w 4519987"/>
                    <a:gd name="connsiteY89" fmla="*/ 1685925 h 4496940"/>
                    <a:gd name="connsiteX90" fmla="*/ 87652 w 4519987"/>
                    <a:gd name="connsiteY90" fmla="*/ 1638300 h 4496940"/>
                    <a:gd name="connsiteX91" fmla="*/ 106702 w 4519987"/>
                    <a:gd name="connsiteY91" fmla="*/ 1590675 h 4496940"/>
                    <a:gd name="connsiteX92" fmla="*/ 135277 w 4519987"/>
                    <a:gd name="connsiteY92" fmla="*/ 1504950 h 4496940"/>
                    <a:gd name="connsiteX93" fmla="*/ 154327 w 4519987"/>
                    <a:gd name="connsiteY93" fmla="*/ 1419225 h 4496940"/>
                    <a:gd name="connsiteX94" fmla="*/ 230527 w 4519987"/>
                    <a:gd name="connsiteY94" fmla="*/ 1276350 h 4496940"/>
                    <a:gd name="connsiteX95" fmla="*/ 240052 w 4519987"/>
                    <a:gd name="connsiteY95" fmla="*/ 1247775 h 4496940"/>
                    <a:gd name="connsiteX96" fmla="*/ 268627 w 4519987"/>
                    <a:gd name="connsiteY96" fmla="*/ 1200150 h 4496940"/>
                    <a:gd name="connsiteX97" fmla="*/ 287677 w 4519987"/>
                    <a:gd name="connsiteY97" fmla="*/ 1152525 h 4496940"/>
                    <a:gd name="connsiteX98" fmla="*/ 316252 w 4519987"/>
                    <a:gd name="connsiteY98" fmla="*/ 1114425 h 4496940"/>
                    <a:gd name="connsiteX99" fmla="*/ 363877 w 4519987"/>
                    <a:gd name="connsiteY99" fmla="*/ 1038225 h 4496940"/>
                    <a:gd name="connsiteX100" fmla="*/ 382927 w 4519987"/>
                    <a:gd name="connsiteY100" fmla="*/ 1009650 h 4496940"/>
                    <a:gd name="connsiteX101" fmla="*/ 440077 w 4519987"/>
                    <a:gd name="connsiteY101" fmla="*/ 904875 h 4496940"/>
                    <a:gd name="connsiteX102" fmla="*/ 478177 w 4519987"/>
                    <a:gd name="connsiteY102" fmla="*/ 857250 h 4496940"/>
                    <a:gd name="connsiteX103" fmla="*/ 497227 w 4519987"/>
                    <a:gd name="connsiteY103" fmla="*/ 828675 h 4496940"/>
                    <a:gd name="connsiteX104" fmla="*/ 535327 w 4519987"/>
                    <a:gd name="connsiteY104" fmla="*/ 800100 h 4496940"/>
                    <a:gd name="connsiteX105" fmla="*/ 602002 w 4519987"/>
                    <a:gd name="connsiteY105" fmla="*/ 733425 h 4496940"/>
                    <a:gd name="connsiteX106" fmla="*/ 668677 w 4519987"/>
                    <a:gd name="connsiteY106" fmla="*/ 676275 h 4496940"/>
                    <a:gd name="connsiteX107" fmla="*/ 697252 w 4519987"/>
                    <a:gd name="connsiteY107" fmla="*/ 657225 h 4496940"/>
                    <a:gd name="connsiteX108" fmla="*/ 840127 w 4519987"/>
                    <a:gd name="connsiteY108" fmla="*/ 533400 h 4496940"/>
                    <a:gd name="connsiteX109" fmla="*/ 887752 w 4519987"/>
                    <a:gd name="connsiteY109" fmla="*/ 504825 h 4496940"/>
                    <a:gd name="connsiteX110" fmla="*/ 1167152 w 4519987"/>
                    <a:gd name="connsiteY110" fmla="*/ 311150 h 4496940"/>
                    <a:gd name="connsiteX111" fmla="*/ 1268752 w 4519987"/>
                    <a:gd name="connsiteY111" fmla="*/ 285750 h 4496940"/>
                    <a:gd name="connsiteX112" fmla="*/ 1411627 w 4519987"/>
                    <a:gd name="connsiteY112" fmla="*/ 190500 h 4496940"/>
                    <a:gd name="connsiteX113" fmla="*/ 1449727 w 4519987"/>
                    <a:gd name="connsiteY113" fmla="*/ 161925 h 4496940"/>
                    <a:gd name="connsiteX114" fmla="*/ 1525927 w 4519987"/>
                    <a:gd name="connsiteY114" fmla="*/ 152400 h 4496940"/>
                    <a:gd name="connsiteX115" fmla="*/ 1583077 w 4519987"/>
                    <a:gd name="connsiteY115" fmla="*/ 142875 h 4496940"/>
                    <a:gd name="connsiteX116" fmla="*/ 1716427 w 4519987"/>
                    <a:gd name="connsiteY116" fmla="*/ 123825 h 4496940"/>
                    <a:gd name="connsiteX117" fmla="*/ 1811677 w 4519987"/>
                    <a:gd name="connsiteY117" fmla="*/ 114300 h 4496940"/>
                    <a:gd name="connsiteX118" fmla="*/ 1859302 w 4519987"/>
                    <a:gd name="connsiteY118" fmla="*/ 104775 h 4496940"/>
                    <a:gd name="connsiteX119" fmla="*/ 1916452 w 4519987"/>
                    <a:gd name="connsiteY119" fmla="*/ 95250 h 4496940"/>
                    <a:gd name="connsiteX120" fmla="*/ 2030752 w 4519987"/>
                    <a:gd name="connsiteY120" fmla="*/ 66675 h 4496940"/>
                    <a:gd name="connsiteX121" fmla="*/ 2097427 w 4519987"/>
                    <a:gd name="connsiteY121" fmla="*/ 47625 h 4496940"/>
                    <a:gd name="connsiteX122" fmla="*/ 2164102 w 4519987"/>
                    <a:gd name="connsiteY122" fmla="*/ 38100 h 4496940"/>
                    <a:gd name="connsiteX123" fmla="*/ 2392702 w 4519987"/>
                    <a:gd name="connsiteY12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40427 w 4519987"/>
                    <a:gd name="connsiteY38" fmla="*/ 4267200 h 4496940"/>
                    <a:gd name="connsiteX39" fmla="*/ 3068977 w 4519987"/>
                    <a:gd name="connsiteY39" fmla="*/ 4286250 h 4496940"/>
                    <a:gd name="connsiteX40" fmla="*/ 2935627 w 4519987"/>
                    <a:gd name="connsiteY40" fmla="*/ 4333875 h 4496940"/>
                    <a:gd name="connsiteX41" fmla="*/ 2811802 w 4519987"/>
                    <a:gd name="connsiteY41" fmla="*/ 4371975 h 4496940"/>
                    <a:gd name="connsiteX42" fmla="*/ 2745127 w 4519987"/>
                    <a:gd name="connsiteY42" fmla="*/ 4410075 h 4496940"/>
                    <a:gd name="connsiteX43" fmla="*/ 2697502 w 4519987"/>
                    <a:gd name="connsiteY43" fmla="*/ 4429125 h 4496940"/>
                    <a:gd name="connsiteX44" fmla="*/ 2640352 w 4519987"/>
                    <a:gd name="connsiteY44" fmla="*/ 4457700 h 4496940"/>
                    <a:gd name="connsiteX45" fmla="*/ 2583202 w 4519987"/>
                    <a:gd name="connsiteY45" fmla="*/ 4467225 h 4496940"/>
                    <a:gd name="connsiteX46" fmla="*/ 2545102 w 4519987"/>
                    <a:gd name="connsiteY46" fmla="*/ 4486275 h 4496940"/>
                    <a:gd name="connsiteX47" fmla="*/ 2306977 w 4519987"/>
                    <a:gd name="connsiteY47" fmla="*/ 4476750 h 4496940"/>
                    <a:gd name="connsiteX48" fmla="*/ 2202202 w 4519987"/>
                    <a:gd name="connsiteY48" fmla="*/ 4457700 h 4496940"/>
                    <a:gd name="connsiteX49" fmla="*/ 2126002 w 4519987"/>
                    <a:gd name="connsiteY49" fmla="*/ 4429125 h 4496940"/>
                    <a:gd name="connsiteX50" fmla="*/ 1935502 w 4519987"/>
                    <a:gd name="connsiteY50" fmla="*/ 4400550 h 4496940"/>
                    <a:gd name="connsiteX51" fmla="*/ 1821202 w 4519987"/>
                    <a:gd name="connsiteY51" fmla="*/ 4371975 h 4496940"/>
                    <a:gd name="connsiteX52" fmla="*/ 1754527 w 4519987"/>
                    <a:gd name="connsiteY52" fmla="*/ 4352925 h 4496940"/>
                    <a:gd name="connsiteX53" fmla="*/ 1687852 w 4519987"/>
                    <a:gd name="connsiteY53" fmla="*/ 4343400 h 4496940"/>
                    <a:gd name="connsiteX54" fmla="*/ 1573552 w 4519987"/>
                    <a:gd name="connsiteY54" fmla="*/ 4305300 h 4496940"/>
                    <a:gd name="connsiteX55" fmla="*/ 1402102 w 4519987"/>
                    <a:gd name="connsiteY55" fmla="*/ 4276725 h 4496940"/>
                    <a:gd name="connsiteX56" fmla="*/ 1287802 w 4519987"/>
                    <a:gd name="connsiteY56" fmla="*/ 4229100 h 4496940"/>
                    <a:gd name="connsiteX57" fmla="*/ 1221127 w 4519987"/>
                    <a:gd name="connsiteY57" fmla="*/ 4200525 h 4496940"/>
                    <a:gd name="connsiteX58" fmla="*/ 1144927 w 4519987"/>
                    <a:gd name="connsiteY58" fmla="*/ 4171950 h 4496940"/>
                    <a:gd name="connsiteX59" fmla="*/ 1087777 w 4519987"/>
                    <a:gd name="connsiteY59" fmla="*/ 4143375 h 4496940"/>
                    <a:gd name="connsiteX60" fmla="*/ 1030627 w 4519987"/>
                    <a:gd name="connsiteY60" fmla="*/ 4124325 h 4496940"/>
                    <a:gd name="connsiteX61" fmla="*/ 925852 w 4519987"/>
                    <a:gd name="connsiteY61" fmla="*/ 4067175 h 4496940"/>
                    <a:gd name="connsiteX62" fmla="*/ 830602 w 4519987"/>
                    <a:gd name="connsiteY62" fmla="*/ 3981450 h 4496940"/>
                    <a:gd name="connsiteX63" fmla="*/ 763927 w 4519987"/>
                    <a:gd name="connsiteY63" fmla="*/ 3914775 h 4496940"/>
                    <a:gd name="connsiteX64" fmla="*/ 725827 w 4519987"/>
                    <a:gd name="connsiteY64" fmla="*/ 3876675 h 4496940"/>
                    <a:gd name="connsiteX65" fmla="*/ 697252 w 4519987"/>
                    <a:gd name="connsiteY65" fmla="*/ 3838575 h 4496940"/>
                    <a:gd name="connsiteX66" fmla="*/ 640102 w 4519987"/>
                    <a:gd name="connsiteY66" fmla="*/ 3781425 h 4496940"/>
                    <a:gd name="connsiteX67" fmla="*/ 611527 w 4519987"/>
                    <a:gd name="connsiteY67" fmla="*/ 3733800 h 4496940"/>
                    <a:gd name="connsiteX68" fmla="*/ 554377 w 4519987"/>
                    <a:gd name="connsiteY68" fmla="*/ 3657600 h 4496940"/>
                    <a:gd name="connsiteX69" fmla="*/ 525802 w 4519987"/>
                    <a:gd name="connsiteY69" fmla="*/ 3609975 h 4496940"/>
                    <a:gd name="connsiteX70" fmla="*/ 497227 w 4519987"/>
                    <a:gd name="connsiteY70" fmla="*/ 3552825 h 4496940"/>
                    <a:gd name="connsiteX71" fmla="*/ 440077 w 4519987"/>
                    <a:gd name="connsiteY71" fmla="*/ 3495675 h 4496940"/>
                    <a:gd name="connsiteX72" fmla="*/ 411502 w 4519987"/>
                    <a:gd name="connsiteY72" fmla="*/ 3448050 h 4496940"/>
                    <a:gd name="connsiteX73" fmla="*/ 278152 w 4519987"/>
                    <a:gd name="connsiteY73" fmla="*/ 3257550 h 4496940"/>
                    <a:gd name="connsiteX74" fmla="*/ 249577 w 4519987"/>
                    <a:gd name="connsiteY74" fmla="*/ 3200400 h 4496940"/>
                    <a:gd name="connsiteX75" fmla="*/ 240052 w 4519987"/>
                    <a:gd name="connsiteY75" fmla="*/ 3162300 h 4496940"/>
                    <a:gd name="connsiteX76" fmla="*/ 221002 w 4519987"/>
                    <a:gd name="connsiteY76" fmla="*/ 3105150 h 4496940"/>
                    <a:gd name="connsiteX77" fmla="*/ 173377 w 4519987"/>
                    <a:gd name="connsiteY77" fmla="*/ 3019425 h 4496940"/>
                    <a:gd name="connsiteX78" fmla="*/ 144802 w 4519987"/>
                    <a:gd name="connsiteY78" fmla="*/ 2924175 h 4496940"/>
                    <a:gd name="connsiteX79" fmla="*/ 68602 w 4519987"/>
                    <a:gd name="connsiteY79" fmla="*/ 2724150 h 4496940"/>
                    <a:gd name="connsiteX80" fmla="*/ 49552 w 4519987"/>
                    <a:gd name="connsiteY80" fmla="*/ 2638425 h 4496940"/>
                    <a:gd name="connsiteX81" fmla="*/ 40027 w 4519987"/>
                    <a:gd name="connsiteY81" fmla="*/ 2562225 h 4496940"/>
                    <a:gd name="connsiteX82" fmla="*/ 30502 w 4519987"/>
                    <a:gd name="connsiteY82" fmla="*/ 2514600 h 4496940"/>
                    <a:gd name="connsiteX83" fmla="*/ 11452 w 4519987"/>
                    <a:gd name="connsiteY83" fmla="*/ 2400300 h 4496940"/>
                    <a:gd name="connsiteX84" fmla="*/ 20977 w 4519987"/>
                    <a:gd name="connsiteY84" fmla="*/ 1905000 h 4496940"/>
                    <a:gd name="connsiteX85" fmla="*/ 30502 w 4519987"/>
                    <a:gd name="connsiteY85" fmla="*/ 1838325 h 4496940"/>
                    <a:gd name="connsiteX86" fmla="*/ 49552 w 4519987"/>
                    <a:gd name="connsiteY86" fmla="*/ 1781175 h 4496940"/>
                    <a:gd name="connsiteX87" fmla="*/ 59077 w 4519987"/>
                    <a:gd name="connsiteY87" fmla="*/ 1743075 h 4496940"/>
                    <a:gd name="connsiteX88" fmla="*/ 78127 w 4519987"/>
                    <a:gd name="connsiteY88" fmla="*/ 1685925 h 4496940"/>
                    <a:gd name="connsiteX89" fmla="*/ 87652 w 4519987"/>
                    <a:gd name="connsiteY89" fmla="*/ 1638300 h 4496940"/>
                    <a:gd name="connsiteX90" fmla="*/ 106702 w 4519987"/>
                    <a:gd name="connsiteY90" fmla="*/ 1590675 h 4496940"/>
                    <a:gd name="connsiteX91" fmla="*/ 135277 w 4519987"/>
                    <a:gd name="connsiteY91" fmla="*/ 1504950 h 4496940"/>
                    <a:gd name="connsiteX92" fmla="*/ 154327 w 4519987"/>
                    <a:gd name="connsiteY92" fmla="*/ 1419225 h 4496940"/>
                    <a:gd name="connsiteX93" fmla="*/ 230527 w 4519987"/>
                    <a:gd name="connsiteY93" fmla="*/ 1276350 h 4496940"/>
                    <a:gd name="connsiteX94" fmla="*/ 240052 w 4519987"/>
                    <a:gd name="connsiteY94" fmla="*/ 1247775 h 4496940"/>
                    <a:gd name="connsiteX95" fmla="*/ 268627 w 4519987"/>
                    <a:gd name="connsiteY95" fmla="*/ 1200150 h 4496940"/>
                    <a:gd name="connsiteX96" fmla="*/ 287677 w 4519987"/>
                    <a:gd name="connsiteY96" fmla="*/ 1152525 h 4496940"/>
                    <a:gd name="connsiteX97" fmla="*/ 316252 w 4519987"/>
                    <a:gd name="connsiteY97" fmla="*/ 1114425 h 4496940"/>
                    <a:gd name="connsiteX98" fmla="*/ 363877 w 4519987"/>
                    <a:gd name="connsiteY98" fmla="*/ 1038225 h 4496940"/>
                    <a:gd name="connsiteX99" fmla="*/ 382927 w 4519987"/>
                    <a:gd name="connsiteY99" fmla="*/ 1009650 h 4496940"/>
                    <a:gd name="connsiteX100" fmla="*/ 440077 w 4519987"/>
                    <a:gd name="connsiteY100" fmla="*/ 904875 h 4496940"/>
                    <a:gd name="connsiteX101" fmla="*/ 478177 w 4519987"/>
                    <a:gd name="connsiteY101" fmla="*/ 857250 h 4496940"/>
                    <a:gd name="connsiteX102" fmla="*/ 497227 w 4519987"/>
                    <a:gd name="connsiteY102" fmla="*/ 828675 h 4496940"/>
                    <a:gd name="connsiteX103" fmla="*/ 535327 w 4519987"/>
                    <a:gd name="connsiteY103" fmla="*/ 800100 h 4496940"/>
                    <a:gd name="connsiteX104" fmla="*/ 602002 w 4519987"/>
                    <a:gd name="connsiteY104" fmla="*/ 733425 h 4496940"/>
                    <a:gd name="connsiteX105" fmla="*/ 668677 w 4519987"/>
                    <a:gd name="connsiteY105" fmla="*/ 676275 h 4496940"/>
                    <a:gd name="connsiteX106" fmla="*/ 697252 w 4519987"/>
                    <a:gd name="connsiteY106" fmla="*/ 657225 h 4496940"/>
                    <a:gd name="connsiteX107" fmla="*/ 840127 w 4519987"/>
                    <a:gd name="connsiteY107" fmla="*/ 533400 h 4496940"/>
                    <a:gd name="connsiteX108" fmla="*/ 887752 w 4519987"/>
                    <a:gd name="connsiteY108" fmla="*/ 504825 h 4496940"/>
                    <a:gd name="connsiteX109" fmla="*/ 1167152 w 4519987"/>
                    <a:gd name="connsiteY109" fmla="*/ 311150 h 4496940"/>
                    <a:gd name="connsiteX110" fmla="*/ 1268752 w 4519987"/>
                    <a:gd name="connsiteY110" fmla="*/ 285750 h 4496940"/>
                    <a:gd name="connsiteX111" fmla="*/ 1411627 w 4519987"/>
                    <a:gd name="connsiteY111" fmla="*/ 190500 h 4496940"/>
                    <a:gd name="connsiteX112" fmla="*/ 1449727 w 4519987"/>
                    <a:gd name="connsiteY112" fmla="*/ 161925 h 4496940"/>
                    <a:gd name="connsiteX113" fmla="*/ 1525927 w 4519987"/>
                    <a:gd name="connsiteY113" fmla="*/ 152400 h 4496940"/>
                    <a:gd name="connsiteX114" fmla="*/ 1583077 w 4519987"/>
                    <a:gd name="connsiteY114" fmla="*/ 142875 h 4496940"/>
                    <a:gd name="connsiteX115" fmla="*/ 1716427 w 4519987"/>
                    <a:gd name="connsiteY115" fmla="*/ 123825 h 4496940"/>
                    <a:gd name="connsiteX116" fmla="*/ 1811677 w 4519987"/>
                    <a:gd name="connsiteY116" fmla="*/ 114300 h 4496940"/>
                    <a:gd name="connsiteX117" fmla="*/ 1859302 w 4519987"/>
                    <a:gd name="connsiteY117" fmla="*/ 104775 h 4496940"/>
                    <a:gd name="connsiteX118" fmla="*/ 1916452 w 4519987"/>
                    <a:gd name="connsiteY118" fmla="*/ 95250 h 4496940"/>
                    <a:gd name="connsiteX119" fmla="*/ 2030752 w 4519987"/>
                    <a:gd name="connsiteY119" fmla="*/ 66675 h 4496940"/>
                    <a:gd name="connsiteX120" fmla="*/ 2097427 w 4519987"/>
                    <a:gd name="connsiteY120" fmla="*/ 47625 h 4496940"/>
                    <a:gd name="connsiteX121" fmla="*/ 2164102 w 4519987"/>
                    <a:gd name="connsiteY121" fmla="*/ 38100 h 4496940"/>
                    <a:gd name="connsiteX122" fmla="*/ 2392702 w 4519987"/>
                    <a:gd name="connsiteY12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40427 w 4519987"/>
                    <a:gd name="connsiteY37" fmla="*/ 426720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40352 w 4519987"/>
                    <a:gd name="connsiteY42" fmla="*/ 4457700 h 4496940"/>
                    <a:gd name="connsiteX43" fmla="*/ 2583202 w 4519987"/>
                    <a:gd name="connsiteY43" fmla="*/ 4467225 h 4496940"/>
                    <a:gd name="connsiteX44" fmla="*/ 2545102 w 4519987"/>
                    <a:gd name="connsiteY44" fmla="*/ 4486275 h 4496940"/>
                    <a:gd name="connsiteX45" fmla="*/ 2306977 w 4519987"/>
                    <a:gd name="connsiteY45" fmla="*/ 4476750 h 4496940"/>
                    <a:gd name="connsiteX46" fmla="*/ 2202202 w 4519987"/>
                    <a:gd name="connsiteY46" fmla="*/ 4457700 h 4496940"/>
                    <a:gd name="connsiteX47" fmla="*/ 2126002 w 4519987"/>
                    <a:gd name="connsiteY47" fmla="*/ 4429125 h 4496940"/>
                    <a:gd name="connsiteX48" fmla="*/ 1935502 w 4519987"/>
                    <a:gd name="connsiteY48" fmla="*/ 4400550 h 4496940"/>
                    <a:gd name="connsiteX49" fmla="*/ 1821202 w 4519987"/>
                    <a:gd name="connsiteY49" fmla="*/ 4371975 h 4496940"/>
                    <a:gd name="connsiteX50" fmla="*/ 1754527 w 4519987"/>
                    <a:gd name="connsiteY50" fmla="*/ 4352925 h 4496940"/>
                    <a:gd name="connsiteX51" fmla="*/ 1687852 w 4519987"/>
                    <a:gd name="connsiteY51" fmla="*/ 4343400 h 4496940"/>
                    <a:gd name="connsiteX52" fmla="*/ 1573552 w 4519987"/>
                    <a:gd name="connsiteY52" fmla="*/ 4305300 h 4496940"/>
                    <a:gd name="connsiteX53" fmla="*/ 1402102 w 4519987"/>
                    <a:gd name="connsiteY53" fmla="*/ 4276725 h 4496940"/>
                    <a:gd name="connsiteX54" fmla="*/ 1287802 w 4519987"/>
                    <a:gd name="connsiteY54" fmla="*/ 4229100 h 4496940"/>
                    <a:gd name="connsiteX55" fmla="*/ 1221127 w 4519987"/>
                    <a:gd name="connsiteY55" fmla="*/ 4200525 h 4496940"/>
                    <a:gd name="connsiteX56" fmla="*/ 1144927 w 4519987"/>
                    <a:gd name="connsiteY56" fmla="*/ 4171950 h 4496940"/>
                    <a:gd name="connsiteX57" fmla="*/ 1087777 w 4519987"/>
                    <a:gd name="connsiteY57" fmla="*/ 4143375 h 4496940"/>
                    <a:gd name="connsiteX58" fmla="*/ 1030627 w 4519987"/>
                    <a:gd name="connsiteY58" fmla="*/ 4124325 h 4496940"/>
                    <a:gd name="connsiteX59" fmla="*/ 925852 w 4519987"/>
                    <a:gd name="connsiteY59" fmla="*/ 4067175 h 4496940"/>
                    <a:gd name="connsiteX60" fmla="*/ 830602 w 4519987"/>
                    <a:gd name="connsiteY60" fmla="*/ 3981450 h 4496940"/>
                    <a:gd name="connsiteX61" fmla="*/ 763927 w 4519987"/>
                    <a:gd name="connsiteY61" fmla="*/ 3914775 h 4496940"/>
                    <a:gd name="connsiteX62" fmla="*/ 725827 w 4519987"/>
                    <a:gd name="connsiteY62" fmla="*/ 3876675 h 4496940"/>
                    <a:gd name="connsiteX63" fmla="*/ 697252 w 4519987"/>
                    <a:gd name="connsiteY63" fmla="*/ 3838575 h 4496940"/>
                    <a:gd name="connsiteX64" fmla="*/ 640102 w 4519987"/>
                    <a:gd name="connsiteY64" fmla="*/ 3781425 h 4496940"/>
                    <a:gd name="connsiteX65" fmla="*/ 611527 w 4519987"/>
                    <a:gd name="connsiteY65" fmla="*/ 3733800 h 4496940"/>
                    <a:gd name="connsiteX66" fmla="*/ 554377 w 4519987"/>
                    <a:gd name="connsiteY66" fmla="*/ 3657600 h 4496940"/>
                    <a:gd name="connsiteX67" fmla="*/ 525802 w 4519987"/>
                    <a:gd name="connsiteY67" fmla="*/ 3609975 h 4496940"/>
                    <a:gd name="connsiteX68" fmla="*/ 497227 w 4519987"/>
                    <a:gd name="connsiteY68" fmla="*/ 3552825 h 4496940"/>
                    <a:gd name="connsiteX69" fmla="*/ 440077 w 4519987"/>
                    <a:gd name="connsiteY69" fmla="*/ 3495675 h 4496940"/>
                    <a:gd name="connsiteX70" fmla="*/ 411502 w 4519987"/>
                    <a:gd name="connsiteY70" fmla="*/ 3448050 h 4496940"/>
                    <a:gd name="connsiteX71" fmla="*/ 278152 w 4519987"/>
                    <a:gd name="connsiteY71" fmla="*/ 3257550 h 4496940"/>
                    <a:gd name="connsiteX72" fmla="*/ 249577 w 4519987"/>
                    <a:gd name="connsiteY72" fmla="*/ 3200400 h 4496940"/>
                    <a:gd name="connsiteX73" fmla="*/ 240052 w 4519987"/>
                    <a:gd name="connsiteY73" fmla="*/ 3162300 h 4496940"/>
                    <a:gd name="connsiteX74" fmla="*/ 221002 w 4519987"/>
                    <a:gd name="connsiteY74" fmla="*/ 3105150 h 4496940"/>
                    <a:gd name="connsiteX75" fmla="*/ 173377 w 4519987"/>
                    <a:gd name="connsiteY75" fmla="*/ 3019425 h 4496940"/>
                    <a:gd name="connsiteX76" fmla="*/ 144802 w 4519987"/>
                    <a:gd name="connsiteY76" fmla="*/ 2924175 h 4496940"/>
                    <a:gd name="connsiteX77" fmla="*/ 68602 w 4519987"/>
                    <a:gd name="connsiteY77" fmla="*/ 2724150 h 4496940"/>
                    <a:gd name="connsiteX78" fmla="*/ 49552 w 4519987"/>
                    <a:gd name="connsiteY78" fmla="*/ 2638425 h 4496940"/>
                    <a:gd name="connsiteX79" fmla="*/ 40027 w 4519987"/>
                    <a:gd name="connsiteY79" fmla="*/ 2562225 h 4496940"/>
                    <a:gd name="connsiteX80" fmla="*/ 30502 w 4519987"/>
                    <a:gd name="connsiteY80" fmla="*/ 2514600 h 4496940"/>
                    <a:gd name="connsiteX81" fmla="*/ 11452 w 4519987"/>
                    <a:gd name="connsiteY81" fmla="*/ 2400300 h 4496940"/>
                    <a:gd name="connsiteX82" fmla="*/ 20977 w 4519987"/>
                    <a:gd name="connsiteY82" fmla="*/ 1905000 h 4496940"/>
                    <a:gd name="connsiteX83" fmla="*/ 30502 w 4519987"/>
                    <a:gd name="connsiteY83" fmla="*/ 1838325 h 4496940"/>
                    <a:gd name="connsiteX84" fmla="*/ 49552 w 4519987"/>
                    <a:gd name="connsiteY84" fmla="*/ 1781175 h 4496940"/>
                    <a:gd name="connsiteX85" fmla="*/ 59077 w 4519987"/>
                    <a:gd name="connsiteY85" fmla="*/ 1743075 h 4496940"/>
                    <a:gd name="connsiteX86" fmla="*/ 78127 w 4519987"/>
                    <a:gd name="connsiteY86" fmla="*/ 1685925 h 4496940"/>
                    <a:gd name="connsiteX87" fmla="*/ 87652 w 4519987"/>
                    <a:gd name="connsiteY87" fmla="*/ 1638300 h 4496940"/>
                    <a:gd name="connsiteX88" fmla="*/ 106702 w 4519987"/>
                    <a:gd name="connsiteY88" fmla="*/ 1590675 h 4496940"/>
                    <a:gd name="connsiteX89" fmla="*/ 135277 w 4519987"/>
                    <a:gd name="connsiteY89" fmla="*/ 1504950 h 4496940"/>
                    <a:gd name="connsiteX90" fmla="*/ 154327 w 4519987"/>
                    <a:gd name="connsiteY90" fmla="*/ 1419225 h 4496940"/>
                    <a:gd name="connsiteX91" fmla="*/ 230527 w 4519987"/>
                    <a:gd name="connsiteY91" fmla="*/ 1276350 h 4496940"/>
                    <a:gd name="connsiteX92" fmla="*/ 240052 w 4519987"/>
                    <a:gd name="connsiteY92" fmla="*/ 1247775 h 4496940"/>
                    <a:gd name="connsiteX93" fmla="*/ 268627 w 4519987"/>
                    <a:gd name="connsiteY93" fmla="*/ 1200150 h 4496940"/>
                    <a:gd name="connsiteX94" fmla="*/ 287677 w 4519987"/>
                    <a:gd name="connsiteY94" fmla="*/ 1152525 h 4496940"/>
                    <a:gd name="connsiteX95" fmla="*/ 316252 w 4519987"/>
                    <a:gd name="connsiteY95" fmla="*/ 1114425 h 4496940"/>
                    <a:gd name="connsiteX96" fmla="*/ 363877 w 4519987"/>
                    <a:gd name="connsiteY96" fmla="*/ 1038225 h 4496940"/>
                    <a:gd name="connsiteX97" fmla="*/ 382927 w 4519987"/>
                    <a:gd name="connsiteY97" fmla="*/ 1009650 h 4496940"/>
                    <a:gd name="connsiteX98" fmla="*/ 440077 w 4519987"/>
                    <a:gd name="connsiteY98" fmla="*/ 904875 h 4496940"/>
                    <a:gd name="connsiteX99" fmla="*/ 478177 w 4519987"/>
                    <a:gd name="connsiteY99" fmla="*/ 857250 h 4496940"/>
                    <a:gd name="connsiteX100" fmla="*/ 497227 w 4519987"/>
                    <a:gd name="connsiteY100" fmla="*/ 828675 h 4496940"/>
                    <a:gd name="connsiteX101" fmla="*/ 535327 w 4519987"/>
                    <a:gd name="connsiteY101" fmla="*/ 800100 h 4496940"/>
                    <a:gd name="connsiteX102" fmla="*/ 602002 w 4519987"/>
                    <a:gd name="connsiteY102" fmla="*/ 733425 h 4496940"/>
                    <a:gd name="connsiteX103" fmla="*/ 668677 w 4519987"/>
                    <a:gd name="connsiteY103" fmla="*/ 676275 h 4496940"/>
                    <a:gd name="connsiteX104" fmla="*/ 697252 w 4519987"/>
                    <a:gd name="connsiteY104" fmla="*/ 657225 h 4496940"/>
                    <a:gd name="connsiteX105" fmla="*/ 840127 w 4519987"/>
                    <a:gd name="connsiteY105" fmla="*/ 533400 h 4496940"/>
                    <a:gd name="connsiteX106" fmla="*/ 887752 w 4519987"/>
                    <a:gd name="connsiteY106" fmla="*/ 504825 h 4496940"/>
                    <a:gd name="connsiteX107" fmla="*/ 1167152 w 4519987"/>
                    <a:gd name="connsiteY107" fmla="*/ 311150 h 4496940"/>
                    <a:gd name="connsiteX108" fmla="*/ 1268752 w 4519987"/>
                    <a:gd name="connsiteY108" fmla="*/ 285750 h 4496940"/>
                    <a:gd name="connsiteX109" fmla="*/ 1411627 w 4519987"/>
                    <a:gd name="connsiteY109" fmla="*/ 190500 h 4496940"/>
                    <a:gd name="connsiteX110" fmla="*/ 1449727 w 4519987"/>
                    <a:gd name="connsiteY110" fmla="*/ 161925 h 4496940"/>
                    <a:gd name="connsiteX111" fmla="*/ 1525927 w 4519987"/>
                    <a:gd name="connsiteY111" fmla="*/ 152400 h 4496940"/>
                    <a:gd name="connsiteX112" fmla="*/ 1583077 w 4519987"/>
                    <a:gd name="connsiteY112" fmla="*/ 142875 h 4496940"/>
                    <a:gd name="connsiteX113" fmla="*/ 1716427 w 4519987"/>
                    <a:gd name="connsiteY113" fmla="*/ 123825 h 4496940"/>
                    <a:gd name="connsiteX114" fmla="*/ 1811677 w 4519987"/>
                    <a:gd name="connsiteY114" fmla="*/ 114300 h 4496940"/>
                    <a:gd name="connsiteX115" fmla="*/ 1859302 w 4519987"/>
                    <a:gd name="connsiteY115" fmla="*/ 104775 h 4496940"/>
                    <a:gd name="connsiteX116" fmla="*/ 1916452 w 4519987"/>
                    <a:gd name="connsiteY116" fmla="*/ 95250 h 4496940"/>
                    <a:gd name="connsiteX117" fmla="*/ 2030752 w 4519987"/>
                    <a:gd name="connsiteY117" fmla="*/ 66675 h 4496940"/>
                    <a:gd name="connsiteX118" fmla="*/ 2097427 w 4519987"/>
                    <a:gd name="connsiteY118" fmla="*/ 47625 h 4496940"/>
                    <a:gd name="connsiteX119" fmla="*/ 2164102 w 4519987"/>
                    <a:gd name="connsiteY119" fmla="*/ 38100 h 4496940"/>
                    <a:gd name="connsiteX120" fmla="*/ 2392702 w 4519987"/>
                    <a:gd name="connsiteY120" fmla="*/ 28575 h 4496940"/>
                    <a:gd name="connsiteX0" fmla="*/ 2297452 w 4519987"/>
                    <a:gd name="connsiteY0" fmla="*/ 0 h 4487372"/>
                    <a:gd name="connsiteX1" fmla="*/ 2421277 w 4519987"/>
                    <a:gd name="connsiteY1" fmla="*/ 28575 h 4487372"/>
                    <a:gd name="connsiteX2" fmla="*/ 2497477 w 4519987"/>
                    <a:gd name="connsiteY2" fmla="*/ 47625 h 4487372"/>
                    <a:gd name="connsiteX3" fmla="*/ 2754652 w 4519987"/>
                    <a:gd name="connsiteY3" fmla="*/ 66675 h 4487372"/>
                    <a:gd name="connsiteX4" fmla="*/ 2830852 w 4519987"/>
                    <a:gd name="connsiteY4" fmla="*/ 76200 h 4487372"/>
                    <a:gd name="connsiteX5" fmla="*/ 2916577 w 4519987"/>
                    <a:gd name="connsiteY5" fmla="*/ 85725 h 4487372"/>
                    <a:gd name="connsiteX6" fmla="*/ 2973727 w 4519987"/>
                    <a:gd name="connsiteY6" fmla="*/ 114300 h 4487372"/>
                    <a:gd name="connsiteX7" fmla="*/ 3011827 w 4519987"/>
                    <a:gd name="connsiteY7" fmla="*/ 123825 h 4487372"/>
                    <a:gd name="connsiteX8" fmla="*/ 3135652 w 4519987"/>
                    <a:gd name="connsiteY8" fmla="*/ 171450 h 4487372"/>
                    <a:gd name="connsiteX9" fmla="*/ 3173752 w 4519987"/>
                    <a:gd name="connsiteY9" fmla="*/ 190500 h 4487372"/>
                    <a:gd name="connsiteX10" fmla="*/ 3240427 w 4519987"/>
                    <a:gd name="connsiteY10" fmla="*/ 228600 h 4487372"/>
                    <a:gd name="connsiteX11" fmla="*/ 3269002 w 4519987"/>
                    <a:gd name="connsiteY11" fmla="*/ 238125 h 4487372"/>
                    <a:gd name="connsiteX12" fmla="*/ 3297577 w 4519987"/>
                    <a:gd name="connsiteY12" fmla="*/ 257175 h 4487372"/>
                    <a:gd name="connsiteX13" fmla="*/ 3326152 w 4519987"/>
                    <a:gd name="connsiteY13" fmla="*/ 266700 h 4487372"/>
                    <a:gd name="connsiteX14" fmla="*/ 3354727 w 4519987"/>
                    <a:gd name="connsiteY14" fmla="*/ 285750 h 4487372"/>
                    <a:gd name="connsiteX15" fmla="*/ 3421402 w 4519987"/>
                    <a:gd name="connsiteY15" fmla="*/ 323850 h 4487372"/>
                    <a:gd name="connsiteX16" fmla="*/ 3469027 w 4519987"/>
                    <a:gd name="connsiteY16" fmla="*/ 361950 h 4487372"/>
                    <a:gd name="connsiteX17" fmla="*/ 3516652 w 4519987"/>
                    <a:gd name="connsiteY17" fmla="*/ 390525 h 4487372"/>
                    <a:gd name="connsiteX18" fmla="*/ 3630952 w 4519987"/>
                    <a:gd name="connsiteY18" fmla="*/ 485775 h 4487372"/>
                    <a:gd name="connsiteX19" fmla="*/ 3745252 w 4519987"/>
                    <a:gd name="connsiteY19" fmla="*/ 542925 h 4487372"/>
                    <a:gd name="connsiteX20" fmla="*/ 3811927 w 4519987"/>
                    <a:gd name="connsiteY20" fmla="*/ 581025 h 4487372"/>
                    <a:gd name="connsiteX21" fmla="*/ 4027827 w 4519987"/>
                    <a:gd name="connsiteY21" fmla="*/ 819150 h 4487372"/>
                    <a:gd name="connsiteX22" fmla="*/ 4164352 w 4519987"/>
                    <a:gd name="connsiteY22" fmla="*/ 990600 h 4487372"/>
                    <a:gd name="connsiteX23" fmla="*/ 4250077 w 4519987"/>
                    <a:gd name="connsiteY23" fmla="*/ 1143000 h 4487372"/>
                    <a:gd name="connsiteX24" fmla="*/ 4307227 w 4519987"/>
                    <a:gd name="connsiteY24" fmla="*/ 1266825 h 4487372"/>
                    <a:gd name="connsiteX25" fmla="*/ 4345327 w 4519987"/>
                    <a:gd name="connsiteY25" fmla="*/ 1362075 h 4487372"/>
                    <a:gd name="connsiteX26" fmla="*/ 4392952 w 4519987"/>
                    <a:gd name="connsiteY26" fmla="*/ 1552575 h 4487372"/>
                    <a:gd name="connsiteX27" fmla="*/ 4431052 w 4519987"/>
                    <a:gd name="connsiteY27" fmla="*/ 1685925 h 4487372"/>
                    <a:gd name="connsiteX28" fmla="*/ 4519952 w 4519987"/>
                    <a:gd name="connsiteY28" fmla="*/ 2181225 h 4487372"/>
                    <a:gd name="connsiteX29" fmla="*/ 4446927 w 4519987"/>
                    <a:gd name="connsiteY29" fmla="*/ 2768600 h 4487372"/>
                    <a:gd name="connsiteX30" fmla="*/ 4383427 w 4519987"/>
                    <a:gd name="connsiteY30" fmla="*/ 2990850 h 4487372"/>
                    <a:gd name="connsiteX31" fmla="*/ 4278652 w 4519987"/>
                    <a:gd name="connsiteY31" fmla="*/ 3248025 h 4487372"/>
                    <a:gd name="connsiteX32" fmla="*/ 4183402 w 4519987"/>
                    <a:gd name="connsiteY32" fmla="*/ 3400425 h 4487372"/>
                    <a:gd name="connsiteX33" fmla="*/ 4059577 w 4519987"/>
                    <a:gd name="connsiteY33" fmla="*/ 3533775 h 4487372"/>
                    <a:gd name="connsiteX34" fmla="*/ 3954802 w 4519987"/>
                    <a:gd name="connsiteY34" fmla="*/ 3648075 h 4487372"/>
                    <a:gd name="connsiteX35" fmla="*/ 3659527 w 4519987"/>
                    <a:gd name="connsiteY35" fmla="*/ 3971925 h 4487372"/>
                    <a:gd name="connsiteX36" fmla="*/ 3516652 w 4519987"/>
                    <a:gd name="connsiteY36" fmla="*/ 4083050 h 4487372"/>
                    <a:gd name="connsiteX37" fmla="*/ 3221377 w 4519987"/>
                    <a:gd name="connsiteY37" fmla="*/ 4222750 h 4487372"/>
                    <a:gd name="connsiteX38" fmla="*/ 3068977 w 4519987"/>
                    <a:gd name="connsiteY38" fmla="*/ 4286250 h 4487372"/>
                    <a:gd name="connsiteX39" fmla="*/ 2935627 w 4519987"/>
                    <a:gd name="connsiteY39" fmla="*/ 4333875 h 4487372"/>
                    <a:gd name="connsiteX40" fmla="*/ 2811802 w 4519987"/>
                    <a:gd name="connsiteY40" fmla="*/ 4371975 h 4487372"/>
                    <a:gd name="connsiteX41" fmla="*/ 2745127 w 4519987"/>
                    <a:gd name="connsiteY41" fmla="*/ 4410075 h 4487372"/>
                    <a:gd name="connsiteX42" fmla="*/ 2640352 w 4519987"/>
                    <a:gd name="connsiteY42" fmla="*/ 4457700 h 4487372"/>
                    <a:gd name="connsiteX43" fmla="*/ 2545102 w 4519987"/>
                    <a:gd name="connsiteY43" fmla="*/ 4486275 h 4487372"/>
                    <a:gd name="connsiteX44" fmla="*/ 2306977 w 4519987"/>
                    <a:gd name="connsiteY44" fmla="*/ 4476750 h 4487372"/>
                    <a:gd name="connsiteX45" fmla="*/ 2202202 w 4519987"/>
                    <a:gd name="connsiteY45" fmla="*/ 4457700 h 4487372"/>
                    <a:gd name="connsiteX46" fmla="*/ 2126002 w 4519987"/>
                    <a:gd name="connsiteY46" fmla="*/ 4429125 h 4487372"/>
                    <a:gd name="connsiteX47" fmla="*/ 1935502 w 4519987"/>
                    <a:gd name="connsiteY47" fmla="*/ 4400550 h 4487372"/>
                    <a:gd name="connsiteX48" fmla="*/ 1821202 w 4519987"/>
                    <a:gd name="connsiteY48" fmla="*/ 4371975 h 4487372"/>
                    <a:gd name="connsiteX49" fmla="*/ 1754527 w 4519987"/>
                    <a:gd name="connsiteY49" fmla="*/ 4352925 h 4487372"/>
                    <a:gd name="connsiteX50" fmla="*/ 1687852 w 4519987"/>
                    <a:gd name="connsiteY50" fmla="*/ 4343400 h 4487372"/>
                    <a:gd name="connsiteX51" fmla="*/ 1573552 w 4519987"/>
                    <a:gd name="connsiteY51" fmla="*/ 4305300 h 4487372"/>
                    <a:gd name="connsiteX52" fmla="*/ 1402102 w 4519987"/>
                    <a:gd name="connsiteY52" fmla="*/ 4276725 h 4487372"/>
                    <a:gd name="connsiteX53" fmla="*/ 1287802 w 4519987"/>
                    <a:gd name="connsiteY53" fmla="*/ 4229100 h 4487372"/>
                    <a:gd name="connsiteX54" fmla="*/ 1221127 w 4519987"/>
                    <a:gd name="connsiteY54" fmla="*/ 4200525 h 4487372"/>
                    <a:gd name="connsiteX55" fmla="*/ 1144927 w 4519987"/>
                    <a:gd name="connsiteY55" fmla="*/ 4171950 h 4487372"/>
                    <a:gd name="connsiteX56" fmla="*/ 1087777 w 4519987"/>
                    <a:gd name="connsiteY56" fmla="*/ 4143375 h 4487372"/>
                    <a:gd name="connsiteX57" fmla="*/ 1030627 w 4519987"/>
                    <a:gd name="connsiteY57" fmla="*/ 4124325 h 4487372"/>
                    <a:gd name="connsiteX58" fmla="*/ 925852 w 4519987"/>
                    <a:gd name="connsiteY58" fmla="*/ 4067175 h 4487372"/>
                    <a:gd name="connsiteX59" fmla="*/ 830602 w 4519987"/>
                    <a:gd name="connsiteY59" fmla="*/ 3981450 h 4487372"/>
                    <a:gd name="connsiteX60" fmla="*/ 763927 w 4519987"/>
                    <a:gd name="connsiteY60" fmla="*/ 3914775 h 4487372"/>
                    <a:gd name="connsiteX61" fmla="*/ 725827 w 4519987"/>
                    <a:gd name="connsiteY61" fmla="*/ 3876675 h 4487372"/>
                    <a:gd name="connsiteX62" fmla="*/ 697252 w 4519987"/>
                    <a:gd name="connsiteY62" fmla="*/ 3838575 h 4487372"/>
                    <a:gd name="connsiteX63" fmla="*/ 640102 w 4519987"/>
                    <a:gd name="connsiteY63" fmla="*/ 3781425 h 4487372"/>
                    <a:gd name="connsiteX64" fmla="*/ 611527 w 4519987"/>
                    <a:gd name="connsiteY64" fmla="*/ 3733800 h 4487372"/>
                    <a:gd name="connsiteX65" fmla="*/ 554377 w 4519987"/>
                    <a:gd name="connsiteY65" fmla="*/ 3657600 h 4487372"/>
                    <a:gd name="connsiteX66" fmla="*/ 525802 w 4519987"/>
                    <a:gd name="connsiteY66" fmla="*/ 3609975 h 4487372"/>
                    <a:gd name="connsiteX67" fmla="*/ 497227 w 4519987"/>
                    <a:gd name="connsiteY67" fmla="*/ 3552825 h 4487372"/>
                    <a:gd name="connsiteX68" fmla="*/ 440077 w 4519987"/>
                    <a:gd name="connsiteY68" fmla="*/ 3495675 h 4487372"/>
                    <a:gd name="connsiteX69" fmla="*/ 411502 w 4519987"/>
                    <a:gd name="connsiteY69" fmla="*/ 3448050 h 4487372"/>
                    <a:gd name="connsiteX70" fmla="*/ 278152 w 4519987"/>
                    <a:gd name="connsiteY70" fmla="*/ 3257550 h 4487372"/>
                    <a:gd name="connsiteX71" fmla="*/ 249577 w 4519987"/>
                    <a:gd name="connsiteY71" fmla="*/ 3200400 h 4487372"/>
                    <a:gd name="connsiteX72" fmla="*/ 240052 w 4519987"/>
                    <a:gd name="connsiteY72" fmla="*/ 3162300 h 4487372"/>
                    <a:gd name="connsiteX73" fmla="*/ 221002 w 4519987"/>
                    <a:gd name="connsiteY73" fmla="*/ 3105150 h 4487372"/>
                    <a:gd name="connsiteX74" fmla="*/ 173377 w 4519987"/>
                    <a:gd name="connsiteY74" fmla="*/ 3019425 h 4487372"/>
                    <a:gd name="connsiteX75" fmla="*/ 144802 w 4519987"/>
                    <a:gd name="connsiteY75" fmla="*/ 2924175 h 4487372"/>
                    <a:gd name="connsiteX76" fmla="*/ 68602 w 4519987"/>
                    <a:gd name="connsiteY76" fmla="*/ 2724150 h 4487372"/>
                    <a:gd name="connsiteX77" fmla="*/ 49552 w 4519987"/>
                    <a:gd name="connsiteY77" fmla="*/ 2638425 h 4487372"/>
                    <a:gd name="connsiteX78" fmla="*/ 40027 w 4519987"/>
                    <a:gd name="connsiteY78" fmla="*/ 2562225 h 4487372"/>
                    <a:gd name="connsiteX79" fmla="*/ 30502 w 4519987"/>
                    <a:gd name="connsiteY79" fmla="*/ 2514600 h 4487372"/>
                    <a:gd name="connsiteX80" fmla="*/ 11452 w 4519987"/>
                    <a:gd name="connsiteY80" fmla="*/ 2400300 h 4487372"/>
                    <a:gd name="connsiteX81" fmla="*/ 20977 w 4519987"/>
                    <a:gd name="connsiteY81" fmla="*/ 1905000 h 4487372"/>
                    <a:gd name="connsiteX82" fmla="*/ 30502 w 4519987"/>
                    <a:gd name="connsiteY82" fmla="*/ 1838325 h 4487372"/>
                    <a:gd name="connsiteX83" fmla="*/ 49552 w 4519987"/>
                    <a:gd name="connsiteY83" fmla="*/ 1781175 h 4487372"/>
                    <a:gd name="connsiteX84" fmla="*/ 59077 w 4519987"/>
                    <a:gd name="connsiteY84" fmla="*/ 1743075 h 4487372"/>
                    <a:gd name="connsiteX85" fmla="*/ 78127 w 4519987"/>
                    <a:gd name="connsiteY85" fmla="*/ 1685925 h 4487372"/>
                    <a:gd name="connsiteX86" fmla="*/ 87652 w 4519987"/>
                    <a:gd name="connsiteY86" fmla="*/ 1638300 h 4487372"/>
                    <a:gd name="connsiteX87" fmla="*/ 106702 w 4519987"/>
                    <a:gd name="connsiteY87" fmla="*/ 1590675 h 4487372"/>
                    <a:gd name="connsiteX88" fmla="*/ 135277 w 4519987"/>
                    <a:gd name="connsiteY88" fmla="*/ 1504950 h 4487372"/>
                    <a:gd name="connsiteX89" fmla="*/ 154327 w 4519987"/>
                    <a:gd name="connsiteY89" fmla="*/ 1419225 h 4487372"/>
                    <a:gd name="connsiteX90" fmla="*/ 230527 w 4519987"/>
                    <a:gd name="connsiteY90" fmla="*/ 1276350 h 4487372"/>
                    <a:gd name="connsiteX91" fmla="*/ 240052 w 4519987"/>
                    <a:gd name="connsiteY91" fmla="*/ 1247775 h 4487372"/>
                    <a:gd name="connsiteX92" fmla="*/ 268627 w 4519987"/>
                    <a:gd name="connsiteY92" fmla="*/ 1200150 h 4487372"/>
                    <a:gd name="connsiteX93" fmla="*/ 287677 w 4519987"/>
                    <a:gd name="connsiteY93" fmla="*/ 1152525 h 4487372"/>
                    <a:gd name="connsiteX94" fmla="*/ 316252 w 4519987"/>
                    <a:gd name="connsiteY94" fmla="*/ 1114425 h 4487372"/>
                    <a:gd name="connsiteX95" fmla="*/ 363877 w 4519987"/>
                    <a:gd name="connsiteY95" fmla="*/ 1038225 h 4487372"/>
                    <a:gd name="connsiteX96" fmla="*/ 382927 w 4519987"/>
                    <a:gd name="connsiteY96" fmla="*/ 1009650 h 4487372"/>
                    <a:gd name="connsiteX97" fmla="*/ 440077 w 4519987"/>
                    <a:gd name="connsiteY97" fmla="*/ 904875 h 4487372"/>
                    <a:gd name="connsiteX98" fmla="*/ 478177 w 4519987"/>
                    <a:gd name="connsiteY98" fmla="*/ 857250 h 4487372"/>
                    <a:gd name="connsiteX99" fmla="*/ 497227 w 4519987"/>
                    <a:gd name="connsiteY99" fmla="*/ 828675 h 4487372"/>
                    <a:gd name="connsiteX100" fmla="*/ 535327 w 4519987"/>
                    <a:gd name="connsiteY100" fmla="*/ 800100 h 4487372"/>
                    <a:gd name="connsiteX101" fmla="*/ 602002 w 4519987"/>
                    <a:gd name="connsiteY101" fmla="*/ 733425 h 4487372"/>
                    <a:gd name="connsiteX102" fmla="*/ 668677 w 4519987"/>
                    <a:gd name="connsiteY102" fmla="*/ 676275 h 4487372"/>
                    <a:gd name="connsiteX103" fmla="*/ 697252 w 4519987"/>
                    <a:gd name="connsiteY103" fmla="*/ 657225 h 4487372"/>
                    <a:gd name="connsiteX104" fmla="*/ 840127 w 4519987"/>
                    <a:gd name="connsiteY104" fmla="*/ 533400 h 4487372"/>
                    <a:gd name="connsiteX105" fmla="*/ 887752 w 4519987"/>
                    <a:gd name="connsiteY105" fmla="*/ 504825 h 4487372"/>
                    <a:gd name="connsiteX106" fmla="*/ 1167152 w 4519987"/>
                    <a:gd name="connsiteY106" fmla="*/ 311150 h 4487372"/>
                    <a:gd name="connsiteX107" fmla="*/ 1268752 w 4519987"/>
                    <a:gd name="connsiteY107" fmla="*/ 285750 h 4487372"/>
                    <a:gd name="connsiteX108" fmla="*/ 1411627 w 4519987"/>
                    <a:gd name="connsiteY108" fmla="*/ 190500 h 4487372"/>
                    <a:gd name="connsiteX109" fmla="*/ 1449727 w 4519987"/>
                    <a:gd name="connsiteY109" fmla="*/ 161925 h 4487372"/>
                    <a:gd name="connsiteX110" fmla="*/ 1525927 w 4519987"/>
                    <a:gd name="connsiteY110" fmla="*/ 152400 h 4487372"/>
                    <a:gd name="connsiteX111" fmla="*/ 1583077 w 4519987"/>
                    <a:gd name="connsiteY111" fmla="*/ 142875 h 4487372"/>
                    <a:gd name="connsiteX112" fmla="*/ 1716427 w 4519987"/>
                    <a:gd name="connsiteY112" fmla="*/ 123825 h 4487372"/>
                    <a:gd name="connsiteX113" fmla="*/ 1811677 w 4519987"/>
                    <a:gd name="connsiteY113" fmla="*/ 114300 h 4487372"/>
                    <a:gd name="connsiteX114" fmla="*/ 1859302 w 4519987"/>
                    <a:gd name="connsiteY114" fmla="*/ 104775 h 4487372"/>
                    <a:gd name="connsiteX115" fmla="*/ 1916452 w 4519987"/>
                    <a:gd name="connsiteY115" fmla="*/ 95250 h 4487372"/>
                    <a:gd name="connsiteX116" fmla="*/ 2030752 w 4519987"/>
                    <a:gd name="connsiteY116" fmla="*/ 66675 h 4487372"/>
                    <a:gd name="connsiteX117" fmla="*/ 2097427 w 4519987"/>
                    <a:gd name="connsiteY117" fmla="*/ 47625 h 4487372"/>
                    <a:gd name="connsiteX118" fmla="*/ 2164102 w 4519987"/>
                    <a:gd name="connsiteY118" fmla="*/ 38100 h 4487372"/>
                    <a:gd name="connsiteX119" fmla="*/ 2392702 w 4519987"/>
                    <a:gd name="connsiteY119" fmla="*/ 28575 h 4487372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745127 w 4519987"/>
                    <a:gd name="connsiteY41" fmla="*/ 4410075 h 4476750"/>
                    <a:gd name="connsiteX42" fmla="*/ 2640352 w 4519987"/>
                    <a:gd name="connsiteY42" fmla="*/ 4457700 h 4476750"/>
                    <a:gd name="connsiteX43" fmla="*/ 2306977 w 4519987"/>
                    <a:gd name="connsiteY43" fmla="*/ 4476750 h 4476750"/>
                    <a:gd name="connsiteX44" fmla="*/ 2202202 w 4519987"/>
                    <a:gd name="connsiteY44" fmla="*/ 4457700 h 4476750"/>
                    <a:gd name="connsiteX45" fmla="*/ 2126002 w 4519987"/>
                    <a:gd name="connsiteY45" fmla="*/ 4429125 h 4476750"/>
                    <a:gd name="connsiteX46" fmla="*/ 1935502 w 4519987"/>
                    <a:gd name="connsiteY46" fmla="*/ 4400550 h 4476750"/>
                    <a:gd name="connsiteX47" fmla="*/ 1821202 w 4519987"/>
                    <a:gd name="connsiteY47" fmla="*/ 4371975 h 4476750"/>
                    <a:gd name="connsiteX48" fmla="*/ 1754527 w 4519987"/>
                    <a:gd name="connsiteY48" fmla="*/ 4352925 h 4476750"/>
                    <a:gd name="connsiteX49" fmla="*/ 1687852 w 4519987"/>
                    <a:gd name="connsiteY49" fmla="*/ 4343400 h 4476750"/>
                    <a:gd name="connsiteX50" fmla="*/ 1573552 w 4519987"/>
                    <a:gd name="connsiteY50" fmla="*/ 4305300 h 4476750"/>
                    <a:gd name="connsiteX51" fmla="*/ 1402102 w 4519987"/>
                    <a:gd name="connsiteY51" fmla="*/ 4276725 h 4476750"/>
                    <a:gd name="connsiteX52" fmla="*/ 1287802 w 4519987"/>
                    <a:gd name="connsiteY52" fmla="*/ 4229100 h 4476750"/>
                    <a:gd name="connsiteX53" fmla="*/ 1221127 w 4519987"/>
                    <a:gd name="connsiteY53" fmla="*/ 4200525 h 4476750"/>
                    <a:gd name="connsiteX54" fmla="*/ 1144927 w 4519987"/>
                    <a:gd name="connsiteY54" fmla="*/ 4171950 h 4476750"/>
                    <a:gd name="connsiteX55" fmla="*/ 1087777 w 4519987"/>
                    <a:gd name="connsiteY55" fmla="*/ 4143375 h 4476750"/>
                    <a:gd name="connsiteX56" fmla="*/ 1030627 w 4519987"/>
                    <a:gd name="connsiteY56" fmla="*/ 4124325 h 4476750"/>
                    <a:gd name="connsiteX57" fmla="*/ 925852 w 4519987"/>
                    <a:gd name="connsiteY57" fmla="*/ 4067175 h 4476750"/>
                    <a:gd name="connsiteX58" fmla="*/ 830602 w 4519987"/>
                    <a:gd name="connsiteY58" fmla="*/ 3981450 h 4476750"/>
                    <a:gd name="connsiteX59" fmla="*/ 763927 w 4519987"/>
                    <a:gd name="connsiteY59" fmla="*/ 3914775 h 4476750"/>
                    <a:gd name="connsiteX60" fmla="*/ 725827 w 4519987"/>
                    <a:gd name="connsiteY60" fmla="*/ 3876675 h 4476750"/>
                    <a:gd name="connsiteX61" fmla="*/ 697252 w 4519987"/>
                    <a:gd name="connsiteY61" fmla="*/ 3838575 h 4476750"/>
                    <a:gd name="connsiteX62" fmla="*/ 640102 w 4519987"/>
                    <a:gd name="connsiteY62" fmla="*/ 3781425 h 4476750"/>
                    <a:gd name="connsiteX63" fmla="*/ 611527 w 4519987"/>
                    <a:gd name="connsiteY63" fmla="*/ 3733800 h 4476750"/>
                    <a:gd name="connsiteX64" fmla="*/ 554377 w 4519987"/>
                    <a:gd name="connsiteY64" fmla="*/ 3657600 h 4476750"/>
                    <a:gd name="connsiteX65" fmla="*/ 525802 w 4519987"/>
                    <a:gd name="connsiteY65" fmla="*/ 3609975 h 4476750"/>
                    <a:gd name="connsiteX66" fmla="*/ 497227 w 4519987"/>
                    <a:gd name="connsiteY66" fmla="*/ 3552825 h 4476750"/>
                    <a:gd name="connsiteX67" fmla="*/ 440077 w 4519987"/>
                    <a:gd name="connsiteY67" fmla="*/ 3495675 h 4476750"/>
                    <a:gd name="connsiteX68" fmla="*/ 411502 w 4519987"/>
                    <a:gd name="connsiteY68" fmla="*/ 3448050 h 4476750"/>
                    <a:gd name="connsiteX69" fmla="*/ 278152 w 4519987"/>
                    <a:gd name="connsiteY69" fmla="*/ 3257550 h 4476750"/>
                    <a:gd name="connsiteX70" fmla="*/ 249577 w 4519987"/>
                    <a:gd name="connsiteY70" fmla="*/ 3200400 h 4476750"/>
                    <a:gd name="connsiteX71" fmla="*/ 240052 w 4519987"/>
                    <a:gd name="connsiteY71" fmla="*/ 3162300 h 4476750"/>
                    <a:gd name="connsiteX72" fmla="*/ 221002 w 4519987"/>
                    <a:gd name="connsiteY72" fmla="*/ 3105150 h 4476750"/>
                    <a:gd name="connsiteX73" fmla="*/ 173377 w 4519987"/>
                    <a:gd name="connsiteY73" fmla="*/ 3019425 h 4476750"/>
                    <a:gd name="connsiteX74" fmla="*/ 144802 w 4519987"/>
                    <a:gd name="connsiteY74" fmla="*/ 2924175 h 4476750"/>
                    <a:gd name="connsiteX75" fmla="*/ 68602 w 4519987"/>
                    <a:gd name="connsiteY75" fmla="*/ 2724150 h 4476750"/>
                    <a:gd name="connsiteX76" fmla="*/ 49552 w 4519987"/>
                    <a:gd name="connsiteY76" fmla="*/ 2638425 h 4476750"/>
                    <a:gd name="connsiteX77" fmla="*/ 40027 w 4519987"/>
                    <a:gd name="connsiteY77" fmla="*/ 2562225 h 4476750"/>
                    <a:gd name="connsiteX78" fmla="*/ 30502 w 4519987"/>
                    <a:gd name="connsiteY78" fmla="*/ 2514600 h 4476750"/>
                    <a:gd name="connsiteX79" fmla="*/ 11452 w 4519987"/>
                    <a:gd name="connsiteY79" fmla="*/ 2400300 h 4476750"/>
                    <a:gd name="connsiteX80" fmla="*/ 20977 w 4519987"/>
                    <a:gd name="connsiteY80" fmla="*/ 1905000 h 4476750"/>
                    <a:gd name="connsiteX81" fmla="*/ 30502 w 4519987"/>
                    <a:gd name="connsiteY81" fmla="*/ 1838325 h 4476750"/>
                    <a:gd name="connsiteX82" fmla="*/ 49552 w 4519987"/>
                    <a:gd name="connsiteY82" fmla="*/ 1781175 h 4476750"/>
                    <a:gd name="connsiteX83" fmla="*/ 59077 w 4519987"/>
                    <a:gd name="connsiteY83" fmla="*/ 1743075 h 4476750"/>
                    <a:gd name="connsiteX84" fmla="*/ 78127 w 4519987"/>
                    <a:gd name="connsiteY84" fmla="*/ 1685925 h 4476750"/>
                    <a:gd name="connsiteX85" fmla="*/ 87652 w 4519987"/>
                    <a:gd name="connsiteY85" fmla="*/ 1638300 h 4476750"/>
                    <a:gd name="connsiteX86" fmla="*/ 106702 w 4519987"/>
                    <a:gd name="connsiteY86" fmla="*/ 1590675 h 4476750"/>
                    <a:gd name="connsiteX87" fmla="*/ 135277 w 4519987"/>
                    <a:gd name="connsiteY87" fmla="*/ 1504950 h 4476750"/>
                    <a:gd name="connsiteX88" fmla="*/ 154327 w 4519987"/>
                    <a:gd name="connsiteY88" fmla="*/ 1419225 h 4476750"/>
                    <a:gd name="connsiteX89" fmla="*/ 230527 w 4519987"/>
                    <a:gd name="connsiteY89" fmla="*/ 1276350 h 4476750"/>
                    <a:gd name="connsiteX90" fmla="*/ 240052 w 4519987"/>
                    <a:gd name="connsiteY90" fmla="*/ 1247775 h 4476750"/>
                    <a:gd name="connsiteX91" fmla="*/ 268627 w 4519987"/>
                    <a:gd name="connsiteY91" fmla="*/ 1200150 h 4476750"/>
                    <a:gd name="connsiteX92" fmla="*/ 287677 w 4519987"/>
                    <a:gd name="connsiteY92" fmla="*/ 1152525 h 4476750"/>
                    <a:gd name="connsiteX93" fmla="*/ 316252 w 4519987"/>
                    <a:gd name="connsiteY93" fmla="*/ 1114425 h 4476750"/>
                    <a:gd name="connsiteX94" fmla="*/ 363877 w 4519987"/>
                    <a:gd name="connsiteY94" fmla="*/ 1038225 h 4476750"/>
                    <a:gd name="connsiteX95" fmla="*/ 382927 w 4519987"/>
                    <a:gd name="connsiteY95" fmla="*/ 1009650 h 4476750"/>
                    <a:gd name="connsiteX96" fmla="*/ 440077 w 4519987"/>
                    <a:gd name="connsiteY96" fmla="*/ 904875 h 4476750"/>
                    <a:gd name="connsiteX97" fmla="*/ 478177 w 4519987"/>
                    <a:gd name="connsiteY97" fmla="*/ 857250 h 4476750"/>
                    <a:gd name="connsiteX98" fmla="*/ 497227 w 4519987"/>
                    <a:gd name="connsiteY98" fmla="*/ 828675 h 4476750"/>
                    <a:gd name="connsiteX99" fmla="*/ 535327 w 4519987"/>
                    <a:gd name="connsiteY99" fmla="*/ 800100 h 4476750"/>
                    <a:gd name="connsiteX100" fmla="*/ 602002 w 4519987"/>
                    <a:gd name="connsiteY100" fmla="*/ 733425 h 4476750"/>
                    <a:gd name="connsiteX101" fmla="*/ 668677 w 4519987"/>
                    <a:gd name="connsiteY101" fmla="*/ 676275 h 4476750"/>
                    <a:gd name="connsiteX102" fmla="*/ 697252 w 4519987"/>
                    <a:gd name="connsiteY102" fmla="*/ 657225 h 4476750"/>
                    <a:gd name="connsiteX103" fmla="*/ 840127 w 4519987"/>
                    <a:gd name="connsiteY103" fmla="*/ 533400 h 4476750"/>
                    <a:gd name="connsiteX104" fmla="*/ 887752 w 4519987"/>
                    <a:gd name="connsiteY104" fmla="*/ 504825 h 4476750"/>
                    <a:gd name="connsiteX105" fmla="*/ 1167152 w 4519987"/>
                    <a:gd name="connsiteY105" fmla="*/ 311150 h 4476750"/>
                    <a:gd name="connsiteX106" fmla="*/ 1268752 w 4519987"/>
                    <a:gd name="connsiteY106" fmla="*/ 285750 h 4476750"/>
                    <a:gd name="connsiteX107" fmla="*/ 1411627 w 4519987"/>
                    <a:gd name="connsiteY107" fmla="*/ 190500 h 4476750"/>
                    <a:gd name="connsiteX108" fmla="*/ 1449727 w 4519987"/>
                    <a:gd name="connsiteY108" fmla="*/ 161925 h 4476750"/>
                    <a:gd name="connsiteX109" fmla="*/ 1525927 w 4519987"/>
                    <a:gd name="connsiteY109" fmla="*/ 152400 h 4476750"/>
                    <a:gd name="connsiteX110" fmla="*/ 1583077 w 4519987"/>
                    <a:gd name="connsiteY110" fmla="*/ 142875 h 4476750"/>
                    <a:gd name="connsiteX111" fmla="*/ 1716427 w 4519987"/>
                    <a:gd name="connsiteY111" fmla="*/ 123825 h 4476750"/>
                    <a:gd name="connsiteX112" fmla="*/ 1811677 w 4519987"/>
                    <a:gd name="connsiteY112" fmla="*/ 114300 h 4476750"/>
                    <a:gd name="connsiteX113" fmla="*/ 1859302 w 4519987"/>
                    <a:gd name="connsiteY113" fmla="*/ 104775 h 4476750"/>
                    <a:gd name="connsiteX114" fmla="*/ 1916452 w 4519987"/>
                    <a:gd name="connsiteY114" fmla="*/ 95250 h 4476750"/>
                    <a:gd name="connsiteX115" fmla="*/ 2030752 w 4519987"/>
                    <a:gd name="connsiteY115" fmla="*/ 66675 h 4476750"/>
                    <a:gd name="connsiteX116" fmla="*/ 2097427 w 4519987"/>
                    <a:gd name="connsiteY116" fmla="*/ 47625 h 4476750"/>
                    <a:gd name="connsiteX117" fmla="*/ 2164102 w 4519987"/>
                    <a:gd name="connsiteY117" fmla="*/ 38100 h 4476750"/>
                    <a:gd name="connsiteX118" fmla="*/ 2392702 w 4519987"/>
                    <a:gd name="connsiteY118" fmla="*/ 28575 h 4476750"/>
                    <a:gd name="connsiteX0" fmla="*/ 2297452 w 4519987"/>
                    <a:gd name="connsiteY0" fmla="*/ 0 h 4478541"/>
                    <a:gd name="connsiteX1" fmla="*/ 2421277 w 4519987"/>
                    <a:gd name="connsiteY1" fmla="*/ 28575 h 4478541"/>
                    <a:gd name="connsiteX2" fmla="*/ 2497477 w 4519987"/>
                    <a:gd name="connsiteY2" fmla="*/ 47625 h 4478541"/>
                    <a:gd name="connsiteX3" fmla="*/ 2754652 w 4519987"/>
                    <a:gd name="connsiteY3" fmla="*/ 66675 h 4478541"/>
                    <a:gd name="connsiteX4" fmla="*/ 2830852 w 4519987"/>
                    <a:gd name="connsiteY4" fmla="*/ 76200 h 4478541"/>
                    <a:gd name="connsiteX5" fmla="*/ 2916577 w 4519987"/>
                    <a:gd name="connsiteY5" fmla="*/ 85725 h 4478541"/>
                    <a:gd name="connsiteX6" fmla="*/ 2973727 w 4519987"/>
                    <a:gd name="connsiteY6" fmla="*/ 114300 h 4478541"/>
                    <a:gd name="connsiteX7" fmla="*/ 3011827 w 4519987"/>
                    <a:gd name="connsiteY7" fmla="*/ 123825 h 4478541"/>
                    <a:gd name="connsiteX8" fmla="*/ 3135652 w 4519987"/>
                    <a:gd name="connsiteY8" fmla="*/ 171450 h 4478541"/>
                    <a:gd name="connsiteX9" fmla="*/ 3173752 w 4519987"/>
                    <a:gd name="connsiteY9" fmla="*/ 190500 h 4478541"/>
                    <a:gd name="connsiteX10" fmla="*/ 3240427 w 4519987"/>
                    <a:gd name="connsiteY10" fmla="*/ 228600 h 4478541"/>
                    <a:gd name="connsiteX11" fmla="*/ 3269002 w 4519987"/>
                    <a:gd name="connsiteY11" fmla="*/ 238125 h 4478541"/>
                    <a:gd name="connsiteX12" fmla="*/ 3297577 w 4519987"/>
                    <a:gd name="connsiteY12" fmla="*/ 257175 h 4478541"/>
                    <a:gd name="connsiteX13" fmla="*/ 3326152 w 4519987"/>
                    <a:gd name="connsiteY13" fmla="*/ 266700 h 4478541"/>
                    <a:gd name="connsiteX14" fmla="*/ 3354727 w 4519987"/>
                    <a:gd name="connsiteY14" fmla="*/ 285750 h 4478541"/>
                    <a:gd name="connsiteX15" fmla="*/ 3421402 w 4519987"/>
                    <a:gd name="connsiteY15" fmla="*/ 323850 h 4478541"/>
                    <a:gd name="connsiteX16" fmla="*/ 3469027 w 4519987"/>
                    <a:gd name="connsiteY16" fmla="*/ 361950 h 4478541"/>
                    <a:gd name="connsiteX17" fmla="*/ 3516652 w 4519987"/>
                    <a:gd name="connsiteY17" fmla="*/ 390525 h 4478541"/>
                    <a:gd name="connsiteX18" fmla="*/ 3630952 w 4519987"/>
                    <a:gd name="connsiteY18" fmla="*/ 485775 h 4478541"/>
                    <a:gd name="connsiteX19" fmla="*/ 3745252 w 4519987"/>
                    <a:gd name="connsiteY19" fmla="*/ 542925 h 4478541"/>
                    <a:gd name="connsiteX20" fmla="*/ 3811927 w 4519987"/>
                    <a:gd name="connsiteY20" fmla="*/ 581025 h 4478541"/>
                    <a:gd name="connsiteX21" fmla="*/ 4027827 w 4519987"/>
                    <a:gd name="connsiteY21" fmla="*/ 819150 h 4478541"/>
                    <a:gd name="connsiteX22" fmla="*/ 4164352 w 4519987"/>
                    <a:gd name="connsiteY22" fmla="*/ 990600 h 4478541"/>
                    <a:gd name="connsiteX23" fmla="*/ 4250077 w 4519987"/>
                    <a:gd name="connsiteY23" fmla="*/ 1143000 h 4478541"/>
                    <a:gd name="connsiteX24" fmla="*/ 4307227 w 4519987"/>
                    <a:gd name="connsiteY24" fmla="*/ 1266825 h 4478541"/>
                    <a:gd name="connsiteX25" fmla="*/ 4345327 w 4519987"/>
                    <a:gd name="connsiteY25" fmla="*/ 1362075 h 4478541"/>
                    <a:gd name="connsiteX26" fmla="*/ 4392952 w 4519987"/>
                    <a:gd name="connsiteY26" fmla="*/ 1552575 h 4478541"/>
                    <a:gd name="connsiteX27" fmla="*/ 4431052 w 4519987"/>
                    <a:gd name="connsiteY27" fmla="*/ 1685925 h 4478541"/>
                    <a:gd name="connsiteX28" fmla="*/ 4519952 w 4519987"/>
                    <a:gd name="connsiteY28" fmla="*/ 2181225 h 4478541"/>
                    <a:gd name="connsiteX29" fmla="*/ 4446927 w 4519987"/>
                    <a:gd name="connsiteY29" fmla="*/ 2768600 h 4478541"/>
                    <a:gd name="connsiteX30" fmla="*/ 4383427 w 4519987"/>
                    <a:gd name="connsiteY30" fmla="*/ 2990850 h 4478541"/>
                    <a:gd name="connsiteX31" fmla="*/ 4278652 w 4519987"/>
                    <a:gd name="connsiteY31" fmla="*/ 3248025 h 4478541"/>
                    <a:gd name="connsiteX32" fmla="*/ 4183402 w 4519987"/>
                    <a:gd name="connsiteY32" fmla="*/ 3400425 h 4478541"/>
                    <a:gd name="connsiteX33" fmla="*/ 4059577 w 4519987"/>
                    <a:gd name="connsiteY33" fmla="*/ 3533775 h 4478541"/>
                    <a:gd name="connsiteX34" fmla="*/ 3954802 w 4519987"/>
                    <a:gd name="connsiteY34" fmla="*/ 3648075 h 4478541"/>
                    <a:gd name="connsiteX35" fmla="*/ 3659527 w 4519987"/>
                    <a:gd name="connsiteY35" fmla="*/ 3971925 h 4478541"/>
                    <a:gd name="connsiteX36" fmla="*/ 3516652 w 4519987"/>
                    <a:gd name="connsiteY36" fmla="*/ 4083050 h 4478541"/>
                    <a:gd name="connsiteX37" fmla="*/ 3221377 w 4519987"/>
                    <a:gd name="connsiteY37" fmla="*/ 4222750 h 4478541"/>
                    <a:gd name="connsiteX38" fmla="*/ 3068977 w 4519987"/>
                    <a:gd name="connsiteY38" fmla="*/ 4286250 h 4478541"/>
                    <a:gd name="connsiteX39" fmla="*/ 2935627 w 4519987"/>
                    <a:gd name="connsiteY39" fmla="*/ 4333875 h 4478541"/>
                    <a:gd name="connsiteX40" fmla="*/ 2811802 w 4519987"/>
                    <a:gd name="connsiteY40" fmla="*/ 4371975 h 4478541"/>
                    <a:gd name="connsiteX41" fmla="*/ 2745127 w 4519987"/>
                    <a:gd name="connsiteY41" fmla="*/ 4410075 h 4478541"/>
                    <a:gd name="connsiteX42" fmla="*/ 2306977 w 4519987"/>
                    <a:gd name="connsiteY42" fmla="*/ 4476750 h 4478541"/>
                    <a:gd name="connsiteX43" fmla="*/ 2202202 w 4519987"/>
                    <a:gd name="connsiteY43" fmla="*/ 4457700 h 4478541"/>
                    <a:gd name="connsiteX44" fmla="*/ 2126002 w 4519987"/>
                    <a:gd name="connsiteY44" fmla="*/ 4429125 h 4478541"/>
                    <a:gd name="connsiteX45" fmla="*/ 1935502 w 4519987"/>
                    <a:gd name="connsiteY45" fmla="*/ 4400550 h 4478541"/>
                    <a:gd name="connsiteX46" fmla="*/ 1821202 w 4519987"/>
                    <a:gd name="connsiteY46" fmla="*/ 4371975 h 4478541"/>
                    <a:gd name="connsiteX47" fmla="*/ 1754527 w 4519987"/>
                    <a:gd name="connsiteY47" fmla="*/ 4352925 h 4478541"/>
                    <a:gd name="connsiteX48" fmla="*/ 1687852 w 4519987"/>
                    <a:gd name="connsiteY48" fmla="*/ 4343400 h 4478541"/>
                    <a:gd name="connsiteX49" fmla="*/ 1573552 w 4519987"/>
                    <a:gd name="connsiteY49" fmla="*/ 4305300 h 4478541"/>
                    <a:gd name="connsiteX50" fmla="*/ 1402102 w 4519987"/>
                    <a:gd name="connsiteY50" fmla="*/ 4276725 h 4478541"/>
                    <a:gd name="connsiteX51" fmla="*/ 1287802 w 4519987"/>
                    <a:gd name="connsiteY51" fmla="*/ 4229100 h 4478541"/>
                    <a:gd name="connsiteX52" fmla="*/ 1221127 w 4519987"/>
                    <a:gd name="connsiteY52" fmla="*/ 4200525 h 4478541"/>
                    <a:gd name="connsiteX53" fmla="*/ 1144927 w 4519987"/>
                    <a:gd name="connsiteY53" fmla="*/ 4171950 h 4478541"/>
                    <a:gd name="connsiteX54" fmla="*/ 1087777 w 4519987"/>
                    <a:gd name="connsiteY54" fmla="*/ 4143375 h 4478541"/>
                    <a:gd name="connsiteX55" fmla="*/ 1030627 w 4519987"/>
                    <a:gd name="connsiteY55" fmla="*/ 4124325 h 4478541"/>
                    <a:gd name="connsiteX56" fmla="*/ 925852 w 4519987"/>
                    <a:gd name="connsiteY56" fmla="*/ 4067175 h 4478541"/>
                    <a:gd name="connsiteX57" fmla="*/ 830602 w 4519987"/>
                    <a:gd name="connsiteY57" fmla="*/ 3981450 h 4478541"/>
                    <a:gd name="connsiteX58" fmla="*/ 763927 w 4519987"/>
                    <a:gd name="connsiteY58" fmla="*/ 3914775 h 4478541"/>
                    <a:gd name="connsiteX59" fmla="*/ 725827 w 4519987"/>
                    <a:gd name="connsiteY59" fmla="*/ 3876675 h 4478541"/>
                    <a:gd name="connsiteX60" fmla="*/ 697252 w 4519987"/>
                    <a:gd name="connsiteY60" fmla="*/ 3838575 h 4478541"/>
                    <a:gd name="connsiteX61" fmla="*/ 640102 w 4519987"/>
                    <a:gd name="connsiteY61" fmla="*/ 3781425 h 4478541"/>
                    <a:gd name="connsiteX62" fmla="*/ 611527 w 4519987"/>
                    <a:gd name="connsiteY62" fmla="*/ 3733800 h 4478541"/>
                    <a:gd name="connsiteX63" fmla="*/ 554377 w 4519987"/>
                    <a:gd name="connsiteY63" fmla="*/ 3657600 h 4478541"/>
                    <a:gd name="connsiteX64" fmla="*/ 525802 w 4519987"/>
                    <a:gd name="connsiteY64" fmla="*/ 3609975 h 4478541"/>
                    <a:gd name="connsiteX65" fmla="*/ 497227 w 4519987"/>
                    <a:gd name="connsiteY65" fmla="*/ 3552825 h 4478541"/>
                    <a:gd name="connsiteX66" fmla="*/ 440077 w 4519987"/>
                    <a:gd name="connsiteY66" fmla="*/ 3495675 h 4478541"/>
                    <a:gd name="connsiteX67" fmla="*/ 411502 w 4519987"/>
                    <a:gd name="connsiteY67" fmla="*/ 3448050 h 4478541"/>
                    <a:gd name="connsiteX68" fmla="*/ 278152 w 4519987"/>
                    <a:gd name="connsiteY68" fmla="*/ 3257550 h 4478541"/>
                    <a:gd name="connsiteX69" fmla="*/ 249577 w 4519987"/>
                    <a:gd name="connsiteY69" fmla="*/ 3200400 h 4478541"/>
                    <a:gd name="connsiteX70" fmla="*/ 240052 w 4519987"/>
                    <a:gd name="connsiteY70" fmla="*/ 3162300 h 4478541"/>
                    <a:gd name="connsiteX71" fmla="*/ 221002 w 4519987"/>
                    <a:gd name="connsiteY71" fmla="*/ 3105150 h 4478541"/>
                    <a:gd name="connsiteX72" fmla="*/ 173377 w 4519987"/>
                    <a:gd name="connsiteY72" fmla="*/ 3019425 h 4478541"/>
                    <a:gd name="connsiteX73" fmla="*/ 144802 w 4519987"/>
                    <a:gd name="connsiteY73" fmla="*/ 2924175 h 4478541"/>
                    <a:gd name="connsiteX74" fmla="*/ 68602 w 4519987"/>
                    <a:gd name="connsiteY74" fmla="*/ 2724150 h 4478541"/>
                    <a:gd name="connsiteX75" fmla="*/ 49552 w 4519987"/>
                    <a:gd name="connsiteY75" fmla="*/ 2638425 h 4478541"/>
                    <a:gd name="connsiteX76" fmla="*/ 40027 w 4519987"/>
                    <a:gd name="connsiteY76" fmla="*/ 2562225 h 4478541"/>
                    <a:gd name="connsiteX77" fmla="*/ 30502 w 4519987"/>
                    <a:gd name="connsiteY77" fmla="*/ 2514600 h 4478541"/>
                    <a:gd name="connsiteX78" fmla="*/ 11452 w 4519987"/>
                    <a:gd name="connsiteY78" fmla="*/ 2400300 h 4478541"/>
                    <a:gd name="connsiteX79" fmla="*/ 20977 w 4519987"/>
                    <a:gd name="connsiteY79" fmla="*/ 1905000 h 4478541"/>
                    <a:gd name="connsiteX80" fmla="*/ 30502 w 4519987"/>
                    <a:gd name="connsiteY80" fmla="*/ 1838325 h 4478541"/>
                    <a:gd name="connsiteX81" fmla="*/ 49552 w 4519987"/>
                    <a:gd name="connsiteY81" fmla="*/ 1781175 h 4478541"/>
                    <a:gd name="connsiteX82" fmla="*/ 59077 w 4519987"/>
                    <a:gd name="connsiteY82" fmla="*/ 1743075 h 4478541"/>
                    <a:gd name="connsiteX83" fmla="*/ 78127 w 4519987"/>
                    <a:gd name="connsiteY83" fmla="*/ 1685925 h 4478541"/>
                    <a:gd name="connsiteX84" fmla="*/ 87652 w 4519987"/>
                    <a:gd name="connsiteY84" fmla="*/ 1638300 h 4478541"/>
                    <a:gd name="connsiteX85" fmla="*/ 106702 w 4519987"/>
                    <a:gd name="connsiteY85" fmla="*/ 1590675 h 4478541"/>
                    <a:gd name="connsiteX86" fmla="*/ 135277 w 4519987"/>
                    <a:gd name="connsiteY86" fmla="*/ 1504950 h 4478541"/>
                    <a:gd name="connsiteX87" fmla="*/ 154327 w 4519987"/>
                    <a:gd name="connsiteY87" fmla="*/ 1419225 h 4478541"/>
                    <a:gd name="connsiteX88" fmla="*/ 230527 w 4519987"/>
                    <a:gd name="connsiteY88" fmla="*/ 1276350 h 4478541"/>
                    <a:gd name="connsiteX89" fmla="*/ 240052 w 4519987"/>
                    <a:gd name="connsiteY89" fmla="*/ 1247775 h 4478541"/>
                    <a:gd name="connsiteX90" fmla="*/ 268627 w 4519987"/>
                    <a:gd name="connsiteY90" fmla="*/ 1200150 h 4478541"/>
                    <a:gd name="connsiteX91" fmla="*/ 287677 w 4519987"/>
                    <a:gd name="connsiteY91" fmla="*/ 1152525 h 4478541"/>
                    <a:gd name="connsiteX92" fmla="*/ 316252 w 4519987"/>
                    <a:gd name="connsiteY92" fmla="*/ 1114425 h 4478541"/>
                    <a:gd name="connsiteX93" fmla="*/ 363877 w 4519987"/>
                    <a:gd name="connsiteY93" fmla="*/ 1038225 h 4478541"/>
                    <a:gd name="connsiteX94" fmla="*/ 382927 w 4519987"/>
                    <a:gd name="connsiteY94" fmla="*/ 1009650 h 4478541"/>
                    <a:gd name="connsiteX95" fmla="*/ 440077 w 4519987"/>
                    <a:gd name="connsiteY95" fmla="*/ 904875 h 4478541"/>
                    <a:gd name="connsiteX96" fmla="*/ 478177 w 4519987"/>
                    <a:gd name="connsiteY96" fmla="*/ 857250 h 4478541"/>
                    <a:gd name="connsiteX97" fmla="*/ 497227 w 4519987"/>
                    <a:gd name="connsiteY97" fmla="*/ 828675 h 4478541"/>
                    <a:gd name="connsiteX98" fmla="*/ 535327 w 4519987"/>
                    <a:gd name="connsiteY98" fmla="*/ 800100 h 4478541"/>
                    <a:gd name="connsiteX99" fmla="*/ 602002 w 4519987"/>
                    <a:gd name="connsiteY99" fmla="*/ 733425 h 4478541"/>
                    <a:gd name="connsiteX100" fmla="*/ 668677 w 4519987"/>
                    <a:gd name="connsiteY100" fmla="*/ 676275 h 4478541"/>
                    <a:gd name="connsiteX101" fmla="*/ 697252 w 4519987"/>
                    <a:gd name="connsiteY101" fmla="*/ 657225 h 4478541"/>
                    <a:gd name="connsiteX102" fmla="*/ 840127 w 4519987"/>
                    <a:gd name="connsiteY102" fmla="*/ 533400 h 4478541"/>
                    <a:gd name="connsiteX103" fmla="*/ 887752 w 4519987"/>
                    <a:gd name="connsiteY103" fmla="*/ 504825 h 4478541"/>
                    <a:gd name="connsiteX104" fmla="*/ 1167152 w 4519987"/>
                    <a:gd name="connsiteY104" fmla="*/ 311150 h 4478541"/>
                    <a:gd name="connsiteX105" fmla="*/ 1268752 w 4519987"/>
                    <a:gd name="connsiteY105" fmla="*/ 285750 h 4478541"/>
                    <a:gd name="connsiteX106" fmla="*/ 1411627 w 4519987"/>
                    <a:gd name="connsiteY106" fmla="*/ 190500 h 4478541"/>
                    <a:gd name="connsiteX107" fmla="*/ 1449727 w 4519987"/>
                    <a:gd name="connsiteY107" fmla="*/ 161925 h 4478541"/>
                    <a:gd name="connsiteX108" fmla="*/ 1525927 w 4519987"/>
                    <a:gd name="connsiteY108" fmla="*/ 152400 h 4478541"/>
                    <a:gd name="connsiteX109" fmla="*/ 1583077 w 4519987"/>
                    <a:gd name="connsiteY109" fmla="*/ 142875 h 4478541"/>
                    <a:gd name="connsiteX110" fmla="*/ 1716427 w 4519987"/>
                    <a:gd name="connsiteY110" fmla="*/ 123825 h 4478541"/>
                    <a:gd name="connsiteX111" fmla="*/ 1811677 w 4519987"/>
                    <a:gd name="connsiteY111" fmla="*/ 114300 h 4478541"/>
                    <a:gd name="connsiteX112" fmla="*/ 1859302 w 4519987"/>
                    <a:gd name="connsiteY112" fmla="*/ 104775 h 4478541"/>
                    <a:gd name="connsiteX113" fmla="*/ 1916452 w 4519987"/>
                    <a:gd name="connsiteY113" fmla="*/ 95250 h 4478541"/>
                    <a:gd name="connsiteX114" fmla="*/ 2030752 w 4519987"/>
                    <a:gd name="connsiteY114" fmla="*/ 66675 h 4478541"/>
                    <a:gd name="connsiteX115" fmla="*/ 2097427 w 4519987"/>
                    <a:gd name="connsiteY115" fmla="*/ 47625 h 4478541"/>
                    <a:gd name="connsiteX116" fmla="*/ 2164102 w 4519987"/>
                    <a:gd name="connsiteY116" fmla="*/ 38100 h 4478541"/>
                    <a:gd name="connsiteX117" fmla="*/ 2392702 w 4519987"/>
                    <a:gd name="connsiteY117" fmla="*/ 28575 h 4478541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580027 w 4519987"/>
                    <a:gd name="connsiteY41" fmla="*/ 4391025 h 4476750"/>
                    <a:gd name="connsiteX42" fmla="*/ 2306977 w 4519987"/>
                    <a:gd name="connsiteY42" fmla="*/ 4476750 h 4476750"/>
                    <a:gd name="connsiteX43" fmla="*/ 2202202 w 4519987"/>
                    <a:gd name="connsiteY43" fmla="*/ 4457700 h 4476750"/>
                    <a:gd name="connsiteX44" fmla="*/ 2126002 w 4519987"/>
                    <a:gd name="connsiteY44" fmla="*/ 4429125 h 4476750"/>
                    <a:gd name="connsiteX45" fmla="*/ 1935502 w 4519987"/>
                    <a:gd name="connsiteY45" fmla="*/ 4400550 h 4476750"/>
                    <a:gd name="connsiteX46" fmla="*/ 1821202 w 4519987"/>
                    <a:gd name="connsiteY46" fmla="*/ 4371975 h 4476750"/>
                    <a:gd name="connsiteX47" fmla="*/ 1754527 w 4519987"/>
                    <a:gd name="connsiteY47" fmla="*/ 4352925 h 4476750"/>
                    <a:gd name="connsiteX48" fmla="*/ 1687852 w 4519987"/>
                    <a:gd name="connsiteY48" fmla="*/ 4343400 h 4476750"/>
                    <a:gd name="connsiteX49" fmla="*/ 1573552 w 4519987"/>
                    <a:gd name="connsiteY49" fmla="*/ 4305300 h 4476750"/>
                    <a:gd name="connsiteX50" fmla="*/ 1402102 w 4519987"/>
                    <a:gd name="connsiteY50" fmla="*/ 4276725 h 4476750"/>
                    <a:gd name="connsiteX51" fmla="*/ 1287802 w 4519987"/>
                    <a:gd name="connsiteY51" fmla="*/ 4229100 h 4476750"/>
                    <a:gd name="connsiteX52" fmla="*/ 1221127 w 4519987"/>
                    <a:gd name="connsiteY52" fmla="*/ 4200525 h 4476750"/>
                    <a:gd name="connsiteX53" fmla="*/ 1144927 w 4519987"/>
                    <a:gd name="connsiteY53" fmla="*/ 4171950 h 4476750"/>
                    <a:gd name="connsiteX54" fmla="*/ 1087777 w 4519987"/>
                    <a:gd name="connsiteY54" fmla="*/ 4143375 h 4476750"/>
                    <a:gd name="connsiteX55" fmla="*/ 1030627 w 4519987"/>
                    <a:gd name="connsiteY55" fmla="*/ 4124325 h 4476750"/>
                    <a:gd name="connsiteX56" fmla="*/ 925852 w 4519987"/>
                    <a:gd name="connsiteY56" fmla="*/ 4067175 h 4476750"/>
                    <a:gd name="connsiteX57" fmla="*/ 830602 w 4519987"/>
                    <a:gd name="connsiteY57" fmla="*/ 3981450 h 4476750"/>
                    <a:gd name="connsiteX58" fmla="*/ 763927 w 4519987"/>
                    <a:gd name="connsiteY58" fmla="*/ 3914775 h 4476750"/>
                    <a:gd name="connsiteX59" fmla="*/ 725827 w 4519987"/>
                    <a:gd name="connsiteY59" fmla="*/ 3876675 h 4476750"/>
                    <a:gd name="connsiteX60" fmla="*/ 697252 w 4519987"/>
                    <a:gd name="connsiteY60" fmla="*/ 3838575 h 4476750"/>
                    <a:gd name="connsiteX61" fmla="*/ 640102 w 4519987"/>
                    <a:gd name="connsiteY61" fmla="*/ 3781425 h 4476750"/>
                    <a:gd name="connsiteX62" fmla="*/ 611527 w 4519987"/>
                    <a:gd name="connsiteY62" fmla="*/ 3733800 h 4476750"/>
                    <a:gd name="connsiteX63" fmla="*/ 554377 w 4519987"/>
                    <a:gd name="connsiteY63" fmla="*/ 3657600 h 4476750"/>
                    <a:gd name="connsiteX64" fmla="*/ 525802 w 4519987"/>
                    <a:gd name="connsiteY64" fmla="*/ 3609975 h 4476750"/>
                    <a:gd name="connsiteX65" fmla="*/ 497227 w 4519987"/>
                    <a:gd name="connsiteY65" fmla="*/ 3552825 h 4476750"/>
                    <a:gd name="connsiteX66" fmla="*/ 440077 w 4519987"/>
                    <a:gd name="connsiteY66" fmla="*/ 3495675 h 4476750"/>
                    <a:gd name="connsiteX67" fmla="*/ 411502 w 4519987"/>
                    <a:gd name="connsiteY67" fmla="*/ 3448050 h 4476750"/>
                    <a:gd name="connsiteX68" fmla="*/ 278152 w 4519987"/>
                    <a:gd name="connsiteY68" fmla="*/ 3257550 h 4476750"/>
                    <a:gd name="connsiteX69" fmla="*/ 249577 w 4519987"/>
                    <a:gd name="connsiteY69" fmla="*/ 3200400 h 4476750"/>
                    <a:gd name="connsiteX70" fmla="*/ 240052 w 4519987"/>
                    <a:gd name="connsiteY70" fmla="*/ 3162300 h 4476750"/>
                    <a:gd name="connsiteX71" fmla="*/ 221002 w 4519987"/>
                    <a:gd name="connsiteY71" fmla="*/ 3105150 h 4476750"/>
                    <a:gd name="connsiteX72" fmla="*/ 173377 w 4519987"/>
                    <a:gd name="connsiteY72" fmla="*/ 3019425 h 4476750"/>
                    <a:gd name="connsiteX73" fmla="*/ 144802 w 4519987"/>
                    <a:gd name="connsiteY73" fmla="*/ 2924175 h 4476750"/>
                    <a:gd name="connsiteX74" fmla="*/ 68602 w 4519987"/>
                    <a:gd name="connsiteY74" fmla="*/ 2724150 h 4476750"/>
                    <a:gd name="connsiteX75" fmla="*/ 49552 w 4519987"/>
                    <a:gd name="connsiteY75" fmla="*/ 2638425 h 4476750"/>
                    <a:gd name="connsiteX76" fmla="*/ 40027 w 4519987"/>
                    <a:gd name="connsiteY76" fmla="*/ 2562225 h 4476750"/>
                    <a:gd name="connsiteX77" fmla="*/ 30502 w 4519987"/>
                    <a:gd name="connsiteY77" fmla="*/ 2514600 h 4476750"/>
                    <a:gd name="connsiteX78" fmla="*/ 11452 w 4519987"/>
                    <a:gd name="connsiteY78" fmla="*/ 2400300 h 4476750"/>
                    <a:gd name="connsiteX79" fmla="*/ 20977 w 4519987"/>
                    <a:gd name="connsiteY79" fmla="*/ 1905000 h 4476750"/>
                    <a:gd name="connsiteX80" fmla="*/ 30502 w 4519987"/>
                    <a:gd name="connsiteY80" fmla="*/ 1838325 h 4476750"/>
                    <a:gd name="connsiteX81" fmla="*/ 49552 w 4519987"/>
                    <a:gd name="connsiteY81" fmla="*/ 1781175 h 4476750"/>
                    <a:gd name="connsiteX82" fmla="*/ 59077 w 4519987"/>
                    <a:gd name="connsiteY82" fmla="*/ 1743075 h 4476750"/>
                    <a:gd name="connsiteX83" fmla="*/ 78127 w 4519987"/>
                    <a:gd name="connsiteY83" fmla="*/ 1685925 h 4476750"/>
                    <a:gd name="connsiteX84" fmla="*/ 87652 w 4519987"/>
                    <a:gd name="connsiteY84" fmla="*/ 1638300 h 4476750"/>
                    <a:gd name="connsiteX85" fmla="*/ 106702 w 4519987"/>
                    <a:gd name="connsiteY85" fmla="*/ 1590675 h 4476750"/>
                    <a:gd name="connsiteX86" fmla="*/ 135277 w 4519987"/>
                    <a:gd name="connsiteY86" fmla="*/ 1504950 h 4476750"/>
                    <a:gd name="connsiteX87" fmla="*/ 154327 w 4519987"/>
                    <a:gd name="connsiteY87" fmla="*/ 1419225 h 4476750"/>
                    <a:gd name="connsiteX88" fmla="*/ 230527 w 4519987"/>
                    <a:gd name="connsiteY88" fmla="*/ 1276350 h 4476750"/>
                    <a:gd name="connsiteX89" fmla="*/ 240052 w 4519987"/>
                    <a:gd name="connsiteY89" fmla="*/ 1247775 h 4476750"/>
                    <a:gd name="connsiteX90" fmla="*/ 268627 w 4519987"/>
                    <a:gd name="connsiteY90" fmla="*/ 1200150 h 4476750"/>
                    <a:gd name="connsiteX91" fmla="*/ 287677 w 4519987"/>
                    <a:gd name="connsiteY91" fmla="*/ 1152525 h 4476750"/>
                    <a:gd name="connsiteX92" fmla="*/ 316252 w 4519987"/>
                    <a:gd name="connsiteY92" fmla="*/ 1114425 h 4476750"/>
                    <a:gd name="connsiteX93" fmla="*/ 363877 w 4519987"/>
                    <a:gd name="connsiteY93" fmla="*/ 1038225 h 4476750"/>
                    <a:gd name="connsiteX94" fmla="*/ 382927 w 4519987"/>
                    <a:gd name="connsiteY94" fmla="*/ 1009650 h 4476750"/>
                    <a:gd name="connsiteX95" fmla="*/ 440077 w 4519987"/>
                    <a:gd name="connsiteY95" fmla="*/ 904875 h 4476750"/>
                    <a:gd name="connsiteX96" fmla="*/ 478177 w 4519987"/>
                    <a:gd name="connsiteY96" fmla="*/ 857250 h 4476750"/>
                    <a:gd name="connsiteX97" fmla="*/ 497227 w 4519987"/>
                    <a:gd name="connsiteY97" fmla="*/ 828675 h 4476750"/>
                    <a:gd name="connsiteX98" fmla="*/ 535327 w 4519987"/>
                    <a:gd name="connsiteY98" fmla="*/ 800100 h 4476750"/>
                    <a:gd name="connsiteX99" fmla="*/ 602002 w 4519987"/>
                    <a:gd name="connsiteY99" fmla="*/ 733425 h 4476750"/>
                    <a:gd name="connsiteX100" fmla="*/ 668677 w 4519987"/>
                    <a:gd name="connsiteY100" fmla="*/ 676275 h 4476750"/>
                    <a:gd name="connsiteX101" fmla="*/ 697252 w 4519987"/>
                    <a:gd name="connsiteY101" fmla="*/ 657225 h 4476750"/>
                    <a:gd name="connsiteX102" fmla="*/ 840127 w 4519987"/>
                    <a:gd name="connsiteY102" fmla="*/ 533400 h 4476750"/>
                    <a:gd name="connsiteX103" fmla="*/ 887752 w 4519987"/>
                    <a:gd name="connsiteY103" fmla="*/ 504825 h 4476750"/>
                    <a:gd name="connsiteX104" fmla="*/ 1167152 w 4519987"/>
                    <a:gd name="connsiteY104" fmla="*/ 311150 h 4476750"/>
                    <a:gd name="connsiteX105" fmla="*/ 1268752 w 4519987"/>
                    <a:gd name="connsiteY105" fmla="*/ 285750 h 4476750"/>
                    <a:gd name="connsiteX106" fmla="*/ 1411627 w 4519987"/>
                    <a:gd name="connsiteY106" fmla="*/ 190500 h 4476750"/>
                    <a:gd name="connsiteX107" fmla="*/ 1449727 w 4519987"/>
                    <a:gd name="connsiteY107" fmla="*/ 161925 h 4476750"/>
                    <a:gd name="connsiteX108" fmla="*/ 1525927 w 4519987"/>
                    <a:gd name="connsiteY108" fmla="*/ 152400 h 4476750"/>
                    <a:gd name="connsiteX109" fmla="*/ 1583077 w 4519987"/>
                    <a:gd name="connsiteY109" fmla="*/ 142875 h 4476750"/>
                    <a:gd name="connsiteX110" fmla="*/ 1716427 w 4519987"/>
                    <a:gd name="connsiteY110" fmla="*/ 123825 h 4476750"/>
                    <a:gd name="connsiteX111" fmla="*/ 1811677 w 4519987"/>
                    <a:gd name="connsiteY111" fmla="*/ 114300 h 4476750"/>
                    <a:gd name="connsiteX112" fmla="*/ 1859302 w 4519987"/>
                    <a:gd name="connsiteY112" fmla="*/ 104775 h 4476750"/>
                    <a:gd name="connsiteX113" fmla="*/ 1916452 w 4519987"/>
                    <a:gd name="connsiteY113" fmla="*/ 95250 h 4476750"/>
                    <a:gd name="connsiteX114" fmla="*/ 2030752 w 4519987"/>
                    <a:gd name="connsiteY114" fmla="*/ 66675 h 4476750"/>
                    <a:gd name="connsiteX115" fmla="*/ 2097427 w 4519987"/>
                    <a:gd name="connsiteY115" fmla="*/ 47625 h 4476750"/>
                    <a:gd name="connsiteX116" fmla="*/ 2164102 w 4519987"/>
                    <a:gd name="connsiteY116" fmla="*/ 38100 h 4476750"/>
                    <a:gd name="connsiteX117" fmla="*/ 2392702 w 4519987"/>
                    <a:gd name="connsiteY117" fmla="*/ 28575 h 4476750"/>
                    <a:gd name="connsiteX0" fmla="*/ 2297452 w 4519987"/>
                    <a:gd name="connsiteY0" fmla="*/ 0 h 4457700"/>
                    <a:gd name="connsiteX1" fmla="*/ 2421277 w 4519987"/>
                    <a:gd name="connsiteY1" fmla="*/ 28575 h 4457700"/>
                    <a:gd name="connsiteX2" fmla="*/ 2497477 w 4519987"/>
                    <a:gd name="connsiteY2" fmla="*/ 47625 h 4457700"/>
                    <a:gd name="connsiteX3" fmla="*/ 2754652 w 4519987"/>
                    <a:gd name="connsiteY3" fmla="*/ 66675 h 4457700"/>
                    <a:gd name="connsiteX4" fmla="*/ 2830852 w 4519987"/>
                    <a:gd name="connsiteY4" fmla="*/ 76200 h 4457700"/>
                    <a:gd name="connsiteX5" fmla="*/ 2916577 w 4519987"/>
                    <a:gd name="connsiteY5" fmla="*/ 85725 h 4457700"/>
                    <a:gd name="connsiteX6" fmla="*/ 2973727 w 4519987"/>
                    <a:gd name="connsiteY6" fmla="*/ 114300 h 4457700"/>
                    <a:gd name="connsiteX7" fmla="*/ 3011827 w 4519987"/>
                    <a:gd name="connsiteY7" fmla="*/ 123825 h 4457700"/>
                    <a:gd name="connsiteX8" fmla="*/ 3135652 w 4519987"/>
                    <a:gd name="connsiteY8" fmla="*/ 171450 h 4457700"/>
                    <a:gd name="connsiteX9" fmla="*/ 3173752 w 4519987"/>
                    <a:gd name="connsiteY9" fmla="*/ 190500 h 4457700"/>
                    <a:gd name="connsiteX10" fmla="*/ 3240427 w 4519987"/>
                    <a:gd name="connsiteY10" fmla="*/ 228600 h 4457700"/>
                    <a:gd name="connsiteX11" fmla="*/ 3269002 w 4519987"/>
                    <a:gd name="connsiteY11" fmla="*/ 238125 h 4457700"/>
                    <a:gd name="connsiteX12" fmla="*/ 3297577 w 4519987"/>
                    <a:gd name="connsiteY12" fmla="*/ 257175 h 4457700"/>
                    <a:gd name="connsiteX13" fmla="*/ 3326152 w 4519987"/>
                    <a:gd name="connsiteY13" fmla="*/ 266700 h 4457700"/>
                    <a:gd name="connsiteX14" fmla="*/ 3354727 w 4519987"/>
                    <a:gd name="connsiteY14" fmla="*/ 285750 h 4457700"/>
                    <a:gd name="connsiteX15" fmla="*/ 3421402 w 4519987"/>
                    <a:gd name="connsiteY15" fmla="*/ 323850 h 4457700"/>
                    <a:gd name="connsiteX16" fmla="*/ 3469027 w 4519987"/>
                    <a:gd name="connsiteY16" fmla="*/ 361950 h 4457700"/>
                    <a:gd name="connsiteX17" fmla="*/ 3516652 w 4519987"/>
                    <a:gd name="connsiteY17" fmla="*/ 390525 h 4457700"/>
                    <a:gd name="connsiteX18" fmla="*/ 3630952 w 4519987"/>
                    <a:gd name="connsiteY18" fmla="*/ 485775 h 4457700"/>
                    <a:gd name="connsiteX19" fmla="*/ 3745252 w 4519987"/>
                    <a:gd name="connsiteY19" fmla="*/ 542925 h 4457700"/>
                    <a:gd name="connsiteX20" fmla="*/ 3811927 w 4519987"/>
                    <a:gd name="connsiteY20" fmla="*/ 581025 h 4457700"/>
                    <a:gd name="connsiteX21" fmla="*/ 4027827 w 4519987"/>
                    <a:gd name="connsiteY21" fmla="*/ 819150 h 4457700"/>
                    <a:gd name="connsiteX22" fmla="*/ 4164352 w 4519987"/>
                    <a:gd name="connsiteY22" fmla="*/ 990600 h 4457700"/>
                    <a:gd name="connsiteX23" fmla="*/ 4250077 w 4519987"/>
                    <a:gd name="connsiteY23" fmla="*/ 1143000 h 4457700"/>
                    <a:gd name="connsiteX24" fmla="*/ 4307227 w 4519987"/>
                    <a:gd name="connsiteY24" fmla="*/ 1266825 h 4457700"/>
                    <a:gd name="connsiteX25" fmla="*/ 4345327 w 4519987"/>
                    <a:gd name="connsiteY25" fmla="*/ 1362075 h 4457700"/>
                    <a:gd name="connsiteX26" fmla="*/ 4392952 w 4519987"/>
                    <a:gd name="connsiteY26" fmla="*/ 1552575 h 4457700"/>
                    <a:gd name="connsiteX27" fmla="*/ 4431052 w 4519987"/>
                    <a:gd name="connsiteY27" fmla="*/ 1685925 h 4457700"/>
                    <a:gd name="connsiteX28" fmla="*/ 4519952 w 4519987"/>
                    <a:gd name="connsiteY28" fmla="*/ 2181225 h 4457700"/>
                    <a:gd name="connsiteX29" fmla="*/ 4446927 w 4519987"/>
                    <a:gd name="connsiteY29" fmla="*/ 2768600 h 4457700"/>
                    <a:gd name="connsiteX30" fmla="*/ 4383427 w 4519987"/>
                    <a:gd name="connsiteY30" fmla="*/ 2990850 h 4457700"/>
                    <a:gd name="connsiteX31" fmla="*/ 4278652 w 4519987"/>
                    <a:gd name="connsiteY31" fmla="*/ 3248025 h 4457700"/>
                    <a:gd name="connsiteX32" fmla="*/ 4183402 w 4519987"/>
                    <a:gd name="connsiteY32" fmla="*/ 3400425 h 4457700"/>
                    <a:gd name="connsiteX33" fmla="*/ 4059577 w 4519987"/>
                    <a:gd name="connsiteY33" fmla="*/ 3533775 h 4457700"/>
                    <a:gd name="connsiteX34" fmla="*/ 3954802 w 4519987"/>
                    <a:gd name="connsiteY34" fmla="*/ 3648075 h 4457700"/>
                    <a:gd name="connsiteX35" fmla="*/ 3659527 w 4519987"/>
                    <a:gd name="connsiteY35" fmla="*/ 3971925 h 4457700"/>
                    <a:gd name="connsiteX36" fmla="*/ 3516652 w 4519987"/>
                    <a:gd name="connsiteY36" fmla="*/ 4083050 h 4457700"/>
                    <a:gd name="connsiteX37" fmla="*/ 3221377 w 4519987"/>
                    <a:gd name="connsiteY37" fmla="*/ 4222750 h 4457700"/>
                    <a:gd name="connsiteX38" fmla="*/ 3068977 w 4519987"/>
                    <a:gd name="connsiteY38" fmla="*/ 4286250 h 4457700"/>
                    <a:gd name="connsiteX39" fmla="*/ 2935627 w 4519987"/>
                    <a:gd name="connsiteY39" fmla="*/ 4333875 h 4457700"/>
                    <a:gd name="connsiteX40" fmla="*/ 2811802 w 4519987"/>
                    <a:gd name="connsiteY40" fmla="*/ 4371975 h 4457700"/>
                    <a:gd name="connsiteX41" fmla="*/ 2580027 w 4519987"/>
                    <a:gd name="connsiteY41" fmla="*/ 4391025 h 4457700"/>
                    <a:gd name="connsiteX42" fmla="*/ 2202202 w 4519987"/>
                    <a:gd name="connsiteY42" fmla="*/ 4457700 h 4457700"/>
                    <a:gd name="connsiteX43" fmla="*/ 2126002 w 4519987"/>
                    <a:gd name="connsiteY43" fmla="*/ 4429125 h 4457700"/>
                    <a:gd name="connsiteX44" fmla="*/ 1935502 w 4519987"/>
                    <a:gd name="connsiteY44" fmla="*/ 4400550 h 4457700"/>
                    <a:gd name="connsiteX45" fmla="*/ 1821202 w 4519987"/>
                    <a:gd name="connsiteY45" fmla="*/ 4371975 h 4457700"/>
                    <a:gd name="connsiteX46" fmla="*/ 1754527 w 4519987"/>
                    <a:gd name="connsiteY46" fmla="*/ 4352925 h 4457700"/>
                    <a:gd name="connsiteX47" fmla="*/ 1687852 w 4519987"/>
                    <a:gd name="connsiteY47" fmla="*/ 4343400 h 4457700"/>
                    <a:gd name="connsiteX48" fmla="*/ 1573552 w 4519987"/>
                    <a:gd name="connsiteY48" fmla="*/ 4305300 h 4457700"/>
                    <a:gd name="connsiteX49" fmla="*/ 1402102 w 4519987"/>
                    <a:gd name="connsiteY49" fmla="*/ 4276725 h 4457700"/>
                    <a:gd name="connsiteX50" fmla="*/ 1287802 w 4519987"/>
                    <a:gd name="connsiteY50" fmla="*/ 4229100 h 4457700"/>
                    <a:gd name="connsiteX51" fmla="*/ 1221127 w 4519987"/>
                    <a:gd name="connsiteY51" fmla="*/ 4200525 h 4457700"/>
                    <a:gd name="connsiteX52" fmla="*/ 1144927 w 4519987"/>
                    <a:gd name="connsiteY52" fmla="*/ 4171950 h 4457700"/>
                    <a:gd name="connsiteX53" fmla="*/ 1087777 w 4519987"/>
                    <a:gd name="connsiteY53" fmla="*/ 4143375 h 4457700"/>
                    <a:gd name="connsiteX54" fmla="*/ 1030627 w 4519987"/>
                    <a:gd name="connsiteY54" fmla="*/ 4124325 h 4457700"/>
                    <a:gd name="connsiteX55" fmla="*/ 925852 w 4519987"/>
                    <a:gd name="connsiteY55" fmla="*/ 4067175 h 4457700"/>
                    <a:gd name="connsiteX56" fmla="*/ 830602 w 4519987"/>
                    <a:gd name="connsiteY56" fmla="*/ 3981450 h 4457700"/>
                    <a:gd name="connsiteX57" fmla="*/ 763927 w 4519987"/>
                    <a:gd name="connsiteY57" fmla="*/ 3914775 h 4457700"/>
                    <a:gd name="connsiteX58" fmla="*/ 725827 w 4519987"/>
                    <a:gd name="connsiteY58" fmla="*/ 3876675 h 4457700"/>
                    <a:gd name="connsiteX59" fmla="*/ 697252 w 4519987"/>
                    <a:gd name="connsiteY59" fmla="*/ 3838575 h 4457700"/>
                    <a:gd name="connsiteX60" fmla="*/ 640102 w 4519987"/>
                    <a:gd name="connsiteY60" fmla="*/ 3781425 h 4457700"/>
                    <a:gd name="connsiteX61" fmla="*/ 611527 w 4519987"/>
                    <a:gd name="connsiteY61" fmla="*/ 3733800 h 4457700"/>
                    <a:gd name="connsiteX62" fmla="*/ 554377 w 4519987"/>
                    <a:gd name="connsiteY62" fmla="*/ 3657600 h 4457700"/>
                    <a:gd name="connsiteX63" fmla="*/ 525802 w 4519987"/>
                    <a:gd name="connsiteY63" fmla="*/ 3609975 h 4457700"/>
                    <a:gd name="connsiteX64" fmla="*/ 497227 w 4519987"/>
                    <a:gd name="connsiteY64" fmla="*/ 3552825 h 4457700"/>
                    <a:gd name="connsiteX65" fmla="*/ 440077 w 4519987"/>
                    <a:gd name="connsiteY65" fmla="*/ 3495675 h 4457700"/>
                    <a:gd name="connsiteX66" fmla="*/ 411502 w 4519987"/>
                    <a:gd name="connsiteY66" fmla="*/ 3448050 h 4457700"/>
                    <a:gd name="connsiteX67" fmla="*/ 278152 w 4519987"/>
                    <a:gd name="connsiteY67" fmla="*/ 3257550 h 4457700"/>
                    <a:gd name="connsiteX68" fmla="*/ 249577 w 4519987"/>
                    <a:gd name="connsiteY68" fmla="*/ 3200400 h 4457700"/>
                    <a:gd name="connsiteX69" fmla="*/ 240052 w 4519987"/>
                    <a:gd name="connsiteY69" fmla="*/ 3162300 h 4457700"/>
                    <a:gd name="connsiteX70" fmla="*/ 221002 w 4519987"/>
                    <a:gd name="connsiteY70" fmla="*/ 3105150 h 4457700"/>
                    <a:gd name="connsiteX71" fmla="*/ 173377 w 4519987"/>
                    <a:gd name="connsiteY71" fmla="*/ 3019425 h 4457700"/>
                    <a:gd name="connsiteX72" fmla="*/ 144802 w 4519987"/>
                    <a:gd name="connsiteY72" fmla="*/ 2924175 h 4457700"/>
                    <a:gd name="connsiteX73" fmla="*/ 68602 w 4519987"/>
                    <a:gd name="connsiteY73" fmla="*/ 2724150 h 4457700"/>
                    <a:gd name="connsiteX74" fmla="*/ 49552 w 4519987"/>
                    <a:gd name="connsiteY74" fmla="*/ 2638425 h 4457700"/>
                    <a:gd name="connsiteX75" fmla="*/ 40027 w 4519987"/>
                    <a:gd name="connsiteY75" fmla="*/ 2562225 h 4457700"/>
                    <a:gd name="connsiteX76" fmla="*/ 30502 w 4519987"/>
                    <a:gd name="connsiteY76" fmla="*/ 2514600 h 4457700"/>
                    <a:gd name="connsiteX77" fmla="*/ 11452 w 4519987"/>
                    <a:gd name="connsiteY77" fmla="*/ 2400300 h 4457700"/>
                    <a:gd name="connsiteX78" fmla="*/ 20977 w 4519987"/>
                    <a:gd name="connsiteY78" fmla="*/ 1905000 h 4457700"/>
                    <a:gd name="connsiteX79" fmla="*/ 30502 w 4519987"/>
                    <a:gd name="connsiteY79" fmla="*/ 1838325 h 4457700"/>
                    <a:gd name="connsiteX80" fmla="*/ 49552 w 4519987"/>
                    <a:gd name="connsiteY80" fmla="*/ 1781175 h 4457700"/>
                    <a:gd name="connsiteX81" fmla="*/ 59077 w 4519987"/>
                    <a:gd name="connsiteY81" fmla="*/ 1743075 h 4457700"/>
                    <a:gd name="connsiteX82" fmla="*/ 78127 w 4519987"/>
                    <a:gd name="connsiteY82" fmla="*/ 1685925 h 4457700"/>
                    <a:gd name="connsiteX83" fmla="*/ 87652 w 4519987"/>
                    <a:gd name="connsiteY83" fmla="*/ 1638300 h 4457700"/>
                    <a:gd name="connsiteX84" fmla="*/ 106702 w 4519987"/>
                    <a:gd name="connsiteY84" fmla="*/ 1590675 h 4457700"/>
                    <a:gd name="connsiteX85" fmla="*/ 135277 w 4519987"/>
                    <a:gd name="connsiteY85" fmla="*/ 1504950 h 4457700"/>
                    <a:gd name="connsiteX86" fmla="*/ 154327 w 4519987"/>
                    <a:gd name="connsiteY86" fmla="*/ 1419225 h 4457700"/>
                    <a:gd name="connsiteX87" fmla="*/ 230527 w 4519987"/>
                    <a:gd name="connsiteY87" fmla="*/ 1276350 h 4457700"/>
                    <a:gd name="connsiteX88" fmla="*/ 240052 w 4519987"/>
                    <a:gd name="connsiteY88" fmla="*/ 1247775 h 4457700"/>
                    <a:gd name="connsiteX89" fmla="*/ 268627 w 4519987"/>
                    <a:gd name="connsiteY89" fmla="*/ 1200150 h 4457700"/>
                    <a:gd name="connsiteX90" fmla="*/ 287677 w 4519987"/>
                    <a:gd name="connsiteY90" fmla="*/ 1152525 h 4457700"/>
                    <a:gd name="connsiteX91" fmla="*/ 316252 w 4519987"/>
                    <a:gd name="connsiteY91" fmla="*/ 1114425 h 4457700"/>
                    <a:gd name="connsiteX92" fmla="*/ 363877 w 4519987"/>
                    <a:gd name="connsiteY92" fmla="*/ 1038225 h 4457700"/>
                    <a:gd name="connsiteX93" fmla="*/ 382927 w 4519987"/>
                    <a:gd name="connsiteY93" fmla="*/ 1009650 h 4457700"/>
                    <a:gd name="connsiteX94" fmla="*/ 440077 w 4519987"/>
                    <a:gd name="connsiteY94" fmla="*/ 904875 h 4457700"/>
                    <a:gd name="connsiteX95" fmla="*/ 478177 w 4519987"/>
                    <a:gd name="connsiteY95" fmla="*/ 857250 h 4457700"/>
                    <a:gd name="connsiteX96" fmla="*/ 497227 w 4519987"/>
                    <a:gd name="connsiteY96" fmla="*/ 828675 h 4457700"/>
                    <a:gd name="connsiteX97" fmla="*/ 535327 w 4519987"/>
                    <a:gd name="connsiteY97" fmla="*/ 800100 h 4457700"/>
                    <a:gd name="connsiteX98" fmla="*/ 602002 w 4519987"/>
                    <a:gd name="connsiteY98" fmla="*/ 733425 h 4457700"/>
                    <a:gd name="connsiteX99" fmla="*/ 668677 w 4519987"/>
                    <a:gd name="connsiteY99" fmla="*/ 676275 h 4457700"/>
                    <a:gd name="connsiteX100" fmla="*/ 697252 w 4519987"/>
                    <a:gd name="connsiteY100" fmla="*/ 657225 h 4457700"/>
                    <a:gd name="connsiteX101" fmla="*/ 840127 w 4519987"/>
                    <a:gd name="connsiteY101" fmla="*/ 533400 h 4457700"/>
                    <a:gd name="connsiteX102" fmla="*/ 887752 w 4519987"/>
                    <a:gd name="connsiteY102" fmla="*/ 504825 h 4457700"/>
                    <a:gd name="connsiteX103" fmla="*/ 1167152 w 4519987"/>
                    <a:gd name="connsiteY103" fmla="*/ 311150 h 4457700"/>
                    <a:gd name="connsiteX104" fmla="*/ 1268752 w 4519987"/>
                    <a:gd name="connsiteY104" fmla="*/ 285750 h 4457700"/>
                    <a:gd name="connsiteX105" fmla="*/ 1411627 w 4519987"/>
                    <a:gd name="connsiteY105" fmla="*/ 190500 h 4457700"/>
                    <a:gd name="connsiteX106" fmla="*/ 1449727 w 4519987"/>
                    <a:gd name="connsiteY106" fmla="*/ 161925 h 4457700"/>
                    <a:gd name="connsiteX107" fmla="*/ 1525927 w 4519987"/>
                    <a:gd name="connsiteY107" fmla="*/ 152400 h 4457700"/>
                    <a:gd name="connsiteX108" fmla="*/ 1583077 w 4519987"/>
                    <a:gd name="connsiteY108" fmla="*/ 142875 h 4457700"/>
                    <a:gd name="connsiteX109" fmla="*/ 1716427 w 4519987"/>
                    <a:gd name="connsiteY109" fmla="*/ 123825 h 4457700"/>
                    <a:gd name="connsiteX110" fmla="*/ 1811677 w 4519987"/>
                    <a:gd name="connsiteY110" fmla="*/ 114300 h 4457700"/>
                    <a:gd name="connsiteX111" fmla="*/ 1859302 w 4519987"/>
                    <a:gd name="connsiteY111" fmla="*/ 104775 h 4457700"/>
                    <a:gd name="connsiteX112" fmla="*/ 1916452 w 4519987"/>
                    <a:gd name="connsiteY112" fmla="*/ 95250 h 4457700"/>
                    <a:gd name="connsiteX113" fmla="*/ 2030752 w 4519987"/>
                    <a:gd name="connsiteY113" fmla="*/ 66675 h 4457700"/>
                    <a:gd name="connsiteX114" fmla="*/ 2097427 w 4519987"/>
                    <a:gd name="connsiteY114" fmla="*/ 47625 h 4457700"/>
                    <a:gd name="connsiteX115" fmla="*/ 2164102 w 4519987"/>
                    <a:gd name="connsiteY115" fmla="*/ 38100 h 4457700"/>
                    <a:gd name="connsiteX116" fmla="*/ 2392702 w 4519987"/>
                    <a:gd name="connsiteY116" fmla="*/ 28575 h 4457700"/>
                    <a:gd name="connsiteX0" fmla="*/ 2297452 w 4519987"/>
                    <a:gd name="connsiteY0" fmla="*/ 0 h 4429260"/>
                    <a:gd name="connsiteX1" fmla="*/ 2421277 w 4519987"/>
                    <a:gd name="connsiteY1" fmla="*/ 28575 h 4429260"/>
                    <a:gd name="connsiteX2" fmla="*/ 2497477 w 4519987"/>
                    <a:gd name="connsiteY2" fmla="*/ 47625 h 4429260"/>
                    <a:gd name="connsiteX3" fmla="*/ 2754652 w 4519987"/>
                    <a:gd name="connsiteY3" fmla="*/ 66675 h 4429260"/>
                    <a:gd name="connsiteX4" fmla="*/ 2830852 w 4519987"/>
                    <a:gd name="connsiteY4" fmla="*/ 76200 h 4429260"/>
                    <a:gd name="connsiteX5" fmla="*/ 2916577 w 4519987"/>
                    <a:gd name="connsiteY5" fmla="*/ 85725 h 4429260"/>
                    <a:gd name="connsiteX6" fmla="*/ 2973727 w 4519987"/>
                    <a:gd name="connsiteY6" fmla="*/ 114300 h 4429260"/>
                    <a:gd name="connsiteX7" fmla="*/ 3011827 w 4519987"/>
                    <a:gd name="connsiteY7" fmla="*/ 123825 h 4429260"/>
                    <a:gd name="connsiteX8" fmla="*/ 3135652 w 4519987"/>
                    <a:gd name="connsiteY8" fmla="*/ 171450 h 4429260"/>
                    <a:gd name="connsiteX9" fmla="*/ 3173752 w 4519987"/>
                    <a:gd name="connsiteY9" fmla="*/ 190500 h 4429260"/>
                    <a:gd name="connsiteX10" fmla="*/ 3240427 w 4519987"/>
                    <a:gd name="connsiteY10" fmla="*/ 228600 h 4429260"/>
                    <a:gd name="connsiteX11" fmla="*/ 3269002 w 4519987"/>
                    <a:gd name="connsiteY11" fmla="*/ 238125 h 4429260"/>
                    <a:gd name="connsiteX12" fmla="*/ 3297577 w 4519987"/>
                    <a:gd name="connsiteY12" fmla="*/ 257175 h 4429260"/>
                    <a:gd name="connsiteX13" fmla="*/ 3326152 w 4519987"/>
                    <a:gd name="connsiteY13" fmla="*/ 266700 h 4429260"/>
                    <a:gd name="connsiteX14" fmla="*/ 3354727 w 4519987"/>
                    <a:gd name="connsiteY14" fmla="*/ 285750 h 4429260"/>
                    <a:gd name="connsiteX15" fmla="*/ 3421402 w 4519987"/>
                    <a:gd name="connsiteY15" fmla="*/ 323850 h 4429260"/>
                    <a:gd name="connsiteX16" fmla="*/ 3469027 w 4519987"/>
                    <a:gd name="connsiteY16" fmla="*/ 361950 h 4429260"/>
                    <a:gd name="connsiteX17" fmla="*/ 3516652 w 4519987"/>
                    <a:gd name="connsiteY17" fmla="*/ 390525 h 4429260"/>
                    <a:gd name="connsiteX18" fmla="*/ 3630952 w 4519987"/>
                    <a:gd name="connsiteY18" fmla="*/ 485775 h 4429260"/>
                    <a:gd name="connsiteX19" fmla="*/ 3745252 w 4519987"/>
                    <a:gd name="connsiteY19" fmla="*/ 542925 h 4429260"/>
                    <a:gd name="connsiteX20" fmla="*/ 3811927 w 4519987"/>
                    <a:gd name="connsiteY20" fmla="*/ 581025 h 4429260"/>
                    <a:gd name="connsiteX21" fmla="*/ 4027827 w 4519987"/>
                    <a:gd name="connsiteY21" fmla="*/ 819150 h 4429260"/>
                    <a:gd name="connsiteX22" fmla="*/ 4164352 w 4519987"/>
                    <a:gd name="connsiteY22" fmla="*/ 990600 h 4429260"/>
                    <a:gd name="connsiteX23" fmla="*/ 4250077 w 4519987"/>
                    <a:gd name="connsiteY23" fmla="*/ 1143000 h 4429260"/>
                    <a:gd name="connsiteX24" fmla="*/ 4307227 w 4519987"/>
                    <a:gd name="connsiteY24" fmla="*/ 1266825 h 4429260"/>
                    <a:gd name="connsiteX25" fmla="*/ 4345327 w 4519987"/>
                    <a:gd name="connsiteY25" fmla="*/ 1362075 h 4429260"/>
                    <a:gd name="connsiteX26" fmla="*/ 4392952 w 4519987"/>
                    <a:gd name="connsiteY26" fmla="*/ 1552575 h 4429260"/>
                    <a:gd name="connsiteX27" fmla="*/ 4431052 w 4519987"/>
                    <a:gd name="connsiteY27" fmla="*/ 1685925 h 4429260"/>
                    <a:gd name="connsiteX28" fmla="*/ 4519952 w 4519987"/>
                    <a:gd name="connsiteY28" fmla="*/ 2181225 h 4429260"/>
                    <a:gd name="connsiteX29" fmla="*/ 4446927 w 4519987"/>
                    <a:gd name="connsiteY29" fmla="*/ 2768600 h 4429260"/>
                    <a:gd name="connsiteX30" fmla="*/ 4383427 w 4519987"/>
                    <a:gd name="connsiteY30" fmla="*/ 2990850 h 4429260"/>
                    <a:gd name="connsiteX31" fmla="*/ 4278652 w 4519987"/>
                    <a:gd name="connsiteY31" fmla="*/ 3248025 h 4429260"/>
                    <a:gd name="connsiteX32" fmla="*/ 4183402 w 4519987"/>
                    <a:gd name="connsiteY32" fmla="*/ 3400425 h 4429260"/>
                    <a:gd name="connsiteX33" fmla="*/ 4059577 w 4519987"/>
                    <a:gd name="connsiteY33" fmla="*/ 3533775 h 4429260"/>
                    <a:gd name="connsiteX34" fmla="*/ 3954802 w 4519987"/>
                    <a:gd name="connsiteY34" fmla="*/ 3648075 h 4429260"/>
                    <a:gd name="connsiteX35" fmla="*/ 3659527 w 4519987"/>
                    <a:gd name="connsiteY35" fmla="*/ 3971925 h 4429260"/>
                    <a:gd name="connsiteX36" fmla="*/ 3516652 w 4519987"/>
                    <a:gd name="connsiteY36" fmla="*/ 4083050 h 4429260"/>
                    <a:gd name="connsiteX37" fmla="*/ 3221377 w 4519987"/>
                    <a:gd name="connsiteY37" fmla="*/ 4222750 h 4429260"/>
                    <a:gd name="connsiteX38" fmla="*/ 3068977 w 4519987"/>
                    <a:gd name="connsiteY38" fmla="*/ 4286250 h 4429260"/>
                    <a:gd name="connsiteX39" fmla="*/ 2935627 w 4519987"/>
                    <a:gd name="connsiteY39" fmla="*/ 4333875 h 4429260"/>
                    <a:gd name="connsiteX40" fmla="*/ 2811802 w 4519987"/>
                    <a:gd name="connsiteY40" fmla="*/ 4371975 h 4429260"/>
                    <a:gd name="connsiteX41" fmla="*/ 2580027 w 4519987"/>
                    <a:gd name="connsiteY41" fmla="*/ 4391025 h 4429260"/>
                    <a:gd name="connsiteX42" fmla="*/ 2126002 w 4519987"/>
                    <a:gd name="connsiteY42" fmla="*/ 4429125 h 4429260"/>
                    <a:gd name="connsiteX43" fmla="*/ 1935502 w 4519987"/>
                    <a:gd name="connsiteY43" fmla="*/ 4400550 h 4429260"/>
                    <a:gd name="connsiteX44" fmla="*/ 1821202 w 4519987"/>
                    <a:gd name="connsiteY44" fmla="*/ 4371975 h 4429260"/>
                    <a:gd name="connsiteX45" fmla="*/ 1754527 w 4519987"/>
                    <a:gd name="connsiteY45" fmla="*/ 4352925 h 4429260"/>
                    <a:gd name="connsiteX46" fmla="*/ 1687852 w 4519987"/>
                    <a:gd name="connsiteY46" fmla="*/ 4343400 h 4429260"/>
                    <a:gd name="connsiteX47" fmla="*/ 1573552 w 4519987"/>
                    <a:gd name="connsiteY47" fmla="*/ 4305300 h 4429260"/>
                    <a:gd name="connsiteX48" fmla="*/ 1402102 w 4519987"/>
                    <a:gd name="connsiteY48" fmla="*/ 4276725 h 4429260"/>
                    <a:gd name="connsiteX49" fmla="*/ 1287802 w 4519987"/>
                    <a:gd name="connsiteY49" fmla="*/ 4229100 h 4429260"/>
                    <a:gd name="connsiteX50" fmla="*/ 1221127 w 4519987"/>
                    <a:gd name="connsiteY50" fmla="*/ 4200525 h 4429260"/>
                    <a:gd name="connsiteX51" fmla="*/ 1144927 w 4519987"/>
                    <a:gd name="connsiteY51" fmla="*/ 4171950 h 4429260"/>
                    <a:gd name="connsiteX52" fmla="*/ 1087777 w 4519987"/>
                    <a:gd name="connsiteY52" fmla="*/ 4143375 h 4429260"/>
                    <a:gd name="connsiteX53" fmla="*/ 1030627 w 4519987"/>
                    <a:gd name="connsiteY53" fmla="*/ 4124325 h 4429260"/>
                    <a:gd name="connsiteX54" fmla="*/ 925852 w 4519987"/>
                    <a:gd name="connsiteY54" fmla="*/ 4067175 h 4429260"/>
                    <a:gd name="connsiteX55" fmla="*/ 830602 w 4519987"/>
                    <a:gd name="connsiteY55" fmla="*/ 3981450 h 4429260"/>
                    <a:gd name="connsiteX56" fmla="*/ 763927 w 4519987"/>
                    <a:gd name="connsiteY56" fmla="*/ 3914775 h 4429260"/>
                    <a:gd name="connsiteX57" fmla="*/ 725827 w 4519987"/>
                    <a:gd name="connsiteY57" fmla="*/ 3876675 h 4429260"/>
                    <a:gd name="connsiteX58" fmla="*/ 697252 w 4519987"/>
                    <a:gd name="connsiteY58" fmla="*/ 3838575 h 4429260"/>
                    <a:gd name="connsiteX59" fmla="*/ 640102 w 4519987"/>
                    <a:gd name="connsiteY59" fmla="*/ 3781425 h 4429260"/>
                    <a:gd name="connsiteX60" fmla="*/ 611527 w 4519987"/>
                    <a:gd name="connsiteY60" fmla="*/ 3733800 h 4429260"/>
                    <a:gd name="connsiteX61" fmla="*/ 554377 w 4519987"/>
                    <a:gd name="connsiteY61" fmla="*/ 3657600 h 4429260"/>
                    <a:gd name="connsiteX62" fmla="*/ 525802 w 4519987"/>
                    <a:gd name="connsiteY62" fmla="*/ 3609975 h 4429260"/>
                    <a:gd name="connsiteX63" fmla="*/ 497227 w 4519987"/>
                    <a:gd name="connsiteY63" fmla="*/ 3552825 h 4429260"/>
                    <a:gd name="connsiteX64" fmla="*/ 440077 w 4519987"/>
                    <a:gd name="connsiteY64" fmla="*/ 3495675 h 4429260"/>
                    <a:gd name="connsiteX65" fmla="*/ 411502 w 4519987"/>
                    <a:gd name="connsiteY65" fmla="*/ 3448050 h 4429260"/>
                    <a:gd name="connsiteX66" fmla="*/ 278152 w 4519987"/>
                    <a:gd name="connsiteY66" fmla="*/ 3257550 h 4429260"/>
                    <a:gd name="connsiteX67" fmla="*/ 249577 w 4519987"/>
                    <a:gd name="connsiteY67" fmla="*/ 3200400 h 4429260"/>
                    <a:gd name="connsiteX68" fmla="*/ 240052 w 4519987"/>
                    <a:gd name="connsiteY68" fmla="*/ 3162300 h 4429260"/>
                    <a:gd name="connsiteX69" fmla="*/ 221002 w 4519987"/>
                    <a:gd name="connsiteY69" fmla="*/ 3105150 h 4429260"/>
                    <a:gd name="connsiteX70" fmla="*/ 173377 w 4519987"/>
                    <a:gd name="connsiteY70" fmla="*/ 3019425 h 4429260"/>
                    <a:gd name="connsiteX71" fmla="*/ 144802 w 4519987"/>
                    <a:gd name="connsiteY71" fmla="*/ 2924175 h 4429260"/>
                    <a:gd name="connsiteX72" fmla="*/ 68602 w 4519987"/>
                    <a:gd name="connsiteY72" fmla="*/ 2724150 h 4429260"/>
                    <a:gd name="connsiteX73" fmla="*/ 49552 w 4519987"/>
                    <a:gd name="connsiteY73" fmla="*/ 2638425 h 4429260"/>
                    <a:gd name="connsiteX74" fmla="*/ 40027 w 4519987"/>
                    <a:gd name="connsiteY74" fmla="*/ 2562225 h 4429260"/>
                    <a:gd name="connsiteX75" fmla="*/ 30502 w 4519987"/>
                    <a:gd name="connsiteY75" fmla="*/ 2514600 h 4429260"/>
                    <a:gd name="connsiteX76" fmla="*/ 11452 w 4519987"/>
                    <a:gd name="connsiteY76" fmla="*/ 2400300 h 4429260"/>
                    <a:gd name="connsiteX77" fmla="*/ 20977 w 4519987"/>
                    <a:gd name="connsiteY77" fmla="*/ 1905000 h 4429260"/>
                    <a:gd name="connsiteX78" fmla="*/ 30502 w 4519987"/>
                    <a:gd name="connsiteY78" fmla="*/ 1838325 h 4429260"/>
                    <a:gd name="connsiteX79" fmla="*/ 49552 w 4519987"/>
                    <a:gd name="connsiteY79" fmla="*/ 1781175 h 4429260"/>
                    <a:gd name="connsiteX80" fmla="*/ 59077 w 4519987"/>
                    <a:gd name="connsiteY80" fmla="*/ 1743075 h 4429260"/>
                    <a:gd name="connsiteX81" fmla="*/ 78127 w 4519987"/>
                    <a:gd name="connsiteY81" fmla="*/ 1685925 h 4429260"/>
                    <a:gd name="connsiteX82" fmla="*/ 87652 w 4519987"/>
                    <a:gd name="connsiteY82" fmla="*/ 1638300 h 4429260"/>
                    <a:gd name="connsiteX83" fmla="*/ 106702 w 4519987"/>
                    <a:gd name="connsiteY83" fmla="*/ 1590675 h 4429260"/>
                    <a:gd name="connsiteX84" fmla="*/ 135277 w 4519987"/>
                    <a:gd name="connsiteY84" fmla="*/ 1504950 h 4429260"/>
                    <a:gd name="connsiteX85" fmla="*/ 154327 w 4519987"/>
                    <a:gd name="connsiteY85" fmla="*/ 1419225 h 4429260"/>
                    <a:gd name="connsiteX86" fmla="*/ 230527 w 4519987"/>
                    <a:gd name="connsiteY86" fmla="*/ 1276350 h 4429260"/>
                    <a:gd name="connsiteX87" fmla="*/ 240052 w 4519987"/>
                    <a:gd name="connsiteY87" fmla="*/ 1247775 h 4429260"/>
                    <a:gd name="connsiteX88" fmla="*/ 268627 w 4519987"/>
                    <a:gd name="connsiteY88" fmla="*/ 1200150 h 4429260"/>
                    <a:gd name="connsiteX89" fmla="*/ 287677 w 4519987"/>
                    <a:gd name="connsiteY89" fmla="*/ 1152525 h 4429260"/>
                    <a:gd name="connsiteX90" fmla="*/ 316252 w 4519987"/>
                    <a:gd name="connsiteY90" fmla="*/ 1114425 h 4429260"/>
                    <a:gd name="connsiteX91" fmla="*/ 363877 w 4519987"/>
                    <a:gd name="connsiteY91" fmla="*/ 1038225 h 4429260"/>
                    <a:gd name="connsiteX92" fmla="*/ 382927 w 4519987"/>
                    <a:gd name="connsiteY92" fmla="*/ 1009650 h 4429260"/>
                    <a:gd name="connsiteX93" fmla="*/ 440077 w 4519987"/>
                    <a:gd name="connsiteY93" fmla="*/ 904875 h 4429260"/>
                    <a:gd name="connsiteX94" fmla="*/ 478177 w 4519987"/>
                    <a:gd name="connsiteY94" fmla="*/ 857250 h 4429260"/>
                    <a:gd name="connsiteX95" fmla="*/ 497227 w 4519987"/>
                    <a:gd name="connsiteY95" fmla="*/ 828675 h 4429260"/>
                    <a:gd name="connsiteX96" fmla="*/ 535327 w 4519987"/>
                    <a:gd name="connsiteY96" fmla="*/ 800100 h 4429260"/>
                    <a:gd name="connsiteX97" fmla="*/ 602002 w 4519987"/>
                    <a:gd name="connsiteY97" fmla="*/ 733425 h 4429260"/>
                    <a:gd name="connsiteX98" fmla="*/ 668677 w 4519987"/>
                    <a:gd name="connsiteY98" fmla="*/ 676275 h 4429260"/>
                    <a:gd name="connsiteX99" fmla="*/ 697252 w 4519987"/>
                    <a:gd name="connsiteY99" fmla="*/ 657225 h 4429260"/>
                    <a:gd name="connsiteX100" fmla="*/ 840127 w 4519987"/>
                    <a:gd name="connsiteY100" fmla="*/ 533400 h 4429260"/>
                    <a:gd name="connsiteX101" fmla="*/ 887752 w 4519987"/>
                    <a:gd name="connsiteY101" fmla="*/ 504825 h 4429260"/>
                    <a:gd name="connsiteX102" fmla="*/ 1167152 w 4519987"/>
                    <a:gd name="connsiteY102" fmla="*/ 311150 h 4429260"/>
                    <a:gd name="connsiteX103" fmla="*/ 1268752 w 4519987"/>
                    <a:gd name="connsiteY103" fmla="*/ 285750 h 4429260"/>
                    <a:gd name="connsiteX104" fmla="*/ 1411627 w 4519987"/>
                    <a:gd name="connsiteY104" fmla="*/ 190500 h 4429260"/>
                    <a:gd name="connsiteX105" fmla="*/ 1449727 w 4519987"/>
                    <a:gd name="connsiteY105" fmla="*/ 161925 h 4429260"/>
                    <a:gd name="connsiteX106" fmla="*/ 1525927 w 4519987"/>
                    <a:gd name="connsiteY106" fmla="*/ 152400 h 4429260"/>
                    <a:gd name="connsiteX107" fmla="*/ 1583077 w 4519987"/>
                    <a:gd name="connsiteY107" fmla="*/ 142875 h 4429260"/>
                    <a:gd name="connsiteX108" fmla="*/ 1716427 w 4519987"/>
                    <a:gd name="connsiteY108" fmla="*/ 123825 h 4429260"/>
                    <a:gd name="connsiteX109" fmla="*/ 1811677 w 4519987"/>
                    <a:gd name="connsiteY109" fmla="*/ 114300 h 4429260"/>
                    <a:gd name="connsiteX110" fmla="*/ 1859302 w 4519987"/>
                    <a:gd name="connsiteY110" fmla="*/ 104775 h 4429260"/>
                    <a:gd name="connsiteX111" fmla="*/ 1916452 w 4519987"/>
                    <a:gd name="connsiteY111" fmla="*/ 95250 h 4429260"/>
                    <a:gd name="connsiteX112" fmla="*/ 2030752 w 4519987"/>
                    <a:gd name="connsiteY112" fmla="*/ 66675 h 4429260"/>
                    <a:gd name="connsiteX113" fmla="*/ 2097427 w 4519987"/>
                    <a:gd name="connsiteY113" fmla="*/ 47625 h 4429260"/>
                    <a:gd name="connsiteX114" fmla="*/ 2164102 w 4519987"/>
                    <a:gd name="connsiteY114" fmla="*/ 38100 h 4429260"/>
                    <a:gd name="connsiteX115" fmla="*/ 2392702 w 4519987"/>
                    <a:gd name="connsiteY115" fmla="*/ 28575 h 4429260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687852 w 4519987"/>
                    <a:gd name="connsiteY45" fmla="*/ 4343400 h 4429225"/>
                    <a:gd name="connsiteX46" fmla="*/ 1573552 w 4519987"/>
                    <a:gd name="connsiteY46" fmla="*/ 4305300 h 4429225"/>
                    <a:gd name="connsiteX47" fmla="*/ 1402102 w 4519987"/>
                    <a:gd name="connsiteY47" fmla="*/ 4276725 h 4429225"/>
                    <a:gd name="connsiteX48" fmla="*/ 1287802 w 4519987"/>
                    <a:gd name="connsiteY48" fmla="*/ 4229100 h 4429225"/>
                    <a:gd name="connsiteX49" fmla="*/ 1221127 w 4519987"/>
                    <a:gd name="connsiteY49" fmla="*/ 4200525 h 4429225"/>
                    <a:gd name="connsiteX50" fmla="*/ 1144927 w 4519987"/>
                    <a:gd name="connsiteY50" fmla="*/ 4171950 h 4429225"/>
                    <a:gd name="connsiteX51" fmla="*/ 1087777 w 4519987"/>
                    <a:gd name="connsiteY51" fmla="*/ 4143375 h 4429225"/>
                    <a:gd name="connsiteX52" fmla="*/ 1030627 w 4519987"/>
                    <a:gd name="connsiteY52" fmla="*/ 4124325 h 4429225"/>
                    <a:gd name="connsiteX53" fmla="*/ 925852 w 4519987"/>
                    <a:gd name="connsiteY53" fmla="*/ 4067175 h 4429225"/>
                    <a:gd name="connsiteX54" fmla="*/ 830602 w 4519987"/>
                    <a:gd name="connsiteY54" fmla="*/ 3981450 h 4429225"/>
                    <a:gd name="connsiteX55" fmla="*/ 763927 w 4519987"/>
                    <a:gd name="connsiteY55" fmla="*/ 3914775 h 4429225"/>
                    <a:gd name="connsiteX56" fmla="*/ 725827 w 4519987"/>
                    <a:gd name="connsiteY56" fmla="*/ 3876675 h 4429225"/>
                    <a:gd name="connsiteX57" fmla="*/ 697252 w 4519987"/>
                    <a:gd name="connsiteY57" fmla="*/ 3838575 h 4429225"/>
                    <a:gd name="connsiteX58" fmla="*/ 640102 w 4519987"/>
                    <a:gd name="connsiteY58" fmla="*/ 3781425 h 4429225"/>
                    <a:gd name="connsiteX59" fmla="*/ 611527 w 4519987"/>
                    <a:gd name="connsiteY59" fmla="*/ 3733800 h 4429225"/>
                    <a:gd name="connsiteX60" fmla="*/ 554377 w 4519987"/>
                    <a:gd name="connsiteY60" fmla="*/ 3657600 h 4429225"/>
                    <a:gd name="connsiteX61" fmla="*/ 525802 w 4519987"/>
                    <a:gd name="connsiteY61" fmla="*/ 3609975 h 4429225"/>
                    <a:gd name="connsiteX62" fmla="*/ 497227 w 4519987"/>
                    <a:gd name="connsiteY62" fmla="*/ 3552825 h 4429225"/>
                    <a:gd name="connsiteX63" fmla="*/ 440077 w 4519987"/>
                    <a:gd name="connsiteY63" fmla="*/ 3495675 h 4429225"/>
                    <a:gd name="connsiteX64" fmla="*/ 411502 w 4519987"/>
                    <a:gd name="connsiteY64" fmla="*/ 3448050 h 4429225"/>
                    <a:gd name="connsiteX65" fmla="*/ 278152 w 4519987"/>
                    <a:gd name="connsiteY65" fmla="*/ 3257550 h 4429225"/>
                    <a:gd name="connsiteX66" fmla="*/ 249577 w 4519987"/>
                    <a:gd name="connsiteY66" fmla="*/ 3200400 h 4429225"/>
                    <a:gd name="connsiteX67" fmla="*/ 240052 w 4519987"/>
                    <a:gd name="connsiteY67" fmla="*/ 3162300 h 4429225"/>
                    <a:gd name="connsiteX68" fmla="*/ 221002 w 4519987"/>
                    <a:gd name="connsiteY68" fmla="*/ 3105150 h 4429225"/>
                    <a:gd name="connsiteX69" fmla="*/ 173377 w 4519987"/>
                    <a:gd name="connsiteY69" fmla="*/ 3019425 h 4429225"/>
                    <a:gd name="connsiteX70" fmla="*/ 144802 w 4519987"/>
                    <a:gd name="connsiteY70" fmla="*/ 2924175 h 4429225"/>
                    <a:gd name="connsiteX71" fmla="*/ 68602 w 4519987"/>
                    <a:gd name="connsiteY71" fmla="*/ 2724150 h 4429225"/>
                    <a:gd name="connsiteX72" fmla="*/ 49552 w 4519987"/>
                    <a:gd name="connsiteY72" fmla="*/ 2638425 h 4429225"/>
                    <a:gd name="connsiteX73" fmla="*/ 40027 w 4519987"/>
                    <a:gd name="connsiteY73" fmla="*/ 2562225 h 4429225"/>
                    <a:gd name="connsiteX74" fmla="*/ 30502 w 4519987"/>
                    <a:gd name="connsiteY74" fmla="*/ 2514600 h 4429225"/>
                    <a:gd name="connsiteX75" fmla="*/ 11452 w 4519987"/>
                    <a:gd name="connsiteY75" fmla="*/ 2400300 h 4429225"/>
                    <a:gd name="connsiteX76" fmla="*/ 20977 w 4519987"/>
                    <a:gd name="connsiteY76" fmla="*/ 1905000 h 4429225"/>
                    <a:gd name="connsiteX77" fmla="*/ 30502 w 4519987"/>
                    <a:gd name="connsiteY77" fmla="*/ 1838325 h 4429225"/>
                    <a:gd name="connsiteX78" fmla="*/ 49552 w 4519987"/>
                    <a:gd name="connsiteY78" fmla="*/ 1781175 h 4429225"/>
                    <a:gd name="connsiteX79" fmla="*/ 59077 w 4519987"/>
                    <a:gd name="connsiteY79" fmla="*/ 1743075 h 4429225"/>
                    <a:gd name="connsiteX80" fmla="*/ 78127 w 4519987"/>
                    <a:gd name="connsiteY80" fmla="*/ 1685925 h 4429225"/>
                    <a:gd name="connsiteX81" fmla="*/ 87652 w 4519987"/>
                    <a:gd name="connsiteY81" fmla="*/ 1638300 h 4429225"/>
                    <a:gd name="connsiteX82" fmla="*/ 106702 w 4519987"/>
                    <a:gd name="connsiteY82" fmla="*/ 1590675 h 4429225"/>
                    <a:gd name="connsiteX83" fmla="*/ 135277 w 4519987"/>
                    <a:gd name="connsiteY83" fmla="*/ 1504950 h 4429225"/>
                    <a:gd name="connsiteX84" fmla="*/ 154327 w 4519987"/>
                    <a:gd name="connsiteY84" fmla="*/ 1419225 h 4429225"/>
                    <a:gd name="connsiteX85" fmla="*/ 230527 w 4519987"/>
                    <a:gd name="connsiteY85" fmla="*/ 1276350 h 4429225"/>
                    <a:gd name="connsiteX86" fmla="*/ 240052 w 4519987"/>
                    <a:gd name="connsiteY86" fmla="*/ 1247775 h 4429225"/>
                    <a:gd name="connsiteX87" fmla="*/ 268627 w 4519987"/>
                    <a:gd name="connsiteY87" fmla="*/ 1200150 h 4429225"/>
                    <a:gd name="connsiteX88" fmla="*/ 287677 w 4519987"/>
                    <a:gd name="connsiteY88" fmla="*/ 1152525 h 4429225"/>
                    <a:gd name="connsiteX89" fmla="*/ 316252 w 4519987"/>
                    <a:gd name="connsiteY89" fmla="*/ 1114425 h 4429225"/>
                    <a:gd name="connsiteX90" fmla="*/ 363877 w 4519987"/>
                    <a:gd name="connsiteY90" fmla="*/ 1038225 h 4429225"/>
                    <a:gd name="connsiteX91" fmla="*/ 382927 w 4519987"/>
                    <a:gd name="connsiteY91" fmla="*/ 1009650 h 4429225"/>
                    <a:gd name="connsiteX92" fmla="*/ 440077 w 4519987"/>
                    <a:gd name="connsiteY92" fmla="*/ 904875 h 4429225"/>
                    <a:gd name="connsiteX93" fmla="*/ 478177 w 4519987"/>
                    <a:gd name="connsiteY93" fmla="*/ 857250 h 4429225"/>
                    <a:gd name="connsiteX94" fmla="*/ 497227 w 4519987"/>
                    <a:gd name="connsiteY94" fmla="*/ 828675 h 4429225"/>
                    <a:gd name="connsiteX95" fmla="*/ 535327 w 4519987"/>
                    <a:gd name="connsiteY95" fmla="*/ 800100 h 4429225"/>
                    <a:gd name="connsiteX96" fmla="*/ 602002 w 4519987"/>
                    <a:gd name="connsiteY96" fmla="*/ 733425 h 4429225"/>
                    <a:gd name="connsiteX97" fmla="*/ 668677 w 4519987"/>
                    <a:gd name="connsiteY97" fmla="*/ 676275 h 4429225"/>
                    <a:gd name="connsiteX98" fmla="*/ 697252 w 4519987"/>
                    <a:gd name="connsiteY98" fmla="*/ 657225 h 4429225"/>
                    <a:gd name="connsiteX99" fmla="*/ 840127 w 4519987"/>
                    <a:gd name="connsiteY99" fmla="*/ 533400 h 4429225"/>
                    <a:gd name="connsiteX100" fmla="*/ 887752 w 4519987"/>
                    <a:gd name="connsiteY100" fmla="*/ 504825 h 4429225"/>
                    <a:gd name="connsiteX101" fmla="*/ 1167152 w 4519987"/>
                    <a:gd name="connsiteY101" fmla="*/ 311150 h 4429225"/>
                    <a:gd name="connsiteX102" fmla="*/ 1268752 w 4519987"/>
                    <a:gd name="connsiteY102" fmla="*/ 285750 h 4429225"/>
                    <a:gd name="connsiteX103" fmla="*/ 1411627 w 4519987"/>
                    <a:gd name="connsiteY103" fmla="*/ 190500 h 4429225"/>
                    <a:gd name="connsiteX104" fmla="*/ 1449727 w 4519987"/>
                    <a:gd name="connsiteY104" fmla="*/ 161925 h 4429225"/>
                    <a:gd name="connsiteX105" fmla="*/ 1525927 w 4519987"/>
                    <a:gd name="connsiteY105" fmla="*/ 152400 h 4429225"/>
                    <a:gd name="connsiteX106" fmla="*/ 1583077 w 4519987"/>
                    <a:gd name="connsiteY106" fmla="*/ 142875 h 4429225"/>
                    <a:gd name="connsiteX107" fmla="*/ 1716427 w 4519987"/>
                    <a:gd name="connsiteY107" fmla="*/ 123825 h 4429225"/>
                    <a:gd name="connsiteX108" fmla="*/ 1811677 w 4519987"/>
                    <a:gd name="connsiteY108" fmla="*/ 114300 h 4429225"/>
                    <a:gd name="connsiteX109" fmla="*/ 1859302 w 4519987"/>
                    <a:gd name="connsiteY109" fmla="*/ 104775 h 4429225"/>
                    <a:gd name="connsiteX110" fmla="*/ 1916452 w 4519987"/>
                    <a:gd name="connsiteY110" fmla="*/ 95250 h 4429225"/>
                    <a:gd name="connsiteX111" fmla="*/ 2030752 w 4519987"/>
                    <a:gd name="connsiteY111" fmla="*/ 66675 h 4429225"/>
                    <a:gd name="connsiteX112" fmla="*/ 2097427 w 4519987"/>
                    <a:gd name="connsiteY112" fmla="*/ 47625 h 4429225"/>
                    <a:gd name="connsiteX113" fmla="*/ 2164102 w 4519987"/>
                    <a:gd name="connsiteY113" fmla="*/ 38100 h 4429225"/>
                    <a:gd name="connsiteX114" fmla="*/ 2392702 w 4519987"/>
                    <a:gd name="connsiteY11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402102 w 4519987"/>
                    <a:gd name="connsiteY46" fmla="*/ 4276725 h 4429225"/>
                    <a:gd name="connsiteX47" fmla="*/ 1287802 w 4519987"/>
                    <a:gd name="connsiteY47" fmla="*/ 4229100 h 4429225"/>
                    <a:gd name="connsiteX48" fmla="*/ 1221127 w 4519987"/>
                    <a:gd name="connsiteY48" fmla="*/ 4200525 h 4429225"/>
                    <a:gd name="connsiteX49" fmla="*/ 1144927 w 4519987"/>
                    <a:gd name="connsiteY49" fmla="*/ 4171950 h 4429225"/>
                    <a:gd name="connsiteX50" fmla="*/ 1087777 w 4519987"/>
                    <a:gd name="connsiteY50" fmla="*/ 4143375 h 4429225"/>
                    <a:gd name="connsiteX51" fmla="*/ 1030627 w 4519987"/>
                    <a:gd name="connsiteY51" fmla="*/ 4124325 h 4429225"/>
                    <a:gd name="connsiteX52" fmla="*/ 925852 w 4519987"/>
                    <a:gd name="connsiteY52" fmla="*/ 4067175 h 4429225"/>
                    <a:gd name="connsiteX53" fmla="*/ 830602 w 4519987"/>
                    <a:gd name="connsiteY53" fmla="*/ 3981450 h 4429225"/>
                    <a:gd name="connsiteX54" fmla="*/ 763927 w 4519987"/>
                    <a:gd name="connsiteY54" fmla="*/ 3914775 h 4429225"/>
                    <a:gd name="connsiteX55" fmla="*/ 725827 w 4519987"/>
                    <a:gd name="connsiteY55" fmla="*/ 3876675 h 4429225"/>
                    <a:gd name="connsiteX56" fmla="*/ 697252 w 4519987"/>
                    <a:gd name="connsiteY56" fmla="*/ 3838575 h 4429225"/>
                    <a:gd name="connsiteX57" fmla="*/ 640102 w 4519987"/>
                    <a:gd name="connsiteY57" fmla="*/ 3781425 h 4429225"/>
                    <a:gd name="connsiteX58" fmla="*/ 611527 w 4519987"/>
                    <a:gd name="connsiteY58" fmla="*/ 3733800 h 4429225"/>
                    <a:gd name="connsiteX59" fmla="*/ 554377 w 4519987"/>
                    <a:gd name="connsiteY59" fmla="*/ 3657600 h 4429225"/>
                    <a:gd name="connsiteX60" fmla="*/ 525802 w 4519987"/>
                    <a:gd name="connsiteY60" fmla="*/ 3609975 h 4429225"/>
                    <a:gd name="connsiteX61" fmla="*/ 497227 w 4519987"/>
                    <a:gd name="connsiteY61" fmla="*/ 3552825 h 4429225"/>
                    <a:gd name="connsiteX62" fmla="*/ 440077 w 4519987"/>
                    <a:gd name="connsiteY62" fmla="*/ 3495675 h 4429225"/>
                    <a:gd name="connsiteX63" fmla="*/ 411502 w 4519987"/>
                    <a:gd name="connsiteY63" fmla="*/ 3448050 h 4429225"/>
                    <a:gd name="connsiteX64" fmla="*/ 278152 w 4519987"/>
                    <a:gd name="connsiteY64" fmla="*/ 3257550 h 4429225"/>
                    <a:gd name="connsiteX65" fmla="*/ 249577 w 4519987"/>
                    <a:gd name="connsiteY65" fmla="*/ 3200400 h 4429225"/>
                    <a:gd name="connsiteX66" fmla="*/ 240052 w 4519987"/>
                    <a:gd name="connsiteY66" fmla="*/ 3162300 h 4429225"/>
                    <a:gd name="connsiteX67" fmla="*/ 221002 w 4519987"/>
                    <a:gd name="connsiteY67" fmla="*/ 3105150 h 4429225"/>
                    <a:gd name="connsiteX68" fmla="*/ 173377 w 4519987"/>
                    <a:gd name="connsiteY68" fmla="*/ 3019425 h 4429225"/>
                    <a:gd name="connsiteX69" fmla="*/ 144802 w 4519987"/>
                    <a:gd name="connsiteY69" fmla="*/ 2924175 h 4429225"/>
                    <a:gd name="connsiteX70" fmla="*/ 68602 w 4519987"/>
                    <a:gd name="connsiteY70" fmla="*/ 2724150 h 4429225"/>
                    <a:gd name="connsiteX71" fmla="*/ 49552 w 4519987"/>
                    <a:gd name="connsiteY71" fmla="*/ 2638425 h 4429225"/>
                    <a:gd name="connsiteX72" fmla="*/ 40027 w 4519987"/>
                    <a:gd name="connsiteY72" fmla="*/ 2562225 h 4429225"/>
                    <a:gd name="connsiteX73" fmla="*/ 30502 w 4519987"/>
                    <a:gd name="connsiteY73" fmla="*/ 2514600 h 4429225"/>
                    <a:gd name="connsiteX74" fmla="*/ 11452 w 4519987"/>
                    <a:gd name="connsiteY74" fmla="*/ 2400300 h 4429225"/>
                    <a:gd name="connsiteX75" fmla="*/ 20977 w 4519987"/>
                    <a:gd name="connsiteY75" fmla="*/ 1905000 h 4429225"/>
                    <a:gd name="connsiteX76" fmla="*/ 30502 w 4519987"/>
                    <a:gd name="connsiteY76" fmla="*/ 1838325 h 4429225"/>
                    <a:gd name="connsiteX77" fmla="*/ 49552 w 4519987"/>
                    <a:gd name="connsiteY77" fmla="*/ 1781175 h 4429225"/>
                    <a:gd name="connsiteX78" fmla="*/ 59077 w 4519987"/>
                    <a:gd name="connsiteY78" fmla="*/ 1743075 h 4429225"/>
                    <a:gd name="connsiteX79" fmla="*/ 78127 w 4519987"/>
                    <a:gd name="connsiteY79" fmla="*/ 1685925 h 4429225"/>
                    <a:gd name="connsiteX80" fmla="*/ 87652 w 4519987"/>
                    <a:gd name="connsiteY80" fmla="*/ 1638300 h 4429225"/>
                    <a:gd name="connsiteX81" fmla="*/ 106702 w 4519987"/>
                    <a:gd name="connsiteY81" fmla="*/ 1590675 h 4429225"/>
                    <a:gd name="connsiteX82" fmla="*/ 135277 w 4519987"/>
                    <a:gd name="connsiteY82" fmla="*/ 1504950 h 4429225"/>
                    <a:gd name="connsiteX83" fmla="*/ 154327 w 4519987"/>
                    <a:gd name="connsiteY83" fmla="*/ 1419225 h 4429225"/>
                    <a:gd name="connsiteX84" fmla="*/ 230527 w 4519987"/>
                    <a:gd name="connsiteY84" fmla="*/ 1276350 h 4429225"/>
                    <a:gd name="connsiteX85" fmla="*/ 240052 w 4519987"/>
                    <a:gd name="connsiteY85" fmla="*/ 1247775 h 4429225"/>
                    <a:gd name="connsiteX86" fmla="*/ 268627 w 4519987"/>
                    <a:gd name="connsiteY86" fmla="*/ 1200150 h 4429225"/>
                    <a:gd name="connsiteX87" fmla="*/ 287677 w 4519987"/>
                    <a:gd name="connsiteY87" fmla="*/ 1152525 h 4429225"/>
                    <a:gd name="connsiteX88" fmla="*/ 316252 w 4519987"/>
                    <a:gd name="connsiteY88" fmla="*/ 1114425 h 4429225"/>
                    <a:gd name="connsiteX89" fmla="*/ 363877 w 4519987"/>
                    <a:gd name="connsiteY89" fmla="*/ 1038225 h 4429225"/>
                    <a:gd name="connsiteX90" fmla="*/ 382927 w 4519987"/>
                    <a:gd name="connsiteY90" fmla="*/ 1009650 h 4429225"/>
                    <a:gd name="connsiteX91" fmla="*/ 440077 w 4519987"/>
                    <a:gd name="connsiteY91" fmla="*/ 904875 h 4429225"/>
                    <a:gd name="connsiteX92" fmla="*/ 478177 w 4519987"/>
                    <a:gd name="connsiteY92" fmla="*/ 857250 h 4429225"/>
                    <a:gd name="connsiteX93" fmla="*/ 497227 w 4519987"/>
                    <a:gd name="connsiteY93" fmla="*/ 828675 h 4429225"/>
                    <a:gd name="connsiteX94" fmla="*/ 535327 w 4519987"/>
                    <a:gd name="connsiteY94" fmla="*/ 800100 h 4429225"/>
                    <a:gd name="connsiteX95" fmla="*/ 602002 w 4519987"/>
                    <a:gd name="connsiteY95" fmla="*/ 733425 h 4429225"/>
                    <a:gd name="connsiteX96" fmla="*/ 668677 w 4519987"/>
                    <a:gd name="connsiteY96" fmla="*/ 676275 h 4429225"/>
                    <a:gd name="connsiteX97" fmla="*/ 697252 w 4519987"/>
                    <a:gd name="connsiteY97" fmla="*/ 657225 h 4429225"/>
                    <a:gd name="connsiteX98" fmla="*/ 840127 w 4519987"/>
                    <a:gd name="connsiteY98" fmla="*/ 533400 h 4429225"/>
                    <a:gd name="connsiteX99" fmla="*/ 887752 w 4519987"/>
                    <a:gd name="connsiteY99" fmla="*/ 504825 h 4429225"/>
                    <a:gd name="connsiteX100" fmla="*/ 1167152 w 4519987"/>
                    <a:gd name="connsiteY100" fmla="*/ 311150 h 4429225"/>
                    <a:gd name="connsiteX101" fmla="*/ 1268752 w 4519987"/>
                    <a:gd name="connsiteY101" fmla="*/ 285750 h 4429225"/>
                    <a:gd name="connsiteX102" fmla="*/ 1411627 w 4519987"/>
                    <a:gd name="connsiteY102" fmla="*/ 190500 h 4429225"/>
                    <a:gd name="connsiteX103" fmla="*/ 1449727 w 4519987"/>
                    <a:gd name="connsiteY103" fmla="*/ 161925 h 4429225"/>
                    <a:gd name="connsiteX104" fmla="*/ 1525927 w 4519987"/>
                    <a:gd name="connsiteY104" fmla="*/ 152400 h 4429225"/>
                    <a:gd name="connsiteX105" fmla="*/ 1583077 w 4519987"/>
                    <a:gd name="connsiteY105" fmla="*/ 142875 h 4429225"/>
                    <a:gd name="connsiteX106" fmla="*/ 1716427 w 4519987"/>
                    <a:gd name="connsiteY106" fmla="*/ 123825 h 4429225"/>
                    <a:gd name="connsiteX107" fmla="*/ 1811677 w 4519987"/>
                    <a:gd name="connsiteY107" fmla="*/ 114300 h 4429225"/>
                    <a:gd name="connsiteX108" fmla="*/ 1859302 w 4519987"/>
                    <a:gd name="connsiteY108" fmla="*/ 104775 h 4429225"/>
                    <a:gd name="connsiteX109" fmla="*/ 1916452 w 4519987"/>
                    <a:gd name="connsiteY109" fmla="*/ 95250 h 4429225"/>
                    <a:gd name="connsiteX110" fmla="*/ 2030752 w 4519987"/>
                    <a:gd name="connsiteY110" fmla="*/ 66675 h 4429225"/>
                    <a:gd name="connsiteX111" fmla="*/ 2097427 w 4519987"/>
                    <a:gd name="connsiteY111" fmla="*/ 47625 h 4429225"/>
                    <a:gd name="connsiteX112" fmla="*/ 2164102 w 4519987"/>
                    <a:gd name="connsiteY112" fmla="*/ 38100 h 4429225"/>
                    <a:gd name="connsiteX113" fmla="*/ 2392702 w 4519987"/>
                    <a:gd name="connsiteY11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144927 w 4519987"/>
                    <a:gd name="connsiteY48" fmla="*/ 4171950 h 4429225"/>
                    <a:gd name="connsiteX49" fmla="*/ 1087777 w 4519987"/>
                    <a:gd name="connsiteY49" fmla="*/ 4143375 h 4429225"/>
                    <a:gd name="connsiteX50" fmla="*/ 1030627 w 4519987"/>
                    <a:gd name="connsiteY50" fmla="*/ 4124325 h 4429225"/>
                    <a:gd name="connsiteX51" fmla="*/ 925852 w 4519987"/>
                    <a:gd name="connsiteY51" fmla="*/ 4067175 h 4429225"/>
                    <a:gd name="connsiteX52" fmla="*/ 830602 w 4519987"/>
                    <a:gd name="connsiteY52" fmla="*/ 3981450 h 4429225"/>
                    <a:gd name="connsiteX53" fmla="*/ 763927 w 4519987"/>
                    <a:gd name="connsiteY53" fmla="*/ 3914775 h 4429225"/>
                    <a:gd name="connsiteX54" fmla="*/ 725827 w 4519987"/>
                    <a:gd name="connsiteY54" fmla="*/ 3876675 h 4429225"/>
                    <a:gd name="connsiteX55" fmla="*/ 697252 w 4519987"/>
                    <a:gd name="connsiteY55" fmla="*/ 3838575 h 4429225"/>
                    <a:gd name="connsiteX56" fmla="*/ 640102 w 4519987"/>
                    <a:gd name="connsiteY56" fmla="*/ 3781425 h 4429225"/>
                    <a:gd name="connsiteX57" fmla="*/ 611527 w 4519987"/>
                    <a:gd name="connsiteY57" fmla="*/ 3733800 h 4429225"/>
                    <a:gd name="connsiteX58" fmla="*/ 554377 w 4519987"/>
                    <a:gd name="connsiteY58" fmla="*/ 3657600 h 4429225"/>
                    <a:gd name="connsiteX59" fmla="*/ 525802 w 4519987"/>
                    <a:gd name="connsiteY59" fmla="*/ 3609975 h 4429225"/>
                    <a:gd name="connsiteX60" fmla="*/ 497227 w 4519987"/>
                    <a:gd name="connsiteY60" fmla="*/ 3552825 h 4429225"/>
                    <a:gd name="connsiteX61" fmla="*/ 440077 w 4519987"/>
                    <a:gd name="connsiteY61" fmla="*/ 3495675 h 4429225"/>
                    <a:gd name="connsiteX62" fmla="*/ 411502 w 4519987"/>
                    <a:gd name="connsiteY62" fmla="*/ 3448050 h 4429225"/>
                    <a:gd name="connsiteX63" fmla="*/ 278152 w 4519987"/>
                    <a:gd name="connsiteY63" fmla="*/ 3257550 h 4429225"/>
                    <a:gd name="connsiteX64" fmla="*/ 249577 w 4519987"/>
                    <a:gd name="connsiteY64" fmla="*/ 3200400 h 4429225"/>
                    <a:gd name="connsiteX65" fmla="*/ 240052 w 4519987"/>
                    <a:gd name="connsiteY65" fmla="*/ 3162300 h 4429225"/>
                    <a:gd name="connsiteX66" fmla="*/ 221002 w 4519987"/>
                    <a:gd name="connsiteY66" fmla="*/ 3105150 h 4429225"/>
                    <a:gd name="connsiteX67" fmla="*/ 173377 w 4519987"/>
                    <a:gd name="connsiteY67" fmla="*/ 3019425 h 4429225"/>
                    <a:gd name="connsiteX68" fmla="*/ 144802 w 4519987"/>
                    <a:gd name="connsiteY68" fmla="*/ 2924175 h 4429225"/>
                    <a:gd name="connsiteX69" fmla="*/ 68602 w 4519987"/>
                    <a:gd name="connsiteY69" fmla="*/ 2724150 h 4429225"/>
                    <a:gd name="connsiteX70" fmla="*/ 49552 w 4519987"/>
                    <a:gd name="connsiteY70" fmla="*/ 2638425 h 4429225"/>
                    <a:gd name="connsiteX71" fmla="*/ 40027 w 4519987"/>
                    <a:gd name="connsiteY71" fmla="*/ 2562225 h 4429225"/>
                    <a:gd name="connsiteX72" fmla="*/ 30502 w 4519987"/>
                    <a:gd name="connsiteY72" fmla="*/ 2514600 h 4429225"/>
                    <a:gd name="connsiteX73" fmla="*/ 11452 w 4519987"/>
                    <a:gd name="connsiteY73" fmla="*/ 2400300 h 4429225"/>
                    <a:gd name="connsiteX74" fmla="*/ 20977 w 4519987"/>
                    <a:gd name="connsiteY74" fmla="*/ 1905000 h 4429225"/>
                    <a:gd name="connsiteX75" fmla="*/ 30502 w 4519987"/>
                    <a:gd name="connsiteY75" fmla="*/ 1838325 h 4429225"/>
                    <a:gd name="connsiteX76" fmla="*/ 49552 w 4519987"/>
                    <a:gd name="connsiteY76" fmla="*/ 1781175 h 4429225"/>
                    <a:gd name="connsiteX77" fmla="*/ 59077 w 4519987"/>
                    <a:gd name="connsiteY77" fmla="*/ 1743075 h 4429225"/>
                    <a:gd name="connsiteX78" fmla="*/ 78127 w 4519987"/>
                    <a:gd name="connsiteY78" fmla="*/ 1685925 h 4429225"/>
                    <a:gd name="connsiteX79" fmla="*/ 87652 w 4519987"/>
                    <a:gd name="connsiteY79" fmla="*/ 1638300 h 4429225"/>
                    <a:gd name="connsiteX80" fmla="*/ 106702 w 4519987"/>
                    <a:gd name="connsiteY80" fmla="*/ 1590675 h 4429225"/>
                    <a:gd name="connsiteX81" fmla="*/ 135277 w 4519987"/>
                    <a:gd name="connsiteY81" fmla="*/ 1504950 h 4429225"/>
                    <a:gd name="connsiteX82" fmla="*/ 154327 w 4519987"/>
                    <a:gd name="connsiteY82" fmla="*/ 1419225 h 4429225"/>
                    <a:gd name="connsiteX83" fmla="*/ 230527 w 4519987"/>
                    <a:gd name="connsiteY83" fmla="*/ 1276350 h 4429225"/>
                    <a:gd name="connsiteX84" fmla="*/ 240052 w 4519987"/>
                    <a:gd name="connsiteY84" fmla="*/ 1247775 h 4429225"/>
                    <a:gd name="connsiteX85" fmla="*/ 268627 w 4519987"/>
                    <a:gd name="connsiteY85" fmla="*/ 1200150 h 4429225"/>
                    <a:gd name="connsiteX86" fmla="*/ 287677 w 4519987"/>
                    <a:gd name="connsiteY86" fmla="*/ 1152525 h 4429225"/>
                    <a:gd name="connsiteX87" fmla="*/ 316252 w 4519987"/>
                    <a:gd name="connsiteY87" fmla="*/ 1114425 h 4429225"/>
                    <a:gd name="connsiteX88" fmla="*/ 363877 w 4519987"/>
                    <a:gd name="connsiteY88" fmla="*/ 1038225 h 4429225"/>
                    <a:gd name="connsiteX89" fmla="*/ 382927 w 4519987"/>
                    <a:gd name="connsiteY89" fmla="*/ 1009650 h 4429225"/>
                    <a:gd name="connsiteX90" fmla="*/ 440077 w 4519987"/>
                    <a:gd name="connsiteY90" fmla="*/ 904875 h 4429225"/>
                    <a:gd name="connsiteX91" fmla="*/ 478177 w 4519987"/>
                    <a:gd name="connsiteY91" fmla="*/ 857250 h 4429225"/>
                    <a:gd name="connsiteX92" fmla="*/ 497227 w 4519987"/>
                    <a:gd name="connsiteY92" fmla="*/ 828675 h 4429225"/>
                    <a:gd name="connsiteX93" fmla="*/ 535327 w 4519987"/>
                    <a:gd name="connsiteY93" fmla="*/ 800100 h 4429225"/>
                    <a:gd name="connsiteX94" fmla="*/ 602002 w 4519987"/>
                    <a:gd name="connsiteY94" fmla="*/ 733425 h 4429225"/>
                    <a:gd name="connsiteX95" fmla="*/ 668677 w 4519987"/>
                    <a:gd name="connsiteY95" fmla="*/ 676275 h 4429225"/>
                    <a:gd name="connsiteX96" fmla="*/ 697252 w 4519987"/>
                    <a:gd name="connsiteY96" fmla="*/ 657225 h 4429225"/>
                    <a:gd name="connsiteX97" fmla="*/ 840127 w 4519987"/>
                    <a:gd name="connsiteY97" fmla="*/ 533400 h 4429225"/>
                    <a:gd name="connsiteX98" fmla="*/ 887752 w 4519987"/>
                    <a:gd name="connsiteY98" fmla="*/ 504825 h 4429225"/>
                    <a:gd name="connsiteX99" fmla="*/ 1167152 w 4519987"/>
                    <a:gd name="connsiteY99" fmla="*/ 311150 h 4429225"/>
                    <a:gd name="connsiteX100" fmla="*/ 1268752 w 4519987"/>
                    <a:gd name="connsiteY100" fmla="*/ 285750 h 4429225"/>
                    <a:gd name="connsiteX101" fmla="*/ 1411627 w 4519987"/>
                    <a:gd name="connsiteY101" fmla="*/ 190500 h 4429225"/>
                    <a:gd name="connsiteX102" fmla="*/ 1449727 w 4519987"/>
                    <a:gd name="connsiteY102" fmla="*/ 161925 h 4429225"/>
                    <a:gd name="connsiteX103" fmla="*/ 1525927 w 4519987"/>
                    <a:gd name="connsiteY103" fmla="*/ 152400 h 4429225"/>
                    <a:gd name="connsiteX104" fmla="*/ 1583077 w 4519987"/>
                    <a:gd name="connsiteY104" fmla="*/ 142875 h 4429225"/>
                    <a:gd name="connsiteX105" fmla="*/ 1716427 w 4519987"/>
                    <a:gd name="connsiteY105" fmla="*/ 123825 h 4429225"/>
                    <a:gd name="connsiteX106" fmla="*/ 1811677 w 4519987"/>
                    <a:gd name="connsiteY106" fmla="*/ 114300 h 4429225"/>
                    <a:gd name="connsiteX107" fmla="*/ 1859302 w 4519987"/>
                    <a:gd name="connsiteY107" fmla="*/ 104775 h 4429225"/>
                    <a:gd name="connsiteX108" fmla="*/ 1916452 w 4519987"/>
                    <a:gd name="connsiteY108" fmla="*/ 95250 h 4429225"/>
                    <a:gd name="connsiteX109" fmla="*/ 2030752 w 4519987"/>
                    <a:gd name="connsiteY109" fmla="*/ 66675 h 4429225"/>
                    <a:gd name="connsiteX110" fmla="*/ 2097427 w 4519987"/>
                    <a:gd name="connsiteY110" fmla="*/ 47625 h 4429225"/>
                    <a:gd name="connsiteX111" fmla="*/ 2164102 w 4519987"/>
                    <a:gd name="connsiteY111" fmla="*/ 38100 h 4429225"/>
                    <a:gd name="connsiteX112" fmla="*/ 2392702 w 4519987"/>
                    <a:gd name="connsiteY11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087777 w 4519987"/>
                    <a:gd name="connsiteY48" fmla="*/ 4143375 h 4429225"/>
                    <a:gd name="connsiteX49" fmla="*/ 1030627 w 4519987"/>
                    <a:gd name="connsiteY49" fmla="*/ 4124325 h 4429225"/>
                    <a:gd name="connsiteX50" fmla="*/ 925852 w 4519987"/>
                    <a:gd name="connsiteY50" fmla="*/ 4067175 h 4429225"/>
                    <a:gd name="connsiteX51" fmla="*/ 830602 w 4519987"/>
                    <a:gd name="connsiteY51" fmla="*/ 3981450 h 4429225"/>
                    <a:gd name="connsiteX52" fmla="*/ 763927 w 4519987"/>
                    <a:gd name="connsiteY52" fmla="*/ 3914775 h 4429225"/>
                    <a:gd name="connsiteX53" fmla="*/ 725827 w 4519987"/>
                    <a:gd name="connsiteY53" fmla="*/ 3876675 h 4429225"/>
                    <a:gd name="connsiteX54" fmla="*/ 697252 w 4519987"/>
                    <a:gd name="connsiteY54" fmla="*/ 3838575 h 4429225"/>
                    <a:gd name="connsiteX55" fmla="*/ 640102 w 4519987"/>
                    <a:gd name="connsiteY55" fmla="*/ 3781425 h 4429225"/>
                    <a:gd name="connsiteX56" fmla="*/ 611527 w 4519987"/>
                    <a:gd name="connsiteY56" fmla="*/ 3733800 h 4429225"/>
                    <a:gd name="connsiteX57" fmla="*/ 554377 w 4519987"/>
                    <a:gd name="connsiteY57" fmla="*/ 3657600 h 4429225"/>
                    <a:gd name="connsiteX58" fmla="*/ 525802 w 4519987"/>
                    <a:gd name="connsiteY58" fmla="*/ 3609975 h 4429225"/>
                    <a:gd name="connsiteX59" fmla="*/ 497227 w 4519987"/>
                    <a:gd name="connsiteY59" fmla="*/ 3552825 h 4429225"/>
                    <a:gd name="connsiteX60" fmla="*/ 440077 w 4519987"/>
                    <a:gd name="connsiteY60" fmla="*/ 3495675 h 4429225"/>
                    <a:gd name="connsiteX61" fmla="*/ 411502 w 4519987"/>
                    <a:gd name="connsiteY61" fmla="*/ 3448050 h 4429225"/>
                    <a:gd name="connsiteX62" fmla="*/ 278152 w 4519987"/>
                    <a:gd name="connsiteY62" fmla="*/ 3257550 h 4429225"/>
                    <a:gd name="connsiteX63" fmla="*/ 249577 w 4519987"/>
                    <a:gd name="connsiteY63" fmla="*/ 3200400 h 4429225"/>
                    <a:gd name="connsiteX64" fmla="*/ 240052 w 4519987"/>
                    <a:gd name="connsiteY64" fmla="*/ 3162300 h 4429225"/>
                    <a:gd name="connsiteX65" fmla="*/ 221002 w 4519987"/>
                    <a:gd name="connsiteY65" fmla="*/ 3105150 h 4429225"/>
                    <a:gd name="connsiteX66" fmla="*/ 173377 w 4519987"/>
                    <a:gd name="connsiteY66" fmla="*/ 3019425 h 4429225"/>
                    <a:gd name="connsiteX67" fmla="*/ 144802 w 4519987"/>
                    <a:gd name="connsiteY67" fmla="*/ 2924175 h 4429225"/>
                    <a:gd name="connsiteX68" fmla="*/ 68602 w 4519987"/>
                    <a:gd name="connsiteY68" fmla="*/ 2724150 h 4429225"/>
                    <a:gd name="connsiteX69" fmla="*/ 49552 w 4519987"/>
                    <a:gd name="connsiteY69" fmla="*/ 2638425 h 4429225"/>
                    <a:gd name="connsiteX70" fmla="*/ 40027 w 4519987"/>
                    <a:gd name="connsiteY70" fmla="*/ 2562225 h 4429225"/>
                    <a:gd name="connsiteX71" fmla="*/ 30502 w 4519987"/>
                    <a:gd name="connsiteY71" fmla="*/ 2514600 h 4429225"/>
                    <a:gd name="connsiteX72" fmla="*/ 11452 w 4519987"/>
                    <a:gd name="connsiteY72" fmla="*/ 2400300 h 4429225"/>
                    <a:gd name="connsiteX73" fmla="*/ 20977 w 4519987"/>
                    <a:gd name="connsiteY73" fmla="*/ 1905000 h 4429225"/>
                    <a:gd name="connsiteX74" fmla="*/ 30502 w 4519987"/>
                    <a:gd name="connsiteY74" fmla="*/ 1838325 h 4429225"/>
                    <a:gd name="connsiteX75" fmla="*/ 49552 w 4519987"/>
                    <a:gd name="connsiteY75" fmla="*/ 1781175 h 4429225"/>
                    <a:gd name="connsiteX76" fmla="*/ 59077 w 4519987"/>
                    <a:gd name="connsiteY76" fmla="*/ 1743075 h 4429225"/>
                    <a:gd name="connsiteX77" fmla="*/ 78127 w 4519987"/>
                    <a:gd name="connsiteY77" fmla="*/ 1685925 h 4429225"/>
                    <a:gd name="connsiteX78" fmla="*/ 87652 w 4519987"/>
                    <a:gd name="connsiteY78" fmla="*/ 1638300 h 4429225"/>
                    <a:gd name="connsiteX79" fmla="*/ 106702 w 4519987"/>
                    <a:gd name="connsiteY79" fmla="*/ 1590675 h 4429225"/>
                    <a:gd name="connsiteX80" fmla="*/ 135277 w 4519987"/>
                    <a:gd name="connsiteY80" fmla="*/ 1504950 h 4429225"/>
                    <a:gd name="connsiteX81" fmla="*/ 154327 w 4519987"/>
                    <a:gd name="connsiteY81" fmla="*/ 1419225 h 4429225"/>
                    <a:gd name="connsiteX82" fmla="*/ 230527 w 4519987"/>
                    <a:gd name="connsiteY82" fmla="*/ 1276350 h 4429225"/>
                    <a:gd name="connsiteX83" fmla="*/ 240052 w 4519987"/>
                    <a:gd name="connsiteY83" fmla="*/ 1247775 h 4429225"/>
                    <a:gd name="connsiteX84" fmla="*/ 268627 w 4519987"/>
                    <a:gd name="connsiteY84" fmla="*/ 1200150 h 4429225"/>
                    <a:gd name="connsiteX85" fmla="*/ 287677 w 4519987"/>
                    <a:gd name="connsiteY85" fmla="*/ 1152525 h 4429225"/>
                    <a:gd name="connsiteX86" fmla="*/ 316252 w 4519987"/>
                    <a:gd name="connsiteY86" fmla="*/ 1114425 h 4429225"/>
                    <a:gd name="connsiteX87" fmla="*/ 363877 w 4519987"/>
                    <a:gd name="connsiteY87" fmla="*/ 1038225 h 4429225"/>
                    <a:gd name="connsiteX88" fmla="*/ 382927 w 4519987"/>
                    <a:gd name="connsiteY88" fmla="*/ 1009650 h 4429225"/>
                    <a:gd name="connsiteX89" fmla="*/ 440077 w 4519987"/>
                    <a:gd name="connsiteY89" fmla="*/ 904875 h 4429225"/>
                    <a:gd name="connsiteX90" fmla="*/ 478177 w 4519987"/>
                    <a:gd name="connsiteY90" fmla="*/ 857250 h 4429225"/>
                    <a:gd name="connsiteX91" fmla="*/ 497227 w 4519987"/>
                    <a:gd name="connsiteY91" fmla="*/ 828675 h 4429225"/>
                    <a:gd name="connsiteX92" fmla="*/ 535327 w 4519987"/>
                    <a:gd name="connsiteY92" fmla="*/ 800100 h 4429225"/>
                    <a:gd name="connsiteX93" fmla="*/ 602002 w 4519987"/>
                    <a:gd name="connsiteY93" fmla="*/ 733425 h 4429225"/>
                    <a:gd name="connsiteX94" fmla="*/ 668677 w 4519987"/>
                    <a:gd name="connsiteY94" fmla="*/ 676275 h 4429225"/>
                    <a:gd name="connsiteX95" fmla="*/ 697252 w 4519987"/>
                    <a:gd name="connsiteY95" fmla="*/ 657225 h 4429225"/>
                    <a:gd name="connsiteX96" fmla="*/ 840127 w 4519987"/>
                    <a:gd name="connsiteY96" fmla="*/ 533400 h 4429225"/>
                    <a:gd name="connsiteX97" fmla="*/ 887752 w 4519987"/>
                    <a:gd name="connsiteY97" fmla="*/ 504825 h 4429225"/>
                    <a:gd name="connsiteX98" fmla="*/ 1167152 w 4519987"/>
                    <a:gd name="connsiteY98" fmla="*/ 311150 h 4429225"/>
                    <a:gd name="connsiteX99" fmla="*/ 1268752 w 4519987"/>
                    <a:gd name="connsiteY99" fmla="*/ 285750 h 4429225"/>
                    <a:gd name="connsiteX100" fmla="*/ 1411627 w 4519987"/>
                    <a:gd name="connsiteY100" fmla="*/ 190500 h 4429225"/>
                    <a:gd name="connsiteX101" fmla="*/ 1449727 w 4519987"/>
                    <a:gd name="connsiteY101" fmla="*/ 161925 h 4429225"/>
                    <a:gd name="connsiteX102" fmla="*/ 1525927 w 4519987"/>
                    <a:gd name="connsiteY102" fmla="*/ 152400 h 4429225"/>
                    <a:gd name="connsiteX103" fmla="*/ 1583077 w 4519987"/>
                    <a:gd name="connsiteY103" fmla="*/ 142875 h 4429225"/>
                    <a:gd name="connsiteX104" fmla="*/ 1716427 w 4519987"/>
                    <a:gd name="connsiteY104" fmla="*/ 123825 h 4429225"/>
                    <a:gd name="connsiteX105" fmla="*/ 1811677 w 4519987"/>
                    <a:gd name="connsiteY105" fmla="*/ 114300 h 4429225"/>
                    <a:gd name="connsiteX106" fmla="*/ 1859302 w 4519987"/>
                    <a:gd name="connsiteY106" fmla="*/ 104775 h 4429225"/>
                    <a:gd name="connsiteX107" fmla="*/ 1916452 w 4519987"/>
                    <a:gd name="connsiteY107" fmla="*/ 95250 h 4429225"/>
                    <a:gd name="connsiteX108" fmla="*/ 2030752 w 4519987"/>
                    <a:gd name="connsiteY108" fmla="*/ 66675 h 4429225"/>
                    <a:gd name="connsiteX109" fmla="*/ 2097427 w 4519987"/>
                    <a:gd name="connsiteY109" fmla="*/ 47625 h 4429225"/>
                    <a:gd name="connsiteX110" fmla="*/ 2164102 w 4519987"/>
                    <a:gd name="connsiteY110" fmla="*/ 38100 h 4429225"/>
                    <a:gd name="connsiteX111" fmla="*/ 2392702 w 4519987"/>
                    <a:gd name="connsiteY11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1030627 w 4519987"/>
                    <a:gd name="connsiteY48" fmla="*/ 4124325 h 4429225"/>
                    <a:gd name="connsiteX49" fmla="*/ 925852 w 4519987"/>
                    <a:gd name="connsiteY49" fmla="*/ 4067175 h 4429225"/>
                    <a:gd name="connsiteX50" fmla="*/ 830602 w 4519987"/>
                    <a:gd name="connsiteY50" fmla="*/ 3981450 h 4429225"/>
                    <a:gd name="connsiteX51" fmla="*/ 763927 w 4519987"/>
                    <a:gd name="connsiteY51" fmla="*/ 3914775 h 4429225"/>
                    <a:gd name="connsiteX52" fmla="*/ 725827 w 4519987"/>
                    <a:gd name="connsiteY52" fmla="*/ 3876675 h 4429225"/>
                    <a:gd name="connsiteX53" fmla="*/ 697252 w 4519987"/>
                    <a:gd name="connsiteY53" fmla="*/ 3838575 h 4429225"/>
                    <a:gd name="connsiteX54" fmla="*/ 640102 w 4519987"/>
                    <a:gd name="connsiteY54" fmla="*/ 3781425 h 4429225"/>
                    <a:gd name="connsiteX55" fmla="*/ 611527 w 4519987"/>
                    <a:gd name="connsiteY55" fmla="*/ 3733800 h 4429225"/>
                    <a:gd name="connsiteX56" fmla="*/ 554377 w 4519987"/>
                    <a:gd name="connsiteY56" fmla="*/ 3657600 h 4429225"/>
                    <a:gd name="connsiteX57" fmla="*/ 525802 w 4519987"/>
                    <a:gd name="connsiteY57" fmla="*/ 3609975 h 4429225"/>
                    <a:gd name="connsiteX58" fmla="*/ 497227 w 4519987"/>
                    <a:gd name="connsiteY58" fmla="*/ 3552825 h 4429225"/>
                    <a:gd name="connsiteX59" fmla="*/ 440077 w 4519987"/>
                    <a:gd name="connsiteY59" fmla="*/ 3495675 h 4429225"/>
                    <a:gd name="connsiteX60" fmla="*/ 411502 w 4519987"/>
                    <a:gd name="connsiteY60" fmla="*/ 3448050 h 4429225"/>
                    <a:gd name="connsiteX61" fmla="*/ 278152 w 4519987"/>
                    <a:gd name="connsiteY61" fmla="*/ 3257550 h 4429225"/>
                    <a:gd name="connsiteX62" fmla="*/ 249577 w 4519987"/>
                    <a:gd name="connsiteY62" fmla="*/ 3200400 h 4429225"/>
                    <a:gd name="connsiteX63" fmla="*/ 240052 w 4519987"/>
                    <a:gd name="connsiteY63" fmla="*/ 3162300 h 4429225"/>
                    <a:gd name="connsiteX64" fmla="*/ 221002 w 4519987"/>
                    <a:gd name="connsiteY64" fmla="*/ 3105150 h 4429225"/>
                    <a:gd name="connsiteX65" fmla="*/ 173377 w 4519987"/>
                    <a:gd name="connsiteY65" fmla="*/ 3019425 h 4429225"/>
                    <a:gd name="connsiteX66" fmla="*/ 144802 w 4519987"/>
                    <a:gd name="connsiteY66" fmla="*/ 2924175 h 4429225"/>
                    <a:gd name="connsiteX67" fmla="*/ 68602 w 4519987"/>
                    <a:gd name="connsiteY67" fmla="*/ 2724150 h 4429225"/>
                    <a:gd name="connsiteX68" fmla="*/ 49552 w 4519987"/>
                    <a:gd name="connsiteY68" fmla="*/ 2638425 h 4429225"/>
                    <a:gd name="connsiteX69" fmla="*/ 40027 w 4519987"/>
                    <a:gd name="connsiteY69" fmla="*/ 2562225 h 4429225"/>
                    <a:gd name="connsiteX70" fmla="*/ 30502 w 4519987"/>
                    <a:gd name="connsiteY70" fmla="*/ 2514600 h 4429225"/>
                    <a:gd name="connsiteX71" fmla="*/ 11452 w 4519987"/>
                    <a:gd name="connsiteY71" fmla="*/ 2400300 h 4429225"/>
                    <a:gd name="connsiteX72" fmla="*/ 20977 w 4519987"/>
                    <a:gd name="connsiteY72" fmla="*/ 1905000 h 4429225"/>
                    <a:gd name="connsiteX73" fmla="*/ 30502 w 4519987"/>
                    <a:gd name="connsiteY73" fmla="*/ 1838325 h 4429225"/>
                    <a:gd name="connsiteX74" fmla="*/ 49552 w 4519987"/>
                    <a:gd name="connsiteY74" fmla="*/ 1781175 h 4429225"/>
                    <a:gd name="connsiteX75" fmla="*/ 59077 w 4519987"/>
                    <a:gd name="connsiteY75" fmla="*/ 1743075 h 4429225"/>
                    <a:gd name="connsiteX76" fmla="*/ 78127 w 4519987"/>
                    <a:gd name="connsiteY76" fmla="*/ 1685925 h 4429225"/>
                    <a:gd name="connsiteX77" fmla="*/ 87652 w 4519987"/>
                    <a:gd name="connsiteY77" fmla="*/ 1638300 h 4429225"/>
                    <a:gd name="connsiteX78" fmla="*/ 106702 w 4519987"/>
                    <a:gd name="connsiteY78" fmla="*/ 1590675 h 4429225"/>
                    <a:gd name="connsiteX79" fmla="*/ 135277 w 4519987"/>
                    <a:gd name="connsiteY79" fmla="*/ 1504950 h 4429225"/>
                    <a:gd name="connsiteX80" fmla="*/ 154327 w 4519987"/>
                    <a:gd name="connsiteY80" fmla="*/ 1419225 h 4429225"/>
                    <a:gd name="connsiteX81" fmla="*/ 230527 w 4519987"/>
                    <a:gd name="connsiteY81" fmla="*/ 1276350 h 4429225"/>
                    <a:gd name="connsiteX82" fmla="*/ 240052 w 4519987"/>
                    <a:gd name="connsiteY82" fmla="*/ 1247775 h 4429225"/>
                    <a:gd name="connsiteX83" fmla="*/ 268627 w 4519987"/>
                    <a:gd name="connsiteY83" fmla="*/ 1200150 h 4429225"/>
                    <a:gd name="connsiteX84" fmla="*/ 287677 w 4519987"/>
                    <a:gd name="connsiteY84" fmla="*/ 1152525 h 4429225"/>
                    <a:gd name="connsiteX85" fmla="*/ 316252 w 4519987"/>
                    <a:gd name="connsiteY85" fmla="*/ 1114425 h 4429225"/>
                    <a:gd name="connsiteX86" fmla="*/ 363877 w 4519987"/>
                    <a:gd name="connsiteY86" fmla="*/ 1038225 h 4429225"/>
                    <a:gd name="connsiteX87" fmla="*/ 382927 w 4519987"/>
                    <a:gd name="connsiteY87" fmla="*/ 1009650 h 4429225"/>
                    <a:gd name="connsiteX88" fmla="*/ 440077 w 4519987"/>
                    <a:gd name="connsiteY88" fmla="*/ 904875 h 4429225"/>
                    <a:gd name="connsiteX89" fmla="*/ 478177 w 4519987"/>
                    <a:gd name="connsiteY89" fmla="*/ 857250 h 4429225"/>
                    <a:gd name="connsiteX90" fmla="*/ 497227 w 4519987"/>
                    <a:gd name="connsiteY90" fmla="*/ 828675 h 4429225"/>
                    <a:gd name="connsiteX91" fmla="*/ 535327 w 4519987"/>
                    <a:gd name="connsiteY91" fmla="*/ 800100 h 4429225"/>
                    <a:gd name="connsiteX92" fmla="*/ 602002 w 4519987"/>
                    <a:gd name="connsiteY92" fmla="*/ 733425 h 4429225"/>
                    <a:gd name="connsiteX93" fmla="*/ 668677 w 4519987"/>
                    <a:gd name="connsiteY93" fmla="*/ 676275 h 4429225"/>
                    <a:gd name="connsiteX94" fmla="*/ 697252 w 4519987"/>
                    <a:gd name="connsiteY94" fmla="*/ 657225 h 4429225"/>
                    <a:gd name="connsiteX95" fmla="*/ 840127 w 4519987"/>
                    <a:gd name="connsiteY95" fmla="*/ 533400 h 4429225"/>
                    <a:gd name="connsiteX96" fmla="*/ 887752 w 4519987"/>
                    <a:gd name="connsiteY96" fmla="*/ 504825 h 4429225"/>
                    <a:gd name="connsiteX97" fmla="*/ 1167152 w 4519987"/>
                    <a:gd name="connsiteY97" fmla="*/ 311150 h 4429225"/>
                    <a:gd name="connsiteX98" fmla="*/ 1268752 w 4519987"/>
                    <a:gd name="connsiteY98" fmla="*/ 285750 h 4429225"/>
                    <a:gd name="connsiteX99" fmla="*/ 1411627 w 4519987"/>
                    <a:gd name="connsiteY99" fmla="*/ 190500 h 4429225"/>
                    <a:gd name="connsiteX100" fmla="*/ 1449727 w 4519987"/>
                    <a:gd name="connsiteY100" fmla="*/ 161925 h 4429225"/>
                    <a:gd name="connsiteX101" fmla="*/ 1525927 w 4519987"/>
                    <a:gd name="connsiteY101" fmla="*/ 152400 h 4429225"/>
                    <a:gd name="connsiteX102" fmla="*/ 1583077 w 4519987"/>
                    <a:gd name="connsiteY102" fmla="*/ 142875 h 4429225"/>
                    <a:gd name="connsiteX103" fmla="*/ 1716427 w 4519987"/>
                    <a:gd name="connsiteY103" fmla="*/ 123825 h 4429225"/>
                    <a:gd name="connsiteX104" fmla="*/ 1811677 w 4519987"/>
                    <a:gd name="connsiteY104" fmla="*/ 114300 h 4429225"/>
                    <a:gd name="connsiteX105" fmla="*/ 1859302 w 4519987"/>
                    <a:gd name="connsiteY105" fmla="*/ 104775 h 4429225"/>
                    <a:gd name="connsiteX106" fmla="*/ 1916452 w 4519987"/>
                    <a:gd name="connsiteY106" fmla="*/ 95250 h 4429225"/>
                    <a:gd name="connsiteX107" fmla="*/ 2030752 w 4519987"/>
                    <a:gd name="connsiteY107" fmla="*/ 66675 h 4429225"/>
                    <a:gd name="connsiteX108" fmla="*/ 2097427 w 4519987"/>
                    <a:gd name="connsiteY108" fmla="*/ 47625 h 4429225"/>
                    <a:gd name="connsiteX109" fmla="*/ 2164102 w 4519987"/>
                    <a:gd name="connsiteY109" fmla="*/ 38100 h 4429225"/>
                    <a:gd name="connsiteX110" fmla="*/ 2392702 w 4519987"/>
                    <a:gd name="connsiteY11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925852 w 4519987"/>
                    <a:gd name="connsiteY48" fmla="*/ 4067175 h 4429225"/>
                    <a:gd name="connsiteX49" fmla="*/ 830602 w 4519987"/>
                    <a:gd name="connsiteY49" fmla="*/ 3981450 h 4429225"/>
                    <a:gd name="connsiteX50" fmla="*/ 763927 w 4519987"/>
                    <a:gd name="connsiteY50" fmla="*/ 3914775 h 4429225"/>
                    <a:gd name="connsiteX51" fmla="*/ 725827 w 4519987"/>
                    <a:gd name="connsiteY51" fmla="*/ 3876675 h 4429225"/>
                    <a:gd name="connsiteX52" fmla="*/ 697252 w 4519987"/>
                    <a:gd name="connsiteY52" fmla="*/ 3838575 h 4429225"/>
                    <a:gd name="connsiteX53" fmla="*/ 640102 w 4519987"/>
                    <a:gd name="connsiteY53" fmla="*/ 3781425 h 4429225"/>
                    <a:gd name="connsiteX54" fmla="*/ 611527 w 4519987"/>
                    <a:gd name="connsiteY54" fmla="*/ 3733800 h 4429225"/>
                    <a:gd name="connsiteX55" fmla="*/ 554377 w 4519987"/>
                    <a:gd name="connsiteY55" fmla="*/ 3657600 h 4429225"/>
                    <a:gd name="connsiteX56" fmla="*/ 525802 w 4519987"/>
                    <a:gd name="connsiteY56" fmla="*/ 3609975 h 4429225"/>
                    <a:gd name="connsiteX57" fmla="*/ 497227 w 4519987"/>
                    <a:gd name="connsiteY57" fmla="*/ 3552825 h 4429225"/>
                    <a:gd name="connsiteX58" fmla="*/ 440077 w 4519987"/>
                    <a:gd name="connsiteY58" fmla="*/ 3495675 h 4429225"/>
                    <a:gd name="connsiteX59" fmla="*/ 411502 w 4519987"/>
                    <a:gd name="connsiteY59" fmla="*/ 3448050 h 4429225"/>
                    <a:gd name="connsiteX60" fmla="*/ 278152 w 4519987"/>
                    <a:gd name="connsiteY60" fmla="*/ 3257550 h 4429225"/>
                    <a:gd name="connsiteX61" fmla="*/ 249577 w 4519987"/>
                    <a:gd name="connsiteY61" fmla="*/ 3200400 h 4429225"/>
                    <a:gd name="connsiteX62" fmla="*/ 240052 w 4519987"/>
                    <a:gd name="connsiteY62" fmla="*/ 3162300 h 4429225"/>
                    <a:gd name="connsiteX63" fmla="*/ 221002 w 4519987"/>
                    <a:gd name="connsiteY63" fmla="*/ 3105150 h 4429225"/>
                    <a:gd name="connsiteX64" fmla="*/ 173377 w 4519987"/>
                    <a:gd name="connsiteY64" fmla="*/ 3019425 h 4429225"/>
                    <a:gd name="connsiteX65" fmla="*/ 144802 w 4519987"/>
                    <a:gd name="connsiteY65" fmla="*/ 2924175 h 4429225"/>
                    <a:gd name="connsiteX66" fmla="*/ 68602 w 4519987"/>
                    <a:gd name="connsiteY66" fmla="*/ 2724150 h 4429225"/>
                    <a:gd name="connsiteX67" fmla="*/ 49552 w 4519987"/>
                    <a:gd name="connsiteY67" fmla="*/ 2638425 h 4429225"/>
                    <a:gd name="connsiteX68" fmla="*/ 40027 w 4519987"/>
                    <a:gd name="connsiteY68" fmla="*/ 2562225 h 4429225"/>
                    <a:gd name="connsiteX69" fmla="*/ 30502 w 4519987"/>
                    <a:gd name="connsiteY69" fmla="*/ 2514600 h 4429225"/>
                    <a:gd name="connsiteX70" fmla="*/ 11452 w 4519987"/>
                    <a:gd name="connsiteY70" fmla="*/ 2400300 h 4429225"/>
                    <a:gd name="connsiteX71" fmla="*/ 20977 w 4519987"/>
                    <a:gd name="connsiteY71" fmla="*/ 1905000 h 4429225"/>
                    <a:gd name="connsiteX72" fmla="*/ 30502 w 4519987"/>
                    <a:gd name="connsiteY72" fmla="*/ 1838325 h 4429225"/>
                    <a:gd name="connsiteX73" fmla="*/ 49552 w 4519987"/>
                    <a:gd name="connsiteY73" fmla="*/ 1781175 h 4429225"/>
                    <a:gd name="connsiteX74" fmla="*/ 59077 w 4519987"/>
                    <a:gd name="connsiteY74" fmla="*/ 1743075 h 4429225"/>
                    <a:gd name="connsiteX75" fmla="*/ 78127 w 4519987"/>
                    <a:gd name="connsiteY75" fmla="*/ 1685925 h 4429225"/>
                    <a:gd name="connsiteX76" fmla="*/ 87652 w 4519987"/>
                    <a:gd name="connsiteY76" fmla="*/ 1638300 h 4429225"/>
                    <a:gd name="connsiteX77" fmla="*/ 106702 w 4519987"/>
                    <a:gd name="connsiteY77" fmla="*/ 1590675 h 4429225"/>
                    <a:gd name="connsiteX78" fmla="*/ 135277 w 4519987"/>
                    <a:gd name="connsiteY78" fmla="*/ 1504950 h 4429225"/>
                    <a:gd name="connsiteX79" fmla="*/ 154327 w 4519987"/>
                    <a:gd name="connsiteY79" fmla="*/ 1419225 h 4429225"/>
                    <a:gd name="connsiteX80" fmla="*/ 230527 w 4519987"/>
                    <a:gd name="connsiteY80" fmla="*/ 1276350 h 4429225"/>
                    <a:gd name="connsiteX81" fmla="*/ 240052 w 4519987"/>
                    <a:gd name="connsiteY81" fmla="*/ 1247775 h 4429225"/>
                    <a:gd name="connsiteX82" fmla="*/ 268627 w 4519987"/>
                    <a:gd name="connsiteY82" fmla="*/ 1200150 h 4429225"/>
                    <a:gd name="connsiteX83" fmla="*/ 287677 w 4519987"/>
                    <a:gd name="connsiteY83" fmla="*/ 1152525 h 4429225"/>
                    <a:gd name="connsiteX84" fmla="*/ 316252 w 4519987"/>
                    <a:gd name="connsiteY84" fmla="*/ 1114425 h 4429225"/>
                    <a:gd name="connsiteX85" fmla="*/ 363877 w 4519987"/>
                    <a:gd name="connsiteY85" fmla="*/ 1038225 h 4429225"/>
                    <a:gd name="connsiteX86" fmla="*/ 382927 w 4519987"/>
                    <a:gd name="connsiteY86" fmla="*/ 1009650 h 4429225"/>
                    <a:gd name="connsiteX87" fmla="*/ 440077 w 4519987"/>
                    <a:gd name="connsiteY87" fmla="*/ 904875 h 4429225"/>
                    <a:gd name="connsiteX88" fmla="*/ 478177 w 4519987"/>
                    <a:gd name="connsiteY88" fmla="*/ 857250 h 4429225"/>
                    <a:gd name="connsiteX89" fmla="*/ 497227 w 4519987"/>
                    <a:gd name="connsiteY89" fmla="*/ 828675 h 4429225"/>
                    <a:gd name="connsiteX90" fmla="*/ 535327 w 4519987"/>
                    <a:gd name="connsiteY90" fmla="*/ 800100 h 4429225"/>
                    <a:gd name="connsiteX91" fmla="*/ 602002 w 4519987"/>
                    <a:gd name="connsiteY91" fmla="*/ 733425 h 4429225"/>
                    <a:gd name="connsiteX92" fmla="*/ 668677 w 4519987"/>
                    <a:gd name="connsiteY92" fmla="*/ 676275 h 4429225"/>
                    <a:gd name="connsiteX93" fmla="*/ 697252 w 4519987"/>
                    <a:gd name="connsiteY93" fmla="*/ 657225 h 4429225"/>
                    <a:gd name="connsiteX94" fmla="*/ 840127 w 4519987"/>
                    <a:gd name="connsiteY94" fmla="*/ 533400 h 4429225"/>
                    <a:gd name="connsiteX95" fmla="*/ 887752 w 4519987"/>
                    <a:gd name="connsiteY95" fmla="*/ 504825 h 4429225"/>
                    <a:gd name="connsiteX96" fmla="*/ 1167152 w 4519987"/>
                    <a:gd name="connsiteY96" fmla="*/ 311150 h 4429225"/>
                    <a:gd name="connsiteX97" fmla="*/ 1268752 w 4519987"/>
                    <a:gd name="connsiteY97" fmla="*/ 285750 h 4429225"/>
                    <a:gd name="connsiteX98" fmla="*/ 1411627 w 4519987"/>
                    <a:gd name="connsiteY98" fmla="*/ 190500 h 4429225"/>
                    <a:gd name="connsiteX99" fmla="*/ 1449727 w 4519987"/>
                    <a:gd name="connsiteY99" fmla="*/ 161925 h 4429225"/>
                    <a:gd name="connsiteX100" fmla="*/ 1525927 w 4519987"/>
                    <a:gd name="connsiteY100" fmla="*/ 152400 h 4429225"/>
                    <a:gd name="connsiteX101" fmla="*/ 1583077 w 4519987"/>
                    <a:gd name="connsiteY101" fmla="*/ 142875 h 4429225"/>
                    <a:gd name="connsiteX102" fmla="*/ 1716427 w 4519987"/>
                    <a:gd name="connsiteY102" fmla="*/ 123825 h 4429225"/>
                    <a:gd name="connsiteX103" fmla="*/ 1811677 w 4519987"/>
                    <a:gd name="connsiteY103" fmla="*/ 114300 h 4429225"/>
                    <a:gd name="connsiteX104" fmla="*/ 1859302 w 4519987"/>
                    <a:gd name="connsiteY104" fmla="*/ 104775 h 4429225"/>
                    <a:gd name="connsiteX105" fmla="*/ 1916452 w 4519987"/>
                    <a:gd name="connsiteY105" fmla="*/ 95250 h 4429225"/>
                    <a:gd name="connsiteX106" fmla="*/ 2030752 w 4519987"/>
                    <a:gd name="connsiteY106" fmla="*/ 66675 h 4429225"/>
                    <a:gd name="connsiteX107" fmla="*/ 2097427 w 4519987"/>
                    <a:gd name="connsiteY107" fmla="*/ 47625 h 4429225"/>
                    <a:gd name="connsiteX108" fmla="*/ 2164102 w 4519987"/>
                    <a:gd name="connsiteY108" fmla="*/ 38100 h 4429225"/>
                    <a:gd name="connsiteX109" fmla="*/ 2392702 w 4519987"/>
                    <a:gd name="connsiteY10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725827 w 4519987"/>
                    <a:gd name="connsiteY50" fmla="*/ 3876675 h 4429225"/>
                    <a:gd name="connsiteX51" fmla="*/ 697252 w 4519987"/>
                    <a:gd name="connsiteY51" fmla="*/ 3838575 h 4429225"/>
                    <a:gd name="connsiteX52" fmla="*/ 640102 w 4519987"/>
                    <a:gd name="connsiteY52" fmla="*/ 3781425 h 4429225"/>
                    <a:gd name="connsiteX53" fmla="*/ 611527 w 4519987"/>
                    <a:gd name="connsiteY53" fmla="*/ 3733800 h 4429225"/>
                    <a:gd name="connsiteX54" fmla="*/ 554377 w 4519987"/>
                    <a:gd name="connsiteY54" fmla="*/ 3657600 h 4429225"/>
                    <a:gd name="connsiteX55" fmla="*/ 525802 w 4519987"/>
                    <a:gd name="connsiteY55" fmla="*/ 3609975 h 4429225"/>
                    <a:gd name="connsiteX56" fmla="*/ 497227 w 4519987"/>
                    <a:gd name="connsiteY56" fmla="*/ 3552825 h 4429225"/>
                    <a:gd name="connsiteX57" fmla="*/ 440077 w 4519987"/>
                    <a:gd name="connsiteY57" fmla="*/ 3495675 h 4429225"/>
                    <a:gd name="connsiteX58" fmla="*/ 411502 w 4519987"/>
                    <a:gd name="connsiteY58" fmla="*/ 3448050 h 4429225"/>
                    <a:gd name="connsiteX59" fmla="*/ 278152 w 4519987"/>
                    <a:gd name="connsiteY59" fmla="*/ 3257550 h 4429225"/>
                    <a:gd name="connsiteX60" fmla="*/ 249577 w 4519987"/>
                    <a:gd name="connsiteY60" fmla="*/ 3200400 h 4429225"/>
                    <a:gd name="connsiteX61" fmla="*/ 240052 w 4519987"/>
                    <a:gd name="connsiteY61" fmla="*/ 3162300 h 4429225"/>
                    <a:gd name="connsiteX62" fmla="*/ 221002 w 4519987"/>
                    <a:gd name="connsiteY62" fmla="*/ 3105150 h 4429225"/>
                    <a:gd name="connsiteX63" fmla="*/ 173377 w 4519987"/>
                    <a:gd name="connsiteY63" fmla="*/ 3019425 h 4429225"/>
                    <a:gd name="connsiteX64" fmla="*/ 144802 w 4519987"/>
                    <a:gd name="connsiteY64" fmla="*/ 2924175 h 4429225"/>
                    <a:gd name="connsiteX65" fmla="*/ 68602 w 4519987"/>
                    <a:gd name="connsiteY65" fmla="*/ 2724150 h 4429225"/>
                    <a:gd name="connsiteX66" fmla="*/ 49552 w 4519987"/>
                    <a:gd name="connsiteY66" fmla="*/ 2638425 h 4429225"/>
                    <a:gd name="connsiteX67" fmla="*/ 40027 w 4519987"/>
                    <a:gd name="connsiteY67" fmla="*/ 2562225 h 4429225"/>
                    <a:gd name="connsiteX68" fmla="*/ 30502 w 4519987"/>
                    <a:gd name="connsiteY68" fmla="*/ 2514600 h 4429225"/>
                    <a:gd name="connsiteX69" fmla="*/ 11452 w 4519987"/>
                    <a:gd name="connsiteY69" fmla="*/ 2400300 h 4429225"/>
                    <a:gd name="connsiteX70" fmla="*/ 20977 w 4519987"/>
                    <a:gd name="connsiteY70" fmla="*/ 1905000 h 4429225"/>
                    <a:gd name="connsiteX71" fmla="*/ 30502 w 4519987"/>
                    <a:gd name="connsiteY71" fmla="*/ 1838325 h 4429225"/>
                    <a:gd name="connsiteX72" fmla="*/ 49552 w 4519987"/>
                    <a:gd name="connsiteY72" fmla="*/ 1781175 h 4429225"/>
                    <a:gd name="connsiteX73" fmla="*/ 59077 w 4519987"/>
                    <a:gd name="connsiteY73" fmla="*/ 1743075 h 4429225"/>
                    <a:gd name="connsiteX74" fmla="*/ 78127 w 4519987"/>
                    <a:gd name="connsiteY74" fmla="*/ 1685925 h 4429225"/>
                    <a:gd name="connsiteX75" fmla="*/ 87652 w 4519987"/>
                    <a:gd name="connsiteY75" fmla="*/ 1638300 h 4429225"/>
                    <a:gd name="connsiteX76" fmla="*/ 106702 w 4519987"/>
                    <a:gd name="connsiteY76" fmla="*/ 1590675 h 4429225"/>
                    <a:gd name="connsiteX77" fmla="*/ 135277 w 4519987"/>
                    <a:gd name="connsiteY77" fmla="*/ 1504950 h 4429225"/>
                    <a:gd name="connsiteX78" fmla="*/ 154327 w 4519987"/>
                    <a:gd name="connsiteY78" fmla="*/ 1419225 h 4429225"/>
                    <a:gd name="connsiteX79" fmla="*/ 230527 w 4519987"/>
                    <a:gd name="connsiteY79" fmla="*/ 1276350 h 4429225"/>
                    <a:gd name="connsiteX80" fmla="*/ 240052 w 4519987"/>
                    <a:gd name="connsiteY80" fmla="*/ 1247775 h 4429225"/>
                    <a:gd name="connsiteX81" fmla="*/ 268627 w 4519987"/>
                    <a:gd name="connsiteY81" fmla="*/ 1200150 h 4429225"/>
                    <a:gd name="connsiteX82" fmla="*/ 287677 w 4519987"/>
                    <a:gd name="connsiteY82" fmla="*/ 1152525 h 4429225"/>
                    <a:gd name="connsiteX83" fmla="*/ 316252 w 4519987"/>
                    <a:gd name="connsiteY83" fmla="*/ 1114425 h 4429225"/>
                    <a:gd name="connsiteX84" fmla="*/ 363877 w 4519987"/>
                    <a:gd name="connsiteY84" fmla="*/ 1038225 h 4429225"/>
                    <a:gd name="connsiteX85" fmla="*/ 382927 w 4519987"/>
                    <a:gd name="connsiteY85" fmla="*/ 1009650 h 4429225"/>
                    <a:gd name="connsiteX86" fmla="*/ 440077 w 4519987"/>
                    <a:gd name="connsiteY86" fmla="*/ 904875 h 4429225"/>
                    <a:gd name="connsiteX87" fmla="*/ 478177 w 4519987"/>
                    <a:gd name="connsiteY87" fmla="*/ 857250 h 4429225"/>
                    <a:gd name="connsiteX88" fmla="*/ 497227 w 4519987"/>
                    <a:gd name="connsiteY88" fmla="*/ 828675 h 4429225"/>
                    <a:gd name="connsiteX89" fmla="*/ 535327 w 4519987"/>
                    <a:gd name="connsiteY89" fmla="*/ 800100 h 4429225"/>
                    <a:gd name="connsiteX90" fmla="*/ 602002 w 4519987"/>
                    <a:gd name="connsiteY90" fmla="*/ 733425 h 4429225"/>
                    <a:gd name="connsiteX91" fmla="*/ 668677 w 4519987"/>
                    <a:gd name="connsiteY91" fmla="*/ 676275 h 4429225"/>
                    <a:gd name="connsiteX92" fmla="*/ 697252 w 4519987"/>
                    <a:gd name="connsiteY92" fmla="*/ 657225 h 4429225"/>
                    <a:gd name="connsiteX93" fmla="*/ 840127 w 4519987"/>
                    <a:gd name="connsiteY93" fmla="*/ 533400 h 4429225"/>
                    <a:gd name="connsiteX94" fmla="*/ 887752 w 4519987"/>
                    <a:gd name="connsiteY94" fmla="*/ 504825 h 4429225"/>
                    <a:gd name="connsiteX95" fmla="*/ 1167152 w 4519987"/>
                    <a:gd name="connsiteY95" fmla="*/ 311150 h 4429225"/>
                    <a:gd name="connsiteX96" fmla="*/ 1268752 w 4519987"/>
                    <a:gd name="connsiteY96" fmla="*/ 285750 h 4429225"/>
                    <a:gd name="connsiteX97" fmla="*/ 1411627 w 4519987"/>
                    <a:gd name="connsiteY97" fmla="*/ 190500 h 4429225"/>
                    <a:gd name="connsiteX98" fmla="*/ 1449727 w 4519987"/>
                    <a:gd name="connsiteY98" fmla="*/ 161925 h 4429225"/>
                    <a:gd name="connsiteX99" fmla="*/ 1525927 w 4519987"/>
                    <a:gd name="connsiteY99" fmla="*/ 152400 h 4429225"/>
                    <a:gd name="connsiteX100" fmla="*/ 1583077 w 4519987"/>
                    <a:gd name="connsiteY100" fmla="*/ 142875 h 4429225"/>
                    <a:gd name="connsiteX101" fmla="*/ 1716427 w 4519987"/>
                    <a:gd name="connsiteY101" fmla="*/ 123825 h 4429225"/>
                    <a:gd name="connsiteX102" fmla="*/ 1811677 w 4519987"/>
                    <a:gd name="connsiteY102" fmla="*/ 114300 h 4429225"/>
                    <a:gd name="connsiteX103" fmla="*/ 1859302 w 4519987"/>
                    <a:gd name="connsiteY103" fmla="*/ 104775 h 4429225"/>
                    <a:gd name="connsiteX104" fmla="*/ 1916452 w 4519987"/>
                    <a:gd name="connsiteY104" fmla="*/ 95250 h 4429225"/>
                    <a:gd name="connsiteX105" fmla="*/ 2030752 w 4519987"/>
                    <a:gd name="connsiteY105" fmla="*/ 66675 h 4429225"/>
                    <a:gd name="connsiteX106" fmla="*/ 2097427 w 4519987"/>
                    <a:gd name="connsiteY106" fmla="*/ 47625 h 4429225"/>
                    <a:gd name="connsiteX107" fmla="*/ 2164102 w 4519987"/>
                    <a:gd name="connsiteY107" fmla="*/ 38100 h 4429225"/>
                    <a:gd name="connsiteX108" fmla="*/ 2392702 w 4519987"/>
                    <a:gd name="connsiteY10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40102 w 4519987"/>
                    <a:gd name="connsiteY51" fmla="*/ 3781425 h 4429225"/>
                    <a:gd name="connsiteX52" fmla="*/ 611527 w 4519987"/>
                    <a:gd name="connsiteY52" fmla="*/ 3733800 h 4429225"/>
                    <a:gd name="connsiteX53" fmla="*/ 554377 w 4519987"/>
                    <a:gd name="connsiteY53" fmla="*/ 3657600 h 4429225"/>
                    <a:gd name="connsiteX54" fmla="*/ 525802 w 4519987"/>
                    <a:gd name="connsiteY54" fmla="*/ 3609975 h 4429225"/>
                    <a:gd name="connsiteX55" fmla="*/ 497227 w 4519987"/>
                    <a:gd name="connsiteY55" fmla="*/ 3552825 h 4429225"/>
                    <a:gd name="connsiteX56" fmla="*/ 440077 w 4519987"/>
                    <a:gd name="connsiteY56" fmla="*/ 3495675 h 4429225"/>
                    <a:gd name="connsiteX57" fmla="*/ 411502 w 4519987"/>
                    <a:gd name="connsiteY57" fmla="*/ 3448050 h 4429225"/>
                    <a:gd name="connsiteX58" fmla="*/ 278152 w 4519987"/>
                    <a:gd name="connsiteY58" fmla="*/ 3257550 h 4429225"/>
                    <a:gd name="connsiteX59" fmla="*/ 249577 w 4519987"/>
                    <a:gd name="connsiteY59" fmla="*/ 3200400 h 4429225"/>
                    <a:gd name="connsiteX60" fmla="*/ 240052 w 4519987"/>
                    <a:gd name="connsiteY60" fmla="*/ 3162300 h 4429225"/>
                    <a:gd name="connsiteX61" fmla="*/ 221002 w 4519987"/>
                    <a:gd name="connsiteY61" fmla="*/ 3105150 h 4429225"/>
                    <a:gd name="connsiteX62" fmla="*/ 173377 w 4519987"/>
                    <a:gd name="connsiteY62" fmla="*/ 3019425 h 4429225"/>
                    <a:gd name="connsiteX63" fmla="*/ 144802 w 4519987"/>
                    <a:gd name="connsiteY63" fmla="*/ 2924175 h 4429225"/>
                    <a:gd name="connsiteX64" fmla="*/ 68602 w 4519987"/>
                    <a:gd name="connsiteY64" fmla="*/ 2724150 h 4429225"/>
                    <a:gd name="connsiteX65" fmla="*/ 49552 w 4519987"/>
                    <a:gd name="connsiteY65" fmla="*/ 2638425 h 4429225"/>
                    <a:gd name="connsiteX66" fmla="*/ 40027 w 4519987"/>
                    <a:gd name="connsiteY66" fmla="*/ 2562225 h 4429225"/>
                    <a:gd name="connsiteX67" fmla="*/ 30502 w 4519987"/>
                    <a:gd name="connsiteY67" fmla="*/ 2514600 h 4429225"/>
                    <a:gd name="connsiteX68" fmla="*/ 11452 w 4519987"/>
                    <a:gd name="connsiteY68" fmla="*/ 2400300 h 4429225"/>
                    <a:gd name="connsiteX69" fmla="*/ 20977 w 4519987"/>
                    <a:gd name="connsiteY69" fmla="*/ 1905000 h 4429225"/>
                    <a:gd name="connsiteX70" fmla="*/ 30502 w 4519987"/>
                    <a:gd name="connsiteY70" fmla="*/ 1838325 h 4429225"/>
                    <a:gd name="connsiteX71" fmla="*/ 49552 w 4519987"/>
                    <a:gd name="connsiteY71" fmla="*/ 1781175 h 4429225"/>
                    <a:gd name="connsiteX72" fmla="*/ 59077 w 4519987"/>
                    <a:gd name="connsiteY72" fmla="*/ 1743075 h 4429225"/>
                    <a:gd name="connsiteX73" fmla="*/ 78127 w 4519987"/>
                    <a:gd name="connsiteY73" fmla="*/ 1685925 h 4429225"/>
                    <a:gd name="connsiteX74" fmla="*/ 87652 w 4519987"/>
                    <a:gd name="connsiteY74" fmla="*/ 1638300 h 4429225"/>
                    <a:gd name="connsiteX75" fmla="*/ 106702 w 4519987"/>
                    <a:gd name="connsiteY75" fmla="*/ 1590675 h 4429225"/>
                    <a:gd name="connsiteX76" fmla="*/ 135277 w 4519987"/>
                    <a:gd name="connsiteY76" fmla="*/ 1504950 h 4429225"/>
                    <a:gd name="connsiteX77" fmla="*/ 154327 w 4519987"/>
                    <a:gd name="connsiteY77" fmla="*/ 1419225 h 4429225"/>
                    <a:gd name="connsiteX78" fmla="*/ 230527 w 4519987"/>
                    <a:gd name="connsiteY78" fmla="*/ 1276350 h 4429225"/>
                    <a:gd name="connsiteX79" fmla="*/ 240052 w 4519987"/>
                    <a:gd name="connsiteY79" fmla="*/ 1247775 h 4429225"/>
                    <a:gd name="connsiteX80" fmla="*/ 268627 w 4519987"/>
                    <a:gd name="connsiteY80" fmla="*/ 1200150 h 4429225"/>
                    <a:gd name="connsiteX81" fmla="*/ 287677 w 4519987"/>
                    <a:gd name="connsiteY81" fmla="*/ 1152525 h 4429225"/>
                    <a:gd name="connsiteX82" fmla="*/ 316252 w 4519987"/>
                    <a:gd name="connsiteY82" fmla="*/ 1114425 h 4429225"/>
                    <a:gd name="connsiteX83" fmla="*/ 363877 w 4519987"/>
                    <a:gd name="connsiteY83" fmla="*/ 1038225 h 4429225"/>
                    <a:gd name="connsiteX84" fmla="*/ 382927 w 4519987"/>
                    <a:gd name="connsiteY84" fmla="*/ 1009650 h 4429225"/>
                    <a:gd name="connsiteX85" fmla="*/ 440077 w 4519987"/>
                    <a:gd name="connsiteY85" fmla="*/ 904875 h 4429225"/>
                    <a:gd name="connsiteX86" fmla="*/ 478177 w 4519987"/>
                    <a:gd name="connsiteY86" fmla="*/ 857250 h 4429225"/>
                    <a:gd name="connsiteX87" fmla="*/ 497227 w 4519987"/>
                    <a:gd name="connsiteY87" fmla="*/ 828675 h 4429225"/>
                    <a:gd name="connsiteX88" fmla="*/ 535327 w 4519987"/>
                    <a:gd name="connsiteY88" fmla="*/ 800100 h 4429225"/>
                    <a:gd name="connsiteX89" fmla="*/ 602002 w 4519987"/>
                    <a:gd name="connsiteY89" fmla="*/ 733425 h 4429225"/>
                    <a:gd name="connsiteX90" fmla="*/ 668677 w 4519987"/>
                    <a:gd name="connsiteY90" fmla="*/ 676275 h 4429225"/>
                    <a:gd name="connsiteX91" fmla="*/ 697252 w 4519987"/>
                    <a:gd name="connsiteY91" fmla="*/ 657225 h 4429225"/>
                    <a:gd name="connsiteX92" fmla="*/ 840127 w 4519987"/>
                    <a:gd name="connsiteY92" fmla="*/ 533400 h 4429225"/>
                    <a:gd name="connsiteX93" fmla="*/ 887752 w 4519987"/>
                    <a:gd name="connsiteY93" fmla="*/ 504825 h 4429225"/>
                    <a:gd name="connsiteX94" fmla="*/ 1167152 w 4519987"/>
                    <a:gd name="connsiteY94" fmla="*/ 311150 h 4429225"/>
                    <a:gd name="connsiteX95" fmla="*/ 1268752 w 4519987"/>
                    <a:gd name="connsiteY95" fmla="*/ 285750 h 4429225"/>
                    <a:gd name="connsiteX96" fmla="*/ 1411627 w 4519987"/>
                    <a:gd name="connsiteY96" fmla="*/ 190500 h 4429225"/>
                    <a:gd name="connsiteX97" fmla="*/ 1449727 w 4519987"/>
                    <a:gd name="connsiteY97" fmla="*/ 161925 h 4429225"/>
                    <a:gd name="connsiteX98" fmla="*/ 1525927 w 4519987"/>
                    <a:gd name="connsiteY98" fmla="*/ 152400 h 4429225"/>
                    <a:gd name="connsiteX99" fmla="*/ 1583077 w 4519987"/>
                    <a:gd name="connsiteY99" fmla="*/ 142875 h 4429225"/>
                    <a:gd name="connsiteX100" fmla="*/ 1716427 w 4519987"/>
                    <a:gd name="connsiteY100" fmla="*/ 123825 h 4429225"/>
                    <a:gd name="connsiteX101" fmla="*/ 1811677 w 4519987"/>
                    <a:gd name="connsiteY101" fmla="*/ 114300 h 4429225"/>
                    <a:gd name="connsiteX102" fmla="*/ 1859302 w 4519987"/>
                    <a:gd name="connsiteY102" fmla="*/ 104775 h 4429225"/>
                    <a:gd name="connsiteX103" fmla="*/ 1916452 w 4519987"/>
                    <a:gd name="connsiteY103" fmla="*/ 95250 h 4429225"/>
                    <a:gd name="connsiteX104" fmla="*/ 2030752 w 4519987"/>
                    <a:gd name="connsiteY104" fmla="*/ 66675 h 4429225"/>
                    <a:gd name="connsiteX105" fmla="*/ 2097427 w 4519987"/>
                    <a:gd name="connsiteY105" fmla="*/ 47625 h 4429225"/>
                    <a:gd name="connsiteX106" fmla="*/ 2164102 w 4519987"/>
                    <a:gd name="connsiteY106" fmla="*/ 38100 h 4429225"/>
                    <a:gd name="connsiteX107" fmla="*/ 2392702 w 4519987"/>
                    <a:gd name="connsiteY10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11527 w 4519987"/>
                    <a:gd name="connsiteY51" fmla="*/ 3733800 h 4429225"/>
                    <a:gd name="connsiteX52" fmla="*/ 554377 w 4519987"/>
                    <a:gd name="connsiteY52" fmla="*/ 3657600 h 4429225"/>
                    <a:gd name="connsiteX53" fmla="*/ 525802 w 4519987"/>
                    <a:gd name="connsiteY53" fmla="*/ 3609975 h 4429225"/>
                    <a:gd name="connsiteX54" fmla="*/ 497227 w 4519987"/>
                    <a:gd name="connsiteY54" fmla="*/ 3552825 h 4429225"/>
                    <a:gd name="connsiteX55" fmla="*/ 440077 w 4519987"/>
                    <a:gd name="connsiteY55" fmla="*/ 3495675 h 4429225"/>
                    <a:gd name="connsiteX56" fmla="*/ 411502 w 4519987"/>
                    <a:gd name="connsiteY56" fmla="*/ 3448050 h 4429225"/>
                    <a:gd name="connsiteX57" fmla="*/ 278152 w 4519987"/>
                    <a:gd name="connsiteY57" fmla="*/ 3257550 h 4429225"/>
                    <a:gd name="connsiteX58" fmla="*/ 249577 w 4519987"/>
                    <a:gd name="connsiteY58" fmla="*/ 3200400 h 4429225"/>
                    <a:gd name="connsiteX59" fmla="*/ 240052 w 4519987"/>
                    <a:gd name="connsiteY59" fmla="*/ 3162300 h 4429225"/>
                    <a:gd name="connsiteX60" fmla="*/ 221002 w 4519987"/>
                    <a:gd name="connsiteY60" fmla="*/ 3105150 h 4429225"/>
                    <a:gd name="connsiteX61" fmla="*/ 173377 w 4519987"/>
                    <a:gd name="connsiteY61" fmla="*/ 3019425 h 4429225"/>
                    <a:gd name="connsiteX62" fmla="*/ 144802 w 4519987"/>
                    <a:gd name="connsiteY62" fmla="*/ 2924175 h 4429225"/>
                    <a:gd name="connsiteX63" fmla="*/ 68602 w 4519987"/>
                    <a:gd name="connsiteY63" fmla="*/ 2724150 h 4429225"/>
                    <a:gd name="connsiteX64" fmla="*/ 49552 w 4519987"/>
                    <a:gd name="connsiteY64" fmla="*/ 2638425 h 4429225"/>
                    <a:gd name="connsiteX65" fmla="*/ 40027 w 4519987"/>
                    <a:gd name="connsiteY65" fmla="*/ 2562225 h 4429225"/>
                    <a:gd name="connsiteX66" fmla="*/ 30502 w 4519987"/>
                    <a:gd name="connsiteY66" fmla="*/ 2514600 h 4429225"/>
                    <a:gd name="connsiteX67" fmla="*/ 11452 w 4519987"/>
                    <a:gd name="connsiteY67" fmla="*/ 2400300 h 4429225"/>
                    <a:gd name="connsiteX68" fmla="*/ 20977 w 4519987"/>
                    <a:gd name="connsiteY68" fmla="*/ 1905000 h 4429225"/>
                    <a:gd name="connsiteX69" fmla="*/ 30502 w 4519987"/>
                    <a:gd name="connsiteY69" fmla="*/ 1838325 h 4429225"/>
                    <a:gd name="connsiteX70" fmla="*/ 49552 w 4519987"/>
                    <a:gd name="connsiteY70" fmla="*/ 1781175 h 4429225"/>
                    <a:gd name="connsiteX71" fmla="*/ 59077 w 4519987"/>
                    <a:gd name="connsiteY71" fmla="*/ 1743075 h 4429225"/>
                    <a:gd name="connsiteX72" fmla="*/ 78127 w 4519987"/>
                    <a:gd name="connsiteY72" fmla="*/ 1685925 h 4429225"/>
                    <a:gd name="connsiteX73" fmla="*/ 87652 w 4519987"/>
                    <a:gd name="connsiteY73" fmla="*/ 1638300 h 4429225"/>
                    <a:gd name="connsiteX74" fmla="*/ 106702 w 4519987"/>
                    <a:gd name="connsiteY74" fmla="*/ 1590675 h 4429225"/>
                    <a:gd name="connsiteX75" fmla="*/ 135277 w 4519987"/>
                    <a:gd name="connsiteY75" fmla="*/ 1504950 h 4429225"/>
                    <a:gd name="connsiteX76" fmla="*/ 154327 w 4519987"/>
                    <a:gd name="connsiteY76" fmla="*/ 1419225 h 4429225"/>
                    <a:gd name="connsiteX77" fmla="*/ 230527 w 4519987"/>
                    <a:gd name="connsiteY77" fmla="*/ 1276350 h 4429225"/>
                    <a:gd name="connsiteX78" fmla="*/ 240052 w 4519987"/>
                    <a:gd name="connsiteY78" fmla="*/ 1247775 h 4429225"/>
                    <a:gd name="connsiteX79" fmla="*/ 268627 w 4519987"/>
                    <a:gd name="connsiteY79" fmla="*/ 1200150 h 4429225"/>
                    <a:gd name="connsiteX80" fmla="*/ 287677 w 4519987"/>
                    <a:gd name="connsiteY80" fmla="*/ 1152525 h 4429225"/>
                    <a:gd name="connsiteX81" fmla="*/ 316252 w 4519987"/>
                    <a:gd name="connsiteY81" fmla="*/ 1114425 h 4429225"/>
                    <a:gd name="connsiteX82" fmla="*/ 363877 w 4519987"/>
                    <a:gd name="connsiteY82" fmla="*/ 1038225 h 4429225"/>
                    <a:gd name="connsiteX83" fmla="*/ 382927 w 4519987"/>
                    <a:gd name="connsiteY83" fmla="*/ 1009650 h 4429225"/>
                    <a:gd name="connsiteX84" fmla="*/ 440077 w 4519987"/>
                    <a:gd name="connsiteY84" fmla="*/ 904875 h 4429225"/>
                    <a:gd name="connsiteX85" fmla="*/ 478177 w 4519987"/>
                    <a:gd name="connsiteY85" fmla="*/ 857250 h 4429225"/>
                    <a:gd name="connsiteX86" fmla="*/ 497227 w 4519987"/>
                    <a:gd name="connsiteY86" fmla="*/ 828675 h 4429225"/>
                    <a:gd name="connsiteX87" fmla="*/ 535327 w 4519987"/>
                    <a:gd name="connsiteY87" fmla="*/ 800100 h 4429225"/>
                    <a:gd name="connsiteX88" fmla="*/ 602002 w 4519987"/>
                    <a:gd name="connsiteY88" fmla="*/ 733425 h 4429225"/>
                    <a:gd name="connsiteX89" fmla="*/ 668677 w 4519987"/>
                    <a:gd name="connsiteY89" fmla="*/ 676275 h 4429225"/>
                    <a:gd name="connsiteX90" fmla="*/ 697252 w 4519987"/>
                    <a:gd name="connsiteY90" fmla="*/ 657225 h 4429225"/>
                    <a:gd name="connsiteX91" fmla="*/ 840127 w 4519987"/>
                    <a:gd name="connsiteY91" fmla="*/ 533400 h 4429225"/>
                    <a:gd name="connsiteX92" fmla="*/ 887752 w 4519987"/>
                    <a:gd name="connsiteY92" fmla="*/ 504825 h 4429225"/>
                    <a:gd name="connsiteX93" fmla="*/ 1167152 w 4519987"/>
                    <a:gd name="connsiteY93" fmla="*/ 311150 h 4429225"/>
                    <a:gd name="connsiteX94" fmla="*/ 1268752 w 4519987"/>
                    <a:gd name="connsiteY94" fmla="*/ 285750 h 4429225"/>
                    <a:gd name="connsiteX95" fmla="*/ 1411627 w 4519987"/>
                    <a:gd name="connsiteY95" fmla="*/ 190500 h 4429225"/>
                    <a:gd name="connsiteX96" fmla="*/ 1449727 w 4519987"/>
                    <a:gd name="connsiteY96" fmla="*/ 161925 h 4429225"/>
                    <a:gd name="connsiteX97" fmla="*/ 1525927 w 4519987"/>
                    <a:gd name="connsiteY97" fmla="*/ 152400 h 4429225"/>
                    <a:gd name="connsiteX98" fmla="*/ 1583077 w 4519987"/>
                    <a:gd name="connsiteY98" fmla="*/ 142875 h 4429225"/>
                    <a:gd name="connsiteX99" fmla="*/ 1716427 w 4519987"/>
                    <a:gd name="connsiteY99" fmla="*/ 123825 h 4429225"/>
                    <a:gd name="connsiteX100" fmla="*/ 1811677 w 4519987"/>
                    <a:gd name="connsiteY100" fmla="*/ 114300 h 4429225"/>
                    <a:gd name="connsiteX101" fmla="*/ 1859302 w 4519987"/>
                    <a:gd name="connsiteY101" fmla="*/ 104775 h 4429225"/>
                    <a:gd name="connsiteX102" fmla="*/ 1916452 w 4519987"/>
                    <a:gd name="connsiteY102" fmla="*/ 95250 h 4429225"/>
                    <a:gd name="connsiteX103" fmla="*/ 2030752 w 4519987"/>
                    <a:gd name="connsiteY103" fmla="*/ 66675 h 4429225"/>
                    <a:gd name="connsiteX104" fmla="*/ 2097427 w 4519987"/>
                    <a:gd name="connsiteY104" fmla="*/ 47625 h 4429225"/>
                    <a:gd name="connsiteX105" fmla="*/ 2164102 w 4519987"/>
                    <a:gd name="connsiteY105" fmla="*/ 38100 h 4429225"/>
                    <a:gd name="connsiteX106" fmla="*/ 2392702 w 4519987"/>
                    <a:gd name="connsiteY10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525802 w 4519987"/>
                    <a:gd name="connsiteY52" fmla="*/ 3609975 h 4429225"/>
                    <a:gd name="connsiteX53" fmla="*/ 497227 w 4519987"/>
                    <a:gd name="connsiteY53" fmla="*/ 3552825 h 4429225"/>
                    <a:gd name="connsiteX54" fmla="*/ 440077 w 4519987"/>
                    <a:gd name="connsiteY54" fmla="*/ 3495675 h 4429225"/>
                    <a:gd name="connsiteX55" fmla="*/ 411502 w 4519987"/>
                    <a:gd name="connsiteY55" fmla="*/ 3448050 h 4429225"/>
                    <a:gd name="connsiteX56" fmla="*/ 278152 w 4519987"/>
                    <a:gd name="connsiteY56" fmla="*/ 3257550 h 4429225"/>
                    <a:gd name="connsiteX57" fmla="*/ 249577 w 4519987"/>
                    <a:gd name="connsiteY57" fmla="*/ 3200400 h 4429225"/>
                    <a:gd name="connsiteX58" fmla="*/ 240052 w 4519987"/>
                    <a:gd name="connsiteY58" fmla="*/ 3162300 h 4429225"/>
                    <a:gd name="connsiteX59" fmla="*/ 221002 w 4519987"/>
                    <a:gd name="connsiteY59" fmla="*/ 3105150 h 4429225"/>
                    <a:gd name="connsiteX60" fmla="*/ 173377 w 4519987"/>
                    <a:gd name="connsiteY60" fmla="*/ 3019425 h 4429225"/>
                    <a:gd name="connsiteX61" fmla="*/ 144802 w 4519987"/>
                    <a:gd name="connsiteY61" fmla="*/ 2924175 h 4429225"/>
                    <a:gd name="connsiteX62" fmla="*/ 68602 w 4519987"/>
                    <a:gd name="connsiteY62" fmla="*/ 2724150 h 4429225"/>
                    <a:gd name="connsiteX63" fmla="*/ 49552 w 4519987"/>
                    <a:gd name="connsiteY63" fmla="*/ 2638425 h 4429225"/>
                    <a:gd name="connsiteX64" fmla="*/ 40027 w 4519987"/>
                    <a:gd name="connsiteY64" fmla="*/ 2562225 h 4429225"/>
                    <a:gd name="connsiteX65" fmla="*/ 30502 w 4519987"/>
                    <a:gd name="connsiteY65" fmla="*/ 2514600 h 4429225"/>
                    <a:gd name="connsiteX66" fmla="*/ 11452 w 4519987"/>
                    <a:gd name="connsiteY66" fmla="*/ 2400300 h 4429225"/>
                    <a:gd name="connsiteX67" fmla="*/ 20977 w 4519987"/>
                    <a:gd name="connsiteY67" fmla="*/ 1905000 h 4429225"/>
                    <a:gd name="connsiteX68" fmla="*/ 30502 w 4519987"/>
                    <a:gd name="connsiteY68" fmla="*/ 1838325 h 4429225"/>
                    <a:gd name="connsiteX69" fmla="*/ 49552 w 4519987"/>
                    <a:gd name="connsiteY69" fmla="*/ 1781175 h 4429225"/>
                    <a:gd name="connsiteX70" fmla="*/ 59077 w 4519987"/>
                    <a:gd name="connsiteY70" fmla="*/ 1743075 h 4429225"/>
                    <a:gd name="connsiteX71" fmla="*/ 78127 w 4519987"/>
                    <a:gd name="connsiteY71" fmla="*/ 1685925 h 4429225"/>
                    <a:gd name="connsiteX72" fmla="*/ 87652 w 4519987"/>
                    <a:gd name="connsiteY72" fmla="*/ 1638300 h 4429225"/>
                    <a:gd name="connsiteX73" fmla="*/ 106702 w 4519987"/>
                    <a:gd name="connsiteY73" fmla="*/ 1590675 h 4429225"/>
                    <a:gd name="connsiteX74" fmla="*/ 135277 w 4519987"/>
                    <a:gd name="connsiteY74" fmla="*/ 1504950 h 4429225"/>
                    <a:gd name="connsiteX75" fmla="*/ 154327 w 4519987"/>
                    <a:gd name="connsiteY75" fmla="*/ 1419225 h 4429225"/>
                    <a:gd name="connsiteX76" fmla="*/ 230527 w 4519987"/>
                    <a:gd name="connsiteY76" fmla="*/ 1276350 h 4429225"/>
                    <a:gd name="connsiteX77" fmla="*/ 240052 w 4519987"/>
                    <a:gd name="connsiteY77" fmla="*/ 1247775 h 4429225"/>
                    <a:gd name="connsiteX78" fmla="*/ 268627 w 4519987"/>
                    <a:gd name="connsiteY78" fmla="*/ 1200150 h 4429225"/>
                    <a:gd name="connsiteX79" fmla="*/ 287677 w 4519987"/>
                    <a:gd name="connsiteY79" fmla="*/ 1152525 h 4429225"/>
                    <a:gd name="connsiteX80" fmla="*/ 316252 w 4519987"/>
                    <a:gd name="connsiteY80" fmla="*/ 1114425 h 4429225"/>
                    <a:gd name="connsiteX81" fmla="*/ 363877 w 4519987"/>
                    <a:gd name="connsiteY81" fmla="*/ 1038225 h 4429225"/>
                    <a:gd name="connsiteX82" fmla="*/ 382927 w 4519987"/>
                    <a:gd name="connsiteY82" fmla="*/ 1009650 h 4429225"/>
                    <a:gd name="connsiteX83" fmla="*/ 440077 w 4519987"/>
                    <a:gd name="connsiteY83" fmla="*/ 904875 h 4429225"/>
                    <a:gd name="connsiteX84" fmla="*/ 478177 w 4519987"/>
                    <a:gd name="connsiteY84" fmla="*/ 857250 h 4429225"/>
                    <a:gd name="connsiteX85" fmla="*/ 497227 w 4519987"/>
                    <a:gd name="connsiteY85" fmla="*/ 828675 h 4429225"/>
                    <a:gd name="connsiteX86" fmla="*/ 535327 w 4519987"/>
                    <a:gd name="connsiteY86" fmla="*/ 800100 h 4429225"/>
                    <a:gd name="connsiteX87" fmla="*/ 602002 w 4519987"/>
                    <a:gd name="connsiteY87" fmla="*/ 733425 h 4429225"/>
                    <a:gd name="connsiteX88" fmla="*/ 668677 w 4519987"/>
                    <a:gd name="connsiteY88" fmla="*/ 676275 h 4429225"/>
                    <a:gd name="connsiteX89" fmla="*/ 697252 w 4519987"/>
                    <a:gd name="connsiteY89" fmla="*/ 657225 h 4429225"/>
                    <a:gd name="connsiteX90" fmla="*/ 840127 w 4519987"/>
                    <a:gd name="connsiteY90" fmla="*/ 533400 h 4429225"/>
                    <a:gd name="connsiteX91" fmla="*/ 887752 w 4519987"/>
                    <a:gd name="connsiteY91" fmla="*/ 504825 h 4429225"/>
                    <a:gd name="connsiteX92" fmla="*/ 1167152 w 4519987"/>
                    <a:gd name="connsiteY92" fmla="*/ 311150 h 4429225"/>
                    <a:gd name="connsiteX93" fmla="*/ 1268752 w 4519987"/>
                    <a:gd name="connsiteY93" fmla="*/ 285750 h 4429225"/>
                    <a:gd name="connsiteX94" fmla="*/ 1411627 w 4519987"/>
                    <a:gd name="connsiteY94" fmla="*/ 190500 h 4429225"/>
                    <a:gd name="connsiteX95" fmla="*/ 1449727 w 4519987"/>
                    <a:gd name="connsiteY95" fmla="*/ 161925 h 4429225"/>
                    <a:gd name="connsiteX96" fmla="*/ 1525927 w 4519987"/>
                    <a:gd name="connsiteY96" fmla="*/ 152400 h 4429225"/>
                    <a:gd name="connsiteX97" fmla="*/ 1583077 w 4519987"/>
                    <a:gd name="connsiteY97" fmla="*/ 142875 h 4429225"/>
                    <a:gd name="connsiteX98" fmla="*/ 1716427 w 4519987"/>
                    <a:gd name="connsiteY98" fmla="*/ 123825 h 4429225"/>
                    <a:gd name="connsiteX99" fmla="*/ 1811677 w 4519987"/>
                    <a:gd name="connsiteY99" fmla="*/ 114300 h 4429225"/>
                    <a:gd name="connsiteX100" fmla="*/ 1859302 w 4519987"/>
                    <a:gd name="connsiteY100" fmla="*/ 104775 h 4429225"/>
                    <a:gd name="connsiteX101" fmla="*/ 1916452 w 4519987"/>
                    <a:gd name="connsiteY101" fmla="*/ 95250 h 4429225"/>
                    <a:gd name="connsiteX102" fmla="*/ 2030752 w 4519987"/>
                    <a:gd name="connsiteY102" fmla="*/ 66675 h 4429225"/>
                    <a:gd name="connsiteX103" fmla="*/ 2097427 w 4519987"/>
                    <a:gd name="connsiteY103" fmla="*/ 47625 h 4429225"/>
                    <a:gd name="connsiteX104" fmla="*/ 2164102 w 4519987"/>
                    <a:gd name="connsiteY104" fmla="*/ 38100 h 4429225"/>
                    <a:gd name="connsiteX105" fmla="*/ 2392702 w 4519987"/>
                    <a:gd name="connsiteY105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411502 w 4519987"/>
                    <a:gd name="connsiteY54" fmla="*/ 3448050 h 4429225"/>
                    <a:gd name="connsiteX55" fmla="*/ 278152 w 4519987"/>
                    <a:gd name="connsiteY55" fmla="*/ 3257550 h 4429225"/>
                    <a:gd name="connsiteX56" fmla="*/ 249577 w 4519987"/>
                    <a:gd name="connsiteY56" fmla="*/ 3200400 h 4429225"/>
                    <a:gd name="connsiteX57" fmla="*/ 240052 w 4519987"/>
                    <a:gd name="connsiteY57" fmla="*/ 3162300 h 4429225"/>
                    <a:gd name="connsiteX58" fmla="*/ 221002 w 4519987"/>
                    <a:gd name="connsiteY58" fmla="*/ 3105150 h 4429225"/>
                    <a:gd name="connsiteX59" fmla="*/ 173377 w 4519987"/>
                    <a:gd name="connsiteY59" fmla="*/ 3019425 h 4429225"/>
                    <a:gd name="connsiteX60" fmla="*/ 144802 w 4519987"/>
                    <a:gd name="connsiteY60" fmla="*/ 2924175 h 4429225"/>
                    <a:gd name="connsiteX61" fmla="*/ 68602 w 4519987"/>
                    <a:gd name="connsiteY61" fmla="*/ 2724150 h 4429225"/>
                    <a:gd name="connsiteX62" fmla="*/ 49552 w 4519987"/>
                    <a:gd name="connsiteY62" fmla="*/ 2638425 h 4429225"/>
                    <a:gd name="connsiteX63" fmla="*/ 40027 w 4519987"/>
                    <a:gd name="connsiteY63" fmla="*/ 2562225 h 4429225"/>
                    <a:gd name="connsiteX64" fmla="*/ 30502 w 4519987"/>
                    <a:gd name="connsiteY64" fmla="*/ 2514600 h 4429225"/>
                    <a:gd name="connsiteX65" fmla="*/ 11452 w 4519987"/>
                    <a:gd name="connsiteY65" fmla="*/ 2400300 h 4429225"/>
                    <a:gd name="connsiteX66" fmla="*/ 20977 w 4519987"/>
                    <a:gd name="connsiteY66" fmla="*/ 1905000 h 4429225"/>
                    <a:gd name="connsiteX67" fmla="*/ 30502 w 4519987"/>
                    <a:gd name="connsiteY67" fmla="*/ 1838325 h 4429225"/>
                    <a:gd name="connsiteX68" fmla="*/ 49552 w 4519987"/>
                    <a:gd name="connsiteY68" fmla="*/ 1781175 h 4429225"/>
                    <a:gd name="connsiteX69" fmla="*/ 59077 w 4519987"/>
                    <a:gd name="connsiteY69" fmla="*/ 1743075 h 4429225"/>
                    <a:gd name="connsiteX70" fmla="*/ 78127 w 4519987"/>
                    <a:gd name="connsiteY70" fmla="*/ 1685925 h 4429225"/>
                    <a:gd name="connsiteX71" fmla="*/ 87652 w 4519987"/>
                    <a:gd name="connsiteY71" fmla="*/ 1638300 h 4429225"/>
                    <a:gd name="connsiteX72" fmla="*/ 106702 w 4519987"/>
                    <a:gd name="connsiteY72" fmla="*/ 1590675 h 4429225"/>
                    <a:gd name="connsiteX73" fmla="*/ 135277 w 4519987"/>
                    <a:gd name="connsiteY73" fmla="*/ 1504950 h 4429225"/>
                    <a:gd name="connsiteX74" fmla="*/ 154327 w 4519987"/>
                    <a:gd name="connsiteY74" fmla="*/ 1419225 h 4429225"/>
                    <a:gd name="connsiteX75" fmla="*/ 230527 w 4519987"/>
                    <a:gd name="connsiteY75" fmla="*/ 1276350 h 4429225"/>
                    <a:gd name="connsiteX76" fmla="*/ 240052 w 4519987"/>
                    <a:gd name="connsiteY76" fmla="*/ 1247775 h 4429225"/>
                    <a:gd name="connsiteX77" fmla="*/ 268627 w 4519987"/>
                    <a:gd name="connsiteY77" fmla="*/ 1200150 h 4429225"/>
                    <a:gd name="connsiteX78" fmla="*/ 287677 w 4519987"/>
                    <a:gd name="connsiteY78" fmla="*/ 1152525 h 4429225"/>
                    <a:gd name="connsiteX79" fmla="*/ 316252 w 4519987"/>
                    <a:gd name="connsiteY79" fmla="*/ 1114425 h 4429225"/>
                    <a:gd name="connsiteX80" fmla="*/ 363877 w 4519987"/>
                    <a:gd name="connsiteY80" fmla="*/ 1038225 h 4429225"/>
                    <a:gd name="connsiteX81" fmla="*/ 382927 w 4519987"/>
                    <a:gd name="connsiteY81" fmla="*/ 1009650 h 4429225"/>
                    <a:gd name="connsiteX82" fmla="*/ 440077 w 4519987"/>
                    <a:gd name="connsiteY82" fmla="*/ 904875 h 4429225"/>
                    <a:gd name="connsiteX83" fmla="*/ 478177 w 4519987"/>
                    <a:gd name="connsiteY83" fmla="*/ 857250 h 4429225"/>
                    <a:gd name="connsiteX84" fmla="*/ 497227 w 4519987"/>
                    <a:gd name="connsiteY84" fmla="*/ 828675 h 4429225"/>
                    <a:gd name="connsiteX85" fmla="*/ 535327 w 4519987"/>
                    <a:gd name="connsiteY85" fmla="*/ 800100 h 4429225"/>
                    <a:gd name="connsiteX86" fmla="*/ 602002 w 4519987"/>
                    <a:gd name="connsiteY86" fmla="*/ 733425 h 4429225"/>
                    <a:gd name="connsiteX87" fmla="*/ 668677 w 4519987"/>
                    <a:gd name="connsiteY87" fmla="*/ 676275 h 4429225"/>
                    <a:gd name="connsiteX88" fmla="*/ 697252 w 4519987"/>
                    <a:gd name="connsiteY88" fmla="*/ 657225 h 4429225"/>
                    <a:gd name="connsiteX89" fmla="*/ 840127 w 4519987"/>
                    <a:gd name="connsiteY89" fmla="*/ 533400 h 4429225"/>
                    <a:gd name="connsiteX90" fmla="*/ 887752 w 4519987"/>
                    <a:gd name="connsiteY90" fmla="*/ 504825 h 4429225"/>
                    <a:gd name="connsiteX91" fmla="*/ 1167152 w 4519987"/>
                    <a:gd name="connsiteY91" fmla="*/ 311150 h 4429225"/>
                    <a:gd name="connsiteX92" fmla="*/ 1268752 w 4519987"/>
                    <a:gd name="connsiteY92" fmla="*/ 285750 h 4429225"/>
                    <a:gd name="connsiteX93" fmla="*/ 1411627 w 4519987"/>
                    <a:gd name="connsiteY93" fmla="*/ 190500 h 4429225"/>
                    <a:gd name="connsiteX94" fmla="*/ 1449727 w 4519987"/>
                    <a:gd name="connsiteY94" fmla="*/ 161925 h 4429225"/>
                    <a:gd name="connsiteX95" fmla="*/ 1525927 w 4519987"/>
                    <a:gd name="connsiteY95" fmla="*/ 152400 h 4429225"/>
                    <a:gd name="connsiteX96" fmla="*/ 1583077 w 4519987"/>
                    <a:gd name="connsiteY96" fmla="*/ 142875 h 4429225"/>
                    <a:gd name="connsiteX97" fmla="*/ 1716427 w 4519987"/>
                    <a:gd name="connsiteY97" fmla="*/ 123825 h 4429225"/>
                    <a:gd name="connsiteX98" fmla="*/ 1811677 w 4519987"/>
                    <a:gd name="connsiteY98" fmla="*/ 114300 h 4429225"/>
                    <a:gd name="connsiteX99" fmla="*/ 1859302 w 4519987"/>
                    <a:gd name="connsiteY99" fmla="*/ 104775 h 4429225"/>
                    <a:gd name="connsiteX100" fmla="*/ 1916452 w 4519987"/>
                    <a:gd name="connsiteY100" fmla="*/ 95250 h 4429225"/>
                    <a:gd name="connsiteX101" fmla="*/ 2030752 w 4519987"/>
                    <a:gd name="connsiteY101" fmla="*/ 66675 h 4429225"/>
                    <a:gd name="connsiteX102" fmla="*/ 2097427 w 4519987"/>
                    <a:gd name="connsiteY102" fmla="*/ 47625 h 4429225"/>
                    <a:gd name="connsiteX103" fmla="*/ 2164102 w 4519987"/>
                    <a:gd name="connsiteY103" fmla="*/ 38100 h 4429225"/>
                    <a:gd name="connsiteX104" fmla="*/ 2392702 w 4519987"/>
                    <a:gd name="connsiteY10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278152 w 4519987"/>
                    <a:gd name="connsiteY54" fmla="*/ 3257550 h 4429225"/>
                    <a:gd name="connsiteX55" fmla="*/ 249577 w 4519987"/>
                    <a:gd name="connsiteY55" fmla="*/ 3200400 h 4429225"/>
                    <a:gd name="connsiteX56" fmla="*/ 240052 w 4519987"/>
                    <a:gd name="connsiteY56" fmla="*/ 3162300 h 4429225"/>
                    <a:gd name="connsiteX57" fmla="*/ 221002 w 4519987"/>
                    <a:gd name="connsiteY57" fmla="*/ 3105150 h 4429225"/>
                    <a:gd name="connsiteX58" fmla="*/ 173377 w 4519987"/>
                    <a:gd name="connsiteY58" fmla="*/ 3019425 h 4429225"/>
                    <a:gd name="connsiteX59" fmla="*/ 144802 w 4519987"/>
                    <a:gd name="connsiteY59" fmla="*/ 2924175 h 4429225"/>
                    <a:gd name="connsiteX60" fmla="*/ 68602 w 4519987"/>
                    <a:gd name="connsiteY60" fmla="*/ 2724150 h 4429225"/>
                    <a:gd name="connsiteX61" fmla="*/ 49552 w 4519987"/>
                    <a:gd name="connsiteY61" fmla="*/ 2638425 h 4429225"/>
                    <a:gd name="connsiteX62" fmla="*/ 40027 w 4519987"/>
                    <a:gd name="connsiteY62" fmla="*/ 2562225 h 4429225"/>
                    <a:gd name="connsiteX63" fmla="*/ 30502 w 4519987"/>
                    <a:gd name="connsiteY63" fmla="*/ 2514600 h 4429225"/>
                    <a:gd name="connsiteX64" fmla="*/ 11452 w 4519987"/>
                    <a:gd name="connsiteY64" fmla="*/ 2400300 h 4429225"/>
                    <a:gd name="connsiteX65" fmla="*/ 20977 w 4519987"/>
                    <a:gd name="connsiteY65" fmla="*/ 1905000 h 4429225"/>
                    <a:gd name="connsiteX66" fmla="*/ 30502 w 4519987"/>
                    <a:gd name="connsiteY66" fmla="*/ 1838325 h 4429225"/>
                    <a:gd name="connsiteX67" fmla="*/ 49552 w 4519987"/>
                    <a:gd name="connsiteY67" fmla="*/ 1781175 h 4429225"/>
                    <a:gd name="connsiteX68" fmla="*/ 59077 w 4519987"/>
                    <a:gd name="connsiteY68" fmla="*/ 1743075 h 4429225"/>
                    <a:gd name="connsiteX69" fmla="*/ 78127 w 4519987"/>
                    <a:gd name="connsiteY69" fmla="*/ 1685925 h 4429225"/>
                    <a:gd name="connsiteX70" fmla="*/ 87652 w 4519987"/>
                    <a:gd name="connsiteY70" fmla="*/ 1638300 h 4429225"/>
                    <a:gd name="connsiteX71" fmla="*/ 106702 w 4519987"/>
                    <a:gd name="connsiteY71" fmla="*/ 1590675 h 4429225"/>
                    <a:gd name="connsiteX72" fmla="*/ 135277 w 4519987"/>
                    <a:gd name="connsiteY72" fmla="*/ 1504950 h 4429225"/>
                    <a:gd name="connsiteX73" fmla="*/ 154327 w 4519987"/>
                    <a:gd name="connsiteY73" fmla="*/ 1419225 h 4429225"/>
                    <a:gd name="connsiteX74" fmla="*/ 230527 w 4519987"/>
                    <a:gd name="connsiteY74" fmla="*/ 1276350 h 4429225"/>
                    <a:gd name="connsiteX75" fmla="*/ 240052 w 4519987"/>
                    <a:gd name="connsiteY75" fmla="*/ 1247775 h 4429225"/>
                    <a:gd name="connsiteX76" fmla="*/ 268627 w 4519987"/>
                    <a:gd name="connsiteY76" fmla="*/ 1200150 h 4429225"/>
                    <a:gd name="connsiteX77" fmla="*/ 287677 w 4519987"/>
                    <a:gd name="connsiteY77" fmla="*/ 1152525 h 4429225"/>
                    <a:gd name="connsiteX78" fmla="*/ 316252 w 4519987"/>
                    <a:gd name="connsiteY78" fmla="*/ 1114425 h 4429225"/>
                    <a:gd name="connsiteX79" fmla="*/ 363877 w 4519987"/>
                    <a:gd name="connsiteY79" fmla="*/ 1038225 h 4429225"/>
                    <a:gd name="connsiteX80" fmla="*/ 382927 w 4519987"/>
                    <a:gd name="connsiteY80" fmla="*/ 1009650 h 4429225"/>
                    <a:gd name="connsiteX81" fmla="*/ 440077 w 4519987"/>
                    <a:gd name="connsiteY81" fmla="*/ 904875 h 4429225"/>
                    <a:gd name="connsiteX82" fmla="*/ 478177 w 4519987"/>
                    <a:gd name="connsiteY82" fmla="*/ 857250 h 4429225"/>
                    <a:gd name="connsiteX83" fmla="*/ 497227 w 4519987"/>
                    <a:gd name="connsiteY83" fmla="*/ 828675 h 4429225"/>
                    <a:gd name="connsiteX84" fmla="*/ 535327 w 4519987"/>
                    <a:gd name="connsiteY84" fmla="*/ 800100 h 4429225"/>
                    <a:gd name="connsiteX85" fmla="*/ 602002 w 4519987"/>
                    <a:gd name="connsiteY85" fmla="*/ 733425 h 4429225"/>
                    <a:gd name="connsiteX86" fmla="*/ 668677 w 4519987"/>
                    <a:gd name="connsiteY86" fmla="*/ 676275 h 4429225"/>
                    <a:gd name="connsiteX87" fmla="*/ 697252 w 4519987"/>
                    <a:gd name="connsiteY87" fmla="*/ 657225 h 4429225"/>
                    <a:gd name="connsiteX88" fmla="*/ 840127 w 4519987"/>
                    <a:gd name="connsiteY88" fmla="*/ 533400 h 4429225"/>
                    <a:gd name="connsiteX89" fmla="*/ 887752 w 4519987"/>
                    <a:gd name="connsiteY89" fmla="*/ 504825 h 4429225"/>
                    <a:gd name="connsiteX90" fmla="*/ 1167152 w 4519987"/>
                    <a:gd name="connsiteY90" fmla="*/ 311150 h 4429225"/>
                    <a:gd name="connsiteX91" fmla="*/ 1268752 w 4519987"/>
                    <a:gd name="connsiteY91" fmla="*/ 285750 h 4429225"/>
                    <a:gd name="connsiteX92" fmla="*/ 1411627 w 4519987"/>
                    <a:gd name="connsiteY92" fmla="*/ 190500 h 4429225"/>
                    <a:gd name="connsiteX93" fmla="*/ 1449727 w 4519987"/>
                    <a:gd name="connsiteY93" fmla="*/ 161925 h 4429225"/>
                    <a:gd name="connsiteX94" fmla="*/ 1525927 w 4519987"/>
                    <a:gd name="connsiteY94" fmla="*/ 152400 h 4429225"/>
                    <a:gd name="connsiteX95" fmla="*/ 1583077 w 4519987"/>
                    <a:gd name="connsiteY95" fmla="*/ 142875 h 4429225"/>
                    <a:gd name="connsiteX96" fmla="*/ 1716427 w 4519987"/>
                    <a:gd name="connsiteY96" fmla="*/ 123825 h 4429225"/>
                    <a:gd name="connsiteX97" fmla="*/ 1811677 w 4519987"/>
                    <a:gd name="connsiteY97" fmla="*/ 114300 h 4429225"/>
                    <a:gd name="connsiteX98" fmla="*/ 1859302 w 4519987"/>
                    <a:gd name="connsiteY98" fmla="*/ 104775 h 4429225"/>
                    <a:gd name="connsiteX99" fmla="*/ 1916452 w 4519987"/>
                    <a:gd name="connsiteY99" fmla="*/ 95250 h 4429225"/>
                    <a:gd name="connsiteX100" fmla="*/ 2030752 w 4519987"/>
                    <a:gd name="connsiteY100" fmla="*/ 66675 h 4429225"/>
                    <a:gd name="connsiteX101" fmla="*/ 2097427 w 4519987"/>
                    <a:gd name="connsiteY101" fmla="*/ 47625 h 4429225"/>
                    <a:gd name="connsiteX102" fmla="*/ 2164102 w 4519987"/>
                    <a:gd name="connsiteY102" fmla="*/ 38100 h 4429225"/>
                    <a:gd name="connsiteX103" fmla="*/ 2392702 w 4519987"/>
                    <a:gd name="connsiteY10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40077 w 4519987"/>
                    <a:gd name="connsiteY52" fmla="*/ 3495675 h 4429225"/>
                    <a:gd name="connsiteX53" fmla="*/ 278152 w 4519987"/>
                    <a:gd name="connsiteY53" fmla="*/ 3257550 h 4429225"/>
                    <a:gd name="connsiteX54" fmla="*/ 249577 w 4519987"/>
                    <a:gd name="connsiteY54" fmla="*/ 3200400 h 4429225"/>
                    <a:gd name="connsiteX55" fmla="*/ 240052 w 4519987"/>
                    <a:gd name="connsiteY55" fmla="*/ 3162300 h 4429225"/>
                    <a:gd name="connsiteX56" fmla="*/ 221002 w 4519987"/>
                    <a:gd name="connsiteY56" fmla="*/ 3105150 h 4429225"/>
                    <a:gd name="connsiteX57" fmla="*/ 173377 w 4519987"/>
                    <a:gd name="connsiteY57" fmla="*/ 3019425 h 4429225"/>
                    <a:gd name="connsiteX58" fmla="*/ 144802 w 4519987"/>
                    <a:gd name="connsiteY58" fmla="*/ 2924175 h 4429225"/>
                    <a:gd name="connsiteX59" fmla="*/ 68602 w 4519987"/>
                    <a:gd name="connsiteY59" fmla="*/ 2724150 h 4429225"/>
                    <a:gd name="connsiteX60" fmla="*/ 49552 w 4519987"/>
                    <a:gd name="connsiteY60" fmla="*/ 2638425 h 4429225"/>
                    <a:gd name="connsiteX61" fmla="*/ 40027 w 4519987"/>
                    <a:gd name="connsiteY61" fmla="*/ 2562225 h 4429225"/>
                    <a:gd name="connsiteX62" fmla="*/ 30502 w 4519987"/>
                    <a:gd name="connsiteY62" fmla="*/ 2514600 h 4429225"/>
                    <a:gd name="connsiteX63" fmla="*/ 11452 w 4519987"/>
                    <a:gd name="connsiteY63" fmla="*/ 2400300 h 4429225"/>
                    <a:gd name="connsiteX64" fmla="*/ 20977 w 4519987"/>
                    <a:gd name="connsiteY64" fmla="*/ 1905000 h 4429225"/>
                    <a:gd name="connsiteX65" fmla="*/ 30502 w 4519987"/>
                    <a:gd name="connsiteY65" fmla="*/ 1838325 h 4429225"/>
                    <a:gd name="connsiteX66" fmla="*/ 49552 w 4519987"/>
                    <a:gd name="connsiteY66" fmla="*/ 1781175 h 4429225"/>
                    <a:gd name="connsiteX67" fmla="*/ 59077 w 4519987"/>
                    <a:gd name="connsiteY67" fmla="*/ 1743075 h 4429225"/>
                    <a:gd name="connsiteX68" fmla="*/ 78127 w 4519987"/>
                    <a:gd name="connsiteY68" fmla="*/ 1685925 h 4429225"/>
                    <a:gd name="connsiteX69" fmla="*/ 87652 w 4519987"/>
                    <a:gd name="connsiteY69" fmla="*/ 1638300 h 4429225"/>
                    <a:gd name="connsiteX70" fmla="*/ 106702 w 4519987"/>
                    <a:gd name="connsiteY70" fmla="*/ 1590675 h 4429225"/>
                    <a:gd name="connsiteX71" fmla="*/ 135277 w 4519987"/>
                    <a:gd name="connsiteY71" fmla="*/ 1504950 h 4429225"/>
                    <a:gd name="connsiteX72" fmla="*/ 154327 w 4519987"/>
                    <a:gd name="connsiteY72" fmla="*/ 1419225 h 4429225"/>
                    <a:gd name="connsiteX73" fmla="*/ 230527 w 4519987"/>
                    <a:gd name="connsiteY73" fmla="*/ 1276350 h 4429225"/>
                    <a:gd name="connsiteX74" fmla="*/ 240052 w 4519987"/>
                    <a:gd name="connsiteY74" fmla="*/ 1247775 h 4429225"/>
                    <a:gd name="connsiteX75" fmla="*/ 268627 w 4519987"/>
                    <a:gd name="connsiteY75" fmla="*/ 1200150 h 4429225"/>
                    <a:gd name="connsiteX76" fmla="*/ 287677 w 4519987"/>
                    <a:gd name="connsiteY76" fmla="*/ 1152525 h 4429225"/>
                    <a:gd name="connsiteX77" fmla="*/ 316252 w 4519987"/>
                    <a:gd name="connsiteY77" fmla="*/ 1114425 h 4429225"/>
                    <a:gd name="connsiteX78" fmla="*/ 363877 w 4519987"/>
                    <a:gd name="connsiteY78" fmla="*/ 1038225 h 4429225"/>
                    <a:gd name="connsiteX79" fmla="*/ 382927 w 4519987"/>
                    <a:gd name="connsiteY79" fmla="*/ 1009650 h 4429225"/>
                    <a:gd name="connsiteX80" fmla="*/ 440077 w 4519987"/>
                    <a:gd name="connsiteY80" fmla="*/ 904875 h 4429225"/>
                    <a:gd name="connsiteX81" fmla="*/ 478177 w 4519987"/>
                    <a:gd name="connsiteY81" fmla="*/ 857250 h 4429225"/>
                    <a:gd name="connsiteX82" fmla="*/ 497227 w 4519987"/>
                    <a:gd name="connsiteY82" fmla="*/ 828675 h 4429225"/>
                    <a:gd name="connsiteX83" fmla="*/ 535327 w 4519987"/>
                    <a:gd name="connsiteY83" fmla="*/ 800100 h 4429225"/>
                    <a:gd name="connsiteX84" fmla="*/ 602002 w 4519987"/>
                    <a:gd name="connsiteY84" fmla="*/ 733425 h 4429225"/>
                    <a:gd name="connsiteX85" fmla="*/ 668677 w 4519987"/>
                    <a:gd name="connsiteY85" fmla="*/ 676275 h 4429225"/>
                    <a:gd name="connsiteX86" fmla="*/ 697252 w 4519987"/>
                    <a:gd name="connsiteY86" fmla="*/ 657225 h 4429225"/>
                    <a:gd name="connsiteX87" fmla="*/ 840127 w 4519987"/>
                    <a:gd name="connsiteY87" fmla="*/ 533400 h 4429225"/>
                    <a:gd name="connsiteX88" fmla="*/ 887752 w 4519987"/>
                    <a:gd name="connsiteY88" fmla="*/ 504825 h 4429225"/>
                    <a:gd name="connsiteX89" fmla="*/ 1167152 w 4519987"/>
                    <a:gd name="connsiteY89" fmla="*/ 311150 h 4429225"/>
                    <a:gd name="connsiteX90" fmla="*/ 1268752 w 4519987"/>
                    <a:gd name="connsiteY90" fmla="*/ 285750 h 4429225"/>
                    <a:gd name="connsiteX91" fmla="*/ 1411627 w 4519987"/>
                    <a:gd name="connsiteY91" fmla="*/ 190500 h 4429225"/>
                    <a:gd name="connsiteX92" fmla="*/ 1449727 w 4519987"/>
                    <a:gd name="connsiteY92" fmla="*/ 161925 h 4429225"/>
                    <a:gd name="connsiteX93" fmla="*/ 1525927 w 4519987"/>
                    <a:gd name="connsiteY93" fmla="*/ 152400 h 4429225"/>
                    <a:gd name="connsiteX94" fmla="*/ 1583077 w 4519987"/>
                    <a:gd name="connsiteY94" fmla="*/ 142875 h 4429225"/>
                    <a:gd name="connsiteX95" fmla="*/ 1716427 w 4519987"/>
                    <a:gd name="connsiteY95" fmla="*/ 123825 h 4429225"/>
                    <a:gd name="connsiteX96" fmla="*/ 1811677 w 4519987"/>
                    <a:gd name="connsiteY96" fmla="*/ 114300 h 4429225"/>
                    <a:gd name="connsiteX97" fmla="*/ 1859302 w 4519987"/>
                    <a:gd name="connsiteY97" fmla="*/ 104775 h 4429225"/>
                    <a:gd name="connsiteX98" fmla="*/ 1916452 w 4519987"/>
                    <a:gd name="connsiteY98" fmla="*/ 95250 h 4429225"/>
                    <a:gd name="connsiteX99" fmla="*/ 2030752 w 4519987"/>
                    <a:gd name="connsiteY99" fmla="*/ 66675 h 4429225"/>
                    <a:gd name="connsiteX100" fmla="*/ 2097427 w 4519987"/>
                    <a:gd name="connsiteY100" fmla="*/ 47625 h 4429225"/>
                    <a:gd name="connsiteX101" fmla="*/ 2164102 w 4519987"/>
                    <a:gd name="connsiteY101" fmla="*/ 38100 h 4429225"/>
                    <a:gd name="connsiteX102" fmla="*/ 2392702 w 4519987"/>
                    <a:gd name="connsiteY10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40052 w 4519987"/>
                    <a:gd name="connsiteY54" fmla="*/ 3162300 h 4429225"/>
                    <a:gd name="connsiteX55" fmla="*/ 221002 w 4519987"/>
                    <a:gd name="connsiteY55" fmla="*/ 3105150 h 4429225"/>
                    <a:gd name="connsiteX56" fmla="*/ 173377 w 4519987"/>
                    <a:gd name="connsiteY56" fmla="*/ 3019425 h 4429225"/>
                    <a:gd name="connsiteX57" fmla="*/ 144802 w 4519987"/>
                    <a:gd name="connsiteY57" fmla="*/ 2924175 h 4429225"/>
                    <a:gd name="connsiteX58" fmla="*/ 68602 w 4519987"/>
                    <a:gd name="connsiteY58" fmla="*/ 2724150 h 4429225"/>
                    <a:gd name="connsiteX59" fmla="*/ 49552 w 4519987"/>
                    <a:gd name="connsiteY59" fmla="*/ 2638425 h 4429225"/>
                    <a:gd name="connsiteX60" fmla="*/ 40027 w 4519987"/>
                    <a:gd name="connsiteY60" fmla="*/ 2562225 h 4429225"/>
                    <a:gd name="connsiteX61" fmla="*/ 30502 w 4519987"/>
                    <a:gd name="connsiteY61" fmla="*/ 2514600 h 4429225"/>
                    <a:gd name="connsiteX62" fmla="*/ 11452 w 4519987"/>
                    <a:gd name="connsiteY62" fmla="*/ 2400300 h 4429225"/>
                    <a:gd name="connsiteX63" fmla="*/ 20977 w 4519987"/>
                    <a:gd name="connsiteY63" fmla="*/ 1905000 h 4429225"/>
                    <a:gd name="connsiteX64" fmla="*/ 30502 w 4519987"/>
                    <a:gd name="connsiteY64" fmla="*/ 1838325 h 4429225"/>
                    <a:gd name="connsiteX65" fmla="*/ 49552 w 4519987"/>
                    <a:gd name="connsiteY65" fmla="*/ 1781175 h 4429225"/>
                    <a:gd name="connsiteX66" fmla="*/ 59077 w 4519987"/>
                    <a:gd name="connsiteY66" fmla="*/ 1743075 h 4429225"/>
                    <a:gd name="connsiteX67" fmla="*/ 78127 w 4519987"/>
                    <a:gd name="connsiteY67" fmla="*/ 1685925 h 4429225"/>
                    <a:gd name="connsiteX68" fmla="*/ 87652 w 4519987"/>
                    <a:gd name="connsiteY68" fmla="*/ 1638300 h 4429225"/>
                    <a:gd name="connsiteX69" fmla="*/ 106702 w 4519987"/>
                    <a:gd name="connsiteY69" fmla="*/ 1590675 h 4429225"/>
                    <a:gd name="connsiteX70" fmla="*/ 135277 w 4519987"/>
                    <a:gd name="connsiteY70" fmla="*/ 1504950 h 4429225"/>
                    <a:gd name="connsiteX71" fmla="*/ 154327 w 4519987"/>
                    <a:gd name="connsiteY71" fmla="*/ 1419225 h 4429225"/>
                    <a:gd name="connsiteX72" fmla="*/ 230527 w 4519987"/>
                    <a:gd name="connsiteY72" fmla="*/ 1276350 h 4429225"/>
                    <a:gd name="connsiteX73" fmla="*/ 240052 w 4519987"/>
                    <a:gd name="connsiteY73" fmla="*/ 1247775 h 4429225"/>
                    <a:gd name="connsiteX74" fmla="*/ 268627 w 4519987"/>
                    <a:gd name="connsiteY74" fmla="*/ 1200150 h 4429225"/>
                    <a:gd name="connsiteX75" fmla="*/ 287677 w 4519987"/>
                    <a:gd name="connsiteY75" fmla="*/ 1152525 h 4429225"/>
                    <a:gd name="connsiteX76" fmla="*/ 316252 w 4519987"/>
                    <a:gd name="connsiteY76" fmla="*/ 1114425 h 4429225"/>
                    <a:gd name="connsiteX77" fmla="*/ 363877 w 4519987"/>
                    <a:gd name="connsiteY77" fmla="*/ 1038225 h 4429225"/>
                    <a:gd name="connsiteX78" fmla="*/ 382927 w 4519987"/>
                    <a:gd name="connsiteY78" fmla="*/ 1009650 h 4429225"/>
                    <a:gd name="connsiteX79" fmla="*/ 440077 w 4519987"/>
                    <a:gd name="connsiteY79" fmla="*/ 904875 h 4429225"/>
                    <a:gd name="connsiteX80" fmla="*/ 478177 w 4519987"/>
                    <a:gd name="connsiteY80" fmla="*/ 857250 h 4429225"/>
                    <a:gd name="connsiteX81" fmla="*/ 497227 w 4519987"/>
                    <a:gd name="connsiteY81" fmla="*/ 828675 h 4429225"/>
                    <a:gd name="connsiteX82" fmla="*/ 535327 w 4519987"/>
                    <a:gd name="connsiteY82" fmla="*/ 800100 h 4429225"/>
                    <a:gd name="connsiteX83" fmla="*/ 602002 w 4519987"/>
                    <a:gd name="connsiteY83" fmla="*/ 733425 h 4429225"/>
                    <a:gd name="connsiteX84" fmla="*/ 668677 w 4519987"/>
                    <a:gd name="connsiteY84" fmla="*/ 676275 h 4429225"/>
                    <a:gd name="connsiteX85" fmla="*/ 697252 w 4519987"/>
                    <a:gd name="connsiteY85" fmla="*/ 657225 h 4429225"/>
                    <a:gd name="connsiteX86" fmla="*/ 840127 w 4519987"/>
                    <a:gd name="connsiteY86" fmla="*/ 533400 h 4429225"/>
                    <a:gd name="connsiteX87" fmla="*/ 887752 w 4519987"/>
                    <a:gd name="connsiteY87" fmla="*/ 504825 h 4429225"/>
                    <a:gd name="connsiteX88" fmla="*/ 1167152 w 4519987"/>
                    <a:gd name="connsiteY88" fmla="*/ 311150 h 4429225"/>
                    <a:gd name="connsiteX89" fmla="*/ 1268752 w 4519987"/>
                    <a:gd name="connsiteY89" fmla="*/ 285750 h 4429225"/>
                    <a:gd name="connsiteX90" fmla="*/ 1411627 w 4519987"/>
                    <a:gd name="connsiteY90" fmla="*/ 190500 h 4429225"/>
                    <a:gd name="connsiteX91" fmla="*/ 1449727 w 4519987"/>
                    <a:gd name="connsiteY91" fmla="*/ 161925 h 4429225"/>
                    <a:gd name="connsiteX92" fmla="*/ 1525927 w 4519987"/>
                    <a:gd name="connsiteY92" fmla="*/ 152400 h 4429225"/>
                    <a:gd name="connsiteX93" fmla="*/ 1583077 w 4519987"/>
                    <a:gd name="connsiteY93" fmla="*/ 142875 h 4429225"/>
                    <a:gd name="connsiteX94" fmla="*/ 1716427 w 4519987"/>
                    <a:gd name="connsiteY94" fmla="*/ 123825 h 4429225"/>
                    <a:gd name="connsiteX95" fmla="*/ 1811677 w 4519987"/>
                    <a:gd name="connsiteY95" fmla="*/ 114300 h 4429225"/>
                    <a:gd name="connsiteX96" fmla="*/ 1859302 w 4519987"/>
                    <a:gd name="connsiteY96" fmla="*/ 104775 h 4429225"/>
                    <a:gd name="connsiteX97" fmla="*/ 1916452 w 4519987"/>
                    <a:gd name="connsiteY97" fmla="*/ 95250 h 4429225"/>
                    <a:gd name="connsiteX98" fmla="*/ 2030752 w 4519987"/>
                    <a:gd name="connsiteY98" fmla="*/ 66675 h 4429225"/>
                    <a:gd name="connsiteX99" fmla="*/ 2097427 w 4519987"/>
                    <a:gd name="connsiteY99" fmla="*/ 47625 h 4429225"/>
                    <a:gd name="connsiteX100" fmla="*/ 2164102 w 4519987"/>
                    <a:gd name="connsiteY100" fmla="*/ 38100 h 4429225"/>
                    <a:gd name="connsiteX101" fmla="*/ 2392702 w 4519987"/>
                    <a:gd name="connsiteY10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21002 w 4519987"/>
                    <a:gd name="connsiteY54" fmla="*/ 3105150 h 4429225"/>
                    <a:gd name="connsiteX55" fmla="*/ 173377 w 4519987"/>
                    <a:gd name="connsiteY55" fmla="*/ 3019425 h 4429225"/>
                    <a:gd name="connsiteX56" fmla="*/ 144802 w 4519987"/>
                    <a:gd name="connsiteY56" fmla="*/ 2924175 h 4429225"/>
                    <a:gd name="connsiteX57" fmla="*/ 68602 w 4519987"/>
                    <a:gd name="connsiteY57" fmla="*/ 2724150 h 4429225"/>
                    <a:gd name="connsiteX58" fmla="*/ 49552 w 4519987"/>
                    <a:gd name="connsiteY58" fmla="*/ 2638425 h 4429225"/>
                    <a:gd name="connsiteX59" fmla="*/ 40027 w 4519987"/>
                    <a:gd name="connsiteY59" fmla="*/ 2562225 h 4429225"/>
                    <a:gd name="connsiteX60" fmla="*/ 30502 w 4519987"/>
                    <a:gd name="connsiteY60" fmla="*/ 2514600 h 4429225"/>
                    <a:gd name="connsiteX61" fmla="*/ 11452 w 4519987"/>
                    <a:gd name="connsiteY61" fmla="*/ 2400300 h 4429225"/>
                    <a:gd name="connsiteX62" fmla="*/ 20977 w 4519987"/>
                    <a:gd name="connsiteY62" fmla="*/ 1905000 h 4429225"/>
                    <a:gd name="connsiteX63" fmla="*/ 30502 w 4519987"/>
                    <a:gd name="connsiteY63" fmla="*/ 1838325 h 4429225"/>
                    <a:gd name="connsiteX64" fmla="*/ 49552 w 4519987"/>
                    <a:gd name="connsiteY64" fmla="*/ 1781175 h 4429225"/>
                    <a:gd name="connsiteX65" fmla="*/ 59077 w 4519987"/>
                    <a:gd name="connsiteY65" fmla="*/ 1743075 h 4429225"/>
                    <a:gd name="connsiteX66" fmla="*/ 78127 w 4519987"/>
                    <a:gd name="connsiteY66" fmla="*/ 1685925 h 4429225"/>
                    <a:gd name="connsiteX67" fmla="*/ 87652 w 4519987"/>
                    <a:gd name="connsiteY67" fmla="*/ 1638300 h 4429225"/>
                    <a:gd name="connsiteX68" fmla="*/ 106702 w 4519987"/>
                    <a:gd name="connsiteY68" fmla="*/ 1590675 h 4429225"/>
                    <a:gd name="connsiteX69" fmla="*/ 135277 w 4519987"/>
                    <a:gd name="connsiteY69" fmla="*/ 1504950 h 4429225"/>
                    <a:gd name="connsiteX70" fmla="*/ 154327 w 4519987"/>
                    <a:gd name="connsiteY70" fmla="*/ 1419225 h 4429225"/>
                    <a:gd name="connsiteX71" fmla="*/ 230527 w 4519987"/>
                    <a:gd name="connsiteY71" fmla="*/ 1276350 h 4429225"/>
                    <a:gd name="connsiteX72" fmla="*/ 240052 w 4519987"/>
                    <a:gd name="connsiteY72" fmla="*/ 1247775 h 4429225"/>
                    <a:gd name="connsiteX73" fmla="*/ 268627 w 4519987"/>
                    <a:gd name="connsiteY73" fmla="*/ 1200150 h 4429225"/>
                    <a:gd name="connsiteX74" fmla="*/ 287677 w 4519987"/>
                    <a:gd name="connsiteY74" fmla="*/ 1152525 h 4429225"/>
                    <a:gd name="connsiteX75" fmla="*/ 316252 w 4519987"/>
                    <a:gd name="connsiteY75" fmla="*/ 1114425 h 4429225"/>
                    <a:gd name="connsiteX76" fmla="*/ 363877 w 4519987"/>
                    <a:gd name="connsiteY76" fmla="*/ 1038225 h 4429225"/>
                    <a:gd name="connsiteX77" fmla="*/ 382927 w 4519987"/>
                    <a:gd name="connsiteY77" fmla="*/ 1009650 h 4429225"/>
                    <a:gd name="connsiteX78" fmla="*/ 440077 w 4519987"/>
                    <a:gd name="connsiteY78" fmla="*/ 904875 h 4429225"/>
                    <a:gd name="connsiteX79" fmla="*/ 478177 w 4519987"/>
                    <a:gd name="connsiteY79" fmla="*/ 857250 h 4429225"/>
                    <a:gd name="connsiteX80" fmla="*/ 497227 w 4519987"/>
                    <a:gd name="connsiteY80" fmla="*/ 828675 h 4429225"/>
                    <a:gd name="connsiteX81" fmla="*/ 535327 w 4519987"/>
                    <a:gd name="connsiteY81" fmla="*/ 800100 h 4429225"/>
                    <a:gd name="connsiteX82" fmla="*/ 602002 w 4519987"/>
                    <a:gd name="connsiteY82" fmla="*/ 733425 h 4429225"/>
                    <a:gd name="connsiteX83" fmla="*/ 668677 w 4519987"/>
                    <a:gd name="connsiteY83" fmla="*/ 676275 h 4429225"/>
                    <a:gd name="connsiteX84" fmla="*/ 697252 w 4519987"/>
                    <a:gd name="connsiteY84" fmla="*/ 657225 h 4429225"/>
                    <a:gd name="connsiteX85" fmla="*/ 840127 w 4519987"/>
                    <a:gd name="connsiteY85" fmla="*/ 533400 h 4429225"/>
                    <a:gd name="connsiteX86" fmla="*/ 887752 w 4519987"/>
                    <a:gd name="connsiteY86" fmla="*/ 504825 h 4429225"/>
                    <a:gd name="connsiteX87" fmla="*/ 1167152 w 4519987"/>
                    <a:gd name="connsiteY87" fmla="*/ 311150 h 4429225"/>
                    <a:gd name="connsiteX88" fmla="*/ 1268752 w 4519987"/>
                    <a:gd name="connsiteY88" fmla="*/ 285750 h 4429225"/>
                    <a:gd name="connsiteX89" fmla="*/ 1411627 w 4519987"/>
                    <a:gd name="connsiteY89" fmla="*/ 190500 h 4429225"/>
                    <a:gd name="connsiteX90" fmla="*/ 1449727 w 4519987"/>
                    <a:gd name="connsiteY90" fmla="*/ 161925 h 4429225"/>
                    <a:gd name="connsiteX91" fmla="*/ 1525927 w 4519987"/>
                    <a:gd name="connsiteY91" fmla="*/ 152400 h 4429225"/>
                    <a:gd name="connsiteX92" fmla="*/ 1583077 w 4519987"/>
                    <a:gd name="connsiteY92" fmla="*/ 142875 h 4429225"/>
                    <a:gd name="connsiteX93" fmla="*/ 1716427 w 4519987"/>
                    <a:gd name="connsiteY93" fmla="*/ 123825 h 4429225"/>
                    <a:gd name="connsiteX94" fmla="*/ 1811677 w 4519987"/>
                    <a:gd name="connsiteY94" fmla="*/ 114300 h 4429225"/>
                    <a:gd name="connsiteX95" fmla="*/ 1859302 w 4519987"/>
                    <a:gd name="connsiteY95" fmla="*/ 104775 h 4429225"/>
                    <a:gd name="connsiteX96" fmla="*/ 1916452 w 4519987"/>
                    <a:gd name="connsiteY96" fmla="*/ 95250 h 4429225"/>
                    <a:gd name="connsiteX97" fmla="*/ 2030752 w 4519987"/>
                    <a:gd name="connsiteY97" fmla="*/ 66675 h 4429225"/>
                    <a:gd name="connsiteX98" fmla="*/ 2097427 w 4519987"/>
                    <a:gd name="connsiteY98" fmla="*/ 47625 h 4429225"/>
                    <a:gd name="connsiteX99" fmla="*/ 2164102 w 4519987"/>
                    <a:gd name="connsiteY99" fmla="*/ 38100 h 4429225"/>
                    <a:gd name="connsiteX100" fmla="*/ 2392702 w 4519987"/>
                    <a:gd name="connsiteY10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73377 w 4519987"/>
                    <a:gd name="connsiteY54" fmla="*/ 3019425 h 4429225"/>
                    <a:gd name="connsiteX55" fmla="*/ 144802 w 4519987"/>
                    <a:gd name="connsiteY55" fmla="*/ 2924175 h 4429225"/>
                    <a:gd name="connsiteX56" fmla="*/ 68602 w 4519987"/>
                    <a:gd name="connsiteY56" fmla="*/ 2724150 h 4429225"/>
                    <a:gd name="connsiteX57" fmla="*/ 49552 w 4519987"/>
                    <a:gd name="connsiteY57" fmla="*/ 2638425 h 4429225"/>
                    <a:gd name="connsiteX58" fmla="*/ 40027 w 4519987"/>
                    <a:gd name="connsiteY58" fmla="*/ 2562225 h 4429225"/>
                    <a:gd name="connsiteX59" fmla="*/ 30502 w 4519987"/>
                    <a:gd name="connsiteY59" fmla="*/ 2514600 h 4429225"/>
                    <a:gd name="connsiteX60" fmla="*/ 11452 w 4519987"/>
                    <a:gd name="connsiteY60" fmla="*/ 2400300 h 4429225"/>
                    <a:gd name="connsiteX61" fmla="*/ 20977 w 4519987"/>
                    <a:gd name="connsiteY61" fmla="*/ 1905000 h 4429225"/>
                    <a:gd name="connsiteX62" fmla="*/ 30502 w 4519987"/>
                    <a:gd name="connsiteY62" fmla="*/ 1838325 h 4429225"/>
                    <a:gd name="connsiteX63" fmla="*/ 49552 w 4519987"/>
                    <a:gd name="connsiteY63" fmla="*/ 1781175 h 4429225"/>
                    <a:gd name="connsiteX64" fmla="*/ 59077 w 4519987"/>
                    <a:gd name="connsiteY64" fmla="*/ 1743075 h 4429225"/>
                    <a:gd name="connsiteX65" fmla="*/ 78127 w 4519987"/>
                    <a:gd name="connsiteY65" fmla="*/ 1685925 h 4429225"/>
                    <a:gd name="connsiteX66" fmla="*/ 87652 w 4519987"/>
                    <a:gd name="connsiteY66" fmla="*/ 1638300 h 4429225"/>
                    <a:gd name="connsiteX67" fmla="*/ 106702 w 4519987"/>
                    <a:gd name="connsiteY67" fmla="*/ 1590675 h 4429225"/>
                    <a:gd name="connsiteX68" fmla="*/ 135277 w 4519987"/>
                    <a:gd name="connsiteY68" fmla="*/ 1504950 h 4429225"/>
                    <a:gd name="connsiteX69" fmla="*/ 154327 w 4519987"/>
                    <a:gd name="connsiteY69" fmla="*/ 1419225 h 4429225"/>
                    <a:gd name="connsiteX70" fmla="*/ 230527 w 4519987"/>
                    <a:gd name="connsiteY70" fmla="*/ 1276350 h 4429225"/>
                    <a:gd name="connsiteX71" fmla="*/ 240052 w 4519987"/>
                    <a:gd name="connsiteY71" fmla="*/ 1247775 h 4429225"/>
                    <a:gd name="connsiteX72" fmla="*/ 268627 w 4519987"/>
                    <a:gd name="connsiteY72" fmla="*/ 1200150 h 4429225"/>
                    <a:gd name="connsiteX73" fmla="*/ 287677 w 4519987"/>
                    <a:gd name="connsiteY73" fmla="*/ 1152525 h 4429225"/>
                    <a:gd name="connsiteX74" fmla="*/ 316252 w 4519987"/>
                    <a:gd name="connsiteY74" fmla="*/ 1114425 h 4429225"/>
                    <a:gd name="connsiteX75" fmla="*/ 363877 w 4519987"/>
                    <a:gd name="connsiteY75" fmla="*/ 1038225 h 4429225"/>
                    <a:gd name="connsiteX76" fmla="*/ 382927 w 4519987"/>
                    <a:gd name="connsiteY76" fmla="*/ 1009650 h 4429225"/>
                    <a:gd name="connsiteX77" fmla="*/ 440077 w 4519987"/>
                    <a:gd name="connsiteY77" fmla="*/ 904875 h 4429225"/>
                    <a:gd name="connsiteX78" fmla="*/ 478177 w 4519987"/>
                    <a:gd name="connsiteY78" fmla="*/ 857250 h 4429225"/>
                    <a:gd name="connsiteX79" fmla="*/ 497227 w 4519987"/>
                    <a:gd name="connsiteY79" fmla="*/ 828675 h 4429225"/>
                    <a:gd name="connsiteX80" fmla="*/ 535327 w 4519987"/>
                    <a:gd name="connsiteY80" fmla="*/ 800100 h 4429225"/>
                    <a:gd name="connsiteX81" fmla="*/ 602002 w 4519987"/>
                    <a:gd name="connsiteY81" fmla="*/ 733425 h 4429225"/>
                    <a:gd name="connsiteX82" fmla="*/ 668677 w 4519987"/>
                    <a:gd name="connsiteY82" fmla="*/ 676275 h 4429225"/>
                    <a:gd name="connsiteX83" fmla="*/ 697252 w 4519987"/>
                    <a:gd name="connsiteY83" fmla="*/ 657225 h 4429225"/>
                    <a:gd name="connsiteX84" fmla="*/ 840127 w 4519987"/>
                    <a:gd name="connsiteY84" fmla="*/ 533400 h 4429225"/>
                    <a:gd name="connsiteX85" fmla="*/ 887752 w 4519987"/>
                    <a:gd name="connsiteY85" fmla="*/ 504825 h 4429225"/>
                    <a:gd name="connsiteX86" fmla="*/ 1167152 w 4519987"/>
                    <a:gd name="connsiteY86" fmla="*/ 311150 h 4429225"/>
                    <a:gd name="connsiteX87" fmla="*/ 1268752 w 4519987"/>
                    <a:gd name="connsiteY87" fmla="*/ 285750 h 4429225"/>
                    <a:gd name="connsiteX88" fmla="*/ 1411627 w 4519987"/>
                    <a:gd name="connsiteY88" fmla="*/ 190500 h 4429225"/>
                    <a:gd name="connsiteX89" fmla="*/ 1449727 w 4519987"/>
                    <a:gd name="connsiteY89" fmla="*/ 161925 h 4429225"/>
                    <a:gd name="connsiteX90" fmla="*/ 1525927 w 4519987"/>
                    <a:gd name="connsiteY90" fmla="*/ 152400 h 4429225"/>
                    <a:gd name="connsiteX91" fmla="*/ 1583077 w 4519987"/>
                    <a:gd name="connsiteY91" fmla="*/ 142875 h 4429225"/>
                    <a:gd name="connsiteX92" fmla="*/ 1716427 w 4519987"/>
                    <a:gd name="connsiteY92" fmla="*/ 123825 h 4429225"/>
                    <a:gd name="connsiteX93" fmla="*/ 1811677 w 4519987"/>
                    <a:gd name="connsiteY93" fmla="*/ 114300 h 4429225"/>
                    <a:gd name="connsiteX94" fmla="*/ 1859302 w 4519987"/>
                    <a:gd name="connsiteY94" fmla="*/ 104775 h 4429225"/>
                    <a:gd name="connsiteX95" fmla="*/ 1916452 w 4519987"/>
                    <a:gd name="connsiteY95" fmla="*/ 95250 h 4429225"/>
                    <a:gd name="connsiteX96" fmla="*/ 2030752 w 4519987"/>
                    <a:gd name="connsiteY96" fmla="*/ 66675 h 4429225"/>
                    <a:gd name="connsiteX97" fmla="*/ 2097427 w 4519987"/>
                    <a:gd name="connsiteY97" fmla="*/ 47625 h 4429225"/>
                    <a:gd name="connsiteX98" fmla="*/ 2164102 w 4519987"/>
                    <a:gd name="connsiteY98" fmla="*/ 38100 h 4429225"/>
                    <a:gd name="connsiteX99" fmla="*/ 2392702 w 4519987"/>
                    <a:gd name="connsiteY9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9552 w 4519987"/>
                    <a:gd name="connsiteY56" fmla="*/ 2638425 h 4429225"/>
                    <a:gd name="connsiteX57" fmla="*/ 40027 w 4519987"/>
                    <a:gd name="connsiteY57" fmla="*/ 2562225 h 4429225"/>
                    <a:gd name="connsiteX58" fmla="*/ 30502 w 4519987"/>
                    <a:gd name="connsiteY58" fmla="*/ 2514600 h 4429225"/>
                    <a:gd name="connsiteX59" fmla="*/ 11452 w 4519987"/>
                    <a:gd name="connsiteY59" fmla="*/ 2400300 h 4429225"/>
                    <a:gd name="connsiteX60" fmla="*/ 20977 w 4519987"/>
                    <a:gd name="connsiteY60" fmla="*/ 1905000 h 4429225"/>
                    <a:gd name="connsiteX61" fmla="*/ 30502 w 4519987"/>
                    <a:gd name="connsiteY61" fmla="*/ 1838325 h 4429225"/>
                    <a:gd name="connsiteX62" fmla="*/ 49552 w 4519987"/>
                    <a:gd name="connsiteY62" fmla="*/ 1781175 h 4429225"/>
                    <a:gd name="connsiteX63" fmla="*/ 59077 w 4519987"/>
                    <a:gd name="connsiteY63" fmla="*/ 1743075 h 4429225"/>
                    <a:gd name="connsiteX64" fmla="*/ 78127 w 4519987"/>
                    <a:gd name="connsiteY64" fmla="*/ 1685925 h 4429225"/>
                    <a:gd name="connsiteX65" fmla="*/ 87652 w 4519987"/>
                    <a:gd name="connsiteY65" fmla="*/ 1638300 h 4429225"/>
                    <a:gd name="connsiteX66" fmla="*/ 106702 w 4519987"/>
                    <a:gd name="connsiteY66" fmla="*/ 1590675 h 4429225"/>
                    <a:gd name="connsiteX67" fmla="*/ 135277 w 4519987"/>
                    <a:gd name="connsiteY67" fmla="*/ 1504950 h 4429225"/>
                    <a:gd name="connsiteX68" fmla="*/ 154327 w 4519987"/>
                    <a:gd name="connsiteY68" fmla="*/ 1419225 h 4429225"/>
                    <a:gd name="connsiteX69" fmla="*/ 230527 w 4519987"/>
                    <a:gd name="connsiteY69" fmla="*/ 1276350 h 4429225"/>
                    <a:gd name="connsiteX70" fmla="*/ 240052 w 4519987"/>
                    <a:gd name="connsiteY70" fmla="*/ 1247775 h 4429225"/>
                    <a:gd name="connsiteX71" fmla="*/ 268627 w 4519987"/>
                    <a:gd name="connsiteY71" fmla="*/ 1200150 h 4429225"/>
                    <a:gd name="connsiteX72" fmla="*/ 287677 w 4519987"/>
                    <a:gd name="connsiteY72" fmla="*/ 1152525 h 4429225"/>
                    <a:gd name="connsiteX73" fmla="*/ 316252 w 4519987"/>
                    <a:gd name="connsiteY73" fmla="*/ 1114425 h 4429225"/>
                    <a:gd name="connsiteX74" fmla="*/ 363877 w 4519987"/>
                    <a:gd name="connsiteY74" fmla="*/ 1038225 h 4429225"/>
                    <a:gd name="connsiteX75" fmla="*/ 382927 w 4519987"/>
                    <a:gd name="connsiteY75" fmla="*/ 1009650 h 4429225"/>
                    <a:gd name="connsiteX76" fmla="*/ 440077 w 4519987"/>
                    <a:gd name="connsiteY76" fmla="*/ 904875 h 4429225"/>
                    <a:gd name="connsiteX77" fmla="*/ 478177 w 4519987"/>
                    <a:gd name="connsiteY77" fmla="*/ 857250 h 4429225"/>
                    <a:gd name="connsiteX78" fmla="*/ 497227 w 4519987"/>
                    <a:gd name="connsiteY78" fmla="*/ 828675 h 4429225"/>
                    <a:gd name="connsiteX79" fmla="*/ 535327 w 4519987"/>
                    <a:gd name="connsiteY79" fmla="*/ 800100 h 4429225"/>
                    <a:gd name="connsiteX80" fmla="*/ 602002 w 4519987"/>
                    <a:gd name="connsiteY80" fmla="*/ 733425 h 4429225"/>
                    <a:gd name="connsiteX81" fmla="*/ 668677 w 4519987"/>
                    <a:gd name="connsiteY81" fmla="*/ 676275 h 4429225"/>
                    <a:gd name="connsiteX82" fmla="*/ 697252 w 4519987"/>
                    <a:gd name="connsiteY82" fmla="*/ 657225 h 4429225"/>
                    <a:gd name="connsiteX83" fmla="*/ 840127 w 4519987"/>
                    <a:gd name="connsiteY83" fmla="*/ 533400 h 4429225"/>
                    <a:gd name="connsiteX84" fmla="*/ 887752 w 4519987"/>
                    <a:gd name="connsiteY84" fmla="*/ 504825 h 4429225"/>
                    <a:gd name="connsiteX85" fmla="*/ 1167152 w 4519987"/>
                    <a:gd name="connsiteY85" fmla="*/ 311150 h 4429225"/>
                    <a:gd name="connsiteX86" fmla="*/ 1268752 w 4519987"/>
                    <a:gd name="connsiteY86" fmla="*/ 285750 h 4429225"/>
                    <a:gd name="connsiteX87" fmla="*/ 1411627 w 4519987"/>
                    <a:gd name="connsiteY87" fmla="*/ 190500 h 4429225"/>
                    <a:gd name="connsiteX88" fmla="*/ 1449727 w 4519987"/>
                    <a:gd name="connsiteY88" fmla="*/ 161925 h 4429225"/>
                    <a:gd name="connsiteX89" fmla="*/ 1525927 w 4519987"/>
                    <a:gd name="connsiteY89" fmla="*/ 152400 h 4429225"/>
                    <a:gd name="connsiteX90" fmla="*/ 1583077 w 4519987"/>
                    <a:gd name="connsiteY90" fmla="*/ 142875 h 4429225"/>
                    <a:gd name="connsiteX91" fmla="*/ 1716427 w 4519987"/>
                    <a:gd name="connsiteY91" fmla="*/ 123825 h 4429225"/>
                    <a:gd name="connsiteX92" fmla="*/ 1811677 w 4519987"/>
                    <a:gd name="connsiteY92" fmla="*/ 114300 h 4429225"/>
                    <a:gd name="connsiteX93" fmla="*/ 1859302 w 4519987"/>
                    <a:gd name="connsiteY93" fmla="*/ 104775 h 4429225"/>
                    <a:gd name="connsiteX94" fmla="*/ 1916452 w 4519987"/>
                    <a:gd name="connsiteY94" fmla="*/ 95250 h 4429225"/>
                    <a:gd name="connsiteX95" fmla="*/ 2030752 w 4519987"/>
                    <a:gd name="connsiteY95" fmla="*/ 66675 h 4429225"/>
                    <a:gd name="connsiteX96" fmla="*/ 2097427 w 4519987"/>
                    <a:gd name="connsiteY96" fmla="*/ 47625 h 4429225"/>
                    <a:gd name="connsiteX97" fmla="*/ 2164102 w 4519987"/>
                    <a:gd name="connsiteY97" fmla="*/ 38100 h 4429225"/>
                    <a:gd name="connsiteX98" fmla="*/ 2392702 w 4519987"/>
                    <a:gd name="connsiteY9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30502 w 4519987"/>
                    <a:gd name="connsiteY57" fmla="*/ 2514600 h 4429225"/>
                    <a:gd name="connsiteX58" fmla="*/ 11452 w 4519987"/>
                    <a:gd name="connsiteY58" fmla="*/ 2400300 h 4429225"/>
                    <a:gd name="connsiteX59" fmla="*/ 20977 w 4519987"/>
                    <a:gd name="connsiteY59" fmla="*/ 1905000 h 4429225"/>
                    <a:gd name="connsiteX60" fmla="*/ 30502 w 4519987"/>
                    <a:gd name="connsiteY60" fmla="*/ 1838325 h 4429225"/>
                    <a:gd name="connsiteX61" fmla="*/ 49552 w 4519987"/>
                    <a:gd name="connsiteY61" fmla="*/ 1781175 h 4429225"/>
                    <a:gd name="connsiteX62" fmla="*/ 59077 w 4519987"/>
                    <a:gd name="connsiteY62" fmla="*/ 1743075 h 4429225"/>
                    <a:gd name="connsiteX63" fmla="*/ 78127 w 4519987"/>
                    <a:gd name="connsiteY63" fmla="*/ 1685925 h 4429225"/>
                    <a:gd name="connsiteX64" fmla="*/ 87652 w 4519987"/>
                    <a:gd name="connsiteY64" fmla="*/ 1638300 h 4429225"/>
                    <a:gd name="connsiteX65" fmla="*/ 106702 w 4519987"/>
                    <a:gd name="connsiteY65" fmla="*/ 1590675 h 4429225"/>
                    <a:gd name="connsiteX66" fmla="*/ 135277 w 4519987"/>
                    <a:gd name="connsiteY66" fmla="*/ 1504950 h 4429225"/>
                    <a:gd name="connsiteX67" fmla="*/ 154327 w 4519987"/>
                    <a:gd name="connsiteY67" fmla="*/ 1419225 h 4429225"/>
                    <a:gd name="connsiteX68" fmla="*/ 230527 w 4519987"/>
                    <a:gd name="connsiteY68" fmla="*/ 1276350 h 4429225"/>
                    <a:gd name="connsiteX69" fmla="*/ 240052 w 4519987"/>
                    <a:gd name="connsiteY69" fmla="*/ 1247775 h 4429225"/>
                    <a:gd name="connsiteX70" fmla="*/ 268627 w 4519987"/>
                    <a:gd name="connsiteY70" fmla="*/ 1200150 h 4429225"/>
                    <a:gd name="connsiteX71" fmla="*/ 287677 w 4519987"/>
                    <a:gd name="connsiteY71" fmla="*/ 1152525 h 4429225"/>
                    <a:gd name="connsiteX72" fmla="*/ 316252 w 4519987"/>
                    <a:gd name="connsiteY72" fmla="*/ 1114425 h 4429225"/>
                    <a:gd name="connsiteX73" fmla="*/ 363877 w 4519987"/>
                    <a:gd name="connsiteY73" fmla="*/ 1038225 h 4429225"/>
                    <a:gd name="connsiteX74" fmla="*/ 382927 w 4519987"/>
                    <a:gd name="connsiteY74" fmla="*/ 1009650 h 4429225"/>
                    <a:gd name="connsiteX75" fmla="*/ 440077 w 4519987"/>
                    <a:gd name="connsiteY75" fmla="*/ 904875 h 4429225"/>
                    <a:gd name="connsiteX76" fmla="*/ 478177 w 4519987"/>
                    <a:gd name="connsiteY76" fmla="*/ 857250 h 4429225"/>
                    <a:gd name="connsiteX77" fmla="*/ 497227 w 4519987"/>
                    <a:gd name="connsiteY77" fmla="*/ 828675 h 4429225"/>
                    <a:gd name="connsiteX78" fmla="*/ 535327 w 4519987"/>
                    <a:gd name="connsiteY78" fmla="*/ 800100 h 4429225"/>
                    <a:gd name="connsiteX79" fmla="*/ 602002 w 4519987"/>
                    <a:gd name="connsiteY79" fmla="*/ 733425 h 4429225"/>
                    <a:gd name="connsiteX80" fmla="*/ 668677 w 4519987"/>
                    <a:gd name="connsiteY80" fmla="*/ 676275 h 4429225"/>
                    <a:gd name="connsiteX81" fmla="*/ 697252 w 4519987"/>
                    <a:gd name="connsiteY81" fmla="*/ 657225 h 4429225"/>
                    <a:gd name="connsiteX82" fmla="*/ 840127 w 4519987"/>
                    <a:gd name="connsiteY82" fmla="*/ 533400 h 4429225"/>
                    <a:gd name="connsiteX83" fmla="*/ 887752 w 4519987"/>
                    <a:gd name="connsiteY83" fmla="*/ 504825 h 4429225"/>
                    <a:gd name="connsiteX84" fmla="*/ 1167152 w 4519987"/>
                    <a:gd name="connsiteY84" fmla="*/ 311150 h 4429225"/>
                    <a:gd name="connsiteX85" fmla="*/ 1268752 w 4519987"/>
                    <a:gd name="connsiteY85" fmla="*/ 285750 h 4429225"/>
                    <a:gd name="connsiteX86" fmla="*/ 1411627 w 4519987"/>
                    <a:gd name="connsiteY86" fmla="*/ 190500 h 4429225"/>
                    <a:gd name="connsiteX87" fmla="*/ 1449727 w 4519987"/>
                    <a:gd name="connsiteY87" fmla="*/ 161925 h 4429225"/>
                    <a:gd name="connsiteX88" fmla="*/ 1525927 w 4519987"/>
                    <a:gd name="connsiteY88" fmla="*/ 152400 h 4429225"/>
                    <a:gd name="connsiteX89" fmla="*/ 1583077 w 4519987"/>
                    <a:gd name="connsiteY89" fmla="*/ 142875 h 4429225"/>
                    <a:gd name="connsiteX90" fmla="*/ 1716427 w 4519987"/>
                    <a:gd name="connsiteY90" fmla="*/ 123825 h 4429225"/>
                    <a:gd name="connsiteX91" fmla="*/ 1811677 w 4519987"/>
                    <a:gd name="connsiteY91" fmla="*/ 114300 h 4429225"/>
                    <a:gd name="connsiteX92" fmla="*/ 1859302 w 4519987"/>
                    <a:gd name="connsiteY92" fmla="*/ 104775 h 4429225"/>
                    <a:gd name="connsiteX93" fmla="*/ 1916452 w 4519987"/>
                    <a:gd name="connsiteY93" fmla="*/ 95250 h 4429225"/>
                    <a:gd name="connsiteX94" fmla="*/ 2030752 w 4519987"/>
                    <a:gd name="connsiteY94" fmla="*/ 66675 h 4429225"/>
                    <a:gd name="connsiteX95" fmla="*/ 2097427 w 4519987"/>
                    <a:gd name="connsiteY95" fmla="*/ 47625 h 4429225"/>
                    <a:gd name="connsiteX96" fmla="*/ 2164102 w 4519987"/>
                    <a:gd name="connsiteY96" fmla="*/ 38100 h 4429225"/>
                    <a:gd name="connsiteX97" fmla="*/ 2392702 w 4519987"/>
                    <a:gd name="connsiteY9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11452 w 4519987"/>
                    <a:gd name="connsiteY57" fmla="*/ 2400300 h 4429225"/>
                    <a:gd name="connsiteX58" fmla="*/ 20977 w 4519987"/>
                    <a:gd name="connsiteY58" fmla="*/ 1905000 h 4429225"/>
                    <a:gd name="connsiteX59" fmla="*/ 30502 w 4519987"/>
                    <a:gd name="connsiteY59" fmla="*/ 1838325 h 4429225"/>
                    <a:gd name="connsiteX60" fmla="*/ 49552 w 4519987"/>
                    <a:gd name="connsiteY60" fmla="*/ 1781175 h 4429225"/>
                    <a:gd name="connsiteX61" fmla="*/ 59077 w 4519987"/>
                    <a:gd name="connsiteY61" fmla="*/ 1743075 h 4429225"/>
                    <a:gd name="connsiteX62" fmla="*/ 78127 w 4519987"/>
                    <a:gd name="connsiteY62" fmla="*/ 1685925 h 4429225"/>
                    <a:gd name="connsiteX63" fmla="*/ 87652 w 4519987"/>
                    <a:gd name="connsiteY63" fmla="*/ 1638300 h 4429225"/>
                    <a:gd name="connsiteX64" fmla="*/ 106702 w 4519987"/>
                    <a:gd name="connsiteY64" fmla="*/ 1590675 h 4429225"/>
                    <a:gd name="connsiteX65" fmla="*/ 135277 w 4519987"/>
                    <a:gd name="connsiteY65" fmla="*/ 1504950 h 4429225"/>
                    <a:gd name="connsiteX66" fmla="*/ 154327 w 4519987"/>
                    <a:gd name="connsiteY66" fmla="*/ 1419225 h 4429225"/>
                    <a:gd name="connsiteX67" fmla="*/ 230527 w 4519987"/>
                    <a:gd name="connsiteY67" fmla="*/ 1276350 h 4429225"/>
                    <a:gd name="connsiteX68" fmla="*/ 240052 w 4519987"/>
                    <a:gd name="connsiteY68" fmla="*/ 1247775 h 4429225"/>
                    <a:gd name="connsiteX69" fmla="*/ 268627 w 4519987"/>
                    <a:gd name="connsiteY69" fmla="*/ 1200150 h 4429225"/>
                    <a:gd name="connsiteX70" fmla="*/ 287677 w 4519987"/>
                    <a:gd name="connsiteY70" fmla="*/ 1152525 h 4429225"/>
                    <a:gd name="connsiteX71" fmla="*/ 316252 w 4519987"/>
                    <a:gd name="connsiteY71" fmla="*/ 1114425 h 4429225"/>
                    <a:gd name="connsiteX72" fmla="*/ 363877 w 4519987"/>
                    <a:gd name="connsiteY72" fmla="*/ 1038225 h 4429225"/>
                    <a:gd name="connsiteX73" fmla="*/ 382927 w 4519987"/>
                    <a:gd name="connsiteY73" fmla="*/ 1009650 h 4429225"/>
                    <a:gd name="connsiteX74" fmla="*/ 440077 w 4519987"/>
                    <a:gd name="connsiteY74" fmla="*/ 904875 h 4429225"/>
                    <a:gd name="connsiteX75" fmla="*/ 478177 w 4519987"/>
                    <a:gd name="connsiteY75" fmla="*/ 857250 h 4429225"/>
                    <a:gd name="connsiteX76" fmla="*/ 497227 w 4519987"/>
                    <a:gd name="connsiteY76" fmla="*/ 828675 h 4429225"/>
                    <a:gd name="connsiteX77" fmla="*/ 535327 w 4519987"/>
                    <a:gd name="connsiteY77" fmla="*/ 800100 h 4429225"/>
                    <a:gd name="connsiteX78" fmla="*/ 602002 w 4519987"/>
                    <a:gd name="connsiteY78" fmla="*/ 733425 h 4429225"/>
                    <a:gd name="connsiteX79" fmla="*/ 668677 w 4519987"/>
                    <a:gd name="connsiteY79" fmla="*/ 676275 h 4429225"/>
                    <a:gd name="connsiteX80" fmla="*/ 697252 w 4519987"/>
                    <a:gd name="connsiteY80" fmla="*/ 657225 h 4429225"/>
                    <a:gd name="connsiteX81" fmla="*/ 840127 w 4519987"/>
                    <a:gd name="connsiteY81" fmla="*/ 533400 h 4429225"/>
                    <a:gd name="connsiteX82" fmla="*/ 887752 w 4519987"/>
                    <a:gd name="connsiteY82" fmla="*/ 504825 h 4429225"/>
                    <a:gd name="connsiteX83" fmla="*/ 1167152 w 4519987"/>
                    <a:gd name="connsiteY83" fmla="*/ 311150 h 4429225"/>
                    <a:gd name="connsiteX84" fmla="*/ 1268752 w 4519987"/>
                    <a:gd name="connsiteY84" fmla="*/ 285750 h 4429225"/>
                    <a:gd name="connsiteX85" fmla="*/ 1411627 w 4519987"/>
                    <a:gd name="connsiteY85" fmla="*/ 190500 h 4429225"/>
                    <a:gd name="connsiteX86" fmla="*/ 1449727 w 4519987"/>
                    <a:gd name="connsiteY86" fmla="*/ 161925 h 4429225"/>
                    <a:gd name="connsiteX87" fmla="*/ 1525927 w 4519987"/>
                    <a:gd name="connsiteY87" fmla="*/ 152400 h 4429225"/>
                    <a:gd name="connsiteX88" fmla="*/ 1583077 w 4519987"/>
                    <a:gd name="connsiteY88" fmla="*/ 142875 h 4429225"/>
                    <a:gd name="connsiteX89" fmla="*/ 1716427 w 4519987"/>
                    <a:gd name="connsiteY89" fmla="*/ 123825 h 4429225"/>
                    <a:gd name="connsiteX90" fmla="*/ 1811677 w 4519987"/>
                    <a:gd name="connsiteY90" fmla="*/ 114300 h 4429225"/>
                    <a:gd name="connsiteX91" fmla="*/ 1859302 w 4519987"/>
                    <a:gd name="connsiteY91" fmla="*/ 104775 h 4429225"/>
                    <a:gd name="connsiteX92" fmla="*/ 1916452 w 4519987"/>
                    <a:gd name="connsiteY92" fmla="*/ 95250 h 4429225"/>
                    <a:gd name="connsiteX93" fmla="*/ 2030752 w 4519987"/>
                    <a:gd name="connsiteY93" fmla="*/ 66675 h 4429225"/>
                    <a:gd name="connsiteX94" fmla="*/ 2097427 w 4519987"/>
                    <a:gd name="connsiteY94" fmla="*/ 47625 h 4429225"/>
                    <a:gd name="connsiteX95" fmla="*/ 2164102 w 4519987"/>
                    <a:gd name="connsiteY95" fmla="*/ 38100 h 4429225"/>
                    <a:gd name="connsiteX96" fmla="*/ 2392702 w 4519987"/>
                    <a:gd name="connsiteY9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11452 w 4519987"/>
                    <a:gd name="connsiteY56" fmla="*/ 2400300 h 4429225"/>
                    <a:gd name="connsiteX57" fmla="*/ 20977 w 4519987"/>
                    <a:gd name="connsiteY57" fmla="*/ 1905000 h 4429225"/>
                    <a:gd name="connsiteX58" fmla="*/ 30502 w 4519987"/>
                    <a:gd name="connsiteY58" fmla="*/ 1838325 h 4429225"/>
                    <a:gd name="connsiteX59" fmla="*/ 49552 w 4519987"/>
                    <a:gd name="connsiteY59" fmla="*/ 1781175 h 4429225"/>
                    <a:gd name="connsiteX60" fmla="*/ 59077 w 4519987"/>
                    <a:gd name="connsiteY60" fmla="*/ 1743075 h 4429225"/>
                    <a:gd name="connsiteX61" fmla="*/ 78127 w 4519987"/>
                    <a:gd name="connsiteY61" fmla="*/ 1685925 h 4429225"/>
                    <a:gd name="connsiteX62" fmla="*/ 87652 w 4519987"/>
                    <a:gd name="connsiteY62" fmla="*/ 1638300 h 4429225"/>
                    <a:gd name="connsiteX63" fmla="*/ 106702 w 4519987"/>
                    <a:gd name="connsiteY63" fmla="*/ 1590675 h 4429225"/>
                    <a:gd name="connsiteX64" fmla="*/ 135277 w 4519987"/>
                    <a:gd name="connsiteY64" fmla="*/ 1504950 h 4429225"/>
                    <a:gd name="connsiteX65" fmla="*/ 154327 w 4519987"/>
                    <a:gd name="connsiteY65" fmla="*/ 1419225 h 4429225"/>
                    <a:gd name="connsiteX66" fmla="*/ 230527 w 4519987"/>
                    <a:gd name="connsiteY66" fmla="*/ 1276350 h 4429225"/>
                    <a:gd name="connsiteX67" fmla="*/ 240052 w 4519987"/>
                    <a:gd name="connsiteY67" fmla="*/ 1247775 h 4429225"/>
                    <a:gd name="connsiteX68" fmla="*/ 268627 w 4519987"/>
                    <a:gd name="connsiteY68" fmla="*/ 1200150 h 4429225"/>
                    <a:gd name="connsiteX69" fmla="*/ 287677 w 4519987"/>
                    <a:gd name="connsiteY69" fmla="*/ 1152525 h 4429225"/>
                    <a:gd name="connsiteX70" fmla="*/ 316252 w 4519987"/>
                    <a:gd name="connsiteY70" fmla="*/ 1114425 h 4429225"/>
                    <a:gd name="connsiteX71" fmla="*/ 363877 w 4519987"/>
                    <a:gd name="connsiteY71" fmla="*/ 1038225 h 4429225"/>
                    <a:gd name="connsiteX72" fmla="*/ 382927 w 4519987"/>
                    <a:gd name="connsiteY72" fmla="*/ 1009650 h 4429225"/>
                    <a:gd name="connsiteX73" fmla="*/ 440077 w 4519987"/>
                    <a:gd name="connsiteY73" fmla="*/ 904875 h 4429225"/>
                    <a:gd name="connsiteX74" fmla="*/ 478177 w 4519987"/>
                    <a:gd name="connsiteY74" fmla="*/ 857250 h 4429225"/>
                    <a:gd name="connsiteX75" fmla="*/ 497227 w 4519987"/>
                    <a:gd name="connsiteY75" fmla="*/ 828675 h 4429225"/>
                    <a:gd name="connsiteX76" fmla="*/ 535327 w 4519987"/>
                    <a:gd name="connsiteY76" fmla="*/ 800100 h 4429225"/>
                    <a:gd name="connsiteX77" fmla="*/ 602002 w 4519987"/>
                    <a:gd name="connsiteY77" fmla="*/ 733425 h 4429225"/>
                    <a:gd name="connsiteX78" fmla="*/ 668677 w 4519987"/>
                    <a:gd name="connsiteY78" fmla="*/ 676275 h 4429225"/>
                    <a:gd name="connsiteX79" fmla="*/ 697252 w 4519987"/>
                    <a:gd name="connsiteY79" fmla="*/ 657225 h 4429225"/>
                    <a:gd name="connsiteX80" fmla="*/ 840127 w 4519987"/>
                    <a:gd name="connsiteY80" fmla="*/ 533400 h 4429225"/>
                    <a:gd name="connsiteX81" fmla="*/ 887752 w 4519987"/>
                    <a:gd name="connsiteY81" fmla="*/ 504825 h 4429225"/>
                    <a:gd name="connsiteX82" fmla="*/ 1167152 w 4519987"/>
                    <a:gd name="connsiteY82" fmla="*/ 311150 h 4429225"/>
                    <a:gd name="connsiteX83" fmla="*/ 1268752 w 4519987"/>
                    <a:gd name="connsiteY83" fmla="*/ 285750 h 4429225"/>
                    <a:gd name="connsiteX84" fmla="*/ 1411627 w 4519987"/>
                    <a:gd name="connsiteY84" fmla="*/ 190500 h 4429225"/>
                    <a:gd name="connsiteX85" fmla="*/ 1449727 w 4519987"/>
                    <a:gd name="connsiteY85" fmla="*/ 161925 h 4429225"/>
                    <a:gd name="connsiteX86" fmla="*/ 1525927 w 4519987"/>
                    <a:gd name="connsiteY86" fmla="*/ 152400 h 4429225"/>
                    <a:gd name="connsiteX87" fmla="*/ 1583077 w 4519987"/>
                    <a:gd name="connsiteY87" fmla="*/ 142875 h 4429225"/>
                    <a:gd name="connsiteX88" fmla="*/ 1716427 w 4519987"/>
                    <a:gd name="connsiteY88" fmla="*/ 123825 h 4429225"/>
                    <a:gd name="connsiteX89" fmla="*/ 1811677 w 4519987"/>
                    <a:gd name="connsiteY89" fmla="*/ 114300 h 4429225"/>
                    <a:gd name="connsiteX90" fmla="*/ 1859302 w 4519987"/>
                    <a:gd name="connsiteY90" fmla="*/ 104775 h 4429225"/>
                    <a:gd name="connsiteX91" fmla="*/ 1916452 w 4519987"/>
                    <a:gd name="connsiteY91" fmla="*/ 95250 h 4429225"/>
                    <a:gd name="connsiteX92" fmla="*/ 2030752 w 4519987"/>
                    <a:gd name="connsiteY92" fmla="*/ 66675 h 4429225"/>
                    <a:gd name="connsiteX93" fmla="*/ 2097427 w 4519987"/>
                    <a:gd name="connsiteY93" fmla="*/ 47625 h 4429225"/>
                    <a:gd name="connsiteX94" fmla="*/ 2164102 w 4519987"/>
                    <a:gd name="connsiteY94" fmla="*/ 38100 h 4429225"/>
                    <a:gd name="connsiteX95" fmla="*/ 2392702 w 4519987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49994 w 4501379"/>
                    <a:gd name="connsiteY55" fmla="*/ 2724150 h 4429225"/>
                    <a:gd name="connsiteX56" fmla="*/ 56344 w 4501379"/>
                    <a:gd name="connsiteY56" fmla="*/ 2368550 h 4429225"/>
                    <a:gd name="connsiteX57" fmla="*/ 2369 w 4501379"/>
                    <a:gd name="connsiteY57" fmla="*/ 1905000 h 4429225"/>
                    <a:gd name="connsiteX58" fmla="*/ 11894 w 4501379"/>
                    <a:gd name="connsiteY58" fmla="*/ 1838325 h 4429225"/>
                    <a:gd name="connsiteX59" fmla="*/ 30944 w 4501379"/>
                    <a:gd name="connsiteY59" fmla="*/ 1781175 h 4429225"/>
                    <a:gd name="connsiteX60" fmla="*/ 40469 w 4501379"/>
                    <a:gd name="connsiteY60" fmla="*/ 1743075 h 4429225"/>
                    <a:gd name="connsiteX61" fmla="*/ 59519 w 4501379"/>
                    <a:gd name="connsiteY61" fmla="*/ 1685925 h 4429225"/>
                    <a:gd name="connsiteX62" fmla="*/ 69044 w 4501379"/>
                    <a:gd name="connsiteY62" fmla="*/ 1638300 h 4429225"/>
                    <a:gd name="connsiteX63" fmla="*/ 88094 w 4501379"/>
                    <a:gd name="connsiteY63" fmla="*/ 1590675 h 4429225"/>
                    <a:gd name="connsiteX64" fmla="*/ 116669 w 4501379"/>
                    <a:gd name="connsiteY64" fmla="*/ 1504950 h 4429225"/>
                    <a:gd name="connsiteX65" fmla="*/ 135719 w 4501379"/>
                    <a:gd name="connsiteY65" fmla="*/ 1419225 h 4429225"/>
                    <a:gd name="connsiteX66" fmla="*/ 211919 w 4501379"/>
                    <a:gd name="connsiteY66" fmla="*/ 1276350 h 4429225"/>
                    <a:gd name="connsiteX67" fmla="*/ 221444 w 4501379"/>
                    <a:gd name="connsiteY67" fmla="*/ 1247775 h 4429225"/>
                    <a:gd name="connsiteX68" fmla="*/ 250019 w 4501379"/>
                    <a:gd name="connsiteY68" fmla="*/ 1200150 h 4429225"/>
                    <a:gd name="connsiteX69" fmla="*/ 269069 w 4501379"/>
                    <a:gd name="connsiteY69" fmla="*/ 1152525 h 4429225"/>
                    <a:gd name="connsiteX70" fmla="*/ 297644 w 4501379"/>
                    <a:gd name="connsiteY70" fmla="*/ 1114425 h 4429225"/>
                    <a:gd name="connsiteX71" fmla="*/ 345269 w 4501379"/>
                    <a:gd name="connsiteY71" fmla="*/ 1038225 h 4429225"/>
                    <a:gd name="connsiteX72" fmla="*/ 364319 w 4501379"/>
                    <a:gd name="connsiteY72" fmla="*/ 1009650 h 4429225"/>
                    <a:gd name="connsiteX73" fmla="*/ 421469 w 4501379"/>
                    <a:gd name="connsiteY73" fmla="*/ 904875 h 4429225"/>
                    <a:gd name="connsiteX74" fmla="*/ 459569 w 4501379"/>
                    <a:gd name="connsiteY74" fmla="*/ 857250 h 4429225"/>
                    <a:gd name="connsiteX75" fmla="*/ 478619 w 4501379"/>
                    <a:gd name="connsiteY75" fmla="*/ 828675 h 4429225"/>
                    <a:gd name="connsiteX76" fmla="*/ 516719 w 4501379"/>
                    <a:gd name="connsiteY76" fmla="*/ 800100 h 4429225"/>
                    <a:gd name="connsiteX77" fmla="*/ 583394 w 4501379"/>
                    <a:gd name="connsiteY77" fmla="*/ 733425 h 4429225"/>
                    <a:gd name="connsiteX78" fmla="*/ 650069 w 4501379"/>
                    <a:gd name="connsiteY78" fmla="*/ 676275 h 4429225"/>
                    <a:gd name="connsiteX79" fmla="*/ 678644 w 4501379"/>
                    <a:gd name="connsiteY79" fmla="*/ 657225 h 4429225"/>
                    <a:gd name="connsiteX80" fmla="*/ 821519 w 4501379"/>
                    <a:gd name="connsiteY80" fmla="*/ 533400 h 4429225"/>
                    <a:gd name="connsiteX81" fmla="*/ 869144 w 4501379"/>
                    <a:gd name="connsiteY81" fmla="*/ 504825 h 4429225"/>
                    <a:gd name="connsiteX82" fmla="*/ 1148544 w 4501379"/>
                    <a:gd name="connsiteY82" fmla="*/ 311150 h 4429225"/>
                    <a:gd name="connsiteX83" fmla="*/ 1250144 w 4501379"/>
                    <a:gd name="connsiteY83" fmla="*/ 285750 h 4429225"/>
                    <a:gd name="connsiteX84" fmla="*/ 1393019 w 4501379"/>
                    <a:gd name="connsiteY84" fmla="*/ 190500 h 4429225"/>
                    <a:gd name="connsiteX85" fmla="*/ 1431119 w 4501379"/>
                    <a:gd name="connsiteY85" fmla="*/ 161925 h 4429225"/>
                    <a:gd name="connsiteX86" fmla="*/ 1507319 w 4501379"/>
                    <a:gd name="connsiteY86" fmla="*/ 152400 h 4429225"/>
                    <a:gd name="connsiteX87" fmla="*/ 1564469 w 4501379"/>
                    <a:gd name="connsiteY87" fmla="*/ 142875 h 4429225"/>
                    <a:gd name="connsiteX88" fmla="*/ 1697819 w 4501379"/>
                    <a:gd name="connsiteY88" fmla="*/ 123825 h 4429225"/>
                    <a:gd name="connsiteX89" fmla="*/ 1793069 w 4501379"/>
                    <a:gd name="connsiteY89" fmla="*/ 114300 h 4429225"/>
                    <a:gd name="connsiteX90" fmla="*/ 1840694 w 4501379"/>
                    <a:gd name="connsiteY90" fmla="*/ 104775 h 4429225"/>
                    <a:gd name="connsiteX91" fmla="*/ 1897844 w 4501379"/>
                    <a:gd name="connsiteY91" fmla="*/ 95250 h 4429225"/>
                    <a:gd name="connsiteX92" fmla="*/ 2012144 w 4501379"/>
                    <a:gd name="connsiteY92" fmla="*/ 66675 h 4429225"/>
                    <a:gd name="connsiteX93" fmla="*/ 2078819 w 4501379"/>
                    <a:gd name="connsiteY93" fmla="*/ 47625 h 4429225"/>
                    <a:gd name="connsiteX94" fmla="*/ 2145494 w 4501379"/>
                    <a:gd name="connsiteY94" fmla="*/ 38100 h 4429225"/>
                    <a:gd name="connsiteX95" fmla="*/ 2374094 w 4501379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56344 w 4501379"/>
                    <a:gd name="connsiteY55" fmla="*/ 2368550 h 4429225"/>
                    <a:gd name="connsiteX56" fmla="*/ 2369 w 4501379"/>
                    <a:gd name="connsiteY56" fmla="*/ 1905000 h 4429225"/>
                    <a:gd name="connsiteX57" fmla="*/ 11894 w 4501379"/>
                    <a:gd name="connsiteY57" fmla="*/ 1838325 h 4429225"/>
                    <a:gd name="connsiteX58" fmla="*/ 30944 w 4501379"/>
                    <a:gd name="connsiteY58" fmla="*/ 1781175 h 4429225"/>
                    <a:gd name="connsiteX59" fmla="*/ 40469 w 4501379"/>
                    <a:gd name="connsiteY59" fmla="*/ 1743075 h 4429225"/>
                    <a:gd name="connsiteX60" fmla="*/ 59519 w 4501379"/>
                    <a:gd name="connsiteY60" fmla="*/ 1685925 h 4429225"/>
                    <a:gd name="connsiteX61" fmla="*/ 69044 w 4501379"/>
                    <a:gd name="connsiteY61" fmla="*/ 1638300 h 4429225"/>
                    <a:gd name="connsiteX62" fmla="*/ 88094 w 4501379"/>
                    <a:gd name="connsiteY62" fmla="*/ 1590675 h 4429225"/>
                    <a:gd name="connsiteX63" fmla="*/ 116669 w 4501379"/>
                    <a:gd name="connsiteY63" fmla="*/ 1504950 h 4429225"/>
                    <a:gd name="connsiteX64" fmla="*/ 135719 w 4501379"/>
                    <a:gd name="connsiteY64" fmla="*/ 1419225 h 4429225"/>
                    <a:gd name="connsiteX65" fmla="*/ 211919 w 4501379"/>
                    <a:gd name="connsiteY65" fmla="*/ 1276350 h 4429225"/>
                    <a:gd name="connsiteX66" fmla="*/ 221444 w 4501379"/>
                    <a:gd name="connsiteY66" fmla="*/ 1247775 h 4429225"/>
                    <a:gd name="connsiteX67" fmla="*/ 250019 w 4501379"/>
                    <a:gd name="connsiteY67" fmla="*/ 1200150 h 4429225"/>
                    <a:gd name="connsiteX68" fmla="*/ 269069 w 4501379"/>
                    <a:gd name="connsiteY68" fmla="*/ 1152525 h 4429225"/>
                    <a:gd name="connsiteX69" fmla="*/ 297644 w 4501379"/>
                    <a:gd name="connsiteY69" fmla="*/ 1114425 h 4429225"/>
                    <a:gd name="connsiteX70" fmla="*/ 345269 w 4501379"/>
                    <a:gd name="connsiteY70" fmla="*/ 1038225 h 4429225"/>
                    <a:gd name="connsiteX71" fmla="*/ 364319 w 4501379"/>
                    <a:gd name="connsiteY71" fmla="*/ 1009650 h 4429225"/>
                    <a:gd name="connsiteX72" fmla="*/ 421469 w 4501379"/>
                    <a:gd name="connsiteY72" fmla="*/ 904875 h 4429225"/>
                    <a:gd name="connsiteX73" fmla="*/ 459569 w 4501379"/>
                    <a:gd name="connsiteY73" fmla="*/ 857250 h 4429225"/>
                    <a:gd name="connsiteX74" fmla="*/ 478619 w 4501379"/>
                    <a:gd name="connsiteY74" fmla="*/ 828675 h 4429225"/>
                    <a:gd name="connsiteX75" fmla="*/ 516719 w 4501379"/>
                    <a:gd name="connsiteY75" fmla="*/ 800100 h 4429225"/>
                    <a:gd name="connsiteX76" fmla="*/ 583394 w 4501379"/>
                    <a:gd name="connsiteY76" fmla="*/ 733425 h 4429225"/>
                    <a:gd name="connsiteX77" fmla="*/ 650069 w 4501379"/>
                    <a:gd name="connsiteY77" fmla="*/ 676275 h 4429225"/>
                    <a:gd name="connsiteX78" fmla="*/ 678644 w 4501379"/>
                    <a:gd name="connsiteY78" fmla="*/ 657225 h 4429225"/>
                    <a:gd name="connsiteX79" fmla="*/ 821519 w 4501379"/>
                    <a:gd name="connsiteY79" fmla="*/ 533400 h 4429225"/>
                    <a:gd name="connsiteX80" fmla="*/ 869144 w 4501379"/>
                    <a:gd name="connsiteY80" fmla="*/ 504825 h 4429225"/>
                    <a:gd name="connsiteX81" fmla="*/ 1148544 w 4501379"/>
                    <a:gd name="connsiteY81" fmla="*/ 311150 h 4429225"/>
                    <a:gd name="connsiteX82" fmla="*/ 1250144 w 4501379"/>
                    <a:gd name="connsiteY82" fmla="*/ 285750 h 4429225"/>
                    <a:gd name="connsiteX83" fmla="*/ 1393019 w 4501379"/>
                    <a:gd name="connsiteY83" fmla="*/ 190500 h 4429225"/>
                    <a:gd name="connsiteX84" fmla="*/ 1431119 w 4501379"/>
                    <a:gd name="connsiteY84" fmla="*/ 161925 h 4429225"/>
                    <a:gd name="connsiteX85" fmla="*/ 1507319 w 4501379"/>
                    <a:gd name="connsiteY85" fmla="*/ 152400 h 4429225"/>
                    <a:gd name="connsiteX86" fmla="*/ 1564469 w 4501379"/>
                    <a:gd name="connsiteY86" fmla="*/ 142875 h 4429225"/>
                    <a:gd name="connsiteX87" fmla="*/ 1697819 w 4501379"/>
                    <a:gd name="connsiteY87" fmla="*/ 123825 h 4429225"/>
                    <a:gd name="connsiteX88" fmla="*/ 1793069 w 4501379"/>
                    <a:gd name="connsiteY88" fmla="*/ 114300 h 4429225"/>
                    <a:gd name="connsiteX89" fmla="*/ 1840694 w 4501379"/>
                    <a:gd name="connsiteY89" fmla="*/ 104775 h 4429225"/>
                    <a:gd name="connsiteX90" fmla="*/ 1897844 w 4501379"/>
                    <a:gd name="connsiteY90" fmla="*/ 95250 h 4429225"/>
                    <a:gd name="connsiteX91" fmla="*/ 2012144 w 4501379"/>
                    <a:gd name="connsiteY91" fmla="*/ 66675 h 4429225"/>
                    <a:gd name="connsiteX92" fmla="*/ 2078819 w 4501379"/>
                    <a:gd name="connsiteY92" fmla="*/ 47625 h 4429225"/>
                    <a:gd name="connsiteX93" fmla="*/ 2145494 w 4501379"/>
                    <a:gd name="connsiteY93" fmla="*/ 38100 h 4429225"/>
                    <a:gd name="connsiteX94" fmla="*/ 2374094 w 4501379"/>
                    <a:gd name="connsiteY94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26194 w 4501379"/>
                    <a:gd name="connsiteY53" fmla="*/ 292417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6869 w 4501379"/>
                    <a:gd name="connsiteY51" fmla="*/ 34702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313644 w 4501379"/>
                    <a:gd name="connsiteY46" fmla="*/ 42164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91" fmla="*/ 2374094 w 4501379"/>
                    <a:gd name="connsiteY91" fmla="*/ 28575 h 4429294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0" fmla="*/ 2278844 w 4501379"/>
                    <a:gd name="connsiteY0" fmla="*/ 0 h 4429294"/>
                    <a:gd name="connsiteX1" fmla="*/ 2478869 w 4501379"/>
                    <a:gd name="connsiteY1" fmla="*/ 47625 h 4429294"/>
                    <a:gd name="connsiteX2" fmla="*/ 2736044 w 4501379"/>
                    <a:gd name="connsiteY2" fmla="*/ 66675 h 4429294"/>
                    <a:gd name="connsiteX3" fmla="*/ 2812244 w 4501379"/>
                    <a:gd name="connsiteY3" fmla="*/ 76200 h 4429294"/>
                    <a:gd name="connsiteX4" fmla="*/ 2897969 w 4501379"/>
                    <a:gd name="connsiteY4" fmla="*/ 85725 h 4429294"/>
                    <a:gd name="connsiteX5" fmla="*/ 2955119 w 4501379"/>
                    <a:gd name="connsiteY5" fmla="*/ 114300 h 4429294"/>
                    <a:gd name="connsiteX6" fmla="*/ 2993219 w 4501379"/>
                    <a:gd name="connsiteY6" fmla="*/ 123825 h 4429294"/>
                    <a:gd name="connsiteX7" fmla="*/ 3117044 w 4501379"/>
                    <a:gd name="connsiteY7" fmla="*/ 171450 h 4429294"/>
                    <a:gd name="connsiteX8" fmla="*/ 3155144 w 4501379"/>
                    <a:gd name="connsiteY8" fmla="*/ 190500 h 4429294"/>
                    <a:gd name="connsiteX9" fmla="*/ 3221819 w 4501379"/>
                    <a:gd name="connsiteY9" fmla="*/ 228600 h 4429294"/>
                    <a:gd name="connsiteX10" fmla="*/ 3250394 w 4501379"/>
                    <a:gd name="connsiteY10" fmla="*/ 238125 h 4429294"/>
                    <a:gd name="connsiteX11" fmla="*/ 3278969 w 4501379"/>
                    <a:gd name="connsiteY11" fmla="*/ 257175 h 4429294"/>
                    <a:gd name="connsiteX12" fmla="*/ 3307544 w 4501379"/>
                    <a:gd name="connsiteY12" fmla="*/ 266700 h 4429294"/>
                    <a:gd name="connsiteX13" fmla="*/ 3336119 w 4501379"/>
                    <a:gd name="connsiteY13" fmla="*/ 285750 h 4429294"/>
                    <a:gd name="connsiteX14" fmla="*/ 3402794 w 4501379"/>
                    <a:gd name="connsiteY14" fmla="*/ 323850 h 4429294"/>
                    <a:gd name="connsiteX15" fmla="*/ 3450419 w 4501379"/>
                    <a:gd name="connsiteY15" fmla="*/ 361950 h 4429294"/>
                    <a:gd name="connsiteX16" fmla="*/ 3498044 w 4501379"/>
                    <a:gd name="connsiteY16" fmla="*/ 390525 h 4429294"/>
                    <a:gd name="connsiteX17" fmla="*/ 3612344 w 4501379"/>
                    <a:gd name="connsiteY17" fmla="*/ 485775 h 4429294"/>
                    <a:gd name="connsiteX18" fmla="*/ 3726644 w 4501379"/>
                    <a:gd name="connsiteY18" fmla="*/ 542925 h 4429294"/>
                    <a:gd name="connsiteX19" fmla="*/ 3793319 w 4501379"/>
                    <a:gd name="connsiteY19" fmla="*/ 581025 h 4429294"/>
                    <a:gd name="connsiteX20" fmla="*/ 4009219 w 4501379"/>
                    <a:gd name="connsiteY20" fmla="*/ 819150 h 4429294"/>
                    <a:gd name="connsiteX21" fmla="*/ 4145744 w 4501379"/>
                    <a:gd name="connsiteY21" fmla="*/ 990600 h 4429294"/>
                    <a:gd name="connsiteX22" fmla="*/ 4231469 w 4501379"/>
                    <a:gd name="connsiteY22" fmla="*/ 1143000 h 4429294"/>
                    <a:gd name="connsiteX23" fmla="*/ 4288619 w 4501379"/>
                    <a:gd name="connsiteY23" fmla="*/ 1266825 h 4429294"/>
                    <a:gd name="connsiteX24" fmla="*/ 4326719 w 4501379"/>
                    <a:gd name="connsiteY24" fmla="*/ 1362075 h 4429294"/>
                    <a:gd name="connsiteX25" fmla="*/ 4374344 w 4501379"/>
                    <a:gd name="connsiteY25" fmla="*/ 1552575 h 4429294"/>
                    <a:gd name="connsiteX26" fmla="*/ 4412444 w 4501379"/>
                    <a:gd name="connsiteY26" fmla="*/ 1685925 h 4429294"/>
                    <a:gd name="connsiteX27" fmla="*/ 4501344 w 4501379"/>
                    <a:gd name="connsiteY27" fmla="*/ 2181225 h 4429294"/>
                    <a:gd name="connsiteX28" fmla="*/ 4428319 w 4501379"/>
                    <a:gd name="connsiteY28" fmla="*/ 2768600 h 4429294"/>
                    <a:gd name="connsiteX29" fmla="*/ 4364819 w 4501379"/>
                    <a:gd name="connsiteY29" fmla="*/ 2990850 h 4429294"/>
                    <a:gd name="connsiteX30" fmla="*/ 4260044 w 4501379"/>
                    <a:gd name="connsiteY30" fmla="*/ 3248025 h 4429294"/>
                    <a:gd name="connsiteX31" fmla="*/ 4164794 w 4501379"/>
                    <a:gd name="connsiteY31" fmla="*/ 3400425 h 4429294"/>
                    <a:gd name="connsiteX32" fmla="*/ 4040969 w 4501379"/>
                    <a:gd name="connsiteY32" fmla="*/ 3533775 h 4429294"/>
                    <a:gd name="connsiteX33" fmla="*/ 3936194 w 4501379"/>
                    <a:gd name="connsiteY33" fmla="*/ 3648075 h 4429294"/>
                    <a:gd name="connsiteX34" fmla="*/ 3640919 w 4501379"/>
                    <a:gd name="connsiteY34" fmla="*/ 3971925 h 4429294"/>
                    <a:gd name="connsiteX35" fmla="*/ 3498044 w 4501379"/>
                    <a:gd name="connsiteY35" fmla="*/ 4083050 h 4429294"/>
                    <a:gd name="connsiteX36" fmla="*/ 3202769 w 4501379"/>
                    <a:gd name="connsiteY36" fmla="*/ 4222750 h 4429294"/>
                    <a:gd name="connsiteX37" fmla="*/ 3050369 w 4501379"/>
                    <a:gd name="connsiteY37" fmla="*/ 4286250 h 4429294"/>
                    <a:gd name="connsiteX38" fmla="*/ 2917019 w 4501379"/>
                    <a:gd name="connsiteY38" fmla="*/ 4333875 h 4429294"/>
                    <a:gd name="connsiteX39" fmla="*/ 2793194 w 4501379"/>
                    <a:gd name="connsiteY39" fmla="*/ 4371975 h 4429294"/>
                    <a:gd name="connsiteX40" fmla="*/ 2561419 w 4501379"/>
                    <a:gd name="connsiteY40" fmla="*/ 4391025 h 4429294"/>
                    <a:gd name="connsiteX41" fmla="*/ 2107394 w 4501379"/>
                    <a:gd name="connsiteY41" fmla="*/ 4429125 h 4429294"/>
                    <a:gd name="connsiteX42" fmla="*/ 1916894 w 4501379"/>
                    <a:gd name="connsiteY42" fmla="*/ 4400550 h 4429294"/>
                    <a:gd name="connsiteX43" fmla="*/ 1554944 w 4501379"/>
                    <a:gd name="connsiteY43" fmla="*/ 4305300 h 4429294"/>
                    <a:gd name="connsiteX44" fmla="*/ 1313644 w 4501379"/>
                    <a:gd name="connsiteY44" fmla="*/ 4216400 h 4429294"/>
                    <a:gd name="connsiteX45" fmla="*/ 1145369 w 4501379"/>
                    <a:gd name="connsiteY45" fmla="*/ 4111625 h 4429294"/>
                    <a:gd name="connsiteX46" fmla="*/ 926294 w 4501379"/>
                    <a:gd name="connsiteY46" fmla="*/ 3968750 h 4429294"/>
                    <a:gd name="connsiteX47" fmla="*/ 592919 w 4501379"/>
                    <a:gd name="connsiteY47" fmla="*/ 3657600 h 4429294"/>
                    <a:gd name="connsiteX48" fmla="*/ 446869 w 4501379"/>
                    <a:gd name="connsiteY48" fmla="*/ 3470275 h 4429294"/>
                    <a:gd name="connsiteX49" fmla="*/ 316694 w 4501379"/>
                    <a:gd name="connsiteY49" fmla="*/ 3244850 h 4429294"/>
                    <a:gd name="connsiteX50" fmla="*/ 164294 w 4501379"/>
                    <a:gd name="connsiteY50" fmla="*/ 2892425 h 4429294"/>
                    <a:gd name="connsiteX51" fmla="*/ 56344 w 4501379"/>
                    <a:gd name="connsiteY51" fmla="*/ 2368550 h 4429294"/>
                    <a:gd name="connsiteX52" fmla="*/ 2369 w 4501379"/>
                    <a:gd name="connsiteY52" fmla="*/ 1905000 h 4429294"/>
                    <a:gd name="connsiteX53" fmla="*/ 11894 w 4501379"/>
                    <a:gd name="connsiteY53" fmla="*/ 1838325 h 4429294"/>
                    <a:gd name="connsiteX54" fmla="*/ 30944 w 4501379"/>
                    <a:gd name="connsiteY54" fmla="*/ 1781175 h 4429294"/>
                    <a:gd name="connsiteX55" fmla="*/ 40469 w 4501379"/>
                    <a:gd name="connsiteY55" fmla="*/ 1743075 h 4429294"/>
                    <a:gd name="connsiteX56" fmla="*/ 59519 w 4501379"/>
                    <a:gd name="connsiteY56" fmla="*/ 1685925 h 4429294"/>
                    <a:gd name="connsiteX57" fmla="*/ 69044 w 4501379"/>
                    <a:gd name="connsiteY57" fmla="*/ 1638300 h 4429294"/>
                    <a:gd name="connsiteX58" fmla="*/ 88094 w 4501379"/>
                    <a:gd name="connsiteY58" fmla="*/ 1590675 h 4429294"/>
                    <a:gd name="connsiteX59" fmla="*/ 116669 w 4501379"/>
                    <a:gd name="connsiteY59" fmla="*/ 1504950 h 4429294"/>
                    <a:gd name="connsiteX60" fmla="*/ 135719 w 4501379"/>
                    <a:gd name="connsiteY60" fmla="*/ 1419225 h 4429294"/>
                    <a:gd name="connsiteX61" fmla="*/ 211919 w 4501379"/>
                    <a:gd name="connsiteY61" fmla="*/ 1276350 h 4429294"/>
                    <a:gd name="connsiteX62" fmla="*/ 221444 w 4501379"/>
                    <a:gd name="connsiteY62" fmla="*/ 1247775 h 4429294"/>
                    <a:gd name="connsiteX63" fmla="*/ 250019 w 4501379"/>
                    <a:gd name="connsiteY63" fmla="*/ 1200150 h 4429294"/>
                    <a:gd name="connsiteX64" fmla="*/ 269069 w 4501379"/>
                    <a:gd name="connsiteY64" fmla="*/ 1152525 h 4429294"/>
                    <a:gd name="connsiteX65" fmla="*/ 297644 w 4501379"/>
                    <a:gd name="connsiteY65" fmla="*/ 1114425 h 4429294"/>
                    <a:gd name="connsiteX66" fmla="*/ 345269 w 4501379"/>
                    <a:gd name="connsiteY66" fmla="*/ 1038225 h 4429294"/>
                    <a:gd name="connsiteX67" fmla="*/ 364319 w 4501379"/>
                    <a:gd name="connsiteY67" fmla="*/ 1009650 h 4429294"/>
                    <a:gd name="connsiteX68" fmla="*/ 421469 w 4501379"/>
                    <a:gd name="connsiteY68" fmla="*/ 904875 h 4429294"/>
                    <a:gd name="connsiteX69" fmla="*/ 459569 w 4501379"/>
                    <a:gd name="connsiteY69" fmla="*/ 857250 h 4429294"/>
                    <a:gd name="connsiteX70" fmla="*/ 478619 w 4501379"/>
                    <a:gd name="connsiteY70" fmla="*/ 828675 h 4429294"/>
                    <a:gd name="connsiteX71" fmla="*/ 516719 w 4501379"/>
                    <a:gd name="connsiteY71" fmla="*/ 800100 h 4429294"/>
                    <a:gd name="connsiteX72" fmla="*/ 583394 w 4501379"/>
                    <a:gd name="connsiteY72" fmla="*/ 733425 h 4429294"/>
                    <a:gd name="connsiteX73" fmla="*/ 650069 w 4501379"/>
                    <a:gd name="connsiteY73" fmla="*/ 676275 h 4429294"/>
                    <a:gd name="connsiteX74" fmla="*/ 678644 w 4501379"/>
                    <a:gd name="connsiteY74" fmla="*/ 657225 h 4429294"/>
                    <a:gd name="connsiteX75" fmla="*/ 821519 w 4501379"/>
                    <a:gd name="connsiteY75" fmla="*/ 533400 h 4429294"/>
                    <a:gd name="connsiteX76" fmla="*/ 869144 w 4501379"/>
                    <a:gd name="connsiteY76" fmla="*/ 504825 h 4429294"/>
                    <a:gd name="connsiteX77" fmla="*/ 1148544 w 4501379"/>
                    <a:gd name="connsiteY77" fmla="*/ 311150 h 4429294"/>
                    <a:gd name="connsiteX78" fmla="*/ 1250144 w 4501379"/>
                    <a:gd name="connsiteY78" fmla="*/ 285750 h 4429294"/>
                    <a:gd name="connsiteX79" fmla="*/ 1393019 w 4501379"/>
                    <a:gd name="connsiteY79" fmla="*/ 190500 h 4429294"/>
                    <a:gd name="connsiteX80" fmla="*/ 1431119 w 4501379"/>
                    <a:gd name="connsiteY80" fmla="*/ 161925 h 4429294"/>
                    <a:gd name="connsiteX81" fmla="*/ 1507319 w 4501379"/>
                    <a:gd name="connsiteY81" fmla="*/ 152400 h 4429294"/>
                    <a:gd name="connsiteX82" fmla="*/ 1564469 w 4501379"/>
                    <a:gd name="connsiteY82" fmla="*/ 142875 h 4429294"/>
                    <a:gd name="connsiteX83" fmla="*/ 1697819 w 4501379"/>
                    <a:gd name="connsiteY83" fmla="*/ 123825 h 4429294"/>
                    <a:gd name="connsiteX84" fmla="*/ 1793069 w 4501379"/>
                    <a:gd name="connsiteY84" fmla="*/ 114300 h 4429294"/>
                    <a:gd name="connsiteX85" fmla="*/ 1840694 w 4501379"/>
                    <a:gd name="connsiteY85" fmla="*/ 104775 h 4429294"/>
                    <a:gd name="connsiteX86" fmla="*/ 1897844 w 4501379"/>
                    <a:gd name="connsiteY86" fmla="*/ 95250 h 4429294"/>
                    <a:gd name="connsiteX87" fmla="*/ 2012144 w 4501379"/>
                    <a:gd name="connsiteY87" fmla="*/ 66675 h 4429294"/>
                    <a:gd name="connsiteX88" fmla="*/ 2078819 w 4501379"/>
                    <a:gd name="connsiteY88" fmla="*/ 47625 h 4429294"/>
                    <a:gd name="connsiteX89" fmla="*/ 2145494 w 4501379"/>
                    <a:gd name="connsiteY89" fmla="*/ 38100 h 4429294"/>
                    <a:gd name="connsiteX0" fmla="*/ 2278844 w 4501379"/>
                    <a:gd name="connsiteY0" fmla="*/ 0 h 4429294"/>
                    <a:gd name="connsiteX1" fmla="*/ 2736044 w 4501379"/>
                    <a:gd name="connsiteY1" fmla="*/ 666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2993219 w 4501379"/>
                    <a:gd name="connsiteY4" fmla="*/ 123825 h 4429294"/>
                    <a:gd name="connsiteX5" fmla="*/ 3117044 w 4501379"/>
                    <a:gd name="connsiteY5" fmla="*/ 171450 h 4429294"/>
                    <a:gd name="connsiteX6" fmla="*/ 3155144 w 4501379"/>
                    <a:gd name="connsiteY6" fmla="*/ 190500 h 4429294"/>
                    <a:gd name="connsiteX7" fmla="*/ 3221819 w 4501379"/>
                    <a:gd name="connsiteY7" fmla="*/ 228600 h 4429294"/>
                    <a:gd name="connsiteX8" fmla="*/ 3250394 w 4501379"/>
                    <a:gd name="connsiteY8" fmla="*/ 238125 h 4429294"/>
                    <a:gd name="connsiteX9" fmla="*/ 3278969 w 4501379"/>
                    <a:gd name="connsiteY9" fmla="*/ 257175 h 4429294"/>
                    <a:gd name="connsiteX10" fmla="*/ 3307544 w 4501379"/>
                    <a:gd name="connsiteY10" fmla="*/ 266700 h 4429294"/>
                    <a:gd name="connsiteX11" fmla="*/ 3336119 w 4501379"/>
                    <a:gd name="connsiteY11" fmla="*/ 285750 h 4429294"/>
                    <a:gd name="connsiteX12" fmla="*/ 3402794 w 4501379"/>
                    <a:gd name="connsiteY12" fmla="*/ 323850 h 4429294"/>
                    <a:gd name="connsiteX13" fmla="*/ 3450419 w 4501379"/>
                    <a:gd name="connsiteY13" fmla="*/ 361950 h 4429294"/>
                    <a:gd name="connsiteX14" fmla="*/ 3498044 w 4501379"/>
                    <a:gd name="connsiteY14" fmla="*/ 390525 h 4429294"/>
                    <a:gd name="connsiteX15" fmla="*/ 3612344 w 4501379"/>
                    <a:gd name="connsiteY15" fmla="*/ 485775 h 4429294"/>
                    <a:gd name="connsiteX16" fmla="*/ 3726644 w 4501379"/>
                    <a:gd name="connsiteY16" fmla="*/ 542925 h 4429294"/>
                    <a:gd name="connsiteX17" fmla="*/ 3793319 w 4501379"/>
                    <a:gd name="connsiteY17" fmla="*/ 581025 h 4429294"/>
                    <a:gd name="connsiteX18" fmla="*/ 4009219 w 4501379"/>
                    <a:gd name="connsiteY18" fmla="*/ 819150 h 4429294"/>
                    <a:gd name="connsiteX19" fmla="*/ 4145744 w 4501379"/>
                    <a:gd name="connsiteY19" fmla="*/ 990600 h 4429294"/>
                    <a:gd name="connsiteX20" fmla="*/ 4231469 w 4501379"/>
                    <a:gd name="connsiteY20" fmla="*/ 1143000 h 4429294"/>
                    <a:gd name="connsiteX21" fmla="*/ 4288619 w 4501379"/>
                    <a:gd name="connsiteY21" fmla="*/ 1266825 h 4429294"/>
                    <a:gd name="connsiteX22" fmla="*/ 4326719 w 4501379"/>
                    <a:gd name="connsiteY22" fmla="*/ 1362075 h 4429294"/>
                    <a:gd name="connsiteX23" fmla="*/ 4374344 w 4501379"/>
                    <a:gd name="connsiteY23" fmla="*/ 1552575 h 4429294"/>
                    <a:gd name="connsiteX24" fmla="*/ 4412444 w 4501379"/>
                    <a:gd name="connsiteY24" fmla="*/ 1685925 h 4429294"/>
                    <a:gd name="connsiteX25" fmla="*/ 4501344 w 4501379"/>
                    <a:gd name="connsiteY25" fmla="*/ 2181225 h 4429294"/>
                    <a:gd name="connsiteX26" fmla="*/ 4428319 w 4501379"/>
                    <a:gd name="connsiteY26" fmla="*/ 2768600 h 4429294"/>
                    <a:gd name="connsiteX27" fmla="*/ 4364819 w 4501379"/>
                    <a:gd name="connsiteY27" fmla="*/ 2990850 h 4429294"/>
                    <a:gd name="connsiteX28" fmla="*/ 4260044 w 4501379"/>
                    <a:gd name="connsiteY28" fmla="*/ 3248025 h 4429294"/>
                    <a:gd name="connsiteX29" fmla="*/ 4164794 w 4501379"/>
                    <a:gd name="connsiteY29" fmla="*/ 3400425 h 4429294"/>
                    <a:gd name="connsiteX30" fmla="*/ 4040969 w 4501379"/>
                    <a:gd name="connsiteY30" fmla="*/ 3533775 h 4429294"/>
                    <a:gd name="connsiteX31" fmla="*/ 3936194 w 4501379"/>
                    <a:gd name="connsiteY31" fmla="*/ 3648075 h 4429294"/>
                    <a:gd name="connsiteX32" fmla="*/ 3640919 w 4501379"/>
                    <a:gd name="connsiteY32" fmla="*/ 3971925 h 4429294"/>
                    <a:gd name="connsiteX33" fmla="*/ 3498044 w 4501379"/>
                    <a:gd name="connsiteY33" fmla="*/ 4083050 h 4429294"/>
                    <a:gd name="connsiteX34" fmla="*/ 3202769 w 4501379"/>
                    <a:gd name="connsiteY34" fmla="*/ 4222750 h 4429294"/>
                    <a:gd name="connsiteX35" fmla="*/ 3050369 w 4501379"/>
                    <a:gd name="connsiteY35" fmla="*/ 4286250 h 4429294"/>
                    <a:gd name="connsiteX36" fmla="*/ 2917019 w 4501379"/>
                    <a:gd name="connsiteY36" fmla="*/ 4333875 h 4429294"/>
                    <a:gd name="connsiteX37" fmla="*/ 2793194 w 4501379"/>
                    <a:gd name="connsiteY37" fmla="*/ 4371975 h 4429294"/>
                    <a:gd name="connsiteX38" fmla="*/ 2561419 w 4501379"/>
                    <a:gd name="connsiteY38" fmla="*/ 4391025 h 4429294"/>
                    <a:gd name="connsiteX39" fmla="*/ 2107394 w 4501379"/>
                    <a:gd name="connsiteY39" fmla="*/ 4429125 h 4429294"/>
                    <a:gd name="connsiteX40" fmla="*/ 1916894 w 4501379"/>
                    <a:gd name="connsiteY40" fmla="*/ 4400550 h 4429294"/>
                    <a:gd name="connsiteX41" fmla="*/ 1554944 w 4501379"/>
                    <a:gd name="connsiteY41" fmla="*/ 4305300 h 4429294"/>
                    <a:gd name="connsiteX42" fmla="*/ 1313644 w 4501379"/>
                    <a:gd name="connsiteY42" fmla="*/ 4216400 h 4429294"/>
                    <a:gd name="connsiteX43" fmla="*/ 1145369 w 4501379"/>
                    <a:gd name="connsiteY43" fmla="*/ 4111625 h 4429294"/>
                    <a:gd name="connsiteX44" fmla="*/ 926294 w 4501379"/>
                    <a:gd name="connsiteY44" fmla="*/ 3968750 h 4429294"/>
                    <a:gd name="connsiteX45" fmla="*/ 592919 w 4501379"/>
                    <a:gd name="connsiteY45" fmla="*/ 3657600 h 4429294"/>
                    <a:gd name="connsiteX46" fmla="*/ 446869 w 4501379"/>
                    <a:gd name="connsiteY46" fmla="*/ 3470275 h 4429294"/>
                    <a:gd name="connsiteX47" fmla="*/ 316694 w 4501379"/>
                    <a:gd name="connsiteY47" fmla="*/ 3244850 h 4429294"/>
                    <a:gd name="connsiteX48" fmla="*/ 164294 w 4501379"/>
                    <a:gd name="connsiteY48" fmla="*/ 2892425 h 4429294"/>
                    <a:gd name="connsiteX49" fmla="*/ 56344 w 4501379"/>
                    <a:gd name="connsiteY49" fmla="*/ 2368550 h 4429294"/>
                    <a:gd name="connsiteX50" fmla="*/ 2369 w 4501379"/>
                    <a:gd name="connsiteY50" fmla="*/ 1905000 h 4429294"/>
                    <a:gd name="connsiteX51" fmla="*/ 11894 w 4501379"/>
                    <a:gd name="connsiteY51" fmla="*/ 1838325 h 4429294"/>
                    <a:gd name="connsiteX52" fmla="*/ 30944 w 4501379"/>
                    <a:gd name="connsiteY52" fmla="*/ 1781175 h 4429294"/>
                    <a:gd name="connsiteX53" fmla="*/ 40469 w 4501379"/>
                    <a:gd name="connsiteY53" fmla="*/ 1743075 h 4429294"/>
                    <a:gd name="connsiteX54" fmla="*/ 59519 w 4501379"/>
                    <a:gd name="connsiteY54" fmla="*/ 1685925 h 4429294"/>
                    <a:gd name="connsiteX55" fmla="*/ 69044 w 4501379"/>
                    <a:gd name="connsiteY55" fmla="*/ 1638300 h 4429294"/>
                    <a:gd name="connsiteX56" fmla="*/ 88094 w 4501379"/>
                    <a:gd name="connsiteY56" fmla="*/ 1590675 h 4429294"/>
                    <a:gd name="connsiteX57" fmla="*/ 116669 w 4501379"/>
                    <a:gd name="connsiteY57" fmla="*/ 1504950 h 4429294"/>
                    <a:gd name="connsiteX58" fmla="*/ 135719 w 4501379"/>
                    <a:gd name="connsiteY58" fmla="*/ 1419225 h 4429294"/>
                    <a:gd name="connsiteX59" fmla="*/ 211919 w 4501379"/>
                    <a:gd name="connsiteY59" fmla="*/ 1276350 h 4429294"/>
                    <a:gd name="connsiteX60" fmla="*/ 221444 w 4501379"/>
                    <a:gd name="connsiteY60" fmla="*/ 1247775 h 4429294"/>
                    <a:gd name="connsiteX61" fmla="*/ 250019 w 4501379"/>
                    <a:gd name="connsiteY61" fmla="*/ 1200150 h 4429294"/>
                    <a:gd name="connsiteX62" fmla="*/ 269069 w 4501379"/>
                    <a:gd name="connsiteY62" fmla="*/ 1152525 h 4429294"/>
                    <a:gd name="connsiteX63" fmla="*/ 297644 w 4501379"/>
                    <a:gd name="connsiteY63" fmla="*/ 1114425 h 4429294"/>
                    <a:gd name="connsiteX64" fmla="*/ 345269 w 4501379"/>
                    <a:gd name="connsiteY64" fmla="*/ 1038225 h 4429294"/>
                    <a:gd name="connsiteX65" fmla="*/ 364319 w 4501379"/>
                    <a:gd name="connsiteY65" fmla="*/ 1009650 h 4429294"/>
                    <a:gd name="connsiteX66" fmla="*/ 421469 w 4501379"/>
                    <a:gd name="connsiteY66" fmla="*/ 904875 h 4429294"/>
                    <a:gd name="connsiteX67" fmla="*/ 459569 w 4501379"/>
                    <a:gd name="connsiteY67" fmla="*/ 857250 h 4429294"/>
                    <a:gd name="connsiteX68" fmla="*/ 478619 w 4501379"/>
                    <a:gd name="connsiteY68" fmla="*/ 828675 h 4429294"/>
                    <a:gd name="connsiteX69" fmla="*/ 516719 w 4501379"/>
                    <a:gd name="connsiteY69" fmla="*/ 800100 h 4429294"/>
                    <a:gd name="connsiteX70" fmla="*/ 583394 w 4501379"/>
                    <a:gd name="connsiteY70" fmla="*/ 733425 h 4429294"/>
                    <a:gd name="connsiteX71" fmla="*/ 650069 w 4501379"/>
                    <a:gd name="connsiteY71" fmla="*/ 676275 h 4429294"/>
                    <a:gd name="connsiteX72" fmla="*/ 678644 w 4501379"/>
                    <a:gd name="connsiteY72" fmla="*/ 657225 h 4429294"/>
                    <a:gd name="connsiteX73" fmla="*/ 821519 w 4501379"/>
                    <a:gd name="connsiteY73" fmla="*/ 533400 h 4429294"/>
                    <a:gd name="connsiteX74" fmla="*/ 869144 w 4501379"/>
                    <a:gd name="connsiteY74" fmla="*/ 504825 h 4429294"/>
                    <a:gd name="connsiteX75" fmla="*/ 1148544 w 4501379"/>
                    <a:gd name="connsiteY75" fmla="*/ 311150 h 4429294"/>
                    <a:gd name="connsiteX76" fmla="*/ 1250144 w 4501379"/>
                    <a:gd name="connsiteY76" fmla="*/ 285750 h 4429294"/>
                    <a:gd name="connsiteX77" fmla="*/ 1393019 w 4501379"/>
                    <a:gd name="connsiteY77" fmla="*/ 190500 h 4429294"/>
                    <a:gd name="connsiteX78" fmla="*/ 1431119 w 4501379"/>
                    <a:gd name="connsiteY78" fmla="*/ 161925 h 4429294"/>
                    <a:gd name="connsiteX79" fmla="*/ 1507319 w 4501379"/>
                    <a:gd name="connsiteY79" fmla="*/ 152400 h 4429294"/>
                    <a:gd name="connsiteX80" fmla="*/ 1564469 w 4501379"/>
                    <a:gd name="connsiteY80" fmla="*/ 142875 h 4429294"/>
                    <a:gd name="connsiteX81" fmla="*/ 1697819 w 4501379"/>
                    <a:gd name="connsiteY81" fmla="*/ 123825 h 4429294"/>
                    <a:gd name="connsiteX82" fmla="*/ 1793069 w 4501379"/>
                    <a:gd name="connsiteY82" fmla="*/ 114300 h 4429294"/>
                    <a:gd name="connsiteX83" fmla="*/ 1840694 w 4501379"/>
                    <a:gd name="connsiteY83" fmla="*/ 104775 h 4429294"/>
                    <a:gd name="connsiteX84" fmla="*/ 1897844 w 4501379"/>
                    <a:gd name="connsiteY84" fmla="*/ 95250 h 4429294"/>
                    <a:gd name="connsiteX85" fmla="*/ 2012144 w 4501379"/>
                    <a:gd name="connsiteY85" fmla="*/ 66675 h 4429294"/>
                    <a:gd name="connsiteX86" fmla="*/ 2078819 w 4501379"/>
                    <a:gd name="connsiteY86" fmla="*/ 47625 h 4429294"/>
                    <a:gd name="connsiteX87" fmla="*/ 2145494 w 4501379"/>
                    <a:gd name="connsiteY8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3117044 w 4501379"/>
                    <a:gd name="connsiteY4" fmla="*/ 171450 h 4429294"/>
                    <a:gd name="connsiteX5" fmla="*/ 3155144 w 4501379"/>
                    <a:gd name="connsiteY5" fmla="*/ 190500 h 4429294"/>
                    <a:gd name="connsiteX6" fmla="*/ 3221819 w 4501379"/>
                    <a:gd name="connsiteY6" fmla="*/ 228600 h 4429294"/>
                    <a:gd name="connsiteX7" fmla="*/ 3250394 w 4501379"/>
                    <a:gd name="connsiteY7" fmla="*/ 238125 h 4429294"/>
                    <a:gd name="connsiteX8" fmla="*/ 3278969 w 4501379"/>
                    <a:gd name="connsiteY8" fmla="*/ 257175 h 4429294"/>
                    <a:gd name="connsiteX9" fmla="*/ 3307544 w 4501379"/>
                    <a:gd name="connsiteY9" fmla="*/ 266700 h 4429294"/>
                    <a:gd name="connsiteX10" fmla="*/ 3336119 w 4501379"/>
                    <a:gd name="connsiteY10" fmla="*/ 285750 h 4429294"/>
                    <a:gd name="connsiteX11" fmla="*/ 3402794 w 4501379"/>
                    <a:gd name="connsiteY11" fmla="*/ 323850 h 4429294"/>
                    <a:gd name="connsiteX12" fmla="*/ 3450419 w 4501379"/>
                    <a:gd name="connsiteY12" fmla="*/ 361950 h 4429294"/>
                    <a:gd name="connsiteX13" fmla="*/ 3498044 w 4501379"/>
                    <a:gd name="connsiteY13" fmla="*/ 390525 h 4429294"/>
                    <a:gd name="connsiteX14" fmla="*/ 3612344 w 4501379"/>
                    <a:gd name="connsiteY14" fmla="*/ 485775 h 4429294"/>
                    <a:gd name="connsiteX15" fmla="*/ 3726644 w 4501379"/>
                    <a:gd name="connsiteY15" fmla="*/ 542925 h 4429294"/>
                    <a:gd name="connsiteX16" fmla="*/ 3793319 w 4501379"/>
                    <a:gd name="connsiteY16" fmla="*/ 581025 h 4429294"/>
                    <a:gd name="connsiteX17" fmla="*/ 4009219 w 4501379"/>
                    <a:gd name="connsiteY17" fmla="*/ 819150 h 4429294"/>
                    <a:gd name="connsiteX18" fmla="*/ 4145744 w 4501379"/>
                    <a:gd name="connsiteY18" fmla="*/ 990600 h 4429294"/>
                    <a:gd name="connsiteX19" fmla="*/ 4231469 w 4501379"/>
                    <a:gd name="connsiteY19" fmla="*/ 1143000 h 4429294"/>
                    <a:gd name="connsiteX20" fmla="*/ 4288619 w 4501379"/>
                    <a:gd name="connsiteY20" fmla="*/ 1266825 h 4429294"/>
                    <a:gd name="connsiteX21" fmla="*/ 4326719 w 4501379"/>
                    <a:gd name="connsiteY21" fmla="*/ 1362075 h 4429294"/>
                    <a:gd name="connsiteX22" fmla="*/ 4374344 w 4501379"/>
                    <a:gd name="connsiteY22" fmla="*/ 1552575 h 4429294"/>
                    <a:gd name="connsiteX23" fmla="*/ 4412444 w 4501379"/>
                    <a:gd name="connsiteY23" fmla="*/ 1685925 h 4429294"/>
                    <a:gd name="connsiteX24" fmla="*/ 4501344 w 4501379"/>
                    <a:gd name="connsiteY24" fmla="*/ 2181225 h 4429294"/>
                    <a:gd name="connsiteX25" fmla="*/ 4428319 w 4501379"/>
                    <a:gd name="connsiteY25" fmla="*/ 2768600 h 4429294"/>
                    <a:gd name="connsiteX26" fmla="*/ 4364819 w 4501379"/>
                    <a:gd name="connsiteY26" fmla="*/ 2990850 h 4429294"/>
                    <a:gd name="connsiteX27" fmla="*/ 4260044 w 4501379"/>
                    <a:gd name="connsiteY27" fmla="*/ 3248025 h 4429294"/>
                    <a:gd name="connsiteX28" fmla="*/ 4164794 w 4501379"/>
                    <a:gd name="connsiteY28" fmla="*/ 3400425 h 4429294"/>
                    <a:gd name="connsiteX29" fmla="*/ 4040969 w 4501379"/>
                    <a:gd name="connsiteY29" fmla="*/ 3533775 h 4429294"/>
                    <a:gd name="connsiteX30" fmla="*/ 3936194 w 4501379"/>
                    <a:gd name="connsiteY30" fmla="*/ 3648075 h 4429294"/>
                    <a:gd name="connsiteX31" fmla="*/ 3640919 w 4501379"/>
                    <a:gd name="connsiteY31" fmla="*/ 3971925 h 4429294"/>
                    <a:gd name="connsiteX32" fmla="*/ 3498044 w 4501379"/>
                    <a:gd name="connsiteY32" fmla="*/ 4083050 h 4429294"/>
                    <a:gd name="connsiteX33" fmla="*/ 3202769 w 4501379"/>
                    <a:gd name="connsiteY33" fmla="*/ 4222750 h 4429294"/>
                    <a:gd name="connsiteX34" fmla="*/ 3050369 w 4501379"/>
                    <a:gd name="connsiteY34" fmla="*/ 4286250 h 4429294"/>
                    <a:gd name="connsiteX35" fmla="*/ 2917019 w 4501379"/>
                    <a:gd name="connsiteY35" fmla="*/ 4333875 h 4429294"/>
                    <a:gd name="connsiteX36" fmla="*/ 2793194 w 4501379"/>
                    <a:gd name="connsiteY36" fmla="*/ 4371975 h 4429294"/>
                    <a:gd name="connsiteX37" fmla="*/ 2561419 w 4501379"/>
                    <a:gd name="connsiteY37" fmla="*/ 4391025 h 4429294"/>
                    <a:gd name="connsiteX38" fmla="*/ 2107394 w 4501379"/>
                    <a:gd name="connsiteY38" fmla="*/ 4429125 h 4429294"/>
                    <a:gd name="connsiteX39" fmla="*/ 1916894 w 4501379"/>
                    <a:gd name="connsiteY39" fmla="*/ 4400550 h 4429294"/>
                    <a:gd name="connsiteX40" fmla="*/ 1554944 w 4501379"/>
                    <a:gd name="connsiteY40" fmla="*/ 4305300 h 4429294"/>
                    <a:gd name="connsiteX41" fmla="*/ 1313644 w 4501379"/>
                    <a:gd name="connsiteY41" fmla="*/ 4216400 h 4429294"/>
                    <a:gd name="connsiteX42" fmla="*/ 1145369 w 4501379"/>
                    <a:gd name="connsiteY42" fmla="*/ 4111625 h 4429294"/>
                    <a:gd name="connsiteX43" fmla="*/ 926294 w 4501379"/>
                    <a:gd name="connsiteY43" fmla="*/ 3968750 h 4429294"/>
                    <a:gd name="connsiteX44" fmla="*/ 592919 w 4501379"/>
                    <a:gd name="connsiteY44" fmla="*/ 3657600 h 4429294"/>
                    <a:gd name="connsiteX45" fmla="*/ 446869 w 4501379"/>
                    <a:gd name="connsiteY45" fmla="*/ 3470275 h 4429294"/>
                    <a:gd name="connsiteX46" fmla="*/ 316694 w 4501379"/>
                    <a:gd name="connsiteY46" fmla="*/ 3244850 h 4429294"/>
                    <a:gd name="connsiteX47" fmla="*/ 164294 w 4501379"/>
                    <a:gd name="connsiteY47" fmla="*/ 2892425 h 4429294"/>
                    <a:gd name="connsiteX48" fmla="*/ 56344 w 4501379"/>
                    <a:gd name="connsiteY48" fmla="*/ 2368550 h 4429294"/>
                    <a:gd name="connsiteX49" fmla="*/ 2369 w 4501379"/>
                    <a:gd name="connsiteY49" fmla="*/ 1905000 h 4429294"/>
                    <a:gd name="connsiteX50" fmla="*/ 11894 w 4501379"/>
                    <a:gd name="connsiteY50" fmla="*/ 1838325 h 4429294"/>
                    <a:gd name="connsiteX51" fmla="*/ 30944 w 4501379"/>
                    <a:gd name="connsiteY51" fmla="*/ 1781175 h 4429294"/>
                    <a:gd name="connsiteX52" fmla="*/ 40469 w 4501379"/>
                    <a:gd name="connsiteY52" fmla="*/ 1743075 h 4429294"/>
                    <a:gd name="connsiteX53" fmla="*/ 59519 w 4501379"/>
                    <a:gd name="connsiteY53" fmla="*/ 1685925 h 4429294"/>
                    <a:gd name="connsiteX54" fmla="*/ 69044 w 4501379"/>
                    <a:gd name="connsiteY54" fmla="*/ 1638300 h 4429294"/>
                    <a:gd name="connsiteX55" fmla="*/ 88094 w 4501379"/>
                    <a:gd name="connsiteY55" fmla="*/ 1590675 h 4429294"/>
                    <a:gd name="connsiteX56" fmla="*/ 116669 w 4501379"/>
                    <a:gd name="connsiteY56" fmla="*/ 1504950 h 4429294"/>
                    <a:gd name="connsiteX57" fmla="*/ 135719 w 4501379"/>
                    <a:gd name="connsiteY57" fmla="*/ 1419225 h 4429294"/>
                    <a:gd name="connsiteX58" fmla="*/ 211919 w 4501379"/>
                    <a:gd name="connsiteY58" fmla="*/ 1276350 h 4429294"/>
                    <a:gd name="connsiteX59" fmla="*/ 221444 w 4501379"/>
                    <a:gd name="connsiteY59" fmla="*/ 1247775 h 4429294"/>
                    <a:gd name="connsiteX60" fmla="*/ 250019 w 4501379"/>
                    <a:gd name="connsiteY60" fmla="*/ 1200150 h 4429294"/>
                    <a:gd name="connsiteX61" fmla="*/ 269069 w 4501379"/>
                    <a:gd name="connsiteY61" fmla="*/ 1152525 h 4429294"/>
                    <a:gd name="connsiteX62" fmla="*/ 297644 w 4501379"/>
                    <a:gd name="connsiteY62" fmla="*/ 1114425 h 4429294"/>
                    <a:gd name="connsiteX63" fmla="*/ 345269 w 4501379"/>
                    <a:gd name="connsiteY63" fmla="*/ 1038225 h 4429294"/>
                    <a:gd name="connsiteX64" fmla="*/ 364319 w 4501379"/>
                    <a:gd name="connsiteY64" fmla="*/ 1009650 h 4429294"/>
                    <a:gd name="connsiteX65" fmla="*/ 421469 w 4501379"/>
                    <a:gd name="connsiteY65" fmla="*/ 904875 h 4429294"/>
                    <a:gd name="connsiteX66" fmla="*/ 459569 w 4501379"/>
                    <a:gd name="connsiteY66" fmla="*/ 857250 h 4429294"/>
                    <a:gd name="connsiteX67" fmla="*/ 478619 w 4501379"/>
                    <a:gd name="connsiteY67" fmla="*/ 828675 h 4429294"/>
                    <a:gd name="connsiteX68" fmla="*/ 516719 w 4501379"/>
                    <a:gd name="connsiteY68" fmla="*/ 800100 h 4429294"/>
                    <a:gd name="connsiteX69" fmla="*/ 583394 w 4501379"/>
                    <a:gd name="connsiteY69" fmla="*/ 733425 h 4429294"/>
                    <a:gd name="connsiteX70" fmla="*/ 650069 w 4501379"/>
                    <a:gd name="connsiteY70" fmla="*/ 676275 h 4429294"/>
                    <a:gd name="connsiteX71" fmla="*/ 678644 w 4501379"/>
                    <a:gd name="connsiteY71" fmla="*/ 657225 h 4429294"/>
                    <a:gd name="connsiteX72" fmla="*/ 821519 w 4501379"/>
                    <a:gd name="connsiteY72" fmla="*/ 533400 h 4429294"/>
                    <a:gd name="connsiteX73" fmla="*/ 869144 w 4501379"/>
                    <a:gd name="connsiteY73" fmla="*/ 504825 h 4429294"/>
                    <a:gd name="connsiteX74" fmla="*/ 1148544 w 4501379"/>
                    <a:gd name="connsiteY74" fmla="*/ 311150 h 4429294"/>
                    <a:gd name="connsiteX75" fmla="*/ 1250144 w 4501379"/>
                    <a:gd name="connsiteY75" fmla="*/ 285750 h 4429294"/>
                    <a:gd name="connsiteX76" fmla="*/ 1393019 w 4501379"/>
                    <a:gd name="connsiteY76" fmla="*/ 190500 h 4429294"/>
                    <a:gd name="connsiteX77" fmla="*/ 1431119 w 4501379"/>
                    <a:gd name="connsiteY77" fmla="*/ 161925 h 4429294"/>
                    <a:gd name="connsiteX78" fmla="*/ 1507319 w 4501379"/>
                    <a:gd name="connsiteY78" fmla="*/ 152400 h 4429294"/>
                    <a:gd name="connsiteX79" fmla="*/ 1564469 w 4501379"/>
                    <a:gd name="connsiteY79" fmla="*/ 142875 h 4429294"/>
                    <a:gd name="connsiteX80" fmla="*/ 1697819 w 4501379"/>
                    <a:gd name="connsiteY80" fmla="*/ 123825 h 4429294"/>
                    <a:gd name="connsiteX81" fmla="*/ 1793069 w 4501379"/>
                    <a:gd name="connsiteY81" fmla="*/ 114300 h 4429294"/>
                    <a:gd name="connsiteX82" fmla="*/ 1840694 w 4501379"/>
                    <a:gd name="connsiteY82" fmla="*/ 104775 h 4429294"/>
                    <a:gd name="connsiteX83" fmla="*/ 1897844 w 4501379"/>
                    <a:gd name="connsiteY83" fmla="*/ 95250 h 4429294"/>
                    <a:gd name="connsiteX84" fmla="*/ 2012144 w 4501379"/>
                    <a:gd name="connsiteY84" fmla="*/ 66675 h 4429294"/>
                    <a:gd name="connsiteX85" fmla="*/ 2078819 w 4501379"/>
                    <a:gd name="connsiteY85" fmla="*/ 47625 h 4429294"/>
                    <a:gd name="connsiteX86" fmla="*/ 2145494 w 4501379"/>
                    <a:gd name="connsiteY8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155144 w 4501379"/>
                    <a:gd name="connsiteY4" fmla="*/ 190500 h 4429294"/>
                    <a:gd name="connsiteX5" fmla="*/ 3221819 w 4501379"/>
                    <a:gd name="connsiteY5" fmla="*/ 228600 h 4429294"/>
                    <a:gd name="connsiteX6" fmla="*/ 3250394 w 4501379"/>
                    <a:gd name="connsiteY6" fmla="*/ 238125 h 4429294"/>
                    <a:gd name="connsiteX7" fmla="*/ 3278969 w 4501379"/>
                    <a:gd name="connsiteY7" fmla="*/ 257175 h 4429294"/>
                    <a:gd name="connsiteX8" fmla="*/ 3307544 w 4501379"/>
                    <a:gd name="connsiteY8" fmla="*/ 266700 h 4429294"/>
                    <a:gd name="connsiteX9" fmla="*/ 3336119 w 4501379"/>
                    <a:gd name="connsiteY9" fmla="*/ 285750 h 4429294"/>
                    <a:gd name="connsiteX10" fmla="*/ 3402794 w 4501379"/>
                    <a:gd name="connsiteY10" fmla="*/ 323850 h 4429294"/>
                    <a:gd name="connsiteX11" fmla="*/ 3450419 w 4501379"/>
                    <a:gd name="connsiteY11" fmla="*/ 361950 h 4429294"/>
                    <a:gd name="connsiteX12" fmla="*/ 3498044 w 4501379"/>
                    <a:gd name="connsiteY12" fmla="*/ 390525 h 4429294"/>
                    <a:gd name="connsiteX13" fmla="*/ 3612344 w 4501379"/>
                    <a:gd name="connsiteY13" fmla="*/ 485775 h 4429294"/>
                    <a:gd name="connsiteX14" fmla="*/ 3726644 w 4501379"/>
                    <a:gd name="connsiteY14" fmla="*/ 542925 h 4429294"/>
                    <a:gd name="connsiteX15" fmla="*/ 3793319 w 4501379"/>
                    <a:gd name="connsiteY15" fmla="*/ 581025 h 4429294"/>
                    <a:gd name="connsiteX16" fmla="*/ 4009219 w 4501379"/>
                    <a:gd name="connsiteY16" fmla="*/ 819150 h 4429294"/>
                    <a:gd name="connsiteX17" fmla="*/ 4145744 w 4501379"/>
                    <a:gd name="connsiteY17" fmla="*/ 990600 h 4429294"/>
                    <a:gd name="connsiteX18" fmla="*/ 4231469 w 4501379"/>
                    <a:gd name="connsiteY18" fmla="*/ 1143000 h 4429294"/>
                    <a:gd name="connsiteX19" fmla="*/ 4288619 w 4501379"/>
                    <a:gd name="connsiteY19" fmla="*/ 1266825 h 4429294"/>
                    <a:gd name="connsiteX20" fmla="*/ 4326719 w 4501379"/>
                    <a:gd name="connsiteY20" fmla="*/ 1362075 h 4429294"/>
                    <a:gd name="connsiteX21" fmla="*/ 4374344 w 4501379"/>
                    <a:gd name="connsiteY21" fmla="*/ 1552575 h 4429294"/>
                    <a:gd name="connsiteX22" fmla="*/ 4412444 w 4501379"/>
                    <a:gd name="connsiteY22" fmla="*/ 1685925 h 4429294"/>
                    <a:gd name="connsiteX23" fmla="*/ 4501344 w 4501379"/>
                    <a:gd name="connsiteY23" fmla="*/ 2181225 h 4429294"/>
                    <a:gd name="connsiteX24" fmla="*/ 4428319 w 4501379"/>
                    <a:gd name="connsiteY24" fmla="*/ 2768600 h 4429294"/>
                    <a:gd name="connsiteX25" fmla="*/ 4364819 w 4501379"/>
                    <a:gd name="connsiteY25" fmla="*/ 2990850 h 4429294"/>
                    <a:gd name="connsiteX26" fmla="*/ 4260044 w 4501379"/>
                    <a:gd name="connsiteY26" fmla="*/ 3248025 h 4429294"/>
                    <a:gd name="connsiteX27" fmla="*/ 4164794 w 4501379"/>
                    <a:gd name="connsiteY27" fmla="*/ 3400425 h 4429294"/>
                    <a:gd name="connsiteX28" fmla="*/ 4040969 w 4501379"/>
                    <a:gd name="connsiteY28" fmla="*/ 3533775 h 4429294"/>
                    <a:gd name="connsiteX29" fmla="*/ 3936194 w 4501379"/>
                    <a:gd name="connsiteY29" fmla="*/ 3648075 h 4429294"/>
                    <a:gd name="connsiteX30" fmla="*/ 3640919 w 4501379"/>
                    <a:gd name="connsiteY30" fmla="*/ 3971925 h 4429294"/>
                    <a:gd name="connsiteX31" fmla="*/ 3498044 w 4501379"/>
                    <a:gd name="connsiteY31" fmla="*/ 4083050 h 4429294"/>
                    <a:gd name="connsiteX32" fmla="*/ 3202769 w 4501379"/>
                    <a:gd name="connsiteY32" fmla="*/ 4222750 h 4429294"/>
                    <a:gd name="connsiteX33" fmla="*/ 3050369 w 4501379"/>
                    <a:gd name="connsiteY33" fmla="*/ 4286250 h 4429294"/>
                    <a:gd name="connsiteX34" fmla="*/ 2917019 w 4501379"/>
                    <a:gd name="connsiteY34" fmla="*/ 4333875 h 4429294"/>
                    <a:gd name="connsiteX35" fmla="*/ 2793194 w 4501379"/>
                    <a:gd name="connsiteY35" fmla="*/ 4371975 h 4429294"/>
                    <a:gd name="connsiteX36" fmla="*/ 2561419 w 4501379"/>
                    <a:gd name="connsiteY36" fmla="*/ 4391025 h 4429294"/>
                    <a:gd name="connsiteX37" fmla="*/ 2107394 w 4501379"/>
                    <a:gd name="connsiteY37" fmla="*/ 4429125 h 4429294"/>
                    <a:gd name="connsiteX38" fmla="*/ 1916894 w 4501379"/>
                    <a:gd name="connsiteY38" fmla="*/ 4400550 h 4429294"/>
                    <a:gd name="connsiteX39" fmla="*/ 1554944 w 4501379"/>
                    <a:gd name="connsiteY39" fmla="*/ 4305300 h 4429294"/>
                    <a:gd name="connsiteX40" fmla="*/ 1313644 w 4501379"/>
                    <a:gd name="connsiteY40" fmla="*/ 4216400 h 4429294"/>
                    <a:gd name="connsiteX41" fmla="*/ 1145369 w 4501379"/>
                    <a:gd name="connsiteY41" fmla="*/ 4111625 h 4429294"/>
                    <a:gd name="connsiteX42" fmla="*/ 926294 w 4501379"/>
                    <a:gd name="connsiteY42" fmla="*/ 3968750 h 4429294"/>
                    <a:gd name="connsiteX43" fmla="*/ 592919 w 4501379"/>
                    <a:gd name="connsiteY43" fmla="*/ 3657600 h 4429294"/>
                    <a:gd name="connsiteX44" fmla="*/ 446869 w 4501379"/>
                    <a:gd name="connsiteY44" fmla="*/ 3470275 h 4429294"/>
                    <a:gd name="connsiteX45" fmla="*/ 316694 w 4501379"/>
                    <a:gd name="connsiteY45" fmla="*/ 3244850 h 4429294"/>
                    <a:gd name="connsiteX46" fmla="*/ 164294 w 4501379"/>
                    <a:gd name="connsiteY46" fmla="*/ 2892425 h 4429294"/>
                    <a:gd name="connsiteX47" fmla="*/ 56344 w 4501379"/>
                    <a:gd name="connsiteY47" fmla="*/ 2368550 h 4429294"/>
                    <a:gd name="connsiteX48" fmla="*/ 2369 w 4501379"/>
                    <a:gd name="connsiteY48" fmla="*/ 1905000 h 4429294"/>
                    <a:gd name="connsiteX49" fmla="*/ 11894 w 4501379"/>
                    <a:gd name="connsiteY49" fmla="*/ 1838325 h 4429294"/>
                    <a:gd name="connsiteX50" fmla="*/ 30944 w 4501379"/>
                    <a:gd name="connsiteY50" fmla="*/ 1781175 h 4429294"/>
                    <a:gd name="connsiteX51" fmla="*/ 40469 w 4501379"/>
                    <a:gd name="connsiteY51" fmla="*/ 1743075 h 4429294"/>
                    <a:gd name="connsiteX52" fmla="*/ 59519 w 4501379"/>
                    <a:gd name="connsiteY52" fmla="*/ 1685925 h 4429294"/>
                    <a:gd name="connsiteX53" fmla="*/ 69044 w 4501379"/>
                    <a:gd name="connsiteY53" fmla="*/ 1638300 h 4429294"/>
                    <a:gd name="connsiteX54" fmla="*/ 88094 w 4501379"/>
                    <a:gd name="connsiteY54" fmla="*/ 1590675 h 4429294"/>
                    <a:gd name="connsiteX55" fmla="*/ 116669 w 4501379"/>
                    <a:gd name="connsiteY55" fmla="*/ 1504950 h 4429294"/>
                    <a:gd name="connsiteX56" fmla="*/ 135719 w 4501379"/>
                    <a:gd name="connsiteY56" fmla="*/ 1419225 h 4429294"/>
                    <a:gd name="connsiteX57" fmla="*/ 211919 w 4501379"/>
                    <a:gd name="connsiteY57" fmla="*/ 1276350 h 4429294"/>
                    <a:gd name="connsiteX58" fmla="*/ 221444 w 4501379"/>
                    <a:gd name="connsiteY58" fmla="*/ 1247775 h 4429294"/>
                    <a:gd name="connsiteX59" fmla="*/ 250019 w 4501379"/>
                    <a:gd name="connsiteY59" fmla="*/ 1200150 h 4429294"/>
                    <a:gd name="connsiteX60" fmla="*/ 269069 w 4501379"/>
                    <a:gd name="connsiteY60" fmla="*/ 1152525 h 4429294"/>
                    <a:gd name="connsiteX61" fmla="*/ 297644 w 4501379"/>
                    <a:gd name="connsiteY61" fmla="*/ 1114425 h 4429294"/>
                    <a:gd name="connsiteX62" fmla="*/ 345269 w 4501379"/>
                    <a:gd name="connsiteY62" fmla="*/ 1038225 h 4429294"/>
                    <a:gd name="connsiteX63" fmla="*/ 364319 w 4501379"/>
                    <a:gd name="connsiteY63" fmla="*/ 1009650 h 4429294"/>
                    <a:gd name="connsiteX64" fmla="*/ 421469 w 4501379"/>
                    <a:gd name="connsiteY64" fmla="*/ 904875 h 4429294"/>
                    <a:gd name="connsiteX65" fmla="*/ 459569 w 4501379"/>
                    <a:gd name="connsiteY65" fmla="*/ 857250 h 4429294"/>
                    <a:gd name="connsiteX66" fmla="*/ 478619 w 4501379"/>
                    <a:gd name="connsiteY66" fmla="*/ 828675 h 4429294"/>
                    <a:gd name="connsiteX67" fmla="*/ 516719 w 4501379"/>
                    <a:gd name="connsiteY67" fmla="*/ 800100 h 4429294"/>
                    <a:gd name="connsiteX68" fmla="*/ 583394 w 4501379"/>
                    <a:gd name="connsiteY68" fmla="*/ 733425 h 4429294"/>
                    <a:gd name="connsiteX69" fmla="*/ 650069 w 4501379"/>
                    <a:gd name="connsiteY69" fmla="*/ 676275 h 4429294"/>
                    <a:gd name="connsiteX70" fmla="*/ 678644 w 4501379"/>
                    <a:gd name="connsiteY70" fmla="*/ 657225 h 4429294"/>
                    <a:gd name="connsiteX71" fmla="*/ 821519 w 4501379"/>
                    <a:gd name="connsiteY71" fmla="*/ 533400 h 4429294"/>
                    <a:gd name="connsiteX72" fmla="*/ 869144 w 4501379"/>
                    <a:gd name="connsiteY72" fmla="*/ 504825 h 4429294"/>
                    <a:gd name="connsiteX73" fmla="*/ 1148544 w 4501379"/>
                    <a:gd name="connsiteY73" fmla="*/ 311150 h 4429294"/>
                    <a:gd name="connsiteX74" fmla="*/ 1250144 w 4501379"/>
                    <a:gd name="connsiteY74" fmla="*/ 285750 h 4429294"/>
                    <a:gd name="connsiteX75" fmla="*/ 1393019 w 4501379"/>
                    <a:gd name="connsiteY75" fmla="*/ 190500 h 4429294"/>
                    <a:gd name="connsiteX76" fmla="*/ 1431119 w 4501379"/>
                    <a:gd name="connsiteY76" fmla="*/ 161925 h 4429294"/>
                    <a:gd name="connsiteX77" fmla="*/ 1507319 w 4501379"/>
                    <a:gd name="connsiteY77" fmla="*/ 152400 h 4429294"/>
                    <a:gd name="connsiteX78" fmla="*/ 1564469 w 4501379"/>
                    <a:gd name="connsiteY78" fmla="*/ 142875 h 4429294"/>
                    <a:gd name="connsiteX79" fmla="*/ 1697819 w 4501379"/>
                    <a:gd name="connsiteY79" fmla="*/ 123825 h 4429294"/>
                    <a:gd name="connsiteX80" fmla="*/ 1793069 w 4501379"/>
                    <a:gd name="connsiteY80" fmla="*/ 114300 h 4429294"/>
                    <a:gd name="connsiteX81" fmla="*/ 1840694 w 4501379"/>
                    <a:gd name="connsiteY81" fmla="*/ 104775 h 4429294"/>
                    <a:gd name="connsiteX82" fmla="*/ 1897844 w 4501379"/>
                    <a:gd name="connsiteY82" fmla="*/ 95250 h 4429294"/>
                    <a:gd name="connsiteX83" fmla="*/ 2012144 w 4501379"/>
                    <a:gd name="connsiteY83" fmla="*/ 66675 h 4429294"/>
                    <a:gd name="connsiteX84" fmla="*/ 2078819 w 4501379"/>
                    <a:gd name="connsiteY84" fmla="*/ 47625 h 4429294"/>
                    <a:gd name="connsiteX85" fmla="*/ 2145494 w 4501379"/>
                    <a:gd name="connsiteY8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278969 w 4501379"/>
                    <a:gd name="connsiteY6" fmla="*/ 257175 h 4429294"/>
                    <a:gd name="connsiteX7" fmla="*/ 3307544 w 4501379"/>
                    <a:gd name="connsiteY7" fmla="*/ 266700 h 4429294"/>
                    <a:gd name="connsiteX8" fmla="*/ 3336119 w 4501379"/>
                    <a:gd name="connsiteY8" fmla="*/ 285750 h 4429294"/>
                    <a:gd name="connsiteX9" fmla="*/ 3402794 w 4501379"/>
                    <a:gd name="connsiteY9" fmla="*/ 323850 h 4429294"/>
                    <a:gd name="connsiteX10" fmla="*/ 3450419 w 4501379"/>
                    <a:gd name="connsiteY10" fmla="*/ 361950 h 4429294"/>
                    <a:gd name="connsiteX11" fmla="*/ 3498044 w 4501379"/>
                    <a:gd name="connsiteY11" fmla="*/ 390525 h 4429294"/>
                    <a:gd name="connsiteX12" fmla="*/ 3612344 w 4501379"/>
                    <a:gd name="connsiteY12" fmla="*/ 485775 h 4429294"/>
                    <a:gd name="connsiteX13" fmla="*/ 3726644 w 4501379"/>
                    <a:gd name="connsiteY13" fmla="*/ 542925 h 4429294"/>
                    <a:gd name="connsiteX14" fmla="*/ 3793319 w 4501379"/>
                    <a:gd name="connsiteY14" fmla="*/ 581025 h 4429294"/>
                    <a:gd name="connsiteX15" fmla="*/ 4009219 w 4501379"/>
                    <a:gd name="connsiteY15" fmla="*/ 819150 h 4429294"/>
                    <a:gd name="connsiteX16" fmla="*/ 4145744 w 4501379"/>
                    <a:gd name="connsiteY16" fmla="*/ 990600 h 4429294"/>
                    <a:gd name="connsiteX17" fmla="*/ 4231469 w 4501379"/>
                    <a:gd name="connsiteY17" fmla="*/ 1143000 h 4429294"/>
                    <a:gd name="connsiteX18" fmla="*/ 4288619 w 4501379"/>
                    <a:gd name="connsiteY18" fmla="*/ 1266825 h 4429294"/>
                    <a:gd name="connsiteX19" fmla="*/ 4326719 w 4501379"/>
                    <a:gd name="connsiteY19" fmla="*/ 1362075 h 4429294"/>
                    <a:gd name="connsiteX20" fmla="*/ 4374344 w 4501379"/>
                    <a:gd name="connsiteY20" fmla="*/ 1552575 h 4429294"/>
                    <a:gd name="connsiteX21" fmla="*/ 4412444 w 4501379"/>
                    <a:gd name="connsiteY21" fmla="*/ 1685925 h 4429294"/>
                    <a:gd name="connsiteX22" fmla="*/ 4501344 w 4501379"/>
                    <a:gd name="connsiteY22" fmla="*/ 2181225 h 4429294"/>
                    <a:gd name="connsiteX23" fmla="*/ 4428319 w 4501379"/>
                    <a:gd name="connsiteY23" fmla="*/ 2768600 h 4429294"/>
                    <a:gd name="connsiteX24" fmla="*/ 4364819 w 4501379"/>
                    <a:gd name="connsiteY24" fmla="*/ 2990850 h 4429294"/>
                    <a:gd name="connsiteX25" fmla="*/ 4260044 w 4501379"/>
                    <a:gd name="connsiteY25" fmla="*/ 3248025 h 4429294"/>
                    <a:gd name="connsiteX26" fmla="*/ 4164794 w 4501379"/>
                    <a:gd name="connsiteY26" fmla="*/ 3400425 h 4429294"/>
                    <a:gd name="connsiteX27" fmla="*/ 4040969 w 4501379"/>
                    <a:gd name="connsiteY27" fmla="*/ 3533775 h 4429294"/>
                    <a:gd name="connsiteX28" fmla="*/ 3936194 w 4501379"/>
                    <a:gd name="connsiteY28" fmla="*/ 3648075 h 4429294"/>
                    <a:gd name="connsiteX29" fmla="*/ 3640919 w 4501379"/>
                    <a:gd name="connsiteY29" fmla="*/ 3971925 h 4429294"/>
                    <a:gd name="connsiteX30" fmla="*/ 3498044 w 4501379"/>
                    <a:gd name="connsiteY30" fmla="*/ 4083050 h 4429294"/>
                    <a:gd name="connsiteX31" fmla="*/ 3202769 w 4501379"/>
                    <a:gd name="connsiteY31" fmla="*/ 4222750 h 4429294"/>
                    <a:gd name="connsiteX32" fmla="*/ 3050369 w 4501379"/>
                    <a:gd name="connsiteY32" fmla="*/ 4286250 h 4429294"/>
                    <a:gd name="connsiteX33" fmla="*/ 2917019 w 4501379"/>
                    <a:gd name="connsiteY33" fmla="*/ 4333875 h 4429294"/>
                    <a:gd name="connsiteX34" fmla="*/ 2793194 w 4501379"/>
                    <a:gd name="connsiteY34" fmla="*/ 4371975 h 4429294"/>
                    <a:gd name="connsiteX35" fmla="*/ 2561419 w 4501379"/>
                    <a:gd name="connsiteY35" fmla="*/ 4391025 h 4429294"/>
                    <a:gd name="connsiteX36" fmla="*/ 2107394 w 4501379"/>
                    <a:gd name="connsiteY36" fmla="*/ 4429125 h 4429294"/>
                    <a:gd name="connsiteX37" fmla="*/ 1916894 w 4501379"/>
                    <a:gd name="connsiteY37" fmla="*/ 4400550 h 4429294"/>
                    <a:gd name="connsiteX38" fmla="*/ 1554944 w 4501379"/>
                    <a:gd name="connsiteY38" fmla="*/ 4305300 h 4429294"/>
                    <a:gd name="connsiteX39" fmla="*/ 1313644 w 4501379"/>
                    <a:gd name="connsiteY39" fmla="*/ 4216400 h 4429294"/>
                    <a:gd name="connsiteX40" fmla="*/ 1145369 w 4501379"/>
                    <a:gd name="connsiteY40" fmla="*/ 4111625 h 4429294"/>
                    <a:gd name="connsiteX41" fmla="*/ 926294 w 4501379"/>
                    <a:gd name="connsiteY41" fmla="*/ 3968750 h 4429294"/>
                    <a:gd name="connsiteX42" fmla="*/ 592919 w 4501379"/>
                    <a:gd name="connsiteY42" fmla="*/ 3657600 h 4429294"/>
                    <a:gd name="connsiteX43" fmla="*/ 446869 w 4501379"/>
                    <a:gd name="connsiteY43" fmla="*/ 3470275 h 4429294"/>
                    <a:gd name="connsiteX44" fmla="*/ 316694 w 4501379"/>
                    <a:gd name="connsiteY44" fmla="*/ 3244850 h 4429294"/>
                    <a:gd name="connsiteX45" fmla="*/ 164294 w 4501379"/>
                    <a:gd name="connsiteY45" fmla="*/ 2892425 h 4429294"/>
                    <a:gd name="connsiteX46" fmla="*/ 56344 w 4501379"/>
                    <a:gd name="connsiteY46" fmla="*/ 2368550 h 4429294"/>
                    <a:gd name="connsiteX47" fmla="*/ 2369 w 4501379"/>
                    <a:gd name="connsiteY47" fmla="*/ 1905000 h 4429294"/>
                    <a:gd name="connsiteX48" fmla="*/ 11894 w 4501379"/>
                    <a:gd name="connsiteY48" fmla="*/ 1838325 h 4429294"/>
                    <a:gd name="connsiteX49" fmla="*/ 30944 w 4501379"/>
                    <a:gd name="connsiteY49" fmla="*/ 1781175 h 4429294"/>
                    <a:gd name="connsiteX50" fmla="*/ 40469 w 4501379"/>
                    <a:gd name="connsiteY50" fmla="*/ 1743075 h 4429294"/>
                    <a:gd name="connsiteX51" fmla="*/ 59519 w 4501379"/>
                    <a:gd name="connsiteY51" fmla="*/ 1685925 h 4429294"/>
                    <a:gd name="connsiteX52" fmla="*/ 69044 w 4501379"/>
                    <a:gd name="connsiteY52" fmla="*/ 1638300 h 4429294"/>
                    <a:gd name="connsiteX53" fmla="*/ 88094 w 4501379"/>
                    <a:gd name="connsiteY53" fmla="*/ 1590675 h 4429294"/>
                    <a:gd name="connsiteX54" fmla="*/ 116669 w 4501379"/>
                    <a:gd name="connsiteY54" fmla="*/ 1504950 h 4429294"/>
                    <a:gd name="connsiteX55" fmla="*/ 135719 w 4501379"/>
                    <a:gd name="connsiteY55" fmla="*/ 1419225 h 4429294"/>
                    <a:gd name="connsiteX56" fmla="*/ 211919 w 4501379"/>
                    <a:gd name="connsiteY56" fmla="*/ 1276350 h 4429294"/>
                    <a:gd name="connsiteX57" fmla="*/ 221444 w 4501379"/>
                    <a:gd name="connsiteY57" fmla="*/ 1247775 h 4429294"/>
                    <a:gd name="connsiteX58" fmla="*/ 250019 w 4501379"/>
                    <a:gd name="connsiteY58" fmla="*/ 1200150 h 4429294"/>
                    <a:gd name="connsiteX59" fmla="*/ 269069 w 4501379"/>
                    <a:gd name="connsiteY59" fmla="*/ 1152525 h 4429294"/>
                    <a:gd name="connsiteX60" fmla="*/ 297644 w 4501379"/>
                    <a:gd name="connsiteY60" fmla="*/ 1114425 h 4429294"/>
                    <a:gd name="connsiteX61" fmla="*/ 345269 w 4501379"/>
                    <a:gd name="connsiteY61" fmla="*/ 1038225 h 4429294"/>
                    <a:gd name="connsiteX62" fmla="*/ 364319 w 4501379"/>
                    <a:gd name="connsiteY62" fmla="*/ 1009650 h 4429294"/>
                    <a:gd name="connsiteX63" fmla="*/ 421469 w 4501379"/>
                    <a:gd name="connsiteY63" fmla="*/ 904875 h 4429294"/>
                    <a:gd name="connsiteX64" fmla="*/ 459569 w 4501379"/>
                    <a:gd name="connsiteY64" fmla="*/ 857250 h 4429294"/>
                    <a:gd name="connsiteX65" fmla="*/ 478619 w 4501379"/>
                    <a:gd name="connsiteY65" fmla="*/ 828675 h 4429294"/>
                    <a:gd name="connsiteX66" fmla="*/ 516719 w 4501379"/>
                    <a:gd name="connsiteY66" fmla="*/ 800100 h 4429294"/>
                    <a:gd name="connsiteX67" fmla="*/ 583394 w 4501379"/>
                    <a:gd name="connsiteY67" fmla="*/ 733425 h 4429294"/>
                    <a:gd name="connsiteX68" fmla="*/ 650069 w 4501379"/>
                    <a:gd name="connsiteY68" fmla="*/ 676275 h 4429294"/>
                    <a:gd name="connsiteX69" fmla="*/ 678644 w 4501379"/>
                    <a:gd name="connsiteY69" fmla="*/ 657225 h 4429294"/>
                    <a:gd name="connsiteX70" fmla="*/ 821519 w 4501379"/>
                    <a:gd name="connsiteY70" fmla="*/ 533400 h 4429294"/>
                    <a:gd name="connsiteX71" fmla="*/ 869144 w 4501379"/>
                    <a:gd name="connsiteY71" fmla="*/ 504825 h 4429294"/>
                    <a:gd name="connsiteX72" fmla="*/ 1148544 w 4501379"/>
                    <a:gd name="connsiteY72" fmla="*/ 311150 h 4429294"/>
                    <a:gd name="connsiteX73" fmla="*/ 1250144 w 4501379"/>
                    <a:gd name="connsiteY73" fmla="*/ 285750 h 4429294"/>
                    <a:gd name="connsiteX74" fmla="*/ 1393019 w 4501379"/>
                    <a:gd name="connsiteY74" fmla="*/ 190500 h 4429294"/>
                    <a:gd name="connsiteX75" fmla="*/ 1431119 w 4501379"/>
                    <a:gd name="connsiteY75" fmla="*/ 161925 h 4429294"/>
                    <a:gd name="connsiteX76" fmla="*/ 1507319 w 4501379"/>
                    <a:gd name="connsiteY76" fmla="*/ 152400 h 4429294"/>
                    <a:gd name="connsiteX77" fmla="*/ 1564469 w 4501379"/>
                    <a:gd name="connsiteY77" fmla="*/ 142875 h 4429294"/>
                    <a:gd name="connsiteX78" fmla="*/ 1697819 w 4501379"/>
                    <a:gd name="connsiteY78" fmla="*/ 123825 h 4429294"/>
                    <a:gd name="connsiteX79" fmla="*/ 1793069 w 4501379"/>
                    <a:gd name="connsiteY79" fmla="*/ 114300 h 4429294"/>
                    <a:gd name="connsiteX80" fmla="*/ 1840694 w 4501379"/>
                    <a:gd name="connsiteY80" fmla="*/ 104775 h 4429294"/>
                    <a:gd name="connsiteX81" fmla="*/ 1897844 w 4501379"/>
                    <a:gd name="connsiteY81" fmla="*/ 95250 h 4429294"/>
                    <a:gd name="connsiteX82" fmla="*/ 2012144 w 4501379"/>
                    <a:gd name="connsiteY82" fmla="*/ 66675 h 4429294"/>
                    <a:gd name="connsiteX83" fmla="*/ 2078819 w 4501379"/>
                    <a:gd name="connsiteY83" fmla="*/ 47625 h 4429294"/>
                    <a:gd name="connsiteX84" fmla="*/ 2145494 w 4501379"/>
                    <a:gd name="connsiteY8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336119 w 4501379"/>
                    <a:gd name="connsiteY7" fmla="*/ 285750 h 4429294"/>
                    <a:gd name="connsiteX8" fmla="*/ 3402794 w 4501379"/>
                    <a:gd name="connsiteY8" fmla="*/ 323850 h 4429294"/>
                    <a:gd name="connsiteX9" fmla="*/ 3450419 w 4501379"/>
                    <a:gd name="connsiteY9" fmla="*/ 361950 h 4429294"/>
                    <a:gd name="connsiteX10" fmla="*/ 3498044 w 4501379"/>
                    <a:gd name="connsiteY10" fmla="*/ 390525 h 4429294"/>
                    <a:gd name="connsiteX11" fmla="*/ 3612344 w 4501379"/>
                    <a:gd name="connsiteY11" fmla="*/ 485775 h 4429294"/>
                    <a:gd name="connsiteX12" fmla="*/ 3726644 w 4501379"/>
                    <a:gd name="connsiteY12" fmla="*/ 542925 h 4429294"/>
                    <a:gd name="connsiteX13" fmla="*/ 3793319 w 4501379"/>
                    <a:gd name="connsiteY13" fmla="*/ 581025 h 4429294"/>
                    <a:gd name="connsiteX14" fmla="*/ 4009219 w 4501379"/>
                    <a:gd name="connsiteY14" fmla="*/ 819150 h 4429294"/>
                    <a:gd name="connsiteX15" fmla="*/ 4145744 w 4501379"/>
                    <a:gd name="connsiteY15" fmla="*/ 990600 h 4429294"/>
                    <a:gd name="connsiteX16" fmla="*/ 4231469 w 4501379"/>
                    <a:gd name="connsiteY16" fmla="*/ 1143000 h 4429294"/>
                    <a:gd name="connsiteX17" fmla="*/ 4288619 w 4501379"/>
                    <a:gd name="connsiteY17" fmla="*/ 1266825 h 4429294"/>
                    <a:gd name="connsiteX18" fmla="*/ 4326719 w 4501379"/>
                    <a:gd name="connsiteY18" fmla="*/ 1362075 h 4429294"/>
                    <a:gd name="connsiteX19" fmla="*/ 4374344 w 4501379"/>
                    <a:gd name="connsiteY19" fmla="*/ 1552575 h 4429294"/>
                    <a:gd name="connsiteX20" fmla="*/ 4412444 w 4501379"/>
                    <a:gd name="connsiteY20" fmla="*/ 1685925 h 4429294"/>
                    <a:gd name="connsiteX21" fmla="*/ 4501344 w 4501379"/>
                    <a:gd name="connsiteY21" fmla="*/ 2181225 h 4429294"/>
                    <a:gd name="connsiteX22" fmla="*/ 4428319 w 4501379"/>
                    <a:gd name="connsiteY22" fmla="*/ 2768600 h 4429294"/>
                    <a:gd name="connsiteX23" fmla="*/ 4364819 w 4501379"/>
                    <a:gd name="connsiteY23" fmla="*/ 2990850 h 4429294"/>
                    <a:gd name="connsiteX24" fmla="*/ 4260044 w 4501379"/>
                    <a:gd name="connsiteY24" fmla="*/ 3248025 h 4429294"/>
                    <a:gd name="connsiteX25" fmla="*/ 4164794 w 4501379"/>
                    <a:gd name="connsiteY25" fmla="*/ 3400425 h 4429294"/>
                    <a:gd name="connsiteX26" fmla="*/ 4040969 w 4501379"/>
                    <a:gd name="connsiteY26" fmla="*/ 3533775 h 4429294"/>
                    <a:gd name="connsiteX27" fmla="*/ 3936194 w 4501379"/>
                    <a:gd name="connsiteY27" fmla="*/ 3648075 h 4429294"/>
                    <a:gd name="connsiteX28" fmla="*/ 3640919 w 4501379"/>
                    <a:gd name="connsiteY28" fmla="*/ 3971925 h 4429294"/>
                    <a:gd name="connsiteX29" fmla="*/ 3498044 w 4501379"/>
                    <a:gd name="connsiteY29" fmla="*/ 4083050 h 4429294"/>
                    <a:gd name="connsiteX30" fmla="*/ 3202769 w 4501379"/>
                    <a:gd name="connsiteY30" fmla="*/ 4222750 h 4429294"/>
                    <a:gd name="connsiteX31" fmla="*/ 3050369 w 4501379"/>
                    <a:gd name="connsiteY31" fmla="*/ 4286250 h 4429294"/>
                    <a:gd name="connsiteX32" fmla="*/ 2917019 w 4501379"/>
                    <a:gd name="connsiteY32" fmla="*/ 4333875 h 4429294"/>
                    <a:gd name="connsiteX33" fmla="*/ 2793194 w 4501379"/>
                    <a:gd name="connsiteY33" fmla="*/ 4371975 h 4429294"/>
                    <a:gd name="connsiteX34" fmla="*/ 2561419 w 4501379"/>
                    <a:gd name="connsiteY34" fmla="*/ 4391025 h 4429294"/>
                    <a:gd name="connsiteX35" fmla="*/ 2107394 w 4501379"/>
                    <a:gd name="connsiteY35" fmla="*/ 4429125 h 4429294"/>
                    <a:gd name="connsiteX36" fmla="*/ 1916894 w 4501379"/>
                    <a:gd name="connsiteY36" fmla="*/ 4400550 h 4429294"/>
                    <a:gd name="connsiteX37" fmla="*/ 1554944 w 4501379"/>
                    <a:gd name="connsiteY37" fmla="*/ 4305300 h 4429294"/>
                    <a:gd name="connsiteX38" fmla="*/ 1313644 w 4501379"/>
                    <a:gd name="connsiteY38" fmla="*/ 4216400 h 4429294"/>
                    <a:gd name="connsiteX39" fmla="*/ 1145369 w 4501379"/>
                    <a:gd name="connsiteY39" fmla="*/ 4111625 h 4429294"/>
                    <a:gd name="connsiteX40" fmla="*/ 926294 w 4501379"/>
                    <a:gd name="connsiteY40" fmla="*/ 3968750 h 4429294"/>
                    <a:gd name="connsiteX41" fmla="*/ 592919 w 4501379"/>
                    <a:gd name="connsiteY41" fmla="*/ 3657600 h 4429294"/>
                    <a:gd name="connsiteX42" fmla="*/ 446869 w 4501379"/>
                    <a:gd name="connsiteY42" fmla="*/ 3470275 h 4429294"/>
                    <a:gd name="connsiteX43" fmla="*/ 316694 w 4501379"/>
                    <a:gd name="connsiteY43" fmla="*/ 3244850 h 4429294"/>
                    <a:gd name="connsiteX44" fmla="*/ 164294 w 4501379"/>
                    <a:gd name="connsiteY44" fmla="*/ 2892425 h 4429294"/>
                    <a:gd name="connsiteX45" fmla="*/ 56344 w 4501379"/>
                    <a:gd name="connsiteY45" fmla="*/ 2368550 h 4429294"/>
                    <a:gd name="connsiteX46" fmla="*/ 2369 w 4501379"/>
                    <a:gd name="connsiteY46" fmla="*/ 1905000 h 4429294"/>
                    <a:gd name="connsiteX47" fmla="*/ 11894 w 4501379"/>
                    <a:gd name="connsiteY47" fmla="*/ 1838325 h 4429294"/>
                    <a:gd name="connsiteX48" fmla="*/ 30944 w 4501379"/>
                    <a:gd name="connsiteY48" fmla="*/ 1781175 h 4429294"/>
                    <a:gd name="connsiteX49" fmla="*/ 40469 w 4501379"/>
                    <a:gd name="connsiteY49" fmla="*/ 1743075 h 4429294"/>
                    <a:gd name="connsiteX50" fmla="*/ 59519 w 4501379"/>
                    <a:gd name="connsiteY50" fmla="*/ 1685925 h 4429294"/>
                    <a:gd name="connsiteX51" fmla="*/ 69044 w 4501379"/>
                    <a:gd name="connsiteY51" fmla="*/ 1638300 h 4429294"/>
                    <a:gd name="connsiteX52" fmla="*/ 88094 w 4501379"/>
                    <a:gd name="connsiteY52" fmla="*/ 1590675 h 4429294"/>
                    <a:gd name="connsiteX53" fmla="*/ 116669 w 4501379"/>
                    <a:gd name="connsiteY53" fmla="*/ 1504950 h 4429294"/>
                    <a:gd name="connsiteX54" fmla="*/ 135719 w 4501379"/>
                    <a:gd name="connsiteY54" fmla="*/ 1419225 h 4429294"/>
                    <a:gd name="connsiteX55" fmla="*/ 211919 w 4501379"/>
                    <a:gd name="connsiteY55" fmla="*/ 1276350 h 4429294"/>
                    <a:gd name="connsiteX56" fmla="*/ 221444 w 4501379"/>
                    <a:gd name="connsiteY56" fmla="*/ 1247775 h 4429294"/>
                    <a:gd name="connsiteX57" fmla="*/ 250019 w 4501379"/>
                    <a:gd name="connsiteY57" fmla="*/ 1200150 h 4429294"/>
                    <a:gd name="connsiteX58" fmla="*/ 269069 w 4501379"/>
                    <a:gd name="connsiteY58" fmla="*/ 1152525 h 4429294"/>
                    <a:gd name="connsiteX59" fmla="*/ 297644 w 4501379"/>
                    <a:gd name="connsiteY59" fmla="*/ 1114425 h 4429294"/>
                    <a:gd name="connsiteX60" fmla="*/ 345269 w 4501379"/>
                    <a:gd name="connsiteY60" fmla="*/ 1038225 h 4429294"/>
                    <a:gd name="connsiteX61" fmla="*/ 364319 w 4501379"/>
                    <a:gd name="connsiteY61" fmla="*/ 1009650 h 4429294"/>
                    <a:gd name="connsiteX62" fmla="*/ 421469 w 4501379"/>
                    <a:gd name="connsiteY62" fmla="*/ 904875 h 4429294"/>
                    <a:gd name="connsiteX63" fmla="*/ 459569 w 4501379"/>
                    <a:gd name="connsiteY63" fmla="*/ 857250 h 4429294"/>
                    <a:gd name="connsiteX64" fmla="*/ 478619 w 4501379"/>
                    <a:gd name="connsiteY64" fmla="*/ 828675 h 4429294"/>
                    <a:gd name="connsiteX65" fmla="*/ 516719 w 4501379"/>
                    <a:gd name="connsiteY65" fmla="*/ 800100 h 4429294"/>
                    <a:gd name="connsiteX66" fmla="*/ 583394 w 4501379"/>
                    <a:gd name="connsiteY66" fmla="*/ 733425 h 4429294"/>
                    <a:gd name="connsiteX67" fmla="*/ 650069 w 4501379"/>
                    <a:gd name="connsiteY67" fmla="*/ 676275 h 4429294"/>
                    <a:gd name="connsiteX68" fmla="*/ 678644 w 4501379"/>
                    <a:gd name="connsiteY68" fmla="*/ 657225 h 4429294"/>
                    <a:gd name="connsiteX69" fmla="*/ 821519 w 4501379"/>
                    <a:gd name="connsiteY69" fmla="*/ 533400 h 4429294"/>
                    <a:gd name="connsiteX70" fmla="*/ 869144 w 4501379"/>
                    <a:gd name="connsiteY70" fmla="*/ 504825 h 4429294"/>
                    <a:gd name="connsiteX71" fmla="*/ 1148544 w 4501379"/>
                    <a:gd name="connsiteY71" fmla="*/ 311150 h 4429294"/>
                    <a:gd name="connsiteX72" fmla="*/ 1250144 w 4501379"/>
                    <a:gd name="connsiteY72" fmla="*/ 285750 h 4429294"/>
                    <a:gd name="connsiteX73" fmla="*/ 1393019 w 4501379"/>
                    <a:gd name="connsiteY73" fmla="*/ 190500 h 4429294"/>
                    <a:gd name="connsiteX74" fmla="*/ 1431119 w 4501379"/>
                    <a:gd name="connsiteY74" fmla="*/ 161925 h 4429294"/>
                    <a:gd name="connsiteX75" fmla="*/ 1507319 w 4501379"/>
                    <a:gd name="connsiteY75" fmla="*/ 152400 h 4429294"/>
                    <a:gd name="connsiteX76" fmla="*/ 1564469 w 4501379"/>
                    <a:gd name="connsiteY76" fmla="*/ 142875 h 4429294"/>
                    <a:gd name="connsiteX77" fmla="*/ 1697819 w 4501379"/>
                    <a:gd name="connsiteY77" fmla="*/ 123825 h 4429294"/>
                    <a:gd name="connsiteX78" fmla="*/ 1793069 w 4501379"/>
                    <a:gd name="connsiteY78" fmla="*/ 114300 h 4429294"/>
                    <a:gd name="connsiteX79" fmla="*/ 1840694 w 4501379"/>
                    <a:gd name="connsiteY79" fmla="*/ 104775 h 4429294"/>
                    <a:gd name="connsiteX80" fmla="*/ 1897844 w 4501379"/>
                    <a:gd name="connsiteY80" fmla="*/ 95250 h 4429294"/>
                    <a:gd name="connsiteX81" fmla="*/ 2012144 w 4501379"/>
                    <a:gd name="connsiteY81" fmla="*/ 66675 h 4429294"/>
                    <a:gd name="connsiteX82" fmla="*/ 2078819 w 4501379"/>
                    <a:gd name="connsiteY82" fmla="*/ 47625 h 4429294"/>
                    <a:gd name="connsiteX83" fmla="*/ 2145494 w 4501379"/>
                    <a:gd name="connsiteY8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402794 w 4501379"/>
                    <a:gd name="connsiteY7" fmla="*/ 323850 h 4429294"/>
                    <a:gd name="connsiteX8" fmla="*/ 3450419 w 4501379"/>
                    <a:gd name="connsiteY8" fmla="*/ 361950 h 4429294"/>
                    <a:gd name="connsiteX9" fmla="*/ 3498044 w 4501379"/>
                    <a:gd name="connsiteY9" fmla="*/ 390525 h 4429294"/>
                    <a:gd name="connsiteX10" fmla="*/ 3612344 w 4501379"/>
                    <a:gd name="connsiteY10" fmla="*/ 485775 h 4429294"/>
                    <a:gd name="connsiteX11" fmla="*/ 3726644 w 4501379"/>
                    <a:gd name="connsiteY11" fmla="*/ 542925 h 4429294"/>
                    <a:gd name="connsiteX12" fmla="*/ 3793319 w 4501379"/>
                    <a:gd name="connsiteY12" fmla="*/ 581025 h 4429294"/>
                    <a:gd name="connsiteX13" fmla="*/ 4009219 w 4501379"/>
                    <a:gd name="connsiteY13" fmla="*/ 819150 h 4429294"/>
                    <a:gd name="connsiteX14" fmla="*/ 4145744 w 4501379"/>
                    <a:gd name="connsiteY14" fmla="*/ 990600 h 4429294"/>
                    <a:gd name="connsiteX15" fmla="*/ 4231469 w 4501379"/>
                    <a:gd name="connsiteY15" fmla="*/ 1143000 h 4429294"/>
                    <a:gd name="connsiteX16" fmla="*/ 4288619 w 4501379"/>
                    <a:gd name="connsiteY16" fmla="*/ 1266825 h 4429294"/>
                    <a:gd name="connsiteX17" fmla="*/ 4326719 w 4501379"/>
                    <a:gd name="connsiteY17" fmla="*/ 1362075 h 4429294"/>
                    <a:gd name="connsiteX18" fmla="*/ 4374344 w 4501379"/>
                    <a:gd name="connsiteY18" fmla="*/ 1552575 h 4429294"/>
                    <a:gd name="connsiteX19" fmla="*/ 4412444 w 4501379"/>
                    <a:gd name="connsiteY19" fmla="*/ 1685925 h 4429294"/>
                    <a:gd name="connsiteX20" fmla="*/ 4501344 w 4501379"/>
                    <a:gd name="connsiteY20" fmla="*/ 2181225 h 4429294"/>
                    <a:gd name="connsiteX21" fmla="*/ 4428319 w 4501379"/>
                    <a:gd name="connsiteY21" fmla="*/ 2768600 h 4429294"/>
                    <a:gd name="connsiteX22" fmla="*/ 4364819 w 4501379"/>
                    <a:gd name="connsiteY22" fmla="*/ 2990850 h 4429294"/>
                    <a:gd name="connsiteX23" fmla="*/ 4260044 w 4501379"/>
                    <a:gd name="connsiteY23" fmla="*/ 3248025 h 4429294"/>
                    <a:gd name="connsiteX24" fmla="*/ 4164794 w 4501379"/>
                    <a:gd name="connsiteY24" fmla="*/ 3400425 h 4429294"/>
                    <a:gd name="connsiteX25" fmla="*/ 4040969 w 4501379"/>
                    <a:gd name="connsiteY25" fmla="*/ 3533775 h 4429294"/>
                    <a:gd name="connsiteX26" fmla="*/ 3936194 w 4501379"/>
                    <a:gd name="connsiteY26" fmla="*/ 3648075 h 4429294"/>
                    <a:gd name="connsiteX27" fmla="*/ 3640919 w 4501379"/>
                    <a:gd name="connsiteY27" fmla="*/ 3971925 h 4429294"/>
                    <a:gd name="connsiteX28" fmla="*/ 3498044 w 4501379"/>
                    <a:gd name="connsiteY28" fmla="*/ 4083050 h 4429294"/>
                    <a:gd name="connsiteX29" fmla="*/ 3202769 w 4501379"/>
                    <a:gd name="connsiteY29" fmla="*/ 4222750 h 4429294"/>
                    <a:gd name="connsiteX30" fmla="*/ 3050369 w 4501379"/>
                    <a:gd name="connsiteY30" fmla="*/ 4286250 h 4429294"/>
                    <a:gd name="connsiteX31" fmla="*/ 2917019 w 4501379"/>
                    <a:gd name="connsiteY31" fmla="*/ 4333875 h 4429294"/>
                    <a:gd name="connsiteX32" fmla="*/ 2793194 w 4501379"/>
                    <a:gd name="connsiteY32" fmla="*/ 4371975 h 4429294"/>
                    <a:gd name="connsiteX33" fmla="*/ 2561419 w 4501379"/>
                    <a:gd name="connsiteY33" fmla="*/ 4391025 h 4429294"/>
                    <a:gd name="connsiteX34" fmla="*/ 2107394 w 4501379"/>
                    <a:gd name="connsiteY34" fmla="*/ 4429125 h 4429294"/>
                    <a:gd name="connsiteX35" fmla="*/ 1916894 w 4501379"/>
                    <a:gd name="connsiteY35" fmla="*/ 4400550 h 4429294"/>
                    <a:gd name="connsiteX36" fmla="*/ 1554944 w 4501379"/>
                    <a:gd name="connsiteY36" fmla="*/ 4305300 h 4429294"/>
                    <a:gd name="connsiteX37" fmla="*/ 1313644 w 4501379"/>
                    <a:gd name="connsiteY37" fmla="*/ 4216400 h 4429294"/>
                    <a:gd name="connsiteX38" fmla="*/ 1145369 w 4501379"/>
                    <a:gd name="connsiteY38" fmla="*/ 4111625 h 4429294"/>
                    <a:gd name="connsiteX39" fmla="*/ 926294 w 4501379"/>
                    <a:gd name="connsiteY39" fmla="*/ 3968750 h 4429294"/>
                    <a:gd name="connsiteX40" fmla="*/ 592919 w 4501379"/>
                    <a:gd name="connsiteY40" fmla="*/ 3657600 h 4429294"/>
                    <a:gd name="connsiteX41" fmla="*/ 446869 w 4501379"/>
                    <a:gd name="connsiteY41" fmla="*/ 3470275 h 4429294"/>
                    <a:gd name="connsiteX42" fmla="*/ 316694 w 4501379"/>
                    <a:gd name="connsiteY42" fmla="*/ 3244850 h 4429294"/>
                    <a:gd name="connsiteX43" fmla="*/ 164294 w 4501379"/>
                    <a:gd name="connsiteY43" fmla="*/ 2892425 h 4429294"/>
                    <a:gd name="connsiteX44" fmla="*/ 56344 w 4501379"/>
                    <a:gd name="connsiteY44" fmla="*/ 2368550 h 4429294"/>
                    <a:gd name="connsiteX45" fmla="*/ 2369 w 4501379"/>
                    <a:gd name="connsiteY45" fmla="*/ 1905000 h 4429294"/>
                    <a:gd name="connsiteX46" fmla="*/ 11894 w 4501379"/>
                    <a:gd name="connsiteY46" fmla="*/ 1838325 h 4429294"/>
                    <a:gd name="connsiteX47" fmla="*/ 30944 w 4501379"/>
                    <a:gd name="connsiteY47" fmla="*/ 1781175 h 4429294"/>
                    <a:gd name="connsiteX48" fmla="*/ 40469 w 4501379"/>
                    <a:gd name="connsiteY48" fmla="*/ 1743075 h 4429294"/>
                    <a:gd name="connsiteX49" fmla="*/ 59519 w 4501379"/>
                    <a:gd name="connsiteY49" fmla="*/ 1685925 h 4429294"/>
                    <a:gd name="connsiteX50" fmla="*/ 69044 w 4501379"/>
                    <a:gd name="connsiteY50" fmla="*/ 1638300 h 4429294"/>
                    <a:gd name="connsiteX51" fmla="*/ 88094 w 4501379"/>
                    <a:gd name="connsiteY51" fmla="*/ 1590675 h 4429294"/>
                    <a:gd name="connsiteX52" fmla="*/ 116669 w 4501379"/>
                    <a:gd name="connsiteY52" fmla="*/ 1504950 h 4429294"/>
                    <a:gd name="connsiteX53" fmla="*/ 135719 w 4501379"/>
                    <a:gd name="connsiteY53" fmla="*/ 1419225 h 4429294"/>
                    <a:gd name="connsiteX54" fmla="*/ 211919 w 4501379"/>
                    <a:gd name="connsiteY54" fmla="*/ 1276350 h 4429294"/>
                    <a:gd name="connsiteX55" fmla="*/ 221444 w 4501379"/>
                    <a:gd name="connsiteY55" fmla="*/ 1247775 h 4429294"/>
                    <a:gd name="connsiteX56" fmla="*/ 250019 w 4501379"/>
                    <a:gd name="connsiteY56" fmla="*/ 1200150 h 4429294"/>
                    <a:gd name="connsiteX57" fmla="*/ 269069 w 4501379"/>
                    <a:gd name="connsiteY57" fmla="*/ 1152525 h 4429294"/>
                    <a:gd name="connsiteX58" fmla="*/ 297644 w 4501379"/>
                    <a:gd name="connsiteY58" fmla="*/ 1114425 h 4429294"/>
                    <a:gd name="connsiteX59" fmla="*/ 345269 w 4501379"/>
                    <a:gd name="connsiteY59" fmla="*/ 1038225 h 4429294"/>
                    <a:gd name="connsiteX60" fmla="*/ 364319 w 4501379"/>
                    <a:gd name="connsiteY60" fmla="*/ 1009650 h 4429294"/>
                    <a:gd name="connsiteX61" fmla="*/ 421469 w 4501379"/>
                    <a:gd name="connsiteY61" fmla="*/ 904875 h 4429294"/>
                    <a:gd name="connsiteX62" fmla="*/ 459569 w 4501379"/>
                    <a:gd name="connsiteY62" fmla="*/ 857250 h 4429294"/>
                    <a:gd name="connsiteX63" fmla="*/ 478619 w 4501379"/>
                    <a:gd name="connsiteY63" fmla="*/ 828675 h 4429294"/>
                    <a:gd name="connsiteX64" fmla="*/ 516719 w 4501379"/>
                    <a:gd name="connsiteY64" fmla="*/ 800100 h 4429294"/>
                    <a:gd name="connsiteX65" fmla="*/ 583394 w 4501379"/>
                    <a:gd name="connsiteY65" fmla="*/ 733425 h 4429294"/>
                    <a:gd name="connsiteX66" fmla="*/ 650069 w 4501379"/>
                    <a:gd name="connsiteY66" fmla="*/ 676275 h 4429294"/>
                    <a:gd name="connsiteX67" fmla="*/ 678644 w 4501379"/>
                    <a:gd name="connsiteY67" fmla="*/ 657225 h 4429294"/>
                    <a:gd name="connsiteX68" fmla="*/ 821519 w 4501379"/>
                    <a:gd name="connsiteY68" fmla="*/ 533400 h 4429294"/>
                    <a:gd name="connsiteX69" fmla="*/ 869144 w 4501379"/>
                    <a:gd name="connsiteY69" fmla="*/ 504825 h 4429294"/>
                    <a:gd name="connsiteX70" fmla="*/ 1148544 w 4501379"/>
                    <a:gd name="connsiteY70" fmla="*/ 311150 h 4429294"/>
                    <a:gd name="connsiteX71" fmla="*/ 1250144 w 4501379"/>
                    <a:gd name="connsiteY71" fmla="*/ 285750 h 4429294"/>
                    <a:gd name="connsiteX72" fmla="*/ 1393019 w 4501379"/>
                    <a:gd name="connsiteY72" fmla="*/ 190500 h 4429294"/>
                    <a:gd name="connsiteX73" fmla="*/ 1431119 w 4501379"/>
                    <a:gd name="connsiteY73" fmla="*/ 161925 h 4429294"/>
                    <a:gd name="connsiteX74" fmla="*/ 1507319 w 4501379"/>
                    <a:gd name="connsiteY74" fmla="*/ 152400 h 4429294"/>
                    <a:gd name="connsiteX75" fmla="*/ 1564469 w 4501379"/>
                    <a:gd name="connsiteY75" fmla="*/ 142875 h 4429294"/>
                    <a:gd name="connsiteX76" fmla="*/ 1697819 w 4501379"/>
                    <a:gd name="connsiteY76" fmla="*/ 123825 h 4429294"/>
                    <a:gd name="connsiteX77" fmla="*/ 1793069 w 4501379"/>
                    <a:gd name="connsiteY77" fmla="*/ 114300 h 4429294"/>
                    <a:gd name="connsiteX78" fmla="*/ 1840694 w 4501379"/>
                    <a:gd name="connsiteY78" fmla="*/ 104775 h 4429294"/>
                    <a:gd name="connsiteX79" fmla="*/ 1897844 w 4501379"/>
                    <a:gd name="connsiteY79" fmla="*/ 95250 h 4429294"/>
                    <a:gd name="connsiteX80" fmla="*/ 2012144 w 4501379"/>
                    <a:gd name="connsiteY80" fmla="*/ 66675 h 4429294"/>
                    <a:gd name="connsiteX81" fmla="*/ 2078819 w 4501379"/>
                    <a:gd name="connsiteY81" fmla="*/ 47625 h 4429294"/>
                    <a:gd name="connsiteX82" fmla="*/ 2145494 w 4501379"/>
                    <a:gd name="connsiteY8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307544 w 4501379"/>
                    <a:gd name="connsiteY5" fmla="*/ 266700 h 4429294"/>
                    <a:gd name="connsiteX6" fmla="*/ 3402794 w 4501379"/>
                    <a:gd name="connsiteY6" fmla="*/ 323850 h 4429294"/>
                    <a:gd name="connsiteX7" fmla="*/ 3450419 w 4501379"/>
                    <a:gd name="connsiteY7" fmla="*/ 361950 h 4429294"/>
                    <a:gd name="connsiteX8" fmla="*/ 3498044 w 4501379"/>
                    <a:gd name="connsiteY8" fmla="*/ 390525 h 4429294"/>
                    <a:gd name="connsiteX9" fmla="*/ 3612344 w 4501379"/>
                    <a:gd name="connsiteY9" fmla="*/ 485775 h 4429294"/>
                    <a:gd name="connsiteX10" fmla="*/ 3726644 w 4501379"/>
                    <a:gd name="connsiteY10" fmla="*/ 542925 h 4429294"/>
                    <a:gd name="connsiteX11" fmla="*/ 3793319 w 4501379"/>
                    <a:gd name="connsiteY11" fmla="*/ 581025 h 4429294"/>
                    <a:gd name="connsiteX12" fmla="*/ 4009219 w 4501379"/>
                    <a:gd name="connsiteY12" fmla="*/ 819150 h 4429294"/>
                    <a:gd name="connsiteX13" fmla="*/ 4145744 w 4501379"/>
                    <a:gd name="connsiteY13" fmla="*/ 990600 h 4429294"/>
                    <a:gd name="connsiteX14" fmla="*/ 4231469 w 4501379"/>
                    <a:gd name="connsiteY14" fmla="*/ 1143000 h 4429294"/>
                    <a:gd name="connsiteX15" fmla="*/ 4288619 w 4501379"/>
                    <a:gd name="connsiteY15" fmla="*/ 1266825 h 4429294"/>
                    <a:gd name="connsiteX16" fmla="*/ 4326719 w 4501379"/>
                    <a:gd name="connsiteY16" fmla="*/ 1362075 h 4429294"/>
                    <a:gd name="connsiteX17" fmla="*/ 4374344 w 4501379"/>
                    <a:gd name="connsiteY17" fmla="*/ 1552575 h 4429294"/>
                    <a:gd name="connsiteX18" fmla="*/ 4412444 w 4501379"/>
                    <a:gd name="connsiteY18" fmla="*/ 1685925 h 4429294"/>
                    <a:gd name="connsiteX19" fmla="*/ 4501344 w 4501379"/>
                    <a:gd name="connsiteY19" fmla="*/ 2181225 h 4429294"/>
                    <a:gd name="connsiteX20" fmla="*/ 4428319 w 4501379"/>
                    <a:gd name="connsiteY20" fmla="*/ 2768600 h 4429294"/>
                    <a:gd name="connsiteX21" fmla="*/ 4364819 w 4501379"/>
                    <a:gd name="connsiteY21" fmla="*/ 2990850 h 4429294"/>
                    <a:gd name="connsiteX22" fmla="*/ 4260044 w 4501379"/>
                    <a:gd name="connsiteY22" fmla="*/ 3248025 h 4429294"/>
                    <a:gd name="connsiteX23" fmla="*/ 4164794 w 4501379"/>
                    <a:gd name="connsiteY23" fmla="*/ 3400425 h 4429294"/>
                    <a:gd name="connsiteX24" fmla="*/ 4040969 w 4501379"/>
                    <a:gd name="connsiteY24" fmla="*/ 3533775 h 4429294"/>
                    <a:gd name="connsiteX25" fmla="*/ 3936194 w 4501379"/>
                    <a:gd name="connsiteY25" fmla="*/ 3648075 h 4429294"/>
                    <a:gd name="connsiteX26" fmla="*/ 3640919 w 4501379"/>
                    <a:gd name="connsiteY26" fmla="*/ 3971925 h 4429294"/>
                    <a:gd name="connsiteX27" fmla="*/ 3498044 w 4501379"/>
                    <a:gd name="connsiteY27" fmla="*/ 4083050 h 4429294"/>
                    <a:gd name="connsiteX28" fmla="*/ 3202769 w 4501379"/>
                    <a:gd name="connsiteY28" fmla="*/ 4222750 h 4429294"/>
                    <a:gd name="connsiteX29" fmla="*/ 3050369 w 4501379"/>
                    <a:gd name="connsiteY29" fmla="*/ 4286250 h 4429294"/>
                    <a:gd name="connsiteX30" fmla="*/ 2917019 w 4501379"/>
                    <a:gd name="connsiteY30" fmla="*/ 4333875 h 4429294"/>
                    <a:gd name="connsiteX31" fmla="*/ 2793194 w 4501379"/>
                    <a:gd name="connsiteY31" fmla="*/ 4371975 h 4429294"/>
                    <a:gd name="connsiteX32" fmla="*/ 2561419 w 4501379"/>
                    <a:gd name="connsiteY32" fmla="*/ 4391025 h 4429294"/>
                    <a:gd name="connsiteX33" fmla="*/ 2107394 w 4501379"/>
                    <a:gd name="connsiteY33" fmla="*/ 4429125 h 4429294"/>
                    <a:gd name="connsiteX34" fmla="*/ 1916894 w 4501379"/>
                    <a:gd name="connsiteY34" fmla="*/ 4400550 h 4429294"/>
                    <a:gd name="connsiteX35" fmla="*/ 1554944 w 4501379"/>
                    <a:gd name="connsiteY35" fmla="*/ 4305300 h 4429294"/>
                    <a:gd name="connsiteX36" fmla="*/ 1313644 w 4501379"/>
                    <a:gd name="connsiteY36" fmla="*/ 4216400 h 4429294"/>
                    <a:gd name="connsiteX37" fmla="*/ 1145369 w 4501379"/>
                    <a:gd name="connsiteY37" fmla="*/ 4111625 h 4429294"/>
                    <a:gd name="connsiteX38" fmla="*/ 926294 w 4501379"/>
                    <a:gd name="connsiteY38" fmla="*/ 3968750 h 4429294"/>
                    <a:gd name="connsiteX39" fmla="*/ 592919 w 4501379"/>
                    <a:gd name="connsiteY39" fmla="*/ 3657600 h 4429294"/>
                    <a:gd name="connsiteX40" fmla="*/ 446869 w 4501379"/>
                    <a:gd name="connsiteY40" fmla="*/ 3470275 h 4429294"/>
                    <a:gd name="connsiteX41" fmla="*/ 316694 w 4501379"/>
                    <a:gd name="connsiteY41" fmla="*/ 3244850 h 4429294"/>
                    <a:gd name="connsiteX42" fmla="*/ 164294 w 4501379"/>
                    <a:gd name="connsiteY42" fmla="*/ 2892425 h 4429294"/>
                    <a:gd name="connsiteX43" fmla="*/ 56344 w 4501379"/>
                    <a:gd name="connsiteY43" fmla="*/ 2368550 h 4429294"/>
                    <a:gd name="connsiteX44" fmla="*/ 2369 w 4501379"/>
                    <a:gd name="connsiteY44" fmla="*/ 1905000 h 4429294"/>
                    <a:gd name="connsiteX45" fmla="*/ 11894 w 4501379"/>
                    <a:gd name="connsiteY45" fmla="*/ 1838325 h 4429294"/>
                    <a:gd name="connsiteX46" fmla="*/ 30944 w 4501379"/>
                    <a:gd name="connsiteY46" fmla="*/ 1781175 h 4429294"/>
                    <a:gd name="connsiteX47" fmla="*/ 40469 w 4501379"/>
                    <a:gd name="connsiteY47" fmla="*/ 1743075 h 4429294"/>
                    <a:gd name="connsiteX48" fmla="*/ 59519 w 4501379"/>
                    <a:gd name="connsiteY48" fmla="*/ 1685925 h 4429294"/>
                    <a:gd name="connsiteX49" fmla="*/ 69044 w 4501379"/>
                    <a:gd name="connsiteY49" fmla="*/ 1638300 h 4429294"/>
                    <a:gd name="connsiteX50" fmla="*/ 88094 w 4501379"/>
                    <a:gd name="connsiteY50" fmla="*/ 1590675 h 4429294"/>
                    <a:gd name="connsiteX51" fmla="*/ 116669 w 4501379"/>
                    <a:gd name="connsiteY51" fmla="*/ 1504950 h 4429294"/>
                    <a:gd name="connsiteX52" fmla="*/ 135719 w 4501379"/>
                    <a:gd name="connsiteY52" fmla="*/ 1419225 h 4429294"/>
                    <a:gd name="connsiteX53" fmla="*/ 211919 w 4501379"/>
                    <a:gd name="connsiteY53" fmla="*/ 1276350 h 4429294"/>
                    <a:gd name="connsiteX54" fmla="*/ 221444 w 4501379"/>
                    <a:gd name="connsiteY54" fmla="*/ 1247775 h 4429294"/>
                    <a:gd name="connsiteX55" fmla="*/ 250019 w 4501379"/>
                    <a:gd name="connsiteY55" fmla="*/ 1200150 h 4429294"/>
                    <a:gd name="connsiteX56" fmla="*/ 269069 w 4501379"/>
                    <a:gd name="connsiteY56" fmla="*/ 1152525 h 4429294"/>
                    <a:gd name="connsiteX57" fmla="*/ 297644 w 4501379"/>
                    <a:gd name="connsiteY57" fmla="*/ 1114425 h 4429294"/>
                    <a:gd name="connsiteX58" fmla="*/ 345269 w 4501379"/>
                    <a:gd name="connsiteY58" fmla="*/ 1038225 h 4429294"/>
                    <a:gd name="connsiteX59" fmla="*/ 364319 w 4501379"/>
                    <a:gd name="connsiteY59" fmla="*/ 1009650 h 4429294"/>
                    <a:gd name="connsiteX60" fmla="*/ 421469 w 4501379"/>
                    <a:gd name="connsiteY60" fmla="*/ 904875 h 4429294"/>
                    <a:gd name="connsiteX61" fmla="*/ 459569 w 4501379"/>
                    <a:gd name="connsiteY61" fmla="*/ 857250 h 4429294"/>
                    <a:gd name="connsiteX62" fmla="*/ 478619 w 4501379"/>
                    <a:gd name="connsiteY62" fmla="*/ 828675 h 4429294"/>
                    <a:gd name="connsiteX63" fmla="*/ 516719 w 4501379"/>
                    <a:gd name="connsiteY63" fmla="*/ 800100 h 4429294"/>
                    <a:gd name="connsiteX64" fmla="*/ 583394 w 4501379"/>
                    <a:gd name="connsiteY64" fmla="*/ 733425 h 4429294"/>
                    <a:gd name="connsiteX65" fmla="*/ 650069 w 4501379"/>
                    <a:gd name="connsiteY65" fmla="*/ 676275 h 4429294"/>
                    <a:gd name="connsiteX66" fmla="*/ 678644 w 4501379"/>
                    <a:gd name="connsiteY66" fmla="*/ 657225 h 4429294"/>
                    <a:gd name="connsiteX67" fmla="*/ 821519 w 4501379"/>
                    <a:gd name="connsiteY67" fmla="*/ 533400 h 4429294"/>
                    <a:gd name="connsiteX68" fmla="*/ 869144 w 4501379"/>
                    <a:gd name="connsiteY68" fmla="*/ 504825 h 4429294"/>
                    <a:gd name="connsiteX69" fmla="*/ 1148544 w 4501379"/>
                    <a:gd name="connsiteY69" fmla="*/ 311150 h 4429294"/>
                    <a:gd name="connsiteX70" fmla="*/ 1250144 w 4501379"/>
                    <a:gd name="connsiteY70" fmla="*/ 285750 h 4429294"/>
                    <a:gd name="connsiteX71" fmla="*/ 1393019 w 4501379"/>
                    <a:gd name="connsiteY71" fmla="*/ 190500 h 4429294"/>
                    <a:gd name="connsiteX72" fmla="*/ 1431119 w 4501379"/>
                    <a:gd name="connsiteY72" fmla="*/ 161925 h 4429294"/>
                    <a:gd name="connsiteX73" fmla="*/ 1507319 w 4501379"/>
                    <a:gd name="connsiteY73" fmla="*/ 152400 h 4429294"/>
                    <a:gd name="connsiteX74" fmla="*/ 1564469 w 4501379"/>
                    <a:gd name="connsiteY74" fmla="*/ 142875 h 4429294"/>
                    <a:gd name="connsiteX75" fmla="*/ 1697819 w 4501379"/>
                    <a:gd name="connsiteY75" fmla="*/ 123825 h 4429294"/>
                    <a:gd name="connsiteX76" fmla="*/ 1793069 w 4501379"/>
                    <a:gd name="connsiteY76" fmla="*/ 114300 h 4429294"/>
                    <a:gd name="connsiteX77" fmla="*/ 1840694 w 4501379"/>
                    <a:gd name="connsiteY77" fmla="*/ 104775 h 4429294"/>
                    <a:gd name="connsiteX78" fmla="*/ 1897844 w 4501379"/>
                    <a:gd name="connsiteY78" fmla="*/ 95250 h 4429294"/>
                    <a:gd name="connsiteX79" fmla="*/ 2012144 w 4501379"/>
                    <a:gd name="connsiteY79" fmla="*/ 66675 h 4429294"/>
                    <a:gd name="connsiteX80" fmla="*/ 2078819 w 4501379"/>
                    <a:gd name="connsiteY80" fmla="*/ 47625 h 4429294"/>
                    <a:gd name="connsiteX81" fmla="*/ 2145494 w 4501379"/>
                    <a:gd name="connsiteY8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498044 w 4501379"/>
                    <a:gd name="connsiteY7" fmla="*/ 390525 h 4429294"/>
                    <a:gd name="connsiteX8" fmla="*/ 3612344 w 4501379"/>
                    <a:gd name="connsiteY8" fmla="*/ 485775 h 4429294"/>
                    <a:gd name="connsiteX9" fmla="*/ 3726644 w 4501379"/>
                    <a:gd name="connsiteY9" fmla="*/ 542925 h 4429294"/>
                    <a:gd name="connsiteX10" fmla="*/ 3793319 w 4501379"/>
                    <a:gd name="connsiteY10" fmla="*/ 581025 h 4429294"/>
                    <a:gd name="connsiteX11" fmla="*/ 4009219 w 4501379"/>
                    <a:gd name="connsiteY11" fmla="*/ 819150 h 4429294"/>
                    <a:gd name="connsiteX12" fmla="*/ 4145744 w 4501379"/>
                    <a:gd name="connsiteY12" fmla="*/ 990600 h 4429294"/>
                    <a:gd name="connsiteX13" fmla="*/ 4231469 w 4501379"/>
                    <a:gd name="connsiteY13" fmla="*/ 1143000 h 4429294"/>
                    <a:gd name="connsiteX14" fmla="*/ 4288619 w 4501379"/>
                    <a:gd name="connsiteY14" fmla="*/ 1266825 h 4429294"/>
                    <a:gd name="connsiteX15" fmla="*/ 4326719 w 4501379"/>
                    <a:gd name="connsiteY15" fmla="*/ 1362075 h 4429294"/>
                    <a:gd name="connsiteX16" fmla="*/ 4374344 w 4501379"/>
                    <a:gd name="connsiteY16" fmla="*/ 1552575 h 4429294"/>
                    <a:gd name="connsiteX17" fmla="*/ 4412444 w 4501379"/>
                    <a:gd name="connsiteY17" fmla="*/ 1685925 h 4429294"/>
                    <a:gd name="connsiteX18" fmla="*/ 4501344 w 4501379"/>
                    <a:gd name="connsiteY18" fmla="*/ 2181225 h 4429294"/>
                    <a:gd name="connsiteX19" fmla="*/ 4428319 w 4501379"/>
                    <a:gd name="connsiteY19" fmla="*/ 2768600 h 4429294"/>
                    <a:gd name="connsiteX20" fmla="*/ 4364819 w 4501379"/>
                    <a:gd name="connsiteY20" fmla="*/ 2990850 h 4429294"/>
                    <a:gd name="connsiteX21" fmla="*/ 4260044 w 4501379"/>
                    <a:gd name="connsiteY21" fmla="*/ 3248025 h 4429294"/>
                    <a:gd name="connsiteX22" fmla="*/ 4164794 w 4501379"/>
                    <a:gd name="connsiteY22" fmla="*/ 3400425 h 4429294"/>
                    <a:gd name="connsiteX23" fmla="*/ 4040969 w 4501379"/>
                    <a:gd name="connsiteY23" fmla="*/ 3533775 h 4429294"/>
                    <a:gd name="connsiteX24" fmla="*/ 3936194 w 4501379"/>
                    <a:gd name="connsiteY24" fmla="*/ 3648075 h 4429294"/>
                    <a:gd name="connsiteX25" fmla="*/ 3640919 w 4501379"/>
                    <a:gd name="connsiteY25" fmla="*/ 3971925 h 4429294"/>
                    <a:gd name="connsiteX26" fmla="*/ 3498044 w 4501379"/>
                    <a:gd name="connsiteY26" fmla="*/ 4083050 h 4429294"/>
                    <a:gd name="connsiteX27" fmla="*/ 3202769 w 4501379"/>
                    <a:gd name="connsiteY27" fmla="*/ 4222750 h 4429294"/>
                    <a:gd name="connsiteX28" fmla="*/ 3050369 w 4501379"/>
                    <a:gd name="connsiteY28" fmla="*/ 4286250 h 4429294"/>
                    <a:gd name="connsiteX29" fmla="*/ 2917019 w 4501379"/>
                    <a:gd name="connsiteY29" fmla="*/ 4333875 h 4429294"/>
                    <a:gd name="connsiteX30" fmla="*/ 2793194 w 4501379"/>
                    <a:gd name="connsiteY30" fmla="*/ 4371975 h 4429294"/>
                    <a:gd name="connsiteX31" fmla="*/ 2561419 w 4501379"/>
                    <a:gd name="connsiteY31" fmla="*/ 4391025 h 4429294"/>
                    <a:gd name="connsiteX32" fmla="*/ 2107394 w 4501379"/>
                    <a:gd name="connsiteY32" fmla="*/ 4429125 h 4429294"/>
                    <a:gd name="connsiteX33" fmla="*/ 1916894 w 4501379"/>
                    <a:gd name="connsiteY33" fmla="*/ 4400550 h 4429294"/>
                    <a:gd name="connsiteX34" fmla="*/ 1554944 w 4501379"/>
                    <a:gd name="connsiteY34" fmla="*/ 4305300 h 4429294"/>
                    <a:gd name="connsiteX35" fmla="*/ 1313644 w 4501379"/>
                    <a:gd name="connsiteY35" fmla="*/ 4216400 h 4429294"/>
                    <a:gd name="connsiteX36" fmla="*/ 1145369 w 4501379"/>
                    <a:gd name="connsiteY36" fmla="*/ 4111625 h 4429294"/>
                    <a:gd name="connsiteX37" fmla="*/ 926294 w 4501379"/>
                    <a:gd name="connsiteY37" fmla="*/ 3968750 h 4429294"/>
                    <a:gd name="connsiteX38" fmla="*/ 592919 w 4501379"/>
                    <a:gd name="connsiteY38" fmla="*/ 3657600 h 4429294"/>
                    <a:gd name="connsiteX39" fmla="*/ 446869 w 4501379"/>
                    <a:gd name="connsiteY39" fmla="*/ 3470275 h 4429294"/>
                    <a:gd name="connsiteX40" fmla="*/ 316694 w 4501379"/>
                    <a:gd name="connsiteY40" fmla="*/ 3244850 h 4429294"/>
                    <a:gd name="connsiteX41" fmla="*/ 164294 w 4501379"/>
                    <a:gd name="connsiteY41" fmla="*/ 2892425 h 4429294"/>
                    <a:gd name="connsiteX42" fmla="*/ 56344 w 4501379"/>
                    <a:gd name="connsiteY42" fmla="*/ 2368550 h 4429294"/>
                    <a:gd name="connsiteX43" fmla="*/ 2369 w 4501379"/>
                    <a:gd name="connsiteY43" fmla="*/ 1905000 h 4429294"/>
                    <a:gd name="connsiteX44" fmla="*/ 11894 w 4501379"/>
                    <a:gd name="connsiteY44" fmla="*/ 1838325 h 4429294"/>
                    <a:gd name="connsiteX45" fmla="*/ 30944 w 4501379"/>
                    <a:gd name="connsiteY45" fmla="*/ 1781175 h 4429294"/>
                    <a:gd name="connsiteX46" fmla="*/ 40469 w 4501379"/>
                    <a:gd name="connsiteY46" fmla="*/ 1743075 h 4429294"/>
                    <a:gd name="connsiteX47" fmla="*/ 59519 w 4501379"/>
                    <a:gd name="connsiteY47" fmla="*/ 1685925 h 4429294"/>
                    <a:gd name="connsiteX48" fmla="*/ 69044 w 4501379"/>
                    <a:gd name="connsiteY48" fmla="*/ 1638300 h 4429294"/>
                    <a:gd name="connsiteX49" fmla="*/ 88094 w 4501379"/>
                    <a:gd name="connsiteY49" fmla="*/ 1590675 h 4429294"/>
                    <a:gd name="connsiteX50" fmla="*/ 116669 w 4501379"/>
                    <a:gd name="connsiteY50" fmla="*/ 1504950 h 4429294"/>
                    <a:gd name="connsiteX51" fmla="*/ 135719 w 4501379"/>
                    <a:gd name="connsiteY51" fmla="*/ 1419225 h 4429294"/>
                    <a:gd name="connsiteX52" fmla="*/ 211919 w 4501379"/>
                    <a:gd name="connsiteY52" fmla="*/ 1276350 h 4429294"/>
                    <a:gd name="connsiteX53" fmla="*/ 221444 w 4501379"/>
                    <a:gd name="connsiteY53" fmla="*/ 1247775 h 4429294"/>
                    <a:gd name="connsiteX54" fmla="*/ 250019 w 4501379"/>
                    <a:gd name="connsiteY54" fmla="*/ 1200150 h 4429294"/>
                    <a:gd name="connsiteX55" fmla="*/ 269069 w 4501379"/>
                    <a:gd name="connsiteY55" fmla="*/ 1152525 h 4429294"/>
                    <a:gd name="connsiteX56" fmla="*/ 297644 w 4501379"/>
                    <a:gd name="connsiteY56" fmla="*/ 1114425 h 4429294"/>
                    <a:gd name="connsiteX57" fmla="*/ 345269 w 4501379"/>
                    <a:gd name="connsiteY57" fmla="*/ 1038225 h 4429294"/>
                    <a:gd name="connsiteX58" fmla="*/ 364319 w 4501379"/>
                    <a:gd name="connsiteY58" fmla="*/ 1009650 h 4429294"/>
                    <a:gd name="connsiteX59" fmla="*/ 421469 w 4501379"/>
                    <a:gd name="connsiteY59" fmla="*/ 904875 h 4429294"/>
                    <a:gd name="connsiteX60" fmla="*/ 459569 w 4501379"/>
                    <a:gd name="connsiteY60" fmla="*/ 857250 h 4429294"/>
                    <a:gd name="connsiteX61" fmla="*/ 478619 w 4501379"/>
                    <a:gd name="connsiteY61" fmla="*/ 828675 h 4429294"/>
                    <a:gd name="connsiteX62" fmla="*/ 516719 w 4501379"/>
                    <a:gd name="connsiteY62" fmla="*/ 800100 h 4429294"/>
                    <a:gd name="connsiteX63" fmla="*/ 583394 w 4501379"/>
                    <a:gd name="connsiteY63" fmla="*/ 733425 h 4429294"/>
                    <a:gd name="connsiteX64" fmla="*/ 650069 w 4501379"/>
                    <a:gd name="connsiteY64" fmla="*/ 676275 h 4429294"/>
                    <a:gd name="connsiteX65" fmla="*/ 678644 w 4501379"/>
                    <a:gd name="connsiteY65" fmla="*/ 657225 h 4429294"/>
                    <a:gd name="connsiteX66" fmla="*/ 821519 w 4501379"/>
                    <a:gd name="connsiteY66" fmla="*/ 533400 h 4429294"/>
                    <a:gd name="connsiteX67" fmla="*/ 869144 w 4501379"/>
                    <a:gd name="connsiteY67" fmla="*/ 504825 h 4429294"/>
                    <a:gd name="connsiteX68" fmla="*/ 1148544 w 4501379"/>
                    <a:gd name="connsiteY68" fmla="*/ 311150 h 4429294"/>
                    <a:gd name="connsiteX69" fmla="*/ 1250144 w 4501379"/>
                    <a:gd name="connsiteY69" fmla="*/ 285750 h 4429294"/>
                    <a:gd name="connsiteX70" fmla="*/ 1393019 w 4501379"/>
                    <a:gd name="connsiteY70" fmla="*/ 190500 h 4429294"/>
                    <a:gd name="connsiteX71" fmla="*/ 1431119 w 4501379"/>
                    <a:gd name="connsiteY71" fmla="*/ 161925 h 4429294"/>
                    <a:gd name="connsiteX72" fmla="*/ 1507319 w 4501379"/>
                    <a:gd name="connsiteY72" fmla="*/ 152400 h 4429294"/>
                    <a:gd name="connsiteX73" fmla="*/ 1564469 w 4501379"/>
                    <a:gd name="connsiteY73" fmla="*/ 142875 h 4429294"/>
                    <a:gd name="connsiteX74" fmla="*/ 1697819 w 4501379"/>
                    <a:gd name="connsiteY74" fmla="*/ 123825 h 4429294"/>
                    <a:gd name="connsiteX75" fmla="*/ 1793069 w 4501379"/>
                    <a:gd name="connsiteY75" fmla="*/ 114300 h 4429294"/>
                    <a:gd name="connsiteX76" fmla="*/ 1840694 w 4501379"/>
                    <a:gd name="connsiteY76" fmla="*/ 104775 h 4429294"/>
                    <a:gd name="connsiteX77" fmla="*/ 1897844 w 4501379"/>
                    <a:gd name="connsiteY77" fmla="*/ 95250 h 4429294"/>
                    <a:gd name="connsiteX78" fmla="*/ 2012144 w 4501379"/>
                    <a:gd name="connsiteY78" fmla="*/ 66675 h 4429294"/>
                    <a:gd name="connsiteX79" fmla="*/ 2078819 w 4501379"/>
                    <a:gd name="connsiteY79" fmla="*/ 47625 h 4429294"/>
                    <a:gd name="connsiteX80" fmla="*/ 2145494 w 4501379"/>
                    <a:gd name="connsiteY8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612344 w 4501379"/>
                    <a:gd name="connsiteY7" fmla="*/ 485775 h 4429294"/>
                    <a:gd name="connsiteX8" fmla="*/ 3726644 w 4501379"/>
                    <a:gd name="connsiteY8" fmla="*/ 542925 h 4429294"/>
                    <a:gd name="connsiteX9" fmla="*/ 3793319 w 4501379"/>
                    <a:gd name="connsiteY9" fmla="*/ 581025 h 4429294"/>
                    <a:gd name="connsiteX10" fmla="*/ 4009219 w 4501379"/>
                    <a:gd name="connsiteY10" fmla="*/ 819150 h 4429294"/>
                    <a:gd name="connsiteX11" fmla="*/ 4145744 w 4501379"/>
                    <a:gd name="connsiteY11" fmla="*/ 990600 h 4429294"/>
                    <a:gd name="connsiteX12" fmla="*/ 4231469 w 4501379"/>
                    <a:gd name="connsiteY12" fmla="*/ 1143000 h 4429294"/>
                    <a:gd name="connsiteX13" fmla="*/ 4288619 w 4501379"/>
                    <a:gd name="connsiteY13" fmla="*/ 1266825 h 4429294"/>
                    <a:gd name="connsiteX14" fmla="*/ 4326719 w 4501379"/>
                    <a:gd name="connsiteY14" fmla="*/ 1362075 h 4429294"/>
                    <a:gd name="connsiteX15" fmla="*/ 4374344 w 4501379"/>
                    <a:gd name="connsiteY15" fmla="*/ 1552575 h 4429294"/>
                    <a:gd name="connsiteX16" fmla="*/ 4412444 w 4501379"/>
                    <a:gd name="connsiteY16" fmla="*/ 1685925 h 4429294"/>
                    <a:gd name="connsiteX17" fmla="*/ 4501344 w 4501379"/>
                    <a:gd name="connsiteY17" fmla="*/ 2181225 h 4429294"/>
                    <a:gd name="connsiteX18" fmla="*/ 4428319 w 4501379"/>
                    <a:gd name="connsiteY18" fmla="*/ 2768600 h 4429294"/>
                    <a:gd name="connsiteX19" fmla="*/ 4364819 w 4501379"/>
                    <a:gd name="connsiteY19" fmla="*/ 2990850 h 4429294"/>
                    <a:gd name="connsiteX20" fmla="*/ 4260044 w 4501379"/>
                    <a:gd name="connsiteY20" fmla="*/ 3248025 h 4429294"/>
                    <a:gd name="connsiteX21" fmla="*/ 4164794 w 4501379"/>
                    <a:gd name="connsiteY21" fmla="*/ 3400425 h 4429294"/>
                    <a:gd name="connsiteX22" fmla="*/ 4040969 w 4501379"/>
                    <a:gd name="connsiteY22" fmla="*/ 3533775 h 4429294"/>
                    <a:gd name="connsiteX23" fmla="*/ 3936194 w 4501379"/>
                    <a:gd name="connsiteY23" fmla="*/ 3648075 h 4429294"/>
                    <a:gd name="connsiteX24" fmla="*/ 3640919 w 4501379"/>
                    <a:gd name="connsiteY24" fmla="*/ 3971925 h 4429294"/>
                    <a:gd name="connsiteX25" fmla="*/ 3498044 w 4501379"/>
                    <a:gd name="connsiteY25" fmla="*/ 4083050 h 4429294"/>
                    <a:gd name="connsiteX26" fmla="*/ 3202769 w 4501379"/>
                    <a:gd name="connsiteY26" fmla="*/ 4222750 h 4429294"/>
                    <a:gd name="connsiteX27" fmla="*/ 3050369 w 4501379"/>
                    <a:gd name="connsiteY27" fmla="*/ 4286250 h 4429294"/>
                    <a:gd name="connsiteX28" fmla="*/ 2917019 w 4501379"/>
                    <a:gd name="connsiteY28" fmla="*/ 4333875 h 4429294"/>
                    <a:gd name="connsiteX29" fmla="*/ 2793194 w 4501379"/>
                    <a:gd name="connsiteY29" fmla="*/ 4371975 h 4429294"/>
                    <a:gd name="connsiteX30" fmla="*/ 2561419 w 4501379"/>
                    <a:gd name="connsiteY30" fmla="*/ 4391025 h 4429294"/>
                    <a:gd name="connsiteX31" fmla="*/ 2107394 w 4501379"/>
                    <a:gd name="connsiteY31" fmla="*/ 4429125 h 4429294"/>
                    <a:gd name="connsiteX32" fmla="*/ 1916894 w 4501379"/>
                    <a:gd name="connsiteY32" fmla="*/ 4400550 h 4429294"/>
                    <a:gd name="connsiteX33" fmla="*/ 1554944 w 4501379"/>
                    <a:gd name="connsiteY33" fmla="*/ 4305300 h 4429294"/>
                    <a:gd name="connsiteX34" fmla="*/ 1313644 w 4501379"/>
                    <a:gd name="connsiteY34" fmla="*/ 4216400 h 4429294"/>
                    <a:gd name="connsiteX35" fmla="*/ 1145369 w 4501379"/>
                    <a:gd name="connsiteY35" fmla="*/ 4111625 h 4429294"/>
                    <a:gd name="connsiteX36" fmla="*/ 926294 w 4501379"/>
                    <a:gd name="connsiteY36" fmla="*/ 3968750 h 4429294"/>
                    <a:gd name="connsiteX37" fmla="*/ 592919 w 4501379"/>
                    <a:gd name="connsiteY37" fmla="*/ 3657600 h 4429294"/>
                    <a:gd name="connsiteX38" fmla="*/ 446869 w 4501379"/>
                    <a:gd name="connsiteY38" fmla="*/ 3470275 h 4429294"/>
                    <a:gd name="connsiteX39" fmla="*/ 316694 w 4501379"/>
                    <a:gd name="connsiteY39" fmla="*/ 3244850 h 4429294"/>
                    <a:gd name="connsiteX40" fmla="*/ 164294 w 4501379"/>
                    <a:gd name="connsiteY40" fmla="*/ 2892425 h 4429294"/>
                    <a:gd name="connsiteX41" fmla="*/ 56344 w 4501379"/>
                    <a:gd name="connsiteY41" fmla="*/ 2368550 h 4429294"/>
                    <a:gd name="connsiteX42" fmla="*/ 2369 w 4501379"/>
                    <a:gd name="connsiteY42" fmla="*/ 1905000 h 4429294"/>
                    <a:gd name="connsiteX43" fmla="*/ 11894 w 4501379"/>
                    <a:gd name="connsiteY43" fmla="*/ 1838325 h 4429294"/>
                    <a:gd name="connsiteX44" fmla="*/ 30944 w 4501379"/>
                    <a:gd name="connsiteY44" fmla="*/ 1781175 h 4429294"/>
                    <a:gd name="connsiteX45" fmla="*/ 40469 w 4501379"/>
                    <a:gd name="connsiteY45" fmla="*/ 1743075 h 4429294"/>
                    <a:gd name="connsiteX46" fmla="*/ 59519 w 4501379"/>
                    <a:gd name="connsiteY46" fmla="*/ 1685925 h 4429294"/>
                    <a:gd name="connsiteX47" fmla="*/ 69044 w 4501379"/>
                    <a:gd name="connsiteY47" fmla="*/ 1638300 h 4429294"/>
                    <a:gd name="connsiteX48" fmla="*/ 88094 w 4501379"/>
                    <a:gd name="connsiteY48" fmla="*/ 1590675 h 4429294"/>
                    <a:gd name="connsiteX49" fmla="*/ 116669 w 4501379"/>
                    <a:gd name="connsiteY49" fmla="*/ 1504950 h 4429294"/>
                    <a:gd name="connsiteX50" fmla="*/ 135719 w 4501379"/>
                    <a:gd name="connsiteY50" fmla="*/ 1419225 h 4429294"/>
                    <a:gd name="connsiteX51" fmla="*/ 211919 w 4501379"/>
                    <a:gd name="connsiteY51" fmla="*/ 1276350 h 4429294"/>
                    <a:gd name="connsiteX52" fmla="*/ 221444 w 4501379"/>
                    <a:gd name="connsiteY52" fmla="*/ 1247775 h 4429294"/>
                    <a:gd name="connsiteX53" fmla="*/ 250019 w 4501379"/>
                    <a:gd name="connsiteY53" fmla="*/ 1200150 h 4429294"/>
                    <a:gd name="connsiteX54" fmla="*/ 269069 w 4501379"/>
                    <a:gd name="connsiteY54" fmla="*/ 1152525 h 4429294"/>
                    <a:gd name="connsiteX55" fmla="*/ 297644 w 4501379"/>
                    <a:gd name="connsiteY55" fmla="*/ 1114425 h 4429294"/>
                    <a:gd name="connsiteX56" fmla="*/ 345269 w 4501379"/>
                    <a:gd name="connsiteY56" fmla="*/ 1038225 h 4429294"/>
                    <a:gd name="connsiteX57" fmla="*/ 364319 w 4501379"/>
                    <a:gd name="connsiteY57" fmla="*/ 1009650 h 4429294"/>
                    <a:gd name="connsiteX58" fmla="*/ 421469 w 4501379"/>
                    <a:gd name="connsiteY58" fmla="*/ 904875 h 4429294"/>
                    <a:gd name="connsiteX59" fmla="*/ 459569 w 4501379"/>
                    <a:gd name="connsiteY59" fmla="*/ 857250 h 4429294"/>
                    <a:gd name="connsiteX60" fmla="*/ 478619 w 4501379"/>
                    <a:gd name="connsiteY60" fmla="*/ 828675 h 4429294"/>
                    <a:gd name="connsiteX61" fmla="*/ 516719 w 4501379"/>
                    <a:gd name="connsiteY61" fmla="*/ 800100 h 4429294"/>
                    <a:gd name="connsiteX62" fmla="*/ 583394 w 4501379"/>
                    <a:gd name="connsiteY62" fmla="*/ 733425 h 4429294"/>
                    <a:gd name="connsiteX63" fmla="*/ 650069 w 4501379"/>
                    <a:gd name="connsiteY63" fmla="*/ 676275 h 4429294"/>
                    <a:gd name="connsiteX64" fmla="*/ 678644 w 4501379"/>
                    <a:gd name="connsiteY64" fmla="*/ 657225 h 4429294"/>
                    <a:gd name="connsiteX65" fmla="*/ 821519 w 4501379"/>
                    <a:gd name="connsiteY65" fmla="*/ 533400 h 4429294"/>
                    <a:gd name="connsiteX66" fmla="*/ 869144 w 4501379"/>
                    <a:gd name="connsiteY66" fmla="*/ 504825 h 4429294"/>
                    <a:gd name="connsiteX67" fmla="*/ 1148544 w 4501379"/>
                    <a:gd name="connsiteY67" fmla="*/ 311150 h 4429294"/>
                    <a:gd name="connsiteX68" fmla="*/ 1250144 w 4501379"/>
                    <a:gd name="connsiteY68" fmla="*/ 285750 h 4429294"/>
                    <a:gd name="connsiteX69" fmla="*/ 1393019 w 4501379"/>
                    <a:gd name="connsiteY69" fmla="*/ 190500 h 4429294"/>
                    <a:gd name="connsiteX70" fmla="*/ 1431119 w 4501379"/>
                    <a:gd name="connsiteY70" fmla="*/ 161925 h 4429294"/>
                    <a:gd name="connsiteX71" fmla="*/ 1507319 w 4501379"/>
                    <a:gd name="connsiteY71" fmla="*/ 152400 h 4429294"/>
                    <a:gd name="connsiteX72" fmla="*/ 1564469 w 4501379"/>
                    <a:gd name="connsiteY72" fmla="*/ 142875 h 4429294"/>
                    <a:gd name="connsiteX73" fmla="*/ 1697819 w 4501379"/>
                    <a:gd name="connsiteY73" fmla="*/ 123825 h 4429294"/>
                    <a:gd name="connsiteX74" fmla="*/ 1793069 w 4501379"/>
                    <a:gd name="connsiteY74" fmla="*/ 114300 h 4429294"/>
                    <a:gd name="connsiteX75" fmla="*/ 1840694 w 4501379"/>
                    <a:gd name="connsiteY75" fmla="*/ 104775 h 4429294"/>
                    <a:gd name="connsiteX76" fmla="*/ 1897844 w 4501379"/>
                    <a:gd name="connsiteY76" fmla="*/ 95250 h 4429294"/>
                    <a:gd name="connsiteX77" fmla="*/ 2012144 w 4501379"/>
                    <a:gd name="connsiteY77" fmla="*/ 66675 h 4429294"/>
                    <a:gd name="connsiteX78" fmla="*/ 2078819 w 4501379"/>
                    <a:gd name="connsiteY78" fmla="*/ 47625 h 4429294"/>
                    <a:gd name="connsiteX79" fmla="*/ 2145494 w 4501379"/>
                    <a:gd name="connsiteY7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26644 w 4501379"/>
                    <a:gd name="connsiteY7" fmla="*/ 542925 h 4429294"/>
                    <a:gd name="connsiteX8" fmla="*/ 3793319 w 4501379"/>
                    <a:gd name="connsiteY8" fmla="*/ 581025 h 4429294"/>
                    <a:gd name="connsiteX9" fmla="*/ 4009219 w 4501379"/>
                    <a:gd name="connsiteY9" fmla="*/ 819150 h 4429294"/>
                    <a:gd name="connsiteX10" fmla="*/ 4145744 w 4501379"/>
                    <a:gd name="connsiteY10" fmla="*/ 990600 h 4429294"/>
                    <a:gd name="connsiteX11" fmla="*/ 4231469 w 4501379"/>
                    <a:gd name="connsiteY11" fmla="*/ 1143000 h 4429294"/>
                    <a:gd name="connsiteX12" fmla="*/ 4288619 w 4501379"/>
                    <a:gd name="connsiteY12" fmla="*/ 1266825 h 4429294"/>
                    <a:gd name="connsiteX13" fmla="*/ 4326719 w 4501379"/>
                    <a:gd name="connsiteY13" fmla="*/ 1362075 h 4429294"/>
                    <a:gd name="connsiteX14" fmla="*/ 4374344 w 4501379"/>
                    <a:gd name="connsiteY14" fmla="*/ 1552575 h 4429294"/>
                    <a:gd name="connsiteX15" fmla="*/ 4412444 w 4501379"/>
                    <a:gd name="connsiteY15" fmla="*/ 1685925 h 4429294"/>
                    <a:gd name="connsiteX16" fmla="*/ 4501344 w 4501379"/>
                    <a:gd name="connsiteY16" fmla="*/ 2181225 h 4429294"/>
                    <a:gd name="connsiteX17" fmla="*/ 4428319 w 4501379"/>
                    <a:gd name="connsiteY17" fmla="*/ 2768600 h 4429294"/>
                    <a:gd name="connsiteX18" fmla="*/ 4364819 w 4501379"/>
                    <a:gd name="connsiteY18" fmla="*/ 2990850 h 4429294"/>
                    <a:gd name="connsiteX19" fmla="*/ 4260044 w 4501379"/>
                    <a:gd name="connsiteY19" fmla="*/ 3248025 h 4429294"/>
                    <a:gd name="connsiteX20" fmla="*/ 4164794 w 4501379"/>
                    <a:gd name="connsiteY20" fmla="*/ 3400425 h 4429294"/>
                    <a:gd name="connsiteX21" fmla="*/ 4040969 w 4501379"/>
                    <a:gd name="connsiteY21" fmla="*/ 3533775 h 4429294"/>
                    <a:gd name="connsiteX22" fmla="*/ 3936194 w 4501379"/>
                    <a:gd name="connsiteY22" fmla="*/ 3648075 h 4429294"/>
                    <a:gd name="connsiteX23" fmla="*/ 3640919 w 4501379"/>
                    <a:gd name="connsiteY23" fmla="*/ 3971925 h 4429294"/>
                    <a:gd name="connsiteX24" fmla="*/ 3498044 w 4501379"/>
                    <a:gd name="connsiteY24" fmla="*/ 4083050 h 4429294"/>
                    <a:gd name="connsiteX25" fmla="*/ 3202769 w 4501379"/>
                    <a:gd name="connsiteY25" fmla="*/ 4222750 h 4429294"/>
                    <a:gd name="connsiteX26" fmla="*/ 3050369 w 4501379"/>
                    <a:gd name="connsiteY26" fmla="*/ 4286250 h 4429294"/>
                    <a:gd name="connsiteX27" fmla="*/ 2917019 w 4501379"/>
                    <a:gd name="connsiteY27" fmla="*/ 4333875 h 4429294"/>
                    <a:gd name="connsiteX28" fmla="*/ 2793194 w 4501379"/>
                    <a:gd name="connsiteY28" fmla="*/ 4371975 h 4429294"/>
                    <a:gd name="connsiteX29" fmla="*/ 2561419 w 4501379"/>
                    <a:gd name="connsiteY29" fmla="*/ 4391025 h 4429294"/>
                    <a:gd name="connsiteX30" fmla="*/ 2107394 w 4501379"/>
                    <a:gd name="connsiteY30" fmla="*/ 4429125 h 4429294"/>
                    <a:gd name="connsiteX31" fmla="*/ 1916894 w 4501379"/>
                    <a:gd name="connsiteY31" fmla="*/ 4400550 h 4429294"/>
                    <a:gd name="connsiteX32" fmla="*/ 1554944 w 4501379"/>
                    <a:gd name="connsiteY32" fmla="*/ 4305300 h 4429294"/>
                    <a:gd name="connsiteX33" fmla="*/ 1313644 w 4501379"/>
                    <a:gd name="connsiteY33" fmla="*/ 4216400 h 4429294"/>
                    <a:gd name="connsiteX34" fmla="*/ 1145369 w 4501379"/>
                    <a:gd name="connsiteY34" fmla="*/ 4111625 h 4429294"/>
                    <a:gd name="connsiteX35" fmla="*/ 926294 w 4501379"/>
                    <a:gd name="connsiteY35" fmla="*/ 3968750 h 4429294"/>
                    <a:gd name="connsiteX36" fmla="*/ 592919 w 4501379"/>
                    <a:gd name="connsiteY36" fmla="*/ 3657600 h 4429294"/>
                    <a:gd name="connsiteX37" fmla="*/ 446869 w 4501379"/>
                    <a:gd name="connsiteY37" fmla="*/ 3470275 h 4429294"/>
                    <a:gd name="connsiteX38" fmla="*/ 316694 w 4501379"/>
                    <a:gd name="connsiteY38" fmla="*/ 3244850 h 4429294"/>
                    <a:gd name="connsiteX39" fmla="*/ 164294 w 4501379"/>
                    <a:gd name="connsiteY39" fmla="*/ 2892425 h 4429294"/>
                    <a:gd name="connsiteX40" fmla="*/ 56344 w 4501379"/>
                    <a:gd name="connsiteY40" fmla="*/ 2368550 h 4429294"/>
                    <a:gd name="connsiteX41" fmla="*/ 2369 w 4501379"/>
                    <a:gd name="connsiteY41" fmla="*/ 1905000 h 4429294"/>
                    <a:gd name="connsiteX42" fmla="*/ 11894 w 4501379"/>
                    <a:gd name="connsiteY42" fmla="*/ 1838325 h 4429294"/>
                    <a:gd name="connsiteX43" fmla="*/ 30944 w 4501379"/>
                    <a:gd name="connsiteY43" fmla="*/ 1781175 h 4429294"/>
                    <a:gd name="connsiteX44" fmla="*/ 40469 w 4501379"/>
                    <a:gd name="connsiteY44" fmla="*/ 1743075 h 4429294"/>
                    <a:gd name="connsiteX45" fmla="*/ 59519 w 4501379"/>
                    <a:gd name="connsiteY45" fmla="*/ 1685925 h 4429294"/>
                    <a:gd name="connsiteX46" fmla="*/ 69044 w 4501379"/>
                    <a:gd name="connsiteY46" fmla="*/ 1638300 h 4429294"/>
                    <a:gd name="connsiteX47" fmla="*/ 88094 w 4501379"/>
                    <a:gd name="connsiteY47" fmla="*/ 1590675 h 4429294"/>
                    <a:gd name="connsiteX48" fmla="*/ 116669 w 4501379"/>
                    <a:gd name="connsiteY48" fmla="*/ 1504950 h 4429294"/>
                    <a:gd name="connsiteX49" fmla="*/ 135719 w 4501379"/>
                    <a:gd name="connsiteY49" fmla="*/ 1419225 h 4429294"/>
                    <a:gd name="connsiteX50" fmla="*/ 211919 w 4501379"/>
                    <a:gd name="connsiteY50" fmla="*/ 1276350 h 4429294"/>
                    <a:gd name="connsiteX51" fmla="*/ 221444 w 4501379"/>
                    <a:gd name="connsiteY51" fmla="*/ 1247775 h 4429294"/>
                    <a:gd name="connsiteX52" fmla="*/ 250019 w 4501379"/>
                    <a:gd name="connsiteY52" fmla="*/ 1200150 h 4429294"/>
                    <a:gd name="connsiteX53" fmla="*/ 269069 w 4501379"/>
                    <a:gd name="connsiteY53" fmla="*/ 1152525 h 4429294"/>
                    <a:gd name="connsiteX54" fmla="*/ 297644 w 4501379"/>
                    <a:gd name="connsiteY54" fmla="*/ 1114425 h 4429294"/>
                    <a:gd name="connsiteX55" fmla="*/ 345269 w 4501379"/>
                    <a:gd name="connsiteY55" fmla="*/ 1038225 h 4429294"/>
                    <a:gd name="connsiteX56" fmla="*/ 364319 w 4501379"/>
                    <a:gd name="connsiteY56" fmla="*/ 1009650 h 4429294"/>
                    <a:gd name="connsiteX57" fmla="*/ 421469 w 4501379"/>
                    <a:gd name="connsiteY57" fmla="*/ 904875 h 4429294"/>
                    <a:gd name="connsiteX58" fmla="*/ 459569 w 4501379"/>
                    <a:gd name="connsiteY58" fmla="*/ 857250 h 4429294"/>
                    <a:gd name="connsiteX59" fmla="*/ 478619 w 4501379"/>
                    <a:gd name="connsiteY59" fmla="*/ 828675 h 4429294"/>
                    <a:gd name="connsiteX60" fmla="*/ 516719 w 4501379"/>
                    <a:gd name="connsiteY60" fmla="*/ 800100 h 4429294"/>
                    <a:gd name="connsiteX61" fmla="*/ 583394 w 4501379"/>
                    <a:gd name="connsiteY61" fmla="*/ 733425 h 4429294"/>
                    <a:gd name="connsiteX62" fmla="*/ 650069 w 4501379"/>
                    <a:gd name="connsiteY62" fmla="*/ 676275 h 4429294"/>
                    <a:gd name="connsiteX63" fmla="*/ 678644 w 4501379"/>
                    <a:gd name="connsiteY63" fmla="*/ 657225 h 4429294"/>
                    <a:gd name="connsiteX64" fmla="*/ 821519 w 4501379"/>
                    <a:gd name="connsiteY64" fmla="*/ 533400 h 4429294"/>
                    <a:gd name="connsiteX65" fmla="*/ 869144 w 4501379"/>
                    <a:gd name="connsiteY65" fmla="*/ 504825 h 4429294"/>
                    <a:gd name="connsiteX66" fmla="*/ 1148544 w 4501379"/>
                    <a:gd name="connsiteY66" fmla="*/ 311150 h 4429294"/>
                    <a:gd name="connsiteX67" fmla="*/ 1250144 w 4501379"/>
                    <a:gd name="connsiteY67" fmla="*/ 285750 h 4429294"/>
                    <a:gd name="connsiteX68" fmla="*/ 1393019 w 4501379"/>
                    <a:gd name="connsiteY68" fmla="*/ 190500 h 4429294"/>
                    <a:gd name="connsiteX69" fmla="*/ 1431119 w 4501379"/>
                    <a:gd name="connsiteY69" fmla="*/ 161925 h 4429294"/>
                    <a:gd name="connsiteX70" fmla="*/ 1507319 w 4501379"/>
                    <a:gd name="connsiteY70" fmla="*/ 152400 h 4429294"/>
                    <a:gd name="connsiteX71" fmla="*/ 1564469 w 4501379"/>
                    <a:gd name="connsiteY71" fmla="*/ 142875 h 4429294"/>
                    <a:gd name="connsiteX72" fmla="*/ 1697819 w 4501379"/>
                    <a:gd name="connsiteY72" fmla="*/ 123825 h 4429294"/>
                    <a:gd name="connsiteX73" fmla="*/ 1793069 w 4501379"/>
                    <a:gd name="connsiteY73" fmla="*/ 114300 h 4429294"/>
                    <a:gd name="connsiteX74" fmla="*/ 1840694 w 4501379"/>
                    <a:gd name="connsiteY74" fmla="*/ 104775 h 4429294"/>
                    <a:gd name="connsiteX75" fmla="*/ 1897844 w 4501379"/>
                    <a:gd name="connsiteY75" fmla="*/ 95250 h 4429294"/>
                    <a:gd name="connsiteX76" fmla="*/ 2012144 w 4501379"/>
                    <a:gd name="connsiteY76" fmla="*/ 66675 h 4429294"/>
                    <a:gd name="connsiteX77" fmla="*/ 2078819 w 4501379"/>
                    <a:gd name="connsiteY77" fmla="*/ 47625 h 4429294"/>
                    <a:gd name="connsiteX78" fmla="*/ 2145494 w 4501379"/>
                    <a:gd name="connsiteY7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93319 w 4501379"/>
                    <a:gd name="connsiteY7" fmla="*/ 581025 h 4429294"/>
                    <a:gd name="connsiteX8" fmla="*/ 4009219 w 4501379"/>
                    <a:gd name="connsiteY8" fmla="*/ 819150 h 4429294"/>
                    <a:gd name="connsiteX9" fmla="*/ 4145744 w 4501379"/>
                    <a:gd name="connsiteY9" fmla="*/ 990600 h 4429294"/>
                    <a:gd name="connsiteX10" fmla="*/ 4231469 w 4501379"/>
                    <a:gd name="connsiteY10" fmla="*/ 1143000 h 4429294"/>
                    <a:gd name="connsiteX11" fmla="*/ 4288619 w 4501379"/>
                    <a:gd name="connsiteY11" fmla="*/ 1266825 h 4429294"/>
                    <a:gd name="connsiteX12" fmla="*/ 4326719 w 4501379"/>
                    <a:gd name="connsiteY12" fmla="*/ 1362075 h 4429294"/>
                    <a:gd name="connsiteX13" fmla="*/ 4374344 w 4501379"/>
                    <a:gd name="connsiteY13" fmla="*/ 1552575 h 4429294"/>
                    <a:gd name="connsiteX14" fmla="*/ 4412444 w 4501379"/>
                    <a:gd name="connsiteY14" fmla="*/ 1685925 h 4429294"/>
                    <a:gd name="connsiteX15" fmla="*/ 4501344 w 4501379"/>
                    <a:gd name="connsiteY15" fmla="*/ 2181225 h 4429294"/>
                    <a:gd name="connsiteX16" fmla="*/ 4428319 w 4501379"/>
                    <a:gd name="connsiteY16" fmla="*/ 2768600 h 4429294"/>
                    <a:gd name="connsiteX17" fmla="*/ 4364819 w 4501379"/>
                    <a:gd name="connsiteY17" fmla="*/ 2990850 h 4429294"/>
                    <a:gd name="connsiteX18" fmla="*/ 4260044 w 4501379"/>
                    <a:gd name="connsiteY18" fmla="*/ 3248025 h 4429294"/>
                    <a:gd name="connsiteX19" fmla="*/ 4164794 w 4501379"/>
                    <a:gd name="connsiteY19" fmla="*/ 3400425 h 4429294"/>
                    <a:gd name="connsiteX20" fmla="*/ 4040969 w 4501379"/>
                    <a:gd name="connsiteY20" fmla="*/ 3533775 h 4429294"/>
                    <a:gd name="connsiteX21" fmla="*/ 3936194 w 4501379"/>
                    <a:gd name="connsiteY21" fmla="*/ 3648075 h 4429294"/>
                    <a:gd name="connsiteX22" fmla="*/ 3640919 w 4501379"/>
                    <a:gd name="connsiteY22" fmla="*/ 3971925 h 4429294"/>
                    <a:gd name="connsiteX23" fmla="*/ 3498044 w 4501379"/>
                    <a:gd name="connsiteY23" fmla="*/ 4083050 h 4429294"/>
                    <a:gd name="connsiteX24" fmla="*/ 3202769 w 4501379"/>
                    <a:gd name="connsiteY24" fmla="*/ 4222750 h 4429294"/>
                    <a:gd name="connsiteX25" fmla="*/ 3050369 w 4501379"/>
                    <a:gd name="connsiteY25" fmla="*/ 4286250 h 4429294"/>
                    <a:gd name="connsiteX26" fmla="*/ 2917019 w 4501379"/>
                    <a:gd name="connsiteY26" fmla="*/ 4333875 h 4429294"/>
                    <a:gd name="connsiteX27" fmla="*/ 2793194 w 4501379"/>
                    <a:gd name="connsiteY27" fmla="*/ 4371975 h 4429294"/>
                    <a:gd name="connsiteX28" fmla="*/ 2561419 w 4501379"/>
                    <a:gd name="connsiteY28" fmla="*/ 4391025 h 4429294"/>
                    <a:gd name="connsiteX29" fmla="*/ 2107394 w 4501379"/>
                    <a:gd name="connsiteY29" fmla="*/ 4429125 h 4429294"/>
                    <a:gd name="connsiteX30" fmla="*/ 1916894 w 4501379"/>
                    <a:gd name="connsiteY30" fmla="*/ 4400550 h 4429294"/>
                    <a:gd name="connsiteX31" fmla="*/ 1554944 w 4501379"/>
                    <a:gd name="connsiteY31" fmla="*/ 4305300 h 4429294"/>
                    <a:gd name="connsiteX32" fmla="*/ 1313644 w 4501379"/>
                    <a:gd name="connsiteY32" fmla="*/ 4216400 h 4429294"/>
                    <a:gd name="connsiteX33" fmla="*/ 1145369 w 4501379"/>
                    <a:gd name="connsiteY33" fmla="*/ 4111625 h 4429294"/>
                    <a:gd name="connsiteX34" fmla="*/ 926294 w 4501379"/>
                    <a:gd name="connsiteY34" fmla="*/ 3968750 h 4429294"/>
                    <a:gd name="connsiteX35" fmla="*/ 592919 w 4501379"/>
                    <a:gd name="connsiteY35" fmla="*/ 3657600 h 4429294"/>
                    <a:gd name="connsiteX36" fmla="*/ 446869 w 4501379"/>
                    <a:gd name="connsiteY36" fmla="*/ 3470275 h 4429294"/>
                    <a:gd name="connsiteX37" fmla="*/ 316694 w 4501379"/>
                    <a:gd name="connsiteY37" fmla="*/ 3244850 h 4429294"/>
                    <a:gd name="connsiteX38" fmla="*/ 164294 w 4501379"/>
                    <a:gd name="connsiteY38" fmla="*/ 2892425 h 4429294"/>
                    <a:gd name="connsiteX39" fmla="*/ 56344 w 4501379"/>
                    <a:gd name="connsiteY39" fmla="*/ 2368550 h 4429294"/>
                    <a:gd name="connsiteX40" fmla="*/ 2369 w 4501379"/>
                    <a:gd name="connsiteY40" fmla="*/ 1905000 h 4429294"/>
                    <a:gd name="connsiteX41" fmla="*/ 11894 w 4501379"/>
                    <a:gd name="connsiteY41" fmla="*/ 1838325 h 4429294"/>
                    <a:gd name="connsiteX42" fmla="*/ 30944 w 4501379"/>
                    <a:gd name="connsiteY42" fmla="*/ 1781175 h 4429294"/>
                    <a:gd name="connsiteX43" fmla="*/ 40469 w 4501379"/>
                    <a:gd name="connsiteY43" fmla="*/ 1743075 h 4429294"/>
                    <a:gd name="connsiteX44" fmla="*/ 59519 w 4501379"/>
                    <a:gd name="connsiteY44" fmla="*/ 1685925 h 4429294"/>
                    <a:gd name="connsiteX45" fmla="*/ 69044 w 4501379"/>
                    <a:gd name="connsiteY45" fmla="*/ 1638300 h 4429294"/>
                    <a:gd name="connsiteX46" fmla="*/ 88094 w 4501379"/>
                    <a:gd name="connsiteY46" fmla="*/ 1590675 h 4429294"/>
                    <a:gd name="connsiteX47" fmla="*/ 116669 w 4501379"/>
                    <a:gd name="connsiteY47" fmla="*/ 1504950 h 4429294"/>
                    <a:gd name="connsiteX48" fmla="*/ 135719 w 4501379"/>
                    <a:gd name="connsiteY48" fmla="*/ 1419225 h 4429294"/>
                    <a:gd name="connsiteX49" fmla="*/ 211919 w 4501379"/>
                    <a:gd name="connsiteY49" fmla="*/ 1276350 h 4429294"/>
                    <a:gd name="connsiteX50" fmla="*/ 221444 w 4501379"/>
                    <a:gd name="connsiteY50" fmla="*/ 1247775 h 4429294"/>
                    <a:gd name="connsiteX51" fmla="*/ 250019 w 4501379"/>
                    <a:gd name="connsiteY51" fmla="*/ 1200150 h 4429294"/>
                    <a:gd name="connsiteX52" fmla="*/ 269069 w 4501379"/>
                    <a:gd name="connsiteY52" fmla="*/ 1152525 h 4429294"/>
                    <a:gd name="connsiteX53" fmla="*/ 297644 w 4501379"/>
                    <a:gd name="connsiteY53" fmla="*/ 1114425 h 4429294"/>
                    <a:gd name="connsiteX54" fmla="*/ 345269 w 4501379"/>
                    <a:gd name="connsiteY54" fmla="*/ 1038225 h 4429294"/>
                    <a:gd name="connsiteX55" fmla="*/ 364319 w 4501379"/>
                    <a:gd name="connsiteY55" fmla="*/ 1009650 h 4429294"/>
                    <a:gd name="connsiteX56" fmla="*/ 421469 w 4501379"/>
                    <a:gd name="connsiteY56" fmla="*/ 904875 h 4429294"/>
                    <a:gd name="connsiteX57" fmla="*/ 459569 w 4501379"/>
                    <a:gd name="connsiteY57" fmla="*/ 857250 h 4429294"/>
                    <a:gd name="connsiteX58" fmla="*/ 478619 w 4501379"/>
                    <a:gd name="connsiteY58" fmla="*/ 828675 h 4429294"/>
                    <a:gd name="connsiteX59" fmla="*/ 516719 w 4501379"/>
                    <a:gd name="connsiteY59" fmla="*/ 800100 h 4429294"/>
                    <a:gd name="connsiteX60" fmla="*/ 583394 w 4501379"/>
                    <a:gd name="connsiteY60" fmla="*/ 733425 h 4429294"/>
                    <a:gd name="connsiteX61" fmla="*/ 650069 w 4501379"/>
                    <a:gd name="connsiteY61" fmla="*/ 676275 h 4429294"/>
                    <a:gd name="connsiteX62" fmla="*/ 678644 w 4501379"/>
                    <a:gd name="connsiteY62" fmla="*/ 657225 h 4429294"/>
                    <a:gd name="connsiteX63" fmla="*/ 821519 w 4501379"/>
                    <a:gd name="connsiteY63" fmla="*/ 533400 h 4429294"/>
                    <a:gd name="connsiteX64" fmla="*/ 869144 w 4501379"/>
                    <a:gd name="connsiteY64" fmla="*/ 504825 h 4429294"/>
                    <a:gd name="connsiteX65" fmla="*/ 1148544 w 4501379"/>
                    <a:gd name="connsiteY65" fmla="*/ 311150 h 4429294"/>
                    <a:gd name="connsiteX66" fmla="*/ 1250144 w 4501379"/>
                    <a:gd name="connsiteY66" fmla="*/ 285750 h 4429294"/>
                    <a:gd name="connsiteX67" fmla="*/ 1393019 w 4501379"/>
                    <a:gd name="connsiteY67" fmla="*/ 190500 h 4429294"/>
                    <a:gd name="connsiteX68" fmla="*/ 1431119 w 4501379"/>
                    <a:gd name="connsiteY68" fmla="*/ 161925 h 4429294"/>
                    <a:gd name="connsiteX69" fmla="*/ 1507319 w 4501379"/>
                    <a:gd name="connsiteY69" fmla="*/ 152400 h 4429294"/>
                    <a:gd name="connsiteX70" fmla="*/ 1564469 w 4501379"/>
                    <a:gd name="connsiteY70" fmla="*/ 142875 h 4429294"/>
                    <a:gd name="connsiteX71" fmla="*/ 1697819 w 4501379"/>
                    <a:gd name="connsiteY71" fmla="*/ 123825 h 4429294"/>
                    <a:gd name="connsiteX72" fmla="*/ 1793069 w 4501379"/>
                    <a:gd name="connsiteY72" fmla="*/ 114300 h 4429294"/>
                    <a:gd name="connsiteX73" fmla="*/ 1840694 w 4501379"/>
                    <a:gd name="connsiteY73" fmla="*/ 104775 h 4429294"/>
                    <a:gd name="connsiteX74" fmla="*/ 1897844 w 4501379"/>
                    <a:gd name="connsiteY74" fmla="*/ 95250 h 4429294"/>
                    <a:gd name="connsiteX75" fmla="*/ 2012144 w 4501379"/>
                    <a:gd name="connsiteY75" fmla="*/ 66675 h 4429294"/>
                    <a:gd name="connsiteX76" fmla="*/ 2078819 w 4501379"/>
                    <a:gd name="connsiteY76" fmla="*/ 47625 h 4429294"/>
                    <a:gd name="connsiteX77" fmla="*/ 2145494 w 4501379"/>
                    <a:gd name="connsiteY7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393019 w 4501379"/>
                    <a:gd name="connsiteY66" fmla="*/ 190500 h 4429294"/>
                    <a:gd name="connsiteX67" fmla="*/ 1431119 w 4501379"/>
                    <a:gd name="connsiteY67" fmla="*/ 161925 h 4429294"/>
                    <a:gd name="connsiteX68" fmla="*/ 1507319 w 4501379"/>
                    <a:gd name="connsiteY68" fmla="*/ 152400 h 4429294"/>
                    <a:gd name="connsiteX69" fmla="*/ 1564469 w 4501379"/>
                    <a:gd name="connsiteY69" fmla="*/ 142875 h 4429294"/>
                    <a:gd name="connsiteX70" fmla="*/ 1697819 w 4501379"/>
                    <a:gd name="connsiteY70" fmla="*/ 123825 h 4429294"/>
                    <a:gd name="connsiteX71" fmla="*/ 1793069 w 4501379"/>
                    <a:gd name="connsiteY71" fmla="*/ 114300 h 4429294"/>
                    <a:gd name="connsiteX72" fmla="*/ 1840694 w 4501379"/>
                    <a:gd name="connsiteY72" fmla="*/ 104775 h 4429294"/>
                    <a:gd name="connsiteX73" fmla="*/ 1897844 w 4501379"/>
                    <a:gd name="connsiteY73" fmla="*/ 95250 h 4429294"/>
                    <a:gd name="connsiteX74" fmla="*/ 2012144 w 4501379"/>
                    <a:gd name="connsiteY74" fmla="*/ 66675 h 4429294"/>
                    <a:gd name="connsiteX75" fmla="*/ 2078819 w 4501379"/>
                    <a:gd name="connsiteY75" fmla="*/ 47625 h 4429294"/>
                    <a:gd name="connsiteX76" fmla="*/ 2145494 w 4501379"/>
                    <a:gd name="connsiteY7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431119 w 4501379"/>
                    <a:gd name="connsiteY66" fmla="*/ 161925 h 4429294"/>
                    <a:gd name="connsiteX67" fmla="*/ 1507319 w 4501379"/>
                    <a:gd name="connsiteY67" fmla="*/ 152400 h 4429294"/>
                    <a:gd name="connsiteX68" fmla="*/ 1564469 w 4501379"/>
                    <a:gd name="connsiteY68" fmla="*/ 142875 h 4429294"/>
                    <a:gd name="connsiteX69" fmla="*/ 1697819 w 4501379"/>
                    <a:gd name="connsiteY69" fmla="*/ 123825 h 4429294"/>
                    <a:gd name="connsiteX70" fmla="*/ 1793069 w 4501379"/>
                    <a:gd name="connsiteY70" fmla="*/ 114300 h 4429294"/>
                    <a:gd name="connsiteX71" fmla="*/ 1840694 w 4501379"/>
                    <a:gd name="connsiteY71" fmla="*/ 104775 h 4429294"/>
                    <a:gd name="connsiteX72" fmla="*/ 1897844 w 4501379"/>
                    <a:gd name="connsiteY72" fmla="*/ 95250 h 4429294"/>
                    <a:gd name="connsiteX73" fmla="*/ 2012144 w 4501379"/>
                    <a:gd name="connsiteY73" fmla="*/ 66675 h 4429294"/>
                    <a:gd name="connsiteX74" fmla="*/ 2078819 w 4501379"/>
                    <a:gd name="connsiteY74" fmla="*/ 47625 h 4429294"/>
                    <a:gd name="connsiteX75" fmla="*/ 2145494 w 4501379"/>
                    <a:gd name="connsiteY7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507319 w 4501379"/>
                    <a:gd name="connsiteY66" fmla="*/ 152400 h 4429294"/>
                    <a:gd name="connsiteX67" fmla="*/ 1564469 w 4501379"/>
                    <a:gd name="connsiteY67" fmla="*/ 142875 h 4429294"/>
                    <a:gd name="connsiteX68" fmla="*/ 1697819 w 4501379"/>
                    <a:gd name="connsiteY68" fmla="*/ 123825 h 4429294"/>
                    <a:gd name="connsiteX69" fmla="*/ 1793069 w 4501379"/>
                    <a:gd name="connsiteY69" fmla="*/ 114300 h 4429294"/>
                    <a:gd name="connsiteX70" fmla="*/ 1840694 w 4501379"/>
                    <a:gd name="connsiteY70" fmla="*/ 104775 h 4429294"/>
                    <a:gd name="connsiteX71" fmla="*/ 1897844 w 4501379"/>
                    <a:gd name="connsiteY71" fmla="*/ 95250 h 4429294"/>
                    <a:gd name="connsiteX72" fmla="*/ 2012144 w 4501379"/>
                    <a:gd name="connsiteY72" fmla="*/ 66675 h 4429294"/>
                    <a:gd name="connsiteX73" fmla="*/ 2078819 w 4501379"/>
                    <a:gd name="connsiteY73" fmla="*/ 47625 h 4429294"/>
                    <a:gd name="connsiteX74" fmla="*/ 2145494 w 4501379"/>
                    <a:gd name="connsiteY7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697819 w 4501379"/>
                    <a:gd name="connsiteY67" fmla="*/ 123825 h 4429294"/>
                    <a:gd name="connsiteX68" fmla="*/ 1793069 w 4501379"/>
                    <a:gd name="connsiteY68" fmla="*/ 114300 h 4429294"/>
                    <a:gd name="connsiteX69" fmla="*/ 1840694 w 4501379"/>
                    <a:gd name="connsiteY69" fmla="*/ 104775 h 4429294"/>
                    <a:gd name="connsiteX70" fmla="*/ 1897844 w 4501379"/>
                    <a:gd name="connsiteY70" fmla="*/ 95250 h 4429294"/>
                    <a:gd name="connsiteX71" fmla="*/ 2012144 w 4501379"/>
                    <a:gd name="connsiteY71" fmla="*/ 66675 h 4429294"/>
                    <a:gd name="connsiteX72" fmla="*/ 2078819 w 4501379"/>
                    <a:gd name="connsiteY72" fmla="*/ 47625 h 4429294"/>
                    <a:gd name="connsiteX73" fmla="*/ 2145494 w 4501379"/>
                    <a:gd name="connsiteY7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793069 w 4501379"/>
                    <a:gd name="connsiteY67" fmla="*/ 114300 h 4429294"/>
                    <a:gd name="connsiteX68" fmla="*/ 1840694 w 4501379"/>
                    <a:gd name="connsiteY68" fmla="*/ 104775 h 4429294"/>
                    <a:gd name="connsiteX69" fmla="*/ 1897844 w 4501379"/>
                    <a:gd name="connsiteY69" fmla="*/ 95250 h 4429294"/>
                    <a:gd name="connsiteX70" fmla="*/ 2012144 w 4501379"/>
                    <a:gd name="connsiteY70" fmla="*/ 66675 h 4429294"/>
                    <a:gd name="connsiteX71" fmla="*/ 2078819 w 4501379"/>
                    <a:gd name="connsiteY71" fmla="*/ 47625 h 4429294"/>
                    <a:gd name="connsiteX72" fmla="*/ 2145494 w 4501379"/>
                    <a:gd name="connsiteY7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40694 w 4501379"/>
                    <a:gd name="connsiteY67" fmla="*/ 104775 h 4429294"/>
                    <a:gd name="connsiteX68" fmla="*/ 1897844 w 4501379"/>
                    <a:gd name="connsiteY68" fmla="*/ 95250 h 4429294"/>
                    <a:gd name="connsiteX69" fmla="*/ 2012144 w 4501379"/>
                    <a:gd name="connsiteY69" fmla="*/ 66675 h 4429294"/>
                    <a:gd name="connsiteX70" fmla="*/ 2078819 w 4501379"/>
                    <a:gd name="connsiteY70" fmla="*/ 47625 h 4429294"/>
                    <a:gd name="connsiteX71" fmla="*/ 2145494 w 4501379"/>
                    <a:gd name="connsiteY7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97844 w 4501379"/>
                    <a:gd name="connsiteY67" fmla="*/ 95250 h 4429294"/>
                    <a:gd name="connsiteX68" fmla="*/ 2012144 w 4501379"/>
                    <a:gd name="connsiteY68" fmla="*/ 66675 h 4429294"/>
                    <a:gd name="connsiteX69" fmla="*/ 2078819 w 4501379"/>
                    <a:gd name="connsiteY69" fmla="*/ 47625 h 4429294"/>
                    <a:gd name="connsiteX70" fmla="*/ 2145494 w 4501379"/>
                    <a:gd name="connsiteY7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12144 w 4501379"/>
                    <a:gd name="connsiteY67" fmla="*/ 66675 h 4429294"/>
                    <a:gd name="connsiteX68" fmla="*/ 2078819 w 4501379"/>
                    <a:gd name="connsiteY68" fmla="*/ 47625 h 4429294"/>
                    <a:gd name="connsiteX69" fmla="*/ 2145494 w 4501379"/>
                    <a:gd name="connsiteY6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78819 w 4501379"/>
                    <a:gd name="connsiteY67" fmla="*/ 47625 h 4429294"/>
                    <a:gd name="connsiteX68" fmla="*/ 2145494 w 4501379"/>
                    <a:gd name="connsiteY6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145494 w 4501379"/>
                    <a:gd name="connsiteY6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621619 w 4501379"/>
                    <a:gd name="connsiteY66" fmla="*/ 11112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678644 w 4501379"/>
                    <a:gd name="connsiteY60" fmla="*/ 657225 h 4429294"/>
                    <a:gd name="connsiteX61" fmla="*/ 821519 w 4501379"/>
                    <a:gd name="connsiteY61" fmla="*/ 533400 h 4429294"/>
                    <a:gd name="connsiteX62" fmla="*/ 869144 w 4501379"/>
                    <a:gd name="connsiteY62" fmla="*/ 504825 h 4429294"/>
                    <a:gd name="connsiteX63" fmla="*/ 1148544 w 4501379"/>
                    <a:gd name="connsiteY63" fmla="*/ 311150 h 4429294"/>
                    <a:gd name="connsiteX64" fmla="*/ 1507319 w 4501379"/>
                    <a:gd name="connsiteY64" fmla="*/ 152400 h 4429294"/>
                    <a:gd name="connsiteX65" fmla="*/ 1621619 w 4501379"/>
                    <a:gd name="connsiteY65" fmla="*/ 111125 h 4429294"/>
                    <a:gd name="connsiteX66" fmla="*/ 2253444 w 4501379"/>
                    <a:gd name="connsiteY6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21519 w 4501379"/>
                    <a:gd name="connsiteY60" fmla="*/ 533400 h 4429294"/>
                    <a:gd name="connsiteX61" fmla="*/ 869144 w 4501379"/>
                    <a:gd name="connsiteY61" fmla="*/ 504825 h 4429294"/>
                    <a:gd name="connsiteX62" fmla="*/ 1148544 w 4501379"/>
                    <a:gd name="connsiteY62" fmla="*/ 311150 h 4429294"/>
                    <a:gd name="connsiteX63" fmla="*/ 1507319 w 4501379"/>
                    <a:gd name="connsiteY63" fmla="*/ 152400 h 4429294"/>
                    <a:gd name="connsiteX64" fmla="*/ 1621619 w 4501379"/>
                    <a:gd name="connsiteY64" fmla="*/ 111125 h 4429294"/>
                    <a:gd name="connsiteX65" fmla="*/ 2253444 w 4501379"/>
                    <a:gd name="connsiteY6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69144 w 4501379"/>
                    <a:gd name="connsiteY60" fmla="*/ 504825 h 4429294"/>
                    <a:gd name="connsiteX61" fmla="*/ 1148544 w 4501379"/>
                    <a:gd name="connsiteY61" fmla="*/ 311150 h 4429294"/>
                    <a:gd name="connsiteX62" fmla="*/ 1507319 w 4501379"/>
                    <a:gd name="connsiteY62" fmla="*/ 152400 h 4429294"/>
                    <a:gd name="connsiteX63" fmla="*/ 1621619 w 4501379"/>
                    <a:gd name="connsiteY63" fmla="*/ 111125 h 4429294"/>
                    <a:gd name="connsiteX64" fmla="*/ 2253444 w 4501379"/>
                    <a:gd name="connsiteY6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64319 w 4501379"/>
                    <a:gd name="connsiteY53" fmla="*/ 1009650 h 4429294"/>
                    <a:gd name="connsiteX54" fmla="*/ 421469 w 4501379"/>
                    <a:gd name="connsiteY54" fmla="*/ 904875 h 4429294"/>
                    <a:gd name="connsiteX55" fmla="*/ 459569 w 4501379"/>
                    <a:gd name="connsiteY55" fmla="*/ 857250 h 4429294"/>
                    <a:gd name="connsiteX56" fmla="*/ 478619 w 4501379"/>
                    <a:gd name="connsiteY56" fmla="*/ 828675 h 4429294"/>
                    <a:gd name="connsiteX57" fmla="*/ 516719 w 4501379"/>
                    <a:gd name="connsiteY57" fmla="*/ 800100 h 4429294"/>
                    <a:gd name="connsiteX58" fmla="*/ 650069 w 4501379"/>
                    <a:gd name="connsiteY58" fmla="*/ 676275 h 4429294"/>
                    <a:gd name="connsiteX59" fmla="*/ 869144 w 4501379"/>
                    <a:gd name="connsiteY59" fmla="*/ 504825 h 4429294"/>
                    <a:gd name="connsiteX60" fmla="*/ 1148544 w 4501379"/>
                    <a:gd name="connsiteY60" fmla="*/ 311150 h 4429294"/>
                    <a:gd name="connsiteX61" fmla="*/ 1507319 w 4501379"/>
                    <a:gd name="connsiteY61" fmla="*/ 152400 h 4429294"/>
                    <a:gd name="connsiteX62" fmla="*/ 1621619 w 4501379"/>
                    <a:gd name="connsiteY62" fmla="*/ 111125 h 4429294"/>
                    <a:gd name="connsiteX63" fmla="*/ 2253444 w 4501379"/>
                    <a:gd name="connsiteY63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21469 w 4501379"/>
                    <a:gd name="connsiteY53" fmla="*/ 904875 h 4429294"/>
                    <a:gd name="connsiteX54" fmla="*/ 459569 w 4501379"/>
                    <a:gd name="connsiteY54" fmla="*/ 857250 h 4429294"/>
                    <a:gd name="connsiteX55" fmla="*/ 478619 w 4501379"/>
                    <a:gd name="connsiteY55" fmla="*/ 828675 h 4429294"/>
                    <a:gd name="connsiteX56" fmla="*/ 516719 w 4501379"/>
                    <a:gd name="connsiteY56" fmla="*/ 800100 h 4429294"/>
                    <a:gd name="connsiteX57" fmla="*/ 650069 w 4501379"/>
                    <a:gd name="connsiteY57" fmla="*/ 676275 h 4429294"/>
                    <a:gd name="connsiteX58" fmla="*/ 869144 w 4501379"/>
                    <a:gd name="connsiteY58" fmla="*/ 504825 h 4429294"/>
                    <a:gd name="connsiteX59" fmla="*/ 1148544 w 4501379"/>
                    <a:gd name="connsiteY59" fmla="*/ 311150 h 4429294"/>
                    <a:gd name="connsiteX60" fmla="*/ 1507319 w 4501379"/>
                    <a:gd name="connsiteY60" fmla="*/ 152400 h 4429294"/>
                    <a:gd name="connsiteX61" fmla="*/ 1621619 w 4501379"/>
                    <a:gd name="connsiteY61" fmla="*/ 111125 h 4429294"/>
                    <a:gd name="connsiteX62" fmla="*/ 2253444 w 4501379"/>
                    <a:gd name="connsiteY62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478619 w 4501379"/>
                    <a:gd name="connsiteY54" fmla="*/ 828675 h 4429294"/>
                    <a:gd name="connsiteX55" fmla="*/ 516719 w 4501379"/>
                    <a:gd name="connsiteY55" fmla="*/ 800100 h 4429294"/>
                    <a:gd name="connsiteX56" fmla="*/ 650069 w 4501379"/>
                    <a:gd name="connsiteY56" fmla="*/ 676275 h 4429294"/>
                    <a:gd name="connsiteX57" fmla="*/ 869144 w 4501379"/>
                    <a:gd name="connsiteY57" fmla="*/ 504825 h 4429294"/>
                    <a:gd name="connsiteX58" fmla="*/ 1148544 w 4501379"/>
                    <a:gd name="connsiteY58" fmla="*/ 311150 h 4429294"/>
                    <a:gd name="connsiteX59" fmla="*/ 1507319 w 4501379"/>
                    <a:gd name="connsiteY59" fmla="*/ 152400 h 4429294"/>
                    <a:gd name="connsiteX60" fmla="*/ 1621619 w 4501379"/>
                    <a:gd name="connsiteY60" fmla="*/ 111125 h 4429294"/>
                    <a:gd name="connsiteX61" fmla="*/ 2253444 w 4501379"/>
                    <a:gd name="connsiteY61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516719 w 4501379"/>
                    <a:gd name="connsiteY54" fmla="*/ 800100 h 4429294"/>
                    <a:gd name="connsiteX55" fmla="*/ 650069 w 4501379"/>
                    <a:gd name="connsiteY55" fmla="*/ 676275 h 4429294"/>
                    <a:gd name="connsiteX56" fmla="*/ 869144 w 4501379"/>
                    <a:gd name="connsiteY56" fmla="*/ 504825 h 4429294"/>
                    <a:gd name="connsiteX57" fmla="*/ 1148544 w 4501379"/>
                    <a:gd name="connsiteY57" fmla="*/ 311150 h 4429294"/>
                    <a:gd name="connsiteX58" fmla="*/ 1507319 w 4501379"/>
                    <a:gd name="connsiteY58" fmla="*/ 152400 h 4429294"/>
                    <a:gd name="connsiteX59" fmla="*/ 1621619 w 4501379"/>
                    <a:gd name="connsiteY59" fmla="*/ 111125 h 4429294"/>
                    <a:gd name="connsiteX60" fmla="*/ 2253444 w 4501379"/>
                    <a:gd name="connsiteY60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69069 w 4501379"/>
                    <a:gd name="connsiteY50" fmla="*/ 1152525 h 4429294"/>
                    <a:gd name="connsiteX51" fmla="*/ 297644 w 4501379"/>
                    <a:gd name="connsiteY51" fmla="*/ 1114425 h 4429294"/>
                    <a:gd name="connsiteX52" fmla="*/ 459569 w 4501379"/>
                    <a:gd name="connsiteY52" fmla="*/ 857250 h 4429294"/>
                    <a:gd name="connsiteX53" fmla="*/ 516719 w 4501379"/>
                    <a:gd name="connsiteY53" fmla="*/ 800100 h 4429294"/>
                    <a:gd name="connsiteX54" fmla="*/ 650069 w 4501379"/>
                    <a:gd name="connsiteY54" fmla="*/ 676275 h 4429294"/>
                    <a:gd name="connsiteX55" fmla="*/ 869144 w 4501379"/>
                    <a:gd name="connsiteY55" fmla="*/ 504825 h 4429294"/>
                    <a:gd name="connsiteX56" fmla="*/ 1148544 w 4501379"/>
                    <a:gd name="connsiteY56" fmla="*/ 311150 h 4429294"/>
                    <a:gd name="connsiteX57" fmla="*/ 1507319 w 4501379"/>
                    <a:gd name="connsiteY57" fmla="*/ 152400 h 4429294"/>
                    <a:gd name="connsiteX58" fmla="*/ 1621619 w 4501379"/>
                    <a:gd name="connsiteY58" fmla="*/ 111125 h 4429294"/>
                    <a:gd name="connsiteX59" fmla="*/ 2253444 w 4501379"/>
                    <a:gd name="connsiteY59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97644 w 4501379"/>
                    <a:gd name="connsiteY50" fmla="*/ 1114425 h 4429294"/>
                    <a:gd name="connsiteX51" fmla="*/ 459569 w 4501379"/>
                    <a:gd name="connsiteY51" fmla="*/ 857250 h 4429294"/>
                    <a:gd name="connsiteX52" fmla="*/ 516719 w 4501379"/>
                    <a:gd name="connsiteY52" fmla="*/ 800100 h 4429294"/>
                    <a:gd name="connsiteX53" fmla="*/ 650069 w 4501379"/>
                    <a:gd name="connsiteY53" fmla="*/ 676275 h 4429294"/>
                    <a:gd name="connsiteX54" fmla="*/ 869144 w 4501379"/>
                    <a:gd name="connsiteY54" fmla="*/ 504825 h 4429294"/>
                    <a:gd name="connsiteX55" fmla="*/ 1148544 w 4501379"/>
                    <a:gd name="connsiteY55" fmla="*/ 311150 h 4429294"/>
                    <a:gd name="connsiteX56" fmla="*/ 1507319 w 4501379"/>
                    <a:gd name="connsiteY56" fmla="*/ 152400 h 4429294"/>
                    <a:gd name="connsiteX57" fmla="*/ 1621619 w 4501379"/>
                    <a:gd name="connsiteY57" fmla="*/ 111125 h 4429294"/>
                    <a:gd name="connsiteX58" fmla="*/ 2253444 w 4501379"/>
                    <a:gd name="connsiteY58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97644 w 4501379"/>
                    <a:gd name="connsiteY49" fmla="*/ 1114425 h 4429294"/>
                    <a:gd name="connsiteX50" fmla="*/ 459569 w 4501379"/>
                    <a:gd name="connsiteY50" fmla="*/ 857250 h 4429294"/>
                    <a:gd name="connsiteX51" fmla="*/ 516719 w 4501379"/>
                    <a:gd name="connsiteY51" fmla="*/ 800100 h 4429294"/>
                    <a:gd name="connsiteX52" fmla="*/ 650069 w 4501379"/>
                    <a:gd name="connsiteY52" fmla="*/ 676275 h 4429294"/>
                    <a:gd name="connsiteX53" fmla="*/ 869144 w 4501379"/>
                    <a:gd name="connsiteY53" fmla="*/ 504825 h 4429294"/>
                    <a:gd name="connsiteX54" fmla="*/ 1148544 w 4501379"/>
                    <a:gd name="connsiteY54" fmla="*/ 311150 h 4429294"/>
                    <a:gd name="connsiteX55" fmla="*/ 1507319 w 4501379"/>
                    <a:gd name="connsiteY55" fmla="*/ 152400 h 4429294"/>
                    <a:gd name="connsiteX56" fmla="*/ 1621619 w 4501379"/>
                    <a:gd name="connsiteY56" fmla="*/ 111125 h 4429294"/>
                    <a:gd name="connsiteX57" fmla="*/ 2253444 w 4501379"/>
                    <a:gd name="connsiteY5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35719 w 4501379"/>
                    <a:gd name="connsiteY46" fmla="*/ 1419225 h 4429294"/>
                    <a:gd name="connsiteX47" fmla="*/ 211919 w 4501379"/>
                    <a:gd name="connsiteY47" fmla="*/ 1276350 h 4429294"/>
                    <a:gd name="connsiteX48" fmla="*/ 297644 w 4501379"/>
                    <a:gd name="connsiteY48" fmla="*/ 1114425 h 4429294"/>
                    <a:gd name="connsiteX49" fmla="*/ 459569 w 4501379"/>
                    <a:gd name="connsiteY49" fmla="*/ 857250 h 4429294"/>
                    <a:gd name="connsiteX50" fmla="*/ 516719 w 4501379"/>
                    <a:gd name="connsiteY50" fmla="*/ 800100 h 4429294"/>
                    <a:gd name="connsiteX51" fmla="*/ 650069 w 4501379"/>
                    <a:gd name="connsiteY51" fmla="*/ 676275 h 4429294"/>
                    <a:gd name="connsiteX52" fmla="*/ 869144 w 4501379"/>
                    <a:gd name="connsiteY52" fmla="*/ 504825 h 4429294"/>
                    <a:gd name="connsiteX53" fmla="*/ 1148544 w 4501379"/>
                    <a:gd name="connsiteY53" fmla="*/ 311150 h 4429294"/>
                    <a:gd name="connsiteX54" fmla="*/ 1507319 w 4501379"/>
                    <a:gd name="connsiteY54" fmla="*/ 152400 h 4429294"/>
                    <a:gd name="connsiteX55" fmla="*/ 1621619 w 4501379"/>
                    <a:gd name="connsiteY55" fmla="*/ 111125 h 4429294"/>
                    <a:gd name="connsiteX56" fmla="*/ 2253444 w 4501379"/>
                    <a:gd name="connsiteY5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88094 w 4501379"/>
                    <a:gd name="connsiteY44" fmla="*/ 1590675 h 4429294"/>
                    <a:gd name="connsiteX45" fmla="*/ 135719 w 4501379"/>
                    <a:gd name="connsiteY45" fmla="*/ 1419225 h 4429294"/>
                    <a:gd name="connsiteX46" fmla="*/ 211919 w 4501379"/>
                    <a:gd name="connsiteY46" fmla="*/ 1276350 h 4429294"/>
                    <a:gd name="connsiteX47" fmla="*/ 297644 w 4501379"/>
                    <a:gd name="connsiteY47" fmla="*/ 1114425 h 4429294"/>
                    <a:gd name="connsiteX48" fmla="*/ 459569 w 4501379"/>
                    <a:gd name="connsiteY48" fmla="*/ 857250 h 4429294"/>
                    <a:gd name="connsiteX49" fmla="*/ 516719 w 4501379"/>
                    <a:gd name="connsiteY49" fmla="*/ 800100 h 4429294"/>
                    <a:gd name="connsiteX50" fmla="*/ 650069 w 4501379"/>
                    <a:gd name="connsiteY50" fmla="*/ 676275 h 4429294"/>
                    <a:gd name="connsiteX51" fmla="*/ 869144 w 4501379"/>
                    <a:gd name="connsiteY51" fmla="*/ 504825 h 4429294"/>
                    <a:gd name="connsiteX52" fmla="*/ 1148544 w 4501379"/>
                    <a:gd name="connsiteY52" fmla="*/ 311150 h 4429294"/>
                    <a:gd name="connsiteX53" fmla="*/ 1507319 w 4501379"/>
                    <a:gd name="connsiteY53" fmla="*/ 152400 h 4429294"/>
                    <a:gd name="connsiteX54" fmla="*/ 1621619 w 4501379"/>
                    <a:gd name="connsiteY54" fmla="*/ 111125 h 4429294"/>
                    <a:gd name="connsiteX55" fmla="*/ 2253444 w 4501379"/>
                    <a:gd name="connsiteY5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88094 w 4501379"/>
                    <a:gd name="connsiteY43" fmla="*/ 1590675 h 4429294"/>
                    <a:gd name="connsiteX44" fmla="*/ 135719 w 4501379"/>
                    <a:gd name="connsiteY44" fmla="*/ 1419225 h 4429294"/>
                    <a:gd name="connsiteX45" fmla="*/ 211919 w 4501379"/>
                    <a:gd name="connsiteY45" fmla="*/ 1276350 h 4429294"/>
                    <a:gd name="connsiteX46" fmla="*/ 297644 w 4501379"/>
                    <a:gd name="connsiteY46" fmla="*/ 1114425 h 4429294"/>
                    <a:gd name="connsiteX47" fmla="*/ 459569 w 4501379"/>
                    <a:gd name="connsiteY47" fmla="*/ 857250 h 4429294"/>
                    <a:gd name="connsiteX48" fmla="*/ 516719 w 4501379"/>
                    <a:gd name="connsiteY48" fmla="*/ 800100 h 4429294"/>
                    <a:gd name="connsiteX49" fmla="*/ 650069 w 4501379"/>
                    <a:gd name="connsiteY49" fmla="*/ 676275 h 4429294"/>
                    <a:gd name="connsiteX50" fmla="*/ 869144 w 4501379"/>
                    <a:gd name="connsiteY50" fmla="*/ 504825 h 4429294"/>
                    <a:gd name="connsiteX51" fmla="*/ 1148544 w 4501379"/>
                    <a:gd name="connsiteY51" fmla="*/ 311150 h 4429294"/>
                    <a:gd name="connsiteX52" fmla="*/ 1507319 w 4501379"/>
                    <a:gd name="connsiteY52" fmla="*/ 152400 h 4429294"/>
                    <a:gd name="connsiteX53" fmla="*/ 1621619 w 4501379"/>
                    <a:gd name="connsiteY53" fmla="*/ 111125 h 4429294"/>
                    <a:gd name="connsiteX54" fmla="*/ 2253444 w 4501379"/>
                    <a:gd name="connsiteY5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88094 w 4501379"/>
                    <a:gd name="connsiteY42" fmla="*/ 1590675 h 4429294"/>
                    <a:gd name="connsiteX43" fmla="*/ 135719 w 4501379"/>
                    <a:gd name="connsiteY43" fmla="*/ 1419225 h 4429294"/>
                    <a:gd name="connsiteX44" fmla="*/ 211919 w 4501379"/>
                    <a:gd name="connsiteY44" fmla="*/ 1276350 h 4429294"/>
                    <a:gd name="connsiteX45" fmla="*/ 297644 w 4501379"/>
                    <a:gd name="connsiteY45" fmla="*/ 1114425 h 4429294"/>
                    <a:gd name="connsiteX46" fmla="*/ 459569 w 4501379"/>
                    <a:gd name="connsiteY46" fmla="*/ 857250 h 4429294"/>
                    <a:gd name="connsiteX47" fmla="*/ 516719 w 4501379"/>
                    <a:gd name="connsiteY47" fmla="*/ 800100 h 4429294"/>
                    <a:gd name="connsiteX48" fmla="*/ 650069 w 4501379"/>
                    <a:gd name="connsiteY48" fmla="*/ 676275 h 4429294"/>
                    <a:gd name="connsiteX49" fmla="*/ 869144 w 4501379"/>
                    <a:gd name="connsiteY49" fmla="*/ 504825 h 4429294"/>
                    <a:gd name="connsiteX50" fmla="*/ 1148544 w 4501379"/>
                    <a:gd name="connsiteY50" fmla="*/ 311150 h 4429294"/>
                    <a:gd name="connsiteX51" fmla="*/ 1507319 w 4501379"/>
                    <a:gd name="connsiteY51" fmla="*/ 152400 h 4429294"/>
                    <a:gd name="connsiteX52" fmla="*/ 1621619 w 4501379"/>
                    <a:gd name="connsiteY52" fmla="*/ 111125 h 4429294"/>
                    <a:gd name="connsiteX53" fmla="*/ 2253444 w 4501379"/>
                    <a:gd name="connsiteY53" fmla="*/ 12700 h 4429294"/>
                    <a:gd name="connsiteX0" fmla="*/ 2277090 w 4499625"/>
                    <a:gd name="connsiteY0" fmla="*/ 0 h 4429294"/>
                    <a:gd name="connsiteX1" fmla="*/ 2600940 w 4499625"/>
                    <a:gd name="connsiteY1" fmla="*/ 15875 h 4429294"/>
                    <a:gd name="connsiteX2" fmla="*/ 2896215 w 4499625"/>
                    <a:gd name="connsiteY2" fmla="*/ 85725 h 4429294"/>
                    <a:gd name="connsiteX3" fmla="*/ 3115290 w 4499625"/>
                    <a:gd name="connsiteY3" fmla="*/ 171450 h 4429294"/>
                    <a:gd name="connsiteX4" fmla="*/ 3220065 w 4499625"/>
                    <a:gd name="connsiteY4" fmla="*/ 228600 h 4429294"/>
                    <a:gd name="connsiteX5" fmla="*/ 3401040 w 4499625"/>
                    <a:gd name="connsiteY5" fmla="*/ 323850 h 4429294"/>
                    <a:gd name="connsiteX6" fmla="*/ 3791565 w 4499625"/>
                    <a:gd name="connsiteY6" fmla="*/ 581025 h 4429294"/>
                    <a:gd name="connsiteX7" fmla="*/ 4007465 w 4499625"/>
                    <a:gd name="connsiteY7" fmla="*/ 819150 h 4429294"/>
                    <a:gd name="connsiteX8" fmla="*/ 4143990 w 4499625"/>
                    <a:gd name="connsiteY8" fmla="*/ 990600 h 4429294"/>
                    <a:gd name="connsiteX9" fmla="*/ 4229715 w 4499625"/>
                    <a:gd name="connsiteY9" fmla="*/ 1143000 h 4429294"/>
                    <a:gd name="connsiteX10" fmla="*/ 4286865 w 4499625"/>
                    <a:gd name="connsiteY10" fmla="*/ 1266825 h 4429294"/>
                    <a:gd name="connsiteX11" fmla="*/ 4324965 w 4499625"/>
                    <a:gd name="connsiteY11" fmla="*/ 1362075 h 4429294"/>
                    <a:gd name="connsiteX12" fmla="*/ 4372590 w 4499625"/>
                    <a:gd name="connsiteY12" fmla="*/ 1552575 h 4429294"/>
                    <a:gd name="connsiteX13" fmla="*/ 4410690 w 4499625"/>
                    <a:gd name="connsiteY13" fmla="*/ 1685925 h 4429294"/>
                    <a:gd name="connsiteX14" fmla="*/ 4499590 w 4499625"/>
                    <a:gd name="connsiteY14" fmla="*/ 2181225 h 4429294"/>
                    <a:gd name="connsiteX15" fmla="*/ 4426565 w 4499625"/>
                    <a:gd name="connsiteY15" fmla="*/ 2768600 h 4429294"/>
                    <a:gd name="connsiteX16" fmla="*/ 4363065 w 4499625"/>
                    <a:gd name="connsiteY16" fmla="*/ 2990850 h 4429294"/>
                    <a:gd name="connsiteX17" fmla="*/ 4258290 w 4499625"/>
                    <a:gd name="connsiteY17" fmla="*/ 3248025 h 4429294"/>
                    <a:gd name="connsiteX18" fmla="*/ 4163040 w 4499625"/>
                    <a:gd name="connsiteY18" fmla="*/ 3400425 h 4429294"/>
                    <a:gd name="connsiteX19" fmla="*/ 4039215 w 4499625"/>
                    <a:gd name="connsiteY19" fmla="*/ 3533775 h 4429294"/>
                    <a:gd name="connsiteX20" fmla="*/ 3934440 w 4499625"/>
                    <a:gd name="connsiteY20" fmla="*/ 3648075 h 4429294"/>
                    <a:gd name="connsiteX21" fmla="*/ 3639165 w 4499625"/>
                    <a:gd name="connsiteY21" fmla="*/ 3971925 h 4429294"/>
                    <a:gd name="connsiteX22" fmla="*/ 3496290 w 4499625"/>
                    <a:gd name="connsiteY22" fmla="*/ 4083050 h 4429294"/>
                    <a:gd name="connsiteX23" fmla="*/ 3201015 w 4499625"/>
                    <a:gd name="connsiteY23" fmla="*/ 4222750 h 4429294"/>
                    <a:gd name="connsiteX24" fmla="*/ 3048615 w 4499625"/>
                    <a:gd name="connsiteY24" fmla="*/ 4286250 h 4429294"/>
                    <a:gd name="connsiteX25" fmla="*/ 2915265 w 4499625"/>
                    <a:gd name="connsiteY25" fmla="*/ 4333875 h 4429294"/>
                    <a:gd name="connsiteX26" fmla="*/ 2791440 w 4499625"/>
                    <a:gd name="connsiteY26" fmla="*/ 4371975 h 4429294"/>
                    <a:gd name="connsiteX27" fmla="*/ 2559665 w 4499625"/>
                    <a:gd name="connsiteY27" fmla="*/ 4391025 h 4429294"/>
                    <a:gd name="connsiteX28" fmla="*/ 2105640 w 4499625"/>
                    <a:gd name="connsiteY28" fmla="*/ 4429125 h 4429294"/>
                    <a:gd name="connsiteX29" fmla="*/ 1915140 w 4499625"/>
                    <a:gd name="connsiteY29" fmla="*/ 4400550 h 4429294"/>
                    <a:gd name="connsiteX30" fmla="*/ 1553190 w 4499625"/>
                    <a:gd name="connsiteY30" fmla="*/ 4305300 h 4429294"/>
                    <a:gd name="connsiteX31" fmla="*/ 1311890 w 4499625"/>
                    <a:gd name="connsiteY31" fmla="*/ 4216400 h 4429294"/>
                    <a:gd name="connsiteX32" fmla="*/ 1143615 w 4499625"/>
                    <a:gd name="connsiteY32" fmla="*/ 4111625 h 4429294"/>
                    <a:gd name="connsiteX33" fmla="*/ 924540 w 4499625"/>
                    <a:gd name="connsiteY33" fmla="*/ 3968750 h 4429294"/>
                    <a:gd name="connsiteX34" fmla="*/ 591165 w 4499625"/>
                    <a:gd name="connsiteY34" fmla="*/ 3657600 h 4429294"/>
                    <a:gd name="connsiteX35" fmla="*/ 445115 w 4499625"/>
                    <a:gd name="connsiteY35" fmla="*/ 3470275 h 4429294"/>
                    <a:gd name="connsiteX36" fmla="*/ 314940 w 4499625"/>
                    <a:gd name="connsiteY36" fmla="*/ 3244850 h 4429294"/>
                    <a:gd name="connsiteX37" fmla="*/ 162540 w 4499625"/>
                    <a:gd name="connsiteY37" fmla="*/ 2892425 h 4429294"/>
                    <a:gd name="connsiteX38" fmla="*/ 54590 w 4499625"/>
                    <a:gd name="connsiteY38" fmla="*/ 2368550 h 4429294"/>
                    <a:gd name="connsiteX39" fmla="*/ 615 w 4499625"/>
                    <a:gd name="connsiteY39" fmla="*/ 1905000 h 4429294"/>
                    <a:gd name="connsiteX40" fmla="*/ 29190 w 4499625"/>
                    <a:gd name="connsiteY40" fmla="*/ 1781175 h 4429294"/>
                    <a:gd name="connsiteX41" fmla="*/ 86340 w 4499625"/>
                    <a:gd name="connsiteY41" fmla="*/ 1590675 h 4429294"/>
                    <a:gd name="connsiteX42" fmla="*/ 133965 w 4499625"/>
                    <a:gd name="connsiteY42" fmla="*/ 1419225 h 4429294"/>
                    <a:gd name="connsiteX43" fmla="*/ 210165 w 4499625"/>
                    <a:gd name="connsiteY43" fmla="*/ 1276350 h 4429294"/>
                    <a:gd name="connsiteX44" fmla="*/ 295890 w 4499625"/>
                    <a:gd name="connsiteY44" fmla="*/ 1114425 h 4429294"/>
                    <a:gd name="connsiteX45" fmla="*/ 457815 w 4499625"/>
                    <a:gd name="connsiteY45" fmla="*/ 857250 h 4429294"/>
                    <a:gd name="connsiteX46" fmla="*/ 514965 w 4499625"/>
                    <a:gd name="connsiteY46" fmla="*/ 800100 h 4429294"/>
                    <a:gd name="connsiteX47" fmla="*/ 648315 w 4499625"/>
                    <a:gd name="connsiteY47" fmla="*/ 676275 h 4429294"/>
                    <a:gd name="connsiteX48" fmla="*/ 867390 w 4499625"/>
                    <a:gd name="connsiteY48" fmla="*/ 504825 h 4429294"/>
                    <a:gd name="connsiteX49" fmla="*/ 1146790 w 4499625"/>
                    <a:gd name="connsiteY49" fmla="*/ 311150 h 4429294"/>
                    <a:gd name="connsiteX50" fmla="*/ 1505565 w 4499625"/>
                    <a:gd name="connsiteY50" fmla="*/ 152400 h 4429294"/>
                    <a:gd name="connsiteX51" fmla="*/ 1619865 w 4499625"/>
                    <a:gd name="connsiteY51" fmla="*/ 111125 h 4429294"/>
                    <a:gd name="connsiteX52" fmla="*/ 2251690 w 4499625"/>
                    <a:gd name="connsiteY52" fmla="*/ 12700 h 4429294"/>
                    <a:gd name="connsiteX0" fmla="*/ 2249427 w 4471962"/>
                    <a:gd name="connsiteY0" fmla="*/ 0 h 4429294"/>
                    <a:gd name="connsiteX1" fmla="*/ 2573277 w 4471962"/>
                    <a:gd name="connsiteY1" fmla="*/ 15875 h 4429294"/>
                    <a:gd name="connsiteX2" fmla="*/ 2868552 w 4471962"/>
                    <a:gd name="connsiteY2" fmla="*/ 85725 h 4429294"/>
                    <a:gd name="connsiteX3" fmla="*/ 3087627 w 4471962"/>
                    <a:gd name="connsiteY3" fmla="*/ 171450 h 4429294"/>
                    <a:gd name="connsiteX4" fmla="*/ 3192402 w 4471962"/>
                    <a:gd name="connsiteY4" fmla="*/ 228600 h 4429294"/>
                    <a:gd name="connsiteX5" fmla="*/ 3373377 w 4471962"/>
                    <a:gd name="connsiteY5" fmla="*/ 323850 h 4429294"/>
                    <a:gd name="connsiteX6" fmla="*/ 3763902 w 4471962"/>
                    <a:gd name="connsiteY6" fmla="*/ 581025 h 4429294"/>
                    <a:gd name="connsiteX7" fmla="*/ 3979802 w 4471962"/>
                    <a:gd name="connsiteY7" fmla="*/ 819150 h 4429294"/>
                    <a:gd name="connsiteX8" fmla="*/ 4116327 w 4471962"/>
                    <a:gd name="connsiteY8" fmla="*/ 990600 h 4429294"/>
                    <a:gd name="connsiteX9" fmla="*/ 4202052 w 4471962"/>
                    <a:gd name="connsiteY9" fmla="*/ 1143000 h 4429294"/>
                    <a:gd name="connsiteX10" fmla="*/ 4259202 w 4471962"/>
                    <a:gd name="connsiteY10" fmla="*/ 1266825 h 4429294"/>
                    <a:gd name="connsiteX11" fmla="*/ 4297302 w 4471962"/>
                    <a:gd name="connsiteY11" fmla="*/ 1362075 h 4429294"/>
                    <a:gd name="connsiteX12" fmla="*/ 4344927 w 4471962"/>
                    <a:gd name="connsiteY12" fmla="*/ 1552575 h 4429294"/>
                    <a:gd name="connsiteX13" fmla="*/ 4383027 w 4471962"/>
                    <a:gd name="connsiteY13" fmla="*/ 1685925 h 4429294"/>
                    <a:gd name="connsiteX14" fmla="*/ 4471927 w 4471962"/>
                    <a:gd name="connsiteY14" fmla="*/ 2181225 h 4429294"/>
                    <a:gd name="connsiteX15" fmla="*/ 4398902 w 4471962"/>
                    <a:gd name="connsiteY15" fmla="*/ 2768600 h 4429294"/>
                    <a:gd name="connsiteX16" fmla="*/ 4335402 w 4471962"/>
                    <a:gd name="connsiteY16" fmla="*/ 2990850 h 4429294"/>
                    <a:gd name="connsiteX17" fmla="*/ 4230627 w 4471962"/>
                    <a:gd name="connsiteY17" fmla="*/ 3248025 h 4429294"/>
                    <a:gd name="connsiteX18" fmla="*/ 4135377 w 4471962"/>
                    <a:gd name="connsiteY18" fmla="*/ 3400425 h 4429294"/>
                    <a:gd name="connsiteX19" fmla="*/ 4011552 w 4471962"/>
                    <a:gd name="connsiteY19" fmla="*/ 3533775 h 4429294"/>
                    <a:gd name="connsiteX20" fmla="*/ 3906777 w 4471962"/>
                    <a:gd name="connsiteY20" fmla="*/ 3648075 h 4429294"/>
                    <a:gd name="connsiteX21" fmla="*/ 3611502 w 4471962"/>
                    <a:gd name="connsiteY21" fmla="*/ 3971925 h 4429294"/>
                    <a:gd name="connsiteX22" fmla="*/ 3468627 w 4471962"/>
                    <a:gd name="connsiteY22" fmla="*/ 4083050 h 4429294"/>
                    <a:gd name="connsiteX23" fmla="*/ 3173352 w 4471962"/>
                    <a:gd name="connsiteY23" fmla="*/ 4222750 h 4429294"/>
                    <a:gd name="connsiteX24" fmla="*/ 3020952 w 4471962"/>
                    <a:gd name="connsiteY24" fmla="*/ 4286250 h 4429294"/>
                    <a:gd name="connsiteX25" fmla="*/ 2887602 w 4471962"/>
                    <a:gd name="connsiteY25" fmla="*/ 4333875 h 4429294"/>
                    <a:gd name="connsiteX26" fmla="*/ 2763777 w 4471962"/>
                    <a:gd name="connsiteY26" fmla="*/ 4371975 h 4429294"/>
                    <a:gd name="connsiteX27" fmla="*/ 2532002 w 4471962"/>
                    <a:gd name="connsiteY27" fmla="*/ 4391025 h 4429294"/>
                    <a:gd name="connsiteX28" fmla="*/ 2077977 w 4471962"/>
                    <a:gd name="connsiteY28" fmla="*/ 4429125 h 4429294"/>
                    <a:gd name="connsiteX29" fmla="*/ 1887477 w 4471962"/>
                    <a:gd name="connsiteY29" fmla="*/ 4400550 h 4429294"/>
                    <a:gd name="connsiteX30" fmla="*/ 1525527 w 4471962"/>
                    <a:gd name="connsiteY30" fmla="*/ 4305300 h 4429294"/>
                    <a:gd name="connsiteX31" fmla="*/ 1284227 w 4471962"/>
                    <a:gd name="connsiteY31" fmla="*/ 4216400 h 4429294"/>
                    <a:gd name="connsiteX32" fmla="*/ 1115952 w 4471962"/>
                    <a:gd name="connsiteY32" fmla="*/ 4111625 h 4429294"/>
                    <a:gd name="connsiteX33" fmla="*/ 896877 w 4471962"/>
                    <a:gd name="connsiteY33" fmla="*/ 3968750 h 4429294"/>
                    <a:gd name="connsiteX34" fmla="*/ 563502 w 4471962"/>
                    <a:gd name="connsiteY34" fmla="*/ 3657600 h 4429294"/>
                    <a:gd name="connsiteX35" fmla="*/ 417452 w 4471962"/>
                    <a:gd name="connsiteY35" fmla="*/ 3470275 h 4429294"/>
                    <a:gd name="connsiteX36" fmla="*/ 287277 w 4471962"/>
                    <a:gd name="connsiteY36" fmla="*/ 3244850 h 4429294"/>
                    <a:gd name="connsiteX37" fmla="*/ 134877 w 4471962"/>
                    <a:gd name="connsiteY37" fmla="*/ 2892425 h 4429294"/>
                    <a:gd name="connsiteX38" fmla="*/ 26927 w 4471962"/>
                    <a:gd name="connsiteY38" fmla="*/ 2368550 h 4429294"/>
                    <a:gd name="connsiteX39" fmla="*/ 1527 w 4471962"/>
                    <a:gd name="connsiteY39" fmla="*/ 1781175 h 4429294"/>
                    <a:gd name="connsiteX40" fmla="*/ 58677 w 4471962"/>
                    <a:gd name="connsiteY40" fmla="*/ 1590675 h 4429294"/>
                    <a:gd name="connsiteX41" fmla="*/ 106302 w 4471962"/>
                    <a:gd name="connsiteY41" fmla="*/ 1419225 h 4429294"/>
                    <a:gd name="connsiteX42" fmla="*/ 182502 w 4471962"/>
                    <a:gd name="connsiteY42" fmla="*/ 1276350 h 4429294"/>
                    <a:gd name="connsiteX43" fmla="*/ 268227 w 4471962"/>
                    <a:gd name="connsiteY43" fmla="*/ 1114425 h 4429294"/>
                    <a:gd name="connsiteX44" fmla="*/ 430152 w 4471962"/>
                    <a:gd name="connsiteY44" fmla="*/ 857250 h 4429294"/>
                    <a:gd name="connsiteX45" fmla="*/ 487302 w 4471962"/>
                    <a:gd name="connsiteY45" fmla="*/ 800100 h 4429294"/>
                    <a:gd name="connsiteX46" fmla="*/ 620652 w 4471962"/>
                    <a:gd name="connsiteY46" fmla="*/ 676275 h 4429294"/>
                    <a:gd name="connsiteX47" fmla="*/ 839727 w 4471962"/>
                    <a:gd name="connsiteY47" fmla="*/ 504825 h 4429294"/>
                    <a:gd name="connsiteX48" fmla="*/ 1119127 w 4471962"/>
                    <a:gd name="connsiteY48" fmla="*/ 311150 h 4429294"/>
                    <a:gd name="connsiteX49" fmla="*/ 1477902 w 4471962"/>
                    <a:gd name="connsiteY49" fmla="*/ 152400 h 4429294"/>
                    <a:gd name="connsiteX50" fmla="*/ 1592202 w 4471962"/>
                    <a:gd name="connsiteY50" fmla="*/ 111125 h 4429294"/>
                    <a:gd name="connsiteX51" fmla="*/ 2224027 w 4471962"/>
                    <a:gd name="connsiteY51" fmla="*/ 12700 h 4429294"/>
                    <a:gd name="connsiteX0" fmla="*/ 2231942 w 4454477"/>
                    <a:gd name="connsiteY0" fmla="*/ 0 h 4429294"/>
                    <a:gd name="connsiteX1" fmla="*/ 2555792 w 4454477"/>
                    <a:gd name="connsiteY1" fmla="*/ 15875 h 4429294"/>
                    <a:gd name="connsiteX2" fmla="*/ 2851067 w 4454477"/>
                    <a:gd name="connsiteY2" fmla="*/ 85725 h 4429294"/>
                    <a:gd name="connsiteX3" fmla="*/ 3070142 w 4454477"/>
                    <a:gd name="connsiteY3" fmla="*/ 171450 h 4429294"/>
                    <a:gd name="connsiteX4" fmla="*/ 3174917 w 4454477"/>
                    <a:gd name="connsiteY4" fmla="*/ 228600 h 4429294"/>
                    <a:gd name="connsiteX5" fmla="*/ 3355892 w 4454477"/>
                    <a:gd name="connsiteY5" fmla="*/ 323850 h 4429294"/>
                    <a:gd name="connsiteX6" fmla="*/ 3746417 w 4454477"/>
                    <a:gd name="connsiteY6" fmla="*/ 581025 h 4429294"/>
                    <a:gd name="connsiteX7" fmla="*/ 3962317 w 4454477"/>
                    <a:gd name="connsiteY7" fmla="*/ 819150 h 4429294"/>
                    <a:gd name="connsiteX8" fmla="*/ 4098842 w 4454477"/>
                    <a:gd name="connsiteY8" fmla="*/ 990600 h 4429294"/>
                    <a:gd name="connsiteX9" fmla="*/ 4184567 w 4454477"/>
                    <a:gd name="connsiteY9" fmla="*/ 1143000 h 4429294"/>
                    <a:gd name="connsiteX10" fmla="*/ 4241717 w 4454477"/>
                    <a:gd name="connsiteY10" fmla="*/ 1266825 h 4429294"/>
                    <a:gd name="connsiteX11" fmla="*/ 4279817 w 4454477"/>
                    <a:gd name="connsiteY11" fmla="*/ 1362075 h 4429294"/>
                    <a:gd name="connsiteX12" fmla="*/ 4327442 w 4454477"/>
                    <a:gd name="connsiteY12" fmla="*/ 1552575 h 4429294"/>
                    <a:gd name="connsiteX13" fmla="*/ 4365542 w 4454477"/>
                    <a:gd name="connsiteY13" fmla="*/ 1685925 h 4429294"/>
                    <a:gd name="connsiteX14" fmla="*/ 4454442 w 4454477"/>
                    <a:gd name="connsiteY14" fmla="*/ 2181225 h 4429294"/>
                    <a:gd name="connsiteX15" fmla="*/ 4381417 w 4454477"/>
                    <a:gd name="connsiteY15" fmla="*/ 2768600 h 4429294"/>
                    <a:gd name="connsiteX16" fmla="*/ 4317917 w 4454477"/>
                    <a:gd name="connsiteY16" fmla="*/ 2990850 h 4429294"/>
                    <a:gd name="connsiteX17" fmla="*/ 4213142 w 4454477"/>
                    <a:gd name="connsiteY17" fmla="*/ 3248025 h 4429294"/>
                    <a:gd name="connsiteX18" fmla="*/ 4117892 w 4454477"/>
                    <a:gd name="connsiteY18" fmla="*/ 3400425 h 4429294"/>
                    <a:gd name="connsiteX19" fmla="*/ 3994067 w 4454477"/>
                    <a:gd name="connsiteY19" fmla="*/ 3533775 h 4429294"/>
                    <a:gd name="connsiteX20" fmla="*/ 3889292 w 4454477"/>
                    <a:gd name="connsiteY20" fmla="*/ 3648075 h 4429294"/>
                    <a:gd name="connsiteX21" fmla="*/ 3594017 w 4454477"/>
                    <a:gd name="connsiteY21" fmla="*/ 3971925 h 4429294"/>
                    <a:gd name="connsiteX22" fmla="*/ 3451142 w 4454477"/>
                    <a:gd name="connsiteY22" fmla="*/ 4083050 h 4429294"/>
                    <a:gd name="connsiteX23" fmla="*/ 3155867 w 4454477"/>
                    <a:gd name="connsiteY23" fmla="*/ 4222750 h 4429294"/>
                    <a:gd name="connsiteX24" fmla="*/ 3003467 w 4454477"/>
                    <a:gd name="connsiteY24" fmla="*/ 4286250 h 4429294"/>
                    <a:gd name="connsiteX25" fmla="*/ 2870117 w 4454477"/>
                    <a:gd name="connsiteY25" fmla="*/ 4333875 h 4429294"/>
                    <a:gd name="connsiteX26" fmla="*/ 2746292 w 4454477"/>
                    <a:gd name="connsiteY26" fmla="*/ 4371975 h 4429294"/>
                    <a:gd name="connsiteX27" fmla="*/ 2514517 w 4454477"/>
                    <a:gd name="connsiteY27" fmla="*/ 4391025 h 4429294"/>
                    <a:gd name="connsiteX28" fmla="*/ 2060492 w 4454477"/>
                    <a:gd name="connsiteY28" fmla="*/ 4429125 h 4429294"/>
                    <a:gd name="connsiteX29" fmla="*/ 1869992 w 4454477"/>
                    <a:gd name="connsiteY29" fmla="*/ 4400550 h 4429294"/>
                    <a:gd name="connsiteX30" fmla="*/ 1508042 w 4454477"/>
                    <a:gd name="connsiteY30" fmla="*/ 4305300 h 4429294"/>
                    <a:gd name="connsiteX31" fmla="*/ 1266742 w 4454477"/>
                    <a:gd name="connsiteY31" fmla="*/ 4216400 h 4429294"/>
                    <a:gd name="connsiteX32" fmla="*/ 1098467 w 4454477"/>
                    <a:gd name="connsiteY32" fmla="*/ 4111625 h 4429294"/>
                    <a:gd name="connsiteX33" fmla="*/ 879392 w 4454477"/>
                    <a:gd name="connsiteY33" fmla="*/ 3968750 h 4429294"/>
                    <a:gd name="connsiteX34" fmla="*/ 546017 w 4454477"/>
                    <a:gd name="connsiteY34" fmla="*/ 3657600 h 4429294"/>
                    <a:gd name="connsiteX35" fmla="*/ 399967 w 4454477"/>
                    <a:gd name="connsiteY35" fmla="*/ 3470275 h 4429294"/>
                    <a:gd name="connsiteX36" fmla="*/ 269792 w 4454477"/>
                    <a:gd name="connsiteY36" fmla="*/ 3244850 h 4429294"/>
                    <a:gd name="connsiteX37" fmla="*/ 117392 w 4454477"/>
                    <a:gd name="connsiteY37" fmla="*/ 2892425 h 4429294"/>
                    <a:gd name="connsiteX38" fmla="*/ 9442 w 4454477"/>
                    <a:gd name="connsiteY38" fmla="*/ 2368550 h 4429294"/>
                    <a:gd name="connsiteX39" fmla="*/ 15792 w 4454477"/>
                    <a:gd name="connsiteY39" fmla="*/ 1870075 h 4429294"/>
                    <a:gd name="connsiteX40" fmla="*/ 41192 w 4454477"/>
                    <a:gd name="connsiteY40" fmla="*/ 1590675 h 4429294"/>
                    <a:gd name="connsiteX41" fmla="*/ 88817 w 4454477"/>
                    <a:gd name="connsiteY41" fmla="*/ 1419225 h 4429294"/>
                    <a:gd name="connsiteX42" fmla="*/ 165017 w 4454477"/>
                    <a:gd name="connsiteY42" fmla="*/ 1276350 h 4429294"/>
                    <a:gd name="connsiteX43" fmla="*/ 250742 w 4454477"/>
                    <a:gd name="connsiteY43" fmla="*/ 1114425 h 4429294"/>
                    <a:gd name="connsiteX44" fmla="*/ 412667 w 4454477"/>
                    <a:gd name="connsiteY44" fmla="*/ 857250 h 4429294"/>
                    <a:gd name="connsiteX45" fmla="*/ 469817 w 4454477"/>
                    <a:gd name="connsiteY45" fmla="*/ 800100 h 4429294"/>
                    <a:gd name="connsiteX46" fmla="*/ 603167 w 4454477"/>
                    <a:gd name="connsiteY46" fmla="*/ 676275 h 4429294"/>
                    <a:gd name="connsiteX47" fmla="*/ 822242 w 4454477"/>
                    <a:gd name="connsiteY47" fmla="*/ 504825 h 4429294"/>
                    <a:gd name="connsiteX48" fmla="*/ 1101642 w 4454477"/>
                    <a:gd name="connsiteY48" fmla="*/ 311150 h 4429294"/>
                    <a:gd name="connsiteX49" fmla="*/ 1460417 w 4454477"/>
                    <a:gd name="connsiteY49" fmla="*/ 152400 h 4429294"/>
                    <a:gd name="connsiteX50" fmla="*/ 1574717 w 4454477"/>
                    <a:gd name="connsiteY50" fmla="*/ 111125 h 4429294"/>
                    <a:gd name="connsiteX51" fmla="*/ 2206542 w 4454477"/>
                    <a:gd name="connsiteY51" fmla="*/ 12700 h 4429294"/>
                    <a:gd name="connsiteX0" fmla="*/ 2233750 w 4456285"/>
                    <a:gd name="connsiteY0" fmla="*/ 0 h 4429294"/>
                    <a:gd name="connsiteX1" fmla="*/ 2557600 w 4456285"/>
                    <a:gd name="connsiteY1" fmla="*/ 15875 h 4429294"/>
                    <a:gd name="connsiteX2" fmla="*/ 2852875 w 4456285"/>
                    <a:gd name="connsiteY2" fmla="*/ 85725 h 4429294"/>
                    <a:gd name="connsiteX3" fmla="*/ 3071950 w 4456285"/>
                    <a:gd name="connsiteY3" fmla="*/ 171450 h 4429294"/>
                    <a:gd name="connsiteX4" fmla="*/ 3176725 w 4456285"/>
                    <a:gd name="connsiteY4" fmla="*/ 228600 h 4429294"/>
                    <a:gd name="connsiteX5" fmla="*/ 3357700 w 4456285"/>
                    <a:gd name="connsiteY5" fmla="*/ 323850 h 4429294"/>
                    <a:gd name="connsiteX6" fmla="*/ 3748225 w 4456285"/>
                    <a:gd name="connsiteY6" fmla="*/ 581025 h 4429294"/>
                    <a:gd name="connsiteX7" fmla="*/ 3964125 w 4456285"/>
                    <a:gd name="connsiteY7" fmla="*/ 819150 h 4429294"/>
                    <a:gd name="connsiteX8" fmla="*/ 4100650 w 4456285"/>
                    <a:gd name="connsiteY8" fmla="*/ 990600 h 4429294"/>
                    <a:gd name="connsiteX9" fmla="*/ 4186375 w 4456285"/>
                    <a:gd name="connsiteY9" fmla="*/ 1143000 h 4429294"/>
                    <a:gd name="connsiteX10" fmla="*/ 4243525 w 4456285"/>
                    <a:gd name="connsiteY10" fmla="*/ 1266825 h 4429294"/>
                    <a:gd name="connsiteX11" fmla="*/ 4281625 w 4456285"/>
                    <a:gd name="connsiteY11" fmla="*/ 1362075 h 4429294"/>
                    <a:gd name="connsiteX12" fmla="*/ 4329250 w 4456285"/>
                    <a:gd name="connsiteY12" fmla="*/ 1552575 h 4429294"/>
                    <a:gd name="connsiteX13" fmla="*/ 4367350 w 4456285"/>
                    <a:gd name="connsiteY13" fmla="*/ 1685925 h 4429294"/>
                    <a:gd name="connsiteX14" fmla="*/ 4456250 w 4456285"/>
                    <a:gd name="connsiteY14" fmla="*/ 2181225 h 4429294"/>
                    <a:gd name="connsiteX15" fmla="*/ 4383225 w 4456285"/>
                    <a:gd name="connsiteY15" fmla="*/ 2768600 h 4429294"/>
                    <a:gd name="connsiteX16" fmla="*/ 4319725 w 4456285"/>
                    <a:gd name="connsiteY16" fmla="*/ 2990850 h 4429294"/>
                    <a:gd name="connsiteX17" fmla="*/ 4214950 w 4456285"/>
                    <a:gd name="connsiteY17" fmla="*/ 3248025 h 4429294"/>
                    <a:gd name="connsiteX18" fmla="*/ 4119700 w 4456285"/>
                    <a:gd name="connsiteY18" fmla="*/ 3400425 h 4429294"/>
                    <a:gd name="connsiteX19" fmla="*/ 3995875 w 4456285"/>
                    <a:gd name="connsiteY19" fmla="*/ 3533775 h 4429294"/>
                    <a:gd name="connsiteX20" fmla="*/ 3891100 w 4456285"/>
                    <a:gd name="connsiteY20" fmla="*/ 3648075 h 4429294"/>
                    <a:gd name="connsiteX21" fmla="*/ 3595825 w 4456285"/>
                    <a:gd name="connsiteY21" fmla="*/ 3971925 h 4429294"/>
                    <a:gd name="connsiteX22" fmla="*/ 3452950 w 4456285"/>
                    <a:gd name="connsiteY22" fmla="*/ 4083050 h 4429294"/>
                    <a:gd name="connsiteX23" fmla="*/ 3157675 w 4456285"/>
                    <a:gd name="connsiteY23" fmla="*/ 4222750 h 4429294"/>
                    <a:gd name="connsiteX24" fmla="*/ 3005275 w 4456285"/>
                    <a:gd name="connsiteY24" fmla="*/ 4286250 h 4429294"/>
                    <a:gd name="connsiteX25" fmla="*/ 2871925 w 4456285"/>
                    <a:gd name="connsiteY25" fmla="*/ 4333875 h 4429294"/>
                    <a:gd name="connsiteX26" fmla="*/ 2748100 w 4456285"/>
                    <a:gd name="connsiteY26" fmla="*/ 4371975 h 4429294"/>
                    <a:gd name="connsiteX27" fmla="*/ 2516325 w 4456285"/>
                    <a:gd name="connsiteY27" fmla="*/ 4391025 h 4429294"/>
                    <a:gd name="connsiteX28" fmla="*/ 2062300 w 4456285"/>
                    <a:gd name="connsiteY28" fmla="*/ 4429125 h 4429294"/>
                    <a:gd name="connsiteX29" fmla="*/ 1871800 w 4456285"/>
                    <a:gd name="connsiteY29" fmla="*/ 4400550 h 4429294"/>
                    <a:gd name="connsiteX30" fmla="*/ 1509850 w 4456285"/>
                    <a:gd name="connsiteY30" fmla="*/ 4305300 h 4429294"/>
                    <a:gd name="connsiteX31" fmla="*/ 1268550 w 4456285"/>
                    <a:gd name="connsiteY31" fmla="*/ 4216400 h 4429294"/>
                    <a:gd name="connsiteX32" fmla="*/ 1100275 w 4456285"/>
                    <a:gd name="connsiteY32" fmla="*/ 4111625 h 4429294"/>
                    <a:gd name="connsiteX33" fmla="*/ 881200 w 4456285"/>
                    <a:gd name="connsiteY33" fmla="*/ 3968750 h 4429294"/>
                    <a:gd name="connsiteX34" fmla="*/ 547825 w 4456285"/>
                    <a:gd name="connsiteY34" fmla="*/ 3657600 h 4429294"/>
                    <a:gd name="connsiteX35" fmla="*/ 401775 w 4456285"/>
                    <a:gd name="connsiteY35" fmla="*/ 3470275 h 4429294"/>
                    <a:gd name="connsiteX36" fmla="*/ 271600 w 4456285"/>
                    <a:gd name="connsiteY36" fmla="*/ 3244850 h 4429294"/>
                    <a:gd name="connsiteX37" fmla="*/ 119200 w 4456285"/>
                    <a:gd name="connsiteY37" fmla="*/ 2892425 h 4429294"/>
                    <a:gd name="connsiteX38" fmla="*/ 11250 w 4456285"/>
                    <a:gd name="connsiteY38" fmla="*/ 2368550 h 4429294"/>
                    <a:gd name="connsiteX39" fmla="*/ 17600 w 4456285"/>
                    <a:gd name="connsiteY39" fmla="*/ 1870075 h 4429294"/>
                    <a:gd name="connsiteX40" fmla="*/ 90625 w 4456285"/>
                    <a:gd name="connsiteY40" fmla="*/ 1419225 h 4429294"/>
                    <a:gd name="connsiteX41" fmla="*/ 166825 w 4456285"/>
                    <a:gd name="connsiteY41" fmla="*/ 1276350 h 4429294"/>
                    <a:gd name="connsiteX42" fmla="*/ 252550 w 4456285"/>
                    <a:gd name="connsiteY42" fmla="*/ 1114425 h 4429294"/>
                    <a:gd name="connsiteX43" fmla="*/ 414475 w 4456285"/>
                    <a:gd name="connsiteY43" fmla="*/ 857250 h 4429294"/>
                    <a:gd name="connsiteX44" fmla="*/ 471625 w 4456285"/>
                    <a:gd name="connsiteY44" fmla="*/ 800100 h 4429294"/>
                    <a:gd name="connsiteX45" fmla="*/ 604975 w 4456285"/>
                    <a:gd name="connsiteY45" fmla="*/ 676275 h 4429294"/>
                    <a:gd name="connsiteX46" fmla="*/ 824050 w 4456285"/>
                    <a:gd name="connsiteY46" fmla="*/ 504825 h 4429294"/>
                    <a:gd name="connsiteX47" fmla="*/ 1103450 w 4456285"/>
                    <a:gd name="connsiteY47" fmla="*/ 311150 h 4429294"/>
                    <a:gd name="connsiteX48" fmla="*/ 1462225 w 4456285"/>
                    <a:gd name="connsiteY48" fmla="*/ 152400 h 4429294"/>
                    <a:gd name="connsiteX49" fmla="*/ 1576525 w 4456285"/>
                    <a:gd name="connsiteY49" fmla="*/ 111125 h 4429294"/>
                    <a:gd name="connsiteX50" fmla="*/ 2208350 w 4456285"/>
                    <a:gd name="connsiteY50" fmla="*/ 12700 h 4429294"/>
                    <a:gd name="connsiteX0" fmla="*/ 2237540 w 4460075"/>
                    <a:gd name="connsiteY0" fmla="*/ 0 h 4429294"/>
                    <a:gd name="connsiteX1" fmla="*/ 2561390 w 4460075"/>
                    <a:gd name="connsiteY1" fmla="*/ 15875 h 4429294"/>
                    <a:gd name="connsiteX2" fmla="*/ 2856665 w 4460075"/>
                    <a:gd name="connsiteY2" fmla="*/ 85725 h 4429294"/>
                    <a:gd name="connsiteX3" fmla="*/ 3075740 w 4460075"/>
                    <a:gd name="connsiteY3" fmla="*/ 171450 h 4429294"/>
                    <a:gd name="connsiteX4" fmla="*/ 3180515 w 4460075"/>
                    <a:gd name="connsiteY4" fmla="*/ 228600 h 4429294"/>
                    <a:gd name="connsiteX5" fmla="*/ 3361490 w 4460075"/>
                    <a:gd name="connsiteY5" fmla="*/ 323850 h 4429294"/>
                    <a:gd name="connsiteX6" fmla="*/ 3752015 w 4460075"/>
                    <a:gd name="connsiteY6" fmla="*/ 581025 h 4429294"/>
                    <a:gd name="connsiteX7" fmla="*/ 3967915 w 4460075"/>
                    <a:gd name="connsiteY7" fmla="*/ 819150 h 4429294"/>
                    <a:gd name="connsiteX8" fmla="*/ 4104440 w 4460075"/>
                    <a:gd name="connsiteY8" fmla="*/ 990600 h 4429294"/>
                    <a:gd name="connsiteX9" fmla="*/ 4190165 w 4460075"/>
                    <a:gd name="connsiteY9" fmla="*/ 1143000 h 4429294"/>
                    <a:gd name="connsiteX10" fmla="*/ 4247315 w 4460075"/>
                    <a:gd name="connsiteY10" fmla="*/ 1266825 h 4429294"/>
                    <a:gd name="connsiteX11" fmla="*/ 4285415 w 4460075"/>
                    <a:gd name="connsiteY11" fmla="*/ 1362075 h 4429294"/>
                    <a:gd name="connsiteX12" fmla="*/ 4333040 w 4460075"/>
                    <a:gd name="connsiteY12" fmla="*/ 1552575 h 4429294"/>
                    <a:gd name="connsiteX13" fmla="*/ 4371140 w 4460075"/>
                    <a:gd name="connsiteY13" fmla="*/ 1685925 h 4429294"/>
                    <a:gd name="connsiteX14" fmla="*/ 4460040 w 4460075"/>
                    <a:gd name="connsiteY14" fmla="*/ 2181225 h 4429294"/>
                    <a:gd name="connsiteX15" fmla="*/ 4387015 w 4460075"/>
                    <a:gd name="connsiteY15" fmla="*/ 2768600 h 4429294"/>
                    <a:gd name="connsiteX16" fmla="*/ 4323515 w 4460075"/>
                    <a:gd name="connsiteY16" fmla="*/ 2990850 h 4429294"/>
                    <a:gd name="connsiteX17" fmla="*/ 4218740 w 4460075"/>
                    <a:gd name="connsiteY17" fmla="*/ 3248025 h 4429294"/>
                    <a:gd name="connsiteX18" fmla="*/ 4123490 w 4460075"/>
                    <a:gd name="connsiteY18" fmla="*/ 3400425 h 4429294"/>
                    <a:gd name="connsiteX19" fmla="*/ 3999665 w 4460075"/>
                    <a:gd name="connsiteY19" fmla="*/ 3533775 h 4429294"/>
                    <a:gd name="connsiteX20" fmla="*/ 3894890 w 4460075"/>
                    <a:gd name="connsiteY20" fmla="*/ 3648075 h 4429294"/>
                    <a:gd name="connsiteX21" fmla="*/ 3599615 w 4460075"/>
                    <a:gd name="connsiteY21" fmla="*/ 3971925 h 4429294"/>
                    <a:gd name="connsiteX22" fmla="*/ 3456740 w 4460075"/>
                    <a:gd name="connsiteY22" fmla="*/ 4083050 h 4429294"/>
                    <a:gd name="connsiteX23" fmla="*/ 3161465 w 4460075"/>
                    <a:gd name="connsiteY23" fmla="*/ 4222750 h 4429294"/>
                    <a:gd name="connsiteX24" fmla="*/ 3009065 w 4460075"/>
                    <a:gd name="connsiteY24" fmla="*/ 4286250 h 4429294"/>
                    <a:gd name="connsiteX25" fmla="*/ 2875715 w 4460075"/>
                    <a:gd name="connsiteY25" fmla="*/ 4333875 h 4429294"/>
                    <a:gd name="connsiteX26" fmla="*/ 2751890 w 4460075"/>
                    <a:gd name="connsiteY26" fmla="*/ 4371975 h 4429294"/>
                    <a:gd name="connsiteX27" fmla="*/ 2520115 w 4460075"/>
                    <a:gd name="connsiteY27" fmla="*/ 4391025 h 4429294"/>
                    <a:gd name="connsiteX28" fmla="*/ 2066090 w 4460075"/>
                    <a:gd name="connsiteY28" fmla="*/ 4429125 h 4429294"/>
                    <a:gd name="connsiteX29" fmla="*/ 1875590 w 4460075"/>
                    <a:gd name="connsiteY29" fmla="*/ 4400550 h 4429294"/>
                    <a:gd name="connsiteX30" fmla="*/ 1513640 w 4460075"/>
                    <a:gd name="connsiteY30" fmla="*/ 4305300 h 4429294"/>
                    <a:gd name="connsiteX31" fmla="*/ 1272340 w 4460075"/>
                    <a:gd name="connsiteY31" fmla="*/ 4216400 h 4429294"/>
                    <a:gd name="connsiteX32" fmla="*/ 1104065 w 4460075"/>
                    <a:gd name="connsiteY32" fmla="*/ 4111625 h 4429294"/>
                    <a:gd name="connsiteX33" fmla="*/ 884990 w 4460075"/>
                    <a:gd name="connsiteY33" fmla="*/ 3968750 h 4429294"/>
                    <a:gd name="connsiteX34" fmla="*/ 551615 w 4460075"/>
                    <a:gd name="connsiteY34" fmla="*/ 3657600 h 4429294"/>
                    <a:gd name="connsiteX35" fmla="*/ 405565 w 4460075"/>
                    <a:gd name="connsiteY35" fmla="*/ 3470275 h 4429294"/>
                    <a:gd name="connsiteX36" fmla="*/ 275390 w 4460075"/>
                    <a:gd name="connsiteY36" fmla="*/ 3244850 h 4429294"/>
                    <a:gd name="connsiteX37" fmla="*/ 122990 w 4460075"/>
                    <a:gd name="connsiteY37" fmla="*/ 2892425 h 4429294"/>
                    <a:gd name="connsiteX38" fmla="*/ 15040 w 4460075"/>
                    <a:gd name="connsiteY38" fmla="*/ 2368550 h 4429294"/>
                    <a:gd name="connsiteX39" fmla="*/ 21390 w 4460075"/>
                    <a:gd name="connsiteY39" fmla="*/ 1870075 h 4429294"/>
                    <a:gd name="connsiteX40" fmla="*/ 170615 w 4460075"/>
                    <a:gd name="connsiteY40" fmla="*/ 1276350 h 4429294"/>
                    <a:gd name="connsiteX41" fmla="*/ 256340 w 4460075"/>
                    <a:gd name="connsiteY41" fmla="*/ 1114425 h 4429294"/>
                    <a:gd name="connsiteX42" fmla="*/ 418265 w 4460075"/>
                    <a:gd name="connsiteY42" fmla="*/ 857250 h 4429294"/>
                    <a:gd name="connsiteX43" fmla="*/ 475415 w 4460075"/>
                    <a:gd name="connsiteY43" fmla="*/ 800100 h 4429294"/>
                    <a:gd name="connsiteX44" fmla="*/ 608765 w 4460075"/>
                    <a:gd name="connsiteY44" fmla="*/ 676275 h 4429294"/>
                    <a:gd name="connsiteX45" fmla="*/ 827840 w 4460075"/>
                    <a:gd name="connsiteY45" fmla="*/ 504825 h 4429294"/>
                    <a:gd name="connsiteX46" fmla="*/ 1107240 w 4460075"/>
                    <a:gd name="connsiteY46" fmla="*/ 311150 h 4429294"/>
                    <a:gd name="connsiteX47" fmla="*/ 1466015 w 4460075"/>
                    <a:gd name="connsiteY47" fmla="*/ 152400 h 4429294"/>
                    <a:gd name="connsiteX48" fmla="*/ 1580315 w 4460075"/>
                    <a:gd name="connsiteY48" fmla="*/ 111125 h 4429294"/>
                    <a:gd name="connsiteX49" fmla="*/ 2212140 w 4460075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5706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76140 w 4460800"/>
                    <a:gd name="connsiteY42" fmla="*/ 800100 h 4429294"/>
                    <a:gd name="connsiteX43" fmla="*/ 609490 w 4460800"/>
                    <a:gd name="connsiteY43" fmla="*/ 676275 h 4429294"/>
                    <a:gd name="connsiteX44" fmla="*/ 828565 w 4460800"/>
                    <a:gd name="connsiteY44" fmla="*/ 504825 h 4429294"/>
                    <a:gd name="connsiteX45" fmla="*/ 1107965 w 4460800"/>
                    <a:gd name="connsiteY45" fmla="*/ 311150 h 4429294"/>
                    <a:gd name="connsiteX46" fmla="*/ 1466740 w 4460800"/>
                    <a:gd name="connsiteY46" fmla="*/ 152400 h 4429294"/>
                    <a:gd name="connsiteX47" fmla="*/ 1581040 w 4460800"/>
                    <a:gd name="connsiteY47" fmla="*/ 111125 h 4429294"/>
                    <a:gd name="connsiteX48" fmla="*/ 2212865 w 4460800"/>
                    <a:gd name="connsiteY48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</a:path>
                  </a:pathLst>
                </a:custGeom>
                <a:solidFill>
                  <a:srgbClr val="97A2BB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28" name="Freeform: Shape 1027">
                  <a:extLst>
                    <a:ext uri="{FF2B5EF4-FFF2-40B4-BE49-F238E27FC236}">
                      <a16:creationId xmlns:a16="http://schemas.microsoft.com/office/drawing/2014/main" id="{EF5E127C-123E-0195-5CD5-B0CBF85569CE}"/>
                    </a:ext>
                  </a:extLst>
                </p:cNvPr>
                <p:cNvSpPr/>
                <p:nvPr/>
              </p:nvSpPr>
              <p:spPr>
                <a:xfrm>
                  <a:off x="1720410" y="5495521"/>
                  <a:ext cx="85725" cy="109932"/>
                </a:xfrm>
                <a:custGeom>
                  <a:avLst/>
                  <a:gdLst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944902 w 4469152"/>
                    <a:gd name="connsiteY150" fmla="*/ 476250 h 4496940"/>
                    <a:gd name="connsiteX151" fmla="*/ 1087777 w 4469152"/>
                    <a:gd name="connsiteY151" fmla="*/ 409575 h 4496940"/>
                    <a:gd name="connsiteX152" fmla="*/ 1202077 w 4469152"/>
                    <a:gd name="connsiteY152" fmla="*/ 314325 h 4496940"/>
                    <a:gd name="connsiteX153" fmla="*/ 1268752 w 4469152"/>
                    <a:gd name="connsiteY153" fmla="*/ 285750 h 4496940"/>
                    <a:gd name="connsiteX154" fmla="*/ 1411627 w 4469152"/>
                    <a:gd name="connsiteY154" fmla="*/ 190500 h 4496940"/>
                    <a:gd name="connsiteX155" fmla="*/ 1449727 w 4469152"/>
                    <a:gd name="connsiteY155" fmla="*/ 161925 h 4496940"/>
                    <a:gd name="connsiteX156" fmla="*/ 1525927 w 4469152"/>
                    <a:gd name="connsiteY156" fmla="*/ 152400 h 4496940"/>
                    <a:gd name="connsiteX157" fmla="*/ 1583077 w 4469152"/>
                    <a:gd name="connsiteY157" fmla="*/ 142875 h 4496940"/>
                    <a:gd name="connsiteX158" fmla="*/ 1716427 w 4469152"/>
                    <a:gd name="connsiteY158" fmla="*/ 123825 h 4496940"/>
                    <a:gd name="connsiteX159" fmla="*/ 1811677 w 4469152"/>
                    <a:gd name="connsiteY159" fmla="*/ 114300 h 4496940"/>
                    <a:gd name="connsiteX160" fmla="*/ 1859302 w 4469152"/>
                    <a:gd name="connsiteY160" fmla="*/ 104775 h 4496940"/>
                    <a:gd name="connsiteX161" fmla="*/ 1916452 w 4469152"/>
                    <a:gd name="connsiteY161" fmla="*/ 95250 h 4496940"/>
                    <a:gd name="connsiteX162" fmla="*/ 2030752 w 4469152"/>
                    <a:gd name="connsiteY162" fmla="*/ 66675 h 4496940"/>
                    <a:gd name="connsiteX163" fmla="*/ 2097427 w 4469152"/>
                    <a:gd name="connsiteY163" fmla="*/ 47625 h 4496940"/>
                    <a:gd name="connsiteX164" fmla="*/ 2164102 w 4469152"/>
                    <a:gd name="connsiteY164" fmla="*/ 38100 h 4496940"/>
                    <a:gd name="connsiteX165" fmla="*/ 2392702 w 4469152"/>
                    <a:gd name="connsiteY165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087777 w 4469152"/>
                    <a:gd name="connsiteY150" fmla="*/ 409575 h 4496940"/>
                    <a:gd name="connsiteX151" fmla="*/ 1202077 w 4469152"/>
                    <a:gd name="connsiteY151" fmla="*/ 314325 h 4496940"/>
                    <a:gd name="connsiteX152" fmla="*/ 1268752 w 4469152"/>
                    <a:gd name="connsiteY152" fmla="*/ 285750 h 4496940"/>
                    <a:gd name="connsiteX153" fmla="*/ 1411627 w 4469152"/>
                    <a:gd name="connsiteY153" fmla="*/ 190500 h 4496940"/>
                    <a:gd name="connsiteX154" fmla="*/ 1449727 w 4469152"/>
                    <a:gd name="connsiteY154" fmla="*/ 161925 h 4496940"/>
                    <a:gd name="connsiteX155" fmla="*/ 1525927 w 4469152"/>
                    <a:gd name="connsiteY155" fmla="*/ 152400 h 4496940"/>
                    <a:gd name="connsiteX156" fmla="*/ 1583077 w 4469152"/>
                    <a:gd name="connsiteY156" fmla="*/ 142875 h 4496940"/>
                    <a:gd name="connsiteX157" fmla="*/ 1716427 w 4469152"/>
                    <a:gd name="connsiteY157" fmla="*/ 123825 h 4496940"/>
                    <a:gd name="connsiteX158" fmla="*/ 1811677 w 4469152"/>
                    <a:gd name="connsiteY158" fmla="*/ 114300 h 4496940"/>
                    <a:gd name="connsiteX159" fmla="*/ 1859302 w 4469152"/>
                    <a:gd name="connsiteY159" fmla="*/ 104775 h 4496940"/>
                    <a:gd name="connsiteX160" fmla="*/ 1916452 w 4469152"/>
                    <a:gd name="connsiteY160" fmla="*/ 95250 h 4496940"/>
                    <a:gd name="connsiteX161" fmla="*/ 2030752 w 4469152"/>
                    <a:gd name="connsiteY161" fmla="*/ 66675 h 4496940"/>
                    <a:gd name="connsiteX162" fmla="*/ 2097427 w 4469152"/>
                    <a:gd name="connsiteY162" fmla="*/ 47625 h 4496940"/>
                    <a:gd name="connsiteX163" fmla="*/ 2164102 w 4469152"/>
                    <a:gd name="connsiteY163" fmla="*/ 38100 h 4496940"/>
                    <a:gd name="connsiteX164" fmla="*/ 2392702 w 4469152"/>
                    <a:gd name="connsiteY164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02077 w 4469152"/>
                    <a:gd name="connsiteY150" fmla="*/ 314325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68752 w 4469152"/>
                    <a:gd name="connsiteY150" fmla="*/ 285750 h 4496940"/>
                    <a:gd name="connsiteX151" fmla="*/ 1411627 w 4469152"/>
                    <a:gd name="connsiteY151" fmla="*/ 190500 h 4496940"/>
                    <a:gd name="connsiteX152" fmla="*/ 1449727 w 4469152"/>
                    <a:gd name="connsiteY152" fmla="*/ 161925 h 4496940"/>
                    <a:gd name="connsiteX153" fmla="*/ 1525927 w 4469152"/>
                    <a:gd name="connsiteY153" fmla="*/ 152400 h 4496940"/>
                    <a:gd name="connsiteX154" fmla="*/ 1583077 w 4469152"/>
                    <a:gd name="connsiteY154" fmla="*/ 142875 h 4496940"/>
                    <a:gd name="connsiteX155" fmla="*/ 1716427 w 4469152"/>
                    <a:gd name="connsiteY155" fmla="*/ 123825 h 4496940"/>
                    <a:gd name="connsiteX156" fmla="*/ 1811677 w 4469152"/>
                    <a:gd name="connsiteY156" fmla="*/ 114300 h 4496940"/>
                    <a:gd name="connsiteX157" fmla="*/ 1859302 w 4469152"/>
                    <a:gd name="connsiteY157" fmla="*/ 104775 h 4496940"/>
                    <a:gd name="connsiteX158" fmla="*/ 1916452 w 4469152"/>
                    <a:gd name="connsiteY158" fmla="*/ 95250 h 4496940"/>
                    <a:gd name="connsiteX159" fmla="*/ 2030752 w 4469152"/>
                    <a:gd name="connsiteY159" fmla="*/ 66675 h 4496940"/>
                    <a:gd name="connsiteX160" fmla="*/ 2097427 w 4469152"/>
                    <a:gd name="connsiteY160" fmla="*/ 47625 h 4496940"/>
                    <a:gd name="connsiteX161" fmla="*/ 2164102 w 4469152"/>
                    <a:gd name="connsiteY161" fmla="*/ 38100 h 4496940"/>
                    <a:gd name="connsiteX162" fmla="*/ 2392702 w 4469152"/>
                    <a:gd name="connsiteY162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167152 w 4469152"/>
                    <a:gd name="connsiteY150" fmla="*/ 311150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40577 w 4519952"/>
                    <a:gd name="connsiteY46" fmla="*/ 1762125 h 4496940"/>
                    <a:gd name="connsiteX47" fmla="*/ 4459627 w 4519952"/>
                    <a:gd name="connsiteY47" fmla="*/ 1828800 h 4496940"/>
                    <a:gd name="connsiteX48" fmla="*/ 4519952 w 4519952"/>
                    <a:gd name="connsiteY48" fmla="*/ 2181225 h 4496940"/>
                    <a:gd name="connsiteX49" fmla="*/ 4440577 w 4519952"/>
                    <a:gd name="connsiteY49" fmla="*/ 2876550 h 4496940"/>
                    <a:gd name="connsiteX50" fmla="*/ 4383427 w 4519952"/>
                    <a:gd name="connsiteY50" fmla="*/ 2990850 h 4496940"/>
                    <a:gd name="connsiteX51" fmla="*/ 4354852 w 4519952"/>
                    <a:gd name="connsiteY51" fmla="*/ 3057525 h 4496940"/>
                    <a:gd name="connsiteX52" fmla="*/ 4335802 w 4519952"/>
                    <a:gd name="connsiteY52" fmla="*/ 3095625 h 4496940"/>
                    <a:gd name="connsiteX53" fmla="*/ 4278652 w 4519952"/>
                    <a:gd name="connsiteY53" fmla="*/ 3248025 h 4496940"/>
                    <a:gd name="connsiteX54" fmla="*/ 4259602 w 4519952"/>
                    <a:gd name="connsiteY54" fmla="*/ 3276600 h 4496940"/>
                    <a:gd name="connsiteX55" fmla="*/ 4221502 w 4519952"/>
                    <a:gd name="connsiteY55" fmla="*/ 3333750 h 4496940"/>
                    <a:gd name="connsiteX56" fmla="*/ 4211977 w 4519952"/>
                    <a:gd name="connsiteY56" fmla="*/ 3362325 h 4496940"/>
                    <a:gd name="connsiteX57" fmla="*/ 4183402 w 4519952"/>
                    <a:gd name="connsiteY57" fmla="*/ 3400425 h 4496940"/>
                    <a:gd name="connsiteX58" fmla="*/ 4164352 w 4519952"/>
                    <a:gd name="connsiteY58" fmla="*/ 3429000 h 4496940"/>
                    <a:gd name="connsiteX59" fmla="*/ 4088152 w 4519952"/>
                    <a:gd name="connsiteY59" fmla="*/ 3495675 h 4496940"/>
                    <a:gd name="connsiteX60" fmla="*/ 4059577 w 4519952"/>
                    <a:gd name="connsiteY60" fmla="*/ 3533775 h 4496940"/>
                    <a:gd name="connsiteX61" fmla="*/ 4002427 w 4519952"/>
                    <a:gd name="connsiteY61" fmla="*/ 3600450 h 4496940"/>
                    <a:gd name="connsiteX62" fmla="*/ 3983377 w 4519952"/>
                    <a:gd name="connsiteY62" fmla="*/ 3629025 h 4496940"/>
                    <a:gd name="connsiteX63" fmla="*/ 3954802 w 4519952"/>
                    <a:gd name="connsiteY63" fmla="*/ 3648075 h 4496940"/>
                    <a:gd name="connsiteX64" fmla="*/ 3907177 w 4519952"/>
                    <a:gd name="connsiteY64" fmla="*/ 3686175 h 4496940"/>
                    <a:gd name="connsiteX65" fmla="*/ 3869077 w 4519952"/>
                    <a:gd name="connsiteY65" fmla="*/ 3724275 h 4496940"/>
                    <a:gd name="connsiteX66" fmla="*/ 3792877 w 4519952"/>
                    <a:gd name="connsiteY66" fmla="*/ 3781425 h 4496940"/>
                    <a:gd name="connsiteX67" fmla="*/ 3783352 w 4519952"/>
                    <a:gd name="connsiteY67" fmla="*/ 3810000 h 4496940"/>
                    <a:gd name="connsiteX68" fmla="*/ 3745252 w 4519952"/>
                    <a:gd name="connsiteY68" fmla="*/ 3819525 h 4496940"/>
                    <a:gd name="connsiteX69" fmla="*/ 3678577 w 4519952"/>
                    <a:gd name="connsiteY69" fmla="*/ 3848100 h 4496940"/>
                    <a:gd name="connsiteX70" fmla="*/ 3659527 w 4519952"/>
                    <a:gd name="connsiteY70" fmla="*/ 3971925 h 4496940"/>
                    <a:gd name="connsiteX71" fmla="*/ 3630952 w 4519952"/>
                    <a:gd name="connsiteY71" fmla="*/ 4010025 h 4496940"/>
                    <a:gd name="connsiteX72" fmla="*/ 3621427 w 4519952"/>
                    <a:gd name="connsiteY72" fmla="*/ 4038600 h 4496940"/>
                    <a:gd name="connsiteX73" fmla="*/ 3554752 w 4519952"/>
                    <a:gd name="connsiteY73" fmla="*/ 4095750 h 4496940"/>
                    <a:gd name="connsiteX74" fmla="*/ 3516652 w 4519952"/>
                    <a:gd name="connsiteY74" fmla="*/ 4114800 h 4496940"/>
                    <a:gd name="connsiteX75" fmla="*/ 3497602 w 4519952"/>
                    <a:gd name="connsiteY75" fmla="*/ 4143375 h 4496940"/>
                    <a:gd name="connsiteX76" fmla="*/ 3383302 w 4519952"/>
                    <a:gd name="connsiteY76" fmla="*/ 4210050 h 4496940"/>
                    <a:gd name="connsiteX77" fmla="*/ 3335677 w 4519952"/>
                    <a:gd name="connsiteY77" fmla="*/ 4238625 h 4496940"/>
                    <a:gd name="connsiteX78" fmla="*/ 3288052 w 4519952"/>
                    <a:gd name="connsiteY78" fmla="*/ 4248150 h 4496940"/>
                    <a:gd name="connsiteX79" fmla="*/ 3240427 w 4519952"/>
                    <a:gd name="connsiteY79" fmla="*/ 4267200 h 4496940"/>
                    <a:gd name="connsiteX80" fmla="*/ 3068977 w 4519952"/>
                    <a:gd name="connsiteY80" fmla="*/ 4286250 h 4496940"/>
                    <a:gd name="connsiteX81" fmla="*/ 2935627 w 4519952"/>
                    <a:gd name="connsiteY81" fmla="*/ 4333875 h 4496940"/>
                    <a:gd name="connsiteX82" fmla="*/ 2811802 w 4519952"/>
                    <a:gd name="connsiteY82" fmla="*/ 4371975 h 4496940"/>
                    <a:gd name="connsiteX83" fmla="*/ 2745127 w 4519952"/>
                    <a:gd name="connsiteY83" fmla="*/ 4410075 h 4496940"/>
                    <a:gd name="connsiteX84" fmla="*/ 2697502 w 4519952"/>
                    <a:gd name="connsiteY84" fmla="*/ 4429125 h 4496940"/>
                    <a:gd name="connsiteX85" fmla="*/ 2640352 w 4519952"/>
                    <a:gd name="connsiteY85" fmla="*/ 4457700 h 4496940"/>
                    <a:gd name="connsiteX86" fmla="*/ 2583202 w 4519952"/>
                    <a:gd name="connsiteY86" fmla="*/ 4467225 h 4496940"/>
                    <a:gd name="connsiteX87" fmla="*/ 2545102 w 4519952"/>
                    <a:gd name="connsiteY87" fmla="*/ 4486275 h 4496940"/>
                    <a:gd name="connsiteX88" fmla="*/ 2306977 w 4519952"/>
                    <a:gd name="connsiteY88" fmla="*/ 4476750 h 4496940"/>
                    <a:gd name="connsiteX89" fmla="*/ 2202202 w 4519952"/>
                    <a:gd name="connsiteY89" fmla="*/ 4457700 h 4496940"/>
                    <a:gd name="connsiteX90" fmla="*/ 2126002 w 4519952"/>
                    <a:gd name="connsiteY90" fmla="*/ 4429125 h 4496940"/>
                    <a:gd name="connsiteX91" fmla="*/ 1935502 w 4519952"/>
                    <a:gd name="connsiteY91" fmla="*/ 4400550 h 4496940"/>
                    <a:gd name="connsiteX92" fmla="*/ 1821202 w 4519952"/>
                    <a:gd name="connsiteY92" fmla="*/ 4371975 h 4496940"/>
                    <a:gd name="connsiteX93" fmla="*/ 1754527 w 4519952"/>
                    <a:gd name="connsiteY93" fmla="*/ 4352925 h 4496940"/>
                    <a:gd name="connsiteX94" fmla="*/ 1687852 w 4519952"/>
                    <a:gd name="connsiteY94" fmla="*/ 4343400 h 4496940"/>
                    <a:gd name="connsiteX95" fmla="*/ 1573552 w 4519952"/>
                    <a:gd name="connsiteY95" fmla="*/ 4305300 h 4496940"/>
                    <a:gd name="connsiteX96" fmla="*/ 1402102 w 4519952"/>
                    <a:gd name="connsiteY96" fmla="*/ 4276725 h 4496940"/>
                    <a:gd name="connsiteX97" fmla="*/ 1287802 w 4519952"/>
                    <a:gd name="connsiteY97" fmla="*/ 4229100 h 4496940"/>
                    <a:gd name="connsiteX98" fmla="*/ 1221127 w 4519952"/>
                    <a:gd name="connsiteY98" fmla="*/ 4200525 h 4496940"/>
                    <a:gd name="connsiteX99" fmla="*/ 1144927 w 4519952"/>
                    <a:gd name="connsiteY99" fmla="*/ 4171950 h 4496940"/>
                    <a:gd name="connsiteX100" fmla="*/ 1087777 w 4519952"/>
                    <a:gd name="connsiteY100" fmla="*/ 4143375 h 4496940"/>
                    <a:gd name="connsiteX101" fmla="*/ 1030627 w 4519952"/>
                    <a:gd name="connsiteY101" fmla="*/ 4124325 h 4496940"/>
                    <a:gd name="connsiteX102" fmla="*/ 925852 w 4519952"/>
                    <a:gd name="connsiteY102" fmla="*/ 4067175 h 4496940"/>
                    <a:gd name="connsiteX103" fmla="*/ 830602 w 4519952"/>
                    <a:gd name="connsiteY103" fmla="*/ 3981450 h 4496940"/>
                    <a:gd name="connsiteX104" fmla="*/ 763927 w 4519952"/>
                    <a:gd name="connsiteY104" fmla="*/ 3914775 h 4496940"/>
                    <a:gd name="connsiteX105" fmla="*/ 725827 w 4519952"/>
                    <a:gd name="connsiteY105" fmla="*/ 3876675 h 4496940"/>
                    <a:gd name="connsiteX106" fmla="*/ 697252 w 4519952"/>
                    <a:gd name="connsiteY106" fmla="*/ 3838575 h 4496940"/>
                    <a:gd name="connsiteX107" fmla="*/ 640102 w 4519952"/>
                    <a:gd name="connsiteY107" fmla="*/ 3781425 h 4496940"/>
                    <a:gd name="connsiteX108" fmla="*/ 611527 w 4519952"/>
                    <a:gd name="connsiteY108" fmla="*/ 3733800 h 4496940"/>
                    <a:gd name="connsiteX109" fmla="*/ 554377 w 4519952"/>
                    <a:gd name="connsiteY109" fmla="*/ 3657600 h 4496940"/>
                    <a:gd name="connsiteX110" fmla="*/ 525802 w 4519952"/>
                    <a:gd name="connsiteY110" fmla="*/ 3609975 h 4496940"/>
                    <a:gd name="connsiteX111" fmla="*/ 497227 w 4519952"/>
                    <a:gd name="connsiteY111" fmla="*/ 3552825 h 4496940"/>
                    <a:gd name="connsiteX112" fmla="*/ 440077 w 4519952"/>
                    <a:gd name="connsiteY112" fmla="*/ 3495675 h 4496940"/>
                    <a:gd name="connsiteX113" fmla="*/ 411502 w 4519952"/>
                    <a:gd name="connsiteY113" fmla="*/ 3448050 h 4496940"/>
                    <a:gd name="connsiteX114" fmla="*/ 278152 w 4519952"/>
                    <a:gd name="connsiteY114" fmla="*/ 3257550 h 4496940"/>
                    <a:gd name="connsiteX115" fmla="*/ 249577 w 4519952"/>
                    <a:gd name="connsiteY115" fmla="*/ 3200400 h 4496940"/>
                    <a:gd name="connsiteX116" fmla="*/ 240052 w 4519952"/>
                    <a:gd name="connsiteY116" fmla="*/ 3162300 h 4496940"/>
                    <a:gd name="connsiteX117" fmla="*/ 221002 w 4519952"/>
                    <a:gd name="connsiteY117" fmla="*/ 3105150 h 4496940"/>
                    <a:gd name="connsiteX118" fmla="*/ 173377 w 4519952"/>
                    <a:gd name="connsiteY118" fmla="*/ 3019425 h 4496940"/>
                    <a:gd name="connsiteX119" fmla="*/ 144802 w 4519952"/>
                    <a:gd name="connsiteY119" fmla="*/ 2924175 h 4496940"/>
                    <a:gd name="connsiteX120" fmla="*/ 68602 w 4519952"/>
                    <a:gd name="connsiteY120" fmla="*/ 2724150 h 4496940"/>
                    <a:gd name="connsiteX121" fmla="*/ 49552 w 4519952"/>
                    <a:gd name="connsiteY121" fmla="*/ 2638425 h 4496940"/>
                    <a:gd name="connsiteX122" fmla="*/ 40027 w 4519952"/>
                    <a:gd name="connsiteY122" fmla="*/ 2562225 h 4496940"/>
                    <a:gd name="connsiteX123" fmla="*/ 30502 w 4519952"/>
                    <a:gd name="connsiteY123" fmla="*/ 2514600 h 4496940"/>
                    <a:gd name="connsiteX124" fmla="*/ 11452 w 4519952"/>
                    <a:gd name="connsiteY124" fmla="*/ 2400300 h 4496940"/>
                    <a:gd name="connsiteX125" fmla="*/ 20977 w 4519952"/>
                    <a:gd name="connsiteY125" fmla="*/ 1905000 h 4496940"/>
                    <a:gd name="connsiteX126" fmla="*/ 30502 w 4519952"/>
                    <a:gd name="connsiteY126" fmla="*/ 1838325 h 4496940"/>
                    <a:gd name="connsiteX127" fmla="*/ 49552 w 4519952"/>
                    <a:gd name="connsiteY127" fmla="*/ 1781175 h 4496940"/>
                    <a:gd name="connsiteX128" fmla="*/ 59077 w 4519952"/>
                    <a:gd name="connsiteY128" fmla="*/ 1743075 h 4496940"/>
                    <a:gd name="connsiteX129" fmla="*/ 78127 w 4519952"/>
                    <a:gd name="connsiteY129" fmla="*/ 1685925 h 4496940"/>
                    <a:gd name="connsiteX130" fmla="*/ 87652 w 4519952"/>
                    <a:gd name="connsiteY130" fmla="*/ 1638300 h 4496940"/>
                    <a:gd name="connsiteX131" fmla="*/ 106702 w 4519952"/>
                    <a:gd name="connsiteY131" fmla="*/ 1590675 h 4496940"/>
                    <a:gd name="connsiteX132" fmla="*/ 135277 w 4519952"/>
                    <a:gd name="connsiteY132" fmla="*/ 1504950 h 4496940"/>
                    <a:gd name="connsiteX133" fmla="*/ 154327 w 4519952"/>
                    <a:gd name="connsiteY133" fmla="*/ 1419225 h 4496940"/>
                    <a:gd name="connsiteX134" fmla="*/ 230527 w 4519952"/>
                    <a:gd name="connsiteY134" fmla="*/ 1276350 h 4496940"/>
                    <a:gd name="connsiteX135" fmla="*/ 240052 w 4519952"/>
                    <a:gd name="connsiteY135" fmla="*/ 1247775 h 4496940"/>
                    <a:gd name="connsiteX136" fmla="*/ 268627 w 4519952"/>
                    <a:gd name="connsiteY136" fmla="*/ 1200150 h 4496940"/>
                    <a:gd name="connsiteX137" fmla="*/ 287677 w 4519952"/>
                    <a:gd name="connsiteY137" fmla="*/ 1152525 h 4496940"/>
                    <a:gd name="connsiteX138" fmla="*/ 316252 w 4519952"/>
                    <a:gd name="connsiteY138" fmla="*/ 1114425 h 4496940"/>
                    <a:gd name="connsiteX139" fmla="*/ 363877 w 4519952"/>
                    <a:gd name="connsiteY139" fmla="*/ 1038225 h 4496940"/>
                    <a:gd name="connsiteX140" fmla="*/ 382927 w 4519952"/>
                    <a:gd name="connsiteY140" fmla="*/ 1009650 h 4496940"/>
                    <a:gd name="connsiteX141" fmla="*/ 440077 w 4519952"/>
                    <a:gd name="connsiteY141" fmla="*/ 904875 h 4496940"/>
                    <a:gd name="connsiteX142" fmla="*/ 478177 w 4519952"/>
                    <a:gd name="connsiteY142" fmla="*/ 857250 h 4496940"/>
                    <a:gd name="connsiteX143" fmla="*/ 497227 w 4519952"/>
                    <a:gd name="connsiteY143" fmla="*/ 828675 h 4496940"/>
                    <a:gd name="connsiteX144" fmla="*/ 535327 w 4519952"/>
                    <a:gd name="connsiteY144" fmla="*/ 800100 h 4496940"/>
                    <a:gd name="connsiteX145" fmla="*/ 602002 w 4519952"/>
                    <a:gd name="connsiteY145" fmla="*/ 733425 h 4496940"/>
                    <a:gd name="connsiteX146" fmla="*/ 668677 w 4519952"/>
                    <a:gd name="connsiteY146" fmla="*/ 676275 h 4496940"/>
                    <a:gd name="connsiteX147" fmla="*/ 697252 w 4519952"/>
                    <a:gd name="connsiteY147" fmla="*/ 657225 h 4496940"/>
                    <a:gd name="connsiteX148" fmla="*/ 840127 w 4519952"/>
                    <a:gd name="connsiteY148" fmla="*/ 533400 h 4496940"/>
                    <a:gd name="connsiteX149" fmla="*/ 887752 w 4519952"/>
                    <a:gd name="connsiteY149" fmla="*/ 504825 h 4496940"/>
                    <a:gd name="connsiteX150" fmla="*/ 1167152 w 4519952"/>
                    <a:gd name="connsiteY150" fmla="*/ 311150 h 4496940"/>
                    <a:gd name="connsiteX151" fmla="*/ 1268752 w 4519952"/>
                    <a:gd name="connsiteY151" fmla="*/ 285750 h 4496940"/>
                    <a:gd name="connsiteX152" fmla="*/ 1411627 w 4519952"/>
                    <a:gd name="connsiteY152" fmla="*/ 190500 h 4496940"/>
                    <a:gd name="connsiteX153" fmla="*/ 1449727 w 4519952"/>
                    <a:gd name="connsiteY153" fmla="*/ 161925 h 4496940"/>
                    <a:gd name="connsiteX154" fmla="*/ 1525927 w 4519952"/>
                    <a:gd name="connsiteY154" fmla="*/ 152400 h 4496940"/>
                    <a:gd name="connsiteX155" fmla="*/ 1583077 w 4519952"/>
                    <a:gd name="connsiteY155" fmla="*/ 142875 h 4496940"/>
                    <a:gd name="connsiteX156" fmla="*/ 1716427 w 4519952"/>
                    <a:gd name="connsiteY156" fmla="*/ 123825 h 4496940"/>
                    <a:gd name="connsiteX157" fmla="*/ 1811677 w 4519952"/>
                    <a:gd name="connsiteY157" fmla="*/ 114300 h 4496940"/>
                    <a:gd name="connsiteX158" fmla="*/ 1859302 w 4519952"/>
                    <a:gd name="connsiteY158" fmla="*/ 104775 h 4496940"/>
                    <a:gd name="connsiteX159" fmla="*/ 1916452 w 4519952"/>
                    <a:gd name="connsiteY159" fmla="*/ 95250 h 4496940"/>
                    <a:gd name="connsiteX160" fmla="*/ 2030752 w 4519952"/>
                    <a:gd name="connsiteY160" fmla="*/ 66675 h 4496940"/>
                    <a:gd name="connsiteX161" fmla="*/ 2097427 w 4519952"/>
                    <a:gd name="connsiteY161" fmla="*/ 47625 h 4496940"/>
                    <a:gd name="connsiteX162" fmla="*/ 2164102 w 4519952"/>
                    <a:gd name="connsiteY162" fmla="*/ 38100 h 4496940"/>
                    <a:gd name="connsiteX163" fmla="*/ 2392702 w 45199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59627 w 4519952"/>
                    <a:gd name="connsiteY46" fmla="*/ 1828800 h 4496940"/>
                    <a:gd name="connsiteX47" fmla="*/ 4519952 w 4519952"/>
                    <a:gd name="connsiteY47" fmla="*/ 2181225 h 4496940"/>
                    <a:gd name="connsiteX48" fmla="*/ 4440577 w 4519952"/>
                    <a:gd name="connsiteY48" fmla="*/ 2876550 h 4496940"/>
                    <a:gd name="connsiteX49" fmla="*/ 4383427 w 4519952"/>
                    <a:gd name="connsiteY49" fmla="*/ 2990850 h 4496940"/>
                    <a:gd name="connsiteX50" fmla="*/ 4354852 w 4519952"/>
                    <a:gd name="connsiteY50" fmla="*/ 3057525 h 4496940"/>
                    <a:gd name="connsiteX51" fmla="*/ 4335802 w 4519952"/>
                    <a:gd name="connsiteY51" fmla="*/ 3095625 h 4496940"/>
                    <a:gd name="connsiteX52" fmla="*/ 4278652 w 4519952"/>
                    <a:gd name="connsiteY52" fmla="*/ 3248025 h 4496940"/>
                    <a:gd name="connsiteX53" fmla="*/ 4259602 w 4519952"/>
                    <a:gd name="connsiteY53" fmla="*/ 3276600 h 4496940"/>
                    <a:gd name="connsiteX54" fmla="*/ 4221502 w 4519952"/>
                    <a:gd name="connsiteY54" fmla="*/ 3333750 h 4496940"/>
                    <a:gd name="connsiteX55" fmla="*/ 4211977 w 4519952"/>
                    <a:gd name="connsiteY55" fmla="*/ 3362325 h 4496940"/>
                    <a:gd name="connsiteX56" fmla="*/ 4183402 w 4519952"/>
                    <a:gd name="connsiteY56" fmla="*/ 3400425 h 4496940"/>
                    <a:gd name="connsiteX57" fmla="*/ 4164352 w 4519952"/>
                    <a:gd name="connsiteY57" fmla="*/ 3429000 h 4496940"/>
                    <a:gd name="connsiteX58" fmla="*/ 4088152 w 4519952"/>
                    <a:gd name="connsiteY58" fmla="*/ 3495675 h 4496940"/>
                    <a:gd name="connsiteX59" fmla="*/ 4059577 w 4519952"/>
                    <a:gd name="connsiteY59" fmla="*/ 3533775 h 4496940"/>
                    <a:gd name="connsiteX60" fmla="*/ 4002427 w 4519952"/>
                    <a:gd name="connsiteY60" fmla="*/ 3600450 h 4496940"/>
                    <a:gd name="connsiteX61" fmla="*/ 3983377 w 4519952"/>
                    <a:gd name="connsiteY61" fmla="*/ 3629025 h 4496940"/>
                    <a:gd name="connsiteX62" fmla="*/ 3954802 w 4519952"/>
                    <a:gd name="connsiteY62" fmla="*/ 3648075 h 4496940"/>
                    <a:gd name="connsiteX63" fmla="*/ 3907177 w 4519952"/>
                    <a:gd name="connsiteY63" fmla="*/ 3686175 h 4496940"/>
                    <a:gd name="connsiteX64" fmla="*/ 3869077 w 4519952"/>
                    <a:gd name="connsiteY64" fmla="*/ 3724275 h 4496940"/>
                    <a:gd name="connsiteX65" fmla="*/ 3792877 w 4519952"/>
                    <a:gd name="connsiteY65" fmla="*/ 3781425 h 4496940"/>
                    <a:gd name="connsiteX66" fmla="*/ 3783352 w 4519952"/>
                    <a:gd name="connsiteY66" fmla="*/ 3810000 h 4496940"/>
                    <a:gd name="connsiteX67" fmla="*/ 3745252 w 4519952"/>
                    <a:gd name="connsiteY67" fmla="*/ 3819525 h 4496940"/>
                    <a:gd name="connsiteX68" fmla="*/ 3678577 w 4519952"/>
                    <a:gd name="connsiteY68" fmla="*/ 3848100 h 4496940"/>
                    <a:gd name="connsiteX69" fmla="*/ 3659527 w 4519952"/>
                    <a:gd name="connsiteY69" fmla="*/ 3971925 h 4496940"/>
                    <a:gd name="connsiteX70" fmla="*/ 3630952 w 4519952"/>
                    <a:gd name="connsiteY70" fmla="*/ 4010025 h 4496940"/>
                    <a:gd name="connsiteX71" fmla="*/ 3621427 w 4519952"/>
                    <a:gd name="connsiteY71" fmla="*/ 4038600 h 4496940"/>
                    <a:gd name="connsiteX72" fmla="*/ 3554752 w 4519952"/>
                    <a:gd name="connsiteY72" fmla="*/ 4095750 h 4496940"/>
                    <a:gd name="connsiteX73" fmla="*/ 3516652 w 4519952"/>
                    <a:gd name="connsiteY73" fmla="*/ 4114800 h 4496940"/>
                    <a:gd name="connsiteX74" fmla="*/ 3497602 w 4519952"/>
                    <a:gd name="connsiteY74" fmla="*/ 4143375 h 4496940"/>
                    <a:gd name="connsiteX75" fmla="*/ 3383302 w 4519952"/>
                    <a:gd name="connsiteY75" fmla="*/ 4210050 h 4496940"/>
                    <a:gd name="connsiteX76" fmla="*/ 3335677 w 4519952"/>
                    <a:gd name="connsiteY76" fmla="*/ 4238625 h 4496940"/>
                    <a:gd name="connsiteX77" fmla="*/ 3288052 w 4519952"/>
                    <a:gd name="connsiteY77" fmla="*/ 4248150 h 4496940"/>
                    <a:gd name="connsiteX78" fmla="*/ 3240427 w 4519952"/>
                    <a:gd name="connsiteY78" fmla="*/ 4267200 h 4496940"/>
                    <a:gd name="connsiteX79" fmla="*/ 3068977 w 4519952"/>
                    <a:gd name="connsiteY79" fmla="*/ 4286250 h 4496940"/>
                    <a:gd name="connsiteX80" fmla="*/ 2935627 w 4519952"/>
                    <a:gd name="connsiteY80" fmla="*/ 4333875 h 4496940"/>
                    <a:gd name="connsiteX81" fmla="*/ 2811802 w 4519952"/>
                    <a:gd name="connsiteY81" fmla="*/ 4371975 h 4496940"/>
                    <a:gd name="connsiteX82" fmla="*/ 2745127 w 4519952"/>
                    <a:gd name="connsiteY82" fmla="*/ 4410075 h 4496940"/>
                    <a:gd name="connsiteX83" fmla="*/ 2697502 w 4519952"/>
                    <a:gd name="connsiteY83" fmla="*/ 4429125 h 4496940"/>
                    <a:gd name="connsiteX84" fmla="*/ 2640352 w 4519952"/>
                    <a:gd name="connsiteY84" fmla="*/ 4457700 h 4496940"/>
                    <a:gd name="connsiteX85" fmla="*/ 2583202 w 4519952"/>
                    <a:gd name="connsiteY85" fmla="*/ 4467225 h 4496940"/>
                    <a:gd name="connsiteX86" fmla="*/ 2545102 w 4519952"/>
                    <a:gd name="connsiteY86" fmla="*/ 4486275 h 4496940"/>
                    <a:gd name="connsiteX87" fmla="*/ 2306977 w 4519952"/>
                    <a:gd name="connsiteY87" fmla="*/ 4476750 h 4496940"/>
                    <a:gd name="connsiteX88" fmla="*/ 2202202 w 4519952"/>
                    <a:gd name="connsiteY88" fmla="*/ 4457700 h 4496940"/>
                    <a:gd name="connsiteX89" fmla="*/ 2126002 w 4519952"/>
                    <a:gd name="connsiteY89" fmla="*/ 4429125 h 4496940"/>
                    <a:gd name="connsiteX90" fmla="*/ 1935502 w 4519952"/>
                    <a:gd name="connsiteY90" fmla="*/ 4400550 h 4496940"/>
                    <a:gd name="connsiteX91" fmla="*/ 1821202 w 4519952"/>
                    <a:gd name="connsiteY91" fmla="*/ 4371975 h 4496940"/>
                    <a:gd name="connsiteX92" fmla="*/ 1754527 w 4519952"/>
                    <a:gd name="connsiteY92" fmla="*/ 4352925 h 4496940"/>
                    <a:gd name="connsiteX93" fmla="*/ 1687852 w 4519952"/>
                    <a:gd name="connsiteY93" fmla="*/ 4343400 h 4496940"/>
                    <a:gd name="connsiteX94" fmla="*/ 1573552 w 4519952"/>
                    <a:gd name="connsiteY94" fmla="*/ 4305300 h 4496940"/>
                    <a:gd name="connsiteX95" fmla="*/ 1402102 w 4519952"/>
                    <a:gd name="connsiteY95" fmla="*/ 4276725 h 4496940"/>
                    <a:gd name="connsiteX96" fmla="*/ 1287802 w 4519952"/>
                    <a:gd name="connsiteY96" fmla="*/ 4229100 h 4496940"/>
                    <a:gd name="connsiteX97" fmla="*/ 1221127 w 4519952"/>
                    <a:gd name="connsiteY97" fmla="*/ 4200525 h 4496940"/>
                    <a:gd name="connsiteX98" fmla="*/ 1144927 w 4519952"/>
                    <a:gd name="connsiteY98" fmla="*/ 4171950 h 4496940"/>
                    <a:gd name="connsiteX99" fmla="*/ 1087777 w 4519952"/>
                    <a:gd name="connsiteY99" fmla="*/ 4143375 h 4496940"/>
                    <a:gd name="connsiteX100" fmla="*/ 1030627 w 4519952"/>
                    <a:gd name="connsiteY100" fmla="*/ 4124325 h 4496940"/>
                    <a:gd name="connsiteX101" fmla="*/ 925852 w 4519952"/>
                    <a:gd name="connsiteY101" fmla="*/ 4067175 h 4496940"/>
                    <a:gd name="connsiteX102" fmla="*/ 830602 w 4519952"/>
                    <a:gd name="connsiteY102" fmla="*/ 3981450 h 4496940"/>
                    <a:gd name="connsiteX103" fmla="*/ 763927 w 4519952"/>
                    <a:gd name="connsiteY103" fmla="*/ 3914775 h 4496940"/>
                    <a:gd name="connsiteX104" fmla="*/ 725827 w 4519952"/>
                    <a:gd name="connsiteY104" fmla="*/ 3876675 h 4496940"/>
                    <a:gd name="connsiteX105" fmla="*/ 697252 w 4519952"/>
                    <a:gd name="connsiteY105" fmla="*/ 3838575 h 4496940"/>
                    <a:gd name="connsiteX106" fmla="*/ 640102 w 4519952"/>
                    <a:gd name="connsiteY106" fmla="*/ 3781425 h 4496940"/>
                    <a:gd name="connsiteX107" fmla="*/ 611527 w 4519952"/>
                    <a:gd name="connsiteY107" fmla="*/ 3733800 h 4496940"/>
                    <a:gd name="connsiteX108" fmla="*/ 554377 w 4519952"/>
                    <a:gd name="connsiteY108" fmla="*/ 3657600 h 4496940"/>
                    <a:gd name="connsiteX109" fmla="*/ 525802 w 4519952"/>
                    <a:gd name="connsiteY109" fmla="*/ 3609975 h 4496940"/>
                    <a:gd name="connsiteX110" fmla="*/ 497227 w 4519952"/>
                    <a:gd name="connsiteY110" fmla="*/ 3552825 h 4496940"/>
                    <a:gd name="connsiteX111" fmla="*/ 440077 w 4519952"/>
                    <a:gd name="connsiteY111" fmla="*/ 3495675 h 4496940"/>
                    <a:gd name="connsiteX112" fmla="*/ 411502 w 4519952"/>
                    <a:gd name="connsiteY112" fmla="*/ 3448050 h 4496940"/>
                    <a:gd name="connsiteX113" fmla="*/ 278152 w 4519952"/>
                    <a:gd name="connsiteY113" fmla="*/ 3257550 h 4496940"/>
                    <a:gd name="connsiteX114" fmla="*/ 249577 w 4519952"/>
                    <a:gd name="connsiteY114" fmla="*/ 3200400 h 4496940"/>
                    <a:gd name="connsiteX115" fmla="*/ 240052 w 4519952"/>
                    <a:gd name="connsiteY115" fmla="*/ 3162300 h 4496940"/>
                    <a:gd name="connsiteX116" fmla="*/ 221002 w 4519952"/>
                    <a:gd name="connsiteY116" fmla="*/ 3105150 h 4496940"/>
                    <a:gd name="connsiteX117" fmla="*/ 173377 w 4519952"/>
                    <a:gd name="connsiteY117" fmla="*/ 3019425 h 4496940"/>
                    <a:gd name="connsiteX118" fmla="*/ 144802 w 4519952"/>
                    <a:gd name="connsiteY118" fmla="*/ 2924175 h 4496940"/>
                    <a:gd name="connsiteX119" fmla="*/ 68602 w 4519952"/>
                    <a:gd name="connsiteY119" fmla="*/ 2724150 h 4496940"/>
                    <a:gd name="connsiteX120" fmla="*/ 49552 w 4519952"/>
                    <a:gd name="connsiteY120" fmla="*/ 2638425 h 4496940"/>
                    <a:gd name="connsiteX121" fmla="*/ 40027 w 4519952"/>
                    <a:gd name="connsiteY121" fmla="*/ 2562225 h 4496940"/>
                    <a:gd name="connsiteX122" fmla="*/ 30502 w 4519952"/>
                    <a:gd name="connsiteY122" fmla="*/ 2514600 h 4496940"/>
                    <a:gd name="connsiteX123" fmla="*/ 11452 w 4519952"/>
                    <a:gd name="connsiteY123" fmla="*/ 2400300 h 4496940"/>
                    <a:gd name="connsiteX124" fmla="*/ 20977 w 4519952"/>
                    <a:gd name="connsiteY124" fmla="*/ 1905000 h 4496940"/>
                    <a:gd name="connsiteX125" fmla="*/ 30502 w 4519952"/>
                    <a:gd name="connsiteY125" fmla="*/ 1838325 h 4496940"/>
                    <a:gd name="connsiteX126" fmla="*/ 49552 w 4519952"/>
                    <a:gd name="connsiteY126" fmla="*/ 1781175 h 4496940"/>
                    <a:gd name="connsiteX127" fmla="*/ 59077 w 4519952"/>
                    <a:gd name="connsiteY127" fmla="*/ 1743075 h 4496940"/>
                    <a:gd name="connsiteX128" fmla="*/ 78127 w 4519952"/>
                    <a:gd name="connsiteY128" fmla="*/ 1685925 h 4496940"/>
                    <a:gd name="connsiteX129" fmla="*/ 87652 w 4519952"/>
                    <a:gd name="connsiteY129" fmla="*/ 1638300 h 4496940"/>
                    <a:gd name="connsiteX130" fmla="*/ 106702 w 4519952"/>
                    <a:gd name="connsiteY130" fmla="*/ 1590675 h 4496940"/>
                    <a:gd name="connsiteX131" fmla="*/ 135277 w 4519952"/>
                    <a:gd name="connsiteY131" fmla="*/ 1504950 h 4496940"/>
                    <a:gd name="connsiteX132" fmla="*/ 154327 w 4519952"/>
                    <a:gd name="connsiteY132" fmla="*/ 1419225 h 4496940"/>
                    <a:gd name="connsiteX133" fmla="*/ 230527 w 4519952"/>
                    <a:gd name="connsiteY133" fmla="*/ 1276350 h 4496940"/>
                    <a:gd name="connsiteX134" fmla="*/ 240052 w 4519952"/>
                    <a:gd name="connsiteY134" fmla="*/ 1247775 h 4496940"/>
                    <a:gd name="connsiteX135" fmla="*/ 268627 w 4519952"/>
                    <a:gd name="connsiteY135" fmla="*/ 1200150 h 4496940"/>
                    <a:gd name="connsiteX136" fmla="*/ 287677 w 4519952"/>
                    <a:gd name="connsiteY136" fmla="*/ 1152525 h 4496940"/>
                    <a:gd name="connsiteX137" fmla="*/ 316252 w 4519952"/>
                    <a:gd name="connsiteY137" fmla="*/ 1114425 h 4496940"/>
                    <a:gd name="connsiteX138" fmla="*/ 363877 w 4519952"/>
                    <a:gd name="connsiteY138" fmla="*/ 1038225 h 4496940"/>
                    <a:gd name="connsiteX139" fmla="*/ 382927 w 4519952"/>
                    <a:gd name="connsiteY139" fmla="*/ 1009650 h 4496940"/>
                    <a:gd name="connsiteX140" fmla="*/ 440077 w 4519952"/>
                    <a:gd name="connsiteY140" fmla="*/ 904875 h 4496940"/>
                    <a:gd name="connsiteX141" fmla="*/ 478177 w 4519952"/>
                    <a:gd name="connsiteY141" fmla="*/ 857250 h 4496940"/>
                    <a:gd name="connsiteX142" fmla="*/ 497227 w 4519952"/>
                    <a:gd name="connsiteY142" fmla="*/ 828675 h 4496940"/>
                    <a:gd name="connsiteX143" fmla="*/ 535327 w 4519952"/>
                    <a:gd name="connsiteY143" fmla="*/ 800100 h 4496940"/>
                    <a:gd name="connsiteX144" fmla="*/ 602002 w 4519952"/>
                    <a:gd name="connsiteY144" fmla="*/ 733425 h 4496940"/>
                    <a:gd name="connsiteX145" fmla="*/ 668677 w 4519952"/>
                    <a:gd name="connsiteY145" fmla="*/ 676275 h 4496940"/>
                    <a:gd name="connsiteX146" fmla="*/ 697252 w 4519952"/>
                    <a:gd name="connsiteY146" fmla="*/ 657225 h 4496940"/>
                    <a:gd name="connsiteX147" fmla="*/ 840127 w 4519952"/>
                    <a:gd name="connsiteY147" fmla="*/ 533400 h 4496940"/>
                    <a:gd name="connsiteX148" fmla="*/ 887752 w 4519952"/>
                    <a:gd name="connsiteY148" fmla="*/ 504825 h 4496940"/>
                    <a:gd name="connsiteX149" fmla="*/ 1167152 w 4519952"/>
                    <a:gd name="connsiteY149" fmla="*/ 311150 h 4496940"/>
                    <a:gd name="connsiteX150" fmla="*/ 1268752 w 4519952"/>
                    <a:gd name="connsiteY150" fmla="*/ 285750 h 4496940"/>
                    <a:gd name="connsiteX151" fmla="*/ 1411627 w 4519952"/>
                    <a:gd name="connsiteY151" fmla="*/ 190500 h 4496940"/>
                    <a:gd name="connsiteX152" fmla="*/ 1449727 w 4519952"/>
                    <a:gd name="connsiteY152" fmla="*/ 161925 h 4496940"/>
                    <a:gd name="connsiteX153" fmla="*/ 1525927 w 4519952"/>
                    <a:gd name="connsiteY153" fmla="*/ 152400 h 4496940"/>
                    <a:gd name="connsiteX154" fmla="*/ 1583077 w 4519952"/>
                    <a:gd name="connsiteY154" fmla="*/ 142875 h 4496940"/>
                    <a:gd name="connsiteX155" fmla="*/ 1716427 w 4519952"/>
                    <a:gd name="connsiteY155" fmla="*/ 123825 h 4496940"/>
                    <a:gd name="connsiteX156" fmla="*/ 1811677 w 4519952"/>
                    <a:gd name="connsiteY156" fmla="*/ 114300 h 4496940"/>
                    <a:gd name="connsiteX157" fmla="*/ 1859302 w 4519952"/>
                    <a:gd name="connsiteY157" fmla="*/ 104775 h 4496940"/>
                    <a:gd name="connsiteX158" fmla="*/ 1916452 w 4519952"/>
                    <a:gd name="connsiteY158" fmla="*/ 95250 h 4496940"/>
                    <a:gd name="connsiteX159" fmla="*/ 2030752 w 4519952"/>
                    <a:gd name="connsiteY159" fmla="*/ 66675 h 4496940"/>
                    <a:gd name="connsiteX160" fmla="*/ 2097427 w 4519952"/>
                    <a:gd name="connsiteY160" fmla="*/ 47625 h 4496940"/>
                    <a:gd name="connsiteX161" fmla="*/ 2164102 w 4519952"/>
                    <a:gd name="connsiteY161" fmla="*/ 38100 h 4496940"/>
                    <a:gd name="connsiteX162" fmla="*/ 2392702 w 4519952"/>
                    <a:gd name="connsiteY162" fmla="*/ 28575 h 4496940"/>
                    <a:gd name="connsiteX0" fmla="*/ 2297452 w 4519983"/>
                    <a:gd name="connsiteY0" fmla="*/ 0 h 4496940"/>
                    <a:gd name="connsiteX1" fmla="*/ 2421277 w 4519983"/>
                    <a:gd name="connsiteY1" fmla="*/ 28575 h 4496940"/>
                    <a:gd name="connsiteX2" fmla="*/ 2497477 w 4519983"/>
                    <a:gd name="connsiteY2" fmla="*/ 47625 h 4496940"/>
                    <a:gd name="connsiteX3" fmla="*/ 2754652 w 4519983"/>
                    <a:gd name="connsiteY3" fmla="*/ 66675 h 4496940"/>
                    <a:gd name="connsiteX4" fmla="*/ 2830852 w 4519983"/>
                    <a:gd name="connsiteY4" fmla="*/ 76200 h 4496940"/>
                    <a:gd name="connsiteX5" fmla="*/ 2916577 w 4519983"/>
                    <a:gd name="connsiteY5" fmla="*/ 85725 h 4496940"/>
                    <a:gd name="connsiteX6" fmla="*/ 2973727 w 4519983"/>
                    <a:gd name="connsiteY6" fmla="*/ 114300 h 4496940"/>
                    <a:gd name="connsiteX7" fmla="*/ 3011827 w 4519983"/>
                    <a:gd name="connsiteY7" fmla="*/ 123825 h 4496940"/>
                    <a:gd name="connsiteX8" fmla="*/ 3135652 w 4519983"/>
                    <a:gd name="connsiteY8" fmla="*/ 171450 h 4496940"/>
                    <a:gd name="connsiteX9" fmla="*/ 3173752 w 4519983"/>
                    <a:gd name="connsiteY9" fmla="*/ 190500 h 4496940"/>
                    <a:gd name="connsiteX10" fmla="*/ 3240427 w 4519983"/>
                    <a:gd name="connsiteY10" fmla="*/ 228600 h 4496940"/>
                    <a:gd name="connsiteX11" fmla="*/ 3269002 w 4519983"/>
                    <a:gd name="connsiteY11" fmla="*/ 238125 h 4496940"/>
                    <a:gd name="connsiteX12" fmla="*/ 3297577 w 4519983"/>
                    <a:gd name="connsiteY12" fmla="*/ 257175 h 4496940"/>
                    <a:gd name="connsiteX13" fmla="*/ 3326152 w 4519983"/>
                    <a:gd name="connsiteY13" fmla="*/ 266700 h 4496940"/>
                    <a:gd name="connsiteX14" fmla="*/ 3354727 w 4519983"/>
                    <a:gd name="connsiteY14" fmla="*/ 285750 h 4496940"/>
                    <a:gd name="connsiteX15" fmla="*/ 3421402 w 4519983"/>
                    <a:gd name="connsiteY15" fmla="*/ 323850 h 4496940"/>
                    <a:gd name="connsiteX16" fmla="*/ 3469027 w 4519983"/>
                    <a:gd name="connsiteY16" fmla="*/ 361950 h 4496940"/>
                    <a:gd name="connsiteX17" fmla="*/ 3516652 w 4519983"/>
                    <a:gd name="connsiteY17" fmla="*/ 390525 h 4496940"/>
                    <a:gd name="connsiteX18" fmla="*/ 3545227 w 4519983"/>
                    <a:gd name="connsiteY18" fmla="*/ 419100 h 4496940"/>
                    <a:gd name="connsiteX19" fmla="*/ 3602377 w 4519983"/>
                    <a:gd name="connsiteY19" fmla="*/ 457200 h 4496940"/>
                    <a:gd name="connsiteX20" fmla="*/ 3630952 w 4519983"/>
                    <a:gd name="connsiteY20" fmla="*/ 485775 h 4496940"/>
                    <a:gd name="connsiteX21" fmla="*/ 3678577 w 4519983"/>
                    <a:gd name="connsiteY21" fmla="*/ 504825 h 4496940"/>
                    <a:gd name="connsiteX22" fmla="*/ 3745252 w 4519983"/>
                    <a:gd name="connsiteY22" fmla="*/ 542925 h 4496940"/>
                    <a:gd name="connsiteX23" fmla="*/ 3811927 w 4519983"/>
                    <a:gd name="connsiteY23" fmla="*/ 581025 h 4496940"/>
                    <a:gd name="connsiteX24" fmla="*/ 3840502 w 4519983"/>
                    <a:gd name="connsiteY24" fmla="*/ 600075 h 4496940"/>
                    <a:gd name="connsiteX25" fmla="*/ 3869077 w 4519983"/>
                    <a:gd name="connsiteY25" fmla="*/ 628650 h 4496940"/>
                    <a:gd name="connsiteX26" fmla="*/ 3907177 w 4519983"/>
                    <a:gd name="connsiteY26" fmla="*/ 647700 h 4496940"/>
                    <a:gd name="connsiteX27" fmla="*/ 3935752 w 4519983"/>
                    <a:gd name="connsiteY27" fmla="*/ 676275 h 4496940"/>
                    <a:gd name="connsiteX28" fmla="*/ 3992902 w 4519983"/>
                    <a:gd name="connsiteY28" fmla="*/ 714375 h 4496940"/>
                    <a:gd name="connsiteX29" fmla="*/ 4050052 w 4519983"/>
                    <a:gd name="connsiteY29" fmla="*/ 790575 h 4496940"/>
                    <a:gd name="connsiteX30" fmla="*/ 4078627 w 4519983"/>
                    <a:gd name="connsiteY30" fmla="*/ 838200 h 4496940"/>
                    <a:gd name="connsiteX31" fmla="*/ 4107202 w 4519983"/>
                    <a:gd name="connsiteY31" fmla="*/ 876300 h 4496940"/>
                    <a:gd name="connsiteX32" fmla="*/ 4116727 w 4519983"/>
                    <a:gd name="connsiteY32" fmla="*/ 904875 h 4496940"/>
                    <a:gd name="connsiteX33" fmla="*/ 4135777 w 4519983"/>
                    <a:gd name="connsiteY33" fmla="*/ 933450 h 4496940"/>
                    <a:gd name="connsiteX34" fmla="*/ 4164352 w 4519983"/>
                    <a:gd name="connsiteY34" fmla="*/ 990600 h 4496940"/>
                    <a:gd name="connsiteX35" fmla="*/ 4173877 w 4519983"/>
                    <a:gd name="connsiteY35" fmla="*/ 1019175 h 4496940"/>
                    <a:gd name="connsiteX36" fmla="*/ 4192927 w 4519983"/>
                    <a:gd name="connsiteY36" fmla="*/ 1057275 h 4496940"/>
                    <a:gd name="connsiteX37" fmla="*/ 4202452 w 4519983"/>
                    <a:gd name="connsiteY37" fmla="*/ 1085850 h 4496940"/>
                    <a:gd name="connsiteX38" fmla="*/ 4250077 w 4519983"/>
                    <a:gd name="connsiteY38" fmla="*/ 1143000 h 4496940"/>
                    <a:gd name="connsiteX39" fmla="*/ 4259602 w 4519983"/>
                    <a:gd name="connsiteY39" fmla="*/ 1190625 h 4496940"/>
                    <a:gd name="connsiteX40" fmla="*/ 4307227 w 4519983"/>
                    <a:gd name="connsiteY40" fmla="*/ 1266825 h 4496940"/>
                    <a:gd name="connsiteX41" fmla="*/ 4345327 w 4519983"/>
                    <a:gd name="connsiteY41" fmla="*/ 1362075 h 4496940"/>
                    <a:gd name="connsiteX42" fmla="*/ 4373902 w 4519983"/>
                    <a:gd name="connsiteY42" fmla="*/ 1428750 h 4496940"/>
                    <a:gd name="connsiteX43" fmla="*/ 4392952 w 4519983"/>
                    <a:gd name="connsiteY43" fmla="*/ 1552575 h 4496940"/>
                    <a:gd name="connsiteX44" fmla="*/ 4402477 w 4519983"/>
                    <a:gd name="connsiteY44" fmla="*/ 1590675 h 4496940"/>
                    <a:gd name="connsiteX45" fmla="*/ 4431052 w 4519983"/>
                    <a:gd name="connsiteY45" fmla="*/ 1685925 h 4496940"/>
                    <a:gd name="connsiteX46" fmla="*/ 4519952 w 4519983"/>
                    <a:gd name="connsiteY46" fmla="*/ 2181225 h 4496940"/>
                    <a:gd name="connsiteX47" fmla="*/ 4440577 w 4519983"/>
                    <a:gd name="connsiteY47" fmla="*/ 2876550 h 4496940"/>
                    <a:gd name="connsiteX48" fmla="*/ 4383427 w 4519983"/>
                    <a:gd name="connsiteY48" fmla="*/ 2990850 h 4496940"/>
                    <a:gd name="connsiteX49" fmla="*/ 4354852 w 4519983"/>
                    <a:gd name="connsiteY49" fmla="*/ 3057525 h 4496940"/>
                    <a:gd name="connsiteX50" fmla="*/ 4335802 w 4519983"/>
                    <a:gd name="connsiteY50" fmla="*/ 3095625 h 4496940"/>
                    <a:gd name="connsiteX51" fmla="*/ 4278652 w 4519983"/>
                    <a:gd name="connsiteY51" fmla="*/ 3248025 h 4496940"/>
                    <a:gd name="connsiteX52" fmla="*/ 4259602 w 4519983"/>
                    <a:gd name="connsiteY52" fmla="*/ 3276600 h 4496940"/>
                    <a:gd name="connsiteX53" fmla="*/ 4221502 w 4519983"/>
                    <a:gd name="connsiteY53" fmla="*/ 3333750 h 4496940"/>
                    <a:gd name="connsiteX54" fmla="*/ 4211977 w 4519983"/>
                    <a:gd name="connsiteY54" fmla="*/ 3362325 h 4496940"/>
                    <a:gd name="connsiteX55" fmla="*/ 4183402 w 4519983"/>
                    <a:gd name="connsiteY55" fmla="*/ 3400425 h 4496940"/>
                    <a:gd name="connsiteX56" fmla="*/ 4164352 w 4519983"/>
                    <a:gd name="connsiteY56" fmla="*/ 3429000 h 4496940"/>
                    <a:gd name="connsiteX57" fmla="*/ 4088152 w 4519983"/>
                    <a:gd name="connsiteY57" fmla="*/ 3495675 h 4496940"/>
                    <a:gd name="connsiteX58" fmla="*/ 4059577 w 4519983"/>
                    <a:gd name="connsiteY58" fmla="*/ 3533775 h 4496940"/>
                    <a:gd name="connsiteX59" fmla="*/ 4002427 w 4519983"/>
                    <a:gd name="connsiteY59" fmla="*/ 3600450 h 4496940"/>
                    <a:gd name="connsiteX60" fmla="*/ 3983377 w 4519983"/>
                    <a:gd name="connsiteY60" fmla="*/ 3629025 h 4496940"/>
                    <a:gd name="connsiteX61" fmla="*/ 3954802 w 4519983"/>
                    <a:gd name="connsiteY61" fmla="*/ 3648075 h 4496940"/>
                    <a:gd name="connsiteX62" fmla="*/ 3907177 w 4519983"/>
                    <a:gd name="connsiteY62" fmla="*/ 3686175 h 4496940"/>
                    <a:gd name="connsiteX63" fmla="*/ 3869077 w 4519983"/>
                    <a:gd name="connsiteY63" fmla="*/ 3724275 h 4496940"/>
                    <a:gd name="connsiteX64" fmla="*/ 3792877 w 4519983"/>
                    <a:gd name="connsiteY64" fmla="*/ 3781425 h 4496940"/>
                    <a:gd name="connsiteX65" fmla="*/ 3783352 w 4519983"/>
                    <a:gd name="connsiteY65" fmla="*/ 3810000 h 4496940"/>
                    <a:gd name="connsiteX66" fmla="*/ 3745252 w 4519983"/>
                    <a:gd name="connsiteY66" fmla="*/ 3819525 h 4496940"/>
                    <a:gd name="connsiteX67" fmla="*/ 3678577 w 4519983"/>
                    <a:gd name="connsiteY67" fmla="*/ 3848100 h 4496940"/>
                    <a:gd name="connsiteX68" fmla="*/ 3659527 w 4519983"/>
                    <a:gd name="connsiteY68" fmla="*/ 3971925 h 4496940"/>
                    <a:gd name="connsiteX69" fmla="*/ 3630952 w 4519983"/>
                    <a:gd name="connsiteY69" fmla="*/ 4010025 h 4496940"/>
                    <a:gd name="connsiteX70" fmla="*/ 3621427 w 4519983"/>
                    <a:gd name="connsiteY70" fmla="*/ 4038600 h 4496940"/>
                    <a:gd name="connsiteX71" fmla="*/ 3554752 w 4519983"/>
                    <a:gd name="connsiteY71" fmla="*/ 4095750 h 4496940"/>
                    <a:gd name="connsiteX72" fmla="*/ 3516652 w 4519983"/>
                    <a:gd name="connsiteY72" fmla="*/ 4114800 h 4496940"/>
                    <a:gd name="connsiteX73" fmla="*/ 3497602 w 4519983"/>
                    <a:gd name="connsiteY73" fmla="*/ 4143375 h 4496940"/>
                    <a:gd name="connsiteX74" fmla="*/ 3383302 w 4519983"/>
                    <a:gd name="connsiteY74" fmla="*/ 4210050 h 4496940"/>
                    <a:gd name="connsiteX75" fmla="*/ 3335677 w 4519983"/>
                    <a:gd name="connsiteY75" fmla="*/ 4238625 h 4496940"/>
                    <a:gd name="connsiteX76" fmla="*/ 3288052 w 4519983"/>
                    <a:gd name="connsiteY76" fmla="*/ 4248150 h 4496940"/>
                    <a:gd name="connsiteX77" fmla="*/ 3240427 w 4519983"/>
                    <a:gd name="connsiteY77" fmla="*/ 4267200 h 4496940"/>
                    <a:gd name="connsiteX78" fmla="*/ 3068977 w 4519983"/>
                    <a:gd name="connsiteY78" fmla="*/ 4286250 h 4496940"/>
                    <a:gd name="connsiteX79" fmla="*/ 2935627 w 4519983"/>
                    <a:gd name="connsiteY79" fmla="*/ 4333875 h 4496940"/>
                    <a:gd name="connsiteX80" fmla="*/ 2811802 w 4519983"/>
                    <a:gd name="connsiteY80" fmla="*/ 4371975 h 4496940"/>
                    <a:gd name="connsiteX81" fmla="*/ 2745127 w 4519983"/>
                    <a:gd name="connsiteY81" fmla="*/ 4410075 h 4496940"/>
                    <a:gd name="connsiteX82" fmla="*/ 2697502 w 4519983"/>
                    <a:gd name="connsiteY82" fmla="*/ 4429125 h 4496940"/>
                    <a:gd name="connsiteX83" fmla="*/ 2640352 w 4519983"/>
                    <a:gd name="connsiteY83" fmla="*/ 4457700 h 4496940"/>
                    <a:gd name="connsiteX84" fmla="*/ 2583202 w 4519983"/>
                    <a:gd name="connsiteY84" fmla="*/ 4467225 h 4496940"/>
                    <a:gd name="connsiteX85" fmla="*/ 2545102 w 4519983"/>
                    <a:gd name="connsiteY85" fmla="*/ 4486275 h 4496940"/>
                    <a:gd name="connsiteX86" fmla="*/ 2306977 w 4519983"/>
                    <a:gd name="connsiteY86" fmla="*/ 4476750 h 4496940"/>
                    <a:gd name="connsiteX87" fmla="*/ 2202202 w 4519983"/>
                    <a:gd name="connsiteY87" fmla="*/ 4457700 h 4496940"/>
                    <a:gd name="connsiteX88" fmla="*/ 2126002 w 4519983"/>
                    <a:gd name="connsiteY88" fmla="*/ 4429125 h 4496940"/>
                    <a:gd name="connsiteX89" fmla="*/ 1935502 w 4519983"/>
                    <a:gd name="connsiteY89" fmla="*/ 4400550 h 4496940"/>
                    <a:gd name="connsiteX90" fmla="*/ 1821202 w 4519983"/>
                    <a:gd name="connsiteY90" fmla="*/ 4371975 h 4496940"/>
                    <a:gd name="connsiteX91" fmla="*/ 1754527 w 4519983"/>
                    <a:gd name="connsiteY91" fmla="*/ 4352925 h 4496940"/>
                    <a:gd name="connsiteX92" fmla="*/ 1687852 w 4519983"/>
                    <a:gd name="connsiteY92" fmla="*/ 4343400 h 4496940"/>
                    <a:gd name="connsiteX93" fmla="*/ 1573552 w 4519983"/>
                    <a:gd name="connsiteY93" fmla="*/ 4305300 h 4496940"/>
                    <a:gd name="connsiteX94" fmla="*/ 1402102 w 4519983"/>
                    <a:gd name="connsiteY94" fmla="*/ 4276725 h 4496940"/>
                    <a:gd name="connsiteX95" fmla="*/ 1287802 w 4519983"/>
                    <a:gd name="connsiteY95" fmla="*/ 4229100 h 4496940"/>
                    <a:gd name="connsiteX96" fmla="*/ 1221127 w 4519983"/>
                    <a:gd name="connsiteY96" fmla="*/ 4200525 h 4496940"/>
                    <a:gd name="connsiteX97" fmla="*/ 1144927 w 4519983"/>
                    <a:gd name="connsiteY97" fmla="*/ 4171950 h 4496940"/>
                    <a:gd name="connsiteX98" fmla="*/ 1087777 w 4519983"/>
                    <a:gd name="connsiteY98" fmla="*/ 4143375 h 4496940"/>
                    <a:gd name="connsiteX99" fmla="*/ 1030627 w 4519983"/>
                    <a:gd name="connsiteY99" fmla="*/ 4124325 h 4496940"/>
                    <a:gd name="connsiteX100" fmla="*/ 925852 w 4519983"/>
                    <a:gd name="connsiteY100" fmla="*/ 4067175 h 4496940"/>
                    <a:gd name="connsiteX101" fmla="*/ 830602 w 4519983"/>
                    <a:gd name="connsiteY101" fmla="*/ 3981450 h 4496940"/>
                    <a:gd name="connsiteX102" fmla="*/ 763927 w 4519983"/>
                    <a:gd name="connsiteY102" fmla="*/ 3914775 h 4496940"/>
                    <a:gd name="connsiteX103" fmla="*/ 725827 w 4519983"/>
                    <a:gd name="connsiteY103" fmla="*/ 3876675 h 4496940"/>
                    <a:gd name="connsiteX104" fmla="*/ 697252 w 4519983"/>
                    <a:gd name="connsiteY104" fmla="*/ 3838575 h 4496940"/>
                    <a:gd name="connsiteX105" fmla="*/ 640102 w 4519983"/>
                    <a:gd name="connsiteY105" fmla="*/ 3781425 h 4496940"/>
                    <a:gd name="connsiteX106" fmla="*/ 611527 w 4519983"/>
                    <a:gd name="connsiteY106" fmla="*/ 3733800 h 4496940"/>
                    <a:gd name="connsiteX107" fmla="*/ 554377 w 4519983"/>
                    <a:gd name="connsiteY107" fmla="*/ 3657600 h 4496940"/>
                    <a:gd name="connsiteX108" fmla="*/ 525802 w 4519983"/>
                    <a:gd name="connsiteY108" fmla="*/ 3609975 h 4496940"/>
                    <a:gd name="connsiteX109" fmla="*/ 497227 w 4519983"/>
                    <a:gd name="connsiteY109" fmla="*/ 3552825 h 4496940"/>
                    <a:gd name="connsiteX110" fmla="*/ 440077 w 4519983"/>
                    <a:gd name="connsiteY110" fmla="*/ 3495675 h 4496940"/>
                    <a:gd name="connsiteX111" fmla="*/ 411502 w 4519983"/>
                    <a:gd name="connsiteY111" fmla="*/ 3448050 h 4496940"/>
                    <a:gd name="connsiteX112" fmla="*/ 278152 w 4519983"/>
                    <a:gd name="connsiteY112" fmla="*/ 3257550 h 4496940"/>
                    <a:gd name="connsiteX113" fmla="*/ 249577 w 4519983"/>
                    <a:gd name="connsiteY113" fmla="*/ 3200400 h 4496940"/>
                    <a:gd name="connsiteX114" fmla="*/ 240052 w 4519983"/>
                    <a:gd name="connsiteY114" fmla="*/ 3162300 h 4496940"/>
                    <a:gd name="connsiteX115" fmla="*/ 221002 w 4519983"/>
                    <a:gd name="connsiteY115" fmla="*/ 3105150 h 4496940"/>
                    <a:gd name="connsiteX116" fmla="*/ 173377 w 4519983"/>
                    <a:gd name="connsiteY116" fmla="*/ 3019425 h 4496940"/>
                    <a:gd name="connsiteX117" fmla="*/ 144802 w 4519983"/>
                    <a:gd name="connsiteY117" fmla="*/ 2924175 h 4496940"/>
                    <a:gd name="connsiteX118" fmla="*/ 68602 w 4519983"/>
                    <a:gd name="connsiteY118" fmla="*/ 2724150 h 4496940"/>
                    <a:gd name="connsiteX119" fmla="*/ 49552 w 4519983"/>
                    <a:gd name="connsiteY119" fmla="*/ 2638425 h 4496940"/>
                    <a:gd name="connsiteX120" fmla="*/ 40027 w 4519983"/>
                    <a:gd name="connsiteY120" fmla="*/ 2562225 h 4496940"/>
                    <a:gd name="connsiteX121" fmla="*/ 30502 w 4519983"/>
                    <a:gd name="connsiteY121" fmla="*/ 2514600 h 4496940"/>
                    <a:gd name="connsiteX122" fmla="*/ 11452 w 4519983"/>
                    <a:gd name="connsiteY122" fmla="*/ 2400300 h 4496940"/>
                    <a:gd name="connsiteX123" fmla="*/ 20977 w 4519983"/>
                    <a:gd name="connsiteY123" fmla="*/ 1905000 h 4496940"/>
                    <a:gd name="connsiteX124" fmla="*/ 30502 w 4519983"/>
                    <a:gd name="connsiteY124" fmla="*/ 1838325 h 4496940"/>
                    <a:gd name="connsiteX125" fmla="*/ 49552 w 4519983"/>
                    <a:gd name="connsiteY125" fmla="*/ 1781175 h 4496940"/>
                    <a:gd name="connsiteX126" fmla="*/ 59077 w 4519983"/>
                    <a:gd name="connsiteY126" fmla="*/ 1743075 h 4496940"/>
                    <a:gd name="connsiteX127" fmla="*/ 78127 w 4519983"/>
                    <a:gd name="connsiteY127" fmla="*/ 1685925 h 4496940"/>
                    <a:gd name="connsiteX128" fmla="*/ 87652 w 4519983"/>
                    <a:gd name="connsiteY128" fmla="*/ 1638300 h 4496940"/>
                    <a:gd name="connsiteX129" fmla="*/ 106702 w 4519983"/>
                    <a:gd name="connsiteY129" fmla="*/ 1590675 h 4496940"/>
                    <a:gd name="connsiteX130" fmla="*/ 135277 w 4519983"/>
                    <a:gd name="connsiteY130" fmla="*/ 1504950 h 4496940"/>
                    <a:gd name="connsiteX131" fmla="*/ 154327 w 4519983"/>
                    <a:gd name="connsiteY131" fmla="*/ 1419225 h 4496940"/>
                    <a:gd name="connsiteX132" fmla="*/ 230527 w 4519983"/>
                    <a:gd name="connsiteY132" fmla="*/ 1276350 h 4496940"/>
                    <a:gd name="connsiteX133" fmla="*/ 240052 w 4519983"/>
                    <a:gd name="connsiteY133" fmla="*/ 1247775 h 4496940"/>
                    <a:gd name="connsiteX134" fmla="*/ 268627 w 4519983"/>
                    <a:gd name="connsiteY134" fmla="*/ 1200150 h 4496940"/>
                    <a:gd name="connsiteX135" fmla="*/ 287677 w 4519983"/>
                    <a:gd name="connsiteY135" fmla="*/ 1152525 h 4496940"/>
                    <a:gd name="connsiteX136" fmla="*/ 316252 w 4519983"/>
                    <a:gd name="connsiteY136" fmla="*/ 1114425 h 4496940"/>
                    <a:gd name="connsiteX137" fmla="*/ 363877 w 4519983"/>
                    <a:gd name="connsiteY137" fmla="*/ 1038225 h 4496940"/>
                    <a:gd name="connsiteX138" fmla="*/ 382927 w 4519983"/>
                    <a:gd name="connsiteY138" fmla="*/ 1009650 h 4496940"/>
                    <a:gd name="connsiteX139" fmla="*/ 440077 w 4519983"/>
                    <a:gd name="connsiteY139" fmla="*/ 904875 h 4496940"/>
                    <a:gd name="connsiteX140" fmla="*/ 478177 w 4519983"/>
                    <a:gd name="connsiteY140" fmla="*/ 857250 h 4496940"/>
                    <a:gd name="connsiteX141" fmla="*/ 497227 w 4519983"/>
                    <a:gd name="connsiteY141" fmla="*/ 828675 h 4496940"/>
                    <a:gd name="connsiteX142" fmla="*/ 535327 w 4519983"/>
                    <a:gd name="connsiteY142" fmla="*/ 800100 h 4496940"/>
                    <a:gd name="connsiteX143" fmla="*/ 602002 w 4519983"/>
                    <a:gd name="connsiteY143" fmla="*/ 733425 h 4496940"/>
                    <a:gd name="connsiteX144" fmla="*/ 668677 w 4519983"/>
                    <a:gd name="connsiteY144" fmla="*/ 676275 h 4496940"/>
                    <a:gd name="connsiteX145" fmla="*/ 697252 w 4519983"/>
                    <a:gd name="connsiteY145" fmla="*/ 657225 h 4496940"/>
                    <a:gd name="connsiteX146" fmla="*/ 840127 w 4519983"/>
                    <a:gd name="connsiteY146" fmla="*/ 533400 h 4496940"/>
                    <a:gd name="connsiteX147" fmla="*/ 887752 w 4519983"/>
                    <a:gd name="connsiteY147" fmla="*/ 504825 h 4496940"/>
                    <a:gd name="connsiteX148" fmla="*/ 1167152 w 4519983"/>
                    <a:gd name="connsiteY148" fmla="*/ 311150 h 4496940"/>
                    <a:gd name="connsiteX149" fmla="*/ 1268752 w 4519983"/>
                    <a:gd name="connsiteY149" fmla="*/ 285750 h 4496940"/>
                    <a:gd name="connsiteX150" fmla="*/ 1411627 w 4519983"/>
                    <a:gd name="connsiteY150" fmla="*/ 190500 h 4496940"/>
                    <a:gd name="connsiteX151" fmla="*/ 1449727 w 4519983"/>
                    <a:gd name="connsiteY151" fmla="*/ 161925 h 4496940"/>
                    <a:gd name="connsiteX152" fmla="*/ 1525927 w 4519983"/>
                    <a:gd name="connsiteY152" fmla="*/ 152400 h 4496940"/>
                    <a:gd name="connsiteX153" fmla="*/ 1583077 w 4519983"/>
                    <a:gd name="connsiteY153" fmla="*/ 142875 h 4496940"/>
                    <a:gd name="connsiteX154" fmla="*/ 1716427 w 4519983"/>
                    <a:gd name="connsiteY154" fmla="*/ 123825 h 4496940"/>
                    <a:gd name="connsiteX155" fmla="*/ 1811677 w 4519983"/>
                    <a:gd name="connsiteY155" fmla="*/ 114300 h 4496940"/>
                    <a:gd name="connsiteX156" fmla="*/ 1859302 w 4519983"/>
                    <a:gd name="connsiteY156" fmla="*/ 104775 h 4496940"/>
                    <a:gd name="connsiteX157" fmla="*/ 1916452 w 4519983"/>
                    <a:gd name="connsiteY157" fmla="*/ 95250 h 4496940"/>
                    <a:gd name="connsiteX158" fmla="*/ 2030752 w 4519983"/>
                    <a:gd name="connsiteY158" fmla="*/ 66675 h 4496940"/>
                    <a:gd name="connsiteX159" fmla="*/ 2097427 w 4519983"/>
                    <a:gd name="connsiteY159" fmla="*/ 47625 h 4496940"/>
                    <a:gd name="connsiteX160" fmla="*/ 2164102 w 4519983"/>
                    <a:gd name="connsiteY160" fmla="*/ 38100 h 4496940"/>
                    <a:gd name="connsiteX161" fmla="*/ 2392702 w 4519983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335802 w 4519987"/>
                    <a:gd name="connsiteY50" fmla="*/ 3095625 h 4496940"/>
                    <a:gd name="connsiteX51" fmla="*/ 4278652 w 4519987"/>
                    <a:gd name="connsiteY51" fmla="*/ 3248025 h 4496940"/>
                    <a:gd name="connsiteX52" fmla="*/ 4259602 w 4519987"/>
                    <a:gd name="connsiteY52" fmla="*/ 3276600 h 4496940"/>
                    <a:gd name="connsiteX53" fmla="*/ 4221502 w 4519987"/>
                    <a:gd name="connsiteY53" fmla="*/ 3333750 h 4496940"/>
                    <a:gd name="connsiteX54" fmla="*/ 4211977 w 4519987"/>
                    <a:gd name="connsiteY54" fmla="*/ 3362325 h 4496940"/>
                    <a:gd name="connsiteX55" fmla="*/ 4183402 w 4519987"/>
                    <a:gd name="connsiteY55" fmla="*/ 3400425 h 4496940"/>
                    <a:gd name="connsiteX56" fmla="*/ 4164352 w 4519987"/>
                    <a:gd name="connsiteY56" fmla="*/ 3429000 h 4496940"/>
                    <a:gd name="connsiteX57" fmla="*/ 4088152 w 4519987"/>
                    <a:gd name="connsiteY57" fmla="*/ 3495675 h 4496940"/>
                    <a:gd name="connsiteX58" fmla="*/ 4059577 w 4519987"/>
                    <a:gd name="connsiteY58" fmla="*/ 3533775 h 4496940"/>
                    <a:gd name="connsiteX59" fmla="*/ 4002427 w 4519987"/>
                    <a:gd name="connsiteY59" fmla="*/ 3600450 h 4496940"/>
                    <a:gd name="connsiteX60" fmla="*/ 3983377 w 4519987"/>
                    <a:gd name="connsiteY60" fmla="*/ 3629025 h 4496940"/>
                    <a:gd name="connsiteX61" fmla="*/ 3954802 w 4519987"/>
                    <a:gd name="connsiteY61" fmla="*/ 3648075 h 4496940"/>
                    <a:gd name="connsiteX62" fmla="*/ 3907177 w 4519987"/>
                    <a:gd name="connsiteY62" fmla="*/ 3686175 h 4496940"/>
                    <a:gd name="connsiteX63" fmla="*/ 3869077 w 4519987"/>
                    <a:gd name="connsiteY63" fmla="*/ 3724275 h 4496940"/>
                    <a:gd name="connsiteX64" fmla="*/ 3792877 w 4519987"/>
                    <a:gd name="connsiteY64" fmla="*/ 3781425 h 4496940"/>
                    <a:gd name="connsiteX65" fmla="*/ 3783352 w 4519987"/>
                    <a:gd name="connsiteY65" fmla="*/ 3810000 h 4496940"/>
                    <a:gd name="connsiteX66" fmla="*/ 3745252 w 4519987"/>
                    <a:gd name="connsiteY66" fmla="*/ 3819525 h 4496940"/>
                    <a:gd name="connsiteX67" fmla="*/ 3678577 w 4519987"/>
                    <a:gd name="connsiteY67" fmla="*/ 3848100 h 4496940"/>
                    <a:gd name="connsiteX68" fmla="*/ 3659527 w 4519987"/>
                    <a:gd name="connsiteY68" fmla="*/ 3971925 h 4496940"/>
                    <a:gd name="connsiteX69" fmla="*/ 3630952 w 4519987"/>
                    <a:gd name="connsiteY69" fmla="*/ 4010025 h 4496940"/>
                    <a:gd name="connsiteX70" fmla="*/ 3621427 w 4519987"/>
                    <a:gd name="connsiteY70" fmla="*/ 4038600 h 4496940"/>
                    <a:gd name="connsiteX71" fmla="*/ 3554752 w 4519987"/>
                    <a:gd name="connsiteY71" fmla="*/ 4095750 h 4496940"/>
                    <a:gd name="connsiteX72" fmla="*/ 3516652 w 4519987"/>
                    <a:gd name="connsiteY72" fmla="*/ 4114800 h 4496940"/>
                    <a:gd name="connsiteX73" fmla="*/ 3497602 w 4519987"/>
                    <a:gd name="connsiteY73" fmla="*/ 4143375 h 4496940"/>
                    <a:gd name="connsiteX74" fmla="*/ 3383302 w 4519987"/>
                    <a:gd name="connsiteY74" fmla="*/ 4210050 h 4496940"/>
                    <a:gd name="connsiteX75" fmla="*/ 3335677 w 4519987"/>
                    <a:gd name="connsiteY75" fmla="*/ 4238625 h 4496940"/>
                    <a:gd name="connsiteX76" fmla="*/ 3288052 w 4519987"/>
                    <a:gd name="connsiteY76" fmla="*/ 4248150 h 4496940"/>
                    <a:gd name="connsiteX77" fmla="*/ 3240427 w 4519987"/>
                    <a:gd name="connsiteY77" fmla="*/ 4267200 h 4496940"/>
                    <a:gd name="connsiteX78" fmla="*/ 3068977 w 4519987"/>
                    <a:gd name="connsiteY78" fmla="*/ 4286250 h 4496940"/>
                    <a:gd name="connsiteX79" fmla="*/ 2935627 w 4519987"/>
                    <a:gd name="connsiteY79" fmla="*/ 4333875 h 4496940"/>
                    <a:gd name="connsiteX80" fmla="*/ 2811802 w 4519987"/>
                    <a:gd name="connsiteY80" fmla="*/ 4371975 h 4496940"/>
                    <a:gd name="connsiteX81" fmla="*/ 2745127 w 4519987"/>
                    <a:gd name="connsiteY81" fmla="*/ 4410075 h 4496940"/>
                    <a:gd name="connsiteX82" fmla="*/ 2697502 w 4519987"/>
                    <a:gd name="connsiteY82" fmla="*/ 4429125 h 4496940"/>
                    <a:gd name="connsiteX83" fmla="*/ 2640352 w 4519987"/>
                    <a:gd name="connsiteY83" fmla="*/ 4457700 h 4496940"/>
                    <a:gd name="connsiteX84" fmla="*/ 2583202 w 4519987"/>
                    <a:gd name="connsiteY84" fmla="*/ 4467225 h 4496940"/>
                    <a:gd name="connsiteX85" fmla="*/ 2545102 w 4519987"/>
                    <a:gd name="connsiteY85" fmla="*/ 4486275 h 4496940"/>
                    <a:gd name="connsiteX86" fmla="*/ 2306977 w 4519987"/>
                    <a:gd name="connsiteY86" fmla="*/ 4476750 h 4496940"/>
                    <a:gd name="connsiteX87" fmla="*/ 2202202 w 4519987"/>
                    <a:gd name="connsiteY87" fmla="*/ 4457700 h 4496940"/>
                    <a:gd name="connsiteX88" fmla="*/ 2126002 w 4519987"/>
                    <a:gd name="connsiteY88" fmla="*/ 4429125 h 4496940"/>
                    <a:gd name="connsiteX89" fmla="*/ 1935502 w 4519987"/>
                    <a:gd name="connsiteY89" fmla="*/ 4400550 h 4496940"/>
                    <a:gd name="connsiteX90" fmla="*/ 1821202 w 4519987"/>
                    <a:gd name="connsiteY90" fmla="*/ 4371975 h 4496940"/>
                    <a:gd name="connsiteX91" fmla="*/ 1754527 w 4519987"/>
                    <a:gd name="connsiteY91" fmla="*/ 4352925 h 4496940"/>
                    <a:gd name="connsiteX92" fmla="*/ 1687852 w 4519987"/>
                    <a:gd name="connsiteY92" fmla="*/ 4343400 h 4496940"/>
                    <a:gd name="connsiteX93" fmla="*/ 1573552 w 4519987"/>
                    <a:gd name="connsiteY93" fmla="*/ 4305300 h 4496940"/>
                    <a:gd name="connsiteX94" fmla="*/ 1402102 w 4519987"/>
                    <a:gd name="connsiteY94" fmla="*/ 4276725 h 4496940"/>
                    <a:gd name="connsiteX95" fmla="*/ 1287802 w 4519987"/>
                    <a:gd name="connsiteY95" fmla="*/ 4229100 h 4496940"/>
                    <a:gd name="connsiteX96" fmla="*/ 1221127 w 4519987"/>
                    <a:gd name="connsiteY96" fmla="*/ 4200525 h 4496940"/>
                    <a:gd name="connsiteX97" fmla="*/ 1144927 w 4519987"/>
                    <a:gd name="connsiteY97" fmla="*/ 4171950 h 4496940"/>
                    <a:gd name="connsiteX98" fmla="*/ 1087777 w 4519987"/>
                    <a:gd name="connsiteY98" fmla="*/ 4143375 h 4496940"/>
                    <a:gd name="connsiteX99" fmla="*/ 1030627 w 4519987"/>
                    <a:gd name="connsiteY99" fmla="*/ 4124325 h 4496940"/>
                    <a:gd name="connsiteX100" fmla="*/ 925852 w 4519987"/>
                    <a:gd name="connsiteY100" fmla="*/ 4067175 h 4496940"/>
                    <a:gd name="connsiteX101" fmla="*/ 830602 w 4519987"/>
                    <a:gd name="connsiteY101" fmla="*/ 3981450 h 4496940"/>
                    <a:gd name="connsiteX102" fmla="*/ 763927 w 4519987"/>
                    <a:gd name="connsiteY102" fmla="*/ 3914775 h 4496940"/>
                    <a:gd name="connsiteX103" fmla="*/ 725827 w 4519987"/>
                    <a:gd name="connsiteY103" fmla="*/ 3876675 h 4496940"/>
                    <a:gd name="connsiteX104" fmla="*/ 697252 w 4519987"/>
                    <a:gd name="connsiteY104" fmla="*/ 3838575 h 4496940"/>
                    <a:gd name="connsiteX105" fmla="*/ 640102 w 4519987"/>
                    <a:gd name="connsiteY105" fmla="*/ 3781425 h 4496940"/>
                    <a:gd name="connsiteX106" fmla="*/ 611527 w 4519987"/>
                    <a:gd name="connsiteY106" fmla="*/ 3733800 h 4496940"/>
                    <a:gd name="connsiteX107" fmla="*/ 554377 w 4519987"/>
                    <a:gd name="connsiteY107" fmla="*/ 3657600 h 4496940"/>
                    <a:gd name="connsiteX108" fmla="*/ 525802 w 4519987"/>
                    <a:gd name="connsiteY108" fmla="*/ 3609975 h 4496940"/>
                    <a:gd name="connsiteX109" fmla="*/ 497227 w 4519987"/>
                    <a:gd name="connsiteY109" fmla="*/ 3552825 h 4496940"/>
                    <a:gd name="connsiteX110" fmla="*/ 440077 w 4519987"/>
                    <a:gd name="connsiteY110" fmla="*/ 3495675 h 4496940"/>
                    <a:gd name="connsiteX111" fmla="*/ 411502 w 4519987"/>
                    <a:gd name="connsiteY111" fmla="*/ 3448050 h 4496940"/>
                    <a:gd name="connsiteX112" fmla="*/ 278152 w 4519987"/>
                    <a:gd name="connsiteY112" fmla="*/ 3257550 h 4496940"/>
                    <a:gd name="connsiteX113" fmla="*/ 249577 w 4519987"/>
                    <a:gd name="connsiteY113" fmla="*/ 3200400 h 4496940"/>
                    <a:gd name="connsiteX114" fmla="*/ 240052 w 4519987"/>
                    <a:gd name="connsiteY114" fmla="*/ 3162300 h 4496940"/>
                    <a:gd name="connsiteX115" fmla="*/ 221002 w 4519987"/>
                    <a:gd name="connsiteY115" fmla="*/ 3105150 h 4496940"/>
                    <a:gd name="connsiteX116" fmla="*/ 173377 w 4519987"/>
                    <a:gd name="connsiteY116" fmla="*/ 3019425 h 4496940"/>
                    <a:gd name="connsiteX117" fmla="*/ 144802 w 4519987"/>
                    <a:gd name="connsiteY117" fmla="*/ 2924175 h 4496940"/>
                    <a:gd name="connsiteX118" fmla="*/ 68602 w 4519987"/>
                    <a:gd name="connsiteY118" fmla="*/ 2724150 h 4496940"/>
                    <a:gd name="connsiteX119" fmla="*/ 49552 w 4519987"/>
                    <a:gd name="connsiteY119" fmla="*/ 2638425 h 4496940"/>
                    <a:gd name="connsiteX120" fmla="*/ 40027 w 4519987"/>
                    <a:gd name="connsiteY120" fmla="*/ 2562225 h 4496940"/>
                    <a:gd name="connsiteX121" fmla="*/ 30502 w 4519987"/>
                    <a:gd name="connsiteY121" fmla="*/ 2514600 h 4496940"/>
                    <a:gd name="connsiteX122" fmla="*/ 11452 w 4519987"/>
                    <a:gd name="connsiteY122" fmla="*/ 2400300 h 4496940"/>
                    <a:gd name="connsiteX123" fmla="*/ 20977 w 4519987"/>
                    <a:gd name="connsiteY123" fmla="*/ 1905000 h 4496940"/>
                    <a:gd name="connsiteX124" fmla="*/ 30502 w 4519987"/>
                    <a:gd name="connsiteY124" fmla="*/ 1838325 h 4496940"/>
                    <a:gd name="connsiteX125" fmla="*/ 49552 w 4519987"/>
                    <a:gd name="connsiteY125" fmla="*/ 1781175 h 4496940"/>
                    <a:gd name="connsiteX126" fmla="*/ 59077 w 4519987"/>
                    <a:gd name="connsiteY126" fmla="*/ 1743075 h 4496940"/>
                    <a:gd name="connsiteX127" fmla="*/ 78127 w 4519987"/>
                    <a:gd name="connsiteY127" fmla="*/ 1685925 h 4496940"/>
                    <a:gd name="connsiteX128" fmla="*/ 87652 w 4519987"/>
                    <a:gd name="connsiteY128" fmla="*/ 1638300 h 4496940"/>
                    <a:gd name="connsiteX129" fmla="*/ 106702 w 4519987"/>
                    <a:gd name="connsiteY129" fmla="*/ 1590675 h 4496940"/>
                    <a:gd name="connsiteX130" fmla="*/ 135277 w 4519987"/>
                    <a:gd name="connsiteY130" fmla="*/ 1504950 h 4496940"/>
                    <a:gd name="connsiteX131" fmla="*/ 154327 w 4519987"/>
                    <a:gd name="connsiteY131" fmla="*/ 1419225 h 4496940"/>
                    <a:gd name="connsiteX132" fmla="*/ 230527 w 4519987"/>
                    <a:gd name="connsiteY132" fmla="*/ 1276350 h 4496940"/>
                    <a:gd name="connsiteX133" fmla="*/ 240052 w 4519987"/>
                    <a:gd name="connsiteY133" fmla="*/ 1247775 h 4496940"/>
                    <a:gd name="connsiteX134" fmla="*/ 268627 w 4519987"/>
                    <a:gd name="connsiteY134" fmla="*/ 1200150 h 4496940"/>
                    <a:gd name="connsiteX135" fmla="*/ 287677 w 4519987"/>
                    <a:gd name="connsiteY135" fmla="*/ 1152525 h 4496940"/>
                    <a:gd name="connsiteX136" fmla="*/ 316252 w 4519987"/>
                    <a:gd name="connsiteY136" fmla="*/ 1114425 h 4496940"/>
                    <a:gd name="connsiteX137" fmla="*/ 363877 w 4519987"/>
                    <a:gd name="connsiteY137" fmla="*/ 1038225 h 4496940"/>
                    <a:gd name="connsiteX138" fmla="*/ 382927 w 4519987"/>
                    <a:gd name="connsiteY138" fmla="*/ 1009650 h 4496940"/>
                    <a:gd name="connsiteX139" fmla="*/ 440077 w 4519987"/>
                    <a:gd name="connsiteY139" fmla="*/ 904875 h 4496940"/>
                    <a:gd name="connsiteX140" fmla="*/ 478177 w 4519987"/>
                    <a:gd name="connsiteY140" fmla="*/ 857250 h 4496940"/>
                    <a:gd name="connsiteX141" fmla="*/ 497227 w 4519987"/>
                    <a:gd name="connsiteY141" fmla="*/ 828675 h 4496940"/>
                    <a:gd name="connsiteX142" fmla="*/ 535327 w 4519987"/>
                    <a:gd name="connsiteY142" fmla="*/ 800100 h 4496940"/>
                    <a:gd name="connsiteX143" fmla="*/ 602002 w 4519987"/>
                    <a:gd name="connsiteY143" fmla="*/ 733425 h 4496940"/>
                    <a:gd name="connsiteX144" fmla="*/ 668677 w 4519987"/>
                    <a:gd name="connsiteY144" fmla="*/ 676275 h 4496940"/>
                    <a:gd name="connsiteX145" fmla="*/ 697252 w 4519987"/>
                    <a:gd name="connsiteY145" fmla="*/ 657225 h 4496940"/>
                    <a:gd name="connsiteX146" fmla="*/ 840127 w 4519987"/>
                    <a:gd name="connsiteY146" fmla="*/ 533400 h 4496940"/>
                    <a:gd name="connsiteX147" fmla="*/ 887752 w 4519987"/>
                    <a:gd name="connsiteY147" fmla="*/ 504825 h 4496940"/>
                    <a:gd name="connsiteX148" fmla="*/ 1167152 w 4519987"/>
                    <a:gd name="connsiteY148" fmla="*/ 311150 h 4496940"/>
                    <a:gd name="connsiteX149" fmla="*/ 1268752 w 4519987"/>
                    <a:gd name="connsiteY149" fmla="*/ 285750 h 4496940"/>
                    <a:gd name="connsiteX150" fmla="*/ 1411627 w 4519987"/>
                    <a:gd name="connsiteY150" fmla="*/ 190500 h 4496940"/>
                    <a:gd name="connsiteX151" fmla="*/ 1449727 w 4519987"/>
                    <a:gd name="connsiteY151" fmla="*/ 161925 h 4496940"/>
                    <a:gd name="connsiteX152" fmla="*/ 1525927 w 4519987"/>
                    <a:gd name="connsiteY152" fmla="*/ 152400 h 4496940"/>
                    <a:gd name="connsiteX153" fmla="*/ 1583077 w 4519987"/>
                    <a:gd name="connsiteY153" fmla="*/ 142875 h 4496940"/>
                    <a:gd name="connsiteX154" fmla="*/ 1716427 w 4519987"/>
                    <a:gd name="connsiteY154" fmla="*/ 123825 h 4496940"/>
                    <a:gd name="connsiteX155" fmla="*/ 1811677 w 4519987"/>
                    <a:gd name="connsiteY155" fmla="*/ 114300 h 4496940"/>
                    <a:gd name="connsiteX156" fmla="*/ 1859302 w 4519987"/>
                    <a:gd name="connsiteY156" fmla="*/ 104775 h 4496940"/>
                    <a:gd name="connsiteX157" fmla="*/ 1916452 w 4519987"/>
                    <a:gd name="connsiteY157" fmla="*/ 95250 h 4496940"/>
                    <a:gd name="connsiteX158" fmla="*/ 2030752 w 4519987"/>
                    <a:gd name="connsiteY158" fmla="*/ 66675 h 4496940"/>
                    <a:gd name="connsiteX159" fmla="*/ 2097427 w 4519987"/>
                    <a:gd name="connsiteY159" fmla="*/ 47625 h 4496940"/>
                    <a:gd name="connsiteX160" fmla="*/ 2164102 w 4519987"/>
                    <a:gd name="connsiteY160" fmla="*/ 38100 h 4496940"/>
                    <a:gd name="connsiteX161" fmla="*/ 2392702 w 4519987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278652 w 4519987"/>
                    <a:gd name="connsiteY50" fmla="*/ 3248025 h 4496940"/>
                    <a:gd name="connsiteX51" fmla="*/ 4259602 w 4519987"/>
                    <a:gd name="connsiteY51" fmla="*/ 3276600 h 4496940"/>
                    <a:gd name="connsiteX52" fmla="*/ 4221502 w 4519987"/>
                    <a:gd name="connsiteY52" fmla="*/ 3333750 h 4496940"/>
                    <a:gd name="connsiteX53" fmla="*/ 4211977 w 4519987"/>
                    <a:gd name="connsiteY53" fmla="*/ 3362325 h 4496940"/>
                    <a:gd name="connsiteX54" fmla="*/ 4183402 w 4519987"/>
                    <a:gd name="connsiteY54" fmla="*/ 3400425 h 4496940"/>
                    <a:gd name="connsiteX55" fmla="*/ 4164352 w 4519987"/>
                    <a:gd name="connsiteY55" fmla="*/ 3429000 h 4496940"/>
                    <a:gd name="connsiteX56" fmla="*/ 4088152 w 4519987"/>
                    <a:gd name="connsiteY56" fmla="*/ 3495675 h 4496940"/>
                    <a:gd name="connsiteX57" fmla="*/ 4059577 w 4519987"/>
                    <a:gd name="connsiteY57" fmla="*/ 3533775 h 4496940"/>
                    <a:gd name="connsiteX58" fmla="*/ 4002427 w 4519987"/>
                    <a:gd name="connsiteY58" fmla="*/ 3600450 h 4496940"/>
                    <a:gd name="connsiteX59" fmla="*/ 3983377 w 4519987"/>
                    <a:gd name="connsiteY59" fmla="*/ 3629025 h 4496940"/>
                    <a:gd name="connsiteX60" fmla="*/ 3954802 w 4519987"/>
                    <a:gd name="connsiteY60" fmla="*/ 3648075 h 4496940"/>
                    <a:gd name="connsiteX61" fmla="*/ 3907177 w 4519987"/>
                    <a:gd name="connsiteY61" fmla="*/ 3686175 h 4496940"/>
                    <a:gd name="connsiteX62" fmla="*/ 3869077 w 4519987"/>
                    <a:gd name="connsiteY62" fmla="*/ 3724275 h 4496940"/>
                    <a:gd name="connsiteX63" fmla="*/ 3792877 w 4519987"/>
                    <a:gd name="connsiteY63" fmla="*/ 3781425 h 4496940"/>
                    <a:gd name="connsiteX64" fmla="*/ 3783352 w 4519987"/>
                    <a:gd name="connsiteY64" fmla="*/ 3810000 h 4496940"/>
                    <a:gd name="connsiteX65" fmla="*/ 3745252 w 4519987"/>
                    <a:gd name="connsiteY65" fmla="*/ 3819525 h 4496940"/>
                    <a:gd name="connsiteX66" fmla="*/ 3678577 w 4519987"/>
                    <a:gd name="connsiteY66" fmla="*/ 3848100 h 4496940"/>
                    <a:gd name="connsiteX67" fmla="*/ 3659527 w 4519987"/>
                    <a:gd name="connsiteY67" fmla="*/ 3971925 h 4496940"/>
                    <a:gd name="connsiteX68" fmla="*/ 3630952 w 4519987"/>
                    <a:gd name="connsiteY68" fmla="*/ 4010025 h 4496940"/>
                    <a:gd name="connsiteX69" fmla="*/ 3621427 w 4519987"/>
                    <a:gd name="connsiteY69" fmla="*/ 4038600 h 4496940"/>
                    <a:gd name="connsiteX70" fmla="*/ 3554752 w 4519987"/>
                    <a:gd name="connsiteY70" fmla="*/ 4095750 h 4496940"/>
                    <a:gd name="connsiteX71" fmla="*/ 3516652 w 4519987"/>
                    <a:gd name="connsiteY71" fmla="*/ 4114800 h 4496940"/>
                    <a:gd name="connsiteX72" fmla="*/ 3497602 w 4519987"/>
                    <a:gd name="connsiteY72" fmla="*/ 4143375 h 4496940"/>
                    <a:gd name="connsiteX73" fmla="*/ 3383302 w 4519987"/>
                    <a:gd name="connsiteY73" fmla="*/ 4210050 h 4496940"/>
                    <a:gd name="connsiteX74" fmla="*/ 3335677 w 4519987"/>
                    <a:gd name="connsiteY74" fmla="*/ 4238625 h 4496940"/>
                    <a:gd name="connsiteX75" fmla="*/ 3288052 w 4519987"/>
                    <a:gd name="connsiteY75" fmla="*/ 4248150 h 4496940"/>
                    <a:gd name="connsiteX76" fmla="*/ 3240427 w 4519987"/>
                    <a:gd name="connsiteY76" fmla="*/ 4267200 h 4496940"/>
                    <a:gd name="connsiteX77" fmla="*/ 3068977 w 4519987"/>
                    <a:gd name="connsiteY77" fmla="*/ 4286250 h 4496940"/>
                    <a:gd name="connsiteX78" fmla="*/ 2935627 w 4519987"/>
                    <a:gd name="connsiteY78" fmla="*/ 4333875 h 4496940"/>
                    <a:gd name="connsiteX79" fmla="*/ 2811802 w 4519987"/>
                    <a:gd name="connsiteY79" fmla="*/ 4371975 h 4496940"/>
                    <a:gd name="connsiteX80" fmla="*/ 2745127 w 4519987"/>
                    <a:gd name="connsiteY80" fmla="*/ 4410075 h 4496940"/>
                    <a:gd name="connsiteX81" fmla="*/ 2697502 w 4519987"/>
                    <a:gd name="connsiteY81" fmla="*/ 4429125 h 4496940"/>
                    <a:gd name="connsiteX82" fmla="*/ 2640352 w 4519987"/>
                    <a:gd name="connsiteY82" fmla="*/ 4457700 h 4496940"/>
                    <a:gd name="connsiteX83" fmla="*/ 2583202 w 4519987"/>
                    <a:gd name="connsiteY83" fmla="*/ 4467225 h 4496940"/>
                    <a:gd name="connsiteX84" fmla="*/ 2545102 w 4519987"/>
                    <a:gd name="connsiteY84" fmla="*/ 4486275 h 4496940"/>
                    <a:gd name="connsiteX85" fmla="*/ 2306977 w 4519987"/>
                    <a:gd name="connsiteY85" fmla="*/ 4476750 h 4496940"/>
                    <a:gd name="connsiteX86" fmla="*/ 2202202 w 4519987"/>
                    <a:gd name="connsiteY86" fmla="*/ 4457700 h 4496940"/>
                    <a:gd name="connsiteX87" fmla="*/ 2126002 w 4519987"/>
                    <a:gd name="connsiteY87" fmla="*/ 4429125 h 4496940"/>
                    <a:gd name="connsiteX88" fmla="*/ 1935502 w 4519987"/>
                    <a:gd name="connsiteY88" fmla="*/ 4400550 h 4496940"/>
                    <a:gd name="connsiteX89" fmla="*/ 1821202 w 4519987"/>
                    <a:gd name="connsiteY89" fmla="*/ 4371975 h 4496940"/>
                    <a:gd name="connsiteX90" fmla="*/ 1754527 w 4519987"/>
                    <a:gd name="connsiteY90" fmla="*/ 4352925 h 4496940"/>
                    <a:gd name="connsiteX91" fmla="*/ 1687852 w 4519987"/>
                    <a:gd name="connsiteY91" fmla="*/ 4343400 h 4496940"/>
                    <a:gd name="connsiteX92" fmla="*/ 1573552 w 4519987"/>
                    <a:gd name="connsiteY92" fmla="*/ 4305300 h 4496940"/>
                    <a:gd name="connsiteX93" fmla="*/ 1402102 w 4519987"/>
                    <a:gd name="connsiteY93" fmla="*/ 4276725 h 4496940"/>
                    <a:gd name="connsiteX94" fmla="*/ 1287802 w 4519987"/>
                    <a:gd name="connsiteY94" fmla="*/ 4229100 h 4496940"/>
                    <a:gd name="connsiteX95" fmla="*/ 1221127 w 4519987"/>
                    <a:gd name="connsiteY95" fmla="*/ 4200525 h 4496940"/>
                    <a:gd name="connsiteX96" fmla="*/ 1144927 w 4519987"/>
                    <a:gd name="connsiteY96" fmla="*/ 4171950 h 4496940"/>
                    <a:gd name="connsiteX97" fmla="*/ 1087777 w 4519987"/>
                    <a:gd name="connsiteY97" fmla="*/ 4143375 h 4496940"/>
                    <a:gd name="connsiteX98" fmla="*/ 1030627 w 4519987"/>
                    <a:gd name="connsiteY98" fmla="*/ 4124325 h 4496940"/>
                    <a:gd name="connsiteX99" fmla="*/ 925852 w 4519987"/>
                    <a:gd name="connsiteY99" fmla="*/ 4067175 h 4496940"/>
                    <a:gd name="connsiteX100" fmla="*/ 830602 w 4519987"/>
                    <a:gd name="connsiteY100" fmla="*/ 3981450 h 4496940"/>
                    <a:gd name="connsiteX101" fmla="*/ 763927 w 4519987"/>
                    <a:gd name="connsiteY101" fmla="*/ 3914775 h 4496940"/>
                    <a:gd name="connsiteX102" fmla="*/ 725827 w 4519987"/>
                    <a:gd name="connsiteY102" fmla="*/ 3876675 h 4496940"/>
                    <a:gd name="connsiteX103" fmla="*/ 697252 w 4519987"/>
                    <a:gd name="connsiteY103" fmla="*/ 3838575 h 4496940"/>
                    <a:gd name="connsiteX104" fmla="*/ 640102 w 4519987"/>
                    <a:gd name="connsiteY104" fmla="*/ 3781425 h 4496940"/>
                    <a:gd name="connsiteX105" fmla="*/ 611527 w 4519987"/>
                    <a:gd name="connsiteY105" fmla="*/ 3733800 h 4496940"/>
                    <a:gd name="connsiteX106" fmla="*/ 554377 w 4519987"/>
                    <a:gd name="connsiteY106" fmla="*/ 3657600 h 4496940"/>
                    <a:gd name="connsiteX107" fmla="*/ 525802 w 4519987"/>
                    <a:gd name="connsiteY107" fmla="*/ 3609975 h 4496940"/>
                    <a:gd name="connsiteX108" fmla="*/ 497227 w 4519987"/>
                    <a:gd name="connsiteY108" fmla="*/ 3552825 h 4496940"/>
                    <a:gd name="connsiteX109" fmla="*/ 440077 w 4519987"/>
                    <a:gd name="connsiteY109" fmla="*/ 3495675 h 4496940"/>
                    <a:gd name="connsiteX110" fmla="*/ 411502 w 4519987"/>
                    <a:gd name="connsiteY110" fmla="*/ 3448050 h 4496940"/>
                    <a:gd name="connsiteX111" fmla="*/ 278152 w 4519987"/>
                    <a:gd name="connsiteY111" fmla="*/ 3257550 h 4496940"/>
                    <a:gd name="connsiteX112" fmla="*/ 249577 w 4519987"/>
                    <a:gd name="connsiteY112" fmla="*/ 3200400 h 4496940"/>
                    <a:gd name="connsiteX113" fmla="*/ 240052 w 4519987"/>
                    <a:gd name="connsiteY113" fmla="*/ 3162300 h 4496940"/>
                    <a:gd name="connsiteX114" fmla="*/ 221002 w 4519987"/>
                    <a:gd name="connsiteY114" fmla="*/ 3105150 h 4496940"/>
                    <a:gd name="connsiteX115" fmla="*/ 173377 w 4519987"/>
                    <a:gd name="connsiteY115" fmla="*/ 3019425 h 4496940"/>
                    <a:gd name="connsiteX116" fmla="*/ 144802 w 4519987"/>
                    <a:gd name="connsiteY116" fmla="*/ 2924175 h 4496940"/>
                    <a:gd name="connsiteX117" fmla="*/ 68602 w 4519987"/>
                    <a:gd name="connsiteY117" fmla="*/ 2724150 h 4496940"/>
                    <a:gd name="connsiteX118" fmla="*/ 49552 w 4519987"/>
                    <a:gd name="connsiteY118" fmla="*/ 2638425 h 4496940"/>
                    <a:gd name="connsiteX119" fmla="*/ 40027 w 4519987"/>
                    <a:gd name="connsiteY119" fmla="*/ 2562225 h 4496940"/>
                    <a:gd name="connsiteX120" fmla="*/ 30502 w 4519987"/>
                    <a:gd name="connsiteY120" fmla="*/ 2514600 h 4496940"/>
                    <a:gd name="connsiteX121" fmla="*/ 11452 w 4519987"/>
                    <a:gd name="connsiteY121" fmla="*/ 2400300 h 4496940"/>
                    <a:gd name="connsiteX122" fmla="*/ 20977 w 4519987"/>
                    <a:gd name="connsiteY122" fmla="*/ 1905000 h 4496940"/>
                    <a:gd name="connsiteX123" fmla="*/ 30502 w 4519987"/>
                    <a:gd name="connsiteY123" fmla="*/ 1838325 h 4496940"/>
                    <a:gd name="connsiteX124" fmla="*/ 49552 w 4519987"/>
                    <a:gd name="connsiteY124" fmla="*/ 1781175 h 4496940"/>
                    <a:gd name="connsiteX125" fmla="*/ 59077 w 4519987"/>
                    <a:gd name="connsiteY125" fmla="*/ 1743075 h 4496940"/>
                    <a:gd name="connsiteX126" fmla="*/ 78127 w 4519987"/>
                    <a:gd name="connsiteY126" fmla="*/ 1685925 h 4496940"/>
                    <a:gd name="connsiteX127" fmla="*/ 87652 w 4519987"/>
                    <a:gd name="connsiteY127" fmla="*/ 1638300 h 4496940"/>
                    <a:gd name="connsiteX128" fmla="*/ 106702 w 4519987"/>
                    <a:gd name="connsiteY128" fmla="*/ 1590675 h 4496940"/>
                    <a:gd name="connsiteX129" fmla="*/ 135277 w 4519987"/>
                    <a:gd name="connsiteY129" fmla="*/ 1504950 h 4496940"/>
                    <a:gd name="connsiteX130" fmla="*/ 154327 w 4519987"/>
                    <a:gd name="connsiteY130" fmla="*/ 1419225 h 4496940"/>
                    <a:gd name="connsiteX131" fmla="*/ 230527 w 4519987"/>
                    <a:gd name="connsiteY131" fmla="*/ 1276350 h 4496940"/>
                    <a:gd name="connsiteX132" fmla="*/ 240052 w 4519987"/>
                    <a:gd name="connsiteY132" fmla="*/ 1247775 h 4496940"/>
                    <a:gd name="connsiteX133" fmla="*/ 268627 w 4519987"/>
                    <a:gd name="connsiteY133" fmla="*/ 1200150 h 4496940"/>
                    <a:gd name="connsiteX134" fmla="*/ 287677 w 4519987"/>
                    <a:gd name="connsiteY134" fmla="*/ 1152525 h 4496940"/>
                    <a:gd name="connsiteX135" fmla="*/ 316252 w 4519987"/>
                    <a:gd name="connsiteY135" fmla="*/ 1114425 h 4496940"/>
                    <a:gd name="connsiteX136" fmla="*/ 363877 w 4519987"/>
                    <a:gd name="connsiteY136" fmla="*/ 1038225 h 4496940"/>
                    <a:gd name="connsiteX137" fmla="*/ 382927 w 4519987"/>
                    <a:gd name="connsiteY137" fmla="*/ 1009650 h 4496940"/>
                    <a:gd name="connsiteX138" fmla="*/ 440077 w 4519987"/>
                    <a:gd name="connsiteY138" fmla="*/ 904875 h 4496940"/>
                    <a:gd name="connsiteX139" fmla="*/ 478177 w 4519987"/>
                    <a:gd name="connsiteY139" fmla="*/ 857250 h 4496940"/>
                    <a:gd name="connsiteX140" fmla="*/ 497227 w 4519987"/>
                    <a:gd name="connsiteY140" fmla="*/ 828675 h 4496940"/>
                    <a:gd name="connsiteX141" fmla="*/ 535327 w 4519987"/>
                    <a:gd name="connsiteY141" fmla="*/ 800100 h 4496940"/>
                    <a:gd name="connsiteX142" fmla="*/ 602002 w 4519987"/>
                    <a:gd name="connsiteY142" fmla="*/ 733425 h 4496940"/>
                    <a:gd name="connsiteX143" fmla="*/ 668677 w 4519987"/>
                    <a:gd name="connsiteY143" fmla="*/ 676275 h 4496940"/>
                    <a:gd name="connsiteX144" fmla="*/ 697252 w 4519987"/>
                    <a:gd name="connsiteY144" fmla="*/ 657225 h 4496940"/>
                    <a:gd name="connsiteX145" fmla="*/ 840127 w 4519987"/>
                    <a:gd name="connsiteY145" fmla="*/ 533400 h 4496940"/>
                    <a:gd name="connsiteX146" fmla="*/ 887752 w 4519987"/>
                    <a:gd name="connsiteY146" fmla="*/ 504825 h 4496940"/>
                    <a:gd name="connsiteX147" fmla="*/ 1167152 w 4519987"/>
                    <a:gd name="connsiteY147" fmla="*/ 311150 h 4496940"/>
                    <a:gd name="connsiteX148" fmla="*/ 1268752 w 4519987"/>
                    <a:gd name="connsiteY148" fmla="*/ 285750 h 4496940"/>
                    <a:gd name="connsiteX149" fmla="*/ 1411627 w 4519987"/>
                    <a:gd name="connsiteY149" fmla="*/ 190500 h 4496940"/>
                    <a:gd name="connsiteX150" fmla="*/ 1449727 w 4519987"/>
                    <a:gd name="connsiteY150" fmla="*/ 161925 h 4496940"/>
                    <a:gd name="connsiteX151" fmla="*/ 1525927 w 4519987"/>
                    <a:gd name="connsiteY151" fmla="*/ 152400 h 4496940"/>
                    <a:gd name="connsiteX152" fmla="*/ 1583077 w 4519987"/>
                    <a:gd name="connsiteY152" fmla="*/ 142875 h 4496940"/>
                    <a:gd name="connsiteX153" fmla="*/ 1716427 w 4519987"/>
                    <a:gd name="connsiteY153" fmla="*/ 123825 h 4496940"/>
                    <a:gd name="connsiteX154" fmla="*/ 1811677 w 4519987"/>
                    <a:gd name="connsiteY154" fmla="*/ 114300 h 4496940"/>
                    <a:gd name="connsiteX155" fmla="*/ 1859302 w 4519987"/>
                    <a:gd name="connsiteY155" fmla="*/ 104775 h 4496940"/>
                    <a:gd name="connsiteX156" fmla="*/ 1916452 w 4519987"/>
                    <a:gd name="connsiteY156" fmla="*/ 95250 h 4496940"/>
                    <a:gd name="connsiteX157" fmla="*/ 2030752 w 4519987"/>
                    <a:gd name="connsiteY157" fmla="*/ 66675 h 4496940"/>
                    <a:gd name="connsiteX158" fmla="*/ 2097427 w 4519987"/>
                    <a:gd name="connsiteY158" fmla="*/ 47625 h 4496940"/>
                    <a:gd name="connsiteX159" fmla="*/ 2164102 w 4519987"/>
                    <a:gd name="connsiteY159" fmla="*/ 38100 h 4496940"/>
                    <a:gd name="connsiteX160" fmla="*/ 2392702 w 4519987"/>
                    <a:gd name="connsiteY16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278652 w 4519987"/>
                    <a:gd name="connsiteY49" fmla="*/ 3248025 h 4496940"/>
                    <a:gd name="connsiteX50" fmla="*/ 4259602 w 4519987"/>
                    <a:gd name="connsiteY50" fmla="*/ 3276600 h 4496940"/>
                    <a:gd name="connsiteX51" fmla="*/ 4221502 w 4519987"/>
                    <a:gd name="connsiteY51" fmla="*/ 3333750 h 4496940"/>
                    <a:gd name="connsiteX52" fmla="*/ 4211977 w 4519987"/>
                    <a:gd name="connsiteY52" fmla="*/ 3362325 h 4496940"/>
                    <a:gd name="connsiteX53" fmla="*/ 4183402 w 4519987"/>
                    <a:gd name="connsiteY53" fmla="*/ 3400425 h 4496940"/>
                    <a:gd name="connsiteX54" fmla="*/ 4164352 w 4519987"/>
                    <a:gd name="connsiteY54" fmla="*/ 3429000 h 4496940"/>
                    <a:gd name="connsiteX55" fmla="*/ 4088152 w 4519987"/>
                    <a:gd name="connsiteY55" fmla="*/ 3495675 h 4496940"/>
                    <a:gd name="connsiteX56" fmla="*/ 4059577 w 4519987"/>
                    <a:gd name="connsiteY56" fmla="*/ 3533775 h 4496940"/>
                    <a:gd name="connsiteX57" fmla="*/ 4002427 w 4519987"/>
                    <a:gd name="connsiteY57" fmla="*/ 3600450 h 4496940"/>
                    <a:gd name="connsiteX58" fmla="*/ 3983377 w 4519987"/>
                    <a:gd name="connsiteY58" fmla="*/ 3629025 h 4496940"/>
                    <a:gd name="connsiteX59" fmla="*/ 3954802 w 4519987"/>
                    <a:gd name="connsiteY59" fmla="*/ 3648075 h 4496940"/>
                    <a:gd name="connsiteX60" fmla="*/ 3907177 w 4519987"/>
                    <a:gd name="connsiteY60" fmla="*/ 3686175 h 4496940"/>
                    <a:gd name="connsiteX61" fmla="*/ 3869077 w 4519987"/>
                    <a:gd name="connsiteY61" fmla="*/ 3724275 h 4496940"/>
                    <a:gd name="connsiteX62" fmla="*/ 3792877 w 4519987"/>
                    <a:gd name="connsiteY62" fmla="*/ 3781425 h 4496940"/>
                    <a:gd name="connsiteX63" fmla="*/ 3783352 w 4519987"/>
                    <a:gd name="connsiteY63" fmla="*/ 3810000 h 4496940"/>
                    <a:gd name="connsiteX64" fmla="*/ 3745252 w 4519987"/>
                    <a:gd name="connsiteY64" fmla="*/ 3819525 h 4496940"/>
                    <a:gd name="connsiteX65" fmla="*/ 3678577 w 4519987"/>
                    <a:gd name="connsiteY65" fmla="*/ 3848100 h 4496940"/>
                    <a:gd name="connsiteX66" fmla="*/ 3659527 w 4519987"/>
                    <a:gd name="connsiteY66" fmla="*/ 3971925 h 4496940"/>
                    <a:gd name="connsiteX67" fmla="*/ 3630952 w 4519987"/>
                    <a:gd name="connsiteY67" fmla="*/ 4010025 h 4496940"/>
                    <a:gd name="connsiteX68" fmla="*/ 3621427 w 4519987"/>
                    <a:gd name="connsiteY68" fmla="*/ 4038600 h 4496940"/>
                    <a:gd name="connsiteX69" fmla="*/ 3554752 w 4519987"/>
                    <a:gd name="connsiteY69" fmla="*/ 4095750 h 4496940"/>
                    <a:gd name="connsiteX70" fmla="*/ 3516652 w 4519987"/>
                    <a:gd name="connsiteY70" fmla="*/ 4114800 h 4496940"/>
                    <a:gd name="connsiteX71" fmla="*/ 3497602 w 4519987"/>
                    <a:gd name="connsiteY71" fmla="*/ 4143375 h 4496940"/>
                    <a:gd name="connsiteX72" fmla="*/ 3383302 w 4519987"/>
                    <a:gd name="connsiteY72" fmla="*/ 4210050 h 4496940"/>
                    <a:gd name="connsiteX73" fmla="*/ 3335677 w 4519987"/>
                    <a:gd name="connsiteY73" fmla="*/ 4238625 h 4496940"/>
                    <a:gd name="connsiteX74" fmla="*/ 3288052 w 4519987"/>
                    <a:gd name="connsiteY74" fmla="*/ 4248150 h 4496940"/>
                    <a:gd name="connsiteX75" fmla="*/ 3240427 w 4519987"/>
                    <a:gd name="connsiteY75" fmla="*/ 4267200 h 4496940"/>
                    <a:gd name="connsiteX76" fmla="*/ 3068977 w 4519987"/>
                    <a:gd name="connsiteY76" fmla="*/ 4286250 h 4496940"/>
                    <a:gd name="connsiteX77" fmla="*/ 2935627 w 4519987"/>
                    <a:gd name="connsiteY77" fmla="*/ 4333875 h 4496940"/>
                    <a:gd name="connsiteX78" fmla="*/ 2811802 w 4519987"/>
                    <a:gd name="connsiteY78" fmla="*/ 4371975 h 4496940"/>
                    <a:gd name="connsiteX79" fmla="*/ 2745127 w 4519987"/>
                    <a:gd name="connsiteY79" fmla="*/ 4410075 h 4496940"/>
                    <a:gd name="connsiteX80" fmla="*/ 2697502 w 4519987"/>
                    <a:gd name="connsiteY80" fmla="*/ 4429125 h 4496940"/>
                    <a:gd name="connsiteX81" fmla="*/ 2640352 w 4519987"/>
                    <a:gd name="connsiteY81" fmla="*/ 4457700 h 4496940"/>
                    <a:gd name="connsiteX82" fmla="*/ 2583202 w 4519987"/>
                    <a:gd name="connsiteY82" fmla="*/ 4467225 h 4496940"/>
                    <a:gd name="connsiteX83" fmla="*/ 2545102 w 4519987"/>
                    <a:gd name="connsiteY83" fmla="*/ 4486275 h 4496940"/>
                    <a:gd name="connsiteX84" fmla="*/ 2306977 w 4519987"/>
                    <a:gd name="connsiteY84" fmla="*/ 4476750 h 4496940"/>
                    <a:gd name="connsiteX85" fmla="*/ 2202202 w 4519987"/>
                    <a:gd name="connsiteY85" fmla="*/ 4457700 h 4496940"/>
                    <a:gd name="connsiteX86" fmla="*/ 2126002 w 4519987"/>
                    <a:gd name="connsiteY86" fmla="*/ 4429125 h 4496940"/>
                    <a:gd name="connsiteX87" fmla="*/ 1935502 w 4519987"/>
                    <a:gd name="connsiteY87" fmla="*/ 4400550 h 4496940"/>
                    <a:gd name="connsiteX88" fmla="*/ 1821202 w 4519987"/>
                    <a:gd name="connsiteY88" fmla="*/ 4371975 h 4496940"/>
                    <a:gd name="connsiteX89" fmla="*/ 1754527 w 4519987"/>
                    <a:gd name="connsiteY89" fmla="*/ 4352925 h 4496940"/>
                    <a:gd name="connsiteX90" fmla="*/ 1687852 w 4519987"/>
                    <a:gd name="connsiteY90" fmla="*/ 4343400 h 4496940"/>
                    <a:gd name="connsiteX91" fmla="*/ 1573552 w 4519987"/>
                    <a:gd name="connsiteY91" fmla="*/ 4305300 h 4496940"/>
                    <a:gd name="connsiteX92" fmla="*/ 1402102 w 4519987"/>
                    <a:gd name="connsiteY92" fmla="*/ 4276725 h 4496940"/>
                    <a:gd name="connsiteX93" fmla="*/ 1287802 w 4519987"/>
                    <a:gd name="connsiteY93" fmla="*/ 4229100 h 4496940"/>
                    <a:gd name="connsiteX94" fmla="*/ 1221127 w 4519987"/>
                    <a:gd name="connsiteY94" fmla="*/ 4200525 h 4496940"/>
                    <a:gd name="connsiteX95" fmla="*/ 1144927 w 4519987"/>
                    <a:gd name="connsiteY95" fmla="*/ 4171950 h 4496940"/>
                    <a:gd name="connsiteX96" fmla="*/ 1087777 w 4519987"/>
                    <a:gd name="connsiteY96" fmla="*/ 4143375 h 4496940"/>
                    <a:gd name="connsiteX97" fmla="*/ 1030627 w 4519987"/>
                    <a:gd name="connsiteY97" fmla="*/ 4124325 h 4496940"/>
                    <a:gd name="connsiteX98" fmla="*/ 925852 w 4519987"/>
                    <a:gd name="connsiteY98" fmla="*/ 4067175 h 4496940"/>
                    <a:gd name="connsiteX99" fmla="*/ 830602 w 4519987"/>
                    <a:gd name="connsiteY99" fmla="*/ 3981450 h 4496940"/>
                    <a:gd name="connsiteX100" fmla="*/ 763927 w 4519987"/>
                    <a:gd name="connsiteY100" fmla="*/ 3914775 h 4496940"/>
                    <a:gd name="connsiteX101" fmla="*/ 725827 w 4519987"/>
                    <a:gd name="connsiteY101" fmla="*/ 3876675 h 4496940"/>
                    <a:gd name="connsiteX102" fmla="*/ 697252 w 4519987"/>
                    <a:gd name="connsiteY102" fmla="*/ 3838575 h 4496940"/>
                    <a:gd name="connsiteX103" fmla="*/ 640102 w 4519987"/>
                    <a:gd name="connsiteY103" fmla="*/ 3781425 h 4496940"/>
                    <a:gd name="connsiteX104" fmla="*/ 611527 w 4519987"/>
                    <a:gd name="connsiteY104" fmla="*/ 3733800 h 4496940"/>
                    <a:gd name="connsiteX105" fmla="*/ 554377 w 4519987"/>
                    <a:gd name="connsiteY105" fmla="*/ 3657600 h 4496940"/>
                    <a:gd name="connsiteX106" fmla="*/ 525802 w 4519987"/>
                    <a:gd name="connsiteY106" fmla="*/ 3609975 h 4496940"/>
                    <a:gd name="connsiteX107" fmla="*/ 497227 w 4519987"/>
                    <a:gd name="connsiteY107" fmla="*/ 3552825 h 4496940"/>
                    <a:gd name="connsiteX108" fmla="*/ 440077 w 4519987"/>
                    <a:gd name="connsiteY108" fmla="*/ 3495675 h 4496940"/>
                    <a:gd name="connsiteX109" fmla="*/ 411502 w 4519987"/>
                    <a:gd name="connsiteY109" fmla="*/ 3448050 h 4496940"/>
                    <a:gd name="connsiteX110" fmla="*/ 278152 w 4519987"/>
                    <a:gd name="connsiteY110" fmla="*/ 3257550 h 4496940"/>
                    <a:gd name="connsiteX111" fmla="*/ 249577 w 4519987"/>
                    <a:gd name="connsiteY111" fmla="*/ 3200400 h 4496940"/>
                    <a:gd name="connsiteX112" fmla="*/ 240052 w 4519987"/>
                    <a:gd name="connsiteY112" fmla="*/ 3162300 h 4496940"/>
                    <a:gd name="connsiteX113" fmla="*/ 221002 w 4519987"/>
                    <a:gd name="connsiteY113" fmla="*/ 3105150 h 4496940"/>
                    <a:gd name="connsiteX114" fmla="*/ 173377 w 4519987"/>
                    <a:gd name="connsiteY114" fmla="*/ 3019425 h 4496940"/>
                    <a:gd name="connsiteX115" fmla="*/ 144802 w 4519987"/>
                    <a:gd name="connsiteY115" fmla="*/ 2924175 h 4496940"/>
                    <a:gd name="connsiteX116" fmla="*/ 68602 w 4519987"/>
                    <a:gd name="connsiteY116" fmla="*/ 2724150 h 4496940"/>
                    <a:gd name="connsiteX117" fmla="*/ 49552 w 4519987"/>
                    <a:gd name="connsiteY117" fmla="*/ 2638425 h 4496940"/>
                    <a:gd name="connsiteX118" fmla="*/ 40027 w 4519987"/>
                    <a:gd name="connsiteY118" fmla="*/ 2562225 h 4496940"/>
                    <a:gd name="connsiteX119" fmla="*/ 30502 w 4519987"/>
                    <a:gd name="connsiteY119" fmla="*/ 2514600 h 4496940"/>
                    <a:gd name="connsiteX120" fmla="*/ 11452 w 4519987"/>
                    <a:gd name="connsiteY120" fmla="*/ 2400300 h 4496940"/>
                    <a:gd name="connsiteX121" fmla="*/ 20977 w 4519987"/>
                    <a:gd name="connsiteY121" fmla="*/ 1905000 h 4496940"/>
                    <a:gd name="connsiteX122" fmla="*/ 30502 w 4519987"/>
                    <a:gd name="connsiteY122" fmla="*/ 1838325 h 4496940"/>
                    <a:gd name="connsiteX123" fmla="*/ 49552 w 4519987"/>
                    <a:gd name="connsiteY123" fmla="*/ 1781175 h 4496940"/>
                    <a:gd name="connsiteX124" fmla="*/ 59077 w 4519987"/>
                    <a:gd name="connsiteY124" fmla="*/ 1743075 h 4496940"/>
                    <a:gd name="connsiteX125" fmla="*/ 78127 w 4519987"/>
                    <a:gd name="connsiteY125" fmla="*/ 1685925 h 4496940"/>
                    <a:gd name="connsiteX126" fmla="*/ 87652 w 4519987"/>
                    <a:gd name="connsiteY126" fmla="*/ 1638300 h 4496940"/>
                    <a:gd name="connsiteX127" fmla="*/ 106702 w 4519987"/>
                    <a:gd name="connsiteY127" fmla="*/ 1590675 h 4496940"/>
                    <a:gd name="connsiteX128" fmla="*/ 135277 w 4519987"/>
                    <a:gd name="connsiteY128" fmla="*/ 1504950 h 4496940"/>
                    <a:gd name="connsiteX129" fmla="*/ 154327 w 4519987"/>
                    <a:gd name="connsiteY129" fmla="*/ 1419225 h 4496940"/>
                    <a:gd name="connsiteX130" fmla="*/ 230527 w 4519987"/>
                    <a:gd name="connsiteY130" fmla="*/ 1276350 h 4496940"/>
                    <a:gd name="connsiteX131" fmla="*/ 240052 w 4519987"/>
                    <a:gd name="connsiteY131" fmla="*/ 1247775 h 4496940"/>
                    <a:gd name="connsiteX132" fmla="*/ 268627 w 4519987"/>
                    <a:gd name="connsiteY132" fmla="*/ 1200150 h 4496940"/>
                    <a:gd name="connsiteX133" fmla="*/ 287677 w 4519987"/>
                    <a:gd name="connsiteY133" fmla="*/ 1152525 h 4496940"/>
                    <a:gd name="connsiteX134" fmla="*/ 316252 w 4519987"/>
                    <a:gd name="connsiteY134" fmla="*/ 1114425 h 4496940"/>
                    <a:gd name="connsiteX135" fmla="*/ 363877 w 4519987"/>
                    <a:gd name="connsiteY135" fmla="*/ 1038225 h 4496940"/>
                    <a:gd name="connsiteX136" fmla="*/ 382927 w 4519987"/>
                    <a:gd name="connsiteY136" fmla="*/ 1009650 h 4496940"/>
                    <a:gd name="connsiteX137" fmla="*/ 440077 w 4519987"/>
                    <a:gd name="connsiteY137" fmla="*/ 904875 h 4496940"/>
                    <a:gd name="connsiteX138" fmla="*/ 478177 w 4519987"/>
                    <a:gd name="connsiteY138" fmla="*/ 857250 h 4496940"/>
                    <a:gd name="connsiteX139" fmla="*/ 497227 w 4519987"/>
                    <a:gd name="connsiteY139" fmla="*/ 828675 h 4496940"/>
                    <a:gd name="connsiteX140" fmla="*/ 535327 w 4519987"/>
                    <a:gd name="connsiteY140" fmla="*/ 800100 h 4496940"/>
                    <a:gd name="connsiteX141" fmla="*/ 602002 w 4519987"/>
                    <a:gd name="connsiteY141" fmla="*/ 733425 h 4496940"/>
                    <a:gd name="connsiteX142" fmla="*/ 668677 w 4519987"/>
                    <a:gd name="connsiteY142" fmla="*/ 676275 h 4496940"/>
                    <a:gd name="connsiteX143" fmla="*/ 697252 w 4519987"/>
                    <a:gd name="connsiteY143" fmla="*/ 657225 h 4496940"/>
                    <a:gd name="connsiteX144" fmla="*/ 840127 w 4519987"/>
                    <a:gd name="connsiteY144" fmla="*/ 533400 h 4496940"/>
                    <a:gd name="connsiteX145" fmla="*/ 887752 w 4519987"/>
                    <a:gd name="connsiteY145" fmla="*/ 504825 h 4496940"/>
                    <a:gd name="connsiteX146" fmla="*/ 1167152 w 4519987"/>
                    <a:gd name="connsiteY146" fmla="*/ 311150 h 4496940"/>
                    <a:gd name="connsiteX147" fmla="*/ 1268752 w 4519987"/>
                    <a:gd name="connsiteY147" fmla="*/ 285750 h 4496940"/>
                    <a:gd name="connsiteX148" fmla="*/ 1411627 w 4519987"/>
                    <a:gd name="connsiteY148" fmla="*/ 190500 h 4496940"/>
                    <a:gd name="connsiteX149" fmla="*/ 1449727 w 4519987"/>
                    <a:gd name="connsiteY149" fmla="*/ 161925 h 4496940"/>
                    <a:gd name="connsiteX150" fmla="*/ 1525927 w 4519987"/>
                    <a:gd name="connsiteY150" fmla="*/ 152400 h 4496940"/>
                    <a:gd name="connsiteX151" fmla="*/ 1583077 w 4519987"/>
                    <a:gd name="connsiteY151" fmla="*/ 142875 h 4496940"/>
                    <a:gd name="connsiteX152" fmla="*/ 1716427 w 4519987"/>
                    <a:gd name="connsiteY152" fmla="*/ 123825 h 4496940"/>
                    <a:gd name="connsiteX153" fmla="*/ 1811677 w 4519987"/>
                    <a:gd name="connsiteY153" fmla="*/ 114300 h 4496940"/>
                    <a:gd name="connsiteX154" fmla="*/ 1859302 w 4519987"/>
                    <a:gd name="connsiteY154" fmla="*/ 104775 h 4496940"/>
                    <a:gd name="connsiteX155" fmla="*/ 1916452 w 4519987"/>
                    <a:gd name="connsiteY155" fmla="*/ 95250 h 4496940"/>
                    <a:gd name="connsiteX156" fmla="*/ 2030752 w 4519987"/>
                    <a:gd name="connsiteY156" fmla="*/ 66675 h 4496940"/>
                    <a:gd name="connsiteX157" fmla="*/ 2097427 w 4519987"/>
                    <a:gd name="connsiteY157" fmla="*/ 47625 h 4496940"/>
                    <a:gd name="connsiteX158" fmla="*/ 2164102 w 4519987"/>
                    <a:gd name="connsiteY158" fmla="*/ 38100 h 4496940"/>
                    <a:gd name="connsiteX159" fmla="*/ 2392702 w 4519987"/>
                    <a:gd name="connsiteY15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50052 w 4519987"/>
                    <a:gd name="connsiteY28" fmla="*/ 790575 h 4496940"/>
                    <a:gd name="connsiteX29" fmla="*/ 4078627 w 4519987"/>
                    <a:gd name="connsiteY29" fmla="*/ 838200 h 4496940"/>
                    <a:gd name="connsiteX30" fmla="*/ 4107202 w 4519987"/>
                    <a:gd name="connsiteY30" fmla="*/ 876300 h 4496940"/>
                    <a:gd name="connsiteX31" fmla="*/ 4116727 w 4519987"/>
                    <a:gd name="connsiteY31" fmla="*/ 904875 h 4496940"/>
                    <a:gd name="connsiteX32" fmla="*/ 4135777 w 4519987"/>
                    <a:gd name="connsiteY32" fmla="*/ 933450 h 4496940"/>
                    <a:gd name="connsiteX33" fmla="*/ 4164352 w 4519987"/>
                    <a:gd name="connsiteY33" fmla="*/ 990600 h 4496940"/>
                    <a:gd name="connsiteX34" fmla="*/ 4173877 w 4519987"/>
                    <a:gd name="connsiteY34" fmla="*/ 1019175 h 4496940"/>
                    <a:gd name="connsiteX35" fmla="*/ 4192927 w 4519987"/>
                    <a:gd name="connsiteY35" fmla="*/ 1057275 h 4496940"/>
                    <a:gd name="connsiteX36" fmla="*/ 4202452 w 4519987"/>
                    <a:gd name="connsiteY36" fmla="*/ 1085850 h 4496940"/>
                    <a:gd name="connsiteX37" fmla="*/ 4250077 w 4519987"/>
                    <a:gd name="connsiteY37" fmla="*/ 1143000 h 4496940"/>
                    <a:gd name="connsiteX38" fmla="*/ 4259602 w 4519987"/>
                    <a:gd name="connsiteY38" fmla="*/ 1190625 h 4496940"/>
                    <a:gd name="connsiteX39" fmla="*/ 4307227 w 4519987"/>
                    <a:gd name="connsiteY39" fmla="*/ 1266825 h 4496940"/>
                    <a:gd name="connsiteX40" fmla="*/ 4345327 w 4519987"/>
                    <a:gd name="connsiteY40" fmla="*/ 1362075 h 4496940"/>
                    <a:gd name="connsiteX41" fmla="*/ 4373902 w 4519987"/>
                    <a:gd name="connsiteY41" fmla="*/ 1428750 h 4496940"/>
                    <a:gd name="connsiteX42" fmla="*/ 4392952 w 4519987"/>
                    <a:gd name="connsiteY42" fmla="*/ 1552575 h 4496940"/>
                    <a:gd name="connsiteX43" fmla="*/ 4402477 w 4519987"/>
                    <a:gd name="connsiteY43" fmla="*/ 1590675 h 4496940"/>
                    <a:gd name="connsiteX44" fmla="*/ 4431052 w 4519987"/>
                    <a:gd name="connsiteY44" fmla="*/ 1685925 h 4496940"/>
                    <a:gd name="connsiteX45" fmla="*/ 4519952 w 4519987"/>
                    <a:gd name="connsiteY45" fmla="*/ 2181225 h 4496940"/>
                    <a:gd name="connsiteX46" fmla="*/ 4446927 w 4519987"/>
                    <a:gd name="connsiteY46" fmla="*/ 2768600 h 4496940"/>
                    <a:gd name="connsiteX47" fmla="*/ 4383427 w 4519987"/>
                    <a:gd name="connsiteY47" fmla="*/ 2990850 h 4496940"/>
                    <a:gd name="connsiteX48" fmla="*/ 4278652 w 4519987"/>
                    <a:gd name="connsiteY48" fmla="*/ 3248025 h 4496940"/>
                    <a:gd name="connsiteX49" fmla="*/ 4259602 w 4519987"/>
                    <a:gd name="connsiteY49" fmla="*/ 3276600 h 4496940"/>
                    <a:gd name="connsiteX50" fmla="*/ 4221502 w 4519987"/>
                    <a:gd name="connsiteY50" fmla="*/ 3333750 h 4496940"/>
                    <a:gd name="connsiteX51" fmla="*/ 4211977 w 4519987"/>
                    <a:gd name="connsiteY51" fmla="*/ 3362325 h 4496940"/>
                    <a:gd name="connsiteX52" fmla="*/ 4183402 w 4519987"/>
                    <a:gd name="connsiteY52" fmla="*/ 3400425 h 4496940"/>
                    <a:gd name="connsiteX53" fmla="*/ 4164352 w 4519987"/>
                    <a:gd name="connsiteY53" fmla="*/ 3429000 h 4496940"/>
                    <a:gd name="connsiteX54" fmla="*/ 4088152 w 4519987"/>
                    <a:gd name="connsiteY54" fmla="*/ 3495675 h 4496940"/>
                    <a:gd name="connsiteX55" fmla="*/ 4059577 w 4519987"/>
                    <a:gd name="connsiteY55" fmla="*/ 3533775 h 4496940"/>
                    <a:gd name="connsiteX56" fmla="*/ 4002427 w 4519987"/>
                    <a:gd name="connsiteY56" fmla="*/ 3600450 h 4496940"/>
                    <a:gd name="connsiteX57" fmla="*/ 3983377 w 4519987"/>
                    <a:gd name="connsiteY57" fmla="*/ 3629025 h 4496940"/>
                    <a:gd name="connsiteX58" fmla="*/ 3954802 w 4519987"/>
                    <a:gd name="connsiteY58" fmla="*/ 3648075 h 4496940"/>
                    <a:gd name="connsiteX59" fmla="*/ 3907177 w 4519987"/>
                    <a:gd name="connsiteY59" fmla="*/ 3686175 h 4496940"/>
                    <a:gd name="connsiteX60" fmla="*/ 3869077 w 4519987"/>
                    <a:gd name="connsiteY60" fmla="*/ 3724275 h 4496940"/>
                    <a:gd name="connsiteX61" fmla="*/ 3792877 w 4519987"/>
                    <a:gd name="connsiteY61" fmla="*/ 3781425 h 4496940"/>
                    <a:gd name="connsiteX62" fmla="*/ 3783352 w 4519987"/>
                    <a:gd name="connsiteY62" fmla="*/ 3810000 h 4496940"/>
                    <a:gd name="connsiteX63" fmla="*/ 3745252 w 4519987"/>
                    <a:gd name="connsiteY63" fmla="*/ 3819525 h 4496940"/>
                    <a:gd name="connsiteX64" fmla="*/ 3678577 w 4519987"/>
                    <a:gd name="connsiteY64" fmla="*/ 3848100 h 4496940"/>
                    <a:gd name="connsiteX65" fmla="*/ 3659527 w 4519987"/>
                    <a:gd name="connsiteY65" fmla="*/ 3971925 h 4496940"/>
                    <a:gd name="connsiteX66" fmla="*/ 3630952 w 4519987"/>
                    <a:gd name="connsiteY66" fmla="*/ 4010025 h 4496940"/>
                    <a:gd name="connsiteX67" fmla="*/ 3621427 w 4519987"/>
                    <a:gd name="connsiteY67" fmla="*/ 4038600 h 4496940"/>
                    <a:gd name="connsiteX68" fmla="*/ 3554752 w 4519987"/>
                    <a:gd name="connsiteY68" fmla="*/ 4095750 h 4496940"/>
                    <a:gd name="connsiteX69" fmla="*/ 3516652 w 4519987"/>
                    <a:gd name="connsiteY69" fmla="*/ 4114800 h 4496940"/>
                    <a:gd name="connsiteX70" fmla="*/ 3497602 w 4519987"/>
                    <a:gd name="connsiteY70" fmla="*/ 4143375 h 4496940"/>
                    <a:gd name="connsiteX71" fmla="*/ 3383302 w 4519987"/>
                    <a:gd name="connsiteY71" fmla="*/ 4210050 h 4496940"/>
                    <a:gd name="connsiteX72" fmla="*/ 3335677 w 4519987"/>
                    <a:gd name="connsiteY72" fmla="*/ 4238625 h 4496940"/>
                    <a:gd name="connsiteX73" fmla="*/ 3288052 w 4519987"/>
                    <a:gd name="connsiteY73" fmla="*/ 4248150 h 4496940"/>
                    <a:gd name="connsiteX74" fmla="*/ 3240427 w 4519987"/>
                    <a:gd name="connsiteY74" fmla="*/ 4267200 h 4496940"/>
                    <a:gd name="connsiteX75" fmla="*/ 3068977 w 4519987"/>
                    <a:gd name="connsiteY75" fmla="*/ 4286250 h 4496940"/>
                    <a:gd name="connsiteX76" fmla="*/ 2935627 w 4519987"/>
                    <a:gd name="connsiteY76" fmla="*/ 4333875 h 4496940"/>
                    <a:gd name="connsiteX77" fmla="*/ 2811802 w 4519987"/>
                    <a:gd name="connsiteY77" fmla="*/ 4371975 h 4496940"/>
                    <a:gd name="connsiteX78" fmla="*/ 2745127 w 4519987"/>
                    <a:gd name="connsiteY78" fmla="*/ 4410075 h 4496940"/>
                    <a:gd name="connsiteX79" fmla="*/ 2697502 w 4519987"/>
                    <a:gd name="connsiteY79" fmla="*/ 4429125 h 4496940"/>
                    <a:gd name="connsiteX80" fmla="*/ 2640352 w 4519987"/>
                    <a:gd name="connsiteY80" fmla="*/ 4457700 h 4496940"/>
                    <a:gd name="connsiteX81" fmla="*/ 2583202 w 4519987"/>
                    <a:gd name="connsiteY81" fmla="*/ 4467225 h 4496940"/>
                    <a:gd name="connsiteX82" fmla="*/ 2545102 w 4519987"/>
                    <a:gd name="connsiteY82" fmla="*/ 4486275 h 4496940"/>
                    <a:gd name="connsiteX83" fmla="*/ 2306977 w 4519987"/>
                    <a:gd name="connsiteY83" fmla="*/ 4476750 h 4496940"/>
                    <a:gd name="connsiteX84" fmla="*/ 2202202 w 4519987"/>
                    <a:gd name="connsiteY84" fmla="*/ 4457700 h 4496940"/>
                    <a:gd name="connsiteX85" fmla="*/ 2126002 w 4519987"/>
                    <a:gd name="connsiteY85" fmla="*/ 4429125 h 4496940"/>
                    <a:gd name="connsiteX86" fmla="*/ 1935502 w 4519987"/>
                    <a:gd name="connsiteY86" fmla="*/ 4400550 h 4496940"/>
                    <a:gd name="connsiteX87" fmla="*/ 1821202 w 4519987"/>
                    <a:gd name="connsiteY87" fmla="*/ 4371975 h 4496940"/>
                    <a:gd name="connsiteX88" fmla="*/ 1754527 w 4519987"/>
                    <a:gd name="connsiteY88" fmla="*/ 4352925 h 4496940"/>
                    <a:gd name="connsiteX89" fmla="*/ 1687852 w 4519987"/>
                    <a:gd name="connsiteY89" fmla="*/ 4343400 h 4496940"/>
                    <a:gd name="connsiteX90" fmla="*/ 1573552 w 4519987"/>
                    <a:gd name="connsiteY90" fmla="*/ 4305300 h 4496940"/>
                    <a:gd name="connsiteX91" fmla="*/ 1402102 w 4519987"/>
                    <a:gd name="connsiteY91" fmla="*/ 4276725 h 4496940"/>
                    <a:gd name="connsiteX92" fmla="*/ 1287802 w 4519987"/>
                    <a:gd name="connsiteY92" fmla="*/ 4229100 h 4496940"/>
                    <a:gd name="connsiteX93" fmla="*/ 1221127 w 4519987"/>
                    <a:gd name="connsiteY93" fmla="*/ 4200525 h 4496940"/>
                    <a:gd name="connsiteX94" fmla="*/ 1144927 w 4519987"/>
                    <a:gd name="connsiteY94" fmla="*/ 4171950 h 4496940"/>
                    <a:gd name="connsiteX95" fmla="*/ 1087777 w 4519987"/>
                    <a:gd name="connsiteY95" fmla="*/ 4143375 h 4496940"/>
                    <a:gd name="connsiteX96" fmla="*/ 1030627 w 4519987"/>
                    <a:gd name="connsiteY96" fmla="*/ 4124325 h 4496940"/>
                    <a:gd name="connsiteX97" fmla="*/ 925852 w 4519987"/>
                    <a:gd name="connsiteY97" fmla="*/ 4067175 h 4496940"/>
                    <a:gd name="connsiteX98" fmla="*/ 830602 w 4519987"/>
                    <a:gd name="connsiteY98" fmla="*/ 3981450 h 4496940"/>
                    <a:gd name="connsiteX99" fmla="*/ 763927 w 4519987"/>
                    <a:gd name="connsiteY99" fmla="*/ 3914775 h 4496940"/>
                    <a:gd name="connsiteX100" fmla="*/ 725827 w 4519987"/>
                    <a:gd name="connsiteY100" fmla="*/ 3876675 h 4496940"/>
                    <a:gd name="connsiteX101" fmla="*/ 697252 w 4519987"/>
                    <a:gd name="connsiteY101" fmla="*/ 3838575 h 4496940"/>
                    <a:gd name="connsiteX102" fmla="*/ 640102 w 4519987"/>
                    <a:gd name="connsiteY102" fmla="*/ 3781425 h 4496940"/>
                    <a:gd name="connsiteX103" fmla="*/ 611527 w 4519987"/>
                    <a:gd name="connsiteY103" fmla="*/ 3733800 h 4496940"/>
                    <a:gd name="connsiteX104" fmla="*/ 554377 w 4519987"/>
                    <a:gd name="connsiteY104" fmla="*/ 3657600 h 4496940"/>
                    <a:gd name="connsiteX105" fmla="*/ 525802 w 4519987"/>
                    <a:gd name="connsiteY105" fmla="*/ 3609975 h 4496940"/>
                    <a:gd name="connsiteX106" fmla="*/ 497227 w 4519987"/>
                    <a:gd name="connsiteY106" fmla="*/ 3552825 h 4496940"/>
                    <a:gd name="connsiteX107" fmla="*/ 440077 w 4519987"/>
                    <a:gd name="connsiteY107" fmla="*/ 3495675 h 4496940"/>
                    <a:gd name="connsiteX108" fmla="*/ 411502 w 4519987"/>
                    <a:gd name="connsiteY108" fmla="*/ 3448050 h 4496940"/>
                    <a:gd name="connsiteX109" fmla="*/ 278152 w 4519987"/>
                    <a:gd name="connsiteY109" fmla="*/ 3257550 h 4496940"/>
                    <a:gd name="connsiteX110" fmla="*/ 249577 w 4519987"/>
                    <a:gd name="connsiteY110" fmla="*/ 3200400 h 4496940"/>
                    <a:gd name="connsiteX111" fmla="*/ 240052 w 4519987"/>
                    <a:gd name="connsiteY111" fmla="*/ 3162300 h 4496940"/>
                    <a:gd name="connsiteX112" fmla="*/ 221002 w 4519987"/>
                    <a:gd name="connsiteY112" fmla="*/ 3105150 h 4496940"/>
                    <a:gd name="connsiteX113" fmla="*/ 173377 w 4519987"/>
                    <a:gd name="connsiteY113" fmla="*/ 3019425 h 4496940"/>
                    <a:gd name="connsiteX114" fmla="*/ 144802 w 4519987"/>
                    <a:gd name="connsiteY114" fmla="*/ 2924175 h 4496940"/>
                    <a:gd name="connsiteX115" fmla="*/ 68602 w 4519987"/>
                    <a:gd name="connsiteY115" fmla="*/ 2724150 h 4496940"/>
                    <a:gd name="connsiteX116" fmla="*/ 49552 w 4519987"/>
                    <a:gd name="connsiteY116" fmla="*/ 2638425 h 4496940"/>
                    <a:gd name="connsiteX117" fmla="*/ 40027 w 4519987"/>
                    <a:gd name="connsiteY117" fmla="*/ 2562225 h 4496940"/>
                    <a:gd name="connsiteX118" fmla="*/ 30502 w 4519987"/>
                    <a:gd name="connsiteY118" fmla="*/ 2514600 h 4496940"/>
                    <a:gd name="connsiteX119" fmla="*/ 11452 w 4519987"/>
                    <a:gd name="connsiteY119" fmla="*/ 2400300 h 4496940"/>
                    <a:gd name="connsiteX120" fmla="*/ 20977 w 4519987"/>
                    <a:gd name="connsiteY120" fmla="*/ 1905000 h 4496940"/>
                    <a:gd name="connsiteX121" fmla="*/ 30502 w 4519987"/>
                    <a:gd name="connsiteY121" fmla="*/ 1838325 h 4496940"/>
                    <a:gd name="connsiteX122" fmla="*/ 49552 w 4519987"/>
                    <a:gd name="connsiteY122" fmla="*/ 1781175 h 4496940"/>
                    <a:gd name="connsiteX123" fmla="*/ 59077 w 4519987"/>
                    <a:gd name="connsiteY123" fmla="*/ 1743075 h 4496940"/>
                    <a:gd name="connsiteX124" fmla="*/ 78127 w 4519987"/>
                    <a:gd name="connsiteY124" fmla="*/ 1685925 h 4496940"/>
                    <a:gd name="connsiteX125" fmla="*/ 87652 w 4519987"/>
                    <a:gd name="connsiteY125" fmla="*/ 1638300 h 4496940"/>
                    <a:gd name="connsiteX126" fmla="*/ 106702 w 4519987"/>
                    <a:gd name="connsiteY126" fmla="*/ 1590675 h 4496940"/>
                    <a:gd name="connsiteX127" fmla="*/ 135277 w 4519987"/>
                    <a:gd name="connsiteY127" fmla="*/ 1504950 h 4496940"/>
                    <a:gd name="connsiteX128" fmla="*/ 154327 w 4519987"/>
                    <a:gd name="connsiteY128" fmla="*/ 1419225 h 4496940"/>
                    <a:gd name="connsiteX129" fmla="*/ 230527 w 4519987"/>
                    <a:gd name="connsiteY129" fmla="*/ 1276350 h 4496940"/>
                    <a:gd name="connsiteX130" fmla="*/ 240052 w 4519987"/>
                    <a:gd name="connsiteY130" fmla="*/ 1247775 h 4496940"/>
                    <a:gd name="connsiteX131" fmla="*/ 268627 w 4519987"/>
                    <a:gd name="connsiteY131" fmla="*/ 1200150 h 4496940"/>
                    <a:gd name="connsiteX132" fmla="*/ 287677 w 4519987"/>
                    <a:gd name="connsiteY132" fmla="*/ 1152525 h 4496940"/>
                    <a:gd name="connsiteX133" fmla="*/ 316252 w 4519987"/>
                    <a:gd name="connsiteY133" fmla="*/ 1114425 h 4496940"/>
                    <a:gd name="connsiteX134" fmla="*/ 363877 w 4519987"/>
                    <a:gd name="connsiteY134" fmla="*/ 1038225 h 4496940"/>
                    <a:gd name="connsiteX135" fmla="*/ 382927 w 4519987"/>
                    <a:gd name="connsiteY135" fmla="*/ 1009650 h 4496940"/>
                    <a:gd name="connsiteX136" fmla="*/ 440077 w 4519987"/>
                    <a:gd name="connsiteY136" fmla="*/ 904875 h 4496940"/>
                    <a:gd name="connsiteX137" fmla="*/ 478177 w 4519987"/>
                    <a:gd name="connsiteY137" fmla="*/ 857250 h 4496940"/>
                    <a:gd name="connsiteX138" fmla="*/ 497227 w 4519987"/>
                    <a:gd name="connsiteY138" fmla="*/ 828675 h 4496940"/>
                    <a:gd name="connsiteX139" fmla="*/ 535327 w 4519987"/>
                    <a:gd name="connsiteY139" fmla="*/ 800100 h 4496940"/>
                    <a:gd name="connsiteX140" fmla="*/ 602002 w 4519987"/>
                    <a:gd name="connsiteY140" fmla="*/ 733425 h 4496940"/>
                    <a:gd name="connsiteX141" fmla="*/ 668677 w 4519987"/>
                    <a:gd name="connsiteY141" fmla="*/ 676275 h 4496940"/>
                    <a:gd name="connsiteX142" fmla="*/ 697252 w 4519987"/>
                    <a:gd name="connsiteY142" fmla="*/ 657225 h 4496940"/>
                    <a:gd name="connsiteX143" fmla="*/ 840127 w 4519987"/>
                    <a:gd name="connsiteY143" fmla="*/ 533400 h 4496940"/>
                    <a:gd name="connsiteX144" fmla="*/ 887752 w 4519987"/>
                    <a:gd name="connsiteY144" fmla="*/ 504825 h 4496940"/>
                    <a:gd name="connsiteX145" fmla="*/ 1167152 w 4519987"/>
                    <a:gd name="connsiteY145" fmla="*/ 311150 h 4496940"/>
                    <a:gd name="connsiteX146" fmla="*/ 1268752 w 4519987"/>
                    <a:gd name="connsiteY146" fmla="*/ 285750 h 4496940"/>
                    <a:gd name="connsiteX147" fmla="*/ 1411627 w 4519987"/>
                    <a:gd name="connsiteY147" fmla="*/ 190500 h 4496940"/>
                    <a:gd name="connsiteX148" fmla="*/ 1449727 w 4519987"/>
                    <a:gd name="connsiteY148" fmla="*/ 161925 h 4496940"/>
                    <a:gd name="connsiteX149" fmla="*/ 1525927 w 4519987"/>
                    <a:gd name="connsiteY149" fmla="*/ 152400 h 4496940"/>
                    <a:gd name="connsiteX150" fmla="*/ 1583077 w 4519987"/>
                    <a:gd name="connsiteY150" fmla="*/ 142875 h 4496940"/>
                    <a:gd name="connsiteX151" fmla="*/ 1716427 w 4519987"/>
                    <a:gd name="connsiteY151" fmla="*/ 123825 h 4496940"/>
                    <a:gd name="connsiteX152" fmla="*/ 1811677 w 4519987"/>
                    <a:gd name="connsiteY152" fmla="*/ 114300 h 4496940"/>
                    <a:gd name="connsiteX153" fmla="*/ 1859302 w 4519987"/>
                    <a:gd name="connsiteY153" fmla="*/ 104775 h 4496940"/>
                    <a:gd name="connsiteX154" fmla="*/ 1916452 w 4519987"/>
                    <a:gd name="connsiteY154" fmla="*/ 95250 h 4496940"/>
                    <a:gd name="connsiteX155" fmla="*/ 2030752 w 4519987"/>
                    <a:gd name="connsiteY155" fmla="*/ 66675 h 4496940"/>
                    <a:gd name="connsiteX156" fmla="*/ 2097427 w 4519987"/>
                    <a:gd name="connsiteY156" fmla="*/ 47625 h 4496940"/>
                    <a:gd name="connsiteX157" fmla="*/ 2164102 w 4519987"/>
                    <a:gd name="connsiteY157" fmla="*/ 38100 h 4496940"/>
                    <a:gd name="connsiteX158" fmla="*/ 2392702 w 4519987"/>
                    <a:gd name="connsiteY15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16727 w 4519987"/>
                    <a:gd name="connsiteY30" fmla="*/ 904875 h 4496940"/>
                    <a:gd name="connsiteX31" fmla="*/ 4135777 w 4519987"/>
                    <a:gd name="connsiteY31" fmla="*/ 933450 h 4496940"/>
                    <a:gd name="connsiteX32" fmla="*/ 4164352 w 4519987"/>
                    <a:gd name="connsiteY32" fmla="*/ 990600 h 4496940"/>
                    <a:gd name="connsiteX33" fmla="*/ 4173877 w 4519987"/>
                    <a:gd name="connsiteY33" fmla="*/ 1019175 h 4496940"/>
                    <a:gd name="connsiteX34" fmla="*/ 4192927 w 4519987"/>
                    <a:gd name="connsiteY34" fmla="*/ 1057275 h 4496940"/>
                    <a:gd name="connsiteX35" fmla="*/ 4202452 w 4519987"/>
                    <a:gd name="connsiteY35" fmla="*/ 1085850 h 4496940"/>
                    <a:gd name="connsiteX36" fmla="*/ 4250077 w 4519987"/>
                    <a:gd name="connsiteY36" fmla="*/ 1143000 h 4496940"/>
                    <a:gd name="connsiteX37" fmla="*/ 4259602 w 4519987"/>
                    <a:gd name="connsiteY37" fmla="*/ 1190625 h 4496940"/>
                    <a:gd name="connsiteX38" fmla="*/ 4307227 w 4519987"/>
                    <a:gd name="connsiteY38" fmla="*/ 1266825 h 4496940"/>
                    <a:gd name="connsiteX39" fmla="*/ 4345327 w 4519987"/>
                    <a:gd name="connsiteY39" fmla="*/ 1362075 h 4496940"/>
                    <a:gd name="connsiteX40" fmla="*/ 4373902 w 4519987"/>
                    <a:gd name="connsiteY40" fmla="*/ 1428750 h 4496940"/>
                    <a:gd name="connsiteX41" fmla="*/ 4392952 w 4519987"/>
                    <a:gd name="connsiteY41" fmla="*/ 1552575 h 4496940"/>
                    <a:gd name="connsiteX42" fmla="*/ 4402477 w 4519987"/>
                    <a:gd name="connsiteY42" fmla="*/ 1590675 h 4496940"/>
                    <a:gd name="connsiteX43" fmla="*/ 4431052 w 4519987"/>
                    <a:gd name="connsiteY43" fmla="*/ 1685925 h 4496940"/>
                    <a:gd name="connsiteX44" fmla="*/ 4519952 w 4519987"/>
                    <a:gd name="connsiteY44" fmla="*/ 2181225 h 4496940"/>
                    <a:gd name="connsiteX45" fmla="*/ 4446927 w 4519987"/>
                    <a:gd name="connsiteY45" fmla="*/ 2768600 h 4496940"/>
                    <a:gd name="connsiteX46" fmla="*/ 4383427 w 4519987"/>
                    <a:gd name="connsiteY46" fmla="*/ 2990850 h 4496940"/>
                    <a:gd name="connsiteX47" fmla="*/ 4278652 w 4519987"/>
                    <a:gd name="connsiteY47" fmla="*/ 3248025 h 4496940"/>
                    <a:gd name="connsiteX48" fmla="*/ 4259602 w 4519987"/>
                    <a:gd name="connsiteY48" fmla="*/ 3276600 h 4496940"/>
                    <a:gd name="connsiteX49" fmla="*/ 4221502 w 4519987"/>
                    <a:gd name="connsiteY49" fmla="*/ 3333750 h 4496940"/>
                    <a:gd name="connsiteX50" fmla="*/ 4211977 w 4519987"/>
                    <a:gd name="connsiteY50" fmla="*/ 3362325 h 4496940"/>
                    <a:gd name="connsiteX51" fmla="*/ 4183402 w 4519987"/>
                    <a:gd name="connsiteY51" fmla="*/ 3400425 h 4496940"/>
                    <a:gd name="connsiteX52" fmla="*/ 4164352 w 4519987"/>
                    <a:gd name="connsiteY52" fmla="*/ 3429000 h 4496940"/>
                    <a:gd name="connsiteX53" fmla="*/ 4088152 w 4519987"/>
                    <a:gd name="connsiteY53" fmla="*/ 3495675 h 4496940"/>
                    <a:gd name="connsiteX54" fmla="*/ 4059577 w 4519987"/>
                    <a:gd name="connsiteY54" fmla="*/ 3533775 h 4496940"/>
                    <a:gd name="connsiteX55" fmla="*/ 4002427 w 4519987"/>
                    <a:gd name="connsiteY55" fmla="*/ 3600450 h 4496940"/>
                    <a:gd name="connsiteX56" fmla="*/ 3983377 w 4519987"/>
                    <a:gd name="connsiteY56" fmla="*/ 3629025 h 4496940"/>
                    <a:gd name="connsiteX57" fmla="*/ 3954802 w 4519987"/>
                    <a:gd name="connsiteY57" fmla="*/ 3648075 h 4496940"/>
                    <a:gd name="connsiteX58" fmla="*/ 3907177 w 4519987"/>
                    <a:gd name="connsiteY58" fmla="*/ 3686175 h 4496940"/>
                    <a:gd name="connsiteX59" fmla="*/ 3869077 w 4519987"/>
                    <a:gd name="connsiteY59" fmla="*/ 3724275 h 4496940"/>
                    <a:gd name="connsiteX60" fmla="*/ 3792877 w 4519987"/>
                    <a:gd name="connsiteY60" fmla="*/ 3781425 h 4496940"/>
                    <a:gd name="connsiteX61" fmla="*/ 3783352 w 4519987"/>
                    <a:gd name="connsiteY61" fmla="*/ 3810000 h 4496940"/>
                    <a:gd name="connsiteX62" fmla="*/ 3745252 w 4519987"/>
                    <a:gd name="connsiteY62" fmla="*/ 3819525 h 4496940"/>
                    <a:gd name="connsiteX63" fmla="*/ 3678577 w 4519987"/>
                    <a:gd name="connsiteY63" fmla="*/ 3848100 h 4496940"/>
                    <a:gd name="connsiteX64" fmla="*/ 3659527 w 4519987"/>
                    <a:gd name="connsiteY64" fmla="*/ 3971925 h 4496940"/>
                    <a:gd name="connsiteX65" fmla="*/ 3630952 w 4519987"/>
                    <a:gd name="connsiteY65" fmla="*/ 4010025 h 4496940"/>
                    <a:gd name="connsiteX66" fmla="*/ 3621427 w 4519987"/>
                    <a:gd name="connsiteY66" fmla="*/ 4038600 h 4496940"/>
                    <a:gd name="connsiteX67" fmla="*/ 3554752 w 4519987"/>
                    <a:gd name="connsiteY67" fmla="*/ 4095750 h 4496940"/>
                    <a:gd name="connsiteX68" fmla="*/ 3516652 w 4519987"/>
                    <a:gd name="connsiteY68" fmla="*/ 4114800 h 4496940"/>
                    <a:gd name="connsiteX69" fmla="*/ 3497602 w 4519987"/>
                    <a:gd name="connsiteY69" fmla="*/ 4143375 h 4496940"/>
                    <a:gd name="connsiteX70" fmla="*/ 3383302 w 4519987"/>
                    <a:gd name="connsiteY70" fmla="*/ 4210050 h 4496940"/>
                    <a:gd name="connsiteX71" fmla="*/ 3335677 w 4519987"/>
                    <a:gd name="connsiteY71" fmla="*/ 4238625 h 4496940"/>
                    <a:gd name="connsiteX72" fmla="*/ 3288052 w 4519987"/>
                    <a:gd name="connsiteY72" fmla="*/ 4248150 h 4496940"/>
                    <a:gd name="connsiteX73" fmla="*/ 3240427 w 4519987"/>
                    <a:gd name="connsiteY73" fmla="*/ 4267200 h 4496940"/>
                    <a:gd name="connsiteX74" fmla="*/ 3068977 w 4519987"/>
                    <a:gd name="connsiteY74" fmla="*/ 4286250 h 4496940"/>
                    <a:gd name="connsiteX75" fmla="*/ 2935627 w 4519987"/>
                    <a:gd name="connsiteY75" fmla="*/ 4333875 h 4496940"/>
                    <a:gd name="connsiteX76" fmla="*/ 2811802 w 4519987"/>
                    <a:gd name="connsiteY76" fmla="*/ 4371975 h 4496940"/>
                    <a:gd name="connsiteX77" fmla="*/ 2745127 w 4519987"/>
                    <a:gd name="connsiteY77" fmla="*/ 4410075 h 4496940"/>
                    <a:gd name="connsiteX78" fmla="*/ 2697502 w 4519987"/>
                    <a:gd name="connsiteY78" fmla="*/ 4429125 h 4496940"/>
                    <a:gd name="connsiteX79" fmla="*/ 2640352 w 4519987"/>
                    <a:gd name="connsiteY79" fmla="*/ 4457700 h 4496940"/>
                    <a:gd name="connsiteX80" fmla="*/ 2583202 w 4519987"/>
                    <a:gd name="connsiteY80" fmla="*/ 4467225 h 4496940"/>
                    <a:gd name="connsiteX81" fmla="*/ 2545102 w 4519987"/>
                    <a:gd name="connsiteY81" fmla="*/ 4486275 h 4496940"/>
                    <a:gd name="connsiteX82" fmla="*/ 2306977 w 4519987"/>
                    <a:gd name="connsiteY82" fmla="*/ 4476750 h 4496940"/>
                    <a:gd name="connsiteX83" fmla="*/ 2202202 w 4519987"/>
                    <a:gd name="connsiteY83" fmla="*/ 4457700 h 4496940"/>
                    <a:gd name="connsiteX84" fmla="*/ 2126002 w 4519987"/>
                    <a:gd name="connsiteY84" fmla="*/ 4429125 h 4496940"/>
                    <a:gd name="connsiteX85" fmla="*/ 1935502 w 4519987"/>
                    <a:gd name="connsiteY85" fmla="*/ 4400550 h 4496940"/>
                    <a:gd name="connsiteX86" fmla="*/ 1821202 w 4519987"/>
                    <a:gd name="connsiteY86" fmla="*/ 4371975 h 4496940"/>
                    <a:gd name="connsiteX87" fmla="*/ 1754527 w 4519987"/>
                    <a:gd name="connsiteY87" fmla="*/ 4352925 h 4496940"/>
                    <a:gd name="connsiteX88" fmla="*/ 1687852 w 4519987"/>
                    <a:gd name="connsiteY88" fmla="*/ 4343400 h 4496940"/>
                    <a:gd name="connsiteX89" fmla="*/ 1573552 w 4519987"/>
                    <a:gd name="connsiteY89" fmla="*/ 4305300 h 4496940"/>
                    <a:gd name="connsiteX90" fmla="*/ 1402102 w 4519987"/>
                    <a:gd name="connsiteY90" fmla="*/ 4276725 h 4496940"/>
                    <a:gd name="connsiteX91" fmla="*/ 1287802 w 4519987"/>
                    <a:gd name="connsiteY91" fmla="*/ 4229100 h 4496940"/>
                    <a:gd name="connsiteX92" fmla="*/ 1221127 w 4519987"/>
                    <a:gd name="connsiteY92" fmla="*/ 4200525 h 4496940"/>
                    <a:gd name="connsiteX93" fmla="*/ 1144927 w 4519987"/>
                    <a:gd name="connsiteY93" fmla="*/ 4171950 h 4496940"/>
                    <a:gd name="connsiteX94" fmla="*/ 1087777 w 4519987"/>
                    <a:gd name="connsiteY94" fmla="*/ 4143375 h 4496940"/>
                    <a:gd name="connsiteX95" fmla="*/ 1030627 w 4519987"/>
                    <a:gd name="connsiteY95" fmla="*/ 4124325 h 4496940"/>
                    <a:gd name="connsiteX96" fmla="*/ 925852 w 4519987"/>
                    <a:gd name="connsiteY96" fmla="*/ 4067175 h 4496940"/>
                    <a:gd name="connsiteX97" fmla="*/ 830602 w 4519987"/>
                    <a:gd name="connsiteY97" fmla="*/ 3981450 h 4496940"/>
                    <a:gd name="connsiteX98" fmla="*/ 763927 w 4519987"/>
                    <a:gd name="connsiteY98" fmla="*/ 3914775 h 4496940"/>
                    <a:gd name="connsiteX99" fmla="*/ 725827 w 4519987"/>
                    <a:gd name="connsiteY99" fmla="*/ 3876675 h 4496940"/>
                    <a:gd name="connsiteX100" fmla="*/ 697252 w 4519987"/>
                    <a:gd name="connsiteY100" fmla="*/ 3838575 h 4496940"/>
                    <a:gd name="connsiteX101" fmla="*/ 640102 w 4519987"/>
                    <a:gd name="connsiteY101" fmla="*/ 3781425 h 4496940"/>
                    <a:gd name="connsiteX102" fmla="*/ 611527 w 4519987"/>
                    <a:gd name="connsiteY102" fmla="*/ 3733800 h 4496940"/>
                    <a:gd name="connsiteX103" fmla="*/ 554377 w 4519987"/>
                    <a:gd name="connsiteY103" fmla="*/ 3657600 h 4496940"/>
                    <a:gd name="connsiteX104" fmla="*/ 525802 w 4519987"/>
                    <a:gd name="connsiteY104" fmla="*/ 3609975 h 4496940"/>
                    <a:gd name="connsiteX105" fmla="*/ 497227 w 4519987"/>
                    <a:gd name="connsiteY105" fmla="*/ 3552825 h 4496940"/>
                    <a:gd name="connsiteX106" fmla="*/ 440077 w 4519987"/>
                    <a:gd name="connsiteY106" fmla="*/ 3495675 h 4496940"/>
                    <a:gd name="connsiteX107" fmla="*/ 411502 w 4519987"/>
                    <a:gd name="connsiteY107" fmla="*/ 3448050 h 4496940"/>
                    <a:gd name="connsiteX108" fmla="*/ 278152 w 4519987"/>
                    <a:gd name="connsiteY108" fmla="*/ 3257550 h 4496940"/>
                    <a:gd name="connsiteX109" fmla="*/ 249577 w 4519987"/>
                    <a:gd name="connsiteY109" fmla="*/ 3200400 h 4496940"/>
                    <a:gd name="connsiteX110" fmla="*/ 240052 w 4519987"/>
                    <a:gd name="connsiteY110" fmla="*/ 3162300 h 4496940"/>
                    <a:gd name="connsiteX111" fmla="*/ 221002 w 4519987"/>
                    <a:gd name="connsiteY111" fmla="*/ 3105150 h 4496940"/>
                    <a:gd name="connsiteX112" fmla="*/ 173377 w 4519987"/>
                    <a:gd name="connsiteY112" fmla="*/ 3019425 h 4496940"/>
                    <a:gd name="connsiteX113" fmla="*/ 144802 w 4519987"/>
                    <a:gd name="connsiteY113" fmla="*/ 2924175 h 4496940"/>
                    <a:gd name="connsiteX114" fmla="*/ 68602 w 4519987"/>
                    <a:gd name="connsiteY114" fmla="*/ 2724150 h 4496940"/>
                    <a:gd name="connsiteX115" fmla="*/ 49552 w 4519987"/>
                    <a:gd name="connsiteY115" fmla="*/ 2638425 h 4496940"/>
                    <a:gd name="connsiteX116" fmla="*/ 40027 w 4519987"/>
                    <a:gd name="connsiteY116" fmla="*/ 2562225 h 4496940"/>
                    <a:gd name="connsiteX117" fmla="*/ 30502 w 4519987"/>
                    <a:gd name="connsiteY117" fmla="*/ 2514600 h 4496940"/>
                    <a:gd name="connsiteX118" fmla="*/ 11452 w 4519987"/>
                    <a:gd name="connsiteY118" fmla="*/ 2400300 h 4496940"/>
                    <a:gd name="connsiteX119" fmla="*/ 20977 w 4519987"/>
                    <a:gd name="connsiteY119" fmla="*/ 1905000 h 4496940"/>
                    <a:gd name="connsiteX120" fmla="*/ 30502 w 4519987"/>
                    <a:gd name="connsiteY120" fmla="*/ 1838325 h 4496940"/>
                    <a:gd name="connsiteX121" fmla="*/ 49552 w 4519987"/>
                    <a:gd name="connsiteY121" fmla="*/ 1781175 h 4496940"/>
                    <a:gd name="connsiteX122" fmla="*/ 59077 w 4519987"/>
                    <a:gd name="connsiteY122" fmla="*/ 1743075 h 4496940"/>
                    <a:gd name="connsiteX123" fmla="*/ 78127 w 4519987"/>
                    <a:gd name="connsiteY123" fmla="*/ 1685925 h 4496940"/>
                    <a:gd name="connsiteX124" fmla="*/ 87652 w 4519987"/>
                    <a:gd name="connsiteY124" fmla="*/ 1638300 h 4496940"/>
                    <a:gd name="connsiteX125" fmla="*/ 106702 w 4519987"/>
                    <a:gd name="connsiteY125" fmla="*/ 1590675 h 4496940"/>
                    <a:gd name="connsiteX126" fmla="*/ 135277 w 4519987"/>
                    <a:gd name="connsiteY126" fmla="*/ 1504950 h 4496940"/>
                    <a:gd name="connsiteX127" fmla="*/ 154327 w 4519987"/>
                    <a:gd name="connsiteY127" fmla="*/ 1419225 h 4496940"/>
                    <a:gd name="connsiteX128" fmla="*/ 230527 w 4519987"/>
                    <a:gd name="connsiteY128" fmla="*/ 1276350 h 4496940"/>
                    <a:gd name="connsiteX129" fmla="*/ 240052 w 4519987"/>
                    <a:gd name="connsiteY129" fmla="*/ 1247775 h 4496940"/>
                    <a:gd name="connsiteX130" fmla="*/ 268627 w 4519987"/>
                    <a:gd name="connsiteY130" fmla="*/ 1200150 h 4496940"/>
                    <a:gd name="connsiteX131" fmla="*/ 287677 w 4519987"/>
                    <a:gd name="connsiteY131" fmla="*/ 1152525 h 4496940"/>
                    <a:gd name="connsiteX132" fmla="*/ 316252 w 4519987"/>
                    <a:gd name="connsiteY132" fmla="*/ 1114425 h 4496940"/>
                    <a:gd name="connsiteX133" fmla="*/ 363877 w 4519987"/>
                    <a:gd name="connsiteY133" fmla="*/ 1038225 h 4496940"/>
                    <a:gd name="connsiteX134" fmla="*/ 382927 w 4519987"/>
                    <a:gd name="connsiteY134" fmla="*/ 1009650 h 4496940"/>
                    <a:gd name="connsiteX135" fmla="*/ 440077 w 4519987"/>
                    <a:gd name="connsiteY135" fmla="*/ 904875 h 4496940"/>
                    <a:gd name="connsiteX136" fmla="*/ 478177 w 4519987"/>
                    <a:gd name="connsiteY136" fmla="*/ 857250 h 4496940"/>
                    <a:gd name="connsiteX137" fmla="*/ 497227 w 4519987"/>
                    <a:gd name="connsiteY137" fmla="*/ 828675 h 4496940"/>
                    <a:gd name="connsiteX138" fmla="*/ 535327 w 4519987"/>
                    <a:gd name="connsiteY138" fmla="*/ 800100 h 4496940"/>
                    <a:gd name="connsiteX139" fmla="*/ 602002 w 4519987"/>
                    <a:gd name="connsiteY139" fmla="*/ 733425 h 4496940"/>
                    <a:gd name="connsiteX140" fmla="*/ 668677 w 4519987"/>
                    <a:gd name="connsiteY140" fmla="*/ 676275 h 4496940"/>
                    <a:gd name="connsiteX141" fmla="*/ 697252 w 4519987"/>
                    <a:gd name="connsiteY141" fmla="*/ 657225 h 4496940"/>
                    <a:gd name="connsiteX142" fmla="*/ 840127 w 4519987"/>
                    <a:gd name="connsiteY142" fmla="*/ 533400 h 4496940"/>
                    <a:gd name="connsiteX143" fmla="*/ 887752 w 4519987"/>
                    <a:gd name="connsiteY143" fmla="*/ 504825 h 4496940"/>
                    <a:gd name="connsiteX144" fmla="*/ 1167152 w 4519987"/>
                    <a:gd name="connsiteY144" fmla="*/ 311150 h 4496940"/>
                    <a:gd name="connsiteX145" fmla="*/ 1268752 w 4519987"/>
                    <a:gd name="connsiteY145" fmla="*/ 285750 h 4496940"/>
                    <a:gd name="connsiteX146" fmla="*/ 1411627 w 4519987"/>
                    <a:gd name="connsiteY146" fmla="*/ 190500 h 4496940"/>
                    <a:gd name="connsiteX147" fmla="*/ 1449727 w 4519987"/>
                    <a:gd name="connsiteY147" fmla="*/ 161925 h 4496940"/>
                    <a:gd name="connsiteX148" fmla="*/ 1525927 w 4519987"/>
                    <a:gd name="connsiteY148" fmla="*/ 152400 h 4496940"/>
                    <a:gd name="connsiteX149" fmla="*/ 1583077 w 4519987"/>
                    <a:gd name="connsiteY149" fmla="*/ 142875 h 4496940"/>
                    <a:gd name="connsiteX150" fmla="*/ 1716427 w 4519987"/>
                    <a:gd name="connsiteY150" fmla="*/ 123825 h 4496940"/>
                    <a:gd name="connsiteX151" fmla="*/ 1811677 w 4519987"/>
                    <a:gd name="connsiteY151" fmla="*/ 114300 h 4496940"/>
                    <a:gd name="connsiteX152" fmla="*/ 1859302 w 4519987"/>
                    <a:gd name="connsiteY152" fmla="*/ 104775 h 4496940"/>
                    <a:gd name="connsiteX153" fmla="*/ 1916452 w 4519987"/>
                    <a:gd name="connsiteY153" fmla="*/ 95250 h 4496940"/>
                    <a:gd name="connsiteX154" fmla="*/ 2030752 w 4519987"/>
                    <a:gd name="connsiteY154" fmla="*/ 66675 h 4496940"/>
                    <a:gd name="connsiteX155" fmla="*/ 2097427 w 4519987"/>
                    <a:gd name="connsiteY155" fmla="*/ 47625 h 4496940"/>
                    <a:gd name="connsiteX156" fmla="*/ 2164102 w 4519987"/>
                    <a:gd name="connsiteY156" fmla="*/ 38100 h 4496940"/>
                    <a:gd name="connsiteX157" fmla="*/ 2392702 w 4519987"/>
                    <a:gd name="connsiteY15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35777 w 4519987"/>
                    <a:gd name="connsiteY30" fmla="*/ 933450 h 4496940"/>
                    <a:gd name="connsiteX31" fmla="*/ 4164352 w 4519987"/>
                    <a:gd name="connsiteY31" fmla="*/ 990600 h 4496940"/>
                    <a:gd name="connsiteX32" fmla="*/ 4173877 w 4519987"/>
                    <a:gd name="connsiteY32" fmla="*/ 1019175 h 4496940"/>
                    <a:gd name="connsiteX33" fmla="*/ 4192927 w 4519987"/>
                    <a:gd name="connsiteY33" fmla="*/ 1057275 h 4496940"/>
                    <a:gd name="connsiteX34" fmla="*/ 4202452 w 4519987"/>
                    <a:gd name="connsiteY34" fmla="*/ 1085850 h 4496940"/>
                    <a:gd name="connsiteX35" fmla="*/ 4250077 w 4519987"/>
                    <a:gd name="connsiteY35" fmla="*/ 1143000 h 4496940"/>
                    <a:gd name="connsiteX36" fmla="*/ 4259602 w 4519987"/>
                    <a:gd name="connsiteY36" fmla="*/ 1190625 h 4496940"/>
                    <a:gd name="connsiteX37" fmla="*/ 4307227 w 4519987"/>
                    <a:gd name="connsiteY37" fmla="*/ 1266825 h 4496940"/>
                    <a:gd name="connsiteX38" fmla="*/ 4345327 w 4519987"/>
                    <a:gd name="connsiteY38" fmla="*/ 1362075 h 4496940"/>
                    <a:gd name="connsiteX39" fmla="*/ 4373902 w 4519987"/>
                    <a:gd name="connsiteY39" fmla="*/ 1428750 h 4496940"/>
                    <a:gd name="connsiteX40" fmla="*/ 4392952 w 4519987"/>
                    <a:gd name="connsiteY40" fmla="*/ 1552575 h 4496940"/>
                    <a:gd name="connsiteX41" fmla="*/ 4402477 w 4519987"/>
                    <a:gd name="connsiteY41" fmla="*/ 1590675 h 4496940"/>
                    <a:gd name="connsiteX42" fmla="*/ 4431052 w 4519987"/>
                    <a:gd name="connsiteY42" fmla="*/ 1685925 h 4496940"/>
                    <a:gd name="connsiteX43" fmla="*/ 4519952 w 4519987"/>
                    <a:gd name="connsiteY43" fmla="*/ 2181225 h 4496940"/>
                    <a:gd name="connsiteX44" fmla="*/ 4446927 w 4519987"/>
                    <a:gd name="connsiteY44" fmla="*/ 2768600 h 4496940"/>
                    <a:gd name="connsiteX45" fmla="*/ 4383427 w 4519987"/>
                    <a:gd name="connsiteY45" fmla="*/ 2990850 h 4496940"/>
                    <a:gd name="connsiteX46" fmla="*/ 4278652 w 4519987"/>
                    <a:gd name="connsiteY46" fmla="*/ 3248025 h 4496940"/>
                    <a:gd name="connsiteX47" fmla="*/ 4259602 w 4519987"/>
                    <a:gd name="connsiteY47" fmla="*/ 3276600 h 4496940"/>
                    <a:gd name="connsiteX48" fmla="*/ 4221502 w 4519987"/>
                    <a:gd name="connsiteY48" fmla="*/ 3333750 h 4496940"/>
                    <a:gd name="connsiteX49" fmla="*/ 4211977 w 4519987"/>
                    <a:gd name="connsiteY49" fmla="*/ 3362325 h 4496940"/>
                    <a:gd name="connsiteX50" fmla="*/ 4183402 w 4519987"/>
                    <a:gd name="connsiteY50" fmla="*/ 3400425 h 4496940"/>
                    <a:gd name="connsiteX51" fmla="*/ 4164352 w 4519987"/>
                    <a:gd name="connsiteY51" fmla="*/ 3429000 h 4496940"/>
                    <a:gd name="connsiteX52" fmla="*/ 4088152 w 4519987"/>
                    <a:gd name="connsiteY52" fmla="*/ 3495675 h 4496940"/>
                    <a:gd name="connsiteX53" fmla="*/ 4059577 w 4519987"/>
                    <a:gd name="connsiteY53" fmla="*/ 3533775 h 4496940"/>
                    <a:gd name="connsiteX54" fmla="*/ 4002427 w 4519987"/>
                    <a:gd name="connsiteY54" fmla="*/ 3600450 h 4496940"/>
                    <a:gd name="connsiteX55" fmla="*/ 3983377 w 4519987"/>
                    <a:gd name="connsiteY55" fmla="*/ 3629025 h 4496940"/>
                    <a:gd name="connsiteX56" fmla="*/ 3954802 w 4519987"/>
                    <a:gd name="connsiteY56" fmla="*/ 3648075 h 4496940"/>
                    <a:gd name="connsiteX57" fmla="*/ 3907177 w 4519987"/>
                    <a:gd name="connsiteY57" fmla="*/ 3686175 h 4496940"/>
                    <a:gd name="connsiteX58" fmla="*/ 3869077 w 4519987"/>
                    <a:gd name="connsiteY58" fmla="*/ 3724275 h 4496940"/>
                    <a:gd name="connsiteX59" fmla="*/ 3792877 w 4519987"/>
                    <a:gd name="connsiteY59" fmla="*/ 3781425 h 4496940"/>
                    <a:gd name="connsiteX60" fmla="*/ 3783352 w 4519987"/>
                    <a:gd name="connsiteY60" fmla="*/ 3810000 h 4496940"/>
                    <a:gd name="connsiteX61" fmla="*/ 3745252 w 4519987"/>
                    <a:gd name="connsiteY61" fmla="*/ 3819525 h 4496940"/>
                    <a:gd name="connsiteX62" fmla="*/ 3678577 w 4519987"/>
                    <a:gd name="connsiteY62" fmla="*/ 3848100 h 4496940"/>
                    <a:gd name="connsiteX63" fmla="*/ 3659527 w 4519987"/>
                    <a:gd name="connsiteY63" fmla="*/ 3971925 h 4496940"/>
                    <a:gd name="connsiteX64" fmla="*/ 3630952 w 4519987"/>
                    <a:gd name="connsiteY64" fmla="*/ 4010025 h 4496940"/>
                    <a:gd name="connsiteX65" fmla="*/ 3621427 w 4519987"/>
                    <a:gd name="connsiteY65" fmla="*/ 4038600 h 4496940"/>
                    <a:gd name="connsiteX66" fmla="*/ 3554752 w 4519987"/>
                    <a:gd name="connsiteY66" fmla="*/ 4095750 h 4496940"/>
                    <a:gd name="connsiteX67" fmla="*/ 3516652 w 4519987"/>
                    <a:gd name="connsiteY67" fmla="*/ 4114800 h 4496940"/>
                    <a:gd name="connsiteX68" fmla="*/ 3497602 w 4519987"/>
                    <a:gd name="connsiteY68" fmla="*/ 4143375 h 4496940"/>
                    <a:gd name="connsiteX69" fmla="*/ 3383302 w 4519987"/>
                    <a:gd name="connsiteY69" fmla="*/ 4210050 h 4496940"/>
                    <a:gd name="connsiteX70" fmla="*/ 3335677 w 4519987"/>
                    <a:gd name="connsiteY70" fmla="*/ 4238625 h 4496940"/>
                    <a:gd name="connsiteX71" fmla="*/ 3288052 w 4519987"/>
                    <a:gd name="connsiteY71" fmla="*/ 4248150 h 4496940"/>
                    <a:gd name="connsiteX72" fmla="*/ 3240427 w 4519987"/>
                    <a:gd name="connsiteY72" fmla="*/ 4267200 h 4496940"/>
                    <a:gd name="connsiteX73" fmla="*/ 3068977 w 4519987"/>
                    <a:gd name="connsiteY73" fmla="*/ 4286250 h 4496940"/>
                    <a:gd name="connsiteX74" fmla="*/ 2935627 w 4519987"/>
                    <a:gd name="connsiteY74" fmla="*/ 4333875 h 4496940"/>
                    <a:gd name="connsiteX75" fmla="*/ 2811802 w 4519987"/>
                    <a:gd name="connsiteY75" fmla="*/ 4371975 h 4496940"/>
                    <a:gd name="connsiteX76" fmla="*/ 2745127 w 4519987"/>
                    <a:gd name="connsiteY76" fmla="*/ 4410075 h 4496940"/>
                    <a:gd name="connsiteX77" fmla="*/ 2697502 w 4519987"/>
                    <a:gd name="connsiteY77" fmla="*/ 4429125 h 4496940"/>
                    <a:gd name="connsiteX78" fmla="*/ 2640352 w 4519987"/>
                    <a:gd name="connsiteY78" fmla="*/ 4457700 h 4496940"/>
                    <a:gd name="connsiteX79" fmla="*/ 2583202 w 4519987"/>
                    <a:gd name="connsiteY79" fmla="*/ 4467225 h 4496940"/>
                    <a:gd name="connsiteX80" fmla="*/ 2545102 w 4519987"/>
                    <a:gd name="connsiteY80" fmla="*/ 4486275 h 4496940"/>
                    <a:gd name="connsiteX81" fmla="*/ 2306977 w 4519987"/>
                    <a:gd name="connsiteY81" fmla="*/ 4476750 h 4496940"/>
                    <a:gd name="connsiteX82" fmla="*/ 2202202 w 4519987"/>
                    <a:gd name="connsiteY82" fmla="*/ 4457700 h 4496940"/>
                    <a:gd name="connsiteX83" fmla="*/ 2126002 w 4519987"/>
                    <a:gd name="connsiteY83" fmla="*/ 4429125 h 4496940"/>
                    <a:gd name="connsiteX84" fmla="*/ 1935502 w 4519987"/>
                    <a:gd name="connsiteY84" fmla="*/ 4400550 h 4496940"/>
                    <a:gd name="connsiteX85" fmla="*/ 1821202 w 4519987"/>
                    <a:gd name="connsiteY85" fmla="*/ 4371975 h 4496940"/>
                    <a:gd name="connsiteX86" fmla="*/ 1754527 w 4519987"/>
                    <a:gd name="connsiteY86" fmla="*/ 4352925 h 4496940"/>
                    <a:gd name="connsiteX87" fmla="*/ 1687852 w 4519987"/>
                    <a:gd name="connsiteY87" fmla="*/ 4343400 h 4496940"/>
                    <a:gd name="connsiteX88" fmla="*/ 1573552 w 4519987"/>
                    <a:gd name="connsiteY88" fmla="*/ 4305300 h 4496940"/>
                    <a:gd name="connsiteX89" fmla="*/ 1402102 w 4519987"/>
                    <a:gd name="connsiteY89" fmla="*/ 4276725 h 4496940"/>
                    <a:gd name="connsiteX90" fmla="*/ 1287802 w 4519987"/>
                    <a:gd name="connsiteY90" fmla="*/ 4229100 h 4496940"/>
                    <a:gd name="connsiteX91" fmla="*/ 1221127 w 4519987"/>
                    <a:gd name="connsiteY91" fmla="*/ 4200525 h 4496940"/>
                    <a:gd name="connsiteX92" fmla="*/ 1144927 w 4519987"/>
                    <a:gd name="connsiteY92" fmla="*/ 4171950 h 4496940"/>
                    <a:gd name="connsiteX93" fmla="*/ 1087777 w 4519987"/>
                    <a:gd name="connsiteY93" fmla="*/ 4143375 h 4496940"/>
                    <a:gd name="connsiteX94" fmla="*/ 1030627 w 4519987"/>
                    <a:gd name="connsiteY94" fmla="*/ 4124325 h 4496940"/>
                    <a:gd name="connsiteX95" fmla="*/ 925852 w 4519987"/>
                    <a:gd name="connsiteY95" fmla="*/ 4067175 h 4496940"/>
                    <a:gd name="connsiteX96" fmla="*/ 830602 w 4519987"/>
                    <a:gd name="connsiteY96" fmla="*/ 3981450 h 4496940"/>
                    <a:gd name="connsiteX97" fmla="*/ 763927 w 4519987"/>
                    <a:gd name="connsiteY97" fmla="*/ 3914775 h 4496940"/>
                    <a:gd name="connsiteX98" fmla="*/ 725827 w 4519987"/>
                    <a:gd name="connsiteY98" fmla="*/ 3876675 h 4496940"/>
                    <a:gd name="connsiteX99" fmla="*/ 697252 w 4519987"/>
                    <a:gd name="connsiteY99" fmla="*/ 3838575 h 4496940"/>
                    <a:gd name="connsiteX100" fmla="*/ 640102 w 4519987"/>
                    <a:gd name="connsiteY100" fmla="*/ 3781425 h 4496940"/>
                    <a:gd name="connsiteX101" fmla="*/ 611527 w 4519987"/>
                    <a:gd name="connsiteY101" fmla="*/ 3733800 h 4496940"/>
                    <a:gd name="connsiteX102" fmla="*/ 554377 w 4519987"/>
                    <a:gd name="connsiteY102" fmla="*/ 3657600 h 4496940"/>
                    <a:gd name="connsiteX103" fmla="*/ 525802 w 4519987"/>
                    <a:gd name="connsiteY103" fmla="*/ 3609975 h 4496940"/>
                    <a:gd name="connsiteX104" fmla="*/ 497227 w 4519987"/>
                    <a:gd name="connsiteY104" fmla="*/ 3552825 h 4496940"/>
                    <a:gd name="connsiteX105" fmla="*/ 440077 w 4519987"/>
                    <a:gd name="connsiteY105" fmla="*/ 3495675 h 4496940"/>
                    <a:gd name="connsiteX106" fmla="*/ 411502 w 4519987"/>
                    <a:gd name="connsiteY106" fmla="*/ 3448050 h 4496940"/>
                    <a:gd name="connsiteX107" fmla="*/ 278152 w 4519987"/>
                    <a:gd name="connsiteY107" fmla="*/ 3257550 h 4496940"/>
                    <a:gd name="connsiteX108" fmla="*/ 249577 w 4519987"/>
                    <a:gd name="connsiteY108" fmla="*/ 3200400 h 4496940"/>
                    <a:gd name="connsiteX109" fmla="*/ 240052 w 4519987"/>
                    <a:gd name="connsiteY109" fmla="*/ 3162300 h 4496940"/>
                    <a:gd name="connsiteX110" fmla="*/ 221002 w 4519987"/>
                    <a:gd name="connsiteY110" fmla="*/ 3105150 h 4496940"/>
                    <a:gd name="connsiteX111" fmla="*/ 173377 w 4519987"/>
                    <a:gd name="connsiteY111" fmla="*/ 3019425 h 4496940"/>
                    <a:gd name="connsiteX112" fmla="*/ 144802 w 4519987"/>
                    <a:gd name="connsiteY112" fmla="*/ 2924175 h 4496940"/>
                    <a:gd name="connsiteX113" fmla="*/ 68602 w 4519987"/>
                    <a:gd name="connsiteY113" fmla="*/ 2724150 h 4496940"/>
                    <a:gd name="connsiteX114" fmla="*/ 49552 w 4519987"/>
                    <a:gd name="connsiteY114" fmla="*/ 2638425 h 4496940"/>
                    <a:gd name="connsiteX115" fmla="*/ 40027 w 4519987"/>
                    <a:gd name="connsiteY115" fmla="*/ 2562225 h 4496940"/>
                    <a:gd name="connsiteX116" fmla="*/ 30502 w 4519987"/>
                    <a:gd name="connsiteY116" fmla="*/ 2514600 h 4496940"/>
                    <a:gd name="connsiteX117" fmla="*/ 11452 w 4519987"/>
                    <a:gd name="connsiteY117" fmla="*/ 2400300 h 4496940"/>
                    <a:gd name="connsiteX118" fmla="*/ 20977 w 4519987"/>
                    <a:gd name="connsiteY118" fmla="*/ 1905000 h 4496940"/>
                    <a:gd name="connsiteX119" fmla="*/ 30502 w 4519987"/>
                    <a:gd name="connsiteY119" fmla="*/ 1838325 h 4496940"/>
                    <a:gd name="connsiteX120" fmla="*/ 49552 w 4519987"/>
                    <a:gd name="connsiteY120" fmla="*/ 1781175 h 4496940"/>
                    <a:gd name="connsiteX121" fmla="*/ 59077 w 4519987"/>
                    <a:gd name="connsiteY121" fmla="*/ 1743075 h 4496940"/>
                    <a:gd name="connsiteX122" fmla="*/ 78127 w 4519987"/>
                    <a:gd name="connsiteY122" fmla="*/ 1685925 h 4496940"/>
                    <a:gd name="connsiteX123" fmla="*/ 87652 w 4519987"/>
                    <a:gd name="connsiteY123" fmla="*/ 1638300 h 4496940"/>
                    <a:gd name="connsiteX124" fmla="*/ 106702 w 4519987"/>
                    <a:gd name="connsiteY124" fmla="*/ 1590675 h 4496940"/>
                    <a:gd name="connsiteX125" fmla="*/ 135277 w 4519987"/>
                    <a:gd name="connsiteY125" fmla="*/ 1504950 h 4496940"/>
                    <a:gd name="connsiteX126" fmla="*/ 154327 w 4519987"/>
                    <a:gd name="connsiteY126" fmla="*/ 1419225 h 4496940"/>
                    <a:gd name="connsiteX127" fmla="*/ 230527 w 4519987"/>
                    <a:gd name="connsiteY127" fmla="*/ 1276350 h 4496940"/>
                    <a:gd name="connsiteX128" fmla="*/ 240052 w 4519987"/>
                    <a:gd name="connsiteY128" fmla="*/ 1247775 h 4496940"/>
                    <a:gd name="connsiteX129" fmla="*/ 268627 w 4519987"/>
                    <a:gd name="connsiteY129" fmla="*/ 1200150 h 4496940"/>
                    <a:gd name="connsiteX130" fmla="*/ 287677 w 4519987"/>
                    <a:gd name="connsiteY130" fmla="*/ 1152525 h 4496940"/>
                    <a:gd name="connsiteX131" fmla="*/ 316252 w 4519987"/>
                    <a:gd name="connsiteY131" fmla="*/ 1114425 h 4496940"/>
                    <a:gd name="connsiteX132" fmla="*/ 363877 w 4519987"/>
                    <a:gd name="connsiteY132" fmla="*/ 1038225 h 4496940"/>
                    <a:gd name="connsiteX133" fmla="*/ 382927 w 4519987"/>
                    <a:gd name="connsiteY133" fmla="*/ 1009650 h 4496940"/>
                    <a:gd name="connsiteX134" fmla="*/ 440077 w 4519987"/>
                    <a:gd name="connsiteY134" fmla="*/ 904875 h 4496940"/>
                    <a:gd name="connsiteX135" fmla="*/ 478177 w 4519987"/>
                    <a:gd name="connsiteY135" fmla="*/ 857250 h 4496940"/>
                    <a:gd name="connsiteX136" fmla="*/ 497227 w 4519987"/>
                    <a:gd name="connsiteY136" fmla="*/ 828675 h 4496940"/>
                    <a:gd name="connsiteX137" fmla="*/ 535327 w 4519987"/>
                    <a:gd name="connsiteY137" fmla="*/ 800100 h 4496940"/>
                    <a:gd name="connsiteX138" fmla="*/ 602002 w 4519987"/>
                    <a:gd name="connsiteY138" fmla="*/ 733425 h 4496940"/>
                    <a:gd name="connsiteX139" fmla="*/ 668677 w 4519987"/>
                    <a:gd name="connsiteY139" fmla="*/ 676275 h 4496940"/>
                    <a:gd name="connsiteX140" fmla="*/ 697252 w 4519987"/>
                    <a:gd name="connsiteY140" fmla="*/ 657225 h 4496940"/>
                    <a:gd name="connsiteX141" fmla="*/ 840127 w 4519987"/>
                    <a:gd name="connsiteY141" fmla="*/ 533400 h 4496940"/>
                    <a:gd name="connsiteX142" fmla="*/ 887752 w 4519987"/>
                    <a:gd name="connsiteY142" fmla="*/ 504825 h 4496940"/>
                    <a:gd name="connsiteX143" fmla="*/ 1167152 w 4519987"/>
                    <a:gd name="connsiteY143" fmla="*/ 311150 h 4496940"/>
                    <a:gd name="connsiteX144" fmla="*/ 1268752 w 4519987"/>
                    <a:gd name="connsiteY144" fmla="*/ 285750 h 4496940"/>
                    <a:gd name="connsiteX145" fmla="*/ 1411627 w 4519987"/>
                    <a:gd name="connsiteY145" fmla="*/ 190500 h 4496940"/>
                    <a:gd name="connsiteX146" fmla="*/ 1449727 w 4519987"/>
                    <a:gd name="connsiteY146" fmla="*/ 161925 h 4496940"/>
                    <a:gd name="connsiteX147" fmla="*/ 1525927 w 4519987"/>
                    <a:gd name="connsiteY147" fmla="*/ 152400 h 4496940"/>
                    <a:gd name="connsiteX148" fmla="*/ 1583077 w 4519987"/>
                    <a:gd name="connsiteY148" fmla="*/ 142875 h 4496940"/>
                    <a:gd name="connsiteX149" fmla="*/ 1716427 w 4519987"/>
                    <a:gd name="connsiteY149" fmla="*/ 123825 h 4496940"/>
                    <a:gd name="connsiteX150" fmla="*/ 1811677 w 4519987"/>
                    <a:gd name="connsiteY150" fmla="*/ 114300 h 4496940"/>
                    <a:gd name="connsiteX151" fmla="*/ 1859302 w 4519987"/>
                    <a:gd name="connsiteY151" fmla="*/ 104775 h 4496940"/>
                    <a:gd name="connsiteX152" fmla="*/ 1916452 w 4519987"/>
                    <a:gd name="connsiteY152" fmla="*/ 95250 h 4496940"/>
                    <a:gd name="connsiteX153" fmla="*/ 2030752 w 4519987"/>
                    <a:gd name="connsiteY153" fmla="*/ 66675 h 4496940"/>
                    <a:gd name="connsiteX154" fmla="*/ 2097427 w 4519987"/>
                    <a:gd name="connsiteY154" fmla="*/ 47625 h 4496940"/>
                    <a:gd name="connsiteX155" fmla="*/ 2164102 w 4519987"/>
                    <a:gd name="connsiteY155" fmla="*/ 38100 h 4496940"/>
                    <a:gd name="connsiteX156" fmla="*/ 2392702 w 4519987"/>
                    <a:gd name="connsiteY15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35777 w 4519987"/>
                    <a:gd name="connsiteY29" fmla="*/ 933450 h 4496940"/>
                    <a:gd name="connsiteX30" fmla="*/ 4164352 w 4519987"/>
                    <a:gd name="connsiteY30" fmla="*/ 990600 h 4496940"/>
                    <a:gd name="connsiteX31" fmla="*/ 4173877 w 4519987"/>
                    <a:gd name="connsiteY31" fmla="*/ 1019175 h 4496940"/>
                    <a:gd name="connsiteX32" fmla="*/ 4192927 w 4519987"/>
                    <a:gd name="connsiteY32" fmla="*/ 1057275 h 4496940"/>
                    <a:gd name="connsiteX33" fmla="*/ 4202452 w 4519987"/>
                    <a:gd name="connsiteY33" fmla="*/ 1085850 h 4496940"/>
                    <a:gd name="connsiteX34" fmla="*/ 4250077 w 4519987"/>
                    <a:gd name="connsiteY34" fmla="*/ 1143000 h 4496940"/>
                    <a:gd name="connsiteX35" fmla="*/ 4259602 w 4519987"/>
                    <a:gd name="connsiteY35" fmla="*/ 1190625 h 4496940"/>
                    <a:gd name="connsiteX36" fmla="*/ 4307227 w 4519987"/>
                    <a:gd name="connsiteY36" fmla="*/ 1266825 h 4496940"/>
                    <a:gd name="connsiteX37" fmla="*/ 4345327 w 4519987"/>
                    <a:gd name="connsiteY37" fmla="*/ 1362075 h 4496940"/>
                    <a:gd name="connsiteX38" fmla="*/ 4373902 w 4519987"/>
                    <a:gd name="connsiteY38" fmla="*/ 1428750 h 4496940"/>
                    <a:gd name="connsiteX39" fmla="*/ 4392952 w 4519987"/>
                    <a:gd name="connsiteY39" fmla="*/ 1552575 h 4496940"/>
                    <a:gd name="connsiteX40" fmla="*/ 4402477 w 4519987"/>
                    <a:gd name="connsiteY40" fmla="*/ 1590675 h 4496940"/>
                    <a:gd name="connsiteX41" fmla="*/ 4431052 w 4519987"/>
                    <a:gd name="connsiteY41" fmla="*/ 1685925 h 4496940"/>
                    <a:gd name="connsiteX42" fmla="*/ 4519952 w 4519987"/>
                    <a:gd name="connsiteY42" fmla="*/ 2181225 h 4496940"/>
                    <a:gd name="connsiteX43" fmla="*/ 4446927 w 4519987"/>
                    <a:gd name="connsiteY43" fmla="*/ 2768600 h 4496940"/>
                    <a:gd name="connsiteX44" fmla="*/ 4383427 w 4519987"/>
                    <a:gd name="connsiteY44" fmla="*/ 2990850 h 4496940"/>
                    <a:gd name="connsiteX45" fmla="*/ 4278652 w 4519987"/>
                    <a:gd name="connsiteY45" fmla="*/ 3248025 h 4496940"/>
                    <a:gd name="connsiteX46" fmla="*/ 4259602 w 4519987"/>
                    <a:gd name="connsiteY46" fmla="*/ 3276600 h 4496940"/>
                    <a:gd name="connsiteX47" fmla="*/ 4221502 w 4519987"/>
                    <a:gd name="connsiteY47" fmla="*/ 3333750 h 4496940"/>
                    <a:gd name="connsiteX48" fmla="*/ 4211977 w 4519987"/>
                    <a:gd name="connsiteY48" fmla="*/ 3362325 h 4496940"/>
                    <a:gd name="connsiteX49" fmla="*/ 4183402 w 4519987"/>
                    <a:gd name="connsiteY49" fmla="*/ 3400425 h 4496940"/>
                    <a:gd name="connsiteX50" fmla="*/ 4164352 w 4519987"/>
                    <a:gd name="connsiteY50" fmla="*/ 3429000 h 4496940"/>
                    <a:gd name="connsiteX51" fmla="*/ 4088152 w 4519987"/>
                    <a:gd name="connsiteY51" fmla="*/ 3495675 h 4496940"/>
                    <a:gd name="connsiteX52" fmla="*/ 4059577 w 4519987"/>
                    <a:gd name="connsiteY52" fmla="*/ 3533775 h 4496940"/>
                    <a:gd name="connsiteX53" fmla="*/ 4002427 w 4519987"/>
                    <a:gd name="connsiteY53" fmla="*/ 3600450 h 4496940"/>
                    <a:gd name="connsiteX54" fmla="*/ 3983377 w 4519987"/>
                    <a:gd name="connsiteY54" fmla="*/ 3629025 h 4496940"/>
                    <a:gd name="connsiteX55" fmla="*/ 3954802 w 4519987"/>
                    <a:gd name="connsiteY55" fmla="*/ 3648075 h 4496940"/>
                    <a:gd name="connsiteX56" fmla="*/ 3907177 w 4519987"/>
                    <a:gd name="connsiteY56" fmla="*/ 3686175 h 4496940"/>
                    <a:gd name="connsiteX57" fmla="*/ 3869077 w 4519987"/>
                    <a:gd name="connsiteY57" fmla="*/ 3724275 h 4496940"/>
                    <a:gd name="connsiteX58" fmla="*/ 3792877 w 4519987"/>
                    <a:gd name="connsiteY58" fmla="*/ 3781425 h 4496940"/>
                    <a:gd name="connsiteX59" fmla="*/ 3783352 w 4519987"/>
                    <a:gd name="connsiteY59" fmla="*/ 3810000 h 4496940"/>
                    <a:gd name="connsiteX60" fmla="*/ 3745252 w 4519987"/>
                    <a:gd name="connsiteY60" fmla="*/ 3819525 h 4496940"/>
                    <a:gd name="connsiteX61" fmla="*/ 3678577 w 4519987"/>
                    <a:gd name="connsiteY61" fmla="*/ 3848100 h 4496940"/>
                    <a:gd name="connsiteX62" fmla="*/ 3659527 w 4519987"/>
                    <a:gd name="connsiteY62" fmla="*/ 3971925 h 4496940"/>
                    <a:gd name="connsiteX63" fmla="*/ 3630952 w 4519987"/>
                    <a:gd name="connsiteY63" fmla="*/ 4010025 h 4496940"/>
                    <a:gd name="connsiteX64" fmla="*/ 3621427 w 4519987"/>
                    <a:gd name="connsiteY64" fmla="*/ 4038600 h 4496940"/>
                    <a:gd name="connsiteX65" fmla="*/ 3554752 w 4519987"/>
                    <a:gd name="connsiteY65" fmla="*/ 4095750 h 4496940"/>
                    <a:gd name="connsiteX66" fmla="*/ 3516652 w 4519987"/>
                    <a:gd name="connsiteY66" fmla="*/ 4114800 h 4496940"/>
                    <a:gd name="connsiteX67" fmla="*/ 3497602 w 4519987"/>
                    <a:gd name="connsiteY67" fmla="*/ 4143375 h 4496940"/>
                    <a:gd name="connsiteX68" fmla="*/ 3383302 w 4519987"/>
                    <a:gd name="connsiteY68" fmla="*/ 4210050 h 4496940"/>
                    <a:gd name="connsiteX69" fmla="*/ 3335677 w 4519987"/>
                    <a:gd name="connsiteY69" fmla="*/ 4238625 h 4496940"/>
                    <a:gd name="connsiteX70" fmla="*/ 3288052 w 4519987"/>
                    <a:gd name="connsiteY70" fmla="*/ 4248150 h 4496940"/>
                    <a:gd name="connsiteX71" fmla="*/ 3240427 w 4519987"/>
                    <a:gd name="connsiteY71" fmla="*/ 4267200 h 4496940"/>
                    <a:gd name="connsiteX72" fmla="*/ 3068977 w 4519987"/>
                    <a:gd name="connsiteY72" fmla="*/ 4286250 h 4496940"/>
                    <a:gd name="connsiteX73" fmla="*/ 2935627 w 4519987"/>
                    <a:gd name="connsiteY73" fmla="*/ 4333875 h 4496940"/>
                    <a:gd name="connsiteX74" fmla="*/ 2811802 w 4519987"/>
                    <a:gd name="connsiteY74" fmla="*/ 4371975 h 4496940"/>
                    <a:gd name="connsiteX75" fmla="*/ 2745127 w 4519987"/>
                    <a:gd name="connsiteY75" fmla="*/ 4410075 h 4496940"/>
                    <a:gd name="connsiteX76" fmla="*/ 2697502 w 4519987"/>
                    <a:gd name="connsiteY76" fmla="*/ 4429125 h 4496940"/>
                    <a:gd name="connsiteX77" fmla="*/ 2640352 w 4519987"/>
                    <a:gd name="connsiteY77" fmla="*/ 4457700 h 4496940"/>
                    <a:gd name="connsiteX78" fmla="*/ 2583202 w 4519987"/>
                    <a:gd name="connsiteY78" fmla="*/ 4467225 h 4496940"/>
                    <a:gd name="connsiteX79" fmla="*/ 2545102 w 4519987"/>
                    <a:gd name="connsiteY79" fmla="*/ 4486275 h 4496940"/>
                    <a:gd name="connsiteX80" fmla="*/ 2306977 w 4519987"/>
                    <a:gd name="connsiteY80" fmla="*/ 4476750 h 4496940"/>
                    <a:gd name="connsiteX81" fmla="*/ 2202202 w 4519987"/>
                    <a:gd name="connsiteY81" fmla="*/ 4457700 h 4496940"/>
                    <a:gd name="connsiteX82" fmla="*/ 2126002 w 4519987"/>
                    <a:gd name="connsiteY82" fmla="*/ 4429125 h 4496940"/>
                    <a:gd name="connsiteX83" fmla="*/ 1935502 w 4519987"/>
                    <a:gd name="connsiteY83" fmla="*/ 4400550 h 4496940"/>
                    <a:gd name="connsiteX84" fmla="*/ 1821202 w 4519987"/>
                    <a:gd name="connsiteY84" fmla="*/ 4371975 h 4496940"/>
                    <a:gd name="connsiteX85" fmla="*/ 1754527 w 4519987"/>
                    <a:gd name="connsiteY85" fmla="*/ 4352925 h 4496940"/>
                    <a:gd name="connsiteX86" fmla="*/ 1687852 w 4519987"/>
                    <a:gd name="connsiteY86" fmla="*/ 4343400 h 4496940"/>
                    <a:gd name="connsiteX87" fmla="*/ 1573552 w 4519987"/>
                    <a:gd name="connsiteY87" fmla="*/ 4305300 h 4496940"/>
                    <a:gd name="connsiteX88" fmla="*/ 1402102 w 4519987"/>
                    <a:gd name="connsiteY88" fmla="*/ 4276725 h 4496940"/>
                    <a:gd name="connsiteX89" fmla="*/ 1287802 w 4519987"/>
                    <a:gd name="connsiteY89" fmla="*/ 4229100 h 4496940"/>
                    <a:gd name="connsiteX90" fmla="*/ 1221127 w 4519987"/>
                    <a:gd name="connsiteY90" fmla="*/ 4200525 h 4496940"/>
                    <a:gd name="connsiteX91" fmla="*/ 1144927 w 4519987"/>
                    <a:gd name="connsiteY91" fmla="*/ 4171950 h 4496940"/>
                    <a:gd name="connsiteX92" fmla="*/ 1087777 w 4519987"/>
                    <a:gd name="connsiteY92" fmla="*/ 4143375 h 4496940"/>
                    <a:gd name="connsiteX93" fmla="*/ 1030627 w 4519987"/>
                    <a:gd name="connsiteY93" fmla="*/ 4124325 h 4496940"/>
                    <a:gd name="connsiteX94" fmla="*/ 925852 w 4519987"/>
                    <a:gd name="connsiteY94" fmla="*/ 4067175 h 4496940"/>
                    <a:gd name="connsiteX95" fmla="*/ 830602 w 4519987"/>
                    <a:gd name="connsiteY95" fmla="*/ 3981450 h 4496940"/>
                    <a:gd name="connsiteX96" fmla="*/ 763927 w 4519987"/>
                    <a:gd name="connsiteY96" fmla="*/ 3914775 h 4496940"/>
                    <a:gd name="connsiteX97" fmla="*/ 725827 w 4519987"/>
                    <a:gd name="connsiteY97" fmla="*/ 3876675 h 4496940"/>
                    <a:gd name="connsiteX98" fmla="*/ 697252 w 4519987"/>
                    <a:gd name="connsiteY98" fmla="*/ 3838575 h 4496940"/>
                    <a:gd name="connsiteX99" fmla="*/ 640102 w 4519987"/>
                    <a:gd name="connsiteY99" fmla="*/ 3781425 h 4496940"/>
                    <a:gd name="connsiteX100" fmla="*/ 611527 w 4519987"/>
                    <a:gd name="connsiteY100" fmla="*/ 3733800 h 4496940"/>
                    <a:gd name="connsiteX101" fmla="*/ 554377 w 4519987"/>
                    <a:gd name="connsiteY101" fmla="*/ 3657600 h 4496940"/>
                    <a:gd name="connsiteX102" fmla="*/ 525802 w 4519987"/>
                    <a:gd name="connsiteY102" fmla="*/ 3609975 h 4496940"/>
                    <a:gd name="connsiteX103" fmla="*/ 497227 w 4519987"/>
                    <a:gd name="connsiteY103" fmla="*/ 3552825 h 4496940"/>
                    <a:gd name="connsiteX104" fmla="*/ 440077 w 4519987"/>
                    <a:gd name="connsiteY104" fmla="*/ 3495675 h 4496940"/>
                    <a:gd name="connsiteX105" fmla="*/ 411502 w 4519987"/>
                    <a:gd name="connsiteY105" fmla="*/ 3448050 h 4496940"/>
                    <a:gd name="connsiteX106" fmla="*/ 278152 w 4519987"/>
                    <a:gd name="connsiteY106" fmla="*/ 3257550 h 4496940"/>
                    <a:gd name="connsiteX107" fmla="*/ 249577 w 4519987"/>
                    <a:gd name="connsiteY107" fmla="*/ 3200400 h 4496940"/>
                    <a:gd name="connsiteX108" fmla="*/ 240052 w 4519987"/>
                    <a:gd name="connsiteY108" fmla="*/ 3162300 h 4496940"/>
                    <a:gd name="connsiteX109" fmla="*/ 221002 w 4519987"/>
                    <a:gd name="connsiteY109" fmla="*/ 3105150 h 4496940"/>
                    <a:gd name="connsiteX110" fmla="*/ 173377 w 4519987"/>
                    <a:gd name="connsiteY110" fmla="*/ 3019425 h 4496940"/>
                    <a:gd name="connsiteX111" fmla="*/ 144802 w 4519987"/>
                    <a:gd name="connsiteY111" fmla="*/ 2924175 h 4496940"/>
                    <a:gd name="connsiteX112" fmla="*/ 68602 w 4519987"/>
                    <a:gd name="connsiteY112" fmla="*/ 2724150 h 4496940"/>
                    <a:gd name="connsiteX113" fmla="*/ 49552 w 4519987"/>
                    <a:gd name="connsiteY113" fmla="*/ 2638425 h 4496940"/>
                    <a:gd name="connsiteX114" fmla="*/ 40027 w 4519987"/>
                    <a:gd name="connsiteY114" fmla="*/ 2562225 h 4496940"/>
                    <a:gd name="connsiteX115" fmla="*/ 30502 w 4519987"/>
                    <a:gd name="connsiteY115" fmla="*/ 2514600 h 4496940"/>
                    <a:gd name="connsiteX116" fmla="*/ 11452 w 4519987"/>
                    <a:gd name="connsiteY116" fmla="*/ 2400300 h 4496940"/>
                    <a:gd name="connsiteX117" fmla="*/ 20977 w 4519987"/>
                    <a:gd name="connsiteY117" fmla="*/ 1905000 h 4496940"/>
                    <a:gd name="connsiteX118" fmla="*/ 30502 w 4519987"/>
                    <a:gd name="connsiteY118" fmla="*/ 1838325 h 4496940"/>
                    <a:gd name="connsiteX119" fmla="*/ 49552 w 4519987"/>
                    <a:gd name="connsiteY119" fmla="*/ 1781175 h 4496940"/>
                    <a:gd name="connsiteX120" fmla="*/ 59077 w 4519987"/>
                    <a:gd name="connsiteY120" fmla="*/ 1743075 h 4496940"/>
                    <a:gd name="connsiteX121" fmla="*/ 78127 w 4519987"/>
                    <a:gd name="connsiteY121" fmla="*/ 1685925 h 4496940"/>
                    <a:gd name="connsiteX122" fmla="*/ 87652 w 4519987"/>
                    <a:gd name="connsiteY122" fmla="*/ 1638300 h 4496940"/>
                    <a:gd name="connsiteX123" fmla="*/ 106702 w 4519987"/>
                    <a:gd name="connsiteY123" fmla="*/ 1590675 h 4496940"/>
                    <a:gd name="connsiteX124" fmla="*/ 135277 w 4519987"/>
                    <a:gd name="connsiteY124" fmla="*/ 1504950 h 4496940"/>
                    <a:gd name="connsiteX125" fmla="*/ 154327 w 4519987"/>
                    <a:gd name="connsiteY125" fmla="*/ 1419225 h 4496940"/>
                    <a:gd name="connsiteX126" fmla="*/ 230527 w 4519987"/>
                    <a:gd name="connsiteY126" fmla="*/ 1276350 h 4496940"/>
                    <a:gd name="connsiteX127" fmla="*/ 240052 w 4519987"/>
                    <a:gd name="connsiteY127" fmla="*/ 1247775 h 4496940"/>
                    <a:gd name="connsiteX128" fmla="*/ 268627 w 4519987"/>
                    <a:gd name="connsiteY128" fmla="*/ 1200150 h 4496940"/>
                    <a:gd name="connsiteX129" fmla="*/ 287677 w 4519987"/>
                    <a:gd name="connsiteY129" fmla="*/ 1152525 h 4496940"/>
                    <a:gd name="connsiteX130" fmla="*/ 316252 w 4519987"/>
                    <a:gd name="connsiteY130" fmla="*/ 1114425 h 4496940"/>
                    <a:gd name="connsiteX131" fmla="*/ 363877 w 4519987"/>
                    <a:gd name="connsiteY131" fmla="*/ 1038225 h 4496940"/>
                    <a:gd name="connsiteX132" fmla="*/ 382927 w 4519987"/>
                    <a:gd name="connsiteY132" fmla="*/ 1009650 h 4496940"/>
                    <a:gd name="connsiteX133" fmla="*/ 440077 w 4519987"/>
                    <a:gd name="connsiteY133" fmla="*/ 904875 h 4496940"/>
                    <a:gd name="connsiteX134" fmla="*/ 478177 w 4519987"/>
                    <a:gd name="connsiteY134" fmla="*/ 857250 h 4496940"/>
                    <a:gd name="connsiteX135" fmla="*/ 497227 w 4519987"/>
                    <a:gd name="connsiteY135" fmla="*/ 828675 h 4496940"/>
                    <a:gd name="connsiteX136" fmla="*/ 535327 w 4519987"/>
                    <a:gd name="connsiteY136" fmla="*/ 800100 h 4496940"/>
                    <a:gd name="connsiteX137" fmla="*/ 602002 w 4519987"/>
                    <a:gd name="connsiteY137" fmla="*/ 733425 h 4496940"/>
                    <a:gd name="connsiteX138" fmla="*/ 668677 w 4519987"/>
                    <a:gd name="connsiteY138" fmla="*/ 676275 h 4496940"/>
                    <a:gd name="connsiteX139" fmla="*/ 697252 w 4519987"/>
                    <a:gd name="connsiteY139" fmla="*/ 657225 h 4496940"/>
                    <a:gd name="connsiteX140" fmla="*/ 840127 w 4519987"/>
                    <a:gd name="connsiteY140" fmla="*/ 533400 h 4496940"/>
                    <a:gd name="connsiteX141" fmla="*/ 887752 w 4519987"/>
                    <a:gd name="connsiteY141" fmla="*/ 504825 h 4496940"/>
                    <a:gd name="connsiteX142" fmla="*/ 1167152 w 4519987"/>
                    <a:gd name="connsiteY142" fmla="*/ 311150 h 4496940"/>
                    <a:gd name="connsiteX143" fmla="*/ 1268752 w 4519987"/>
                    <a:gd name="connsiteY143" fmla="*/ 285750 h 4496940"/>
                    <a:gd name="connsiteX144" fmla="*/ 1411627 w 4519987"/>
                    <a:gd name="connsiteY144" fmla="*/ 190500 h 4496940"/>
                    <a:gd name="connsiteX145" fmla="*/ 1449727 w 4519987"/>
                    <a:gd name="connsiteY145" fmla="*/ 161925 h 4496940"/>
                    <a:gd name="connsiteX146" fmla="*/ 1525927 w 4519987"/>
                    <a:gd name="connsiteY146" fmla="*/ 152400 h 4496940"/>
                    <a:gd name="connsiteX147" fmla="*/ 1583077 w 4519987"/>
                    <a:gd name="connsiteY147" fmla="*/ 142875 h 4496940"/>
                    <a:gd name="connsiteX148" fmla="*/ 1716427 w 4519987"/>
                    <a:gd name="connsiteY148" fmla="*/ 123825 h 4496940"/>
                    <a:gd name="connsiteX149" fmla="*/ 1811677 w 4519987"/>
                    <a:gd name="connsiteY149" fmla="*/ 114300 h 4496940"/>
                    <a:gd name="connsiteX150" fmla="*/ 1859302 w 4519987"/>
                    <a:gd name="connsiteY150" fmla="*/ 104775 h 4496940"/>
                    <a:gd name="connsiteX151" fmla="*/ 1916452 w 4519987"/>
                    <a:gd name="connsiteY151" fmla="*/ 95250 h 4496940"/>
                    <a:gd name="connsiteX152" fmla="*/ 2030752 w 4519987"/>
                    <a:gd name="connsiteY152" fmla="*/ 66675 h 4496940"/>
                    <a:gd name="connsiteX153" fmla="*/ 2097427 w 4519987"/>
                    <a:gd name="connsiteY153" fmla="*/ 47625 h 4496940"/>
                    <a:gd name="connsiteX154" fmla="*/ 2164102 w 4519987"/>
                    <a:gd name="connsiteY154" fmla="*/ 38100 h 4496940"/>
                    <a:gd name="connsiteX155" fmla="*/ 2392702 w 4519987"/>
                    <a:gd name="connsiteY15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907177 w 4519987"/>
                    <a:gd name="connsiteY25" fmla="*/ 647700 h 4496940"/>
                    <a:gd name="connsiteX26" fmla="*/ 3935752 w 4519987"/>
                    <a:gd name="connsiteY26" fmla="*/ 676275 h 4496940"/>
                    <a:gd name="connsiteX27" fmla="*/ 4078627 w 4519987"/>
                    <a:gd name="connsiteY27" fmla="*/ 838200 h 4496940"/>
                    <a:gd name="connsiteX28" fmla="*/ 4135777 w 4519987"/>
                    <a:gd name="connsiteY28" fmla="*/ 933450 h 4496940"/>
                    <a:gd name="connsiteX29" fmla="*/ 4164352 w 4519987"/>
                    <a:gd name="connsiteY29" fmla="*/ 990600 h 4496940"/>
                    <a:gd name="connsiteX30" fmla="*/ 4173877 w 4519987"/>
                    <a:gd name="connsiteY30" fmla="*/ 1019175 h 4496940"/>
                    <a:gd name="connsiteX31" fmla="*/ 4192927 w 4519987"/>
                    <a:gd name="connsiteY31" fmla="*/ 1057275 h 4496940"/>
                    <a:gd name="connsiteX32" fmla="*/ 4202452 w 4519987"/>
                    <a:gd name="connsiteY32" fmla="*/ 1085850 h 4496940"/>
                    <a:gd name="connsiteX33" fmla="*/ 4250077 w 4519987"/>
                    <a:gd name="connsiteY33" fmla="*/ 1143000 h 4496940"/>
                    <a:gd name="connsiteX34" fmla="*/ 4259602 w 4519987"/>
                    <a:gd name="connsiteY34" fmla="*/ 1190625 h 4496940"/>
                    <a:gd name="connsiteX35" fmla="*/ 4307227 w 4519987"/>
                    <a:gd name="connsiteY35" fmla="*/ 1266825 h 4496940"/>
                    <a:gd name="connsiteX36" fmla="*/ 4345327 w 4519987"/>
                    <a:gd name="connsiteY36" fmla="*/ 1362075 h 4496940"/>
                    <a:gd name="connsiteX37" fmla="*/ 4373902 w 4519987"/>
                    <a:gd name="connsiteY37" fmla="*/ 1428750 h 4496940"/>
                    <a:gd name="connsiteX38" fmla="*/ 4392952 w 4519987"/>
                    <a:gd name="connsiteY38" fmla="*/ 1552575 h 4496940"/>
                    <a:gd name="connsiteX39" fmla="*/ 4402477 w 4519987"/>
                    <a:gd name="connsiteY39" fmla="*/ 1590675 h 4496940"/>
                    <a:gd name="connsiteX40" fmla="*/ 4431052 w 4519987"/>
                    <a:gd name="connsiteY40" fmla="*/ 1685925 h 4496940"/>
                    <a:gd name="connsiteX41" fmla="*/ 4519952 w 4519987"/>
                    <a:gd name="connsiteY41" fmla="*/ 2181225 h 4496940"/>
                    <a:gd name="connsiteX42" fmla="*/ 4446927 w 4519987"/>
                    <a:gd name="connsiteY42" fmla="*/ 2768600 h 4496940"/>
                    <a:gd name="connsiteX43" fmla="*/ 4383427 w 4519987"/>
                    <a:gd name="connsiteY43" fmla="*/ 2990850 h 4496940"/>
                    <a:gd name="connsiteX44" fmla="*/ 4278652 w 4519987"/>
                    <a:gd name="connsiteY44" fmla="*/ 3248025 h 4496940"/>
                    <a:gd name="connsiteX45" fmla="*/ 4259602 w 4519987"/>
                    <a:gd name="connsiteY45" fmla="*/ 3276600 h 4496940"/>
                    <a:gd name="connsiteX46" fmla="*/ 4221502 w 4519987"/>
                    <a:gd name="connsiteY46" fmla="*/ 3333750 h 4496940"/>
                    <a:gd name="connsiteX47" fmla="*/ 4211977 w 4519987"/>
                    <a:gd name="connsiteY47" fmla="*/ 3362325 h 4496940"/>
                    <a:gd name="connsiteX48" fmla="*/ 4183402 w 4519987"/>
                    <a:gd name="connsiteY48" fmla="*/ 3400425 h 4496940"/>
                    <a:gd name="connsiteX49" fmla="*/ 4164352 w 4519987"/>
                    <a:gd name="connsiteY49" fmla="*/ 3429000 h 4496940"/>
                    <a:gd name="connsiteX50" fmla="*/ 4088152 w 4519987"/>
                    <a:gd name="connsiteY50" fmla="*/ 3495675 h 4496940"/>
                    <a:gd name="connsiteX51" fmla="*/ 4059577 w 4519987"/>
                    <a:gd name="connsiteY51" fmla="*/ 3533775 h 4496940"/>
                    <a:gd name="connsiteX52" fmla="*/ 4002427 w 4519987"/>
                    <a:gd name="connsiteY52" fmla="*/ 3600450 h 4496940"/>
                    <a:gd name="connsiteX53" fmla="*/ 3983377 w 4519987"/>
                    <a:gd name="connsiteY53" fmla="*/ 3629025 h 4496940"/>
                    <a:gd name="connsiteX54" fmla="*/ 3954802 w 4519987"/>
                    <a:gd name="connsiteY54" fmla="*/ 3648075 h 4496940"/>
                    <a:gd name="connsiteX55" fmla="*/ 3907177 w 4519987"/>
                    <a:gd name="connsiteY55" fmla="*/ 3686175 h 4496940"/>
                    <a:gd name="connsiteX56" fmla="*/ 3869077 w 4519987"/>
                    <a:gd name="connsiteY56" fmla="*/ 3724275 h 4496940"/>
                    <a:gd name="connsiteX57" fmla="*/ 3792877 w 4519987"/>
                    <a:gd name="connsiteY57" fmla="*/ 3781425 h 4496940"/>
                    <a:gd name="connsiteX58" fmla="*/ 3783352 w 4519987"/>
                    <a:gd name="connsiteY58" fmla="*/ 3810000 h 4496940"/>
                    <a:gd name="connsiteX59" fmla="*/ 3745252 w 4519987"/>
                    <a:gd name="connsiteY59" fmla="*/ 3819525 h 4496940"/>
                    <a:gd name="connsiteX60" fmla="*/ 3678577 w 4519987"/>
                    <a:gd name="connsiteY60" fmla="*/ 3848100 h 4496940"/>
                    <a:gd name="connsiteX61" fmla="*/ 3659527 w 4519987"/>
                    <a:gd name="connsiteY61" fmla="*/ 3971925 h 4496940"/>
                    <a:gd name="connsiteX62" fmla="*/ 3630952 w 4519987"/>
                    <a:gd name="connsiteY62" fmla="*/ 4010025 h 4496940"/>
                    <a:gd name="connsiteX63" fmla="*/ 3621427 w 4519987"/>
                    <a:gd name="connsiteY63" fmla="*/ 4038600 h 4496940"/>
                    <a:gd name="connsiteX64" fmla="*/ 3554752 w 4519987"/>
                    <a:gd name="connsiteY64" fmla="*/ 4095750 h 4496940"/>
                    <a:gd name="connsiteX65" fmla="*/ 3516652 w 4519987"/>
                    <a:gd name="connsiteY65" fmla="*/ 4114800 h 4496940"/>
                    <a:gd name="connsiteX66" fmla="*/ 3497602 w 4519987"/>
                    <a:gd name="connsiteY66" fmla="*/ 4143375 h 4496940"/>
                    <a:gd name="connsiteX67" fmla="*/ 3383302 w 4519987"/>
                    <a:gd name="connsiteY67" fmla="*/ 4210050 h 4496940"/>
                    <a:gd name="connsiteX68" fmla="*/ 3335677 w 4519987"/>
                    <a:gd name="connsiteY68" fmla="*/ 4238625 h 4496940"/>
                    <a:gd name="connsiteX69" fmla="*/ 3288052 w 4519987"/>
                    <a:gd name="connsiteY69" fmla="*/ 4248150 h 4496940"/>
                    <a:gd name="connsiteX70" fmla="*/ 3240427 w 4519987"/>
                    <a:gd name="connsiteY70" fmla="*/ 4267200 h 4496940"/>
                    <a:gd name="connsiteX71" fmla="*/ 3068977 w 4519987"/>
                    <a:gd name="connsiteY71" fmla="*/ 4286250 h 4496940"/>
                    <a:gd name="connsiteX72" fmla="*/ 2935627 w 4519987"/>
                    <a:gd name="connsiteY72" fmla="*/ 4333875 h 4496940"/>
                    <a:gd name="connsiteX73" fmla="*/ 2811802 w 4519987"/>
                    <a:gd name="connsiteY73" fmla="*/ 4371975 h 4496940"/>
                    <a:gd name="connsiteX74" fmla="*/ 2745127 w 4519987"/>
                    <a:gd name="connsiteY74" fmla="*/ 4410075 h 4496940"/>
                    <a:gd name="connsiteX75" fmla="*/ 2697502 w 4519987"/>
                    <a:gd name="connsiteY75" fmla="*/ 4429125 h 4496940"/>
                    <a:gd name="connsiteX76" fmla="*/ 2640352 w 4519987"/>
                    <a:gd name="connsiteY76" fmla="*/ 4457700 h 4496940"/>
                    <a:gd name="connsiteX77" fmla="*/ 2583202 w 4519987"/>
                    <a:gd name="connsiteY77" fmla="*/ 4467225 h 4496940"/>
                    <a:gd name="connsiteX78" fmla="*/ 2545102 w 4519987"/>
                    <a:gd name="connsiteY78" fmla="*/ 4486275 h 4496940"/>
                    <a:gd name="connsiteX79" fmla="*/ 2306977 w 4519987"/>
                    <a:gd name="connsiteY79" fmla="*/ 4476750 h 4496940"/>
                    <a:gd name="connsiteX80" fmla="*/ 2202202 w 4519987"/>
                    <a:gd name="connsiteY80" fmla="*/ 4457700 h 4496940"/>
                    <a:gd name="connsiteX81" fmla="*/ 2126002 w 4519987"/>
                    <a:gd name="connsiteY81" fmla="*/ 4429125 h 4496940"/>
                    <a:gd name="connsiteX82" fmla="*/ 1935502 w 4519987"/>
                    <a:gd name="connsiteY82" fmla="*/ 4400550 h 4496940"/>
                    <a:gd name="connsiteX83" fmla="*/ 1821202 w 4519987"/>
                    <a:gd name="connsiteY83" fmla="*/ 4371975 h 4496940"/>
                    <a:gd name="connsiteX84" fmla="*/ 1754527 w 4519987"/>
                    <a:gd name="connsiteY84" fmla="*/ 4352925 h 4496940"/>
                    <a:gd name="connsiteX85" fmla="*/ 1687852 w 4519987"/>
                    <a:gd name="connsiteY85" fmla="*/ 4343400 h 4496940"/>
                    <a:gd name="connsiteX86" fmla="*/ 1573552 w 4519987"/>
                    <a:gd name="connsiteY86" fmla="*/ 4305300 h 4496940"/>
                    <a:gd name="connsiteX87" fmla="*/ 1402102 w 4519987"/>
                    <a:gd name="connsiteY87" fmla="*/ 4276725 h 4496940"/>
                    <a:gd name="connsiteX88" fmla="*/ 1287802 w 4519987"/>
                    <a:gd name="connsiteY88" fmla="*/ 4229100 h 4496940"/>
                    <a:gd name="connsiteX89" fmla="*/ 1221127 w 4519987"/>
                    <a:gd name="connsiteY89" fmla="*/ 4200525 h 4496940"/>
                    <a:gd name="connsiteX90" fmla="*/ 1144927 w 4519987"/>
                    <a:gd name="connsiteY90" fmla="*/ 4171950 h 4496940"/>
                    <a:gd name="connsiteX91" fmla="*/ 1087777 w 4519987"/>
                    <a:gd name="connsiteY91" fmla="*/ 4143375 h 4496940"/>
                    <a:gd name="connsiteX92" fmla="*/ 1030627 w 4519987"/>
                    <a:gd name="connsiteY92" fmla="*/ 4124325 h 4496940"/>
                    <a:gd name="connsiteX93" fmla="*/ 925852 w 4519987"/>
                    <a:gd name="connsiteY93" fmla="*/ 4067175 h 4496940"/>
                    <a:gd name="connsiteX94" fmla="*/ 830602 w 4519987"/>
                    <a:gd name="connsiteY94" fmla="*/ 3981450 h 4496940"/>
                    <a:gd name="connsiteX95" fmla="*/ 763927 w 4519987"/>
                    <a:gd name="connsiteY95" fmla="*/ 3914775 h 4496940"/>
                    <a:gd name="connsiteX96" fmla="*/ 725827 w 4519987"/>
                    <a:gd name="connsiteY96" fmla="*/ 3876675 h 4496940"/>
                    <a:gd name="connsiteX97" fmla="*/ 697252 w 4519987"/>
                    <a:gd name="connsiteY97" fmla="*/ 3838575 h 4496940"/>
                    <a:gd name="connsiteX98" fmla="*/ 640102 w 4519987"/>
                    <a:gd name="connsiteY98" fmla="*/ 3781425 h 4496940"/>
                    <a:gd name="connsiteX99" fmla="*/ 611527 w 4519987"/>
                    <a:gd name="connsiteY99" fmla="*/ 3733800 h 4496940"/>
                    <a:gd name="connsiteX100" fmla="*/ 554377 w 4519987"/>
                    <a:gd name="connsiteY100" fmla="*/ 3657600 h 4496940"/>
                    <a:gd name="connsiteX101" fmla="*/ 525802 w 4519987"/>
                    <a:gd name="connsiteY101" fmla="*/ 3609975 h 4496940"/>
                    <a:gd name="connsiteX102" fmla="*/ 497227 w 4519987"/>
                    <a:gd name="connsiteY102" fmla="*/ 3552825 h 4496940"/>
                    <a:gd name="connsiteX103" fmla="*/ 440077 w 4519987"/>
                    <a:gd name="connsiteY103" fmla="*/ 3495675 h 4496940"/>
                    <a:gd name="connsiteX104" fmla="*/ 411502 w 4519987"/>
                    <a:gd name="connsiteY104" fmla="*/ 3448050 h 4496940"/>
                    <a:gd name="connsiteX105" fmla="*/ 278152 w 4519987"/>
                    <a:gd name="connsiteY105" fmla="*/ 3257550 h 4496940"/>
                    <a:gd name="connsiteX106" fmla="*/ 249577 w 4519987"/>
                    <a:gd name="connsiteY106" fmla="*/ 3200400 h 4496940"/>
                    <a:gd name="connsiteX107" fmla="*/ 240052 w 4519987"/>
                    <a:gd name="connsiteY107" fmla="*/ 3162300 h 4496940"/>
                    <a:gd name="connsiteX108" fmla="*/ 221002 w 4519987"/>
                    <a:gd name="connsiteY108" fmla="*/ 3105150 h 4496940"/>
                    <a:gd name="connsiteX109" fmla="*/ 173377 w 4519987"/>
                    <a:gd name="connsiteY109" fmla="*/ 3019425 h 4496940"/>
                    <a:gd name="connsiteX110" fmla="*/ 144802 w 4519987"/>
                    <a:gd name="connsiteY110" fmla="*/ 2924175 h 4496940"/>
                    <a:gd name="connsiteX111" fmla="*/ 68602 w 4519987"/>
                    <a:gd name="connsiteY111" fmla="*/ 2724150 h 4496940"/>
                    <a:gd name="connsiteX112" fmla="*/ 49552 w 4519987"/>
                    <a:gd name="connsiteY112" fmla="*/ 2638425 h 4496940"/>
                    <a:gd name="connsiteX113" fmla="*/ 40027 w 4519987"/>
                    <a:gd name="connsiteY113" fmla="*/ 2562225 h 4496940"/>
                    <a:gd name="connsiteX114" fmla="*/ 30502 w 4519987"/>
                    <a:gd name="connsiteY114" fmla="*/ 2514600 h 4496940"/>
                    <a:gd name="connsiteX115" fmla="*/ 11452 w 4519987"/>
                    <a:gd name="connsiteY115" fmla="*/ 2400300 h 4496940"/>
                    <a:gd name="connsiteX116" fmla="*/ 20977 w 4519987"/>
                    <a:gd name="connsiteY116" fmla="*/ 1905000 h 4496940"/>
                    <a:gd name="connsiteX117" fmla="*/ 30502 w 4519987"/>
                    <a:gd name="connsiteY117" fmla="*/ 1838325 h 4496940"/>
                    <a:gd name="connsiteX118" fmla="*/ 49552 w 4519987"/>
                    <a:gd name="connsiteY118" fmla="*/ 1781175 h 4496940"/>
                    <a:gd name="connsiteX119" fmla="*/ 59077 w 4519987"/>
                    <a:gd name="connsiteY119" fmla="*/ 1743075 h 4496940"/>
                    <a:gd name="connsiteX120" fmla="*/ 78127 w 4519987"/>
                    <a:gd name="connsiteY120" fmla="*/ 1685925 h 4496940"/>
                    <a:gd name="connsiteX121" fmla="*/ 87652 w 4519987"/>
                    <a:gd name="connsiteY121" fmla="*/ 1638300 h 4496940"/>
                    <a:gd name="connsiteX122" fmla="*/ 106702 w 4519987"/>
                    <a:gd name="connsiteY122" fmla="*/ 1590675 h 4496940"/>
                    <a:gd name="connsiteX123" fmla="*/ 135277 w 4519987"/>
                    <a:gd name="connsiteY123" fmla="*/ 1504950 h 4496940"/>
                    <a:gd name="connsiteX124" fmla="*/ 154327 w 4519987"/>
                    <a:gd name="connsiteY124" fmla="*/ 1419225 h 4496940"/>
                    <a:gd name="connsiteX125" fmla="*/ 230527 w 4519987"/>
                    <a:gd name="connsiteY125" fmla="*/ 1276350 h 4496940"/>
                    <a:gd name="connsiteX126" fmla="*/ 240052 w 4519987"/>
                    <a:gd name="connsiteY126" fmla="*/ 1247775 h 4496940"/>
                    <a:gd name="connsiteX127" fmla="*/ 268627 w 4519987"/>
                    <a:gd name="connsiteY127" fmla="*/ 1200150 h 4496940"/>
                    <a:gd name="connsiteX128" fmla="*/ 287677 w 4519987"/>
                    <a:gd name="connsiteY128" fmla="*/ 1152525 h 4496940"/>
                    <a:gd name="connsiteX129" fmla="*/ 316252 w 4519987"/>
                    <a:gd name="connsiteY129" fmla="*/ 1114425 h 4496940"/>
                    <a:gd name="connsiteX130" fmla="*/ 363877 w 4519987"/>
                    <a:gd name="connsiteY130" fmla="*/ 1038225 h 4496940"/>
                    <a:gd name="connsiteX131" fmla="*/ 382927 w 4519987"/>
                    <a:gd name="connsiteY131" fmla="*/ 1009650 h 4496940"/>
                    <a:gd name="connsiteX132" fmla="*/ 440077 w 4519987"/>
                    <a:gd name="connsiteY132" fmla="*/ 904875 h 4496940"/>
                    <a:gd name="connsiteX133" fmla="*/ 478177 w 4519987"/>
                    <a:gd name="connsiteY133" fmla="*/ 857250 h 4496940"/>
                    <a:gd name="connsiteX134" fmla="*/ 497227 w 4519987"/>
                    <a:gd name="connsiteY134" fmla="*/ 828675 h 4496940"/>
                    <a:gd name="connsiteX135" fmla="*/ 535327 w 4519987"/>
                    <a:gd name="connsiteY135" fmla="*/ 800100 h 4496940"/>
                    <a:gd name="connsiteX136" fmla="*/ 602002 w 4519987"/>
                    <a:gd name="connsiteY136" fmla="*/ 733425 h 4496940"/>
                    <a:gd name="connsiteX137" fmla="*/ 668677 w 4519987"/>
                    <a:gd name="connsiteY137" fmla="*/ 676275 h 4496940"/>
                    <a:gd name="connsiteX138" fmla="*/ 697252 w 4519987"/>
                    <a:gd name="connsiteY138" fmla="*/ 657225 h 4496940"/>
                    <a:gd name="connsiteX139" fmla="*/ 840127 w 4519987"/>
                    <a:gd name="connsiteY139" fmla="*/ 533400 h 4496940"/>
                    <a:gd name="connsiteX140" fmla="*/ 887752 w 4519987"/>
                    <a:gd name="connsiteY140" fmla="*/ 504825 h 4496940"/>
                    <a:gd name="connsiteX141" fmla="*/ 1167152 w 4519987"/>
                    <a:gd name="connsiteY141" fmla="*/ 311150 h 4496940"/>
                    <a:gd name="connsiteX142" fmla="*/ 1268752 w 4519987"/>
                    <a:gd name="connsiteY142" fmla="*/ 285750 h 4496940"/>
                    <a:gd name="connsiteX143" fmla="*/ 1411627 w 4519987"/>
                    <a:gd name="connsiteY143" fmla="*/ 190500 h 4496940"/>
                    <a:gd name="connsiteX144" fmla="*/ 1449727 w 4519987"/>
                    <a:gd name="connsiteY144" fmla="*/ 161925 h 4496940"/>
                    <a:gd name="connsiteX145" fmla="*/ 1525927 w 4519987"/>
                    <a:gd name="connsiteY145" fmla="*/ 152400 h 4496940"/>
                    <a:gd name="connsiteX146" fmla="*/ 1583077 w 4519987"/>
                    <a:gd name="connsiteY146" fmla="*/ 142875 h 4496940"/>
                    <a:gd name="connsiteX147" fmla="*/ 1716427 w 4519987"/>
                    <a:gd name="connsiteY147" fmla="*/ 123825 h 4496940"/>
                    <a:gd name="connsiteX148" fmla="*/ 1811677 w 4519987"/>
                    <a:gd name="connsiteY148" fmla="*/ 114300 h 4496940"/>
                    <a:gd name="connsiteX149" fmla="*/ 1859302 w 4519987"/>
                    <a:gd name="connsiteY149" fmla="*/ 104775 h 4496940"/>
                    <a:gd name="connsiteX150" fmla="*/ 1916452 w 4519987"/>
                    <a:gd name="connsiteY150" fmla="*/ 95250 h 4496940"/>
                    <a:gd name="connsiteX151" fmla="*/ 2030752 w 4519987"/>
                    <a:gd name="connsiteY151" fmla="*/ 66675 h 4496940"/>
                    <a:gd name="connsiteX152" fmla="*/ 2097427 w 4519987"/>
                    <a:gd name="connsiteY152" fmla="*/ 47625 h 4496940"/>
                    <a:gd name="connsiteX153" fmla="*/ 2164102 w 4519987"/>
                    <a:gd name="connsiteY153" fmla="*/ 38100 h 4496940"/>
                    <a:gd name="connsiteX154" fmla="*/ 2392702 w 4519987"/>
                    <a:gd name="connsiteY15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907177 w 4519987"/>
                    <a:gd name="connsiteY24" fmla="*/ 647700 h 4496940"/>
                    <a:gd name="connsiteX25" fmla="*/ 3935752 w 4519987"/>
                    <a:gd name="connsiteY25" fmla="*/ 676275 h 4496940"/>
                    <a:gd name="connsiteX26" fmla="*/ 4078627 w 4519987"/>
                    <a:gd name="connsiteY26" fmla="*/ 838200 h 4496940"/>
                    <a:gd name="connsiteX27" fmla="*/ 4135777 w 4519987"/>
                    <a:gd name="connsiteY27" fmla="*/ 933450 h 4496940"/>
                    <a:gd name="connsiteX28" fmla="*/ 4164352 w 4519987"/>
                    <a:gd name="connsiteY28" fmla="*/ 990600 h 4496940"/>
                    <a:gd name="connsiteX29" fmla="*/ 4173877 w 4519987"/>
                    <a:gd name="connsiteY29" fmla="*/ 1019175 h 4496940"/>
                    <a:gd name="connsiteX30" fmla="*/ 4192927 w 4519987"/>
                    <a:gd name="connsiteY30" fmla="*/ 1057275 h 4496940"/>
                    <a:gd name="connsiteX31" fmla="*/ 4202452 w 4519987"/>
                    <a:gd name="connsiteY31" fmla="*/ 1085850 h 4496940"/>
                    <a:gd name="connsiteX32" fmla="*/ 4250077 w 4519987"/>
                    <a:gd name="connsiteY32" fmla="*/ 1143000 h 4496940"/>
                    <a:gd name="connsiteX33" fmla="*/ 4259602 w 4519987"/>
                    <a:gd name="connsiteY33" fmla="*/ 1190625 h 4496940"/>
                    <a:gd name="connsiteX34" fmla="*/ 4307227 w 4519987"/>
                    <a:gd name="connsiteY34" fmla="*/ 1266825 h 4496940"/>
                    <a:gd name="connsiteX35" fmla="*/ 4345327 w 4519987"/>
                    <a:gd name="connsiteY35" fmla="*/ 1362075 h 4496940"/>
                    <a:gd name="connsiteX36" fmla="*/ 4373902 w 4519987"/>
                    <a:gd name="connsiteY36" fmla="*/ 1428750 h 4496940"/>
                    <a:gd name="connsiteX37" fmla="*/ 4392952 w 4519987"/>
                    <a:gd name="connsiteY37" fmla="*/ 1552575 h 4496940"/>
                    <a:gd name="connsiteX38" fmla="*/ 4402477 w 4519987"/>
                    <a:gd name="connsiteY38" fmla="*/ 1590675 h 4496940"/>
                    <a:gd name="connsiteX39" fmla="*/ 4431052 w 4519987"/>
                    <a:gd name="connsiteY39" fmla="*/ 1685925 h 4496940"/>
                    <a:gd name="connsiteX40" fmla="*/ 4519952 w 4519987"/>
                    <a:gd name="connsiteY40" fmla="*/ 2181225 h 4496940"/>
                    <a:gd name="connsiteX41" fmla="*/ 4446927 w 4519987"/>
                    <a:gd name="connsiteY41" fmla="*/ 2768600 h 4496940"/>
                    <a:gd name="connsiteX42" fmla="*/ 4383427 w 4519987"/>
                    <a:gd name="connsiteY42" fmla="*/ 2990850 h 4496940"/>
                    <a:gd name="connsiteX43" fmla="*/ 4278652 w 4519987"/>
                    <a:gd name="connsiteY43" fmla="*/ 3248025 h 4496940"/>
                    <a:gd name="connsiteX44" fmla="*/ 4259602 w 4519987"/>
                    <a:gd name="connsiteY44" fmla="*/ 3276600 h 4496940"/>
                    <a:gd name="connsiteX45" fmla="*/ 4221502 w 4519987"/>
                    <a:gd name="connsiteY45" fmla="*/ 3333750 h 4496940"/>
                    <a:gd name="connsiteX46" fmla="*/ 4211977 w 4519987"/>
                    <a:gd name="connsiteY46" fmla="*/ 3362325 h 4496940"/>
                    <a:gd name="connsiteX47" fmla="*/ 4183402 w 4519987"/>
                    <a:gd name="connsiteY47" fmla="*/ 3400425 h 4496940"/>
                    <a:gd name="connsiteX48" fmla="*/ 4164352 w 4519987"/>
                    <a:gd name="connsiteY48" fmla="*/ 3429000 h 4496940"/>
                    <a:gd name="connsiteX49" fmla="*/ 4088152 w 4519987"/>
                    <a:gd name="connsiteY49" fmla="*/ 3495675 h 4496940"/>
                    <a:gd name="connsiteX50" fmla="*/ 4059577 w 4519987"/>
                    <a:gd name="connsiteY50" fmla="*/ 3533775 h 4496940"/>
                    <a:gd name="connsiteX51" fmla="*/ 4002427 w 4519987"/>
                    <a:gd name="connsiteY51" fmla="*/ 3600450 h 4496940"/>
                    <a:gd name="connsiteX52" fmla="*/ 3983377 w 4519987"/>
                    <a:gd name="connsiteY52" fmla="*/ 3629025 h 4496940"/>
                    <a:gd name="connsiteX53" fmla="*/ 3954802 w 4519987"/>
                    <a:gd name="connsiteY53" fmla="*/ 3648075 h 4496940"/>
                    <a:gd name="connsiteX54" fmla="*/ 3907177 w 4519987"/>
                    <a:gd name="connsiteY54" fmla="*/ 3686175 h 4496940"/>
                    <a:gd name="connsiteX55" fmla="*/ 3869077 w 4519987"/>
                    <a:gd name="connsiteY55" fmla="*/ 3724275 h 4496940"/>
                    <a:gd name="connsiteX56" fmla="*/ 3792877 w 4519987"/>
                    <a:gd name="connsiteY56" fmla="*/ 3781425 h 4496940"/>
                    <a:gd name="connsiteX57" fmla="*/ 3783352 w 4519987"/>
                    <a:gd name="connsiteY57" fmla="*/ 3810000 h 4496940"/>
                    <a:gd name="connsiteX58" fmla="*/ 3745252 w 4519987"/>
                    <a:gd name="connsiteY58" fmla="*/ 3819525 h 4496940"/>
                    <a:gd name="connsiteX59" fmla="*/ 3678577 w 4519987"/>
                    <a:gd name="connsiteY59" fmla="*/ 3848100 h 4496940"/>
                    <a:gd name="connsiteX60" fmla="*/ 3659527 w 4519987"/>
                    <a:gd name="connsiteY60" fmla="*/ 3971925 h 4496940"/>
                    <a:gd name="connsiteX61" fmla="*/ 3630952 w 4519987"/>
                    <a:gd name="connsiteY61" fmla="*/ 4010025 h 4496940"/>
                    <a:gd name="connsiteX62" fmla="*/ 3621427 w 4519987"/>
                    <a:gd name="connsiteY62" fmla="*/ 4038600 h 4496940"/>
                    <a:gd name="connsiteX63" fmla="*/ 3554752 w 4519987"/>
                    <a:gd name="connsiteY63" fmla="*/ 4095750 h 4496940"/>
                    <a:gd name="connsiteX64" fmla="*/ 3516652 w 4519987"/>
                    <a:gd name="connsiteY64" fmla="*/ 4114800 h 4496940"/>
                    <a:gd name="connsiteX65" fmla="*/ 3497602 w 4519987"/>
                    <a:gd name="connsiteY65" fmla="*/ 4143375 h 4496940"/>
                    <a:gd name="connsiteX66" fmla="*/ 3383302 w 4519987"/>
                    <a:gd name="connsiteY66" fmla="*/ 4210050 h 4496940"/>
                    <a:gd name="connsiteX67" fmla="*/ 3335677 w 4519987"/>
                    <a:gd name="connsiteY67" fmla="*/ 4238625 h 4496940"/>
                    <a:gd name="connsiteX68" fmla="*/ 3288052 w 4519987"/>
                    <a:gd name="connsiteY68" fmla="*/ 4248150 h 4496940"/>
                    <a:gd name="connsiteX69" fmla="*/ 3240427 w 4519987"/>
                    <a:gd name="connsiteY69" fmla="*/ 4267200 h 4496940"/>
                    <a:gd name="connsiteX70" fmla="*/ 3068977 w 4519987"/>
                    <a:gd name="connsiteY70" fmla="*/ 4286250 h 4496940"/>
                    <a:gd name="connsiteX71" fmla="*/ 2935627 w 4519987"/>
                    <a:gd name="connsiteY71" fmla="*/ 4333875 h 4496940"/>
                    <a:gd name="connsiteX72" fmla="*/ 2811802 w 4519987"/>
                    <a:gd name="connsiteY72" fmla="*/ 4371975 h 4496940"/>
                    <a:gd name="connsiteX73" fmla="*/ 2745127 w 4519987"/>
                    <a:gd name="connsiteY73" fmla="*/ 4410075 h 4496940"/>
                    <a:gd name="connsiteX74" fmla="*/ 2697502 w 4519987"/>
                    <a:gd name="connsiteY74" fmla="*/ 4429125 h 4496940"/>
                    <a:gd name="connsiteX75" fmla="*/ 2640352 w 4519987"/>
                    <a:gd name="connsiteY75" fmla="*/ 4457700 h 4496940"/>
                    <a:gd name="connsiteX76" fmla="*/ 2583202 w 4519987"/>
                    <a:gd name="connsiteY76" fmla="*/ 4467225 h 4496940"/>
                    <a:gd name="connsiteX77" fmla="*/ 2545102 w 4519987"/>
                    <a:gd name="connsiteY77" fmla="*/ 4486275 h 4496940"/>
                    <a:gd name="connsiteX78" fmla="*/ 2306977 w 4519987"/>
                    <a:gd name="connsiteY78" fmla="*/ 4476750 h 4496940"/>
                    <a:gd name="connsiteX79" fmla="*/ 2202202 w 4519987"/>
                    <a:gd name="connsiteY79" fmla="*/ 4457700 h 4496940"/>
                    <a:gd name="connsiteX80" fmla="*/ 2126002 w 4519987"/>
                    <a:gd name="connsiteY80" fmla="*/ 4429125 h 4496940"/>
                    <a:gd name="connsiteX81" fmla="*/ 1935502 w 4519987"/>
                    <a:gd name="connsiteY81" fmla="*/ 4400550 h 4496940"/>
                    <a:gd name="connsiteX82" fmla="*/ 1821202 w 4519987"/>
                    <a:gd name="connsiteY82" fmla="*/ 4371975 h 4496940"/>
                    <a:gd name="connsiteX83" fmla="*/ 1754527 w 4519987"/>
                    <a:gd name="connsiteY83" fmla="*/ 4352925 h 4496940"/>
                    <a:gd name="connsiteX84" fmla="*/ 1687852 w 4519987"/>
                    <a:gd name="connsiteY84" fmla="*/ 4343400 h 4496940"/>
                    <a:gd name="connsiteX85" fmla="*/ 1573552 w 4519987"/>
                    <a:gd name="connsiteY85" fmla="*/ 4305300 h 4496940"/>
                    <a:gd name="connsiteX86" fmla="*/ 1402102 w 4519987"/>
                    <a:gd name="connsiteY86" fmla="*/ 4276725 h 4496940"/>
                    <a:gd name="connsiteX87" fmla="*/ 1287802 w 4519987"/>
                    <a:gd name="connsiteY87" fmla="*/ 4229100 h 4496940"/>
                    <a:gd name="connsiteX88" fmla="*/ 1221127 w 4519987"/>
                    <a:gd name="connsiteY88" fmla="*/ 4200525 h 4496940"/>
                    <a:gd name="connsiteX89" fmla="*/ 1144927 w 4519987"/>
                    <a:gd name="connsiteY89" fmla="*/ 4171950 h 4496940"/>
                    <a:gd name="connsiteX90" fmla="*/ 1087777 w 4519987"/>
                    <a:gd name="connsiteY90" fmla="*/ 4143375 h 4496940"/>
                    <a:gd name="connsiteX91" fmla="*/ 1030627 w 4519987"/>
                    <a:gd name="connsiteY91" fmla="*/ 4124325 h 4496940"/>
                    <a:gd name="connsiteX92" fmla="*/ 925852 w 4519987"/>
                    <a:gd name="connsiteY92" fmla="*/ 4067175 h 4496940"/>
                    <a:gd name="connsiteX93" fmla="*/ 830602 w 4519987"/>
                    <a:gd name="connsiteY93" fmla="*/ 3981450 h 4496940"/>
                    <a:gd name="connsiteX94" fmla="*/ 763927 w 4519987"/>
                    <a:gd name="connsiteY94" fmla="*/ 3914775 h 4496940"/>
                    <a:gd name="connsiteX95" fmla="*/ 725827 w 4519987"/>
                    <a:gd name="connsiteY95" fmla="*/ 3876675 h 4496940"/>
                    <a:gd name="connsiteX96" fmla="*/ 697252 w 4519987"/>
                    <a:gd name="connsiteY96" fmla="*/ 3838575 h 4496940"/>
                    <a:gd name="connsiteX97" fmla="*/ 640102 w 4519987"/>
                    <a:gd name="connsiteY97" fmla="*/ 3781425 h 4496940"/>
                    <a:gd name="connsiteX98" fmla="*/ 611527 w 4519987"/>
                    <a:gd name="connsiteY98" fmla="*/ 3733800 h 4496940"/>
                    <a:gd name="connsiteX99" fmla="*/ 554377 w 4519987"/>
                    <a:gd name="connsiteY99" fmla="*/ 3657600 h 4496940"/>
                    <a:gd name="connsiteX100" fmla="*/ 525802 w 4519987"/>
                    <a:gd name="connsiteY100" fmla="*/ 3609975 h 4496940"/>
                    <a:gd name="connsiteX101" fmla="*/ 497227 w 4519987"/>
                    <a:gd name="connsiteY101" fmla="*/ 3552825 h 4496940"/>
                    <a:gd name="connsiteX102" fmla="*/ 440077 w 4519987"/>
                    <a:gd name="connsiteY102" fmla="*/ 3495675 h 4496940"/>
                    <a:gd name="connsiteX103" fmla="*/ 411502 w 4519987"/>
                    <a:gd name="connsiteY103" fmla="*/ 3448050 h 4496940"/>
                    <a:gd name="connsiteX104" fmla="*/ 278152 w 4519987"/>
                    <a:gd name="connsiteY104" fmla="*/ 3257550 h 4496940"/>
                    <a:gd name="connsiteX105" fmla="*/ 249577 w 4519987"/>
                    <a:gd name="connsiteY105" fmla="*/ 3200400 h 4496940"/>
                    <a:gd name="connsiteX106" fmla="*/ 240052 w 4519987"/>
                    <a:gd name="connsiteY106" fmla="*/ 3162300 h 4496940"/>
                    <a:gd name="connsiteX107" fmla="*/ 221002 w 4519987"/>
                    <a:gd name="connsiteY107" fmla="*/ 3105150 h 4496940"/>
                    <a:gd name="connsiteX108" fmla="*/ 173377 w 4519987"/>
                    <a:gd name="connsiteY108" fmla="*/ 3019425 h 4496940"/>
                    <a:gd name="connsiteX109" fmla="*/ 144802 w 4519987"/>
                    <a:gd name="connsiteY109" fmla="*/ 2924175 h 4496940"/>
                    <a:gd name="connsiteX110" fmla="*/ 68602 w 4519987"/>
                    <a:gd name="connsiteY110" fmla="*/ 2724150 h 4496940"/>
                    <a:gd name="connsiteX111" fmla="*/ 49552 w 4519987"/>
                    <a:gd name="connsiteY111" fmla="*/ 2638425 h 4496940"/>
                    <a:gd name="connsiteX112" fmla="*/ 40027 w 4519987"/>
                    <a:gd name="connsiteY112" fmla="*/ 2562225 h 4496940"/>
                    <a:gd name="connsiteX113" fmla="*/ 30502 w 4519987"/>
                    <a:gd name="connsiteY113" fmla="*/ 2514600 h 4496940"/>
                    <a:gd name="connsiteX114" fmla="*/ 11452 w 4519987"/>
                    <a:gd name="connsiteY114" fmla="*/ 2400300 h 4496940"/>
                    <a:gd name="connsiteX115" fmla="*/ 20977 w 4519987"/>
                    <a:gd name="connsiteY115" fmla="*/ 1905000 h 4496940"/>
                    <a:gd name="connsiteX116" fmla="*/ 30502 w 4519987"/>
                    <a:gd name="connsiteY116" fmla="*/ 1838325 h 4496940"/>
                    <a:gd name="connsiteX117" fmla="*/ 49552 w 4519987"/>
                    <a:gd name="connsiteY117" fmla="*/ 1781175 h 4496940"/>
                    <a:gd name="connsiteX118" fmla="*/ 59077 w 4519987"/>
                    <a:gd name="connsiteY118" fmla="*/ 1743075 h 4496940"/>
                    <a:gd name="connsiteX119" fmla="*/ 78127 w 4519987"/>
                    <a:gd name="connsiteY119" fmla="*/ 1685925 h 4496940"/>
                    <a:gd name="connsiteX120" fmla="*/ 87652 w 4519987"/>
                    <a:gd name="connsiteY120" fmla="*/ 1638300 h 4496940"/>
                    <a:gd name="connsiteX121" fmla="*/ 106702 w 4519987"/>
                    <a:gd name="connsiteY121" fmla="*/ 1590675 h 4496940"/>
                    <a:gd name="connsiteX122" fmla="*/ 135277 w 4519987"/>
                    <a:gd name="connsiteY122" fmla="*/ 1504950 h 4496940"/>
                    <a:gd name="connsiteX123" fmla="*/ 154327 w 4519987"/>
                    <a:gd name="connsiteY123" fmla="*/ 1419225 h 4496940"/>
                    <a:gd name="connsiteX124" fmla="*/ 230527 w 4519987"/>
                    <a:gd name="connsiteY124" fmla="*/ 1276350 h 4496940"/>
                    <a:gd name="connsiteX125" fmla="*/ 240052 w 4519987"/>
                    <a:gd name="connsiteY125" fmla="*/ 1247775 h 4496940"/>
                    <a:gd name="connsiteX126" fmla="*/ 268627 w 4519987"/>
                    <a:gd name="connsiteY126" fmla="*/ 1200150 h 4496940"/>
                    <a:gd name="connsiteX127" fmla="*/ 287677 w 4519987"/>
                    <a:gd name="connsiteY127" fmla="*/ 1152525 h 4496940"/>
                    <a:gd name="connsiteX128" fmla="*/ 316252 w 4519987"/>
                    <a:gd name="connsiteY128" fmla="*/ 1114425 h 4496940"/>
                    <a:gd name="connsiteX129" fmla="*/ 363877 w 4519987"/>
                    <a:gd name="connsiteY129" fmla="*/ 1038225 h 4496940"/>
                    <a:gd name="connsiteX130" fmla="*/ 382927 w 4519987"/>
                    <a:gd name="connsiteY130" fmla="*/ 1009650 h 4496940"/>
                    <a:gd name="connsiteX131" fmla="*/ 440077 w 4519987"/>
                    <a:gd name="connsiteY131" fmla="*/ 904875 h 4496940"/>
                    <a:gd name="connsiteX132" fmla="*/ 478177 w 4519987"/>
                    <a:gd name="connsiteY132" fmla="*/ 857250 h 4496940"/>
                    <a:gd name="connsiteX133" fmla="*/ 497227 w 4519987"/>
                    <a:gd name="connsiteY133" fmla="*/ 828675 h 4496940"/>
                    <a:gd name="connsiteX134" fmla="*/ 535327 w 4519987"/>
                    <a:gd name="connsiteY134" fmla="*/ 800100 h 4496940"/>
                    <a:gd name="connsiteX135" fmla="*/ 602002 w 4519987"/>
                    <a:gd name="connsiteY135" fmla="*/ 733425 h 4496940"/>
                    <a:gd name="connsiteX136" fmla="*/ 668677 w 4519987"/>
                    <a:gd name="connsiteY136" fmla="*/ 676275 h 4496940"/>
                    <a:gd name="connsiteX137" fmla="*/ 697252 w 4519987"/>
                    <a:gd name="connsiteY137" fmla="*/ 657225 h 4496940"/>
                    <a:gd name="connsiteX138" fmla="*/ 840127 w 4519987"/>
                    <a:gd name="connsiteY138" fmla="*/ 533400 h 4496940"/>
                    <a:gd name="connsiteX139" fmla="*/ 887752 w 4519987"/>
                    <a:gd name="connsiteY139" fmla="*/ 504825 h 4496940"/>
                    <a:gd name="connsiteX140" fmla="*/ 1167152 w 4519987"/>
                    <a:gd name="connsiteY140" fmla="*/ 311150 h 4496940"/>
                    <a:gd name="connsiteX141" fmla="*/ 1268752 w 4519987"/>
                    <a:gd name="connsiteY141" fmla="*/ 285750 h 4496940"/>
                    <a:gd name="connsiteX142" fmla="*/ 1411627 w 4519987"/>
                    <a:gd name="connsiteY142" fmla="*/ 190500 h 4496940"/>
                    <a:gd name="connsiteX143" fmla="*/ 1449727 w 4519987"/>
                    <a:gd name="connsiteY143" fmla="*/ 161925 h 4496940"/>
                    <a:gd name="connsiteX144" fmla="*/ 1525927 w 4519987"/>
                    <a:gd name="connsiteY144" fmla="*/ 152400 h 4496940"/>
                    <a:gd name="connsiteX145" fmla="*/ 1583077 w 4519987"/>
                    <a:gd name="connsiteY145" fmla="*/ 142875 h 4496940"/>
                    <a:gd name="connsiteX146" fmla="*/ 1716427 w 4519987"/>
                    <a:gd name="connsiteY146" fmla="*/ 123825 h 4496940"/>
                    <a:gd name="connsiteX147" fmla="*/ 1811677 w 4519987"/>
                    <a:gd name="connsiteY147" fmla="*/ 114300 h 4496940"/>
                    <a:gd name="connsiteX148" fmla="*/ 1859302 w 4519987"/>
                    <a:gd name="connsiteY148" fmla="*/ 104775 h 4496940"/>
                    <a:gd name="connsiteX149" fmla="*/ 1916452 w 4519987"/>
                    <a:gd name="connsiteY149" fmla="*/ 95250 h 4496940"/>
                    <a:gd name="connsiteX150" fmla="*/ 2030752 w 4519987"/>
                    <a:gd name="connsiteY150" fmla="*/ 66675 h 4496940"/>
                    <a:gd name="connsiteX151" fmla="*/ 2097427 w 4519987"/>
                    <a:gd name="connsiteY151" fmla="*/ 47625 h 4496940"/>
                    <a:gd name="connsiteX152" fmla="*/ 2164102 w 4519987"/>
                    <a:gd name="connsiteY152" fmla="*/ 38100 h 4496940"/>
                    <a:gd name="connsiteX153" fmla="*/ 2392702 w 4519987"/>
                    <a:gd name="connsiteY15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678577 w 4519987"/>
                    <a:gd name="connsiteY20" fmla="*/ 504825 h 4496940"/>
                    <a:gd name="connsiteX21" fmla="*/ 3745252 w 4519987"/>
                    <a:gd name="connsiteY21" fmla="*/ 542925 h 4496940"/>
                    <a:gd name="connsiteX22" fmla="*/ 3811927 w 4519987"/>
                    <a:gd name="connsiteY22" fmla="*/ 581025 h 4496940"/>
                    <a:gd name="connsiteX23" fmla="*/ 3907177 w 4519987"/>
                    <a:gd name="connsiteY23" fmla="*/ 647700 h 4496940"/>
                    <a:gd name="connsiteX24" fmla="*/ 3935752 w 4519987"/>
                    <a:gd name="connsiteY24" fmla="*/ 676275 h 4496940"/>
                    <a:gd name="connsiteX25" fmla="*/ 4078627 w 4519987"/>
                    <a:gd name="connsiteY25" fmla="*/ 838200 h 4496940"/>
                    <a:gd name="connsiteX26" fmla="*/ 4135777 w 4519987"/>
                    <a:gd name="connsiteY26" fmla="*/ 933450 h 4496940"/>
                    <a:gd name="connsiteX27" fmla="*/ 4164352 w 4519987"/>
                    <a:gd name="connsiteY27" fmla="*/ 990600 h 4496940"/>
                    <a:gd name="connsiteX28" fmla="*/ 4173877 w 4519987"/>
                    <a:gd name="connsiteY28" fmla="*/ 1019175 h 4496940"/>
                    <a:gd name="connsiteX29" fmla="*/ 4192927 w 4519987"/>
                    <a:gd name="connsiteY29" fmla="*/ 1057275 h 4496940"/>
                    <a:gd name="connsiteX30" fmla="*/ 4202452 w 4519987"/>
                    <a:gd name="connsiteY30" fmla="*/ 1085850 h 4496940"/>
                    <a:gd name="connsiteX31" fmla="*/ 4250077 w 4519987"/>
                    <a:gd name="connsiteY31" fmla="*/ 1143000 h 4496940"/>
                    <a:gd name="connsiteX32" fmla="*/ 4259602 w 4519987"/>
                    <a:gd name="connsiteY32" fmla="*/ 1190625 h 4496940"/>
                    <a:gd name="connsiteX33" fmla="*/ 4307227 w 4519987"/>
                    <a:gd name="connsiteY33" fmla="*/ 1266825 h 4496940"/>
                    <a:gd name="connsiteX34" fmla="*/ 4345327 w 4519987"/>
                    <a:gd name="connsiteY34" fmla="*/ 1362075 h 4496940"/>
                    <a:gd name="connsiteX35" fmla="*/ 4373902 w 4519987"/>
                    <a:gd name="connsiteY35" fmla="*/ 1428750 h 4496940"/>
                    <a:gd name="connsiteX36" fmla="*/ 4392952 w 4519987"/>
                    <a:gd name="connsiteY36" fmla="*/ 1552575 h 4496940"/>
                    <a:gd name="connsiteX37" fmla="*/ 4402477 w 4519987"/>
                    <a:gd name="connsiteY37" fmla="*/ 1590675 h 4496940"/>
                    <a:gd name="connsiteX38" fmla="*/ 4431052 w 4519987"/>
                    <a:gd name="connsiteY38" fmla="*/ 1685925 h 4496940"/>
                    <a:gd name="connsiteX39" fmla="*/ 4519952 w 4519987"/>
                    <a:gd name="connsiteY39" fmla="*/ 2181225 h 4496940"/>
                    <a:gd name="connsiteX40" fmla="*/ 4446927 w 4519987"/>
                    <a:gd name="connsiteY40" fmla="*/ 2768600 h 4496940"/>
                    <a:gd name="connsiteX41" fmla="*/ 4383427 w 4519987"/>
                    <a:gd name="connsiteY41" fmla="*/ 2990850 h 4496940"/>
                    <a:gd name="connsiteX42" fmla="*/ 4278652 w 4519987"/>
                    <a:gd name="connsiteY42" fmla="*/ 3248025 h 4496940"/>
                    <a:gd name="connsiteX43" fmla="*/ 4259602 w 4519987"/>
                    <a:gd name="connsiteY43" fmla="*/ 3276600 h 4496940"/>
                    <a:gd name="connsiteX44" fmla="*/ 4221502 w 4519987"/>
                    <a:gd name="connsiteY44" fmla="*/ 3333750 h 4496940"/>
                    <a:gd name="connsiteX45" fmla="*/ 4211977 w 4519987"/>
                    <a:gd name="connsiteY45" fmla="*/ 3362325 h 4496940"/>
                    <a:gd name="connsiteX46" fmla="*/ 4183402 w 4519987"/>
                    <a:gd name="connsiteY46" fmla="*/ 3400425 h 4496940"/>
                    <a:gd name="connsiteX47" fmla="*/ 4164352 w 4519987"/>
                    <a:gd name="connsiteY47" fmla="*/ 3429000 h 4496940"/>
                    <a:gd name="connsiteX48" fmla="*/ 4088152 w 4519987"/>
                    <a:gd name="connsiteY48" fmla="*/ 3495675 h 4496940"/>
                    <a:gd name="connsiteX49" fmla="*/ 4059577 w 4519987"/>
                    <a:gd name="connsiteY49" fmla="*/ 3533775 h 4496940"/>
                    <a:gd name="connsiteX50" fmla="*/ 4002427 w 4519987"/>
                    <a:gd name="connsiteY50" fmla="*/ 3600450 h 4496940"/>
                    <a:gd name="connsiteX51" fmla="*/ 3983377 w 4519987"/>
                    <a:gd name="connsiteY51" fmla="*/ 3629025 h 4496940"/>
                    <a:gd name="connsiteX52" fmla="*/ 3954802 w 4519987"/>
                    <a:gd name="connsiteY52" fmla="*/ 3648075 h 4496940"/>
                    <a:gd name="connsiteX53" fmla="*/ 3907177 w 4519987"/>
                    <a:gd name="connsiteY53" fmla="*/ 3686175 h 4496940"/>
                    <a:gd name="connsiteX54" fmla="*/ 3869077 w 4519987"/>
                    <a:gd name="connsiteY54" fmla="*/ 3724275 h 4496940"/>
                    <a:gd name="connsiteX55" fmla="*/ 3792877 w 4519987"/>
                    <a:gd name="connsiteY55" fmla="*/ 3781425 h 4496940"/>
                    <a:gd name="connsiteX56" fmla="*/ 3783352 w 4519987"/>
                    <a:gd name="connsiteY56" fmla="*/ 3810000 h 4496940"/>
                    <a:gd name="connsiteX57" fmla="*/ 3745252 w 4519987"/>
                    <a:gd name="connsiteY57" fmla="*/ 3819525 h 4496940"/>
                    <a:gd name="connsiteX58" fmla="*/ 3678577 w 4519987"/>
                    <a:gd name="connsiteY58" fmla="*/ 3848100 h 4496940"/>
                    <a:gd name="connsiteX59" fmla="*/ 3659527 w 4519987"/>
                    <a:gd name="connsiteY59" fmla="*/ 3971925 h 4496940"/>
                    <a:gd name="connsiteX60" fmla="*/ 3630952 w 4519987"/>
                    <a:gd name="connsiteY60" fmla="*/ 4010025 h 4496940"/>
                    <a:gd name="connsiteX61" fmla="*/ 3621427 w 4519987"/>
                    <a:gd name="connsiteY61" fmla="*/ 4038600 h 4496940"/>
                    <a:gd name="connsiteX62" fmla="*/ 3554752 w 4519987"/>
                    <a:gd name="connsiteY62" fmla="*/ 4095750 h 4496940"/>
                    <a:gd name="connsiteX63" fmla="*/ 3516652 w 4519987"/>
                    <a:gd name="connsiteY63" fmla="*/ 4114800 h 4496940"/>
                    <a:gd name="connsiteX64" fmla="*/ 3497602 w 4519987"/>
                    <a:gd name="connsiteY64" fmla="*/ 4143375 h 4496940"/>
                    <a:gd name="connsiteX65" fmla="*/ 3383302 w 4519987"/>
                    <a:gd name="connsiteY65" fmla="*/ 4210050 h 4496940"/>
                    <a:gd name="connsiteX66" fmla="*/ 3335677 w 4519987"/>
                    <a:gd name="connsiteY66" fmla="*/ 4238625 h 4496940"/>
                    <a:gd name="connsiteX67" fmla="*/ 3288052 w 4519987"/>
                    <a:gd name="connsiteY67" fmla="*/ 4248150 h 4496940"/>
                    <a:gd name="connsiteX68" fmla="*/ 3240427 w 4519987"/>
                    <a:gd name="connsiteY68" fmla="*/ 4267200 h 4496940"/>
                    <a:gd name="connsiteX69" fmla="*/ 3068977 w 4519987"/>
                    <a:gd name="connsiteY69" fmla="*/ 4286250 h 4496940"/>
                    <a:gd name="connsiteX70" fmla="*/ 2935627 w 4519987"/>
                    <a:gd name="connsiteY70" fmla="*/ 4333875 h 4496940"/>
                    <a:gd name="connsiteX71" fmla="*/ 2811802 w 4519987"/>
                    <a:gd name="connsiteY71" fmla="*/ 4371975 h 4496940"/>
                    <a:gd name="connsiteX72" fmla="*/ 2745127 w 4519987"/>
                    <a:gd name="connsiteY72" fmla="*/ 4410075 h 4496940"/>
                    <a:gd name="connsiteX73" fmla="*/ 2697502 w 4519987"/>
                    <a:gd name="connsiteY73" fmla="*/ 4429125 h 4496940"/>
                    <a:gd name="connsiteX74" fmla="*/ 2640352 w 4519987"/>
                    <a:gd name="connsiteY74" fmla="*/ 4457700 h 4496940"/>
                    <a:gd name="connsiteX75" fmla="*/ 2583202 w 4519987"/>
                    <a:gd name="connsiteY75" fmla="*/ 4467225 h 4496940"/>
                    <a:gd name="connsiteX76" fmla="*/ 2545102 w 4519987"/>
                    <a:gd name="connsiteY76" fmla="*/ 4486275 h 4496940"/>
                    <a:gd name="connsiteX77" fmla="*/ 2306977 w 4519987"/>
                    <a:gd name="connsiteY77" fmla="*/ 4476750 h 4496940"/>
                    <a:gd name="connsiteX78" fmla="*/ 2202202 w 4519987"/>
                    <a:gd name="connsiteY78" fmla="*/ 4457700 h 4496940"/>
                    <a:gd name="connsiteX79" fmla="*/ 2126002 w 4519987"/>
                    <a:gd name="connsiteY79" fmla="*/ 4429125 h 4496940"/>
                    <a:gd name="connsiteX80" fmla="*/ 1935502 w 4519987"/>
                    <a:gd name="connsiteY80" fmla="*/ 4400550 h 4496940"/>
                    <a:gd name="connsiteX81" fmla="*/ 1821202 w 4519987"/>
                    <a:gd name="connsiteY81" fmla="*/ 4371975 h 4496940"/>
                    <a:gd name="connsiteX82" fmla="*/ 1754527 w 4519987"/>
                    <a:gd name="connsiteY82" fmla="*/ 4352925 h 4496940"/>
                    <a:gd name="connsiteX83" fmla="*/ 1687852 w 4519987"/>
                    <a:gd name="connsiteY83" fmla="*/ 4343400 h 4496940"/>
                    <a:gd name="connsiteX84" fmla="*/ 1573552 w 4519987"/>
                    <a:gd name="connsiteY84" fmla="*/ 4305300 h 4496940"/>
                    <a:gd name="connsiteX85" fmla="*/ 1402102 w 4519987"/>
                    <a:gd name="connsiteY85" fmla="*/ 4276725 h 4496940"/>
                    <a:gd name="connsiteX86" fmla="*/ 1287802 w 4519987"/>
                    <a:gd name="connsiteY86" fmla="*/ 4229100 h 4496940"/>
                    <a:gd name="connsiteX87" fmla="*/ 1221127 w 4519987"/>
                    <a:gd name="connsiteY87" fmla="*/ 4200525 h 4496940"/>
                    <a:gd name="connsiteX88" fmla="*/ 1144927 w 4519987"/>
                    <a:gd name="connsiteY88" fmla="*/ 4171950 h 4496940"/>
                    <a:gd name="connsiteX89" fmla="*/ 1087777 w 4519987"/>
                    <a:gd name="connsiteY89" fmla="*/ 4143375 h 4496940"/>
                    <a:gd name="connsiteX90" fmla="*/ 1030627 w 4519987"/>
                    <a:gd name="connsiteY90" fmla="*/ 4124325 h 4496940"/>
                    <a:gd name="connsiteX91" fmla="*/ 925852 w 4519987"/>
                    <a:gd name="connsiteY91" fmla="*/ 4067175 h 4496940"/>
                    <a:gd name="connsiteX92" fmla="*/ 830602 w 4519987"/>
                    <a:gd name="connsiteY92" fmla="*/ 3981450 h 4496940"/>
                    <a:gd name="connsiteX93" fmla="*/ 763927 w 4519987"/>
                    <a:gd name="connsiteY93" fmla="*/ 3914775 h 4496940"/>
                    <a:gd name="connsiteX94" fmla="*/ 725827 w 4519987"/>
                    <a:gd name="connsiteY94" fmla="*/ 3876675 h 4496940"/>
                    <a:gd name="connsiteX95" fmla="*/ 697252 w 4519987"/>
                    <a:gd name="connsiteY95" fmla="*/ 3838575 h 4496940"/>
                    <a:gd name="connsiteX96" fmla="*/ 640102 w 4519987"/>
                    <a:gd name="connsiteY96" fmla="*/ 3781425 h 4496940"/>
                    <a:gd name="connsiteX97" fmla="*/ 611527 w 4519987"/>
                    <a:gd name="connsiteY97" fmla="*/ 3733800 h 4496940"/>
                    <a:gd name="connsiteX98" fmla="*/ 554377 w 4519987"/>
                    <a:gd name="connsiteY98" fmla="*/ 3657600 h 4496940"/>
                    <a:gd name="connsiteX99" fmla="*/ 525802 w 4519987"/>
                    <a:gd name="connsiteY99" fmla="*/ 3609975 h 4496940"/>
                    <a:gd name="connsiteX100" fmla="*/ 497227 w 4519987"/>
                    <a:gd name="connsiteY100" fmla="*/ 3552825 h 4496940"/>
                    <a:gd name="connsiteX101" fmla="*/ 440077 w 4519987"/>
                    <a:gd name="connsiteY101" fmla="*/ 3495675 h 4496940"/>
                    <a:gd name="connsiteX102" fmla="*/ 411502 w 4519987"/>
                    <a:gd name="connsiteY102" fmla="*/ 3448050 h 4496940"/>
                    <a:gd name="connsiteX103" fmla="*/ 278152 w 4519987"/>
                    <a:gd name="connsiteY103" fmla="*/ 3257550 h 4496940"/>
                    <a:gd name="connsiteX104" fmla="*/ 249577 w 4519987"/>
                    <a:gd name="connsiteY104" fmla="*/ 3200400 h 4496940"/>
                    <a:gd name="connsiteX105" fmla="*/ 240052 w 4519987"/>
                    <a:gd name="connsiteY105" fmla="*/ 3162300 h 4496940"/>
                    <a:gd name="connsiteX106" fmla="*/ 221002 w 4519987"/>
                    <a:gd name="connsiteY106" fmla="*/ 3105150 h 4496940"/>
                    <a:gd name="connsiteX107" fmla="*/ 173377 w 4519987"/>
                    <a:gd name="connsiteY107" fmla="*/ 3019425 h 4496940"/>
                    <a:gd name="connsiteX108" fmla="*/ 144802 w 4519987"/>
                    <a:gd name="connsiteY108" fmla="*/ 2924175 h 4496940"/>
                    <a:gd name="connsiteX109" fmla="*/ 68602 w 4519987"/>
                    <a:gd name="connsiteY109" fmla="*/ 2724150 h 4496940"/>
                    <a:gd name="connsiteX110" fmla="*/ 49552 w 4519987"/>
                    <a:gd name="connsiteY110" fmla="*/ 2638425 h 4496940"/>
                    <a:gd name="connsiteX111" fmla="*/ 40027 w 4519987"/>
                    <a:gd name="connsiteY111" fmla="*/ 2562225 h 4496940"/>
                    <a:gd name="connsiteX112" fmla="*/ 30502 w 4519987"/>
                    <a:gd name="connsiteY112" fmla="*/ 2514600 h 4496940"/>
                    <a:gd name="connsiteX113" fmla="*/ 11452 w 4519987"/>
                    <a:gd name="connsiteY113" fmla="*/ 2400300 h 4496940"/>
                    <a:gd name="connsiteX114" fmla="*/ 20977 w 4519987"/>
                    <a:gd name="connsiteY114" fmla="*/ 1905000 h 4496940"/>
                    <a:gd name="connsiteX115" fmla="*/ 30502 w 4519987"/>
                    <a:gd name="connsiteY115" fmla="*/ 1838325 h 4496940"/>
                    <a:gd name="connsiteX116" fmla="*/ 49552 w 4519987"/>
                    <a:gd name="connsiteY116" fmla="*/ 1781175 h 4496940"/>
                    <a:gd name="connsiteX117" fmla="*/ 59077 w 4519987"/>
                    <a:gd name="connsiteY117" fmla="*/ 1743075 h 4496940"/>
                    <a:gd name="connsiteX118" fmla="*/ 78127 w 4519987"/>
                    <a:gd name="connsiteY118" fmla="*/ 1685925 h 4496940"/>
                    <a:gd name="connsiteX119" fmla="*/ 87652 w 4519987"/>
                    <a:gd name="connsiteY119" fmla="*/ 1638300 h 4496940"/>
                    <a:gd name="connsiteX120" fmla="*/ 106702 w 4519987"/>
                    <a:gd name="connsiteY120" fmla="*/ 1590675 h 4496940"/>
                    <a:gd name="connsiteX121" fmla="*/ 135277 w 4519987"/>
                    <a:gd name="connsiteY121" fmla="*/ 1504950 h 4496940"/>
                    <a:gd name="connsiteX122" fmla="*/ 154327 w 4519987"/>
                    <a:gd name="connsiteY122" fmla="*/ 1419225 h 4496940"/>
                    <a:gd name="connsiteX123" fmla="*/ 230527 w 4519987"/>
                    <a:gd name="connsiteY123" fmla="*/ 1276350 h 4496940"/>
                    <a:gd name="connsiteX124" fmla="*/ 240052 w 4519987"/>
                    <a:gd name="connsiteY124" fmla="*/ 1247775 h 4496940"/>
                    <a:gd name="connsiteX125" fmla="*/ 268627 w 4519987"/>
                    <a:gd name="connsiteY125" fmla="*/ 1200150 h 4496940"/>
                    <a:gd name="connsiteX126" fmla="*/ 287677 w 4519987"/>
                    <a:gd name="connsiteY126" fmla="*/ 1152525 h 4496940"/>
                    <a:gd name="connsiteX127" fmla="*/ 316252 w 4519987"/>
                    <a:gd name="connsiteY127" fmla="*/ 1114425 h 4496940"/>
                    <a:gd name="connsiteX128" fmla="*/ 363877 w 4519987"/>
                    <a:gd name="connsiteY128" fmla="*/ 1038225 h 4496940"/>
                    <a:gd name="connsiteX129" fmla="*/ 382927 w 4519987"/>
                    <a:gd name="connsiteY129" fmla="*/ 1009650 h 4496940"/>
                    <a:gd name="connsiteX130" fmla="*/ 440077 w 4519987"/>
                    <a:gd name="connsiteY130" fmla="*/ 904875 h 4496940"/>
                    <a:gd name="connsiteX131" fmla="*/ 478177 w 4519987"/>
                    <a:gd name="connsiteY131" fmla="*/ 857250 h 4496940"/>
                    <a:gd name="connsiteX132" fmla="*/ 497227 w 4519987"/>
                    <a:gd name="connsiteY132" fmla="*/ 828675 h 4496940"/>
                    <a:gd name="connsiteX133" fmla="*/ 535327 w 4519987"/>
                    <a:gd name="connsiteY133" fmla="*/ 800100 h 4496940"/>
                    <a:gd name="connsiteX134" fmla="*/ 602002 w 4519987"/>
                    <a:gd name="connsiteY134" fmla="*/ 733425 h 4496940"/>
                    <a:gd name="connsiteX135" fmla="*/ 668677 w 4519987"/>
                    <a:gd name="connsiteY135" fmla="*/ 676275 h 4496940"/>
                    <a:gd name="connsiteX136" fmla="*/ 697252 w 4519987"/>
                    <a:gd name="connsiteY136" fmla="*/ 657225 h 4496940"/>
                    <a:gd name="connsiteX137" fmla="*/ 840127 w 4519987"/>
                    <a:gd name="connsiteY137" fmla="*/ 533400 h 4496940"/>
                    <a:gd name="connsiteX138" fmla="*/ 887752 w 4519987"/>
                    <a:gd name="connsiteY138" fmla="*/ 504825 h 4496940"/>
                    <a:gd name="connsiteX139" fmla="*/ 1167152 w 4519987"/>
                    <a:gd name="connsiteY139" fmla="*/ 311150 h 4496940"/>
                    <a:gd name="connsiteX140" fmla="*/ 1268752 w 4519987"/>
                    <a:gd name="connsiteY140" fmla="*/ 285750 h 4496940"/>
                    <a:gd name="connsiteX141" fmla="*/ 1411627 w 4519987"/>
                    <a:gd name="connsiteY141" fmla="*/ 190500 h 4496940"/>
                    <a:gd name="connsiteX142" fmla="*/ 1449727 w 4519987"/>
                    <a:gd name="connsiteY142" fmla="*/ 161925 h 4496940"/>
                    <a:gd name="connsiteX143" fmla="*/ 1525927 w 4519987"/>
                    <a:gd name="connsiteY143" fmla="*/ 152400 h 4496940"/>
                    <a:gd name="connsiteX144" fmla="*/ 1583077 w 4519987"/>
                    <a:gd name="connsiteY144" fmla="*/ 142875 h 4496940"/>
                    <a:gd name="connsiteX145" fmla="*/ 1716427 w 4519987"/>
                    <a:gd name="connsiteY145" fmla="*/ 123825 h 4496940"/>
                    <a:gd name="connsiteX146" fmla="*/ 1811677 w 4519987"/>
                    <a:gd name="connsiteY146" fmla="*/ 114300 h 4496940"/>
                    <a:gd name="connsiteX147" fmla="*/ 1859302 w 4519987"/>
                    <a:gd name="connsiteY147" fmla="*/ 104775 h 4496940"/>
                    <a:gd name="connsiteX148" fmla="*/ 1916452 w 4519987"/>
                    <a:gd name="connsiteY148" fmla="*/ 95250 h 4496940"/>
                    <a:gd name="connsiteX149" fmla="*/ 2030752 w 4519987"/>
                    <a:gd name="connsiteY149" fmla="*/ 66675 h 4496940"/>
                    <a:gd name="connsiteX150" fmla="*/ 2097427 w 4519987"/>
                    <a:gd name="connsiteY150" fmla="*/ 47625 h 4496940"/>
                    <a:gd name="connsiteX151" fmla="*/ 2164102 w 4519987"/>
                    <a:gd name="connsiteY151" fmla="*/ 38100 h 4496940"/>
                    <a:gd name="connsiteX152" fmla="*/ 2392702 w 4519987"/>
                    <a:gd name="connsiteY15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745252 w 4519987"/>
                    <a:gd name="connsiteY20" fmla="*/ 542925 h 4496940"/>
                    <a:gd name="connsiteX21" fmla="*/ 3811927 w 4519987"/>
                    <a:gd name="connsiteY21" fmla="*/ 581025 h 4496940"/>
                    <a:gd name="connsiteX22" fmla="*/ 3907177 w 4519987"/>
                    <a:gd name="connsiteY22" fmla="*/ 647700 h 4496940"/>
                    <a:gd name="connsiteX23" fmla="*/ 3935752 w 4519987"/>
                    <a:gd name="connsiteY23" fmla="*/ 676275 h 4496940"/>
                    <a:gd name="connsiteX24" fmla="*/ 4078627 w 4519987"/>
                    <a:gd name="connsiteY24" fmla="*/ 838200 h 4496940"/>
                    <a:gd name="connsiteX25" fmla="*/ 4135777 w 4519987"/>
                    <a:gd name="connsiteY25" fmla="*/ 933450 h 4496940"/>
                    <a:gd name="connsiteX26" fmla="*/ 4164352 w 4519987"/>
                    <a:gd name="connsiteY26" fmla="*/ 990600 h 4496940"/>
                    <a:gd name="connsiteX27" fmla="*/ 4173877 w 4519987"/>
                    <a:gd name="connsiteY27" fmla="*/ 1019175 h 4496940"/>
                    <a:gd name="connsiteX28" fmla="*/ 4192927 w 4519987"/>
                    <a:gd name="connsiteY28" fmla="*/ 1057275 h 4496940"/>
                    <a:gd name="connsiteX29" fmla="*/ 4202452 w 4519987"/>
                    <a:gd name="connsiteY29" fmla="*/ 1085850 h 4496940"/>
                    <a:gd name="connsiteX30" fmla="*/ 4250077 w 4519987"/>
                    <a:gd name="connsiteY30" fmla="*/ 1143000 h 4496940"/>
                    <a:gd name="connsiteX31" fmla="*/ 4259602 w 4519987"/>
                    <a:gd name="connsiteY31" fmla="*/ 1190625 h 4496940"/>
                    <a:gd name="connsiteX32" fmla="*/ 4307227 w 4519987"/>
                    <a:gd name="connsiteY32" fmla="*/ 1266825 h 4496940"/>
                    <a:gd name="connsiteX33" fmla="*/ 4345327 w 4519987"/>
                    <a:gd name="connsiteY33" fmla="*/ 1362075 h 4496940"/>
                    <a:gd name="connsiteX34" fmla="*/ 4373902 w 4519987"/>
                    <a:gd name="connsiteY34" fmla="*/ 1428750 h 4496940"/>
                    <a:gd name="connsiteX35" fmla="*/ 4392952 w 4519987"/>
                    <a:gd name="connsiteY35" fmla="*/ 1552575 h 4496940"/>
                    <a:gd name="connsiteX36" fmla="*/ 4402477 w 4519987"/>
                    <a:gd name="connsiteY36" fmla="*/ 1590675 h 4496940"/>
                    <a:gd name="connsiteX37" fmla="*/ 4431052 w 4519987"/>
                    <a:gd name="connsiteY37" fmla="*/ 1685925 h 4496940"/>
                    <a:gd name="connsiteX38" fmla="*/ 4519952 w 4519987"/>
                    <a:gd name="connsiteY38" fmla="*/ 2181225 h 4496940"/>
                    <a:gd name="connsiteX39" fmla="*/ 4446927 w 4519987"/>
                    <a:gd name="connsiteY39" fmla="*/ 2768600 h 4496940"/>
                    <a:gd name="connsiteX40" fmla="*/ 4383427 w 4519987"/>
                    <a:gd name="connsiteY40" fmla="*/ 2990850 h 4496940"/>
                    <a:gd name="connsiteX41" fmla="*/ 4278652 w 4519987"/>
                    <a:gd name="connsiteY41" fmla="*/ 3248025 h 4496940"/>
                    <a:gd name="connsiteX42" fmla="*/ 4259602 w 4519987"/>
                    <a:gd name="connsiteY42" fmla="*/ 3276600 h 4496940"/>
                    <a:gd name="connsiteX43" fmla="*/ 4221502 w 4519987"/>
                    <a:gd name="connsiteY43" fmla="*/ 3333750 h 4496940"/>
                    <a:gd name="connsiteX44" fmla="*/ 4211977 w 4519987"/>
                    <a:gd name="connsiteY44" fmla="*/ 3362325 h 4496940"/>
                    <a:gd name="connsiteX45" fmla="*/ 4183402 w 4519987"/>
                    <a:gd name="connsiteY45" fmla="*/ 3400425 h 4496940"/>
                    <a:gd name="connsiteX46" fmla="*/ 4164352 w 4519987"/>
                    <a:gd name="connsiteY46" fmla="*/ 3429000 h 4496940"/>
                    <a:gd name="connsiteX47" fmla="*/ 4088152 w 4519987"/>
                    <a:gd name="connsiteY47" fmla="*/ 3495675 h 4496940"/>
                    <a:gd name="connsiteX48" fmla="*/ 4059577 w 4519987"/>
                    <a:gd name="connsiteY48" fmla="*/ 3533775 h 4496940"/>
                    <a:gd name="connsiteX49" fmla="*/ 4002427 w 4519987"/>
                    <a:gd name="connsiteY49" fmla="*/ 3600450 h 4496940"/>
                    <a:gd name="connsiteX50" fmla="*/ 3983377 w 4519987"/>
                    <a:gd name="connsiteY50" fmla="*/ 3629025 h 4496940"/>
                    <a:gd name="connsiteX51" fmla="*/ 3954802 w 4519987"/>
                    <a:gd name="connsiteY51" fmla="*/ 3648075 h 4496940"/>
                    <a:gd name="connsiteX52" fmla="*/ 3907177 w 4519987"/>
                    <a:gd name="connsiteY52" fmla="*/ 3686175 h 4496940"/>
                    <a:gd name="connsiteX53" fmla="*/ 3869077 w 4519987"/>
                    <a:gd name="connsiteY53" fmla="*/ 3724275 h 4496940"/>
                    <a:gd name="connsiteX54" fmla="*/ 3792877 w 4519987"/>
                    <a:gd name="connsiteY54" fmla="*/ 3781425 h 4496940"/>
                    <a:gd name="connsiteX55" fmla="*/ 3783352 w 4519987"/>
                    <a:gd name="connsiteY55" fmla="*/ 3810000 h 4496940"/>
                    <a:gd name="connsiteX56" fmla="*/ 3745252 w 4519987"/>
                    <a:gd name="connsiteY56" fmla="*/ 3819525 h 4496940"/>
                    <a:gd name="connsiteX57" fmla="*/ 3678577 w 4519987"/>
                    <a:gd name="connsiteY57" fmla="*/ 3848100 h 4496940"/>
                    <a:gd name="connsiteX58" fmla="*/ 3659527 w 4519987"/>
                    <a:gd name="connsiteY58" fmla="*/ 3971925 h 4496940"/>
                    <a:gd name="connsiteX59" fmla="*/ 3630952 w 4519987"/>
                    <a:gd name="connsiteY59" fmla="*/ 4010025 h 4496940"/>
                    <a:gd name="connsiteX60" fmla="*/ 3621427 w 4519987"/>
                    <a:gd name="connsiteY60" fmla="*/ 4038600 h 4496940"/>
                    <a:gd name="connsiteX61" fmla="*/ 3554752 w 4519987"/>
                    <a:gd name="connsiteY61" fmla="*/ 4095750 h 4496940"/>
                    <a:gd name="connsiteX62" fmla="*/ 3516652 w 4519987"/>
                    <a:gd name="connsiteY62" fmla="*/ 4114800 h 4496940"/>
                    <a:gd name="connsiteX63" fmla="*/ 3497602 w 4519987"/>
                    <a:gd name="connsiteY63" fmla="*/ 4143375 h 4496940"/>
                    <a:gd name="connsiteX64" fmla="*/ 3383302 w 4519987"/>
                    <a:gd name="connsiteY64" fmla="*/ 4210050 h 4496940"/>
                    <a:gd name="connsiteX65" fmla="*/ 3335677 w 4519987"/>
                    <a:gd name="connsiteY65" fmla="*/ 4238625 h 4496940"/>
                    <a:gd name="connsiteX66" fmla="*/ 3288052 w 4519987"/>
                    <a:gd name="connsiteY66" fmla="*/ 4248150 h 4496940"/>
                    <a:gd name="connsiteX67" fmla="*/ 3240427 w 4519987"/>
                    <a:gd name="connsiteY67" fmla="*/ 4267200 h 4496940"/>
                    <a:gd name="connsiteX68" fmla="*/ 3068977 w 4519987"/>
                    <a:gd name="connsiteY68" fmla="*/ 4286250 h 4496940"/>
                    <a:gd name="connsiteX69" fmla="*/ 2935627 w 4519987"/>
                    <a:gd name="connsiteY69" fmla="*/ 4333875 h 4496940"/>
                    <a:gd name="connsiteX70" fmla="*/ 2811802 w 4519987"/>
                    <a:gd name="connsiteY70" fmla="*/ 4371975 h 4496940"/>
                    <a:gd name="connsiteX71" fmla="*/ 2745127 w 4519987"/>
                    <a:gd name="connsiteY71" fmla="*/ 4410075 h 4496940"/>
                    <a:gd name="connsiteX72" fmla="*/ 2697502 w 4519987"/>
                    <a:gd name="connsiteY72" fmla="*/ 4429125 h 4496940"/>
                    <a:gd name="connsiteX73" fmla="*/ 2640352 w 4519987"/>
                    <a:gd name="connsiteY73" fmla="*/ 4457700 h 4496940"/>
                    <a:gd name="connsiteX74" fmla="*/ 2583202 w 4519987"/>
                    <a:gd name="connsiteY74" fmla="*/ 4467225 h 4496940"/>
                    <a:gd name="connsiteX75" fmla="*/ 2545102 w 4519987"/>
                    <a:gd name="connsiteY75" fmla="*/ 4486275 h 4496940"/>
                    <a:gd name="connsiteX76" fmla="*/ 2306977 w 4519987"/>
                    <a:gd name="connsiteY76" fmla="*/ 4476750 h 4496940"/>
                    <a:gd name="connsiteX77" fmla="*/ 2202202 w 4519987"/>
                    <a:gd name="connsiteY77" fmla="*/ 4457700 h 4496940"/>
                    <a:gd name="connsiteX78" fmla="*/ 2126002 w 4519987"/>
                    <a:gd name="connsiteY78" fmla="*/ 4429125 h 4496940"/>
                    <a:gd name="connsiteX79" fmla="*/ 1935502 w 4519987"/>
                    <a:gd name="connsiteY79" fmla="*/ 4400550 h 4496940"/>
                    <a:gd name="connsiteX80" fmla="*/ 1821202 w 4519987"/>
                    <a:gd name="connsiteY80" fmla="*/ 4371975 h 4496940"/>
                    <a:gd name="connsiteX81" fmla="*/ 1754527 w 4519987"/>
                    <a:gd name="connsiteY81" fmla="*/ 4352925 h 4496940"/>
                    <a:gd name="connsiteX82" fmla="*/ 1687852 w 4519987"/>
                    <a:gd name="connsiteY82" fmla="*/ 4343400 h 4496940"/>
                    <a:gd name="connsiteX83" fmla="*/ 1573552 w 4519987"/>
                    <a:gd name="connsiteY83" fmla="*/ 4305300 h 4496940"/>
                    <a:gd name="connsiteX84" fmla="*/ 1402102 w 4519987"/>
                    <a:gd name="connsiteY84" fmla="*/ 4276725 h 4496940"/>
                    <a:gd name="connsiteX85" fmla="*/ 1287802 w 4519987"/>
                    <a:gd name="connsiteY85" fmla="*/ 4229100 h 4496940"/>
                    <a:gd name="connsiteX86" fmla="*/ 1221127 w 4519987"/>
                    <a:gd name="connsiteY86" fmla="*/ 4200525 h 4496940"/>
                    <a:gd name="connsiteX87" fmla="*/ 1144927 w 4519987"/>
                    <a:gd name="connsiteY87" fmla="*/ 4171950 h 4496940"/>
                    <a:gd name="connsiteX88" fmla="*/ 1087777 w 4519987"/>
                    <a:gd name="connsiteY88" fmla="*/ 4143375 h 4496940"/>
                    <a:gd name="connsiteX89" fmla="*/ 1030627 w 4519987"/>
                    <a:gd name="connsiteY89" fmla="*/ 4124325 h 4496940"/>
                    <a:gd name="connsiteX90" fmla="*/ 925852 w 4519987"/>
                    <a:gd name="connsiteY90" fmla="*/ 4067175 h 4496940"/>
                    <a:gd name="connsiteX91" fmla="*/ 830602 w 4519987"/>
                    <a:gd name="connsiteY91" fmla="*/ 3981450 h 4496940"/>
                    <a:gd name="connsiteX92" fmla="*/ 763927 w 4519987"/>
                    <a:gd name="connsiteY92" fmla="*/ 3914775 h 4496940"/>
                    <a:gd name="connsiteX93" fmla="*/ 725827 w 4519987"/>
                    <a:gd name="connsiteY93" fmla="*/ 3876675 h 4496940"/>
                    <a:gd name="connsiteX94" fmla="*/ 697252 w 4519987"/>
                    <a:gd name="connsiteY94" fmla="*/ 3838575 h 4496940"/>
                    <a:gd name="connsiteX95" fmla="*/ 640102 w 4519987"/>
                    <a:gd name="connsiteY95" fmla="*/ 3781425 h 4496940"/>
                    <a:gd name="connsiteX96" fmla="*/ 611527 w 4519987"/>
                    <a:gd name="connsiteY96" fmla="*/ 3733800 h 4496940"/>
                    <a:gd name="connsiteX97" fmla="*/ 554377 w 4519987"/>
                    <a:gd name="connsiteY97" fmla="*/ 3657600 h 4496940"/>
                    <a:gd name="connsiteX98" fmla="*/ 525802 w 4519987"/>
                    <a:gd name="connsiteY98" fmla="*/ 3609975 h 4496940"/>
                    <a:gd name="connsiteX99" fmla="*/ 497227 w 4519987"/>
                    <a:gd name="connsiteY99" fmla="*/ 3552825 h 4496940"/>
                    <a:gd name="connsiteX100" fmla="*/ 440077 w 4519987"/>
                    <a:gd name="connsiteY100" fmla="*/ 3495675 h 4496940"/>
                    <a:gd name="connsiteX101" fmla="*/ 411502 w 4519987"/>
                    <a:gd name="connsiteY101" fmla="*/ 3448050 h 4496940"/>
                    <a:gd name="connsiteX102" fmla="*/ 278152 w 4519987"/>
                    <a:gd name="connsiteY102" fmla="*/ 3257550 h 4496940"/>
                    <a:gd name="connsiteX103" fmla="*/ 249577 w 4519987"/>
                    <a:gd name="connsiteY103" fmla="*/ 3200400 h 4496940"/>
                    <a:gd name="connsiteX104" fmla="*/ 240052 w 4519987"/>
                    <a:gd name="connsiteY104" fmla="*/ 3162300 h 4496940"/>
                    <a:gd name="connsiteX105" fmla="*/ 221002 w 4519987"/>
                    <a:gd name="connsiteY105" fmla="*/ 3105150 h 4496940"/>
                    <a:gd name="connsiteX106" fmla="*/ 173377 w 4519987"/>
                    <a:gd name="connsiteY106" fmla="*/ 3019425 h 4496940"/>
                    <a:gd name="connsiteX107" fmla="*/ 144802 w 4519987"/>
                    <a:gd name="connsiteY107" fmla="*/ 2924175 h 4496940"/>
                    <a:gd name="connsiteX108" fmla="*/ 68602 w 4519987"/>
                    <a:gd name="connsiteY108" fmla="*/ 2724150 h 4496940"/>
                    <a:gd name="connsiteX109" fmla="*/ 49552 w 4519987"/>
                    <a:gd name="connsiteY109" fmla="*/ 2638425 h 4496940"/>
                    <a:gd name="connsiteX110" fmla="*/ 40027 w 4519987"/>
                    <a:gd name="connsiteY110" fmla="*/ 2562225 h 4496940"/>
                    <a:gd name="connsiteX111" fmla="*/ 30502 w 4519987"/>
                    <a:gd name="connsiteY111" fmla="*/ 2514600 h 4496940"/>
                    <a:gd name="connsiteX112" fmla="*/ 11452 w 4519987"/>
                    <a:gd name="connsiteY112" fmla="*/ 2400300 h 4496940"/>
                    <a:gd name="connsiteX113" fmla="*/ 20977 w 4519987"/>
                    <a:gd name="connsiteY113" fmla="*/ 1905000 h 4496940"/>
                    <a:gd name="connsiteX114" fmla="*/ 30502 w 4519987"/>
                    <a:gd name="connsiteY114" fmla="*/ 1838325 h 4496940"/>
                    <a:gd name="connsiteX115" fmla="*/ 49552 w 4519987"/>
                    <a:gd name="connsiteY115" fmla="*/ 1781175 h 4496940"/>
                    <a:gd name="connsiteX116" fmla="*/ 59077 w 4519987"/>
                    <a:gd name="connsiteY116" fmla="*/ 1743075 h 4496940"/>
                    <a:gd name="connsiteX117" fmla="*/ 78127 w 4519987"/>
                    <a:gd name="connsiteY117" fmla="*/ 1685925 h 4496940"/>
                    <a:gd name="connsiteX118" fmla="*/ 87652 w 4519987"/>
                    <a:gd name="connsiteY118" fmla="*/ 1638300 h 4496940"/>
                    <a:gd name="connsiteX119" fmla="*/ 106702 w 4519987"/>
                    <a:gd name="connsiteY119" fmla="*/ 1590675 h 4496940"/>
                    <a:gd name="connsiteX120" fmla="*/ 135277 w 4519987"/>
                    <a:gd name="connsiteY120" fmla="*/ 1504950 h 4496940"/>
                    <a:gd name="connsiteX121" fmla="*/ 154327 w 4519987"/>
                    <a:gd name="connsiteY121" fmla="*/ 1419225 h 4496940"/>
                    <a:gd name="connsiteX122" fmla="*/ 230527 w 4519987"/>
                    <a:gd name="connsiteY122" fmla="*/ 1276350 h 4496940"/>
                    <a:gd name="connsiteX123" fmla="*/ 240052 w 4519987"/>
                    <a:gd name="connsiteY123" fmla="*/ 1247775 h 4496940"/>
                    <a:gd name="connsiteX124" fmla="*/ 268627 w 4519987"/>
                    <a:gd name="connsiteY124" fmla="*/ 1200150 h 4496940"/>
                    <a:gd name="connsiteX125" fmla="*/ 287677 w 4519987"/>
                    <a:gd name="connsiteY125" fmla="*/ 1152525 h 4496940"/>
                    <a:gd name="connsiteX126" fmla="*/ 316252 w 4519987"/>
                    <a:gd name="connsiteY126" fmla="*/ 1114425 h 4496940"/>
                    <a:gd name="connsiteX127" fmla="*/ 363877 w 4519987"/>
                    <a:gd name="connsiteY127" fmla="*/ 1038225 h 4496940"/>
                    <a:gd name="connsiteX128" fmla="*/ 382927 w 4519987"/>
                    <a:gd name="connsiteY128" fmla="*/ 1009650 h 4496940"/>
                    <a:gd name="connsiteX129" fmla="*/ 440077 w 4519987"/>
                    <a:gd name="connsiteY129" fmla="*/ 904875 h 4496940"/>
                    <a:gd name="connsiteX130" fmla="*/ 478177 w 4519987"/>
                    <a:gd name="connsiteY130" fmla="*/ 857250 h 4496940"/>
                    <a:gd name="connsiteX131" fmla="*/ 497227 w 4519987"/>
                    <a:gd name="connsiteY131" fmla="*/ 828675 h 4496940"/>
                    <a:gd name="connsiteX132" fmla="*/ 535327 w 4519987"/>
                    <a:gd name="connsiteY132" fmla="*/ 800100 h 4496940"/>
                    <a:gd name="connsiteX133" fmla="*/ 602002 w 4519987"/>
                    <a:gd name="connsiteY133" fmla="*/ 733425 h 4496940"/>
                    <a:gd name="connsiteX134" fmla="*/ 668677 w 4519987"/>
                    <a:gd name="connsiteY134" fmla="*/ 676275 h 4496940"/>
                    <a:gd name="connsiteX135" fmla="*/ 697252 w 4519987"/>
                    <a:gd name="connsiteY135" fmla="*/ 657225 h 4496940"/>
                    <a:gd name="connsiteX136" fmla="*/ 840127 w 4519987"/>
                    <a:gd name="connsiteY136" fmla="*/ 533400 h 4496940"/>
                    <a:gd name="connsiteX137" fmla="*/ 887752 w 4519987"/>
                    <a:gd name="connsiteY137" fmla="*/ 504825 h 4496940"/>
                    <a:gd name="connsiteX138" fmla="*/ 1167152 w 4519987"/>
                    <a:gd name="connsiteY138" fmla="*/ 311150 h 4496940"/>
                    <a:gd name="connsiteX139" fmla="*/ 1268752 w 4519987"/>
                    <a:gd name="connsiteY139" fmla="*/ 285750 h 4496940"/>
                    <a:gd name="connsiteX140" fmla="*/ 1411627 w 4519987"/>
                    <a:gd name="connsiteY140" fmla="*/ 190500 h 4496940"/>
                    <a:gd name="connsiteX141" fmla="*/ 1449727 w 4519987"/>
                    <a:gd name="connsiteY141" fmla="*/ 161925 h 4496940"/>
                    <a:gd name="connsiteX142" fmla="*/ 1525927 w 4519987"/>
                    <a:gd name="connsiteY142" fmla="*/ 152400 h 4496940"/>
                    <a:gd name="connsiteX143" fmla="*/ 1583077 w 4519987"/>
                    <a:gd name="connsiteY143" fmla="*/ 142875 h 4496940"/>
                    <a:gd name="connsiteX144" fmla="*/ 1716427 w 4519987"/>
                    <a:gd name="connsiteY144" fmla="*/ 123825 h 4496940"/>
                    <a:gd name="connsiteX145" fmla="*/ 1811677 w 4519987"/>
                    <a:gd name="connsiteY145" fmla="*/ 114300 h 4496940"/>
                    <a:gd name="connsiteX146" fmla="*/ 1859302 w 4519987"/>
                    <a:gd name="connsiteY146" fmla="*/ 104775 h 4496940"/>
                    <a:gd name="connsiteX147" fmla="*/ 1916452 w 4519987"/>
                    <a:gd name="connsiteY147" fmla="*/ 95250 h 4496940"/>
                    <a:gd name="connsiteX148" fmla="*/ 2030752 w 4519987"/>
                    <a:gd name="connsiteY148" fmla="*/ 66675 h 4496940"/>
                    <a:gd name="connsiteX149" fmla="*/ 2097427 w 4519987"/>
                    <a:gd name="connsiteY149" fmla="*/ 47625 h 4496940"/>
                    <a:gd name="connsiteX150" fmla="*/ 2164102 w 4519987"/>
                    <a:gd name="connsiteY150" fmla="*/ 38100 h 4496940"/>
                    <a:gd name="connsiteX151" fmla="*/ 2392702 w 4519987"/>
                    <a:gd name="connsiteY15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3935752 w 4519987"/>
                    <a:gd name="connsiteY22" fmla="*/ 676275 h 4496940"/>
                    <a:gd name="connsiteX23" fmla="*/ 4078627 w 4519987"/>
                    <a:gd name="connsiteY23" fmla="*/ 838200 h 4496940"/>
                    <a:gd name="connsiteX24" fmla="*/ 4135777 w 4519987"/>
                    <a:gd name="connsiteY24" fmla="*/ 933450 h 4496940"/>
                    <a:gd name="connsiteX25" fmla="*/ 4164352 w 4519987"/>
                    <a:gd name="connsiteY25" fmla="*/ 990600 h 4496940"/>
                    <a:gd name="connsiteX26" fmla="*/ 4173877 w 4519987"/>
                    <a:gd name="connsiteY26" fmla="*/ 1019175 h 4496940"/>
                    <a:gd name="connsiteX27" fmla="*/ 4192927 w 4519987"/>
                    <a:gd name="connsiteY27" fmla="*/ 1057275 h 4496940"/>
                    <a:gd name="connsiteX28" fmla="*/ 4202452 w 4519987"/>
                    <a:gd name="connsiteY28" fmla="*/ 1085850 h 4496940"/>
                    <a:gd name="connsiteX29" fmla="*/ 4250077 w 4519987"/>
                    <a:gd name="connsiteY29" fmla="*/ 1143000 h 4496940"/>
                    <a:gd name="connsiteX30" fmla="*/ 4259602 w 4519987"/>
                    <a:gd name="connsiteY30" fmla="*/ 1190625 h 4496940"/>
                    <a:gd name="connsiteX31" fmla="*/ 4307227 w 4519987"/>
                    <a:gd name="connsiteY31" fmla="*/ 1266825 h 4496940"/>
                    <a:gd name="connsiteX32" fmla="*/ 4345327 w 4519987"/>
                    <a:gd name="connsiteY32" fmla="*/ 1362075 h 4496940"/>
                    <a:gd name="connsiteX33" fmla="*/ 4373902 w 4519987"/>
                    <a:gd name="connsiteY33" fmla="*/ 1428750 h 4496940"/>
                    <a:gd name="connsiteX34" fmla="*/ 4392952 w 4519987"/>
                    <a:gd name="connsiteY34" fmla="*/ 1552575 h 4496940"/>
                    <a:gd name="connsiteX35" fmla="*/ 4402477 w 4519987"/>
                    <a:gd name="connsiteY35" fmla="*/ 1590675 h 4496940"/>
                    <a:gd name="connsiteX36" fmla="*/ 4431052 w 4519987"/>
                    <a:gd name="connsiteY36" fmla="*/ 1685925 h 4496940"/>
                    <a:gd name="connsiteX37" fmla="*/ 4519952 w 4519987"/>
                    <a:gd name="connsiteY37" fmla="*/ 2181225 h 4496940"/>
                    <a:gd name="connsiteX38" fmla="*/ 4446927 w 4519987"/>
                    <a:gd name="connsiteY38" fmla="*/ 2768600 h 4496940"/>
                    <a:gd name="connsiteX39" fmla="*/ 4383427 w 4519987"/>
                    <a:gd name="connsiteY39" fmla="*/ 2990850 h 4496940"/>
                    <a:gd name="connsiteX40" fmla="*/ 4278652 w 4519987"/>
                    <a:gd name="connsiteY40" fmla="*/ 3248025 h 4496940"/>
                    <a:gd name="connsiteX41" fmla="*/ 4259602 w 4519987"/>
                    <a:gd name="connsiteY41" fmla="*/ 3276600 h 4496940"/>
                    <a:gd name="connsiteX42" fmla="*/ 4221502 w 4519987"/>
                    <a:gd name="connsiteY42" fmla="*/ 3333750 h 4496940"/>
                    <a:gd name="connsiteX43" fmla="*/ 4211977 w 4519987"/>
                    <a:gd name="connsiteY43" fmla="*/ 3362325 h 4496940"/>
                    <a:gd name="connsiteX44" fmla="*/ 4183402 w 4519987"/>
                    <a:gd name="connsiteY44" fmla="*/ 3400425 h 4496940"/>
                    <a:gd name="connsiteX45" fmla="*/ 4164352 w 4519987"/>
                    <a:gd name="connsiteY45" fmla="*/ 3429000 h 4496940"/>
                    <a:gd name="connsiteX46" fmla="*/ 4088152 w 4519987"/>
                    <a:gd name="connsiteY46" fmla="*/ 3495675 h 4496940"/>
                    <a:gd name="connsiteX47" fmla="*/ 4059577 w 4519987"/>
                    <a:gd name="connsiteY47" fmla="*/ 3533775 h 4496940"/>
                    <a:gd name="connsiteX48" fmla="*/ 4002427 w 4519987"/>
                    <a:gd name="connsiteY48" fmla="*/ 3600450 h 4496940"/>
                    <a:gd name="connsiteX49" fmla="*/ 3983377 w 4519987"/>
                    <a:gd name="connsiteY49" fmla="*/ 3629025 h 4496940"/>
                    <a:gd name="connsiteX50" fmla="*/ 3954802 w 4519987"/>
                    <a:gd name="connsiteY50" fmla="*/ 3648075 h 4496940"/>
                    <a:gd name="connsiteX51" fmla="*/ 3907177 w 4519987"/>
                    <a:gd name="connsiteY51" fmla="*/ 3686175 h 4496940"/>
                    <a:gd name="connsiteX52" fmla="*/ 3869077 w 4519987"/>
                    <a:gd name="connsiteY52" fmla="*/ 3724275 h 4496940"/>
                    <a:gd name="connsiteX53" fmla="*/ 3792877 w 4519987"/>
                    <a:gd name="connsiteY53" fmla="*/ 3781425 h 4496940"/>
                    <a:gd name="connsiteX54" fmla="*/ 3783352 w 4519987"/>
                    <a:gd name="connsiteY54" fmla="*/ 3810000 h 4496940"/>
                    <a:gd name="connsiteX55" fmla="*/ 3745252 w 4519987"/>
                    <a:gd name="connsiteY55" fmla="*/ 3819525 h 4496940"/>
                    <a:gd name="connsiteX56" fmla="*/ 3678577 w 4519987"/>
                    <a:gd name="connsiteY56" fmla="*/ 3848100 h 4496940"/>
                    <a:gd name="connsiteX57" fmla="*/ 3659527 w 4519987"/>
                    <a:gd name="connsiteY57" fmla="*/ 3971925 h 4496940"/>
                    <a:gd name="connsiteX58" fmla="*/ 3630952 w 4519987"/>
                    <a:gd name="connsiteY58" fmla="*/ 4010025 h 4496940"/>
                    <a:gd name="connsiteX59" fmla="*/ 3621427 w 4519987"/>
                    <a:gd name="connsiteY59" fmla="*/ 4038600 h 4496940"/>
                    <a:gd name="connsiteX60" fmla="*/ 3554752 w 4519987"/>
                    <a:gd name="connsiteY60" fmla="*/ 4095750 h 4496940"/>
                    <a:gd name="connsiteX61" fmla="*/ 3516652 w 4519987"/>
                    <a:gd name="connsiteY61" fmla="*/ 4114800 h 4496940"/>
                    <a:gd name="connsiteX62" fmla="*/ 3497602 w 4519987"/>
                    <a:gd name="connsiteY62" fmla="*/ 4143375 h 4496940"/>
                    <a:gd name="connsiteX63" fmla="*/ 3383302 w 4519987"/>
                    <a:gd name="connsiteY63" fmla="*/ 4210050 h 4496940"/>
                    <a:gd name="connsiteX64" fmla="*/ 3335677 w 4519987"/>
                    <a:gd name="connsiteY64" fmla="*/ 4238625 h 4496940"/>
                    <a:gd name="connsiteX65" fmla="*/ 3288052 w 4519987"/>
                    <a:gd name="connsiteY65" fmla="*/ 4248150 h 4496940"/>
                    <a:gd name="connsiteX66" fmla="*/ 3240427 w 4519987"/>
                    <a:gd name="connsiteY66" fmla="*/ 4267200 h 4496940"/>
                    <a:gd name="connsiteX67" fmla="*/ 3068977 w 4519987"/>
                    <a:gd name="connsiteY67" fmla="*/ 4286250 h 4496940"/>
                    <a:gd name="connsiteX68" fmla="*/ 2935627 w 4519987"/>
                    <a:gd name="connsiteY68" fmla="*/ 4333875 h 4496940"/>
                    <a:gd name="connsiteX69" fmla="*/ 2811802 w 4519987"/>
                    <a:gd name="connsiteY69" fmla="*/ 4371975 h 4496940"/>
                    <a:gd name="connsiteX70" fmla="*/ 2745127 w 4519987"/>
                    <a:gd name="connsiteY70" fmla="*/ 4410075 h 4496940"/>
                    <a:gd name="connsiteX71" fmla="*/ 2697502 w 4519987"/>
                    <a:gd name="connsiteY71" fmla="*/ 4429125 h 4496940"/>
                    <a:gd name="connsiteX72" fmla="*/ 2640352 w 4519987"/>
                    <a:gd name="connsiteY72" fmla="*/ 4457700 h 4496940"/>
                    <a:gd name="connsiteX73" fmla="*/ 2583202 w 4519987"/>
                    <a:gd name="connsiteY73" fmla="*/ 4467225 h 4496940"/>
                    <a:gd name="connsiteX74" fmla="*/ 2545102 w 4519987"/>
                    <a:gd name="connsiteY74" fmla="*/ 4486275 h 4496940"/>
                    <a:gd name="connsiteX75" fmla="*/ 2306977 w 4519987"/>
                    <a:gd name="connsiteY75" fmla="*/ 4476750 h 4496940"/>
                    <a:gd name="connsiteX76" fmla="*/ 2202202 w 4519987"/>
                    <a:gd name="connsiteY76" fmla="*/ 4457700 h 4496940"/>
                    <a:gd name="connsiteX77" fmla="*/ 2126002 w 4519987"/>
                    <a:gd name="connsiteY77" fmla="*/ 4429125 h 4496940"/>
                    <a:gd name="connsiteX78" fmla="*/ 1935502 w 4519987"/>
                    <a:gd name="connsiteY78" fmla="*/ 4400550 h 4496940"/>
                    <a:gd name="connsiteX79" fmla="*/ 1821202 w 4519987"/>
                    <a:gd name="connsiteY79" fmla="*/ 4371975 h 4496940"/>
                    <a:gd name="connsiteX80" fmla="*/ 1754527 w 4519987"/>
                    <a:gd name="connsiteY80" fmla="*/ 4352925 h 4496940"/>
                    <a:gd name="connsiteX81" fmla="*/ 1687852 w 4519987"/>
                    <a:gd name="connsiteY81" fmla="*/ 4343400 h 4496940"/>
                    <a:gd name="connsiteX82" fmla="*/ 1573552 w 4519987"/>
                    <a:gd name="connsiteY82" fmla="*/ 4305300 h 4496940"/>
                    <a:gd name="connsiteX83" fmla="*/ 1402102 w 4519987"/>
                    <a:gd name="connsiteY83" fmla="*/ 4276725 h 4496940"/>
                    <a:gd name="connsiteX84" fmla="*/ 1287802 w 4519987"/>
                    <a:gd name="connsiteY84" fmla="*/ 4229100 h 4496940"/>
                    <a:gd name="connsiteX85" fmla="*/ 1221127 w 4519987"/>
                    <a:gd name="connsiteY85" fmla="*/ 4200525 h 4496940"/>
                    <a:gd name="connsiteX86" fmla="*/ 1144927 w 4519987"/>
                    <a:gd name="connsiteY86" fmla="*/ 4171950 h 4496940"/>
                    <a:gd name="connsiteX87" fmla="*/ 1087777 w 4519987"/>
                    <a:gd name="connsiteY87" fmla="*/ 4143375 h 4496940"/>
                    <a:gd name="connsiteX88" fmla="*/ 1030627 w 4519987"/>
                    <a:gd name="connsiteY88" fmla="*/ 4124325 h 4496940"/>
                    <a:gd name="connsiteX89" fmla="*/ 925852 w 4519987"/>
                    <a:gd name="connsiteY89" fmla="*/ 4067175 h 4496940"/>
                    <a:gd name="connsiteX90" fmla="*/ 830602 w 4519987"/>
                    <a:gd name="connsiteY90" fmla="*/ 3981450 h 4496940"/>
                    <a:gd name="connsiteX91" fmla="*/ 763927 w 4519987"/>
                    <a:gd name="connsiteY91" fmla="*/ 3914775 h 4496940"/>
                    <a:gd name="connsiteX92" fmla="*/ 725827 w 4519987"/>
                    <a:gd name="connsiteY92" fmla="*/ 3876675 h 4496940"/>
                    <a:gd name="connsiteX93" fmla="*/ 697252 w 4519987"/>
                    <a:gd name="connsiteY93" fmla="*/ 3838575 h 4496940"/>
                    <a:gd name="connsiteX94" fmla="*/ 640102 w 4519987"/>
                    <a:gd name="connsiteY94" fmla="*/ 3781425 h 4496940"/>
                    <a:gd name="connsiteX95" fmla="*/ 611527 w 4519987"/>
                    <a:gd name="connsiteY95" fmla="*/ 3733800 h 4496940"/>
                    <a:gd name="connsiteX96" fmla="*/ 554377 w 4519987"/>
                    <a:gd name="connsiteY96" fmla="*/ 3657600 h 4496940"/>
                    <a:gd name="connsiteX97" fmla="*/ 525802 w 4519987"/>
                    <a:gd name="connsiteY97" fmla="*/ 3609975 h 4496940"/>
                    <a:gd name="connsiteX98" fmla="*/ 497227 w 4519987"/>
                    <a:gd name="connsiteY98" fmla="*/ 3552825 h 4496940"/>
                    <a:gd name="connsiteX99" fmla="*/ 440077 w 4519987"/>
                    <a:gd name="connsiteY99" fmla="*/ 3495675 h 4496940"/>
                    <a:gd name="connsiteX100" fmla="*/ 411502 w 4519987"/>
                    <a:gd name="connsiteY100" fmla="*/ 3448050 h 4496940"/>
                    <a:gd name="connsiteX101" fmla="*/ 278152 w 4519987"/>
                    <a:gd name="connsiteY101" fmla="*/ 3257550 h 4496940"/>
                    <a:gd name="connsiteX102" fmla="*/ 249577 w 4519987"/>
                    <a:gd name="connsiteY102" fmla="*/ 3200400 h 4496940"/>
                    <a:gd name="connsiteX103" fmla="*/ 240052 w 4519987"/>
                    <a:gd name="connsiteY103" fmla="*/ 3162300 h 4496940"/>
                    <a:gd name="connsiteX104" fmla="*/ 221002 w 4519987"/>
                    <a:gd name="connsiteY104" fmla="*/ 3105150 h 4496940"/>
                    <a:gd name="connsiteX105" fmla="*/ 173377 w 4519987"/>
                    <a:gd name="connsiteY105" fmla="*/ 3019425 h 4496940"/>
                    <a:gd name="connsiteX106" fmla="*/ 144802 w 4519987"/>
                    <a:gd name="connsiteY106" fmla="*/ 2924175 h 4496940"/>
                    <a:gd name="connsiteX107" fmla="*/ 68602 w 4519987"/>
                    <a:gd name="connsiteY107" fmla="*/ 2724150 h 4496940"/>
                    <a:gd name="connsiteX108" fmla="*/ 49552 w 4519987"/>
                    <a:gd name="connsiteY108" fmla="*/ 2638425 h 4496940"/>
                    <a:gd name="connsiteX109" fmla="*/ 40027 w 4519987"/>
                    <a:gd name="connsiteY109" fmla="*/ 2562225 h 4496940"/>
                    <a:gd name="connsiteX110" fmla="*/ 30502 w 4519987"/>
                    <a:gd name="connsiteY110" fmla="*/ 2514600 h 4496940"/>
                    <a:gd name="connsiteX111" fmla="*/ 11452 w 4519987"/>
                    <a:gd name="connsiteY111" fmla="*/ 2400300 h 4496940"/>
                    <a:gd name="connsiteX112" fmla="*/ 20977 w 4519987"/>
                    <a:gd name="connsiteY112" fmla="*/ 1905000 h 4496940"/>
                    <a:gd name="connsiteX113" fmla="*/ 30502 w 4519987"/>
                    <a:gd name="connsiteY113" fmla="*/ 1838325 h 4496940"/>
                    <a:gd name="connsiteX114" fmla="*/ 49552 w 4519987"/>
                    <a:gd name="connsiteY114" fmla="*/ 1781175 h 4496940"/>
                    <a:gd name="connsiteX115" fmla="*/ 59077 w 4519987"/>
                    <a:gd name="connsiteY115" fmla="*/ 1743075 h 4496940"/>
                    <a:gd name="connsiteX116" fmla="*/ 78127 w 4519987"/>
                    <a:gd name="connsiteY116" fmla="*/ 1685925 h 4496940"/>
                    <a:gd name="connsiteX117" fmla="*/ 87652 w 4519987"/>
                    <a:gd name="connsiteY117" fmla="*/ 1638300 h 4496940"/>
                    <a:gd name="connsiteX118" fmla="*/ 106702 w 4519987"/>
                    <a:gd name="connsiteY118" fmla="*/ 1590675 h 4496940"/>
                    <a:gd name="connsiteX119" fmla="*/ 135277 w 4519987"/>
                    <a:gd name="connsiteY119" fmla="*/ 1504950 h 4496940"/>
                    <a:gd name="connsiteX120" fmla="*/ 154327 w 4519987"/>
                    <a:gd name="connsiteY120" fmla="*/ 1419225 h 4496940"/>
                    <a:gd name="connsiteX121" fmla="*/ 230527 w 4519987"/>
                    <a:gd name="connsiteY121" fmla="*/ 1276350 h 4496940"/>
                    <a:gd name="connsiteX122" fmla="*/ 240052 w 4519987"/>
                    <a:gd name="connsiteY122" fmla="*/ 1247775 h 4496940"/>
                    <a:gd name="connsiteX123" fmla="*/ 268627 w 4519987"/>
                    <a:gd name="connsiteY123" fmla="*/ 1200150 h 4496940"/>
                    <a:gd name="connsiteX124" fmla="*/ 287677 w 4519987"/>
                    <a:gd name="connsiteY124" fmla="*/ 1152525 h 4496940"/>
                    <a:gd name="connsiteX125" fmla="*/ 316252 w 4519987"/>
                    <a:gd name="connsiteY125" fmla="*/ 1114425 h 4496940"/>
                    <a:gd name="connsiteX126" fmla="*/ 363877 w 4519987"/>
                    <a:gd name="connsiteY126" fmla="*/ 1038225 h 4496940"/>
                    <a:gd name="connsiteX127" fmla="*/ 382927 w 4519987"/>
                    <a:gd name="connsiteY127" fmla="*/ 1009650 h 4496940"/>
                    <a:gd name="connsiteX128" fmla="*/ 440077 w 4519987"/>
                    <a:gd name="connsiteY128" fmla="*/ 904875 h 4496940"/>
                    <a:gd name="connsiteX129" fmla="*/ 478177 w 4519987"/>
                    <a:gd name="connsiteY129" fmla="*/ 857250 h 4496940"/>
                    <a:gd name="connsiteX130" fmla="*/ 497227 w 4519987"/>
                    <a:gd name="connsiteY130" fmla="*/ 828675 h 4496940"/>
                    <a:gd name="connsiteX131" fmla="*/ 535327 w 4519987"/>
                    <a:gd name="connsiteY131" fmla="*/ 800100 h 4496940"/>
                    <a:gd name="connsiteX132" fmla="*/ 602002 w 4519987"/>
                    <a:gd name="connsiteY132" fmla="*/ 733425 h 4496940"/>
                    <a:gd name="connsiteX133" fmla="*/ 668677 w 4519987"/>
                    <a:gd name="connsiteY133" fmla="*/ 676275 h 4496940"/>
                    <a:gd name="connsiteX134" fmla="*/ 697252 w 4519987"/>
                    <a:gd name="connsiteY134" fmla="*/ 657225 h 4496940"/>
                    <a:gd name="connsiteX135" fmla="*/ 840127 w 4519987"/>
                    <a:gd name="connsiteY135" fmla="*/ 533400 h 4496940"/>
                    <a:gd name="connsiteX136" fmla="*/ 887752 w 4519987"/>
                    <a:gd name="connsiteY136" fmla="*/ 504825 h 4496940"/>
                    <a:gd name="connsiteX137" fmla="*/ 1167152 w 4519987"/>
                    <a:gd name="connsiteY137" fmla="*/ 311150 h 4496940"/>
                    <a:gd name="connsiteX138" fmla="*/ 1268752 w 4519987"/>
                    <a:gd name="connsiteY138" fmla="*/ 285750 h 4496940"/>
                    <a:gd name="connsiteX139" fmla="*/ 1411627 w 4519987"/>
                    <a:gd name="connsiteY139" fmla="*/ 190500 h 4496940"/>
                    <a:gd name="connsiteX140" fmla="*/ 1449727 w 4519987"/>
                    <a:gd name="connsiteY140" fmla="*/ 161925 h 4496940"/>
                    <a:gd name="connsiteX141" fmla="*/ 1525927 w 4519987"/>
                    <a:gd name="connsiteY141" fmla="*/ 152400 h 4496940"/>
                    <a:gd name="connsiteX142" fmla="*/ 1583077 w 4519987"/>
                    <a:gd name="connsiteY142" fmla="*/ 142875 h 4496940"/>
                    <a:gd name="connsiteX143" fmla="*/ 1716427 w 4519987"/>
                    <a:gd name="connsiteY143" fmla="*/ 123825 h 4496940"/>
                    <a:gd name="connsiteX144" fmla="*/ 1811677 w 4519987"/>
                    <a:gd name="connsiteY144" fmla="*/ 114300 h 4496940"/>
                    <a:gd name="connsiteX145" fmla="*/ 1859302 w 4519987"/>
                    <a:gd name="connsiteY145" fmla="*/ 104775 h 4496940"/>
                    <a:gd name="connsiteX146" fmla="*/ 1916452 w 4519987"/>
                    <a:gd name="connsiteY146" fmla="*/ 95250 h 4496940"/>
                    <a:gd name="connsiteX147" fmla="*/ 2030752 w 4519987"/>
                    <a:gd name="connsiteY147" fmla="*/ 66675 h 4496940"/>
                    <a:gd name="connsiteX148" fmla="*/ 2097427 w 4519987"/>
                    <a:gd name="connsiteY148" fmla="*/ 47625 h 4496940"/>
                    <a:gd name="connsiteX149" fmla="*/ 2164102 w 4519987"/>
                    <a:gd name="connsiteY149" fmla="*/ 38100 h 4496940"/>
                    <a:gd name="connsiteX150" fmla="*/ 2392702 w 4519987"/>
                    <a:gd name="connsiteY15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4078627 w 4519987"/>
                    <a:gd name="connsiteY22" fmla="*/ 838200 h 4496940"/>
                    <a:gd name="connsiteX23" fmla="*/ 4135777 w 4519987"/>
                    <a:gd name="connsiteY23" fmla="*/ 933450 h 4496940"/>
                    <a:gd name="connsiteX24" fmla="*/ 4164352 w 4519987"/>
                    <a:gd name="connsiteY24" fmla="*/ 990600 h 4496940"/>
                    <a:gd name="connsiteX25" fmla="*/ 4173877 w 4519987"/>
                    <a:gd name="connsiteY25" fmla="*/ 1019175 h 4496940"/>
                    <a:gd name="connsiteX26" fmla="*/ 4192927 w 4519987"/>
                    <a:gd name="connsiteY26" fmla="*/ 1057275 h 4496940"/>
                    <a:gd name="connsiteX27" fmla="*/ 4202452 w 4519987"/>
                    <a:gd name="connsiteY27" fmla="*/ 1085850 h 4496940"/>
                    <a:gd name="connsiteX28" fmla="*/ 4250077 w 4519987"/>
                    <a:gd name="connsiteY28" fmla="*/ 1143000 h 4496940"/>
                    <a:gd name="connsiteX29" fmla="*/ 4259602 w 4519987"/>
                    <a:gd name="connsiteY29" fmla="*/ 1190625 h 4496940"/>
                    <a:gd name="connsiteX30" fmla="*/ 4307227 w 4519987"/>
                    <a:gd name="connsiteY30" fmla="*/ 1266825 h 4496940"/>
                    <a:gd name="connsiteX31" fmla="*/ 4345327 w 4519987"/>
                    <a:gd name="connsiteY31" fmla="*/ 1362075 h 4496940"/>
                    <a:gd name="connsiteX32" fmla="*/ 4373902 w 4519987"/>
                    <a:gd name="connsiteY32" fmla="*/ 1428750 h 4496940"/>
                    <a:gd name="connsiteX33" fmla="*/ 4392952 w 4519987"/>
                    <a:gd name="connsiteY33" fmla="*/ 1552575 h 4496940"/>
                    <a:gd name="connsiteX34" fmla="*/ 4402477 w 4519987"/>
                    <a:gd name="connsiteY34" fmla="*/ 1590675 h 4496940"/>
                    <a:gd name="connsiteX35" fmla="*/ 4431052 w 4519987"/>
                    <a:gd name="connsiteY35" fmla="*/ 1685925 h 4496940"/>
                    <a:gd name="connsiteX36" fmla="*/ 4519952 w 4519987"/>
                    <a:gd name="connsiteY36" fmla="*/ 2181225 h 4496940"/>
                    <a:gd name="connsiteX37" fmla="*/ 4446927 w 4519987"/>
                    <a:gd name="connsiteY37" fmla="*/ 2768600 h 4496940"/>
                    <a:gd name="connsiteX38" fmla="*/ 4383427 w 4519987"/>
                    <a:gd name="connsiteY38" fmla="*/ 2990850 h 4496940"/>
                    <a:gd name="connsiteX39" fmla="*/ 4278652 w 4519987"/>
                    <a:gd name="connsiteY39" fmla="*/ 3248025 h 4496940"/>
                    <a:gd name="connsiteX40" fmla="*/ 4259602 w 4519987"/>
                    <a:gd name="connsiteY40" fmla="*/ 3276600 h 4496940"/>
                    <a:gd name="connsiteX41" fmla="*/ 4221502 w 4519987"/>
                    <a:gd name="connsiteY41" fmla="*/ 3333750 h 4496940"/>
                    <a:gd name="connsiteX42" fmla="*/ 4211977 w 4519987"/>
                    <a:gd name="connsiteY42" fmla="*/ 3362325 h 4496940"/>
                    <a:gd name="connsiteX43" fmla="*/ 4183402 w 4519987"/>
                    <a:gd name="connsiteY43" fmla="*/ 3400425 h 4496940"/>
                    <a:gd name="connsiteX44" fmla="*/ 4164352 w 4519987"/>
                    <a:gd name="connsiteY44" fmla="*/ 3429000 h 4496940"/>
                    <a:gd name="connsiteX45" fmla="*/ 4088152 w 4519987"/>
                    <a:gd name="connsiteY45" fmla="*/ 3495675 h 4496940"/>
                    <a:gd name="connsiteX46" fmla="*/ 4059577 w 4519987"/>
                    <a:gd name="connsiteY46" fmla="*/ 3533775 h 4496940"/>
                    <a:gd name="connsiteX47" fmla="*/ 4002427 w 4519987"/>
                    <a:gd name="connsiteY47" fmla="*/ 3600450 h 4496940"/>
                    <a:gd name="connsiteX48" fmla="*/ 3983377 w 4519987"/>
                    <a:gd name="connsiteY48" fmla="*/ 3629025 h 4496940"/>
                    <a:gd name="connsiteX49" fmla="*/ 3954802 w 4519987"/>
                    <a:gd name="connsiteY49" fmla="*/ 3648075 h 4496940"/>
                    <a:gd name="connsiteX50" fmla="*/ 3907177 w 4519987"/>
                    <a:gd name="connsiteY50" fmla="*/ 3686175 h 4496940"/>
                    <a:gd name="connsiteX51" fmla="*/ 3869077 w 4519987"/>
                    <a:gd name="connsiteY51" fmla="*/ 3724275 h 4496940"/>
                    <a:gd name="connsiteX52" fmla="*/ 3792877 w 4519987"/>
                    <a:gd name="connsiteY52" fmla="*/ 3781425 h 4496940"/>
                    <a:gd name="connsiteX53" fmla="*/ 3783352 w 4519987"/>
                    <a:gd name="connsiteY53" fmla="*/ 3810000 h 4496940"/>
                    <a:gd name="connsiteX54" fmla="*/ 3745252 w 4519987"/>
                    <a:gd name="connsiteY54" fmla="*/ 3819525 h 4496940"/>
                    <a:gd name="connsiteX55" fmla="*/ 3678577 w 4519987"/>
                    <a:gd name="connsiteY55" fmla="*/ 3848100 h 4496940"/>
                    <a:gd name="connsiteX56" fmla="*/ 3659527 w 4519987"/>
                    <a:gd name="connsiteY56" fmla="*/ 3971925 h 4496940"/>
                    <a:gd name="connsiteX57" fmla="*/ 3630952 w 4519987"/>
                    <a:gd name="connsiteY57" fmla="*/ 4010025 h 4496940"/>
                    <a:gd name="connsiteX58" fmla="*/ 3621427 w 4519987"/>
                    <a:gd name="connsiteY58" fmla="*/ 4038600 h 4496940"/>
                    <a:gd name="connsiteX59" fmla="*/ 3554752 w 4519987"/>
                    <a:gd name="connsiteY59" fmla="*/ 4095750 h 4496940"/>
                    <a:gd name="connsiteX60" fmla="*/ 3516652 w 4519987"/>
                    <a:gd name="connsiteY60" fmla="*/ 4114800 h 4496940"/>
                    <a:gd name="connsiteX61" fmla="*/ 3497602 w 4519987"/>
                    <a:gd name="connsiteY61" fmla="*/ 4143375 h 4496940"/>
                    <a:gd name="connsiteX62" fmla="*/ 3383302 w 4519987"/>
                    <a:gd name="connsiteY62" fmla="*/ 4210050 h 4496940"/>
                    <a:gd name="connsiteX63" fmla="*/ 3335677 w 4519987"/>
                    <a:gd name="connsiteY63" fmla="*/ 4238625 h 4496940"/>
                    <a:gd name="connsiteX64" fmla="*/ 3288052 w 4519987"/>
                    <a:gd name="connsiteY64" fmla="*/ 4248150 h 4496940"/>
                    <a:gd name="connsiteX65" fmla="*/ 3240427 w 4519987"/>
                    <a:gd name="connsiteY65" fmla="*/ 4267200 h 4496940"/>
                    <a:gd name="connsiteX66" fmla="*/ 3068977 w 4519987"/>
                    <a:gd name="connsiteY66" fmla="*/ 4286250 h 4496940"/>
                    <a:gd name="connsiteX67" fmla="*/ 2935627 w 4519987"/>
                    <a:gd name="connsiteY67" fmla="*/ 4333875 h 4496940"/>
                    <a:gd name="connsiteX68" fmla="*/ 2811802 w 4519987"/>
                    <a:gd name="connsiteY68" fmla="*/ 4371975 h 4496940"/>
                    <a:gd name="connsiteX69" fmla="*/ 2745127 w 4519987"/>
                    <a:gd name="connsiteY69" fmla="*/ 4410075 h 4496940"/>
                    <a:gd name="connsiteX70" fmla="*/ 2697502 w 4519987"/>
                    <a:gd name="connsiteY70" fmla="*/ 4429125 h 4496940"/>
                    <a:gd name="connsiteX71" fmla="*/ 2640352 w 4519987"/>
                    <a:gd name="connsiteY71" fmla="*/ 4457700 h 4496940"/>
                    <a:gd name="connsiteX72" fmla="*/ 2583202 w 4519987"/>
                    <a:gd name="connsiteY72" fmla="*/ 4467225 h 4496940"/>
                    <a:gd name="connsiteX73" fmla="*/ 2545102 w 4519987"/>
                    <a:gd name="connsiteY73" fmla="*/ 4486275 h 4496940"/>
                    <a:gd name="connsiteX74" fmla="*/ 2306977 w 4519987"/>
                    <a:gd name="connsiteY74" fmla="*/ 4476750 h 4496940"/>
                    <a:gd name="connsiteX75" fmla="*/ 2202202 w 4519987"/>
                    <a:gd name="connsiteY75" fmla="*/ 4457700 h 4496940"/>
                    <a:gd name="connsiteX76" fmla="*/ 2126002 w 4519987"/>
                    <a:gd name="connsiteY76" fmla="*/ 4429125 h 4496940"/>
                    <a:gd name="connsiteX77" fmla="*/ 1935502 w 4519987"/>
                    <a:gd name="connsiteY77" fmla="*/ 4400550 h 4496940"/>
                    <a:gd name="connsiteX78" fmla="*/ 1821202 w 4519987"/>
                    <a:gd name="connsiteY78" fmla="*/ 4371975 h 4496940"/>
                    <a:gd name="connsiteX79" fmla="*/ 1754527 w 4519987"/>
                    <a:gd name="connsiteY79" fmla="*/ 4352925 h 4496940"/>
                    <a:gd name="connsiteX80" fmla="*/ 1687852 w 4519987"/>
                    <a:gd name="connsiteY80" fmla="*/ 4343400 h 4496940"/>
                    <a:gd name="connsiteX81" fmla="*/ 1573552 w 4519987"/>
                    <a:gd name="connsiteY81" fmla="*/ 4305300 h 4496940"/>
                    <a:gd name="connsiteX82" fmla="*/ 1402102 w 4519987"/>
                    <a:gd name="connsiteY82" fmla="*/ 4276725 h 4496940"/>
                    <a:gd name="connsiteX83" fmla="*/ 1287802 w 4519987"/>
                    <a:gd name="connsiteY83" fmla="*/ 4229100 h 4496940"/>
                    <a:gd name="connsiteX84" fmla="*/ 1221127 w 4519987"/>
                    <a:gd name="connsiteY84" fmla="*/ 4200525 h 4496940"/>
                    <a:gd name="connsiteX85" fmla="*/ 1144927 w 4519987"/>
                    <a:gd name="connsiteY85" fmla="*/ 4171950 h 4496940"/>
                    <a:gd name="connsiteX86" fmla="*/ 1087777 w 4519987"/>
                    <a:gd name="connsiteY86" fmla="*/ 4143375 h 4496940"/>
                    <a:gd name="connsiteX87" fmla="*/ 1030627 w 4519987"/>
                    <a:gd name="connsiteY87" fmla="*/ 4124325 h 4496940"/>
                    <a:gd name="connsiteX88" fmla="*/ 925852 w 4519987"/>
                    <a:gd name="connsiteY88" fmla="*/ 4067175 h 4496940"/>
                    <a:gd name="connsiteX89" fmla="*/ 830602 w 4519987"/>
                    <a:gd name="connsiteY89" fmla="*/ 3981450 h 4496940"/>
                    <a:gd name="connsiteX90" fmla="*/ 763927 w 4519987"/>
                    <a:gd name="connsiteY90" fmla="*/ 3914775 h 4496940"/>
                    <a:gd name="connsiteX91" fmla="*/ 725827 w 4519987"/>
                    <a:gd name="connsiteY91" fmla="*/ 3876675 h 4496940"/>
                    <a:gd name="connsiteX92" fmla="*/ 697252 w 4519987"/>
                    <a:gd name="connsiteY92" fmla="*/ 3838575 h 4496940"/>
                    <a:gd name="connsiteX93" fmla="*/ 640102 w 4519987"/>
                    <a:gd name="connsiteY93" fmla="*/ 3781425 h 4496940"/>
                    <a:gd name="connsiteX94" fmla="*/ 611527 w 4519987"/>
                    <a:gd name="connsiteY94" fmla="*/ 3733800 h 4496940"/>
                    <a:gd name="connsiteX95" fmla="*/ 554377 w 4519987"/>
                    <a:gd name="connsiteY95" fmla="*/ 3657600 h 4496940"/>
                    <a:gd name="connsiteX96" fmla="*/ 525802 w 4519987"/>
                    <a:gd name="connsiteY96" fmla="*/ 3609975 h 4496940"/>
                    <a:gd name="connsiteX97" fmla="*/ 497227 w 4519987"/>
                    <a:gd name="connsiteY97" fmla="*/ 3552825 h 4496940"/>
                    <a:gd name="connsiteX98" fmla="*/ 440077 w 4519987"/>
                    <a:gd name="connsiteY98" fmla="*/ 3495675 h 4496940"/>
                    <a:gd name="connsiteX99" fmla="*/ 411502 w 4519987"/>
                    <a:gd name="connsiteY99" fmla="*/ 3448050 h 4496940"/>
                    <a:gd name="connsiteX100" fmla="*/ 278152 w 4519987"/>
                    <a:gd name="connsiteY100" fmla="*/ 3257550 h 4496940"/>
                    <a:gd name="connsiteX101" fmla="*/ 249577 w 4519987"/>
                    <a:gd name="connsiteY101" fmla="*/ 3200400 h 4496940"/>
                    <a:gd name="connsiteX102" fmla="*/ 240052 w 4519987"/>
                    <a:gd name="connsiteY102" fmla="*/ 3162300 h 4496940"/>
                    <a:gd name="connsiteX103" fmla="*/ 221002 w 4519987"/>
                    <a:gd name="connsiteY103" fmla="*/ 3105150 h 4496940"/>
                    <a:gd name="connsiteX104" fmla="*/ 173377 w 4519987"/>
                    <a:gd name="connsiteY104" fmla="*/ 3019425 h 4496940"/>
                    <a:gd name="connsiteX105" fmla="*/ 144802 w 4519987"/>
                    <a:gd name="connsiteY105" fmla="*/ 2924175 h 4496940"/>
                    <a:gd name="connsiteX106" fmla="*/ 68602 w 4519987"/>
                    <a:gd name="connsiteY106" fmla="*/ 2724150 h 4496940"/>
                    <a:gd name="connsiteX107" fmla="*/ 49552 w 4519987"/>
                    <a:gd name="connsiteY107" fmla="*/ 2638425 h 4496940"/>
                    <a:gd name="connsiteX108" fmla="*/ 40027 w 4519987"/>
                    <a:gd name="connsiteY108" fmla="*/ 2562225 h 4496940"/>
                    <a:gd name="connsiteX109" fmla="*/ 30502 w 4519987"/>
                    <a:gd name="connsiteY109" fmla="*/ 2514600 h 4496940"/>
                    <a:gd name="connsiteX110" fmla="*/ 11452 w 4519987"/>
                    <a:gd name="connsiteY110" fmla="*/ 2400300 h 4496940"/>
                    <a:gd name="connsiteX111" fmla="*/ 20977 w 4519987"/>
                    <a:gd name="connsiteY111" fmla="*/ 1905000 h 4496940"/>
                    <a:gd name="connsiteX112" fmla="*/ 30502 w 4519987"/>
                    <a:gd name="connsiteY112" fmla="*/ 1838325 h 4496940"/>
                    <a:gd name="connsiteX113" fmla="*/ 49552 w 4519987"/>
                    <a:gd name="connsiteY113" fmla="*/ 1781175 h 4496940"/>
                    <a:gd name="connsiteX114" fmla="*/ 59077 w 4519987"/>
                    <a:gd name="connsiteY114" fmla="*/ 1743075 h 4496940"/>
                    <a:gd name="connsiteX115" fmla="*/ 78127 w 4519987"/>
                    <a:gd name="connsiteY115" fmla="*/ 1685925 h 4496940"/>
                    <a:gd name="connsiteX116" fmla="*/ 87652 w 4519987"/>
                    <a:gd name="connsiteY116" fmla="*/ 1638300 h 4496940"/>
                    <a:gd name="connsiteX117" fmla="*/ 106702 w 4519987"/>
                    <a:gd name="connsiteY117" fmla="*/ 1590675 h 4496940"/>
                    <a:gd name="connsiteX118" fmla="*/ 135277 w 4519987"/>
                    <a:gd name="connsiteY118" fmla="*/ 1504950 h 4496940"/>
                    <a:gd name="connsiteX119" fmla="*/ 154327 w 4519987"/>
                    <a:gd name="connsiteY119" fmla="*/ 1419225 h 4496940"/>
                    <a:gd name="connsiteX120" fmla="*/ 230527 w 4519987"/>
                    <a:gd name="connsiteY120" fmla="*/ 1276350 h 4496940"/>
                    <a:gd name="connsiteX121" fmla="*/ 240052 w 4519987"/>
                    <a:gd name="connsiteY121" fmla="*/ 1247775 h 4496940"/>
                    <a:gd name="connsiteX122" fmla="*/ 268627 w 4519987"/>
                    <a:gd name="connsiteY122" fmla="*/ 1200150 h 4496940"/>
                    <a:gd name="connsiteX123" fmla="*/ 287677 w 4519987"/>
                    <a:gd name="connsiteY123" fmla="*/ 1152525 h 4496940"/>
                    <a:gd name="connsiteX124" fmla="*/ 316252 w 4519987"/>
                    <a:gd name="connsiteY124" fmla="*/ 1114425 h 4496940"/>
                    <a:gd name="connsiteX125" fmla="*/ 363877 w 4519987"/>
                    <a:gd name="connsiteY125" fmla="*/ 1038225 h 4496940"/>
                    <a:gd name="connsiteX126" fmla="*/ 382927 w 4519987"/>
                    <a:gd name="connsiteY126" fmla="*/ 1009650 h 4496940"/>
                    <a:gd name="connsiteX127" fmla="*/ 440077 w 4519987"/>
                    <a:gd name="connsiteY127" fmla="*/ 904875 h 4496940"/>
                    <a:gd name="connsiteX128" fmla="*/ 478177 w 4519987"/>
                    <a:gd name="connsiteY128" fmla="*/ 857250 h 4496940"/>
                    <a:gd name="connsiteX129" fmla="*/ 497227 w 4519987"/>
                    <a:gd name="connsiteY129" fmla="*/ 828675 h 4496940"/>
                    <a:gd name="connsiteX130" fmla="*/ 535327 w 4519987"/>
                    <a:gd name="connsiteY130" fmla="*/ 800100 h 4496940"/>
                    <a:gd name="connsiteX131" fmla="*/ 602002 w 4519987"/>
                    <a:gd name="connsiteY131" fmla="*/ 733425 h 4496940"/>
                    <a:gd name="connsiteX132" fmla="*/ 668677 w 4519987"/>
                    <a:gd name="connsiteY132" fmla="*/ 676275 h 4496940"/>
                    <a:gd name="connsiteX133" fmla="*/ 697252 w 4519987"/>
                    <a:gd name="connsiteY133" fmla="*/ 657225 h 4496940"/>
                    <a:gd name="connsiteX134" fmla="*/ 840127 w 4519987"/>
                    <a:gd name="connsiteY134" fmla="*/ 533400 h 4496940"/>
                    <a:gd name="connsiteX135" fmla="*/ 887752 w 4519987"/>
                    <a:gd name="connsiteY135" fmla="*/ 504825 h 4496940"/>
                    <a:gd name="connsiteX136" fmla="*/ 1167152 w 4519987"/>
                    <a:gd name="connsiteY136" fmla="*/ 311150 h 4496940"/>
                    <a:gd name="connsiteX137" fmla="*/ 1268752 w 4519987"/>
                    <a:gd name="connsiteY137" fmla="*/ 285750 h 4496940"/>
                    <a:gd name="connsiteX138" fmla="*/ 1411627 w 4519987"/>
                    <a:gd name="connsiteY138" fmla="*/ 190500 h 4496940"/>
                    <a:gd name="connsiteX139" fmla="*/ 1449727 w 4519987"/>
                    <a:gd name="connsiteY139" fmla="*/ 161925 h 4496940"/>
                    <a:gd name="connsiteX140" fmla="*/ 1525927 w 4519987"/>
                    <a:gd name="connsiteY140" fmla="*/ 152400 h 4496940"/>
                    <a:gd name="connsiteX141" fmla="*/ 1583077 w 4519987"/>
                    <a:gd name="connsiteY141" fmla="*/ 142875 h 4496940"/>
                    <a:gd name="connsiteX142" fmla="*/ 1716427 w 4519987"/>
                    <a:gd name="connsiteY142" fmla="*/ 123825 h 4496940"/>
                    <a:gd name="connsiteX143" fmla="*/ 1811677 w 4519987"/>
                    <a:gd name="connsiteY143" fmla="*/ 114300 h 4496940"/>
                    <a:gd name="connsiteX144" fmla="*/ 1859302 w 4519987"/>
                    <a:gd name="connsiteY144" fmla="*/ 104775 h 4496940"/>
                    <a:gd name="connsiteX145" fmla="*/ 1916452 w 4519987"/>
                    <a:gd name="connsiteY145" fmla="*/ 95250 h 4496940"/>
                    <a:gd name="connsiteX146" fmla="*/ 2030752 w 4519987"/>
                    <a:gd name="connsiteY146" fmla="*/ 66675 h 4496940"/>
                    <a:gd name="connsiteX147" fmla="*/ 2097427 w 4519987"/>
                    <a:gd name="connsiteY147" fmla="*/ 47625 h 4496940"/>
                    <a:gd name="connsiteX148" fmla="*/ 2164102 w 4519987"/>
                    <a:gd name="connsiteY148" fmla="*/ 38100 h 4496940"/>
                    <a:gd name="connsiteX149" fmla="*/ 2392702 w 4519987"/>
                    <a:gd name="connsiteY14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78627 w 4519987"/>
                    <a:gd name="connsiteY21" fmla="*/ 838200 h 4496940"/>
                    <a:gd name="connsiteX22" fmla="*/ 4135777 w 4519987"/>
                    <a:gd name="connsiteY22" fmla="*/ 933450 h 4496940"/>
                    <a:gd name="connsiteX23" fmla="*/ 4164352 w 4519987"/>
                    <a:gd name="connsiteY23" fmla="*/ 990600 h 4496940"/>
                    <a:gd name="connsiteX24" fmla="*/ 4173877 w 4519987"/>
                    <a:gd name="connsiteY24" fmla="*/ 1019175 h 4496940"/>
                    <a:gd name="connsiteX25" fmla="*/ 4192927 w 4519987"/>
                    <a:gd name="connsiteY25" fmla="*/ 1057275 h 4496940"/>
                    <a:gd name="connsiteX26" fmla="*/ 4202452 w 4519987"/>
                    <a:gd name="connsiteY26" fmla="*/ 1085850 h 4496940"/>
                    <a:gd name="connsiteX27" fmla="*/ 4250077 w 4519987"/>
                    <a:gd name="connsiteY27" fmla="*/ 1143000 h 4496940"/>
                    <a:gd name="connsiteX28" fmla="*/ 4259602 w 4519987"/>
                    <a:gd name="connsiteY28" fmla="*/ 1190625 h 4496940"/>
                    <a:gd name="connsiteX29" fmla="*/ 4307227 w 4519987"/>
                    <a:gd name="connsiteY29" fmla="*/ 1266825 h 4496940"/>
                    <a:gd name="connsiteX30" fmla="*/ 4345327 w 4519987"/>
                    <a:gd name="connsiteY30" fmla="*/ 1362075 h 4496940"/>
                    <a:gd name="connsiteX31" fmla="*/ 4373902 w 4519987"/>
                    <a:gd name="connsiteY31" fmla="*/ 1428750 h 4496940"/>
                    <a:gd name="connsiteX32" fmla="*/ 4392952 w 4519987"/>
                    <a:gd name="connsiteY32" fmla="*/ 1552575 h 4496940"/>
                    <a:gd name="connsiteX33" fmla="*/ 4402477 w 4519987"/>
                    <a:gd name="connsiteY33" fmla="*/ 1590675 h 4496940"/>
                    <a:gd name="connsiteX34" fmla="*/ 4431052 w 4519987"/>
                    <a:gd name="connsiteY34" fmla="*/ 1685925 h 4496940"/>
                    <a:gd name="connsiteX35" fmla="*/ 4519952 w 4519987"/>
                    <a:gd name="connsiteY35" fmla="*/ 2181225 h 4496940"/>
                    <a:gd name="connsiteX36" fmla="*/ 4446927 w 4519987"/>
                    <a:gd name="connsiteY36" fmla="*/ 2768600 h 4496940"/>
                    <a:gd name="connsiteX37" fmla="*/ 4383427 w 4519987"/>
                    <a:gd name="connsiteY37" fmla="*/ 2990850 h 4496940"/>
                    <a:gd name="connsiteX38" fmla="*/ 4278652 w 4519987"/>
                    <a:gd name="connsiteY38" fmla="*/ 3248025 h 4496940"/>
                    <a:gd name="connsiteX39" fmla="*/ 4259602 w 4519987"/>
                    <a:gd name="connsiteY39" fmla="*/ 3276600 h 4496940"/>
                    <a:gd name="connsiteX40" fmla="*/ 4221502 w 4519987"/>
                    <a:gd name="connsiteY40" fmla="*/ 3333750 h 4496940"/>
                    <a:gd name="connsiteX41" fmla="*/ 4211977 w 4519987"/>
                    <a:gd name="connsiteY41" fmla="*/ 3362325 h 4496940"/>
                    <a:gd name="connsiteX42" fmla="*/ 4183402 w 4519987"/>
                    <a:gd name="connsiteY42" fmla="*/ 3400425 h 4496940"/>
                    <a:gd name="connsiteX43" fmla="*/ 4164352 w 4519987"/>
                    <a:gd name="connsiteY43" fmla="*/ 3429000 h 4496940"/>
                    <a:gd name="connsiteX44" fmla="*/ 4088152 w 4519987"/>
                    <a:gd name="connsiteY44" fmla="*/ 3495675 h 4496940"/>
                    <a:gd name="connsiteX45" fmla="*/ 4059577 w 4519987"/>
                    <a:gd name="connsiteY45" fmla="*/ 3533775 h 4496940"/>
                    <a:gd name="connsiteX46" fmla="*/ 4002427 w 4519987"/>
                    <a:gd name="connsiteY46" fmla="*/ 3600450 h 4496940"/>
                    <a:gd name="connsiteX47" fmla="*/ 3983377 w 4519987"/>
                    <a:gd name="connsiteY47" fmla="*/ 3629025 h 4496940"/>
                    <a:gd name="connsiteX48" fmla="*/ 3954802 w 4519987"/>
                    <a:gd name="connsiteY48" fmla="*/ 3648075 h 4496940"/>
                    <a:gd name="connsiteX49" fmla="*/ 3907177 w 4519987"/>
                    <a:gd name="connsiteY49" fmla="*/ 3686175 h 4496940"/>
                    <a:gd name="connsiteX50" fmla="*/ 3869077 w 4519987"/>
                    <a:gd name="connsiteY50" fmla="*/ 3724275 h 4496940"/>
                    <a:gd name="connsiteX51" fmla="*/ 3792877 w 4519987"/>
                    <a:gd name="connsiteY51" fmla="*/ 3781425 h 4496940"/>
                    <a:gd name="connsiteX52" fmla="*/ 3783352 w 4519987"/>
                    <a:gd name="connsiteY52" fmla="*/ 3810000 h 4496940"/>
                    <a:gd name="connsiteX53" fmla="*/ 3745252 w 4519987"/>
                    <a:gd name="connsiteY53" fmla="*/ 3819525 h 4496940"/>
                    <a:gd name="connsiteX54" fmla="*/ 3678577 w 4519987"/>
                    <a:gd name="connsiteY54" fmla="*/ 3848100 h 4496940"/>
                    <a:gd name="connsiteX55" fmla="*/ 3659527 w 4519987"/>
                    <a:gd name="connsiteY55" fmla="*/ 3971925 h 4496940"/>
                    <a:gd name="connsiteX56" fmla="*/ 3630952 w 4519987"/>
                    <a:gd name="connsiteY56" fmla="*/ 4010025 h 4496940"/>
                    <a:gd name="connsiteX57" fmla="*/ 3621427 w 4519987"/>
                    <a:gd name="connsiteY57" fmla="*/ 4038600 h 4496940"/>
                    <a:gd name="connsiteX58" fmla="*/ 3554752 w 4519987"/>
                    <a:gd name="connsiteY58" fmla="*/ 4095750 h 4496940"/>
                    <a:gd name="connsiteX59" fmla="*/ 3516652 w 4519987"/>
                    <a:gd name="connsiteY59" fmla="*/ 4114800 h 4496940"/>
                    <a:gd name="connsiteX60" fmla="*/ 3497602 w 4519987"/>
                    <a:gd name="connsiteY60" fmla="*/ 4143375 h 4496940"/>
                    <a:gd name="connsiteX61" fmla="*/ 3383302 w 4519987"/>
                    <a:gd name="connsiteY61" fmla="*/ 4210050 h 4496940"/>
                    <a:gd name="connsiteX62" fmla="*/ 3335677 w 4519987"/>
                    <a:gd name="connsiteY62" fmla="*/ 4238625 h 4496940"/>
                    <a:gd name="connsiteX63" fmla="*/ 3288052 w 4519987"/>
                    <a:gd name="connsiteY63" fmla="*/ 4248150 h 4496940"/>
                    <a:gd name="connsiteX64" fmla="*/ 3240427 w 4519987"/>
                    <a:gd name="connsiteY64" fmla="*/ 4267200 h 4496940"/>
                    <a:gd name="connsiteX65" fmla="*/ 3068977 w 4519987"/>
                    <a:gd name="connsiteY65" fmla="*/ 4286250 h 4496940"/>
                    <a:gd name="connsiteX66" fmla="*/ 2935627 w 4519987"/>
                    <a:gd name="connsiteY66" fmla="*/ 4333875 h 4496940"/>
                    <a:gd name="connsiteX67" fmla="*/ 2811802 w 4519987"/>
                    <a:gd name="connsiteY67" fmla="*/ 4371975 h 4496940"/>
                    <a:gd name="connsiteX68" fmla="*/ 2745127 w 4519987"/>
                    <a:gd name="connsiteY68" fmla="*/ 4410075 h 4496940"/>
                    <a:gd name="connsiteX69" fmla="*/ 2697502 w 4519987"/>
                    <a:gd name="connsiteY69" fmla="*/ 4429125 h 4496940"/>
                    <a:gd name="connsiteX70" fmla="*/ 2640352 w 4519987"/>
                    <a:gd name="connsiteY70" fmla="*/ 4457700 h 4496940"/>
                    <a:gd name="connsiteX71" fmla="*/ 2583202 w 4519987"/>
                    <a:gd name="connsiteY71" fmla="*/ 4467225 h 4496940"/>
                    <a:gd name="connsiteX72" fmla="*/ 2545102 w 4519987"/>
                    <a:gd name="connsiteY72" fmla="*/ 4486275 h 4496940"/>
                    <a:gd name="connsiteX73" fmla="*/ 2306977 w 4519987"/>
                    <a:gd name="connsiteY73" fmla="*/ 4476750 h 4496940"/>
                    <a:gd name="connsiteX74" fmla="*/ 2202202 w 4519987"/>
                    <a:gd name="connsiteY74" fmla="*/ 4457700 h 4496940"/>
                    <a:gd name="connsiteX75" fmla="*/ 2126002 w 4519987"/>
                    <a:gd name="connsiteY75" fmla="*/ 4429125 h 4496940"/>
                    <a:gd name="connsiteX76" fmla="*/ 1935502 w 4519987"/>
                    <a:gd name="connsiteY76" fmla="*/ 4400550 h 4496940"/>
                    <a:gd name="connsiteX77" fmla="*/ 1821202 w 4519987"/>
                    <a:gd name="connsiteY77" fmla="*/ 4371975 h 4496940"/>
                    <a:gd name="connsiteX78" fmla="*/ 1754527 w 4519987"/>
                    <a:gd name="connsiteY78" fmla="*/ 4352925 h 4496940"/>
                    <a:gd name="connsiteX79" fmla="*/ 1687852 w 4519987"/>
                    <a:gd name="connsiteY79" fmla="*/ 4343400 h 4496940"/>
                    <a:gd name="connsiteX80" fmla="*/ 1573552 w 4519987"/>
                    <a:gd name="connsiteY80" fmla="*/ 4305300 h 4496940"/>
                    <a:gd name="connsiteX81" fmla="*/ 1402102 w 4519987"/>
                    <a:gd name="connsiteY81" fmla="*/ 4276725 h 4496940"/>
                    <a:gd name="connsiteX82" fmla="*/ 1287802 w 4519987"/>
                    <a:gd name="connsiteY82" fmla="*/ 4229100 h 4496940"/>
                    <a:gd name="connsiteX83" fmla="*/ 1221127 w 4519987"/>
                    <a:gd name="connsiteY83" fmla="*/ 4200525 h 4496940"/>
                    <a:gd name="connsiteX84" fmla="*/ 1144927 w 4519987"/>
                    <a:gd name="connsiteY84" fmla="*/ 4171950 h 4496940"/>
                    <a:gd name="connsiteX85" fmla="*/ 1087777 w 4519987"/>
                    <a:gd name="connsiteY85" fmla="*/ 4143375 h 4496940"/>
                    <a:gd name="connsiteX86" fmla="*/ 1030627 w 4519987"/>
                    <a:gd name="connsiteY86" fmla="*/ 4124325 h 4496940"/>
                    <a:gd name="connsiteX87" fmla="*/ 925852 w 4519987"/>
                    <a:gd name="connsiteY87" fmla="*/ 4067175 h 4496940"/>
                    <a:gd name="connsiteX88" fmla="*/ 830602 w 4519987"/>
                    <a:gd name="connsiteY88" fmla="*/ 3981450 h 4496940"/>
                    <a:gd name="connsiteX89" fmla="*/ 763927 w 4519987"/>
                    <a:gd name="connsiteY89" fmla="*/ 3914775 h 4496940"/>
                    <a:gd name="connsiteX90" fmla="*/ 725827 w 4519987"/>
                    <a:gd name="connsiteY90" fmla="*/ 3876675 h 4496940"/>
                    <a:gd name="connsiteX91" fmla="*/ 697252 w 4519987"/>
                    <a:gd name="connsiteY91" fmla="*/ 3838575 h 4496940"/>
                    <a:gd name="connsiteX92" fmla="*/ 640102 w 4519987"/>
                    <a:gd name="connsiteY92" fmla="*/ 3781425 h 4496940"/>
                    <a:gd name="connsiteX93" fmla="*/ 611527 w 4519987"/>
                    <a:gd name="connsiteY93" fmla="*/ 3733800 h 4496940"/>
                    <a:gd name="connsiteX94" fmla="*/ 554377 w 4519987"/>
                    <a:gd name="connsiteY94" fmla="*/ 3657600 h 4496940"/>
                    <a:gd name="connsiteX95" fmla="*/ 525802 w 4519987"/>
                    <a:gd name="connsiteY95" fmla="*/ 3609975 h 4496940"/>
                    <a:gd name="connsiteX96" fmla="*/ 497227 w 4519987"/>
                    <a:gd name="connsiteY96" fmla="*/ 3552825 h 4496940"/>
                    <a:gd name="connsiteX97" fmla="*/ 440077 w 4519987"/>
                    <a:gd name="connsiteY97" fmla="*/ 3495675 h 4496940"/>
                    <a:gd name="connsiteX98" fmla="*/ 411502 w 4519987"/>
                    <a:gd name="connsiteY98" fmla="*/ 3448050 h 4496940"/>
                    <a:gd name="connsiteX99" fmla="*/ 278152 w 4519987"/>
                    <a:gd name="connsiteY99" fmla="*/ 3257550 h 4496940"/>
                    <a:gd name="connsiteX100" fmla="*/ 249577 w 4519987"/>
                    <a:gd name="connsiteY100" fmla="*/ 3200400 h 4496940"/>
                    <a:gd name="connsiteX101" fmla="*/ 240052 w 4519987"/>
                    <a:gd name="connsiteY101" fmla="*/ 3162300 h 4496940"/>
                    <a:gd name="connsiteX102" fmla="*/ 221002 w 4519987"/>
                    <a:gd name="connsiteY102" fmla="*/ 3105150 h 4496940"/>
                    <a:gd name="connsiteX103" fmla="*/ 173377 w 4519987"/>
                    <a:gd name="connsiteY103" fmla="*/ 3019425 h 4496940"/>
                    <a:gd name="connsiteX104" fmla="*/ 144802 w 4519987"/>
                    <a:gd name="connsiteY104" fmla="*/ 2924175 h 4496940"/>
                    <a:gd name="connsiteX105" fmla="*/ 68602 w 4519987"/>
                    <a:gd name="connsiteY105" fmla="*/ 2724150 h 4496940"/>
                    <a:gd name="connsiteX106" fmla="*/ 49552 w 4519987"/>
                    <a:gd name="connsiteY106" fmla="*/ 2638425 h 4496940"/>
                    <a:gd name="connsiteX107" fmla="*/ 40027 w 4519987"/>
                    <a:gd name="connsiteY107" fmla="*/ 2562225 h 4496940"/>
                    <a:gd name="connsiteX108" fmla="*/ 30502 w 4519987"/>
                    <a:gd name="connsiteY108" fmla="*/ 2514600 h 4496940"/>
                    <a:gd name="connsiteX109" fmla="*/ 11452 w 4519987"/>
                    <a:gd name="connsiteY109" fmla="*/ 2400300 h 4496940"/>
                    <a:gd name="connsiteX110" fmla="*/ 20977 w 4519987"/>
                    <a:gd name="connsiteY110" fmla="*/ 1905000 h 4496940"/>
                    <a:gd name="connsiteX111" fmla="*/ 30502 w 4519987"/>
                    <a:gd name="connsiteY111" fmla="*/ 1838325 h 4496940"/>
                    <a:gd name="connsiteX112" fmla="*/ 49552 w 4519987"/>
                    <a:gd name="connsiteY112" fmla="*/ 1781175 h 4496940"/>
                    <a:gd name="connsiteX113" fmla="*/ 59077 w 4519987"/>
                    <a:gd name="connsiteY113" fmla="*/ 1743075 h 4496940"/>
                    <a:gd name="connsiteX114" fmla="*/ 78127 w 4519987"/>
                    <a:gd name="connsiteY114" fmla="*/ 1685925 h 4496940"/>
                    <a:gd name="connsiteX115" fmla="*/ 87652 w 4519987"/>
                    <a:gd name="connsiteY115" fmla="*/ 1638300 h 4496940"/>
                    <a:gd name="connsiteX116" fmla="*/ 106702 w 4519987"/>
                    <a:gd name="connsiteY116" fmla="*/ 1590675 h 4496940"/>
                    <a:gd name="connsiteX117" fmla="*/ 135277 w 4519987"/>
                    <a:gd name="connsiteY117" fmla="*/ 1504950 h 4496940"/>
                    <a:gd name="connsiteX118" fmla="*/ 154327 w 4519987"/>
                    <a:gd name="connsiteY118" fmla="*/ 1419225 h 4496940"/>
                    <a:gd name="connsiteX119" fmla="*/ 230527 w 4519987"/>
                    <a:gd name="connsiteY119" fmla="*/ 1276350 h 4496940"/>
                    <a:gd name="connsiteX120" fmla="*/ 240052 w 4519987"/>
                    <a:gd name="connsiteY120" fmla="*/ 1247775 h 4496940"/>
                    <a:gd name="connsiteX121" fmla="*/ 268627 w 4519987"/>
                    <a:gd name="connsiteY121" fmla="*/ 1200150 h 4496940"/>
                    <a:gd name="connsiteX122" fmla="*/ 287677 w 4519987"/>
                    <a:gd name="connsiteY122" fmla="*/ 1152525 h 4496940"/>
                    <a:gd name="connsiteX123" fmla="*/ 316252 w 4519987"/>
                    <a:gd name="connsiteY123" fmla="*/ 1114425 h 4496940"/>
                    <a:gd name="connsiteX124" fmla="*/ 363877 w 4519987"/>
                    <a:gd name="connsiteY124" fmla="*/ 1038225 h 4496940"/>
                    <a:gd name="connsiteX125" fmla="*/ 382927 w 4519987"/>
                    <a:gd name="connsiteY125" fmla="*/ 1009650 h 4496940"/>
                    <a:gd name="connsiteX126" fmla="*/ 440077 w 4519987"/>
                    <a:gd name="connsiteY126" fmla="*/ 904875 h 4496940"/>
                    <a:gd name="connsiteX127" fmla="*/ 478177 w 4519987"/>
                    <a:gd name="connsiteY127" fmla="*/ 857250 h 4496940"/>
                    <a:gd name="connsiteX128" fmla="*/ 497227 w 4519987"/>
                    <a:gd name="connsiteY128" fmla="*/ 828675 h 4496940"/>
                    <a:gd name="connsiteX129" fmla="*/ 535327 w 4519987"/>
                    <a:gd name="connsiteY129" fmla="*/ 800100 h 4496940"/>
                    <a:gd name="connsiteX130" fmla="*/ 602002 w 4519987"/>
                    <a:gd name="connsiteY130" fmla="*/ 733425 h 4496940"/>
                    <a:gd name="connsiteX131" fmla="*/ 668677 w 4519987"/>
                    <a:gd name="connsiteY131" fmla="*/ 676275 h 4496940"/>
                    <a:gd name="connsiteX132" fmla="*/ 697252 w 4519987"/>
                    <a:gd name="connsiteY132" fmla="*/ 657225 h 4496940"/>
                    <a:gd name="connsiteX133" fmla="*/ 840127 w 4519987"/>
                    <a:gd name="connsiteY133" fmla="*/ 533400 h 4496940"/>
                    <a:gd name="connsiteX134" fmla="*/ 887752 w 4519987"/>
                    <a:gd name="connsiteY134" fmla="*/ 504825 h 4496940"/>
                    <a:gd name="connsiteX135" fmla="*/ 1167152 w 4519987"/>
                    <a:gd name="connsiteY135" fmla="*/ 311150 h 4496940"/>
                    <a:gd name="connsiteX136" fmla="*/ 1268752 w 4519987"/>
                    <a:gd name="connsiteY136" fmla="*/ 285750 h 4496940"/>
                    <a:gd name="connsiteX137" fmla="*/ 1411627 w 4519987"/>
                    <a:gd name="connsiteY137" fmla="*/ 190500 h 4496940"/>
                    <a:gd name="connsiteX138" fmla="*/ 1449727 w 4519987"/>
                    <a:gd name="connsiteY138" fmla="*/ 161925 h 4496940"/>
                    <a:gd name="connsiteX139" fmla="*/ 1525927 w 4519987"/>
                    <a:gd name="connsiteY139" fmla="*/ 152400 h 4496940"/>
                    <a:gd name="connsiteX140" fmla="*/ 1583077 w 4519987"/>
                    <a:gd name="connsiteY140" fmla="*/ 142875 h 4496940"/>
                    <a:gd name="connsiteX141" fmla="*/ 1716427 w 4519987"/>
                    <a:gd name="connsiteY141" fmla="*/ 123825 h 4496940"/>
                    <a:gd name="connsiteX142" fmla="*/ 1811677 w 4519987"/>
                    <a:gd name="connsiteY142" fmla="*/ 114300 h 4496940"/>
                    <a:gd name="connsiteX143" fmla="*/ 1859302 w 4519987"/>
                    <a:gd name="connsiteY143" fmla="*/ 104775 h 4496940"/>
                    <a:gd name="connsiteX144" fmla="*/ 1916452 w 4519987"/>
                    <a:gd name="connsiteY144" fmla="*/ 95250 h 4496940"/>
                    <a:gd name="connsiteX145" fmla="*/ 2030752 w 4519987"/>
                    <a:gd name="connsiteY145" fmla="*/ 66675 h 4496940"/>
                    <a:gd name="connsiteX146" fmla="*/ 2097427 w 4519987"/>
                    <a:gd name="connsiteY146" fmla="*/ 47625 h 4496940"/>
                    <a:gd name="connsiteX147" fmla="*/ 2164102 w 4519987"/>
                    <a:gd name="connsiteY147" fmla="*/ 38100 h 4496940"/>
                    <a:gd name="connsiteX148" fmla="*/ 2392702 w 4519987"/>
                    <a:gd name="connsiteY14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135777 w 4519987"/>
                    <a:gd name="connsiteY21" fmla="*/ 9334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02452 w 4519987"/>
                    <a:gd name="connsiteY24" fmla="*/ 1085850 h 4496940"/>
                    <a:gd name="connsiteX25" fmla="*/ 4250077 w 4519987"/>
                    <a:gd name="connsiteY25" fmla="*/ 1143000 h 4496940"/>
                    <a:gd name="connsiteX26" fmla="*/ 4259602 w 4519987"/>
                    <a:gd name="connsiteY26" fmla="*/ 1190625 h 4496940"/>
                    <a:gd name="connsiteX27" fmla="*/ 4307227 w 4519987"/>
                    <a:gd name="connsiteY27" fmla="*/ 1266825 h 4496940"/>
                    <a:gd name="connsiteX28" fmla="*/ 4345327 w 4519987"/>
                    <a:gd name="connsiteY28" fmla="*/ 1362075 h 4496940"/>
                    <a:gd name="connsiteX29" fmla="*/ 4373902 w 4519987"/>
                    <a:gd name="connsiteY29" fmla="*/ 1428750 h 4496940"/>
                    <a:gd name="connsiteX30" fmla="*/ 4392952 w 4519987"/>
                    <a:gd name="connsiteY30" fmla="*/ 1552575 h 4496940"/>
                    <a:gd name="connsiteX31" fmla="*/ 4402477 w 4519987"/>
                    <a:gd name="connsiteY31" fmla="*/ 1590675 h 4496940"/>
                    <a:gd name="connsiteX32" fmla="*/ 4431052 w 4519987"/>
                    <a:gd name="connsiteY32" fmla="*/ 1685925 h 4496940"/>
                    <a:gd name="connsiteX33" fmla="*/ 4519952 w 4519987"/>
                    <a:gd name="connsiteY33" fmla="*/ 2181225 h 4496940"/>
                    <a:gd name="connsiteX34" fmla="*/ 4446927 w 4519987"/>
                    <a:gd name="connsiteY34" fmla="*/ 2768600 h 4496940"/>
                    <a:gd name="connsiteX35" fmla="*/ 4383427 w 4519987"/>
                    <a:gd name="connsiteY35" fmla="*/ 2990850 h 4496940"/>
                    <a:gd name="connsiteX36" fmla="*/ 4278652 w 4519987"/>
                    <a:gd name="connsiteY36" fmla="*/ 3248025 h 4496940"/>
                    <a:gd name="connsiteX37" fmla="*/ 4259602 w 4519987"/>
                    <a:gd name="connsiteY37" fmla="*/ 3276600 h 4496940"/>
                    <a:gd name="connsiteX38" fmla="*/ 4221502 w 4519987"/>
                    <a:gd name="connsiteY38" fmla="*/ 3333750 h 4496940"/>
                    <a:gd name="connsiteX39" fmla="*/ 4211977 w 4519987"/>
                    <a:gd name="connsiteY39" fmla="*/ 3362325 h 4496940"/>
                    <a:gd name="connsiteX40" fmla="*/ 4183402 w 4519987"/>
                    <a:gd name="connsiteY40" fmla="*/ 3400425 h 4496940"/>
                    <a:gd name="connsiteX41" fmla="*/ 4164352 w 4519987"/>
                    <a:gd name="connsiteY41" fmla="*/ 3429000 h 4496940"/>
                    <a:gd name="connsiteX42" fmla="*/ 4088152 w 4519987"/>
                    <a:gd name="connsiteY42" fmla="*/ 3495675 h 4496940"/>
                    <a:gd name="connsiteX43" fmla="*/ 4059577 w 4519987"/>
                    <a:gd name="connsiteY43" fmla="*/ 3533775 h 4496940"/>
                    <a:gd name="connsiteX44" fmla="*/ 4002427 w 4519987"/>
                    <a:gd name="connsiteY44" fmla="*/ 3600450 h 4496940"/>
                    <a:gd name="connsiteX45" fmla="*/ 3983377 w 4519987"/>
                    <a:gd name="connsiteY45" fmla="*/ 3629025 h 4496940"/>
                    <a:gd name="connsiteX46" fmla="*/ 3954802 w 4519987"/>
                    <a:gd name="connsiteY46" fmla="*/ 3648075 h 4496940"/>
                    <a:gd name="connsiteX47" fmla="*/ 3907177 w 4519987"/>
                    <a:gd name="connsiteY47" fmla="*/ 3686175 h 4496940"/>
                    <a:gd name="connsiteX48" fmla="*/ 3869077 w 4519987"/>
                    <a:gd name="connsiteY48" fmla="*/ 3724275 h 4496940"/>
                    <a:gd name="connsiteX49" fmla="*/ 3792877 w 4519987"/>
                    <a:gd name="connsiteY49" fmla="*/ 3781425 h 4496940"/>
                    <a:gd name="connsiteX50" fmla="*/ 3783352 w 4519987"/>
                    <a:gd name="connsiteY50" fmla="*/ 3810000 h 4496940"/>
                    <a:gd name="connsiteX51" fmla="*/ 3745252 w 4519987"/>
                    <a:gd name="connsiteY51" fmla="*/ 3819525 h 4496940"/>
                    <a:gd name="connsiteX52" fmla="*/ 3678577 w 4519987"/>
                    <a:gd name="connsiteY52" fmla="*/ 3848100 h 4496940"/>
                    <a:gd name="connsiteX53" fmla="*/ 3659527 w 4519987"/>
                    <a:gd name="connsiteY53" fmla="*/ 3971925 h 4496940"/>
                    <a:gd name="connsiteX54" fmla="*/ 3630952 w 4519987"/>
                    <a:gd name="connsiteY54" fmla="*/ 4010025 h 4496940"/>
                    <a:gd name="connsiteX55" fmla="*/ 3621427 w 4519987"/>
                    <a:gd name="connsiteY55" fmla="*/ 4038600 h 4496940"/>
                    <a:gd name="connsiteX56" fmla="*/ 3554752 w 4519987"/>
                    <a:gd name="connsiteY56" fmla="*/ 4095750 h 4496940"/>
                    <a:gd name="connsiteX57" fmla="*/ 3516652 w 4519987"/>
                    <a:gd name="connsiteY57" fmla="*/ 4114800 h 4496940"/>
                    <a:gd name="connsiteX58" fmla="*/ 3497602 w 4519987"/>
                    <a:gd name="connsiteY58" fmla="*/ 4143375 h 4496940"/>
                    <a:gd name="connsiteX59" fmla="*/ 3383302 w 4519987"/>
                    <a:gd name="connsiteY59" fmla="*/ 4210050 h 4496940"/>
                    <a:gd name="connsiteX60" fmla="*/ 3335677 w 4519987"/>
                    <a:gd name="connsiteY60" fmla="*/ 4238625 h 4496940"/>
                    <a:gd name="connsiteX61" fmla="*/ 3288052 w 4519987"/>
                    <a:gd name="connsiteY61" fmla="*/ 4248150 h 4496940"/>
                    <a:gd name="connsiteX62" fmla="*/ 3240427 w 4519987"/>
                    <a:gd name="connsiteY62" fmla="*/ 4267200 h 4496940"/>
                    <a:gd name="connsiteX63" fmla="*/ 3068977 w 4519987"/>
                    <a:gd name="connsiteY63" fmla="*/ 4286250 h 4496940"/>
                    <a:gd name="connsiteX64" fmla="*/ 2935627 w 4519987"/>
                    <a:gd name="connsiteY64" fmla="*/ 4333875 h 4496940"/>
                    <a:gd name="connsiteX65" fmla="*/ 2811802 w 4519987"/>
                    <a:gd name="connsiteY65" fmla="*/ 4371975 h 4496940"/>
                    <a:gd name="connsiteX66" fmla="*/ 2745127 w 4519987"/>
                    <a:gd name="connsiteY66" fmla="*/ 4410075 h 4496940"/>
                    <a:gd name="connsiteX67" fmla="*/ 2697502 w 4519987"/>
                    <a:gd name="connsiteY67" fmla="*/ 4429125 h 4496940"/>
                    <a:gd name="connsiteX68" fmla="*/ 2640352 w 4519987"/>
                    <a:gd name="connsiteY68" fmla="*/ 4457700 h 4496940"/>
                    <a:gd name="connsiteX69" fmla="*/ 2583202 w 4519987"/>
                    <a:gd name="connsiteY69" fmla="*/ 4467225 h 4496940"/>
                    <a:gd name="connsiteX70" fmla="*/ 2545102 w 4519987"/>
                    <a:gd name="connsiteY70" fmla="*/ 4486275 h 4496940"/>
                    <a:gd name="connsiteX71" fmla="*/ 2306977 w 4519987"/>
                    <a:gd name="connsiteY71" fmla="*/ 4476750 h 4496940"/>
                    <a:gd name="connsiteX72" fmla="*/ 2202202 w 4519987"/>
                    <a:gd name="connsiteY72" fmla="*/ 4457700 h 4496940"/>
                    <a:gd name="connsiteX73" fmla="*/ 2126002 w 4519987"/>
                    <a:gd name="connsiteY73" fmla="*/ 4429125 h 4496940"/>
                    <a:gd name="connsiteX74" fmla="*/ 1935502 w 4519987"/>
                    <a:gd name="connsiteY74" fmla="*/ 4400550 h 4496940"/>
                    <a:gd name="connsiteX75" fmla="*/ 1821202 w 4519987"/>
                    <a:gd name="connsiteY75" fmla="*/ 4371975 h 4496940"/>
                    <a:gd name="connsiteX76" fmla="*/ 1754527 w 4519987"/>
                    <a:gd name="connsiteY76" fmla="*/ 4352925 h 4496940"/>
                    <a:gd name="connsiteX77" fmla="*/ 1687852 w 4519987"/>
                    <a:gd name="connsiteY77" fmla="*/ 4343400 h 4496940"/>
                    <a:gd name="connsiteX78" fmla="*/ 1573552 w 4519987"/>
                    <a:gd name="connsiteY78" fmla="*/ 4305300 h 4496940"/>
                    <a:gd name="connsiteX79" fmla="*/ 1402102 w 4519987"/>
                    <a:gd name="connsiteY79" fmla="*/ 4276725 h 4496940"/>
                    <a:gd name="connsiteX80" fmla="*/ 1287802 w 4519987"/>
                    <a:gd name="connsiteY80" fmla="*/ 4229100 h 4496940"/>
                    <a:gd name="connsiteX81" fmla="*/ 1221127 w 4519987"/>
                    <a:gd name="connsiteY81" fmla="*/ 4200525 h 4496940"/>
                    <a:gd name="connsiteX82" fmla="*/ 1144927 w 4519987"/>
                    <a:gd name="connsiteY82" fmla="*/ 4171950 h 4496940"/>
                    <a:gd name="connsiteX83" fmla="*/ 1087777 w 4519987"/>
                    <a:gd name="connsiteY83" fmla="*/ 4143375 h 4496940"/>
                    <a:gd name="connsiteX84" fmla="*/ 1030627 w 4519987"/>
                    <a:gd name="connsiteY84" fmla="*/ 4124325 h 4496940"/>
                    <a:gd name="connsiteX85" fmla="*/ 925852 w 4519987"/>
                    <a:gd name="connsiteY85" fmla="*/ 4067175 h 4496940"/>
                    <a:gd name="connsiteX86" fmla="*/ 830602 w 4519987"/>
                    <a:gd name="connsiteY86" fmla="*/ 3981450 h 4496940"/>
                    <a:gd name="connsiteX87" fmla="*/ 763927 w 4519987"/>
                    <a:gd name="connsiteY87" fmla="*/ 3914775 h 4496940"/>
                    <a:gd name="connsiteX88" fmla="*/ 725827 w 4519987"/>
                    <a:gd name="connsiteY88" fmla="*/ 3876675 h 4496940"/>
                    <a:gd name="connsiteX89" fmla="*/ 697252 w 4519987"/>
                    <a:gd name="connsiteY89" fmla="*/ 3838575 h 4496940"/>
                    <a:gd name="connsiteX90" fmla="*/ 640102 w 4519987"/>
                    <a:gd name="connsiteY90" fmla="*/ 3781425 h 4496940"/>
                    <a:gd name="connsiteX91" fmla="*/ 611527 w 4519987"/>
                    <a:gd name="connsiteY91" fmla="*/ 3733800 h 4496940"/>
                    <a:gd name="connsiteX92" fmla="*/ 554377 w 4519987"/>
                    <a:gd name="connsiteY92" fmla="*/ 3657600 h 4496940"/>
                    <a:gd name="connsiteX93" fmla="*/ 525802 w 4519987"/>
                    <a:gd name="connsiteY93" fmla="*/ 3609975 h 4496940"/>
                    <a:gd name="connsiteX94" fmla="*/ 497227 w 4519987"/>
                    <a:gd name="connsiteY94" fmla="*/ 3552825 h 4496940"/>
                    <a:gd name="connsiteX95" fmla="*/ 440077 w 4519987"/>
                    <a:gd name="connsiteY95" fmla="*/ 3495675 h 4496940"/>
                    <a:gd name="connsiteX96" fmla="*/ 411502 w 4519987"/>
                    <a:gd name="connsiteY96" fmla="*/ 3448050 h 4496940"/>
                    <a:gd name="connsiteX97" fmla="*/ 278152 w 4519987"/>
                    <a:gd name="connsiteY97" fmla="*/ 3257550 h 4496940"/>
                    <a:gd name="connsiteX98" fmla="*/ 249577 w 4519987"/>
                    <a:gd name="connsiteY98" fmla="*/ 3200400 h 4496940"/>
                    <a:gd name="connsiteX99" fmla="*/ 240052 w 4519987"/>
                    <a:gd name="connsiteY99" fmla="*/ 3162300 h 4496940"/>
                    <a:gd name="connsiteX100" fmla="*/ 221002 w 4519987"/>
                    <a:gd name="connsiteY100" fmla="*/ 3105150 h 4496940"/>
                    <a:gd name="connsiteX101" fmla="*/ 173377 w 4519987"/>
                    <a:gd name="connsiteY101" fmla="*/ 3019425 h 4496940"/>
                    <a:gd name="connsiteX102" fmla="*/ 144802 w 4519987"/>
                    <a:gd name="connsiteY102" fmla="*/ 2924175 h 4496940"/>
                    <a:gd name="connsiteX103" fmla="*/ 68602 w 4519987"/>
                    <a:gd name="connsiteY103" fmla="*/ 2724150 h 4496940"/>
                    <a:gd name="connsiteX104" fmla="*/ 49552 w 4519987"/>
                    <a:gd name="connsiteY104" fmla="*/ 2638425 h 4496940"/>
                    <a:gd name="connsiteX105" fmla="*/ 40027 w 4519987"/>
                    <a:gd name="connsiteY105" fmla="*/ 2562225 h 4496940"/>
                    <a:gd name="connsiteX106" fmla="*/ 30502 w 4519987"/>
                    <a:gd name="connsiteY106" fmla="*/ 2514600 h 4496940"/>
                    <a:gd name="connsiteX107" fmla="*/ 11452 w 4519987"/>
                    <a:gd name="connsiteY107" fmla="*/ 2400300 h 4496940"/>
                    <a:gd name="connsiteX108" fmla="*/ 20977 w 4519987"/>
                    <a:gd name="connsiteY108" fmla="*/ 1905000 h 4496940"/>
                    <a:gd name="connsiteX109" fmla="*/ 30502 w 4519987"/>
                    <a:gd name="connsiteY109" fmla="*/ 1838325 h 4496940"/>
                    <a:gd name="connsiteX110" fmla="*/ 49552 w 4519987"/>
                    <a:gd name="connsiteY110" fmla="*/ 1781175 h 4496940"/>
                    <a:gd name="connsiteX111" fmla="*/ 59077 w 4519987"/>
                    <a:gd name="connsiteY111" fmla="*/ 1743075 h 4496940"/>
                    <a:gd name="connsiteX112" fmla="*/ 78127 w 4519987"/>
                    <a:gd name="connsiteY112" fmla="*/ 1685925 h 4496940"/>
                    <a:gd name="connsiteX113" fmla="*/ 87652 w 4519987"/>
                    <a:gd name="connsiteY113" fmla="*/ 1638300 h 4496940"/>
                    <a:gd name="connsiteX114" fmla="*/ 106702 w 4519987"/>
                    <a:gd name="connsiteY114" fmla="*/ 1590675 h 4496940"/>
                    <a:gd name="connsiteX115" fmla="*/ 135277 w 4519987"/>
                    <a:gd name="connsiteY115" fmla="*/ 1504950 h 4496940"/>
                    <a:gd name="connsiteX116" fmla="*/ 154327 w 4519987"/>
                    <a:gd name="connsiteY116" fmla="*/ 1419225 h 4496940"/>
                    <a:gd name="connsiteX117" fmla="*/ 230527 w 4519987"/>
                    <a:gd name="connsiteY117" fmla="*/ 1276350 h 4496940"/>
                    <a:gd name="connsiteX118" fmla="*/ 240052 w 4519987"/>
                    <a:gd name="connsiteY118" fmla="*/ 1247775 h 4496940"/>
                    <a:gd name="connsiteX119" fmla="*/ 268627 w 4519987"/>
                    <a:gd name="connsiteY119" fmla="*/ 1200150 h 4496940"/>
                    <a:gd name="connsiteX120" fmla="*/ 287677 w 4519987"/>
                    <a:gd name="connsiteY120" fmla="*/ 1152525 h 4496940"/>
                    <a:gd name="connsiteX121" fmla="*/ 316252 w 4519987"/>
                    <a:gd name="connsiteY121" fmla="*/ 1114425 h 4496940"/>
                    <a:gd name="connsiteX122" fmla="*/ 363877 w 4519987"/>
                    <a:gd name="connsiteY122" fmla="*/ 1038225 h 4496940"/>
                    <a:gd name="connsiteX123" fmla="*/ 382927 w 4519987"/>
                    <a:gd name="connsiteY123" fmla="*/ 1009650 h 4496940"/>
                    <a:gd name="connsiteX124" fmla="*/ 440077 w 4519987"/>
                    <a:gd name="connsiteY124" fmla="*/ 904875 h 4496940"/>
                    <a:gd name="connsiteX125" fmla="*/ 478177 w 4519987"/>
                    <a:gd name="connsiteY125" fmla="*/ 857250 h 4496940"/>
                    <a:gd name="connsiteX126" fmla="*/ 497227 w 4519987"/>
                    <a:gd name="connsiteY126" fmla="*/ 828675 h 4496940"/>
                    <a:gd name="connsiteX127" fmla="*/ 535327 w 4519987"/>
                    <a:gd name="connsiteY127" fmla="*/ 800100 h 4496940"/>
                    <a:gd name="connsiteX128" fmla="*/ 602002 w 4519987"/>
                    <a:gd name="connsiteY128" fmla="*/ 733425 h 4496940"/>
                    <a:gd name="connsiteX129" fmla="*/ 668677 w 4519987"/>
                    <a:gd name="connsiteY129" fmla="*/ 676275 h 4496940"/>
                    <a:gd name="connsiteX130" fmla="*/ 697252 w 4519987"/>
                    <a:gd name="connsiteY130" fmla="*/ 657225 h 4496940"/>
                    <a:gd name="connsiteX131" fmla="*/ 840127 w 4519987"/>
                    <a:gd name="connsiteY131" fmla="*/ 533400 h 4496940"/>
                    <a:gd name="connsiteX132" fmla="*/ 887752 w 4519987"/>
                    <a:gd name="connsiteY132" fmla="*/ 504825 h 4496940"/>
                    <a:gd name="connsiteX133" fmla="*/ 1167152 w 4519987"/>
                    <a:gd name="connsiteY133" fmla="*/ 311150 h 4496940"/>
                    <a:gd name="connsiteX134" fmla="*/ 1268752 w 4519987"/>
                    <a:gd name="connsiteY134" fmla="*/ 285750 h 4496940"/>
                    <a:gd name="connsiteX135" fmla="*/ 1411627 w 4519987"/>
                    <a:gd name="connsiteY135" fmla="*/ 190500 h 4496940"/>
                    <a:gd name="connsiteX136" fmla="*/ 1449727 w 4519987"/>
                    <a:gd name="connsiteY136" fmla="*/ 161925 h 4496940"/>
                    <a:gd name="connsiteX137" fmla="*/ 1525927 w 4519987"/>
                    <a:gd name="connsiteY137" fmla="*/ 152400 h 4496940"/>
                    <a:gd name="connsiteX138" fmla="*/ 1583077 w 4519987"/>
                    <a:gd name="connsiteY138" fmla="*/ 142875 h 4496940"/>
                    <a:gd name="connsiteX139" fmla="*/ 1716427 w 4519987"/>
                    <a:gd name="connsiteY139" fmla="*/ 123825 h 4496940"/>
                    <a:gd name="connsiteX140" fmla="*/ 1811677 w 4519987"/>
                    <a:gd name="connsiteY140" fmla="*/ 114300 h 4496940"/>
                    <a:gd name="connsiteX141" fmla="*/ 1859302 w 4519987"/>
                    <a:gd name="connsiteY141" fmla="*/ 104775 h 4496940"/>
                    <a:gd name="connsiteX142" fmla="*/ 1916452 w 4519987"/>
                    <a:gd name="connsiteY142" fmla="*/ 95250 h 4496940"/>
                    <a:gd name="connsiteX143" fmla="*/ 2030752 w 4519987"/>
                    <a:gd name="connsiteY143" fmla="*/ 66675 h 4496940"/>
                    <a:gd name="connsiteX144" fmla="*/ 2097427 w 4519987"/>
                    <a:gd name="connsiteY144" fmla="*/ 47625 h 4496940"/>
                    <a:gd name="connsiteX145" fmla="*/ 2164102 w 4519987"/>
                    <a:gd name="connsiteY145" fmla="*/ 38100 h 4496940"/>
                    <a:gd name="connsiteX146" fmla="*/ 2392702 w 4519987"/>
                    <a:gd name="connsiteY14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50077 w 4519987"/>
                    <a:gd name="connsiteY24" fmla="*/ 1143000 h 4496940"/>
                    <a:gd name="connsiteX25" fmla="*/ 4259602 w 4519987"/>
                    <a:gd name="connsiteY25" fmla="*/ 1190625 h 4496940"/>
                    <a:gd name="connsiteX26" fmla="*/ 4307227 w 4519987"/>
                    <a:gd name="connsiteY26" fmla="*/ 1266825 h 4496940"/>
                    <a:gd name="connsiteX27" fmla="*/ 4345327 w 4519987"/>
                    <a:gd name="connsiteY27" fmla="*/ 1362075 h 4496940"/>
                    <a:gd name="connsiteX28" fmla="*/ 4373902 w 4519987"/>
                    <a:gd name="connsiteY28" fmla="*/ 1428750 h 4496940"/>
                    <a:gd name="connsiteX29" fmla="*/ 4392952 w 4519987"/>
                    <a:gd name="connsiteY29" fmla="*/ 1552575 h 4496940"/>
                    <a:gd name="connsiteX30" fmla="*/ 4402477 w 4519987"/>
                    <a:gd name="connsiteY30" fmla="*/ 1590675 h 4496940"/>
                    <a:gd name="connsiteX31" fmla="*/ 4431052 w 4519987"/>
                    <a:gd name="connsiteY31" fmla="*/ 1685925 h 4496940"/>
                    <a:gd name="connsiteX32" fmla="*/ 4519952 w 4519987"/>
                    <a:gd name="connsiteY32" fmla="*/ 2181225 h 4496940"/>
                    <a:gd name="connsiteX33" fmla="*/ 4446927 w 4519987"/>
                    <a:gd name="connsiteY33" fmla="*/ 2768600 h 4496940"/>
                    <a:gd name="connsiteX34" fmla="*/ 4383427 w 4519987"/>
                    <a:gd name="connsiteY34" fmla="*/ 2990850 h 4496940"/>
                    <a:gd name="connsiteX35" fmla="*/ 4278652 w 4519987"/>
                    <a:gd name="connsiteY35" fmla="*/ 3248025 h 4496940"/>
                    <a:gd name="connsiteX36" fmla="*/ 4259602 w 4519987"/>
                    <a:gd name="connsiteY36" fmla="*/ 3276600 h 4496940"/>
                    <a:gd name="connsiteX37" fmla="*/ 4221502 w 4519987"/>
                    <a:gd name="connsiteY37" fmla="*/ 3333750 h 4496940"/>
                    <a:gd name="connsiteX38" fmla="*/ 4211977 w 4519987"/>
                    <a:gd name="connsiteY38" fmla="*/ 3362325 h 4496940"/>
                    <a:gd name="connsiteX39" fmla="*/ 4183402 w 4519987"/>
                    <a:gd name="connsiteY39" fmla="*/ 3400425 h 4496940"/>
                    <a:gd name="connsiteX40" fmla="*/ 4164352 w 4519987"/>
                    <a:gd name="connsiteY40" fmla="*/ 3429000 h 4496940"/>
                    <a:gd name="connsiteX41" fmla="*/ 4088152 w 4519987"/>
                    <a:gd name="connsiteY41" fmla="*/ 3495675 h 4496940"/>
                    <a:gd name="connsiteX42" fmla="*/ 4059577 w 4519987"/>
                    <a:gd name="connsiteY42" fmla="*/ 3533775 h 4496940"/>
                    <a:gd name="connsiteX43" fmla="*/ 4002427 w 4519987"/>
                    <a:gd name="connsiteY43" fmla="*/ 3600450 h 4496940"/>
                    <a:gd name="connsiteX44" fmla="*/ 3983377 w 4519987"/>
                    <a:gd name="connsiteY44" fmla="*/ 3629025 h 4496940"/>
                    <a:gd name="connsiteX45" fmla="*/ 3954802 w 4519987"/>
                    <a:gd name="connsiteY45" fmla="*/ 3648075 h 4496940"/>
                    <a:gd name="connsiteX46" fmla="*/ 3907177 w 4519987"/>
                    <a:gd name="connsiteY46" fmla="*/ 3686175 h 4496940"/>
                    <a:gd name="connsiteX47" fmla="*/ 3869077 w 4519987"/>
                    <a:gd name="connsiteY47" fmla="*/ 3724275 h 4496940"/>
                    <a:gd name="connsiteX48" fmla="*/ 3792877 w 4519987"/>
                    <a:gd name="connsiteY48" fmla="*/ 3781425 h 4496940"/>
                    <a:gd name="connsiteX49" fmla="*/ 3783352 w 4519987"/>
                    <a:gd name="connsiteY49" fmla="*/ 3810000 h 4496940"/>
                    <a:gd name="connsiteX50" fmla="*/ 3745252 w 4519987"/>
                    <a:gd name="connsiteY50" fmla="*/ 3819525 h 4496940"/>
                    <a:gd name="connsiteX51" fmla="*/ 3678577 w 4519987"/>
                    <a:gd name="connsiteY51" fmla="*/ 3848100 h 4496940"/>
                    <a:gd name="connsiteX52" fmla="*/ 3659527 w 4519987"/>
                    <a:gd name="connsiteY52" fmla="*/ 3971925 h 4496940"/>
                    <a:gd name="connsiteX53" fmla="*/ 3630952 w 4519987"/>
                    <a:gd name="connsiteY53" fmla="*/ 4010025 h 4496940"/>
                    <a:gd name="connsiteX54" fmla="*/ 3621427 w 4519987"/>
                    <a:gd name="connsiteY54" fmla="*/ 4038600 h 4496940"/>
                    <a:gd name="connsiteX55" fmla="*/ 3554752 w 4519987"/>
                    <a:gd name="connsiteY55" fmla="*/ 4095750 h 4496940"/>
                    <a:gd name="connsiteX56" fmla="*/ 3516652 w 4519987"/>
                    <a:gd name="connsiteY56" fmla="*/ 4114800 h 4496940"/>
                    <a:gd name="connsiteX57" fmla="*/ 3497602 w 4519987"/>
                    <a:gd name="connsiteY57" fmla="*/ 4143375 h 4496940"/>
                    <a:gd name="connsiteX58" fmla="*/ 3383302 w 4519987"/>
                    <a:gd name="connsiteY58" fmla="*/ 4210050 h 4496940"/>
                    <a:gd name="connsiteX59" fmla="*/ 3335677 w 4519987"/>
                    <a:gd name="connsiteY59" fmla="*/ 4238625 h 4496940"/>
                    <a:gd name="connsiteX60" fmla="*/ 3288052 w 4519987"/>
                    <a:gd name="connsiteY60" fmla="*/ 4248150 h 4496940"/>
                    <a:gd name="connsiteX61" fmla="*/ 3240427 w 4519987"/>
                    <a:gd name="connsiteY61" fmla="*/ 4267200 h 4496940"/>
                    <a:gd name="connsiteX62" fmla="*/ 3068977 w 4519987"/>
                    <a:gd name="connsiteY62" fmla="*/ 4286250 h 4496940"/>
                    <a:gd name="connsiteX63" fmla="*/ 2935627 w 4519987"/>
                    <a:gd name="connsiteY63" fmla="*/ 4333875 h 4496940"/>
                    <a:gd name="connsiteX64" fmla="*/ 2811802 w 4519987"/>
                    <a:gd name="connsiteY64" fmla="*/ 4371975 h 4496940"/>
                    <a:gd name="connsiteX65" fmla="*/ 2745127 w 4519987"/>
                    <a:gd name="connsiteY65" fmla="*/ 4410075 h 4496940"/>
                    <a:gd name="connsiteX66" fmla="*/ 2697502 w 4519987"/>
                    <a:gd name="connsiteY66" fmla="*/ 4429125 h 4496940"/>
                    <a:gd name="connsiteX67" fmla="*/ 2640352 w 4519987"/>
                    <a:gd name="connsiteY67" fmla="*/ 4457700 h 4496940"/>
                    <a:gd name="connsiteX68" fmla="*/ 2583202 w 4519987"/>
                    <a:gd name="connsiteY68" fmla="*/ 4467225 h 4496940"/>
                    <a:gd name="connsiteX69" fmla="*/ 2545102 w 4519987"/>
                    <a:gd name="connsiteY69" fmla="*/ 4486275 h 4496940"/>
                    <a:gd name="connsiteX70" fmla="*/ 2306977 w 4519987"/>
                    <a:gd name="connsiteY70" fmla="*/ 4476750 h 4496940"/>
                    <a:gd name="connsiteX71" fmla="*/ 2202202 w 4519987"/>
                    <a:gd name="connsiteY71" fmla="*/ 4457700 h 4496940"/>
                    <a:gd name="connsiteX72" fmla="*/ 2126002 w 4519987"/>
                    <a:gd name="connsiteY72" fmla="*/ 4429125 h 4496940"/>
                    <a:gd name="connsiteX73" fmla="*/ 1935502 w 4519987"/>
                    <a:gd name="connsiteY73" fmla="*/ 4400550 h 4496940"/>
                    <a:gd name="connsiteX74" fmla="*/ 1821202 w 4519987"/>
                    <a:gd name="connsiteY74" fmla="*/ 4371975 h 4496940"/>
                    <a:gd name="connsiteX75" fmla="*/ 1754527 w 4519987"/>
                    <a:gd name="connsiteY75" fmla="*/ 4352925 h 4496940"/>
                    <a:gd name="connsiteX76" fmla="*/ 1687852 w 4519987"/>
                    <a:gd name="connsiteY76" fmla="*/ 4343400 h 4496940"/>
                    <a:gd name="connsiteX77" fmla="*/ 1573552 w 4519987"/>
                    <a:gd name="connsiteY77" fmla="*/ 4305300 h 4496940"/>
                    <a:gd name="connsiteX78" fmla="*/ 1402102 w 4519987"/>
                    <a:gd name="connsiteY78" fmla="*/ 4276725 h 4496940"/>
                    <a:gd name="connsiteX79" fmla="*/ 1287802 w 4519987"/>
                    <a:gd name="connsiteY79" fmla="*/ 4229100 h 4496940"/>
                    <a:gd name="connsiteX80" fmla="*/ 1221127 w 4519987"/>
                    <a:gd name="connsiteY80" fmla="*/ 4200525 h 4496940"/>
                    <a:gd name="connsiteX81" fmla="*/ 1144927 w 4519987"/>
                    <a:gd name="connsiteY81" fmla="*/ 4171950 h 4496940"/>
                    <a:gd name="connsiteX82" fmla="*/ 1087777 w 4519987"/>
                    <a:gd name="connsiteY82" fmla="*/ 4143375 h 4496940"/>
                    <a:gd name="connsiteX83" fmla="*/ 1030627 w 4519987"/>
                    <a:gd name="connsiteY83" fmla="*/ 4124325 h 4496940"/>
                    <a:gd name="connsiteX84" fmla="*/ 925852 w 4519987"/>
                    <a:gd name="connsiteY84" fmla="*/ 4067175 h 4496940"/>
                    <a:gd name="connsiteX85" fmla="*/ 830602 w 4519987"/>
                    <a:gd name="connsiteY85" fmla="*/ 3981450 h 4496940"/>
                    <a:gd name="connsiteX86" fmla="*/ 763927 w 4519987"/>
                    <a:gd name="connsiteY86" fmla="*/ 3914775 h 4496940"/>
                    <a:gd name="connsiteX87" fmla="*/ 725827 w 4519987"/>
                    <a:gd name="connsiteY87" fmla="*/ 3876675 h 4496940"/>
                    <a:gd name="connsiteX88" fmla="*/ 697252 w 4519987"/>
                    <a:gd name="connsiteY88" fmla="*/ 3838575 h 4496940"/>
                    <a:gd name="connsiteX89" fmla="*/ 640102 w 4519987"/>
                    <a:gd name="connsiteY89" fmla="*/ 3781425 h 4496940"/>
                    <a:gd name="connsiteX90" fmla="*/ 611527 w 4519987"/>
                    <a:gd name="connsiteY90" fmla="*/ 3733800 h 4496940"/>
                    <a:gd name="connsiteX91" fmla="*/ 554377 w 4519987"/>
                    <a:gd name="connsiteY91" fmla="*/ 3657600 h 4496940"/>
                    <a:gd name="connsiteX92" fmla="*/ 525802 w 4519987"/>
                    <a:gd name="connsiteY92" fmla="*/ 3609975 h 4496940"/>
                    <a:gd name="connsiteX93" fmla="*/ 497227 w 4519987"/>
                    <a:gd name="connsiteY93" fmla="*/ 3552825 h 4496940"/>
                    <a:gd name="connsiteX94" fmla="*/ 440077 w 4519987"/>
                    <a:gd name="connsiteY94" fmla="*/ 3495675 h 4496940"/>
                    <a:gd name="connsiteX95" fmla="*/ 411502 w 4519987"/>
                    <a:gd name="connsiteY95" fmla="*/ 3448050 h 4496940"/>
                    <a:gd name="connsiteX96" fmla="*/ 278152 w 4519987"/>
                    <a:gd name="connsiteY96" fmla="*/ 3257550 h 4496940"/>
                    <a:gd name="connsiteX97" fmla="*/ 249577 w 4519987"/>
                    <a:gd name="connsiteY97" fmla="*/ 3200400 h 4496940"/>
                    <a:gd name="connsiteX98" fmla="*/ 240052 w 4519987"/>
                    <a:gd name="connsiteY98" fmla="*/ 3162300 h 4496940"/>
                    <a:gd name="connsiteX99" fmla="*/ 221002 w 4519987"/>
                    <a:gd name="connsiteY99" fmla="*/ 3105150 h 4496940"/>
                    <a:gd name="connsiteX100" fmla="*/ 173377 w 4519987"/>
                    <a:gd name="connsiteY100" fmla="*/ 3019425 h 4496940"/>
                    <a:gd name="connsiteX101" fmla="*/ 144802 w 4519987"/>
                    <a:gd name="connsiteY101" fmla="*/ 2924175 h 4496940"/>
                    <a:gd name="connsiteX102" fmla="*/ 68602 w 4519987"/>
                    <a:gd name="connsiteY102" fmla="*/ 2724150 h 4496940"/>
                    <a:gd name="connsiteX103" fmla="*/ 49552 w 4519987"/>
                    <a:gd name="connsiteY103" fmla="*/ 2638425 h 4496940"/>
                    <a:gd name="connsiteX104" fmla="*/ 40027 w 4519987"/>
                    <a:gd name="connsiteY104" fmla="*/ 2562225 h 4496940"/>
                    <a:gd name="connsiteX105" fmla="*/ 30502 w 4519987"/>
                    <a:gd name="connsiteY105" fmla="*/ 2514600 h 4496940"/>
                    <a:gd name="connsiteX106" fmla="*/ 11452 w 4519987"/>
                    <a:gd name="connsiteY106" fmla="*/ 2400300 h 4496940"/>
                    <a:gd name="connsiteX107" fmla="*/ 20977 w 4519987"/>
                    <a:gd name="connsiteY107" fmla="*/ 1905000 h 4496940"/>
                    <a:gd name="connsiteX108" fmla="*/ 30502 w 4519987"/>
                    <a:gd name="connsiteY108" fmla="*/ 1838325 h 4496940"/>
                    <a:gd name="connsiteX109" fmla="*/ 49552 w 4519987"/>
                    <a:gd name="connsiteY109" fmla="*/ 1781175 h 4496940"/>
                    <a:gd name="connsiteX110" fmla="*/ 59077 w 4519987"/>
                    <a:gd name="connsiteY110" fmla="*/ 1743075 h 4496940"/>
                    <a:gd name="connsiteX111" fmla="*/ 78127 w 4519987"/>
                    <a:gd name="connsiteY111" fmla="*/ 1685925 h 4496940"/>
                    <a:gd name="connsiteX112" fmla="*/ 87652 w 4519987"/>
                    <a:gd name="connsiteY112" fmla="*/ 1638300 h 4496940"/>
                    <a:gd name="connsiteX113" fmla="*/ 106702 w 4519987"/>
                    <a:gd name="connsiteY113" fmla="*/ 1590675 h 4496940"/>
                    <a:gd name="connsiteX114" fmla="*/ 135277 w 4519987"/>
                    <a:gd name="connsiteY114" fmla="*/ 1504950 h 4496940"/>
                    <a:gd name="connsiteX115" fmla="*/ 154327 w 4519987"/>
                    <a:gd name="connsiteY115" fmla="*/ 1419225 h 4496940"/>
                    <a:gd name="connsiteX116" fmla="*/ 230527 w 4519987"/>
                    <a:gd name="connsiteY116" fmla="*/ 1276350 h 4496940"/>
                    <a:gd name="connsiteX117" fmla="*/ 240052 w 4519987"/>
                    <a:gd name="connsiteY117" fmla="*/ 1247775 h 4496940"/>
                    <a:gd name="connsiteX118" fmla="*/ 268627 w 4519987"/>
                    <a:gd name="connsiteY118" fmla="*/ 1200150 h 4496940"/>
                    <a:gd name="connsiteX119" fmla="*/ 287677 w 4519987"/>
                    <a:gd name="connsiteY119" fmla="*/ 1152525 h 4496940"/>
                    <a:gd name="connsiteX120" fmla="*/ 316252 w 4519987"/>
                    <a:gd name="connsiteY120" fmla="*/ 1114425 h 4496940"/>
                    <a:gd name="connsiteX121" fmla="*/ 363877 w 4519987"/>
                    <a:gd name="connsiteY121" fmla="*/ 1038225 h 4496940"/>
                    <a:gd name="connsiteX122" fmla="*/ 382927 w 4519987"/>
                    <a:gd name="connsiteY122" fmla="*/ 1009650 h 4496940"/>
                    <a:gd name="connsiteX123" fmla="*/ 440077 w 4519987"/>
                    <a:gd name="connsiteY123" fmla="*/ 904875 h 4496940"/>
                    <a:gd name="connsiteX124" fmla="*/ 478177 w 4519987"/>
                    <a:gd name="connsiteY124" fmla="*/ 857250 h 4496940"/>
                    <a:gd name="connsiteX125" fmla="*/ 497227 w 4519987"/>
                    <a:gd name="connsiteY125" fmla="*/ 828675 h 4496940"/>
                    <a:gd name="connsiteX126" fmla="*/ 535327 w 4519987"/>
                    <a:gd name="connsiteY126" fmla="*/ 800100 h 4496940"/>
                    <a:gd name="connsiteX127" fmla="*/ 602002 w 4519987"/>
                    <a:gd name="connsiteY127" fmla="*/ 733425 h 4496940"/>
                    <a:gd name="connsiteX128" fmla="*/ 668677 w 4519987"/>
                    <a:gd name="connsiteY128" fmla="*/ 676275 h 4496940"/>
                    <a:gd name="connsiteX129" fmla="*/ 697252 w 4519987"/>
                    <a:gd name="connsiteY129" fmla="*/ 657225 h 4496940"/>
                    <a:gd name="connsiteX130" fmla="*/ 840127 w 4519987"/>
                    <a:gd name="connsiteY130" fmla="*/ 533400 h 4496940"/>
                    <a:gd name="connsiteX131" fmla="*/ 887752 w 4519987"/>
                    <a:gd name="connsiteY131" fmla="*/ 504825 h 4496940"/>
                    <a:gd name="connsiteX132" fmla="*/ 1167152 w 4519987"/>
                    <a:gd name="connsiteY132" fmla="*/ 311150 h 4496940"/>
                    <a:gd name="connsiteX133" fmla="*/ 1268752 w 4519987"/>
                    <a:gd name="connsiteY133" fmla="*/ 285750 h 4496940"/>
                    <a:gd name="connsiteX134" fmla="*/ 1411627 w 4519987"/>
                    <a:gd name="connsiteY134" fmla="*/ 190500 h 4496940"/>
                    <a:gd name="connsiteX135" fmla="*/ 1449727 w 4519987"/>
                    <a:gd name="connsiteY135" fmla="*/ 161925 h 4496940"/>
                    <a:gd name="connsiteX136" fmla="*/ 1525927 w 4519987"/>
                    <a:gd name="connsiteY136" fmla="*/ 152400 h 4496940"/>
                    <a:gd name="connsiteX137" fmla="*/ 1583077 w 4519987"/>
                    <a:gd name="connsiteY137" fmla="*/ 142875 h 4496940"/>
                    <a:gd name="connsiteX138" fmla="*/ 1716427 w 4519987"/>
                    <a:gd name="connsiteY138" fmla="*/ 123825 h 4496940"/>
                    <a:gd name="connsiteX139" fmla="*/ 1811677 w 4519987"/>
                    <a:gd name="connsiteY139" fmla="*/ 114300 h 4496940"/>
                    <a:gd name="connsiteX140" fmla="*/ 1859302 w 4519987"/>
                    <a:gd name="connsiteY140" fmla="*/ 104775 h 4496940"/>
                    <a:gd name="connsiteX141" fmla="*/ 1916452 w 4519987"/>
                    <a:gd name="connsiteY141" fmla="*/ 95250 h 4496940"/>
                    <a:gd name="connsiteX142" fmla="*/ 2030752 w 4519987"/>
                    <a:gd name="connsiteY142" fmla="*/ 66675 h 4496940"/>
                    <a:gd name="connsiteX143" fmla="*/ 2097427 w 4519987"/>
                    <a:gd name="connsiteY143" fmla="*/ 47625 h 4496940"/>
                    <a:gd name="connsiteX144" fmla="*/ 2164102 w 4519987"/>
                    <a:gd name="connsiteY144" fmla="*/ 38100 h 4496940"/>
                    <a:gd name="connsiteX145" fmla="*/ 2392702 w 4519987"/>
                    <a:gd name="connsiteY14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259602 w 4519987"/>
                    <a:gd name="connsiteY24" fmla="*/ 1190625 h 4496940"/>
                    <a:gd name="connsiteX25" fmla="*/ 4307227 w 4519987"/>
                    <a:gd name="connsiteY25" fmla="*/ 1266825 h 4496940"/>
                    <a:gd name="connsiteX26" fmla="*/ 4345327 w 4519987"/>
                    <a:gd name="connsiteY26" fmla="*/ 1362075 h 4496940"/>
                    <a:gd name="connsiteX27" fmla="*/ 4373902 w 4519987"/>
                    <a:gd name="connsiteY27" fmla="*/ 1428750 h 4496940"/>
                    <a:gd name="connsiteX28" fmla="*/ 4392952 w 4519987"/>
                    <a:gd name="connsiteY28" fmla="*/ 1552575 h 4496940"/>
                    <a:gd name="connsiteX29" fmla="*/ 4402477 w 4519987"/>
                    <a:gd name="connsiteY29" fmla="*/ 1590675 h 4496940"/>
                    <a:gd name="connsiteX30" fmla="*/ 4431052 w 4519987"/>
                    <a:gd name="connsiteY30" fmla="*/ 1685925 h 4496940"/>
                    <a:gd name="connsiteX31" fmla="*/ 4519952 w 4519987"/>
                    <a:gd name="connsiteY31" fmla="*/ 2181225 h 4496940"/>
                    <a:gd name="connsiteX32" fmla="*/ 4446927 w 4519987"/>
                    <a:gd name="connsiteY32" fmla="*/ 2768600 h 4496940"/>
                    <a:gd name="connsiteX33" fmla="*/ 4383427 w 4519987"/>
                    <a:gd name="connsiteY33" fmla="*/ 2990850 h 4496940"/>
                    <a:gd name="connsiteX34" fmla="*/ 4278652 w 4519987"/>
                    <a:gd name="connsiteY34" fmla="*/ 3248025 h 4496940"/>
                    <a:gd name="connsiteX35" fmla="*/ 4259602 w 4519987"/>
                    <a:gd name="connsiteY35" fmla="*/ 3276600 h 4496940"/>
                    <a:gd name="connsiteX36" fmla="*/ 4221502 w 4519987"/>
                    <a:gd name="connsiteY36" fmla="*/ 3333750 h 4496940"/>
                    <a:gd name="connsiteX37" fmla="*/ 4211977 w 4519987"/>
                    <a:gd name="connsiteY37" fmla="*/ 3362325 h 4496940"/>
                    <a:gd name="connsiteX38" fmla="*/ 4183402 w 4519987"/>
                    <a:gd name="connsiteY38" fmla="*/ 3400425 h 4496940"/>
                    <a:gd name="connsiteX39" fmla="*/ 4164352 w 4519987"/>
                    <a:gd name="connsiteY39" fmla="*/ 3429000 h 4496940"/>
                    <a:gd name="connsiteX40" fmla="*/ 4088152 w 4519987"/>
                    <a:gd name="connsiteY40" fmla="*/ 3495675 h 4496940"/>
                    <a:gd name="connsiteX41" fmla="*/ 4059577 w 4519987"/>
                    <a:gd name="connsiteY41" fmla="*/ 3533775 h 4496940"/>
                    <a:gd name="connsiteX42" fmla="*/ 4002427 w 4519987"/>
                    <a:gd name="connsiteY42" fmla="*/ 3600450 h 4496940"/>
                    <a:gd name="connsiteX43" fmla="*/ 3983377 w 4519987"/>
                    <a:gd name="connsiteY43" fmla="*/ 3629025 h 4496940"/>
                    <a:gd name="connsiteX44" fmla="*/ 3954802 w 4519987"/>
                    <a:gd name="connsiteY44" fmla="*/ 3648075 h 4496940"/>
                    <a:gd name="connsiteX45" fmla="*/ 3907177 w 4519987"/>
                    <a:gd name="connsiteY45" fmla="*/ 3686175 h 4496940"/>
                    <a:gd name="connsiteX46" fmla="*/ 3869077 w 4519987"/>
                    <a:gd name="connsiteY46" fmla="*/ 3724275 h 4496940"/>
                    <a:gd name="connsiteX47" fmla="*/ 3792877 w 4519987"/>
                    <a:gd name="connsiteY47" fmla="*/ 3781425 h 4496940"/>
                    <a:gd name="connsiteX48" fmla="*/ 3783352 w 4519987"/>
                    <a:gd name="connsiteY48" fmla="*/ 3810000 h 4496940"/>
                    <a:gd name="connsiteX49" fmla="*/ 3745252 w 4519987"/>
                    <a:gd name="connsiteY49" fmla="*/ 3819525 h 4496940"/>
                    <a:gd name="connsiteX50" fmla="*/ 3678577 w 4519987"/>
                    <a:gd name="connsiteY50" fmla="*/ 3848100 h 4496940"/>
                    <a:gd name="connsiteX51" fmla="*/ 3659527 w 4519987"/>
                    <a:gd name="connsiteY51" fmla="*/ 3971925 h 4496940"/>
                    <a:gd name="connsiteX52" fmla="*/ 3630952 w 4519987"/>
                    <a:gd name="connsiteY52" fmla="*/ 4010025 h 4496940"/>
                    <a:gd name="connsiteX53" fmla="*/ 3621427 w 4519987"/>
                    <a:gd name="connsiteY53" fmla="*/ 4038600 h 4496940"/>
                    <a:gd name="connsiteX54" fmla="*/ 3554752 w 4519987"/>
                    <a:gd name="connsiteY54" fmla="*/ 4095750 h 4496940"/>
                    <a:gd name="connsiteX55" fmla="*/ 3516652 w 4519987"/>
                    <a:gd name="connsiteY55" fmla="*/ 4114800 h 4496940"/>
                    <a:gd name="connsiteX56" fmla="*/ 3497602 w 4519987"/>
                    <a:gd name="connsiteY56" fmla="*/ 4143375 h 4496940"/>
                    <a:gd name="connsiteX57" fmla="*/ 3383302 w 4519987"/>
                    <a:gd name="connsiteY57" fmla="*/ 4210050 h 4496940"/>
                    <a:gd name="connsiteX58" fmla="*/ 3335677 w 4519987"/>
                    <a:gd name="connsiteY58" fmla="*/ 4238625 h 4496940"/>
                    <a:gd name="connsiteX59" fmla="*/ 3288052 w 4519987"/>
                    <a:gd name="connsiteY59" fmla="*/ 4248150 h 4496940"/>
                    <a:gd name="connsiteX60" fmla="*/ 3240427 w 4519987"/>
                    <a:gd name="connsiteY60" fmla="*/ 4267200 h 4496940"/>
                    <a:gd name="connsiteX61" fmla="*/ 3068977 w 4519987"/>
                    <a:gd name="connsiteY61" fmla="*/ 4286250 h 4496940"/>
                    <a:gd name="connsiteX62" fmla="*/ 2935627 w 4519987"/>
                    <a:gd name="connsiteY62" fmla="*/ 4333875 h 4496940"/>
                    <a:gd name="connsiteX63" fmla="*/ 2811802 w 4519987"/>
                    <a:gd name="connsiteY63" fmla="*/ 4371975 h 4496940"/>
                    <a:gd name="connsiteX64" fmla="*/ 2745127 w 4519987"/>
                    <a:gd name="connsiteY64" fmla="*/ 4410075 h 4496940"/>
                    <a:gd name="connsiteX65" fmla="*/ 2697502 w 4519987"/>
                    <a:gd name="connsiteY65" fmla="*/ 4429125 h 4496940"/>
                    <a:gd name="connsiteX66" fmla="*/ 2640352 w 4519987"/>
                    <a:gd name="connsiteY66" fmla="*/ 4457700 h 4496940"/>
                    <a:gd name="connsiteX67" fmla="*/ 2583202 w 4519987"/>
                    <a:gd name="connsiteY67" fmla="*/ 4467225 h 4496940"/>
                    <a:gd name="connsiteX68" fmla="*/ 2545102 w 4519987"/>
                    <a:gd name="connsiteY68" fmla="*/ 4486275 h 4496940"/>
                    <a:gd name="connsiteX69" fmla="*/ 2306977 w 4519987"/>
                    <a:gd name="connsiteY69" fmla="*/ 4476750 h 4496940"/>
                    <a:gd name="connsiteX70" fmla="*/ 2202202 w 4519987"/>
                    <a:gd name="connsiteY70" fmla="*/ 4457700 h 4496940"/>
                    <a:gd name="connsiteX71" fmla="*/ 2126002 w 4519987"/>
                    <a:gd name="connsiteY71" fmla="*/ 4429125 h 4496940"/>
                    <a:gd name="connsiteX72" fmla="*/ 1935502 w 4519987"/>
                    <a:gd name="connsiteY72" fmla="*/ 4400550 h 4496940"/>
                    <a:gd name="connsiteX73" fmla="*/ 1821202 w 4519987"/>
                    <a:gd name="connsiteY73" fmla="*/ 4371975 h 4496940"/>
                    <a:gd name="connsiteX74" fmla="*/ 1754527 w 4519987"/>
                    <a:gd name="connsiteY74" fmla="*/ 4352925 h 4496940"/>
                    <a:gd name="connsiteX75" fmla="*/ 1687852 w 4519987"/>
                    <a:gd name="connsiteY75" fmla="*/ 4343400 h 4496940"/>
                    <a:gd name="connsiteX76" fmla="*/ 1573552 w 4519987"/>
                    <a:gd name="connsiteY76" fmla="*/ 4305300 h 4496940"/>
                    <a:gd name="connsiteX77" fmla="*/ 1402102 w 4519987"/>
                    <a:gd name="connsiteY77" fmla="*/ 4276725 h 4496940"/>
                    <a:gd name="connsiteX78" fmla="*/ 1287802 w 4519987"/>
                    <a:gd name="connsiteY78" fmla="*/ 4229100 h 4496940"/>
                    <a:gd name="connsiteX79" fmla="*/ 1221127 w 4519987"/>
                    <a:gd name="connsiteY79" fmla="*/ 4200525 h 4496940"/>
                    <a:gd name="connsiteX80" fmla="*/ 1144927 w 4519987"/>
                    <a:gd name="connsiteY80" fmla="*/ 4171950 h 4496940"/>
                    <a:gd name="connsiteX81" fmla="*/ 1087777 w 4519987"/>
                    <a:gd name="connsiteY81" fmla="*/ 4143375 h 4496940"/>
                    <a:gd name="connsiteX82" fmla="*/ 1030627 w 4519987"/>
                    <a:gd name="connsiteY82" fmla="*/ 4124325 h 4496940"/>
                    <a:gd name="connsiteX83" fmla="*/ 925852 w 4519987"/>
                    <a:gd name="connsiteY83" fmla="*/ 4067175 h 4496940"/>
                    <a:gd name="connsiteX84" fmla="*/ 830602 w 4519987"/>
                    <a:gd name="connsiteY84" fmla="*/ 3981450 h 4496940"/>
                    <a:gd name="connsiteX85" fmla="*/ 763927 w 4519987"/>
                    <a:gd name="connsiteY85" fmla="*/ 3914775 h 4496940"/>
                    <a:gd name="connsiteX86" fmla="*/ 725827 w 4519987"/>
                    <a:gd name="connsiteY86" fmla="*/ 3876675 h 4496940"/>
                    <a:gd name="connsiteX87" fmla="*/ 697252 w 4519987"/>
                    <a:gd name="connsiteY87" fmla="*/ 3838575 h 4496940"/>
                    <a:gd name="connsiteX88" fmla="*/ 640102 w 4519987"/>
                    <a:gd name="connsiteY88" fmla="*/ 3781425 h 4496940"/>
                    <a:gd name="connsiteX89" fmla="*/ 611527 w 4519987"/>
                    <a:gd name="connsiteY89" fmla="*/ 3733800 h 4496940"/>
                    <a:gd name="connsiteX90" fmla="*/ 554377 w 4519987"/>
                    <a:gd name="connsiteY90" fmla="*/ 3657600 h 4496940"/>
                    <a:gd name="connsiteX91" fmla="*/ 525802 w 4519987"/>
                    <a:gd name="connsiteY91" fmla="*/ 3609975 h 4496940"/>
                    <a:gd name="connsiteX92" fmla="*/ 497227 w 4519987"/>
                    <a:gd name="connsiteY92" fmla="*/ 3552825 h 4496940"/>
                    <a:gd name="connsiteX93" fmla="*/ 440077 w 4519987"/>
                    <a:gd name="connsiteY93" fmla="*/ 3495675 h 4496940"/>
                    <a:gd name="connsiteX94" fmla="*/ 411502 w 4519987"/>
                    <a:gd name="connsiteY94" fmla="*/ 3448050 h 4496940"/>
                    <a:gd name="connsiteX95" fmla="*/ 278152 w 4519987"/>
                    <a:gd name="connsiteY95" fmla="*/ 3257550 h 4496940"/>
                    <a:gd name="connsiteX96" fmla="*/ 249577 w 4519987"/>
                    <a:gd name="connsiteY96" fmla="*/ 3200400 h 4496940"/>
                    <a:gd name="connsiteX97" fmla="*/ 240052 w 4519987"/>
                    <a:gd name="connsiteY97" fmla="*/ 3162300 h 4496940"/>
                    <a:gd name="connsiteX98" fmla="*/ 221002 w 4519987"/>
                    <a:gd name="connsiteY98" fmla="*/ 3105150 h 4496940"/>
                    <a:gd name="connsiteX99" fmla="*/ 173377 w 4519987"/>
                    <a:gd name="connsiteY99" fmla="*/ 3019425 h 4496940"/>
                    <a:gd name="connsiteX100" fmla="*/ 144802 w 4519987"/>
                    <a:gd name="connsiteY100" fmla="*/ 2924175 h 4496940"/>
                    <a:gd name="connsiteX101" fmla="*/ 68602 w 4519987"/>
                    <a:gd name="connsiteY101" fmla="*/ 2724150 h 4496940"/>
                    <a:gd name="connsiteX102" fmla="*/ 49552 w 4519987"/>
                    <a:gd name="connsiteY102" fmla="*/ 2638425 h 4496940"/>
                    <a:gd name="connsiteX103" fmla="*/ 40027 w 4519987"/>
                    <a:gd name="connsiteY103" fmla="*/ 2562225 h 4496940"/>
                    <a:gd name="connsiteX104" fmla="*/ 30502 w 4519987"/>
                    <a:gd name="connsiteY104" fmla="*/ 2514600 h 4496940"/>
                    <a:gd name="connsiteX105" fmla="*/ 11452 w 4519987"/>
                    <a:gd name="connsiteY105" fmla="*/ 2400300 h 4496940"/>
                    <a:gd name="connsiteX106" fmla="*/ 20977 w 4519987"/>
                    <a:gd name="connsiteY106" fmla="*/ 1905000 h 4496940"/>
                    <a:gd name="connsiteX107" fmla="*/ 30502 w 4519987"/>
                    <a:gd name="connsiteY107" fmla="*/ 1838325 h 4496940"/>
                    <a:gd name="connsiteX108" fmla="*/ 49552 w 4519987"/>
                    <a:gd name="connsiteY108" fmla="*/ 1781175 h 4496940"/>
                    <a:gd name="connsiteX109" fmla="*/ 59077 w 4519987"/>
                    <a:gd name="connsiteY109" fmla="*/ 1743075 h 4496940"/>
                    <a:gd name="connsiteX110" fmla="*/ 78127 w 4519987"/>
                    <a:gd name="connsiteY110" fmla="*/ 1685925 h 4496940"/>
                    <a:gd name="connsiteX111" fmla="*/ 87652 w 4519987"/>
                    <a:gd name="connsiteY111" fmla="*/ 1638300 h 4496940"/>
                    <a:gd name="connsiteX112" fmla="*/ 106702 w 4519987"/>
                    <a:gd name="connsiteY112" fmla="*/ 1590675 h 4496940"/>
                    <a:gd name="connsiteX113" fmla="*/ 135277 w 4519987"/>
                    <a:gd name="connsiteY113" fmla="*/ 1504950 h 4496940"/>
                    <a:gd name="connsiteX114" fmla="*/ 154327 w 4519987"/>
                    <a:gd name="connsiteY114" fmla="*/ 1419225 h 4496940"/>
                    <a:gd name="connsiteX115" fmla="*/ 230527 w 4519987"/>
                    <a:gd name="connsiteY115" fmla="*/ 1276350 h 4496940"/>
                    <a:gd name="connsiteX116" fmla="*/ 240052 w 4519987"/>
                    <a:gd name="connsiteY116" fmla="*/ 1247775 h 4496940"/>
                    <a:gd name="connsiteX117" fmla="*/ 268627 w 4519987"/>
                    <a:gd name="connsiteY117" fmla="*/ 1200150 h 4496940"/>
                    <a:gd name="connsiteX118" fmla="*/ 287677 w 4519987"/>
                    <a:gd name="connsiteY118" fmla="*/ 1152525 h 4496940"/>
                    <a:gd name="connsiteX119" fmla="*/ 316252 w 4519987"/>
                    <a:gd name="connsiteY119" fmla="*/ 1114425 h 4496940"/>
                    <a:gd name="connsiteX120" fmla="*/ 363877 w 4519987"/>
                    <a:gd name="connsiteY120" fmla="*/ 1038225 h 4496940"/>
                    <a:gd name="connsiteX121" fmla="*/ 382927 w 4519987"/>
                    <a:gd name="connsiteY121" fmla="*/ 1009650 h 4496940"/>
                    <a:gd name="connsiteX122" fmla="*/ 440077 w 4519987"/>
                    <a:gd name="connsiteY122" fmla="*/ 904875 h 4496940"/>
                    <a:gd name="connsiteX123" fmla="*/ 478177 w 4519987"/>
                    <a:gd name="connsiteY123" fmla="*/ 857250 h 4496940"/>
                    <a:gd name="connsiteX124" fmla="*/ 497227 w 4519987"/>
                    <a:gd name="connsiteY124" fmla="*/ 828675 h 4496940"/>
                    <a:gd name="connsiteX125" fmla="*/ 535327 w 4519987"/>
                    <a:gd name="connsiteY125" fmla="*/ 800100 h 4496940"/>
                    <a:gd name="connsiteX126" fmla="*/ 602002 w 4519987"/>
                    <a:gd name="connsiteY126" fmla="*/ 733425 h 4496940"/>
                    <a:gd name="connsiteX127" fmla="*/ 668677 w 4519987"/>
                    <a:gd name="connsiteY127" fmla="*/ 676275 h 4496940"/>
                    <a:gd name="connsiteX128" fmla="*/ 697252 w 4519987"/>
                    <a:gd name="connsiteY128" fmla="*/ 657225 h 4496940"/>
                    <a:gd name="connsiteX129" fmla="*/ 840127 w 4519987"/>
                    <a:gd name="connsiteY129" fmla="*/ 533400 h 4496940"/>
                    <a:gd name="connsiteX130" fmla="*/ 887752 w 4519987"/>
                    <a:gd name="connsiteY130" fmla="*/ 504825 h 4496940"/>
                    <a:gd name="connsiteX131" fmla="*/ 1167152 w 4519987"/>
                    <a:gd name="connsiteY131" fmla="*/ 311150 h 4496940"/>
                    <a:gd name="connsiteX132" fmla="*/ 1268752 w 4519987"/>
                    <a:gd name="connsiteY132" fmla="*/ 285750 h 4496940"/>
                    <a:gd name="connsiteX133" fmla="*/ 1411627 w 4519987"/>
                    <a:gd name="connsiteY133" fmla="*/ 190500 h 4496940"/>
                    <a:gd name="connsiteX134" fmla="*/ 1449727 w 4519987"/>
                    <a:gd name="connsiteY134" fmla="*/ 161925 h 4496940"/>
                    <a:gd name="connsiteX135" fmla="*/ 1525927 w 4519987"/>
                    <a:gd name="connsiteY135" fmla="*/ 152400 h 4496940"/>
                    <a:gd name="connsiteX136" fmla="*/ 1583077 w 4519987"/>
                    <a:gd name="connsiteY136" fmla="*/ 142875 h 4496940"/>
                    <a:gd name="connsiteX137" fmla="*/ 1716427 w 4519987"/>
                    <a:gd name="connsiteY137" fmla="*/ 123825 h 4496940"/>
                    <a:gd name="connsiteX138" fmla="*/ 1811677 w 4519987"/>
                    <a:gd name="connsiteY138" fmla="*/ 114300 h 4496940"/>
                    <a:gd name="connsiteX139" fmla="*/ 1859302 w 4519987"/>
                    <a:gd name="connsiteY139" fmla="*/ 104775 h 4496940"/>
                    <a:gd name="connsiteX140" fmla="*/ 1916452 w 4519987"/>
                    <a:gd name="connsiteY140" fmla="*/ 95250 h 4496940"/>
                    <a:gd name="connsiteX141" fmla="*/ 2030752 w 4519987"/>
                    <a:gd name="connsiteY141" fmla="*/ 66675 h 4496940"/>
                    <a:gd name="connsiteX142" fmla="*/ 2097427 w 4519987"/>
                    <a:gd name="connsiteY142" fmla="*/ 47625 h 4496940"/>
                    <a:gd name="connsiteX143" fmla="*/ 2164102 w 4519987"/>
                    <a:gd name="connsiteY143" fmla="*/ 38100 h 4496940"/>
                    <a:gd name="connsiteX144" fmla="*/ 2392702 w 4519987"/>
                    <a:gd name="connsiteY14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73902 w 4519987"/>
                    <a:gd name="connsiteY26" fmla="*/ 1428750 h 4496940"/>
                    <a:gd name="connsiteX27" fmla="*/ 4392952 w 4519987"/>
                    <a:gd name="connsiteY27" fmla="*/ 1552575 h 4496940"/>
                    <a:gd name="connsiteX28" fmla="*/ 4402477 w 4519987"/>
                    <a:gd name="connsiteY28" fmla="*/ 1590675 h 4496940"/>
                    <a:gd name="connsiteX29" fmla="*/ 4431052 w 4519987"/>
                    <a:gd name="connsiteY29" fmla="*/ 1685925 h 4496940"/>
                    <a:gd name="connsiteX30" fmla="*/ 4519952 w 4519987"/>
                    <a:gd name="connsiteY30" fmla="*/ 2181225 h 4496940"/>
                    <a:gd name="connsiteX31" fmla="*/ 4446927 w 4519987"/>
                    <a:gd name="connsiteY31" fmla="*/ 2768600 h 4496940"/>
                    <a:gd name="connsiteX32" fmla="*/ 4383427 w 4519987"/>
                    <a:gd name="connsiteY32" fmla="*/ 2990850 h 4496940"/>
                    <a:gd name="connsiteX33" fmla="*/ 4278652 w 4519987"/>
                    <a:gd name="connsiteY33" fmla="*/ 3248025 h 4496940"/>
                    <a:gd name="connsiteX34" fmla="*/ 4259602 w 4519987"/>
                    <a:gd name="connsiteY34" fmla="*/ 3276600 h 4496940"/>
                    <a:gd name="connsiteX35" fmla="*/ 4221502 w 4519987"/>
                    <a:gd name="connsiteY35" fmla="*/ 3333750 h 4496940"/>
                    <a:gd name="connsiteX36" fmla="*/ 4211977 w 4519987"/>
                    <a:gd name="connsiteY36" fmla="*/ 3362325 h 4496940"/>
                    <a:gd name="connsiteX37" fmla="*/ 4183402 w 4519987"/>
                    <a:gd name="connsiteY37" fmla="*/ 3400425 h 4496940"/>
                    <a:gd name="connsiteX38" fmla="*/ 4164352 w 4519987"/>
                    <a:gd name="connsiteY38" fmla="*/ 3429000 h 4496940"/>
                    <a:gd name="connsiteX39" fmla="*/ 4088152 w 4519987"/>
                    <a:gd name="connsiteY39" fmla="*/ 3495675 h 4496940"/>
                    <a:gd name="connsiteX40" fmla="*/ 4059577 w 4519987"/>
                    <a:gd name="connsiteY40" fmla="*/ 3533775 h 4496940"/>
                    <a:gd name="connsiteX41" fmla="*/ 4002427 w 4519987"/>
                    <a:gd name="connsiteY41" fmla="*/ 3600450 h 4496940"/>
                    <a:gd name="connsiteX42" fmla="*/ 3983377 w 4519987"/>
                    <a:gd name="connsiteY42" fmla="*/ 3629025 h 4496940"/>
                    <a:gd name="connsiteX43" fmla="*/ 3954802 w 4519987"/>
                    <a:gd name="connsiteY43" fmla="*/ 3648075 h 4496940"/>
                    <a:gd name="connsiteX44" fmla="*/ 3907177 w 4519987"/>
                    <a:gd name="connsiteY44" fmla="*/ 3686175 h 4496940"/>
                    <a:gd name="connsiteX45" fmla="*/ 3869077 w 4519987"/>
                    <a:gd name="connsiteY45" fmla="*/ 3724275 h 4496940"/>
                    <a:gd name="connsiteX46" fmla="*/ 3792877 w 4519987"/>
                    <a:gd name="connsiteY46" fmla="*/ 3781425 h 4496940"/>
                    <a:gd name="connsiteX47" fmla="*/ 3783352 w 4519987"/>
                    <a:gd name="connsiteY47" fmla="*/ 3810000 h 4496940"/>
                    <a:gd name="connsiteX48" fmla="*/ 3745252 w 4519987"/>
                    <a:gd name="connsiteY48" fmla="*/ 3819525 h 4496940"/>
                    <a:gd name="connsiteX49" fmla="*/ 3678577 w 4519987"/>
                    <a:gd name="connsiteY49" fmla="*/ 3848100 h 4496940"/>
                    <a:gd name="connsiteX50" fmla="*/ 3659527 w 4519987"/>
                    <a:gd name="connsiteY50" fmla="*/ 3971925 h 4496940"/>
                    <a:gd name="connsiteX51" fmla="*/ 3630952 w 4519987"/>
                    <a:gd name="connsiteY51" fmla="*/ 4010025 h 4496940"/>
                    <a:gd name="connsiteX52" fmla="*/ 3621427 w 4519987"/>
                    <a:gd name="connsiteY52" fmla="*/ 4038600 h 4496940"/>
                    <a:gd name="connsiteX53" fmla="*/ 3554752 w 4519987"/>
                    <a:gd name="connsiteY53" fmla="*/ 4095750 h 4496940"/>
                    <a:gd name="connsiteX54" fmla="*/ 3516652 w 4519987"/>
                    <a:gd name="connsiteY54" fmla="*/ 4114800 h 4496940"/>
                    <a:gd name="connsiteX55" fmla="*/ 3497602 w 4519987"/>
                    <a:gd name="connsiteY55" fmla="*/ 4143375 h 4496940"/>
                    <a:gd name="connsiteX56" fmla="*/ 3383302 w 4519987"/>
                    <a:gd name="connsiteY56" fmla="*/ 4210050 h 4496940"/>
                    <a:gd name="connsiteX57" fmla="*/ 3335677 w 4519987"/>
                    <a:gd name="connsiteY57" fmla="*/ 4238625 h 4496940"/>
                    <a:gd name="connsiteX58" fmla="*/ 3288052 w 4519987"/>
                    <a:gd name="connsiteY58" fmla="*/ 4248150 h 4496940"/>
                    <a:gd name="connsiteX59" fmla="*/ 3240427 w 4519987"/>
                    <a:gd name="connsiteY59" fmla="*/ 4267200 h 4496940"/>
                    <a:gd name="connsiteX60" fmla="*/ 3068977 w 4519987"/>
                    <a:gd name="connsiteY60" fmla="*/ 4286250 h 4496940"/>
                    <a:gd name="connsiteX61" fmla="*/ 2935627 w 4519987"/>
                    <a:gd name="connsiteY61" fmla="*/ 4333875 h 4496940"/>
                    <a:gd name="connsiteX62" fmla="*/ 2811802 w 4519987"/>
                    <a:gd name="connsiteY62" fmla="*/ 4371975 h 4496940"/>
                    <a:gd name="connsiteX63" fmla="*/ 2745127 w 4519987"/>
                    <a:gd name="connsiteY63" fmla="*/ 4410075 h 4496940"/>
                    <a:gd name="connsiteX64" fmla="*/ 2697502 w 4519987"/>
                    <a:gd name="connsiteY64" fmla="*/ 4429125 h 4496940"/>
                    <a:gd name="connsiteX65" fmla="*/ 2640352 w 4519987"/>
                    <a:gd name="connsiteY65" fmla="*/ 4457700 h 4496940"/>
                    <a:gd name="connsiteX66" fmla="*/ 2583202 w 4519987"/>
                    <a:gd name="connsiteY66" fmla="*/ 4467225 h 4496940"/>
                    <a:gd name="connsiteX67" fmla="*/ 2545102 w 4519987"/>
                    <a:gd name="connsiteY67" fmla="*/ 4486275 h 4496940"/>
                    <a:gd name="connsiteX68" fmla="*/ 2306977 w 4519987"/>
                    <a:gd name="connsiteY68" fmla="*/ 4476750 h 4496940"/>
                    <a:gd name="connsiteX69" fmla="*/ 2202202 w 4519987"/>
                    <a:gd name="connsiteY69" fmla="*/ 4457700 h 4496940"/>
                    <a:gd name="connsiteX70" fmla="*/ 2126002 w 4519987"/>
                    <a:gd name="connsiteY70" fmla="*/ 4429125 h 4496940"/>
                    <a:gd name="connsiteX71" fmla="*/ 1935502 w 4519987"/>
                    <a:gd name="connsiteY71" fmla="*/ 4400550 h 4496940"/>
                    <a:gd name="connsiteX72" fmla="*/ 1821202 w 4519987"/>
                    <a:gd name="connsiteY72" fmla="*/ 4371975 h 4496940"/>
                    <a:gd name="connsiteX73" fmla="*/ 1754527 w 4519987"/>
                    <a:gd name="connsiteY73" fmla="*/ 4352925 h 4496940"/>
                    <a:gd name="connsiteX74" fmla="*/ 1687852 w 4519987"/>
                    <a:gd name="connsiteY74" fmla="*/ 4343400 h 4496940"/>
                    <a:gd name="connsiteX75" fmla="*/ 1573552 w 4519987"/>
                    <a:gd name="connsiteY75" fmla="*/ 4305300 h 4496940"/>
                    <a:gd name="connsiteX76" fmla="*/ 1402102 w 4519987"/>
                    <a:gd name="connsiteY76" fmla="*/ 4276725 h 4496940"/>
                    <a:gd name="connsiteX77" fmla="*/ 1287802 w 4519987"/>
                    <a:gd name="connsiteY77" fmla="*/ 4229100 h 4496940"/>
                    <a:gd name="connsiteX78" fmla="*/ 1221127 w 4519987"/>
                    <a:gd name="connsiteY78" fmla="*/ 4200525 h 4496940"/>
                    <a:gd name="connsiteX79" fmla="*/ 1144927 w 4519987"/>
                    <a:gd name="connsiteY79" fmla="*/ 4171950 h 4496940"/>
                    <a:gd name="connsiteX80" fmla="*/ 1087777 w 4519987"/>
                    <a:gd name="connsiteY80" fmla="*/ 4143375 h 4496940"/>
                    <a:gd name="connsiteX81" fmla="*/ 1030627 w 4519987"/>
                    <a:gd name="connsiteY81" fmla="*/ 4124325 h 4496940"/>
                    <a:gd name="connsiteX82" fmla="*/ 925852 w 4519987"/>
                    <a:gd name="connsiteY82" fmla="*/ 4067175 h 4496940"/>
                    <a:gd name="connsiteX83" fmla="*/ 830602 w 4519987"/>
                    <a:gd name="connsiteY83" fmla="*/ 3981450 h 4496940"/>
                    <a:gd name="connsiteX84" fmla="*/ 763927 w 4519987"/>
                    <a:gd name="connsiteY84" fmla="*/ 3914775 h 4496940"/>
                    <a:gd name="connsiteX85" fmla="*/ 725827 w 4519987"/>
                    <a:gd name="connsiteY85" fmla="*/ 3876675 h 4496940"/>
                    <a:gd name="connsiteX86" fmla="*/ 697252 w 4519987"/>
                    <a:gd name="connsiteY86" fmla="*/ 3838575 h 4496940"/>
                    <a:gd name="connsiteX87" fmla="*/ 640102 w 4519987"/>
                    <a:gd name="connsiteY87" fmla="*/ 3781425 h 4496940"/>
                    <a:gd name="connsiteX88" fmla="*/ 611527 w 4519987"/>
                    <a:gd name="connsiteY88" fmla="*/ 3733800 h 4496940"/>
                    <a:gd name="connsiteX89" fmla="*/ 554377 w 4519987"/>
                    <a:gd name="connsiteY89" fmla="*/ 3657600 h 4496940"/>
                    <a:gd name="connsiteX90" fmla="*/ 525802 w 4519987"/>
                    <a:gd name="connsiteY90" fmla="*/ 3609975 h 4496940"/>
                    <a:gd name="connsiteX91" fmla="*/ 497227 w 4519987"/>
                    <a:gd name="connsiteY91" fmla="*/ 3552825 h 4496940"/>
                    <a:gd name="connsiteX92" fmla="*/ 440077 w 4519987"/>
                    <a:gd name="connsiteY92" fmla="*/ 3495675 h 4496940"/>
                    <a:gd name="connsiteX93" fmla="*/ 411502 w 4519987"/>
                    <a:gd name="connsiteY93" fmla="*/ 3448050 h 4496940"/>
                    <a:gd name="connsiteX94" fmla="*/ 278152 w 4519987"/>
                    <a:gd name="connsiteY94" fmla="*/ 3257550 h 4496940"/>
                    <a:gd name="connsiteX95" fmla="*/ 249577 w 4519987"/>
                    <a:gd name="connsiteY95" fmla="*/ 3200400 h 4496940"/>
                    <a:gd name="connsiteX96" fmla="*/ 240052 w 4519987"/>
                    <a:gd name="connsiteY96" fmla="*/ 3162300 h 4496940"/>
                    <a:gd name="connsiteX97" fmla="*/ 221002 w 4519987"/>
                    <a:gd name="connsiteY97" fmla="*/ 3105150 h 4496940"/>
                    <a:gd name="connsiteX98" fmla="*/ 173377 w 4519987"/>
                    <a:gd name="connsiteY98" fmla="*/ 3019425 h 4496940"/>
                    <a:gd name="connsiteX99" fmla="*/ 144802 w 4519987"/>
                    <a:gd name="connsiteY99" fmla="*/ 2924175 h 4496940"/>
                    <a:gd name="connsiteX100" fmla="*/ 68602 w 4519987"/>
                    <a:gd name="connsiteY100" fmla="*/ 2724150 h 4496940"/>
                    <a:gd name="connsiteX101" fmla="*/ 49552 w 4519987"/>
                    <a:gd name="connsiteY101" fmla="*/ 2638425 h 4496940"/>
                    <a:gd name="connsiteX102" fmla="*/ 40027 w 4519987"/>
                    <a:gd name="connsiteY102" fmla="*/ 2562225 h 4496940"/>
                    <a:gd name="connsiteX103" fmla="*/ 30502 w 4519987"/>
                    <a:gd name="connsiteY103" fmla="*/ 2514600 h 4496940"/>
                    <a:gd name="connsiteX104" fmla="*/ 11452 w 4519987"/>
                    <a:gd name="connsiteY104" fmla="*/ 2400300 h 4496940"/>
                    <a:gd name="connsiteX105" fmla="*/ 20977 w 4519987"/>
                    <a:gd name="connsiteY105" fmla="*/ 1905000 h 4496940"/>
                    <a:gd name="connsiteX106" fmla="*/ 30502 w 4519987"/>
                    <a:gd name="connsiteY106" fmla="*/ 1838325 h 4496940"/>
                    <a:gd name="connsiteX107" fmla="*/ 49552 w 4519987"/>
                    <a:gd name="connsiteY107" fmla="*/ 1781175 h 4496940"/>
                    <a:gd name="connsiteX108" fmla="*/ 59077 w 4519987"/>
                    <a:gd name="connsiteY108" fmla="*/ 1743075 h 4496940"/>
                    <a:gd name="connsiteX109" fmla="*/ 78127 w 4519987"/>
                    <a:gd name="connsiteY109" fmla="*/ 1685925 h 4496940"/>
                    <a:gd name="connsiteX110" fmla="*/ 87652 w 4519987"/>
                    <a:gd name="connsiteY110" fmla="*/ 1638300 h 4496940"/>
                    <a:gd name="connsiteX111" fmla="*/ 106702 w 4519987"/>
                    <a:gd name="connsiteY111" fmla="*/ 1590675 h 4496940"/>
                    <a:gd name="connsiteX112" fmla="*/ 135277 w 4519987"/>
                    <a:gd name="connsiteY112" fmla="*/ 1504950 h 4496940"/>
                    <a:gd name="connsiteX113" fmla="*/ 154327 w 4519987"/>
                    <a:gd name="connsiteY113" fmla="*/ 1419225 h 4496940"/>
                    <a:gd name="connsiteX114" fmla="*/ 230527 w 4519987"/>
                    <a:gd name="connsiteY114" fmla="*/ 1276350 h 4496940"/>
                    <a:gd name="connsiteX115" fmla="*/ 240052 w 4519987"/>
                    <a:gd name="connsiteY115" fmla="*/ 1247775 h 4496940"/>
                    <a:gd name="connsiteX116" fmla="*/ 268627 w 4519987"/>
                    <a:gd name="connsiteY116" fmla="*/ 1200150 h 4496940"/>
                    <a:gd name="connsiteX117" fmla="*/ 287677 w 4519987"/>
                    <a:gd name="connsiteY117" fmla="*/ 1152525 h 4496940"/>
                    <a:gd name="connsiteX118" fmla="*/ 316252 w 4519987"/>
                    <a:gd name="connsiteY118" fmla="*/ 1114425 h 4496940"/>
                    <a:gd name="connsiteX119" fmla="*/ 363877 w 4519987"/>
                    <a:gd name="connsiteY119" fmla="*/ 1038225 h 4496940"/>
                    <a:gd name="connsiteX120" fmla="*/ 382927 w 4519987"/>
                    <a:gd name="connsiteY120" fmla="*/ 1009650 h 4496940"/>
                    <a:gd name="connsiteX121" fmla="*/ 440077 w 4519987"/>
                    <a:gd name="connsiteY121" fmla="*/ 904875 h 4496940"/>
                    <a:gd name="connsiteX122" fmla="*/ 478177 w 4519987"/>
                    <a:gd name="connsiteY122" fmla="*/ 857250 h 4496940"/>
                    <a:gd name="connsiteX123" fmla="*/ 497227 w 4519987"/>
                    <a:gd name="connsiteY123" fmla="*/ 828675 h 4496940"/>
                    <a:gd name="connsiteX124" fmla="*/ 535327 w 4519987"/>
                    <a:gd name="connsiteY124" fmla="*/ 800100 h 4496940"/>
                    <a:gd name="connsiteX125" fmla="*/ 602002 w 4519987"/>
                    <a:gd name="connsiteY125" fmla="*/ 733425 h 4496940"/>
                    <a:gd name="connsiteX126" fmla="*/ 668677 w 4519987"/>
                    <a:gd name="connsiteY126" fmla="*/ 676275 h 4496940"/>
                    <a:gd name="connsiteX127" fmla="*/ 697252 w 4519987"/>
                    <a:gd name="connsiteY127" fmla="*/ 657225 h 4496940"/>
                    <a:gd name="connsiteX128" fmla="*/ 840127 w 4519987"/>
                    <a:gd name="connsiteY128" fmla="*/ 533400 h 4496940"/>
                    <a:gd name="connsiteX129" fmla="*/ 887752 w 4519987"/>
                    <a:gd name="connsiteY129" fmla="*/ 504825 h 4496940"/>
                    <a:gd name="connsiteX130" fmla="*/ 1167152 w 4519987"/>
                    <a:gd name="connsiteY130" fmla="*/ 311150 h 4496940"/>
                    <a:gd name="connsiteX131" fmla="*/ 1268752 w 4519987"/>
                    <a:gd name="connsiteY131" fmla="*/ 285750 h 4496940"/>
                    <a:gd name="connsiteX132" fmla="*/ 1411627 w 4519987"/>
                    <a:gd name="connsiteY132" fmla="*/ 190500 h 4496940"/>
                    <a:gd name="connsiteX133" fmla="*/ 1449727 w 4519987"/>
                    <a:gd name="connsiteY133" fmla="*/ 161925 h 4496940"/>
                    <a:gd name="connsiteX134" fmla="*/ 1525927 w 4519987"/>
                    <a:gd name="connsiteY134" fmla="*/ 152400 h 4496940"/>
                    <a:gd name="connsiteX135" fmla="*/ 1583077 w 4519987"/>
                    <a:gd name="connsiteY135" fmla="*/ 142875 h 4496940"/>
                    <a:gd name="connsiteX136" fmla="*/ 1716427 w 4519987"/>
                    <a:gd name="connsiteY136" fmla="*/ 123825 h 4496940"/>
                    <a:gd name="connsiteX137" fmla="*/ 1811677 w 4519987"/>
                    <a:gd name="connsiteY137" fmla="*/ 114300 h 4496940"/>
                    <a:gd name="connsiteX138" fmla="*/ 1859302 w 4519987"/>
                    <a:gd name="connsiteY138" fmla="*/ 104775 h 4496940"/>
                    <a:gd name="connsiteX139" fmla="*/ 1916452 w 4519987"/>
                    <a:gd name="connsiteY139" fmla="*/ 95250 h 4496940"/>
                    <a:gd name="connsiteX140" fmla="*/ 2030752 w 4519987"/>
                    <a:gd name="connsiteY140" fmla="*/ 66675 h 4496940"/>
                    <a:gd name="connsiteX141" fmla="*/ 2097427 w 4519987"/>
                    <a:gd name="connsiteY141" fmla="*/ 47625 h 4496940"/>
                    <a:gd name="connsiteX142" fmla="*/ 2164102 w 4519987"/>
                    <a:gd name="connsiteY142" fmla="*/ 38100 h 4496940"/>
                    <a:gd name="connsiteX143" fmla="*/ 2392702 w 4519987"/>
                    <a:gd name="connsiteY14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02477 w 4519987"/>
                    <a:gd name="connsiteY27" fmla="*/ 1590675 h 4496940"/>
                    <a:gd name="connsiteX28" fmla="*/ 4431052 w 4519987"/>
                    <a:gd name="connsiteY28" fmla="*/ 1685925 h 4496940"/>
                    <a:gd name="connsiteX29" fmla="*/ 4519952 w 4519987"/>
                    <a:gd name="connsiteY29" fmla="*/ 2181225 h 4496940"/>
                    <a:gd name="connsiteX30" fmla="*/ 4446927 w 4519987"/>
                    <a:gd name="connsiteY30" fmla="*/ 2768600 h 4496940"/>
                    <a:gd name="connsiteX31" fmla="*/ 4383427 w 4519987"/>
                    <a:gd name="connsiteY31" fmla="*/ 2990850 h 4496940"/>
                    <a:gd name="connsiteX32" fmla="*/ 4278652 w 4519987"/>
                    <a:gd name="connsiteY32" fmla="*/ 3248025 h 4496940"/>
                    <a:gd name="connsiteX33" fmla="*/ 4259602 w 4519987"/>
                    <a:gd name="connsiteY33" fmla="*/ 3276600 h 4496940"/>
                    <a:gd name="connsiteX34" fmla="*/ 4221502 w 4519987"/>
                    <a:gd name="connsiteY34" fmla="*/ 3333750 h 4496940"/>
                    <a:gd name="connsiteX35" fmla="*/ 4211977 w 4519987"/>
                    <a:gd name="connsiteY35" fmla="*/ 3362325 h 4496940"/>
                    <a:gd name="connsiteX36" fmla="*/ 4183402 w 4519987"/>
                    <a:gd name="connsiteY36" fmla="*/ 3400425 h 4496940"/>
                    <a:gd name="connsiteX37" fmla="*/ 4164352 w 4519987"/>
                    <a:gd name="connsiteY37" fmla="*/ 3429000 h 4496940"/>
                    <a:gd name="connsiteX38" fmla="*/ 4088152 w 4519987"/>
                    <a:gd name="connsiteY38" fmla="*/ 3495675 h 4496940"/>
                    <a:gd name="connsiteX39" fmla="*/ 4059577 w 4519987"/>
                    <a:gd name="connsiteY39" fmla="*/ 3533775 h 4496940"/>
                    <a:gd name="connsiteX40" fmla="*/ 4002427 w 4519987"/>
                    <a:gd name="connsiteY40" fmla="*/ 3600450 h 4496940"/>
                    <a:gd name="connsiteX41" fmla="*/ 3983377 w 4519987"/>
                    <a:gd name="connsiteY41" fmla="*/ 3629025 h 4496940"/>
                    <a:gd name="connsiteX42" fmla="*/ 3954802 w 4519987"/>
                    <a:gd name="connsiteY42" fmla="*/ 3648075 h 4496940"/>
                    <a:gd name="connsiteX43" fmla="*/ 3907177 w 4519987"/>
                    <a:gd name="connsiteY43" fmla="*/ 3686175 h 4496940"/>
                    <a:gd name="connsiteX44" fmla="*/ 3869077 w 4519987"/>
                    <a:gd name="connsiteY44" fmla="*/ 3724275 h 4496940"/>
                    <a:gd name="connsiteX45" fmla="*/ 3792877 w 4519987"/>
                    <a:gd name="connsiteY45" fmla="*/ 3781425 h 4496940"/>
                    <a:gd name="connsiteX46" fmla="*/ 3783352 w 4519987"/>
                    <a:gd name="connsiteY46" fmla="*/ 3810000 h 4496940"/>
                    <a:gd name="connsiteX47" fmla="*/ 3745252 w 4519987"/>
                    <a:gd name="connsiteY47" fmla="*/ 3819525 h 4496940"/>
                    <a:gd name="connsiteX48" fmla="*/ 3678577 w 4519987"/>
                    <a:gd name="connsiteY48" fmla="*/ 3848100 h 4496940"/>
                    <a:gd name="connsiteX49" fmla="*/ 3659527 w 4519987"/>
                    <a:gd name="connsiteY49" fmla="*/ 3971925 h 4496940"/>
                    <a:gd name="connsiteX50" fmla="*/ 3630952 w 4519987"/>
                    <a:gd name="connsiteY50" fmla="*/ 4010025 h 4496940"/>
                    <a:gd name="connsiteX51" fmla="*/ 3621427 w 4519987"/>
                    <a:gd name="connsiteY51" fmla="*/ 4038600 h 4496940"/>
                    <a:gd name="connsiteX52" fmla="*/ 3554752 w 4519987"/>
                    <a:gd name="connsiteY52" fmla="*/ 4095750 h 4496940"/>
                    <a:gd name="connsiteX53" fmla="*/ 3516652 w 4519987"/>
                    <a:gd name="connsiteY53" fmla="*/ 4114800 h 4496940"/>
                    <a:gd name="connsiteX54" fmla="*/ 3497602 w 4519987"/>
                    <a:gd name="connsiteY54" fmla="*/ 4143375 h 4496940"/>
                    <a:gd name="connsiteX55" fmla="*/ 3383302 w 4519987"/>
                    <a:gd name="connsiteY55" fmla="*/ 4210050 h 4496940"/>
                    <a:gd name="connsiteX56" fmla="*/ 3335677 w 4519987"/>
                    <a:gd name="connsiteY56" fmla="*/ 4238625 h 4496940"/>
                    <a:gd name="connsiteX57" fmla="*/ 3288052 w 4519987"/>
                    <a:gd name="connsiteY57" fmla="*/ 4248150 h 4496940"/>
                    <a:gd name="connsiteX58" fmla="*/ 3240427 w 4519987"/>
                    <a:gd name="connsiteY58" fmla="*/ 4267200 h 4496940"/>
                    <a:gd name="connsiteX59" fmla="*/ 3068977 w 4519987"/>
                    <a:gd name="connsiteY59" fmla="*/ 4286250 h 4496940"/>
                    <a:gd name="connsiteX60" fmla="*/ 2935627 w 4519987"/>
                    <a:gd name="connsiteY60" fmla="*/ 4333875 h 4496940"/>
                    <a:gd name="connsiteX61" fmla="*/ 2811802 w 4519987"/>
                    <a:gd name="connsiteY61" fmla="*/ 4371975 h 4496940"/>
                    <a:gd name="connsiteX62" fmla="*/ 2745127 w 4519987"/>
                    <a:gd name="connsiteY62" fmla="*/ 4410075 h 4496940"/>
                    <a:gd name="connsiteX63" fmla="*/ 2697502 w 4519987"/>
                    <a:gd name="connsiteY63" fmla="*/ 4429125 h 4496940"/>
                    <a:gd name="connsiteX64" fmla="*/ 2640352 w 4519987"/>
                    <a:gd name="connsiteY64" fmla="*/ 4457700 h 4496940"/>
                    <a:gd name="connsiteX65" fmla="*/ 2583202 w 4519987"/>
                    <a:gd name="connsiteY65" fmla="*/ 4467225 h 4496940"/>
                    <a:gd name="connsiteX66" fmla="*/ 2545102 w 4519987"/>
                    <a:gd name="connsiteY66" fmla="*/ 4486275 h 4496940"/>
                    <a:gd name="connsiteX67" fmla="*/ 2306977 w 4519987"/>
                    <a:gd name="connsiteY67" fmla="*/ 4476750 h 4496940"/>
                    <a:gd name="connsiteX68" fmla="*/ 2202202 w 4519987"/>
                    <a:gd name="connsiteY68" fmla="*/ 4457700 h 4496940"/>
                    <a:gd name="connsiteX69" fmla="*/ 2126002 w 4519987"/>
                    <a:gd name="connsiteY69" fmla="*/ 4429125 h 4496940"/>
                    <a:gd name="connsiteX70" fmla="*/ 1935502 w 4519987"/>
                    <a:gd name="connsiteY70" fmla="*/ 4400550 h 4496940"/>
                    <a:gd name="connsiteX71" fmla="*/ 1821202 w 4519987"/>
                    <a:gd name="connsiteY71" fmla="*/ 4371975 h 4496940"/>
                    <a:gd name="connsiteX72" fmla="*/ 1754527 w 4519987"/>
                    <a:gd name="connsiteY72" fmla="*/ 4352925 h 4496940"/>
                    <a:gd name="connsiteX73" fmla="*/ 1687852 w 4519987"/>
                    <a:gd name="connsiteY73" fmla="*/ 4343400 h 4496940"/>
                    <a:gd name="connsiteX74" fmla="*/ 1573552 w 4519987"/>
                    <a:gd name="connsiteY74" fmla="*/ 4305300 h 4496940"/>
                    <a:gd name="connsiteX75" fmla="*/ 1402102 w 4519987"/>
                    <a:gd name="connsiteY75" fmla="*/ 4276725 h 4496940"/>
                    <a:gd name="connsiteX76" fmla="*/ 1287802 w 4519987"/>
                    <a:gd name="connsiteY76" fmla="*/ 4229100 h 4496940"/>
                    <a:gd name="connsiteX77" fmla="*/ 1221127 w 4519987"/>
                    <a:gd name="connsiteY77" fmla="*/ 4200525 h 4496940"/>
                    <a:gd name="connsiteX78" fmla="*/ 1144927 w 4519987"/>
                    <a:gd name="connsiteY78" fmla="*/ 4171950 h 4496940"/>
                    <a:gd name="connsiteX79" fmla="*/ 1087777 w 4519987"/>
                    <a:gd name="connsiteY79" fmla="*/ 4143375 h 4496940"/>
                    <a:gd name="connsiteX80" fmla="*/ 1030627 w 4519987"/>
                    <a:gd name="connsiteY80" fmla="*/ 4124325 h 4496940"/>
                    <a:gd name="connsiteX81" fmla="*/ 925852 w 4519987"/>
                    <a:gd name="connsiteY81" fmla="*/ 4067175 h 4496940"/>
                    <a:gd name="connsiteX82" fmla="*/ 830602 w 4519987"/>
                    <a:gd name="connsiteY82" fmla="*/ 3981450 h 4496940"/>
                    <a:gd name="connsiteX83" fmla="*/ 763927 w 4519987"/>
                    <a:gd name="connsiteY83" fmla="*/ 3914775 h 4496940"/>
                    <a:gd name="connsiteX84" fmla="*/ 725827 w 4519987"/>
                    <a:gd name="connsiteY84" fmla="*/ 3876675 h 4496940"/>
                    <a:gd name="connsiteX85" fmla="*/ 697252 w 4519987"/>
                    <a:gd name="connsiteY85" fmla="*/ 3838575 h 4496940"/>
                    <a:gd name="connsiteX86" fmla="*/ 640102 w 4519987"/>
                    <a:gd name="connsiteY86" fmla="*/ 3781425 h 4496940"/>
                    <a:gd name="connsiteX87" fmla="*/ 611527 w 4519987"/>
                    <a:gd name="connsiteY87" fmla="*/ 3733800 h 4496940"/>
                    <a:gd name="connsiteX88" fmla="*/ 554377 w 4519987"/>
                    <a:gd name="connsiteY88" fmla="*/ 3657600 h 4496940"/>
                    <a:gd name="connsiteX89" fmla="*/ 525802 w 4519987"/>
                    <a:gd name="connsiteY89" fmla="*/ 3609975 h 4496940"/>
                    <a:gd name="connsiteX90" fmla="*/ 497227 w 4519987"/>
                    <a:gd name="connsiteY90" fmla="*/ 3552825 h 4496940"/>
                    <a:gd name="connsiteX91" fmla="*/ 440077 w 4519987"/>
                    <a:gd name="connsiteY91" fmla="*/ 3495675 h 4496940"/>
                    <a:gd name="connsiteX92" fmla="*/ 411502 w 4519987"/>
                    <a:gd name="connsiteY92" fmla="*/ 3448050 h 4496940"/>
                    <a:gd name="connsiteX93" fmla="*/ 278152 w 4519987"/>
                    <a:gd name="connsiteY93" fmla="*/ 3257550 h 4496940"/>
                    <a:gd name="connsiteX94" fmla="*/ 249577 w 4519987"/>
                    <a:gd name="connsiteY94" fmla="*/ 3200400 h 4496940"/>
                    <a:gd name="connsiteX95" fmla="*/ 240052 w 4519987"/>
                    <a:gd name="connsiteY95" fmla="*/ 3162300 h 4496940"/>
                    <a:gd name="connsiteX96" fmla="*/ 221002 w 4519987"/>
                    <a:gd name="connsiteY96" fmla="*/ 3105150 h 4496940"/>
                    <a:gd name="connsiteX97" fmla="*/ 173377 w 4519987"/>
                    <a:gd name="connsiteY97" fmla="*/ 3019425 h 4496940"/>
                    <a:gd name="connsiteX98" fmla="*/ 144802 w 4519987"/>
                    <a:gd name="connsiteY98" fmla="*/ 2924175 h 4496940"/>
                    <a:gd name="connsiteX99" fmla="*/ 68602 w 4519987"/>
                    <a:gd name="connsiteY99" fmla="*/ 2724150 h 4496940"/>
                    <a:gd name="connsiteX100" fmla="*/ 49552 w 4519987"/>
                    <a:gd name="connsiteY100" fmla="*/ 2638425 h 4496940"/>
                    <a:gd name="connsiteX101" fmla="*/ 40027 w 4519987"/>
                    <a:gd name="connsiteY101" fmla="*/ 2562225 h 4496940"/>
                    <a:gd name="connsiteX102" fmla="*/ 30502 w 4519987"/>
                    <a:gd name="connsiteY102" fmla="*/ 2514600 h 4496940"/>
                    <a:gd name="connsiteX103" fmla="*/ 11452 w 4519987"/>
                    <a:gd name="connsiteY103" fmla="*/ 2400300 h 4496940"/>
                    <a:gd name="connsiteX104" fmla="*/ 20977 w 4519987"/>
                    <a:gd name="connsiteY104" fmla="*/ 1905000 h 4496940"/>
                    <a:gd name="connsiteX105" fmla="*/ 30502 w 4519987"/>
                    <a:gd name="connsiteY105" fmla="*/ 1838325 h 4496940"/>
                    <a:gd name="connsiteX106" fmla="*/ 49552 w 4519987"/>
                    <a:gd name="connsiteY106" fmla="*/ 1781175 h 4496940"/>
                    <a:gd name="connsiteX107" fmla="*/ 59077 w 4519987"/>
                    <a:gd name="connsiteY107" fmla="*/ 1743075 h 4496940"/>
                    <a:gd name="connsiteX108" fmla="*/ 78127 w 4519987"/>
                    <a:gd name="connsiteY108" fmla="*/ 1685925 h 4496940"/>
                    <a:gd name="connsiteX109" fmla="*/ 87652 w 4519987"/>
                    <a:gd name="connsiteY109" fmla="*/ 1638300 h 4496940"/>
                    <a:gd name="connsiteX110" fmla="*/ 106702 w 4519987"/>
                    <a:gd name="connsiteY110" fmla="*/ 1590675 h 4496940"/>
                    <a:gd name="connsiteX111" fmla="*/ 135277 w 4519987"/>
                    <a:gd name="connsiteY111" fmla="*/ 1504950 h 4496940"/>
                    <a:gd name="connsiteX112" fmla="*/ 154327 w 4519987"/>
                    <a:gd name="connsiteY112" fmla="*/ 1419225 h 4496940"/>
                    <a:gd name="connsiteX113" fmla="*/ 230527 w 4519987"/>
                    <a:gd name="connsiteY113" fmla="*/ 1276350 h 4496940"/>
                    <a:gd name="connsiteX114" fmla="*/ 240052 w 4519987"/>
                    <a:gd name="connsiteY114" fmla="*/ 1247775 h 4496940"/>
                    <a:gd name="connsiteX115" fmla="*/ 268627 w 4519987"/>
                    <a:gd name="connsiteY115" fmla="*/ 1200150 h 4496940"/>
                    <a:gd name="connsiteX116" fmla="*/ 287677 w 4519987"/>
                    <a:gd name="connsiteY116" fmla="*/ 1152525 h 4496940"/>
                    <a:gd name="connsiteX117" fmla="*/ 316252 w 4519987"/>
                    <a:gd name="connsiteY117" fmla="*/ 1114425 h 4496940"/>
                    <a:gd name="connsiteX118" fmla="*/ 363877 w 4519987"/>
                    <a:gd name="connsiteY118" fmla="*/ 1038225 h 4496940"/>
                    <a:gd name="connsiteX119" fmla="*/ 382927 w 4519987"/>
                    <a:gd name="connsiteY119" fmla="*/ 1009650 h 4496940"/>
                    <a:gd name="connsiteX120" fmla="*/ 440077 w 4519987"/>
                    <a:gd name="connsiteY120" fmla="*/ 904875 h 4496940"/>
                    <a:gd name="connsiteX121" fmla="*/ 478177 w 4519987"/>
                    <a:gd name="connsiteY121" fmla="*/ 857250 h 4496940"/>
                    <a:gd name="connsiteX122" fmla="*/ 497227 w 4519987"/>
                    <a:gd name="connsiteY122" fmla="*/ 828675 h 4496940"/>
                    <a:gd name="connsiteX123" fmla="*/ 535327 w 4519987"/>
                    <a:gd name="connsiteY123" fmla="*/ 800100 h 4496940"/>
                    <a:gd name="connsiteX124" fmla="*/ 602002 w 4519987"/>
                    <a:gd name="connsiteY124" fmla="*/ 733425 h 4496940"/>
                    <a:gd name="connsiteX125" fmla="*/ 668677 w 4519987"/>
                    <a:gd name="connsiteY125" fmla="*/ 676275 h 4496940"/>
                    <a:gd name="connsiteX126" fmla="*/ 697252 w 4519987"/>
                    <a:gd name="connsiteY126" fmla="*/ 657225 h 4496940"/>
                    <a:gd name="connsiteX127" fmla="*/ 840127 w 4519987"/>
                    <a:gd name="connsiteY127" fmla="*/ 533400 h 4496940"/>
                    <a:gd name="connsiteX128" fmla="*/ 887752 w 4519987"/>
                    <a:gd name="connsiteY128" fmla="*/ 504825 h 4496940"/>
                    <a:gd name="connsiteX129" fmla="*/ 1167152 w 4519987"/>
                    <a:gd name="connsiteY129" fmla="*/ 311150 h 4496940"/>
                    <a:gd name="connsiteX130" fmla="*/ 1268752 w 4519987"/>
                    <a:gd name="connsiteY130" fmla="*/ 285750 h 4496940"/>
                    <a:gd name="connsiteX131" fmla="*/ 1411627 w 4519987"/>
                    <a:gd name="connsiteY131" fmla="*/ 190500 h 4496940"/>
                    <a:gd name="connsiteX132" fmla="*/ 1449727 w 4519987"/>
                    <a:gd name="connsiteY132" fmla="*/ 161925 h 4496940"/>
                    <a:gd name="connsiteX133" fmla="*/ 1525927 w 4519987"/>
                    <a:gd name="connsiteY133" fmla="*/ 152400 h 4496940"/>
                    <a:gd name="connsiteX134" fmla="*/ 1583077 w 4519987"/>
                    <a:gd name="connsiteY134" fmla="*/ 142875 h 4496940"/>
                    <a:gd name="connsiteX135" fmla="*/ 1716427 w 4519987"/>
                    <a:gd name="connsiteY135" fmla="*/ 123825 h 4496940"/>
                    <a:gd name="connsiteX136" fmla="*/ 1811677 w 4519987"/>
                    <a:gd name="connsiteY136" fmla="*/ 114300 h 4496940"/>
                    <a:gd name="connsiteX137" fmla="*/ 1859302 w 4519987"/>
                    <a:gd name="connsiteY137" fmla="*/ 104775 h 4496940"/>
                    <a:gd name="connsiteX138" fmla="*/ 1916452 w 4519987"/>
                    <a:gd name="connsiteY138" fmla="*/ 95250 h 4496940"/>
                    <a:gd name="connsiteX139" fmla="*/ 2030752 w 4519987"/>
                    <a:gd name="connsiteY139" fmla="*/ 66675 h 4496940"/>
                    <a:gd name="connsiteX140" fmla="*/ 2097427 w 4519987"/>
                    <a:gd name="connsiteY140" fmla="*/ 47625 h 4496940"/>
                    <a:gd name="connsiteX141" fmla="*/ 2164102 w 4519987"/>
                    <a:gd name="connsiteY141" fmla="*/ 38100 h 4496940"/>
                    <a:gd name="connsiteX142" fmla="*/ 2392702 w 4519987"/>
                    <a:gd name="connsiteY14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164352 w 4519987"/>
                    <a:gd name="connsiteY36" fmla="*/ 3429000 h 4496940"/>
                    <a:gd name="connsiteX37" fmla="*/ 4088152 w 4519987"/>
                    <a:gd name="connsiteY37" fmla="*/ 3495675 h 4496940"/>
                    <a:gd name="connsiteX38" fmla="*/ 4059577 w 4519987"/>
                    <a:gd name="connsiteY38" fmla="*/ 3533775 h 4496940"/>
                    <a:gd name="connsiteX39" fmla="*/ 4002427 w 4519987"/>
                    <a:gd name="connsiteY39" fmla="*/ 3600450 h 4496940"/>
                    <a:gd name="connsiteX40" fmla="*/ 3983377 w 4519987"/>
                    <a:gd name="connsiteY40" fmla="*/ 3629025 h 4496940"/>
                    <a:gd name="connsiteX41" fmla="*/ 3954802 w 4519987"/>
                    <a:gd name="connsiteY41" fmla="*/ 3648075 h 4496940"/>
                    <a:gd name="connsiteX42" fmla="*/ 3907177 w 4519987"/>
                    <a:gd name="connsiteY42" fmla="*/ 3686175 h 4496940"/>
                    <a:gd name="connsiteX43" fmla="*/ 3869077 w 4519987"/>
                    <a:gd name="connsiteY43" fmla="*/ 3724275 h 4496940"/>
                    <a:gd name="connsiteX44" fmla="*/ 3792877 w 4519987"/>
                    <a:gd name="connsiteY44" fmla="*/ 3781425 h 4496940"/>
                    <a:gd name="connsiteX45" fmla="*/ 3783352 w 4519987"/>
                    <a:gd name="connsiteY45" fmla="*/ 3810000 h 4496940"/>
                    <a:gd name="connsiteX46" fmla="*/ 3745252 w 4519987"/>
                    <a:gd name="connsiteY46" fmla="*/ 3819525 h 4496940"/>
                    <a:gd name="connsiteX47" fmla="*/ 3678577 w 4519987"/>
                    <a:gd name="connsiteY47" fmla="*/ 3848100 h 4496940"/>
                    <a:gd name="connsiteX48" fmla="*/ 3659527 w 4519987"/>
                    <a:gd name="connsiteY48" fmla="*/ 3971925 h 4496940"/>
                    <a:gd name="connsiteX49" fmla="*/ 3630952 w 4519987"/>
                    <a:gd name="connsiteY49" fmla="*/ 4010025 h 4496940"/>
                    <a:gd name="connsiteX50" fmla="*/ 3621427 w 4519987"/>
                    <a:gd name="connsiteY50" fmla="*/ 4038600 h 4496940"/>
                    <a:gd name="connsiteX51" fmla="*/ 3554752 w 4519987"/>
                    <a:gd name="connsiteY51" fmla="*/ 4095750 h 4496940"/>
                    <a:gd name="connsiteX52" fmla="*/ 3516652 w 4519987"/>
                    <a:gd name="connsiteY52" fmla="*/ 4114800 h 4496940"/>
                    <a:gd name="connsiteX53" fmla="*/ 3497602 w 4519987"/>
                    <a:gd name="connsiteY53" fmla="*/ 4143375 h 4496940"/>
                    <a:gd name="connsiteX54" fmla="*/ 3383302 w 4519987"/>
                    <a:gd name="connsiteY54" fmla="*/ 4210050 h 4496940"/>
                    <a:gd name="connsiteX55" fmla="*/ 3335677 w 4519987"/>
                    <a:gd name="connsiteY55" fmla="*/ 4238625 h 4496940"/>
                    <a:gd name="connsiteX56" fmla="*/ 3288052 w 4519987"/>
                    <a:gd name="connsiteY56" fmla="*/ 4248150 h 4496940"/>
                    <a:gd name="connsiteX57" fmla="*/ 3240427 w 4519987"/>
                    <a:gd name="connsiteY57" fmla="*/ 4267200 h 4496940"/>
                    <a:gd name="connsiteX58" fmla="*/ 3068977 w 4519987"/>
                    <a:gd name="connsiteY58" fmla="*/ 4286250 h 4496940"/>
                    <a:gd name="connsiteX59" fmla="*/ 2935627 w 4519987"/>
                    <a:gd name="connsiteY59" fmla="*/ 4333875 h 4496940"/>
                    <a:gd name="connsiteX60" fmla="*/ 2811802 w 4519987"/>
                    <a:gd name="connsiteY60" fmla="*/ 4371975 h 4496940"/>
                    <a:gd name="connsiteX61" fmla="*/ 2745127 w 4519987"/>
                    <a:gd name="connsiteY61" fmla="*/ 4410075 h 4496940"/>
                    <a:gd name="connsiteX62" fmla="*/ 2697502 w 4519987"/>
                    <a:gd name="connsiteY62" fmla="*/ 4429125 h 4496940"/>
                    <a:gd name="connsiteX63" fmla="*/ 2640352 w 4519987"/>
                    <a:gd name="connsiteY63" fmla="*/ 4457700 h 4496940"/>
                    <a:gd name="connsiteX64" fmla="*/ 2583202 w 4519987"/>
                    <a:gd name="connsiteY64" fmla="*/ 4467225 h 4496940"/>
                    <a:gd name="connsiteX65" fmla="*/ 2545102 w 4519987"/>
                    <a:gd name="connsiteY65" fmla="*/ 4486275 h 4496940"/>
                    <a:gd name="connsiteX66" fmla="*/ 2306977 w 4519987"/>
                    <a:gd name="connsiteY66" fmla="*/ 4476750 h 4496940"/>
                    <a:gd name="connsiteX67" fmla="*/ 2202202 w 4519987"/>
                    <a:gd name="connsiteY67" fmla="*/ 4457700 h 4496940"/>
                    <a:gd name="connsiteX68" fmla="*/ 2126002 w 4519987"/>
                    <a:gd name="connsiteY68" fmla="*/ 4429125 h 4496940"/>
                    <a:gd name="connsiteX69" fmla="*/ 1935502 w 4519987"/>
                    <a:gd name="connsiteY69" fmla="*/ 4400550 h 4496940"/>
                    <a:gd name="connsiteX70" fmla="*/ 1821202 w 4519987"/>
                    <a:gd name="connsiteY70" fmla="*/ 4371975 h 4496940"/>
                    <a:gd name="connsiteX71" fmla="*/ 1754527 w 4519987"/>
                    <a:gd name="connsiteY71" fmla="*/ 4352925 h 4496940"/>
                    <a:gd name="connsiteX72" fmla="*/ 1687852 w 4519987"/>
                    <a:gd name="connsiteY72" fmla="*/ 4343400 h 4496940"/>
                    <a:gd name="connsiteX73" fmla="*/ 1573552 w 4519987"/>
                    <a:gd name="connsiteY73" fmla="*/ 4305300 h 4496940"/>
                    <a:gd name="connsiteX74" fmla="*/ 1402102 w 4519987"/>
                    <a:gd name="connsiteY74" fmla="*/ 4276725 h 4496940"/>
                    <a:gd name="connsiteX75" fmla="*/ 1287802 w 4519987"/>
                    <a:gd name="connsiteY75" fmla="*/ 4229100 h 4496940"/>
                    <a:gd name="connsiteX76" fmla="*/ 1221127 w 4519987"/>
                    <a:gd name="connsiteY76" fmla="*/ 4200525 h 4496940"/>
                    <a:gd name="connsiteX77" fmla="*/ 1144927 w 4519987"/>
                    <a:gd name="connsiteY77" fmla="*/ 4171950 h 4496940"/>
                    <a:gd name="connsiteX78" fmla="*/ 1087777 w 4519987"/>
                    <a:gd name="connsiteY78" fmla="*/ 4143375 h 4496940"/>
                    <a:gd name="connsiteX79" fmla="*/ 1030627 w 4519987"/>
                    <a:gd name="connsiteY79" fmla="*/ 4124325 h 4496940"/>
                    <a:gd name="connsiteX80" fmla="*/ 925852 w 4519987"/>
                    <a:gd name="connsiteY80" fmla="*/ 4067175 h 4496940"/>
                    <a:gd name="connsiteX81" fmla="*/ 830602 w 4519987"/>
                    <a:gd name="connsiteY81" fmla="*/ 3981450 h 4496940"/>
                    <a:gd name="connsiteX82" fmla="*/ 763927 w 4519987"/>
                    <a:gd name="connsiteY82" fmla="*/ 3914775 h 4496940"/>
                    <a:gd name="connsiteX83" fmla="*/ 725827 w 4519987"/>
                    <a:gd name="connsiteY83" fmla="*/ 3876675 h 4496940"/>
                    <a:gd name="connsiteX84" fmla="*/ 697252 w 4519987"/>
                    <a:gd name="connsiteY84" fmla="*/ 3838575 h 4496940"/>
                    <a:gd name="connsiteX85" fmla="*/ 640102 w 4519987"/>
                    <a:gd name="connsiteY85" fmla="*/ 3781425 h 4496940"/>
                    <a:gd name="connsiteX86" fmla="*/ 611527 w 4519987"/>
                    <a:gd name="connsiteY86" fmla="*/ 3733800 h 4496940"/>
                    <a:gd name="connsiteX87" fmla="*/ 554377 w 4519987"/>
                    <a:gd name="connsiteY87" fmla="*/ 3657600 h 4496940"/>
                    <a:gd name="connsiteX88" fmla="*/ 525802 w 4519987"/>
                    <a:gd name="connsiteY88" fmla="*/ 3609975 h 4496940"/>
                    <a:gd name="connsiteX89" fmla="*/ 497227 w 4519987"/>
                    <a:gd name="connsiteY89" fmla="*/ 3552825 h 4496940"/>
                    <a:gd name="connsiteX90" fmla="*/ 440077 w 4519987"/>
                    <a:gd name="connsiteY90" fmla="*/ 3495675 h 4496940"/>
                    <a:gd name="connsiteX91" fmla="*/ 411502 w 4519987"/>
                    <a:gd name="connsiteY91" fmla="*/ 3448050 h 4496940"/>
                    <a:gd name="connsiteX92" fmla="*/ 278152 w 4519987"/>
                    <a:gd name="connsiteY92" fmla="*/ 3257550 h 4496940"/>
                    <a:gd name="connsiteX93" fmla="*/ 249577 w 4519987"/>
                    <a:gd name="connsiteY93" fmla="*/ 3200400 h 4496940"/>
                    <a:gd name="connsiteX94" fmla="*/ 240052 w 4519987"/>
                    <a:gd name="connsiteY94" fmla="*/ 3162300 h 4496940"/>
                    <a:gd name="connsiteX95" fmla="*/ 221002 w 4519987"/>
                    <a:gd name="connsiteY95" fmla="*/ 3105150 h 4496940"/>
                    <a:gd name="connsiteX96" fmla="*/ 173377 w 4519987"/>
                    <a:gd name="connsiteY96" fmla="*/ 3019425 h 4496940"/>
                    <a:gd name="connsiteX97" fmla="*/ 144802 w 4519987"/>
                    <a:gd name="connsiteY97" fmla="*/ 2924175 h 4496940"/>
                    <a:gd name="connsiteX98" fmla="*/ 68602 w 4519987"/>
                    <a:gd name="connsiteY98" fmla="*/ 2724150 h 4496940"/>
                    <a:gd name="connsiteX99" fmla="*/ 49552 w 4519987"/>
                    <a:gd name="connsiteY99" fmla="*/ 2638425 h 4496940"/>
                    <a:gd name="connsiteX100" fmla="*/ 40027 w 4519987"/>
                    <a:gd name="connsiteY100" fmla="*/ 2562225 h 4496940"/>
                    <a:gd name="connsiteX101" fmla="*/ 30502 w 4519987"/>
                    <a:gd name="connsiteY101" fmla="*/ 2514600 h 4496940"/>
                    <a:gd name="connsiteX102" fmla="*/ 11452 w 4519987"/>
                    <a:gd name="connsiteY102" fmla="*/ 2400300 h 4496940"/>
                    <a:gd name="connsiteX103" fmla="*/ 20977 w 4519987"/>
                    <a:gd name="connsiteY103" fmla="*/ 1905000 h 4496940"/>
                    <a:gd name="connsiteX104" fmla="*/ 30502 w 4519987"/>
                    <a:gd name="connsiteY104" fmla="*/ 1838325 h 4496940"/>
                    <a:gd name="connsiteX105" fmla="*/ 49552 w 4519987"/>
                    <a:gd name="connsiteY105" fmla="*/ 1781175 h 4496940"/>
                    <a:gd name="connsiteX106" fmla="*/ 59077 w 4519987"/>
                    <a:gd name="connsiteY106" fmla="*/ 1743075 h 4496940"/>
                    <a:gd name="connsiteX107" fmla="*/ 78127 w 4519987"/>
                    <a:gd name="connsiteY107" fmla="*/ 1685925 h 4496940"/>
                    <a:gd name="connsiteX108" fmla="*/ 87652 w 4519987"/>
                    <a:gd name="connsiteY108" fmla="*/ 1638300 h 4496940"/>
                    <a:gd name="connsiteX109" fmla="*/ 106702 w 4519987"/>
                    <a:gd name="connsiteY109" fmla="*/ 1590675 h 4496940"/>
                    <a:gd name="connsiteX110" fmla="*/ 135277 w 4519987"/>
                    <a:gd name="connsiteY110" fmla="*/ 1504950 h 4496940"/>
                    <a:gd name="connsiteX111" fmla="*/ 154327 w 4519987"/>
                    <a:gd name="connsiteY111" fmla="*/ 1419225 h 4496940"/>
                    <a:gd name="connsiteX112" fmla="*/ 230527 w 4519987"/>
                    <a:gd name="connsiteY112" fmla="*/ 1276350 h 4496940"/>
                    <a:gd name="connsiteX113" fmla="*/ 240052 w 4519987"/>
                    <a:gd name="connsiteY113" fmla="*/ 1247775 h 4496940"/>
                    <a:gd name="connsiteX114" fmla="*/ 268627 w 4519987"/>
                    <a:gd name="connsiteY114" fmla="*/ 1200150 h 4496940"/>
                    <a:gd name="connsiteX115" fmla="*/ 287677 w 4519987"/>
                    <a:gd name="connsiteY115" fmla="*/ 1152525 h 4496940"/>
                    <a:gd name="connsiteX116" fmla="*/ 316252 w 4519987"/>
                    <a:gd name="connsiteY116" fmla="*/ 1114425 h 4496940"/>
                    <a:gd name="connsiteX117" fmla="*/ 363877 w 4519987"/>
                    <a:gd name="connsiteY117" fmla="*/ 1038225 h 4496940"/>
                    <a:gd name="connsiteX118" fmla="*/ 382927 w 4519987"/>
                    <a:gd name="connsiteY118" fmla="*/ 1009650 h 4496940"/>
                    <a:gd name="connsiteX119" fmla="*/ 440077 w 4519987"/>
                    <a:gd name="connsiteY119" fmla="*/ 904875 h 4496940"/>
                    <a:gd name="connsiteX120" fmla="*/ 478177 w 4519987"/>
                    <a:gd name="connsiteY120" fmla="*/ 857250 h 4496940"/>
                    <a:gd name="connsiteX121" fmla="*/ 497227 w 4519987"/>
                    <a:gd name="connsiteY121" fmla="*/ 828675 h 4496940"/>
                    <a:gd name="connsiteX122" fmla="*/ 535327 w 4519987"/>
                    <a:gd name="connsiteY122" fmla="*/ 800100 h 4496940"/>
                    <a:gd name="connsiteX123" fmla="*/ 602002 w 4519987"/>
                    <a:gd name="connsiteY123" fmla="*/ 733425 h 4496940"/>
                    <a:gd name="connsiteX124" fmla="*/ 668677 w 4519987"/>
                    <a:gd name="connsiteY124" fmla="*/ 676275 h 4496940"/>
                    <a:gd name="connsiteX125" fmla="*/ 697252 w 4519987"/>
                    <a:gd name="connsiteY125" fmla="*/ 657225 h 4496940"/>
                    <a:gd name="connsiteX126" fmla="*/ 840127 w 4519987"/>
                    <a:gd name="connsiteY126" fmla="*/ 533400 h 4496940"/>
                    <a:gd name="connsiteX127" fmla="*/ 887752 w 4519987"/>
                    <a:gd name="connsiteY127" fmla="*/ 504825 h 4496940"/>
                    <a:gd name="connsiteX128" fmla="*/ 1167152 w 4519987"/>
                    <a:gd name="connsiteY128" fmla="*/ 311150 h 4496940"/>
                    <a:gd name="connsiteX129" fmla="*/ 1268752 w 4519987"/>
                    <a:gd name="connsiteY129" fmla="*/ 285750 h 4496940"/>
                    <a:gd name="connsiteX130" fmla="*/ 1411627 w 4519987"/>
                    <a:gd name="connsiteY130" fmla="*/ 190500 h 4496940"/>
                    <a:gd name="connsiteX131" fmla="*/ 1449727 w 4519987"/>
                    <a:gd name="connsiteY131" fmla="*/ 161925 h 4496940"/>
                    <a:gd name="connsiteX132" fmla="*/ 1525927 w 4519987"/>
                    <a:gd name="connsiteY132" fmla="*/ 152400 h 4496940"/>
                    <a:gd name="connsiteX133" fmla="*/ 1583077 w 4519987"/>
                    <a:gd name="connsiteY133" fmla="*/ 142875 h 4496940"/>
                    <a:gd name="connsiteX134" fmla="*/ 1716427 w 4519987"/>
                    <a:gd name="connsiteY134" fmla="*/ 123825 h 4496940"/>
                    <a:gd name="connsiteX135" fmla="*/ 1811677 w 4519987"/>
                    <a:gd name="connsiteY135" fmla="*/ 114300 h 4496940"/>
                    <a:gd name="connsiteX136" fmla="*/ 1859302 w 4519987"/>
                    <a:gd name="connsiteY136" fmla="*/ 104775 h 4496940"/>
                    <a:gd name="connsiteX137" fmla="*/ 1916452 w 4519987"/>
                    <a:gd name="connsiteY137" fmla="*/ 95250 h 4496940"/>
                    <a:gd name="connsiteX138" fmla="*/ 2030752 w 4519987"/>
                    <a:gd name="connsiteY138" fmla="*/ 66675 h 4496940"/>
                    <a:gd name="connsiteX139" fmla="*/ 2097427 w 4519987"/>
                    <a:gd name="connsiteY139" fmla="*/ 47625 h 4496940"/>
                    <a:gd name="connsiteX140" fmla="*/ 2164102 w 4519987"/>
                    <a:gd name="connsiteY140" fmla="*/ 38100 h 4496940"/>
                    <a:gd name="connsiteX141" fmla="*/ 2392702 w 4519987"/>
                    <a:gd name="connsiteY14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088152 w 4519987"/>
                    <a:gd name="connsiteY36" fmla="*/ 3495675 h 4496940"/>
                    <a:gd name="connsiteX37" fmla="*/ 4059577 w 4519987"/>
                    <a:gd name="connsiteY37" fmla="*/ 3533775 h 4496940"/>
                    <a:gd name="connsiteX38" fmla="*/ 4002427 w 4519987"/>
                    <a:gd name="connsiteY38" fmla="*/ 3600450 h 4496940"/>
                    <a:gd name="connsiteX39" fmla="*/ 3983377 w 4519987"/>
                    <a:gd name="connsiteY39" fmla="*/ 3629025 h 4496940"/>
                    <a:gd name="connsiteX40" fmla="*/ 3954802 w 4519987"/>
                    <a:gd name="connsiteY40" fmla="*/ 3648075 h 4496940"/>
                    <a:gd name="connsiteX41" fmla="*/ 3907177 w 4519987"/>
                    <a:gd name="connsiteY41" fmla="*/ 3686175 h 4496940"/>
                    <a:gd name="connsiteX42" fmla="*/ 3869077 w 4519987"/>
                    <a:gd name="connsiteY42" fmla="*/ 3724275 h 4496940"/>
                    <a:gd name="connsiteX43" fmla="*/ 3792877 w 4519987"/>
                    <a:gd name="connsiteY43" fmla="*/ 3781425 h 4496940"/>
                    <a:gd name="connsiteX44" fmla="*/ 3783352 w 4519987"/>
                    <a:gd name="connsiteY44" fmla="*/ 3810000 h 4496940"/>
                    <a:gd name="connsiteX45" fmla="*/ 3745252 w 4519987"/>
                    <a:gd name="connsiteY45" fmla="*/ 3819525 h 4496940"/>
                    <a:gd name="connsiteX46" fmla="*/ 3678577 w 4519987"/>
                    <a:gd name="connsiteY46" fmla="*/ 3848100 h 4496940"/>
                    <a:gd name="connsiteX47" fmla="*/ 3659527 w 4519987"/>
                    <a:gd name="connsiteY47" fmla="*/ 3971925 h 4496940"/>
                    <a:gd name="connsiteX48" fmla="*/ 3630952 w 4519987"/>
                    <a:gd name="connsiteY48" fmla="*/ 4010025 h 4496940"/>
                    <a:gd name="connsiteX49" fmla="*/ 3621427 w 4519987"/>
                    <a:gd name="connsiteY49" fmla="*/ 4038600 h 4496940"/>
                    <a:gd name="connsiteX50" fmla="*/ 3554752 w 4519987"/>
                    <a:gd name="connsiteY50" fmla="*/ 4095750 h 4496940"/>
                    <a:gd name="connsiteX51" fmla="*/ 3516652 w 4519987"/>
                    <a:gd name="connsiteY51" fmla="*/ 4114800 h 4496940"/>
                    <a:gd name="connsiteX52" fmla="*/ 3497602 w 4519987"/>
                    <a:gd name="connsiteY52" fmla="*/ 4143375 h 4496940"/>
                    <a:gd name="connsiteX53" fmla="*/ 3383302 w 4519987"/>
                    <a:gd name="connsiteY53" fmla="*/ 4210050 h 4496940"/>
                    <a:gd name="connsiteX54" fmla="*/ 3335677 w 4519987"/>
                    <a:gd name="connsiteY54" fmla="*/ 4238625 h 4496940"/>
                    <a:gd name="connsiteX55" fmla="*/ 3288052 w 4519987"/>
                    <a:gd name="connsiteY55" fmla="*/ 4248150 h 4496940"/>
                    <a:gd name="connsiteX56" fmla="*/ 3240427 w 4519987"/>
                    <a:gd name="connsiteY56" fmla="*/ 4267200 h 4496940"/>
                    <a:gd name="connsiteX57" fmla="*/ 3068977 w 4519987"/>
                    <a:gd name="connsiteY57" fmla="*/ 4286250 h 4496940"/>
                    <a:gd name="connsiteX58" fmla="*/ 2935627 w 4519987"/>
                    <a:gd name="connsiteY58" fmla="*/ 4333875 h 4496940"/>
                    <a:gd name="connsiteX59" fmla="*/ 2811802 w 4519987"/>
                    <a:gd name="connsiteY59" fmla="*/ 4371975 h 4496940"/>
                    <a:gd name="connsiteX60" fmla="*/ 2745127 w 4519987"/>
                    <a:gd name="connsiteY60" fmla="*/ 4410075 h 4496940"/>
                    <a:gd name="connsiteX61" fmla="*/ 2697502 w 4519987"/>
                    <a:gd name="connsiteY61" fmla="*/ 4429125 h 4496940"/>
                    <a:gd name="connsiteX62" fmla="*/ 2640352 w 4519987"/>
                    <a:gd name="connsiteY62" fmla="*/ 4457700 h 4496940"/>
                    <a:gd name="connsiteX63" fmla="*/ 2583202 w 4519987"/>
                    <a:gd name="connsiteY63" fmla="*/ 4467225 h 4496940"/>
                    <a:gd name="connsiteX64" fmla="*/ 2545102 w 4519987"/>
                    <a:gd name="connsiteY64" fmla="*/ 4486275 h 4496940"/>
                    <a:gd name="connsiteX65" fmla="*/ 2306977 w 4519987"/>
                    <a:gd name="connsiteY65" fmla="*/ 4476750 h 4496940"/>
                    <a:gd name="connsiteX66" fmla="*/ 2202202 w 4519987"/>
                    <a:gd name="connsiteY66" fmla="*/ 4457700 h 4496940"/>
                    <a:gd name="connsiteX67" fmla="*/ 2126002 w 4519987"/>
                    <a:gd name="connsiteY67" fmla="*/ 4429125 h 4496940"/>
                    <a:gd name="connsiteX68" fmla="*/ 1935502 w 4519987"/>
                    <a:gd name="connsiteY68" fmla="*/ 4400550 h 4496940"/>
                    <a:gd name="connsiteX69" fmla="*/ 1821202 w 4519987"/>
                    <a:gd name="connsiteY69" fmla="*/ 4371975 h 4496940"/>
                    <a:gd name="connsiteX70" fmla="*/ 1754527 w 4519987"/>
                    <a:gd name="connsiteY70" fmla="*/ 4352925 h 4496940"/>
                    <a:gd name="connsiteX71" fmla="*/ 1687852 w 4519987"/>
                    <a:gd name="connsiteY71" fmla="*/ 4343400 h 4496940"/>
                    <a:gd name="connsiteX72" fmla="*/ 1573552 w 4519987"/>
                    <a:gd name="connsiteY72" fmla="*/ 4305300 h 4496940"/>
                    <a:gd name="connsiteX73" fmla="*/ 1402102 w 4519987"/>
                    <a:gd name="connsiteY73" fmla="*/ 4276725 h 4496940"/>
                    <a:gd name="connsiteX74" fmla="*/ 1287802 w 4519987"/>
                    <a:gd name="connsiteY74" fmla="*/ 4229100 h 4496940"/>
                    <a:gd name="connsiteX75" fmla="*/ 1221127 w 4519987"/>
                    <a:gd name="connsiteY75" fmla="*/ 4200525 h 4496940"/>
                    <a:gd name="connsiteX76" fmla="*/ 1144927 w 4519987"/>
                    <a:gd name="connsiteY76" fmla="*/ 4171950 h 4496940"/>
                    <a:gd name="connsiteX77" fmla="*/ 1087777 w 4519987"/>
                    <a:gd name="connsiteY77" fmla="*/ 4143375 h 4496940"/>
                    <a:gd name="connsiteX78" fmla="*/ 1030627 w 4519987"/>
                    <a:gd name="connsiteY78" fmla="*/ 4124325 h 4496940"/>
                    <a:gd name="connsiteX79" fmla="*/ 925852 w 4519987"/>
                    <a:gd name="connsiteY79" fmla="*/ 4067175 h 4496940"/>
                    <a:gd name="connsiteX80" fmla="*/ 830602 w 4519987"/>
                    <a:gd name="connsiteY80" fmla="*/ 3981450 h 4496940"/>
                    <a:gd name="connsiteX81" fmla="*/ 763927 w 4519987"/>
                    <a:gd name="connsiteY81" fmla="*/ 3914775 h 4496940"/>
                    <a:gd name="connsiteX82" fmla="*/ 725827 w 4519987"/>
                    <a:gd name="connsiteY82" fmla="*/ 3876675 h 4496940"/>
                    <a:gd name="connsiteX83" fmla="*/ 697252 w 4519987"/>
                    <a:gd name="connsiteY83" fmla="*/ 3838575 h 4496940"/>
                    <a:gd name="connsiteX84" fmla="*/ 640102 w 4519987"/>
                    <a:gd name="connsiteY84" fmla="*/ 3781425 h 4496940"/>
                    <a:gd name="connsiteX85" fmla="*/ 611527 w 4519987"/>
                    <a:gd name="connsiteY85" fmla="*/ 3733800 h 4496940"/>
                    <a:gd name="connsiteX86" fmla="*/ 554377 w 4519987"/>
                    <a:gd name="connsiteY86" fmla="*/ 3657600 h 4496940"/>
                    <a:gd name="connsiteX87" fmla="*/ 525802 w 4519987"/>
                    <a:gd name="connsiteY87" fmla="*/ 3609975 h 4496940"/>
                    <a:gd name="connsiteX88" fmla="*/ 497227 w 4519987"/>
                    <a:gd name="connsiteY88" fmla="*/ 3552825 h 4496940"/>
                    <a:gd name="connsiteX89" fmla="*/ 440077 w 4519987"/>
                    <a:gd name="connsiteY89" fmla="*/ 3495675 h 4496940"/>
                    <a:gd name="connsiteX90" fmla="*/ 411502 w 4519987"/>
                    <a:gd name="connsiteY90" fmla="*/ 3448050 h 4496940"/>
                    <a:gd name="connsiteX91" fmla="*/ 278152 w 4519987"/>
                    <a:gd name="connsiteY91" fmla="*/ 3257550 h 4496940"/>
                    <a:gd name="connsiteX92" fmla="*/ 249577 w 4519987"/>
                    <a:gd name="connsiteY92" fmla="*/ 3200400 h 4496940"/>
                    <a:gd name="connsiteX93" fmla="*/ 240052 w 4519987"/>
                    <a:gd name="connsiteY93" fmla="*/ 3162300 h 4496940"/>
                    <a:gd name="connsiteX94" fmla="*/ 221002 w 4519987"/>
                    <a:gd name="connsiteY94" fmla="*/ 3105150 h 4496940"/>
                    <a:gd name="connsiteX95" fmla="*/ 173377 w 4519987"/>
                    <a:gd name="connsiteY95" fmla="*/ 3019425 h 4496940"/>
                    <a:gd name="connsiteX96" fmla="*/ 144802 w 4519987"/>
                    <a:gd name="connsiteY96" fmla="*/ 2924175 h 4496940"/>
                    <a:gd name="connsiteX97" fmla="*/ 68602 w 4519987"/>
                    <a:gd name="connsiteY97" fmla="*/ 2724150 h 4496940"/>
                    <a:gd name="connsiteX98" fmla="*/ 49552 w 4519987"/>
                    <a:gd name="connsiteY98" fmla="*/ 2638425 h 4496940"/>
                    <a:gd name="connsiteX99" fmla="*/ 40027 w 4519987"/>
                    <a:gd name="connsiteY99" fmla="*/ 2562225 h 4496940"/>
                    <a:gd name="connsiteX100" fmla="*/ 30502 w 4519987"/>
                    <a:gd name="connsiteY100" fmla="*/ 2514600 h 4496940"/>
                    <a:gd name="connsiteX101" fmla="*/ 11452 w 4519987"/>
                    <a:gd name="connsiteY101" fmla="*/ 2400300 h 4496940"/>
                    <a:gd name="connsiteX102" fmla="*/ 20977 w 4519987"/>
                    <a:gd name="connsiteY102" fmla="*/ 1905000 h 4496940"/>
                    <a:gd name="connsiteX103" fmla="*/ 30502 w 4519987"/>
                    <a:gd name="connsiteY103" fmla="*/ 1838325 h 4496940"/>
                    <a:gd name="connsiteX104" fmla="*/ 49552 w 4519987"/>
                    <a:gd name="connsiteY104" fmla="*/ 1781175 h 4496940"/>
                    <a:gd name="connsiteX105" fmla="*/ 59077 w 4519987"/>
                    <a:gd name="connsiteY105" fmla="*/ 1743075 h 4496940"/>
                    <a:gd name="connsiteX106" fmla="*/ 78127 w 4519987"/>
                    <a:gd name="connsiteY106" fmla="*/ 1685925 h 4496940"/>
                    <a:gd name="connsiteX107" fmla="*/ 87652 w 4519987"/>
                    <a:gd name="connsiteY107" fmla="*/ 1638300 h 4496940"/>
                    <a:gd name="connsiteX108" fmla="*/ 106702 w 4519987"/>
                    <a:gd name="connsiteY108" fmla="*/ 1590675 h 4496940"/>
                    <a:gd name="connsiteX109" fmla="*/ 135277 w 4519987"/>
                    <a:gd name="connsiteY109" fmla="*/ 1504950 h 4496940"/>
                    <a:gd name="connsiteX110" fmla="*/ 154327 w 4519987"/>
                    <a:gd name="connsiteY110" fmla="*/ 1419225 h 4496940"/>
                    <a:gd name="connsiteX111" fmla="*/ 230527 w 4519987"/>
                    <a:gd name="connsiteY111" fmla="*/ 1276350 h 4496940"/>
                    <a:gd name="connsiteX112" fmla="*/ 240052 w 4519987"/>
                    <a:gd name="connsiteY112" fmla="*/ 1247775 h 4496940"/>
                    <a:gd name="connsiteX113" fmla="*/ 268627 w 4519987"/>
                    <a:gd name="connsiteY113" fmla="*/ 1200150 h 4496940"/>
                    <a:gd name="connsiteX114" fmla="*/ 287677 w 4519987"/>
                    <a:gd name="connsiteY114" fmla="*/ 1152525 h 4496940"/>
                    <a:gd name="connsiteX115" fmla="*/ 316252 w 4519987"/>
                    <a:gd name="connsiteY115" fmla="*/ 1114425 h 4496940"/>
                    <a:gd name="connsiteX116" fmla="*/ 363877 w 4519987"/>
                    <a:gd name="connsiteY116" fmla="*/ 1038225 h 4496940"/>
                    <a:gd name="connsiteX117" fmla="*/ 382927 w 4519987"/>
                    <a:gd name="connsiteY117" fmla="*/ 1009650 h 4496940"/>
                    <a:gd name="connsiteX118" fmla="*/ 440077 w 4519987"/>
                    <a:gd name="connsiteY118" fmla="*/ 904875 h 4496940"/>
                    <a:gd name="connsiteX119" fmla="*/ 478177 w 4519987"/>
                    <a:gd name="connsiteY119" fmla="*/ 857250 h 4496940"/>
                    <a:gd name="connsiteX120" fmla="*/ 497227 w 4519987"/>
                    <a:gd name="connsiteY120" fmla="*/ 828675 h 4496940"/>
                    <a:gd name="connsiteX121" fmla="*/ 535327 w 4519987"/>
                    <a:gd name="connsiteY121" fmla="*/ 800100 h 4496940"/>
                    <a:gd name="connsiteX122" fmla="*/ 602002 w 4519987"/>
                    <a:gd name="connsiteY122" fmla="*/ 733425 h 4496940"/>
                    <a:gd name="connsiteX123" fmla="*/ 668677 w 4519987"/>
                    <a:gd name="connsiteY123" fmla="*/ 676275 h 4496940"/>
                    <a:gd name="connsiteX124" fmla="*/ 697252 w 4519987"/>
                    <a:gd name="connsiteY124" fmla="*/ 657225 h 4496940"/>
                    <a:gd name="connsiteX125" fmla="*/ 840127 w 4519987"/>
                    <a:gd name="connsiteY125" fmla="*/ 533400 h 4496940"/>
                    <a:gd name="connsiteX126" fmla="*/ 887752 w 4519987"/>
                    <a:gd name="connsiteY126" fmla="*/ 504825 h 4496940"/>
                    <a:gd name="connsiteX127" fmla="*/ 1167152 w 4519987"/>
                    <a:gd name="connsiteY127" fmla="*/ 311150 h 4496940"/>
                    <a:gd name="connsiteX128" fmla="*/ 1268752 w 4519987"/>
                    <a:gd name="connsiteY128" fmla="*/ 285750 h 4496940"/>
                    <a:gd name="connsiteX129" fmla="*/ 1411627 w 4519987"/>
                    <a:gd name="connsiteY129" fmla="*/ 190500 h 4496940"/>
                    <a:gd name="connsiteX130" fmla="*/ 1449727 w 4519987"/>
                    <a:gd name="connsiteY130" fmla="*/ 161925 h 4496940"/>
                    <a:gd name="connsiteX131" fmla="*/ 1525927 w 4519987"/>
                    <a:gd name="connsiteY131" fmla="*/ 152400 h 4496940"/>
                    <a:gd name="connsiteX132" fmla="*/ 1583077 w 4519987"/>
                    <a:gd name="connsiteY132" fmla="*/ 142875 h 4496940"/>
                    <a:gd name="connsiteX133" fmla="*/ 1716427 w 4519987"/>
                    <a:gd name="connsiteY133" fmla="*/ 123825 h 4496940"/>
                    <a:gd name="connsiteX134" fmla="*/ 1811677 w 4519987"/>
                    <a:gd name="connsiteY134" fmla="*/ 114300 h 4496940"/>
                    <a:gd name="connsiteX135" fmla="*/ 1859302 w 4519987"/>
                    <a:gd name="connsiteY135" fmla="*/ 104775 h 4496940"/>
                    <a:gd name="connsiteX136" fmla="*/ 1916452 w 4519987"/>
                    <a:gd name="connsiteY136" fmla="*/ 95250 h 4496940"/>
                    <a:gd name="connsiteX137" fmla="*/ 2030752 w 4519987"/>
                    <a:gd name="connsiteY137" fmla="*/ 66675 h 4496940"/>
                    <a:gd name="connsiteX138" fmla="*/ 2097427 w 4519987"/>
                    <a:gd name="connsiteY138" fmla="*/ 47625 h 4496940"/>
                    <a:gd name="connsiteX139" fmla="*/ 2164102 w 4519987"/>
                    <a:gd name="connsiteY139" fmla="*/ 38100 h 4496940"/>
                    <a:gd name="connsiteX140" fmla="*/ 2392702 w 4519987"/>
                    <a:gd name="connsiteY14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183402 w 4519987"/>
                    <a:gd name="connsiteY34" fmla="*/ 3400425 h 4496940"/>
                    <a:gd name="connsiteX35" fmla="*/ 4088152 w 4519987"/>
                    <a:gd name="connsiteY35" fmla="*/ 3495675 h 4496940"/>
                    <a:gd name="connsiteX36" fmla="*/ 4059577 w 4519987"/>
                    <a:gd name="connsiteY36" fmla="*/ 3533775 h 4496940"/>
                    <a:gd name="connsiteX37" fmla="*/ 4002427 w 4519987"/>
                    <a:gd name="connsiteY37" fmla="*/ 3600450 h 4496940"/>
                    <a:gd name="connsiteX38" fmla="*/ 3983377 w 4519987"/>
                    <a:gd name="connsiteY38" fmla="*/ 3629025 h 4496940"/>
                    <a:gd name="connsiteX39" fmla="*/ 3954802 w 4519987"/>
                    <a:gd name="connsiteY39" fmla="*/ 3648075 h 4496940"/>
                    <a:gd name="connsiteX40" fmla="*/ 3907177 w 4519987"/>
                    <a:gd name="connsiteY40" fmla="*/ 3686175 h 4496940"/>
                    <a:gd name="connsiteX41" fmla="*/ 3869077 w 4519987"/>
                    <a:gd name="connsiteY41" fmla="*/ 3724275 h 4496940"/>
                    <a:gd name="connsiteX42" fmla="*/ 3792877 w 4519987"/>
                    <a:gd name="connsiteY42" fmla="*/ 3781425 h 4496940"/>
                    <a:gd name="connsiteX43" fmla="*/ 3783352 w 4519987"/>
                    <a:gd name="connsiteY43" fmla="*/ 3810000 h 4496940"/>
                    <a:gd name="connsiteX44" fmla="*/ 3745252 w 4519987"/>
                    <a:gd name="connsiteY44" fmla="*/ 3819525 h 4496940"/>
                    <a:gd name="connsiteX45" fmla="*/ 3678577 w 4519987"/>
                    <a:gd name="connsiteY45" fmla="*/ 3848100 h 4496940"/>
                    <a:gd name="connsiteX46" fmla="*/ 3659527 w 4519987"/>
                    <a:gd name="connsiteY46" fmla="*/ 3971925 h 4496940"/>
                    <a:gd name="connsiteX47" fmla="*/ 3630952 w 4519987"/>
                    <a:gd name="connsiteY47" fmla="*/ 4010025 h 4496940"/>
                    <a:gd name="connsiteX48" fmla="*/ 3621427 w 4519987"/>
                    <a:gd name="connsiteY48" fmla="*/ 4038600 h 4496940"/>
                    <a:gd name="connsiteX49" fmla="*/ 3554752 w 4519987"/>
                    <a:gd name="connsiteY49" fmla="*/ 4095750 h 4496940"/>
                    <a:gd name="connsiteX50" fmla="*/ 3516652 w 4519987"/>
                    <a:gd name="connsiteY50" fmla="*/ 4114800 h 4496940"/>
                    <a:gd name="connsiteX51" fmla="*/ 3497602 w 4519987"/>
                    <a:gd name="connsiteY51" fmla="*/ 4143375 h 4496940"/>
                    <a:gd name="connsiteX52" fmla="*/ 3383302 w 4519987"/>
                    <a:gd name="connsiteY52" fmla="*/ 4210050 h 4496940"/>
                    <a:gd name="connsiteX53" fmla="*/ 3335677 w 4519987"/>
                    <a:gd name="connsiteY53" fmla="*/ 4238625 h 4496940"/>
                    <a:gd name="connsiteX54" fmla="*/ 3288052 w 4519987"/>
                    <a:gd name="connsiteY54" fmla="*/ 4248150 h 4496940"/>
                    <a:gd name="connsiteX55" fmla="*/ 3240427 w 4519987"/>
                    <a:gd name="connsiteY55" fmla="*/ 4267200 h 4496940"/>
                    <a:gd name="connsiteX56" fmla="*/ 3068977 w 4519987"/>
                    <a:gd name="connsiteY56" fmla="*/ 4286250 h 4496940"/>
                    <a:gd name="connsiteX57" fmla="*/ 2935627 w 4519987"/>
                    <a:gd name="connsiteY57" fmla="*/ 4333875 h 4496940"/>
                    <a:gd name="connsiteX58" fmla="*/ 2811802 w 4519987"/>
                    <a:gd name="connsiteY58" fmla="*/ 4371975 h 4496940"/>
                    <a:gd name="connsiteX59" fmla="*/ 2745127 w 4519987"/>
                    <a:gd name="connsiteY59" fmla="*/ 4410075 h 4496940"/>
                    <a:gd name="connsiteX60" fmla="*/ 2697502 w 4519987"/>
                    <a:gd name="connsiteY60" fmla="*/ 4429125 h 4496940"/>
                    <a:gd name="connsiteX61" fmla="*/ 2640352 w 4519987"/>
                    <a:gd name="connsiteY61" fmla="*/ 4457700 h 4496940"/>
                    <a:gd name="connsiteX62" fmla="*/ 2583202 w 4519987"/>
                    <a:gd name="connsiteY62" fmla="*/ 4467225 h 4496940"/>
                    <a:gd name="connsiteX63" fmla="*/ 2545102 w 4519987"/>
                    <a:gd name="connsiteY63" fmla="*/ 4486275 h 4496940"/>
                    <a:gd name="connsiteX64" fmla="*/ 2306977 w 4519987"/>
                    <a:gd name="connsiteY64" fmla="*/ 4476750 h 4496940"/>
                    <a:gd name="connsiteX65" fmla="*/ 2202202 w 4519987"/>
                    <a:gd name="connsiteY65" fmla="*/ 4457700 h 4496940"/>
                    <a:gd name="connsiteX66" fmla="*/ 2126002 w 4519987"/>
                    <a:gd name="connsiteY66" fmla="*/ 4429125 h 4496940"/>
                    <a:gd name="connsiteX67" fmla="*/ 1935502 w 4519987"/>
                    <a:gd name="connsiteY67" fmla="*/ 4400550 h 4496940"/>
                    <a:gd name="connsiteX68" fmla="*/ 1821202 w 4519987"/>
                    <a:gd name="connsiteY68" fmla="*/ 4371975 h 4496940"/>
                    <a:gd name="connsiteX69" fmla="*/ 1754527 w 4519987"/>
                    <a:gd name="connsiteY69" fmla="*/ 4352925 h 4496940"/>
                    <a:gd name="connsiteX70" fmla="*/ 1687852 w 4519987"/>
                    <a:gd name="connsiteY70" fmla="*/ 4343400 h 4496940"/>
                    <a:gd name="connsiteX71" fmla="*/ 1573552 w 4519987"/>
                    <a:gd name="connsiteY71" fmla="*/ 4305300 h 4496940"/>
                    <a:gd name="connsiteX72" fmla="*/ 1402102 w 4519987"/>
                    <a:gd name="connsiteY72" fmla="*/ 4276725 h 4496940"/>
                    <a:gd name="connsiteX73" fmla="*/ 1287802 w 4519987"/>
                    <a:gd name="connsiteY73" fmla="*/ 4229100 h 4496940"/>
                    <a:gd name="connsiteX74" fmla="*/ 1221127 w 4519987"/>
                    <a:gd name="connsiteY74" fmla="*/ 4200525 h 4496940"/>
                    <a:gd name="connsiteX75" fmla="*/ 1144927 w 4519987"/>
                    <a:gd name="connsiteY75" fmla="*/ 4171950 h 4496940"/>
                    <a:gd name="connsiteX76" fmla="*/ 1087777 w 4519987"/>
                    <a:gd name="connsiteY76" fmla="*/ 4143375 h 4496940"/>
                    <a:gd name="connsiteX77" fmla="*/ 1030627 w 4519987"/>
                    <a:gd name="connsiteY77" fmla="*/ 4124325 h 4496940"/>
                    <a:gd name="connsiteX78" fmla="*/ 925852 w 4519987"/>
                    <a:gd name="connsiteY78" fmla="*/ 4067175 h 4496940"/>
                    <a:gd name="connsiteX79" fmla="*/ 830602 w 4519987"/>
                    <a:gd name="connsiteY79" fmla="*/ 3981450 h 4496940"/>
                    <a:gd name="connsiteX80" fmla="*/ 763927 w 4519987"/>
                    <a:gd name="connsiteY80" fmla="*/ 3914775 h 4496940"/>
                    <a:gd name="connsiteX81" fmla="*/ 725827 w 4519987"/>
                    <a:gd name="connsiteY81" fmla="*/ 3876675 h 4496940"/>
                    <a:gd name="connsiteX82" fmla="*/ 697252 w 4519987"/>
                    <a:gd name="connsiteY82" fmla="*/ 3838575 h 4496940"/>
                    <a:gd name="connsiteX83" fmla="*/ 640102 w 4519987"/>
                    <a:gd name="connsiteY83" fmla="*/ 3781425 h 4496940"/>
                    <a:gd name="connsiteX84" fmla="*/ 611527 w 4519987"/>
                    <a:gd name="connsiteY84" fmla="*/ 3733800 h 4496940"/>
                    <a:gd name="connsiteX85" fmla="*/ 554377 w 4519987"/>
                    <a:gd name="connsiteY85" fmla="*/ 3657600 h 4496940"/>
                    <a:gd name="connsiteX86" fmla="*/ 525802 w 4519987"/>
                    <a:gd name="connsiteY86" fmla="*/ 3609975 h 4496940"/>
                    <a:gd name="connsiteX87" fmla="*/ 497227 w 4519987"/>
                    <a:gd name="connsiteY87" fmla="*/ 3552825 h 4496940"/>
                    <a:gd name="connsiteX88" fmla="*/ 440077 w 4519987"/>
                    <a:gd name="connsiteY88" fmla="*/ 3495675 h 4496940"/>
                    <a:gd name="connsiteX89" fmla="*/ 411502 w 4519987"/>
                    <a:gd name="connsiteY89" fmla="*/ 3448050 h 4496940"/>
                    <a:gd name="connsiteX90" fmla="*/ 278152 w 4519987"/>
                    <a:gd name="connsiteY90" fmla="*/ 3257550 h 4496940"/>
                    <a:gd name="connsiteX91" fmla="*/ 249577 w 4519987"/>
                    <a:gd name="connsiteY91" fmla="*/ 3200400 h 4496940"/>
                    <a:gd name="connsiteX92" fmla="*/ 240052 w 4519987"/>
                    <a:gd name="connsiteY92" fmla="*/ 3162300 h 4496940"/>
                    <a:gd name="connsiteX93" fmla="*/ 221002 w 4519987"/>
                    <a:gd name="connsiteY93" fmla="*/ 3105150 h 4496940"/>
                    <a:gd name="connsiteX94" fmla="*/ 173377 w 4519987"/>
                    <a:gd name="connsiteY94" fmla="*/ 3019425 h 4496940"/>
                    <a:gd name="connsiteX95" fmla="*/ 144802 w 4519987"/>
                    <a:gd name="connsiteY95" fmla="*/ 2924175 h 4496940"/>
                    <a:gd name="connsiteX96" fmla="*/ 68602 w 4519987"/>
                    <a:gd name="connsiteY96" fmla="*/ 2724150 h 4496940"/>
                    <a:gd name="connsiteX97" fmla="*/ 49552 w 4519987"/>
                    <a:gd name="connsiteY97" fmla="*/ 2638425 h 4496940"/>
                    <a:gd name="connsiteX98" fmla="*/ 40027 w 4519987"/>
                    <a:gd name="connsiteY98" fmla="*/ 2562225 h 4496940"/>
                    <a:gd name="connsiteX99" fmla="*/ 30502 w 4519987"/>
                    <a:gd name="connsiteY99" fmla="*/ 2514600 h 4496940"/>
                    <a:gd name="connsiteX100" fmla="*/ 11452 w 4519987"/>
                    <a:gd name="connsiteY100" fmla="*/ 2400300 h 4496940"/>
                    <a:gd name="connsiteX101" fmla="*/ 20977 w 4519987"/>
                    <a:gd name="connsiteY101" fmla="*/ 1905000 h 4496940"/>
                    <a:gd name="connsiteX102" fmla="*/ 30502 w 4519987"/>
                    <a:gd name="connsiteY102" fmla="*/ 1838325 h 4496940"/>
                    <a:gd name="connsiteX103" fmla="*/ 49552 w 4519987"/>
                    <a:gd name="connsiteY103" fmla="*/ 1781175 h 4496940"/>
                    <a:gd name="connsiteX104" fmla="*/ 59077 w 4519987"/>
                    <a:gd name="connsiteY104" fmla="*/ 1743075 h 4496940"/>
                    <a:gd name="connsiteX105" fmla="*/ 78127 w 4519987"/>
                    <a:gd name="connsiteY105" fmla="*/ 1685925 h 4496940"/>
                    <a:gd name="connsiteX106" fmla="*/ 87652 w 4519987"/>
                    <a:gd name="connsiteY106" fmla="*/ 1638300 h 4496940"/>
                    <a:gd name="connsiteX107" fmla="*/ 106702 w 4519987"/>
                    <a:gd name="connsiteY107" fmla="*/ 1590675 h 4496940"/>
                    <a:gd name="connsiteX108" fmla="*/ 135277 w 4519987"/>
                    <a:gd name="connsiteY108" fmla="*/ 1504950 h 4496940"/>
                    <a:gd name="connsiteX109" fmla="*/ 154327 w 4519987"/>
                    <a:gd name="connsiteY109" fmla="*/ 1419225 h 4496940"/>
                    <a:gd name="connsiteX110" fmla="*/ 230527 w 4519987"/>
                    <a:gd name="connsiteY110" fmla="*/ 1276350 h 4496940"/>
                    <a:gd name="connsiteX111" fmla="*/ 240052 w 4519987"/>
                    <a:gd name="connsiteY111" fmla="*/ 1247775 h 4496940"/>
                    <a:gd name="connsiteX112" fmla="*/ 268627 w 4519987"/>
                    <a:gd name="connsiteY112" fmla="*/ 1200150 h 4496940"/>
                    <a:gd name="connsiteX113" fmla="*/ 287677 w 4519987"/>
                    <a:gd name="connsiteY113" fmla="*/ 1152525 h 4496940"/>
                    <a:gd name="connsiteX114" fmla="*/ 316252 w 4519987"/>
                    <a:gd name="connsiteY114" fmla="*/ 1114425 h 4496940"/>
                    <a:gd name="connsiteX115" fmla="*/ 363877 w 4519987"/>
                    <a:gd name="connsiteY115" fmla="*/ 1038225 h 4496940"/>
                    <a:gd name="connsiteX116" fmla="*/ 382927 w 4519987"/>
                    <a:gd name="connsiteY116" fmla="*/ 1009650 h 4496940"/>
                    <a:gd name="connsiteX117" fmla="*/ 440077 w 4519987"/>
                    <a:gd name="connsiteY117" fmla="*/ 904875 h 4496940"/>
                    <a:gd name="connsiteX118" fmla="*/ 478177 w 4519987"/>
                    <a:gd name="connsiteY118" fmla="*/ 857250 h 4496940"/>
                    <a:gd name="connsiteX119" fmla="*/ 497227 w 4519987"/>
                    <a:gd name="connsiteY119" fmla="*/ 828675 h 4496940"/>
                    <a:gd name="connsiteX120" fmla="*/ 535327 w 4519987"/>
                    <a:gd name="connsiteY120" fmla="*/ 800100 h 4496940"/>
                    <a:gd name="connsiteX121" fmla="*/ 602002 w 4519987"/>
                    <a:gd name="connsiteY121" fmla="*/ 733425 h 4496940"/>
                    <a:gd name="connsiteX122" fmla="*/ 668677 w 4519987"/>
                    <a:gd name="connsiteY122" fmla="*/ 676275 h 4496940"/>
                    <a:gd name="connsiteX123" fmla="*/ 697252 w 4519987"/>
                    <a:gd name="connsiteY123" fmla="*/ 657225 h 4496940"/>
                    <a:gd name="connsiteX124" fmla="*/ 840127 w 4519987"/>
                    <a:gd name="connsiteY124" fmla="*/ 533400 h 4496940"/>
                    <a:gd name="connsiteX125" fmla="*/ 887752 w 4519987"/>
                    <a:gd name="connsiteY125" fmla="*/ 504825 h 4496940"/>
                    <a:gd name="connsiteX126" fmla="*/ 1167152 w 4519987"/>
                    <a:gd name="connsiteY126" fmla="*/ 311150 h 4496940"/>
                    <a:gd name="connsiteX127" fmla="*/ 1268752 w 4519987"/>
                    <a:gd name="connsiteY127" fmla="*/ 285750 h 4496940"/>
                    <a:gd name="connsiteX128" fmla="*/ 1411627 w 4519987"/>
                    <a:gd name="connsiteY128" fmla="*/ 190500 h 4496940"/>
                    <a:gd name="connsiteX129" fmla="*/ 1449727 w 4519987"/>
                    <a:gd name="connsiteY129" fmla="*/ 161925 h 4496940"/>
                    <a:gd name="connsiteX130" fmla="*/ 1525927 w 4519987"/>
                    <a:gd name="connsiteY130" fmla="*/ 152400 h 4496940"/>
                    <a:gd name="connsiteX131" fmla="*/ 1583077 w 4519987"/>
                    <a:gd name="connsiteY131" fmla="*/ 142875 h 4496940"/>
                    <a:gd name="connsiteX132" fmla="*/ 1716427 w 4519987"/>
                    <a:gd name="connsiteY132" fmla="*/ 123825 h 4496940"/>
                    <a:gd name="connsiteX133" fmla="*/ 1811677 w 4519987"/>
                    <a:gd name="connsiteY133" fmla="*/ 114300 h 4496940"/>
                    <a:gd name="connsiteX134" fmla="*/ 1859302 w 4519987"/>
                    <a:gd name="connsiteY134" fmla="*/ 104775 h 4496940"/>
                    <a:gd name="connsiteX135" fmla="*/ 1916452 w 4519987"/>
                    <a:gd name="connsiteY135" fmla="*/ 95250 h 4496940"/>
                    <a:gd name="connsiteX136" fmla="*/ 2030752 w 4519987"/>
                    <a:gd name="connsiteY136" fmla="*/ 66675 h 4496940"/>
                    <a:gd name="connsiteX137" fmla="*/ 2097427 w 4519987"/>
                    <a:gd name="connsiteY137" fmla="*/ 47625 h 4496940"/>
                    <a:gd name="connsiteX138" fmla="*/ 2164102 w 4519987"/>
                    <a:gd name="connsiteY138" fmla="*/ 38100 h 4496940"/>
                    <a:gd name="connsiteX139" fmla="*/ 2392702 w 4519987"/>
                    <a:gd name="connsiteY13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83377 w 4519987"/>
                    <a:gd name="connsiteY37" fmla="*/ 3629025 h 4496940"/>
                    <a:gd name="connsiteX38" fmla="*/ 3954802 w 4519987"/>
                    <a:gd name="connsiteY38" fmla="*/ 3648075 h 4496940"/>
                    <a:gd name="connsiteX39" fmla="*/ 3907177 w 4519987"/>
                    <a:gd name="connsiteY39" fmla="*/ 3686175 h 4496940"/>
                    <a:gd name="connsiteX40" fmla="*/ 3869077 w 4519987"/>
                    <a:gd name="connsiteY40" fmla="*/ 3724275 h 4496940"/>
                    <a:gd name="connsiteX41" fmla="*/ 3792877 w 4519987"/>
                    <a:gd name="connsiteY41" fmla="*/ 3781425 h 4496940"/>
                    <a:gd name="connsiteX42" fmla="*/ 3783352 w 4519987"/>
                    <a:gd name="connsiteY42" fmla="*/ 3810000 h 4496940"/>
                    <a:gd name="connsiteX43" fmla="*/ 3745252 w 4519987"/>
                    <a:gd name="connsiteY43" fmla="*/ 3819525 h 4496940"/>
                    <a:gd name="connsiteX44" fmla="*/ 3678577 w 4519987"/>
                    <a:gd name="connsiteY44" fmla="*/ 3848100 h 4496940"/>
                    <a:gd name="connsiteX45" fmla="*/ 3659527 w 4519987"/>
                    <a:gd name="connsiteY45" fmla="*/ 3971925 h 4496940"/>
                    <a:gd name="connsiteX46" fmla="*/ 3630952 w 4519987"/>
                    <a:gd name="connsiteY46" fmla="*/ 4010025 h 4496940"/>
                    <a:gd name="connsiteX47" fmla="*/ 3621427 w 4519987"/>
                    <a:gd name="connsiteY47" fmla="*/ 4038600 h 4496940"/>
                    <a:gd name="connsiteX48" fmla="*/ 3554752 w 4519987"/>
                    <a:gd name="connsiteY48" fmla="*/ 4095750 h 4496940"/>
                    <a:gd name="connsiteX49" fmla="*/ 3516652 w 4519987"/>
                    <a:gd name="connsiteY49" fmla="*/ 4114800 h 4496940"/>
                    <a:gd name="connsiteX50" fmla="*/ 3497602 w 4519987"/>
                    <a:gd name="connsiteY50" fmla="*/ 4143375 h 4496940"/>
                    <a:gd name="connsiteX51" fmla="*/ 3383302 w 4519987"/>
                    <a:gd name="connsiteY51" fmla="*/ 4210050 h 4496940"/>
                    <a:gd name="connsiteX52" fmla="*/ 3335677 w 4519987"/>
                    <a:gd name="connsiteY52" fmla="*/ 4238625 h 4496940"/>
                    <a:gd name="connsiteX53" fmla="*/ 3288052 w 4519987"/>
                    <a:gd name="connsiteY53" fmla="*/ 4248150 h 4496940"/>
                    <a:gd name="connsiteX54" fmla="*/ 3240427 w 4519987"/>
                    <a:gd name="connsiteY54" fmla="*/ 4267200 h 4496940"/>
                    <a:gd name="connsiteX55" fmla="*/ 3068977 w 4519987"/>
                    <a:gd name="connsiteY55" fmla="*/ 4286250 h 4496940"/>
                    <a:gd name="connsiteX56" fmla="*/ 2935627 w 4519987"/>
                    <a:gd name="connsiteY56" fmla="*/ 4333875 h 4496940"/>
                    <a:gd name="connsiteX57" fmla="*/ 2811802 w 4519987"/>
                    <a:gd name="connsiteY57" fmla="*/ 4371975 h 4496940"/>
                    <a:gd name="connsiteX58" fmla="*/ 2745127 w 4519987"/>
                    <a:gd name="connsiteY58" fmla="*/ 4410075 h 4496940"/>
                    <a:gd name="connsiteX59" fmla="*/ 2697502 w 4519987"/>
                    <a:gd name="connsiteY59" fmla="*/ 4429125 h 4496940"/>
                    <a:gd name="connsiteX60" fmla="*/ 2640352 w 4519987"/>
                    <a:gd name="connsiteY60" fmla="*/ 4457700 h 4496940"/>
                    <a:gd name="connsiteX61" fmla="*/ 2583202 w 4519987"/>
                    <a:gd name="connsiteY61" fmla="*/ 4467225 h 4496940"/>
                    <a:gd name="connsiteX62" fmla="*/ 2545102 w 4519987"/>
                    <a:gd name="connsiteY62" fmla="*/ 4486275 h 4496940"/>
                    <a:gd name="connsiteX63" fmla="*/ 2306977 w 4519987"/>
                    <a:gd name="connsiteY63" fmla="*/ 4476750 h 4496940"/>
                    <a:gd name="connsiteX64" fmla="*/ 2202202 w 4519987"/>
                    <a:gd name="connsiteY64" fmla="*/ 4457700 h 4496940"/>
                    <a:gd name="connsiteX65" fmla="*/ 2126002 w 4519987"/>
                    <a:gd name="connsiteY65" fmla="*/ 4429125 h 4496940"/>
                    <a:gd name="connsiteX66" fmla="*/ 1935502 w 4519987"/>
                    <a:gd name="connsiteY66" fmla="*/ 4400550 h 4496940"/>
                    <a:gd name="connsiteX67" fmla="*/ 1821202 w 4519987"/>
                    <a:gd name="connsiteY67" fmla="*/ 4371975 h 4496940"/>
                    <a:gd name="connsiteX68" fmla="*/ 1754527 w 4519987"/>
                    <a:gd name="connsiteY68" fmla="*/ 4352925 h 4496940"/>
                    <a:gd name="connsiteX69" fmla="*/ 1687852 w 4519987"/>
                    <a:gd name="connsiteY69" fmla="*/ 4343400 h 4496940"/>
                    <a:gd name="connsiteX70" fmla="*/ 1573552 w 4519987"/>
                    <a:gd name="connsiteY70" fmla="*/ 4305300 h 4496940"/>
                    <a:gd name="connsiteX71" fmla="*/ 1402102 w 4519987"/>
                    <a:gd name="connsiteY71" fmla="*/ 4276725 h 4496940"/>
                    <a:gd name="connsiteX72" fmla="*/ 1287802 w 4519987"/>
                    <a:gd name="connsiteY72" fmla="*/ 4229100 h 4496940"/>
                    <a:gd name="connsiteX73" fmla="*/ 1221127 w 4519987"/>
                    <a:gd name="connsiteY73" fmla="*/ 4200525 h 4496940"/>
                    <a:gd name="connsiteX74" fmla="*/ 1144927 w 4519987"/>
                    <a:gd name="connsiteY74" fmla="*/ 4171950 h 4496940"/>
                    <a:gd name="connsiteX75" fmla="*/ 1087777 w 4519987"/>
                    <a:gd name="connsiteY75" fmla="*/ 4143375 h 4496940"/>
                    <a:gd name="connsiteX76" fmla="*/ 1030627 w 4519987"/>
                    <a:gd name="connsiteY76" fmla="*/ 4124325 h 4496940"/>
                    <a:gd name="connsiteX77" fmla="*/ 925852 w 4519987"/>
                    <a:gd name="connsiteY77" fmla="*/ 4067175 h 4496940"/>
                    <a:gd name="connsiteX78" fmla="*/ 830602 w 4519987"/>
                    <a:gd name="connsiteY78" fmla="*/ 3981450 h 4496940"/>
                    <a:gd name="connsiteX79" fmla="*/ 763927 w 4519987"/>
                    <a:gd name="connsiteY79" fmla="*/ 3914775 h 4496940"/>
                    <a:gd name="connsiteX80" fmla="*/ 725827 w 4519987"/>
                    <a:gd name="connsiteY80" fmla="*/ 3876675 h 4496940"/>
                    <a:gd name="connsiteX81" fmla="*/ 697252 w 4519987"/>
                    <a:gd name="connsiteY81" fmla="*/ 3838575 h 4496940"/>
                    <a:gd name="connsiteX82" fmla="*/ 640102 w 4519987"/>
                    <a:gd name="connsiteY82" fmla="*/ 3781425 h 4496940"/>
                    <a:gd name="connsiteX83" fmla="*/ 611527 w 4519987"/>
                    <a:gd name="connsiteY83" fmla="*/ 3733800 h 4496940"/>
                    <a:gd name="connsiteX84" fmla="*/ 554377 w 4519987"/>
                    <a:gd name="connsiteY84" fmla="*/ 3657600 h 4496940"/>
                    <a:gd name="connsiteX85" fmla="*/ 525802 w 4519987"/>
                    <a:gd name="connsiteY85" fmla="*/ 3609975 h 4496940"/>
                    <a:gd name="connsiteX86" fmla="*/ 497227 w 4519987"/>
                    <a:gd name="connsiteY86" fmla="*/ 3552825 h 4496940"/>
                    <a:gd name="connsiteX87" fmla="*/ 440077 w 4519987"/>
                    <a:gd name="connsiteY87" fmla="*/ 3495675 h 4496940"/>
                    <a:gd name="connsiteX88" fmla="*/ 411502 w 4519987"/>
                    <a:gd name="connsiteY88" fmla="*/ 3448050 h 4496940"/>
                    <a:gd name="connsiteX89" fmla="*/ 278152 w 4519987"/>
                    <a:gd name="connsiteY89" fmla="*/ 3257550 h 4496940"/>
                    <a:gd name="connsiteX90" fmla="*/ 249577 w 4519987"/>
                    <a:gd name="connsiteY90" fmla="*/ 3200400 h 4496940"/>
                    <a:gd name="connsiteX91" fmla="*/ 240052 w 4519987"/>
                    <a:gd name="connsiteY91" fmla="*/ 3162300 h 4496940"/>
                    <a:gd name="connsiteX92" fmla="*/ 221002 w 4519987"/>
                    <a:gd name="connsiteY92" fmla="*/ 3105150 h 4496940"/>
                    <a:gd name="connsiteX93" fmla="*/ 173377 w 4519987"/>
                    <a:gd name="connsiteY93" fmla="*/ 3019425 h 4496940"/>
                    <a:gd name="connsiteX94" fmla="*/ 144802 w 4519987"/>
                    <a:gd name="connsiteY94" fmla="*/ 2924175 h 4496940"/>
                    <a:gd name="connsiteX95" fmla="*/ 68602 w 4519987"/>
                    <a:gd name="connsiteY95" fmla="*/ 2724150 h 4496940"/>
                    <a:gd name="connsiteX96" fmla="*/ 49552 w 4519987"/>
                    <a:gd name="connsiteY96" fmla="*/ 2638425 h 4496940"/>
                    <a:gd name="connsiteX97" fmla="*/ 40027 w 4519987"/>
                    <a:gd name="connsiteY97" fmla="*/ 2562225 h 4496940"/>
                    <a:gd name="connsiteX98" fmla="*/ 30502 w 4519987"/>
                    <a:gd name="connsiteY98" fmla="*/ 2514600 h 4496940"/>
                    <a:gd name="connsiteX99" fmla="*/ 11452 w 4519987"/>
                    <a:gd name="connsiteY99" fmla="*/ 2400300 h 4496940"/>
                    <a:gd name="connsiteX100" fmla="*/ 20977 w 4519987"/>
                    <a:gd name="connsiteY100" fmla="*/ 1905000 h 4496940"/>
                    <a:gd name="connsiteX101" fmla="*/ 30502 w 4519987"/>
                    <a:gd name="connsiteY101" fmla="*/ 1838325 h 4496940"/>
                    <a:gd name="connsiteX102" fmla="*/ 49552 w 4519987"/>
                    <a:gd name="connsiteY102" fmla="*/ 1781175 h 4496940"/>
                    <a:gd name="connsiteX103" fmla="*/ 59077 w 4519987"/>
                    <a:gd name="connsiteY103" fmla="*/ 1743075 h 4496940"/>
                    <a:gd name="connsiteX104" fmla="*/ 78127 w 4519987"/>
                    <a:gd name="connsiteY104" fmla="*/ 1685925 h 4496940"/>
                    <a:gd name="connsiteX105" fmla="*/ 87652 w 4519987"/>
                    <a:gd name="connsiteY105" fmla="*/ 1638300 h 4496940"/>
                    <a:gd name="connsiteX106" fmla="*/ 106702 w 4519987"/>
                    <a:gd name="connsiteY106" fmla="*/ 1590675 h 4496940"/>
                    <a:gd name="connsiteX107" fmla="*/ 135277 w 4519987"/>
                    <a:gd name="connsiteY107" fmla="*/ 1504950 h 4496940"/>
                    <a:gd name="connsiteX108" fmla="*/ 154327 w 4519987"/>
                    <a:gd name="connsiteY108" fmla="*/ 1419225 h 4496940"/>
                    <a:gd name="connsiteX109" fmla="*/ 230527 w 4519987"/>
                    <a:gd name="connsiteY109" fmla="*/ 1276350 h 4496940"/>
                    <a:gd name="connsiteX110" fmla="*/ 240052 w 4519987"/>
                    <a:gd name="connsiteY110" fmla="*/ 1247775 h 4496940"/>
                    <a:gd name="connsiteX111" fmla="*/ 268627 w 4519987"/>
                    <a:gd name="connsiteY111" fmla="*/ 1200150 h 4496940"/>
                    <a:gd name="connsiteX112" fmla="*/ 287677 w 4519987"/>
                    <a:gd name="connsiteY112" fmla="*/ 1152525 h 4496940"/>
                    <a:gd name="connsiteX113" fmla="*/ 316252 w 4519987"/>
                    <a:gd name="connsiteY113" fmla="*/ 1114425 h 4496940"/>
                    <a:gd name="connsiteX114" fmla="*/ 363877 w 4519987"/>
                    <a:gd name="connsiteY114" fmla="*/ 1038225 h 4496940"/>
                    <a:gd name="connsiteX115" fmla="*/ 382927 w 4519987"/>
                    <a:gd name="connsiteY115" fmla="*/ 1009650 h 4496940"/>
                    <a:gd name="connsiteX116" fmla="*/ 440077 w 4519987"/>
                    <a:gd name="connsiteY116" fmla="*/ 904875 h 4496940"/>
                    <a:gd name="connsiteX117" fmla="*/ 478177 w 4519987"/>
                    <a:gd name="connsiteY117" fmla="*/ 857250 h 4496940"/>
                    <a:gd name="connsiteX118" fmla="*/ 497227 w 4519987"/>
                    <a:gd name="connsiteY118" fmla="*/ 828675 h 4496940"/>
                    <a:gd name="connsiteX119" fmla="*/ 535327 w 4519987"/>
                    <a:gd name="connsiteY119" fmla="*/ 800100 h 4496940"/>
                    <a:gd name="connsiteX120" fmla="*/ 602002 w 4519987"/>
                    <a:gd name="connsiteY120" fmla="*/ 733425 h 4496940"/>
                    <a:gd name="connsiteX121" fmla="*/ 668677 w 4519987"/>
                    <a:gd name="connsiteY121" fmla="*/ 676275 h 4496940"/>
                    <a:gd name="connsiteX122" fmla="*/ 697252 w 4519987"/>
                    <a:gd name="connsiteY122" fmla="*/ 657225 h 4496940"/>
                    <a:gd name="connsiteX123" fmla="*/ 840127 w 4519987"/>
                    <a:gd name="connsiteY123" fmla="*/ 533400 h 4496940"/>
                    <a:gd name="connsiteX124" fmla="*/ 887752 w 4519987"/>
                    <a:gd name="connsiteY124" fmla="*/ 504825 h 4496940"/>
                    <a:gd name="connsiteX125" fmla="*/ 1167152 w 4519987"/>
                    <a:gd name="connsiteY125" fmla="*/ 311150 h 4496940"/>
                    <a:gd name="connsiteX126" fmla="*/ 1268752 w 4519987"/>
                    <a:gd name="connsiteY126" fmla="*/ 285750 h 4496940"/>
                    <a:gd name="connsiteX127" fmla="*/ 1411627 w 4519987"/>
                    <a:gd name="connsiteY127" fmla="*/ 190500 h 4496940"/>
                    <a:gd name="connsiteX128" fmla="*/ 1449727 w 4519987"/>
                    <a:gd name="connsiteY128" fmla="*/ 161925 h 4496940"/>
                    <a:gd name="connsiteX129" fmla="*/ 1525927 w 4519987"/>
                    <a:gd name="connsiteY129" fmla="*/ 152400 h 4496940"/>
                    <a:gd name="connsiteX130" fmla="*/ 1583077 w 4519987"/>
                    <a:gd name="connsiteY130" fmla="*/ 142875 h 4496940"/>
                    <a:gd name="connsiteX131" fmla="*/ 1716427 w 4519987"/>
                    <a:gd name="connsiteY131" fmla="*/ 123825 h 4496940"/>
                    <a:gd name="connsiteX132" fmla="*/ 1811677 w 4519987"/>
                    <a:gd name="connsiteY132" fmla="*/ 114300 h 4496940"/>
                    <a:gd name="connsiteX133" fmla="*/ 1859302 w 4519987"/>
                    <a:gd name="connsiteY133" fmla="*/ 104775 h 4496940"/>
                    <a:gd name="connsiteX134" fmla="*/ 1916452 w 4519987"/>
                    <a:gd name="connsiteY134" fmla="*/ 95250 h 4496940"/>
                    <a:gd name="connsiteX135" fmla="*/ 2030752 w 4519987"/>
                    <a:gd name="connsiteY135" fmla="*/ 66675 h 4496940"/>
                    <a:gd name="connsiteX136" fmla="*/ 2097427 w 4519987"/>
                    <a:gd name="connsiteY136" fmla="*/ 47625 h 4496940"/>
                    <a:gd name="connsiteX137" fmla="*/ 2164102 w 4519987"/>
                    <a:gd name="connsiteY137" fmla="*/ 38100 h 4496940"/>
                    <a:gd name="connsiteX138" fmla="*/ 2392702 w 4519987"/>
                    <a:gd name="connsiteY13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869077 w 4519987"/>
                    <a:gd name="connsiteY39" fmla="*/ 3724275 h 4496940"/>
                    <a:gd name="connsiteX40" fmla="*/ 3792877 w 4519987"/>
                    <a:gd name="connsiteY40" fmla="*/ 3781425 h 4496940"/>
                    <a:gd name="connsiteX41" fmla="*/ 3783352 w 4519987"/>
                    <a:gd name="connsiteY41" fmla="*/ 3810000 h 4496940"/>
                    <a:gd name="connsiteX42" fmla="*/ 3745252 w 4519987"/>
                    <a:gd name="connsiteY42" fmla="*/ 3819525 h 4496940"/>
                    <a:gd name="connsiteX43" fmla="*/ 3678577 w 4519987"/>
                    <a:gd name="connsiteY43" fmla="*/ 3848100 h 4496940"/>
                    <a:gd name="connsiteX44" fmla="*/ 3659527 w 4519987"/>
                    <a:gd name="connsiteY44" fmla="*/ 3971925 h 4496940"/>
                    <a:gd name="connsiteX45" fmla="*/ 3630952 w 4519987"/>
                    <a:gd name="connsiteY45" fmla="*/ 4010025 h 4496940"/>
                    <a:gd name="connsiteX46" fmla="*/ 3621427 w 4519987"/>
                    <a:gd name="connsiteY46" fmla="*/ 4038600 h 4496940"/>
                    <a:gd name="connsiteX47" fmla="*/ 3554752 w 4519987"/>
                    <a:gd name="connsiteY47" fmla="*/ 4095750 h 4496940"/>
                    <a:gd name="connsiteX48" fmla="*/ 3516652 w 4519987"/>
                    <a:gd name="connsiteY48" fmla="*/ 4114800 h 4496940"/>
                    <a:gd name="connsiteX49" fmla="*/ 3497602 w 4519987"/>
                    <a:gd name="connsiteY49" fmla="*/ 4143375 h 4496940"/>
                    <a:gd name="connsiteX50" fmla="*/ 3383302 w 4519987"/>
                    <a:gd name="connsiteY50" fmla="*/ 4210050 h 4496940"/>
                    <a:gd name="connsiteX51" fmla="*/ 3335677 w 4519987"/>
                    <a:gd name="connsiteY51" fmla="*/ 4238625 h 4496940"/>
                    <a:gd name="connsiteX52" fmla="*/ 3288052 w 4519987"/>
                    <a:gd name="connsiteY52" fmla="*/ 4248150 h 4496940"/>
                    <a:gd name="connsiteX53" fmla="*/ 3240427 w 4519987"/>
                    <a:gd name="connsiteY53" fmla="*/ 4267200 h 4496940"/>
                    <a:gd name="connsiteX54" fmla="*/ 3068977 w 4519987"/>
                    <a:gd name="connsiteY54" fmla="*/ 4286250 h 4496940"/>
                    <a:gd name="connsiteX55" fmla="*/ 2935627 w 4519987"/>
                    <a:gd name="connsiteY55" fmla="*/ 4333875 h 4496940"/>
                    <a:gd name="connsiteX56" fmla="*/ 2811802 w 4519987"/>
                    <a:gd name="connsiteY56" fmla="*/ 4371975 h 4496940"/>
                    <a:gd name="connsiteX57" fmla="*/ 2745127 w 4519987"/>
                    <a:gd name="connsiteY57" fmla="*/ 4410075 h 4496940"/>
                    <a:gd name="connsiteX58" fmla="*/ 2697502 w 4519987"/>
                    <a:gd name="connsiteY58" fmla="*/ 4429125 h 4496940"/>
                    <a:gd name="connsiteX59" fmla="*/ 2640352 w 4519987"/>
                    <a:gd name="connsiteY59" fmla="*/ 4457700 h 4496940"/>
                    <a:gd name="connsiteX60" fmla="*/ 2583202 w 4519987"/>
                    <a:gd name="connsiteY60" fmla="*/ 4467225 h 4496940"/>
                    <a:gd name="connsiteX61" fmla="*/ 2545102 w 4519987"/>
                    <a:gd name="connsiteY61" fmla="*/ 4486275 h 4496940"/>
                    <a:gd name="connsiteX62" fmla="*/ 2306977 w 4519987"/>
                    <a:gd name="connsiteY62" fmla="*/ 4476750 h 4496940"/>
                    <a:gd name="connsiteX63" fmla="*/ 2202202 w 4519987"/>
                    <a:gd name="connsiteY63" fmla="*/ 4457700 h 4496940"/>
                    <a:gd name="connsiteX64" fmla="*/ 2126002 w 4519987"/>
                    <a:gd name="connsiteY64" fmla="*/ 4429125 h 4496940"/>
                    <a:gd name="connsiteX65" fmla="*/ 1935502 w 4519987"/>
                    <a:gd name="connsiteY65" fmla="*/ 4400550 h 4496940"/>
                    <a:gd name="connsiteX66" fmla="*/ 1821202 w 4519987"/>
                    <a:gd name="connsiteY66" fmla="*/ 4371975 h 4496940"/>
                    <a:gd name="connsiteX67" fmla="*/ 1754527 w 4519987"/>
                    <a:gd name="connsiteY67" fmla="*/ 4352925 h 4496940"/>
                    <a:gd name="connsiteX68" fmla="*/ 1687852 w 4519987"/>
                    <a:gd name="connsiteY68" fmla="*/ 4343400 h 4496940"/>
                    <a:gd name="connsiteX69" fmla="*/ 1573552 w 4519987"/>
                    <a:gd name="connsiteY69" fmla="*/ 4305300 h 4496940"/>
                    <a:gd name="connsiteX70" fmla="*/ 1402102 w 4519987"/>
                    <a:gd name="connsiteY70" fmla="*/ 4276725 h 4496940"/>
                    <a:gd name="connsiteX71" fmla="*/ 1287802 w 4519987"/>
                    <a:gd name="connsiteY71" fmla="*/ 4229100 h 4496940"/>
                    <a:gd name="connsiteX72" fmla="*/ 1221127 w 4519987"/>
                    <a:gd name="connsiteY72" fmla="*/ 4200525 h 4496940"/>
                    <a:gd name="connsiteX73" fmla="*/ 1144927 w 4519987"/>
                    <a:gd name="connsiteY73" fmla="*/ 4171950 h 4496940"/>
                    <a:gd name="connsiteX74" fmla="*/ 1087777 w 4519987"/>
                    <a:gd name="connsiteY74" fmla="*/ 4143375 h 4496940"/>
                    <a:gd name="connsiteX75" fmla="*/ 1030627 w 4519987"/>
                    <a:gd name="connsiteY75" fmla="*/ 4124325 h 4496940"/>
                    <a:gd name="connsiteX76" fmla="*/ 925852 w 4519987"/>
                    <a:gd name="connsiteY76" fmla="*/ 4067175 h 4496940"/>
                    <a:gd name="connsiteX77" fmla="*/ 830602 w 4519987"/>
                    <a:gd name="connsiteY77" fmla="*/ 3981450 h 4496940"/>
                    <a:gd name="connsiteX78" fmla="*/ 763927 w 4519987"/>
                    <a:gd name="connsiteY78" fmla="*/ 3914775 h 4496940"/>
                    <a:gd name="connsiteX79" fmla="*/ 725827 w 4519987"/>
                    <a:gd name="connsiteY79" fmla="*/ 3876675 h 4496940"/>
                    <a:gd name="connsiteX80" fmla="*/ 697252 w 4519987"/>
                    <a:gd name="connsiteY80" fmla="*/ 3838575 h 4496940"/>
                    <a:gd name="connsiteX81" fmla="*/ 640102 w 4519987"/>
                    <a:gd name="connsiteY81" fmla="*/ 3781425 h 4496940"/>
                    <a:gd name="connsiteX82" fmla="*/ 611527 w 4519987"/>
                    <a:gd name="connsiteY82" fmla="*/ 3733800 h 4496940"/>
                    <a:gd name="connsiteX83" fmla="*/ 554377 w 4519987"/>
                    <a:gd name="connsiteY83" fmla="*/ 3657600 h 4496940"/>
                    <a:gd name="connsiteX84" fmla="*/ 525802 w 4519987"/>
                    <a:gd name="connsiteY84" fmla="*/ 3609975 h 4496940"/>
                    <a:gd name="connsiteX85" fmla="*/ 497227 w 4519987"/>
                    <a:gd name="connsiteY85" fmla="*/ 3552825 h 4496940"/>
                    <a:gd name="connsiteX86" fmla="*/ 440077 w 4519987"/>
                    <a:gd name="connsiteY86" fmla="*/ 3495675 h 4496940"/>
                    <a:gd name="connsiteX87" fmla="*/ 411502 w 4519987"/>
                    <a:gd name="connsiteY87" fmla="*/ 3448050 h 4496940"/>
                    <a:gd name="connsiteX88" fmla="*/ 278152 w 4519987"/>
                    <a:gd name="connsiteY88" fmla="*/ 3257550 h 4496940"/>
                    <a:gd name="connsiteX89" fmla="*/ 249577 w 4519987"/>
                    <a:gd name="connsiteY89" fmla="*/ 3200400 h 4496940"/>
                    <a:gd name="connsiteX90" fmla="*/ 240052 w 4519987"/>
                    <a:gd name="connsiteY90" fmla="*/ 3162300 h 4496940"/>
                    <a:gd name="connsiteX91" fmla="*/ 221002 w 4519987"/>
                    <a:gd name="connsiteY91" fmla="*/ 3105150 h 4496940"/>
                    <a:gd name="connsiteX92" fmla="*/ 173377 w 4519987"/>
                    <a:gd name="connsiteY92" fmla="*/ 3019425 h 4496940"/>
                    <a:gd name="connsiteX93" fmla="*/ 144802 w 4519987"/>
                    <a:gd name="connsiteY93" fmla="*/ 2924175 h 4496940"/>
                    <a:gd name="connsiteX94" fmla="*/ 68602 w 4519987"/>
                    <a:gd name="connsiteY94" fmla="*/ 2724150 h 4496940"/>
                    <a:gd name="connsiteX95" fmla="*/ 49552 w 4519987"/>
                    <a:gd name="connsiteY95" fmla="*/ 2638425 h 4496940"/>
                    <a:gd name="connsiteX96" fmla="*/ 40027 w 4519987"/>
                    <a:gd name="connsiteY96" fmla="*/ 2562225 h 4496940"/>
                    <a:gd name="connsiteX97" fmla="*/ 30502 w 4519987"/>
                    <a:gd name="connsiteY97" fmla="*/ 2514600 h 4496940"/>
                    <a:gd name="connsiteX98" fmla="*/ 11452 w 4519987"/>
                    <a:gd name="connsiteY98" fmla="*/ 2400300 h 4496940"/>
                    <a:gd name="connsiteX99" fmla="*/ 20977 w 4519987"/>
                    <a:gd name="connsiteY99" fmla="*/ 1905000 h 4496940"/>
                    <a:gd name="connsiteX100" fmla="*/ 30502 w 4519987"/>
                    <a:gd name="connsiteY100" fmla="*/ 1838325 h 4496940"/>
                    <a:gd name="connsiteX101" fmla="*/ 49552 w 4519987"/>
                    <a:gd name="connsiteY101" fmla="*/ 1781175 h 4496940"/>
                    <a:gd name="connsiteX102" fmla="*/ 59077 w 4519987"/>
                    <a:gd name="connsiteY102" fmla="*/ 1743075 h 4496940"/>
                    <a:gd name="connsiteX103" fmla="*/ 78127 w 4519987"/>
                    <a:gd name="connsiteY103" fmla="*/ 1685925 h 4496940"/>
                    <a:gd name="connsiteX104" fmla="*/ 87652 w 4519987"/>
                    <a:gd name="connsiteY104" fmla="*/ 1638300 h 4496940"/>
                    <a:gd name="connsiteX105" fmla="*/ 106702 w 4519987"/>
                    <a:gd name="connsiteY105" fmla="*/ 1590675 h 4496940"/>
                    <a:gd name="connsiteX106" fmla="*/ 135277 w 4519987"/>
                    <a:gd name="connsiteY106" fmla="*/ 1504950 h 4496940"/>
                    <a:gd name="connsiteX107" fmla="*/ 154327 w 4519987"/>
                    <a:gd name="connsiteY107" fmla="*/ 1419225 h 4496940"/>
                    <a:gd name="connsiteX108" fmla="*/ 230527 w 4519987"/>
                    <a:gd name="connsiteY108" fmla="*/ 1276350 h 4496940"/>
                    <a:gd name="connsiteX109" fmla="*/ 240052 w 4519987"/>
                    <a:gd name="connsiteY109" fmla="*/ 1247775 h 4496940"/>
                    <a:gd name="connsiteX110" fmla="*/ 268627 w 4519987"/>
                    <a:gd name="connsiteY110" fmla="*/ 1200150 h 4496940"/>
                    <a:gd name="connsiteX111" fmla="*/ 287677 w 4519987"/>
                    <a:gd name="connsiteY111" fmla="*/ 1152525 h 4496940"/>
                    <a:gd name="connsiteX112" fmla="*/ 316252 w 4519987"/>
                    <a:gd name="connsiteY112" fmla="*/ 1114425 h 4496940"/>
                    <a:gd name="connsiteX113" fmla="*/ 363877 w 4519987"/>
                    <a:gd name="connsiteY113" fmla="*/ 1038225 h 4496940"/>
                    <a:gd name="connsiteX114" fmla="*/ 382927 w 4519987"/>
                    <a:gd name="connsiteY114" fmla="*/ 1009650 h 4496940"/>
                    <a:gd name="connsiteX115" fmla="*/ 440077 w 4519987"/>
                    <a:gd name="connsiteY115" fmla="*/ 904875 h 4496940"/>
                    <a:gd name="connsiteX116" fmla="*/ 478177 w 4519987"/>
                    <a:gd name="connsiteY116" fmla="*/ 857250 h 4496940"/>
                    <a:gd name="connsiteX117" fmla="*/ 497227 w 4519987"/>
                    <a:gd name="connsiteY117" fmla="*/ 828675 h 4496940"/>
                    <a:gd name="connsiteX118" fmla="*/ 535327 w 4519987"/>
                    <a:gd name="connsiteY118" fmla="*/ 800100 h 4496940"/>
                    <a:gd name="connsiteX119" fmla="*/ 602002 w 4519987"/>
                    <a:gd name="connsiteY119" fmla="*/ 733425 h 4496940"/>
                    <a:gd name="connsiteX120" fmla="*/ 668677 w 4519987"/>
                    <a:gd name="connsiteY120" fmla="*/ 676275 h 4496940"/>
                    <a:gd name="connsiteX121" fmla="*/ 697252 w 4519987"/>
                    <a:gd name="connsiteY121" fmla="*/ 657225 h 4496940"/>
                    <a:gd name="connsiteX122" fmla="*/ 840127 w 4519987"/>
                    <a:gd name="connsiteY122" fmla="*/ 533400 h 4496940"/>
                    <a:gd name="connsiteX123" fmla="*/ 887752 w 4519987"/>
                    <a:gd name="connsiteY123" fmla="*/ 504825 h 4496940"/>
                    <a:gd name="connsiteX124" fmla="*/ 1167152 w 4519987"/>
                    <a:gd name="connsiteY124" fmla="*/ 311150 h 4496940"/>
                    <a:gd name="connsiteX125" fmla="*/ 1268752 w 4519987"/>
                    <a:gd name="connsiteY125" fmla="*/ 285750 h 4496940"/>
                    <a:gd name="connsiteX126" fmla="*/ 1411627 w 4519987"/>
                    <a:gd name="connsiteY126" fmla="*/ 190500 h 4496940"/>
                    <a:gd name="connsiteX127" fmla="*/ 1449727 w 4519987"/>
                    <a:gd name="connsiteY127" fmla="*/ 161925 h 4496940"/>
                    <a:gd name="connsiteX128" fmla="*/ 1525927 w 4519987"/>
                    <a:gd name="connsiteY128" fmla="*/ 152400 h 4496940"/>
                    <a:gd name="connsiteX129" fmla="*/ 1583077 w 4519987"/>
                    <a:gd name="connsiteY129" fmla="*/ 142875 h 4496940"/>
                    <a:gd name="connsiteX130" fmla="*/ 1716427 w 4519987"/>
                    <a:gd name="connsiteY130" fmla="*/ 123825 h 4496940"/>
                    <a:gd name="connsiteX131" fmla="*/ 1811677 w 4519987"/>
                    <a:gd name="connsiteY131" fmla="*/ 114300 h 4496940"/>
                    <a:gd name="connsiteX132" fmla="*/ 1859302 w 4519987"/>
                    <a:gd name="connsiteY132" fmla="*/ 104775 h 4496940"/>
                    <a:gd name="connsiteX133" fmla="*/ 1916452 w 4519987"/>
                    <a:gd name="connsiteY133" fmla="*/ 95250 h 4496940"/>
                    <a:gd name="connsiteX134" fmla="*/ 2030752 w 4519987"/>
                    <a:gd name="connsiteY134" fmla="*/ 66675 h 4496940"/>
                    <a:gd name="connsiteX135" fmla="*/ 2097427 w 4519987"/>
                    <a:gd name="connsiteY135" fmla="*/ 47625 h 4496940"/>
                    <a:gd name="connsiteX136" fmla="*/ 2164102 w 4519987"/>
                    <a:gd name="connsiteY136" fmla="*/ 38100 h 4496940"/>
                    <a:gd name="connsiteX137" fmla="*/ 2392702 w 4519987"/>
                    <a:gd name="connsiteY13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745252 w 4519987"/>
                    <a:gd name="connsiteY41" fmla="*/ 3819525 h 4496940"/>
                    <a:gd name="connsiteX42" fmla="*/ 3678577 w 4519987"/>
                    <a:gd name="connsiteY42" fmla="*/ 3848100 h 4496940"/>
                    <a:gd name="connsiteX43" fmla="*/ 3659527 w 4519987"/>
                    <a:gd name="connsiteY43" fmla="*/ 3971925 h 4496940"/>
                    <a:gd name="connsiteX44" fmla="*/ 3630952 w 4519987"/>
                    <a:gd name="connsiteY44" fmla="*/ 4010025 h 4496940"/>
                    <a:gd name="connsiteX45" fmla="*/ 3621427 w 4519987"/>
                    <a:gd name="connsiteY45" fmla="*/ 4038600 h 4496940"/>
                    <a:gd name="connsiteX46" fmla="*/ 3554752 w 4519987"/>
                    <a:gd name="connsiteY46" fmla="*/ 4095750 h 4496940"/>
                    <a:gd name="connsiteX47" fmla="*/ 3516652 w 4519987"/>
                    <a:gd name="connsiteY47" fmla="*/ 4114800 h 4496940"/>
                    <a:gd name="connsiteX48" fmla="*/ 3497602 w 4519987"/>
                    <a:gd name="connsiteY48" fmla="*/ 4143375 h 4496940"/>
                    <a:gd name="connsiteX49" fmla="*/ 3383302 w 4519987"/>
                    <a:gd name="connsiteY49" fmla="*/ 4210050 h 4496940"/>
                    <a:gd name="connsiteX50" fmla="*/ 3335677 w 4519987"/>
                    <a:gd name="connsiteY50" fmla="*/ 4238625 h 4496940"/>
                    <a:gd name="connsiteX51" fmla="*/ 3288052 w 4519987"/>
                    <a:gd name="connsiteY51" fmla="*/ 4248150 h 4496940"/>
                    <a:gd name="connsiteX52" fmla="*/ 3240427 w 4519987"/>
                    <a:gd name="connsiteY52" fmla="*/ 4267200 h 4496940"/>
                    <a:gd name="connsiteX53" fmla="*/ 3068977 w 4519987"/>
                    <a:gd name="connsiteY53" fmla="*/ 4286250 h 4496940"/>
                    <a:gd name="connsiteX54" fmla="*/ 2935627 w 4519987"/>
                    <a:gd name="connsiteY54" fmla="*/ 4333875 h 4496940"/>
                    <a:gd name="connsiteX55" fmla="*/ 2811802 w 4519987"/>
                    <a:gd name="connsiteY55" fmla="*/ 4371975 h 4496940"/>
                    <a:gd name="connsiteX56" fmla="*/ 2745127 w 4519987"/>
                    <a:gd name="connsiteY56" fmla="*/ 4410075 h 4496940"/>
                    <a:gd name="connsiteX57" fmla="*/ 2697502 w 4519987"/>
                    <a:gd name="connsiteY57" fmla="*/ 4429125 h 4496940"/>
                    <a:gd name="connsiteX58" fmla="*/ 2640352 w 4519987"/>
                    <a:gd name="connsiteY58" fmla="*/ 4457700 h 4496940"/>
                    <a:gd name="connsiteX59" fmla="*/ 2583202 w 4519987"/>
                    <a:gd name="connsiteY59" fmla="*/ 4467225 h 4496940"/>
                    <a:gd name="connsiteX60" fmla="*/ 2545102 w 4519987"/>
                    <a:gd name="connsiteY60" fmla="*/ 4486275 h 4496940"/>
                    <a:gd name="connsiteX61" fmla="*/ 2306977 w 4519987"/>
                    <a:gd name="connsiteY61" fmla="*/ 4476750 h 4496940"/>
                    <a:gd name="connsiteX62" fmla="*/ 2202202 w 4519987"/>
                    <a:gd name="connsiteY62" fmla="*/ 4457700 h 4496940"/>
                    <a:gd name="connsiteX63" fmla="*/ 2126002 w 4519987"/>
                    <a:gd name="connsiteY63" fmla="*/ 4429125 h 4496940"/>
                    <a:gd name="connsiteX64" fmla="*/ 1935502 w 4519987"/>
                    <a:gd name="connsiteY64" fmla="*/ 4400550 h 4496940"/>
                    <a:gd name="connsiteX65" fmla="*/ 1821202 w 4519987"/>
                    <a:gd name="connsiteY65" fmla="*/ 4371975 h 4496940"/>
                    <a:gd name="connsiteX66" fmla="*/ 1754527 w 4519987"/>
                    <a:gd name="connsiteY66" fmla="*/ 4352925 h 4496940"/>
                    <a:gd name="connsiteX67" fmla="*/ 1687852 w 4519987"/>
                    <a:gd name="connsiteY67" fmla="*/ 4343400 h 4496940"/>
                    <a:gd name="connsiteX68" fmla="*/ 1573552 w 4519987"/>
                    <a:gd name="connsiteY68" fmla="*/ 4305300 h 4496940"/>
                    <a:gd name="connsiteX69" fmla="*/ 1402102 w 4519987"/>
                    <a:gd name="connsiteY69" fmla="*/ 4276725 h 4496940"/>
                    <a:gd name="connsiteX70" fmla="*/ 1287802 w 4519987"/>
                    <a:gd name="connsiteY70" fmla="*/ 4229100 h 4496940"/>
                    <a:gd name="connsiteX71" fmla="*/ 1221127 w 4519987"/>
                    <a:gd name="connsiteY71" fmla="*/ 4200525 h 4496940"/>
                    <a:gd name="connsiteX72" fmla="*/ 1144927 w 4519987"/>
                    <a:gd name="connsiteY72" fmla="*/ 4171950 h 4496940"/>
                    <a:gd name="connsiteX73" fmla="*/ 1087777 w 4519987"/>
                    <a:gd name="connsiteY73" fmla="*/ 4143375 h 4496940"/>
                    <a:gd name="connsiteX74" fmla="*/ 1030627 w 4519987"/>
                    <a:gd name="connsiteY74" fmla="*/ 4124325 h 4496940"/>
                    <a:gd name="connsiteX75" fmla="*/ 925852 w 4519987"/>
                    <a:gd name="connsiteY75" fmla="*/ 4067175 h 4496940"/>
                    <a:gd name="connsiteX76" fmla="*/ 830602 w 4519987"/>
                    <a:gd name="connsiteY76" fmla="*/ 3981450 h 4496940"/>
                    <a:gd name="connsiteX77" fmla="*/ 763927 w 4519987"/>
                    <a:gd name="connsiteY77" fmla="*/ 3914775 h 4496940"/>
                    <a:gd name="connsiteX78" fmla="*/ 725827 w 4519987"/>
                    <a:gd name="connsiteY78" fmla="*/ 3876675 h 4496940"/>
                    <a:gd name="connsiteX79" fmla="*/ 697252 w 4519987"/>
                    <a:gd name="connsiteY79" fmla="*/ 3838575 h 4496940"/>
                    <a:gd name="connsiteX80" fmla="*/ 640102 w 4519987"/>
                    <a:gd name="connsiteY80" fmla="*/ 3781425 h 4496940"/>
                    <a:gd name="connsiteX81" fmla="*/ 611527 w 4519987"/>
                    <a:gd name="connsiteY81" fmla="*/ 3733800 h 4496940"/>
                    <a:gd name="connsiteX82" fmla="*/ 554377 w 4519987"/>
                    <a:gd name="connsiteY82" fmla="*/ 3657600 h 4496940"/>
                    <a:gd name="connsiteX83" fmla="*/ 525802 w 4519987"/>
                    <a:gd name="connsiteY83" fmla="*/ 3609975 h 4496940"/>
                    <a:gd name="connsiteX84" fmla="*/ 497227 w 4519987"/>
                    <a:gd name="connsiteY84" fmla="*/ 3552825 h 4496940"/>
                    <a:gd name="connsiteX85" fmla="*/ 440077 w 4519987"/>
                    <a:gd name="connsiteY85" fmla="*/ 3495675 h 4496940"/>
                    <a:gd name="connsiteX86" fmla="*/ 411502 w 4519987"/>
                    <a:gd name="connsiteY86" fmla="*/ 3448050 h 4496940"/>
                    <a:gd name="connsiteX87" fmla="*/ 278152 w 4519987"/>
                    <a:gd name="connsiteY87" fmla="*/ 3257550 h 4496940"/>
                    <a:gd name="connsiteX88" fmla="*/ 249577 w 4519987"/>
                    <a:gd name="connsiteY88" fmla="*/ 3200400 h 4496940"/>
                    <a:gd name="connsiteX89" fmla="*/ 240052 w 4519987"/>
                    <a:gd name="connsiteY89" fmla="*/ 3162300 h 4496940"/>
                    <a:gd name="connsiteX90" fmla="*/ 221002 w 4519987"/>
                    <a:gd name="connsiteY90" fmla="*/ 3105150 h 4496940"/>
                    <a:gd name="connsiteX91" fmla="*/ 173377 w 4519987"/>
                    <a:gd name="connsiteY91" fmla="*/ 3019425 h 4496940"/>
                    <a:gd name="connsiteX92" fmla="*/ 144802 w 4519987"/>
                    <a:gd name="connsiteY92" fmla="*/ 2924175 h 4496940"/>
                    <a:gd name="connsiteX93" fmla="*/ 68602 w 4519987"/>
                    <a:gd name="connsiteY93" fmla="*/ 2724150 h 4496940"/>
                    <a:gd name="connsiteX94" fmla="*/ 49552 w 4519987"/>
                    <a:gd name="connsiteY94" fmla="*/ 2638425 h 4496940"/>
                    <a:gd name="connsiteX95" fmla="*/ 40027 w 4519987"/>
                    <a:gd name="connsiteY95" fmla="*/ 2562225 h 4496940"/>
                    <a:gd name="connsiteX96" fmla="*/ 30502 w 4519987"/>
                    <a:gd name="connsiteY96" fmla="*/ 2514600 h 4496940"/>
                    <a:gd name="connsiteX97" fmla="*/ 11452 w 4519987"/>
                    <a:gd name="connsiteY97" fmla="*/ 2400300 h 4496940"/>
                    <a:gd name="connsiteX98" fmla="*/ 20977 w 4519987"/>
                    <a:gd name="connsiteY98" fmla="*/ 1905000 h 4496940"/>
                    <a:gd name="connsiteX99" fmla="*/ 30502 w 4519987"/>
                    <a:gd name="connsiteY99" fmla="*/ 1838325 h 4496940"/>
                    <a:gd name="connsiteX100" fmla="*/ 49552 w 4519987"/>
                    <a:gd name="connsiteY100" fmla="*/ 1781175 h 4496940"/>
                    <a:gd name="connsiteX101" fmla="*/ 59077 w 4519987"/>
                    <a:gd name="connsiteY101" fmla="*/ 1743075 h 4496940"/>
                    <a:gd name="connsiteX102" fmla="*/ 78127 w 4519987"/>
                    <a:gd name="connsiteY102" fmla="*/ 1685925 h 4496940"/>
                    <a:gd name="connsiteX103" fmla="*/ 87652 w 4519987"/>
                    <a:gd name="connsiteY103" fmla="*/ 1638300 h 4496940"/>
                    <a:gd name="connsiteX104" fmla="*/ 106702 w 4519987"/>
                    <a:gd name="connsiteY104" fmla="*/ 1590675 h 4496940"/>
                    <a:gd name="connsiteX105" fmla="*/ 135277 w 4519987"/>
                    <a:gd name="connsiteY105" fmla="*/ 1504950 h 4496940"/>
                    <a:gd name="connsiteX106" fmla="*/ 154327 w 4519987"/>
                    <a:gd name="connsiteY106" fmla="*/ 1419225 h 4496940"/>
                    <a:gd name="connsiteX107" fmla="*/ 230527 w 4519987"/>
                    <a:gd name="connsiteY107" fmla="*/ 1276350 h 4496940"/>
                    <a:gd name="connsiteX108" fmla="*/ 240052 w 4519987"/>
                    <a:gd name="connsiteY108" fmla="*/ 1247775 h 4496940"/>
                    <a:gd name="connsiteX109" fmla="*/ 268627 w 4519987"/>
                    <a:gd name="connsiteY109" fmla="*/ 1200150 h 4496940"/>
                    <a:gd name="connsiteX110" fmla="*/ 287677 w 4519987"/>
                    <a:gd name="connsiteY110" fmla="*/ 1152525 h 4496940"/>
                    <a:gd name="connsiteX111" fmla="*/ 316252 w 4519987"/>
                    <a:gd name="connsiteY111" fmla="*/ 1114425 h 4496940"/>
                    <a:gd name="connsiteX112" fmla="*/ 363877 w 4519987"/>
                    <a:gd name="connsiteY112" fmla="*/ 1038225 h 4496940"/>
                    <a:gd name="connsiteX113" fmla="*/ 382927 w 4519987"/>
                    <a:gd name="connsiteY113" fmla="*/ 1009650 h 4496940"/>
                    <a:gd name="connsiteX114" fmla="*/ 440077 w 4519987"/>
                    <a:gd name="connsiteY114" fmla="*/ 904875 h 4496940"/>
                    <a:gd name="connsiteX115" fmla="*/ 478177 w 4519987"/>
                    <a:gd name="connsiteY115" fmla="*/ 857250 h 4496940"/>
                    <a:gd name="connsiteX116" fmla="*/ 497227 w 4519987"/>
                    <a:gd name="connsiteY116" fmla="*/ 828675 h 4496940"/>
                    <a:gd name="connsiteX117" fmla="*/ 535327 w 4519987"/>
                    <a:gd name="connsiteY117" fmla="*/ 800100 h 4496940"/>
                    <a:gd name="connsiteX118" fmla="*/ 602002 w 4519987"/>
                    <a:gd name="connsiteY118" fmla="*/ 733425 h 4496940"/>
                    <a:gd name="connsiteX119" fmla="*/ 668677 w 4519987"/>
                    <a:gd name="connsiteY119" fmla="*/ 676275 h 4496940"/>
                    <a:gd name="connsiteX120" fmla="*/ 697252 w 4519987"/>
                    <a:gd name="connsiteY120" fmla="*/ 657225 h 4496940"/>
                    <a:gd name="connsiteX121" fmla="*/ 840127 w 4519987"/>
                    <a:gd name="connsiteY121" fmla="*/ 533400 h 4496940"/>
                    <a:gd name="connsiteX122" fmla="*/ 887752 w 4519987"/>
                    <a:gd name="connsiteY122" fmla="*/ 504825 h 4496940"/>
                    <a:gd name="connsiteX123" fmla="*/ 1167152 w 4519987"/>
                    <a:gd name="connsiteY123" fmla="*/ 311150 h 4496940"/>
                    <a:gd name="connsiteX124" fmla="*/ 1268752 w 4519987"/>
                    <a:gd name="connsiteY124" fmla="*/ 285750 h 4496940"/>
                    <a:gd name="connsiteX125" fmla="*/ 1411627 w 4519987"/>
                    <a:gd name="connsiteY125" fmla="*/ 190500 h 4496940"/>
                    <a:gd name="connsiteX126" fmla="*/ 1449727 w 4519987"/>
                    <a:gd name="connsiteY126" fmla="*/ 161925 h 4496940"/>
                    <a:gd name="connsiteX127" fmla="*/ 1525927 w 4519987"/>
                    <a:gd name="connsiteY127" fmla="*/ 152400 h 4496940"/>
                    <a:gd name="connsiteX128" fmla="*/ 1583077 w 4519987"/>
                    <a:gd name="connsiteY128" fmla="*/ 142875 h 4496940"/>
                    <a:gd name="connsiteX129" fmla="*/ 1716427 w 4519987"/>
                    <a:gd name="connsiteY129" fmla="*/ 123825 h 4496940"/>
                    <a:gd name="connsiteX130" fmla="*/ 1811677 w 4519987"/>
                    <a:gd name="connsiteY130" fmla="*/ 114300 h 4496940"/>
                    <a:gd name="connsiteX131" fmla="*/ 1859302 w 4519987"/>
                    <a:gd name="connsiteY131" fmla="*/ 104775 h 4496940"/>
                    <a:gd name="connsiteX132" fmla="*/ 1916452 w 4519987"/>
                    <a:gd name="connsiteY132" fmla="*/ 95250 h 4496940"/>
                    <a:gd name="connsiteX133" fmla="*/ 2030752 w 4519987"/>
                    <a:gd name="connsiteY133" fmla="*/ 66675 h 4496940"/>
                    <a:gd name="connsiteX134" fmla="*/ 2097427 w 4519987"/>
                    <a:gd name="connsiteY134" fmla="*/ 47625 h 4496940"/>
                    <a:gd name="connsiteX135" fmla="*/ 2164102 w 4519987"/>
                    <a:gd name="connsiteY135" fmla="*/ 38100 h 4496940"/>
                    <a:gd name="connsiteX136" fmla="*/ 2392702 w 4519987"/>
                    <a:gd name="connsiteY13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678577 w 4519987"/>
                    <a:gd name="connsiteY41" fmla="*/ 3848100 h 4496940"/>
                    <a:gd name="connsiteX42" fmla="*/ 3659527 w 4519987"/>
                    <a:gd name="connsiteY42" fmla="*/ 3971925 h 4496940"/>
                    <a:gd name="connsiteX43" fmla="*/ 3630952 w 4519987"/>
                    <a:gd name="connsiteY43" fmla="*/ 4010025 h 4496940"/>
                    <a:gd name="connsiteX44" fmla="*/ 3621427 w 4519987"/>
                    <a:gd name="connsiteY44" fmla="*/ 4038600 h 4496940"/>
                    <a:gd name="connsiteX45" fmla="*/ 3554752 w 4519987"/>
                    <a:gd name="connsiteY45" fmla="*/ 4095750 h 4496940"/>
                    <a:gd name="connsiteX46" fmla="*/ 3516652 w 4519987"/>
                    <a:gd name="connsiteY46" fmla="*/ 4114800 h 4496940"/>
                    <a:gd name="connsiteX47" fmla="*/ 3497602 w 4519987"/>
                    <a:gd name="connsiteY47" fmla="*/ 4143375 h 4496940"/>
                    <a:gd name="connsiteX48" fmla="*/ 3383302 w 4519987"/>
                    <a:gd name="connsiteY48" fmla="*/ 4210050 h 4496940"/>
                    <a:gd name="connsiteX49" fmla="*/ 3335677 w 4519987"/>
                    <a:gd name="connsiteY49" fmla="*/ 4238625 h 4496940"/>
                    <a:gd name="connsiteX50" fmla="*/ 3288052 w 4519987"/>
                    <a:gd name="connsiteY50" fmla="*/ 4248150 h 4496940"/>
                    <a:gd name="connsiteX51" fmla="*/ 3240427 w 4519987"/>
                    <a:gd name="connsiteY51" fmla="*/ 4267200 h 4496940"/>
                    <a:gd name="connsiteX52" fmla="*/ 3068977 w 4519987"/>
                    <a:gd name="connsiteY52" fmla="*/ 4286250 h 4496940"/>
                    <a:gd name="connsiteX53" fmla="*/ 2935627 w 4519987"/>
                    <a:gd name="connsiteY53" fmla="*/ 4333875 h 4496940"/>
                    <a:gd name="connsiteX54" fmla="*/ 2811802 w 4519987"/>
                    <a:gd name="connsiteY54" fmla="*/ 4371975 h 4496940"/>
                    <a:gd name="connsiteX55" fmla="*/ 2745127 w 4519987"/>
                    <a:gd name="connsiteY55" fmla="*/ 4410075 h 4496940"/>
                    <a:gd name="connsiteX56" fmla="*/ 2697502 w 4519987"/>
                    <a:gd name="connsiteY56" fmla="*/ 4429125 h 4496940"/>
                    <a:gd name="connsiteX57" fmla="*/ 2640352 w 4519987"/>
                    <a:gd name="connsiteY57" fmla="*/ 4457700 h 4496940"/>
                    <a:gd name="connsiteX58" fmla="*/ 2583202 w 4519987"/>
                    <a:gd name="connsiteY58" fmla="*/ 4467225 h 4496940"/>
                    <a:gd name="connsiteX59" fmla="*/ 2545102 w 4519987"/>
                    <a:gd name="connsiteY59" fmla="*/ 4486275 h 4496940"/>
                    <a:gd name="connsiteX60" fmla="*/ 2306977 w 4519987"/>
                    <a:gd name="connsiteY60" fmla="*/ 4476750 h 4496940"/>
                    <a:gd name="connsiteX61" fmla="*/ 2202202 w 4519987"/>
                    <a:gd name="connsiteY61" fmla="*/ 4457700 h 4496940"/>
                    <a:gd name="connsiteX62" fmla="*/ 2126002 w 4519987"/>
                    <a:gd name="connsiteY62" fmla="*/ 4429125 h 4496940"/>
                    <a:gd name="connsiteX63" fmla="*/ 1935502 w 4519987"/>
                    <a:gd name="connsiteY63" fmla="*/ 4400550 h 4496940"/>
                    <a:gd name="connsiteX64" fmla="*/ 1821202 w 4519987"/>
                    <a:gd name="connsiteY64" fmla="*/ 4371975 h 4496940"/>
                    <a:gd name="connsiteX65" fmla="*/ 1754527 w 4519987"/>
                    <a:gd name="connsiteY65" fmla="*/ 4352925 h 4496940"/>
                    <a:gd name="connsiteX66" fmla="*/ 1687852 w 4519987"/>
                    <a:gd name="connsiteY66" fmla="*/ 4343400 h 4496940"/>
                    <a:gd name="connsiteX67" fmla="*/ 1573552 w 4519987"/>
                    <a:gd name="connsiteY67" fmla="*/ 4305300 h 4496940"/>
                    <a:gd name="connsiteX68" fmla="*/ 1402102 w 4519987"/>
                    <a:gd name="connsiteY68" fmla="*/ 4276725 h 4496940"/>
                    <a:gd name="connsiteX69" fmla="*/ 1287802 w 4519987"/>
                    <a:gd name="connsiteY69" fmla="*/ 4229100 h 4496940"/>
                    <a:gd name="connsiteX70" fmla="*/ 1221127 w 4519987"/>
                    <a:gd name="connsiteY70" fmla="*/ 4200525 h 4496940"/>
                    <a:gd name="connsiteX71" fmla="*/ 1144927 w 4519987"/>
                    <a:gd name="connsiteY71" fmla="*/ 4171950 h 4496940"/>
                    <a:gd name="connsiteX72" fmla="*/ 1087777 w 4519987"/>
                    <a:gd name="connsiteY72" fmla="*/ 4143375 h 4496940"/>
                    <a:gd name="connsiteX73" fmla="*/ 1030627 w 4519987"/>
                    <a:gd name="connsiteY73" fmla="*/ 4124325 h 4496940"/>
                    <a:gd name="connsiteX74" fmla="*/ 925852 w 4519987"/>
                    <a:gd name="connsiteY74" fmla="*/ 4067175 h 4496940"/>
                    <a:gd name="connsiteX75" fmla="*/ 830602 w 4519987"/>
                    <a:gd name="connsiteY75" fmla="*/ 3981450 h 4496940"/>
                    <a:gd name="connsiteX76" fmla="*/ 763927 w 4519987"/>
                    <a:gd name="connsiteY76" fmla="*/ 3914775 h 4496940"/>
                    <a:gd name="connsiteX77" fmla="*/ 725827 w 4519987"/>
                    <a:gd name="connsiteY77" fmla="*/ 3876675 h 4496940"/>
                    <a:gd name="connsiteX78" fmla="*/ 697252 w 4519987"/>
                    <a:gd name="connsiteY78" fmla="*/ 3838575 h 4496940"/>
                    <a:gd name="connsiteX79" fmla="*/ 640102 w 4519987"/>
                    <a:gd name="connsiteY79" fmla="*/ 3781425 h 4496940"/>
                    <a:gd name="connsiteX80" fmla="*/ 611527 w 4519987"/>
                    <a:gd name="connsiteY80" fmla="*/ 3733800 h 4496940"/>
                    <a:gd name="connsiteX81" fmla="*/ 554377 w 4519987"/>
                    <a:gd name="connsiteY81" fmla="*/ 3657600 h 4496940"/>
                    <a:gd name="connsiteX82" fmla="*/ 525802 w 4519987"/>
                    <a:gd name="connsiteY82" fmla="*/ 3609975 h 4496940"/>
                    <a:gd name="connsiteX83" fmla="*/ 497227 w 4519987"/>
                    <a:gd name="connsiteY83" fmla="*/ 3552825 h 4496940"/>
                    <a:gd name="connsiteX84" fmla="*/ 440077 w 4519987"/>
                    <a:gd name="connsiteY84" fmla="*/ 3495675 h 4496940"/>
                    <a:gd name="connsiteX85" fmla="*/ 411502 w 4519987"/>
                    <a:gd name="connsiteY85" fmla="*/ 3448050 h 4496940"/>
                    <a:gd name="connsiteX86" fmla="*/ 278152 w 4519987"/>
                    <a:gd name="connsiteY86" fmla="*/ 3257550 h 4496940"/>
                    <a:gd name="connsiteX87" fmla="*/ 249577 w 4519987"/>
                    <a:gd name="connsiteY87" fmla="*/ 3200400 h 4496940"/>
                    <a:gd name="connsiteX88" fmla="*/ 240052 w 4519987"/>
                    <a:gd name="connsiteY88" fmla="*/ 3162300 h 4496940"/>
                    <a:gd name="connsiteX89" fmla="*/ 221002 w 4519987"/>
                    <a:gd name="connsiteY89" fmla="*/ 3105150 h 4496940"/>
                    <a:gd name="connsiteX90" fmla="*/ 173377 w 4519987"/>
                    <a:gd name="connsiteY90" fmla="*/ 3019425 h 4496940"/>
                    <a:gd name="connsiteX91" fmla="*/ 144802 w 4519987"/>
                    <a:gd name="connsiteY91" fmla="*/ 2924175 h 4496940"/>
                    <a:gd name="connsiteX92" fmla="*/ 68602 w 4519987"/>
                    <a:gd name="connsiteY92" fmla="*/ 2724150 h 4496940"/>
                    <a:gd name="connsiteX93" fmla="*/ 49552 w 4519987"/>
                    <a:gd name="connsiteY93" fmla="*/ 2638425 h 4496940"/>
                    <a:gd name="connsiteX94" fmla="*/ 40027 w 4519987"/>
                    <a:gd name="connsiteY94" fmla="*/ 2562225 h 4496940"/>
                    <a:gd name="connsiteX95" fmla="*/ 30502 w 4519987"/>
                    <a:gd name="connsiteY95" fmla="*/ 2514600 h 4496940"/>
                    <a:gd name="connsiteX96" fmla="*/ 11452 w 4519987"/>
                    <a:gd name="connsiteY96" fmla="*/ 2400300 h 4496940"/>
                    <a:gd name="connsiteX97" fmla="*/ 20977 w 4519987"/>
                    <a:gd name="connsiteY97" fmla="*/ 1905000 h 4496940"/>
                    <a:gd name="connsiteX98" fmla="*/ 30502 w 4519987"/>
                    <a:gd name="connsiteY98" fmla="*/ 1838325 h 4496940"/>
                    <a:gd name="connsiteX99" fmla="*/ 49552 w 4519987"/>
                    <a:gd name="connsiteY99" fmla="*/ 1781175 h 4496940"/>
                    <a:gd name="connsiteX100" fmla="*/ 59077 w 4519987"/>
                    <a:gd name="connsiteY100" fmla="*/ 1743075 h 4496940"/>
                    <a:gd name="connsiteX101" fmla="*/ 78127 w 4519987"/>
                    <a:gd name="connsiteY101" fmla="*/ 1685925 h 4496940"/>
                    <a:gd name="connsiteX102" fmla="*/ 87652 w 4519987"/>
                    <a:gd name="connsiteY102" fmla="*/ 1638300 h 4496940"/>
                    <a:gd name="connsiteX103" fmla="*/ 106702 w 4519987"/>
                    <a:gd name="connsiteY103" fmla="*/ 1590675 h 4496940"/>
                    <a:gd name="connsiteX104" fmla="*/ 135277 w 4519987"/>
                    <a:gd name="connsiteY104" fmla="*/ 1504950 h 4496940"/>
                    <a:gd name="connsiteX105" fmla="*/ 154327 w 4519987"/>
                    <a:gd name="connsiteY105" fmla="*/ 1419225 h 4496940"/>
                    <a:gd name="connsiteX106" fmla="*/ 230527 w 4519987"/>
                    <a:gd name="connsiteY106" fmla="*/ 1276350 h 4496940"/>
                    <a:gd name="connsiteX107" fmla="*/ 240052 w 4519987"/>
                    <a:gd name="connsiteY107" fmla="*/ 1247775 h 4496940"/>
                    <a:gd name="connsiteX108" fmla="*/ 268627 w 4519987"/>
                    <a:gd name="connsiteY108" fmla="*/ 1200150 h 4496940"/>
                    <a:gd name="connsiteX109" fmla="*/ 287677 w 4519987"/>
                    <a:gd name="connsiteY109" fmla="*/ 1152525 h 4496940"/>
                    <a:gd name="connsiteX110" fmla="*/ 316252 w 4519987"/>
                    <a:gd name="connsiteY110" fmla="*/ 1114425 h 4496940"/>
                    <a:gd name="connsiteX111" fmla="*/ 363877 w 4519987"/>
                    <a:gd name="connsiteY111" fmla="*/ 1038225 h 4496940"/>
                    <a:gd name="connsiteX112" fmla="*/ 382927 w 4519987"/>
                    <a:gd name="connsiteY112" fmla="*/ 1009650 h 4496940"/>
                    <a:gd name="connsiteX113" fmla="*/ 440077 w 4519987"/>
                    <a:gd name="connsiteY113" fmla="*/ 904875 h 4496940"/>
                    <a:gd name="connsiteX114" fmla="*/ 478177 w 4519987"/>
                    <a:gd name="connsiteY114" fmla="*/ 857250 h 4496940"/>
                    <a:gd name="connsiteX115" fmla="*/ 497227 w 4519987"/>
                    <a:gd name="connsiteY115" fmla="*/ 828675 h 4496940"/>
                    <a:gd name="connsiteX116" fmla="*/ 535327 w 4519987"/>
                    <a:gd name="connsiteY116" fmla="*/ 800100 h 4496940"/>
                    <a:gd name="connsiteX117" fmla="*/ 602002 w 4519987"/>
                    <a:gd name="connsiteY117" fmla="*/ 733425 h 4496940"/>
                    <a:gd name="connsiteX118" fmla="*/ 668677 w 4519987"/>
                    <a:gd name="connsiteY118" fmla="*/ 676275 h 4496940"/>
                    <a:gd name="connsiteX119" fmla="*/ 697252 w 4519987"/>
                    <a:gd name="connsiteY119" fmla="*/ 657225 h 4496940"/>
                    <a:gd name="connsiteX120" fmla="*/ 840127 w 4519987"/>
                    <a:gd name="connsiteY120" fmla="*/ 533400 h 4496940"/>
                    <a:gd name="connsiteX121" fmla="*/ 887752 w 4519987"/>
                    <a:gd name="connsiteY121" fmla="*/ 504825 h 4496940"/>
                    <a:gd name="connsiteX122" fmla="*/ 1167152 w 4519987"/>
                    <a:gd name="connsiteY122" fmla="*/ 311150 h 4496940"/>
                    <a:gd name="connsiteX123" fmla="*/ 1268752 w 4519987"/>
                    <a:gd name="connsiteY123" fmla="*/ 285750 h 4496940"/>
                    <a:gd name="connsiteX124" fmla="*/ 1411627 w 4519987"/>
                    <a:gd name="connsiteY124" fmla="*/ 190500 h 4496940"/>
                    <a:gd name="connsiteX125" fmla="*/ 1449727 w 4519987"/>
                    <a:gd name="connsiteY125" fmla="*/ 161925 h 4496940"/>
                    <a:gd name="connsiteX126" fmla="*/ 1525927 w 4519987"/>
                    <a:gd name="connsiteY126" fmla="*/ 152400 h 4496940"/>
                    <a:gd name="connsiteX127" fmla="*/ 1583077 w 4519987"/>
                    <a:gd name="connsiteY127" fmla="*/ 142875 h 4496940"/>
                    <a:gd name="connsiteX128" fmla="*/ 1716427 w 4519987"/>
                    <a:gd name="connsiteY128" fmla="*/ 123825 h 4496940"/>
                    <a:gd name="connsiteX129" fmla="*/ 1811677 w 4519987"/>
                    <a:gd name="connsiteY129" fmla="*/ 114300 h 4496940"/>
                    <a:gd name="connsiteX130" fmla="*/ 1859302 w 4519987"/>
                    <a:gd name="connsiteY130" fmla="*/ 104775 h 4496940"/>
                    <a:gd name="connsiteX131" fmla="*/ 1916452 w 4519987"/>
                    <a:gd name="connsiteY131" fmla="*/ 95250 h 4496940"/>
                    <a:gd name="connsiteX132" fmla="*/ 2030752 w 4519987"/>
                    <a:gd name="connsiteY132" fmla="*/ 66675 h 4496940"/>
                    <a:gd name="connsiteX133" fmla="*/ 2097427 w 4519987"/>
                    <a:gd name="connsiteY133" fmla="*/ 47625 h 4496940"/>
                    <a:gd name="connsiteX134" fmla="*/ 2164102 w 4519987"/>
                    <a:gd name="connsiteY134" fmla="*/ 38100 h 4496940"/>
                    <a:gd name="connsiteX135" fmla="*/ 2392702 w 4519987"/>
                    <a:gd name="connsiteY13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78577 w 4519987"/>
                    <a:gd name="connsiteY40" fmla="*/ 3848100 h 4496940"/>
                    <a:gd name="connsiteX41" fmla="*/ 3659527 w 4519987"/>
                    <a:gd name="connsiteY41" fmla="*/ 3971925 h 4496940"/>
                    <a:gd name="connsiteX42" fmla="*/ 3630952 w 4519987"/>
                    <a:gd name="connsiteY42" fmla="*/ 4010025 h 4496940"/>
                    <a:gd name="connsiteX43" fmla="*/ 3621427 w 4519987"/>
                    <a:gd name="connsiteY43" fmla="*/ 4038600 h 4496940"/>
                    <a:gd name="connsiteX44" fmla="*/ 3554752 w 4519987"/>
                    <a:gd name="connsiteY44" fmla="*/ 4095750 h 4496940"/>
                    <a:gd name="connsiteX45" fmla="*/ 3516652 w 4519987"/>
                    <a:gd name="connsiteY45" fmla="*/ 4114800 h 4496940"/>
                    <a:gd name="connsiteX46" fmla="*/ 3497602 w 4519987"/>
                    <a:gd name="connsiteY46" fmla="*/ 4143375 h 4496940"/>
                    <a:gd name="connsiteX47" fmla="*/ 3383302 w 4519987"/>
                    <a:gd name="connsiteY47" fmla="*/ 4210050 h 4496940"/>
                    <a:gd name="connsiteX48" fmla="*/ 3335677 w 4519987"/>
                    <a:gd name="connsiteY48" fmla="*/ 4238625 h 4496940"/>
                    <a:gd name="connsiteX49" fmla="*/ 3288052 w 4519987"/>
                    <a:gd name="connsiteY49" fmla="*/ 4248150 h 4496940"/>
                    <a:gd name="connsiteX50" fmla="*/ 3240427 w 4519987"/>
                    <a:gd name="connsiteY50" fmla="*/ 4267200 h 4496940"/>
                    <a:gd name="connsiteX51" fmla="*/ 3068977 w 4519987"/>
                    <a:gd name="connsiteY51" fmla="*/ 4286250 h 4496940"/>
                    <a:gd name="connsiteX52" fmla="*/ 2935627 w 4519987"/>
                    <a:gd name="connsiteY52" fmla="*/ 4333875 h 4496940"/>
                    <a:gd name="connsiteX53" fmla="*/ 2811802 w 4519987"/>
                    <a:gd name="connsiteY53" fmla="*/ 4371975 h 4496940"/>
                    <a:gd name="connsiteX54" fmla="*/ 2745127 w 4519987"/>
                    <a:gd name="connsiteY54" fmla="*/ 4410075 h 4496940"/>
                    <a:gd name="connsiteX55" fmla="*/ 2697502 w 4519987"/>
                    <a:gd name="connsiteY55" fmla="*/ 4429125 h 4496940"/>
                    <a:gd name="connsiteX56" fmla="*/ 2640352 w 4519987"/>
                    <a:gd name="connsiteY56" fmla="*/ 4457700 h 4496940"/>
                    <a:gd name="connsiteX57" fmla="*/ 2583202 w 4519987"/>
                    <a:gd name="connsiteY57" fmla="*/ 4467225 h 4496940"/>
                    <a:gd name="connsiteX58" fmla="*/ 2545102 w 4519987"/>
                    <a:gd name="connsiteY58" fmla="*/ 4486275 h 4496940"/>
                    <a:gd name="connsiteX59" fmla="*/ 2306977 w 4519987"/>
                    <a:gd name="connsiteY59" fmla="*/ 4476750 h 4496940"/>
                    <a:gd name="connsiteX60" fmla="*/ 2202202 w 4519987"/>
                    <a:gd name="connsiteY60" fmla="*/ 4457700 h 4496940"/>
                    <a:gd name="connsiteX61" fmla="*/ 2126002 w 4519987"/>
                    <a:gd name="connsiteY61" fmla="*/ 4429125 h 4496940"/>
                    <a:gd name="connsiteX62" fmla="*/ 1935502 w 4519987"/>
                    <a:gd name="connsiteY62" fmla="*/ 4400550 h 4496940"/>
                    <a:gd name="connsiteX63" fmla="*/ 1821202 w 4519987"/>
                    <a:gd name="connsiteY63" fmla="*/ 4371975 h 4496940"/>
                    <a:gd name="connsiteX64" fmla="*/ 1754527 w 4519987"/>
                    <a:gd name="connsiteY64" fmla="*/ 4352925 h 4496940"/>
                    <a:gd name="connsiteX65" fmla="*/ 1687852 w 4519987"/>
                    <a:gd name="connsiteY65" fmla="*/ 4343400 h 4496940"/>
                    <a:gd name="connsiteX66" fmla="*/ 1573552 w 4519987"/>
                    <a:gd name="connsiteY66" fmla="*/ 4305300 h 4496940"/>
                    <a:gd name="connsiteX67" fmla="*/ 1402102 w 4519987"/>
                    <a:gd name="connsiteY67" fmla="*/ 4276725 h 4496940"/>
                    <a:gd name="connsiteX68" fmla="*/ 1287802 w 4519987"/>
                    <a:gd name="connsiteY68" fmla="*/ 4229100 h 4496940"/>
                    <a:gd name="connsiteX69" fmla="*/ 1221127 w 4519987"/>
                    <a:gd name="connsiteY69" fmla="*/ 4200525 h 4496940"/>
                    <a:gd name="connsiteX70" fmla="*/ 1144927 w 4519987"/>
                    <a:gd name="connsiteY70" fmla="*/ 4171950 h 4496940"/>
                    <a:gd name="connsiteX71" fmla="*/ 1087777 w 4519987"/>
                    <a:gd name="connsiteY71" fmla="*/ 4143375 h 4496940"/>
                    <a:gd name="connsiteX72" fmla="*/ 1030627 w 4519987"/>
                    <a:gd name="connsiteY72" fmla="*/ 4124325 h 4496940"/>
                    <a:gd name="connsiteX73" fmla="*/ 925852 w 4519987"/>
                    <a:gd name="connsiteY73" fmla="*/ 4067175 h 4496940"/>
                    <a:gd name="connsiteX74" fmla="*/ 830602 w 4519987"/>
                    <a:gd name="connsiteY74" fmla="*/ 3981450 h 4496940"/>
                    <a:gd name="connsiteX75" fmla="*/ 763927 w 4519987"/>
                    <a:gd name="connsiteY75" fmla="*/ 3914775 h 4496940"/>
                    <a:gd name="connsiteX76" fmla="*/ 725827 w 4519987"/>
                    <a:gd name="connsiteY76" fmla="*/ 3876675 h 4496940"/>
                    <a:gd name="connsiteX77" fmla="*/ 697252 w 4519987"/>
                    <a:gd name="connsiteY77" fmla="*/ 3838575 h 4496940"/>
                    <a:gd name="connsiteX78" fmla="*/ 640102 w 4519987"/>
                    <a:gd name="connsiteY78" fmla="*/ 3781425 h 4496940"/>
                    <a:gd name="connsiteX79" fmla="*/ 611527 w 4519987"/>
                    <a:gd name="connsiteY79" fmla="*/ 3733800 h 4496940"/>
                    <a:gd name="connsiteX80" fmla="*/ 554377 w 4519987"/>
                    <a:gd name="connsiteY80" fmla="*/ 3657600 h 4496940"/>
                    <a:gd name="connsiteX81" fmla="*/ 525802 w 4519987"/>
                    <a:gd name="connsiteY81" fmla="*/ 3609975 h 4496940"/>
                    <a:gd name="connsiteX82" fmla="*/ 497227 w 4519987"/>
                    <a:gd name="connsiteY82" fmla="*/ 3552825 h 4496940"/>
                    <a:gd name="connsiteX83" fmla="*/ 440077 w 4519987"/>
                    <a:gd name="connsiteY83" fmla="*/ 3495675 h 4496940"/>
                    <a:gd name="connsiteX84" fmla="*/ 411502 w 4519987"/>
                    <a:gd name="connsiteY84" fmla="*/ 3448050 h 4496940"/>
                    <a:gd name="connsiteX85" fmla="*/ 278152 w 4519987"/>
                    <a:gd name="connsiteY85" fmla="*/ 3257550 h 4496940"/>
                    <a:gd name="connsiteX86" fmla="*/ 249577 w 4519987"/>
                    <a:gd name="connsiteY86" fmla="*/ 3200400 h 4496940"/>
                    <a:gd name="connsiteX87" fmla="*/ 240052 w 4519987"/>
                    <a:gd name="connsiteY87" fmla="*/ 3162300 h 4496940"/>
                    <a:gd name="connsiteX88" fmla="*/ 221002 w 4519987"/>
                    <a:gd name="connsiteY88" fmla="*/ 3105150 h 4496940"/>
                    <a:gd name="connsiteX89" fmla="*/ 173377 w 4519987"/>
                    <a:gd name="connsiteY89" fmla="*/ 3019425 h 4496940"/>
                    <a:gd name="connsiteX90" fmla="*/ 144802 w 4519987"/>
                    <a:gd name="connsiteY90" fmla="*/ 2924175 h 4496940"/>
                    <a:gd name="connsiteX91" fmla="*/ 68602 w 4519987"/>
                    <a:gd name="connsiteY91" fmla="*/ 2724150 h 4496940"/>
                    <a:gd name="connsiteX92" fmla="*/ 49552 w 4519987"/>
                    <a:gd name="connsiteY92" fmla="*/ 2638425 h 4496940"/>
                    <a:gd name="connsiteX93" fmla="*/ 40027 w 4519987"/>
                    <a:gd name="connsiteY93" fmla="*/ 2562225 h 4496940"/>
                    <a:gd name="connsiteX94" fmla="*/ 30502 w 4519987"/>
                    <a:gd name="connsiteY94" fmla="*/ 2514600 h 4496940"/>
                    <a:gd name="connsiteX95" fmla="*/ 11452 w 4519987"/>
                    <a:gd name="connsiteY95" fmla="*/ 2400300 h 4496940"/>
                    <a:gd name="connsiteX96" fmla="*/ 20977 w 4519987"/>
                    <a:gd name="connsiteY96" fmla="*/ 1905000 h 4496940"/>
                    <a:gd name="connsiteX97" fmla="*/ 30502 w 4519987"/>
                    <a:gd name="connsiteY97" fmla="*/ 1838325 h 4496940"/>
                    <a:gd name="connsiteX98" fmla="*/ 49552 w 4519987"/>
                    <a:gd name="connsiteY98" fmla="*/ 1781175 h 4496940"/>
                    <a:gd name="connsiteX99" fmla="*/ 59077 w 4519987"/>
                    <a:gd name="connsiteY99" fmla="*/ 1743075 h 4496940"/>
                    <a:gd name="connsiteX100" fmla="*/ 78127 w 4519987"/>
                    <a:gd name="connsiteY100" fmla="*/ 1685925 h 4496940"/>
                    <a:gd name="connsiteX101" fmla="*/ 87652 w 4519987"/>
                    <a:gd name="connsiteY101" fmla="*/ 1638300 h 4496940"/>
                    <a:gd name="connsiteX102" fmla="*/ 106702 w 4519987"/>
                    <a:gd name="connsiteY102" fmla="*/ 1590675 h 4496940"/>
                    <a:gd name="connsiteX103" fmla="*/ 135277 w 4519987"/>
                    <a:gd name="connsiteY103" fmla="*/ 1504950 h 4496940"/>
                    <a:gd name="connsiteX104" fmla="*/ 154327 w 4519987"/>
                    <a:gd name="connsiteY104" fmla="*/ 1419225 h 4496940"/>
                    <a:gd name="connsiteX105" fmla="*/ 230527 w 4519987"/>
                    <a:gd name="connsiteY105" fmla="*/ 1276350 h 4496940"/>
                    <a:gd name="connsiteX106" fmla="*/ 240052 w 4519987"/>
                    <a:gd name="connsiteY106" fmla="*/ 1247775 h 4496940"/>
                    <a:gd name="connsiteX107" fmla="*/ 268627 w 4519987"/>
                    <a:gd name="connsiteY107" fmla="*/ 1200150 h 4496940"/>
                    <a:gd name="connsiteX108" fmla="*/ 287677 w 4519987"/>
                    <a:gd name="connsiteY108" fmla="*/ 1152525 h 4496940"/>
                    <a:gd name="connsiteX109" fmla="*/ 316252 w 4519987"/>
                    <a:gd name="connsiteY109" fmla="*/ 1114425 h 4496940"/>
                    <a:gd name="connsiteX110" fmla="*/ 363877 w 4519987"/>
                    <a:gd name="connsiteY110" fmla="*/ 1038225 h 4496940"/>
                    <a:gd name="connsiteX111" fmla="*/ 382927 w 4519987"/>
                    <a:gd name="connsiteY111" fmla="*/ 1009650 h 4496940"/>
                    <a:gd name="connsiteX112" fmla="*/ 440077 w 4519987"/>
                    <a:gd name="connsiteY112" fmla="*/ 904875 h 4496940"/>
                    <a:gd name="connsiteX113" fmla="*/ 478177 w 4519987"/>
                    <a:gd name="connsiteY113" fmla="*/ 857250 h 4496940"/>
                    <a:gd name="connsiteX114" fmla="*/ 497227 w 4519987"/>
                    <a:gd name="connsiteY114" fmla="*/ 828675 h 4496940"/>
                    <a:gd name="connsiteX115" fmla="*/ 535327 w 4519987"/>
                    <a:gd name="connsiteY115" fmla="*/ 800100 h 4496940"/>
                    <a:gd name="connsiteX116" fmla="*/ 602002 w 4519987"/>
                    <a:gd name="connsiteY116" fmla="*/ 733425 h 4496940"/>
                    <a:gd name="connsiteX117" fmla="*/ 668677 w 4519987"/>
                    <a:gd name="connsiteY117" fmla="*/ 676275 h 4496940"/>
                    <a:gd name="connsiteX118" fmla="*/ 697252 w 4519987"/>
                    <a:gd name="connsiteY118" fmla="*/ 657225 h 4496940"/>
                    <a:gd name="connsiteX119" fmla="*/ 840127 w 4519987"/>
                    <a:gd name="connsiteY119" fmla="*/ 533400 h 4496940"/>
                    <a:gd name="connsiteX120" fmla="*/ 887752 w 4519987"/>
                    <a:gd name="connsiteY120" fmla="*/ 504825 h 4496940"/>
                    <a:gd name="connsiteX121" fmla="*/ 1167152 w 4519987"/>
                    <a:gd name="connsiteY121" fmla="*/ 311150 h 4496940"/>
                    <a:gd name="connsiteX122" fmla="*/ 1268752 w 4519987"/>
                    <a:gd name="connsiteY122" fmla="*/ 285750 h 4496940"/>
                    <a:gd name="connsiteX123" fmla="*/ 1411627 w 4519987"/>
                    <a:gd name="connsiteY123" fmla="*/ 190500 h 4496940"/>
                    <a:gd name="connsiteX124" fmla="*/ 1449727 w 4519987"/>
                    <a:gd name="connsiteY124" fmla="*/ 161925 h 4496940"/>
                    <a:gd name="connsiteX125" fmla="*/ 1525927 w 4519987"/>
                    <a:gd name="connsiteY125" fmla="*/ 152400 h 4496940"/>
                    <a:gd name="connsiteX126" fmla="*/ 1583077 w 4519987"/>
                    <a:gd name="connsiteY126" fmla="*/ 142875 h 4496940"/>
                    <a:gd name="connsiteX127" fmla="*/ 1716427 w 4519987"/>
                    <a:gd name="connsiteY127" fmla="*/ 123825 h 4496940"/>
                    <a:gd name="connsiteX128" fmla="*/ 1811677 w 4519987"/>
                    <a:gd name="connsiteY128" fmla="*/ 114300 h 4496940"/>
                    <a:gd name="connsiteX129" fmla="*/ 1859302 w 4519987"/>
                    <a:gd name="connsiteY129" fmla="*/ 104775 h 4496940"/>
                    <a:gd name="connsiteX130" fmla="*/ 1916452 w 4519987"/>
                    <a:gd name="connsiteY130" fmla="*/ 95250 h 4496940"/>
                    <a:gd name="connsiteX131" fmla="*/ 2030752 w 4519987"/>
                    <a:gd name="connsiteY131" fmla="*/ 66675 h 4496940"/>
                    <a:gd name="connsiteX132" fmla="*/ 2097427 w 4519987"/>
                    <a:gd name="connsiteY132" fmla="*/ 47625 h 4496940"/>
                    <a:gd name="connsiteX133" fmla="*/ 2164102 w 4519987"/>
                    <a:gd name="connsiteY133" fmla="*/ 38100 h 4496940"/>
                    <a:gd name="connsiteX134" fmla="*/ 2392702 w 4519987"/>
                    <a:gd name="connsiteY13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59527 w 4519987"/>
                    <a:gd name="connsiteY40" fmla="*/ 3971925 h 4496940"/>
                    <a:gd name="connsiteX41" fmla="*/ 3630952 w 4519987"/>
                    <a:gd name="connsiteY41" fmla="*/ 4010025 h 4496940"/>
                    <a:gd name="connsiteX42" fmla="*/ 3621427 w 4519987"/>
                    <a:gd name="connsiteY42" fmla="*/ 4038600 h 4496940"/>
                    <a:gd name="connsiteX43" fmla="*/ 3554752 w 4519987"/>
                    <a:gd name="connsiteY43" fmla="*/ 4095750 h 4496940"/>
                    <a:gd name="connsiteX44" fmla="*/ 3516652 w 4519987"/>
                    <a:gd name="connsiteY44" fmla="*/ 4114800 h 4496940"/>
                    <a:gd name="connsiteX45" fmla="*/ 3497602 w 4519987"/>
                    <a:gd name="connsiteY45" fmla="*/ 4143375 h 4496940"/>
                    <a:gd name="connsiteX46" fmla="*/ 3383302 w 4519987"/>
                    <a:gd name="connsiteY46" fmla="*/ 4210050 h 4496940"/>
                    <a:gd name="connsiteX47" fmla="*/ 3335677 w 4519987"/>
                    <a:gd name="connsiteY47" fmla="*/ 4238625 h 4496940"/>
                    <a:gd name="connsiteX48" fmla="*/ 3288052 w 4519987"/>
                    <a:gd name="connsiteY48" fmla="*/ 4248150 h 4496940"/>
                    <a:gd name="connsiteX49" fmla="*/ 3240427 w 4519987"/>
                    <a:gd name="connsiteY49" fmla="*/ 4267200 h 4496940"/>
                    <a:gd name="connsiteX50" fmla="*/ 3068977 w 4519987"/>
                    <a:gd name="connsiteY50" fmla="*/ 4286250 h 4496940"/>
                    <a:gd name="connsiteX51" fmla="*/ 2935627 w 4519987"/>
                    <a:gd name="connsiteY51" fmla="*/ 4333875 h 4496940"/>
                    <a:gd name="connsiteX52" fmla="*/ 2811802 w 4519987"/>
                    <a:gd name="connsiteY52" fmla="*/ 4371975 h 4496940"/>
                    <a:gd name="connsiteX53" fmla="*/ 2745127 w 4519987"/>
                    <a:gd name="connsiteY53" fmla="*/ 4410075 h 4496940"/>
                    <a:gd name="connsiteX54" fmla="*/ 2697502 w 4519987"/>
                    <a:gd name="connsiteY54" fmla="*/ 4429125 h 4496940"/>
                    <a:gd name="connsiteX55" fmla="*/ 2640352 w 4519987"/>
                    <a:gd name="connsiteY55" fmla="*/ 4457700 h 4496940"/>
                    <a:gd name="connsiteX56" fmla="*/ 2583202 w 4519987"/>
                    <a:gd name="connsiteY56" fmla="*/ 4467225 h 4496940"/>
                    <a:gd name="connsiteX57" fmla="*/ 2545102 w 4519987"/>
                    <a:gd name="connsiteY57" fmla="*/ 4486275 h 4496940"/>
                    <a:gd name="connsiteX58" fmla="*/ 2306977 w 4519987"/>
                    <a:gd name="connsiteY58" fmla="*/ 4476750 h 4496940"/>
                    <a:gd name="connsiteX59" fmla="*/ 2202202 w 4519987"/>
                    <a:gd name="connsiteY59" fmla="*/ 4457700 h 4496940"/>
                    <a:gd name="connsiteX60" fmla="*/ 2126002 w 4519987"/>
                    <a:gd name="connsiteY60" fmla="*/ 4429125 h 4496940"/>
                    <a:gd name="connsiteX61" fmla="*/ 1935502 w 4519987"/>
                    <a:gd name="connsiteY61" fmla="*/ 4400550 h 4496940"/>
                    <a:gd name="connsiteX62" fmla="*/ 1821202 w 4519987"/>
                    <a:gd name="connsiteY62" fmla="*/ 4371975 h 4496940"/>
                    <a:gd name="connsiteX63" fmla="*/ 1754527 w 4519987"/>
                    <a:gd name="connsiteY63" fmla="*/ 4352925 h 4496940"/>
                    <a:gd name="connsiteX64" fmla="*/ 1687852 w 4519987"/>
                    <a:gd name="connsiteY64" fmla="*/ 4343400 h 4496940"/>
                    <a:gd name="connsiteX65" fmla="*/ 1573552 w 4519987"/>
                    <a:gd name="connsiteY65" fmla="*/ 4305300 h 4496940"/>
                    <a:gd name="connsiteX66" fmla="*/ 1402102 w 4519987"/>
                    <a:gd name="connsiteY66" fmla="*/ 4276725 h 4496940"/>
                    <a:gd name="connsiteX67" fmla="*/ 1287802 w 4519987"/>
                    <a:gd name="connsiteY67" fmla="*/ 4229100 h 4496940"/>
                    <a:gd name="connsiteX68" fmla="*/ 1221127 w 4519987"/>
                    <a:gd name="connsiteY68" fmla="*/ 4200525 h 4496940"/>
                    <a:gd name="connsiteX69" fmla="*/ 1144927 w 4519987"/>
                    <a:gd name="connsiteY69" fmla="*/ 4171950 h 4496940"/>
                    <a:gd name="connsiteX70" fmla="*/ 1087777 w 4519987"/>
                    <a:gd name="connsiteY70" fmla="*/ 4143375 h 4496940"/>
                    <a:gd name="connsiteX71" fmla="*/ 1030627 w 4519987"/>
                    <a:gd name="connsiteY71" fmla="*/ 4124325 h 4496940"/>
                    <a:gd name="connsiteX72" fmla="*/ 925852 w 4519987"/>
                    <a:gd name="connsiteY72" fmla="*/ 4067175 h 4496940"/>
                    <a:gd name="connsiteX73" fmla="*/ 830602 w 4519987"/>
                    <a:gd name="connsiteY73" fmla="*/ 3981450 h 4496940"/>
                    <a:gd name="connsiteX74" fmla="*/ 763927 w 4519987"/>
                    <a:gd name="connsiteY74" fmla="*/ 3914775 h 4496940"/>
                    <a:gd name="connsiteX75" fmla="*/ 725827 w 4519987"/>
                    <a:gd name="connsiteY75" fmla="*/ 3876675 h 4496940"/>
                    <a:gd name="connsiteX76" fmla="*/ 697252 w 4519987"/>
                    <a:gd name="connsiteY76" fmla="*/ 3838575 h 4496940"/>
                    <a:gd name="connsiteX77" fmla="*/ 640102 w 4519987"/>
                    <a:gd name="connsiteY77" fmla="*/ 3781425 h 4496940"/>
                    <a:gd name="connsiteX78" fmla="*/ 611527 w 4519987"/>
                    <a:gd name="connsiteY78" fmla="*/ 3733800 h 4496940"/>
                    <a:gd name="connsiteX79" fmla="*/ 554377 w 4519987"/>
                    <a:gd name="connsiteY79" fmla="*/ 3657600 h 4496940"/>
                    <a:gd name="connsiteX80" fmla="*/ 525802 w 4519987"/>
                    <a:gd name="connsiteY80" fmla="*/ 3609975 h 4496940"/>
                    <a:gd name="connsiteX81" fmla="*/ 497227 w 4519987"/>
                    <a:gd name="connsiteY81" fmla="*/ 3552825 h 4496940"/>
                    <a:gd name="connsiteX82" fmla="*/ 440077 w 4519987"/>
                    <a:gd name="connsiteY82" fmla="*/ 3495675 h 4496940"/>
                    <a:gd name="connsiteX83" fmla="*/ 411502 w 4519987"/>
                    <a:gd name="connsiteY83" fmla="*/ 3448050 h 4496940"/>
                    <a:gd name="connsiteX84" fmla="*/ 278152 w 4519987"/>
                    <a:gd name="connsiteY84" fmla="*/ 3257550 h 4496940"/>
                    <a:gd name="connsiteX85" fmla="*/ 249577 w 4519987"/>
                    <a:gd name="connsiteY85" fmla="*/ 3200400 h 4496940"/>
                    <a:gd name="connsiteX86" fmla="*/ 240052 w 4519987"/>
                    <a:gd name="connsiteY86" fmla="*/ 3162300 h 4496940"/>
                    <a:gd name="connsiteX87" fmla="*/ 221002 w 4519987"/>
                    <a:gd name="connsiteY87" fmla="*/ 3105150 h 4496940"/>
                    <a:gd name="connsiteX88" fmla="*/ 173377 w 4519987"/>
                    <a:gd name="connsiteY88" fmla="*/ 3019425 h 4496940"/>
                    <a:gd name="connsiteX89" fmla="*/ 144802 w 4519987"/>
                    <a:gd name="connsiteY89" fmla="*/ 2924175 h 4496940"/>
                    <a:gd name="connsiteX90" fmla="*/ 68602 w 4519987"/>
                    <a:gd name="connsiteY90" fmla="*/ 2724150 h 4496940"/>
                    <a:gd name="connsiteX91" fmla="*/ 49552 w 4519987"/>
                    <a:gd name="connsiteY91" fmla="*/ 2638425 h 4496940"/>
                    <a:gd name="connsiteX92" fmla="*/ 40027 w 4519987"/>
                    <a:gd name="connsiteY92" fmla="*/ 2562225 h 4496940"/>
                    <a:gd name="connsiteX93" fmla="*/ 30502 w 4519987"/>
                    <a:gd name="connsiteY93" fmla="*/ 2514600 h 4496940"/>
                    <a:gd name="connsiteX94" fmla="*/ 11452 w 4519987"/>
                    <a:gd name="connsiteY94" fmla="*/ 2400300 h 4496940"/>
                    <a:gd name="connsiteX95" fmla="*/ 20977 w 4519987"/>
                    <a:gd name="connsiteY95" fmla="*/ 1905000 h 4496940"/>
                    <a:gd name="connsiteX96" fmla="*/ 30502 w 4519987"/>
                    <a:gd name="connsiteY96" fmla="*/ 1838325 h 4496940"/>
                    <a:gd name="connsiteX97" fmla="*/ 49552 w 4519987"/>
                    <a:gd name="connsiteY97" fmla="*/ 1781175 h 4496940"/>
                    <a:gd name="connsiteX98" fmla="*/ 59077 w 4519987"/>
                    <a:gd name="connsiteY98" fmla="*/ 1743075 h 4496940"/>
                    <a:gd name="connsiteX99" fmla="*/ 78127 w 4519987"/>
                    <a:gd name="connsiteY99" fmla="*/ 1685925 h 4496940"/>
                    <a:gd name="connsiteX100" fmla="*/ 87652 w 4519987"/>
                    <a:gd name="connsiteY100" fmla="*/ 1638300 h 4496940"/>
                    <a:gd name="connsiteX101" fmla="*/ 106702 w 4519987"/>
                    <a:gd name="connsiteY101" fmla="*/ 1590675 h 4496940"/>
                    <a:gd name="connsiteX102" fmla="*/ 135277 w 4519987"/>
                    <a:gd name="connsiteY102" fmla="*/ 1504950 h 4496940"/>
                    <a:gd name="connsiteX103" fmla="*/ 154327 w 4519987"/>
                    <a:gd name="connsiteY103" fmla="*/ 1419225 h 4496940"/>
                    <a:gd name="connsiteX104" fmla="*/ 230527 w 4519987"/>
                    <a:gd name="connsiteY104" fmla="*/ 1276350 h 4496940"/>
                    <a:gd name="connsiteX105" fmla="*/ 240052 w 4519987"/>
                    <a:gd name="connsiteY105" fmla="*/ 1247775 h 4496940"/>
                    <a:gd name="connsiteX106" fmla="*/ 268627 w 4519987"/>
                    <a:gd name="connsiteY106" fmla="*/ 1200150 h 4496940"/>
                    <a:gd name="connsiteX107" fmla="*/ 287677 w 4519987"/>
                    <a:gd name="connsiteY107" fmla="*/ 1152525 h 4496940"/>
                    <a:gd name="connsiteX108" fmla="*/ 316252 w 4519987"/>
                    <a:gd name="connsiteY108" fmla="*/ 1114425 h 4496940"/>
                    <a:gd name="connsiteX109" fmla="*/ 363877 w 4519987"/>
                    <a:gd name="connsiteY109" fmla="*/ 1038225 h 4496940"/>
                    <a:gd name="connsiteX110" fmla="*/ 382927 w 4519987"/>
                    <a:gd name="connsiteY110" fmla="*/ 1009650 h 4496940"/>
                    <a:gd name="connsiteX111" fmla="*/ 440077 w 4519987"/>
                    <a:gd name="connsiteY111" fmla="*/ 904875 h 4496940"/>
                    <a:gd name="connsiteX112" fmla="*/ 478177 w 4519987"/>
                    <a:gd name="connsiteY112" fmla="*/ 857250 h 4496940"/>
                    <a:gd name="connsiteX113" fmla="*/ 497227 w 4519987"/>
                    <a:gd name="connsiteY113" fmla="*/ 828675 h 4496940"/>
                    <a:gd name="connsiteX114" fmla="*/ 535327 w 4519987"/>
                    <a:gd name="connsiteY114" fmla="*/ 800100 h 4496940"/>
                    <a:gd name="connsiteX115" fmla="*/ 602002 w 4519987"/>
                    <a:gd name="connsiteY115" fmla="*/ 733425 h 4496940"/>
                    <a:gd name="connsiteX116" fmla="*/ 668677 w 4519987"/>
                    <a:gd name="connsiteY116" fmla="*/ 676275 h 4496940"/>
                    <a:gd name="connsiteX117" fmla="*/ 697252 w 4519987"/>
                    <a:gd name="connsiteY117" fmla="*/ 657225 h 4496940"/>
                    <a:gd name="connsiteX118" fmla="*/ 840127 w 4519987"/>
                    <a:gd name="connsiteY118" fmla="*/ 533400 h 4496940"/>
                    <a:gd name="connsiteX119" fmla="*/ 887752 w 4519987"/>
                    <a:gd name="connsiteY119" fmla="*/ 504825 h 4496940"/>
                    <a:gd name="connsiteX120" fmla="*/ 1167152 w 4519987"/>
                    <a:gd name="connsiteY120" fmla="*/ 311150 h 4496940"/>
                    <a:gd name="connsiteX121" fmla="*/ 1268752 w 4519987"/>
                    <a:gd name="connsiteY121" fmla="*/ 285750 h 4496940"/>
                    <a:gd name="connsiteX122" fmla="*/ 1411627 w 4519987"/>
                    <a:gd name="connsiteY122" fmla="*/ 190500 h 4496940"/>
                    <a:gd name="connsiteX123" fmla="*/ 1449727 w 4519987"/>
                    <a:gd name="connsiteY123" fmla="*/ 161925 h 4496940"/>
                    <a:gd name="connsiteX124" fmla="*/ 1525927 w 4519987"/>
                    <a:gd name="connsiteY124" fmla="*/ 152400 h 4496940"/>
                    <a:gd name="connsiteX125" fmla="*/ 1583077 w 4519987"/>
                    <a:gd name="connsiteY125" fmla="*/ 142875 h 4496940"/>
                    <a:gd name="connsiteX126" fmla="*/ 1716427 w 4519987"/>
                    <a:gd name="connsiteY126" fmla="*/ 123825 h 4496940"/>
                    <a:gd name="connsiteX127" fmla="*/ 1811677 w 4519987"/>
                    <a:gd name="connsiteY127" fmla="*/ 114300 h 4496940"/>
                    <a:gd name="connsiteX128" fmla="*/ 1859302 w 4519987"/>
                    <a:gd name="connsiteY128" fmla="*/ 104775 h 4496940"/>
                    <a:gd name="connsiteX129" fmla="*/ 1916452 w 4519987"/>
                    <a:gd name="connsiteY129" fmla="*/ 95250 h 4496940"/>
                    <a:gd name="connsiteX130" fmla="*/ 2030752 w 4519987"/>
                    <a:gd name="connsiteY130" fmla="*/ 66675 h 4496940"/>
                    <a:gd name="connsiteX131" fmla="*/ 2097427 w 4519987"/>
                    <a:gd name="connsiteY131" fmla="*/ 47625 h 4496940"/>
                    <a:gd name="connsiteX132" fmla="*/ 2164102 w 4519987"/>
                    <a:gd name="connsiteY132" fmla="*/ 38100 h 4496940"/>
                    <a:gd name="connsiteX133" fmla="*/ 2392702 w 4519987"/>
                    <a:gd name="connsiteY13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659527 w 4519987"/>
                    <a:gd name="connsiteY39" fmla="*/ 3971925 h 4496940"/>
                    <a:gd name="connsiteX40" fmla="*/ 3630952 w 4519987"/>
                    <a:gd name="connsiteY40" fmla="*/ 4010025 h 4496940"/>
                    <a:gd name="connsiteX41" fmla="*/ 3621427 w 4519987"/>
                    <a:gd name="connsiteY41" fmla="*/ 4038600 h 4496940"/>
                    <a:gd name="connsiteX42" fmla="*/ 3554752 w 4519987"/>
                    <a:gd name="connsiteY42" fmla="*/ 4095750 h 4496940"/>
                    <a:gd name="connsiteX43" fmla="*/ 3516652 w 4519987"/>
                    <a:gd name="connsiteY43" fmla="*/ 4114800 h 4496940"/>
                    <a:gd name="connsiteX44" fmla="*/ 3497602 w 4519987"/>
                    <a:gd name="connsiteY44" fmla="*/ 4143375 h 4496940"/>
                    <a:gd name="connsiteX45" fmla="*/ 3383302 w 4519987"/>
                    <a:gd name="connsiteY45" fmla="*/ 4210050 h 4496940"/>
                    <a:gd name="connsiteX46" fmla="*/ 3335677 w 4519987"/>
                    <a:gd name="connsiteY46" fmla="*/ 4238625 h 4496940"/>
                    <a:gd name="connsiteX47" fmla="*/ 3288052 w 4519987"/>
                    <a:gd name="connsiteY47" fmla="*/ 4248150 h 4496940"/>
                    <a:gd name="connsiteX48" fmla="*/ 3240427 w 4519987"/>
                    <a:gd name="connsiteY48" fmla="*/ 4267200 h 4496940"/>
                    <a:gd name="connsiteX49" fmla="*/ 3068977 w 4519987"/>
                    <a:gd name="connsiteY49" fmla="*/ 4286250 h 4496940"/>
                    <a:gd name="connsiteX50" fmla="*/ 2935627 w 4519987"/>
                    <a:gd name="connsiteY50" fmla="*/ 4333875 h 4496940"/>
                    <a:gd name="connsiteX51" fmla="*/ 2811802 w 4519987"/>
                    <a:gd name="connsiteY51" fmla="*/ 4371975 h 4496940"/>
                    <a:gd name="connsiteX52" fmla="*/ 2745127 w 4519987"/>
                    <a:gd name="connsiteY52" fmla="*/ 4410075 h 4496940"/>
                    <a:gd name="connsiteX53" fmla="*/ 2697502 w 4519987"/>
                    <a:gd name="connsiteY53" fmla="*/ 4429125 h 4496940"/>
                    <a:gd name="connsiteX54" fmla="*/ 2640352 w 4519987"/>
                    <a:gd name="connsiteY54" fmla="*/ 4457700 h 4496940"/>
                    <a:gd name="connsiteX55" fmla="*/ 2583202 w 4519987"/>
                    <a:gd name="connsiteY55" fmla="*/ 4467225 h 4496940"/>
                    <a:gd name="connsiteX56" fmla="*/ 2545102 w 4519987"/>
                    <a:gd name="connsiteY56" fmla="*/ 4486275 h 4496940"/>
                    <a:gd name="connsiteX57" fmla="*/ 2306977 w 4519987"/>
                    <a:gd name="connsiteY57" fmla="*/ 4476750 h 4496940"/>
                    <a:gd name="connsiteX58" fmla="*/ 2202202 w 4519987"/>
                    <a:gd name="connsiteY58" fmla="*/ 4457700 h 4496940"/>
                    <a:gd name="connsiteX59" fmla="*/ 2126002 w 4519987"/>
                    <a:gd name="connsiteY59" fmla="*/ 4429125 h 4496940"/>
                    <a:gd name="connsiteX60" fmla="*/ 1935502 w 4519987"/>
                    <a:gd name="connsiteY60" fmla="*/ 4400550 h 4496940"/>
                    <a:gd name="connsiteX61" fmla="*/ 1821202 w 4519987"/>
                    <a:gd name="connsiteY61" fmla="*/ 4371975 h 4496940"/>
                    <a:gd name="connsiteX62" fmla="*/ 1754527 w 4519987"/>
                    <a:gd name="connsiteY62" fmla="*/ 4352925 h 4496940"/>
                    <a:gd name="connsiteX63" fmla="*/ 1687852 w 4519987"/>
                    <a:gd name="connsiteY63" fmla="*/ 4343400 h 4496940"/>
                    <a:gd name="connsiteX64" fmla="*/ 1573552 w 4519987"/>
                    <a:gd name="connsiteY64" fmla="*/ 4305300 h 4496940"/>
                    <a:gd name="connsiteX65" fmla="*/ 1402102 w 4519987"/>
                    <a:gd name="connsiteY65" fmla="*/ 4276725 h 4496940"/>
                    <a:gd name="connsiteX66" fmla="*/ 1287802 w 4519987"/>
                    <a:gd name="connsiteY66" fmla="*/ 4229100 h 4496940"/>
                    <a:gd name="connsiteX67" fmla="*/ 1221127 w 4519987"/>
                    <a:gd name="connsiteY67" fmla="*/ 4200525 h 4496940"/>
                    <a:gd name="connsiteX68" fmla="*/ 1144927 w 4519987"/>
                    <a:gd name="connsiteY68" fmla="*/ 4171950 h 4496940"/>
                    <a:gd name="connsiteX69" fmla="*/ 1087777 w 4519987"/>
                    <a:gd name="connsiteY69" fmla="*/ 4143375 h 4496940"/>
                    <a:gd name="connsiteX70" fmla="*/ 1030627 w 4519987"/>
                    <a:gd name="connsiteY70" fmla="*/ 4124325 h 4496940"/>
                    <a:gd name="connsiteX71" fmla="*/ 925852 w 4519987"/>
                    <a:gd name="connsiteY71" fmla="*/ 4067175 h 4496940"/>
                    <a:gd name="connsiteX72" fmla="*/ 830602 w 4519987"/>
                    <a:gd name="connsiteY72" fmla="*/ 3981450 h 4496940"/>
                    <a:gd name="connsiteX73" fmla="*/ 763927 w 4519987"/>
                    <a:gd name="connsiteY73" fmla="*/ 3914775 h 4496940"/>
                    <a:gd name="connsiteX74" fmla="*/ 725827 w 4519987"/>
                    <a:gd name="connsiteY74" fmla="*/ 3876675 h 4496940"/>
                    <a:gd name="connsiteX75" fmla="*/ 697252 w 4519987"/>
                    <a:gd name="connsiteY75" fmla="*/ 3838575 h 4496940"/>
                    <a:gd name="connsiteX76" fmla="*/ 640102 w 4519987"/>
                    <a:gd name="connsiteY76" fmla="*/ 3781425 h 4496940"/>
                    <a:gd name="connsiteX77" fmla="*/ 611527 w 4519987"/>
                    <a:gd name="connsiteY77" fmla="*/ 3733800 h 4496940"/>
                    <a:gd name="connsiteX78" fmla="*/ 554377 w 4519987"/>
                    <a:gd name="connsiteY78" fmla="*/ 3657600 h 4496940"/>
                    <a:gd name="connsiteX79" fmla="*/ 525802 w 4519987"/>
                    <a:gd name="connsiteY79" fmla="*/ 3609975 h 4496940"/>
                    <a:gd name="connsiteX80" fmla="*/ 497227 w 4519987"/>
                    <a:gd name="connsiteY80" fmla="*/ 3552825 h 4496940"/>
                    <a:gd name="connsiteX81" fmla="*/ 440077 w 4519987"/>
                    <a:gd name="connsiteY81" fmla="*/ 3495675 h 4496940"/>
                    <a:gd name="connsiteX82" fmla="*/ 411502 w 4519987"/>
                    <a:gd name="connsiteY82" fmla="*/ 3448050 h 4496940"/>
                    <a:gd name="connsiteX83" fmla="*/ 278152 w 4519987"/>
                    <a:gd name="connsiteY83" fmla="*/ 3257550 h 4496940"/>
                    <a:gd name="connsiteX84" fmla="*/ 249577 w 4519987"/>
                    <a:gd name="connsiteY84" fmla="*/ 3200400 h 4496940"/>
                    <a:gd name="connsiteX85" fmla="*/ 240052 w 4519987"/>
                    <a:gd name="connsiteY85" fmla="*/ 3162300 h 4496940"/>
                    <a:gd name="connsiteX86" fmla="*/ 221002 w 4519987"/>
                    <a:gd name="connsiteY86" fmla="*/ 3105150 h 4496940"/>
                    <a:gd name="connsiteX87" fmla="*/ 173377 w 4519987"/>
                    <a:gd name="connsiteY87" fmla="*/ 3019425 h 4496940"/>
                    <a:gd name="connsiteX88" fmla="*/ 144802 w 4519987"/>
                    <a:gd name="connsiteY88" fmla="*/ 2924175 h 4496940"/>
                    <a:gd name="connsiteX89" fmla="*/ 68602 w 4519987"/>
                    <a:gd name="connsiteY89" fmla="*/ 2724150 h 4496940"/>
                    <a:gd name="connsiteX90" fmla="*/ 49552 w 4519987"/>
                    <a:gd name="connsiteY90" fmla="*/ 2638425 h 4496940"/>
                    <a:gd name="connsiteX91" fmla="*/ 40027 w 4519987"/>
                    <a:gd name="connsiteY91" fmla="*/ 2562225 h 4496940"/>
                    <a:gd name="connsiteX92" fmla="*/ 30502 w 4519987"/>
                    <a:gd name="connsiteY92" fmla="*/ 2514600 h 4496940"/>
                    <a:gd name="connsiteX93" fmla="*/ 11452 w 4519987"/>
                    <a:gd name="connsiteY93" fmla="*/ 2400300 h 4496940"/>
                    <a:gd name="connsiteX94" fmla="*/ 20977 w 4519987"/>
                    <a:gd name="connsiteY94" fmla="*/ 1905000 h 4496940"/>
                    <a:gd name="connsiteX95" fmla="*/ 30502 w 4519987"/>
                    <a:gd name="connsiteY95" fmla="*/ 1838325 h 4496940"/>
                    <a:gd name="connsiteX96" fmla="*/ 49552 w 4519987"/>
                    <a:gd name="connsiteY96" fmla="*/ 1781175 h 4496940"/>
                    <a:gd name="connsiteX97" fmla="*/ 59077 w 4519987"/>
                    <a:gd name="connsiteY97" fmla="*/ 1743075 h 4496940"/>
                    <a:gd name="connsiteX98" fmla="*/ 78127 w 4519987"/>
                    <a:gd name="connsiteY98" fmla="*/ 1685925 h 4496940"/>
                    <a:gd name="connsiteX99" fmla="*/ 87652 w 4519987"/>
                    <a:gd name="connsiteY99" fmla="*/ 1638300 h 4496940"/>
                    <a:gd name="connsiteX100" fmla="*/ 106702 w 4519987"/>
                    <a:gd name="connsiteY100" fmla="*/ 1590675 h 4496940"/>
                    <a:gd name="connsiteX101" fmla="*/ 135277 w 4519987"/>
                    <a:gd name="connsiteY101" fmla="*/ 1504950 h 4496940"/>
                    <a:gd name="connsiteX102" fmla="*/ 154327 w 4519987"/>
                    <a:gd name="connsiteY102" fmla="*/ 1419225 h 4496940"/>
                    <a:gd name="connsiteX103" fmla="*/ 230527 w 4519987"/>
                    <a:gd name="connsiteY103" fmla="*/ 1276350 h 4496940"/>
                    <a:gd name="connsiteX104" fmla="*/ 240052 w 4519987"/>
                    <a:gd name="connsiteY104" fmla="*/ 1247775 h 4496940"/>
                    <a:gd name="connsiteX105" fmla="*/ 268627 w 4519987"/>
                    <a:gd name="connsiteY105" fmla="*/ 1200150 h 4496940"/>
                    <a:gd name="connsiteX106" fmla="*/ 287677 w 4519987"/>
                    <a:gd name="connsiteY106" fmla="*/ 1152525 h 4496940"/>
                    <a:gd name="connsiteX107" fmla="*/ 316252 w 4519987"/>
                    <a:gd name="connsiteY107" fmla="*/ 1114425 h 4496940"/>
                    <a:gd name="connsiteX108" fmla="*/ 363877 w 4519987"/>
                    <a:gd name="connsiteY108" fmla="*/ 1038225 h 4496940"/>
                    <a:gd name="connsiteX109" fmla="*/ 382927 w 4519987"/>
                    <a:gd name="connsiteY109" fmla="*/ 1009650 h 4496940"/>
                    <a:gd name="connsiteX110" fmla="*/ 440077 w 4519987"/>
                    <a:gd name="connsiteY110" fmla="*/ 904875 h 4496940"/>
                    <a:gd name="connsiteX111" fmla="*/ 478177 w 4519987"/>
                    <a:gd name="connsiteY111" fmla="*/ 857250 h 4496940"/>
                    <a:gd name="connsiteX112" fmla="*/ 497227 w 4519987"/>
                    <a:gd name="connsiteY112" fmla="*/ 828675 h 4496940"/>
                    <a:gd name="connsiteX113" fmla="*/ 535327 w 4519987"/>
                    <a:gd name="connsiteY113" fmla="*/ 800100 h 4496940"/>
                    <a:gd name="connsiteX114" fmla="*/ 602002 w 4519987"/>
                    <a:gd name="connsiteY114" fmla="*/ 733425 h 4496940"/>
                    <a:gd name="connsiteX115" fmla="*/ 668677 w 4519987"/>
                    <a:gd name="connsiteY115" fmla="*/ 676275 h 4496940"/>
                    <a:gd name="connsiteX116" fmla="*/ 697252 w 4519987"/>
                    <a:gd name="connsiteY116" fmla="*/ 657225 h 4496940"/>
                    <a:gd name="connsiteX117" fmla="*/ 840127 w 4519987"/>
                    <a:gd name="connsiteY117" fmla="*/ 533400 h 4496940"/>
                    <a:gd name="connsiteX118" fmla="*/ 887752 w 4519987"/>
                    <a:gd name="connsiteY118" fmla="*/ 504825 h 4496940"/>
                    <a:gd name="connsiteX119" fmla="*/ 1167152 w 4519987"/>
                    <a:gd name="connsiteY119" fmla="*/ 311150 h 4496940"/>
                    <a:gd name="connsiteX120" fmla="*/ 1268752 w 4519987"/>
                    <a:gd name="connsiteY120" fmla="*/ 285750 h 4496940"/>
                    <a:gd name="connsiteX121" fmla="*/ 1411627 w 4519987"/>
                    <a:gd name="connsiteY121" fmla="*/ 190500 h 4496940"/>
                    <a:gd name="connsiteX122" fmla="*/ 1449727 w 4519987"/>
                    <a:gd name="connsiteY122" fmla="*/ 161925 h 4496940"/>
                    <a:gd name="connsiteX123" fmla="*/ 1525927 w 4519987"/>
                    <a:gd name="connsiteY123" fmla="*/ 152400 h 4496940"/>
                    <a:gd name="connsiteX124" fmla="*/ 1583077 w 4519987"/>
                    <a:gd name="connsiteY124" fmla="*/ 142875 h 4496940"/>
                    <a:gd name="connsiteX125" fmla="*/ 1716427 w 4519987"/>
                    <a:gd name="connsiteY125" fmla="*/ 123825 h 4496940"/>
                    <a:gd name="connsiteX126" fmla="*/ 1811677 w 4519987"/>
                    <a:gd name="connsiteY126" fmla="*/ 114300 h 4496940"/>
                    <a:gd name="connsiteX127" fmla="*/ 1859302 w 4519987"/>
                    <a:gd name="connsiteY127" fmla="*/ 104775 h 4496940"/>
                    <a:gd name="connsiteX128" fmla="*/ 1916452 w 4519987"/>
                    <a:gd name="connsiteY128" fmla="*/ 95250 h 4496940"/>
                    <a:gd name="connsiteX129" fmla="*/ 2030752 w 4519987"/>
                    <a:gd name="connsiteY129" fmla="*/ 66675 h 4496940"/>
                    <a:gd name="connsiteX130" fmla="*/ 2097427 w 4519987"/>
                    <a:gd name="connsiteY130" fmla="*/ 47625 h 4496940"/>
                    <a:gd name="connsiteX131" fmla="*/ 2164102 w 4519987"/>
                    <a:gd name="connsiteY131" fmla="*/ 38100 h 4496940"/>
                    <a:gd name="connsiteX132" fmla="*/ 2392702 w 4519987"/>
                    <a:gd name="connsiteY13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659527 w 4519987"/>
                    <a:gd name="connsiteY38" fmla="*/ 3971925 h 4496940"/>
                    <a:gd name="connsiteX39" fmla="*/ 3630952 w 4519987"/>
                    <a:gd name="connsiteY39" fmla="*/ 4010025 h 4496940"/>
                    <a:gd name="connsiteX40" fmla="*/ 3621427 w 4519987"/>
                    <a:gd name="connsiteY40" fmla="*/ 4038600 h 4496940"/>
                    <a:gd name="connsiteX41" fmla="*/ 3554752 w 4519987"/>
                    <a:gd name="connsiteY41" fmla="*/ 4095750 h 4496940"/>
                    <a:gd name="connsiteX42" fmla="*/ 3516652 w 4519987"/>
                    <a:gd name="connsiteY42" fmla="*/ 4114800 h 4496940"/>
                    <a:gd name="connsiteX43" fmla="*/ 3497602 w 4519987"/>
                    <a:gd name="connsiteY43" fmla="*/ 4143375 h 4496940"/>
                    <a:gd name="connsiteX44" fmla="*/ 3383302 w 4519987"/>
                    <a:gd name="connsiteY44" fmla="*/ 4210050 h 4496940"/>
                    <a:gd name="connsiteX45" fmla="*/ 3335677 w 4519987"/>
                    <a:gd name="connsiteY45" fmla="*/ 4238625 h 4496940"/>
                    <a:gd name="connsiteX46" fmla="*/ 3288052 w 4519987"/>
                    <a:gd name="connsiteY46" fmla="*/ 4248150 h 4496940"/>
                    <a:gd name="connsiteX47" fmla="*/ 3240427 w 4519987"/>
                    <a:gd name="connsiteY47" fmla="*/ 4267200 h 4496940"/>
                    <a:gd name="connsiteX48" fmla="*/ 3068977 w 4519987"/>
                    <a:gd name="connsiteY48" fmla="*/ 4286250 h 4496940"/>
                    <a:gd name="connsiteX49" fmla="*/ 2935627 w 4519987"/>
                    <a:gd name="connsiteY49" fmla="*/ 4333875 h 4496940"/>
                    <a:gd name="connsiteX50" fmla="*/ 2811802 w 4519987"/>
                    <a:gd name="connsiteY50" fmla="*/ 4371975 h 4496940"/>
                    <a:gd name="connsiteX51" fmla="*/ 2745127 w 4519987"/>
                    <a:gd name="connsiteY51" fmla="*/ 4410075 h 4496940"/>
                    <a:gd name="connsiteX52" fmla="*/ 2697502 w 4519987"/>
                    <a:gd name="connsiteY52" fmla="*/ 4429125 h 4496940"/>
                    <a:gd name="connsiteX53" fmla="*/ 2640352 w 4519987"/>
                    <a:gd name="connsiteY53" fmla="*/ 4457700 h 4496940"/>
                    <a:gd name="connsiteX54" fmla="*/ 2583202 w 4519987"/>
                    <a:gd name="connsiteY54" fmla="*/ 4467225 h 4496940"/>
                    <a:gd name="connsiteX55" fmla="*/ 2545102 w 4519987"/>
                    <a:gd name="connsiteY55" fmla="*/ 4486275 h 4496940"/>
                    <a:gd name="connsiteX56" fmla="*/ 2306977 w 4519987"/>
                    <a:gd name="connsiteY56" fmla="*/ 4476750 h 4496940"/>
                    <a:gd name="connsiteX57" fmla="*/ 2202202 w 4519987"/>
                    <a:gd name="connsiteY57" fmla="*/ 4457700 h 4496940"/>
                    <a:gd name="connsiteX58" fmla="*/ 2126002 w 4519987"/>
                    <a:gd name="connsiteY58" fmla="*/ 4429125 h 4496940"/>
                    <a:gd name="connsiteX59" fmla="*/ 1935502 w 4519987"/>
                    <a:gd name="connsiteY59" fmla="*/ 4400550 h 4496940"/>
                    <a:gd name="connsiteX60" fmla="*/ 1821202 w 4519987"/>
                    <a:gd name="connsiteY60" fmla="*/ 4371975 h 4496940"/>
                    <a:gd name="connsiteX61" fmla="*/ 1754527 w 4519987"/>
                    <a:gd name="connsiteY61" fmla="*/ 4352925 h 4496940"/>
                    <a:gd name="connsiteX62" fmla="*/ 1687852 w 4519987"/>
                    <a:gd name="connsiteY62" fmla="*/ 4343400 h 4496940"/>
                    <a:gd name="connsiteX63" fmla="*/ 1573552 w 4519987"/>
                    <a:gd name="connsiteY63" fmla="*/ 4305300 h 4496940"/>
                    <a:gd name="connsiteX64" fmla="*/ 1402102 w 4519987"/>
                    <a:gd name="connsiteY64" fmla="*/ 4276725 h 4496940"/>
                    <a:gd name="connsiteX65" fmla="*/ 1287802 w 4519987"/>
                    <a:gd name="connsiteY65" fmla="*/ 4229100 h 4496940"/>
                    <a:gd name="connsiteX66" fmla="*/ 1221127 w 4519987"/>
                    <a:gd name="connsiteY66" fmla="*/ 4200525 h 4496940"/>
                    <a:gd name="connsiteX67" fmla="*/ 1144927 w 4519987"/>
                    <a:gd name="connsiteY67" fmla="*/ 4171950 h 4496940"/>
                    <a:gd name="connsiteX68" fmla="*/ 1087777 w 4519987"/>
                    <a:gd name="connsiteY68" fmla="*/ 4143375 h 4496940"/>
                    <a:gd name="connsiteX69" fmla="*/ 1030627 w 4519987"/>
                    <a:gd name="connsiteY69" fmla="*/ 4124325 h 4496940"/>
                    <a:gd name="connsiteX70" fmla="*/ 925852 w 4519987"/>
                    <a:gd name="connsiteY70" fmla="*/ 4067175 h 4496940"/>
                    <a:gd name="connsiteX71" fmla="*/ 830602 w 4519987"/>
                    <a:gd name="connsiteY71" fmla="*/ 3981450 h 4496940"/>
                    <a:gd name="connsiteX72" fmla="*/ 763927 w 4519987"/>
                    <a:gd name="connsiteY72" fmla="*/ 3914775 h 4496940"/>
                    <a:gd name="connsiteX73" fmla="*/ 725827 w 4519987"/>
                    <a:gd name="connsiteY73" fmla="*/ 3876675 h 4496940"/>
                    <a:gd name="connsiteX74" fmla="*/ 697252 w 4519987"/>
                    <a:gd name="connsiteY74" fmla="*/ 3838575 h 4496940"/>
                    <a:gd name="connsiteX75" fmla="*/ 640102 w 4519987"/>
                    <a:gd name="connsiteY75" fmla="*/ 3781425 h 4496940"/>
                    <a:gd name="connsiteX76" fmla="*/ 611527 w 4519987"/>
                    <a:gd name="connsiteY76" fmla="*/ 3733800 h 4496940"/>
                    <a:gd name="connsiteX77" fmla="*/ 554377 w 4519987"/>
                    <a:gd name="connsiteY77" fmla="*/ 3657600 h 4496940"/>
                    <a:gd name="connsiteX78" fmla="*/ 525802 w 4519987"/>
                    <a:gd name="connsiteY78" fmla="*/ 3609975 h 4496940"/>
                    <a:gd name="connsiteX79" fmla="*/ 497227 w 4519987"/>
                    <a:gd name="connsiteY79" fmla="*/ 3552825 h 4496940"/>
                    <a:gd name="connsiteX80" fmla="*/ 440077 w 4519987"/>
                    <a:gd name="connsiteY80" fmla="*/ 3495675 h 4496940"/>
                    <a:gd name="connsiteX81" fmla="*/ 411502 w 4519987"/>
                    <a:gd name="connsiteY81" fmla="*/ 3448050 h 4496940"/>
                    <a:gd name="connsiteX82" fmla="*/ 278152 w 4519987"/>
                    <a:gd name="connsiteY82" fmla="*/ 3257550 h 4496940"/>
                    <a:gd name="connsiteX83" fmla="*/ 249577 w 4519987"/>
                    <a:gd name="connsiteY83" fmla="*/ 3200400 h 4496940"/>
                    <a:gd name="connsiteX84" fmla="*/ 240052 w 4519987"/>
                    <a:gd name="connsiteY84" fmla="*/ 3162300 h 4496940"/>
                    <a:gd name="connsiteX85" fmla="*/ 221002 w 4519987"/>
                    <a:gd name="connsiteY85" fmla="*/ 3105150 h 4496940"/>
                    <a:gd name="connsiteX86" fmla="*/ 173377 w 4519987"/>
                    <a:gd name="connsiteY86" fmla="*/ 3019425 h 4496940"/>
                    <a:gd name="connsiteX87" fmla="*/ 144802 w 4519987"/>
                    <a:gd name="connsiteY87" fmla="*/ 2924175 h 4496940"/>
                    <a:gd name="connsiteX88" fmla="*/ 68602 w 4519987"/>
                    <a:gd name="connsiteY88" fmla="*/ 2724150 h 4496940"/>
                    <a:gd name="connsiteX89" fmla="*/ 49552 w 4519987"/>
                    <a:gd name="connsiteY89" fmla="*/ 2638425 h 4496940"/>
                    <a:gd name="connsiteX90" fmla="*/ 40027 w 4519987"/>
                    <a:gd name="connsiteY90" fmla="*/ 2562225 h 4496940"/>
                    <a:gd name="connsiteX91" fmla="*/ 30502 w 4519987"/>
                    <a:gd name="connsiteY91" fmla="*/ 2514600 h 4496940"/>
                    <a:gd name="connsiteX92" fmla="*/ 11452 w 4519987"/>
                    <a:gd name="connsiteY92" fmla="*/ 2400300 h 4496940"/>
                    <a:gd name="connsiteX93" fmla="*/ 20977 w 4519987"/>
                    <a:gd name="connsiteY93" fmla="*/ 1905000 h 4496940"/>
                    <a:gd name="connsiteX94" fmla="*/ 30502 w 4519987"/>
                    <a:gd name="connsiteY94" fmla="*/ 1838325 h 4496940"/>
                    <a:gd name="connsiteX95" fmla="*/ 49552 w 4519987"/>
                    <a:gd name="connsiteY95" fmla="*/ 1781175 h 4496940"/>
                    <a:gd name="connsiteX96" fmla="*/ 59077 w 4519987"/>
                    <a:gd name="connsiteY96" fmla="*/ 1743075 h 4496940"/>
                    <a:gd name="connsiteX97" fmla="*/ 78127 w 4519987"/>
                    <a:gd name="connsiteY97" fmla="*/ 1685925 h 4496940"/>
                    <a:gd name="connsiteX98" fmla="*/ 87652 w 4519987"/>
                    <a:gd name="connsiteY98" fmla="*/ 1638300 h 4496940"/>
                    <a:gd name="connsiteX99" fmla="*/ 106702 w 4519987"/>
                    <a:gd name="connsiteY99" fmla="*/ 1590675 h 4496940"/>
                    <a:gd name="connsiteX100" fmla="*/ 135277 w 4519987"/>
                    <a:gd name="connsiteY100" fmla="*/ 1504950 h 4496940"/>
                    <a:gd name="connsiteX101" fmla="*/ 154327 w 4519987"/>
                    <a:gd name="connsiteY101" fmla="*/ 1419225 h 4496940"/>
                    <a:gd name="connsiteX102" fmla="*/ 230527 w 4519987"/>
                    <a:gd name="connsiteY102" fmla="*/ 1276350 h 4496940"/>
                    <a:gd name="connsiteX103" fmla="*/ 240052 w 4519987"/>
                    <a:gd name="connsiteY103" fmla="*/ 1247775 h 4496940"/>
                    <a:gd name="connsiteX104" fmla="*/ 268627 w 4519987"/>
                    <a:gd name="connsiteY104" fmla="*/ 1200150 h 4496940"/>
                    <a:gd name="connsiteX105" fmla="*/ 287677 w 4519987"/>
                    <a:gd name="connsiteY105" fmla="*/ 1152525 h 4496940"/>
                    <a:gd name="connsiteX106" fmla="*/ 316252 w 4519987"/>
                    <a:gd name="connsiteY106" fmla="*/ 1114425 h 4496940"/>
                    <a:gd name="connsiteX107" fmla="*/ 363877 w 4519987"/>
                    <a:gd name="connsiteY107" fmla="*/ 1038225 h 4496940"/>
                    <a:gd name="connsiteX108" fmla="*/ 382927 w 4519987"/>
                    <a:gd name="connsiteY108" fmla="*/ 1009650 h 4496940"/>
                    <a:gd name="connsiteX109" fmla="*/ 440077 w 4519987"/>
                    <a:gd name="connsiteY109" fmla="*/ 904875 h 4496940"/>
                    <a:gd name="connsiteX110" fmla="*/ 478177 w 4519987"/>
                    <a:gd name="connsiteY110" fmla="*/ 857250 h 4496940"/>
                    <a:gd name="connsiteX111" fmla="*/ 497227 w 4519987"/>
                    <a:gd name="connsiteY111" fmla="*/ 828675 h 4496940"/>
                    <a:gd name="connsiteX112" fmla="*/ 535327 w 4519987"/>
                    <a:gd name="connsiteY112" fmla="*/ 800100 h 4496940"/>
                    <a:gd name="connsiteX113" fmla="*/ 602002 w 4519987"/>
                    <a:gd name="connsiteY113" fmla="*/ 733425 h 4496940"/>
                    <a:gd name="connsiteX114" fmla="*/ 668677 w 4519987"/>
                    <a:gd name="connsiteY114" fmla="*/ 676275 h 4496940"/>
                    <a:gd name="connsiteX115" fmla="*/ 697252 w 4519987"/>
                    <a:gd name="connsiteY115" fmla="*/ 657225 h 4496940"/>
                    <a:gd name="connsiteX116" fmla="*/ 840127 w 4519987"/>
                    <a:gd name="connsiteY116" fmla="*/ 533400 h 4496940"/>
                    <a:gd name="connsiteX117" fmla="*/ 887752 w 4519987"/>
                    <a:gd name="connsiteY117" fmla="*/ 504825 h 4496940"/>
                    <a:gd name="connsiteX118" fmla="*/ 1167152 w 4519987"/>
                    <a:gd name="connsiteY118" fmla="*/ 311150 h 4496940"/>
                    <a:gd name="connsiteX119" fmla="*/ 1268752 w 4519987"/>
                    <a:gd name="connsiteY119" fmla="*/ 285750 h 4496940"/>
                    <a:gd name="connsiteX120" fmla="*/ 1411627 w 4519987"/>
                    <a:gd name="connsiteY120" fmla="*/ 190500 h 4496940"/>
                    <a:gd name="connsiteX121" fmla="*/ 1449727 w 4519987"/>
                    <a:gd name="connsiteY121" fmla="*/ 161925 h 4496940"/>
                    <a:gd name="connsiteX122" fmla="*/ 1525927 w 4519987"/>
                    <a:gd name="connsiteY122" fmla="*/ 152400 h 4496940"/>
                    <a:gd name="connsiteX123" fmla="*/ 1583077 w 4519987"/>
                    <a:gd name="connsiteY123" fmla="*/ 142875 h 4496940"/>
                    <a:gd name="connsiteX124" fmla="*/ 1716427 w 4519987"/>
                    <a:gd name="connsiteY124" fmla="*/ 123825 h 4496940"/>
                    <a:gd name="connsiteX125" fmla="*/ 1811677 w 4519987"/>
                    <a:gd name="connsiteY125" fmla="*/ 114300 h 4496940"/>
                    <a:gd name="connsiteX126" fmla="*/ 1859302 w 4519987"/>
                    <a:gd name="connsiteY126" fmla="*/ 104775 h 4496940"/>
                    <a:gd name="connsiteX127" fmla="*/ 1916452 w 4519987"/>
                    <a:gd name="connsiteY127" fmla="*/ 95250 h 4496940"/>
                    <a:gd name="connsiteX128" fmla="*/ 2030752 w 4519987"/>
                    <a:gd name="connsiteY128" fmla="*/ 66675 h 4496940"/>
                    <a:gd name="connsiteX129" fmla="*/ 2097427 w 4519987"/>
                    <a:gd name="connsiteY129" fmla="*/ 47625 h 4496940"/>
                    <a:gd name="connsiteX130" fmla="*/ 2164102 w 4519987"/>
                    <a:gd name="connsiteY130" fmla="*/ 38100 h 4496940"/>
                    <a:gd name="connsiteX131" fmla="*/ 2392702 w 4519987"/>
                    <a:gd name="connsiteY13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88152 w 4519987"/>
                    <a:gd name="connsiteY33" fmla="*/ 3495675 h 4496940"/>
                    <a:gd name="connsiteX34" fmla="*/ 4059577 w 4519987"/>
                    <a:gd name="connsiteY34" fmla="*/ 3533775 h 4496940"/>
                    <a:gd name="connsiteX35" fmla="*/ 4002427 w 4519987"/>
                    <a:gd name="connsiteY35" fmla="*/ 3600450 h 4496940"/>
                    <a:gd name="connsiteX36" fmla="*/ 3954802 w 4519987"/>
                    <a:gd name="connsiteY36" fmla="*/ 3648075 h 4496940"/>
                    <a:gd name="connsiteX37" fmla="*/ 3659527 w 4519987"/>
                    <a:gd name="connsiteY37" fmla="*/ 3971925 h 4496940"/>
                    <a:gd name="connsiteX38" fmla="*/ 3630952 w 4519987"/>
                    <a:gd name="connsiteY38" fmla="*/ 4010025 h 4496940"/>
                    <a:gd name="connsiteX39" fmla="*/ 3621427 w 4519987"/>
                    <a:gd name="connsiteY39" fmla="*/ 4038600 h 4496940"/>
                    <a:gd name="connsiteX40" fmla="*/ 3554752 w 4519987"/>
                    <a:gd name="connsiteY40" fmla="*/ 4095750 h 4496940"/>
                    <a:gd name="connsiteX41" fmla="*/ 3516652 w 4519987"/>
                    <a:gd name="connsiteY41" fmla="*/ 4114800 h 4496940"/>
                    <a:gd name="connsiteX42" fmla="*/ 3497602 w 4519987"/>
                    <a:gd name="connsiteY42" fmla="*/ 4143375 h 4496940"/>
                    <a:gd name="connsiteX43" fmla="*/ 3383302 w 4519987"/>
                    <a:gd name="connsiteY43" fmla="*/ 4210050 h 4496940"/>
                    <a:gd name="connsiteX44" fmla="*/ 3335677 w 4519987"/>
                    <a:gd name="connsiteY44" fmla="*/ 4238625 h 4496940"/>
                    <a:gd name="connsiteX45" fmla="*/ 3288052 w 4519987"/>
                    <a:gd name="connsiteY45" fmla="*/ 4248150 h 4496940"/>
                    <a:gd name="connsiteX46" fmla="*/ 3240427 w 4519987"/>
                    <a:gd name="connsiteY46" fmla="*/ 4267200 h 4496940"/>
                    <a:gd name="connsiteX47" fmla="*/ 3068977 w 4519987"/>
                    <a:gd name="connsiteY47" fmla="*/ 4286250 h 4496940"/>
                    <a:gd name="connsiteX48" fmla="*/ 2935627 w 4519987"/>
                    <a:gd name="connsiteY48" fmla="*/ 4333875 h 4496940"/>
                    <a:gd name="connsiteX49" fmla="*/ 2811802 w 4519987"/>
                    <a:gd name="connsiteY49" fmla="*/ 4371975 h 4496940"/>
                    <a:gd name="connsiteX50" fmla="*/ 2745127 w 4519987"/>
                    <a:gd name="connsiteY50" fmla="*/ 4410075 h 4496940"/>
                    <a:gd name="connsiteX51" fmla="*/ 2697502 w 4519987"/>
                    <a:gd name="connsiteY51" fmla="*/ 4429125 h 4496940"/>
                    <a:gd name="connsiteX52" fmla="*/ 2640352 w 4519987"/>
                    <a:gd name="connsiteY52" fmla="*/ 4457700 h 4496940"/>
                    <a:gd name="connsiteX53" fmla="*/ 2583202 w 4519987"/>
                    <a:gd name="connsiteY53" fmla="*/ 4467225 h 4496940"/>
                    <a:gd name="connsiteX54" fmla="*/ 2545102 w 4519987"/>
                    <a:gd name="connsiteY54" fmla="*/ 4486275 h 4496940"/>
                    <a:gd name="connsiteX55" fmla="*/ 2306977 w 4519987"/>
                    <a:gd name="connsiteY55" fmla="*/ 4476750 h 4496940"/>
                    <a:gd name="connsiteX56" fmla="*/ 2202202 w 4519987"/>
                    <a:gd name="connsiteY56" fmla="*/ 4457700 h 4496940"/>
                    <a:gd name="connsiteX57" fmla="*/ 2126002 w 4519987"/>
                    <a:gd name="connsiteY57" fmla="*/ 4429125 h 4496940"/>
                    <a:gd name="connsiteX58" fmla="*/ 1935502 w 4519987"/>
                    <a:gd name="connsiteY58" fmla="*/ 4400550 h 4496940"/>
                    <a:gd name="connsiteX59" fmla="*/ 1821202 w 4519987"/>
                    <a:gd name="connsiteY59" fmla="*/ 4371975 h 4496940"/>
                    <a:gd name="connsiteX60" fmla="*/ 1754527 w 4519987"/>
                    <a:gd name="connsiteY60" fmla="*/ 4352925 h 4496940"/>
                    <a:gd name="connsiteX61" fmla="*/ 1687852 w 4519987"/>
                    <a:gd name="connsiteY61" fmla="*/ 4343400 h 4496940"/>
                    <a:gd name="connsiteX62" fmla="*/ 1573552 w 4519987"/>
                    <a:gd name="connsiteY62" fmla="*/ 4305300 h 4496940"/>
                    <a:gd name="connsiteX63" fmla="*/ 1402102 w 4519987"/>
                    <a:gd name="connsiteY63" fmla="*/ 4276725 h 4496940"/>
                    <a:gd name="connsiteX64" fmla="*/ 1287802 w 4519987"/>
                    <a:gd name="connsiteY64" fmla="*/ 4229100 h 4496940"/>
                    <a:gd name="connsiteX65" fmla="*/ 1221127 w 4519987"/>
                    <a:gd name="connsiteY65" fmla="*/ 4200525 h 4496940"/>
                    <a:gd name="connsiteX66" fmla="*/ 1144927 w 4519987"/>
                    <a:gd name="connsiteY66" fmla="*/ 4171950 h 4496940"/>
                    <a:gd name="connsiteX67" fmla="*/ 1087777 w 4519987"/>
                    <a:gd name="connsiteY67" fmla="*/ 4143375 h 4496940"/>
                    <a:gd name="connsiteX68" fmla="*/ 1030627 w 4519987"/>
                    <a:gd name="connsiteY68" fmla="*/ 4124325 h 4496940"/>
                    <a:gd name="connsiteX69" fmla="*/ 925852 w 4519987"/>
                    <a:gd name="connsiteY69" fmla="*/ 4067175 h 4496940"/>
                    <a:gd name="connsiteX70" fmla="*/ 830602 w 4519987"/>
                    <a:gd name="connsiteY70" fmla="*/ 3981450 h 4496940"/>
                    <a:gd name="connsiteX71" fmla="*/ 763927 w 4519987"/>
                    <a:gd name="connsiteY71" fmla="*/ 3914775 h 4496940"/>
                    <a:gd name="connsiteX72" fmla="*/ 725827 w 4519987"/>
                    <a:gd name="connsiteY72" fmla="*/ 3876675 h 4496940"/>
                    <a:gd name="connsiteX73" fmla="*/ 697252 w 4519987"/>
                    <a:gd name="connsiteY73" fmla="*/ 3838575 h 4496940"/>
                    <a:gd name="connsiteX74" fmla="*/ 640102 w 4519987"/>
                    <a:gd name="connsiteY74" fmla="*/ 3781425 h 4496940"/>
                    <a:gd name="connsiteX75" fmla="*/ 611527 w 4519987"/>
                    <a:gd name="connsiteY75" fmla="*/ 3733800 h 4496940"/>
                    <a:gd name="connsiteX76" fmla="*/ 554377 w 4519987"/>
                    <a:gd name="connsiteY76" fmla="*/ 3657600 h 4496940"/>
                    <a:gd name="connsiteX77" fmla="*/ 525802 w 4519987"/>
                    <a:gd name="connsiteY77" fmla="*/ 3609975 h 4496940"/>
                    <a:gd name="connsiteX78" fmla="*/ 497227 w 4519987"/>
                    <a:gd name="connsiteY78" fmla="*/ 3552825 h 4496940"/>
                    <a:gd name="connsiteX79" fmla="*/ 440077 w 4519987"/>
                    <a:gd name="connsiteY79" fmla="*/ 3495675 h 4496940"/>
                    <a:gd name="connsiteX80" fmla="*/ 411502 w 4519987"/>
                    <a:gd name="connsiteY80" fmla="*/ 3448050 h 4496940"/>
                    <a:gd name="connsiteX81" fmla="*/ 278152 w 4519987"/>
                    <a:gd name="connsiteY81" fmla="*/ 3257550 h 4496940"/>
                    <a:gd name="connsiteX82" fmla="*/ 249577 w 4519987"/>
                    <a:gd name="connsiteY82" fmla="*/ 3200400 h 4496940"/>
                    <a:gd name="connsiteX83" fmla="*/ 240052 w 4519987"/>
                    <a:gd name="connsiteY83" fmla="*/ 3162300 h 4496940"/>
                    <a:gd name="connsiteX84" fmla="*/ 221002 w 4519987"/>
                    <a:gd name="connsiteY84" fmla="*/ 3105150 h 4496940"/>
                    <a:gd name="connsiteX85" fmla="*/ 173377 w 4519987"/>
                    <a:gd name="connsiteY85" fmla="*/ 3019425 h 4496940"/>
                    <a:gd name="connsiteX86" fmla="*/ 144802 w 4519987"/>
                    <a:gd name="connsiteY86" fmla="*/ 2924175 h 4496940"/>
                    <a:gd name="connsiteX87" fmla="*/ 68602 w 4519987"/>
                    <a:gd name="connsiteY87" fmla="*/ 2724150 h 4496940"/>
                    <a:gd name="connsiteX88" fmla="*/ 49552 w 4519987"/>
                    <a:gd name="connsiteY88" fmla="*/ 2638425 h 4496940"/>
                    <a:gd name="connsiteX89" fmla="*/ 40027 w 4519987"/>
                    <a:gd name="connsiteY89" fmla="*/ 2562225 h 4496940"/>
                    <a:gd name="connsiteX90" fmla="*/ 30502 w 4519987"/>
                    <a:gd name="connsiteY90" fmla="*/ 2514600 h 4496940"/>
                    <a:gd name="connsiteX91" fmla="*/ 11452 w 4519987"/>
                    <a:gd name="connsiteY91" fmla="*/ 2400300 h 4496940"/>
                    <a:gd name="connsiteX92" fmla="*/ 20977 w 4519987"/>
                    <a:gd name="connsiteY92" fmla="*/ 1905000 h 4496940"/>
                    <a:gd name="connsiteX93" fmla="*/ 30502 w 4519987"/>
                    <a:gd name="connsiteY93" fmla="*/ 1838325 h 4496940"/>
                    <a:gd name="connsiteX94" fmla="*/ 49552 w 4519987"/>
                    <a:gd name="connsiteY94" fmla="*/ 1781175 h 4496940"/>
                    <a:gd name="connsiteX95" fmla="*/ 59077 w 4519987"/>
                    <a:gd name="connsiteY95" fmla="*/ 1743075 h 4496940"/>
                    <a:gd name="connsiteX96" fmla="*/ 78127 w 4519987"/>
                    <a:gd name="connsiteY96" fmla="*/ 1685925 h 4496940"/>
                    <a:gd name="connsiteX97" fmla="*/ 87652 w 4519987"/>
                    <a:gd name="connsiteY97" fmla="*/ 1638300 h 4496940"/>
                    <a:gd name="connsiteX98" fmla="*/ 106702 w 4519987"/>
                    <a:gd name="connsiteY98" fmla="*/ 1590675 h 4496940"/>
                    <a:gd name="connsiteX99" fmla="*/ 135277 w 4519987"/>
                    <a:gd name="connsiteY99" fmla="*/ 1504950 h 4496940"/>
                    <a:gd name="connsiteX100" fmla="*/ 154327 w 4519987"/>
                    <a:gd name="connsiteY100" fmla="*/ 1419225 h 4496940"/>
                    <a:gd name="connsiteX101" fmla="*/ 230527 w 4519987"/>
                    <a:gd name="connsiteY101" fmla="*/ 1276350 h 4496940"/>
                    <a:gd name="connsiteX102" fmla="*/ 240052 w 4519987"/>
                    <a:gd name="connsiteY102" fmla="*/ 1247775 h 4496940"/>
                    <a:gd name="connsiteX103" fmla="*/ 268627 w 4519987"/>
                    <a:gd name="connsiteY103" fmla="*/ 1200150 h 4496940"/>
                    <a:gd name="connsiteX104" fmla="*/ 287677 w 4519987"/>
                    <a:gd name="connsiteY104" fmla="*/ 1152525 h 4496940"/>
                    <a:gd name="connsiteX105" fmla="*/ 316252 w 4519987"/>
                    <a:gd name="connsiteY105" fmla="*/ 1114425 h 4496940"/>
                    <a:gd name="connsiteX106" fmla="*/ 363877 w 4519987"/>
                    <a:gd name="connsiteY106" fmla="*/ 1038225 h 4496940"/>
                    <a:gd name="connsiteX107" fmla="*/ 382927 w 4519987"/>
                    <a:gd name="connsiteY107" fmla="*/ 1009650 h 4496940"/>
                    <a:gd name="connsiteX108" fmla="*/ 440077 w 4519987"/>
                    <a:gd name="connsiteY108" fmla="*/ 904875 h 4496940"/>
                    <a:gd name="connsiteX109" fmla="*/ 478177 w 4519987"/>
                    <a:gd name="connsiteY109" fmla="*/ 857250 h 4496940"/>
                    <a:gd name="connsiteX110" fmla="*/ 497227 w 4519987"/>
                    <a:gd name="connsiteY110" fmla="*/ 828675 h 4496940"/>
                    <a:gd name="connsiteX111" fmla="*/ 535327 w 4519987"/>
                    <a:gd name="connsiteY111" fmla="*/ 800100 h 4496940"/>
                    <a:gd name="connsiteX112" fmla="*/ 602002 w 4519987"/>
                    <a:gd name="connsiteY112" fmla="*/ 733425 h 4496940"/>
                    <a:gd name="connsiteX113" fmla="*/ 668677 w 4519987"/>
                    <a:gd name="connsiteY113" fmla="*/ 676275 h 4496940"/>
                    <a:gd name="connsiteX114" fmla="*/ 697252 w 4519987"/>
                    <a:gd name="connsiteY114" fmla="*/ 657225 h 4496940"/>
                    <a:gd name="connsiteX115" fmla="*/ 840127 w 4519987"/>
                    <a:gd name="connsiteY115" fmla="*/ 533400 h 4496940"/>
                    <a:gd name="connsiteX116" fmla="*/ 887752 w 4519987"/>
                    <a:gd name="connsiteY116" fmla="*/ 504825 h 4496940"/>
                    <a:gd name="connsiteX117" fmla="*/ 1167152 w 4519987"/>
                    <a:gd name="connsiteY117" fmla="*/ 311150 h 4496940"/>
                    <a:gd name="connsiteX118" fmla="*/ 1268752 w 4519987"/>
                    <a:gd name="connsiteY118" fmla="*/ 285750 h 4496940"/>
                    <a:gd name="connsiteX119" fmla="*/ 1411627 w 4519987"/>
                    <a:gd name="connsiteY119" fmla="*/ 190500 h 4496940"/>
                    <a:gd name="connsiteX120" fmla="*/ 1449727 w 4519987"/>
                    <a:gd name="connsiteY120" fmla="*/ 161925 h 4496940"/>
                    <a:gd name="connsiteX121" fmla="*/ 1525927 w 4519987"/>
                    <a:gd name="connsiteY121" fmla="*/ 152400 h 4496940"/>
                    <a:gd name="connsiteX122" fmla="*/ 1583077 w 4519987"/>
                    <a:gd name="connsiteY122" fmla="*/ 142875 h 4496940"/>
                    <a:gd name="connsiteX123" fmla="*/ 1716427 w 4519987"/>
                    <a:gd name="connsiteY123" fmla="*/ 123825 h 4496940"/>
                    <a:gd name="connsiteX124" fmla="*/ 1811677 w 4519987"/>
                    <a:gd name="connsiteY124" fmla="*/ 114300 h 4496940"/>
                    <a:gd name="connsiteX125" fmla="*/ 1859302 w 4519987"/>
                    <a:gd name="connsiteY125" fmla="*/ 104775 h 4496940"/>
                    <a:gd name="connsiteX126" fmla="*/ 1916452 w 4519987"/>
                    <a:gd name="connsiteY126" fmla="*/ 95250 h 4496940"/>
                    <a:gd name="connsiteX127" fmla="*/ 2030752 w 4519987"/>
                    <a:gd name="connsiteY127" fmla="*/ 66675 h 4496940"/>
                    <a:gd name="connsiteX128" fmla="*/ 2097427 w 4519987"/>
                    <a:gd name="connsiteY128" fmla="*/ 47625 h 4496940"/>
                    <a:gd name="connsiteX129" fmla="*/ 2164102 w 4519987"/>
                    <a:gd name="connsiteY129" fmla="*/ 38100 h 4496940"/>
                    <a:gd name="connsiteX130" fmla="*/ 2392702 w 4519987"/>
                    <a:gd name="connsiteY13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4002427 w 4519987"/>
                    <a:gd name="connsiteY34" fmla="*/ 3600450 h 4496940"/>
                    <a:gd name="connsiteX35" fmla="*/ 3954802 w 4519987"/>
                    <a:gd name="connsiteY35" fmla="*/ 3648075 h 4496940"/>
                    <a:gd name="connsiteX36" fmla="*/ 3659527 w 4519987"/>
                    <a:gd name="connsiteY36" fmla="*/ 3971925 h 4496940"/>
                    <a:gd name="connsiteX37" fmla="*/ 3630952 w 4519987"/>
                    <a:gd name="connsiteY37" fmla="*/ 4010025 h 4496940"/>
                    <a:gd name="connsiteX38" fmla="*/ 3621427 w 4519987"/>
                    <a:gd name="connsiteY38" fmla="*/ 4038600 h 4496940"/>
                    <a:gd name="connsiteX39" fmla="*/ 3554752 w 4519987"/>
                    <a:gd name="connsiteY39" fmla="*/ 4095750 h 4496940"/>
                    <a:gd name="connsiteX40" fmla="*/ 3516652 w 4519987"/>
                    <a:gd name="connsiteY40" fmla="*/ 4114800 h 4496940"/>
                    <a:gd name="connsiteX41" fmla="*/ 3497602 w 4519987"/>
                    <a:gd name="connsiteY41" fmla="*/ 4143375 h 4496940"/>
                    <a:gd name="connsiteX42" fmla="*/ 3383302 w 4519987"/>
                    <a:gd name="connsiteY42" fmla="*/ 4210050 h 4496940"/>
                    <a:gd name="connsiteX43" fmla="*/ 3335677 w 4519987"/>
                    <a:gd name="connsiteY43" fmla="*/ 4238625 h 4496940"/>
                    <a:gd name="connsiteX44" fmla="*/ 3288052 w 4519987"/>
                    <a:gd name="connsiteY44" fmla="*/ 4248150 h 4496940"/>
                    <a:gd name="connsiteX45" fmla="*/ 3240427 w 4519987"/>
                    <a:gd name="connsiteY45" fmla="*/ 4267200 h 4496940"/>
                    <a:gd name="connsiteX46" fmla="*/ 3068977 w 4519987"/>
                    <a:gd name="connsiteY46" fmla="*/ 4286250 h 4496940"/>
                    <a:gd name="connsiteX47" fmla="*/ 2935627 w 4519987"/>
                    <a:gd name="connsiteY47" fmla="*/ 4333875 h 4496940"/>
                    <a:gd name="connsiteX48" fmla="*/ 2811802 w 4519987"/>
                    <a:gd name="connsiteY48" fmla="*/ 4371975 h 4496940"/>
                    <a:gd name="connsiteX49" fmla="*/ 2745127 w 4519987"/>
                    <a:gd name="connsiteY49" fmla="*/ 4410075 h 4496940"/>
                    <a:gd name="connsiteX50" fmla="*/ 2697502 w 4519987"/>
                    <a:gd name="connsiteY50" fmla="*/ 4429125 h 4496940"/>
                    <a:gd name="connsiteX51" fmla="*/ 2640352 w 4519987"/>
                    <a:gd name="connsiteY51" fmla="*/ 4457700 h 4496940"/>
                    <a:gd name="connsiteX52" fmla="*/ 2583202 w 4519987"/>
                    <a:gd name="connsiteY52" fmla="*/ 4467225 h 4496940"/>
                    <a:gd name="connsiteX53" fmla="*/ 2545102 w 4519987"/>
                    <a:gd name="connsiteY53" fmla="*/ 4486275 h 4496940"/>
                    <a:gd name="connsiteX54" fmla="*/ 2306977 w 4519987"/>
                    <a:gd name="connsiteY54" fmla="*/ 4476750 h 4496940"/>
                    <a:gd name="connsiteX55" fmla="*/ 2202202 w 4519987"/>
                    <a:gd name="connsiteY55" fmla="*/ 4457700 h 4496940"/>
                    <a:gd name="connsiteX56" fmla="*/ 2126002 w 4519987"/>
                    <a:gd name="connsiteY56" fmla="*/ 4429125 h 4496940"/>
                    <a:gd name="connsiteX57" fmla="*/ 1935502 w 4519987"/>
                    <a:gd name="connsiteY57" fmla="*/ 4400550 h 4496940"/>
                    <a:gd name="connsiteX58" fmla="*/ 1821202 w 4519987"/>
                    <a:gd name="connsiteY58" fmla="*/ 4371975 h 4496940"/>
                    <a:gd name="connsiteX59" fmla="*/ 1754527 w 4519987"/>
                    <a:gd name="connsiteY59" fmla="*/ 4352925 h 4496940"/>
                    <a:gd name="connsiteX60" fmla="*/ 1687852 w 4519987"/>
                    <a:gd name="connsiteY60" fmla="*/ 4343400 h 4496940"/>
                    <a:gd name="connsiteX61" fmla="*/ 1573552 w 4519987"/>
                    <a:gd name="connsiteY61" fmla="*/ 4305300 h 4496940"/>
                    <a:gd name="connsiteX62" fmla="*/ 1402102 w 4519987"/>
                    <a:gd name="connsiteY62" fmla="*/ 4276725 h 4496940"/>
                    <a:gd name="connsiteX63" fmla="*/ 1287802 w 4519987"/>
                    <a:gd name="connsiteY63" fmla="*/ 4229100 h 4496940"/>
                    <a:gd name="connsiteX64" fmla="*/ 1221127 w 4519987"/>
                    <a:gd name="connsiteY64" fmla="*/ 4200525 h 4496940"/>
                    <a:gd name="connsiteX65" fmla="*/ 1144927 w 4519987"/>
                    <a:gd name="connsiteY65" fmla="*/ 4171950 h 4496940"/>
                    <a:gd name="connsiteX66" fmla="*/ 1087777 w 4519987"/>
                    <a:gd name="connsiteY66" fmla="*/ 4143375 h 4496940"/>
                    <a:gd name="connsiteX67" fmla="*/ 1030627 w 4519987"/>
                    <a:gd name="connsiteY67" fmla="*/ 4124325 h 4496940"/>
                    <a:gd name="connsiteX68" fmla="*/ 925852 w 4519987"/>
                    <a:gd name="connsiteY68" fmla="*/ 4067175 h 4496940"/>
                    <a:gd name="connsiteX69" fmla="*/ 830602 w 4519987"/>
                    <a:gd name="connsiteY69" fmla="*/ 3981450 h 4496940"/>
                    <a:gd name="connsiteX70" fmla="*/ 763927 w 4519987"/>
                    <a:gd name="connsiteY70" fmla="*/ 3914775 h 4496940"/>
                    <a:gd name="connsiteX71" fmla="*/ 725827 w 4519987"/>
                    <a:gd name="connsiteY71" fmla="*/ 3876675 h 4496940"/>
                    <a:gd name="connsiteX72" fmla="*/ 697252 w 4519987"/>
                    <a:gd name="connsiteY72" fmla="*/ 3838575 h 4496940"/>
                    <a:gd name="connsiteX73" fmla="*/ 640102 w 4519987"/>
                    <a:gd name="connsiteY73" fmla="*/ 3781425 h 4496940"/>
                    <a:gd name="connsiteX74" fmla="*/ 611527 w 4519987"/>
                    <a:gd name="connsiteY74" fmla="*/ 3733800 h 4496940"/>
                    <a:gd name="connsiteX75" fmla="*/ 554377 w 4519987"/>
                    <a:gd name="connsiteY75" fmla="*/ 3657600 h 4496940"/>
                    <a:gd name="connsiteX76" fmla="*/ 525802 w 4519987"/>
                    <a:gd name="connsiteY76" fmla="*/ 3609975 h 4496940"/>
                    <a:gd name="connsiteX77" fmla="*/ 497227 w 4519987"/>
                    <a:gd name="connsiteY77" fmla="*/ 3552825 h 4496940"/>
                    <a:gd name="connsiteX78" fmla="*/ 440077 w 4519987"/>
                    <a:gd name="connsiteY78" fmla="*/ 3495675 h 4496940"/>
                    <a:gd name="connsiteX79" fmla="*/ 411502 w 4519987"/>
                    <a:gd name="connsiteY79" fmla="*/ 3448050 h 4496940"/>
                    <a:gd name="connsiteX80" fmla="*/ 278152 w 4519987"/>
                    <a:gd name="connsiteY80" fmla="*/ 3257550 h 4496940"/>
                    <a:gd name="connsiteX81" fmla="*/ 249577 w 4519987"/>
                    <a:gd name="connsiteY81" fmla="*/ 3200400 h 4496940"/>
                    <a:gd name="connsiteX82" fmla="*/ 240052 w 4519987"/>
                    <a:gd name="connsiteY82" fmla="*/ 3162300 h 4496940"/>
                    <a:gd name="connsiteX83" fmla="*/ 221002 w 4519987"/>
                    <a:gd name="connsiteY83" fmla="*/ 3105150 h 4496940"/>
                    <a:gd name="connsiteX84" fmla="*/ 173377 w 4519987"/>
                    <a:gd name="connsiteY84" fmla="*/ 3019425 h 4496940"/>
                    <a:gd name="connsiteX85" fmla="*/ 144802 w 4519987"/>
                    <a:gd name="connsiteY85" fmla="*/ 2924175 h 4496940"/>
                    <a:gd name="connsiteX86" fmla="*/ 68602 w 4519987"/>
                    <a:gd name="connsiteY86" fmla="*/ 2724150 h 4496940"/>
                    <a:gd name="connsiteX87" fmla="*/ 49552 w 4519987"/>
                    <a:gd name="connsiteY87" fmla="*/ 2638425 h 4496940"/>
                    <a:gd name="connsiteX88" fmla="*/ 40027 w 4519987"/>
                    <a:gd name="connsiteY88" fmla="*/ 2562225 h 4496940"/>
                    <a:gd name="connsiteX89" fmla="*/ 30502 w 4519987"/>
                    <a:gd name="connsiteY89" fmla="*/ 2514600 h 4496940"/>
                    <a:gd name="connsiteX90" fmla="*/ 11452 w 4519987"/>
                    <a:gd name="connsiteY90" fmla="*/ 2400300 h 4496940"/>
                    <a:gd name="connsiteX91" fmla="*/ 20977 w 4519987"/>
                    <a:gd name="connsiteY91" fmla="*/ 1905000 h 4496940"/>
                    <a:gd name="connsiteX92" fmla="*/ 30502 w 4519987"/>
                    <a:gd name="connsiteY92" fmla="*/ 1838325 h 4496940"/>
                    <a:gd name="connsiteX93" fmla="*/ 49552 w 4519987"/>
                    <a:gd name="connsiteY93" fmla="*/ 1781175 h 4496940"/>
                    <a:gd name="connsiteX94" fmla="*/ 59077 w 4519987"/>
                    <a:gd name="connsiteY94" fmla="*/ 1743075 h 4496940"/>
                    <a:gd name="connsiteX95" fmla="*/ 78127 w 4519987"/>
                    <a:gd name="connsiteY95" fmla="*/ 1685925 h 4496940"/>
                    <a:gd name="connsiteX96" fmla="*/ 87652 w 4519987"/>
                    <a:gd name="connsiteY96" fmla="*/ 1638300 h 4496940"/>
                    <a:gd name="connsiteX97" fmla="*/ 106702 w 4519987"/>
                    <a:gd name="connsiteY97" fmla="*/ 1590675 h 4496940"/>
                    <a:gd name="connsiteX98" fmla="*/ 135277 w 4519987"/>
                    <a:gd name="connsiteY98" fmla="*/ 1504950 h 4496940"/>
                    <a:gd name="connsiteX99" fmla="*/ 154327 w 4519987"/>
                    <a:gd name="connsiteY99" fmla="*/ 1419225 h 4496940"/>
                    <a:gd name="connsiteX100" fmla="*/ 230527 w 4519987"/>
                    <a:gd name="connsiteY100" fmla="*/ 1276350 h 4496940"/>
                    <a:gd name="connsiteX101" fmla="*/ 240052 w 4519987"/>
                    <a:gd name="connsiteY101" fmla="*/ 1247775 h 4496940"/>
                    <a:gd name="connsiteX102" fmla="*/ 268627 w 4519987"/>
                    <a:gd name="connsiteY102" fmla="*/ 1200150 h 4496940"/>
                    <a:gd name="connsiteX103" fmla="*/ 287677 w 4519987"/>
                    <a:gd name="connsiteY103" fmla="*/ 1152525 h 4496940"/>
                    <a:gd name="connsiteX104" fmla="*/ 316252 w 4519987"/>
                    <a:gd name="connsiteY104" fmla="*/ 1114425 h 4496940"/>
                    <a:gd name="connsiteX105" fmla="*/ 363877 w 4519987"/>
                    <a:gd name="connsiteY105" fmla="*/ 1038225 h 4496940"/>
                    <a:gd name="connsiteX106" fmla="*/ 382927 w 4519987"/>
                    <a:gd name="connsiteY106" fmla="*/ 1009650 h 4496940"/>
                    <a:gd name="connsiteX107" fmla="*/ 440077 w 4519987"/>
                    <a:gd name="connsiteY107" fmla="*/ 904875 h 4496940"/>
                    <a:gd name="connsiteX108" fmla="*/ 478177 w 4519987"/>
                    <a:gd name="connsiteY108" fmla="*/ 857250 h 4496940"/>
                    <a:gd name="connsiteX109" fmla="*/ 497227 w 4519987"/>
                    <a:gd name="connsiteY109" fmla="*/ 828675 h 4496940"/>
                    <a:gd name="connsiteX110" fmla="*/ 535327 w 4519987"/>
                    <a:gd name="connsiteY110" fmla="*/ 800100 h 4496940"/>
                    <a:gd name="connsiteX111" fmla="*/ 602002 w 4519987"/>
                    <a:gd name="connsiteY111" fmla="*/ 733425 h 4496940"/>
                    <a:gd name="connsiteX112" fmla="*/ 668677 w 4519987"/>
                    <a:gd name="connsiteY112" fmla="*/ 676275 h 4496940"/>
                    <a:gd name="connsiteX113" fmla="*/ 697252 w 4519987"/>
                    <a:gd name="connsiteY113" fmla="*/ 657225 h 4496940"/>
                    <a:gd name="connsiteX114" fmla="*/ 840127 w 4519987"/>
                    <a:gd name="connsiteY114" fmla="*/ 533400 h 4496940"/>
                    <a:gd name="connsiteX115" fmla="*/ 887752 w 4519987"/>
                    <a:gd name="connsiteY115" fmla="*/ 504825 h 4496940"/>
                    <a:gd name="connsiteX116" fmla="*/ 1167152 w 4519987"/>
                    <a:gd name="connsiteY116" fmla="*/ 311150 h 4496940"/>
                    <a:gd name="connsiteX117" fmla="*/ 1268752 w 4519987"/>
                    <a:gd name="connsiteY117" fmla="*/ 285750 h 4496940"/>
                    <a:gd name="connsiteX118" fmla="*/ 1411627 w 4519987"/>
                    <a:gd name="connsiteY118" fmla="*/ 190500 h 4496940"/>
                    <a:gd name="connsiteX119" fmla="*/ 1449727 w 4519987"/>
                    <a:gd name="connsiteY119" fmla="*/ 161925 h 4496940"/>
                    <a:gd name="connsiteX120" fmla="*/ 1525927 w 4519987"/>
                    <a:gd name="connsiteY120" fmla="*/ 152400 h 4496940"/>
                    <a:gd name="connsiteX121" fmla="*/ 1583077 w 4519987"/>
                    <a:gd name="connsiteY121" fmla="*/ 142875 h 4496940"/>
                    <a:gd name="connsiteX122" fmla="*/ 1716427 w 4519987"/>
                    <a:gd name="connsiteY122" fmla="*/ 123825 h 4496940"/>
                    <a:gd name="connsiteX123" fmla="*/ 1811677 w 4519987"/>
                    <a:gd name="connsiteY123" fmla="*/ 114300 h 4496940"/>
                    <a:gd name="connsiteX124" fmla="*/ 1859302 w 4519987"/>
                    <a:gd name="connsiteY124" fmla="*/ 104775 h 4496940"/>
                    <a:gd name="connsiteX125" fmla="*/ 1916452 w 4519987"/>
                    <a:gd name="connsiteY125" fmla="*/ 95250 h 4496940"/>
                    <a:gd name="connsiteX126" fmla="*/ 2030752 w 4519987"/>
                    <a:gd name="connsiteY126" fmla="*/ 66675 h 4496940"/>
                    <a:gd name="connsiteX127" fmla="*/ 2097427 w 4519987"/>
                    <a:gd name="connsiteY127" fmla="*/ 47625 h 4496940"/>
                    <a:gd name="connsiteX128" fmla="*/ 2164102 w 4519987"/>
                    <a:gd name="connsiteY128" fmla="*/ 38100 h 4496940"/>
                    <a:gd name="connsiteX129" fmla="*/ 2392702 w 4519987"/>
                    <a:gd name="connsiteY12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497602 w 4519987"/>
                    <a:gd name="connsiteY40" fmla="*/ 4143375 h 4496940"/>
                    <a:gd name="connsiteX41" fmla="*/ 3383302 w 4519987"/>
                    <a:gd name="connsiteY41" fmla="*/ 4210050 h 4496940"/>
                    <a:gd name="connsiteX42" fmla="*/ 3335677 w 4519987"/>
                    <a:gd name="connsiteY42" fmla="*/ 4238625 h 4496940"/>
                    <a:gd name="connsiteX43" fmla="*/ 3288052 w 4519987"/>
                    <a:gd name="connsiteY43" fmla="*/ 4248150 h 4496940"/>
                    <a:gd name="connsiteX44" fmla="*/ 3240427 w 4519987"/>
                    <a:gd name="connsiteY44" fmla="*/ 4267200 h 4496940"/>
                    <a:gd name="connsiteX45" fmla="*/ 3068977 w 4519987"/>
                    <a:gd name="connsiteY45" fmla="*/ 4286250 h 4496940"/>
                    <a:gd name="connsiteX46" fmla="*/ 2935627 w 4519987"/>
                    <a:gd name="connsiteY46" fmla="*/ 4333875 h 4496940"/>
                    <a:gd name="connsiteX47" fmla="*/ 2811802 w 4519987"/>
                    <a:gd name="connsiteY47" fmla="*/ 4371975 h 4496940"/>
                    <a:gd name="connsiteX48" fmla="*/ 2745127 w 4519987"/>
                    <a:gd name="connsiteY48" fmla="*/ 4410075 h 4496940"/>
                    <a:gd name="connsiteX49" fmla="*/ 2697502 w 4519987"/>
                    <a:gd name="connsiteY49" fmla="*/ 4429125 h 4496940"/>
                    <a:gd name="connsiteX50" fmla="*/ 2640352 w 4519987"/>
                    <a:gd name="connsiteY50" fmla="*/ 4457700 h 4496940"/>
                    <a:gd name="connsiteX51" fmla="*/ 2583202 w 4519987"/>
                    <a:gd name="connsiteY51" fmla="*/ 4467225 h 4496940"/>
                    <a:gd name="connsiteX52" fmla="*/ 2545102 w 4519987"/>
                    <a:gd name="connsiteY52" fmla="*/ 4486275 h 4496940"/>
                    <a:gd name="connsiteX53" fmla="*/ 2306977 w 4519987"/>
                    <a:gd name="connsiteY53" fmla="*/ 4476750 h 4496940"/>
                    <a:gd name="connsiteX54" fmla="*/ 2202202 w 4519987"/>
                    <a:gd name="connsiteY54" fmla="*/ 4457700 h 4496940"/>
                    <a:gd name="connsiteX55" fmla="*/ 2126002 w 4519987"/>
                    <a:gd name="connsiteY55" fmla="*/ 4429125 h 4496940"/>
                    <a:gd name="connsiteX56" fmla="*/ 1935502 w 4519987"/>
                    <a:gd name="connsiteY56" fmla="*/ 4400550 h 4496940"/>
                    <a:gd name="connsiteX57" fmla="*/ 1821202 w 4519987"/>
                    <a:gd name="connsiteY57" fmla="*/ 4371975 h 4496940"/>
                    <a:gd name="connsiteX58" fmla="*/ 1754527 w 4519987"/>
                    <a:gd name="connsiteY58" fmla="*/ 4352925 h 4496940"/>
                    <a:gd name="connsiteX59" fmla="*/ 1687852 w 4519987"/>
                    <a:gd name="connsiteY59" fmla="*/ 4343400 h 4496940"/>
                    <a:gd name="connsiteX60" fmla="*/ 1573552 w 4519987"/>
                    <a:gd name="connsiteY60" fmla="*/ 4305300 h 4496940"/>
                    <a:gd name="connsiteX61" fmla="*/ 1402102 w 4519987"/>
                    <a:gd name="connsiteY61" fmla="*/ 4276725 h 4496940"/>
                    <a:gd name="connsiteX62" fmla="*/ 1287802 w 4519987"/>
                    <a:gd name="connsiteY62" fmla="*/ 4229100 h 4496940"/>
                    <a:gd name="connsiteX63" fmla="*/ 1221127 w 4519987"/>
                    <a:gd name="connsiteY63" fmla="*/ 4200525 h 4496940"/>
                    <a:gd name="connsiteX64" fmla="*/ 1144927 w 4519987"/>
                    <a:gd name="connsiteY64" fmla="*/ 4171950 h 4496940"/>
                    <a:gd name="connsiteX65" fmla="*/ 1087777 w 4519987"/>
                    <a:gd name="connsiteY65" fmla="*/ 4143375 h 4496940"/>
                    <a:gd name="connsiteX66" fmla="*/ 1030627 w 4519987"/>
                    <a:gd name="connsiteY66" fmla="*/ 4124325 h 4496940"/>
                    <a:gd name="connsiteX67" fmla="*/ 925852 w 4519987"/>
                    <a:gd name="connsiteY67" fmla="*/ 4067175 h 4496940"/>
                    <a:gd name="connsiteX68" fmla="*/ 830602 w 4519987"/>
                    <a:gd name="connsiteY68" fmla="*/ 3981450 h 4496940"/>
                    <a:gd name="connsiteX69" fmla="*/ 763927 w 4519987"/>
                    <a:gd name="connsiteY69" fmla="*/ 3914775 h 4496940"/>
                    <a:gd name="connsiteX70" fmla="*/ 725827 w 4519987"/>
                    <a:gd name="connsiteY70" fmla="*/ 3876675 h 4496940"/>
                    <a:gd name="connsiteX71" fmla="*/ 697252 w 4519987"/>
                    <a:gd name="connsiteY71" fmla="*/ 3838575 h 4496940"/>
                    <a:gd name="connsiteX72" fmla="*/ 640102 w 4519987"/>
                    <a:gd name="connsiteY72" fmla="*/ 3781425 h 4496940"/>
                    <a:gd name="connsiteX73" fmla="*/ 611527 w 4519987"/>
                    <a:gd name="connsiteY73" fmla="*/ 3733800 h 4496940"/>
                    <a:gd name="connsiteX74" fmla="*/ 554377 w 4519987"/>
                    <a:gd name="connsiteY74" fmla="*/ 3657600 h 4496940"/>
                    <a:gd name="connsiteX75" fmla="*/ 525802 w 4519987"/>
                    <a:gd name="connsiteY75" fmla="*/ 3609975 h 4496940"/>
                    <a:gd name="connsiteX76" fmla="*/ 497227 w 4519987"/>
                    <a:gd name="connsiteY76" fmla="*/ 3552825 h 4496940"/>
                    <a:gd name="connsiteX77" fmla="*/ 440077 w 4519987"/>
                    <a:gd name="connsiteY77" fmla="*/ 3495675 h 4496940"/>
                    <a:gd name="connsiteX78" fmla="*/ 411502 w 4519987"/>
                    <a:gd name="connsiteY78" fmla="*/ 3448050 h 4496940"/>
                    <a:gd name="connsiteX79" fmla="*/ 278152 w 4519987"/>
                    <a:gd name="connsiteY79" fmla="*/ 3257550 h 4496940"/>
                    <a:gd name="connsiteX80" fmla="*/ 249577 w 4519987"/>
                    <a:gd name="connsiteY80" fmla="*/ 3200400 h 4496940"/>
                    <a:gd name="connsiteX81" fmla="*/ 240052 w 4519987"/>
                    <a:gd name="connsiteY81" fmla="*/ 3162300 h 4496940"/>
                    <a:gd name="connsiteX82" fmla="*/ 221002 w 4519987"/>
                    <a:gd name="connsiteY82" fmla="*/ 3105150 h 4496940"/>
                    <a:gd name="connsiteX83" fmla="*/ 173377 w 4519987"/>
                    <a:gd name="connsiteY83" fmla="*/ 3019425 h 4496940"/>
                    <a:gd name="connsiteX84" fmla="*/ 144802 w 4519987"/>
                    <a:gd name="connsiteY84" fmla="*/ 2924175 h 4496940"/>
                    <a:gd name="connsiteX85" fmla="*/ 68602 w 4519987"/>
                    <a:gd name="connsiteY85" fmla="*/ 2724150 h 4496940"/>
                    <a:gd name="connsiteX86" fmla="*/ 49552 w 4519987"/>
                    <a:gd name="connsiteY86" fmla="*/ 2638425 h 4496940"/>
                    <a:gd name="connsiteX87" fmla="*/ 40027 w 4519987"/>
                    <a:gd name="connsiteY87" fmla="*/ 2562225 h 4496940"/>
                    <a:gd name="connsiteX88" fmla="*/ 30502 w 4519987"/>
                    <a:gd name="connsiteY88" fmla="*/ 2514600 h 4496940"/>
                    <a:gd name="connsiteX89" fmla="*/ 11452 w 4519987"/>
                    <a:gd name="connsiteY89" fmla="*/ 2400300 h 4496940"/>
                    <a:gd name="connsiteX90" fmla="*/ 20977 w 4519987"/>
                    <a:gd name="connsiteY90" fmla="*/ 1905000 h 4496940"/>
                    <a:gd name="connsiteX91" fmla="*/ 30502 w 4519987"/>
                    <a:gd name="connsiteY91" fmla="*/ 1838325 h 4496940"/>
                    <a:gd name="connsiteX92" fmla="*/ 49552 w 4519987"/>
                    <a:gd name="connsiteY92" fmla="*/ 1781175 h 4496940"/>
                    <a:gd name="connsiteX93" fmla="*/ 59077 w 4519987"/>
                    <a:gd name="connsiteY93" fmla="*/ 1743075 h 4496940"/>
                    <a:gd name="connsiteX94" fmla="*/ 78127 w 4519987"/>
                    <a:gd name="connsiteY94" fmla="*/ 1685925 h 4496940"/>
                    <a:gd name="connsiteX95" fmla="*/ 87652 w 4519987"/>
                    <a:gd name="connsiteY95" fmla="*/ 1638300 h 4496940"/>
                    <a:gd name="connsiteX96" fmla="*/ 106702 w 4519987"/>
                    <a:gd name="connsiteY96" fmla="*/ 1590675 h 4496940"/>
                    <a:gd name="connsiteX97" fmla="*/ 135277 w 4519987"/>
                    <a:gd name="connsiteY97" fmla="*/ 1504950 h 4496940"/>
                    <a:gd name="connsiteX98" fmla="*/ 154327 w 4519987"/>
                    <a:gd name="connsiteY98" fmla="*/ 1419225 h 4496940"/>
                    <a:gd name="connsiteX99" fmla="*/ 230527 w 4519987"/>
                    <a:gd name="connsiteY99" fmla="*/ 1276350 h 4496940"/>
                    <a:gd name="connsiteX100" fmla="*/ 240052 w 4519987"/>
                    <a:gd name="connsiteY100" fmla="*/ 1247775 h 4496940"/>
                    <a:gd name="connsiteX101" fmla="*/ 268627 w 4519987"/>
                    <a:gd name="connsiteY101" fmla="*/ 1200150 h 4496940"/>
                    <a:gd name="connsiteX102" fmla="*/ 287677 w 4519987"/>
                    <a:gd name="connsiteY102" fmla="*/ 1152525 h 4496940"/>
                    <a:gd name="connsiteX103" fmla="*/ 316252 w 4519987"/>
                    <a:gd name="connsiteY103" fmla="*/ 1114425 h 4496940"/>
                    <a:gd name="connsiteX104" fmla="*/ 363877 w 4519987"/>
                    <a:gd name="connsiteY104" fmla="*/ 1038225 h 4496940"/>
                    <a:gd name="connsiteX105" fmla="*/ 382927 w 4519987"/>
                    <a:gd name="connsiteY105" fmla="*/ 1009650 h 4496940"/>
                    <a:gd name="connsiteX106" fmla="*/ 440077 w 4519987"/>
                    <a:gd name="connsiteY106" fmla="*/ 904875 h 4496940"/>
                    <a:gd name="connsiteX107" fmla="*/ 478177 w 4519987"/>
                    <a:gd name="connsiteY107" fmla="*/ 857250 h 4496940"/>
                    <a:gd name="connsiteX108" fmla="*/ 497227 w 4519987"/>
                    <a:gd name="connsiteY108" fmla="*/ 828675 h 4496940"/>
                    <a:gd name="connsiteX109" fmla="*/ 535327 w 4519987"/>
                    <a:gd name="connsiteY109" fmla="*/ 800100 h 4496940"/>
                    <a:gd name="connsiteX110" fmla="*/ 602002 w 4519987"/>
                    <a:gd name="connsiteY110" fmla="*/ 733425 h 4496940"/>
                    <a:gd name="connsiteX111" fmla="*/ 668677 w 4519987"/>
                    <a:gd name="connsiteY111" fmla="*/ 676275 h 4496940"/>
                    <a:gd name="connsiteX112" fmla="*/ 697252 w 4519987"/>
                    <a:gd name="connsiteY112" fmla="*/ 657225 h 4496940"/>
                    <a:gd name="connsiteX113" fmla="*/ 840127 w 4519987"/>
                    <a:gd name="connsiteY113" fmla="*/ 533400 h 4496940"/>
                    <a:gd name="connsiteX114" fmla="*/ 887752 w 4519987"/>
                    <a:gd name="connsiteY114" fmla="*/ 504825 h 4496940"/>
                    <a:gd name="connsiteX115" fmla="*/ 1167152 w 4519987"/>
                    <a:gd name="connsiteY115" fmla="*/ 311150 h 4496940"/>
                    <a:gd name="connsiteX116" fmla="*/ 1268752 w 4519987"/>
                    <a:gd name="connsiteY116" fmla="*/ 285750 h 4496940"/>
                    <a:gd name="connsiteX117" fmla="*/ 1411627 w 4519987"/>
                    <a:gd name="connsiteY117" fmla="*/ 190500 h 4496940"/>
                    <a:gd name="connsiteX118" fmla="*/ 1449727 w 4519987"/>
                    <a:gd name="connsiteY118" fmla="*/ 161925 h 4496940"/>
                    <a:gd name="connsiteX119" fmla="*/ 1525927 w 4519987"/>
                    <a:gd name="connsiteY119" fmla="*/ 152400 h 4496940"/>
                    <a:gd name="connsiteX120" fmla="*/ 1583077 w 4519987"/>
                    <a:gd name="connsiteY120" fmla="*/ 142875 h 4496940"/>
                    <a:gd name="connsiteX121" fmla="*/ 1716427 w 4519987"/>
                    <a:gd name="connsiteY121" fmla="*/ 123825 h 4496940"/>
                    <a:gd name="connsiteX122" fmla="*/ 1811677 w 4519987"/>
                    <a:gd name="connsiteY122" fmla="*/ 114300 h 4496940"/>
                    <a:gd name="connsiteX123" fmla="*/ 1859302 w 4519987"/>
                    <a:gd name="connsiteY123" fmla="*/ 104775 h 4496940"/>
                    <a:gd name="connsiteX124" fmla="*/ 1916452 w 4519987"/>
                    <a:gd name="connsiteY124" fmla="*/ 95250 h 4496940"/>
                    <a:gd name="connsiteX125" fmla="*/ 2030752 w 4519987"/>
                    <a:gd name="connsiteY125" fmla="*/ 66675 h 4496940"/>
                    <a:gd name="connsiteX126" fmla="*/ 2097427 w 4519987"/>
                    <a:gd name="connsiteY126" fmla="*/ 47625 h 4496940"/>
                    <a:gd name="connsiteX127" fmla="*/ 2164102 w 4519987"/>
                    <a:gd name="connsiteY127" fmla="*/ 38100 h 4496940"/>
                    <a:gd name="connsiteX128" fmla="*/ 2392702 w 4519987"/>
                    <a:gd name="connsiteY12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383302 w 4519987"/>
                    <a:gd name="connsiteY40" fmla="*/ 4210050 h 4496940"/>
                    <a:gd name="connsiteX41" fmla="*/ 3335677 w 4519987"/>
                    <a:gd name="connsiteY41" fmla="*/ 4238625 h 4496940"/>
                    <a:gd name="connsiteX42" fmla="*/ 3288052 w 4519987"/>
                    <a:gd name="connsiteY42" fmla="*/ 4248150 h 4496940"/>
                    <a:gd name="connsiteX43" fmla="*/ 3240427 w 4519987"/>
                    <a:gd name="connsiteY43" fmla="*/ 4267200 h 4496940"/>
                    <a:gd name="connsiteX44" fmla="*/ 3068977 w 4519987"/>
                    <a:gd name="connsiteY44" fmla="*/ 4286250 h 4496940"/>
                    <a:gd name="connsiteX45" fmla="*/ 2935627 w 4519987"/>
                    <a:gd name="connsiteY45" fmla="*/ 4333875 h 4496940"/>
                    <a:gd name="connsiteX46" fmla="*/ 2811802 w 4519987"/>
                    <a:gd name="connsiteY46" fmla="*/ 4371975 h 4496940"/>
                    <a:gd name="connsiteX47" fmla="*/ 2745127 w 4519987"/>
                    <a:gd name="connsiteY47" fmla="*/ 4410075 h 4496940"/>
                    <a:gd name="connsiteX48" fmla="*/ 2697502 w 4519987"/>
                    <a:gd name="connsiteY48" fmla="*/ 4429125 h 4496940"/>
                    <a:gd name="connsiteX49" fmla="*/ 2640352 w 4519987"/>
                    <a:gd name="connsiteY49" fmla="*/ 4457700 h 4496940"/>
                    <a:gd name="connsiteX50" fmla="*/ 2583202 w 4519987"/>
                    <a:gd name="connsiteY50" fmla="*/ 4467225 h 4496940"/>
                    <a:gd name="connsiteX51" fmla="*/ 2545102 w 4519987"/>
                    <a:gd name="connsiteY51" fmla="*/ 4486275 h 4496940"/>
                    <a:gd name="connsiteX52" fmla="*/ 2306977 w 4519987"/>
                    <a:gd name="connsiteY52" fmla="*/ 4476750 h 4496940"/>
                    <a:gd name="connsiteX53" fmla="*/ 2202202 w 4519987"/>
                    <a:gd name="connsiteY53" fmla="*/ 4457700 h 4496940"/>
                    <a:gd name="connsiteX54" fmla="*/ 2126002 w 4519987"/>
                    <a:gd name="connsiteY54" fmla="*/ 4429125 h 4496940"/>
                    <a:gd name="connsiteX55" fmla="*/ 1935502 w 4519987"/>
                    <a:gd name="connsiteY55" fmla="*/ 4400550 h 4496940"/>
                    <a:gd name="connsiteX56" fmla="*/ 1821202 w 4519987"/>
                    <a:gd name="connsiteY56" fmla="*/ 4371975 h 4496940"/>
                    <a:gd name="connsiteX57" fmla="*/ 1754527 w 4519987"/>
                    <a:gd name="connsiteY57" fmla="*/ 4352925 h 4496940"/>
                    <a:gd name="connsiteX58" fmla="*/ 1687852 w 4519987"/>
                    <a:gd name="connsiteY58" fmla="*/ 4343400 h 4496940"/>
                    <a:gd name="connsiteX59" fmla="*/ 1573552 w 4519987"/>
                    <a:gd name="connsiteY59" fmla="*/ 4305300 h 4496940"/>
                    <a:gd name="connsiteX60" fmla="*/ 1402102 w 4519987"/>
                    <a:gd name="connsiteY60" fmla="*/ 4276725 h 4496940"/>
                    <a:gd name="connsiteX61" fmla="*/ 1287802 w 4519987"/>
                    <a:gd name="connsiteY61" fmla="*/ 4229100 h 4496940"/>
                    <a:gd name="connsiteX62" fmla="*/ 1221127 w 4519987"/>
                    <a:gd name="connsiteY62" fmla="*/ 4200525 h 4496940"/>
                    <a:gd name="connsiteX63" fmla="*/ 1144927 w 4519987"/>
                    <a:gd name="connsiteY63" fmla="*/ 4171950 h 4496940"/>
                    <a:gd name="connsiteX64" fmla="*/ 1087777 w 4519987"/>
                    <a:gd name="connsiteY64" fmla="*/ 4143375 h 4496940"/>
                    <a:gd name="connsiteX65" fmla="*/ 1030627 w 4519987"/>
                    <a:gd name="connsiteY65" fmla="*/ 4124325 h 4496940"/>
                    <a:gd name="connsiteX66" fmla="*/ 925852 w 4519987"/>
                    <a:gd name="connsiteY66" fmla="*/ 4067175 h 4496940"/>
                    <a:gd name="connsiteX67" fmla="*/ 830602 w 4519987"/>
                    <a:gd name="connsiteY67" fmla="*/ 3981450 h 4496940"/>
                    <a:gd name="connsiteX68" fmla="*/ 763927 w 4519987"/>
                    <a:gd name="connsiteY68" fmla="*/ 3914775 h 4496940"/>
                    <a:gd name="connsiteX69" fmla="*/ 725827 w 4519987"/>
                    <a:gd name="connsiteY69" fmla="*/ 3876675 h 4496940"/>
                    <a:gd name="connsiteX70" fmla="*/ 697252 w 4519987"/>
                    <a:gd name="connsiteY70" fmla="*/ 3838575 h 4496940"/>
                    <a:gd name="connsiteX71" fmla="*/ 640102 w 4519987"/>
                    <a:gd name="connsiteY71" fmla="*/ 3781425 h 4496940"/>
                    <a:gd name="connsiteX72" fmla="*/ 611527 w 4519987"/>
                    <a:gd name="connsiteY72" fmla="*/ 3733800 h 4496940"/>
                    <a:gd name="connsiteX73" fmla="*/ 554377 w 4519987"/>
                    <a:gd name="connsiteY73" fmla="*/ 3657600 h 4496940"/>
                    <a:gd name="connsiteX74" fmla="*/ 525802 w 4519987"/>
                    <a:gd name="connsiteY74" fmla="*/ 3609975 h 4496940"/>
                    <a:gd name="connsiteX75" fmla="*/ 497227 w 4519987"/>
                    <a:gd name="connsiteY75" fmla="*/ 3552825 h 4496940"/>
                    <a:gd name="connsiteX76" fmla="*/ 440077 w 4519987"/>
                    <a:gd name="connsiteY76" fmla="*/ 3495675 h 4496940"/>
                    <a:gd name="connsiteX77" fmla="*/ 411502 w 4519987"/>
                    <a:gd name="connsiteY77" fmla="*/ 3448050 h 4496940"/>
                    <a:gd name="connsiteX78" fmla="*/ 278152 w 4519987"/>
                    <a:gd name="connsiteY78" fmla="*/ 3257550 h 4496940"/>
                    <a:gd name="connsiteX79" fmla="*/ 249577 w 4519987"/>
                    <a:gd name="connsiteY79" fmla="*/ 3200400 h 4496940"/>
                    <a:gd name="connsiteX80" fmla="*/ 240052 w 4519987"/>
                    <a:gd name="connsiteY80" fmla="*/ 3162300 h 4496940"/>
                    <a:gd name="connsiteX81" fmla="*/ 221002 w 4519987"/>
                    <a:gd name="connsiteY81" fmla="*/ 3105150 h 4496940"/>
                    <a:gd name="connsiteX82" fmla="*/ 173377 w 4519987"/>
                    <a:gd name="connsiteY82" fmla="*/ 3019425 h 4496940"/>
                    <a:gd name="connsiteX83" fmla="*/ 144802 w 4519987"/>
                    <a:gd name="connsiteY83" fmla="*/ 2924175 h 4496940"/>
                    <a:gd name="connsiteX84" fmla="*/ 68602 w 4519987"/>
                    <a:gd name="connsiteY84" fmla="*/ 2724150 h 4496940"/>
                    <a:gd name="connsiteX85" fmla="*/ 49552 w 4519987"/>
                    <a:gd name="connsiteY85" fmla="*/ 2638425 h 4496940"/>
                    <a:gd name="connsiteX86" fmla="*/ 40027 w 4519987"/>
                    <a:gd name="connsiteY86" fmla="*/ 2562225 h 4496940"/>
                    <a:gd name="connsiteX87" fmla="*/ 30502 w 4519987"/>
                    <a:gd name="connsiteY87" fmla="*/ 2514600 h 4496940"/>
                    <a:gd name="connsiteX88" fmla="*/ 11452 w 4519987"/>
                    <a:gd name="connsiteY88" fmla="*/ 2400300 h 4496940"/>
                    <a:gd name="connsiteX89" fmla="*/ 20977 w 4519987"/>
                    <a:gd name="connsiteY89" fmla="*/ 1905000 h 4496940"/>
                    <a:gd name="connsiteX90" fmla="*/ 30502 w 4519987"/>
                    <a:gd name="connsiteY90" fmla="*/ 1838325 h 4496940"/>
                    <a:gd name="connsiteX91" fmla="*/ 49552 w 4519987"/>
                    <a:gd name="connsiteY91" fmla="*/ 1781175 h 4496940"/>
                    <a:gd name="connsiteX92" fmla="*/ 59077 w 4519987"/>
                    <a:gd name="connsiteY92" fmla="*/ 1743075 h 4496940"/>
                    <a:gd name="connsiteX93" fmla="*/ 78127 w 4519987"/>
                    <a:gd name="connsiteY93" fmla="*/ 1685925 h 4496940"/>
                    <a:gd name="connsiteX94" fmla="*/ 87652 w 4519987"/>
                    <a:gd name="connsiteY94" fmla="*/ 1638300 h 4496940"/>
                    <a:gd name="connsiteX95" fmla="*/ 106702 w 4519987"/>
                    <a:gd name="connsiteY95" fmla="*/ 1590675 h 4496940"/>
                    <a:gd name="connsiteX96" fmla="*/ 135277 w 4519987"/>
                    <a:gd name="connsiteY96" fmla="*/ 1504950 h 4496940"/>
                    <a:gd name="connsiteX97" fmla="*/ 154327 w 4519987"/>
                    <a:gd name="connsiteY97" fmla="*/ 1419225 h 4496940"/>
                    <a:gd name="connsiteX98" fmla="*/ 230527 w 4519987"/>
                    <a:gd name="connsiteY98" fmla="*/ 1276350 h 4496940"/>
                    <a:gd name="connsiteX99" fmla="*/ 240052 w 4519987"/>
                    <a:gd name="connsiteY99" fmla="*/ 1247775 h 4496940"/>
                    <a:gd name="connsiteX100" fmla="*/ 268627 w 4519987"/>
                    <a:gd name="connsiteY100" fmla="*/ 1200150 h 4496940"/>
                    <a:gd name="connsiteX101" fmla="*/ 287677 w 4519987"/>
                    <a:gd name="connsiteY101" fmla="*/ 1152525 h 4496940"/>
                    <a:gd name="connsiteX102" fmla="*/ 316252 w 4519987"/>
                    <a:gd name="connsiteY102" fmla="*/ 1114425 h 4496940"/>
                    <a:gd name="connsiteX103" fmla="*/ 363877 w 4519987"/>
                    <a:gd name="connsiteY103" fmla="*/ 1038225 h 4496940"/>
                    <a:gd name="connsiteX104" fmla="*/ 382927 w 4519987"/>
                    <a:gd name="connsiteY104" fmla="*/ 1009650 h 4496940"/>
                    <a:gd name="connsiteX105" fmla="*/ 440077 w 4519987"/>
                    <a:gd name="connsiteY105" fmla="*/ 904875 h 4496940"/>
                    <a:gd name="connsiteX106" fmla="*/ 478177 w 4519987"/>
                    <a:gd name="connsiteY106" fmla="*/ 857250 h 4496940"/>
                    <a:gd name="connsiteX107" fmla="*/ 497227 w 4519987"/>
                    <a:gd name="connsiteY107" fmla="*/ 828675 h 4496940"/>
                    <a:gd name="connsiteX108" fmla="*/ 535327 w 4519987"/>
                    <a:gd name="connsiteY108" fmla="*/ 800100 h 4496940"/>
                    <a:gd name="connsiteX109" fmla="*/ 602002 w 4519987"/>
                    <a:gd name="connsiteY109" fmla="*/ 733425 h 4496940"/>
                    <a:gd name="connsiteX110" fmla="*/ 668677 w 4519987"/>
                    <a:gd name="connsiteY110" fmla="*/ 676275 h 4496940"/>
                    <a:gd name="connsiteX111" fmla="*/ 697252 w 4519987"/>
                    <a:gd name="connsiteY111" fmla="*/ 657225 h 4496940"/>
                    <a:gd name="connsiteX112" fmla="*/ 840127 w 4519987"/>
                    <a:gd name="connsiteY112" fmla="*/ 533400 h 4496940"/>
                    <a:gd name="connsiteX113" fmla="*/ 887752 w 4519987"/>
                    <a:gd name="connsiteY113" fmla="*/ 504825 h 4496940"/>
                    <a:gd name="connsiteX114" fmla="*/ 1167152 w 4519987"/>
                    <a:gd name="connsiteY114" fmla="*/ 311150 h 4496940"/>
                    <a:gd name="connsiteX115" fmla="*/ 1268752 w 4519987"/>
                    <a:gd name="connsiteY115" fmla="*/ 285750 h 4496940"/>
                    <a:gd name="connsiteX116" fmla="*/ 1411627 w 4519987"/>
                    <a:gd name="connsiteY116" fmla="*/ 190500 h 4496940"/>
                    <a:gd name="connsiteX117" fmla="*/ 1449727 w 4519987"/>
                    <a:gd name="connsiteY117" fmla="*/ 161925 h 4496940"/>
                    <a:gd name="connsiteX118" fmla="*/ 1525927 w 4519987"/>
                    <a:gd name="connsiteY118" fmla="*/ 152400 h 4496940"/>
                    <a:gd name="connsiteX119" fmla="*/ 1583077 w 4519987"/>
                    <a:gd name="connsiteY119" fmla="*/ 142875 h 4496940"/>
                    <a:gd name="connsiteX120" fmla="*/ 1716427 w 4519987"/>
                    <a:gd name="connsiteY120" fmla="*/ 123825 h 4496940"/>
                    <a:gd name="connsiteX121" fmla="*/ 1811677 w 4519987"/>
                    <a:gd name="connsiteY121" fmla="*/ 114300 h 4496940"/>
                    <a:gd name="connsiteX122" fmla="*/ 1859302 w 4519987"/>
                    <a:gd name="connsiteY122" fmla="*/ 104775 h 4496940"/>
                    <a:gd name="connsiteX123" fmla="*/ 1916452 w 4519987"/>
                    <a:gd name="connsiteY123" fmla="*/ 95250 h 4496940"/>
                    <a:gd name="connsiteX124" fmla="*/ 2030752 w 4519987"/>
                    <a:gd name="connsiteY124" fmla="*/ 66675 h 4496940"/>
                    <a:gd name="connsiteX125" fmla="*/ 2097427 w 4519987"/>
                    <a:gd name="connsiteY125" fmla="*/ 47625 h 4496940"/>
                    <a:gd name="connsiteX126" fmla="*/ 2164102 w 4519987"/>
                    <a:gd name="connsiteY126" fmla="*/ 38100 h 4496940"/>
                    <a:gd name="connsiteX127" fmla="*/ 2392702 w 4519987"/>
                    <a:gd name="connsiteY12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383302 w 4519987"/>
                    <a:gd name="connsiteY39" fmla="*/ 4210050 h 4496940"/>
                    <a:gd name="connsiteX40" fmla="*/ 3335677 w 4519987"/>
                    <a:gd name="connsiteY40" fmla="*/ 4238625 h 4496940"/>
                    <a:gd name="connsiteX41" fmla="*/ 3288052 w 4519987"/>
                    <a:gd name="connsiteY41" fmla="*/ 4248150 h 4496940"/>
                    <a:gd name="connsiteX42" fmla="*/ 3240427 w 4519987"/>
                    <a:gd name="connsiteY42" fmla="*/ 4267200 h 4496940"/>
                    <a:gd name="connsiteX43" fmla="*/ 3068977 w 4519987"/>
                    <a:gd name="connsiteY43" fmla="*/ 4286250 h 4496940"/>
                    <a:gd name="connsiteX44" fmla="*/ 2935627 w 4519987"/>
                    <a:gd name="connsiteY44" fmla="*/ 4333875 h 4496940"/>
                    <a:gd name="connsiteX45" fmla="*/ 2811802 w 4519987"/>
                    <a:gd name="connsiteY45" fmla="*/ 4371975 h 4496940"/>
                    <a:gd name="connsiteX46" fmla="*/ 2745127 w 4519987"/>
                    <a:gd name="connsiteY46" fmla="*/ 4410075 h 4496940"/>
                    <a:gd name="connsiteX47" fmla="*/ 2697502 w 4519987"/>
                    <a:gd name="connsiteY47" fmla="*/ 4429125 h 4496940"/>
                    <a:gd name="connsiteX48" fmla="*/ 2640352 w 4519987"/>
                    <a:gd name="connsiteY48" fmla="*/ 4457700 h 4496940"/>
                    <a:gd name="connsiteX49" fmla="*/ 2583202 w 4519987"/>
                    <a:gd name="connsiteY49" fmla="*/ 4467225 h 4496940"/>
                    <a:gd name="connsiteX50" fmla="*/ 2545102 w 4519987"/>
                    <a:gd name="connsiteY50" fmla="*/ 4486275 h 4496940"/>
                    <a:gd name="connsiteX51" fmla="*/ 2306977 w 4519987"/>
                    <a:gd name="connsiteY51" fmla="*/ 4476750 h 4496940"/>
                    <a:gd name="connsiteX52" fmla="*/ 2202202 w 4519987"/>
                    <a:gd name="connsiteY52" fmla="*/ 4457700 h 4496940"/>
                    <a:gd name="connsiteX53" fmla="*/ 2126002 w 4519987"/>
                    <a:gd name="connsiteY53" fmla="*/ 4429125 h 4496940"/>
                    <a:gd name="connsiteX54" fmla="*/ 1935502 w 4519987"/>
                    <a:gd name="connsiteY54" fmla="*/ 4400550 h 4496940"/>
                    <a:gd name="connsiteX55" fmla="*/ 1821202 w 4519987"/>
                    <a:gd name="connsiteY55" fmla="*/ 4371975 h 4496940"/>
                    <a:gd name="connsiteX56" fmla="*/ 1754527 w 4519987"/>
                    <a:gd name="connsiteY56" fmla="*/ 4352925 h 4496940"/>
                    <a:gd name="connsiteX57" fmla="*/ 1687852 w 4519987"/>
                    <a:gd name="connsiteY57" fmla="*/ 4343400 h 4496940"/>
                    <a:gd name="connsiteX58" fmla="*/ 1573552 w 4519987"/>
                    <a:gd name="connsiteY58" fmla="*/ 4305300 h 4496940"/>
                    <a:gd name="connsiteX59" fmla="*/ 1402102 w 4519987"/>
                    <a:gd name="connsiteY59" fmla="*/ 4276725 h 4496940"/>
                    <a:gd name="connsiteX60" fmla="*/ 1287802 w 4519987"/>
                    <a:gd name="connsiteY60" fmla="*/ 4229100 h 4496940"/>
                    <a:gd name="connsiteX61" fmla="*/ 1221127 w 4519987"/>
                    <a:gd name="connsiteY61" fmla="*/ 4200525 h 4496940"/>
                    <a:gd name="connsiteX62" fmla="*/ 1144927 w 4519987"/>
                    <a:gd name="connsiteY62" fmla="*/ 4171950 h 4496940"/>
                    <a:gd name="connsiteX63" fmla="*/ 1087777 w 4519987"/>
                    <a:gd name="connsiteY63" fmla="*/ 4143375 h 4496940"/>
                    <a:gd name="connsiteX64" fmla="*/ 1030627 w 4519987"/>
                    <a:gd name="connsiteY64" fmla="*/ 4124325 h 4496940"/>
                    <a:gd name="connsiteX65" fmla="*/ 925852 w 4519987"/>
                    <a:gd name="connsiteY65" fmla="*/ 4067175 h 4496940"/>
                    <a:gd name="connsiteX66" fmla="*/ 830602 w 4519987"/>
                    <a:gd name="connsiteY66" fmla="*/ 3981450 h 4496940"/>
                    <a:gd name="connsiteX67" fmla="*/ 763927 w 4519987"/>
                    <a:gd name="connsiteY67" fmla="*/ 3914775 h 4496940"/>
                    <a:gd name="connsiteX68" fmla="*/ 725827 w 4519987"/>
                    <a:gd name="connsiteY68" fmla="*/ 3876675 h 4496940"/>
                    <a:gd name="connsiteX69" fmla="*/ 697252 w 4519987"/>
                    <a:gd name="connsiteY69" fmla="*/ 3838575 h 4496940"/>
                    <a:gd name="connsiteX70" fmla="*/ 640102 w 4519987"/>
                    <a:gd name="connsiteY70" fmla="*/ 3781425 h 4496940"/>
                    <a:gd name="connsiteX71" fmla="*/ 611527 w 4519987"/>
                    <a:gd name="connsiteY71" fmla="*/ 3733800 h 4496940"/>
                    <a:gd name="connsiteX72" fmla="*/ 554377 w 4519987"/>
                    <a:gd name="connsiteY72" fmla="*/ 3657600 h 4496940"/>
                    <a:gd name="connsiteX73" fmla="*/ 525802 w 4519987"/>
                    <a:gd name="connsiteY73" fmla="*/ 3609975 h 4496940"/>
                    <a:gd name="connsiteX74" fmla="*/ 497227 w 4519987"/>
                    <a:gd name="connsiteY74" fmla="*/ 3552825 h 4496940"/>
                    <a:gd name="connsiteX75" fmla="*/ 440077 w 4519987"/>
                    <a:gd name="connsiteY75" fmla="*/ 3495675 h 4496940"/>
                    <a:gd name="connsiteX76" fmla="*/ 411502 w 4519987"/>
                    <a:gd name="connsiteY76" fmla="*/ 3448050 h 4496940"/>
                    <a:gd name="connsiteX77" fmla="*/ 278152 w 4519987"/>
                    <a:gd name="connsiteY77" fmla="*/ 3257550 h 4496940"/>
                    <a:gd name="connsiteX78" fmla="*/ 249577 w 4519987"/>
                    <a:gd name="connsiteY78" fmla="*/ 3200400 h 4496940"/>
                    <a:gd name="connsiteX79" fmla="*/ 240052 w 4519987"/>
                    <a:gd name="connsiteY79" fmla="*/ 3162300 h 4496940"/>
                    <a:gd name="connsiteX80" fmla="*/ 221002 w 4519987"/>
                    <a:gd name="connsiteY80" fmla="*/ 3105150 h 4496940"/>
                    <a:gd name="connsiteX81" fmla="*/ 173377 w 4519987"/>
                    <a:gd name="connsiteY81" fmla="*/ 3019425 h 4496940"/>
                    <a:gd name="connsiteX82" fmla="*/ 144802 w 4519987"/>
                    <a:gd name="connsiteY82" fmla="*/ 2924175 h 4496940"/>
                    <a:gd name="connsiteX83" fmla="*/ 68602 w 4519987"/>
                    <a:gd name="connsiteY83" fmla="*/ 2724150 h 4496940"/>
                    <a:gd name="connsiteX84" fmla="*/ 49552 w 4519987"/>
                    <a:gd name="connsiteY84" fmla="*/ 2638425 h 4496940"/>
                    <a:gd name="connsiteX85" fmla="*/ 40027 w 4519987"/>
                    <a:gd name="connsiteY85" fmla="*/ 2562225 h 4496940"/>
                    <a:gd name="connsiteX86" fmla="*/ 30502 w 4519987"/>
                    <a:gd name="connsiteY86" fmla="*/ 2514600 h 4496940"/>
                    <a:gd name="connsiteX87" fmla="*/ 11452 w 4519987"/>
                    <a:gd name="connsiteY87" fmla="*/ 2400300 h 4496940"/>
                    <a:gd name="connsiteX88" fmla="*/ 20977 w 4519987"/>
                    <a:gd name="connsiteY88" fmla="*/ 1905000 h 4496940"/>
                    <a:gd name="connsiteX89" fmla="*/ 30502 w 4519987"/>
                    <a:gd name="connsiteY89" fmla="*/ 1838325 h 4496940"/>
                    <a:gd name="connsiteX90" fmla="*/ 49552 w 4519987"/>
                    <a:gd name="connsiteY90" fmla="*/ 1781175 h 4496940"/>
                    <a:gd name="connsiteX91" fmla="*/ 59077 w 4519987"/>
                    <a:gd name="connsiteY91" fmla="*/ 1743075 h 4496940"/>
                    <a:gd name="connsiteX92" fmla="*/ 78127 w 4519987"/>
                    <a:gd name="connsiteY92" fmla="*/ 1685925 h 4496940"/>
                    <a:gd name="connsiteX93" fmla="*/ 87652 w 4519987"/>
                    <a:gd name="connsiteY93" fmla="*/ 1638300 h 4496940"/>
                    <a:gd name="connsiteX94" fmla="*/ 106702 w 4519987"/>
                    <a:gd name="connsiteY94" fmla="*/ 1590675 h 4496940"/>
                    <a:gd name="connsiteX95" fmla="*/ 135277 w 4519987"/>
                    <a:gd name="connsiteY95" fmla="*/ 1504950 h 4496940"/>
                    <a:gd name="connsiteX96" fmla="*/ 154327 w 4519987"/>
                    <a:gd name="connsiteY96" fmla="*/ 1419225 h 4496940"/>
                    <a:gd name="connsiteX97" fmla="*/ 230527 w 4519987"/>
                    <a:gd name="connsiteY97" fmla="*/ 1276350 h 4496940"/>
                    <a:gd name="connsiteX98" fmla="*/ 240052 w 4519987"/>
                    <a:gd name="connsiteY98" fmla="*/ 1247775 h 4496940"/>
                    <a:gd name="connsiteX99" fmla="*/ 268627 w 4519987"/>
                    <a:gd name="connsiteY99" fmla="*/ 1200150 h 4496940"/>
                    <a:gd name="connsiteX100" fmla="*/ 287677 w 4519987"/>
                    <a:gd name="connsiteY100" fmla="*/ 1152525 h 4496940"/>
                    <a:gd name="connsiteX101" fmla="*/ 316252 w 4519987"/>
                    <a:gd name="connsiteY101" fmla="*/ 1114425 h 4496940"/>
                    <a:gd name="connsiteX102" fmla="*/ 363877 w 4519987"/>
                    <a:gd name="connsiteY102" fmla="*/ 1038225 h 4496940"/>
                    <a:gd name="connsiteX103" fmla="*/ 382927 w 4519987"/>
                    <a:gd name="connsiteY103" fmla="*/ 1009650 h 4496940"/>
                    <a:gd name="connsiteX104" fmla="*/ 440077 w 4519987"/>
                    <a:gd name="connsiteY104" fmla="*/ 904875 h 4496940"/>
                    <a:gd name="connsiteX105" fmla="*/ 478177 w 4519987"/>
                    <a:gd name="connsiteY105" fmla="*/ 857250 h 4496940"/>
                    <a:gd name="connsiteX106" fmla="*/ 497227 w 4519987"/>
                    <a:gd name="connsiteY106" fmla="*/ 828675 h 4496940"/>
                    <a:gd name="connsiteX107" fmla="*/ 535327 w 4519987"/>
                    <a:gd name="connsiteY107" fmla="*/ 800100 h 4496940"/>
                    <a:gd name="connsiteX108" fmla="*/ 602002 w 4519987"/>
                    <a:gd name="connsiteY108" fmla="*/ 733425 h 4496940"/>
                    <a:gd name="connsiteX109" fmla="*/ 668677 w 4519987"/>
                    <a:gd name="connsiteY109" fmla="*/ 676275 h 4496940"/>
                    <a:gd name="connsiteX110" fmla="*/ 697252 w 4519987"/>
                    <a:gd name="connsiteY110" fmla="*/ 657225 h 4496940"/>
                    <a:gd name="connsiteX111" fmla="*/ 840127 w 4519987"/>
                    <a:gd name="connsiteY111" fmla="*/ 533400 h 4496940"/>
                    <a:gd name="connsiteX112" fmla="*/ 887752 w 4519987"/>
                    <a:gd name="connsiteY112" fmla="*/ 504825 h 4496940"/>
                    <a:gd name="connsiteX113" fmla="*/ 1167152 w 4519987"/>
                    <a:gd name="connsiteY113" fmla="*/ 311150 h 4496940"/>
                    <a:gd name="connsiteX114" fmla="*/ 1268752 w 4519987"/>
                    <a:gd name="connsiteY114" fmla="*/ 285750 h 4496940"/>
                    <a:gd name="connsiteX115" fmla="*/ 1411627 w 4519987"/>
                    <a:gd name="connsiteY115" fmla="*/ 190500 h 4496940"/>
                    <a:gd name="connsiteX116" fmla="*/ 1449727 w 4519987"/>
                    <a:gd name="connsiteY116" fmla="*/ 161925 h 4496940"/>
                    <a:gd name="connsiteX117" fmla="*/ 1525927 w 4519987"/>
                    <a:gd name="connsiteY117" fmla="*/ 152400 h 4496940"/>
                    <a:gd name="connsiteX118" fmla="*/ 1583077 w 4519987"/>
                    <a:gd name="connsiteY118" fmla="*/ 142875 h 4496940"/>
                    <a:gd name="connsiteX119" fmla="*/ 1716427 w 4519987"/>
                    <a:gd name="connsiteY119" fmla="*/ 123825 h 4496940"/>
                    <a:gd name="connsiteX120" fmla="*/ 1811677 w 4519987"/>
                    <a:gd name="connsiteY120" fmla="*/ 114300 h 4496940"/>
                    <a:gd name="connsiteX121" fmla="*/ 1859302 w 4519987"/>
                    <a:gd name="connsiteY121" fmla="*/ 104775 h 4496940"/>
                    <a:gd name="connsiteX122" fmla="*/ 1916452 w 4519987"/>
                    <a:gd name="connsiteY122" fmla="*/ 95250 h 4496940"/>
                    <a:gd name="connsiteX123" fmla="*/ 2030752 w 4519987"/>
                    <a:gd name="connsiteY123" fmla="*/ 66675 h 4496940"/>
                    <a:gd name="connsiteX124" fmla="*/ 2097427 w 4519987"/>
                    <a:gd name="connsiteY124" fmla="*/ 47625 h 4496940"/>
                    <a:gd name="connsiteX125" fmla="*/ 2164102 w 4519987"/>
                    <a:gd name="connsiteY125" fmla="*/ 38100 h 4496940"/>
                    <a:gd name="connsiteX126" fmla="*/ 2392702 w 4519987"/>
                    <a:gd name="connsiteY12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554752 w 4519987"/>
                    <a:gd name="connsiteY37" fmla="*/ 4095750 h 4496940"/>
                    <a:gd name="connsiteX38" fmla="*/ 3383302 w 4519987"/>
                    <a:gd name="connsiteY38" fmla="*/ 4210050 h 4496940"/>
                    <a:gd name="connsiteX39" fmla="*/ 3335677 w 4519987"/>
                    <a:gd name="connsiteY39" fmla="*/ 4238625 h 4496940"/>
                    <a:gd name="connsiteX40" fmla="*/ 3288052 w 4519987"/>
                    <a:gd name="connsiteY40" fmla="*/ 4248150 h 4496940"/>
                    <a:gd name="connsiteX41" fmla="*/ 3240427 w 4519987"/>
                    <a:gd name="connsiteY41" fmla="*/ 4267200 h 4496940"/>
                    <a:gd name="connsiteX42" fmla="*/ 3068977 w 4519987"/>
                    <a:gd name="connsiteY42" fmla="*/ 4286250 h 4496940"/>
                    <a:gd name="connsiteX43" fmla="*/ 2935627 w 4519987"/>
                    <a:gd name="connsiteY43" fmla="*/ 4333875 h 4496940"/>
                    <a:gd name="connsiteX44" fmla="*/ 2811802 w 4519987"/>
                    <a:gd name="connsiteY44" fmla="*/ 4371975 h 4496940"/>
                    <a:gd name="connsiteX45" fmla="*/ 2745127 w 4519987"/>
                    <a:gd name="connsiteY45" fmla="*/ 4410075 h 4496940"/>
                    <a:gd name="connsiteX46" fmla="*/ 2697502 w 4519987"/>
                    <a:gd name="connsiteY46" fmla="*/ 4429125 h 4496940"/>
                    <a:gd name="connsiteX47" fmla="*/ 2640352 w 4519987"/>
                    <a:gd name="connsiteY47" fmla="*/ 4457700 h 4496940"/>
                    <a:gd name="connsiteX48" fmla="*/ 2583202 w 4519987"/>
                    <a:gd name="connsiteY48" fmla="*/ 4467225 h 4496940"/>
                    <a:gd name="connsiteX49" fmla="*/ 2545102 w 4519987"/>
                    <a:gd name="connsiteY49" fmla="*/ 4486275 h 4496940"/>
                    <a:gd name="connsiteX50" fmla="*/ 2306977 w 4519987"/>
                    <a:gd name="connsiteY50" fmla="*/ 4476750 h 4496940"/>
                    <a:gd name="connsiteX51" fmla="*/ 2202202 w 4519987"/>
                    <a:gd name="connsiteY51" fmla="*/ 4457700 h 4496940"/>
                    <a:gd name="connsiteX52" fmla="*/ 2126002 w 4519987"/>
                    <a:gd name="connsiteY52" fmla="*/ 4429125 h 4496940"/>
                    <a:gd name="connsiteX53" fmla="*/ 1935502 w 4519987"/>
                    <a:gd name="connsiteY53" fmla="*/ 4400550 h 4496940"/>
                    <a:gd name="connsiteX54" fmla="*/ 1821202 w 4519987"/>
                    <a:gd name="connsiteY54" fmla="*/ 4371975 h 4496940"/>
                    <a:gd name="connsiteX55" fmla="*/ 1754527 w 4519987"/>
                    <a:gd name="connsiteY55" fmla="*/ 4352925 h 4496940"/>
                    <a:gd name="connsiteX56" fmla="*/ 1687852 w 4519987"/>
                    <a:gd name="connsiteY56" fmla="*/ 4343400 h 4496940"/>
                    <a:gd name="connsiteX57" fmla="*/ 1573552 w 4519987"/>
                    <a:gd name="connsiteY57" fmla="*/ 4305300 h 4496940"/>
                    <a:gd name="connsiteX58" fmla="*/ 1402102 w 4519987"/>
                    <a:gd name="connsiteY58" fmla="*/ 4276725 h 4496940"/>
                    <a:gd name="connsiteX59" fmla="*/ 1287802 w 4519987"/>
                    <a:gd name="connsiteY59" fmla="*/ 4229100 h 4496940"/>
                    <a:gd name="connsiteX60" fmla="*/ 1221127 w 4519987"/>
                    <a:gd name="connsiteY60" fmla="*/ 4200525 h 4496940"/>
                    <a:gd name="connsiteX61" fmla="*/ 1144927 w 4519987"/>
                    <a:gd name="connsiteY61" fmla="*/ 4171950 h 4496940"/>
                    <a:gd name="connsiteX62" fmla="*/ 1087777 w 4519987"/>
                    <a:gd name="connsiteY62" fmla="*/ 4143375 h 4496940"/>
                    <a:gd name="connsiteX63" fmla="*/ 1030627 w 4519987"/>
                    <a:gd name="connsiteY63" fmla="*/ 4124325 h 4496940"/>
                    <a:gd name="connsiteX64" fmla="*/ 925852 w 4519987"/>
                    <a:gd name="connsiteY64" fmla="*/ 4067175 h 4496940"/>
                    <a:gd name="connsiteX65" fmla="*/ 830602 w 4519987"/>
                    <a:gd name="connsiteY65" fmla="*/ 3981450 h 4496940"/>
                    <a:gd name="connsiteX66" fmla="*/ 763927 w 4519987"/>
                    <a:gd name="connsiteY66" fmla="*/ 3914775 h 4496940"/>
                    <a:gd name="connsiteX67" fmla="*/ 725827 w 4519987"/>
                    <a:gd name="connsiteY67" fmla="*/ 3876675 h 4496940"/>
                    <a:gd name="connsiteX68" fmla="*/ 697252 w 4519987"/>
                    <a:gd name="connsiteY68" fmla="*/ 3838575 h 4496940"/>
                    <a:gd name="connsiteX69" fmla="*/ 640102 w 4519987"/>
                    <a:gd name="connsiteY69" fmla="*/ 3781425 h 4496940"/>
                    <a:gd name="connsiteX70" fmla="*/ 611527 w 4519987"/>
                    <a:gd name="connsiteY70" fmla="*/ 3733800 h 4496940"/>
                    <a:gd name="connsiteX71" fmla="*/ 554377 w 4519987"/>
                    <a:gd name="connsiteY71" fmla="*/ 3657600 h 4496940"/>
                    <a:gd name="connsiteX72" fmla="*/ 525802 w 4519987"/>
                    <a:gd name="connsiteY72" fmla="*/ 3609975 h 4496940"/>
                    <a:gd name="connsiteX73" fmla="*/ 497227 w 4519987"/>
                    <a:gd name="connsiteY73" fmla="*/ 3552825 h 4496940"/>
                    <a:gd name="connsiteX74" fmla="*/ 440077 w 4519987"/>
                    <a:gd name="connsiteY74" fmla="*/ 3495675 h 4496940"/>
                    <a:gd name="connsiteX75" fmla="*/ 411502 w 4519987"/>
                    <a:gd name="connsiteY75" fmla="*/ 3448050 h 4496940"/>
                    <a:gd name="connsiteX76" fmla="*/ 278152 w 4519987"/>
                    <a:gd name="connsiteY76" fmla="*/ 3257550 h 4496940"/>
                    <a:gd name="connsiteX77" fmla="*/ 249577 w 4519987"/>
                    <a:gd name="connsiteY77" fmla="*/ 3200400 h 4496940"/>
                    <a:gd name="connsiteX78" fmla="*/ 240052 w 4519987"/>
                    <a:gd name="connsiteY78" fmla="*/ 3162300 h 4496940"/>
                    <a:gd name="connsiteX79" fmla="*/ 221002 w 4519987"/>
                    <a:gd name="connsiteY79" fmla="*/ 3105150 h 4496940"/>
                    <a:gd name="connsiteX80" fmla="*/ 173377 w 4519987"/>
                    <a:gd name="connsiteY80" fmla="*/ 3019425 h 4496940"/>
                    <a:gd name="connsiteX81" fmla="*/ 144802 w 4519987"/>
                    <a:gd name="connsiteY81" fmla="*/ 2924175 h 4496940"/>
                    <a:gd name="connsiteX82" fmla="*/ 68602 w 4519987"/>
                    <a:gd name="connsiteY82" fmla="*/ 2724150 h 4496940"/>
                    <a:gd name="connsiteX83" fmla="*/ 49552 w 4519987"/>
                    <a:gd name="connsiteY83" fmla="*/ 2638425 h 4496940"/>
                    <a:gd name="connsiteX84" fmla="*/ 40027 w 4519987"/>
                    <a:gd name="connsiteY84" fmla="*/ 2562225 h 4496940"/>
                    <a:gd name="connsiteX85" fmla="*/ 30502 w 4519987"/>
                    <a:gd name="connsiteY85" fmla="*/ 2514600 h 4496940"/>
                    <a:gd name="connsiteX86" fmla="*/ 11452 w 4519987"/>
                    <a:gd name="connsiteY86" fmla="*/ 2400300 h 4496940"/>
                    <a:gd name="connsiteX87" fmla="*/ 20977 w 4519987"/>
                    <a:gd name="connsiteY87" fmla="*/ 1905000 h 4496940"/>
                    <a:gd name="connsiteX88" fmla="*/ 30502 w 4519987"/>
                    <a:gd name="connsiteY88" fmla="*/ 1838325 h 4496940"/>
                    <a:gd name="connsiteX89" fmla="*/ 49552 w 4519987"/>
                    <a:gd name="connsiteY89" fmla="*/ 1781175 h 4496940"/>
                    <a:gd name="connsiteX90" fmla="*/ 59077 w 4519987"/>
                    <a:gd name="connsiteY90" fmla="*/ 1743075 h 4496940"/>
                    <a:gd name="connsiteX91" fmla="*/ 78127 w 4519987"/>
                    <a:gd name="connsiteY91" fmla="*/ 1685925 h 4496940"/>
                    <a:gd name="connsiteX92" fmla="*/ 87652 w 4519987"/>
                    <a:gd name="connsiteY92" fmla="*/ 1638300 h 4496940"/>
                    <a:gd name="connsiteX93" fmla="*/ 106702 w 4519987"/>
                    <a:gd name="connsiteY93" fmla="*/ 1590675 h 4496940"/>
                    <a:gd name="connsiteX94" fmla="*/ 135277 w 4519987"/>
                    <a:gd name="connsiteY94" fmla="*/ 1504950 h 4496940"/>
                    <a:gd name="connsiteX95" fmla="*/ 154327 w 4519987"/>
                    <a:gd name="connsiteY95" fmla="*/ 1419225 h 4496940"/>
                    <a:gd name="connsiteX96" fmla="*/ 230527 w 4519987"/>
                    <a:gd name="connsiteY96" fmla="*/ 1276350 h 4496940"/>
                    <a:gd name="connsiteX97" fmla="*/ 240052 w 4519987"/>
                    <a:gd name="connsiteY97" fmla="*/ 1247775 h 4496940"/>
                    <a:gd name="connsiteX98" fmla="*/ 268627 w 4519987"/>
                    <a:gd name="connsiteY98" fmla="*/ 1200150 h 4496940"/>
                    <a:gd name="connsiteX99" fmla="*/ 287677 w 4519987"/>
                    <a:gd name="connsiteY99" fmla="*/ 1152525 h 4496940"/>
                    <a:gd name="connsiteX100" fmla="*/ 316252 w 4519987"/>
                    <a:gd name="connsiteY100" fmla="*/ 1114425 h 4496940"/>
                    <a:gd name="connsiteX101" fmla="*/ 363877 w 4519987"/>
                    <a:gd name="connsiteY101" fmla="*/ 1038225 h 4496940"/>
                    <a:gd name="connsiteX102" fmla="*/ 382927 w 4519987"/>
                    <a:gd name="connsiteY102" fmla="*/ 1009650 h 4496940"/>
                    <a:gd name="connsiteX103" fmla="*/ 440077 w 4519987"/>
                    <a:gd name="connsiteY103" fmla="*/ 904875 h 4496940"/>
                    <a:gd name="connsiteX104" fmla="*/ 478177 w 4519987"/>
                    <a:gd name="connsiteY104" fmla="*/ 857250 h 4496940"/>
                    <a:gd name="connsiteX105" fmla="*/ 497227 w 4519987"/>
                    <a:gd name="connsiteY105" fmla="*/ 828675 h 4496940"/>
                    <a:gd name="connsiteX106" fmla="*/ 535327 w 4519987"/>
                    <a:gd name="connsiteY106" fmla="*/ 800100 h 4496940"/>
                    <a:gd name="connsiteX107" fmla="*/ 602002 w 4519987"/>
                    <a:gd name="connsiteY107" fmla="*/ 733425 h 4496940"/>
                    <a:gd name="connsiteX108" fmla="*/ 668677 w 4519987"/>
                    <a:gd name="connsiteY108" fmla="*/ 676275 h 4496940"/>
                    <a:gd name="connsiteX109" fmla="*/ 697252 w 4519987"/>
                    <a:gd name="connsiteY109" fmla="*/ 657225 h 4496940"/>
                    <a:gd name="connsiteX110" fmla="*/ 840127 w 4519987"/>
                    <a:gd name="connsiteY110" fmla="*/ 533400 h 4496940"/>
                    <a:gd name="connsiteX111" fmla="*/ 887752 w 4519987"/>
                    <a:gd name="connsiteY111" fmla="*/ 504825 h 4496940"/>
                    <a:gd name="connsiteX112" fmla="*/ 1167152 w 4519987"/>
                    <a:gd name="connsiteY112" fmla="*/ 311150 h 4496940"/>
                    <a:gd name="connsiteX113" fmla="*/ 1268752 w 4519987"/>
                    <a:gd name="connsiteY113" fmla="*/ 285750 h 4496940"/>
                    <a:gd name="connsiteX114" fmla="*/ 1411627 w 4519987"/>
                    <a:gd name="connsiteY114" fmla="*/ 190500 h 4496940"/>
                    <a:gd name="connsiteX115" fmla="*/ 1449727 w 4519987"/>
                    <a:gd name="connsiteY115" fmla="*/ 161925 h 4496940"/>
                    <a:gd name="connsiteX116" fmla="*/ 1525927 w 4519987"/>
                    <a:gd name="connsiteY116" fmla="*/ 152400 h 4496940"/>
                    <a:gd name="connsiteX117" fmla="*/ 1583077 w 4519987"/>
                    <a:gd name="connsiteY117" fmla="*/ 142875 h 4496940"/>
                    <a:gd name="connsiteX118" fmla="*/ 1716427 w 4519987"/>
                    <a:gd name="connsiteY118" fmla="*/ 123825 h 4496940"/>
                    <a:gd name="connsiteX119" fmla="*/ 1811677 w 4519987"/>
                    <a:gd name="connsiteY119" fmla="*/ 114300 h 4496940"/>
                    <a:gd name="connsiteX120" fmla="*/ 1859302 w 4519987"/>
                    <a:gd name="connsiteY120" fmla="*/ 104775 h 4496940"/>
                    <a:gd name="connsiteX121" fmla="*/ 1916452 w 4519987"/>
                    <a:gd name="connsiteY121" fmla="*/ 95250 h 4496940"/>
                    <a:gd name="connsiteX122" fmla="*/ 2030752 w 4519987"/>
                    <a:gd name="connsiteY122" fmla="*/ 66675 h 4496940"/>
                    <a:gd name="connsiteX123" fmla="*/ 2097427 w 4519987"/>
                    <a:gd name="connsiteY123" fmla="*/ 47625 h 4496940"/>
                    <a:gd name="connsiteX124" fmla="*/ 2164102 w 4519987"/>
                    <a:gd name="connsiteY124" fmla="*/ 38100 h 4496940"/>
                    <a:gd name="connsiteX125" fmla="*/ 2392702 w 4519987"/>
                    <a:gd name="connsiteY12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54752 w 4519987"/>
                    <a:gd name="connsiteY36" fmla="*/ 40957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88052 w 4519987"/>
                    <a:gd name="connsiteY38" fmla="*/ 4248150 h 4496940"/>
                    <a:gd name="connsiteX39" fmla="*/ 3240427 w 4519987"/>
                    <a:gd name="connsiteY39" fmla="*/ 4267200 h 4496940"/>
                    <a:gd name="connsiteX40" fmla="*/ 3068977 w 4519987"/>
                    <a:gd name="connsiteY40" fmla="*/ 4286250 h 4496940"/>
                    <a:gd name="connsiteX41" fmla="*/ 2935627 w 4519987"/>
                    <a:gd name="connsiteY41" fmla="*/ 4333875 h 4496940"/>
                    <a:gd name="connsiteX42" fmla="*/ 2811802 w 4519987"/>
                    <a:gd name="connsiteY42" fmla="*/ 4371975 h 4496940"/>
                    <a:gd name="connsiteX43" fmla="*/ 2745127 w 4519987"/>
                    <a:gd name="connsiteY43" fmla="*/ 4410075 h 4496940"/>
                    <a:gd name="connsiteX44" fmla="*/ 2697502 w 4519987"/>
                    <a:gd name="connsiteY44" fmla="*/ 4429125 h 4496940"/>
                    <a:gd name="connsiteX45" fmla="*/ 2640352 w 4519987"/>
                    <a:gd name="connsiteY45" fmla="*/ 4457700 h 4496940"/>
                    <a:gd name="connsiteX46" fmla="*/ 2583202 w 4519987"/>
                    <a:gd name="connsiteY46" fmla="*/ 4467225 h 4496940"/>
                    <a:gd name="connsiteX47" fmla="*/ 2545102 w 4519987"/>
                    <a:gd name="connsiteY47" fmla="*/ 4486275 h 4496940"/>
                    <a:gd name="connsiteX48" fmla="*/ 2306977 w 4519987"/>
                    <a:gd name="connsiteY48" fmla="*/ 4476750 h 4496940"/>
                    <a:gd name="connsiteX49" fmla="*/ 2202202 w 4519987"/>
                    <a:gd name="connsiteY49" fmla="*/ 4457700 h 4496940"/>
                    <a:gd name="connsiteX50" fmla="*/ 2126002 w 4519987"/>
                    <a:gd name="connsiteY50" fmla="*/ 4429125 h 4496940"/>
                    <a:gd name="connsiteX51" fmla="*/ 1935502 w 4519987"/>
                    <a:gd name="connsiteY51" fmla="*/ 4400550 h 4496940"/>
                    <a:gd name="connsiteX52" fmla="*/ 1821202 w 4519987"/>
                    <a:gd name="connsiteY52" fmla="*/ 4371975 h 4496940"/>
                    <a:gd name="connsiteX53" fmla="*/ 1754527 w 4519987"/>
                    <a:gd name="connsiteY53" fmla="*/ 4352925 h 4496940"/>
                    <a:gd name="connsiteX54" fmla="*/ 1687852 w 4519987"/>
                    <a:gd name="connsiteY54" fmla="*/ 4343400 h 4496940"/>
                    <a:gd name="connsiteX55" fmla="*/ 1573552 w 4519987"/>
                    <a:gd name="connsiteY55" fmla="*/ 4305300 h 4496940"/>
                    <a:gd name="connsiteX56" fmla="*/ 1402102 w 4519987"/>
                    <a:gd name="connsiteY56" fmla="*/ 4276725 h 4496940"/>
                    <a:gd name="connsiteX57" fmla="*/ 1287802 w 4519987"/>
                    <a:gd name="connsiteY57" fmla="*/ 4229100 h 4496940"/>
                    <a:gd name="connsiteX58" fmla="*/ 1221127 w 4519987"/>
                    <a:gd name="connsiteY58" fmla="*/ 4200525 h 4496940"/>
                    <a:gd name="connsiteX59" fmla="*/ 1144927 w 4519987"/>
                    <a:gd name="connsiteY59" fmla="*/ 4171950 h 4496940"/>
                    <a:gd name="connsiteX60" fmla="*/ 1087777 w 4519987"/>
                    <a:gd name="connsiteY60" fmla="*/ 4143375 h 4496940"/>
                    <a:gd name="connsiteX61" fmla="*/ 1030627 w 4519987"/>
                    <a:gd name="connsiteY61" fmla="*/ 4124325 h 4496940"/>
                    <a:gd name="connsiteX62" fmla="*/ 925852 w 4519987"/>
                    <a:gd name="connsiteY62" fmla="*/ 4067175 h 4496940"/>
                    <a:gd name="connsiteX63" fmla="*/ 830602 w 4519987"/>
                    <a:gd name="connsiteY63" fmla="*/ 3981450 h 4496940"/>
                    <a:gd name="connsiteX64" fmla="*/ 763927 w 4519987"/>
                    <a:gd name="connsiteY64" fmla="*/ 3914775 h 4496940"/>
                    <a:gd name="connsiteX65" fmla="*/ 725827 w 4519987"/>
                    <a:gd name="connsiteY65" fmla="*/ 3876675 h 4496940"/>
                    <a:gd name="connsiteX66" fmla="*/ 697252 w 4519987"/>
                    <a:gd name="connsiteY66" fmla="*/ 3838575 h 4496940"/>
                    <a:gd name="connsiteX67" fmla="*/ 640102 w 4519987"/>
                    <a:gd name="connsiteY67" fmla="*/ 3781425 h 4496940"/>
                    <a:gd name="connsiteX68" fmla="*/ 611527 w 4519987"/>
                    <a:gd name="connsiteY68" fmla="*/ 3733800 h 4496940"/>
                    <a:gd name="connsiteX69" fmla="*/ 554377 w 4519987"/>
                    <a:gd name="connsiteY69" fmla="*/ 3657600 h 4496940"/>
                    <a:gd name="connsiteX70" fmla="*/ 525802 w 4519987"/>
                    <a:gd name="connsiteY70" fmla="*/ 3609975 h 4496940"/>
                    <a:gd name="connsiteX71" fmla="*/ 497227 w 4519987"/>
                    <a:gd name="connsiteY71" fmla="*/ 3552825 h 4496940"/>
                    <a:gd name="connsiteX72" fmla="*/ 440077 w 4519987"/>
                    <a:gd name="connsiteY72" fmla="*/ 3495675 h 4496940"/>
                    <a:gd name="connsiteX73" fmla="*/ 411502 w 4519987"/>
                    <a:gd name="connsiteY73" fmla="*/ 3448050 h 4496940"/>
                    <a:gd name="connsiteX74" fmla="*/ 278152 w 4519987"/>
                    <a:gd name="connsiteY74" fmla="*/ 3257550 h 4496940"/>
                    <a:gd name="connsiteX75" fmla="*/ 249577 w 4519987"/>
                    <a:gd name="connsiteY75" fmla="*/ 3200400 h 4496940"/>
                    <a:gd name="connsiteX76" fmla="*/ 240052 w 4519987"/>
                    <a:gd name="connsiteY76" fmla="*/ 3162300 h 4496940"/>
                    <a:gd name="connsiteX77" fmla="*/ 221002 w 4519987"/>
                    <a:gd name="connsiteY77" fmla="*/ 3105150 h 4496940"/>
                    <a:gd name="connsiteX78" fmla="*/ 173377 w 4519987"/>
                    <a:gd name="connsiteY78" fmla="*/ 3019425 h 4496940"/>
                    <a:gd name="connsiteX79" fmla="*/ 144802 w 4519987"/>
                    <a:gd name="connsiteY79" fmla="*/ 2924175 h 4496940"/>
                    <a:gd name="connsiteX80" fmla="*/ 68602 w 4519987"/>
                    <a:gd name="connsiteY80" fmla="*/ 2724150 h 4496940"/>
                    <a:gd name="connsiteX81" fmla="*/ 49552 w 4519987"/>
                    <a:gd name="connsiteY81" fmla="*/ 2638425 h 4496940"/>
                    <a:gd name="connsiteX82" fmla="*/ 40027 w 4519987"/>
                    <a:gd name="connsiteY82" fmla="*/ 2562225 h 4496940"/>
                    <a:gd name="connsiteX83" fmla="*/ 30502 w 4519987"/>
                    <a:gd name="connsiteY83" fmla="*/ 2514600 h 4496940"/>
                    <a:gd name="connsiteX84" fmla="*/ 11452 w 4519987"/>
                    <a:gd name="connsiteY84" fmla="*/ 2400300 h 4496940"/>
                    <a:gd name="connsiteX85" fmla="*/ 20977 w 4519987"/>
                    <a:gd name="connsiteY85" fmla="*/ 1905000 h 4496940"/>
                    <a:gd name="connsiteX86" fmla="*/ 30502 w 4519987"/>
                    <a:gd name="connsiteY86" fmla="*/ 1838325 h 4496940"/>
                    <a:gd name="connsiteX87" fmla="*/ 49552 w 4519987"/>
                    <a:gd name="connsiteY87" fmla="*/ 1781175 h 4496940"/>
                    <a:gd name="connsiteX88" fmla="*/ 59077 w 4519987"/>
                    <a:gd name="connsiteY88" fmla="*/ 1743075 h 4496940"/>
                    <a:gd name="connsiteX89" fmla="*/ 78127 w 4519987"/>
                    <a:gd name="connsiteY89" fmla="*/ 1685925 h 4496940"/>
                    <a:gd name="connsiteX90" fmla="*/ 87652 w 4519987"/>
                    <a:gd name="connsiteY90" fmla="*/ 1638300 h 4496940"/>
                    <a:gd name="connsiteX91" fmla="*/ 106702 w 4519987"/>
                    <a:gd name="connsiteY91" fmla="*/ 1590675 h 4496940"/>
                    <a:gd name="connsiteX92" fmla="*/ 135277 w 4519987"/>
                    <a:gd name="connsiteY92" fmla="*/ 1504950 h 4496940"/>
                    <a:gd name="connsiteX93" fmla="*/ 154327 w 4519987"/>
                    <a:gd name="connsiteY93" fmla="*/ 1419225 h 4496940"/>
                    <a:gd name="connsiteX94" fmla="*/ 230527 w 4519987"/>
                    <a:gd name="connsiteY94" fmla="*/ 1276350 h 4496940"/>
                    <a:gd name="connsiteX95" fmla="*/ 240052 w 4519987"/>
                    <a:gd name="connsiteY95" fmla="*/ 1247775 h 4496940"/>
                    <a:gd name="connsiteX96" fmla="*/ 268627 w 4519987"/>
                    <a:gd name="connsiteY96" fmla="*/ 1200150 h 4496940"/>
                    <a:gd name="connsiteX97" fmla="*/ 287677 w 4519987"/>
                    <a:gd name="connsiteY97" fmla="*/ 1152525 h 4496940"/>
                    <a:gd name="connsiteX98" fmla="*/ 316252 w 4519987"/>
                    <a:gd name="connsiteY98" fmla="*/ 1114425 h 4496940"/>
                    <a:gd name="connsiteX99" fmla="*/ 363877 w 4519987"/>
                    <a:gd name="connsiteY99" fmla="*/ 1038225 h 4496940"/>
                    <a:gd name="connsiteX100" fmla="*/ 382927 w 4519987"/>
                    <a:gd name="connsiteY100" fmla="*/ 1009650 h 4496940"/>
                    <a:gd name="connsiteX101" fmla="*/ 440077 w 4519987"/>
                    <a:gd name="connsiteY101" fmla="*/ 904875 h 4496940"/>
                    <a:gd name="connsiteX102" fmla="*/ 478177 w 4519987"/>
                    <a:gd name="connsiteY102" fmla="*/ 857250 h 4496940"/>
                    <a:gd name="connsiteX103" fmla="*/ 497227 w 4519987"/>
                    <a:gd name="connsiteY103" fmla="*/ 828675 h 4496940"/>
                    <a:gd name="connsiteX104" fmla="*/ 535327 w 4519987"/>
                    <a:gd name="connsiteY104" fmla="*/ 800100 h 4496940"/>
                    <a:gd name="connsiteX105" fmla="*/ 602002 w 4519987"/>
                    <a:gd name="connsiteY105" fmla="*/ 733425 h 4496940"/>
                    <a:gd name="connsiteX106" fmla="*/ 668677 w 4519987"/>
                    <a:gd name="connsiteY106" fmla="*/ 676275 h 4496940"/>
                    <a:gd name="connsiteX107" fmla="*/ 697252 w 4519987"/>
                    <a:gd name="connsiteY107" fmla="*/ 657225 h 4496940"/>
                    <a:gd name="connsiteX108" fmla="*/ 840127 w 4519987"/>
                    <a:gd name="connsiteY108" fmla="*/ 533400 h 4496940"/>
                    <a:gd name="connsiteX109" fmla="*/ 887752 w 4519987"/>
                    <a:gd name="connsiteY109" fmla="*/ 504825 h 4496940"/>
                    <a:gd name="connsiteX110" fmla="*/ 1167152 w 4519987"/>
                    <a:gd name="connsiteY110" fmla="*/ 311150 h 4496940"/>
                    <a:gd name="connsiteX111" fmla="*/ 1268752 w 4519987"/>
                    <a:gd name="connsiteY111" fmla="*/ 285750 h 4496940"/>
                    <a:gd name="connsiteX112" fmla="*/ 1411627 w 4519987"/>
                    <a:gd name="connsiteY112" fmla="*/ 190500 h 4496940"/>
                    <a:gd name="connsiteX113" fmla="*/ 1449727 w 4519987"/>
                    <a:gd name="connsiteY113" fmla="*/ 161925 h 4496940"/>
                    <a:gd name="connsiteX114" fmla="*/ 1525927 w 4519987"/>
                    <a:gd name="connsiteY114" fmla="*/ 152400 h 4496940"/>
                    <a:gd name="connsiteX115" fmla="*/ 1583077 w 4519987"/>
                    <a:gd name="connsiteY115" fmla="*/ 142875 h 4496940"/>
                    <a:gd name="connsiteX116" fmla="*/ 1716427 w 4519987"/>
                    <a:gd name="connsiteY116" fmla="*/ 123825 h 4496940"/>
                    <a:gd name="connsiteX117" fmla="*/ 1811677 w 4519987"/>
                    <a:gd name="connsiteY117" fmla="*/ 114300 h 4496940"/>
                    <a:gd name="connsiteX118" fmla="*/ 1859302 w 4519987"/>
                    <a:gd name="connsiteY118" fmla="*/ 104775 h 4496940"/>
                    <a:gd name="connsiteX119" fmla="*/ 1916452 w 4519987"/>
                    <a:gd name="connsiteY119" fmla="*/ 95250 h 4496940"/>
                    <a:gd name="connsiteX120" fmla="*/ 2030752 w 4519987"/>
                    <a:gd name="connsiteY120" fmla="*/ 66675 h 4496940"/>
                    <a:gd name="connsiteX121" fmla="*/ 2097427 w 4519987"/>
                    <a:gd name="connsiteY121" fmla="*/ 47625 h 4496940"/>
                    <a:gd name="connsiteX122" fmla="*/ 2164102 w 4519987"/>
                    <a:gd name="connsiteY122" fmla="*/ 38100 h 4496940"/>
                    <a:gd name="connsiteX123" fmla="*/ 2392702 w 4519987"/>
                    <a:gd name="connsiteY12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40427 w 4519987"/>
                    <a:gd name="connsiteY38" fmla="*/ 4267200 h 4496940"/>
                    <a:gd name="connsiteX39" fmla="*/ 3068977 w 4519987"/>
                    <a:gd name="connsiteY39" fmla="*/ 4286250 h 4496940"/>
                    <a:gd name="connsiteX40" fmla="*/ 2935627 w 4519987"/>
                    <a:gd name="connsiteY40" fmla="*/ 4333875 h 4496940"/>
                    <a:gd name="connsiteX41" fmla="*/ 2811802 w 4519987"/>
                    <a:gd name="connsiteY41" fmla="*/ 4371975 h 4496940"/>
                    <a:gd name="connsiteX42" fmla="*/ 2745127 w 4519987"/>
                    <a:gd name="connsiteY42" fmla="*/ 4410075 h 4496940"/>
                    <a:gd name="connsiteX43" fmla="*/ 2697502 w 4519987"/>
                    <a:gd name="connsiteY43" fmla="*/ 4429125 h 4496940"/>
                    <a:gd name="connsiteX44" fmla="*/ 2640352 w 4519987"/>
                    <a:gd name="connsiteY44" fmla="*/ 4457700 h 4496940"/>
                    <a:gd name="connsiteX45" fmla="*/ 2583202 w 4519987"/>
                    <a:gd name="connsiteY45" fmla="*/ 4467225 h 4496940"/>
                    <a:gd name="connsiteX46" fmla="*/ 2545102 w 4519987"/>
                    <a:gd name="connsiteY46" fmla="*/ 4486275 h 4496940"/>
                    <a:gd name="connsiteX47" fmla="*/ 2306977 w 4519987"/>
                    <a:gd name="connsiteY47" fmla="*/ 4476750 h 4496940"/>
                    <a:gd name="connsiteX48" fmla="*/ 2202202 w 4519987"/>
                    <a:gd name="connsiteY48" fmla="*/ 4457700 h 4496940"/>
                    <a:gd name="connsiteX49" fmla="*/ 2126002 w 4519987"/>
                    <a:gd name="connsiteY49" fmla="*/ 4429125 h 4496940"/>
                    <a:gd name="connsiteX50" fmla="*/ 1935502 w 4519987"/>
                    <a:gd name="connsiteY50" fmla="*/ 4400550 h 4496940"/>
                    <a:gd name="connsiteX51" fmla="*/ 1821202 w 4519987"/>
                    <a:gd name="connsiteY51" fmla="*/ 4371975 h 4496940"/>
                    <a:gd name="connsiteX52" fmla="*/ 1754527 w 4519987"/>
                    <a:gd name="connsiteY52" fmla="*/ 4352925 h 4496940"/>
                    <a:gd name="connsiteX53" fmla="*/ 1687852 w 4519987"/>
                    <a:gd name="connsiteY53" fmla="*/ 4343400 h 4496940"/>
                    <a:gd name="connsiteX54" fmla="*/ 1573552 w 4519987"/>
                    <a:gd name="connsiteY54" fmla="*/ 4305300 h 4496940"/>
                    <a:gd name="connsiteX55" fmla="*/ 1402102 w 4519987"/>
                    <a:gd name="connsiteY55" fmla="*/ 4276725 h 4496940"/>
                    <a:gd name="connsiteX56" fmla="*/ 1287802 w 4519987"/>
                    <a:gd name="connsiteY56" fmla="*/ 4229100 h 4496940"/>
                    <a:gd name="connsiteX57" fmla="*/ 1221127 w 4519987"/>
                    <a:gd name="connsiteY57" fmla="*/ 4200525 h 4496940"/>
                    <a:gd name="connsiteX58" fmla="*/ 1144927 w 4519987"/>
                    <a:gd name="connsiteY58" fmla="*/ 4171950 h 4496940"/>
                    <a:gd name="connsiteX59" fmla="*/ 1087777 w 4519987"/>
                    <a:gd name="connsiteY59" fmla="*/ 4143375 h 4496940"/>
                    <a:gd name="connsiteX60" fmla="*/ 1030627 w 4519987"/>
                    <a:gd name="connsiteY60" fmla="*/ 4124325 h 4496940"/>
                    <a:gd name="connsiteX61" fmla="*/ 925852 w 4519987"/>
                    <a:gd name="connsiteY61" fmla="*/ 4067175 h 4496940"/>
                    <a:gd name="connsiteX62" fmla="*/ 830602 w 4519987"/>
                    <a:gd name="connsiteY62" fmla="*/ 3981450 h 4496940"/>
                    <a:gd name="connsiteX63" fmla="*/ 763927 w 4519987"/>
                    <a:gd name="connsiteY63" fmla="*/ 3914775 h 4496940"/>
                    <a:gd name="connsiteX64" fmla="*/ 725827 w 4519987"/>
                    <a:gd name="connsiteY64" fmla="*/ 3876675 h 4496940"/>
                    <a:gd name="connsiteX65" fmla="*/ 697252 w 4519987"/>
                    <a:gd name="connsiteY65" fmla="*/ 3838575 h 4496940"/>
                    <a:gd name="connsiteX66" fmla="*/ 640102 w 4519987"/>
                    <a:gd name="connsiteY66" fmla="*/ 3781425 h 4496940"/>
                    <a:gd name="connsiteX67" fmla="*/ 611527 w 4519987"/>
                    <a:gd name="connsiteY67" fmla="*/ 3733800 h 4496940"/>
                    <a:gd name="connsiteX68" fmla="*/ 554377 w 4519987"/>
                    <a:gd name="connsiteY68" fmla="*/ 3657600 h 4496940"/>
                    <a:gd name="connsiteX69" fmla="*/ 525802 w 4519987"/>
                    <a:gd name="connsiteY69" fmla="*/ 3609975 h 4496940"/>
                    <a:gd name="connsiteX70" fmla="*/ 497227 w 4519987"/>
                    <a:gd name="connsiteY70" fmla="*/ 3552825 h 4496940"/>
                    <a:gd name="connsiteX71" fmla="*/ 440077 w 4519987"/>
                    <a:gd name="connsiteY71" fmla="*/ 3495675 h 4496940"/>
                    <a:gd name="connsiteX72" fmla="*/ 411502 w 4519987"/>
                    <a:gd name="connsiteY72" fmla="*/ 3448050 h 4496940"/>
                    <a:gd name="connsiteX73" fmla="*/ 278152 w 4519987"/>
                    <a:gd name="connsiteY73" fmla="*/ 3257550 h 4496940"/>
                    <a:gd name="connsiteX74" fmla="*/ 249577 w 4519987"/>
                    <a:gd name="connsiteY74" fmla="*/ 3200400 h 4496940"/>
                    <a:gd name="connsiteX75" fmla="*/ 240052 w 4519987"/>
                    <a:gd name="connsiteY75" fmla="*/ 3162300 h 4496940"/>
                    <a:gd name="connsiteX76" fmla="*/ 221002 w 4519987"/>
                    <a:gd name="connsiteY76" fmla="*/ 3105150 h 4496940"/>
                    <a:gd name="connsiteX77" fmla="*/ 173377 w 4519987"/>
                    <a:gd name="connsiteY77" fmla="*/ 3019425 h 4496940"/>
                    <a:gd name="connsiteX78" fmla="*/ 144802 w 4519987"/>
                    <a:gd name="connsiteY78" fmla="*/ 2924175 h 4496940"/>
                    <a:gd name="connsiteX79" fmla="*/ 68602 w 4519987"/>
                    <a:gd name="connsiteY79" fmla="*/ 2724150 h 4496940"/>
                    <a:gd name="connsiteX80" fmla="*/ 49552 w 4519987"/>
                    <a:gd name="connsiteY80" fmla="*/ 2638425 h 4496940"/>
                    <a:gd name="connsiteX81" fmla="*/ 40027 w 4519987"/>
                    <a:gd name="connsiteY81" fmla="*/ 2562225 h 4496940"/>
                    <a:gd name="connsiteX82" fmla="*/ 30502 w 4519987"/>
                    <a:gd name="connsiteY82" fmla="*/ 2514600 h 4496940"/>
                    <a:gd name="connsiteX83" fmla="*/ 11452 w 4519987"/>
                    <a:gd name="connsiteY83" fmla="*/ 2400300 h 4496940"/>
                    <a:gd name="connsiteX84" fmla="*/ 20977 w 4519987"/>
                    <a:gd name="connsiteY84" fmla="*/ 1905000 h 4496940"/>
                    <a:gd name="connsiteX85" fmla="*/ 30502 w 4519987"/>
                    <a:gd name="connsiteY85" fmla="*/ 1838325 h 4496940"/>
                    <a:gd name="connsiteX86" fmla="*/ 49552 w 4519987"/>
                    <a:gd name="connsiteY86" fmla="*/ 1781175 h 4496940"/>
                    <a:gd name="connsiteX87" fmla="*/ 59077 w 4519987"/>
                    <a:gd name="connsiteY87" fmla="*/ 1743075 h 4496940"/>
                    <a:gd name="connsiteX88" fmla="*/ 78127 w 4519987"/>
                    <a:gd name="connsiteY88" fmla="*/ 1685925 h 4496940"/>
                    <a:gd name="connsiteX89" fmla="*/ 87652 w 4519987"/>
                    <a:gd name="connsiteY89" fmla="*/ 1638300 h 4496940"/>
                    <a:gd name="connsiteX90" fmla="*/ 106702 w 4519987"/>
                    <a:gd name="connsiteY90" fmla="*/ 1590675 h 4496940"/>
                    <a:gd name="connsiteX91" fmla="*/ 135277 w 4519987"/>
                    <a:gd name="connsiteY91" fmla="*/ 1504950 h 4496940"/>
                    <a:gd name="connsiteX92" fmla="*/ 154327 w 4519987"/>
                    <a:gd name="connsiteY92" fmla="*/ 1419225 h 4496940"/>
                    <a:gd name="connsiteX93" fmla="*/ 230527 w 4519987"/>
                    <a:gd name="connsiteY93" fmla="*/ 1276350 h 4496940"/>
                    <a:gd name="connsiteX94" fmla="*/ 240052 w 4519987"/>
                    <a:gd name="connsiteY94" fmla="*/ 1247775 h 4496940"/>
                    <a:gd name="connsiteX95" fmla="*/ 268627 w 4519987"/>
                    <a:gd name="connsiteY95" fmla="*/ 1200150 h 4496940"/>
                    <a:gd name="connsiteX96" fmla="*/ 287677 w 4519987"/>
                    <a:gd name="connsiteY96" fmla="*/ 1152525 h 4496940"/>
                    <a:gd name="connsiteX97" fmla="*/ 316252 w 4519987"/>
                    <a:gd name="connsiteY97" fmla="*/ 1114425 h 4496940"/>
                    <a:gd name="connsiteX98" fmla="*/ 363877 w 4519987"/>
                    <a:gd name="connsiteY98" fmla="*/ 1038225 h 4496940"/>
                    <a:gd name="connsiteX99" fmla="*/ 382927 w 4519987"/>
                    <a:gd name="connsiteY99" fmla="*/ 1009650 h 4496940"/>
                    <a:gd name="connsiteX100" fmla="*/ 440077 w 4519987"/>
                    <a:gd name="connsiteY100" fmla="*/ 904875 h 4496940"/>
                    <a:gd name="connsiteX101" fmla="*/ 478177 w 4519987"/>
                    <a:gd name="connsiteY101" fmla="*/ 857250 h 4496940"/>
                    <a:gd name="connsiteX102" fmla="*/ 497227 w 4519987"/>
                    <a:gd name="connsiteY102" fmla="*/ 828675 h 4496940"/>
                    <a:gd name="connsiteX103" fmla="*/ 535327 w 4519987"/>
                    <a:gd name="connsiteY103" fmla="*/ 800100 h 4496940"/>
                    <a:gd name="connsiteX104" fmla="*/ 602002 w 4519987"/>
                    <a:gd name="connsiteY104" fmla="*/ 733425 h 4496940"/>
                    <a:gd name="connsiteX105" fmla="*/ 668677 w 4519987"/>
                    <a:gd name="connsiteY105" fmla="*/ 676275 h 4496940"/>
                    <a:gd name="connsiteX106" fmla="*/ 697252 w 4519987"/>
                    <a:gd name="connsiteY106" fmla="*/ 657225 h 4496940"/>
                    <a:gd name="connsiteX107" fmla="*/ 840127 w 4519987"/>
                    <a:gd name="connsiteY107" fmla="*/ 533400 h 4496940"/>
                    <a:gd name="connsiteX108" fmla="*/ 887752 w 4519987"/>
                    <a:gd name="connsiteY108" fmla="*/ 504825 h 4496940"/>
                    <a:gd name="connsiteX109" fmla="*/ 1167152 w 4519987"/>
                    <a:gd name="connsiteY109" fmla="*/ 311150 h 4496940"/>
                    <a:gd name="connsiteX110" fmla="*/ 1268752 w 4519987"/>
                    <a:gd name="connsiteY110" fmla="*/ 285750 h 4496940"/>
                    <a:gd name="connsiteX111" fmla="*/ 1411627 w 4519987"/>
                    <a:gd name="connsiteY111" fmla="*/ 190500 h 4496940"/>
                    <a:gd name="connsiteX112" fmla="*/ 1449727 w 4519987"/>
                    <a:gd name="connsiteY112" fmla="*/ 161925 h 4496940"/>
                    <a:gd name="connsiteX113" fmla="*/ 1525927 w 4519987"/>
                    <a:gd name="connsiteY113" fmla="*/ 152400 h 4496940"/>
                    <a:gd name="connsiteX114" fmla="*/ 1583077 w 4519987"/>
                    <a:gd name="connsiteY114" fmla="*/ 142875 h 4496940"/>
                    <a:gd name="connsiteX115" fmla="*/ 1716427 w 4519987"/>
                    <a:gd name="connsiteY115" fmla="*/ 123825 h 4496940"/>
                    <a:gd name="connsiteX116" fmla="*/ 1811677 w 4519987"/>
                    <a:gd name="connsiteY116" fmla="*/ 114300 h 4496940"/>
                    <a:gd name="connsiteX117" fmla="*/ 1859302 w 4519987"/>
                    <a:gd name="connsiteY117" fmla="*/ 104775 h 4496940"/>
                    <a:gd name="connsiteX118" fmla="*/ 1916452 w 4519987"/>
                    <a:gd name="connsiteY118" fmla="*/ 95250 h 4496940"/>
                    <a:gd name="connsiteX119" fmla="*/ 2030752 w 4519987"/>
                    <a:gd name="connsiteY119" fmla="*/ 66675 h 4496940"/>
                    <a:gd name="connsiteX120" fmla="*/ 2097427 w 4519987"/>
                    <a:gd name="connsiteY120" fmla="*/ 47625 h 4496940"/>
                    <a:gd name="connsiteX121" fmla="*/ 2164102 w 4519987"/>
                    <a:gd name="connsiteY121" fmla="*/ 38100 h 4496940"/>
                    <a:gd name="connsiteX122" fmla="*/ 2392702 w 4519987"/>
                    <a:gd name="connsiteY12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40427 w 4519987"/>
                    <a:gd name="connsiteY37" fmla="*/ 426720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40352 w 4519987"/>
                    <a:gd name="connsiteY42" fmla="*/ 4457700 h 4496940"/>
                    <a:gd name="connsiteX43" fmla="*/ 2583202 w 4519987"/>
                    <a:gd name="connsiteY43" fmla="*/ 4467225 h 4496940"/>
                    <a:gd name="connsiteX44" fmla="*/ 2545102 w 4519987"/>
                    <a:gd name="connsiteY44" fmla="*/ 4486275 h 4496940"/>
                    <a:gd name="connsiteX45" fmla="*/ 2306977 w 4519987"/>
                    <a:gd name="connsiteY45" fmla="*/ 4476750 h 4496940"/>
                    <a:gd name="connsiteX46" fmla="*/ 2202202 w 4519987"/>
                    <a:gd name="connsiteY46" fmla="*/ 4457700 h 4496940"/>
                    <a:gd name="connsiteX47" fmla="*/ 2126002 w 4519987"/>
                    <a:gd name="connsiteY47" fmla="*/ 4429125 h 4496940"/>
                    <a:gd name="connsiteX48" fmla="*/ 1935502 w 4519987"/>
                    <a:gd name="connsiteY48" fmla="*/ 4400550 h 4496940"/>
                    <a:gd name="connsiteX49" fmla="*/ 1821202 w 4519987"/>
                    <a:gd name="connsiteY49" fmla="*/ 4371975 h 4496940"/>
                    <a:gd name="connsiteX50" fmla="*/ 1754527 w 4519987"/>
                    <a:gd name="connsiteY50" fmla="*/ 4352925 h 4496940"/>
                    <a:gd name="connsiteX51" fmla="*/ 1687852 w 4519987"/>
                    <a:gd name="connsiteY51" fmla="*/ 4343400 h 4496940"/>
                    <a:gd name="connsiteX52" fmla="*/ 1573552 w 4519987"/>
                    <a:gd name="connsiteY52" fmla="*/ 4305300 h 4496940"/>
                    <a:gd name="connsiteX53" fmla="*/ 1402102 w 4519987"/>
                    <a:gd name="connsiteY53" fmla="*/ 4276725 h 4496940"/>
                    <a:gd name="connsiteX54" fmla="*/ 1287802 w 4519987"/>
                    <a:gd name="connsiteY54" fmla="*/ 4229100 h 4496940"/>
                    <a:gd name="connsiteX55" fmla="*/ 1221127 w 4519987"/>
                    <a:gd name="connsiteY55" fmla="*/ 4200525 h 4496940"/>
                    <a:gd name="connsiteX56" fmla="*/ 1144927 w 4519987"/>
                    <a:gd name="connsiteY56" fmla="*/ 4171950 h 4496940"/>
                    <a:gd name="connsiteX57" fmla="*/ 1087777 w 4519987"/>
                    <a:gd name="connsiteY57" fmla="*/ 4143375 h 4496940"/>
                    <a:gd name="connsiteX58" fmla="*/ 1030627 w 4519987"/>
                    <a:gd name="connsiteY58" fmla="*/ 4124325 h 4496940"/>
                    <a:gd name="connsiteX59" fmla="*/ 925852 w 4519987"/>
                    <a:gd name="connsiteY59" fmla="*/ 4067175 h 4496940"/>
                    <a:gd name="connsiteX60" fmla="*/ 830602 w 4519987"/>
                    <a:gd name="connsiteY60" fmla="*/ 3981450 h 4496940"/>
                    <a:gd name="connsiteX61" fmla="*/ 763927 w 4519987"/>
                    <a:gd name="connsiteY61" fmla="*/ 3914775 h 4496940"/>
                    <a:gd name="connsiteX62" fmla="*/ 725827 w 4519987"/>
                    <a:gd name="connsiteY62" fmla="*/ 3876675 h 4496940"/>
                    <a:gd name="connsiteX63" fmla="*/ 697252 w 4519987"/>
                    <a:gd name="connsiteY63" fmla="*/ 3838575 h 4496940"/>
                    <a:gd name="connsiteX64" fmla="*/ 640102 w 4519987"/>
                    <a:gd name="connsiteY64" fmla="*/ 3781425 h 4496940"/>
                    <a:gd name="connsiteX65" fmla="*/ 611527 w 4519987"/>
                    <a:gd name="connsiteY65" fmla="*/ 3733800 h 4496940"/>
                    <a:gd name="connsiteX66" fmla="*/ 554377 w 4519987"/>
                    <a:gd name="connsiteY66" fmla="*/ 3657600 h 4496940"/>
                    <a:gd name="connsiteX67" fmla="*/ 525802 w 4519987"/>
                    <a:gd name="connsiteY67" fmla="*/ 3609975 h 4496940"/>
                    <a:gd name="connsiteX68" fmla="*/ 497227 w 4519987"/>
                    <a:gd name="connsiteY68" fmla="*/ 3552825 h 4496940"/>
                    <a:gd name="connsiteX69" fmla="*/ 440077 w 4519987"/>
                    <a:gd name="connsiteY69" fmla="*/ 3495675 h 4496940"/>
                    <a:gd name="connsiteX70" fmla="*/ 411502 w 4519987"/>
                    <a:gd name="connsiteY70" fmla="*/ 3448050 h 4496940"/>
                    <a:gd name="connsiteX71" fmla="*/ 278152 w 4519987"/>
                    <a:gd name="connsiteY71" fmla="*/ 3257550 h 4496940"/>
                    <a:gd name="connsiteX72" fmla="*/ 249577 w 4519987"/>
                    <a:gd name="connsiteY72" fmla="*/ 3200400 h 4496940"/>
                    <a:gd name="connsiteX73" fmla="*/ 240052 w 4519987"/>
                    <a:gd name="connsiteY73" fmla="*/ 3162300 h 4496940"/>
                    <a:gd name="connsiteX74" fmla="*/ 221002 w 4519987"/>
                    <a:gd name="connsiteY74" fmla="*/ 3105150 h 4496940"/>
                    <a:gd name="connsiteX75" fmla="*/ 173377 w 4519987"/>
                    <a:gd name="connsiteY75" fmla="*/ 3019425 h 4496940"/>
                    <a:gd name="connsiteX76" fmla="*/ 144802 w 4519987"/>
                    <a:gd name="connsiteY76" fmla="*/ 2924175 h 4496940"/>
                    <a:gd name="connsiteX77" fmla="*/ 68602 w 4519987"/>
                    <a:gd name="connsiteY77" fmla="*/ 2724150 h 4496940"/>
                    <a:gd name="connsiteX78" fmla="*/ 49552 w 4519987"/>
                    <a:gd name="connsiteY78" fmla="*/ 2638425 h 4496940"/>
                    <a:gd name="connsiteX79" fmla="*/ 40027 w 4519987"/>
                    <a:gd name="connsiteY79" fmla="*/ 2562225 h 4496940"/>
                    <a:gd name="connsiteX80" fmla="*/ 30502 w 4519987"/>
                    <a:gd name="connsiteY80" fmla="*/ 2514600 h 4496940"/>
                    <a:gd name="connsiteX81" fmla="*/ 11452 w 4519987"/>
                    <a:gd name="connsiteY81" fmla="*/ 2400300 h 4496940"/>
                    <a:gd name="connsiteX82" fmla="*/ 20977 w 4519987"/>
                    <a:gd name="connsiteY82" fmla="*/ 1905000 h 4496940"/>
                    <a:gd name="connsiteX83" fmla="*/ 30502 w 4519987"/>
                    <a:gd name="connsiteY83" fmla="*/ 1838325 h 4496940"/>
                    <a:gd name="connsiteX84" fmla="*/ 49552 w 4519987"/>
                    <a:gd name="connsiteY84" fmla="*/ 1781175 h 4496940"/>
                    <a:gd name="connsiteX85" fmla="*/ 59077 w 4519987"/>
                    <a:gd name="connsiteY85" fmla="*/ 1743075 h 4496940"/>
                    <a:gd name="connsiteX86" fmla="*/ 78127 w 4519987"/>
                    <a:gd name="connsiteY86" fmla="*/ 1685925 h 4496940"/>
                    <a:gd name="connsiteX87" fmla="*/ 87652 w 4519987"/>
                    <a:gd name="connsiteY87" fmla="*/ 1638300 h 4496940"/>
                    <a:gd name="connsiteX88" fmla="*/ 106702 w 4519987"/>
                    <a:gd name="connsiteY88" fmla="*/ 1590675 h 4496940"/>
                    <a:gd name="connsiteX89" fmla="*/ 135277 w 4519987"/>
                    <a:gd name="connsiteY89" fmla="*/ 1504950 h 4496940"/>
                    <a:gd name="connsiteX90" fmla="*/ 154327 w 4519987"/>
                    <a:gd name="connsiteY90" fmla="*/ 1419225 h 4496940"/>
                    <a:gd name="connsiteX91" fmla="*/ 230527 w 4519987"/>
                    <a:gd name="connsiteY91" fmla="*/ 1276350 h 4496940"/>
                    <a:gd name="connsiteX92" fmla="*/ 240052 w 4519987"/>
                    <a:gd name="connsiteY92" fmla="*/ 1247775 h 4496940"/>
                    <a:gd name="connsiteX93" fmla="*/ 268627 w 4519987"/>
                    <a:gd name="connsiteY93" fmla="*/ 1200150 h 4496940"/>
                    <a:gd name="connsiteX94" fmla="*/ 287677 w 4519987"/>
                    <a:gd name="connsiteY94" fmla="*/ 1152525 h 4496940"/>
                    <a:gd name="connsiteX95" fmla="*/ 316252 w 4519987"/>
                    <a:gd name="connsiteY95" fmla="*/ 1114425 h 4496940"/>
                    <a:gd name="connsiteX96" fmla="*/ 363877 w 4519987"/>
                    <a:gd name="connsiteY96" fmla="*/ 1038225 h 4496940"/>
                    <a:gd name="connsiteX97" fmla="*/ 382927 w 4519987"/>
                    <a:gd name="connsiteY97" fmla="*/ 1009650 h 4496940"/>
                    <a:gd name="connsiteX98" fmla="*/ 440077 w 4519987"/>
                    <a:gd name="connsiteY98" fmla="*/ 904875 h 4496940"/>
                    <a:gd name="connsiteX99" fmla="*/ 478177 w 4519987"/>
                    <a:gd name="connsiteY99" fmla="*/ 857250 h 4496940"/>
                    <a:gd name="connsiteX100" fmla="*/ 497227 w 4519987"/>
                    <a:gd name="connsiteY100" fmla="*/ 828675 h 4496940"/>
                    <a:gd name="connsiteX101" fmla="*/ 535327 w 4519987"/>
                    <a:gd name="connsiteY101" fmla="*/ 800100 h 4496940"/>
                    <a:gd name="connsiteX102" fmla="*/ 602002 w 4519987"/>
                    <a:gd name="connsiteY102" fmla="*/ 733425 h 4496940"/>
                    <a:gd name="connsiteX103" fmla="*/ 668677 w 4519987"/>
                    <a:gd name="connsiteY103" fmla="*/ 676275 h 4496940"/>
                    <a:gd name="connsiteX104" fmla="*/ 697252 w 4519987"/>
                    <a:gd name="connsiteY104" fmla="*/ 657225 h 4496940"/>
                    <a:gd name="connsiteX105" fmla="*/ 840127 w 4519987"/>
                    <a:gd name="connsiteY105" fmla="*/ 533400 h 4496940"/>
                    <a:gd name="connsiteX106" fmla="*/ 887752 w 4519987"/>
                    <a:gd name="connsiteY106" fmla="*/ 504825 h 4496940"/>
                    <a:gd name="connsiteX107" fmla="*/ 1167152 w 4519987"/>
                    <a:gd name="connsiteY107" fmla="*/ 311150 h 4496940"/>
                    <a:gd name="connsiteX108" fmla="*/ 1268752 w 4519987"/>
                    <a:gd name="connsiteY108" fmla="*/ 285750 h 4496940"/>
                    <a:gd name="connsiteX109" fmla="*/ 1411627 w 4519987"/>
                    <a:gd name="connsiteY109" fmla="*/ 190500 h 4496940"/>
                    <a:gd name="connsiteX110" fmla="*/ 1449727 w 4519987"/>
                    <a:gd name="connsiteY110" fmla="*/ 161925 h 4496940"/>
                    <a:gd name="connsiteX111" fmla="*/ 1525927 w 4519987"/>
                    <a:gd name="connsiteY111" fmla="*/ 152400 h 4496940"/>
                    <a:gd name="connsiteX112" fmla="*/ 1583077 w 4519987"/>
                    <a:gd name="connsiteY112" fmla="*/ 142875 h 4496940"/>
                    <a:gd name="connsiteX113" fmla="*/ 1716427 w 4519987"/>
                    <a:gd name="connsiteY113" fmla="*/ 123825 h 4496940"/>
                    <a:gd name="connsiteX114" fmla="*/ 1811677 w 4519987"/>
                    <a:gd name="connsiteY114" fmla="*/ 114300 h 4496940"/>
                    <a:gd name="connsiteX115" fmla="*/ 1859302 w 4519987"/>
                    <a:gd name="connsiteY115" fmla="*/ 104775 h 4496940"/>
                    <a:gd name="connsiteX116" fmla="*/ 1916452 w 4519987"/>
                    <a:gd name="connsiteY116" fmla="*/ 95250 h 4496940"/>
                    <a:gd name="connsiteX117" fmla="*/ 2030752 w 4519987"/>
                    <a:gd name="connsiteY117" fmla="*/ 66675 h 4496940"/>
                    <a:gd name="connsiteX118" fmla="*/ 2097427 w 4519987"/>
                    <a:gd name="connsiteY118" fmla="*/ 47625 h 4496940"/>
                    <a:gd name="connsiteX119" fmla="*/ 2164102 w 4519987"/>
                    <a:gd name="connsiteY119" fmla="*/ 38100 h 4496940"/>
                    <a:gd name="connsiteX120" fmla="*/ 2392702 w 4519987"/>
                    <a:gd name="connsiteY120" fmla="*/ 28575 h 4496940"/>
                    <a:gd name="connsiteX0" fmla="*/ 2297452 w 4519987"/>
                    <a:gd name="connsiteY0" fmla="*/ 0 h 4487372"/>
                    <a:gd name="connsiteX1" fmla="*/ 2421277 w 4519987"/>
                    <a:gd name="connsiteY1" fmla="*/ 28575 h 4487372"/>
                    <a:gd name="connsiteX2" fmla="*/ 2497477 w 4519987"/>
                    <a:gd name="connsiteY2" fmla="*/ 47625 h 4487372"/>
                    <a:gd name="connsiteX3" fmla="*/ 2754652 w 4519987"/>
                    <a:gd name="connsiteY3" fmla="*/ 66675 h 4487372"/>
                    <a:gd name="connsiteX4" fmla="*/ 2830852 w 4519987"/>
                    <a:gd name="connsiteY4" fmla="*/ 76200 h 4487372"/>
                    <a:gd name="connsiteX5" fmla="*/ 2916577 w 4519987"/>
                    <a:gd name="connsiteY5" fmla="*/ 85725 h 4487372"/>
                    <a:gd name="connsiteX6" fmla="*/ 2973727 w 4519987"/>
                    <a:gd name="connsiteY6" fmla="*/ 114300 h 4487372"/>
                    <a:gd name="connsiteX7" fmla="*/ 3011827 w 4519987"/>
                    <a:gd name="connsiteY7" fmla="*/ 123825 h 4487372"/>
                    <a:gd name="connsiteX8" fmla="*/ 3135652 w 4519987"/>
                    <a:gd name="connsiteY8" fmla="*/ 171450 h 4487372"/>
                    <a:gd name="connsiteX9" fmla="*/ 3173752 w 4519987"/>
                    <a:gd name="connsiteY9" fmla="*/ 190500 h 4487372"/>
                    <a:gd name="connsiteX10" fmla="*/ 3240427 w 4519987"/>
                    <a:gd name="connsiteY10" fmla="*/ 228600 h 4487372"/>
                    <a:gd name="connsiteX11" fmla="*/ 3269002 w 4519987"/>
                    <a:gd name="connsiteY11" fmla="*/ 238125 h 4487372"/>
                    <a:gd name="connsiteX12" fmla="*/ 3297577 w 4519987"/>
                    <a:gd name="connsiteY12" fmla="*/ 257175 h 4487372"/>
                    <a:gd name="connsiteX13" fmla="*/ 3326152 w 4519987"/>
                    <a:gd name="connsiteY13" fmla="*/ 266700 h 4487372"/>
                    <a:gd name="connsiteX14" fmla="*/ 3354727 w 4519987"/>
                    <a:gd name="connsiteY14" fmla="*/ 285750 h 4487372"/>
                    <a:gd name="connsiteX15" fmla="*/ 3421402 w 4519987"/>
                    <a:gd name="connsiteY15" fmla="*/ 323850 h 4487372"/>
                    <a:gd name="connsiteX16" fmla="*/ 3469027 w 4519987"/>
                    <a:gd name="connsiteY16" fmla="*/ 361950 h 4487372"/>
                    <a:gd name="connsiteX17" fmla="*/ 3516652 w 4519987"/>
                    <a:gd name="connsiteY17" fmla="*/ 390525 h 4487372"/>
                    <a:gd name="connsiteX18" fmla="*/ 3630952 w 4519987"/>
                    <a:gd name="connsiteY18" fmla="*/ 485775 h 4487372"/>
                    <a:gd name="connsiteX19" fmla="*/ 3745252 w 4519987"/>
                    <a:gd name="connsiteY19" fmla="*/ 542925 h 4487372"/>
                    <a:gd name="connsiteX20" fmla="*/ 3811927 w 4519987"/>
                    <a:gd name="connsiteY20" fmla="*/ 581025 h 4487372"/>
                    <a:gd name="connsiteX21" fmla="*/ 4027827 w 4519987"/>
                    <a:gd name="connsiteY21" fmla="*/ 819150 h 4487372"/>
                    <a:gd name="connsiteX22" fmla="*/ 4164352 w 4519987"/>
                    <a:gd name="connsiteY22" fmla="*/ 990600 h 4487372"/>
                    <a:gd name="connsiteX23" fmla="*/ 4250077 w 4519987"/>
                    <a:gd name="connsiteY23" fmla="*/ 1143000 h 4487372"/>
                    <a:gd name="connsiteX24" fmla="*/ 4307227 w 4519987"/>
                    <a:gd name="connsiteY24" fmla="*/ 1266825 h 4487372"/>
                    <a:gd name="connsiteX25" fmla="*/ 4345327 w 4519987"/>
                    <a:gd name="connsiteY25" fmla="*/ 1362075 h 4487372"/>
                    <a:gd name="connsiteX26" fmla="*/ 4392952 w 4519987"/>
                    <a:gd name="connsiteY26" fmla="*/ 1552575 h 4487372"/>
                    <a:gd name="connsiteX27" fmla="*/ 4431052 w 4519987"/>
                    <a:gd name="connsiteY27" fmla="*/ 1685925 h 4487372"/>
                    <a:gd name="connsiteX28" fmla="*/ 4519952 w 4519987"/>
                    <a:gd name="connsiteY28" fmla="*/ 2181225 h 4487372"/>
                    <a:gd name="connsiteX29" fmla="*/ 4446927 w 4519987"/>
                    <a:gd name="connsiteY29" fmla="*/ 2768600 h 4487372"/>
                    <a:gd name="connsiteX30" fmla="*/ 4383427 w 4519987"/>
                    <a:gd name="connsiteY30" fmla="*/ 2990850 h 4487372"/>
                    <a:gd name="connsiteX31" fmla="*/ 4278652 w 4519987"/>
                    <a:gd name="connsiteY31" fmla="*/ 3248025 h 4487372"/>
                    <a:gd name="connsiteX32" fmla="*/ 4183402 w 4519987"/>
                    <a:gd name="connsiteY32" fmla="*/ 3400425 h 4487372"/>
                    <a:gd name="connsiteX33" fmla="*/ 4059577 w 4519987"/>
                    <a:gd name="connsiteY33" fmla="*/ 3533775 h 4487372"/>
                    <a:gd name="connsiteX34" fmla="*/ 3954802 w 4519987"/>
                    <a:gd name="connsiteY34" fmla="*/ 3648075 h 4487372"/>
                    <a:gd name="connsiteX35" fmla="*/ 3659527 w 4519987"/>
                    <a:gd name="connsiteY35" fmla="*/ 3971925 h 4487372"/>
                    <a:gd name="connsiteX36" fmla="*/ 3516652 w 4519987"/>
                    <a:gd name="connsiteY36" fmla="*/ 4083050 h 4487372"/>
                    <a:gd name="connsiteX37" fmla="*/ 3221377 w 4519987"/>
                    <a:gd name="connsiteY37" fmla="*/ 4222750 h 4487372"/>
                    <a:gd name="connsiteX38" fmla="*/ 3068977 w 4519987"/>
                    <a:gd name="connsiteY38" fmla="*/ 4286250 h 4487372"/>
                    <a:gd name="connsiteX39" fmla="*/ 2935627 w 4519987"/>
                    <a:gd name="connsiteY39" fmla="*/ 4333875 h 4487372"/>
                    <a:gd name="connsiteX40" fmla="*/ 2811802 w 4519987"/>
                    <a:gd name="connsiteY40" fmla="*/ 4371975 h 4487372"/>
                    <a:gd name="connsiteX41" fmla="*/ 2745127 w 4519987"/>
                    <a:gd name="connsiteY41" fmla="*/ 4410075 h 4487372"/>
                    <a:gd name="connsiteX42" fmla="*/ 2640352 w 4519987"/>
                    <a:gd name="connsiteY42" fmla="*/ 4457700 h 4487372"/>
                    <a:gd name="connsiteX43" fmla="*/ 2545102 w 4519987"/>
                    <a:gd name="connsiteY43" fmla="*/ 4486275 h 4487372"/>
                    <a:gd name="connsiteX44" fmla="*/ 2306977 w 4519987"/>
                    <a:gd name="connsiteY44" fmla="*/ 4476750 h 4487372"/>
                    <a:gd name="connsiteX45" fmla="*/ 2202202 w 4519987"/>
                    <a:gd name="connsiteY45" fmla="*/ 4457700 h 4487372"/>
                    <a:gd name="connsiteX46" fmla="*/ 2126002 w 4519987"/>
                    <a:gd name="connsiteY46" fmla="*/ 4429125 h 4487372"/>
                    <a:gd name="connsiteX47" fmla="*/ 1935502 w 4519987"/>
                    <a:gd name="connsiteY47" fmla="*/ 4400550 h 4487372"/>
                    <a:gd name="connsiteX48" fmla="*/ 1821202 w 4519987"/>
                    <a:gd name="connsiteY48" fmla="*/ 4371975 h 4487372"/>
                    <a:gd name="connsiteX49" fmla="*/ 1754527 w 4519987"/>
                    <a:gd name="connsiteY49" fmla="*/ 4352925 h 4487372"/>
                    <a:gd name="connsiteX50" fmla="*/ 1687852 w 4519987"/>
                    <a:gd name="connsiteY50" fmla="*/ 4343400 h 4487372"/>
                    <a:gd name="connsiteX51" fmla="*/ 1573552 w 4519987"/>
                    <a:gd name="connsiteY51" fmla="*/ 4305300 h 4487372"/>
                    <a:gd name="connsiteX52" fmla="*/ 1402102 w 4519987"/>
                    <a:gd name="connsiteY52" fmla="*/ 4276725 h 4487372"/>
                    <a:gd name="connsiteX53" fmla="*/ 1287802 w 4519987"/>
                    <a:gd name="connsiteY53" fmla="*/ 4229100 h 4487372"/>
                    <a:gd name="connsiteX54" fmla="*/ 1221127 w 4519987"/>
                    <a:gd name="connsiteY54" fmla="*/ 4200525 h 4487372"/>
                    <a:gd name="connsiteX55" fmla="*/ 1144927 w 4519987"/>
                    <a:gd name="connsiteY55" fmla="*/ 4171950 h 4487372"/>
                    <a:gd name="connsiteX56" fmla="*/ 1087777 w 4519987"/>
                    <a:gd name="connsiteY56" fmla="*/ 4143375 h 4487372"/>
                    <a:gd name="connsiteX57" fmla="*/ 1030627 w 4519987"/>
                    <a:gd name="connsiteY57" fmla="*/ 4124325 h 4487372"/>
                    <a:gd name="connsiteX58" fmla="*/ 925852 w 4519987"/>
                    <a:gd name="connsiteY58" fmla="*/ 4067175 h 4487372"/>
                    <a:gd name="connsiteX59" fmla="*/ 830602 w 4519987"/>
                    <a:gd name="connsiteY59" fmla="*/ 3981450 h 4487372"/>
                    <a:gd name="connsiteX60" fmla="*/ 763927 w 4519987"/>
                    <a:gd name="connsiteY60" fmla="*/ 3914775 h 4487372"/>
                    <a:gd name="connsiteX61" fmla="*/ 725827 w 4519987"/>
                    <a:gd name="connsiteY61" fmla="*/ 3876675 h 4487372"/>
                    <a:gd name="connsiteX62" fmla="*/ 697252 w 4519987"/>
                    <a:gd name="connsiteY62" fmla="*/ 3838575 h 4487372"/>
                    <a:gd name="connsiteX63" fmla="*/ 640102 w 4519987"/>
                    <a:gd name="connsiteY63" fmla="*/ 3781425 h 4487372"/>
                    <a:gd name="connsiteX64" fmla="*/ 611527 w 4519987"/>
                    <a:gd name="connsiteY64" fmla="*/ 3733800 h 4487372"/>
                    <a:gd name="connsiteX65" fmla="*/ 554377 w 4519987"/>
                    <a:gd name="connsiteY65" fmla="*/ 3657600 h 4487372"/>
                    <a:gd name="connsiteX66" fmla="*/ 525802 w 4519987"/>
                    <a:gd name="connsiteY66" fmla="*/ 3609975 h 4487372"/>
                    <a:gd name="connsiteX67" fmla="*/ 497227 w 4519987"/>
                    <a:gd name="connsiteY67" fmla="*/ 3552825 h 4487372"/>
                    <a:gd name="connsiteX68" fmla="*/ 440077 w 4519987"/>
                    <a:gd name="connsiteY68" fmla="*/ 3495675 h 4487372"/>
                    <a:gd name="connsiteX69" fmla="*/ 411502 w 4519987"/>
                    <a:gd name="connsiteY69" fmla="*/ 3448050 h 4487372"/>
                    <a:gd name="connsiteX70" fmla="*/ 278152 w 4519987"/>
                    <a:gd name="connsiteY70" fmla="*/ 3257550 h 4487372"/>
                    <a:gd name="connsiteX71" fmla="*/ 249577 w 4519987"/>
                    <a:gd name="connsiteY71" fmla="*/ 3200400 h 4487372"/>
                    <a:gd name="connsiteX72" fmla="*/ 240052 w 4519987"/>
                    <a:gd name="connsiteY72" fmla="*/ 3162300 h 4487372"/>
                    <a:gd name="connsiteX73" fmla="*/ 221002 w 4519987"/>
                    <a:gd name="connsiteY73" fmla="*/ 3105150 h 4487372"/>
                    <a:gd name="connsiteX74" fmla="*/ 173377 w 4519987"/>
                    <a:gd name="connsiteY74" fmla="*/ 3019425 h 4487372"/>
                    <a:gd name="connsiteX75" fmla="*/ 144802 w 4519987"/>
                    <a:gd name="connsiteY75" fmla="*/ 2924175 h 4487372"/>
                    <a:gd name="connsiteX76" fmla="*/ 68602 w 4519987"/>
                    <a:gd name="connsiteY76" fmla="*/ 2724150 h 4487372"/>
                    <a:gd name="connsiteX77" fmla="*/ 49552 w 4519987"/>
                    <a:gd name="connsiteY77" fmla="*/ 2638425 h 4487372"/>
                    <a:gd name="connsiteX78" fmla="*/ 40027 w 4519987"/>
                    <a:gd name="connsiteY78" fmla="*/ 2562225 h 4487372"/>
                    <a:gd name="connsiteX79" fmla="*/ 30502 w 4519987"/>
                    <a:gd name="connsiteY79" fmla="*/ 2514600 h 4487372"/>
                    <a:gd name="connsiteX80" fmla="*/ 11452 w 4519987"/>
                    <a:gd name="connsiteY80" fmla="*/ 2400300 h 4487372"/>
                    <a:gd name="connsiteX81" fmla="*/ 20977 w 4519987"/>
                    <a:gd name="connsiteY81" fmla="*/ 1905000 h 4487372"/>
                    <a:gd name="connsiteX82" fmla="*/ 30502 w 4519987"/>
                    <a:gd name="connsiteY82" fmla="*/ 1838325 h 4487372"/>
                    <a:gd name="connsiteX83" fmla="*/ 49552 w 4519987"/>
                    <a:gd name="connsiteY83" fmla="*/ 1781175 h 4487372"/>
                    <a:gd name="connsiteX84" fmla="*/ 59077 w 4519987"/>
                    <a:gd name="connsiteY84" fmla="*/ 1743075 h 4487372"/>
                    <a:gd name="connsiteX85" fmla="*/ 78127 w 4519987"/>
                    <a:gd name="connsiteY85" fmla="*/ 1685925 h 4487372"/>
                    <a:gd name="connsiteX86" fmla="*/ 87652 w 4519987"/>
                    <a:gd name="connsiteY86" fmla="*/ 1638300 h 4487372"/>
                    <a:gd name="connsiteX87" fmla="*/ 106702 w 4519987"/>
                    <a:gd name="connsiteY87" fmla="*/ 1590675 h 4487372"/>
                    <a:gd name="connsiteX88" fmla="*/ 135277 w 4519987"/>
                    <a:gd name="connsiteY88" fmla="*/ 1504950 h 4487372"/>
                    <a:gd name="connsiteX89" fmla="*/ 154327 w 4519987"/>
                    <a:gd name="connsiteY89" fmla="*/ 1419225 h 4487372"/>
                    <a:gd name="connsiteX90" fmla="*/ 230527 w 4519987"/>
                    <a:gd name="connsiteY90" fmla="*/ 1276350 h 4487372"/>
                    <a:gd name="connsiteX91" fmla="*/ 240052 w 4519987"/>
                    <a:gd name="connsiteY91" fmla="*/ 1247775 h 4487372"/>
                    <a:gd name="connsiteX92" fmla="*/ 268627 w 4519987"/>
                    <a:gd name="connsiteY92" fmla="*/ 1200150 h 4487372"/>
                    <a:gd name="connsiteX93" fmla="*/ 287677 w 4519987"/>
                    <a:gd name="connsiteY93" fmla="*/ 1152525 h 4487372"/>
                    <a:gd name="connsiteX94" fmla="*/ 316252 w 4519987"/>
                    <a:gd name="connsiteY94" fmla="*/ 1114425 h 4487372"/>
                    <a:gd name="connsiteX95" fmla="*/ 363877 w 4519987"/>
                    <a:gd name="connsiteY95" fmla="*/ 1038225 h 4487372"/>
                    <a:gd name="connsiteX96" fmla="*/ 382927 w 4519987"/>
                    <a:gd name="connsiteY96" fmla="*/ 1009650 h 4487372"/>
                    <a:gd name="connsiteX97" fmla="*/ 440077 w 4519987"/>
                    <a:gd name="connsiteY97" fmla="*/ 904875 h 4487372"/>
                    <a:gd name="connsiteX98" fmla="*/ 478177 w 4519987"/>
                    <a:gd name="connsiteY98" fmla="*/ 857250 h 4487372"/>
                    <a:gd name="connsiteX99" fmla="*/ 497227 w 4519987"/>
                    <a:gd name="connsiteY99" fmla="*/ 828675 h 4487372"/>
                    <a:gd name="connsiteX100" fmla="*/ 535327 w 4519987"/>
                    <a:gd name="connsiteY100" fmla="*/ 800100 h 4487372"/>
                    <a:gd name="connsiteX101" fmla="*/ 602002 w 4519987"/>
                    <a:gd name="connsiteY101" fmla="*/ 733425 h 4487372"/>
                    <a:gd name="connsiteX102" fmla="*/ 668677 w 4519987"/>
                    <a:gd name="connsiteY102" fmla="*/ 676275 h 4487372"/>
                    <a:gd name="connsiteX103" fmla="*/ 697252 w 4519987"/>
                    <a:gd name="connsiteY103" fmla="*/ 657225 h 4487372"/>
                    <a:gd name="connsiteX104" fmla="*/ 840127 w 4519987"/>
                    <a:gd name="connsiteY104" fmla="*/ 533400 h 4487372"/>
                    <a:gd name="connsiteX105" fmla="*/ 887752 w 4519987"/>
                    <a:gd name="connsiteY105" fmla="*/ 504825 h 4487372"/>
                    <a:gd name="connsiteX106" fmla="*/ 1167152 w 4519987"/>
                    <a:gd name="connsiteY106" fmla="*/ 311150 h 4487372"/>
                    <a:gd name="connsiteX107" fmla="*/ 1268752 w 4519987"/>
                    <a:gd name="connsiteY107" fmla="*/ 285750 h 4487372"/>
                    <a:gd name="connsiteX108" fmla="*/ 1411627 w 4519987"/>
                    <a:gd name="connsiteY108" fmla="*/ 190500 h 4487372"/>
                    <a:gd name="connsiteX109" fmla="*/ 1449727 w 4519987"/>
                    <a:gd name="connsiteY109" fmla="*/ 161925 h 4487372"/>
                    <a:gd name="connsiteX110" fmla="*/ 1525927 w 4519987"/>
                    <a:gd name="connsiteY110" fmla="*/ 152400 h 4487372"/>
                    <a:gd name="connsiteX111" fmla="*/ 1583077 w 4519987"/>
                    <a:gd name="connsiteY111" fmla="*/ 142875 h 4487372"/>
                    <a:gd name="connsiteX112" fmla="*/ 1716427 w 4519987"/>
                    <a:gd name="connsiteY112" fmla="*/ 123825 h 4487372"/>
                    <a:gd name="connsiteX113" fmla="*/ 1811677 w 4519987"/>
                    <a:gd name="connsiteY113" fmla="*/ 114300 h 4487372"/>
                    <a:gd name="connsiteX114" fmla="*/ 1859302 w 4519987"/>
                    <a:gd name="connsiteY114" fmla="*/ 104775 h 4487372"/>
                    <a:gd name="connsiteX115" fmla="*/ 1916452 w 4519987"/>
                    <a:gd name="connsiteY115" fmla="*/ 95250 h 4487372"/>
                    <a:gd name="connsiteX116" fmla="*/ 2030752 w 4519987"/>
                    <a:gd name="connsiteY116" fmla="*/ 66675 h 4487372"/>
                    <a:gd name="connsiteX117" fmla="*/ 2097427 w 4519987"/>
                    <a:gd name="connsiteY117" fmla="*/ 47625 h 4487372"/>
                    <a:gd name="connsiteX118" fmla="*/ 2164102 w 4519987"/>
                    <a:gd name="connsiteY118" fmla="*/ 38100 h 4487372"/>
                    <a:gd name="connsiteX119" fmla="*/ 2392702 w 4519987"/>
                    <a:gd name="connsiteY119" fmla="*/ 28575 h 4487372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745127 w 4519987"/>
                    <a:gd name="connsiteY41" fmla="*/ 4410075 h 4476750"/>
                    <a:gd name="connsiteX42" fmla="*/ 2640352 w 4519987"/>
                    <a:gd name="connsiteY42" fmla="*/ 4457700 h 4476750"/>
                    <a:gd name="connsiteX43" fmla="*/ 2306977 w 4519987"/>
                    <a:gd name="connsiteY43" fmla="*/ 4476750 h 4476750"/>
                    <a:gd name="connsiteX44" fmla="*/ 2202202 w 4519987"/>
                    <a:gd name="connsiteY44" fmla="*/ 4457700 h 4476750"/>
                    <a:gd name="connsiteX45" fmla="*/ 2126002 w 4519987"/>
                    <a:gd name="connsiteY45" fmla="*/ 4429125 h 4476750"/>
                    <a:gd name="connsiteX46" fmla="*/ 1935502 w 4519987"/>
                    <a:gd name="connsiteY46" fmla="*/ 4400550 h 4476750"/>
                    <a:gd name="connsiteX47" fmla="*/ 1821202 w 4519987"/>
                    <a:gd name="connsiteY47" fmla="*/ 4371975 h 4476750"/>
                    <a:gd name="connsiteX48" fmla="*/ 1754527 w 4519987"/>
                    <a:gd name="connsiteY48" fmla="*/ 4352925 h 4476750"/>
                    <a:gd name="connsiteX49" fmla="*/ 1687852 w 4519987"/>
                    <a:gd name="connsiteY49" fmla="*/ 4343400 h 4476750"/>
                    <a:gd name="connsiteX50" fmla="*/ 1573552 w 4519987"/>
                    <a:gd name="connsiteY50" fmla="*/ 4305300 h 4476750"/>
                    <a:gd name="connsiteX51" fmla="*/ 1402102 w 4519987"/>
                    <a:gd name="connsiteY51" fmla="*/ 4276725 h 4476750"/>
                    <a:gd name="connsiteX52" fmla="*/ 1287802 w 4519987"/>
                    <a:gd name="connsiteY52" fmla="*/ 4229100 h 4476750"/>
                    <a:gd name="connsiteX53" fmla="*/ 1221127 w 4519987"/>
                    <a:gd name="connsiteY53" fmla="*/ 4200525 h 4476750"/>
                    <a:gd name="connsiteX54" fmla="*/ 1144927 w 4519987"/>
                    <a:gd name="connsiteY54" fmla="*/ 4171950 h 4476750"/>
                    <a:gd name="connsiteX55" fmla="*/ 1087777 w 4519987"/>
                    <a:gd name="connsiteY55" fmla="*/ 4143375 h 4476750"/>
                    <a:gd name="connsiteX56" fmla="*/ 1030627 w 4519987"/>
                    <a:gd name="connsiteY56" fmla="*/ 4124325 h 4476750"/>
                    <a:gd name="connsiteX57" fmla="*/ 925852 w 4519987"/>
                    <a:gd name="connsiteY57" fmla="*/ 4067175 h 4476750"/>
                    <a:gd name="connsiteX58" fmla="*/ 830602 w 4519987"/>
                    <a:gd name="connsiteY58" fmla="*/ 3981450 h 4476750"/>
                    <a:gd name="connsiteX59" fmla="*/ 763927 w 4519987"/>
                    <a:gd name="connsiteY59" fmla="*/ 3914775 h 4476750"/>
                    <a:gd name="connsiteX60" fmla="*/ 725827 w 4519987"/>
                    <a:gd name="connsiteY60" fmla="*/ 3876675 h 4476750"/>
                    <a:gd name="connsiteX61" fmla="*/ 697252 w 4519987"/>
                    <a:gd name="connsiteY61" fmla="*/ 3838575 h 4476750"/>
                    <a:gd name="connsiteX62" fmla="*/ 640102 w 4519987"/>
                    <a:gd name="connsiteY62" fmla="*/ 3781425 h 4476750"/>
                    <a:gd name="connsiteX63" fmla="*/ 611527 w 4519987"/>
                    <a:gd name="connsiteY63" fmla="*/ 3733800 h 4476750"/>
                    <a:gd name="connsiteX64" fmla="*/ 554377 w 4519987"/>
                    <a:gd name="connsiteY64" fmla="*/ 3657600 h 4476750"/>
                    <a:gd name="connsiteX65" fmla="*/ 525802 w 4519987"/>
                    <a:gd name="connsiteY65" fmla="*/ 3609975 h 4476750"/>
                    <a:gd name="connsiteX66" fmla="*/ 497227 w 4519987"/>
                    <a:gd name="connsiteY66" fmla="*/ 3552825 h 4476750"/>
                    <a:gd name="connsiteX67" fmla="*/ 440077 w 4519987"/>
                    <a:gd name="connsiteY67" fmla="*/ 3495675 h 4476750"/>
                    <a:gd name="connsiteX68" fmla="*/ 411502 w 4519987"/>
                    <a:gd name="connsiteY68" fmla="*/ 3448050 h 4476750"/>
                    <a:gd name="connsiteX69" fmla="*/ 278152 w 4519987"/>
                    <a:gd name="connsiteY69" fmla="*/ 3257550 h 4476750"/>
                    <a:gd name="connsiteX70" fmla="*/ 249577 w 4519987"/>
                    <a:gd name="connsiteY70" fmla="*/ 3200400 h 4476750"/>
                    <a:gd name="connsiteX71" fmla="*/ 240052 w 4519987"/>
                    <a:gd name="connsiteY71" fmla="*/ 3162300 h 4476750"/>
                    <a:gd name="connsiteX72" fmla="*/ 221002 w 4519987"/>
                    <a:gd name="connsiteY72" fmla="*/ 3105150 h 4476750"/>
                    <a:gd name="connsiteX73" fmla="*/ 173377 w 4519987"/>
                    <a:gd name="connsiteY73" fmla="*/ 3019425 h 4476750"/>
                    <a:gd name="connsiteX74" fmla="*/ 144802 w 4519987"/>
                    <a:gd name="connsiteY74" fmla="*/ 2924175 h 4476750"/>
                    <a:gd name="connsiteX75" fmla="*/ 68602 w 4519987"/>
                    <a:gd name="connsiteY75" fmla="*/ 2724150 h 4476750"/>
                    <a:gd name="connsiteX76" fmla="*/ 49552 w 4519987"/>
                    <a:gd name="connsiteY76" fmla="*/ 2638425 h 4476750"/>
                    <a:gd name="connsiteX77" fmla="*/ 40027 w 4519987"/>
                    <a:gd name="connsiteY77" fmla="*/ 2562225 h 4476750"/>
                    <a:gd name="connsiteX78" fmla="*/ 30502 w 4519987"/>
                    <a:gd name="connsiteY78" fmla="*/ 2514600 h 4476750"/>
                    <a:gd name="connsiteX79" fmla="*/ 11452 w 4519987"/>
                    <a:gd name="connsiteY79" fmla="*/ 2400300 h 4476750"/>
                    <a:gd name="connsiteX80" fmla="*/ 20977 w 4519987"/>
                    <a:gd name="connsiteY80" fmla="*/ 1905000 h 4476750"/>
                    <a:gd name="connsiteX81" fmla="*/ 30502 w 4519987"/>
                    <a:gd name="connsiteY81" fmla="*/ 1838325 h 4476750"/>
                    <a:gd name="connsiteX82" fmla="*/ 49552 w 4519987"/>
                    <a:gd name="connsiteY82" fmla="*/ 1781175 h 4476750"/>
                    <a:gd name="connsiteX83" fmla="*/ 59077 w 4519987"/>
                    <a:gd name="connsiteY83" fmla="*/ 1743075 h 4476750"/>
                    <a:gd name="connsiteX84" fmla="*/ 78127 w 4519987"/>
                    <a:gd name="connsiteY84" fmla="*/ 1685925 h 4476750"/>
                    <a:gd name="connsiteX85" fmla="*/ 87652 w 4519987"/>
                    <a:gd name="connsiteY85" fmla="*/ 1638300 h 4476750"/>
                    <a:gd name="connsiteX86" fmla="*/ 106702 w 4519987"/>
                    <a:gd name="connsiteY86" fmla="*/ 1590675 h 4476750"/>
                    <a:gd name="connsiteX87" fmla="*/ 135277 w 4519987"/>
                    <a:gd name="connsiteY87" fmla="*/ 1504950 h 4476750"/>
                    <a:gd name="connsiteX88" fmla="*/ 154327 w 4519987"/>
                    <a:gd name="connsiteY88" fmla="*/ 1419225 h 4476750"/>
                    <a:gd name="connsiteX89" fmla="*/ 230527 w 4519987"/>
                    <a:gd name="connsiteY89" fmla="*/ 1276350 h 4476750"/>
                    <a:gd name="connsiteX90" fmla="*/ 240052 w 4519987"/>
                    <a:gd name="connsiteY90" fmla="*/ 1247775 h 4476750"/>
                    <a:gd name="connsiteX91" fmla="*/ 268627 w 4519987"/>
                    <a:gd name="connsiteY91" fmla="*/ 1200150 h 4476750"/>
                    <a:gd name="connsiteX92" fmla="*/ 287677 w 4519987"/>
                    <a:gd name="connsiteY92" fmla="*/ 1152525 h 4476750"/>
                    <a:gd name="connsiteX93" fmla="*/ 316252 w 4519987"/>
                    <a:gd name="connsiteY93" fmla="*/ 1114425 h 4476750"/>
                    <a:gd name="connsiteX94" fmla="*/ 363877 w 4519987"/>
                    <a:gd name="connsiteY94" fmla="*/ 1038225 h 4476750"/>
                    <a:gd name="connsiteX95" fmla="*/ 382927 w 4519987"/>
                    <a:gd name="connsiteY95" fmla="*/ 1009650 h 4476750"/>
                    <a:gd name="connsiteX96" fmla="*/ 440077 w 4519987"/>
                    <a:gd name="connsiteY96" fmla="*/ 904875 h 4476750"/>
                    <a:gd name="connsiteX97" fmla="*/ 478177 w 4519987"/>
                    <a:gd name="connsiteY97" fmla="*/ 857250 h 4476750"/>
                    <a:gd name="connsiteX98" fmla="*/ 497227 w 4519987"/>
                    <a:gd name="connsiteY98" fmla="*/ 828675 h 4476750"/>
                    <a:gd name="connsiteX99" fmla="*/ 535327 w 4519987"/>
                    <a:gd name="connsiteY99" fmla="*/ 800100 h 4476750"/>
                    <a:gd name="connsiteX100" fmla="*/ 602002 w 4519987"/>
                    <a:gd name="connsiteY100" fmla="*/ 733425 h 4476750"/>
                    <a:gd name="connsiteX101" fmla="*/ 668677 w 4519987"/>
                    <a:gd name="connsiteY101" fmla="*/ 676275 h 4476750"/>
                    <a:gd name="connsiteX102" fmla="*/ 697252 w 4519987"/>
                    <a:gd name="connsiteY102" fmla="*/ 657225 h 4476750"/>
                    <a:gd name="connsiteX103" fmla="*/ 840127 w 4519987"/>
                    <a:gd name="connsiteY103" fmla="*/ 533400 h 4476750"/>
                    <a:gd name="connsiteX104" fmla="*/ 887752 w 4519987"/>
                    <a:gd name="connsiteY104" fmla="*/ 504825 h 4476750"/>
                    <a:gd name="connsiteX105" fmla="*/ 1167152 w 4519987"/>
                    <a:gd name="connsiteY105" fmla="*/ 311150 h 4476750"/>
                    <a:gd name="connsiteX106" fmla="*/ 1268752 w 4519987"/>
                    <a:gd name="connsiteY106" fmla="*/ 285750 h 4476750"/>
                    <a:gd name="connsiteX107" fmla="*/ 1411627 w 4519987"/>
                    <a:gd name="connsiteY107" fmla="*/ 190500 h 4476750"/>
                    <a:gd name="connsiteX108" fmla="*/ 1449727 w 4519987"/>
                    <a:gd name="connsiteY108" fmla="*/ 161925 h 4476750"/>
                    <a:gd name="connsiteX109" fmla="*/ 1525927 w 4519987"/>
                    <a:gd name="connsiteY109" fmla="*/ 152400 h 4476750"/>
                    <a:gd name="connsiteX110" fmla="*/ 1583077 w 4519987"/>
                    <a:gd name="connsiteY110" fmla="*/ 142875 h 4476750"/>
                    <a:gd name="connsiteX111" fmla="*/ 1716427 w 4519987"/>
                    <a:gd name="connsiteY111" fmla="*/ 123825 h 4476750"/>
                    <a:gd name="connsiteX112" fmla="*/ 1811677 w 4519987"/>
                    <a:gd name="connsiteY112" fmla="*/ 114300 h 4476750"/>
                    <a:gd name="connsiteX113" fmla="*/ 1859302 w 4519987"/>
                    <a:gd name="connsiteY113" fmla="*/ 104775 h 4476750"/>
                    <a:gd name="connsiteX114" fmla="*/ 1916452 w 4519987"/>
                    <a:gd name="connsiteY114" fmla="*/ 95250 h 4476750"/>
                    <a:gd name="connsiteX115" fmla="*/ 2030752 w 4519987"/>
                    <a:gd name="connsiteY115" fmla="*/ 66675 h 4476750"/>
                    <a:gd name="connsiteX116" fmla="*/ 2097427 w 4519987"/>
                    <a:gd name="connsiteY116" fmla="*/ 47625 h 4476750"/>
                    <a:gd name="connsiteX117" fmla="*/ 2164102 w 4519987"/>
                    <a:gd name="connsiteY117" fmla="*/ 38100 h 4476750"/>
                    <a:gd name="connsiteX118" fmla="*/ 2392702 w 4519987"/>
                    <a:gd name="connsiteY118" fmla="*/ 28575 h 4476750"/>
                    <a:gd name="connsiteX0" fmla="*/ 2297452 w 4519987"/>
                    <a:gd name="connsiteY0" fmla="*/ 0 h 4478541"/>
                    <a:gd name="connsiteX1" fmla="*/ 2421277 w 4519987"/>
                    <a:gd name="connsiteY1" fmla="*/ 28575 h 4478541"/>
                    <a:gd name="connsiteX2" fmla="*/ 2497477 w 4519987"/>
                    <a:gd name="connsiteY2" fmla="*/ 47625 h 4478541"/>
                    <a:gd name="connsiteX3" fmla="*/ 2754652 w 4519987"/>
                    <a:gd name="connsiteY3" fmla="*/ 66675 h 4478541"/>
                    <a:gd name="connsiteX4" fmla="*/ 2830852 w 4519987"/>
                    <a:gd name="connsiteY4" fmla="*/ 76200 h 4478541"/>
                    <a:gd name="connsiteX5" fmla="*/ 2916577 w 4519987"/>
                    <a:gd name="connsiteY5" fmla="*/ 85725 h 4478541"/>
                    <a:gd name="connsiteX6" fmla="*/ 2973727 w 4519987"/>
                    <a:gd name="connsiteY6" fmla="*/ 114300 h 4478541"/>
                    <a:gd name="connsiteX7" fmla="*/ 3011827 w 4519987"/>
                    <a:gd name="connsiteY7" fmla="*/ 123825 h 4478541"/>
                    <a:gd name="connsiteX8" fmla="*/ 3135652 w 4519987"/>
                    <a:gd name="connsiteY8" fmla="*/ 171450 h 4478541"/>
                    <a:gd name="connsiteX9" fmla="*/ 3173752 w 4519987"/>
                    <a:gd name="connsiteY9" fmla="*/ 190500 h 4478541"/>
                    <a:gd name="connsiteX10" fmla="*/ 3240427 w 4519987"/>
                    <a:gd name="connsiteY10" fmla="*/ 228600 h 4478541"/>
                    <a:gd name="connsiteX11" fmla="*/ 3269002 w 4519987"/>
                    <a:gd name="connsiteY11" fmla="*/ 238125 h 4478541"/>
                    <a:gd name="connsiteX12" fmla="*/ 3297577 w 4519987"/>
                    <a:gd name="connsiteY12" fmla="*/ 257175 h 4478541"/>
                    <a:gd name="connsiteX13" fmla="*/ 3326152 w 4519987"/>
                    <a:gd name="connsiteY13" fmla="*/ 266700 h 4478541"/>
                    <a:gd name="connsiteX14" fmla="*/ 3354727 w 4519987"/>
                    <a:gd name="connsiteY14" fmla="*/ 285750 h 4478541"/>
                    <a:gd name="connsiteX15" fmla="*/ 3421402 w 4519987"/>
                    <a:gd name="connsiteY15" fmla="*/ 323850 h 4478541"/>
                    <a:gd name="connsiteX16" fmla="*/ 3469027 w 4519987"/>
                    <a:gd name="connsiteY16" fmla="*/ 361950 h 4478541"/>
                    <a:gd name="connsiteX17" fmla="*/ 3516652 w 4519987"/>
                    <a:gd name="connsiteY17" fmla="*/ 390525 h 4478541"/>
                    <a:gd name="connsiteX18" fmla="*/ 3630952 w 4519987"/>
                    <a:gd name="connsiteY18" fmla="*/ 485775 h 4478541"/>
                    <a:gd name="connsiteX19" fmla="*/ 3745252 w 4519987"/>
                    <a:gd name="connsiteY19" fmla="*/ 542925 h 4478541"/>
                    <a:gd name="connsiteX20" fmla="*/ 3811927 w 4519987"/>
                    <a:gd name="connsiteY20" fmla="*/ 581025 h 4478541"/>
                    <a:gd name="connsiteX21" fmla="*/ 4027827 w 4519987"/>
                    <a:gd name="connsiteY21" fmla="*/ 819150 h 4478541"/>
                    <a:gd name="connsiteX22" fmla="*/ 4164352 w 4519987"/>
                    <a:gd name="connsiteY22" fmla="*/ 990600 h 4478541"/>
                    <a:gd name="connsiteX23" fmla="*/ 4250077 w 4519987"/>
                    <a:gd name="connsiteY23" fmla="*/ 1143000 h 4478541"/>
                    <a:gd name="connsiteX24" fmla="*/ 4307227 w 4519987"/>
                    <a:gd name="connsiteY24" fmla="*/ 1266825 h 4478541"/>
                    <a:gd name="connsiteX25" fmla="*/ 4345327 w 4519987"/>
                    <a:gd name="connsiteY25" fmla="*/ 1362075 h 4478541"/>
                    <a:gd name="connsiteX26" fmla="*/ 4392952 w 4519987"/>
                    <a:gd name="connsiteY26" fmla="*/ 1552575 h 4478541"/>
                    <a:gd name="connsiteX27" fmla="*/ 4431052 w 4519987"/>
                    <a:gd name="connsiteY27" fmla="*/ 1685925 h 4478541"/>
                    <a:gd name="connsiteX28" fmla="*/ 4519952 w 4519987"/>
                    <a:gd name="connsiteY28" fmla="*/ 2181225 h 4478541"/>
                    <a:gd name="connsiteX29" fmla="*/ 4446927 w 4519987"/>
                    <a:gd name="connsiteY29" fmla="*/ 2768600 h 4478541"/>
                    <a:gd name="connsiteX30" fmla="*/ 4383427 w 4519987"/>
                    <a:gd name="connsiteY30" fmla="*/ 2990850 h 4478541"/>
                    <a:gd name="connsiteX31" fmla="*/ 4278652 w 4519987"/>
                    <a:gd name="connsiteY31" fmla="*/ 3248025 h 4478541"/>
                    <a:gd name="connsiteX32" fmla="*/ 4183402 w 4519987"/>
                    <a:gd name="connsiteY32" fmla="*/ 3400425 h 4478541"/>
                    <a:gd name="connsiteX33" fmla="*/ 4059577 w 4519987"/>
                    <a:gd name="connsiteY33" fmla="*/ 3533775 h 4478541"/>
                    <a:gd name="connsiteX34" fmla="*/ 3954802 w 4519987"/>
                    <a:gd name="connsiteY34" fmla="*/ 3648075 h 4478541"/>
                    <a:gd name="connsiteX35" fmla="*/ 3659527 w 4519987"/>
                    <a:gd name="connsiteY35" fmla="*/ 3971925 h 4478541"/>
                    <a:gd name="connsiteX36" fmla="*/ 3516652 w 4519987"/>
                    <a:gd name="connsiteY36" fmla="*/ 4083050 h 4478541"/>
                    <a:gd name="connsiteX37" fmla="*/ 3221377 w 4519987"/>
                    <a:gd name="connsiteY37" fmla="*/ 4222750 h 4478541"/>
                    <a:gd name="connsiteX38" fmla="*/ 3068977 w 4519987"/>
                    <a:gd name="connsiteY38" fmla="*/ 4286250 h 4478541"/>
                    <a:gd name="connsiteX39" fmla="*/ 2935627 w 4519987"/>
                    <a:gd name="connsiteY39" fmla="*/ 4333875 h 4478541"/>
                    <a:gd name="connsiteX40" fmla="*/ 2811802 w 4519987"/>
                    <a:gd name="connsiteY40" fmla="*/ 4371975 h 4478541"/>
                    <a:gd name="connsiteX41" fmla="*/ 2745127 w 4519987"/>
                    <a:gd name="connsiteY41" fmla="*/ 4410075 h 4478541"/>
                    <a:gd name="connsiteX42" fmla="*/ 2306977 w 4519987"/>
                    <a:gd name="connsiteY42" fmla="*/ 4476750 h 4478541"/>
                    <a:gd name="connsiteX43" fmla="*/ 2202202 w 4519987"/>
                    <a:gd name="connsiteY43" fmla="*/ 4457700 h 4478541"/>
                    <a:gd name="connsiteX44" fmla="*/ 2126002 w 4519987"/>
                    <a:gd name="connsiteY44" fmla="*/ 4429125 h 4478541"/>
                    <a:gd name="connsiteX45" fmla="*/ 1935502 w 4519987"/>
                    <a:gd name="connsiteY45" fmla="*/ 4400550 h 4478541"/>
                    <a:gd name="connsiteX46" fmla="*/ 1821202 w 4519987"/>
                    <a:gd name="connsiteY46" fmla="*/ 4371975 h 4478541"/>
                    <a:gd name="connsiteX47" fmla="*/ 1754527 w 4519987"/>
                    <a:gd name="connsiteY47" fmla="*/ 4352925 h 4478541"/>
                    <a:gd name="connsiteX48" fmla="*/ 1687852 w 4519987"/>
                    <a:gd name="connsiteY48" fmla="*/ 4343400 h 4478541"/>
                    <a:gd name="connsiteX49" fmla="*/ 1573552 w 4519987"/>
                    <a:gd name="connsiteY49" fmla="*/ 4305300 h 4478541"/>
                    <a:gd name="connsiteX50" fmla="*/ 1402102 w 4519987"/>
                    <a:gd name="connsiteY50" fmla="*/ 4276725 h 4478541"/>
                    <a:gd name="connsiteX51" fmla="*/ 1287802 w 4519987"/>
                    <a:gd name="connsiteY51" fmla="*/ 4229100 h 4478541"/>
                    <a:gd name="connsiteX52" fmla="*/ 1221127 w 4519987"/>
                    <a:gd name="connsiteY52" fmla="*/ 4200525 h 4478541"/>
                    <a:gd name="connsiteX53" fmla="*/ 1144927 w 4519987"/>
                    <a:gd name="connsiteY53" fmla="*/ 4171950 h 4478541"/>
                    <a:gd name="connsiteX54" fmla="*/ 1087777 w 4519987"/>
                    <a:gd name="connsiteY54" fmla="*/ 4143375 h 4478541"/>
                    <a:gd name="connsiteX55" fmla="*/ 1030627 w 4519987"/>
                    <a:gd name="connsiteY55" fmla="*/ 4124325 h 4478541"/>
                    <a:gd name="connsiteX56" fmla="*/ 925852 w 4519987"/>
                    <a:gd name="connsiteY56" fmla="*/ 4067175 h 4478541"/>
                    <a:gd name="connsiteX57" fmla="*/ 830602 w 4519987"/>
                    <a:gd name="connsiteY57" fmla="*/ 3981450 h 4478541"/>
                    <a:gd name="connsiteX58" fmla="*/ 763927 w 4519987"/>
                    <a:gd name="connsiteY58" fmla="*/ 3914775 h 4478541"/>
                    <a:gd name="connsiteX59" fmla="*/ 725827 w 4519987"/>
                    <a:gd name="connsiteY59" fmla="*/ 3876675 h 4478541"/>
                    <a:gd name="connsiteX60" fmla="*/ 697252 w 4519987"/>
                    <a:gd name="connsiteY60" fmla="*/ 3838575 h 4478541"/>
                    <a:gd name="connsiteX61" fmla="*/ 640102 w 4519987"/>
                    <a:gd name="connsiteY61" fmla="*/ 3781425 h 4478541"/>
                    <a:gd name="connsiteX62" fmla="*/ 611527 w 4519987"/>
                    <a:gd name="connsiteY62" fmla="*/ 3733800 h 4478541"/>
                    <a:gd name="connsiteX63" fmla="*/ 554377 w 4519987"/>
                    <a:gd name="connsiteY63" fmla="*/ 3657600 h 4478541"/>
                    <a:gd name="connsiteX64" fmla="*/ 525802 w 4519987"/>
                    <a:gd name="connsiteY64" fmla="*/ 3609975 h 4478541"/>
                    <a:gd name="connsiteX65" fmla="*/ 497227 w 4519987"/>
                    <a:gd name="connsiteY65" fmla="*/ 3552825 h 4478541"/>
                    <a:gd name="connsiteX66" fmla="*/ 440077 w 4519987"/>
                    <a:gd name="connsiteY66" fmla="*/ 3495675 h 4478541"/>
                    <a:gd name="connsiteX67" fmla="*/ 411502 w 4519987"/>
                    <a:gd name="connsiteY67" fmla="*/ 3448050 h 4478541"/>
                    <a:gd name="connsiteX68" fmla="*/ 278152 w 4519987"/>
                    <a:gd name="connsiteY68" fmla="*/ 3257550 h 4478541"/>
                    <a:gd name="connsiteX69" fmla="*/ 249577 w 4519987"/>
                    <a:gd name="connsiteY69" fmla="*/ 3200400 h 4478541"/>
                    <a:gd name="connsiteX70" fmla="*/ 240052 w 4519987"/>
                    <a:gd name="connsiteY70" fmla="*/ 3162300 h 4478541"/>
                    <a:gd name="connsiteX71" fmla="*/ 221002 w 4519987"/>
                    <a:gd name="connsiteY71" fmla="*/ 3105150 h 4478541"/>
                    <a:gd name="connsiteX72" fmla="*/ 173377 w 4519987"/>
                    <a:gd name="connsiteY72" fmla="*/ 3019425 h 4478541"/>
                    <a:gd name="connsiteX73" fmla="*/ 144802 w 4519987"/>
                    <a:gd name="connsiteY73" fmla="*/ 2924175 h 4478541"/>
                    <a:gd name="connsiteX74" fmla="*/ 68602 w 4519987"/>
                    <a:gd name="connsiteY74" fmla="*/ 2724150 h 4478541"/>
                    <a:gd name="connsiteX75" fmla="*/ 49552 w 4519987"/>
                    <a:gd name="connsiteY75" fmla="*/ 2638425 h 4478541"/>
                    <a:gd name="connsiteX76" fmla="*/ 40027 w 4519987"/>
                    <a:gd name="connsiteY76" fmla="*/ 2562225 h 4478541"/>
                    <a:gd name="connsiteX77" fmla="*/ 30502 w 4519987"/>
                    <a:gd name="connsiteY77" fmla="*/ 2514600 h 4478541"/>
                    <a:gd name="connsiteX78" fmla="*/ 11452 w 4519987"/>
                    <a:gd name="connsiteY78" fmla="*/ 2400300 h 4478541"/>
                    <a:gd name="connsiteX79" fmla="*/ 20977 w 4519987"/>
                    <a:gd name="connsiteY79" fmla="*/ 1905000 h 4478541"/>
                    <a:gd name="connsiteX80" fmla="*/ 30502 w 4519987"/>
                    <a:gd name="connsiteY80" fmla="*/ 1838325 h 4478541"/>
                    <a:gd name="connsiteX81" fmla="*/ 49552 w 4519987"/>
                    <a:gd name="connsiteY81" fmla="*/ 1781175 h 4478541"/>
                    <a:gd name="connsiteX82" fmla="*/ 59077 w 4519987"/>
                    <a:gd name="connsiteY82" fmla="*/ 1743075 h 4478541"/>
                    <a:gd name="connsiteX83" fmla="*/ 78127 w 4519987"/>
                    <a:gd name="connsiteY83" fmla="*/ 1685925 h 4478541"/>
                    <a:gd name="connsiteX84" fmla="*/ 87652 w 4519987"/>
                    <a:gd name="connsiteY84" fmla="*/ 1638300 h 4478541"/>
                    <a:gd name="connsiteX85" fmla="*/ 106702 w 4519987"/>
                    <a:gd name="connsiteY85" fmla="*/ 1590675 h 4478541"/>
                    <a:gd name="connsiteX86" fmla="*/ 135277 w 4519987"/>
                    <a:gd name="connsiteY86" fmla="*/ 1504950 h 4478541"/>
                    <a:gd name="connsiteX87" fmla="*/ 154327 w 4519987"/>
                    <a:gd name="connsiteY87" fmla="*/ 1419225 h 4478541"/>
                    <a:gd name="connsiteX88" fmla="*/ 230527 w 4519987"/>
                    <a:gd name="connsiteY88" fmla="*/ 1276350 h 4478541"/>
                    <a:gd name="connsiteX89" fmla="*/ 240052 w 4519987"/>
                    <a:gd name="connsiteY89" fmla="*/ 1247775 h 4478541"/>
                    <a:gd name="connsiteX90" fmla="*/ 268627 w 4519987"/>
                    <a:gd name="connsiteY90" fmla="*/ 1200150 h 4478541"/>
                    <a:gd name="connsiteX91" fmla="*/ 287677 w 4519987"/>
                    <a:gd name="connsiteY91" fmla="*/ 1152525 h 4478541"/>
                    <a:gd name="connsiteX92" fmla="*/ 316252 w 4519987"/>
                    <a:gd name="connsiteY92" fmla="*/ 1114425 h 4478541"/>
                    <a:gd name="connsiteX93" fmla="*/ 363877 w 4519987"/>
                    <a:gd name="connsiteY93" fmla="*/ 1038225 h 4478541"/>
                    <a:gd name="connsiteX94" fmla="*/ 382927 w 4519987"/>
                    <a:gd name="connsiteY94" fmla="*/ 1009650 h 4478541"/>
                    <a:gd name="connsiteX95" fmla="*/ 440077 w 4519987"/>
                    <a:gd name="connsiteY95" fmla="*/ 904875 h 4478541"/>
                    <a:gd name="connsiteX96" fmla="*/ 478177 w 4519987"/>
                    <a:gd name="connsiteY96" fmla="*/ 857250 h 4478541"/>
                    <a:gd name="connsiteX97" fmla="*/ 497227 w 4519987"/>
                    <a:gd name="connsiteY97" fmla="*/ 828675 h 4478541"/>
                    <a:gd name="connsiteX98" fmla="*/ 535327 w 4519987"/>
                    <a:gd name="connsiteY98" fmla="*/ 800100 h 4478541"/>
                    <a:gd name="connsiteX99" fmla="*/ 602002 w 4519987"/>
                    <a:gd name="connsiteY99" fmla="*/ 733425 h 4478541"/>
                    <a:gd name="connsiteX100" fmla="*/ 668677 w 4519987"/>
                    <a:gd name="connsiteY100" fmla="*/ 676275 h 4478541"/>
                    <a:gd name="connsiteX101" fmla="*/ 697252 w 4519987"/>
                    <a:gd name="connsiteY101" fmla="*/ 657225 h 4478541"/>
                    <a:gd name="connsiteX102" fmla="*/ 840127 w 4519987"/>
                    <a:gd name="connsiteY102" fmla="*/ 533400 h 4478541"/>
                    <a:gd name="connsiteX103" fmla="*/ 887752 w 4519987"/>
                    <a:gd name="connsiteY103" fmla="*/ 504825 h 4478541"/>
                    <a:gd name="connsiteX104" fmla="*/ 1167152 w 4519987"/>
                    <a:gd name="connsiteY104" fmla="*/ 311150 h 4478541"/>
                    <a:gd name="connsiteX105" fmla="*/ 1268752 w 4519987"/>
                    <a:gd name="connsiteY105" fmla="*/ 285750 h 4478541"/>
                    <a:gd name="connsiteX106" fmla="*/ 1411627 w 4519987"/>
                    <a:gd name="connsiteY106" fmla="*/ 190500 h 4478541"/>
                    <a:gd name="connsiteX107" fmla="*/ 1449727 w 4519987"/>
                    <a:gd name="connsiteY107" fmla="*/ 161925 h 4478541"/>
                    <a:gd name="connsiteX108" fmla="*/ 1525927 w 4519987"/>
                    <a:gd name="connsiteY108" fmla="*/ 152400 h 4478541"/>
                    <a:gd name="connsiteX109" fmla="*/ 1583077 w 4519987"/>
                    <a:gd name="connsiteY109" fmla="*/ 142875 h 4478541"/>
                    <a:gd name="connsiteX110" fmla="*/ 1716427 w 4519987"/>
                    <a:gd name="connsiteY110" fmla="*/ 123825 h 4478541"/>
                    <a:gd name="connsiteX111" fmla="*/ 1811677 w 4519987"/>
                    <a:gd name="connsiteY111" fmla="*/ 114300 h 4478541"/>
                    <a:gd name="connsiteX112" fmla="*/ 1859302 w 4519987"/>
                    <a:gd name="connsiteY112" fmla="*/ 104775 h 4478541"/>
                    <a:gd name="connsiteX113" fmla="*/ 1916452 w 4519987"/>
                    <a:gd name="connsiteY113" fmla="*/ 95250 h 4478541"/>
                    <a:gd name="connsiteX114" fmla="*/ 2030752 w 4519987"/>
                    <a:gd name="connsiteY114" fmla="*/ 66675 h 4478541"/>
                    <a:gd name="connsiteX115" fmla="*/ 2097427 w 4519987"/>
                    <a:gd name="connsiteY115" fmla="*/ 47625 h 4478541"/>
                    <a:gd name="connsiteX116" fmla="*/ 2164102 w 4519987"/>
                    <a:gd name="connsiteY116" fmla="*/ 38100 h 4478541"/>
                    <a:gd name="connsiteX117" fmla="*/ 2392702 w 4519987"/>
                    <a:gd name="connsiteY117" fmla="*/ 28575 h 4478541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580027 w 4519987"/>
                    <a:gd name="connsiteY41" fmla="*/ 4391025 h 4476750"/>
                    <a:gd name="connsiteX42" fmla="*/ 2306977 w 4519987"/>
                    <a:gd name="connsiteY42" fmla="*/ 4476750 h 4476750"/>
                    <a:gd name="connsiteX43" fmla="*/ 2202202 w 4519987"/>
                    <a:gd name="connsiteY43" fmla="*/ 4457700 h 4476750"/>
                    <a:gd name="connsiteX44" fmla="*/ 2126002 w 4519987"/>
                    <a:gd name="connsiteY44" fmla="*/ 4429125 h 4476750"/>
                    <a:gd name="connsiteX45" fmla="*/ 1935502 w 4519987"/>
                    <a:gd name="connsiteY45" fmla="*/ 4400550 h 4476750"/>
                    <a:gd name="connsiteX46" fmla="*/ 1821202 w 4519987"/>
                    <a:gd name="connsiteY46" fmla="*/ 4371975 h 4476750"/>
                    <a:gd name="connsiteX47" fmla="*/ 1754527 w 4519987"/>
                    <a:gd name="connsiteY47" fmla="*/ 4352925 h 4476750"/>
                    <a:gd name="connsiteX48" fmla="*/ 1687852 w 4519987"/>
                    <a:gd name="connsiteY48" fmla="*/ 4343400 h 4476750"/>
                    <a:gd name="connsiteX49" fmla="*/ 1573552 w 4519987"/>
                    <a:gd name="connsiteY49" fmla="*/ 4305300 h 4476750"/>
                    <a:gd name="connsiteX50" fmla="*/ 1402102 w 4519987"/>
                    <a:gd name="connsiteY50" fmla="*/ 4276725 h 4476750"/>
                    <a:gd name="connsiteX51" fmla="*/ 1287802 w 4519987"/>
                    <a:gd name="connsiteY51" fmla="*/ 4229100 h 4476750"/>
                    <a:gd name="connsiteX52" fmla="*/ 1221127 w 4519987"/>
                    <a:gd name="connsiteY52" fmla="*/ 4200525 h 4476750"/>
                    <a:gd name="connsiteX53" fmla="*/ 1144927 w 4519987"/>
                    <a:gd name="connsiteY53" fmla="*/ 4171950 h 4476750"/>
                    <a:gd name="connsiteX54" fmla="*/ 1087777 w 4519987"/>
                    <a:gd name="connsiteY54" fmla="*/ 4143375 h 4476750"/>
                    <a:gd name="connsiteX55" fmla="*/ 1030627 w 4519987"/>
                    <a:gd name="connsiteY55" fmla="*/ 4124325 h 4476750"/>
                    <a:gd name="connsiteX56" fmla="*/ 925852 w 4519987"/>
                    <a:gd name="connsiteY56" fmla="*/ 4067175 h 4476750"/>
                    <a:gd name="connsiteX57" fmla="*/ 830602 w 4519987"/>
                    <a:gd name="connsiteY57" fmla="*/ 3981450 h 4476750"/>
                    <a:gd name="connsiteX58" fmla="*/ 763927 w 4519987"/>
                    <a:gd name="connsiteY58" fmla="*/ 3914775 h 4476750"/>
                    <a:gd name="connsiteX59" fmla="*/ 725827 w 4519987"/>
                    <a:gd name="connsiteY59" fmla="*/ 3876675 h 4476750"/>
                    <a:gd name="connsiteX60" fmla="*/ 697252 w 4519987"/>
                    <a:gd name="connsiteY60" fmla="*/ 3838575 h 4476750"/>
                    <a:gd name="connsiteX61" fmla="*/ 640102 w 4519987"/>
                    <a:gd name="connsiteY61" fmla="*/ 3781425 h 4476750"/>
                    <a:gd name="connsiteX62" fmla="*/ 611527 w 4519987"/>
                    <a:gd name="connsiteY62" fmla="*/ 3733800 h 4476750"/>
                    <a:gd name="connsiteX63" fmla="*/ 554377 w 4519987"/>
                    <a:gd name="connsiteY63" fmla="*/ 3657600 h 4476750"/>
                    <a:gd name="connsiteX64" fmla="*/ 525802 w 4519987"/>
                    <a:gd name="connsiteY64" fmla="*/ 3609975 h 4476750"/>
                    <a:gd name="connsiteX65" fmla="*/ 497227 w 4519987"/>
                    <a:gd name="connsiteY65" fmla="*/ 3552825 h 4476750"/>
                    <a:gd name="connsiteX66" fmla="*/ 440077 w 4519987"/>
                    <a:gd name="connsiteY66" fmla="*/ 3495675 h 4476750"/>
                    <a:gd name="connsiteX67" fmla="*/ 411502 w 4519987"/>
                    <a:gd name="connsiteY67" fmla="*/ 3448050 h 4476750"/>
                    <a:gd name="connsiteX68" fmla="*/ 278152 w 4519987"/>
                    <a:gd name="connsiteY68" fmla="*/ 3257550 h 4476750"/>
                    <a:gd name="connsiteX69" fmla="*/ 249577 w 4519987"/>
                    <a:gd name="connsiteY69" fmla="*/ 3200400 h 4476750"/>
                    <a:gd name="connsiteX70" fmla="*/ 240052 w 4519987"/>
                    <a:gd name="connsiteY70" fmla="*/ 3162300 h 4476750"/>
                    <a:gd name="connsiteX71" fmla="*/ 221002 w 4519987"/>
                    <a:gd name="connsiteY71" fmla="*/ 3105150 h 4476750"/>
                    <a:gd name="connsiteX72" fmla="*/ 173377 w 4519987"/>
                    <a:gd name="connsiteY72" fmla="*/ 3019425 h 4476750"/>
                    <a:gd name="connsiteX73" fmla="*/ 144802 w 4519987"/>
                    <a:gd name="connsiteY73" fmla="*/ 2924175 h 4476750"/>
                    <a:gd name="connsiteX74" fmla="*/ 68602 w 4519987"/>
                    <a:gd name="connsiteY74" fmla="*/ 2724150 h 4476750"/>
                    <a:gd name="connsiteX75" fmla="*/ 49552 w 4519987"/>
                    <a:gd name="connsiteY75" fmla="*/ 2638425 h 4476750"/>
                    <a:gd name="connsiteX76" fmla="*/ 40027 w 4519987"/>
                    <a:gd name="connsiteY76" fmla="*/ 2562225 h 4476750"/>
                    <a:gd name="connsiteX77" fmla="*/ 30502 w 4519987"/>
                    <a:gd name="connsiteY77" fmla="*/ 2514600 h 4476750"/>
                    <a:gd name="connsiteX78" fmla="*/ 11452 w 4519987"/>
                    <a:gd name="connsiteY78" fmla="*/ 2400300 h 4476750"/>
                    <a:gd name="connsiteX79" fmla="*/ 20977 w 4519987"/>
                    <a:gd name="connsiteY79" fmla="*/ 1905000 h 4476750"/>
                    <a:gd name="connsiteX80" fmla="*/ 30502 w 4519987"/>
                    <a:gd name="connsiteY80" fmla="*/ 1838325 h 4476750"/>
                    <a:gd name="connsiteX81" fmla="*/ 49552 w 4519987"/>
                    <a:gd name="connsiteY81" fmla="*/ 1781175 h 4476750"/>
                    <a:gd name="connsiteX82" fmla="*/ 59077 w 4519987"/>
                    <a:gd name="connsiteY82" fmla="*/ 1743075 h 4476750"/>
                    <a:gd name="connsiteX83" fmla="*/ 78127 w 4519987"/>
                    <a:gd name="connsiteY83" fmla="*/ 1685925 h 4476750"/>
                    <a:gd name="connsiteX84" fmla="*/ 87652 w 4519987"/>
                    <a:gd name="connsiteY84" fmla="*/ 1638300 h 4476750"/>
                    <a:gd name="connsiteX85" fmla="*/ 106702 w 4519987"/>
                    <a:gd name="connsiteY85" fmla="*/ 1590675 h 4476750"/>
                    <a:gd name="connsiteX86" fmla="*/ 135277 w 4519987"/>
                    <a:gd name="connsiteY86" fmla="*/ 1504950 h 4476750"/>
                    <a:gd name="connsiteX87" fmla="*/ 154327 w 4519987"/>
                    <a:gd name="connsiteY87" fmla="*/ 1419225 h 4476750"/>
                    <a:gd name="connsiteX88" fmla="*/ 230527 w 4519987"/>
                    <a:gd name="connsiteY88" fmla="*/ 1276350 h 4476750"/>
                    <a:gd name="connsiteX89" fmla="*/ 240052 w 4519987"/>
                    <a:gd name="connsiteY89" fmla="*/ 1247775 h 4476750"/>
                    <a:gd name="connsiteX90" fmla="*/ 268627 w 4519987"/>
                    <a:gd name="connsiteY90" fmla="*/ 1200150 h 4476750"/>
                    <a:gd name="connsiteX91" fmla="*/ 287677 w 4519987"/>
                    <a:gd name="connsiteY91" fmla="*/ 1152525 h 4476750"/>
                    <a:gd name="connsiteX92" fmla="*/ 316252 w 4519987"/>
                    <a:gd name="connsiteY92" fmla="*/ 1114425 h 4476750"/>
                    <a:gd name="connsiteX93" fmla="*/ 363877 w 4519987"/>
                    <a:gd name="connsiteY93" fmla="*/ 1038225 h 4476750"/>
                    <a:gd name="connsiteX94" fmla="*/ 382927 w 4519987"/>
                    <a:gd name="connsiteY94" fmla="*/ 1009650 h 4476750"/>
                    <a:gd name="connsiteX95" fmla="*/ 440077 w 4519987"/>
                    <a:gd name="connsiteY95" fmla="*/ 904875 h 4476750"/>
                    <a:gd name="connsiteX96" fmla="*/ 478177 w 4519987"/>
                    <a:gd name="connsiteY96" fmla="*/ 857250 h 4476750"/>
                    <a:gd name="connsiteX97" fmla="*/ 497227 w 4519987"/>
                    <a:gd name="connsiteY97" fmla="*/ 828675 h 4476750"/>
                    <a:gd name="connsiteX98" fmla="*/ 535327 w 4519987"/>
                    <a:gd name="connsiteY98" fmla="*/ 800100 h 4476750"/>
                    <a:gd name="connsiteX99" fmla="*/ 602002 w 4519987"/>
                    <a:gd name="connsiteY99" fmla="*/ 733425 h 4476750"/>
                    <a:gd name="connsiteX100" fmla="*/ 668677 w 4519987"/>
                    <a:gd name="connsiteY100" fmla="*/ 676275 h 4476750"/>
                    <a:gd name="connsiteX101" fmla="*/ 697252 w 4519987"/>
                    <a:gd name="connsiteY101" fmla="*/ 657225 h 4476750"/>
                    <a:gd name="connsiteX102" fmla="*/ 840127 w 4519987"/>
                    <a:gd name="connsiteY102" fmla="*/ 533400 h 4476750"/>
                    <a:gd name="connsiteX103" fmla="*/ 887752 w 4519987"/>
                    <a:gd name="connsiteY103" fmla="*/ 504825 h 4476750"/>
                    <a:gd name="connsiteX104" fmla="*/ 1167152 w 4519987"/>
                    <a:gd name="connsiteY104" fmla="*/ 311150 h 4476750"/>
                    <a:gd name="connsiteX105" fmla="*/ 1268752 w 4519987"/>
                    <a:gd name="connsiteY105" fmla="*/ 285750 h 4476750"/>
                    <a:gd name="connsiteX106" fmla="*/ 1411627 w 4519987"/>
                    <a:gd name="connsiteY106" fmla="*/ 190500 h 4476750"/>
                    <a:gd name="connsiteX107" fmla="*/ 1449727 w 4519987"/>
                    <a:gd name="connsiteY107" fmla="*/ 161925 h 4476750"/>
                    <a:gd name="connsiteX108" fmla="*/ 1525927 w 4519987"/>
                    <a:gd name="connsiteY108" fmla="*/ 152400 h 4476750"/>
                    <a:gd name="connsiteX109" fmla="*/ 1583077 w 4519987"/>
                    <a:gd name="connsiteY109" fmla="*/ 142875 h 4476750"/>
                    <a:gd name="connsiteX110" fmla="*/ 1716427 w 4519987"/>
                    <a:gd name="connsiteY110" fmla="*/ 123825 h 4476750"/>
                    <a:gd name="connsiteX111" fmla="*/ 1811677 w 4519987"/>
                    <a:gd name="connsiteY111" fmla="*/ 114300 h 4476750"/>
                    <a:gd name="connsiteX112" fmla="*/ 1859302 w 4519987"/>
                    <a:gd name="connsiteY112" fmla="*/ 104775 h 4476750"/>
                    <a:gd name="connsiteX113" fmla="*/ 1916452 w 4519987"/>
                    <a:gd name="connsiteY113" fmla="*/ 95250 h 4476750"/>
                    <a:gd name="connsiteX114" fmla="*/ 2030752 w 4519987"/>
                    <a:gd name="connsiteY114" fmla="*/ 66675 h 4476750"/>
                    <a:gd name="connsiteX115" fmla="*/ 2097427 w 4519987"/>
                    <a:gd name="connsiteY115" fmla="*/ 47625 h 4476750"/>
                    <a:gd name="connsiteX116" fmla="*/ 2164102 w 4519987"/>
                    <a:gd name="connsiteY116" fmla="*/ 38100 h 4476750"/>
                    <a:gd name="connsiteX117" fmla="*/ 2392702 w 4519987"/>
                    <a:gd name="connsiteY117" fmla="*/ 28575 h 4476750"/>
                    <a:gd name="connsiteX0" fmla="*/ 2297452 w 4519987"/>
                    <a:gd name="connsiteY0" fmla="*/ 0 h 4457700"/>
                    <a:gd name="connsiteX1" fmla="*/ 2421277 w 4519987"/>
                    <a:gd name="connsiteY1" fmla="*/ 28575 h 4457700"/>
                    <a:gd name="connsiteX2" fmla="*/ 2497477 w 4519987"/>
                    <a:gd name="connsiteY2" fmla="*/ 47625 h 4457700"/>
                    <a:gd name="connsiteX3" fmla="*/ 2754652 w 4519987"/>
                    <a:gd name="connsiteY3" fmla="*/ 66675 h 4457700"/>
                    <a:gd name="connsiteX4" fmla="*/ 2830852 w 4519987"/>
                    <a:gd name="connsiteY4" fmla="*/ 76200 h 4457700"/>
                    <a:gd name="connsiteX5" fmla="*/ 2916577 w 4519987"/>
                    <a:gd name="connsiteY5" fmla="*/ 85725 h 4457700"/>
                    <a:gd name="connsiteX6" fmla="*/ 2973727 w 4519987"/>
                    <a:gd name="connsiteY6" fmla="*/ 114300 h 4457700"/>
                    <a:gd name="connsiteX7" fmla="*/ 3011827 w 4519987"/>
                    <a:gd name="connsiteY7" fmla="*/ 123825 h 4457700"/>
                    <a:gd name="connsiteX8" fmla="*/ 3135652 w 4519987"/>
                    <a:gd name="connsiteY8" fmla="*/ 171450 h 4457700"/>
                    <a:gd name="connsiteX9" fmla="*/ 3173752 w 4519987"/>
                    <a:gd name="connsiteY9" fmla="*/ 190500 h 4457700"/>
                    <a:gd name="connsiteX10" fmla="*/ 3240427 w 4519987"/>
                    <a:gd name="connsiteY10" fmla="*/ 228600 h 4457700"/>
                    <a:gd name="connsiteX11" fmla="*/ 3269002 w 4519987"/>
                    <a:gd name="connsiteY11" fmla="*/ 238125 h 4457700"/>
                    <a:gd name="connsiteX12" fmla="*/ 3297577 w 4519987"/>
                    <a:gd name="connsiteY12" fmla="*/ 257175 h 4457700"/>
                    <a:gd name="connsiteX13" fmla="*/ 3326152 w 4519987"/>
                    <a:gd name="connsiteY13" fmla="*/ 266700 h 4457700"/>
                    <a:gd name="connsiteX14" fmla="*/ 3354727 w 4519987"/>
                    <a:gd name="connsiteY14" fmla="*/ 285750 h 4457700"/>
                    <a:gd name="connsiteX15" fmla="*/ 3421402 w 4519987"/>
                    <a:gd name="connsiteY15" fmla="*/ 323850 h 4457700"/>
                    <a:gd name="connsiteX16" fmla="*/ 3469027 w 4519987"/>
                    <a:gd name="connsiteY16" fmla="*/ 361950 h 4457700"/>
                    <a:gd name="connsiteX17" fmla="*/ 3516652 w 4519987"/>
                    <a:gd name="connsiteY17" fmla="*/ 390525 h 4457700"/>
                    <a:gd name="connsiteX18" fmla="*/ 3630952 w 4519987"/>
                    <a:gd name="connsiteY18" fmla="*/ 485775 h 4457700"/>
                    <a:gd name="connsiteX19" fmla="*/ 3745252 w 4519987"/>
                    <a:gd name="connsiteY19" fmla="*/ 542925 h 4457700"/>
                    <a:gd name="connsiteX20" fmla="*/ 3811927 w 4519987"/>
                    <a:gd name="connsiteY20" fmla="*/ 581025 h 4457700"/>
                    <a:gd name="connsiteX21" fmla="*/ 4027827 w 4519987"/>
                    <a:gd name="connsiteY21" fmla="*/ 819150 h 4457700"/>
                    <a:gd name="connsiteX22" fmla="*/ 4164352 w 4519987"/>
                    <a:gd name="connsiteY22" fmla="*/ 990600 h 4457700"/>
                    <a:gd name="connsiteX23" fmla="*/ 4250077 w 4519987"/>
                    <a:gd name="connsiteY23" fmla="*/ 1143000 h 4457700"/>
                    <a:gd name="connsiteX24" fmla="*/ 4307227 w 4519987"/>
                    <a:gd name="connsiteY24" fmla="*/ 1266825 h 4457700"/>
                    <a:gd name="connsiteX25" fmla="*/ 4345327 w 4519987"/>
                    <a:gd name="connsiteY25" fmla="*/ 1362075 h 4457700"/>
                    <a:gd name="connsiteX26" fmla="*/ 4392952 w 4519987"/>
                    <a:gd name="connsiteY26" fmla="*/ 1552575 h 4457700"/>
                    <a:gd name="connsiteX27" fmla="*/ 4431052 w 4519987"/>
                    <a:gd name="connsiteY27" fmla="*/ 1685925 h 4457700"/>
                    <a:gd name="connsiteX28" fmla="*/ 4519952 w 4519987"/>
                    <a:gd name="connsiteY28" fmla="*/ 2181225 h 4457700"/>
                    <a:gd name="connsiteX29" fmla="*/ 4446927 w 4519987"/>
                    <a:gd name="connsiteY29" fmla="*/ 2768600 h 4457700"/>
                    <a:gd name="connsiteX30" fmla="*/ 4383427 w 4519987"/>
                    <a:gd name="connsiteY30" fmla="*/ 2990850 h 4457700"/>
                    <a:gd name="connsiteX31" fmla="*/ 4278652 w 4519987"/>
                    <a:gd name="connsiteY31" fmla="*/ 3248025 h 4457700"/>
                    <a:gd name="connsiteX32" fmla="*/ 4183402 w 4519987"/>
                    <a:gd name="connsiteY32" fmla="*/ 3400425 h 4457700"/>
                    <a:gd name="connsiteX33" fmla="*/ 4059577 w 4519987"/>
                    <a:gd name="connsiteY33" fmla="*/ 3533775 h 4457700"/>
                    <a:gd name="connsiteX34" fmla="*/ 3954802 w 4519987"/>
                    <a:gd name="connsiteY34" fmla="*/ 3648075 h 4457700"/>
                    <a:gd name="connsiteX35" fmla="*/ 3659527 w 4519987"/>
                    <a:gd name="connsiteY35" fmla="*/ 3971925 h 4457700"/>
                    <a:gd name="connsiteX36" fmla="*/ 3516652 w 4519987"/>
                    <a:gd name="connsiteY36" fmla="*/ 4083050 h 4457700"/>
                    <a:gd name="connsiteX37" fmla="*/ 3221377 w 4519987"/>
                    <a:gd name="connsiteY37" fmla="*/ 4222750 h 4457700"/>
                    <a:gd name="connsiteX38" fmla="*/ 3068977 w 4519987"/>
                    <a:gd name="connsiteY38" fmla="*/ 4286250 h 4457700"/>
                    <a:gd name="connsiteX39" fmla="*/ 2935627 w 4519987"/>
                    <a:gd name="connsiteY39" fmla="*/ 4333875 h 4457700"/>
                    <a:gd name="connsiteX40" fmla="*/ 2811802 w 4519987"/>
                    <a:gd name="connsiteY40" fmla="*/ 4371975 h 4457700"/>
                    <a:gd name="connsiteX41" fmla="*/ 2580027 w 4519987"/>
                    <a:gd name="connsiteY41" fmla="*/ 4391025 h 4457700"/>
                    <a:gd name="connsiteX42" fmla="*/ 2202202 w 4519987"/>
                    <a:gd name="connsiteY42" fmla="*/ 4457700 h 4457700"/>
                    <a:gd name="connsiteX43" fmla="*/ 2126002 w 4519987"/>
                    <a:gd name="connsiteY43" fmla="*/ 4429125 h 4457700"/>
                    <a:gd name="connsiteX44" fmla="*/ 1935502 w 4519987"/>
                    <a:gd name="connsiteY44" fmla="*/ 4400550 h 4457700"/>
                    <a:gd name="connsiteX45" fmla="*/ 1821202 w 4519987"/>
                    <a:gd name="connsiteY45" fmla="*/ 4371975 h 4457700"/>
                    <a:gd name="connsiteX46" fmla="*/ 1754527 w 4519987"/>
                    <a:gd name="connsiteY46" fmla="*/ 4352925 h 4457700"/>
                    <a:gd name="connsiteX47" fmla="*/ 1687852 w 4519987"/>
                    <a:gd name="connsiteY47" fmla="*/ 4343400 h 4457700"/>
                    <a:gd name="connsiteX48" fmla="*/ 1573552 w 4519987"/>
                    <a:gd name="connsiteY48" fmla="*/ 4305300 h 4457700"/>
                    <a:gd name="connsiteX49" fmla="*/ 1402102 w 4519987"/>
                    <a:gd name="connsiteY49" fmla="*/ 4276725 h 4457700"/>
                    <a:gd name="connsiteX50" fmla="*/ 1287802 w 4519987"/>
                    <a:gd name="connsiteY50" fmla="*/ 4229100 h 4457700"/>
                    <a:gd name="connsiteX51" fmla="*/ 1221127 w 4519987"/>
                    <a:gd name="connsiteY51" fmla="*/ 4200525 h 4457700"/>
                    <a:gd name="connsiteX52" fmla="*/ 1144927 w 4519987"/>
                    <a:gd name="connsiteY52" fmla="*/ 4171950 h 4457700"/>
                    <a:gd name="connsiteX53" fmla="*/ 1087777 w 4519987"/>
                    <a:gd name="connsiteY53" fmla="*/ 4143375 h 4457700"/>
                    <a:gd name="connsiteX54" fmla="*/ 1030627 w 4519987"/>
                    <a:gd name="connsiteY54" fmla="*/ 4124325 h 4457700"/>
                    <a:gd name="connsiteX55" fmla="*/ 925852 w 4519987"/>
                    <a:gd name="connsiteY55" fmla="*/ 4067175 h 4457700"/>
                    <a:gd name="connsiteX56" fmla="*/ 830602 w 4519987"/>
                    <a:gd name="connsiteY56" fmla="*/ 3981450 h 4457700"/>
                    <a:gd name="connsiteX57" fmla="*/ 763927 w 4519987"/>
                    <a:gd name="connsiteY57" fmla="*/ 3914775 h 4457700"/>
                    <a:gd name="connsiteX58" fmla="*/ 725827 w 4519987"/>
                    <a:gd name="connsiteY58" fmla="*/ 3876675 h 4457700"/>
                    <a:gd name="connsiteX59" fmla="*/ 697252 w 4519987"/>
                    <a:gd name="connsiteY59" fmla="*/ 3838575 h 4457700"/>
                    <a:gd name="connsiteX60" fmla="*/ 640102 w 4519987"/>
                    <a:gd name="connsiteY60" fmla="*/ 3781425 h 4457700"/>
                    <a:gd name="connsiteX61" fmla="*/ 611527 w 4519987"/>
                    <a:gd name="connsiteY61" fmla="*/ 3733800 h 4457700"/>
                    <a:gd name="connsiteX62" fmla="*/ 554377 w 4519987"/>
                    <a:gd name="connsiteY62" fmla="*/ 3657600 h 4457700"/>
                    <a:gd name="connsiteX63" fmla="*/ 525802 w 4519987"/>
                    <a:gd name="connsiteY63" fmla="*/ 3609975 h 4457700"/>
                    <a:gd name="connsiteX64" fmla="*/ 497227 w 4519987"/>
                    <a:gd name="connsiteY64" fmla="*/ 3552825 h 4457700"/>
                    <a:gd name="connsiteX65" fmla="*/ 440077 w 4519987"/>
                    <a:gd name="connsiteY65" fmla="*/ 3495675 h 4457700"/>
                    <a:gd name="connsiteX66" fmla="*/ 411502 w 4519987"/>
                    <a:gd name="connsiteY66" fmla="*/ 3448050 h 4457700"/>
                    <a:gd name="connsiteX67" fmla="*/ 278152 w 4519987"/>
                    <a:gd name="connsiteY67" fmla="*/ 3257550 h 4457700"/>
                    <a:gd name="connsiteX68" fmla="*/ 249577 w 4519987"/>
                    <a:gd name="connsiteY68" fmla="*/ 3200400 h 4457700"/>
                    <a:gd name="connsiteX69" fmla="*/ 240052 w 4519987"/>
                    <a:gd name="connsiteY69" fmla="*/ 3162300 h 4457700"/>
                    <a:gd name="connsiteX70" fmla="*/ 221002 w 4519987"/>
                    <a:gd name="connsiteY70" fmla="*/ 3105150 h 4457700"/>
                    <a:gd name="connsiteX71" fmla="*/ 173377 w 4519987"/>
                    <a:gd name="connsiteY71" fmla="*/ 3019425 h 4457700"/>
                    <a:gd name="connsiteX72" fmla="*/ 144802 w 4519987"/>
                    <a:gd name="connsiteY72" fmla="*/ 2924175 h 4457700"/>
                    <a:gd name="connsiteX73" fmla="*/ 68602 w 4519987"/>
                    <a:gd name="connsiteY73" fmla="*/ 2724150 h 4457700"/>
                    <a:gd name="connsiteX74" fmla="*/ 49552 w 4519987"/>
                    <a:gd name="connsiteY74" fmla="*/ 2638425 h 4457700"/>
                    <a:gd name="connsiteX75" fmla="*/ 40027 w 4519987"/>
                    <a:gd name="connsiteY75" fmla="*/ 2562225 h 4457700"/>
                    <a:gd name="connsiteX76" fmla="*/ 30502 w 4519987"/>
                    <a:gd name="connsiteY76" fmla="*/ 2514600 h 4457700"/>
                    <a:gd name="connsiteX77" fmla="*/ 11452 w 4519987"/>
                    <a:gd name="connsiteY77" fmla="*/ 2400300 h 4457700"/>
                    <a:gd name="connsiteX78" fmla="*/ 20977 w 4519987"/>
                    <a:gd name="connsiteY78" fmla="*/ 1905000 h 4457700"/>
                    <a:gd name="connsiteX79" fmla="*/ 30502 w 4519987"/>
                    <a:gd name="connsiteY79" fmla="*/ 1838325 h 4457700"/>
                    <a:gd name="connsiteX80" fmla="*/ 49552 w 4519987"/>
                    <a:gd name="connsiteY80" fmla="*/ 1781175 h 4457700"/>
                    <a:gd name="connsiteX81" fmla="*/ 59077 w 4519987"/>
                    <a:gd name="connsiteY81" fmla="*/ 1743075 h 4457700"/>
                    <a:gd name="connsiteX82" fmla="*/ 78127 w 4519987"/>
                    <a:gd name="connsiteY82" fmla="*/ 1685925 h 4457700"/>
                    <a:gd name="connsiteX83" fmla="*/ 87652 w 4519987"/>
                    <a:gd name="connsiteY83" fmla="*/ 1638300 h 4457700"/>
                    <a:gd name="connsiteX84" fmla="*/ 106702 w 4519987"/>
                    <a:gd name="connsiteY84" fmla="*/ 1590675 h 4457700"/>
                    <a:gd name="connsiteX85" fmla="*/ 135277 w 4519987"/>
                    <a:gd name="connsiteY85" fmla="*/ 1504950 h 4457700"/>
                    <a:gd name="connsiteX86" fmla="*/ 154327 w 4519987"/>
                    <a:gd name="connsiteY86" fmla="*/ 1419225 h 4457700"/>
                    <a:gd name="connsiteX87" fmla="*/ 230527 w 4519987"/>
                    <a:gd name="connsiteY87" fmla="*/ 1276350 h 4457700"/>
                    <a:gd name="connsiteX88" fmla="*/ 240052 w 4519987"/>
                    <a:gd name="connsiteY88" fmla="*/ 1247775 h 4457700"/>
                    <a:gd name="connsiteX89" fmla="*/ 268627 w 4519987"/>
                    <a:gd name="connsiteY89" fmla="*/ 1200150 h 4457700"/>
                    <a:gd name="connsiteX90" fmla="*/ 287677 w 4519987"/>
                    <a:gd name="connsiteY90" fmla="*/ 1152525 h 4457700"/>
                    <a:gd name="connsiteX91" fmla="*/ 316252 w 4519987"/>
                    <a:gd name="connsiteY91" fmla="*/ 1114425 h 4457700"/>
                    <a:gd name="connsiteX92" fmla="*/ 363877 w 4519987"/>
                    <a:gd name="connsiteY92" fmla="*/ 1038225 h 4457700"/>
                    <a:gd name="connsiteX93" fmla="*/ 382927 w 4519987"/>
                    <a:gd name="connsiteY93" fmla="*/ 1009650 h 4457700"/>
                    <a:gd name="connsiteX94" fmla="*/ 440077 w 4519987"/>
                    <a:gd name="connsiteY94" fmla="*/ 904875 h 4457700"/>
                    <a:gd name="connsiteX95" fmla="*/ 478177 w 4519987"/>
                    <a:gd name="connsiteY95" fmla="*/ 857250 h 4457700"/>
                    <a:gd name="connsiteX96" fmla="*/ 497227 w 4519987"/>
                    <a:gd name="connsiteY96" fmla="*/ 828675 h 4457700"/>
                    <a:gd name="connsiteX97" fmla="*/ 535327 w 4519987"/>
                    <a:gd name="connsiteY97" fmla="*/ 800100 h 4457700"/>
                    <a:gd name="connsiteX98" fmla="*/ 602002 w 4519987"/>
                    <a:gd name="connsiteY98" fmla="*/ 733425 h 4457700"/>
                    <a:gd name="connsiteX99" fmla="*/ 668677 w 4519987"/>
                    <a:gd name="connsiteY99" fmla="*/ 676275 h 4457700"/>
                    <a:gd name="connsiteX100" fmla="*/ 697252 w 4519987"/>
                    <a:gd name="connsiteY100" fmla="*/ 657225 h 4457700"/>
                    <a:gd name="connsiteX101" fmla="*/ 840127 w 4519987"/>
                    <a:gd name="connsiteY101" fmla="*/ 533400 h 4457700"/>
                    <a:gd name="connsiteX102" fmla="*/ 887752 w 4519987"/>
                    <a:gd name="connsiteY102" fmla="*/ 504825 h 4457700"/>
                    <a:gd name="connsiteX103" fmla="*/ 1167152 w 4519987"/>
                    <a:gd name="connsiteY103" fmla="*/ 311150 h 4457700"/>
                    <a:gd name="connsiteX104" fmla="*/ 1268752 w 4519987"/>
                    <a:gd name="connsiteY104" fmla="*/ 285750 h 4457700"/>
                    <a:gd name="connsiteX105" fmla="*/ 1411627 w 4519987"/>
                    <a:gd name="connsiteY105" fmla="*/ 190500 h 4457700"/>
                    <a:gd name="connsiteX106" fmla="*/ 1449727 w 4519987"/>
                    <a:gd name="connsiteY106" fmla="*/ 161925 h 4457700"/>
                    <a:gd name="connsiteX107" fmla="*/ 1525927 w 4519987"/>
                    <a:gd name="connsiteY107" fmla="*/ 152400 h 4457700"/>
                    <a:gd name="connsiteX108" fmla="*/ 1583077 w 4519987"/>
                    <a:gd name="connsiteY108" fmla="*/ 142875 h 4457700"/>
                    <a:gd name="connsiteX109" fmla="*/ 1716427 w 4519987"/>
                    <a:gd name="connsiteY109" fmla="*/ 123825 h 4457700"/>
                    <a:gd name="connsiteX110" fmla="*/ 1811677 w 4519987"/>
                    <a:gd name="connsiteY110" fmla="*/ 114300 h 4457700"/>
                    <a:gd name="connsiteX111" fmla="*/ 1859302 w 4519987"/>
                    <a:gd name="connsiteY111" fmla="*/ 104775 h 4457700"/>
                    <a:gd name="connsiteX112" fmla="*/ 1916452 w 4519987"/>
                    <a:gd name="connsiteY112" fmla="*/ 95250 h 4457700"/>
                    <a:gd name="connsiteX113" fmla="*/ 2030752 w 4519987"/>
                    <a:gd name="connsiteY113" fmla="*/ 66675 h 4457700"/>
                    <a:gd name="connsiteX114" fmla="*/ 2097427 w 4519987"/>
                    <a:gd name="connsiteY114" fmla="*/ 47625 h 4457700"/>
                    <a:gd name="connsiteX115" fmla="*/ 2164102 w 4519987"/>
                    <a:gd name="connsiteY115" fmla="*/ 38100 h 4457700"/>
                    <a:gd name="connsiteX116" fmla="*/ 2392702 w 4519987"/>
                    <a:gd name="connsiteY116" fmla="*/ 28575 h 4457700"/>
                    <a:gd name="connsiteX0" fmla="*/ 2297452 w 4519987"/>
                    <a:gd name="connsiteY0" fmla="*/ 0 h 4429260"/>
                    <a:gd name="connsiteX1" fmla="*/ 2421277 w 4519987"/>
                    <a:gd name="connsiteY1" fmla="*/ 28575 h 4429260"/>
                    <a:gd name="connsiteX2" fmla="*/ 2497477 w 4519987"/>
                    <a:gd name="connsiteY2" fmla="*/ 47625 h 4429260"/>
                    <a:gd name="connsiteX3" fmla="*/ 2754652 w 4519987"/>
                    <a:gd name="connsiteY3" fmla="*/ 66675 h 4429260"/>
                    <a:gd name="connsiteX4" fmla="*/ 2830852 w 4519987"/>
                    <a:gd name="connsiteY4" fmla="*/ 76200 h 4429260"/>
                    <a:gd name="connsiteX5" fmla="*/ 2916577 w 4519987"/>
                    <a:gd name="connsiteY5" fmla="*/ 85725 h 4429260"/>
                    <a:gd name="connsiteX6" fmla="*/ 2973727 w 4519987"/>
                    <a:gd name="connsiteY6" fmla="*/ 114300 h 4429260"/>
                    <a:gd name="connsiteX7" fmla="*/ 3011827 w 4519987"/>
                    <a:gd name="connsiteY7" fmla="*/ 123825 h 4429260"/>
                    <a:gd name="connsiteX8" fmla="*/ 3135652 w 4519987"/>
                    <a:gd name="connsiteY8" fmla="*/ 171450 h 4429260"/>
                    <a:gd name="connsiteX9" fmla="*/ 3173752 w 4519987"/>
                    <a:gd name="connsiteY9" fmla="*/ 190500 h 4429260"/>
                    <a:gd name="connsiteX10" fmla="*/ 3240427 w 4519987"/>
                    <a:gd name="connsiteY10" fmla="*/ 228600 h 4429260"/>
                    <a:gd name="connsiteX11" fmla="*/ 3269002 w 4519987"/>
                    <a:gd name="connsiteY11" fmla="*/ 238125 h 4429260"/>
                    <a:gd name="connsiteX12" fmla="*/ 3297577 w 4519987"/>
                    <a:gd name="connsiteY12" fmla="*/ 257175 h 4429260"/>
                    <a:gd name="connsiteX13" fmla="*/ 3326152 w 4519987"/>
                    <a:gd name="connsiteY13" fmla="*/ 266700 h 4429260"/>
                    <a:gd name="connsiteX14" fmla="*/ 3354727 w 4519987"/>
                    <a:gd name="connsiteY14" fmla="*/ 285750 h 4429260"/>
                    <a:gd name="connsiteX15" fmla="*/ 3421402 w 4519987"/>
                    <a:gd name="connsiteY15" fmla="*/ 323850 h 4429260"/>
                    <a:gd name="connsiteX16" fmla="*/ 3469027 w 4519987"/>
                    <a:gd name="connsiteY16" fmla="*/ 361950 h 4429260"/>
                    <a:gd name="connsiteX17" fmla="*/ 3516652 w 4519987"/>
                    <a:gd name="connsiteY17" fmla="*/ 390525 h 4429260"/>
                    <a:gd name="connsiteX18" fmla="*/ 3630952 w 4519987"/>
                    <a:gd name="connsiteY18" fmla="*/ 485775 h 4429260"/>
                    <a:gd name="connsiteX19" fmla="*/ 3745252 w 4519987"/>
                    <a:gd name="connsiteY19" fmla="*/ 542925 h 4429260"/>
                    <a:gd name="connsiteX20" fmla="*/ 3811927 w 4519987"/>
                    <a:gd name="connsiteY20" fmla="*/ 581025 h 4429260"/>
                    <a:gd name="connsiteX21" fmla="*/ 4027827 w 4519987"/>
                    <a:gd name="connsiteY21" fmla="*/ 819150 h 4429260"/>
                    <a:gd name="connsiteX22" fmla="*/ 4164352 w 4519987"/>
                    <a:gd name="connsiteY22" fmla="*/ 990600 h 4429260"/>
                    <a:gd name="connsiteX23" fmla="*/ 4250077 w 4519987"/>
                    <a:gd name="connsiteY23" fmla="*/ 1143000 h 4429260"/>
                    <a:gd name="connsiteX24" fmla="*/ 4307227 w 4519987"/>
                    <a:gd name="connsiteY24" fmla="*/ 1266825 h 4429260"/>
                    <a:gd name="connsiteX25" fmla="*/ 4345327 w 4519987"/>
                    <a:gd name="connsiteY25" fmla="*/ 1362075 h 4429260"/>
                    <a:gd name="connsiteX26" fmla="*/ 4392952 w 4519987"/>
                    <a:gd name="connsiteY26" fmla="*/ 1552575 h 4429260"/>
                    <a:gd name="connsiteX27" fmla="*/ 4431052 w 4519987"/>
                    <a:gd name="connsiteY27" fmla="*/ 1685925 h 4429260"/>
                    <a:gd name="connsiteX28" fmla="*/ 4519952 w 4519987"/>
                    <a:gd name="connsiteY28" fmla="*/ 2181225 h 4429260"/>
                    <a:gd name="connsiteX29" fmla="*/ 4446927 w 4519987"/>
                    <a:gd name="connsiteY29" fmla="*/ 2768600 h 4429260"/>
                    <a:gd name="connsiteX30" fmla="*/ 4383427 w 4519987"/>
                    <a:gd name="connsiteY30" fmla="*/ 2990850 h 4429260"/>
                    <a:gd name="connsiteX31" fmla="*/ 4278652 w 4519987"/>
                    <a:gd name="connsiteY31" fmla="*/ 3248025 h 4429260"/>
                    <a:gd name="connsiteX32" fmla="*/ 4183402 w 4519987"/>
                    <a:gd name="connsiteY32" fmla="*/ 3400425 h 4429260"/>
                    <a:gd name="connsiteX33" fmla="*/ 4059577 w 4519987"/>
                    <a:gd name="connsiteY33" fmla="*/ 3533775 h 4429260"/>
                    <a:gd name="connsiteX34" fmla="*/ 3954802 w 4519987"/>
                    <a:gd name="connsiteY34" fmla="*/ 3648075 h 4429260"/>
                    <a:gd name="connsiteX35" fmla="*/ 3659527 w 4519987"/>
                    <a:gd name="connsiteY35" fmla="*/ 3971925 h 4429260"/>
                    <a:gd name="connsiteX36" fmla="*/ 3516652 w 4519987"/>
                    <a:gd name="connsiteY36" fmla="*/ 4083050 h 4429260"/>
                    <a:gd name="connsiteX37" fmla="*/ 3221377 w 4519987"/>
                    <a:gd name="connsiteY37" fmla="*/ 4222750 h 4429260"/>
                    <a:gd name="connsiteX38" fmla="*/ 3068977 w 4519987"/>
                    <a:gd name="connsiteY38" fmla="*/ 4286250 h 4429260"/>
                    <a:gd name="connsiteX39" fmla="*/ 2935627 w 4519987"/>
                    <a:gd name="connsiteY39" fmla="*/ 4333875 h 4429260"/>
                    <a:gd name="connsiteX40" fmla="*/ 2811802 w 4519987"/>
                    <a:gd name="connsiteY40" fmla="*/ 4371975 h 4429260"/>
                    <a:gd name="connsiteX41" fmla="*/ 2580027 w 4519987"/>
                    <a:gd name="connsiteY41" fmla="*/ 4391025 h 4429260"/>
                    <a:gd name="connsiteX42" fmla="*/ 2126002 w 4519987"/>
                    <a:gd name="connsiteY42" fmla="*/ 4429125 h 4429260"/>
                    <a:gd name="connsiteX43" fmla="*/ 1935502 w 4519987"/>
                    <a:gd name="connsiteY43" fmla="*/ 4400550 h 4429260"/>
                    <a:gd name="connsiteX44" fmla="*/ 1821202 w 4519987"/>
                    <a:gd name="connsiteY44" fmla="*/ 4371975 h 4429260"/>
                    <a:gd name="connsiteX45" fmla="*/ 1754527 w 4519987"/>
                    <a:gd name="connsiteY45" fmla="*/ 4352925 h 4429260"/>
                    <a:gd name="connsiteX46" fmla="*/ 1687852 w 4519987"/>
                    <a:gd name="connsiteY46" fmla="*/ 4343400 h 4429260"/>
                    <a:gd name="connsiteX47" fmla="*/ 1573552 w 4519987"/>
                    <a:gd name="connsiteY47" fmla="*/ 4305300 h 4429260"/>
                    <a:gd name="connsiteX48" fmla="*/ 1402102 w 4519987"/>
                    <a:gd name="connsiteY48" fmla="*/ 4276725 h 4429260"/>
                    <a:gd name="connsiteX49" fmla="*/ 1287802 w 4519987"/>
                    <a:gd name="connsiteY49" fmla="*/ 4229100 h 4429260"/>
                    <a:gd name="connsiteX50" fmla="*/ 1221127 w 4519987"/>
                    <a:gd name="connsiteY50" fmla="*/ 4200525 h 4429260"/>
                    <a:gd name="connsiteX51" fmla="*/ 1144927 w 4519987"/>
                    <a:gd name="connsiteY51" fmla="*/ 4171950 h 4429260"/>
                    <a:gd name="connsiteX52" fmla="*/ 1087777 w 4519987"/>
                    <a:gd name="connsiteY52" fmla="*/ 4143375 h 4429260"/>
                    <a:gd name="connsiteX53" fmla="*/ 1030627 w 4519987"/>
                    <a:gd name="connsiteY53" fmla="*/ 4124325 h 4429260"/>
                    <a:gd name="connsiteX54" fmla="*/ 925852 w 4519987"/>
                    <a:gd name="connsiteY54" fmla="*/ 4067175 h 4429260"/>
                    <a:gd name="connsiteX55" fmla="*/ 830602 w 4519987"/>
                    <a:gd name="connsiteY55" fmla="*/ 3981450 h 4429260"/>
                    <a:gd name="connsiteX56" fmla="*/ 763927 w 4519987"/>
                    <a:gd name="connsiteY56" fmla="*/ 3914775 h 4429260"/>
                    <a:gd name="connsiteX57" fmla="*/ 725827 w 4519987"/>
                    <a:gd name="connsiteY57" fmla="*/ 3876675 h 4429260"/>
                    <a:gd name="connsiteX58" fmla="*/ 697252 w 4519987"/>
                    <a:gd name="connsiteY58" fmla="*/ 3838575 h 4429260"/>
                    <a:gd name="connsiteX59" fmla="*/ 640102 w 4519987"/>
                    <a:gd name="connsiteY59" fmla="*/ 3781425 h 4429260"/>
                    <a:gd name="connsiteX60" fmla="*/ 611527 w 4519987"/>
                    <a:gd name="connsiteY60" fmla="*/ 3733800 h 4429260"/>
                    <a:gd name="connsiteX61" fmla="*/ 554377 w 4519987"/>
                    <a:gd name="connsiteY61" fmla="*/ 3657600 h 4429260"/>
                    <a:gd name="connsiteX62" fmla="*/ 525802 w 4519987"/>
                    <a:gd name="connsiteY62" fmla="*/ 3609975 h 4429260"/>
                    <a:gd name="connsiteX63" fmla="*/ 497227 w 4519987"/>
                    <a:gd name="connsiteY63" fmla="*/ 3552825 h 4429260"/>
                    <a:gd name="connsiteX64" fmla="*/ 440077 w 4519987"/>
                    <a:gd name="connsiteY64" fmla="*/ 3495675 h 4429260"/>
                    <a:gd name="connsiteX65" fmla="*/ 411502 w 4519987"/>
                    <a:gd name="connsiteY65" fmla="*/ 3448050 h 4429260"/>
                    <a:gd name="connsiteX66" fmla="*/ 278152 w 4519987"/>
                    <a:gd name="connsiteY66" fmla="*/ 3257550 h 4429260"/>
                    <a:gd name="connsiteX67" fmla="*/ 249577 w 4519987"/>
                    <a:gd name="connsiteY67" fmla="*/ 3200400 h 4429260"/>
                    <a:gd name="connsiteX68" fmla="*/ 240052 w 4519987"/>
                    <a:gd name="connsiteY68" fmla="*/ 3162300 h 4429260"/>
                    <a:gd name="connsiteX69" fmla="*/ 221002 w 4519987"/>
                    <a:gd name="connsiteY69" fmla="*/ 3105150 h 4429260"/>
                    <a:gd name="connsiteX70" fmla="*/ 173377 w 4519987"/>
                    <a:gd name="connsiteY70" fmla="*/ 3019425 h 4429260"/>
                    <a:gd name="connsiteX71" fmla="*/ 144802 w 4519987"/>
                    <a:gd name="connsiteY71" fmla="*/ 2924175 h 4429260"/>
                    <a:gd name="connsiteX72" fmla="*/ 68602 w 4519987"/>
                    <a:gd name="connsiteY72" fmla="*/ 2724150 h 4429260"/>
                    <a:gd name="connsiteX73" fmla="*/ 49552 w 4519987"/>
                    <a:gd name="connsiteY73" fmla="*/ 2638425 h 4429260"/>
                    <a:gd name="connsiteX74" fmla="*/ 40027 w 4519987"/>
                    <a:gd name="connsiteY74" fmla="*/ 2562225 h 4429260"/>
                    <a:gd name="connsiteX75" fmla="*/ 30502 w 4519987"/>
                    <a:gd name="connsiteY75" fmla="*/ 2514600 h 4429260"/>
                    <a:gd name="connsiteX76" fmla="*/ 11452 w 4519987"/>
                    <a:gd name="connsiteY76" fmla="*/ 2400300 h 4429260"/>
                    <a:gd name="connsiteX77" fmla="*/ 20977 w 4519987"/>
                    <a:gd name="connsiteY77" fmla="*/ 1905000 h 4429260"/>
                    <a:gd name="connsiteX78" fmla="*/ 30502 w 4519987"/>
                    <a:gd name="connsiteY78" fmla="*/ 1838325 h 4429260"/>
                    <a:gd name="connsiteX79" fmla="*/ 49552 w 4519987"/>
                    <a:gd name="connsiteY79" fmla="*/ 1781175 h 4429260"/>
                    <a:gd name="connsiteX80" fmla="*/ 59077 w 4519987"/>
                    <a:gd name="connsiteY80" fmla="*/ 1743075 h 4429260"/>
                    <a:gd name="connsiteX81" fmla="*/ 78127 w 4519987"/>
                    <a:gd name="connsiteY81" fmla="*/ 1685925 h 4429260"/>
                    <a:gd name="connsiteX82" fmla="*/ 87652 w 4519987"/>
                    <a:gd name="connsiteY82" fmla="*/ 1638300 h 4429260"/>
                    <a:gd name="connsiteX83" fmla="*/ 106702 w 4519987"/>
                    <a:gd name="connsiteY83" fmla="*/ 1590675 h 4429260"/>
                    <a:gd name="connsiteX84" fmla="*/ 135277 w 4519987"/>
                    <a:gd name="connsiteY84" fmla="*/ 1504950 h 4429260"/>
                    <a:gd name="connsiteX85" fmla="*/ 154327 w 4519987"/>
                    <a:gd name="connsiteY85" fmla="*/ 1419225 h 4429260"/>
                    <a:gd name="connsiteX86" fmla="*/ 230527 w 4519987"/>
                    <a:gd name="connsiteY86" fmla="*/ 1276350 h 4429260"/>
                    <a:gd name="connsiteX87" fmla="*/ 240052 w 4519987"/>
                    <a:gd name="connsiteY87" fmla="*/ 1247775 h 4429260"/>
                    <a:gd name="connsiteX88" fmla="*/ 268627 w 4519987"/>
                    <a:gd name="connsiteY88" fmla="*/ 1200150 h 4429260"/>
                    <a:gd name="connsiteX89" fmla="*/ 287677 w 4519987"/>
                    <a:gd name="connsiteY89" fmla="*/ 1152525 h 4429260"/>
                    <a:gd name="connsiteX90" fmla="*/ 316252 w 4519987"/>
                    <a:gd name="connsiteY90" fmla="*/ 1114425 h 4429260"/>
                    <a:gd name="connsiteX91" fmla="*/ 363877 w 4519987"/>
                    <a:gd name="connsiteY91" fmla="*/ 1038225 h 4429260"/>
                    <a:gd name="connsiteX92" fmla="*/ 382927 w 4519987"/>
                    <a:gd name="connsiteY92" fmla="*/ 1009650 h 4429260"/>
                    <a:gd name="connsiteX93" fmla="*/ 440077 w 4519987"/>
                    <a:gd name="connsiteY93" fmla="*/ 904875 h 4429260"/>
                    <a:gd name="connsiteX94" fmla="*/ 478177 w 4519987"/>
                    <a:gd name="connsiteY94" fmla="*/ 857250 h 4429260"/>
                    <a:gd name="connsiteX95" fmla="*/ 497227 w 4519987"/>
                    <a:gd name="connsiteY95" fmla="*/ 828675 h 4429260"/>
                    <a:gd name="connsiteX96" fmla="*/ 535327 w 4519987"/>
                    <a:gd name="connsiteY96" fmla="*/ 800100 h 4429260"/>
                    <a:gd name="connsiteX97" fmla="*/ 602002 w 4519987"/>
                    <a:gd name="connsiteY97" fmla="*/ 733425 h 4429260"/>
                    <a:gd name="connsiteX98" fmla="*/ 668677 w 4519987"/>
                    <a:gd name="connsiteY98" fmla="*/ 676275 h 4429260"/>
                    <a:gd name="connsiteX99" fmla="*/ 697252 w 4519987"/>
                    <a:gd name="connsiteY99" fmla="*/ 657225 h 4429260"/>
                    <a:gd name="connsiteX100" fmla="*/ 840127 w 4519987"/>
                    <a:gd name="connsiteY100" fmla="*/ 533400 h 4429260"/>
                    <a:gd name="connsiteX101" fmla="*/ 887752 w 4519987"/>
                    <a:gd name="connsiteY101" fmla="*/ 504825 h 4429260"/>
                    <a:gd name="connsiteX102" fmla="*/ 1167152 w 4519987"/>
                    <a:gd name="connsiteY102" fmla="*/ 311150 h 4429260"/>
                    <a:gd name="connsiteX103" fmla="*/ 1268752 w 4519987"/>
                    <a:gd name="connsiteY103" fmla="*/ 285750 h 4429260"/>
                    <a:gd name="connsiteX104" fmla="*/ 1411627 w 4519987"/>
                    <a:gd name="connsiteY104" fmla="*/ 190500 h 4429260"/>
                    <a:gd name="connsiteX105" fmla="*/ 1449727 w 4519987"/>
                    <a:gd name="connsiteY105" fmla="*/ 161925 h 4429260"/>
                    <a:gd name="connsiteX106" fmla="*/ 1525927 w 4519987"/>
                    <a:gd name="connsiteY106" fmla="*/ 152400 h 4429260"/>
                    <a:gd name="connsiteX107" fmla="*/ 1583077 w 4519987"/>
                    <a:gd name="connsiteY107" fmla="*/ 142875 h 4429260"/>
                    <a:gd name="connsiteX108" fmla="*/ 1716427 w 4519987"/>
                    <a:gd name="connsiteY108" fmla="*/ 123825 h 4429260"/>
                    <a:gd name="connsiteX109" fmla="*/ 1811677 w 4519987"/>
                    <a:gd name="connsiteY109" fmla="*/ 114300 h 4429260"/>
                    <a:gd name="connsiteX110" fmla="*/ 1859302 w 4519987"/>
                    <a:gd name="connsiteY110" fmla="*/ 104775 h 4429260"/>
                    <a:gd name="connsiteX111" fmla="*/ 1916452 w 4519987"/>
                    <a:gd name="connsiteY111" fmla="*/ 95250 h 4429260"/>
                    <a:gd name="connsiteX112" fmla="*/ 2030752 w 4519987"/>
                    <a:gd name="connsiteY112" fmla="*/ 66675 h 4429260"/>
                    <a:gd name="connsiteX113" fmla="*/ 2097427 w 4519987"/>
                    <a:gd name="connsiteY113" fmla="*/ 47625 h 4429260"/>
                    <a:gd name="connsiteX114" fmla="*/ 2164102 w 4519987"/>
                    <a:gd name="connsiteY114" fmla="*/ 38100 h 4429260"/>
                    <a:gd name="connsiteX115" fmla="*/ 2392702 w 4519987"/>
                    <a:gd name="connsiteY115" fmla="*/ 28575 h 4429260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687852 w 4519987"/>
                    <a:gd name="connsiteY45" fmla="*/ 4343400 h 4429225"/>
                    <a:gd name="connsiteX46" fmla="*/ 1573552 w 4519987"/>
                    <a:gd name="connsiteY46" fmla="*/ 4305300 h 4429225"/>
                    <a:gd name="connsiteX47" fmla="*/ 1402102 w 4519987"/>
                    <a:gd name="connsiteY47" fmla="*/ 4276725 h 4429225"/>
                    <a:gd name="connsiteX48" fmla="*/ 1287802 w 4519987"/>
                    <a:gd name="connsiteY48" fmla="*/ 4229100 h 4429225"/>
                    <a:gd name="connsiteX49" fmla="*/ 1221127 w 4519987"/>
                    <a:gd name="connsiteY49" fmla="*/ 4200525 h 4429225"/>
                    <a:gd name="connsiteX50" fmla="*/ 1144927 w 4519987"/>
                    <a:gd name="connsiteY50" fmla="*/ 4171950 h 4429225"/>
                    <a:gd name="connsiteX51" fmla="*/ 1087777 w 4519987"/>
                    <a:gd name="connsiteY51" fmla="*/ 4143375 h 4429225"/>
                    <a:gd name="connsiteX52" fmla="*/ 1030627 w 4519987"/>
                    <a:gd name="connsiteY52" fmla="*/ 4124325 h 4429225"/>
                    <a:gd name="connsiteX53" fmla="*/ 925852 w 4519987"/>
                    <a:gd name="connsiteY53" fmla="*/ 4067175 h 4429225"/>
                    <a:gd name="connsiteX54" fmla="*/ 830602 w 4519987"/>
                    <a:gd name="connsiteY54" fmla="*/ 3981450 h 4429225"/>
                    <a:gd name="connsiteX55" fmla="*/ 763927 w 4519987"/>
                    <a:gd name="connsiteY55" fmla="*/ 3914775 h 4429225"/>
                    <a:gd name="connsiteX56" fmla="*/ 725827 w 4519987"/>
                    <a:gd name="connsiteY56" fmla="*/ 3876675 h 4429225"/>
                    <a:gd name="connsiteX57" fmla="*/ 697252 w 4519987"/>
                    <a:gd name="connsiteY57" fmla="*/ 3838575 h 4429225"/>
                    <a:gd name="connsiteX58" fmla="*/ 640102 w 4519987"/>
                    <a:gd name="connsiteY58" fmla="*/ 3781425 h 4429225"/>
                    <a:gd name="connsiteX59" fmla="*/ 611527 w 4519987"/>
                    <a:gd name="connsiteY59" fmla="*/ 3733800 h 4429225"/>
                    <a:gd name="connsiteX60" fmla="*/ 554377 w 4519987"/>
                    <a:gd name="connsiteY60" fmla="*/ 3657600 h 4429225"/>
                    <a:gd name="connsiteX61" fmla="*/ 525802 w 4519987"/>
                    <a:gd name="connsiteY61" fmla="*/ 3609975 h 4429225"/>
                    <a:gd name="connsiteX62" fmla="*/ 497227 w 4519987"/>
                    <a:gd name="connsiteY62" fmla="*/ 3552825 h 4429225"/>
                    <a:gd name="connsiteX63" fmla="*/ 440077 w 4519987"/>
                    <a:gd name="connsiteY63" fmla="*/ 3495675 h 4429225"/>
                    <a:gd name="connsiteX64" fmla="*/ 411502 w 4519987"/>
                    <a:gd name="connsiteY64" fmla="*/ 3448050 h 4429225"/>
                    <a:gd name="connsiteX65" fmla="*/ 278152 w 4519987"/>
                    <a:gd name="connsiteY65" fmla="*/ 3257550 h 4429225"/>
                    <a:gd name="connsiteX66" fmla="*/ 249577 w 4519987"/>
                    <a:gd name="connsiteY66" fmla="*/ 3200400 h 4429225"/>
                    <a:gd name="connsiteX67" fmla="*/ 240052 w 4519987"/>
                    <a:gd name="connsiteY67" fmla="*/ 3162300 h 4429225"/>
                    <a:gd name="connsiteX68" fmla="*/ 221002 w 4519987"/>
                    <a:gd name="connsiteY68" fmla="*/ 3105150 h 4429225"/>
                    <a:gd name="connsiteX69" fmla="*/ 173377 w 4519987"/>
                    <a:gd name="connsiteY69" fmla="*/ 3019425 h 4429225"/>
                    <a:gd name="connsiteX70" fmla="*/ 144802 w 4519987"/>
                    <a:gd name="connsiteY70" fmla="*/ 2924175 h 4429225"/>
                    <a:gd name="connsiteX71" fmla="*/ 68602 w 4519987"/>
                    <a:gd name="connsiteY71" fmla="*/ 2724150 h 4429225"/>
                    <a:gd name="connsiteX72" fmla="*/ 49552 w 4519987"/>
                    <a:gd name="connsiteY72" fmla="*/ 2638425 h 4429225"/>
                    <a:gd name="connsiteX73" fmla="*/ 40027 w 4519987"/>
                    <a:gd name="connsiteY73" fmla="*/ 2562225 h 4429225"/>
                    <a:gd name="connsiteX74" fmla="*/ 30502 w 4519987"/>
                    <a:gd name="connsiteY74" fmla="*/ 2514600 h 4429225"/>
                    <a:gd name="connsiteX75" fmla="*/ 11452 w 4519987"/>
                    <a:gd name="connsiteY75" fmla="*/ 2400300 h 4429225"/>
                    <a:gd name="connsiteX76" fmla="*/ 20977 w 4519987"/>
                    <a:gd name="connsiteY76" fmla="*/ 1905000 h 4429225"/>
                    <a:gd name="connsiteX77" fmla="*/ 30502 w 4519987"/>
                    <a:gd name="connsiteY77" fmla="*/ 1838325 h 4429225"/>
                    <a:gd name="connsiteX78" fmla="*/ 49552 w 4519987"/>
                    <a:gd name="connsiteY78" fmla="*/ 1781175 h 4429225"/>
                    <a:gd name="connsiteX79" fmla="*/ 59077 w 4519987"/>
                    <a:gd name="connsiteY79" fmla="*/ 1743075 h 4429225"/>
                    <a:gd name="connsiteX80" fmla="*/ 78127 w 4519987"/>
                    <a:gd name="connsiteY80" fmla="*/ 1685925 h 4429225"/>
                    <a:gd name="connsiteX81" fmla="*/ 87652 w 4519987"/>
                    <a:gd name="connsiteY81" fmla="*/ 1638300 h 4429225"/>
                    <a:gd name="connsiteX82" fmla="*/ 106702 w 4519987"/>
                    <a:gd name="connsiteY82" fmla="*/ 1590675 h 4429225"/>
                    <a:gd name="connsiteX83" fmla="*/ 135277 w 4519987"/>
                    <a:gd name="connsiteY83" fmla="*/ 1504950 h 4429225"/>
                    <a:gd name="connsiteX84" fmla="*/ 154327 w 4519987"/>
                    <a:gd name="connsiteY84" fmla="*/ 1419225 h 4429225"/>
                    <a:gd name="connsiteX85" fmla="*/ 230527 w 4519987"/>
                    <a:gd name="connsiteY85" fmla="*/ 1276350 h 4429225"/>
                    <a:gd name="connsiteX86" fmla="*/ 240052 w 4519987"/>
                    <a:gd name="connsiteY86" fmla="*/ 1247775 h 4429225"/>
                    <a:gd name="connsiteX87" fmla="*/ 268627 w 4519987"/>
                    <a:gd name="connsiteY87" fmla="*/ 1200150 h 4429225"/>
                    <a:gd name="connsiteX88" fmla="*/ 287677 w 4519987"/>
                    <a:gd name="connsiteY88" fmla="*/ 1152525 h 4429225"/>
                    <a:gd name="connsiteX89" fmla="*/ 316252 w 4519987"/>
                    <a:gd name="connsiteY89" fmla="*/ 1114425 h 4429225"/>
                    <a:gd name="connsiteX90" fmla="*/ 363877 w 4519987"/>
                    <a:gd name="connsiteY90" fmla="*/ 1038225 h 4429225"/>
                    <a:gd name="connsiteX91" fmla="*/ 382927 w 4519987"/>
                    <a:gd name="connsiteY91" fmla="*/ 1009650 h 4429225"/>
                    <a:gd name="connsiteX92" fmla="*/ 440077 w 4519987"/>
                    <a:gd name="connsiteY92" fmla="*/ 904875 h 4429225"/>
                    <a:gd name="connsiteX93" fmla="*/ 478177 w 4519987"/>
                    <a:gd name="connsiteY93" fmla="*/ 857250 h 4429225"/>
                    <a:gd name="connsiteX94" fmla="*/ 497227 w 4519987"/>
                    <a:gd name="connsiteY94" fmla="*/ 828675 h 4429225"/>
                    <a:gd name="connsiteX95" fmla="*/ 535327 w 4519987"/>
                    <a:gd name="connsiteY95" fmla="*/ 800100 h 4429225"/>
                    <a:gd name="connsiteX96" fmla="*/ 602002 w 4519987"/>
                    <a:gd name="connsiteY96" fmla="*/ 733425 h 4429225"/>
                    <a:gd name="connsiteX97" fmla="*/ 668677 w 4519987"/>
                    <a:gd name="connsiteY97" fmla="*/ 676275 h 4429225"/>
                    <a:gd name="connsiteX98" fmla="*/ 697252 w 4519987"/>
                    <a:gd name="connsiteY98" fmla="*/ 657225 h 4429225"/>
                    <a:gd name="connsiteX99" fmla="*/ 840127 w 4519987"/>
                    <a:gd name="connsiteY99" fmla="*/ 533400 h 4429225"/>
                    <a:gd name="connsiteX100" fmla="*/ 887752 w 4519987"/>
                    <a:gd name="connsiteY100" fmla="*/ 504825 h 4429225"/>
                    <a:gd name="connsiteX101" fmla="*/ 1167152 w 4519987"/>
                    <a:gd name="connsiteY101" fmla="*/ 311150 h 4429225"/>
                    <a:gd name="connsiteX102" fmla="*/ 1268752 w 4519987"/>
                    <a:gd name="connsiteY102" fmla="*/ 285750 h 4429225"/>
                    <a:gd name="connsiteX103" fmla="*/ 1411627 w 4519987"/>
                    <a:gd name="connsiteY103" fmla="*/ 190500 h 4429225"/>
                    <a:gd name="connsiteX104" fmla="*/ 1449727 w 4519987"/>
                    <a:gd name="connsiteY104" fmla="*/ 161925 h 4429225"/>
                    <a:gd name="connsiteX105" fmla="*/ 1525927 w 4519987"/>
                    <a:gd name="connsiteY105" fmla="*/ 152400 h 4429225"/>
                    <a:gd name="connsiteX106" fmla="*/ 1583077 w 4519987"/>
                    <a:gd name="connsiteY106" fmla="*/ 142875 h 4429225"/>
                    <a:gd name="connsiteX107" fmla="*/ 1716427 w 4519987"/>
                    <a:gd name="connsiteY107" fmla="*/ 123825 h 4429225"/>
                    <a:gd name="connsiteX108" fmla="*/ 1811677 w 4519987"/>
                    <a:gd name="connsiteY108" fmla="*/ 114300 h 4429225"/>
                    <a:gd name="connsiteX109" fmla="*/ 1859302 w 4519987"/>
                    <a:gd name="connsiteY109" fmla="*/ 104775 h 4429225"/>
                    <a:gd name="connsiteX110" fmla="*/ 1916452 w 4519987"/>
                    <a:gd name="connsiteY110" fmla="*/ 95250 h 4429225"/>
                    <a:gd name="connsiteX111" fmla="*/ 2030752 w 4519987"/>
                    <a:gd name="connsiteY111" fmla="*/ 66675 h 4429225"/>
                    <a:gd name="connsiteX112" fmla="*/ 2097427 w 4519987"/>
                    <a:gd name="connsiteY112" fmla="*/ 47625 h 4429225"/>
                    <a:gd name="connsiteX113" fmla="*/ 2164102 w 4519987"/>
                    <a:gd name="connsiteY113" fmla="*/ 38100 h 4429225"/>
                    <a:gd name="connsiteX114" fmla="*/ 2392702 w 4519987"/>
                    <a:gd name="connsiteY11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402102 w 4519987"/>
                    <a:gd name="connsiteY46" fmla="*/ 4276725 h 4429225"/>
                    <a:gd name="connsiteX47" fmla="*/ 1287802 w 4519987"/>
                    <a:gd name="connsiteY47" fmla="*/ 4229100 h 4429225"/>
                    <a:gd name="connsiteX48" fmla="*/ 1221127 w 4519987"/>
                    <a:gd name="connsiteY48" fmla="*/ 4200525 h 4429225"/>
                    <a:gd name="connsiteX49" fmla="*/ 1144927 w 4519987"/>
                    <a:gd name="connsiteY49" fmla="*/ 4171950 h 4429225"/>
                    <a:gd name="connsiteX50" fmla="*/ 1087777 w 4519987"/>
                    <a:gd name="connsiteY50" fmla="*/ 4143375 h 4429225"/>
                    <a:gd name="connsiteX51" fmla="*/ 1030627 w 4519987"/>
                    <a:gd name="connsiteY51" fmla="*/ 4124325 h 4429225"/>
                    <a:gd name="connsiteX52" fmla="*/ 925852 w 4519987"/>
                    <a:gd name="connsiteY52" fmla="*/ 4067175 h 4429225"/>
                    <a:gd name="connsiteX53" fmla="*/ 830602 w 4519987"/>
                    <a:gd name="connsiteY53" fmla="*/ 3981450 h 4429225"/>
                    <a:gd name="connsiteX54" fmla="*/ 763927 w 4519987"/>
                    <a:gd name="connsiteY54" fmla="*/ 3914775 h 4429225"/>
                    <a:gd name="connsiteX55" fmla="*/ 725827 w 4519987"/>
                    <a:gd name="connsiteY55" fmla="*/ 3876675 h 4429225"/>
                    <a:gd name="connsiteX56" fmla="*/ 697252 w 4519987"/>
                    <a:gd name="connsiteY56" fmla="*/ 3838575 h 4429225"/>
                    <a:gd name="connsiteX57" fmla="*/ 640102 w 4519987"/>
                    <a:gd name="connsiteY57" fmla="*/ 3781425 h 4429225"/>
                    <a:gd name="connsiteX58" fmla="*/ 611527 w 4519987"/>
                    <a:gd name="connsiteY58" fmla="*/ 3733800 h 4429225"/>
                    <a:gd name="connsiteX59" fmla="*/ 554377 w 4519987"/>
                    <a:gd name="connsiteY59" fmla="*/ 3657600 h 4429225"/>
                    <a:gd name="connsiteX60" fmla="*/ 525802 w 4519987"/>
                    <a:gd name="connsiteY60" fmla="*/ 3609975 h 4429225"/>
                    <a:gd name="connsiteX61" fmla="*/ 497227 w 4519987"/>
                    <a:gd name="connsiteY61" fmla="*/ 3552825 h 4429225"/>
                    <a:gd name="connsiteX62" fmla="*/ 440077 w 4519987"/>
                    <a:gd name="connsiteY62" fmla="*/ 3495675 h 4429225"/>
                    <a:gd name="connsiteX63" fmla="*/ 411502 w 4519987"/>
                    <a:gd name="connsiteY63" fmla="*/ 3448050 h 4429225"/>
                    <a:gd name="connsiteX64" fmla="*/ 278152 w 4519987"/>
                    <a:gd name="connsiteY64" fmla="*/ 3257550 h 4429225"/>
                    <a:gd name="connsiteX65" fmla="*/ 249577 w 4519987"/>
                    <a:gd name="connsiteY65" fmla="*/ 3200400 h 4429225"/>
                    <a:gd name="connsiteX66" fmla="*/ 240052 w 4519987"/>
                    <a:gd name="connsiteY66" fmla="*/ 3162300 h 4429225"/>
                    <a:gd name="connsiteX67" fmla="*/ 221002 w 4519987"/>
                    <a:gd name="connsiteY67" fmla="*/ 3105150 h 4429225"/>
                    <a:gd name="connsiteX68" fmla="*/ 173377 w 4519987"/>
                    <a:gd name="connsiteY68" fmla="*/ 3019425 h 4429225"/>
                    <a:gd name="connsiteX69" fmla="*/ 144802 w 4519987"/>
                    <a:gd name="connsiteY69" fmla="*/ 2924175 h 4429225"/>
                    <a:gd name="connsiteX70" fmla="*/ 68602 w 4519987"/>
                    <a:gd name="connsiteY70" fmla="*/ 2724150 h 4429225"/>
                    <a:gd name="connsiteX71" fmla="*/ 49552 w 4519987"/>
                    <a:gd name="connsiteY71" fmla="*/ 2638425 h 4429225"/>
                    <a:gd name="connsiteX72" fmla="*/ 40027 w 4519987"/>
                    <a:gd name="connsiteY72" fmla="*/ 2562225 h 4429225"/>
                    <a:gd name="connsiteX73" fmla="*/ 30502 w 4519987"/>
                    <a:gd name="connsiteY73" fmla="*/ 2514600 h 4429225"/>
                    <a:gd name="connsiteX74" fmla="*/ 11452 w 4519987"/>
                    <a:gd name="connsiteY74" fmla="*/ 2400300 h 4429225"/>
                    <a:gd name="connsiteX75" fmla="*/ 20977 w 4519987"/>
                    <a:gd name="connsiteY75" fmla="*/ 1905000 h 4429225"/>
                    <a:gd name="connsiteX76" fmla="*/ 30502 w 4519987"/>
                    <a:gd name="connsiteY76" fmla="*/ 1838325 h 4429225"/>
                    <a:gd name="connsiteX77" fmla="*/ 49552 w 4519987"/>
                    <a:gd name="connsiteY77" fmla="*/ 1781175 h 4429225"/>
                    <a:gd name="connsiteX78" fmla="*/ 59077 w 4519987"/>
                    <a:gd name="connsiteY78" fmla="*/ 1743075 h 4429225"/>
                    <a:gd name="connsiteX79" fmla="*/ 78127 w 4519987"/>
                    <a:gd name="connsiteY79" fmla="*/ 1685925 h 4429225"/>
                    <a:gd name="connsiteX80" fmla="*/ 87652 w 4519987"/>
                    <a:gd name="connsiteY80" fmla="*/ 1638300 h 4429225"/>
                    <a:gd name="connsiteX81" fmla="*/ 106702 w 4519987"/>
                    <a:gd name="connsiteY81" fmla="*/ 1590675 h 4429225"/>
                    <a:gd name="connsiteX82" fmla="*/ 135277 w 4519987"/>
                    <a:gd name="connsiteY82" fmla="*/ 1504950 h 4429225"/>
                    <a:gd name="connsiteX83" fmla="*/ 154327 w 4519987"/>
                    <a:gd name="connsiteY83" fmla="*/ 1419225 h 4429225"/>
                    <a:gd name="connsiteX84" fmla="*/ 230527 w 4519987"/>
                    <a:gd name="connsiteY84" fmla="*/ 1276350 h 4429225"/>
                    <a:gd name="connsiteX85" fmla="*/ 240052 w 4519987"/>
                    <a:gd name="connsiteY85" fmla="*/ 1247775 h 4429225"/>
                    <a:gd name="connsiteX86" fmla="*/ 268627 w 4519987"/>
                    <a:gd name="connsiteY86" fmla="*/ 1200150 h 4429225"/>
                    <a:gd name="connsiteX87" fmla="*/ 287677 w 4519987"/>
                    <a:gd name="connsiteY87" fmla="*/ 1152525 h 4429225"/>
                    <a:gd name="connsiteX88" fmla="*/ 316252 w 4519987"/>
                    <a:gd name="connsiteY88" fmla="*/ 1114425 h 4429225"/>
                    <a:gd name="connsiteX89" fmla="*/ 363877 w 4519987"/>
                    <a:gd name="connsiteY89" fmla="*/ 1038225 h 4429225"/>
                    <a:gd name="connsiteX90" fmla="*/ 382927 w 4519987"/>
                    <a:gd name="connsiteY90" fmla="*/ 1009650 h 4429225"/>
                    <a:gd name="connsiteX91" fmla="*/ 440077 w 4519987"/>
                    <a:gd name="connsiteY91" fmla="*/ 904875 h 4429225"/>
                    <a:gd name="connsiteX92" fmla="*/ 478177 w 4519987"/>
                    <a:gd name="connsiteY92" fmla="*/ 857250 h 4429225"/>
                    <a:gd name="connsiteX93" fmla="*/ 497227 w 4519987"/>
                    <a:gd name="connsiteY93" fmla="*/ 828675 h 4429225"/>
                    <a:gd name="connsiteX94" fmla="*/ 535327 w 4519987"/>
                    <a:gd name="connsiteY94" fmla="*/ 800100 h 4429225"/>
                    <a:gd name="connsiteX95" fmla="*/ 602002 w 4519987"/>
                    <a:gd name="connsiteY95" fmla="*/ 733425 h 4429225"/>
                    <a:gd name="connsiteX96" fmla="*/ 668677 w 4519987"/>
                    <a:gd name="connsiteY96" fmla="*/ 676275 h 4429225"/>
                    <a:gd name="connsiteX97" fmla="*/ 697252 w 4519987"/>
                    <a:gd name="connsiteY97" fmla="*/ 657225 h 4429225"/>
                    <a:gd name="connsiteX98" fmla="*/ 840127 w 4519987"/>
                    <a:gd name="connsiteY98" fmla="*/ 533400 h 4429225"/>
                    <a:gd name="connsiteX99" fmla="*/ 887752 w 4519987"/>
                    <a:gd name="connsiteY99" fmla="*/ 504825 h 4429225"/>
                    <a:gd name="connsiteX100" fmla="*/ 1167152 w 4519987"/>
                    <a:gd name="connsiteY100" fmla="*/ 311150 h 4429225"/>
                    <a:gd name="connsiteX101" fmla="*/ 1268752 w 4519987"/>
                    <a:gd name="connsiteY101" fmla="*/ 285750 h 4429225"/>
                    <a:gd name="connsiteX102" fmla="*/ 1411627 w 4519987"/>
                    <a:gd name="connsiteY102" fmla="*/ 190500 h 4429225"/>
                    <a:gd name="connsiteX103" fmla="*/ 1449727 w 4519987"/>
                    <a:gd name="connsiteY103" fmla="*/ 161925 h 4429225"/>
                    <a:gd name="connsiteX104" fmla="*/ 1525927 w 4519987"/>
                    <a:gd name="connsiteY104" fmla="*/ 152400 h 4429225"/>
                    <a:gd name="connsiteX105" fmla="*/ 1583077 w 4519987"/>
                    <a:gd name="connsiteY105" fmla="*/ 142875 h 4429225"/>
                    <a:gd name="connsiteX106" fmla="*/ 1716427 w 4519987"/>
                    <a:gd name="connsiteY106" fmla="*/ 123825 h 4429225"/>
                    <a:gd name="connsiteX107" fmla="*/ 1811677 w 4519987"/>
                    <a:gd name="connsiteY107" fmla="*/ 114300 h 4429225"/>
                    <a:gd name="connsiteX108" fmla="*/ 1859302 w 4519987"/>
                    <a:gd name="connsiteY108" fmla="*/ 104775 h 4429225"/>
                    <a:gd name="connsiteX109" fmla="*/ 1916452 w 4519987"/>
                    <a:gd name="connsiteY109" fmla="*/ 95250 h 4429225"/>
                    <a:gd name="connsiteX110" fmla="*/ 2030752 w 4519987"/>
                    <a:gd name="connsiteY110" fmla="*/ 66675 h 4429225"/>
                    <a:gd name="connsiteX111" fmla="*/ 2097427 w 4519987"/>
                    <a:gd name="connsiteY111" fmla="*/ 47625 h 4429225"/>
                    <a:gd name="connsiteX112" fmla="*/ 2164102 w 4519987"/>
                    <a:gd name="connsiteY112" fmla="*/ 38100 h 4429225"/>
                    <a:gd name="connsiteX113" fmla="*/ 2392702 w 4519987"/>
                    <a:gd name="connsiteY11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144927 w 4519987"/>
                    <a:gd name="connsiteY48" fmla="*/ 4171950 h 4429225"/>
                    <a:gd name="connsiteX49" fmla="*/ 1087777 w 4519987"/>
                    <a:gd name="connsiteY49" fmla="*/ 4143375 h 4429225"/>
                    <a:gd name="connsiteX50" fmla="*/ 1030627 w 4519987"/>
                    <a:gd name="connsiteY50" fmla="*/ 4124325 h 4429225"/>
                    <a:gd name="connsiteX51" fmla="*/ 925852 w 4519987"/>
                    <a:gd name="connsiteY51" fmla="*/ 4067175 h 4429225"/>
                    <a:gd name="connsiteX52" fmla="*/ 830602 w 4519987"/>
                    <a:gd name="connsiteY52" fmla="*/ 3981450 h 4429225"/>
                    <a:gd name="connsiteX53" fmla="*/ 763927 w 4519987"/>
                    <a:gd name="connsiteY53" fmla="*/ 3914775 h 4429225"/>
                    <a:gd name="connsiteX54" fmla="*/ 725827 w 4519987"/>
                    <a:gd name="connsiteY54" fmla="*/ 3876675 h 4429225"/>
                    <a:gd name="connsiteX55" fmla="*/ 697252 w 4519987"/>
                    <a:gd name="connsiteY55" fmla="*/ 3838575 h 4429225"/>
                    <a:gd name="connsiteX56" fmla="*/ 640102 w 4519987"/>
                    <a:gd name="connsiteY56" fmla="*/ 3781425 h 4429225"/>
                    <a:gd name="connsiteX57" fmla="*/ 611527 w 4519987"/>
                    <a:gd name="connsiteY57" fmla="*/ 3733800 h 4429225"/>
                    <a:gd name="connsiteX58" fmla="*/ 554377 w 4519987"/>
                    <a:gd name="connsiteY58" fmla="*/ 3657600 h 4429225"/>
                    <a:gd name="connsiteX59" fmla="*/ 525802 w 4519987"/>
                    <a:gd name="connsiteY59" fmla="*/ 3609975 h 4429225"/>
                    <a:gd name="connsiteX60" fmla="*/ 497227 w 4519987"/>
                    <a:gd name="connsiteY60" fmla="*/ 3552825 h 4429225"/>
                    <a:gd name="connsiteX61" fmla="*/ 440077 w 4519987"/>
                    <a:gd name="connsiteY61" fmla="*/ 3495675 h 4429225"/>
                    <a:gd name="connsiteX62" fmla="*/ 411502 w 4519987"/>
                    <a:gd name="connsiteY62" fmla="*/ 3448050 h 4429225"/>
                    <a:gd name="connsiteX63" fmla="*/ 278152 w 4519987"/>
                    <a:gd name="connsiteY63" fmla="*/ 3257550 h 4429225"/>
                    <a:gd name="connsiteX64" fmla="*/ 249577 w 4519987"/>
                    <a:gd name="connsiteY64" fmla="*/ 3200400 h 4429225"/>
                    <a:gd name="connsiteX65" fmla="*/ 240052 w 4519987"/>
                    <a:gd name="connsiteY65" fmla="*/ 3162300 h 4429225"/>
                    <a:gd name="connsiteX66" fmla="*/ 221002 w 4519987"/>
                    <a:gd name="connsiteY66" fmla="*/ 3105150 h 4429225"/>
                    <a:gd name="connsiteX67" fmla="*/ 173377 w 4519987"/>
                    <a:gd name="connsiteY67" fmla="*/ 3019425 h 4429225"/>
                    <a:gd name="connsiteX68" fmla="*/ 144802 w 4519987"/>
                    <a:gd name="connsiteY68" fmla="*/ 2924175 h 4429225"/>
                    <a:gd name="connsiteX69" fmla="*/ 68602 w 4519987"/>
                    <a:gd name="connsiteY69" fmla="*/ 2724150 h 4429225"/>
                    <a:gd name="connsiteX70" fmla="*/ 49552 w 4519987"/>
                    <a:gd name="connsiteY70" fmla="*/ 2638425 h 4429225"/>
                    <a:gd name="connsiteX71" fmla="*/ 40027 w 4519987"/>
                    <a:gd name="connsiteY71" fmla="*/ 2562225 h 4429225"/>
                    <a:gd name="connsiteX72" fmla="*/ 30502 w 4519987"/>
                    <a:gd name="connsiteY72" fmla="*/ 2514600 h 4429225"/>
                    <a:gd name="connsiteX73" fmla="*/ 11452 w 4519987"/>
                    <a:gd name="connsiteY73" fmla="*/ 2400300 h 4429225"/>
                    <a:gd name="connsiteX74" fmla="*/ 20977 w 4519987"/>
                    <a:gd name="connsiteY74" fmla="*/ 1905000 h 4429225"/>
                    <a:gd name="connsiteX75" fmla="*/ 30502 w 4519987"/>
                    <a:gd name="connsiteY75" fmla="*/ 1838325 h 4429225"/>
                    <a:gd name="connsiteX76" fmla="*/ 49552 w 4519987"/>
                    <a:gd name="connsiteY76" fmla="*/ 1781175 h 4429225"/>
                    <a:gd name="connsiteX77" fmla="*/ 59077 w 4519987"/>
                    <a:gd name="connsiteY77" fmla="*/ 1743075 h 4429225"/>
                    <a:gd name="connsiteX78" fmla="*/ 78127 w 4519987"/>
                    <a:gd name="connsiteY78" fmla="*/ 1685925 h 4429225"/>
                    <a:gd name="connsiteX79" fmla="*/ 87652 w 4519987"/>
                    <a:gd name="connsiteY79" fmla="*/ 1638300 h 4429225"/>
                    <a:gd name="connsiteX80" fmla="*/ 106702 w 4519987"/>
                    <a:gd name="connsiteY80" fmla="*/ 1590675 h 4429225"/>
                    <a:gd name="connsiteX81" fmla="*/ 135277 w 4519987"/>
                    <a:gd name="connsiteY81" fmla="*/ 1504950 h 4429225"/>
                    <a:gd name="connsiteX82" fmla="*/ 154327 w 4519987"/>
                    <a:gd name="connsiteY82" fmla="*/ 1419225 h 4429225"/>
                    <a:gd name="connsiteX83" fmla="*/ 230527 w 4519987"/>
                    <a:gd name="connsiteY83" fmla="*/ 1276350 h 4429225"/>
                    <a:gd name="connsiteX84" fmla="*/ 240052 w 4519987"/>
                    <a:gd name="connsiteY84" fmla="*/ 1247775 h 4429225"/>
                    <a:gd name="connsiteX85" fmla="*/ 268627 w 4519987"/>
                    <a:gd name="connsiteY85" fmla="*/ 1200150 h 4429225"/>
                    <a:gd name="connsiteX86" fmla="*/ 287677 w 4519987"/>
                    <a:gd name="connsiteY86" fmla="*/ 1152525 h 4429225"/>
                    <a:gd name="connsiteX87" fmla="*/ 316252 w 4519987"/>
                    <a:gd name="connsiteY87" fmla="*/ 1114425 h 4429225"/>
                    <a:gd name="connsiteX88" fmla="*/ 363877 w 4519987"/>
                    <a:gd name="connsiteY88" fmla="*/ 1038225 h 4429225"/>
                    <a:gd name="connsiteX89" fmla="*/ 382927 w 4519987"/>
                    <a:gd name="connsiteY89" fmla="*/ 1009650 h 4429225"/>
                    <a:gd name="connsiteX90" fmla="*/ 440077 w 4519987"/>
                    <a:gd name="connsiteY90" fmla="*/ 904875 h 4429225"/>
                    <a:gd name="connsiteX91" fmla="*/ 478177 w 4519987"/>
                    <a:gd name="connsiteY91" fmla="*/ 857250 h 4429225"/>
                    <a:gd name="connsiteX92" fmla="*/ 497227 w 4519987"/>
                    <a:gd name="connsiteY92" fmla="*/ 828675 h 4429225"/>
                    <a:gd name="connsiteX93" fmla="*/ 535327 w 4519987"/>
                    <a:gd name="connsiteY93" fmla="*/ 800100 h 4429225"/>
                    <a:gd name="connsiteX94" fmla="*/ 602002 w 4519987"/>
                    <a:gd name="connsiteY94" fmla="*/ 733425 h 4429225"/>
                    <a:gd name="connsiteX95" fmla="*/ 668677 w 4519987"/>
                    <a:gd name="connsiteY95" fmla="*/ 676275 h 4429225"/>
                    <a:gd name="connsiteX96" fmla="*/ 697252 w 4519987"/>
                    <a:gd name="connsiteY96" fmla="*/ 657225 h 4429225"/>
                    <a:gd name="connsiteX97" fmla="*/ 840127 w 4519987"/>
                    <a:gd name="connsiteY97" fmla="*/ 533400 h 4429225"/>
                    <a:gd name="connsiteX98" fmla="*/ 887752 w 4519987"/>
                    <a:gd name="connsiteY98" fmla="*/ 504825 h 4429225"/>
                    <a:gd name="connsiteX99" fmla="*/ 1167152 w 4519987"/>
                    <a:gd name="connsiteY99" fmla="*/ 311150 h 4429225"/>
                    <a:gd name="connsiteX100" fmla="*/ 1268752 w 4519987"/>
                    <a:gd name="connsiteY100" fmla="*/ 285750 h 4429225"/>
                    <a:gd name="connsiteX101" fmla="*/ 1411627 w 4519987"/>
                    <a:gd name="connsiteY101" fmla="*/ 190500 h 4429225"/>
                    <a:gd name="connsiteX102" fmla="*/ 1449727 w 4519987"/>
                    <a:gd name="connsiteY102" fmla="*/ 161925 h 4429225"/>
                    <a:gd name="connsiteX103" fmla="*/ 1525927 w 4519987"/>
                    <a:gd name="connsiteY103" fmla="*/ 152400 h 4429225"/>
                    <a:gd name="connsiteX104" fmla="*/ 1583077 w 4519987"/>
                    <a:gd name="connsiteY104" fmla="*/ 142875 h 4429225"/>
                    <a:gd name="connsiteX105" fmla="*/ 1716427 w 4519987"/>
                    <a:gd name="connsiteY105" fmla="*/ 123825 h 4429225"/>
                    <a:gd name="connsiteX106" fmla="*/ 1811677 w 4519987"/>
                    <a:gd name="connsiteY106" fmla="*/ 114300 h 4429225"/>
                    <a:gd name="connsiteX107" fmla="*/ 1859302 w 4519987"/>
                    <a:gd name="connsiteY107" fmla="*/ 104775 h 4429225"/>
                    <a:gd name="connsiteX108" fmla="*/ 1916452 w 4519987"/>
                    <a:gd name="connsiteY108" fmla="*/ 95250 h 4429225"/>
                    <a:gd name="connsiteX109" fmla="*/ 2030752 w 4519987"/>
                    <a:gd name="connsiteY109" fmla="*/ 66675 h 4429225"/>
                    <a:gd name="connsiteX110" fmla="*/ 2097427 w 4519987"/>
                    <a:gd name="connsiteY110" fmla="*/ 47625 h 4429225"/>
                    <a:gd name="connsiteX111" fmla="*/ 2164102 w 4519987"/>
                    <a:gd name="connsiteY111" fmla="*/ 38100 h 4429225"/>
                    <a:gd name="connsiteX112" fmla="*/ 2392702 w 4519987"/>
                    <a:gd name="connsiteY11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087777 w 4519987"/>
                    <a:gd name="connsiteY48" fmla="*/ 4143375 h 4429225"/>
                    <a:gd name="connsiteX49" fmla="*/ 1030627 w 4519987"/>
                    <a:gd name="connsiteY49" fmla="*/ 4124325 h 4429225"/>
                    <a:gd name="connsiteX50" fmla="*/ 925852 w 4519987"/>
                    <a:gd name="connsiteY50" fmla="*/ 4067175 h 4429225"/>
                    <a:gd name="connsiteX51" fmla="*/ 830602 w 4519987"/>
                    <a:gd name="connsiteY51" fmla="*/ 3981450 h 4429225"/>
                    <a:gd name="connsiteX52" fmla="*/ 763927 w 4519987"/>
                    <a:gd name="connsiteY52" fmla="*/ 3914775 h 4429225"/>
                    <a:gd name="connsiteX53" fmla="*/ 725827 w 4519987"/>
                    <a:gd name="connsiteY53" fmla="*/ 3876675 h 4429225"/>
                    <a:gd name="connsiteX54" fmla="*/ 697252 w 4519987"/>
                    <a:gd name="connsiteY54" fmla="*/ 3838575 h 4429225"/>
                    <a:gd name="connsiteX55" fmla="*/ 640102 w 4519987"/>
                    <a:gd name="connsiteY55" fmla="*/ 3781425 h 4429225"/>
                    <a:gd name="connsiteX56" fmla="*/ 611527 w 4519987"/>
                    <a:gd name="connsiteY56" fmla="*/ 3733800 h 4429225"/>
                    <a:gd name="connsiteX57" fmla="*/ 554377 w 4519987"/>
                    <a:gd name="connsiteY57" fmla="*/ 3657600 h 4429225"/>
                    <a:gd name="connsiteX58" fmla="*/ 525802 w 4519987"/>
                    <a:gd name="connsiteY58" fmla="*/ 3609975 h 4429225"/>
                    <a:gd name="connsiteX59" fmla="*/ 497227 w 4519987"/>
                    <a:gd name="connsiteY59" fmla="*/ 3552825 h 4429225"/>
                    <a:gd name="connsiteX60" fmla="*/ 440077 w 4519987"/>
                    <a:gd name="connsiteY60" fmla="*/ 3495675 h 4429225"/>
                    <a:gd name="connsiteX61" fmla="*/ 411502 w 4519987"/>
                    <a:gd name="connsiteY61" fmla="*/ 3448050 h 4429225"/>
                    <a:gd name="connsiteX62" fmla="*/ 278152 w 4519987"/>
                    <a:gd name="connsiteY62" fmla="*/ 3257550 h 4429225"/>
                    <a:gd name="connsiteX63" fmla="*/ 249577 w 4519987"/>
                    <a:gd name="connsiteY63" fmla="*/ 3200400 h 4429225"/>
                    <a:gd name="connsiteX64" fmla="*/ 240052 w 4519987"/>
                    <a:gd name="connsiteY64" fmla="*/ 3162300 h 4429225"/>
                    <a:gd name="connsiteX65" fmla="*/ 221002 w 4519987"/>
                    <a:gd name="connsiteY65" fmla="*/ 3105150 h 4429225"/>
                    <a:gd name="connsiteX66" fmla="*/ 173377 w 4519987"/>
                    <a:gd name="connsiteY66" fmla="*/ 3019425 h 4429225"/>
                    <a:gd name="connsiteX67" fmla="*/ 144802 w 4519987"/>
                    <a:gd name="connsiteY67" fmla="*/ 2924175 h 4429225"/>
                    <a:gd name="connsiteX68" fmla="*/ 68602 w 4519987"/>
                    <a:gd name="connsiteY68" fmla="*/ 2724150 h 4429225"/>
                    <a:gd name="connsiteX69" fmla="*/ 49552 w 4519987"/>
                    <a:gd name="connsiteY69" fmla="*/ 2638425 h 4429225"/>
                    <a:gd name="connsiteX70" fmla="*/ 40027 w 4519987"/>
                    <a:gd name="connsiteY70" fmla="*/ 2562225 h 4429225"/>
                    <a:gd name="connsiteX71" fmla="*/ 30502 w 4519987"/>
                    <a:gd name="connsiteY71" fmla="*/ 2514600 h 4429225"/>
                    <a:gd name="connsiteX72" fmla="*/ 11452 w 4519987"/>
                    <a:gd name="connsiteY72" fmla="*/ 2400300 h 4429225"/>
                    <a:gd name="connsiteX73" fmla="*/ 20977 w 4519987"/>
                    <a:gd name="connsiteY73" fmla="*/ 1905000 h 4429225"/>
                    <a:gd name="connsiteX74" fmla="*/ 30502 w 4519987"/>
                    <a:gd name="connsiteY74" fmla="*/ 1838325 h 4429225"/>
                    <a:gd name="connsiteX75" fmla="*/ 49552 w 4519987"/>
                    <a:gd name="connsiteY75" fmla="*/ 1781175 h 4429225"/>
                    <a:gd name="connsiteX76" fmla="*/ 59077 w 4519987"/>
                    <a:gd name="connsiteY76" fmla="*/ 1743075 h 4429225"/>
                    <a:gd name="connsiteX77" fmla="*/ 78127 w 4519987"/>
                    <a:gd name="connsiteY77" fmla="*/ 1685925 h 4429225"/>
                    <a:gd name="connsiteX78" fmla="*/ 87652 w 4519987"/>
                    <a:gd name="connsiteY78" fmla="*/ 1638300 h 4429225"/>
                    <a:gd name="connsiteX79" fmla="*/ 106702 w 4519987"/>
                    <a:gd name="connsiteY79" fmla="*/ 1590675 h 4429225"/>
                    <a:gd name="connsiteX80" fmla="*/ 135277 w 4519987"/>
                    <a:gd name="connsiteY80" fmla="*/ 1504950 h 4429225"/>
                    <a:gd name="connsiteX81" fmla="*/ 154327 w 4519987"/>
                    <a:gd name="connsiteY81" fmla="*/ 1419225 h 4429225"/>
                    <a:gd name="connsiteX82" fmla="*/ 230527 w 4519987"/>
                    <a:gd name="connsiteY82" fmla="*/ 1276350 h 4429225"/>
                    <a:gd name="connsiteX83" fmla="*/ 240052 w 4519987"/>
                    <a:gd name="connsiteY83" fmla="*/ 1247775 h 4429225"/>
                    <a:gd name="connsiteX84" fmla="*/ 268627 w 4519987"/>
                    <a:gd name="connsiteY84" fmla="*/ 1200150 h 4429225"/>
                    <a:gd name="connsiteX85" fmla="*/ 287677 w 4519987"/>
                    <a:gd name="connsiteY85" fmla="*/ 1152525 h 4429225"/>
                    <a:gd name="connsiteX86" fmla="*/ 316252 w 4519987"/>
                    <a:gd name="connsiteY86" fmla="*/ 1114425 h 4429225"/>
                    <a:gd name="connsiteX87" fmla="*/ 363877 w 4519987"/>
                    <a:gd name="connsiteY87" fmla="*/ 1038225 h 4429225"/>
                    <a:gd name="connsiteX88" fmla="*/ 382927 w 4519987"/>
                    <a:gd name="connsiteY88" fmla="*/ 1009650 h 4429225"/>
                    <a:gd name="connsiteX89" fmla="*/ 440077 w 4519987"/>
                    <a:gd name="connsiteY89" fmla="*/ 904875 h 4429225"/>
                    <a:gd name="connsiteX90" fmla="*/ 478177 w 4519987"/>
                    <a:gd name="connsiteY90" fmla="*/ 857250 h 4429225"/>
                    <a:gd name="connsiteX91" fmla="*/ 497227 w 4519987"/>
                    <a:gd name="connsiteY91" fmla="*/ 828675 h 4429225"/>
                    <a:gd name="connsiteX92" fmla="*/ 535327 w 4519987"/>
                    <a:gd name="connsiteY92" fmla="*/ 800100 h 4429225"/>
                    <a:gd name="connsiteX93" fmla="*/ 602002 w 4519987"/>
                    <a:gd name="connsiteY93" fmla="*/ 733425 h 4429225"/>
                    <a:gd name="connsiteX94" fmla="*/ 668677 w 4519987"/>
                    <a:gd name="connsiteY94" fmla="*/ 676275 h 4429225"/>
                    <a:gd name="connsiteX95" fmla="*/ 697252 w 4519987"/>
                    <a:gd name="connsiteY95" fmla="*/ 657225 h 4429225"/>
                    <a:gd name="connsiteX96" fmla="*/ 840127 w 4519987"/>
                    <a:gd name="connsiteY96" fmla="*/ 533400 h 4429225"/>
                    <a:gd name="connsiteX97" fmla="*/ 887752 w 4519987"/>
                    <a:gd name="connsiteY97" fmla="*/ 504825 h 4429225"/>
                    <a:gd name="connsiteX98" fmla="*/ 1167152 w 4519987"/>
                    <a:gd name="connsiteY98" fmla="*/ 311150 h 4429225"/>
                    <a:gd name="connsiteX99" fmla="*/ 1268752 w 4519987"/>
                    <a:gd name="connsiteY99" fmla="*/ 285750 h 4429225"/>
                    <a:gd name="connsiteX100" fmla="*/ 1411627 w 4519987"/>
                    <a:gd name="connsiteY100" fmla="*/ 190500 h 4429225"/>
                    <a:gd name="connsiteX101" fmla="*/ 1449727 w 4519987"/>
                    <a:gd name="connsiteY101" fmla="*/ 161925 h 4429225"/>
                    <a:gd name="connsiteX102" fmla="*/ 1525927 w 4519987"/>
                    <a:gd name="connsiteY102" fmla="*/ 152400 h 4429225"/>
                    <a:gd name="connsiteX103" fmla="*/ 1583077 w 4519987"/>
                    <a:gd name="connsiteY103" fmla="*/ 142875 h 4429225"/>
                    <a:gd name="connsiteX104" fmla="*/ 1716427 w 4519987"/>
                    <a:gd name="connsiteY104" fmla="*/ 123825 h 4429225"/>
                    <a:gd name="connsiteX105" fmla="*/ 1811677 w 4519987"/>
                    <a:gd name="connsiteY105" fmla="*/ 114300 h 4429225"/>
                    <a:gd name="connsiteX106" fmla="*/ 1859302 w 4519987"/>
                    <a:gd name="connsiteY106" fmla="*/ 104775 h 4429225"/>
                    <a:gd name="connsiteX107" fmla="*/ 1916452 w 4519987"/>
                    <a:gd name="connsiteY107" fmla="*/ 95250 h 4429225"/>
                    <a:gd name="connsiteX108" fmla="*/ 2030752 w 4519987"/>
                    <a:gd name="connsiteY108" fmla="*/ 66675 h 4429225"/>
                    <a:gd name="connsiteX109" fmla="*/ 2097427 w 4519987"/>
                    <a:gd name="connsiteY109" fmla="*/ 47625 h 4429225"/>
                    <a:gd name="connsiteX110" fmla="*/ 2164102 w 4519987"/>
                    <a:gd name="connsiteY110" fmla="*/ 38100 h 4429225"/>
                    <a:gd name="connsiteX111" fmla="*/ 2392702 w 4519987"/>
                    <a:gd name="connsiteY11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1030627 w 4519987"/>
                    <a:gd name="connsiteY48" fmla="*/ 4124325 h 4429225"/>
                    <a:gd name="connsiteX49" fmla="*/ 925852 w 4519987"/>
                    <a:gd name="connsiteY49" fmla="*/ 4067175 h 4429225"/>
                    <a:gd name="connsiteX50" fmla="*/ 830602 w 4519987"/>
                    <a:gd name="connsiteY50" fmla="*/ 3981450 h 4429225"/>
                    <a:gd name="connsiteX51" fmla="*/ 763927 w 4519987"/>
                    <a:gd name="connsiteY51" fmla="*/ 3914775 h 4429225"/>
                    <a:gd name="connsiteX52" fmla="*/ 725827 w 4519987"/>
                    <a:gd name="connsiteY52" fmla="*/ 3876675 h 4429225"/>
                    <a:gd name="connsiteX53" fmla="*/ 697252 w 4519987"/>
                    <a:gd name="connsiteY53" fmla="*/ 3838575 h 4429225"/>
                    <a:gd name="connsiteX54" fmla="*/ 640102 w 4519987"/>
                    <a:gd name="connsiteY54" fmla="*/ 3781425 h 4429225"/>
                    <a:gd name="connsiteX55" fmla="*/ 611527 w 4519987"/>
                    <a:gd name="connsiteY55" fmla="*/ 3733800 h 4429225"/>
                    <a:gd name="connsiteX56" fmla="*/ 554377 w 4519987"/>
                    <a:gd name="connsiteY56" fmla="*/ 3657600 h 4429225"/>
                    <a:gd name="connsiteX57" fmla="*/ 525802 w 4519987"/>
                    <a:gd name="connsiteY57" fmla="*/ 3609975 h 4429225"/>
                    <a:gd name="connsiteX58" fmla="*/ 497227 w 4519987"/>
                    <a:gd name="connsiteY58" fmla="*/ 3552825 h 4429225"/>
                    <a:gd name="connsiteX59" fmla="*/ 440077 w 4519987"/>
                    <a:gd name="connsiteY59" fmla="*/ 3495675 h 4429225"/>
                    <a:gd name="connsiteX60" fmla="*/ 411502 w 4519987"/>
                    <a:gd name="connsiteY60" fmla="*/ 3448050 h 4429225"/>
                    <a:gd name="connsiteX61" fmla="*/ 278152 w 4519987"/>
                    <a:gd name="connsiteY61" fmla="*/ 3257550 h 4429225"/>
                    <a:gd name="connsiteX62" fmla="*/ 249577 w 4519987"/>
                    <a:gd name="connsiteY62" fmla="*/ 3200400 h 4429225"/>
                    <a:gd name="connsiteX63" fmla="*/ 240052 w 4519987"/>
                    <a:gd name="connsiteY63" fmla="*/ 3162300 h 4429225"/>
                    <a:gd name="connsiteX64" fmla="*/ 221002 w 4519987"/>
                    <a:gd name="connsiteY64" fmla="*/ 3105150 h 4429225"/>
                    <a:gd name="connsiteX65" fmla="*/ 173377 w 4519987"/>
                    <a:gd name="connsiteY65" fmla="*/ 3019425 h 4429225"/>
                    <a:gd name="connsiteX66" fmla="*/ 144802 w 4519987"/>
                    <a:gd name="connsiteY66" fmla="*/ 2924175 h 4429225"/>
                    <a:gd name="connsiteX67" fmla="*/ 68602 w 4519987"/>
                    <a:gd name="connsiteY67" fmla="*/ 2724150 h 4429225"/>
                    <a:gd name="connsiteX68" fmla="*/ 49552 w 4519987"/>
                    <a:gd name="connsiteY68" fmla="*/ 2638425 h 4429225"/>
                    <a:gd name="connsiteX69" fmla="*/ 40027 w 4519987"/>
                    <a:gd name="connsiteY69" fmla="*/ 2562225 h 4429225"/>
                    <a:gd name="connsiteX70" fmla="*/ 30502 w 4519987"/>
                    <a:gd name="connsiteY70" fmla="*/ 2514600 h 4429225"/>
                    <a:gd name="connsiteX71" fmla="*/ 11452 w 4519987"/>
                    <a:gd name="connsiteY71" fmla="*/ 2400300 h 4429225"/>
                    <a:gd name="connsiteX72" fmla="*/ 20977 w 4519987"/>
                    <a:gd name="connsiteY72" fmla="*/ 1905000 h 4429225"/>
                    <a:gd name="connsiteX73" fmla="*/ 30502 w 4519987"/>
                    <a:gd name="connsiteY73" fmla="*/ 1838325 h 4429225"/>
                    <a:gd name="connsiteX74" fmla="*/ 49552 w 4519987"/>
                    <a:gd name="connsiteY74" fmla="*/ 1781175 h 4429225"/>
                    <a:gd name="connsiteX75" fmla="*/ 59077 w 4519987"/>
                    <a:gd name="connsiteY75" fmla="*/ 1743075 h 4429225"/>
                    <a:gd name="connsiteX76" fmla="*/ 78127 w 4519987"/>
                    <a:gd name="connsiteY76" fmla="*/ 1685925 h 4429225"/>
                    <a:gd name="connsiteX77" fmla="*/ 87652 w 4519987"/>
                    <a:gd name="connsiteY77" fmla="*/ 1638300 h 4429225"/>
                    <a:gd name="connsiteX78" fmla="*/ 106702 w 4519987"/>
                    <a:gd name="connsiteY78" fmla="*/ 1590675 h 4429225"/>
                    <a:gd name="connsiteX79" fmla="*/ 135277 w 4519987"/>
                    <a:gd name="connsiteY79" fmla="*/ 1504950 h 4429225"/>
                    <a:gd name="connsiteX80" fmla="*/ 154327 w 4519987"/>
                    <a:gd name="connsiteY80" fmla="*/ 1419225 h 4429225"/>
                    <a:gd name="connsiteX81" fmla="*/ 230527 w 4519987"/>
                    <a:gd name="connsiteY81" fmla="*/ 1276350 h 4429225"/>
                    <a:gd name="connsiteX82" fmla="*/ 240052 w 4519987"/>
                    <a:gd name="connsiteY82" fmla="*/ 1247775 h 4429225"/>
                    <a:gd name="connsiteX83" fmla="*/ 268627 w 4519987"/>
                    <a:gd name="connsiteY83" fmla="*/ 1200150 h 4429225"/>
                    <a:gd name="connsiteX84" fmla="*/ 287677 w 4519987"/>
                    <a:gd name="connsiteY84" fmla="*/ 1152525 h 4429225"/>
                    <a:gd name="connsiteX85" fmla="*/ 316252 w 4519987"/>
                    <a:gd name="connsiteY85" fmla="*/ 1114425 h 4429225"/>
                    <a:gd name="connsiteX86" fmla="*/ 363877 w 4519987"/>
                    <a:gd name="connsiteY86" fmla="*/ 1038225 h 4429225"/>
                    <a:gd name="connsiteX87" fmla="*/ 382927 w 4519987"/>
                    <a:gd name="connsiteY87" fmla="*/ 1009650 h 4429225"/>
                    <a:gd name="connsiteX88" fmla="*/ 440077 w 4519987"/>
                    <a:gd name="connsiteY88" fmla="*/ 904875 h 4429225"/>
                    <a:gd name="connsiteX89" fmla="*/ 478177 w 4519987"/>
                    <a:gd name="connsiteY89" fmla="*/ 857250 h 4429225"/>
                    <a:gd name="connsiteX90" fmla="*/ 497227 w 4519987"/>
                    <a:gd name="connsiteY90" fmla="*/ 828675 h 4429225"/>
                    <a:gd name="connsiteX91" fmla="*/ 535327 w 4519987"/>
                    <a:gd name="connsiteY91" fmla="*/ 800100 h 4429225"/>
                    <a:gd name="connsiteX92" fmla="*/ 602002 w 4519987"/>
                    <a:gd name="connsiteY92" fmla="*/ 733425 h 4429225"/>
                    <a:gd name="connsiteX93" fmla="*/ 668677 w 4519987"/>
                    <a:gd name="connsiteY93" fmla="*/ 676275 h 4429225"/>
                    <a:gd name="connsiteX94" fmla="*/ 697252 w 4519987"/>
                    <a:gd name="connsiteY94" fmla="*/ 657225 h 4429225"/>
                    <a:gd name="connsiteX95" fmla="*/ 840127 w 4519987"/>
                    <a:gd name="connsiteY95" fmla="*/ 533400 h 4429225"/>
                    <a:gd name="connsiteX96" fmla="*/ 887752 w 4519987"/>
                    <a:gd name="connsiteY96" fmla="*/ 504825 h 4429225"/>
                    <a:gd name="connsiteX97" fmla="*/ 1167152 w 4519987"/>
                    <a:gd name="connsiteY97" fmla="*/ 311150 h 4429225"/>
                    <a:gd name="connsiteX98" fmla="*/ 1268752 w 4519987"/>
                    <a:gd name="connsiteY98" fmla="*/ 285750 h 4429225"/>
                    <a:gd name="connsiteX99" fmla="*/ 1411627 w 4519987"/>
                    <a:gd name="connsiteY99" fmla="*/ 190500 h 4429225"/>
                    <a:gd name="connsiteX100" fmla="*/ 1449727 w 4519987"/>
                    <a:gd name="connsiteY100" fmla="*/ 161925 h 4429225"/>
                    <a:gd name="connsiteX101" fmla="*/ 1525927 w 4519987"/>
                    <a:gd name="connsiteY101" fmla="*/ 152400 h 4429225"/>
                    <a:gd name="connsiteX102" fmla="*/ 1583077 w 4519987"/>
                    <a:gd name="connsiteY102" fmla="*/ 142875 h 4429225"/>
                    <a:gd name="connsiteX103" fmla="*/ 1716427 w 4519987"/>
                    <a:gd name="connsiteY103" fmla="*/ 123825 h 4429225"/>
                    <a:gd name="connsiteX104" fmla="*/ 1811677 w 4519987"/>
                    <a:gd name="connsiteY104" fmla="*/ 114300 h 4429225"/>
                    <a:gd name="connsiteX105" fmla="*/ 1859302 w 4519987"/>
                    <a:gd name="connsiteY105" fmla="*/ 104775 h 4429225"/>
                    <a:gd name="connsiteX106" fmla="*/ 1916452 w 4519987"/>
                    <a:gd name="connsiteY106" fmla="*/ 95250 h 4429225"/>
                    <a:gd name="connsiteX107" fmla="*/ 2030752 w 4519987"/>
                    <a:gd name="connsiteY107" fmla="*/ 66675 h 4429225"/>
                    <a:gd name="connsiteX108" fmla="*/ 2097427 w 4519987"/>
                    <a:gd name="connsiteY108" fmla="*/ 47625 h 4429225"/>
                    <a:gd name="connsiteX109" fmla="*/ 2164102 w 4519987"/>
                    <a:gd name="connsiteY109" fmla="*/ 38100 h 4429225"/>
                    <a:gd name="connsiteX110" fmla="*/ 2392702 w 4519987"/>
                    <a:gd name="connsiteY11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925852 w 4519987"/>
                    <a:gd name="connsiteY48" fmla="*/ 4067175 h 4429225"/>
                    <a:gd name="connsiteX49" fmla="*/ 830602 w 4519987"/>
                    <a:gd name="connsiteY49" fmla="*/ 3981450 h 4429225"/>
                    <a:gd name="connsiteX50" fmla="*/ 763927 w 4519987"/>
                    <a:gd name="connsiteY50" fmla="*/ 3914775 h 4429225"/>
                    <a:gd name="connsiteX51" fmla="*/ 725827 w 4519987"/>
                    <a:gd name="connsiteY51" fmla="*/ 3876675 h 4429225"/>
                    <a:gd name="connsiteX52" fmla="*/ 697252 w 4519987"/>
                    <a:gd name="connsiteY52" fmla="*/ 3838575 h 4429225"/>
                    <a:gd name="connsiteX53" fmla="*/ 640102 w 4519987"/>
                    <a:gd name="connsiteY53" fmla="*/ 3781425 h 4429225"/>
                    <a:gd name="connsiteX54" fmla="*/ 611527 w 4519987"/>
                    <a:gd name="connsiteY54" fmla="*/ 3733800 h 4429225"/>
                    <a:gd name="connsiteX55" fmla="*/ 554377 w 4519987"/>
                    <a:gd name="connsiteY55" fmla="*/ 3657600 h 4429225"/>
                    <a:gd name="connsiteX56" fmla="*/ 525802 w 4519987"/>
                    <a:gd name="connsiteY56" fmla="*/ 3609975 h 4429225"/>
                    <a:gd name="connsiteX57" fmla="*/ 497227 w 4519987"/>
                    <a:gd name="connsiteY57" fmla="*/ 3552825 h 4429225"/>
                    <a:gd name="connsiteX58" fmla="*/ 440077 w 4519987"/>
                    <a:gd name="connsiteY58" fmla="*/ 3495675 h 4429225"/>
                    <a:gd name="connsiteX59" fmla="*/ 411502 w 4519987"/>
                    <a:gd name="connsiteY59" fmla="*/ 3448050 h 4429225"/>
                    <a:gd name="connsiteX60" fmla="*/ 278152 w 4519987"/>
                    <a:gd name="connsiteY60" fmla="*/ 3257550 h 4429225"/>
                    <a:gd name="connsiteX61" fmla="*/ 249577 w 4519987"/>
                    <a:gd name="connsiteY61" fmla="*/ 3200400 h 4429225"/>
                    <a:gd name="connsiteX62" fmla="*/ 240052 w 4519987"/>
                    <a:gd name="connsiteY62" fmla="*/ 3162300 h 4429225"/>
                    <a:gd name="connsiteX63" fmla="*/ 221002 w 4519987"/>
                    <a:gd name="connsiteY63" fmla="*/ 3105150 h 4429225"/>
                    <a:gd name="connsiteX64" fmla="*/ 173377 w 4519987"/>
                    <a:gd name="connsiteY64" fmla="*/ 3019425 h 4429225"/>
                    <a:gd name="connsiteX65" fmla="*/ 144802 w 4519987"/>
                    <a:gd name="connsiteY65" fmla="*/ 2924175 h 4429225"/>
                    <a:gd name="connsiteX66" fmla="*/ 68602 w 4519987"/>
                    <a:gd name="connsiteY66" fmla="*/ 2724150 h 4429225"/>
                    <a:gd name="connsiteX67" fmla="*/ 49552 w 4519987"/>
                    <a:gd name="connsiteY67" fmla="*/ 2638425 h 4429225"/>
                    <a:gd name="connsiteX68" fmla="*/ 40027 w 4519987"/>
                    <a:gd name="connsiteY68" fmla="*/ 2562225 h 4429225"/>
                    <a:gd name="connsiteX69" fmla="*/ 30502 w 4519987"/>
                    <a:gd name="connsiteY69" fmla="*/ 2514600 h 4429225"/>
                    <a:gd name="connsiteX70" fmla="*/ 11452 w 4519987"/>
                    <a:gd name="connsiteY70" fmla="*/ 2400300 h 4429225"/>
                    <a:gd name="connsiteX71" fmla="*/ 20977 w 4519987"/>
                    <a:gd name="connsiteY71" fmla="*/ 1905000 h 4429225"/>
                    <a:gd name="connsiteX72" fmla="*/ 30502 w 4519987"/>
                    <a:gd name="connsiteY72" fmla="*/ 1838325 h 4429225"/>
                    <a:gd name="connsiteX73" fmla="*/ 49552 w 4519987"/>
                    <a:gd name="connsiteY73" fmla="*/ 1781175 h 4429225"/>
                    <a:gd name="connsiteX74" fmla="*/ 59077 w 4519987"/>
                    <a:gd name="connsiteY74" fmla="*/ 1743075 h 4429225"/>
                    <a:gd name="connsiteX75" fmla="*/ 78127 w 4519987"/>
                    <a:gd name="connsiteY75" fmla="*/ 1685925 h 4429225"/>
                    <a:gd name="connsiteX76" fmla="*/ 87652 w 4519987"/>
                    <a:gd name="connsiteY76" fmla="*/ 1638300 h 4429225"/>
                    <a:gd name="connsiteX77" fmla="*/ 106702 w 4519987"/>
                    <a:gd name="connsiteY77" fmla="*/ 1590675 h 4429225"/>
                    <a:gd name="connsiteX78" fmla="*/ 135277 w 4519987"/>
                    <a:gd name="connsiteY78" fmla="*/ 1504950 h 4429225"/>
                    <a:gd name="connsiteX79" fmla="*/ 154327 w 4519987"/>
                    <a:gd name="connsiteY79" fmla="*/ 1419225 h 4429225"/>
                    <a:gd name="connsiteX80" fmla="*/ 230527 w 4519987"/>
                    <a:gd name="connsiteY80" fmla="*/ 1276350 h 4429225"/>
                    <a:gd name="connsiteX81" fmla="*/ 240052 w 4519987"/>
                    <a:gd name="connsiteY81" fmla="*/ 1247775 h 4429225"/>
                    <a:gd name="connsiteX82" fmla="*/ 268627 w 4519987"/>
                    <a:gd name="connsiteY82" fmla="*/ 1200150 h 4429225"/>
                    <a:gd name="connsiteX83" fmla="*/ 287677 w 4519987"/>
                    <a:gd name="connsiteY83" fmla="*/ 1152525 h 4429225"/>
                    <a:gd name="connsiteX84" fmla="*/ 316252 w 4519987"/>
                    <a:gd name="connsiteY84" fmla="*/ 1114425 h 4429225"/>
                    <a:gd name="connsiteX85" fmla="*/ 363877 w 4519987"/>
                    <a:gd name="connsiteY85" fmla="*/ 1038225 h 4429225"/>
                    <a:gd name="connsiteX86" fmla="*/ 382927 w 4519987"/>
                    <a:gd name="connsiteY86" fmla="*/ 1009650 h 4429225"/>
                    <a:gd name="connsiteX87" fmla="*/ 440077 w 4519987"/>
                    <a:gd name="connsiteY87" fmla="*/ 904875 h 4429225"/>
                    <a:gd name="connsiteX88" fmla="*/ 478177 w 4519987"/>
                    <a:gd name="connsiteY88" fmla="*/ 857250 h 4429225"/>
                    <a:gd name="connsiteX89" fmla="*/ 497227 w 4519987"/>
                    <a:gd name="connsiteY89" fmla="*/ 828675 h 4429225"/>
                    <a:gd name="connsiteX90" fmla="*/ 535327 w 4519987"/>
                    <a:gd name="connsiteY90" fmla="*/ 800100 h 4429225"/>
                    <a:gd name="connsiteX91" fmla="*/ 602002 w 4519987"/>
                    <a:gd name="connsiteY91" fmla="*/ 733425 h 4429225"/>
                    <a:gd name="connsiteX92" fmla="*/ 668677 w 4519987"/>
                    <a:gd name="connsiteY92" fmla="*/ 676275 h 4429225"/>
                    <a:gd name="connsiteX93" fmla="*/ 697252 w 4519987"/>
                    <a:gd name="connsiteY93" fmla="*/ 657225 h 4429225"/>
                    <a:gd name="connsiteX94" fmla="*/ 840127 w 4519987"/>
                    <a:gd name="connsiteY94" fmla="*/ 533400 h 4429225"/>
                    <a:gd name="connsiteX95" fmla="*/ 887752 w 4519987"/>
                    <a:gd name="connsiteY95" fmla="*/ 504825 h 4429225"/>
                    <a:gd name="connsiteX96" fmla="*/ 1167152 w 4519987"/>
                    <a:gd name="connsiteY96" fmla="*/ 311150 h 4429225"/>
                    <a:gd name="connsiteX97" fmla="*/ 1268752 w 4519987"/>
                    <a:gd name="connsiteY97" fmla="*/ 285750 h 4429225"/>
                    <a:gd name="connsiteX98" fmla="*/ 1411627 w 4519987"/>
                    <a:gd name="connsiteY98" fmla="*/ 190500 h 4429225"/>
                    <a:gd name="connsiteX99" fmla="*/ 1449727 w 4519987"/>
                    <a:gd name="connsiteY99" fmla="*/ 161925 h 4429225"/>
                    <a:gd name="connsiteX100" fmla="*/ 1525927 w 4519987"/>
                    <a:gd name="connsiteY100" fmla="*/ 152400 h 4429225"/>
                    <a:gd name="connsiteX101" fmla="*/ 1583077 w 4519987"/>
                    <a:gd name="connsiteY101" fmla="*/ 142875 h 4429225"/>
                    <a:gd name="connsiteX102" fmla="*/ 1716427 w 4519987"/>
                    <a:gd name="connsiteY102" fmla="*/ 123825 h 4429225"/>
                    <a:gd name="connsiteX103" fmla="*/ 1811677 w 4519987"/>
                    <a:gd name="connsiteY103" fmla="*/ 114300 h 4429225"/>
                    <a:gd name="connsiteX104" fmla="*/ 1859302 w 4519987"/>
                    <a:gd name="connsiteY104" fmla="*/ 104775 h 4429225"/>
                    <a:gd name="connsiteX105" fmla="*/ 1916452 w 4519987"/>
                    <a:gd name="connsiteY105" fmla="*/ 95250 h 4429225"/>
                    <a:gd name="connsiteX106" fmla="*/ 2030752 w 4519987"/>
                    <a:gd name="connsiteY106" fmla="*/ 66675 h 4429225"/>
                    <a:gd name="connsiteX107" fmla="*/ 2097427 w 4519987"/>
                    <a:gd name="connsiteY107" fmla="*/ 47625 h 4429225"/>
                    <a:gd name="connsiteX108" fmla="*/ 2164102 w 4519987"/>
                    <a:gd name="connsiteY108" fmla="*/ 38100 h 4429225"/>
                    <a:gd name="connsiteX109" fmla="*/ 2392702 w 4519987"/>
                    <a:gd name="connsiteY10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725827 w 4519987"/>
                    <a:gd name="connsiteY50" fmla="*/ 3876675 h 4429225"/>
                    <a:gd name="connsiteX51" fmla="*/ 697252 w 4519987"/>
                    <a:gd name="connsiteY51" fmla="*/ 3838575 h 4429225"/>
                    <a:gd name="connsiteX52" fmla="*/ 640102 w 4519987"/>
                    <a:gd name="connsiteY52" fmla="*/ 3781425 h 4429225"/>
                    <a:gd name="connsiteX53" fmla="*/ 611527 w 4519987"/>
                    <a:gd name="connsiteY53" fmla="*/ 3733800 h 4429225"/>
                    <a:gd name="connsiteX54" fmla="*/ 554377 w 4519987"/>
                    <a:gd name="connsiteY54" fmla="*/ 3657600 h 4429225"/>
                    <a:gd name="connsiteX55" fmla="*/ 525802 w 4519987"/>
                    <a:gd name="connsiteY55" fmla="*/ 3609975 h 4429225"/>
                    <a:gd name="connsiteX56" fmla="*/ 497227 w 4519987"/>
                    <a:gd name="connsiteY56" fmla="*/ 3552825 h 4429225"/>
                    <a:gd name="connsiteX57" fmla="*/ 440077 w 4519987"/>
                    <a:gd name="connsiteY57" fmla="*/ 3495675 h 4429225"/>
                    <a:gd name="connsiteX58" fmla="*/ 411502 w 4519987"/>
                    <a:gd name="connsiteY58" fmla="*/ 3448050 h 4429225"/>
                    <a:gd name="connsiteX59" fmla="*/ 278152 w 4519987"/>
                    <a:gd name="connsiteY59" fmla="*/ 3257550 h 4429225"/>
                    <a:gd name="connsiteX60" fmla="*/ 249577 w 4519987"/>
                    <a:gd name="connsiteY60" fmla="*/ 3200400 h 4429225"/>
                    <a:gd name="connsiteX61" fmla="*/ 240052 w 4519987"/>
                    <a:gd name="connsiteY61" fmla="*/ 3162300 h 4429225"/>
                    <a:gd name="connsiteX62" fmla="*/ 221002 w 4519987"/>
                    <a:gd name="connsiteY62" fmla="*/ 3105150 h 4429225"/>
                    <a:gd name="connsiteX63" fmla="*/ 173377 w 4519987"/>
                    <a:gd name="connsiteY63" fmla="*/ 3019425 h 4429225"/>
                    <a:gd name="connsiteX64" fmla="*/ 144802 w 4519987"/>
                    <a:gd name="connsiteY64" fmla="*/ 2924175 h 4429225"/>
                    <a:gd name="connsiteX65" fmla="*/ 68602 w 4519987"/>
                    <a:gd name="connsiteY65" fmla="*/ 2724150 h 4429225"/>
                    <a:gd name="connsiteX66" fmla="*/ 49552 w 4519987"/>
                    <a:gd name="connsiteY66" fmla="*/ 2638425 h 4429225"/>
                    <a:gd name="connsiteX67" fmla="*/ 40027 w 4519987"/>
                    <a:gd name="connsiteY67" fmla="*/ 2562225 h 4429225"/>
                    <a:gd name="connsiteX68" fmla="*/ 30502 w 4519987"/>
                    <a:gd name="connsiteY68" fmla="*/ 2514600 h 4429225"/>
                    <a:gd name="connsiteX69" fmla="*/ 11452 w 4519987"/>
                    <a:gd name="connsiteY69" fmla="*/ 2400300 h 4429225"/>
                    <a:gd name="connsiteX70" fmla="*/ 20977 w 4519987"/>
                    <a:gd name="connsiteY70" fmla="*/ 1905000 h 4429225"/>
                    <a:gd name="connsiteX71" fmla="*/ 30502 w 4519987"/>
                    <a:gd name="connsiteY71" fmla="*/ 1838325 h 4429225"/>
                    <a:gd name="connsiteX72" fmla="*/ 49552 w 4519987"/>
                    <a:gd name="connsiteY72" fmla="*/ 1781175 h 4429225"/>
                    <a:gd name="connsiteX73" fmla="*/ 59077 w 4519987"/>
                    <a:gd name="connsiteY73" fmla="*/ 1743075 h 4429225"/>
                    <a:gd name="connsiteX74" fmla="*/ 78127 w 4519987"/>
                    <a:gd name="connsiteY74" fmla="*/ 1685925 h 4429225"/>
                    <a:gd name="connsiteX75" fmla="*/ 87652 w 4519987"/>
                    <a:gd name="connsiteY75" fmla="*/ 1638300 h 4429225"/>
                    <a:gd name="connsiteX76" fmla="*/ 106702 w 4519987"/>
                    <a:gd name="connsiteY76" fmla="*/ 1590675 h 4429225"/>
                    <a:gd name="connsiteX77" fmla="*/ 135277 w 4519987"/>
                    <a:gd name="connsiteY77" fmla="*/ 1504950 h 4429225"/>
                    <a:gd name="connsiteX78" fmla="*/ 154327 w 4519987"/>
                    <a:gd name="connsiteY78" fmla="*/ 1419225 h 4429225"/>
                    <a:gd name="connsiteX79" fmla="*/ 230527 w 4519987"/>
                    <a:gd name="connsiteY79" fmla="*/ 1276350 h 4429225"/>
                    <a:gd name="connsiteX80" fmla="*/ 240052 w 4519987"/>
                    <a:gd name="connsiteY80" fmla="*/ 1247775 h 4429225"/>
                    <a:gd name="connsiteX81" fmla="*/ 268627 w 4519987"/>
                    <a:gd name="connsiteY81" fmla="*/ 1200150 h 4429225"/>
                    <a:gd name="connsiteX82" fmla="*/ 287677 w 4519987"/>
                    <a:gd name="connsiteY82" fmla="*/ 1152525 h 4429225"/>
                    <a:gd name="connsiteX83" fmla="*/ 316252 w 4519987"/>
                    <a:gd name="connsiteY83" fmla="*/ 1114425 h 4429225"/>
                    <a:gd name="connsiteX84" fmla="*/ 363877 w 4519987"/>
                    <a:gd name="connsiteY84" fmla="*/ 1038225 h 4429225"/>
                    <a:gd name="connsiteX85" fmla="*/ 382927 w 4519987"/>
                    <a:gd name="connsiteY85" fmla="*/ 1009650 h 4429225"/>
                    <a:gd name="connsiteX86" fmla="*/ 440077 w 4519987"/>
                    <a:gd name="connsiteY86" fmla="*/ 904875 h 4429225"/>
                    <a:gd name="connsiteX87" fmla="*/ 478177 w 4519987"/>
                    <a:gd name="connsiteY87" fmla="*/ 857250 h 4429225"/>
                    <a:gd name="connsiteX88" fmla="*/ 497227 w 4519987"/>
                    <a:gd name="connsiteY88" fmla="*/ 828675 h 4429225"/>
                    <a:gd name="connsiteX89" fmla="*/ 535327 w 4519987"/>
                    <a:gd name="connsiteY89" fmla="*/ 800100 h 4429225"/>
                    <a:gd name="connsiteX90" fmla="*/ 602002 w 4519987"/>
                    <a:gd name="connsiteY90" fmla="*/ 733425 h 4429225"/>
                    <a:gd name="connsiteX91" fmla="*/ 668677 w 4519987"/>
                    <a:gd name="connsiteY91" fmla="*/ 676275 h 4429225"/>
                    <a:gd name="connsiteX92" fmla="*/ 697252 w 4519987"/>
                    <a:gd name="connsiteY92" fmla="*/ 657225 h 4429225"/>
                    <a:gd name="connsiteX93" fmla="*/ 840127 w 4519987"/>
                    <a:gd name="connsiteY93" fmla="*/ 533400 h 4429225"/>
                    <a:gd name="connsiteX94" fmla="*/ 887752 w 4519987"/>
                    <a:gd name="connsiteY94" fmla="*/ 504825 h 4429225"/>
                    <a:gd name="connsiteX95" fmla="*/ 1167152 w 4519987"/>
                    <a:gd name="connsiteY95" fmla="*/ 311150 h 4429225"/>
                    <a:gd name="connsiteX96" fmla="*/ 1268752 w 4519987"/>
                    <a:gd name="connsiteY96" fmla="*/ 285750 h 4429225"/>
                    <a:gd name="connsiteX97" fmla="*/ 1411627 w 4519987"/>
                    <a:gd name="connsiteY97" fmla="*/ 190500 h 4429225"/>
                    <a:gd name="connsiteX98" fmla="*/ 1449727 w 4519987"/>
                    <a:gd name="connsiteY98" fmla="*/ 161925 h 4429225"/>
                    <a:gd name="connsiteX99" fmla="*/ 1525927 w 4519987"/>
                    <a:gd name="connsiteY99" fmla="*/ 152400 h 4429225"/>
                    <a:gd name="connsiteX100" fmla="*/ 1583077 w 4519987"/>
                    <a:gd name="connsiteY100" fmla="*/ 142875 h 4429225"/>
                    <a:gd name="connsiteX101" fmla="*/ 1716427 w 4519987"/>
                    <a:gd name="connsiteY101" fmla="*/ 123825 h 4429225"/>
                    <a:gd name="connsiteX102" fmla="*/ 1811677 w 4519987"/>
                    <a:gd name="connsiteY102" fmla="*/ 114300 h 4429225"/>
                    <a:gd name="connsiteX103" fmla="*/ 1859302 w 4519987"/>
                    <a:gd name="connsiteY103" fmla="*/ 104775 h 4429225"/>
                    <a:gd name="connsiteX104" fmla="*/ 1916452 w 4519987"/>
                    <a:gd name="connsiteY104" fmla="*/ 95250 h 4429225"/>
                    <a:gd name="connsiteX105" fmla="*/ 2030752 w 4519987"/>
                    <a:gd name="connsiteY105" fmla="*/ 66675 h 4429225"/>
                    <a:gd name="connsiteX106" fmla="*/ 2097427 w 4519987"/>
                    <a:gd name="connsiteY106" fmla="*/ 47625 h 4429225"/>
                    <a:gd name="connsiteX107" fmla="*/ 2164102 w 4519987"/>
                    <a:gd name="connsiteY107" fmla="*/ 38100 h 4429225"/>
                    <a:gd name="connsiteX108" fmla="*/ 2392702 w 4519987"/>
                    <a:gd name="connsiteY10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40102 w 4519987"/>
                    <a:gd name="connsiteY51" fmla="*/ 3781425 h 4429225"/>
                    <a:gd name="connsiteX52" fmla="*/ 611527 w 4519987"/>
                    <a:gd name="connsiteY52" fmla="*/ 3733800 h 4429225"/>
                    <a:gd name="connsiteX53" fmla="*/ 554377 w 4519987"/>
                    <a:gd name="connsiteY53" fmla="*/ 3657600 h 4429225"/>
                    <a:gd name="connsiteX54" fmla="*/ 525802 w 4519987"/>
                    <a:gd name="connsiteY54" fmla="*/ 3609975 h 4429225"/>
                    <a:gd name="connsiteX55" fmla="*/ 497227 w 4519987"/>
                    <a:gd name="connsiteY55" fmla="*/ 3552825 h 4429225"/>
                    <a:gd name="connsiteX56" fmla="*/ 440077 w 4519987"/>
                    <a:gd name="connsiteY56" fmla="*/ 3495675 h 4429225"/>
                    <a:gd name="connsiteX57" fmla="*/ 411502 w 4519987"/>
                    <a:gd name="connsiteY57" fmla="*/ 3448050 h 4429225"/>
                    <a:gd name="connsiteX58" fmla="*/ 278152 w 4519987"/>
                    <a:gd name="connsiteY58" fmla="*/ 3257550 h 4429225"/>
                    <a:gd name="connsiteX59" fmla="*/ 249577 w 4519987"/>
                    <a:gd name="connsiteY59" fmla="*/ 3200400 h 4429225"/>
                    <a:gd name="connsiteX60" fmla="*/ 240052 w 4519987"/>
                    <a:gd name="connsiteY60" fmla="*/ 3162300 h 4429225"/>
                    <a:gd name="connsiteX61" fmla="*/ 221002 w 4519987"/>
                    <a:gd name="connsiteY61" fmla="*/ 3105150 h 4429225"/>
                    <a:gd name="connsiteX62" fmla="*/ 173377 w 4519987"/>
                    <a:gd name="connsiteY62" fmla="*/ 3019425 h 4429225"/>
                    <a:gd name="connsiteX63" fmla="*/ 144802 w 4519987"/>
                    <a:gd name="connsiteY63" fmla="*/ 2924175 h 4429225"/>
                    <a:gd name="connsiteX64" fmla="*/ 68602 w 4519987"/>
                    <a:gd name="connsiteY64" fmla="*/ 2724150 h 4429225"/>
                    <a:gd name="connsiteX65" fmla="*/ 49552 w 4519987"/>
                    <a:gd name="connsiteY65" fmla="*/ 2638425 h 4429225"/>
                    <a:gd name="connsiteX66" fmla="*/ 40027 w 4519987"/>
                    <a:gd name="connsiteY66" fmla="*/ 2562225 h 4429225"/>
                    <a:gd name="connsiteX67" fmla="*/ 30502 w 4519987"/>
                    <a:gd name="connsiteY67" fmla="*/ 2514600 h 4429225"/>
                    <a:gd name="connsiteX68" fmla="*/ 11452 w 4519987"/>
                    <a:gd name="connsiteY68" fmla="*/ 2400300 h 4429225"/>
                    <a:gd name="connsiteX69" fmla="*/ 20977 w 4519987"/>
                    <a:gd name="connsiteY69" fmla="*/ 1905000 h 4429225"/>
                    <a:gd name="connsiteX70" fmla="*/ 30502 w 4519987"/>
                    <a:gd name="connsiteY70" fmla="*/ 1838325 h 4429225"/>
                    <a:gd name="connsiteX71" fmla="*/ 49552 w 4519987"/>
                    <a:gd name="connsiteY71" fmla="*/ 1781175 h 4429225"/>
                    <a:gd name="connsiteX72" fmla="*/ 59077 w 4519987"/>
                    <a:gd name="connsiteY72" fmla="*/ 1743075 h 4429225"/>
                    <a:gd name="connsiteX73" fmla="*/ 78127 w 4519987"/>
                    <a:gd name="connsiteY73" fmla="*/ 1685925 h 4429225"/>
                    <a:gd name="connsiteX74" fmla="*/ 87652 w 4519987"/>
                    <a:gd name="connsiteY74" fmla="*/ 1638300 h 4429225"/>
                    <a:gd name="connsiteX75" fmla="*/ 106702 w 4519987"/>
                    <a:gd name="connsiteY75" fmla="*/ 1590675 h 4429225"/>
                    <a:gd name="connsiteX76" fmla="*/ 135277 w 4519987"/>
                    <a:gd name="connsiteY76" fmla="*/ 1504950 h 4429225"/>
                    <a:gd name="connsiteX77" fmla="*/ 154327 w 4519987"/>
                    <a:gd name="connsiteY77" fmla="*/ 1419225 h 4429225"/>
                    <a:gd name="connsiteX78" fmla="*/ 230527 w 4519987"/>
                    <a:gd name="connsiteY78" fmla="*/ 1276350 h 4429225"/>
                    <a:gd name="connsiteX79" fmla="*/ 240052 w 4519987"/>
                    <a:gd name="connsiteY79" fmla="*/ 1247775 h 4429225"/>
                    <a:gd name="connsiteX80" fmla="*/ 268627 w 4519987"/>
                    <a:gd name="connsiteY80" fmla="*/ 1200150 h 4429225"/>
                    <a:gd name="connsiteX81" fmla="*/ 287677 w 4519987"/>
                    <a:gd name="connsiteY81" fmla="*/ 1152525 h 4429225"/>
                    <a:gd name="connsiteX82" fmla="*/ 316252 w 4519987"/>
                    <a:gd name="connsiteY82" fmla="*/ 1114425 h 4429225"/>
                    <a:gd name="connsiteX83" fmla="*/ 363877 w 4519987"/>
                    <a:gd name="connsiteY83" fmla="*/ 1038225 h 4429225"/>
                    <a:gd name="connsiteX84" fmla="*/ 382927 w 4519987"/>
                    <a:gd name="connsiteY84" fmla="*/ 1009650 h 4429225"/>
                    <a:gd name="connsiteX85" fmla="*/ 440077 w 4519987"/>
                    <a:gd name="connsiteY85" fmla="*/ 904875 h 4429225"/>
                    <a:gd name="connsiteX86" fmla="*/ 478177 w 4519987"/>
                    <a:gd name="connsiteY86" fmla="*/ 857250 h 4429225"/>
                    <a:gd name="connsiteX87" fmla="*/ 497227 w 4519987"/>
                    <a:gd name="connsiteY87" fmla="*/ 828675 h 4429225"/>
                    <a:gd name="connsiteX88" fmla="*/ 535327 w 4519987"/>
                    <a:gd name="connsiteY88" fmla="*/ 800100 h 4429225"/>
                    <a:gd name="connsiteX89" fmla="*/ 602002 w 4519987"/>
                    <a:gd name="connsiteY89" fmla="*/ 733425 h 4429225"/>
                    <a:gd name="connsiteX90" fmla="*/ 668677 w 4519987"/>
                    <a:gd name="connsiteY90" fmla="*/ 676275 h 4429225"/>
                    <a:gd name="connsiteX91" fmla="*/ 697252 w 4519987"/>
                    <a:gd name="connsiteY91" fmla="*/ 657225 h 4429225"/>
                    <a:gd name="connsiteX92" fmla="*/ 840127 w 4519987"/>
                    <a:gd name="connsiteY92" fmla="*/ 533400 h 4429225"/>
                    <a:gd name="connsiteX93" fmla="*/ 887752 w 4519987"/>
                    <a:gd name="connsiteY93" fmla="*/ 504825 h 4429225"/>
                    <a:gd name="connsiteX94" fmla="*/ 1167152 w 4519987"/>
                    <a:gd name="connsiteY94" fmla="*/ 311150 h 4429225"/>
                    <a:gd name="connsiteX95" fmla="*/ 1268752 w 4519987"/>
                    <a:gd name="connsiteY95" fmla="*/ 285750 h 4429225"/>
                    <a:gd name="connsiteX96" fmla="*/ 1411627 w 4519987"/>
                    <a:gd name="connsiteY96" fmla="*/ 190500 h 4429225"/>
                    <a:gd name="connsiteX97" fmla="*/ 1449727 w 4519987"/>
                    <a:gd name="connsiteY97" fmla="*/ 161925 h 4429225"/>
                    <a:gd name="connsiteX98" fmla="*/ 1525927 w 4519987"/>
                    <a:gd name="connsiteY98" fmla="*/ 152400 h 4429225"/>
                    <a:gd name="connsiteX99" fmla="*/ 1583077 w 4519987"/>
                    <a:gd name="connsiteY99" fmla="*/ 142875 h 4429225"/>
                    <a:gd name="connsiteX100" fmla="*/ 1716427 w 4519987"/>
                    <a:gd name="connsiteY100" fmla="*/ 123825 h 4429225"/>
                    <a:gd name="connsiteX101" fmla="*/ 1811677 w 4519987"/>
                    <a:gd name="connsiteY101" fmla="*/ 114300 h 4429225"/>
                    <a:gd name="connsiteX102" fmla="*/ 1859302 w 4519987"/>
                    <a:gd name="connsiteY102" fmla="*/ 104775 h 4429225"/>
                    <a:gd name="connsiteX103" fmla="*/ 1916452 w 4519987"/>
                    <a:gd name="connsiteY103" fmla="*/ 95250 h 4429225"/>
                    <a:gd name="connsiteX104" fmla="*/ 2030752 w 4519987"/>
                    <a:gd name="connsiteY104" fmla="*/ 66675 h 4429225"/>
                    <a:gd name="connsiteX105" fmla="*/ 2097427 w 4519987"/>
                    <a:gd name="connsiteY105" fmla="*/ 47625 h 4429225"/>
                    <a:gd name="connsiteX106" fmla="*/ 2164102 w 4519987"/>
                    <a:gd name="connsiteY106" fmla="*/ 38100 h 4429225"/>
                    <a:gd name="connsiteX107" fmla="*/ 2392702 w 4519987"/>
                    <a:gd name="connsiteY10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11527 w 4519987"/>
                    <a:gd name="connsiteY51" fmla="*/ 3733800 h 4429225"/>
                    <a:gd name="connsiteX52" fmla="*/ 554377 w 4519987"/>
                    <a:gd name="connsiteY52" fmla="*/ 3657600 h 4429225"/>
                    <a:gd name="connsiteX53" fmla="*/ 525802 w 4519987"/>
                    <a:gd name="connsiteY53" fmla="*/ 3609975 h 4429225"/>
                    <a:gd name="connsiteX54" fmla="*/ 497227 w 4519987"/>
                    <a:gd name="connsiteY54" fmla="*/ 3552825 h 4429225"/>
                    <a:gd name="connsiteX55" fmla="*/ 440077 w 4519987"/>
                    <a:gd name="connsiteY55" fmla="*/ 3495675 h 4429225"/>
                    <a:gd name="connsiteX56" fmla="*/ 411502 w 4519987"/>
                    <a:gd name="connsiteY56" fmla="*/ 3448050 h 4429225"/>
                    <a:gd name="connsiteX57" fmla="*/ 278152 w 4519987"/>
                    <a:gd name="connsiteY57" fmla="*/ 3257550 h 4429225"/>
                    <a:gd name="connsiteX58" fmla="*/ 249577 w 4519987"/>
                    <a:gd name="connsiteY58" fmla="*/ 3200400 h 4429225"/>
                    <a:gd name="connsiteX59" fmla="*/ 240052 w 4519987"/>
                    <a:gd name="connsiteY59" fmla="*/ 3162300 h 4429225"/>
                    <a:gd name="connsiteX60" fmla="*/ 221002 w 4519987"/>
                    <a:gd name="connsiteY60" fmla="*/ 3105150 h 4429225"/>
                    <a:gd name="connsiteX61" fmla="*/ 173377 w 4519987"/>
                    <a:gd name="connsiteY61" fmla="*/ 3019425 h 4429225"/>
                    <a:gd name="connsiteX62" fmla="*/ 144802 w 4519987"/>
                    <a:gd name="connsiteY62" fmla="*/ 2924175 h 4429225"/>
                    <a:gd name="connsiteX63" fmla="*/ 68602 w 4519987"/>
                    <a:gd name="connsiteY63" fmla="*/ 2724150 h 4429225"/>
                    <a:gd name="connsiteX64" fmla="*/ 49552 w 4519987"/>
                    <a:gd name="connsiteY64" fmla="*/ 2638425 h 4429225"/>
                    <a:gd name="connsiteX65" fmla="*/ 40027 w 4519987"/>
                    <a:gd name="connsiteY65" fmla="*/ 2562225 h 4429225"/>
                    <a:gd name="connsiteX66" fmla="*/ 30502 w 4519987"/>
                    <a:gd name="connsiteY66" fmla="*/ 2514600 h 4429225"/>
                    <a:gd name="connsiteX67" fmla="*/ 11452 w 4519987"/>
                    <a:gd name="connsiteY67" fmla="*/ 2400300 h 4429225"/>
                    <a:gd name="connsiteX68" fmla="*/ 20977 w 4519987"/>
                    <a:gd name="connsiteY68" fmla="*/ 1905000 h 4429225"/>
                    <a:gd name="connsiteX69" fmla="*/ 30502 w 4519987"/>
                    <a:gd name="connsiteY69" fmla="*/ 1838325 h 4429225"/>
                    <a:gd name="connsiteX70" fmla="*/ 49552 w 4519987"/>
                    <a:gd name="connsiteY70" fmla="*/ 1781175 h 4429225"/>
                    <a:gd name="connsiteX71" fmla="*/ 59077 w 4519987"/>
                    <a:gd name="connsiteY71" fmla="*/ 1743075 h 4429225"/>
                    <a:gd name="connsiteX72" fmla="*/ 78127 w 4519987"/>
                    <a:gd name="connsiteY72" fmla="*/ 1685925 h 4429225"/>
                    <a:gd name="connsiteX73" fmla="*/ 87652 w 4519987"/>
                    <a:gd name="connsiteY73" fmla="*/ 1638300 h 4429225"/>
                    <a:gd name="connsiteX74" fmla="*/ 106702 w 4519987"/>
                    <a:gd name="connsiteY74" fmla="*/ 1590675 h 4429225"/>
                    <a:gd name="connsiteX75" fmla="*/ 135277 w 4519987"/>
                    <a:gd name="connsiteY75" fmla="*/ 1504950 h 4429225"/>
                    <a:gd name="connsiteX76" fmla="*/ 154327 w 4519987"/>
                    <a:gd name="connsiteY76" fmla="*/ 1419225 h 4429225"/>
                    <a:gd name="connsiteX77" fmla="*/ 230527 w 4519987"/>
                    <a:gd name="connsiteY77" fmla="*/ 1276350 h 4429225"/>
                    <a:gd name="connsiteX78" fmla="*/ 240052 w 4519987"/>
                    <a:gd name="connsiteY78" fmla="*/ 1247775 h 4429225"/>
                    <a:gd name="connsiteX79" fmla="*/ 268627 w 4519987"/>
                    <a:gd name="connsiteY79" fmla="*/ 1200150 h 4429225"/>
                    <a:gd name="connsiteX80" fmla="*/ 287677 w 4519987"/>
                    <a:gd name="connsiteY80" fmla="*/ 1152525 h 4429225"/>
                    <a:gd name="connsiteX81" fmla="*/ 316252 w 4519987"/>
                    <a:gd name="connsiteY81" fmla="*/ 1114425 h 4429225"/>
                    <a:gd name="connsiteX82" fmla="*/ 363877 w 4519987"/>
                    <a:gd name="connsiteY82" fmla="*/ 1038225 h 4429225"/>
                    <a:gd name="connsiteX83" fmla="*/ 382927 w 4519987"/>
                    <a:gd name="connsiteY83" fmla="*/ 1009650 h 4429225"/>
                    <a:gd name="connsiteX84" fmla="*/ 440077 w 4519987"/>
                    <a:gd name="connsiteY84" fmla="*/ 904875 h 4429225"/>
                    <a:gd name="connsiteX85" fmla="*/ 478177 w 4519987"/>
                    <a:gd name="connsiteY85" fmla="*/ 857250 h 4429225"/>
                    <a:gd name="connsiteX86" fmla="*/ 497227 w 4519987"/>
                    <a:gd name="connsiteY86" fmla="*/ 828675 h 4429225"/>
                    <a:gd name="connsiteX87" fmla="*/ 535327 w 4519987"/>
                    <a:gd name="connsiteY87" fmla="*/ 800100 h 4429225"/>
                    <a:gd name="connsiteX88" fmla="*/ 602002 w 4519987"/>
                    <a:gd name="connsiteY88" fmla="*/ 733425 h 4429225"/>
                    <a:gd name="connsiteX89" fmla="*/ 668677 w 4519987"/>
                    <a:gd name="connsiteY89" fmla="*/ 676275 h 4429225"/>
                    <a:gd name="connsiteX90" fmla="*/ 697252 w 4519987"/>
                    <a:gd name="connsiteY90" fmla="*/ 657225 h 4429225"/>
                    <a:gd name="connsiteX91" fmla="*/ 840127 w 4519987"/>
                    <a:gd name="connsiteY91" fmla="*/ 533400 h 4429225"/>
                    <a:gd name="connsiteX92" fmla="*/ 887752 w 4519987"/>
                    <a:gd name="connsiteY92" fmla="*/ 504825 h 4429225"/>
                    <a:gd name="connsiteX93" fmla="*/ 1167152 w 4519987"/>
                    <a:gd name="connsiteY93" fmla="*/ 311150 h 4429225"/>
                    <a:gd name="connsiteX94" fmla="*/ 1268752 w 4519987"/>
                    <a:gd name="connsiteY94" fmla="*/ 285750 h 4429225"/>
                    <a:gd name="connsiteX95" fmla="*/ 1411627 w 4519987"/>
                    <a:gd name="connsiteY95" fmla="*/ 190500 h 4429225"/>
                    <a:gd name="connsiteX96" fmla="*/ 1449727 w 4519987"/>
                    <a:gd name="connsiteY96" fmla="*/ 161925 h 4429225"/>
                    <a:gd name="connsiteX97" fmla="*/ 1525927 w 4519987"/>
                    <a:gd name="connsiteY97" fmla="*/ 152400 h 4429225"/>
                    <a:gd name="connsiteX98" fmla="*/ 1583077 w 4519987"/>
                    <a:gd name="connsiteY98" fmla="*/ 142875 h 4429225"/>
                    <a:gd name="connsiteX99" fmla="*/ 1716427 w 4519987"/>
                    <a:gd name="connsiteY99" fmla="*/ 123825 h 4429225"/>
                    <a:gd name="connsiteX100" fmla="*/ 1811677 w 4519987"/>
                    <a:gd name="connsiteY100" fmla="*/ 114300 h 4429225"/>
                    <a:gd name="connsiteX101" fmla="*/ 1859302 w 4519987"/>
                    <a:gd name="connsiteY101" fmla="*/ 104775 h 4429225"/>
                    <a:gd name="connsiteX102" fmla="*/ 1916452 w 4519987"/>
                    <a:gd name="connsiteY102" fmla="*/ 95250 h 4429225"/>
                    <a:gd name="connsiteX103" fmla="*/ 2030752 w 4519987"/>
                    <a:gd name="connsiteY103" fmla="*/ 66675 h 4429225"/>
                    <a:gd name="connsiteX104" fmla="*/ 2097427 w 4519987"/>
                    <a:gd name="connsiteY104" fmla="*/ 47625 h 4429225"/>
                    <a:gd name="connsiteX105" fmla="*/ 2164102 w 4519987"/>
                    <a:gd name="connsiteY105" fmla="*/ 38100 h 4429225"/>
                    <a:gd name="connsiteX106" fmla="*/ 2392702 w 4519987"/>
                    <a:gd name="connsiteY10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525802 w 4519987"/>
                    <a:gd name="connsiteY52" fmla="*/ 3609975 h 4429225"/>
                    <a:gd name="connsiteX53" fmla="*/ 497227 w 4519987"/>
                    <a:gd name="connsiteY53" fmla="*/ 3552825 h 4429225"/>
                    <a:gd name="connsiteX54" fmla="*/ 440077 w 4519987"/>
                    <a:gd name="connsiteY54" fmla="*/ 3495675 h 4429225"/>
                    <a:gd name="connsiteX55" fmla="*/ 411502 w 4519987"/>
                    <a:gd name="connsiteY55" fmla="*/ 3448050 h 4429225"/>
                    <a:gd name="connsiteX56" fmla="*/ 278152 w 4519987"/>
                    <a:gd name="connsiteY56" fmla="*/ 3257550 h 4429225"/>
                    <a:gd name="connsiteX57" fmla="*/ 249577 w 4519987"/>
                    <a:gd name="connsiteY57" fmla="*/ 3200400 h 4429225"/>
                    <a:gd name="connsiteX58" fmla="*/ 240052 w 4519987"/>
                    <a:gd name="connsiteY58" fmla="*/ 3162300 h 4429225"/>
                    <a:gd name="connsiteX59" fmla="*/ 221002 w 4519987"/>
                    <a:gd name="connsiteY59" fmla="*/ 3105150 h 4429225"/>
                    <a:gd name="connsiteX60" fmla="*/ 173377 w 4519987"/>
                    <a:gd name="connsiteY60" fmla="*/ 3019425 h 4429225"/>
                    <a:gd name="connsiteX61" fmla="*/ 144802 w 4519987"/>
                    <a:gd name="connsiteY61" fmla="*/ 2924175 h 4429225"/>
                    <a:gd name="connsiteX62" fmla="*/ 68602 w 4519987"/>
                    <a:gd name="connsiteY62" fmla="*/ 2724150 h 4429225"/>
                    <a:gd name="connsiteX63" fmla="*/ 49552 w 4519987"/>
                    <a:gd name="connsiteY63" fmla="*/ 2638425 h 4429225"/>
                    <a:gd name="connsiteX64" fmla="*/ 40027 w 4519987"/>
                    <a:gd name="connsiteY64" fmla="*/ 2562225 h 4429225"/>
                    <a:gd name="connsiteX65" fmla="*/ 30502 w 4519987"/>
                    <a:gd name="connsiteY65" fmla="*/ 2514600 h 4429225"/>
                    <a:gd name="connsiteX66" fmla="*/ 11452 w 4519987"/>
                    <a:gd name="connsiteY66" fmla="*/ 2400300 h 4429225"/>
                    <a:gd name="connsiteX67" fmla="*/ 20977 w 4519987"/>
                    <a:gd name="connsiteY67" fmla="*/ 1905000 h 4429225"/>
                    <a:gd name="connsiteX68" fmla="*/ 30502 w 4519987"/>
                    <a:gd name="connsiteY68" fmla="*/ 1838325 h 4429225"/>
                    <a:gd name="connsiteX69" fmla="*/ 49552 w 4519987"/>
                    <a:gd name="connsiteY69" fmla="*/ 1781175 h 4429225"/>
                    <a:gd name="connsiteX70" fmla="*/ 59077 w 4519987"/>
                    <a:gd name="connsiteY70" fmla="*/ 1743075 h 4429225"/>
                    <a:gd name="connsiteX71" fmla="*/ 78127 w 4519987"/>
                    <a:gd name="connsiteY71" fmla="*/ 1685925 h 4429225"/>
                    <a:gd name="connsiteX72" fmla="*/ 87652 w 4519987"/>
                    <a:gd name="connsiteY72" fmla="*/ 1638300 h 4429225"/>
                    <a:gd name="connsiteX73" fmla="*/ 106702 w 4519987"/>
                    <a:gd name="connsiteY73" fmla="*/ 1590675 h 4429225"/>
                    <a:gd name="connsiteX74" fmla="*/ 135277 w 4519987"/>
                    <a:gd name="connsiteY74" fmla="*/ 1504950 h 4429225"/>
                    <a:gd name="connsiteX75" fmla="*/ 154327 w 4519987"/>
                    <a:gd name="connsiteY75" fmla="*/ 1419225 h 4429225"/>
                    <a:gd name="connsiteX76" fmla="*/ 230527 w 4519987"/>
                    <a:gd name="connsiteY76" fmla="*/ 1276350 h 4429225"/>
                    <a:gd name="connsiteX77" fmla="*/ 240052 w 4519987"/>
                    <a:gd name="connsiteY77" fmla="*/ 1247775 h 4429225"/>
                    <a:gd name="connsiteX78" fmla="*/ 268627 w 4519987"/>
                    <a:gd name="connsiteY78" fmla="*/ 1200150 h 4429225"/>
                    <a:gd name="connsiteX79" fmla="*/ 287677 w 4519987"/>
                    <a:gd name="connsiteY79" fmla="*/ 1152525 h 4429225"/>
                    <a:gd name="connsiteX80" fmla="*/ 316252 w 4519987"/>
                    <a:gd name="connsiteY80" fmla="*/ 1114425 h 4429225"/>
                    <a:gd name="connsiteX81" fmla="*/ 363877 w 4519987"/>
                    <a:gd name="connsiteY81" fmla="*/ 1038225 h 4429225"/>
                    <a:gd name="connsiteX82" fmla="*/ 382927 w 4519987"/>
                    <a:gd name="connsiteY82" fmla="*/ 1009650 h 4429225"/>
                    <a:gd name="connsiteX83" fmla="*/ 440077 w 4519987"/>
                    <a:gd name="connsiteY83" fmla="*/ 904875 h 4429225"/>
                    <a:gd name="connsiteX84" fmla="*/ 478177 w 4519987"/>
                    <a:gd name="connsiteY84" fmla="*/ 857250 h 4429225"/>
                    <a:gd name="connsiteX85" fmla="*/ 497227 w 4519987"/>
                    <a:gd name="connsiteY85" fmla="*/ 828675 h 4429225"/>
                    <a:gd name="connsiteX86" fmla="*/ 535327 w 4519987"/>
                    <a:gd name="connsiteY86" fmla="*/ 800100 h 4429225"/>
                    <a:gd name="connsiteX87" fmla="*/ 602002 w 4519987"/>
                    <a:gd name="connsiteY87" fmla="*/ 733425 h 4429225"/>
                    <a:gd name="connsiteX88" fmla="*/ 668677 w 4519987"/>
                    <a:gd name="connsiteY88" fmla="*/ 676275 h 4429225"/>
                    <a:gd name="connsiteX89" fmla="*/ 697252 w 4519987"/>
                    <a:gd name="connsiteY89" fmla="*/ 657225 h 4429225"/>
                    <a:gd name="connsiteX90" fmla="*/ 840127 w 4519987"/>
                    <a:gd name="connsiteY90" fmla="*/ 533400 h 4429225"/>
                    <a:gd name="connsiteX91" fmla="*/ 887752 w 4519987"/>
                    <a:gd name="connsiteY91" fmla="*/ 504825 h 4429225"/>
                    <a:gd name="connsiteX92" fmla="*/ 1167152 w 4519987"/>
                    <a:gd name="connsiteY92" fmla="*/ 311150 h 4429225"/>
                    <a:gd name="connsiteX93" fmla="*/ 1268752 w 4519987"/>
                    <a:gd name="connsiteY93" fmla="*/ 285750 h 4429225"/>
                    <a:gd name="connsiteX94" fmla="*/ 1411627 w 4519987"/>
                    <a:gd name="connsiteY94" fmla="*/ 190500 h 4429225"/>
                    <a:gd name="connsiteX95" fmla="*/ 1449727 w 4519987"/>
                    <a:gd name="connsiteY95" fmla="*/ 161925 h 4429225"/>
                    <a:gd name="connsiteX96" fmla="*/ 1525927 w 4519987"/>
                    <a:gd name="connsiteY96" fmla="*/ 152400 h 4429225"/>
                    <a:gd name="connsiteX97" fmla="*/ 1583077 w 4519987"/>
                    <a:gd name="connsiteY97" fmla="*/ 142875 h 4429225"/>
                    <a:gd name="connsiteX98" fmla="*/ 1716427 w 4519987"/>
                    <a:gd name="connsiteY98" fmla="*/ 123825 h 4429225"/>
                    <a:gd name="connsiteX99" fmla="*/ 1811677 w 4519987"/>
                    <a:gd name="connsiteY99" fmla="*/ 114300 h 4429225"/>
                    <a:gd name="connsiteX100" fmla="*/ 1859302 w 4519987"/>
                    <a:gd name="connsiteY100" fmla="*/ 104775 h 4429225"/>
                    <a:gd name="connsiteX101" fmla="*/ 1916452 w 4519987"/>
                    <a:gd name="connsiteY101" fmla="*/ 95250 h 4429225"/>
                    <a:gd name="connsiteX102" fmla="*/ 2030752 w 4519987"/>
                    <a:gd name="connsiteY102" fmla="*/ 66675 h 4429225"/>
                    <a:gd name="connsiteX103" fmla="*/ 2097427 w 4519987"/>
                    <a:gd name="connsiteY103" fmla="*/ 47625 h 4429225"/>
                    <a:gd name="connsiteX104" fmla="*/ 2164102 w 4519987"/>
                    <a:gd name="connsiteY104" fmla="*/ 38100 h 4429225"/>
                    <a:gd name="connsiteX105" fmla="*/ 2392702 w 4519987"/>
                    <a:gd name="connsiteY105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411502 w 4519987"/>
                    <a:gd name="connsiteY54" fmla="*/ 3448050 h 4429225"/>
                    <a:gd name="connsiteX55" fmla="*/ 278152 w 4519987"/>
                    <a:gd name="connsiteY55" fmla="*/ 3257550 h 4429225"/>
                    <a:gd name="connsiteX56" fmla="*/ 249577 w 4519987"/>
                    <a:gd name="connsiteY56" fmla="*/ 3200400 h 4429225"/>
                    <a:gd name="connsiteX57" fmla="*/ 240052 w 4519987"/>
                    <a:gd name="connsiteY57" fmla="*/ 3162300 h 4429225"/>
                    <a:gd name="connsiteX58" fmla="*/ 221002 w 4519987"/>
                    <a:gd name="connsiteY58" fmla="*/ 3105150 h 4429225"/>
                    <a:gd name="connsiteX59" fmla="*/ 173377 w 4519987"/>
                    <a:gd name="connsiteY59" fmla="*/ 3019425 h 4429225"/>
                    <a:gd name="connsiteX60" fmla="*/ 144802 w 4519987"/>
                    <a:gd name="connsiteY60" fmla="*/ 2924175 h 4429225"/>
                    <a:gd name="connsiteX61" fmla="*/ 68602 w 4519987"/>
                    <a:gd name="connsiteY61" fmla="*/ 2724150 h 4429225"/>
                    <a:gd name="connsiteX62" fmla="*/ 49552 w 4519987"/>
                    <a:gd name="connsiteY62" fmla="*/ 2638425 h 4429225"/>
                    <a:gd name="connsiteX63" fmla="*/ 40027 w 4519987"/>
                    <a:gd name="connsiteY63" fmla="*/ 2562225 h 4429225"/>
                    <a:gd name="connsiteX64" fmla="*/ 30502 w 4519987"/>
                    <a:gd name="connsiteY64" fmla="*/ 2514600 h 4429225"/>
                    <a:gd name="connsiteX65" fmla="*/ 11452 w 4519987"/>
                    <a:gd name="connsiteY65" fmla="*/ 2400300 h 4429225"/>
                    <a:gd name="connsiteX66" fmla="*/ 20977 w 4519987"/>
                    <a:gd name="connsiteY66" fmla="*/ 1905000 h 4429225"/>
                    <a:gd name="connsiteX67" fmla="*/ 30502 w 4519987"/>
                    <a:gd name="connsiteY67" fmla="*/ 1838325 h 4429225"/>
                    <a:gd name="connsiteX68" fmla="*/ 49552 w 4519987"/>
                    <a:gd name="connsiteY68" fmla="*/ 1781175 h 4429225"/>
                    <a:gd name="connsiteX69" fmla="*/ 59077 w 4519987"/>
                    <a:gd name="connsiteY69" fmla="*/ 1743075 h 4429225"/>
                    <a:gd name="connsiteX70" fmla="*/ 78127 w 4519987"/>
                    <a:gd name="connsiteY70" fmla="*/ 1685925 h 4429225"/>
                    <a:gd name="connsiteX71" fmla="*/ 87652 w 4519987"/>
                    <a:gd name="connsiteY71" fmla="*/ 1638300 h 4429225"/>
                    <a:gd name="connsiteX72" fmla="*/ 106702 w 4519987"/>
                    <a:gd name="connsiteY72" fmla="*/ 1590675 h 4429225"/>
                    <a:gd name="connsiteX73" fmla="*/ 135277 w 4519987"/>
                    <a:gd name="connsiteY73" fmla="*/ 1504950 h 4429225"/>
                    <a:gd name="connsiteX74" fmla="*/ 154327 w 4519987"/>
                    <a:gd name="connsiteY74" fmla="*/ 1419225 h 4429225"/>
                    <a:gd name="connsiteX75" fmla="*/ 230527 w 4519987"/>
                    <a:gd name="connsiteY75" fmla="*/ 1276350 h 4429225"/>
                    <a:gd name="connsiteX76" fmla="*/ 240052 w 4519987"/>
                    <a:gd name="connsiteY76" fmla="*/ 1247775 h 4429225"/>
                    <a:gd name="connsiteX77" fmla="*/ 268627 w 4519987"/>
                    <a:gd name="connsiteY77" fmla="*/ 1200150 h 4429225"/>
                    <a:gd name="connsiteX78" fmla="*/ 287677 w 4519987"/>
                    <a:gd name="connsiteY78" fmla="*/ 1152525 h 4429225"/>
                    <a:gd name="connsiteX79" fmla="*/ 316252 w 4519987"/>
                    <a:gd name="connsiteY79" fmla="*/ 1114425 h 4429225"/>
                    <a:gd name="connsiteX80" fmla="*/ 363877 w 4519987"/>
                    <a:gd name="connsiteY80" fmla="*/ 1038225 h 4429225"/>
                    <a:gd name="connsiteX81" fmla="*/ 382927 w 4519987"/>
                    <a:gd name="connsiteY81" fmla="*/ 1009650 h 4429225"/>
                    <a:gd name="connsiteX82" fmla="*/ 440077 w 4519987"/>
                    <a:gd name="connsiteY82" fmla="*/ 904875 h 4429225"/>
                    <a:gd name="connsiteX83" fmla="*/ 478177 w 4519987"/>
                    <a:gd name="connsiteY83" fmla="*/ 857250 h 4429225"/>
                    <a:gd name="connsiteX84" fmla="*/ 497227 w 4519987"/>
                    <a:gd name="connsiteY84" fmla="*/ 828675 h 4429225"/>
                    <a:gd name="connsiteX85" fmla="*/ 535327 w 4519987"/>
                    <a:gd name="connsiteY85" fmla="*/ 800100 h 4429225"/>
                    <a:gd name="connsiteX86" fmla="*/ 602002 w 4519987"/>
                    <a:gd name="connsiteY86" fmla="*/ 733425 h 4429225"/>
                    <a:gd name="connsiteX87" fmla="*/ 668677 w 4519987"/>
                    <a:gd name="connsiteY87" fmla="*/ 676275 h 4429225"/>
                    <a:gd name="connsiteX88" fmla="*/ 697252 w 4519987"/>
                    <a:gd name="connsiteY88" fmla="*/ 657225 h 4429225"/>
                    <a:gd name="connsiteX89" fmla="*/ 840127 w 4519987"/>
                    <a:gd name="connsiteY89" fmla="*/ 533400 h 4429225"/>
                    <a:gd name="connsiteX90" fmla="*/ 887752 w 4519987"/>
                    <a:gd name="connsiteY90" fmla="*/ 504825 h 4429225"/>
                    <a:gd name="connsiteX91" fmla="*/ 1167152 w 4519987"/>
                    <a:gd name="connsiteY91" fmla="*/ 311150 h 4429225"/>
                    <a:gd name="connsiteX92" fmla="*/ 1268752 w 4519987"/>
                    <a:gd name="connsiteY92" fmla="*/ 285750 h 4429225"/>
                    <a:gd name="connsiteX93" fmla="*/ 1411627 w 4519987"/>
                    <a:gd name="connsiteY93" fmla="*/ 190500 h 4429225"/>
                    <a:gd name="connsiteX94" fmla="*/ 1449727 w 4519987"/>
                    <a:gd name="connsiteY94" fmla="*/ 161925 h 4429225"/>
                    <a:gd name="connsiteX95" fmla="*/ 1525927 w 4519987"/>
                    <a:gd name="connsiteY95" fmla="*/ 152400 h 4429225"/>
                    <a:gd name="connsiteX96" fmla="*/ 1583077 w 4519987"/>
                    <a:gd name="connsiteY96" fmla="*/ 142875 h 4429225"/>
                    <a:gd name="connsiteX97" fmla="*/ 1716427 w 4519987"/>
                    <a:gd name="connsiteY97" fmla="*/ 123825 h 4429225"/>
                    <a:gd name="connsiteX98" fmla="*/ 1811677 w 4519987"/>
                    <a:gd name="connsiteY98" fmla="*/ 114300 h 4429225"/>
                    <a:gd name="connsiteX99" fmla="*/ 1859302 w 4519987"/>
                    <a:gd name="connsiteY99" fmla="*/ 104775 h 4429225"/>
                    <a:gd name="connsiteX100" fmla="*/ 1916452 w 4519987"/>
                    <a:gd name="connsiteY100" fmla="*/ 95250 h 4429225"/>
                    <a:gd name="connsiteX101" fmla="*/ 2030752 w 4519987"/>
                    <a:gd name="connsiteY101" fmla="*/ 66675 h 4429225"/>
                    <a:gd name="connsiteX102" fmla="*/ 2097427 w 4519987"/>
                    <a:gd name="connsiteY102" fmla="*/ 47625 h 4429225"/>
                    <a:gd name="connsiteX103" fmla="*/ 2164102 w 4519987"/>
                    <a:gd name="connsiteY103" fmla="*/ 38100 h 4429225"/>
                    <a:gd name="connsiteX104" fmla="*/ 2392702 w 4519987"/>
                    <a:gd name="connsiteY10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278152 w 4519987"/>
                    <a:gd name="connsiteY54" fmla="*/ 3257550 h 4429225"/>
                    <a:gd name="connsiteX55" fmla="*/ 249577 w 4519987"/>
                    <a:gd name="connsiteY55" fmla="*/ 3200400 h 4429225"/>
                    <a:gd name="connsiteX56" fmla="*/ 240052 w 4519987"/>
                    <a:gd name="connsiteY56" fmla="*/ 3162300 h 4429225"/>
                    <a:gd name="connsiteX57" fmla="*/ 221002 w 4519987"/>
                    <a:gd name="connsiteY57" fmla="*/ 3105150 h 4429225"/>
                    <a:gd name="connsiteX58" fmla="*/ 173377 w 4519987"/>
                    <a:gd name="connsiteY58" fmla="*/ 3019425 h 4429225"/>
                    <a:gd name="connsiteX59" fmla="*/ 144802 w 4519987"/>
                    <a:gd name="connsiteY59" fmla="*/ 2924175 h 4429225"/>
                    <a:gd name="connsiteX60" fmla="*/ 68602 w 4519987"/>
                    <a:gd name="connsiteY60" fmla="*/ 2724150 h 4429225"/>
                    <a:gd name="connsiteX61" fmla="*/ 49552 w 4519987"/>
                    <a:gd name="connsiteY61" fmla="*/ 2638425 h 4429225"/>
                    <a:gd name="connsiteX62" fmla="*/ 40027 w 4519987"/>
                    <a:gd name="connsiteY62" fmla="*/ 2562225 h 4429225"/>
                    <a:gd name="connsiteX63" fmla="*/ 30502 w 4519987"/>
                    <a:gd name="connsiteY63" fmla="*/ 2514600 h 4429225"/>
                    <a:gd name="connsiteX64" fmla="*/ 11452 w 4519987"/>
                    <a:gd name="connsiteY64" fmla="*/ 2400300 h 4429225"/>
                    <a:gd name="connsiteX65" fmla="*/ 20977 w 4519987"/>
                    <a:gd name="connsiteY65" fmla="*/ 1905000 h 4429225"/>
                    <a:gd name="connsiteX66" fmla="*/ 30502 w 4519987"/>
                    <a:gd name="connsiteY66" fmla="*/ 1838325 h 4429225"/>
                    <a:gd name="connsiteX67" fmla="*/ 49552 w 4519987"/>
                    <a:gd name="connsiteY67" fmla="*/ 1781175 h 4429225"/>
                    <a:gd name="connsiteX68" fmla="*/ 59077 w 4519987"/>
                    <a:gd name="connsiteY68" fmla="*/ 1743075 h 4429225"/>
                    <a:gd name="connsiteX69" fmla="*/ 78127 w 4519987"/>
                    <a:gd name="connsiteY69" fmla="*/ 1685925 h 4429225"/>
                    <a:gd name="connsiteX70" fmla="*/ 87652 w 4519987"/>
                    <a:gd name="connsiteY70" fmla="*/ 1638300 h 4429225"/>
                    <a:gd name="connsiteX71" fmla="*/ 106702 w 4519987"/>
                    <a:gd name="connsiteY71" fmla="*/ 1590675 h 4429225"/>
                    <a:gd name="connsiteX72" fmla="*/ 135277 w 4519987"/>
                    <a:gd name="connsiteY72" fmla="*/ 1504950 h 4429225"/>
                    <a:gd name="connsiteX73" fmla="*/ 154327 w 4519987"/>
                    <a:gd name="connsiteY73" fmla="*/ 1419225 h 4429225"/>
                    <a:gd name="connsiteX74" fmla="*/ 230527 w 4519987"/>
                    <a:gd name="connsiteY74" fmla="*/ 1276350 h 4429225"/>
                    <a:gd name="connsiteX75" fmla="*/ 240052 w 4519987"/>
                    <a:gd name="connsiteY75" fmla="*/ 1247775 h 4429225"/>
                    <a:gd name="connsiteX76" fmla="*/ 268627 w 4519987"/>
                    <a:gd name="connsiteY76" fmla="*/ 1200150 h 4429225"/>
                    <a:gd name="connsiteX77" fmla="*/ 287677 w 4519987"/>
                    <a:gd name="connsiteY77" fmla="*/ 1152525 h 4429225"/>
                    <a:gd name="connsiteX78" fmla="*/ 316252 w 4519987"/>
                    <a:gd name="connsiteY78" fmla="*/ 1114425 h 4429225"/>
                    <a:gd name="connsiteX79" fmla="*/ 363877 w 4519987"/>
                    <a:gd name="connsiteY79" fmla="*/ 1038225 h 4429225"/>
                    <a:gd name="connsiteX80" fmla="*/ 382927 w 4519987"/>
                    <a:gd name="connsiteY80" fmla="*/ 1009650 h 4429225"/>
                    <a:gd name="connsiteX81" fmla="*/ 440077 w 4519987"/>
                    <a:gd name="connsiteY81" fmla="*/ 904875 h 4429225"/>
                    <a:gd name="connsiteX82" fmla="*/ 478177 w 4519987"/>
                    <a:gd name="connsiteY82" fmla="*/ 857250 h 4429225"/>
                    <a:gd name="connsiteX83" fmla="*/ 497227 w 4519987"/>
                    <a:gd name="connsiteY83" fmla="*/ 828675 h 4429225"/>
                    <a:gd name="connsiteX84" fmla="*/ 535327 w 4519987"/>
                    <a:gd name="connsiteY84" fmla="*/ 800100 h 4429225"/>
                    <a:gd name="connsiteX85" fmla="*/ 602002 w 4519987"/>
                    <a:gd name="connsiteY85" fmla="*/ 733425 h 4429225"/>
                    <a:gd name="connsiteX86" fmla="*/ 668677 w 4519987"/>
                    <a:gd name="connsiteY86" fmla="*/ 676275 h 4429225"/>
                    <a:gd name="connsiteX87" fmla="*/ 697252 w 4519987"/>
                    <a:gd name="connsiteY87" fmla="*/ 657225 h 4429225"/>
                    <a:gd name="connsiteX88" fmla="*/ 840127 w 4519987"/>
                    <a:gd name="connsiteY88" fmla="*/ 533400 h 4429225"/>
                    <a:gd name="connsiteX89" fmla="*/ 887752 w 4519987"/>
                    <a:gd name="connsiteY89" fmla="*/ 504825 h 4429225"/>
                    <a:gd name="connsiteX90" fmla="*/ 1167152 w 4519987"/>
                    <a:gd name="connsiteY90" fmla="*/ 311150 h 4429225"/>
                    <a:gd name="connsiteX91" fmla="*/ 1268752 w 4519987"/>
                    <a:gd name="connsiteY91" fmla="*/ 285750 h 4429225"/>
                    <a:gd name="connsiteX92" fmla="*/ 1411627 w 4519987"/>
                    <a:gd name="connsiteY92" fmla="*/ 190500 h 4429225"/>
                    <a:gd name="connsiteX93" fmla="*/ 1449727 w 4519987"/>
                    <a:gd name="connsiteY93" fmla="*/ 161925 h 4429225"/>
                    <a:gd name="connsiteX94" fmla="*/ 1525927 w 4519987"/>
                    <a:gd name="connsiteY94" fmla="*/ 152400 h 4429225"/>
                    <a:gd name="connsiteX95" fmla="*/ 1583077 w 4519987"/>
                    <a:gd name="connsiteY95" fmla="*/ 142875 h 4429225"/>
                    <a:gd name="connsiteX96" fmla="*/ 1716427 w 4519987"/>
                    <a:gd name="connsiteY96" fmla="*/ 123825 h 4429225"/>
                    <a:gd name="connsiteX97" fmla="*/ 1811677 w 4519987"/>
                    <a:gd name="connsiteY97" fmla="*/ 114300 h 4429225"/>
                    <a:gd name="connsiteX98" fmla="*/ 1859302 w 4519987"/>
                    <a:gd name="connsiteY98" fmla="*/ 104775 h 4429225"/>
                    <a:gd name="connsiteX99" fmla="*/ 1916452 w 4519987"/>
                    <a:gd name="connsiteY99" fmla="*/ 95250 h 4429225"/>
                    <a:gd name="connsiteX100" fmla="*/ 2030752 w 4519987"/>
                    <a:gd name="connsiteY100" fmla="*/ 66675 h 4429225"/>
                    <a:gd name="connsiteX101" fmla="*/ 2097427 w 4519987"/>
                    <a:gd name="connsiteY101" fmla="*/ 47625 h 4429225"/>
                    <a:gd name="connsiteX102" fmla="*/ 2164102 w 4519987"/>
                    <a:gd name="connsiteY102" fmla="*/ 38100 h 4429225"/>
                    <a:gd name="connsiteX103" fmla="*/ 2392702 w 4519987"/>
                    <a:gd name="connsiteY10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40077 w 4519987"/>
                    <a:gd name="connsiteY52" fmla="*/ 3495675 h 4429225"/>
                    <a:gd name="connsiteX53" fmla="*/ 278152 w 4519987"/>
                    <a:gd name="connsiteY53" fmla="*/ 3257550 h 4429225"/>
                    <a:gd name="connsiteX54" fmla="*/ 249577 w 4519987"/>
                    <a:gd name="connsiteY54" fmla="*/ 3200400 h 4429225"/>
                    <a:gd name="connsiteX55" fmla="*/ 240052 w 4519987"/>
                    <a:gd name="connsiteY55" fmla="*/ 3162300 h 4429225"/>
                    <a:gd name="connsiteX56" fmla="*/ 221002 w 4519987"/>
                    <a:gd name="connsiteY56" fmla="*/ 3105150 h 4429225"/>
                    <a:gd name="connsiteX57" fmla="*/ 173377 w 4519987"/>
                    <a:gd name="connsiteY57" fmla="*/ 3019425 h 4429225"/>
                    <a:gd name="connsiteX58" fmla="*/ 144802 w 4519987"/>
                    <a:gd name="connsiteY58" fmla="*/ 2924175 h 4429225"/>
                    <a:gd name="connsiteX59" fmla="*/ 68602 w 4519987"/>
                    <a:gd name="connsiteY59" fmla="*/ 2724150 h 4429225"/>
                    <a:gd name="connsiteX60" fmla="*/ 49552 w 4519987"/>
                    <a:gd name="connsiteY60" fmla="*/ 2638425 h 4429225"/>
                    <a:gd name="connsiteX61" fmla="*/ 40027 w 4519987"/>
                    <a:gd name="connsiteY61" fmla="*/ 2562225 h 4429225"/>
                    <a:gd name="connsiteX62" fmla="*/ 30502 w 4519987"/>
                    <a:gd name="connsiteY62" fmla="*/ 2514600 h 4429225"/>
                    <a:gd name="connsiteX63" fmla="*/ 11452 w 4519987"/>
                    <a:gd name="connsiteY63" fmla="*/ 2400300 h 4429225"/>
                    <a:gd name="connsiteX64" fmla="*/ 20977 w 4519987"/>
                    <a:gd name="connsiteY64" fmla="*/ 1905000 h 4429225"/>
                    <a:gd name="connsiteX65" fmla="*/ 30502 w 4519987"/>
                    <a:gd name="connsiteY65" fmla="*/ 1838325 h 4429225"/>
                    <a:gd name="connsiteX66" fmla="*/ 49552 w 4519987"/>
                    <a:gd name="connsiteY66" fmla="*/ 1781175 h 4429225"/>
                    <a:gd name="connsiteX67" fmla="*/ 59077 w 4519987"/>
                    <a:gd name="connsiteY67" fmla="*/ 1743075 h 4429225"/>
                    <a:gd name="connsiteX68" fmla="*/ 78127 w 4519987"/>
                    <a:gd name="connsiteY68" fmla="*/ 1685925 h 4429225"/>
                    <a:gd name="connsiteX69" fmla="*/ 87652 w 4519987"/>
                    <a:gd name="connsiteY69" fmla="*/ 1638300 h 4429225"/>
                    <a:gd name="connsiteX70" fmla="*/ 106702 w 4519987"/>
                    <a:gd name="connsiteY70" fmla="*/ 1590675 h 4429225"/>
                    <a:gd name="connsiteX71" fmla="*/ 135277 w 4519987"/>
                    <a:gd name="connsiteY71" fmla="*/ 1504950 h 4429225"/>
                    <a:gd name="connsiteX72" fmla="*/ 154327 w 4519987"/>
                    <a:gd name="connsiteY72" fmla="*/ 1419225 h 4429225"/>
                    <a:gd name="connsiteX73" fmla="*/ 230527 w 4519987"/>
                    <a:gd name="connsiteY73" fmla="*/ 1276350 h 4429225"/>
                    <a:gd name="connsiteX74" fmla="*/ 240052 w 4519987"/>
                    <a:gd name="connsiteY74" fmla="*/ 1247775 h 4429225"/>
                    <a:gd name="connsiteX75" fmla="*/ 268627 w 4519987"/>
                    <a:gd name="connsiteY75" fmla="*/ 1200150 h 4429225"/>
                    <a:gd name="connsiteX76" fmla="*/ 287677 w 4519987"/>
                    <a:gd name="connsiteY76" fmla="*/ 1152525 h 4429225"/>
                    <a:gd name="connsiteX77" fmla="*/ 316252 w 4519987"/>
                    <a:gd name="connsiteY77" fmla="*/ 1114425 h 4429225"/>
                    <a:gd name="connsiteX78" fmla="*/ 363877 w 4519987"/>
                    <a:gd name="connsiteY78" fmla="*/ 1038225 h 4429225"/>
                    <a:gd name="connsiteX79" fmla="*/ 382927 w 4519987"/>
                    <a:gd name="connsiteY79" fmla="*/ 1009650 h 4429225"/>
                    <a:gd name="connsiteX80" fmla="*/ 440077 w 4519987"/>
                    <a:gd name="connsiteY80" fmla="*/ 904875 h 4429225"/>
                    <a:gd name="connsiteX81" fmla="*/ 478177 w 4519987"/>
                    <a:gd name="connsiteY81" fmla="*/ 857250 h 4429225"/>
                    <a:gd name="connsiteX82" fmla="*/ 497227 w 4519987"/>
                    <a:gd name="connsiteY82" fmla="*/ 828675 h 4429225"/>
                    <a:gd name="connsiteX83" fmla="*/ 535327 w 4519987"/>
                    <a:gd name="connsiteY83" fmla="*/ 800100 h 4429225"/>
                    <a:gd name="connsiteX84" fmla="*/ 602002 w 4519987"/>
                    <a:gd name="connsiteY84" fmla="*/ 733425 h 4429225"/>
                    <a:gd name="connsiteX85" fmla="*/ 668677 w 4519987"/>
                    <a:gd name="connsiteY85" fmla="*/ 676275 h 4429225"/>
                    <a:gd name="connsiteX86" fmla="*/ 697252 w 4519987"/>
                    <a:gd name="connsiteY86" fmla="*/ 657225 h 4429225"/>
                    <a:gd name="connsiteX87" fmla="*/ 840127 w 4519987"/>
                    <a:gd name="connsiteY87" fmla="*/ 533400 h 4429225"/>
                    <a:gd name="connsiteX88" fmla="*/ 887752 w 4519987"/>
                    <a:gd name="connsiteY88" fmla="*/ 504825 h 4429225"/>
                    <a:gd name="connsiteX89" fmla="*/ 1167152 w 4519987"/>
                    <a:gd name="connsiteY89" fmla="*/ 311150 h 4429225"/>
                    <a:gd name="connsiteX90" fmla="*/ 1268752 w 4519987"/>
                    <a:gd name="connsiteY90" fmla="*/ 285750 h 4429225"/>
                    <a:gd name="connsiteX91" fmla="*/ 1411627 w 4519987"/>
                    <a:gd name="connsiteY91" fmla="*/ 190500 h 4429225"/>
                    <a:gd name="connsiteX92" fmla="*/ 1449727 w 4519987"/>
                    <a:gd name="connsiteY92" fmla="*/ 161925 h 4429225"/>
                    <a:gd name="connsiteX93" fmla="*/ 1525927 w 4519987"/>
                    <a:gd name="connsiteY93" fmla="*/ 152400 h 4429225"/>
                    <a:gd name="connsiteX94" fmla="*/ 1583077 w 4519987"/>
                    <a:gd name="connsiteY94" fmla="*/ 142875 h 4429225"/>
                    <a:gd name="connsiteX95" fmla="*/ 1716427 w 4519987"/>
                    <a:gd name="connsiteY95" fmla="*/ 123825 h 4429225"/>
                    <a:gd name="connsiteX96" fmla="*/ 1811677 w 4519987"/>
                    <a:gd name="connsiteY96" fmla="*/ 114300 h 4429225"/>
                    <a:gd name="connsiteX97" fmla="*/ 1859302 w 4519987"/>
                    <a:gd name="connsiteY97" fmla="*/ 104775 h 4429225"/>
                    <a:gd name="connsiteX98" fmla="*/ 1916452 w 4519987"/>
                    <a:gd name="connsiteY98" fmla="*/ 95250 h 4429225"/>
                    <a:gd name="connsiteX99" fmla="*/ 2030752 w 4519987"/>
                    <a:gd name="connsiteY99" fmla="*/ 66675 h 4429225"/>
                    <a:gd name="connsiteX100" fmla="*/ 2097427 w 4519987"/>
                    <a:gd name="connsiteY100" fmla="*/ 47625 h 4429225"/>
                    <a:gd name="connsiteX101" fmla="*/ 2164102 w 4519987"/>
                    <a:gd name="connsiteY101" fmla="*/ 38100 h 4429225"/>
                    <a:gd name="connsiteX102" fmla="*/ 2392702 w 4519987"/>
                    <a:gd name="connsiteY10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40052 w 4519987"/>
                    <a:gd name="connsiteY54" fmla="*/ 3162300 h 4429225"/>
                    <a:gd name="connsiteX55" fmla="*/ 221002 w 4519987"/>
                    <a:gd name="connsiteY55" fmla="*/ 3105150 h 4429225"/>
                    <a:gd name="connsiteX56" fmla="*/ 173377 w 4519987"/>
                    <a:gd name="connsiteY56" fmla="*/ 3019425 h 4429225"/>
                    <a:gd name="connsiteX57" fmla="*/ 144802 w 4519987"/>
                    <a:gd name="connsiteY57" fmla="*/ 2924175 h 4429225"/>
                    <a:gd name="connsiteX58" fmla="*/ 68602 w 4519987"/>
                    <a:gd name="connsiteY58" fmla="*/ 2724150 h 4429225"/>
                    <a:gd name="connsiteX59" fmla="*/ 49552 w 4519987"/>
                    <a:gd name="connsiteY59" fmla="*/ 2638425 h 4429225"/>
                    <a:gd name="connsiteX60" fmla="*/ 40027 w 4519987"/>
                    <a:gd name="connsiteY60" fmla="*/ 2562225 h 4429225"/>
                    <a:gd name="connsiteX61" fmla="*/ 30502 w 4519987"/>
                    <a:gd name="connsiteY61" fmla="*/ 2514600 h 4429225"/>
                    <a:gd name="connsiteX62" fmla="*/ 11452 w 4519987"/>
                    <a:gd name="connsiteY62" fmla="*/ 2400300 h 4429225"/>
                    <a:gd name="connsiteX63" fmla="*/ 20977 w 4519987"/>
                    <a:gd name="connsiteY63" fmla="*/ 1905000 h 4429225"/>
                    <a:gd name="connsiteX64" fmla="*/ 30502 w 4519987"/>
                    <a:gd name="connsiteY64" fmla="*/ 1838325 h 4429225"/>
                    <a:gd name="connsiteX65" fmla="*/ 49552 w 4519987"/>
                    <a:gd name="connsiteY65" fmla="*/ 1781175 h 4429225"/>
                    <a:gd name="connsiteX66" fmla="*/ 59077 w 4519987"/>
                    <a:gd name="connsiteY66" fmla="*/ 1743075 h 4429225"/>
                    <a:gd name="connsiteX67" fmla="*/ 78127 w 4519987"/>
                    <a:gd name="connsiteY67" fmla="*/ 1685925 h 4429225"/>
                    <a:gd name="connsiteX68" fmla="*/ 87652 w 4519987"/>
                    <a:gd name="connsiteY68" fmla="*/ 1638300 h 4429225"/>
                    <a:gd name="connsiteX69" fmla="*/ 106702 w 4519987"/>
                    <a:gd name="connsiteY69" fmla="*/ 1590675 h 4429225"/>
                    <a:gd name="connsiteX70" fmla="*/ 135277 w 4519987"/>
                    <a:gd name="connsiteY70" fmla="*/ 1504950 h 4429225"/>
                    <a:gd name="connsiteX71" fmla="*/ 154327 w 4519987"/>
                    <a:gd name="connsiteY71" fmla="*/ 1419225 h 4429225"/>
                    <a:gd name="connsiteX72" fmla="*/ 230527 w 4519987"/>
                    <a:gd name="connsiteY72" fmla="*/ 1276350 h 4429225"/>
                    <a:gd name="connsiteX73" fmla="*/ 240052 w 4519987"/>
                    <a:gd name="connsiteY73" fmla="*/ 1247775 h 4429225"/>
                    <a:gd name="connsiteX74" fmla="*/ 268627 w 4519987"/>
                    <a:gd name="connsiteY74" fmla="*/ 1200150 h 4429225"/>
                    <a:gd name="connsiteX75" fmla="*/ 287677 w 4519987"/>
                    <a:gd name="connsiteY75" fmla="*/ 1152525 h 4429225"/>
                    <a:gd name="connsiteX76" fmla="*/ 316252 w 4519987"/>
                    <a:gd name="connsiteY76" fmla="*/ 1114425 h 4429225"/>
                    <a:gd name="connsiteX77" fmla="*/ 363877 w 4519987"/>
                    <a:gd name="connsiteY77" fmla="*/ 1038225 h 4429225"/>
                    <a:gd name="connsiteX78" fmla="*/ 382927 w 4519987"/>
                    <a:gd name="connsiteY78" fmla="*/ 1009650 h 4429225"/>
                    <a:gd name="connsiteX79" fmla="*/ 440077 w 4519987"/>
                    <a:gd name="connsiteY79" fmla="*/ 904875 h 4429225"/>
                    <a:gd name="connsiteX80" fmla="*/ 478177 w 4519987"/>
                    <a:gd name="connsiteY80" fmla="*/ 857250 h 4429225"/>
                    <a:gd name="connsiteX81" fmla="*/ 497227 w 4519987"/>
                    <a:gd name="connsiteY81" fmla="*/ 828675 h 4429225"/>
                    <a:gd name="connsiteX82" fmla="*/ 535327 w 4519987"/>
                    <a:gd name="connsiteY82" fmla="*/ 800100 h 4429225"/>
                    <a:gd name="connsiteX83" fmla="*/ 602002 w 4519987"/>
                    <a:gd name="connsiteY83" fmla="*/ 733425 h 4429225"/>
                    <a:gd name="connsiteX84" fmla="*/ 668677 w 4519987"/>
                    <a:gd name="connsiteY84" fmla="*/ 676275 h 4429225"/>
                    <a:gd name="connsiteX85" fmla="*/ 697252 w 4519987"/>
                    <a:gd name="connsiteY85" fmla="*/ 657225 h 4429225"/>
                    <a:gd name="connsiteX86" fmla="*/ 840127 w 4519987"/>
                    <a:gd name="connsiteY86" fmla="*/ 533400 h 4429225"/>
                    <a:gd name="connsiteX87" fmla="*/ 887752 w 4519987"/>
                    <a:gd name="connsiteY87" fmla="*/ 504825 h 4429225"/>
                    <a:gd name="connsiteX88" fmla="*/ 1167152 w 4519987"/>
                    <a:gd name="connsiteY88" fmla="*/ 311150 h 4429225"/>
                    <a:gd name="connsiteX89" fmla="*/ 1268752 w 4519987"/>
                    <a:gd name="connsiteY89" fmla="*/ 285750 h 4429225"/>
                    <a:gd name="connsiteX90" fmla="*/ 1411627 w 4519987"/>
                    <a:gd name="connsiteY90" fmla="*/ 190500 h 4429225"/>
                    <a:gd name="connsiteX91" fmla="*/ 1449727 w 4519987"/>
                    <a:gd name="connsiteY91" fmla="*/ 161925 h 4429225"/>
                    <a:gd name="connsiteX92" fmla="*/ 1525927 w 4519987"/>
                    <a:gd name="connsiteY92" fmla="*/ 152400 h 4429225"/>
                    <a:gd name="connsiteX93" fmla="*/ 1583077 w 4519987"/>
                    <a:gd name="connsiteY93" fmla="*/ 142875 h 4429225"/>
                    <a:gd name="connsiteX94" fmla="*/ 1716427 w 4519987"/>
                    <a:gd name="connsiteY94" fmla="*/ 123825 h 4429225"/>
                    <a:gd name="connsiteX95" fmla="*/ 1811677 w 4519987"/>
                    <a:gd name="connsiteY95" fmla="*/ 114300 h 4429225"/>
                    <a:gd name="connsiteX96" fmla="*/ 1859302 w 4519987"/>
                    <a:gd name="connsiteY96" fmla="*/ 104775 h 4429225"/>
                    <a:gd name="connsiteX97" fmla="*/ 1916452 w 4519987"/>
                    <a:gd name="connsiteY97" fmla="*/ 95250 h 4429225"/>
                    <a:gd name="connsiteX98" fmla="*/ 2030752 w 4519987"/>
                    <a:gd name="connsiteY98" fmla="*/ 66675 h 4429225"/>
                    <a:gd name="connsiteX99" fmla="*/ 2097427 w 4519987"/>
                    <a:gd name="connsiteY99" fmla="*/ 47625 h 4429225"/>
                    <a:gd name="connsiteX100" fmla="*/ 2164102 w 4519987"/>
                    <a:gd name="connsiteY100" fmla="*/ 38100 h 4429225"/>
                    <a:gd name="connsiteX101" fmla="*/ 2392702 w 4519987"/>
                    <a:gd name="connsiteY10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21002 w 4519987"/>
                    <a:gd name="connsiteY54" fmla="*/ 3105150 h 4429225"/>
                    <a:gd name="connsiteX55" fmla="*/ 173377 w 4519987"/>
                    <a:gd name="connsiteY55" fmla="*/ 3019425 h 4429225"/>
                    <a:gd name="connsiteX56" fmla="*/ 144802 w 4519987"/>
                    <a:gd name="connsiteY56" fmla="*/ 2924175 h 4429225"/>
                    <a:gd name="connsiteX57" fmla="*/ 68602 w 4519987"/>
                    <a:gd name="connsiteY57" fmla="*/ 2724150 h 4429225"/>
                    <a:gd name="connsiteX58" fmla="*/ 49552 w 4519987"/>
                    <a:gd name="connsiteY58" fmla="*/ 2638425 h 4429225"/>
                    <a:gd name="connsiteX59" fmla="*/ 40027 w 4519987"/>
                    <a:gd name="connsiteY59" fmla="*/ 2562225 h 4429225"/>
                    <a:gd name="connsiteX60" fmla="*/ 30502 w 4519987"/>
                    <a:gd name="connsiteY60" fmla="*/ 2514600 h 4429225"/>
                    <a:gd name="connsiteX61" fmla="*/ 11452 w 4519987"/>
                    <a:gd name="connsiteY61" fmla="*/ 2400300 h 4429225"/>
                    <a:gd name="connsiteX62" fmla="*/ 20977 w 4519987"/>
                    <a:gd name="connsiteY62" fmla="*/ 1905000 h 4429225"/>
                    <a:gd name="connsiteX63" fmla="*/ 30502 w 4519987"/>
                    <a:gd name="connsiteY63" fmla="*/ 1838325 h 4429225"/>
                    <a:gd name="connsiteX64" fmla="*/ 49552 w 4519987"/>
                    <a:gd name="connsiteY64" fmla="*/ 1781175 h 4429225"/>
                    <a:gd name="connsiteX65" fmla="*/ 59077 w 4519987"/>
                    <a:gd name="connsiteY65" fmla="*/ 1743075 h 4429225"/>
                    <a:gd name="connsiteX66" fmla="*/ 78127 w 4519987"/>
                    <a:gd name="connsiteY66" fmla="*/ 1685925 h 4429225"/>
                    <a:gd name="connsiteX67" fmla="*/ 87652 w 4519987"/>
                    <a:gd name="connsiteY67" fmla="*/ 1638300 h 4429225"/>
                    <a:gd name="connsiteX68" fmla="*/ 106702 w 4519987"/>
                    <a:gd name="connsiteY68" fmla="*/ 1590675 h 4429225"/>
                    <a:gd name="connsiteX69" fmla="*/ 135277 w 4519987"/>
                    <a:gd name="connsiteY69" fmla="*/ 1504950 h 4429225"/>
                    <a:gd name="connsiteX70" fmla="*/ 154327 w 4519987"/>
                    <a:gd name="connsiteY70" fmla="*/ 1419225 h 4429225"/>
                    <a:gd name="connsiteX71" fmla="*/ 230527 w 4519987"/>
                    <a:gd name="connsiteY71" fmla="*/ 1276350 h 4429225"/>
                    <a:gd name="connsiteX72" fmla="*/ 240052 w 4519987"/>
                    <a:gd name="connsiteY72" fmla="*/ 1247775 h 4429225"/>
                    <a:gd name="connsiteX73" fmla="*/ 268627 w 4519987"/>
                    <a:gd name="connsiteY73" fmla="*/ 1200150 h 4429225"/>
                    <a:gd name="connsiteX74" fmla="*/ 287677 w 4519987"/>
                    <a:gd name="connsiteY74" fmla="*/ 1152525 h 4429225"/>
                    <a:gd name="connsiteX75" fmla="*/ 316252 w 4519987"/>
                    <a:gd name="connsiteY75" fmla="*/ 1114425 h 4429225"/>
                    <a:gd name="connsiteX76" fmla="*/ 363877 w 4519987"/>
                    <a:gd name="connsiteY76" fmla="*/ 1038225 h 4429225"/>
                    <a:gd name="connsiteX77" fmla="*/ 382927 w 4519987"/>
                    <a:gd name="connsiteY77" fmla="*/ 1009650 h 4429225"/>
                    <a:gd name="connsiteX78" fmla="*/ 440077 w 4519987"/>
                    <a:gd name="connsiteY78" fmla="*/ 904875 h 4429225"/>
                    <a:gd name="connsiteX79" fmla="*/ 478177 w 4519987"/>
                    <a:gd name="connsiteY79" fmla="*/ 857250 h 4429225"/>
                    <a:gd name="connsiteX80" fmla="*/ 497227 w 4519987"/>
                    <a:gd name="connsiteY80" fmla="*/ 828675 h 4429225"/>
                    <a:gd name="connsiteX81" fmla="*/ 535327 w 4519987"/>
                    <a:gd name="connsiteY81" fmla="*/ 800100 h 4429225"/>
                    <a:gd name="connsiteX82" fmla="*/ 602002 w 4519987"/>
                    <a:gd name="connsiteY82" fmla="*/ 733425 h 4429225"/>
                    <a:gd name="connsiteX83" fmla="*/ 668677 w 4519987"/>
                    <a:gd name="connsiteY83" fmla="*/ 676275 h 4429225"/>
                    <a:gd name="connsiteX84" fmla="*/ 697252 w 4519987"/>
                    <a:gd name="connsiteY84" fmla="*/ 657225 h 4429225"/>
                    <a:gd name="connsiteX85" fmla="*/ 840127 w 4519987"/>
                    <a:gd name="connsiteY85" fmla="*/ 533400 h 4429225"/>
                    <a:gd name="connsiteX86" fmla="*/ 887752 w 4519987"/>
                    <a:gd name="connsiteY86" fmla="*/ 504825 h 4429225"/>
                    <a:gd name="connsiteX87" fmla="*/ 1167152 w 4519987"/>
                    <a:gd name="connsiteY87" fmla="*/ 311150 h 4429225"/>
                    <a:gd name="connsiteX88" fmla="*/ 1268752 w 4519987"/>
                    <a:gd name="connsiteY88" fmla="*/ 285750 h 4429225"/>
                    <a:gd name="connsiteX89" fmla="*/ 1411627 w 4519987"/>
                    <a:gd name="connsiteY89" fmla="*/ 190500 h 4429225"/>
                    <a:gd name="connsiteX90" fmla="*/ 1449727 w 4519987"/>
                    <a:gd name="connsiteY90" fmla="*/ 161925 h 4429225"/>
                    <a:gd name="connsiteX91" fmla="*/ 1525927 w 4519987"/>
                    <a:gd name="connsiteY91" fmla="*/ 152400 h 4429225"/>
                    <a:gd name="connsiteX92" fmla="*/ 1583077 w 4519987"/>
                    <a:gd name="connsiteY92" fmla="*/ 142875 h 4429225"/>
                    <a:gd name="connsiteX93" fmla="*/ 1716427 w 4519987"/>
                    <a:gd name="connsiteY93" fmla="*/ 123825 h 4429225"/>
                    <a:gd name="connsiteX94" fmla="*/ 1811677 w 4519987"/>
                    <a:gd name="connsiteY94" fmla="*/ 114300 h 4429225"/>
                    <a:gd name="connsiteX95" fmla="*/ 1859302 w 4519987"/>
                    <a:gd name="connsiteY95" fmla="*/ 104775 h 4429225"/>
                    <a:gd name="connsiteX96" fmla="*/ 1916452 w 4519987"/>
                    <a:gd name="connsiteY96" fmla="*/ 95250 h 4429225"/>
                    <a:gd name="connsiteX97" fmla="*/ 2030752 w 4519987"/>
                    <a:gd name="connsiteY97" fmla="*/ 66675 h 4429225"/>
                    <a:gd name="connsiteX98" fmla="*/ 2097427 w 4519987"/>
                    <a:gd name="connsiteY98" fmla="*/ 47625 h 4429225"/>
                    <a:gd name="connsiteX99" fmla="*/ 2164102 w 4519987"/>
                    <a:gd name="connsiteY99" fmla="*/ 38100 h 4429225"/>
                    <a:gd name="connsiteX100" fmla="*/ 2392702 w 4519987"/>
                    <a:gd name="connsiteY10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73377 w 4519987"/>
                    <a:gd name="connsiteY54" fmla="*/ 3019425 h 4429225"/>
                    <a:gd name="connsiteX55" fmla="*/ 144802 w 4519987"/>
                    <a:gd name="connsiteY55" fmla="*/ 2924175 h 4429225"/>
                    <a:gd name="connsiteX56" fmla="*/ 68602 w 4519987"/>
                    <a:gd name="connsiteY56" fmla="*/ 2724150 h 4429225"/>
                    <a:gd name="connsiteX57" fmla="*/ 49552 w 4519987"/>
                    <a:gd name="connsiteY57" fmla="*/ 2638425 h 4429225"/>
                    <a:gd name="connsiteX58" fmla="*/ 40027 w 4519987"/>
                    <a:gd name="connsiteY58" fmla="*/ 2562225 h 4429225"/>
                    <a:gd name="connsiteX59" fmla="*/ 30502 w 4519987"/>
                    <a:gd name="connsiteY59" fmla="*/ 2514600 h 4429225"/>
                    <a:gd name="connsiteX60" fmla="*/ 11452 w 4519987"/>
                    <a:gd name="connsiteY60" fmla="*/ 2400300 h 4429225"/>
                    <a:gd name="connsiteX61" fmla="*/ 20977 w 4519987"/>
                    <a:gd name="connsiteY61" fmla="*/ 1905000 h 4429225"/>
                    <a:gd name="connsiteX62" fmla="*/ 30502 w 4519987"/>
                    <a:gd name="connsiteY62" fmla="*/ 1838325 h 4429225"/>
                    <a:gd name="connsiteX63" fmla="*/ 49552 w 4519987"/>
                    <a:gd name="connsiteY63" fmla="*/ 1781175 h 4429225"/>
                    <a:gd name="connsiteX64" fmla="*/ 59077 w 4519987"/>
                    <a:gd name="connsiteY64" fmla="*/ 1743075 h 4429225"/>
                    <a:gd name="connsiteX65" fmla="*/ 78127 w 4519987"/>
                    <a:gd name="connsiteY65" fmla="*/ 1685925 h 4429225"/>
                    <a:gd name="connsiteX66" fmla="*/ 87652 w 4519987"/>
                    <a:gd name="connsiteY66" fmla="*/ 1638300 h 4429225"/>
                    <a:gd name="connsiteX67" fmla="*/ 106702 w 4519987"/>
                    <a:gd name="connsiteY67" fmla="*/ 1590675 h 4429225"/>
                    <a:gd name="connsiteX68" fmla="*/ 135277 w 4519987"/>
                    <a:gd name="connsiteY68" fmla="*/ 1504950 h 4429225"/>
                    <a:gd name="connsiteX69" fmla="*/ 154327 w 4519987"/>
                    <a:gd name="connsiteY69" fmla="*/ 1419225 h 4429225"/>
                    <a:gd name="connsiteX70" fmla="*/ 230527 w 4519987"/>
                    <a:gd name="connsiteY70" fmla="*/ 1276350 h 4429225"/>
                    <a:gd name="connsiteX71" fmla="*/ 240052 w 4519987"/>
                    <a:gd name="connsiteY71" fmla="*/ 1247775 h 4429225"/>
                    <a:gd name="connsiteX72" fmla="*/ 268627 w 4519987"/>
                    <a:gd name="connsiteY72" fmla="*/ 1200150 h 4429225"/>
                    <a:gd name="connsiteX73" fmla="*/ 287677 w 4519987"/>
                    <a:gd name="connsiteY73" fmla="*/ 1152525 h 4429225"/>
                    <a:gd name="connsiteX74" fmla="*/ 316252 w 4519987"/>
                    <a:gd name="connsiteY74" fmla="*/ 1114425 h 4429225"/>
                    <a:gd name="connsiteX75" fmla="*/ 363877 w 4519987"/>
                    <a:gd name="connsiteY75" fmla="*/ 1038225 h 4429225"/>
                    <a:gd name="connsiteX76" fmla="*/ 382927 w 4519987"/>
                    <a:gd name="connsiteY76" fmla="*/ 1009650 h 4429225"/>
                    <a:gd name="connsiteX77" fmla="*/ 440077 w 4519987"/>
                    <a:gd name="connsiteY77" fmla="*/ 904875 h 4429225"/>
                    <a:gd name="connsiteX78" fmla="*/ 478177 w 4519987"/>
                    <a:gd name="connsiteY78" fmla="*/ 857250 h 4429225"/>
                    <a:gd name="connsiteX79" fmla="*/ 497227 w 4519987"/>
                    <a:gd name="connsiteY79" fmla="*/ 828675 h 4429225"/>
                    <a:gd name="connsiteX80" fmla="*/ 535327 w 4519987"/>
                    <a:gd name="connsiteY80" fmla="*/ 800100 h 4429225"/>
                    <a:gd name="connsiteX81" fmla="*/ 602002 w 4519987"/>
                    <a:gd name="connsiteY81" fmla="*/ 733425 h 4429225"/>
                    <a:gd name="connsiteX82" fmla="*/ 668677 w 4519987"/>
                    <a:gd name="connsiteY82" fmla="*/ 676275 h 4429225"/>
                    <a:gd name="connsiteX83" fmla="*/ 697252 w 4519987"/>
                    <a:gd name="connsiteY83" fmla="*/ 657225 h 4429225"/>
                    <a:gd name="connsiteX84" fmla="*/ 840127 w 4519987"/>
                    <a:gd name="connsiteY84" fmla="*/ 533400 h 4429225"/>
                    <a:gd name="connsiteX85" fmla="*/ 887752 w 4519987"/>
                    <a:gd name="connsiteY85" fmla="*/ 504825 h 4429225"/>
                    <a:gd name="connsiteX86" fmla="*/ 1167152 w 4519987"/>
                    <a:gd name="connsiteY86" fmla="*/ 311150 h 4429225"/>
                    <a:gd name="connsiteX87" fmla="*/ 1268752 w 4519987"/>
                    <a:gd name="connsiteY87" fmla="*/ 285750 h 4429225"/>
                    <a:gd name="connsiteX88" fmla="*/ 1411627 w 4519987"/>
                    <a:gd name="connsiteY88" fmla="*/ 190500 h 4429225"/>
                    <a:gd name="connsiteX89" fmla="*/ 1449727 w 4519987"/>
                    <a:gd name="connsiteY89" fmla="*/ 161925 h 4429225"/>
                    <a:gd name="connsiteX90" fmla="*/ 1525927 w 4519987"/>
                    <a:gd name="connsiteY90" fmla="*/ 152400 h 4429225"/>
                    <a:gd name="connsiteX91" fmla="*/ 1583077 w 4519987"/>
                    <a:gd name="connsiteY91" fmla="*/ 142875 h 4429225"/>
                    <a:gd name="connsiteX92" fmla="*/ 1716427 w 4519987"/>
                    <a:gd name="connsiteY92" fmla="*/ 123825 h 4429225"/>
                    <a:gd name="connsiteX93" fmla="*/ 1811677 w 4519987"/>
                    <a:gd name="connsiteY93" fmla="*/ 114300 h 4429225"/>
                    <a:gd name="connsiteX94" fmla="*/ 1859302 w 4519987"/>
                    <a:gd name="connsiteY94" fmla="*/ 104775 h 4429225"/>
                    <a:gd name="connsiteX95" fmla="*/ 1916452 w 4519987"/>
                    <a:gd name="connsiteY95" fmla="*/ 95250 h 4429225"/>
                    <a:gd name="connsiteX96" fmla="*/ 2030752 w 4519987"/>
                    <a:gd name="connsiteY96" fmla="*/ 66675 h 4429225"/>
                    <a:gd name="connsiteX97" fmla="*/ 2097427 w 4519987"/>
                    <a:gd name="connsiteY97" fmla="*/ 47625 h 4429225"/>
                    <a:gd name="connsiteX98" fmla="*/ 2164102 w 4519987"/>
                    <a:gd name="connsiteY98" fmla="*/ 38100 h 4429225"/>
                    <a:gd name="connsiteX99" fmla="*/ 2392702 w 4519987"/>
                    <a:gd name="connsiteY9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9552 w 4519987"/>
                    <a:gd name="connsiteY56" fmla="*/ 2638425 h 4429225"/>
                    <a:gd name="connsiteX57" fmla="*/ 40027 w 4519987"/>
                    <a:gd name="connsiteY57" fmla="*/ 2562225 h 4429225"/>
                    <a:gd name="connsiteX58" fmla="*/ 30502 w 4519987"/>
                    <a:gd name="connsiteY58" fmla="*/ 2514600 h 4429225"/>
                    <a:gd name="connsiteX59" fmla="*/ 11452 w 4519987"/>
                    <a:gd name="connsiteY59" fmla="*/ 2400300 h 4429225"/>
                    <a:gd name="connsiteX60" fmla="*/ 20977 w 4519987"/>
                    <a:gd name="connsiteY60" fmla="*/ 1905000 h 4429225"/>
                    <a:gd name="connsiteX61" fmla="*/ 30502 w 4519987"/>
                    <a:gd name="connsiteY61" fmla="*/ 1838325 h 4429225"/>
                    <a:gd name="connsiteX62" fmla="*/ 49552 w 4519987"/>
                    <a:gd name="connsiteY62" fmla="*/ 1781175 h 4429225"/>
                    <a:gd name="connsiteX63" fmla="*/ 59077 w 4519987"/>
                    <a:gd name="connsiteY63" fmla="*/ 1743075 h 4429225"/>
                    <a:gd name="connsiteX64" fmla="*/ 78127 w 4519987"/>
                    <a:gd name="connsiteY64" fmla="*/ 1685925 h 4429225"/>
                    <a:gd name="connsiteX65" fmla="*/ 87652 w 4519987"/>
                    <a:gd name="connsiteY65" fmla="*/ 1638300 h 4429225"/>
                    <a:gd name="connsiteX66" fmla="*/ 106702 w 4519987"/>
                    <a:gd name="connsiteY66" fmla="*/ 1590675 h 4429225"/>
                    <a:gd name="connsiteX67" fmla="*/ 135277 w 4519987"/>
                    <a:gd name="connsiteY67" fmla="*/ 1504950 h 4429225"/>
                    <a:gd name="connsiteX68" fmla="*/ 154327 w 4519987"/>
                    <a:gd name="connsiteY68" fmla="*/ 1419225 h 4429225"/>
                    <a:gd name="connsiteX69" fmla="*/ 230527 w 4519987"/>
                    <a:gd name="connsiteY69" fmla="*/ 1276350 h 4429225"/>
                    <a:gd name="connsiteX70" fmla="*/ 240052 w 4519987"/>
                    <a:gd name="connsiteY70" fmla="*/ 1247775 h 4429225"/>
                    <a:gd name="connsiteX71" fmla="*/ 268627 w 4519987"/>
                    <a:gd name="connsiteY71" fmla="*/ 1200150 h 4429225"/>
                    <a:gd name="connsiteX72" fmla="*/ 287677 w 4519987"/>
                    <a:gd name="connsiteY72" fmla="*/ 1152525 h 4429225"/>
                    <a:gd name="connsiteX73" fmla="*/ 316252 w 4519987"/>
                    <a:gd name="connsiteY73" fmla="*/ 1114425 h 4429225"/>
                    <a:gd name="connsiteX74" fmla="*/ 363877 w 4519987"/>
                    <a:gd name="connsiteY74" fmla="*/ 1038225 h 4429225"/>
                    <a:gd name="connsiteX75" fmla="*/ 382927 w 4519987"/>
                    <a:gd name="connsiteY75" fmla="*/ 1009650 h 4429225"/>
                    <a:gd name="connsiteX76" fmla="*/ 440077 w 4519987"/>
                    <a:gd name="connsiteY76" fmla="*/ 904875 h 4429225"/>
                    <a:gd name="connsiteX77" fmla="*/ 478177 w 4519987"/>
                    <a:gd name="connsiteY77" fmla="*/ 857250 h 4429225"/>
                    <a:gd name="connsiteX78" fmla="*/ 497227 w 4519987"/>
                    <a:gd name="connsiteY78" fmla="*/ 828675 h 4429225"/>
                    <a:gd name="connsiteX79" fmla="*/ 535327 w 4519987"/>
                    <a:gd name="connsiteY79" fmla="*/ 800100 h 4429225"/>
                    <a:gd name="connsiteX80" fmla="*/ 602002 w 4519987"/>
                    <a:gd name="connsiteY80" fmla="*/ 733425 h 4429225"/>
                    <a:gd name="connsiteX81" fmla="*/ 668677 w 4519987"/>
                    <a:gd name="connsiteY81" fmla="*/ 676275 h 4429225"/>
                    <a:gd name="connsiteX82" fmla="*/ 697252 w 4519987"/>
                    <a:gd name="connsiteY82" fmla="*/ 657225 h 4429225"/>
                    <a:gd name="connsiteX83" fmla="*/ 840127 w 4519987"/>
                    <a:gd name="connsiteY83" fmla="*/ 533400 h 4429225"/>
                    <a:gd name="connsiteX84" fmla="*/ 887752 w 4519987"/>
                    <a:gd name="connsiteY84" fmla="*/ 504825 h 4429225"/>
                    <a:gd name="connsiteX85" fmla="*/ 1167152 w 4519987"/>
                    <a:gd name="connsiteY85" fmla="*/ 311150 h 4429225"/>
                    <a:gd name="connsiteX86" fmla="*/ 1268752 w 4519987"/>
                    <a:gd name="connsiteY86" fmla="*/ 285750 h 4429225"/>
                    <a:gd name="connsiteX87" fmla="*/ 1411627 w 4519987"/>
                    <a:gd name="connsiteY87" fmla="*/ 190500 h 4429225"/>
                    <a:gd name="connsiteX88" fmla="*/ 1449727 w 4519987"/>
                    <a:gd name="connsiteY88" fmla="*/ 161925 h 4429225"/>
                    <a:gd name="connsiteX89" fmla="*/ 1525927 w 4519987"/>
                    <a:gd name="connsiteY89" fmla="*/ 152400 h 4429225"/>
                    <a:gd name="connsiteX90" fmla="*/ 1583077 w 4519987"/>
                    <a:gd name="connsiteY90" fmla="*/ 142875 h 4429225"/>
                    <a:gd name="connsiteX91" fmla="*/ 1716427 w 4519987"/>
                    <a:gd name="connsiteY91" fmla="*/ 123825 h 4429225"/>
                    <a:gd name="connsiteX92" fmla="*/ 1811677 w 4519987"/>
                    <a:gd name="connsiteY92" fmla="*/ 114300 h 4429225"/>
                    <a:gd name="connsiteX93" fmla="*/ 1859302 w 4519987"/>
                    <a:gd name="connsiteY93" fmla="*/ 104775 h 4429225"/>
                    <a:gd name="connsiteX94" fmla="*/ 1916452 w 4519987"/>
                    <a:gd name="connsiteY94" fmla="*/ 95250 h 4429225"/>
                    <a:gd name="connsiteX95" fmla="*/ 2030752 w 4519987"/>
                    <a:gd name="connsiteY95" fmla="*/ 66675 h 4429225"/>
                    <a:gd name="connsiteX96" fmla="*/ 2097427 w 4519987"/>
                    <a:gd name="connsiteY96" fmla="*/ 47625 h 4429225"/>
                    <a:gd name="connsiteX97" fmla="*/ 2164102 w 4519987"/>
                    <a:gd name="connsiteY97" fmla="*/ 38100 h 4429225"/>
                    <a:gd name="connsiteX98" fmla="*/ 2392702 w 4519987"/>
                    <a:gd name="connsiteY9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30502 w 4519987"/>
                    <a:gd name="connsiteY57" fmla="*/ 2514600 h 4429225"/>
                    <a:gd name="connsiteX58" fmla="*/ 11452 w 4519987"/>
                    <a:gd name="connsiteY58" fmla="*/ 2400300 h 4429225"/>
                    <a:gd name="connsiteX59" fmla="*/ 20977 w 4519987"/>
                    <a:gd name="connsiteY59" fmla="*/ 1905000 h 4429225"/>
                    <a:gd name="connsiteX60" fmla="*/ 30502 w 4519987"/>
                    <a:gd name="connsiteY60" fmla="*/ 1838325 h 4429225"/>
                    <a:gd name="connsiteX61" fmla="*/ 49552 w 4519987"/>
                    <a:gd name="connsiteY61" fmla="*/ 1781175 h 4429225"/>
                    <a:gd name="connsiteX62" fmla="*/ 59077 w 4519987"/>
                    <a:gd name="connsiteY62" fmla="*/ 1743075 h 4429225"/>
                    <a:gd name="connsiteX63" fmla="*/ 78127 w 4519987"/>
                    <a:gd name="connsiteY63" fmla="*/ 1685925 h 4429225"/>
                    <a:gd name="connsiteX64" fmla="*/ 87652 w 4519987"/>
                    <a:gd name="connsiteY64" fmla="*/ 1638300 h 4429225"/>
                    <a:gd name="connsiteX65" fmla="*/ 106702 w 4519987"/>
                    <a:gd name="connsiteY65" fmla="*/ 1590675 h 4429225"/>
                    <a:gd name="connsiteX66" fmla="*/ 135277 w 4519987"/>
                    <a:gd name="connsiteY66" fmla="*/ 1504950 h 4429225"/>
                    <a:gd name="connsiteX67" fmla="*/ 154327 w 4519987"/>
                    <a:gd name="connsiteY67" fmla="*/ 1419225 h 4429225"/>
                    <a:gd name="connsiteX68" fmla="*/ 230527 w 4519987"/>
                    <a:gd name="connsiteY68" fmla="*/ 1276350 h 4429225"/>
                    <a:gd name="connsiteX69" fmla="*/ 240052 w 4519987"/>
                    <a:gd name="connsiteY69" fmla="*/ 1247775 h 4429225"/>
                    <a:gd name="connsiteX70" fmla="*/ 268627 w 4519987"/>
                    <a:gd name="connsiteY70" fmla="*/ 1200150 h 4429225"/>
                    <a:gd name="connsiteX71" fmla="*/ 287677 w 4519987"/>
                    <a:gd name="connsiteY71" fmla="*/ 1152525 h 4429225"/>
                    <a:gd name="connsiteX72" fmla="*/ 316252 w 4519987"/>
                    <a:gd name="connsiteY72" fmla="*/ 1114425 h 4429225"/>
                    <a:gd name="connsiteX73" fmla="*/ 363877 w 4519987"/>
                    <a:gd name="connsiteY73" fmla="*/ 1038225 h 4429225"/>
                    <a:gd name="connsiteX74" fmla="*/ 382927 w 4519987"/>
                    <a:gd name="connsiteY74" fmla="*/ 1009650 h 4429225"/>
                    <a:gd name="connsiteX75" fmla="*/ 440077 w 4519987"/>
                    <a:gd name="connsiteY75" fmla="*/ 904875 h 4429225"/>
                    <a:gd name="connsiteX76" fmla="*/ 478177 w 4519987"/>
                    <a:gd name="connsiteY76" fmla="*/ 857250 h 4429225"/>
                    <a:gd name="connsiteX77" fmla="*/ 497227 w 4519987"/>
                    <a:gd name="connsiteY77" fmla="*/ 828675 h 4429225"/>
                    <a:gd name="connsiteX78" fmla="*/ 535327 w 4519987"/>
                    <a:gd name="connsiteY78" fmla="*/ 800100 h 4429225"/>
                    <a:gd name="connsiteX79" fmla="*/ 602002 w 4519987"/>
                    <a:gd name="connsiteY79" fmla="*/ 733425 h 4429225"/>
                    <a:gd name="connsiteX80" fmla="*/ 668677 w 4519987"/>
                    <a:gd name="connsiteY80" fmla="*/ 676275 h 4429225"/>
                    <a:gd name="connsiteX81" fmla="*/ 697252 w 4519987"/>
                    <a:gd name="connsiteY81" fmla="*/ 657225 h 4429225"/>
                    <a:gd name="connsiteX82" fmla="*/ 840127 w 4519987"/>
                    <a:gd name="connsiteY82" fmla="*/ 533400 h 4429225"/>
                    <a:gd name="connsiteX83" fmla="*/ 887752 w 4519987"/>
                    <a:gd name="connsiteY83" fmla="*/ 504825 h 4429225"/>
                    <a:gd name="connsiteX84" fmla="*/ 1167152 w 4519987"/>
                    <a:gd name="connsiteY84" fmla="*/ 311150 h 4429225"/>
                    <a:gd name="connsiteX85" fmla="*/ 1268752 w 4519987"/>
                    <a:gd name="connsiteY85" fmla="*/ 285750 h 4429225"/>
                    <a:gd name="connsiteX86" fmla="*/ 1411627 w 4519987"/>
                    <a:gd name="connsiteY86" fmla="*/ 190500 h 4429225"/>
                    <a:gd name="connsiteX87" fmla="*/ 1449727 w 4519987"/>
                    <a:gd name="connsiteY87" fmla="*/ 161925 h 4429225"/>
                    <a:gd name="connsiteX88" fmla="*/ 1525927 w 4519987"/>
                    <a:gd name="connsiteY88" fmla="*/ 152400 h 4429225"/>
                    <a:gd name="connsiteX89" fmla="*/ 1583077 w 4519987"/>
                    <a:gd name="connsiteY89" fmla="*/ 142875 h 4429225"/>
                    <a:gd name="connsiteX90" fmla="*/ 1716427 w 4519987"/>
                    <a:gd name="connsiteY90" fmla="*/ 123825 h 4429225"/>
                    <a:gd name="connsiteX91" fmla="*/ 1811677 w 4519987"/>
                    <a:gd name="connsiteY91" fmla="*/ 114300 h 4429225"/>
                    <a:gd name="connsiteX92" fmla="*/ 1859302 w 4519987"/>
                    <a:gd name="connsiteY92" fmla="*/ 104775 h 4429225"/>
                    <a:gd name="connsiteX93" fmla="*/ 1916452 w 4519987"/>
                    <a:gd name="connsiteY93" fmla="*/ 95250 h 4429225"/>
                    <a:gd name="connsiteX94" fmla="*/ 2030752 w 4519987"/>
                    <a:gd name="connsiteY94" fmla="*/ 66675 h 4429225"/>
                    <a:gd name="connsiteX95" fmla="*/ 2097427 w 4519987"/>
                    <a:gd name="connsiteY95" fmla="*/ 47625 h 4429225"/>
                    <a:gd name="connsiteX96" fmla="*/ 2164102 w 4519987"/>
                    <a:gd name="connsiteY96" fmla="*/ 38100 h 4429225"/>
                    <a:gd name="connsiteX97" fmla="*/ 2392702 w 4519987"/>
                    <a:gd name="connsiteY9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11452 w 4519987"/>
                    <a:gd name="connsiteY57" fmla="*/ 2400300 h 4429225"/>
                    <a:gd name="connsiteX58" fmla="*/ 20977 w 4519987"/>
                    <a:gd name="connsiteY58" fmla="*/ 1905000 h 4429225"/>
                    <a:gd name="connsiteX59" fmla="*/ 30502 w 4519987"/>
                    <a:gd name="connsiteY59" fmla="*/ 1838325 h 4429225"/>
                    <a:gd name="connsiteX60" fmla="*/ 49552 w 4519987"/>
                    <a:gd name="connsiteY60" fmla="*/ 1781175 h 4429225"/>
                    <a:gd name="connsiteX61" fmla="*/ 59077 w 4519987"/>
                    <a:gd name="connsiteY61" fmla="*/ 1743075 h 4429225"/>
                    <a:gd name="connsiteX62" fmla="*/ 78127 w 4519987"/>
                    <a:gd name="connsiteY62" fmla="*/ 1685925 h 4429225"/>
                    <a:gd name="connsiteX63" fmla="*/ 87652 w 4519987"/>
                    <a:gd name="connsiteY63" fmla="*/ 1638300 h 4429225"/>
                    <a:gd name="connsiteX64" fmla="*/ 106702 w 4519987"/>
                    <a:gd name="connsiteY64" fmla="*/ 1590675 h 4429225"/>
                    <a:gd name="connsiteX65" fmla="*/ 135277 w 4519987"/>
                    <a:gd name="connsiteY65" fmla="*/ 1504950 h 4429225"/>
                    <a:gd name="connsiteX66" fmla="*/ 154327 w 4519987"/>
                    <a:gd name="connsiteY66" fmla="*/ 1419225 h 4429225"/>
                    <a:gd name="connsiteX67" fmla="*/ 230527 w 4519987"/>
                    <a:gd name="connsiteY67" fmla="*/ 1276350 h 4429225"/>
                    <a:gd name="connsiteX68" fmla="*/ 240052 w 4519987"/>
                    <a:gd name="connsiteY68" fmla="*/ 1247775 h 4429225"/>
                    <a:gd name="connsiteX69" fmla="*/ 268627 w 4519987"/>
                    <a:gd name="connsiteY69" fmla="*/ 1200150 h 4429225"/>
                    <a:gd name="connsiteX70" fmla="*/ 287677 w 4519987"/>
                    <a:gd name="connsiteY70" fmla="*/ 1152525 h 4429225"/>
                    <a:gd name="connsiteX71" fmla="*/ 316252 w 4519987"/>
                    <a:gd name="connsiteY71" fmla="*/ 1114425 h 4429225"/>
                    <a:gd name="connsiteX72" fmla="*/ 363877 w 4519987"/>
                    <a:gd name="connsiteY72" fmla="*/ 1038225 h 4429225"/>
                    <a:gd name="connsiteX73" fmla="*/ 382927 w 4519987"/>
                    <a:gd name="connsiteY73" fmla="*/ 1009650 h 4429225"/>
                    <a:gd name="connsiteX74" fmla="*/ 440077 w 4519987"/>
                    <a:gd name="connsiteY74" fmla="*/ 904875 h 4429225"/>
                    <a:gd name="connsiteX75" fmla="*/ 478177 w 4519987"/>
                    <a:gd name="connsiteY75" fmla="*/ 857250 h 4429225"/>
                    <a:gd name="connsiteX76" fmla="*/ 497227 w 4519987"/>
                    <a:gd name="connsiteY76" fmla="*/ 828675 h 4429225"/>
                    <a:gd name="connsiteX77" fmla="*/ 535327 w 4519987"/>
                    <a:gd name="connsiteY77" fmla="*/ 800100 h 4429225"/>
                    <a:gd name="connsiteX78" fmla="*/ 602002 w 4519987"/>
                    <a:gd name="connsiteY78" fmla="*/ 733425 h 4429225"/>
                    <a:gd name="connsiteX79" fmla="*/ 668677 w 4519987"/>
                    <a:gd name="connsiteY79" fmla="*/ 676275 h 4429225"/>
                    <a:gd name="connsiteX80" fmla="*/ 697252 w 4519987"/>
                    <a:gd name="connsiteY80" fmla="*/ 657225 h 4429225"/>
                    <a:gd name="connsiteX81" fmla="*/ 840127 w 4519987"/>
                    <a:gd name="connsiteY81" fmla="*/ 533400 h 4429225"/>
                    <a:gd name="connsiteX82" fmla="*/ 887752 w 4519987"/>
                    <a:gd name="connsiteY82" fmla="*/ 504825 h 4429225"/>
                    <a:gd name="connsiteX83" fmla="*/ 1167152 w 4519987"/>
                    <a:gd name="connsiteY83" fmla="*/ 311150 h 4429225"/>
                    <a:gd name="connsiteX84" fmla="*/ 1268752 w 4519987"/>
                    <a:gd name="connsiteY84" fmla="*/ 285750 h 4429225"/>
                    <a:gd name="connsiteX85" fmla="*/ 1411627 w 4519987"/>
                    <a:gd name="connsiteY85" fmla="*/ 190500 h 4429225"/>
                    <a:gd name="connsiteX86" fmla="*/ 1449727 w 4519987"/>
                    <a:gd name="connsiteY86" fmla="*/ 161925 h 4429225"/>
                    <a:gd name="connsiteX87" fmla="*/ 1525927 w 4519987"/>
                    <a:gd name="connsiteY87" fmla="*/ 152400 h 4429225"/>
                    <a:gd name="connsiteX88" fmla="*/ 1583077 w 4519987"/>
                    <a:gd name="connsiteY88" fmla="*/ 142875 h 4429225"/>
                    <a:gd name="connsiteX89" fmla="*/ 1716427 w 4519987"/>
                    <a:gd name="connsiteY89" fmla="*/ 123825 h 4429225"/>
                    <a:gd name="connsiteX90" fmla="*/ 1811677 w 4519987"/>
                    <a:gd name="connsiteY90" fmla="*/ 114300 h 4429225"/>
                    <a:gd name="connsiteX91" fmla="*/ 1859302 w 4519987"/>
                    <a:gd name="connsiteY91" fmla="*/ 104775 h 4429225"/>
                    <a:gd name="connsiteX92" fmla="*/ 1916452 w 4519987"/>
                    <a:gd name="connsiteY92" fmla="*/ 95250 h 4429225"/>
                    <a:gd name="connsiteX93" fmla="*/ 2030752 w 4519987"/>
                    <a:gd name="connsiteY93" fmla="*/ 66675 h 4429225"/>
                    <a:gd name="connsiteX94" fmla="*/ 2097427 w 4519987"/>
                    <a:gd name="connsiteY94" fmla="*/ 47625 h 4429225"/>
                    <a:gd name="connsiteX95" fmla="*/ 2164102 w 4519987"/>
                    <a:gd name="connsiteY95" fmla="*/ 38100 h 4429225"/>
                    <a:gd name="connsiteX96" fmla="*/ 2392702 w 4519987"/>
                    <a:gd name="connsiteY9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11452 w 4519987"/>
                    <a:gd name="connsiteY56" fmla="*/ 2400300 h 4429225"/>
                    <a:gd name="connsiteX57" fmla="*/ 20977 w 4519987"/>
                    <a:gd name="connsiteY57" fmla="*/ 1905000 h 4429225"/>
                    <a:gd name="connsiteX58" fmla="*/ 30502 w 4519987"/>
                    <a:gd name="connsiteY58" fmla="*/ 1838325 h 4429225"/>
                    <a:gd name="connsiteX59" fmla="*/ 49552 w 4519987"/>
                    <a:gd name="connsiteY59" fmla="*/ 1781175 h 4429225"/>
                    <a:gd name="connsiteX60" fmla="*/ 59077 w 4519987"/>
                    <a:gd name="connsiteY60" fmla="*/ 1743075 h 4429225"/>
                    <a:gd name="connsiteX61" fmla="*/ 78127 w 4519987"/>
                    <a:gd name="connsiteY61" fmla="*/ 1685925 h 4429225"/>
                    <a:gd name="connsiteX62" fmla="*/ 87652 w 4519987"/>
                    <a:gd name="connsiteY62" fmla="*/ 1638300 h 4429225"/>
                    <a:gd name="connsiteX63" fmla="*/ 106702 w 4519987"/>
                    <a:gd name="connsiteY63" fmla="*/ 1590675 h 4429225"/>
                    <a:gd name="connsiteX64" fmla="*/ 135277 w 4519987"/>
                    <a:gd name="connsiteY64" fmla="*/ 1504950 h 4429225"/>
                    <a:gd name="connsiteX65" fmla="*/ 154327 w 4519987"/>
                    <a:gd name="connsiteY65" fmla="*/ 1419225 h 4429225"/>
                    <a:gd name="connsiteX66" fmla="*/ 230527 w 4519987"/>
                    <a:gd name="connsiteY66" fmla="*/ 1276350 h 4429225"/>
                    <a:gd name="connsiteX67" fmla="*/ 240052 w 4519987"/>
                    <a:gd name="connsiteY67" fmla="*/ 1247775 h 4429225"/>
                    <a:gd name="connsiteX68" fmla="*/ 268627 w 4519987"/>
                    <a:gd name="connsiteY68" fmla="*/ 1200150 h 4429225"/>
                    <a:gd name="connsiteX69" fmla="*/ 287677 w 4519987"/>
                    <a:gd name="connsiteY69" fmla="*/ 1152525 h 4429225"/>
                    <a:gd name="connsiteX70" fmla="*/ 316252 w 4519987"/>
                    <a:gd name="connsiteY70" fmla="*/ 1114425 h 4429225"/>
                    <a:gd name="connsiteX71" fmla="*/ 363877 w 4519987"/>
                    <a:gd name="connsiteY71" fmla="*/ 1038225 h 4429225"/>
                    <a:gd name="connsiteX72" fmla="*/ 382927 w 4519987"/>
                    <a:gd name="connsiteY72" fmla="*/ 1009650 h 4429225"/>
                    <a:gd name="connsiteX73" fmla="*/ 440077 w 4519987"/>
                    <a:gd name="connsiteY73" fmla="*/ 904875 h 4429225"/>
                    <a:gd name="connsiteX74" fmla="*/ 478177 w 4519987"/>
                    <a:gd name="connsiteY74" fmla="*/ 857250 h 4429225"/>
                    <a:gd name="connsiteX75" fmla="*/ 497227 w 4519987"/>
                    <a:gd name="connsiteY75" fmla="*/ 828675 h 4429225"/>
                    <a:gd name="connsiteX76" fmla="*/ 535327 w 4519987"/>
                    <a:gd name="connsiteY76" fmla="*/ 800100 h 4429225"/>
                    <a:gd name="connsiteX77" fmla="*/ 602002 w 4519987"/>
                    <a:gd name="connsiteY77" fmla="*/ 733425 h 4429225"/>
                    <a:gd name="connsiteX78" fmla="*/ 668677 w 4519987"/>
                    <a:gd name="connsiteY78" fmla="*/ 676275 h 4429225"/>
                    <a:gd name="connsiteX79" fmla="*/ 697252 w 4519987"/>
                    <a:gd name="connsiteY79" fmla="*/ 657225 h 4429225"/>
                    <a:gd name="connsiteX80" fmla="*/ 840127 w 4519987"/>
                    <a:gd name="connsiteY80" fmla="*/ 533400 h 4429225"/>
                    <a:gd name="connsiteX81" fmla="*/ 887752 w 4519987"/>
                    <a:gd name="connsiteY81" fmla="*/ 504825 h 4429225"/>
                    <a:gd name="connsiteX82" fmla="*/ 1167152 w 4519987"/>
                    <a:gd name="connsiteY82" fmla="*/ 311150 h 4429225"/>
                    <a:gd name="connsiteX83" fmla="*/ 1268752 w 4519987"/>
                    <a:gd name="connsiteY83" fmla="*/ 285750 h 4429225"/>
                    <a:gd name="connsiteX84" fmla="*/ 1411627 w 4519987"/>
                    <a:gd name="connsiteY84" fmla="*/ 190500 h 4429225"/>
                    <a:gd name="connsiteX85" fmla="*/ 1449727 w 4519987"/>
                    <a:gd name="connsiteY85" fmla="*/ 161925 h 4429225"/>
                    <a:gd name="connsiteX86" fmla="*/ 1525927 w 4519987"/>
                    <a:gd name="connsiteY86" fmla="*/ 152400 h 4429225"/>
                    <a:gd name="connsiteX87" fmla="*/ 1583077 w 4519987"/>
                    <a:gd name="connsiteY87" fmla="*/ 142875 h 4429225"/>
                    <a:gd name="connsiteX88" fmla="*/ 1716427 w 4519987"/>
                    <a:gd name="connsiteY88" fmla="*/ 123825 h 4429225"/>
                    <a:gd name="connsiteX89" fmla="*/ 1811677 w 4519987"/>
                    <a:gd name="connsiteY89" fmla="*/ 114300 h 4429225"/>
                    <a:gd name="connsiteX90" fmla="*/ 1859302 w 4519987"/>
                    <a:gd name="connsiteY90" fmla="*/ 104775 h 4429225"/>
                    <a:gd name="connsiteX91" fmla="*/ 1916452 w 4519987"/>
                    <a:gd name="connsiteY91" fmla="*/ 95250 h 4429225"/>
                    <a:gd name="connsiteX92" fmla="*/ 2030752 w 4519987"/>
                    <a:gd name="connsiteY92" fmla="*/ 66675 h 4429225"/>
                    <a:gd name="connsiteX93" fmla="*/ 2097427 w 4519987"/>
                    <a:gd name="connsiteY93" fmla="*/ 47625 h 4429225"/>
                    <a:gd name="connsiteX94" fmla="*/ 2164102 w 4519987"/>
                    <a:gd name="connsiteY94" fmla="*/ 38100 h 4429225"/>
                    <a:gd name="connsiteX95" fmla="*/ 2392702 w 4519987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49994 w 4501379"/>
                    <a:gd name="connsiteY55" fmla="*/ 2724150 h 4429225"/>
                    <a:gd name="connsiteX56" fmla="*/ 56344 w 4501379"/>
                    <a:gd name="connsiteY56" fmla="*/ 2368550 h 4429225"/>
                    <a:gd name="connsiteX57" fmla="*/ 2369 w 4501379"/>
                    <a:gd name="connsiteY57" fmla="*/ 1905000 h 4429225"/>
                    <a:gd name="connsiteX58" fmla="*/ 11894 w 4501379"/>
                    <a:gd name="connsiteY58" fmla="*/ 1838325 h 4429225"/>
                    <a:gd name="connsiteX59" fmla="*/ 30944 w 4501379"/>
                    <a:gd name="connsiteY59" fmla="*/ 1781175 h 4429225"/>
                    <a:gd name="connsiteX60" fmla="*/ 40469 w 4501379"/>
                    <a:gd name="connsiteY60" fmla="*/ 1743075 h 4429225"/>
                    <a:gd name="connsiteX61" fmla="*/ 59519 w 4501379"/>
                    <a:gd name="connsiteY61" fmla="*/ 1685925 h 4429225"/>
                    <a:gd name="connsiteX62" fmla="*/ 69044 w 4501379"/>
                    <a:gd name="connsiteY62" fmla="*/ 1638300 h 4429225"/>
                    <a:gd name="connsiteX63" fmla="*/ 88094 w 4501379"/>
                    <a:gd name="connsiteY63" fmla="*/ 1590675 h 4429225"/>
                    <a:gd name="connsiteX64" fmla="*/ 116669 w 4501379"/>
                    <a:gd name="connsiteY64" fmla="*/ 1504950 h 4429225"/>
                    <a:gd name="connsiteX65" fmla="*/ 135719 w 4501379"/>
                    <a:gd name="connsiteY65" fmla="*/ 1419225 h 4429225"/>
                    <a:gd name="connsiteX66" fmla="*/ 211919 w 4501379"/>
                    <a:gd name="connsiteY66" fmla="*/ 1276350 h 4429225"/>
                    <a:gd name="connsiteX67" fmla="*/ 221444 w 4501379"/>
                    <a:gd name="connsiteY67" fmla="*/ 1247775 h 4429225"/>
                    <a:gd name="connsiteX68" fmla="*/ 250019 w 4501379"/>
                    <a:gd name="connsiteY68" fmla="*/ 1200150 h 4429225"/>
                    <a:gd name="connsiteX69" fmla="*/ 269069 w 4501379"/>
                    <a:gd name="connsiteY69" fmla="*/ 1152525 h 4429225"/>
                    <a:gd name="connsiteX70" fmla="*/ 297644 w 4501379"/>
                    <a:gd name="connsiteY70" fmla="*/ 1114425 h 4429225"/>
                    <a:gd name="connsiteX71" fmla="*/ 345269 w 4501379"/>
                    <a:gd name="connsiteY71" fmla="*/ 1038225 h 4429225"/>
                    <a:gd name="connsiteX72" fmla="*/ 364319 w 4501379"/>
                    <a:gd name="connsiteY72" fmla="*/ 1009650 h 4429225"/>
                    <a:gd name="connsiteX73" fmla="*/ 421469 w 4501379"/>
                    <a:gd name="connsiteY73" fmla="*/ 904875 h 4429225"/>
                    <a:gd name="connsiteX74" fmla="*/ 459569 w 4501379"/>
                    <a:gd name="connsiteY74" fmla="*/ 857250 h 4429225"/>
                    <a:gd name="connsiteX75" fmla="*/ 478619 w 4501379"/>
                    <a:gd name="connsiteY75" fmla="*/ 828675 h 4429225"/>
                    <a:gd name="connsiteX76" fmla="*/ 516719 w 4501379"/>
                    <a:gd name="connsiteY76" fmla="*/ 800100 h 4429225"/>
                    <a:gd name="connsiteX77" fmla="*/ 583394 w 4501379"/>
                    <a:gd name="connsiteY77" fmla="*/ 733425 h 4429225"/>
                    <a:gd name="connsiteX78" fmla="*/ 650069 w 4501379"/>
                    <a:gd name="connsiteY78" fmla="*/ 676275 h 4429225"/>
                    <a:gd name="connsiteX79" fmla="*/ 678644 w 4501379"/>
                    <a:gd name="connsiteY79" fmla="*/ 657225 h 4429225"/>
                    <a:gd name="connsiteX80" fmla="*/ 821519 w 4501379"/>
                    <a:gd name="connsiteY80" fmla="*/ 533400 h 4429225"/>
                    <a:gd name="connsiteX81" fmla="*/ 869144 w 4501379"/>
                    <a:gd name="connsiteY81" fmla="*/ 504825 h 4429225"/>
                    <a:gd name="connsiteX82" fmla="*/ 1148544 w 4501379"/>
                    <a:gd name="connsiteY82" fmla="*/ 311150 h 4429225"/>
                    <a:gd name="connsiteX83" fmla="*/ 1250144 w 4501379"/>
                    <a:gd name="connsiteY83" fmla="*/ 285750 h 4429225"/>
                    <a:gd name="connsiteX84" fmla="*/ 1393019 w 4501379"/>
                    <a:gd name="connsiteY84" fmla="*/ 190500 h 4429225"/>
                    <a:gd name="connsiteX85" fmla="*/ 1431119 w 4501379"/>
                    <a:gd name="connsiteY85" fmla="*/ 161925 h 4429225"/>
                    <a:gd name="connsiteX86" fmla="*/ 1507319 w 4501379"/>
                    <a:gd name="connsiteY86" fmla="*/ 152400 h 4429225"/>
                    <a:gd name="connsiteX87" fmla="*/ 1564469 w 4501379"/>
                    <a:gd name="connsiteY87" fmla="*/ 142875 h 4429225"/>
                    <a:gd name="connsiteX88" fmla="*/ 1697819 w 4501379"/>
                    <a:gd name="connsiteY88" fmla="*/ 123825 h 4429225"/>
                    <a:gd name="connsiteX89" fmla="*/ 1793069 w 4501379"/>
                    <a:gd name="connsiteY89" fmla="*/ 114300 h 4429225"/>
                    <a:gd name="connsiteX90" fmla="*/ 1840694 w 4501379"/>
                    <a:gd name="connsiteY90" fmla="*/ 104775 h 4429225"/>
                    <a:gd name="connsiteX91" fmla="*/ 1897844 w 4501379"/>
                    <a:gd name="connsiteY91" fmla="*/ 95250 h 4429225"/>
                    <a:gd name="connsiteX92" fmla="*/ 2012144 w 4501379"/>
                    <a:gd name="connsiteY92" fmla="*/ 66675 h 4429225"/>
                    <a:gd name="connsiteX93" fmla="*/ 2078819 w 4501379"/>
                    <a:gd name="connsiteY93" fmla="*/ 47625 h 4429225"/>
                    <a:gd name="connsiteX94" fmla="*/ 2145494 w 4501379"/>
                    <a:gd name="connsiteY94" fmla="*/ 38100 h 4429225"/>
                    <a:gd name="connsiteX95" fmla="*/ 2374094 w 4501379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56344 w 4501379"/>
                    <a:gd name="connsiteY55" fmla="*/ 2368550 h 4429225"/>
                    <a:gd name="connsiteX56" fmla="*/ 2369 w 4501379"/>
                    <a:gd name="connsiteY56" fmla="*/ 1905000 h 4429225"/>
                    <a:gd name="connsiteX57" fmla="*/ 11894 w 4501379"/>
                    <a:gd name="connsiteY57" fmla="*/ 1838325 h 4429225"/>
                    <a:gd name="connsiteX58" fmla="*/ 30944 w 4501379"/>
                    <a:gd name="connsiteY58" fmla="*/ 1781175 h 4429225"/>
                    <a:gd name="connsiteX59" fmla="*/ 40469 w 4501379"/>
                    <a:gd name="connsiteY59" fmla="*/ 1743075 h 4429225"/>
                    <a:gd name="connsiteX60" fmla="*/ 59519 w 4501379"/>
                    <a:gd name="connsiteY60" fmla="*/ 1685925 h 4429225"/>
                    <a:gd name="connsiteX61" fmla="*/ 69044 w 4501379"/>
                    <a:gd name="connsiteY61" fmla="*/ 1638300 h 4429225"/>
                    <a:gd name="connsiteX62" fmla="*/ 88094 w 4501379"/>
                    <a:gd name="connsiteY62" fmla="*/ 1590675 h 4429225"/>
                    <a:gd name="connsiteX63" fmla="*/ 116669 w 4501379"/>
                    <a:gd name="connsiteY63" fmla="*/ 1504950 h 4429225"/>
                    <a:gd name="connsiteX64" fmla="*/ 135719 w 4501379"/>
                    <a:gd name="connsiteY64" fmla="*/ 1419225 h 4429225"/>
                    <a:gd name="connsiteX65" fmla="*/ 211919 w 4501379"/>
                    <a:gd name="connsiteY65" fmla="*/ 1276350 h 4429225"/>
                    <a:gd name="connsiteX66" fmla="*/ 221444 w 4501379"/>
                    <a:gd name="connsiteY66" fmla="*/ 1247775 h 4429225"/>
                    <a:gd name="connsiteX67" fmla="*/ 250019 w 4501379"/>
                    <a:gd name="connsiteY67" fmla="*/ 1200150 h 4429225"/>
                    <a:gd name="connsiteX68" fmla="*/ 269069 w 4501379"/>
                    <a:gd name="connsiteY68" fmla="*/ 1152525 h 4429225"/>
                    <a:gd name="connsiteX69" fmla="*/ 297644 w 4501379"/>
                    <a:gd name="connsiteY69" fmla="*/ 1114425 h 4429225"/>
                    <a:gd name="connsiteX70" fmla="*/ 345269 w 4501379"/>
                    <a:gd name="connsiteY70" fmla="*/ 1038225 h 4429225"/>
                    <a:gd name="connsiteX71" fmla="*/ 364319 w 4501379"/>
                    <a:gd name="connsiteY71" fmla="*/ 1009650 h 4429225"/>
                    <a:gd name="connsiteX72" fmla="*/ 421469 w 4501379"/>
                    <a:gd name="connsiteY72" fmla="*/ 904875 h 4429225"/>
                    <a:gd name="connsiteX73" fmla="*/ 459569 w 4501379"/>
                    <a:gd name="connsiteY73" fmla="*/ 857250 h 4429225"/>
                    <a:gd name="connsiteX74" fmla="*/ 478619 w 4501379"/>
                    <a:gd name="connsiteY74" fmla="*/ 828675 h 4429225"/>
                    <a:gd name="connsiteX75" fmla="*/ 516719 w 4501379"/>
                    <a:gd name="connsiteY75" fmla="*/ 800100 h 4429225"/>
                    <a:gd name="connsiteX76" fmla="*/ 583394 w 4501379"/>
                    <a:gd name="connsiteY76" fmla="*/ 733425 h 4429225"/>
                    <a:gd name="connsiteX77" fmla="*/ 650069 w 4501379"/>
                    <a:gd name="connsiteY77" fmla="*/ 676275 h 4429225"/>
                    <a:gd name="connsiteX78" fmla="*/ 678644 w 4501379"/>
                    <a:gd name="connsiteY78" fmla="*/ 657225 h 4429225"/>
                    <a:gd name="connsiteX79" fmla="*/ 821519 w 4501379"/>
                    <a:gd name="connsiteY79" fmla="*/ 533400 h 4429225"/>
                    <a:gd name="connsiteX80" fmla="*/ 869144 w 4501379"/>
                    <a:gd name="connsiteY80" fmla="*/ 504825 h 4429225"/>
                    <a:gd name="connsiteX81" fmla="*/ 1148544 w 4501379"/>
                    <a:gd name="connsiteY81" fmla="*/ 311150 h 4429225"/>
                    <a:gd name="connsiteX82" fmla="*/ 1250144 w 4501379"/>
                    <a:gd name="connsiteY82" fmla="*/ 285750 h 4429225"/>
                    <a:gd name="connsiteX83" fmla="*/ 1393019 w 4501379"/>
                    <a:gd name="connsiteY83" fmla="*/ 190500 h 4429225"/>
                    <a:gd name="connsiteX84" fmla="*/ 1431119 w 4501379"/>
                    <a:gd name="connsiteY84" fmla="*/ 161925 h 4429225"/>
                    <a:gd name="connsiteX85" fmla="*/ 1507319 w 4501379"/>
                    <a:gd name="connsiteY85" fmla="*/ 152400 h 4429225"/>
                    <a:gd name="connsiteX86" fmla="*/ 1564469 w 4501379"/>
                    <a:gd name="connsiteY86" fmla="*/ 142875 h 4429225"/>
                    <a:gd name="connsiteX87" fmla="*/ 1697819 w 4501379"/>
                    <a:gd name="connsiteY87" fmla="*/ 123825 h 4429225"/>
                    <a:gd name="connsiteX88" fmla="*/ 1793069 w 4501379"/>
                    <a:gd name="connsiteY88" fmla="*/ 114300 h 4429225"/>
                    <a:gd name="connsiteX89" fmla="*/ 1840694 w 4501379"/>
                    <a:gd name="connsiteY89" fmla="*/ 104775 h 4429225"/>
                    <a:gd name="connsiteX90" fmla="*/ 1897844 w 4501379"/>
                    <a:gd name="connsiteY90" fmla="*/ 95250 h 4429225"/>
                    <a:gd name="connsiteX91" fmla="*/ 2012144 w 4501379"/>
                    <a:gd name="connsiteY91" fmla="*/ 66675 h 4429225"/>
                    <a:gd name="connsiteX92" fmla="*/ 2078819 w 4501379"/>
                    <a:gd name="connsiteY92" fmla="*/ 47625 h 4429225"/>
                    <a:gd name="connsiteX93" fmla="*/ 2145494 w 4501379"/>
                    <a:gd name="connsiteY93" fmla="*/ 38100 h 4429225"/>
                    <a:gd name="connsiteX94" fmla="*/ 2374094 w 4501379"/>
                    <a:gd name="connsiteY94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26194 w 4501379"/>
                    <a:gd name="connsiteY53" fmla="*/ 292417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6869 w 4501379"/>
                    <a:gd name="connsiteY51" fmla="*/ 34702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313644 w 4501379"/>
                    <a:gd name="connsiteY46" fmla="*/ 42164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91" fmla="*/ 2374094 w 4501379"/>
                    <a:gd name="connsiteY91" fmla="*/ 28575 h 4429294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0" fmla="*/ 2278844 w 4501379"/>
                    <a:gd name="connsiteY0" fmla="*/ 0 h 4429294"/>
                    <a:gd name="connsiteX1" fmla="*/ 2478869 w 4501379"/>
                    <a:gd name="connsiteY1" fmla="*/ 47625 h 4429294"/>
                    <a:gd name="connsiteX2" fmla="*/ 2736044 w 4501379"/>
                    <a:gd name="connsiteY2" fmla="*/ 66675 h 4429294"/>
                    <a:gd name="connsiteX3" fmla="*/ 2812244 w 4501379"/>
                    <a:gd name="connsiteY3" fmla="*/ 76200 h 4429294"/>
                    <a:gd name="connsiteX4" fmla="*/ 2897969 w 4501379"/>
                    <a:gd name="connsiteY4" fmla="*/ 85725 h 4429294"/>
                    <a:gd name="connsiteX5" fmla="*/ 2955119 w 4501379"/>
                    <a:gd name="connsiteY5" fmla="*/ 114300 h 4429294"/>
                    <a:gd name="connsiteX6" fmla="*/ 2993219 w 4501379"/>
                    <a:gd name="connsiteY6" fmla="*/ 123825 h 4429294"/>
                    <a:gd name="connsiteX7" fmla="*/ 3117044 w 4501379"/>
                    <a:gd name="connsiteY7" fmla="*/ 171450 h 4429294"/>
                    <a:gd name="connsiteX8" fmla="*/ 3155144 w 4501379"/>
                    <a:gd name="connsiteY8" fmla="*/ 190500 h 4429294"/>
                    <a:gd name="connsiteX9" fmla="*/ 3221819 w 4501379"/>
                    <a:gd name="connsiteY9" fmla="*/ 228600 h 4429294"/>
                    <a:gd name="connsiteX10" fmla="*/ 3250394 w 4501379"/>
                    <a:gd name="connsiteY10" fmla="*/ 238125 h 4429294"/>
                    <a:gd name="connsiteX11" fmla="*/ 3278969 w 4501379"/>
                    <a:gd name="connsiteY11" fmla="*/ 257175 h 4429294"/>
                    <a:gd name="connsiteX12" fmla="*/ 3307544 w 4501379"/>
                    <a:gd name="connsiteY12" fmla="*/ 266700 h 4429294"/>
                    <a:gd name="connsiteX13" fmla="*/ 3336119 w 4501379"/>
                    <a:gd name="connsiteY13" fmla="*/ 285750 h 4429294"/>
                    <a:gd name="connsiteX14" fmla="*/ 3402794 w 4501379"/>
                    <a:gd name="connsiteY14" fmla="*/ 323850 h 4429294"/>
                    <a:gd name="connsiteX15" fmla="*/ 3450419 w 4501379"/>
                    <a:gd name="connsiteY15" fmla="*/ 361950 h 4429294"/>
                    <a:gd name="connsiteX16" fmla="*/ 3498044 w 4501379"/>
                    <a:gd name="connsiteY16" fmla="*/ 390525 h 4429294"/>
                    <a:gd name="connsiteX17" fmla="*/ 3612344 w 4501379"/>
                    <a:gd name="connsiteY17" fmla="*/ 485775 h 4429294"/>
                    <a:gd name="connsiteX18" fmla="*/ 3726644 w 4501379"/>
                    <a:gd name="connsiteY18" fmla="*/ 542925 h 4429294"/>
                    <a:gd name="connsiteX19" fmla="*/ 3793319 w 4501379"/>
                    <a:gd name="connsiteY19" fmla="*/ 581025 h 4429294"/>
                    <a:gd name="connsiteX20" fmla="*/ 4009219 w 4501379"/>
                    <a:gd name="connsiteY20" fmla="*/ 819150 h 4429294"/>
                    <a:gd name="connsiteX21" fmla="*/ 4145744 w 4501379"/>
                    <a:gd name="connsiteY21" fmla="*/ 990600 h 4429294"/>
                    <a:gd name="connsiteX22" fmla="*/ 4231469 w 4501379"/>
                    <a:gd name="connsiteY22" fmla="*/ 1143000 h 4429294"/>
                    <a:gd name="connsiteX23" fmla="*/ 4288619 w 4501379"/>
                    <a:gd name="connsiteY23" fmla="*/ 1266825 h 4429294"/>
                    <a:gd name="connsiteX24" fmla="*/ 4326719 w 4501379"/>
                    <a:gd name="connsiteY24" fmla="*/ 1362075 h 4429294"/>
                    <a:gd name="connsiteX25" fmla="*/ 4374344 w 4501379"/>
                    <a:gd name="connsiteY25" fmla="*/ 1552575 h 4429294"/>
                    <a:gd name="connsiteX26" fmla="*/ 4412444 w 4501379"/>
                    <a:gd name="connsiteY26" fmla="*/ 1685925 h 4429294"/>
                    <a:gd name="connsiteX27" fmla="*/ 4501344 w 4501379"/>
                    <a:gd name="connsiteY27" fmla="*/ 2181225 h 4429294"/>
                    <a:gd name="connsiteX28" fmla="*/ 4428319 w 4501379"/>
                    <a:gd name="connsiteY28" fmla="*/ 2768600 h 4429294"/>
                    <a:gd name="connsiteX29" fmla="*/ 4364819 w 4501379"/>
                    <a:gd name="connsiteY29" fmla="*/ 2990850 h 4429294"/>
                    <a:gd name="connsiteX30" fmla="*/ 4260044 w 4501379"/>
                    <a:gd name="connsiteY30" fmla="*/ 3248025 h 4429294"/>
                    <a:gd name="connsiteX31" fmla="*/ 4164794 w 4501379"/>
                    <a:gd name="connsiteY31" fmla="*/ 3400425 h 4429294"/>
                    <a:gd name="connsiteX32" fmla="*/ 4040969 w 4501379"/>
                    <a:gd name="connsiteY32" fmla="*/ 3533775 h 4429294"/>
                    <a:gd name="connsiteX33" fmla="*/ 3936194 w 4501379"/>
                    <a:gd name="connsiteY33" fmla="*/ 3648075 h 4429294"/>
                    <a:gd name="connsiteX34" fmla="*/ 3640919 w 4501379"/>
                    <a:gd name="connsiteY34" fmla="*/ 3971925 h 4429294"/>
                    <a:gd name="connsiteX35" fmla="*/ 3498044 w 4501379"/>
                    <a:gd name="connsiteY35" fmla="*/ 4083050 h 4429294"/>
                    <a:gd name="connsiteX36" fmla="*/ 3202769 w 4501379"/>
                    <a:gd name="connsiteY36" fmla="*/ 4222750 h 4429294"/>
                    <a:gd name="connsiteX37" fmla="*/ 3050369 w 4501379"/>
                    <a:gd name="connsiteY37" fmla="*/ 4286250 h 4429294"/>
                    <a:gd name="connsiteX38" fmla="*/ 2917019 w 4501379"/>
                    <a:gd name="connsiteY38" fmla="*/ 4333875 h 4429294"/>
                    <a:gd name="connsiteX39" fmla="*/ 2793194 w 4501379"/>
                    <a:gd name="connsiteY39" fmla="*/ 4371975 h 4429294"/>
                    <a:gd name="connsiteX40" fmla="*/ 2561419 w 4501379"/>
                    <a:gd name="connsiteY40" fmla="*/ 4391025 h 4429294"/>
                    <a:gd name="connsiteX41" fmla="*/ 2107394 w 4501379"/>
                    <a:gd name="connsiteY41" fmla="*/ 4429125 h 4429294"/>
                    <a:gd name="connsiteX42" fmla="*/ 1916894 w 4501379"/>
                    <a:gd name="connsiteY42" fmla="*/ 4400550 h 4429294"/>
                    <a:gd name="connsiteX43" fmla="*/ 1554944 w 4501379"/>
                    <a:gd name="connsiteY43" fmla="*/ 4305300 h 4429294"/>
                    <a:gd name="connsiteX44" fmla="*/ 1313644 w 4501379"/>
                    <a:gd name="connsiteY44" fmla="*/ 4216400 h 4429294"/>
                    <a:gd name="connsiteX45" fmla="*/ 1145369 w 4501379"/>
                    <a:gd name="connsiteY45" fmla="*/ 4111625 h 4429294"/>
                    <a:gd name="connsiteX46" fmla="*/ 926294 w 4501379"/>
                    <a:gd name="connsiteY46" fmla="*/ 3968750 h 4429294"/>
                    <a:gd name="connsiteX47" fmla="*/ 592919 w 4501379"/>
                    <a:gd name="connsiteY47" fmla="*/ 3657600 h 4429294"/>
                    <a:gd name="connsiteX48" fmla="*/ 446869 w 4501379"/>
                    <a:gd name="connsiteY48" fmla="*/ 3470275 h 4429294"/>
                    <a:gd name="connsiteX49" fmla="*/ 316694 w 4501379"/>
                    <a:gd name="connsiteY49" fmla="*/ 3244850 h 4429294"/>
                    <a:gd name="connsiteX50" fmla="*/ 164294 w 4501379"/>
                    <a:gd name="connsiteY50" fmla="*/ 2892425 h 4429294"/>
                    <a:gd name="connsiteX51" fmla="*/ 56344 w 4501379"/>
                    <a:gd name="connsiteY51" fmla="*/ 2368550 h 4429294"/>
                    <a:gd name="connsiteX52" fmla="*/ 2369 w 4501379"/>
                    <a:gd name="connsiteY52" fmla="*/ 1905000 h 4429294"/>
                    <a:gd name="connsiteX53" fmla="*/ 11894 w 4501379"/>
                    <a:gd name="connsiteY53" fmla="*/ 1838325 h 4429294"/>
                    <a:gd name="connsiteX54" fmla="*/ 30944 w 4501379"/>
                    <a:gd name="connsiteY54" fmla="*/ 1781175 h 4429294"/>
                    <a:gd name="connsiteX55" fmla="*/ 40469 w 4501379"/>
                    <a:gd name="connsiteY55" fmla="*/ 1743075 h 4429294"/>
                    <a:gd name="connsiteX56" fmla="*/ 59519 w 4501379"/>
                    <a:gd name="connsiteY56" fmla="*/ 1685925 h 4429294"/>
                    <a:gd name="connsiteX57" fmla="*/ 69044 w 4501379"/>
                    <a:gd name="connsiteY57" fmla="*/ 1638300 h 4429294"/>
                    <a:gd name="connsiteX58" fmla="*/ 88094 w 4501379"/>
                    <a:gd name="connsiteY58" fmla="*/ 1590675 h 4429294"/>
                    <a:gd name="connsiteX59" fmla="*/ 116669 w 4501379"/>
                    <a:gd name="connsiteY59" fmla="*/ 1504950 h 4429294"/>
                    <a:gd name="connsiteX60" fmla="*/ 135719 w 4501379"/>
                    <a:gd name="connsiteY60" fmla="*/ 1419225 h 4429294"/>
                    <a:gd name="connsiteX61" fmla="*/ 211919 w 4501379"/>
                    <a:gd name="connsiteY61" fmla="*/ 1276350 h 4429294"/>
                    <a:gd name="connsiteX62" fmla="*/ 221444 w 4501379"/>
                    <a:gd name="connsiteY62" fmla="*/ 1247775 h 4429294"/>
                    <a:gd name="connsiteX63" fmla="*/ 250019 w 4501379"/>
                    <a:gd name="connsiteY63" fmla="*/ 1200150 h 4429294"/>
                    <a:gd name="connsiteX64" fmla="*/ 269069 w 4501379"/>
                    <a:gd name="connsiteY64" fmla="*/ 1152525 h 4429294"/>
                    <a:gd name="connsiteX65" fmla="*/ 297644 w 4501379"/>
                    <a:gd name="connsiteY65" fmla="*/ 1114425 h 4429294"/>
                    <a:gd name="connsiteX66" fmla="*/ 345269 w 4501379"/>
                    <a:gd name="connsiteY66" fmla="*/ 1038225 h 4429294"/>
                    <a:gd name="connsiteX67" fmla="*/ 364319 w 4501379"/>
                    <a:gd name="connsiteY67" fmla="*/ 1009650 h 4429294"/>
                    <a:gd name="connsiteX68" fmla="*/ 421469 w 4501379"/>
                    <a:gd name="connsiteY68" fmla="*/ 904875 h 4429294"/>
                    <a:gd name="connsiteX69" fmla="*/ 459569 w 4501379"/>
                    <a:gd name="connsiteY69" fmla="*/ 857250 h 4429294"/>
                    <a:gd name="connsiteX70" fmla="*/ 478619 w 4501379"/>
                    <a:gd name="connsiteY70" fmla="*/ 828675 h 4429294"/>
                    <a:gd name="connsiteX71" fmla="*/ 516719 w 4501379"/>
                    <a:gd name="connsiteY71" fmla="*/ 800100 h 4429294"/>
                    <a:gd name="connsiteX72" fmla="*/ 583394 w 4501379"/>
                    <a:gd name="connsiteY72" fmla="*/ 733425 h 4429294"/>
                    <a:gd name="connsiteX73" fmla="*/ 650069 w 4501379"/>
                    <a:gd name="connsiteY73" fmla="*/ 676275 h 4429294"/>
                    <a:gd name="connsiteX74" fmla="*/ 678644 w 4501379"/>
                    <a:gd name="connsiteY74" fmla="*/ 657225 h 4429294"/>
                    <a:gd name="connsiteX75" fmla="*/ 821519 w 4501379"/>
                    <a:gd name="connsiteY75" fmla="*/ 533400 h 4429294"/>
                    <a:gd name="connsiteX76" fmla="*/ 869144 w 4501379"/>
                    <a:gd name="connsiteY76" fmla="*/ 504825 h 4429294"/>
                    <a:gd name="connsiteX77" fmla="*/ 1148544 w 4501379"/>
                    <a:gd name="connsiteY77" fmla="*/ 311150 h 4429294"/>
                    <a:gd name="connsiteX78" fmla="*/ 1250144 w 4501379"/>
                    <a:gd name="connsiteY78" fmla="*/ 285750 h 4429294"/>
                    <a:gd name="connsiteX79" fmla="*/ 1393019 w 4501379"/>
                    <a:gd name="connsiteY79" fmla="*/ 190500 h 4429294"/>
                    <a:gd name="connsiteX80" fmla="*/ 1431119 w 4501379"/>
                    <a:gd name="connsiteY80" fmla="*/ 161925 h 4429294"/>
                    <a:gd name="connsiteX81" fmla="*/ 1507319 w 4501379"/>
                    <a:gd name="connsiteY81" fmla="*/ 152400 h 4429294"/>
                    <a:gd name="connsiteX82" fmla="*/ 1564469 w 4501379"/>
                    <a:gd name="connsiteY82" fmla="*/ 142875 h 4429294"/>
                    <a:gd name="connsiteX83" fmla="*/ 1697819 w 4501379"/>
                    <a:gd name="connsiteY83" fmla="*/ 123825 h 4429294"/>
                    <a:gd name="connsiteX84" fmla="*/ 1793069 w 4501379"/>
                    <a:gd name="connsiteY84" fmla="*/ 114300 h 4429294"/>
                    <a:gd name="connsiteX85" fmla="*/ 1840694 w 4501379"/>
                    <a:gd name="connsiteY85" fmla="*/ 104775 h 4429294"/>
                    <a:gd name="connsiteX86" fmla="*/ 1897844 w 4501379"/>
                    <a:gd name="connsiteY86" fmla="*/ 95250 h 4429294"/>
                    <a:gd name="connsiteX87" fmla="*/ 2012144 w 4501379"/>
                    <a:gd name="connsiteY87" fmla="*/ 66675 h 4429294"/>
                    <a:gd name="connsiteX88" fmla="*/ 2078819 w 4501379"/>
                    <a:gd name="connsiteY88" fmla="*/ 47625 h 4429294"/>
                    <a:gd name="connsiteX89" fmla="*/ 2145494 w 4501379"/>
                    <a:gd name="connsiteY89" fmla="*/ 38100 h 4429294"/>
                    <a:gd name="connsiteX0" fmla="*/ 2278844 w 4501379"/>
                    <a:gd name="connsiteY0" fmla="*/ 0 h 4429294"/>
                    <a:gd name="connsiteX1" fmla="*/ 2736044 w 4501379"/>
                    <a:gd name="connsiteY1" fmla="*/ 666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2993219 w 4501379"/>
                    <a:gd name="connsiteY4" fmla="*/ 123825 h 4429294"/>
                    <a:gd name="connsiteX5" fmla="*/ 3117044 w 4501379"/>
                    <a:gd name="connsiteY5" fmla="*/ 171450 h 4429294"/>
                    <a:gd name="connsiteX6" fmla="*/ 3155144 w 4501379"/>
                    <a:gd name="connsiteY6" fmla="*/ 190500 h 4429294"/>
                    <a:gd name="connsiteX7" fmla="*/ 3221819 w 4501379"/>
                    <a:gd name="connsiteY7" fmla="*/ 228600 h 4429294"/>
                    <a:gd name="connsiteX8" fmla="*/ 3250394 w 4501379"/>
                    <a:gd name="connsiteY8" fmla="*/ 238125 h 4429294"/>
                    <a:gd name="connsiteX9" fmla="*/ 3278969 w 4501379"/>
                    <a:gd name="connsiteY9" fmla="*/ 257175 h 4429294"/>
                    <a:gd name="connsiteX10" fmla="*/ 3307544 w 4501379"/>
                    <a:gd name="connsiteY10" fmla="*/ 266700 h 4429294"/>
                    <a:gd name="connsiteX11" fmla="*/ 3336119 w 4501379"/>
                    <a:gd name="connsiteY11" fmla="*/ 285750 h 4429294"/>
                    <a:gd name="connsiteX12" fmla="*/ 3402794 w 4501379"/>
                    <a:gd name="connsiteY12" fmla="*/ 323850 h 4429294"/>
                    <a:gd name="connsiteX13" fmla="*/ 3450419 w 4501379"/>
                    <a:gd name="connsiteY13" fmla="*/ 361950 h 4429294"/>
                    <a:gd name="connsiteX14" fmla="*/ 3498044 w 4501379"/>
                    <a:gd name="connsiteY14" fmla="*/ 390525 h 4429294"/>
                    <a:gd name="connsiteX15" fmla="*/ 3612344 w 4501379"/>
                    <a:gd name="connsiteY15" fmla="*/ 485775 h 4429294"/>
                    <a:gd name="connsiteX16" fmla="*/ 3726644 w 4501379"/>
                    <a:gd name="connsiteY16" fmla="*/ 542925 h 4429294"/>
                    <a:gd name="connsiteX17" fmla="*/ 3793319 w 4501379"/>
                    <a:gd name="connsiteY17" fmla="*/ 581025 h 4429294"/>
                    <a:gd name="connsiteX18" fmla="*/ 4009219 w 4501379"/>
                    <a:gd name="connsiteY18" fmla="*/ 819150 h 4429294"/>
                    <a:gd name="connsiteX19" fmla="*/ 4145744 w 4501379"/>
                    <a:gd name="connsiteY19" fmla="*/ 990600 h 4429294"/>
                    <a:gd name="connsiteX20" fmla="*/ 4231469 w 4501379"/>
                    <a:gd name="connsiteY20" fmla="*/ 1143000 h 4429294"/>
                    <a:gd name="connsiteX21" fmla="*/ 4288619 w 4501379"/>
                    <a:gd name="connsiteY21" fmla="*/ 1266825 h 4429294"/>
                    <a:gd name="connsiteX22" fmla="*/ 4326719 w 4501379"/>
                    <a:gd name="connsiteY22" fmla="*/ 1362075 h 4429294"/>
                    <a:gd name="connsiteX23" fmla="*/ 4374344 w 4501379"/>
                    <a:gd name="connsiteY23" fmla="*/ 1552575 h 4429294"/>
                    <a:gd name="connsiteX24" fmla="*/ 4412444 w 4501379"/>
                    <a:gd name="connsiteY24" fmla="*/ 1685925 h 4429294"/>
                    <a:gd name="connsiteX25" fmla="*/ 4501344 w 4501379"/>
                    <a:gd name="connsiteY25" fmla="*/ 2181225 h 4429294"/>
                    <a:gd name="connsiteX26" fmla="*/ 4428319 w 4501379"/>
                    <a:gd name="connsiteY26" fmla="*/ 2768600 h 4429294"/>
                    <a:gd name="connsiteX27" fmla="*/ 4364819 w 4501379"/>
                    <a:gd name="connsiteY27" fmla="*/ 2990850 h 4429294"/>
                    <a:gd name="connsiteX28" fmla="*/ 4260044 w 4501379"/>
                    <a:gd name="connsiteY28" fmla="*/ 3248025 h 4429294"/>
                    <a:gd name="connsiteX29" fmla="*/ 4164794 w 4501379"/>
                    <a:gd name="connsiteY29" fmla="*/ 3400425 h 4429294"/>
                    <a:gd name="connsiteX30" fmla="*/ 4040969 w 4501379"/>
                    <a:gd name="connsiteY30" fmla="*/ 3533775 h 4429294"/>
                    <a:gd name="connsiteX31" fmla="*/ 3936194 w 4501379"/>
                    <a:gd name="connsiteY31" fmla="*/ 3648075 h 4429294"/>
                    <a:gd name="connsiteX32" fmla="*/ 3640919 w 4501379"/>
                    <a:gd name="connsiteY32" fmla="*/ 3971925 h 4429294"/>
                    <a:gd name="connsiteX33" fmla="*/ 3498044 w 4501379"/>
                    <a:gd name="connsiteY33" fmla="*/ 4083050 h 4429294"/>
                    <a:gd name="connsiteX34" fmla="*/ 3202769 w 4501379"/>
                    <a:gd name="connsiteY34" fmla="*/ 4222750 h 4429294"/>
                    <a:gd name="connsiteX35" fmla="*/ 3050369 w 4501379"/>
                    <a:gd name="connsiteY35" fmla="*/ 4286250 h 4429294"/>
                    <a:gd name="connsiteX36" fmla="*/ 2917019 w 4501379"/>
                    <a:gd name="connsiteY36" fmla="*/ 4333875 h 4429294"/>
                    <a:gd name="connsiteX37" fmla="*/ 2793194 w 4501379"/>
                    <a:gd name="connsiteY37" fmla="*/ 4371975 h 4429294"/>
                    <a:gd name="connsiteX38" fmla="*/ 2561419 w 4501379"/>
                    <a:gd name="connsiteY38" fmla="*/ 4391025 h 4429294"/>
                    <a:gd name="connsiteX39" fmla="*/ 2107394 w 4501379"/>
                    <a:gd name="connsiteY39" fmla="*/ 4429125 h 4429294"/>
                    <a:gd name="connsiteX40" fmla="*/ 1916894 w 4501379"/>
                    <a:gd name="connsiteY40" fmla="*/ 4400550 h 4429294"/>
                    <a:gd name="connsiteX41" fmla="*/ 1554944 w 4501379"/>
                    <a:gd name="connsiteY41" fmla="*/ 4305300 h 4429294"/>
                    <a:gd name="connsiteX42" fmla="*/ 1313644 w 4501379"/>
                    <a:gd name="connsiteY42" fmla="*/ 4216400 h 4429294"/>
                    <a:gd name="connsiteX43" fmla="*/ 1145369 w 4501379"/>
                    <a:gd name="connsiteY43" fmla="*/ 4111625 h 4429294"/>
                    <a:gd name="connsiteX44" fmla="*/ 926294 w 4501379"/>
                    <a:gd name="connsiteY44" fmla="*/ 3968750 h 4429294"/>
                    <a:gd name="connsiteX45" fmla="*/ 592919 w 4501379"/>
                    <a:gd name="connsiteY45" fmla="*/ 3657600 h 4429294"/>
                    <a:gd name="connsiteX46" fmla="*/ 446869 w 4501379"/>
                    <a:gd name="connsiteY46" fmla="*/ 3470275 h 4429294"/>
                    <a:gd name="connsiteX47" fmla="*/ 316694 w 4501379"/>
                    <a:gd name="connsiteY47" fmla="*/ 3244850 h 4429294"/>
                    <a:gd name="connsiteX48" fmla="*/ 164294 w 4501379"/>
                    <a:gd name="connsiteY48" fmla="*/ 2892425 h 4429294"/>
                    <a:gd name="connsiteX49" fmla="*/ 56344 w 4501379"/>
                    <a:gd name="connsiteY49" fmla="*/ 2368550 h 4429294"/>
                    <a:gd name="connsiteX50" fmla="*/ 2369 w 4501379"/>
                    <a:gd name="connsiteY50" fmla="*/ 1905000 h 4429294"/>
                    <a:gd name="connsiteX51" fmla="*/ 11894 w 4501379"/>
                    <a:gd name="connsiteY51" fmla="*/ 1838325 h 4429294"/>
                    <a:gd name="connsiteX52" fmla="*/ 30944 w 4501379"/>
                    <a:gd name="connsiteY52" fmla="*/ 1781175 h 4429294"/>
                    <a:gd name="connsiteX53" fmla="*/ 40469 w 4501379"/>
                    <a:gd name="connsiteY53" fmla="*/ 1743075 h 4429294"/>
                    <a:gd name="connsiteX54" fmla="*/ 59519 w 4501379"/>
                    <a:gd name="connsiteY54" fmla="*/ 1685925 h 4429294"/>
                    <a:gd name="connsiteX55" fmla="*/ 69044 w 4501379"/>
                    <a:gd name="connsiteY55" fmla="*/ 1638300 h 4429294"/>
                    <a:gd name="connsiteX56" fmla="*/ 88094 w 4501379"/>
                    <a:gd name="connsiteY56" fmla="*/ 1590675 h 4429294"/>
                    <a:gd name="connsiteX57" fmla="*/ 116669 w 4501379"/>
                    <a:gd name="connsiteY57" fmla="*/ 1504950 h 4429294"/>
                    <a:gd name="connsiteX58" fmla="*/ 135719 w 4501379"/>
                    <a:gd name="connsiteY58" fmla="*/ 1419225 h 4429294"/>
                    <a:gd name="connsiteX59" fmla="*/ 211919 w 4501379"/>
                    <a:gd name="connsiteY59" fmla="*/ 1276350 h 4429294"/>
                    <a:gd name="connsiteX60" fmla="*/ 221444 w 4501379"/>
                    <a:gd name="connsiteY60" fmla="*/ 1247775 h 4429294"/>
                    <a:gd name="connsiteX61" fmla="*/ 250019 w 4501379"/>
                    <a:gd name="connsiteY61" fmla="*/ 1200150 h 4429294"/>
                    <a:gd name="connsiteX62" fmla="*/ 269069 w 4501379"/>
                    <a:gd name="connsiteY62" fmla="*/ 1152525 h 4429294"/>
                    <a:gd name="connsiteX63" fmla="*/ 297644 w 4501379"/>
                    <a:gd name="connsiteY63" fmla="*/ 1114425 h 4429294"/>
                    <a:gd name="connsiteX64" fmla="*/ 345269 w 4501379"/>
                    <a:gd name="connsiteY64" fmla="*/ 1038225 h 4429294"/>
                    <a:gd name="connsiteX65" fmla="*/ 364319 w 4501379"/>
                    <a:gd name="connsiteY65" fmla="*/ 1009650 h 4429294"/>
                    <a:gd name="connsiteX66" fmla="*/ 421469 w 4501379"/>
                    <a:gd name="connsiteY66" fmla="*/ 904875 h 4429294"/>
                    <a:gd name="connsiteX67" fmla="*/ 459569 w 4501379"/>
                    <a:gd name="connsiteY67" fmla="*/ 857250 h 4429294"/>
                    <a:gd name="connsiteX68" fmla="*/ 478619 w 4501379"/>
                    <a:gd name="connsiteY68" fmla="*/ 828675 h 4429294"/>
                    <a:gd name="connsiteX69" fmla="*/ 516719 w 4501379"/>
                    <a:gd name="connsiteY69" fmla="*/ 800100 h 4429294"/>
                    <a:gd name="connsiteX70" fmla="*/ 583394 w 4501379"/>
                    <a:gd name="connsiteY70" fmla="*/ 733425 h 4429294"/>
                    <a:gd name="connsiteX71" fmla="*/ 650069 w 4501379"/>
                    <a:gd name="connsiteY71" fmla="*/ 676275 h 4429294"/>
                    <a:gd name="connsiteX72" fmla="*/ 678644 w 4501379"/>
                    <a:gd name="connsiteY72" fmla="*/ 657225 h 4429294"/>
                    <a:gd name="connsiteX73" fmla="*/ 821519 w 4501379"/>
                    <a:gd name="connsiteY73" fmla="*/ 533400 h 4429294"/>
                    <a:gd name="connsiteX74" fmla="*/ 869144 w 4501379"/>
                    <a:gd name="connsiteY74" fmla="*/ 504825 h 4429294"/>
                    <a:gd name="connsiteX75" fmla="*/ 1148544 w 4501379"/>
                    <a:gd name="connsiteY75" fmla="*/ 311150 h 4429294"/>
                    <a:gd name="connsiteX76" fmla="*/ 1250144 w 4501379"/>
                    <a:gd name="connsiteY76" fmla="*/ 285750 h 4429294"/>
                    <a:gd name="connsiteX77" fmla="*/ 1393019 w 4501379"/>
                    <a:gd name="connsiteY77" fmla="*/ 190500 h 4429294"/>
                    <a:gd name="connsiteX78" fmla="*/ 1431119 w 4501379"/>
                    <a:gd name="connsiteY78" fmla="*/ 161925 h 4429294"/>
                    <a:gd name="connsiteX79" fmla="*/ 1507319 w 4501379"/>
                    <a:gd name="connsiteY79" fmla="*/ 152400 h 4429294"/>
                    <a:gd name="connsiteX80" fmla="*/ 1564469 w 4501379"/>
                    <a:gd name="connsiteY80" fmla="*/ 142875 h 4429294"/>
                    <a:gd name="connsiteX81" fmla="*/ 1697819 w 4501379"/>
                    <a:gd name="connsiteY81" fmla="*/ 123825 h 4429294"/>
                    <a:gd name="connsiteX82" fmla="*/ 1793069 w 4501379"/>
                    <a:gd name="connsiteY82" fmla="*/ 114300 h 4429294"/>
                    <a:gd name="connsiteX83" fmla="*/ 1840694 w 4501379"/>
                    <a:gd name="connsiteY83" fmla="*/ 104775 h 4429294"/>
                    <a:gd name="connsiteX84" fmla="*/ 1897844 w 4501379"/>
                    <a:gd name="connsiteY84" fmla="*/ 95250 h 4429294"/>
                    <a:gd name="connsiteX85" fmla="*/ 2012144 w 4501379"/>
                    <a:gd name="connsiteY85" fmla="*/ 66675 h 4429294"/>
                    <a:gd name="connsiteX86" fmla="*/ 2078819 w 4501379"/>
                    <a:gd name="connsiteY86" fmla="*/ 47625 h 4429294"/>
                    <a:gd name="connsiteX87" fmla="*/ 2145494 w 4501379"/>
                    <a:gd name="connsiteY8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3117044 w 4501379"/>
                    <a:gd name="connsiteY4" fmla="*/ 171450 h 4429294"/>
                    <a:gd name="connsiteX5" fmla="*/ 3155144 w 4501379"/>
                    <a:gd name="connsiteY5" fmla="*/ 190500 h 4429294"/>
                    <a:gd name="connsiteX6" fmla="*/ 3221819 w 4501379"/>
                    <a:gd name="connsiteY6" fmla="*/ 228600 h 4429294"/>
                    <a:gd name="connsiteX7" fmla="*/ 3250394 w 4501379"/>
                    <a:gd name="connsiteY7" fmla="*/ 238125 h 4429294"/>
                    <a:gd name="connsiteX8" fmla="*/ 3278969 w 4501379"/>
                    <a:gd name="connsiteY8" fmla="*/ 257175 h 4429294"/>
                    <a:gd name="connsiteX9" fmla="*/ 3307544 w 4501379"/>
                    <a:gd name="connsiteY9" fmla="*/ 266700 h 4429294"/>
                    <a:gd name="connsiteX10" fmla="*/ 3336119 w 4501379"/>
                    <a:gd name="connsiteY10" fmla="*/ 285750 h 4429294"/>
                    <a:gd name="connsiteX11" fmla="*/ 3402794 w 4501379"/>
                    <a:gd name="connsiteY11" fmla="*/ 323850 h 4429294"/>
                    <a:gd name="connsiteX12" fmla="*/ 3450419 w 4501379"/>
                    <a:gd name="connsiteY12" fmla="*/ 361950 h 4429294"/>
                    <a:gd name="connsiteX13" fmla="*/ 3498044 w 4501379"/>
                    <a:gd name="connsiteY13" fmla="*/ 390525 h 4429294"/>
                    <a:gd name="connsiteX14" fmla="*/ 3612344 w 4501379"/>
                    <a:gd name="connsiteY14" fmla="*/ 485775 h 4429294"/>
                    <a:gd name="connsiteX15" fmla="*/ 3726644 w 4501379"/>
                    <a:gd name="connsiteY15" fmla="*/ 542925 h 4429294"/>
                    <a:gd name="connsiteX16" fmla="*/ 3793319 w 4501379"/>
                    <a:gd name="connsiteY16" fmla="*/ 581025 h 4429294"/>
                    <a:gd name="connsiteX17" fmla="*/ 4009219 w 4501379"/>
                    <a:gd name="connsiteY17" fmla="*/ 819150 h 4429294"/>
                    <a:gd name="connsiteX18" fmla="*/ 4145744 w 4501379"/>
                    <a:gd name="connsiteY18" fmla="*/ 990600 h 4429294"/>
                    <a:gd name="connsiteX19" fmla="*/ 4231469 w 4501379"/>
                    <a:gd name="connsiteY19" fmla="*/ 1143000 h 4429294"/>
                    <a:gd name="connsiteX20" fmla="*/ 4288619 w 4501379"/>
                    <a:gd name="connsiteY20" fmla="*/ 1266825 h 4429294"/>
                    <a:gd name="connsiteX21" fmla="*/ 4326719 w 4501379"/>
                    <a:gd name="connsiteY21" fmla="*/ 1362075 h 4429294"/>
                    <a:gd name="connsiteX22" fmla="*/ 4374344 w 4501379"/>
                    <a:gd name="connsiteY22" fmla="*/ 1552575 h 4429294"/>
                    <a:gd name="connsiteX23" fmla="*/ 4412444 w 4501379"/>
                    <a:gd name="connsiteY23" fmla="*/ 1685925 h 4429294"/>
                    <a:gd name="connsiteX24" fmla="*/ 4501344 w 4501379"/>
                    <a:gd name="connsiteY24" fmla="*/ 2181225 h 4429294"/>
                    <a:gd name="connsiteX25" fmla="*/ 4428319 w 4501379"/>
                    <a:gd name="connsiteY25" fmla="*/ 2768600 h 4429294"/>
                    <a:gd name="connsiteX26" fmla="*/ 4364819 w 4501379"/>
                    <a:gd name="connsiteY26" fmla="*/ 2990850 h 4429294"/>
                    <a:gd name="connsiteX27" fmla="*/ 4260044 w 4501379"/>
                    <a:gd name="connsiteY27" fmla="*/ 3248025 h 4429294"/>
                    <a:gd name="connsiteX28" fmla="*/ 4164794 w 4501379"/>
                    <a:gd name="connsiteY28" fmla="*/ 3400425 h 4429294"/>
                    <a:gd name="connsiteX29" fmla="*/ 4040969 w 4501379"/>
                    <a:gd name="connsiteY29" fmla="*/ 3533775 h 4429294"/>
                    <a:gd name="connsiteX30" fmla="*/ 3936194 w 4501379"/>
                    <a:gd name="connsiteY30" fmla="*/ 3648075 h 4429294"/>
                    <a:gd name="connsiteX31" fmla="*/ 3640919 w 4501379"/>
                    <a:gd name="connsiteY31" fmla="*/ 3971925 h 4429294"/>
                    <a:gd name="connsiteX32" fmla="*/ 3498044 w 4501379"/>
                    <a:gd name="connsiteY32" fmla="*/ 4083050 h 4429294"/>
                    <a:gd name="connsiteX33" fmla="*/ 3202769 w 4501379"/>
                    <a:gd name="connsiteY33" fmla="*/ 4222750 h 4429294"/>
                    <a:gd name="connsiteX34" fmla="*/ 3050369 w 4501379"/>
                    <a:gd name="connsiteY34" fmla="*/ 4286250 h 4429294"/>
                    <a:gd name="connsiteX35" fmla="*/ 2917019 w 4501379"/>
                    <a:gd name="connsiteY35" fmla="*/ 4333875 h 4429294"/>
                    <a:gd name="connsiteX36" fmla="*/ 2793194 w 4501379"/>
                    <a:gd name="connsiteY36" fmla="*/ 4371975 h 4429294"/>
                    <a:gd name="connsiteX37" fmla="*/ 2561419 w 4501379"/>
                    <a:gd name="connsiteY37" fmla="*/ 4391025 h 4429294"/>
                    <a:gd name="connsiteX38" fmla="*/ 2107394 w 4501379"/>
                    <a:gd name="connsiteY38" fmla="*/ 4429125 h 4429294"/>
                    <a:gd name="connsiteX39" fmla="*/ 1916894 w 4501379"/>
                    <a:gd name="connsiteY39" fmla="*/ 4400550 h 4429294"/>
                    <a:gd name="connsiteX40" fmla="*/ 1554944 w 4501379"/>
                    <a:gd name="connsiteY40" fmla="*/ 4305300 h 4429294"/>
                    <a:gd name="connsiteX41" fmla="*/ 1313644 w 4501379"/>
                    <a:gd name="connsiteY41" fmla="*/ 4216400 h 4429294"/>
                    <a:gd name="connsiteX42" fmla="*/ 1145369 w 4501379"/>
                    <a:gd name="connsiteY42" fmla="*/ 4111625 h 4429294"/>
                    <a:gd name="connsiteX43" fmla="*/ 926294 w 4501379"/>
                    <a:gd name="connsiteY43" fmla="*/ 3968750 h 4429294"/>
                    <a:gd name="connsiteX44" fmla="*/ 592919 w 4501379"/>
                    <a:gd name="connsiteY44" fmla="*/ 3657600 h 4429294"/>
                    <a:gd name="connsiteX45" fmla="*/ 446869 w 4501379"/>
                    <a:gd name="connsiteY45" fmla="*/ 3470275 h 4429294"/>
                    <a:gd name="connsiteX46" fmla="*/ 316694 w 4501379"/>
                    <a:gd name="connsiteY46" fmla="*/ 3244850 h 4429294"/>
                    <a:gd name="connsiteX47" fmla="*/ 164294 w 4501379"/>
                    <a:gd name="connsiteY47" fmla="*/ 2892425 h 4429294"/>
                    <a:gd name="connsiteX48" fmla="*/ 56344 w 4501379"/>
                    <a:gd name="connsiteY48" fmla="*/ 2368550 h 4429294"/>
                    <a:gd name="connsiteX49" fmla="*/ 2369 w 4501379"/>
                    <a:gd name="connsiteY49" fmla="*/ 1905000 h 4429294"/>
                    <a:gd name="connsiteX50" fmla="*/ 11894 w 4501379"/>
                    <a:gd name="connsiteY50" fmla="*/ 1838325 h 4429294"/>
                    <a:gd name="connsiteX51" fmla="*/ 30944 w 4501379"/>
                    <a:gd name="connsiteY51" fmla="*/ 1781175 h 4429294"/>
                    <a:gd name="connsiteX52" fmla="*/ 40469 w 4501379"/>
                    <a:gd name="connsiteY52" fmla="*/ 1743075 h 4429294"/>
                    <a:gd name="connsiteX53" fmla="*/ 59519 w 4501379"/>
                    <a:gd name="connsiteY53" fmla="*/ 1685925 h 4429294"/>
                    <a:gd name="connsiteX54" fmla="*/ 69044 w 4501379"/>
                    <a:gd name="connsiteY54" fmla="*/ 1638300 h 4429294"/>
                    <a:gd name="connsiteX55" fmla="*/ 88094 w 4501379"/>
                    <a:gd name="connsiteY55" fmla="*/ 1590675 h 4429294"/>
                    <a:gd name="connsiteX56" fmla="*/ 116669 w 4501379"/>
                    <a:gd name="connsiteY56" fmla="*/ 1504950 h 4429294"/>
                    <a:gd name="connsiteX57" fmla="*/ 135719 w 4501379"/>
                    <a:gd name="connsiteY57" fmla="*/ 1419225 h 4429294"/>
                    <a:gd name="connsiteX58" fmla="*/ 211919 w 4501379"/>
                    <a:gd name="connsiteY58" fmla="*/ 1276350 h 4429294"/>
                    <a:gd name="connsiteX59" fmla="*/ 221444 w 4501379"/>
                    <a:gd name="connsiteY59" fmla="*/ 1247775 h 4429294"/>
                    <a:gd name="connsiteX60" fmla="*/ 250019 w 4501379"/>
                    <a:gd name="connsiteY60" fmla="*/ 1200150 h 4429294"/>
                    <a:gd name="connsiteX61" fmla="*/ 269069 w 4501379"/>
                    <a:gd name="connsiteY61" fmla="*/ 1152525 h 4429294"/>
                    <a:gd name="connsiteX62" fmla="*/ 297644 w 4501379"/>
                    <a:gd name="connsiteY62" fmla="*/ 1114425 h 4429294"/>
                    <a:gd name="connsiteX63" fmla="*/ 345269 w 4501379"/>
                    <a:gd name="connsiteY63" fmla="*/ 1038225 h 4429294"/>
                    <a:gd name="connsiteX64" fmla="*/ 364319 w 4501379"/>
                    <a:gd name="connsiteY64" fmla="*/ 1009650 h 4429294"/>
                    <a:gd name="connsiteX65" fmla="*/ 421469 w 4501379"/>
                    <a:gd name="connsiteY65" fmla="*/ 904875 h 4429294"/>
                    <a:gd name="connsiteX66" fmla="*/ 459569 w 4501379"/>
                    <a:gd name="connsiteY66" fmla="*/ 857250 h 4429294"/>
                    <a:gd name="connsiteX67" fmla="*/ 478619 w 4501379"/>
                    <a:gd name="connsiteY67" fmla="*/ 828675 h 4429294"/>
                    <a:gd name="connsiteX68" fmla="*/ 516719 w 4501379"/>
                    <a:gd name="connsiteY68" fmla="*/ 800100 h 4429294"/>
                    <a:gd name="connsiteX69" fmla="*/ 583394 w 4501379"/>
                    <a:gd name="connsiteY69" fmla="*/ 733425 h 4429294"/>
                    <a:gd name="connsiteX70" fmla="*/ 650069 w 4501379"/>
                    <a:gd name="connsiteY70" fmla="*/ 676275 h 4429294"/>
                    <a:gd name="connsiteX71" fmla="*/ 678644 w 4501379"/>
                    <a:gd name="connsiteY71" fmla="*/ 657225 h 4429294"/>
                    <a:gd name="connsiteX72" fmla="*/ 821519 w 4501379"/>
                    <a:gd name="connsiteY72" fmla="*/ 533400 h 4429294"/>
                    <a:gd name="connsiteX73" fmla="*/ 869144 w 4501379"/>
                    <a:gd name="connsiteY73" fmla="*/ 504825 h 4429294"/>
                    <a:gd name="connsiteX74" fmla="*/ 1148544 w 4501379"/>
                    <a:gd name="connsiteY74" fmla="*/ 311150 h 4429294"/>
                    <a:gd name="connsiteX75" fmla="*/ 1250144 w 4501379"/>
                    <a:gd name="connsiteY75" fmla="*/ 285750 h 4429294"/>
                    <a:gd name="connsiteX76" fmla="*/ 1393019 w 4501379"/>
                    <a:gd name="connsiteY76" fmla="*/ 190500 h 4429294"/>
                    <a:gd name="connsiteX77" fmla="*/ 1431119 w 4501379"/>
                    <a:gd name="connsiteY77" fmla="*/ 161925 h 4429294"/>
                    <a:gd name="connsiteX78" fmla="*/ 1507319 w 4501379"/>
                    <a:gd name="connsiteY78" fmla="*/ 152400 h 4429294"/>
                    <a:gd name="connsiteX79" fmla="*/ 1564469 w 4501379"/>
                    <a:gd name="connsiteY79" fmla="*/ 142875 h 4429294"/>
                    <a:gd name="connsiteX80" fmla="*/ 1697819 w 4501379"/>
                    <a:gd name="connsiteY80" fmla="*/ 123825 h 4429294"/>
                    <a:gd name="connsiteX81" fmla="*/ 1793069 w 4501379"/>
                    <a:gd name="connsiteY81" fmla="*/ 114300 h 4429294"/>
                    <a:gd name="connsiteX82" fmla="*/ 1840694 w 4501379"/>
                    <a:gd name="connsiteY82" fmla="*/ 104775 h 4429294"/>
                    <a:gd name="connsiteX83" fmla="*/ 1897844 w 4501379"/>
                    <a:gd name="connsiteY83" fmla="*/ 95250 h 4429294"/>
                    <a:gd name="connsiteX84" fmla="*/ 2012144 w 4501379"/>
                    <a:gd name="connsiteY84" fmla="*/ 66675 h 4429294"/>
                    <a:gd name="connsiteX85" fmla="*/ 2078819 w 4501379"/>
                    <a:gd name="connsiteY85" fmla="*/ 47625 h 4429294"/>
                    <a:gd name="connsiteX86" fmla="*/ 2145494 w 4501379"/>
                    <a:gd name="connsiteY8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155144 w 4501379"/>
                    <a:gd name="connsiteY4" fmla="*/ 190500 h 4429294"/>
                    <a:gd name="connsiteX5" fmla="*/ 3221819 w 4501379"/>
                    <a:gd name="connsiteY5" fmla="*/ 228600 h 4429294"/>
                    <a:gd name="connsiteX6" fmla="*/ 3250394 w 4501379"/>
                    <a:gd name="connsiteY6" fmla="*/ 238125 h 4429294"/>
                    <a:gd name="connsiteX7" fmla="*/ 3278969 w 4501379"/>
                    <a:gd name="connsiteY7" fmla="*/ 257175 h 4429294"/>
                    <a:gd name="connsiteX8" fmla="*/ 3307544 w 4501379"/>
                    <a:gd name="connsiteY8" fmla="*/ 266700 h 4429294"/>
                    <a:gd name="connsiteX9" fmla="*/ 3336119 w 4501379"/>
                    <a:gd name="connsiteY9" fmla="*/ 285750 h 4429294"/>
                    <a:gd name="connsiteX10" fmla="*/ 3402794 w 4501379"/>
                    <a:gd name="connsiteY10" fmla="*/ 323850 h 4429294"/>
                    <a:gd name="connsiteX11" fmla="*/ 3450419 w 4501379"/>
                    <a:gd name="connsiteY11" fmla="*/ 361950 h 4429294"/>
                    <a:gd name="connsiteX12" fmla="*/ 3498044 w 4501379"/>
                    <a:gd name="connsiteY12" fmla="*/ 390525 h 4429294"/>
                    <a:gd name="connsiteX13" fmla="*/ 3612344 w 4501379"/>
                    <a:gd name="connsiteY13" fmla="*/ 485775 h 4429294"/>
                    <a:gd name="connsiteX14" fmla="*/ 3726644 w 4501379"/>
                    <a:gd name="connsiteY14" fmla="*/ 542925 h 4429294"/>
                    <a:gd name="connsiteX15" fmla="*/ 3793319 w 4501379"/>
                    <a:gd name="connsiteY15" fmla="*/ 581025 h 4429294"/>
                    <a:gd name="connsiteX16" fmla="*/ 4009219 w 4501379"/>
                    <a:gd name="connsiteY16" fmla="*/ 819150 h 4429294"/>
                    <a:gd name="connsiteX17" fmla="*/ 4145744 w 4501379"/>
                    <a:gd name="connsiteY17" fmla="*/ 990600 h 4429294"/>
                    <a:gd name="connsiteX18" fmla="*/ 4231469 w 4501379"/>
                    <a:gd name="connsiteY18" fmla="*/ 1143000 h 4429294"/>
                    <a:gd name="connsiteX19" fmla="*/ 4288619 w 4501379"/>
                    <a:gd name="connsiteY19" fmla="*/ 1266825 h 4429294"/>
                    <a:gd name="connsiteX20" fmla="*/ 4326719 w 4501379"/>
                    <a:gd name="connsiteY20" fmla="*/ 1362075 h 4429294"/>
                    <a:gd name="connsiteX21" fmla="*/ 4374344 w 4501379"/>
                    <a:gd name="connsiteY21" fmla="*/ 1552575 h 4429294"/>
                    <a:gd name="connsiteX22" fmla="*/ 4412444 w 4501379"/>
                    <a:gd name="connsiteY22" fmla="*/ 1685925 h 4429294"/>
                    <a:gd name="connsiteX23" fmla="*/ 4501344 w 4501379"/>
                    <a:gd name="connsiteY23" fmla="*/ 2181225 h 4429294"/>
                    <a:gd name="connsiteX24" fmla="*/ 4428319 w 4501379"/>
                    <a:gd name="connsiteY24" fmla="*/ 2768600 h 4429294"/>
                    <a:gd name="connsiteX25" fmla="*/ 4364819 w 4501379"/>
                    <a:gd name="connsiteY25" fmla="*/ 2990850 h 4429294"/>
                    <a:gd name="connsiteX26" fmla="*/ 4260044 w 4501379"/>
                    <a:gd name="connsiteY26" fmla="*/ 3248025 h 4429294"/>
                    <a:gd name="connsiteX27" fmla="*/ 4164794 w 4501379"/>
                    <a:gd name="connsiteY27" fmla="*/ 3400425 h 4429294"/>
                    <a:gd name="connsiteX28" fmla="*/ 4040969 w 4501379"/>
                    <a:gd name="connsiteY28" fmla="*/ 3533775 h 4429294"/>
                    <a:gd name="connsiteX29" fmla="*/ 3936194 w 4501379"/>
                    <a:gd name="connsiteY29" fmla="*/ 3648075 h 4429294"/>
                    <a:gd name="connsiteX30" fmla="*/ 3640919 w 4501379"/>
                    <a:gd name="connsiteY30" fmla="*/ 3971925 h 4429294"/>
                    <a:gd name="connsiteX31" fmla="*/ 3498044 w 4501379"/>
                    <a:gd name="connsiteY31" fmla="*/ 4083050 h 4429294"/>
                    <a:gd name="connsiteX32" fmla="*/ 3202769 w 4501379"/>
                    <a:gd name="connsiteY32" fmla="*/ 4222750 h 4429294"/>
                    <a:gd name="connsiteX33" fmla="*/ 3050369 w 4501379"/>
                    <a:gd name="connsiteY33" fmla="*/ 4286250 h 4429294"/>
                    <a:gd name="connsiteX34" fmla="*/ 2917019 w 4501379"/>
                    <a:gd name="connsiteY34" fmla="*/ 4333875 h 4429294"/>
                    <a:gd name="connsiteX35" fmla="*/ 2793194 w 4501379"/>
                    <a:gd name="connsiteY35" fmla="*/ 4371975 h 4429294"/>
                    <a:gd name="connsiteX36" fmla="*/ 2561419 w 4501379"/>
                    <a:gd name="connsiteY36" fmla="*/ 4391025 h 4429294"/>
                    <a:gd name="connsiteX37" fmla="*/ 2107394 w 4501379"/>
                    <a:gd name="connsiteY37" fmla="*/ 4429125 h 4429294"/>
                    <a:gd name="connsiteX38" fmla="*/ 1916894 w 4501379"/>
                    <a:gd name="connsiteY38" fmla="*/ 4400550 h 4429294"/>
                    <a:gd name="connsiteX39" fmla="*/ 1554944 w 4501379"/>
                    <a:gd name="connsiteY39" fmla="*/ 4305300 h 4429294"/>
                    <a:gd name="connsiteX40" fmla="*/ 1313644 w 4501379"/>
                    <a:gd name="connsiteY40" fmla="*/ 4216400 h 4429294"/>
                    <a:gd name="connsiteX41" fmla="*/ 1145369 w 4501379"/>
                    <a:gd name="connsiteY41" fmla="*/ 4111625 h 4429294"/>
                    <a:gd name="connsiteX42" fmla="*/ 926294 w 4501379"/>
                    <a:gd name="connsiteY42" fmla="*/ 3968750 h 4429294"/>
                    <a:gd name="connsiteX43" fmla="*/ 592919 w 4501379"/>
                    <a:gd name="connsiteY43" fmla="*/ 3657600 h 4429294"/>
                    <a:gd name="connsiteX44" fmla="*/ 446869 w 4501379"/>
                    <a:gd name="connsiteY44" fmla="*/ 3470275 h 4429294"/>
                    <a:gd name="connsiteX45" fmla="*/ 316694 w 4501379"/>
                    <a:gd name="connsiteY45" fmla="*/ 3244850 h 4429294"/>
                    <a:gd name="connsiteX46" fmla="*/ 164294 w 4501379"/>
                    <a:gd name="connsiteY46" fmla="*/ 2892425 h 4429294"/>
                    <a:gd name="connsiteX47" fmla="*/ 56344 w 4501379"/>
                    <a:gd name="connsiteY47" fmla="*/ 2368550 h 4429294"/>
                    <a:gd name="connsiteX48" fmla="*/ 2369 w 4501379"/>
                    <a:gd name="connsiteY48" fmla="*/ 1905000 h 4429294"/>
                    <a:gd name="connsiteX49" fmla="*/ 11894 w 4501379"/>
                    <a:gd name="connsiteY49" fmla="*/ 1838325 h 4429294"/>
                    <a:gd name="connsiteX50" fmla="*/ 30944 w 4501379"/>
                    <a:gd name="connsiteY50" fmla="*/ 1781175 h 4429294"/>
                    <a:gd name="connsiteX51" fmla="*/ 40469 w 4501379"/>
                    <a:gd name="connsiteY51" fmla="*/ 1743075 h 4429294"/>
                    <a:gd name="connsiteX52" fmla="*/ 59519 w 4501379"/>
                    <a:gd name="connsiteY52" fmla="*/ 1685925 h 4429294"/>
                    <a:gd name="connsiteX53" fmla="*/ 69044 w 4501379"/>
                    <a:gd name="connsiteY53" fmla="*/ 1638300 h 4429294"/>
                    <a:gd name="connsiteX54" fmla="*/ 88094 w 4501379"/>
                    <a:gd name="connsiteY54" fmla="*/ 1590675 h 4429294"/>
                    <a:gd name="connsiteX55" fmla="*/ 116669 w 4501379"/>
                    <a:gd name="connsiteY55" fmla="*/ 1504950 h 4429294"/>
                    <a:gd name="connsiteX56" fmla="*/ 135719 w 4501379"/>
                    <a:gd name="connsiteY56" fmla="*/ 1419225 h 4429294"/>
                    <a:gd name="connsiteX57" fmla="*/ 211919 w 4501379"/>
                    <a:gd name="connsiteY57" fmla="*/ 1276350 h 4429294"/>
                    <a:gd name="connsiteX58" fmla="*/ 221444 w 4501379"/>
                    <a:gd name="connsiteY58" fmla="*/ 1247775 h 4429294"/>
                    <a:gd name="connsiteX59" fmla="*/ 250019 w 4501379"/>
                    <a:gd name="connsiteY59" fmla="*/ 1200150 h 4429294"/>
                    <a:gd name="connsiteX60" fmla="*/ 269069 w 4501379"/>
                    <a:gd name="connsiteY60" fmla="*/ 1152525 h 4429294"/>
                    <a:gd name="connsiteX61" fmla="*/ 297644 w 4501379"/>
                    <a:gd name="connsiteY61" fmla="*/ 1114425 h 4429294"/>
                    <a:gd name="connsiteX62" fmla="*/ 345269 w 4501379"/>
                    <a:gd name="connsiteY62" fmla="*/ 1038225 h 4429294"/>
                    <a:gd name="connsiteX63" fmla="*/ 364319 w 4501379"/>
                    <a:gd name="connsiteY63" fmla="*/ 1009650 h 4429294"/>
                    <a:gd name="connsiteX64" fmla="*/ 421469 w 4501379"/>
                    <a:gd name="connsiteY64" fmla="*/ 904875 h 4429294"/>
                    <a:gd name="connsiteX65" fmla="*/ 459569 w 4501379"/>
                    <a:gd name="connsiteY65" fmla="*/ 857250 h 4429294"/>
                    <a:gd name="connsiteX66" fmla="*/ 478619 w 4501379"/>
                    <a:gd name="connsiteY66" fmla="*/ 828675 h 4429294"/>
                    <a:gd name="connsiteX67" fmla="*/ 516719 w 4501379"/>
                    <a:gd name="connsiteY67" fmla="*/ 800100 h 4429294"/>
                    <a:gd name="connsiteX68" fmla="*/ 583394 w 4501379"/>
                    <a:gd name="connsiteY68" fmla="*/ 733425 h 4429294"/>
                    <a:gd name="connsiteX69" fmla="*/ 650069 w 4501379"/>
                    <a:gd name="connsiteY69" fmla="*/ 676275 h 4429294"/>
                    <a:gd name="connsiteX70" fmla="*/ 678644 w 4501379"/>
                    <a:gd name="connsiteY70" fmla="*/ 657225 h 4429294"/>
                    <a:gd name="connsiteX71" fmla="*/ 821519 w 4501379"/>
                    <a:gd name="connsiteY71" fmla="*/ 533400 h 4429294"/>
                    <a:gd name="connsiteX72" fmla="*/ 869144 w 4501379"/>
                    <a:gd name="connsiteY72" fmla="*/ 504825 h 4429294"/>
                    <a:gd name="connsiteX73" fmla="*/ 1148544 w 4501379"/>
                    <a:gd name="connsiteY73" fmla="*/ 311150 h 4429294"/>
                    <a:gd name="connsiteX74" fmla="*/ 1250144 w 4501379"/>
                    <a:gd name="connsiteY74" fmla="*/ 285750 h 4429294"/>
                    <a:gd name="connsiteX75" fmla="*/ 1393019 w 4501379"/>
                    <a:gd name="connsiteY75" fmla="*/ 190500 h 4429294"/>
                    <a:gd name="connsiteX76" fmla="*/ 1431119 w 4501379"/>
                    <a:gd name="connsiteY76" fmla="*/ 161925 h 4429294"/>
                    <a:gd name="connsiteX77" fmla="*/ 1507319 w 4501379"/>
                    <a:gd name="connsiteY77" fmla="*/ 152400 h 4429294"/>
                    <a:gd name="connsiteX78" fmla="*/ 1564469 w 4501379"/>
                    <a:gd name="connsiteY78" fmla="*/ 142875 h 4429294"/>
                    <a:gd name="connsiteX79" fmla="*/ 1697819 w 4501379"/>
                    <a:gd name="connsiteY79" fmla="*/ 123825 h 4429294"/>
                    <a:gd name="connsiteX80" fmla="*/ 1793069 w 4501379"/>
                    <a:gd name="connsiteY80" fmla="*/ 114300 h 4429294"/>
                    <a:gd name="connsiteX81" fmla="*/ 1840694 w 4501379"/>
                    <a:gd name="connsiteY81" fmla="*/ 104775 h 4429294"/>
                    <a:gd name="connsiteX82" fmla="*/ 1897844 w 4501379"/>
                    <a:gd name="connsiteY82" fmla="*/ 95250 h 4429294"/>
                    <a:gd name="connsiteX83" fmla="*/ 2012144 w 4501379"/>
                    <a:gd name="connsiteY83" fmla="*/ 66675 h 4429294"/>
                    <a:gd name="connsiteX84" fmla="*/ 2078819 w 4501379"/>
                    <a:gd name="connsiteY84" fmla="*/ 47625 h 4429294"/>
                    <a:gd name="connsiteX85" fmla="*/ 2145494 w 4501379"/>
                    <a:gd name="connsiteY8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278969 w 4501379"/>
                    <a:gd name="connsiteY6" fmla="*/ 257175 h 4429294"/>
                    <a:gd name="connsiteX7" fmla="*/ 3307544 w 4501379"/>
                    <a:gd name="connsiteY7" fmla="*/ 266700 h 4429294"/>
                    <a:gd name="connsiteX8" fmla="*/ 3336119 w 4501379"/>
                    <a:gd name="connsiteY8" fmla="*/ 285750 h 4429294"/>
                    <a:gd name="connsiteX9" fmla="*/ 3402794 w 4501379"/>
                    <a:gd name="connsiteY9" fmla="*/ 323850 h 4429294"/>
                    <a:gd name="connsiteX10" fmla="*/ 3450419 w 4501379"/>
                    <a:gd name="connsiteY10" fmla="*/ 361950 h 4429294"/>
                    <a:gd name="connsiteX11" fmla="*/ 3498044 w 4501379"/>
                    <a:gd name="connsiteY11" fmla="*/ 390525 h 4429294"/>
                    <a:gd name="connsiteX12" fmla="*/ 3612344 w 4501379"/>
                    <a:gd name="connsiteY12" fmla="*/ 485775 h 4429294"/>
                    <a:gd name="connsiteX13" fmla="*/ 3726644 w 4501379"/>
                    <a:gd name="connsiteY13" fmla="*/ 542925 h 4429294"/>
                    <a:gd name="connsiteX14" fmla="*/ 3793319 w 4501379"/>
                    <a:gd name="connsiteY14" fmla="*/ 581025 h 4429294"/>
                    <a:gd name="connsiteX15" fmla="*/ 4009219 w 4501379"/>
                    <a:gd name="connsiteY15" fmla="*/ 819150 h 4429294"/>
                    <a:gd name="connsiteX16" fmla="*/ 4145744 w 4501379"/>
                    <a:gd name="connsiteY16" fmla="*/ 990600 h 4429294"/>
                    <a:gd name="connsiteX17" fmla="*/ 4231469 w 4501379"/>
                    <a:gd name="connsiteY17" fmla="*/ 1143000 h 4429294"/>
                    <a:gd name="connsiteX18" fmla="*/ 4288619 w 4501379"/>
                    <a:gd name="connsiteY18" fmla="*/ 1266825 h 4429294"/>
                    <a:gd name="connsiteX19" fmla="*/ 4326719 w 4501379"/>
                    <a:gd name="connsiteY19" fmla="*/ 1362075 h 4429294"/>
                    <a:gd name="connsiteX20" fmla="*/ 4374344 w 4501379"/>
                    <a:gd name="connsiteY20" fmla="*/ 1552575 h 4429294"/>
                    <a:gd name="connsiteX21" fmla="*/ 4412444 w 4501379"/>
                    <a:gd name="connsiteY21" fmla="*/ 1685925 h 4429294"/>
                    <a:gd name="connsiteX22" fmla="*/ 4501344 w 4501379"/>
                    <a:gd name="connsiteY22" fmla="*/ 2181225 h 4429294"/>
                    <a:gd name="connsiteX23" fmla="*/ 4428319 w 4501379"/>
                    <a:gd name="connsiteY23" fmla="*/ 2768600 h 4429294"/>
                    <a:gd name="connsiteX24" fmla="*/ 4364819 w 4501379"/>
                    <a:gd name="connsiteY24" fmla="*/ 2990850 h 4429294"/>
                    <a:gd name="connsiteX25" fmla="*/ 4260044 w 4501379"/>
                    <a:gd name="connsiteY25" fmla="*/ 3248025 h 4429294"/>
                    <a:gd name="connsiteX26" fmla="*/ 4164794 w 4501379"/>
                    <a:gd name="connsiteY26" fmla="*/ 3400425 h 4429294"/>
                    <a:gd name="connsiteX27" fmla="*/ 4040969 w 4501379"/>
                    <a:gd name="connsiteY27" fmla="*/ 3533775 h 4429294"/>
                    <a:gd name="connsiteX28" fmla="*/ 3936194 w 4501379"/>
                    <a:gd name="connsiteY28" fmla="*/ 3648075 h 4429294"/>
                    <a:gd name="connsiteX29" fmla="*/ 3640919 w 4501379"/>
                    <a:gd name="connsiteY29" fmla="*/ 3971925 h 4429294"/>
                    <a:gd name="connsiteX30" fmla="*/ 3498044 w 4501379"/>
                    <a:gd name="connsiteY30" fmla="*/ 4083050 h 4429294"/>
                    <a:gd name="connsiteX31" fmla="*/ 3202769 w 4501379"/>
                    <a:gd name="connsiteY31" fmla="*/ 4222750 h 4429294"/>
                    <a:gd name="connsiteX32" fmla="*/ 3050369 w 4501379"/>
                    <a:gd name="connsiteY32" fmla="*/ 4286250 h 4429294"/>
                    <a:gd name="connsiteX33" fmla="*/ 2917019 w 4501379"/>
                    <a:gd name="connsiteY33" fmla="*/ 4333875 h 4429294"/>
                    <a:gd name="connsiteX34" fmla="*/ 2793194 w 4501379"/>
                    <a:gd name="connsiteY34" fmla="*/ 4371975 h 4429294"/>
                    <a:gd name="connsiteX35" fmla="*/ 2561419 w 4501379"/>
                    <a:gd name="connsiteY35" fmla="*/ 4391025 h 4429294"/>
                    <a:gd name="connsiteX36" fmla="*/ 2107394 w 4501379"/>
                    <a:gd name="connsiteY36" fmla="*/ 4429125 h 4429294"/>
                    <a:gd name="connsiteX37" fmla="*/ 1916894 w 4501379"/>
                    <a:gd name="connsiteY37" fmla="*/ 4400550 h 4429294"/>
                    <a:gd name="connsiteX38" fmla="*/ 1554944 w 4501379"/>
                    <a:gd name="connsiteY38" fmla="*/ 4305300 h 4429294"/>
                    <a:gd name="connsiteX39" fmla="*/ 1313644 w 4501379"/>
                    <a:gd name="connsiteY39" fmla="*/ 4216400 h 4429294"/>
                    <a:gd name="connsiteX40" fmla="*/ 1145369 w 4501379"/>
                    <a:gd name="connsiteY40" fmla="*/ 4111625 h 4429294"/>
                    <a:gd name="connsiteX41" fmla="*/ 926294 w 4501379"/>
                    <a:gd name="connsiteY41" fmla="*/ 3968750 h 4429294"/>
                    <a:gd name="connsiteX42" fmla="*/ 592919 w 4501379"/>
                    <a:gd name="connsiteY42" fmla="*/ 3657600 h 4429294"/>
                    <a:gd name="connsiteX43" fmla="*/ 446869 w 4501379"/>
                    <a:gd name="connsiteY43" fmla="*/ 3470275 h 4429294"/>
                    <a:gd name="connsiteX44" fmla="*/ 316694 w 4501379"/>
                    <a:gd name="connsiteY44" fmla="*/ 3244850 h 4429294"/>
                    <a:gd name="connsiteX45" fmla="*/ 164294 w 4501379"/>
                    <a:gd name="connsiteY45" fmla="*/ 2892425 h 4429294"/>
                    <a:gd name="connsiteX46" fmla="*/ 56344 w 4501379"/>
                    <a:gd name="connsiteY46" fmla="*/ 2368550 h 4429294"/>
                    <a:gd name="connsiteX47" fmla="*/ 2369 w 4501379"/>
                    <a:gd name="connsiteY47" fmla="*/ 1905000 h 4429294"/>
                    <a:gd name="connsiteX48" fmla="*/ 11894 w 4501379"/>
                    <a:gd name="connsiteY48" fmla="*/ 1838325 h 4429294"/>
                    <a:gd name="connsiteX49" fmla="*/ 30944 w 4501379"/>
                    <a:gd name="connsiteY49" fmla="*/ 1781175 h 4429294"/>
                    <a:gd name="connsiteX50" fmla="*/ 40469 w 4501379"/>
                    <a:gd name="connsiteY50" fmla="*/ 1743075 h 4429294"/>
                    <a:gd name="connsiteX51" fmla="*/ 59519 w 4501379"/>
                    <a:gd name="connsiteY51" fmla="*/ 1685925 h 4429294"/>
                    <a:gd name="connsiteX52" fmla="*/ 69044 w 4501379"/>
                    <a:gd name="connsiteY52" fmla="*/ 1638300 h 4429294"/>
                    <a:gd name="connsiteX53" fmla="*/ 88094 w 4501379"/>
                    <a:gd name="connsiteY53" fmla="*/ 1590675 h 4429294"/>
                    <a:gd name="connsiteX54" fmla="*/ 116669 w 4501379"/>
                    <a:gd name="connsiteY54" fmla="*/ 1504950 h 4429294"/>
                    <a:gd name="connsiteX55" fmla="*/ 135719 w 4501379"/>
                    <a:gd name="connsiteY55" fmla="*/ 1419225 h 4429294"/>
                    <a:gd name="connsiteX56" fmla="*/ 211919 w 4501379"/>
                    <a:gd name="connsiteY56" fmla="*/ 1276350 h 4429294"/>
                    <a:gd name="connsiteX57" fmla="*/ 221444 w 4501379"/>
                    <a:gd name="connsiteY57" fmla="*/ 1247775 h 4429294"/>
                    <a:gd name="connsiteX58" fmla="*/ 250019 w 4501379"/>
                    <a:gd name="connsiteY58" fmla="*/ 1200150 h 4429294"/>
                    <a:gd name="connsiteX59" fmla="*/ 269069 w 4501379"/>
                    <a:gd name="connsiteY59" fmla="*/ 1152525 h 4429294"/>
                    <a:gd name="connsiteX60" fmla="*/ 297644 w 4501379"/>
                    <a:gd name="connsiteY60" fmla="*/ 1114425 h 4429294"/>
                    <a:gd name="connsiteX61" fmla="*/ 345269 w 4501379"/>
                    <a:gd name="connsiteY61" fmla="*/ 1038225 h 4429294"/>
                    <a:gd name="connsiteX62" fmla="*/ 364319 w 4501379"/>
                    <a:gd name="connsiteY62" fmla="*/ 1009650 h 4429294"/>
                    <a:gd name="connsiteX63" fmla="*/ 421469 w 4501379"/>
                    <a:gd name="connsiteY63" fmla="*/ 904875 h 4429294"/>
                    <a:gd name="connsiteX64" fmla="*/ 459569 w 4501379"/>
                    <a:gd name="connsiteY64" fmla="*/ 857250 h 4429294"/>
                    <a:gd name="connsiteX65" fmla="*/ 478619 w 4501379"/>
                    <a:gd name="connsiteY65" fmla="*/ 828675 h 4429294"/>
                    <a:gd name="connsiteX66" fmla="*/ 516719 w 4501379"/>
                    <a:gd name="connsiteY66" fmla="*/ 800100 h 4429294"/>
                    <a:gd name="connsiteX67" fmla="*/ 583394 w 4501379"/>
                    <a:gd name="connsiteY67" fmla="*/ 733425 h 4429294"/>
                    <a:gd name="connsiteX68" fmla="*/ 650069 w 4501379"/>
                    <a:gd name="connsiteY68" fmla="*/ 676275 h 4429294"/>
                    <a:gd name="connsiteX69" fmla="*/ 678644 w 4501379"/>
                    <a:gd name="connsiteY69" fmla="*/ 657225 h 4429294"/>
                    <a:gd name="connsiteX70" fmla="*/ 821519 w 4501379"/>
                    <a:gd name="connsiteY70" fmla="*/ 533400 h 4429294"/>
                    <a:gd name="connsiteX71" fmla="*/ 869144 w 4501379"/>
                    <a:gd name="connsiteY71" fmla="*/ 504825 h 4429294"/>
                    <a:gd name="connsiteX72" fmla="*/ 1148544 w 4501379"/>
                    <a:gd name="connsiteY72" fmla="*/ 311150 h 4429294"/>
                    <a:gd name="connsiteX73" fmla="*/ 1250144 w 4501379"/>
                    <a:gd name="connsiteY73" fmla="*/ 285750 h 4429294"/>
                    <a:gd name="connsiteX74" fmla="*/ 1393019 w 4501379"/>
                    <a:gd name="connsiteY74" fmla="*/ 190500 h 4429294"/>
                    <a:gd name="connsiteX75" fmla="*/ 1431119 w 4501379"/>
                    <a:gd name="connsiteY75" fmla="*/ 161925 h 4429294"/>
                    <a:gd name="connsiteX76" fmla="*/ 1507319 w 4501379"/>
                    <a:gd name="connsiteY76" fmla="*/ 152400 h 4429294"/>
                    <a:gd name="connsiteX77" fmla="*/ 1564469 w 4501379"/>
                    <a:gd name="connsiteY77" fmla="*/ 142875 h 4429294"/>
                    <a:gd name="connsiteX78" fmla="*/ 1697819 w 4501379"/>
                    <a:gd name="connsiteY78" fmla="*/ 123825 h 4429294"/>
                    <a:gd name="connsiteX79" fmla="*/ 1793069 w 4501379"/>
                    <a:gd name="connsiteY79" fmla="*/ 114300 h 4429294"/>
                    <a:gd name="connsiteX80" fmla="*/ 1840694 w 4501379"/>
                    <a:gd name="connsiteY80" fmla="*/ 104775 h 4429294"/>
                    <a:gd name="connsiteX81" fmla="*/ 1897844 w 4501379"/>
                    <a:gd name="connsiteY81" fmla="*/ 95250 h 4429294"/>
                    <a:gd name="connsiteX82" fmla="*/ 2012144 w 4501379"/>
                    <a:gd name="connsiteY82" fmla="*/ 66675 h 4429294"/>
                    <a:gd name="connsiteX83" fmla="*/ 2078819 w 4501379"/>
                    <a:gd name="connsiteY83" fmla="*/ 47625 h 4429294"/>
                    <a:gd name="connsiteX84" fmla="*/ 2145494 w 4501379"/>
                    <a:gd name="connsiteY8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336119 w 4501379"/>
                    <a:gd name="connsiteY7" fmla="*/ 285750 h 4429294"/>
                    <a:gd name="connsiteX8" fmla="*/ 3402794 w 4501379"/>
                    <a:gd name="connsiteY8" fmla="*/ 323850 h 4429294"/>
                    <a:gd name="connsiteX9" fmla="*/ 3450419 w 4501379"/>
                    <a:gd name="connsiteY9" fmla="*/ 361950 h 4429294"/>
                    <a:gd name="connsiteX10" fmla="*/ 3498044 w 4501379"/>
                    <a:gd name="connsiteY10" fmla="*/ 390525 h 4429294"/>
                    <a:gd name="connsiteX11" fmla="*/ 3612344 w 4501379"/>
                    <a:gd name="connsiteY11" fmla="*/ 485775 h 4429294"/>
                    <a:gd name="connsiteX12" fmla="*/ 3726644 w 4501379"/>
                    <a:gd name="connsiteY12" fmla="*/ 542925 h 4429294"/>
                    <a:gd name="connsiteX13" fmla="*/ 3793319 w 4501379"/>
                    <a:gd name="connsiteY13" fmla="*/ 581025 h 4429294"/>
                    <a:gd name="connsiteX14" fmla="*/ 4009219 w 4501379"/>
                    <a:gd name="connsiteY14" fmla="*/ 819150 h 4429294"/>
                    <a:gd name="connsiteX15" fmla="*/ 4145744 w 4501379"/>
                    <a:gd name="connsiteY15" fmla="*/ 990600 h 4429294"/>
                    <a:gd name="connsiteX16" fmla="*/ 4231469 w 4501379"/>
                    <a:gd name="connsiteY16" fmla="*/ 1143000 h 4429294"/>
                    <a:gd name="connsiteX17" fmla="*/ 4288619 w 4501379"/>
                    <a:gd name="connsiteY17" fmla="*/ 1266825 h 4429294"/>
                    <a:gd name="connsiteX18" fmla="*/ 4326719 w 4501379"/>
                    <a:gd name="connsiteY18" fmla="*/ 1362075 h 4429294"/>
                    <a:gd name="connsiteX19" fmla="*/ 4374344 w 4501379"/>
                    <a:gd name="connsiteY19" fmla="*/ 1552575 h 4429294"/>
                    <a:gd name="connsiteX20" fmla="*/ 4412444 w 4501379"/>
                    <a:gd name="connsiteY20" fmla="*/ 1685925 h 4429294"/>
                    <a:gd name="connsiteX21" fmla="*/ 4501344 w 4501379"/>
                    <a:gd name="connsiteY21" fmla="*/ 2181225 h 4429294"/>
                    <a:gd name="connsiteX22" fmla="*/ 4428319 w 4501379"/>
                    <a:gd name="connsiteY22" fmla="*/ 2768600 h 4429294"/>
                    <a:gd name="connsiteX23" fmla="*/ 4364819 w 4501379"/>
                    <a:gd name="connsiteY23" fmla="*/ 2990850 h 4429294"/>
                    <a:gd name="connsiteX24" fmla="*/ 4260044 w 4501379"/>
                    <a:gd name="connsiteY24" fmla="*/ 3248025 h 4429294"/>
                    <a:gd name="connsiteX25" fmla="*/ 4164794 w 4501379"/>
                    <a:gd name="connsiteY25" fmla="*/ 3400425 h 4429294"/>
                    <a:gd name="connsiteX26" fmla="*/ 4040969 w 4501379"/>
                    <a:gd name="connsiteY26" fmla="*/ 3533775 h 4429294"/>
                    <a:gd name="connsiteX27" fmla="*/ 3936194 w 4501379"/>
                    <a:gd name="connsiteY27" fmla="*/ 3648075 h 4429294"/>
                    <a:gd name="connsiteX28" fmla="*/ 3640919 w 4501379"/>
                    <a:gd name="connsiteY28" fmla="*/ 3971925 h 4429294"/>
                    <a:gd name="connsiteX29" fmla="*/ 3498044 w 4501379"/>
                    <a:gd name="connsiteY29" fmla="*/ 4083050 h 4429294"/>
                    <a:gd name="connsiteX30" fmla="*/ 3202769 w 4501379"/>
                    <a:gd name="connsiteY30" fmla="*/ 4222750 h 4429294"/>
                    <a:gd name="connsiteX31" fmla="*/ 3050369 w 4501379"/>
                    <a:gd name="connsiteY31" fmla="*/ 4286250 h 4429294"/>
                    <a:gd name="connsiteX32" fmla="*/ 2917019 w 4501379"/>
                    <a:gd name="connsiteY32" fmla="*/ 4333875 h 4429294"/>
                    <a:gd name="connsiteX33" fmla="*/ 2793194 w 4501379"/>
                    <a:gd name="connsiteY33" fmla="*/ 4371975 h 4429294"/>
                    <a:gd name="connsiteX34" fmla="*/ 2561419 w 4501379"/>
                    <a:gd name="connsiteY34" fmla="*/ 4391025 h 4429294"/>
                    <a:gd name="connsiteX35" fmla="*/ 2107394 w 4501379"/>
                    <a:gd name="connsiteY35" fmla="*/ 4429125 h 4429294"/>
                    <a:gd name="connsiteX36" fmla="*/ 1916894 w 4501379"/>
                    <a:gd name="connsiteY36" fmla="*/ 4400550 h 4429294"/>
                    <a:gd name="connsiteX37" fmla="*/ 1554944 w 4501379"/>
                    <a:gd name="connsiteY37" fmla="*/ 4305300 h 4429294"/>
                    <a:gd name="connsiteX38" fmla="*/ 1313644 w 4501379"/>
                    <a:gd name="connsiteY38" fmla="*/ 4216400 h 4429294"/>
                    <a:gd name="connsiteX39" fmla="*/ 1145369 w 4501379"/>
                    <a:gd name="connsiteY39" fmla="*/ 4111625 h 4429294"/>
                    <a:gd name="connsiteX40" fmla="*/ 926294 w 4501379"/>
                    <a:gd name="connsiteY40" fmla="*/ 3968750 h 4429294"/>
                    <a:gd name="connsiteX41" fmla="*/ 592919 w 4501379"/>
                    <a:gd name="connsiteY41" fmla="*/ 3657600 h 4429294"/>
                    <a:gd name="connsiteX42" fmla="*/ 446869 w 4501379"/>
                    <a:gd name="connsiteY42" fmla="*/ 3470275 h 4429294"/>
                    <a:gd name="connsiteX43" fmla="*/ 316694 w 4501379"/>
                    <a:gd name="connsiteY43" fmla="*/ 3244850 h 4429294"/>
                    <a:gd name="connsiteX44" fmla="*/ 164294 w 4501379"/>
                    <a:gd name="connsiteY44" fmla="*/ 2892425 h 4429294"/>
                    <a:gd name="connsiteX45" fmla="*/ 56344 w 4501379"/>
                    <a:gd name="connsiteY45" fmla="*/ 2368550 h 4429294"/>
                    <a:gd name="connsiteX46" fmla="*/ 2369 w 4501379"/>
                    <a:gd name="connsiteY46" fmla="*/ 1905000 h 4429294"/>
                    <a:gd name="connsiteX47" fmla="*/ 11894 w 4501379"/>
                    <a:gd name="connsiteY47" fmla="*/ 1838325 h 4429294"/>
                    <a:gd name="connsiteX48" fmla="*/ 30944 w 4501379"/>
                    <a:gd name="connsiteY48" fmla="*/ 1781175 h 4429294"/>
                    <a:gd name="connsiteX49" fmla="*/ 40469 w 4501379"/>
                    <a:gd name="connsiteY49" fmla="*/ 1743075 h 4429294"/>
                    <a:gd name="connsiteX50" fmla="*/ 59519 w 4501379"/>
                    <a:gd name="connsiteY50" fmla="*/ 1685925 h 4429294"/>
                    <a:gd name="connsiteX51" fmla="*/ 69044 w 4501379"/>
                    <a:gd name="connsiteY51" fmla="*/ 1638300 h 4429294"/>
                    <a:gd name="connsiteX52" fmla="*/ 88094 w 4501379"/>
                    <a:gd name="connsiteY52" fmla="*/ 1590675 h 4429294"/>
                    <a:gd name="connsiteX53" fmla="*/ 116669 w 4501379"/>
                    <a:gd name="connsiteY53" fmla="*/ 1504950 h 4429294"/>
                    <a:gd name="connsiteX54" fmla="*/ 135719 w 4501379"/>
                    <a:gd name="connsiteY54" fmla="*/ 1419225 h 4429294"/>
                    <a:gd name="connsiteX55" fmla="*/ 211919 w 4501379"/>
                    <a:gd name="connsiteY55" fmla="*/ 1276350 h 4429294"/>
                    <a:gd name="connsiteX56" fmla="*/ 221444 w 4501379"/>
                    <a:gd name="connsiteY56" fmla="*/ 1247775 h 4429294"/>
                    <a:gd name="connsiteX57" fmla="*/ 250019 w 4501379"/>
                    <a:gd name="connsiteY57" fmla="*/ 1200150 h 4429294"/>
                    <a:gd name="connsiteX58" fmla="*/ 269069 w 4501379"/>
                    <a:gd name="connsiteY58" fmla="*/ 1152525 h 4429294"/>
                    <a:gd name="connsiteX59" fmla="*/ 297644 w 4501379"/>
                    <a:gd name="connsiteY59" fmla="*/ 1114425 h 4429294"/>
                    <a:gd name="connsiteX60" fmla="*/ 345269 w 4501379"/>
                    <a:gd name="connsiteY60" fmla="*/ 1038225 h 4429294"/>
                    <a:gd name="connsiteX61" fmla="*/ 364319 w 4501379"/>
                    <a:gd name="connsiteY61" fmla="*/ 1009650 h 4429294"/>
                    <a:gd name="connsiteX62" fmla="*/ 421469 w 4501379"/>
                    <a:gd name="connsiteY62" fmla="*/ 904875 h 4429294"/>
                    <a:gd name="connsiteX63" fmla="*/ 459569 w 4501379"/>
                    <a:gd name="connsiteY63" fmla="*/ 857250 h 4429294"/>
                    <a:gd name="connsiteX64" fmla="*/ 478619 w 4501379"/>
                    <a:gd name="connsiteY64" fmla="*/ 828675 h 4429294"/>
                    <a:gd name="connsiteX65" fmla="*/ 516719 w 4501379"/>
                    <a:gd name="connsiteY65" fmla="*/ 800100 h 4429294"/>
                    <a:gd name="connsiteX66" fmla="*/ 583394 w 4501379"/>
                    <a:gd name="connsiteY66" fmla="*/ 733425 h 4429294"/>
                    <a:gd name="connsiteX67" fmla="*/ 650069 w 4501379"/>
                    <a:gd name="connsiteY67" fmla="*/ 676275 h 4429294"/>
                    <a:gd name="connsiteX68" fmla="*/ 678644 w 4501379"/>
                    <a:gd name="connsiteY68" fmla="*/ 657225 h 4429294"/>
                    <a:gd name="connsiteX69" fmla="*/ 821519 w 4501379"/>
                    <a:gd name="connsiteY69" fmla="*/ 533400 h 4429294"/>
                    <a:gd name="connsiteX70" fmla="*/ 869144 w 4501379"/>
                    <a:gd name="connsiteY70" fmla="*/ 504825 h 4429294"/>
                    <a:gd name="connsiteX71" fmla="*/ 1148544 w 4501379"/>
                    <a:gd name="connsiteY71" fmla="*/ 311150 h 4429294"/>
                    <a:gd name="connsiteX72" fmla="*/ 1250144 w 4501379"/>
                    <a:gd name="connsiteY72" fmla="*/ 285750 h 4429294"/>
                    <a:gd name="connsiteX73" fmla="*/ 1393019 w 4501379"/>
                    <a:gd name="connsiteY73" fmla="*/ 190500 h 4429294"/>
                    <a:gd name="connsiteX74" fmla="*/ 1431119 w 4501379"/>
                    <a:gd name="connsiteY74" fmla="*/ 161925 h 4429294"/>
                    <a:gd name="connsiteX75" fmla="*/ 1507319 w 4501379"/>
                    <a:gd name="connsiteY75" fmla="*/ 152400 h 4429294"/>
                    <a:gd name="connsiteX76" fmla="*/ 1564469 w 4501379"/>
                    <a:gd name="connsiteY76" fmla="*/ 142875 h 4429294"/>
                    <a:gd name="connsiteX77" fmla="*/ 1697819 w 4501379"/>
                    <a:gd name="connsiteY77" fmla="*/ 123825 h 4429294"/>
                    <a:gd name="connsiteX78" fmla="*/ 1793069 w 4501379"/>
                    <a:gd name="connsiteY78" fmla="*/ 114300 h 4429294"/>
                    <a:gd name="connsiteX79" fmla="*/ 1840694 w 4501379"/>
                    <a:gd name="connsiteY79" fmla="*/ 104775 h 4429294"/>
                    <a:gd name="connsiteX80" fmla="*/ 1897844 w 4501379"/>
                    <a:gd name="connsiteY80" fmla="*/ 95250 h 4429294"/>
                    <a:gd name="connsiteX81" fmla="*/ 2012144 w 4501379"/>
                    <a:gd name="connsiteY81" fmla="*/ 66675 h 4429294"/>
                    <a:gd name="connsiteX82" fmla="*/ 2078819 w 4501379"/>
                    <a:gd name="connsiteY82" fmla="*/ 47625 h 4429294"/>
                    <a:gd name="connsiteX83" fmla="*/ 2145494 w 4501379"/>
                    <a:gd name="connsiteY8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402794 w 4501379"/>
                    <a:gd name="connsiteY7" fmla="*/ 323850 h 4429294"/>
                    <a:gd name="connsiteX8" fmla="*/ 3450419 w 4501379"/>
                    <a:gd name="connsiteY8" fmla="*/ 361950 h 4429294"/>
                    <a:gd name="connsiteX9" fmla="*/ 3498044 w 4501379"/>
                    <a:gd name="connsiteY9" fmla="*/ 390525 h 4429294"/>
                    <a:gd name="connsiteX10" fmla="*/ 3612344 w 4501379"/>
                    <a:gd name="connsiteY10" fmla="*/ 485775 h 4429294"/>
                    <a:gd name="connsiteX11" fmla="*/ 3726644 w 4501379"/>
                    <a:gd name="connsiteY11" fmla="*/ 542925 h 4429294"/>
                    <a:gd name="connsiteX12" fmla="*/ 3793319 w 4501379"/>
                    <a:gd name="connsiteY12" fmla="*/ 581025 h 4429294"/>
                    <a:gd name="connsiteX13" fmla="*/ 4009219 w 4501379"/>
                    <a:gd name="connsiteY13" fmla="*/ 819150 h 4429294"/>
                    <a:gd name="connsiteX14" fmla="*/ 4145744 w 4501379"/>
                    <a:gd name="connsiteY14" fmla="*/ 990600 h 4429294"/>
                    <a:gd name="connsiteX15" fmla="*/ 4231469 w 4501379"/>
                    <a:gd name="connsiteY15" fmla="*/ 1143000 h 4429294"/>
                    <a:gd name="connsiteX16" fmla="*/ 4288619 w 4501379"/>
                    <a:gd name="connsiteY16" fmla="*/ 1266825 h 4429294"/>
                    <a:gd name="connsiteX17" fmla="*/ 4326719 w 4501379"/>
                    <a:gd name="connsiteY17" fmla="*/ 1362075 h 4429294"/>
                    <a:gd name="connsiteX18" fmla="*/ 4374344 w 4501379"/>
                    <a:gd name="connsiteY18" fmla="*/ 1552575 h 4429294"/>
                    <a:gd name="connsiteX19" fmla="*/ 4412444 w 4501379"/>
                    <a:gd name="connsiteY19" fmla="*/ 1685925 h 4429294"/>
                    <a:gd name="connsiteX20" fmla="*/ 4501344 w 4501379"/>
                    <a:gd name="connsiteY20" fmla="*/ 2181225 h 4429294"/>
                    <a:gd name="connsiteX21" fmla="*/ 4428319 w 4501379"/>
                    <a:gd name="connsiteY21" fmla="*/ 2768600 h 4429294"/>
                    <a:gd name="connsiteX22" fmla="*/ 4364819 w 4501379"/>
                    <a:gd name="connsiteY22" fmla="*/ 2990850 h 4429294"/>
                    <a:gd name="connsiteX23" fmla="*/ 4260044 w 4501379"/>
                    <a:gd name="connsiteY23" fmla="*/ 3248025 h 4429294"/>
                    <a:gd name="connsiteX24" fmla="*/ 4164794 w 4501379"/>
                    <a:gd name="connsiteY24" fmla="*/ 3400425 h 4429294"/>
                    <a:gd name="connsiteX25" fmla="*/ 4040969 w 4501379"/>
                    <a:gd name="connsiteY25" fmla="*/ 3533775 h 4429294"/>
                    <a:gd name="connsiteX26" fmla="*/ 3936194 w 4501379"/>
                    <a:gd name="connsiteY26" fmla="*/ 3648075 h 4429294"/>
                    <a:gd name="connsiteX27" fmla="*/ 3640919 w 4501379"/>
                    <a:gd name="connsiteY27" fmla="*/ 3971925 h 4429294"/>
                    <a:gd name="connsiteX28" fmla="*/ 3498044 w 4501379"/>
                    <a:gd name="connsiteY28" fmla="*/ 4083050 h 4429294"/>
                    <a:gd name="connsiteX29" fmla="*/ 3202769 w 4501379"/>
                    <a:gd name="connsiteY29" fmla="*/ 4222750 h 4429294"/>
                    <a:gd name="connsiteX30" fmla="*/ 3050369 w 4501379"/>
                    <a:gd name="connsiteY30" fmla="*/ 4286250 h 4429294"/>
                    <a:gd name="connsiteX31" fmla="*/ 2917019 w 4501379"/>
                    <a:gd name="connsiteY31" fmla="*/ 4333875 h 4429294"/>
                    <a:gd name="connsiteX32" fmla="*/ 2793194 w 4501379"/>
                    <a:gd name="connsiteY32" fmla="*/ 4371975 h 4429294"/>
                    <a:gd name="connsiteX33" fmla="*/ 2561419 w 4501379"/>
                    <a:gd name="connsiteY33" fmla="*/ 4391025 h 4429294"/>
                    <a:gd name="connsiteX34" fmla="*/ 2107394 w 4501379"/>
                    <a:gd name="connsiteY34" fmla="*/ 4429125 h 4429294"/>
                    <a:gd name="connsiteX35" fmla="*/ 1916894 w 4501379"/>
                    <a:gd name="connsiteY35" fmla="*/ 4400550 h 4429294"/>
                    <a:gd name="connsiteX36" fmla="*/ 1554944 w 4501379"/>
                    <a:gd name="connsiteY36" fmla="*/ 4305300 h 4429294"/>
                    <a:gd name="connsiteX37" fmla="*/ 1313644 w 4501379"/>
                    <a:gd name="connsiteY37" fmla="*/ 4216400 h 4429294"/>
                    <a:gd name="connsiteX38" fmla="*/ 1145369 w 4501379"/>
                    <a:gd name="connsiteY38" fmla="*/ 4111625 h 4429294"/>
                    <a:gd name="connsiteX39" fmla="*/ 926294 w 4501379"/>
                    <a:gd name="connsiteY39" fmla="*/ 3968750 h 4429294"/>
                    <a:gd name="connsiteX40" fmla="*/ 592919 w 4501379"/>
                    <a:gd name="connsiteY40" fmla="*/ 3657600 h 4429294"/>
                    <a:gd name="connsiteX41" fmla="*/ 446869 w 4501379"/>
                    <a:gd name="connsiteY41" fmla="*/ 3470275 h 4429294"/>
                    <a:gd name="connsiteX42" fmla="*/ 316694 w 4501379"/>
                    <a:gd name="connsiteY42" fmla="*/ 3244850 h 4429294"/>
                    <a:gd name="connsiteX43" fmla="*/ 164294 w 4501379"/>
                    <a:gd name="connsiteY43" fmla="*/ 2892425 h 4429294"/>
                    <a:gd name="connsiteX44" fmla="*/ 56344 w 4501379"/>
                    <a:gd name="connsiteY44" fmla="*/ 2368550 h 4429294"/>
                    <a:gd name="connsiteX45" fmla="*/ 2369 w 4501379"/>
                    <a:gd name="connsiteY45" fmla="*/ 1905000 h 4429294"/>
                    <a:gd name="connsiteX46" fmla="*/ 11894 w 4501379"/>
                    <a:gd name="connsiteY46" fmla="*/ 1838325 h 4429294"/>
                    <a:gd name="connsiteX47" fmla="*/ 30944 w 4501379"/>
                    <a:gd name="connsiteY47" fmla="*/ 1781175 h 4429294"/>
                    <a:gd name="connsiteX48" fmla="*/ 40469 w 4501379"/>
                    <a:gd name="connsiteY48" fmla="*/ 1743075 h 4429294"/>
                    <a:gd name="connsiteX49" fmla="*/ 59519 w 4501379"/>
                    <a:gd name="connsiteY49" fmla="*/ 1685925 h 4429294"/>
                    <a:gd name="connsiteX50" fmla="*/ 69044 w 4501379"/>
                    <a:gd name="connsiteY50" fmla="*/ 1638300 h 4429294"/>
                    <a:gd name="connsiteX51" fmla="*/ 88094 w 4501379"/>
                    <a:gd name="connsiteY51" fmla="*/ 1590675 h 4429294"/>
                    <a:gd name="connsiteX52" fmla="*/ 116669 w 4501379"/>
                    <a:gd name="connsiteY52" fmla="*/ 1504950 h 4429294"/>
                    <a:gd name="connsiteX53" fmla="*/ 135719 w 4501379"/>
                    <a:gd name="connsiteY53" fmla="*/ 1419225 h 4429294"/>
                    <a:gd name="connsiteX54" fmla="*/ 211919 w 4501379"/>
                    <a:gd name="connsiteY54" fmla="*/ 1276350 h 4429294"/>
                    <a:gd name="connsiteX55" fmla="*/ 221444 w 4501379"/>
                    <a:gd name="connsiteY55" fmla="*/ 1247775 h 4429294"/>
                    <a:gd name="connsiteX56" fmla="*/ 250019 w 4501379"/>
                    <a:gd name="connsiteY56" fmla="*/ 1200150 h 4429294"/>
                    <a:gd name="connsiteX57" fmla="*/ 269069 w 4501379"/>
                    <a:gd name="connsiteY57" fmla="*/ 1152525 h 4429294"/>
                    <a:gd name="connsiteX58" fmla="*/ 297644 w 4501379"/>
                    <a:gd name="connsiteY58" fmla="*/ 1114425 h 4429294"/>
                    <a:gd name="connsiteX59" fmla="*/ 345269 w 4501379"/>
                    <a:gd name="connsiteY59" fmla="*/ 1038225 h 4429294"/>
                    <a:gd name="connsiteX60" fmla="*/ 364319 w 4501379"/>
                    <a:gd name="connsiteY60" fmla="*/ 1009650 h 4429294"/>
                    <a:gd name="connsiteX61" fmla="*/ 421469 w 4501379"/>
                    <a:gd name="connsiteY61" fmla="*/ 904875 h 4429294"/>
                    <a:gd name="connsiteX62" fmla="*/ 459569 w 4501379"/>
                    <a:gd name="connsiteY62" fmla="*/ 857250 h 4429294"/>
                    <a:gd name="connsiteX63" fmla="*/ 478619 w 4501379"/>
                    <a:gd name="connsiteY63" fmla="*/ 828675 h 4429294"/>
                    <a:gd name="connsiteX64" fmla="*/ 516719 w 4501379"/>
                    <a:gd name="connsiteY64" fmla="*/ 800100 h 4429294"/>
                    <a:gd name="connsiteX65" fmla="*/ 583394 w 4501379"/>
                    <a:gd name="connsiteY65" fmla="*/ 733425 h 4429294"/>
                    <a:gd name="connsiteX66" fmla="*/ 650069 w 4501379"/>
                    <a:gd name="connsiteY66" fmla="*/ 676275 h 4429294"/>
                    <a:gd name="connsiteX67" fmla="*/ 678644 w 4501379"/>
                    <a:gd name="connsiteY67" fmla="*/ 657225 h 4429294"/>
                    <a:gd name="connsiteX68" fmla="*/ 821519 w 4501379"/>
                    <a:gd name="connsiteY68" fmla="*/ 533400 h 4429294"/>
                    <a:gd name="connsiteX69" fmla="*/ 869144 w 4501379"/>
                    <a:gd name="connsiteY69" fmla="*/ 504825 h 4429294"/>
                    <a:gd name="connsiteX70" fmla="*/ 1148544 w 4501379"/>
                    <a:gd name="connsiteY70" fmla="*/ 311150 h 4429294"/>
                    <a:gd name="connsiteX71" fmla="*/ 1250144 w 4501379"/>
                    <a:gd name="connsiteY71" fmla="*/ 285750 h 4429294"/>
                    <a:gd name="connsiteX72" fmla="*/ 1393019 w 4501379"/>
                    <a:gd name="connsiteY72" fmla="*/ 190500 h 4429294"/>
                    <a:gd name="connsiteX73" fmla="*/ 1431119 w 4501379"/>
                    <a:gd name="connsiteY73" fmla="*/ 161925 h 4429294"/>
                    <a:gd name="connsiteX74" fmla="*/ 1507319 w 4501379"/>
                    <a:gd name="connsiteY74" fmla="*/ 152400 h 4429294"/>
                    <a:gd name="connsiteX75" fmla="*/ 1564469 w 4501379"/>
                    <a:gd name="connsiteY75" fmla="*/ 142875 h 4429294"/>
                    <a:gd name="connsiteX76" fmla="*/ 1697819 w 4501379"/>
                    <a:gd name="connsiteY76" fmla="*/ 123825 h 4429294"/>
                    <a:gd name="connsiteX77" fmla="*/ 1793069 w 4501379"/>
                    <a:gd name="connsiteY77" fmla="*/ 114300 h 4429294"/>
                    <a:gd name="connsiteX78" fmla="*/ 1840694 w 4501379"/>
                    <a:gd name="connsiteY78" fmla="*/ 104775 h 4429294"/>
                    <a:gd name="connsiteX79" fmla="*/ 1897844 w 4501379"/>
                    <a:gd name="connsiteY79" fmla="*/ 95250 h 4429294"/>
                    <a:gd name="connsiteX80" fmla="*/ 2012144 w 4501379"/>
                    <a:gd name="connsiteY80" fmla="*/ 66675 h 4429294"/>
                    <a:gd name="connsiteX81" fmla="*/ 2078819 w 4501379"/>
                    <a:gd name="connsiteY81" fmla="*/ 47625 h 4429294"/>
                    <a:gd name="connsiteX82" fmla="*/ 2145494 w 4501379"/>
                    <a:gd name="connsiteY8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307544 w 4501379"/>
                    <a:gd name="connsiteY5" fmla="*/ 266700 h 4429294"/>
                    <a:gd name="connsiteX6" fmla="*/ 3402794 w 4501379"/>
                    <a:gd name="connsiteY6" fmla="*/ 323850 h 4429294"/>
                    <a:gd name="connsiteX7" fmla="*/ 3450419 w 4501379"/>
                    <a:gd name="connsiteY7" fmla="*/ 361950 h 4429294"/>
                    <a:gd name="connsiteX8" fmla="*/ 3498044 w 4501379"/>
                    <a:gd name="connsiteY8" fmla="*/ 390525 h 4429294"/>
                    <a:gd name="connsiteX9" fmla="*/ 3612344 w 4501379"/>
                    <a:gd name="connsiteY9" fmla="*/ 485775 h 4429294"/>
                    <a:gd name="connsiteX10" fmla="*/ 3726644 w 4501379"/>
                    <a:gd name="connsiteY10" fmla="*/ 542925 h 4429294"/>
                    <a:gd name="connsiteX11" fmla="*/ 3793319 w 4501379"/>
                    <a:gd name="connsiteY11" fmla="*/ 581025 h 4429294"/>
                    <a:gd name="connsiteX12" fmla="*/ 4009219 w 4501379"/>
                    <a:gd name="connsiteY12" fmla="*/ 819150 h 4429294"/>
                    <a:gd name="connsiteX13" fmla="*/ 4145744 w 4501379"/>
                    <a:gd name="connsiteY13" fmla="*/ 990600 h 4429294"/>
                    <a:gd name="connsiteX14" fmla="*/ 4231469 w 4501379"/>
                    <a:gd name="connsiteY14" fmla="*/ 1143000 h 4429294"/>
                    <a:gd name="connsiteX15" fmla="*/ 4288619 w 4501379"/>
                    <a:gd name="connsiteY15" fmla="*/ 1266825 h 4429294"/>
                    <a:gd name="connsiteX16" fmla="*/ 4326719 w 4501379"/>
                    <a:gd name="connsiteY16" fmla="*/ 1362075 h 4429294"/>
                    <a:gd name="connsiteX17" fmla="*/ 4374344 w 4501379"/>
                    <a:gd name="connsiteY17" fmla="*/ 1552575 h 4429294"/>
                    <a:gd name="connsiteX18" fmla="*/ 4412444 w 4501379"/>
                    <a:gd name="connsiteY18" fmla="*/ 1685925 h 4429294"/>
                    <a:gd name="connsiteX19" fmla="*/ 4501344 w 4501379"/>
                    <a:gd name="connsiteY19" fmla="*/ 2181225 h 4429294"/>
                    <a:gd name="connsiteX20" fmla="*/ 4428319 w 4501379"/>
                    <a:gd name="connsiteY20" fmla="*/ 2768600 h 4429294"/>
                    <a:gd name="connsiteX21" fmla="*/ 4364819 w 4501379"/>
                    <a:gd name="connsiteY21" fmla="*/ 2990850 h 4429294"/>
                    <a:gd name="connsiteX22" fmla="*/ 4260044 w 4501379"/>
                    <a:gd name="connsiteY22" fmla="*/ 3248025 h 4429294"/>
                    <a:gd name="connsiteX23" fmla="*/ 4164794 w 4501379"/>
                    <a:gd name="connsiteY23" fmla="*/ 3400425 h 4429294"/>
                    <a:gd name="connsiteX24" fmla="*/ 4040969 w 4501379"/>
                    <a:gd name="connsiteY24" fmla="*/ 3533775 h 4429294"/>
                    <a:gd name="connsiteX25" fmla="*/ 3936194 w 4501379"/>
                    <a:gd name="connsiteY25" fmla="*/ 3648075 h 4429294"/>
                    <a:gd name="connsiteX26" fmla="*/ 3640919 w 4501379"/>
                    <a:gd name="connsiteY26" fmla="*/ 3971925 h 4429294"/>
                    <a:gd name="connsiteX27" fmla="*/ 3498044 w 4501379"/>
                    <a:gd name="connsiteY27" fmla="*/ 4083050 h 4429294"/>
                    <a:gd name="connsiteX28" fmla="*/ 3202769 w 4501379"/>
                    <a:gd name="connsiteY28" fmla="*/ 4222750 h 4429294"/>
                    <a:gd name="connsiteX29" fmla="*/ 3050369 w 4501379"/>
                    <a:gd name="connsiteY29" fmla="*/ 4286250 h 4429294"/>
                    <a:gd name="connsiteX30" fmla="*/ 2917019 w 4501379"/>
                    <a:gd name="connsiteY30" fmla="*/ 4333875 h 4429294"/>
                    <a:gd name="connsiteX31" fmla="*/ 2793194 w 4501379"/>
                    <a:gd name="connsiteY31" fmla="*/ 4371975 h 4429294"/>
                    <a:gd name="connsiteX32" fmla="*/ 2561419 w 4501379"/>
                    <a:gd name="connsiteY32" fmla="*/ 4391025 h 4429294"/>
                    <a:gd name="connsiteX33" fmla="*/ 2107394 w 4501379"/>
                    <a:gd name="connsiteY33" fmla="*/ 4429125 h 4429294"/>
                    <a:gd name="connsiteX34" fmla="*/ 1916894 w 4501379"/>
                    <a:gd name="connsiteY34" fmla="*/ 4400550 h 4429294"/>
                    <a:gd name="connsiteX35" fmla="*/ 1554944 w 4501379"/>
                    <a:gd name="connsiteY35" fmla="*/ 4305300 h 4429294"/>
                    <a:gd name="connsiteX36" fmla="*/ 1313644 w 4501379"/>
                    <a:gd name="connsiteY36" fmla="*/ 4216400 h 4429294"/>
                    <a:gd name="connsiteX37" fmla="*/ 1145369 w 4501379"/>
                    <a:gd name="connsiteY37" fmla="*/ 4111625 h 4429294"/>
                    <a:gd name="connsiteX38" fmla="*/ 926294 w 4501379"/>
                    <a:gd name="connsiteY38" fmla="*/ 3968750 h 4429294"/>
                    <a:gd name="connsiteX39" fmla="*/ 592919 w 4501379"/>
                    <a:gd name="connsiteY39" fmla="*/ 3657600 h 4429294"/>
                    <a:gd name="connsiteX40" fmla="*/ 446869 w 4501379"/>
                    <a:gd name="connsiteY40" fmla="*/ 3470275 h 4429294"/>
                    <a:gd name="connsiteX41" fmla="*/ 316694 w 4501379"/>
                    <a:gd name="connsiteY41" fmla="*/ 3244850 h 4429294"/>
                    <a:gd name="connsiteX42" fmla="*/ 164294 w 4501379"/>
                    <a:gd name="connsiteY42" fmla="*/ 2892425 h 4429294"/>
                    <a:gd name="connsiteX43" fmla="*/ 56344 w 4501379"/>
                    <a:gd name="connsiteY43" fmla="*/ 2368550 h 4429294"/>
                    <a:gd name="connsiteX44" fmla="*/ 2369 w 4501379"/>
                    <a:gd name="connsiteY44" fmla="*/ 1905000 h 4429294"/>
                    <a:gd name="connsiteX45" fmla="*/ 11894 w 4501379"/>
                    <a:gd name="connsiteY45" fmla="*/ 1838325 h 4429294"/>
                    <a:gd name="connsiteX46" fmla="*/ 30944 w 4501379"/>
                    <a:gd name="connsiteY46" fmla="*/ 1781175 h 4429294"/>
                    <a:gd name="connsiteX47" fmla="*/ 40469 w 4501379"/>
                    <a:gd name="connsiteY47" fmla="*/ 1743075 h 4429294"/>
                    <a:gd name="connsiteX48" fmla="*/ 59519 w 4501379"/>
                    <a:gd name="connsiteY48" fmla="*/ 1685925 h 4429294"/>
                    <a:gd name="connsiteX49" fmla="*/ 69044 w 4501379"/>
                    <a:gd name="connsiteY49" fmla="*/ 1638300 h 4429294"/>
                    <a:gd name="connsiteX50" fmla="*/ 88094 w 4501379"/>
                    <a:gd name="connsiteY50" fmla="*/ 1590675 h 4429294"/>
                    <a:gd name="connsiteX51" fmla="*/ 116669 w 4501379"/>
                    <a:gd name="connsiteY51" fmla="*/ 1504950 h 4429294"/>
                    <a:gd name="connsiteX52" fmla="*/ 135719 w 4501379"/>
                    <a:gd name="connsiteY52" fmla="*/ 1419225 h 4429294"/>
                    <a:gd name="connsiteX53" fmla="*/ 211919 w 4501379"/>
                    <a:gd name="connsiteY53" fmla="*/ 1276350 h 4429294"/>
                    <a:gd name="connsiteX54" fmla="*/ 221444 w 4501379"/>
                    <a:gd name="connsiteY54" fmla="*/ 1247775 h 4429294"/>
                    <a:gd name="connsiteX55" fmla="*/ 250019 w 4501379"/>
                    <a:gd name="connsiteY55" fmla="*/ 1200150 h 4429294"/>
                    <a:gd name="connsiteX56" fmla="*/ 269069 w 4501379"/>
                    <a:gd name="connsiteY56" fmla="*/ 1152525 h 4429294"/>
                    <a:gd name="connsiteX57" fmla="*/ 297644 w 4501379"/>
                    <a:gd name="connsiteY57" fmla="*/ 1114425 h 4429294"/>
                    <a:gd name="connsiteX58" fmla="*/ 345269 w 4501379"/>
                    <a:gd name="connsiteY58" fmla="*/ 1038225 h 4429294"/>
                    <a:gd name="connsiteX59" fmla="*/ 364319 w 4501379"/>
                    <a:gd name="connsiteY59" fmla="*/ 1009650 h 4429294"/>
                    <a:gd name="connsiteX60" fmla="*/ 421469 w 4501379"/>
                    <a:gd name="connsiteY60" fmla="*/ 904875 h 4429294"/>
                    <a:gd name="connsiteX61" fmla="*/ 459569 w 4501379"/>
                    <a:gd name="connsiteY61" fmla="*/ 857250 h 4429294"/>
                    <a:gd name="connsiteX62" fmla="*/ 478619 w 4501379"/>
                    <a:gd name="connsiteY62" fmla="*/ 828675 h 4429294"/>
                    <a:gd name="connsiteX63" fmla="*/ 516719 w 4501379"/>
                    <a:gd name="connsiteY63" fmla="*/ 800100 h 4429294"/>
                    <a:gd name="connsiteX64" fmla="*/ 583394 w 4501379"/>
                    <a:gd name="connsiteY64" fmla="*/ 733425 h 4429294"/>
                    <a:gd name="connsiteX65" fmla="*/ 650069 w 4501379"/>
                    <a:gd name="connsiteY65" fmla="*/ 676275 h 4429294"/>
                    <a:gd name="connsiteX66" fmla="*/ 678644 w 4501379"/>
                    <a:gd name="connsiteY66" fmla="*/ 657225 h 4429294"/>
                    <a:gd name="connsiteX67" fmla="*/ 821519 w 4501379"/>
                    <a:gd name="connsiteY67" fmla="*/ 533400 h 4429294"/>
                    <a:gd name="connsiteX68" fmla="*/ 869144 w 4501379"/>
                    <a:gd name="connsiteY68" fmla="*/ 504825 h 4429294"/>
                    <a:gd name="connsiteX69" fmla="*/ 1148544 w 4501379"/>
                    <a:gd name="connsiteY69" fmla="*/ 311150 h 4429294"/>
                    <a:gd name="connsiteX70" fmla="*/ 1250144 w 4501379"/>
                    <a:gd name="connsiteY70" fmla="*/ 285750 h 4429294"/>
                    <a:gd name="connsiteX71" fmla="*/ 1393019 w 4501379"/>
                    <a:gd name="connsiteY71" fmla="*/ 190500 h 4429294"/>
                    <a:gd name="connsiteX72" fmla="*/ 1431119 w 4501379"/>
                    <a:gd name="connsiteY72" fmla="*/ 161925 h 4429294"/>
                    <a:gd name="connsiteX73" fmla="*/ 1507319 w 4501379"/>
                    <a:gd name="connsiteY73" fmla="*/ 152400 h 4429294"/>
                    <a:gd name="connsiteX74" fmla="*/ 1564469 w 4501379"/>
                    <a:gd name="connsiteY74" fmla="*/ 142875 h 4429294"/>
                    <a:gd name="connsiteX75" fmla="*/ 1697819 w 4501379"/>
                    <a:gd name="connsiteY75" fmla="*/ 123825 h 4429294"/>
                    <a:gd name="connsiteX76" fmla="*/ 1793069 w 4501379"/>
                    <a:gd name="connsiteY76" fmla="*/ 114300 h 4429294"/>
                    <a:gd name="connsiteX77" fmla="*/ 1840694 w 4501379"/>
                    <a:gd name="connsiteY77" fmla="*/ 104775 h 4429294"/>
                    <a:gd name="connsiteX78" fmla="*/ 1897844 w 4501379"/>
                    <a:gd name="connsiteY78" fmla="*/ 95250 h 4429294"/>
                    <a:gd name="connsiteX79" fmla="*/ 2012144 w 4501379"/>
                    <a:gd name="connsiteY79" fmla="*/ 66675 h 4429294"/>
                    <a:gd name="connsiteX80" fmla="*/ 2078819 w 4501379"/>
                    <a:gd name="connsiteY80" fmla="*/ 47625 h 4429294"/>
                    <a:gd name="connsiteX81" fmla="*/ 2145494 w 4501379"/>
                    <a:gd name="connsiteY8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498044 w 4501379"/>
                    <a:gd name="connsiteY7" fmla="*/ 390525 h 4429294"/>
                    <a:gd name="connsiteX8" fmla="*/ 3612344 w 4501379"/>
                    <a:gd name="connsiteY8" fmla="*/ 485775 h 4429294"/>
                    <a:gd name="connsiteX9" fmla="*/ 3726644 w 4501379"/>
                    <a:gd name="connsiteY9" fmla="*/ 542925 h 4429294"/>
                    <a:gd name="connsiteX10" fmla="*/ 3793319 w 4501379"/>
                    <a:gd name="connsiteY10" fmla="*/ 581025 h 4429294"/>
                    <a:gd name="connsiteX11" fmla="*/ 4009219 w 4501379"/>
                    <a:gd name="connsiteY11" fmla="*/ 819150 h 4429294"/>
                    <a:gd name="connsiteX12" fmla="*/ 4145744 w 4501379"/>
                    <a:gd name="connsiteY12" fmla="*/ 990600 h 4429294"/>
                    <a:gd name="connsiteX13" fmla="*/ 4231469 w 4501379"/>
                    <a:gd name="connsiteY13" fmla="*/ 1143000 h 4429294"/>
                    <a:gd name="connsiteX14" fmla="*/ 4288619 w 4501379"/>
                    <a:gd name="connsiteY14" fmla="*/ 1266825 h 4429294"/>
                    <a:gd name="connsiteX15" fmla="*/ 4326719 w 4501379"/>
                    <a:gd name="connsiteY15" fmla="*/ 1362075 h 4429294"/>
                    <a:gd name="connsiteX16" fmla="*/ 4374344 w 4501379"/>
                    <a:gd name="connsiteY16" fmla="*/ 1552575 h 4429294"/>
                    <a:gd name="connsiteX17" fmla="*/ 4412444 w 4501379"/>
                    <a:gd name="connsiteY17" fmla="*/ 1685925 h 4429294"/>
                    <a:gd name="connsiteX18" fmla="*/ 4501344 w 4501379"/>
                    <a:gd name="connsiteY18" fmla="*/ 2181225 h 4429294"/>
                    <a:gd name="connsiteX19" fmla="*/ 4428319 w 4501379"/>
                    <a:gd name="connsiteY19" fmla="*/ 2768600 h 4429294"/>
                    <a:gd name="connsiteX20" fmla="*/ 4364819 w 4501379"/>
                    <a:gd name="connsiteY20" fmla="*/ 2990850 h 4429294"/>
                    <a:gd name="connsiteX21" fmla="*/ 4260044 w 4501379"/>
                    <a:gd name="connsiteY21" fmla="*/ 3248025 h 4429294"/>
                    <a:gd name="connsiteX22" fmla="*/ 4164794 w 4501379"/>
                    <a:gd name="connsiteY22" fmla="*/ 3400425 h 4429294"/>
                    <a:gd name="connsiteX23" fmla="*/ 4040969 w 4501379"/>
                    <a:gd name="connsiteY23" fmla="*/ 3533775 h 4429294"/>
                    <a:gd name="connsiteX24" fmla="*/ 3936194 w 4501379"/>
                    <a:gd name="connsiteY24" fmla="*/ 3648075 h 4429294"/>
                    <a:gd name="connsiteX25" fmla="*/ 3640919 w 4501379"/>
                    <a:gd name="connsiteY25" fmla="*/ 3971925 h 4429294"/>
                    <a:gd name="connsiteX26" fmla="*/ 3498044 w 4501379"/>
                    <a:gd name="connsiteY26" fmla="*/ 4083050 h 4429294"/>
                    <a:gd name="connsiteX27" fmla="*/ 3202769 w 4501379"/>
                    <a:gd name="connsiteY27" fmla="*/ 4222750 h 4429294"/>
                    <a:gd name="connsiteX28" fmla="*/ 3050369 w 4501379"/>
                    <a:gd name="connsiteY28" fmla="*/ 4286250 h 4429294"/>
                    <a:gd name="connsiteX29" fmla="*/ 2917019 w 4501379"/>
                    <a:gd name="connsiteY29" fmla="*/ 4333875 h 4429294"/>
                    <a:gd name="connsiteX30" fmla="*/ 2793194 w 4501379"/>
                    <a:gd name="connsiteY30" fmla="*/ 4371975 h 4429294"/>
                    <a:gd name="connsiteX31" fmla="*/ 2561419 w 4501379"/>
                    <a:gd name="connsiteY31" fmla="*/ 4391025 h 4429294"/>
                    <a:gd name="connsiteX32" fmla="*/ 2107394 w 4501379"/>
                    <a:gd name="connsiteY32" fmla="*/ 4429125 h 4429294"/>
                    <a:gd name="connsiteX33" fmla="*/ 1916894 w 4501379"/>
                    <a:gd name="connsiteY33" fmla="*/ 4400550 h 4429294"/>
                    <a:gd name="connsiteX34" fmla="*/ 1554944 w 4501379"/>
                    <a:gd name="connsiteY34" fmla="*/ 4305300 h 4429294"/>
                    <a:gd name="connsiteX35" fmla="*/ 1313644 w 4501379"/>
                    <a:gd name="connsiteY35" fmla="*/ 4216400 h 4429294"/>
                    <a:gd name="connsiteX36" fmla="*/ 1145369 w 4501379"/>
                    <a:gd name="connsiteY36" fmla="*/ 4111625 h 4429294"/>
                    <a:gd name="connsiteX37" fmla="*/ 926294 w 4501379"/>
                    <a:gd name="connsiteY37" fmla="*/ 3968750 h 4429294"/>
                    <a:gd name="connsiteX38" fmla="*/ 592919 w 4501379"/>
                    <a:gd name="connsiteY38" fmla="*/ 3657600 h 4429294"/>
                    <a:gd name="connsiteX39" fmla="*/ 446869 w 4501379"/>
                    <a:gd name="connsiteY39" fmla="*/ 3470275 h 4429294"/>
                    <a:gd name="connsiteX40" fmla="*/ 316694 w 4501379"/>
                    <a:gd name="connsiteY40" fmla="*/ 3244850 h 4429294"/>
                    <a:gd name="connsiteX41" fmla="*/ 164294 w 4501379"/>
                    <a:gd name="connsiteY41" fmla="*/ 2892425 h 4429294"/>
                    <a:gd name="connsiteX42" fmla="*/ 56344 w 4501379"/>
                    <a:gd name="connsiteY42" fmla="*/ 2368550 h 4429294"/>
                    <a:gd name="connsiteX43" fmla="*/ 2369 w 4501379"/>
                    <a:gd name="connsiteY43" fmla="*/ 1905000 h 4429294"/>
                    <a:gd name="connsiteX44" fmla="*/ 11894 w 4501379"/>
                    <a:gd name="connsiteY44" fmla="*/ 1838325 h 4429294"/>
                    <a:gd name="connsiteX45" fmla="*/ 30944 w 4501379"/>
                    <a:gd name="connsiteY45" fmla="*/ 1781175 h 4429294"/>
                    <a:gd name="connsiteX46" fmla="*/ 40469 w 4501379"/>
                    <a:gd name="connsiteY46" fmla="*/ 1743075 h 4429294"/>
                    <a:gd name="connsiteX47" fmla="*/ 59519 w 4501379"/>
                    <a:gd name="connsiteY47" fmla="*/ 1685925 h 4429294"/>
                    <a:gd name="connsiteX48" fmla="*/ 69044 w 4501379"/>
                    <a:gd name="connsiteY48" fmla="*/ 1638300 h 4429294"/>
                    <a:gd name="connsiteX49" fmla="*/ 88094 w 4501379"/>
                    <a:gd name="connsiteY49" fmla="*/ 1590675 h 4429294"/>
                    <a:gd name="connsiteX50" fmla="*/ 116669 w 4501379"/>
                    <a:gd name="connsiteY50" fmla="*/ 1504950 h 4429294"/>
                    <a:gd name="connsiteX51" fmla="*/ 135719 w 4501379"/>
                    <a:gd name="connsiteY51" fmla="*/ 1419225 h 4429294"/>
                    <a:gd name="connsiteX52" fmla="*/ 211919 w 4501379"/>
                    <a:gd name="connsiteY52" fmla="*/ 1276350 h 4429294"/>
                    <a:gd name="connsiteX53" fmla="*/ 221444 w 4501379"/>
                    <a:gd name="connsiteY53" fmla="*/ 1247775 h 4429294"/>
                    <a:gd name="connsiteX54" fmla="*/ 250019 w 4501379"/>
                    <a:gd name="connsiteY54" fmla="*/ 1200150 h 4429294"/>
                    <a:gd name="connsiteX55" fmla="*/ 269069 w 4501379"/>
                    <a:gd name="connsiteY55" fmla="*/ 1152525 h 4429294"/>
                    <a:gd name="connsiteX56" fmla="*/ 297644 w 4501379"/>
                    <a:gd name="connsiteY56" fmla="*/ 1114425 h 4429294"/>
                    <a:gd name="connsiteX57" fmla="*/ 345269 w 4501379"/>
                    <a:gd name="connsiteY57" fmla="*/ 1038225 h 4429294"/>
                    <a:gd name="connsiteX58" fmla="*/ 364319 w 4501379"/>
                    <a:gd name="connsiteY58" fmla="*/ 1009650 h 4429294"/>
                    <a:gd name="connsiteX59" fmla="*/ 421469 w 4501379"/>
                    <a:gd name="connsiteY59" fmla="*/ 904875 h 4429294"/>
                    <a:gd name="connsiteX60" fmla="*/ 459569 w 4501379"/>
                    <a:gd name="connsiteY60" fmla="*/ 857250 h 4429294"/>
                    <a:gd name="connsiteX61" fmla="*/ 478619 w 4501379"/>
                    <a:gd name="connsiteY61" fmla="*/ 828675 h 4429294"/>
                    <a:gd name="connsiteX62" fmla="*/ 516719 w 4501379"/>
                    <a:gd name="connsiteY62" fmla="*/ 800100 h 4429294"/>
                    <a:gd name="connsiteX63" fmla="*/ 583394 w 4501379"/>
                    <a:gd name="connsiteY63" fmla="*/ 733425 h 4429294"/>
                    <a:gd name="connsiteX64" fmla="*/ 650069 w 4501379"/>
                    <a:gd name="connsiteY64" fmla="*/ 676275 h 4429294"/>
                    <a:gd name="connsiteX65" fmla="*/ 678644 w 4501379"/>
                    <a:gd name="connsiteY65" fmla="*/ 657225 h 4429294"/>
                    <a:gd name="connsiteX66" fmla="*/ 821519 w 4501379"/>
                    <a:gd name="connsiteY66" fmla="*/ 533400 h 4429294"/>
                    <a:gd name="connsiteX67" fmla="*/ 869144 w 4501379"/>
                    <a:gd name="connsiteY67" fmla="*/ 504825 h 4429294"/>
                    <a:gd name="connsiteX68" fmla="*/ 1148544 w 4501379"/>
                    <a:gd name="connsiteY68" fmla="*/ 311150 h 4429294"/>
                    <a:gd name="connsiteX69" fmla="*/ 1250144 w 4501379"/>
                    <a:gd name="connsiteY69" fmla="*/ 285750 h 4429294"/>
                    <a:gd name="connsiteX70" fmla="*/ 1393019 w 4501379"/>
                    <a:gd name="connsiteY70" fmla="*/ 190500 h 4429294"/>
                    <a:gd name="connsiteX71" fmla="*/ 1431119 w 4501379"/>
                    <a:gd name="connsiteY71" fmla="*/ 161925 h 4429294"/>
                    <a:gd name="connsiteX72" fmla="*/ 1507319 w 4501379"/>
                    <a:gd name="connsiteY72" fmla="*/ 152400 h 4429294"/>
                    <a:gd name="connsiteX73" fmla="*/ 1564469 w 4501379"/>
                    <a:gd name="connsiteY73" fmla="*/ 142875 h 4429294"/>
                    <a:gd name="connsiteX74" fmla="*/ 1697819 w 4501379"/>
                    <a:gd name="connsiteY74" fmla="*/ 123825 h 4429294"/>
                    <a:gd name="connsiteX75" fmla="*/ 1793069 w 4501379"/>
                    <a:gd name="connsiteY75" fmla="*/ 114300 h 4429294"/>
                    <a:gd name="connsiteX76" fmla="*/ 1840694 w 4501379"/>
                    <a:gd name="connsiteY76" fmla="*/ 104775 h 4429294"/>
                    <a:gd name="connsiteX77" fmla="*/ 1897844 w 4501379"/>
                    <a:gd name="connsiteY77" fmla="*/ 95250 h 4429294"/>
                    <a:gd name="connsiteX78" fmla="*/ 2012144 w 4501379"/>
                    <a:gd name="connsiteY78" fmla="*/ 66675 h 4429294"/>
                    <a:gd name="connsiteX79" fmla="*/ 2078819 w 4501379"/>
                    <a:gd name="connsiteY79" fmla="*/ 47625 h 4429294"/>
                    <a:gd name="connsiteX80" fmla="*/ 2145494 w 4501379"/>
                    <a:gd name="connsiteY8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612344 w 4501379"/>
                    <a:gd name="connsiteY7" fmla="*/ 485775 h 4429294"/>
                    <a:gd name="connsiteX8" fmla="*/ 3726644 w 4501379"/>
                    <a:gd name="connsiteY8" fmla="*/ 542925 h 4429294"/>
                    <a:gd name="connsiteX9" fmla="*/ 3793319 w 4501379"/>
                    <a:gd name="connsiteY9" fmla="*/ 581025 h 4429294"/>
                    <a:gd name="connsiteX10" fmla="*/ 4009219 w 4501379"/>
                    <a:gd name="connsiteY10" fmla="*/ 819150 h 4429294"/>
                    <a:gd name="connsiteX11" fmla="*/ 4145744 w 4501379"/>
                    <a:gd name="connsiteY11" fmla="*/ 990600 h 4429294"/>
                    <a:gd name="connsiteX12" fmla="*/ 4231469 w 4501379"/>
                    <a:gd name="connsiteY12" fmla="*/ 1143000 h 4429294"/>
                    <a:gd name="connsiteX13" fmla="*/ 4288619 w 4501379"/>
                    <a:gd name="connsiteY13" fmla="*/ 1266825 h 4429294"/>
                    <a:gd name="connsiteX14" fmla="*/ 4326719 w 4501379"/>
                    <a:gd name="connsiteY14" fmla="*/ 1362075 h 4429294"/>
                    <a:gd name="connsiteX15" fmla="*/ 4374344 w 4501379"/>
                    <a:gd name="connsiteY15" fmla="*/ 1552575 h 4429294"/>
                    <a:gd name="connsiteX16" fmla="*/ 4412444 w 4501379"/>
                    <a:gd name="connsiteY16" fmla="*/ 1685925 h 4429294"/>
                    <a:gd name="connsiteX17" fmla="*/ 4501344 w 4501379"/>
                    <a:gd name="connsiteY17" fmla="*/ 2181225 h 4429294"/>
                    <a:gd name="connsiteX18" fmla="*/ 4428319 w 4501379"/>
                    <a:gd name="connsiteY18" fmla="*/ 2768600 h 4429294"/>
                    <a:gd name="connsiteX19" fmla="*/ 4364819 w 4501379"/>
                    <a:gd name="connsiteY19" fmla="*/ 2990850 h 4429294"/>
                    <a:gd name="connsiteX20" fmla="*/ 4260044 w 4501379"/>
                    <a:gd name="connsiteY20" fmla="*/ 3248025 h 4429294"/>
                    <a:gd name="connsiteX21" fmla="*/ 4164794 w 4501379"/>
                    <a:gd name="connsiteY21" fmla="*/ 3400425 h 4429294"/>
                    <a:gd name="connsiteX22" fmla="*/ 4040969 w 4501379"/>
                    <a:gd name="connsiteY22" fmla="*/ 3533775 h 4429294"/>
                    <a:gd name="connsiteX23" fmla="*/ 3936194 w 4501379"/>
                    <a:gd name="connsiteY23" fmla="*/ 3648075 h 4429294"/>
                    <a:gd name="connsiteX24" fmla="*/ 3640919 w 4501379"/>
                    <a:gd name="connsiteY24" fmla="*/ 3971925 h 4429294"/>
                    <a:gd name="connsiteX25" fmla="*/ 3498044 w 4501379"/>
                    <a:gd name="connsiteY25" fmla="*/ 4083050 h 4429294"/>
                    <a:gd name="connsiteX26" fmla="*/ 3202769 w 4501379"/>
                    <a:gd name="connsiteY26" fmla="*/ 4222750 h 4429294"/>
                    <a:gd name="connsiteX27" fmla="*/ 3050369 w 4501379"/>
                    <a:gd name="connsiteY27" fmla="*/ 4286250 h 4429294"/>
                    <a:gd name="connsiteX28" fmla="*/ 2917019 w 4501379"/>
                    <a:gd name="connsiteY28" fmla="*/ 4333875 h 4429294"/>
                    <a:gd name="connsiteX29" fmla="*/ 2793194 w 4501379"/>
                    <a:gd name="connsiteY29" fmla="*/ 4371975 h 4429294"/>
                    <a:gd name="connsiteX30" fmla="*/ 2561419 w 4501379"/>
                    <a:gd name="connsiteY30" fmla="*/ 4391025 h 4429294"/>
                    <a:gd name="connsiteX31" fmla="*/ 2107394 w 4501379"/>
                    <a:gd name="connsiteY31" fmla="*/ 4429125 h 4429294"/>
                    <a:gd name="connsiteX32" fmla="*/ 1916894 w 4501379"/>
                    <a:gd name="connsiteY32" fmla="*/ 4400550 h 4429294"/>
                    <a:gd name="connsiteX33" fmla="*/ 1554944 w 4501379"/>
                    <a:gd name="connsiteY33" fmla="*/ 4305300 h 4429294"/>
                    <a:gd name="connsiteX34" fmla="*/ 1313644 w 4501379"/>
                    <a:gd name="connsiteY34" fmla="*/ 4216400 h 4429294"/>
                    <a:gd name="connsiteX35" fmla="*/ 1145369 w 4501379"/>
                    <a:gd name="connsiteY35" fmla="*/ 4111625 h 4429294"/>
                    <a:gd name="connsiteX36" fmla="*/ 926294 w 4501379"/>
                    <a:gd name="connsiteY36" fmla="*/ 3968750 h 4429294"/>
                    <a:gd name="connsiteX37" fmla="*/ 592919 w 4501379"/>
                    <a:gd name="connsiteY37" fmla="*/ 3657600 h 4429294"/>
                    <a:gd name="connsiteX38" fmla="*/ 446869 w 4501379"/>
                    <a:gd name="connsiteY38" fmla="*/ 3470275 h 4429294"/>
                    <a:gd name="connsiteX39" fmla="*/ 316694 w 4501379"/>
                    <a:gd name="connsiteY39" fmla="*/ 3244850 h 4429294"/>
                    <a:gd name="connsiteX40" fmla="*/ 164294 w 4501379"/>
                    <a:gd name="connsiteY40" fmla="*/ 2892425 h 4429294"/>
                    <a:gd name="connsiteX41" fmla="*/ 56344 w 4501379"/>
                    <a:gd name="connsiteY41" fmla="*/ 2368550 h 4429294"/>
                    <a:gd name="connsiteX42" fmla="*/ 2369 w 4501379"/>
                    <a:gd name="connsiteY42" fmla="*/ 1905000 h 4429294"/>
                    <a:gd name="connsiteX43" fmla="*/ 11894 w 4501379"/>
                    <a:gd name="connsiteY43" fmla="*/ 1838325 h 4429294"/>
                    <a:gd name="connsiteX44" fmla="*/ 30944 w 4501379"/>
                    <a:gd name="connsiteY44" fmla="*/ 1781175 h 4429294"/>
                    <a:gd name="connsiteX45" fmla="*/ 40469 w 4501379"/>
                    <a:gd name="connsiteY45" fmla="*/ 1743075 h 4429294"/>
                    <a:gd name="connsiteX46" fmla="*/ 59519 w 4501379"/>
                    <a:gd name="connsiteY46" fmla="*/ 1685925 h 4429294"/>
                    <a:gd name="connsiteX47" fmla="*/ 69044 w 4501379"/>
                    <a:gd name="connsiteY47" fmla="*/ 1638300 h 4429294"/>
                    <a:gd name="connsiteX48" fmla="*/ 88094 w 4501379"/>
                    <a:gd name="connsiteY48" fmla="*/ 1590675 h 4429294"/>
                    <a:gd name="connsiteX49" fmla="*/ 116669 w 4501379"/>
                    <a:gd name="connsiteY49" fmla="*/ 1504950 h 4429294"/>
                    <a:gd name="connsiteX50" fmla="*/ 135719 w 4501379"/>
                    <a:gd name="connsiteY50" fmla="*/ 1419225 h 4429294"/>
                    <a:gd name="connsiteX51" fmla="*/ 211919 w 4501379"/>
                    <a:gd name="connsiteY51" fmla="*/ 1276350 h 4429294"/>
                    <a:gd name="connsiteX52" fmla="*/ 221444 w 4501379"/>
                    <a:gd name="connsiteY52" fmla="*/ 1247775 h 4429294"/>
                    <a:gd name="connsiteX53" fmla="*/ 250019 w 4501379"/>
                    <a:gd name="connsiteY53" fmla="*/ 1200150 h 4429294"/>
                    <a:gd name="connsiteX54" fmla="*/ 269069 w 4501379"/>
                    <a:gd name="connsiteY54" fmla="*/ 1152525 h 4429294"/>
                    <a:gd name="connsiteX55" fmla="*/ 297644 w 4501379"/>
                    <a:gd name="connsiteY55" fmla="*/ 1114425 h 4429294"/>
                    <a:gd name="connsiteX56" fmla="*/ 345269 w 4501379"/>
                    <a:gd name="connsiteY56" fmla="*/ 1038225 h 4429294"/>
                    <a:gd name="connsiteX57" fmla="*/ 364319 w 4501379"/>
                    <a:gd name="connsiteY57" fmla="*/ 1009650 h 4429294"/>
                    <a:gd name="connsiteX58" fmla="*/ 421469 w 4501379"/>
                    <a:gd name="connsiteY58" fmla="*/ 904875 h 4429294"/>
                    <a:gd name="connsiteX59" fmla="*/ 459569 w 4501379"/>
                    <a:gd name="connsiteY59" fmla="*/ 857250 h 4429294"/>
                    <a:gd name="connsiteX60" fmla="*/ 478619 w 4501379"/>
                    <a:gd name="connsiteY60" fmla="*/ 828675 h 4429294"/>
                    <a:gd name="connsiteX61" fmla="*/ 516719 w 4501379"/>
                    <a:gd name="connsiteY61" fmla="*/ 800100 h 4429294"/>
                    <a:gd name="connsiteX62" fmla="*/ 583394 w 4501379"/>
                    <a:gd name="connsiteY62" fmla="*/ 733425 h 4429294"/>
                    <a:gd name="connsiteX63" fmla="*/ 650069 w 4501379"/>
                    <a:gd name="connsiteY63" fmla="*/ 676275 h 4429294"/>
                    <a:gd name="connsiteX64" fmla="*/ 678644 w 4501379"/>
                    <a:gd name="connsiteY64" fmla="*/ 657225 h 4429294"/>
                    <a:gd name="connsiteX65" fmla="*/ 821519 w 4501379"/>
                    <a:gd name="connsiteY65" fmla="*/ 533400 h 4429294"/>
                    <a:gd name="connsiteX66" fmla="*/ 869144 w 4501379"/>
                    <a:gd name="connsiteY66" fmla="*/ 504825 h 4429294"/>
                    <a:gd name="connsiteX67" fmla="*/ 1148544 w 4501379"/>
                    <a:gd name="connsiteY67" fmla="*/ 311150 h 4429294"/>
                    <a:gd name="connsiteX68" fmla="*/ 1250144 w 4501379"/>
                    <a:gd name="connsiteY68" fmla="*/ 285750 h 4429294"/>
                    <a:gd name="connsiteX69" fmla="*/ 1393019 w 4501379"/>
                    <a:gd name="connsiteY69" fmla="*/ 190500 h 4429294"/>
                    <a:gd name="connsiteX70" fmla="*/ 1431119 w 4501379"/>
                    <a:gd name="connsiteY70" fmla="*/ 161925 h 4429294"/>
                    <a:gd name="connsiteX71" fmla="*/ 1507319 w 4501379"/>
                    <a:gd name="connsiteY71" fmla="*/ 152400 h 4429294"/>
                    <a:gd name="connsiteX72" fmla="*/ 1564469 w 4501379"/>
                    <a:gd name="connsiteY72" fmla="*/ 142875 h 4429294"/>
                    <a:gd name="connsiteX73" fmla="*/ 1697819 w 4501379"/>
                    <a:gd name="connsiteY73" fmla="*/ 123825 h 4429294"/>
                    <a:gd name="connsiteX74" fmla="*/ 1793069 w 4501379"/>
                    <a:gd name="connsiteY74" fmla="*/ 114300 h 4429294"/>
                    <a:gd name="connsiteX75" fmla="*/ 1840694 w 4501379"/>
                    <a:gd name="connsiteY75" fmla="*/ 104775 h 4429294"/>
                    <a:gd name="connsiteX76" fmla="*/ 1897844 w 4501379"/>
                    <a:gd name="connsiteY76" fmla="*/ 95250 h 4429294"/>
                    <a:gd name="connsiteX77" fmla="*/ 2012144 w 4501379"/>
                    <a:gd name="connsiteY77" fmla="*/ 66675 h 4429294"/>
                    <a:gd name="connsiteX78" fmla="*/ 2078819 w 4501379"/>
                    <a:gd name="connsiteY78" fmla="*/ 47625 h 4429294"/>
                    <a:gd name="connsiteX79" fmla="*/ 2145494 w 4501379"/>
                    <a:gd name="connsiteY7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26644 w 4501379"/>
                    <a:gd name="connsiteY7" fmla="*/ 542925 h 4429294"/>
                    <a:gd name="connsiteX8" fmla="*/ 3793319 w 4501379"/>
                    <a:gd name="connsiteY8" fmla="*/ 581025 h 4429294"/>
                    <a:gd name="connsiteX9" fmla="*/ 4009219 w 4501379"/>
                    <a:gd name="connsiteY9" fmla="*/ 819150 h 4429294"/>
                    <a:gd name="connsiteX10" fmla="*/ 4145744 w 4501379"/>
                    <a:gd name="connsiteY10" fmla="*/ 990600 h 4429294"/>
                    <a:gd name="connsiteX11" fmla="*/ 4231469 w 4501379"/>
                    <a:gd name="connsiteY11" fmla="*/ 1143000 h 4429294"/>
                    <a:gd name="connsiteX12" fmla="*/ 4288619 w 4501379"/>
                    <a:gd name="connsiteY12" fmla="*/ 1266825 h 4429294"/>
                    <a:gd name="connsiteX13" fmla="*/ 4326719 w 4501379"/>
                    <a:gd name="connsiteY13" fmla="*/ 1362075 h 4429294"/>
                    <a:gd name="connsiteX14" fmla="*/ 4374344 w 4501379"/>
                    <a:gd name="connsiteY14" fmla="*/ 1552575 h 4429294"/>
                    <a:gd name="connsiteX15" fmla="*/ 4412444 w 4501379"/>
                    <a:gd name="connsiteY15" fmla="*/ 1685925 h 4429294"/>
                    <a:gd name="connsiteX16" fmla="*/ 4501344 w 4501379"/>
                    <a:gd name="connsiteY16" fmla="*/ 2181225 h 4429294"/>
                    <a:gd name="connsiteX17" fmla="*/ 4428319 w 4501379"/>
                    <a:gd name="connsiteY17" fmla="*/ 2768600 h 4429294"/>
                    <a:gd name="connsiteX18" fmla="*/ 4364819 w 4501379"/>
                    <a:gd name="connsiteY18" fmla="*/ 2990850 h 4429294"/>
                    <a:gd name="connsiteX19" fmla="*/ 4260044 w 4501379"/>
                    <a:gd name="connsiteY19" fmla="*/ 3248025 h 4429294"/>
                    <a:gd name="connsiteX20" fmla="*/ 4164794 w 4501379"/>
                    <a:gd name="connsiteY20" fmla="*/ 3400425 h 4429294"/>
                    <a:gd name="connsiteX21" fmla="*/ 4040969 w 4501379"/>
                    <a:gd name="connsiteY21" fmla="*/ 3533775 h 4429294"/>
                    <a:gd name="connsiteX22" fmla="*/ 3936194 w 4501379"/>
                    <a:gd name="connsiteY22" fmla="*/ 3648075 h 4429294"/>
                    <a:gd name="connsiteX23" fmla="*/ 3640919 w 4501379"/>
                    <a:gd name="connsiteY23" fmla="*/ 3971925 h 4429294"/>
                    <a:gd name="connsiteX24" fmla="*/ 3498044 w 4501379"/>
                    <a:gd name="connsiteY24" fmla="*/ 4083050 h 4429294"/>
                    <a:gd name="connsiteX25" fmla="*/ 3202769 w 4501379"/>
                    <a:gd name="connsiteY25" fmla="*/ 4222750 h 4429294"/>
                    <a:gd name="connsiteX26" fmla="*/ 3050369 w 4501379"/>
                    <a:gd name="connsiteY26" fmla="*/ 4286250 h 4429294"/>
                    <a:gd name="connsiteX27" fmla="*/ 2917019 w 4501379"/>
                    <a:gd name="connsiteY27" fmla="*/ 4333875 h 4429294"/>
                    <a:gd name="connsiteX28" fmla="*/ 2793194 w 4501379"/>
                    <a:gd name="connsiteY28" fmla="*/ 4371975 h 4429294"/>
                    <a:gd name="connsiteX29" fmla="*/ 2561419 w 4501379"/>
                    <a:gd name="connsiteY29" fmla="*/ 4391025 h 4429294"/>
                    <a:gd name="connsiteX30" fmla="*/ 2107394 w 4501379"/>
                    <a:gd name="connsiteY30" fmla="*/ 4429125 h 4429294"/>
                    <a:gd name="connsiteX31" fmla="*/ 1916894 w 4501379"/>
                    <a:gd name="connsiteY31" fmla="*/ 4400550 h 4429294"/>
                    <a:gd name="connsiteX32" fmla="*/ 1554944 w 4501379"/>
                    <a:gd name="connsiteY32" fmla="*/ 4305300 h 4429294"/>
                    <a:gd name="connsiteX33" fmla="*/ 1313644 w 4501379"/>
                    <a:gd name="connsiteY33" fmla="*/ 4216400 h 4429294"/>
                    <a:gd name="connsiteX34" fmla="*/ 1145369 w 4501379"/>
                    <a:gd name="connsiteY34" fmla="*/ 4111625 h 4429294"/>
                    <a:gd name="connsiteX35" fmla="*/ 926294 w 4501379"/>
                    <a:gd name="connsiteY35" fmla="*/ 3968750 h 4429294"/>
                    <a:gd name="connsiteX36" fmla="*/ 592919 w 4501379"/>
                    <a:gd name="connsiteY36" fmla="*/ 3657600 h 4429294"/>
                    <a:gd name="connsiteX37" fmla="*/ 446869 w 4501379"/>
                    <a:gd name="connsiteY37" fmla="*/ 3470275 h 4429294"/>
                    <a:gd name="connsiteX38" fmla="*/ 316694 w 4501379"/>
                    <a:gd name="connsiteY38" fmla="*/ 3244850 h 4429294"/>
                    <a:gd name="connsiteX39" fmla="*/ 164294 w 4501379"/>
                    <a:gd name="connsiteY39" fmla="*/ 2892425 h 4429294"/>
                    <a:gd name="connsiteX40" fmla="*/ 56344 w 4501379"/>
                    <a:gd name="connsiteY40" fmla="*/ 2368550 h 4429294"/>
                    <a:gd name="connsiteX41" fmla="*/ 2369 w 4501379"/>
                    <a:gd name="connsiteY41" fmla="*/ 1905000 h 4429294"/>
                    <a:gd name="connsiteX42" fmla="*/ 11894 w 4501379"/>
                    <a:gd name="connsiteY42" fmla="*/ 1838325 h 4429294"/>
                    <a:gd name="connsiteX43" fmla="*/ 30944 w 4501379"/>
                    <a:gd name="connsiteY43" fmla="*/ 1781175 h 4429294"/>
                    <a:gd name="connsiteX44" fmla="*/ 40469 w 4501379"/>
                    <a:gd name="connsiteY44" fmla="*/ 1743075 h 4429294"/>
                    <a:gd name="connsiteX45" fmla="*/ 59519 w 4501379"/>
                    <a:gd name="connsiteY45" fmla="*/ 1685925 h 4429294"/>
                    <a:gd name="connsiteX46" fmla="*/ 69044 w 4501379"/>
                    <a:gd name="connsiteY46" fmla="*/ 1638300 h 4429294"/>
                    <a:gd name="connsiteX47" fmla="*/ 88094 w 4501379"/>
                    <a:gd name="connsiteY47" fmla="*/ 1590675 h 4429294"/>
                    <a:gd name="connsiteX48" fmla="*/ 116669 w 4501379"/>
                    <a:gd name="connsiteY48" fmla="*/ 1504950 h 4429294"/>
                    <a:gd name="connsiteX49" fmla="*/ 135719 w 4501379"/>
                    <a:gd name="connsiteY49" fmla="*/ 1419225 h 4429294"/>
                    <a:gd name="connsiteX50" fmla="*/ 211919 w 4501379"/>
                    <a:gd name="connsiteY50" fmla="*/ 1276350 h 4429294"/>
                    <a:gd name="connsiteX51" fmla="*/ 221444 w 4501379"/>
                    <a:gd name="connsiteY51" fmla="*/ 1247775 h 4429294"/>
                    <a:gd name="connsiteX52" fmla="*/ 250019 w 4501379"/>
                    <a:gd name="connsiteY52" fmla="*/ 1200150 h 4429294"/>
                    <a:gd name="connsiteX53" fmla="*/ 269069 w 4501379"/>
                    <a:gd name="connsiteY53" fmla="*/ 1152525 h 4429294"/>
                    <a:gd name="connsiteX54" fmla="*/ 297644 w 4501379"/>
                    <a:gd name="connsiteY54" fmla="*/ 1114425 h 4429294"/>
                    <a:gd name="connsiteX55" fmla="*/ 345269 w 4501379"/>
                    <a:gd name="connsiteY55" fmla="*/ 1038225 h 4429294"/>
                    <a:gd name="connsiteX56" fmla="*/ 364319 w 4501379"/>
                    <a:gd name="connsiteY56" fmla="*/ 1009650 h 4429294"/>
                    <a:gd name="connsiteX57" fmla="*/ 421469 w 4501379"/>
                    <a:gd name="connsiteY57" fmla="*/ 904875 h 4429294"/>
                    <a:gd name="connsiteX58" fmla="*/ 459569 w 4501379"/>
                    <a:gd name="connsiteY58" fmla="*/ 857250 h 4429294"/>
                    <a:gd name="connsiteX59" fmla="*/ 478619 w 4501379"/>
                    <a:gd name="connsiteY59" fmla="*/ 828675 h 4429294"/>
                    <a:gd name="connsiteX60" fmla="*/ 516719 w 4501379"/>
                    <a:gd name="connsiteY60" fmla="*/ 800100 h 4429294"/>
                    <a:gd name="connsiteX61" fmla="*/ 583394 w 4501379"/>
                    <a:gd name="connsiteY61" fmla="*/ 733425 h 4429294"/>
                    <a:gd name="connsiteX62" fmla="*/ 650069 w 4501379"/>
                    <a:gd name="connsiteY62" fmla="*/ 676275 h 4429294"/>
                    <a:gd name="connsiteX63" fmla="*/ 678644 w 4501379"/>
                    <a:gd name="connsiteY63" fmla="*/ 657225 h 4429294"/>
                    <a:gd name="connsiteX64" fmla="*/ 821519 w 4501379"/>
                    <a:gd name="connsiteY64" fmla="*/ 533400 h 4429294"/>
                    <a:gd name="connsiteX65" fmla="*/ 869144 w 4501379"/>
                    <a:gd name="connsiteY65" fmla="*/ 504825 h 4429294"/>
                    <a:gd name="connsiteX66" fmla="*/ 1148544 w 4501379"/>
                    <a:gd name="connsiteY66" fmla="*/ 311150 h 4429294"/>
                    <a:gd name="connsiteX67" fmla="*/ 1250144 w 4501379"/>
                    <a:gd name="connsiteY67" fmla="*/ 285750 h 4429294"/>
                    <a:gd name="connsiteX68" fmla="*/ 1393019 w 4501379"/>
                    <a:gd name="connsiteY68" fmla="*/ 190500 h 4429294"/>
                    <a:gd name="connsiteX69" fmla="*/ 1431119 w 4501379"/>
                    <a:gd name="connsiteY69" fmla="*/ 161925 h 4429294"/>
                    <a:gd name="connsiteX70" fmla="*/ 1507319 w 4501379"/>
                    <a:gd name="connsiteY70" fmla="*/ 152400 h 4429294"/>
                    <a:gd name="connsiteX71" fmla="*/ 1564469 w 4501379"/>
                    <a:gd name="connsiteY71" fmla="*/ 142875 h 4429294"/>
                    <a:gd name="connsiteX72" fmla="*/ 1697819 w 4501379"/>
                    <a:gd name="connsiteY72" fmla="*/ 123825 h 4429294"/>
                    <a:gd name="connsiteX73" fmla="*/ 1793069 w 4501379"/>
                    <a:gd name="connsiteY73" fmla="*/ 114300 h 4429294"/>
                    <a:gd name="connsiteX74" fmla="*/ 1840694 w 4501379"/>
                    <a:gd name="connsiteY74" fmla="*/ 104775 h 4429294"/>
                    <a:gd name="connsiteX75" fmla="*/ 1897844 w 4501379"/>
                    <a:gd name="connsiteY75" fmla="*/ 95250 h 4429294"/>
                    <a:gd name="connsiteX76" fmla="*/ 2012144 w 4501379"/>
                    <a:gd name="connsiteY76" fmla="*/ 66675 h 4429294"/>
                    <a:gd name="connsiteX77" fmla="*/ 2078819 w 4501379"/>
                    <a:gd name="connsiteY77" fmla="*/ 47625 h 4429294"/>
                    <a:gd name="connsiteX78" fmla="*/ 2145494 w 4501379"/>
                    <a:gd name="connsiteY7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93319 w 4501379"/>
                    <a:gd name="connsiteY7" fmla="*/ 581025 h 4429294"/>
                    <a:gd name="connsiteX8" fmla="*/ 4009219 w 4501379"/>
                    <a:gd name="connsiteY8" fmla="*/ 819150 h 4429294"/>
                    <a:gd name="connsiteX9" fmla="*/ 4145744 w 4501379"/>
                    <a:gd name="connsiteY9" fmla="*/ 990600 h 4429294"/>
                    <a:gd name="connsiteX10" fmla="*/ 4231469 w 4501379"/>
                    <a:gd name="connsiteY10" fmla="*/ 1143000 h 4429294"/>
                    <a:gd name="connsiteX11" fmla="*/ 4288619 w 4501379"/>
                    <a:gd name="connsiteY11" fmla="*/ 1266825 h 4429294"/>
                    <a:gd name="connsiteX12" fmla="*/ 4326719 w 4501379"/>
                    <a:gd name="connsiteY12" fmla="*/ 1362075 h 4429294"/>
                    <a:gd name="connsiteX13" fmla="*/ 4374344 w 4501379"/>
                    <a:gd name="connsiteY13" fmla="*/ 1552575 h 4429294"/>
                    <a:gd name="connsiteX14" fmla="*/ 4412444 w 4501379"/>
                    <a:gd name="connsiteY14" fmla="*/ 1685925 h 4429294"/>
                    <a:gd name="connsiteX15" fmla="*/ 4501344 w 4501379"/>
                    <a:gd name="connsiteY15" fmla="*/ 2181225 h 4429294"/>
                    <a:gd name="connsiteX16" fmla="*/ 4428319 w 4501379"/>
                    <a:gd name="connsiteY16" fmla="*/ 2768600 h 4429294"/>
                    <a:gd name="connsiteX17" fmla="*/ 4364819 w 4501379"/>
                    <a:gd name="connsiteY17" fmla="*/ 2990850 h 4429294"/>
                    <a:gd name="connsiteX18" fmla="*/ 4260044 w 4501379"/>
                    <a:gd name="connsiteY18" fmla="*/ 3248025 h 4429294"/>
                    <a:gd name="connsiteX19" fmla="*/ 4164794 w 4501379"/>
                    <a:gd name="connsiteY19" fmla="*/ 3400425 h 4429294"/>
                    <a:gd name="connsiteX20" fmla="*/ 4040969 w 4501379"/>
                    <a:gd name="connsiteY20" fmla="*/ 3533775 h 4429294"/>
                    <a:gd name="connsiteX21" fmla="*/ 3936194 w 4501379"/>
                    <a:gd name="connsiteY21" fmla="*/ 3648075 h 4429294"/>
                    <a:gd name="connsiteX22" fmla="*/ 3640919 w 4501379"/>
                    <a:gd name="connsiteY22" fmla="*/ 3971925 h 4429294"/>
                    <a:gd name="connsiteX23" fmla="*/ 3498044 w 4501379"/>
                    <a:gd name="connsiteY23" fmla="*/ 4083050 h 4429294"/>
                    <a:gd name="connsiteX24" fmla="*/ 3202769 w 4501379"/>
                    <a:gd name="connsiteY24" fmla="*/ 4222750 h 4429294"/>
                    <a:gd name="connsiteX25" fmla="*/ 3050369 w 4501379"/>
                    <a:gd name="connsiteY25" fmla="*/ 4286250 h 4429294"/>
                    <a:gd name="connsiteX26" fmla="*/ 2917019 w 4501379"/>
                    <a:gd name="connsiteY26" fmla="*/ 4333875 h 4429294"/>
                    <a:gd name="connsiteX27" fmla="*/ 2793194 w 4501379"/>
                    <a:gd name="connsiteY27" fmla="*/ 4371975 h 4429294"/>
                    <a:gd name="connsiteX28" fmla="*/ 2561419 w 4501379"/>
                    <a:gd name="connsiteY28" fmla="*/ 4391025 h 4429294"/>
                    <a:gd name="connsiteX29" fmla="*/ 2107394 w 4501379"/>
                    <a:gd name="connsiteY29" fmla="*/ 4429125 h 4429294"/>
                    <a:gd name="connsiteX30" fmla="*/ 1916894 w 4501379"/>
                    <a:gd name="connsiteY30" fmla="*/ 4400550 h 4429294"/>
                    <a:gd name="connsiteX31" fmla="*/ 1554944 w 4501379"/>
                    <a:gd name="connsiteY31" fmla="*/ 4305300 h 4429294"/>
                    <a:gd name="connsiteX32" fmla="*/ 1313644 w 4501379"/>
                    <a:gd name="connsiteY32" fmla="*/ 4216400 h 4429294"/>
                    <a:gd name="connsiteX33" fmla="*/ 1145369 w 4501379"/>
                    <a:gd name="connsiteY33" fmla="*/ 4111625 h 4429294"/>
                    <a:gd name="connsiteX34" fmla="*/ 926294 w 4501379"/>
                    <a:gd name="connsiteY34" fmla="*/ 3968750 h 4429294"/>
                    <a:gd name="connsiteX35" fmla="*/ 592919 w 4501379"/>
                    <a:gd name="connsiteY35" fmla="*/ 3657600 h 4429294"/>
                    <a:gd name="connsiteX36" fmla="*/ 446869 w 4501379"/>
                    <a:gd name="connsiteY36" fmla="*/ 3470275 h 4429294"/>
                    <a:gd name="connsiteX37" fmla="*/ 316694 w 4501379"/>
                    <a:gd name="connsiteY37" fmla="*/ 3244850 h 4429294"/>
                    <a:gd name="connsiteX38" fmla="*/ 164294 w 4501379"/>
                    <a:gd name="connsiteY38" fmla="*/ 2892425 h 4429294"/>
                    <a:gd name="connsiteX39" fmla="*/ 56344 w 4501379"/>
                    <a:gd name="connsiteY39" fmla="*/ 2368550 h 4429294"/>
                    <a:gd name="connsiteX40" fmla="*/ 2369 w 4501379"/>
                    <a:gd name="connsiteY40" fmla="*/ 1905000 h 4429294"/>
                    <a:gd name="connsiteX41" fmla="*/ 11894 w 4501379"/>
                    <a:gd name="connsiteY41" fmla="*/ 1838325 h 4429294"/>
                    <a:gd name="connsiteX42" fmla="*/ 30944 w 4501379"/>
                    <a:gd name="connsiteY42" fmla="*/ 1781175 h 4429294"/>
                    <a:gd name="connsiteX43" fmla="*/ 40469 w 4501379"/>
                    <a:gd name="connsiteY43" fmla="*/ 1743075 h 4429294"/>
                    <a:gd name="connsiteX44" fmla="*/ 59519 w 4501379"/>
                    <a:gd name="connsiteY44" fmla="*/ 1685925 h 4429294"/>
                    <a:gd name="connsiteX45" fmla="*/ 69044 w 4501379"/>
                    <a:gd name="connsiteY45" fmla="*/ 1638300 h 4429294"/>
                    <a:gd name="connsiteX46" fmla="*/ 88094 w 4501379"/>
                    <a:gd name="connsiteY46" fmla="*/ 1590675 h 4429294"/>
                    <a:gd name="connsiteX47" fmla="*/ 116669 w 4501379"/>
                    <a:gd name="connsiteY47" fmla="*/ 1504950 h 4429294"/>
                    <a:gd name="connsiteX48" fmla="*/ 135719 w 4501379"/>
                    <a:gd name="connsiteY48" fmla="*/ 1419225 h 4429294"/>
                    <a:gd name="connsiteX49" fmla="*/ 211919 w 4501379"/>
                    <a:gd name="connsiteY49" fmla="*/ 1276350 h 4429294"/>
                    <a:gd name="connsiteX50" fmla="*/ 221444 w 4501379"/>
                    <a:gd name="connsiteY50" fmla="*/ 1247775 h 4429294"/>
                    <a:gd name="connsiteX51" fmla="*/ 250019 w 4501379"/>
                    <a:gd name="connsiteY51" fmla="*/ 1200150 h 4429294"/>
                    <a:gd name="connsiteX52" fmla="*/ 269069 w 4501379"/>
                    <a:gd name="connsiteY52" fmla="*/ 1152525 h 4429294"/>
                    <a:gd name="connsiteX53" fmla="*/ 297644 w 4501379"/>
                    <a:gd name="connsiteY53" fmla="*/ 1114425 h 4429294"/>
                    <a:gd name="connsiteX54" fmla="*/ 345269 w 4501379"/>
                    <a:gd name="connsiteY54" fmla="*/ 1038225 h 4429294"/>
                    <a:gd name="connsiteX55" fmla="*/ 364319 w 4501379"/>
                    <a:gd name="connsiteY55" fmla="*/ 1009650 h 4429294"/>
                    <a:gd name="connsiteX56" fmla="*/ 421469 w 4501379"/>
                    <a:gd name="connsiteY56" fmla="*/ 904875 h 4429294"/>
                    <a:gd name="connsiteX57" fmla="*/ 459569 w 4501379"/>
                    <a:gd name="connsiteY57" fmla="*/ 857250 h 4429294"/>
                    <a:gd name="connsiteX58" fmla="*/ 478619 w 4501379"/>
                    <a:gd name="connsiteY58" fmla="*/ 828675 h 4429294"/>
                    <a:gd name="connsiteX59" fmla="*/ 516719 w 4501379"/>
                    <a:gd name="connsiteY59" fmla="*/ 800100 h 4429294"/>
                    <a:gd name="connsiteX60" fmla="*/ 583394 w 4501379"/>
                    <a:gd name="connsiteY60" fmla="*/ 733425 h 4429294"/>
                    <a:gd name="connsiteX61" fmla="*/ 650069 w 4501379"/>
                    <a:gd name="connsiteY61" fmla="*/ 676275 h 4429294"/>
                    <a:gd name="connsiteX62" fmla="*/ 678644 w 4501379"/>
                    <a:gd name="connsiteY62" fmla="*/ 657225 h 4429294"/>
                    <a:gd name="connsiteX63" fmla="*/ 821519 w 4501379"/>
                    <a:gd name="connsiteY63" fmla="*/ 533400 h 4429294"/>
                    <a:gd name="connsiteX64" fmla="*/ 869144 w 4501379"/>
                    <a:gd name="connsiteY64" fmla="*/ 504825 h 4429294"/>
                    <a:gd name="connsiteX65" fmla="*/ 1148544 w 4501379"/>
                    <a:gd name="connsiteY65" fmla="*/ 311150 h 4429294"/>
                    <a:gd name="connsiteX66" fmla="*/ 1250144 w 4501379"/>
                    <a:gd name="connsiteY66" fmla="*/ 285750 h 4429294"/>
                    <a:gd name="connsiteX67" fmla="*/ 1393019 w 4501379"/>
                    <a:gd name="connsiteY67" fmla="*/ 190500 h 4429294"/>
                    <a:gd name="connsiteX68" fmla="*/ 1431119 w 4501379"/>
                    <a:gd name="connsiteY68" fmla="*/ 161925 h 4429294"/>
                    <a:gd name="connsiteX69" fmla="*/ 1507319 w 4501379"/>
                    <a:gd name="connsiteY69" fmla="*/ 152400 h 4429294"/>
                    <a:gd name="connsiteX70" fmla="*/ 1564469 w 4501379"/>
                    <a:gd name="connsiteY70" fmla="*/ 142875 h 4429294"/>
                    <a:gd name="connsiteX71" fmla="*/ 1697819 w 4501379"/>
                    <a:gd name="connsiteY71" fmla="*/ 123825 h 4429294"/>
                    <a:gd name="connsiteX72" fmla="*/ 1793069 w 4501379"/>
                    <a:gd name="connsiteY72" fmla="*/ 114300 h 4429294"/>
                    <a:gd name="connsiteX73" fmla="*/ 1840694 w 4501379"/>
                    <a:gd name="connsiteY73" fmla="*/ 104775 h 4429294"/>
                    <a:gd name="connsiteX74" fmla="*/ 1897844 w 4501379"/>
                    <a:gd name="connsiteY74" fmla="*/ 95250 h 4429294"/>
                    <a:gd name="connsiteX75" fmla="*/ 2012144 w 4501379"/>
                    <a:gd name="connsiteY75" fmla="*/ 66675 h 4429294"/>
                    <a:gd name="connsiteX76" fmla="*/ 2078819 w 4501379"/>
                    <a:gd name="connsiteY76" fmla="*/ 47625 h 4429294"/>
                    <a:gd name="connsiteX77" fmla="*/ 2145494 w 4501379"/>
                    <a:gd name="connsiteY7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393019 w 4501379"/>
                    <a:gd name="connsiteY66" fmla="*/ 190500 h 4429294"/>
                    <a:gd name="connsiteX67" fmla="*/ 1431119 w 4501379"/>
                    <a:gd name="connsiteY67" fmla="*/ 161925 h 4429294"/>
                    <a:gd name="connsiteX68" fmla="*/ 1507319 w 4501379"/>
                    <a:gd name="connsiteY68" fmla="*/ 152400 h 4429294"/>
                    <a:gd name="connsiteX69" fmla="*/ 1564469 w 4501379"/>
                    <a:gd name="connsiteY69" fmla="*/ 142875 h 4429294"/>
                    <a:gd name="connsiteX70" fmla="*/ 1697819 w 4501379"/>
                    <a:gd name="connsiteY70" fmla="*/ 123825 h 4429294"/>
                    <a:gd name="connsiteX71" fmla="*/ 1793069 w 4501379"/>
                    <a:gd name="connsiteY71" fmla="*/ 114300 h 4429294"/>
                    <a:gd name="connsiteX72" fmla="*/ 1840694 w 4501379"/>
                    <a:gd name="connsiteY72" fmla="*/ 104775 h 4429294"/>
                    <a:gd name="connsiteX73" fmla="*/ 1897844 w 4501379"/>
                    <a:gd name="connsiteY73" fmla="*/ 95250 h 4429294"/>
                    <a:gd name="connsiteX74" fmla="*/ 2012144 w 4501379"/>
                    <a:gd name="connsiteY74" fmla="*/ 66675 h 4429294"/>
                    <a:gd name="connsiteX75" fmla="*/ 2078819 w 4501379"/>
                    <a:gd name="connsiteY75" fmla="*/ 47625 h 4429294"/>
                    <a:gd name="connsiteX76" fmla="*/ 2145494 w 4501379"/>
                    <a:gd name="connsiteY7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431119 w 4501379"/>
                    <a:gd name="connsiteY66" fmla="*/ 161925 h 4429294"/>
                    <a:gd name="connsiteX67" fmla="*/ 1507319 w 4501379"/>
                    <a:gd name="connsiteY67" fmla="*/ 152400 h 4429294"/>
                    <a:gd name="connsiteX68" fmla="*/ 1564469 w 4501379"/>
                    <a:gd name="connsiteY68" fmla="*/ 142875 h 4429294"/>
                    <a:gd name="connsiteX69" fmla="*/ 1697819 w 4501379"/>
                    <a:gd name="connsiteY69" fmla="*/ 123825 h 4429294"/>
                    <a:gd name="connsiteX70" fmla="*/ 1793069 w 4501379"/>
                    <a:gd name="connsiteY70" fmla="*/ 114300 h 4429294"/>
                    <a:gd name="connsiteX71" fmla="*/ 1840694 w 4501379"/>
                    <a:gd name="connsiteY71" fmla="*/ 104775 h 4429294"/>
                    <a:gd name="connsiteX72" fmla="*/ 1897844 w 4501379"/>
                    <a:gd name="connsiteY72" fmla="*/ 95250 h 4429294"/>
                    <a:gd name="connsiteX73" fmla="*/ 2012144 w 4501379"/>
                    <a:gd name="connsiteY73" fmla="*/ 66675 h 4429294"/>
                    <a:gd name="connsiteX74" fmla="*/ 2078819 w 4501379"/>
                    <a:gd name="connsiteY74" fmla="*/ 47625 h 4429294"/>
                    <a:gd name="connsiteX75" fmla="*/ 2145494 w 4501379"/>
                    <a:gd name="connsiteY7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507319 w 4501379"/>
                    <a:gd name="connsiteY66" fmla="*/ 152400 h 4429294"/>
                    <a:gd name="connsiteX67" fmla="*/ 1564469 w 4501379"/>
                    <a:gd name="connsiteY67" fmla="*/ 142875 h 4429294"/>
                    <a:gd name="connsiteX68" fmla="*/ 1697819 w 4501379"/>
                    <a:gd name="connsiteY68" fmla="*/ 123825 h 4429294"/>
                    <a:gd name="connsiteX69" fmla="*/ 1793069 w 4501379"/>
                    <a:gd name="connsiteY69" fmla="*/ 114300 h 4429294"/>
                    <a:gd name="connsiteX70" fmla="*/ 1840694 w 4501379"/>
                    <a:gd name="connsiteY70" fmla="*/ 104775 h 4429294"/>
                    <a:gd name="connsiteX71" fmla="*/ 1897844 w 4501379"/>
                    <a:gd name="connsiteY71" fmla="*/ 95250 h 4429294"/>
                    <a:gd name="connsiteX72" fmla="*/ 2012144 w 4501379"/>
                    <a:gd name="connsiteY72" fmla="*/ 66675 h 4429294"/>
                    <a:gd name="connsiteX73" fmla="*/ 2078819 w 4501379"/>
                    <a:gd name="connsiteY73" fmla="*/ 47625 h 4429294"/>
                    <a:gd name="connsiteX74" fmla="*/ 2145494 w 4501379"/>
                    <a:gd name="connsiteY7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697819 w 4501379"/>
                    <a:gd name="connsiteY67" fmla="*/ 123825 h 4429294"/>
                    <a:gd name="connsiteX68" fmla="*/ 1793069 w 4501379"/>
                    <a:gd name="connsiteY68" fmla="*/ 114300 h 4429294"/>
                    <a:gd name="connsiteX69" fmla="*/ 1840694 w 4501379"/>
                    <a:gd name="connsiteY69" fmla="*/ 104775 h 4429294"/>
                    <a:gd name="connsiteX70" fmla="*/ 1897844 w 4501379"/>
                    <a:gd name="connsiteY70" fmla="*/ 95250 h 4429294"/>
                    <a:gd name="connsiteX71" fmla="*/ 2012144 w 4501379"/>
                    <a:gd name="connsiteY71" fmla="*/ 66675 h 4429294"/>
                    <a:gd name="connsiteX72" fmla="*/ 2078819 w 4501379"/>
                    <a:gd name="connsiteY72" fmla="*/ 47625 h 4429294"/>
                    <a:gd name="connsiteX73" fmla="*/ 2145494 w 4501379"/>
                    <a:gd name="connsiteY7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793069 w 4501379"/>
                    <a:gd name="connsiteY67" fmla="*/ 114300 h 4429294"/>
                    <a:gd name="connsiteX68" fmla="*/ 1840694 w 4501379"/>
                    <a:gd name="connsiteY68" fmla="*/ 104775 h 4429294"/>
                    <a:gd name="connsiteX69" fmla="*/ 1897844 w 4501379"/>
                    <a:gd name="connsiteY69" fmla="*/ 95250 h 4429294"/>
                    <a:gd name="connsiteX70" fmla="*/ 2012144 w 4501379"/>
                    <a:gd name="connsiteY70" fmla="*/ 66675 h 4429294"/>
                    <a:gd name="connsiteX71" fmla="*/ 2078819 w 4501379"/>
                    <a:gd name="connsiteY71" fmla="*/ 47625 h 4429294"/>
                    <a:gd name="connsiteX72" fmla="*/ 2145494 w 4501379"/>
                    <a:gd name="connsiteY7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40694 w 4501379"/>
                    <a:gd name="connsiteY67" fmla="*/ 104775 h 4429294"/>
                    <a:gd name="connsiteX68" fmla="*/ 1897844 w 4501379"/>
                    <a:gd name="connsiteY68" fmla="*/ 95250 h 4429294"/>
                    <a:gd name="connsiteX69" fmla="*/ 2012144 w 4501379"/>
                    <a:gd name="connsiteY69" fmla="*/ 66675 h 4429294"/>
                    <a:gd name="connsiteX70" fmla="*/ 2078819 w 4501379"/>
                    <a:gd name="connsiteY70" fmla="*/ 47625 h 4429294"/>
                    <a:gd name="connsiteX71" fmla="*/ 2145494 w 4501379"/>
                    <a:gd name="connsiteY7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97844 w 4501379"/>
                    <a:gd name="connsiteY67" fmla="*/ 95250 h 4429294"/>
                    <a:gd name="connsiteX68" fmla="*/ 2012144 w 4501379"/>
                    <a:gd name="connsiteY68" fmla="*/ 66675 h 4429294"/>
                    <a:gd name="connsiteX69" fmla="*/ 2078819 w 4501379"/>
                    <a:gd name="connsiteY69" fmla="*/ 47625 h 4429294"/>
                    <a:gd name="connsiteX70" fmla="*/ 2145494 w 4501379"/>
                    <a:gd name="connsiteY7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12144 w 4501379"/>
                    <a:gd name="connsiteY67" fmla="*/ 66675 h 4429294"/>
                    <a:gd name="connsiteX68" fmla="*/ 2078819 w 4501379"/>
                    <a:gd name="connsiteY68" fmla="*/ 47625 h 4429294"/>
                    <a:gd name="connsiteX69" fmla="*/ 2145494 w 4501379"/>
                    <a:gd name="connsiteY6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78819 w 4501379"/>
                    <a:gd name="connsiteY67" fmla="*/ 47625 h 4429294"/>
                    <a:gd name="connsiteX68" fmla="*/ 2145494 w 4501379"/>
                    <a:gd name="connsiteY6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145494 w 4501379"/>
                    <a:gd name="connsiteY6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621619 w 4501379"/>
                    <a:gd name="connsiteY66" fmla="*/ 11112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678644 w 4501379"/>
                    <a:gd name="connsiteY60" fmla="*/ 657225 h 4429294"/>
                    <a:gd name="connsiteX61" fmla="*/ 821519 w 4501379"/>
                    <a:gd name="connsiteY61" fmla="*/ 533400 h 4429294"/>
                    <a:gd name="connsiteX62" fmla="*/ 869144 w 4501379"/>
                    <a:gd name="connsiteY62" fmla="*/ 504825 h 4429294"/>
                    <a:gd name="connsiteX63" fmla="*/ 1148544 w 4501379"/>
                    <a:gd name="connsiteY63" fmla="*/ 311150 h 4429294"/>
                    <a:gd name="connsiteX64" fmla="*/ 1507319 w 4501379"/>
                    <a:gd name="connsiteY64" fmla="*/ 152400 h 4429294"/>
                    <a:gd name="connsiteX65" fmla="*/ 1621619 w 4501379"/>
                    <a:gd name="connsiteY65" fmla="*/ 111125 h 4429294"/>
                    <a:gd name="connsiteX66" fmla="*/ 2253444 w 4501379"/>
                    <a:gd name="connsiteY6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21519 w 4501379"/>
                    <a:gd name="connsiteY60" fmla="*/ 533400 h 4429294"/>
                    <a:gd name="connsiteX61" fmla="*/ 869144 w 4501379"/>
                    <a:gd name="connsiteY61" fmla="*/ 504825 h 4429294"/>
                    <a:gd name="connsiteX62" fmla="*/ 1148544 w 4501379"/>
                    <a:gd name="connsiteY62" fmla="*/ 311150 h 4429294"/>
                    <a:gd name="connsiteX63" fmla="*/ 1507319 w 4501379"/>
                    <a:gd name="connsiteY63" fmla="*/ 152400 h 4429294"/>
                    <a:gd name="connsiteX64" fmla="*/ 1621619 w 4501379"/>
                    <a:gd name="connsiteY64" fmla="*/ 111125 h 4429294"/>
                    <a:gd name="connsiteX65" fmla="*/ 2253444 w 4501379"/>
                    <a:gd name="connsiteY6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69144 w 4501379"/>
                    <a:gd name="connsiteY60" fmla="*/ 504825 h 4429294"/>
                    <a:gd name="connsiteX61" fmla="*/ 1148544 w 4501379"/>
                    <a:gd name="connsiteY61" fmla="*/ 311150 h 4429294"/>
                    <a:gd name="connsiteX62" fmla="*/ 1507319 w 4501379"/>
                    <a:gd name="connsiteY62" fmla="*/ 152400 h 4429294"/>
                    <a:gd name="connsiteX63" fmla="*/ 1621619 w 4501379"/>
                    <a:gd name="connsiteY63" fmla="*/ 111125 h 4429294"/>
                    <a:gd name="connsiteX64" fmla="*/ 2253444 w 4501379"/>
                    <a:gd name="connsiteY6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64319 w 4501379"/>
                    <a:gd name="connsiteY53" fmla="*/ 1009650 h 4429294"/>
                    <a:gd name="connsiteX54" fmla="*/ 421469 w 4501379"/>
                    <a:gd name="connsiteY54" fmla="*/ 904875 h 4429294"/>
                    <a:gd name="connsiteX55" fmla="*/ 459569 w 4501379"/>
                    <a:gd name="connsiteY55" fmla="*/ 857250 h 4429294"/>
                    <a:gd name="connsiteX56" fmla="*/ 478619 w 4501379"/>
                    <a:gd name="connsiteY56" fmla="*/ 828675 h 4429294"/>
                    <a:gd name="connsiteX57" fmla="*/ 516719 w 4501379"/>
                    <a:gd name="connsiteY57" fmla="*/ 800100 h 4429294"/>
                    <a:gd name="connsiteX58" fmla="*/ 650069 w 4501379"/>
                    <a:gd name="connsiteY58" fmla="*/ 676275 h 4429294"/>
                    <a:gd name="connsiteX59" fmla="*/ 869144 w 4501379"/>
                    <a:gd name="connsiteY59" fmla="*/ 504825 h 4429294"/>
                    <a:gd name="connsiteX60" fmla="*/ 1148544 w 4501379"/>
                    <a:gd name="connsiteY60" fmla="*/ 311150 h 4429294"/>
                    <a:gd name="connsiteX61" fmla="*/ 1507319 w 4501379"/>
                    <a:gd name="connsiteY61" fmla="*/ 152400 h 4429294"/>
                    <a:gd name="connsiteX62" fmla="*/ 1621619 w 4501379"/>
                    <a:gd name="connsiteY62" fmla="*/ 111125 h 4429294"/>
                    <a:gd name="connsiteX63" fmla="*/ 2253444 w 4501379"/>
                    <a:gd name="connsiteY63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21469 w 4501379"/>
                    <a:gd name="connsiteY53" fmla="*/ 904875 h 4429294"/>
                    <a:gd name="connsiteX54" fmla="*/ 459569 w 4501379"/>
                    <a:gd name="connsiteY54" fmla="*/ 857250 h 4429294"/>
                    <a:gd name="connsiteX55" fmla="*/ 478619 w 4501379"/>
                    <a:gd name="connsiteY55" fmla="*/ 828675 h 4429294"/>
                    <a:gd name="connsiteX56" fmla="*/ 516719 w 4501379"/>
                    <a:gd name="connsiteY56" fmla="*/ 800100 h 4429294"/>
                    <a:gd name="connsiteX57" fmla="*/ 650069 w 4501379"/>
                    <a:gd name="connsiteY57" fmla="*/ 676275 h 4429294"/>
                    <a:gd name="connsiteX58" fmla="*/ 869144 w 4501379"/>
                    <a:gd name="connsiteY58" fmla="*/ 504825 h 4429294"/>
                    <a:gd name="connsiteX59" fmla="*/ 1148544 w 4501379"/>
                    <a:gd name="connsiteY59" fmla="*/ 311150 h 4429294"/>
                    <a:gd name="connsiteX60" fmla="*/ 1507319 w 4501379"/>
                    <a:gd name="connsiteY60" fmla="*/ 152400 h 4429294"/>
                    <a:gd name="connsiteX61" fmla="*/ 1621619 w 4501379"/>
                    <a:gd name="connsiteY61" fmla="*/ 111125 h 4429294"/>
                    <a:gd name="connsiteX62" fmla="*/ 2253444 w 4501379"/>
                    <a:gd name="connsiteY62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478619 w 4501379"/>
                    <a:gd name="connsiteY54" fmla="*/ 828675 h 4429294"/>
                    <a:gd name="connsiteX55" fmla="*/ 516719 w 4501379"/>
                    <a:gd name="connsiteY55" fmla="*/ 800100 h 4429294"/>
                    <a:gd name="connsiteX56" fmla="*/ 650069 w 4501379"/>
                    <a:gd name="connsiteY56" fmla="*/ 676275 h 4429294"/>
                    <a:gd name="connsiteX57" fmla="*/ 869144 w 4501379"/>
                    <a:gd name="connsiteY57" fmla="*/ 504825 h 4429294"/>
                    <a:gd name="connsiteX58" fmla="*/ 1148544 w 4501379"/>
                    <a:gd name="connsiteY58" fmla="*/ 311150 h 4429294"/>
                    <a:gd name="connsiteX59" fmla="*/ 1507319 w 4501379"/>
                    <a:gd name="connsiteY59" fmla="*/ 152400 h 4429294"/>
                    <a:gd name="connsiteX60" fmla="*/ 1621619 w 4501379"/>
                    <a:gd name="connsiteY60" fmla="*/ 111125 h 4429294"/>
                    <a:gd name="connsiteX61" fmla="*/ 2253444 w 4501379"/>
                    <a:gd name="connsiteY61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516719 w 4501379"/>
                    <a:gd name="connsiteY54" fmla="*/ 800100 h 4429294"/>
                    <a:gd name="connsiteX55" fmla="*/ 650069 w 4501379"/>
                    <a:gd name="connsiteY55" fmla="*/ 676275 h 4429294"/>
                    <a:gd name="connsiteX56" fmla="*/ 869144 w 4501379"/>
                    <a:gd name="connsiteY56" fmla="*/ 504825 h 4429294"/>
                    <a:gd name="connsiteX57" fmla="*/ 1148544 w 4501379"/>
                    <a:gd name="connsiteY57" fmla="*/ 311150 h 4429294"/>
                    <a:gd name="connsiteX58" fmla="*/ 1507319 w 4501379"/>
                    <a:gd name="connsiteY58" fmla="*/ 152400 h 4429294"/>
                    <a:gd name="connsiteX59" fmla="*/ 1621619 w 4501379"/>
                    <a:gd name="connsiteY59" fmla="*/ 111125 h 4429294"/>
                    <a:gd name="connsiteX60" fmla="*/ 2253444 w 4501379"/>
                    <a:gd name="connsiteY60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69069 w 4501379"/>
                    <a:gd name="connsiteY50" fmla="*/ 1152525 h 4429294"/>
                    <a:gd name="connsiteX51" fmla="*/ 297644 w 4501379"/>
                    <a:gd name="connsiteY51" fmla="*/ 1114425 h 4429294"/>
                    <a:gd name="connsiteX52" fmla="*/ 459569 w 4501379"/>
                    <a:gd name="connsiteY52" fmla="*/ 857250 h 4429294"/>
                    <a:gd name="connsiteX53" fmla="*/ 516719 w 4501379"/>
                    <a:gd name="connsiteY53" fmla="*/ 800100 h 4429294"/>
                    <a:gd name="connsiteX54" fmla="*/ 650069 w 4501379"/>
                    <a:gd name="connsiteY54" fmla="*/ 676275 h 4429294"/>
                    <a:gd name="connsiteX55" fmla="*/ 869144 w 4501379"/>
                    <a:gd name="connsiteY55" fmla="*/ 504825 h 4429294"/>
                    <a:gd name="connsiteX56" fmla="*/ 1148544 w 4501379"/>
                    <a:gd name="connsiteY56" fmla="*/ 311150 h 4429294"/>
                    <a:gd name="connsiteX57" fmla="*/ 1507319 w 4501379"/>
                    <a:gd name="connsiteY57" fmla="*/ 152400 h 4429294"/>
                    <a:gd name="connsiteX58" fmla="*/ 1621619 w 4501379"/>
                    <a:gd name="connsiteY58" fmla="*/ 111125 h 4429294"/>
                    <a:gd name="connsiteX59" fmla="*/ 2253444 w 4501379"/>
                    <a:gd name="connsiteY59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97644 w 4501379"/>
                    <a:gd name="connsiteY50" fmla="*/ 1114425 h 4429294"/>
                    <a:gd name="connsiteX51" fmla="*/ 459569 w 4501379"/>
                    <a:gd name="connsiteY51" fmla="*/ 857250 h 4429294"/>
                    <a:gd name="connsiteX52" fmla="*/ 516719 w 4501379"/>
                    <a:gd name="connsiteY52" fmla="*/ 800100 h 4429294"/>
                    <a:gd name="connsiteX53" fmla="*/ 650069 w 4501379"/>
                    <a:gd name="connsiteY53" fmla="*/ 676275 h 4429294"/>
                    <a:gd name="connsiteX54" fmla="*/ 869144 w 4501379"/>
                    <a:gd name="connsiteY54" fmla="*/ 504825 h 4429294"/>
                    <a:gd name="connsiteX55" fmla="*/ 1148544 w 4501379"/>
                    <a:gd name="connsiteY55" fmla="*/ 311150 h 4429294"/>
                    <a:gd name="connsiteX56" fmla="*/ 1507319 w 4501379"/>
                    <a:gd name="connsiteY56" fmla="*/ 152400 h 4429294"/>
                    <a:gd name="connsiteX57" fmla="*/ 1621619 w 4501379"/>
                    <a:gd name="connsiteY57" fmla="*/ 111125 h 4429294"/>
                    <a:gd name="connsiteX58" fmla="*/ 2253444 w 4501379"/>
                    <a:gd name="connsiteY58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97644 w 4501379"/>
                    <a:gd name="connsiteY49" fmla="*/ 1114425 h 4429294"/>
                    <a:gd name="connsiteX50" fmla="*/ 459569 w 4501379"/>
                    <a:gd name="connsiteY50" fmla="*/ 857250 h 4429294"/>
                    <a:gd name="connsiteX51" fmla="*/ 516719 w 4501379"/>
                    <a:gd name="connsiteY51" fmla="*/ 800100 h 4429294"/>
                    <a:gd name="connsiteX52" fmla="*/ 650069 w 4501379"/>
                    <a:gd name="connsiteY52" fmla="*/ 676275 h 4429294"/>
                    <a:gd name="connsiteX53" fmla="*/ 869144 w 4501379"/>
                    <a:gd name="connsiteY53" fmla="*/ 504825 h 4429294"/>
                    <a:gd name="connsiteX54" fmla="*/ 1148544 w 4501379"/>
                    <a:gd name="connsiteY54" fmla="*/ 311150 h 4429294"/>
                    <a:gd name="connsiteX55" fmla="*/ 1507319 w 4501379"/>
                    <a:gd name="connsiteY55" fmla="*/ 152400 h 4429294"/>
                    <a:gd name="connsiteX56" fmla="*/ 1621619 w 4501379"/>
                    <a:gd name="connsiteY56" fmla="*/ 111125 h 4429294"/>
                    <a:gd name="connsiteX57" fmla="*/ 2253444 w 4501379"/>
                    <a:gd name="connsiteY5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35719 w 4501379"/>
                    <a:gd name="connsiteY46" fmla="*/ 1419225 h 4429294"/>
                    <a:gd name="connsiteX47" fmla="*/ 211919 w 4501379"/>
                    <a:gd name="connsiteY47" fmla="*/ 1276350 h 4429294"/>
                    <a:gd name="connsiteX48" fmla="*/ 297644 w 4501379"/>
                    <a:gd name="connsiteY48" fmla="*/ 1114425 h 4429294"/>
                    <a:gd name="connsiteX49" fmla="*/ 459569 w 4501379"/>
                    <a:gd name="connsiteY49" fmla="*/ 857250 h 4429294"/>
                    <a:gd name="connsiteX50" fmla="*/ 516719 w 4501379"/>
                    <a:gd name="connsiteY50" fmla="*/ 800100 h 4429294"/>
                    <a:gd name="connsiteX51" fmla="*/ 650069 w 4501379"/>
                    <a:gd name="connsiteY51" fmla="*/ 676275 h 4429294"/>
                    <a:gd name="connsiteX52" fmla="*/ 869144 w 4501379"/>
                    <a:gd name="connsiteY52" fmla="*/ 504825 h 4429294"/>
                    <a:gd name="connsiteX53" fmla="*/ 1148544 w 4501379"/>
                    <a:gd name="connsiteY53" fmla="*/ 311150 h 4429294"/>
                    <a:gd name="connsiteX54" fmla="*/ 1507319 w 4501379"/>
                    <a:gd name="connsiteY54" fmla="*/ 152400 h 4429294"/>
                    <a:gd name="connsiteX55" fmla="*/ 1621619 w 4501379"/>
                    <a:gd name="connsiteY55" fmla="*/ 111125 h 4429294"/>
                    <a:gd name="connsiteX56" fmla="*/ 2253444 w 4501379"/>
                    <a:gd name="connsiteY5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88094 w 4501379"/>
                    <a:gd name="connsiteY44" fmla="*/ 1590675 h 4429294"/>
                    <a:gd name="connsiteX45" fmla="*/ 135719 w 4501379"/>
                    <a:gd name="connsiteY45" fmla="*/ 1419225 h 4429294"/>
                    <a:gd name="connsiteX46" fmla="*/ 211919 w 4501379"/>
                    <a:gd name="connsiteY46" fmla="*/ 1276350 h 4429294"/>
                    <a:gd name="connsiteX47" fmla="*/ 297644 w 4501379"/>
                    <a:gd name="connsiteY47" fmla="*/ 1114425 h 4429294"/>
                    <a:gd name="connsiteX48" fmla="*/ 459569 w 4501379"/>
                    <a:gd name="connsiteY48" fmla="*/ 857250 h 4429294"/>
                    <a:gd name="connsiteX49" fmla="*/ 516719 w 4501379"/>
                    <a:gd name="connsiteY49" fmla="*/ 800100 h 4429294"/>
                    <a:gd name="connsiteX50" fmla="*/ 650069 w 4501379"/>
                    <a:gd name="connsiteY50" fmla="*/ 676275 h 4429294"/>
                    <a:gd name="connsiteX51" fmla="*/ 869144 w 4501379"/>
                    <a:gd name="connsiteY51" fmla="*/ 504825 h 4429294"/>
                    <a:gd name="connsiteX52" fmla="*/ 1148544 w 4501379"/>
                    <a:gd name="connsiteY52" fmla="*/ 311150 h 4429294"/>
                    <a:gd name="connsiteX53" fmla="*/ 1507319 w 4501379"/>
                    <a:gd name="connsiteY53" fmla="*/ 152400 h 4429294"/>
                    <a:gd name="connsiteX54" fmla="*/ 1621619 w 4501379"/>
                    <a:gd name="connsiteY54" fmla="*/ 111125 h 4429294"/>
                    <a:gd name="connsiteX55" fmla="*/ 2253444 w 4501379"/>
                    <a:gd name="connsiteY5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88094 w 4501379"/>
                    <a:gd name="connsiteY43" fmla="*/ 1590675 h 4429294"/>
                    <a:gd name="connsiteX44" fmla="*/ 135719 w 4501379"/>
                    <a:gd name="connsiteY44" fmla="*/ 1419225 h 4429294"/>
                    <a:gd name="connsiteX45" fmla="*/ 211919 w 4501379"/>
                    <a:gd name="connsiteY45" fmla="*/ 1276350 h 4429294"/>
                    <a:gd name="connsiteX46" fmla="*/ 297644 w 4501379"/>
                    <a:gd name="connsiteY46" fmla="*/ 1114425 h 4429294"/>
                    <a:gd name="connsiteX47" fmla="*/ 459569 w 4501379"/>
                    <a:gd name="connsiteY47" fmla="*/ 857250 h 4429294"/>
                    <a:gd name="connsiteX48" fmla="*/ 516719 w 4501379"/>
                    <a:gd name="connsiteY48" fmla="*/ 800100 h 4429294"/>
                    <a:gd name="connsiteX49" fmla="*/ 650069 w 4501379"/>
                    <a:gd name="connsiteY49" fmla="*/ 676275 h 4429294"/>
                    <a:gd name="connsiteX50" fmla="*/ 869144 w 4501379"/>
                    <a:gd name="connsiteY50" fmla="*/ 504825 h 4429294"/>
                    <a:gd name="connsiteX51" fmla="*/ 1148544 w 4501379"/>
                    <a:gd name="connsiteY51" fmla="*/ 311150 h 4429294"/>
                    <a:gd name="connsiteX52" fmla="*/ 1507319 w 4501379"/>
                    <a:gd name="connsiteY52" fmla="*/ 152400 h 4429294"/>
                    <a:gd name="connsiteX53" fmla="*/ 1621619 w 4501379"/>
                    <a:gd name="connsiteY53" fmla="*/ 111125 h 4429294"/>
                    <a:gd name="connsiteX54" fmla="*/ 2253444 w 4501379"/>
                    <a:gd name="connsiteY5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88094 w 4501379"/>
                    <a:gd name="connsiteY42" fmla="*/ 1590675 h 4429294"/>
                    <a:gd name="connsiteX43" fmla="*/ 135719 w 4501379"/>
                    <a:gd name="connsiteY43" fmla="*/ 1419225 h 4429294"/>
                    <a:gd name="connsiteX44" fmla="*/ 211919 w 4501379"/>
                    <a:gd name="connsiteY44" fmla="*/ 1276350 h 4429294"/>
                    <a:gd name="connsiteX45" fmla="*/ 297644 w 4501379"/>
                    <a:gd name="connsiteY45" fmla="*/ 1114425 h 4429294"/>
                    <a:gd name="connsiteX46" fmla="*/ 459569 w 4501379"/>
                    <a:gd name="connsiteY46" fmla="*/ 857250 h 4429294"/>
                    <a:gd name="connsiteX47" fmla="*/ 516719 w 4501379"/>
                    <a:gd name="connsiteY47" fmla="*/ 800100 h 4429294"/>
                    <a:gd name="connsiteX48" fmla="*/ 650069 w 4501379"/>
                    <a:gd name="connsiteY48" fmla="*/ 676275 h 4429294"/>
                    <a:gd name="connsiteX49" fmla="*/ 869144 w 4501379"/>
                    <a:gd name="connsiteY49" fmla="*/ 504825 h 4429294"/>
                    <a:gd name="connsiteX50" fmla="*/ 1148544 w 4501379"/>
                    <a:gd name="connsiteY50" fmla="*/ 311150 h 4429294"/>
                    <a:gd name="connsiteX51" fmla="*/ 1507319 w 4501379"/>
                    <a:gd name="connsiteY51" fmla="*/ 152400 h 4429294"/>
                    <a:gd name="connsiteX52" fmla="*/ 1621619 w 4501379"/>
                    <a:gd name="connsiteY52" fmla="*/ 111125 h 4429294"/>
                    <a:gd name="connsiteX53" fmla="*/ 2253444 w 4501379"/>
                    <a:gd name="connsiteY53" fmla="*/ 12700 h 4429294"/>
                    <a:gd name="connsiteX0" fmla="*/ 2277090 w 4499625"/>
                    <a:gd name="connsiteY0" fmla="*/ 0 h 4429294"/>
                    <a:gd name="connsiteX1" fmla="*/ 2600940 w 4499625"/>
                    <a:gd name="connsiteY1" fmla="*/ 15875 h 4429294"/>
                    <a:gd name="connsiteX2" fmla="*/ 2896215 w 4499625"/>
                    <a:gd name="connsiteY2" fmla="*/ 85725 h 4429294"/>
                    <a:gd name="connsiteX3" fmla="*/ 3115290 w 4499625"/>
                    <a:gd name="connsiteY3" fmla="*/ 171450 h 4429294"/>
                    <a:gd name="connsiteX4" fmla="*/ 3220065 w 4499625"/>
                    <a:gd name="connsiteY4" fmla="*/ 228600 h 4429294"/>
                    <a:gd name="connsiteX5" fmla="*/ 3401040 w 4499625"/>
                    <a:gd name="connsiteY5" fmla="*/ 323850 h 4429294"/>
                    <a:gd name="connsiteX6" fmla="*/ 3791565 w 4499625"/>
                    <a:gd name="connsiteY6" fmla="*/ 581025 h 4429294"/>
                    <a:gd name="connsiteX7" fmla="*/ 4007465 w 4499625"/>
                    <a:gd name="connsiteY7" fmla="*/ 819150 h 4429294"/>
                    <a:gd name="connsiteX8" fmla="*/ 4143990 w 4499625"/>
                    <a:gd name="connsiteY8" fmla="*/ 990600 h 4429294"/>
                    <a:gd name="connsiteX9" fmla="*/ 4229715 w 4499625"/>
                    <a:gd name="connsiteY9" fmla="*/ 1143000 h 4429294"/>
                    <a:gd name="connsiteX10" fmla="*/ 4286865 w 4499625"/>
                    <a:gd name="connsiteY10" fmla="*/ 1266825 h 4429294"/>
                    <a:gd name="connsiteX11" fmla="*/ 4324965 w 4499625"/>
                    <a:gd name="connsiteY11" fmla="*/ 1362075 h 4429294"/>
                    <a:gd name="connsiteX12" fmla="*/ 4372590 w 4499625"/>
                    <a:gd name="connsiteY12" fmla="*/ 1552575 h 4429294"/>
                    <a:gd name="connsiteX13" fmla="*/ 4410690 w 4499625"/>
                    <a:gd name="connsiteY13" fmla="*/ 1685925 h 4429294"/>
                    <a:gd name="connsiteX14" fmla="*/ 4499590 w 4499625"/>
                    <a:gd name="connsiteY14" fmla="*/ 2181225 h 4429294"/>
                    <a:gd name="connsiteX15" fmla="*/ 4426565 w 4499625"/>
                    <a:gd name="connsiteY15" fmla="*/ 2768600 h 4429294"/>
                    <a:gd name="connsiteX16" fmla="*/ 4363065 w 4499625"/>
                    <a:gd name="connsiteY16" fmla="*/ 2990850 h 4429294"/>
                    <a:gd name="connsiteX17" fmla="*/ 4258290 w 4499625"/>
                    <a:gd name="connsiteY17" fmla="*/ 3248025 h 4429294"/>
                    <a:gd name="connsiteX18" fmla="*/ 4163040 w 4499625"/>
                    <a:gd name="connsiteY18" fmla="*/ 3400425 h 4429294"/>
                    <a:gd name="connsiteX19" fmla="*/ 4039215 w 4499625"/>
                    <a:gd name="connsiteY19" fmla="*/ 3533775 h 4429294"/>
                    <a:gd name="connsiteX20" fmla="*/ 3934440 w 4499625"/>
                    <a:gd name="connsiteY20" fmla="*/ 3648075 h 4429294"/>
                    <a:gd name="connsiteX21" fmla="*/ 3639165 w 4499625"/>
                    <a:gd name="connsiteY21" fmla="*/ 3971925 h 4429294"/>
                    <a:gd name="connsiteX22" fmla="*/ 3496290 w 4499625"/>
                    <a:gd name="connsiteY22" fmla="*/ 4083050 h 4429294"/>
                    <a:gd name="connsiteX23" fmla="*/ 3201015 w 4499625"/>
                    <a:gd name="connsiteY23" fmla="*/ 4222750 h 4429294"/>
                    <a:gd name="connsiteX24" fmla="*/ 3048615 w 4499625"/>
                    <a:gd name="connsiteY24" fmla="*/ 4286250 h 4429294"/>
                    <a:gd name="connsiteX25" fmla="*/ 2915265 w 4499625"/>
                    <a:gd name="connsiteY25" fmla="*/ 4333875 h 4429294"/>
                    <a:gd name="connsiteX26" fmla="*/ 2791440 w 4499625"/>
                    <a:gd name="connsiteY26" fmla="*/ 4371975 h 4429294"/>
                    <a:gd name="connsiteX27" fmla="*/ 2559665 w 4499625"/>
                    <a:gd name="connsiteY27" fmla="*/ 4391025 h 4429294"/>
                    <a:gd name="connsiteX28" fmla="*/ 2105640 w 4499625"/>
                    <a:gd name="connsiteY28" fmla="*/ 4429125 h 4429294"/>
                    <a:gd name="connsiteX29" fmla="*/ 1915140 w 4499625"/>
                    <a:gd name="connsiteY29" fmla="*/ 4400550 h 4429294"/>
                    <a:gd name="connsiteX30" fmla="*/ 1553190 w 4499625"/>
                    <a:gd name="connsiteY30" fmla="*/ 4305300 h 4429294"/>
                    <a:gd name="connsiteX31" fmla="*/ 1311890 w 4499625"/>
                    <a:gd name="connsiteY31" fmla="*/ 4216400 h 4429294"/>
                    <a:gd name="connsiteX32" fmla="*/ 1143615 w 4499625"/>
                    <a:gd name="connsiteY32" fmla="*/ 4111625 h 4429294"/>
                    <a:gd name="connsiteX33" fmla="*/ 924540 w 4499625"/>
                    <a:gd name="connsiteY33" fmla="*/ 3968750 h 4429294"/>
                    <a:gd name="connsiteX34" fmla="*/ 591165 w 4499625"/>
                    <a:gd name="connsiteY34" fmla="*/ 3657600 h 4429294"/>
                    <a:gd name="connsiteX35" fmla="*/ 445115 w 4499625"/>
                    <a:gd name="connsiteY35" fmla="*/ 3470275 h 4429294"/>
                    <a:gd name="connsiteX36" fmla="*/ 314940 w 4499625"/>
                    <a:gd name="connsiteY36" fmla="*/ 3244850 h 4429294"/>
                    <a:gd name="connsiteX37" fmla="*/ 162540 w 4499625"/>
                    <a:gd name="connsiteY37" fmla="*/ 2892425 h 4429294"/>
                    <a:gd name="connsiteX38" fmla="*/ 54590 w 4499625"/>
                    <a:gd name="connsiteY38" fmla="*/ 2368550 h 4429294"/>
                    <a:gd name="connsiteX39" fmla="*/ 615 w 4499625"/>
                    <a:gd name="connsiteY39" fmla="*/ 1905000 h 4429294"/>
                    <a:gd name="connsiteX40" fmla="*/ 29190 w 4499625"/>
                    <a:gd name="connsiteY40" fmla="*/ 1781175 h 4429294"/>
                    <a:gd name="connsiteX41" fmla="*/ 86340 w 4499625"/>
                    <a:gd name="connsiteY41" fmla="*/ 1590675 h 4429294"/>
                    <a:gd name="connsiteX42" fmla="*/ 133965 w 4499625"/>
                    <a:gd name="connsiteY42" fmla="*/ 1419225 h 4429294"/>
                    <a:gd name="connsiteX43" fmla="*/ 210165 w 4499625"/>
                    <a:gd name="connsiteY43" fmla="*/ 1276350 h 4429294"/>
                    <a:gd name="connsiteX44" fmla="*/ 295890 w 4499625"/>
                    <a:gd name="connsiteY44" fmla="*/ 1114425 h 4429294"/>
                    <a:gd name="connsiteX45" fmla="*/ 457815 w 4499625"/>
                    <a:gd name="connsiteY45" fmla="*/ 857250 h 4429294"/>
                    <a:gd name="connsiteX46" fmla="*/ 514965 w 4499625"/>
                    <a:gd name="connsiteY46" fmla="*/ 800100 h 4429294"/>
                    <a:gd name="connsiteX47" fmla="*/ 648315 w 4499625"/>
                    <a:gd name="connsiteY47" fmla="*/ 676275 h 4429294"/>
                    <a:gd name="connsiteX48" fmla="*/ 867390 w 4499625"/>
                    <a:gd name="connsiteY48" fmla="*/ 504825 h 4429294"/>
                    <a:gd name="connsiteX49" fmla="*/ 1146790 w 4499625"/>
                    <a:gd name="connsiteY49" fmla="*/ 311150 h 4429294"/>
                    <a:gd name="connsiteX50" fmla="*/ 1505565 w 4499625"/>
                    <a:gd name="connsiteY50" fmla="*/ 152400 h 4429294"/>
                    <a:gd name="connsiteX51" fmla="*/ 1619865 w 4499625"/>
                    <a:gd name="connsiteY51" fmla="*/ 111125 h 4429294"/>
                    <a:gd name="connsiteX52" fmla="*/ 2251690 w 4499625"/>
                    <a:gd name="connsiteY52" fmla="*/ 12700 h 4429294"/>
                    <a:gd name="connsiteX0" fmla="*/ 2249427 w 4471962"/>
                    <a:gd name="connsiteY0" fmla="*/ 0 h 4429294"/>
                    <a:gd name="connsiteX1" fmla="*/ 2573277 w 4471962"/>
                    <a:gd name="connsiteY1" fmla="*/ 15875 h 4429294"/>
                    <a:gd name="connsiteX2" fmla="*/ 2868552 w 4471962"/>
                    <a:gd name="connsiteY2" fmla="*/ 85725 h 4429294"/>
                    <a:gd name="connsiteX3" fmla="*/ 3087627 w 4471962"/>
                    <a:gd name="connsiteY3" fmla="*/ 171450 h 4429294"/>
                    <a:gd name="connsiteX4" fmla="*/ 3192402 w 4471962"/>
                    <a:gd name="connsiteY4" fmla="*/ 228600 h 4429294"/>
                    <a:gd name="connsiteX5" fmla="*/ 3373377 w 4471962"/>
                    <a:gd name="connsiteY5" fmla="*/ 323850 h 4429294"/>
                    <a:gd name="connsiteX6" fmla="*/ 3763902 w 4471962"/>
                    <a:gd name="connsiteY6" fmla="*/ 581025 h 4429294"/>
                    <a:gd name="connsiteX7" fmla="*/ 3979802 w 4471962"/>
                    <a:gd name="connsiteY7" fmla="*/ 819150 h 4429294"/>
                    <a:gd name="connsiteX8" fmla="*/ 4116327 w 4471962"/>
                    <a:gd name="connsiteY8" fmla="*/ 990600 h 4429294"/>
                    <a:gd name="connsiteX9" fmla="*/ 4202052 w 4471962"/>
                    <a:gd name="connsiteY9" fmla="*/ 1143000 h 4429294"/>
                    <a:gd name="connsiteX10" fmla="*/ 4259202 w 4471962"/>
                    <a:gd name="connsiteY10" fmla="*/ 1266825 h 4429294"/>
                    <a:gd name="connsiteX11" fmla="*/ 4297302 w 4471962"/>
                    <a:gd name="connsiteY11" fmla="*/ 1362075 h 4429294"/>
                    <a:gd name="connsiteX12" fmla="*/ 4344927 w 4471962"/>
                    <a:gd name="connsiteY12" fmla="*/ 1552575 h 4429294"/>
                    <a:gd name="connsiteX13" fmla="*/ 4383027 w 4471962"/>
                    <a:gd name="connsiteY13" fmla="*/ 1685925 h 4429294"/>
                    <a:gd name="connsiteX14" fmla="*/ 4471927 w 4471962"/>
                    <a:gd name="connsiteY14" fmla="*/ 2181225 h 4429294"/>
                    <a:gd name="connsiteX15" fmla="*/ 4398902 w 4471962"/>
                    <a:gd name="connsiteY15" fmla="*/ 2768600 h 4429294"/>
                    <a:gd name="connsiteX16" fmla="*/ 4335402 w 4471962"/>
                    <a:gd name="connsiteY16" fmla="*/ 2990850 h 4429294"/>
                    <a:gd name="connsiteX17" fmla="*/ 4230627 w 4471962"/>
                    <a:gd name="connsiteY17" fmla="*/ 3248025 h 4429294"/>
                    <a:gd name="connsiteX18" fmla="*/ 4135377 w 4471962"/>
                    <a:gd name="connsiteY18" fmla="*/ 3400425 h 4429294"/>
                    <a:gd name="connsiteX19" fmla="*/ 4011552 w 4471962"/>
                    <a:gd name="connsiteY19" fmla="*/ 3533775 h 4429294"/>
                    <a:gd name="connsiteX20" fmla="*/ 3906777 w 4471962"/>
                    <a:gd name="connsiteY20" fmla="*/ 3648075 h 4429294"/>
                    <a:gd name="connsiteX21" fmla="*/ 3611502 w 4471962"/>
                    <a:gd name="connsiteY21" fmla="*/ 3971925 h 4429294"/>
                    <a:gd name="connsiteX22" fmla="*/ 3468627 w 4471962"/>
                    <a:gd name="connsiteY22" fmla="*/ 4083050 h 4429294"/>
                    <a:gd name="connsiteX23" fmla="*/ 3173352 w 4471962"/>
                    <a:gd name="connsiteY23" fmla="*/ 4222750 h 4429294"/>
                    <a:gd name="connsiteX24" fmla="*/ 3020952 w 4471962"/>
                    <a:gd name="connsiteY24" fmla="*/ 4286250 h 4429294"/>
                    <a:gd name="connsiteX25" fmla="*/ 2887602 w 4471962"/>
                    <a:gd name="connsiteY25" fmla="*/ 4333875 h 4429294"/>
                    <a:gd name="connsiteX26" fmla="*/ 2763777 w 4471962"/>
                    <a:gd name="connsiteY26" fmla="*/ 4371975 h 4429294"/>
                    <a:gd name="connsiteX27" fmla="*/ 2532002 w 4471962"/>
                    <a:gd name="connsiteY27" fmla="*/ 4391025 h 4429294"/>
                    <a:gd name="connsiteX28" fmla="*/ 2077977 w 4471962"/>
                    <a:gd name="connsiteY28" fmla="*/ 4429125 h 4429294"/>
                    <a:gd name="connsiteX29" fmla="*/ 1887477 w 4471962"/>
                    <a:gd name="connsiteY29" fmla="*/ 4400550 h 4429294"/>
                    <a:gd name="connsiteX30" fmla="*/ 1525527 w 4471962"/>
                    <a:gd name="connsiteY30" fmla="*/ 4305300 h 4429294"/>
                    <a:gd name="connsiteX31" fmla="*/ 1284227 w 4471962"/>
                    <a:gd name="connsiteY31" fmla="*/ 4216400 h 4429294"/>
                    <a:gd name="connsiteX32" fmla="*/ 1115952 w 4471962"/>
                    <a:gd name="connsiteY32" fmla="*/ 4111625 h 4429294"/>
                    <a:gd name="connsiteX33" fmla="*/ 896877 w 4471962"/>
                    <a:gd name="connsiteY33" fmla="*/ 3968750 h 4429294"/>
                    <a:gd name="connsiteX34" fmla="*/ 563502 w 4471962"/>
                    <a:gd name="connsiteY34" fmla="*/ 3657600 h 4429294"/>
                    <a:gd name="connsiteX35" fmla="*/ 417452 w 4471962"/>
                    <a:gd name="connsiteY35" fmla="*/ 3470275 h 4429294"/>
                    <a:gd name="connsiteX36" fmla="*/ 287277 w 4471962"/>
                    <a:gd name="connsiteY36" fmla="*/ 3244850 h 4429294"/>
                    <a:gd name="connsiteX37" fmla="*/ 134877 w 4471962"/>
                    <a:gd name="connsiteY37" fmla="*/ 2892425 h 4429294"/>
                    <a:gd name="connsiteX38" fmla="*/ 26927 w 4471962"/>
                    <a:gd name="connsiteY38" fmla="*/ 2368550 h 4429294"/>
                    <a:gd name="connsiteX39" fmla="*/ 1527 w 4471962"/>
                    <a:gd name="connsiteY39" fmla="*/ 1781175 h 4429294"/>
                    <a:gd name="connsiteX40" fmla="*/ 58677 w 4471962"/>
                    <a:gd name="connsiteY40" fmla="*/ 1590675 h 4429294"/>
                    <a:gd name="connsiteX41" fmla="*/ 106302 w 4471962"/>
                    <a:gd name="connsiteY41" fmla="*/ 1419225 h 4429294"/>
                    <a:gd name="connsiteX42" fmla="*/ 182502 w 4471962"/>
                    <a:gd name="connsiteY42" fmla="*/ 1276350 h 4429294"/>
                    <a:gd name="connsiteX43" fmla="*/ 268227 w 4471962"/>
                    <a:gd name="connsiteY43" fmla="*/ 1114425 h 4429294"/>
                    <a:gd name="connsiteX44" fmla="*/ 430152 w 4471962"/>
                    <a:gd name="connsiteY44" fmla="*/ 857250 h 4429294"/>
                    <a:gd name="connsiteX45" fmla="*/ 487302 w 4471962"/>
                    <a:gd name="connsiteY45" fmla="*/ 800100 h 4429294"/>
                    <a:gd name="connsiteX46" fmla="*/ 620652 w 4471962"/>
                    <a:gd name="connsiteY46" fmla="*/ 676275 h 4429294"/>
                    <a:gd name="connsiteX47" fmla="*/ 839727 w 4471962"/>
                    <a:gd name="connsiteY47" fmla="*/ 504825 h 4429294"/>
                    <a:gd name="connsiteX48" fmla="*/ 1119127 w 4471962"/>
                    <a:gd name="connsiteY48" fmla="*/ 311150 h 4429294"/>
                    <a:gd name="connsiteX49" fmla="*/ 1477902 w 4471962"/>
                    <a:gd name="connsiteY49" fmla="*/ 152400 h 4429294"/>
                    <a:gd name="connsiteX50" fmla="*/ 1592202 w 4471962"/>
                    <a:gd name="connsiteY50" fmla="*/ 111125 h 4429294"/>
                    <a:gd name="connsiteX51" fmla="*/ 2224027 w 4471962"/>
                    <a:gd name="connsiteY51" fmla="*/ 12700 h 4429294"/>
                    <a:gd name="connsiteX0" fmla="*/ 2231942 w 4454477"/>
                    <a:gd name="connsiteY0" fmla="*/ 0 h 4429294"/>
                    <a:gd name="connsiteX1" fmla="*/ 2555792 w 4454477"/>
                    <a:gd name="connsiteY1" fmla="*/ 15875 h 4429294"/>
                    <a:gd name="connsiteX2" fmla="*/ 2851067 w 4454477"/>
                    <a:gd name="connsiteY2" fmla="*/ 85725 h 4429294"/>
                    <a:gd name="connsiteX3" fmla="*/ 3070142 w 4454477"/>
                    <a:gd name="connsiteY3" fmla="*/ 171450 h 4429294"/>
                    <a:gd name="connsiteX4" fmla="*/ 3174917 w 4454477"/>
                    <a:gd name="connsiteY4" fmla="*/ 228600 h 4429294"/>
                    <a:gd name="connsiteX5" fmla="*/ 3355892 w 4454477"/>
                    <a:gd name="connsiteY5" fmla="*/ 323850 h 4429294"/>
                    <a:gd name="connsiteX6" fmla="*/ 3746417 w 4454477"/>
                    <a:gd name="connsiteY6" fmla="*/ 581025 h 4429294"/>
                    <a:gd name="connsiteX7" fmla="*/ 3962317 w 4454477"/>
                    <a:gd name="connsiteY7" fmla="*/ 819150 h 4429294"/>
                    <a:gd name="connsiteX8" fmla="*/ 4098842 w 4454477"/>
                    <a:gd name="connsiteY8" fmla="*/ 990600 h 4429294"/>
                    <a:gd name="connsiteX9" fmla="*/ 4184567 w 4454477"/>
                    <a:gd name="connsiteY9" fmla="*/ 1143000 h 4429294"/>
                    <a:gd name="connsiteX10" fmla="*/ 4241717 w 4454477"/>
                    <a:gd name="connsiteY10" fmla="*/ 1266825 h 4429294"/>
                    <a:gd name="connsiteX11" fmla="*/ 4279817 w 4454477"/>
                    <a:gd name="connsiteY11" fmla="*/ 1362075 h 4429294"/>
                    <a:gd name="connsiteX12" fmla="*/ 4327442 w 4454477"/>
                    <a:gd name="connsiteY12" fmla="*/ 1552575 h 4429294"/>
                    <a:gd name="connsiteX13" fmla="*/ 4365542 w 4454477"/>
                    <a:gd name="connsiteY13" fmla="*/ 1685925 h 4429294"/>
                    <a:gd name="connsiteX14" fmla="*/ 4454442 w 4454477"/>
                    <a:gd name="connsiteY14" fmla="*/ 2181225 h 4429294"/>
                    <a:gd name="connsiteX15" fmla="*/ 4381417 w 4454477"/>
                    <a:gd name="connsiteY15" fmla="*/ 2768600 h 4429294"/>
                    <a:gd name="connsiteX16" fmla="*/ 4317917 w 4454477"/>
                    <a:gd name="connsiteY16" fmla="*/ 2990850 h 4429294"/>
                    <a:gd name="connsiteX17" fmla="*/ 4213142 w 4454477"/>
                    <a:gd name="connsiteY17" fmla="*/ 3248025 h 4429294"/>
                    <a:gd name="connsiteX18" fmla="*/ 4117892 w 4454477"/>
                    <a:gd name="connsiteY18" fmla="*/ 3400425 h 4429294"/>
                    <a:gd name="connsiteX19" fmla="*/ 3994067 w 4454477"/>
                    <a:gd name="connsiteY19" fmla="*/ 3533775 h 4429294"/>
                    <a:gd name="connsiteX20" fmla="*/ 3889292 w 4454477"/>
                    <a:gd name="connsiteY20" fmla="*/ 3648075 h 4429294"/>
                    <a:gd name="connsiteX21" fmla="*/ 3594017 w 4454477"/>
                    <a:gd name="connsiteY21" fmla="*/ 3971925 h 4429294"/>
                    <a:gd name="connsiteX22" fmla="*/ 3451142 w 4454477"/>
                    <a:gd name="connsiteY22" fmla="*/ 4083050 h 4429294"/>
                    <a:gd name="connsiteX23" fmla="*/ 3155867 w 4454477"/>
                    <a:gd name="connsiteY23" fmla="*/ 4222750 h 4429294"/>
                    <a:gd name="connsiteX24" fmla="*/ 3003467 w 4454477"/>
                    <a:gd name="connsiteY24" fmla="*/ 4286250 h 4429294"/>
                    <a:gd name="connsiteX25" fmla="*/ 2870117 w 4454477"/>
                    <a:gd name="connsiteY25" fmla="*/ 4333875 h 4429294"/>
                    <a:gd name="connsiteX26" fmla="*/ 2746292 w 4454477"/>
                    <a:gd name="connsiteY26" fmla="*/ 4371975 h 4429294"/>
                    <a:gd name="connsiteX27" fmla="*/ 2514517 w 4454477"/>
                    <a:gd name="connsiteY27" fmla="*/ 4391025 h 4429294"/>
                    <a:gd name="connsiteX28" fmla="*/ 2060492 w 4454477"/>
                    <a:gd name="connsiteY28" fmla="*/ 4429125 h 4429294"/>
                    <a:gd name="connsiteX29" fmla="*/ 1869992 w 4454477"/>
                    <a:gd name="connsiteY29" fmla="*/ 4400550 h 4429294"/>
                    <a:gd name="connsiteX30" fmla="*/ 1508042 w 4454477"/>
                    <a:gd name="connsiteY30" fmla="*/ 4305300 h 4429294"/>
                    <a:gd name="connsiteX31" fmla="*/ 1266742 w 4454477"/>
                    <a:gd name="connsiteY31" fmla="*/ 4216400 h 4429294"/>
                    <a:gd name="connsiteX32" fmla="*/ 1098467 w 4454477"/>
                    <a:gd name="connsiteY32" fmla="*/ 4111625 h 4429294"/>
                    <a:gd name="connsiteX33" fmla="*/ 879392 w 4454477"/>
                    <a:gd name="connsiteY33" fmla="*/ 3968750 h 4429294"/>
                    <a:gd name="connsiteX34" fmla="*/ 546017 w 4454477"/>
                    <a:gd name="connsiteY34" fmla="*/ 3657600 h 4429294"/>
                    <a:gd name="connsiteX35" fmla="*/ 399967 w 4454477"/>
                    <a:gd name="connsiteY35" fmla="*/ 3470275 h 4429294"/>
                    <a:gd name="connsiteX36" fmla="*/ 269792 w 4454477"/>
                    <a:gd name="connsiteY36" fmla="*/ 3244850 h 4429294"/>
                    <a:gd name="connsiteX37" fmla="*/ 117392 w 4454477"/>
                    <a:gd name="connsiteY37" fmla="*/ 2892425 h 4429294"/>
                    <a:gd name="connsiteX38" fmla="*/ 9442 w 4454477"/>
                    <a:gd name="connsiteY38" fmla="*/ 2368550 h 4429294"/>
                    <a:gd name="connsiteX39" fmla="*/ 15792 w 4454477"/>
                    <a:gd name="connsiteY39" fmla="*/ 1870075 h 4429294"/>
                    <a:gd name="connsiteX40" fmla="*/ 41192 w 4454477"/>
                    <a:gd name="connsiteY40" fmla="*/ 1590675 h 4429294"/>
                    <a:gd name="connsiteX41" fmla="*/ 88817 w 4454477"/>
                    <a:gd name="connsiteY41" fmla="*/ 1419225 h 4429294"/>
                    <a:gd name="connsiteX42" fmla="*/ 165017 w 4454477"/>
                    <a:gd name="connsiteY42" fmla="*/ 1276350 h 4429294"/>
                    <a:gd name="connsiteX43" fmla="*/ 250742 w 4454477"/>
                    <a:gd name="connsiteY43" fmla="*/ 1114425 h 4429294"/>
                    <a:gd name="connsiteX44" fmla="*/ 412667 w 4454477"/>
                    <a:gd name="connsiteY44" fmla="*/ 857250 h 4429294"/>
                    <a:gd name="connsiteX45" fmla="*/ 469817 w 4454477"/>
                    <a:gd name="connsiteY45" fmla="*/ 800100 h 4429294"/>
                    <a:gd name="connsiteX46" fmla="*/ 603167 w 4454477"/>
                    <a:gd name="connsiteY46" fmla="*/ 676275 h 4429294"/>
                    <a:gd name="connsiteX47" fmla="*/ 822242 w 4454477"/>
                    <a:gd name="connsiteY47" fmla="*/ 504825 h 4429294"/>
                    <a:gd name="connsiteX48" fmla="*/ 1101642 w 4454477"/>
                    <a:gd name="connsiteY48" fmla="*/ 311150 h 4429294"/>
                    <a:gd name="connsiteX49" fmla="*/ 1460417 w 4454477"/>
                    <a:gd name="connsiteY49" fmla="*/ 152400 h 4429294"/>
                    <a:gd name="connsiteX50" fmla="*/ 1574717 w 4454477"/>
                    <a:gd name="connsiteY50" fmla="*/ 111125 h 4429294"/>
                    <a:gd name="connsiteX51" fmla="*/ 2206542 w 4454477"/>
                    <a:gd name="connsiteY51" fmla="*/ 12700 h 4429294"/>
                    <a:gd name="connsiteX0" fmla="*/ 2233750 w 4456285"/>
                    <a:gd name="connsiteY0" fmla="*/ 0 h 4429294"/>
                    <a:gd name="connsiteX1" fmla="*/ 2557600 w 4456285"/>
                    <a:gd name="connsiteY1" fmla="*/ 15875 h 4429294"/>
                    <a:gd name="connsiteX2" fmla="*/ 2852875 w 4456285"/>
                    <a:gd name="connsiteY2" fmla="*/ 85725 h 4429294"/>
                    <a:gd name="connsiteX3" fmla="*/ 3071950 w 4456285"/>
                    <a:gd name="connsiteY3" fmla="*/ 171450 h 4429294"/>
                    <a:gd name="connsiteX4" fmla="*/ 3176725 w 4456285"/>
                    <a:gd name="connsiteY4" fmla="*/ 228600 h 4429294"/>
                    <a:gd name="connsiteX5" fmla="*/ 3357700 w 4456285"/>
                    <a:gd name="connsiteY5" fmla="*/ 323850 h 4429294"/>
                    <a:gd name="connsiteX6" fmla="*/ 3748225 w 4456285"/>
                    <a:gd name="connsiteY6" fmla="*/ 581025 h 4429294"/>
                    <a:gd name="connsiteX7" fmla="*/ 3964125 w 4456285"/>
                    <a:gd name="connsiteY7" fmla="*/ 819150 h 4429294"/>
                    <a:gd name="connsiteX8" fmla="*/ 4100650 w 4456285"/>
                    <a:gd name="connsiteY8" fmla="*/ 990600 h 4429294"/>
                    <a:gd name="connsiteX9" fmla="*/ 4186375 w 4456285"/>
                    <a:gd name="connsiteY9" fmla="*/ 1143000 h 4429294"/>
                    <a:gd name="connsiteX10" fmla="*/ 4243525 w 4456285"/>
                    <a:gd name="connsiteY10" fmla="*/ 1266825 h 4429294"/>
                    <a:gd name="connsiteX11" fmla="*/ 4281625 w 4456285"/>
                    <a:gd name="connsiteY11" fmla="*/ 1362075 h 4429294"/>
                    <a:gd name="connsiteX12" fmla="*/ 4329250 w 4456285"/>
                    <a:gd name="connsiteY12" fmla="*/ 1552575 h 4429294"/>
                    <a:gd name="connsiteX13" fmla="*/ 4367350 w 4456285"/>
                    <a:gd name="connsiteY13" fmla="*/ 1685925 h 4429294"/>
                    <a:gd name="connsiteX14" fmla="*/ 4456250 w 4456285"/>
                    <a:gd name="connsiteY14" fmla="*/ 2181225 h 4429294"/>
                    <a:gd name="connsiteX15" fmla="*/ 4383225 w 4456285"/>
                    <a:gd name="connsiteY15" fmla="*/ 2768600 h 4429294"/>
                    <a:gd name="connsiteX16" fmla="*/ 4319725 w 4456285"/>
                    <a:gd name="connsiteY16" fmla="*/ 2990850 h 4429294"/>
                    <a:gd name="connsiteX17" fmla="*/ 4214950 w 4456285"/>
                    <a:gd name="connsiteY17" fmla="*/ 3248025 h 4429294"/>
                    <a:gd name="connsiteX18" fmla="*/ 4119700 w 4456285"/>
                    <a:gd name="connsiteY18" fmla="*/ 3400425 h 4429294"/>
                    <a:gd name="connsiteX19" fmla="*/ 3995875 w 4456285"/>
                    <a:gd name="connsiteY19" fmla="*/ 3533775 h 4429294"/>
                    <a:gd name="connsiteX20" fmla="*/ 3891100 w 4456285"/>
                    <a:gd name="connsiteY20" fmla="*/ 3648075 h 4429294"/>
                    <a:gd name="connsiteX21" fmla="*/ 3595825 w 4456285"/>
                    <a:gd name="connsiteY21" fmla="*/ 3971925 h 4429294"/>
                    <a:gd name="connsiteX22" fmla="*/ 3452950 w 4456285"/>
                    <a:gd name="connsiteY22" fmla="*/ 4083050 h 4429294"/>
                    <a:gd name="connsiteX23" fmla="*/ 3157675 w 4456285"/>
                    <a:gd name="connsiteY23" fmla="*/ 4222750 h 4429294"/>
                    <a:gd name="connsiteX24" fmla="*/ 3005275 w 4456285"/>
                    <a:gd name="connsiteY24" fmla="*/ 4286250 h 4429294"/>
                    <a:gd name="connsiteX25" fmla="*/ 2871925 w 4456285"/>
                    <a:gd name="connsiteY25" fmla="*/ 4333875 h 4429294"/>
                    <a:gd name="connsiteX26" fmla="*/ 2748100 w 4456285"/>
                    <a:gd name="connsiteY26" fmla="*/ 4371975 h 4429294"/>
                    <a:gd name="connsiteX27" fmla="*/ 2516325 w 4456285"/>
                    <a:gd name="connsiteY27" fmla="*/ 4391025 h 4429294"/>
                    <a:gd name="connsiteX28" fmla="*/ 2062300 w 4456285"/>
                    <a:gd name="connsiteY28" fmla="*/ 4429125 h 4429294"/>
                    <a:gd name="connsiteX29" fmla="*/ 1871800 w 4456285"/>
                    <a:gd name="connsiteY29" fmla="*/ 4400550 h 4429294"/>
                    <a:gd name="connsiteX30" fmla="*/ 1509850 w 4456285"/>
                    <a:gd name="connsiteY30" fmla="*/ 4305300 h 4429294"/>
                    <a:gd name="connsiteX31" fmla="*/ 1268550 w 4456285"/>
                    <a:gd name="connsiteY31" fmla="*/ 4216400 h 4429294"/>
                    <a:gd name="connsiteX32" fmla="*/ 1100275 w 4456285"/>
                    <a:gd name="connsiteY32" fmla="*/ 4111625 h 4429294"/>
                    <a:gd name="connsiteX33" fmla="*/ 881200 w 4456285"/>
                    <a:gd name="connsiteY33" fmla="*/ 3968750 h 4429294"/>
                    <a:gd name="connsiteX34" fmla="*/ 547825 w 4456285"/>
                    <a:gd name="connsiteY34" fmla="*/ 3657600 h 4429294"/>
                    <a:gd name="connsiteX35" fmla="*/ 401775 w 4456285"/>
                    <a:gd name="connsiteY35" fmla="*/ 3470275 h 4429294"/>
                    <a:gd name="connsiteX36" fmla="*/ 271600 w 4456285"/>
                    <a:gd name="connsiteY36" fmla="*/ 3244850 h 4429294"/>
                    <a:gd name="connsiteX37" fmla="*/ 119200 w 4456285"/>
                    <a:gd name="connsiteY37" fmla="*/ 2892425 h 4429294"/>
                    <a:gd name="connsiteX38" fmla="*/ 11250 w 4456285"/>
                    <a:gd name="connsiteY38" fmla="*/ 2368550 h 4429294"/>
                    <a:gd name="connsiteX39" fmla="*/ 17600 w 4456285"/>
                    <a:gd name="connsiteY39" fmla="*/ 1870075 h 4429294"/>
                    <a:gd name="connsiteX40" fmla="*/ 90625 w 4456285"/>
                    <a:gd name="connsiteY40" fmla="*/ 1419225 h 4429294"/>
                    <a:gd name="connsiteX41" fmla="*/ 166825 w 4456285"/>
                    <a:gd name="connsiteY41" fmla="*/ 1276350 h 4429294"/>
                    <a:gd name="connsiteX42" fmla="*/ 252550 w 4456285"/>
                    <a:gd name="connsiteY42" fmla="*/ 1114425 h 4429294"/>
                    <a:gd name="connsiteX43" fmla="*/ 414475 w 4456285"/>
                    <a:gd name="connsiteY43" fmla="*/ 857250 h 4429294"/>
                    <a:gd name="connsiteX44" fmla="*/ 471625 w 4456285"/>
                    <a:gd name="connsiteY44" fmla="*/ 800100 h 4429294"/>
                    <a:gd name="connsiteX45" fmla="*/ 604975 w 4456285"/>
                    <a:gd name="connsiteY45" fmla="*/ 676275 h 4429294"/>
                    <a:gd name="connsiteX46" fmla="*/ 824050 w 4456285"/>
                    <a:gd name="connsiteY46" fmla="*/ 504825 h 4429294"/>
                    <a:gd name="connsiteX47" fmla="*/ 1103450 w 4456285"/>
                    <a:gd name="connsiteY47" fmla="*/ 311150 h 4429294"/>
                    <a:gd name="connsiteX48" fmla="*/ 1462225 w 4456285"/>
                    <a:gd name="connsiteY48" fmla="*/ 152400 h 4429294"/>
                    <a:gd name="connsiteX49" fmla="*/ 1576525 w 4456285"/>
                    <a:gd name="connsiteY49" fmla="*/ 111125 h 4429294"/>
                    <a:gd name="connsiteX50" fmla="*/ 2208350 w 4456285"/>
                    <a:gd name="connsiteY50" fmla="*/ 12700 h 4429294"/>
                    <a:gd name="connsiteX0" fmla="*/ 2237540 w 4460075"/>
                    <a:gd name="connsiteY0" fmla="*/ 0 h 4429294"/>
                    <a:gd name="connsiteX1" fmla="*/ 2561390 w 4460075"/>
                    <a:gd name="connsiteY1" fmla="*/ 15875 h 4429294"/>
                    <a:gd name="connsiteX2" fmla="*/ 2856665 w 4460075"/>
                    <a:gd name="connsiteY2" fmla="*/ 85725 h 4429294"/>
                    <a:gd name="connsiteX3" fmla="*/ 3075740 w 4460075"/>
                    <a:gd name="connsiteY3" fmla="*/ 171450 h 4429294"/>
                    <a:gd name="connsiteX4" fmla="*/ 3180515 w 4460075"/>
                    <a:gd name="connsiteY4" fmla="*/ 228600 h 4429294"/>
                    <a:gd name="connsiteX5" fmla="*/ 3361490 w 4460075"/>
                    <a:gd name="connsiteY5" fmla="*/ 323850 h 4429294"/>
                    <a:gd name="connsiteX6" fmla="*/ 3752015 w 4460075"/>
                    <a:gd name="connsiteY6" fmla="*/ 581025 h 4429294"/>
                    <a:gd name="connsiteX7" fmla="*/ 3967915 w 4460075"/>
                    <a:gd name="connsiteY7" fmla="*/ 819150 h 4429294"/>
                    <a:gd name="connsiteX8" fmla="*/ 4104440 w 4460075"/>
                    <a:gd name="connsiteY8" fmla="*/ 990600 h 4429294"/>
                    <a:gd name="connsiteX9" fmla="*/ 4190165 w 4460075"/>
                    <a:gd name="connsiteY9" fmla="*/ 1143000 h 4429294"/>
                    <a:gd name="connsiteX10" fmla="*/ 4247315 w 4460075"/>
                    <a:gd name="connsiteY10" fmla="*/ 1266825 h 4429294"/>
                    <a:gd name="connsiteX11" fmla="*/ 4285415 w 4460075"/>
                    <a:gd name="connsiteY11" fmla="*/ 1362075 h 4429294"/>
                    <a:gd name="connsiteX12" fmla="*/ 4333040 w 4460075"/>
                    <a:gd name="connsiteY12" fmla="*/ 1552575 h 4429294"/>
                    <a:gd name="connsiteX13" fmla="*/ 4371140 w 4460075"/>
                    <a:gd name="connsiteY13" fmla="*/ 1685925 h 4429294"/>
                    <a:gd name="connsiteX14" fmla="*/ 4460040 w 4460075"/>
                    <a:gd name="connsiteY14" fmla="*/ 2181225 h 4429294"/>
                    <a:gd name="connsiteX15" fmla="*/ 4387015 w 4460075"/>
                    <a:gd name="connsiteY15" fmla="*/ 2768600 h 4429294"/>
                    <a:gd name="connsiteX16" fmla="*/ 4323515 w 4460075"/>
                    <a:gd name="connsiteY16" fmla="*/ 2990850 h 4429294"/>
                    <a:gd name="connsiteX17" fmla="*/ 4218740 w 4460075"/>
                    <a:gd name="connsiteY17" fmla="*/ 3248025 h 4429294"/>
                    <a:gd name="connsiteX18" fmla="*/ 4123490 w 4460075"/>
                    <a:gd name="connsiteY18" fmla="*/ 3400425 h 4429294"/>
                    <a:gd name="connsiteX19" fmla="*/ 3999665 w 4460075"/>
                    <a:gd name="connsiteY19" fmla="*/ 3533775 h 4429294"/>
                    <a:gd name="connsiteX20" fmla="*/ 3894890 w 4460075"/>
                    <a:gd name="connsiteY20" fmla="*/ 3648075 h 4429294"/>
                    <a:gd name="connsiteX21" fmla="*/ 3599615 w 4460075"/>
                    <a:gd name="connsiteY21" fmla="*/ 3971925 h 4429294"/>
                    <a:gd name="connsiteX22" fmla="*/ 3456740 w 4460075"/>
                    <a:gd name="connsiteY22" fmla="*/ 4083050 h 4429294"/>
                    <a:gd name="connsiteX23" fmla="*/ 3161465 w 4460075"/>
                    <a:gd name="connsiteY23" fmla="*/ 4222750 h 4429294"/>
                    <a:gd name="connsiteX24" fmla="*/ 3009065 w 4460075"/>
                    <a:gd name="connsiteY24" fmla="*/ 4286250 h 4429294"/>
                    <a:gd name="connsiteX25" fmla="*/ 2875715 w 4460075"/>
                    <a:gd name="connsiteY25" fmla="*/ 4333875 h 4429294"/>
                    <a:gd name="connsiteX26" fmla="*/ 2751890 w 4460075"/>
                    <a:gd name="connsiteY26" fmla="*/ 4371975 h 4429294"/>
                    <a:gd name="connsiteX27" fmla="*/ 2520115 w 4460075"/>
                    <a:gd name="connsiteY27" fmla="*/ 4391025 h 4429294"/>
                    <a:gd name="connsiteX28" fmla="*/ 2066090 w 4460075"/>
                    <a:gd name="connsiteY28" fmla="*/ 4429125 h 4429294"/>
                    <a:gd name="connsiteX29" fmla="*/ 1875590 w 4460075"/>
                    <a:gd name="connsiteY29" fmla="*/ 4400550 h 4429294"/>
                    <a:gd name="connsiteX30" fmla="*/ 1513640 w 4460075"/>
                    <a:gd name="connsiteY30" fmla="*/ 4305300 h 4429294"/>
                    <a:gd name="connsiteX31" fmla="*/ 1272340 w 4460075"/>
                    <a:gd name="connsiteY31" fmla="*/ 4216400 h 4429294"/>
                    <a:gd name="connsiteX32" fmla="*/ 1104065 w 4460075"/>
                    <a:gd name="connsiteY32" fmla="*/ 4111625 h 4429294"/>
                    <a:gd name="connsiteX33" fmla="*/ 884990 w 4460075"/>
                    <a:gd name="connsiteY33" fmla="*/ 3968750 h 4429294"/>
                    <a:gd name="connsiteX34" fmla="*/ 551615 w 4460075"/>
                    <a:gd name="connsiteY34" fmla="*/ 3657600 h 4429294"/>
                    <a:gd name="connsiteX35" fmla="*/ 405565 w 4460075"/>
                    <a:gd name="connsiteY35" fmla="*/ 3470275 h 4429294"/>
                    <a:gd name="connsiteX36" fmla="*/ 275390 w 4460075"/>
                    <a:gd name="connsiteY36" fmla="*/ 3244850 h 4429294"/>
                    <a:gd name="connsiteX37" fmla="*/ 122990 w 4460075"/>
                    <a:gd name="connsiteY37" fmla="*/ 2892425 h 4429294"/>
                    <a:gd name="connsiteX38" fmla="*/ 15040 w 4460075"/>
                    <a:gd name="connsiteY38" fmla="*/ 2368550 h 4429294"/>
                    <a:gd name="connsiteX39" fmla="*/ 21390 w 4460075"/>
                    <a:gd name="connsiteY39" fmla="*/ 1870075 h 4429294"/>
                    <a:gd name="connsiteX40" fmla="*/ 170615 w 4460075"/>
                    <a:gd name="connsiteY40" fmla="*/ 1276350 h 4429294"/>
                    <a:gd name="connsiteX41" fmla="*/ 256340 w 4460075"/>
                    <a:gd name="connsiteY41" fmla="*/ 1114425 h 4429294"/>
                    <a:gd name="connsiteX42" fmla="*/ 418265 w 4460075"/>
                    <a:gd name="connsiteY42" fmla="*/ 857250 h 4429294"/>
                    <a:gd name="connsiteX43" fmla="*/ 475415 w 4460075"/>
                    <a:gd name="connsiteY43" fmla="*/ 800100 h 4429294"/>
                    <a:gd name="connsiteX44" fmla="*/ 608765 w 4460075"/>
                    <a:gd name="connsiteY44" fmla="*/ 676275 h 4429294"/>
                    <a:gd name="connsiteX45" fmla="*/ 827840 w 4460075"/>
                    <a:gd name="connsiteY45" fmla="*/ 504825 h 4429294"/>
                    <a:gd name="connsiteX46" fmla="*/ 1107240 w 4460075"/>
                    <a:gd name="connsiteY46" fmla="*/ 311150 h 4429294"/>
                    <a:gd name="connsiteX47" fmla="*/ 1466015 w 4460075"/>
                    <a:gd name="connsiteY47" fmla="*/ 152400 h 4429294"/>
                    <a:gd name="connsiteX48" fmla="*/ 1580315 w 4460075"/>
                    <a:gd name="connsiteY48" fmla="*/ 111125 h 4429294"/>
                    <a:gd name="connsiteX49" fmla="*/ 2212140 w 4460075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5706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76140 w 4460800"/>
                    <a:gd name="connsiteY42" fmla="*/ 800100 h 4429294"/>
                    <a:gd name="connsiteX43" fmla="*/ 609490 w 4460800"/>
                    <a:gd name="connsiteY43" fmla="*/ 676275 h 4429294"/>
                    <a:gd name="connsiteX44" fmla="*/ 828565 w 4460800"/>
                    <a:gd name="connsiteY44" fmla="*/ 504825 h 4429294"/>
                    <a:gd name="connsiteX45" fmla="*/ 1107965 w 4460800"/>
                    <a:gd name="connsiteY45" fmla="*/ 311150 h 4429294"/>
                    <a:gd name="connsiteX46" fmla="*/ 1466740 w 4460800"/>
                    <a:gd name="connsiteY46" fmla="*/ 152400 h 4429294"/>
                    <a:gd name="connsiteX47" fmla="*/ 1581040 w 4460800"/>
                    <a:gd name="connsiteY47" fmla="*/ 111125 h 4429294"/>
                    <a:gd name="connsiteX48" fmla="*/ 2212865 w 4460800"/>
                    <a:gd name="connsiteY48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</a:path>
                  </a:pathLst>
                </a:custGeom>
                <a:solidFill>
                  <a:srgbClr val="97A2BB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pPr algn="ctr"/>
                  <a:endParaRPr lang="da-DK"/>
                </a:p>
              </p:txBody>
            </p:sp>
            <p:sp>
              <p:nvSpPr>
                <p:cNvPr id="1029" name="Freeform: Shape 1028">
                  <a:extLst>
                    <a:ext uri="{FF2B5EF4-FFF2-40B4-BE49-F238E27FC236}">
                      <a16:creationId xmlns:a16="http://schemas.microsoft.com/office/drawing/2014/main" id="{294BA54A-0202-8F69-6C4D-3E17B2DE59AF}"/>
                    </a:ext>
                  </a:extLst>
                </p:cNvPr>
                <p:cNvSpPr/>
                <p:nvPr/>
              </p:nvSpPr>
              <p:spPr>
                <a:xfrm>
                  <a:off x="1728989" y="4633903"/>
                  <a:ext cx="54935" cy="604847"/>
                </a:xfrm>
                <a:custGeom>
                  <a:avLst/>
                  <a:gdLst>
                    <a:gd name="connsiteX0" fmla="*/ 28575 w 52387"/>
                    <a:gd name="connsiteY0" fmla="*/ 6868 h 687905"/>
                    <a:gd name="connsiteX1" fmla="*/ 33337 w 52387"/>
                    <a:gd name="connsiteY1" fmla="*/ 30680 h 687905"/>
                    <a:gd name="connsiteX2" fmla="*/ 38100 w 52387"/>
                    <a:gd name="connsiteY2" fmla="*/ 49730 h 687905"/>
                    <a:gd name="connsiteX3" fmla="*/ 42862 w 52387"/>
                    <a:gd name="connsiteY3" fmla="*/ 83068 h 687905"/>
                    <a:gd name="connsiteX4" fmla="*/ 52387 w 52387"/>
                    <a:gd name="connsiteY4" fmla="*/ 497405 h 687905"/>
                    <a:gd name="connsiteX5" fmla="*/ 33337 w 52387"/>
                    <a:gd name="connsiteY5" fmla="*/ 659330 h 687905"/>
                    <a:gd name="connsiteX6" fmla="*/ 28575 w 52387"/>
                    <a:gd name="connsiteY6" fmla="*/ 673618 h 687905"/>
                    <a:gd name="connsiteX7" fmla="*/ 9525 w 52387"/>
                    <a:gd name="connsiteY7" fmla="*/ 687905 h 687905"/>
                    <a:gd name="connsiteX8" fmla="*/ 4762 w 52387"/>
                    <a:gd name="connsiteY8" fmla="*/ 668855 h 687905"/>
                    <a:gd name="connsiteX9" fmla="*/ 0 w 52387"/>
                    <a:gd name="connsiteY9" fmla="*/ 654568 h 687905"/>
                    <a:gd name="connsiteX10" fmla="*/ 4762 w 52387"/>
                    <a:gd name="connsiteY10" fmla="*/ 616468 h 687905"/>
                    <a:gd name="connsiteX11" fmla="*/ 14287 w 52387"/>
                    <a:gd name="connsiteY11" fmla="*/ 202130 h 687905"/>
                    <a:gd name="connsiteX12" fmla="*/ 23812 w 52387"/>
                    <a:gd name="connsiteY12" fmla="*/ 164030 h 687905"/>
                    <a:gd name="connsiteX13" fmla="*/ 28575 w 52387"/>
                    <a:gd name="connsiteY13" fmla="*/ 6868 h 687905"/>
                    <a:gd name="connsiteX0" fmla="*/ 28575 w 52387"/>
                    <a:gd name="connsiteY0" fmla="*/ 6868 h 687905"/>
                    <a:gd name="connsiteX1" fmla="*/ 33337 w 52387"/>
                    <a:gd name="connsiteY1" fmla="*/ 30680 h 687905"/>
                    <a:gd name="connsiteX2" fmla="*/ 38100 w 52387"/>
                    <a:gd name="connsiteY2" fmla="*/ 49730 h 687905"/>
                    <a:gd name="connsiteX3" fmla="*/ 42862 w 52387"/>
                    <a:gd name="connsiteY3" fmla="*/ 83068 h 687905"/>
                    <a:gd name="connsiteX4" fmla="*/ 52387 w 52387"/>
                    <a:gd name="connsiteY4" fmla="*/ 497405 h 687905"/>
                    <a:gd name="connsiteX5" fmla="*/ 33337 w 52387"/>
                    <a:gd name="connsiteY5" fmla="*/ 659330 h 687905"/>
                    <a:gd name="connsiteX6" fmla="*/ 28575 w 52387"/>
                    <a:gd name="connsiteY6" fmla="*/ 673618 h 687905"/>
                    <a:gd name="connsiteX7" fmla="*/ 9525 w 52387"/>
                    <a:gd name="connsiteY7" fmla="*/ 687905 h 687905"/>
                    <a:gd name="connsiteX8" fmla="*/ 4762 w 52387"/>
                    <a:gd name="connsiteY8" fmla="*/ 668855 h 687905"/>
                    <a:gd name="connsiteX9" fmla="*/ 0 w 52387"/>
                    <a:gd name="connsiteY9" fmla="*/ 654568 h 687905"/>
                    <a:gd name="connsiteX10" fmla="*/ 4762 w 52387"/>
                    <a:gd name="connsiteY10" fmla="*/ 616468 h 687905"/>
                    <a:gd name="connsiteX11" fmla="*/ 23812 w 52387"/>
                    <a:gd name="connsiteY11" fmla="*/ 164030 h 687905"/>
                    <a:gd name="connsiteX12" fmla="*/ 28575 w 52387"/>
                    <a:gd name="connsiteY12" fmla="*/ 6868 h 687905"/>
                    <a:gd name="connsiteX0" fmla="*/ 28575 w 42862"/>
                    <a:gd name="connsiteY0" fmla="*/ 6868 h 706132"/>
                    <a:gd name="connsiteX1" fmla="*/ 33337 w 42862"/>
                    <a:gd name="connsiteY1" fmla="*/ 30680 h 706132"/>
                    <a:gd name="connsiteX2" fmla="*/ 38100 w 42862"/>
                    <a:gd name="connsiteY2" fmla="*/ 49730 h 706132"/>
                    <a:gd name="connsiteX3" fmla="*/ 42862 w 42862"/>
                    <a:gd name="connsiteY3" fmla="*/ 83068 h 706132"/>
                    <a:gd name="connsiteX4" fmla="*/ 33337 w 42862"/>
                    <a:gd name="connsiteY4" fmla="*/ 659330 h 706132"/>
                    <a:gd name="connsiteX5" fmla="*/ 28575 w 42862"/>
                    <a:gd name="connsiteY5" fmla="*/ 673618 h 706132"/>
                    <a:gd name="connsiteX6" fmla="*/ 9525 w 42862"/>
                    <a:gd name="connsiteY6" fmla="*/ 687905 h 706132"/>
                    <a:gd name="connsiteX7" fmla="*/ 4762 w 42862"/>
                    <a:gd name="connsiteY7" fmla="*/ 668855 h 706132"/>
                    <a:gd name="connsiteX8" fmla="*/ 0 w 42862"/>
                    <a:gd name="connsiteY8" fmla="*/ 654568 h 706132"/>
                    <a:gd name="connsiteX9" fmla="*/ 4762 w 42862"/>
                    <a:gd name="connsiteY9" fmla="*/ 616468 h 706132"/>
                    <a:gd name="connsiteX10" fmla="*/ 23812 w 42862"/>
                    <a:gd name="connsiteY10" fmla="*/ 164030 h 706132"/>
                    <a:gd name="connsiteX11" fmla="*/ 28575 w 42862"/>
                    <a:gd name="connsiteY11" fmla="*/ 6868 h 706132"/>
                    <a:gd name="connsiteX0" fmla="*/ 28575 w 38100"/>
                    <a:gd name="connsiteY0" fmla="*/ 7540 h 709262"/>
                    <a:gd name="connsiteX1" fmla="*/ 33337 w 38100"/>
                    <a:gd name="connsiteY1" fmla="*/ 31352 h 709262"/>
                    <a:gd name="connsiteX2" fmla="*/ 38100 w 38100"/>
                    <a:gd name="connsiteY2" fmla="*/ 50402 h 709262"/>
                    <a:gd name="connsiteX3" fmla="*/ 33337 w 38100"/>
                    <a:gd name="connsiteY3" fmla="*/ 660002 h 709262"/>
                    <a:gd name="connsiteX4" fmla="*/ 28575 w 38100"/>
                    <a:gd name="connsiteY4" fmla="*/ 674290 h 709262"/>
                    <a:gd name="connsiteX5" fmla="*/ 9525 w 38100"/>
                    <a:gd name="connsiteY5" fmla="*/ 688577 h 709262"/>
                    <a:gd name="connsiteX6" fmla="*/ 4762 w 38100"/>
                    <a:gd name="connsiteY6" fmla="*/ 669527 h 709262"/>
                    <a:gd name="connsiteX7" fmla="*/ 0 w 38100"/>
                    <a:gd name="connsiteY7" fmla="*/ 655240 h 709262"/>
                    <a:gd name="connsiteX8" fmla="*/ 4762 w 38100"/>
                    <a:gd name="connsiteY8" fmla="*/ 617140 h 709262"/>
                    <a:gd name="connsiteX9" fmla="*/ 23812 w 38100"/>
                    <a:gd name="connsiteY9" fmla="*/ 164702 h 709262"/>
                    <a:gd name="connsiteX10" fmla="*/ 28575 w 38100"/>
                    <a:gd name="connsiteY10" fmla="*/ 7540 h 709262"/>
                    <a:gd name="connsiteX0" fmla="*/ 28575 w 38100"/>
                    <a:gd name="connsiteY0" fmla="*/ 6869 h 708591"/>
                    <a:gd name="connsiteX1" fmla="*/ 33337 w 38100"/>
                    <a:gd name="connsiteY1" fmla="*/ 30681 h 708591"/>
                    <a:gd name="connsiteX2" fmla="*/ 38100 w 38100"/>
                    <a:gd name="connsiteY2" fmla="*/ 49731 h 708591"/>
                    <a:gd name="connsiteX3" fmla="*/ 33337 w 38100"/>
                    <a:gd name="connsiteY3" fmla="*/ 659331 h 708591"/>
                    <a:gd name="connsiteX4" fmla="*/ 28575 w 38100"/>
                    <a:gd name="connsiteY4" fmla="*/ 673619 h 708591"/>
                    <a:gd name="connsiteX5" fmla="*/ 9525 w 38100"/>
                    <a:gd name="connsiteY5" fmla="*/ 687906 h 708591"/>
                    <a:gd name="connsiteX6" fmla="*/ 4762 w 38100"/>
                    <a:gd name="connsiteY6" fmla="*/ 668856 h 708591"/>
                    <a:gd name="connsiteX7" fmla="*/ 0 w 38100"/>
                    <a:gd name="connsiteY7" fmla="*/ 654569 h 708591"/>
                    <a:gd name="connsiteX8" fmla="*/ 4762 w 38100"/>
                    <a:gd name="connsiteY8" fmla="*/ 616469 h 708591"/>
                    <a:gd name="connsiteX9" fmla="*/ 23812 w 38100"/>
                    <a:gd name="connsiteY9" fmla="*/ 164031 h 708591"/>
                    <a:gd name="connsiteX10" fmla="*/ 28575 w 38100"/>
                    <a:gd name="connsiteY10" fmla="*/ 6869 h 708591"/>
                    <a:gd name="connsiteX0" fmla="*/ 28575 w 33932"/>
                    <a:gd name="connsiteY0" fmla="*/ 38216 h 741342"/>
                    <a:gd name="connsiteX1" fmla="*/ 33337 w 33932"/>
                    <a:gd name="connsiteY1" fmla="*/ 62028 h 741342"/>
                    <a:gd name="connsiteX2" fmla="*/ 33337 w 33932"/>
                    <a:gd name="connsiteY2" fmla="*/ 690678 h 741342"/>
                    <a:gd name="connsiteX3" fmla="*/ 28575 w 33932"/>
                    <a:gd name="connsiteY3" fmla="*/ 704966 h 741342"/>
                    <a:gd name="connsiteX4" fmla="*/ 9525 w 33932"/>
                    <a:gd name="connsiteY4" fmla="*/ 719253 h 741342"/>
                    <a:gd name="connsiteX5" fmla="*/ 4762 w 33932"/>
                    <a:gd name="connsiteY5" fmla="*/ 700203 h 741342"/>
                    <a:gd name="connsiteX6" fmla="*/ 0 w 33932"/>
                    <a:gd name="connsiteY6" fmla="*/ 685916 h 741342"/>
                    <a:gd name="connsiteX7" fmla="*/ 4762 w 33932"/>
                    <a:gd name="connsiteY7" fmla="*/ 647816 h 741342"/>
                    <a:gd name="connsiteX8" fmla="*/ 23812 w 33932"/>
                    <a:gd name="connsiteY8" fmla="*/ 195378 h 741342"/>
                    <a:gd name="connsiteX9" fmla="*/ 28575 w 33932"/>
                    <a:gd name="connsiteY9" fmla="*/ 38216 h 741342"/>
                    <a:gd name="connsiteX0" fmla="*/ 28575 w 33337"/>
                    <a:gd name="connsiteY0" fmla="*/ 0 h 704883"/>
                    <a:gd name="connsiteX1" fmla="*/ 33337 w 33337"/>
                    <a:gd name="connsiteY1" fmla="*/ 652462 h 704883"/>
                    <a:gd name="connsiteX2" fmla="*/ 28575 w 33337"/>
                    <a:gd name="connsiteY2" fmla="*/ 666750 h 704883"/>
                    <a:gd name="connsiteX3" fmla="*/ 9525 w 33337"/>
                    <a:gd name="connsiteY3" fmla="*/ 681037 h 704883"/>
                    <a:gd name="connsiteX4" fmla="*/ 4762 w 33337"/>
                    <a:gd name="connsiteY4" fmla="*/ 661987 h 704883"/>
                    <a:gd name="connsiteX5" fmla="*/ 0 w 33337"/>
                    <a:gd name="connsiteY5" fmla="*/ 647700 h 704883"/>
                    <a:gd name="connsiteX6" fmla="*/ 4762 w 33337"/>
                    <a:gd name="connsiteY6" fmla="*/ 609600 h 704883"/>
                    <a:gd name="connsiteX7" fmla="*/ 23812 w 33337"/>
                    <a:gd name="connsiteY7" fmla="*/ 157162 h 704883"/>
                    <a:gd name="connsiteX8" fmla="*/ 28575 w 33337"/>
                    <a:gd name="connsiteY8" fmla="*/ 0 h 704883"/>
                    <a:gd name="connsiteX0" fmla="*/ 28575 w 37879"/>
                    <a:gd name="connsiteY0" fmla="*/ 0 h 704671"/>
                    <a:gd name="connsiteX1" fmla="*/ 33337 w 37879"/>
                    <a:gd name="connsiteY1" fmla="*/ 652462 h 704671"/>
                    <a:gd name="connsiteX2" fmla="*/ 28575 w 37879"/>
                    <a:gd name="connsiteY2" fmla="*/ 666750 h 704671"/>
                    <a:gd name="connsiteX3" fmla="*/ 9525 w 37879"/>
                    <a:gd name="connsiteY3" fmla="*/ 681037 h 704671"/>
                    <a:gd name="connsiteX4" fmla="*/ 4762 w 37879"/>
                    <a:gd name="connsiteY4" fmla="*/ 661987 h 704671"/>
                    <a:gd name="connsiteX5" fmla="*/ 0 w 37879"/>
                    <a:gd name="connsiteY5" fmla="*/ 647700 h 704671"/>
                    <a:gd name="connsiteX6" fmla="*/ 4762 w 37879"/>
                    <a:gd name="connsiteY6" fmla="*/ 609600 h 704671"/>
                    <a:gd name="connsiteX7" fmla="*/ 23812 w 37879"/>
                    <a:gd name="connsiteY7" fmla="*/ 157162 h 704671"/>
                    <a:gd name="connsiteX8" fmla="*/ 28575 w 37879"/>
                    <a:gd name="connsiteY8" fmla="*/ 0 h 704671"/>
                    <a:gd name="connsiteX0" fmla="*/ 28575 w 37879"/>
                    <a:gd name="connsiteY0" fmla="*/ 0 h 704671"/>
                    <a:gd name="connsiteX1" fmla="*/ 33337 w 37879"/>
                    <a:gd name="connsiteY1" fmla="*/ 652462 h 704671"/>
                    <a:gd name="connsiteX2" fmla="*/ 28575 w 37879"/>
                    <a:gd name="connsiteY2" fmla="*/ 666750 h 704671"/>
                    <a:gd name="connsiteX3" fmla="*/ 9525 w 37879"/>
                    <a:gd name="connsiteY3" fmla="*/ 681037 h 704671"/>
                    <a:gd name="connsiteX4" fmla="*/ 4762 w 37879"/>
                    <a:gd name="connsiteY4" fmla="*/ 661987 h 704671"/>
                    <a:gd name="connsiteX5" fmla="*/ 0 w 37879"/>
                    <a:gd name="connsiteY5" fmla="*/ 647700 h 704671"/>
                    <a:gd name="connsiteX6" fmla="*/ 4762 w 37879"/>
                    <a:gd name="connsiteY6" fmla="*/ 609600 h 704671"/>
                    <a:gd name="connsiteX7" fmla="*/ 23812 w 37879"/>
                    <a:gd name="connsiteY7" fmla="*/ 157162 h 704671"/>
                    <a:gd name="connsiteX8" fmla="*/ 28575 w 37879"/>
                    <a:gd name="connsiteY8" fmla="*/ 0 h 704671"/>
                    <a:gd name="connsiteX0" fmla="*/ 28575 w 37947"/>
                    <a:gd name="connsiteY0" fmla="*/ 22319 h 726990"/>
                    <a:gd name="connsiteX1" fmla="*/ 33337 w 37947"/>
                    <a:gd name="connsiteY1" fmla="*/ 674781 h 726990"/>
                    <a:gd name="connsiteX2" fmla="*/ 28575 w 37947"/>
                    <a:gd name="connsiteY2" fmla="*/ 689069 h 726990"/>
                    <a:gd name="connsiteX3" fmla="*/ 9525 w 37947"/>
                    <a:gd name="connsiteY3" fmla="*/ 703356 h 726990"/>
                    <a:gd name="connsiteX4" fmla="*/ 4762 w 37947"/>
                    <a:gd name="connsiteY4" fmla="*/ 684306 h 726990"/>
                    <a:gd name="connsiteX5" fmla="*/ 0 w 37947"/>
                    <a:gd name="connsiteY5" fmla="*/ 670019 h 726990"/>
                    <a:gd name="connsiteX6" fmla="*/ 4762 w 37947"/>
                    <a:gd name="connsiteY6" fmla="*/ 631919 h 726990"/>
                    <a:gd name="connsiteX7" fmla="*/ 21431 w 37947"/>
                    <a:gd name="connsiteY7" fmla="*/ 196150 h 726990"/>
                    <a:gd name="connsiteX8" fmla="*/ 28575 w 37947"/>
                    <a:gd name="connsiteY8" fmla="*/ 22319 h 726990"/>
                    <a:gd name="connsiteX0" fmla="*/ 28575 w 37947"/>
                    <a:gd name="connsiteY0" fmla="*/ 22319 h 727555"/>
                    <a:gd name="connsiteX1" fmla="*/ 33337 w 37947"/>
                    <a:gd name="connsiteY1" fmla="*/ 674781 h 727555"/>
                    <a:gd name="connsiteX2" fmla="*/ 28575 w 37947"/>
                    <a:gd name="connsiteY2" fmla="*/ 689069 h 727555"/>
                    <a:gd name="connsiteX3" fmla="*/ 4762 w 37947"/>
                    <a:gd name="connsiteY3" fmla="*/ 684306 h 727555"/>
                    <a:gd name="connsiteX4" fmla="*/ 0 w 37947"/>
                    <a:gd name="connsiteY4" fmla="*/ 670019 h 727555"/>
                    <a:gd name="connsiteX5" fmla="*/ 4762 w 37947"/>
                    <a:gd name="connsiteY5" fmla="*/ 631919 h 727555"/>
                    <a:gd name="connsiteX6" fmla="*/ 21431 w 37947"/>
                    <a:gd name="connsiteY6" fmla="*/ 196150 h 727555"/>
                    <a:gd name="connsiteX7" fmla="*/ 28575 w 37947"/>
                    <a:gd name="connsiteY7" fmla="*/ 22319 h 727555"/>
                    <a:gd name="connsiteX0" fmla="*/ 28575 w 37947"/>
                    <a:gd name="connsiteY0" fmla="*/ 22319 h 727555"/>
                    <a:gd name="connsiteX1" fmla="*/ 33337 w 37947"/>
                    <a:gd name="connsiteY1" fmla="*/ 674781 h 727555"/>
                    <a:gd name="connsiteX2" fmla="*/ 28575 w 37947"/>
                    <a:gd name="connsiteY2" fmla="*/ 689069 h 727555"/>
                    <a:gd name="connsiteX3" fmla="*/ 4762 w 37947"/>
                    <a:gd name="connsiteY3" fmla="*/ 684306 h 727555"/>
                    <a:gd name="connsiteX4" fmla="*/ 0 w 37947"/>
                    <a:gd name="connsiteY4" fmla="*/ 670019 h 727555"/>
                    <a:gd name="connsiteX5" fmla="*/ 4762 w 37947"/>
                    <a:gd name="connsiteY5" fmla="*/ 631919 h 727555"/>
                    <a:gd name="connsiteX6" fmla="*/ 21431 w 37947"/>
                    <a:gd name="connsiteY6" fmla="*/ 196150 h 727555"/>
                    <a:gd name="connsiteX7" fmla="*/ 28575 w 37947"/>
                    <a:gd name="connsiteY7" fmla="*/ 22319 h 727555"/>
                    <a:gd name="connsiteX0" fmla="*/ 28575 w 37947"/>
                    <a:gd name="connsiteY0" fmla="*/ 22319 h 727555"/>
                    <a:gd name="connsiteX1" fmla="*/ 33337 w 37947"/>
                    <a:gd name="connsiteY1" fmla="*/ 674781 h 727555"/>
                    <a:gd name="connsiteX2" fmla="*/ 28575 w 37947"/>
                    <a:gd name="connsiteY2" fmla="*/ 689069 h 727555"/>
                    <a:gd name="connsiteX3" fmla="*/ 4762 w 37947"/>
                    <a:gd name="connsiteY3" fmla="*/ 684306 h 727555"/>
                    <a:gd name="connsiteX4" fmla="*/ 0 w 37947"/>
                    <a:gd name="connsiteY4" fmla="*/ 670019 h 727555"/>
                    <a:gd name="connsiteX5" fmla="*/ 4762 w 37947"/>
                    <a:gd name="connsiteY5" fmla="*/ 631919 h 727555"/>
                    <a:gd name="connsiteX6" fmla="*/ 21431 w 37947"/>
                    <a:gd name="connsiteY6" fmla="*/ 196150 h 727555"/>
                    <a:gd name="connsiteX7" fmla="*/ 28575 w 37947"/>
                    <a:gd name="connsiteY7" fmla="*/ 22319 h 727555"/>
                    <a:gd name="connsiteX0" fmla="*/ 28575 w 34565"/>
                    <a:gd name="connsiteY0" fmla="*/ 22319 h 726607"/>
                    <a:gd name="connsiteX1" fmla="*/ 33337 w 34565"/>
                    <a:gd name="connsiteY1" fmla="*/ 674781 h 726607"/>
                    <a:gd name="connsiteX2" fmla="*/ 4762 w 34565"/>
                    <a:gd name="connsiteY2" fmla="*/ 684306 h 726607"/>
                    <a:gd name="connsiteX3" fmla="*/ 0 w 34565"/>
                    <a:gd name="connsiteY3" fmla="*/ 670019 h 726607"/>
                    <a:gd name="connsiteX4" fmla="*/ 4762 w 34565"/>
                    <a:gd name="connsiteY4" fmla="*/ 631919 h 726607"/>
                    <a:gd name="connsiteX5" fmla="*/ 21431 w 34565"/>
                    <a:gd name="connsiteY5" fmla="*/ 196150 h 726607"/>
                    <a:gd name="connsiteX6" fmla="*/ 28575 w 34565"/>
                    <a:gd name="connsiteY6" fmla="*/ 22319 h 726607"/>
                    <a:gd name="connsiteX0" fmla="*/ 28575 w 43730"/>
                    <a:gd name="connsiteY0" fmla="*/ 22319 h 703468"/>
                    <a:gd name="connsiteX1" fmla="*/ 33337 w 43730"/>
                    <a:gd name="connsiteY1" fmla="*/ 674781 h 703468"/>
                    <a:gd name="connsiteX2" fmla="*/ 4762 w 43730"/>
                    <a:gd name="connsiteY2" fmla="*/ 684306 h 703468"/>
                    <a:gd name="connsiteX3" fmla="*/ 0 w 43730"/>
                    <a:gd name="connsiteY3" fmla="*/ 670019 h 703468"/>
                    <a:gd name="connsiteX4" fmla="*/ 4762 w 43730"/>
                    <a:gd name="connsiteY4" fmla="*/ 631919 h 703468"/>
                    <a:gd name="connsiteX5" fmla="*/ 21431 w 43730"/>
                    <a:gd name="connsiteY5" fmla="*/ 196150 h 703468"/>
                    <a:gd name="connsiteX6" fmla="*/ 28575 w 43730"/>
                    <a:gd name="connsiteY6" fmla="*/ 22319 h 703468"/>
                    <a:gd name="connsiteX0" fmla="*/ 28575 w 40575"/>
                    <a:gd name="connsiteY0" fmla="*/ 22319 h 703809"/>
                    <a:gd name="connsiteX1" fmla="*/ 33337 w 40575"/>
                    <a:gd name="connsiteY1" fmla="*/ 674781 h 703809"/>
                    <a:gd name="connsiteX2" fmla="*/ 4762 w 40575"/>
                    <a:gd name="connsiteY2" fmla="*/ 684306 h 703809"/>
                    <a:gd name="connsiteX3" fmla="*/ 0 w 40575"/>
                    <a:gd name="connsiteY3" fmla="*/ 670019 h 703809"/>
                    <a:gd name="connsiteX4" fmla="*/ 4762 w 40575"/>
                    <a:gd name="connsiteY4" fmla="*/ 631919 h 703809"/>
                    <a:gd name="connsiteX5" fmla="*/ 21431 w 40575"/>
                    <a:gd name="connsiteY5" fmla="*/ 196150 h 703809"/>
                    <a:gd name="connsiteX6" fmla="*/ 28575 w 40575"/>
                    <a:gd name="connsiteY6" fmla="*/ 22319 h 703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0575" h="703809">
                      <a:moveTo>
                        <a:pt x="28575" y="22319"/>
                      </a:moveTo>
                      <a:cubicBezTo>
                        <a:pt x="30559" y="102091"/>
                        <a:pt x="51233" y="564875"/>
                        <a:pt x="33337" y="674781"/>
                      </a:cubicBezTo>
                      <a:cubicBezTo>
                        <a:pt x="23775" y="733502"/>
                        <a:pt x="10318" y="685100"/>
                        <a:pt x="4762" y="684306"/>
                      </a:cubicBezTo>
                      <a:cubicBezTo>
                        <a:pt x="0" y="681131"/>
                        <a:pt x="0" y="675039"/>
                        <a:pt x="0" y="670019"/>
                      </a:cubicBezTo>
                      <a:cubicBezTo>
                        <a:pt x="0" y="657220"/>
                        <a:pt x="3175" y="644619"/>
                        <a:pt x="4762" y="631919"/>
                      </a:cubicBezTo>
                      <a:cubicBezTo>
                        <a:pt x="8731" y="550163"/>
                        <a:pt x="7937" y="331087"/>
                        <a:pt x="21431" y="196150"/>
                      </a:cubicBezTo>
                      <a:cubicBezTo>
                        <a:pt x="25400" y="94550"/>
                        <a:pt x="26591" y="-57453"/>
                        <a:pt x="28575" y="22319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style>
                <a:lnRef idx="2">
                  <a:schemeClr val="accent1">
                    <a:shade val="15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a-DK" sz="1400"/>
                </a:p>
              </p:txBody>
            </p:sp>
            <p:sp>
              <p:nvSpPr>
                <p:cNvPr id="1030" name="Freeform: Shape 1029">
                  <a:extLst>
                    <a:ext uri="{FF2B5EF4-FFF2-40B4-BE49-F238E27FC236}">
                      <a16:creationId xmlns:a16="http://schemas.microsoft.com/office/drawing/2014/main" id="{65259D8E-D16F-1DA3-682B-43F05782B1EF}"/>
                    </a:ext>
                  </a:extLst>
                </p:cNvPr>
                <p:cNvSpPr/>
                <p:nvPr/>
              </p:nvSpPr>
              <p:spPr>
                <a:xfrm>
                  <a:off x="1728989" y="4633903"/>
                  <a:ext cx="54935" cy="604847"/>
                </a:xfrm>
                <a:custGeom>
                  <a:avLst/>
                  <a:gdLst>
                    <a:gd name="connsiteX0" fmla="*/ 28575 w 52387"/>
                    <a:gd name="connsiteY0" fmla="*/ 6868 h 687905"/>
                    <a:gd name="connsiteX1" fmla="*/ 33337 w 52387"/>
                    <a:gd name="connsiteY1" fmla="*/ 30680 h 687905"/>
                    <a:gd name="connsiteX2" fmla="*/ 38100 w 52387"/>
                    <a:gd name="connsiteY2" fmla="*/ 49730 h 687905"/>
                    <a:gd name="connsiteX3" fmla="*/ 42862 w 52387"/>
                    <a:gd name="connsiteY3" fmla="*/ 83068 h 687905"/>
                    <a:gd name="connsiteX4" fmla="*/ 52387 w 52387"/>
                    <a:gd name="connsiteY4" fmla="*/ 497405 h 687905"/>
                    <a:gd name="connsiteX5" fmla="*/ 33337 w 52387"/>
                    <a:gd name="connsiteY5" fmla="*/ 659330 h 687905"/>
                    <a:gd name="connsiteX6" fmla="*/ 28575 w 52387"/>
                    <a:gd name="connsiteY6" fmla="*/ 673618 h 687905"/>
                    <a:gd name="connsiteX7" fmla="*/ 9525 w 52387"/>
                    <a:gd name="connsiteY7" fmla="*/ 687905 h 687905"/>
                    <a:gd name="connsiteX8" fmla="*/ 4762 w 52387"/>
                    <a:gd name="connsiteY8" fmla="*/ 668855 h 687905"/>
                    <a:gd name="connsiteX9" fmla="*/ 0 w 52387"/>
                    <a:gd name="connsiteY9" fmla="*/ 654568 h 687905"/>
                    <a:gd name="connsiteX10" fmla="*/ 4762 w 52387"/>
                    <a:gd name="connsiteY10" fmla="*/ 616468 h 687905"/>
                    <a:gd name="connsiteX11" fmla="*/ 14287 w 52387"/>
                    <a:gd name="connsiteY11" fmla="*/ 202130 h 687905"/>
                    <a:gd name="connsiteX12" fmla="*/ 23812 w 52387"/>
                    <a:gd name="connsiteY12" fmla="*/ 164030 h 687905"/>
                    <a:gd name="connsiteX13" fmla="*/ 28575 w 52387"/>
                    <a:gd name="connsiteY13" fmla="*/ 6868 h 687905"/>
                    <a:gd name="connsiteX0" fmla="*/ 28575 w 52387"/>
                    <a:gd name="connsiteY0" fmla="*/ 6868 h 687905"/>
                    <a:gd name="connsiteX1" fmla="*/ 33337 w 52387"/>
                    <a:gd name="connsiteY1" fmla="*/ 30680 h 687905"/>
                    <a:gd name="connsiteX2" fmla="*/ 38100 w 52387"/>
                    <a:gd name="connsiteY2" fmla="*/ 49730 h 687905"/>
                    <a:gd name="connsiteX3" fmla="*/ 42862 w 52387"/>
                    <a:gd name="connsiteY3" fmla="*/ 83068 h 687905"/>
                    <a:gd name="connsiteX4" fmla="*/ 52387 w 52387"/>
                    <a:gd name="connsiteY4" fmla="*/ 497405 h 687905"/>
                    <a:gd name="connsiteX5" fmla="*/ 33337 w 52387"/>
                    <a:gd name="connsiteY5" fmla="*/ 659330 h 687905"/>
                    <a:gd name="connsiteX6" fmla="*/ 28575 w 52387"/>
                    <a:gd name="connsiteY6" fmla="*/ 673618 h 687905"/>
                    <a:gd name="connsiteX7" fmla="*/ 9525 w 52387"/>
                    <a:gd name="connsiteY7" fmla="*/ 687905 h 687905"/>
                    <a:gd name="connsiteX8" fmla="*/ 4762 w 52387"/>
                    <a:gd name="connsiteY8" fmla="*/ 668855 h 687905"/>
                    <a:gd name="connsiteX9" fmla="*/ 0 w 52387"/>
                    <a:gd name="connsiteY9" fmla="*/ 654568 h 687905"/>
                    <a:gd name="connsiteX10" fmla="*/ 4762 w 52387"/>
                    <a:gd name="connsiteY10" fmla="*/ 616468 h 687905"/>
                    <a:gd name="connsiteX11" fmla="*/ 23812 w 52387"/>
                    <a:gd name="connsiteY11" fmla="*/ 164030 h 687905"/>
                    <a:gd name="connsiteX12" fmla="*/ 28575 w 52387"/>
                    <a:gd name="connsiteY12" fmla="*/ 6868 h 687905"/>
                    <a:gd name="connsiteX0" fmla="*/ 28575 w 42862"/>
                    <a:gd name="connsiteY0" fmla="*/ 6868 h 706132"/>
                    <a:gd name="connsiteX1" fmla="*/ 33337 w 42862"/>
                    <a:gd name="connsiteY1" fmla="*/ 30680 h 706132"/>
                    <a:gd name="connsiteX2" fmla="*/ 38100 w 42862"/>
                    <a:gd name="connsiteY2" fmla="*/ 49730 h 706132"/>
                    <a:gd name="connsiteX3" fmla="*/ 42862 w 42862"/>
                    <a:gd name="connsiteY3" fmla="*/ 83068 h 706132"/>
                    <a:gd name="connsiteX4" fmla="*/ 33337 w 42862"/>
                    <a:gd name="connsiteY4" fmla="*/ 659330 h 706132"/>
                    <a:gd name="connsiteX5" fmla="*/ 28575 w 42862"/>
                    <a:gd name="connsiteY5" fmla="*/ 673618 h 706132"/>
                    <a:gd name="connsiteX6" fmla="*/ 9525 w 42862"/>
                    <a:gd name="connsiteY6" fmla="*/ 687905 h 706132"/>
                    <a:gd name="connsiteX7" fmla="*/ 4762 w 42862"/>
                    <a:gd name="connsiteY7" fmla="*/ 668855 h 706132"/>
                    <a:gd name="connsiteX8" fmla="*/ 0 w 42862"/>
                    <a:gd name="connsiteY8" fmla="*/ 654568 h 706132"/>
                    <a:gd name="connsiteX9" fmla="*/ 4762 w 42862"/>
                    <a:gd name="connsiteY9" fmla="*/ 616468 h 706132"/>
                    <a:gd name="connsiteX10" fmla="*/ 23812 w 42862"/>
                    <a:gd name="connsiteY10" fmla="*/ 164030 h 706132"/>
                    <a:gd name="connsiteX11" fmla="*/ 28575 w 42862"/>
                    <a:gd name="connsiteY11" fmla="*/ 6868 h 706132"/>
                    <a:gd name="connsiteX0" fmla="*/ 28575 w 38100"/>
                    <a:gd name="connsiteY0" fmla="*/ 7540 h 709262"/>
                    <a:gd name="connsiteX1" fmla="*/ 33337 w 38100"/>
                    <a:gd name="connsiteY1" fmla="*/ 31352 h 709262"/>
                    <a:gd name="connsiteX2" fmla="*/ 38100 w 38100"/>
                    <a:gd name="connsiteY2" fmla="*/ 50402 h 709262"/>
                    <a:gd name="connsiteX3" fmla="*/ 33337 w 38100"/>
                    <a:gd name="connsiteY3" fmla="*/ 660002 h 709262"/>
                    <a:gd name="connsiteX4" fmla="*/ 28575 w 38100"/>
                    <a:gd name="connsiteY4" fmla="*/ 674290 h 709262"/>
                    <a:gd name="connsiteX5" fmla="*/ 9525 w 38100"/>
                    <a:gd name="connsiteY5" fmla="*/ 688577 h 709262"/>
                    <a:gd name="connsiteX6" fmla="*/ 4762 w 38100"/>
                    <a:gd name="connsiteY6" fmla="*/ 669527 h 709262"/>
                    <a:gd name="connsiteX7" fmla="*/ 0 w 38100"/>
                    <a:gd name="connsiteY7" fmla="*/ 655240 h 709262"/>
                    <a:gd name="connsiteX8" fmla="*/ 4762 w 38100"/>
                    <a:gd name="connsiteY8" fmla="*/ 617140 h 709262"/>
                    <a:gd name="connsiteX9" fmla="*/ 23812 w 38100"/>
                    <a:gd name="connsiteY9" fmla="*/ 164702 h 709262"/>
                    <a:gd name="connsiteX10" fmla="*/ 28575 w 38100"/>
                    <a:gd name="connsiteY10" fmla="*/ 7540 h 709262"/>
                    <a:gd name="connsiteX0" fmla="*/ 28575 w 38100"/>
                    <a:gd name="connsiteY0" fmla="*/ 6869 h 708591"/>
                    <a:gd name="connsiteX1" fmla="*/ 33337 w 38100"/>
                    <a:gd name="connsiteY1" fmla="*/ 30681 h 708591"/>
                    <a:gd name="connsiteX2" fmla="*/ 38100 w 38100"/>
                    <a:gd name="connsiteY2" fmla="*/ 49731 h 708591"/>
                    <a:gd name="connsiteX3" fmla="*/ 33337 w 38100"/>
                    <a:gd name="connsiteY3" fmla="*/ 659331 h 708591"/>
                    <a:gd name="connsiteX4" fmla="*/ 28575 w 38100"/>
                    <a:gd name="connsiteY4" fmla="*/ 673619 h 708591"/>
                    <a:gd name="connsiteX5" fmla="*/ 9525 w 38100"/>
                    <a:gd name="connsiteY5" fmla="*/ 687906 h 708591"/>
                    <a:gd name="connsiteX6" fmla="*/ 4762 w 38100"/>
                    <a:gd name="connsiteY6" fmla="*/ 668856 h 708591"/>
                    <a:gd name="connsiteX7" fmla="*/ 0 w 38100"/>
                    <a:gd name="connsiteY7" fmla="*/ 654569 h 708591"/>
                    <a:gd name="connsiteX8" fmla="*/ 4762 w 38100"/>
                    <a:gd name="connsiteY8" fmla="*/ 616469 h 708591"/>
                    <a:gd name="connsiteX9" fmla="*/ 23812 w 38100"/>
                    <a:gd name="connsiteY9" fmla="*/ 164031 h 708591"/>
                    <a:gd name="connsiteX10" fmla="*/ 28575 w 38100"/>
                    <a:gd name="connsiteY10" fmla="*/ 6869 h 708591"/>
                    <a:gd name="connsiteX0" fmla="*/ 28575 w 33932"/>
                    <a:gd name="connsiteY0" fmla="*/ 38216 h 741342"/>
                    <a:gd name="connsiteX1" fmla="*/ 33337 w 33932"/>
                    <a:gd name="connsiteY1" fmla="*/ 62028 h 741342"/>
                    <a:gd name="connsiteX2" fmla="*/ 33337 w 33932"/>
                    <a:gd name="connsiteY2" fmla="*/ 690678 h 741342"/>
                    <a:gd name="connsiteX3" fmla="*/ 28575 w 33932"/>
                    <a:gd name="connsiteY3" fmla="*/ 704966 h 741342"/>
                    <a:gd name="connsiteX4" fmla="*/ 9525 w 33932"/>
                    <a:gd name="connsiteY4" fmla="*/ 719253 h 741342"/>
                    <a:gd name="connsiteX5" fmla="*/ 4762 w 33932"/>
                    <a:gd name="connsiteY5" fmla="*/ 700203 h 741342"/>
                    <a:gd name="connsiteX6" fmla="*/ 0 w 33932"/>
                    <a:gd name="connsiteY6" fmla="*/ 685916 h 741342"/>
                    <a:gd name="connsiteX7" fmla="*/ 4762 w 33932"/>
                    <a:gd name="connsiteY7" fmla="*/ 647816 h 741342"/>
                    <a:gd name="connsiteX8" fmla="*/ 23812 w 33932"/>
                    <a:gd name="connsiteY8" fmla="*/ 195378 h 741342"/>
                    <a:gd name="connsiteX9" fmla="*/ 28575 w 33932"/>
                    <a:gd name="connsiteY9" fmla="*/ 38216 h 741342"/>
                    <a:gd name="connsiteX0" fmla="*/ 28575 w 33337"/>
                    <a:gd name="connsiteY0" fmla="*/ 0 h 704883"/>
                    <a:gd name="connsiteX1" fmla="*/ 33337 w 33337"/>
                    <a:gd name="connsiteY1" fmla="*/ 652462 h 704883"/>
                    <a:gd name="connsiteX2" fmla="*/ 28575 w 33337"/>
                    <a:gd name="connsiteY2" fmla="*/ 666750 h 704883"/>
                    <a:gd name="connsiteX3" fmla="*/ 9525 w 33337"/>
                    <a:gd name="connsiteY3" fmla="*/ 681037 h 704883"/>
                    <a:gd name="connsiteX4" fmla="*/ 4762 w 33337"/>
                    <a:gd name="connsiteY4" fmla="*/ 661987 h 704883"/>
                    <a:gd name="connsiteX5" fmla="*/ 0 w 33337"/>
                    <a:gd name="connsiteY5" fmla="*/ 647700 h 704883"/>
                    <a:gd name="connsiteX6" fmla="*/ 4762 w 33337"/>
                    <a:gd name="connsiteY6" fmla="*/ 609600 h 704883"/>
                    <a:gd name="connsiteX7" fmla="*/ 23812 w 33337"/>
                    <a:gd name="connsiteY7" fmla="*/ 157162 h 704883"/>
                    <a:gd name="connsiteX8" fmla="*/ 28575 w 33337"/>
                    <a:gd name="connsiteY8" fmla="*/ 0 h 704883"/>
                    <a:gd name="connsiteX0" fmla="*/ 28575 w 37879"/>
                    <a:gd name="connsiteY0" fmla="*/ 0 h 704671"/>
                    <a:gd name="connsiteX1" fmla="*/ 33337 w 37879"/>
                    <a:gd name="connsiteY1" fmla="*/ 652462 h 704671"/>
                    <a:gd name="connsiteX2" fmla="*/ 28575 w 37879"/>
                    <a:gd name="connsiteY2" fmla="*/ 666750 h 704671"/>
                    <a:gd name="connsiteX3" fmla="*/ 9525 w 37879"/>
                    <a:gd name="connsiteY3" fmla="*/ 681037 h 704671"/>
                    <a:gd name="connsiteX4" fmla="*/ 4762 w 37879"/>
                    <a:gd name="connsiteY4" fmla="*/ 661987 h 704671"/>
                    <a:gd name="connsiteX5" fmla="*/ 0 w 37879"/>
                    <a:gd name="connsiteY5" fmla="*/ 647700 h 704671"/>
                    <a:gd name="connsiteX6" fmla="*/ 4762 w 37879"/>
                    <a:gd name="connsiteY6" fmla="*/ 609600 h 704671"/>
                    <a:gd name="connsiteX7" fmla="*/ 23812 w 37879"/>
                    <a:gd name="connsiteY7" fmla="*/ 157162 h 704671"/>
                    <a:gd name="connsiteX8" fmla="*/ 28575 w 37879"/>
                    <a:gd name="connsiteY8" fmla="*/ 0 h 704671"/>
                    <a:gd name="connsiteX0" fmla="*/ 28575 w 37879"/>
                    <a:gd name="connsiteY0" fmla="*/ 0 h 704671"/>
                    <a:gd name="connsiteX1" fmla="*/ 33337 w 37879"/>
                    <a:gd name="connsiteY1" fmla="*/ 652462 h 704671"/>
                    <a:gd name="connsiteX2" fmla="*/ 28575 w 37879"/>
                    <a:gd name="connsiteY2" fmla="*/ 666750 h 704671"/>
                    <a:gd name="connsiteX3" fmla="*/ 9525 w 37879"/>
                    <a:gd name="connsiteY3" fmla="*/ 681037 h 704671"/>
                    <a:gd name="connsiteX4" fmla="*/ 4762 w 37879"/>
                    <a:gd name="connsiteY4" fmla="*/ 661987 h 704671"/>
                    <a:gd name="connsiteX5" fmla="*/ 0 w 37879"/>
                    <a:gd name="connsiteY5" fmla="*/ 647700 h 704671"/>
                    <a:gd name="connsiteX6" fmla="*/ 4762 w 37879"/>
                    <a:gd name="connsiteY6" fmla="*/ 609600 h 704671"/>
                    <a:gd name="connsiteX7" fmla="*/ 23812 w 37879"/>
                    <a:gd name="connsiteY7" fmla="*/ 157162 h 704671"/>
                    <a:gd name="connsiteX8" fmla="*/ 28575 w 37879"/>
                    <a:gd name="connsiteY8" fmla="*/ 0 h 704671"/>
                    <a:gd name="connsiteX0" fmla="*/ 28575 w 37947"/>
                    <a:gd name="connsiteY0" fmla="*/ 22319 h 726990"/>
                    <a:gd name="connsiteX1" fmla="*/ 33337 w 37947"/>
                    <a:gd name="connsiteY1" fmla="*/ 674781 h 726990"/>
                    <a:gd name="connsiteX2" fmla="*/ 28575 w 37947"/>
                    <a:gd name="connsiteY2" fmla="*/ 689069 h 726990"/>
                    <a:gd name="connsiteX3" fmla="*/ 9525 w 37947"/>
                    <a:gd name="connsiteY3" fmla="*/ 703356 h 726990"/>
                    <a:gd name="connsiteX4" fmla="*/ 4762 w 37947"/>
                    <a:gd name="connsiteY4" fmla="*/ 684306 h 726990"/>
                    <a:gd name="connsiteX5" fmla="*/ 0 w 37947"/>
                    <a:gd name="connsiteY5" fmla="*/ 670019 h 726990"/>
                    <a:gd name="connsiteX6" fmla="*/ 4762 w 37947"/>
                    <a:gd name="connsiteY6" fmla="*/ 631919 h 726990"/>
                    <a:gd name="connsiteX7" fmla="*/ 21431 w 37947"/>
                    <a:gd name="connsiteY7" fmla="*/ 196150 h 726990"/>
                    <a:gd name="connsiteX8" fmla="*/ 28575 w 37947"/>
                    <a:gd name="connsiteY8" fmla="*/ 22319 h 726990"/>
                    <a:gd name="connsiteX0" fmla="*/ 28575 w 37947"/>
                    <a:gd name="connsiteY0" fmla="*/ 22319 h 727555"/>
                    <a:gd name="connsiteX1" fmla="*/ 33337 w 37947"/>
                    <a:gd name="connsiteY1" fmla="*/ 674781 h 727555"/>
                    <a:gd name="connsiteX2" fmla="*/ 28575 w 37947"/>
                    <a:gd name="connsiteY2" fmla="*/ 689069 h 727555"/>
                    <a:gd name="connsiteX3" fmla="*/ 4762 w 37947"/>
                    <a:gd name="connsiteY3" fmla="*/ 684306 h 727555"/>
                    <a:gd name="connsiteX4" fmla="*/ 0 w 37947"/>
                    <a:gd name="connsiteY4" fmla="*/ 670019 h 727555"/>
                    <a:gd name="connsiteX5" fmla="*/ 4762 w 37947"/>
                    <a:gd name="connsiteY5" fmla="*/ 631919 h 727555"/>
                    <a:gd name="connsiteX6" fmla="*/ 21431 w 37947"/>
                    <a:gd name="connsiteY6" fmla="*/ 196150 h 727555"/>
                    <a:gd name="connsiteX7" fmla="*/ 28575 w 37947"/>
                    <a:gd name="connsiteY7" fmla="*/ 22319 h 727555"/>
                    <a:gd name="connsiteX0" fmla="*/ 28575 w 37947"/>
                    <a:gd name="connsiteY0" fmla="*/ 22319 h 727555"/>
                    <a:gd name="connsiteX1" fmla="*/ 33337 w 37947"/>
                    <a:gd name="connsiteY1" fmla="*/ 674781 h 727555"/>
                    <a:gd name="connsiteX2" fmla="*/ 28575 w 37947"/>
                    <a:gd name="connsiteY2" fmla="*/ 689069 h 727555"/>
                    <a:gd name="connsiteX3" fmla="*/ 4762 w 37947"/>
                    <a:gd name="connsiteY3" fmla="*/ 684306 h 727555"/>
                    <a:gd name="connsiteX4" fmla="*/ 0 w 37947"/>
                    <a:gd name="connsiteY4" fmla="*/ 670019 h 727555"/>
                    <a:gd name="connsiteX5" fmla="*/ 4762 w 37947"/>
                    <a:gd name="connsiteY5" fmla="*/ 631919 h 727555"/>
                    <a:gd name="connsiteX6" fmla="*/ 21431 w 37947"/>
                    <a:gd name="connsiteY6" fmla="*/ 196150 h 727555"/>
                    <a:gd name="connsiteX7" fmla="*/ 28575 w 37947"/>
                    <a:gd name="connsiteY7" fmla="*/ 22319 h 727555"/>
                    <a:gd name="connsiteX0" fmla="*/ 28575 w 37947"/>
                    <a:gd name="connsiteY0" fmla="*/ 22319 h 727555"/>
                    <a:gd name="connsiteX1" fmla="*/ 33337 w 37947"/>
                    <a:gd name="connsiteY1" fmla="*/ 674781 h 727555"/>
                    <a:gd name="connsiteX2" fmla="*/ 28575 w 37947"/>
                    <a:gd name="connsiteY2" fmla="*/ 689069 h 727555"/>
                    <a:gd name="connsiteX3" fmla="*/ 4762 w 37947"/>
                    <a:gd name="connsiteY3" fmla="*/ 684306 h 727555"/>
                    <a:gd name="connsiteX4" fmla="*/ 0 w 37947"/>
                    <a:gd name="connsiteY4" fmla="*/ 670019 h 727555"/>
                    <a:gd name="connsiteX5" fmla="*/ 4762 w 37947"/>
                    <a:gd name="connsiteY5" fmla="*/ 631919 h 727555"/>
                    <a:gd name="connsiteX6" fmla="*/ 21431 w 37947"/>
                    <a:gd name="connsiteY6" fmla="*/ 196150 h 727555"/>
                    <a:gd name="connsiteX7" fmla="*/ 28575 w 37947"/>
                    <a:gd name="connsiteY7" fmla="*/ 22319 h 727555"/>
                    <a:gd name="connsiteX0" fmla="*/ 28575 w 34565"/>
                    <a:gd name="connsiteY0" fmla="*/ 22319 h 726607"/>
                    <a:gd name="connsiteX1" fmla="*/ 33337 w 34565"/>
                    <a:gd name="connsiteY1" fmla="*/ 674781 h 726607"/>
                    <a:gd name="connsiteX2" fmla="*/ 4762 w 34565"/>
                    <a:gd name="connsiteY2" fmla="*/ 684306 h 726607"/>
                    <a:gd name="connsiteX3" fmla="*/ 0 w 34565"/>
                    <a:gd name="connsiteY3" fmla="*/ 670019 h 726607"/>
                    <a:gd name="connsiteX4" fmla="*/ 4762 w 34565"/>
                    <a:gd name="connsiteY4" fmla="*/ 631919 h 726607"/>
                    <a:gd name="connsiteX5" fmla="*/ 21431 w 34565"/>
                    <a:gd name="connsiteY5" fmla="*/ 196150 h 726607"/>
                    <a:gd name="connsiteX6" fmla="*/ 28575 w 34565"/>
                    <a:gd name="connsiteY6" fmla="*/ 22319 h 726607"/>
                    <a:gd name="connsiteX0" fmla="*/ 28575 w 43730"/>
                    <a:gd name="connsiteY0" fmla="*/ 22319 h 703468"/>
                    <a:gd name="connsiteX1" fmla="*/ 33337 w 43730"/>
                    <a:gd name="connsiteY1" fmla="*/ 674781 h 703468"/>
                    <a:gd name="connsiteX2" fmla="*/ 4762 w 43730"/>
                    <a:gd name="connsiteY2" fmla="*/ 684306 h 703468"/>
                    <a:gd name="connsiteX3" fmla="*/ 0 w 43730"/>
                    <a:gd name="connsiteY3" fmla="*/ 670019 h 703468"/>
                    <a:gd name="connsiteX4" fmla="*/ 4762 w 43730"/>
                    <a:gd name="connsiteY4" fmla="*/ 631919 h 703468"/>
                    <a:gd name="connsiteX5" fmla="*/ 21431 w 43730"/>
                    <a:gd name="connsiteY5" fmla="*/ 196150 h 703468"/>
                    <a:gd name="connsiteX6" fmla="*/ 28575 w 43730"/>
                    <a:gd name="connsiteY6" fmla="*/ 22319 h 703468"/>
                    <a:gd name="connsiteX0" fmla="*/ 28575 w 40575"/>
                    <a:gd name="connsiteY0" fmla="*/ 22319 h 703809"/>
                    <a:gd name="connsiteX1" fmla="*/ 33337 w 40575"/>
                    <a:gd name="connsiteY1" fmla="*/ 674781 h 703809"/>
                    <a:gd name="connsiteX2" fmla="*/ 4762 w 40575"/>
                    <a:gd name="connsiteY2" fmla="*/ 684306 h 703809"/>
                    <a:gd name="connsiteX3" fmla="*/ 0 w 40575"/>
                    <a:gd name="connsiteY3" fmla="*/ 670019 h 703809"/>
                    <a:gd name="connsiteX4" fmla="*/ 4762 w 40575"/>
                    <a:gd name="connsiteY4" fmla="*/ 631919 h 703809"/>
                    <a:gd name="connsiteX5" fmla="*/ 21431 w 40575"/>
                    <a:gd name="connsiteY5" fmla="*/ 196150 h 703809"/>
                    <a:gd name="connsiteX6" fmla="*/ 28575 w 40575"/>
                    <a:gd name="connsiteY6" fmla="*/ 22319 h 70380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0575" h="703809">
                      <a:moveTo>
                        <a:pt x="28575" y="22319"/>
                      </a:moveTo>
                      <a:cubicBezTo>
                        <a:pt x="30559" y="102091"/>
                        <a:pt x="51233" y="564875"/>
                        <a:pt x="33337" y="674781"/>
                      </a:cubicBezTo>
                      <a:cubicBezTo>
                        <a:pt x="23775" y="733502"/>
                        <a:pt x="10318" y="685100"/>
                        <a:pt x="4762" y="684306"/>
                      </a:cubicBezTo>
                      <a:cubicBezTo>
                        <a:pt x="0" y="681131"/>
                        <a:pt x="0" y="675039"/>
                        <a:pt x="0" y="670019"/>
                      </a:cubicBezTo>
                      <a:cubicBezTo>
                        <a:pt x="0" y="657220"/>
                        <a:pt x="3175" y="644619"/>
                        <a:pt x="4762" y="631919"/>
                      </a:cubicBezTo>
                      <a:cubicBezTo>
                        <a:pt x="8731" y="550163"/>
                        <a:pt x="7937" y="331087"/>
                        <a:pt x="21431" y="196150"/>
                      </a:cubicBezTo>
                      <a:cubicBezTo>
                        <a:pt x="25400" y="94550"/>
                        <a:pt x="26591" y="-57453"/>
                        <a:pt x="28575" y="22319"/>
                      </a:cubicBezTo>
                      <a:close/>
                    </a:path>
                  </a:pathLst>
                </a:custGeom>
                <a:noFill/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31" name="Freeform: Shape 1030">
                  <a:extLst>
                    <a:ext uri="{FF2B5EF4-FFF2-40B4-BE49-F238E27FC236}">
                      <a16:creationId xmlns:a16="http://schemas.microsoft.com/office/drawing/2014/main" id="{15B39DBB-8CA7-FF7C-6BF3-908AE6DCA006}"/>
                    </a:ext>
                  </a:extLst>
                </p:cNvPr>
                <p:cNvSpPr/>
                <p:nvPr/>
              </p:nvSpPr>
              <p:spPr>
                <a:xfrm>
                  <a:off x="1669170" y="4966893"/>
                  <a:ext cx="188206" cy="186876"/>
                </a:xfrm>
                <a:custGeom>
                  <a:avLst/>
                  <a:gdLst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944902 w 4469152"/>
                    <a:gd name="connsiteY150" fmla="*/ 476250 h 4496940"/>
                    <a:gd name="connsiteX151" fmla="*/ 1087777 w 4469152"/>
                    <a:gd name="connsiteY151" fmla="*/ 409575 h 4496940"/>
                    <a:gd name="connsiteX152" fmla="*/ 1202077 w 4469152"/>
                    <a:gd name="connsiteY152" fmla="*/ 314325 h 4496940"/>
                    <a:gd name="connsiteX153" fmla="*/ 1268752 w 4469152"/>
                    <a:gd name="connsiteY153" fmla="*/ 285750 h 4496940"/>
                    <a:gd name="connsiteX154" fmla="*/ 1411627 w 4469152"/>
                    <a:gd name="connsiteY154" fmla="*/ 190500 h 4496940"/>
                    <a:gd name="connsiteX155" fmla="*/ 1449727 w 4469152"/>
                    <a:gd name="connsiteY155" fmla="*/ 161925 h 4496940"/>
                    <a:gd name="connsiteX156" fmla="*/ 1525927 w 4469152"/>
                    <a:gd name="connsiteY156" fmla="*/ 152400 h 4496940"/>
                    <a:gd name="connsiteX157" fmla="*/ 1583077 w 4469152"/>
                    <a:gd name="connsiteY157" fmla="*/ 142875 h 4496940"/>
                    <a:gd name="connsiteX158" fmla="*/ 1716427 w 4469152"/>
                    <a:gd name="connsiteY158" fmla="*/ 123825 h 4496940"/>
                    <a:gd name="connsiteX159" fmla="*/ 1811677 w 4469152"/>
                    <a:gd name="connsiteY159" fmla="*/ 114300 h 4496940"/>
                    <a:gd name="connsiteX160" fmla="*/ 1859302 w 4469152"/>
                    <a:gd name="connsiteY160" fmla="*/ 104775 h 4496940"/>
                    <a:gd name="connsiteX161" fmla="*/ 1916452 w 4469152"/>
                    <a:gd name="connsiteY161" fmla="*/ 95250 h 4496940"/>
                    <a:gd name="connsiteX162" fmla="*/ 2030752 w 4469152"/>
                    <a:gd name="connsiteY162" fmla="*/ 66675 h 4496940"/>
                    <a:gd name="connsiteX163" fmla="*/ 2097427 w 4469152"/>
                    <a:gd name="connsiteY163" fmla="*/ 47625 h 4496940"/>
                    <a:gd name="connsiteX164" fmla="*/ 2164102 w 4469152"/>
                    <a:gd name="connsiteY164" fmla="*/ 38100 h 4496940"/>
                    <a:gd name="connsiteX165" fmla="*/ 2392702 w 4469152"/>
                    <a:gd name="connsiteY165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087777 w 4469152"/>
                    <a:gd name="connsiteY150" fmla="*/ 409575 h 4496940"/>
                    <a:gd name="connsiteX151" fmla="*/ 1202077 w 4469152"/>
                    <a:gd name="connsiteY151" fmla="*/ 314325 h 4496940"/>
                    <a:gd name="connsiteX152" fmla="*/ 1268752 w 4469152"/>
                    <a:gd name="connsiteY152" fmla="*/ 285750 h 4496940"/>
                    <a:gd name="connsiteX153" fmla="*/ 1411627 w 4469152"/>
                    <a:gd name="connsiteY153" fmla="*/ 190500 h 4496940"/>
                    <a:gd name="connsiteX154" fmla="*/ 1449727 w 4469152"/>
                    <a:gd name="connsiteY154" fmla="*/ 161925 h 4496940"/>
                    <a:gd name="connsiteX155" fmla="*/ 1525927 w 4469152"/>
                    <a:gd name="connsiteY155" fmla="*/ 152400 h 4496940"/>
                    <a:gd name="connsiteX156" fmla="*/ 1583077 w 4469152"/>
                    <a:gd name="connsiteY156" fmla="*/ 142875 h 4496940"/>
                    <a:gd name="connsiteX157" fmla="*/ 1716427 w 4469152"/>
                    <a:gd name="connsiteY157" fmla="*/ 123825 h 4496940"/>
                    <a:gd name="connsiteX158" fmla="*/ 1811677 w 4469152"/>
                    <a:gd name="connsiteY158" fmla="*/ 114300 h 4496940"/>
                    <a:gd name="connsiteX159" fmla="*/ 1859302 w 4469152"/>
                    <a:gd name="connsiteY159" fmla="*/ 104775 h 4496940"/>
                    <a:gd name="connsiteX160" fmla="*/ 1916452 w 4469152"/>
                    <a:gd name="connsiteY160" fmla="*/ 95250 h 4496940"/>
                    <a:gd name="connsiteX161" fmla="*/ 2030752 w 4469152"/>
                    <a:gd name="connsiteY161" fmla="*/ 66675 h 4496940"/>
                    <a:gd name="connsiteX162" fmla="*/ 2097427 w 4469152"/>
                    <a:gd name="connsiteY162" fmla="*/ 47625 h 4496940"/>
                    <a:gd name="connsiteX163" fmla="*/ 2164102 w 4469152"/>
                    <a:gd name="connsiteY163" fmla="*/ 38100 h 4496940"/>
                    <a:gd name="connsiteX164" fmla="*/ 2392702 w 4469152"/>
                    <a:gd name="connsiteY164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02077 w 4469152"/>
                    <a:gd name="connsiteY150" fmla="*/ 314325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268752 w 4469152"/>
                    <a:gd name="connsiteY150" fmla="*/ 285750 h 4496940"/>
                    <a:gd name="connsiteX151" fmla="*/ 1411627 w 4469152"/>
                    <a:gd name="connsiteY151" fmla="*/ 190500 h 4496940"/>
                    <a:gd name="connsiteX152" fmla="*/ 1449727 w 4469152"/>
                    <a:gd name="connsiteY152" fmla="*/ 161925 h 4496940"/>
                    <a:gd name="connsiteX153" fmla="*/ 1525927 w 4469152"/>
                    <a:gd name="connsiteY153" fmla="*/ 152400 h 4496940"/>
                    <a:gd name="connsiteX154" fmla="*/ 1583077 w 4469152"/>
                    <a:gd name="connsiteY154" fmla="*/ 142875 h 4496940"/>
                    <a:gd name="connsiteX155" fmla="*/ 1716427 w 4469152"/>
                    <a:gd name="connsiteY155" fmla="*/ 123825 h 4496940"/>
                    <a:gd name="connsiteX156" fmla="*/ 1811677 w 4469152"/>
                    <a:gd name="connsiteY156" fmla="*/ 114300 h 4496940"/>
                    <a:gd name="connsiteX157" fmla="*/ 1859302 w 4469152"/>
                    <a:gd name="connsiteY157" fmla="*/ 104775 h 4496940"/>
                    <a:gd name="connsiteX158" fmla="*/ 1916452 w 4469152"/>
                    <a:gd name="connsiteY158" fmla="*/ 95250 h 4496940"/>
                    <a:gd name="connsiteX159" fmla="*/ 2030752 w 4469152"/>
                    <a:gd name="connsiteY159" fmla="*/ 66675 h 4496940"/>
                    <a:gd name="connsiteX160" fmla="*/ 2097427 w 4469152"/>
                    <a:gd name="connsiteY160" fmla="*/ 47625 h 4496940"/>
                    <a:gd name="connsiteX161" fmla="*/ 2164102 w 4469152"/>
                    <a:gd name="connsiteY161" fmla="*/ 38100 h 4496940"/>
                    <a:gd name="connsiteX162" fmla="*/ 2392702 w 4469152"/>
                    <a:gd name="connsiteY162" fmla="*/ 28575 h 4496940"/>
                    <a:gd name="connsiteX0" fmla="*/ 2297452 w 4469152"/>
                    <a:gd name="connsiteY0" fmla="*/ 0 h 4496940"/>
                    <a:gd name="connsiteX1" fmla="*/ 2421277 w 4469152"/>
                    <a:gd name="connsiteY1" fmla="*/ 28575 h 4496940"/>
                    <a:gd name="connsiteX2" fmla="*/ 2497477 w 4469152"/>
                    <a:gd name="connsiteY2" fmla="*/ 47625 h 4496940"/>
                    <a:gd name="connsiteX3" fmla="*/ 2754652 w 4469152"/>
                    <a:gd name="connsiteY3" fmla="*/ 66675 h 4496940"/>
                    <a:gd name="connsiteX4" fmla="*/ 2830852 w 4469152"/>
                    <a:gd name="connsiteY4" fmla="*/ 76200 h 4496940"/>
                    <a:gd name="connsiteX5" fmla="*/ 2916577 w 4469152"/>
                    <a:gd name="connsiteY5" fmla="*/ 85725 h 4496940"/>
                    <a:gd name="connsiteX6" fmla="*/ 2973727 w 4469152"/>
                    <a:gd name="connsiteY6" fmla="*/ 114300 h 4496940"/>
                    <a:gd name="connsiteX7" fmla="*/ 3011827 w 4469152"/>
                    <a:gd name="connsiteY7" fmla="*/ 123825 h 4496940"/>
                    <a:gd name="connsiteX8" fmla="*/ 3135652 w 4469152"/>
                    <a:gd name="connsiteY8" fmla="*/ 171450 h 4496940"/>
                    <a:gd name="connsiteX9" fmla="*/ 3173752 w 4469152"/>
                    <a:gd name="connsiteY9" fmla="*/ 190500 h 4496940"/>
                    <a:gd name="connsiteX10" fmla="*/ 3240427 w 4469152"/>
                    <a:gd name="connsiteY10" fmla="*/ 228600 h 4496940"/>
                    <a:gd name="connsiteX11" fmla="*/ 3269002 w 4469152"/>
                    <a:gd name="connsiteY11" fmla="*/ 238125 h 4496940"/>
                    <a:gd name="connsiteX12" fmla="*/ 3297577 w 4469152"/>
                    <a:gd name="connsiteY12" fmla="*/ 257175 h 4496940"/>
                    <a:gd name="connsiteX13" fmla="*/ 3326152 w 4469152"/>
                    <a:gd name="connsiteY13" fmla="*/ 266700 h 4496940"/>
                    <a:gd name="connsiteX14" fmla="*/ 3354727 w 4469152"/>
                    <a:gd name="connsiteY14" fmla="*/ 285750 h 4496940"/>
                    <a:gd name="connsiteX15" fmla="*/ 3421402 w 4469152"/>
                    <a:gd name="connsiteY15" fmla="*/ 323850 h 4496940"/>
                    <a:gd name="connsiteX16" fmla="*/ 3469027 w 4469152"/>
                    <a:gd name="connsiteY16" fmla="*/ 361950 h 4496940"/>
                    <a:gd name="connsiteX17" fmla="*/ 3516652 w 4469152"/>
                    <a:gd name="connsiteY17" fmla="*/ 390525 h 4496940"/>
                    <a:gd name="connsiteX18" fmla="*/ 3545227 w 4469152"/>
                    <a:gd name="connsiteY18" fmla="*/ 419100 h 4496940"/>
                    <a:gd name="connsiteX19" fmla="*/ 3602377 w 4469152"/>
                    <a:gd name="connsiteY19" fmla="*/ 457200 h 4496940"/>
                    <a:gd name="connsiteX20" fmla="*/ 3630952 w 4469152"/>
                    <a:gd name="connsiteY20" fmla="*/ 485775 h 4496940"/>
                    <a:gd name="connsiteX21" fmla="*/ 3678577 w 4469152"/>
                    <a:gd name="connsiteY21" fmla="*/ 504825 h 4496940"/>
                    <a:gd name="connsiteX22" fmla="*/ 3745252 w 4469152"/>
                    <a:gd name="connsiteY22" fmla="*/ 542925 h 4496940"/>
                    <a:gd name="connsiteX23" fmla="*/ 3811927 w 4469152"/>
                    <a:gd name="connsiteY23" fmla="*/ 581025 h 4496940"/>
                    <a:gd name="connsiteX24" fmla="*/ 3840502 w 4469152"/>
                    <a:gd name="connsiteY24" fmla="*/ 600075 h 4496940"/>
                    <a:gd name="connsiteX25" fmla="*/ 3869077 w 4469152"/>
                    <a:gd name="connsiteY25" fmla="*/ 628650 h 4496940"/>
                    <a:gd name="connsiteX26" fmla="*/ 3907177 w 4469152"/>
                    <a:gd name="connsiteY26" fmla="*/ 647700 h 4496940"/>
                    <a:gd name="connsiteX27" fmla="*/ 3935752 w 4469152"/>
                    <a:gd name="connsiteY27" fmla="*/ 676275 h 4496940"/>
                    <a:gd name="connsiteX28" fmla="*/ 3992902 w 4469152"/>
                    <a:gd name="connsiteY28" fmla="*/ 714375 h 4496940"/>
                    <a:gd name="connsiteX29" fmla="*/ 4050052 w 4469152"/>
                    <a:gd name="connsiteY29" fmla="*/ 790575 h 4496940"/>
                    <a:gd name="connsiteX30" fmla="*/ 4078627 w 4469152"/>
                    <a:gd name="connsiteY30" fmla="*/ 838200 h 4496940"/>
                    <a:gd name="connsiteX31" fmla="*/ 4107202 w 4469152"/>
                    <a:gd name="connsiteY31" fmla="*/ 876300 h 4496940"/>
                    <a:gd name="connsiteX32" fmla="*/ 4116727 w 4469152"/>
                    <a:gd name="connsiteY32" fmla="*/ 904875 h 4496940"/>
                    <a:gd name="connsiteX33" fmla="*/ 4135777 w 4469152"/>
                    <a:gd name="connsiteY33" fmla="*/ 933450 h 4496940"/>
                    <a:gd name="connsiteX34" fmla="*/ 4164352 w 4469152"/>
                    <a:gd name="connsiteY34" fmla="*/ 990600 h 4496940"/>
                    <a:gd name="connsiteX35" fmla="*/ 4173877 w 4469152"/>
                    <a:gd name="connsiteY35" fmla="*/ 1019175 h 4496940"/>
                    <a:gd name="connsiteX36" fmla="*/ 4192927 w 4469152"/>
                    <a:gd name="connsiteY36" fmla="*/ 1057275 h 4496940"/>
                    <a:gd name="connsiteX37" fmla="*/ 4202452 w 4469152"/>
                    <a:gd name="connsiteY37" fmla="*/ 1085850 h 4496940"/>
                    <a:gd name="connsiteX38" fmla="*/ 4250077 w 4469152"/>
                    <a:gd name="connsiteY38" fmla="*/ 1143000 h 4496940"/>
                    <a:gd name="connsiteX39" fmla="*/ 4259602 w 4469152"/>
                    <a:gd name="connsiteY39" fmla="*/ 1190625 h 4496940"/>
                    <a:gd name="connsiteX40" fmla="*/ 4307227 w 4469152"/>
                    <a:gd name="connsiteY40" fmla="*/ 1266825 h 4496940"/>
                    <a:gd name="connsiteX41" fmla="*/ 4345327 w 4469152"/>
                    <a:gd name="connsiteY41" fmla="*/ 1362075 h 4496940"/>
                    <a:gd name="connsiteX42" fmla="*/ 4373902 w 4469152"/>
                    <a:gd name="connsiteY42" fmla="*/ 1428750 h 4496940"/>
                    <a:gd name="connsiteX43" fmla="*/ 4392952 w 4469152"/>
                    <a:gd name="connsiteY43" fmla="*/ 1552575 h 4496940"/>
                    <a:gd name="connsiteX44" fmla="*/ 4402477 w 4469152"/>
                    <a:gd name="connsiteY44" fmla="*/ 1590675 h 4496940"/>
                    <a:gd name="connsiteX45" fmla="*/ 4431052 w 4469152"/>
                    <a:gd name="connsiteY45" fmla="*/ 1685925 h 4496940"/>
                    <a:gd name="connsiteX46" fmla="*/ 4440577 w 4469152"/>
                    <a:gd name="connsiteY46" fmla="*/ 1762125 h 4496940"/>
                    <a:gd name="connsiteX47" fmla="*/ 4459627 w 4469152"/>
                    <a:gd name="connsiteY47" fmla="*/ 1828800 h 4496940"/>
                    <a:gd name="connsiteX48" fmla="*/ 4469152 w 4469152"/>
                    <a:gd name="connsiteY48" fmla="*/ 1933575 h 4496940"/>
                    <a:gd name="connsiteX49" fmla="*/ 4440577 w 4469152"/>
                    <a:gd name="connsiteY49" fmla="*/ 2876550 h 4496940"/>
                    <a:gd name="connsiteX50" fmla="*/ 4383427 w 4469152"/>
                    <a:gd name="connsiteY50" fmla="*/ 2990850 h 4496940"/>
                    <a:gd name="connsiteX51" fmla="*/ 4354852 w 4469152"/>
                    <a:gd name="connsiteY51" fmla="*/ 3057525 h 4496940"/>
                    <a:gd name="connsiteX52" fmla="*/ 4335802 w 4469152"/>
                    <a:gd name="connsiteY52" fmla="*/ 3095625 h 4496940"/>
                    <a:gd name="connsiteX53" fmla="*/ 4278652 w 4469152"/>
                    <a:gd name="connsiteY53" fmla="*/ 3248025 h 4496940"/>
                    <a:gd name="connsiteX54" fmla="*/ 4259602 w 4469152"/>
                    <a:gd name="connsiteY54" fmla="*/ 3276600 h 4496940"/>
                    <a:gd name="connsiteX55" fmla="*/ 4221502 w 4469152"/>
                    <a:gd name="connsiteY55" fmla="*/ 3333750 h 4496940"/>
                    <a:gd name="connsiteX56" fmla="*/ 4211977 w 4469152"/>
                    <a:gd name="connsiteY56" fmla="*/ 3362325 h 4496940"/>
                    <a:gd name="connsiteX57" fmla="*/ 4183402 w 4469152"/>
                    <a:gd name="connsiteY57" fmla="*/ 3400425 h 4496940"/>
                    <a:gd name="connsiteX58" fmla="*/ 4164352 w 4469152"/>
                    <a:gd name="connsiteY58" fmla="*/ 3429000 h 4496940"/>
                    <a:gd name="connsiteX59" fmla="*/ 4088152 w 4469152"/>
                    <a:gd name="connsiteY59" fmla="*/ 3495675 h 4496940"/>
                    <a:gd name="connsiteX60" fmla="*/ 4059577 w 4469152"/>
                    <a:gd name="connsiteY60" fmla="*/ 3533775 h 4496940"/>
                    <a:gd name="connsiteX61" fmla="*/ 4002427 w 4469152"/>
                    <a:gd name="connsiteY61" fmla="*/ 3600450 h 4496940"/>
                    <a:gd name="connsiteX62" fmla="*/ 3983377 w 4469152"/>
                    <a:gd name="connsiteY62" fmla="*/ 3629025 h 4496940"/>
                    <a:gd name="connsiteX63" fmla="*/ 3954802 w 4469152"/>
                    <a:gd name="connsiteY63" fmla="*/ 3648075 h 4496940"/>
                    <a:gd name="connsiteX64" fmla="*/ 3907177 w 4469152"/>
                    <a:gd name="connsiteY64" fmla="*/ 3686175 h 4496940"/>
                    <a:gd name="connsiteX65" fmla="*/ 3869077 w 4469152"/>
                    <a:gd name="connsiteY65" fmla="*/ 3724275 h 4496940"/>
                    <a:gd name="connsiteX66" fmla="*/ 3792877 w 4469152"/>
                    <a:gd name="connsiteY66" fmla="*/ 3781425 h 4496940"/>
                    <a:gd name="connsiteX67" fmla="*/ 3783352 w 4469152"/>
                    <a:gd name="connsiteY67" fmla="*/ 3810000 h 4496940"/>
                    <a:gd name="connsiteX68" fmla="*/ 3745252 w 4469152"/>
                    <a:gd name="connsiteY68" fmla="*/ 3819525 h 4496940"/>
                    <a:gd name="connsiteX69" fmla="*/ 3678577 w 4469152"/>
                    <a:gd name="connsiteY69" fmla="*/ 3848100 h 4496940"/>
                    <a:gd name="connsiteX70" fmla="*/ 3659527 w 4469152"/>
                    <a:gd name="connsiteY70" fmla="*/ 3971925 h 4496940"/>
                    <a:gd name="connsiteX71" fmla="*/ 3630952 w 4469152"/>
                    <a:gd name="connsiteY71" fmla="*/ 4010025 h 4496940"/>
                    <a:gd name="connsiteX72" fmla="*/ 3621427 w 4469152"/>
                    <a:gd name="connsiteY72" fmla="*/ 4038600 h 4496940"/>
                    <a:gd name="connsiteX73" fmla="*/ 3554752 w 4469152"/>
                    <a:gd name="connsiteY73" fmla="*/ 4095750 h 4496940"/>
                    <a:gd name="connsiteX74" fmla="*/ 3516652 w 4469152"/>
                    <a:gd name="connsiteY74" fmla="*/ 4114800 h 4496940"/>
                    <a:gd name="connsiteX75" fmla="*/ 3497602 w 4469152"/>
                    <a:gd name="connsiteY75" fmla="*/ 4143375 h 4496940"/>
                    <a:gd name="connsiteX76" fmla="*/ 3383302 w 4469152"/>
                    <a:gd name="connsiteY76" fmla="*/ 4210050 h 4496940"/>
                    <a:gd name="connsiteX77" fmla="*/ 3335677 w 4469152"/>
                    <a:gd name="connsiteY77" fmla="*/ 4238625 h 4496940"/>
                    <a:gd name="connsiteX78" fmla="*/ 3288052 w 4469152"/>
                    <a:gd name="connsiteY78" fmla="*/ 4248150 h 4496940"/>
                    <a:gd name="connsiteX79" fmla="*/ 3240427 w 4469152"/>
                    <a:gd name="connsiteY79" fmla="*/ 4267200 h 4496940"/>
                    <a:gd name="connsiteX80" fmla="*/ 3068977 w 4469152"/>
                    <a:gd name="connsiteY80" fmla="*/ 4286250 h 4496940"/>
                    <a:gd name="connsiteX81" fmla="*/ 2935627 w 4469152"/>
                    <a:gd name="connsiteY81" fmla="*/ 4333875 h 4496940"/>
                    <a:gd name="connsiteX82" fmla="*/ 2811802 w 4469152"/>
                    <a:gd name="connsiteY82" fmla="*/ 4371975 h 4496940"/>
                    <a:gd name="connsiteX83" fmla="*/ 2745127 w 4469152"/>
                    <a:gd name="connsiteY83" fmla="*/ 4410075 h 4496940"/>
                    <a:gd name="connsiteX84" fmla="*/ 2697502 w 4469152"/>
                    <a:gd name="connsiteY84" fmla="*/ 4429125 h 4496940"/>
                    <a:gd name="connsiteX85" fmla="*/ 2640352 w 4469152"/>
                    <a:gd name="connsiteY85" fmla="*/ 4457700 h 4496940"/>
                    <a:gd name="connsiteX86" fmla="*/ 2583202 w 4469152"/>
                    <a:gd name="connsiteY86" fmla="*/ 4467225 h 4496940"/>
                    <a:gd name="connsiteX87" fmla="*/ 2545102 w 4469152"/>
                    <a:gd name="connsiteY87" fmla="*/ 4486275 h 4496940"/>
                    <a:gd name="connsiteX88" fmla="*/ 2306977 w 4469152"/>
                    <a:gd name="connsiteY88" fmla="*/ 4476750 h 4496940"/>
                    <a:gd name="connsiteX89" fmla="*/ 2202202 w 4469152"/>
                    <a:gd name="connsiteY89" fmla="*/ 4457700 h 4496940"/>
                    <a:gd name="connsiteX90" fmla="*/ 2126002 w 4469152"/>
                    <a:gd name="connsiteY90" fmla="*/ 4429125 h 4496940"/>
                    <a:gd name="connsiteX91" fmla="*/ 1935502 w 4469152"/>
                    <a:gd name="connsiteY91" fmla="*/ 4400550 h 4496940"/>
                    <a:gd name="connsiteX92" fmla="*/ 1821202 w 4469152"/>
                    <a:gd name="connsiteY92" fmla="*/ 4371975 h 4496940"/>
                    <a:gd name="connsiteX93" fmla="*/ 1754527 w 4469152"/>
                    <a:gd name="connsiteY93" fmla="*/ 4352925 h 4496940"/>
                    <a:gd name="connsiteX94" fmla="*/ 1687852 w 4469152"/>
                    <a:gd name="connsiteY94" fmla="*/ 4343400 h 4496940"/>
                    <a:gd name="connsiteX95" fmla="*/ 1573552 w 4469152"/>
                    <a:gd name="connsiteY95" fmla="*/ 4305300 h 4496940"/>
                    <a:gd name="connsiteX96" fmla="*/ 1402102 w 4469152"/>
                    <a:gd name="connsiteY96" fmla="*/ 4276725 h 4496940"/>
                    <a:gd name="connsiteX97" fmla="*/ 1287802 w 4469152"/>
                    <a:gd name="connsiteY97" fmla="*/ 4229100 h 4496940"/>
                    <a:gd name="connsiteX98" fmla="*/ 1221127 w 4469152"/>
                    <a:gd name="connsiteY98" fmla="*/ 4200525 h 4496940"/>
                    <a:gd name="connsiteX99" fmla="*/ 1144927 w 4469152"/>
                    <a:gd name="connsiteY99" fmla="*/ 4171950 h 4496940"/>
                    <a:gd name="connsiteX100" fmla="*/ 1087777 w 4469152"/>
                    <a:gd name="connsiteY100" fmla="*/ 4143375 h 4496940"/>
                    <a:gd name="connsiteX101" fmla="*/ 1030627 w 4469152"/>
                    <a:gd name="connsiteY101" fmla="*/ 4124325 h 4496940"/>
                    <a:gd name="connsiteX102" fmla="*/ 925852 w 4469152"/>
                    <a:gd name="connsiteY102" fmla="*/ 4067175 h 4496940"/>
                    <a:gd name="connsiteX103" fmla="*/ 830602 w 4469152"/>
                    <a:gd name="connsiteY103" fmla="*/ 3981450 h 4496940"/>
                    <a:gd name="connsiteX104" fmla="*/ 763927 w 4469152"/>
                    <a:gd name="connsiteY104" fmla="*/ 3914775 h 4496940"/>
                    <a:gd name="connsiteX105" fmla="*/ 725827 w 4469152"/>
                    <a:gd name="connsiteY105" fmla="*/ 3876675 h 4496940"/>
                    <a:gd name="connsiteX106" fmla="*/ 697252 w 4469152"/>
                    <a:gd name="connsiteY106" fmla="*/ 3838575 h 4496940"/>
                    <a:gd name="connsiteX107" fmla="*/ 640102 w 4469152"/>
                    <a:gd name="connsiteY107" fmla="*/ 3781425 h 4496940"/>
                    <a:gd name="connsiteX108" fmla="*/ 611527 w 4469152"/>
                    <a:gd name="connsiteY108" fmla="*/ 3733800 h 4496940"/>
                    <a:gd name="connsiteX109" fmla="*/ 554377 w 4469152"/>
                    <a:gd name="connsiteY109" fmla="*/ 3657600 h 4496940"/>
                    <a:gd name="connsiteX110" fmla="*/ 525802 w 4469152"/>
                    <a:gd name="connsiteY110" fmla="*/ 3609975 h 4496940"/>
                    <a:gd name="connsiteX111" fmla="*/ 497227 w 4469152"/>
                    <a:gd name="connsiteY111" fmla="*/ 3552825 h 4496940"/>
                    <a:gd name="connsiteX112" fmla="*/ 440077 w 4469152"/>
                    <a:gd name="connsiteY112" fmla="*/ 3495675 h 4496940"/>
                    <a:gd name="connsiteX113" fmla="*/ 411502 w 4469152"/>
                    <a:gd name="connsiteY113" fmla="*/ 3448050 h 4496940"/>
                    <a:gd name="connsiteX114" fmla="*/ 278152 w 4469152"/>
                    <a:gd name="connsiteY114" fmla="*/ 3257550 h 4496940"/>
                    <a:gd name="connsiteX115" fmla="*/ 249577 w 4469152"/>
                    <a:gd name="connsiteY115" fmla="*/ 3200400 h 4496940"/>
                    <a:gd name="connsiteX116" fmla="*/ 240052 w 4469152"/>
                    <a:gd name="connsiteY116" fmla="*/ 3162300 h 4496940"/>
                    <a:gd name="connsiteX117" fmla="*/ 221002 w 4469152"/>
                    <a:gd name="connsiteY117" fmla="*/ 3105150 h 4496940"/>
                    <a:gd name="connsiteX118" fmla="*/ 173377 w 4469152"/>
                    <a:gd name="connsiteY118" fmla="*/ 3019425 h 4496940"/>
                    <a:gd name="connsiteX119" fmla="*/ 144802 w 4469152"/>
                    <a:gd name="connsiteY119" fmla="*/ 2924175 h 4496940"/>
                    <a:gd name="connsiteX120" fmla="*/ 68602 w 4469152"/>
                    <a:gd name="connsiteY120" fmla="*/ 2724150 h 4496940"/>
                    <a:gd name="connsiteX121" fmla="*/ 49552 w 4469152"/>
                    <a:gd name="connsiteY121" fmla="*/ 2638425 h 4496940"/>
                    <a:gd name="connsiteX122" fmla="*/ 40027 w 4469152"/>
                    <a:gd name="connsiteY122" fmla="*/ 2562225 h 4496940"/>
                    <a:gd name="connsiteX123" fmla="*/ 30502 w 4469152"/>
                    <a:gd name="connsiteY123" fmla="*/ 2514600 h 4496940"/>
                    <a:gd name="connsiteX124" fmla="*/ 11452 w 4469152"/>
                    <a:gd name="connsiteY124" fmla="*/ 2400300 h 4496940"/>
                    <a:gd name="connsiteX125" fmla="*/ 20977 w 4469152"/>
                    <a:gd name="connsiteY125" fmla="*/ 1905000 h 4496940"/>
                    <a:gd name="connsiteX126" fmla="*/ 30502 w 4469152"/>
                    <a:gd name="connsiteY126" fmla="*/ 1838325 h 4496940"/>
                    <a:gd name="connsiteX127" fmla="*/ 49552 w 4469152"/>
                    <a:gd name="connsiteY127" fmla="*/ 1781175 h 4496940"/>
                    <a:gd name="connsiteX128" fmla="*/ 59077 w 4469152"/>
                    <a:gd name="connsiteY128" fmla="*/ 1743075 h 4496940"/>
                    <a:gd name="connsiteX129" fmla="*/ 78127 w 4469152"/>
                    <a:gd name="connsiteY129" fmla="*/ 1685925 h 4496940"/>
                    <a:gd name="connsiteX130" fmla="*/ 87652 w 4469152"/>
                    <a:gd name="connsiteY130" fmla="*/ 1638300 h 4496940"/>
                    <a:gd name="connsiteX131" fmla="*/ 106702 w 4469152"/>
                    <a:gd name="connsiteY131" fmla="*/ 1590675 h 4496940"/>
                    <a:gd name="connsiteX132" fmla="*/ 135277 w 4469152"/>
                    <a:gd name="connsiteY132" fmla="*/ 1504950 h 4496940"/>
                    <a:gd name="connsiteX133" fmla="*/ 154327 w 4469152"/>
                    <a:gd name="connsiteY133" fmla="*/ 1419225 h 4496940"/>
                    <a:gd name="connsiteX134" fmla="*/ 230527 w 4469152"/>
                    <a:gd name="connsiteY134" fmla="*/ 1276350 h 4496940"/>
                    <a:gd name="connsiteX135" fmla="*/ 240052 w 4469152"/>
                    <a:gd name="connsiteY135" fmla="*/ 1247775 h 4496940"/>
                    <a:gd name="connsiteX136" fmla="*/ 268627 w 4469152"/>
                    <a:gd name="connsiteY136" fmla="*/ 1200150 h 4496940"/>
                    <a:gd name="connsiteX137" fmla="*/ 287677 w 4469152"/>
                    <a:gd name="connsiteY137" fmla="*/ 1152525 h 4496940"/>
                    <a:gd name="connsiteX138" fmla="*/ 316252 w 4469152"/>
                    <a:gd name="connsiteY138" fmla="*/ 1114425 h 4496940"/>
                    <a:gd name="connsiteX139" fmla="*/ 363877 w 4469152"/>
                    <a:gd name="connsiteY139" fmla="*/ 1038225 h 4496940"/>
                    <a:gd name="connsiteX140" fmla="*/ 382927 w 4469152"/>
                    <a:gd name="connsiteY140" fmla="*/ 1009650 h 4496940"/>
                    <a:gd name="connsiteX141" fmla="*/ 440077 w 4469152"/>
                    <a:gd name="connsiteY141" fmla="*/ 904875 h 4496940"/>
                    <a:gd name="connsiteX142" fmla="*/ 478177 w 4469152"/>
                    <a:gd name="connsiteY142" fmla="*/ 857250 h 4496940"/>
                    <a:gd name="connsiteX143" fmla="*/ 497227 w 4469152"/>
                    <a:gd name="connsiteY143" fmla="*/ 828675 h 4496940"/>
                    <a:gd name="connsiteX144" fmla="*/ 535327 w 4469152"/>
                    <a:gd name="connsiteY144" fmla="*/ 800100 h 4496940"/>
                    <a:gd name="connsiteX145" fmla="*/ 602002 w 4469152"/>
                    <a:gd name="connsiteY145" fmla="*/ 733425 h 4496940"/>
                    <a:gd name="connsiteX146" fmla="*/ 668677 w 4469152"/>
                    <a:gd name="connsiteY146" fmla="*/ 676275 h 4496940"/>
                    <a:gd name="connsiteX147" fmla="*/ 697252 w 4469152"/>
                    <a:gd name="connsiteY147" fmla="*/ 657225 h 4496940"/>
                    <a:gd name="connsiteX148" fmla="*/ 840127 w 4469152"/>
                    <a:gd name="connsiteY148" fmla="*/ 533400 h 4496940"/>
                    <a:gd name="connsiteX149" fmla="*/ 887752 w 4469152"/>
                    <a:gd name="connsiteY149" fmla="*/ 504825 h 4496940"/>
                    <a:gd name="connsiteX150" fmla="*/ 1167152 w 4469152"/>
                    <a:gd name="connsiteY150" fmla="*/ 311150 h 4496940"/>
                    <a:gd name="connsiteX151" fmla="*/ 1268752 w 4469152"/>
                    <a:gd name="connsiteY151" fmla="*/ 285750 h 4496940"/>
                    <a:gd name="connsiteX152" fmla="*/ 1411627 w 4469152"/>
                    <a:gd name="connsiteY152" fmla="*/ 190500 h 4496940"/>
                    <a:gd name="connsiteX153" fmla="*/ 1449727 w 4469152"/>
                    <a:gd name="connsiteY153" fmla="*/ 161925 h 4496940"/>
                    <a:gd name="connsiteX154" fmla="*/ 1525927 w 4469152"/>
                    <a:gd name="connsiteY154" fmla="*/ 152400 h 4496940"/>
                    <a:gd name="connsiteX155" fmla="*/ 1583077 w 4469152"/>
                    <a:gd name="connsiteY155" fmla="*/ 142875 h 4496940"/>
                    <a:gd name="connsiteX156" fmla="*/ 1716427 w 4469152"/>
                    <a:gd name="connsiteY156" fmla="*/ 123825 h 4496940"/>
                    <a:gd name="connsiteX157" fmla="*/ 1811677 w 4469152"/>
                    <a:gd name="connsiteY157" fmla="*/ 114300 h 4496940"/>
                    <a:gd name="connsiteX158" fmla="*/ 1859302 w 4469152"/>
                    <a:gd name="connsiteY158" fmla="*/ 104775 h 4496940"/>
                    <a:gd name="connsiteX159" fmla="*/ 1916452 w 4469152"/>
                    <a:gd name="connsiteY159" fmla="*/ 95250 h 4496940"/>
                    <a:gd name="connsiteX160" fmla="*/ 2030752 w 4469152"/>
                    <a:gd name="connsiteY160" fmla="*/ 66675 h 4496940"/>
                    <a:gd name="connsiteX161" fmla="*/ 2097427 w 4469152"/>
                    <a:gd name="connsiteY161" fmla="*/ 47625 h 4496940"/>
                    <a:gd name="connsiteX162" fmla="*/ 2164102 w 4469152"/>
                    <a:gd name="connsiteY162" fmla="*/ 38100 h 4496940"/>
                    <a:gd name="connsiteX163" fmla="*/ 2392702 w 44691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40577 w 4519952"/>
                    <a:gd name="connsiteY46" fmla="*/ 1762125 h 4496940"/>
                    <a:gd name="connsiteX47" fmla="*/ 4459627 w 4519952"/>
                    <a:gd name="connsiteY47" fmla="*/ 1828800 h 4496940"/>
                    <a:gd name="connsiteX48" fmla="*/ 4519952 w 4519952"/>
                    <a:gd name="connsiteY48" fmla="*/ 2181225 h 4496940"/>
                    <a:gd name="connsiteX49" fmla="*/ 4440577 w 4519952"/>
                    <a:gd name="connsiteY49" fmla="*/ 2876550 h 4496940"/>
                    <a:gd name="connsiteX50" fmla="*/ 4383427 w 4519952"/>
                    <a:gd name="connsiteY50" fmla="*/ 2990850 h 4496940"/>
                    <a:gd name="connsiteX51" fmla="*/ 4354852 w 4519952"/>
                    <a:gd name="connsiteY51" fmla="*/ 3057525 h 4496940"/>
                    <a:gd name="connsiteX52" fmla="*/ 4335802 w 4519952"/>
                    <a:gd name="connsiteY52" fmla="*/ 3095625 h 4496940"/>
                    <a:gd name="connsiteX53" fmla="*/ 4278652 w 4519952"/>
                    <a:gd name="connsiteY53" fmla="*/ 3248025 h 4496940"/>
                    <a:gd name="connsiteX54" fmla="*/ 4259602 w 4519952"/>
                    <a:gd name="connsiteY54" fmla="*/ 3276600 h 4496940"/>
                    <a:gd name="connsiteX55" fmla="*/ 4221502 w 4519952"/>
                    <a:gd name="connsiteY55" fmla="*/ 3333750 h 4496940"/>
                    <a:gd name="connsiteX56" fmla="*/ 4211977 w 4519952"/>
                    <a:gd name="connsiteY56" fmla="*/ 3362325 h 4496940"/>
                    <a:gd name="connsiteX57" fmla="*/ 4183402 w 4519952"/>
                    <a:gd name="connsiteY57" fmla="*/ 3400425 h 4496940"/>
                    <a:gd name="connsiteX58" fmla="*/ 4164352 w 4519952"/>
                    <a:gd name="connsiteY58" fmla="*/ 3429000 h 4496940"/>
                    <a:gd name="connsiteX59" fmla="*/ 4088152 w 4519952"/>
                    <a:gd name="connsiteY59" fmla="*/ 3495675 h 4496940"/>
                    <a:gd name="connsiteX60" fmla="*/ 4059577 w 4519952"/>
                    <a:gd name="connsiteY60" fmla="*/ 3533775 h 4496940"/>
                    <a:gd name="connsiteX61" fmla="*/ 4002427 w 4519952"/>
                    <a:gd name="connsiteY61" fmla="*/ 3600450 h 4496940"/>
                    <a:gd name="connsiteX62" fmla="*/ 3983377 w 4519952"/>
                    <a:gd name="connsiteY62" fmla="*/ 3629025 h 4496940"/>
                    <a:gd name="connsiteX63" fmla="*/ 3954802 w 4519952"/>
                    <a:gd name="connsiteY63" fmla="*/ 3648075 h 4496940"/>
                    <a:gd name="connsiteX64" fmla="*/ 3907177 w 4519952"/>
                    <a:gd name="connsiteY64" fmla="*/ 3686175 h 4496940"/>
                    <a:gd name="connsiteX65" fmla="*/ 3869077 w 4519952"/>
                    <a:gd name="connsiteY65" fmla="*/ 3724275 h 4496940"/>
                    <a:gd name="connsiteX66" fmla="*/ 3792877 w 4519952"/>
                    <a:gd name="connsiteY66" fmla="*/ 3781425 h 4496940"/>
                    <a:gd name="connsiteX67" fmla="*/ 3783352 w 4519952"/>
                    <a:gd name="connsiteY67" fmla="*/ 3810000 h 4496940"/>
                    <a:gd name="connsiteX68" fmla="*/ 3745252 w 4519952"/>
                    <a:gd name="connsiteY68" fmla="*/ 3819525 h 4496940"/>
                    <a:gd name="connsiteX69" fmla="*/ 3678577 w 4519952"/>
                    <a:gd name="connsiteY69" fmla="*/ 3848100 h 4496940"/>
                    <a:gd name="connsiteX70" fmla="*/ 3659527 w 4519952"/>
                    <a:gd name="connsiteY70" fmla="*/ 3971925 h 4496940"/>
                    <a:gd name="connsiteX71" fmla="*/ 3630952 w 4519952"/>
                    <a:gd name="connsiteY71" fmla="*/ 4010025 h 4496940"/>
                    <a:gd name="connsiteX72" fmla="*/ 3621427 w 4519952"/>
                    <a:gd name="connsiteY72" fmla="*/ 4038600 h 4496940"/>
                    <a:gd name="connsiteX73" fmla="*/ 3554752 w 4519952"/>
                    <a:gd name="connsiteY73" fmla="*/ 4095750 h 4496940"/>
                    <a:gd name="connsiteX74" fmla="*/ 3516652 w 4519952"/>
                    <a:gd name="connsiteY74" fmla="*/ 4114800 h 4496940"/>
                    <a:gd name="connsiteX75" fmla="*/ 3497602 w 4519952"/>
                    <a:gd name="connsiteY75" fmla="*/ 4143375 h 4496940"/>
                    <a:gd name="connsiteX76" fmla="*/ 3383302 w 4519952"/>
                    <a:gd name="connsiteY76" fmla="*/ 4210050 h 4496940"/>
                    <a:gd name="connsiteX77" fmla="*/ 3335677 w 4519952"/>
                    <a:gd name="connsiteY77" fmla="*/ 4238625 h 4496940"/>
                    <a:gd name="connsiteX78" fmla="*/ 3288052 w 4519952"/>
                    <a:gd name="connsiteY78" fmla="*/ 4248150 h 4496940"/>
                    <a:gd name="connsiteX79" fmla="*/ 3240427 w 4519952"/>
                    <a:gd name="connsiteY79" fmla="*/ 4267200 h 4496940"/>
                    <a:gd name="connsiteX80" fmla="*/ 3068977 w 4519952"/>
                    <a:gd name="connsiteY80" fmla="*/ 4286250 h 4496940"/>
                    <a:gd name="connsiteX81" fmla="*/ 2935627 w 4519952"/>
                    <a:gd name="connsiteY81" fmla="*/ 4333875 h 4496940"/>
                    <a:gd name="connsiteX82" fmla="*/ 2811802 w 4519952"/>
                    <a:gd name="connsiteY82" fmla="*/ 4371975 h 4496940"/>
                    <a:gd name="connsiteX83" fmla="*/ 2745127 w 4519952"/>
                    <a:gd name="connsiteY83" fmla="*/ 4410075 h 4496940"/>
                    <a:gd name="connsiteX84" fmla="*/ 2697502 w 4519952"/>
                    <a:gd name="connsiteY84" fmla="*/ 4429125 h 4496940"/>
                    <a:gd name="connsiteX85" fmla="*/ 2640352 w 4519952"/>
                    <a:gd name="connsiteY85" fmla="*/ 4457700 h 4496940"/>
                    <a:gd name="connsiteX86" fmla="*/ 2583202 w 4519952"/>
                    <a:gd name="connsiteY86" fmla="*/ 4467225 h 4496940"/>
                    <a:gd name="connsiteX87" fmla="*/ 2545102 w 4519952"/>
                    <a:gd name="connsiteY87" fmla="*/ 4486275 h 4496940"/>
                    <a:gd name="connsiteX88" fmla="*/ 2306977 w 4519952"/>
                    <a:gd name="connsiteY88" fmla="*/ 4476750 h 4496940"/>
                    <a:gd name="connsiteX89" fmla="*/ 2202202 w 4519952"/>
                    <a:gd name="connsiteY89" fmla="*/ 4457700 h 4496940"/>
                    <a:gd name="connsiteX90" fmla="*/ 2126002 w 4519952"/>
                    <a:gd name="connsiteY90" fmla="*/ 4429125 h 4496940"/>
                    <a:gd name="connsiteX91" fmla="*/ 1935502 w 4519952"/>
                    <a:gd name="connsiteY91" fmla="*/ 4400550 h 4496940"/>
                    <a:gd name="connsiteX92" fmla="*/ 1821202 w 4519952"/>
                    <a:gd name="connsiteY92" fmla="*/ 4371975 h 4496940"/>
                    <a:gd name="connsiteX93" fmla="*/ 1754527 w 4519952"/>
                    <a:gd name="connsiteY93" fmla="*/ 4352925 h 4496940"/>
                    <a:gd name="connsiteX94" fmla="*/ 1687852 w 4519952"/>
                    <a:gd name="connsiteY94" fmla="*/ 4343400 h 4496940"/>
                    <a:gd name="connsiteX95" fmla="*/ 1573552 w 4519952"/>
                    <a:gd name="connsiteY95" fmla="*/ 4305300 h 4496940"/>
                    <a:gd name="connsiteX96" fmla="*/ 1402102 w 4519952"/>
                    <a:gd name="connsiteY96" fmla="*/ 4276725 h 4496940"/>
                    <a:gd name="connsiteX97" fmla="*/ 1287802 w 4519952"/>
                    <a:gd name="connsiteY97" fmla="*/ 4229100 h 4496940"/>
                    <a:gd name="connsiteX98" fmla="*/ 1221127 w 4519952"/>
                    <a:gd name="connsiteY98" fmla="*/ 4200525 h 4496940"/>
                    <a:gd name="connsiteX99" fmla="*/ 1144927 w 4519952"/>
                    <a:gd name="connsiteY99" fmla="*/ 4171950 h 4496940"/>
                    <a:gd name="connsiteX100" fmla="*/ 1087777 w 4519952"/>
                    <a:gd name="connsiteY100" fmla="*/ 4143375 h 4496940"/>
                    <a:gd name="connsiteX101" fmla="*/ 1030627 w 4519952"/>
                    <a:gd name="connsiteY101" fmla="*/ 4124325 h 4496940"/>
                    <a:gd name="connsiteX102" fmla="*/ 925852 w 4519952"/>
                    <a:gd name="connsiteY102" fmla="*/ 4067175 h 4496940"/>
                    <a:gd name="connsiteX103" fmla="*/ 830602 w 4519952"/>
                    <a:gd name="connsiteY103" fmla="*/ 3981450 h 4496940"/>
                    <a:gd name="connsiteX104" fmla="*/ 763927 w 4519952"/>
                    <a:gd name="connsiteY104" fmla="*/ 3914775 h 4496940"/>
                    <a:gd name="connsiteX105" fmla="*/ 725827 w 4519952"/>
                    <a:gd name="connsiteY105" fmla="*/ 3876675 h 4496940"/>
                    <a:gd name="connsiteX106" fmla="*/ 697252 w 4519952"/>
                    <a:gd name="connsiteY106" fmla="*/ 3838575 h 4496940"/>
                    <a:gd name="connsiteX107" fmla="*/ 640102 w 4519952"/>
                    <a:gd name="connsiteY107" fmla="*/ 3781425 h 4496940"/>
                    <a:gd name="connsiteX108" fmla="*/ 611527 w 4519952"/>
                    <a:gd name="connsiteY108" fmla="*/ 3733800 h 4496940"/>
                    <a:gd name="connsiteX109" fmla="*/ 554377 w 4519952"/>
                    <a:gd name="connsiteY109" fmla="*/ 3657600 h 4496940"/>
                    <a:gd name="connsiteX110" fmla="*/ 525802 w 4519952"/>
                    <a:gd name="connsiteY110" fmla="*/ 3609975 h 4496940"/>
                    <a:gd name="connsiteX111" fmla="*/ 497227 w 4519952"/>
                    <a:gd name="connsiteY111" fmla="*/ 3552825 h 4496940"/>
                    <a:gd name="connsiteX112" fmla="*/ 440077 w 4519952"/>
                    <a:gd name="connsiteY112" fmla="*/ 3495675 h 4496940"/>
                    <a:gd name="connsiteX113" fmla="*/ 411502 w 4519952"/>
                    <a:gd name="connsiteY113" fmla="*/ 3448050 h 4496940"/>
                    <a:gd name="connsiteX114" fmla="*/ 278152 w 4519952"/>
                    <a:gd name="connsiteY114" fmla="*/ 3257550 h 4496940"/>
                    <a:gd name="connsiteX115" fmla="*/ 249577 w 4519952"/>
                    <a:gd name="connsiteY115" fmla="*/ 3200400 h 4496940"/>
                    <a:gd name="connsiteX116" fmla="*/ 240052 w 4519952"/>
                    <a:gd name="connsiteY116" fmla="*/ 3162300 h 4496940"/>
                    <a:gd name="connsiteX117" fmla="*/ 221002 w 4519952"/>
                    <a:gd name="connsiteY117" fmla="*/ 3105150 h 4496940"/>
                    <a:gd name="connsiteX118" fmla="*/ 173377 w 4519952"/>
                    <a:gd name="connsiteY118" fmla="*/ 3019425 h 4496940"/>
                    <a:gd name="connsiteX119" fmla="*/ 144802 w 4519952"/>
                    <a:gd name="connsiteY119" fmla="*/ 2924175 h 4496940"/>
                    <a:gd name="connsiteX120" fmla="*/ 68602 w 4519952"/>
                    <a:gd name="connsiteY120" fmla="*/ 2724150 h 4496940"/>
                    <a:gd name="connsiteX121" fmla="*/ 49552 w 4519952"/>
                    <a:gd name="connsiteY121" fmla="*/ 2638425 h 4496940"/>
                    <a:gd name="connsiteX122" fmla="*/ 40027 w 4519952"/>
                    <a:gd name="connsiteY122" fmla="*/ 2562225 h 4496940"/>
                    <a:gd name="connsiteX123" fmla="*/ 30502 w 4519952"/>
                    <a:gd name="connsiteY123" fmla="*/ 2514600 h 4496940"/>
                    <a:gd name="connsiteX124" fmla="*/ 11452 w 4519952"/>
                    <a:gd name="connsiteY124" fmla="*/ 2400300 h 4496940"/>
                    <a:gd name="connsiteX125" fmla="*/ 20977 w 4519952"/>
                    <a:gd name="connsiteY125" fmla="*/ 1905000 h 4496940"/>
                    <a:gd name="connsiteX126" fmla="*/ 30502 w 4519952"/>
                    <a:gd name="connsiteY126" fmla="*/ 1838325 h 4496940"/>
                    <a:gd name="connsiteX127" fmla="*/ 49552 w 4519952"/>
                    <a:gd name="connsiteY127" fmla="*/ 1781175 h 4496940"/>
                    <a:gd name="connsiteX128" fmla="*/ 59077 w 4519952"/>
                    <a:gd name="connsiteY128" fmla="*/ 1743075 h 4496940"/>
                    <a:gd name="connsiteX129" fmla="*/ 78127 w 4519952"/>
                    <a:gd name="connsiteY129" fmla="*/ 1685925 h 4496940"/>
                    <a:gd name="connsiteX130" fmla="*/ 87652 w 4519952"/>
                    <a:gd name="connsiteY130" fmla="*/ 1638300 h 4496940"/>
                    <a:gd name="connsiteX131" fmla="*/ 106702 w 4519952"/>
                    <a:gd name="connsiteY131" fmla="*/ 1590675 h 4496940"/>
                    <a:gd name="connsiteX132" fmla="*/ 135277 w 4519952"/>
                    <a:gd name="connsiteY132" fmla="*/ 1504950 h 4496940"/>
                    <a:gd name="connsiteX133" fmla="*/ 154327 w 4519952"/>
                    <a:gd name="connsiteY133" fmla="*/ 1419225 h 4496940"/>
                    <a:gd name="connsiteX134" fmla="*/ 230527 w 4519952"/>
                    <a:gd name="connsiteY134" fmla="*/ 1276350 h 4496940"/>
                    <a:gd name="connsiteX135" fmla="*/ 240052 w 4519952"/>
                    <a:gd name="connsiteY135" fmla="*/ 1247775 h 4496940"/>
                    <a:gd name="connsiteX136" fmla="*/ 268627 w 4519952"/>
                    <a:gd name="connsiteY136" fmla="*/ 1200150 h 4496940"/>
                    <a:gd name="connsiteX137" fmla="*/ 287677 w 4519952"/>
                    <a:gd name="connsiteY137" fmla="*/ 1152525 h 4496940"/>
                    <a:gd name="connsiteX138" fmla="*/ 316252 w 4519952"/>
                    <a:gd name="connsiteY138" fmla="*/ 1114425 h 4496940"/>
                    <a:gd name="connsiteX139" fmla="*/ 363877 w 4519952"/>
                    <a:gd name="connsiteY139" fmla="*/ 1038225 h 4496940"/>
                    <a:gd name="connsiteX140" fmla="*/ 382927 w 4519952"/>
                    <a:gd name="connsiteY140" fmla="*/ 1009650 h 4496940"/>
                    <a:gd name="connsiteX141" fmla="*/ 440077 w 4519952"/>
                    <a:gd name="connsiteY141" fmla="*/ 904875 h 4496940"/>
                    <a:gd name="connsiteX142" fmla="*/ 478177 w 4519952"/>
                    <a:gd name="connsiteY142" fmla="*/ 857250 h 4496940"/>
                    <a:gd name="connsiteX143" fmla="*/ 497227 w 4519952"/>
                    <a:gd name="connsiteY143" fmla="*/ 828675 h 4496940"/>
                    <a:gd name="connsiteX144" fmla="*/ 535327 w 4519952"/>
                    <a:gd name="connsiteY144" fmla="*/ 800100 h 4496940"/>
                    <a:gd name="connsiteX145" fmla="*/ 602002 w 4519952"/>
                    <a:gd name="connsiteY145" fmla="*/ 733425 h 4496940"/>
                    <a:gd name="connsiteX146" fmla="*/ 668677 w 4519952"/>
                    <a:gd name="connsiteY146" fmla="*/ 676275 h 4496940"/>
                    <a:gd name="connsiteX147" fmla="*/ 697252 w 4519952"/>
                    <a:gd name="connsiteY147" fmla="*/ 657225 h 4496940"/>
                    <a:gd name="connsiteX148" fmla="*/ 840127 w 4519952"/>
                    <a:gd name="connsiteY148" fmla="*/ 533400 h 4496940"/>
                    <a:gd name="connsiteX149" fmla="*/ 887752 w 4519952"/>
                    <a:gd name="connsiteY149" fmla="*/ 504825 h 4496940"/>
                    <a:gd name="connsiteX150" fmla="*/ 1167152 w 4519952"/>
                    <a:gd name="connsiteY150" fmla="*/ 311150 h 4496940"/>
                    <a:gd name="connsiteX151" fmla="*/ 1268752 w 4519952"/>
                    <a:gd name="connsiteY151" fmla="*/ 285750 h 4496940"/>
                    <a:gd name="connsiteX152" fmla="*/ 1411627 w 4519952"/>
                    <a:gd name="connsiteY152" fmla="*/ 190500 h 4496940"/>
                    <a:gd name="connsiteX153" fmla="*/ 1449727 w 4519952"/>
                    <a:gd name="connsiteY153" fmla="*/ 161925 h 4496940"/>
                    <a:gd name="connsiteX154" fmla="*/ 1525927 w 4519952"/>
                    <a:gd name="connsiteY154" fmla="*/ 152400 h 4496940"/>
                    <a:gd name="connsiteX155" fmla="*/ 1583077 w 4519952"/>
                    <a:gd name="connsiteY155" fmla="*/ 142875 h 4496940"/>
                    <a:gd name="connsiteX156" fmla="*/ 1716427 w 4519952"/>
                    <a:gd name="connsiteY156" fmla="*/ 123825 h 4496940"/>
                    <a:gd name="connsiteX157" fmla="*/ 1811677 w 4519952"/>
                    <a:gd name="connsiteY157" fmla="*/ 114300 h 4496940"/>
                    <a:gd name="connsiteX158" fmla="*/ 1859302 w 4519952"/>
                    <a:gd name="connsiteY158" fmla="*/ 104775 h 4496940"/>
                    <a:gd name="connsiteX159" fmla="*/ 1916452 w 4519952"/>
                    <a:gd name="connsiteY159" fmla="*/ 95250 h 4496940"/>
                    <a:gd name="connsiteX160" fmla="*/ 2030752 w 4519952"/>
                    <a:gd name="connsiteY160" fmla="*/ 66675 h 4496940"/>
                    <a:gd name="connsiteX161" fmla="*/ 2097427 w 4519952"/>
                    <a:gd name="connsiteY161" fmla="*/ 47625 h 4496940"/>
                    <a:gd name="connsiteX162" fmla="*/ 2164102 w 4519952"/>
                    <a:gd name="connsiteY162" fmla="*/ 38100 h 4496940"/>
                    <a:gd name="connsiteX163" fmla="*/ 2392702 w 4519952"/>
                    <a:gd name="connsiteY163" fmla="*/ 28575 h 4496940"/>
                    <a:gd name="connsiteX0" fmla="*/ 2297452 w 4519952"/>
                    <a:gd name="connsiteY0" fmla="*/ 0 h 4496940"/>
                    <a:gd name="connsiteX1" fmla="*/ 2421277 w 4519952"/>
                    <a:gd name="connsiteY1" fmla="*/ 28575 h 4496940"/>
                    <a:gd name="connsiteX2" fmla="*/ 2497477 w 4519952"/>
                    <a:gd name="connsiteY2" fmla="*/ 47625 h 4496940"/>
                    <a:gd name="connsiteX3" fmla="*/ 2754652 w 4519952"/>
                    <a:gd name="connsiteY3" fmla="*/ 66675 h 4496940"/>
                    <a:gd name="connsiteX4" fmla="*/ 2830852 w 4519952"/>
                    <a:gd name="connsiteY4" fmla="*/ 76200 h 4496940"/>
                    <a:gd name="connsiteX5" fmla="*/ 2916577 w 4519952"/>
                    <a:gd name="connsiteY5" fmla="*/ 85725 h 4496940"/>
                    <a:gd name="connsiteX6" fmla="*/ 2973727 w 4519952"/>
                    <a:gd name="connsiteY6" fmla="*/ 114300 h 4496940"/>
                    <a:gd name="connsiteX7" fmla="*/ 3011827 w 4519952"/>
                    <a:gd name="connsiteY7" fmla="*/ 123825 h 4496940"/>
                    <a:gd name="connsiteX8" fmla="*/ 3135652 w 4519952"/>
                    <a:gd name="connsiteY8" fmla="*/ 171450 h 4496940"/>
                    <a:gd name="connsiteX9" fmla="*/ 3173752 w 4519952"/>
                    <a:gd name="connsiteY9" fmla="*/ 190500 h 4496940"/>
                    <a:gd name="connsiteX10" fmla="*/ 3240427 w 4519952"/>
                    <a:gd name="connsiteY10" fmla="*/ 228600 h 4496940"/>
                    <a:gd name="connsiteX11" fmla="*/ 3269002 w 4519952"/>
                    <a:gd name="connsiteY11" fmla="*/ 238125 h 4496940"/>
                    <a:gd name="connsiteX12" fmla="*/ 3297577 w 4519952"/>
                    <a:gd name="connsiteY12" fmla="*/ 257175 h 4496940"/>
                    <a:gd name="connsiteX13" fmla="*/ 3326152 w 4519952"/>
                    <a:gd name="connsiteY13" fmla="*/ 266700 h 4496940"/>
                    <a:gd name="connsiteX14" fmla="*/ 3354727 w 4519952"/>
                    <a:gd name="connsiteY14" fmla="*/ 285750 h 4496940"/>
                    <a:gd name="connsiteX15" fmla="*/ 3421402 w 4519952"/>
                    <a:gd name="connsiteY15" fmla="*/ 323850 h 4496940"/>
                    <a:gd name="connsiteX16" fmla="*/ 3469027 w 4519952"/>
                    <a:gd name="connsiteY16" fmla="*/ 361950 h 4496940"/>
                    <a:gd name="connsiteX17" fmla="*/ 3516652 w 4519952"/>
                    <a:gd name="connsiteY17" fmla="*/ 390525 h 4496940"/>
                    <a:gd name="connsiteX18" fmla="*/ 3545227 w 4519952"/>
                    <a:gd name="connsiteY18" fmla="*/ 419100 h 4496940"/>
                    <a:gd name="connsiteX19" fmla="*/ 3602377 w 4519952"/>
                    <a:gd name="connsiteY19" fmla="*/ 457200 h 4496940"/>
                    <a:gd name="connsiteX20" fmla="*/ 3630952 w 4519952"/>
                    <a:gd name="connsiteY20" fmla="*/ 485775 h 4496940"/>
                    <a:gd name="connsiteX21" fmla="*/ 3678577 w 4519952"/>
                    <a:gd name="connsiteY21" fmla="*/ 504825 h 4496940"/>
                    <a:gd name="connsiteX22" fmla="*/ 3745252 w 4519952"/>
                    <a:gd name="connsiteY22" fmla="*/ 542925 h 4496940"/>
                    <a:gd name="connsiteX23" fmla="*/ 3811927 w 4519952"/>
                    <a:gd name="connsiteY23" fmla="*/ 581025 h 4496940"/>
                    <a:gd name="connsiteX24" fmla="*/ 3840502 w 4519952"/>
                    <a:gd name="connsiteY24" fmla="*/ 600075 h 4496940"/>
                    <a:gd name="connsiteX25" fmla="*/ 3869077 w 4519952"/>
                    <a:gd name="connsiteY25" fmla="*/ 628650 h 4496940"/>
                    <a:gd name="connsiteX26" fmla="*/ 3907177 w 4519952"/>
                    <a:gd name="connsiteY26" fmla="*/ 647700 h 4496940"/>
                    <a:gd name="connsiteX27" fmla="*/ 3935752 w 4519952"/>
                    <a:gd name="connsiteY27" fmla="*/ 676275 h 4496940"/>
                    <a:gd name="connsiteX28" fmla="*/ 3992902 w 4519952"/>
                    <a:gd name="connsiteY28" fmla="*/ 714375 h 4496940"/>
                    <a:gd name="connsiteX29" fmla="*/ 4050052 w 4519952"/>
                    <a:gd name="connsiteY29" fmla="*/ 790575 h 4496940"/>
                    <a:gd name="connsiteX30" fmla="*/ 4078627 w 4519952"/>
                    <a:gd name="connsiteY30" fmla="*/ 838200 h 4496940"/>
                    <a:gd name="connsiteX31" fmla="*/ 4107202 w 4519952"/>
                    <a:gd name="connsiteY31" fmla="*/ 876300 h 4496940"/>
                    <a:gd name="connsiteX32" fmla="*/ 4116727 w 4519952"/>
                    <a:gd name="connsiteY32" fmla="*/ 904875 h 4496940"/>
                    <a:gd name="connsiteX33" fmla="*/ 4135777 w 4519952"/>
                    <a:gd name="connsiteY33" fmla="*/ 933450 h 4496940"/>
                    <a:gd name="connsiteX34" fmla="*/ 4164352 w 4519952"/>
                    <a:gd name="connsiteY34" fmla="*/ 990600 h 4496940"/>
                    <a:gd name="connsiteX35" fmla="*/ 4173877 w 4519952"/>
                    <a:gd name="connsiteY35" fmla="*/ 1019175 h 4496940"/>
                    <a:gd name="connsiteX36" fmla="*/ 4192927 w 4519952"/>
                    <a:gd name="connsiteY36" fmla="*/ 1057275 h 4496940"/>
                    <a:gd name="connsiteX37" fmla="*/ 4202452 w 4519952"/>
                    <a:gd name="connsiteY37" fmla="*/ 1085850 h 4496940"/>
                    <a:gd name="connsiteX38" fmla="*/ 4250077 w 4519952"/>
                    <a:gd name="connsiteY38" fmla="*/ 1143000 h 4496940"/>
                    <a:gd name="connsiteX39" fmla="*/ 4259602 w 4519952"/>
                    <a:gd name="connsiteY39" fmla="*/ 1190625 h 4496940"/>
                    <a:gd name="connsiteX40" fmla="*/ 4307227 w 4519952"/>
                    <a:gd name="connsiteY40" fmla="*/ 1266825 h 4496940"/>
                    <a:gd name="connsiteX41" fmla="*/ 4345327 w 4519952"/>
                    <a:gd name="connsiteY41" fmla="*/ 1362075 h 4496940"/>
                    <a:gd name="connsiteX42" fmla="*/ 4373902 w 4519952"/>
                    <a:gd name="connsiteY42" fmla="*/ 1428750 h 4496940"/>
                    <a:gd name="connsiteX43" fmla="*/ 4392952 w 4519952"/>
                    <a:gd name="connsiteY43" fmla="*/ 1552575 h 4496940"/>
                    <a:gd name="connsiteX44" fmla="*/ 4402477 w 4519952"/>
                    <a:gd name="connsiteY44" fmla="*/ 1590675 h 4496940"/>
                    <a:gd name="connsiteX45" fmla="*/ 4431052 w 4519952"/>
                    <a:gd name="connsiteY45" fmla="*/ 1685925 h 4496940"/>
                    <a:gd name="connsiteX46" fmla="*/ 4459627 w 4519952"/>
                    <a:gd name="connsiteY46" fmla="*/ 1828800 h 4496940"/>
                    <a:gd name="connsiteX47" fmla="*/ 4519952 w 4519952"/>
                    <a:gd name="connsiteY47" fmla="*/ 2181225 h 4496940"/>
                    <a:gd name="connsiteX48" fmla="*/ 4440577 w 4519952"/>
                    <a:gd name="connsiteY48" fmla="*/ 2876550 h 4496940"/>
                    <a:gd name="connsiteX49" fmla="*/ 4383427 w 4519952"/>
                    <a:gd name="connsiteY49" fmla="*/ 2990850 h 4496940"/>
                    <a:gd name="connsiteX50" fmla="*/ 4354852 w 4519952"/>
                    <a:gd name="connsiteY50" fmla="*/ 3057525 h 4496940"/>
                    <a:gd name="connsiteX51" fmla="*/ 4335802 w 4519952"/>
                    <a:gd name="connsiteY51" fmla="*/ 3095625 h 4496940"/>
                    <a:gd name="connsiteX52" fmla="*/ 4278652 w 4519952"/>
                    <a:gd name="connsiteY52" fmla="*/ 3248025 h 4496940"/>
                    <a:gd name="connsiteX53" fmla="*/ 4259602 w 4519952"/>
                    <a:gd name="connsiteY53" fmla="*/ 3276600 h 4496940"/>
                    <a:gd name="connsiteX54" fmla="*/ 4221502 w 4519952"/>
                    <a:gd name="connsiteY54" fmla="*/ 3333750 h 4496940"/>
                    <a:gd name="connsiteX55" fmla="*/ 4211977 w 4519952"/>
                    <a:gd name="connsiteY55" fmla="*/ 3362325 h 4496940"/>
                    <a:gd name="connsiteX56" fmla="*/ 4183402 w 4519952"/>
                    <a:gd name="connsiteY56" fmla="*/ 3400425 h 4496940"/>
                    <a:gd name="connsiteX57" fmla="*/ 4164352 w 4519952"/>
                    <a:gd name="connsiteY57" fmla="*/ 3429000 h 4496940"/>
                    <a:gd name="connsiteX58" fmla="*/ 4088152 w 4519952"/>
                    <a:gd name="connsiteY58" fmla="*/ 3495675 h 4496940"/>
                    <a:gd name="connsiteX59" fmla="*/ 4059577 w 4519952"/>
                    <a:gd name="connsiteY59" fmla="*/ 3533775 h 4496940"/>
                    <a:gd name="connsiteX60" fmla="*/ 4002427 w 4519952"/>
                    <a:gd name="connsiteY60" fmla="*/ 3600450 h 4496940"/>
                    <a:gd name="connsiteX61" fmla="*/ 3983377 w 4519952"/>
                    <a:gd name="connsiteY61" fmla="*/ 3629025 h 4496940"/>
                    <a:gd name="connsiteX62" fmla="*/ 3954802 w 4519952"/>
                    <a:gd name="connsiteY62" fmla="*/ 3648075 h 4496940"/>
                    <a:gd name="connsiteX63" fmla="*/ 3907177 w 4519952"/>
                    <a:gd name="connsiteY63" fmla="*/ 3686175 h 4496940"/>
                    <a:gd name="connsiteX64" fmla="*/ 3869077 w 4519952"/>
                    <a:gd name="connsiteY64" fmla="*/ 3724275 h 4496940"/>
                    <a:gd name="connsiteX65" fmla="*/ 3792877 w 4519952"/>
                    <a:gd name="connsiteY65" fmla="*/ 3781425 h 4496940"/>
                    <a:gd name="connsiteX66" fmla="*/ 3783352 w 4519952"/>
                    <a:gd name="connsiteY66" fmla="*/ 3810000 h 4496940"/>
                    <a:gd name="connsiteX67" fmla="*/ 3745252 w 4519952"/>
                    <a:gd name="connsiteY67" fmla="*/ 3819525 h 4496940"/>
                    <a:gd name="connsiteX68" fmla="*/ 3678577 w 4519952"/>
                    <a:gd name="connsiteY68" fmla="*/ 3848100 h 4496940"/>
                    <a:gd name="connsiteX69" fmla="*/ 3659527 w 4519952"/>
                    <a:gd name="connsiteY69" fmla="*/ 3971925 h 4496940"/>
                    <a:gd name="connsiteX70" fmla="*/ 3630952 w 4519952"/>
                    <a:gd name="connsiteY70" fmla="*/ 4010025 h 4496940"/>
                    <a:gd name="connsiteX71" fmla="*/ 3621427 w 4519952"/>
                    <a:gd name="connsiteY71" fmla="*/ 4038600 h 4496940"/>
                    <a:gd name="connsiteX72" fmla="*/ 3554752 w 4519952"/>
                    <a:gd name="connsiteY72" fmla="*/ 4095750 h 4496940"/>
                    <a:gd name="connsiteX73" fmla="*/ 3516652 w 4519952"/>
                    <a:gd name="connsiteY73" fmla="*/ 4114800 h 4496940"/>
                    <a:gd name="connsiteX74" fmla="*/ 3497602 w 4519952"/>
                    <a:gd name="connsiteY74" fmla="*/ 4143375 h 4496940"/>
                    <a:gd name="connsiteX75" fmla="*/ 3383302 w 4519952"/>
                    <a:gd name="connsiteY75" fmla="*/ 4210050 h 4496940"/>
                    <a:gd name="connsiteX76" fmla="*/ 3335677 w 4519952"/>
                    <a:gd name="connsiteY76" fmla="*/ 4238625 h 4496940"/>
                    <a:gd name="connsiteX77" fmla="*/ 3288052 w 4519952"/>
                    <a:gd name="connsiteY77" fmla="*/ 4248150 h 4496940"/>
                    <a:gd name="connsiteX78" fmla="*/ 3240427 w 4519952"/>
                    <a:gd name="connsiteY78" fmla="*/ 4267200 h 4496940"/>
                    <a:gd name="connsiteX79" fmla="*/ 3068977 w 4519952"/>
                    <a:gd name="connsiteY79" fmla="*/ 4286250 h 4496940"/>
                    <a:gd name="connsiteX80" fmla="*/ 2935627 w 4519952"/>
                    <a:gd name="connsiteY80" fmla="*/ 4333875 h 4496940"/>
                    <a:gd name="connsiteX81" fmla="*/ 2811802 w 4519952"/>
                    <a:gd name="connsiteY81" fmla="*/ 4371975 h 4496940"/>
                    <a:gd name="connsiteX82" fmla="*/ 2745127 w 4519952"/>
                    <a:gd name="connsiteY82" fmla="*/ 4410075 h 4496940"/>
                    <a:gd name="connsiteX83" fmla="*/ 2697502 w 4519952"/>
                    <a:gd name="connsiteY83" fmla="*/ 4429125 h 4496940"/>
                    <a:gd name="connsiteX84" fmla="*/ 2640352 w 4519952"/>
                    <a:gd name="connsiteY84" fmla="*/ 4457700 h 4496940"/>
                    <a:gd name="connsiteX85" fmla="*/ 2583202 w 4519952"/>
                    <a:gd name="connsiteY85" fmla="*/ 4467225 h 4496940"/>
                    <a:gd name="connsiteX86" fmla="*/ 2545102 w 4519952"/>
                    <a:gd name="connsiteY86" fmla="*/ 4486275 h 4496940"/>
                    <a:gd name="connsiteX87" fmla="*/ 2306977 w 4519952"/>
                    <a:gd name="connsiteY87" fmla="*/ 4476750 h 4496940"/>
                    <a:gd name="connsiteX88" fmla="*/ 2202202 w 4519952"/>
                    <a:gd name="connsiteY88" fmla="*/ 4457700 h 4496940"/>
                    <a:gd name="connsiteX89" fmla="*/ 2126002 w 4519952"/>
                    <a:gd name="connsiteY89" fmla="*/ 4429125 h 4496940"/>
                    <a:gd name="connsiteX90" fmla="*/ 1935502 w 4519952"/>
                    <a:gd name="connsiteY90" fmla="*/ 4400550 h 4496940"/>
                    <a:gd name="connsiteX91" fmla="*/ 1821202 w 4519952"/>
                    <a:gd name="connsiteY91" fmla="*/ 4371975 h 4496940"/>
                    <a:gd name="connsiteX92" fmla="*/ 1754527 w 4519952"/>
                    <a:gd name="connsiteY92" fmla="*/ 4352925 h 4496940"/>
                    <a:gd name="connsiteX93" fmla="*/ 1687852 w 4519952"/>
                    <a:gd name="connsiteY93" fmla="*/ 4343400 h 4496940"/>
                    <a:gd name="connsiteX94" fmla="*/ 1573552 w 4519952"/>
                    <a:gd name="connsiteY94" fmla="*/ 4305300 h 4496940"/>
                    <a:gd name="connsiteX95" fmla="*/ 1402102 w 4519952"/>
                    <a:gd name="connsiteY95" fmla="*/ 4276725 h 4496940"/>
                    <a:gd name="connsiteX96" fmla="*/ 1287802 w 4519952"/>
                    <a:gd name="connsiteY96" fmla="*/ 4229100 h 4496940"/>
                    <a:gd name="connsiteX97" fmla="*/ 1221127 w 4519952"/>
                    <a:gd name="connsiteY97" fmla="*/ 4200525 h 4496940"/>
                    <a:gd name="connsiteX98" fmla="*/ 1144927 w 4519952"/>
                    <a:gd name="connsiteY98" fmla="*/ 4171950 h 4496940"/>
                    <a:gd name="connsiteX99" fmla="*/ 1087777 w 4519952"/>
                    <a:gd name="connsiteY99" fmla="*/ 4143375 h 4496940"/>
                    <a:gd name="connsiteX100" fmla="*/ 1030627 w 4519952"/>
                    <a:gd name="connsiteY100" fmla="*/ 4124325 h 4496940"/>
                    <a:gd name="connsiteX101" fmla="*/ 925852 w 4519952"/>
                    <a:gd name="connsiteY101" fmla="*/ 4067175 h 4496940"/>
                    <a:gd name="connsiteX102" fmla="*/ 830602 w 4519952"/>
                    <a:gd name="connsiteY102" fmla="*/ 3981450 h 4496940"/>
                    <a:gd name="connsiteX103" fmla="*/ 763927 w 4519952"/>
                    <a:gd name="connsiteY103" fmla="*/ 3914775 h 4496940"/>
                    <a:gd name="connsiteX104" fmla="*/ 725827 w 4519952"/>
                    <a:gd name="connsiteY104" fmla="*/ 3876675 h 4496940"/>
                    <a:gd name="connsiteX105" fmla="*/ 697252 w 4519952"/>
                    <a:gd name="connsiteY105" fmla="*/ 3838575 h 4496940"/>
                    <a:gd name="connsiteX106" fmla="*/ 640102 w 4519952"/>
                    <a:gd name="connsiteY106" fmla="*/ 3781425 h 4496940"/>
                    <a:gd name="connsiteX107" fmla="*/ 611527 w 4519952"/>
                    <a:gd name="connsiteY107" fmla="*/ 3733800 h 4496940"/>
                    <a:gd name="connsiteX108" fmla="*/ 554377 w 4519952"/>
                    <a:gd name="connsiteY108" fmla="*/ 3657600 h 4496940"/>
                    <a:gd name="connsiteX109" fmla="*/ 525802 w 4519952"/>
                    <a:gd name="connsiteY109" fmla="*/ 3609975 h 4496940"/>
                    <a:gd name="connsiteX110" fmla="*/ 497227 w 4519952"/>
                    <a:gd name="connsiteY110" fmla="*/ 3552825 h 4496940"/>
                    <a:gd name="connsiteX111" fmla="*/ 440077 w 4519952"/>
                    <a:gd name="connsiteY111" fmla="*/ 3495675 h 4496940"/>
                    <a:gd name="connsiteX112" fmla="*/ 411502 w 4519952"/>
                    <a:gd name="connsiteY112" fmla="*/ 3448050 h 4496940"/>
                    <a:gd name="connsiteX113" fmla="*/ 278152 w 4519952"/>
                    <a:gd name="connsiteY113" fmla="*/ 3257550 h 4496940"/>
                    <a:gd name="connsiteX114" fmla="*/ 249577 w 4519952"/>
                    <a:gd name="connsiteY114" fmla="*/ 3200400 h 4496940"/>
                    <a:gd name="connsiteX115" fmla="*/ 240052 w 4519952"/>
                    <a:gd name="connsiteY115" fmla="*/ 3162300 h 4496940"/>
                    <a:gd name="connsiteX116" fmla="*/ 221002 w 4519952"/>
                    <a:gd name="connsiteY116" fmla="*/ 3105150 h 4496940"/>
                    <a:gd name="connsiteX117" fmla="*/ 173377 w 4519952"/>
                    <a:gd name="connsiteY117" fmla="*/ 3019425 h 4496940"/>
                    <a:gd name="connsiteX118" fmla="*/ 144802 w 4519952"/>
                    <a:gd name="connsiteY118" fmla="*/ 2924175 h 4496940"/>
                    <a:gd name="connsiteX119" fmla="*/ 68602 w 4519952"/>
                    <a:gd name="connsiteY119" fmla="*/ 2724150 h 4496940"/>
                    <a:gd name="connsiteX120" fmla="*/ 49552 w 4519952"/>
                    <a:gd name="connsiteY120" fmla="*/ 2638425 h 4496940"/>
                    <a:gd name="connsiteX121" fmla="*/ 40027 w 4519952"/>
                    <a:gd name="connsiteY121" fmla="*/ 2562225 h 4496940"/>
                    <a:gd name="connsiteX122" fmla="*/ 30502 w 4519952"/>
                    <a:gd name="connsiteY122" fmla="*/ 2514600 h 4496940"/>
                    <a:gd name="connsiteX123" fmla="*/ 11452 w 4519952"/>
                    <a:gd name="connsiteY123" fmla="*/ 2400300 h 4496940"/>
                    <a:gd name="connsiteX124" fmla="*/ 20977 w 4519952"/>
                    <a:gd name="connsiteY124" fmla="*/ 1905000 h 4496940"/>
                    <a:gd name="connsiteX125" fmla="*/ 30502 w 4519952"/>
                    <a:gd name="connsiteY125" fmla="*/ 1838325 h 4496940"/>
                    <a:gd name="connsiteX126" fmla="*/ 49552 w 4519952"/>
                    <a:gd name="connsiteY126" fmla="*/ 1781175 h 4496940"/>
                    <a:gd name="connsiteX127" fmla="*/ 59077 w 4519952"/>
                    <a:gd name="connsiteY127" fmla="*/ 1743075 h 4496940"/>
                    <a:gd name="connsiteX128" fmla="*/ 78127 w 4519952"/>
                    <a:gd name="connsiteY128" fmla="*/ 1685925 h 4496940"/>
                    <a:gd name="connsiteX129" fmla="*/ 87652 w 4519952"/>
                    <a:gd name="connsiteY129" fmla="*/ 1638300 h 4496940"/>
                    <a:gd name="connsiteX130" fmla="*/ 106702 w 4519952"/>
                    <a:gd name="connsiteY130" fmla="*/ 1590675 h 4496940"/>
                    <a:gd name="connsiteX131" fmla="*/ 135277 w 4519952"/>
                    <a:gd name="connsiteY131" fmla="*/ 1504950 h 4496940"/>
                    <a:gd name="connsiteX132" fmla="*/ 154327 w 4519952"/>
                    <a:gd name="connsiteY132" fmla="*/ 1419225 h 4496940"/>
                    <a:gd name="connsiteX133" fmla="*/ 230527 w 4519952"/>
                    <a:gd name="connsiteY133" fmla="*/ 1276350 h 4496940"/>
                    <a:gd name="connsiteX134" fmla="*/ 240052 w 4519952"/>
                    <a:gd name="connsiteY134" fmla="*/ 1247775 h 4496940"/>
                    <a:gd name="connsiteX135" fmla="*/ 268627 w 4519952"/>
                    <a:gd name="connsiteY135" fmla="*/ 1200150 h 4496940"/>
                    <a:gd name="connsiteX136" fmla="*/ 287677 w 4519952"/>
                    <a:gd name="connsiteY136" fmla="*/ 1152525 h 4496940"/>
                    <a:gd name="connsiteX137" fmla="*/ 316252 w 4519952"/>
                    <a:gd name="connsiteY137" fmla="*/ 1114425 h 4496940"/>
                    <a:gd name="connsiteX138" fmla="*/ 363877 w 4519952"/>
                    <a:gd name="connsiteY138" fmla="*/ 1038225 h 4496940"/>
                    <a:gd name="connsiteX139" fmla="*/ 382927 w 4519952"/>
                    <a:gd name="connsiteY139" fmla="*/ 1009650 h 4496940"/>
                    <a:gd name="connsiteX140" fmla="*/ 440077 w 4519952"/>
                    <a:gd name="connsiteY140" fmla="*/ 904875 h 4496940"/>
                    <a:gd name="connsiteX141" fmla="*/ 478177 w 4519952"/>
                    <a:gd name="connsiteY141" fmla="*/ 857250 h 4496940"/>
                    <a:gd name="connsiteX142" fmla="*/ 497227 w 4519952"/>
                    <a:gd name="connsiteY142" fmla="*/ 828675 h 4496940"/>
                    <a:gd name="connsiteX143" fmla="*/ 535327 w 4519952"/>
                    <a:gd name="connsiteY143" fmla="*/ 800100 h 4496940"/>
                    <a:gd name="connsiteX144" fmla="*/ 602002 w 4519952"/>
                    <a:gd name="connsiteY144" fmla="*/ 733425 h 4496940"/>
                    <a:gd name="connsiteX145" fmla="*/ 668677 w 4519952"/>
                    <a:gd name="connsiteY145" fmla="*/ 676275 h 4496940"/>
                    <a:gd name="connsiteX146" fmla="*/ 697252 w 4519952"/>
                    <a:gd name="connsiteY146" fmla="*/ 657225 h 4496940"/>
                    <a:gd name="connsiteX147" fmla="*/ 840127 w 4519952"/>
                    <a:gd name="connsiteY147" fmla="*/ 533400 h 4496940"/>
                    <a:gd name="connsiteX148" fmla="*/ 887752 w 4519952"/>
                    <a:gd name="connsiteY148" fmla="*/ 504825 h 4496940"/>
                    <a:gd name="connsiteX149" fmla="*/ 1167152 w 4519952"/>
                    <a:gd name="connsiteY149" fmla="*/ 311150 h 4496940"/>
                    <a:gd name="connsiteX150" fmla="*/ 1268752 w 4519952"/>
                    <a:gd name="connsiteY150" fmla="*/ 285750 h 4496940"/>
                    <a:gd name="connsiteX151" fmla="*/ 1411627 w 4519952"/>
                    <a:gd name="connsiteY151" fmla="*/ 190500 h 4496940"/>
                    <a:gd name="connsiteX152" fmla="*/ 1449727 w 4519952"/>
                    <a:gd name="connsiteY152" fmla="*/ 161925 h 4496940"/>
                    <a:gd name="connsiteX153" fmla="*/ 1525927 w 4519952"/>
                    <a:gd name="connsiteY153" fmla="*/ 152400 h 4496940"/>
                    <a:gd name="connsiteX154" fmla="*/ 1583077 w 4519952"/>
                    <a:gd name="connsiteY154" fmla="*/ 142875 h 4496940"/>
                    <a:gd name="connsiteX155" fmla="*/ 1716427 w 4519952"/>
                    <a:gd name="connsiteY155" fmla="*/ 123825 h 4496940"/>
                    <a:gd name="connsiteX156" fmla="*/ 1811677 w 4519952"/>
                    <a:gd name="connsiteY156" fmla="*/ 114300 h 4496940"/>
                    <a:gd name="connsiteX157" fmla="*/ 1859302 w 4519952"/>
                    <a:gd name="connsiteY157" fmla="*/ 104775 h 4496940"/>
                    <a:gd name="connsiteX158" fmla="*/ 1916452 w 4519952"/>
                    <a:gd name="connsiteY158" fmla="*/ 95250 h 4496940"/>
                    <a:gd name="connsiteX159" fmla="*/ 2030752 w 4519952"/>
                    <a:gd name="connsiteY159" fmla="*/ 66675 h 4496940"/>
                    <a:gd name="connsiteX160" fmla="*/ 2097427 w 4519952"/>
                    <a:gd name="connsiteY160" fmla="*/ 47625 h 4496940"/>
                    <a:gd name="connsiteX161" fmla="*/ 2164102 w 4519952"/>
                    <a:gd name="connsiteY161" fmla="*/ 38100 h 4496940"/>
                    <a:gd name="connsiteX162" fmla="*/ 2392702 w 4519952"/>
                    <a:gd name="connsiteY162" fmla="*/ 28575 h 4496940"/>
                    <a:gd name="connsiteX0" fmla="*/ 2297452 w 4519983"/>
                    <a:gd name="connsiteY0" fmla="*/ 0 h 4496940"/>
                    <a:gd name="connsiteX1" fmla="*/ 2421277 w 4519983"/>
                    <a:gd name="connsiteY1" fmla="*/ 28575 h 4496940"/>
                    <a:gd name="connsiteX2" fmla="*/ 2497477 w 4519983"/>
                    <a:gd name="connsiteY2" fmla="*/ 47625 h 4496940"/>
                    <a:gd name="connsiteX3" fmla="*/ 2754652 w 4519983"/>
                    <a:gd name="connsiteY3" fmla="*/ 66675 h 4496940"/>
                    <a:gd name="connsiteX4" fmla="*/ 2830852 w 4519983"/>
                    <a:gd name="connsiteY4" fmla="*/ 76200 h 4496940"/>
                    <a:gd name="connsiteX5" fmla="*/ 2916577 w 4519983"/>
                    <a:gd name="connsiteY5" fmla="*/ 85725 h 4496940"/>
                    <a:gd name="connsiteX6" fmla="*/ 2973727 w 4519983"/>
                    <a:gd name="connsiteY6" fmla="*/ 114300 h 4496940"/>
                    <a:gd name="connsiteX7" fmla="*/ 3011827 w 4519983"/>
                    <a:gd name="connsiteY7" fmla="*/ 123825 h 4496940"/>
                    <a:gd name="connsiteX8" fmla="*/ 3135652 w 4519983"/>
                    <a:gd name="connsiteY8" fmla="*/ 171450 h 4496940"/>
                    <a:gd name="connsiteX9" fmla="*/ 3173752 w 4519983"/>
                    <a:gd name="connsiteY9" fmla="*/ 190500 h 4496940"/>
                    <a:gd name="connsiteX10" fmla="*/ 3240427 w 4519983"/>
                    <a:gd name="connsiteY10" fmla="*/ 228600 h 4496940"/>
                    <a:gd name="connsiteX11" fmla="*/ 3269002 w 4519983"/>
                    <a:gd name="connsiteY11" fmla="*/ 238125 h 4496940"/>
                    <a:gd name="connsiteX12" fmla="*/ 3297577 w 4519983"/>
                    <a:gd name="connsiteY12" fmla="*/ 257175 h 4496940"/>
                    <a:gd name="connsiteX13" fmla="*/ 3326152 w 4519983"/>
                    <a:gd name="connsiteY13" fmla="*/ 266700 h 4496940"/>
                    <a:gd name="connsiteX14" fmla="*/ 3354727 w 4519983"/>
                    <a:gd name="connsiteY14" fmla="*/ 285750 h 4496940"/>
                    <a:gd name="connsiteX15" fmla="*/ 3421402 w 4519983"/>
                    <a:gd name="connsiteY15" fmla="*/ 323850 h 4496940"/>
                    <a:gd name="connsiteX16" fmla="*/ 3469027 w 4519983"/>
                    <a:gd name="connsiteY16" fmla="*/ 361950 h 4496940"/>
                    <a:gd name="connsiteX17" fmla="*/ 3516652 w 4519983"/>
                    <a:gd name="connsiteY17" fmla="*/ 390525 h 4496940"/>
                    <a:gd name="connsiteX18" fmla="*/ 3545227 w 4519983"/>
                    <a:gd name="connsiteY18" fmla="*/ 419100 h 4496940"/>
                    <a:gd name="connsiteX19" fmla="*/ 3602377 w 4519983"/>
                    <a:gd name="connsiteY19" fmla="*/ 457200 h 4496940"/>
                    <a:gd name="connsiteX20" fmla="*/ 3630952 w 4519983"/>
                    <a:gd name="connsiteY20" fmla="*/ 485775 h 4496940"/>
                    <a:gd name="connsiteX21" fmla="*/ 3678577 w 4519983"/>
                    <a:gd name="connsiteY21" fmla="*/ 504825 h 4496940"/>
                    <a:gd name="connsiteX22" fmla="*/ 3745252 w 4519983"/>
                    <a:gd name="connsiteY22" fmla="*/ 542925 h 4496940"/>
                    <a:gd name="connsiteX23" fmla="*/ 3811927 w 4519983"/>
                    <a:gd name="connsiteY23" fmla="*/ 581025 h 4496940"/>
                    <a:gd name="connsiteX24" fmla="*/ 3840502 w 4519983"/>
                    <a:gd name="connsiteY24" fmla="*/ 600075 h 4496940"/>
                    <a:gd name="connsiteX25" fmla="*/ 3869077 w 4519983"/>
                    <a:gd name="connsiteY25" fmla="*/ 628650 h 4496940"/>
                    <a:gd name="connsiteX26" fmla="*/ 3907177 w 4519983"/>
                    <a:gd name="connsiteY26" fmla="*/ 647700 h 4496940"/>
                    <a:gd name="connsiteX27" fmla="*/ 3935752 w 4519983"/>
                    <a:gd name="connsiteY27" fmla="*/ 676275 h 4496940"/>
                    <a:gd name="connsiteX28" fmla="*/ 3992902 w 4519983"/>
                    <a:gd name="connsiteY28" fmla="*/ 714375 h 4496940"/>
                    <a:gd name="connsiteX29" fmla="*/ 4050052 w 4519983"/>
                    <a:gd name="connsiteY29" fmla="*/ 790575 h 4496940"/>
                    <a:gd name="connsiteX30" fmla="*/ 4078627 w 4519983"/>
                    <a:gd name="connsiteY30" fmla="*/ 838200 h 4496940"/>
                    <a:gd name="connsiteX31" fmla="*/ 4107202 w 4519983"/>
                    <a:gd name="connsiteY31" fmla="*/ 876300 h 4496940"/>
                    <a:gd name="connsiteX32" fmla="*/ 4116727 w 4519983"/>
                    <a:gd name="connsiteY32" fmla="*/ 904875 h 4496940"/>
                    <a:gd name="connsiteX33" fmla="*/ 4135777 w 4519983"/>
                    <a:gd name="connsiteY33" fmla="*/ 933450 h 4496940"/>
                    <a:gd name="connsiteX34" fmla="*/ 4164352 w 4519983"/>
                    <a:gd name="connsiteY34" fmla="*/ 990600 h 4496940"/>
                    <a:gd name="connsiteX35" fmla="*/ 4173877 w 4519983"/>
                    <a:gd name="connsiteY35" fmla="*/ 1019175 h 4496940"/>
                    <a:gd name="connsiteX36" fmla="*/ 4192927 w 4519983"/>
                    <a:gd name="connsiteY36" fmla="*/ 1057275 h 4496940"/>
                    <a:gd name="connsiteX37" fmla="*/ 4202452 w 4519983"/>
                    <a:gd name="connsiteY37" fmla="*/ 1085850 h 4496940"/>
                    <a:gd name="connsiteX38" fmla="*/ 4250077 w 4519983"/>
                    <a:gd name="connsiteY38" fmla="*/ 1143000 h 4496940"/>
                    <a:gd name="connsiteX39" fmla="*/ 4259602 w 4519983"/>
                    <a:gd name="connsiteY39" fmla="*/ 1190625 h 4496940"/>
                    <a:gd name="connsiteX40" fmla="*/ 4307227 w 4519983"/>
                    <a:gd name="connsiteY40" fmla="*/ 1266825 h 4496940"/>
                    <a:gd name="connsiteX41" fmla="*/ 4345327 w 4519983"/>
                    <a:gd name="connsiteY41" fmla="*/ 1362075 h 4496940"/>
                    <a:gd name="connsiteX42" fmla="*/ 4373902 w 4519983"/>
                    <a:gd name="connsiteY42" fmla="*/ 1428750 h 4496940"/>
                    <a:gd name="connsiteX43" fmla="*/ 4392952 w 4519983"/>
                    <a:gd name="connsiteY43" fmla="*/ 1552575 h 4496940"/>
                    <a:gd name="connsiteX44" fmla="*/ 4402477 w 4519983"/>
                    <a:gd name="connsiteY44" fmla="*/ 1590675 h 4496940"/>
                    <a:gd name="connsiteX45" fmla="*/ 4431052 w 4519983"/>
                    <a:gd name="connsiteY45" fmla="*/ 1685925 h 4496940"/>
                    <a:gd name="connsiteX46" fmla="*/ 4519952 w 4519983"/>
                    <a:gd name="connsiteY46" fmla="*/ 2181225 h 4496940"/>
                    <a:gd name="connsiteX47" fmla="*/ 4440577 w 4519983"/>
                    <a:gd name="connsiteY47" fmla="*/ 2876550 h 4496940"/>
                    <a:gd name="connsiteX48" fmla="*/ 4383427 w 4519983"/>
                    <a:gd name="connsiteY48" fmla="*/ 2990850 h 4496940"/>
                    <a:gd name="connsiteX49" fmla="*/ 4354852 w 4519983"/>
                    <a:gd name="connsiteY49" fmla="*/ 3057525 h 4496940"/>
                    <a:gd name="connsiteX50" fmla="*/ 4335802 w 4519983"/>
                    <a:gd name="connsiteY50" fmla="*/ 3095625 h 4496940"/>
                    <a:gd name="connsiteX51" fmla="*/ 4278652 w 4519983"/>
                    <a:gd name="connsiteY51" fmla="*/ 3248025 h 4496940"/>
                    <a:gd name="connsiteX52" fmla="*/ 4259602 w 4519983"/>
                    <a:gd name="connsiteY52" fmla="*/ 3276600 h 4496940"/>
                    <a:gd name="connsiteX53" fmla="*/ 4221502 w 4519983"/>
                    <a:gd name="connsiteY53" fmla="*/ 3333750 h 4496940"/>
                    <a:gd name="connsiteX54" fmla="*/ 4211977 w 4519983"/>
                    <a:gd name="connsiteY54" fmla="*/ 3362325 h 4496940"/>
                    <a:gd name="connsiteX55" fmla="*/ 4183402 w 4519983"/>
                    <a:gd name="connsiteY55" fmla="*/ 3400425 h 4496940"/>
                    <a:gd name="connsiteX56" fmla="*/ 4164352 w 4519983"/>
                    <a:gd name="connsiteY56" fmla="*/ 3429000 h 4496940"/>
                    <a:gd name="connsiteX57" fmla="*/ 4088152 w 4519983"/>
                    <a:gd name="connsiteY57" fmla="*/ 3495675 h 4496940"/>
                    <a:gd name="connsiteX58" fmla="*/ 4059577 w 4519983"/>
                    <a:gd name="connsiteY58" fmla="*/ 3533775 h 4496940"/>
                    <a:gd name="connsiteX59" fmla="*/ 4002427 w 4519983"/>
                    <a:gd name="connsiteY59" fmla="*/ 3600450 h 4496940"/>
                    <a:gd name="connsiteX60" fmla="*/ 3983377 w 4519983"/>
                    <a:gd name="connsiteY60" fmla="*/ 3629025 h 4496940"/>
                    <a:gd name="connsiteX61" fmla="*/ 3954802 w 4519983"/>
                    <a:gd name="connsiteY61" fmla="*/ 3648075 h 4496940"/>
                    <a:gd name="connsiteX62" fmla="*/ 3907177 w 4519983"/>
                    <a:gd name="connsiteY62" fmla="*/ 3686175 h 4496940"/>
                    <a:gd name="connsiteX63" fmla="*/ 3869077 w 4519983"/>
                    <a:gd name="connsiteY63" fmla="*/ 3724275 h 4496940"/>
                    <a:gd name="connsiteX64" fmla="*/ 3792877 w 4519983"/>
                    <a:gd name="connsiteY64" fmla="*/ 3781425 h 4496940"/>
                    <a:gd name="connsiteX65" fmla="*/ 3783352 w 4519983"/>
                    <a:gd name="connsiteY65" fmla="*/ 3810000 h 4496940"/>
                    <a:gd name="connsiteX66" fmla="*/ 3745252 w 4519983"/>
                    <a:gd name="connsiteY66" fmla="*/ 3819525 h 4496940"/>
                    <a:gd name="connsiteX67" fmla="*/ 3678577 w 4519983"/>
                    <a:gd name="connsiteY67" fmla="*/ 3848100 h 4496940"/>
                    <a:gd name="connsiteX68" fmla="*/ 3659527 w 4519983"/>
                    <a:gd name="connsiteY68" fmla="*/ 3971925 h 4496940"/>
                    <a:gd name="connsiteX69" fmla="*/ 3630952 w 4519983"/>
                    <a:gd name="connsiteY69" fmla="*/ 4010025 h 4496940"/>
                    <a:gd name="connsiteX70" fmla="*/ 3621427 w 4519983"/>
                    <a:gd name="connsiteY70" fmla="*/ 4038600 h 4496940"/>
                    <a:gd name="connsiteX71" fmla="*/ 3554752 w 4519983"/>
                    <a:gd name="connsiteY71" fmla="*/ 4095750 h 4496940"/>
                    <a:gd name="connsiteX72" fmla="*/ 3516652 w 4519983"/>
                    <a:gd name="connsiteY72" fmla="*/ 4114800 h 4496940"/>
                    <a:gd name="connsiteX73" fmla="*/ 3497602 w 4519983"/>
                    <a:gd name="connsiteY73" fmla="*/ 4143375 h 4496940"/>
                    <a:gd name="connsiteX74" fmla="*/ 3383302 w 4519983"/>
                    <a:gd name="connsiteY74" fmla="*/ 4210050 h 4496940"/>
                    <a:gd name="connsiteX75" fmla="*/ 3335677 w 4519983"/>
                    <a:gd name="connsiteY75" fmla="*/ 4238625 h 4496940"/>
                    <a:gd name="connsiteX76" fmla="*/ 3288052 w 4519983"/>
                    <a:gd name="connsiteY76" fmla="*/ 4248150 h 4496940"/>
                    <a:gd name="connsiteX77" fmla="*/ 3240427 w 4519983"/>
                    <a:gd name="connsiteY77" fmla="*/ 4267200 h 4496940"/>
                    <a:gd name="connsiteX78" fmla="*/ 3068977 w 4519983"/>
                    <a:gd name="connsiteY78" fmla="*/ 4286250 h 4496940"/>
                    <a:gd name="connsiteX79" fmla="*/ 2935627 w 4519983"/>
                    <a:gd name="connsiteY79" fmla="*/ 4333875 h 4496940"/>
                    <a:gd name="connsiteX80" fmla="*/ 2811802 w 4519983"/>
                    <a:gd name="connsiteY80" fmla="*/ 4371975 h 4496940"/>
                    <a:gd name="connsiteX81" fmla="*/ 2745127 w 4519983"/>
                    <a:gd name="connsiteY81" fmla="*/ 4410075 h 4496940"/>
                    <a:gd name="connsiteX82" fmla="*/ 2697502 w 4519983"/>
                    <a:gd name="connsiteY82" fmla="*/ 4429125 h 4496940"/>
                    <a:gd name="connsiteX83" fmla="*/ 2640352 w 4519983"/>
                    <a:gd name="connsiteY83" fmla="*/ 4457700 h 4496940"/>
                    <a:gd name="connsiteX84" fmla="*/ 2583202 w 4519983"/>
                    <a:gd name="connsiteY84" fmla="*/ 4467225 h 4496940"/>
                    <a:gd name="connsiteX85" fmla="*/ 2545102 w 4519983"/>
                    <a:gd name="connsiteY85" fmla="*/ 4486275 h 4496940"/>
                    <a:gd name="connsiteX86" fmla="*/ 2306977 w 4519983"/>
                    <a:gd name="connsiteY86" fmla="*/ 4476750 h 4496940"/>
                    <a:gd name="connsiteX87" fmla="*/ 2202202 w 4519983"/>
                    <a:gd name="connsiteY87" fmla="*/ 4457700 h 4496940"/>
                    <a:gd name="connsiteX88" fmla="*/ 2126002 w 4519983"/>
                    <a:gd name="connsiteY88" fmla="*/ 4429125 h 4496940"/>
                    <a:gd name="connsiteX89" fmla="*/ 1935502 w 4519983"/>
                    <a:gd name="connsiteY89" fmla="*/ 4400550 h 4496940"/>
                    <a:gd name="connsiteX90" fmla="*/ 1821202 w 4519983"/>
                    <a:gd name="connsiteY90" fmla="*/ 4371975 h 4496940"/>
                    <a:gd name="connsiteX91" fmla="*/ 1754527 w 4519983"/>
                    <a:gd name="connsiteY91" fmla="*/ 4352925 h 4496940"/>
                    <a:gd name="connsiteX92" fmla="*/ 1687852 w 4519983"/>
                    <a:gd name="connsiteY92" fmla="*/ 4343400 h 4496940"/>
                    <a:gd name="connsiteX93" fmla="*/ 1573552 w 4519983"/>
                    <a:gd name="connsiteY93" fmla="*/ 4305300 h 4496940"/>
                    <a:gd name="connsiteX94" fmla="*/ 1402102 w 4519983"/>
                    <a:gd name="connsiteY94" fmla="*/ 4276725 h 4496940"/>
                    <a:gd name="connsiteX95" fmla="*/ 1287802 w 4519983"/>
                    <a:gd name="connsiteY95" fmla="*/ 4229100 h 4496940"/>
                    <a:gd name="connsiteX96" fmla="*/ 1221127 w 4519983"/>
                    <a:gd name="connsiteY96" fmla="*/ 4200525 h 4496940"/>
                    <a:gd name="connsiteX97" fmla="*/ 1144927 w 4519983"/>
                    <a:gd name="connsiteY97" fmla="*/ 4171950 h 4496940"/>
                    <a:gd name="connsiteX98" fmla="*/ 1087777 w 4519983"/>
                    <a:gd name="connsiteY98" fmla="*/ 4143375 h 4496940"/>
                    <a:gd name="connsiteX99" fmla="*/ 1030627 w 4519983"/>
                    <a:gd name="connsiteY99" fmla="*/ 4124325 h 4496940"/>
                    <a:gd name="connsiteX100" fmla="*/ 925852 w 4519983"/>
                    <a:gd name="connsiteY100" fmla="*/ 4067175 h 4496940"/>
                    <a:gd name="connsiteX101" fmla="*/ 830602 w 4519983"/>
                    <a:gd name="connsiteY101" fmla="*/ 3981450 h 4496940"/>
                    <a:gd name="connsiteX102" fmla="*/ 763927 w 4519983"/>
                    <a:gd name="connsiteY102" fmla="*/ 3914775 h 4496940"/>
                    <a:gd name="connsiteX103" fmla="*/ 725827 w 4519983"/>
                    <a:gd name="connsiteY103" fmla="*/ 3876675 h 4496940"/>
                    <a:gd name="connsiteX104" fmla="*/ 697252 w 4519983"/>
                    <a:gd name="connsiteY104" fmla="*/ 3838575 h 4496940"/>
                    <a:gd name="connsiteX105" fmla="*/ 640102 w 4519983"/>
                    <a:gd name="connsiteY105" fmla="*/ 3781425 h 4496940"/>
                    <a:gd name="connsiteX106" fmla="*/ 611527 w 4519983"/>
                    <a:gd name="connsiteY106" fmla="*/ 3733800 h 4496940"/>
                    <a:gd name="connsiteX107" fmla="*/ 554377 w 4519983"/>
                    <a:gd name="connsiteY107" fmla="*/ 3657600 h 4496940"/>
                    <a:gd name="connsiteX108" fmla="*/ 525802 w 4519983"/>
                    <a:gd name="connsiteY108" fmla="*/ 3609975 h 4496940"/>
                    <a:gd name="connsiteX109" fmla="*/ 497227 w 4519983"/>
                    <a:gd name="connsiteY109" fmla="*/ 3552825 h 4496940"/>
                    <a:gd name="connsiteX110" fmla="*/ 440077 w 4519983"/>
                    <a:gd name="connsiteY110" fmla="*/ 3495675 h 4496940"/>
                    <a:gd name="connsiteX111" fmla="*/ 411502 w 4519983"/>
                    <a:gd name="connsiteY111" fmla="*/ 3448050 h 4496940"/>
                    <a:gd name="connsiteX112" fmla="*/ 278152 w 4519983"/>
                    <a:gd name="connsiteY112" fmla="*/ 3257550 h 4496940"/>
                    <a:gd name="connsiteX113" fmla="*/ 249577 w 4519983"/>
                    <a:gd name="connsiteY113" fmla="*/ 3200400 h 4496940"/>
                    <a:gd name="connsiteX114" fmla="*/ 240052 w 4519983"/>
                    <a:gd name="connsiteY114" fmla="*/ 3162300 h 4496940"/>
                    <a:gd name="connsiteX115" fmla="*/ 221002 w 4519983"/>
                    <a:gd name="connsiteY115" fmla="*/ 3105150 h 4496940"/>
                    <a:gd name="connsiteX116" fmla="*/ 173377 w 4519983"/>
                    <a:gd name="connsiteY116" fmla="*/ 3019425 h 4496940"/>
                    <a:gd name="connsiteX117" fmla="*/ 144802 w 4519983"/>
                    <a:gd name="connsiteY117" fmla="*/ 2924175 h 4496940"/>
                    <a:gd name="connsiteX118" fmla="*/ 68602 w 4519983"/>
                    <a:gd name="connsiteY118" fmla="*/ 2724150 h 4496940"/>
                    <a:gd name="connsiteX119" fmla="*/ 49552 w 4519983"/>
                    <a:gd name="connsiteY119" fmla="*/ 2638425 h 4496940"/>
                    <a:gd name="connsiteX120" fmla="*/ 40027 w 4519983"/>
                    <a:gd name="connsiteY120" fmla="*/ 2562225 h 4496940"/>
                    <a:gd name="connsiteX121" fmla="*/ 30502 w 4519983"/>
                    <a:gd name="connsiteY121" fmla="*/ 2514600 h 4496940"/>
                    <a:gd name="connsiteX122" fmla="*/ 11452 w 4519983"/>
                    <a:gd name="connsiteY122" fmla="*/ 2400300 h 4496940"/>
                    <a:gd name="connsiteX123" fmla="*/ 20977 w 4519983"/>
                    <a:gd name="connsiteY123" fmla="*/ 1905000 h 4496940"/>
                    <a:gd name="connsiteX124" fmla="*/ 30502 w 4519983"/>
                    <a:gd name="connsiteY124" fmla="*/ 1838325 h 4496940"/>
                    <a:gd name="connsiteX125" fmla="*/ 49552 w 4519983"/>
                    <a:gd name="connsiteY125" fmla="*/ 1781175 h 4496940"/>
                    <a:gd name="connsiteX126" fmla="*/ 59077 w 4519983"/>
                    <a:gd name="connsiteY126" fmla="*/ 1743075 h 4496940"/>
                    <a:gd name="connsiteX127" fmla="*/ 78127 w 4519983"/>
                    <a:gd name="connsiteY127" fmla="*/ 1685925 h 4496940"/>
                    <a:gd name="connsiteX128" fmla="*/ 87652 w 4519983"/>
                    <a:gd name="connsiteY128" fmla="*/ 1638300 h 4496940"/>
                    <a:gd name="connsiteX129" fmla="*/ 106702 w 4519983"/>
                    <a:gd name="connsiteY129" fmla="*/ 1590675 h 4496940"/>
                    <a:gd name="connsiteX130" fmla="*/ 135277 w 4519983"/>
                    <a:gd name="connsiteY130" fmla="*/ 1504950 h 4496940"/>
                    <a:gd name="connsiteX131" fmla="*/ 154327 w 4519983"/>
                    <a:gd name="connsiteY131" fmla="*/ 1419225 h 4496940"/>
                    <a:gd name="connsiteX132" fmla="*/ 230527 w 4519983"/>
                    <a:gd name="connsiteY132" fmla="*/ 1276350 h 4496940"/>
                    <a:gd name="connsiteX133" fmla="*/ 240052 w 4519983"/>
                    <a:gd name="connsiteY133" fmla="*/ 1247775 h 4496940"/>
                    <a:gd name="connsiteX134" fmla="*/ 268627 w 4519983"/>
                    <a:gd name="connsiteY134" fmla="*/ 1200150 h 4496940"/>
                    <a:gd name="connsiteX135" fmla="*/ 287677 w 4519983"/>
                    <a:gd name="connsiteY135" fmla="*/ 1152525 h 4496940"/>
                    <a:gd name="connsiteX136" fmla="*/ 316252 w 4519983"/>
                    <a:gd name="connsiteY136" fmla="*/ 1114425 h 4496940"/>
                    <a:gd name="connsiteX137" fmla="*/ 363877 w 4519983"/>
                    <a:gd name="connsiteY137" fmla="*/ 1038225 h 4496940"/>
                    <a:gd name="connsiteX138" fmla="*/ 382927 w 4519983"/>
                    <a:gd name="connsiteY138" fmla="*/ 1009650 h 4496940"/>
                    <a:gd name="connsiteX139" fmla="*/ 440077 w 4519983"/>
                    <a:gd name="connsiteY139" fmla="*/ 904875 h 4496940"/>
                    <a:gd name="connsiteX140" fmla="*/ 478177 w 4519983"/>
                    <a:gd name="connsiteY140" fmla="*/ 857250 h 4496940"/>
                    <a:gd name="connsiteX141" fmla="*/ 497227 w 4519983"/>
                    <a:gd name="connsiteY141" fmla="*/ 828675 h 4496940"/>
                    <a:gd name="connsiteX142" fmla="*/ 535327 w 4519983"/>
                    <a:gd name="connsiteY142" fmla="*/ 800100 h 4496940"/>
                    <a:gd name="connsiteX143" fmla="*/ 602002 w 4519983"/>
                    <a:gd name="connsiteY143" fmla="*/ 733425 h 4496940"/>
                    <a:gd name="connsiteX144" fmla="*/ 668677 w 4519983"/>
                    <a:gd name="connsiteY144" fmla="*/ 676275 h 4496940"/>
                    <a:gd name="connsiteX145" fmla="*/ 697252 w 4519983"/>
                    <a:gd name="connsiteY145" fmla="*/ 657225 h 4496940"/>
                    <a:gd name="connsiteX146" fmla="*/ 840127 w 4519983"/>
                    <a:gd name="connsiteY146" fmla="*/ 533400 h 4496940"/>
                    <a:gd name="connsiteX147" fmla="*/ 887752 w 4519983"/>
                    <a:gd name="connsiteY147" fmla="*/ 504825 h 4496940"/>
                    <a:gd name="connsiteX148" fmla="*/ 1167152 w 4519983"/>
                    <a:gd name="connsiteY148" fmla="*/ 311150 h 4496940"/>
                    <a:gd name="connsiteX149" fmla="*/ 1268752 w 4519983"/>
                    <a:gd name="connsiteY149" fmla="*/ 285750 h 4496940"/>
                    <a:gd name="connsiteX150" fmla="*/ 1411627 w 4519983"/>
                    <a:gd name="connsiteY150" fmla="*/ 190500 h 4496940"/>
                    <a:gd name="connsiteX151" fmla="*/ 1449727 w 4519983"/>
                    <a:gd name="connsiteY151" fmla="*/ 161925 h 4496940"/>
                    <a:gd name="connsiteX152" fmla="*/ 1525927 w 4519983"/>
                    <a:gd name="connsiteY152" fmla="*/ 152400 h 4496940"/>
                    <a:gd name="connsiteX153" fmla="*/ 1583077 w 4519983"/>
                    <a:gd name="connsiteY153" fmla="*/ 142875 h 4496940"/>
                    <a:gd name="connsiteX154" fmla="*/ 1716427 w 4519983"/>
                    <a:gd name="connsiteY154" fmla="*/ 123825 h 4496940"/>
                    <a:gd name="connsiteX155" fmla="*/ 1811677 w 4519983"/>
                    <a:gd name="connsiteY155" fmla="*/ 114300 h 4496940"/>
                    <a:gd name="connsiteX156" fmla="*/ 1859302 w 4519983"/>
                    <a:gd name="connsiteY156" fmla="*/ 104775 h 4496940"/>
                    <a:gd name="connsiteX157" fmla="*/ 1916452 w 4519983"/>
                    <a:gd name="connsiteY157" fmla="*/ 95250 h 4496940"/>
                    <a:gd name="connsiteX158" fmla="*/ 2030752 w 4519983"/>
                    <a:gd name="connsiteY158" fmla="*/ 66675 h 4496940"/>
                    <a:gd name="connsiteX159" fmla="*/ 2097427 w 4519983"/>
                    <a:gd name="connsiteY159" fmla="*/ 47625 h 4496940"/>
                    <a:gd name="connsiteX160" fmla="*/ 2164102 w 4519983"/>
                    <a:gd name="connsiteY160" fmla="*/ 38100 h 4496940"/>
                    <a:gd name="connsiteX161" fmla="*/ 2392702 w 4519983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335802 w 4519987"/>
                    <a:gd name="connsiteY50" fmla="*/ 3095625 h 4496940"/>
                    <a:gd name="connsiteX51" fmla="*/ 4278652 w 4519987"/>
                    <a:gd name="connsiteY51" fmla="*/ 3248025 h 4496940"/>
                    <a:gd name="connsiteX52" fmla="*/ 4259602 w 4519987"/>
                    <a:gd name="connsiteY52" fmla="*/ 3276600 h 4496940"/>
                    <a:gd name="connsiteX53" fmla="*/ 4221502 w 4519987"/>
                    <a:gd name="connsiteY53" fmla="*/ 3333750 h 4496940"/>
                    <a:gd name="connsiteX54" fmla="*/ 4211977 w 4519987"/>
                    <a:gd name="connsiteY54" fmla="*/ 3362325 h 4496940"/>
                    <a:gd name="connsiteX55" fmla="*/ 4183402 w 4519987"/>
                    <a:gd name="connsiteY55" fmla="*/ 3400425 h 4496940"/>
                    <a:gd name="connsiteX56" fmla="*/ 4164352 w 4519987"/>
                    <a:gd name="connsiteY56" fmla="*/ 3429000 h 4496940"/>
                    <a:gd name="connsiteX57" fmla="*/ 4088152 w 4519987"/>
                    <a:gd name="connsiteY57" fmla="*/ 3495675 h 4496940"/>
                    <a:gd name="connsiteX58" fmla="*/ 4059577 w 4519987"/>
                    <a:gd name="connsiteY58" fmla="*/ 3533775 h 4496940"/>
                    <a:gd name="connsiteX59" fmla="*/ 4002427 w 4519987"/>
                    <a:gd name="connsiteY59" fmla="*/ 3600450 h 4496940"/>
                    <a:gd name="connsiteX60" fmla="*/ 3983377 w 4519987"/>
                    <a:gd name="connsiteY60" fmla="*/ 3629025 h 4496940"/>
                    <a:gd name="connsiteX61" fmla="*/ 3954802 w 4519987"/>
                    <a:gd name="connsiteY61" fmla="*/ 3648075 h 4496940"/>
                    <a:gd name="connsiteX62" fmla="*/ 3907177 w 4519987"/>
                    <a:gd name="connsiteY62" fmla="*/ 3686175 h 4496940"/>
                    <a:gd name="connsiteX63" fmla="*/ 3869077 w 4519987"/>
                    <a:gd name="connsiteY63" fmla="*/ 3724275 h 4496940"/>
                    <a:gd name="connsiteX64" fmla="*/ 3792877 w 4519987"/>
                    <a:gd name="connsiteY64" fmla="*/ 3781425 h 4496940"/>
                    <a:gd name="connsiteX65" fmla="*/ 3783352 w 4519987"/>
                    <a:gd name="connsiteY65" fmla="*/ 3810000 h 4496940"/>
                    <a:gd name="connsiteX66" fmla="*/ 3745252 w 4519987"/>
                    <a:gd name="connsiteY66" fmla="*/ 3819525 h 4496940"/>
                    <a:gd name="connsiteX67" fmla="*/ 3678577 w 4519987"/>
                    <a:gd name="connsiteY67" fmla="*/ 3848100 h 4496940"/>
                    <a:gd name="connsiteX68" fmla="*/ 3659527 w 4519987"/>
                    <a:gd name="connsiteY68" fmla="*/ 3971925 h 4496940"/>
                    <a:gd name="connsiteX69" fmla="*/ 3630952 w 4519987"/>
                    <a:gd name="connsiteY69" fmla="*/ 4010025 h 4496940"/>
                    <a:gd name="connsiteX70" fmla="*/ 3621427 w 4519987"/>
                    <a:gd name="connsiteY70" fmla="*/ 4038600 h 4496940"/>
                    <a:gd name="connsiteX71" fmla="*/ 3554752 w 4519987"/>
                    <a:gd name="connsiteY71" fmla="*/ 4095750 h 4496940"/>
                    <a:gd name="connsiteX72" fmla="*/ 3516652 w 4519987"/>
                    <a:gd name="connsiteY72" fmla="*/ 4114800 h 4496940"/>
                    <a:gd name="connsiteX73" fmla="*/ 3497602 w 4519987"/>
                    <a:gd name="connsiteY73" fmla="*/ 4143375 h 4496940"/>
                    <a:gd name="connsiteX74" fmla="*/ 3383302 w 4519987"/>
                    <a:gd name="connsiteY74" fmla="*/ 4210050 h 4496940"/>
                    <a:gd name="connsiteX75" fmla="*/ 3335677 w 4519987"/>
                    <a:gd name="connsiteY75" fmla="*/ 4238625 h 4496940"/>
                    <a:gd name="connsiteX76" fmla="*/ 3288052 w 4519987"/>
                    <a:gd name="connsiteY76" fmla="*/ 4248150 h 4496940"/>
                    <a:gd name="connsiteX77" fmla="*/ 3240427 w 4519987"/>
                    <a:gd name="connsiteY77" fmla="*/ 4267200 h 4496940"/>
                    <a:gd name="connsiteX78" fmla="*/ 3068977 w 4519987"/>
                    <a:gd name="connsiteY78" fmla="*/ 4286250 h 4496940"/>
                    <a:gd name="connsiteX79" fmla="*/ 2935627 w 4519987"/>
                    <a:gd name="connsiteY79" fmla="*/ 4333875 h 4496940"/>
                    <a:gd name="connsiteX80" fmla="*/ 2811802 w 4519987"/>
                    <a:gd name="connsiteY80" fmla="*/ 4371975 h 4496940"/>
                    <a:gd name="connsiteX81" fmla="*/ 2745127 w 4519987"/>
                    <a:gd name="connsiteY81" fmla="*/ 4410075 h 4496940"/>
                    <a:gd name="connsiteX82" fmla="*/ 2697502 w 4519987"/>
                    <a:gd name="connsiteY82" fmla="*/ 4429125 h 4496940"/>
                    <a:gd name="connsiteX83" fmla="*/ 2640352 w 4519987"/>
                    <a:gd name="connsiteY83" fmla="*/ 4457700 h 4496940"/>
                    <a:gd name="connsiteX84" fmla="*/ 2583202 w 4519987"/>
                    <a:gd name="connsiteY84" fmla="*/ 4467225 h 4496940"/>
                    <a:gd name="connsiteX85" fmla="*/ 2545102 w 4519987"/>
                    <a:gd name="connsiteY85" fmla="*/ 4486275 h 4496940"/>
                    <a:gd name="connsiteX86" fmla="*/ 2306977 w 4519987"/>
                    <a:gd name="connsiteY86" fmla="*/ 4476750 h 4496940"/>
                    <a:gd name="connsiteX87" fmla="*/ 2202202 w 4519987"/>
                    <a:gd name="connsiteY87" fmla="*/ 4457700 h 4496940"/>
                    <a:gd name="connsiteX88" fmla="*/ 2126002 w 4519987"/>
                    <a:gd name="connsiteY88" fmla="*/ 4429125 h 4496940"/>
                    <a:gd name="connsiteX89" fmla="*/ 1935502 w 4519987"/>
                    <a:gd name="connsiteY89" fmla="*/ 4400550 h 4496940"/>
                    <a:gd name="connsiteX90" fmla="*/ 1821202 w 4519987"/>
                    <a:gd name="connsiteY90" fmla="*/ 4371975 h 4496940"/>
                    <a:gd name="connsiteX91" fmla="*/ 1754527 w 4519987"/>
                    <a:gd name="connsiteY91" fmla="*/ 4352925 h 4496940"/>
                    <a:gd name="connsiteX92" fmla="*/ 1687852 w 4519987"/>
                    <a:gd name="connsiteY92" fmla="*/ 4343400 h 4496940"/>
                    <a:gd name="connsiteX93" fmla="*/ 1573552 w 4519987"/>
                    <a:gd name="connsiteY93" fmla="*/ 4305300 h 4496940"/>
                    <a:gd name="connsiteX94" fmla="*/ 1402102 w 4519987"/>
                    <a:gd name="connsiteY94" fmla="*/ 4276725 h 4496940"/>
                    <a:gd name="connsiteX95" fmla="*/ 1287802 w 4519987"/>
                    <a:gd name="connsiteY95" fmla="*/ 4229100 h 4496940"/>
                    <a:gd name="connsiteX96" fmla="*/ 1221127 w 4519987"/>
                    <a:gd name="connsiteY96" fmla="*/ 4200525 h 4496940"/>
                    <a:gd name="connsiteX97" fmla="*/ 1144927 w 4519987"/>
                    <a:gd name="connsiteY97" fmla="*/ 4171950 h 4496940"/>
                    <a:gd name="connsiteX98" fmla="*/ 1087777 w 4519987"/>
                    <a:gd name="connsiteY98" fmla="*/ 4143375 h 4496940"/>
                    <a:gd name="connsiteX99" fmla="*/ 1030627 w 4519987"/>
                    <a:gd name="connsiteY99" fmla="*/ 4124325 h 4496940"/>
                    <a:gd name="connsiteX100" fmla="*/ 925852 w 4519987"/>
                    <a:gd name="connsiteY100" fmla="*/ 4067175 h 4496940"/>
                    <a:gd name="connsiteX101" fmla="*/ 830602 w 4519987"/>
                    <a:gd name="connsiteY101" fmla="*/ 3981450 h 4496940"/>
                    <a:gd name="connsiteX102" fmla="*/ 763927 w 4519987"/>
                    <a:gd name="connsiteY102" fmla="*/ 3914775 h 4496940"/>
                    <a:gd name="connsiteX103" fmla="*/ 725827 w 4519987"/>
                    <a:gd name="connsiteY103" fmla="*/ 3876675 h 4496940"/>
                    <a:gd name="connsiteX104" fmla="*/ 697252 w 4519987"/>
                    <a:gd name="connsiteY104" fmla="*/ 3838575 h 4496940"/>
                    <a:gd name="connsiteX105" fmla="*/ 640102 w 4519987"/>
                    <a:gd name="connsiteY105" fmla="*/ 3781425 h 4496940"/>
                    <a:gd name="connsiteX106" fmla="*/ 611527 w 4519987"/>
                    <a:gd name="connsiteY106" fmla="*/ 3733800 h 4496940"/>
                    <a:gd name="connsiteX107" fmla="*/ 554377 w 4519987"/>
                    <a:gd name="connsiteY107" fmla="*/ 3657600 h 4496940"/>
                    <a:gd name="connsiteX108" fmla="*/ 525802 w 4519987"/>
                    <a:gd name="connsiteY108" fmla="*/ 3609975 h 4496940"/>
                    <a:gd name="connsiteX109" fmla="*/ 497227 w 4519987"/>
                    <a:gd name="connsiteY109" fmla="*/ 3552825 h 4496940"/>
                    <a:gd name="connsiteX110" fmla="*/ 440077 w 4519987"/>
                    <a:gd name="connsiteY110" fmla="*/ 3495675 h 4496940"/>
                    <a:gd name="connsiteX111" fmla="*/ 411502 w 4519987"/>
                    <a:gd name="connsiteY111" fmla="*/ 3448050 h 4496940"/>
                    <a:gd name="connsiteX112" fmla="*/ 278152 w 4519987"/>
                    <a:gd name="connsiteY112" fmla="*/ 3257550 h 4496940"/>
                    <a:gd name="connsiteX113" fmla="*/ 249577 w 4519987"/>
                    <a:gd name="connsiteY113" fmla="*/ 3200400 h 4496940"/>
                    <a:gd name="connsiteX114" fmla="*/ 240052 w 4519987"/>
                    <a:gd name="connsiteY114" fmla="*/ 3162300 h 4496940"/>
                    <a:gd name="connsiteX115" fmla="*/ 221002 w 4519987"/>
                    <a:gd name="connsiteY115" fmla="*/ 3105150 h 4496940"/>
                    <a:gd name="connsiteX116" fmla="*/ 173377 w 4519987"/>
                    <a:gd name="connsiteY116" fmla="*/ 3019425 h 4496940"/>
                    <a:gd name="connsiteX117" fmla="*/ 144802 w 4519987"/>
                    <a:gd name="connsiteY117" fmla="*/ 2924175 h 4496940"/>
                    <a:gd name="connsiteX118" fmla="*/ 68602 w 4519987"/>
                    <a:gd name="connsiteY118" fmla="*/ 2724150 h 4496940"/>
                    <a:gd name="connsiteX119" fmla="*/ 49552 w 4519987"/>
                    <a:gd name="connsiteY119" fmla="*/ 2638425 h 4496940"/>
                    <a:gd name="connsiteX120" fmla="*/ 40027 w 4519987"/>
                    <a:gd name="connsiteY120" fmla="*/ 2562225 h 4496940"/>
                    <a:gd name="connsiteX121" fmla="*/ 30502 w 4519987"/>
                    <a:gd name="connsiteY121" fmla="*/ 2514600 h 4496940"/>
                    <a:gd name="connsiteX122" fmla="*/ 11452 w 4519987"/>
                    <a:gd name="connsiteY122" fmla="*/ 2400300 h 4496940"/>
                    <a:gd name="connsiteX123" fmla="*/ 20977 w 4519987"/>
                    <a:gd name="connsiteY123" fmla="*/ 1905000 h 4496940"/>
                    <a:gd name="connsiteX124" fmla="*/ 30502 w 4519987"/>
                    <a:gd name="connsiteY124" fmla="*/ 1838325 h 4496940"/>
                    <a:gd name="connsiteX125" fmla="*/ 49552 w 4519987"/>
                    <a:gd name="connsiteY125" fmla="*/ 1781175 h 4496940"/>
                    <a:gd name="connsiteX126" fmla="*/ 59077 w 4519987"/>
                    <a:gd name="connsiteY126" fmla="*/ 1743075 h 4496940"/>
                    <a:gd name="connsiteX127" fmla="*/ 78127 w 4519987"/>
                    <a:gd name="connsiteY127" fmla="*/ 1685925 h 4496940"/>
                    <a:gd name="connsiteX128" fmla="*/ 87652 w 4519987"/>
                    <a:gd name="connsiteY128" fmla="*/ 1638300 h 4496940"/>
                    <a:gd name="connsiteX129" fmla="*/ 106702 w 4519987"/>
                    <a:gd name="connsiteY129" fmla="*/ 1590675 h 4496940"/>
                    <a:gd name="connsiteX130" fmla="*/ 135277 w 4519987"/>
                    <a:gd name="connsiteY130" fmla="*/ 1504950 h 4496940"/>
                    <a:gd name="connsiteX131" fmla="*/ 154327 w 4519987"/>
                    <a:gd name="connsiteY131" fmla="*/ 1419225 h 4496940"/>
                    <a:gd name="connsiteX132" fmla="*/ 230527 w 4519987"/>
                    <a:gd name="connsiteY132" fmla="*/ 1276350 h 4496940"/>
                    <a:gd name="connsiteX133" fmla="*/ 240052 w 4519987"/>
                    <a:gd name="connsiteY133" fmla="*/ 1247775 h 4496940"/>
                    <a:gd name="connsiteX134" fmla="*/ 268627 w 4519987"/>
                    <a:gd name="connsiteY134" fmla="*/ 1200150 h 4496940"/>
                    <a:gd name="connsiteX135" fmla="*/ 287677 w 4519987"/>
                    <a:gd name="connsiteY135" fmla="*/ 1152525 h 4496940"/>
                    <a:gd name="connsiteX136" fmla="*/ 316252 w 4519987"/>
                    <a:gd name="connsiteY136" fmla="*/ 1114425 h 4496940"/>
                    <a:gd name="connsiteX137" fmla="*/ 363877 w 4519987"/>
                    <a:gd name="connsiteY137" fmla="*/ 1038225 h 4496940"/>
                    <a:gd name="connsiteX138" fmla="*/ 382927 w 4519987"/>
                    <a:gd name="connsiteY138" fmla="*/ 1009650 h 4496940"/>
                    <a:gd name="connsiteX139" fmla="*/ 440077 w 4519987"/>
                    <a:gd name="connsiteY139" fmla="*/ 904875 h 4496940"/>
                    <a:gd name="connsiteX140" fmla="*/ 478177 w 4519987"/>
                    <a:gd name="connsiteY140" fmla="*/ 857250 h 4496940"/>
                    <a:gd name="connsiteX141" fmla="*/ 497227 w 4519987"/>
                    <a:gd name="connsiteY141" fmla="*/ 828675 h 4496940"/>
                    <a:gd name="connsiteX142" fmla="*/ 535327 w 4519987"/>
                    <a:gd name="connsiteY142" fmla="*/ 800100 h 4496940"/>
                    <a:gd name="connsiteX143" fmla="*/ 602002 w 4519987"/>
                    <a:gd name="connsiteY143" fmla="*/ 733425 h 4496940"/>
                    <a:gd name="connsiteX144" fmla="*/ 668677 w 4519987"/>
                    <a:gd name="connsiteY144" fmla="*/ 676275 h 4496940"/>
                    <a:gd name="connsiteX145" fmla="*/ 697252 w 4519987"/>
                    <a:gd name="connsiteY145" fmla="*/ 657225 h 4496940"/>
                    <a:gd name="connsiteX146" fmla="*/ 840127 w 4519987"/>
                    <a:gd name="connsiteY146" fmla="*/ 533400 h 4496940"/>
                    <a:gd name="connsiteX147" fmla="*/ 887752 w 4519987"/>
                    <a:gd name="connsiteY147" fmla="*/ 504825 h 4496940"/>
                    <a:gd name="connsiteX148" fmla="*/ 1167152 w 4519987"/>
                    <a:gd name="connsiteY148" fmla="*/ 311150 h 4496940"/>
                    <a:gd name="connsiteX149" fmla="*/ 1268752 w 4519987"/>
                    <a:gd name="connsiteY149" fmla="*/ 285750 h 4496940"/>
                    <a:gd name="connsiteX150" fmla="*/ 1411627 w 4519987"/>
                    <a:gd name="connsiteY150" fmla="*/ 190500 h 4496940"/>
                    <a:gd name="connsiteX151" fmla="*/ 1449727 w 4519987"/>
                    <a:gd name="connsiteY151" fmla="*/ 161925 h 4496940"/>
                    <a:gd name="connsiteX152" fmla="*/ 1525927 w 4519987"/>
                    <a:gd name="connsiteY152" fmla="*/ 152400 h 4496940"/>
                    <a:gd name="connsiteX153" fmla="*/ 1583077 w 4519987"/>
                    <a:gd name="connsiteY153" fmla="*/ 142875 h 4496940"/>
                    <a:gd name="connsiteX154" fmla="*/ 1716427 w 4519987"/>
                    <a:gd name="connsiteY154" fmla="*/ 123825 h 4496940"/>
                    <a:gd name="connsiteX155" fmla="*/ 1811677 w 4519987"/>
                    <a:gd name="connsiteY155" fmla="*/ 114300 h 4496940"/>
                    <a:gd name="connsiteX156" fmla="*/ 1859302 w 4519987"/>
                    <a:gd name="connsiteY156" fmla="*/ 104775 h 4496940"/>
                    <a:gd name="connsiteX157" fmla="*/ 1916452 w 4519987"/>
                    <a:gd name="connsiteY157" fmla="*/ 95250 h 4496940"/>
                    <a:gd name="connsiteX158" fmla="*/ 2030752 w 4519987"/>
                    <a:gd name="connsiteY158" fmla="*/ 66675 h 4496940"/>
                    <a:gd name="connsiteX159" fmla="*/ 2097427 w 4519987"/>
                    <a:gd name="connsiteY159" fmla="*/ 47625 h 4496940"/>
                    <a:gd name="connsiteX160" fmla="*/ 2164102 w 4519987"/>
                    <a:gd name="connsiteY160" fmla="*/ 38100 h 4496940"/>
                    <a:gd name="connsiteX161" fmla="*/ 2392702 w 4519987"/>
                    <a:gd name="connsiteY16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354852 w 4519987"/>
                    <a:gd name="connsiteY49" fmla="*/ 3057525 h 4496940"/>
                    <a:gd name="connsiteX50" fmla="*/ 4278652 w 4519987"/>
                    <a:gd name="connsiteY50" fmla="*/ 3248025 h 4496940"/>
                    <a:gd name="connsiteX51" fmla="*/ 4259602 w 4519987"/>
                    <a:gd name="connsiteY51" fmla="*/ 3276600 h 4496940"/>
                    <a:gd name="connsiteX52" fmla="*/ 4221502 w 4519987"/>
                    <a:gd name="connsiteY52" fmla="*/ 3333750 h 4496940"/>
                    <a:gd name="connsiteX53" fmla="*/ 4211977 w 4519987"/>
                    <a:gd name="connsiteY53" fmla="*/ 3362325 h 4496940"/>
                    <a:gd name="connsiteX54" fmla="*/ 4183402 w 4519987"/>
                    <a:gd name="connsiteY54" fmla="*/ 3400425 h 4496940"/>
                    <a:gd name="connsiteX55" fmla="*/ 4164352 w 4519987"/>
                    <a:gd name="connsiteY55" fmla="*/ 3429000 h 4496940"/>
                    <a:gd name="connsiteX56" fmla="*/ 4088152 w 4519987"/>
                    <a:gd name="connsiteY56" fmla="*/ 3495675 h 4496940"/>
                    <a:gd name="connsiteX57" fmla="*/ 4059577 w 4519987"/>
                    <a:gd name="connsiteY57" fmla="*/ 3533775 h 4496940"/>
                    <a:gd name="connsiteX58" fmla="*/ 4002427 w 4519987"/>
                    <a:gd name="connsiteY58" fmla="*/ 3600450 h 4496940"/>
                    <a:gd name="connsiteX59" fmla="*/ 3983377 w 4519987"/>
                    <a:gd name="connsiteY59" fmla="*/ 3629025 h 4496940"/>
                    <a:gd name="connsiteX60" fmla="*/ 3954802 w 4519987"/>
                    <a:gd name="connsiteY60" fmla="*/ 3648075 h 4496940"/>
                    <a:gd name="connsiteX61" fmla="*/ 3907177 w 4519987"/>
                    <a:gd name="connsiteY61" fmla="*/ 3686175 h 4496940"/>
                    <a:gd name="connsiteX62" fmla="*/ 3869077 w 4519987"/>
                    <a:gd name="connsiteY62" fmla="*/ 3724275 h 4496940"/>
                    <a:gd name="connsiteX63" fmla="*/ 3792877 w 4519987"/>
                    <a:gd name="connsiteY63" fmla="*/ 3781425 h 4496940"/>
                    <a:gd name="connsiteX64" fmla="*/ 3783352 w 4519987"/>
                    <a:gd name="connsiteY64" fmla="*/ 3810000 h 4496940"/>
                    <a:gd name="connsiteX65" fmla="*/ 3745252 w 4519987"/>
                    <a:gd name="connsiteY65" fmla="*/ 3819525 h 4496940"/>
                    <a:gd name="connsiteX66" fmla="*/ 3678577 w 4519987"/>
                    <a:gd name="connsiteY66" fmla="*/ 3848100 h 4496940"/>
                    <a:gd name="connsiteX67" fmla="*/ 3659527 w 4519987"/>
                    <a:gd name="connsiteY67" fmla="*/ 3971925 h 4496940"/>
                    <a:gd name="connsiteX68" fmla="*/ 3630952 w 4519987"/>
                    <a:gd name="connsiteY68" fmla="*/ 4010025 h 4496940"/>
                    <a:gd name="connsiteX69" fmla="*/ 3621427 w 4519987"/>
                    <a:gd name="connsiteY69" fmla="*/ 4038600 h 4496940"/>
                    <a:gd name="connsiteX70" fmla="*/ 3554752 w 4519987"/>
                    <a:gd name="connsiteY70" fmla="*/ 4095750 h 4496940"/>
                    <a:gd name="connsiteX71" fmla="*/ 3516652 w 4519987"/>
                    <a:gd name="connsiteY71" fmla="*/ 4114800 h 4496940"/>
                    <a:gd name="connsiteX72" fmla="*/ 3497602 w 4519987"/>
                    <a:gd name="connsiteY72" fmla="*/ 4143375 h 4496940"/>
                    <a:gd name="connsiteX73" fmla="*/ 3383302 w 4519987"/>
                    <a:gd name="connsiteY73" fmla="*/ 4210050 h 4496940"/>
                    <a:gd name="connsiteX74" fmla="*/ 3335677 w 4519987"/>
                    <a:gd name="connsiteY74" fmla="*/ 4238625 h 4496940"/>
                    <a:gd name="connsiteX75" fmla="*/ 3288052 w 4519987"/>
                    <a:gd name="connsiteY75" fmla="*/ 4248150 h 4496940"/>
                    <a:gd name="connsiteX76" fmla="*/ 3240427 w 4519987"/>
                    <a:gd name="connsiteY76" fmla="*/ 4267200 h 4496940"/>
                    <a:gd name="connsiteX77" fmla="*/ 3068977 w 4519987"/>
                    <a:gd name="connsiteY77" fmla="*/ 4286250 h 4496940"/>
                    <a:gd name="connsiteX78" fmla="*/ 2935627 w 4519987"/>
                    <a:gd name="connsiteY78" fmla="*/ 4333875 h 4496940"/>
                    <a:gd name="connsiteX79" fmla="*/ 2811802 w 4519987"/>
                    <a:gd name="connsiteY79" fmla="*/ 4371975 h 4496940"/>
                    <a:gd name="connsiteX80" fmla="*/ 2745127 w 4519987"/>
                    <a:gd name="connsiteY80" fmla="*/ 4410075 h 4496940"/>
                    <a:gd name="connsiteX81" fmla="*/ 2697502 w 4519987"/>
                    <a:gd name="connsiteY81" fmla="*/ 4429125 h 4496940"/>
                    <a:gd name="connsiteX82" fmla="*/ 2640352 w 4519987"/>
                    <a:gd name="connsiteY82" fmla="*/ 4457700 h 4496940"/>
                    <a:gd name="connsiteX83" fmla="*/ 2583202 w 4519987"/>
                    <a:gd name="connsiteY83" fmla="*/ 4467225 h 4496940"/>
                    <a:gd name="connsiteX84" fmla="*/ 2545102 w 4519987"/>
                    <a:gd name="connsiteY84" fmla="*/ 4486275 h 4496940"/>
                    <a:gd name="connsiteX85" fmla="*/ 2306977 w 4519987"/>
                    <a:gd name="connsiteY85" fmla="*/ 4476750 h 4496940"/>
                    <a:gd name="connsiteX86" fmla="*/ 2202202 w 4519987"/>
                    <a:gd name="connsiteY86" fmla="*/ 4457700 h 4496940"/>
                    <a:gd name="connsiteX87" fmla="*/ 2126002 w 4519987"/>
                    <a:gd name="connsiteY87" fmla="*/ 4429125 h 4496940"/>
                    <a:gd name="connsiteX88" fmla="*/ 1935502 w 4519987"/>
                    <a:gd name="connsiteY88" fmla="*/ 4400550 h 4496940"/>
                    <a:gd name="connsiteX89" fmla="*/ 1821202 w 4519987"/>
                    <a:gd name="connsiteY89" fmla="*/ 4371975 h 4496940"/>
                    <a:gd name="connsiteX90" fmla="*/ 1754527 w 4519987"/>
                    <a:gd name="connsiteY90" fmla="*/ 4352925 h 4496940"/>
                    <a:gd name="connsiteX91" fmla="*/ 1687852 w 4519987"/>
                    <a:gd name="connsiteY91" fmla="*/ 4343400 h 4496940"/>
                    <a:gd name="connsiteX92" fmla="*/ 1573552 w 4519987"/>
                    <a:gd name="connsiteY92" fmla="*/ 4305300 h 4496940"/>
                    <a:gd name="connsiteX93" fmla="*/ 1402102 w 4519987"/>
                    <a:gd name="connsiteY93" fmla="*/ 4276725 h 4496940"/>
                    <a:gd name="connsiteX94" fmla="*/ 1287802 w 4519987"/>
                    <a:gd name="connsiteY94" fmla="*/ 4229100 h 4496940"/>
                    <a:gd name="connsiteX95" fmla="*/ 1221127 w 4519987"/>
                    <a:gd name="connsiteY95" fmla="*/ 4200525 h 4496940"/>
                    <a:gd name="connsiteX96" fmla="*/ 1144927 w 4519987"/>
                    <a:gd name="connsiteY96" fmla="*/ 4171950 h 4496940"/>
                    <a:gd name="connsiteX97" fmla="*/ 1087777 w 4519987"/>
                    <a:gd name="connsiteY97" fmla="*/ 4143375 h 4496940"/>
                    <a:gd name="connsiteX98" fmla="*/ 1030627 w 4519987"/>
                    <a:gd name="connsiteY98" fmla="*/ 4124325 h 4496940"/>
                    <a:gd name="connsiteX99" fmla="*/ 925852 w 4519987"/>
                    <a:gd name="connsiteY99" fmla="*/ 4067175 h 4496940"/>
                    <a:gd name="connsiteX100" fmla="*/ 830602 w 4519987"/>
                    <a:gd name="connsiteY100" fmla="*/ 3981450 h 4496940"/>
                    <a:gd name="connsiteX101" fmla="*/ 763927 w 4519987"/>
                    <a:gd name="connsiteY101" fmla="*/ 3914775 h 4496940"/>
                    <a:gd name="connsiteX102" fmla="*/ 725827 w 4519987"/>
                    <a:gd name="connsiteY102" fmla="*/ 3876675 h 4496940"/>
                    <a:gd name="connsiteX103" fmla="*/ 697252 w 4519987"/>
                    <a:gd name="connsiteY103" fmla="*/ 3838575 h 4496940"/>
                    <a:gd name="connsiteX104" fmla="*/ 640102 w 4519987"/>
                    <a:gd name="connsiteY104" fmla="*/ 3781425 h 4496940"/>
                    <a:gd name="connsiteX105" fmla="*/ 611527 w 4519987"/>
                    <a:gd name="connsiteY105" fmla="*/ 3733800 h 4496940"/>
                    <a:gd name="connsiteX106" fmla="*/ 554377 w 4519987"/>
                    <a:gd name="connsiteY106" fmla="*/ 3657600 h 4496940"/>
                    <a:gd name="connsiteX107" fmla="*/ 525802 w 4519987"/>
                    <a:gd name="connsiteY107" fmla="*/ 3609975 h 4496940"/>
                    <a:gd name="connsiteX108" fmla="*/ 497227 w 4519987"/>
                    <a:gd name="connsiteY108" fmla="*/ 3552825 h 4496940"/>
                    <a:gd name="connsiteX109" fmla="*/ 440077 w 4519987"/>
                    <a:gd name="connsiteY109" fmla="*/ 3495675 h 4496940"/>
                    <a:gd name="connsiteX110" fmla="*/ 411502 w 4519987"/>
                    <a:gd name="connsiteY110" fmla="*/ 3448050 h 4496940"/>
                    <a:gd name="connsiteX111" fmla="*/ 278152 w 4519987"/>
                    <a:gd name="connsiteY111" fmla="*/ 3257550 h 4496940"/>
                    <a:gd name="connsiteX112" fmla="*/ 249577 w 4519987"/>
                    <a:gd name="connsiteY112" fmla="*/ 3200400 h 4496940"/>
                    <a:gd name="connsiteX113" fmla="*/ 240052 w 4519987"/>
                    <a:gd name="connsiteY113" fmla="*/ 3162300 h 4496940"/>
                    <a:gd name="connsiteX114" fmla="*/ 221002 w 4519987"/>
                    <a:gd name="connsiteY114" fmla="*/ 3105150 h 4496940"/>
                    <a:gd name="connsiteX115" fmla="*/ 173377 w 4519987"/>
                    <a:gd name="connsiteY115" fmla="*/ 3019425 h 4496940"/>
                    <a:gd name="connsiteX116" fmla="*/ 144802 w 4519987"/>
                    <a:gd name="connsiteY116" fmla="*/ 2924175 h 4496940"/>
                    <a:gd name="connsiteX117" fmla="*/ 68602 w 4519987"/>
                    <a:gd name="connsiteY117" fmla="*/ 2724150 h 4496940"/>
                    <a:gd name="connsiteX118" fmla="*/ 49552 w 4519987"/>
                    <a:gd name="connsiteY118" fmla="*/ 2638425 h 4496940"/>
                    <a:gd name="connsiteX119" fmla="*/ 40027 w 4519987"/>
                    <a:gd name="connsiteY119" fmla="*/ 2562225 h 4496940"/>
                    <a:gd name="connsiteX120" fmla="*/ 30502 w 4519987"/>
                    <a:gd name="connsiteY120" fmla="*/ 2514600 h 4496940"/>
                    <a:gd name="connsiteX121" fmla="*/ 11452 w 4519987"/>
                    <a:gd name="connsiteY121" fmla="*/ 2400300 h 4496940"/>
                    <a:gd name="connsiteX122" fmla="*/ 20977 w 4519987"/>
                    <a:gd name="connsiteY122" fmla="*/ 1905000 h 4496940"/>
                    <a:gd name="connsiteX123" fmla="*/ 30502 w 4519987"/>
                    <a:gd name="connsiteY123" fmla="*/ 1838325 h 4496940"/>
                    <a:gd name="connsiteX124" fmla="*/ 49552 w 4519987"/>
                    <a:gd name="connsiteY124" fmla="*/ 1781175 h 4496940"/>
                    <a:gd name="connsiteX125" fmla="*/ 59077 w 4519987"/>
                    <a:gd name="connsiteY125" fmla="*/ 1743075 h 4496940"/>
                    <a:gd name="connsiteX126" fmla="*/ 78127 w 4519987"/>
                    <a:gd name="connsiteY126" fmla="*/ 1685925 h 4496940"/>
                    <a:gd name="connsiteX127" fmla="*/ 87652 w 4519987"/>
                    <a:gd name="connsiteY127" fmla="*/ 1638300 h 4496940"/>
                    <a:gd name="connsiteX128" fmla="*/ 106702 w 4519987"/>
                    <a:gd name="connsiteY128" fmla="*/ 1590675 h 4496940"/>
                    <a:gd name="connsiteX129" fmla="*/ 135277 w 4519987"/>
                    <a:gd name="connsiteY129" fmla="*/ 1504950 h 4496940"/>
                    <a:gd name="connsiteX130" fmla="*/ 154327 w 4519987"/>
                    <a:gd name="connsiteY130" fmla="*/ 1419225 h 4496940"/>
                    <a:gd name="connsiteX131" fmla="*/ 230527 w 4519987"/>
                    <a:gd name="connsiteY131" fmla="*/ 1276350 h 4496940"/>
                    <a:gd name="connsiteX132" fmla="*/ 240052 w 4519987"/>
                    <a:gd name="connsiteY132" fmla="*/ 1247775 h 4496940"/>
                    <a:gd name="connsiteX133" fmla="*/ 268627 w 4519987"/>
                    <a:gd name="connsiteY133" fmla="*/ 1200150 h 4496940"/>
                    <a:gd name="connsiteX134" fmla="*/ 287677 w 4519987"/>
                    <a:gd name="connsiteY134" fmla="*/ 1152525 h 4496940"/>
                    <a:gd name="connsiteX135" fmla="*/ 316252 w 4519987"/>
                    <a:gd name="connsiteY135" fmla="*/ 1114425 h 4496940"/>
                    <a:gd name="connsiteX136" fmla="*/ 363877 w 4519987"/>
                    <a:gd name="connsiteY136" fmla="*/ 1038225 h 4496940"/>
                    <a:gd name="connsiteX137" fmla="*/ 382927 w 4519987"/>
                    <a:gd name="connsiteY137" fmla="*/ 1009650 h 4496940"/>
                    <a:gd name="connsiteX138" fmla="*/ 440077 w 4519987"/>
                    <a:gd name="connsiteY138" fmla="*/ 904875 h 4496940"/>
                    <a:gd name="connsiteX139" fmla="*/ 478177 w 4519987"/>
                    <a:gd name="connsiteY139" fmla="*/ 857250 h 4496940"/>
                    <a:gd name="connsiteX140" fmla="*/ 497227 w 4519987"/>
                    <a:gd name="connsiteY140" fmla="*/ 828675 h 4496940"/>
                    <a:gd name="connsiteX141" fmla="*/ 535327 w 4519987"/>
                    <a:gd name="connsiteY141" fmla="*/ 800100 h 4496940"/>
                    <a:gd name="connsiteX142" fmla="*/ 602002 w 4519987"/>
                    <a:gd name="connsiteY142" fmla="*/ 733425 h 4496940"/>
                    <a:gd name="connsiteX143" fmla="*/ 668677 w 4519987"/>
                    <a:gd name="connsiteY143" fmla="*/ 676275 h 4496940"/>
                    <a:gd name="connsiteX144" fmla="*/ 697252 w 4519987"/>
                    <a:gd name="connsiteY144" fmla="*/ 657225 h 4496940"/>
                    <a:gd name="connsiteX145" fmla="*/ 840127 w 4519987"/>
                    <a:gd name="connsiteY145" fmla="*/ 533400 h 4496940"/>
                    <a:gd name="connsiteX146" fmla="*/ 887752 w 4519987"/>
                    <a:gd name="connsiteY146" fmla="*/ 504825 h 4496940"/>
                    <a:gd name="connsiteX147" fmla="*/ 1167152 w 4519987"/>
                    <a:gd name="connsiteY147" fmla="*/ 311150 h 4496940"/>
                    <a:gd name="connsiteX148" fmla="*/ 1268752 w 4519987"/>
                    <a:gd name="connsiteY148" fmla="*/ 285750 h 4496940"/>
                    <a:gd name="connsiteX149" fmla="*/ 1411627 w 4519987"/>
                    <a:gd name="connsiteY149" fmla="*/ 190500 h 4496940"/>
                    <a:gd name="connsiteX150" fmla="*/ 1449727 w 4519987"/>
                    <a:gd name="connsiteY150" fmla="*/ 161925 h 4496940"/>
                    <a:gd name="connsiteX151" fmla="*/ 1525927 w 4519987"/>
                    <a:gd name="connsiteY151" fmla="*/ 152400 h 4496940"/>
                    <a:gd name="connsiteX152" fmla="*/ 1583077 w 4519987"/>
                    <a:gd name="connsiteY152" fmla="*/ 142875 h 4496940"/>
                    <a:gd name="connsiteX153" fmla="*/ 1716427 w 4519987"/>
                    <a:gd name="connsiteY153" fmla="*/ 123825 h 4496940"/>
                    <a:gd name="connsiteX154" fmla="*/ 1811677 w 4519987"/>
                    <a:gd name="connsiteY154" fmla="*/ 114300 h 4496940"/>
                    <a:gd name="connsiteX155" fmla="*/ 1859302 w 4519987"/>
                    <a:gd name="connsiteY155" fmla="*/ 104775 h 4496940"/>
                    <a:gd name="connsiteX156" fmla="*/ 1916452 w 4519987"/>
                    <a:gd name="connsiteY156" fmla="*/ 95250 h 4496940"/>
                    <a:gd name="connsiteX157" fmla="*/ 2030752 w 4519987"/>
                    <a:gd name="connsiteY157" fmla="*/ 66675 h 4496940"/>
                    <a:gd name="connsiteX158" fmla="*/ 2097427 w 4519987"/>
                    <a:gd name="connsiteY158" fmla="*/ 47625 h 4496940"/>
                    <a:gd name="connsiteX159" fmla="*/ 2164102 w 4519987"/>
                    <a:gd name="connsiteY159" fmla="*/ 38100 h 4496940"/>
                    <a:gd name="connsiteX160" fmla="*/ 2392702 w 4519987"/>
                    <a:gd name="connsiteY16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3992902 w 4519987"/>
                    <a:gd name="connsiteY28" fmla="*/ 714375 h 4496940"/>
                    <a:gd name="connsiteX29" fmla="*/ 4050052 w 4519987"/>
                    <a:gd name="connsiteY29" fmla="*/ 790575 h 4496940"/>
                    <a:gd name="connsiteX30" fmla="*/ 4078627 w 4519987"/>
                    <a:gd name="connsiteY30" fmla="*/ 838200 h 4496940"/>
                    <a:gd name="connsiteX31" fmla="*/ 4107202 w 4519987"/>
                    <a:gd name="connsiteY31" fmla="*/ 876300 h 4496940"/>
                    <a:gd name="connsiteX32" fmla="*/ 4116727 w 4519987"/>
                    <a:gd name="connsiteY32" fmla="*/ 904875 h 4496940"/>
                    <a:gd name="connsiteX33" fmla="*/ 4135777 w 4519987"/>
                    <a:gd name="connsiteY33" fmla="*/ 933450 h 4496940"/>
                    <a:gd name="connsiteX34" fmla="*/ 4164352 w 4519987"/>
                    <a:gd name="connsiteY34" fmla="*/ 990600 h 4496940"/>
                    <a:gd name="connsiteX35" fmla="*/ 4173877 w 4519987"/>
                    <a:gd name="connsiteY35" fmla="*/ 1019175 h 4496940"/>
                    <a:gd name="connsiteX36" fmla="*/ 4192927 w 4519987"/>
                    <a:gd name="connsiteY36" fmla="*/ 1057275 h 4496940"/>
                    <a:gd name="connsiteX37" fmla="*/ 4202452 w 4519987"/>
                    <a:gd name="connsiteY37" fmla="*/ 1085850 h 4496940"/>
                    <a:gd name="connsiteX38" fmla="*/ 4250077 w 4519987"/>
                    <a:gd name="connsiteY38" fmla="*/ 1143000 h 4496940"/>
                    <a:gd name="connsiteX39" fmla="*/ 4259602 w 4519987"/>
                    <a:gd name="connsiteY39" fmla="*/ 1190625 h 4496940"/>
                    <a:gd name="connsiteX40" fmla="*/ 4307227 w 4519987"/>
                    <a:gd name="connsiteY40" fmla="*/ 1266825 h 4496940"/>
                    <a:gd name="connsiteX41" fmla="*/ 4345327 w 4519987"/>
                    <a:gd name="connsiteY41" fmla="*/ 1362075 h 4496940"/>
                    <a:gd name="connsiteX42" fmla="*/ 4373902 w 4519987"/>
                    <a:gd name="connsiteY42" fmla="*/ 1428750 h 4496940"/>
                    <a:gd name="connsiteX43" fmla="*/ 4392952 w 4519987"/>
                    <a:gd name="connsiteY43" fmla="*/ 1552575 h 4496940"/>
                    <a:gd name="connsiteX44" fmla="*/ 4402477 w 4519987"/>
                    <a:gd name="connsiteY44" fmla="*/ 1590675 h 4496940"/>
                    <a:gd name="connsiteX45" fmla="*/ 4431052 w 4519987"/>
                    <a:gd name="connsiteY45" fmla="*/ 1685925 h 4496940"/>
                    <a:gd name="connsiteX46" fmla="*/ 4519952 w 4519987"/>
                    <a:gd name="connsiteY46" fmla="*/ 2181225 h 4496940"/>
                    <a:gd name="connsiteX47" fmla="*/ 4446927 w 4519987"/>
                    <a:gd name="connsiteY47" fmla="*/ 2768600 h 4496940"/>
                    <a:gd name="connsiteX48" fmla="*/ 4383427 w 4519987"/>
                    <a:gd name="connsiteY48" fmla="*/ 2990850 h 4496940"/>
                    <a:gd name="connsiteX49" fmla="*/ 4278652 w 4519987"/>
                    <a:gd name="connsiteY49" fmla="*/ 3248025 h 4496940"/>
                    <a:gd name="connsiteX50" fmla="*/ 4259602 w 4519987"/>
                    <a:gd name="connsiteY50" fmla="*/ 3276600 h 4496940"/>
                    <a:gd name="connsiteX51" fmla="*/ 4221502 w 4519987"/>
                    <a:gd name="connsiteY51" fmla="*/ 3333750 h 4496940"/>
                    <a:gd name="connsiteX52" fmla="*/ 4211977 w 4519987"/>
                    <a:gd name="connsiteY52" fmla="*/ 3362325 h 4496940"/>
                    <a:gd name="connsiteX53" fmla="*/ 4183402 w 4519987"/>
                    <a:gd name="connsiteY53" fmla="*/ 3400425 h 4496940"/>
                    <a:gd name="connsiteX54" fmla="*/ 4164352 w 4519987"/>
                    <a:gd name="connsiteY54" fmla="*/ 3429000 h 4496940"/>
                    <a:gd name="connsiteX55" fmla="*/ 4088152 w 4519987"/>
                    <a:gd name="connsiteY55" fmla="*/ 3495675 h 4496940"/>
                    <a:gd name="connsiteX56" fmla="*/ 4059577 w 4519987"/>
                    <a:gd name="connsiteY56" fmla="*/ 3533775 h 4496940"/>
                    <a:gd name="connsiteX57" fmla="*/ 4002427 w 4519987"/>
                    <a:gd name="connsiteY57" fmla="*/ 3600450 h 4496940"/>
                    <a:gd name="connsiteX58" fmla="*/ 3983377 w 4519987"/>
                    <a:gd name="connsiteY58" fmla="*/ 3629025 h 4496940"/>
                    <a:gd name="connsiteX59" fmla="*/ 3954802 w 4519987"/>
                    <a:gd name="connsiteY59" fmla="*/ 3648075 h 4496940"/>
                    <a:gd name="connsiteX60" fmla="*/ 3907177 w 4519987"/>
                    <a:gd name="connsiteY60" fmla="*/ 3686175 h 4496940"/>
                    <a:gd name="connsiteX61" fmla="*/ 3869077 w 4519987"/>
                    <a:gd name="connsiteY61" fmla="*/ 3724275 h 4496940"/>
                    <a:gd name="connsiteX62" fmla="*/ 3792877 w 4519987"/>
                    <a:gd name="connsiteY62" fmla="*/ 3781425 h 4496940"/>
                    <a:gd name="connsiteX63" fmla="*/ 3783352 w 4519987"/>
                    <a:gd name="connsiteY63" fmla="*/ 3810000 h 4496940"/>
                    <a:gd name="connsiteX64" fmla="*/ 3745252 w 4519987"/>
                    <a:gd name="connsiteY64" fmla="*/ 3819525 h 4496940"/>
                    <a:gd name="connsiteX65" fmla="*/ 3678577 w 4519987"/>
                    <a:gd name="connsiteY65" fmla="*/ 3848100 h 4496940"/>
                    <a:gd name="connsiteX66" fmla="*/ 3659527 w 4519987"/>
                    <a:gd name="connsiteY66" fmla="*/ 3971925 h 4496940"/>
                    <a:gd name="connsiteX67" fmla="*/ 3630952 w 4519987"/>
                    <a:gd name="connsiteY67" fmla="*/ 4010025 h 4496940"/>
                    <a:gd name="connsiteX68" fmla="*/ 3621427 w 4519987"/>
                    <a:gd name="connsiteY68" fmla="*/ 4038600 h 4496940"/>
                    <a:gd name="connsiteX69" fmla="*/ 3554752 w 4519987"/>
                    <a:gd name="connsiteY69" fmla="*/ 4095750 h 4496940"/>
                    <a:gd name="connsiteX70" fmla="*/ 3516652 w 4519987"/>
                    <a:gd name="connsiteY70" fmla="*/ 4114800 h 4496940"/>
                    <a:gd name="connsiteX71" fmla="*/ 3497602 w 4519987"/>
                    <a:gd name="connsiteY71" fmla="*/ 4143375 h 4496940"/>
                    <a:gd name="connsiteX72" fmla="*/ 3383302 w 4519987"/>
                    <a:gd name="connsiteY72" fmla="*/ 4210050 h 4496940"/>
                    <a:gd name="connsiteX73" fmla="*/ 3335677 w 4519987"/>
                    <a:gd name="connsiteY73" fmla="*/ 4238625 h 4496940"/>
                    <a:gd name="connsiteX74" fmla="*/ 3288052 w 4519987"/>
                    <a:gd name="connsiteY74" fmla="*/ 4248150 h 4496940"/>
                    <a:gd name="connsiteX75" fmla="*/ 3240427 w 4519987"/>
                    <a:gd name="connsiteY75" fmla="*/ 4267200 h 4496940"/>
                    <a:gd name="connsiteX76" fmla="*/ 3068977 w 4519987"/>
                    <a:gd name="connsiteY76" fmla="*/ 4286250 h 4496940"/>
                    <a:gd name="connsiteX77" fmla="*/ 2935627 w 4519987"/>
                    <a:gd name="connsiteY77" fmla="*/ 4333875 h 4496940"/>
                    <a:gd name="connsiteX78" fmla="*/ 2811802 w 4519987"/>
                    <a:gd name="connsiteY78" fmla="*/ 4371975 h 4496940"/>
                    <a:gd name="connsiteX79" fmla="*/ 2745127 w 4519987"/>
                    <a:gd name="connsiteY79" fmla="*/ 4410075 h 4496940"/>
                    <a:gd name="connsiteX80" fmla="*/ 2697502 w 4519987"/>
                    <a:gd name="connsiteY80" fmla="*/ 4429125 h 4496940"/>
                    <a:gd name="connsiteX81" fmla="*/ 2640352 w 4519987"/>
                    <a:gd name="connsiteY81" fmla="*/ 4457700 h 4496940"/>
                    <a:gd name="connsiteX82" fmla="*/ 2583202 w 4519987"/>
                    <a:gd name="connsiteY82" fmla="*/ 4467225 h 4496940"/>
                    <a:gd name="connsiteX83" fmla="*/ 2545102 w 4519987"/>
                    <a:gd name="connsiteY83" fmla="*/ 4486275 h 4496940"/>
                    <a:gd name="connsiteX84" fmla="*/ 2306977 w 4519987"/>
                    <a:gd name="connsiteY84" fmla="*/ 4476750 h 4496940"/>
                    <a:gd name="connsiteX85" fmla="*/ 2202202 w 4519987"/>
                    <a:gd name="connsiteY85" fmla="*/ 4457700 h 4496940"/>
                    <a:gd name="connsiteX86" fmla="*/ 2126002 w 4519987"/>
                    <a:gd name="connsiteY86" fmla="*/ 4429125 h 4496940"/>
                    <a:gd name="connsiteX87" fmla="*/ 1935502 w 4519987"/>
                    <a:gd name="connsiteY87" fmla="*/ 4400550 h 4496940"/>
                    <a:gd name="connsiteX88" fmla="*/ 1821202 w 4519987"/>
                    <a:gd name="connsiteY88" fmla="*/ 4371975 h 4496940"/>
                    <a:gd name="connsiteX89" fmla="*/ 1754527 w 4519987"/>
                    <a:gd name="connsiteY89" fmla="*/ 4352925 h 4496940"/>
                    <a:gd name="connsiteX90" fmla="*/ 1687852 w 4519987"/>
                    <a:gd name="connsiteY90" fmla="*/ 4343400 h 4496940"/>
                    <a:gd name="connsiteX91" fmla="*/ 1573552 w 4519987"/>
                    <a:gd name="connsiteY91" fmla="*/ 4305300 h 4496940"/>
                    <a:gd name="connsiteX92" fmla="*/ 1402102 w 4519987"/>
                    <a:gd name="connsiteY92" fmla="*/ 4276725 h 4496940"/>
                    <a:gd name="connsiteX93" fmla="*/ 1287802 w 4519987"/>
                    <a:gd name="connsiteY93" fmla="*/ 4229100 h 4496940"/>
                    <a:gd name="connsiteX94" fmla="*/ 1221127 w 4519987"/>
                    <a:gd name="connsiteY94" fmla="*/ 4200525 h 4496940"/>
                    <a:gd name="connsiteX95" fmla="*/ 1144927 w 4519987"/>
                    <a:gd name="connsiteY95" fmla="*/ 4171950 h 4496940"/>
                    <a:gd name="connsiteX96" fmla="*/ 1087777 w 4519987"/>
                    <a:gd name="connsiteY96" fmla="*/ 4143375 h 4496940"/>
                    <a:gd name="connsiteX97" fmla="*/ 1030627 w 4519987"/>
                    <a:gd name="connsiteY97" fmla="*/ 4124325 h 4496940"/>
                    <a:gd name="connsiteX98" fmla="*/ 925852 w 4519987"/>
                    <a:gd name="connsiteY98" fmla="*/ 4067175 h 4496940"/>
                    <a:gd name="connsiteX99" fmla="*/ 830602 w 4519987"/>
                    <a:gd name="connsiteY99" fmla="*/ 3981450 h 4496940"/>
                    <a:gd name="connsiteX100" fmla="*/ 763927 w 4519987"/>
                    <a:gd name="connsiteY100" fmla="*/ 3914775 h 4496940"/>
                    <a:gd name="connsiteX101" fmla="*/ 725827 w 4519987"/>
                    <a:gd name="connsiteY101" fmla="*/ 3876675 h 4496940"/>
                    <a:gd name="connsiteX102" fmla="*/ 697252 w 4519987"/>
                    <a:gd name="connsiteY102" fmla="*/ 3838575 h 4496940"/>
                    <a:gd name="connsiteX103" fmla="*/ 640102 w 4519987"/>
                    <a:gd name="connsiteY103" fmla="*/ 3781425 h 4496940"/>
                    <a:gd name="connsiteX104" fmla="*/ 611527 w 4519987"/>
                    <a:gd name="connsiteY104" fmla="*/ 3733800 h 4496940"/>
                    <a:gd name="connsiteX105" fmla="*/ 554377 w 4519987"/>
                    <a:gd name="connsiteY105" fmla="*/ 3657600 h 4496940"/>
                    <a:gd name="connsiteX106" fmla="*/ 525802 w 4519987"/>
                    <a:gd name="connsiteY106" fmla="*/ 3609975 h 4496940"/>
                    <a:gd name="connsiteX107" fmla="*/ 497227 w 4519987"/>
                    <a:gd name="connsiteY107" fmla="*/ 3552825 h 4496940"/>
                    <a:gd name="connsiteX108" fmla="*/ 440077 w 4519987"/>
                    <a:gd name="connsiteY108" fmla="*/ 3495675 h 4496940"/>
                    <a:gd name="connsiteX109" fmla="*/ 411502 w 4519987"/>
                    <a:gd name="connsiteY109" fmla="*/ 3448050 h 4496940"/>
                    <a:gd name="connsiteX110" fmla="*/ 278152 w 4519987"/>
                    <a:gd name="connsiteY110" fmla="*/ 3257550 h 4496940"/>
                    <a:gd name="connsiteX111" fmla="*/ 249577 w 4519987"/>
                    <a:gd name="connsiteY111" fmla="*/ 3200400 h 4496940"/>
                    <a:gd name="connsiteX112" fmla="*/ 240052 w 4519987"/>
                    <a:gd name="connsiteY112" fmla="*/ 3162300 h 4496940"/>
                    <a:gd name="connsiteX113" fmla="*/ 221002 w 4519987"/>
                    <a:gd name="connsiteY113" fmla="*/ 3105150 h 4496940"/>
                    <a:gd name="connsiteX114" fmla="*/ 173377 w 4519987"/>
                    <a:gd name="connsiteY114" fmla="*/ 3019425 h 4496940"/>
                    <a:gd name="connsiteX115" fmla="*/ 144802 w 4519987"/>
                    <a:gd name="connsiteY115" fmla="*/ 2924175 h 4496940"/>
                    <a:gd name="connsiteX116" fmla="*/ 68602 w 4519987"/>
                    <a:gd name="connsiteY116" fmla="*/ 2724150 h 4496940"/>
                    <a:gd name="connsiteX117" fmla="*/ 49552 w 4519987"/>
                    <a:gd name="connsiteY117" fmla="*/ 2638425 h 4496940"/>
                    <a:gd name="connsiteX118" fmla="*/ 40027 w 4519987"/>
                    <a:gd name="connsiteY118" fmla="*/ 2562225 h 4496940"/>
                    <a:gd name="connsiteX119" fmla="*/ 30502 w 4519987"/>
                    <a:gd name="connsiteY119" fmla="*/ 2514600 h 4496940"/>
                    <a:gd name="connsiteX120" fmla="*/ 11452 w 4519987"/>
                    <a:gd name="connsiteY120" fmla="*/ 2400300 h 4496940"/>
                    <a:gd name="connsiteX121" fmla="*/ 20977 w 4519987"/>
                    <a:gd name="connsiteY121" fmla="*/ 1905000 h 4496940"/>
                    <a:gd name="connsiteX122" fmla="*/ 30502 w 4519987"/>
                    <a:gd name="connsiteY122" fmla="*/ 1838325 h 4496940"/>
                    <a:gd name="connsiteX123" fmla="*/ 49552 w 4519987"/>
                    <a:gd name="connsiteY123" fmla="*/ 1781175 h 4496940"/>
                    <a:gd name="connsiteX124" fmla="*/ 59077 w 4519987"/>
                    <a:gd name="connsiteY124" fmla="*/ 1743075 h 4496940"/>
                    <a:gd name="connsiteX125" fmla="*/ 78127 w 4519987"/>
                    <a:gd name="connsiteY125" fmla="*/ 1685925 h 4496940"/>
                    <a:gd name="connsiteX126" fmla="*/ 87652 w 4519987"/>
                    <a:gd name="connsiteY126" fmla="*/ 1638300 h 4496940"/>
                    <a:gd name="connsiteX127" fmla="*/ 106702 w 4519987"/>
                    <a:gd name="connsiteY127" fmla="*/ 1590675 h 4496940"/>
                    <a:gd name="connsiteX128" fmla="*/ 135277 w 4519987"/>
                    <a:gd name="connsiteY128" fmla="*/ 1504950 h 4496940"/>
                    <a:gd name="connsiteX129" fmla="*/ 154327 w 4519987"/>
                    <a:gd name="connsiteY129" fmla="*/ 1419225 h 4496940"/>
                    <a:gd name="connsiteX130" fmla="*/ 230527 w 4519987"/>
                    <a:gd name="connsiteY130" fmla="*/ 1276350 h 4496940"/>
                    <a:gd name="connsiteX131" fmla="*/ 240052 w 4519987"/>
                    <a:gd name="connsiteY131" fmla="*/ 1247775 h 4496940"/>
                    <a:gd name="connsiteX132" fmla="*/ 268627 w 4519987"/>
                    <a:gd name="connsiteY132" fmla="*/ 1200150 h 4496940"/>
                    <a:gd name="connsiteX133" fmla="*/ 287677 w 4519987"/>
                    <a:gd name="connsiteY133" fmla="*/ 1152525 h 4496940"/>
                    <a:gd name="connsiteX134" fmla="*/ 316252 w 4519987"/>
                    <a:gd name="connsiteY134" fmla="*/ 1114425 h 4496940"/>
                    <a:gd name="connsiteX135" fmla="*/ 363877 w 4519987"/>
                    <a:gd name="connsiteY135" fmla="*/ 1038225 h 4496940"/>
                    <a:gd name="connsiteX136" fmla="*/ 382927 w 4519987"/>
                    <a:gd name="connsiteY136" fmla="*/ 1009650 h 4496940"/>
                    <a:gd name="connsiteX137" fmla="*/ 440077 w 4519987"/>
                    <a:gd name="connsiteY137" fmla="*/ 904875 h 4496940"/>
                    <a:gd name="connsiteX138" fmla="*/ 478177 w 4519987"/>
                    <a:gd name="connsiteY138" fmla="*/ 857250 h 4496940"/>
                    <a:gd name="connsiteX139" fmla="*/ 497227 w 4519987"/>
                    <a:gd name="connsiteY139" fmla="*/ 828675 h 4496940"/>
                    <a:gd name="connsiteX140" fmla="*/ 535327 w 4519987"/>
                    <a:gd name="connsiteY140" fmla="*/ 800100 h 4496940"/>
                    <a:gd name="connsiteX141" fmla="*/ 602002 w 4519987"/>
                    <a:gd name="connsiteY141" fmla="*/ 733425 h 4496940"/>
                    <a:gd name="connsiteX142" fmla="*/ 668677 w 4519987"/>
                    <a:gd name="connsiteY142" fmla="*/ 676275 h 4496940"/>
                    <a:gd name="connsiteX143" fmla="*/ 697252 w 4519987"/>
                    <a:gd name="connsiteY143" fmla="*/ 657225 h 4496940"/>
                    <a:gd name="connsiteX144" fmla="*/ 840127 w 4519987"/>
                    <a:gd name="connsiteY144" fmla="*/ 533400 h 4496940"/>
                    <a:gd name="connsiteX145" fmla="*/ 887752 w 4519987"/>
                    <a:gd name="connsiteY145" fmla="*/ 504825 h 4496940"/>
                    <a:gd name="connsiteX146" fmla="*/ 1167152 w 4519987"/>
                    <a:gd name="connsiteY146" fmla="*/ 311150 h 4496940"/>
                    <a:gd name="connsiteX147" fmla="*/ 1268752 w 4519987"/>
                    <a:gd name="connsiteY147" fmla="*/ 285750 h 4496940"/>
                    <a:gd name="connsiteX148" fmla="*/ 1411627 w 4519987"/>
                    <a:gd name="connsiteY148" fmla="*/ 190500 h 4496940"/>
                    <a:gd name="connsiteX149" fmla="*/ 1449727 w 4519987"/>
                    <a:gd name="connsiteY149" fmla="*/ 161925 h 4496940"/>
                    <a:gd name="connsiteX150" fmla="*/ 1525927 w 4519987"/>
                    <a:gd name="connsiteY150" fmla="*/ 152400 h 4496940"/>
                    <a:gd name="connsiteX151" fmla="*/ 1583077 w 4519987"/>
                    <a:gd name="connsiteY151" fmla="*/ 142875 h 4496940"/>
                    <a:gd name="connsiteX152" fmla="*/ 1716427 w 4519987"/>
                    <a:gd name="connsiteY152" fmla="*/ 123825 h 4496940"/>
                    <a:gd name="connsiteX153" fmla="*/ 1811677 w 4519987"/>
                    <a:gd name="connsiteY153" fmla="*/ 114300 h 4496940"/>
                    <a:gd name="connsiteX154" fmla="*/ 1859302 w 4519987"/>
                    <a:gd name="connsiteY154" fmla="*/ 104775 h 4496940"/>
                    <a:gd name="connsiteX155" fmla="*/ 1916452 w 4519987"/>
                    <a:gd name="connsiteY155" fmla="*/ 95250 h 4496940"/>
                    <a:gd name="connsiteX156" fmla="*/ 2030752 w 4519987"/>
                    <a:gd name="connsiteY156" fmla="*/ 66675 h 4496940"/>
                    <a:gd name="connsiteX157" fmla="*/ 2097427 w 4519987"/>
                    <a:gd name="connsiteY157" fmla="*/ 47625 h 4496940"/>
                    <a:gd name="connsiteX158" fmla="*/ 2164102 w 4519987"/>
                    <a:gd name="connsiteY158" fmla="*/ 38100 h 4496940"/>
                    <a:gd name="connsiteX159" fmla="*/ 2392702 w 4519987"/>
                    <a:gd name="connsiteY15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50052 w 4519987"/>
                    <a:gd name="connsiteY28" fmla="*/ 790575 h 4496940"/>
                    <a:gd name="connsiteX29" fmla="*/ 4078627 w 4519987"/>
                    <a:gd name="connsiteY29" fmla="*/ 838200 h 4496940"/>
                    <a:gd name="connsiteX30" fmla="*/ 4107202 w 4519987"/>
                    <a:gd name="connsiteY30" fmla="*/ 876300 h 4496940"/>
                    <a:gd name="connsiteX31" fmla="*/ 4116727 w 4519987"/>
                    <a:gd name="connsiteY31" fmla="*/ 904875 h 4496940"/>
                    <a:gd name="connsiteX32" fmla="*/ 4135777 w 4519987"/>
                    <a:gd name="connsiteY32" fmla="*/ 933450 h 4496940"/>
                    <a:gd name="connsiteX33" fmla="*/ 4164352 w 4519987"/>
                    <a:gd name="connsiteY33" fmla="*/ 990600 h 4496940"/>
                    <a:gd name="connsiteX34" fmla="*/ 4173877 w 4519987"/>
                    <a:gd name="connsiteY34" fmla="*/ 1019175 h 4496940"/>
                    <a:gd name="connsiteX35" fmla="*/ 4192927 w 4519987"/>
                    <a:gd name="connsiteY35" fmla="*/ 1057275 h 4496940"/>
                    <a:gd name="connsiteX36" fmla="*/ 4202452 w 4519987"/>
                    <a:gd name="connsiteY36" fmla="*/ 1085850 h 4496940"/>
                    <a:gd name="connsiteX37" fmla="*/ 4250077 w 4519987"/>
                    <a:gd name="connsiteY37" fmla="*/ 1143000 h 4496940"/>
                    <a:gd name="connsiteX38" fmla="*/ 4259602 w 4519987"/>
                    <a:gd name="connsiteY38" fmla="*/ 1190625 h 4496940"/>
                    <a:gd name="connsiteX39" fmla="*/ 4307227 w 4519987"/>
                    <a:gd name="connsiteY39" fmla="*/ 1266825 h 4496940"/>
                    <a:gd name="connsiteX40" fmla="*/ 4345327 w 4519987"/>
                    <a:gd name="connsiteY40" fmla="*/ 1362075 h 4496940"/>
                    <a:gd name="connsiteX41" fmla="*/ 4373902 w 4519987"/>
                    <a:gd name="connsiteY41" fmla="*/ 1428750 h 4496940"/>
                    <a:gd name="connsiteX42" fmla="*/ 4392952 w 4519987"/>
                    <a:gd name="connsiteY42" fmla="*/ 1552575 h 4496940"/>
                    <a:gd name="connsiteX43" fmla="*/ 4402477 w 4519987"/>
                    <a:gd name="connsiteY43" fmla="*/ 1590675 h 4496940"/>
                    <a:gd name="connsiteX44" fmla="*/ 4431052 w 4519987"/>
                    <a:gd name="connsiteY44" fmla="*/ 1685925 h 4496940"/>
                    <a:gd name="connsiteX45" fmla="*/ 4519952 w 4519987"/>
                    <a:gd name="connsiteY45" fmla="*/ 2181225 h 4496940"/>
                    <a:gd name="connsiteX46" fmla="*/ 4446927 w 4519987"/>
                    <a:gd name="connsiteY46" fmla="*/ 2768600 h 4496940"/>
                    <a:gd name="connsiteX47" fmla="*/ 4383427 w 4519987"/>
                    <a:gd name="connsiteY47" fmla="*/ 2990850 h 4496940"/>
                    <a:gd name="connsiteX48" fmla="*/ 4278652 w 4519987"/>
                    <a:gd name="connsiteY48" fmla="*/ 3248025 h 4496940"/>
                    <a:gd name="connsiteX49" fmla="*/ 4259602 w 4519987"/>
                    <a:gd name="connsiteY49" fmla="*/ 3276600 h 4496940"/>
                    <a:gd name="connsiteX50" fmla="*/ 4221502 w 4519987"/>
                    <a:gd name="connsiteY50" fmla="*/ 3333750 h 4496940"/>
                    <a:gd name="connsiteX51" fmla="*/ 4211977 w 4519987"/>
                    <a:gd name="connsiteY51" fmla="*/ 3362325 h 4496940"/>
                    <a:gd name="connsiteX52" fmla="*/ 4183402 w 4519987"/>
                    <a:gd name="connsiteY52" fmla="*/ 3400425 h 4496940"/>
                    <a:gd name="connsiteX53" fmla="*/ 4164352 w 4519987"/>
                    <a:gd name="connsiteY53" fmla="*/ 3429000 h 4496940"/>
                    <a:gd name="connsiteX54" fmla="*/ 4088152 w 4519987"/>
                    <a:gd name="connsiteY54" fmla="*/ 3495675 h 4496940"/>
                    <a:gd name="connsiteX55" fmla="*/ 4059577 w 4519987"/>
                    <a:gd name="connsiteY55" fmla="*/ 3533775 h 4496940"/>
                    <a:gd name="connsiteX56" fmla="*/ 4002427 w 4519987"/>
                    <a:gd name="connsiteY56" fmla="*/ 3600450 h 4496940"/>
                    <a:gd name="connsiteX57" fmla="*/ 3983377 w 4519987"/>
                    <a:gd name="connsiteY57" fmla="*/ 3629025 h 4496940"/>
                    <a:gd name="connsiteX58" fmla="*/ 3954802 w 4519987"/>
                    <a:gd name="connsiteY58" fmla="*/ 3648075 h 4496940"/>
                    <a:gd name="connsiteX59" fmla="*/ 3907177 w 4519987"/>
                    <a:gd name="connsiteY59" fmla="*/ 3686175 h 4496940"/>
                    <a:gd name="connsiteX60" fmla="*/ 3869077 w 4519987"/>
                    <a:gd name="connsiteY60" fmla="*/ 3724275 h 4496940"/>
                    <a:gd name="connsiteX61" fmla="*/ 3792877 w 4519987"/>
                    <a:gd name="connsiteY61" fmla="*/ 3781425 h 4496940"/>
                    <a:gd name="connsiteX62" fmla="*/ 3783352 w 4519987"/>
                    <a:gd name="connsiteY62" fmla="*/ 3810000 h 4496940"/>
                    <a:gd name="connsiteX63" fmla="*/ 3745252 w 4519987"/>
                    <a:gd name="connsiteY63" fmla="*/ 3819525 h 4496940"/>
                    <a:gd name="connsiteX64" fmla="*/ 3678577 w 4519987"/>
                    <a:gd name="connsiteY64" fmla="*/ 3848100 h 4496940"/>
                    <a:gd name="connsiteX65" fmla="*/ 3659527 w 4519987"/>
                    <a:gd name="connsiteY65" fmla="*/ 3971925 h 4496940"/>
                    <a:gd name="connsiteX66" fmla="*/ 3630952 w 4519987"/>
                    <a:gd name="connsiteY66" fmla="*/ 4010025 h 4496940"/>
                    <a:gd name="connsiteX67" fmla="*/ 3621427 w 4519987"/>
                    <a:gd name="connsiteY67" fmla="*/ 4038600 h 4496940"/>
                    <a:gd name="connsiteX68" fmla="*/ 3554752 w 4519987"/>
                    <a:gd name="connsiteY68" fmla="*/ 4095750 h 4496940"/>
                    <a:gd name="connsiteX69" fmla="*/ 3516652 w 4519987"/>
                    <a:gd name="connsiteY69" fmla="*/ 4114800 h 4496940"/>
                    <a:gd name="connsiteX70" fmla="*/ 3497602 w 4519987"/>
                    <a:gd name="connsiteY70" fmla="*/ 4143375 h 4496940"/>
                    <a:gd name="connsiteX71" fmla="*/ 3383302 w 4519987"/>
                    <a:gd name="connsiteY71" fmla="*/ 4210050 h 4496940"/>
                    <a:gd name="connsiteX72" fmla="*/ 3335677 w 4519987"/>
                    <a:gd name="connsiteY72" fmla="*/ 4238625 h 4496940"/>
                    <a:gd name="connsiteX73" fmla="*/ 3288052 w 4519987"/>
                    <a:gd name="connsiteY73" fmla="*/ 4248150 h 4496940"/>
                    <a:gd name="connsiteX74" fmla="*/ 3240427 w 4519987"/>
                    <a:gd name="connsiteY74" fmla="*/ 4267200 h 4496940"/>
                    <a:gd name="connsiteX75" fmla="*/ 3068977 w 4519987"/>
                    <a:gd name="connsiteY75" fmla="*/ 4286250 h 4496940"/>
                    <a:gd name="connsiteX76" fmla="*/ 2935627 w 4519987"/>
                    <a:gd name="connsiteY76" fmla="*/ 4333875 h 4496940"/>
                    <a:gd name="connsiteX77" fmla="*/ 2811802 w 4519987"/>
                    <a:gd name="connsiteY77" fmla="*/ 4371975 h 4496940"/>
                    <a:gd name="connsiteX78" fmla="*/ 2745127 w 4519987"/>
                    <a:gd name="connsiteY78" fmla="*/ 4410075 h 4496940"/>
                    <a:gd name="connsiteX79" fmla="*/ 2697502 w 4519987"/>
                    <a:gd name="connsiteY79" fmla="*/ 4429125 h 4496940"/>
                    <a:gd name="connsiteX80" fmla="*/ 2640352 w 4519987"/>
                    <a:gd name="connsiteY80" fmla="*/ 4457700 h 4496940"/>
                    <a:gd name="connsiteX81" fmla="*/ 2583202 w 4519987"/>
                    <a:gd name="connsiteY81" fmla="*/ 4467225 h 4496940"/>
                    <a:gd name="connsiteX82" fmla="*/ 2545102 w 4519987"/>
                    <a:gd name="connsiteY82" fmla="*/ 4486275 h 4496940"/>
                    <a:gd name="connsiteX83" fmla="*/ 2306977 w 4519987"/>
                    <a:gd name="connsiteY83" fmla="*/ 4476750 h 4496940"/>
                    <a:gd name="connsiteX84" fmla="*/ 2202202 w 4519987"/>
                    <a:gd name="connsiteY84" fmla="*/ 4457700 h 4496940"/>
                    <a:gd name="connsiteX85" fmla="*/ 2126002 w 4519987"/>
                    <a:gd name="connsiteY85" fmla="*/ 4429125 h 4496940"/>
                    <a:gd name="connsiteX86" fmla="*/ 1935502 w 4519987"/>
                    <a:gd name="connsiteY86" fmla="*/ 4400550 h 4496940"/>
                    <a:gd name="connsiteX87" fmla="*/ 1821202 w 4519987"/>
                    <a:gd name="connsiteY87" fmla="*/ 4371975 h 4496940"/>
                    <a:gd name="connsiteX88" fmla="*/ 1754527 w 4519987"/>
                    <a:gd name="connsiteY88" fmla="*/ 4352925 h 4496940"/>
                    <a:gd name="connsiteX89" fmla="*/ 1687852 w 4519987"/>
                    <a:gd name="connsiteY89" fmla="*/ 4343400 h 4496940"/>
                    <a:gd name="connsiteX90" fmla="*/ 1573552 w 4519987"/>
                    <a:gd name="connsiteY90" fmla="*/ 4305300 h 4496940"/>
                    <a:gd name="connsiteX91" fmla="*/ 1402102 w 4519987"/>
                    <a:gd name="connsiteY91" fmla="*/ 4276725 h 4496940"/>
                    <a:gd name="connsiteX92" fmla="*/ 1287802 w 4519987"/>
                    <a:gd name="connsiteY92" fmla="*/ 4229100 h 4496940"/>
                    <a:gd name="connsiteX93" fmla="*/ 1221127 w 4519987"/>
                    <a:gd name="connsiteY93" fmla="*/ 4200525 h 4496940"/>
                    <a:gd name="connsiteX94" fmla="*/ 1144927 w 4519987"/>
                    <a:gd name="connsiteY94" fmla="*/ 4171950 h 4496940"/>
                    <a:gd name="connsiteX95" fmla="*/ 1087777 w 4519987"/>
                    <a:gd name="connsiteY95" fmla="*/ 4143375 h 4496940"/>
                    <a:gd name="connsiteX96" fmla="*/ 1030627 w 4519987"/>
                    <a:gd name="connsiteY96" fmla="*/ 4124325 h 4496940"/>
                    <a:gd name="connsiteX97" fmla="*/ 925852 w 4519987"/>
                    <a:gd name="connsiteY97" fmla="*/ 4067175 h 4496940"/>
                    <a:gd name="connsiteX98" fmla="*/ 830602 w 4519987"/>
                    <a:gd name="connsiteY98" fmla="*/ 3981450 h 4496940"/>
                    <a:gd name="connsiteX99" fmla="*/ 763927 w 4519987"/>
                    <a:gd name="connsiteY99" fmla="*/ 3914775 h 4496940"/>
                    <a:gd name="connsiteX100" fmla="*/ 725827 w 4519987"/>
                    <a:gd name="connsiteY100" fmla="*/ 3876675 h 4496940"/>
                    <a:gd name="connsiteX101" fmla="*/ 697252 w 4519987"/>
                    <a:gd name="connsiteY101" fmla="*/ 3838575 h 4496940"/>
                    <a:gd name="connsiteX102" fmla="*/ 640102 w 4519987"/>
                    <a:gd name="connsiteY102" fmla="*/ 3781425 h 4496940"/>
                    <a:gd name="connsiteX103" fmla="*/ 611527 w 4519987"/>
                    <a:gd name="connsiteY103" fmla="*/ 3733800 h 4496940"/>
                    <a:gd name="connsiteX104" fmla="*/ 554377 w 4519987"/>
                    <a:gd name="connsiteY104" fmla="*/ 3657600 h 4496940"/>
                    <a:gd name="connsiteX105" fmla="*/ 525802 w 4519987"/>
                    <a:gd name="connsiteY105" fmla="*/ 3609975 h 4496940"/>
                    <a:gd name="connsiteX106" fmla="*/ 497227 w 4519987"/>
                    <a:gd name="connsiteY106" fmla="*/ 3552825 h 4496940"/>
                    <a:gd name="connsiteX107" fmla="*/ 440077 w 4519987"/>
                    <a:gd name="connsiteY107" fmla="*/ 3495675 h 4496940"/>
                    <a:gd name="connsiteX108" fmla="*/ 411502 w 4519987"/>
                    <a:gd name="connsiteY108" fmla="*/ 3448050 h 4496940"/>
                    <a:gd name="connsiteX109" fmla="*/ 278152 w 4519987"/>
                    <a:gd name="connsiteY109" fmla="*/ 3257550 h 4496940"/>
                    <a:gd name="connsiteX110" fmla="*/ 249577 w 4519987"/>
                    <a:gd name="connsiteY110" fmla="*/ 3200400 h 4496940"/>
                    <a:gd name="connsiteX111" fmla="*/ 240052 w 4519987"/>
                    <a:gd name="connsiteY111" fmla="*/ 3162300 h 4496940"/>
                    <a:gd name="connsiteX112" fmla="*/ 221002 w 4519987"/>
                    <a:gd name="connsiteY112" fmla="*/ 3105150 h 4496940"/>
                    <a:gd name="connsiteX113" fmla="*/ 173377 w 4519987"/>
                    <a:gd name="connsiteY113" fmla="*/ 3019425 h 4496940"/>
                    <a:gd name="connsiteX114" fmla="*/ 144802 w 4519987"/>
                    <a:gd name="connsiteY114" fmla="*/ 2924175 h 4496940"/>
                    <a:gd name="connsiteX115" fmla="*/ 68602 w 4519987"/>
                    <a:gd name="connsiteY115" fmla="*/ 2724150 h 4496940"/>
                    <a:gd name="connsiteX116" fmla="*/ 49552 w 4519987"/>
                    <a:gd name="connsiteY116" fmla="*/ 2638425 h 4496940"/>
                    <a:gd name="connsiteX117" fmla="*/ 40027 w 4519987"/>
                    <a:gd name="connsiteY117" fmla="*/ 2562225 h 4496940"/>
                    <a:gd name="connsiteX118" fmla="*/ 30502 w 4519987"/>
                    <a:gd name="connsiteY118" fmla="*/ 2514600 h 4496940"/>
                    <a:gd name="connsiteX119" fmla="*/ 11452 w 4519987"/>
                    <a:gd name="connsiteY119" fmla="*/ 2400300 h 4496940"/>
                    <a:gd name="connsiteX120" fmla="*/ 20977 w 4519987"/>
                    <a:gd name="connsiteY120" fmla="*/ 1905000 h 4496940"/>
                    <a:gd name="connsiteX121" fmla="*/ 30502 w 4519987"/>
                    <a:gd name="connsiteY121" fmla="*/ 1838325 h 4496940"/>
                    <a:gd name="connsiteX122" fmla="*/ 49552 w 4519987"/>
                    <a:gd name="connsiteY122" fmla="*/ 1781175 h 4496940"/>
                    <a:gd name="connsiteX123" fmla="*/ 59077 w 4519987"/>
                    <a:gd name="connsiteY123" fmla="*/ 1743075 h 4496940"/>
                    <a:gd name="connsiteX124" fmla="*/ 78127 w 4519987"/>
                    <a:gd name="connsiteY124" fmla="*/ 1685925 h 4496940"/>
                    <a:gd name="connsiteX125" fmla="*/ 87652 w 4519987"/>
                    <a:gd name="connsiteY125" fmla="*/ 1638300 h 4496940"/>
                    <a:gd name="connsiteX126" fmla="*/ 106702 w 4519987"/>
                    <a:gd name="connsiteY126" fmla="*/ 1590675 h 4496940"/>
                    <a:gd name="connsiteX127" fmla="*/ 135277 w 4519987"/>
                    <a:gd name="connsiteY127" fmla="*/ 1504950 h 4496940"/>
                    <a:gd name="connsiteX128" fmla="*/ 154327 w 4519987"/>
                    <a:gd name="connsiteY128" fmla="*/ 1419225 h 4496940"/>
                    <a:gd name="connsiteX129" fmla="*/ 230527 w 4519987"/>
                    <a:gd name="connsiteY129" fmla="*/ 1276350 h 4496940"/>
                    <a:gd name="connsiteX130" fmla="*/ 240052 w 4519987"/>
                    <a:gd name="connsiteY130" fmla="*/ 1247775 h 4496940"/>
                    <a:gd name="connsiteX131" fmla="*/ 268627 w 4519987"/>
                    <a:gd name="connsiteY131" fmla="*/ 1200150 h 4496940"/>
                    <a:gd name="connsiteX132" fmla="*/ 287677 w 4519987"/>
                    <a:gd name="connsiteY132" fmla="*/ 1152525 h 4496940"/>
                    <a:gd name="connsiteX133" fmla="*/ 316252 w 4519987"/>
                    <a:gd name="connsiteY133" fmla="*/ 1114425 h 4496940"/>
                    <a:gd name="connsiteX134" fmla="*/ 363877 w 4519987"/>
                    <a:gd name="connsiteY134" fmla="*/ 1038225 h 4496940"/>
                    <a:gd name="connsiteX135" fmla="*/ 382927 w 4519987"/>
                    <a:gd name="connsiteY135" fmla="*/ 1009650 h 4496940"/>
                    <a:gd name="connsiteX136" fmla="*/ 440077 w 4519987"/>
                    <a:gd name="connsiteY136" fmla="*/ 904875 h 4496940"/>
                    <a:gd name="connsiteX137" fmla="*/ 478177 w 4519987"/>
                    <a:gd name="connsiteY137" fmla="*/ 857250 h 4496940"/>
                    <a:gd name="connsiteX138" fmla="*/ 497227 w 4519987"/>
                    <a:gd name="connsiteY138" fmla="*/ 828675 h 4496940"/>
                    <a:gd name="connsiteX139" fmla="*/ 535327 w 4519987"/>
                    <a:gd name="connsiteY139" fmla="*/ 800100 h 4496940"/>
                    <a:gd name="connsiteX140" fmla="*/ 602002 w 4519987"/>
                    <a:gd name="connsiteY140" fmla="*/ 733425 h 4496940"/>
                    <a:gd name="connsiteX141" fmla="*/ 668677 w 4519987"/>
                    <a:gd name="connsiteY141" fmla="*/ 676275 h 4496940"/>
                    <a:gd name="connsiteX142" fmla="*/ 697252 w 4519987"/>
                    <a:gd name="connsiteY142" fmla="*/ 657225 h 4496940"/>
                    <a:gd name="connsiteX143" fmla="*/ 840127 w 4519987"/>
                    <a:gd name="connsiteY143" fmla="*/ 533400 h 4496940"/>
                    <a:gd name="connsiteX144" fmla="*/ 887752 w 4519987"/>
                    <a:gd name="connsiteY144" fmla="*/ 504825 h 4496940"/>
                    <a:gd name="connsiteX145" fmla="*/ 1167152 w 4519987"/>
                    <a:gd name="connsiteY145" fmla="*/ 311150 h 4496940"/>
                    <a:gd name="connsiteX146" fmla="*/ 1268752 w 4519987"/>
                    <a:gd name="connsiteY146" fmla="*/ 285750 h 4496940"/>
                    <a:gd name="connsiteX147" fmla="*/ 1411627 w 4519987"/>
                    <a:gd name="connsiteY147" fmla="*/ 190500 h 4496940"/>
                    <a:gd name="connsiteX148" fmla="*/ 1449727 w 4519987"/>
                    <a:gd name="connsiteY148" fmla="*/ 161925 h 4496940"/>
                    <a:gd name="connsiteX149" fmla="*/ 1525927 w 4519987"/>
                    <a:gd name="connsiteY149" fmla="*/ 152400 h 4496940"/>
                    <a:gd name="connsiteX150" fmla="*/ 1583077 w 4519987"/>
                    <a:gd name="connsiteY150" fmla="*/ 142875 h 4496940"/>
                    <a:gd name="connsiteX151" fmla="*/ 1716427 w 4519987"/>
                    <a:gd name="connsiteY151" fmla="*/ 123825 h 4496940"/>
                    <a:gd name="connsiteX152" fmla="*/ 1811677 w 4519987"/>
                    <a:gd name="connsiteY152" fmla="*/ 114300 h 4496940"/>
                    <a:gd name="connsiteX153" fmla="*/ 1859302 w 4519987"/>
                    <a:gd name="connsiteY153" fmla="*/ 104775 h 4496940"/>
                    <a:gd name="connsiteX154" fmla="*/ 1916452 w 4519987"/>
                    <a:gd name="connsiteY154" fmla="*/ 95250 h 4496940"/>
                    <a:gd name="connsiteX155" fmla="*/ 2030752 w 4519987"/>
                    <a:gd name="connsiteY155" fmla="*/ 66675 h 4496940"/>
                    <a:gd name="connsiteX156" fmla="*/ 2097427 w 4519987"/>
                    <a:gd name="connsiteY156" fmla="*/ 47625 h 4496940"/>
                    <a:gd name="connsiteX157" fmla="*/ 2164102 w 4519987"/>
                    <a:gd name="connsiteY157" fmla="*/ 38100 h 4496940"/>
                    <a:gd name="connsiteX158" fmla="*/ 2392702 w 4519987"/>
                    <a:gd name="connsiteY15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16727 w 4519987"/>
                    <a:gd name="connsiteY30" fmla="*/ 904875 h 4496940"/>
                    <a:gd name="connsiteX31" fmla="*/ 4135777 w 4519987"/>
                    <a:gd name="connsiteY31" fmla="*/ 933450 h 4496940"/>
                    <a:gd name="connsiteX32" fmla="*/ 4164352 w 4519987"/>
                    <a:gd name="connsiteY32" fmla="*/ 990600 h 4496940"/>
                    <a:gd name="connsiteX33" fmla="*/ 4173877 w 4519987"/>
                    <a:gd name="connsiteY33" fmla="*/ 1019175 h 4496940"/>
                    <a:gd name="connsiteX34" fmla="*/ 4192927 w 4519987"/>
                    <a:gd name="connsiteY34" fmla="*/ 1057275 h 4496940"/>
                    <a:gd name="connsiteX35" fmla="*/ 4202452 w 4519987"/>
                    <a:gd name="connsiteY35" fmla="*/ 1085850 h 4496940"/>
                    <a:gd name="connsiteX36" fmla="*/ 4250077 w 4519987"/>
                    <a:gd name="connsiteY36" fmla="*/ 1143000 h 4496940"/>
                    <a:gd name="connsiteX37" fmla="*/ 4259602 w 4519987"/>
                    <a:gd name="connsiteY37" fmla="*/ 1190625 h 4496940"/>
                    <a:gd name="connsiteX38" fmla="*/ 4307227 w 4519987"/>
                    <a:gd name="connsiteY38" fmla="*/ 1266825 h 4496940"/>
                    <a:gd name="connsiteX39" fmla="*/ 4345327 w 4519987"/>
                    <a:gd name="connsiteY39" fmla="*/ 1362075 h 4496940"/>
                    <a:gd name="connsiteX40" fmla="*/ 4373902 w 4519987"/>
                    <a:gd name="connsiteY40" fmla="*/ 1428750 h 4496940"/>
                    <a:gd name="connsiteX41" fmla="*/ 4392952 w 4519987"/>
                    <a:gd name="connsiteY41" fmla="*/ 1552575 h 4496940"/>
                    <a:gd name="connsiteX42" fmla="*/ 4402477 w 4519987"/>
                    <a:gd name="connsiteY42" fmla="*/ 1590675 h 4496940"/>
                    <a:gd name="connsiteX43" fmla="*/ 4431052 w 4519987"/>
                    <a:gd name="connsiteY43" fmla="*/ 1685925 h 4496940"/>
                    <a:gd name="connsiteX44" fmla="*/ 4519952 w 4519987"/>
                    <a:gd name="connsiteY44" fmla="*/ 2181225 h 4496940"/>
                    <a:gd name="connsiteX45" fmla="*/ 4446927 w 4519987"/>
                    <a:gd name="connsiteY45" fmla="*/ 2768600 h 4496940"/>
                    <a:gd name="connsiteX46" fmla="*/ 4383427 w 4519987"/>
                    <a:gd name="connsiteY46" fmla="*/ 2990850 h 4496940"/>
                    <a:gd name="connsiteX47" fmla="*/ 4278652 w 4519987"/>
                    <a:gd name="connsiteY47" fmla="*/ 3248025 h 4496940"/>
                    <a:gd name="connsiteX48" fmla="*/ 4259602 w 4519987"/>
                    <a:gd name="connsiteY48" fmla="*/ 3276600 h 4496940"/>
                    <a:gd name="connsiteX49" fmla="*/ 4221502 w 4519987"/>
                    <a:gd name="connsiteY49" fmla="*/ 3333750 h 4496940"/>
                    <a:gd name="connsiteX50" fmla="*/ 4211977 w 4519987"/>
                    <a:gd name="connsiteY50" fmla="*/ 3362325 h 4496940"/>
                    <a:gd name="connsiteX51" fmla="*/ 4183402 w 4519987"/>
                    <a:gd name="connsiteY51" fmla="*/ 3400425 h 4496940"/>
                    <a:gd name="connsiteX52" fmla="*/ 4164352 w 4519987"/>
                    <a:gd name="connsiteY52" fmla="*/ 3429000 h 4496940"/>
                    <a:gd name="connsiteX53" fmla="*/ 4088152 w 4519987"/>
                    <a:gd name="connsiteY53" fmla="*/ 3495675 h 4496940"/>
                    <a:gd name="connsiteX54" fmla="*/ 4059577 w 4519987"/>
                    <a:gd name="connsiteY54" fmla="*/ 3533775 h 4496940"/>
                    <a:gd name="connsiteX55" fmla="*/ 4002427 w 4519987"/>
                    <a:gd name="connsiteY55" fmla="*/ 3600450 h 4496940"/>
                    <a:gd name="connsiteX56" fmla="*/ 3983377 w 4519987"/>
                    <a:gd name="connsiteY56" fmla="*/ 3629025 h 4496940"/>
                    <a:gd name="connsiteX57" fmla="*/ 3954802 w 4519987"/>
                    <a:gd name="connsiteY57" fmla="*/ 3648075 h 4496940"/>
                    <a:gd name="connsiteX58" fmla="*/ 3907177 w 4519987"/>
                    <a:gd name="connsiteY58" fmla="*/ 3686175 h 4496940"/>
                    <a:gd name="connsiteX59" fmla="*/ 3869077 w 4519987"/>
                    <a:gd name="connsiteY59" fmla="*/ 3724275 h 4496940"/>
                    <a:gd name="connsiteX60" fmla="*/ 3792877 w 4519987"/>
                    <a:gd name="connsiteY60" fmla="*/ 3781425 h 4496940"/>
                    <a:gd name="connsiteX61" fmla="*/ 3783352 w 4519987"/>
                    <a:gd name="connsiteY61" fmla="*/ 3810000 h 4496940"/>
                    <a:gd name="connsiteX62" fmla="*/ 3745252 w 4519987"/>
                    <a:gd name="connsiteY62" fmla="*/ 3819525 h 4496940"/>
                    <a:gd name="connsiteX63" fmla="*/ 3678577 w 4519987"/>
                    <a:gd name="connsiteY63" fmla="*/ 3848100 h 4496940"/>
                    <a:gd name="connsiteX64" fmla="*/ 3659527 w 4519987"/>
                    <a:gd name="connsiteY64" fmla="*/ 3971925 h 4496940"/>
                    <a:gd name="connsiteX65" fmla="*/ 3630952 w 4519987"/>
                    <a:gd name="connsiteY65" fmla="*/ 4010025 h 4496940"/>
                    <a:gd name="connsiteX66" fmla="*/ 3621427 w 4519987"/>
                    <a:gd name="connsiteY66" fmla="*/ 4038600 h 4496940"/>
                    <a:gd name="connsiteX67" fmla="*/ 3554752 w 4519987"/>
                    <a:gd name="connsiteY67" fmla="*/ 4095750 h 4496940"/>
                    <a:gd name="connsiteX68" fmla="*/ 3516652 w 4519987"/>
                    <a:gd name="connsiteY68" fmla="*/ 4114800 h 4496940"/>
                    <a:gd name="connsiteX69" fmla="*/ 3497602 w 4519987"/>
                    <a:gd name="connsiteY69" fmla="*/ 4143375 h 4496940"/>
                    <a:gd name="connsiteX70" fmla="*/ 3383302 w 4519987"/>
                    <a:gd name="connsiteY70" fmla="*/ 4210050 h 4496940"/>
                    <a:gd name="connsiteX71" fmla="*/ 3335677 w 4519987"/>
                    <a:gd name="connsiteY71" fmla="*/ 4238625 h 4496940"/>
                    <a:gd name="connsiteX72" fmla="*/ 3288052 w 4519987"/>
                    <a:gd name="connsiteY72" fmla="*/ 4248150 h 4496940"/>
                    <a:gd name="connsiteX73" fmla="*/ 3240427 w 4519987"/>
                    <a:gd name="connsiteY73" fmla="*/ 4267200 h 4496940"/>
                    <a:gd name="connsiteX74" fmla="*/ 3068977 w 4519987"/>
                    <a:gd name="connsiteY74" fmla="*/ 4286250 h 4496940"/>
                    <a:gd name="connsiteX75" fmla="*/ 2935627 w 4519987"/>
                    <a:gd name="connsiteY75" fmla="*/ 4333875 h 4496940"/>
                    <a:gd name="connsiteX76" fmla="*/ 2811802 w 4519987"/>
                    <a:gd name="connsiteY76" fmla="*/ 4371975 h 4496940"/>
                    <a:gd name="connsiteX77" fmla="*/ 2745127 w 4519987"/>
                    <a:gd name="connsiteY77" fmla="*/ 4410075 h 4496940"/>
                    <a:gd name="connsiteX78" fmla="*/ 2697502 w 4519987"/>
                    <a:gd name="connsiteY78" fmla="*/ 4429125 h 4496940"/>
                    <a:gd name="connsiteX79" fmla="*/ 2640352 w 4519987"/>
                    <a:gd name="connsiteY79" fmla="*/ 4457700 h 4496940"/>
                    <a:gd name="connsiteX80" fmla="*/ 2583202 w 4519987"/>
                    <a:gd name="connsiteY80" fmla="*/ 4467225 h 4496940"/>
                    <a:gd name="connsiteX81" fmla="*/ 2545102 w 4519987"/>
                    <a:gd name="connsiteY81" fmla="*/ 4486275 h 4496940"/>
                    <a:gd name="connsiteX82" fmla="*/ 2306977 w 4519987"/>
                    <a:gd name="connsiteY82" fmla="*/ 4476750 h 4496940"/>
                    <a:gd name="connsiteX83" fmla="*/ 2202202 w 4519987"/>
                    <a:gd name="connsiteY83" fmla="*/ 4457700 h 4496940"/>
                    <a:gd name="connsiteX84" fmla="*/ 2126002 w 4519987"/>
                    <a:gd name="connsiteY84" fmla="*/ 4429125 h 4496940"/>
                    <a:gd name="connsiteX85" fmla="*/ 1935502 w 4519987"/>
                    <a:gd name="connsiteY85" fmla="*/ 4400550 h 4496940"/>
                    <a:gd name="connsiteX86" fmla="*/ 1821202 w 4519987"/>
                    <a:gd name="connsiteY86" fmla="*/ 4371975 h 4496940"/>
                    <a:gd name="connsiteX87" fmla="*/ 1754527 w 4519987"/>
                    <a:gd name="connsiteY87" fmla="*/ 4352925 h 4496940"/>
                    <a:gd name="connsiteX88" fmla="*/ 1687852 w 4519987"/>
                    <a:gd name="connsiteY88" fmla="*/ 4343400 h 4496940"/>
                    <a:gd name="connsiteX89" fmla="*/ 1573552 w 4519987"/>
                    <a:gd name="connsiteY89" fmla="*/ 4305300 h 4496940"/>
                    <a:gd name="connsiteX90" fmla="*/ 1402102 w 4519987"/>
                    <a:gd name="connsiteY90" fmla="*/ 4276725 h 4496940"/>
                    <a:gd name="connsiteX91" fmla="*/ 1287802 w 4519987"/>
                    <a:gd name="connsiteY91" fmla="*/ 4229100 h 4496940"/>
                    <a:gd name="connsiteX92" fmla="*/ 1221127 w 4519987"/>
                    <a:gd name="connsiteY92" fmla="*/ 4200525 h 4496940"/>
                    <a:gd name="connsiteX93" fmla="*/ 1144927 w 4519987"/>
                    <a:gd name="connsiteY93" fmla="*/ 4171950 h 4496940"/>
                    <a:gd name="connsiteX94" fmla="*/ 1087777 w 4519987"/>
                    <a:gd name="connsiteY94" fmla="*/ 4143375 h 4496940"/>
                    <a:gd name="connsiteX95" fmla="*/ 1030627 w 4519987"/>
                    <a:gd name="connsiteY95" fmla="*/ 4124325 h 4496940"/>
                    <a:gd name="connsiteX96" fmla="*/ 925852 w 4519987"/>
                    <a:gd name="connsiteY96" fmla="*/ 4067175 h 4496940"/>
                    <a:gd name="connsiteX97" fmla="*/ 830602 w 4519987"/>
                    <a:gd name="connsiteY97" fmla="*/ 3981450 h 4496940"/>
                    <a:gd name="connsiteX98" fmla="*/ 763927 w 4519987"/>
                    <a:gd name="connsiteY98" fmla="*/ 3914775 h 4496940"/>
                    <a:gd name="connsiteX99" fmla="*/ 725827 w 4519987"/>
                    <a:gd name="connsiteY99" fmla="*/ 3876675 h 4496940"/>
                    <a:gd name="connsiteX100" fmla="*/ 697252 w 4519987"/>
                    <a:gd name="connsiteY100" fmla="*/ 3838575 h 4496940"/>
                    <a:gd name="connsiteX101" fmla="*/ 640102 w 4519987"/>
                    <a:gd name="connsiteY101" fmla="*/ 3781425 h 4496940"/>
                    <a:gd name="connsiteX102" fmla="*/ 611527 w 4519987"/>
                    <a:gd name="connsiteY102" fmla="*/ 3733800 h 4496940"/>
                    <a:gd name="connsiteX103" fmla="*/ 554377 w 4519987"/>
                    <a:gd name="connsiteY103" fmla="*/ 3657600 h 4496940"/>
                    <a:gd name="connsiteX104" fmla="*/ 525802 w 4519987"/>
                    <a:gd name="connsiteY104" fmla="*/ 3609975 h 4496940"/>
                    <a:gd name="connsiteX105" fmla="*/ 497227 w 4519987"/>
                    <a:gd name="connsiteY105" fmla="*/ 3552825 h 4496940"/>
                    <a:gd name="connsiteX106" fmla="*/ 440077 w 4519987"/>
                    <a:gd name="connsiteY106" fmla="*/ 3495675 h 4496940"/>
                    <a:gd name="connsiteX107" fmla="*/ 411502 w 4519987"/>
                    <a:gd name="connsiteY107" fmla="*/ 3448050 h 4496940"/>
                    <a:gd name="connsiteX108" fmla="*/ 278152 w 4519987"/>
                    <a:gd name="connsiteY108" fmla="*/ 3257550 h 4496940"/>
                    <a:gd name="connsiteX109" fmla="*/ 249577 w 4519987"/>
                    <a:gd name="connsiteY109" fmla="*/ 3200400 h 4496940"/>
                    <a:gd name="connsiteX110" fmla="*/ 240052 w 4519987"/>
                    <a:gd name="connsiteY110" fmla="*/ 3162300 h 4496940"/>
                    <a:gd name="connsiteX111" fmla="*/ 221002 w 4519987"/>
                    <a:gd name="connsiteY111" fmla="*/ 3105150 h 4496940"/>
                    <a:gd name="connsiteX112" fmla="*/ 173377 w 4519987"/>
                    <a:gd name="connsiteY112" fmla="*/ 3019425 h 4496940"/>
                    <a:gd name="connsiteX113" fmla="*/ 144802 w 4519987"/>
                    <a:gd name="connsiteY113" fmla="*/ 2924175 h 4496940"/>
                    <a:gd name="connsiteX114" fmla="*/ 68602 w 4519987"/>
                    <a:gd name="connsiteY114" fmla="*/ 2724150 h 4496940"/>
                    <a:gd name="connsiteX115" fmla="*/ 49552 w 4519987"/>
                    <a:gd name="connsiteY115" fmla="*/ 2638425 h 4496940"/>
                    <a:gd name="connsiteX116" fmla="*/ 40027 w 4519987"/>
                    <a:gd name="connsiteY116" fmla="*/ 2562225 h 4496940"/>
                    <a:gd name="connsiteX117" fmla="*/ 30502 w 4519987"/>
                    <a:gd name="connsiteY117" fmla="*/ 2514600 h 4496940"/>
                    <a:gd name="connsiteX118" fmla="*/ 11452 w 4519987"/>
                    <a:gd name="connsiteY118" fmla="*/ 2400300 h 4496940"/>
                    <a:gd name="connsiteX119" fmla="*/ 20977 w 4519987"/>
                    <a:gd name="connsiteY119" fmla="*/ 1905000 h 4496940"/>
                    <a:gd name="connsiteX120" fmla="*/ 30502 w 4519987"/>
                    <a:gd name="connsiteY120" fmla="*/ 1838325 h 4496940"/>
                    <a:gd name="connsiteX121" fmla="*/ 49552 w 4519987"/>
                    <a:gd name="connsiteY121" fmla="*/ 1781175 h 4496940"/>
                    <a:gd name="connsiteX122" fmla="*/ 59077 w 4519987"/>
                    <a:gd name="connsiteY122" fmla="*/ 1743075 h 4496940"/>
                    <a:gd name="connsiteX123" fmla="*/ 78127 w 4519987"/>
                    <a:gd name="connsiteY123" fmla="*/ 1685925 h 4496940"/>
                    <a:gd name="connsiteX124" fmla="*/ 87652 w 4519987"/>
                    <a:gd name="connsiteY124" fmla="*/ 1638300 h 4496940"/>
                    <a:gd name="connsiteX125" fmla="*/ 106702 w 4519987"/>
                    <a:gd name="connsiteY125" fmla="*/ 1590675 h 4496940"/>
                    <a:gd name="connsiteX126" fmla="*/ 135277 w 4519987"/>
                    <a:gd name="connsiteY126" fmla="*/ 1504950 h 4496940"/>
                    <a:gd name="connsiteX127" fmla="*/ 154327 w 4519987"/>
                    <a:gd name="connsiteY127" fmla="*/ 1419225 h 4496940"/>
                    <a:gd name="connsiteX128" fmla="*/ 230527 w 4519987"/>
                    <a:gd name="connsiteY128" fmla="*/ 1276350 h 4496940"/>
                    <a:gd name="connsiteX129" fmla="*/ 240052 w 4519987"/>
                    <a:gd name="connsiteY129" fmla="*/ 1247775 h 4496940"/>
                    <a:gd name="connsiteX130" fmla="*/ 268627 w 4519987"/>
                    <a:gd name="connsiteY130" fmla="*/ 1200150 h 4496940"/>
                    <a:gd name="connsiteX131" fmla="*/ 287677 w 4519987"/>
                    <a:gd name="connsiteY131" fmla="*/ 1152525 h 4496940"/>
                    <a:gd name="connsiteX132" fmla="*/ 316252 w 4519987"/>
                    <a:gd name="connsiteY132" fmla="*/ 1114425 h 4496940"/>
                    <a:gd name="connsiteX133" fmla="*/ 363877 w 4519987"/>
                    <a:gd name="connsiteY133" fmla="*/ 1038225 h 4496940"/>
                    <a:gd name="connsiteX134" fmla="*/ 382927 w 4519987"/>
                    <a:gd name="connsiteY134" fmla="*/ 1009650 h 4496940"/>
                    <a:gd name="connsiteX135" fmla="*/ 440077 w 4519987"/>
                    <a:gd name="connsiteY135" fmla="*/ 904875 h 4496940"/>
                    <a:gd name="connsiteX136" fmla="*/ 478177 w 4519987"/>
                    <a:gd name="connsiteY136" fmla="*/ 857250 h 4496940"/>
                    <a:gd name="connsiteX137" fmla="*/ 497227 w 4519987"/>
                    <a:gd name="connsiteY137" fmla="*/ 828675 h 4496940"/>
                    <a:gd name="connsiteX138" fmla="*/ 535327 w 4519987"/>
                    <a:gd name="connsiteY138" fmla="*/ 800100 h 4496940"/>
                    <a:gd name="connsiteX139" fmla="*/ 602002 w 4519987"/>
                    <a:gd name="connsiteY139" fmla="*/ 733425 h 4496940"/>
                    <a:gd name="connsiteX140" fmla="*/ 668677 w 4519987"/>
                    <a:gd name="connsiteY140" fmla="*/ 676275 h 4496940"/>
                    <a:gd name="connsiteX141" fmla="*/ 697252 w 4519987"/>
                    <a:gd name="connsiteY141" fmla="*/ 657225 h 4496940"/>
                    <a:gd name="connsiteX142" fmla="*/ 840127 w 4519987"/>
                    <a:gd name="connsiteY142" fmla="*/ 533400 h 4496940"/>
                    <a:gd name="connsiteX143" fmla="*/ 887752 w 4519987"/>
                    <a:gd name="connsiteY143" fmla="*/ 504825 h 4496940"/>
                    <a:gd name="connsiteX144" fmla="*/ 1167152 w 4519987"/>
                    <a:gd name="connsiteY144" fmla="*/ 311150 h 4496940"/>
                    <a:gd name="connsiteX145" fmla="*/ 1268752 w 4519987"/>
                    <a:gd name="connsiteY145" fmla="*/ 285750 h 4496940"/>
                    <a:gd name="connsiteX146" fmla="*/ 1411627 w 4519987"/>
                    <a:gd name="connsiteY146" fmla="*/ 190500 h 4496940"/>
                    <a:gd name="connsiteX147" fmla="*/ 1449727 w 4519987"/>
                    <a:gd name="connsiteY147" fmla="*/ 161925 h 4496940"/>
                    <a:gd name="connsiteX148" fmla="*/ 1525927 w 4519987"/>
                    <a:gd name="connsiteY148" fmla="*/ 152400 h 4496940"/>
                    <a:gd name="connsiteX149" fmla="*/ 1583077 w 4519987"/>
                    <a:gd name="connsiteY149" fmla="*/ 142875 h 4496940"/>
                    <a:gd name="connsiteX150" fmla="*/ 1716427 w 4519987"/>
                    <a:gd name="connsiteY150" fmla="*/ 123825 h 4496940"/>
                    <a:gd name="connsiteX151" fmla="*/ 1811677 w 4519987"/>
                    <a:gd name="connsiteY151" fmla="*/ 114300 h 4496940"/>
                    <a:gd name="connsiteX152" fmla="*/ 1859302 w 4519987"/>
                    <a:gd name="connsiteY152" fmla="*/ 104775 h 4496940"/>
                    <a:gd name="connsiteX153" fmla="*/ 1916452 w 4519987"/>
                    <a:gd name="connsiteY153" fmla="*/ 95250 h 4496940"/>
                    <a:gd name="connsiteX154" fmla="*/ 2030752 w 4519987"/>
                    <a:gd name="connsiteY154" fmla="*/ 66675 h 4496940"/>
                    <a:gd name="connsiteX155" fmla="*/ 2097427 w 4519987"/>
                    <a:gd name="connsiteY155" fmla="*/ 47625 h 4496940"/>
                    <a:gd name="connsiteX156" fmla="*/ 2164102 w 4519987"/>
                    <a:gd name="connsiteY156" fmla="*/ 38100 h 4496940"/>
                    <a:gd name="connsiteX157" fmla="*/ 2392702 w 4519987"/>
                    <a:gd name="connsiteY15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07202 w 4519987"/>
                    <a:gd name="connsiteY29" fmla="*/ 876300 h 4496940"/>
                    <a:gd name="connsiteX30" fmla="*/ 4135777 w 4519987"/>
                    <a:gd name="connsiteY30" fmla="*/ 933450 h 4496940"/>
                    <a:gd name="connsiteX31" fmla="*/ 4164352 w 4519987"/>
                    <a:gd name="connsiteY31" fmla="*/ 990600 h 4496940"/>
                    <a:gd name="connsiteX32" fmla="*/ 4173877 w 4519987"/>
                    <a:gd name="connsiteY32" fmla="*/ 1019175 h 4496940"/>
                    <a:gd name="connsiteX33" fmla="*/ 4192927 w 4519987"/>
                    <a:gd name="connsiteY33" fmla="*/ 1057275 h 4496940"/>
                    <a:gd name="connsiteX34" fmla="*/ 4202452 w 4519987"/>
                    <a:gd name="connsiteY34" fmla="*/ 1085850 h 4496940"/>
                    <a:gd name="connsiteX35" fmla="*/ 4250077 w 4519987"/>
                    <a:gd name="connsiteY35" fmla="*/ 1143000 h 4496940"/>
                    <a:gd name="connsiteX36" fmla="*/ 4259602 w 4519987"/>
                    <a:gd name="connsiteY36" fmla="*/ 1190625 h 4496940"/>
                    <a:gd name="connsiteX37" fmla="*/ 4307227 w 4519987"/>
                    <a:gd name="connsiteY37" fmla="*/ 1266825 h 4496940"/>
                    <a:gd name="connsiteX38" fmla="*/ 4345327 w 4519987"/>
                    <a:gd name="connsiteY38" fmla="*/ 1362075 h 4496940"/>
                    <a:gd name="connsiteX39" fmla="*/ 4373902 w 4519987"/>
                    <a:gd name="connsiteY39" fmla="*/ 1428750 h 4496940"/>
                    <a:gd name="connsiteX40" fmla="*/ 4392952 w 4519987"/>
                    <a:gd name="connsiteY40" fmla="*/ 1552575 h 4496940"/>
                    <a:gd name="connsiteX41" fmla="*/ 4402477 w 4519987"/>
                    <a:gd name="connsiteY41" fmla="*/ 1590675 h 4496940"/>
                    <a:gd name="connsiteX42" fmla="*/ 4431052 w 4519987"/>
                    <a:gd name="connsiteY42" fmla="*/ 1685925 h 4496940"/>
                    <a:gd name="connsiteX43" fmla="*/ 4519952 w 4519987"/>
                    <a:gd name="connsiteY43" fmla="*/ 2181225 h 4496940"/>
                    <a:gd name="connsiteX44" fmla="*/ 4446927 w 4519987"/>
                    <a:gd name="connsiteY44" fmla="*/ 2768600 h 4496940"/>
                    <a:gd name="connsiteX45" fmla="*/ 4383427 w 4519987"/>
                    <a:gd name="connsiteY45" fmla="*/ 2990850 h 4496940"/>
                    <a:gd name="connsiteX46" fmla="*/ 4278652 w 4519987"/>
                    <a:gd name="connsiteY46" fmla="*/ 3248025 h 4496940"/>
                    <a:gd name="connsiteX47" fmla="*/ 4259602 w 4519987"/>
                    <a:gd name="connsiteY47" fmla="*/ 3276600 h 4496940"/>
                    <a:gd name="connsiteX48" fmla="*/ 4221502 w 4519987"/>
                    <a:gd name="connsiteY48" fmla="*/ 3333750 h 4496940"/>
                    <a:gd name="connsiteX49" fmla="*/ 4211977 w 4519987"/>
                    <a:gd name="connsiteY49" fmla="*/ 3362325 h 4496940"/>
                    <a:gd name="connsiteX50" fmla="*/ 4183402 w 4519987"/>
                    <a:gd name="connsiteY50" fmla="*/ 3400425 h 4496940"/>
                    <a:gd name="connsiteX51" fmla="*/ 4164352 w 4519987"/>
                    <a:gd name="connsiteY51" fmla="*/ 3429000 h 4496940"/>
                    <a:gd name="connsiteX52" fmla="*/ 4088152 w 4519987"/>
                    <a:gd name="connsiteY52" fmla="*/ 3495675 h 4496940"/>
                    <a:gd name="connsiteX53" fmla="*/ 4059577 w 4519987"/>
                    <a:gd name="connsiteY53" fmla="*/ 3533775 h 4496940"/>
                    <a:gd name="connsiteX54" fmla="*/ 4002427 w 4519987"/>
                    <a:gd name="connsiteY54" fmla="*/ 3600450 h 4496940"/>
                    <a:gd name="connsiteX55" fmla="*/ 3983377 w 4519987"/>
                    <a:gd name="connsiteY55" fmla="*/ 3629025 h 4496940"/>
                    <a:gd name="connsiteX56" fmla="*/ 3954802 w 4519987"/>
                    <a:gd name="connsiteY56" fmla="*/ 3648075 h 4496940"/>
                    <a:gd name="connsiteX57" fmla="*/ 3907177 w 4519987"/>
                    <a:gd name="connsiteY57" fmla="*/ 3686175 h 4496940"/>
                    <a:gd name="connsiteX58" fmla="*/ 3869077 w 4519987"/>
                    <a:gd name="connsiteY58" fmla="*/ 3724275 h 4496940"/>
                    <a:gd name="connsiteX59" fmla="*/ 3792877 w 4519987"/>
                    <a:gd name="connsiteY59" fmla="*/ 3781425 h 4496940"/>
                    <a:gd name="connsiteX60" fmla="*/ 3783352 w 4519987"/>
                    <a:gd name="connsiteY60" fmla="*/ 3810000 h 4496940"/>
                    <a:gd name="connsiteX61" fmla="*/ 3745252 w 4519987"/>
                    <a:gd name="connsiteY61" fmla="*/ 3819525 h 4496940"/>
                    <a:gd name="connsiteX62" fmla="*/ 3678577 w 4519987"/>
                    <a:gd name="connsiteY62" fmla="*/ 3848100 h 4496940"/>
                    <a:gd name="connsiteX63" fmla="*/ 3659527 w 4519987"/>
                    <a:gd name="connsiteY63" fmla="*/ 3971925 h 4496940"/>
                    <a:gd name="connsiteX64" fmla="*/ 3630952 w 4519987"/>
                    <a:gd name="connsiteY64" fmla="*/ 4010025 h 4496940"/>
                    <a:gd name="connsiteX65" fmla="*/ 3621427 w 4519987"/>
                    <a:gd name="connsiteY65" fmla="*/ 4038600 h 4496940"/>
                    <a:gd name="connsiteX66" fmla="*/ 3554752 w 4519987"/>
                    <a:gd name="connsiteY66" fmla="*/ 4095750 h 4496940"/>
                    <a:gd name="connsiteX67" fmla="*/ 3516652 w 4519987"/>
                    <a:gd name="connsiteY67" fmla="*/ 4114800 h 4496940"/>
                    <a:gd name="connsiteX68" fmla="*/ 3497602 w 4519987"/>
                    <a:gd name="connsiteY68" fmla="*/ 4143375 h 4496940"/>
                    <a:gd name="connsiteX69" fmla="*/ 3383302 w 4519987"/>
                    <a:gd name="connsiteY69" fmla="*/ 4210050 h 4496940"/>
                    <a:gd name="connsiteX70" fmla="*/ 3335677 w 4519987"/>
                    <a:gd name="connsiteY70" fmla="*/ 4238625 h 4496940"/>
                    <a:gd name="connsiteX71" fmla="*/ 3288052 w 4519987"/>
                    <a:gd name="connsiteY71" fmla="*/ 4248150 h 4496940"/>
                    <a:gd name="connsiteX72" fmla="*/ 3240427 w 4519987"/>
                    <a:gd name="connsiteY72" fmla="*/ 4267200 h 4496940"/>
                    <a:gd name="connsiteX73" fmla="*/ 3068977 w 4519987"/>
                    <a:gd name="connsiteY73" fmla="*/ 4286250 h 4496940"/>
                    <a:gd name="connsiteX74" fmla="*/ 2935627 w 4519987"/>
                    <a:gd name="connsiteY74" fmla="*/ 4333875 h 4496940"/>
                    <a:gd name="connsiteX75" fmla="*/ 2811802 w 4519987"/>
                    <a:gd name="connsiteY75" fmla="*/ 4371975 h 4496940"/>
                    <a:gd name="connsiteX76" fmla="*/ 2745127 w 4519987"/>
                    <a:gd name="connsiteY76" fmla="*/ 4410075 h 4496940"/>
                    <a:gd name="connsiteX77" fmla="*/ 2697502 w 4519987"/>
                    <a:gd name="connsiteY77" fmla="*/ 4429125 h 4496940"/>
                    <a:gd name="connsiteX78" fmla="*/ 2640352 w 4519987"/>
                    <a:gd name="connsiteY78" fmla="*/ 4457700 h 4496940"/>
                    <a:gd name="connsiteX79" fmla="*/ 2583202 w 4519987"/>
                    <a:gd name="connsiteY79" fmla="*/ 4467225 h 4496940"/>
                    <a:gd name="connsiteX80" fmla="*/ 2545102 w 4519987"/>
                    <a:gd name="connsiteY80" fmla="*/ 4486275 h 4496940"/>
                    <a:gd name="connsiteX81" fmla="*/ 2306977 w 4519987"/>
                    <a:gd name="connsiteY81" fmla="*/ 4476750 h 4496940"/>
                    <a:gd name="connsiteX82" fmla="*/ 2202202 w 4519987"/>
                    <a:gd name="connsiteY82" fmla="*/ 4457700 h 4496940"/>
                    <a:gd name="connsiteX83" fmla="*/ 2126002 w 4519987"/>
                    <a:gd name="connsiteY83" fmla="*/ 4429125 h 4496940"/>
                    <a:gd name="connsiteX84" fmla="*/ 1935502 w 4519987"/>
                    <a:gd name="connsiteY84" fmla="*/ 4400550 h 4496940"/>
                    <a:gd name="connsiteX85" fmla="*/ 1821202 w 4519987"/>
                    <a:gd name="connsiteY85" fmla="*/ 4371975 h 4496940"/>
                    <a:gd name="connsiteX86" fmla="*/ 1754527 w 4519987"/>
                    <a:gd name="connsiteY86" fmla="*/ 4352925 h 4496940"/>
                    <a:gd name="connsiteX87" fmla="*/ 1687852 w 4519987"/>
                    <a:gd name="connsiteY87" fmla="*/ 4343400 h 4496940"/>
                    <a:gd name="connsiteX88" fmla="*/ 1573552 w 4519987"/>
                    <a:gd name="connsiteY88" fmla="*/ 4305300 h 4496940"/>
                    <a:gd name="connsiteX89" fmla="*/ 1402102 w 4519987"/>
                    <a:gd name="connsiteY89" fmla="*/ 4276725 h 4496940"/>
                    <a:gd name="connsiteX90" fmla="*/ 1287802 w 4519987"/>
                    <a:gd name="connsiteY90" fmla="*/ 4229100 h 4496940"/>
                    <a:gd name="connsiteX91" fmla="*/ 1221127 w 4519987"/>
                    <a:gd name="connsiteY91" fmla="*/ 4200525 h 4496940"/>
                    <a:gd name="connsiteX92" fmla="*/ 1144927 w 4519987"/>
                    <a:gd name="connsiteY92" fmla="*/ 4171950 h 4496940"/>
                    <a:gd name="connsiteX93" fmla="*/ 1087777 w 4519987"/>
                    <a:gd name="connsiteY93" fmla="*/ 4143375 h 4496940"/>
                    <a:gd name="connsiteX94" fmla="*/ 1030627 w 4519987"/>
                    <a:gd name="connsiteY94" fmla="*/ 4124325 h 4496940"/>
                    <a:gd name="connsiteX95" fmla="*/ 925852 w 4519987"/>
                    <a:gd name="connsiteY95" fmla="*/ 4067175 h 4496940"/>
                    <a:gd name="connsiteX96" fmla="*/ 830602 w 4519987"/>
                    <a:gd name="connsiteY96" fmla="*/ 3981450 h 4496940"/>
                    <a:gd name="connsiteX97" fmla="*/ 763927 w 4519987"/>
                    <a:gd name="connsiteY97" fmla="*/ 3914775 h 4496940"/>
                    <a:gd name="connsiteX98" fmla="*/ 725827 w 4519987"/>
                    <a:gd name="connsiteY98" fmla="*/ 3876675 h 4496940"/>
                    <a:gd name="connsiteX99" fmla="*/ 697252 w 4519987"/>
                    <a:gd name="connsiteY99" fmla="*/ 3838575 h 4496940"/>
                    <a:gd name="connsiteX100" fmla="*/ 640102 w 4519987"/>
                    <a:gd name="connsiteY100" fmla="*/ 3781425 h 4496940"/>
                    <a:gd name="connsiteX101" fmla="*/ 611527 w 4519987"/>
                    <a:gd name="connsiteY101" fmla="*/ 3733800 h 4496940"/>
                    <a:gd name="connsiteX102" fmla="*/ 554377 w 4519987"/>
                    <a:gd name="connsiteY102" fmla="*/ 3657600 h 4496940"/>
                    <a:gd name="connsiteX103" fmla="*/ 525802 w 4519987"/>
                    <a:gd name="connsiteY103" fmla="*/ 3609975 h 4496940"/>
                    <a:gd name="connsiteX104" fmla="*/ 497227 w 4519987"/>
                    <a:gd name="connsiteY104" fmla="*/ 3552825 h 4496940"/>
                    <a:gd name="connsiteX105" fmla="*/ 440077 w 4519987"/>
                    <a:gd name="connsiteY105" fmla="*/ 3495675 h 4496940"/>
                    <a:gd name="connsiteX106" fmla="*/ 411502 w 4519987"/>
                    <a:gd name="connsiteY106" fmla="*/ 3448050 h 4496940"/>
                    <a:gd name="connsiteX107" fmla="*/ 278152 w 4519987"/>
                    <a:gd name="connsiteY107" fmla="*/ 3257550 h 4496940"/>
                    <a:gd name="connsiteX108" fmla="*/ 249577 w 4519987"/>
                    <a:gd name="connsiteY108" fmla="*/ 3200400 h 4496940"/>
                    <a:gd name="connsiteX109" fmla="*/ 240052 w 4519987"/>
                    <a:gd name="connsiteY109" fmla="*/ 3162300 h 4496940"/>
                    <a:gd name="connsiteX110" fmla="*/ 221002 w 4519987"/>
                    <a:gd name="connsiteY110" fmla="*/ 3105150 h 4496940"/>
                    <a:gd name="connsiteX111" fmla="*/ 173377 w 4519987"/>
                    <a:gd name="connsiteY111" fmla="*/ 3019425 h 4496940"/>
                    <a:gd name="connsiteX112" fmla="*/ 144802 w 4519987"/>
                    <a:gd name="connsiteY112" fmla="*/ 2924175 h 4496940"/>
                    <a:gd name="connsiteX113" fmla="*/ 68602 w 4519987"/>
                    <a:gd name="connsiteY113" fmla="*/ 2724150 h 4496940"/>
                    <a:gd name="connsiteX114" fmla="*/ 49552 w 4519987"/>
                    <a:gd name="connsiteY114" fmla="*/ 2638425 h 4496940"/>
                    <a:gd name="connsiteX115" fmla="*/ 40027 w 4519987"/>
                    <a:gd name="connsiteY115" fmla="*/ 2562225 h 4496940"/>
                    <a:gd name="connsiteX116" fmla="*/ 30502 w 4519987"/>
                    <a:gd name="connsiteY116" fmla="*/ 2514600 h 4496940"/>
                    <a:gd name="connsiteX117" fmla="*/ 11452 w 4519987"/>
                    <a:gd name="connsiteY117" fmla="*/ 2400300 h 4496940"/>
                    <a:gd name="connsiteX118" fmla="*/ 20977 w 4519987"/>
                    <a:gd name="connsiteY118" fmla="*/ 1905000 h 4496940"/>
                    <a:gd name="connsiteX119" fmla="*/ 30502 w 4519987"/>
                    <a:gd name="connsiteY119" fmla="*/ 1838325 h 4496940"/>
                    <a:gd name="connsiteX120" fmla="*/ 49552 w 4519987"/>
                    <a:gd name="connsiteY120" fmla="*/ 1781175 h 4496940"/>
                    <a:gd name="connsiteX121" fmla="*/ 59077 w 4519987"/>
                    <a:gd name="connsiteY121" fmla="*/ 1743075 h 4496940"/>
                    <a:gd name="connsiteX122" fmla="*/ 78127 w 4519987"/>
                    <a:gd name="connsiteY122" fmla="*/ 1685925 h 4496940"/>
                    <a:gd name="connsiteX123" fmla="*/ 87652 w 4519987"/>
                    <a:gd name="connsiteY123" fmla="*/ 1638300 h 4496940"/>
                    <a:gd name="connsiteX124" fmla="*/ 106702 w 4519987"/>
                    <a:gd name="connsiteY124" fmla="*/ 1590675 h 4496940"/>
                    <a:gd name="connsiteX125" fmla="*/ 135277 w 4519987"/>
                    <a:gd name="connsiteY125" fmla="*/ 1504950 h 4496940"/>
                    <a:gd name="connsiteX126" fmla="*/ 154327 w 4519987"/>
                    <a:gd name="connsiteY126" fmla="*/ 1419225 h 4496940"/>
                    <a:gd name="connsiteX127" fmla="*/ 230527 w 4519987"/>
                    <a:gd name="connsiteY127" fmla="*/ 1276350 h 4496940"/>
                    <a:gd name="connsiteX128" fmla="*/ 240052 w 4519987"/>
                    <a:gd name="connsiteY128" fmla="*/ 1247775 h 4496940"/>
                    <a:gd name="connsiteX129" fmla="*/ 268627 w 4519987"/>
                    <a:gd name="connsiteY129" fmla="*/ 1200150 h 4496940"/>
                    <a:gd name="connsiteX130" fmla="*/ 287677 w 4519987"/>
                    <a:gd name="connsiteY130" fmla="*/ 1152525 h 4496940"/>
                    <a:gd name="connsiteX131" fmla="*/ 316252 w 4519987"/>
                    <a:gd name="connsiteY131" fmla="*/ 1114425 h 4496940"/>
                    <a:gd name="connsiteX132" fmla="*/ 363877 w 4519987"/>
                    <a:gd name="connsiteY132" fmla="*/ 1038225 h 4496940"/>
                    <a:gd name="connsiteX133" fmla="*/ 382927 w 4519987"/>
                    <a:gd name="connsiteY133" fmla="*/ 1009650 h 4496940"/>
                    <a:gd name="connsiteX134" fmla="*/ 440077 w 4519987"/>
                    <a:gd name="connsiteY134" fmla="*/ 904875 h 4496940"/>
                    <a:gd name="connsiteX135" fmla="*/ 478177 w 4519987"/>
                    <a:gd name="connsiteY135" fmla="*/ 857250 h 4496940"/>
                    <a:gd name="connsiteX136" fmla="*/ 497227 w 4519987"/>
                    <a:gd name="connsiteY136" fmla="*/ 828675 h 4496940"/>
                    <a:gd name="connsiteX137" fmla="*/ 535327 w 4519987"/>
                    <a:gd name="connsiteY137" fmla="*/ 800100 h 4496940"/>
                    <a:gd name="connsiteX138" fmla="*/ 602002 w 4519987"/>
                    <a:gd name="connsiteY138" fmla="*/ 733425 h 4496940"/>
                    <a:gd name="connsiteX139" fmla="*/ 668677 w 4519987"/>
                    <a:gd name="connsiteY139" fmla="*/ 676275 h 4496940"/>
                    <a:gd name="connsiteX140" fmla="*/ 697252 w 4519987"/>
                    <a:gd name="connsiteY140" fmla="*/ 657225 h 4496940"/>
                    <a:gd name="connsiteX141" fmla="*/ 840127 w 4519987"/>
                    <a:gd name="connsiteY141" fmla="*/ 533400 h 4496940"/>
                    <a:gd name="connsiteX142" fmla="*/ 887752 w 4519987"/>
                    <a:gd name="connsiteY142" fmla="*/ 504825 h 4496940"/>
                    <a:gd name="connsiteX143" fmla="*/ 1167152 w 4519987"/>
                    <a:gd name="connsiteY143" fmla="*/ 311150 h 4496940"/>
                    <a:gd name="connsiteX144" fmla="*/ 1268752 w 4519987"/>
                    <a:gd name="connsiteY144" fmla="*/ 285750 h 4496940"/>
                    <a:gd name="connsiteX145" fmla="*/ 1411627 w 4519987"/>
                    <a:gd name="connsiteY145" fmla="*/ 190500 h 4496940"/>
                    <a:gd name="connsiteX146" fmla="*/ 1449727 w 4519987"/>
                    <a:gd name="connsiteY146" fmla="*/ 161925 h 4496940"/>
                    <a:gd name="connsiteX147" fmla="*/ 1525927 w 4519987"/>
                    <a:gd name="connsiteY147" fmla="*/ 152400 h 4496940"/>
                    <a:gd name="connsiteX148" fmla="*/ 1583077 w 4519987"/>
                    <a:gd name="connsiteY148" fmla="*/ 142875 h 4496940"/>
                    <a:gd name="connsiteX149" fmla="*/ 1716427 w 4519987"/>
                    <a:gd name="connsiteY149" fmla="*/ 123825 h 4496940"/>
                    <a:gd name="connsiteX150" fmla="*/ 1811677 w 4519987"/>
                    <a:gd name="connsiteY150" fmla="*/ 114300 h 4496940"/>
                    <a:gd name="connsiteX151" fmla="*/ 1859302 w 4519987"/>
                    <a:gd name="connsiteY151" fmla="*/ 104775 h 4496940"/>
                    <a:gd name="connsiteX152" fmla="*/ 1916452 w 4519987"/>
                    <a:gd name="connsiteY152" fmla="*/ 95250 h 4496940"/>
                    <a:gd name="connsiteX153" fmla="*/ 2030752 w 4519987"/>
                    <a:gd name="connsiteY153" fmla="*/ 66675 h 4496940"/>
                    <a:gd name="connsiteX154" fmla="*/ 2097427 w 4519987"/>
                    <a:gd name="connsiteY154" fmla="*/ 47625 h 4496940"/>
                    <a:gd name="connsiteX155" fmla="*/ 2164102 w 4519987"/>
                    <a:gd name="connsiteY155" fmla="*/ 38100 h 4496940"/>
                    <a:gd name="connsiteX156" fmla="*/ 2392702 w 4519987"/>
                    <a:gd name="connsiteY15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869077 w 4519987"/>
                    <a:gd name="connsiteY25" fmla="*/ 628650 h 4496940"/>
                    <a:gd name="connsiteX26" fmla="*/ 3907177 w 4519987"/>
                    <a:gd name="connsiteY26" fmla="*/ 647700 h 4496940"/>
                    <a:gd name="connsiteX27" fmla="*/ 3935752 w 4519987"/>
                    <a:gd name="connsiteY27" fmla="*/ 676275 h 4496940"/>
                    <a:gd name="connsiteX28" fmla="*/ 4078627 w 4519987"/>
                    <a:gd name="connsiteY28" fmla="*/ 838200 h 4496940"/>
                    <a:gd name="connsiteX29" fmla="*/ 4135777 w 4519987"/>
                    <a:gd name="connsiteY29" fmla="*/ 933450 h 4496940"/>
                    <a:gd name="connsiteX30" fmla="*/ 4164352 w 4519987"/>
                    <a:gd name="connsiteY30" fmla="*/ 990600 h 4496940"/>
                    <a:gd name="connsiteX31" fmla="*/ 4173877 w 4519987"/>
                    <a:gd name="connsiteY31" fmla="*/ 1019175 h 4496940"/>
                    <a:gd name="connsiteX32" fmla="*/ 4192927 w 4519987"/>
                    <a:gd name="connsiteY32" fmla="*/ 1057275 h 4496940"/>
                    <a:gd name="connsiteX33" fmla="*/ 4202452 w 4519987"/>
                    <a:gd name="connsiteY33" fmla="*/ 1085850 h 4496940"/>
                    <a:gd name="connsiteX34" fmla="*/ 4250077 w 4519987"/>
                    <a:gd name="connsiteY34" fmla="*/ 1143000 h 4496940"/>
                    <a:gd name="connsiteX35" fmla="*/ 4259602 w 4519987"/>
                    <a:gd name="connsiteY35" fmla="*/ 1190625 h 4496940"/>
                    <a:gd name="connsiteX36" fmla="*/ 4307227 w 4519987"/>
                    <a:gd name="connsiteY36" fmla="*/ 1266825 h 4496940"/>
                    <a:gd name="connsiteX37" fmla="*/ 4345327 w 4519987"/>
                    <a:gd name="connsiteY37" fmla="*/ 1362075 h 4496940"/>
                    <a:gd name="connsiteX38" fmla="*/ 4373902 w 4519987"/>
                    <a:gd name="connsiteY38" fmla="*/ 1428750 h 4496940"/>
                    <a:gd name="connsiteX39" fmla="*/ 4392952 w 4519987"/>
                    <a:gd name="connsiteY39" fmla="*/ 1552575 h 4496940"/>
                    <a:gd name="connsiteX40" fmla="*/ 4402477 w 4519987"/>
                    <a:gd name="connsiteY40" fmla="*/ 1590675 h 4496940"/>
                    <a:gd name="connsiteX41" fmla="*/ 4431052 w 4519987"/>
                    <a:gd name="connsiteY41" fmla="*/ 1685925 h 4496940"/>
                    <a:gd name="connsiteX42" fmla="*/ 4519952 w 4519987"/>
                    <a:gd name="connsiteY42" fmla="*/ 2181225 h 4496940"/>
                    <a:gd name="connsiteX43" fmla="*/ 4446927 w 4519987"/>
                    <a:gd name="connsiteY43" fmla="*/ 2768600 h 4496940"/>
                    <a:gd name="connsiteX44" fmla="*/ 4383427 w 4519987"/>
                    <a:gd name="connsiteY44" fmla="*/ 2990850 h 4496940"/>
                    <a:gd name="connsiteX45" fmla="*/ 4278652 w 4519987"/>
                    <a:gd name="connsiteY45" fmla="*/ 3248025 h 4496940"/>
                    <a:gd name="connsiteX46" fmla="*/ 4259602 w 4519987"/>
                    <a:gd name="connsiteY46" fmla="*/ 3276600 h 4496940"/>
                    <a:gd name="connsiteX47" fmla="*/ 4221502 w 4519987"/>
                    <a:gd name="connsiteY47" fmla="*/ 3333750 h 4496940"/>
                    <a:gd name="connsiteX48" fmla="*/ 4211977 w 4519987"/>
                    <a:gd name="connsiteY48" fmla="*/ 3362325 h 4496940"/>
                    <a:gd name="connsiteX49" fmla="*/ 4183402 w 4519987"/>
                    <a:gd name="connsiteY49" fmla="*/ 3400425 h 4496940"/>
                    <a:gd name="connsiteX50" fmla="*/ 4164352 w 4519987"/>
                    <a:gd name="connsiteY50" fmla="*/ 3429000 h 4496940"/>
                    <a:gd name="connsiteX51" fmla="*/ 4088152 w 4519987"/>
                    <a:gd name="connsiteY51" fmla="*/ 3495675 h 4496940"/>
                    <a:gd name="connsiteX52" fmla="*/ 4059577 w 4519987"/>
                    <a:gd name="connsiteY52" fmla="*/ 3533775 h 4496940"/>
                    <a:gd name="connsiteX53" fmla="*/ 4002427 w 4519987"/>
                    <a:gd name="connsiteY53" fmla="*/ 3600450 h 4496940"/>
                    <a:gd name="connsiteX54" fmla="*/ 3983377 w 4519987"/>
                    <a:gd name="connsiteY54" fmla="*/ 3629025 h 4496940"/>
                    <a:gd name="connsiteX55" fmla="*/ 3954802 w 4519987"/>
                    <a:gd name="connsiteY55" fmla="*/ 3648075 h 4496940"/>
                    <a:gd name="connsiteX56" fmla="*/ 3907177 w 4519987"/>
                    <a:gd name="connsiteY56" fmla="*/ 3686175 h 4496940"/>
                    <a:gd name="connsiteX57" fmla="*/ 3869077 w 4519987"/>
                    <a:gd name="connsiteY57" fmla="*/ 3724275 h 4496940"/>
                    <a:gd name="connsiteX58" fmla="*/ 3792877 w 4519987"/>
                    <a:gd name="connsiteY58" fmla="*/ 3781425 h 4496940"/>
                    <a:gd name="connsiteX59" fmla="*/ 3783352 w 4519987"/>
                    <a:gd name="connsiteY59" fmla="*/ 3810000 h 4496940"/>
                    <a:gd name="connsiteX60" fmla="*/ 3745252 w 4519987"/>
                    <a:gd name="connsiteY60" fmla="*/ 3819525 h 4496940"/>
                    <a:gd name="connsiteX61" fmla="*/ 3678577 w 4519987"/>
                    <a:gd name="connsiteY61" fmla="*/ 3848100 h 4496940"/>
                    <a:gd name="connsiteX62" fmla="*/ 3659527 w 4519987"/>
                    <a:gd name="connsiteY62" fmla="*/ 3971925 h 4496940"/>
                    <a:gd name="connsiteX63" fmla="*/ 3630952 w 4519987"/>
                    <a:gd name="connsiteY63" fmla="*/ 4010025 h 4496940"/>
                    <a:gd name="connsiteX64" fmla="*/ 3621427 w 4519987"/>
                    <a:gd name="connsiteY64" fmla="*/ 4038600 h 4496940"/>
                    <a:gd name="connsiteX65" fmla="*/ 3554752 w 4519987"/>
                    <a:gd name="connsiteY65" fmla="*/ 4095750 h 4496940"/>
                    <a:gd name="connsiteX66" fmla="*/ 3516652 w 4519987"/>
                    <a:gd name="connsiteY66" fmla="*/ 4114800 h 4496940"/>
                    <a:gd name="connsiteX67" fmla="*/ 3497602 w 4519987"/>
                    <a:gd name="connsiteY67" fmla="*/ 4143375 h 4496940"/>
                    <a:gd name="connsiteX68" fmla="*/ 3383302 w 4519987"/>
                    <a:gd name="connsiteY68" fmla="*/ 4210050 h 4496940"/>
                    <a:gd name="connsiteX69" fmla="*/ 3335677 w 4519987"/>
                    <a:gd name="connsiteY69" fmla="*/ 4238625 h 4496940"/>
                    <a:gd name="connsiteX70" fmla="*/ 3288052 w 4519987"/>
                    <a:gd name="connsiteY70" fmla="*/ 4248150 h 4496940"/>
                    <a:gd name="connsiteX71" fmla="*/ 3240427 w 4519987"/>
                    <a:gd name="connsiteY71" fmla="*/ 4267200 h 4496940"/>
                    <a:gd name="connsiteX72" fmla="*/ 3068977 w 4519987"/>
                    <a:gd name="connsiteY72" fmla="*/ 4286250 h 4496940"/>
                    <a:gd name="connsiteX73" fmla="*/ 2935627 w 4519987"/>
                    <a:gd name="connsiteY73" fmla="*/ 4333875 h 4496940"/>
                    <a:gd name="connsiteX74" fmla="*/ 2811802 w 4519987"/>
                    <a:gd name="connsiteY74" fmla="*/ 4371975 h 4496940"/>
                    <a:gd name="connsiteX75" fmla="*/ 2745127 w 4519987"/>
                    <a:gd name="connsiteY75" fmla="*/ 4410075 h 4496940"/>
                    <a:gd name="connsiteX76" fmla="*/ 2697502 w 4519987"/>
                    <a:gd name="connsiteY76" fmla="*/ 4429125 h 4496940"/>
                    <a:gd name="connsiteX77" fmla="*/ 2640352 w 4519987"/>
                    <a:gd name="connsiteY77" fmla="*/ 4457700 h 4496940"/>
                    <a:gd name="connsiteX78" fmla="*/ 2583202 w 4519987"/>
                    <a:gd name="connsiteY78" fmla="*/ 4467225 h 4496940"/>
                    <a:gd name="connsiteX79" fmla="*/ 2545102 w 4519987"/>
                    <a:gd name="connsiteY79" fmla="*/ 4486275 h 4496940"/>
                    <a:gd name="connsiteX80" fmla="*/ 2306977 w 4519987"/>
                    <a:gd name="connsiteY80" fmla="*/ 4476750 h 4496940"/>
                    <a:gd name="connsiteX81" fmla="*/ 2202202 w 4519987"/>
                    <a:gd name="connsiteY81" fmla="*/ 4457700 h 4496940"/>
                    <a:gd name="connsiteX82" fmla="*/ 2126002 w 4519987"/>
                    <a:gd name="connsiteY82" fmla="*/ 4429125 h 4496940"/>
                    <a:gd name="connsiteX83" fmla="*/ 1935502 w 4519987"/>
                    <a:gd name="connsiteY83" fmla="*/ 4400550 h 4496940"/>
                    <a:gd name="connsiteX84" fmla="*/ 1821202 w 4519987"/>
                    <a:gd name="connsiteY84" fmla="*/ 4371975 h 4496940"/>
                    <a:gd name="connsiteX85" fmla="*/ 1754527 w 4519987"/>
                    <a:gd name="connsiteY85" fmla="*/ 4352925 h 4496940"/>
                    <a:gd name="connsiteX86" fmla="*/ 1687852 w 4519987"/>
                    <a:gd name="connsiteY86" fmla="*/ 4343400 h 4496940"/>
                    <a:gd name="connsiteX87" fmla="*/ 1573552 w 4519987"/>
                    <a:gd name="connsiteY87" fmla="*/ 4305300 h 4496940"/>
                    <a:gd name="connsiteX88" fmla="*/ 1402102 w 4519987"/>
                    <a:gd name="connsiteY88" fmla="*/ 4276725 h 4496940"/>
                    <a:gd name="connsiteX89" fmla="*/ 1287802 w 4519987"/>
                    <a:gd name="connsiteY89" fmla="*/ 4229100 h 4496940"/>
                    <a:gd name="connsiteX90" fmla="*/ 1221127 w 4519987"/>
                    <a:gd name="connsiteY90" fmla="*/ 4200525 h 4496940"/>
                    <a:gd name="connsiteX91" fmla="*/ 1144927 w 4519987"/>
                    <a:gd name="connsiteY91" fmla="*/ 4171950 h 4496940"/>
                    <a:gd name="connsiteX92" fmla="*/ 1087777 w 4519987"/>
                    <a:gd name="connsiteY92" fmla="*/ 4143375 h 4496940"/>
                    <a:gd name="connsiteX93" fmla="*/ 1030627 w 4519987"/>
                    <a:gd name="connsiteY93" fmla="*/ 4124325 h 4496940"/>
                    <a:gd name="connsiteX94" fmla="*/ 925852 w 4519987"/>
                    <a:gd name="connsiteY94" fmla="*/ 4067175 h 4496940"/>
                    <a:gd name="connsiteX95" fmla="*/ 830602 w 4519987"/>
                    <a:gd name="connsiteY95" fmla="*/ 3981450 h 4496940"/>
                    <a:gd name="connsiteX96" fmla="*/ 763927 w 4519987"/>
                    <a:gd name="connsiteY96" fmla="*/ 3914775 h 4496940"/>
                    <a:gd name="connsiteX97" fmla="*/ 725827 w 4519987"/>
                    <a:gd name="connsiteY97" fmla="*/ 3876675 h 4496940"/>
                    <a:gd name="connsiteX98" fmla="*/ 697252 w 4519987"/>
                    <a:gd name="connsiteY98" fmla="*/ 3838575 h 4496940"/>
                    <a:gd name="connsiteX99" fmla="*/ 640102 w 4519987"/>
                    <a:gd name="connsiteY99" fmla="*/ 3781425 h 4496940"/>
                    <a:gd name="connsiteX100" fmla="*/ 611527 w 4519987"/>
                    <a:gd name="connsiteY100" fmla="*/ 3733800 h 4496940"/>
                    <a:gd name="connsiteX101" fmla="*/ 554377 w 4519987"/>
                    <a:gd name="connsiteY101" fmla="*/ 3657600 h 4496940"/>
                    <a:gd name="connsiteX102" fmla="*/ 525802 w 4519987"/>
                    <a:gd name="connsiteY102" fmla="*/ 3609975 h 4496940"/>
                    <a:gd name="connsiteX103" fmla="*/ 497227 w 4519987"/>
                    <a:gd name="connsiteY103" fmla="*/ 3552825 h 4496940"/>
                    <a:gd name="connsiteX104" fmla="*/ 440077 w 4519987"/>
                    <a:gd name="connsiteY104" fmla="*/ 3495675 h 4496940"/>
                    <a:gd name="connsiteX105" fmla="*/ 411502 w 4519987"/>
                    <a:gd name="connsiteY105" fmla="*/ 3448050 h 4496940"/>
                    <a:gd name="connsiteX106" fmla="*/ 278152 w 4519987"/>
                    <a:gd name="connsiteY106" fmla="*/ 3257550 h 4496940"/>
                    <a:gd name="connsiteX107" fmla="*/ 249577 w 4519987"/>
                    <a:gd name="connsiteY107" fmla="*/ 3200400 h 4496940"/>
                    <a:gd name="connsiteX108" fmla="*/ 240052 w 4519987"/>
                    <a:gd name="connsiteY108" fmla="*/ 3162300 h 4496940"/>
                    <a:gd name="connsiteX109" fmla="*/ 221002 w 4519987"/>
                    <a:gd name="connsiteY109" fmla="*/ 3105150 h 4496940"/>
                    <a:gd name="connsiteX110" fmla="*/ 173377 w 4519987"/>
                    <a:gd name="connsiteY110" fmla="*/ 3019425 h 4496940"/>
                    <a:gd name="connsiteX111" fmla="*/ 144802 w 4519987"/>
                    <a:gd name="connsiteY111" fmla="*/ 2924175 h 4496940"/>
                    <a:gd name="connsiteX112" fmla="*/ 68602 w 4519987"/>
                    <a:gd name="connsiteY112" fmla="*/ 2724150 h 4496940"/>
                    <a:gd name="connsiteX113" fmla="*/ 49552 w 4519987"/>
                    <a:gd name="connsiteY113" fmla="*/ 2638425 h 4496940"/>
                    <a:gd name="connsiteX114" fmla="*/ 40027 w 4519987"/>
                    <a:gd name="connsiteY114" fmla="*/ 2562225 h 4496940"/>
                    <a:gd name="connsiteX115" fmla="*/ 30502 w 4519987"/>
                    <a:gd name="connsiteY115" fmla="*/ 2514600 h 4496940"/>
                    <a:gd name="connsiteX116" fmla="*/ 11452 w 4519987"/>
                    <a:gd name="connsiteY116" fmla="*/ 2400300 h 4496940"/>
                    <a:gd name="connsiteX117" fmla="*/ 20977 w 4519987"/>
                    <a:gd name="connsiteY117" fmla="*/ 1905000 h 4496940"/>
                    <a:gd name="connsiteX118" fmla="*/ 30502 w 4519987"/>
                    <a:gd name="connsiteY118" fmla="*/ 1838325 h 4496940"/>
                    <a:gd name="connsiteX119" fmla="*/ 49552 w 4519987"/>
                    <a:gd name="connsiteY119" fmla="*/ 1781175 h 4496940"/>
                    <a:gd name="connsiteX120" fmla="*/ 59077 w 4519987"/>
                    <a:gd name="connsiteY120" fmla="*/ 1743075 h 4496940"/>
                    <a:gd name="connsiteX121" fmla="*/ 78127 w 4519987"/>
                    <a:gd name="connsiteY121" fmla="*/ 1685925 h 4496940"/>
                    <a:gd name="connsiteX122" fmla="*/ 87652 w 4519987"/>
                    <a:gd name="connsiteY122" fmla="*/ 1638300 h 4496940"/>
                    <a:gd name="connsiteX123" fmla="*/ 106702 w 4519987"/>
                    <a:gd name="connsiteY123" fmla="*/ 1590675 h 4496940"/>
                    <a:gd name="connsiteX124" fmla="*/ 135277 w 4519987"/>
                    <a:gd name="connsiteY124" fmla="*/ 1504950 h 4496940"/>
                    <a:gd name="connsiteX125" fmla="*/ 154327 w 4519987"/>
                    <a:gd name="connsiteY125" fmla="*/ 1419225 h 4496940"/>
                    <a:gd name="connsiteX126" fmla="*/ 230527 w 4519987"/>
                    <a:gd name="connsiteY126" fmla="*/ 1276350 h 4496940"/>
                    <a:gd name="connsiteX127" fmla="*/ 240052 w 4519987"/>
                    <a:gd name="connsiteY127" fmla="*/ 1247775 h 4496940"/>
                    <a:gd name="connsiteX128" fmla="*/ 268627 w 4519987"/>
                    <a:gd name="connsiteY128" fmla="*/ 1200150 h 4496940"/>
                    <a:gd name="connsiteX129" fmla="*/ 287677 w 4519987"/>
                    <a:gd name="connsiteY129" fmla="*/ 1152525 h 4496940"/>
                    <a:gd name="connsiteX130" fmla="*/ 316252 w 4519987"/>
                    <a:gd name="connsiteY130" fmla="*/ 1114425 h 4496940"/>
                    <a:gd name="connsiteX131" fmla="*/ 363877 w 4519987"/>
                    <a:gd name="connsiteY131" fmla="*/ 1038225 h 4496940"/>
                    <a:gd name="connsiteX132" fmla="*/ 382927 w 4519987"/>
                    <a:gd name="connsiteY132" fmla="*/ 1009650 h 4496940"/>
                    <a:gd name="connsiteX133" fmla="*/ 440077 w 4519987"/>
                    <a:gd name="connsiteY133" fmla="*/ 904875 h 4496940"/>
                    <a:gd name="connsiteX134" fmla="*/ 478177 w 4519987"/>
                    <a:gd name="connsiteY134" fmla="*/ 857250 h 4496940"/>
                    <a:gd name="connsiteX135" fmla="*/ 497227 w 4519987"/>
                    <a:gd name="connsiteY135" fmla="*/ 828675 h 4496940"/>
                    <a:gd name="connsiteX136" fmla="*/ 535327 w 4519987"/>
                    <a:gd name="connsiteY136" fmla="*/ 800100 h 4496940"/>
                    <a:gd name="connsiteX137" fmla="*/ 602002 w 4519987"/>
                    <a:gd name="connsiteY137" fmla="*/ 733425 h 4496940"/>
                    <a:gd name="connsiteX138" fmla="*/ 668677 w 4519987"/>
                    <a:gd name="connsiteY138" fmla="*/ 676275 h 4496940"/>
                    <a:gd name="connsiteX139" fmla="*/ 697252 w 4519987"/>
                    <a:gd name="connsiteY139" fmla="*/ 657225 h 4496940"/>
                    <a:gd name="connsiteX140" fmla="*/ 840127 w 4519987"/>
                    <a:gd name="connsiteY140" fmla="*/ 533400 h 4496940"/>
                    <a:gd name="connsiteX141" fmla="*/ 887752 w 4519987"/>
                    <a:gd name="connsiteY141" fmla="*/ 504825 h 4496940"/>
                    <a:gd name="connsiteX142" fmla="*/ 1167152 w 4519987"/>
                    <a:gd name="connsiteY142" fmla="*/ 311150 h 4496940"/>
                    <a:gd name="connsiteX143" fmla="*/ 1268752 w 4519987"/>
                    <a:gd name="connsiteY143" fmla="*/ 285750 h 4496940"/>
                    <a:gd name="connsiteX144" fmla="*/ 1411627 w 4519987"/>
                    <a:gd name="connsiteY144" fmla="*/ 190500 h 4496940"/>
                    <a:gd name="connsiteX145" fmla="*/ 1449727 w 4519987"/>
                    <a:gd name="connsiteY145" fmla="*/ 161925 h 4496940"/>
                    <a:gd name="connsiteX146" fmla="*/ 1525927 w 4519987"/>
                    <a:gd name="connsiteY146" fmla="*/ 152400 h 4496940"/>
                    <a:gd name="connsiteX147" fmla="*/ 1583077 w 4519987"/>
                    <a:gd name="connsiteY147" fmla="*/ 142875 h 4496940"/>
                    <a:gd name="connsiteX148" fmla="*/ 1716427 w 4519987"/>
                    <a:gd name="connsiteY148" fmla="*/ 123825 h 4496940"/>
                    <a:gd name="connsiteX149" fmla="*/ 1811677 w 4519987"/>
                    <a:gd name="connsiteY149" fmla="*/ 114300 h 4496940"/>
                    <a:gd name="connsiteX150" fmla="*/ 1859302 w 4519987"/>
                    <a:gd name="connsiteY150" fmla="*/ 104775 h 4496940"/>
                    <a:gd name="connsiteX151" fmla="*/ 1916452 w 4519987"/>
                    <a:gd name="connsiteY151" fmla="*/ 95250 h 4496940"/>
                    <a:gd name="connsiteX152" fmla="*/ 2030752 w 4519987"/>
                    <a:gd name="connsiteY152" fmla="*/ 66675 h 4496940"/>
                    <a:gd name="connsiteX153" fmla="*/ 2097427 w 4519987"/>
                    <a:gd name="connsiteY153" fmla="*/ 47625 h 4496940"/>
                    <a:gd name="connsiteX154" fmla="*/ 2164102 w 4519987"/>
                    <a:gd name="connsiteY154" fmla="*/ 38100 h 4496940"/>
                    <a:gd name="connsiteX155" fmla="*/ 2392702 w 4519987"/>
                    <a:gd name="connsiteY15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840502 w 4519987"/>
                    <a:gd name="connsiteY24" fmla="*/ 600075 h 4496940"/>
                    <a:gd name="connsiteX25" fmla="*/ 3907177 w 4519987"/>
                    <a:gd name="connsiteY25" fmla="*/ 647700 h 4496940"/>
                    <a:gd name="connsiteX26" fmla="*/ 3935752 w 4519987"/>
                    <a:gd name="connsiteY26" fmla="*/ 676275 h 4496940"/>
                    <a:gd name="connsiteX27" fmla="*/ 4078627 w 4519987"/>
                    <a:gd name="connsiteY27" fmla="*/ 838200 h 4496940"/>
                    <a:gd name="connsiteX28" fmla="*/ 4135777 w 4519987"/>
                    <a:gd name="connsiteY28" fmla="*/ 933450 h 4496940"/>
                    <a:gd name="connsiteX29" fmla="*/ 4164352 w 4519987"/>
                    <a:gd name="connsiteY29" fmla="*/ 990600 h 4496940"/>
                    <a:gd name="connsiteX30" fmla="*/ 4173877 w 4519987"/>
                    <a:gd name="connsiteY30" fmla="*/ 1019175 h 4496940"/>
                    <a:gd name="connsiteX31" fmla="*/ 4192927 w 4519987"/>
                    <a:gd name="connsiteY31" fmla="*/ 1057275 h 4496940"/>
                    <a:gd name="connsiteX32" fmla="*/ 4202452 w 4519987"/>
                    <a:gd name="connsiteY32" fmla="*/ 1085850 h 4496940"/>
                    <a:gd name="connsiteX33" fmla="*/ 4250077 w 4519987"/>
                    <a:gd name="connsiteY33" fmla="*/ 1143000 h 4496940"/>
                    <a:gd name="connsiteX34" fmla="*/ 4259602 w 4519987"/>
                    <a:gd name="connsiteY34" fmla="*/ 1190625 h 4496940"/>
                    <a:gd name="connsiteX35" fmla="*/ 4307227 w 4519987"/>
                    <a:gd name="connsiteY35" fmla="*/ 1266825 h 4496940"/>
                    <a:gd name="connsiteX36" fmla="*/ 4345327 w 4519987"/>
                    <a:gd name="connsiteY36" fmla="*/ 1362075 h 4496940"/>
                    <a:gd name="connsiteX37" fmla="*/ 4373902 w 4519987"/>
                    <a:gd name="connsiteY37" fmla="*/ 1428750 h 4496940"/>
                    <a:gd name="connsiteX38" fmla="*/ 4392952 w 4519987"/>
                    <a:gd name="connsiteY38" fmla="*/ 1552575 h 4496940"/>
                    <a:gd name="connsiteX39" fmla="*/ 4402477 w 4519987"/>
                    <a:gd name="connsiteY39" fmla="*/ 1590675 h 4496940"/>
                    <a:gd name="connsiteX40" fmla="*/ 4431052 w 4519987"/>
                    <a:gd name="connsiteY40" fmla="*/ 1685925 h 4496940"/>
                    <a:gd name="connsiteX41" fmla="*/ 4519952 w 4519987"/>
                    <a:gd name="connsiteY41" fmla="*/ 2181225 h 4496940"/>
                    <a:gd name="connsiteX42" fmla="*/ 4446927 w 4519987"/>
                    <a:gd name="connsiteY42" fmla="*/ 2768600 h 4496940"/>
                    <a:gd name="connsiteX43" fmla="*/ 4383427 w 4519987"/>
                    <a:gd name="connsiteY43" fmla="*/ 2990850 h 4496940"/>
                    <a:gd name="connsiteX44" fmla="*/ 4278652 w 4519987"/>
                    <a:gd name="connsiteY44" fmla="*/ 3248025 h 4496940"/>
                    <a:gd name="connsiteX45" fmla="*/ 4259602 w 4519987"/>
                    <a:gd name="connsiteY45" fmla="*/ 3276600 h 4496940"/>
                    <a:gd name="connsiteX46" fmla="*/ 4221502 w 4519987"/>
                    <a:gd name="connsiteY46" fmla="*/ 3333750 h 4496940"/>
                    <a:gd name="connsiteX47" fmla="*/ 4211977 w 4519987"/>
                    <a:gd name="connsiteY47" fmla="*/ 3362325 h 4496940"/>
                    <a:gd name="connsiteX48" fmla="*/ 4183402 w 4519987"/>
                    <a:gd name="connsiteY48" fmla="*/ 3400425 h 4496940"/>
                    <a:gd name="connsiteX49" fmla="*/ 4164352 w 4519987"/>
                    <a:gd name="connsiteY49" fmla="*/ 3429000 h 4496940"/>
                    <a:gd name="connsiteX50" fmla="*/ 4088152 w 4519987"/>
                    <a:gd name="connsiteY50" fmla="*/ 3495675 h 4496940"/>
                    <a:gd name="connsiteX51" fmla="*/ 4059577 w 4519987"/>
                    <a:gd name="connsiteY51" fmla="*/ 3533775 h 4496940"/>
                    <a:gd name="connsiteX52" fmla="*/ 4002427 w 4519987"/>
                    <a:gd name="connsiteY52" fmla="*/ 3600450 h 4496940"/>
                    <a:gd name="connsiteX53" fmla="*/ 3983377 w 4519987"/>
                    <a:gd name="connsiteY53" fmla="*/ 3629025 h 4496940"/>
                    <a:gd name="connsiteX54" fmla="*/ 3954802 w 4519987"/>
                    <a:gd name="connsiteY54" fmla="*/ 3648075 h 4496940"/>
                    <a:gd name="connsiteX55" fmla="*/ 3907177 w 4519987"/>
                    <a:gd name="connsiteY55" fmla="*/ 3686175 h 4496940"/>
                    <a:gd name="connsiteX56" fmla="*/ 3869077 w 4519987"/>
                    <a:gd name="connsiteY56" fmla="*/ 3724275 h 4496940"/>
                    <a:gd name="connsiteX57" fmla="*/ 3792877 w 4519987"/>
                    <a:gd name="connsiteY57" fmla="*/ 3781425 h 4496940"/>
                    <a:gd name="connsiteX58" fmla="*/ 3783352 w 4519987"/>
                    <a:gd name="connsiteY58" fmla="*/ 3810000 h 4496940"/>
                    <a:gd name="connsiteX59" fmla="*/ 3745252 w 4519987"/>
                    <a:gd name="connsiteY59" fmla="*/ 3819525 h 4496940"/>
                    <a:gd name="connsiteX60" fmla="*/ 3678577 w 4519987"/>
                    <a:gd name="connsiteY60" fmla="*/ 3848100 h 4496940"/>
                    <a:gd name="connsiteX61" fmla="*/ 3659527 w 4519987"/>
                    <a:gd name="connsiteY61" fmla="*/ 3971925 h 4496940"/>
                    <a:gd name="connsiteX62" fmla="*/ 3630952 w 4519987"/>
                    <a:gd name="connsiteY62" fmla="*/ 4010025 h 4496940"/>
                    <a:gd name="connsiteX63" fmla="*/ 3621427 w 4519987"/>
                    <a:gd name="connsiteY63" fmla="*/ 4038600 h 4496940"/>
                    <a:gd name="connsiteX64" fmla="*/ 3554752 w 4519987"/>
                    <a:gd name="connsiteY64" fmla="*/ 4095750 h 4496940"/>
                    <a:gd name="connsiteX65" fmla="*/ 3516652 w 4519987"/>
                    <a:gd name="connsiteY65" fmla="*/ 4114800 h 4496940"/>
                    <a:gd name="connsiteX66" fmla="*/ 3497602 w 4519987"/>
                    <a:gd name="connsiteY66" fmla="*/ 4143375 h 4496940"/>
                    <a:gd name="connsiteX67" fmla="*/ 3383302 w 4519987"/>
                    <a:gd name="connsiteY67" fmla="*/ 4210050 h 4496940"/>
                    <a:gd name="connsiteX68" fmla="*/ 3335677 w 4519987"/>
                    <a:gd name="connsiteY68" fmla="*/ 4238625 h 4496940"/>
                    <a:gd name="connsiteX69" fmla="*/ 3288052 w 4519987"/>
                    <a:gd name="connsiteY69" fmla="*/ 4248150 h 4496940"/>
                    <a:gd name="connsiteX70" fmla="*/ 3240427 w 4519987"/>
                    <a:gd name="connsiteY70" fmla="*/ 4267200 h 4496940"/>
                    <a:gd name="connsiteX71" fmla="*/ 3068977 w 4519987"/>
                    <a:gd name="connsiteY71" fmla="*/ 4286250 h 4496940"/>
                    <a:gd name="connsiteX72" fmla="*/ 2935627 w 4519987"/>
                    <a:gd name="connsiteY72" fmla="*/ 4333875 h 4496940"/>
                    <a:gd name="connsiteX73" fmla="*/ 2811802 w 4519987"/>
                    <a:gd name="connsiteY73" fmla="*/ 4371975 h 4496940"/>
                    <a:gd name="connsiteX74" fmla="*/ 2745127 w 4519987"/>
                    <a:gd name="connsiteY74" fmla="*/ 4410075 h 4496940"/>
                    <a:gd name="connsiteX75" fmla="*/ 2697502 w 4519987"/>
                    <a:gd name="connsiteY75" fmla="*/ 4429125 h 4496940"/>
                    <a:gd name="connsiteX76" fmla="*/ 2640352 w 4519987"/>
                    <a:gd name="connsiteY76" fmla="*/ 4457700 h 4496940"/>
                    <a:gd name="connsiteX77" fmla="*/ 2583202 w 4519987"/>
                    <a:gd name="connsiteY77" fmla="*/ 4467225 h 4496940"/>
                    <a:gd name="connsiteX78" fmla="*/ 2545102 w 4519987"/>
                    <a:gd name="connsiteY78" fmla="*/ 4486275 h 4496940"/>
                    <a:gd name="connsiteX79" fmla="*/ 2306977 w 4519987"/>
                    <a:gd name="connsiteY79" fmla="*/ 4476750 h 4496940"/>
                    <a:gd name="connsiteX80" fmla="*/ 2202202 w 4519987"/>
                    <a:gd name="connsiteY80" fmla="*/ 4457700 h 4496940"/>
                    <a:gd name="connsiteX81" fmla="*/ 2126002 w 4519987"/>
                    <a:gd name="connsiteY81" fmla="*/ 4429125 h 4496940"/>
                    <a:gd name="connsiteX82" fmla="*/ 1935502 w 4519987"/>
                    <a:gd name="connsiteY82" fmla="*/ 4400550 h 4496940"/>
                    <a:gd name="connsiteX83" fmla="*/ 1821202 w 4519987"/>
                    <a:gd name="connsiteY83" fmla="*/ 4371975 h 4496940"/>
                    <a:gd name="connsiteX84" fmla="*/ 1754527 w 4519987"/>
                    <a:gd name="connsiteY84" fmla="*/ 4352925 h 4496940"/>
                    <a:gd name="connsiteX85" fmla="*/ 1687852 w 4519987"/>
                    <a:gd name="connsiteY85" fmla="*/ 4343400 h 4496940"/>
                    <a:gd name="connsiteX86" fmla="*/ 1573552 w 4519987"/>
                    <a:gd name="connsiteY86" fmla="*/ 4305300 h 4496940"/>
                    <a:gd name="connsiteX87" fmla="*/ 1402102 w 4519987"/>
                    <a:gd name="connsiteY87" fmla="*/ 4276725 h 4496940"/>
                    <a:gd name="connsiteX88" fmla="*/ 1287802 w 4519987"/>
                    <a:gd name="connsiteY88" fmla="*/ 4229100 h 4496940"/>
                    <a:gd name="connsiteX89" fmla="*/ 1221127 w 4519987"/>
                    <a:gd name="connsiteY89" fmla="*/ 4200525 h 4496940"/>
                    <a:gd name="connsiteX90" fmla="*/ 1144927 w 4519987"/>
                    <a:gd name="connsiteY90" fmla="*/ 4171950 h 4496940"/>
                    <a:gd name="connsiteX91" fmla="*/ 1087777 w 4519987"/>
                    <a:gd name="connsiteY91" fmla="*/ 4143375 h 4496940"/>
                    <a:gd name="connsiteX92" fmla="*/ 1030627 w 4519987"/>
                    <a:gd name="connsiteY92" fmla="*/ 4124325 h 4496940"/>
                    <a:gd name="connsiteX93" fmla="*/ 925852 w 4519987"/>
                    <a:gd name="connsiteY93" fmla="*/ 4067175 h 4496940"/>
                    <a:gd name="connsiteX94" fmla="*/ 830602 w 4519987"/>
                    <a:gd name="connsiteY94" fmla="*/ 3981450 h 4496940"/>
                    <a:gd name="connsiteX95" fmla="*/ 763927 w 4519987"/>
                    <a:gd name="connsiteY95" fmla="*/ 3914775 h 4496940"/>
                    <a:gd name="connsiteX96" fmla="*/ 725827 w 4519987"/>
                    <a:gd name="connsiteY96" fmla="*/ 3876675 h 4496940"/>
                    <a:gd name="connsiteX97" fmla="*/ 697252 w 4519987"/>
                    <a:gd name="connsiteY97" fmla="*/ 3838575 h 4496940"/>
                    <a:gd name="connsiteX98" fmla="*/ 640102 w 4519987"/>
                    <a:gd name="connsiteY98" fmla="*/ 3781425 h 4496940"/>
                    <a:gd name="connsiteX99" fmla="*/ 611527 w 4519987"/>
                    <a:gd name="connsiteY99" fmla="*/ 3733800 h 4496940"/>
                    <a:gd name="connsiteX100" fmla="*/ 554377 w 4519987"/>
                    <a:gd name="connsiteY100" fmla="*/ 3657600 h 4496940"/>
                    <a:gd name="connsiteX101" fmla="*/ 525802 w 4519987"/>
                    <a:gd name="connsiteY101" fmla="*/ 3609975 h 4496940"/>
                    <a:gd name="connsiteX102" fmla="*/ 497227 w 4519987"/>
                    <a:gd name="connsiteY102" fmla="*/ 3552825 h 4496940"/>
                    <a:gd name="connsiteX103" fmla="*/ 440077 w 4519987"/>
                    <a:gd name="connsiteY103" fmla="*/ 3495675 h 4496940"/>
                    <a:gd name="connsiteX104" fmla="*/ 411502 w 4519987"/>
                    <a:gd name="connsiteY104" fmla="*/ 3448050 h 4496940"/>
                    <a:gd name="connsiteX105" fmla="*/ 278152 w 4519987"/>
                    <a:gd name="connsiteY105" fmla="*/ 3257550 h 4496940"/>
                    <a:gd name="connsiteX106" fmla="*/ 249577 w 4519987"/>
                    <a:gd name="connsiteY106" fmla="*/ 3200400 h 4496940"/>
                    <a:gd name="connsiteX107" fmla="*/ 240052 w 4519987"/>
                    <a:gd name="connsiteY107" fmla="*/ 3162300 h 4496940"/>
                    <a:gd name="connsiteX108" fmla="*/ 221002 w 4519987"/>
                    <a:gd name="connsiteY108" fmla="*/ 3105150 h 4496940"/>
                    <a:gd name="connsiteX109" fmla="*/ 173377 w 4519987"/>
                    <a:gd name="connsiteY109" fmla="*/ 3019425 h 4496940"/>
                    <a:gd name="connsiteX110" fmla="*/ 144802 w 4519987"/>
                    <a:gd name="connsiteY110" fmla="*/ 2924175 h 4496940"/>
                    <a:gd name="connsiteX111" fmla="*/ 68602 w 4519987"/>
                    <a:gd name="connsiteY111" fmla="*/ 2724150 h 4496940"/>
                    <a:gd name="connsiteX112" fmla="*/ 49552 w 4519987"/>
                    <a:gd name="connsiteY112" fmla="*/ 2638425 h 4496940"/>
                    <a:gd name="connsiteX113" fmla="*/ 40027 w 4519987"/>
                    <a:gd name="connsiteY113" fmla="*/ 2562225 h 4496940"/>
                    <a:gd name="connsiteX114" fmla="*/ 30502 w 4519987"/>
                    <a:gd name="connsiteY114" fmla="*/ 2514600 h 4496940"/>
                    <a:gd name="connsiteX115" fmla="*/ 11452 w 4519987"/>
                    <a:gd name="connsiteY115" fmla="*/ 2400300 h 4496940"/>
                    <a:gd name="connsiteX116" fmla="*/ 20977 w 4519987"/>
                    <a:gd name="connsiteY116" fmla="*/ 1905000 h 4496940"/>
                    <a:gd name="connsiteX117" fmla="*/ 30502 w 4519987"/>
                    <a:gd name="connsiteY117" fmla="*/ 1838325 h 4496940"/>
                    <a:gd name="connsiteX118" fmla="*/ 49552 w 4519987"/>
                    <a:gd name="connsiteY118" fmla="*/ 1781175 h 4496940"/>
                    <a:gd name="connsiteX119" fmla="*/ 59077 w 4519987"/>
                    <a:gd name="connsiteY119" fmla="*/ 1743075 h 4496940"/>
                    <a:gd name="connsiteX120" fmla="*/ 78127 w 4519987"/>
                    <a:gd name="connsiteY120" fmla="*/ 1685925 h 4496940"/>
                    <a:gd name="connsiteX121" fmla="*/ 87652 w 4519987"/>
                    <a:gd name="connsiteY121" fmla="*/ 1638300 h 4496940"/>
                    <a:gd name="connsiteX122" fmla="*/ 106702 w 4519987"/>
                    <a:gd name="connsiteY122" fmla="*/ 1590675 h 4496940"/>
                    <a:gd name="connsiteX123" fmla="*/ 135277 w 4519987"/>
                    <a:gd name="connsiteY123" fmla="*/ 1504950 h 4496940"/>
                    <a:gd name="connsiteX124" fmla="*/ 154327 w 4519987"/>
                    <a:gd name="connsiteY124" fmla="*/ 1419225 h 4496940"/>
                    <a:gd name="connsiteX125" fmla="*/ 230527 w 4519987"/>
                    <a:gd name="connsiteY125" fmla="*/ 1276350 h 4496940"/>
                    <a:gd name="connsiteX126" fmla="*/ 240052 w 4519987"/>
                    <a:gd name="connsiteY126" fmla="*/ 1247775 h 4496940"/>
                    <a:gd name="connsiteX127" fmla="*/ 268627 w 4519987"/>
                    <a:gd name="connsiteY127" fmla="*/ 1200150 h 4496940"/>
                    <a:gd name="connsiteX128" fmla="*/ 287677 w 4519987"/>
                    <a:gd name="connsiteY128" fmla="*/ 1152525 h 4496940"/>
                    <a:gd name="connsiteX129" fmla="*/ 316252 w 4519987"/>
                    <a:gd name="connsiteY129" fmla="*/ 1114425 h 4496940"/>
                    <a:gd name="connsiteX130" fmla="*/ 363877 w 4519987"/>
                    <a:gd name="connsiteY130" fmla="*/ 1038225 h 4496940"/>
                    <a:gd name="connsiteX131" fmla="*/ 382927 w 4519987"/>
                    <a:gd name="connsiteY131" fmla="*/ 1009650 h 4496940"/>
                    <a:gd name="connsiteX132" fmla="*/ 440077 w 4519987"/>
                    <a:gd name="connsiteY132" fmla="*/ 904875 h 4496940"/>
                    <a:gd name="connsiteX133" fmla="*/ 478177 w 4519987"/>
                    <a:gd name="connsiteY133" fmla="*/ 857250 h 4496940"/>
                    <a:gd name="connsiteX134" fmla="*/ 497227 w 4519987"/>
                    <a:gd name="connsiteY134" fmla="*/ 828675 h 4496940"/>
                    <a:gd name="connsiteX135" fmla="*/ 535327 w 4519987"/>
                    <a:gd name="connsiteY135" fmla="*/ 800100 h 4496940"/>
                    <a:gd name="connsiteX136" fmla="*/ 602002 w 4519987"/>
                    <a:gd name="connsiteY136" fmla="*/ 733425 h 4496940"/>
                    <a:gd name="connsiteX137" fmla="*/ 668677 w 4519987"/>
                    <a:gd name="connsiteY137" fmla="*/ 676275 h 4496940"/>
                    <a:gd name="connsiteX138" fmla="*/ 697252 w 4519987"/>
                    <a:gd name="connsiteY138" fmla="*/ 657225 h 4496940"/>
                    <a:gd name="connsiteX139" fmla="*/ 840127 w 4519987"/>
                    <a:gd name="connsiteY139" fmla="*/ 533400 h 4496940"/>
                    <a:gd name="connsiteX140" fmla="*/ 887752 w 4519987"/>
                    <a:gd name="connsiteY140" fmla="*/ 504825 h 4496940"/>
                    <a:gd name="connsiteX141" fmla="*/ 1167152 w 4519987"/>
                    <a:gd name="connsiteY141" fmla="*/ 311150 h 4496940"/>
                    <a:gd name="connsiteX142" fmla="*/ 1268752 w 4519987"/>
                    <a:gd name="connsiteY142" fmla="*/ 285750 h 4496940"/>
                    <a:gd name="connsiteX143" fmla="*/ 1411627 w 4519987"/>
                    <a:gd name="connsiteY143" fmla="*/ 190500 h 4496940"/>
                    <a:gd name="connsiteX144" fmla="*/ 1449727 w 4519987"/>
                    <a:gd name="connsiteY144" fmla="*/ 161925 h 4496940"/>
                    <a:gd name="connsiteX145" fmla="*/ 1525927 w 4519987"/>
                    <a:gd name="connsiteY145" fmla="*/ 152400 h 4496940"/>
                    <a:gd name="connsiteX146" fmla="*/ 1583077 w 4519987"/>
                    <a:gd name="connsiteY146" fmla="*/ 142875 h 4496940"/>
                    <a:gd name="connsiteX147" fmla="*/ 1716427 w 4519987"/>
                    <a:gd name="connsiteY147" fmla="*/ 123825 h 4496940"/>
                    <a:gd name="connsiteX148" fmla="*/ 1811677 w 4519987"/>
                    <a:gd name="connsiteY148" fmla="*/ 114300 h 4496940"/>
                    <a:gd name="connsiteX149" fmla="*/ 1859302 w 4519987"/>
                    <a:gd name="connsiteY149" fmla="*/ 104775 h 4496940"/>
                    <a:gd name="connsiteX150" fmla="*/ 1916452 w 4519987"/>
                    <a:gd name="connsiteY150" fmla="*/ 95250 h 4496940"/>
                    <a:gd name="connsiteX151" fmla="*/ 2030752 w 4519987"/>
                    <a:gd name="connsiteY151" fmla="*/ 66675 h 4496940"/>
                    <a:gd name="connsiteX152" fmla="*/ 2097427 w 4519987"/>
                    <a:gd name="connsiteY152" fmla="*/ 47625 h 4496940"/>
                    <a:gd name="connsiteX153" fmla="*/ 2164102 w 4519987"/>
                    <a:gd name="connsiteY153" fmla="*/ 38100 h 4496940"/>
                    <a:gd name="connsiteX154" fmla="*/ 2392702 w 4519987"/>
                    <a:gd name="connsiteY15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545227 w 4519987"/>
                    <a:gd name="connsiteY18" fmla="*/ 419100 h 4496940"/>
                    <a:gd name="connsiteX19" fmla="*/ 3602377 w 4519987"/>
                    <a:gd name="connsiteY19" fmla="*/ 457200 h 4496940"/>
                    <a:gd name="connsiteX20" fmla="*/ 3630952 w 4519987"/>
                    <a:gd name="connsiteY20" fmla="*/ 485775 h 4496940"/>
                    <a:gd name="connsiteX21" fmla="*/ 3678577 w 4519987"/>
                    <a:gd name="connsiteY21" fmla="*/ 504825 h 4496940"/>
                    <a:gd name="connsiteX22" fmla="*/ 3745252 w 4519987"/>
                    <a:gd name="connsiteY22" fmla="*/ 542925 h 4496940"/>
                    <a:gd name="connsiteX23" fmla="*/ 3811927 w 4519987"/>
                    <a:gd name="connsiteY23" fmla="*/ 581025 h 4496940"/>
                    <a:gd name="connsiteX24" fmla="*/ 3907177 w 4519987"/>
                    <a:gd name="connsiteY24" fmla="*/ 647700 h 4496940"/>
                    <a:gd name="connsiteX25" fmla="*/ 3935752 w 4519987"/>
                    <a:gd name="connsiteY25" fmla="*/ 676275 h 4496940"/>
                    <a:gd name="connsiteX26" fmla="*/ 4078627 w 4519987"/>
                    <a:gd name="connsiteY26" fmla="*/ 838200 h 4496940"/>
                    <a:gd name="connsiteX27" fmla="*/ 4135777 w 4519987"/>
                    <a:gd name="connsiteY27" fmla="*/ 933450 h 4496940"/>
                    <a:gd name="connsiteX28" fmla="*/ 4164352 w 4519987"/>
                    <a:gd name="connsiteY28" fmla="*/ 990600 h 4496940"/>
                    <a:gd name="connsiteX29" fmla="*/ 4173877 w 4519987"/>
                    <a:gd name="connsiteY29" fmla="*/ 1019175 h 4496940"/>
                    <a:gd name="connsiteX30" fmla="*/ 4192927 w 4519987"/>
                    <a:gd name="connsiteY30" fmla="*/ 1057275 h 4496940"/>
                    <a:gd name="connsiteX31" fmla="*/ 4202452 w 4519987"/>
                    <a:gd name="connsiteY31" fmla="*/ 1085850 h 4496940"/>
                    <a:gd name="connsiteX32" fmla="*/ 4250077 w 4519987"/>
                    <a:gd name="connsiteY32" fmla="*/ 1143000 h 4496940"/>
                    <a:gd name="connsiteX33" fmla="*/ 4259602 w 4519987"/>
                    <a:gd name="connsiteY33" fmla="*/ 1190625 h 4496940"/>
                    <a:gd name="connsiteX34" fmla="*/ 4307227 w 4519987"/>
                    <a:gd name="connsiteY34" fmla="*/ 1266825 h 4496940"/>
                    <a:gd name="connsiteX35" fmla="*/ 4345327 w 4519987"/>
                    <a:gd name="connsiteY35" fmla="*/ 1362075 h 4496940"/>
                    <a:gd name="connsiteX36" fmla="*/ 4373902 w 4519987"/>
                    <a:gd name="connsiteY36" fmla="*/ 1428750 h 4496940"/>
                    <a:gd name="connsiteX37" fmla="*/ 4392952 w 4519987"/>
                    <a:gd name="connsiteY37" fmla="*/ 1552575 h 4496940"/>
                    <a:gd name="connsiteX38" fmla="*/ 4402477 w 4519987"/>
                    <a:gd name="connsiteY38" fmla="*/ 1590675 h 4496940"/>
                    <a:gd name="connsiteX39" fmla="*/ 4431052 w 4519987"/>
                    <a:gd name="connsiteY39" fmla="*/ 1685925 h 4496940"/>
                    <a:gd name="connsiteX40" fmla="*/ 4519952 w 4519987"/>
                    <a:gd name="connsiteY40" fmla="*/ 2181225 h 4496940"/>
                    <a:gd name="connsiteX41" fmla="*/ 4446927 w 4519987"/>
                    <a:gd name="connsiteY41" fmla="*/ 2768600 h 4496940"/>
                    <a:gd name="connsiteX42" fmla="*/ 4383427 w 4519987"/>
                    <a:gd name="connsiteY42" fmla="*/ 2990850 h 4496940"/>
                    <a:gd name="connsiteX43" fmla="*/ 4278652 w 4519987"/>
                    <a:gd name="connsiteY43" fmla="*/ 3248025 h 4496940"/>
                    <a:gd name="connsiteX44" fmla="*/ 4259602 w 4519987"/>
                    <a:gd name="connsiteY44" fmla="*/ 3276600 h 4496940"/>
                    <a:gd name="connsiteX45" fmla="*/ 4221502 w 4519987"/>
                    <a:gd name="connsiteY45" fmla="*/ 3333750 h 4496940"/>
                    <a:gd name="connsiteX46" fmla="*/ 4211977 w 4519987"/>
                    <a:gd name="connsiteY46" fmla="*/ 3362325 h 4496940"/>
                    <a:gd name="connsiteX47" fmla="*/ 4183402 w 4519987"/>
                    <a:gd name="connsiteY47" fmla="*/ 3400425 h 4496940"/>
                    <a:gd name="connsiteX48" fmla="*/ 4164352 w 4519987"/>
                    <a:gd name="connsiteY48" fmla="*/ 3429000 h 4496940"/>
                    <a:gd name="connsiteX49" fmla="*/ 4088152 w 4519987"/>
                    <a:gd name="connsiteY49" fmla="*/ 3495675 h 4496940"/>
                    <a:gd name="connsiteX50" fmla="*/ 4059577 w 4519987"/>
                    <a:gd name="connsiteY50" fmla="*/ 3533775 h 4496940"/>
                    <a:gd name="connsiteX51" fmla="*/ 4002427 w 4519987"/>
                    <a:gd name="connsiteY51" fmla="*/ 3600450 h 4496940"/>
                    <a:gd name="connsiteX52" fmla="*/ 3983377 w 4519987"/>
                    <a:gd name="connsiteY52" fmla="*/ 3629025 h 4496940"/>
                    <a:gd name="connsiteX53" fmla="*/ 3954802 w 4519987"/>
                    <a:gd name="connsiteY53" fmla="*/ 3648075 h 4496940"/>
                    <a:gd name="connsiteX54" fmla="*/ 3907177 w 4519987"/>
                    <a:gd name="connsiteY54" fmla="*/ 3686175 h 4496940"/>
                    <a:gd name="connsiteX55" fmla="*/ 3869077 w 4519987"/>
                    <a:gd name="connsiteY55" fmla="*/ 3724275 h 4496940"/>
                    <a:gd name="connsiteX56" fmla="*/ 3792877 w 4519987"/>
                    <a:gd name="connsiteY56" fmla="*/ 3781425 h 4496940"/>
                    <a:gd name="connsiteX57" fmla="*/ 3783352 w 4519987"/>
                    <a:gd name="connsiteY57" fmla="*/ 3810000 h 4496940"/>
                    <a:gd name="connsiteX58" fmla="*/ 3745252 w 4519987"/>
                    <a:gd name="connsiteY58" fmla="*/ 3819525 h 4496940"/>
                    <a:gd name="connsiteX59" fmla="*/ 3678577 w 4519987"/>
                    <a:gd name="connsiteY59" fmla="*/ 3848100 h 4496940"/>
                    <a:gd name="connsiteX60" fmla="*/ 3659527 w 4519987"/>
                    <a:gd name="connsiteY60" fmla="*/ 3971925 h 4496940"/>
                    <a:gd name="connsiteX61" fmla="*/ 3630952 w 4519987"/>
                    <a:gd name="connsiteY61" fmla="*/ 4010025 h 4496940"/>
                    <a:gd name="connsiteX62" fmla="*/ 3621427 w 4519987"/>
                    <a:gd name="connsiteY62" fmla="*/ 4038600 h 4496940"/>
                    <a:gd name="connsiteX63" fmla="*/ 3554752 w 4519987"/>
                    <a:gd name="connsiteY63" fmla="*/ 4095750 h 4496940"/>
                    <a:gd name="connsiteX64" fmla="*/ 3516652 w 4519987"/>
                    <a:gd name="connsiteY64" fmla="*/ 4114800 h 4496940"/>
                    <a:gd name="connsiteX65" fmla="*/ 3497602 w 4519987"/>
                    <a:gd name="connsiteY65" fmla="*/ 4143375 h 4496940"/>
                    <a:gd name="connsiteX66" fmla="*/ 3383302 w 4519987"/>
                    <a:gd name="connsiteY66" fmla="*/ 4210050 h 4496940"/>
                    <a:gd name="connsiteX67" fmla="*/ 3335677 w 4519987"/>
                    <a:gd name="connsiteY67" fmla="*/ 4238625 h 4496940"/>
                    <a:gd name="connsiteX68" fmla="*/ 3288052 w 4519987"/>
                    <a:gd name="connsiteY68" fmla="*/ 4248150 h 4496940"/>
                    <a:gd name="connsiteX69" fmla="*/ 3240427 w 4519987"/>
                    <a:gd name="connsiteY69" fmla="*/ 4267200 h 4496940"/>
                    <a:gd name="connsiteX70" fmla="*/ 3068977 w 4519987"/>
                    <a:gd name="connsiteY70" fmla="*/ 4286250 h 4496940"/>
                    <a:gd name="connsiteX71" fmla="*/ 2935627 w 4519987"/>
                    <a:gd name="connsiteY71" fmla="*/ 4333875 h 4496940"/>
                    <a:gd name="connsiteX72" fmla="*/ 2811802 w 4519987"/>
                    <a:gd name="connsiteY72" fmla="*/ 4371975 h 4496940"/>
                    <a:gd name="connsiteX73" fmla="*/ 2745127 w 4519987"/>
                    <a:gd name="connsiteY73" fmla="*/ 4410075 h 4496940"/>
                    <a:gd name="connsiteX74" fmla="*/ 2697502 w 4519987"/>
                    <a:gd name="connsiteY74" fmla="*/ 4429125 h 4496940"/>
                    <a:gd name="connsiteX75" fmla="*/ 2640352 w 4519987"/>
                    <a:gd name="connsiteY75" fmla="*/ 4457700 h 4496940"/>
                    <a:gd name="connsiteX76" fmla="*/ 2583202 w 4519987"/>
                    <a:gd name="connsiteY76" fmla="*/ 4467225 h 4496940"/>
                    <a:gd name="connsiteX77" fmla="*/ 2545102 w 4519987"/>
                    <a:gd name="connsiteY77" fmla="*/ 4486275 h 4496940"/>
                    <a:gd name="connsiteX78" fmla="*/ 2306977 w 4519987"/>
                    <a:gd name="connsiteY78" fmla="*/ 4476750 h 4496940"/>
                    <a:gd name="connsiteX79" fmla="*/ 2202202 w 4519987"/>
                    <a:gd name="connsiteY79" fmla="*/ 4457700 h 4496940"/>
                    <a:gd name="connsiteX80" fmla="*/ 2126002 w 4519987"/>
                    <a:gd name="connsiteY80" fmla="*/ 4429125 h 4496940"/>
                    <a:gd name="connsiteX81" fmla="*/ 1935502 w 4519987"/>
                    <a:gd name="connsiteY81" fmla="*/ 4400550 h 4496940"/>
                    <a:gd name="connsiteX82" fmla="*/ 1821202 w 4519987"/>
                    <a:gd name="connsiteY82" fmla="*/ 4371975 h 4496940"/>
                    <a:gd name="connsiteX83" fmla="*/ 1754527 w 4519987"/>
                    <a:gd name="connsiteY83" fmla="*/ 4352925 h 4496940"/>
                    <a:gd name="connsiteX84" fmla="*/ 1687852 w 4519987"/>
                    <a:gd name="connsiteY84" fmla="*/ 4343400 h 4496940"/>
                    <a:gd name="connsiteX85" fmla="*/ 1573552 w 4519987"/>
                    <a:gd name="connsiteY85" fmla="*/ 4305300 h 4496940"/>
                    <a:gd name="connsiteX86" fmla="*/ 1402102 w 4519987"/>
                    <a:gd name="connsiteY86" fmla="*/ 4276725 h 4496940"/>
                    <a:gd name="connsiteX87" fmla="*/ 1287802 w 4519987"/>
                    <a:gd name="connsiteY87" fmla="*/ 4229100 h 4496940"/>
                    <a:gd name="connsiteX88" fmla="*/ 1221127 w 4519987"/>
                    <a:gd name="connsiteY88" fmla="*/ 4200525 h 4496940"/>
                    <a:gd name="connsiteX89" fmla="*/ 1144927 w 4519987"/>
                    <a:gd name="connsiteY89" fmla="*/ 4171950 h 4496940"/>
                    <a:gd name="connsiteX90" fmla="*/ 1087777 w 4519987"/>
                    <a:gd name="connsiteY90" fmla="*/ 4143375 h 4496940"/>
                    <a:gd name="connsiteX91" fmla="*/ 1030627 w 4519987"/>
                    <a:gd name="connsiteY91" fmla="*/ 4124325 h 4496940"/>
                    <a:gd name="connsiteX92" fmla="*/ 925852 w 4519987"/>
                    <a:gd name="connsiteY92" fmla="*/ 4067175 h 4496940"/>
                    <a:gd name="connsiteX93" fmla="*/ 830602 w 4519987"/>
                    <a:gd name="connsiteY93" fmla="*/ 3981450 h 4496940"/>
                    <a:gd name="connsiteX94" fmla="*/ 763927 w 4519987"/>
                    <a:gd name="connsiteY94" fmla="*/ 3914775 h 4496940"/>
                    <a:gd name="connsiteX95" fmla="*/ 725827 w 4519987"/>
                    <a:gd name="connsiteY95" fmla="*/ 3876675 h 4496940"/>
                    <a:gd name="connsiteX96" fmla="*/ 697252 w 4519987"/>
                    <a:gd name="connsiteY96" fmla="*/ 3838575 h 4496940"/>
                    <a:gd name="connsiteX97" fmla="*/ 640102 w 4519987"/>
                    <a:gd name="connsiteY97" fmla="*/ 3781425 h 4496940"/>
                    <a:gd name="connsiteX98" fmla="*/ 611527 w 4519987"/>
                    <a:gd name="connsiteY98" fmla="*/ 3733800 h 4496940"/>
                    <a:gd name="connsiteX99" fmla="*/ 554377 w 4519987"/>
                    <a:gd name="connsiteY99" fmla="*/ 3657600 h 4496940"/>
                    <a:gd name="connsiteX100" fmla="*/ 525802 w 4519987"/>
                    <a:gd name="connsiteY100" fmla="*/ 3609975 h 4496940"/>
                    <a:gd name="connsiteX101" fmla="*/ 497227 w 4519987"/>
                    <a:gd name="connsiteY101" fmla="*/ 3552825 h 4496940"/>
                    <a:gd name="connsiteX102" fmla="*/ 440077 w 4519987"/>
                    <a:gd name="connsiteY102" fmla="*/ 3495675 h 4496940"/>
                    <a:gd name="connsiteX103" fmla="*/ 411502 w 4519987"/>
                    <a:gd name="connsiteY103" fmla="*/ 3448050 h 4496940"/>
                    <a:gd name="connsiteX104" fmla="*/ 278152 w 4519987"/>
                    <a:gd name="connsiteY104" fmla="*/ 3257550 h 4496940"/>
                    <a:gd name="connsiteX105" fmla="*/ 249577 w 4519987"/>
                    <a:gd name="connsiteY105" fmla="*/ 3200400 h 4496940"/>
                    <a:gd name="connsiteX106" fmla="*/ 240052 w 4519987"/>
                    <a:gd name="connsiteY106" fmla="*/ 3162300 h 4496940"/>
                    <a:gd name="connsiteX107" fmla="*/ 221002 w 4519987"/>
                    <a:gd name="connsiteY107" fmla="*/ 3105150 h 4496940"/>
                    <a:gd name="connsiteX108" fmla="*/ 173377 w 4519987"/>
                    <a:gd name="connsiteY108" fmla="*/ 3019425 h 4496940"/>
                    <a:gd name="connsiteX109" fmla="*/ 144802 w 4519987"/>
                    <a:gd name="connsiteY109" fmla="*/ 2924175 h 4496940"/>
                    <a:gd name="connsiteX110" fmla="*/ 68602 w 4519987"/>
                    <a:gd name="connsiteY110" fmla="*/ 2724150 h 4496940"/>
                    <a:gd name="connsiteX111" fmla="*/ 49552 w 4519987"/>
                    <a:gd name="connsiteY111" fmla="*/ 2638425 h 4496940"/>
                    <a:gd name="connsiteX112" fmla="*/ 40027 w 4519987"/>
                    <a:gd name="connsiteY112" fmla="*/ 2562225 h 4496940"/>
                    <a:gd name="connsiteX113" fmla="*/ 30502 w 4519987"/>
                    <a:gd name="connsiteY113" fmla="*/ 2514600 h 4496940"/>
                    <a:gd name="connsiteX114" fmla="*/ 11452 w 4519987"/>
                    <a:gd name="connsiteY114" fmla="*/ 2400300 h 4496940"/>
                    <a:gd name="connsiteX115" fmla="*/ 20977 w 4519987"/>
                    <a:gd name="connsiteY115" fmla="*/ 1905000 h 4496940"/>
                    <a:gd name="connsiteX116" fmla="*/ 30502 w 4519987"/>
                    <a:gd name="connsiteY116" fmla="*/ 1838325 h 4496940"/>
                    <a:gd name="connsiteX117" fmla="*/ 49552 w 4519987"/>
                    <a:gd name="connsiteY117" fmla="*/ 1781175 h 4496940"/>
                    <a:gd name="connsiteX118" fmla="*/ 59077 w 4519987"/>
                    <a:gd name="connsiteY118" fmla="*/ 1743075 h 4496940"/>
                    <a:gd name="connsiteX119" fmla="*/ 78127 w 4519987"/>
                    <a:gd name="connsiteY119" fmla="*/ 1685925 h 4496940"/>
                    <a:gd name="connsiteX120" fmla="*/ 87652 w 4519987"/>
                    <a:gd name="connsiteY120" fmla="*/ 1638300 h 4496940"/>
                    <a:gd name="connsiteX121" fmla="*/ 106702 w 4519987"/>
                    <a:gd name="connsiteY121" fmla="*/ 1590675 h 4496940"/>
                    <a:gd name="connsiteX122" fmla="*/ 135277 w 4519987"/>
                    <a:gd name="connsiteY122" fmla="*/ 1504950 h 4496940"/>
                    <a:gd name="connsiteX123" fmla="*/ 154327 w 4519987"/>
                    <a:gd name="connsiteY123" fmla="*/ 1419225 h 4496940"/>
                    <a:gd name="connsiteX124" fmla="*/ 230527 w 4519987"/>
                    <a:gd name="connsiteY124" fmla="*/ 1276350 h 4496940"/>
                    <a:gd name="connsiteX125" fmla="*/ 240052 w 4519987"/>
                    <a:gd name="connsiteY125" fmla="*/ 1247775 h 4496940"/>
                    <a:gd name="connsiteX126" fmla="*/ 268627 w 4519987"/>
                    <a:gd name="connsiteY126" fmla="*/ 1200150 h 4496940"/>
                    <a:gd name="connsiteX127" fmla="*/ 287677 w 4519987"/>
                    <a:gd name="connsiteY127" fmla="*/ 1152525 h 4496940"/>
                    <a:gd name="connsiteX128" fmla="*/ 316252 w 4519987"/>
                    <a:gd name="connsiteY128" fmla="*/ 1114425 h 4496940"/>
                    <a:gd name="connsiteX129" fmla="*/ 363877 w 4519987"/>
                    <a:gd name="connsiteY129" fmla="*/ 1038225 h 4496940"/>
                    <a:gd name="connsiteX130" fmla="*/ 382927 w 4519987"/>
                    <a:gd name="connsiteY130" fmla="*/ 1009650 h 4496940"/>
                    <a:gd name="connsiteX131" fmla="*/ 440077 w 4519987"/>
                    <a:gd name="connsiteY131" fmla="*/ 904875 h 4496940"/>
                    <a:gd name="connsiteX132" fmla="*/ 478177 w 4519987"/>
                    <a:gd name="connsiteY132" fmla="*/ 857250 h 4496940"/>
                    <a:gd name="connsiteX133" fmla="*/ 497227 w 4519987"/>
                    <a:gd name="connsiteY133" fmla="*/ 828675 h 4496940"/>
                    <a:gd name="connsiteX134" fmla="*/ 535327 w 4519987"/>
                    <a:gd name="connsiteY134" fmla="*/ 800100 h 4496940"/>
                    <a:gd name="connsiteX135" fmla="*/ 602002 w 4519987"/>
                    <a:gd name="connsiteY135" fmla="*/ 733425 h 4496940"/>
                    <a:gd name="connsiteX136" fmla="*/ 668677 w 4519987"/>
                    <a:gd name="connsiteY136" fmla="*/ 676275 h 4496940"/>
                    <a:gd name="connsiteX137" fmla="*/ 697252 w 4519987"/>
                    <a:gd name="connsiteY137" fmla="*/ 657225 h 4496940"/>
                    <a:gd name="connsiteX138" fmla="*/ 840127 w 4519987"/>
                    <a:gd name="connsiteY138" fmla="*/ 533400 h 4496940"/>
                    <a:gd name="connsiteX139" fmla="*/ 887752 w 4519987"/>
                    <a:gd name="connsiteY139" fmla="*/ 504825 h 4496940"/>
                    <a:gd name="connsiteX140" fmla="*/ 1167152 w 4519987"/>
                    <a:gd name="connsiteY140" fmla="*/ 311150 h 4496940"/>
                    <a:gd name="connsiteX141" fmla="*/ 1268752 w 4519987"/>
                    <a:gd name="connsiteY141" fmla="*/ 285750 h 4496940"/>
                    <a:gd name="connsiteX142" fmla="*/ 1411627 w 4519987"/>
                    <a:gd name="connsiteY142" fmla="*/ 190500 h 4496940"/>
                    <a:gd name="connsiteX143" fmla="*/ 1449727 w 4519987"/>
                    <a:gd name="connsiteY143" fmla="*/ 161925 h 4496940"/>
                    <a:gd name="connsiteX144" fmla="*/ 1525927 w 4519987"/>
                    <a:gd name="connsiteY144" fmla="*/ 152400 h 4496940"/>
                    <a:gd name="connsiteX145" fmla="*/ 1583077 w 4519987"/>
                    <a:gd name="connsiteY145" fmla="*/ 142875 h 4496940"/>
                    <a:gd name="connsiteX146" fmla="*/ 1716427 w 4519987"/>
                    <a:gd name="connsiteY146" fmla="*/ 123825 h 4496940"/>
                    <a:gd name="connsiteX147" fmla="*/ 1811677 w 4519987"/>
                    <a:gd name="connsiteY147" fmla="*/ 114300 h 4496940"/>
                    <a:gd name="connsiteX148" fmla="*/ 1859302 w 4519987"/>
                    <a:gd name="connsiteY148" fmla="*/ 104775 h 4496940"/>
                    <a:gd name="connsiteX149" fmla="*/ 1916452 w 4519987"/>
                    <a:gd name="connsiteY149" fmla="*/ 95250 h 4496940"/>
                    <a:gd name="connsiteX150" fmla="*/ 2030752 w 4519987"/>
                    <a:gd name="connsiteY150" fmla="*/ 66675 h 4496940"/>
                    <a:gd name="connsiteX151" fmla="*/ 2097427 w 4519987"/>
                    <a:gd name="connsiteY151" fmla="*/ 47625 h 4496940"/>
                    <a:gd name="connsiteX152" fmla="*/ 2164102 w 4519987"/>
                    <a:gd name="connsiteY152" fmla="*/ 38100 h 4496940"/>
                    <a:gd name="connsiteX153" fmla="*/ 2392702 w 4519987"/>
                    <a:gd name="connsiteY15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678577 w 4519987"/>
                    <a:gd name="connsiteY20" fmla="*/ 504825 h 4496940"/>
                    <a:gd name="connsiteX21" fmla="*/ 3745252 w 4519987"/>
                    <a:gd name="connsiteY21" fmla="*/ 542925 h 4496940"/>
                    <a:gd name="connsiteX22" fmla="*/ 3811927 w 4519987"/>
                    <a:gd name="connsiteY22" fmla="*/ 581025 h 4496940"/>
                    <a:gd name="connsiteX23" fmla="*/ 3907177 w 4519987"/>
                    <a:gd name="connsiteY23" fmla="*/ 647700 h 4496940"/>
                    <a:gd name="connsiteX24" fmla="*/ 3935752 w 4519987"/>
                    <a:gd name="connsiteY24" fmla="*/ 676275 h 4496940"/>
                    <a:gd name="connsiteX25" fmla="*/ 4078627 w 4519987"/>
                    <a:gd name="connsiteY25" fmla="*/ 838200 h 4496940"/>
                    <a:gd name="connsiteX26" fmla="*/ 4135777 w 4519987"/>
                    <a:gd name="connsiteY26" fmla="*/ 933450 h 4496940"/>
                    <a:gd name="connsiteX27" fmla="*/ 4164352 w 4519987"/>
                    <a:gd name="connsiteY27" fmla="*/ 990600 h 4496940"/>
                    <a:gd name="connsiteX28" fmla="*/ 4173877 w 4519987"/>
                    <a:gd name="connsiteY28" fmla="*/ 1019175 h 4496940"/>
                    <a:gd name="connsiteX29" fmla="*/ 4192927 w 4519987"/>
                    <a:gd name="connsiteY29" fmla="*/ 1057275 h 4496940"/>
                    <a:gd name="connsiteX30" fmla="*/ 4202452 w 4519987"/>
                    <a:gd name="connsiteY30" fmla="*/ 1085850 h 4496940"/>
                    <a:gd name="connsiteX31" fmla="*/ 4250077 w 4519987"/>
                    <a:gd name="connsiteY31" fmla="*/ 1143000 h 4496940"/>
                    <a:gd name="connsiteX32" fmla="*/ 4259602 w 4519987"/>
                    <a:gd name="connsiteY32" fmla="*/ 1190625 h 4496940"/>
                    <a:gd name="connsiteX33" fmla="*/ 4307227 w 4519987"/>
                    <a:gd name="connsiteY33" fmla="*/ 1266825 h 4496940"/>
                    <a:gd name="connsiteX34" fmla="*/ 4345327 w 4519987"/>
                    <a:gd name="connsiteY34" fmla="*/ 1362075 h 4496940"/>
                    <a:gd name="connsiteX35" fmla="*/ 4373902 w 4519987"/>
                    <a:gd name="connsiteY35" fmla="*/ 1428750 h 4496940"/>
                    <a:gd name="connsiteX36" fmla="*/ 4392952 w 4519987"/>
                    <a:gd name="connsiteY36" fmla="*/ 1552575 h 4496940"/>
                    <a:gd name="connsiteX37" fmla="*/ 4402477 w 4519987"/>
                    <a:gd name="connsiteY37" fmla="*/ 1590675 h 4496940"/>
                    <a:gd name="connsiteX38" fmla="*/ 4431052 w 4519987"/>
                    <a:gd name="connsiteY38" fmla="*/ 1685925 h 4496940"/>
                    <a:gd name="connsiteX39" fmla="*/ 4519952 w 4519987"/>
                    <a:gd name="connsiteY39" fmla="*/ 2181225 h 4496940"/>
                    <a:gd name="connsiteX40" fmla="*/ 4446927 w 4519987"/>
                    <a:gd name="connsiteY40" fmla="*/ 2768600 h 4496940"/>
                    <a:gd name="connsiteX41" fmla="*/ 4383427 w 4519987"/>
                    <a:gd name="connsiteY41" fmla="*/ 2990850 h 4496940"/>
                    <a:gd name="connsiteX42" fmla="*/ 4278652 w 4519987"/>
                    <a:gd name="connsiteY42" fmla="*/ 3248025 h 4496940"/>
                    <a:gd name="connsiteX43" fmla="*/ 4259602 w 4519987"/>
                    <a:gd name="connsiteY43" fmla="*/ 3276600 h 4496940"/>
                    <a:gd name="connsiteX44" fmla="*/ 4221502 w 4519987"/>
                    <a:gd name="connsiteY44" fmla="*/ 3333750 h 4496940"/>
                    <a:gd name="connsiteX45" fmla="*/ 4211977 w 4519987"/>
                    <a:gd name="connsiteY45" fmla="*/ 3362325 h 4496940"/>
                    <a:gd name="connsiteX46" fmla="*/ 4183402 w 4519987"/>
                    <a:gd name="connsiteY46" fmla="*/ 3400425 h 4496940"/>
                    <a:gd name="connsiteX47" fmla="*/ 4164352 w 4519987"/>
                    <a:gd name="connsiteY47" fmla="*/ 3429000 h 4496940"/>
                    <a:gd name="connsiteX48" fmla="*/ 4088152 w 4519987"/>
                    <a:gd name="connsiteY48" fmla="*/ 3495675 h 4496940"/>
                    <a:gd name="connsiteX49" fmla="*/ 4059577 w 4519987"/>
                    <a:gd name="connsiteY49" fmla="*/ 3533775 h 4496940"/>
                    <a:gd name="connsiteX50" fmla="*/ 4002427 w 4519987"/>
                    <a:gd name="connsiteY50" fmla="*/ 3600450 h 4496940"/>
                    <a:gd name="connsiteX51" fmla="*/ 3983377 w 4519987"/>
                    <a:gd name="connsiteY51" fmla="*/ 3629025 h 4496940"/>
                    <a:gd name="connsiteX52" fmla="*/ 3954802 w 4519987"/>
                    <a:gd name="connsiteY52" fmla="*/ 3648075 h 4496940"/>
                    <a:gd name="connsiteX53" fmla="*/ 3907177 w 4519987"/>
                    <a:gd name="connsiteY53" fmla="*/ 3686175 h 4496940"/>
                    <a:gd name="connsiteX54" fmla="*/ 3869077 w 4519987"/>
                    <a:gd name="connsiteY54" fmla="*/ 3724275 h 4496940"/>
                    <a:gd name="connsiteX55" fmla="*/ 3792877 w 4519987"/>
                    <a:gd name="connsiteY55" fmla="*/ 3781425 h 4496940"/>
                    <a:gd name="connsiteX56" fmla="*/ 3783352 w 4519987"/>
                    <a:gd name="connsiteY56" fmla="*/ 3810000 h 4496940"/>
                    <a:gd name="connsiteX57" fmla="*/ 3745252 w 4519987"/>
                    <a:gd name="connsiteY57" fmla="*/ 3819525 h 4496940"/>
                    <a:gd name="connsiteX58" fmla="*/ 3678577 w 4519987"/>
                    <a:gd name="connsiteY58" fmla="*/ 3848100 h 4496940"/>
                    <a:gd name="connsiteX59" fmla="*/ 3659527 w 4519987"/>
                    <a:gd name="connsiteY59" fmla="*/ 3971925 h 4496940"/>
                    <a:gd name="connsiteX60" fmla="*/ 3630952 w 4519987"/>
                    <a:gd name="connsiteY60" fmla="*/ 4010025 h 4496940"/>
                    <a:gd name="connsiteX61" fmla="*/ 3621427 w 4519987"/>
                    <a:gd name="connsiteY61" fmla="*/ 4038600 h 4496940"/>
                    <a:gd name="connsiteX62" fmla="*/ 3554752 w 4519987"/>
                    <a:gd name="connsiteY62" fmla="*/ 4095750 h 4496940"/>
                    <a:gd name="connsiteX63" fmla="*/ 3516652 w 4519987"/>
                    <a:gd name="connsiteY63" fmla="*/ 4114800 h 4496940"/>
                    <a:gd name="connsiteX64" fmla="*/ 3497602 w 4519987"/>
                    <a:gd name="connsiteY64" fmla="*/ 4143375 h 4496940"/>
                    <a:gd name="connsiteX65" fmla="*/ 3383302 w 4519987"/>
                    <a:gd name="connsiteY65" fmla="*/ 4210050 h 4496940"/>
                    <a:gd name="connsiteX66" fmla="*/ 3335677 w 4519987"/>
                    <a:gd name="connsiteY66" fmla="*/ 4238625 h 4496940"/>
                    <a:gd name="connsiteX67" fmla="*/ 3288052 w 4519987"/>
                    <a:gd name="connsiteY67" fmla="*/ 4248150 h 4496940"/>
                    <a:gd name="connsiteX68" fmla="*/ 3240427 w 4519987"/>
                    <a:gd name="connsiteY68" fmla="*/ 4267200 h 4496940"/>
                    <a:gd name="connsiteX69" fmla="*/ 3068977 w 4519987"/>
                    <a:gd name="connsiteY69" fmla="*/ 4286250 h 4496940"/>
                    <a:gd name="connsiteX70" fmla="*/ 2935627 w 4519987"/>
                    <a:gd name="connsiteY70" fmla="*/ 4333875 h 4496940"/>
                    <a:gd name="connsiteX71" fmla="*/ 2811802 w 4519987"/>
                    <a:gd name="connsiteY71" fmla="*/ 4371975 h 4496940"/>
                    <a:gd name="connsiteX72" fmla="*/ 2745127 w 4519987"/>
                    <a:gd name="connsiteY72" fmla="*/ 4410075 h 4496940"/>
                    <a:gd name="connsiteX73" fmla="*/ 2697502 w 4519987"/>
                    <a:gd name="connsiteY73" fmla="*/ 4429125 h 4496940"/>
                    <a:gd name="connsiteX74" fmla="*/ 2640352 w 4519987"/>
                    <a:gd name="connsiteY74" fmla="*/ 4457700 h 4496940"/>
                    <a:gd name="connsiteX75" fmla="*/ 2583202 w 4519987"/>
                    <a:gd name="connsiteY75" fmla="*/ 4467225 h 4496940"/>
                    <a:gd name="connsiteX76" fmla="*/ 2545102 w 4519987"/>
                    <a:gd name="connsiteY76" fmla="*/ 4486275 h 4496940"/>
                    <a:gd name="connsiteX77" fmla="*/ 2306977 w 4519987"/>
                    <a:gd name="connsiteY77" fmla="*/ 4476750 h 4496940"/>
                    <a:gd name="connsiteX78" fmla="*/ 2202202 w 4519987"/>
                    <a:gd name="connsiteY78" fmla="*/ 4457700 h 4496940"/>
                    <a:gd name="connsiteX79" fmla="*/ 2126002 w 4519987"/>
                    <a:gd name="connsiteY79" fmla="*/ 4429125 h 4496940"/>
                    <a:gd name="connsiteX80" fmla="*/ 1935502 w 4519987"/>
                    <a:gd name="connsiteY80" fmla="*/ 4400550 h 4496940"/>
                    <a:gd name="connsiteX81" fmla="*/ 1821202 w 4519987"/>
                    <a:gd name="connsiteY81" fmla="*/ 4371975 h 4496940"/>
                    <a:gd name="connsiteX82" fmla="*/ 1754527 w 4519987"/>
                    <a:gd name="connsiteY82" fmla="*/ 4352925 h 4496940"/>
                    <a:gd name="connsiteX83" fmla="*/ 1687852 w 4519987"/>
                    <a:gd name="connsiteY83" fmla="*/ 4343400 h 4496940"/>
                    <a:gd name="connsiteX84" fmla="*/ 1573552 w 4519987"/>
                    <a:gd name="connsiteY84" fmla="*/ 4305300 h 4496940"/>
                    <a:gd name="connsiteX85" fmla="*/ 1402102 w 4519987"/>
                    <a:gd name="connsiteY85" fmla="*/ 4276725 h 4496940"/>
                    <a:gd name="connsiteX86" fmla="*/ 1287802 w 4519987"/>
                    <a:gd name="connsiteY86" fmla="*/ 4229100 h 4496940"/>
                    <a:gd name="connsiteX87" fmla="*/ 1221127 w 4519987"/>
                    <a:gd name="connsiteY87" fmla="*/ 4200525 h 4496940"/>
                    <a:gd name="connsiteX88" fmla="*/ 1144927 w 4519987"/>
                    <a:gd name="connsiteY88" fmla="*/ 4171950 h 4496940"/>
                    <a:gd name="connsiteX89" fmla="*/ 1087777 w 4519987"/>
                    <a:gd name="connsiteY89" fmla="*/ 4143375 h 4496940"/>
                    <a:gd name="connsiteX90" fmla="*/ 1030627 w 4519987"/>
                    <a:gd name="connsiteY90" fmla="*/ 4124325 h 4496940"/>
                    <a:gd name="connsiteX91" fmla="*/ 925852 w 4519987"/>
                    <a:gd name="connsiteY91" fmla="*/ 4067175 h 4496940"/>
                    <a:gd name="connsiteX92" fmla="*/ 830602 w 4519987"/>
                    <a:gd name="connsiteY92" fmla="*/ 3981450 h 4496940"/>
                    <a:gd name="connsiteX93" fmla="*/ 763927 w 4519987"/>
                    <a:gd name="connsiteY93" fmla="*/ 3914775 h 4496940"/>
                    <a:gd name="connsiteX94" fmla="*/ 725827 w 4519987"/>
                    <a:gd name="connsiteY94" fmla="*/ 3876675 h 4496940"/>
                    <a:gd name="connsiteX95" fmla="*/ 697252 w 4519987"/>
                    <a:gd name="connsiteY95" fmla="*/ 3838575 h 4496940"/>
                    <a:gd name="connsiteX96" fmla="*/ 640102 w 4519987"/>
                    <a:gd name="connsiteY96" fmla="*/ 3781425 h 4496940"/>
                    <a:gd name="connsiteX97" fmla="*/ 611527 w 4519987"/>
                    <a:gd name="connsiteY97" fmla="*/ 3733800 h 4496940"/>
                    <a:gd name="connsiteX98" fmla="*/ 554377 w 4519987"/>
                    <a:gd name="connsiteY98" fmla="*/ 3657600 h 4496940"/>
                    <a:gd name="connsiteX99" fmla="*/ 525802 w 4519987"/>
                    <a:gd name="connsiteY99" fmla="*/ 3609975 h 4496940"/>
                    <a:gd name="connsiteX100" fmla="*/ 497227 w 4519987"/>
                    <a:gd name="connsiteY100" fmla="*/ 3552825 h 4496940"/>
                    <a:gd name="connsiteX101" fmla="*/ 440077 w 4519987"/>
                    <a:gd name="connsiteY101" fmla="*/ 3495675 h 4496940"/>
                    <a:gd name="connsiteX102" fmla="*/ 411502 w 4519987"/>
                    <a:gd name="connsiteY102" fmla="*/ 3448050 h 4496940"/>
                    <a:gd name="connsiteX103" fmla="*/ 278152 w 4519987"/>
                    <a:gd name="connsiteY103" fmla="*/ 3257550 h 4496940"/>
                    <a:gd name="connsiteX104" fmla="*/ 249577 w 4519987"/>
                    <a:gd name="connsiteY104" fmla="*/ 3200400 h 4496940"/>
                    <a:gd name="connsiteX105" fmla="*/ 240052 w 4519987"/>
                    <a:gd name="connsiteY105" fmla="*/ 3162300 h 4496940"/>
                    <a:gd name="connsiteX106" fmla="*/ 221002 w 4519987"/>
                    <a:gd name="connsiteY106" fmla="*/ 3105150 h 4496940"/>
                    <a:gd name="connsiteX107" fmla="*/ 173377 w 4519987"/>
                    <a:gd name="connsiteY107" fmla="*/ 3019425 h 4496940"/>
                    <a:gd name="connsiteX108" fmla="*/ 144802 w 4519987"/>
                    <a:gd name="connsiteY108" fmla="*/ 2924175 h 4496940"/>
                    <a:gd name="connsiteX109" fmla="*/ 68602 w 4519987"/>
                    <a:gd name="connsiteY109" fmla="*/ 2724150 h 4496940"/>
                    <a:gd name="connsiteX110" fmla="*/ 49552 w 4519987"/>
                    <a:gd name="connsiteY110" fmla="*/ 2638425 h 4496940"/>
                    <a:gd name="connsiteX111" fmla="*/ 40027 w 4519987"/>
                    <a:gd name="connsiteY111" fmla="*/ 2562225 h 4496940"/>
                    <a:gd name="connsiteX112" fmla="*/ 30502 w 4519987"/>
                    <a:gd name="connsiteY112" fmla="*/ 2514600 h 4496940"/>
                    <a:gd name="connsiteX113" fmla="*/ 11452 w 4519987"/>
                    <a:gd name="connsiteY113" fmla="*/ 2400300 h 4496940"/>
                    <a:gd name="connsiteX114" fmla="*/ 20977 w 4519987"/>
                    <a:gd name="connsiteY114" fmla="*/ 1905000 h 4496940"/>
                    <a:gd name="connsiteX115" fmla="*/ 30502 w 4519987"/>
                    <a:gd name="connsiteY115" fmla="*/ 1838325 h 4496940"/>
                    <a:gd name="connsiteX116" fmla="*/ 49552 w 4519987"/>
                    <a:gd name="connsiteY116" fmla="*/ 1781175 h 4496940"/>
                    <a:gd name="connsiteX117" fmla="*/ 59077 w 4519987"/>
                    <a:gd name="connsiteY117" fmla="*/ 1743075 h 4496940"/>
                    <a:gd name="connsiteX118" fmla="*/ 78127 w 4519987"/>
                    <a:gd name="connsiteY118" fmla="*/ 1685925 h 4496940"/>
                    <a:gd name="connsiteX119" fmla="*/ 87652 w 4519987"/>
                    <a:gd name="connsiteY119" fmla="*/ 1638300 h 4496940"/>
                    <a:gd name="connsiteX120" fmla="*/ 106702 w 4519987"/>
                    <a:gd name="connsiteY120" fmla="*/ 1590675 h 4496940"/>
                    <a:gd name="connsiteX121" fmla="*/ 135277 w 4519987"/>
                    <a:gd name="connsiteY121" fmla="*/ 1504950 h 4496940"/>
                    <a:gd name="connsiteX122" fmla="*/ 154327 w 4519987"/>
                    <a:gd name="connsiteY122" fmla="*/ 1419225 h 4496940"/>
                    <a:gd name="connsiteX123" fmla="*/ 230527 w 4519987"/>
                    <a:gd name="connsiteY123" fmla="*/ 1276350 h 4496940"/>
                    <a:gd name="connsiteX124" fmla="*/ 240052 w 4519987"/>
                    <a:gd name="connsiteY124" fmla="*/ 1247775 h 4496940"/>
                    <a:gd name="connsiteX125" fmla="*/ 268627 w 4519987"/>
                    <a:gd name="connsiteY125" fmla="*/ 1200150 h 4496940"/>
                    <a:gd name="connsiteX126" fmla="*/ 287677 w 4519987"/>
                    <a:gd name="connsiteY126" fmla="*/ 1152525 h 4496940"/>
                    <a:gd name="connsiteX127" fmla="*/ 316252 w 4519987"/>
                    <a:gd name="connsiteY127" fmla="*/ 1114425 h 4496940"/>
                    <a:gd name="connsiteX128" fmla="*/ 363877 w 4519987"/>
                    <a:gd name="connsiteY128" fmla="*/ 1038225 h 4496940"/>
                    <a:gd name="connsiteX129" fmla="*/ 382927 w 4519987"/>
                    <a:gd name="connsiteY129" fmla="*/ 1009650 h 4496940"/>
                    <a:gd name="connsiteX130" fmla="*/ 440077 w 4519987"/>
                    <a:gd name="connsiteY130" fmla="*/ 904875 h 4496940"/>
                    <a:gd name="connsiteX131" fmla="*/ 478177 w 4519987"/>
                    <a:gd name="connsiteY131" fmla="*/ 857250 h 4496940"/>
                    <a:gd name="connsiteX132" fmla="*/ 497227 w 4519987"/>
                    <a:gd name="connsiteY132" fmla="*/ 828675 h 4496940"/>
                    <a:gd name="connsiteX133" fmla="*/ 535327 w 4519987"/>
                    <a:gd name="connsiteY133" fmla="*/ 800100 h 4496940"/>
                    <a:gd name="connsiteX134" fmla="*/ 602002 w 4519987"/>
                    <a:gd name="connsiteY134" fmla="*/ 733425 h 4496940"/>
                    <a:gd name="connsiteX135" fmla="*/ 668677 w 4519987"/>
                    <a:gd name="connsiteY135" fmla="*/ 676275 h 4496940"/>
                    <a:gd name="connsiteX136" fmla="*/ 697252 w 4519987"/>
                    <a:gd name="connsiteY136" fmla="*/ 657225 h 4496940"/>
                    <a:gd name="connsiteX137" fmla="*/ 840127 w 4519987"/>
                    <a:gd name="connsiteY137" fmla="*/ 533400 h 4496940"/>
                    <a:gd name="connsiteX138" fmla="*/ 887752 w 4519987"/>
                    <a:gd name="connsiteY138" fmla="*/ 504825 h 4496940"/>
                    <a:gd name="connsiteX139" fmla="*/ 1167152 w 4519987"/>
                    <a:gd name="connsiteY139" fmla="*/ 311150 h 4496940"/>
                    <a:gd name="connsiteX140" fmla="*/ 1268752 w 4519987"/>
                    <a:gd name="connsiteY140" fmla="*/ 285750 h 4496940"/>
                    <a:gd name="connsiteX141" fmla="*/ 1411627 w 4519987"/>
                    <a:gd name="connsiteY141" fmla="*/ 190500 h 4496940"/>
                    <a:gd name="connsiteX142" fmla="*/ 1449727 w 4519987"/>
                    <a:gd name="connsiteY142" fmla="*/ 161925 h 4496940"/>
                    <a:gd name="connsiteX143" fmla="*/ 1525927 w 4519987"/>
                    <a:gd name="connsiteY143" fmla="*/ 152400 h 4496940"/>
                    <a:gd name="connsiteX144" fmla="*/ 1583077 w 4519987"/>
                    <a:gd name="connsiteY144" fmla="*/ 142875 h 4496940"/>
                    <a:gd name="connsiteX145" fmla="*/ 1716427 w 4519987"/>
                    <a:gd name="connsiteY145" fmla="*/ 123825 h 4496940"/>
                    <a:gd name="connsiteX146" fmla="*/ 1811677 w 4519987"/>
                    <a:gd name="connsiteY146" fmla="*/ 114300 h 4496940"/>
                    <a:gd name="connsiteX147" fmla="*/ 1859302 w 4519987"/>
                    <a:gd name="connsiteY147" fmla="*/ 104775 h 4496940"/>
                    <a:gd name="connsiteX148" fmla="*/ 1916452 w 4519987"/>
                    <a:gd name="connsiteY148" fmla="*/ 95250 h 4496940"/>
                    <a:gd name="connsiteX149" fmla="*/ 2030752 w 4519987"/>
                    <a:gd name="connsiteY149" fmla="*/ 66675 h 4496940"/>
                    <a:gd name="connsiteX150" fmla="*/ 2097427 w 4519987"/>
                    <a:gd name="connsiteY150" fmla="*/ 47625 h 4496940"/>
                    <a:gd name="connsiteX151" fmla="*/ 2164102 w 4519987"/>
                    <a:gd name="connsiteY151" fmla="*/ 38100 h 4496940"/>
                    <a:gd name="connsiteX152" fmla="*/ 2392702 w 4519987"/>
                    <a:gd name="connsiteY15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02377 w 4519987"/>
                    <a:gd name="connsiteY18" fmla="*/ 457200 h 4496940"/>
                    <a:gd name="connsiteX19" fmla="*/ 3630952 w 4519987"/>
                    <a:gd name="connsiteY19" fmla="*/ 485775 h 4496940"/>
                    <a:gd name="connsiteX20" fmla="*/ 3745252 w 4519987"/>
                    <a:gd name="connsiteY20" fmla="*/ 542925 h 4496940"/>
                    <a:gd name="connsiteX21" fmla="*/ 3811927 w 4519987"/>
                    <a:gd name="connsiteY21" fmla="*/ 581025 h 4496940"/>
                    <a:gd name="connsiteX22" fmla="*/ 3907177 w 4519987"/>
                    <a:gd name="connsiteY22" fmla="*/ 647700 h 4496940"/>
                    <a:gd name="connsiteX23" fmla="*/ 3935752 w 4519987"/>
                    <a:gd name="connsiteY23" fmla="*/ 676275 h 4496940"/>
                    <a:gd name="connsiteX24" fmla="*/ 4078627 w 4519987"/>
                    <a:gd name="connsiteY24" fmla="*/ 838200 h 4496940"/>
                    <a:gd name="connsiteX25" fmla="*/ 4135777 w 4519987"/>
                    <a:gd name="connsiteY25" fmla="*/ 933450 h 4496940"/>
                    <a:gd name="connsiteX26" fmla="*/ 4164352 w 4519987"/>
                    <a:gd name="connsiteY26" fmla="*/ 990600 h 4496940"/>
                    <a:gd name="connsiteX27" fmla="*/ 4173877 w 4519987"/>
                    <a:gd name="connsiteY27" fmla="*/ 1019175 h 4496940"/>
                    <a:gd name="connsiteX28" fmla="*/ 4192927 w 4519987"/>
                    <a:gd name="connsiteY28" fmla="*/ 1057275 h 4496940"/>
                    <a:gd name="connsiteX29" fmla="*/ 4202452 w 4519987"/>
                    <a:gd name="connsiteY29" fmla="*/ 1085850 h 4496940"/>
                    <a:gd name="connsiteX30" fmla="*/ 4250077 w 4519987"/>
                    <a:gd name="connsiteY30" fmla="*/ 1143000 h 4496940"/>
                    <a:gd name="connsiteX31" fmla="*/ 4259602 w 4519987"/>
                    <a:gd name="connsiteY31" fmla="*/ 1190625 h 4496940"/>
                    <a:gd name="connsiteX32" fmla="*/ 4307227 w 4519987"/>
                    <a:gd name="connsiteY32" fmla="*/ 1266825 h 4496940"/>
                    <a:gd name="connsiteX33" fmla="*/ 4345327 w 4519987"/>
                    <a:gd name="connsiteY33" fmla="*/ 1362075 h 4496940"/>
                    <a:gd name="connsiteX34" fmla="*/ 4373902 w 4519987"/>
                    <a:gd name="connsiteY34" fmla="*/ 1428750 h 4496940"/>
                    <a:gd name="connsiteX35" fmla="*/ 4392952 w 4519987"/>
                    <a:gd name="connsiteY35" fmla="*/ 1552575 h 4496940"/>
                    <a:gd name="connsiteX36" fmla="*/ 4402477 w 4519987"/>
                    <a:gd name="connsiteY36" fmla="*/ 1590675 h 4496940"/>
                    <a:gd name="connsiteX37" fmla="*/ 4431052 w 4519987"/>
                    <a:gd name="connsiteY37" fmla="*/ 1685925 h 4496940"/>
                    <a:gd name="connsiteX38" fmla="*/ 4519952 w 4519987"/>
                    <a:gd name="connsiteY38" fmla="*/ 2181225 h 4496940"/>
                    <a:gd name="connsiteX39" fmla="*/ 4446927 w 4519987"/>
                    <a:gd name="connsiteY39" fmla="*/ 2768600 h 4496940"/>
                    <a:gd name="connsiteX40" fmla="*/ 4383427 w 4519987"/>
                    <a:gd name="connsiteY40" fmla="*/ 2990850 h 4496940"/>
                    <a:gd name="connsiteX41" fmla="*/ 4278652 w 4519987"/>
                    <a:gd name="connsiteY41" fmla="*/ 3248025 h 4496940"/>
                    <a:gd name="connsiteX42" fmla="*/ 4259602 w 4519987"/>
                    <a:gd name="connsiteY42" fmla="*/ 3276600 h 4496940"/>
                    <a:gd name="connsiteX43" fmla="*/ 4221502 w 4519987"/>
                    <a:gd name="connsiteY43" fmla="*/ 3333750 h 4496940"/>
                    <a:gd name="connsiteX44" fmla="*/ 4211977 w 4519987"/>
                    <a:gd name="connsiteY44" fmla="*/ 3362325 h 4496940"/>
                    <a:gd name="connsiteX45" fmla="*/ 4183402 w 4519987"/>
                    <a:gd name="connsiteY45" fmla="*/ 3400425 h 4496940"/>
                    <a:gd name="connsiteX46" fmla="*/ 4164352 w 4519987"/>
                    <a:gd name="connsiteY46" fmla="*/ 3429000 h 4496940"/>
                    <a:gd name="connsiteX47" fmla="*/ 4088152 w 4519987"/>
                    <a:gd name="connsiteY47" fmla="*/ 3495675 h 4496940"/>
                    <a:gd name="connsiteX48" fmla="*/ 4059577 w 4519987"/>
                    <a:gd name="connsiteY48" fmla="*/ 3533775 h 4496940"/>
                    <a:gd name="connsiteX49" fmla="*/ 4002427 w 4519987"/>
                    <a:gd name="connsiteY49" fmla="*/ 3600450 h 4496940"/>
                    <a:gd name="connsiteX50" fmla="*/ 3983377 w 4519987"/>
                    <a:gd name="connsiteY50" fmla="*/ 3629025 h 4496940"/>
                    <a:gd name="connsiteX51" fmla="*/ 3954802 w 4519987"/>
                    <a:gd name="connsiteY51" fmla="*/ 3648075 h 4496940"/>
                    <a:gd name="connsiteX52" fmla="*/ 3907177 w 4519987"/>
                    <a:gd name="connsiteY52" fmla="*/ 3686175 h 4496940"/>
                    <a:gd name="connsiteX53" fmla="*/ 3869077 w 4519987"/>
                    <a:gd name="connsiteY53" fmla="*/ 3724275 h 4496940"/>
                    <a:gd name="connsiteX54" fmla="*/ 3792877 w 4519987"/>
                    <a:gd name="connsiteY54" fmla="*/ 3781425 h 4496940"/>
                    <a:gd name="connsiteX55" fmla="*/ 3783352 w 4519987"/>
                    <a:gd name="connsiteY55" fmla="*/ 3810000 h 4496940"/>
                    <a:gd name="connsiteX56" fmla="*/ 3745252 w 4519987"/>
                    <a:gd name="connsiteY56" fmla="*/ 3819525 h 4496940"/>
                    <a:gd name="connsiteX57" fmla="*/ 3678577 w 4519987"/>
                    <a:gd name="connsiteY57" fmla="*/ 3848100 h 4496940"/>
                    <a:gd name="connsiteX58" fmla="*/ 3659527 w 4519987"/>
                    <a:gd name="connsiteY58" fmla="*/ 3971925 h 4496940"/>
                    <a:gd name="connsiteX59" fmla="*/ 3630952 w 4519987"/>
                    <a:gd name="connsiteY59" fmla="*/ 4010025 h 4496940"/>
                    <a:gd name="connsiteX60" fmla="*/ 3621427 w 4519987"/>
                    <a:gd name="connsiteY60" fmla="*/ 4038600 h 4496940"/>
                    <a:gd name="connsiteX61" fmla="*/ 3554752 w 4519987"/>
                    <a:gd name="connsiteY61" fmla="*/ 4095750 h 4496940"/>
                    <a:gd name="connsiteX62" fmla="*/ 3516652 w 4519987"/>
                    <a:gd name="connsiteY62" fmla="*/ 4114800 h 4496940"/>
                    <a:gd name="connsiteX63" fmla="*/ 3497602 w 4519987"/>
                    <a:gd name="connsiteY63" fmla="*/ 4143375 h 4496940"/>
                    <a:gd name="connsiteX64" fmla="*/ 3383302 w 4519987"/>
                    <a:gd name="connsiteY64" fmla="*/ 4210050 h 4496940"/>
                    <a:gd name="connsiteX65" fmla="*/ 3335677 w 4519987"/>
                    <a:gd name="connsiteY65" fmla="*/ 4238625 h 4496940"/>
                    <a:gd name="connsiteX66" fmla="*/ 3288052 w 4519987"/>
                    <a:gd name="connsiteY66" fmla="*/ 4248150 h 4496940"/>
                    <a:gd name="connsiteX67" fmla="*/ 3240427 w 4519987"/>
                    <a:gd name="connsiteY67" fmla="*/ 4267200 h 4496940"/>
                    <a:gd name="connsiteX68" fmla="*/ 3068977 w 4519987"/>
                    <a:gd name="connsiteY68" fmla="*/ 4286250 h 4496940"/>
                    <a:gd name="connsiteX69" fmla="*/ 2935627 w 4519987"/>
                    <a:gd name="connsiteY69" fmla="*/ 4333875 h 4496940"/>
                    <a:gd name="connsiteX70" fmla="*/ 2811802 w 4519987"/>
                    <a:gd name="connsiteY70" fmla="*/ 4371975 h 4496940"/>
                    <a:gd name="connsiteX71" fmla="*/ 2745127 w 4519987"/>
                    <a:gd name="connsiteY71" fmla="*/ 4410075 h 4496940"/>
                    <a:gd name="connsiteX72" fmla="*/ 2697502 w 4519987"/>
                    <a:gd name="connsiteY72" fmla="*/ 4429125 h 4496940"/>
                    <a:gd name="connsiteX73" fmla="*/ 2640352 w 4519987"/>
                    <a:gd name="connsiteY73" fmla="*/ 4457700 h 4496940"/>
                    <a:gd name="connsiteX74" fmla="*/ 2583202 w 4519987"/>
                    <a:gd name="connsiteY74" fmla="*/ 4467225 h 4496940"/>
                    <a:gd name="connsiteX75" fmla="*/ 2545102 w 4519987"/>
                    <a:gd name="connsiteY75" fmla="*/ 4486275 h 4496940"/>
                    <a:gd name="connsiteX76" fmla="*/ 2306977 w 4519987"/>
                    <a:gd name="connsiteY76" fmla="*/ 4476750 h 4496940"/>
                    <a:gd name="connsiteX77" fmla="*/ 2202202 w 4519987"/>
                    <a:gd name="connsiteY77" fmla="*/ 4457700 h 4496940"/>
                    <a:gd name="connsiteX78" fmla="*/ 2126002 w 4519987"/>
                    <a:gd name="connsiteY78" fmla="*/ 4429125 h 4496940"/>
                    <a:gd name="connsiteX79" fmla="*/ 1935502 w 4519987"/>
                    <a:gd name="connsiteY79" fmla="*/ 4400550 h 4496940"/>
                    <a:gd name="connsiteX80" fmla="*/ 1821202 w 4519987"/>
                    <a:gd name="connsiteY80" fmla="*/ 4371975 h 4496940"/>
                    <a:gd name="connsiteX81" fmla="*/ 1754527 w 4519987"/>
                    <a:gd name="connsiteY81" fmla="*/ 4352925 h 4496940"/>
                    <a:gd name="connsiteX82" fmla="*/ 1687852 w 4519987"/>
                    <a:gd name="connsiteY82" fmla="*/ 4343400 h 4496940"/>
                    <a:gd name="connsiteX83" fmla="*/ 1573552 w 4519987"/>
                    <a:gd name="connsiteY83" fmla="*/ 4305300 h 4496940"/>
                    <a:gd name="connsiteX84" fmla="*/ 1402102 w 4519987"/>
                    <a:gd name="connsiteY84" fmla="*/ 4276725 h 4496940"/>
                    <a:gd name="connsiteX85" fmla="*/ 1287802 w 4519987"/>
                    <a:gd name="connsiteY85" fmla="*/ 4229100 h 4496940"/>
                    <a:gd name="connsiteX86" fmla="*/ 1221127 w 4519987"/>
                    <a:gd name="connsiteY86" fmla="*/ 4200525 h 4496940"/>
                    <a:gd name="connsiteX87" fmla="*/ 1144927 w 4519987"/>
                    <a:gd name="connsiteY87" fmla="*/ 4171950 h 4496940"/>
                    <a:gd name="connsiteX88" fmla="*/ 1087777 w 4519987"/>
                    <a:gd name="connsiteY88" fmla="*/ 4143375 h 4496940"/>
                    <a:gd name="connsiteX89" fmla="*/ 1030627 w 4519987"/>
                    <a:gd name="connsiteY89" fmla="*/ 4124325 h 4496940"/>
                    <a:gd name="connsiteX90" fmla="*/ 925852 w 4519987"/>
                    <a:gd name="connsiteY90" fmla="*/ 4067175 h 4496940"/>
                    <a:gd name="connsiteX91" fmla="*/ 830602 w 4519987"/>
                    <a:gd name="connsiteY91" fmla="*/ 3981450 h 4496940"/>
                    <a:gd name="connsiteX92" fmla="*/ 763927 w 4519987"/>
                    <a:gd name="connsiteY92" fmla="*/ 3914775 h 4496940"/>
                    <a:gd name="connsiteX93" fmla="*/ 725827 w 4519987"/>
                    <a:gd name="connsiteY93" fmla="*/ 3876675 h 4496940"/>
                    <a:gd name="connsiteX94" fmla="*/ 697252 w 4519987"/>
                    <a:gd name="connsiteY94" fmla="*/ 3838575 h 4496940"/>
                    <a:gd name="connsiteX95" fmla="*/ 640102 w 4519987"/>
                    <a:gd name="connsiteY95" fmla="*/ 3781425 h 4496940"/>
                    <a:gd name="connsiteX96" fmla="*/ 611527 w 4519987"/>
                    <a:gd name="connsiteY96" fmla="*/ 3733800 h 4496940"/>
                    <a:gd name="connsiteX97" fmla="*/ 554377 w 4519987"/>
                    <a:gd name="connsiteY97" fmla="*/ 3657600 h 4496940"/>
                    <a:gd name="connsiteX98" fmla="*/ 525802 w 4519987"/>
                    <a:gd name="connsiteY98" fmla="*/ 3609975 h 4496940"/>
                    <a:gd name="connsiteX99" fmla="*/ 497227 w 4519987"/>
                    <a:gd name="connsiteY99" fmla="*/ 3552825 h 4496940"/>
                    <a:gd name="connsiteX100" fmla="*/ 440077 w 4519987"/>
                    <a:gd name="connsiteY100" fmla="*/ 3495675 h 4496940"/>
                    <a:gd name="connsiteX101" fmla="*/ 411502 w 4519987"/>
                    <a:gd name="connsiteY101" fmla="*/ 3448050 h 4496940"/>
                    <a:gd name="connsiteX102" fmla="*/ 278152 w 4519987"/>
                    <a:gd name="connsiteY102" fmla="*/ 3257550 h 4496940"/>
                    <a:gd name="connsiteX103" fmla="*/ 249577 w 4519987"/>
                    <a:gd name="connsiteY103" fmla="*/ 3200400 h 4496940"/>
                    <a:gd name="connsiteX104" fmla="*/ 240052 w 4519987"/>
                    <a:gd name="connsiteY104" fmla="*/ 3162300 h 4496940"/>
                    <a:gd name="connsiteX105" fmla="*/ 221002 w 4519987"/>
                    <a:gd name="connsiteY105" fmla="*/ 3105150 h 4496940"/>
                    <a:gd name="connsiteX106" fmla="*/ 173377 w 4519987"/>
                    <a:gd name="connsiteY106" fmla="*/ 3019425 h 4496940"/>
                    <a:gd name="connsiteX107" fmla="*/ 144802 w 4519987"/>
                    <a:gd name="connsiteY107" fmla="*/ 2924175 h 4496940"/>
                    <a:gd name="connsiteX108" fmla="*/ 68602 w 4519987"/>
                    <a:gd name="connsiteY108" fmla="*/ 2724150 h 4496940"/>
                    <a:gd name="connsiteX109" fmla="*/ 49552 w 4519987"/>
                    <a:gd name="connsiteY109" fmla="*/ 2638425 h 4496940"/>
                    <a:gd name="connsiteX110" fmla="*/ 40027 w 4519987"/>
                    <a:gd name="connsiteY110" fmla="*/ 2562225 h 4496940"/>
                    <a:gd name="connsiteX111" fmla="*/ 30502 w 4519987"/>
                    <a:gd name="connsiteY111" fmla="*/ 2514600 h 4496940"/>
                    <a:gd name="connsiteX112" fmla="*/ 11452 w 4519987"/>
                    <a:gd name="connsiteY112" fmla="*/ 2400300 h 4496940"/>
                    <a:gd name="connsiteX113" fmla="*/ 20977 w 4519987"/>
                    <a:gd name="connsiteY113" fmla="*/ 1905000 h 4496940"/>
                    <a:gd name="connsiteX114" fmla="*/ 30502 w 4519987"/>
                    <a:gd name="connsiteY114" fmla="*/ 1838325 h 4496940"/>
                    <a:gd name="connsiteX115" fmla="*/ 49552 w 4519987"/>
                    <a:gd name="connsiteY115" fmla="*/ 1781175 h 4496940"/>
                    <a:gd name="connsiteX116" fmla="*/ 59077 w 4519987"/>
                    <a:gd name="connsiteY116" fmla="*/ 1743075 h 4496940"/>
                    <a:gd name="connsiteX117" fmla="*/ 78127 w 4519987"/>
                    <a:gd name="connsiteY117" fmla="*/ 1685925 h 4496940"/>
                    <a:gd name="connsiteX118" fmla="*/ 87652 w 4519987"/>
                    <a:gd name="connsiteY118" fmla="*/ 1638300 h 4496940"/>
                    <a:gd name="connsiteX119" fmla="*/ 106702 w 4519987"/>
                    <a:gd name="connsiteY119" fmla="*/ 1590675 h 4496940"/>
                    <a:gd name="connsiteX120" fmla="*/ 135277 w 4519987"/>
                    <a:gd name="connsiteY120" fmla="*/ 1504950 h 4496940"/>
                    <a:gd name="connsiteX121" fmla="*/ 154327 w 4519987"/>
                    <a:gd name="connsiteY121" fmla="*/ 1419225 h 4496940"/>
                    <a:gd name="connsiteX122" fmla="*/ 230527 w 4519987"/>
                    <a:gd name="connsiteY122" fmla="*/ 1276350 h 4496940"/>
                    <a:gd name="connsiteX123" fmla="*/ 240052 w 4519987"/>
                    <a:gd name="connsiteY123" fmla="*/ 1247775 h 4496940"/>
                    <a:gd name="connsiteX124" fmla="*/ 268627 w 4519987"/>
                    <a:gd name="connsiteY124" fmla="*/ 1200150 h 4496940"/>
                    <a:gd name="connsiteX125" fmla="*/ 287677 w 4519987"/>
                    <a:gd name="connsiteY125" fmla="*/ 1152525 h 4496940"/>
                    <a:gd name="connsiteX126" fmla="*/ 316252 w 4519987"/>
                    <a:gd name="connsiteY126" fmla="*/ 1114425 h 4496940"/>
                    <a:gd name="connsiteX127" fmla="*/ 363877 w 4519987"/>
                    <a:gd name="connsiteY127" fmla="*/ 1038225 h 4496940"/>
                    <a:gd name="connsiteX128" fmla="*/ 382927 w 4519987"/>
                    <a:gd name="connsiteY128" fmla="*/ 1009650 h 4496940"/>
                    <a:gd name="connsiteX129" fmla="*/ 440077 w 4519987"/>
                    <a:gd name="connsiteY129" fmla="*/ 904875 h 4496940"/>
                    <a:gd name="connsiteX130" fmla="*/ 478177 w 4519987"/>
                    <a:gd name="connsiteY130" fmla="*/ 857250 h 4496940"/>
                    <a:gd name="connsiteX131" fmla="*/ 497227 w 4519987"/>
                    <a:gd name="connsiteY131" fmla="*/ 828675 h 4496940"/>
                    <a:gd name="connsiteX132" fmla="*/ 535327 w 4519987"/>
                    <a:gd name="connsiteY132" fmla="*/ 800100 h 4496940"/>
                    <a:gd name="connsiteX133" fmla="*/ 602002 w 4519987"/>
                    <a:gd name="connsiteY133" fmla="*/ 733425 h 4496940"/>
                    <a:gd name="connsiteX134" fmla="*/ 668677 w 4519987"/>
                    <a:gd name="connsiteY134" fmla="*/ 676275 h 4496940"/>
                    <a:gd name="connsiteX135" fmla="*/ 697252 w 4519987"/>
                    <a:gd name="connsiteY135" fmla="*/ 657225 h 4496940"/>
                    <a:gd name="connsiteX136" fmla="*/ 840127 w 4519987"/>
                    <a:gd name="connsiteY136" fmla="*/ 533400 h 4496940"/>
                    <a:gd name="connsiteX137" fmla="*/ 887752 w 4519987"/>
                    <a:gd name="connsiteY137" fmla="*/ 504825 h 4496940"/>
                    <a:gd name="connsiteX138" fmla="*/ 1167152 w 4519987"/>
                    <a:gd name="connsiteY138" fmla="*/ 311150 h 4496940"/>
                    <a:gd name="connsiteX139" fmla="*/ 1268752 w 4519987"/>
                    <a:gd name="connsiteY139" fmla="*/ 285750 h 4496940"/>
                    <a:gd name="connsiteX140" fmla="*/ 1411627 w 4519987"/>
                    <a:gd name="connsiteY140" fmla="*/ 190500 h 4496940"/>
                    <a:gd name="connsiteX141" fmla="*/ 1449727 w 4519987"/>
                    <a:gd name="connsiteY141" fmla="*/ 161925 h 4496940"/>
                    <a:gd name="connsiteX142" fmla="*/ 1525927 w 4519987"/>
                    <a:gd name="connsiteY142" fmla="*/ 152400 h 4496940"/>
                    <a:gd name="connsiteX143" fmla="*/ 1583077 w 4519987"/>
                    <a:gd name="connsiteY143" fmla="*/ 142875 h 4496940"/>
                    <a:gd name="connsiteX144" fmla="*/ 1716427 w 4519987"/>
                    <a:gd name="connsiteY144" fmla="*/ 123825 h 4496940"/>
                    <a:gd name="connsiteX145" fmla="*/ 1811677 w 4519987"/>
                    <a:gd name="connsiteY145" fmla="*/ 114300 h 4496940"/>
                    <a:gd name="connsiteX146" fmla="*/ 1859302 w 4519987"/>
                    <a:gd name="connsiteY146" fmla="*/ 104775 h 4496940"/>
                    <a:gd name="connsiteX147" fmla="*/ 1916452 w 4519987"/>
                    <a:gd name="connsiteY147" fmla="*/ 95250 h 4496940"/>
                    <a:gd name="connsiteX148" fmla="*/ 2030752 w 4519987"/>
                    <a:gd name="connsiteY148" fmla="*/ 66675 h 4496940"/>
                    <a:gd name="connsiteX149" fmla="*/ 2097427 w 4519987"/>
                    <a:gd name="connsiteY149" fmla="*/ 47625 h 4496940"/>
                    <a:gd name="connsiteX150" fmla="*/ 2164102 w 4519987"/>
                    <a:gd name="connsiteY150" fmla="*/ 38100 h 4496940"/>
                    <a:gd name="connsiteX151" fmla="*/ 2392702 w 4519987"/>
                    <a:gd name="connsiteY15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3935752 w 4519987"/>
                    <a:gd name="connsiteY22" fmla="*/ 676275 h 4496940"/>
                    <a:gd name="connsiteX23" fmla="*/ 4078627 w 4519987"/>
                    <a:gd name="connsiteY23" fmla="*/ 838200 h 4496940"/>
                    <a:gd name="connsiteX24" fmla="*/ 4135777 w 4519987"/>
                    <a:gd name="connsiteY24" fmla="*/ 933450 h 4496940"/>
                    <a:gd name="connsiteX25" fmla="*/ 4164352 w 4519987"/>
                    <a:gd name="connsiteY25" fmla="*/ 990600 h 4496940"/>
                    <a:gd name="connsiteX26" fmla="*/ 4173877 w 4519987"/>
                    <a:gd name="connsiteY26" fmla="*/ 1019175 h 4496940"/>
                    <a:gd name="connsiteX27" fmla="*/ 4192927 w 4519987"/>
                    <a:gd name="connsiteY27" fmla="*/ 1057275 h 4496940"/>
                    <a:gd name="connsiteX28" fmla="*/ 4202452 w 4519987"/>
                    <a:gd name="connsiteY28" fmla="*/ 1085850 h 4496940"/>
                    <a:gd name="connsiteX29" fmla="*/ 4250077 w 4519987"/>
                    <a:gd name="connsiteY29" fmla="*/ 1143000 h 4496940"/>
                    <a:gd name="connsiteX30" fmla="*/ 4259602 w 4519987"/>
                    <a:gd name="connsiteY30" fmla="*/ 1190625 h 4496940"/>
                    <a:gd name="connsiteX31" fmla="*/ 4307227 w 4519987"/>
                    <a:gd name="connsiteY31" fmla="*/ 1266825 h 4496940"/>
                    <a:gd name="connsiteX32" fmla="*/ 4345327 w 4519987"/>
                    <a:gd name="connsiteY32" fmla="*/ 1362075 h 4496940"/>
                    <a:gd name="connsiteX33" fmla="*/ 4373902 w 4519987"/>
                    <a:gd name="connsiteY33" fmla="*/ 1428750 h 4496940"/>
                    <a:gd name="connsiteX34" fmla="*/ 4392952 w 4519987"/>
                    <a:gd name="connsiteY34" fmla="*/ 1552575 h 4496940"/>
                    <a:gd name="connsiteX35" fmla="*/ 4402477 w 4519987"/>
                    <a:gd name="connsiteY35" fmla="*/ 1590675 h 4496940"/>
                    <a:gd name="connsiteX36" fmla="*/ 4431052 w 4519987"/>
                    <a:gd name="connsiteY36" fmla="*/ 1685925 h 4496940"/>
                    <a:gd name="connsiteX37" fmla="*/ 4519952 w 4519987"/>
                    <a:gd name="connsiteY37" fmla="*/ 2181225 h 4496940"/>
                    <a:gd name="connsiteX38" fmla="*/ 4446927 w 4519987"/>
                    <a:gd name="connsiteY38" fmla="*/ 2768600 h 4496940"/>
                    <a:gd name="connsiteX39" fmla="*/ 4383427 w 4519987"/>
                    <a:gd name="connsiteY39" fmla="*/ 2990850 h 4496940"/>
                    <a:gd name="connsiteX40" fmla="*/ 4278652 w 4519987"/>
                    <a:gd name="connsiteY40" fmla="*/ 3248025 h 4496940"/>
                    <a:gd name="connsiteX41" fmla="*/ 4259602 w 4519987"/>
                    <a:gd name="connsiteY41" fmla="*/ 3276600 h 4496940"/>
                    <a:gd name="connsiteX42" fmla="*/ 4221502 w 4519987"/>
                    <a:gd name="connsiteY42" fmla="*/ 3333750 h 4496940"/>
                    <a:gd name="connsiteX43" fmla="*/ 4211977 w 4519987"/>
                    <a:gd name="connsiteY43" fmla="*/ 3362325 h 4496940"/>
                    <a:gd name="connsiteX44" fmla="*/ 4183402 w 4519987"/>
                    <a:gd name="connsiteY44" fmla="*/ 3400425 h 4496940"/>
                    <a:gd name="connsiteX45" fmla="*/ 4164352 w 4519987"/>
                    <a:gd name="connsiteY45" fmla="*/ 3429000 h 4496940"/>
                    <a:gd name="connsiteX46" fmla="*/ 4088152 w 4519987"/>
                    <a:gd name="connsiteY46" fmla="*/ 3495675 h 4496940"/>
                    <a:gd name="connsiteX47" fmla="*/ 4059577 w 4519987"/>
                    <a:gd name="connsiteY47" fmla="*/ 3533775 h 4496940"/>
                    <a:gd name="connsiteX48" fmla="*/ 4002427 w 4519987"/>
                    <a:gd name="connsiteY48" fmla="*/ 3600450 h 4496940"/>
                    <a:gd name="connsiteX49" fmla="*/ 3983377 w 4519987"/>
                    <a:gd name="connsiteY49" fmla="*/ 3629025 h 4496940"/>
                    <a:gd name="connsiteX50" fmla="*/ 3954802 w 4519987"/>
                    <a:gd name="connsiteY50" fmla="*/ 3648075 h 4496940"/>
                    <a:gd name="connsiteX51" fmla="*/ 3907177 w 4519987"/>
                    <a:gd name="connsiteY51" fmla="*/ 3686175 h 4496940"/>
                    <a:gd name="connsiteX52" fmla="*/ 3869077 w 4519987"/>
                    <a:gd name="connsiteY52" fmla="*/ 3724275 h 4496940"/>
                    <a:gd name="connsiteX53" fmla="*/ 3792877 w 4519987"/>
                    <a:gd name="connsiteY53" fmla="*/ 3781425 h 4496940"/>
                    <a:gd name="connsiteX54" fmla="*/ 3783352 w 4519987"/>
                    <a:gd name="connsiteY54" fmla="*/ 3810000 h 4496940"/>
                    <a:gd name="connsiteX55" fmla="*/ 3745252 w 4519987"/>
                    <a:gd name="connsiteY55" fmla="*/ 3819525 h 4496940"/>
                    <a:gd name="connsiteX56" fmla="*/ 3678577 w 4519987"/>
                    <a:gd name="connsiteY56" fmla="*/ 3848100 h 4496940"/>
                    <a:gd name="connsiteX57" fmla="*/ 3659527 w 4519987"/>
                    <a:gd name="connsiteY57" fmla="*/ 3971925 h 4496940"/>
                    <a:gd name="connsiteX58" fmla="*/ 3630952 w 4519987"/>
                    <a:gd name="connsiteY58" fmla="*/ 4010025 h 4496940"/>
                    <a:gd name="connsiteX59" fmla="*/ 3621427 w 4519987"/>
                    <a:gd name="connsiteY59" fmla="*/ 4038600 h 4496940"/>
                    <a:gd name="connsiteX60" fmla="*/ 3554752 w 4519987"/>
                    <a:gd name="connsiteY60" fmla="*/ 4095750 h 4496940"/>
                    <a:gd name="connsiteX61" fmla="*/ 3516652 w 4519987"/>
                    <a:gd name="connsiteY61" fmla="*/ 4114800 h 4496940"/>
                    <a:gd name="connsiteX62" fmla="*/ 3497602 w 4519987"/>
                    <a:gd name="connsiteY62" fmla="*/ 4143375 h 4496940"/>
                    <a:gd name="connsiteX63" fmla="*/ 3383302 w 4519987"/>
                    <a:gd name="connsiteY63" fmla="*/ 4210050 h 4496940"/>
                    <a:gd name="connsiteX64" fmla="*/ 3335677 w 4519987"/>
                    <a:gd name="connsiteY64" fmla="*/ 4238625 h 4496940"/>
                    <a:gd name="connsiteX65" fmla="*/ 3288052 w 4519987"/>
                    <a:gd name="connsiteY65" fmla="*/ 4248150 h 4496940"/>
                    <a:gd name="connsiteX66" fmla="*/ 3240427 w 4519987"/>
                    <a:gd name="connsiteY66" fmla="*/ 4267200 h 4496940"/>
                    <a:gd name="connsiteX67" fmla="*/ 3068977 w 4519987"/>
                    <a:gd name="connsiteY67" fmla="*/ 4286250 h 4496940"/>
                    <a:gd name="connsiteX68" fmla="*/ 2935627 w 4519987"/>
                    <a:gd name="connsiteY68" fmla="*/ 4333875 h 4496940"/>
                    <a:gd name="connsiteX69" fmla="*/ 2811802 w 4519987"/>
                    <a:gd name="connsiteY69" fmla="*/ 4371975 h 4496940"/>
                    <a:gd name="connsiteX70" fmla="*/ 2745127 w 4519987"/>
                    <a:gd name="connsiteY70" fmla="*/ 4410075 h 4496940"/>
                    <a:gd name="connsiteX71" fmla="*/ 2697502 w 4519987"/>
                    <a:gd name="connsiteY71" fmla="*/ 4429125 h 4496940"/>
                    <a:gd name="connsiteX72" fmla="*/ 2640352 w 4519987"/>
                    <a:gd name="connsiteY72" fmla="*/ 4457700 h 4496940"/>
                    <a:gd name="connsiteX73" fmla="*/ 2583202 w 4519987"/>
                    <a:gd name="connsiteY73" fmla="*/ 4467225 h 4496940"/>
                    <a:gd name="connsiteX74" fmla="*/ 2545102 w 4519987"/>
                    <a:gd name="connsiteY74" fmla="*/ 4486275 h 4496940"/>
                    <a:gd name="connsiteX75" fmla="*/ 2306977 w 4519987"/>
                    <a:gd name="connsiteY75" fmla="*/ 4476750 h 4496940"/>
                    <a:gd name="connsiteX76" fmla="*/ 2202202 w 4519987"/>
                    <a:gd name="connsiteY76" fmla="*/ 4457700 h 4496940"/>
                    <a:gd name="connsiteX77" fmla="*/ 2126002 w 4519987"/>
                    <a:gd name="connsiteY77" fmla="*/ 4429125 h 4496940"/>
                    <a:gd name="connsiteX78" fmla="*/ 1935502 w 4519987"/>
                    <a:gd name="connsiteY78" fmla="*/ 4400550 h 4496940"/>
                    <a:gd name="connsiteX79" fmla="*/ 1821202 w 4519987"/>
                    <a:gd name="connsiteY79" fmla="*/ 4371975 h 4496940"/>
                    <a:gd name="connsiteX80" fmla="*/ 1754527 w 4519987"/>
                    <a:gd name="connsiteY80" fmla="*/ 4352925 h 4496940"/>
                    <a:gd name="connsiteX81" fmla="*/ 1687852 w 4519987"/>
                    <a:gd name="connsiteY81" fmla="*/ 4343400 h 4496940"/>
                    <a:gd name="connsiteX82" fmla="*/ 1573552 w 4519987"/>
                    <a:gd name="connsiteY82" fmla="*/ 4305300 h 4496940"/>
                    <a:gd name="connsiteX83" fmla="*/ 1402102 w 4519987"/>
                    <a:gd name="connsiteY83" fmla="*/ 4276725 h 4496940"/>
                    <a:gd name="connsiteX84" fmla="*/ 1287802 w 4519987"/>
                    <a:gd name="connsiteY84" fmla="*/ 4229100 h 4496940"/>
                    <a:gd name="connsiteX85" fmla="*/ 1221127 w 4519987"/>
                    <a:gd name="connsiteY85" fmla="*/ 4200525 h 4496940"/>
                    <a:gd name="connsiteX86" fmla="*/ 1144927 w 4519987"/>
                    <a:gd name="connsiteY86" fmla="*/ 4171950 h 4496940"/>
                    <a:gd name="connsiteX87" fmla="*/ 1087777 w 4519987"/>
                    <a:gd name="connsiteY87" fmla="*/ 4143375 h 4496940"/>
                    <a:gd name="connsiteX88" fmla="*/ 1030627 w 4519987"/>
                    <a:gd name="connsiteY88" fmla="*/ 4124325 h 4496940"/>
                    <a:gd name="connsiteX89" fmla="*/ 925852 w 4519987"/>
                    <a:gd name="connsiteY89" fmla="*/ 4067175 h 4496940"/>
                    <a:gd name="connsiteX90" fmla="*/ 830602 w 4519987"/>
                    <a:gd name="connsiteY90" fmla="*/ 3981450 h 4496940"/>
                    <a:gd name="connsiteX91" fmla="*/ 763927 w 4519987"/>
                    <a:gd name="connsiteY91" fmla="*/ 3914775 h 4496940"/>
                    <a:gd name="connsiteX92" fmla="*/ 725827 w 4519987"/>
                    <a:gd name="connsiteY92" fmla="*/ 3876675 h 4496940"/>
                    <a:gd name="connsiteX93" fmla="*/ 697252 w 4519987"/>
                    <a:gd name="connsiteY93" fmla="*/ 3838575 h 4496940"/>
                    <a:gd name="connsiteX94" fmla="*/ 640102 w 4519987"/>
                    <a:gd name="connsiteY94" fmla="*/ 3781425 h 4496940"/>
                    <a:gd name="connsiteX95" fmla="*/ 611527 w 4519987"/>
                    <a:gd name="connsiteY95" fmla="*/ 3733800 h 4496940"/>
                    <a:gd name="connsiteX96" fmla="*/ 554377 w 4519987"/>
                    <a:gd name="connsiteY96" fmla="*/ 3657600 h 4496940"/>
                    <a:gd name="connsiteX97" fmla="*/ 525802 w 4519987"/>
                    <a:gd name="connsiteY97" fmla="*/ 3609975 h 4496940"/>
                    <a:gd name="connsiteX98" fmla="*/ 497227 w 4519987"/>
                    <a:gd name="connsiteY98" fmla="*/ 3552825 h 4496940"/>
                    <a:gd name="connsiteX99" fmla="*/ 440077 w 4519987"/>
                    <a:gd name="connsiteY99" fmla="*/ 3495675 h 4496940"/>
                    <a:gd name="connsiteX100" fmla="*/ 411502 w 4519987"/>
                    <a:gd name="connsiteY100" fmla="*/ 3448050 h 4496940"/>
                    <a:gd name="connsiteX101" fmla="*/ 278152 w 4519987"/>
                    <a:gd name="connsiteY101" fmla="*/ 3257550 h 4496940"/>
                    <a:gd name="connsiteX102" fmla="*/ 249577 w 4519987"/>
                    <a:gd name="connsiteY102" fmla="*/ 3200400 h 4496940"/>
                    <a:gd name="connsiteX103" fmla="*/ 240052 w 4519987"/>
                    <a:gd name="connsiteY103" fmla="*/ 3162300 h 4496940"/>
                    <a:gd name="connsiteX104" fmla="*/ 221002 w 4519987"/>
                    <a:gd name="connsiteY104" fmla="*/ 3105150 h 4496940"/>
                    <a:gd name="connsiteX105" fmla="*/ 173377 w 4519987"/>
                    <a:gd name="connsiteY105" fmla="*/ 3019425 h 4496940"/>
                    <a:gd name="connsiteX106" fmla="*/ 144802 w 4519987"/>
                    <a:gd name="connsiteY106" fmla="*/ 2924175 h 4496940"/>
                    <a:gd name="connsiteX107" fmla="*/ 68602 w 4519987"/>
                    <a:gd name="connsiteY107" fmla="*/ 2724150 h 4496940"/>
                    <a:gd name="connsiteX108" fmla="*/ 49552 w 4519987"/>
                    <a:gd name="connsiteY108" fmla="*/ 2638425 h 4496940"/>
                    <a:gd name="connsiteX109" fmla="*/ 40027 w 4519987"/>
                    <a:gd name="connsiteY109" fmla="*/ 2562225 h 4496940"/>
                    <a:gd name="connsiteX110" fmla="*/ 30502 w 4519987"/>
                    <a:gd name="connsiteY110" fmla="*/ 2514600 h 4496940"/>
                    <a:gd name="connsiteX111" fmla="*/ 11452 w 4519987"/>
                    <a:gd name="connsiteY111" fmla="*/ 2400300 h 4496940"/>
                    <a:gd name="connsiteX112" fmla="*/ 20977 w 4519987"/>
                    <a:gd name="connsiteY112" fmla="*/ 1905000 h 4496940"/>
                    <a:gd name="connsiteX113" fmla="*/ 30502 w 4519987"/>
                    <a:gd name="connsiteY113" fmla="*/ 1838325 h 4496940"/>
                    <a:gd name="connsiteX114" fmla="*/ 49552 w 4519987"/>
                    <a:gd name="connsiteY114" fmla="*/ 1781175 h 4496940"/>
                    <a:gd name="connsiteX115" fmla="*/ 59077 w 4519987"/>
                    <a:gd name="connsiteY115" fmla="*/ 1743075 h 4496940"/>
                    <a:gd name="connsiteX116" fmla="*/ 78127 w 4519987"/>
                    <a:gd name="connsiteY116" fmla="*/ 1685925 h 4496940"/>
                    <a:gd name="connsiteX117" fmla="*/ 87652 w 4519987"/>
                    <a:gd name="connsiteY117" fmla="*/ 1638300 h 4496940"/>
                    <a:gd name="connsiteX118" fmla="*/ 106702 w 4519987"/>
                    <a:gd name="connsiteY118" fmla="*/ 1590675 h 4496940"/>
                    <a:gd name="connsiteX119" fmla="*/ 135277 w 4519987"/>
                    <a:gd name="connsiteY119" fmla="*/ 1504950 h 4496940"/>
                    <a:gd name="connsiteX120" fmla="*/ 154327 w 4519987"/>
                    <a:gd name="connsiteY120" fmla="*/ 1419225 h 4496940"/>
                    <a:gd name="connsiteX121" fmla="*/ 230527 w 4519987"/>
                    <a:gd name="connsiteY121" fmla="*/ 1276350 h 4496940"/>
                    <a:gd name="connsiteX122" fmla="*/ 240052 w 4519987"/>
                    <a:gd name="connsiteY122" fmla="*/ 1247775 h 4496940"/>
                    <a:gd name="connsiteX123" fmla="*/ 268627 w 4519987"/>
                    <a:gd name="connsiteY123" fmla="*/ 1200150 h 4496940"/>
                    <a:gd name="connsiteX124" fmla="*/ 287677 w 4519987"/>
                    <a:gd name="connsiteY124" fmla="*/ 1152525 h 4496940"/>
                    <a:gd name="connsiteX125" fmla="*/ 316252 w 4519987"/>
                    <a:gd name="connsiteY125" fmla="*/ 1114425 h 4496940"/>
                    <a:gd name="connsiteX126" fmla="*/ 363877 w 4519987"/>
                    <a:gd name="connsiteY126" fmla="*/ 1038225 h 4496940"/>
                    <a:gd name="connsiteX127" fmla="*/ 382927 w 4519987"/>
                    <a:gd name="connsiteY127" fmla="*/ 1009650 h 4496940"/>
                    <a:gd name="connsiteX128" fmla="*/ 440077 w 4519987"/>
                    <a:gd name="connsiteY128" fmla="*/ 904875 h 4496940"/>
                    <a:gd name="connsiteX129" fmla="*/ 478177 w 4519987"/>
                    <a:gd name="connsiteY129" fmla="*/ 857250 h 4496940"/>
                    <a:gd name="connsiteX130" fmla="*/ 497227 w 4519987"/>
                    <a:gd name="connsiteY130" fmla="*/ 828675 h 4496940"/>
                    <a:gd name="connsiteX131" fmla="*/ 535327 w 4519987"/>
                    <a:gd name="connsiteY131" fmla="*/ 800100 h 4496940"/>
                    <a:gd name="connsiteX132" fmla="*/ 602002 w 4519987"/>
                    <a:gd name="connsiteY132" fmla="*/ 733425 h 4496940"/>
                    <a:gd name="connsiteX133" fmla="*/ 668677 w 4519987"/>
                    <a:gd name="connsiteY133" fmla="*/ 676275 h 4496940"/>
                    <a:gd name="connsiteX134" fmla="*/ 697252 w 4519987"/>
                    <a:gd name="connsiteY134" fmla="*/ 657225 h 4496940"/>
                    <a:gd name="connsiteX135" fmla="*/ 840127 w 4519987"/>
                    <a:gd name="connsiteY135" fmla="*/ 533400 h 4496940"/>
                    <a:gd name="connsiteX136" fmla="*/ 887752 w 4519987"/>
                    <a:gd name="connsiteY136" fmla="*/ 504825 h 4496940"/>
                    <a:gd name="connsiteX137" fmla="*/ 1167152 w 4519987"/>
                    <a:gd name="connsiteY137" fmla="*/ 311150 h 4496940"/>
                    <a:gd name="connsiteX138" fmla="*/ 1268752 w 4519987"/>
                    <a:gd name="connsiteY138" fmla="*/ 285750 h 4496940"/>
                    <a:gd name="connsiteX139" fmla="*/ 1411627 w 4519987"/>
                    <a:gd name="connsiteY139" fmla="*/ 190500 h 4496940"/>
                    <a:gd name="connsiteX140" fmla="*/ 1449727 w 4519987"/>
                    <a:gd name="connsiteY140" fmla="*/ 161925 h 4496940"/>
                    <a:gd name="connsiteX141" fmla="*/ 1525927 w 4519987"/>
                    <a:gd name="connsiteY141" fmla="*/ 152400 h 4496940"/>
                    <a:gd name="connsiteX142" fmla="*/ 1583077 w 4519987"/>
                    <a:gd name="connsiteY142" fmla="*/ 142875 h 4496940"/>
                    <a:gd name="connsiteX143" fmla="*/ 1716427 w 4519987"/>
                    <a:gd name="connsiteY143" fmla="*/ 123825 h 4496940"/>
                    <a:gd name="connsiteX144" fmla="*/ 1811677 w 4519987"/>
                    <a:gd name="connsiteY144" fmla="*/ 114300 h 4496940"/>
                    <a:gd name="connsiteX145" fmla="*/ 1859302 w 4519987"/>
                    <a:gd name="connsiteY145" fmla="*/ 104775 h 4496940"/>
                    <a:gd name="connsiteX146" fmla="*/ 1916452 w 4519987"/>
                    <a:gd name="connsiteY146" fmla="*/ 95250 h 4496940"/>
                    <a:gd name="connsiteX147" fmla="*/ 2030752 w 4519987"/>
                    <a:gd name="connsiteY147" fmla="*/ 66675 h 4496940"/>
                    <a:gd name="connsiteX148" fmla="*/ 2097427 w 4519987"/>
                    <a:gd name="connsiteY148" fmla="*/ 47625 h 4496940"/>
                    <a:gd name="connsiteX149" fmla="*/ 2164102 w 4519987"/>
                    <a:gd name="connsiteY149" fmla="*/ 38100 h 4496940"/>
                    <a:gd name="connsiteX150" fmla="*/ 2392702 w 4519987"/>
                    <a:gd name="connsiteY15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3907177 w 4519987"/>
                    <a:gd name="connsiteY21" fmla="*/ 647700 h 4496940"/>
                    <a:gd name="connsiteX22" fmla="*/ 4078627 w 4519987"/>
                    <a:gd name="connsiteY22" fmla="*/ 838200 h 4496940"/>
                    <a:gd name="connsiteX23" fmla="*/ 4135777 w 4519987"/>
                    <a:gd name="connsiteY23" fmla="*/ 933450 h 4496940"/>
                    <a:gd name="connsiteX24" fmla="*/ 4164352 w 4519987"/>
                    <a:gd name="connsiteY24" fmla="*/ 990600 h 4496940"/>
                    <a:gd name="connsiteX25" fmla="*/ 4173877 w 4519987"/>
                    <a:gd name="connsiteY25" fmla="*/ 1019175 h 4496940"/>
                    <a:gd name="connsiteX26" fmla="*/ 4192927 w 4519987"/>
                    <a:gd name="connsiteY26" fmla="*/ 1057275 h 4496940"/>
                    <a:gd name="connsiteX27" fmla="*/ 4202452 w 4519987"/>
                    <a:gd name="connsiteY27" fmla="*/ 1085850 h 4496940"/>
                    <a:gd name="connsiteX28" fmla="*/ 4250077 w 4519987"/>
                    <a:gd name="connsiteY28" fmla="*/ 1143000 h 4496940"/>
                    <a:gd name="connsiteX29" fmla="*/ 4259602 w 4519987"/>
                    <a:gd name="connsiteY29" fmla="*/ 1190625 h 4496940"/>
                    <a:gd name="connsiteX30" fmla="*/ 4307227 w 4519987"/>
                    <a:gd name="connsiteY30" fmla="*/ 1266825 h 4496940"/>
                    <a:gd name="connsiteX31" fmla="*/ 4345327 w 4519987"/>
                    <a:gd name="connsiteY31" fmla="*/ 1362075 h 4496940"/>
                    <a:gd name="connsiteX32" fmla="*/ 4373902 w 4519987"/>
                    <a:gd name="connsiteY32" fmla="*/ 1428750 h 4496940"/>
                    <a:gd name="connsiteX33" fmla="*/ 4392952 w 4519987"/>
                    <a:gd name="connsiteY33" fmla="*/ 1552575 h 4496940"/>
                    <a:gd name="connsiteX34" fmla="*/ 4402477 w 4519987"/>
                    <a:gd name="connsiteY34" fmla="*/ 1590675 h 4496940"/>
                    <a:gd name="connsiteX35" fmla="*/ 4431052 w 4519987"/>
                    <a:gd name="connsiteY35" fmla="*/ 1685925 h 4496940"/>
                    <a:gd name="connsiteX36" fmla="*/ 4519952 w 4519987"/>
                    <a:gd name="connsiteY36" fmla="*/ 2181225 h 4496940"/>
                    <a:gd name="connsiteX37" fmla="*/ 4446927 w 4519987"/>
                    <a:gd name="connsiteY37" fmla="*/ 2768600 h 4496940"/>
                    <a:gd name="connsiteX38" fmla="*/ 4383427 w 4519987"/>
                    <a:gd name="connsiteY38" fmla="*/ 2990850 h 4496940"/>
                    <a:gd name="connsiteX39" fmla="*/ 4278652 w 4519987"/>
                    <a:gd name="connsiteY39" fmla="*/ 3248025 h 4496940"/>
                    <a:gd name="connsiteX40" fmla="*/ 4259602 w 4519987"/>
                    <a:gd name="connsiteY40" fmla="*/ 3276600 h 4496940"/>
                    <a:gd name="connsiteX41" fmla="*/ 4221502 w 4519987"/>
                    <a:gd name="connsiteY41" fmla="*/ 3333750 h 4496940"/>
                    <a:gd name="connsiteX42" fmla="*/ 4211977 w 4519987"/>
                    <a:gd name="connsiteY42" fmla="*/ 3362325 h 4496940"/>
                    <a:gd name="connsiteX43" fmla="*/ 4183402 w 4519987"/>
                    <a:gd name="connsiteY43" fmla="*/ 3400425 h 4496940"/>
                    <a:gd name="connsiteX44" fmla="*/ 4164352 w 4519987"/>
                    <a:gd name="connsiteY44" fmla="*/ 3429000 h 4496940"/>
                    <a:gd name="connsiteX45" fmla="*/ 4088152 w 4519987"/>
                    <a:gd name="connsiteY45" fmla="*/ 3495675 h 4496940"/>
                    <a:gd name="connsiteX46" fmla="*/ 4059577 w 4519987"/>
                    <a:gd name="connsiteY46" fmla="*/ 3533775 h 4496940"/>
                    <a:gd name="connsiteX47" fmla="*/ 4002427 w 4519987"/>
                    <a:gd name="connsiteY47" fmla="*/ 3600450 h 4496940"/>
                    <a:gd name="connsiteX48" fmla="*/ 3983377 w 4519987"/>
                    <a:gd name="connsiteY48" fmla="*/ 3629025 h 4496940"/>
                    <a:gd name="connsiteX49" fmla="*/ 3954802 w 4519987"/>
                    <a:gd name="connsiteY49" fmla="*/ 3648075 h 4496940"/>
                    <a:gd name="connsiteX50" fmla="*/ 3907177 w 4519987"/>
                    <a:gd name="connsiteY50" fmla="*/ 3686175 h 4496940"/>
                    <a:gd name="connsiteX51" fmla="*/ 3869077 w 4519987"/>
                    <a:gd name="connsiteY51" fmla="*/ 3724275 h 4496940"/>
                    <a:gd name="connsiteX52" fmla="*/ 3792877 w 4519987"/>
                    <a:gd name="connsiteY52" fmla="*/ 3781425 h 4496940"/>
                    <a:gd name="connsiteX53" fmla="*/ 3783352 w 4519987"/>
                    <a:gd name="connsiteY53" fmla="*/ 3810000 h 4496940"/>
                    <a:gd name="connsiteX54" fmla="*/ 3745252 w 4519987"/>
                    <a:gd name="connsiteY54" fmla="*/ 3819525 h 4496940"/>
                    <a:gd name="connsiteX55" fmla="*/ 3678577 w 4519987"/>
                    <a:gd name="connsiteY55" fmla="*/ 3848100 h 4496940"/>
                    <a:gd name="connsiteX56" fmla="*/ 3659527 w 4519987"/>
                    <a:gd name="connsiteY56" fmla="*/ 3971925 h 4496940"/>
                    <a:gd name="connsiteX57" fmla="*/ 3630952 w 4519987"/>
                    <a:gd name="connsiteY57" fmla="*/ 4010025 h 4496940"/>
                    <a:gd name="connsiteX58" fmla="*/ 3621427 w 4519987"/>
                    <a:gd name="connsiteY58" fmla="*/ 4038600 h 4496940"/>
                    <a:gd name="connsiteX59" fmla="*/ 3554752 w 4519987"/>
                    <a:gd name="connsiteY59" fmla="*/ 4095750 h 4496940"/>
                    <a:gd name="connsiteX60" fmla="*/ 3516652 w 4519987"/>
                    <a:gd name="connsiteY60" fmla="*/ 4114800 h 4496940"/>
                    <a:gd name="connsiteX61" fmla="*/ 3497602 w 4519987"/>
                    <a:gd name="connsiteY61" fmla="*/ 4143375 h 4496940"/>
                    <a:gd name="connsiteX62" fmla="*/ 3383302 w 4519987"/>
                    <a:gd name="connsiteY62" fmla="*/ 4210050 h 4496940"/>
                    <a:gd name="connsiteX63" fmla="*/ 3335677 w 4519987"/>
                    <a:gd name="connsiteY63" fmla="*/ 4238625 h 4496940"/>
                    <a:gd name="connsiteX64" fmla="*/ 3288052 w 4519987"/>
                    <a:gd name="connsiteY64" fmla="*/ 4248150 h 4496940"/>
                    <a:gd name="connsiteX65" fmla="*/ 3240427 w 4519987"/>
                    <a:gd name="connsiteY65" fmla="*/ 4267200 h 4496940"/>
                    <a:gd name="connsiteX66" fmla="*/ 3068977 w 4519987"/>
                    <a:gd name="connsiteY66" fmla="*/ 4286250 h 4496940"/>
                    <a:gd name="connsiteX67" fmla="*/ 2935627 w 4519987"/>
                    <a:gd name="connsiteY67" fmla="*/ 4333875 h 4496940"/>
                    <a:gd name="connsiteX68" fmla="*/ 2811802 w 4519987"/>
                    <a:gd name="connsiteY68" fmla="*/ 4371975 h 4496940"/>
                    <a:gd name="connsiteX69" fmla="*/ 2745127 w 4519987"/>
                    <a:gd name="connsiteY69" fmla="*/ 4410075 h 4496940"/>
                    <a:gd name="connsiteX70" fmla="*/ 2697502 w 4519987"/>
                    <a:gd name="connsiteY70" fmla="*/ 4429125 h 4496940"/>
                    <a:gd name="connsiteX71" fmla="*/ 2640352 w 4519987"/>
                    <a:gd name="connsiteY71" fmla="*/ 4457700 h 4496940"/>
                    <a:gd name="connsiteX72" fmla="*/ 2583202 w 4519987"/>
                    <a:gd name="connsiteY72" fmla="*/ 4467225 h 4496940"/>
                    <a:gd name="connsiteX73" fmla="*/ 2545102 w 4519987"/>
                    <a:gd name="connsiteY73" fmla="*/ 4486275 h 4496940"/>
                    <a:gd name="connsiteX74" fmla="*/ 2306977 w 4519987"/>
                    <a:gd name="connsiteY74" fmla="*/ 4476750 h 4496940"/>
                    <a:gd name="connsiteX75" fmla="*/ 2202202 w 4519987"/>
                    <a:gd name="connsiteY75" fmla="*/ 4457700 h 4496940"/>
                    <a:gd name="connsiteX76" fmla="*/ 2126002 w 4519987"/>
                    <a:gd name="connsiteY76" fmla="*/ 4429125 h 4496940"/>
                    <a:gd name="connsiteX77" fmla="*/ 1935502 w 4519987"/>
                    <a:gd name="connsiteY77" fmla="*/ 4400550 h 4496940"/>
                    <a:gd name="connsiteX78" fmla="*/ 1821202 w 4519987"/>
                    <a:gd name="connsiteY78" fmla="*/ 4371975 h 4496940"/>
                    <a:gd name="connsiteX79" fmla="*/ 1754527 w 4519987"/>
                    <a:gd name="connsiteY79" fmla="*/ 4352925 h 4496940"/>
                    <a:gd name="connsiteX80" fmla="*/ 1687852 w 4519987"/>
                    <a:gd name="connsiteY80" fmla="*/ 4343400 h 4496940"/>
                    <a:gd name="connsiteX81" fmla="*/ 1573552 w 4519987"/>
                    <a:gd name="connsiteY81" fmla="*/ 4305300 h 4496940"/>
                    <a:gd name="connsiteX82" fmla="*/ 1402102 w 4519987"/>
                    <a:gd name="connsiteY82" fmla="*/ 4276725 h 4496940"/>
                    <a:gd name="connsiteX83" fmla="*/ 1287802 w 4519987"/>
                    <a:gd name="connsiteY83" fmla="*/ 4229100 h 4496940"/>
                    <a:gd name="connsiteX84" fmla="*/ 1221127 w 4519987"/>
                    <a:gd name="connsiteY84" fmla="*/ 4200525 h 4496940"/>
                    <a:gd name="connsiteX85" fmla="*/ 1144927 w 4519987"/>
                    <a:gd name="connsiteY85" fmla="*/ 4171950 h 4496940"/>
                    <a:gd name="connsiteX86" fmla="*/ 1087777 w 4519987"/>
                    <a:gd name="connsiteY86" fmla="*/ 4143375 h 4496940"/>
                    <a:gd name="connsiteX87" fmla="*/ 1030627 w 4519987"/>
                    <a:gd name="connsiteY87" fmla="*/ 4124325 h 4496940"/>
                    <a:gd name="connsiteX88" fmla="*/ 925852 w 4519987"/>
                    <a:gd name="connsiteY88" fmla="*/ 4067175 h 4496940"/>
                    <a:gd name="connsiteX89" fmla="*/ 830602 w 4519987"/>
                    <a:gd name="connsiteY89" fmla="*/ 3981450 h 4496940"/>
                    <a:gd name="connsiteX90" fmla="*/ 763927 w 4519987"/>
                    <a:gd name="connsiteY90" fmla="*/ 3914775 h 4496940"/>
                    <a:gd name="connsiteX91" fmla="*/ 725827 w 4519987"/>
                    <a:gd name="connsiteY91" fmla="*/ 3876675 h 4496940"/>
                    <a:gd name="connsiteX92" fmla="*/ 697252 w 4519987"/>
                    <a:gd name="connsiteY92" fmla="*/ 3838575 h 4496940"/>
                    <a:gd name="connsiteX93" fmla="*/ 640102 w 4519987"/>
                    <a:gd name="connsiteY93" fmla="*/ 3781425 h 4496940"/>
                    <a:gd name="connsiteX94" fmla="*/ 611527 w 4519987"/>
                    <a:gd name="connsiteY94" fmla="*/ 3733800 h 4496940"/>
                    <a:gd name="connsiteX95" fmla="*/ 554377 w 4519987"/>
                    <a:gd name="connsiteY95" fmla="*/ 3657600 h 4496940"/>
                    <a:gd name="connsiteX96" fmla="*/ 525802 w 4519987"/>
                    <a:gd name="connsiteY96" fmla="*/ 3609975 h 4496940"/>
                    <a:gd name="connsiteX97" fmla="*/ 497227 w 4519987"/>
                    <a:gd name="connsiteY97" fmla="*/ 3552825 h 4496940"/>
                    <a:gd name="connsiteX98" fmla="*/ 440077 w 4519987"/>
                    <a:gd name="connsiteY98" fmla="*/ 3495675 h 4496940"/>
                    <a:gd name="connsiteX99" fmla="*/ 411502 w 4519987"/>
                    <a:gd name="connsiteY99" fmla="*/ 3448050 h 4496940"/>
                    <a:gd name="connsiteX100" fmla="*/ 278152 w 4519987"/>
                    <a:gd name="connsiteY100" fmla="*/ 3257550 h 4496940"/>
                    <a:gd name="connsiteX101" fmla="*/ 249577 w 4519987"/>
                    <a:gd name="connsiteY101" fmla="*/ 3200400 h 4496940"/>
                    <a:gd name="connsiteX102" fmla="*/ 240052 w 4519987"/>
                    <a:gd name="connsiteY102" fmla="*/ 3162300 h 4496940"/>
                    <a:gd name="connsiteX103" fmla="*/ 221002 w 4519987"/>
                    <a:gd name="connsiteY103" fmla="*/ 3105150 h 4496940"/>
                    <a:gd name="connsiteX104" fmla="*/ 173377 w 4519987"/>
                    <a:gd name="connsiteY104" fmla="*/ 3019425 h 4496940"/>
                    <a:gd name="connsiteX105" fmla="*/ 144802 w 4519987"/>
                    <a:gd name="connsiteY105" fmla="*/ 2924175 h 4496940"/>
                    <a:gd name="connsiteX106" fmla="*/ 68602 w 4519987"/>
                    <a:gd name="connsiteY106" fmla="*/ 2724150 h 4496940"/>
                    <a:gd name="connsiteX107" fmla="*/ 49552 w 4519987"/>
                    <a:gd name="connsiteY107" fmla="*/ 2638425 h 4496940"/>
                    <a:gd name="connsiteX108" fmla="*/ 40027 w 4519987"/>
                    <a:gd name="connsiteY108" fmla="*/ 2562225 h 4496940"/>
                    <a:gd name="connsiteX109" fmla="*/ 30502 w 4519987"/>
                    <a:gd name="connsiteY109" fmla="*/ 2514600 h 4496940"/>
                    <a:gd name="connsiteX110" fmla="*/ 11452 w 4519987"/>
                    <a:gd name="connsiteY110" fmla="*/ 2400300 h 4496940"/>
                    <a:gd name="connsiteX111" fmla="*/ 20977 w 4519987"/>
                    <a:gd name="connsiteY111" fmla="*/ 1905000 h 4496940"/>
                    <a:gd name="connsiteX112" fmla="*/ 30502 w 4519987"/>
                    <a:gd name="connsiteY112" fmla="*/ 1838325 h 4496940"/>
                    <a:gd name="connsiteX113" fmla="*/ 49552 w 4519987"/>
                    <a:gd name="connsiteY113" fmla="*/ 1781175 h 4496940"/>
                    <a:gd name="connsiteX114" fmla="*/ 59077 w 4519987"/>
                    <a:gd name="connsiteY114" fmla="*/ 1743075 h 4496940"/>
                    <a:gd name="connsiteX115" fmla="*/ 78127 w 4519987"/>
                    <a:gd name="connsiteY115" fmla="*/ 1685925 h 4496940"/>
                    <a:gd name="connsiteX116" fmla="*/ 87652 w 4519987"/>
                    <a:gd name="connsiteY116" fmla="*/ 1638300 h 4496940"/>
                    <a:gd name="connsiteX117" fmla="*/ 106702 w 4519987"/>
                    <a:gd name="connsiteY117" fmla="*/ 1590675 h 4496940"/>
                    <a:gd name="connsiteX118" fmla="*/ 135277 w 4519987"/>
                    <a:gd name="connsiteY118" fmla="*/ 1504950 h 4496940"/>
                    <a:gd name="connsiteX119" fmla="*/ 154327 w 4519987"/>
                    <a:gd name="connsiteY119" fmla="*/ 1419225 h 4496940"/>
                    <a:gd name="connsiteX120" fmla="*/ 230527 w 4519987"/>
                    <a:gd name="connsiteY120" fmla="*/ 1276350 h 4496940"/>
                    <a:gd name="connsiteX121" fmla="*/ 240052 w 4519987"/>
                    <a:gd name="connsiteY121" fmla="*/ 1247775 h 4496940"/>
                    <a:gd name="connsiteX122" fmla="*/ 268627 w 4519987"/>
                    <a:gd name="connsiteY122" fmla="*/ 1200150 h 4496940"/>
                    <a:gd name="connsiteX123" fmla="*/ 287677 w 4519987"/>
                    <a:gd name="connsiteY123" fmla="*/ 1152525 h 4496940"/>
                    <a:gd name="connsiteX124" fmla="*/ 316252 w 4519987"/>
                    <a:gd name="connsiteY124" fmla="*/ 1114425 h 4496940"/>
                    <a:gd name="connsiteX125" fmla="*/ 363877 w 4519987"/>
                    <a:gd name="connsiteY125" fmla="*/ 1038225 h 4496940"/>
                    <a:gd name="connsiteX126" fmla="*/ 382927 w 4519987"/>
                    <a:gd name="connsiteY126" fmla="*/ 1009650 h 4496940"/>
                    <a:gd name="connsiteX127" fmla="*/ 440077 w 4519987"/>
                    <a:gd name="connsiteY127" fmla="*/ 904875 h 4496940"/>
                    <a:gd name="connsiteX128" fmla="*/ 478177 w 4519987"/>
                    <a:gd name="connsiteY128" fmla="*/ 857250 h 4496940"/>
                    <a:gd name="connsiteX129" fmla="*/ 497227 w 4519987"/>
                    <a:gd name="connsiteY129" fmla="*/ 828675 h 4496940"/>
                    <a:gd name="connsiteX130" fmla="*/ 535327 w 4519987"/>
                    <a:gd name="connsiteY130" fmla="*/ 800100 h 4496940"/>
                    <a:gd name="connsiteX131" fmla="*/ 602002 w 4519987"/>
                    <a:gd name="connsiteY131" fmla="*/ 733425 h 4496940"/>
                    <a:gd name="connsiteX132" fmla="*/ 668677 w 4519987"/>
                    <a:gd name="connsiteY132" fmla="*/ 676275 h 4496940"/>
                    <a:gd name="connsiteX133" fmla="*/ 697252 w 4519987"/>
                    <a:gd name="connsiteY133" fmla="*/ 657225 h 4496940"/>
                    <a:gd name="connsiteX134" fmla="*/ 840127 w 4519987"/>
                    <a:gd name="connsiteY134" fmla="*/ 533400 h 4496940"/>
                    <a:gd name="connsiteX135" fmla="*/ 887752 w 4519987"/>
                    <a:gd name="connsiteY135" fmla="*/ 504825 h 4496940"/>
                    <a:gd name="connsiteX136" fmla="*/ 1167152 w 4519987"/>
                    <a:gd name="connsiteY136" fmla="*/ 311150 h 4496940"/>
                    <a:gd name="connsiteX137" fmla="*/ 1268752 w 4519987"/>
                    <a:gd name="connsiteY137" fmla="*/ 285750 h 4496940"/>
                    <a:gd name="connsiteX138" fmla="*/ 1411627 w 4519987"/>
                    <a:gd name="connsiteY138" fmla="*/ 190500 h 4496940"/>
                    <a:gd name="connsiteX139" fmla="*/ 1449727 w 4519987"/>
                    <a:gd name="connsiteY139" fmla="*/ 161925 h 4496940"/>
                    <a:gd name="connsiteX140" fmla="*/ 1525927 w 4519987"/>
                    <a:gd name="connsiteY140" fmla="*/ 152400 h 4496940"/>
                    <a:gd name="connsiteX141" fmla="*/ 1583077 w 4519987"/>
                    <a:gd name="connsiteY141" fmla="*/ 142875 h 4496940"/>
                    <a:gd name="connsiteX142" fmla="*/ 1716427 w 4519987"/>
                    <a:gd name="connsiteY142" fmla="*/ 123825 h 4496940"/>
                    <a:gd name="connsiteX143" fmla="*/ 1811677 w 4519987"/>
                    <a:gd name="connsiteY143" fmla="*/ 114300 h 4496940"/>
                    <a:gd name="connsiteX144" fmla="*/ 1859302 w 4519987"/>
                    <a:gd name="connsiteY144" fmla="*/ 104775 h 4496940"/>
                    <a:gd name="connsiteX145" fmla="*/ 1916452 w 4519987"/>
                    <a:gd name="connsiteY145" fmla="*/ 95250 h 4496940"/>
                    <a:gd name="connsiteX146" fmla="*/ 2030752 w 4519987"/>
                    <a:gd name="connsiteY146" fmla="*/ 66675 h 4496940"/>
                    <a:gd name="connsiteX147" fmla="*/ 2097427 w 4519987"/>
                    <a:gd name="connsiteY147" fmla="*/ 47625 h 4496940"/>
                    <a:gd name="connsiteX148" fmla="*/ 2164102 w 4519987"/>
                    <a:gd name="connsiteY148" fmla="*/ 38100 h 4496940"/>
                    <a:gd name="connsiteX149" fmla="*/ 2392702 w 4519987"/>
                    <a:gd name="connsiteY14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78627 w 4519987"/>
                    <a:gd name="connsiteY21" fmla="*/ 838200 h 4496940"/>
                    <a:gd name="connsiteX22" fmla="*/ 4135777 w 4519987"/>
                    <a:gd name="connsiteY22" fmla="*/ 933450 h 4496940"/>
                    <a:gd name="connsiteX23" fmla="*/ 4164352 w 4519987"/>
                    <a:gd name="connsiteY23" fmla="*/ 990600 h 4496940"/>
                    <a:gd name="connsiteX24" fmla="*/ 4173877 w 4519987"/>
                    <a:gd name="connsiteY24" fmla="*/ 1019175 h 4496940"/>
                    <a:gd name="connsiteX25" fmla="*/ 4192927 w 4519987"/>
                    <a:gd name="connsiteY25" fmla="*/ 1057275 h 4496940"/>
                    <a:gd name="connsiteX26" fmla="*/ 4202452 w 4519987"/>
                    <a:gd name="connsiteY26" fmla="*/ 1085850 h 4496940"/>
                    <a:gd name="connsiteX27" fmla="*/ 4250077 w 4519987"/>
                    <a:gd name="connsiteY27" fmla="*/ 1143000 h 4496940"/>
                    <a:gd name="connsiteX28" fmla="*/ 4259602 w 4519987"/>
                    <a:gd name="connsiteY28" fmla="*/ 1190625 h 4496940"/>
                    <a:gd name="connsiteX29" fmla="*/ 4307227 w 4519987"/>
                    <a:gd name="connsiteY29" fmla="*/ 1266825 h 4496940"/>
                    <a:gd name="connsiteX30" fmla="*/ 4345327 w 4519987"/>
                    <a:gd name="connsiteY30" fmla="*/ 1362075 h 4496940"/>
                    <a:gd name="connsiteX31" fmla="*/ 4373902 w 4519987"/>
                    <a:gd name="connsiteY31" fmla="*/ 1428750 h 4496940"/>
                    <a:gd name="connsiteX32" fmla="*/ 4392952 w 4519987"/>
                    <a:gd name="connsiteY32" fmla="*/ 1552575 h 4496940"/>
                    <a:gd name="connsiteX33" fmla="*/ 4402477 w 4519987"/>
                    <a:gd name="connsiteY33" fmla="*/ 1590675 h 4496940"/>
                    <a:gd name="connsiteX34" fmla="*/ 4431052 w 4519987"/>
                    <a:gd name="connsiteY34" fmla="*/ 1685925 h 4496940"/>
                    <a:gd name="connsiteX35" fmla="*/ 4519952 w 4519987"/>
                    <a:gd name="connsiteY35" fmla="*/ 2181225 h 4496940"/>
                    <a:gd name="connsiteX36" fmla="*/ 4446927 w 4519987"/>
                    <a:gd name="connsiteY36" fmla="*/ 2768600 h 4496940"/>
                    <a:gd name="connsiteX37" fmla="*/ 4383427 w 4519987"/>
                    <a:gd name="connsiteY37" fmla="*/ 2990850 h 4496940"/>
                    <a:gd name="connsiteX38" fmla="*/ 4278652 w 4519987"/>
                    <a:gd name="connsiteY38" fmla="*/ 3248025 h 4496940"/>
                    <a:gd name="connsiteX39" fmla="*/ 4259602 w 4519987"/>
                    <a:gd name="connsiteY39" fmla="*/ 3276600 h 4496940"/>
                    <a:gd name="connsiteX40" fmla="*/ 4221502 w 4519987"/>
                    <a:gd name="connsiteY40" fmla="*/ 3333750 h 4496940"/>
                    <a:gd name="connsiteX41" fmla="*/ 4211977 w 4519987"/>
                    <a:gd name="connsiteY41" fmla="*/ 3362325 h 4496940"/>
                    <a:gd name="connsiteX42" fmla="*/ 4183402 w 4519987"/>
                    <a:gd name="connsiteY42" fmla="*/ 3400425 h 4496940"/>
                    <a:gd name="connsiteX43" fmla="*/ 4164352 w 4519987"/>
                    <a:gd name="connsiteY43" fmla="*/ 3429000 h 4496940"/>
                    <a:gd name="connsiteX44" fmla="*/ 4088152 w 4519987"/>
                    <a:gd name="connsiteY44" fmla="*/ 3495675 h 4496940"/>
                    <a:gd name="connsiteX45" fmla="*/ 4059577 w 4519987"/>
                    <a:gd name="connsiteY45" fmla="*/ 3533775 h 4496940"/>
                    <a:gd name="connsiteX46" fmla="*/ 4002427 w 4519987"/>
                    <a:gd name="connsiteY46" fmla="*/ 3600450 h 4496940"/>
                    <a:gd name="connsiteX47" fmla="*/ 3983377 w 4519987"/>
                    <a:gd name="connsiteY47" fmla="*/ 3629025 h 4496940"/>
                    <a:gd name="connsiteX48" fmla="*/ 3954802 w 4519987"/>
                    <a:gd name="connsiteY48" fmla="*/ 3648075 h 4496940"/>
                    <a:gd name="connsiteX49" fmla="*/ 3907177 w 4519987"/>
                    <a:gd name="connsiteY49" fmla="*/ 3686175 h 4496940"/>
                    <a:gd name="connsiteX50" fmla="*/ 3869077 w 4519987"/>
                    <a:gd name="connsiteY50" fmla="*/ 3724275 h 4496940"/>
                    <a:gd name="connsiteX51" fmla="*/ 3792877 w 4519987"/>
                    <a:gd name="connsiteY51" fmla="*/ 3781425 h 4496940"/>
                    <a:gd name="connsiteX52" fmla="*/ 3783352 w 4519987"/>
                    <a:gd name="connsiteY52" fmla="*/ 3810000 h 4496940"/>
                    <a:gd name="connsiteX53" fmla="*/ 3745252 w 4519987"/>
                    <a:gd name="connsiteY53" fmla="*/ 3819525 h 4496940"/>
                    <a:gd name="connsiteX54" fmla="*/ 3678577 w 4519987"/>
                    <a:gd name="connsiteY54" fmla="*/ 3848100 h 4496940"/>
                    <a:gd name="connsiteX55" fmla="*/ 3659527 w 4519987"/>
                    <a:gd name="connsiteY55" fmla="*/ 3971925 h 4496940"/>
                    <a:gd name="connsiteX56" fmla="*/ 3630952 w 4519987"/>
                    <a:gd name="connsiteY56" fmla="*/ 4010025 h 4496940"/>
                    <a:gd name="connsiteX57" fmla="*/ 3621427 w 4519987"/>
                    <a:gd name="connsiteY57" fmla="*/ 4038600 h 4496940"/>
                    <a:gd name="connsiteX58" fmla="*/ 3554752 w 4519987"/>
                    <a:gd name="connsiteY58" fmla="*/ 4095750 h 4496940"/>
                    <a:gd name="connsiteX59" fmla="*/ 3516652 w 4519987"/>
                    <a:gd name="connsiteY59" fmla="*/ 4114800 h 4496940"/>
                    <a:gd name="connsiteX60" fmla="*/ 3497602 w 4519987"/>
                    <a:gd name="connsiteY60" fmla="*/ 4143375 h 4496940"/>
                    <a:gd name="connsiteX61" fmla="*/ 3383302 w 4519987"/>
                    <a:gd name="connsiteY61" fmla="*/ 4210050 h 4496940"/>
                    <a:gd name="connsiteX62" fmla="*/ 3335677 w 4519987"/>
                    <a:gd name="connsiteY62" fmla="*/ 4238625 h 4496940"/>
                    <a:gd name="connsiteX63" fmla="*/ 3288052 w 4519987"/>
                    <a:gd name="connsiteY63" fmla="*/ 4248150 h 4496940"/>
                    <a:gd name="connsiteX64" fmla="*/ 3240427 w 4519987"/>
                    <a:gd name="connsiteY64" fmla="*/ 4267200 h 4496940"/>
                    <a:gd name="connsiteX65" fmla="*/ 3068977 w 4519987"/>
                    <a:gd name="connsiteY65" fmla="*/ 4286250 h 4496940"/>
                    <a:gd name="connsiteX66" fmla="*/ 2935627 w 4519987"/>
                    <a:gd name="connsiteY66" fmla="*/ 4333875 h 4496940"/>
                    <a:gd name="connsiteX67" fmla="*/ 2811802 w 4519987"/>
                    <a:gd name="connsiteY67" fmla="*/ 4371975 h 4496940"/>
                    <a:gd name="connsiteX68" fmla="*/ 2745127 w 4519987"/>
                    <a:gd name="connsiteY68" fmla="*/ 4410075 h 4496940"/>
                    <a:gd name="connsiteX69" fmla="*/ 2697502 w 4519987"/>
                    <a:gd name="connsiteY69" fmla="*/ 4429125 h 4496940"/>
                    <a:gd name="connsiteX70" fmla="*/ 2640352 w 4519987"/>
                    <a:gd name="connsiteY70" fmla="*/ 4457700 h 4496940"/>
                    <a:gd name="connsiteX71" fmla="*/ 2583202 w 4519987"/>
                    <a:gd name="connsiteY71" fmla="*/ 4467225 h 4496940"/>
                    <a:gd name="connsiteX72" fmla="*/ 2545102 w 4519987"/>
                    <a:gd name="connsiteY72" fmla="*/ 4486275 h 4496940"/>
                    <a:gd name="connsiteX73" fmla="*/ 2306977 w 4519987"/>
                    <a:gd name="connsiteY73" fmla="*/ 4476750 h 4496940"/>
                    <a:gd name="connsiteX74" fmla="*/ 2202202 w 4519987"/>
                    <a:gd name="connsiteY74" fmla="*/ 4457700 h 4496940"/>
                    <a:gd name="connsiteX75" fmla="*/ 2126002 w 4519987"/>
                    <a:gd name="connsiteY75" fmla="*/ 4429125 h 4496940"/>
                    <a:gd name="connsiteX76" fmla="*/ 1935502 w 4519987"/>
                    <a:gd name="connsiteY76" fmla="*/ 4400550 h 4496940"/>
                    <a:gd name="connsiteX77" fmla="*/ 1821202 w 4519987"/>
                    <a:gd name="connsiteY77" fmla="*/ 4371975 h 4496940"/>
                    <a:gd name="connsiteX78" fmla="*/ 1754527 w 4519987"/>
                    <a:gd name="connsiteY78" fmla="*/ 4352925 h 4496940"/>
                    <a:gd name="connsiteX79" fmla="*/ 1687852 w 4519987"/>
                    <a:gd name="connsiteY79" fmla="*/ 4343400 h 4496940"/>
                    <a:gd name="connsiteX80" fmla="*/ 1573552 w 4519987"/>
                    <a:gd name="connsiteY80" fmla="*/ 4305300 h 4496940"/>
                    <a:gd name="connsiteX81" fmla="*/ 1402102 w 4519987"/>
                    <a:gd name="connsiteY81" fmla="*/ 4276725 h 4496940"/>
                    <a:gd name="connsiteX82" fmla="*/ 1287802 w 4519987"/>
                    <a:gd name="connsiteY82" fmla="*/ 4229100 h 4496940"/>
                    <a:gd name="connsiteX83" fmla="*/ 1221127 w 4519987"/>
                    <a:gd name="connsiteY83" fmla="*/ 4200525 h 4496940"/>
                    <a:gd name="connsiteX84" fmla="*/ 1144927 w 4519987"/>
                    <a:gd name="connsiteY84" fmla="*/ 4171950 h 4496940"/>
                    <a:gd name="connsiteX85" fmla="*/ 1087777 w 4519987"/>
                    <a:gd name="connsiteY85" fmla="*/ 4143375 h 4496940"/>
                    <a:gd name="connsiteX86" fmla="*/ 1030627 w 4519987"/>
                    <a:gd name="connsiteY86" fmla="*/ 4124325 h 4496940"/>
                    <a:gd name="connsiteX87" fmla="*/ 925852 w 4519987"/>
                    <a:gd name="connsiteY87" fmla="*/ 4067175 h 4496940"/>
                    <a:gd name="connsiteX88" fmla="*/ 830602 w 4519987"/>
                    <a:gd name="connsiteY88" fmla="*/ 3981450 h 4496940"/>
                    <a:gd name="connsiteX89" fmla="*/ 763927 w 4519987"/>
                    <a:gd name="connsiteY89" fmla="*/ 3914775 h 4496940"/>
                    <a:gd name="connsiteX90" fmla="*/ 725827 w 4519987"/>
                    <a:gd name="connsiteY90" fmla="*/ 3876675 h 4496940"/>
                    <a:gd name="connsiteX91" fmla="*/ 697252 w 4519987"/>
                    <a:gd name="connsiteY91" fmla="*/ 3838575 h 4496940"/>
                    <a:gd name="connsiteX92" fmla="*/ 640102 w 4519987"/>
                    <a:gd name="connsiteY92" fmla="*/ 3781425 h 4496940"/>
                    <a:gd name="connsiteX93" fmla="*/ 611527 w 4519987"/>
                    <a:gd name="connsiteY93" fmla="*/ 3733800 h 4496940"/>
                    <a:gd name="connsiteX94" fmla="*/ 554377 w 4519987"/>
                    <a:gd name="connsiteY94" fmla="*/ 3657600 h 4496940"/>
                    <a:gd name="connsiteX95" fmla="*/ 525802 w 4519987"/>
                    <a:gd name="connsiteY95" fmla="*/ 3609975 h 4496940"/>
                    <a:gd name="connsiteX96" fmla="*/ 497227 w 4519987"/>
                    <a:gd name="connsiteY96" fmla="*/ 3552825 h 4496940"/>
                    <a:gd name="connsiteX97" fmla="*/ 440077 w 4519987"/>
                    <a:gd name="connsiteY97" fmla="*/ 3495675 h 4496940"/>
                    <a:gd name="connsiteX98" fmla="*/ 411502 w 4519987"/>
                    <a:gd name="connsiteY98" fmla="*/ 3448050 h 4496940"/>
                    <a:gd name="connsiteX99" fmla="*/ 278152 w 4519987"/>
                    <a:gd name="connsiteY99" fmla="*/ 3257550 h 4496940"/>
                    <a:gd name="connsiteX100" fmla="*/ 249577 w 4519987"/>
                    <a:gd name="connsiteY100" fmla="*/ 3200400 h 4496940"/>
                    <a:gd name="connsiteX101" fmla="*/ 240052 w 4519987"/>
                    <a:gd name="connsiteY101" fmla="*/ 3162300 h 4496940"/>
                    <a:gd name="connsiteX102" fmla="*/ 221002 w 4519987"/>
                    <a:gd name="connsiteY102" fmla="*/ 3105150 h 4496940"/>
                    <a:gd name="connsiteX103" fmla="*/ 173377 w 4519987"/>
                    <a:gd name="connsiteY103" fmla="*/ 3019425 h 4496940"/>
                    <a:gd name="connsiteX104" fmla="*/ 144802 w 4519987"/>
                    <a:gd name="connsiteY104" fmla="*/ 2924175 h 4496940"/>
                    <a:gd name="connsiteX105" fmla="*/ 68602 w 4519987"/>
                    <a:gd name="connsiteY105" fmla="*/ 2724150 h 4496940"/>
                    <a:gd name="connsiteX106" fmla="*/ 49552 w 4519987"/>
                    <a:gd name="connsiteY106" fmla="*/ 2638425 h 4496940"/>
                    <a:gd name="connsiteX107" fmla="*/ 40027 w 4519987"/>
                    <a:gd name="connsiteY107" fmla="*/ 2562225 h 4496940"/>
                    <a:gd name="connsiteX108" fmla="*/ 30502 w 4519987"/>
                    <a:gd name="connsiteY108" fmla="*/ 2514600 h 4496940"/>
                    <a:gd name="connsiteX109" fmla="*/ 11452 w 4519987"/>
                    <a:gd name="connsiteY109" fmla="*/ 2400300 h 4496940"/>
                    <a:gd name="connsiteX110" fmla="*/ 20977 w 4519987"/>
                    <a:gd name="connsiteY110" fmla="*/ 1905000 h 4496940"/>
                    <a:gd name="connsiteX111" fmla="*/ 30502 w 4519987"/>
                    <a:gd name="connsiteY111" fmla="*/ 1838325 h 4496940"/>
                    <a:gd name="connsiteX112" fmla="*/ 49552 w 4519987"/>
                    <a:gd name="connsiteY112" fmla="*/ 1781175 h 4496940"/>
                    <a:gd name="connsiteX113" fmla="*/ 59077 w 4519987"/>
                    <a:gd name="connsiteY113" fmla="*/ 1743075 h 4496940"/>
                    <a:gd name="connsiteX114" fmla="*/ 78127 w 4519987"/>
                    <a:gd name="connsiteY114" fmla="*/ 1685925 h 4496940"/>
                    <a:gd name="connsiteX115" fmla="*/ 87652 w 4519987"/>
                    <a:gd name="connsiteY115" fmla="*/ 1638300 h 4496940"/>
                    <a:gd name="connsiteX116" fmla="*/ 106702 w 4519987"/>
                    <a:gd name="connsiteY116" fmla="*/ 1590675 h 4496940"/>
                    <a:gd name="connsiteX117" fmla="*/ 135277 w 4519987"/>
                    <a:gd name="connsiteY117" fmla="*/ 1504950 h 4496940"/>
                    <a:gd name="connsiteX118" fmla="*/ 154327 w 4519987"/>
                    <a:gd name="connsiteY118" fmla="*/ 1419225 h 4496940"/>
                    <a:gd name="connsiteX119" fmla="*/ 230527 w 4519987"/>
                    <a:gd name="connsiteY119" fmla="*/ 1276350 h 4496940"/>
                    <a:gd name="connsiteX120" fmla="*/ 240052 w 4519987"/>
                    <a:gd name="connsiteY120" fmla="*/ 1247775 h 4496940"/>
                    <a:gd name="connsiteX121" fmla="*/ 268627 w 4519987"/>
                    <a:gd name="connsiteY121" fmla="*/ 1200150 h 4496940"/>
                    <a:gd name="connsiteX122" fmla="*/ 287677 w 4519987"/>
                    <a:gd name="connsiteY122" fmla="*/ 1152525 h 4496940"/>
                    <a:gd name="connsiteX123" fmla="*/ 316252 w 4519987"/>
                    <a:gd name="connsiteY123" fmla="*/ 1114425 h 4496940"/>
                    <a:gd name="connsiteX124" fmla="*/ 363877 w 4519987"/>
                    <a:gd name="connsiteY124" fmla="*/ 1038225 h 4496940"/>
                    <a:gd name="connsiteX125" fmla="*/ 382927 w 4519987"/>
                    <a:gd name="connsiteY125" fmla="*/ 1009650 h 4496940"/>
                    <a:gd name="connsiteX126" fmla="*/ 440077 w 4519987"/>
                    <a:gd name="connsiteY126" fmla="*/ 904875 h 4496940"/>
                    <a:gd name="connsiteX127" fmla="*/ 478177 w 4519987"/>
                    <a:gd name="connsiteY127" fmla="*/ 857250 h 4496940"/>
                    <a:gd name="connsiteX128" fmla="*/ 497227 w 4519987"/>
                    <a:gd name="connsiteY128" fmla="*/ 828675 h 4496940"/>
                    <a:gd name="connsiteX129" fmla="*/ 535327 w 4519987"/>
                    <a:gd name="connsiteY129" fmla="*/ 800100 h 4496940"/>
                    <a:gd name="connsiteX130" fmla="*/ 602002 w 4519987"/>
                    <a:gd name="connsiteY130" fmla="*/ 733425 h 4496940"/>
                    <a:gd name="connsiteX131" fmla="*/ 668677 w 4519987"/>
                    <a:gd name="connsiteY131" fmla="*/ 676275 h 4496940"/>
                    <a:gd name="connsiteX132" fmla="*/ 697252 w 4519987"/>
                    <a:gd name="connsiteY132" fmla="*/ 657225 h 4496940"/>
                    <a:gd name="connsiteX133" fmla="*/ 840127 w 4519987"/>
                    <a:gd name="connsiteY133" fmla="*/ 533400 h 4496940"/>
                    <a:gd name="connsiteX134" fmla="*/ 887752 w 4519987"/>
                    <a:gd name="connsiteY134" fmla="*/ 504825 h 4496940"/>
                    <a:gd name="connsiteX135" fmla="*/ 1167152 w 4519987"/>
                    <a:gd name="connsiteY135" fmla="*/ 311150 h 4496940"/>
                    <a:gd name="connsiteX136" fmla="*/ 1268752 w 4519987"/>
                    <a:gd name="connsiteY136" fmla="*/ 285750 h 4496940"/>
                    <a:gd name="connsiteX137" fmla="*/ 1411627 w 4519987"/>
                    <a:gd name="connsiteY137" fmla="*/ 190500 h 4496940"/>
                    <a:gd name="connsiteX138" fmla="*/ 1449727 w 4519987"/>
                    <a:gd name="connsiteY138" fmla="*/ 161925 h 4496940"/>
                    <a:gd name="connsiteX139" fmla="*/ 1525927 w 4519987"/>
                    <a:gd name="connsiteY139" fmla="*/ 152400 h 4496940"/>
                    <a:gd name="connsiteX140" fmla="*/ 1583077 w 4519987"/>
                    <a:gd name="connsiteY140" fmla="*/ 142875 h 4496940"/>
                    <a:gd name="connsiteX141" fmla="*/ 1716427 w 4519987"/>
                    <a:gd name="connsiteY141" fmla="*/ 123825 h 4496940"/>
                    <a:gd name="connsiteX142" fmla="*/ 1811677 w 4519987"/>
                    <a:gd name="connsiteY142" fmla="*/ 114300 h 4496940"/>
                    <a:gd name="connsiteX143" fmla="*/ 1859302 w 4519987"/>
                    <a:gd name="connsiteY143" fmla="*/ 104775 h 4496940"/>
                    <a:gd name="connsiteX144" fmla="*/ 1916452 w 4519987"/>
                    <a:gd name="connsiteY144" fmla="*/ 95250 h 4496940"/>
                    <a:gd name="connsiteX145" fmla="*/ 2030752 w 4519987"/>
                    <a:gd name="connsiteY145" fmla="*/ 66675 h 4496940"/>
                    <a:gd name="connsiteX146" fmla="*/ 2097427 w 4519987"/>
                    <a:gd name="connsiteY146" fmla="*/ 47625 h 4496940"/>
                    <a:gd name="connsiteX147" fmla="*/ 2164102 w 4519987"/>
                    <a:gd name="connsiteY147" fmla="*/ 38100 h 4496940"/>
                    <a:gd name="connsiteX148" fmla="*/ 2392702 w 4519987"/>
                    <a:gd name="connsiteY14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135777 w 4519987"/>
                    <a:gd name="connsiteY21" fmla="*/ 9334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192927 w 4519987"/>
                    <a:gd name="connsiteY24" fmla="*/ 1057275 h 4496940"/>
                    <a:gd name="connsiteX25" fmla="*/ 4202452 w 4519987"/>
                    <a:gd name="connsiteY25" fmla="*/ 1085850 h 4496940"/>
                    <a:gd name="connsiteX26" fmla="*/ 4250077 w 4519987"/>
                    <a:gd name="connsiteY26" fmla="*/ 1143000 h 4496940"/>
                    <a:gd name="connsiteX27" fmla="*/ 4259602 w 4519987"/>
                    <a:gd name="connsiteY27" fmla="*/ 1190625 h 4496940"/>
                    <a:gd name="connsiteX28" fmla="*/ 4307227 w 4519987"/>
                    <a:gd name="connsiteY28" fmla="*/ 1266825 h 4496940"/>
                    <a:gd name="connsiteX29" fmla="*/ 4345327 w 4519987"/>
                    <a:gd name="connsiteY29" fmla="*/ 1362075 h 4496940"/>
                    <a:gd name="connsiteX30" fmla="*/ 4373902 w 4519987"/>
                    <a:gd name="connsiteY30" fmla="*/ 1428750 h 4496940"/>
                    <a:gd name="connsiteX31" fmla="*/ 4392952 w 4519987"/>
                    <a:gd name="connsiteY31" fmla="*/ 1552575 h 4496940"/>
                    <a:gd name="connsiteX32" fmla="*/ 4402477 w 4519987"/>
                    <a:gd name="connsiteY32" fmla="*/ 1590675 h 4496940"/>
                    <a:gd name="connsiteX33" fmla="*/ 4431052 w 4519987"/>
                    <a:gd name="connsiteY33" fmla="*/ 1685925 h 4496940"/>
                    <a:gd name="connsiteX34" fmla="*/ 4519952 w 4519987"/>
                    <a:gd name="connsiteY34" fmla="*/ 2181225 h 4496940"/>
                    <a:gd name="connsiteX35" fmla="*/ 4446927 w 4519987"/>
                    <a:gd name="connsiteY35" fmla="*/ 2768600 h 4496940"/>
                    <a:gd name="connsiteX36" fmla="*/ 4383427 w 4519987"/>
                    <a:gd name="connsiteY36" fmla="*/ 2990850 h 4496940"/>
                    <a:gd name="connsiteX37" fmla="*/ 4278652 w 4519987"/>
                    <a:gd name="connsiteY37" fmla="*/ 3248025 h 4496940"/>
                    <a:gd name="connsiteX38" fmla="*/ 4259602 w 4519987"/>
                    <a:gd name="connsiteY38" fmla="*/ 3276600 h 4496940"/>
                    <a:gd name="connsiteX39" fmla="*/ 4221502 w 4519987"/>
                    <a:gd name="connsiteY39" fmla="*/ 3333750 h 4496940"/>
                    <a:gd name="connsiteX40" fmla="*/ 4211977 w 4519987"/>
                    <a:gd name="connsiteY40" fmla="*/ 3362325 h 4496940"/>
                    <a:gd name="connsiteX41" fmla="*/ 4183402 w 4519987"/>
                    <a:gd name="connsiteY41" fmla="*/ 3400425 h 4496940"/>
                    <a:gd name="connsiteX42" fmla="*/ 4164352 w 4519987"/>
                    <a:gd name="connsiteY42" fmla="*/ 3429000 h 4496940"/>
                    <a:gd name="connsiteX43" fmla="*/ 4088152 w 4519987"/>
                    <a:gd name="connsiteY43" fmla="*/ 3495675 h 4496940"/>
                    <a:gd name="connsiteX44" fmla="*/ 4059577 w 4519987"/>
                    <a:gd name="connsiteY44" fmla="*/ 3533775 h 4496940"/>
                    <a:gd name="connsiteX45" fmla="*/ 4002427 w 4519987"/>
                    <a:gd name="connsiteY45" fmla="*/ 3600450 h 4496940"/>
                    <a:gd name="connsiteX46" fmla="*/ 3983377 w 4519987"/>
                    <a:gd name="connsiteY46" fmla="*/ 3629025 h 4496940"/>
                    <a:gd name="connsiteX47" fmla="*/ 3954802 w 4519987"/>
                    <a:gd name="connsiteY47" fmla="*/ 3648075 h 4496940"/>
                    <a:gd name="connsiteX48" fmla="*/ 3907177 w 4519987"/>
                    <a:gd name="connsiteY48" fmla="*/ 3686175 h 4496940"/>
                    <a:gd name="connsiteX49" fmla="*/ 3869077 w 4519987"/>
                    <a:gd name="connsiteY49" fmla="*/ 3724275 h 4496940"/>
                    <a:gd name="connsiteX50" fmla="*/ 3792877 w 4519987"/>
                    <a:gd name="connsiteY50" fmla="*/ 3781425 h 4496940"/>
                    <a:gd name="connsiteX51" fmla="*/ 3783352 w 4519987"/>
                    <a:gd name="connsiteY51" fmla="*/ 3810000 h 4496940"/>
                    <a:gd name="connsiteX52" fmla="*/ 3745252 w 4519987"/>
                    <a:gd name="connsiteY52" fmla="*/ 3819525 h 4496940"/>
                    <a:gd name="connsiteX53" fmla="*/ 3678577 w 4519987"/>
                    <a:gd name="connsiteY53" fmla="*/ 3848100 h 4496940"/>
                    <a:gd name="connsiteX54" fmla="*/ 3659527 w 4519987"/>
                    <a:gd name="connsiteY54" fmla="*/ 3971925 h 4496940"/>
                    <a:gd name="connsiteX55" fmla="*/ 3630952 w 4519987"/>
                    <a:gd name="connsiteY55" fmla="*/ 4010025 h 4496940"/>
                    <a:gd name="connsiteX56" fmla="*/ 3621427 w 4519987"/>
                    <a:gd name="connsiteY56" fmla="*/ 4038600 h 4496940"/>
                    <a:gd name="connsiteX57" fmla="*/ 3554752 w 4519987"/>
                    <a:gd name="connsiteY57" fmla="*/ 4095750 h 4496940"/>
                    <a:gd name="connsiteX58" fmla="*/ 3516652 w 4519987"/>
                    <a:gd name="connsiteY58" fmla="*/ 4114800 h 4496940"/>
                    <a:gd name="connsiteX59" fmla="*/ 3497602 w 4519987"/>
                    <a:gd name="connsiteY59" fmla="*/ 4143375 h 4496940"/>
                    <a:gd name="connsiteX60" fmla="*/ 3383302 w 4519987"/>
                    <a:gd name="connsiteY60" fmla="*/ 4210050 h 4496940"/>
                    <a:gd name="connsiteX61" fmla="*/ 3335677 w 4519987"/>
                    <a:gd name="connsiteY61" fmla="*/ 4238625 h 4496940"/>
                    <a:gd name="connsiteX62" fmla="*/ 3288052 w 4519987"/>
                    <a:gd name="connsiteY62" fmla="*/ 4248150 h 4496940"/>
                    <a:gd name="connsiteX63" fmla="*/ 3240427 w 4519987"/>
                    <a:gd name="connsiteY63" fmla="*/ 4267200 h 4496940"/>
                    <a:gd name="connsiteX64" fmla="*/ 3068977 w 4519987"/>
                    <a:gd name="connsiteY64" fmla="*/ 4286250 h 4496940"/>
                    <a:gd name="connsiteX65" fmla="*/ 2935627 w 4519987"/>
                    <a:gd name="connsiteY65" fmla="*/ 4333875 h 4496940"/>
                    <a:gd name="connsiteX66" fmla="*/ 2811802 w 4519987"/>
                    <a:gd name="connsiteY66" fmla="*/ 4371975 h 4496940"/>
                    <a:gd name="connsiteX67" fmla="*/ 2745127 w 4519987"/>
                    <a:gd name="connsiteY67" fmla="*/ 4410075 h 4496940"/>
                    <a:gd name="connsiteX68" fmla="*/ 2697502 w 4519987"/>
                    <a:gd name="connsiteY68" fmla="*/ 4429125 h 4496940"/>
                    <a:gd name="connsiteX69" fmla="*/ 2640352 w 4519987"/>
                    <a:gd name="connsiteY69" fmla="*/ 4457700 h 4496940"/>
                    <a:gd name="connsiteX70" fmla="*/ 2583202 w 4519987"/>
                    <a:gd name="connsiteY70" fmla="*/ 4467225 h 4496940"/>
                    <a:gd name="connsiteX71" fmla="*/ 2545102 w 4519987"/>
                    <a:gd name="connsiteY71" fmla="*/ 4486275 h 4496940"/>
                    <a:gd name="connsiteX72" fmla="*/ 2306977 w 4519987"/>
                    <a:gd name="connsiteY72" fmla="*/ 4476750 h 4496940"/>
                    <a:gd name="connsiteX73" fmla="*/ 2202202 w 4519987"/>
                    <a:gd name="connsiteY73" fmla="*/ 4457700 h 4496940"/>
                    <a:gd name="connsiteX74" fmla="*/ 2126002 w 4519987"/>
                    <a:gd name="connsiteY74" fmla="*/ 4429125 h 4496940"/>
                    <a:gd name="connsiteX75" fmla="*/ 1935502 w 4519987"/>
                    <a:gd name="connsiteY75" fmla="*/ 4400550 h 4496940"/>
                    <a:gd name="connsiteX76" fmla="*/ 1821202 w 4519987"/>
                    <a:gd name="connsiteY76" fmla="*/ 4371975 h 4496940"/>
                    <a:gd name="connsiteX77" fmla="*/ 1754527 w 4519987"/>
                    <a:gd name="connsiteY77" fmla="*/ 4352925 h 4496940"/>
                    <a:gd name="connsiteX78" fmla="*/ 1687852 w 4519987"/>
                    <a:gd name="connsiteY78" fmla="*/ 4343400 h 4496940"/>
                    <a:gd name="connsiteX79" fmla="*/ 1573552 w 4519987"/>
                    <a:gd name="connsiteY79" fmla="*/ 4305300 h 4496940"/>
                    <a:gd name="connsiteX80" fmla="*/ 1402102 w 4519987"/>
                    <a:gd name="connsiteY80" fmla="*/ 4276725 h 4496940"/>
                    <a:gd name="connsiteX81" fmla="*/ 1287802 w 4519987"/>
                    <a:gd name="connsiteY81" fmla="*/ 4229100 h 4496940"/>
                    <a:gd name="connsiteX82" fmla="*/ 1221127 w 4519987"/>
                    <a:gd name="connsiteY82" fmla="*/ 4200525 h 4496940"/>
                    <a:gd name="connsiteX83" fmla="*/ 1144927 w 4519987"/>
                    <a:gd name="connsiteY83" fmla="*/ 4171950 h 4496940"/>
                    <a:gd name="connsiteX84" fmla="*/ 1087777 w 4519987"/>
                    <a:gd name="connsiteY84" fmla="*/ 4143375 h 4496940"/>
                    <a:gd name="connsiteX85" fmla="*/ 1030627 w 4519987"/>
                    <a:gd name="connsiteY85" fmla="*/ 4124325 h 4496940"/>
                    <a:gd name="connsiteX86" fmla="*/ 925852 w 4519987"/>
                    <a:gd name="connsiteY86" fmla="*/ 4067175 h 4496940"/>
                    <a:gd name="connsiteX87" fmla="*/ 830602 w 4519987"/>
                    <a:gd name="connsiteY87" fmla="*/ 3981450 h 4496940"/>
                    <a:gd name="connsiteX88" fmla="*/ 763927 w 4519987"/>
                    <a:gd name="connsiteY88" fmla="*/ 3914775 h 4496940"/>
                    <a:gd name="connsiteX89" fmla="*/ 725827 w 4519987"/>
                    <a:gd name="connsiteY89" fmla="*/ 3876675 h 4496940"/>
                    <a:gd name="connsiteX90" fmla="*/ 697252 w 4519987"/>
                    <a:gd name="connsiteY90" fmla="*/ 3838575 h 4496940"/>
                    <a:gd name="connsiteX91" fmla="*/ 640102 w 4519987"/>
                    <a:gd name="connsiteY91" fmla="*/ 3781425 h 4496940"/>
                    <a:gd name="connsiteX92" fmla="*/ 611527 w 4519987"/>
                    <a:gd name="connsiteY92" fmla="*/ 3733800 h 4496940"/>
                    <a:gd name="connsiteX93" fmla="*/ 554377 w 4519987"/>
                    <a:gd name="connsiteY93" fmla="*/ 3657600 h 4496940"/>
                    <a:gd name="connsiteX94" fmla="*/ 525802 w 4519987"/>
                    <a:gd name="connsiteY94" fmla="*/ 3609975 h 4496940"/>
                    <a:gd name="connsiteX95" fmla="*/ 497227 w 4519987"/>
                    <a:gd name="connsiteY95" fmla="*/ 3552825 h 4496940"/>
                    <a:gd name="connsiteX96" fmla="*/ 440077 w 4519987"/>
                    <a:gd name="connsiteY96" fmla="*/ 3495675 h 4496940"/>
                    <a:gd name="connsiteX97" fmla="*/ 411502 w 4519987"/>
                    <a:gd name="connsiteY97" fmla="*/ 3448050 h 4496940"/>
                    <a:gd name="connsiteX98" fmla="*/ 278152 w 4519987"/>
                    <a:gd name="connsiteY98" fmla="*/ 3257550 h 4496940"/>
                    <a:gd name="connsiteX99" fmla="*/ 249577 w 4519987"/>
                    <a:gd name="connsiteY99" fmla="*/ 3200400 h 4496940"/>
                    <a:gd name="connsiteX100" fmla="*/ 240052 w 4519987"/>
                    <a:gd name="connsiteY100" fmla="*/ 3162300 h 4496940"/>
                    <a:gd name="connsiteX101" fmla="*/ 221002 w 4519987"/>
                    <a:gd name="connsiteY101" fmla="*/ 3105150 h 4496940"/>
                    <a:gd name="connsiteX102" fmla="*/ 173377 w 4519987"/>
                    <a:gd name="connsiteY102" fmla="*/ 3019425 h 4496940"/>
                    <a:gd name="connsiteX103" fmla="*/ 144802 w 4519987"/>
                    <a:gd name="connsiteY103" fmla="*/ 2924175 h 4496940"/>
                    <a:gd name="connsiteX104" fmla="*/ 68602 w 4519987"/>
                    <a:gd name="connsiteY104" fmla="*/ 2724150 h 4496940"/>
                    <a:gd name="connsiteX105" fmla="*/ 49552 w 4519987"/>
                    <a:gd name="connsiteY105" fmla="*/ 2638425 h 4496940"/>
                    <a:gd name="connsiteX106" fmla="*/ 40027 w 4519987"/>
                    <a:gd name="connsiteY106" fmla="*/ 2562225 h 4496940"/>
                    <a:gd name="connsiteX107" fmla="*/ 30502 w 4519987"/>
                    <a:gd name="connsiteY107" fmla="*/ 2514600 h 4496940"/>
                    <a:gd name="connsiteX108" fmla="*/ 11452 w 4519987"/>
                    <a:gd name="connsiteY108" fmla="*/ 2400300 h 4496940"/>
                    <a:gd name="connsiteX109" fmla="*/ 20977 w 4519987"/>
                    <a:gd name="connsiteY109" fmla="*/ 1905000 h 4496940"/>
                    <a:gd name="connsiteX110" fmla="*/ 30502 w 4519987"/>
                    <a:gd name="connsiteY110" fmla="*/ 1838325 h 4496940"/>
                    <a:gd name="connsiteX111" fmla="*/ 49552 w 4519987"/>
                    <a:gd name="connsiteY111" fmla="*/ 1781175 h 4496940"/>
                    <a:gd name="connsiteX112" fmla="*/ 59077 w 4519987"/>
                    <a:gd name="connsiteY112" fmla="*/ 1743075 h 4496940"/>
                    <a:gd name="connsiteX113" fmla="*/ 78127 w 4519987"/>
                    <a:gd name="connsiteY113" fmla="*/ 1685925 h 4496940"/>
                    <a:gd name="connsiteX114" fmla="*/ 87652 w 4519987"/>
                    <a:gd name="connsiteY114" fmla="*/ 1638300 h 4496940"/>
                    <a:gd name="connsiteX115" fmla="*/ 106702 w 4519987"/>
                    <a:gd name="connsiteY115" fmla="*/ 1590675 h 4496940"/>
                    <a:gd name="connsiteX116" fmla="*/ 135277 w 4519987"/>
                    <a:gd name="connsiteY116" fmla="*/ 1504950 h 4496940"/>
                    <a:gd name="connsiteX117" fmla="*/ 154327 w 4519987"/>
                    <a:gd name="connsiteY117" fmla="*/ 1419225 h 4496940"/>
                    <a:gd name="connsiteX118" fmla="*/ 230527 w 4519987"/>
                    <a:gd name="connsiteY118" fmla="*/ 1276350 h 4496940"/>
                    <a:gd name="connsiteX119" fmla="*/ 240052 w 4519987"/>
                    <a:gd name="connsiteY119" fmla="*/ 1247775 h 4496940"/>
                    <a:gd name="connsiteX120" fmla="*/ 268627 w 4519987"/>
                    <a:gd name="connsiteY120" fmla="*/ 1200150 h 4496940"/>
                    <a:gd name="connsiteX121" fmla="*/ 287677 w 4519987"/>
                    <a:gd name="connsiteY121" fmla="*/ 1152525 h 4496940"/>
                    <a:gd name="connsiteX122" fmla="*/ 316252 w 4519987"/>
                    <a:gd name="connsiteY122" fmla="*/ 1114425 h 4496940"/>
                    <a:gd name="connsiteX123" fmla="*/ 363877 w 4519987"/>
                    <a:gd name="connsiteY123" fmla="*/ 1038225 h 4496940"/>
                    <a:gd name="connsiteX124" fmla="*/ 382927 w 4519987"/>
                    <a:gd name="connsiteY124" fmla="*/ 1009650 h 4496940"/>
                    <a:gd name="connsiteX125" fmla="*/ 440077 w 4519987"/>
                    <a:gd name="connsiteY125" fmla="*/ 904875 h 4496940"/>
                    <a:gd name="connsiteX126" fmla="*/ 478177 w 4519987"/>
                    <a:gd name="connsiteY126" fmla="*/ 857250 h 4496940"/>
                    <a:gd name="connsiteX127" fmla="*/ 497227 w 4519987"/>
                    <a:gd name="connsiteY127" fmla="*/ 828675 h 4496940"/>
                    <a:gd name="connsiteX128" fmla="*/ 535327 w 4519987"/>
                    <a:gd name="connsiteY128" fmla="*/ 800100 h 4496940"/>
                    <a:gd name="connsiteX129" fmla="*/ 602002 w 4519987"/>
                    <a:gd name="connsiteY129" fmla="*/ 733425 h 4496940"/>
                    <a:gd name="connsiteX130" fmla="*/ 668677 w 4519987"/>
                    <a:gd name="connsiteY130" fmla="*/ 676275 h 4496940"/>
                    <a:gd name="connsiteX131" fmla="*/ 697252 w 4519987"/>
                    <a:gd name="connsiteY131" fmla="*/ 657225 h 4496940"/>
                    <a:gd name="connsiteX132" fmla="*/ 840127 w 4519987"/>
                    <a:gd name="connsiteY132" fmla="*/ 533400 h 4496940"/>
                    <a:gd name="connsiteX133" fmla="*/ 887752 w 4519987"/>
                    <a:gd name="connsiteY133" fmla="*/ 504825 h 4496940"/>
                    <a:gd name="connsiteX134" fmla="*/ 1167152 w 4519987"/>
                    <a:gd name="connsiteY134" fmla="*/ 311150 h 4496940"/>
                    <a:gd name="connsiteX135" fmla="*/ 1268752 w 4519987"/>
                    <a:gd name="connsiteY135" fmla="*/ 285750 h 4496940"/>
                    <a:gd name="connsiteX136" fmla="*/ 1411627 w 4519987"/>
                    <a:gd name="connsiteY136" fmla="*/ 190500 h 4496940"/>
                    <a:gd name="connsiteX137" fmla="*/ 1449727 w 4519987"/>
                    <a:gd name="connsiteY137" fmla="*/ 161925 h 4496940"/>
                    <a:gd name="connsiteX138" fmla="*/ 1525927 w 4519987"/>
                    <a:gd name="connsiteY138" fmla="*/ 152400 h 4496940"/>
                    <a:gd name="connsiteX139" fmla="*/ 1583077 w 4519987"/>
                    <a:gd name="connsiteY139" fmla="*/ 142875 h 4496940"/>
                    <a:gd name="connsiteX140" fmla="*/ 1716427 w 4519987"/>
                    <a:gd name="connsiteY140" fmla="*/ 123825 h 4496940"/>
                    <a:gd name="connsiteX141" fmla="*/ 1811677 w 4519987"/>
                    <a:gd name="connsiteY141" fmla="*/ 114300 h 4496940"/>
                    <a:gd name="connsiteX142" fmla="*/ 1859302 w 4519987"/>
                    <a:gd name="connsiteY142" fmla="*/ 104775 h 4496940"/>
                    <a:gd name="connsiteX143" fmla="*/ 1916452 w 4519987"/>
                    <a:gd name="connsiteY143" fmla="*/ 95250 h 4496940"/>
                    <a:gd name="connsiteX144" fmla="*/ 2030752 w 4519987"/>
                    <a:gd name="connsiteY144" fmla="*/ 66675 h 4496940"/>
                    <a:gd name="connsiteX145" fmla="*/ 2097427 w 4519987"/>
                    <a:gd name="connsiteY145" fmla="*/ 47625 h 4496940"/>
                    <a:gd name="connsiteX146" fmla="*/ 2164102 w 4519987"/>
                    <a:gd name="connsiteY146" fmla="*/ 38100 h 4496940"/>
                    <a:gd name="connsiteX147" fmla="*/ 2392702 w 4519987"/>
                    <a:gd name="connsiteY14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02452 w 4519987"/>
                    <a:gd name="connsiteY24" fmla="*/ 1085850 h 4496940"/>
                    <a:gd name="connsiteX25" fmla="*/ 4250077 w 4519987"/>
                    <a:gd name="connsiteY25" fmla="*/ 1143000 h 4496940"/>
                    <a:gd name="connsiteX26" fmla="*/ 4259602 w 4519987"/>
                    <a:gd name="connsiteY26" fmla="*/ 1190625 h 4496940"/>
                    <a:gd name="connsiteX27" fmla="*/ 4307227 w 4519987"/>
                    <a:gd name="connsiteY27" fmla="*/ 1266825 h 4496940"/>
                    <a:gd name="connsiteX28" fmla="*/ 4345327 w 4519987"/>
                    <a:gd name="connsiteY28" fmla="*/ 1362075 h 4496940"/>
                    <a:gd name="connsiteX29" fmla="*/ 4373902 w 4519987"/>
                    <a:gd name="connsiteY29" fmla="*/ 1428750 h 4496940"/>
                    <a:gd name="connsiteX30" fmla="*/ 4392952 w 4519987"/>
                    <a:gd name="connsiteY30" fmla="*/ 1552575 h 4496940"/>
                    <a:gd name="connsiteX31" fmla="*/ 4402477 w 4519987"/>
                    <a:gd name="connsiteY31" fmla="*/ 1590675 h 4496940"/>
                    <a:gd name="connsiteX32" fmla="*/ 4431052 w 4519987"/>
                    <a:gd name="connsiteY32" fmla="*/ 1685925 h 4496940"/>
                    <a:gd name="connsiteX33" fmla="*/ 4519952 w 4519987"/>
                    <a:gd name="connsiteY33" fmla="*/ 2181225 h 4496940"/>
                    <a:gd name="connsiteX34" fmla="*/ 4446927 w 4519987"/>
                    <a:gd name="connsiteY34" fmla="*/ 2768600 h 4496940"/>
                    <a:gd name="connsiteX35" fmla="*/ 4383427 w 4519987"/>
                    <a:gd name="connsiteY35" fmla="*/ 2990850 h 4496940"/>
                    <a:gd name="connsiteX36" fmla="*/ 4278652 w 4519987"/>
                    <a:gd name="connsiteY36" fmla="*/ 3248025 h 4496940"/>
                    <a:gd name="connsiteX37" fmla="*/ 4259602 w 4519987"/>
                    <a:gd name="connsiteY37" fmla="*/ 3276600 h 4496940"/>
                    <a:gd name="connsiteX38" fmla="*/ 4221502 w 4519987"/>
                    <a:gd name="connsiteY38" fmla="*/ 3333750 h 4496940"/>
                    <a:gd name="connsiteX39" fmla="*/ 4211977 w 4519987"/>
                    <a:gd name="connsiteY39" fmla="*/ 3362325 h 4496940"/>
                    <a:gd name="connsiteX40" fmla="*/ 4183402 w 4519987"/>
                    <a:gd name="connsiteY40" fmla="*/ 3400425 h 4496940"/>
                    <a:gd name="connsiteX41" fmla="*/ 4164352 w 4519987"/>
                    <a:gd name="connsiteY41" fmla="*/ 3429000 h 4496940"/>
                    <a:gd name="connsiteX42" fmla="*/ 4088152 w 4519987"/>
                    <a:gd name="connsiteY42" fmla="*/ 3495675 h 4496940"/>
                    <a:gd name="connsiteX43" fmla="*/ 4059577 w 4519987"/>
                    <a:gd name="connsiteY43" fmla="*/ 3533775 h 4496940"/>
                    <a:gd name="connsiteX44" fmla="*/ 4002427 w 4519987"/>
                    <a:gd name="connsiteY44" fmla="*/ 3600450 h 4496940"/>
                    <a:gd name="connsiteX45" fmla="*/ 3983377 w 4519987"/>
                    <a:gd name="connsiteY45" fmla="*/ 3629025 h 4496940"/>
                    <a:gd name="connsiteX46" fmla="*/ 3954802 w 4519987"/>
                    <a:gd name="connsiteY46" fmla="*/ 3648075 h 4496940"/>
                    <a:gd name="connsiteX47" fmla="*/ 3907177 w 4519987"/>
                    <a:gd name="connsiteY47" fmla="*/ 3686175 h 4496940"/>
                    <a:gd name="connsiteX48" fmla="*/ 3869077 w 4519987"/>
                    <a:gd name="connsiteY48" fmla="*/ 3724275 h 4496940"/>
                    <a:gd name="connsiteX49" fmla="*/ 3792877 w 4519987"/>
                    <a:gd name="connsiteY49" fmla="*/ 3781425 h 4496940"/>
                    <a:gd name="connsiteX50" fmla="*/ 3783352 w 4519987"/>
                    <a:gd name="connsiteY50" fmla="*/ 3810000 h 4496940"/>
                    <a:gd name="connsiteX51" fmla="*/ 3745252 w 4519987"/>
                    <a:gd name="connsiteY51" fmla="*/ 3819525 h 4496940"/>
                    <a:gd name="connsiteX52" fmla="*/ 3678577 w 4519987"/>
                    <a:gd name="connsiteY52" fmla="*/ 3848100 h 4496940"/>
                    <a:gd name="connsiteX53" fmla="*/ 3659527 w 4519987"/>
                    <a:gd name="connsiteY53" fmla="*/ 3971925 h 4496940"/>
                    <a:gd name="connsiteX54" fmla="*/ 3630952 w 4519987"/>
                    <a:gd name="connsiteY54" fmla="*/ 4010025 h 4496940"/>
                    <a:gd name="connsiteX55" fmla="*/ 3621427 w 4519987"/>
                    <a:gd name="connsiteY55" fmla="*/ 4038600 h 4496940"/>
                    <a:gd name="connsiteX56" fmla="*/ 3554752 w 4519987"/>
                    <a:gd name="connsiteY56" fmla="*/ 4095750 h 4496940"/>
                    <a:gd name="connsiteX57" fmla="*/ 3516652 w 4519987"/>
                    <a:gd name="connsiteY57" fmla="*/ 4114800 h 4496940"/>
                    <a:gd name="connsiteX58" fmla="*/ 3497602 w 4519987"/>
                    <a:gd name="connsiteY58" fmla="*/ 4143375 h 4496940"/>
                    <a:gd name="connsiteX59" fmla="*/ 3383302 w 4519987"/>
                    <a:gd name="connsiteY59" fmla="*/ 4210050 h 4496940"/>
                    <a:gd name="connsiteX60" fmla="*/ 3335677 w 4519987"/>
                    <a:gd name="connsiteY60" fmla="*/ 4238625 h 4496940"/>
                    <a:gd name="connsiteX61" fmla="*/ 3288052 w 4519987"/>
                    <a:gd name="connsiteY61" fmla="*/ 4248150 h 4496940"/>
                    <a:gd name="connsiteX62" fmla="*/ 3240427 w 4519987"/>
                    <a:gd name="connsiteY62" fmla="*/ 4267200 h 4496940"/>
                    <a:gd name="connsiteX63" fmla="*/ 3068977 w 4519987"/>
                    <a:gd name="connsiteY63" fmla="*/ 4286250 h 4496940"/>
                    <a:gd name="connsiteX64" fmla="*/ 2935627 w 4519987"/>
                    <a:gd name="connsiteY64" fmla="*/ 4333875 h 4496940"/>
                    <a:gd name="connsiteX65" fmla="*/ 2811802 w 4519987"/>
                    <a:gd name="connsiteY65" fmla="*/ 4371975 h 4496940"/>
                    <a:gd name="connsiteX66" fmla="*/ 2745127 w 4519987"/>
                    <a:gd name="connsiteY66" fmla="*/ 4410075 h 4496940"/>
                    <a:gd name="connsiteX67" fmla="*/ 2697502 w 4519987"/>
                    <a:gd name="connsiteY67" fmla="*/ 4429125 h 4496940"/>
                    <a:gd name="connsiteX68" fmla="*/ 2640352 w 4519987"/>
                    <a:gd name="connsiteY68" fmla="*/ 4457700 h 4496940"/>
                    <a:gd name="connsiteX69" fmla="*/ 2583202 w 4519987"/>
                    <a:gd name="connsiteY69" fmla="*/ 4467225 h 4496940"/>
                    <a:gd name="connsiteX70" fmla="*/ 2545102 w 4519987"/>
                    <a:gd name="connsiteY70" fmla="*/ 4486275 h 4496940"/>
                    <a:gd name="connsiteX71" fmla="*/ 2306977 w 4519987"/>
                    <a:gd name="connsiteY71" fmla="*/ 4476750 h 4496940"/>
                    <a:gd name="connsiteX72" fmla="*/ 2202202 w 4519987"/>
                    <a:gd name="connsiteY72" fmla="*/ 4457700 h 4496940"/>
                    <a:gd name="connsiteX73" fmla="*/ 2126002 w 4519987"/>
                    <a:gd name="connsiteY73" fmla="*/ 4429125 h 4496940"/>
                    <a:gd name="connsiteX74" fmla="*/ 1935502 w 4519987"/>
                    <a:gd name="connsiteY74" fmla="*/ 4400550 h 4496940"/>
                    <a:gd name="connsiteX75" fmla="*/ 1821202 w 4519987"/>
                    <a:gd name="connsiteY75" fmla="*/ 4371975 h 4496940"/>
                    <a:gd name="connsiteX76" fmla="*/ 1754527 w 4519987"/>
                    <a:gd name="connsiteY76" fmla="*/ 4352925 h 4496940"/>
                    <a:gd name="connsiteX77" fmla="*/ 1687852 w 4519987"/>
                    <a:gd name="connsiteY77" fmla="*/ 4343400 h 4496940"/>
                    <a:gd name="connsiteX78" fmla="*/ 1573552 w 4519987"/>
                    <a:gd name="connsiteY78" fmla="*/ 4305300 h 4496940"/>
                    <a:gd name="connsiteX79" fmla="*/ 1402102 w 4519987"/>
                    <a:gd name="connsiteY79" fmla="*/ 4276725 h 4496940"/>
                    <a:gd name="connsiteX80" fmla="*/ 1287802 w 4519987"/>
                    <a:gd name="connsiteY80" fmla="*/ 4229100 h 4496940"/>
                    <a:gd name="connsiteX81" fmla="*/ 1221127 w 4519987"/>
                    <a:gd name="connsiteY81" fmla="*/ 4200525 h 4496940"/>
                    <a:gd name="connsiteX82" fmla="*/ 1144927 w 4519987"/>
                    <a:gd name="connsiteY82" fmla="*/ 4171950 h 4496940"/>
                    <a:gd name="connsiteX83" fmla="*/ 1087777 w 4519987"/>
                    <a:gd name="connsiteY83" fmla="*/ 4143375 h 4496940"/>
                    <a:gd name="connsiteX84" fmla="*/ 1030627 w 4519987"/>
                    <a:gd name="connsiteY84" fmla="*/ 4124325 h 4496940"/>
                    <a:gd name="connsiteX85" fmla="*/ 925852 w 4519987"/>
                    <a:gd name="connsiteY85" fmla="*/ 4067175 h 4496940"/>
                    <a:gd name="connsiteX86" fmla="*/ 830602 w 4519987"/>
                    <a:gd name="connsiteY86" fmla="*/ 3981450 h 4496940"/>
                    <a:gd name="connsiteX87" fmla="*/ 763927 w 4519987"/>
                    <a:gd name="connsiteY87" fmla="*/ 3914775 h 4496940"/>
                    <a:gd name="connsiteX88" fmla="*/ 725827 w 4519987"/>
                    <a:gd name="connsiteY88" fmla="*/ 3876675 h 4496940"/>
                    <a:gd name="connsiteX89" fmla="*/ 697252 w 4519987"/>
                    <a:gd name="connsiteY89" fmla="*/ 3838575 h 4496940"/>
                    <a:gd name="connsiteX90" fmla="*/ 640102 w 4519987"/>
                    <a:gd name="connsiteY90" fmla="*/ 3781425 h 4496940"/>
                    <a:gd name="connsiteX91" fmla="*/ 611527 w 4519987"/>
                    <a:gd name="connsiteY91" fmla="*/ 3733800 h 4496940"/>
                    <a:gd name="connsiteX92" fmla="*/ 554377 w 4519987"/>
                    <a:gd name="connsiteY92" fmla="*/ 3657600 h 4496940"/>
                    <a:gd name="connsiteX93" fmla="*/ 525802 w 4519987"/>
                    <a:gd name="connsiteY93" fmla="*/ 3609975 h 4496940"/>
                    <a:gd name="connsiteX94" fmla="*/ 497227 w 4519987"/>
                    <a:gd name="connsiteY94" fmla="*/ 3552825 h 4496940"/>
                    <a:gd name="connsiteX95" fmla="*/ 440077 w 4519987"/>
                    <a:gd name="connsiteY95" fmla="*/ 3495675 h 4496940"/>
                    <a:gd name="connsiteX96" fmla="*/ 411502 w 4519987"/>
                    <a:gd name="connsiteY96" fmla="*/ 3448050 h 4496940"/>
                    <a:gd name="connsiteX97" fmla="*/ 278152 w 4519987"/>
                    <a:gd name="connsiteY97" fmla="*/ 3257550 h 4496940"/>
                    <a:gd name="connsiteX98" fmla="*/ 249577 w 4519987"/>
                    <a:gd name="connsiteY98" fmla="*/ 3200400 h 4496940"/>
                    <a:gd name="connsiteX99" fmla="*/ 240052 w 4519987"/>
                    <a:gd name="connsiteY99" fmla="*/ 3162300 h 4496940"/>
                    <a:gd name="connsiteX100" fmla="*/ 221002 w 4519987"/>
                    <a:gd name="connsiteY100" fmla="*/ 3105150 h 4496940"/>
                    <a:gd name="connsiteX101" fmla="*/ 173377 w 4519987"/>
                    <a:gd name="connsiteY101" fmla="*/ 3019425 h 4496940"/>
                    <a:gd name="connsiteX102" fmla="*/ 144802 w 4519987"/>
                    <a:gd name="connsiteY102" fmla="*/ 2924175 h 4496940"/>
                    <a:gd name="connsiteX103" fmla="*/ 68602 w 4519987"/>
                    <a:gd name="connsiteY103" fmla="*/ 2724150 h 4496940"/>
                    <a:gd name="connsiteX104" fmla="*/ 49552 w 4519987"/>
                    <a:gd name="connsiteY104" fmla="*/ 2638425 h 4496940"/>
                    <a:gd name="connsiteX105" fmla="*/ 40027 w 4519987"/>
                    <a:gd name="connsiteY105" fmla="*/ 2562225 h 4496940"/>
                    <a:gd name="connsiteX106" fmla="*/ 30502 w 4519987"/>
                    <a:gd name="connsiteY106" fmla="*/ 2514600 h 4496940"/>
                    <a:gd name="connsiteX107" fmla="*/ 11452 w 4519987"/>
                    <a:gd name="connsiteY107" fmla="*/ 2400300 h 4496940"/>
                    <a:gd name="connsiteX108" fmla="*/ 20977 w 4519987"/>
                    <a:gd name="connsiteY108" fmla="*/ 1905000 h 4496940"/>
                    <a:gd name="connsiteX109" fmla="*/ 30502 w 4519987"/>
                    <a:gd name="connsiteY109" fmla="*/ 1838325 h 4496940"/>
                    <a:gd name="connsiteX110" fmla="*/ 49552 w 4519987"/>
                    <a:gd name="connsiteY110" fmla="*/ 1781175 h 4496940"/>
                    <a:gd name="connsiteX111" fmla="*/ 59077 w 4519987"/>
                    <a:gd name="connsiteY111" fmla="*/ 1743075 h 4496940"/>
                    <a:gd name="connsiteX112" fmla="*/ 78127 w 4519987"/>
                    <a:gd name="connsiteY112" fmla="*/ 1685925 h 4496940"/>
                    <a:gd name="connsiteX113" fmla="*/ 87652 w 4519987"/>
                    <a:gd name="connsiteY113" fmla="*/ 1638300 h 4496940"/>
                    <a:gd name="connsiteX114" fmla="*/ 106702 w 4519987"/>
                    <a:gd name="connsiteY114" fmla="*/ 1590675 h 4496940"/>
                    <a:gd name="connsiteX115" fmla="*/ 135277 w 4519987"/>
                    <a:gd name="connsiteY115" fmla="*/ 1504950 h 4496940"/>
                    <a:gd name="connsiteX116" fmla="*/ 154327 w 4519987"/>
                    <a:gd name="connsiteY116" fmla="*/ 1419225 h 4496940"/>
                    <a:gd name="connsiteX117" fmla="*/ 230527 w 4519987"/>
                    <a:gd name="connsiteY117" fmla="*/ 1276350 h 4496940"/>
                    <a:gd name="connsiteX118" fmla="*/ 240052 w 4519987"/>
                    <a:gd name="connsiteY118" fmla="*/ 1247775 h 4496940"/>
                    <a:gd name="connsiteX119" fmla="*/ 268627 w 4519987"/>
                    <a:gd name="connsiteY119" fmla="*/ 1200150 h 4496940"/>
                    <a:gd name="connsiteX120" fmla="*/ 287677 w 4519987"/>
                    <a:gd name="connsiteY120" fmla="*/ 1152525 h 4496940"/>
                    <a:gd name="connsiteX121" fmla="*/ 316252 w 4519987"/>
                    <a:gd name="connsiteY121" fmla="*/ 1114425 h 4496940"/>
                    <a:gd name="connsiteX122" fmla="*/ 363877 w 4519987"/>
                    <a:gd name="connsiteY122" fmla="*/ 1038225 h 4496940"/>
                    <a:gd name="connsiteX123" fmla="*/ 382927 w 4519987"/>
                    <a:gd name="connsiteY123" fmla="*/ 1009650 h 4496940"/>
                    <a:gd name="connsiteX124" fmla="*/ 440077 w 4519987"/>
                    <a:gd name="connsiteY124" fmla="*/ 904875 h 4496940"/>
                    <a:gd name="connsiteX125" fmla="*/ 478177 w 4519987"/>
                    <a:gd name="connsiteY125" fmla="*/ 857250 h 4496940"/>
                    <a:gd name="connsiteX126" fmla="*/ 497227 w 4519987"/>
                    <a:gd name="connsiteY126" fmla="*/ 828675 h 4496940"/>
                    <a:gd name="connsiteX127" fmla="*/ 535327 w 4519987"/>
                    <a:gd name="connsiteY127" fmla="*/ 800100 h 4496940"/>
                    <a:gd name="connsiteX128" fmla="*/ 602002 w 4519987"/>
                    <a:gd name="connsiteY128" fmla="*/ 733425 h 4496940"/>
                    <a:gd name="connsiteX129" fmla="*/ 668677 w 4519987"/>
                    <a:gd name="connsiteY129" fmla="*/ 676275 h 4496940"/>
                    <a:gd name="connsiteX130" fmla="*/ 697252 w 4519987"/>
                    <a:gd name="connsiteY130" fmla="*/ 657225 h 4496940"/>
                    <a:gd name="connsiteX131" fmla="*/ 840127 w 4519987"/>
                    <a:gd name="connsiteY131" fmla="*/ 533400 h 4496940"/>
                    <a:gd name="connsiteX132" fmla="*/ 887752 w 4519987"/>
                    <a:gd name="connsiteY132" fmla="*/ 504825 h 4496940"/>
                    <a:gd name="connsiteX133" fmla="*/ 1167152 w 4519987"/>
                    <a:gd name="connsiteY133" fmla="*/ 311150 h 4496940"/>
                    <a:gd name="connsiteX134" fmla="*/ 1268752 w 4519987"/>
                    <a:gd name="connsiteY134" fmla="*/ 285750 h 4496940"/>
                    <a:gd name="connsiteX135" fmla="*/ 1411627 w 4519987"/>
                    <a:gd name="connsiteY135" fmla="*/ 190500 h 4496940"/>
                    <a:gd name="connsiteX136" fmla="*/ 1449727 w 4519987"/>
                    <a:gd name="connsiteY136" fmla="*/ 161925 h 4496940"/>
                    <a:gd name="connsiteX137" fmla="*/ 1525927 w 4519987"/>
                    <a:gd name="connsiteY137" fmla="*/ 152400 h 4496940"/>
                    <a:gd name="connsiteX138" fmla="*/ 1583077 w 4519987"/>
                    <a:gd name="connsiteY138" fmla="*/ 142875 h 4496940"/>
                    <a:gd name="connsiteX139" fmla="*/ 1716427 w 4519987"/>
                    <a:gd name="connsiteY139" fmla="*/ 123825 h 4496940"/>
                    <a:gd name="connsiteX140" fmla="*/ 1811677 w 4519987"/>
                    <a:gd name="connsiteY140" fmla="*/ 114300 h 4496940"/>
                    <a:gd name="connsiteX141" fmla="*/ 1859302 w 4519987"/>
                    <a:gd name="connsiteY141" fmla="*/ 104775 h 4496940"/>
                    <a:gd name="connsiteX142" fmla="*/ 1916452 w 4519987"/>
                    <a:gd name="connsiteY142" fmla="*/ 95250 h 4496940"/>
                    <a:gd name="connsiteX143" fmla="*/ 2030752 w 4519987"/>
                    <a:gd name="connsiteY143" fmla="*/ 66675 h 4496940"/>
                    <a:gd name="connsiteX144" fmla="*/ 2097427 w 4519987"/>
                    <a:gd name="connsiteY144" fmla="*/ 47625 h 4496940"/>
                    <a:gd name="connsiteX145" fmla="*/ 2164102 w 4519987"/>
                    <a:gd name="connsiteY145" fmla="*/ 38100 h 4496940"/>
                    <a:gd name="connsiteX146" fmla="*/ 2392702 w 4519987"/>
                    <a:gd name="connsiteY14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173877 w 4519987"/>
                    <a:gd name="connsiteY23" fmla="*/ 1019175 h 4496940"/>
                    <a:gd name="connsiteX24" fmla="*/ 4250077 w 4519987"/>
                    <a:gd name="connsiteY24" fmla="*/ 1143000 h 4496940"/>
                    <a:gd name="connsiteX25" fmla="*/ 4259602 w 4519987"/>
                    <a:gd name="connsiteY25" fmla="*/ 1190625 h 4496940"/>
                    <a:gd name="connsiteX26" fmla="*/ 4307227 w 4519987"/>
                    <a:gd name="connsiteY26" fmla="*/ 1266825 h 4496940"/>
                    <a:gd name="connsiteX27" fmla="*/ 4345327 w 4519987"/>
                    <a:gd name="connsiteY27" fmla="*/ 1362075 h 4496940"/>
                    <a:gd name="connsiteX28" fmla="*/ 4373902 w 4519987"/>
                    <a:gd name="connsiteY28" fmla="*/ 1428750 h 4496940"/>
                    <a:gd name="connsiteX29" fmla="*/ 4392952 w 4519987"/>
                    <a:gd name="connsiteY29" fmla="*/ 1552575 h 4496940"/>
                    <a:gd name="connsiteX30" fmla="*/ 4402477 w 4519987"/>
                    <a:gd name="connsiteY30" fmla="*/ 1590675 h 4496940"/>
                    <a:gd name="connsiteX31" fmla="*/ 4431052 w 4519987"/>
                    <a:gd name="connsiteY31" fmla="*/ 1685925 h 4496940"/>
                    <a:gd name="connsiteX32" fmla="*/ 4519952 w 4519987"/>
                    <a:gd name="connsiteY32" fmla="*/ 2181225 h 4496940"/>
                    <a:gd name="connsiteX33" fmla="*/ 4446927 w 4519987"/>
                    <a:gd name="connsiteY33" fmla="*/ 2768600 h 4496940"/>
                    <a:gd name="connsiteX34" fmla="*/ 4383427 w 4519987"/>
                    <a:gd name="connsiteY34" fmla="*/ 2990850 h 4496940"/>
                    <a:gd name="connsiteX35" fmla="*/ 4278652 w 4519987"/>
                    <a:gd name="connsiteY35" fmla="*/ 3248025 h 4496940"/>
                    <a:gd name="connsiteX36" fmla="*/ 4259602 w 4519987"/>
                    <a:gd name="connsiteY36" fmla="*/ 3276600 h 4496940"/>
                    <a:gd name="connsiteX37" fmla="*/ 4221502 w 4519987"/>
                    <a:gd name="connsiteY37" fmla="*/ 3333750 h 4496940"/>
                    <a:gd name="connsiteX38" fmla="*/ 4211977 w 4519987"/>
                    <a:gd name="connsiteY38" fmla="*/ 3362325 h 4496940"/>
                    <a:gd name="connsiteX39" fmla="*/ 4183402 w 4519987"/>
                    <a:gd name="connsiteY39" fmla="*/ 3400425 h 4496940"/>
                    <a:gd name="connsiteX40" fmla="*/ 4164352 w 4519987"/>
                    <a:gd name="connsiteY40" fmla="*/ 3429000 h 4496940"/>
                    <a:gd name="connsiteX41" fmla="*/ 4088152 w 4519987"/>
                    <a:gd name="connsiteY41" fmla="*/ 3495675 h 4496940"/>
                    <a:gd name="connsiteX42" fmla="*/ 4059577 w 4519987"/>
                    <a:gd name="connsiteY42" fmla="*/ 3533775 h 4496940"/>
                    <a:gd name="connsiteX43" fmla="*/ 4002427 w 4519987"/>
                    <a:gd name="connsiteY43" fmla="*/ 3600450 h 4496940"/>
                    <a:gd name="connsiteX44" fmla="*/ 3983377 w 4519987"/>
                    <a:gd name="connsiteY44" fmla="*/ 3629025 h 4496940"/>
                    <a:gd name="connsiteX45" fmla="*/ 3954802 w 4519987"/>
                    <a:gd name="connsiteY45" fmla="*/ 3648075 h 4496940"/>
                    <a:gd name="connsiteX46" fmla="*/ 3907177 w 4519987"/>
                    <a:gd name="connsiteY46" fmla="*/ 3686175 h 4496940"/>
                    <a:gd name="connsiteX47" fmla="*/ 3869077 w 4519987"/>
                    <a:gd name="connsiteY47" fmla="*/ 3724275 h 4496940"/>
                    <a:gd name="connsiteX48" fmla="*/ 3792877 w 4519987"/>
                    <a:gd name="connsiteY48" fmla="*/ 3781425 h 4496940"/>
                    <a:gd name="connsiteX49" fmla="*/ 3783352 w 4519987"/>
                    <a:gd name="connsiteY49" fmla="*/ 3810000 h 4496940"/>
                    <a:gd name="connsiteX50" fmla="*/ 3745252 w 4519987"/>
                    <a:gd name="connsiteY50" fmla="*/ 3819525 h 4496940"/>
                    <a:gd name="connsiteX51" fmla="*/ 3678577 w 4519987"/>
                    <a:gd name="connsiteY51" fmla="*/ 3848100 h 4496940"/>
                    <a:gd name="connsiteX52" fmla="*/ 3659527 w 4519987"/>
                    <a:gd name="connsiteY52" fmla="*/ 3971925 h 4496940"/>
                    <a:gd name="connsiteX53" fmla="*/ 3630952 w 4519987"/>
                    <a:gd name="connsiteY53" fmla="*/ 4010025 h 4496940"/>
                    <a:gd name="connsiteX54" fmla="*/ 3621427 w 4519987"/>
                    <a:gd name="connsiteY54" fmla="*/ 4038600 h 4496940"/>
                    <a:gd name="connsiteX55" fmla="*/ 3554752 w 4519987"/>
                    <a:gd name="connsiteY55" fmla="*/ 4095750 h 4496940"/>
                    <a:gd name="connsiteX56" fmla="*/ 3516652 w 4519987"/>
                    <a:gd name="connsiteY56" fmla="*/ 4114800 h 4496940"/>
                    <a:gd name="connsiteX57" fmla="*/ 3497602 w 4519987"/>
                    <a:gd name="connsiteY57" fmla="*/ 4143375 h 4496940"/>
                    <a:gd name="connsiteX58" fmla="*/ 3383302 w 4519987"/>
                    <a:gd name="connsiteY58" fmla="*/ 4210050 h 4496940"/>
                    <a:gd name="connsiteX59" fmla="*/ 3335677 w 4519987"/>
                    <a:gd name="connsiteY59" fmla="*/ 4238625 h 4496940"/>
                    <a:gd name="connsiteX60" fmla="*/ 3288052 w 4519987"/>
                    <a:gd name="connsiteY60" fmla="*/ 4248150 h 4496940"/>
                    <a:gd name="connsiteX61" fmla="*/ 3240427 w 4519987"/>
                    <a:gd name="connsiteY61" fmla="*/ 4267200 h 4496940"/>
                    <a:gd name="connsiteX62" fmla="*/ 3068977 w 4519987"/>
                    <a:gd name="connsiteY62" fmla="*/ 4286250 h 4496940"/>
                    <a:gd name="connsiteX63" fmla="*/ 2935627 w 4519987"/>
                    <a:gd name="connsiteY63" fmla="*/ 4333875 h 4496940"/>
                    <a:gd name="connsiteX64" fmla="*/ 2811802 w 4519987"/>
                    <a:gd name="connsiteY64" fmla="*/ 4371975 h 4496940"/>
                    <a:gd name="connsiteX65" fmla="*/ 2745127 w 4519987"/>
                    <a:gd name="connsiteY65" fmla="*/ 4410075 h 4496940"/>
                    <a:gd name="connsiteX66" fmla="*/ 2697502 w 4519987"/>
                    <a:gd name="connsiteY66" fmla="*/ 4429125 h 4496940"/>
                    <a:gd name="connsiteX67" fmla="*/ 2640352 w 4519987"/>
                    <a:gd name="connsiteY67" fmla="*/ 4457700 h 4496940"/>
                    <a:gd name="connsiteX68" fmla="*/ 2583202 w 4519987"/>
                    <a:gd name="connsiteY68" fmla="*/ 4467225 h 4496940"/>
                    <a:gd name="connsiteX69" fmla="*/ 2545102 w 4519987"/>
                    <a:gd name="connsiteY69" fmla="*/ 4486275 h 4496940"/>
                    <a:gd name="connsiteX70" fmla="*/ 2306977 w 4519987"/>
                    <a:gd name="connsiteY70" fmla="*/ 4476750 h 4496940"/>
                    <a:gd name="connsiteX71" fmla="*/ 2202202 w 4519987"/>
                    <a:gd name="connsiteY71" fmla="*/ 4457700 h 4496940"/>
                    <a:gd name="connsiteX72" fmla="*/ 2126002 w 4519987"/>
                    <a:gd name="connsiteY72" fmla="*/ 4429125 h 4496940"/>
                    <a:gd name="connsiteX73" fmla="*/ 1935502 w 4519987"/>
                    <a:gd name="connsiteY73" fmla="*/ 4400550 h 4496940"/>
                    <a:gd name="connsiteX74" fmla="*/ 1821202 w 4519987"/>
                    <a:gd name="connsiteY74" fmla="*/ 4371975 h 4496940"/>
                    <a:gd name="connsiteX75" fmla="*/ 1754527 w 4519987"/>
                    <a:gd name="connsiteY75" fmla="*/ 4352925 h 4496940"/>
                    <a:gd name="connsiteX76" fmla="*/ 1687852 w 4519987"/>
                    <a:gd name="connsiteY76" fmla="*/ 4343400 h 4496940"/>
                    <a:gd name="connsiteX77" fmla="*/ 1573552 w 4519987"/>
                    <a:gd name="connsiteY77" fmla="*/ 4305300 h 4496940"/>
                    <a:gd name="connsiteX78" fmla="*/ 1402102 w 4519987"/>
                    <a:gd name="connsiteY78" fmla="*/ 4276725 h 4496940"/>
                    <a:gd name="connsiteX79" fmla="*/ 1287802 w 4519987"/>
                    <a:gd name="connsiteY79" fmla="*/ 4229100 h 4496940"/>
                    <a:gd name="connsiteX80" fmla="*/ 1221127 w 4519987"/>
                    <a:gd name="connsiteY80" fmla="*/ 4200525 h 4496940"/>
                    <a:gd name="connsiteX81" fmla="*/ 1144927 w 4519987"/>
                    <a:gd name="connsiteY81" fmla="*/ 4171950 h 4496940"/>
                    <a:gd name="connsiteX82" fmla="*/ 1087777 w 4519987"/>
                    <a:gd name="connsiteY82" fmla="*/ 4143375 h 4496940"/>
                    <a:gd name="connsiteX83" fmla="*/ 1030627 w 4519987"/>
                    <a:gd name="connsiteY83" fmla="*/ 4124325 h 4496940"/>
                    <a:gd name="connsiteX84" fmla="*/ 925852 w 4519987"/>
                    <a:gd name="connsiteY84" fmla="*/ 4067175 h 4496940"/>
                    <a:gd name="connsiteX85" fmla="*/ 830602 w 4519987"/>
                    <a:gd name="connsiteY85" fmla="*/ 3981450 h 4496940"/>
                    <a:gd name="connsiteX86" fmla="*/ 763927 w 4519987"/>
                    <a:gd name="connsiteY86" fmla="*/ 3914775 h 4496940"/>
                    <a:gd name="connsiteX87" fmla="*/ 725827 w 4519987"/>
                    <a:gd name="connsiteY87" fmla="*/ 3876675 h 4496940"/>
                    <a:gd name="connsiteX88" fmla="*/ 697252 w 4519987"/>
                    <a:gd name="connsiteY88" fmla="*/ 3838575 h 4496940"/>
                    <a:gd name="connsiteX89" fmla="*/ 640102 w 4519987"/>
                    <a:gd name="connsiteY89" fmla="*/ 3781425 h 4496940"/>
                    <a:gd name="connsiteX90" fmla="*/ 611527 w 4519987"/>
                    <a:gd name="connsiteY90" fmla="*/ 3733800 h 4496940"/>
                    <a:gd name="connsiteX91" fmla="*/ 554377 w 4519987"/>
                    <a:gd name="connsiteY91" fmla="*/ 3657600 h 4496940"/>
                    <a:gd name="connsiteX92" fmla="*/ 525802 w 4519987"/>
                    <a:gd name="connsiteY92" fmla="*/ 3609975 h 4496940"/>
                    <a:gd name="connsiteX93" fmla="*/ 497227 w 4519987"/>
                    <a:gd name="connsiteY93" fmla="*/ 3552825 h 4496940"/>
                    <a:gd name="connsiteX94" fmla="*/ 440077 w 4519987"/>
                    <a:gd name="connsiteY94" fmla="*/ 3495675 h 4496940"/>
                    <a:gd name="connsiteX95" fmla="*/ 411502 w 4519987"/>
                    <a:gd name="connsiteY95" fmla="*/ 3448050 h 4496940"/>
                    <a:gd name="connsiteX96" fmla="*/ 278152 w 4519987"/>
                    <a:gd name="connsiteY96" fmla="*/ 3257550 h 4496940"/>
                    <a:gd name="connsiteX97" fmla="*/ 249577 w 4519987"/>
                    <a:gd name="connsiteY97" fmla="*/ 3200400 h 4496940"/>
                    <a:gd name="connsiteX98" fmla="*/ 240052 w 4519987"/>
                    <a:gd name="connsiteY98" fmla="*/ 3162300 h 4496940"/>
                    <a:gd name="connsiteX99" fmla="*/ 221002 w 4519987"/>
                    <a:gd name="connsiteY99" fmla="*/ 3105150 h 4496940"/>
                    <a:gd name="connsiteX100" fmla="*/ 173377 w 4519987"/>
                    <a:gd name="connsiteY100" fmla="*/ 3019425 h 4496940"/>
                    <a:gd name="connsiteX101" fmla="*/ 144802 w 4519987"/>
                    <a:gd name="connsiteY101" fmla="*/ 2924175 h 4496940"/>
                    <a:gd name="connsiteX102" fmla="*/ 68602 w 4519987"/>
                    <a:gd name="connsiteY102" fmla="*/ 2724150 h 4496940"/>
                    <a:gd name="connsiteX103" fmla="*/ 49552 w 4519987"/>
                    <a:gd name="connsiteY103" fmla="*/ 2638425 h 4496940"/>
                    <a:gd name="connsiteX104" fmla="*/ 40027 w 4519987"/>
                    <a:gd name="connsiteY104" fmla="*/ 2562225 h 4496940"/>
                    <a:gd name="connsiteX105" fmla="*/ 30502 w 4519987"/>
                    <a:gd name="connsiteY105" fmla="*/ 2514600 h 4496940"/>
                    <a:gd name="connsiteX106" fmla="*/ 11452 w 4519987"/>
                    <a:gd name="connsiteY106" fmla="*/ 2400300 h 4496940"/>
                    <a:gd name="connsiteX107" fmla="*/ 20977 w 4519987"/>
                    <a:gd name="connsiteY107" fmla="*/ 1905000 h 4496940"/>
                    <a:gd name="connsiteX108" fmla="*/ 30502 w 4519987"/>
                    <a:gd name="connsiteY108" fmla="*/ 1838325 h 4496940"/>
                    <a:gd name="connsiteX109" fmla="*/ 49552 w 4519987"/>
                    <a:gd name="connsiteY109" fmla="*/ 1781175 h 4496940"/>
                    <a:gd name="connsiteX110" fmla="*/ 59077 w 4519987"/>
                    <a:gd name="connsiteY110" fmla="*/ 1743075 h 4496940"/>
                    <a:gd name="connsiteX111" fmla="*/ 78127 w 4519987"/>
                    <a:gd name="connsiteY111" fmla="*/ 1685925 h 4496940"/>
                    <a:gd name="connsiteX112" fmla="*/ 87652 w 4519987"/>
                    <a:gd name="connsiteY112" fmla="*/ 1638300 h 4496940"/>
                    <a:gd name="connsiteX113" fmla="*/ 106702 w 4519987"/>
                    <a:gd name="connsiteY113" fmla="*/ 1590675 h 4496940"/>
                    <a:gd name="connsiteX114" fmla="*/ 135277 w 4519987"/>
                    <a:gd name="connsiteY114" fmla="*/ 1504950 h 4496940"/>
                    <a:gd name="connsiteX115" fmla="*/ 154327 w 4519987"/>
                    <a:gd name="connsiteY115" fmla="*/ 1419225 h 4496940"/>
                    <a:gd name="connsiteX116" fmla="*/ 230527 w 4519987"/>
                    <a:gd name="connsiteY116" fmla="*/ 1276350 h 4496940"/>
                    <a:gd name="connsiteX117" fmla="*/ 240052 w 4519987"/>
                    <a:gd name="connsiteY117" fmla="*/ 1247775 h 4496940"/>
                    <a:gd name="connsiteX118" fmla="*/ 268627 w 4519987"/>
                    <a:gd name="connsiteY118" fmla="*/ 1200150 h 4496940"/>
                    <a:gd name="connsiteX119" fmla="*/ 287677 w 4519987"/>
                    <a:gd name="connsiteY119" fmla="*/ 1152525 h 4496940"/>
                    <a:gd name="connsiteX120" fmla="*/ 316252 w 4519987"/>
                    <a:gd name="connsiteY120" fmla="*/ 1114425 h 4496940"/>
                    <a:gd name="connsiteX121" fmla="*/ 363877 w 4519987"/>
                    <a:gd name="connsiteY121" fmla="*/ 1038225 h 4496940"/>
                    <a:gd name="connsiteX122" fmla="*/ 382927 w 4519987"/>
                    <a:gd name="connsiteY122" fmla="*/ 1009650 h 4496940"/>
                    <a:gd name="connsiteX123" fmla="*/ 440077 w 4519987"/>
                    <a:gd name="connsiteY123" fmla="*/ 904875 h 4496940"/>
                    <a:gd name="connsiteX124" fmla="*/ 478177 w 4519987"/>
                    <a:gd name="connsiteY124" fmla="*/ 857250 h 4496940"/>
                    <a:gd name="connsiteX125" fmla="*/ 497227 w 4519987"/>
                    <a:gd name="connsiteY125" fmla="*/ 828675 h 4496940"/>
                    <a:gd name="connsiteX126" fmla="*/ 535327 w 4519987"/>
                    <a:gd name="connsiteY126" fmla="*/ 800100 h 4496940"/>
                    <a:gd name="connsiteX127" fmla="*/ 602002 w 4519987"/>
                    <a:gd name="connsiteY127" fmla="*/ 733425 h 4496940"/>
                    <a:gd name="connsiteX128" fmla="*/ 668677 w 4519987"/>
                    <a:gd name="connsiteY128" fmla="*/ 676275 h 4496940"/>
                    <a:gd name="connsiteX129" fmla="*/ 697252 w 4519987"/>
                    <a:gd name="connsiteY129" fmla="*/ 657225 h 4496940"/>
                    <a:gd name="connsiteX130" fmla="*/ 840127 w 4519987"/>
                    <a:gd name="connsiteY130" fmla="*/ 533400 h 4496940"/>
                    <a:gd name="connsiteX131" fmla="*/ 887752 w 4519987"/>
                    <a:gd name="connsiteY131" fmla="*/ 504825 h 4496940"/>
                    <a:gd name="connsiteX132" fmla="*/ 1167152 w 4519987"/>
                    <a:gd name="connsiteY132" fmla="*/ 311150 h 4496940"/>
                    <a:gd name="connsiteX133" fmla="*/ 1268752 w 4519987"/>
                    <a:gd name="connsiteY133" fmla="*/ 285750 h 4496940"/>
                    <a:gd name="connsiteX134" fmla="*/ 1411627 w 4519987"/>
                    <a:gd name="connsiteY134" fmla="*/ 190500 h 4496940"/>
                    <a:gd name="connsiteX135" fmla="*/ 1449727 w 4519987"/>
                    <a:gd name="connsiteY135" fmla="*/ 161925 h 4496940"/>
                    <a:gd name="connsiteX136" fmla="*/ 1525927 w 4519987"/>
                    <a:gd name="connsiteY136" fmla="*/ 152400 h 4496940"/>
                    <a:gd name="connsiteX137" fmla="*/ 1583077 w 4519987"/>
                    <a:gd name="connsiteY137" fmla="*/ 142875 h 4496940"/>
                    <a:gd name="connsiteX138" fmla="*/ 1716427 w 4519987"/>
                    <a:gd name="connsiteY138" fmla="*/ 123825 h 4496940"/>
                    <a:gd name="connsiteX139" fmla="*/ 1811677 w 4519987"/>
                    <a:gd name="connsiteY139" fmla="*/ 114300 h 4496940"/>
                    <a:gd name="connsiteX140" fmla="*/ 1859302 w 4519987"/>
                    <a:gd name="connsiteY140" fmla="*/ 104775 h 4496940"/>
                    <a:gd name="connsiteX141" fmla="*/ 1916452 w 4519987"/>
                    <a:gd name="connsiteY141" fmla="*/ 95250 h 4496940"/>
                    <a:gd name="connsiteX142" fmla="*/ 2030752 w 4519987"/>
                    <a:gd name="connsiteY142" fmla="*/ 66675 h 4496940"/>
                    <a:gd name="connsiteX143" fmla="*/ 2097427 w 4519987"/>
                    <a:gd name="connsiteY143" fmla="*/ 47625 h 4496940"/>
                    <a:gd name="connsiteX144" fmla="*/ 2164102 w 4519987"/>
                    <a:gd name="connsiteY144" fmla="*/ 38100 h 4496940"/>
                    <a:gd name="connsiteX145" fmla="*/ 2392702 w 4519987"/>
                    <a:gd name="connsiteY14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259602 w 4519987"/>
                    <a:gd name="connsiteY24" fmla="*/ 1190625 h 4496940"/>
                    <a:gd name="connsiteX25" fmla="*/ 4307227 w 4519987"/>
                    <a:gd name="connsiteY25" fmla="*/ 1266825 h 4496940"/>
                    <a:gd name="connsiteX26" fmla="*/ 4345327 w 4519987"/>
                    <a:gd name="connsiteY26" fmla="*/ 1362075 h 4496940"/>
                    <a:gd name="connsiteX27" fmla="*/ 4373902 w 4519987"/>
                    <a:gd name="connsiteY27" fmla="*/ 1428750 h 4496940"/>
                    <a:gd name="connsiteX28" fmla="*/ 4392952 w 4519987"/>
                    <a:gd name="connsiteY28" fmla="*/ 1552575 h 4496940"/>
                    <a:gd name="connsiteX29" fmla="*/ 4402477 w 4519987"/>
                    <a:gd name="connsiteY29" fmla="*/ 1590675 h 4496940"/>
                    <a:gd name="connsiteX30" fmla="*/ 4431052 w 4519987"/>
                    <a:gd name="connsiteY30" fmla="*/ 1685925 h 4496940"/>
                    <a:gd name="connsiteX31" fmla="*/ 4519952 w 4519987"/>
                    <a:gd name="connsiteY31" fmla="*/ 2181225 h 4496940"/>
                    <a:gd name="connsiteX32" fmla="*/ 4446927 w 4519987"/>
                    <a:gd name="connsiteY32" fmla="*/ 2768600 h 4496940"/>
                    <a:gd name="connsiteX33" fmla="*/ 4383427 w 4519987"/>
                    <a:gd name="connsiteY33" fmla="*/ 2990850 h 4496940"/>
                    <a:gd name="connsiteX34" fmla="*/ 4278652 w 4519987"/>
                    <a:gd name="connsiteY34" fmla="*/ 3248025 h 4496940"/>
                    <a:gd name="connsiteX35" fmla="*/ 4259602 w 4519987"/>
                    <a:gd name="connsiteY35" fmla="*/ 3276600 h 4496940"/>
                    <a:gd name="connsiteX36" fmla="*/ 4221502 w 4519987"/>
                    <a:gd name="connsiteY36" fmla="*/ 3333750 h 4496940"/>
                    <a:gd name="connsiteX37" fmla="*/ 4211977 w 4519987"/>
                    <a:gd name="connsiteY37" fmla="*/ 3362325 h 4496940"/>
                    <a:gd name="connsiteX38" fmla="*/ 4183402 w 4519987"/>
                    <a:gd name="connsiteY38" fmla="*/ 3400425 h 4496940"/>
                    <a:gd name="connsiteX39" fmla="*/ 4164352 w 4519987"/>
                    <a:gd name="connsiteY39" fmla="*/ 3429000 h 4496940"/>
                    <a:gd name="connsiteX40" fmla="*/ 4088152 w 4519987"/>
                    <a:gd name="connsiteY40" fmla="*/ 3495675 h 4496940"/>
                    <a:gd name="connsiteX41" fmla="*/ 4059577 w 4519987"/>
                    <a:gd name="connsiteY41" fmla="*/ 3533775 h 4496940"/>
                    <a:gd name="connsiteX42" fmla="*/ 4002427 w 4519987"/>
                    <a:gd name="connsiteY42" fmla="*/ 3600450 h 4496940"/>
                    <a:gd name="connsiteX43" fmla="*/ 3983377 w 4519987"/>
                    <a:gd name="connsiteY43" fmla="*/ 3629025 h 4496940"/>
                    <a:gd name="connsiteX44" fmla="*/ 3954802 w 4519987"/>
                    <a:gd name="connsiteY44" fmla="*/ 3648075 h 4496940"/>
                    <a:gd name="connsiteX45" fmla="*/ 3907177 w 4519987"/>
                    <a:gd name="connsiteY45" fmla="*/ 3686175 h 4496940"/>
                    <a:gd name="connsiteX46" fmla="*/ 3869077 w 4519987"/>
                    <a:gd name="connsiteY46" fmla="*/ 3724275 h 4496940"/>
                    <a:gd name="connsiteX47" fmla="*/ 3792877 w 4519987"/>
                    <a:gd name="connsiteY47" fmla="*/ 3781425 h 4496940"/>
                    <a:gd name="connsiteX48" fmla="*/ 3783352 w 4519987"/>
                    <a:gd name="connsiteY48" fmla="*/ 3810000 h 4496940"/>
                    <a:gd name="connsiteX49" fmla="*/ 3745252 w 4519987"/>
                    <a:gd name="connsiteY49" fmla="*/ 3819525 h 4496940"/>
                    <a:gd name="connsiteX50" fmla="*/ 3678577 w 4519987"/>
                    <a:gd name="connsiteY50" fmla="*/ 3848100 h 4496940"/>
                    <a:gd name="connsiteX51" fmla="*/ 3659527 w 4519987"/>
                    <a:gd name="connsiteY51" fmla="*/ 3971925 h 4496940"/>
                    <a:gd name="connsiteX52" fmla="*/ 3630952 w 4519987"/>
                    <a:gd name="connsiteY52" fmla="*/ 4010025 h 4496940"/>
                    <a:gd name="connsiteX53" fmla="*/ 3621427 w 4519987"/>
                    <a:gd name="connsiteY53" fmla="*/ 4038600 h 4496940"/>
                    <a:gd name="connsiteX54" fmla="*/ 3554752 w 4519987"/>
                    <a:gd name="connsiteY54" fmla="*/ 4095750 h 4496940"/>
                    <a:gd name="connsiteX55" fmla="*/ 3516652 w 4519987"/>
                    <a:gd name="connsiteY55" fmla="*/ 4114800 h 4496940"/>
                    <a:gd name="connsiteX56" fmla="*/ 3497602 w 4519987"/>
                    <a:gd name="connsiteY56" fmla="*/ 4143375 h 4496940"/>
                    <a:gd name="connsiteX57" fmla="*/ 3383302 w 4519987"/>
                    <a:gd name="connsiteY57" fmla="*/ 4210050 h 4496940"/>
                    <a:gd name="connsiteX58" fmla="*/ 3335677 w 4519987"/>
                    <a:gd name="connsiteY58" fmla="*/ 4238625 h 4496940"/>
                    <a:gd name="connsiteX59" fmla="*/ 3288052 w 4519987"/>
                    <a:gd name="connsiteY59" fmla="*/ 4248150 h 4496940"/>
                    <a:gd name="connsiteX60" fmla="*/ 3240427 w 4519987"/>
                    <a:gd name="connsiteY60" fmla="*/ 4267200 h 4496940"/>
                    <a:gd name="connsiteX61" fmla="*/ 3068977 w 4519987"/>
                    <a:gd name="connsiteY61" fmla="*/ 4286250 h 4496940"/>
                    <a:gd name="connsiteX62" fmla="*/ 2935627 w 4519987"/>
                    <a:gd name="connsiteY62" fmla="*/ 4333875 h 4496940"/>
                    <a:gd name="connsiteX63" fmla="*/ 2811802 w 4519987"/>
                    <a:gd name="connsiteY63" fmla="*/ 4371975 h 4496940"/>
                    <a:gd name="connsiteX64" fmla="*/ 2745127 w 4519987"/>
                    <a:gd name="connsiteY64" fmla="*/ 4410075 h 4496940"/>
                    <a:gd name="connsiteX65" fmla="*/ 2697502 w 4519987"/>
                    <a:gd name="connsiteY65" fmla="*/ 4429125 h 4496940"/>
                    <a:gd name="connsiteX66" fmla="*/ 2640352 w 4519987"/>
                    <a:gd name="connsiteY66" fmla="*/ 4457700 h 4496940"/>
                    <a:gd name="connsiteX67" fmla="*/ 2583202 w 4519987"/>
                    <a:gd name="connsiteY67" fmla="*/ 4467225 h 4496940"/>
                    <a:gd name="connsiteX68" fmla="*/ 2545102 w 4519987"/>
                    <a:gd name="connsiteY68" fmla="*/ 4486275 h 4496940"/>
                    <a:gd name="connsiteX69" fmla="*/ 2306977 w 4519987"/>
                    <a:gd name="connsiteY69" fmla="*/ 4476750 h 4496940"/>
                    <a:gd name="connsiteX70" fmla="*/ 2202202 w 4519987"/>
                    <a:gd name="connsiteY70" fmla="*/ 4457700 h 4496940"/>
                    <a:gd name="connsiteX71" fmla="*/ 2126002 w 4519987"/>
                    <a:gd name="connsiteY71" fmla="*/ 4429125 h 4496940"/>
                    <a:gd name="connsiteX72" fmla="*/ 1935502 w 4519987"/>
                    <a:gd name="connsiteY72" fmla="*/ 4400550 h 4496940"/>
                    <a:gd name="connsiteX73" fmla="*/ 1821202 w 4519987"/>
                    <a:gd name="connsiteY73" fmla="*/ 4371975 h 4496940"/>
                    <a:gd name="connsiteX74" fmla="*/ 1754527 w 4519987"/>
                    <a:gd name="connsiteY74" fmla="*/ 4352925 h 4496940"/>
                    <a:gd name="connsiteX75" fmla="*/ 1687852 w 4519987"/>
                    <a:gd name="connsiteY75" fmla="*/ 4343400 h 4496940"/>
                    <a:gd name="connsiteX76" fmla="*/ 1573552 w 4519987"/>
                    <a:gd name="connsiteY76" fmla="*/ 4305300 h 4496940"/>
                    <a:gd name="connsiteX77" fmla="*/ 1402102 w 4519987"/>
                    <a:gd name="connsiteY77" fmla="*/ 4276725 h 4496940"/>
                    <a:gd name="connsiteX78" fmla="*/ 1287802 w 4519987"/>
                    <a:gd name="connsiteY78" fmla="*/ 4229100 h 4496940"/>
                    <a:gd name="connsiteX79" fmla="*/ 1221127 w 4519987"/>
                    <a:gd name="connsiteY79" fmla="*/ 4200525 h 4496940"/>
                    <a:gd name="connsiteX80" fmla="*/ 1144927 w 4519987"/>
                    <a:gd name="connsiteY80" fmla="*/ 4171950 h 4496940"/>
                    <a:gd name="connsiteX81" fmla="*/ 1087777 w 4519987"/>
                    <a:gd name="connsiteY81" fmla="*/ 4143375 h 4496940"/>
                    <a:gd name="connsiteX82" fmla="*/ 1030627 w 4519987"/>
                    <a:gd name="connsiteY82" fmla="*/ 4124325 h 4496940"/>
                    <a:gd name="connsiteX83" fmla="*/ 925852 w 4519987"/>
                    <a:gd name="connsiteY83" fmla="*/ 4067175 h 4496940"/>
                    <a:gd name="connsiteX84" fmla="*/ 830602 w 4519987"/>
                    <a:gd name="connsiteY84" fmla="*/ 3981450 h 4496940"/>
                    <a:gd name="connsiteX85" fmla="*/ 763927 w 4519987"/>
                    <a:gd name="connsiteY85" fmla="*/ 3914775 h 4496940"/>
                    <a:gd name="connsiteX86" fmla="*/ 725827 w 4519987"/>
                    <a:gd name="connsiteY86" fmla="*/ 3876675 h 4496940"/>
                    <a:gd name="connsiteX87" fmla="*/ 697252 w 4519987"/>
                    <a:gd name="connsiteY87" fmla="*/ 3838575 h 4496940"/>
                    <a:gd name="connsiteX88" fmla="*/ 640102 w 4519987"/>
                    <a:gd name="connsiteY88" fmla="*/ 3781425 h 4496940"/>
                    <a:gd name="connsiteX89" fmla="*/ 611527 w 4519987"/>
                    <a:gd name="connsiteY89" fmla="*/ 3733800 h 4496940"/>
                    <a:gd name="connsiteX90" fmla="*/ 554377 w 4519987"/>
                    <a:gd name="connsiteY90" fmla="*/ 3657600 h 4496940"/>
                    <a:gd name="connsiteX91" fmla="*/ 525802 w 4519987"/>
                    <a:gd name="connsiteY91" fmla="*/ 3609975 h 4496940"/>
                    <a:gd name="connsiteX92" fmla="*/ 497227 w 4519987"/>
                    <a:gd name="connsiteY92" fmla="*/ 3552825 h 4496940"/>
                    <a:gd name="connsiteX93" fmla="*/ 440077 w 4519987"/>
                    <a:gd name="connsiteY93" fmla="*/ 3495675 h 4496940"/>
                    <a:gd name="connsiteX94" fmla="*/ 411502 w 4519987"/>
                    <a:gd name="connsiteY94" fmla="*/ 3448050 h 4496940"/>
                    <a:gd name="connsiteX95" fmla="*/ 278152 w 4519987"/>
                    <a:gd name="connsiteY95" fmla="*/ 3257550 h 4496940"/>
                    <a:gd name="connsiteX96" fmla="*/ 249577 w 4519987"/>
                    <a:gd name="connsiteY96" fmla="*/ 3200400 h 4496940"/>
                    <a:gd name="connsiteX97" fmla="*/ 240052 w 4519987"/>
                    <a:gd name="connsiteY97" fmla="*/ 3162300 h 4496940"/>
                    <a:gd name="connsiteX98" fmla="*/ 221002 w 4519987"/>
                    <a:gd name="connsiteY98" fmla="*/ 3105150 h 4496940"/>
                    <a:gd name="connsiteX99" fmla="*/ 173377 w 4519987"/>
                    <a:gd name="connsiteY99" fmla="*/ 3019425 h 4496940"/>
                    <a:gd name="connsiteX100" fmla="*/ 144802 w 4519987"/>
                    <a:gd name="connsiteY100" fmla="*/ 2924175 h 4496940"/>
                    <a:gd name="connsiteX101" fmla="*/ 68602 w 4519987"/>
                    <a:gd name="connsiteY101" fmla="*/ 2724150 h 4496940"/>
                    <a:gd name="connsiteX102" fmla="*/ 49552 w 4519987"/>
                    <a:gd name="connsiteY102" fmla="*/ 2638425 h 4496940"/>
                    <a:gd name="connsiteX103" fmla="*/ 40027 w 4519987"/>
                    <a:gd name="connsiteY103" fmla="*/ 2562225 h 4496940"/>
                    <a:gd name="connsiteX104" fmla="*/ 30502 w 4519987"/>
                    <a:gd name="connsiteY104" fmla="*/ 2514600 h 4496940"/>
                    <a:gd name="connsiteX105" fmla="*/ 11452 w 4519987"/>
                    <a:gd name="connsiteY105" fmla="*/ 2400300 h 4496940"/>
                    <a:gd name="connsiteX106" fmla="*/ 20977 w 4519987"/>
                    <a:gd name="connsiteY106" fmla="*/ 1905000 h 4496940"/>
                    <a:gd name="connsiteX107" fmla="*/ 30502 w 4519987"/>
                    <a:gd name="connsiteY107" fmla="*/ 1838325 h 4496940"/>
                    <a:gd name="connsiteX108" fmla="*/ 49552 w 4519987"/>
                    <a:gd name="connsiteY108" fmla="*/ 1781175 h 4496940"/>
                    <a:gd name="connsiteX109" fmla="*/ 59077 w 4519987"/>
                    <a:gd name="connsiteY109" fmla="*/ 1743075 h 4496940"/>
                    <a:gd name="connsiteX110" fmla="*/ 78127 w 4519987"/>
                    <a:gd name="connsiteY110" fmla="*/ 1685925 h 4496940"/>
                    <a:gd name="connsiteX111" fmla="*/ 87652 w 4519987"/>
                    <a:gd name="connsiteY111" fmla="*/ 1638300 h 4496940"/>
                    <a:gd name="connsiteX112" fmla="*/ 106702 w 4519987"/>
                    <a:gd name="connsiteY112" fmla="*/ 1590675 h 4496940"/>
                    <a:gd name="connsiteX113" fmla="*/ 135277 w 4519987"/>
                    <a:gd name="connsiteY113" fmla="*/ 1504950 h 4496940"/>
                    <a:gd name="connsiteX114" fmla="*/ 154327 w 4519987"/>
                    <a:gd name="connsiteY114" fmla="*/ 1419225 h 4496940"/>
                    <a:gd name="connsiteX115" fmla="*/ 230527 w 4519987"/>
                    <a:gd name="connsiteY115" fmla="*/ 1276350 h 4496940"/>
                    <a:gd name="connsiteX116" fmla="*/ 240052 w 4519987"/>
                    <a:gd name="connsiteY116" fmla="*/ 1247775 h 4496940"/>
                    <a:gd name="connsiteX117" fmla="*/ 268627 w 4519987"/>
                    <a:gd name="connsiteY117" fmla="*/ 1200150 h 4496940"/>
                    <a:gd name="connsiteX118" fmla="*/ 287677 w 4519987"/>
                    <a:gd name="connsiteY118" fmla="*/ 1152525 h 4496940"/>
                    <a:gd name="connsiteX119" fmla="*/ 316252 w 4519987"/>
                    <a:gd name="connsiteY119" fmla="*/ 1114425 h 4496940"/>
                    <a:gd name="connsiteX120" fmla="*/ 363877 w 4519987"/>
                    <a:gd name="connsiteY120" fmla="*/ 1038225 h 4496940"/>
                    <a:gd name="connsiteX121" fmla="*/ 382927 w 4519987"/>
                    <a:gd name="connsiteY121" fmla="*/ 1009650 h 4496940"/>
                    <a:gd name="connsiteX122" fmla="*/ 440077 w 4519987"/>
                    <a:gd name="connsiteY122" fmla="*/ 904875 h 4496940"/>
                    <a:gd name="connsiteX123" fmla="*/ 478177 w 4519987"/>
                    <a:gd name="connsiteY123" fmla="*/ 857250 h 4496940"/>
                    <a:gd name="connsiteX124" fmla="*/ 497227 w 4519987"/>
                    <a:gd name="connsiteY124" fmla="*/ 828675 h 4496940"/>
                    <a:gd name="connsiteX125" fmla="*/ 535327 w 4519987"/>
                    <a:gd name="connsiteY125" fmla="*/ 800100 h 4496940"/>
                    <a:gd name="connsiteX126" fmla="*/ 602002 w 4519987"/>
                    <a:gd name="connsiteY126" fmla="*/ 733425 h 4496940"/>
                    <a:gd name="connsiteX127" fmla="*/ 668677 w 4519987"/>
                    <a:gd name="connsiteY127" fmla="*/ 676275 h 4496940"/>
                    <a:gd name="connsiteX128" fmla="*/ 697252 w 4519987"/>
                    <a:gd name="connsiteY128" fmla="*/ 657225 h 4496940"/>
                    <a:gd name="connsiteX129" fmla="*/ 840127 w 4519987"/>
                    <a:gd name="connsiteY129" fmla="*/ 533400 h 4496940"/>
                    <a:gd name="connsiteX130" fmla="*/ 887752 w 4519987"/>
                    <a:gd name="connsiteY130" fmla="*/ 504825 h 4496940"/>
                    <a:gd name="connsiteX131" fmla="*/ 1167152 w 4519987"/>
                    <a:gd name="connsiteY131" fmla="*/ 311150 h 4496940"/>
                    <a:gd name="connsiteX132" fmla="*/ 1268752 w 4519987"/>
                    <a:gd name="connsiteY132" fmla="*/ 285750 h 4496940"/>
                    <a:gd name="connsiteX133" fmla="*/ 1411627 w 4519987"/>
                    <a:gd name="connsiteY133" fmla="*/ 190500 h 4496940"/>
                    <a:gd name="connsiteX134" fmla="*/ 1449727 w 4519987"/>
                    <a:gd name="connsiteY134" fmla="*/ 161925 h 4496940"/>
                    <a:gd name="connsiteX135" fmla="*/ 1525927 w 4519987"/>
                    <a:gd name="connsiteY135" fmla="*/ 152400 h 4496940"/>
                    <a:gd name="connsiteX136" fmla="*/ 1583077 w 4519987"/>
                    <a:gd name="connsiteY136" fmla="*/ 142875 h 4496940"/>
                    <a:gd name="connsiteX137" fmla="*/ 1716427 w 4519987"/>
                    <a:gd name="connsiteY137" fmla="*/ 123825 h 4496940"/>
                    <a:gd name="connsiteX138" fmla="*/ 1811677 w 4519987"/>
                    <a:gd name="connsiteY138" fmla="*/ 114300 h 4496940"/>
                    <a:gd name="connsiteX139" fmla="*/ 1859302 w 4519987"/>
                    <a:gd name="connsiteY139" fmla="*/ 104775 h 4496940"/>
                    <a:gd name="connsiteX140" fmla="*/ 1916452 w 4519987"/>
                    <a:gd name="connsiteY140" fmla="*/ 95250 h 4496940"/>
                    <a:gd name="connsiteX141" fmla="*/ 2030752 w 4519987"/>
                    <a:gd name="connsiteY141" fmla="*/ 66675 h 4496940"/>
                    <a:gd name="connsiteX142" fmla="*/ 2097427 w 4519987"/>
                    <a:gd name="connsiteY142" fmla="*/ 47625 h 4496940"/>
                    <a:gd name="connsiteX143" fmla="*/ 2164102 w 4519987"/>
                    <a:gd name="connsiteY143" fmla="*/ 38100 h 4496940"/>
                    <a:gd name="connsiteX144" fmla="*/ 2392702 w 4519987"/>
                    <a:gd name="connsiteY14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73902 w 4519987"/>
                    <a:gd name="connsiteY26" fmla="*/ 1428750 h 4496940"/>
                    <a:gd name="connsiteX27" fmla="*/ 4392952 w 4519987"/>
                    <a:gd name="connsiteY27" fmla="*/ 1552575 h 4496940"/>
                    <a:gd name="connsiteX28" fmla="*/ 4402477 w 4519987"/>
                    <a:gd name="connsiteY28" fmla="*/ 1590675 h 4496940"/>
                    <a:gd name="connsiteX29" fmla="*/ 4431052 w 4519987"/>
                    <a:gd name="connsiteY29" fmla="*/ 1685925 h 4496940"/>
                    <a:gd name="connsiteX30" fmla="*/ 4519952 w 4519987"/>
                    <a:gd name="connsiteY30" fmla="*/ 2181225 h 4496940"/>
                    <a:gd name="connsiteX31" fmla="*/ 4446927 w 4519987"/>
                    <a:gd name="connsiteY31" fmla="*/ 2768600 h 4496940"/>
                    <a:gd name="connsiteX32" fmla="*/ 4383427 w 4519987"/>
                    <a:gd name="connsiteY32" fmla="*/ 2990850 h 4496940"/>
                    <a:gd name="connsiteX33" fmla="*/ 4278652 w 4519987"/>
                    <a:gd name="connsiteY33" fmla="*/ 3248025 h 4496940"/>
                    <a:gd name="connsiteX34" fmla="*/ 4259602 w 4519987"/>
                    <a:gd name="connsiteY34" fmla="*/ 3276600 h 4496940"/>
                    <a:gd name="connsiteX35" fmla="*/ 4221502 w 4519987"/>
                    <a:gd name="connsiteY35" fmla="*/ 3333750 h 4496940"/>
                    <a:gd name="connsiteX36" fmla="*/ 4211977 w 4519987"/>
                    <a:gd name="connsiteY36" fmla="*/ 3362325 h 4496940"/>
                    <a:gd name="connsiteX37" fmla="*/ 4183402 w 4519987"/>
                    <a:gd name="connsiteY37" fmla="*/ 3400425 h 4496940"/>
                    <a:gd name="connsiteX38" fmla="*/ 4164352 w 4519987"/>
                    <a:gd name="connsiteY38" fmla="*/ 3429000 h 4496940"/>
                    <a:gd name="connsiteX39" fmla="*/ 4088152 w 4519987"/>
                    <a:gd name="connsiteY39" fmla="*/ 3495675 h 4496940"/>
                    <a:gd name="connsiteX40" fmla="*/ 4059577 w 4519987"/>
                    <a:gd name="connsiteY40" fmla="*/ 3533775 h 4496940"/>
                    <a:gd name="connsiteX41" fmla="*/ 4002427 w 4519987"/>
                    <a:gd name="connsiteY41" fmla="*/ 3600450 h 4496940"/>
                    <a:gd name="connsiteX42" fmla="*/ 3983377 w 4519987"/>
                    <a:gd name="connsiteY42" fmla="*/ 3629025 h 4496940"/>
                    <a:gd name="connsiteX43" fmla="*/ 3954802 w 4519987"/>
                    <a:gd name="connsiteY43" fmla="*/ 3648075 h 4496940"/>
                    <a:gd name="connsiteX44" fmla="*/ 3907177 w 4519987"/>
                    <a:gd name="connsiteY44" fmla="*/ 3686175 h 4496940"/>
                    <a:gd name="connsiteX45" fmla="*/ 3869077 w 4519987"/>
                    <a:gd name="connsiteY45" fmla="*/ 3724275 h 4496940"/>
                    <a:gd name="connsiteX46" fmla="*/ 3792877 w 4519987"/>
                    <a:gd name="connsiteY46" fmla="*/ 3781425 h 4496940"/>
                    <a:gd name="connsiteX47" fmla="*/ 3783352 w 4519987"/>
                    <a:gd name="connsiteY47" fmla="*/ 3810000 h 4496940"/>
                    <a:gd name="connsiteX48" fmla="*/ 3745252 w 4519987"/>
                    <a:gd name="connsiteY48" fmla="*/ 3819525 h 4496940"/>
                    <a:gd name="connsiteX49" fmla="*/ 3678577 w 4519987"/>
                    <a:gd name="connsiteY49" fmla="*/ 3848100 h 4496940"/>
                    <a:gd name="connsiteX50" fmla="*/ 3659527 w 4519987"/>
                    <a:gd name="connsiteY50" fmla="*/ 3971925 h 4496940"/>
                    <a:gd name="connsiteX51" fmla="*/ 3630952 w 4519987"/>
                    <a:gd name="connsiteY51" fmla="*/ 4010025 h 4496940"/>
                    <a:gd name="connsiteX52" fmla="*/ 3621427 w 4519987"/>
                    <a:gd name="connsiteY52" fmla="*/ 4038600 h 4496940"/>
                    <a:gd name="connsiteX53" fmla="*/ 3554752 w 4519987"/>
                    <a:gd name="connsiteY53" fmla="*/ 4095750 h 4496940"/>
                    <a:gd name="connsiteX54" fmla="*/ 3516652 w 4519987"/>
                    <a:gd name="connsiteY54" fmla="*/ 4114800 h 4496940"/>
                    <a:gd name="connsiteX55" fmla="*/ 3497602 w 4519987"/>
                    <a:gd name="connsiteY55" fmla="*/ 4143375 h 4496940"/>
                    <a:gd name="connsiteX56" fmla="*/ 3383302 w 4519987"/>
                    <a:gd name="connsiteY56" fmla="*/ 4210050 h 4496940"/>
                    <a:gd name="connsiteX57" fmla="*/ 3335677 w 4519987"/>
                    <a:gd name="connsiteY57" fmla="*/ 4238625 h 4496940"/>
                    <a:gd name="connsiteX58" fmla="*/ 3288052 w 4519987"/>
                    <a:gd name="connsiteY58" fmla="*/ 4248150 h 4496940"/>
                    <a:gd name="connsiteX59" fmla="*/ 3240427 w 4519987"/>
                    <a:gd name="connsiteY59" fmla="*/ 4267200 h 4496940"/>
                    <a:gd name="connsiteX60" fmla="*/ 3068977 w 4519987"/>
                    <a:gd name="connsiteY60" fmla="*/ 4286250 h 4496940"/>
                    <a:gd name="connsiteX61" fmla="*/ 2935627 w 4519987"/>
                    <a:gd name="connsiteY61" fmla="*/ 4333875 h 4496940"/>
                    <a:gd name="connsiteX62" fmla="*/ 2811802 w 4519987"/>
                    <a:gd name="connsiteY62" fmla="*/ 4371975 h 4496940"/>
                    <a:gd name="connsiteX63" fmla="*/ 2745127 w 4519987"/>
                    <a:gd name="connsiteY63" fmla="*/ 4410075 h 4496940"/>
                    <a:gd name="connsiteX64" fmla="*/ 2697502 w 4519987"/>
                    <a:gd name="connsiteY64" fmla="*/ 4429125 h 4496940"/>
                    <a:gd name="connsiteX65" fmla="*/ 2640352 w 4519987"/>
                    <a:gd name="connsiteY65" fmla="*/ 4457700 h 4496940"/>
                    <a:gd name="connsiteX66" fmla="*/ 2583202 w 4519987"/>
                    <a:gd name="connsiteY66" fmla="*/ 4467225 h 4496940"/>
                    <a:gd name="connsiteX67" fmla="*/ 2545102 w 4519987"/>
                    <a:gd name="connsiteY67" fmla="*/ 4486275 h 4496940"/>
                    <a:gd name="connsiteX68" fmla="*/ 2306977 w 4519987"/>
                    <a:gd name="connsiteY68" fmla="*/ 4476750 h 4496940"/>
                    <a:gd name="connsiteX69" fmla="*/ 2202202 w 4519987"/>
                    <a:gd name="connsiteY69" fmla="*/ 4457700 h 4496940"/>
                    <a:gd name="connsiteX70" fmla="*/ 2126002 w 4519987"/>
                    <a:gd name="connsiteY70" fmla="*/ 4429125 h 4496940"/>
                    <a:gd name="connsiteX71" fmla="*/ 1935502 w 4519987"/>
                    <a:gd name="connsiteY71" fmla="*/ 4400550 h 4496940"/>
                    <a:gd name="connsiteX72" fmla="*/ 1821202 w 4519987"/>
                    <a:gd name="connsiteY72" fmla="*/ 4371975 h 4496940"/>
                    <a:gd name="connsiteX73" fmla="*/ 1754527 w 4519987"/>
                    <a:gd name="connsiteY73" fmla="*/ 4352925 h 4496940"/>
                    <a:gd name="connsiteX74" fmla="*/ 1687852 w 4519987"/>
                    <a:gd name="connsiteY74" fmla="*/ 4343400 h 4496940"/>
                    <a:gd name="connsiteX75" fmla="*/ 1573552 w 4519987"/>
                    <a:gd name="connsiteY75" fmla="*/ 4305300 h 4496940"/>
                    <a:gd name="connsiteX76" fmla="*/ 1402102 w 4519987"/>
                    <a:gd name="connsiteY76" fmla="*/ 4276725 h 4496940"/>
                    <a:gd name="connsiteX77" fmla="*/ 1287802 w 4519987"/>
                    <a:gd name="connsiteY77" fmla="*/ 4229100 h 4496940"/>
                    <a:gd name="connsiteX78" fmla="*/ 1221127 w 4519987"/>
                    <a:gd name="connsiteY78" fmla="*/ 4200525 h 4496940"/>
                    <a:gd name="connsiteX79" fmla="*/ 1144927 w 4519987"/>
                    <a:gd name="connsiteY79" fmla="*/ 4171950 h 4496940"/>
                    <a:gd name="connsiteX80" fmla="*/ 1087777 w 4519987"/>
                    <a:gd name="connsiteY80" fmla="*/ 4143375 h 4496940"/>
                    <a:gd name="connsiteX81" fmla="*/ 1030627 w 4519987"/>
                    <a:gd name="connsiteY81" fmla="*/ 4124325 h 4496940"/>
                    <a:gd name="connsiteX82" fmla="*/ 925852 w 4519987"/>
                    <a:gd name="connsiteY82" fmla="*/ 4067175 h 4496940"/>
                    <a:gd name="connsiteX83" fmla="*/ 830602 w 4519987"/>
                    <a:gd name="connsiteY83" fmla="*/ 3981450 h 4496940"/>
                    <a:gd name="connsiteX84" fmla="*/ 763927 w 4519987"/>
                    <a:gd name="connsiteY84" fmla="*/ 3914775 h 4496940"/>
                    <a:gd name="connsiteX85" fmla="*/ 725827 w 4519987"/>
                    <a:gd name="connsiteY85" fmla="*/ 3876675 h 4496940"/>
                    <a:gd name="connsiteX86" fmla="*/ 697252 w 4519987"/>
                    <a:gd name="connsiteY86" fmla="*/ 3838575 h 4496940"/>
                    <a:gd name="connsiteX87" fmla="*/ 640102 w 4519987"/>
                    <a:gd name="connsiteY87" fmla="*/ 3781425 h 4496940"/>
                    <a:gd name="connsiteX88" fmla="*/ 611527 w 4519987"/>
                    <a:gd name="connsiteY88" fmla="*/ 3733800 h 4496940"/>
                    <a:gd name="connsiteX89" fmla="*/ 554377 w 4519987"/>
                    <a:gd name="connsiteY89" fmla="*/ 3657600 h 4496940"/>
                    <a:gd name="connsiteX90" fmla="*/ 525802 w 4519987"/>
                    <a:gd name="connsiteY90" fmla="*/ 3609975 h 4496940"/>
                    <a:gd name="connsiteX91" fmla="*/ 497227 w 4519987"/>
                    <a:gd name="connsiteY91" fmla="*/ 3552825 h 4496940"/>
                    <a:gd name="connsiteX92" fmla="*/ 440077 w 4519987"/>
                    <a:gd name="connsiteY92" fmla="*/ 3495675 h 4496940"/>
                    <a:gd name="connsiteX93" fmla="*/ 411502 w 4519987"/>
                    <a:gd name="connsiteY93" fmla="*/ 3448050 h 4496940"/>
                    <a:gd name="connsiteX94" fmla="*/ 278152 w 4519987"/>
                    <a:gd name="connsiteY94" fmla="*/ 3257550 h 4496940"/>
                    <a:gd name="connsiteX95" fmla="*/ 249577 w 4519987"/>
                    <a:gd name="connsiteY95" fmla="*/ 3200400 h 4496940"/>
                    <a:gd name="connsiteX96" fmla="*/ 240052 w 4519987"/>
                    <a:gd name="connsiteY96" fmla="*/ 3162300 h 4496940"/>
                    <a:gd name="connsiteX97" fmla="*/ 221002 w 4519987"/>
                    <a:gd name="connsiteY97" fmla="*/ 3105150 h 4496940"/>
                    <a:gd name="connsiteX98" fmla="*/ 173377 w 4519987"/>
                    <a:gd name="connsiteY98" fmla="*/ 3019425 h 4496940"/>
                    <a:gd name="connsiteX99" fmla="*/ 144802 w 4519987"/>
                    <a:gd name="connsiteY99" fmla="*/ 2924175 h 4496940"/>
                    <a:gd name="connsiteX100" fmla="*/ 68602 w 4519987"/>
                    <a:gd name="connsiteY100" fmla="*/ 2724150 h 4496940"/>
                    <a:gd name="connsiteX101" fmla="*/ 49552 w 4519987"/>
                    <a:gd name="connsiteY101" fmla="*/ 2638425 h 4496940"/>
                    <a:gd name="connsiteX102" fmla="*/ 40027 w 4519987"/>
                    <a:gd name="connsiteY102" fmla="*/ 2562225 h 4496940"/>
                    <a:gd name="connsiteX103" fmla="*/ 30502 w 4519987"/>
                    <a:gd name="connsiteY103" fmla="*/ 2514600 h 4496940"/>
                    <a:gd name="connsiteX104" fmla="*/ 11452 w 4519987"/>
                    <a:gd name="connsiteY104" fmla="*/ 2400300 h 4496940"/>
                    <a:gd name="connsiteX105" fmla="*/ 20977 w 4519987"/>
                    <a:gd name="connsiteY105" fmla="*/ 1905000 h 4496940"/>
                    <a:gd name="connsiteX106" fmla="*/ 30502 w 4519987"/>
                    <a:gd name="connsiteY106" fmla="*/ 1838325 h 4496940"/>
                    <a:gd name="connsiteX107" fmla="*/ 49552 w 4519987"/>
                    <a:gd name="connsiteY107" fmla="*/ 1781175 h 4496940"/>
                    <a:gd name="connsiteX108" fmla="*/ 59077 w 4519987"/>
                    <a:gd name="connsiteY108" fmla="*/ 1743075 h 4496940"/>
                    <a:gd name="connsiteX109" fmla="*/ 78127 w 4519987"/>
                    <a:gd name="connsiteY109" fmla="*/ 1685925 h 4496940"/>
                    <a:gd name="connsiteX110" fmla="*/ 87652 w 4519987"/>
                    <a:gd name="connsiteY110" fmla="*/ 1638300 h 4496940"/>
                    <a:gd name="connsiteX111" fmla="*/ 106702 w 4519987"/>
                    <a:gd name="connsiteY111" fmla="*/ 1590675 h 4496940"/>
                    <a:gd name="connsiteX112" fmla="*/ 135277 w 4519987"/>
                    <a:gd name="connsiteY112" fmla="*/ 1504950 h 4496940"/>
                    <a:gd name="connsiteX113" fmla="*/ 154327 w 4519987"/>
                    <a:gd name="connsiteY113" fmla="*/ 1419225 h 4496940"/>
                    <a:gd name="connsiteX114" fmla="*/ 230527 w 4519987"/>
                    <a:gd name="connsiteY114" fmla="*/ 1276350 h 4496940"/>
                    <a:gd name="connsiteX115" fmla="*/ 240052 w 4519987"/>
                    <a:gd name="connsiteY115" fmla="*/ 1247775 h 4496940"/>
                    <a:gd name="connsiteX116" fmla="*/ 268627 w 4519987"/>
                    <a:gd name="connsiteY116" fmla="*/ 1200150 h 4496940"/>
                    <a:gd name="connsiteX117" fmla="*/ 287677 w 4519987"/>
                    <a:gd name="connsiteY117" fmla="*/ 1152525 h 4496940"/>
                    <a:gd name="connsiteX118" fmla="*/ 316252 w 4519987"/>
                    <a:gd name="connsiteY118" fmla="*/ 1114425 h 4496940"/>
                    <a:gd name="connsiteX119" fmla="*/ 363877 w 4519987"/>
                    <a:gd name="connsiteY119" fmla="*/ 1038225 h 4496940"/>
                    <a:gd name="connsiteX120" fmla="*/ 382927 w 4519987"/>
                    <a:gd name="connsiteY120" fmla="*/ 1009650 h 4496940"/>
                    <a:gd name="connsiteX121" fmla="*/ 440077 w 4519987"/>
                    <a:gd name="connsiteY121" fmla="*/ 904875 h 4496940"/>
                    <a:gd name="connsiteX122" fmla="*/ 478177 w 4519987"/>
                    <a:gd name="connsiteY122" fmla="*/ 857250 h 4496940"/>
                    <a:gd name="connsiteX123" fmla="*/ 497227 w 4519987"/>
                    <a:gd name="connsiteY123" fmla="*/ 828675 h 4496940"/>
                    <a:gd name="connsiteX124" fmla="*/ 535327 w 4519987"/>
                    <a:gd name="connsiteY124" fmla="*/ 800100 h 4496940"/>
                    <a:gd name="connsiteX125" fmla="*/ 602002 w 4519987"/>
                    <a:gd name="connsiteY125" fmla="*/ 733425 h 4496940"/>
                    <a:gd name="connsiteX126" fmla="*/ 668677 w 4519987"/>
                    <a:gd name="connsiteY126" fmla="*/ 676275 h 4496940"/>
                    <a:gd name="connsiteX127" fmla="*/ 697252 w 4519987"/>
                    <a:gd name="connsiteY127" fmla="*/ 657225 h 4496940"/>
                    <a:gd name="connsiteX128" fmla="*/ 840127 w 4519987"/>
                    <a:gd name="connsiteY128" fmla="*/ 533400 h 4496940"/>
                    <a:gd name="connsiteX129" fmla="*/ 887752 w 4519987"/>
                    <a:gd name="connsiteY129" fmla="*/ 504825 h 4496940"/>
                    <a:gd name="connsiteX130" fmla="*/ 1167152 w 4519987"/>
                    <a:gd name="connsiteY130" fmla="*/ 311150 h 4496940"/>
                    <a:gd name="connsiteX131" fmla="*/ 1268752 w 4519987"/>
                    <a:gd name="connsiteY131" fmla="*/ 285750 h 4496940"/>
                    <a:gd name="connsiteX132" fmla="*/ 1411627 w 4519987"/>
                    <a:gd name="connsiteY132" fmla="*/ 190500 h 4496940"/>
                    <a:gd name="connsiteX133" fmla="*/ 1449727 w 4519987"/>
                    <a:gd name="connsiteY133" fmla="*/ 161925 h 4496940"/>
                    <a:gd name="connsiteX134" fmla="*/ 1525927 w 4519987"/>
                    <a:gd name="connsiteY134" fmla="*/ 152400 h 4496940"/>
                    <a:gd name="connsiteX135" fmla="*/ 1583077 w 4519987"/>
                    <a:gd name="connsiteY135" fmla="*/ 142875 h 4496940"/>
                    <a:gd name="connsiteX136" fmla="*/ 1716427 w 4519987"/>
                    <a:gd name="connsiteY136" fmla="*/ 123825 h 4496940"/>
                    <a:gd name="connsiteX137" fmla="*/ 1811677 w 4519987"/>
                    <a:gd name="connsiteY137" fmla="*/ 114300 h 4496940"/>
                    <a:gd name="connsiteX138" fmla="*/ 1859302 w 4519987"/>
                    <a:gd name="connsiteY138" fmla="*/ 104775 h 4496940"/>
                    <a:gd name="connsiteX139" fmla="*/ 1916452 w 4519987"/>
                    <a:gd name="connsiteY139" fmla="*/ 95250 h 4496940"/>
                    <a:gd name="connsiteX140" fmla="*/ 2030752 w 4519987"/>
                    <a:gd name="connsiteY140" fmla="*/ 66675 h 4496940"/>
                    <a:gd name="connsiteX141" fmla="*/ 2097427 w 4519987"/>
                    <a:gd name="connsiteY141" fmla="*/ 47625 h 4496940"/>
                    <a:gd name="connsiteX142" fmla="*/ 2164102 w 4519987"/>
                    <a:gd name="connsiteY142" fmla="*/ 38100 h 4496940"/>
                    <a:gd name="connsiteX143" fmla="*/ 2392702 w 4519987"/>
                    <a:gd name="connsiteY14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02477 w 4519987"/>
                    <a:gd name="connsiteY27" fmla="*/ 1590675 h 4496940"/>
                    <a:gd name="connsiteX28" fmla="*/ 4431052 w 4519987"/>
                    <a:gd name="connsiteY28" fmla="*/ 1685925 h 4496940"/>
                    <a:gd name="connsiteX29" fmla="*/ 4519952 w 4519987"/>
                    <a:gd name="connsiteY29" fmla="*/ 2181225 h 4496940"/>
                    <a:gd name="connsiteX30" fmla="*/ 4446927 w 4519987"/>
                    <a:gd name="connsiteY30" fmla="*/ 2768600 h 4496940"/>
                    <a:gd name="connsiteX31" fmla="*/ 4383427 w 4519987"/>
                    <a:gd name="connsiteY31" fmla="*/ 2990850 h 4496940"/>
                    <a:gd name="connsiteX32" fmla="*/ 4278652 w 4519987"/>
                    <a:gd name="connsiteY32" fmla="*/ 3248025 h 4496940"/>
                    <a:gd name="connsiteX33" fmla="*/ 4259602 w 4519987"/>
                    <a:gd name="connsiteY33" fmla="*/ 3276600 h 4496940"/>
                    <a:gd name="connsiteX34" fmla="*/ 4221502 w 4519987"/>
                    <a:gd name="connsiteY34" fmla="*/ 3333750 h 4496940"/>
                    <a:gd name="connsiteX35" fmla="*/ 4211977 w 4519987"/>
                    <a:gd name="connsiteY35" fmla="*/ 3362325 h 4496940"/>
                    <a:gd name="connsiteX36" fmla="*/ 4183402 w 4519987"/>
                    <a:gd name="connsiteY36" fmla="*/ 3400425 h 4496940"/>
                    <a:gd name="connsiteX37" fmla="*/ 4164352 w 4519987"/>
                    <a:gd name="connsiteY37" fmla="*/ 3429000 h 4496940"/>
                    <a:gd name="connsiteX38" fmla="*/ 4088152 w 4519987"/>
                    <a:gd name="connsiteY38" fmla="*/ 3495675 h 4496940"/>
                    <a:gd name="connsiteX39" fmla="*/ 4059577 w 4519987"/>
                    <a:gd name="connsiteY39" fmla="*/ 3533775 h 4496940"/>
                    <a:gd name="connsiteX40" fmla="*/ 4002427 w 4519987"/>
                    <a:gd name="connsiteY40" fmla="*/ 3600450 h 4496940"/>
                    <a:gd name="connsiteX41" fmla="*/ 3983377 w 4519987"/>
                    <a:gd name="connsiteY41" fmla="*/ 3629025 h 4496940"/>
                    <a:gd name="connsiteX42" fmla="*/ 3954802 w 4519987"/>
                    <a:gd name="connsiteY42" fmla="*/ 3648075 h 4496940"/>
                    <a:gd name="connsiteX43" fmla="*/ 3907177 w 4519987"/>
                    <a:gd name="connsiteY43" fmla="*/ 3686175 h 4496940"/>
                    <a:gd name="connsiteX44" fmla="*/ 3869077 w 4519987"/>
                    <a:gd name="connsiteY44" fmla="*/ 3724275 h 4496940"/>
                    <a:gd name="connsiteX45" fmla="*/ 3792877 w 4519987"/>
                    <a:gd name="connsiteY45" fmla="*/ 3781425 h 4496940"/>
                    <a:gd name="connsiteX46" fmla="*/ 3783352 w 4519987"/>
                    <a:gd name="connsiteY46" fmla="*/ 3810000 h 4496940"/>
                    <a:gd name="connsiteX47" fmla="*/ 3745252 w 4519987"/>
                    <a:gd name="connsiteY47" fmla="*/ 3819525 h 4496940"/>
                    <a:gd name="connsiteX48" fmla="*/ 3678577 w 4519987"/>
                    <a:gd name="connsiteY48" fmla="*/ 3848100 h 4496940"/>
                    <a:gd name="connsiteX49" fmla="*/ 3659527 w 4519987"/>
                    <a:gd name="connsiteY49" fmla="*/ 3971925 h 4496940"/>
                    <a:gd name="connsiteX50" fmla="*/ 3630952 w 4519987"/>
                    <a:gd name="connsiteY50" fmla="*/ 4010025 h 4496940"/>
                    <a:gd name="connsiteX51" fmla="*/ 3621427 w 4519987"/>
                    <a:gd name="connsiteY51" fmla="*/ 4038600 h 4496940"/>
                    <a:gd name="connsiteX52" fmla="*/ 3554752 w 4519987"/>
                    <a:gd name="connsiteY52" fmla="*/ 4095750 h 4496940"/>
                    <a:gd name="connsiteX53" fmla="*/ 3516652 w 4519987"/>
                    <a:gd name="connsiteY53" fmla="*/ 4114800 h 4496940"/>
                    <a:gd name="connsiteX54" fmla="*/ 3497602 w 4519987"/>
                    <a:gd name="connsiteY54" fmla="*/ 4143375 h 4496940"/>
                    <a:gd name="connsiteX55" fmla="*/ 3383302 w 4519987"/>
                    <a:gd name="connsiteY55" fmla="*/ 4210050 h 4496940"/>
                    <a:gd name="connsiteX56" fmla="*/ 3335677 w 4519987"/>
                    <a:gd name="connsiteY56" fmla="*/ 4238625 h 4496940"/>
                    <a:gd name="connsiteX57" fmla="*/ 3288052 w 4519987"/>
                    <a:gd name="connsiteY57" fmla="*/ 4248150 h 4496940"/>
                    <a:gd name="connsiteX58" fmla="*/ 3240427 w 4519987"/>
                    <a:gd name="connsiteY58" fmla="*/ 4267200 h 4496940"/>
                    <a:gd name="connsiteX59" fmla="*/ 3068977 w 4519987"/>
                    <a:gd name="connsiteY59" fmla="*/ 4286250 h 4496940"/>
                    <a:gd name="connsiteX60" fmla="*/ 2935627 w 4519987"/>
                    <a:gd name="connsiteY60" fmla="*/ 4333875 h 4496940"/>
                    <a:gd name="connsiteX61" fmla="*/ 2811802 w 4519987"/>
                    <a:gd name="connsiteY61" fmla="*/ 4371975 h 4496940"/>
                    <a:gd name="connsiteX62" fmla="*/ 2745127 w 4519987"/>
                    <a:gd name="connsiteY62" fmla="*/ 4410075 h 4496940"/>
                    <a:gd name="connsiteX63" fmla="*/ 2697502 w 4519987"/>
                    <a:gd name="connsiteY63" fmla="*/ 4429125 h 4496940"/>
                    <a:gd name="connsiteX64" fmla="*/ 2640352 w 4519987"/>
                    <a:gd name="connsiteY64" fmla="*/ 4457700 h 4496940"/>
                    <a:gd name="connsiteX65" fmla="*/ 2583202 w 4519987"/>
                    <a:gd name="connsiteY65" fmla="*/ 4467225 h 4496940"/>
                    <a:gd name="connsiteX66" fmla="*/ 2545102 w 4519987"/>
                    <a:gd name="connsiteY66" fmla="*/ 4486275 h 4496940"/>
                    <a:gd name="connsiteX67" fmla="*/ 2306977 w 4519987"/>
                    <a:gd name="connsiteY67" fmla="*/ 4476750 h 4496940"/>
                    <a:gd name="connsiteX68" fmla="*/ 2202202 w 4519987"/>
                    <a:gd name="connsiteY68" fmla="*/ 4457700 h 4496940"/>
                    <a:gd name="connsiteX69" fmla="*/ 2126002 w 4519987"/>
                    <a:gd name="connsiteY69" fmla="*/ 4429125 h 4496940"/>
                    <a:gd name="connsiteX70" fmla="*/ 1935502 w 4519987"/>
                    <a:gd name="connsiteY70" fmla="*/ 4400550 h 4496940"/>
                    <a:gd name="connsiteX71" fmla="*/ 1821202 w 4519987"/>
                    <a:gd name="connsiteY71" fmla="*/ 4371975 h 4496940"/>
                    <a:gd name="connsiteX72" fmla="*/ 1754527 w 4519987"/>
                    <a:gd name="connsiteY72" fmla="*/ 4352925 h 4496940"/>
                    <a:gd name="connsiteX73" fmla="*/ 1687852 w 4519987"/>
                    <a:gd name="connsiteY73" fmla="*/ 4343400 h 4496940"/>
                    <a:gd name="connsiteX74" fmla="*/ 1573552 w 4519987"/>
                    <a:gd name="connsiteY74" fmla="*/ 4305300 h 4496940"/>
                    <a:gd name="connsiteX75" fmla="*/ 1402102 w 4519987"/>
                    <a:gd name="connsiteY75" fmla="*/ 4276725 h 4496940"/>
                    <a:gd name="connsiteX76" fmla="*/ 1287802 w 4519987"/>
                    <a:gd name="connsiteY76" fmla="*/ 4229100 h 4496940"/>
                    <a:gd name="connsiteX77" fmla="*/ 1221127 w 4519987"/>
                    <a:gd name="connsiteY77" fmla="*/ 4200525 h 4496940"/>
                    <a:gd name="connsiteX78" fmla="*/ 1144927 w 4519987"/>
                    <a:gd name="connsiteY78" fmla="*/ 4171950 h 4496940"/>
                    <a:gd name="connsiteX79" fmla="*/ 1087777 w 4519987"/>
                    <a:gd name="connsiteY79" fmla="*/ 4143375 h 4496940"/>
                    <a:gd name="connsiteX80" fmla="*/ 1030627 w 4519987"/>
                    <a:gd name="connsiteY80" fmla="*/ 4124325 h 4496940"/>
                    <a:gd name="connsiteX81" fmla="*/ 925852 w 4519987"/>
                    <a:gd name="connsiteY81" fmla="*/ 4067175 h 4496940"/>
                    <a:gd name="connsiteX82" fmla="*/ 830602 w 4519987"/>
                    <a:gd name="connsiteY82" fmla="*/ 3981450 h 4496940"/>
                    <a:gd name="connsiteX83" fmla="*/ 763927 w 4519987"/>
                    <a:gd name="connsiteY83" fmla="*/ 3914775 h 4496940"/>
                    <a:gd name="connsiteX84" fmla="*/ 725827 w 4519987"/>
                    <a:gd name="connsiteY84" fmla="*/ 3876675 h 4496940"/>
                    <a:gd name="connsiteX85" fmla="*/ 697252 w 4519987"/>
                    <a:gd name="connsiteY85" fmla="*/ 3838575 h 4496940"/>
                    <a:gd name="connsiteX86" fmla="*/ 640102 w 4519987"/>
                    <a:gd name="connsiteY86" fmla="*/ 3781425 h 4496940"/>
                    <a:gd name="connsiteX87" fmla="*/ 611527 w 4519987"/>
                    <a:gd name="connsiteY87" fmla="*/ 3733800 h 4496940"/>
                    <a:gd name="connsiteX88" fmla="*/ 554377 w 4519987"/>
                    <a:gd name="connsiteY88" fmla="*/ 3657600 h 4496940"/>
                    <a:gd name="connsiteX89" fmla="*/ 525802 w 4519987"/>
                    <a:gd name="connsiteY89" fmla="*/ 3609975 h 4496940"/>
                    <a:gd name="connsiteX90" fmla="*/ 497227 w 4519987"/>
                    <a:gd name="connsiteY90" fmla="*/ 3552825 h 4496940"/>
                    <a:gd name="connsiteX91" fmla="*/ 440077 w 4519987"/>
                    <a:gd name="connsiteY91" fmla="*/ 3495675 h 4496940"/>
                    <a:gd name="connsiteX92" fmla="*/ 411502 w 4519987"/>
                    <a:gd name="connsiteY92" fmla="*/ 3448050 h 4496940"/>
                    <a:gd name="connsiteX93" fmla="*/ 278152 w 4519987"/>
                    <a:gd name="connsiteY93" fmla="*/ 3257550 h 4496940"/>
                    <a:gd name="connsiteX94" fmla="*/ 249577 w 4519987"/>
                    <a:gd name="connsiteY94" fmla="*/ 3200400 h 4496940"/>
                    <a:gd name="connsiteX95" fmla="*/ 240052 w 4519987"/>
                    <a:gd name="connsiteY95" fmla="*/ 3162300 h 4496940"/>
                    <a:gd name="connsiteX96" fmla="*/ 221002 w 4519987"/>
                    <a:gd name="connsiteY96" fmla="*/ 3105150 h 4496940"/>
                    <a:gd name="connsiteX97" fmla="*/ 173377 w 4519987"/>
                    <a:gd name="connsiteY97" fmla="*/ 3019425 h 4496940"/>
                    <a:gd name="connsiteX98" fmla="*/ 144802 w 4519987"/>
                    <a:gd name="connsiteY98" fmla="*/ 2924175 h 4496940"/>
                    <a:gd name="connsiteX99" fmla="*/ 68602 w 4519987"/>
                    <a:gd name="connsiteY99" fmla="*/ 2724150 h 4496940"/>
                    <a:gd name="connsiteX100" fmla="*/ 49552 w 4519987"/>
                    <a:gd name="connsiteY100" fmla="*/ 2638425 h 4496940"/>
                    <a:gd name="connsiteX101" fmla="*/ 40027 w 4519987"/>
                    <a:gd name="connsiteY101" fmla="*/ 2562225 h 4496940"/>
                    <a:gd name="connsiteX102" fmla="*/ 30502 w 4519987"/>
                    <a:gd name="connsiteY102" fmla="*/ 2514600 h 4496940"/>
                    <a:gd name="connsiteX103" fmla="*/ 11452 w 4519987"/>
                    <a:gd name="connsiteY103" fmla="*/ 2400300 h 4496940"/>
                    <a:gd name="connsiteX104" fmla="*/ 20977 w 4519987"/>
                    <a:gd name="connsiteY104" fmla="*/ 1905000 h 4496940"/>
                    <a:gd name="connsiteX105" fmla="*/ 30502 w 4519987"/>
                    <a:gd name="connsiteY105" fmla="*/ 1838325 h 4496940"/>
                    <a:gd name="connsiteX106" fmla="*/ 49552 w 4519987"/>
                    <a:gd name="connsiteY106" fmla="*/ 1781175 h 4496940"/>
                    <a:gd name="connsiteX107" fmla="*/ 59077 w 4519987"/>
                    <a:gd name="connsiteY107" fmla="*/ 1743075 h 4496940"/>
                    <a:gd name="connsiteX108" fmla="*/ 78127 w 4519987"/>
                    <a:gd name="connsiteY108" fmla="*/ 1685925 h 4496940"/>
                    <a:gd name="connsiteX109" fmla="*/ 87652 w 4519987"/>
                    <a:gd name="connsiteY109" fmla="*/ 1638300 h 4496940"/>
                    <a:gd name="connsiteX110" fmla="*/ 106702 w 4519987"/>
                    <a:gd name="connsiteY110" fmla="*/ 1590675 h 4496940"/>
                    <a:gd name="connsiteX111" fmla="*/ 135277 w 4519987"/>
                    <a:gd name="connsiteY111" fmla="*/ 1504950 h 4496940"/>
                    <a:gd name="connsiteX112" fmla="*/ 154327 w 4519987"/>
                    <a:gd name="connsiteY112" fmla="*/ 1419225 h 4496940"/>
                    <a:gd name="connsiteX113" fmla="*/ 230527 w 4519987"/>
                    <a:gd name="connsiteY113" fmla="*/ 1276350 h 4496940"/>
                    <a:gd name="connsiteX114" fmla="*/ 240052 w 4519987"/>
                    <a:gd name="connsiteY114" fmla="*/ 1247775 h 4496940"/>
                    <a:gd name="connsiteX115" fmla="*/ 268627 w 4519987"/>
                    <a:gd name="connsiteY115" fmla="*/ 1200150 h 4496940"/>
                    <a:gd name="connsiteX116" fmla="*/ 287677 w 4519987"/>
                    <a:gd name="connsiteY116" fmla="*/ 1152525 h 4496940"/>
                    <a:gd name="connsiteX117" fmla="*/ 316252 w 4519987"/>
                    <a:gd name="connsiteY117" fmla="*/ 1114425 h 4496940"/>
                    <a:gd name="connsiteX118" fmla="*/ 363877 w 4519987"/>
                    <a:gd name="connsiteY118" fmla="*/ 1038225 h 4496940"/>
                    <a:gd name="connsiteX119" fmla="*/ 382927 w 4519987"/>
                    <a:gd name="connsiteY119" fmla="*/ 1009650 h 4496940"/>
                    <a:gd name="connsiteX120" fmla="*/ 440077 w 4519987"/>
                    <a:gd name="connsiteY120" fmla="*/ 904875 h 4496940"/>
                    <a:gd name="connsiteX121" fmla="*/ 478177 w 4519987"/>
                    <a:gd name="connsiteY121" fmla="*/ 857250 h 4496940"/>
                    <a:gd name="connsiteX122" fmla="*/ 497227 w 4519987"/>
                    <a:gd name="connsiteY122" fmla="*/ 828675 h 4496940"/>
                    <a:gd name="connsiteX123" fmla="*/ 535327 w 4519987"/>
                    <a:gd name="connsiteY123" fmla="*/ 800100 h 4496940"/>
                    <a:gd name="connsiteX124" fmla="*/ 602002 w 4519987"/>
                    <a:gd name="connsiteY124" fmla="*/ 733425 h 4496940"/>
                    <a:gd name="connsiteX125" fmla="*/ 668677 w 4519987"/>
                    <a:gd name="connsiteY125" fmla="*/ 676275 h 4496940"/>
                    <a:gd name="connsiteX126" fmla="*/ 697252 w 4519987"/>
                    <a:gd name="connsiteY126" fmla="*/ 657225 h 4496940"/>
                    <a:gd name="connsiteX127" fmla="*/ 840127 w 4519987"/>
                    <a:gd name="connsiteY127" fmla="*/ 533400 h 4496940"/>
                    <a:gd name="connsiteX128" fmla="*/ 887752 w 4519987"/>
                    <a:gd name="connsiteY128" fmla="*/ 504825 h 4496940"/>
                    <a:gd name="connsiteX129" fmla="*/ 1167152 w 4519987"/>
                    <a:gd name="connsiteY129" fmla="*/ 311150 h 4496940"/>
                    <a:gd name="connsiteX130" fmla="*/ 1268752 w 4519987"/>
                    <a:gd name="connsiteY130" fmla="*/ 285750 h 4496940"/>
                    <a:gd name="connsiteX131" fmla="*/ 1411627 w 4519987"/>
                    <a:gd name="connsiteY131" fmla="*/ 190500 h 4496940"/>
                    <a:gd name="connsiteX132" fmla="*/ 1449727 w 4519987"/>
                    <a:gd name="connsiteY132" fmla="*/ 161925 h 4496940"/>
                    <a:gd name="connsiteX133" fmla="*/ 1525927 w 4519987"/>
                    <a:gd name="connsiteY133" fmla="*/ 152400 h 4496940"/>
                    <a:gd name="connsiteX134" fmla="*/ 1583077 w 4519987"/>
                    <a:gd name="connsiteY134" fmla="*/ 142875 h 4496940"/>
                    <a:gd name="connsiteX135" fmla="*/ 1716427 w 4519987"/>
                    <a:gd name="connsiteY135" fmla="*/ 123825 h 4496940"/>
                    <a:gd name="connsiteX136" fmla="*/ 1811677 w 4519987"/>
                    <a:gd name="connsiteY136" fmla="*/ 114300 h 4496940"/>
                    <a:gd name="connsiteX137" fmla="*/ 1859302 w 4519987"/>
                    <a:gd name="connsiteY137" fmla="*/ 104775 h 4496940"/>
                    <a:gd name="connsiteX138" fmla="*/ 1916452 w 4519987"/>
                    <a:gd name="connsiteY138" fmla="*/ 95250 h 4496940"/>
                    <a:gd name="connsiteX139" fmla="*/ 2030752 w 4519987"/>
                    <a:gd name="connsiteY139" fmla="*/ 66675 h 4496940"/>
                    <a:gd name="connsiteX140" fmla="*/ 2097427 w 4519987"/>
                    <a:gd name="connsiteY140" fmla="*/ 47625 h 4496940"/>
                    <a:gd name="connsiteX141" fmla="*/ 2164102 w 4519987"/>
                    <a:gd name="connsiteY141" fmla="*/ 38100 h 4496940"/>
                    <a:gd name="connsiteX142" fmla="*/ 2392702 w 4519987"/>
                    <a:gd name="connsiteY14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164352 w 4519987"/>
                    <a:gd name="connsiteY36" fmla="*/ 3429000 h 4496940"/>
                    <a:gd name="connsiteX37" fmla="*/ 4088152 w 4519987"/>
                    <a:gd name="connsiteY37" fmla="*/ 3495675 h 4496940"/>
                    <a:gd name="connsiteX38" fmla="*/ 4059577 w 4519987"/>
                    <a:gd name="connsiteY38" fmla="*/ 3533775 h 4496940"/>
                    <a:gd name="connsiteX39" fmla="*/ 4002427 w 4519987"/>
                    <a:gd name="connsiteY39" fmla="*/ 3600450 h 4496940"/>
                    <a:gd name="connsiteX40" fmla="*/ 3983377 w 4519987"/>
                    <a:gd name="connsiteY40" fmla="*/ 3629025 h 4496940"/>
                    <a:gd name="connsiteX41" fmla="*/ 3954802 w 4519987"/>
                    <a:gd name="connsiteY41" fmla="*/ 3648075 h 4496940"/>
                    <a:gd name="connsiteX42" fmla="*/ 3907177 w 4519987"/>
                    <a:gd name="connsiteY42" fmla="*/ 3686175 h 4496940"/>
                    <a:gd name="connsiteX43" fmla="*/ 3869077 w 4519987"/>
                    <a:gd name="connsiteY43" fmla="*/ 3724275 h 4496940"/>
                    <a:gd name="connsiteX44" fmla="*/ 3792877 w 4519987"/>
                    <a:gd name="connsiteY44" fmla="*/ 3781425 h 4496940"/>
                    <a:gd name="connsiteX45" fmla="*/ 3783352 w 4519987"/>
                    <a:gd name="connsiteY45" fmla="*/ 3810000 h 4496940"/>
                    <a:gd name="connsiteX46" fmla="*/ 3745252 w 4519987"/>
                    <a:gd name="connsiteY46" fmla="*/ 3819525 h 4496940"/>
                    <a:gd name="connsiteX47" fmla="*/ 3678577 w 4519987"/>
                    <a:gd name="connsiteY47" fmla="*/ 3848100 h 4496940"/>
                    <a:gd name="connsiteX48" fmla="*/ 3659527 w 4519987"/>
                    <a:gd name="connsiteY48" fmla="*/ 3971925 h 4496940"/>
                    <a:gd name="connsiteX49" fmla="*/ 3630952 w 4519987"/>
                    <a:gd name="connsiteY49" fmla="*/ 4010025 h 4496940"/>
                    <a:gd name="connsiteX50" fmla="*/ 3621427 w 4519987"/>
                    <a:gd name="connsiteY50" fmla="*/ 4038600 h 4496940"/>
                    <a:gd name="connsiteX51" fmla="*/ 3554752 w 4519987"/>
                    <a:gd name="connsiteY51" fmla="*/ 4095750 h 4496940"/>
                    <a:gd name="connsiteX52" fmla="*/ 3516652 w 4519987"/>
                    <a:gd name="connsiteY52" fmla="*/ 4114800 h 4496940"/>
                    <a:gd name="connsiteX53" fmla="*/ 3497602 w 4519987"/>
                    <a:gd name="connsiteY53" fmla="*/ 4143375 h 4496940"/>
                    <a:gd name="connsiteX54" fmla="*/ 3383302 w 4519987"/>
                    <a:gd name="connsiteY54" fmla="*/ 4210050 h 4496940"/>
                    <a:gd name="connsiteX55" fmla="*/ 3335677 w 4519987"/>
                    <a:gd name="connsiteY55" fmla="*/ 4238625 h 4496940"/>
                    <a:gd name="connsiteX56" fmla="*/ 3288052 w 4519987"/>
                    <a:gd name="connsiteY56" fmla="*/ 4248150 h 4496940"/>
                    <a:gd name="connsiteX57" fmla="*/ 3240427 w 4519987"/>
                    <a:gd name="connsiteY57" fmla="*/ 4267200 h 4496940"/>
                    <a:gd name="connsiteX58" fmla="*/ 3068977 w 4519987"/>
                    <a:gd name="connsiteY58" fmla="*/ 4286250 h 4496940"/>
                    <a:gd name="connsiteX59" fmla="*/ 2935627 w 4519987"/>
                    <a:gd name="connsiteY59" fmla="*/ 4333875 h 4496940"/>
                    <a:gd name="connsiteX60" fmla="*/ 2811802 w 4519987"/>
                    <a:gd name="connsiteY60" fmla="*/ 4371975 h 4496940"/>
                    <a:gd name="connsiteX61" fmla="*/ 2745127 w 4519987"/>
                    <a:gd name="connsiteY61" fmla="*/ 4410075 h 4496940"/>
                    <a:gd name="connsiteX62" fmla="*/ 2697502 w 4519987"/>
                    <a:gd name="connsiteY62" fmla="*/ 4429125 h 4496940"/>
                    <a:gd name="connsiteX63" fmla="*/ 2640352 w 4519987"/>
                    <a:gd name="connsiteY63" fmla="*/ 4457700 h 4496940"/>
                    <a:gd name="connsiteX64" fmla="*/ 2583202 w 4519987"/>
                    <a:gd name="connsiteY64" fmla="*/ 4467225 h 4496940"/>
                    <a:gd name="connsiteX65" fmla="*/ 2545102 w 4519987"/>
                    <a:gd name="connsiteY65" fmla="*/ 4486275 h 4496940"/>
                    <a:gd name="connsiteX66" fmla="*/ 2306977 w 4519987"/>
                    <a:gd name="connsiteY66" fmla="*/ 4476750 h 4496940"/>
                    <a:gd name="connsiteX67" fmla="*/ 2202202 w 4519987"/>
                    <a:gd name="connsiteY67" fmla="*/ 4457700 h 4496940"/>
                    <a:gd name="connsiteX68" fmla="*/ 2126002 w 4519987"/>
                    <a:gd name="connsiteY68" fmla="*/ 4429125 h 4496940"/>
                    <a:gd name="connsiteX69" fmla="*/ 1935502 w 4519987"/>
                    <a:gd name="connsiteY69" fmla="*/ 4400550 h 4496940"/>
                    <a:gd name="connsiteX70" fmla="*/ 1821202 w 4519987"/>
                    <a:gd name="connsiteY70" fmla="*/ 4371975 h 4496940"/>
                    <a:gd name="connsiteX71" fmla="*/ 1754527 w 4519987"/>
                    <a:gd name="connsiteY71" fmla="*/ 4352925 h 4496940"/>
                    <a:gd name="connsiteX72" fmla="*/ 1687852 w 4519987"/>
                    <a:gd name="connsiteY72" fmla="*/ 4343400 h 4496940"/>
                    <a:gd name="connsiteX73" fmla="*/ 1573552 w 4519987"/>
                    <a:gd name="connsiteY73" fmla="*/ 4305300 h 4496940"/>
                    <a:gd name="connsiteX74" fmla="*/ 1402102 w 4519987"/>
                    <a:gd name="connsiteY74" fmla="*/ 4276725 h 4496940"/>
                    <a:gd name="connsiteX75" fmla="*/ 1287802 w 4519987"/>
                    <a:gd name="connsiteY75" fmla="*/ 4229100 h 4496940"/>
                    <a:gd name="connsiteX76" fmla="*/ 1221127 w 4519987"/>
                    <a:gd name="connsiteY76" fmla="*/ 4200525 h 4496940"/>
                    <a:gd name="connsiteX77" fmla="*/ 1144927 w 4519987"/>
                    <a:gd name="connsiteY77" fmla="*/ 4171950 h 4496940"/>
                    <a:gd name="connsiteX78" fmla="*/ 1087777 w 4519987"/>
                    <a:gd name="connsiteY78" fmla="*/ 4143375 h 4496940"/>
                    <a:gd name="connsiteX79" fmla="*/ 1030627 w 4519987"/>
                    <a:gd name="connsiteY79" fmla="*/ 4124325 h 4496940"/>
                    <a:gd name="connsiteX80" fmla="*/ 925852 w 4519987"/>
                    <a:gd name="connsiteY80" fmla="*/ 4067175 h 4496940"/>
                    <a:gd name="connsiteX81" fmla="*/ 830602 w 4519987"/>
                    <a:gd name="connsiteY81" fmla="*/ 3981450 h 4496940"/>
                    <a:gd name="connsiteX82" fmla="*/ 763927 w 4519987"/>
                    <a:gd name="connsiteY82" fmla="*/ 3914775 h 4496940"/>
                    <a:gd name="connsiteX83" fmla="*/ 725827 w 4519987"/>
                    <a:gd name="connsiteY83" fmla="*/ 3876675 h 4496940"/>
                    <a:gd name="connsiteX84" fmla="*/ 697252 w 4519987"/>
                    <a:gd name="connsiteY84" fmla="*/ 3838575 h 4496940"/>
                    <a:gd name="connsiteX85" fmla="*/ 640102 w 4519987"/>
                    <a:gd name="connsiteY85" fmla="*/ 3781425 h 4496940"/>
                    <a:gd name="connsiteX86" fmla="*/ 611527 w 4519987"/>
                    <a:gd name="connsiteY86" fmla="*/ 3733800 h 4496940"/>
                    <a:gd name="connsiteX87" fmla="*/ 554377 w 4519987"/>
                    <a:gd name="connsiteY87" fmla="*/ 3657600 h 4496940"/>
                    <a:gd name="connsiteX88" fmla="*/ 525802 w 4519987"/>
                    <a:gd name="connsiteY88" fmla="*/ 3609975 h 4496940"/>
                    <a:gd name="connsiteX89" fmla="*/ 497227 w 4519987"/>
                    <a:gd name="connsiteY89" fmla="*/ 3552825 h 4496940"/>
                    <a:gd name="connsiteX90" fmla="*/ 440077 w 4519987"/>
                    <a:gd name="connsiteY90" fmla="*/ 3495675 h 4496940"/>
                    <a:gd name="connsiteX91" fmla="*/ 411502 w 4519987"/>
                    <a:gd name="connsiteY91" fmla="*/ 3448050 h 4496940"/>
                    <a:gd name="connsiteX92" fmla="*/ 278152 w 4519987"/>
                    <a:gd name="connsiteY92" fmla="*/ 3257550 h 4496940"/>
                    <a:gd name="connsiteX93" fmla="*/ 249577 w 4519987"/>
                    <a:gd name="connsiteY93" fmla="*/ 3200400 h 4496940"/>
                    <a:gd name="connsiteX94" fmla="*/ 240052 w 4519987"/>
                    <a:gd name="connsiteY94" fmla="*/ 3162300 h 4496940"/>
                    <a:gd name="connsiteX95" fmla="*/ 221002 w 4519987"/>
                    <a:gd name="connsiteY95" fmla="*/ 3105150 h 4496940"/>
                    <a:gd name="connsiteX96" fmla="*/ 173377 w 4519987"/>
                    <a:gd name="connsiteY96" fmla="*/ 3019425 h 4496940"/>
                    <a:gd name="connsiteX97" fmla="*/ 144802 w 4519987"/>
                    <a:gd name="connsiteY97" fmla="*/ 2924175 h 4496940"/>
                    <a:gd name="connsiteX98" fmla="*/ 68602 w 4519987"/>
                    <a:gd name="connsiteY98" fmla="*/ 2724150 h 4496940"/>
                    <a:gd name="connsiteX99" fmla="*/ 49552 w 4519987"/>
                    <a:gd name="connsiteY99" fmla="*/ 2638425 h 4496940"/>
                    <a:gd name="connsiteX100" fmla="*/ 40027 w 4519987"/>
                    <a:gd name="connsiteY100" fmla="*/ 2562225 h 4496940"/>
                    <a:gd name="connsiteX101" fmla="*/ 30502 w 4519987"/>
                    <a:gd name="connsiteY101" fmla="*/ 2514600 h 4496940"/>
                    <a:gd name="connsiteX102" fmla="*/ 11452 w 4519987"/>
                    <a:gd name="connsiteY102" fmla="*/ 2400300 h 4496940"/>
                    <a:gd name="connsiteX103" fmla="*/ 20977 w 4519987"/>
                    <a:gd name="connsiteY103" fmla="*/ 1905000 h 4496940"/>
                    <a:gd name="connsiteX104" fmla="*/ 30502 w 4519987"/>
                    <a:gd name="connsiteY104" fmla="*/ 1838325 h 4496940"/>
                    <a:gd name="connsiteX105" fmla="*/ 49552 w 4519987"/>
                    <a:gd name="connsiteY105" fmla="*/ 1781175 h 4496940"/>
                    <a:gd name="connsiteX106" fmla="*/ 59077 w 4519987"/>
                    <a:gd name="connsiteY106" fmla="*/ 1743075 h 4496940"/>
                    <a:gd name="connsiteX107" fmla="*/ 78127 w 4519987"/>
                    <a:gd name="connsiteY107" fmla="*/ 1685925 h 4496940"/>
                    <a:gd name="connsiteX108" fmla="*/ 87652 w 4519987"/>
                    <a:gd name="connsiteY108" fmla="*/ 1638300 h 4496940"/>
                    <a:gd name="connsiteX109" fmla="*/ 106702 w 4519987"/>
                    <a:gd name="connsiteY109" fmla="*/ 1590675 h 4496940"/>
                    <a:gd name="connsiteX110" fmla="*/ 135277 w 4519987"/>
                    <a:gd name="connsiteY110" fmla="*/ 1504950 h 4496940"/>
                    <a:gd name="connsiteX111" fmla="*/ 154327 w 4519987"/>
                    <a:gd name="connsiteY111" fmla="*/ 1419225 h 4496940"/>
                    <a:gd name="connsiteX112" fmla="*/ 230527 w 4519987"/>
                    <a:gd name="connsiteY112" fmla="*/ 1276350 h 4496940"/>
                    <a:gd name="connsiteX113" fmla="*/ 240052 w 4519987"/>
                    <a:gd name="connsiteY113" fmla="*/ 1247775 h 4496940"/>
                    <a:gd name="connsiteX114" fmla="*/ 268627 w 4519987"/>
                    <a:gd name="connsiteY114" fmla="*/ 1200150 h 4496940"/>
                    <a:gd name="connsiteX115" fmla="*/ 287677 w 4519987"/>
                    <a:gd name="connsiteY115" fmla="*/ 1152525 h 4496940"/>
                    <a:gd name="connsiteX116" fmla="*/ 316252 w 4519987"/>
                    <a:gd name="connsiteY116" fmla="*/ 1114425 h 4496940"/>
                    <a:gd name="connsiteX117" fmla="*/ 363877 w 4519987"/>
                    <a:gd name="connsiteY117" fmla="*/ 1038225 h 4496940"/>
                    <a:gd name="connsiteX118" fmla="*/ 382927 w 4519987"/>
                    <a:gd name="connsiteY118" fmla="*/ 1009650 h 4496940"/>
                    <a:gd name="connsiteX119" fmla="*/ 440077 w 4519987"/>
                    <a:gd name="connsiteY119" fmla="*/ 904875 h 4496940"/>
                    <a:gd name="connsiteX120" fmla="*/ 478177 w 4519987"/>
                    <a:gd name="connsiteY120" fmla="*/ 857250 h 4496940"/>
                    <a:gd name="connsiteX121" fmla="*/ 497227 w 4519987"/>
                    <a:gd name="connsiteY121" fmla="*/ 828675 h 4496940"/>
                    <a:gd name="connsiteX122" fmla="*/ 535327 w 4519987"/>
                    <a:gd name="connsiteY122" fmla="*/ 800100 h 4496940"/>
                    <a:gd name="connsiteX123" fmla="*/ 602002 w 4519987"/>
                    <a:gd name="connsiteY123" fmla="*/ 733425 h 4496940"/>
                    <a:gd name="connsiteX124" fmla="*/ 668677 w 4519987"/>
                    <a:gd name="connsiteY124" fmla="*/ 676275 h 4496940"/>
                    <a:gd name="connsiteX125" fmla="*/ 697252 w 4519987"/>
                    <a:gd name="connsiteY125" fmla="*/ 657225 h 4496940"/>
                    <a:gd name="connsiteX126" fmla="*/ 840127 w 4519987"/>
                    <a:gd name="connsiteY126" fmla="*/ 533400 h 4496940"/>
                    <a:gd name="connsiteX127" fmla="*/ 887752 w 4519987"/>
                    <a:gd name="connsiteY127" fmla="*/ 504825 h 4496940"/>
                    <a:gd name="connsiteX128" fmla="*/ 1167152 w 4519987"/>
                    <a:gd name="connsiteY128" fmla="*/ 311150 h 4496940"/>
                    <a:gd name="connsiteX129" fmla="*/ 1268752 w 4519987"/>
                    <a:gd name="connsiteY129" fmla="*/ 285750 h 4496940"/>
                    <a:gd name="connsiteX130" fmla="*/ 1411627 w 4519987"/>
                    <a:gd name="connsiteY130" fmla="*/ 190500 h 4496940"/>
                    <a:gd name="connsiteX131" fmla="*/ 1449727 w 4519987"/>
                    <a:gd name="connsiteY131" fmla="*/ 161925 h 4496940"/>
                    <a:gd name="connsiteX132" fmla="*/ 1525927 w 4519987"/>
                    <a:gd name="connsiteY132" fmla="*/ 152400 h 4496940"/>
                    <a:gd name="connsiteX133" fmla="*/ 1583077 w 4519987"/>
                    <a:gd name="connsiteY133" fmla="*/ 142875 h 4496940"/>
                    <a:gd name="connsiteX134" fmla="*/ 1716427 w 4519987"/>
                    <a:gd name="connsiteY134" fmla="*/ 123825 h 4496940"/>
                    <a:gd name="connsiteX135" fmla="*/ 1811677 w 4519987"/>
                    <a:gd name="connsiteY135" fmla="*/ 114300 h 4496940"/>
                    <a:gd name="connsiteX136" fmla="*/ 1859302 w 4519987"/>
                    <a:gd name="connsiteY136" fmla="*/ 104775 h 4496940"/>
                    <a:gd name="connsiteX137" fmla="*/ 1916452 w 4519987"/>
                    <a:gd name="connsiteY137" fmla="*/ 95250 h 4496940"/>
                    <a:gd name="connsiteX138" fmla="*/ 2030752 w 4519987"/>
                    <a:gd name="connsiteY138" fmla="*/ 66675 h 4496940"/>
                    <a:gd name="connsiteX139" fmla="*/ 2097427 w 4519987"/>
                    <a:gd name="connsiteY139" fmla="*/ 47625 h 4496940"/>
                    <a:gd name="connsiteX140" fmla="*/ 2164102 w 4519987"/>
                    <a:gd name="connsiteY140" fmla="*/ 38100 h 4496940"/>
                    <a:gd name="connsiteX141" fmla="*/ 2392702 w 4519987"/>
                    <a:gd name="connsiteY14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211977 w 4519987"/>
                    <a:gd name="connsiteY34" fmla="*/ 3362325 h 4496940"/>
                    <a:gd name="connsiteX35" fmla="*/ 4183402 w 4519987"/>
                    <a:gd name="connsiteY35" fmla="*/ 3400425 h 4496940"/>
                    <a:gd name="connsiteX36" fmla="*/ 4088152 w 4519987"/>
                    <a:gd name="connsiteY36" fmla="*/ 3495675 h 4496940"/>
                    <a:gd name="connsiteX37" fmla="*/ 4059577 w 4519987"/>
                    <a:gd name="connsiteY37" fmla="*/ 3533775 h 4496940"/>
                    <a:gd name="connsiteX38" fmla="*/ 4002427 w 4519987"/>
                    <a:gd name="connsiteY38" fmla="*/ 3600450 h 4496940"/>
                    <a:gd name="connsiteX39" fmla="*/ 3983377 w 4519987"/>
                    <a:gd name="connsiteY39" fmla="*/ 3629025 h 4496940"/>
                    <a:gd name="connsiteX40" fmla="*/ 3954802 w 4519987"/>
                    <a:gd name="connsiteY40" fmla="*/ 3648075 h 4496940"/>
                    <a:gd name="connsiteX41" fmla="*/ 3907177 w 4519987"/>
                    <a:gd name="connsiteY41" fmla="*/ 3686175 h 4496940"/>
                    <a:gd name="connsiteX42" fmla="*/ 3869077 w 4519987"/>
                    <a:gd name="connsiteY42" fmla="*/ 3724275 h 4496940"/>
                    <a:gd name="connsiteX43" fmla="*/ 3792877 w 4519987"/>
                    <a:gd name="connsiteY43" fmla="*/ 3781425 h 4496940"/>
                    <a:gd name="connsiteX44" fmla="*/ 3783352 w 4519987"/>
                    <a:gd name="connsiteY44" fmla="*/ 3810000 h 4496940"/>
                    <a:gd name="connsiteX45" fmla="*/ 3745252 w 4519987"/>
                    <a:gd name="connsiteY45" fmla="*/ 3819525 h 4496940"/>
                    <a:gd name="connsiteX46" fmla="*/ 3678577 w 4519987"/>
                    <a:gd name="connsiteY46" fmla="*/ 3848100 h 4496940"/>
                    <a:gd name="connsiteX47" fmla="*/ 3659527 w 4519987"/>
                    <a:gd name="connsiteY47" fmla="*/ 3971925 h 4496940"/>
                    <a:gd name="connsiteX48" fmla="*/ 3630952 w 4519987"/>
                    <a:gd name="connsiteY48" fmla="*/ 4010025 h 4496940"/>
                    <a:gd name="connsiteX49" fmla="*/ 3621427 w 4519987"/>
                    <a:gd name="connsiteY49" fmla="*/ 4038600 h 4496940"/>
                    <a:gd name="connsiteX50" fmla="*/ 3554752 w 4519987"/>
                    <a:gd name="connsiteY50" fmla="*/ 4095750 h 4496940"/>
                    <a:gd name="connsiteX51" fmla="*/ 3516652 w 4519987"/>
                    <a:gd name="connsiteY51" fmla="*/ 4114800 h 4496940"/>
                    <a:gd name="connsiteX52" fmla="*/ 3497602 w 4519987"/>
                    <a:gd name="connsiteY52" fmla="*/ 4143375 h 4496940"/>
                    <a:gd name="connsiteX53" fmla="*/ 3383302 w 4519987"/>
                    <a:gd name="connsiteY53" fmla="*/ 4210050 h 4496940"/>
                    <a:gd name="connsiteX54" fmla="*/ 3335677 w 4519987"/>
                    <a:gd name="connsiteY54" fmla="*/ 4238625 h 4496940"/>
                    <a:gd name="connsiteX55" fmla="*/ 3288052 w 4519987"/>
                    <a:gd name="connsiteY55" fmla="*/ 4248150 h 4496940"/>
                    <a:gd name="connsiteX56" fmla="*/ 3240427 w 4519987"/>
                    <a:gd name="connsiteY56" fmla="*/ 4267200 h 4496940"/>
                    <a:gd name="connsiteX57" fmla="*/ 3068977 w 4519987"/>
                    <a:gd name="connsiteY57" fmla="*/ 4286250 h 4496940"/>
                    <a:gd name="connsiteX58" fmla="*/ 2935627 w 4519987"/>
                    <a:gd name="connsiteY58" fmla="*/ 4333875 h 4496940"/>
                    <a:gd name="connsiteX59" fmla="*/ 2811802 w 4519987"/>
                    <a:gd name="connsiteY59" fmla="*/ 4371975 h 4496940"/>
                    <a:gd name="connsiteX60" fmla="*/ 2745127 w 4519987"/>
                    <a:gd name="connsiteY60" fmla="*/ 4410075 h 4496940"/>
                    <a:gd name="connsiteX61" fmla="*/ 2697502 w 4519987"/>
                    <a:gd name="connsiteY61" fmla="*/ 4429125 h 4496940"/>
                    <a:gd name="connsiteX62" fmla="*/ 2640352 w 4519987"/>
                    <a:gd name="connsiteY62" fmla="*/ 4457700 h 4496940"/>
                    <a:gd name="connsiteX63" fmla="*/ 2583202 w 4519987"/>
                    <a:gd name="connsiteY63" fmla="*/ 4467225 h 4496940"/>
                    <a:gd name="connsiteX64" fmla="*/ 2545102 w 4519987"/>
                    <a:gd name="connsiteY64" fmla="*/ 4486275 h 4496940"/>
                    <a:gd name="connsiteX65" fmla="*/ 2306977 w 4519987"/>
                    <a:gd name="connsiteY65" fmla="*/ 4476750 h 4496940"/>
                    <a:gd name="connsiteX66" fmla="*/ 2202202 w 4519987"/>
                    <a:gd name="connsiteY66" fmla="*/ 4457700 h 4496940"/>
                    <a:gd name="connsiteX67" fmla="*/ 2126002 w 4519987"/>
                    <a:gd name="connsiteY67" fmla="*/ 4429125 h 4496940"/>
                    <a:gd name="connsiteX68" fmla="*/ 1935502 w 4519987"/>
                    <a:gd name="connsiteY68" fmla="*/ 4400550 h 4496940"/>
                    <a:gd name="connsiteX69" fmla="*/ 1821202 w 4519987"/>
                    <a:gd name="connsiteY69" fmla="*/ 4371975 h 4496940"/>
                    <a:gd name="connsiteX70" fmla="*/ 1754527 w 4519987"/>
                    <a:gd name="connsiteY70" fmla="*/ 4352925 h 4496940"/>
                    <a:gd name="connsiteX71" fmla="*/ 1687852 w 4519987"/>
                    <a:gd name="connsiteY71" fmla="*/ 4343400 h 4496940"/>
                    <a:gd name="connsiteX72" fmla="*/ 1573552 w 4519987"/>
                    <a:gd name="connsiteY72" fmla="*/ 4305300 h 4496940"/>
                    <a:gd name="connsiteX73" fmla="*/ 1402102 w 4519987"/>
                    <a:gd name="connsiteY73" fmla="*/ 4276725 h 4496940"/>
                    <a:gd name="connsiteX74" fmla="*/ 1287802 w 4519987"/>
                    <a:gd name="connsiteY74" fmla="*/ 4229100 h 4496940"/>
                    <a:gd name="connsiteX75" fmla="*/ 1221127 w 4519987"/>
                    <a:gd name="connsiteY75" fmla="*/ 4200525 h 4496940"/>
                    <a:gd name="connsiteX76" fmla="*/ 1144927 w 4519987"/>
                    <a:gd name="connsiteY76" fmla="*/ 4171950 h 4496940"/>
                    <a:gd name="connsiteX77" fmla="*/ 1087777 w 4519987"/>
                    <a:gd name="connsiteY77" fmla="*/ 4143375 h 4496940"/>
                    <a:gd name="connsiteX78" fmla="*/ 1030627 w 4519987"/>
                    <a:gd name="connsiteY78" fmla="*/ 4124325 h 4496940"/>
                    <a:gd name="connsiteX79" fmla="*/ 925852 w 4519987"/>
                    <a:gd name="connsiteY79" fmla="*/ 4067175 h 4496940"/>
                    <a:gd name="connsiteX80" fmla="*/ 830602 w 4519987"/>
                    <a:gd name="connsiteY80" fmla="*/ 3981450 h 4496940"/>
                    <a:gd name="connsiteX81" fmla="*/ 763927 w 4519987"/>
                    <a:gd name="connsiteY81" fmla="*/ 3914775 h 4496940"/>
                    <a:gd name="connsiteX82" fmla="*/ 725827 w 4519987"/>
                    <a:gd name="connsiteY82" fmla="*/ 3876675 h 4496940"/>
                    <a:gd name="connsiteX83" fmla="*/ 697252 w 4519987"/>
                    <a:gd name="connsiteY83" fmla="*/ 3838575 h 4496940"/>
                    <a:gd name="connsiteX84" fmla="*/ 640102 w 4519987"/>
                    <a:gd name="connsiteY84" fmla="*/ 3781425 h 4496940"/>
                    <a:gd name="connsiteX85" fmla="*/ 611527 w 4519987"/>
                    <a:gd name="connsiteY85" fmla="*/ 3733800 h 4496940"/>
                    <a:gd name="connsiteX86" fmla="*/ 554377 w 4519987"/>
                    <a:gd name="connsiteY86" fmla="*/ 3657600 h 4496940"/>
                    <a:gd name="connsiteX87" fmla="*/ 525802 w 4519987"/>
                    <a:gd name="connsiteY87" fmla="*/ 3609975 h 4496940"/>
                    <a:gd name="connsiteX88" fmla="*/ 497227 w 4519987"/>
                    <a:gd name="connsiteY88" fmla="*/ 3552825 h 4496940"/>
                    <a:gd name="connsiteX89" fmla="*/ 440077 w 4519987"/>
                    <a:gd name="connsiteY89" fmla="*/ 3495675 h 4496940"/>
                    <a:gd name="connsiteX90" fmla="*/ 411502 w 4519987"/>
                    <a:gd name="connsiteY90" fmla="*/ 3448050 h 4496940"/>
                    <a:gd name="connsiteX91" fmla="*/ 278152 w 4519987"/>
                    <a:gd name="connsiteY91" fmla="*/ 3257550 h 4496940"/>
                    <a:gd name="connsiteX92" fmla="*/ 249577 w 4519987"/>
                    <a:gd name="connsiteY92" fmla="*/ 3200400 h 4496940"/>
                    <a:gd name="connsiteX93" fmla="*/ 240052 w 4519987"/>
                    <a:gd name="connsiteY93" fmla="*/ 3162300 h 4496940"/>
                    <a:gd name="connsiteX94" fmla="*/ 221002 w 4519987"/>
                    <a:gd name="connsiteY94" fmla="*/ 3105150 h 4496940"/>
                    <a:gd name="connsiteX95" fmla="*/ 173377 w 4519987"/>
                    <a:gd name="connsiteY95" fmla="*/ 3019425 h 4496940"/>
                    <a:gd name="connsiteX96" fmla="*/ 144802 w 4519987"/>
                    <a:gd name="connsiteY96" fmla="*/ 2924175 h 4496940"/>
                    <a:gd name="connsiteX97" fmla="*/ 68602 w 4519987"/>
                    <a:gd name="connsiteY97" fmla="*/ 2724150 h 4496940"/>
                    <a:gd name="connsiteX98" fmla="*/ 49552 w 4519987"/>
                    <a:gd name="connsiteY98" fmla="*/ 2638425 h 4496940"/>
                    <a:gd name="connsiteX99" fmla="*/ 40027 w 4519987"/>
                    <a:gd name="connsiteY99" fmla="*/ 2562225 h 4496940"/>
                    <a:gd name="connsiteX100" fmla="*/ 30502 w 4519987"/>
                    <a:gd name="connsiteY100" fmla="*/ 2514600 h 4496940"/>
                    <a:gd name="connsiteX101" fmla="*/ 11452 w 4519987"/>
                    <a:gd name="connsiteY101" fmla="*/ 2400300 h 4496940"/>
                    <a:gd name="connsiteX102" fmla="*/ 20977 w 4519987"/>
                    <a:gd name="connsiteY102" fmla="*/ 1905000 h 4496940"/>
                    <a:gd name="connsiteX103" fmla="*/ 30502 w 4519987"/>
                    <a:gd name="connsiteY103" fmla="*/ 1838325 h 4496940"/>
                    <a:gd name="connsiteX104" fmla="*/ 49552 w 4519987"/>
                    <a:gd name="connsiteY104" fmla="*/ 1781175 h 4496940"/>
                    <a:gd name="connsiteX105" fmla="*/ 59077 w 4519987"/>
                    <a:gd name="connsiteY105" fmla="*/ 1743075 h 4496940"/>
                    <a:gd name="connsiteX106" fmla="*/ 78127 w 4519987"/>
                    <a:gd name="connsiteY106" fmla="*/ 1685925 h 4496940"/>
                    <a:gd name="connsiteX107" fmla="*/ 87652 w 4519987"/>
                    <a:gd name="connsiteY107" fmla="*/ 1638300 h 4496940"/>
                    <a:gd name="connsiteX108" fmla="*/ 106702 w 4519987"/>
                    <a:gd name="connsiteY108" fmla="*/ 1590675 h 4496940"/>
                    <a:gd name="connsiteX109" fmla="*/ 135277 w 4519987"/>
                    <a:gd name="connsiteY109" fmla="*/ 1504950 h 4496940"/>
                    <a:gd name="connsiteX110" fmla="*/ 154327 w 4519987"/>
                    <a:gd name="connsiteY110" fmla="*/ 1419225 h 4496940"/>
                    <a:gd name="connsiteX111" fmla="*/ 230527 w 4519987"/>
                    <a:gd name="connsiteY111" fmla="*/ 1276350 h 4496940"/>
                    <a:gd name="connsiteX112" fmla="*/ 240052 w 4519987"/>
                    <a:gd name="connsiteY112" fmla="*/ 1247775 h 4496940"/>
                    <a:gd name="connsiteX113" fmla="*/ 268627 w 4519987"/>
                    <a:gd name="connsiteY113" fmla="*/ 1200150 h 4496940"/>
                    <a:gd name="connsiteX114" fmla="*/ 287677 w 4519987"/>
                    <a:gd name="connsiteY114" fmla="*/ 1152525 h 4496940"/>
                    <a:gd name="connsiteX115" fmla="*/ 316252 w 4519987"/>
                    <a:gd name="connsiteY115" fmla="*/ 1114425 h 4496940"/>
                    <a:gd name="connsiteX116" fmla="*/ 363877 w 4519987"/>
                    <a:gd name="connsiteY116" fmla="*/ 1038225 h 4496940"/>
                    <a:gd name="connsiteX117" fmla="*/ 382927 w 4519987"/>
                    <a:gd name="connsiteY117" fmla="*/ 1009650 h 4496940"/>
                    <a:gd name="connsiteX118" fmla="*/ 440077 w 4519987"/>
                    <a:gd name="connsiteY118" fmla="*/ 904875 h 4496940"/>
                    <a:gd name="connsiteX119" fmla="*/ 478177 w 4519987"/>
                    <a:gd name="connsiteY119" fmla="*/ 857250 h 4496940"/>
                    <a:gd name="connsiteX120" fmla="*/ 497227 w 4519987"/>
                    <a:gd name="connsiteY120" fmla="*/ 828675 h 4496940"/>
                    <a:gd name="connsiteX121" fmla="*/ 535327 w 4519987"/>
                    <a:gd name="connsiteY121" fmla="*/ 800100 h 4496940"/>
                    <a:gd name="connsiteX122" fmla="*/ 602002 w 4519987"/>
                    <a:gd name="connsiteY122" fmla="*/ 733425 h 4496940"/>
                    <a:gd name="connsiteX123" fmla="*/ 668677 w 4519987"/>
                    <a:gd name="connsiteY123" fmla="*/ 676275 h 4496940"/>
                    <a:gd name="connsiteX124" fmla="*/ 697252 w 4519987"/>
                    <a:gd name="connsiteY124" fmla="*/ 657225 h 4496940"/>
                    <a:gd name="connsiteX125" fmla="*/ 840127 w 4519987"/>
                    <a:gd name="connsiteY125" fmla="*/ 533400 h 4496940"/>
                    <a:gd name="connsiteX126" fmla="*/ 887752 w 4519987"/>
                    <a:gd name="connsiteY126" fmla="*/ 504825 h 4496940"/>
                    <a:gd name="connsiteX127" fmla="*/ 1167152 w 4519987"/>
                    <a:gd name="connsiteY127" fmla="*/ 311150 h 4496940"/>
                    <a:gd name="connsiteX128" fmla="*/ 1268752 w 4519987"/>
                    <a:gd name="connsiteY128" fmla="*/ 285750 h 4496940"/>
                    <a:gd name="connsiteX129" fmla="*/ 1411627 w 4519987"/>
                    <a:gd name="connsiteY129" fmla="*/ 190500 h 4496940"/>
                    <a:gd name="connsiteX130" fmla="*/ 1449727 w 4519987"/>
                    <a:gd name="connsiteY130" fmla="*/ 161925 h 4496940"/>
                    <a:gd name="connsiteX131" fmla="*/ 1525927 w 4519987"/>
                    <a:gd name="connsiteY131" fmla="*/ 152400 h 4496940"/>
                    <a:gd name="connsiteX132" fmla="*/ 1583077 w 4519987"/>
                    <a:gd name="connsiteY132" fmla="*/ 142875 h 4496940"/>
                    <a:gd name="connsiteX133" fmla="*/ 1716427 w 4519987"/>
                    <a:gd name="connsiteY133" fmla="*/ 123825 h 4496940"/>
                    <a:gd name="connsiteX134" fmla="*/ 1811677 w 4519987"/>
                    <a:gd name="connsiteY134" fmla="*/ 114300 h 4496940"/>
                    <a:gd name="connsiteX135" fmla="*/ 1859302 w 4519987"/>
                    <a:gd name="connsiteY135" fmla="*/ 104775 h 4496940"/>
                    <a:gd name="connsiteX136" fmla="*/ 1916452 w 4519987"/>
                    <a:gd name="connsiteY136" fmla="*/ 95250 h 4496940"/>
                    <a:gd name="connsiteX137" fmla="*/ 2030752 w 4519987"/>
                    <a:gd name="connsiteY137" fmla="*/ 66675 h 4496940"/>
                    <a:gd name="connsiteX138" fmla="*/ 2097427 w 4519987"/>
                    <a:gd name="connsiteY138" fmla="*/ 47625 h 4496940"/>
                    <a:gd name="connsiteX139" fmla="*/ 2164102 w 4519987"/>
                    <a:gd name="connsiteY139" fmla="*/ 38100 h 4496940"/>
                    <a:gd name="connsiteX140" fmla="*/ 2392702 w 4519987"/>
                    <a:gd name="connsiteY14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221502 w 4519987"/>
                    <a:gd name="connsiteY33" fmla="*/ 3333750 h 4496940"/>
                    <a:gd name="connsiteX34" fmla="*/ 4183402 w 4519987"/>
                    <a:gd name="connsiteY34" fmla="*/ 3400425 h 4496940"/>
                    <a:gd name="connsiteX35" fmla="*/ 4088152 w 4519987"/>
                    <a:gd name="connsiteY35" fmla="*/ 3495675 h 4496940"/>
                    <a:gd name="connsiteX36" fmla="*/ 4059577 w 4519987"/>
                    <a:gd name="connsiteY36" fmla="*/ 3533775 h 4496940"/>
                    <a:gd name="connsiteX37" fmla="*/ 4002427 w 4519987"/>
                    <a:gd name="connsiteY37" fmla="*/ 3600450 h 4496940"/>
                    <a:gd name="connsiteX38" fmla="*/ 3983377 w 4519987"/>
                    <a:gd name="connsiteY38" fmla="*/ 3629025 h 4496940"/>
                    <a:gd name="connsiteX39" fmla="*/ 3954802 w 4519987"/>
                    <a:gd name="connsiteY39" fmla="*/ 3648075 h 4496940"/>
                    <a:gd name="connsiteX40" fmla="*/ 3907177 w 4519987"/>
                    <a:gd name="connsiteY40" fmla="*/ 3686175 h 4496940"/>
                    <a:gd name="connsiteX41" fmla="*/ 3869077 w 4519987"/>
                    <a:gd name="connsiteY41" fmla="*/ 3724275 h 4496940"/>
                    <a:gd name="connsiteX42" fmla="*/ 3792877 w 4519987"/>
                    <a:gd name="connsiteY42" fmla="*/ 3781425 h 4496940"/>
                    <a:gd name="connsiteX43" fmla="*/ 3783352 w 4519987"/>
                    <a:gd name="connsiteY43" fmla="*/ 3810000 h 4496940"/>
                    <a:gd name="connsiteX44" fmla="*/ 3745252 w 4519987"/>
                    <a:gd name="connsiteY44" fmla="*/ 3819525 h 4496940"/>
                    <a:gd name="connsiteX45" fmla="*/ 3678577 w 4519987"/>
                    <a:gd name="connsiteY45" fmla="*/ 3848100 h 4496940"/>
                    <a:gd name="connsiteX46" fmla="*/ 3659527 w 4519987"/>
                    <a:gd name="connsiteY46" fmla="*/ 3971925 h 4496940"/>
                    <a:gd name="connsiteX47" fmla="*/ 3630952 w 4519987"/>
                    <a:gd name="connsiteY47" fmla="*/ 4010025 h 4496940"/>
                    <a:gd name="connsiteX48" fmla="*/ 3621427 w 4519987"/>
                    <a:gd name="connsiteY48" fmla="*/ 4038600 h 4496940"/>
                    <a:gd name="connsiteX49" fmla="*/ 3554752 w 4519987"/>
                    <a:gd name="connsiteY49" fmla="*/ 4095750 h 4496940"/>
                    <a:gd name="connsiteX50" fmla="*/ 3516652 w 4519987"/>
                    <a:gd name="connsiteY50" fmla="*/ 4114800 h 4496940"/>
                    <a:gd name="connsiteX51" fmla="*/ 3497602 w 4519987"/>
                    <a:gd name="connsiteY51" fmla="*/ 4143375 h 4496940"/>
                    <a:gd name="connsiteX52" fmla="*/ 3383302 w 4519987"/>
                    <a:gd name="connsiteY52" fmla="*/ 4210050 h 4496940"/>
                    <a:gd name="connsiteX53" fmla="*/ 3335677 w 4519987"/>
                    <a:gd name="connsiteY53" fmla="*/ 4238625 h 4496940"/>
                    <a:gd name="connsiteX54" fmla="*/ 3288052 w 4519987"/>
                    <a:gd name="connsiteY54" fmla="*/ 4248150 h 4496940"/>
                    <a:gd name="connsiteX55" fmla="*/ 3240427 w 4519987"/>
                    <a:gd name="connsiteY55" fmla="*/ 4267200 h 4496940"/>
                    <a:gd name="connsiteX56" fmla="*/ 3068977 w 4519987"/>
                    <a:gd name="connsiteY56" fmla="*/ 4286250 h 4496940"/>
                    <a:gd name="connsiteX57" fmla="*/ 2935627 w 4519987"/>
                    <a:gd name="connsiteY57" fmla="*/ 4333875 h 4496940"/>
                    <a:gd name="connsiteX58" fmla="*/ 2811802 w 4519987"/>
                    <a:gd name="connsiteY58" fmla="*/ 4371975 h 4496940"/>
                    <a:gd name="connsiteX59" fmla="*/ 2745127 w 4519987"/>
                    <a:gd name="connsiteY59" fmla="*/ 4410075 h 4496940"/>
                    <a:gd name="connsiteX60" fmla="*/ 2697502 w 4519987"/>
                    <a:gd name="connsiteY60" fmla="*/ 4429125 h 4496940"/>
                    <a:gd name="connsiteX61" fmla="*/ 2640352 w 4519987"/>
                    <a:gd name="connsiteY61" fmla="*/ 4457700 h 4496940"/>
                    <a:gd name="connsiteX62" fmla="*/ 2583202 w 4519987"/>
                    <a:gd name="connsiteY62" fmla="*/ 4467225 h 4496940"/>
                    <a:gd name="connsiteX63" fmla="*/ 2545102 w 4519987"/>
                    <a:gd name="connsiteY63" fmla="*/ 4486275 h 4496940"/>
                    <a:gd name="connsiteX64" fmla="*/ 2306977 w 4519987"/>
                    <a:gd name="connsiteY64" fmla="*/ 4476750 h 4496940"/>
                    <a:gd name="connsiteX65" fmla="*/ 2202202 w 4519987"/>
                    <a:gd name="connsiteY65" fmla="*/ 4457700 h 4496940"/>
                    <a:gd name="connsiteX66" fmla="*/ 2126002 w 4519987"/>
                    <a:gd name="connsiteY66" fmla="*/ 4429125 h 4496940"/>
                    <a:gd name="connsiteX67" fmla="*/ 1935502 w 4519987"/>
                    <a:gd name="connsiteY67" fmla="*/ 4400550 h 4496940"/>
                    <a:gd name="connsiteX68" fmla="*/ 1821202 w 4519987"/>
                    <a:gd name="connsiteY68" fmla="*/ 4371975 h 4496940"/>
                    <a:gd name="connsiteX69" fmla="*/ 1754527 w 4519987"/>
                    <a:gd name="connsiteY69" fmla="*/ 4352925 h 4496940"/>
                    <a:gd name="connsiteX70" fmla="*/ 1687852 w 4519987"/>
                    <a:gd name="connsiteY70" fmla="*/ 4343400 h 4496940"/>
                    <a:gd name="connsiteX71" fmla="*/ 1573552 w 4519987"/>
                    <a:gd name="connsiteY71" fmla="*/ 4305300 h 4496940"/>
                    <a:gd name="connsiteX72" fmla="*/ 1402102 w 4519987"/>
                    <a:gd name="connsiteY72" fmla="*/ 4276725 h 4496940"/>
                    <a:gd name="connsiteX73" fmla="*/ 1287802 w 4519987"/>
                    <a:gd name="connsiteY73" fmla="*/ 4229100 h 4496940"/>
                    <a:gd name="connsiteX74" fmla="*/ 1221127 w 4519987"/>
                    <a:gd name="connsiteY74" fmla="*/ 4200525 h 4496940"/>
                    <a:gd name="connsiteX75" fmla="*/ 1144927 w 4519987"/>
                    <a:gd name="connsiteY75" fmla="*/ 4171950 h 4496940"/>
                    <a:gd name="connsiteX76" fmla="*/ 1087777 w 4519987"/>
                    <a:gd name="connsiteY76" fmla="*/ 4143375 h 4496940"/>
                    <a:gd name="connsiteX77" fmla="*/ 1030627 w 4519987"/>
                    <a:gd name="connsiteY77" fmla="*/ 4124325 h 4496940"/>
                    <a:gd name="connsiteX78" fmla="*/ 925852 w 4519987"/>
                    <a:gd name="connsiteY78" fmla="*/ 4067175 h 4496940"/>
                    <a:gd name="connsiteX79" fmla="*/ 830602 w 4519987"/>
                    <a:gd name="connsiteY79" fmla="*/ 3981450 h 4496940"/>
                    <a:gd name="connsiteX80" fmla="*/ 763927 w 4519987"/>
                    <a:gd name="connsiteY80" fmla="*/ 3914775 h 4496940"/>
                    <a:gd name="connsiteX81" fmla="*/ 725827 w 4519987"/>
                    <a:gd name="connsiteY81" fmla="*/ 3876675 h 4496940"/>
                    <a:gd name="connsiteX82" fmla="*/ 697252 w 4519987"/>
                    <a:gd name="connsiteY82" fmla="*/ 3838575 h 4496940"/>
                    <a:gd name="connsiteX83" fmla="*/ 640102 w 4519987"/>
                    <a:gd name="connsiteY83" fmla="*/ 3781425 h 4496940"/>
                    <a:gd name="connsiteX84" fmla="*/ 611527 w 4519987"/>
                    <a:gd name="connsiteY84" fmla="*/ 3733800 h 4496940"/>
                    <a:gd name="connsiteX85" fmla="*/ 554377 w 4519987"/>
                    <a:gd name="connsiteY85" fmla="*/ 3657600 h 4496940"/>
                    <a:gd name="connsiteX86" fmla="*/ 525802 w 4519987"/>
                    <a:gd name="connsiteY86" fmla="*/ 3609975 h 4496940"/>
                    <a:gd name="connsiteX87" fmla="*/ 497227 w 4519987"/>
                    <a:gd name="connsiteY87" fmla="*/ 3552825 h 4496940"/>
                    <a:gd name="connsiteX88" fmla="*/ 440077 w 4519987"/>
                    <a:gd name="connsiteY88" fmla="*/ 3495675 h 4496940"/>
                    <a:gd name="connsiteX89" fmla="*/ 411502 w 4519987"/>
                    <a:gd name="connsiteY89" fmla="*/ 3448050 h 4496940"/>
                    <a:gd name="connsiteX90" fmla="*/ 278152 w 4519987"/>
                    <a:gd name="connsiteY90" fmla="*/ 3257550 h 4496940"/>
                    <a:gd name="connsiteX91" fmla="*/ 249577 w 4519987"/>
                    <a:gd name="connsiteY91" fmla="*/ 3200400 h 4496940"/>
                    <a:gd name="connsiteX92" fmla="*/ 240052 w 4519987"/>
                    <a:gd name="connsiteY92" fmla="*/ 3162300 h 4496940"/>
                    <a:gd name="connsiteX93" fmla="*/ 221002 w 4519987"/>
                    <a:gd name="connsiteY93" fmla="*/ 3105150 h 4496940"/>
                    <a:gd name="connsiteX94" fmla="*/ 173377 w 4519987"/>
                    <a:gd name="connsiteY94" fmla="*/ 3019425 h 4496940"/>
                    <a:gd name="connsiteX95" fmla="*/ 144802 w 4519987"/>
                    <a:gd name="connsiteY95" fmla="*/ 2924175 h 4496940"/>
                    <a:gd name="connsiteX96" fmla="*/ 68602 w 4519987"/>
                    <a:gd name="connsiteY96" fmla="*/ 2724150 h 4496940"/>
                    <a:gd name="connsiteX97" fmla="*/ 49552 w 4519987"/>
                    <a:gd name="connsiteY97" fmla="*/ 2638425 h 4496940"/>
                    <a:gd name="connsiteX98" fmla="*/ 40027 w 4519987"/>
                    <a:gd name="connsiteY98" fmla="*/ 2562225 h 4496940"/>
                    <a:gd name="connsiteX99" fmla="*/ 30502 w 4519987"/>
                    <a:gd name="connsiteY99" fmla="*/ 2514600 h 4496940"/>
                    <a:gd name="connsiteX100" fmla="*/ 11452 w 4519987"/>
                    <a:gd name="connsiteY100" fmla="*/ 2400300 h 4496940"/>
                    <a:gd name="connsiteX101" fmla="*/ 20977 w 4519987"/>
                    <a:gd name="connsiteY101" fmla="*/ 1905000 h 4496940"/>
                    <a:gd name="connsiteX102" fmla="*/ 30502 w 4519987"/>
                    <a:gd name="connsiteY102" fmla="*/ 1838325 h 4496940"/>
                    <a:gd name="connsiteX103" fmla="*/ 49552 w 4519987"/>
                    <a:gd name="connsiteY103" fmla="*/ 1781175 h 4496940"/>
                    <a:gd name="connsiteX104" fmla="*/ 59077 w 4519987"/>
                    <a:gd name="connsiteY104" fmla="*/ 1743075 h 4496940"/>
                    <a:gd name="connsiteX105" fmla="*/ 78127 w 4519987"/>
                    <a:gd name="connsiteY105" fmla="*/ 1685925 h 4496940"/>
                    <a:gd name="connsiteX106" fmla="*/ 87652 w 4519987"/>
                    <a:gd name="connsiteY106" fmla="*/ 1638300 h 4496940"/>
                    <a:gd name="connsiteX107" fmla="*/ 106702 w 4519987"/>
                    <a:gd name="connsiteY107" fmla="*/ 1590675 h 4496940"/>
                    <a:gd name="connsiteX108" fmla="*/ 135277 w 4519987"/>
                    <a:gd name="connsiteY108" fmla="*/ 1504950 h 4496940"/>
                    <a:gd name="connsiteX109" fmla="*/ 154327 w 4519987"/>
                    <a:gd name="connsiteY109" fmla="*/ 1419225 h 4496940"/>
                    <a:gd name="connsiteX110" fmla="*/ 230527 w 4519987"/>
                    <a:gd name="connsiteY110" fmla="*/ 1276350 h 4496940"/>
                    <a:gd name="connsiteX111" fmla="*/ 240052 w 4519987"/>
                    <a:gd name="connsiteY111" fmla="*/ 1247775 h 4496940"/>
                    <a:gd name="connsiteX112" fmla="*/ 268627 w 4519987"/>
                    <a:gd name="connsiteY112" fmla="*/ 1200150 h 4496940"/>
                    <a:gd name="connsiteX113" fmla="*/ 287677 w 4519987"/>
                    <a:gd name="connsiteY113" fmla="*/ 1152525 h 4496940"/>
                    <a:gd name="connsiteX114" fmla="*/ 316252 w 4519987"/>
                    <a:gd name="connsiteY114" fmla="*/ 1114425 h 4496940"/>
                    <a:gd name="connsiteX115" fmla="*/ 363877 w 4519987"/>
                    <a:gd name="connsiteY115" fmla="*/ 1038225 h 4496940"/>
                    <a:gd name="connsiteX116" fmla="*/ 382927 w 4519987"/>
                    <a:gd name="connsiteY116" fmla="*/ 1009650 h 4496940"/>
                    <a:gd name="connsiteX117" fmla="*/ 440077 w 4519987"/>
                    <a:gd name="connsiteY117" fmla="*/ 904875 h 4496940"/>
                    <a:gd name="connsiteX118" fmla="*/ 478177 w 4519987"/>
                    <a:gd name="connsiteY118" fmla="*/ 857250 h 4496940"/>
                    <a:gd name="connsiteX119" fmla="*/ 497227 w 4519987"/>
                    <a:gd name="connsiteY119" fmla="*/ 828675 h 4496940"/>
                    <a:gd name="connsiteX120" fmla="*/ 535327 w 4519987"/>
                    <a:gd name="connsiteY120" fmla="*/ 800100 h 4496940"/>
                    <a:gd name="connsiteX121" fmla="*/ 602002 w 4519987"/>
                    <a:gd name="connsiteY121" fmla="*/ 733425 h 4496940"/>
                    <a:gd name="connsiteX122" fmla="*/ 668677 w 4519987"/>
                    <a:gd name="connsiteY122" fmla="*/ 676275 h 4496940"/>
                    <a:gd name="connsiteX123" fmla="*/ 697252 w 4519987"/>
                    <a:gd name="connsiteY123" fmla="*/ 657225 h 4496940"/>
                    <a:gd name="connsiteX124" fmla="*/ 840127 w 4519987"/>
                    <a:gd name="connsiteY124" fmla="*/ 533400 h 4496940"/>
                    <a:gd name="connsiteX125" fmla="*/ 887752 w 4519987"/>
                    <a:gd name="connsiteY125" fmla="*/ 504825 h 4496940"/>
                    <a:gd name="connsiteX126" fmla="*/ 1167152 w 4519987"/>
                    <a:gd name="connsiteY126" fmla="*/ 311150 h 4496940"/>
                    <a:gd name="connsiteX127" fmla="*/ 1268752 w 4519987"/>
                    <a:gd name="connsiteY127" fmla="*/ 285750 h 4496940"/>
                    <a:gd name="connsiteX128" fmla="*/ 1411627 w 4519987"/>
                    <a:gd name="connsiteY128" fmla="*/ 190500 h 4496940"/>
                    <a:gd name="connsiteX129" fmla="*/ 1449727 w 4519987"/>
                    <a:gd name="connsiteY129" fmla="*/ 161925 h 4496940"/>
                    <a:gd name="connsiteX130" fmla="*/ 1525927 w 4519987"/>
                    <a:gd name="connsiteY130" fmla="*/ 152400 h 4496940"/>
                    <a:gd name="connsiteX131" fmla="*/ 1583077 w 4519987"/>
                    <a:gd name="connsiteY131" fmla="*/ 142875 h 4496940"/>
                    <a:gd name="connsiteX132" fmla="*/ 1716427 w 4519987"/>
                    <a:gd name="connsiteY132" fmla="*/ 123825 h 4496940"/>
                    <a:gd name="connsiteX133" fmla="*/ 1811677 w 4519987"/>
                    <a:gd name="connsiteY133" fmla="*/ 114300 h 4496940"/>
                    <a:gd name="connsiteX134" fmla="*/ 1859302 w 4519987"/>
                    <a:gd name="connsiteY134" fmla="*/ 104775 h 4496940"/>
                    <a:gd name="connsiteX135" fmla="*/ 1916452 w 4519987"/>
                    <a:gd name="connsiteY135" fmla="*/ 95250 h 4496940"/>
                    <a:gd name="connsiteX136" fmla="*/ 2030752 w 4519987"/>
                    <a:gd name="connsiteY136" fmla="*/ 66675 h 4496940"/>
                    <a:gd name="connsiteX137" fmla="*/ 2097427 w 4519987"/>
                    <a:gd name="connsiteY137" fmla="*/ 47625 h 4496940"/>
                    <a:gd name="connsiteX138" fmla="*/ 2164102 w 4519987"/>
                    <a:gd name="connsiteY138" fmla="*/ 38100 h 4496940"/>
                    <a:gd name="connsiteX139" fmla="*/ 2392702 w 4519987"/>
                    <a:gd name="connsiteY13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83377 w 4519987"/>
                    <a:gd name="connsiteY37" fmla="*/ 3629025 h 4496940"/>
                    <a:gd name="connsiteX38" fmla="*/ 3954802 w 4519987"/>
                    <a:gd name="connsiteY38" fmla="*/ 3648075 h 4496940"/>
                    <a:gd name="connsiteX39" fmla="*/ 3907177 w 4519987"/>
                    <a:gd name="connsiteY39" fmla="*/ 3686175 h 4496940"/>
                    <a:gd name="connsiteX40" fmla="*/ 3869077 w 4519987"/>
                    <a:gd name="connsiteY40" fmla="*/ 3724275 h 4496940"/>
                    <a:gd name="connsiteX41" fmla="*/ 3792877 w 4519987"/>
                    <a:gd name="connsiteY41" fmla="*/ 3781425 h 4496940"/>
                    <a:gd name="connsiteX42" fmla="*/ 3783352 w 4519987"/>
                    <a:gd name="connsiteY42" fmla="*/ 3810000 h 4496940"/>
                    <a:gd name="connsiteX43" fmla="*/ 3745252 w 4519987"/>
                    <a:gd name="connsiteY43" fmla="*/ 3819525 h 4496940"/>
                    <a:gd name="connsiteX44" fmla="*/ 3678577 w 4519987"/>
                    <a:gd name="connsiteY44" fmla="*/ 3848100 h 4496940"/>
                    <a:gd name="connsiteX45" fmla="*/ 3659527 w 4519987"/>
                    <a:gd name="connsiteY45" fmla="*/ 3971925 h 4496940"/>
                    <a:gd name="connsiteX46" fmla="*/ 3630952 w 4519987"/>
                    <a:gd name="connsiteY46" fmla="*/ 4010025 h 4496940"/>
                    <a:gd name="connsiteX47" fmla="*/ 3621427 w 4519987"/>
                    <a:gd name="connsiteY47" fmla="*/ 4038600 h 4496940"/>
                    <a:gd name="connsiteX48" fmla="*/ 3554752 w 4519987"/>
                    <a:gd name="connsiteY48" fmla="*/ 4095750 h 4496940"/>
                    <a:gd name="connsiteX49" fmla="*/ 3516652 w 4519987"/>
                    <a:gd name="connsiteY49" fmla="*/ 4114800 h 4496940"/>
                    <a:gd name="connsiteX50" fmla="*/ 3497602 w 4519987"/>
                    <a:gd name="connsiteY50" fmla="*/ 4143375 h 4496940"/>
                    <a:gd name="connsiteX51" fmla="*/ 3383302 w 4519987"/>
                    <a:gd name="connsiteY51" fmla="*/ 4210050 h 4496940"/>
                    <a:gd name="connsiteX52" fmla="*/ 3335677 w 4519987"/>
                    <a:gd name="connsiteY52" fmla="*/ 4238625 h 4496940"/>
                    <a:gd name="connsiteX53" fmla="*/ 3288052 w 4519987"/>
                    <a:gd name="connsiteY53" fmla="*/ 4248150 h 4496940"/>
                    <a:gd name="connsiteX54" fmla="*/ 3240427 w 4519987"/>
                    <a:gd name="connsiteY54" fmla="*/ 4267200 h 4496940"/>
                    <a:gd name="connsiteX55" fmla="*/ 3068977 w 4519987"/>
                    <a:gd name="connsiteY55" fmla="*/ 4286250 h 4496940"/>
                    <a:gd name="connsiteX56" fmla="*/ 2935627 w 4519987"/>
                    <a:gd name="connsiteY56" fmla="*/ 4333875 h 4496940"/>
                    <a:gd name="connsiteX57" fmla="*/ 2811802 w 4519987"/>
                    <a:gd name="connsiteY57" fmla="*/ 4371975 h 4496940"/>
                    <a:gd name="connsiteX58" fmla="*/ 2745127 w 4519987"/>
                    <a:gd name="connsiteY58" fmla="*/ 4410075 h 4496940"/>
                    <a:gd name="connsiteX59" fmla="*/ 2697502 w 4519987"/>
                    <a:gd name="connsiteY59" fmla="*/ 4429125 h 4496940"/>
                    <a:gd name="connsiteX60" fmla="*/ 2640352 w 4519987"/>
                    <a:gd name="connsiteY60" fmla="*/ 4457700 h 4496940"/>
                    <a:gd name="connsiteX61" fmla="*/ 2583202 w 4519987"/>
                    <a:gd name="connsiteY61" fmla="*/ 4467225 h 4496940"/>
                    <a:gd name="connsiteX62" fmla="*/ 2545102 w 4519987"/>
                    <a:gd name="connsiteY62" fmla="*/ 4486275 h 4496940"/>
                    <a:gd name="connsiteX63" fmla="*/ 2306977 w 4519987"/>
                    <a:gd name="connsiteY63" fmla="*/ 4476750 h 4496940"/>
                    <a:gd name="connsiteX64" fmla="*/ 2202202 w 4519987"/>
                    <a:gd name="connsiteY64" fmla="*/ 4457700 h 4496940"/>
                    <a:gd name="connsiteX65" fmla="*/ 2126002 w 4519987"/>
                    <a:gd name="connsiteY65" fmla="*/ 4429125 h 4496940"/>
                    <a:gd name="connsiteX66" fmla="*/ 1935502 w 4519987"/>
                    <a:gd name="connsiteY66" fmla="*/ 4400550 h 4496940"/>
                    <a:gd name="connsiteX67" fmla="*/ 1821202 w 4519987"/>
                    <a:gd name="connsiteY67" fmla="*/ 4371975 h 4496940"/>
                    <a:gd name="connsiteX68" fmla="*/ 1754527 w 4519987"/>
                    <a:gd name="connsiteY68" fmla="*/ 4352925 h 4496940"/>
                    <a:gd name="connsiteX69" fmla="*/ 1687852 w 4519987"/>
                    <a:gd name="connsiteY69" fmla="*/ 4343400 h 4496940"/>
                    <a:gd name="connsiteX70" fmla="*/ 1573552 w 4519987"/>
                    <a:gd name="connsiteY70" fmla="*/ 4305300 h 4496940"/>
                    <a:gd name="connsiteX71" fmla="*/ 1402102 w 4519987"/>
                    <a:gd name="connsiteY71" fmla="*/ 4276725 h 4496940"/>
                    <a:gd name="connsiteX72" fmla="*/ 1287802 w 4519987"/>
                    <a:gd name="connsiteY72" fmla="*/ 4229100 h 4496940"/>
                    <a:gd name="connsiteX73" fmla="*/ 1221127 w 4519987"/>
                    <a:gd name="connsiteY73" fmla="*/ 4200525 h 4496940"/>
                    <a:gd name="connsiteX74" fmla="*/ 1144927 w 4519987"/>
                    <a:gd name="connsiteY74" fmla="*/ 4171950 h 4496940"/>
                    <a:gd name="connsiteX75" fmla="*/ 1087777 w 4519987"/>
                    <a:gd name="connsiteY75" fmla="*/ 4143375 h 4496940"/>
                    <a:gd name="connsiteX76" fmla="*/ 1030627 w 4519987"/>
                    <a:gd name="connsiteY76" fmla="*/ 4124325 h 4496940"/>
                    <a:gd name="connsiteX77" fmla="*/ 925852 w 4519987"/>
                    <a:gd name="connsiteY77" fmla="*/ 4067175 h 4496940"/>
                    <a:gd name="connsiteX78" fmla="*/ 830602 w 4519987"/>
                    <a:gd name="connsiteY78" fmla="*/ 3981450 h 4496940"/>
                    <a:gd name="connsiteX79" fmla="*/ 763927 w 4519987"/>
                    <a:gd name="connsiteY79" fmla="*/ 3914775 h 4496940"/>
                    <a:gd name="connsiteX80" fmla="*/ 725827 w 4519987"/>
                    <a:gd name="connsiteY80" fmla="*/ 3876675 h 4496940"/>
                    <a:gd name="connsiteX81" fmla="*/ 697252 w 4519987"/>
                    <a:gd name="connsiteY81" fmla="*/ 3838575 h 4496940"/>
                    <a:gd name="connsiteX82" fmla="*/ 640102 w 4519987"/>
                    <a:gd name="connsiteY82" fmla="*/ 3781425 h 4496940"/>
                    <a:gd name="connsiteX83" fmla="*/ 611527 w 4519987"/>
                    <a:gd name="connsiteY83" fmla="*/ 3733800 h 4496940"/>
                    <a:gd name="connsiteX84" fmla="*/ 554377 w 4519987"/>
                    <a:gd name="connsiteY84" fmla="*/ 3657600 h 4496940"/>
                    <a:gd name="connsiteX85" fmla="*/ 525802 w 4519987"/>
                    <a:gd name="connsiteY85" fmla="*/ 3609975 h 4496940"/>
                    <a:gd name="connsiteX86" fmla="*/ 497227 w 4519987"/>
                    <a:gd name="connsiteY86" fmla="*/ 3552825 h 4496940"/>
                    <a:gd name="connsiteX87" fmla="*/ 440077 w 4519987"/>
                    <a:gd name="connsiteY87" fmla="*/ 3495675 h 4496940"/>
                    <a:gd name="connsiteX88" fmla="*/ 411502 w 4519987"/>
                    <a:gd name="connsiteY88" fmla="*/ 3448050 h 4496940"/>
                    <a:gd name="connsiteX89" fmla="*/ 278152 w 4519987"/>
                    <a:gd name="connsiteY89" fmla="*/ 3257550 h 4496940"/>
                    <a:gd name="connsiteX90" fmla="*/ 249577 w 4519987"/>
                    <a:gd name="connsiteY90" fmla="*/ 3200400 h 4496940"/>
                    <a:gd name="connsiteX91" fmla="*/ 240052 w 4519987"/>
                    <a:gd name="connsiteY91" fmla="*/ 3162300 h 4496940"/>
                    <a:gd name="connsiteX92" fmla="*/ 221002 w 4519987"/>
                    <a:gd name="connsiteY92" fmla="*/ 3105150 h 4496940"/>
                    <a:gd name="connsiteX93" fmla="*/ 173377 w 4519987"/>
                    <a:gd name="connsiteY93" fmla="*/ 3019425 h 4496940"/>
                    <a:gd name="connsiteX94" fmla="*/ 144802 w 4519987"/>
                    <a:gd name="connsiteY94" fmla="*/ 2924175 h 4496940"/>
                    <a:gd name="connsiteX95" fmla="*/ 68602 w 4519987"/>
                    <a:gd name="connsiteY95" fmla="*/ 2724150 h 4496940"/>
                    <a:gd name="connsiteX96" fmla="*/ 49552 w 4519987"/>
                    <a:gd name="connsiteY96" fmla="*/ 2638425 h 4496940"/>
                    <a:gd name="connsiteX97" fmla="*/ 40027 w 4519987"/>
                    <a:gd name="connsiteY97" fmla="*/ 2562225 h 4496940"/>
                    <a:gd name="connsiteX98" fmla="*/ 30502 w 4519987"/>
                    <a:gd name="connsiteY98" fmla="*/ 2514600 h 4496940"/>
                    <a:gd name="connsiteX99" fmla="*/ 11452 w 4519987"/>
                    <a:gd name="connsiteY99" fmla="*/ 2400300 h 4496940"/>
                    <a:gd name="connsiteX100" fmla="*/ 20977 w 4519987"/>
                    <a:gd name="connsiteY100" fmla="*/ 1905000 h 4496940"/>
                    <a:gd name="connsiteX101" fmla="*/ 30502 w 4519987"/>
                    <a:gd name="connsiteY101" fmla="*/ 1838325 h 4496940"/>
                    <a:gd name="connsiteX102" fmla="*/ 49552 w 4519987"/>
                    <a:gd name="connsiteY102" fmla="*/ 1781175 h 4496940"/>
                    <a:gd name="connsiteX103" fmla="*/ 59077 w 4519987"/>
                    <a:gd name="connsiteY103" fmla="*/ 1743075 h 4496940"/>
                    <a:gd name="connsiteX104" fmla="*/ 78127 w 4519987"/>
                    <a:gd name="connsiteY104" fmla="*/ 1685925 h 4496940"/>
                    <a:gd name="connsiteX105" fmla="*/ 87652 w 4519987"/>
                    <a:gd name="connsiteY105" fmla="*/ 1638300 h 4496940"/>
                    <a:gd name="connsiteX106" fmla="*/ 106702 w 4519987"/>
                    <a:gd name="connsiteY106" fmla="*/ 1590675 h 4496940"/>
                    <a:gd name="connsiteX107" fmla="*/ 135277 w 4519987"/>
                    <a:gd name="connsiteY107" fmla="*/ 1504950 h 4496940"/>
                    <a:gd name="connsiteX108" fmla="*/ 154327 w 4519987"/>
                    <a:gd name="connsiteY108" fmla="*/ 1419225 h 4496940"/>
                    <a:gd name="connsiteX109" fmla="*/ 230527 w 4519987"/>
                    <a:gd name="connsiteY109" fmla="*/ 1276350 h 4496940"/>
                    <a:gd name="connsiteX110" fmla="*/ 240052 w 4519987"/>
                    <a:gd name="connsiteY110" fmla="*/ 1247775 h 4496940"/>
                    <a:gd name="connsiteX111" fmla="*/ 268627 w 4519987"/>
                    <a:gd name="connsiteY111" fmla="*/ 1200150 h 4496940"/>
                    <a:gd name="connsiteX112" fmla="*/ 287677 w 4519987"/>
                    <a:gd name="connsiteY112" fmla="*/ 1152525 h 4496940"/>
                    <a:gd name="connsiteX113" fmla="*/ 316252 w 4519987"/>
                    <a:gd name="connsiteY113" fmla="*/ 1114425 h 4496940"/>
                    <a:gd name="connsiteX114" fmla="*/ 363877 w 4519987"/>
                    <a:gd name="connsiteY114" fmla="*/ 1038225 h 4496940"/>
                    <a:gd name="connsiteX115" fmla="*/ 382927 w 4519987"/>
                    <a:gd name="connsiteY115" fmla="*/ 1009650 h 4496940"/>
                    <a:gd name="connsiteX116" fmla="*/ 440077 w 4519987"/>
                    <a:gd name="connsiteY116" fmla="*/ 904875 h 4496940"/>
                    <a:gd name="connsiteX117" fmla="*/ 478177 w 4519987"/>
                    <a:gd name="connsiteY117" fmla="*/ 857250 h 4496940"/>
                    <a:gd name="connsiteX118" fmla="*/ 497227 w 4519987"/>
                    <a:gd name="connsiteY118" fmla="*/ 828675 h 4496940"/>
                    <a:gd name="connsiteX119" fmla="*/ 535327 w 4519987"/>
                    <a:gd name="connsiteY119" fmla="*/ 800100 h 4496940"/>
                    <a:gd name="connsiteX120" fmla="*/ 602002 w 4519987"/>
                    <a:gd name="connsiteY120" fmla="*/ 733425 h 4496940"/>
                    <a:gd name="connsiteX121" fmla="*/ 668677 w 4519987"/>
                    <a:gd name="connsiteY121" fmla="*/ 676275 h 4496940"/>
                    <a:gd name="connsiteX122" fmla="*/ 697252 w 4519987"/>
                    <a:gd name="connsiteY122" fmla="*/ 657225 h 4496940"/>
                    <a:gd name="connsiteX123" fmla="*/ 840127 w 4519987"/>
                    <a:gd name="connsiteY123" fmla="*/ 533400 h 4496940"/>
                    <a:gd name="connsiteX124" fmla="*/ 887752 w 4519987"/>
                    <a:gd name="connsiteY124" fmla="*/ 504825 h 4496940"/>
                    <a:gd name="connsiteX125" fmla="*/ 1167152 w 4519987"/>
                    <a:gd name="connsiteY125" fmla="*/ 311150 h 4496940"/>
                    <a:gd name="connsiteX126" fmla="*/ 1268752 w 4519987"/>
                    <a:gd name="connsiteY126" fmla="*/ 285750 h 4496940"/>
                    <a:gd name="connsiteX127" fmla="*/ 1411627 w 4519987"/>
                    <a:gd name="connsiteY127" fmla="*/ 190500 h 4496940"/>
                    <a:gd name="connsiteX128" fmla="*/ 1449727 w 4519987"/>
                    <a:gd name="connsiteY128" fmla="*/ 161925 h 4496940"/>
                    <a:gd name="connsiteX129" fmla="*/ 1525927 w 4519987"/>
                    <a:gd name="connsiteY129" fmla="*/ 152400 h 4496940"/>
                    <a:gd name="connsiteX130" fmla="*/ 1583077 w 4519987"/>
                    <a:gd name="connsiteY130" fmla="*/ 142875 h 4496940"/>
                    <a:gd name="connsiteX131" fmla="*/ 1716427 w 4519987"/>
                    <a:gd name="connsiteY131" fmla="*/ 123825 h 4496940"/>
                    <a:gd name="connsiteX132" fmla="*/ 1811677 w 4519987"/>
                    <a:gd name="connsiteY132" fmla="*/ 114300 h 4496940"/>
                    <a:gd name="connsiteX133" fmla="*/ 1859302 w 4519987"/>
                    <a:gd name="connsiteY133" fmla="*/ 104775 h 4496940"/>
                    <a:gd name="connsiteX134" fmla="*/ 1916452 w 4519987"/>
                    <a:gd name="connsiteY134" fmla="*/ 95250 h 4496940"/>
                    <a:gd name="connsiteX135" fmla="*/ 2030752 w 4519987"/>
                    <a:gd name="connsiteY135" fmla="*/ 66675 h 4496940"/>
                    <a:gd name="connsiteX136" fmla="*/ 2097427 w 4519987"/>
                    <a:gd name="connsiteY136" fmla="*/ 47625 h 4496940"/>
                    <a:gd name="connsiteX137" fmla="*/ 2164102 w 4519987"/>
                    <a:gd name="connsiteY137" fmla="*/ 38100 h 4496940"/>
                    <a:gd name="connsiteX138" fmla="*/ 2392702 w 4519987"/>
                    <a:gd name="connsiteY13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869077 w 4519987"/>
                    <a:gd name="connsiteY39" fmla="*/ 3724275 h 4496940"/>
                    <a:gd name="connsiteX40" fmla="*/ 3792877 w 4519987"/>
                    <a:gd name="connsiteY40" fmla="*/ 3781425 h 4496940"/>
                    <a:gd name="connsiteX41" fmla="*/ 3783352 w 4519987"/>
                    <a:gd name="connsiteY41" fmla="*/ 3810000 h 4496940"/>
                    <a:gd name="connsiteX42" fmla="*/ 3745252 w 4519987"/>
                    <a:gd name="connsiteY42" fmla="*/ 3819525 h 4496940"/>
                    <a:gd name="connsiteX43" fmla="*/ 3678577 w 4519987"/>
                    <a:gd name="connsiteY43" fmla="*/ 3848100 h 4496940"/>
                    <a:gd name="connsiteX44" fmla="*/ 3659527 w 4519987"/>
                    <a:gd name="connsiteY44" fmla="*/ 3971925 h 4496940"/>
                    <a:gd name="connsiteX45" fmla="*/ 3630952 w 4519987"/>
                    <a:gd name="connsiteY45" fmla="*/ 4010025 h 4496940"/>
                    <a:gd name="connsiteX46" fmla="*/ 3621427 w 4519987"/>
                    <a:gd name="connsiteY46" fmla="*/ 4038600 h 4496940"/>
                    <a:gd name="connsiteX47" fmla="*/ 3554752 w 4519987"/>
                    <a:gd name="connsiteY47" fmla="*/ 4095750 h 4496940"/>
                    <a:gd name="connsiteX48" fmla="*/ 3516652 w 4519987"/>
                    <a:gd name="connsiteY48" fmla="*/ 4114800 h 4496940"/>
                    <a:gd name="connsiteX49" fmla="*/ 3497602 w 4519987"/>
                    <a:gd name="connsiteY49" fmla="*/ 4143375 h 4496940"/>
                    <a:gd name="connsiteX50" fmla="*/ 3383302 w 4519987"/>
                    <a:gd name="connsiteY50" fmla="*/ 4210050 h 4496940"/>
                    <a:gd name="connsiteX51" fmla="*/ 3335677 w 4519987"/>
                    <a:gd name="connsiteY51" fmla="*/ 4238625 h 4496940"/>
                    <a:gd name="connsiteX52" fmla="*/ 3288052 w 4519987"/>
                    <a:gd name="connsiteY52" fmla="*/ 4248150 h 4496940"/>
                    <a:gd name="connsiteX53" fmla="*/ 3240427 w 4519987"/>
                    <a:gd name="connsiteY53" fmla="*/ 4267200 h 4496940"/>
                    <a:gd name="connsiteX54" fmla="*/ 3068977 w 4519987"/>
                    <a:gd name="connsiteY54" fmla="*/ 4286250 h 4496940"/>
                    <a:gd name="connsiteX55" fmla="*/ 2935627 w 4519987"/>
                    <a:gd name="connsiteY55" fmla="*/ 4333875 h 4496940"/>
                    <a:gd name="connsiteX56" fmla="*/ 2811802 w 4519987"/>
                    <a:gd name="connsiteY56" fmla="*/ 4371975 h 4496940"/>
                    <a:gd name="connsiteX57" fmla="*/ 2745127 w 4519987"/>
                    <a:gd name="connsiteY57" fmla="*/ 4410075 h 4496940"/>
                    <a:gd name="connsiteX58" fmla="*/ 2697502 w 4519987"/>
                    <a:gd name="connsiteY58" fmla="*/ 4429125 h 4496940"/>
                    <a:gd name="connsiteX59" fmla="*/ 2640352 w 4519987"/>
                    <a:gd name="connsiteY59" fmla="*/ 4457700 h 4496940"/>
                    <a:gd name="connsiteX60" fmla="*/ 2583202 w 4519987"/>
                    <a:gd name="connsiteY60" fmla="*/ 4467225 h 4496940"/>
                    <a:gd name="connsiteX61" fmla="*/ 2545102 w 4519987"/>
                    <a:gd name="connsiteY61" fmla="*/ 4486275 h 4496940"/>
                    <a:gd name="connsiteX62" fmla="*/ 2306977 w 4519987"/>
                    <a:gd name="connsiteY62" fmla="*/ 4476750 h 4496940"/>
                    <a:gd name="connsiteX63" fmla="*/ 2202202 w 4519987"/>
                    <a:gd name="connsiteY63" fmla="*/ 4457700 h 4496940"/>
                    <a:gd name="connsiteX64" fmla="*/ 2126002 w 4519987"/>
                    <a:gd name="connsiteY64" fmla="*/ 4429125 h 4496940"/>
                    <a:gd name="connsiteX65" fmla="*/ 1935502 w 4519987"/>
                    <a:gd name="connsiteY65" fmla="*/ 4400550 h 4496940"/>
                    <a:gd name="connsiteX66" fmla="*/ 1821202 w 4519987"/>
                    <a:gd name="connsiteY66" fmla="*/ 4371975 h 4496940"/>
                    <a:gd name="connsiteX67" fmla="*/ 1754527 w 4519987"/>
                    <a:gd name="connsiteY67" fmla="*/ 4352925 h 4496940"/>
                    <a:gd name="connsiteX68" fmla="*/ 1687852 w 4519987"/>
                    <a:gd name="connsiteY68" fmla="*/ 4343400 h 4496940"/>
                    <a:gd name="connsiteX69" fmla="*/ 1573552 w 4519987"/>
                    <a:gd name="connsiteY69" fmla="*/ 4305300 h 4496940"/>
                    <a:gd name="connsiteX70" fmla="*/ 1402102 w 4519987"/>
                    <a:gd name="connsiteY70" fmla="*/ 4276725 h 4496940"/>
                    <a:gd name="connsiteX71" fmla="*/ 1287802 w 4519987"/>
                    <a:gd name="connsiteY71" fmla="*/ 4229100 h 4496940"/>
                    <a:gd name="connsiteX72" fmla="*/ 1221127 w 4519987"/>
                    <a:gd name="connsiteY72" fmla="*/ 4200525 h 4496940"/>
                    <a:gd name="connsiteX73" fmla="*/ 1144927 w 4519987"/>
                    <a:gd name="connsiteY73" fmla="*/ 4171950 h 4496940"/>
                    <a:gd name="connsiteX74" fmla="*/ 1087777 w 4519987"/>
                    <a:gd name="connsiteY74" fmla="*/ 4143375 h 4496940"/>
                    <a:gd name="connsiteX75" fmla="*/ 1030627 w 4519987"/>
                    <a:gd name="connsiteY75" fmla="*/ 4124325 h 4496940"/>
                    <a:gd name="connsiteX76" fmla="*/ 925852 w 4519987"/>
                    <a:gd name="connsiteY76" fmla="*/ 4067175 h 4496940"/>
                    <a:gd name="connsiteX77" fmla="*/ 830602 w 4519987"/>
                    <a:gd name="connsiteY77" fmla="*/ 3981450 h 4496940"/>
                    <a:gd name="connsiteX78" fmla="*/ 763927 w 4519987"/>
                    <a:gd name="connsiteY78" fmla="*/ 3914775 h 4496940"/>
                    <a:gd name="connsiteX79" fmla="*/ 725827 w 4519987"/>
                    <a:gd name="connsiteY79" fmla="*/ 3876675 h 4496940"/>
                    <a:gd name="connsiteX80" fmla="*/ 697252 w 4519987"/>
                    <a:gd name="connsiteY80" fmla="*/ 3838575 h 4496940"/>
                    <a:gd name="connsiteX81" fmla="*/ 640102 w 4519987"/>
                    <a:gd name="connsiteY81" fmla="*/ 3781425 h 4496940"/>
                    <a:gd name="connsiteX82" fmla="*/ 611527 w 4519987"/>
                    <a:gd name="connsiteY82" fmla="*/ 3733800 h 4496940"/>
                    <a:gd name="connsiteX83" fmla="*/ 554377 w 4519987"/>
                    <a:gd name="connsiteY83" fmla="*/ 3657600 h 4496940"/>
                    <a:gd name="connsiteX84" fmla="*/ 525802 w 4519987"/>
                    <a:gd name="connsiteY84" fmla="*/ 3609975 h 4496940"/>
                    <a:gd name="connsiteX85" fmla="*/ 497227 w 4519987"/>
                    <a:gd name="connsiteY85" fmla="*/ 3552825 h 4496940"/>
                    <a:gd name="connsiteX86" fmla="*/ 440077 w 4519987"/>
                    <a:gd name="connsiteY86" fmla="*/ 3495675 h 4496940"/>
                    <a:gd name="connsiteX87" fmla="*/ 411502 w 4519987"/>
                    <a:gd name="connsiteY87" fmla="*/ 3448050 h 4496940"/>
                    <a:gd name="connsiteX88" fmla="*/ 278152 w 4519987"/>
                    <a:gd name="connsiteY88" fmla="*/ 3257550 h 4496940"/>
                    <a:gd name="connsiteX89" fmla="*/ 249577 w 4519987"/>
                    <a:gd name="connsiteY89" fmla="*/ 3200400 h 4496940"/>
                    <a:gd name="connsiteX90" fmla="*/ 240052 w 4519987"/>
                    <a:gd name="connsiteY90" fmla="*/ 3162300 h 4496940"/>
                    <a:gd name="connsiteX91" fmla="*/ 221002 w 4519987"/>
                    <a:gd name="connsiteY91" fmla="*/ 3105150 h 4496940"/>
                    <a:gd name="connsiteX92" fmla="*/ 173377 w 4519987"/>
                    <a:gd name="connsiteY92" fmla="*/ 3019425 h 4496940"/>
                    <a:gd name="connsiteX93" fmla="*/ 144802 w 4519987"/>
                    <a:gd name="connsiteY93" fmla="*/ 2924175 h 4496940"/>
                    <a:gd name="connsiteX94" fmla="*/ 68602 w 4519987"/>
                    <a:gd name="connsiteY94" fmla="*/ 2724150 h 4496940"/>
                    <a:gd name="connsiteX95" fmla="*/ 49552 w 4519987"/>
                    <a:gd name="connsiteY95" fmla="*/ 2638425 h 4496940"/>
                    <a:gd name="connsiteX96" fmla="*/ 40027 w 4519987"/>
                    <a:gd name="connsiteY96" fmla="*/ 2562225 h 4496940"/>
                    <a:gd name="connsiteX97" fmla="*/ 30502 w 4519987"/>
                    <a:gd name="connsiteY97" fmla="*/ 2514600 h 4496940"/>
                    <a:gd name="connsiteX98" fmla="*/ 11452 w 4519987"/>
                    <a:gd name="connsiteY98" fmla="*/ 2400300 h 4496940"/>
                    <a:gd name="connsiteX99" fmla="*/ 20977 w 4519987"/>
                    <a:gd name="connsiteY99" fmla="*/ 1905000 h 4496940"/>
                    <a:gd name="connsiteX100" fmla="*/ 30502 w 4519987"/>
                    <a:gd name="connsiteY100" fmla="*/ 1838325 h 4496940"/>
                    <a:gd name="connsiteX101" fmla="*/ 49552 w 4519987"/>
                    <a:gd name="connsiteY101" fmla="*/ 1781175 h 4496940"/>
                    <a:gd name="connsiteX102" fmla="*/ 59077 w 4519987"/>
                    <a:gd name="connsiteY102" fmla="*/ 1743075 h 4496940"/>
                    <a:gd name="connsiteX103" fmla="*/ 78127 w 4519987"/>
                    <a:gd name="connsiteY103" fmla="*/ 1685925 h 4496940"/>
                    <a:gd name="connsiteX104" fmla="*/ 87652 w 4519987"/>
                    <a:gd name="connsiteY104" fmla="*/ 1638300 h 4496940"/>
                    <a:gd name="connsiteX105" fmla="*/ 106702 w 4519987"/>
                    <a:gd name="connsiteY105" fmla="*/ 1590675 h 4496940"/>
                    <a:gd name="connsiteX106" fmla="*/ 135277 w 4519987"/>
                    <a:gd name="connsiteY106" fmla="*/ 1504950 h 4496940"/>
                    <a:gd name="connsiteX107" fmla="*/ 154327 w 4519987"/>
                    <a:gd name="connsiteY107" fmla="*/ 1419225 h 4496940"/>
                    <a:gd name="connsiteX108" fmla="*/ 230527 w 4519987"/>
                    <a:gd name="connsiteY108" fmla="*/ 1276350 h 4496940"/>
                    <a:gd name="connsiteX109" fmla="*/ 240052 w 4519987"/>
                    <a:gd name="connsiteY109" fmla="*/ 1247775 h 4496940"/>
                    <a:gd name="connsiteX110" fmla="*/ 268627 w 4519987"/>
                    <a:gd name="connsiteY110" fmla="*/ 1200150 h 4496940"/>
                    <a:gd name="connsiteX111" fmla="*/ 287677 w 4519987"/>
                    <a:gd name="connsiteY111" fmla="*/ 1152525 h 4496940"/>
                    <a:gd name="connsiteX112" fmla="*/ 316252 w 4519987"/>
                    <a:gd name="connsiteY112" fmla="*/ 1114425 h 4496940"/>
                    <a:gd name="connsiteX113" fmla="*/ 363877 w 4519987"/>
                    <a:gd name="connsiteY113" fmla="*/ 1038225 h 4496940"/>
                    <a:gd name="connsiteX114" fmla="*/ 382927 w 4519987"/>
                    <a:gd name="connsiteY114" fmla="*/ 1009650 h 4496940"/>
                    <a:gd name="connsiteX115" fmla="*/ 440077 w 4519987"/>
                    <a:gd name="connsiteY115" fmla="*/ 904875 h 4496940"/>
                    <a:gd name="connsiteX116" fmla="*/ 478177 w 4519987"/>
                    <a:gd name="connsiteY116" fmla="*/ 857250 h 4496940"/>
                    <a:gd name="connsiteX117" fmla="*/ 497227 w 4519987"/>
                    <a:gd name="connsiteY117" fmla="*/ 828675 h 4496940"/>
                    <a:gd name="connsiteX118" fmla="*/ 535327 w 4519987"/>
                    <a:gd name="connsiteY118" fmla="*/ 800100 h 4496940"/>
                    <a:gd name="connsiteX119" fmla="*/ 602002 w 4519987"/>
                    <a:gd name="connsiteY119" fmla="*/ 733425 h 4496940"/>
                    <a:gd name="connsiteX120" fmla="*/ 668677 w 4519987"/>
                    <a:gd name="connsiteY120" fmla="*/ 676275 h 4496940"/>
                    <a:gd name="connsiteX121" fmla="*/ 697252 w 4519987"/>
                    <a:gd name="connsiteY121" fmla="*/ 657225 h 4496940"/>
                    <a:gd name="connsiteX122" fmla="*/ 840127 w 4519987"/>
                    <a:gd name="connsiteY122" fmla="*/ 533400 h 4496940"/>
                    <a:gd name="connsiteX123" fmla="*/ 887752 w 4519987"/>
                    <a:gd name="connsiteY123" fmla="*/ 504825 h 4496940"/>
                    <a:gd name="connsiteX124" fmla="*/ 1167152 w 4519987"/>
                    <a:gd name="connsiteY124" fmla="*/ 311150 h 4496940"/>
                    <a:gd name="connsiteX125" fmla="*/ 1268752 w 4519987"/>
                    <a:gd name="connsiteY125" fmla="*/ 285750 h 4496940"/>
                    <a:gd name="connsiteX126" fmla="*/ 1411627 w 4519987"/>
                    <a:gd name="connsiteY126" fmla="*/ 190500 h 4496940"/>
                    <a:gd name="connsiteX127" fmla="*/ 1449727 w 4519987"/>
                    <a:gd name="connsiteY127" fmla="*/ 161925 h 4496940"/>
                    <a:gd name="connsiteX128" fmla="*/ 1525927 w 4519987"/>
                    <a:gd name="connsiteY128" fmla="*/ 152400 h 4496940"/>
                    <a:gd name="connsiteX129" fmla="*/ 1583077 w 4519987"/>
                    <a:gd name="connsiteY129" fmla="*/ 142875 h 4496940"/>
                    <a:gd name="connsiteX130" fmla="*/ 1716427 w 4519987"/>
                    <a:gd name="connsiteY130" fmla="*/ 123825 h 4496940"/>
                    <a:gd name="connsiteX131" fmla="*/ 1811677 w 4519987"/>
                    <a:gd name="connsiteY131" fmla="*/ 114300 h 4496940"/>
                    <a:gd name="connsiteX132" fmla="*/ 1859302 w 4519987"/>
                    <a:gd name="connsiteY132" fmla="*/ 104775 h 4496940"/>
                    <a:gd name="connsiteX133" fmla="*/ 1916452 w 4519987"/>
                    <a:gd name="connsiteY133" fmla="*/ 95250 h 4496940"/>
                    <a:gd name="connsiteX134" fmla="*/ 2030752 w 4519987"/>
                    <a:gd name="connsiteY134" fmla="*/ 66675 h 4496940"/>
                    <a:gd name="connsiteX135" fmla="*/ 2097427 w 4519987"/>
                    <a:gd name="connsiteY135" fmla="*/ 47625 h 4496940"/>
                    <a:gd name="connsiteX136" fmla="*/ 2164102 w 4519987"/>
                    <a:gd name="connsiteY136" fmla="*/ 38100 h 4496940"/>
                    <a:gd name="connsiteX137" fmla="*/ 2392702 w 4519987"/>
                    <a:gd name="connsiteY13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745252 w 4519987"/>
                    <a:gd name="connsiteY41" fmla="*/ 3819525 h 4496940"/>
                    <a:gd name="connsiteX42" fmla="*/ 3678577 w 4519987"/>
                    <a:gd name="connsiteY42" fmla="*/ 3848100 h 4496940"/>
                    <a:gd name="connsiteX43" fmla="*/ 3659527 w 4519987"/>
                    <a:gd name="connsiteY43" fmla="*/ 3971925 h 4496940"/>
                    <a:gd name="connsiteX44" fmla="*/ 3630952 w 4519987"/>
                    <a:gd name="connsiteY44" fmla="*/ 4010025 h 4496940"/>
                    <a:gd name="connsiteX45" fmla="*/ 3621427 w 4519987"/>
                    <a:gd name="connsiteY45" fmla="*/ 4038600 h 4496940"/>
                    <a:gd name="connsiteX46" fmla="*/ 3554752 w 4519987"/>
                    <a:gd name="connsiteY46" fmla="*/ 4095750 h 4496940"/>
                    <a:gd name="connsiteX47" fmla="*/ 3516652 w 4519987"/>
                    <a:gd name="connsiteY47" fmla="*/ 4114800 h 4496940"/>
                    <a:gd name="connsiteX48" fmla="*/ 3497602 w 4519987"/>
                    <a:gd name="connsiteY48" fmla="*/ 4143375 h 4496940"/>
                    <a:gd name="connsiteX49" fmla="*/ 3383302 w 4519987"/>
                    <a:gd name="connsiteY49" fmla="*/ 4210050 h 4496940"/>
                    <a:gd name="connsiteX50" fmla="*/ 3335677 w 4519987"/>
                    <a:gd name="connsiteY50" fmla="*/ 4238625 h 4496940"/>
                    <a:gd name="connsiteX51" fmla="*/ 3288052 w 4519987"/>
                    <a:gd name="connsiteY51" fmla="*/ 4248150 h 4496940"/>
                    <a:gd name="connsiteX52" fmla="*/ 3240427 w 4519987"/>
                    <a:gd name="connsiteY52" fmla="*/ 4267200 h 4496940"/>
                    <a:gd name="connsiteX53" fmla="*/ 3068977 w 4519987"/>
                    <a:gd name="connsiteY53" fmla="*/ 4286250 h 4496940"/>
                    <a:gd name="connsiteX54" fmla="*/ 2935627 w 4519987"/>
                    <a:gd name="connsiteY54" fmla="*/ 4333875 h 4496940"/>
                    <a:gd name="connsiteX55" fmla="*/ 2811802 w 4519987"/>
                    <a:gd name="connsiteY55" fmla="*/ 4371975 h 4496940"/>
                    <a:gd name="connsiteX56" fmla="*/ 2745127 w 4519987"/>
                    <a:gd name="connsiteY56" fmla="*/ 4410075 h 4496940"/>
                    <a:gd name="connsiteX57" fmla="*/ 2697502 w 4519987"/>
                    <a:gd name="connsiteY57" fmla="*/ 4429125 h 4496940"/>
                    <a:gd name="connsiteX58" fmla="*/ 2640352 w 4519987"/>
                    <a:gd name="connsiteY58" fmla="*/ 4457700 h 4496940"/>
                    <a:gd name="connsiteX59" fmla="*/ 2583202 w 4519987"/>
                    <a:gd name="connsiteY59" fmla="*/ 4467225 h 4496940"/>
                    <a:gd name="connsiteX60" fmla="*/ 2545102 w 4519987"/>
                    <a:gd name="connsiteY60" fmla="*/ 4486275 h 4496940"/>
                    <a:gd name="connsiteX61" fmla="*/ 2306977 w 4519987"/>
                    <a:gd name="connsiteY61" fmla="*/ 4476750 h 4496940"/>
                    <a:gd name="connsiteX62" fmla="*/ 2202202 w 4519987"/>
                    <a:gd name="connsiteY62" fmla="*/ 4457700 h 4496940"/>
                    <a:gd name="connsiteX63" fmla="*/ 2126002 w 4519987"/>
                    <a:gd name="connsiteY63" fmla="*/ 4429125 h 4496940"/>
                    <a:gd name="connsiteX64" fmla="*/ 1935502 w 4519987"/>
                    <a:gd name="connsiteY64" fmla="*/ 4400550 h 4496940"/>
                    <a:gd name="connsiteX65" fmla="*/ 1821202 w 4519987"/>
                    <a:gd name="connsiteY65" fmla="*/ 4371975 h 4496940"/>
                    <a:gd name="connsiteX66" fmla="*/ 1754527 w 4519987"/>
                    <a:gd name="connsiteY66" fmla="*/ 4352925 h 4496940"/>
                    <a:gd name="connsiteX67" fmla="*/ 1687852 w 4519987"/>
                    <a:gd name="connsiteY67" fmla="*/ 4343400 h 4496940"/>
                    <a:gd name="connsiteX68" fmla="*/ 1573552 w 4519987"/>
                    <a:gd name="connsiteY68" fmla="*/ 4305300 h 4496940"/>
                    <a:gd name="connsiteX69" fmla="*/ 1402102 w 4519987"/>
                    <a:gd name="connsiteY69" fmla="*/ 4276725 h 4496940"/>
                    <a:gd name="connsiteX70" fmla="*/ 1287802 w 4519987"/>
                    <a:gd name="connsiteY70" fmla="*/ 4229100 h 4496940"/>
                    <a:gd name="connsiteX71" fmla="*/ 1221127 w 4519987"/>
                    <a:gd name="connsiteY71" fmla="*/ 4200525 h 4496940"/>
                    <a:gd name="connsiteX72" fmla="*/ 1144927 w 4519987"/>
                    <a:gd name="connsiteY72" fmla="*/ 4171950 h 4496940"/>
                    <a:gd name="connsiteX73" fmla="*/ 1087777 w 4519987"/>
                    <a:gd name="connsiteY73" fmla="*/ 4143375 h 4496940"/>
                    <a:gd name="connsiteX74" fmla="*/ 1030627 w 4519987"/>
                    <a:gd name="connsiteY74" fmla="*/ 4124325 h 4496940"/>
                    <a:gd name="connsiteX75" fmla="*/ 925852 w 4519987"/>
                    <a:gd name="connsiteY75" fmla="*/ 4067175 h 4496940"/>
                    <a:gd name="connsiteX76" fmla="*/ 830602 w 4519987"/>
                    <a:gd name="connsiteY76" fmla="*/ 3981450 h 4496940"/>
                    <a:gd name="connsiteX77" fmla="*/ 763927 w 4519987"/>
                    <a:gd name="connsiteY77" fmla="*/ 3914775 h 4496940"/>
                    <a:gd name="connsiteX78" fmla="*/ 725827 w 4519987"/>
                    <a:gd name="connsiteY78" fmla="*/ 3876675 h 4496940"/>
                    <a:gd name="connsiteX79" fmla="*/ 697252 w 4519987"/>
                    <a:gd name="connsiteY79" fmla="*/ 3838575 h 4496940"/>
                    <a:gd name="connsiteX80" fmla="*/ 640102 w 4519987"/>
                    <a:gd name="connsiteY80" fmla="*/ 3781425 h 4496940"/>
                    <a:gd name="connsiteX81" fmla="*/ 611527 w 4519987"/>
                    <a:gd name="connsiteY81" fmla="*/ 3733800 h 4496940"/>
                    <a:gd name="connsiteX82" fmla="*/ 554377 w 4519987"/>
                    <a:gd name="connsiteY82" fmla="*/ 3657600 h 4496940"/>
                    <a:gd name="connsiteX83" fmla="*/ 525802 w 4519987"/>
                    <a:gd name="connsiteY83" fmla="*/ 3609975 h 4496940"/>
                    <a:gd name="connsiteX84" fmla="*/ 497227 w 4519987"/>
                    <a:gd name="connsiteY84" fmla="*/ 3552825 h 4496940"/>
                    <a:gd name="connsiteX85" fmla="*/ 440077 w 4519987"/>
                    <a:gd name="connsiteY85" fmla="*/ 3495675 h 4496940"/>
                    <a:gd name="connsiteX86" fmla="*/ 411502 w 4519987"/>
                    <a:gd name="connsiteY86" fmla="*/ 3448050 h 4496940"/>
                    <a:gd name="connsiteX87" fmla="*/ 278152 w 4519987"/>
                    <a:gd name="connsiteY87" fmla="*/ 3257550 h 4496940"/>
                    <a:gd name="connsiteX88" fmla="*/ 249577 w 4519987"/>
                    <a:gd name="connsiteY88" fmla="*/ 3200400 h 4496940"/>
                    <a:gd name="connsiteX89" fmla="*/ 240052 w 4519987"/>
                    <a:gd name="connsiteY89" fmla="*/ 3162300 h 4496940"/>
                    <a:gd name="connsiteX90" fmla="*/ 221002 w 4519987"/>
                    <a:gd name="connsiteY90" fmla="*/ 3105150 h 4496940"/>
                    <a:gd name="connsiteX91" fmla="*/ 173377 w 4519987"/>
                    <a:gd name="connsiteY91" fmla="*/ 3019425 h 4496940"/>
                    <a:gd name="connsiteX92" fmla="*/ 144802 w 4519987"/>
                    <a:gd name="connsiteY92" fmla="*/ 2924175 h 4496940"/>
                    <a:gd name="connsiteX93" fmla="*/ 68602 w 4519987"/>
                    <a:gd name="connsiteY93" fmla="*/ 2724150 h 4496940"/>
                    <a:gd name="connsiteX94" fmla="*/ 49552 w 4519987"/>
                    <a:gd name="connsiteY94" fmla="*/ 2638425 h 4496940"/>
                    <a:gd name="connsiteX95" fmla="*/ 40027 w 4519987"/>
                    <a:gd name="connsiteY95" fmla="*/ 2562225 h 4496940"/>
                    <a:gd name="connsiteX96" fmla="*/ 30502 w 4519987"/>
                    <a:gd name="connsiteY96" fmla="*/ 2514600 h 4496940"/>
                    <a:gd name="connsiteX97" fmla="*/ 11452 w 4519987"/>
                    <a:gd name="connsiteY97" fmla="*/ 2400300 h 4496940"/>
                    <a:gd name="connsiteX98" fmla="*/ 20977 w 4519987"/>
                    <a:gd name="connsiteY98" fmla="*/ 1905000 h 4496940"/>
                    <a:gd name="connsiteX99" fmla="*/ 30502 w 4519987"/>
                    <a:gd name="connsiteY99" fmla="*/ 1838325 h 4496940"/>
                    <a:gd name="connsiteX100" fmla="*/ 49552 w 4519987"/>
                    <a:gd name="connsiteY100" fmla="*/ 1781175 h 4496940"/>
                    <a:gd name="connsiteX101" fmla="*/ 59077 w 4519987"/>
                    <a:gd name="connsiteY101" fmla="*/ 1743075 h 4496940"/>
                    <a:gd name="connsiteX102" fmla="*/ 78127 w 4519987"/>
                    <a:gd name="connsiteY102" fmla="*/ 1685925 h 4496940"/>
                    <a:gd name="connsiteX103" fmla="*/ 87652 w 4519987"/>
                    <a:gd name="connsiteY103" fmla="*/ 1638300 h 4496940"/>
                    <a:gd name="connsiteX104" fmla="*/ 106702 w 4519987"/>
                    <a:gd name="connsiteY104" fmla="*/ 1590675 h 4496940"/>
                    <a:gd name="connsiteX105" fmla="*/ 135277 w 4519987"/>
                    <a:gd name="connsiteY105" fmla="*/ 1504950 h 4496940"/>
                    <a:gd name="connsiteX106" fmla="*/ 154327 w 4519987"/>
                    <a:gd name="connsiteY106" fmla="*/ 1419225 h 4496940"/>
                    <a:gd name="connsiteX107" fmla="*/ 230527 w 4519987"/>
                    <a:gd name="connsiteY107" fmla="*/ 1276350 h 4496940"/>
                    <a:gd name="connsiteX108" fmla="*/ 240052 w 4519987"/>
                    <a:gd name="connsiteY108" fmla="*/ 1247775 h 4496940"/>
                    <a:gd name="connsiteX109" fmla="*/ 268627 w 4519987"/>
                    <a:gd name="connsiteY109" fmla="*/ 1200150 h 4496940"/>
                    <a:gd name="connsiteX110" fmla="*/ 287677 w 4519987"/>
                    <a:gd name="connsiteY110" fmla="*/ 1152525 h 4496940"/>
                    <a:gd name="connsiteX111" fmla="*/ 316252 w 4519987"/>
                    <a:gd name="connsiteY111" fmla="*/ 1114425 h 4496940"/>
                    <a:gd name="connsiteX112" fmla="*/ 363877 w 4519987"/>
                    <a:gd name="connsiteY112" fmla="*/ 1038225 h 4496940"/>
                    <a:gd name="connsiteX113" fmla="*/ 382927 w 4519987"/>
                    <a:gd name="connsiteY113" fmla="*/ 1009650 h 4496940"/>
                    <a:gd name="connsiteX114" fmla="*/ 440077 w 4519987"/>
                    <a:gd name="connsiteY114" fmla="*/ 904875 h 4496940"/>
                    <a:gd name="connsiteX115" fmla="*/ 478177 w 4519987"/>
                    <a:gd name="connsiteY115" fmla="*/ 857250 h 4496940"/>
                    <a:gd name="connsiteX116" fmla="*/ 497227 w 4519987"/>
                    <a:gd name="connsiteY116" fmla="*/ 828675 h 4496940"/>
                    <a:gd name="connsiteX117" fmla="*/ 535327 w 4519987"/>
                    <a:gd name="connsiteY117" fmla="*/ 800100 h 4496940"/>
                    <a:gd name="connsiteX118" fmla="*/ 602002 w 4519987"/>
                    <a:gd name="connsiteY118" fmla="*/ 733425 h 4496940"/>
                    <a:gd name="connsiteX119" fmla="*/ 668677 w 4519987"/>
                    <a:gd name="connsiteY119" fmla="*/ 676275 h 4496940"/>
                    <a:gd name="connsiteX120" fmla="*/ 697252 w 4519987"/>
                    <a:gd name="connsiteY120" fmla="*/ 657225 h 4496940"/>
                    <a:gd name="connsiteX121" fmla="*/ 840127 w 4519987"/>
                    <a:gd name="connsiteY121" fmla="*/ 533400 h 4496940"/>
                    <a:gd name="connsiteX122" fmla="*/ 887752 w 4519987"/>
                    <a:gd name="connsiteY122" fmla="*/ 504825 h 4496940"/>
                    <a:gd name="connsiteX123" fmla="*/ 1167152 w 4519987"/>
                    <a:gd name="connsiteY123" fmla="*/ 311150 h 4496940"/>
                    <a:gd name="connsiteX124" fmla="*/ 1268752 w 4519987"/>
                    <a:gd name="connsiteY124" fmla="*/ 285750 h 4496940"/>
                    <a:gd name="connsiteX125" fmla="*/ 1411627 w 4519987"/>
                    <a:gd name="connsiteY125" fmla="*/ 190500 h 4496940"/>
                    <a:gd name="connsiteX126" fmla="*/ 1449727 w 4519987"/>
                    <a:gd name="connsiteY126" fmla="*/ 161925 h 4496940"/>
                    <a:gd name="connsiteX127" fmla="*/ 1525927 w 4519987"/>
                    <a:gd name="connsiteY127" fmla="*/ 152400 h 4496940"/>
                    <a:gd name="connsiteX128" fmla="*/ 1583077 w 4519987"/>
                    <a:gd name="connsiteY128" fmla="*/ 142875 h 4496940"/>
                    <a:gd name="connsiteX129" fmla="*/ 1716427 w 4519987"/>
                    <a:gd name="connsiteY129" fmla="*/ 123825 h 4496940"/>
                    <a:gd name="connsiteX130" fmla="*/ 1811677 w 4519987"/>
                    <a:gd name="connsiteY130" fmla="*/ 114300 h 4496940"/>
                    <a:gd name="connsiteX131" fmla="*/ 1859302 w 4519987"/>
                    <a:gd name="connsiteY131" fmla="*/ 104775 h 4496940"/>
                    <a:gd name="connsiteX132" fmla="*/ 1916452 w 4519987"/>
                    <a:gd name="connsiteY132" fmla="*/ 95250 h 4496940"/>
                    <a:gd name="connsiteX133" fmla="*/ 2030752 w 4519987"/>
                    <a:gd name="connsiteY133" fmla="*/ 66675 h 4496940"/>
                    <a:gd name="connsiteX134" fmla="*/ 2097427 w 4519987"/>
                    <a:gd name="connsiteY134" fmla="*/ 47625 h 4496940"/>
                    <a:gd name="connsiteX135" fmla="*/ 2164102 w 4519987"/>
                    <a:gd name="connsiteY135" fmla="*/ 38100 h 4496940"/>
                    <a:gd name="connsiteX136" fmla="*/ 2392702 w 4519987"/>
                    <a:gd name="connsiteY13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783352 w 4519987"/>
                    <a:gd name="connsiteY40" fmla="*/ 3810000 h 4496940"/>
                    <a:gd name="connsiteX41" fmla="*/ 3678577 w 4519987"/>
                    <a:gd name="connsiteY41" fmla="*/ 3848100 h 4496940"/>
                    <a:gd name="connsiteX42" fmla="*/ 3659527 w 4519987"/>
                    <a:gd name="connsiteY42" fmla="*/ 3971925 h 4496940"/>
                    <a:gd name="connsiteX43" fmla="*/ 3630952 w 4519987"/>
                    <a:gd name="connsiteY43" fmla="*/ 4010025 h 4496940"/>
                    <a:gd name="connsiteX44" fmla="*/ 3621427 w 4519987"/>
                    <a:gd name="connsiteY44" fmla="*/ 4038600 h 4496940"/>
                    <a:gd name="connsiteX45" fmla="*/ 3554752 w 4519987"/>
                    <a:gd name="connsiteY45" fmla="*/ 4095750 h 4496940"/>
                    <a:gd name="connsiteX46" fmla="*/ 3516652 w 4519987"/>
                    <a:gd name="connsiteY46" fmla="*/ 4114800 h 4496940"/>
                    <a:gd name="connsiteX47" fmla="*/ 3497602 w 4519987"/>
                    <a:gd name="connsiteY47" fmla="*/ 4143375 h 4496940"/>
                    <a:gd name="connsiteX48" fmla="*/ 3383302 w 4519987"/>
                    <a:gd name="connsiteY48" fmla="*/ 4210050 h 4496940"/>
                    <a:gd name="connsiteX49" fmla="*/ 3335677 w 4519987"/>
                    <a:gd name="connsiteY49" fmla="*/ 4238625 h 4496940"/>
                    <a:gd name="connsiteX50" fmla="*/ 3288052 w 4519987"/>
                    <a:gd name="connsiteY50" fmla="*/ 4248150 h 4496940"/>
                    <a:gd name="connsiteX51" fmla="*/ 3240427 w 4519987"/>
                    <a:gd name="connsiteY51" fmla="*/ 4267200 h 4496940"/>
                    <a:gd name="connsiteX52" fmla="*/ 3068977 w 4519987"/>
                    <a:gd name="connsiteY52" fmla="*/ 4286250 h 4496940"/>
                    <a:gd name="connsiteX53" fmla="*/ 2935627 w 4519987"/>
                    <a:gd name="connsiteY53" fmla="*/ 4333875 h 4496940"/>
                    <a:gd name="connsiteX54" fmla="*/ 2811802 w 4519987"/>
                    <a:gd name="connsiteY54" fmla="*/ 4371975 h 4496940"/>
                    <a:gd name="connsiteX55" fmla="*/ 2745127 w 4519987"/>
                    <a:gd name="connsiteY55" fmla="*/ 4410075 h 4496940"/>
                    <a:gd name="connsiteX56" fmla="*/ 2697502 w 4519987"/>
                    <a:gd name="connsiteY56" fmla="*/ 4429125 h 4496940"/>
                    <a:gd name="connsiteX57" fmla="*/ 2640352 w 4519987"/>
                    <a:gd name="connsiteY57" fmla="*/ 4457700 h 4496940"/>
                    <a:gd name="connsiteX58" fmla="*/ 2583202 w 4519987"/>
                    <a:gd name="connsiteY58" fmla="*/ 4467225 h 4496940"/>
                    <a:gd name="connsiteX59" fmla="*/ 2545102 w 4519987"/>
                    <a:gd name="connsiteY59" fmla="*/ 4486275 h 4496940"/>
                    <a:gd name="connsiteX60" fmla="*/ 2306977 w 4519987"/>
                    <a:gd name="connsiteY60" fmla="*/ 4476750 h 4496940"/>
                    <a:gd name="connsiteX61" fmla="*/ 2202202 w 4519987"/>
                    <a:gd name="connsiteY61" fmla="*/ 4457700 h 4496940"/>
                    <a:gd name="connsiteX62" fmla="*/ 2126002 w 4519987"/>
                    <a:gd name="connsiteY62" fmla="*/ 4429125 h 4496940"/>
                    <a:gd name="connsiteX63" fmla="*/ 1935502 w 4519987"/>
                    <a:gd name="connsiteY63" fmla="*/ 4400550 h 4496940"/>
                    <a:gd name="connsiteX64" fmla="*/ 1821202 w 4519987"/>
                    <a:gd name="connsiteY64" fmla="*/ 4371975 h 4496940"/>
                    <a:gd name="connsiteX65" fmla="*/ 1754527 w 4519987"/>
                    <a:gd name="connsiteY65" fmla="*/ 4352925 h 4496940"/>
                    <a:gd name="connsiteX66" fmla="*/ 1687852 w 4519987"/>
                    <a:gd name="connsiteY66" fmla="*/ 4343400 h 4496940"/>
                    <a:gd name="connsiteX67" fmla="*/ 1573552 w 4519987"/>
                    <a:gd name="connsiteY67" fmla="*/ 4305300 h 4496940"/>
                    <a:gd name="connsiteX68" fmla="*/ 1402102 w 4519987"/>
                    <a:gd name="connsiteY68" fmla="*/ 4276725 h 4496940"/>
                    <a:gd name="connsiteX69" fmla="*/ 1287802 w 4519987"/>
                    <a:gd name="connsiteY69" fmla="*/ 4229100 h 4496940"/>
                    <a:gd name="connsiteX70" fmla="*/ 1221127 w 4519987"/>
                    <a:gd name="connsiteY70" fmla="*/ 4200525 h 4496940"/>
                    <a:gd name="connsiteX71" fmla="*/ 1144927 w 4519987"/>
                    <a:gd name="connsiteY71" fmla="*/ 4171950 h 4496940"/>
                    <a:gd name="connsiteX72" fmla="*/ 1087777 w 4519987"/>
                    <a:gd name="connsiteY72" fmla="*/ 4143375 h 4496940"/>
                    <a:gd name="connsiteX73" fmla="*/ 1030627 w 4519987"/>
                    <a:gd name="connsiteY73" fmla="*/ 4124325 h 4496940"/>
                    <a:gd name="connsiteX74" fmla="*/ 925852 w 4519987"/>
                    <a:gd name="connsiteY74" fmla="*/ 4067175 h 4496940"/>
                    <a:gd name="connsiteX75" fmla="*/ 830602 w 4519987"/>
                    <a:gd name="connsiteY75" fmla="*/ 3981450 h 4496940"/>
                    <a:gd name="connsiteX76" fmla="*/ 763927 w 4519987"/>
                    <a:gd name="connsiteY76" fmla="*/ 3914775 h 4496940"/>
                    <a:gd name="connsiteX77" fmla="*/ 725827 w 4519987"/>
                    <a:gd name="connsiteY77" fmla="*/ 3876675 h 4496940"/>
                    <a:gd name="connsiteX78" fmla="*/ 697252 w 4519987"/>
                    <a:gd name="connsiteY78" fmla="*/ 3838575 h 4496940"/>
                    <a:gd name="connsiteX79" fmla="*/ 640102 w 4519987"/>
                    <a:gd name="connsiteY79" fmla="*/ 3781425 h 4496940"/>
                    <a:gd name="connsiteX80" fmla="*/ 611527 w 4519987"/>
                    <a:gd name="connsiteY80" fmla="*/ 3733800 h 4496940"/>
                    <a:gd name="connsiteX81" fmla="*/ 554377 w 4519987"/>
                    <a:gd name="connsiteY81" fmla="*/ 3657600 h 4496940"/>
                    <a:gd name="connsiteX82" fmla="*/ 525802 w 4519987"/>
                    <a:gd name="connsiteY82" fmla="*/ 3609975 h 4496940"/>
                    <a:gd name="connsiteX83" fmla="*/ 497227 w 4519987"/>
                    <a:gd name="connsiteY83" fmla="*/ 3552825 h 4496940"/>
                    <a:gd name="connsiteX84" fmla="*/ 440077 w 4519987"/>
                    <a:gd name="connsiteY84" fmla="*/ 3495675 h 4496940"/>
                    <a:gd name="connsiteX85" fmla="*/ 411502 w 4519987"/>
                    <a:gd name="connsiteY85" fmla="*/ 3448050 h 4496940"/>
                    <a:gd name="connsiteX86" fmla="*/ 278152 w 4519987"/>
                    <a:gd name="connsiteY86" fmla="*/ 3257550 h 4496940"/>
                    <a:gd name="connsiteX87" fmla="*/ 249577 w 4519987"/>
                    <a:gd name="connsiteY87" fmla="*/ 3200400 h 4496940"/>
                    <a:gd name="connsiteX88" fmla="*/ 240052 w 4519987"/>
                    <a:gd name="connsiteY88" fmla="*/ 3162300 h 4496940"/>
                    <a:gd name="connsiteX89" fmla="*/ 221002 w 4519987"/>
                    <a:gd name="connsiteY89" fmla="*/ 3105150 h 4496940"/>
                    <a:gd name="connsiteX90" fmla="*/ 173377 w 4519987"/>
                    <a:gd name="connsiteY90" fmla="*/ 3019425 h 4496940"/>
                    <a:gd name="connsiteX91" fmla="*/ 144802 w 4519987"/>
                    <a:gd name="connsiteY91" fmla="*/ 2924175 h 4496940"/>
                    <a:gd name="connsiteX92" fmla="*/ 68602 w 4519987"/>
                    <a:gd name="connsiteY92" fmla="*/ 2724150 h 4496940"/>
                    <a:gd name="connsiteX93" fmla="*/ 49552 w 4519987"/>
                    <a:gd name="connsiteY93" fmla="*/ 2638425 h 4496940"/>
                    <a:gd name="connsiteX94" fmla="*/ 40027 w 4519987"/>
                    <a:gd name="connsiteY94" fmla="*/ 2562225 h 4496940"/>
                    <a:gd name="connsiteX95" fmla="*/ 30502 w 4519987"/>
                    <a:gd name="connsiteY95" fmla="*/ 2514600 h 4496940"/>
                    <a:gd name="connsiteX96" fmla="*/ 11452 w 4519987"/>
                    <a:gd name="connsiteY96" fmla="*/ 2400300 h 4496940"/>
                    <a:gd name="connsiteX97" fmla="*/ 20977 w 4519987"/>
                    <a:gd name="connsiteY97" fmla="*/ 1905000 h 4496940"/>
                    <a:gd name="connsiteX98" fmla="*/ 30502 w 4519987"/>
                    <a:gd name="connsiteY98" fmla="*/ 1838325 h 4496940"/>
                    <a:gd name="connsiteX99" fmla="*/ 49552 w 4519987"/>
                    <a:gd name="connsiteY99" fmla="*/ 1781175 h 4496940"/>
                    <a:gd name="connsiteX100" fmla="*/ 59077 w 4519987"/>
                    <a:gd name="connsiteY100" fmla="*/ 1743075 h 4496940"/>
                    <a:gd name="connsiteX101" fmla="*/ 78127 w 4519987"/>
                    <a:gd name="connsiteY101" fmla="*/ 1685925 h 4496940"/>
                    <a:gd name="connsiteX102" fmla="*/ 87652 w 4519987"/>
                    <a:gd name="connsiteY102" fmla="*/ 1638300 h 4496940"/>
                    <a:gd name="connsiteX103" fmla="*/ 106702 w 4519987"/>
                    <a:gd name="connsiteY103" fmla="*/ 1590675 h 4496940"/>
                    <a:gd name="connsiteX104" fmla="*/ 135277 w 4519987"/>
                    <a:gd name="connsiteY104" fmla="*/ 1504950 h 4496940"/>
                    <a:gd name="connsiteX105" fmla="*/ 154327 w 4519987"/>
                    <a:gd name="connsiteY105" fmla="*/ 1419225 h 4496940"/>
                    <a:gd name="connsiteX106" fmla="*/ 230527 w 4519987"/>
                    <a:gd name="connsiteY106" fmla="*/ 1276350 h 4496940"/>
                    <a:gd name="connsiteX107" fmla="*/ 240052 w 4519987"/>
                    <a:gd name="connsiteY107" fmla="*/ 1247775 h 4496940"/>
                    <a:gd name="connsiteX108" fmla="*/ 268627 w 4519987"/>
                    <a:gd name="connsiteY108" fmla="*/ 1200150 h 4496940"/>
                    <a:gd name="connsiteX109" fmla="*/ 287677 w 4519987"/>
                    <a:gd name="connsiteY109" fmla="*/ 1152525 h 4496940"/>
                    <a:gd name="connsiteX110" fmla="*/ 316252 w 4519987"/>
                    <a:gd name="connsiteY110" fmla="*/ 1114425 h 4496940"/>
                    <a:gd name="connsiteX111" fmla="*/ 363877 w 4519987"/>
                    <a:gd name="connsiteY111" fmla="*/ 1038225 h 4496940"/>
                    <a:gd name="connsiteX112" fmla="*/ 382927 w 4519987"/>
                    <a:gd name="connsiteY112" fmla="*/ 1009650 h 4496940"/>
                    <a:gd name="connsiteX113" fmla="*/ 440077 w 4519987"/>
                    <a:gd name="connsiteY113" fmla="*/ 904875 h 4496940"/>
                    <a:gd name="connsiteX114" fmla="*/ 478177 w 4519987"/>
                    <a:gd name="connsiteY114" fmla="*/ 857250 h 4496940"/>
                    <a:gd name="connsiteX115" fmla="*/ 497227 w 4519987"/>
                    <a:gd name="connsiteY115" fmla="*/ 828675 h 4496940"/>
                    <a:gd name="connsiteX116" fmla="*/ 535327 w 4519987"/>
                    <a:gd name="connsiteY116" fmla="*/ 800100 h 4496940"/>
                    <a:gd name="connsiteX117" fmla="*/ 602002 w 4519987"/>
                    <a:gd name="connsiteY117" fmla="*/ 733425 h 4496940"/>
                    <a:gd name="connsiteX118" fmla="*/ 668677 w 4519987"/>
                    <a:gd name="connsiteY118" fmla="*/ 676275 h 4496940"/>
                    <a:gd name="connsiteX119" fmla="*/ 697252 w 4519987"/>
                    <a:gd name="connsiteY119" fmla="*/ 657225 h 4496940"/>
                    <a:gd name="connsiteX120" fmla="*/ 840127 w 4519987"/>
                    <a:gd name="connsiteY120" fmla="*/ 533400 h 4496940"/>
                    <a:gd name="connsiteX121" fmla="*/ 887752 w 4519987"/>
                    <a:gd name="connsiteY121" fmla="*/ 504825 h 4496940"/>
                    <a:gd name="connsiteX122" fmla="*/ 1167152 w 4519987"/>
                    <a:gd name="connsiteY122" fmla="*/ 311150 h 4496940"/>
                    <a:gd name="connsiteX123" fmla="*/ 1268752 w 4519987"/>
                    <a:gd name="connsiteY123" fmla="*/ 285750 h 4496940"/>
                    <a:gd name="connsiteX124" fmla="*/ 1411627 w 4519987"/>
                    <a:gd name="connsiteY124" fmla="*/ 190500 h 4496940"/>
                    <a:gd name="connsiteX125" fmla="*/ 1449727 w 4519987"/>
                    <a:gd name="connsiteY125" fmla="*/ 161925 h 4496940"/>
                    <a:gd name="connsiteX126" fmla="*/ 1525927 w 4519987"/>
                    <a:gd name="connsiteY126" fmla="*/ 152400 h 4496940"/>
                    <a:gd name="connsiteX127" fmla="*/ 1583077 w 4519987"/>
                    <a:gd name="connsiteY127" fmla="*/ 142875 h 4496940"/>
                    <a:gd name="connsiteX128" fmla="*/ 1716427 w 4519987"/>
                    <a:gd name="connsiteY128" fmla="*/ 123825 h 4496940"/>
                    <a:gd name="connsiteX129" fmla="*/ 1811677 w 4519987"/>
                    <a:gd name="connsiteY129" fmla="*/ 114300 h 4496940"/>
                    <a:gd name="connsiteX130" fmla="*/ 1859302 w 4519987"/>
                    <a:gd name="connsiteY130" fmla="*/ 104775 h 4496940"/>
                    <a:gd name="connsiteX131" fmla="*/ 1916452 w 4519987"/>
                    <a:gd name="connsiteY131" fmla="*/ 95250 h 4496940"/>
                    <a:gd name="connsiteX132" fmla="*/ 2030752 w 4519987"/>
                    <a:gd name="connsiteY132" fmla="*/ 66675 h 4496940"/>
                    <a:gd name="connsiteX133" fmla="*/ 2097427 w 4519987"/>
                    <a:gd name="connsiteY133" fmla="*/ 47625 h 4496940"/>
                    <a:gd name="connsiteX134" fmla="*/ 2164102 w 4519987"/>
                    <a:gd name="connsiteY134" fmla="*/ 38100 h 4496940"/>
                    <a:gd name="connsiteX135" fmla="*/ 2392702 w 4519987"/>
                    <a:gd name="connsiteY13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78577 w 4519987"/>
                    <a:gd name="connsiteY40" fmla="*/ 3848100 h 4496940"/>
                    <a:gd name="connsiteX41" fmla="*/ 3659527 w 4519987"/>
                    <a:gd name="connsiteY41" fmla="*/ 3971925 h 4496940"/>
                    <a:gd name="connsiteX42" fmla="*/ 3630952 w 4519987"/>
                    <a:gd name="connsiteY42" fmla="*/ 4010025 h 4496940"/>
                    <a:gd name="connsiteX43" fmla="*/ 3621427 w 4519987"/>
                    <a:gd name="connsiteY43" fmla="*/ 4038600 h 4496940"/>
                    <a:gd name="connsiteX44" fmla="*/ 3554752 w 4519987"/>
                    <a:gd name="connsiteY44" fmla="*/ 4095750 h 4496940"/>
                    <a:gd name="connsiteX45" fmla="*/ 3516652 w 4519987"/>
                    <a:gd name="connsiteY45" fmla="*/ 4114800 h 4496940"/>
                    <a:gd name="connsiteX46" fmla="*/ 3497602 w 4519987"/>
                    <a:gd name="connsiteY46" fmla="*/ 4143375 h 4496940"/>
                    <a:gd name="connsiteX47" fmla="*/ 3383302 w 4519987"/>
                    <a:gd name="connsiteY47" fmla="*/ 4210050 h 4496940"/>
                    <a:gd name="connsiteX48" fmla="*/ 3335677 w 4519987"/>
                    <a:gd name="connsiteY48" fmla="*/ 4238625 h 4496940"/>
                    <a:gd name="connsiteX49" fmla="*/ 3288052 w 4519987"/>
                    <a:gd name="connsiteY49" fmla="*/ 4248150 h 4496940"/>
                    <a:gd name="connsiteX50" fmla="*/ 3240427 w 4519987"/>
                    <a:gd name="connsiteY50" fmla="*/ 4267200 h 4496940"/>
                    <a:gd name="connsiteX51" fmla="*/ 3068977 w 4519987"/>
                    <a:gd name="connsiteY51" fmla="*/ 4286250 h 4496940"/>
                    <a:gd name="connsiteX52" fmla="*/ 2935627 w 4519987"/>
                    <a:gd name="connsiteY52" fmla="*/ 4333875 h 4496940"/>
                    <a:gd name="connsiteX53" fmla="*/ 2811802 w 4519987"/>
                    <a:gd name="connsiteY53" fmla="*/ 4371975 h 4496940"/>
                    <a:gd name="connsiteX54" fmla="*/ 2745127 w 4519987"/>
                    <a:gd name="connsiteY54" fmla="*/ 4410075 h 4496940"/>
                    <a:gd name="connsiteX55" fmla="*/ 2697502 w 4519987"/>
                    <a:gd name="connsiteY55" fmla="*/ 4429125 h 4496940"/>
                    <a:gd name="connsiteX56" fmla="*/ 2640352 w 4519987"/>
                    <a:gd name="connsiteY56" fmla="*/ 4457700 h 4496940"/>
                    <a:gd name="connsiteX57" fmla="*/ 2583202 w 4519987"/>
                    <a:gd name="connsiteY57" fmla="*/ 4467225 h 4496940"/>
                    <a:gd name="connsiteX58" fmla="*/ 2545102 w 4519987"/>
                    <a:gd name="connsiteY58" fmla="*/ 4486275 h 4496940"/>
                    <a:gd name="connsiteX59" fmla="*/ 2306977 w 4519987"/>
                    <a:gd name="connsiteY59" fmla="*/ 4476750 h 4496940"/>
                    <a:gd name="connsiteX60" fmla="*/ 2202202 w 4519987"/>
                    <a:gd name="connsiteY60" fmla="*/ 4457700 h 4496940"/>
                    <a:gd name="connsiteX61" fmla="*/ 2126002 w 4519987"/>
                    <a:gd name="connsiteY61" fmla="*/ 4429125 h 4496940"/>
                    <a:gd name="connsiteX62" fmla="*/ 1935502 w 4519987"/>
                    <a:gd name="connsiteY62" fmla="*/ 4400550 h 4496940"/>
                    <a:gd name="connsiteX63" fmla="*/ 1821202 w 4519987"/>
                    <a:gd name="connsiteY63" fmla="*/ 4371975 h 4496940"/>
                    <a:gd name="connsiteX64" fmla="*/ 1754527 w 4519987"/>
                    <a:gd name="connsiteY64" fmla="*/ 4352925 h 4496940"/>
                    <a:gd name="connsiteX65" fmla="*/ 1687852 w 4519987"/>
                    <a:gd name="connsiteY65" fmla="*/ 4343400 h 4496940"/>
                    <a:gd name="connsiteX66" fmla="*/ 1573552 w 4519987"/>
                    <a:gd name="connsiteY66" fmla="*/ 4305300 h 4496940"/>
                    <a:gd name="connsiteX67" fmla="*/ 1402102 w 4519987"/>
                    <a:gd name="connsiteY67" fmla="*/ 4276725 h 4496940"/>
                    <a:gd name="connsiteX68" fmla="*/ 1287802 w 4519987"/>
                    <a:gd name="connsiteY68" fmla="*/ 4229100 h 4496940"/>
                    <a:gd name="connsiteX69" fmla="*/ 1221127 w 4519987"/>
                    <a:gd name="connsiteY69" fmla="*/ 4200525 h 4496940"/>
                    <a:gd name="connsiteX70" fmla="*/ 1144927 w 4519987"/>
                    <a:gd name="connsiteY70" fmla="*/ 4171950 h 4496940"/>
                    <a:gd name="connsiteX71" fmla="*/ 1087777 w 4519987"/>
                    <a:gd name="connsiteY71" fmla="*/ 4143375 h 4496940"/>
                    <a:gd name="connsiteX72" fmla="*/ 1030627 w 4519987"/>
                    <a:gd name="connsiteY72" fmla="*/ 4124325 h 4496940"/>
                    <a:gd name="connsiteX73" fmla="*/ 925852 w 4519987"/>
                    <a:gd name="connsiteY73" fmla="*/ 4067175 h 4496940"/>
                    <a:gd name="connsiteX74" fmla="*/ 830602 w 4519987"/>
                    <a:gd name="connsiteY74" fmla="*/ 3981450 h 4496940"/>
                    <a:gd name="connsiteX75" fmla="*/ 763927 w 4519987"/>
                    <a:gd name="connsiteY75" fmla="*/ 3914775 h 4496940"/>
                    <a:gd name="connsiteX76" fmla="*/ 725827 w 4519987"/>
                    <a:gd name="connsiteY76" fmla="*/ 3876675 h 4496940"/>
                    <a:gd name="connsiteX77" fmla="*/ 697252 w 4519987"/>
                    <a:gd name="connsiteY77" fmla="*/ 3838575 h 4496940"/>
                    <a:gd name="connsiteX78" fmla="*/ 640102 w 4519987"/>
                    <a:gd name="connsiteY78" fmla="*/ 3781425 h 4496940"/>
                    <a:gd name="connsiteX79" fmla="*/ 611527 w 4519987"/>
                    <a:gd name="connsiteY79" fmla="*/ 3733800 h 4496940"/>
                    <a:gd name="connsiteX80" fmla="*/ 554377 w 4519987"/>
                    <a:gd name="connsiteY80" fmla="*/ 3657600 h 4496940"/>
                    <a:gd name="connsiteX81" fmla="*/ 525802 w 4519987"/>
                    <a:gd name="connsiteY81" fmla="*/ 3609975 h 4496940"/>
                    <a:gd name="connsiteX82" fmla="*/ 497227 w 4519987"/>
                    <a:gd name="connsiteY82" fmla="*/ 3552825 h 4496940"/>
                    <a:gd name="connsiteX83" fmla="*/ 440077 w 4519987"/>
                    <a:gd name="connsiteY83" fmla="*/ 3495675 h 4496940"/>
                    <a:gd name="connsiteX84" fmla="*/ 411502 w 4519987"/>
                    <a:gd name="connsiteY84" fmla="*/ 3448050 h 4496940"/>
                    <a:gd name="connsiteX85" fmla="*/ 278152 w 4519987"/>
                    <a:gd name="connsiteY85" fmla="*/ 3257550 h 4496940"/>
                    <a:gd name="connsiteX86" fmla="*/ 249577 w 4519987"/>
                    <a:gd name="connsiteY86" fmla="*/ 3200400 h 4496940"/>
                    <a:gd name="connsiteX87" fmla="*/ 240052 w 4519987"/>
                    <a:gd name="connsiteY87" fmla="*/ 3162300 h 4496940"/>
                    <a:gd name="connsiteX88" fmla="*/ 221002 w 4519987"/>
                    <a:gd name="connsiteY88" fmla="*/ 3105150 h 4496940"/>
                    <a:gd name="connsiteX89" fmla="*/ 173377 w 4519987"/>
                    <a:gd name="connsiteY89" fmla="*/ 3019425 h 4496940"/>
                    <a:gd name="connsiteX90" fmla="*/ 144802 w 4519987"/>
                    <a:gd name="connsiteY90" fmla="*/ 2924175 h 4496940"/>
                    <a:gd name="connsiteX91" fmla="*/ 68602 w 4519987"/>
                    <a:gd name="connsiteY91" fmla="*/ 2724150 h 4496940"/>
                    <a:gd name="connsiteX92" fmla="*/ 49552 w 4519987"/>
                    <a:gd name="connsiteY92" fmla="*/ 2638425 h 4496940"/>
                    <a:gd name="connsiteX93" fmla="*/ 40027 w 4519987"/>
                    <a:gd name="connsiteY93" fmla="*/ 2562225 h 4496940"/>
                    <a:gd name="connsiteX94" fmla="*/ 30502 w 4519987"/>
                    <a:gd name="connsiteY94" fmla="*/ 2514600 h 4496940"/>
                    <a:gd name="connsiteX95" fmla="*/ 11452 w 4519987"/>
                    <a:gd name="connsiteY95" fmla="*/ 2400300 h 4496940"/>
                    <a:gd name="connsiteX96" fmla="*/ 20977 w 4519987"/>
                    <a:gd name="connsiteY96" fmla="*/ 1905000 h 4496940"/>
                    <a:gd name="connsiteX97" fmla="*/ 30502 w 4519987"/>
                    <a:gd name="connsiteY97" fmla="*/ 1838325 h 4496940"/>
                    <a:gd name="connsiteX98" fmla="*/ 49552 w 4519987"/>
                    <a:gd name="connsiteY98" fmla="*/ 1781175 h 4496940"/>
                    <a:gd name="connsiteX99" fmla="*/ 59077 w 4519987"/>
                    <a:gd name="connsiteY99" fmla="*/ 1743075 h 4496940"/>
                    <a:gd name="connsiteX100" fmla="*/ 78127 w 4519987"/>
                    <a:gd name="connsiteY100" fmla="*/ 1685925 h 4496940"/>
                    <a:gd name="connsiteX101" fmla="*/ 87652 w 4519987"/>
                    <a:gd name="connsiteY101" fmla="*/ 1638300 h 4496940"/>
                    <a:gd name="connsiteX102" fmla="*/ 106702 w 4519987"/>
                    <a:gd name="connsiteY102" fmla="*/ 1590675 h 4496940"/>
                    <a:gd name="connsiteX103" fmla="*/ 135277 w 4519987"/>
                    <a:gd name="connsiteY103" fmla="*/ 1504950 h 4496940"/>
                    <a:gd name="connsiteX104" fmla="*/ 154327 w 4519987"/>
                    <a:gd name="connsiteY104" fmla="*/ 1419225 h 4496940"/>
                    <a:gd name="connsiteX105" fmla="*/ 230527 w 4519987"/>
                    <a:gd name="connsiteY105" fmla="*/ 1276350 h 4496940"/>
                    <a:gd name="connsiteX106" fmla="*/ 240052 w 4519987"/>
                    <a:gd name="connsiteY106" fmla="*/ 1247775 h 4496940"/>
                    <a:gd name="connsiteX107" fmla="*/ 268627 w 4519987"/>
                    <a:gd name="connsiteY107" fmla="*/ 1200150 h 4496940"/>
                    <a:gd name="connsiteX108" fmla="*/ 287677 w 4519987"/>
                    <a:gd name="connsiteY108" fmla="*/ 1152525 h 4496940"/>
                    <a:gd name="connsiteX109" fmla="*/ 316252 w 4519987"/>
                    <a:gd name="connsiteY109" fmla="*/ 1114425 h 4496940"/>
                    <a:gd name="connsiteX110" fmla="*/ 363877 w 4519987"/>
                    <a:gd name="connsiteY110" fmla="*/ 1038225 h 4496940"/>
                    <a:gd name="connsiteX111" fmla="*/ 382927 w 4519987"/>
                    <a:gd name="connsiteY111" fmla="*/ 1009650 h 4496940"/>
                    <a:gd name="connsiteX112" fmla="*/ 440077 w 4519987"/>
                    <a:gd name="connsiteY112" fmla="*/ 904875 h 4496940"/>
                    <a:gd name="connsiteX113" fmla="*/ 478177 w 4519987"/>
                    <a:gd name="connsiteY113" fmla="*/ 857250 h 4496940"/>
                    <a:gd name="connsiteX114" fmla="*/ 497227 w 4519987"/>
                    <a:gd name="connsiteY114" fmla="*/ 828675 h 4496940"/>
                    <a:gd name="connsiteX115" fmla="*/ 535327 w 4519987"/>
                    <a:gd name="connsiteY115" fmla="*/ 800100 h 4496940"/>
                    <a:gd name="connsiteX116" fmla="*/ 602002 w 4519987"/>
                    <a:gd name="connsiteY116" fmla="*/ 733425 h 4496940"/>
                    <a:gd name="connsiteX117" fmla="*/ 668677 w 4519987"/>
                    <a:gd name="connsiteY117" fmla="*/ 676275 h 4496940"/>
                    <a:gd name="connsiteX118" fmla="*/ 697252 w 4519987"/>
                    <a:gd name="connsiteY118" fmla="*/ 657225 h 4496940"/>
                    <a:gd name="connsiteX119" fmla="*/ 840127 w 4519987"/>
                    <a:gd name="connsiteY119" fmla="*/ 533400 h 4496940"/>
                    <a:gd name="connsiteX120" fmla="*/ 887752 w 4519987"/>
                    <a:gd name="connsiteY120" fmla="*/ 504825 h 4496940"/>
                    <a:gd name="connsiteX121" fmla="*/ 1167152 w 4519987"/>
                    <a:gd name="connsiteY121" fmla="*/ 311150 h 4496940"/>
                    <a:gd name="connsiteX122" fmla="*/ 1268752 w 4519987"/>
                    <a:gd name="connsiteY122" fmla="*/ 285750 h 4496940"/>
                    <a:gd name="connsiteX123" fmla="*/ 1411627 w 4519987"/>
                    <a:gd name="connsiteY123" fmla="*/ 190500 h 4496940"/>
                    <a:gd name="connsiteX124" fmla="*/ 1449727 w 4519987"/>
                    <a:gd name="connsiteY124" fmla="*/ 161925 h 4496940"/>
                    <a:gd name="connsiteX125" fmla="*/ 1525927 w 4519987"/>
                    <a:gd name="connsiteY125" fmla="*/ 152400 h 4496940"/>
                    <a:gd name="connsiteX126" fmla="*/ 1583077 w 4519987"/>
                    <a:gd name="connsiteY126" fmla="*/ 142875 h 4496940"/>
                    <a:gd name="connsiteX127" fmla="*/ 1716427 w 4519987"/>
                    <a:gd name="connsiteY127" fmla="*/ 123825 h 4496940"/>
                    <a:gd name="connsiteX128" fmla="*/ 1811677 w 4519987"/>
                    <a:gd name="connsiteY128" fmla="*/ 114300 h 4496940"/>
                    <a:gd name="connsiteX129" fmla="*/ 1859302 w 4519987"/>
                    <a:gd name="connsiteY129" fmla="*/ 104775 h 4496940"/>
                    <a:gd name="connsiteX130" fmla="*/ 1916452 w 4519987"/>
                    <a:gd name="connsiteY130" fmla="*/ 95250 h 4496940"/>
                    <a:gd name="connsiteX131" fmla="*/ 2030752 w 4519987"/>
                    <a:gd name="connsiteY131" fmla="*/ 66675 h 4496940"/>
                    <a:gd name="connsiteX132" fmla="*/ 2097427 w 4519987"/>
                    <a:gd name="connsiteY132" fmla="*/ 47625 h 4496940"/>
                    <a:gd name="connsiteX133" fmla="*/ 2164102 w 4519987"/>
                    <a:gd name="connsiteY133" fmla="*/ 38100 h 4496940"/>
                    <a:gd name="connsiteX134" fmla="*/ 2392702 w 4519987"/>
                    <a:gd name="connsiteY13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792877 w 4519987"/>
                    <a:gd name="connsiteY39" fmla="*/ 3781425 h 4496940"/>
                    <a:gd name="connsiteX40" fmla="*/ 3659527 w 4519987"/>
                    <a:gd name="connsiteY40" fmla="*/ 3971925 h 4496940"/>
                    <a:gd name="connsiteX41" fmla="*/ 3630952 w 4519987"/>
                    <a:gd name="connsiteY41" fmla="*/ 4010025 h 4496940"/>
                    <a:gd name="connsiteX42" fmla="*/ 3621427 w 4519987"/>
                    <a:gd name="connsiteY42" fmla="*/ 4038600 h 4496940"/>
                    <a:gd name="connsiteX43" fmla="*/ 3554752 w 4519987"/>
                    <a:gd name="connsiteY43" fmla="*/ 4095750 h 4496940"/>
                    <a:gd name="connsiteX44" fmla="*/ 3516652 w 4519987"/>
                    <a:gd name="connsiteY44" fmla="*/ 4114800 h 4496940"/>
                    <a:gd name="connsiteX45" fmla="*/ 3497602 w 4519987"/>
                    <a:gd name="connsiteY45" fmla="*/ 4143375 h 4496940"/>
                    <a:gd name="connsiteX46" fmla="*/ 3383302 w 4519987"/>
                    <a:gd name="connsiteY46" fmla="*/ 4210050 h 4496940"/>
                    <a:gd name="connsiteX47" fmla="*/ 3335677 w 4519987"/>
                    <a:gd name="connsiteY47" fmla="*/ 4238625 h 4496940"/>
                    <a:gd name="connsiteX48" fmla="*/ 3288052 w 4519987"/>
                    <a:gd name="connsiteY48" fmla="*/ 4248150 h 4496940"/>
                    <a:gd name="connsiteX49" fmla="*/ 3240427 w 4519987"/>
                    <a:gd name="connsiteY49" fmla="*/ 4267200 h 4496940"/>
                    <a:gd name="connsiteX50" fmla="*/ 3068977 w 4519987"/>
                    <a:gd name="connsiteY50" fmla="*/ 4286250 h 4496940"/>
                    <a:gd name="connsiteX51" fmla="*/ 2935627 w 4519987"/>
                    <a:gd name="connsiteY51" fmla="*/ 4333875 h 4496940"/>
                    <a:gd name="connsiteX52" fmla="*/ 2811802 w 4519987"/>
                    <a:gd name="connsiteY52" fmla="*/ 4371975 h 4496940"/>
                    <a:gd name="connsiteX53" fmla="*/ 2745127 w 4519987"/>
                    <a:gd name="connsiteY53" fmla="*/ 4410075 h 4496940"/>
                    <a:gd name="connsiteX54" fmla="*/ 2697502 w 4519987"/>
                    <a:gd name="connsiteY54" fmla="*/ 4429125 h 4496940"/>
                    <a:gd name="connsiteX55" fmla="*/ 2640352 w 4519987"/>
                    <a:gd name="connsiteY55" fmla="*/ 4457700 h 4496940"/>
                    <a:gd name="connsiteX56" fmla="*/ 2583202 w 4519987"/>
                    <a:gd name="connsiteY56" fmla="*/ 4467225 h 4496940"/>
                    <a:gd name="connsiteX57" fmla="*/ 2545102 w 4519987"/>
                    <a:gd name="connsiteY57" fmla="*/ 4486275 h 4496940"/>
                    <a:gd name="connsiteX58" fmla="*/ 2306977 w 4519987"/>
                    <a:gd name="connsiteY58" fmla="*/ 4476750 h 4496940"/>
                    <a:gd name="connsiteX59" fmla="*/ 2202202 w 4519987"/>
                    <a:gd name="connsiteY59" fmla="*/ 4457700 h 4496940"/>
                    <a:gd name="connsiteX60" fmla="*/ 2126002 w 4519987"/>
                    <a:gd name="connsiteY60" fmla="*/ 4429125 h 4496940"/>
                    <a:gd name="connsiteX61" fmla="*/ 1935502 w 4519987"/>
                    <a:gd name="connsiteY61" fmla="*/ 4400550 h 4496940"/>
                    <a:gd name="connsiteX62" fmla="*/ 1821202 w 4519987"/>
                    <a:gd name="connsiteY62" fmla="*/ 4371975 h 4496940"/>
                    <a:gd name="connsiteX63" fmla="*/ 1754527 w 4519987"/>
                    <a:gd name="connsiteY63" fmla="*/ 4352925 h 4496940"/>
                    <a:gd name="connsiteX64" fmla="*/ 1687852 w 4519987"/>
                    <a:gd name="connsiteY64" fmla="*/ 4343400 h 4496940"/>
                    <a:gd name="connsiteX65" fmla="*/ 1573552 w 4519987"/>
                    <a:gd name="connsiteY65" fmla="*/ 4305300 h 4496940"/>
                    <a:gd name="connsiteX66" fmla="*/ 1402102 w 4519987"/>
                    <a:gd name="connsiteY66" fmla="*/ 4276725 h 4496940"/>
                    <a:gd name="connsiteX67" fmla="*/ 1287802 w 4519987"/>
                    <a:gd name="connsiteY67" fmla="*/ 4229100 h 4496940"/>
                    <a:gd name="connsiteX68" fmla="*/ 1221127 w 4519987"/>
                    <a:gd name="connsiteY68" fmla="*/ 4200525 h 4496940"/>
                    <a:gd name="connsiteX69" fmla="*/ 1144927 w 4519987"/>
                    <a:gd name="connsiteY69" fmla="*/ 4171950 h 4496940"/>
                    <a:gd name="connsiteX70" fmla="*/ 1087777 w 4519987"/>
                    <a:gd name="connsiteY70" fmla="*/ 4143375 h 4496940"/>
                    <a:gd name="connsiteX71" fmla="*/ 1030627 w 4519987"/>
                    <a:gd name="connsiteY71" fmla="*/ 4124325 h 4496940"/>
                    <a:gd name="connsiteX72" fmla="*/ 925852 w 4519987"/>
                    <a:gd name="connsiteY72" fmla="*/ 4067175 h 4496940"/>
                    <a:gd name="connsiteX73" fmla="*/ 830602 w 4519987"/>
                    <a:gd name="connsiteY73" fmla="*/ 3981450 h 4496940"/>
                    <a:gd name="connsiteX74" fmla="*/ 763927 w 4519987"/>
                    <a:gd name="connsiteY74" fmla="*/ 3914775 h 4496940"/>
                    <a:gd name="connsiteX75" fmla="*/ 725827 w 4519987"/>
                    <a:gd name="connsiteY75" fmla="*/ 3876675 h 4496940"/>
                    <a:gd name="connsiteX76" fmla="*/ 697252 w 4519987"/>
                    <a:gd name="connsiteY76" fmla="*/ 3838575 h 4496940"/>
                    <a:gd name="connsiteX77" fmla="*/ 640102 w 4519987"/>
                    <a:gd name="connsiteY77" fmla="*/ 3781425 h 4496940"/>
                    <a:gd name="connsiteX78" fmla="*/ 611527 w 4519987"/>
                    <a:gd name="connsiteY78" fmla="*/ 3733800 h 4496940"/>
                    <a:gd name="connsiteX79" fmla="*/ 554377 w 4519987"/>
                    <a:gd name="connsiteY79" fmla="*/ 3657600 h 4496940"/>
                    <a:gd name="connsiteX80" fmla="*/ 525802 w 4519987"/>
                    <a:gd name="connsiteY80" fmla="*/ 3609975 h 4496940"/>
                    <a:gd name="connsiteX81" fmla="*/ 497227 w 4519987"/>
                    <a:gd name="connsiteY81" fmla="*/ 3552825 h 4496940"/>
                    <a:gd name="connsiteX82" fmla="*/ 440077 w 4519987"/>
                    <a:gd name="connsiteY82" fmla="*/ 3495675 h 4496940"/>
                    <a:gd name="connsiteX83" fmla="*/ 411502 w 4519987"/>
                    <a:gd name="connsiteY83" fmla="*/ 3448050 h 4496940"/>
                    <a:gd name="connsiteX84" fmla="*/ 278152 w 4519987"/>
                    <a:gd name="connsiteY84" fmla="*/ 3257550 h 4496940"/>
                    <a:gd name="connsiteX85" fmla="*/ 249577 w 4519987"/>
                    <a:gd name="connsiteY85" fmla="*/ 3200400 h 4496940"/>
                    <a:gd name="connsiteX86" fmla="*/ 240052 w 4519987"/>
                    <a:gd name="connsiteY86" fmla="*/ 3162300 h 4496940"/>
                    <a:gd name="connsiteX87" fmla="*/ 221002 w 4519987"/>
                    <a:gd name="connsiteY87" fmla="*/ 3105150 h 4496940"/>
                    <a:gd name="connsiteX88" fmla="*/ 173377 w 4519987"/>
                    <a:gd name="connsiteY88" fmla="*/ 3019425 h 4496940"/>
                    <a:gd name="connsiteX89" fmla="*/ 144802 w 4519987"/>
                    <a:gd name="connsiteY89" fmla="*/ 2924175 h 4496940"/>
                    <a:gd name="connsiteX90" fmla="*/ 68602 w 4519987"/>
                    <a:gd name="connsiteY90" fmla="*/ 2724150 h 4496940"/>
                    <a:gd name="connsiteX91" fmla="*/ 49552 w 4519987"/>
                    <a:gd name="connsiteY91" fmla="*/ 2638425 h 4496940"/>
                    <a:gd name="connsiteX92" fmla="*/ 40027 w 4519987"/>
                    <a:gd name="connsiteY92" fmla="*/ 2562225 h 4496940"/>
                    <a:gd name="connsiteX93" fmla="*/ 30502 w 4519987"/>
                    <a:gd name="connsiteY93" fmla="*/ 2514600 h 4496940"/>
                    <a:gd name="connsiteX94" fmla="*/ 11452 w 4519987"/>
                    <a:gd name="connsiteY94" fmla="*/ 2400300 h 4496940"/>
                    <a:gd name="connsiteX95" fmla="*/ 20977 w 4519987"/>
                    <a:gd name="connsiteY95" fmla="*/ 1905000 h 4496940"/>
                    <a:gd name="connsiteX96" fmla="*/ 30502 w 4519987"/>
                    <a:gd name="connsiteY96" fmla="*/ 1838325 h 4496940"/>
                    <a:gd name="connsiteX97" fmla="*/ 49552 w 4519987"/>
                    <a:gd name="connsiteY97" fmla="*/ 1781175 h 4496940"/>
                    <a:gd name="connsiteX98" fmla="*/ 59077 w 4519987"/>
                    <a:gd name="connsiteY98" fmla="*/ 1743075 h 4496940"/>
                    <a:gd name="connsiteX99" fmla="*/ 78127 w 4519987"/>
                    <a:gd name="connsiteY99" fmla="*/ 1685925 h 4496940"/>
                    <a:gd name="connsiteX100" fmla="*/ 87652 w 4519987"/>
                    <a:gd name="connsiteY100" fmla="*/ 1638300 h 4496940"/>
                    <a:gd name="connsiteX101" fmla="*/ 106702 w 4519987"/>
                    <a:gd name="connsiteY101" fmla="*/ 1590675 h 4496940"/>
                    <a:gd name="connsiteX102" fmla="*/ 135277 w 4519987"/>
                    <a:gd name="connsiteY102" fmla="*/ 1504950 h 4496940"/>
                    <a:gd name="connsiteX103" fmla="*/ 154327 w 4519987"/>
                    <a:gd name="connsiteY103" fmla="*/ 1419225 h 4496940"/>
                    <a:gd name="connsiteX104" fmla="*/ 230527 w 4519987"/>
                    <a:gd name="connsiteY104" fmla="*/ 1276350 h 4496940"/>
                    <a:gd name="connsiteX105" fmla="*/ 240052 w 4519987"/>
                    <a:gd name="connsiteY105" fmla="*/ 1247775 h 4496940"/>
                    <a:gd name="connsiteX106" fmla="*/ 268627 w 4519987"/>
                    <a:gd name="connsiteY106" fmla="*/ 1200150 h 4496940"/>
                    <a:gd name="connsiteX107" fmla="*/ 287677 w 4519987"/>
                    <a:gd name="connsiteY107" fmla="*/ 1152525 h 4496940"/>
                    <a:gd name="connsiteX108" fmla="*/ 316252 w 4519987"/>
                    <a:gd name="connsiteY108" fmla="*/ 1114425 h 4496940"/>
                    <a:gd name="connsiteX109" fmla="*/ 363877 w 4519987"/>
                    <a:gd name="connsiteY109" fmla="*/ 1038225 h 4496940"/>
                    <a:gd name="connsiteX110" fmla="*/ 382927 w 4519987"/>
                    <a:gd name="connsiteY110" fmla="*/ 1009650 h 4496940"/>
                    <a:gd name="connsiteX111" fmla="*/ 440077 w 4519987"/>
                    <a:gd name="connsiteY111" fmla="*/ 904875 h 4496940"/>
                    <a:gd name="connsiteX112" fmla="*/ 478177 w 4519987"/>
                    <a:gd name="connsiteY112" fmla="*/ 857250 h 4496940"/>
                    <a:gd name="connsiteX113" fmla="*/ 497227 w 4519987"/>
                    <a:gd name="connsiteY113" fmla="*/ 828675 h 4496940"/>
                    <a:gd name="connsiteX114" fmla="*/ 535327 w 4519987"/>
                    <a:gd name="connsiteY114" fmla="*/ 800100 h 4496940"/>
                    <a:gd name="connsiteX115" fmla="*/ 602002 w 4519987"/>
                    <a:gd name="connsiteY115" fmla="*/ 733425 h 4496940"/>
                    <a:gd name="connsiteX116" fmla="*/ 668677 w 4519987"/>
                    <a:gd name="connsiteY116" fmla="*/ 676275 h 4496940"/>
                    <a:gd name="connsiteX117" fmla="*/ 697252 w 4519987"/>
                    <a:gd name="connsiteY117" fmla="*/ 657225 h 4496940"/>
                    <a:gd name="connsiteX118" fmla="*/ 840127 w 4519987"/>
                    <a:gd name="connsiteY118" fmla="*/ 533400 h 4496940"/>
                    <a:gd name="connsiteX119" fmla="*/ 887752 w 4519987"/>
                    <a:gd name="connsiteY119" fmla="*/ 504825 h 4496940"/>
                    <a:gd name="connsiteX120" fmla="*/ 1167152 w 4519987"/>
                    <a:gd name="connsiteY120" fmla="*/ 311150 h 4496940"/>
                    <a:gd name="connsiteX121" fmla="*/ 1268752 w 4519987"/>
                    <a:gd name="connsiteY121" fmla="*/ 285750 h 4496940"/>
                    <a:gd name="connsiteX122" fmla="*/ 1411627 w 4519987"/>
                    <a:gd name="connsiteY122" fmla="*/ 190500 h 4496940"/>
                    <a:gd name="connsiteX123" fmla="*/ 1449727 w 4519987"/>
                    <a:gd name="connsiteY123" fmla="*/ 161925 h 4496940"/>
                    <a:gd name="connsiteX124" fmla="*/ 1525927 w 4519987"/>
                    <a:gd name="connsiteY124" fmla="*/ 152400 h 4496940"/>
                    <a:gd name="connsiteX125" fmla="*/ 1583077 w 4519987"/>
                    <a:gd name="connsiteY125" fmla="*/ 142875 h 4496940"/>
                    <a:gd name="connsiteX126" fmla="*/ 1716427 w 4519987"/>
                    <a:gd name="connsiteY126" fmla="*/ 123825 h 4496940"/>
                    <a:gd name="connsiteX127" fmla="*/ 1811677 w 4519987"/>
                    <a:gd name="connsiteY127" fmla="*/ 114300 h 4496940"/>
                    <a:gd name="connsiteX128" fmla="*/ 1859302 w 4519987"/>
                    <a:gd name="connsiteY128" fmla="*/ 104775 h 4496940"/>
                    <a:gd name="connsiteX129" fmla="*/ 1916452 w 4519987"/>
                    <a:gd name="connsiteY129" fmla="*/ 95250 h 4496940"/>
                    <a:gd name="connsiteX130" fmla="*/ 2030752 w 4519987"/>
                    <a:gd name="connsiteY130" fmla="*/ 66675 h 4496940"/>
                    <a:gd name="connsiteX131" fmla="*/ 2097427 w 4519987"/>
                    <a:gd name="connsiteY131" fmla="*/ 47625 h 4496940"/>
                    <a:gd name="connsiteX132" fmla="*/ 2164102 w 4519987"/>
                    <a:gd name="connsiteY132" fmla="*/ 38100 h 4496940"/>
                    <a:gd name="connsiteX133" fmla="*/ 2392702 w 4519987"/>
                    <a:gd name="connsiteY13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907177 w 4519987"/>
                    <a:gd name="connsiteY38" fmla="*/ 3686175 h 4496940"/>
                    <a:gd name="connsiteX39" fmla="*/ 3659527 w 4519987"/>
                    <a:gd name="connsiteY39" fmla="*/ 3971925 h 4496940"/>
                    <a:gd name="connsiteX40" fmla="*/ 3630952 w 4519987"/>
                    <a:gd name="connsiteY40" fmla="*/ 4010025 h 4496940"/>
                    <a:gd name="connsiteX41" fmla="*/ 3621427 w 4519987"/>
                    <a:gd name="connsiteY41" fmla="*/ 4038600 h 4496940"/>
                    <a:gd name="connsiteX42" fmla="*/ 3554752 w 4519987"/>
                    <a:gd name="connsiteY42" fmla="*/ 4095750 h 4496940"/>
                    <a:gd name="connsiteX43" fmla="*/ 3516652 w 4519987"/>
                    <a:gd name="connsiteY43" fmla="*/ 4114800 h 4496940"/>
                    <a:gd name="connsiteX44" fmla="*/ 3497602 w 4519987"/>
                    <a:gd name="connsiteY44" fmla="*/ 4143375 h 4496940"/>
                    <a:gd name="connsiteX45" fmla="*/ 3383302 w 4519987"/>
                    <a:gd name="connsiteY45" fmla="*/ 4210050 h 4496940"/>
                    <a:gd name="connsiteX46" fmla="*/ 3335677 w 4519987"/>
                    <a:gd name="connsiteY46" fmla="*/ 4238625 h 4496940"/>
                    <a:gd name="connsiteX47" fmla="*/ 3288052 w 4519987"/>
                    <a:gd name="connsiteY47" fmla="*/ 4248150 h 4496940"/>
                    <a:gd name="connsiteX48" fmla="*/ 3240427 w 4519987"/>
                    <a:gd name="connsiteY48" fmla="*/ 4267200 h 4496940"/>
                    <a:gd name="connsiteX49" fmla="*/ 3068977 w 4519987"/>
                    <a:gd name="connsiteY49" fmla="*/ 4286250 h 4496940"/>
                    <a:gd name="connsiteX50" fmla="*/ 2935627 w 4519987"/>
                    <a:gd name="connsiteY50" fmla="*/ 4333875 h 4496940"/>
                    <a:gd name="connsiteX51" fmla="*/ 2811802 w 4519987"/>
                    <a:gd name="connsiteY51" fmla="*/ 4371975 h 4496940"/>
                    <a:gd name="connsiteX52" fmla="*/ 2745127 w 4519987"/>
                    <a:gd name="connsiteY52" fmla="*/ 4410075 h 4496940"/>
                    <a:gd name="connsiteX53" fmla="*/ 2697502 w 4519987"/>
                    <a:gd name="connsiteY53" fmla="*/ 4429125 h 4496940"/>
                    <a:gd name="connsiteX54" fmla="*/ 2640352 w 4519987"/>
                    <a:gd name="connsiteY54" fmla="*/ 4457700 h 4496940"/>
                    <a:gd name="connsiteX55" fmla="*/ 2583202 w 4519987"/>
                    <a:gd name="connsiteY55" fmla="*/ 4467225 h 4496940"/>
                    <a:gd name="connsiteX56" fmla="*/ 2545102 w 4519987"/>
                    <a:gd name="connsiteY56" fmla="*/ 4486275 h 4496940"/>
                    <a:gd name="connsiteX57" fmla="*/ 2306977 w 4519987"/>
                    <a:gd name="connsiteY57" fmla="*/ 4476750 h 4496940"/>
                    <a:gd name="connsiteX58" fmla="*/ 2202202 w 4519987"/>
                    <a:gd name="connsiteY58" fmla="*/ 4457700 h 4496940"/>
                    <a:gd name="connsiteX59" fmla="*/ 2126002 w 4519987"/>
                    <a:gd name="connsiteY59" fmla="*/ 4429125 h 4496940"/>
                    <a:gd name="connsiteX60" fmla="*/ 1935502 w 4519987"/>
                    <a:gd name="connsiteY60" fmla="*/ 4400550 h 4496940"/>
                    <a:gd name="connsiteX61" fmla="*/ 1821202 w 4519987"/>
                    <a:gd name="connsiteY61" fmla="*/ 4371975 h 4496940"/>
                    <a:gd name="connsiteX62" fmla="*/ 1754527 w 4519987"/>
                    <a:gd name="connsiteY62" fmla="*/ 4352925 h 4496940"/>
                    <a:gd name="connsiteX63" fmla="*/ 1687852 w 4519987"/>
                    <a:gd name="connsiteY63" fmla="*/ 4343400 h 4496940"/>
                    <a:gd name="connsiteX64" fmla="*/ 1573552 w 4519987"/>
                    <a:gd name="connsiteY64" fmla="*/ 4305300 h 4496940"/>
                    <a:gd name="connsiteX65" fmla="*/ 1402102 w 4519987"/>
                    <a:gd name="connsiteY65" fmla="*/ 4276725 h 4496940"/>
                    <a:gd name="connsiteX66" fmla="*/ 1287802 w 4519987"/>
                    <a:gd name="connsiteY66" fmla="*/ 4229100 h 4496940"/>
                    <a:gd name="connsiteX67" fmla="*/ 1221127 w 4519987"/>
                    <a:gd name="connsiteY67" fmla="*/ 4200525 h 4496940"/>
                    <a:gd name="connsiteX68" fmla="*/ 1144927 w 4519987"/>
                    <a:gd name="connsiteY68" fmla="*/ 4171950 h 4496940"/>
                    <a:gd name="connsiteX69" fmla="*/ 1087777 w 4519987"/>
                    <a:gd name="connsiteY69" fmla="*/ 4143375 h 4496940"/>
                    <a:gd name="connsiteX70" fmla="*/ 1030627 w 4519987"/>
                    <a:gd name="connsiteY70" fmla="*/ 4124325 h 4496940"/>
                    <a:gd name="connsiteX71" fmla="*/ 925852 w 4519987"/>
                    <a:gd name="connsiteY71" fmla="*/ 4067175 h 4496940"/>
                    <a:gd name="connsiteX72" fmla="*/ 830602 w 4519987"/>
                    <a:gd name="connsiteY72" fmla="*/ 3981450 h 4496940"/>
                    <a:gd name="connsiteX73" fmla="*/ 763927 w 4519987"/>
                    <a:gd name="connsiteY73" fmla="*/ 3914775 h 4496940"/>
                    <a:gd name="connsiteX74" fmla="*/ 725827 w 4519987"/>
                    <a:gd name="connsiteY74" fmla="*/ 3876675 h 4496940"/>
                    <a:gd name="connsiteX75" fmla="*/ 697252 w 4519987"/>
                    <a:gd name="connsiteY75" fmla="*/ 3838575 h 4496940"/>
                    <a:gd name="connsiteX76" fmla="*/ 640102 w 4519987"/>
                    <a:gd name="connsiteY76" fmla="*/ 3781425 h 4496940"/>
                    <a:gd name="connsiteX77" fmla="*/ 611527 w 4519987"/>
                    <a:gd name="connsiteY77" fmla="*/ 3733800 h 4496940"/>
                    <a:gd name="connsiteX78" fmla="*/ 554377 w 4519987"/>
                    <a:gd name="connsiteY78" fmla="*/ 3657600 h 4496940"/>
                    <a:gd name="connsiteX79" fmla="*/ 525802 w 4519987"/>
                    <a:gd name="connsiteY79" fmla="*/ 3609975 h 4496940"/>
                    <a:gd name="connsiteX80" fmla="*/ 497227 w 4519987"/>
                    <a:gd name="connsiteY80" fmla="*/ 3552825 h 4496940"/>
                    <a:gd name="connsiteX81" fmla="*/ 440077 w 4519987"/>
                    <a:gd name="connsiteY81" fmla="*/ 3495675 h 4496940"/>
                    <a:gd name="connsiteX82" fmla="*/ 411502 w 4519987"/>
                    <a:gd name="connsiteY82" fmla="*/ 3448050 h 4496940"/>
                    <a:gd name="connsiteX83" fmla="*/ 278152 w 4519987"/>
                    <a:gd name="connsiteY83" fmla="*/ 3257550 h 4496940"/>
                    <a:gd name="connsiteX84" fmla="*/ 249577 w 4519987"/>
                    <a:gd name="connsiteY84" fmla="*/ 3200400 h 4496940"/>
                    <a:gd name="connsiteX85" fmla="*/ 240052 w 4519987"/>
                    <a:gd name="connsiteY85" fmla="*/ 3162300 h 4496940"/>
                    <a:gd name="connsiteX86" fmla="*/ 221002 w 4519987"/>
                    <a:gd name="connsiteY86" fmla="*/ 3105150 h 4496940"/>
                    <a:gd name="connsiteX87" fmla="*/ 173377 w 4519987"/>
                    <a:gd name="connsiteY87" fmla="*/ 3019425 h 4496940"/>
                    <a:gd name="connsiteX88" fmla="*/ 144802 w 4519987"/>
                    <a:gd name="connsiteY88" fmla="*/ 2924175 h 4496940"/>
                    <a:gd name="connsiteX89" fmla="*/ 68602 w 4519987"/>
                    <a:gd name="connsiteY89" fmla="*/ 2724150 h 4496940"/>
                    <a:gd name="connsiteX90" fmla="*/ 49552 w 4519987"/>
                    <a:gd name="connsiteY90" fmla="*/ 2638425 h 4496940"/>
                    <a:gd name="connsiteX91" fmla="*/ 40027 w 4519987"/>
                    <a:gd name="connsiteY91" fmla="*/ 2562225 h 4496940"/>
                    <a:gd name="connsiteX92" fmla="*/ 30502 w 4519987"/>
                    <a:gd name="connsiteY92" fmla="*/ 2514600 h 4496940"/>
                    <a:gd name="connsiteX93" fmla="*/ 11452 w 4519987"/>
                    <a:gd name="connsiteY93" fmla="*/ 2400300 h 4496940"/>
                    <a:gd name="connsiteX94" fmla="*/ 20977 w 4519987"/>
                    <a:gd name="connsiteY94" fmla="*/ 1905000 h 4496940"/>
                    <a:gd name="connsiteX95" fmla="*/ 30502 w 4519987"/>
                    <a:gd name="connsiteY95" fmla="*/ 1838325 h 4496940"/>
                    <a:gd name="connsiteX96" fmla="*/ 49552 w 4519987"/>
                    <a:gd name="connsiteY96" fmla="*/ 1781175 h 4496940"/>
                    <a:gd name="connsiteX97" fmla="*/ 59077 w 4519987"/>
                    <a:gd name="connsiteY97" fmla="*/ 1743075 h 4496940"/>
                    <a:gd name="connsiteX98" fmla="*/ 78127 w 4519987"/>
                    <a:gd name="connsiteY98" fmla="*/ 1685925 h 4496940"/>
                    <a:gd name="connsiteX99" fmla="*/ 87652 w 4519987"/>
                    <a:gd name="connsiteY99" fmla="*/ 1638300 h 4496940"/>
                    <a:gd name="connsiteX100" fmla="*/ 106702 w 4519987"/>
                    <a:gd name="connsiteY100" fmla="*/ 1590675 h 4496940"/>
                    <a:gd name="connsiteX101" fmla="*/ 135277 w 4519987"/>
                    <a:gd name="connsiteY101" fmla="*/ 1504950 h 4496940"/>
                    <a:gd name="connsiteX102" fmla="*/ 154327 w 4519987"/>
                    <a:gd name="connsiteY102" fmla="*/ 1419225 h 4496940"/>
                    <a:gd name="connsiteX103" fmla="*/ 230527 w 4519987"/>
                    <a:gd name="connsiteY103" fmla="*/ 1276350 h 4496940"/>
                    <a:gd name="connsiteX104" fmla="*/ 240052 w 4519987"/>
                    <a:gd name="connsiteY104" fmla="*/ 1247775 h 4496940"/>
                    <a:gd name="connsiteX105" fmla="*/ 268627 w 4519987"/>
                    <a:gd name="connsiteY105" fmla="*/ 1200150 h 4496940"/>
                    <a:gd name="connsiteX106" fmla="*/ 287677 w 4519987"/>
                    <a:gd name="connsiteY106" fmla="*/ 1152525 h 4496940"/>
                    <a:gd name="connsiteX107" fmla="*/ 316252 w 4519987"/>
                    <a:gd name="connsiteY107" fmla="*/ 1114425 h 4496940"/>
                    <a:gd name="connsiteX108" fmla="*/ 363877 w 4519987"/>
                    <a:gd name="connsiteY108" fmla="*/ 1038225 h 4496940"/>
                    <a:gd name="connsiteX109" fmla="*/ 382927 w 4519987"/>
                    <a:gd name="connsiteY109" fmla="*/ 1009650 h 4496940"/>
                    <a:gd name="connsiteX110" fmla="*/ 440077 w 4519987"/>
                    <a:gd name="connsiteY110" fmla="*/ 904875 h 4496940"/>
                    <a:gd name="connsiteX111" fmla="*/ 478177 w 4519987"/>
                    <a:gd name="connsiteY111" fmla="*/ 857250 h 4496940"/>
                    <a:gd name="connsiteX112" fmla="*/ 497227 w 4519987"/>
                    <a:gd name="connsiteY112" fmla="*/ 828675 h 4496940"/>
                    <a:gd name="connsiteX113" fmla="*/ 535327 w 4519987"/>
                    <a:gd name="connsiteY113" fmla="*/ 800100 h 4496940"/>
                    <a:gd name="connsiteX114" fmla="*/ 602002 w 4519987"/>
                    <a:gd name="connsiteY114" fmla="*/ 733425 h 4496940"/>
                    <a:gd name="connsiteX115" fmla="*/ 668677 w 4519987"/>
                    <a:gd name="connsiteY115" fmla="*/ 676275 h 4496940"/>
                    <a:gd name="connsiteX116" fmla="*/ 697252 w 4519987"/>
                    <a:gd name="connsiteY116" fmla="*/ 657225 h 4496940"/>
                    <a:gd name="connsiteX117" fmla="*/ 840127 w 4519987"/>
                    <a:gd name="connsiteY117" fmla="*/ 533400 h 4496940"/>
                    <a:gd name="connsiteX118" fmla="*/ 887752 w 4519987"/>
                    <a:gd name="connsiteY118" fmla="*/ 504825 h 4496940"/>
                    <a:gd name="connsiteX119" fmla="*/ 1167152 w 4519987"/>
                    <a:gd name="connsiteY119" fmla="*/ 311150 h 4496940"/>
                    <a:gd name="connsiteX120" fmla="*/ 1268752 w 4519987"/>
                    <a:gd name="connsiteY120" fmla="*/ 285750 h 4496940"/>
                    <a:gd name="connsiteX121" fmla="*/ 1411627 w 4519987"/>
                    <a:gd name="connsiteY121" fmla="*/ 190500 h 4496940"/>
                    <a:gd name="connsiteX122" fmla="*/ 1449727 w 4519987"/>
                    <a:gd name="connsiteY122" fmla="*/ 161925 h 4496940"/>
                    <a:gd name="connsiteX123" fmla="*/ 1525927 w 4519987"/>
                    <a:gd name="connsiteY123" fmla="*/ 152400 h 4496940"/>
                    <a:gd name="connsiteX124" fmla="*/ 1583077 w 4519987"/>
                    <a:gd name="connsiteY124" fmla="*/ 142875 h 4496940"/>
                    <a:gd name="connsiteX125" fmla="*/ 1716427 w 4519987"/>
                    <a:gd name="connsiteY125" fmla="*/ 123825 h 4496940"/>
                    <a:gd name="connsiteX126" fmla="*/ 1811677 w 4519987"/>
                    <a:gd name="connsiteY126" fmla="*/ 114300 h 4496940"/>
                    <a:gd name="connsiteX127" fmla="*/ 1859302 w 4519987"/>
                    <a:gd name="connsiteY127" fmla="*/ 104775 h 4496940"/>
                    <a:gd name="connsiteX128" fmla="*/ 1916452 w 4519987"/>
                    <a:gd name="connsiteY128" fmla="*/ 95250 h 4496940"/>
                    <a:gd name="connsiteX129" fmla="*/ 2030752 w 4519987"/>
                    <a:gd name="connsiteY129" fmla="*/ 66675 h 4496940"/>
                    <a:gd name="connsiteX130" fmla="*/ 2097427 w 4519987"/>
                    <a:gd name="connsiteY130" fmla="*/ 47625 h 4496940"/>
                    <a:gd name="connsiteX131" fmla="*/ 2164102 w 4519987"/>
                    <a:gd name="connsiteY131" fmla="*/ 38100 h 4496940"/>
                    <a:gd name="connsiteX132" fmla="*/ 2392702 w 4519987"/>
                    <a:gd name="connsiteY13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259602 w 4519987"/>
                    <a:gd name="connsiteY32" fmla="*/ 3276600 h 4496940"/>
                    <a:gd name="connsiteX33" fmla="*/ 4183402 w 4519987"/>
                    <a:gd name="connsiteY33" fmla="*/ 3400425 h 4496940"/>
                    <a:gd name="connsiteX34" fmla="*/ 4088152 w 4519987"/>
                    <a:gd name="connsiteY34" fmla="*/ 3495675 h 4496940"/>
                    <a:gd name="connsiteX35" fmla="*/ 4059577 w 4519987"/>
                    <a:gd name="connsiteY35" fmla="*/ 3533775 h 4496940"/>
                    <a:gd name="connsiteX36" fmla="*/ 4002427 w 4519987"/>
                    <a:gd name="connsiteY36" fmla="*/ 3600450 h 4496940"/>
                    <a:gd name="connsiteX37" fmla="*/ 3954802 w 4519987"/>
                    <a:gd name="connsiteY37" fmla="*/ 3648075 h 4496940"/>
                    <a:gd name="connsiteX38" fmla="*/ 3659527 w 4519987"/>
                    <a:gd name="connsiteY38" fmla="*/ 3971925 h 4496940"/>
                    <a:gd name="connsiteX39" fmla="*/ 3630952 w 4519987"/>
                    <a:gd name="connsiteY39" fmla="*/ 4010025 h 4496940"/>
                    <a:gd name="connsiteX40" fmla="*/ 3621427 w 4519987"/>
                    <a:gd name="connsiteY40" fmla="*/ 4038600 h 4496940"/>
                    <a:gd name="connsiteX41" fmla="*/ 3554752 w 4519987"/>
                    <a:gd name="connsiteY41" fmla="*/ 4095750 h 4496940"/>
                    <a:gd name="connsiteX42" fmla="*/ 3516652 w 4519987"/>
                    <a:gd name="connsiteY42" fmla="*/ 4114800 h 4496940"/>
                    <a:gd name="connsiteX43" fmla="*/ 3497602 w 4519987"/>
                    <a:gd name="connsiteY43" fmla="*/ 4143375 h 4496940"/>
                    <a:gd name="connsiteX44" fmla="*/ 3383302 w 4519987"/>
                    <a:gd name="connsiteY44" fmla="*/ 4210050 h 4496940"/>
                    <a:gd name="connsiteX45" fmla="*/ 3335677 w 4519987"/>
                    <a:gd name="connsiteY45" fmla="*/ 4238625 h 4496940"/>
                    <a:gd name="connsiteX46" fmla="*/ 3288052 w 4519987"/>
                    <a:gd name="connsiteY46" fmla="*/ 4248150 h 4496940"/>
                    <a:gd name="connsiteX47" fmla="*/ 3240427 w 4519987"/>
                    <a:gd name="connsiteY47" fmla="*/ 4267200 h 4496940"/>
                    <a:gd name="connsiteX48" fmla="*/ 3068977 w 4519987"/>
                    <a:gd name="connsiteY48" fmla="*/ 4286250 h 4496940"/>
                    <a:gd name="connsiteX49" fmla="*/ 2935627 w 4519987"/>
                    <a:gd name="connsiteY49" fmla="*/ 4333875 h 4496940"/>
                    <a:gd name="connsiteX50" fmla="*/ 2811802 w 4519987"/>
                    <a:gd name="connsiteY50" fmla="*/ 4371975 h 4496940"/>
                    <a:gd name="connsiteX51" fmla="*/ 2745127 w 4519987"/>
                    <a:gd name="connsiteY51" fmla="*/ 4410075 h 4496940"/>
                    <a:gd name="connsiteX52" fmla="*/ 2697502 w 4519987"/>
                    <a:gd name="connsiteY52" fmla="*/ 4429125 h 4496940"/>
                    <a:gd name="connsiteX53" fmla="*/ 2640352 w 4519987"/>
                    <a:gd name="connsiteY53" fmla="*/ 4457700 h 4496940"/>
                    <a:gd name="connsiteX54" fmla="*/ 2583202 w 4519987"/>
                    <a:gd name="connsiteY54" fmla="*/ 4467225 h 4496940"/>
                    <a:gd name="connsiteX55" fmla="*/ 2545102 w 4519987"/>
                    <a:gd name="connsiteY55" fmla="*/ 4486275 h 4496940"/>
                    <a:gd name="connsiteX56" fmla="*/ 2306977 w 4519987"/>
                    <a:gd name="connsiteY56" fmla="*/ 4476750 h 4496940"/>
                    <a:gd name="connsiteX57" fmla="*/ 2202202 w 4519987"/>
                    <a:gd name="connsiteY57" fmla="*/ 4457700 h 4496940"/>
                    <a:gd name="connsiteX58" fmla="*/ 2126002 w 4519987"/>
                    <a:gd name="connsiteY58" fmla="*/ 4429125 h 4496940"/>
                    <a:gd name="connsiteX59" fmla="*/ 1935502 w 4519987"/>
                    <a:gd name="connsiteY59" fmla="*/ 4400550 h 4496940"/>
                    <a:gd name="connsiteX60" fmla="*/ 1821202 w 4519987"/>
                    <a:gd name="connsiteY60" fmla="*/ 4371975 h 4496940"/>
                    <a:gd name="connsiteX61" fmla="*/ 1754527 w 4519987"/>
                    <a:gd name="connsiteY61" fmla="*/ 4352925 h 4496940"/>
                    <a:gd name="connsiteX62" fmla="*/ 1687852 w 4519987"/>
                    <a:gd name="connsiteY62" fmla="*/ 4343400 h 4496940"/>
                    <a:gd name="connsiteX63" fmla="*/ 1573552 w 4519987"/>
                    <a:gd name="connsiteY63" fmla="*/ 4305300 h 4496940"/>
                    <a:gd name="connsiteX64" fmla="*/ 1402102 w 4519987"/>
                    <a:gd name="connsiteY64" fmla="*/ 4276725 h 4496940"/>
                    <a:gd name="connsiteX65" fmla="*/ 1287802 w 4519987"/>
                    <a:gd name="connsiteY65" fmla="*/ 4229100 h 4496940"/>
                    <a:gd name="connsiteX66" fmla="*/ 1221127 w 4519987"/>
                    <a:gd name="connsiteY66" fmla="*/ 4200525 h 4496940"/>
                    <a:gd name="connsiteX67" fmla="*/ 1144927 w 4519987"/>
                    <a:gd name="connsiteY67" fmla="*/ 4171950 h 4496940"/>
                    <a:gd name="connsiteX68" fmla="*/ 1087777 w 4519987"/>
                    <a:gd name="connsiteY68" fmla="*/ 4143375 h 4496940"/>
                    <a:gd name="connsiteX69" fmla="*/ 1030627 w 4519987"/>
                    <a:gd name="connsiteY69" fmla="*/ 4124325 h 4496940"/>
                    <a:gd name="connsiteX70" fmla="*/ 925852 w 4519987"/>
                    <a:gd name="connsiteY70" fmla="*/ 4067175 h 4496940"/>
                    <a:gd name="connsiteX71" fmla="*/ 830602 w 4519987"/>
                    <a:gd name="connsiteY71" fmla="*/ 3981450 h 4496940"/>
                    <a:gd name="connsiteX72" fmla="*/ 763927 w 4519987"/>
                    <a:gd name="connsiteY72" fmla="*/ 3914775 h 4496940"/>
                    <a:gd name="connsiteX73" fmla="*/ 725827 w 4519987"/>
                    <a:gd name="connsiteY73" fmla="*/ 3876675 h 4496940"/>
                    <a:gd name="connsiteX74" fmla="*/ 697252 w 4519987"/>
                    <a:gd name="connsiteY74" fmla="*/ 3838575 h 4496940"/>
                    <a:gd name="connsiteX75" fmla="*/ 640102 w 4519987"/>
                    <a:gd name="connsiteY75" fmla="*/ 3781425 h 4496940"/>
                    <a:gd name="connsiteX76" fmla="*/ 611527 w 4519987"/>
                    <a:gd name="connsiteY76" fmla="*/ 3733800 h 4496940"/>
                    <a:gd name="connsiteX77" fmla="*/ 554377 w 4519987"/>
                    <a:gd name="connsiteY77" fmla="*/ 3657600 h 4496940"/>
                    <a:gd name="connsiteX78" fmla="*/ 525802 w 4519987"/>
                    <a:gd name="connsiteY78" fmla="*/ 3609975 h 4496940"/>
                    <a:gd name="connsiteX79" fmla="*/ 497227 w 4519987"/>
                    <a:gd name="connsiteY79" fmla="*/ 3552825 h 4496940"/>
                    <a:gd name="connsiteX80" fmla="*/ 440077 w 4519987"/>
                    <a:gd name="connsiteY80" fmla="*/ 3495675 h 4496940"/>
                    <a:gd name="connsiteX81" fmla="*/ 411502 w 4519987"/>
                    <a:gd name="connsiteY81" fmla="*/ 3448050 h 4496940"/>
                    <a:gd name="connsiteX82" fmla="*/ 278152 w 4519987"/>
                    <a:gd name="connsiteY82" fmla="*/ 3257550 h 4496940"/>
                    <a:gd name="connsiteX83" fmla="*/ 249577 w 4519987"/>
                    <a:gd name="connsiteY83" fmla="*/ 3200400 h 4496940"/>
                    <a:gd name="connsiteX84" fmla="*/ 240052 w 4519987"/>
                    <a:gd name="connsiteY84" fmla="*/ 3162300 h 4496940"/>
                    <a:gd name="connsiteX85" fmla="*/ 221002 w 4519987"/>
                    <a:gd name="connsiteY85" fmla="*/ 3105150 h 4496940"/>
                    <a:gd name="connsiteX86" fmla="*/ 173377 w 4519987"/>
                    <a:gd name="connsiteY86" fmla="*/ 3019425 h 4496940"/>
                    <a:gd name="connsiteX87" fmla="*/ 144802 w 4519987"/>
                    <a:gd name="connsiteY87" fmla="*/ 2924175 h 4496940"/>
                    <a:gd name="connsiteX88" fmla="*/ 68602 w 4519987"/>
                    <a:gd name="connsiteY88" fmla="*/ 2724150 h 4496940"/>
                    <a:gd name="connsiteX89" fmla="*/ 49552 w 4519987"/>
                    <a:gd name="connsiteY89" fmla="*/ 2638425 h 4496940"/>
                    <a:gd name="connsiteX90" fmla="*/ 40027 w 4519987"/>
                    <a:gd name="connsiteY90" fmla="*/ 2562225 h 4496940"/>
                    <a:gd name="connsiteX91" fmla="*/ 30502 w 4519987"/>
                    <a:gd name="connsiteY91" fmla="*/ 2514600 h 4496940"/>
                    <a:gd name="connsiteX92" fmla="*/ 11452 w 4519987"/>
                    <a:gd name="connsiteY92" fmla="*/ 2400300 h 4496940"/>
                    <a:gd name="connsiteX93" fmla="*/ 20977 w 4519987"/>
                    <a:gd name="connsiteY93" fmla="*/ 1905000 h 4496940"/>
                    <a:gd name="connsiteX94" fmla="*/ 30502 w 4519987"/>
                    <a:gd name="connsiteY94" fmla="*/ 1838325 h 4496940"/>
                    <a:gd name="connsiteX95" fmla="*/ 49552 w 4519987"/>
                    <a:gd name="connsiteY95" fmla="*/ 1781175 h 4496940"/>
                    <a:gd name="connsiteX96" fmla="*/ 59077 w 4519987"/>
                    <a:gd name="connsiteY96" fmla="*/ 1743075 h 4496940"/>
                    <a:gd name="connsiteX97" fmla="*/ 78127 w 4519987"/>
                    <a:gd name="connsiteY97" fmla="*/ 1685925 h 4496940"/>
                    <a:gd name="connsiteX98" fmla="*/ 87652 w 4519987"/>
                    <a:gd name="connsiteY98" fmla="*/ 1638300 h 4496940"/>
                    <a:gd name="connsiteX99" fmla="*/ 106702 w 4519987"/>
                    <a:gd name="connsiteY99" fmla="*/ 1590675 h 4496940"/>
                    <a:gd name="connsiteX100" fmla="*/ 135277 w 4519987"/>
                    <a:gd name="connsiteY100" fmla="*/ 1504950 h 4496940"/>
                    <a:gd name="connsiteX101" fmla="*/ 154327 w 4519987"/>
                    <a:gd name="connsiteY101" fmla="*/ 1419225 h 4496940"/>
                    <a:gd name="connsiteX102" fmla="*/ 230527 w 4519987"/>
                    <a:gd name="connsiteY102" fmla="*/ 1276350 h 4496940"/>
                    <a:gd name="connsiteX103" fmla="*/ 240052 w 4519987"/>
                    <a:gd name="connsiteY103" fmla="*/ 1247775 h 4496940"/>
                    <a:gd name="connsiteX104" fmla="*/ 268627 w 4519987"/>
                    <a:gd name="connsiteY104" fmla="*/ 1200150 h 4496940"/>
                    <a:gd name="connsiteX105" fmla="*/ 287677 w 4519987"/>
                    <a:gd name="connsiteY105" fmla="*/ 1152525 h 4496940"/>
                    <a:gd name="connsiteX106" fmla="*/ 316252 w 4519987"/>
                    <a:gd name="connsiteY106" fmla="*/ 1114425 h 4496940"/>
                    <a:gd name="connsiteX107" fmla="*/ 363877 w 4519987"/>
                    <a:gd name="connsiteY107" fmla="*/ 1038225 h 4496940"/>
                    <a:gd name="connsiteX108" fmla="*/ 382927 w 4519987"/>
                    <a:gd name="connsiteY108" fmla="*/ 1009650 h 4496940"/>
                    <a:gd name="connsiteX109" fmla="*/ 440077 w 4519987"/>
                    <a:gd name="connsiteY109" fmla="*/ 904875 h 4496940"/>
                    <a:gd name="connsiteX110" fmla="*/ 478177 w 4519987"/>
                    <a:gd name="connsiteY110" fmla="*/ 857250 h 4496940"/>
                    <a:gd name="connsiteX111" fmla="*/ 497227 w 4519987"/>
                    <a:gd name="connsiteY111" fmla="*/ 828675 h 4496940"/>
                    <a:gd name="connsiteX112" fmla="*/ 535327 w 4519987"/>
                    <a:gd name="connsiteY112" fmla="*/ 800100 h 4496940"/>
                    <a:gd name="connsiteX113" fmla="*/ 602002 w 4519987"/>
                    <a:gd name="connsiteY113" fmla="*/ 733425 h 4496940"/>
                    <a:gd name="connsiteX114" fmla="*/ 668677 w 4519987"/>
                    <a:gd name="connsiteY114" fmla="*/ 676275 h 4496940"/>
                    <a:gd name="connsiteX115" fmla="*/ 697252 w 4519987"/>
                    <a:gd name="connsiteY115" fmla="*/ 657225 h 4496940"/>
                    <a:gd name="connsiteX116" fmla="*/ 840127 w 4519987"/>
                    <a:gd name="connsiteY116" fmla="*/ 533400 h 4496940"/>
                    <a:gd name="connsiteX117" fmla="*/ 887752 w 4519987"/>
                    <a:gd name="connsiteY117" fmla="*/ 504825 h 4496940"/>
                    <a:gd name="connsiteX118" fmla="*/ 1167152 w 4519987"/>
                    <a:gd name="connsiteY118" fmla="*/ 311150 h 4496940"/>
                    <a:gd name="connsiteX119" fmla="*/ 1268752 w 4519987"/>
                    <a:gd name="connsiteY119" fmla="*/ 285750 h 4496940"/>
                    <a:gd name="connsiteX120" fmla="*/ 1411627 w 4519987"/>
                    <a:gd name="connsiteY120" fmla="*/ 190500 h 4496940"/>
                    <a:gd name="connsiteX121" fmla="*/ 1449727 w 4519987"/>
                    <a:gd name="connsiteY121" fmla="*/ 161925 h 4496940"/>
                    <a:gd name="connsiteX122" fmla="*/ 1525927 w 4519987"/>
                    <a:gd name="connsiteY122" fmla="*/ 152400 h 4496940"/>
                    <a:gd name="connsiteX123" fmla="*/ 1583077 w 4519987"/>
                    <a:gd name="connsiteY123" fmla="*/ 142875 h 4496940"/>
                    <a:gd name="connsiteX124" fmla="*/ 1716427 w 4519987"/>
                    <a:gd name="connsiteY124" fmla="*/ 123825 h 4496940"/>
                    <a:gd name="connsiteX125" fmla="*/ 1811677 w 4519987"/>
                    <a:gd name="connsiteY125" fmla="*/ 114300 h 4496940"/>
                    <a:gd name="connsiteX126" fmla="*/ 1859302 w 4519987"/>
                    <a:gd name="connsiteY126" fmla="*/ 104775 h 4496940"/>
                    <a:gd name="connsiteX127" fmla="*/ 1916452 w 4519987"/>
                    <a:gd name="connsiteY127" fmla="*/ 95250 h 4496940"/>
                    <a:gd name="connsiteX128" fmla="*/ 2030752 w 4519987"/>
                    <a:gd name="connsiteY128" fmla="*/ 66675 h 4496940"/>
                    <a:gd name="connsiteX129" fmla="*/ 2097427 w 4519987"/>
                    <a:gd name="connsiteY129" fmla="*/ 47625 h 4496940"/>
                    <a:gd name="connsiteX130" fmla="*/ 2164102 w 4519987"/>
                    <a:gd name="connsiteY130" fmla="*/ 38100 h 4496940"/>
                    <a:gd name="connsiteX131" fmla="*/ 2392702 w 4519987"/>
                    <a:gd name="connsiteY13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88152 w 4519987"/>
                    <a:gd name="connsiteY33" fmla="*/ 3495675 h 4496940"/>
                    <a:gd name="connsiteX34" fmla="*/ 4059577 w 4519987"/>
                    <a:gd name="connsiteY34" fmla="*/ 3533775 h 4496940"/>
                    <a:gd name="connsiteX35" fmla="*/ 4002427 w 4519987"/>
                    <a:gd name="connsiteY35" fmla="*/ 3600450 h 4496940"/>
                    <a:gd name="connsiteX36" fmla="*/ 3954802 w 4519987"/>
                    <a:gd name="connsiteY36" fmla="*/ 3648075 h 4496940"/>
                    <a:gd name="connsiteX37" fmla="*/ 3659527 w 4519987"/>
                    <a:gd name="connsiteY37" fmla="*/ 3971925 h 4496940"/>
                    <a:gd name="connsiteX38" fmla="*/ 3630952 w 4519987"/>
                    <a:gd name="connsiteY38" fmla="*/ 4010025 h 4496940"/>
                    <a:gd name="connsiteX39" fmla="*/ 3621427 w 4519987"/>
                    <a:gd name="connsiteY39" fmla="*/ 4038600 h 4496940"/>
                    <a:gd name="connsiteX40" fmla="*/ 3554752 w 4519987"/>
                    <a:gd name="connsiteY40" fmla="*/ 4095750 h 4496940"/>
                    <a:gd name="connsiteX41" fmla="*/ 3516652 w 4519987"/>
                    <a:gd name="connsiteY41" fmla="*/ 4114800 h 4496940"/>
                    <a:gd name="connsiteX42" fmla="*/ 3497602 w 4519987"/>
                    <a:gd name="connsiteY42" fmla="*/ 4143375 h 4496940"/>
                    <a:gd name="connsiteX43" fmla="*/ 3383302 w 4519987"/>
                    <a:gd name="connsiteY43" fmla="*/ 4210050 h 4496940"/>
                    <a:gd name="connsiteX44" fmla="*/ 3335677 w 4519987"/>
                    <a:gd name="connsiteY44" fmla="*/ 4238625 h 4496940"/>
                    <a:gd name="connsiteX45" fmla="*/ 3288052 w 4519987"/>
                    <a:gd name="connsiteY45" fmla="*/ 4248150 h 4496940"/>
                    <a:gd name="connsiteX46" fmla="*/ 3240427 w 4519987"/>
                    <a:gd name="connsiteY46" fmla="*/ 4267200 h 4496940"/>
                    <a:gd name="connsiteX47" fmla="*/ 3068977 w 4519987"/>
                    <a:gd name="connsiteY47" fmla="*/ 4286250 h 4496940"/>
                    <a:gd name="connsiteX48" fmla="*/ 2935627 w 4519987"/>
                    <a:gd name="connsiteY48" fmla="*/ 4333875 h 4496940"/>
                    <a:gd name="connsiteX49" fmla="*/ 2811802 w 4519987"/>
                    <a:gd name="connsiteY49" fmla="*/ 4371975 h 4496940"/>
                    <a:gd name="connsiteX50" fmla="*/ 2745127 w 4519987"/>
                    <a:gd name="connsiteY50" fmla="*/ 4410075 h 4496940"/>
                    <a:gd name="connsiteX51" fmla="*/ 2697502 w 4519987"/>
                    <a:gd name="connsiteY51" fmla="*/ 4429125 h 4496940"/>
                    <a:gd name="connsiteX52" fmla="*/ 2640352 w 4519987"/>
                    <a:gd name="connsiteY52" fmla="*/ 4457700 h 4496940"/>
                    <a:gd name="connsiteX53" fmla="*/ 2583202 w 4519987"/>
                    <a:gd name="connsiteY53" fmla="*/ 4467225 h 4496940"/>
                    <a:gd name="connsiteX54" fmla="*/ 2545102 w 4519987"/>
                    <a:gd name="connsiteY54" fmla="*/ 4486275 h 4496940"/>
                    <a:gd name="connsiteX55" fmla="*/ 2306977 w 4519987"/>
                    <a:gd name="connsiteY55" fmla="*/ 4476750 h 4496940"/>
                    <a:gd name="connsiteX56" fmla="*/ 2202202 w 4519987"/>
                    <a:gd name="connsiteY56" fmla="*/ 4457700 h 4496940"/>
                    <a:gd name="connsiteX57" fmla="*/ 2126002 w 4519987"/>
                    <a:gd name="connsiteY57" fmla="*/ 4429125 h 4496940"/>
                    <a:gd name="connsiteX58" fmla="*/ 1935502 w 4519987"/>
                    <a:gd name="connsiteY58" fmla="*/ 4400550 h 4496940"/>
                    <a:gd name="connsiteX59" fmla="*/ 1821202 w 4519987"/>
                    <a:gd name="connsiteY59" fmla="*/ 4371975 h 4496940"/>
                    <a:gd name="connsiteX60" fmla="*/ 1754527 w 4519987"/>
                    <a:gd name="connsiteY60" fmla="*/ 4352925 h 4496940"/>
                    <a:gd name="connsiteX61" fmla="*/ 1687852 w 4519987"/>
                    <a:gd name="connsiteY61" fmla="*/ 4343400 h 4496940"/>
                    <a:gd name="connsiteX62" fmla="*/ 1573552 w 4519987"/>
                    <a:gd name="connsiteY62" fmla="*/ 4305300 h 4496940"/>
                    <a:gd name="connsiteX63" fmla="*/ 1402102 w 4519987"/>
                    <a:gd name="connsiteY63" fmla="*/ 4276725 h 4496940"/>
                    <a:gd name="connsiteX64" fmla="*/ 1287802 w 4519987"/>
                    <a:gd name="connsiteY64" fmla="*/ 4229100 h 4496940"/>
                    <a:gd name="connsiteX65" fmla="*/ 1221127 w 4519987"/>
                    <a:gd name="connsiteY65" fmla="*/ 4200525 h 4496940"/>
                    <a:gd name="connsiteX66" fmla="*/ 1144927 w 4519987"/>
                    <a:gd name="connsiteY66" fmla="*/ 4171950 h 4496940"/>
                    <a:gd name="connsiteX67" fmla="*/ 1087777 w 4519987"/>
                    <a:gd name="connsiteY67" fmla="*/ 4143375 h 4496940"/>
                    <a:gd name="connsiteX68" fmla="*/ 1030627 w 4519987"/>
                    <a:gd name="connsiteY68" fmla="*/ 4124325 h 4496940"/>
                    <a:gd name="connsiteX69" fmla="*/ 925852 w 4519987"/>
                    <a:gd name="connsiteY69" fmla="*/ 4067175 h 4496940"/>
                    <a:gd name="connsiteX70" fmla="*/ 830602 w 4519987"/>
                    <a:gd name="connsiteY70" fmla="*/ 3981450 h 4496940"/>
                    <a:gd name="connsiteX71" fmla="*/ 763927 w 4519987"/>
                    <a:gd name="connsiteY71" fmla="*/ 3914775 h 4496940"/>
                    <a:gd name="connsiteX72" fmla="*/ 725827 w 4519987"/>
                    <a:gd name="connsiteY72" fmla="*/ 3876675 h 4496940"/>
                    <a:gd name="connsiteX73" fmla="*/ 697252 w 4519987"/>
                    <a:gd name="connsiteY73" fmla="*/ 3838575 h 4496940"/>
                    <a:gd name="connsiteX74" fmla="*/ 640102 w 4519987"/>
                    <a:gd name="connsiteY74" fmla="*/ 3781425 h 4496940"/>
                    <a:gd name="connsiteX75" fmla="*/ 611527 w 4519987"/>
                    <a:gd name="connsiteY75" fmla="*/ 3733800 h 4496940"/>
                    <a:gd name="connsiteX76" fmla="*/ 554377 w 4519987"/>
                    <a:gd name="connsiteY76" fmla="*/ 3657600 h 4496940"/>
                    <a:gd name="connsiteX77" fmla="*/ 525802 w 4519987"/>
                    <a:gd name="connsiteY77" fmla="*/ 3609975 h 4496940"/>
                    <a:gd name="connsiteX78" fmla="*/ 497227 w 4519987"/>
                    <a:gd name="connsiteY78" fmla="*/ 3552825 h 4496940"/>
                    <a:gd name="connsiteX79" fmla="*/ 440077 w 4519987"/>
                    <a:gd name="connsiteY79" fmla="*/ 3495675 h 4496940"/>
                    <a:gd name="connsiteX80" fmla="*/ 411502 w 4519987"/>
                    <a:gd name="connsiteY80" fmla="*/ 3448050 h 4496940"/>
                    <a:gd name="connsiteX81" fmla="*/ 278152 w 4519987"/>
                    <a:gd name="connsiteY81" fmla="*/ 3257550 h 4496940"/>
                    <a:gd name="connsiteX82" fmla="*/ 249577 w 4519987"/>
                    <a:gd name="connsiteY82" fmla="*/ 3200400 h 4496940"/>
                    <a:gd name="connsiteX83" fmla="*/ 240052 w 4519987"/>
                    <a:gd name="connsiteY83" fmla="*/ 3162300 h 4496940"/>
                    <a:gd name="connsiteX84" fmla="*/ 221002 w 4519987"/>
                    <a:gd name="connsiteY84" fmla="*/ 3105150 h 4496940"/>
                    <a:gd name="connsiteX85" fmla="*/ 173377 w 4519987"/>
                    <a:gd name="connsiteY85" fmla="*/ 3019425 h 4496940"/>
                    <a:gd name="connsiteX86" fmla="*/ 144802 w 4519987"/>
                    <a:gd name="connsiteY86" fmla="*/ 2924175 h 4496940"/>
                    <a:gd name="connsiteX87" fmla="*/ 68602 w 4519987"/>
                    <a:gd name="connsiteY87" fmla="*/ 2724150 h 4496940"/>
                    <a:gd name="connsiteX88" fmla="*/ 49552 w 4519987"/>
                    <a:gd name="connsiteY88" fmla="*/ 2638425 h 4496940"/>
                    <a:gd name="connsiteX89" fmla="*/ 40027 w 4519987"/>
                    <a:gd name="connsiteY89" fmla="*/ 2562225 h 4496940"/>
                    <a:gd name="connsiteX90" fmla="*/ 30502 w 4519987"/>
                    <a:gd name="connsiteY90" fmla="*/ 2514600 h 4496940"/>
                    <a:gd name="connsiteX91" fmla="*/ 11452 w 4519987"/>
                    <a:gd name="connsiteY91" fmla="*/ 2400300 h 4496940"/>
                    <a:gd name="connsiteX92" fmla="*/ 20977 w 4519987"/>
                    <a:gd name="connsiteY92" fmla="*/ 1905000 h 4496940"/>
                    <a:gd name="connsiteX93" fmla="*/ 30502 w 4519987"/>
                    <a:gd name="connsiteY93" fmla="*/ 1838325 h 4496940"/>
                    <a:gd name="connsiteX94" fmla="*/ 49552 w 4519987"/>
                    <a:gd name="connsiteY94" fmla="*/ 1781175 h 4496940"/>
                    <a:gd name="connsiteX95" fmla="*/ 59077 w 4519987"/>
                    <a:gd name="connsiteY95" fmla="*/ 1743075 h 4496940"/>
                    <a:gd name="connsiteX96" fmla="*/ 78127 w 4519987"/>
                    <a:gd name="connsiteY96" fmla="*/ 1685925 h 4496940"/>
                    <a:gd name="connsiteX97" fmla="*/ 87652 w 4519987"/>
                    <a:gd name="connsiteY97" fmla="*/ 1638300 h 4496940"/>
                    <a:gd name="connsiteX98" fmla="*/ 106702 w 4519987"/>
                    <a:gd name="connsiteY98" fmla="*/ 1590675 h 4496940"/>
                    <a:gd name="connsiteX99" fmla="*/ 135277 w 4519987"/>
                    <a:gd name="connsiteY99" fmla="*/ 1504950 h 4496940"/>
                    <a:gd name="connsiteX100" fmla="*/ 154327 w 4519987"/>
                    <a:gd name="connsiteY100" fmla="*/ 1419225 h 4496940"/>
                    <a:gd name="connsiteX101" fmla="*/ 230527 w 4519987"/>
                    <a:gd name="connsiteY101" fmla="*/ 1276350 h 4496940"/>
                    <a:gd name="connsiteX102" fmla="*/ 240052 w 4519987"/>
                    <a:gd name="connsiteY102" fmla="*/ 1247775 h 4496940"/>
                    <a:gd name="connsiteX103" fmla="*/ 268627 w 4519987"/>
                    <a:gd name="connsiteY103" fmla="*/ 1200150 h 4496940"/>
                    <a:gd name="connsiteX104" fmla="*/ 287677 w 4519987"/>
                    <a:gd name="connsiteY104" fmla="*/ 1152525 h 4496940"/>
                    <a:gd name="connsiteX105" fmla="*/ 316252 w 4519987"/>
                    <a:gd name="connsiteY105" fmla="*/ 1114425 h 4496940"/>
                    <a:gd name="connsiteX106" fmla="*/ 363877 w 4519987"/>
                    <a:gd name="connsiteY106" fmla="*/ 1038225 h 4496940"/>
                    <a:gd name="connsiteX107" fmla="*/ 382927 w 4519987"/>
                    <a:gd name="connsiteY107" fmla="*/ 1009650 h 4496940"/>
                    <a:gd name="connsiteX108" fmla="*/ 440077 w 4519987"/>
                    <a:gd name="connsiteY108" fmla="*/ 904875 h 4496940"/>
                    <a:gd name="connsiteX109" fmla="*/ 478177 w 4519987"/>
                    <a:gd name="connsiteY109" fmla="*/ 857250 h 4496940"/>
                    <a:gd name="connsiteX110" fmla="*/ 497227 w 4519987"/>
                    <a:gd name="connsiteY110" fmla="*/ 828675 h 4496940"/>
                    <a:gd name="connsiteX111" fmla="*/ 535327 w 4519987"/>
                    <a:gd name="connsiteY111" fmla="*/ 800100 h 4496940"/>
                    <a:gd name="connsiteX112" fmla="*/ 602002 w 4519987"/>
                    <a:gd name="connsiteY112" fmla="*/ 733425 h 4496940"/>
                    <a:gd name="connsiteX113" fmla="*/ 668677 w 4519987"/>
                    <a:gd name="connsiteY113" fmla="*/ 676275 h 4496940"/>
                    <a:gd name="connsiteX114" fmla="*/ 697252 w 4519987"/>
                    <a:gd name="connsiteY114" fmla="*/ 657225 h 4496940"/>
                    <a:gd name="connsiteX115" fmla="*/ 840127 w 4519987"/>
                    <a:gd name="connsiteY115" fmla="*/ 533400 h 4496940"/>
                    <a:gd name="connsiteX116" fmla="*/ 887752 w 4519987"/>
                    <a:gd name="connsiteY116" fmla="*/ 504825 h 4496940"/>
                    <a:gd name="connsiteX117" fmla="*/ 1167152 w 4519987"/>
                    <a:gd name="connsiteY117" fmla="*/ 311150 h 4496940"/>
                    <a:gd name="connsiteX118" fmla="*/ 1268752 w 4519987"/>
                    <a:gd name="connsiteY118" fmla="*/ 285750 h 4496940"/>
                    <a:gd name="connsiteX119" fmla="*/ 1411627 w 4519987"/>
                    <a:gd name="connsiteY119" fmla="*/ 190500 h 4496940"/>
                    <a:gd name="connsiteX120" fmla="*/ 1449727 w 4519987"/>
                    <a:gd name="connsiteY120" fmla="*/ 161925 h 4496940"/>
                    <a:gd name="connsiteX121" fmla="*/ 1525927 w 4519987"/>
                    <a:gd name="connsiteY121" fmla="*/ 152400 h 4496940"/>
                    <a:gd name="connsiteX122" fmla="*/ 1583077 w 4519987"/>
                    <a:gd name="connsiteY122" fmla="*/ 142875 h 4496940"/>
                    <a:gd name="connsiteX123" fmla="*/ 1716427 w 4519987"/>
                    <a:gd name="connsiteY123" fmla="*/ 123825 h 4496940"/>
                    <a:gd name="connsiteX124" fmla="*/ 1811677 w 4519987"/>
                    <a:gd name="connsiteY124" fmla="*/ 114300 h 4496940"/>
                    <a:gd name="connsiteX125" fmla="*/ 1859302 w 4519987"/>
                    <a:gd name="connsiteY125" fmla="*/ 104775 h 4496940"/>
                    <a:gd name="connsiteX126" fmla="*/ 1916452 w 4519987"/>
                    <a:gd name="connsiteY126" fmla="*/ 95250 h 4496940"/>
                    <a:gd name="connsiteX127" fmla="*/ 2030752 w 4519987"/>
                    <a:gd name="connsiteY127" fmla="*/ 66675 h 4496940"/>
                    <a:gd name="connsiteX128" fmla="*/ 2097427 w 4519987"/>
                    <a:gd name="connsiteY128" fmla="*/ 47625 h 4496940"/>
                    <a:gd name="connsiteX129" fmla="*/ 2164102 w 4519987"/>
                    <a:gd name="connsiteY129" fmla="*/ 38100 h 4496940"/>
                    <a:gd name="connsiteX130" fmla="*/ 2392702 w 4519987"/>
                    <a:gd name="connsiteY130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4002427 w 4519987"/>
                    <a:gd name="connsiteY34" fmla="*/ 3600450 h 4496940"/>
                    <a:gd name="connsiteX35" fmla="*/ 3954802 w 4519987"/>
                    <a:gd name="connsiteY35" fmla="*/ 3648075 h 4496940"/>
                    <a:gd name="connsiteX36" fmla="*/ 3659527 w 4519987"/>
                    <a:gd name="connsiteY36" fmla="*/ 3971925 h 4496940"/>
                    <a:gd name="connsiteX37" fmla="*/ 3630952 w 4519987"/>
                    <a:gd name="connsiteY37" fmla="*/ 4010025 h 4496940"/>
                    <a:gd name="connsiteX38" fmla="*/ 3621427 w 4519987"/>
                    <a:gd name="connsiteY38" fmla="*/ 4038600 h 4496940"/>
                    <a:gd name="connsiteX39" fmla="*/ 3554752 w 4519987"/>
                    <a:gd name="connsiteY39" fmla="*/ 4095750 h 4496940"/>
                    <a:gd name="connsiteX40" fmla="*/ 3516652 w 4519987"/>
                    <a:gd name="connsiteY40" fmla="*/ 4114800 h 4496940"/>
                    <a:gd name="connsiteX41" fmla="*/ 3497602 w 4519987"/>
                    <a:gd name="connsiteY41" fmla="*/ 4143375 h 4496940"/>
                    <a:gd name="connsiteX42" fmla="*/ 3383302 w 4519987"/>
                    <a:gd name="connsiteY42" fmla="*/ 4210050 h 4496940"/>
                    <a:gd name="connsiteX43" fmla="*/ 3335677 w 4519987"/>
                    <a:gd name="connsiteY43" fmla="*/ 4238625 h 4496940"/>
                    <a:gd name="connsiteX44" fmla="*/ 3288052 w 4519987"/>
                    <a:gd name="connsiteY44" fmla="*/ 4248150 h 4496940"/>
                    <a:gd name="connsiteX45" fmla="*/ 3240427 w 4519987"/>
                    <a:gd name="connsiteY45" fmla="*/ 4267200 h 4496940"/>
                    <a:gd name="connsiteX46" fmla="*/ 3068977 w 4519987"/>
                    <a:gd name="connsiteY46" fmla="*/ 4286250 h 4496940"/>
                    <a:gd name="connsiteX47" fmla="*/ 2935627 w 4519987"/>
                    <a:gd name="connsiteY47" fmla="*/ 4333875 h 4496940"/>
                    <a:gd name="connsiteX48" fmla="*/ 2811802 w 4519987"/>
                    <a:gd name="connsiteY48" fmla="*/ 4371975 h 4496940"/>
                    <a:gd name="connsiteX49" fmla="*/ 2745127 w 4519987"/>
                    <a:gd name="connsiteY49" fmla="*/ 4410075 h 4496940"/>
                    <a:gd name="connsiteX50" fmla="*/ 2697502 w 4519987"/>
                    <a:gd name="connsiteY50" fmla="*/ 4429125 h 4496940"/>
                    <a:gd name="connsiteX51" fmla="*/ 2640352 w 4519987"/>
                    <a:gd name="connsiteY51" fmla="*/ 4457700 h 4496940"/>
                    <a:gd name="connsiteX52" fmla="*/ 2583202 w 4519987"/>
                    <a:gd name="connsiteY52" fmla="*/ 4467225 h 4496940"/>
                    <a:gd name="connsiteX53" fmla="*/ 2545102 w 4519987"/>
                    <a:gd name="connsiteY53" fmla="*/ 4486275 h 4496940"/>
                    <a:gd name="connsiteX54" fmla="*/ 2306977 w 4519987"/>
                    <a:gd name="connsiteY54" fmla="*/ 4476750 h 4496940"/>
                    <a:gd name="connsiteX55" fmla="*/ 2202202 w 4519987"/>
                    <a:gd name="connsiteY55" fmla="*/ 4457700 h 4496940"/>
                    <a:gd name="connsiteX56" fmla="*/ 2126002 w 4519987"/>
                    <a:gd name="connsiteY56" fmla="*/ 4429125 h 4496940"/>
                    <a:gd name="connsiteX57" fmla="*/ 1935502 w 4519987"/>
                    <a:gd name="connsiteY57" fmla="*/ 4400550 h 4496940"/>
                    <a:gd name="connsiteX58" fmla="*/ 1821202 w 4519987"/>
                    <a:gd name="connsiteY58" fmla="*/ 4371975 h 4496940"/>
                    <a:gd name="connsiteX59" fmla="*/ 1754527 w 4519987"/>
                    <a:gd name="connsiteY59" fmla="*/ 4352925 h 4496940"/>
                    <a:gd name="connsiteX60" fmla="*/ 1687852 w 4519987"/>
                    <a:gd name="connsiteY60" fmla="*/ 4343400 h 4496940"/>
                    <a:gd name="connsiteX61" fmla="*/ 1573552 w 4519987"/>
                    <a:gd name="connsiteY61" fmla="*/ 4305300 h 4496940"/>
                    <a:gd name="connsiteX62" fmla="*/ 1402102 w 4519987"/>
                    <a:gd name="connsiteY62" fmla="*/ 4276725 h 4496940"/>
                    <a:gd name="connsiteX63" fmla="*/ 1287802 w 4519987"/>
                    <a:gd name="connsiteY63" fmla="*/ 4229100 h 4496940"/>
                    <a:gd name="connsiteX64" fmla="*/ 1221127 w 4519987"/>
                    <a:gd name="connsiteY64" fmla="*/ 4200525 h 4496940"/>
                    <a:gd name="connsiteX65" fmla="*/ 1144927 w 4519987"/>
                    <a:gd name="connsiteY65" fmla="*/ 4171950 h 4496940"/>
                    <a:gd name="connsiteX66" fmla="*/ 1087777 w 4519987"/>
                    <a:gd name="connsiteY66" fmla="*/ 4143375 h 4496940"/>
                    <a:gd name="connsiteX67" fmla="*/ 1030627 w 4519987"/>
                    <a:gd name="connsiteY67" fmla="*/ 4124325 h 4496940"/>
                    <a:gd name="connsiteX68" fmla="*/ 925852 w 4519987"/>
                    <a:gd name="connsiteY68" fmla="*/ 4067175 h 4496940"/>
                    <a:gd name="connsiteX69" fmla="*/ 830602 w 4519987"/>
                    <a:gd name="connsiteY69" fmla="*/ 3981450 h 4496940"/>
                    <a:gd name="connsiteX70" fmla="*/ 763927 w 4519987"/>
                    <a:gd name="connsiteY70" fmla="*/ 3914775 h 4496940"/>
                    <a:gd name="connsiteX71" fmla="*/ 725827 w 4519987"/>
                    <a:gd name="connsiteY71" fmla="*/ 3876675 h 4496940"/>
                    <a:gd name="connsiteX72" fmla="*/ 697252 w 4519987"/>
                    <a:gd name="connsiteY72" fmla="*/ 3838575 h 4496940"/>
                    <a:gd name="connsiteX73" fmla="*/ 640102 w 4519987"/>
                    <a:gd name="connsiteY73" fmla="*/ 3781425 h 4496940"/>
                    <a:gd name="connsiteX74" fmla="*/ 611527 w 4519987"/>
                    <a:gd name="connsiteY74" fmla="*/ 3733800 h 4496940"/>
                    <a:gd name="connsiteX75" fmla="*/ 554377 w 4519987"/>
                    <a:gd name="connsiteY75" fmla="*/ 3657600 h 4496940"/>
                    <a:gd name="connsiteX76" fmla="*/ 525802 w 4519987"/>
                    <a:gd name="connsiteY76" fmla="*/ 3609975 h 4496940"/>
                    <a:gd name="connsiteX77" fmla="*/ 497227 w 4519987"/>
                    <a:gd name="connsiteY77" fmla="*/ 3552825 h 4496940"/>
                    <a:gd name="connsiteX78" fmla="*/ 440077 w 4519987"/>
                    <a:gd name="connsiteY78" fmla="*/ 3495675 h 4496940"/>
                    <a:gd name="connsiteX79" fmla="*/ 411502 w 4519987"/>
                    <a:gd name="connsiteY79" fmla="*/ 3448050 h 4496940"/>
                    <a:gd name="connsiteX80" fmla="*/ 278152 w 4519987"/>
                    <a:gd name="connsiteY80" fmla="*/ 3257550 h 4496940"/>
                    <a:gd name="connsiteX81" fmla="*/ 249577 w 4519987"/>
                    <a:gd name="connsiteY81" fmla="*/ 3200400 h 4496940"/>
                    <a:gd name="connsiteX82" fmla="*/ 240052 w 4519987"/>
                    <a:gd name="connsiteY82" fmla="*/ 3162300 h 4496940"/>
                    <a:gd name="connsiteX83" fmla="*/ 221002 w 4519987"/>
                    <a:gd name="connsiteY83" fmla="*/ 3105150 h 4496940"/>
                    <a:gd name="connsiteX84" fmla="*/ 173377 w 4519987"/>
                    <a:gd name="connsiteY84" fmla="*/ 3019425 h 4496940"/>
                    <a:gd name="connsiteX85" fmla="*/ 144802 w 4519987"/>
                    <a:gd name="connsiteY85" fmla="*/ 2924175 h 4496940"/>
                    <a:gd name="connsiteX86" fmla="*/ 68602 w 4519987"/>
                    <a:gd name="connsiteY86" fmla="*/ 2724150 h 4496940"/>
                    <a:gd name="connsiteX87" fmla="*/ 49552 w 4519987"/>
                    <a:gd name="connsiteY87" fmla="*/ 2638425 h 4496940"/>
                    <a:gd name="connsiteX88" fmla="*/ 40027 w 4519987"/>
                    <a:gd name="connsiteY88" fmla="*/ 2562225 h 4496940"/>
                    <a:gd name="connsiteX89" fmla="*/ 30502 w 4519987"/>
                    <a:gd name="connsiteY89" fmla="*/ 2514600 h 4496940"/>
                    <a:gd name="connsiteX90" fmla="*/ 11452 w 4519987"/>
                    <a:gd name="connsiteY90" fmla="*/ 2400300 h 4496940"/>
                    <a:gd name="connsiteX91" fmla="*/ 20977 w 4519987"/>
                    <a:gd name="connsiteY91" fmla="*/ 1905000 h 4496940"/>
                    <a:gd name="connsiteX92" fmla="*/ 30502 w 4519987"/>
                    <a:gd name="connsiteY92" fmla="*/ 1838325 h 4496940"/>
                    <a:gd name="connsiteX93" fmla="*/ 49552 w 4519987"/>
                    <a:gd name="connsiteY93" fmla="*/ 1781175 h 4496940"/>
                    <a:gd name="connsiteX94" fmla="*/ 59077 w 4519987"/>
                    <a:gd name="connsiteY94" fmla="*/ 1743075 h 4496940"/>
                    <a:gd name="connsiteX95" fmla="*/ 78127 w 4519987"/>
                    <a:gd name="connsiteY95" fmla="*/ 1685925 h 4496940"/>
                    <a:gd name="connsiteX96" fmla="*/ 87652 w 4519987"/>
                    <a:gd name="connsiteY96" fmla="*/ 1638300 h 4496940"/>
                    <a:gd name="connsiteX97" fmla="*/ 106702 w 4519987"/>
                    <a:gd name="connsiteY97" fmla="*/ 1590675 h 4496940"/>
                    <a:gd name="connsiteX98" fmla="*/ 135277 w 4519987"/>
                    <a:gd name="connsiteY98" fmla="*/ 1504950 h 4496940"/>
                    <a:gd name="connsiteX99" fmla="*/ 154327 w 4519987"/>
                    <a:gd name="connsiteY99" fmla="*/ 1419225 h 4496940"/>
                    <a:gd name="connsiteX100" fmla="*/ 230527 w 4519987"/>
                    <a:gd name="connsiteY100" fmla="*/ 1276350 h 4496940"/>
                    <a:gd name="connsiteX101" fmla="*/ 240052 w 4519987"/>
                    <a:gd name="connsiteY101" fmla="*/ 1247775 h 4496940"/>
                    <a:gd name="connsiteX102" fmla="*/ 268627 w 4519987"/>
                    <a:gd name="connsiteY102" fmla="*/ 1200150 h 4496940"/>
                    <a:gd name="connsiteX103" fmla="*/ 287677 w 4519987"/>
                    <a:gd name="connsiteY103" fmla="*/ 1152525 h 4496940"/>
                    <a:gd name="connsiteX104" fmla="*/ 316252 w 4519987"/>
                    <a:gd name="connsiteY104" fmla="*/ 1114425 h 4496940"/>
                    <a:gd name="connsiteX105" fmla="*/ 363877 w 4519987"/>
                    <a:gd name="connsiteY105" fmla="*/ 1038225 h 4496940"/>
                    <a:gd name="connsiteX106" fmla="*/ 382927 w 4519987"/>
                    <a:gd name="connsiteY106" fmla="*/ 1009650 h 4496940"/>
                    <a:gd name="connsiteX107" fmla="*/ 440077 w 4519987"/>
                    <a:gd name="connsiteY107" fmla="*/ 904875 h 4496940"/>
                    <a:gd name="connsiteX108" fmla="*/ 478177 w 4519987"/>
                    <a:gd name="connsiteY108" fmla="*/ 857250 h 4496940"/>
                    <a:gd name="connsiteX109" fmla="*/ 497227 w 4519987"/>
                    <a:gd name="connsiteY109" fmla="*/ 828675 h 4496940"/>
                    <a:gd name="connsiteX110" fmla="*/ 535327 w 4519987"/>
                    <a:gd name="connsiteY110" fmla="*/ 800100 h 4496940"/>
                    <a:gd name="connsiteX111" fmla="*/ 602002 w 4519987"/>
                    <a:gd name="connsiteY111" fmla="*/ 733425 h 4496940"/>
                    <a:gd name="connsiteX112" fmla="*/ 668677 w 4519987"/>
                    <a:gd name="connsiteY112" fmla="*/ 676275 h 4496940"/>
                    <a:gd name="connsiteX113" fmla="*/ 697252 w 4519987"/>
                    <a:gd name="connsiteY113" fmla="*/ 657225 h 4496940"/>
                    <a:gd name="connsiteX114" fmla="*/ 840127 w 4519987"/>
                    <a:gd name="connsiteY114" fmla="*/ 533400 h 4496940"/>
                    <a:gd name="connsiteX115" fmla="*/ 887752 w 4519987"/>
                    <a:gd name="connsiteY115" fmla="*/ 504825 h 4496940"/>
                    <a:gd name="connsiteX116" fmla="*/ 1167152 w 4519987"/>
                    <a:gd name="connsiteY116" fmla="*/ 311150 h 4496940"/>
                    <a:gd name="connsiteX117" fmla="*/ 1268752 w 4519987"/>
                    <a:gd name="connsiteY117" fmla="*/ 285750 h 4496940"/>
                    <a:gd name="connsiteX118" fmla="*/ 1411627 w 4519987"/>
                    <a:gd name="connsiteY118" fmla="*/ 190500 h 4496940"/>
                    <a:gd name="connsiteX119" fmla="*/ 1449727 w 4519987"/>
                    <a:gd name="connsiteY119" fmla="*/ 161925 h 4496940"/>
                    <a:gd name="connsiteX120" fmla="*/ 1525927 w 4519987"/>
                    <a:gd name="connsiteY120" fmla="*/ 152400 h 4496940"/>
                    <a:gd name="connsiteX121" fmla="*/ 1583077 w 4519987"/>
                    <a:gd name="connsiteY121" fmla="*/ 142875 h 4496940"/>
                    <a:gd name="connsiteX122" fmla="*/ 1716427 w 4519987"/>
                    <a:gd name="connsiteY122" fmla="*/ 123825 h 4496940"/>
                    <a:gd name="connsiteX123" fmla="*/ 1811677 w 4519987"/>
                    <a:gd name="connsiteY123" fmla="*/ 114300 h 4496940"/>
                    <a:gd name="connsiteX124" fmla="*/ 1859302 w 4519987"/>
                    <a:gd name="connsiteY124" fmla="*/ 104775 h 4496940"/>
                    <a:gd name="connsiteX125" fmla="*/ 1916452 w 4519987"/>
                    <a:gd name="connsiteY125" fmla="*/ 95250 h 4496940"/>
                    <a:gd name="connsiteX126" fmla="*/ 2030752 w 4519987"/>
                    <a:gd name="connsiteY126" fmla="*/ 66675 h 4496940"/>
                    <a:gd name="connsiteX127" fmla="*/ 2097427 w 4519987"/>
                    <a:gd name="connsiteY127" fmla="*/ 47625 h 4496940"/>
                    <a:gd name="connsiteX128" fmla="*/ 2164102 w 4519987"/>
                    <a:gd name="connsiteY128" fmla="*/ 38100 h 4496940"/>
                    <a:gd name="connsiteX129" fmla="*/ 2392702 w 4519987"/>
                    <a:gd name="connsiteY129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497602 w 4519987"/>
                    <a:gd name="connsiteY40" fmla="*/ 4143375 h 4496940"/>
                    <a:gd name="connsiteX41" fmla="*/ 3383302 w 4519987"/>
                    <a:gd name="connsiteY41" fmla="*/ 4210050 h 4496940"/>
                    <a:gd name="connsiteX42" fmla="*/ 3335677 w 4519987"/>
                    <a:gd name="connsiteY42" fmla="*/ 4238625 h 4496940"/>
                    <a:gd name="connsiteX43" fmla="*/ 3288052 w 4519987"/>
                    <a:gd name="connsiteY43" fmla="*/ 4248150 h 4496940"/>
                    <a:gd name="connsiteX44" fmla="*/ 3240427 w 4519987"/>
                    <a:gd name="connsiteY44" fmla="*/ 4267200 h 4496940"/>
                    <a:gd name="connsiteX45" fmla="*/ 3068977 w 4519987"/>
                    <a:gd name="connsiteY45" fmla="*/ 4286250 h 4496940"/>
                    <a:gd name="connsiteX46" fmla="*/ 2935627 w 4519987"/>
                    <a:gd name="connsiteY46" fmla="*/ 4333875 h 4496940"/>
                    <a:gd name="connsiteX47" fmla="*/ 2811802 w 4519987"/>
                    <a:gd name="connsiteY47" fmla="*/ 4371975 h 4496940"/>
                    <a:gd name="connsiteX48" fmla="*/ 2745127 w 4519987"/>
                    <a:gd name="connsiteY48" fmla="*/ 4410075 h 4496940"/>
                    <a:gd name="connsiteX49" fmla="*/ 2697502 w 4519987"/>
                    <a:gd name="connsiteY49" fmla="*/ 4429125 h 4496940"/>
                    <a:gd name="connsiteX50" fmla="*/ 2640352 w 4519987"/>
                    <a:gd name="connsiteY50" fmla="*/ 4457700 h 4496940"/>
                    <a:gd name="connsiteX51" fmla="*/ 2583202 w 4519987"/>
                    <a:gd name="connsiteY51" fmla="*/ 4467225 h 4496940"/>
                    <a:gd name="connsiteX52" fmla="*/ 2545102 w 4519987"/>
                    <a:gd name="connsiteY52" fmla="*/ 4486275 h 4496940"/>
                    <a:gd name="connsiteX53" fmla="*/ 2306977 w 4519987"/>
                    <a:gd name="connsiteY53" fmla="*/ 4476750 h 4496940"/>
                    <a:gd name="connsiteX54" fmla="*/ 2202202 w 4519987"/>
                    <a:gd name="connsiteY54" fmla="*/ 4457700 h 4496940"/>
                    <a:gd name="connsiteX55" fmla="*/ 2126002 w 4519987"/>
                    <a:gd name="connsiteY55" fmla="*/ 4429125 h 4496940"/>
                    <a:gd name="connsiteX56" fmla="*/ 1935502 w 4519987"/>
                    <a:gd name="connsiteY56" fmla="*/ 4400550 h 4496940"/>
                    <a:gd name="connsiteX57" fmla="*/ 1821202 w 4519987"/>
                    <a:gd name="connsiteY57" fmla="*/ 4371975 h 4496940"/>
                    <a:gd name="connsiteX58" fmla="*/ 1754527 w 4519987"/>
                    <a:gd name="connsiteY58" fmla="*/ 4352925 h 4496940"/>
                    <a:gd name="connsiteX59" fmla="*/ 1687852 w 4519987"/>
                    <a:gd name="connsiteY59" fmla="*/ 4343400 h 4496940"/>
                    <a:gd name="connsiteX60" fmla="*/ 1573552 w 4519987"/>
                    <a:gd name="connsiteY60" fmla="*/ 4305300 h 4496940"/>
                    <a:gd name="connsiteX61" fmla="*/ 1402102 w 4519987"/>
                    <a:gd name="connsiteY61" fmla="*/ 4276725 h 4496940"/>
                    <a:gd name="connsiteX62" fmla="*/ 1287802 w 4519987"/>
                    <a:gd name="connsiteY62" fmla="*/ 4229100 h 4496940"/>
                    <a:gd name="connsiteX63" fmla="*/ 1221127 w 4519987"/>
                    <a:gd name="connsiteY63" fmla="*/ 4200525 h 4496940"/>
                    <a:gd name="connsiteX64" fmla="*/ 1144927 w 4519987"/>
                    <a:gd name="connsiteY64" fmla="*/ 4171950 h 4496940"/>
                    <a:gd name="connsiteX65" fmla="*/ 1087777 w 4519987"/>
                    <a:gd name="connsiteY65" fmla="*/ 4143375 h 4496940"/>
                    <a:gd name="connsiteX66" fmla="*/ 1030627 w 4519987"/>
                    <a:gd name="connsiteY66" fmla="*/ 4124325 h 4496940"/>
                    <a:gd name="connsiteX67" fmla="*/ 925852 w 4519987"/>
                    <a:gd name="connsiteY67" fmla="*/ 4067175 h 4496940"/>
                    <a:gd name="connsiteX68" fmla="*/ 830602 w 4519987"/>
                    <a:gd name="connsiteY68" fmla="*/ 3981450 h 4496940"/>
                    <a:gd name="connsiteX69" fmla="*/ 763927 w 4519987"/>
                    <a:gd name="connsiteY69" fmla="*/ 3914775 h 4496940"/>
                    <a:gd name="connsiteX70" fmla="*/ 725827 w 4519987"/>
                    <a:gd name="connsiteY70" fmla="*/ 3876675 h 4496940"/>
                    <a:gd name="connsiteX71" fmla="*/ 697252 w 4519987"/>
                    <a:gd name="connsiteY71" fmla="*/ 3838575 h 4496940"/>
                    <a:gd name="connsiteX72" fmla="*/ 640102 w 4519987"/>
                    <a:gd name="connsiteY72" fmla="*/ 3781425 h 4496940"/>
                    <a:gd name="connsiteX73" fmla="*/ 611527 w 4519987"/>
                    <a:gd name="connsiteY73" fmla="*/ 3733800 h 4496940"/>
                    <a:gd name="connsiteX74" fmla="*/ 554377 w 4519987"/>
                    <a:gd name="connsiteY74" fmla="*/ 3657600 h 4496940"/>
                    <a:gd name="connsiteX75" fmla="*/ 525802 w 4519987"/>
                    <a:gd name="connsiteY75" fmla="*/ 3609975 h 4496940"/>
                    <a:gd name="connsiteX76" fmla="*/ 497227 w 4519987"/>
                    <a:gd name="connsiteY76" fmla="*/ 3552825 h 4496940"/>
                    <a:gd name="connsiteX77" fmla="*/ 440077 w 4519987"/>
                    <a:gd name="connsiteY77" fmla="*/ 3495675 h 4496940"/>
                    <a:gd name="connsiteX78" fmla="*/ 411502 w 4519987"/>
                    <a:gd name="connsiteY78" fmla="*/ 3448050 h 4496940"/>
                    <a:gd name="connsiteX79" fmla="*/ 278152 w 4519987"/>
                    <a:gd name="connsiteY79" fmla="*/ 3257550 h 4496940"/>
                    <a:gd name="connsiteX80" fmla="*/ 249577 w 4519987"/>
                    <a:gd name="connsiteY80" fmla="*/ 3200400 h 4496940"/>
                    <a:gd name="connsiteX81" fmla="*/ 240052 w 4519987"/>
                    <a:gd name="connsiteY81" fmla="*/ 3162300 h 4496940"/>
                    <a:gd name="connsiteX82" fmla="*/ 221002 w 4519987"/>
                    <a:gd name="connsiteY82" fmla="*/ 3105150 h 4496940"/>
                    <a:gd name="connsiteX83" fmla="*/ 173377 w 4519987"/>
                    <a:gd name="connsiteY83" fmla="*/ 3019425 h 4496940"/>
                    <a:gd name="connsiteX84" fmla="*/ 144802 w 4519987"/>
                    <a:gd name="connsiteY84" fmla="*/ 2924175 h 4496940"/>
                    <a:gd name="connsiteX85" fmla="*/ 68602 w 4519987"/>
                    <a:gd name="connsiteY85" fmla="*/ 2724150 h 4496940"/>
                    <a:gd name="connsiteX86" fmla="*/ 49552 w 4519987"/>
                    <a:gd name="connsiteY86" fmla="*/ 2638425 h 4496940"/>
                    <a:gd name="connsiteX87" fmla="*/ 40027 w 4519987"/>
                    <a:gd name="connsiteY87" fmla="*/ 2562225 h 4496940"/>
                    <a:gd name="connsiteX88" fmla="*/ 30502 w 4519987"/>
                    <a:gd name="connsiteY88" fmla="*/ 2514600 h 4496940"/>
                    <a:gd name="connsiteX89" fmla="*/ 11452 w 4519987"/>
                    <a:gd name="connsiteY89" fmla="*/ 2400300 h 4496940"/>
                    <a:gd name="connsiteX90" fmla="*/ 20977 w 4519987"/>
                    <a:gd name="connsiteY90" fmla="*/ 1905000 h 4496940"/>
                    <a:gd name="connsiteX91" fmla="*/ 30502 w 4519987"/>
                    <a:gd name="connsiteY91" fmla="*/ 1838325 h 4496940"/>
                    <a:gd name="connsiteX92" fmla="*/ 49552 w 4519987"/>
                    <a:gd name="connsiteY92" fmla="*/ 1781175 h 4496940"/>
                    <a:gd name="connsiteX93" fmla="*/ 59077 w 4519987"/>
                    <a:gd name="connsiteY93" fmla="*/ 1743075 h 4496940"/>
                    <a:gd name="connsiteX94" fmla="*/ 78127 w 4519987"/>
                    <a:gd name="connsiteY94" fmla="*/ 1685925 h 4496940"/>
                    <a:gd name="connsiteX95" fmla="*/ 87652 w 4519987"/>
                    <a:gd name="connsiteY95" fmla="*/ 1638300 h 4496940"/>
                    <a:gd name="connsiteX96" fmla="*/ 106702 w 4519987"/>
                    <a:gd name="connsiteY96" fmla="*/ 1590675 h 4496940"/>
                    <a:gd name="connsiteX97" fmla="*/ 135277 w 4519987"/>
                    <a:gd name="connsiteY97" fmla="*/ 1504950 h 4496940"/>
                    <a:gd name="connsiteX98" fmla="*/ 154327 w 4519987"/>
                    <a:gd name="connsiteY98" fmla="*/ 1419225 h 4496940"/>
                    <a:gd name="connsiteX99" fmla="*/ 230527 w 4519987"/>
                    <a:gd name="connsiteY99" fmla="*/ 1276350 h 4496940"/>
                    <a:gd name="connsiteX100" fmla="*/ 240052 w 4519987"/>
                    <a:gd name="connsiteY100" fmla="*/ 1247775 h 4496940"/>
                    <a:gd name="connsiteX101" fmla="*/ 268627 w 4519987"/>
                    <a:gd name="connsiteY101" fmla="*/ 1200150 h 4496940"/>
                    <a:gd name="connsiteX102" fmla="*/ 287677 w 4519987"/>
                    <a:gd name="connsiteY102" fmla="*/ 1152525 h 4496940"/>
                    <a:gd name="connsiteX103" fmla="*/ 316252 w 4519987"/>
                    <a:gd name="connsiteY103" fmla="*/ 1114425 h 4496940"/>
                    <a:gd name="connsiteX104" fmla="*/ 363877 w 4519987"/>
                    <a:gd name="connsiteY104" fmla="*/ 1038225 h 4496940"/>
                    <a:gd name="connsiteX105" fmla="*/ 382927 w 4519987"/>
                    <a:gd name="connsiteY105" fmla="*/ 1009650 h 4496940"/>
                    <a:gd name="connsiteX106" fmla="*/ 440077 w 4519987"/>
                    <a:gd name="connsiteY106" fmla="*/ 904875 h 4496940"/>
                    <a:gd name="connsiteX107" fmla="*/ 478177 w 4519987"/>
                    <a:gd name="connsiteY107" fmla="*/ 857250 h 4496940"/>
                    <a:gd name="connsiteX108" fmla="*/ 497227 w 4519987"/>
                    <a:gd name="connsiteY108" fmla="*/ 828675 h 4496940"/>
                    <a:gd name="connsiteX109" fmla="*/ 535327 w 4519987"/>
                    <a:gd name="connsiteY109" fmla="*/ 800100 h 4496940"/>
                    <a:gd name="connsiteX110" fmla="*/ 602002 w 4519987"/>
                    <a:gd name="connsiteY110" fmla="*/ 733425 h 4496940"/>
                    <a:gd name="connsiteX111" fmla="*/ 668677 w 4519987"/>
                    <a:gd name="connsiteY111" fmla="*/ 676275 h 4496940"/>
                    <a:gd name="connsiteX112" fmla="*/ 697252 w 4519987"/>
                    <a:gd name="connsiteY112" fmla="*/ 657225 h 4496940"/>
                    <a:gd name="connsiteX113" fmla="*/ 840127 w 4519987"/>
                    <a:gd name="connsiteY113" fmla="*/ 533400 h 4496940"/>
                    <a:gd name="connsiteX114" fmla="*/ 887752 w 4519987"/>
                    <a:gd name="connsiteY114" fmla="*/ 504825 h 4496940"/>
                    <a:gd name="connsiteX115" fmla="*/ 1167152 w 4519987"/>
                    <a:gd name="connsiteY115" fmla="*/ 311150 h 4496940"/>
                    <a:gd name="connsiteX116" fmla="*/ 1268752 w 4519987"/>
                    <a:gd name="connsiteY116" fmla="*/ 285750 h 4496940"/>
                    <a:gd name="connsiteX117" fmla="*/ 1411627 w 4519987"/>
                    <a:gd name="connsiteY117" fmla="*/ 190500 h 4496940"/>
                    <a:gd name="connsiteX118" fmla="*/ 1449727 w 4519987"/>
                    <a:gd name="connsiteY118" fmla="*/ 161925 h 4496940"/>
                    <a:gd name="connsiteX119" fmla="*/ 1525927 w 4519987"/>
                    <a:gd name="connsiteY119" fmla="*/ 152400 h 4496940"/>
                    <a:gd name="connsiteX120" fmla="*/ 1583077 w 4519987"/>
                    <a:gd name="connsiteY120" fmla="*/ 142875 h 4496940"/>
                    <a:gd name="connsiteX121" fmla="*/ 1716427 w 4519987"/>
                    <a:gd name="connsiteY121" fmla="*/ 123825 h 4496940"/>
                    <a:gd name="connsiteX122" fmla="*/ 1811677 w 4519987"/>
                    <a:gd name="connsiteY122" fmla="*/ 114300 h 4496940"/>
                    <a:gd name="connsiteX123" fmla="*/ 1859302 w 4519987"/>
                    <a:gd name="connsiteY123" fmla="*/ 104775 h 4496940"/>
                    <a:gd name="connsiteX124" fmla="*/ 1916452 w 4519987"/>
                    <a:gd name="connsiteY124" fmla="*/ 95250 h 4496940"/>
                    <a:gd name="connsiteX125" fmla="*/ 2030752 w 4519987"/>
                    <a:gd name="connsiteY125" fmla="*/ 66675 h 4496940"/>
                    <a:gd name="connsiteX126" fmla="*/ 2097427 w 4519987"/>
                    <a:gd name="connsiteY126" fmla="*/ 47625 h 4496940"/>
                    <a:gd name="connsiteX127" fmla="*/ 2164102 w 4519987"/>
                    <a:gd name="connsiteY127" fmla="*/ 38100 h 4496940"/>
                    <a:gd name="connsiteX128" fmla="*/ 2392702 w 4519987"/>
                    <a:gd name="connsiteY128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516652 w 4519987"/>
                    <a:gd name="connsiteY39" fmla="*/ 4114800 h 4496940"/>
                    <a:gd name="connsiteX40" fmla="*/ 3383302 w 4519987"/>
                    <a:gd name="connsiteY40" fmla="*/ 4210050 h 4496940"/>
                    <a:gd name="connsiteX41" fmla="*/ 3335677 w 4519987"/>
                    <a:gd name="connsiteY41" fmla="*/ 4238625 h 4496940"/>
                    <a:gd name="connsiteX42" fmla="*/ 3288052 w 4519987"/>
                    <a:gd name="connsiteY42" fmla="*/ 4248150 h 4496940"/>
                    <a:gd name="connsiteX43" fmla="*/ 3240427 w 4519987"/>
                    <a:gd name="connsiteY43" fmla="*/ 4267200 h 4496940"/>
                    <a:gd name="connsiteX44" fmla="*/ 3068977 w 4519987"/>
                    <a:gd name="connsiteY44" fmla="*/ 4286250 h 4496940"/>
                    <a:gd name="connsiteX45" fmla="*/ 2935627 w 4519987"/>
                    <a:gd name="connsiteY45" fmla="*/ 4333875 h 4496940"/>
                    <a:gd name="connsiteX46" fmla="*/ 2811802 w 4519987"/>
                    <a:gd name="connsiteY46" fmla="*/ 4371975 h 4496940"/>
                    <a:gd name="connsiteX47" fmla="*/ 2745127 w 4519987"/>
                    <a:gd name="connsiteY47" fmla="*/ 4410075 h 4496940"/>
                    <a:gd name="connsiteX48" fmla="*/ 2697502 w 4519987"/>
                    <a:gd name="connsiteY48" fmla="*/ 4429125 h 4496940"/>
                    <a:gd name="connsiteX49" fmla="*/ 2640352 w 4519987"/>
                    <a:gd name="connsiteY49" fmla="*/ 4457700 h 4496940"/>
                    <a:gd name="connsiteX50" fmla="*/ 2583202 w 4519987"/>
                    <a:gd name="connsiteY50" fmla="*/ 4467225 h 4496940"/>
                    <a:gd name="connsiteX51" fmla="*/ 2545102 w 4519987"/>
                    <a:gd name="connsiteY51" fmla="*/ 4486275 h 4496940"/>
                    <a:gd name="connsiteX52" fmla="*/ 2306977 w 4519987"/>
                    <a:gd name="connsiteY52" fmla="*/ 4476750 h 4496940"/>
                    <a:gd name="connsiteX53" fmla="*/ 2202202 w 4519987"/>
                    <a:gd name="connsiteY53" fmla="*/ 4457700 h 4496940"/>
                    <a:gd name="connsiteX54" fmla="*/ 2126002 w 4519987"/>
                    <a:gd name="connsiteY54" fmla="*/ 4429125 h 4496940"/>
                    <a:gd name="connsiteX55" fmla="*/ 1935502 w 4519987"/>
                    <a:gd name="connsiteY55" fmla="*/ 4400550 h 4496940"/>
                    <a:gd name="connsiteX56" fmla="*/ 1821202 w 4519987"/>
                    <a:gd name="connsiteY56" fmla="*/ 4371975 h 4496940"/>
                    <a:gd name="connsiteX57" fmla="*/ 1754527 w 4519987"/>
                    <a:gd name="connsiteY57" fmla="*/ 4352925 h 4496940"/>
                    <a:gd name="connsiteX58" fmla="*/ 1687852 w 4519987"/>
                    <a:gd name="connsiteY58" fmla="*/ 4343400 h 4496940"/>
                    <a:gd name="connsiteX59" fmla="*/ 1573552 w 4519987"/>
                    <a:gd name="connsiteY59" fmla="*/ 4305300 h 4496940"/>
                    <a:gd name="connsiteX60" fmla="*/ 1402102 w 4519987"/>
                    <a:gd name="connsiteY60" fmla="*/ 4276725 h 4496940"/>
                    <a:gd name="connsiteX61" fmla="*/ 1287802 w 4519987"/>
                    <a:gd name="connsiteY61" fmla="*/ 4229100 h 4496940"/>
                    <a:gd name="connsiteX62" fmla="*/ 1221127 w 4519987"/>
                    <a:gd name="connsiteY62" fmla="*/ 4200525 h 4496940"/>
                    <a:gd name="connsiteX63" fmla="*/ 1144927 w 4519987"/>
                    <a:gd name="connsiteY63" fmla="*/ 4171950 h 4496940"/>
                    <a:gd name="connsiteX64" fmla="*/ 1087777 w 4519987"/>
                    <a:gd name="connsiteY64" fmla="*/ 4143375 h 4496940"/>
                    <a:gd name="connsiteX65" fmla="*/ 1030627 w 4519987"/>
                    <a:gd name="connsiteY65" fmla="*/ 4124325 h 4496940"/>
                    <a:gd name="connsiteX66" fmla="*/ 925852 w 4519987"/>
                    <a:gd name="connsiteY66" fmla="*/ 4067175 h 4496940"/>
                    <a:gd name="connsiteX67" fmla="*/ 830602 w 4519987"/>
                    <a:gd name="connsiteY67" fmla="*/ 3981450 h 4496940"/>
                    <a:gd name="connsiteX68" fmla="*/ 763927 w 4519987"/>
                    <a:gd name="connsiteY68" fmla="*/ 3914775 h 4496940"/>
                    <a:gd name="connsiteX69" fmla="*/ 725827 w 4519987"/>
                    <a:gd name="connsiteY69" fmla="*/ 3876675 h 4496940"/>
                    <a:gd name="connsiteX70" fmla="*/ 697252 w 4519987"/>
                    <a:gd name="connsiteY70" fmla="*/ 3838575 h 4496940"/>
                    <a:gd name="connsiteX71" fmla="*/ 640102 w 4519987"/>
                    <a:gd name="connsiteY71" fmla="*/ 3781425 h 4496940"/>
                    <a:gd name="connsiteX72" fmla="*/ 611527 w 4519987"/>
                    <a:gd name="connsiteY72" fmla="*/ 3733800 h 4496940"/>
                    <a:gd name="connsiteX73" fmla="*/ 554377 w 4519987"/>
                    <a:gd name="connsiteY73" fmla="*/ 3657600 h 4496940"/>
                    <a:gd name="connsiteX74" fmla="*/ 525802 w 4519987"/>
                    <a:gd name="connsiteY74" fmla="*/ 3609975 h 4496940"/>
                    <a:gd name="connsiteX75" fmla="*/ 497227 w 4519987"/>
                    <a:gd name="connsiteY75" fmla="*/ 3552825 h 4496940"/>
                    <a:gd name="connsiteX76" fmla="*/ 440077 w 4519987"/>
                    <a:gd name="connsiteY76" fmla="*/ 3495675 h 4496940"/>
                    <a:gd name="connsiteX77" fmla="*/ 411502 w 4519987"/>
                    <a:gd name="connsiteY77" fmla="*/ 3448050 h 4496940"/>
                    <a:gd name="connsiteX78" fmla="*/ 278152 w 4519987"/>
                    <a:gd name="connsiteY78" fmla="*/ 3257550 h 4496940"/>
                    <a:gd name="connsiteX79" fmla="*/ 249577 w 4519987"/>
                    <a:gd name="connsiteY79" fmla="*/ 3200400 h 4496940"/>
                    <a:gd name="connsiteX80" fmla="*/ 240052 w 4519987"/>
                    <a:gd name="connsiteY80" fmla="*/ 3162300 h 4496940"/>
                    <a:gd name="connsiteX81" fmla="*/ 221002 w 4519987"/>
                    <a:gd name="connsiteY81" fmla="*/ 3105150 h 4496940"/>
                    <a:gd name="connsiteX82" fmla="*/ 173377 w 4519987"/>
                    <a:gd name="connsiteY82" fmla="*/ 3019425 h 4496940"/>
                    <a:gd name="connsiteX83" fmla="*/ 144802 w 4519987"/>
                    <a:gd name="connsiteY83" fmla="*/ 2924175 h 4496940"/>
                    <a:gd name="connsiteX84" fmla="*/ 68602 w 4519987"/>
                    <a:gd name="connsiteY84" fmla="*/ 2724150 h 4496940"/>
                    <a:gd name="connsiteX85" fmla="*/ 49552 w 4519987"/>
                    <a:gd name="connsiteY85" fmla="*/ 2638425 h 4496940"/>
                    <a:gd name="connsiteX86" fmla="*/ 40027 w 4519987"/>
                    <a:gd name="connsiteY86" fmla="*/ 2562225 h 4496940"/>
                    <a:gd name="connsiteX87" fmla="*/ 30502 w 4519987"/>
                    <a:gd name="connsiteY87" fmla="*/ 2514600 h 4496940"/>
                    <a:gd name="connsiteX88" fmla="*/ 11452 w 4519987"/>
                    <a:gd name="connsiteY88" fmla="*/ 2400300 h 4496940"/>
                    <a:gd name="connsiteX89" fmla="*/ 20977 w 4519987"/>
                    <a:gd name="connsiteY89" fmla="*/ 1905000 h 4496940"/>
                    <a:gd name="connsiteX90" fmla="*/ 30502 w 4519987"/>
                    <a:gd name="connsiteY90" fmla="*/ 1838325 h 4496940"/>
                    <a:gd name="connsiteX91" fmla="*/ 49552 w 4519987"/>
                    <a:gd name="connsiteY91" fmla="*/ 1781175 h 4496940"/>
                    <a:gd name="connsiteX92" fmla="*/ 59077 w 4519987"/>
                    <a:gd name="connsiteY92" fmla="*/ 1743075 h 4496940"/>
                    <a:gd name="connsiteX93" fmla="*/ 78127 w 4519987"/>
                    <a:gd name="connsiteY93" fmla="*/ 1685925 h 4496940"/>
                    <a:gd name="connsiteX94" fmla="*/ 87652 w 4519987"/>
                    <a:gd name="connsiteY94" fmla="*/ 1638300 h 4496940"/>
                    <a:gd name="connsiteX95" fmla="*/ 106702 w 4519987"/>
                    <a:gd name="connsiteY95" fmla="*/ 1590675 h 4496940"/>
                    <a:gd name="connsiteX96" fmla="*/ 135277 w 4519987"/>
                    <a:gd name="connsiteY96" fmla="*/ 1504950 h 4496940"/>
                    <a:gd name="connsiteX97" fmla="*/ 154327 w 4519987"/>
                    <a:gd name="connsiteY97" fmla="*/ 1419225 h 4496940"/>
                    <a:gd name="connsiteX98" fmla="*/ 230527 w 4519987"/>
                    <a:gd name="connsiteY98" fmla="*/ 1276350 h 4496940"/>
                    <a:gd name="connsiteX99" fmla="*/ 240052 w 4519987"/>
                    <a:gd name="connsiteY99" fmla="*/ 1247775 h 4496940"/>
                    <a:gd name="connsiteX100" fmla="*/ 268627 w 4519987"/>
                    <a:gd name="connsiteY100" fmla="*/ 1200150 h 4496940"/>
                    <a:gd name="connsiteX101" fmla="*/ 287677 w 4519987"/>
                    <a:gd name="connsiteY101" fmla="*/ 1152525 h 4496940"/>
                    <a:gd name="connsiteX102" fmla="*/ 316252 w 4519987"/>
                    <a:gd name="connsiteY102" fmla="*/ 1114425 h 4496940"/>
                    <a:gd name="connsiteX103" fmla="*/ 363877 w 4519987"/>
                    <a:gd name="connsiteY103" fmla="*/ 1038225 h 4496940"/>
                    <a:gd name="connsiteX104" fmla="*/ 382927 w 4519987"/>
                    <a:gd name="connsiteY104" fmla="*/ 1009650 h 4496940"/>
                    <a:gd name="connsiteX105" fmla="*/ 440077 w 4519987"/>
                    <a:gd name="connsiteY105" fmla="*/ 904875 h 4496940"/>
                    <a:gd name="connsiteX106" fmla="*/ 478177 w 4519987"/>
                    <a:gd name="connsiteY106" fmla="*/ 857250 h 4496940"/>
                    <a:gd name="connsiteX107" fmla="*/ 497227 w 4519987"/>
                    <a:gd name="connsiteY107" fmla="*/ 828675 h 4496940"/>
                    <a:gd name="connsiteX108" fmla="*/ 535327 w 4519987"/>
                    <a:gd name="connsiteY108" fmla="*/ 800100 h 4496940"/>
                    <a:gd name="connsiteX109" fmla="*/ 602002 w 4519987"/>
                    <a:gd name="connsiteY109" fmla="*/ 733425 h 4496940"/>
                    <a:gd name="connsiteX110" fmla="*/ 668677 w 4519987"/>
                    <a:gd name="connsiteY110" fmla="*/ 676275 h 4496940"/>
                    <a:gd name="connsiteX111" fmla="*/ 697252 w 4519987"/>
                    <a:gd name="connsiteY111" fmla="*/ 657225 h 4496940"/>
                    <a:gd name="connsiteX112" fmla="*/ 840127 w 4519987"/>
                    <a:gd name="connsiteY112" fmla="*/ 533400 h 4496940"/>
                    <a:gd name="connsiteX113" fmla="*/ 887752 w 4519987"/>
                    <a:gd name="connsiteY113" fmla="*/ 504825 h 4496940"/>
                    <a:gd name="connsiteX114" fmla="*/ 1167152 w 4519987"/>
                    <a:gd name="connsiteY114" fmla="*/ 311150 h 4496940"/>
                    <a:gd name="connsiteX115" fmla="*/ 1268752 w 4519987"/>
                    <a:gd name="connsiteY115" fmla="*/ 285750 h 4496940"/>
                    <a:gd name="connsiteX116" fmla="*/ 1411627 w 4519987"/>
                    <a:gd name="connsiteY116" fmla="*/ 190500 h 4496940"/>
                    <a:gd name="connsiteX117" fmla="*/ 1449727 w 4519987"/>
                    <a:gd name="connsiteY117" fmla="*/ 161925 h 4496940"/>
                    <a:gd name="connsiteX118" fmla="*/ 1525927 w 4519987"/>
                    <a:gd name="connsiteY118" fmla="*/ 152400 h 4496940"/>
                    <a:gd name="connsiteX119" fmla="*/ 1583077 w 4519987"/>
                    <a:gd name="connsiteY119" fmla="*/ 142875 h 4496940"/>
                    <a:gd name="connsiteX120" fmla="*/ 1716427 w 4519987"/>
                    <a:gd name="connsiteY120" fmla="*/ 123825 h 4496940"/>
                    <a:gd name="connsiteX121" fmla="*/ 1811677 w 4519987"/>
                    <a:gd name="connsiteY121" fmla="*/ 114300 h 4496940"/>
                    <a:gd name="connsiteX122" fmla="*/ 1859302 w 4519987"/>
                    <a:gd name="connsiteY122" fmla="*/ 104775 h 4496940"/>
                    <a:gd name="connsiteX123" fmla="*/ 1916452 w 4519987"/>
                    <a:gd name="connsiteY123" fmla="*/ 95250 h 4496940"/>
                    <a:gd name="connsiteX124" fmla="*/ 2030752 w 4519987"/>
                    <a:gd name="connsiteY124" fmla="*/ 66675 h 4496940"/>
                    <a:gd name="connsiteX125" fmla="*/ 2097427 w 4519987"/>
                    <a:gd name="connsiteY125" fmla="*/ 47625 h 4496940"/>
                    <a:gd name="connsiteX126" fmla="*/ 2164102 w 4519987"/>
                    <a:gd name="connsiteY126" fmla="*/ 38100 h 4496940"/>
                    <a:gd name="connsiteX127" fmla="*/ 2392702 w 4519987"/>
                    <a:gd name="connsiteY127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621427 w 4519987"/>
                    <a:gd name="connsiteY37" fmla="*/ 4038600 h 4496940"/>
                    <a:gd name="connsiteX38" fmla="*/ 3554752 w 4519987"/>
                    <a:gd name="connsiteY38" fmla="*/ 4095750 h 4496940"/>
                    <a:gd name="connsiteX39" fmla="*/ 3383302 w 4519987"/>
                    <a:gd name="connsiteY39" fmla="*/ 4210050 h 4496940"/>
                    <a:gd name="connsiteX40" fmla="*/ 3335677 w 4519987"/>
                    <a:gd name="connsiteY40" fmla="*/ 4238625 h 4496940"/>
                    <a:gd name="connsiteX41" fmla="*/ 3288052 w 4519987"/>
                    <a:gd name="connsiteY41" fmla="*/ 4248150 h 4496940"/>
                    <a:gd name="connsiteX42" fmla="*/ 3240427 w 4519987"/>
                    <a:gd name="connsiteY42" fmla="*/ 4267200 h 4496940"/>
                    <a:gd name="connsiteX43" fmla="*/ 3068977 w 4519987"/>
                    <a:gd name="connsiteY43" fmla="*/ 4286250 h 4496940"/>
                    <a:gd name="connsiteX44" fmla="*/ 2935627 w 4519987"/>
                    <a:gd name="connsiteY44" fmla="*/ 4333875 h 4496940"/>
                    <a:gd name="connsiteX45" fmla="*/ 2811802 w 4519987"/>
                    <a:gd name="connsiteY45" fmla="*/ 4371975 h 4496940"/>
                    <a:gd name="connsiteX46" fmla="*/ 2745127 w 4519987"/>
                    <a:gd name="connsiteY46" fmla="*/ 4410075 h 4496940"/>
                    <a:gd name="connsiteX47" fmla="*/ 2697502 w 4519987"/>
                    <a:gd name="connsiteY47" fmla="*/ 4429125 h 4496940"/>
                    <a:gd name="connsiteX48" fmla="*/ 2640352 w 4519987"/>
                    <a:gd name="connsiteY48" fmla="*/ 4457700 h 4496940"/>
                    <a:gd name="connsiteX49" fmla="*/ 2583202 w 4519987"/>
                    <a:gd name="connsiteY49" fmla="*/ 4467225 h 4496940"/>
                    <a:gd name="connsiteX50" fmla="*/ 2545102 w 4519987"/>
                    <a:gd name="connsiteY50" fmla="*/ 4486275 h 4496940"/>
                    <a:gd name="connsiteX51" fmla="*/ 2306977 w 4519987"/>
                    <a:gd name="connsiteY51" fmla="*/ 4476750 h 4496940"/>
                    <a:gd name="connsiteX52" fmla="*/ 2202202 w 4519987"/>
                    <a:gd name="connsiteY52" fmla="*/ 4457700 h 4496940"/>
                    <a:gd name="connsiteX53" fmla="*/ 2126002 w 4519987"/>
                    <a:gd name="connsiteY53" fmla="*/ 4429125 h 4496940"/>
                    <a:gd name="connsiteX54" fmla="*/ 1935502 w 4519987"/>
                    <a:gd name="connsiteY54" fmla="*/ 4400550 h 4496940"/>
                    <a:gd name="connsiteX55" fmla="*/ 1821202 w 4519987"/>
                    <a:gd name="connsiteY55" fmla="*/ 4371975 h 4496940"/>
                    <a:gd name="connsiteX56" fmla="*/ 1754527 w 4519987"/>
                    <a:gd name="connsiteY56" fmla="*/ 4352925 h 4496940"/>
                    <a:gd name="connsiteX57" fmla="*/ 1687852 w 4519987"/>
                    <a:gd name="connsiteY57" fmla="*/ 4343400 h 4496940"/>
                    <a:gd name="connsiteX58" fmla="*/ 1573552 w 4519987"/>
                    <a:gd name="connsiteY58" fmla="*/ 4305300 h 4496940"/>
                    <a:gd name="connsiteX59" fmla="*/ 1402102 w 4519987"/>
                    <a:gd name="connsiteY59" fmla="*/ 4276725 h 4496940"/>
                    <a:gd name="connsiteX60" fmla="*/ 1287802 w 4519987"/>
                    <a:gd name="connsiteY60" fmla="*/ 4229100 h 4496940"/>
                    <a:gd name="connsiteX61" fmla="*/ 1221127 w 4519987"/>
                    <a:gd name="connsiteY61" fmla="*/ 4200525 h 4496940"/>
                    <a:gd name="connsiteX62" fmla="*/ 1144927 w 4519987"/>
                    <a:gd name="connsiteY62" fmla="*/ 4171950 h 4496940"/>
                    <a:gd name="connsiteX63" fmla="*/ 1087777 w 4519987"/>
                    <a:gd name="connsiteY63" fmla="*/ 4143375 h 4496940"/>
                    <a:gd name="connsiteX64" fmla="*/ 1030627 w 4519987"/>
                    <a:gd name="connsiteY64" fmla="*/ 4124325 h 4496940"/>
                    <a:gd name="connsiteX65" fmla="*/ 925852 w 4519987"/>
                    <a:gd name="connsiteY65" fmla="*/ 4067175 h 4496940"/>
                    <a:gd name="connsiteX66" fmla="*/ 830602 w 4519987"/>
                    <a:gd name="connsiteY66" fmla="*/ 3981450 h 4496940"/>
                    <a:gd name="connsiteX67" fmla="*/ 763927 w 4519987"/>
                    <a:gd name="connsiteY67" fmla="*/ 3914775 h 4496940"/>
                    <a:gd name="connsiteX68" fmla="*/ 725827 w 4519987"/>
                    <a:gd name="connsiteY68" fmla="*/ 3876675 h 4496940"/>
                    <a:gd name="connsiteX69" fmla="*/ 697252 w 4519987"/>
                    <a:gd name="connsiteY69" fmla="*/ 3838575 h 4496940"/>
                    <a:gd name="connsiteX70" fmla="*/ 640102 w 4519987"/>
                    <a:gd name="connsiteY70" fmla="*/ 3781425 h 4496940"/>
                    <a:gd name="connsiteX71" fmla="*/ 611527 w 4519987"/>
                    <a:gd name="connsiteY71" fmla="*/ 3733800 h 4496940"/>
                    <a:gd name="connsiteX72" fmla="*/ 554377 w 4519987"/>
                    <a:gd name="connsiteY72" fmla="*/ 3657600 h 4496940"/>
                    <a:gd name="connsiteX73" fmla="*/ 525802 w 4519987"/>
                    <a:gd name="connsiteY73" fmla="*/ 3609975 h 4496940"/>
                    <a:gd name="connsiteX74" fmla="*/ 497227 w 4519987"/>
                    <a:gd name="connsiteY74" fmla="*/ 3552825 h 4496940"/>
                    <a:gd name="connsiteX75" fmla="*/ 440077 w 4519987"/>
                    <a:gd name="connsiteY75" fmla="*/ 3495675 h 4496940"/>
                    <a:gd name="connsiteX76" fmla="*/ 411502 w 4519987"/>
                    <a:gd name="connsiteY76" fmla="*/ 3448050 h 4496940"/>
                    <a:gd name="connsiteX77" fmla="*/ 278152 w 4519987"/>
                    <a:gd name="connsiteY77" fmla="*/ 3257550 h 4496940"/>
                    <a:gd name="connsiteX78" fmla="*/ 249577 w 4519987"/>
                    <a:gd name="connsiteY78" fmla="*/ 3200400 h 4496940"/>
                    <a:gd name="connsiteX79" fmla="*/ 240052 w 4519987"/>
                    <a:gd name="connsiteY79" fmla="*/ 3162300 h 4496940"/>
                    <a:gd name="connsiteX80" fmla="*/ 221002 w 4519987"/>
                    <a:gd name="connsiteY80" fmla="*/ 3105150 h 4496940"/>
                    <a:gd name="connsiteX81" fmla="*/ 173377 w 4519987"/>
                    <a:gd name="connsiteY81" fmla="*/ 3019425 h 4496940"/>
                    <a:gd name="connsiteX82" fmla="*/ 144802 w 4519987"/>
                    <a:gd name="connsiteY82" fmla="*/ 2924175 h 4496940"/>
                    <a:gd name="connsiteX83" fmla="*/ 68602 w 4519987"/>
                    <a:gd name="connsiteY83" fmla="*/ 2724150 h 4496940"/>
                    <a:gd name="connsiteX84" fmla="*/ 49552 w 4519987"/>
                    <a:gd name="connsiteY84" fmla="*/ 2638425 h 4496940"/>
                    <a:gd name="connsiteX85" fmla="*/ 40027 w 4519987"/>
                    <a:gd name="connsiteY85" fmla="*/ 2562225 h 4496940"/>
                    <a:gd name="connsiteX86" fmla="*/ 30502 w 4519987"/>
                    <a:gd name="connsiteY86" fmla="*/ 2514600 h 4496940"/>
                    <a:gd name="connsiteX87" fmla="*/ 11452 w 4519987"/>
                    <a:gd name="connsiteY87" fmla="*/ 2400300 h 4496940"/>
                    <a:gd name="connsiteX88" fmla="*/ 20977 w 4519987"/>
                    <a:gd name="connsiteY88" fmla="*/ 1905000 h 4496940"/>
                    <a:gd name="connsiteX89" fmla="*/ 30502 w 4519987"/>
                    <a:gd name="connsiteY89" fmla="*/ 1838325 h 4496940"/>
                    <a:gd name="connsiteX90" fmla="*/ 49552 w 4519987"/>
                    <a:gd name="connsiteY90" fmla="*/ 1781175 h 4496940"/>
                    <a:gd name="connsiteX91" fmla="*/ 59077 w 4519987"/>
                    <a:gd name="connsiteY91" fmla="*/ 1743075 h 4496940"/>
                    <a:gd name="connsiteX92" fmla="*/ 78127 w 4519987"/>
                    <a:gd name="connsiteY92" fmla="*/ 1685925 h 4496940"/>
                    <a:gd name="connsiteX93" fmla="*/ 87652 w 4519987"/>
                    <a:gd name="connsiteY93" fmla="*/ 1638300 h 4496940"/>
                    <a:gd name="connsiteX94" fmla="*/ 106702 w 4519987"/>
                    <a:gd name="connsiteY94" fmla="*/ 1590675 h 4496940"/>
                    <a:gd name="connsiteX95" fmla="*/ 135277 w 4519987"/>
                    <a:gd name="connsiteY95" fmla="*/ 1504950 h 4496940"/>
                    <a:gd name="connsiteX96" fmla="*/ 154327 w 4519987"/>
                    <a:gd name="connsiteY96" fmla="*/ 1419225 h 4496940"/>
                    <a:gd name="connsiteX97" fmla="*/ 230527 w 4519987"/>
                    <a:gd name="connsiteY97" fmla="*/ 1276350 h 4496940"/>
                    <a:gd name="connsiteX98" fmla="*/ 240052 w 4519987"/>
                    <a:gd name="connsiteY98" fmla="*/ 1247775 h 4496940"/>
                    <a:gd name="connsiteX99" fmla="*/ 268627 w 4519987"/>
                    <a:gd name="connsiteY99" fmla="*/ 1200150 h 4496940"/>
                    <a:gd name="connsiteX100" fmla="*/ 287677 w 4519987"/>
                    <a:gd name="connsiteY100" fmla="*/ 1152525 h 4496940"/>
                    <a:gd name="connsiteX101" fmla="*/ 316252 w 4519987"/>
                    <a:gd name="connsiteY101" fmla="*/ 1114425 h 4496940"/>
                    <a:gd name="connsiteX102" fmla="*/ 363877 w 4519987"/>
                    <a:gd name="connsiteY102" fmla="*/ 1038225 h 4496940"/>
                    <a:gd name="connsiteX103" fmla="*/ 382927 w 4519987"/>
                    <a:gd name="connsiteY103" fmla="*/ 1009650 h 4496940"/>
                    <a:gd name="connsiteX104" fmla="*/ 440077 w 4519987"/>
                    <a:gd name="connsiteY104" fmla="*/ 904875 h 4496940"/>
                    <a:gd name="connsiteX105" fmla="*/ 478177 w 4519987"/>
                    <a:gd name="connsiteY105" fmla="*/ 857250 h 4496940"/>
                    <a:gd name="connsiteX106" fmla="*/ 497227 w 4519987"/>
                    <a:gd name="connsiteY106" fmla="*/ 828675 h 4496940"/>
                    <a:gd name="connsiteX107" fmla="*/ 535327 w 4519987"/>
                    <a:gd name="connsiteY107" fmla="*/ 800100 h 4496940"/>
                    <a:gd name="connsiteX108" fmla="*/ 602002 w 4519987"/>
                    <a:gd name="connsiteY108" fmla="*/ 733425 h 4496940"/>
                    <a:gd name="connsiteX109" fmla="*/ 668677 w 4519987"/>
                    <a:gd name="connsiteY109" fmla="*/ 676275 h 4496940"/>
                    <a:gd name="connsiteX110" fmla="*/ 697252 w 4519987"/>
                    <a:gd name="connsiteY110" fmla="*/ 657225 h 4496940"/>
                    <a:gd name="connsiteX111" fmla="*/ 840127 w 4519987"/>
                    <a:gd name="connsiteY111" fmla="*/ 533400 h 4496940"/>
                    <a:gd name="connsiteX112" fmla="*/ 887752 w 4519987"/>
                    <a:gd name="connsiteY112" fmla="*/ 504825 h 4496940"/>
                    <a:gd name="connsiteX113" fmla="*/ 1167152 w 4519987"/>
                    <a:gd name="connsiteY113" fmla="*/ 311150 h 4496940"/>
                    <a:gd name="connsiteX114" fmla="*/ 1268752 w 4519987"/>
                    <a:gd name="connsiteY114" fmla="*/ 285750 h 4496940"/>
                    <a:gd name="connsiteX115" fmla="*/ 1411627 w 4519987"/>
                    <a:gd name="connsiteY115" fmla="*/ 190500 h 4496940"/>
                    <a:gd name="connsiteX116" fmla="*/ 1449727 w 4519987"/>
                    <a:gd name="connsiteY116" fmla="*/ 161925 h 4496940"/>
                    <a:gd name="connsiteX117" fmla="*/ 1525927 w 4519987"/>
                    <a:gd name="connsiteY117" fmla="*/ 152400 h 4496940"/>
                    <a:gd name="connsiteX118" fmla="*/ 1583077 w 4519987"/>
                    <a:gd name="connsiteY118" fmla="*/ 142875 h 4496940"/>
                    <a:gd name="connsiteX119" fmla="*/ 1716427 w 4519987"/>
                    <a:gd name="connsiteY119" fmla="*/ 123825 h 4496940"/>
                    <a:gd name="connsiteX120" fmla="*/ 1811677 w 4519987"/>
                    <a:gd name="connsiteY120" fmla="*/ 114300 h 4496940"/>
                    <a:gd name="connsiteX121" fmla="*/ 1859302 w 4519987"/>
                    <a:gd name="connsiteY121" fmla="*/ 104775 h 4496940"/>
                    <a:gd name="connsiteX122" fmla="*/ 1916452 w 4519987"/>
                    <a:gd name="connsiteY122" fmla="*/ 95250 h 4496940"/>
                    <a:gd name="connsiteX123" fmla="*/ 2030752 w 4519987"/>
                    <a:gd name="connsiteY123" fmla="*/ 66675 h 4496940"/>
                    <a:gd name="connsiteX124" fmla="*/ 2097427 w 4519987"/>
                    <a:gd name="connsiteY124" fmla="*/ 47625 h 4496940"/>
                    <a:gd name="connsiteX125" fmla="*/ 2164102 w 4519987"/>
                    <a:gd name="connsiteY125" fmla="*/ 38100 h 4496940"/>
                    <a:gd name="connsiteX126" fmla="*/ 2392702 w 4519987"/>
                    <a:gd name="connsiteY126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630952 w 4519987"/>
                    <a:gd name="connsiteY36" fmla="*/ 4010025 h 4496940"/>
                    <a:gd name="connsiteX37" fmla="*/ 3554752 w 4519987"/>
                    <a:gd name="connsiteY37" fmla="*/ 4095750 h 4496940"/>
                    <a:gd name="connsiteX38" fmla="*/ 3383302 w 4519987"/>
                    <a:gd name="connsiteY38" fmla="*/ 4210050 h 4496940"/>
                    <a:gd name="connsiteX39" fmla="*/ 3335677 w 4519987"/>
                    <a:gd name="connsiteY39" fmla="*/ 4238625 h 4496940"/>
                    <a:gd name="connsiteX40" fmla="*/ 3288052 w 4519987"/>
                    <a:gd name="connsiteY40" fmla="*/ 4248150 h 4496940"/>
                    <a:gd name="connsiteX41" fmla="*/ 3240427 w 4519987"/>
                    <a:gd name="connsiteY41" fmla="*/ 4267200 h 4496940"/>
                    <a:gd name="connsiteX42" fmla="*/ 3068977 w 4519987"/>
                    <a:gd name="connsiteY42" fmla="*/ 4286250 h 4496940"/>
                    <a:gd name="connsiteX43" fmla="*/ 2935627 w 4519987"/>
                    <a:gd name="connsiteY43" fmla="*/ 4333875 h 4496940"/>
                    <a:gd name="connsiteX44" fmla="*/ 2811802 w 4519987"/>
                    <a:gd name="connsiteY44" fmla="*/ 4371975 h 4496940"/>
                    <a:gd name="connsiteX45" fmla="*/ 2745127 w 4519987"/>
                    <a:gd name="connsiteY45" fmla="*/ 4410075 h 4496940"/>
                    <a:gd name="connsiteX46" fmla="*/ 2697502 w 4519987"/>
                    <a:gd name="connsiteY46" fmla="*/ 4429125 h 4496940"/>
                    <a:gd name="connsiteX47" fmla="*/ 2640352 w 4519987"/>
                    <a:gd name="connsiteY47" fmla="*/ 4457700 h 4496940"/>
                    <a:gd name="connsiteX48" fmla="*/ 2583202 w 4519987"/>
                    <a:gd name="connsiteY48" fmla="*/ 4467225 h 4496940"/>
                    <a:gd name="connsiteX49" fmla="*/ 2545102 w 4519987"/>
                    <a:gd name="connsiteY49" fmla="*/ 4486275 h 4496940"/>
                    <a:gd name="connsiteX50" fmla="*/ 2306977 w 4519987"/>
                    <a:gd name="connsiteY50" fmla="*/ 4476750 h 4496940"/>
                    <a:gd name="connsiteX51" fmla="*/ 2202202 w 4519987"/>
                    <a:gd name="connsiteY51" fmla="*/ 4457700 h 4496940"/>
                    <a:gd name="connsiteX52" fmla="*/ 2126002 w 4519987"/>
                    <a:gd name="connsiteY52" fmla="*/ 4429125 h 4496940"/>
                    <a:gd name="connsiteX53" fmla="*/ 1935502 w 4519987"/>
                    <a:gd name="connsiteY53" fmla="*/ 4400550 h 4496940"/>
                    <a:gd name="connsiteX54" fmla="*/ 1821202 w 4519987"/>
                    <a:gd name="connsiteY54" fmla="*/ 4371975 h 4496940"/>
                    <a:gd name="connsiteX55" fmla="*/ 1754527 w 4519987"/>
                    <a:gd name="connsiteY55" fmla="*/ 4352925 h 4496940"/>
                    <a:gd name="connsiteX56" fmla="*/ 1687852 w 4519987"/>
                    <a:gd name="connsiteY56" fmla="*/ 4343400 h 4496940"/>
                    <a:gd name="connsiteX57" fmla="*/ 1573552 w 4519987"/>
                    <a:gd name="connsiteY57" fmla="*/ 4305300 h 4496940"/>
                    <a:gd name="connsiteX58" fmla="*/ 1402102 w 4519987"/>
                    <a:gd name="connsiteY58" fmla="*/ 4276725 h 4496940"/>
                    <a:gd name="connsiteX59" fmla="*/ 1287802 w 4519987"/>
                    <a:gd name="connsiteY59" fmla="*/ 4229100 h 4496940"/>
                    <a:gd name="connsiteX60" fmla="*/ 1221127 w 4519987"/>
                    <a:gd name="connsiteY60" fmla="*/ 4200525 h 4496940"/>
                    <a:gd name="connsiteX61" fmla="*/ 1144927 w 4519987"/>
                    <a:gd name="connsiteY61" fmla="*/ 4171950 h 4496940"/>
                    <a:gd name="connsiteX62" fmla="*/ 1087777 w 4519987"/>
                    <a:gd name="connsiteY62" fmla="*/ 4143375 h 4496940"/>
                    <a:gd name="connsiteX63" fmla="*/ 1030627 w 4519987"/>
                    <a:gd name="connsiteY63" fmla="*/ 4124325 h 4496940"/>
                    <a:gd name="connsiteX64" fmla="*/ 925852 w 4519987"/>
                    <a:gd name="connsiteY64" fmla="*/ 4067175 h 4496940"/>
                    <a:gd name="connsiteX65" fmla="*/ 830602 w 4519987"/>
                    <a:gd name="connsiteY65" fmla="*/ 3981450 h 4496940"/>
                    <a:gd name="connsiteX66" fmla="*/ 763927 w 4519987"/>
                    <a:gd name="connsiteY66" fmla="*/ 3914775 h 4496940"/>
                    <a:gd name="connsiteX67" fmla="*/ 725827 w 4519987"/>
                    <a:gd name="connsiteY67" fmla="*/ 3876675 h 4496940"/>
                    <a:gd name="connsiteX68" fmla="*/ 697252 w 4519987"/>
                    <a:gd name="connsiteY68" fmla="*/ 3838575 h 4496940"/>
                    <a:gd name="connsiteX69" fmla="*/ 640102 w 4519987"/>
                    <a:gd name="connsiteY69" fmla="*/ 3781425 h 4496940"/>
                    <a:gd name="connsiteX70" fmla="*/ 611527 w 4519987"/>
                    <a:gd name="connsiteY70" fmla="*/ 3733800 h 4496940"/>
                    <a:gd name="connsiteX71" fmla="*/ 554377 w 4519987"/>
                    <a:gd name="connsiteY71" fmla="*/ 3657600 h 4496940"/>
                    <a:gd name="connsiteX72" fmla="*/ 525802 w 4519987"/>
                    <a:gd name="connsiteY72" fmla="*/ 3609975 h 4496940"/>
                    <a:gd name="connsiteX73" fmla="*/ 497227 w 4519987"/>
                    <a:gd name="connsiteY73" fmla="*/ 3552825 h 4496940"/>
                    <a:gd name="connsiteX74" fmla="*/ 440077 w 4519987"/>
                    <a:gd name="connsiteY74" fmla="*/ 3495675 h 4496940"/>
                    <a:gd name="connsiteX75" fmla="*/ 411502 w 4519987"/>
                    <a:gd name="connsiteY75" fmla="*/ 3448050 h 4496940"/>
                    <a:gd name="connsiteX76" fmla="*/ 278152 w 4519987"/>
                    <a:gd name="connsiteY76" fmla="*/ 3257550 h 4496940"/>
                    <a:gd name="connsiteX77" fmla="*/ 249577 w 4519987"/>
                    <a:gd name="connsiteY77" fmla="*/ 3200400 h 4496940"/>
                    <a:gd name="connsiteX78" fmla="*/ 240052 w 4519987"/>
                    <a:gd name="connsiteY78" fmla="*/ 3162300 h 4496940"/>
                    <a:gd name="connsiteX79" fmla="*/ 221002 w 4519987"/>
                    <a:gd name="connsiteY79" fmla="*/ 3105150 h 4496940"/>
                    <a:gd name="connsiteX80" fmla="*/ 173377 w 4519987"/>
                    <a:gd name="connsiteY80" fmla="*/ 3019425 h 4496940"/>
                    <a:gd name="connsiteX81" fmla="*/ 144802 w 4519987"/>
                    <a:gd name="connsiteY81" fmla="*/ 2924175 h 4496940"/>
                    <a:gd name="connsiteX82" fmla="*/ 68602 w 4519987"/>
                    <a:gd name="connsiteY82" fmla="*/ 2724150 h 4496940"/>
                    <a:gd name="connsiteX83" fmla="*/ 49552 w 4519987"/>
                    <a:gd name="connsiteY83" fmla="*/ 2638425 h 4496940"/>
                    <a:gd name="connsiteX84" fmla="*/ 40027 w 4519987"/>
                    <a:gd name="connsiteY84" fmla="*/ 2562225 h 4496940"/>
                    <a:gd name="connsiteX85" fmla="*/ 30502 w 4519987"/>
                    <a:gd name="connsiteY85" fmla="*/ 2514600 h 4496940"/>
                    <a:gd name="connsiteX86" fmla="*/ 11452 w 4519987"/>
                    <a:gd name="connsiteY86" fmla="*/ 2400300 h 4496940"/>
                    <a:gd name="connsiteX87" fmla="*/ 20977 w 4519987"/>
                    <a:gd name="connsiteY87" fmla="*/ 1905000 h 4496940"/>
                    <a:gd name="connsiteX88" fmla="*/ 30502 w 4519987"/>
                    <a:gd name="connsiteY88" fmla="*/ 1838325 h 4496940"/>
                    <a:gd name="connsiteX89" fmla="*/ 49552 w 4519987"/>
                    <a:gd name="connsiteY89" fmla="*/ 1781175 h 4496940"/>
                    <a:gd name="connsiteX90" fmla="*/ 59077 w 4519987"/>
                    <a:gd name="connsiteY90" fmla="*/ 1743075 h 4496940"/>
                    <a:gd name="connsiteX91" fmla="*/ 78127 w 4519987"/>
                    <a:gd name="connsiteY91" fmla="*/ 1685925 h 4496940"/>
                    <a:gd name="connsiteX92" fmla="*/ 87652 w 4519987"/>
                    <a:gd name="connsiteY92" fmla="*/ 1638300 h 4496940"/>
                    <a:gd name="connsiteX93" fmla="*/ 106702 w 4519987"/>
                    <a:gd name="connsiteY93" fmla="*/ 1590675 h 4496940"/>
                    <a:gd name="connsiteX94" fmla="*/ 135277 w 4519987"/>
                    <a:gd name="connsiteY94" fmla="*/ 1504950 h 4496940"/>
                    <a:gd name="connsiteX95" fmla="*/ 154327 w 4519987"/>
                    <a:gd name="connsiteY95" fmla="*/ 1419225 h 4496940"/>
                    <a:gd name="connsiteX96" fmla="*/ 230527 w 4519987"/>
                    <a:gd name="connsiteY96" fmla="*/ 1276350 h 4496940"/>
                    <a:gd name="connsiteX97" fmla="*/ 240052 w 4519987"/>
                    <a:gd name="connsiteY97" fmla="*/ 1247775 h 4496940"/>
                    <a:gd name="connsiteX98" fmla="*/ 268627 w 4519987"/>
                    <a:gd name="connsiteY98" fmla="*/ 1200150 h 4496940"/>
                    <a:gd name="connsiteX99" fmla="*/ 287677 w 4519987"/>
                    <a:gd name="connsiteY99" fmla="*/ 1152525 h 4496940"/>
                    <a:gd name="connsiteX100" fmla="*/ 316252 w 4519987"/>
                    <a:gd name="connsiteY100" fmla="*/ 1114425 h 4496940"/>
                    <a:gd name="connsiteX101" fmla="*/ 363877 w 4519987"/>
                    <a:gd name="connsiteY101" fmla="*/ 1038225 h 4496940"/>
                    <a:gd name="connsiteX102" fmla="*/ 382927 w 4519987"/>
                    <a:gd name="connsiteY102" fmla="*/ 1009650 h 4496940"/>
                    <a:gd name="connsiteX103" fmla="*/ 440077 w 4519987"/>
                    <a:gd name="connsiteY103" fmla="*/ 904875 h 4496940"/>
                    <a:gd name="connsiteX104" fmla="*/ 478177 w 4519987"/>
                    <a:gd name="connsiteY104" fmla="*/ 857250 h 4496940"/>
                    <a:gd name="connsiteX105" fmla="*/ 497227 w 4519987"/>
                    <a:gd name="connsiteY105" fmla="*/ 828675 h 4496940"/>
                    <a:gd name="connsiteX106" fmla="*/ 535327 w 4519987"/>
                    <a:gd name="connsiteY106" fmla="*/ 800100 h 4496940"/>
                    <a:gd name="connsiteX107" fmla="*/ 602002 w 4519987"/>
                    <a:gd name="connsiteY107" fmla="*/ 733425 h 4496940"/>
                    <a:gd name="connsiteX108" fmla="*/ 668677 w 4519987"/>
                    <a:gd name="connsiteY108" fmla="*/ 676275 h 4496940"/>
                    <a:gd name="connsiteX109" fmla="*/ 697252 w 4519987"/>
                    <a:gd name="connsiteY109" fmla="*/ 657225 h 4496940"/>
                    <a:gd name="connsiteX110" fmla="*/ 840127 w 4519987"/>
                    <a:gd name="connsiteY110" fmla="*/ 533400 h 4496940"/>
                    <a:gd name="connsiteX111" fmla="*/ 887752 w 4519987"/>
                    <a:gd name="connsiteY111" fmla="*/ 504825 h 4496940"/>
                    <a:gd name="connsiteX112" fmla="*/ 1167152 w 4519987"/>
                    <a:gd name="connsiteY112" fmla="*/ 311150 h 4496940"/>
                    <a:gd name="connsiteX113" fmla="*/ 1268752 w 4519987"/>
                    <a:gd name="connsiteY113" fmla="*/ 285750 h 4496940"/>
                    <a:gd name="connsiteX114" fmla="*/ 1411627 w 4519987"/>
                    <a:gd name="connsiteY114" fmla="*/ 190500 h 4496940"/>
                    <a:gd name="connsiteX115" fmla="*/ 1449727 w 4519987"/>
                    <a:gd name="connsiteY115" fmla="*/ 161925 h 4496940"/>
                    <a:gd name="connsiteX116" fmla="*/ 1525927 w 4519987"/>
                    <a:gd name="connsiteY116" fmla="*/ 152400 h 4496940"/>
                    <a:gd name="connsiteX117" fmla="*/ 1583077 w 4519987"/>
                    <a:gd name="connsiteY117" fmla="*/ 142875 h 4496940"/>
                    <a:gd name="connsiteX118" fmla="*/ 1716427 w 4519987"/>
                    <a:gd name="connsiteY118" fmla="*/ 123825 h 4496940"/>
                    <a:gd name="connsiteX119" fmla="*/ 1811677 w 4519987"/>
                    <a:gd name="connsiteY119" fmla="*/ 114300 h 4496940"/>
                    <a:gd name="connsiteX120" fmla="*/ 1859302 w 4519987"/>
                    <a:gd name="connsiteY120" fmla="*/ 104775 h 4496940"/>
                    <a:gd name="connsiteX121" fmla="*/ 1916452 w 4519987"/>
                    <a:gd name="connsiteY121" fmla="*/ 95250 h 4496940"/>
                    <a:gd name="connsiteX122" fmla="*/ 2030752 w 4519987"/>
                    <a:gd name="connsiteY122" fmla="*/ 66675 h 4496940"/>
                    <a:gd name="connsiteX123" fmla="*/ 2097427 w 4519987"/>
                    <a:gd name="connsiteY123" fmla="*/ 47625 h 4496940"/>
                    <a:gd name="connsiteX124" fmla="*/ 2164102 w 4519987"/>
                    <a:gd name="connsiteY124" fmla="*/ 38100 h 4496940"/>
                    <a:gd name="connsiteX125" fmla="*/ 2392702 w 4519987"/>
                    <a:gd name="connsiteY125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54752 w 4519987"/>
                    <a:gd name="connsiteY36" fmla="*/ 40957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83302 w 4519987"/>
                    <a:gd name="connsiteY37" fmla="*/ 4210050 h 4496940"/>
                    <a:gd name="connsiteX38" fmla="*/ 3335677 w 4519987"/>
                    <a:gd name="connsiteY38" fmla="*/ 4238625 h 4496940"/>
                    <a:gd name="connsiteX39" fmla="*/ 3288052 w 4519987"/>
                    <a:gd name="connsiteY39" fmla="*/ 4248150 h 4496940"/>
                    <a:gd name="connsiteX40" fmla="*/ 3240427 w 4519987"/>
                    <a:gd name="connsiteY40" fmla="*/ 4267200 h 4496940"/>
                    <a:gd name="connsiteX41" fmla="*/ 3068977 w 4519987"/>
                    <a:gd name="connsiteY41" fmla="*/ 4286250 h 4496940"/>
                    <a:gd name="connsiteX42" fmla="*/ 2935627 w 4519987"/>
                    <a:gd name="connsiteY42" fmla="*/ 4333875 h 4496940"/>
                    <a:gd name="connsiteX43" fmla="*/ 2811802 w 4519987"/>
                    <a:gd name="connsiteY43" fmla="*/ 4371975 h 4496940"/>
                    <a:gd name="connsiteX44" fmla="*/ 2745127 w 4519987"/>
                    <a:gd name="connsiteY44" fmla="*/ 4410075 h 4496940"/>
                    <a:gd name="connsiteX45" fmla="*/ 2697502 w 4519987"/>
                    <a:gd name="connsiteY45" fmla="*/ 4429125 h 4496940"/>
                    <a:gd name="connsiteX46" fmla="*/ 2640352 w 4519987"/>
                    <a:gd name="connsiteY46" fmla="*/ 4457700 h 4496940"/>
                    <a:gd name="connsiteX47" fmla="*/ 2583202 w 4519987"/>
                    <a:gd name="connsiteY47" fmla="*/ 4467225 h 4496940"/>
                    <a:gd name="connsiteX48" fmla="*/ 2545102 w 4519987"/>
                    <a:gd name="connsiteY48" fmla="*/ 4486275 h 4496940"/>
                    <a:gd name="connsiteX49" fmla="*/ 2306977 w 4519987"/>
                    <a:gd name="connsiteY49" fmla="*/ 4476750 h 4496940"/>
                    <a:gd name="connsiteX50" fmla="*/ 2202202 w 4519987"/>
                    <a:gd name="connsiteY50" fmla="*/ 4457700 h 4496940"/>
                    <a:gd name="connsiteX51" fmla="*/ 2126002 w 4519987"/>
                    <a:gd name="connsiteY51" fmla="*/ 4429125 h 4496940"/>
                    <a:gd name="connsiteX52" fmla="*/ 1935502 w 4519987"/>
                    <a:gd name="connsiteY52" fmla="*/ 4400550 h 4496940"/>
                    <a:gd name="connsiteX53" fmla="*/ 1821202 w 4519987"/>
                    <a:gd name="connsiteY53" fmla="*/ 4371975 h 4496940"/>
                    <a:gd name="connsiteX54" fmla="*/ 1754527 w 4519987"/>
                    <a:gd name="connsiteY54" fmla="*/ 4352925 h 4496940"/>
                    <a:gd name="connsiteX55" fmla="*/ 1687852 w 4519987"/>
                    <a:gd name="connsiteY55" fmla="*/ 4343400 h 4496940"/>
                    <a:gd name="connsiteX56" fmla="*/ 1573552 w 4519987"/>
                    <a:gd name="connsiteY56" fmla="*/ 4305300 h 4496940"/>
                    <a:gd name="connsiteX57" fmla="*/ 1402102 w 4519987"/>
                    <a:gd name="connsiteY57" fmla="*/ 4276725 h 4496940"/>
                    <a:gd name="connsiteX58" fmla="*/ 1287802 w 4519987"/>
                    <a:gd name="connsiteY58" fmla="*/ 4229100 h 4496940"/>
                    <a:gd name="connsiteX59" fmla="*/ 1221127 w 4519987"/>
                    <a:gd name="connsiteY59" fmla="*/ 4200525 h 4496940"/>
                    <a:gd name="connsiteX60" fmla="*/ 1144927 w 4519987"/>
                    <a:gd name="connsiteY60" fmla="*/ 4171950 h 4496940"/>
                    <a:gd name="connsiteX61" fmla="*/ 1087777 w 4519987"/>
                    <a:gd name="connsiteY61" fmla="*/ 4143375 h 4496940"/>
                    <a:gd name="connsiteX62" fmla="*/ 1030627 w 4519987"/>
                    <a:gd name="connsiteY62" fmla="*/ 4124325 h 4496940"/>
                    <a:gd name="connsiteX63" fmla="*/ 925852 w 4519987"/>
                    <a:gd name="connsiteY63" fmla="*/ 4067175 h 4496940"/>
                    <a:gd name="connsiteX64" fmla="*/ 830602 w 4519987"/>
                    <a:gd name="connsiteY64" fmla="*/ 3981450 h 4496940"/>
                    <a:gd name="connsiteX65" fmla="*/ 763927 w 4519987"/>
                    <a:gd name="connsiteY65" fmla="*/ 3914775 h 4496940"/>
                    <a:gd name="connsiteX66" fmla="*/ 725827 w 4519987"/>
                    <a:gd name="connsiteY66" fmla="*/ 3876675 h 4496940"/>
                    <a:gd name="connsiteX67" fmla="*/ 697252 w 4519987"/>
                    <a:gd name="connsiteY67" fmla="*/ 3838575 h 4496940"/>
                    <a:gd name="connsiteX68" fmla="*/ 640102 w 4519987"/>
                    <a:gd name="connsiteY68" fmla="*/ 3781425 h 4496940"/>
                    <a:gd name="connsiteX69" fmla="*/ 611527 w 4519987"/>
                    <a:gd name="connsiteY69" fmla="*/ 3733800 h 4496940"/>
                    <a:gd name="connsiteX70" fmla="*/ 554377 w 4519987"/>
                    <a:gd name="connsiteY70" fmla="*/ 3657600 h 4496940"/>
                    <a:gd name="connsiteX71" fmla="*/ 525802 w 4519987"/>
                    <a:gd name="connsiteY71" fmla="*/ 3609975 h 4496940"/>
                    <a:gd name="connsiteX72" fmla="*/ 497227 w 4519987"/>
                    <a:gd name="connsiteY72" fmla="*/ 3552825 h 4496940"/>
                    <a:gd name="connsiteX73" fmla="*/ 440077 w 4519987"/>
                    <a:gd name="connsiteY73" fmla="*/ 3495675 h 4496940"/>
                    <a:gd name="connsiteX74" fmla="*/ 411502 w 4519987"/>
                    <a:gd name="connsiteY74" fmla="*/ 3448050 h 4496940"/>
                    <a:gd name="connsiteX75" fmla="*/ 278152 w 4519987"/>
                    <a:gd name="connsiteY75" fmla="*/ 3257550 h 4496940"/>
                    <a:gd name="connsiteX76" fmla="*/ 249577 w 4519987"/>
                    <a:gd name="connsiteY76" fmla="*/ 3200400 h 4496940"/>
                    <a:gd name="connsiteX77" fmla="*/ 240052 w 4519987"/>
                    <a:gd name="connsiteY77" fmla="*/ 3162300 h 4496940"/>
                    <a:gd name="connsiteX78" fmla="*/ 221002 w 4519987"/>
                    <a:gd name="connsiteY78" fmla="*/ 3105150 h 4496940"/>
                    <a:gd name="connsiteX79" fmla="*/ 173377 w 4519987"/>
                    <a:gd name="connsiteY79" fmla="*/ 3019425 h 4496940"/>
                    <a:gd name="connsiteX80" fmla="*/ 144802 w 4519987"/>
                    <a:gd name="connsiteY80" fmla="*/ 2924175 h 4496940"/>
                    <a:gd name="connsiteX81" fmla="*/ 68602 w 4519987"/>
                    <a:gd name="connsiteY81" fmla="*/ 2724150 h 4496940"/>
                    <a:gd name="connsiteX82" fmla="*/ 49552 w 4519987"/>
                    <a:gd name="connsiteY82" fmla="*/ 2638425 h 4496940"/>
                    <a:gd name="connsiteX83" fmla="*/ 40027 w 4519987"/>
                    <a:gd name="connsiteY83" fmla="*/ 2562225 h 4496940"/>
                    <a:gd name="connsiteX84" fmla="*/ 30502 w 4519987"/>
                    <a:gd name="connsiteY84" fmla="*/ 2514600 h 4496940"/>
                    <a:gd name="connsiteX85" fmla="*/ 11452 w 4519987"/>
                    <a:gd name="connsiteY85" fmla="*/ 2400300 h 4496940"/>
                    <a:gd name="connsiteX86" fmla="*/ 20977 w 4519987"/>
                    <a:gd name="connsiteY86" fmla="*/ 1905000 h 4496940"/>
                    <a:gd name="connsiteX87" fmla="*/ 30502 w 4519987"/>
                    <a:gd name="connsiteY87" fmla="*/ 1838325 h 4496940"/>
                    <a:gd name="connsiteX88" fmla="*/ 49552 w 4519987"/>
                    <a:gd name="connsiteY88" fmla="*/ 1781175 h 4496940"/>
                    <a:gd name="connsiteX89" fmla="*/ 59077 w 4519987"/>
                    <a:gd name="connsiteY89" fmla="*/ 1743075 h 4496940"/>
                    <a:gd name="connsiteX90" fmla="*/ 78127 w 4519987"/>
                    <a:gd name="connsiteY90" fmla="*/ 1685925 h 4496940"/>
                    <a:gd name="connsiteX91" fmla="*/ 87652 w 4519987"/>
                    <a:gd name="connsiteY91" fmla="*/ 1638300 h 4496940"/>
                    <a:gd name="connsiteX92" fmla="*/ 106702 w 4519987"/>
                    <a:gd name="connsiteY92" fmla="*/ 1590675 h 4496940"/>
                    <a:gd name="connsiteX93" fmla="*/ 135277 w 4519987"/>
                    <a:gd name="connsiteY93" fmla="*/ 1504950 h 4496940"/>
                    <a:gd name="connsiteX94" fmla="*/ 154327 w 4519987"/>
                    <a:gd name="connsiteY94" fmla="*/ 1419225 h 4496940"/>
                    <a:gd name="connsiteX95" fmla="*/ 230527 w 4519987"/>
                    <a:gd name="connsiteY95" fmla="*/ 1276350 h 4496940"/>
                    <a:gd name="connsiteX96" fmla="*/ 240052 w 4519987"/>
                    <a:gd name="connsiteY96" fmla="*/ 1247775 h 4496940"/>
                    <a:gd name="connsiteX97" fmla="*/ 268627 w 4519987"/>
                    <a:gd name="connsiteY97" fmla="*/ 1200150 h 4496940"/>
                    <a:gd name="connsiteX98" fmla="*/ 287677 w 4519987"/>
                    <a:gd name="connsiteY98" fmla="*/ 1152525 h 4496940"/>
                    <a:gd name="connsiteX99" fmla="*/ 316252 w 4519987"/>
                    <a:gd name="connsiteY99" fmla="*/ 1114425 h 4496940"/>
                    <a:gd name="connsiteX100" fmla="*/ 363877 w 4519987"/>
                    <a:gd name="connsiteY100" fmla="*/ 1038225 h 4496940"/>
                    <a:gd name="connsiteX101" fmla="*/ 382927 w 4519987"/>
                    <a:gd name="connsiteY101" fmla="*/ 1009650 h 4496940"/>
                    <a:gd name="connsiteX102" fmla="*/ 440077 w 4519987"/>
                    <a:gd name="connsiteY102" fmla="*/ 904875 h 4496940"/>
                    <a:gd name="connsiteX103" fmla="*/ 478177 w 4519987"/>
                    <a:gd name="connsiteY103" fmla="*/ 857250 h 4496940"/>
                    <a:gd name="connsiteX104" fmla="*/ 497227 w 4519987"/>
                    <a:gd name="connsiteY104" fmla="*/ 828675 h 4496940"/>
                    <a:gd name="connsiteX105" fmla="*/ 535327 w 4519987"/>
                    <a:gd name="connsiteY105" fmla="*/ 800100 h 4496940"/>
                    <a:gd name="connsiteX106" fmla="*/ 602002 w 4519987"/>
                    <a:gd name="connsiteY106" fmla="*/ 733425 h 4496940"/>
                    <a:gd name="connsiteX107" fmla="*/ 668677 w 4519987"/>
                    <a:gd name="connsiteY107" fmla="*/ 676275 h 4496940"/>
                    <a:gd name="connsiteX108" fmla="*/ 697252 w 4519987"/>
                    <a:gd name="connsiteY108" fmla="*/ 657225 h 4496940"/>
                    <a:gd name="connsiteX109" fmla="*/ 840127 w 4519987"/>
                    <a:gd name="connsiteY109" fmla="*/ 533400 h 4496940"/>
                    <a:gd name="connsiteX110" fmla="*/ 887752 w 4519987"/>
                    <a:gd name="connsiteY110" fmla="*/ 504825 h 4496940"/>
                    <a:gd name="connsiteX111" fmla="*/ 1167152 w 4519987"/>
                    <a:gd name="connsiteY111" fmla="*/ 311150 h 4496940"/>
                    <a:gd name="connsiteX112" fmla="*/ 1268752 w 4519987"/>
                    <a:gd name="connsiteY112" fmla="*/ 285750 h 4496940"/>
                    <a:gd name="connsiteX113" fmla="*/ 1411627 w 4519987"/>
                    <a:gd name="connsiteY113" fmla="*/ 190500 h 4496940"/>
                    <a:gd name="connsiteX114" fmla="*/ 1449727 w 4519987"/>
                    <a:gd name="connsiteY114" fmla="*/ 161925 h 4496940"/>
                    <a:gd name="connsiteX115" fmla="*/ 1525927 w 4519987"/>
                    <a:gd name="connsiteY115" fmla="*/ 152400 h 4496940"/>
                    <a:gd name="connsiteX116" fmla="*/ 1583077 w 4519987"/>
                    <a:gd name="connsiteY116" fmla="*/ 142875 h 4496940"/>
                    <a:gd name="connsiteX117" fmla="*/ 1716427 w 4519987"/>
                    <a:gd name="connsiteY117" fmla="*/ 123825 h 4496940"/>
                    <a:gd name="connsiteX118" fmla="*/ 1811677 w 4519987"/>
                    <a:gd name="connsiteY118" fmla="*/ 114300 h 4496940"/>
                    <a:gd name="connsiteX119" fmla="*/ 1859302 w 4519987"/>
                    <a:gd name="connsiteY119" fmla="*/ 104775 h 4496940"/>
                    <a:gd name="connsiteX120" fmla="*/ 1916452 w 4519987"/>
                    <a:gd name="connsiteY120" fmla="*/ 95250 h 4496940"/>
                    <a:gd name="connsiteX121" fmla="*/ 2030752 w 4519987"/>
                    <a:gd name="connsiteY121" fmla="*/ 66675 h 4496940"/>
                    <a:gd name="connsiteX122" fmla="*/ 2097427 w 4519987"/>
                    <a:gd name="connsiteY122" fmla="*/ 47625 h 4496940"/>
                    <a:gd name="connsiteX123" fmla="*/ 2164102 w 4519987"/>
                    <a:gd name="connsiteY123" fmla="*/ 38100 h 4496940"/>
                    <a:gd name="connsiteX124" fmla="*/ 2392702 w 4519987"/>
                    <a:gd name="connsiteY124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88052 w 4519987"/>
                    <a:gd name="connsiteY38" fmla="*/ 4248150 h 4496940"/>
                    <a:gd name="connsiteX39" fmla="*/ 3240427 w 4519987"/>
                    <a:gd name="connsiteY39" fmla="*/ 4267200 h 4496940"/>
                    <a:gd name="connsiteX40" fmla="*/ 3068977 w 4519987"/>
                    <a:gd name="connsiteY40" fmla="*/ 4286250 h 4496940"/>
                    <a:gd name="connsiteX41" fmla="*/ 2935627 w 4519987"/>
                    <a:gd name="connsiteY41" fmla="*/ 4333875 h 4496940"/>
                    <a:gd name="connsiteX42" fmla="*/ 2811802 w 4519987"/>
                    <a:gd name="connsiteY42" fmla="*/ 4371975 h 4496940"/>
                    <a:gd name="connsiteX43" fmla="*/ 2745127 w 4519987"/>
                    <a:gd name="connsiteY43" fmla="*/ 4410075 h 4496940"/>
                    <a:gd name="connsiteX44" fmla="*/ 2697502 w 4519987"/>
                    <a:gd name="connsiteY44" fmla="*/ 4429125 h 4496940"/>
                    <a:gd name="connsiteX45" fmla="*/ 2640352 w 4519987"/>
                    <a:gd name="connsiteY45" fmla="*/ 4457700 h 4496940"/>
                    <a:gd name="connsiteX46" fmla="*/ 2583202 w 4519987"/>
                    <a:gd name="connsiteY46" fmla="*/ 4467225 h 4496940"/>
                    <a:gd name="connsiteX47" fmla="*/ 2545102 w 4519987"/>
                    <a:gd name="connsiteY47" fmla="*/ 4486275 h 4496940"/>
                    <a:gd name="connsiteX48" fmla="*/ 2306977 w 4519987"/>
                    <a:gd name="connsiteY48" fmla="*/ 4476750 h 4496940"/>
                    <a:gd name="connsiteX49" fmla="*/ 2202202 w 4519987"/>
                    <a:gd name="connsiteY49" fmla="*/ 4457700 h 4496940"/>
                    <a:gd name="connsiteX50" fmla="*/ 2126002 w 4519987"/>
                    <a:gd name="connsiteY50" fmla="*/ 4429125 h 4496940"/>
                    <a:gd name="connsiteX51" fmla="*/ 1935502 w 4519987"/>
                    <a:gd name="connsiteY51" fmla="*/ 4400550 h 4496940"/>
                    <a:gd name="connsiteX52" fmla="*/ 1821202 w 4519987"/>
                    <a:gd name="connsiteY52" fmla="*/ 4371975 h 4496940"/>
                    <a:gd name="connsiteX53" fmla="*/ 1754527 w 4519987"/>
                    <a:gd name="connsiteY53" fmla="*/ 4352925 h 4496940"/>
                    <a:gd name="connsiteX54" fmla="*/ 1687852 w 4519987"/>
                    <a:gd name="connsiteY54" fmla="*/ 4343400 h 4496940"/>
                    <a:gd name="connsiteX55" fmla="*/ 1573552 w 4519987"/>
                    <a:gd name="connsiteY55" fmla="*/ 4305300 h 4496940"/>
                    <a:gd name="connsiteX56" fmla="*/ 1402102 w 4519987"/>
                    <a:gd name="connsiteY56" fmla="*/ 4276725 h 4496940"/>
                    <a:gd name="connsiteX57" fmla="*/ 1287802 w 4519987"/>
                    <a:gd name="connsiteY57" fmla="*/ 4229100 h 4496940"/>
                    <a:gd name="connsiteX58" fmla="*/ 1221127 w 4519987"/>
                    <a:gd name="connsiteY58" fmla="*/ 4200525 h 4496940"/>
                    <a:gd name="connsiteX59" fmla="*/ 1144927 w 4519987"/>
                    <a:gd name="connsiteY59" fmla="*/ 4171950 h 4496940"/>
                    <a:gd name="connsiteX60" fmla="*/ 1087777 w 4519987"/>
                    <a:gd name="connsiteY60" fmla="*/ 4143375 h 4496940"/>
                    <a:gd name="connsiteX61" fmla="*/ 1030627 w 4519987"/>
                    <a:gd name="connsiteY61" fmla="*/ 4124325 h 4496940"/>
                    <a:gd name="connsiteX62" fmla="*/ 925852 w 4519987"/>
                    <a:gd name="connsiteY62" fmla="*/ 4067175 h 4496940"/>
                    <a:gd name="connsiteX63" fmla="*/ 830602 w 4519987"/>
                    <a:gd name="connsiteY63" fmla="*/ 3981450 h 4496940"/>
                    <a:gd name="connsiteX64" fmla="*/ 763927 w 4519987"/>
                    <a:gd name="connsiteY64" fmla="*/ 3914775 h 4496940"/>
                    <a:gd name="connsiteX65" fmla="*/ 725827 w 4519987"/>
                    <a:gd name="connsiteY65" fmla="*/ 3876675 h 4496940"/>
                    <a:gd name="connsiteX66" fmla="*/ 697252 w 4519987"/>
                    <a:gd name="connsiteY66" fmla="*/ 3838575 h 4496940"/>
                    <a:gd name="connsiteX67" fmla="*/ 640102 w 4519987"/>
                    <a:gd name="connsiteY67" fmla="*/ 3781425 h 4496940"/>
                    <a:gd name="connsiteX68" fmla="*/ 611527 w 4519987"/>
                    <a:gd name="connsiteY68" fmla="*/ 3733800 h 4496940"/>
                    <a:gd name="connsiteX69" fmla="*/ 554377 w 4519987"/>
                    <a:gd name="connsiteY69" fmla="*/ 3657600 h 4496940"/>
                    <a:gd name="connsiteX70" fmla="*/ 525802 w 4519987"/>
                    <a:gd name="connsiteY70" fmla="*/ 3609975 h 4496940"/>
                    <a:gd name="connsiteX71" fmla="*/ 497227 w 4519987"/>
                    <a:gd name="connsiteY71" fmla="*/ 3552825 h 4496940"/>
                    <a:gd name="connsiteX72" fmla="*/ 440077 w 4519987"/>
                    <a:gd name="connsiteY72" fmla="*/ 3495675 h 4496940"/>
                    <a:gd name="connsiteX73" fmla="*/ 411502 w 4519987"/>
                    <a:gd name="connsiteY73" fmla="*/ 3448050 h 4496940"/>
                    <a:gd name="connsiteX74" fmla="*/ 278152 w 4519987"/>
                    <a:gd name="connsiteY74" fmla="*/ 3257550 h 4496940"/>
                    <a:gd name="connsiteX75" fmla="*/ 249577 w 4519987"/>
                    <a:gd name="connsiteY75" fmla="*/ 3200400 h 4496940"/>
                    <a:gd name="connsiteX76" fmla="*/ 240052 w 4519987"/>
                    <a:gd name="connsiteY76" fmla="*/ 3162300 h 4496940"/>
                    <a:gd name="connsiteX77" fmla="*/ 221002 w 4519987"/>
                    <a:gd name="connsiteY77" fmla="*/ 3105150 h 4496940"/>
                    <a:gd name="connsiteX78" fmla="*/ 173377 w 4519987"/>
                    <a:gd name="connsiteY78" fmla="*/ 3019425 h 4496940"/>
                    <a:gd name="connsiteX79" fmla="*/ 144802 w 4519987"/>
                    <a:gd name="connsiteY79" fmla="*/ 2924175 h 4496940"/>
                    <a:gd name="connsiteX80" fmla="*/ 68602 w 4519987"/>
                    <a:gd name="connsiteY80" fmla="*/ 2724150 h 4496940"/>
                    <a:gd name="connsiteX81" fmla="*/ 49552 w 4519987"/>
                    <a:gd name="connsiteY81" fmla="*/ 2638425 h 4496940"/>
                    <a:gd name="connsiteX82" fmla="*/ 40027 w 4519987"/>
                    <a:gd name="connsiteY82" fmla="*/ 2562225 h 4496940"/>
                    <a:gd name="connsiteX83" fmla="*/ 30502 w 4519987"/>
                    <a:gd name="connsiteY83" fmla="*/ 2514600 h 4496940"/>
                    <a:gd name="connsiteX84" fmla="*/ 11452 w 4519987"/>
                    <a:gd name="connsiteY84" fmla="*/ 2400300 h 4496940"/>
                    <a:gd name="connsiteX85" fmla="*/ 20977 w 4519987"/>
                    <a:gd name="connsiteY85" fmla="*/ 1905000 h 4496940"/>
                    <a:gd name="connsiteX86" fmla="*/ 30502 w 4519987"/>
                    <a:gd name="connsiteY86" fmla="*/ 1838325 h 4496940"/>
                    <a:gd name="connsiteX87" fmla="*/ 49552 w 4519987"/>
                    <a:gd name="connsiteY87" fmla="*/ 1781175 h 4496940"/>
                    <a:gd name="connsiteX88" fmla="*/ 59077 w 4519987"/>
                    <a:gd name="connsiteY88" fmla="*/ 1743075 h 4496940"/>
                    <a:gd name="connsiteX89" fmla="*/ 78127 w 4519987"/>
                    <a:gd name="connsiteY89" fmla="*/ 1685925 h 4496940"/>
                    <a:gd name="connsiteX90" fmla="*/ 87652 w 4519987"/>
                    <a:gd name="connsiteY90" fmla="*/ 1638300 h 4496940"/>
                    <a:gd name="connsiteX91" fmla="*/ 106702 w 4519987"/>
                    <a:gd name="connsiteY91" fmla="*/ 1590675 h 4496940"/>
                    <a:gd name="connsiteX92" fmla="*/ 135277 w 4519987"/>
                    <a:gd name="connsiteY92" fmla="*/ 1504950 h 4496940"/>
                    <a:gd name="connsiteX93" fmla="*/ 154327 w 4519987"/>
                    <a:gd name="connsiteY93" fmla="*/ 1419225 h 4496940"/>
                    <a:gd name="connsiteX94" fmla="*/ 230527 w 4519987"/>
                    <a:gd name="connsiteY94" fmla="*/ 1276350 h 4496940"/>
                    <a:gd name="connsiteX95" fmla="*/ 240052 w 4519987"/>
                    <a:gd name="connsiteY95" fmla="*/ 1247775 h 4496940"/>
                    <a:gd name="connsiteX96" fmla="*/ 268627 w 4519987"/>
                    <a:gd name="connsiteY96" fmla="*/ 1200150 h 4496940"/>
                    <a:gd name="connsiteX97" fmla="*/ 287677 w 4519987"/>
                    <a:gd name="connsiteY97" fmla="*/ 1152525 h 4496940"/>
                    <a:gd name="connsiteX98" fmla="*/ 316252 w 4519987"/>
                    <a:gd name="connsiteY98" fmla="*/ 1114425 h 4496940"/>
                    <a:gd name="connsiteX99" fmla="*/ 363877 w 4519987"/>
                    <a:gd name="connsiteY99" fmla="*/ 1038225 h 4496940"/>
                    <a:gd name="connsiteX100" fmla="*/ 382927 w 4519987"/>
                    <a:gd name="connsiteY100" fmla="*/ 1009650 h 4496940"/>
                    <a:gd name="connsiteX101" fmla="*/ 440077 w 4519987"/>
                    <a:gd name="connsiteY101" fmla="*/ 904875 h 4496940"/>
                    <a:gd name="connsiteX102" fmla="*/ 478177 w 4519987"/>
                    <a:gd name="connsiteY102" fmla="*/ 857250 h 4496940"/>
                    <a:gd name="connsiteX103" fmla="*/ 497227 w 4519987"/>
                    <a:gd name="connsiteY103" fmla="*/ 828675 h 4496940"/>
                    <a:gd name="connsiteX104" fmla="*/ 535327 w 4519987"/>
                    <a:gd name="connsiteY104" fmla="*/ 800100 h 4496940"/>
                    <a:gd name="connsiteX105" fmla="*/ 602002 w 4519987"/>
                    <a:gd name="connsiteY105" fmla="*/ 733425 h 4496940"/>
                    <a:gd name="connsiteX106" fmla="*/ 668677 w 4519987"/>
                    <a:gd name="connsiteY106" fmla="*/ 676275 h 4496940"/>
                    <a:gd name="connsiteX107" fmla="*/ 697252 w 4519987"/>
                    <a:gd name="connsiteY107" fmla="*/ 657225 h 4496940"/>
                    <a:gd name="connsiteX108" fmla="*/ 840127 w 4519987"/>
                    <a:gd name="connsiteY108" fmla="*/ 533400 h 4496940"/>
                    <a:gd name="connsiteX109" fmla="*/ 887752 w 4519987"/>
                    <a:gd name="connsiteY109" fmla="*/ 504825 h 4496940"/>
                    <a:gd name="connsiteX110" fmla="*/ 1167152 w 4519987"/>
                    <a:gd name="connsiteY110" fmla="*/ 311150 h 4496940"/>
                    <a:gd name="connsiteX111" fmla="*/ 1268752 w 4519987"/>
                    <a:gd name="connsiteY111" fmla="*/ 285750 h 4496940"/>
                    <a:gd name="connsiteX112" fmla="*/ 1411627 w 4519987"/>
                    <a:gd name="connsiteY112" fmla="*/ 190500 h 4496940"/>
                    <a:gd name="connsiteX113" fmla="*/ 1449727 w 4519987"/>
                    <a:gd name="connsiteY113" fmla="*/ 161925 h 4496940"/>
                    <a:gd name="connsiteX114" fmla="*/ 1525927 w 4519987"/>
                    <a:gd name="connsiteY114" fmla="*/ 152400 h 4496940"/>
                    <a:gd name="connsiteX115" fmla="*/ 1583077 w 4519987"/>
                    <a:gd name="connsiteY115" fmla="*/ 142875 h 4496940"/>
                    <a:gd name="connsiteX116" fmla="*/ 1716427 w 4519987"/>
                    <a:gd name="connsiteY116" fmla="*/ 123825 h 4496940"/>
                    <a:gd name="connsiteX117" fmla="*/ 1811677 w 4519987"/>
                    <a:gd name="connsiteY117" fmla="*/ 114300 h 4496940"/>
                    <a:gd name="connsiteX118" fmla="*/ 1859302 w 4519987"/>
                    <a:gd name="connsiteY118" fmla="*/ 104775 h 4496940"/>
                    <a:gd name="connsiteX119" fmla="*/ 1916452 w 4519987"/>
                    <a:gd name="connsiteY119" fmla="*/ 95250 h 4496940"/>
                    <a:gd name="connsiteX120" fmla="*/ 2030752 w 4519987"/>
                    <a:gd name="connsiteY120" fmla="*/ 66675 h 4496940"/>
                    <a:gd name="connsiteX121" fmla="*/ 2097427 w 4519987"/>
                    <a:gd name="connsiteY121" fmla="*/ 47625 h 4496940"/>
                    <a:gd name="connsiteX122" fmla="*/ 2164102 w 4519987"/>
                    <a:gd name="connsiteY122" fmla="*/ 38100 h 4496940"/>
                    <a:gd name="connsiteX123" fmla="*/ 2392702 w 4519987"/>
                    <a:gd name="connsiteY123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335677 w 4519987"/>
                    <a:gd name="connsiteY37" fmla="*/ 4238625 h 4496940"/>
                    <a:gd name="connsiteX38" fmla="*/ 3240427 w 4519987"/>
                    <a:gd name="connsiteY38" fmla="*/ 4267200 h 4496940"/>
                    <a:gd name="connsiteX39" fmla="*/ 3068977 w 4519987"/>
                    <a:gd name="connsiteY39" fmla="*/ 4286250 h 4496940"/>
                    <a:gd name="connsiteX40" fmla="*/ 2935627 w 4519987"/>
                    <a:gd name="connsiteY40" fmla="*/ 4333875 h 4496940"/>
                    <a:gd name="connsiteX41" fmla="*/ 2811802 w 4519987"/>
                    <a:gd name="connsiteY41" fmla="*/ 4371975 h 4496940"/>
                    <a:gd name="connsiteX42" fmla="*/ 2745127 w 4519987"/>
                    <a:gd name="connsiteY42" fmla="*/ 4410075 h 4496940"/>
                    <a:gd name="connsiteX43" fmla="*/ 2697502 w 4519987"/>
                    <a:gd name="connsiteY43" fmla="*/ 4429125 h 4496940"/>
                    <a:gd name="connsiteX44" fmla="*/ 2640352 w 4519987"/>
                    <a:gd name="connsiteY44" fmla="*/ 4457700 h 4496940"/>
                    <a:gd name="connsiteX45" fmla="*/ 2583202 w 4519987"/>
                    <a:gd name="connsiteY45" fmla="*/ 4467225 h 4496940"/>
                    <a:gd name="connsiteX46" fmla="*/ 2545102 w 4519987"/>
                    <a:gd name="connsiteY46" fmla="*/ 4486275 h 4496940"/>
                    <a:gd name="connsiteX47" fmla="*/ 2306977 w 4519987"/>
                    <a:gd name="connsiteY47" fmla="*/ 4476750 h 4496940"/>
                    <a:gd name="connsiteX48" fmla="*/ 2202202 w 4519987"/>
                    <a:gd name="connsiteY48" fmla="*/ 4457700 h 4496940"/>
                    <a:gd name="connsiteX49" fmla="*/ 2126002 w 4519987"/>
                    <a:gd name="connsiteY49" fmla="*/ 4429125 h 4496940"/>
                    <a:gd name="connsiteX50" fmla="*/ 1935502 w 4519987"/>
                    <a:gd name="connsiteY50" fmla="*/ 4400550 h 4496940"/>
                    <a:gd name="connsiteX51" fmla="*/ 1821202 w 4519987"/>
                    <a:gd name="connsiteY51" fmla="*/ 4371975 h 4496940"/>
                    <a:gd name="connsiteX52" fmla="*/ 1754527 w 4519987"/>
                    <a:gd name="connsiteY52" fmla="*/ 4352925 h 4496940"/>
                    <a:gd name="connsiteX53" fmla="*/ 1687852 w 4519987"/>
                    <a:gd name="connsiteY53" fmla="*/ 4343400 h 4496940"/>
                    <a:gd name="connsiteX54" fmla="*/ 1573552 w 4519987"/>
                    <a:gd name="connsiteY54" fmla="*/ 4305300 h 4496940"/>
                    <a:gd name="connsiteX55" fmla="*/ 1402102 w 4519987"/>
                    <a:gd name="connsiteY55" fmla="*/ 4276725 h 4496940"/>
                    <a:gd name="connsiteX56" fmla="*/ 1287802 w 4519987"/>
                    <a:gd name="connsiteY56" fmla="*/ 4229100 h 4496940"/>
                    <a:gd name="connsiteX57" fmla="*/ 1221127 w 4519987"/>
                    <a:gd name="connsiteY57" fmla="*/ 4200525 h 4496940"/>
                    <a:gd name="connsiteX58" fmla="*/ 1144927 w 4519987"/>
                    <a:gd name="connsiteY58" fmla="*/ 4171950 h 4496940"/>
                    <a:gd name="connsiteX59" fmla="*/ 1087777 w 4519987"/>
                    <a:gd name="connsiteY59" fmla="*/ 4143375 h 4496940"/>
                    <a:gd name="connsiteX60" fmla="*/ 1030627 w 4519987"/>
                    <a:gd name="connsiteY60" fmla="*/ 4124325 h 4496940"/>
                    <a:gd name="connsiteX61" fmla="*/ 925852 w 4519987"/>
                    <a:gd name="connsiteY61" fmla="*/ 4067175 h 4496940"/>
                    <a:gd name="connsiteX62" fmla="*/ 830602 w 4519987"/>
                    <a:gd name="connsiteY62" fmla="*/ 3981450 h 4496940"/>
                    <a:gd name="connsiteX63" fmla="*/ 763927 w 4519987"/>
                    <a:gd name="connsiteY63" fmla="*/ 3914775 h 4496940"/>
                    <a:gd name="connsiteX64" fmla="*/ 725827 w 4519987"/>
                    <a:gd name="connsiteY64" fmla="*/ 3876675 h 4496940"/>
                    <a:gd name="connsiteX65" fmla="*/ 697252 w 4519987"/>
                    <a:gd name="connsiteY65" fmla="*/ 3838575 h 4496940"/>
                    <a:gd name="connsiteX66" fmla="*/ 640102 w 4519987"/>
                    <a:gd name="connsiteY66" fmla="*/ 3781425 h 4496940"/>
                    <a:gd name="connsiteX67" fmla="*/ 611527 w 4519987"/>
                    <a:gd name="connsiteY67" fmla="*/ 3733800 h 4496940"/>
                    <a:gd name="connsiteX68" fmla="*/ 554377 w 4519987"/>
                    <a:gd name="connsiteY68" fmla="*/ 3657600 h 4496940"/>
                    <a:gd name="connsiteX69" fmla="*/ 525802 w 4519987"/>
                    <a:gd name="connsiteY69" fmla="*/ 3609975 h 4496940"/>
                    <a:gd name="connsiteX70" fmla="*/ 497227 w 4519987"/>
                    <a:gd name="connsiteY70" fmla="*/ 3552825 h 4496940"/>
                    <a:gd name="connsiteX71" fmla="*/ 440077 w 4519987"/>
                    <a:gd name="connsiteY71" fmla="*/ 3495675 h 4496940"/>
                    <a:gd name="connsiteX72" fmla="*/ 411502 w 4519987"/>
                    <a:gd name="connsiteY72" fmla="*/ 3448050 h 4496940"/>
                    <a:gd name="connsiteX73" fmla="*/ 278152 w 4519987"/>
                    <a:gd name="connsiteY73" fmla="*/ 3257550 h 4496940"/>
                    <a:gd name="connsiteX74" fmla="*/ 249577 w 4519987"/>
                    <a:gd name="connsiteY74" fmla="*/ 3200400 h 4496940"/>
                    <a:gd name="connsiteX75" fmla="*/ 240052 w 4519987"/>
                    <a:gd name="connsiteY75" fmla="*/ 3162300 h 4496940"/>
                    <a:gd name="connsiteX76" fmla="*/ 221002 w 4519987"/>
                    <a:gd name="connsiteY76" fmla="*/ 3105150 h 4496940"/>
                    <a:gd name="connsiteX77" fmla="*/ 173377 w 4519987"/>
                    <a:gd name="connsiteY77" fmla="*/ 3019425 h 4496940"/>
                    <a:gd name="connsiteX78" fmla="*/ 144802 w 4519987"/>
                    <a:gd name="connsiteY78" fmla="*/ 2924175 h 4496940"/>
                    <a:gd name="connsiteX79" fmla="*/ 68602 w 4519987"/>
                    <a:gd name="connsiteY79" fmla="*/ 2724150 h 4496940"/>
                    <a:gd name="connsiteX80" fmla="*/ 49552 w 4519987"/>
                    <a:gd name="connsiteY80" fmla="*/ 2638425 h 4496940"/>
                    <a:gd name="connsiteX81" fmla="*/ 40027 w 4519987"/>
                    <a:gd name="connsiteY81" fmla="*/ 2562225 h 4496940"/>
                    <a:gd name="connsiteX82" fmla="*/ 30502 w 4519987"/>
                    <a:gd name="connsiteY82" fmla="*/ 2514600 h 4496940"/>
                    <a:gd name="connsiteX83" fmla="*/ 11452 w 4519987"/>
                    <a:gd name="connsiteY83" fmla="*/ 2400300 h 4496940"/>
                    <a:gd name="connsiteX84" fmla="*/ 20977 w 4519987"/>
                    <a:gd name="connsiteY84" fmla="*/ 1905000 h 4496940"/>
                    <a:gd name="connsiteX85" fmla="*/ 30502 w 4519987"/>
                    <a:gd name="connsiteY85" fmla="*/ 1838325 h 4496940"/>
                    <a:gd name="connsiteX86" fmla="*/ 49552 w 4519987"/>
                    <a:gd name="connsiteY86" fmla="*/ 1781175 h 4496940"/>
                    <a:gd name="connsiteX87" fmla="*/ 59077 w 4519987"/>
                    <a:gd name="connsiteY87" fmla="*/ 1743075 h 4496940"/>
                    <a:gd name="connsiteX88" fmla="*/ 78127 w 4519987"/>
                    <a:gd name="connsiteY88" fmla="*/ 1685925 h 4496940"/>
                    <a:gd name="connsiteX89" fmla="*/ 87652 w 4519987"/>
                    <a:gd name="connsiteY89" fmla="*/ 1638300 h 4496940"/>
                    <a:gd name="connsiteX90" fmla="*/ 106702 w 4519987"/>
                    <a:gd name="connsiteY90" fmla="*/ 1590675 h 4496940"/>
                    <a:gd name="connsiteX91" fmla="*/ 135277 w 4519987"/>
                    <a:gd name="connsiteY91" fmla="*/ 1504950 h 4496940"/>
                    <a:gd name="connsiteX92" fmla="*/ 154327 w 4519987"/>
                    <a:gd name="connsiteY92" fmla="*/ 1419225 h 4496940"/>
                    <a:gd name="connsiteX93" fmla="*/ 230527 w 4519987"/>
                    <a:gd name="connsiteY93" fmla="*/ 1276350 h 4496940"/>
                    <a:gd name="connsiteX94" fmla="*/ 240052 w 4519987"/>
                    <a:gd name="connsiteY94" fmla="*/ 1247775 h 4496940"/>
                    <a:gd name="connsiteX95" fmla="*/ 268627 w 4519987"/>
                    <a:gd name="connsiteY95" fmla="*/ 1200150 h 4496940"/>
                    <a:gd name="connsiteX96" fmla="*/ 287677 w 4519987"/>
                    <a:gd name="connsiteY96" fmla="*/ 1152525 h 4496940"/>
                    <a:gd name="connsiteX97" fmla="*/ 316252 w 4519987"/>
                    <a:gd name="connsiteY97" fmla="*/ 1114425 h 4496940"/>
                    <a:gd name="connsiteX98" fmla="*/ 363877 w 4519987"/>
                    <a:gd name="connsiteY98" fmla="*/ 1038225 h 4496940"/>
                    <a:gd name="connsiteX99" fmla="*/ 382927 w 4519987"/>
                    <a:gd name="connsiteY99" fmla="*/ 1009650 h 4496940"/>
                    <a:gd name="connsiteX100" fmla="*/ 440077 w 4519987"/>
                    <a:gd name="connsiteY100" fmla="*/ 904875 h 4496940"/>
                    <a:gd name="connsiteX101" fmla="*/ 478177 w 4519987"/>
                    <a:gd name="connsiteY101" fmla="*/ 857250 h 4496940"/>
                    <a:gd name="connsiteX102" fmla="*/ 497227 w 4519987"/>
                    <a:gd name="connsiteY102" fmla="*/ 828675 h 4496940"/>
                    <a:gd name="connsiteX103" fmla="*/ 535327 w 4519987"/>
                    <a:gd name="connsiteY103" fmla="*/ 800100 h 4496940"/>
                    <a:gd name="connsiteX104" fmla="*/ 602002 w 4519987"/>
                    <a:gd name="connsiteY104" fmla="*/ 733425 h 4496940"/>
                    <a:gd name="connsiteX105" fmla="*/ 668677 w 4519987"/>
                    <a:gd name="connsiteY105" fmla="*/ 676275 h 4496940"/>
                    <a:gd name="connsiteX106" fmla="*/ 697252 w 4519987"/>
                    <a:gd name="connsiteY106" fmla="*/ 657225 h 4496940"/>
                    <a:gd name="connsiteX107" fmla="*/ 840127 w 4519987"/>
                    <a:gd name="connsiteY107" fmla="*/ 533400 h 4496940"/>
                    <a:gd name="connsiteX108" fmla="*/ 887752 w 4519987"/>
                    <a:gd name="connsiteY108" fmla="*/ 504825 h 4496940"/>
                    <a:gd name="connsiteX109" fmla="*/ 1167152 w 4519987"/>
                    <a:gd name="connsiteY109" fmla="*/ 311150 h 4496940"/>
                    <a:gd name="connsiteX110" fmla="*/ 1268752 w 4519987"/>
                    <a:gd name="connsiteY110" fmla="*/ 285750 h 4496940"/>
                    <a:gd name="connsiteX111" fmla="*/ 1411627 w 4519987"/>
                    <a:gd name="connsiteY111" fmla="*/ 190500 h 4496940"/>
                    <a:gd name="connsiteX112" fmla="*/ 1449727 w 4519987"/>
                    <a:gd name="connsiteY112" fmla="*/ 161925 h 4496940"/>
                    <a:gd name="connsiteX113" fmla="*/ 1525927 w 4519987"/>
                    <a:gd name="connsiteY113" fmla="*/ 152400 h 4496940"/>
                    <a:gd name="connsiteX114" fmla="*/ 1583077 w 4519987"/>
                    <a:gd name="connsiteY114" fmla="*/ 142875 h 4496940"/>
                    <a:gd name="connsiteX115" fmla="*/ 1716427 w 4519987"/>
                    <a:gd name="connsiteY115" fmla="*/ 123825 h 4496940"/>
                    <a:gd name="connsiteX116" fmla="*/ 1811677 w 4519987"/>
                    <a:gd name="connsiteY116" fmla="*/ 114300 h 4496940"/>
                    <a:gd name="connsiteX117" fmla="*/ 1859302 w 4519987"/>
                    <a:gd name="connsiteY117" fmla="*/ 104775 h 4496940"/>
                    <a:gd name="connsiteX118" fmla="*/ 1916452 w 4519987"/>
                    <a:gd name="connsiteY118" fmla="*/ 95250 h 4496940"/>
                    <a:gd name="connsiteX119" fmla="*/ 2030752 w 4519987"/>
                    <a:gd name="connsiteY119" fmla="*/ 66675 h 4496940"/>
                    <a:gd name="connsiteX120" fmla="*/ 2097427 w 4519987"/>
                    <a:gd name="connsiteY120" fmla="*/ 47625 h 4496940"/>
                    <a:gd name="connsiteX121" fmla="*/ 2164102 w 4519987"/>
                    <a:gd name="connsiteY121" fmla="*/ 38100 h 4496940"/>
                    <a:gd name="connsiteX122" fmla="*/ 2392702 w 4519987"/>
                    <a:gd name="connsiteY122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40427 w 4519987"/>
                    <a:gd name="connsiteY37" fmla="*/ 426720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97502 w 4519987"/>
                    <a:gd name="connsiteY42" fmla="*/ 4429125 h 4496940"/>
                    <a:gd name="connsiteX43" fmla="*/ 2640352 w 4519987"/>
                    <a:gd name="connsiteY43" fmla="*/ 4457700 h 4496940"/>
                    <a:gd name="connsiteX44" fmla="*/ 2583202 w 4519987"/>
                    <a:gd name="connsiteY44" fmla="*/ 4467225 h 4496940"/>
                    <a:gd name="connsiteX45" fmla="*/ 2545102 w 4519987"/>
                    <a:gd name="connsiteY45" fmla="*/ 4486275 h 4496940"/>
                    <a:gd name="connsiteX46" fmla="*/ 2306977 w 4519987"/>
                    <a:gd name="connsiteY46" fmla="*/ 4476750 h 4496940"/>
                    <a:gd name="connsiteX47" fmla="*/ 2202202 w 4519987"/>
                    <a:gd name="connsiteY47" fmla="*/ 4457700 h 4496940"/>
                    <a:gd name="connsiteX48" fmla="*/ 2126002 w 4519987"/>
                    <a:gd name="connsiteY48" fmla="*/ 4429125 h 4496940"/>
                    <a:gd name="connsiteX49" fmla="*/ 1935502 w 4519987"/>
                    <a:gd name="connsiteY49" fmla="*/ 4400550 h 4496940"/>
                    <a:gd name="connsiteX50" fmla="*/ 1821202 w 4519987"/>
                    <a:gd name="connsiteY50" fmla="*/ 4371975 h 4496940"/>
                    <a:gd name="connsiteX51" fmla="*/ 1754527 w 4519987"/>
                    <a:gd name="connsiteY51" fmla="*/ 4352925 h 4496940"/>
                    <a:gd name="connsiteX52" fmla="*/ 1687852 w 4519987"/>
                    <a:gd name="connsiteY52" fmla="*/ 4343400 h 4496940"/>
                    <a:gd name="connsiteX53" fmla="*/ 1573552 w 4519987"/>
                    <a:gd name="connsiteY53" fmla="*/ 4305300 h 4496940"/>
                    <a:gd name="connsiteX54" fmla="*/ 1402102 w 4519987"/>
                    <a:gd name="connsiteY54" fmla="*/ 4276725 h 4496940"/>
                    <a:gd name="connsiteX55" fmla="*/ 1287802 w 4519987"/>
                    <a:gd name="connsiteY55" fmla="*/ 4229100 h 4496940"/>
                    <a:gd name="connsiteX56" fmla="*/ 1221127 w 4519987"/>
                    <a:gd name="connsiteY56" fmla="*/ 4200525 h 4496940"/>
                    <a:gd name="connsiteX57" fmla="*/ 1144927 w 4519987"/>
                    <a:gd name="connsiteY57" fmla="*/ 4171950 h 4496940"/>
                    <a:gd name="connsiteX58" fmla="*/ 1087777 w 4519987"/>
                    <a:gd name="connsiteY58" fmla="*/ 4143375 h 4496940"/>
                    <a:gd name="connsiteX59" fmla="*/ 1030627 w 4519987"/>
                    <a:gd name="connsiteY59" fmla="*/ 4124325 h 4496940"/>
                    <a:gd name="connsiteX60" fmla="*/ 925852 w 4519987"/>
                    <a:gd name="connsiteY60" fmla="*/ 4067175 h 4496940"/>
                    <a:gd name="connsiteX61" fmla="*/ 830602 w 4519987"/>
                    <a:gd name="connsiteY61" fmla="*/ 3981450 h 4496940"/>
                    <a:gd name="connsiteX62" fmla="*/ 763927 w 4519987"/>
                    <a:gd name="connsiteY62" fmla="*/ 3914775 h 4496940"/>
                    <a:gd name="connsiteX63" fmla="*/ 725827 w 4519987"/>
                    <a:gd name="connsiteY63" fmla="*/ 3876675 h 4496940"/>
                    <a:gd name="connsiteX64" fmla="*/ 697252 w 4519987"/>
                    <a:gd name="connsiteY64" fmla="*/ 3838575 h 4496940"/>
                    <a:gd name="connsiteX65" fmla="*/ 640102 w 4519987"/>
                    <a:gd name="connsiteY65" fmla="*/ 3781425 h 4496940"/>
                    <a:gd name="connsiteX66" fmla="*/ 611527 w 4519987"/>
                    <a:gd name="connsiteY66" fmla="*/ 3733800 h 4496940"/>
                    <a:gd name="connsiteX67" fmla="*/ 554377 w 4519987"/>
                    <a:gd name="connsiteY67" fmla="*/ 3657600 h 4496940"/>
                    <a:gd name="connsiteX68" fmla="*/ 525802 w 4519987"/>
                    <a:gd name="connsiteY68" fmla="*/ 3609975 h 4496940"/>
                    <a:gd name="connsiteX69" fmla="*/ 497227 w 4519987"/>
                    <a:gd name="connsiteY69" fmla="*/ 3552825 h 4496940"/>
                    <a:gd name="connsiteX70" fmla="*/ 440077 w 4519987"/>
                    <a:gd name="connsiteY70" fmla="*/ 3495675 h 4496940"/>
                    <a:gd name="connsiteX71" fmla="*/ 411502 w 4519987"/>
                    <a:gd name="connsiteY71" fmla="*/ 3448050 h 4496940"/>
                    <a:gd name="connsiteX72" fmla="*/ 278152 w 4519987"/>
                    <a:gd name="connsiteY72" fmla="*/ 3257550 h 4496940"/>
                    <a:gd name="connsiteX73" fmla="*/ 249577 w 4519987"/>
                    <a:gd name="connsiteY73" fmla="*/ 3200400 h 4496940"/>
                    <a:gd name="connsiteX74" fmla="*/ 240052 w 4519987"/>
                    <a:gd name="connsiteY74" fmla="*/ 3162300 h 4496940"/>
                    <a:gd name="connsiteX75" fmla="*/ 221002 w 4519987"/>
                    <a:gd name="connsiteY75" fmla="*/ 3105150 h 4496940"/>
                    <a:gd name="connsiteX76" fmla="*/ 173377 w 4519987"/>
                    <a:gd name="connsiteY76" fmla="*/ 3019425 h 4496940"/>
                    <a:gd name="connsiteX77" fmla="*/ 144802 w 4519987"/>
                    <a:gd name="connsiteY77" fmla="*/ 2924175 h 4496940"/>
                    <a:gd name="connsiteX78" fmla="*/ 68602 w 4519987"/>
                    <a:gd name="connsiteY78" fmla="*/ 2724150 h 4496940"/>
                    <a:gd name="connsiteX79" fmla="*/ 49552 w 4519987"/>
                    <a:gd name="connsiteY79" fmla="*/ 2638425 h 4496940"/>
                    <a:gd name="connsiteX80" fmla="*/ 40027 w 4519987"/>
                    <a:gd name="connsiteY80" fmla="*/ 2562225 h 4496940"/>
                    <a:gd name="connsiteX81" fmla="*/ 30502 w 4519987"/>
                    <a:gd name="connsiteY81" fmla="*/ 2514600 h 4496940"/>
                    <a:gd name="connsiteX82" fmla="*/ 11452 w 4519987"/>
                    <a:gd name="connsiteY82" fmla="*/ 2400300 h 4496940"/>
                    <a:gd name="connsiteX83" fmla="*/ 20977 w 4519987"/>
                    <a:gd name="connsiteY83" fmla="*/ 1905000 h 4496940"/>
                    <a:gd name="connsiteX84" fmla="*/ 30502 w 4519987"/>
                    <a:gd name="connsiteY84" fmla="*/ 1838325 h 4496940"/>
                    <a:gd name="connsiteX85" fmla="*/ 49552 w 4519987"/>
                    <a:gd name="connsiteY85" fmla="*/ 1781175 h 4496940"/>
                    <a:gd name="connsiteX86" fmla="*/ 59077 w 4519987"/>
                    <a:gd name="connsiteY86" fmla="*/ 1743075 h 4496940"/>
                    <a:gd name="connsiteX87" fmla="*/ 78127 w 4519987"/>
                    <a:gd name="connsiteY87" fmla="*/ 1685925 h 4496940"/>
                    <a:gd name="connsiteX88" fmla="*/ 87652 w 4519987"/>
                    <a:gd name="connsiteY88" fmla="*/ 1638300 h 4496940"/>
                    <a:gd name="connsiteX89" fmla="*/ 106702 w 4519987"/>
                    <a:gd name="connsiteY89" fmla="*/ 1590675 h 4496940"/>
                    <a:gd name="connsiteX90" fmla="*/ 135277 w 4519987"/>
                    <a:gd name="connsiteY90" fmla="*/ 1504950 h 4496940"/>
                    <a:gd name="connsiteX91" fmla="*/ 154327 w 4519987"/>
                    <a:gd name="connsiteY91" fmla="*/ 1419225 h 4496940"/>
                    <a:gd name="connsiteX92" fmla="*/ 230527 w 4519987"/>
                    <a:gd name="connsiteY92" fmla="*/ 1276350 h 4496940"/>
                    <a:gd name="connsiteX93" fmla="*/ 240052 w 4519987"/>
                    <a:gd name="connsiteY93" fmla="*/ 1247775 h 4496940"/>
                    <a:gd name="connsiteX94" fmla="*/ 268627 w 4519987"/>
                    <a:gd name="connsiteY94" fmla="*/ 1200150 h 4496940"/>
                    <a:gd name="connsiteX95" fmla="*/ 287677 w 4519987"/>
                    <a:gd name="connsiteY95" fmla="*/ 1152525 h 4496940"/>
                    <a:gd name="connsiteX96" fmla="*/ 316252 w 4519987"/>
                    <a:gd name="connsiteY96" fmla="*/ 1114425 h 4496940"/>
                    <a:gd name="connsiteX97" fmla="*/ 363877 w 4519987"/>
                    <a:gd name="connsiteY97" fmla="*/ 1038225 h 4496940"/>
                    <a:gd name="connsiteX98" fmla="*/ 382927 w 4519987"/>
                    <a:gd name="connsiteY98" fmla="*/ 1009650 h 4496940"/>
                    <a:gd name="connsiteX99" fmla="*/ 440077 w 4519987"/>
                    <a:gd name="connsiteY99" fmla="*/ 904875 h 4496940"/>
                    <a:gd name="connsiteX100" fmla="*/ 478177 w 4519987"/>
                    <a:gd name="connsiteY100" fmla="*/ 857250 h 4496940"/>
                    <a:gd name="connsiteX101" fmla="*/ 497227 w 4519987"/>
                    <a:gd name="connsiteY101" fmla="*/ 828675 h 4496940"/>
                    <a:gd name="connsiteX102" fmla="*/ 535327 w 4519987"/>
                    <a:gd name="connsiteY102" fmla="*/ 800100 h 4496940"/>
                    <a:gd name="connsiteX103" fmla="*/ 602002 w 4519987"/>
                    <a:gd name="connsiteY103" fmla="*/ 733425 h 4496940"/>
                    <a:gd name="connsiteX104" fmla="*/ 668677 w 4519987"/>
                    <a:gd name="connsiteY104" fmla="*/ 676275 h 4496940"/>
                    <a:gd name="connsiteX105" fmla="*/ 697252 w 4519987"/>
                    <a:gd name="connsiteY105" fmla="*/ 657225 h 4496940"/>
                    <a:gd name="connsiteX106" fmla="*/ 840127 w 4519987"/>
                    <a:gd name="connsiteY106" fmla="*/ 533400 h 4496940"/>
                    <a:gd name="connsiteX107" fmla="*/ 887752 w 4519987"/>
                    <a:gd name="connsiteY107" fmla="*/ 504825 h 4496940"/>
                    <a:gd name="connsiteX108" fmla="*/ 1167152 w 4519987"/>
                    <a:gd name="connsiteY108" fmla="*/ 311150 h 4496940"/>
                    <a:gd name="connsiteX109" fmla="*/ 1268752 w 4519987"/>
                    <a:gd name="connsiteY109" fmla="*/ 285750 h 4496940"/>
                    <a:gd name="connsiteX110" fmla="*/ 1411627 w 4519987"/>
                    <a:gd name="connsiteY110" fmla="*/ 190500 h 4496940"/>
                    <a:gd name="connsiteX111" fmla="*/ 1449727 w 4519987"/>
                    <a:gd name="connsiteY111" fmla="*/ 161925 h 4496940"/>
                    <a:gd name="connsiteX112" fmla="*/ 1525927 w 4519987"/>
                    <a:gd name="connsiteY112" fmla="*/ 152400 h 4496940"/>
                    <a:gd name="connsiteX113" fmla="*/ 1583077 w 4519987"/>
                    <a:gd name="connsiteY113" fmla="*/ 142875 h 4496940"/>
                    <a:gd name="connsiteX114" fmla="*/ 1716427 w 4519987"/>
                    <a:gd name="connsiteY114" fmla="*/ 123825 h 4496940"/>
                    <a:gd name="connsiteX115" fmla="*/ 1811677 w 4519987"/>
                    <a:gd name="connsiteY115" fmla="*/ 114300 h 4496940"/>
                    <a:gd name="connsiteX116" fmla="*/ 1859302 w 4519987"/>
                    <a:gd name="connsiteY116" fmla="*/ 104775 h 4496940"/>
                    <a:gd name="connsiteX117" fmla="*/ 1916452 w 4519987"/>
                    <a:gd name="connsiteY117" fmla="*/ 95250 h 4496940"/>
                    <a:gd name="connsiteX118" fmla="*/ 2030752 w 4519987"/>
                    <a:gd name="connsiteY118" fmla="*/ 66675 h 4496940"/>
                    <a:gd name="connsiteX119" fmla="*/ 2097427 w 4519987"/>
                    <a:gd name="connsiteY119" fmla="*/ 47625 h 4496940"/>
                    <a:gd name="connsiteX120" fmla="*/ 2164102 w 4519987"/>
                    <a:gd name="connsiteY120" fmla="*/ 38100 h 4496940"/>
                    <a:gd name="connsiteX121" fmla="*/ 2392702 w 4519987"/>
                    <a:gd name="connsiteY121" fmla="*/ 28575 h 4496940"/>
                    <a:gd name="connsiteX0" fmla="*/ 2297452 w 4519987"/>
                    <a:gd name="connsiteY0" fmla="*/ 0 h 4496940"/>
                    <a:gd name="connsiteX1" fmla="*/ 2421277 w 4519987"/>
                    <a:gd name="connsiteY1" fmla="*/ 28575 h 4496940"/>
                    <a:gd name="connsiteX2" fmla="*/ 2497477 w 4519987"/>
                    <a:gd name="connsiteY2" fmla="*/ 47625 h 4496940"/>
                    <a:gd name="connsiteX3" fmla="*/ 2754652 w 4519987"/>
                    <a:gd name="connsiteY3" fmla="*/ 66675 h 4496940"/>
                    <a:gd name="connsiteX4" fmla="*/ 2830852 w 4519987"/>
                    <a:gd name="connsiteY4" fmla="*/ 76200 h 4496940"/>
                    <a:gd name="connsiteX5" fmla="*/ 2916577 w 4519987"/>
                    <a:gd name="connsiteY5" fmla="*/ 85725 h 4496940"/>
                    <a:gd name="connsiteX6" fmla="*/ 2973727 w 4519987"/>
                    <a:gd name="connsiteY6" fmla="*/ 114300 h 4496940"/>
                    <a:gd name="connsiteX7" fmla="*/ 3011827 w 4519987"/>
                    <a:gd name="connsiteY7" fmla="*/ 123825 h 4496940"/>
                    <a:gd name="connsiteX8" fmla="*/ 3135652 w 4519987"/>
                    <a:gd name="connsiteY8" fmla="*/ 171450 h 4496940"/>
                    <a:gd name="connsiteX9" fmla="*/ 3173752 w 4519987"/>
                    <a:gd name="connsiteY9" fmla="*/ 190500 h 4496940"/>
                    <a:gd name="connsiteX10" fmla="*/ 3240427 w 4519987"/>
                    <a:gd name="connsiteY10" fmla="*/ 228600 h 4496940"/>
                    <a:gd name="connsiteX11" fmla="*/ 3269002 w 4519987"/>
                    <a:gd name="connsiteY11" fmla="*/ 238125 h 4496940"/>
                    <a:gd name="connsiteX12" fmla="*/ 3297577 w 4519987"/>
                    <a:gd name="connsiteY12" fmla="*/ 257175 h 4496940"/>
                    <a:gd name="connsiteX13" fmla="*/ 3326152 w 4519987"/>
                    <a:gd name="connsiteY13" fmla="*/ 266700 h 4496940"/>
                    <a:gd name="connsiteX14" fmla="*/ 3354727 w 4519987"/>
                    <a:gd name="connsiteY14" fmla="*/ 285750 h 4496940"/>
                    <a:gd name="connsiteX15" fmla="*/ 3421402 w 4519987"/>
                    <a:gd name="connsiteY15" fmla="*/ 323850 h 4496940"/>
                    <a:gd name="connsiteX16" fmla="*/ 3469027 w 4519987"/>
                    <a:gd name="connsiteY16" fmla="*/ 361950 h 4496940"/>
                    <a:gd name="connsiteX17" fmla="*/ 3516652 w 4519987"/>
                    <a:gd name="connsiteY17" fmla="*/ 390525 h 4496940"/>
                    <a:gd name="connsiteX18" fmla="*/ 3630952 w 4519987"/>
                    <a:gd name="connsiteY18" fmla="*/ 485775 h 4496940"/>
                    <a:gd name="connsiteX19" fmla="*/ 3745252 w 4519987"/>
                    <a:gd name="connsiteY19" fmla="*/ 542925 h 4496940"/>
                    <a:gd name="connsiteX20" fmla="*/ 3811927 w 4519987"/>
                    <a:gd name="connsiteY20" fmla="*/ 581025 h 4496940"/>
                    <a:gd name="connsiteX21" fmla="*/ 4027827 w 4519987"/>
                    <a:gd name="connsiteY21" fmla="*/ 819150 h 4496940"/>
                    <a:gd name="connsiteX22" fmla="*/ 4164352 w 4519987"/>
                    <a:gd name="connsiteY22" fmla="*/ 990600 h 4496940"/>
                    <a:gd name="connsiteX23" fmla="*/ 4250077 w 4519987"/>
                    <a:gd name="connsiteY23" fmla="*/ 1143000 h 4496940"/>
                    <a:gd name="connsiteX24" fmla="*/ 4307227 w 4519987"/>
                    <a:gd name="connsiteY24" fmla="*/ 1266825 h 4496940"/>
                    <a:gd name="connsiteX25" fmla="*/ 4345327 w 4519987"/>
                    <a:gd name="connsiteY25" fmla="*/ 1362075 h 4496940"/>
                    <a:gd name="connsiteX26" fmla="*/ 4392952 w 4519987"/>
                    <a:gd name="connsiteY26" fmla="*/ 1552575 h 4496940"/>
                    <a:gd name="connsiteX27" fmla="*/ 4431052 w 4519987"/>
                    <a:gd name="connsiteY27" fmla="*/ 1685925 h 4496940"/>
                    <a:gd name="connsiteX28" fmla="*/ 4519952 w 4519987"/>
                    <a:gd name="connsiteY28" fmla="*/ 2181225 h 4496940"/>
                    <a:gd name="connsiteX29" fmla="*/ 4446927 w 4519987"/>
                    <a:gd name="connsiteY29" fmla="*/ 2768600 h 4496940"/>
                    <a:gd name="connsiteX30" fmla="*/ 4383427 w 4519987"/>
                    <a:gd name="connsiteY30" fmla="*/ 2990850 h 4496940"/>
                    <a:gd name="connsiteX31" fmla="*/ 4278652 w 4519987"/>
                    <a:gd name="connsiteY31" fmla="*/ 3248025 h 4496940"/>
                    <a:gd name="connsiteX32" fmla="*/ 4183402 w 4519987"/>
                    <a:gd name="connsiteY32" fmla="*/ 3400425 h 4496940"/>
                    <a:gd name="connsiteX33" fmla="*/ 4059577 w 4519987"/>
                    <a:gd name="connsiteY33" fmla="*/ 3533775 h 4496940"/>
                    <a:gd name="connsiteX34" fmla="*/ 3954802 w 4519987"/>
                    <a:gd name="connsiteY34" fmla="*/ 3648075 h 4496940"/>
                    <a:gd name="connsiteX35" fmla="*/ 3659527 w 4519987"/>
                    <a:gd name="connsiteY35" fmla="*/ 3971925 h 4496940"/>
                    <a:gd name="connsiteX36" fmla="*/ 3516652 w 4519987"/>
                    <a:gd name="connsiteY36" fmla="*/ 4083050 h 4496940"/>
                    <a:gd name="connsiteX37" fmla="*/ 3221377 w 4519987"/>
                    <a:gd name="connsiteY37" fmla="*/ 4222750 h 4496940"/>
                    <a:gd name="connsiteX38" fmla="*/ 3068977 w 4519987"/>
                    <a:gd name="connsiteY38" fmla="*/ 4286250 h 4496940"/>
                    <a:gd name="connsiteX39" fmla="*/ 2935627 w 4519987"/>
                    <a:gd name="connsiteY39" fmla="*/ 4333875 h 4496940"/>
                    <a:gd name="connsiteX40" fmla="*/ 2811802 w 4519987"/>
                    <a:gd name="connsiteY40" fmla="*/ 4371975 h 4496940"/>
                    <a:gd name="connsiteX41" fmla="*/ 2745127 w 4519987"/>
                    <a:gd name="connsiteY41" fmla="*/ 4410075 h 4496940"/>
                    <a:gd name="connsiteX42" fmla="*/ 2640352 w 4519987"/>
                    <a:gd name="connsiteY42" fmla="*/ 4457700 h 4496940"/>
                    <a:gd name="connsiteX43" fmla="*/ 2583202 w 4519987"/>
                    <a:gd name="connsiteY43" fmla="*/ 4467225 h 4496940"/>
                    <a:gd name="connsiteX44" fmla="*/ 2545102 w 4519987"/>
                    <a:gd name="connsiteY44" fmla="*/ 4486275 h 4496940"/>
                    <a:gd name="connsiteX45" fmla="*/ 2306977 w 4519987"/>
                    <a:gd name="connsiteY45" fmla="*/ 4476750 h 4496940"/>
                    <a:gd name="connsiteX46" fmla="*/ 2202202 w 4519987"/>
                    <a:gd name="connsiteY46" fmla="*/ 4457700 h 4496940"/>
                    <a:gd name="connsiteX47" fmla="*/ 2126002 w 4519987"/>
                    <a:gd name="connsiteY47" fmla="*/ 4429125 h 4496940"/>
                    <a:gd name="connsiteX48" fmla="*/ 1935502 w 4519987"/>
                    <a:gd name="connsiteY48" fmla="*/ 4400550 h 4496940"/>
                    <a:gd name="connsiteX49" fmla="*/ 1821202 w 4519987"/>
                    <a:gd name="connsiteY49" fmla="*/ 4371975 h 4496940"/>
                    <a:gd name="connsiteX50" fmla="*/ 1754527 w 4519987"/>
                    <a:gd name="connsiteY50" fmla="*/ 4352925 h 4496940"/>
                    <a:gd name="connsiteX51" fmla="*/ 1687852 w 4519987"/>
                    <a:gd name="connsiteY51" fmla="*/ 4343400 h 4496940"/>
                    <a:gd name="connsiteX52" fmla="*/ 1573552 w 4519987"/>
                    <a:gd name="connsiteY52" fmla="*/ 4305300 h 4496940"/>
                    <a:gd name="connsiteX53" fmla="*/ 1402102 w 4519987"/>
                    <a:gd name="connsiteY53" fmla="*/ 4276725 h 4496940"/>
                    <a:gd name="connsiteX54" fmla="*/ 1287802 w 4519987"/>
                    <a:gd name="connsiteY54" fmla="*/ 4229100 h 4496940"/>
                    <a:gd name="connsiteX55" fmla="*/ 1221127 w 4519987"/>
                    <a:gd name="connsiteY55" fmla="*/ 4200525 h 4496940"/>
                    <a:gd name="connsiteX56" fmla="*/ 1144927 w 4519987"/>
                    <a:gd name="connsiteY56" fmla="*/ 4171950 h 4496940"/>
                    <a:gd name="connsiteX57" fmla="*/ 1087777 w 4519987"/>
                    <a:gd name="connsiteY57" fmla="*/ 4143375 h 4496940"/>
                    <a:gd name="connsiteX58" fmla="*/ 1030627 w 4519987"/>
                    <a:gd name="connsiteY58" fmla="*/ 4124325 h 4496940"/>
                    <a:gd name="connsiteX59" fmla="*/ 925852 w 4519987"/>
                    <a:gd name="connsiteY59" fmla="*/ 4067175 h 4496940"/>
                    <a:gd name="connsiteX60" fmla="*/ 830602 w 4519987"/>
                    <a:gd name="connsiteY60" fmla="*/ 3981450 h 4496940"/>
                    <a:gd name="connsiteX61" fmla="*/ 763927 w 4519987"/>
                    <a:gd name="connsiteY61" fmla="*/ 3914775 h 4496940"/>
                    <a:gd name="connsiteX62" fmla="*/ 725827 w 4519987"/>
                    <a:gd name="connsiteY62" fmla="*/ 3876675 h 4496940"/>
                    <a:gd name="connsiteX63" fmla="*/ 697252 w 4519987"/>
                    <a:gd name="connsiteY63" fmla="*/ 3838575 h 4496940"/>
                    <a:gd name="connsiteX64" fmla="*/ 640102 w 4519987"/>
                    <a:gd name="connsiteY64" fmla="*/ 3781425 h 4496940"/>
                    <a:gd name="connsiteX65" fmla="*/ 611527 w 4519987"/>
                    <a:gd name="connsiteY65" fmla="*/ 3733800 h 4496940"/>
                    <a:gd name="connsiteX66" fmla="*/ 554377 w 4519987"/>
                    <a:gd name="connsiteY66" fmla="*/ 3657600 h 4496940"/>
                    <a:gd name="connsiteX67" fmla="*/ 525802 w 4519987"/>
                    <a:gd name="connsiteY67" fmla="*/ 3609975 h 4496940"/>
                    <a:gd name="connsiteX68" fmla="*/ 497227 w 4519987"/>
                    <a:gd name="connsiteY68" fmla="*/ 3552825 h 4496940"/>
                    <a:gd name="connsiteX69" fmla="*/ 440077 w 4519987"/>
                    <a:gd name="connsiteY69" fmla="*/ 3495675 h 4496940"/>
                    <a:gd name="connsiteX70" fmla="*/ 411502 w 4519987"/>
                    <a:gd name="connsiteY70" fmla="*/ 3448050 h 4496940"/>
                    <a:gd name="connsiteX71" fmla="*/ 278152 w 4519987"/>
                    <a:gd name="connsiteY71" fmla="*/ 3257550 h 4496940"/>
                    <a:gd name="connsiteX72" fmla="*/ 249577 w 4519987"/>
                    <a:gd name="connsiteY72" fmla="*/ 3200400 h 4496940"/>
                    <a:gd name="connsiteX73" fmla="*/ 240052 w 4519987"/>
                    <a:gd name="connsiteY73" fmla="*/ 3162300 h 4496940"/>
                    <a:gd name="connsiteX74" fmla="*/ 221002 w 4519987"/>
                    <a:gd name="connsiteY74" fmla="*/ 3105150 h 4496940"/>
                    <a:gd name="connsiteX75" fmla="*/ 173377 w 4519987"/>
                    <a:gd name="connsiteY75" fmla="*/ 3019425 h 4496940"/>
                    <a:gd name="connsiteX76" fmla="*/ 144802 w 4519987"/>
                    <a:gd name="connsiteY76" fmla="*/ 2924175 h 4496940"/>
                    <a:gd name="connsiteX77" fmla="*/ 68602 w 4519987"/>
                    <a:gd name="connsiteY77" fmla="*/ 2724150 h 4496940"/>
                    <a:gd name="connsiteX78" fmla="*/ 49552 w 4519987"/>
                    <a:gd name="connsiteY78" fmla="*/ 2638425 h 4496940"/>
                    <a:gd name="connsiteX79" fmla="*/ 40027 w 4519987"/>
                    <a:gd name="connsiteY79" fmla="*/ 2562225 h 4496940"/>
                    <a:gd name="connsiteX80" fmla="*/ 30502 w 4519987"/>
                    <a:gd name="connsiteY80" fmla="*/ 2514600 h 4496940"/>
                    <a:gd name="connsiteX81" fmla="*/ 11452 w 4519987"/>
                    <a:gd name="connsiteY81" fmla="*/ 2400300 h 4496940"/>
                    <a:gd name="connsiteX82" fmla="*/ 20977 w 4519987"/>
                    <a:gd name="connsiteY82" fmla="*/ 1905000 h 4496940"/>
                    <a:gd name="connsiteX83" fmla="*/ 30502 w 4519987"/>
                    <a:gd name="connsiteY83" fmla="*/ 1838325 h 4496940"/>
                    <a:gd name="connsiteX84" fmla="*/ 49552 w 4519987"/>
                    <a:gd name="connsiteY84" fmla="*/ 1781175 h 4496940"/>
                    <a:gd name="connsiteX85" fmla="*/ 59077 w 4519987"/>
                    <a:gd name="connsiteY85" fmla="*/ 1743075 h 4496940"/>
                    <a:gd name="connsiteX86" fmla="*/ 78127 w 4519987"/>
                    <a:gd name="connsiteY86" fmla="*/ 1685925 h 4496940"/>
                    <a:gd name="connsiteX87" fmla="*/ 87652 w 4519987"/>
                    <a:gd name="connsiteY87" fmla="*/ 1638300 h 4496940"/>
                    <a:gd name="connsiteX88" fmla="*/ 106702 w 4519987"/>
                    <a:gd name="connsiteY88" fmla="*/ 1590675 h 4496940"/>
                    <a:gd name="connsiteX89" fmla="*/ 135277 w 4519987"/>
                    <a:gd name="connsiteY89" fmla="*/ 1504950 h 4496940"/>
                    <a:gd name="connsiteX90" fmla="*/ 154327 w 4519987"/>
                    <a:gd name="connsiteY90" fmla="*/ 1419225 h 4496940"/>
                    <a:gd name="connsiteX91" fmla="*/ 230527 w 4519987"/>
                    <a:gd name="connsiteY91" fmla="*/ 1276350 h 4496940"/>
                    <a:gd name="connsiteX92" fmla="*/ 240052 w 4519987"/>
                    <a:gd name="connsiteY92" fmla="*/ 1247775 h 4496940"/>
                    <a:gd name="connsiteX93" fmla="*/ 268627 w 4519987"/>
                    <a:gd name="connsiteY93" fmla="*/ 1200150 h 4496940"/>
                    <a:gd name="connsiteX94" fmla="*/ 287677 w 4519987"/>
                    <a:gd name="connsiteY94" fmla="*/ 1152525 h 4496940"/>
                    <a:gd name="connsiteX95" fmla="*/ 316252 w 4519987"/>
                    <a:gd name="connsiteY95" fmla="*/ 1114425 h 4496940"/>
                    <a:gd name="connsiteX96" fmla="*/ 363877 w 4519987"/>
                    <a:gd name="connsiteY96" fmla="*/ 1038225 h 4496940"/>
                    <a:gd name="connsiteX97" fmla="*/ 382927 w 4519987"/>
                    <a:gd name="connsiteY97" fmla="*/ 1009650 h 4496940"/>
                    <a:gd name="connsiteX98" fmla="*/ 440077 w 4519987"/>
                    <a:gd name="connsiteY98" fmla="*/ 904875 h 4496940"/>
                    <a:gd name="connsiteX99" fmla="*/ 478177 w 4519987"/>
                    <a:gd name="connsiteY99" fmla="*/ 857250 h 4496940"/>
                    <a:gd name="connsiteX100" fmla="*/ 497227 w 4519987"/>
                    <a:gd name="connsiteY100" fmla="*/ 828675 h 4496940"/>
                    <a:gd name="connsiteX101" fmla="*/ 535327 w 4519987"/>
                    <a:gd name="connsiteY101" fmla="*/ 800100 h 4496940"/>
                    <a:gd name="connsiteX102" fmla="*/ 602002 w 4519987"/>
                    <a:gd name="connsiteY102" fmla="*/ 733425 h 4496940"/>
                    <a:gd name="connsiteX103" fmla="*/ 668677 w 4519987"/>
                    <a:gd name="connsiteY103" fmla="*/ 676275 h 4496940"/>
                    <a:gd name="connsiteX104" fmla="*/ 697252 w 4519987"/>
                    <a:gd name="connsiteY104" fmla="*/ 657225 h 4496940"/>
                    <a:gd name="connsiteX105" fmla="*/ 840127 w 4519987"/>
                    <a:gd name="connsiteY105" fmla="*/ 533400 h 4496940"/>
                    <a:gd name="connsiteX106" fmla="*/ 887752 w 4519987"/>
                    <a:gd name="connsiteY106" fmla="*/ 504825 h 4496940"/>
                    <a:gd name="connsiteX107" fmla="*/ 1167152 w 4519987"/>
                    <a:gd name="connsiteY107" fmla="*/ 311150 h 4496940"/>
                    <a:gd name="connsiteX108" fmla="*/ 1268752 w 4519987"/>
                    <a:gd name="connsiteY108" fmla="*/ 285750 h 4496940"/>
                    <a:gd name="connsiteX109" fmla="*/ 1411627 w 4519987"/>
                    <a:gd name="connsiteY109" fmla="*/ 190500 h 4496940"/>
                    <a:gd name="connsiteX110" fmla="*/ 1449727 w 4519987"/>
                    <a:gd name="connsiteY110" fmla="*/ 161925 h 4496940"/>
                    <a:gd name="connsiteX111" fmla="*/ 1525927 w 4519987"/>
                    <a:gd name="connsiteY111" fmla="*/ 152400 h 4496940"/>
                    <a:gd name="connsiteX112" fmla="*/ 1583077 w 4519987"/>
                    <a:gd name="connsiteY112" fmla="*/ 142875 h 4496940"/>
                    <a:gd name="connsiteX113" fmla="*/ 1716427 w 4519987"/>
                    <a:gd name="connsiteY113" fmla="*/ 123825 h 4496940"/>
                    <a:gd name="connsiteX114" fmla="*/ 1811677 w 4519987"/>
                    <a:gd name="connsiteY114" fmla="*/ 114300 h 4496940"/>
                    <a:gd name="connsiteX115" fmla="*/ 1859302 w 4519987"/>
                    <a:gd name="connsiteY115" fmla="*/ 104775 h 4496940"/>
                    <a:gd name="connsiteX116" fmla="*/ 1916452 w 4519987"/>
                    <a:gd name="connsiteY116" fmla="*/ 95250 h 4496940"/>
                    <a:gd name="connsiteX117" fmla="*/ 2030752 w 4519987"/>
                    <a:gd name="connsiteY117" fmla="*/ 66675 h 4496940"/>
                    <a:gd name="connsiteX118" fmla="*/ 2097427 w 4519987"/>
                    <a:gd name="connsiteY118" fmla="*/ 47625 h 4496940"/>
                    <a:gd name="connsiteX119" fmla="*/ 2164102 w 4519987"/>
                    <a:gd name="connsiteY119" fmla="*/ 38100 h 4496940"/>
                    <a:gd name="connsiteX120" fmla="*/ 2392702 w 4519987"/>
                    <a:gd name="connsiteY120" fmla="*/ 28575 h 4496940"/>
                    <a:gd name="connsiteX0" fmla="*/ 2297452 w 4519987"/>
                    <a:gd name="connsiteY0" fmla="*/ 0 h 4487372"/>
                    <a:gd name="connsiteX1" fmla="*/ 2421277 w 4519987"/>
                    <a:gd name="connsiteY1" fmla="*/ 28575 h 4487372"/>
                    <a:gd name="connsiteX2" fmla="*/ 2497477 w 4519987"/>
                    <a:gd name="connsiteY2" fmla="*/ 47625 h 4487372"/>
                    <a:gd name="connsiteX3" fmla="*/ 2754652 w 4519987"/>
                    <a:gd name="connsiteY3" fmla="*/ 66675 h 4487372"/>
                    <a:gd name="connsiteX4" fmla="*/ 2830852 w 4519987"/>
                    <a:gd name="connsiteY4" fmla="*/ 76200 h 4487372"/>
                    <a:gd name="connsiteX5" fmla="*/ 2916577 w 4519987"/>
                    <a:gd name="connsiteY5" fmla="*/ 85725 h 4487372"/>
                    <a:gd name="connsiteX6" fmla="*/ 2973727 w 4519987"/>
                    <a:gd name="connsiteY6" fmla="*/ 114300 h 4487372"/>
                    <a:gd name="connsiteX7" fmla="*/ 3011827 w 4519987"/>
                    <a:gd name="connsiteY7" fmla="*/ 123825 h 4487372"/>
                    <a:gd name="connsiteX8" fmla="*/ 3135652 w 4519987"/>
                    <a:gd name="connsiteY8" fmla="*/ 171450 h 4487372"/>
                    <a:gd name="connsiteX9" fmla="*/ 3173752 w 4519987"/>
                    <a:gd name="connsiteY9" fmla="*/ 190500 h 4487372"/>
                    <a:gd name="connsiteX10" fmla="*/ 3240427 w 4519987"/>
                    <a:gd name="connsiteY10" fmla="*/ 228600 h 4487372"/>
                    <a:gd name="connsiteX11" fmla="*/ 3269002 w 4519987"/>
                    <a:gd name="connsiteY11" fmla="*/ 238125 h 4487372"/>
                    <a:gd name="connsiteX12" fmla="*/ 3297577 w 4519987"/>
                    <a:gd name="connsiteY12" fmla="*/ 257175 h 4487372"/>
                    <a:gd name="connsiteX13" fmla="*/ 3326152 w 4519987"/>
                    <a:gd name="connsiteY13" fmla="*/ 266700 h 4487372"/>
                    <a:gd name="connsiteX14" fmla="*/ 3354727 w 4519987"/>
                    <a:gd name="connsiteY14" fmla="*/ 285750 h 4487372"/>
                    <a:gd name="connsiteX15" fmla="*/ 3421402 w 4519987"/>
                    <a:gd name="connsiteY15" fmla="*/ 323850 h 4487372"/>
                    <a:gd name="connsiteX16" fmla="*/ 3469027 w 4519987"/>
                    <a:gd name="connsiteY16" fmla="*/ 361950 h 4487372"/>
                    <a:gd name="connsiteX17" fmla="*/ 3516652 w 4519987"/>
                    <a:gd name="connsiteY17" fmla="*/ 390525 h 4487372"/>
                    <a:gd name="connsiteX18" fmla="*/ 3630952 w 4519987"/>
                    <a:gd name="connsiteY18" fmla="*/ 485775 h 4487372"/>
                    <a:gd name="connsiteX19" fmla="*/ 3745252 w 4519987"/>
                    <a:gd name="connsiteY19" fmla="*/ 542925 h 4487372"/>
                    <a:gd name="connsiteX20" fmla="*/ 3811927 w 4519987"/>
                    <a:gd name="connsiteY20" fmla="*/ 581025 h 4487372"/>
                    <a:gd name="connsiteX21" fmla="*/ 4027827 w 4519987"/>
                    <a:gd name="connsiteY21" fmla="*/ 819150 h 4487372"/>
                    <a:gd name="connsiteX22" fmla="*/ 4164352 w 4519987"/>
                    <a:gd name="connsiteY22" fmla="*/ 990600 h 4487372"/>
                    <a:gd name="connsiteX23" fmla="*/ 4250077 w 4519987"/>
                    <a:gd name="connsiteY23" fmla="*/ 1143000 h 4487372"/>
                    <a:gd name="connsiteX24" fmla="*/ 4307227 w 4519987"/>
                    <a:gd name="connsiteY24" fmla="*/ 1266825 h 4487372"/>
                    <a:gd name="connsiteX25" fmla="*/ 4345327 w 4519987"/>
                    <a:gd name="connsiteY25" fmla="*/ 1362075 h 4487372"/>
                    <a:gd name="connsiteX26" fmla="*/ 4392952 w 4519987"/>
                    <a:gd name="connsiteY26" fmla="*/ 1552575 h 4487372"/>
                    <a:gd name="connsiteX27" fmla="*/ 4431052 w 4519987"/>
                    <a:gd name="connsiteY27" fmla="*/ 1685925 h 4487372"/>
                    <a:gd name="connsiteX28" fmla="*/ 4519952 w 4519987"/>
                    <a:gd name="connsiteY28" fmla="*/ 2181225 h 4487372"/>
                    <a:gd name="connsiteX29" fmla="*/ 4446927 w 4519987"/>
                    <a:gd name="connsiteY29" fmla="*/ 2768600 h 4487372"/>
                    <a:gd name="connsiteX30" fmla="*/ 4383427 w 4519987"/>
                    <a:gd name="connsiteY30" fmla="*/ 2990850 h 4487372"/>
                    <a:gd name="connsiteX31" fmla="*/ 4278652 w 4519987"/>
                    <a:gd name="connsiteY31" fmla="*/ 3248025 h 4487372"/>
                    <a:gd name="connsiteX32" fmla="*/ 4183402 w 4519987"/>
                    <a:gd name="connsiteY32" fmla="*/ 3400425 h 4487372"/>
                    <a:gd name="connsiteX33" fmla="*/ 4059577 w 4519987"/>
                    <a:gd name="connsiteY33" fmla="*/ 3533775 h 4487372"/>
                    <a:gd name="connsiteX34" fmla="*/ 3954802 w 4519987"/>
                    <a:gd name="connsiteY34" fmla="*/ 3648075 h 4487372"/>
                    <a:gd name="connsiteX35" fmla="*/ 3659527 w 4519987"/>
                    <a:gd name="connsiteY35" fmla="*/ 3971925 h 4487372"/>
                    <a:gd name="connsiteX36" fmla="*/ 3516652 w 4519987"/>
                    <a:gd name="connsiteY36" fmla="*/ 4083050 h 4487372"/>
                    <a:gd name="connsiteX37" fmla="*/ 3221377 w 4519987"/>
                    <a:gd name="connsiteY37" fmla="*/ 4222750 h 4487372"/>
                    <a:gd name="connsiteX38" fmla="*/ 3068977 w 4519987"/>
                    <a:gd name="connsiteY38" fmla="*/ 4286250 h 4487372"/>
                    <a:gd name="connsiteX39" fmla="*/ 2935627 w 4519987"/>
                    <a:gd name="connsiteY39" fmla="*/ 4333875 h 4487372"/>
                    <a:gd name="connsiteX40" fmla="*/ 2811802 w 4519987"/>
                    <a:gd name="connsiteY40" fmla="*/ 4371975 h 4487372"/>
                    <a:gd name="connsiteX41" fmla="*/ 2745127 w 4519987"/>
                    <a:gd name="connsiteY41" fmla="*/ 4410075 h 4487372"/>
                    <a:gd name="connsiteX42" fmla="*/ 2640352 w 4519987"/>
                    <a:gd name="connsiteY42" fmla="*/ 4457700 h 4487372"/>
                    <a:gd name="connsiteX43" fmla="*/ 2545102 w 4519987"/>
                    <a:gd name="connsiteY43" fmla="*/ 4486275 h 4487372"/>
                    <a:gd name="connsiteX44" fmla="*/ 2306977 w 4519987"/>
                    <a:gd name="connsiteY44" fmla="*/ 4476750 h 4487372"/>
                    <a:gd name="connsiteX45" fmla="*/ 2202202 w 4519987"/>
                    <a:gd name="connsiteY45" fmla="*/ 4457700 h 4487372"/>
                    <a:gd name="connsiteX46" fmla="*/ 2126002 w 4519987"/>
                    <a:gd name="connsiteY46" fmla="*/ 4429125 h 4487372"/>
                    <a:gd name="connsiteX47" fmla="*/ 1935502 w 4519987"/>
                    <a:gd name="connsiteY47" fmla="*/ 4400550 h 4487372"/>
                    <a:gd name="connsiteX48" fmla="*/ 1821202 w 4519987"/>
                    <a:gd name="connsiteY48" fmla="*/ 4371975 h 4487372"/>
                    <a:gd name="connsiteX49" fmla="*/ 1754527 w 4519987"/>
                    <a:gd name="connsiteY49" fmla="*/ 4352925 h 4487372"/>
                    <a:gd name="connsiteX50" fmla="*/ 1687852 w 4519987"/>
                    <a:gd name="connsiteY50" fmla="*/ 4343400 h 4487372"/>
                    <a:gd name="connsiteX51" fmla="*/ 1573552 w 4519987"/>
                    <a:gd name="connsiteY51" fmla="*/ 4305300 h 4487372"/>
                    <a:gd name="connsiteX52" fmla="*/ 1402102 w 4519987"/>
                    <a:gd name="connsiteY52" fmla="*/ 4276725 h 4487372"/>
                    <a:gd name="connsiteX53" fmla="*/ 1287802 w 4519987"/>
                    <a:gd name="connsiteY53" fmla="*/ 4229100 h 4487372"/>
                    <a:gd name="connsiteX54" fmla="*/ 1221127 w 4519987"/>
                    <a:gd name="connsiteY54" fmla="*/ 4200525 h 4487372"/>
                    <a:gd name="connsiteX55" fmla="*/ 1144927 w 4519987"/>
                    <a:gd name="connsiteY55" fmla="*/ 4171950 h 4487372"/>
                    <a:gd name="connsiteX56" fmla="*/ 1087777 w 4519987"/>
                    <a:gd name="connsiteY56" fmla="*/ 4143375 h 4487372"/>
                    <a:gd name="connsiteX57" fmla="*/ 1030627 w 4519987"/>
                    <a:gd name="connsiteY57" fmla="*/ 4124325 h 4487372"/>
                    <a:gd name="connsiteX58" fmla="*/ 925852 w 4519987"/>
                    <a:gd name="connsiteY58" fmla="*/ 4067175 h 4487372"/>
                    <a:gd name="connsiteX59" fmla="*/ 830602 w 4519987"/>
                    <a:gd name="connsiteY59" fmla="*/ 3981450 h 4487372"/>
                    <a:gd name="connsiteX60" fmla="*/ 763927 w 4519987"/>
                    <a:gd name="connsiteY60" fmla="*/ 3914775 h 4487372"/>
                    <a:gd name="connsiteX61" fmla="*/ 725827 w 4519987"/>
                    <a:gd name="connsiteY61" fmla="*/ 3876675 h 4487372"/>
                    <a:gd name="connsiteX62" fmla="*/ 697252 w 4519987"/>
                    <a:gd name="connsiteY62" fmla="*/ 3838575 h 4487372"/>
                    <a:gd name="connsiteX63" fmla="*/ 640102 w 4519987"/>
                    <a:gd name="connsiteY63" fmla="*/ 3781425 h 4487372"/>
                    <a:gd name="connsiteX64" fmla="*/ 611527 w 4519987"/>
                    <a:gd name="connsiteY64" fmla="*/ 3733800 h 4487372"/>
                    <a:gd name="connsiteX65" fmla="*/ 554377 w 4519987"/>
                    <a:gd name="connsiteY65" fmla="*/ 3657600 h 4487372"/>
                    <a:gd name="connsiteX66" fmla="*/ 525802 w 4519987"/>
                    <a:gd name="connsiteY66" fmla="*/ 3609975 h 4487372"/>
                    <a:gd name="connsiteX67" fmla="*/ 497227 w 4519987"/>
                    <a:gd name="connsiteY67" fmla="*/ 3552825 h 4487372"/>
                    <a:gd name="connsiteX68" fmla="*/ 440077 w 4519987"/>
                    <a:gd name="connsiteY68" fmla="*/ 3495675 h 4487372"/>
                    <a:gd name="connsiteX69" fmla="*/ 411502 w 4519987"/>
                    <a:gd name="connsiteY69" fmla="*/ 3448050 h 4487372"/>
                    <a:gd name="connsiteX70" fmla="*/ 278152 w 4519987"/>
                    <a:gd name="connsiteY70" fmla="*/ 3257550 h 4487372"/>
                    <a:gd name="connsiteX71" fmla="*/ 249577 w 4519987"/>
                    <a:gd name="connsiteY71" fmla="*/ 3200400 h 4487372"/>
                    <a:gd name="connsiteX72" fmla="*/ 240052 w 4519987"/>
                    <a:gd name="connsiteY72" fmla="*/ 3162300 h 4487372"/>
                    <a:gd name="connsiteX73" fmla="*/ 221002 w 4519987"/>
                    <a:gd name="connsiteY73" fmla="*/ 3105150 h 4487372"/>
                    <a:gd name="connsiteX74" fmla="*/ 173377 w 4519987"/>
                    <a:gd name="connsiteY74" fmla="*/ 3019425 h 4487372"/>
                    <a:gd name="connsiteX75" fmla="*/ 144802 w 4519987"/>
                    <a:gd name="connsiteY75" fmla="*/ 2924175 h 4487372"/>
                    <a:gd name="connsiteX76" fmla="*/ 68602 w 4519987"/>
                    <a:gd name="connsiteY76" fmla="*/ 2724150 h 4487372"/>
                    <a:gd name="connsiteX77" fmla="*/ 49552 w 4519987"/>
                    <a:gd name="connsiteY77" fmla="*/ 2638425 h 4487372"/>
                    <a:gd name="connsiteX78" fmla="*/ 40027 w 4519987"/>
                    <a:gd name="connsiteY78" fmla="*/ 2562225 h 4487372"/>
                    <a:gd name="connsiteX79" fmla="*/ 30502 w 4519987"/>
                    <a:gd name="connsiteY79" fmla="*/ 2514600 h 4487372"/>
                    <a:gd name="connsiteX80" fmla="*/ 11452 w 4519987"/>
                    <a:gd name="connsiteY80" fmla="*/ 2400300 h 4487372"/>
                    <a:gd name="connsiteX81" fmla="*/ 20977 w 4519987"/>
                    <a:gd name="connsiteY81" fmla="*/ 1905000 h 4487372"/>
                    <a:gd name="connsiteX82" fmla="*/ 30502 w 4519987"/>
                    <a:gd name="connsiteY82" fmla="*/ 1838325 h 4487372"/>
                    <a:gd name="connsiteX83" fmla="*/ 49552 w 4519987"/>
                    <a:gd name="connsiteY83" fmla="*/ 1781175 h 4487372"/>
                    <a:gd name="connsiteX84" fmla="*/ 59077 w 4519987"/>
                    <a:gd name="connsiteY84" fmla="*/ 1743075 h 4487372"/>
                    <a:gd name="connsiteX85" fmla="*/ 78127 w 4519987"/>
                    <a:gd name="connsiteY85" fmla="*/ 1685925 h 4487372"/>
                    <a:gd name="connsiteX86" fmla="*/ 87652 w 4519987"/>
                    <a:gd name="connsiteY86" fmla="*/ 1638300 h 4487372"/>
                    <a:gd name="connsiteX87" fmla="*/ 106702 w 4519987"/>
                    <a:gd name="connsiteY87" fmla="*/ 1590675 h 4487372"/>
                    <a:gd name="connsiteX88" fmla="*/ 135277 w 4519987"/>
                    <a:gd name="connsiteY88" fmla="*/ 1504950 h 4487372"/>
                    <a:gd name="connsiteX89" fmla="*/ 154327 w 4519987"/>
                    <a:gd name="connsiteY89" fmla="*/ 1419225 h 4487372"/>
                    <a:gd name="connsiteX90" fmla="*/ 230527 w 4519987"/>
                    <a:gd name="connsiteY90" fmla="*/ 1276350 h 4487372"/>
                    <a:gd name="connsiteX91" fmla="*/ 240052 w 4519987"/>
                    <a:gd name="connsiteY91" fmla="*/ 1247775 h 4487372"/>
                    <a:gd name="connsiteX92" fmla="*/ 268627 w 4519987"/>
                    <a:gd name="connsiteY92" fmla="*/ 1200150 h 4487372"/>
                    <a:gd name="connsiteX93" fmla="*/ 287677 w 4519987"/>
                    <a:gd name="connsiteY93" fmla="*/ 1152525 h 4487372"/>
                    <a:gd name="connsiteX94" fmla="*/ 316252 w 4519987"/>
                    <a:gd name="connsiteY94" fmla="*/ 1114425 h 4487372"/>
                    <a:gd name="connsiteX95" fmla="*/ 363877 w 4519987"/>
                    <a:gd name="connsiteY95" fmla="*/ 1038225 h 4487372"/>
                    <a:gd name="connsiteX96" fmla="*/ 382927 w 4519987"/>
                    <a:gd name="connsiteY96" fmla="*/ 1009650 h 4487372"/>
                    <a:gd name="connsiteX97" fmla="*/ 440077 w 4519987"/>
                    <a:gd name="connsiteY97" fmla="*/ 904875 h 4487372"/>
                    <a:gd name="connsiteX98" fmla="*/ 478177 w 4519987"/>
                    <a:gd name="connsiteY98" fmla="*/ 857250 h 4487372"/>
                    <a:gd name="connsiteX99" fmla="*/ 497227 w 4519987"/>
                    <a:gd name="connsiteY99" fmla="*/ 828675 h 4487372"/>
                    <a:gd name="connsiteX100" fmla="*/ 535327 w 4519987"/>
                    <a:gd name="connsiteY100" fmla="*/ 800100 h 4487372"/>
                    <a:gd name="connsiteX101" fmla="*/ 602002 w 4519987"/>
                    <a:gd name="connsiteY101" fmla="*/ 733425 h 4487372"/>
                    <a:gd name="connsiteX102" fmla="*/ 668677 w 4519987"/>
                    <a:gd name="connsiteY102" fmla="*/ 676275 h 4487372"/>
                    <a:gd name="connsiteX103" fmla="*/ 697252 w 4519987"/>
                    <a:gd name="connsiteY103" fmla="*/ 657225 h 4487372"/>
                    <a:gd name="connsiteX104" fmla="*/ 840127 w 4519987"/>
                    <a:gd name="connsiteY104" fmla="*/ 533400 h 4487372"/>
                    <a:gd name="connsiteX105" fmla="*/ 887752 w 4519987"/>
                    <a:gd name="connsiteY105" fmla="*/ 504825 h 4487372"/>
                    <a:gd name="connsiteX106" fmla="*/ 1167152 w 4519987"/>
                    <a:gd name="connsiteY106" fmla="*/ 311150 h 4487372"/>
                    <a:gd name="connsiteX107" fmla="*/ 1268752 w 4519987"/>
                    <a:gd name="connsiteY107" fmla="*/ 285750 h 4487372"/>
                    <a:gd name="connsiteX108" fmla="*/ 1411627 w 4519987"/>
                    <a:gd name="connsiteY108" fmla="*/ 190500 h 4487372"/>
                    <a:gd name="connsiteX109" fmla="*/ 1449727 w 4519987"/>
                    <a:gd name="connsiteY109" fmla="*/ 161925 h 4487372"/>
                    <a:gd name="connsiteX110" fmla="*/ 1525927 w 4519987"/>
                    <a:gd name="connsiteY110" fmla="*/ 152400 h 4487372"/>
                    <a:gd name="connsiteX111" fmla="*/ 1583077 w 4519987"/>
                    <a:gd name="connsiteY111" fmla="*/ 142875 h 4487372"/>
                    <a:gd name="connsiteX112" fmla="*/ 1716427 w 4519987"/>
                    <a:gd name="connsiteY112" fmla="*/ 123825 h 4487372"/>
                    <a:gd name="connsiteX113" fmla="*/ 1811677 w 4519987"/>
                    <a:gd name="connsiteY113" fmla="*/ 114300 h 4487372"/>
                    <a:gd name="connsiteX114" fmla="*/ 1859302 w 4519987"/>
                    <a:gd name="connsiteY114" fmla="*/ 104775 h 4487372"/>
                    <a:gd name="connsiteX115" fmla="*/ 1916452 w 4519987"/>
                    <a:gd name="connsiteY115" fmla="*/ 95250 h 4487372"/>
                    <a:gd name="connsiteX116" fmla="*/ 2030752 w 4519987"/>
                    <a:gd name="connsiteY116" fmla="*/ 66675 h 4487372"/>
                    <a:gd name="connsiteX117" fmla="*/ 2097427 w 4519987"/>
                    <a:gd name="connsiteY117" fmla="*/ 47625 h 4487372"/>
                    <a:gd name="connsiteX118" fmla="*/ 2164102 w 4519987"/>
                    <a:gd name="connsiteY118" fmla="*/ 38100 h 4487372"/>
                    <a:gd name="connsiteX119" fmla="*/ 2392702 w 4519987"/>
                    <a:gd name="connsiteY119" fmla="*/ 28575 h 4487372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745127 w 4519987"/>
                    <a:gd name="connsiteY41" fmla="*/ 4410075 h 4476750"/>
                    <a:gd name="connsiteX42" fmla="*/ 2640352 w 4519987"/>
                    <a:gd name="connsiteY42" fmla="*/ 4457700 h 4476750"/>
                    <a:gd name="connsiteX43" fmla="*/ 2306977 w 4519987"/>
                    <a:gd name="connsiteY43" fmla="*/ 4476750 h 4476750"/>
                    <a:gd name="connsiteX44" fmla="*/ 2202202 w 4519987"/>
                    <a:gd name="connsiteY44" fmla="*/ 4457700 h 4476750"/>
                    <a:gd name="connsiteX45" fmla="*/ 2126002 w 4519987"/>
                    <a:gd name="connsiteY45" fmla="*/ 4429125 h 4476750"/>
                    <a:gd name="connsiteX46" fmla="*/ 1935502 w 4519987"/>
                    <a:gd name="connsiteY46" fmla="*/ 4400550 h 4476750"/>
                    <a:gd name="connsiteX47" fmla="*/ 1821202 w 4519987"/>
                    <a:gd name="connsiteY47" fmla="*/ 4371975 h 4476750"/>
                    <a:gd name="connsiteX48" fmla="*/ 1754527 w 4519987"/>
                    <a:gd name="connsiteY48" fmla="*/ 4352925 h 4476750"/>
                    <a:gd name="connsiteX49" fmla="*/ 1687852 w 4519987"/>
                    <a:gd name="connsiteY49" fmla="*/ 4343400 h 4476750"/>
                    <a:gd name="connsiteX50" fmla="*/ 1573552 w 4519987"/>
                    <a:gd name="connsiteY50" fmla="*/ 4305300 h 4476750"/>
                    <a:gd name="connsiteX51" fmla="*/ 1402102 w 4519987"/>
                    <a:gd name="connsiteY51" fmla="*/ 4276725 h 4476750"/>
                    <a:gd name="connsiteX52" fmla="*/ 1287802 w 4519987"/>
                    <a:gd name="connsiteY52" fmla="*/ 4229100 h 4476750"/>
                    <a:gd name="connsiteX53" fmla="*/ 1221127 w 4519987"/>
                    <a:gd name="connsiteY53" fmla="*/ 4200525 h 4476750"/>
                    <a:gd name="connsiteX54" fmla="*/ 1144927 w 4519987"/>
                    <a:gd name="connsiteY54" fmla="*/ 4171950 h 4476750"/>
                    <a:gd name="connsiteX55" fmla="*/ 1087777 w 4519987"/>
                    <a:gd name="connsiteY55" fmla="*/ 4143375 h 4476750"/>
                    <a:gd name="connsiteX56" fmla="*/ 1030627 w 4519987"/>
                    <a:gd name="connsiteY56" fmla="*/ 4124325 h 4476750"/>
                    <a:gd name="connsiteX57" fmla="*/ 925852 w 4519987"/>
                    <a:gd name="connsiteY57" fmla="*/ 4067175 h 4476750"/>
                    <a:gd name="connsiteX58" fmla="*/ 830602 w 4519987"/>
                    <a:gd name="connsiteY58" fmla="*/ 3981450 h 4476750"/>
                    <a:gd name="connsiteX59" fmla="*/ 763927 w 4519987"/>
                    <a:gd name="connsiteY59" fmla="*/ 3914775 h 4476750"/>
                    <a:gd name="connsiteX60" fmla="*/ 725827 w 4519987"/>
                    <a:gd name="connsiteY60" fmla="*/ 3876675 h 4476750"/>
                    <a:gd name="connsiteX61" fmla="*/ 697252 w 4519987"/>
                    <a:gd name="connsiteY61" fmla="*/ 3838575 h 4476750"/>
                    <a:gd name="connsiteX62" fmla="*/ 640102 w 4519987"/>
                    <a:gd name="connsiteY62" fmla="*/ 3781425 h 4476750"/>
                    <a:gd name="connsiteX63" fmla="*/ 611527 w 4519987"/>
                    <a:gd name="connsiteY63" fmla="*/ 3733800 h 4476750"/>
                    <a:gd name="connsiteX64" fmla="*/ 554377 w 4519987"/>
                    <a:gd name="connsiteY64" fmla="*/ 3657600 h 4476750"/>
                    <a:gd name="connsiteX65" fmla="*/ 525802 w 4519987"/>
                    <a:gd name="connsiteY65" fmla="*/ 3609975 h 4476750"/>
                    <a:gd name="connsiteX66" fmla="*/ 497227 w 4519987"/>
                    <a:gd name="connsiteY66" fmla="*/ 3552825 h 4476750"/>
                    <a:gd name="connsiteX67" fmla="*/ 440077 w 4519987"/>
                    <a:gd name="connsiteY67" fmla="*/ 3495675 h 4476750"/>
                    <a:gd name="connsiteX68" fmla="*/ 411502 w 4519987"/>
                    <a:gd name="connsiteY68" fmla="*/ 3448050 h 4476750"/>
                    <a:gd name="connsiteX69" fmla="*/ 278152 w 4519987"/>
                    <a:gd name="connsiteY69" fmla="*/ 3257550 h 4476750"/>
                    <a:gd name="connsiteX70" fmla="*/ 249577 w 4519987"/>
                    <a:gd name="connsiteY70" fmla="*/ 3200400 h 4476750"/>
                    <a:gd name="connsiteX71" fmla="*/ 240052 w 4519987"/>
                    <a:gd name="connsiteY71" fmla="*/ 3162300 h 4476750"/>
                    <a:gd name="connsiteX72" fmla="*/ 221002 w 4519987"/>
                    <a:gd name="connsiteY72" fmla="*/ 3105150 h 4476750"/>
                    <a:gd name="connsiteX73" fmla="*/ 173377 w 4519987"/>
                    <a:gd name="connsiteY73" fmla="*/ 3019425 h 4476750"/>
                    <a:gd name="connsiteX74" fmla="*/ 144802 w 4519987"/>
                    <a:gd name="connsiteY74" fmla="*/ 2924175 h 4476750"/>
                    <a:gd name="connsiteX75" fmla="*/ 68602 w 4519987"/>
                    <a:gd name="connsiteY75" fmla="*/ 2724150 h 4476750"/>
                    <a:gd name="connsiteX76" fmla="*/ 49552 w 4519987"/>
                    <a:gd name="connsiteY76" fmla="*/ 2638425 h 4476750"/>
                    <a:gd name="connsiteX77" fmla="*/ 40027 w 4519987"/>
                    <a:gd name="connsiteY77" fmla="*/ 2562225 h 4476750"/>
                    <a:gd name="connsiteX78" fmla="*/ 30502 w 4519987"/>
                    <a:gd name="connsiteY78" fmla="*/ 2514600 h 4476750"/>
                    <a:gd name="connsiteX79" fmla="*/ 11452 w 4519987"/>
                    <a:gd name="connsiteY79" fmla="*/ 2400300 h 4476750"/>
                    <a:gd name="connsiteX80" fmla="*/ 20977 w 4519987"/>
                    <a:gd name="connsiteY80" fmla="*/ 1905000 h 4476750"/>
                    <a:gd name="connsiteX81" fmla="*/ 30502 w 4519987"/>
                    <a:gd name="connsiteY81" fmla="*/ 1838325 h 4476750"/>
                    <a:gd name="connsiteX82" fmla="*/ 49552 w 4519987"/>
                    <a:gd name="connsiteY82" fmla="*/ 1781175 h 4476750"/>
                    <a:gd name="connsiteX83" fmla="*/ 59077 w 4519987"/>
                    <a:gd name="connsiteY83" fmla="*/ 1743075 h 4476750"/>
                    <a:gd name="connsiteX84" fmla="*/ 78127 w 4519987"/>
                    <a:gd name="connsiteY84" fmla="*/ 1685925 h 4476750"/>
                    <a:gd name="connsiteX85" fmla="*/ 87652 w 4519987"/>
                    <a:gd name="connsiteY85" fmla="*/ 1638300 h 4476750"/>
                    <a:gd name="connsiteX86" fmla="*/ 106702 w 4519987"/>
                    <a:gd name="connsiteY86" fmla="*/ 1590675 h 4476750"/>
                    <a:gd name="connsiteX87" fmla="*/ 135277 w 4519987"/>
                    <a:gd name="connsiteY87" fmla="*/ 1504950 h 4476750"/>
                    <a:gd name="connsiteX88" fmla="*/ 154327 w 4519987"/>
                    <a:gd name="connsiteY88" fmla="*/ 1419225 h 4476750"/>
                    <a:gd name="connsiteX89" fmla="*/ 230527 w 4519987"/>
                    <a:gd name="connsiteY89" fmla="*/ 1276350 h 4476750"/>
                    <a:gd name="connsiteX90" fmla="*/ 240052 w 4519987"/>
                    <a:gd name="connsiteY90" fmla="*/ 1247775 h 4476750"/>
                    <a:gd name="connsiteX91" fmla="*/ 268627 w 4519987"/>
                    <a:gd name="connsiteY91" fmla="*/ 1200150 h 4476750"/>
                    <a:gd name="connsiteX92" fmla="*/ 287677 w 4519987"/>
                    <a:gd name="connsiteY92" fmla="*/ 1152525 h 4476750"/>
                    <a:gd name="connsiteX93" fmla="*/ 316252 w 4519987"/>
                    <a:gd name="connsiteY93" fmla="*/ 1114425 h 4476750"/>
                    <a:gd name="connsiteX94" fmla="*/ 363877 w 4519987"/>
                    <a:gd name="connsiteY94" fmla="*/ 1038225 h 4476750"/>
                    <a:gd name="connsiteX95" fmla="*/ 382927 w 4519987"/>
                    <a:gd name="connsiteY95" fmla="*/ 1009650 h 4476750"/>
                    <a:gd name="connsiteX96" fmla="*/ 440077 w 4519987"/>
                    <a:gd name="connsiteY96" fmla="*/ 904875 h 4476750"/>
                    <a:gd name="connsiteX97" fmla="*/ 478177 w 4519987"/>
                    <a:gd name="connsiteY97" fmla="*/ 857250 h 4476750"/>
                    <a:gd name="connsiteX98" fmla="*/ 497227 w 4519987"/>
                    <a:gd name="connsiteY98" fmla="*/ 828675 h 4476750"/>
                    <a:gd name="connsiteX99" fmla="*/ 535327 w 4519987"/>
                    <a:gd name="connsiteY99" fmla="*/ 800100 h 4476750"/>
                    <a:gd name="connsiteX100" fmla="*/ 602002 w 4519987"/>
                    <a:gd name="connsiteY100" fmla="*/ 733425 h 4476750"/>
                    <a:gd name="connsiteX101" fmla="*/ 668677 w 4519987"/>
                    <a:gd name="connsiteY101" fmla="*/ 676275 h 4476750"/>
                    <a:gd name="connsiteX102" fmla="*/ 697252 w 4519987"/>
                    <a:gd name="connsiteY102" fmla="*/ 657225 h 4476750"/>
                    <a:gd name="connsiteX103" fmla="*/ 840127 w 4519987"/>
                    <a:gd name="connsiteY103" fmla="*/ 533400 h 4476750"/>
                    <a:gd name="connsiteX104" fmla="*/ 887752 w 4519987"/>
                    <a:gd name="connsiteY104" fmla="*/ 504825 h 4476750"/>
                    <a:gd name="connsiteX105" fmla="*/ 1167152 w 4519987"/>
                    <a:gd name="connsiteY105" fmla="*/ 311150 h 4476750"/>
                    <a:gd name="connsiteX106" fmla="*/ 1268752 w 4519987"/>
                    <a:gd name="connsiteY106" fmla="*/ 285750 h 4476750"/>
                    <a:gd name="connsiteX107" fmla="*/ 1411627 w 4519987"/>
                    <a:gd name="connsiteY107" fmla="*/ 190500 h 4476750"/>
                    <a:gd name="connsiteX108" fmla="*/ 1449727 w 4519987"/>
                    <a:gd name="connsiteY108" fmla="*/ 161925 h 4476750"/>
                    <a:gd name="connsiteX109" fmla="*/ 1525927 w 4519987"/>
                    <a:gd name="connsiteY109" fmla="*/ 152400 h 4476750"/>
                    <a:gd name="connsiteX110" fmla="*/ 1583077 w 4519987"/>
                    <a:gd name="connsiteY110" fmla="*/ 142875 h 4476750"/>
                    <a:gd name="connsiteX111" fmla="*/ 1716427 w 4519987"/>
                    <a:gd name="connsiteY111" fmla="*/ 123825 h 4476750"/>
                    <a:gd name="connsiteX112" fmla="*/ 1811677 w 4519987"/>
                    <a:gd name="connsiteY112" fmla="*/ 114300 h 4476750"/>
                    <a:gd name="connsiteX113" fmla="*/ 1859302 w 4519987"/>
                    <a:gd name="connsiteY113" fmla="*/ 104775 h 4476750"/>
                    <a:gd name="connsiteX114" fmla="*/ 1916452 w 4519987"/>
                    <a:gd name="connsiteY114" fmla="*/ 95250 h 4476750"/>
                    <a:gd name="connsiteX115" fmla="*/ 2030752 w 4519987"/>
                    <a:gd name="connsiteY115" fmla="*/ 66675 h 4476750"/>
                    <a:gd name="connsiteX116" fmla="*/ 2097427 w 4519987"/>
                    <a:gd name="connsiteY116" fmla="*/ 47625 h 4476750"/>
                    <a:gd name="connsiteX117" fmla="*/ 2164102 w 4519987"/>
                    <a:gd name="connsiteY117" fmla="*/ 38100 h 4476750"/>
                    <a:gd name="connsiteX118" fmla="*/ 2392702 w 4519987"/>
                    <a:gd name="connsiteY118" fmla="*/ 28575 h 4476750"/>
                    <a:gd name="connsiteX0" fmla="*/ 2297452 w 4519987"/>
                    <a:gd name="connsiteY0" fmla="*/ 0 h 4478541"/>
                    <a:gd name="connsiteX1" fmla="*/ 2421277 w 4519987"/>
                    <a:gd name="connsiteY1" fmla="*/ 28575 h 4478541"/>
                    <a:gd name="connsiteX2" fmla="*/ 2497477 w 4519987"/>
                    <a:gd name="connsiteY2" fmla="*/ 47625 h 4478541"/>
                    <a:gd name="connsiteX3" fmla="*/ 2754652 w 4519987"/>
                    <a:gd name="connsiteY3" fmla="*/ 66675 h 4478541"/>
                    <a:gd name="connsiteX4" fmla="*/ 2830852 w 4519987"/>
                    <a:gd name="connsiteY4" fmla="*/ 76200 h 4478541"/>
                    <a:gd name="connsiteX5" fmla="*/ 2916577 w 4519987"/>
                    <a:gd name="connsiteY5" fmla="*/ 85725 h 4478541"/>
                    <a:gd name="connsiteX6" fmla="*/ 2973727 w 4519987"/>
                    <a:gd name="connsiteY6" fmla="*/ 114300 h 4478541"/>
                    <a:gd name="connsiteX7" fmla="*/ 3011827 w 4519987"/>
                    <a:gd name="connsiteY7" fmla="*/ 123825 h 4478541"/>
                    <a:gd name="connsiteX8" fmla="*/ 3135652 w 4519987"/>
                    <a:gd name="connsiteY8" fmla="*/ 171450 h 4478541"/>
                    <a:gd name="connsiteX9" fmla="*/ 3173752 w 4519987"/>
                    <a:gd name="connsiteY9" fmla="*/ 190500 h 4478541"/>
                    <a:gd name="connsiteX10" fmla="*/ 3240427 w 4519987"/>
                    <a:gd name="connsiteY10" fmla="*/ 228600 h 4478541"/>
                    <a:gd name="connsiteX11" fmla="*/ 3269002 w 4519987"/>
                    <a:gd name="connsiteY11" fmla="*/ 238125 h 4478541"/>
                    <a:gd name="connsiteX12" fmla="*/ 3297577 w 4519987"/>
                    <a:gd name="connsiteY12" fmla="*/ 257175 h 4478541"/>
                    <a:gd name="connsiteX13" fmla="*/ 3326152 w 4519987"/>
                    <a:gd name="connsiteY13" fmla="*/ 266700 h 4478541"/>
                    <a:gd name="connsiteX14" fmla="*/ 3354727 w 4519987"/>
                    <a:gd name="connsiteY14" fmla="*/ 285750 h 4478541"/>
                    <a:gd name="connsiteX15" fmla="*/ 3421402 w 4519987"/>
                    <a:gd name="connsiteY15" fmla="*/ 323850 h 4478541"/>
                    <a:gd name="connsiteX16" fmla="*/ 3469027 w 4519987"/>
                    <a:gd name="connsiteY16" fmla="*/ 361950 h 4478541"/>
                    <a:gd name="connsiteX17" fmla="*/ 3516652 w 4519987"/>
                    <a:gd name="connsiteY17" fmla="*/ 390525 h 4478541"/>
                    <a:gd name="connsiteX18" fmla="*/ 3630952 w 4519987"/>
                    <a:gd name="connsiteY18" fmla="*/ 485775 h 4478541"/>
                    <a:gd name="connsiteX19" fmla="*/ 3745252 w 4519987"/>
                    <a:gd name="connsiteY19" fmla="*/ 542925 h 4478541"/>
                    <a:gd name="connsiteX20" fmla="*/ 3811927 w 4519987"/>
                    <a:gd name="connsiteY20" fmla="*/ 581025 h 4478541"/>
                    <a:gd name="connsiteX21" fmla="*/ 4027827 w 4519987"/>
                    <a:gd name="connsiteY21" fmla="*/ 819150 h 4478541"/>
                    <a:gd name="connsiteX22" fmla="*/ 4164352 w 4519987"/>
                    <a:gd name="connsiteY22" fmla="*/ 990600 h 4478541"/>
                    <a:gd name="connsiteX23" fmla="*/ 4250077 w 4519987"/>
                    <a:gd name="connsiteY23" fmla="*/ 1143000 h 4478541"/>
                    <a:gd name="connsiteX24" fmla="*/ 4307227 w 4519987"/>
                    <a:gd name="connsiteY24" fmla="*/ 1266825 h 4478541"/>
                    <a:gd name="connsiteX25" fmla="*/ 4345327 w 4519987"/>
                    <a:gd name="connsiteY25" fmla="*/ 1362075 h 4478541"/>
                    <a:gd name="connsiteX26" fmla="*/ 4392952 w 4519987"/>
                    <a:gd name="connsiteY26" fmla="*/ 1552575 h 4478541"/>
                    <a:gd name="connsiteX27" fmla="*/ 4431052 w 4519987"/>
                    <a:gd name="connsiteY27" fmla="*/ 1685925 h 4478541"/>
                    <a:gd name="connsiteX28" fmla="*/ 4519952 w 4519987"/>
                    <a:gd name="connsiteY28" fmla="*/ 2181225 h 4478541"/>
                    <a:gd name="connsiteX29" fmla="*/ 4446927 w 4519987"/>
                    <a:gd name="connsiteY29" fmla="*/ 2768600 h 4478541"/>
                    <a:gd name="connsiteX30" fmla="*/ 4383427 w 4519987"/>
                    <a:gd name="connsiteY30" fmla="*/ 2990850 h 4478541"/>
                    <a:gd name="connsiteX31" fmla="*/ 4278652 w 4519987"/>
                    <a:gd name="connsiteY31" fmla="*/ 3248025 h 4478541"/>
                    <a:gd name="connsiteX32" fmla="*/ 4183402 w 4519987"/>
                    <a:gd name="connsiteY32" fmla="*/ 3400425 h 4478541"/>
                    <a:gd name="connsiteX33" fmla="*/ 4059577 w 4519987"/>
                    <a:gd name="connsiteY33" fmla="*/ 3533775 h 4478541"/>
                    <a:gd name="connsiteX34" fmla="*/ 3954802 w 4519987"/>
                    <a:gd name="connsiteY34" fmla="*/ 3648075 h 4478541"/>
                    <a:gd name="connsiteX35" fmla="*/ 3659527 w 4519987"/>
                    <a:gd name="connsiteY35" fmla="*/ 3971925 h 4478541"/>
                    <a:gd name="connsiteX36" fmla="*/ 3516652 w 4519987"/>
                    <a:gd name="connsiteY36" fmla="*/ 4083050 h 4478541"/>
                    <a:gd name="connsiteX37" fmla="*/ 3221377 w 4519987"/>
                    <a:gd name="connsiteY37" fmla="*/ 4222750 h 4478541"/>
                    <a:gd name="connsiteX38" fmla="*/ 3068977 w 4519987"/>
                    <a:gd name="connsiteY38" fmla="*/ 4286250 h 4478541"/>
                    <a:gd name="connsiteX39" fmla="*/ 2935627 w 4519987"/>
                    <a:gd name="connsiteY39" fmla="*/ 4333875 h 4478541"/>
                    <a:gd name="connsiteX40" fmla="*/ 2811802 w 4519987"/>
                    <a:gd name="connsiteY40" fmla="*/ 4371975 h 4478541"/>
                    <a:gd name="connsiteX41" fmla="*/ 2745127 w 4519987"/>
                    <a:gd name="connsiteY41" fmla="*/ 4410075 h 4478541"/>
                    <a:gd name="connsiteX42" fmla="*/ 2306977 w 4519987"/>
                    <a:gd name="connsiteY42" fmla="*/ 4476750 h 4478541"/>
                    <a:gd name="connsiteX43" fmla="*/ 2202202 w 4519987"/>
                    <a:gd name="connsiteY43" fmla="*/ 4457700 h 4478541"/>
                    <a:gd name="connsiteX44" fmla="*/ 2126002 w 4519987"/>
                    <a:gd name="connsiteY44" fmla="*/ 4429125 h 4478541"/>
                    <a:gd name="connsiteX45" fmla="*/ 1935502 w 4519987"/>
                    <a:gd name="connsiteY45" fmla="*/ 4400550 h 4478541"/>
                    <a:gd name="connsiteX46" fmla="*/ 1821202 w 4519987"/>
                    <a:gd name="connsiteY46" fmla="*/ 4371975 h 4478541"/>
                    <a:gd name="connsiteX47" fmla="*/ 1754527 w 4519987"/>
                    <a:gd name="connsiteY47" fmla="*/ 4352925 h 4478541"/>
                    <a:gd name="connsiteX48" fmla="*/ 1687852 w 4519987"/>
                    <a:gd name="connsiteY48" fmla="*/ 4343400 h 4478541"/>
                    <a:gd name="connsiteX49" fmla="*/ 1573552 w 4519987"/>
                    <a:gd name="connsiteY49" fmla="*/ 4305300 h 4478541"/>
                    <a:gd name="connsiteX50" fmla="*/ 1402102 w 4519987"/>
                    <a:gd name="connsiteY50" fmla="*/ 4276725 h 4478541"/>
                    <a:gd name="connsiteX51" fmla="*/ 1287802 w 4519987"/>
                    <a:gd name="connsiteY51" fmla="*/ 4229100 h 4478541"/>
                    <a:gd name="connsiteX52" fmla="*/ 1221127 w 4519987"/>
                    <a:gd name="connsiteY52" fmla="*/ 4200525 h 4478541"/>
                    <a:gd name="connsiteX53" fmla="*/ 1144927 w 4519987"/>
                    <a:gd name="connsiteY53" fmla="*/ 4171950 h 4478541"/>
                    <a:gd name="connsiteX54" fmla="*/ 1087777 w 4519987"/>
                    <a:gd name="connsiteY54" fmla="*/ 4143375 h 4478541"/>
                    <a:gd name="connsiteX55" fmla="*/ 1030627 w 4519987"/>
                    <a:gd name="connsiteY55" fmla="*/ 4124325 h 4478541"/>
                    <a:gd name="connsiteX56" fmla="*/ 925852 w 4519987"/>
                    <a:gd name="connsiteY56" fmla="*/ 4067175 h 4478541"/>
                    <a:gd name="connsiteX57" fmla="*/ 830602 w 4519987"/>
                    <a:gd name="connsiteY57" fmla="*/ 3981450 h 4478541"/>
                    <a:gd name="connsiteX58" fmla="*/ 763927 w 4519987"/>
                    <a:gd name="connsiteY58" fmla="*/ 3914775 h 4478541"/>
                    <a:gd name="connsiteX59" fmla="*/ 725827 w 4519987"/>
                    <a:gd name="connsiteY59" fmla="*/ 3876675 h 4478541"/>
                    <a:gd name="connsiteX60" fmla="*/ 697252 w 4519987"/>
                    <a:gd name="connsiteY60" fmla="*/ 3838575 h 4478541"/>
                    <a:gd name="connsiteX61" fmla="*/ 640102 w 4519987"/>
                    <a:gd name="connsiteY61" fmla="*/ 3781425 h 4478541"/>
                    <a:gd name="connsiteX62" fmla="*/ 611527 w 4519987"/>
                    <a:gd name="connsiteY62" fmla="*/ 3733800 h 4478541"/>
                    <a:gd name="connsiteX63" fmla="*/ 554377 w 4519987"/>
                    <a:gd name="connsiteY63" fmla="*/ 3657600 h 4478541"/>
                    <a:gd name="connsiteX64" fmla="*/ 525802 w 4519987"/>
                    <a:gd name="connsiteY64" fmla="*/ 3609975 h 4478541"/>
                    <a:gd name="connsiteX65" fmla="*/ 497227 w 4519987"/>
                    <a:gd name="connsiteY65" fmla="*/ 3552825 h 4478541"/>
                    <a:gd name="connsiteX66" fmla="*/ 440077 w 4519987"/>
                    <a:gd name="connsiteY66" fmla="*/ 3495675 h 4478541"/>
                    <a:gd name="connsiteX67" fmla="*/ 411502 w 4519987"/>
                    <a:gd name="connsiteY67" fmla="*/ 3448050 h 4478541"/>
                    <a:gd name="connsiteX68" fmla="*/ 278152 w 4519987"/>
                    <a:gd name="connsiteY68" fmla="*/ 3257550 h 4478541"/>
                    <a:gd name="connsiteX69" fmla="*/ 249577 w 4519987"/>
                    <a:gd name="connsiteY69" fmla="*/ 3200400 h 4478541"/>
                    <a:gd name="connsiteX70" fmla="*/ 240052 w 4519987"/>
                    <a:gd name="connsiteY70" fmla="*/ 3162300 h 4478541"/>
                    <a:gd name="connsiteX71" fmla="*/ 221002 w 4519987"/>
                    <a:gd name="connsiteY71" fmla="*/ 3105150 h 4478541"/>
                    <a:gd name="connsiteX72" fmla="*/ 173377 w 4519987"/>
                    <a:gd name="connsiteY72" fmla="*/ 3019425 h 4478541"/>
                    <a:gd name="connsiteX73" fmla="*/ 144802 w 4519987"/>
                    <a:gd name="connsiteY73" fmla="*/ 2924175 h 4478541"/>
                    <a:gd name="connsiteX74" fmla="*/ 68602 w 4519987"/>
                    <a:gd name="connsiteY74" fmla="*/ 2724150 h 4478541"/>
                    <a:gd name="connsiteX75" fmla="*/ 49552 w 4519987"/>
                    <a:gd name="connsiteY75" fmla="*/ 2638425 h 4478541"/>
                    <a:gd name="connsiteX76" fmla="*/ 40027 w 4519987"/>
                    <a:gd name="connsiteY76" fmla="*/ 2562225 h 4478541"/>
                    <a:gd name="connsiteX77" fmla="*/ 30502 w 4519987"/>
                    <a:gd name="connsiteY77" fmla="*/ 2514600 h 4478541"/>
                    <a:gd name="connsiteX78" fmla="*/ 11452 w 4519987"/>
                    <a:gd name="connsiteY78" fmla="*/ 2400300 h 4478541"/>
                    <a:gd name="connsiteX79" fmla="*/ 20977 w 4519987"/>
                    <a:gd name="connsiteY79" fmla="*/ 1905000 h 4478541"/>
                    <a:gd name="connsiteX80" fmla="*/ 30502 w 4519987"/>
                    <a:gd name="connsiteY80" fmla="*/ 1838325 h 4478541"/>
                    <a:gd name="connsiteX81" fmla="*/ 49552 w 4519987"/>
                    <a:gd name="connsiteY81" fmla="*/ 1781175 h 4478541"/>
                    <a:gd name="connsiteX82" fmla="*/ 59077 w 4519987"/>
                    <a:gd name="connsiteY82" fmla="*/ 1743075 h 4478541"/>
                    <a:gd name="connsiteX83" fmla="*/ 78127 w 4519987"/>
                    <a:gd name="connsiteY83" fmla="*/ 1685925 h 4478541"/>
                    <a:gd name="connsiteX84" fmla="*/ 87652 w 4519987"/>
                    <a:gd name="connsiteY84" fmla="*/ 1638300 h 4478541"/>
                    <a:gd name="connsiteX85" fmla="*/ 106702 w 4519987"/>
                    <a:gd name="connsiteY85" fmla="*/ 1590675 h 4478541"/>
                    <a:gd name="connsiteX86" fmla="*/ 135277 w 4519987"/>
                    <a:gd name="connsiteY86" fmla="*/ 1504950 h 4478541"/>
                    <a:gd name="connsiteX87" fmla="*/ 154327 w 4519987"/>
                    <a:gd name="connsiteY87" fmla="*/ 1419225 h 4478541"/>
                    <a:gd name="connsiteX88" fmla="*/ 230527 w 4519987"/>
                    <a:gd name="connsiteY88" fmla="*/ 1276350 h 4478541"/>
                    <a:gd name="connsiteX89" fmla="*/ 240052 w 4519987"/>
                    <a:gd name="connsiteY89" fmla="*/ 1247775 h 4478541"/>
                    <a:gd name="connsiteX90" fmla="*/ 268627 w 4519987"/>
                    <a:gd name="connsiteY90" fmla="*/ 1200150 h 4478541"/>
                    <a:gd name="connsiteX91" fmla="*/ 287677 w 4519987"/>
                    <a:gd name="connsiteY91" fmla="*/ 1152525 h 4478541"/>
                    <a:gd name="connsiteX92" fmla="*/ 316252 w 4519987"/>
                    <a:gd name="connsiteY92" fmla="*/ 1114425 h 4478541"/>
                    <a:gd name="connsiteX93" fmla="*/ 363877 w 4519987"/>
                    <a:gd name="connsiteY93" fmla="*/ 1038225 h 4478541"/>
                    <a:gd name="connsiteX94" fmla="*/ 382927 w 4519987"/>
                    <a:gd name="connsiteY94" fmla="*/ 1009650 h 4478541"/>
                    <a:gd name="connsiteX95" fmla="*/ 440077 w 4519987"/>
                    <a:gd name="connsiteY95" fmla="*/ 904875 h 4478541"/>
                    <a:gd name="connsiteX96" fmla="*/ 478177 w 4519987"/>
                    <a:gd name="connsiteY96" fmla="*/ 857250 h 4478541"/>
                    <a:gd name="connsiteX97" fmla="*/ 497227 w 4519987"/>
                    <a:gd name="connsiteY97" fmla="*/ 828675 h 4478541"/>
                    <a:gd name="connsiteX98" fmla="*/ 535327 w 4519987"/>
                    <a:gd name="connsiteY98" fmla="*/ 800100 h 4478541"/>
                    <a:gd name="connsiteX99" fmla="*/ 602002 w 4519987"/>
                    <a:gd name="connsiteY99" fmla="*/ 733425 h 4478541"/>
                    <a:gd name="connsiteX100" fmla="*/ 668677 w 4519987"/>
                    <a:gd name="connsiteY100" fmla="*/ 676275 h 4478541"/>
                    <a:gd name="connsiteX101" fmla="*/ 697252 w 4519987"/>
                    <a:gd name="connsiteY101" fmla="*/ 657225 h 4478541"/>
                    <a:gd name="connsiteX102" fmla="*/ 840127 w 4519987"/>
                    <a:gd name="connsiteY102" fmla="*/ 533400 h 4478541"/>
                    <a:gd name="connsiteX103" fmla="*/ 887752 w 4519987"/>
                    <a:gd name="connsiteY103" fmla="*/ 504825 h 4478541"/>
                    <a:gd name="connsiteX104" fmla="*/ 1167152 w 4519987"/>
                    <a:gd name="connsiteY104" fmla="*/ 311150 h 4478541"/>
                    <a:gd name="connsiteX105" fmla="*/ 1268752 w 4519987"/>
                    <a:gd name="connsiteY105" fmla="*/ 285750 h 4478541"/>
                    <a:gd name="connsiteX106" fmla="*/ 1411627 w 4519987"/>
                    <a:gd name="connsiteY106" fmla="*/ 190500 h 4478541"/>
                    <a:gd name="connsiteX107" fmla="*/ 1449727 w 4519987"/>
                    <a:gd name="connsiteY107" fmla="*/ 161925 h 4478541"/>
                    <a:gd name="connsiteX108" fmla="*/ 1525927 w 4519987"/>
                    <a:gd name="connsiteY108" fmla="*/ 152400 h 4478541"/>
                    <a:gd name="connsiteX109" fmla="*/ 1583077 w 4519987"/>
                    <a:gd name="connsiteY109" fmla="*/ 142875 h 4478541"/>
                    <a:gd name="connsiteX110" fmla="*/ 1716427 w 4519987"/>
                    <a:gd name="connsiteY110" fmla="*/ 123825 h 4478541"/>
                    <a:gd name="connsiteX111" fmla="*/ 1811677 w 4519987"/>
                    <a:gd name="connsiteY111" fmla="*/ 114300 h 4478541"/>
                    <a:gd name="connsiteX112" fmla="*/ 1859302 w 4519987"/>
                    <a:gd name="connsiteY112" fmla="*/ 104775 h 4478541"/>
                    <a:gd name="connsiteX113" fmla="*/ 1916452 w 4519987"/>
                    <a:gd name="connsiteY113" fmla="*/ 95250 h 4478541"/>
                    <a:gd name="connsiteX114" fmla="*/ 2030752 w 4519987"/>
                    <a:gd name="connsiteY114" fmla="*/ 66675 h 4478541"/>
                    <a:gd name="connsiteX115" fmla="*/ 2097427 w 4519987"/>
                    <a:gd name="connsiteY115" fmla="*/ 47625 h 4478541"/>
                    <a:gd name="connsiteX116" fmla="*/ 2164102 w 4519987"/>
                    <a:gd name="connsiteY116" fmla="*/ 38100 h 4478541"/>
                    <a:gd name="connsiteX117" fmla="*/ 2392702 w 4519987"/>
                    <a:gd name="connsiteY117" fmla="*/ 28575 h 4478541"/>
                    <a:gd name="connsiteX0" fmla="*/ 2297452 w 4519987"/>
                    <a:gd name="connsiteY0" fmla="*/ 0 h 4476750"/>
                    <a:gd name="connsiteX1" fmla="*/ 2421277 w 4519987"/>
                    <a:gd name="connsiteY1" fmla="*/ 28575 h 4476750"/>
                    <a:gd name="connsiteX2" fmla="*/ 2497477 w 4519987"/>
                    <a:gd name="connsiteY2" fmla="*/ 47625 h 4476750"/>
                    <a:gd name="connsiteX3" fmla="*/ 2754652 w 4519987"/>
                    <a:gd name="connsiteY3" fmla="*/ 66675 h 4476750"/>
                    <a:gd name="connsiteX4" fmla="*/ 2830852 w 4519987"/>
                    <a:gd name="connsiteY4" fmla="*/ 76200 h 4476750"/>
                    <a:gd name="connsiteX5" fmla="*/ 2916577 w 4519987"/>
                    <a:gd name="connsiteY5" fmla="*/ 85725 h 4476750"/>
                    <a:gd name="connsiteX6" fmla="*/ 2973727 w 4519987"/>
                    <a:gd name="connsiteY6" fmla="*/ 114300 h 4476750"/>
                    <a:gd name="connsiteX7" fmla="*/ 3011827 w 4519987"/>
                    <a:gd name="connsiteY7" fmla="*/ 123825 h 4476750"/>
                    <a:gd name="connsiteX8" fmla="*/ 3135652 w 4519987"/>
                    <a:gd name="connsiteY8" fmla="*/ 171450 h 4476750"/>
                    <a:gd name="connsiteX9" fmla="*/ 3173752 w 4519987"/>
                    <a:gd name="connsiteY9" fmla="*/ 190500 h 4476750"/>
                    <a:gd name="connsiteX10" fmla="*/ 3240427 w 4519987"/>
                    <a:gd name="connsiteY10" fmla="*/ 228600 h 4476750"/>
                    <a:gd name="connsiteX11" fmla="*/ 3269002 w 4519987"/>
                    <a:gd name="connsiteY11" fmla="*/ 238125 h 4476750"/>
                    <a:gd name="connsiteX12" fmla="*/ 3297577 w 4519987"/>
                    <a:gd name="connsiteY12" fmla="*/ 257175 h 4476750"/>
                    <a:gd name="connsiteX13" fmla="*/ 3326152 w 4519987"/>
                    <a:gd name="connsiteY13" fmla="*/ 266700 h 4476750"/>
                    <a:gd name="connsiteX14" fmla="*/ 3354727 w 4519987"/>
                    <a:gd name="connsiteY14" fmla="*/ 285750 h 4476750"/>
                    <a:gd name="connsiteX15" fmla="*/ 3421402 w 4519987"/>
                    <a:gd name="connsiteY15" fmla="*/ 323850 h 4476750"/>
                    <a:gd name="connsiteX16" fmla="*/ 3469027 w 4519987"/>
                    <a:gd name="connsiteY16" fmla="*/ 361950 h 4476750"/>
                    <a:gd name="connsiteX17" fmla="*/ 3516652 w 4519987"/>
                    <a:gd name="connsiteY17" fmla="*/ 390525 h 4476750"/>
                    <a:gd name="connsiteX18" fmla="*/ 3630952 w 4519987"/>
                    <a:gd name="connsiteY18" fmla="*/ 485775 h 4476750"/>
                    <a:gd name="connsiteX19" fmla="*/ 3745252 w 4519987"/>
                    <a:gd name="connsiteY19" fmla="*/ 542925 h 4476750"/>
                    <a:gd name="connsiteX20" fmla="*/ 3811927 w 4519987"/>
                    <a:gd name="connsiteY20" fmla="*/ 581025 h 4476750"/>
                    <a:gd name="connsiteX21" fmla="*/ 4027827 w 4519987"/>
                    <a:gd name="connsiteY21" fmla="*/ 819150 h 4476750"/>
                    <a:gd name="connsiteX22" fmla="*/ 4164352 w 4519987"/>
                    <a:gd name="connsiteY22" fmla="*/ 990600 h 4476750"/>
                    <a:gd name="connsiteX23" fmla="*/ 4250077 w 4519987"/>
                    <a:gd name="connsiteY23" fmla="*/ 1143000 h 4476750"/>
                    <a:gd name="connsiteX24" fmla="*/ 4307227 w 4519987"/>
                    <a:gd name="connsiteY24" fmla="*/ 1266825 h 4476750"/>
                    <a:gd name="connsiteX25" fmla="*/ 4345327 w 4519987"/>
                    <a:gd name="connsiteY25" fmla="*/ 1362075 h 4476750"/>
                    <a:gd name="connsiteX26" fmla="*/ 4392952 w 4519987"/>
                    <a:gd name="connsiteY26" fmla="*/ 1552575 h 4476750"/>
                    <a:gd name="connsiteX27" fmla="*/ 4431052 w 4519987"/>
                    <a:gd name="connsiteY27" fmla="*/ 1685925 h 4476750"/>
                    <a:gd name="connsiteX28" fmla="*/ 4519952 w 4519987"/>
                    <a:gd name="connsiteY28" fmla="*/ 2181225 h 4476750"/>
                    <a:gd name="connsiteX29" fmla="*/ 4446927 w 4519987"/>
                    <a:gd name="connsiteY29" fmla="*/ 2768600 h 4476750"/>
                    <a:gd name="connsiteX30" fmla="*/ 4383427 w 4519987"/>
                    <a:gd name="connsiteY30" fmla="*/ 2990850 h 4476750"/>
                    <a:gd name="connsiteX31" fmla="*/ 4278652 w 4519987"/>
                    <a:gd name="connsiteY31" fmla="*/ 3248025 h 4476750"/>
                    <a:gd name="connsiteX32" fmla="*/ 4183402 w 4519987"/>
                    <a:gd name="connsiteY32" fmla="*/ 3400425 h 4476750"/>
                    <a:gd name="connsiteX33" fmla="*/ 4059577 w 4519987"/>
                    <a:gd name="connsiteY33" fmla="*/ 3533775 h 4476750"/>
                    <a:gd name="connsiteX34" fmla="*/ 3954802 w 4519987"/>
                    <a:gd name="connsiteY34" fmla="*/ 3648075 h 4476750"/>
                    <a:gd name="connsiteX35" fmla="*/ 3659527 w 4519987"/>
                    <a:gd name="connsiteY35" fmla="*/ 3971925 h 4476750"/>
                    <a:gd name="connsiteX36" fmla="*/ 3516652 w 4519987"/>
                    <a:gd name="connsiteY36" fmla="*/ 4083050 h 4476750"/>
                    <a:gd name="connsiteX37" fmla="*/ 3221377 w 4519987"/>
                    <a:gd name="connsiteY37" fmla="*/ 4222750 h 4476750"/>
                    <a:gd name="connsiteX38" fmla="*/ 3068977 w 4519987"/>
                    <a:gd name="connsiteY38" fmla="*/ 4286250 h 4476750"/>
                    <a:gd name="connsiteX39" fmla="*/ 2935627 w 4519987"/>
                    <a:gd name="connsiteY39" fmla="*/ 4333875 h 4476750"/>
                    <a:gd name="connsiteX40" fmla="*/ 2811802 w 4519987"/>
                    <a:gd name="connsiteY40" fmla="*/ 4371975 h 4476750"/>
                    <a:gd name="connsiteX41" fmla="*/ 2580027 w 4519987"/>
                    <a:gd name="connsiteY41" fmla="*/ 4391025 h 4476750"/>
                    <a:gd name="connsiteX42" fmla="*/ 2306977 w 4519987"/>
                    <a:gd name="connsiteY42" fmla="*/ 4476750 h 4476750"/>
                    <a:gd name="connsiteX43" fmla="*/ 2202202 w 4519987"/>
                    <a:gd name="connsiteY43" fmla="*/ 4457700 h 4476750"/>
                    <a:gd name="connsiteX44" fmla="*/ 2126002 w 4519987"/>
                    <a:gd name="connsiteY44" fmla="*/ 4429125 h 4476750"/>
                    <a:gd name="connsiteX45" fmla="*/ 1935502 w 4519987"/>
                    <a:gd name="connsiteY45" fmla="*/ 4400550 h 4476750"/>
                    <a:gd name="connsiteX46" fmla="*/ 1821202 w 4519987"/>
                    <a:gd name="connsiteY46" fmla="*/ 4371975 h 4476750"/>
                    <a:gd name="connsiteX47" fmla="*/ 1754527 w 4519987"/>
                    <a:gd name="connsiteY47" fmla="*/ 4352925 h 4476750"/>
                    <a:gd name="connsiteX48" fmla="*/ 1687852 w 4519987"/>
                    <a:gd name="connsiteY48" fmla="*/ 4343400 h 4476750"/>
                    <a:gd name="connsiteX49" fmla="*/ 1573552 w 4519987"/>
                    <a:gd name="connsiteY49" fmla="*/ 4305300 h 4476750"/>
                    <a:gd name="connsiteX50" fmla="*/ 1402102 w 4519987"/>
                    <a:gd name="connsiteY50" fmla="*/ 4276725 h 4476750"/>
                    <a:gd name="connsiteX51" fmla="*/ 1287802 w 4519987"/>
                    <a:gd name="connsiteY51" fmla="*/ 4229100 h 4476750"/>
                    <a:gd name="connsiteX52" fmla="*/ 1221127 w 4519987"/>
                    <a:gd name="connsiteY52" fmla="*/ 4200525 h 4476750"/>
                    <a:gd name="connsiteX53" fmla="*/ 1144927 w 4519987"/>
                    <a:gd name="connsiteY53" fmla="*/ 4171950 h 4476750"/>
                    <a:gd name="connsiteX54" fmla="*/ 1087777 w 4519987"/>
                    <a:gd name="connsiteY54" fmla="*/ 4143375 h 4476750"/>
                    <a:gd name="connsiteX55" fmla="*/ 1030627 w 4519987"/>
                    <a:gd name="connsiteY55" fmla="*/ 4124325 h 4476750"/>
                    <a:gd name="connsiteX56" fmla="*/ 925852 w 4519987"/>
                    <a:gd name="connsiteY56" fmla="*/ 4067175 h 4476750"/>
                    <a:gd name="connsiteX57" fmla="*/ 830602 w 4519987"/>
                    <a:gd name="connsiteY57" fmla="*/ 3981450 h 4476750"/>
                    <a:gd name="connsiteX58" fmla="*/ 763927 w 4519987"/>
                    <a:gd name="connsiteY58" fmla="*/ 3914775 h 4476750"/>
                    <a:gd name="connsiteX59" fmla="*/ 725827 w 4519987"/>
                    <a:gd name="connsiteY59" fmla="*/ 3876675 h 4476750"/>
                    <a:gd name="connsiteX60" fmla="*/ 697252 w 4519987"/>
                    <a:gd name="connsiteY60" fmla="*/ 3838575 h 4476750"/>
                    <a:gd name="connsiteX61" fmla="*/ 640102 w 4519987"/>
                    <a:gd name="connsiteY61" fmla="*/ 3781425 h 4476750"/>
                    <a:gd name="connsiteX62" fmla="*/ 611527 w 4519987"/>
                    <a:gd name="connsiteY62" fmla="*/ 3733800 h 4476750"/>
                    <a:gd name="connsiteX63" fmla="*/ 554377 w 4519987"/>
                    <a:gd name="connsiteY63" fmla="*/ 3657600 h 4476750"/>
                    <a:gd name="connsiteX64" fmla="*/ 525802 w 4519987"/>
                    <a:gd name="connsiteY64" fmla="*/ 3609975 h 4476750"/>
                    <a:gd name="connsiteX65" fmla="*/ 497227 w 4519987"/>
                    <a:gd name="connsiteY65" fmla="*/ 3552825 h 4476750"/>
                    <a:gd name="connsiteX66" fmla="*/ 440077 w 4519987"/>
                    <a:gd name="connsiteY66" fmla="*/ 3495675 h 4476750"/>
                    <a:gd name="connsiteX67" fmla="*/ 411502 w 4519987"/>
                    <a:gd name="connsiteY67" fmla="*/ 3448050 h 4476750"/>
                    <a:gd name="connsiteX68" fmla="*/ 278152 w 4519987"/>
                    <a:gd name="connsiteY68" fmla="*/ 3257550 h 4476750"/>
                    <a:gd name="connsiteX69" fmla="*/ 249577 w 4519987"/>
                    <a:gd name="connsiteY69" fmla="*/ 3200400 h 4476750"/>
                    <a:gd name="connsiteX70" fmla="*/ 240052 w 4519987"/>
                    <a:gd name="connsiteY70" fmla="*/ 3162300 h 4476750"/>
                    <a:gd name="connsiteX71" fmla="*/ 221002 w 4519987"/>
                    <a:gd name="connsiteY71" fmla="*/ 3105150 h 4476750"/>
                    <a:gd name="connsiteX72" fmla="*/ 173377 w 4519987"/>
                    <a:gd name="connsiteY72" fmla="*/ 3019425 h 4476750"/>
                    <a:gd name="connsiteX73" fmla="*/ 144802 w 4519987"/>
                    <a:gd name="connsiteY73" fmla="*/ 2924175 h 4476750"/>
                    <a:gd name="connsiteX74" fmla="*/ 68602 w 4519987"/>
                    <a:gd name="connsiteY74" fmla="*/ 2724150 h 4476750"/>
                    <a:gd name="connsiteX75" fmla="*/ 49552 w 4519987"/>
                    <a:gd name="connsiteY75" fmla="*/ 2638425 h 4476750"/>
                    <a:gd name="connsiteX76" fmla="*/ 40027 w 4519987"/>
                    <a:gd name="connsiteY76" fmla="*/ 2562225 h 4476750"/>
                    <a:gd name="connsiteX77" fmla="*/ 30502 w 4519987"/>
                    <a:gd name="connsiteY77" fmla="*/ 2514600 h 4476750"/>
                    <a:gd name="connsiteX78" fmla="*/ 11452 w 4519987"/>
                    <a:gd name="connsiteY78" fmla="*/ 2400300 h 4476750"/>
                    <a:gd name="connsiteX79" fmla="*/ 20977 w 4519987"/>
                    <a:gd name="connsiteY79" fmla="*/ 1905000 h 4476750"/>
                    <a:gd name="connsiteX80" fmla="*/ 30502 w 4519987"/>
                    <a:gd name="connsiteY80" fmla="*/ 1838325 h 4476750"/>
                    <a:gd name="connsiteX81" fmla="*/ 49552 w 4519987"/>
                    <a:gd name="connsiteY81" fmla="*/ 1781175 h 4476750"/>
                    <a:gd name="connsiteX82" fmla="*/ 59077 w 4519987"/>
                    <a:gd name="connsiteY82" fmla="*/ 1743075 h 4476750"/>
                    <a:gd name="connsiteX83" fmla="*/ 78127 w 4519987"/>
                    <a:gd name="connsiteY83" fmla="*/ 1685925 h 4476750"/>
                    <a:gd name="connsiteX84" fmla="*/ 87652 w 4519987"/>
                    <a:gd name="connsiteY84" fmla="*/ 1638300 h 4476750"/>
                    <a:gd name="connsiteX85" fmla="*/ 106702 w 4519987"/>
                    <a:gd name="connsiteY85" fmla="*/ 1590675 h 4476750"/>
                    <a:gd name="connsiteX86" fmla="*/ 135277 w 4519987"/>
                    <a:gd name="connsiteY86" fmla="*/ 1504950 h 4476750"/>
                    <a:gd name="connsiteX87" fmla="*/ 154327 w 4519987"/>
                    <a:gd name="connsiteY87" fmla="*/ 1419225 h 4476750"/>
                    <a:gd name="connsiteX88" fmla="*/ 230527 w 4519987"/>
                    <a:gd name="connsiteY88" fmla="*/ 1276350 h 4476750"/>
                    <a:gd name="connsiteX89" fmla="*/ 240052 w 4519987"/>
                    <a:gd name="connsiteY89" fmla="*/ 1247775 h 4476750"/>
                    <a:gd name="connsiteX90" fmla="*/ 268627 w 4519987"/>
                    <a:gd name="connsiteY90" fmla="*/ 1200150 h 4476750"/>
                    <a:gd name="connsiteX91" fmla="*/ 287677 w 4519987"/>
                    <a:gd name="connsiteY91" fmla="*/ 1152525 h 4476750"/>
                    <a:gd name="connsiteX92" fmla="*/ 316252 w 4519987"/>
                    <a:gd name="connsiteY92" fmla="*/ 1114425 h 4476750"/>
                    <a:gd name="connsiteX93" fmla="*/ 363877 w 4519987"/>
                    <a:gd name="connsiteY93" fmla="*/ 1038225 h 4476750"/>
                    <a:gd name="connsiteX94" fmla="*/ 382927 w 4519987"/>
                    <a:gd name="connsiteY94" fmla="*/ 1009650 h 4476750"/>
                    <a:gd name="connsiteX95" fmla="*/ 440077 w 4519987"/>
                    <a:gd name="connsiteY95" fmla="*/ 904875 h 4476750"/>
                    <a:gd name="connsiteX96" fmla="*/ 478177 w 4519987"/>
                    <a:gd name="connsiteY96" fmla="*/ 857250 h 4476750"/>
                    <a:gd name="connsiteX97" fmla="*/ 497227 w 4519987"/>
                    <a:gd name="connsiteY97" fmla="*/ 828675 h 4476750"/>
                    <a:gd name="connsiteX98" fmla="*/ 535327 w 4519987"/>
                    <a:gd name="connsiteY98" fmla="*/ 800100 h 4476750"/>
                    <a:gd name="connsiteX99" fmla="*/ 602002 w 4519987"/>
                    <a:gd name="connsiteY99" fmla="*/ 733425 h 4476750"/>
                    <a:gd name="connsiteX100" fmla="*/ 668677 w 4519987"/>
                    <a:gd name="connsiteY100" fmla="*/ 676275 h 4476750"/>
                    <a:gd name="connsiteX101" fmla="*/ 697252 w 4519987"/>
                    <a:gd name="connsiteY101" fmla="*/ 657225 h 4476750"/>
                    <a:gd name="connsiteX102" fmla="*/ 840127 w 4519987"/>
                    <a:gd name="connsiteY102" fmla="*/ 533400 h 4476750"/>
                    <a:gd name="connsiteX103" fmla="*/ 887752 w 4519987"/>
                    <a:gd name="connsiteY103" fmla="*/ 504825 h 4476750"/>
                    <a:gd name="connsiteX104" fmla="*/ 1167152 w 4519987"/>
                    <a:gd name="connsiteY104" fmla="*/ 311150 h 4476750"/>
                    <a:gd name="connsiteX105" fmla="*/ 1268752 w 4519987"/>
                    <a:gd name="connsiteY105" fmla="*/ 285750 h 4476750"/>
                    <a:gd name="connsiteX106" fmla="*/ 1411627 w 4519987"/>
                    <a:gd name="connsiteY106" fmla="*/ 190500 h 4476750"/>
                    <a:gd name="connsiteX107" fmla="*/ 1449727 w 4519987"/>
                    <a:gd name="connsiteY107" fmla="*/ 161925 h 4476750"/>
                    <a:gd name="connsiteX108" fmla="*/ 1525927 w 4519987"/>
                    <a:gd name="connsiteY108" fmla="*/ 152400 h 4476750"/>
                    <a:gd name="connsiteX109" fmla="*/ 1583077 w 4519987"/>
                    <a:gd name="connsiteY109" fmla="*/ 142875 h 4476750"/>
                    <a:gd name="connsiteX110" fmla="*/ 1716427 w 4519987"/>
                    <a:gd name="connsiteY110" fmla="*/ 123825 h 4476750"/>
                    <a:gd name="connsiteX111" fmla="*/ 1811677 w 4519987"/>
                    <a:gd name="connsiteY111" fmla="*/ 114300 h 4476750"/>
                    <a:gd name="connsiteX112" fmla="*/ 1859302 w 4519987"/>
                    <a:gd name="connsiteY112" fmla="*/ 104775 h 4476750"/>
                    <a:gd name="connsiteX113" fmla="*/ 1916452 w 4519987"/>
                    <a:gd name="connsiteY113" fmla="*/ 95250 h 4476750"/>
                    <a:gd name="connsiteX114" fmla="*/ 2030752 w 4519987"/>
                    <a:gd name="connsiteY114" fmla="*/ 66675 h 4476750"/>
                    <a:gd name="connsiteX115" fmla="*/ 2097427 w 4519987"/>
                    <a:gd name="connsiteY115" fmla="*/ 47625 h 4476750"/>
                    <a:gd name="connsiteX116" fmla="*/ 2164102 w 4519987"/>
                    <a:gd name="connsiteY116" fmla="*/ 38100 h 4476750"/>
                    <a:gd name="connsiteX117" fmla="*/ 2392702 w 4519987"/>
                    <a:gd name="connsiteY117" fmla="*/ 28575 h 4476750"/>
                    <a:gd name="connsiteX0" fmla="*/ 2297452 w 4519987"/>
                    <a:gd name="connsiteY0" fmla="*/ 0 h 4457700"/>
                    <a:gd name="connsiteX1" fmla="*/ 2421277 w 4519987"/>
                    <a:gd name="connsiteY1" fmla="*/ 28575 h 4457700"/>
                    <a:gd name="connsiteX2" fmla="*/ 2497477 w 4519987"/>
                    <a:gd name="connsiteY2" fmla="*/ 47625 h 4457700"/>
                    <a:gd name="connsiteX3" fmla="*/ 2754652 w 4519987"/>
                    <a:gd name="connsiteY3" fmla="*/ 66675 h 4457700"/>
                    <a:gd name="connsiteX4" fmla="*/ 2830852 w 4519987"/>
                    <a:gd name="connsiteY4" fmla="*/ 76200 h 4457700"/>
                    <a:gd name="connsiteX5" fmla="*/ 2916577 w 4519987"/>
                    <a:gd name="connsiteY5" fmla="*/ 85725 h 4457700"/>
                    <a:gd name="connsiteX6" fmla="*/ 2973727 w 4519987"/>
                    <a:gd name="connsiteY6" fmla="*/ 114300 h 4457700"/>
                    <a:gd name="connsiteX7" fmla="*/ 3011827 w 4519987"/>
                    <a:gd name="connsiteY7" fmla="*/ 123825 h 4457700"/>
                    <a:gd name="connsiteX8" fmla="*/ 3135652 w 4519987"/>
                    <a:gd name="connsiteY8" fmla="*/ 171450 h 4457700"/>
                    <a:gd name="connsiteX9" fmla="*/ 3173752 w 4519987"/>
                    <a:gd name="connsiteY9" fmla="*/ 190500 h 4457700"/>
                    <a:gd name="connsiteX10" fmla="*/ 3240427 w 4519987"/>
                    <a:gd name="connsiteY10" fmla="*/ 228600 h 4457700"/>
                    <a:gd name="connsiteX11" fmla="*/ 3269002 w 4519987"/>
                    <a:gd name="connsiteY11" fmla="*/ 238125 h 4457700"/>
                    <a:gd name="connsiteX12" fmla="*/ 3297577 w 4519987"/>
                    <a:gd name="connsiteY12" fmla="*/ 257175 h 4457700"/>
                    <a:gd name="connsiteX13" fmla="*/ 3326152 w 4519987"/>
                    <a:gd name="connsiteY13" fmla="*/ 266700 h 4457700"/>
                    <a:gd name="connsiteX14" fmla="*/ 3354727 w 4519987"/>
                    <a:gd name="connsiteY14" fmla="*/ 285750 h 4457700"/>
                    <a:gd name="connsiteX15" fmla="*/ 3421402 w 4519987"/>
                    <a:gd name="connsiteY15" fmla="*/ 323850 h 4457700"/>
                    <a:gd name="connsiteX16" fmla="*/ 3469027 w 4519987"/>
                    <a:gd name="connsiteY16" fmla="*/ 361950 h 4457700"/>
                    <a:gd name="connsiteX17" fmla="*/ 3516652 w 4519987"/>
                    <a:gd name="connsiteY17" fmla="*/ 390525 h 4457700"/>
                    <a:gd name="connsiteX18" fmla="*/ 3630952 w 4519987"/>
                    <a:gd name="connsiteY18" fmla="*/ 485775 h 4457700"/>
                    <a:gd name="connsiteX19" fmla="*/ 3745252 w 4519987"/>
                    <a:gd name="connsiteY19" fmla="*/ 542925 h 4457700"/>
                    <a:gd name="connsiteX20" fmla="*/ 3811927 w 4519987"/>
                    <a:gd name="connsiteY20" fmla="*/ 581025 h 4457700"/>
                    <a:gd name="connsiteX21" fmla="*/ 4027827 w 4519987"/>
                    <a:gd name="connsiteY21" fmla="*/ 819150 h 4457700"/>
                    <a:gd name="connsiteX22" fmla="*/ 4164352 w 4519987"/>
                    <a:gd name="connsiteY22" fmla="*/ 990600 h 4457700"/>
                    <a:gd name="connsiteX23" fmla="*/ 4250077 w 4519987"/>
                    <a:gd name="connsiteY23" fmla="*/ 1143000 h 4457700"/>
                    <a:gd name="connsiteX24" fmla="*/ 4307227 w 4519987"/>
                    <a:gd name="connsiteY24" fmla="*/ 1266825 h 4457700"/>
                    <a:gd name="connsiteX25" fmla="*/ 4345327 w 4519987"/>
                    <a:gd name="connsiteY25" fmla="*/ 1362075 h 4457700"/>
                    <a:gd name="connsiteX26" fmla="*/ 4392952 w 4519987"/>
                    <a:gd name="connsiteY26" fmla="*/ 1552575 h 4457700"/>
                    <a:gd name="connsiteX27" fmla="*/ 4431052 w 4519987"/>
                    <a:gd name="connsiteY27" fmla="*/ 1685925 h 4457700"/>
                    <a:gd name="connsiteX28" fmla="*/ 4519952 w 4519987"/>
                    <a:gd name="connsiteY28" fmla="*/ 2181225 h 4457700"/>
                    <a:gd name="connsiteX29" fmla="*/ 4446927 w 4519987"/>
                    <a:gd name="connsiteY29" fmla="*/ 2768600 h 4457700"/>
                    <a:gd name="connsiteX30" fmla="*/ 4383427 w 4519987"/>
                    <a:gd name="connsiteY30" fmla="*/ 2990850 h 4457700"/>
                    <a:gd name="connsiteX31" fmla="*/ 4278652 w 4519987"/>
                    <a:gd name="connsiteY31" fmla="*/ 3248025 h 4457700"/>
                    <a:gd name="connsiteX32" fmla="*/ 4183402 w 4519987"/>
                    <a:gd name="connsiteY32" fmla="*/ 3400425 h 4457700"/>
                    <a:gd name="connsiteX33" fmla="*/ 4059577 w 4519987"/>
                    <a:gd name="connsiteY33" fmla="*/ 3533775 h 4457700"/>
                    <a:gd name="connsiteX34" fmla="*/ 3954802 w 4519987"/>
                    <a:gd name="connsiteY34" fmla="*/ 3648075 h 4457700"/>
                    <a:gd name="connsiteX35" fmla="*/ 3659527 w 4519987"/>
                    <a:gd name="connsiteY35" fmla="*/ 3971925 h 4457700"/>
                    <a:gd name="connsiteX36" fmla="*/ 3516652 w 4519987"/>
                    <a:gd name="connsiteY36" fmla="*/ 4083050 h 4457700"/>
                    <a:gd name="connsiteX37" fmla="*/ 3221377 w 4519987"/>
                    <a:gd name="connsiteY37" fmla="*/ 4222750 h 4457700"/>
                    <a:gd name="connsiteX38" fmla="*/ 3068977 w 4519987"/>
                    <a:gd name="connsiteY38" fmla="*/ 4286250 h 4457700"/>
                    <a:gd name="connsiteX39" fmla="*/ 2935627 w 4519987"/>
                    <a:gd name="connsiteY39" fmla="*/ 4333875 h 4457700"/>
                    <a:gd name="connsiteX40" fmla="*/ 2811802 w 4519987"/>
                    <a:gd name="connsiteY40" fmla="*/ 4371975 h 4457700"/>
                    <a:gd name="connsiteX41" fmla="*/ 2580027 w 4519987"/>
                    <a:gd name="connsiteY41" fmla="*/ 4391025 h 4457700"/>
                    <a:gd name="connsiteX42" fmla="*/ 2202202 w 4519987"/>
                    <a:gd name="connsiteY42" fmla="*/ 4457700 h 4457700"/>
                    <a:gd name="connsiteX43" fmla="*/ 2126002 w 4519987"/>
                    <a:gd name="connsiteY43" fmla="*/ 4429125 h 4457700"/>
                    <a:gd name="connsiteX44" fmla="*/ 1935502 w 4519987"/>
                    <a:gd name="connsiteY44" fmla="*/ 4400550 h 4457700"/>
                    <a:gd name="connsiteX45" fmla="*/ 1821202 w 4519987"/>
                    <a:gd name="connsiteY45" fmla="*/ 4371975 h 4457700"/>
                    <a:gd name="connsiteX46" fmla="*/ 1754527 w 4519987"/>
                    <a:gd name="connsiteY46" fmla="*/ 4352925 h 4457700"/>
                    <a:gd name="connsiteX47" fmla="*/ 1687852 w 4519987"/>
                    <a:gd name="connsiteY47" fmla="*/ 4343400 h 4457700"/>
                    <a:gd name="connsiteX48" fmla="*/ 1573552 w 4519987"/>
                    <a:gd name="connsiteY48" fmla="*/ 4305300 h 4457700"/>
                    <a:gd name="connsiteX49" fmla="*/ 1402102 w 4519987"/>
                    <a:gd name="connsiteY49" fmla="*/ 4276725 h 4457700"/>
                    <a:gd name="connsiteX50" fmla="*/ 1287802 w 4519987"/>
                    <a:gd name="connsiteY50" fmla="*/ 4229100 h 4457700"/>
                    <a:gd name="connsiteX51" fmla="*/ 1221127 w 4519987"/>
                    <a:gd name="connsiteY51" fmla="*/ 4200525 h 4457700"/>
                    <a:gd name="connsiteX52" fmla="*/ 1144927 w 4519987"/>
                    <a:gd name="connsiteY52" fmla="*/ 4171950 h 4457700"/>
                    <a:gd name="connsiteX53" fmla="*/ 1087777 w 4519987"/>
                    <a:gd name="connsiteY53" fmla="*/ 4143375 h 4457700"/>
                    <a:gd name="connsiteX54" fmla="*/ 1030627 w 4519987"/>
                    <a:gd name="connsiteY54" fmla="*/ 4124325 h 4457700"/>
                    <a:gd name="connsiteX55" fmla="*/ 925852 w 4519987"/>
                    <a:gd name="connsiteY55" fmla="*/ 4067175 h 4457700"/>
                    <a:gd name="connsiteX56" fmla="*/ 830602 w 4519987"/>
                    <a:gd name="connsiteY56" fmla="*/ 3981450 h 4457700"/>
                    <a:gd name="connsiteX57" fmla="*/ 763927 w 4519987"/>
                    <a:gd name="connsiteY57" fmla="*/ 3914775 h 4457700"/>
                    <a:gd name="connsiteX58" fmla="*/ 725827 w 4519987"/>
                    <a:gd name="connsiteY58" fmla="*/ 3876675 h 4457700"/>
                    <a:gd name="connsiteX59" fmla="*/ 697252 w 4519987"/>
                    <a:gd name="connsiteY59" fmla="*/ 3838575 h 4457700"/>
                    <a:gd name="connsiteX60" fmla="*/ 640102 w 4519987"/>
                    <a:gd name="connsiteY60" fmla="*/ 3781425 h 4457700"/>
                    <a:gd name="connsiteX61" fmla="*/ 611527 w 4519987"/>
                    <a:gd name="connsiteY61" fmla="*/ 3733800 h 4457700"/>
                    <a:gd name="connsiteX62" fmla="*/ 554377 w 4519987"/>
                    <a:gd name="connsiteY62" fmla="*/ 3657600 h 4457700"/>
                    <a:gd name="connsiteX63" fmla="*/ 525802 w 4519987"/>
                    <a:gd name="connsiteY63" fmla="*/ 3609975 h 4457700"/>
                    <a:gd name="connsiteX64" fmla="*/ 497227 w 4519987"/>
                    <a:gd name="connsiteY64" fmla="*/ 3552825 h 4457700"/>
                    <a:gd name="connsiteX65" fmla="*/ 440077 w 4519987"/>
                    <a:gd name="connsiteY65" fmla="*/ 3495675 h 4457700"/>
                    <a:gd name="connsiteX66" fmla="*/ 411502 w 4519987"/>
                    <a:gd name="connsiteY66" fmla="*/ 3448050 h 4457700"/>
                    <a:gd name="connsiteX67" fmla="*/ 278152 w 4519987"/>
                    <a:gd name="connsiteY67" fmla="*/ 3257550 h 4457700"/>
                    <a:gd name="connsiteX68" fmla="*/ 249577 w 4519987"/>
                    <a:gd name="connsiteY68" fmla="*/ 3200400 h 4457700"/>
                    <a:gd name="connsiteX69" fmla="*/ 240052 w 4519987"/>
                    <a:gd name="connsiteY69" fmla="*/ 3162300 h 4457700"/>
                    <a:gd name="connsiteX70" fmla="*/ 221002 w 4519987"/>
                    <a:gd name="connsiteY70" fmla="*/ 3105150 h 4457700"/>
                    <a:gd name="connsiteX71" fmla="*/ 173377 w 4519987"/>
                    <a:gd name="connsiteY71" fmla="*/ 3019425 h 4457700"/>
                    <a:gd name="connsiteX72" fmla="*/ 144802 w 4519987"/>
                    <a:gd name="connsiteY72" fmla="*/ 2924175 h 4457700"/>
                    <a:gd name="connsiteX73" fmla="*/ 68602 w 4519987"/>
                    <a:gd name="connsiteY73" fmla="*/ 2724150 h 4457700"/>
                    <a:gd name="connsiteX74" fmla="*/ 49552 w 4519987"/>
                    <a:gd name="connsiteY74" fmla="*/ 2638425 h 4457700"/>
                    <a:gd name="connsiteX75" fmla="*/ 40027 w 4519987"/>
                    <a:gd name="connsiteY75" fmla="*/ 2562225 h 4457700"/>
                    <a:gd name="connsiteX76" fmla="*/ 30502 w 4519987"/>
                    <a:gd name="connsiteY76" fmla="*/ 2514600 h 4457700"/>
                    <a:gd name="connsiteX77" fmla="*/ 11452 w 4519987"/>
                    <a:gd name="connsiteY77" fmla="*/ 2400300 h 4457700"/>
                    <a:gd name="connsiteX78" fmla="*/ 20977 w 4519987"/>
                    <a:gd name="connsiteY78" fmla="*/ 1905000 h 4457700"/>
                    <a:gd name="connsiteX79" fmla="*/ 30502 w 4519987"/>
                    <a:gd name="connsiteY79" fmla="*/ 1838325 h 4457700"/>
                    <a:gd name="connsiteX80" fmla="*/ 49552 w 4519987"/>
                    <a:gd name="connsiteY80" fmla="*/ 1781175 h 4457700"/>
                    <a:gd name="connsiteX81" fmla="*/ 59077 w 4519987"/>
                    <a:gd name="connsiteY81" fmla="*/ 1743075 h 4457700"/>
                    <a:gd name="connsiteX82" fmla="*/ 78127 w 4519987"/>
                    <a:gd name="connsiteY82" fmla="*/ 1685925 h 4457700"/>
                    <a:gd name="connsiteX83" fmla="*/ 87652 w 4519987"/>
                    <a:gd name="connsiteY83" fmla="*/ 1638300 h 4457700"/>
                    <a:gd name="connsiteX84" fmla="*/ 106702 w 4519987"/>
                    <a:gd name="connsiteY84" fmla="*/ 1590675 h 4457700"/>
                    <a:gd name="connsiteX85" fmla="*/ 135277 w 4519987"/>
                    <a:gd name="connsiteY85" fmla="*/ 1504950 h 4457700"/>
                    <a:gd name="connsiteX86" fmla="*/ 154327 w 4519987"/>
                    <a:gd name="connsiteY86" fmla="*/ 1419225 h 4457700"/>
                    <a:gd name="connsiteX87" fmla="*/ 230527 w 4519987"/>
                    <a:gd name="connsiteY87" fmla="*/ 1276350 h 4457700"/>
                    <a:gd name="connsiteX88" fmla="*/ 240052 w 4519987"/>
                    <a:gd name="connsiteY88" fmla="*/ 1247775 h 4457700"/>
                    <a:gd name="connsiteX89" fmla="*/ 268627 w 4519987"/>
                    <a:gd name="connsiteY89" fmla="*/ 1200150 h 4457700"/>
                    <a:gd name="connsiteX90" fmla="*/ 287677 w 4519987"/>
                    <a:gd name="connsiteY90" fmla="*/ 1152525 h 4457700"/>
                    <a:gd name="connsiteX91" fmla="*/ 316252 w 4519987"/>
                    <a:gd name="connsiteY91" fmla="*/ 1114425 h 4457700"/>
                    <a:gd name="connsiteX92" fmla="*/ 363877 w 4519987"/>
                    <a:gd name="connsiteY92" fmla="*/ 1038225 h 4457700"/>
                    <a:gd name="connsiteX93" fmla="*/ 382927 w 4519987"/>
                    <a:gd name="connsiteY93" fmla="*/ 1009650 h 4457700"/>
                    <a:gd name="connsiteX94" fmla="*/ 440077 w 4519987"/>
                    <a:gd name="connsiteY94" fmla="*/ 904875 h 4457700"/>
                    <a:gd name="connsiteX95" fmla="*/ 478177 w 4519987"/>
                    <a:gd name="connsiteY95" fmla="*/ 857250 h 4457700"/>
                    <a:gd name="connsiteX96" fmla="*/ 497227 w 4519987"/>
                    <a:gd name="connsiteY96" fmla="*/ 828675 h 4457700"/>
                    <a:gd name="connsiteX97" fmla="*/ 535327 w 4519987"/>
                    <a:gd name="connsiteY97" fmla="*/ 800100 h 4457700"/>
                    <a:gd name="connsiteX98" fmla="*/ 602002 w 4519987"/>
                    <a:gd name="connsiteY98" fmla="*/ 733425 h 4457700"/>
                    <a:gd name="connsiteX99" fmla="*/ 668677 w 4519987"/>
                    <a:gd name="connsiteY99" fmla="*/ 676275 h 4457700"/>
                    <a:gd name="connsiteX100" fmla="*/ 697252 w 4519987"/>
                    <a:gd name="connsiteY100" fmla="*/ 657225 h 4457700"/>
                    <a:gd name="connsiteX101" fmla="*/ 840127 w 4519987"/>
                    <a:gd name="connsiteY101" fmla="*/ 533400 h 4457700"/>
                    <a:gd name="connsiteX102" fmla="*/ 887752 w 4519987"/>
                    <a:gd name="connsiteY102" fmla="*/ 504825 h 4457700"/>
                    <a:gd name="connsiteX103" fmla="*/ 1167152 w 4519987"/>
                    <a:gd name="connsiteY103" fmla="*/ 311150 h 4457700"/>
                    <a:gd name="connsiteX104" fmla="*/ 1268752 w 4519987"/>
                    <a:gd name="connsiteY104" fmla="*/ 285750 h 4457700"/>
                    <a:gd name="connsiteX105" fmla="*/ 1411627 w 4519987"/>
                    <a:gd name="connsiteY105" fmla="*/ 190500 h 4457700"/>
                    <a:gd name="connsiteX106" fmla="*/ 1449727 w 4519987"/>
                    <a:gd name="connsiteY106" fmla="*/ 161925 h 4457700"/>
                    <a:gd name="connsiteX107" fmla="*/ 1525927 w 4519987"/>
                    <a:gd name="connsiteY107" fmla="*/ 152400 h 4457700"/>
                    <a:gd name="connsiteX108" fmla="*/ 1583077 w 4519987"/>
                    <a:gd name="connsiteY108" fmla="*/ 142875 h 4457700"/>
                    <a:gd name="connsiteX109" fmla="*/ 1716427 w 4519987"/>
                    <a:gd name="connsiteY109" fmla="*/ 123825 h 4457700"/>
                    <a:gd name="connsiteX110" fmla="*/ 1811677 w 4519987"/>
                    <a:gd name="connsiteY110" fmla="*/ 114300 h 4457700"/>
                    <a:gd name="connsiteX111" fmla="*/ 1859302 w 4519987"/>
                    <a:gd name="connsiteY111" fmla="*/ 104775 h 4457700"/>
                    <a:gd name="connsiteX112" fmla="*/ 1916452 w 4519987"/>
                    <a:gd name="connsiteY112" fmla="*/ 95250 h 4457700"/>
                    <a:gd name="connsiteX113" fmla="*/ 2030752 w 4519987"/>
                    <a:gd name="connsiteY113" fmla="*/ 66675 h 4457700"/>
                    <a:gd name="connsiteX114" fmla="*/ 2097427 w 4519987"/>
                    <a:gd name="connsiteY114" fmla="*/ 47625 h 4457700"/>
                    <a:gd name="connsiteX115" fmla="*/ 2164102 w 4519987"/>
                    <a:gd name="connsiteY115" fmla="*/ 38100 h 4457700"/>
                    <a:gd name="connsiteX116" fmla="*/ 2392702 w 4519987"/>
                    <a:gd name="connsiteY116" fmla="*/ 28575 h 4457700"/>
                    <a:gd name="connsiteX0" fmla="*/ 2297452 w 4519987"/>
                    <a:gd name="connsiteY0" fmla="*/ 0 h 4429260"/>
                    <a:gd name="connsiteX1" fmla="*/ 2421277 w 4519987"/>
                    <a:gd name="connsiteY1" fmla="*/ 28575 h 4429260"/>
                    <a:gd name="connsiteX2" fmla="*/ 2497477 w 4519987"/>
                    <a:gd name="connsiteY2" fmla="*/ 47625 h 4429260"/>
                    <a:gd name="connsiteX3" fmla="*/ 2754652 w 4519987"/>
                    <a:gd name="connsiteY3" fmla="*/ 66675 h 4429260"/>
                    <a:gd name="connsiteX4" fmla="*/ 2830852 w 4519987"/>
                    <a:gd name="connsiteY4" fmla="*/ 76200 h 4429260"/>
                    <a:gd name="connsiteX5" fmla="*/ 2916577 w 4519987"/>
                    <a:gd name="connsiteY5" fmla="*/ 85725 h 4429260"/>
                    <a:gd name="connsiteX6" fmla="*/ 2973727 w 4519987"/>
                    <a:gd name="connsiteY6" fmla="*/ 114300 h 4429260"/>
                    <a:gd name="connsiteX7" fmla="*/ 3011827 w 4519987"/>
                    <a:gd name="connsiteY7" fmla="*/ 123825 h 4429260"/>
                    <a:gd name="connsiteX8" fmla="*/ 3135652 w 4519987"/>
                    <a:gd name="connsiteY8" fmla="*/ 171450 h 4429260"/>
                    <a:gd name="connsiteX9" fmla="*/ 3173752 w 4519987"/>
                    <a:gd name="connsiteY9" fmla="*/ 190500 h 4429260"/>
                    <a:gd name="connsiteX10" fmla="*/ 3240427 w 4519987"/>
                    <a:gd name="connsiteY10" fmla="*/ 228600 h 4429260"/>
                    <a:gd name="connsiteX11" fmla="*/ 3269002 w 4519987"/>
                    <a:gd name="connsiteY11" fmla="*/ 238125 h 4429260"/>
                    <a:gd name="connsiteX12" fmla="*/ 3297577 w 4519987"/>
                    <a:gd name="connsiteY12" fmla="*/ 257175 h 4429260"/>
                    <a:gd name="connsiteX13" fmla="*/ 3326152 w 4519987"/>
                    <a:gd name="connsiteY13" fmla="*/ 266700 h 4429260"/>
                    <a:gd name="connsiteX14" fmla="*/ 3354727 w 4519987"/>
                    <a:gd name="connsiteY14" fmla="*/ 285750 h 4429260"/>
                    <a:gd name="connsiteX15" fmla="*/ 3421402 w 4519987"/>
                    <a:gd name="connsiteY15" fmla="*/ 323850 h 4429260"/>
                    <a:gd name="connsiteX16" fmla="*/ 3469027 w 4519987"/>
                    <a:gd name="connsiteY16" fmla="*/ 361950 h 4429260"/>
                    <a:gd name="connsiteX17" fmla="*/ 3516652 w 4519987"/>
                    <a:gd name="connsiteY17" fmla="*/ 390525 h 4429260"/>
                    <a:gd name="connsiteX18" fmla="*/ 3630952 w 4519987"/>
                    <a:gd name="connsiteY18" fmla="*/ 485775 h 4429260"/>
                    <a:gd name="connsiteX19" fmla="*/ 3745252 w 4519987"/>
                    <a:gd name="connsiteY19" fmla="*/ 542925 h 4429260"/>
                    <a:gd name="connsiteX20" fmla="*/ 3811927 w 4519987"/>
                    <a:gd name="connsiteY20" fmla="*/ 581025 h 4429260"/>
                    <a:gd name="connsiteX21" fmla="*/ 4027827 w 4519987"/>
                    <a:gd name="connsiteY21" fmla="*/ 819150 h 4429260"/>
                    <a:gd name="connsiteX22" fmla="*/ 4164352 w 4519987"/>
                    <a:gd name="connsiteY22" fmla="*/ 990600 h 4429260"/>
                    <a:gd name="connsiteX23" fmla="*/ 4250077 w 4519987"/>
                    <a:gd name="connsiteY23" fmla="*/ 1143000 h 4429260"/>
                    <a:gd name="connsiteX24" fmla="*/ 4307227 w 4519987"/>
                    <a:gd name="connsiteY24" fmla="*/ 1266825 h 4429260"/>
                    <a:gd name="connsiteX25" fmla="*/ 4345327 w 4519987"/>
                    <a:gd name="connsiteY25" fmla="*/ 1362075 h 4429260"/>
                    <a:gd name="connsiteX26" fmla="*/ 4392952 w 4519987"/>
                    <a:gd name="connsiteY26" fmla="*/ 1552575 h 4429260"/>
                    <a:gd name="connsiteX27" fmla="*/ 4431052 w 4519987"/>
                    <a:gd name="connsiteY27" fmla="*/ 1685925 h 4429260"/>
                    <a:gd name="connsiteX28" fmla="*/ 4519952 w 4519987"/>
                    <a:gd name="connsiteY28" fmla="*/ 2181225 h 4429260"/>
                    <a:gd name="connsiteX29" fmla="*/ 4446927 w 4519987"/>
                    <a:gd name="connsiteY29" fmla="*/ 2768600 h 4429260"/>
                    <a:gd name="connsiteX30" fmla="*/ 4383427 w 4519987"/>
                    <a:gd name="connsiteY30" fmla="*/ 2990850 h 4429260"/>
                    <a:gd name="connsiteX31" fmla="*/ 4278652 w 4519987"/>
                    <a:gd name="connsiteY31" fmla="*/ 3248025 h 4429260"/>
                    <a:gd name="connsiteX32" fmla="*/ 4183402 w 4519987"/>
                    <a:gd name="connsiteY32" fmla="*/ 3400425 h 4429260"/>
                    <a:gd name="connsiteX33" fmla="*/ 4059577 w 4519987"/>
                    <a:gd name="connsiteY33" fmla="*/ 3533775 h 4429260"/>
                    <a:gd name="connsiteX34" fmla="*/ 3954802 w 4519987"/>
                    <a:gd name="connsiteY34" fmla="*/ 3648075 h 4429260"/>
                    <a:gd name="connsiteX35" fmla="*/ 3659527 w 4519987"/>
                    <a:gd name="connsiteY35" fmla="*/ 3971925 h 4429260"/>
                    <a:gd name="connsiteX36" fmla="*/ 3516652 w 4519987"/>
                    <a:gd name="connsiteY36" fmla="*/ 4083050 h 4429260"/>
                    <a:gd name="connsiteX37" fmla="*/ 3221377 w 4519987"/>
                    <a:gd name="connsiteY37" fmla="*/ 4222750 h 4429260"/>
                    <a:gd name="connsiteX38" fmla="*/ 3068977 w 4519987"/>
                    <a:gd name="connsiteY38" fmla="*/ 4286250 h 4429260"/>
                    <a:gd name="connsiteX39" fmla="*/ 2935627 w 4519987"/>
                    <a:gd name="connsiteY39" fmla="*/ 4333875 h 4429260"/>
                    <a:gd name="connsiteX40" fmla="*/ 2811802 w 4519987"/>
                    <a:gd name="connsiteY40" fmla="*/ 4371975 h 4429260"/>
                    <a:gd name="connsiteX41" fmla="*/ 2580027 w 4519987"/>
                    <a:gd name="connsiteY41" fmla="*/ 4391025 h 4429260"/>
                    <a:gd name="connsiteX42" fmla="*/ 2126002 w 4519987"/>
                    <a:gd name="connsiteY42" fmla="*/ 4429125 h 4429260"/>
                    <a:gd name="connsiteX43" fmla="*/ 1935502 w 4519987"/>
                    <a:gd name="connsiteY43" fmla="*/ 4400550 h 4429260"/>
                    <a:gd name="connsiteX44" fmla="*/ 1821202 w 4519987"/>
                    <a:gd name="connsiteY44" fmla="*/ 4371975 h 4429260"/>
                    <a:gd name="connsiteX45" fmla="*/ 1754527 w 4519987"/>
                    <a:gd name="connsiteY45" fmla="*/ 4352925 h 4429260"/>
                    <a:gd name="connsiteX46" fmla="*/ 1687852 w 4519987"/>
                    <a:gd name="connsiteY46" fmla="*/ 4343400 h 4429260"/>
                    <a:gd name="connsiteX47" fmla="*/ 1573552 w 4519987"/>
                    <a:gd name="connsiteY47" fmla="*/ 4305300 h 4429260"/>
                    <a:gd name="connsiteX48" fmla="*/ 1402102 w 4519987"/>
                    <a:gd name="connsiteY48" fmla="*/ 4276725 h 4429260"/>
                    <a:gd name="connsiteX49" fmla="*/ 1287802 w 4519987"/>
                    <a:gd name="connsiteY49" fmla="*/ 4229100 h 4429260"/>
                    <a:gd name="connsiteX50" fmla="*/ 1221127 w 4519987"/>
                    <a:gd name="connsiteY50" fmla="*/ 4200525 h 4429260"/>
                    <a:gd name="connsiteX51" fmla="*/ 1144927 w 4519987"/>
                    <a:gd name="connsiteY51" fmla="*/ 4171950 h 4429260"/>
                    <a:gd name="connsiteX52" fmla="*/ 1087777 w 4519987"/>
                    <a:gd name="connsiteY52" fmla="*/ 4143375 h 4429260"/>
                    <a:gd name="connsiteX53" fmla="*/ 1030627 w 4519987"/>
                    <a:gd name="connsiteY53" fmla="*/ 4124325 h 4429260"/>
                    <a:gd name="connsiteX54" fmla="*/ 925852 w 4519987"/>
                    <a:gd name="connsiteY54" fmla="*/ 4067175 h 4429260"/>
                    <a:gd name="connsiteX55" fmla="*/ 830602 w 4519987"/>
                    <a:gd name="connsiteY55" fmla="*/ 3981450 h 4429260"/>
                    <a:gd name="connsiteX56" fmla="*/ 763927 w 4519987"/>
                    <a:gd name="connsiteY56" fmla="*/ 3914775 h 4429260"/>
                    <a:gd name="connsiteX57" fmla="*/ 725827 w 4519987"/>
                    <a:gd name="connsiteY57" fmla="*/ 3876675 h 4429260"/>
                    <a:gd name="connsiteX58" fmla="*/ 697252 w 4519987"/>
                    <a:gd name="connsiteY58" fmla="*/ 3838575 h 4429260"/>
                    <a:gd name="connsiteX59" fmla="*/ 640102 w 4519987"/>
                    <a:gd name="connsiteY59" fmla="*/ 3781425 h 4429260"/>
                    <a:gd name="connsiteX60" fmla="*/ 611527 w 4519987"/>
                    <a:gd name="connsiteY60" fmla="*/ 3733800 h 4429260"/>
                    <a:gd name="connsiteX61" fmla="*/ 554377 w 4519987"/>
                    <a:gd name="connsiteY61" fmla="*/ 3657600 h 4429260"/>
                    <a:gd name="connsiteX62" fmla="*/ 525802 w 4519987"/>
                    <a:gd name="connsiteY62" fmla="*/ 3609975 h 4429260"/>
                    <a:gd name="connsiteX63" fmla="*/ 497227 w 4519987"/>
                    <a:gd name="connsiteY63" fmla="*/ 3552825 h 4429260"/>
                    <a:gd name="connsiteX64" fmla="*/ 440077 w 4519987"/>
                    <a:gd name="connsiteY64" fmla="*/ 3495675 h 4429260"/>
                    <a:gd name="connsiteX65" fmla="*/ 411502 w 4519987"/>
                    <a:gd name="connsiteY65" fmla="*/ 3448050 h 4429260"/>
                    <a:gd name="connsiteX66" fmla="*/ 278152 w 4519987"/>
                    <a:gd name="connsiteY66" fmla="*/ 3257550 h 4429260"/>
                    <a:gd name="connsiteX67" fmla="*/ 249577 w 4519987"/>
                    <a:gd name="connsiteY67" fmla="*/ 3200400 h 4429260"/>
                    <a:gd name="connsiteX68" fmla="*/ 240052 w 4519987"/>
                    <a:gd name="connsiteY68" fmla="*/ 3162300 h 4429260"/>
                    <a:gd name="connsiteX69" fmla="*/ 221002 w 4519987"/>
                    <a:gd name="connsiteY69" fmla="*/ 3105150 h 4429260"/>
                    <a:gd name="connsiteX70" fmla="*/ 173377 w 4519987"/>
                    <a:gd name="connsiteY70" fmla="*/ 3019425 h 4429260"/>
                    <a:gd name="connsiteX71" fmla="*/ 144802 w 4519987"/>
                    <a:gd name="connsiteY71" fmla="*/ 2924175 h 4429260"/>
                    <a:gd name="connsiteX72" fmla="*/ 68602 w 4519987"/>
                    <a:gd name="connsiteY72" fmla="*/ 2724150 h 4429260"/>
                    <a:gd name="connsiteX73" fmla="*/ 49552 w 4519987"/>
                    <a:gd name="connsiteY73" fmla="*/ 2638425 h 4429260"/>
                    <a:gd name="connsiteX74" fmla="*/ 40027 w 4519987"/>
                    <a:gd name="connsiteY74" fmla="*/ 2562225 h 4429260"/>
                    <a:gd name="connsiteX75" fmla="*/ 30502 w 4519987"/>
                    <a:gd name="connsiteY75" fmla="*/ 2514600 h 4429260"/>
                    <a:gd name="connsiteX76" fmla="*/ 11452 w 4519987"/>
                    <a:gd name="connsiteY76" fmla="*/ 2400300 h 4429260"/>
                    <a:gd name="connsiteX77" fmla="*/ 20977 w 4519987"/>
                    <a:gd name="connsiteY77" fmla="*/ 1905000 h 4429260"/>
                    <a:gd name="connsiteX78" fmla="*/ 30502 w 4519987"/>
                    <a:gd name="connsiteY78" fmla="*/ 1838325 h 4429260"/>
                    <a:gd name="connsiteX79" fmla="*/ 49552 w 4519987"/>
                    <a:gd name="connsiteY79" fmla="*/ 1781175 h 4429260"/>
                    <a:gd name="connsiteX80" fmla="*/ 59077 w 4519987"/>
                    <a:gd name="connsiteY80" fmla="*/ 1743075 h 4429260"/>
                    <a:gd name="connsiteX81" fmla="*/ 78127 w 4519987"/>
                    <a:gd name="connsiteY81" fmla="*/ 1685925 h 4429260"/>
                    <a:gd name="connsiteX82" fmla="*/ 87652 w 4519987"/>
                    <a:gd name="connsiteY82" fmla="*/ 1638300 h 4429260"/>
                    <a:gd name="connsiteX83" fmla="*/ 106702 w 4519987"/>
                    <a:gd name="connsiteY83" fmla="*/ 1590675 h 4429260"/>
                    <a:gd name="connsiteX84" fmla="*/ 135277 w 4519987"/>
                    <a:gd name="connsiteY84" fmla="*/ 1504950 h 4429260"/>
                    <a:gd name="connsiteX85" fmla="*/ 154327 w 4519987"/>
                    <a:gd name="connsiteY85" fmla="*/ 1419225 h 4429260"/>
                    <a:gd name="connsiteX86" fmla="*/ 230527 w 4519987"/>
                    <a:gd name="connsiteY86" fmla="*/ 1276350 h 4429260"/>
                    <a:gd name="connsiteX87" fmla="*/ 240052 w 4519987"/>
                    <a:gd name="connsiteY87" fmla="*/ 1247775 h 4429260"/>
                    <a:gd name="connsiteX88" fmla="*/ 268627 w 4519987"/>
                    <a:gd name="connsiteY88" fmla="*/ 1200150 h 4429260"/>
                    <a:gd name="connsiteX89" fmla="*/ 287677 w 4519987"/>
                    <a:gd name="connsiteY89" fmla="*/ 1152525 h 4429260"/>
                    <a:gd name="connsiteX90" fmla="*/ 316252 w 4519987"/>
                    <a:gd name="connsiteY90" fmla="*/ 1114425 h 4429260"/>
                    <a:gd name="connsiteX91" fmla="*/ 363877 w 4519987"/>
                    <a:gd name="connsiteY91" fmla="*/ 1038225 h 4429260"/>
                    <a:gd name="connsiteX92" fmla="*/ 382927 w 4519987"/>
                    <a:gd name="connsiteY92" fmla="*/ 1009650 h 4429260"/>
                    <a:gd name="connsiteX93" fmla="*/ 440077 w 4519987"/>
                    <a:gd name="connsiteY93" fmla="*/ 904875 h 4429260"/>
                    <a:gd name="connsiteX94" fmla="*/ 478177 w 4519987"/>
                    <a:gd name="connsiteY94" fmla="*/ 857250 h 4429260"/>
                    <a:gd name="connsiteX95" fmla="*/ 497227 w 4519987"/>
                    <a:gd name="connsiteY95" fmla="*/ 828675 h 4429260"/>
                    <a:gd name="connsiteX96" fmla="*/ 535327 w 4519987"/>
                    <a:gd name="connsiteY96" fmla="*/ 800100 h 4429260"/>
                    <a:gd name="connsiteX97" fmla="*/ 602002 w 4519987"/>
                    <a:gd name="connsiteY97" fmla="*/ 733425 h 4429260"/>
                    <a:gd name="connsiteX98" fmla="*/ 668677 w 4519987"/>
                    <a:gd name="connsiteY98" fmla="*/ 676275 h 4429260"/>
                    <a:gd name="connsiteX99" fmla="*/ 697252 w 4519987"/>
                    <a:gd name="connsiteY99" fmla="*/ 657225 h 4429260"/>
                    <a:gd name="connsiteX100" fmla="*/ 840127 w 4519987"/>
                    <a:gd name="connsiteY100" fmla="*/ 533400 h 4429260"/>
                    <a:gd name="connsiteX101" fmla="*/ 887752 w 4519987"/>
                    <a:gd name="connsiteY101" fmla="*/ 504825 h 4429260"/>
                    <a:gd name="connsiteX102" fmla="*/ 1167152 w 4519987"/>
                    <a:gd name="connsiteY102" fmla="*/ 311150 h 4429260"/>
                    <a:gd name="connsiteX103" fmla="*/ 1268752 w 4519987"/>
                    <a:gd name="connsiteY103" fmla="*/ 285750 h 4429260"/>
                    <a:gd name="connsiteX104" fmla="*/ 1411627 w 4519987"/>
                    <a:gd name="connsiteY104" fmla="*/ 190500 h 4429260"/>
                    <a:gd name="connsiteX105" fmla="*/ 1449727 w 4519987"/>
                    <a:gd name="connsiteY105" fmla="*/ 161925 h 4429260"/>
                    <a:gd name="connsiteX106" fmla="*/ 1525927 w 4519987"/>
                    <a:gd name="connsiteY106" fmla="*/ 152400 h 4429260"/>
                    <a:gd name="connsiteX107" fmla="*/ 1583077 w 4519987"/>
                    <a:gd name="connsiteY107" fmla="*/ 142875 h 4429260"/>
                    <a:gd name="connsiteX108" fmla="*/ 1716427 w 4519987"/>
                    <a:gd name="connsiteY108" fmla="*/ 123825 h 4429260"/>
                    <a:gd name="connsiteX109" fmla="*/ 1811677 w 4519987"/>
                    <a:gd name="connsiteY109" fmla="*/ 114300 h 4429260"/>
                    <a:gd name="connsiteX110" fmla="*/ 1859302 w 4519987"/>
                    <a:gd name="connsiteY110" fmla="*/ 104775 h 4429260"/>
                    <a:gd name="connsiteX111" fmla="*/ 1916452 w 4519987"/>
                    <a:gd name="connsiteY111" fmla="*/ 95250 h 4429260"/>
                    <a:gd name="connsiteX112" fmla="*/ 2030752 w 4519987"/>
                    <a:gd name="connsiteY112" fmla="*/ 66675 h 4429260"/>
                    <a:gd name="connsiteX113" fmla="*/ 2097427 w 4519987"/>
                    <a:gd name="connsiteY113" fmla="*/ 47625 h 4429260"/>
                    <a:gd name="connsiteX114" fmla="*/ 2164102 w 4519987"/>
                    <a:gd name="connsiteY114" fmla="*/ 38100 h 4429260"/>
                    <a:gd name="connsiteX115" fmla="*/ 2392702 w 4519987"/>
                    <a:gd name="connsiteY115" fmla="*/ 28575 h 4429260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687852 w 4519987"/>
                    <a:gd name="connsiteY45" fmla="*/ 4343400 h 4429225"/>
                    <a:gd name="connsiteX46" fmla="*/ 1573552 w 4519987"/>
                    <a:gd name="connsiteY46" fmla="*/ 4305300 h 4429225"/>
                    <a:gd name="connsiteX47" fmla="*/ 1402102 w 4519987"/>
                    <a:gd name="connsiteY47" fmla="*/ 4276725 h 4429225"/>
                    <a:gd name="connsiteX48" fmla="*/ 1287802 w 4519987"/>
                    <a:gd name="connsiteY48" fmla="*/ 4229100 h 4429225"/>
                    <a:gd name="connsiteX49" fmla="*/ 1221127 w 4519987"/>
                    <a:gd name="connsiteY49" fmla="*/ 4200525 h 4429225"/>
                    <a:gd name="connsiteX50" fmla="*/ 1144927 w 4519987"/>
                    <a:gd name="connsiteY50" fmla="*/ 4171950 h 4429225"/>
                    <a:gd name="connsiteX51" fmla="*/ 1087777 w 4519987"/>
                    <a:gd name="connsiteY51" fmla="*/ 4143375 h 4429225"/>
                    <a:gd name="connsiteX52" fmla="*/ 1030627 w 4519987"/>
                    <a:gd name="connsiteY52" fmla="*/ 4124325 h 4429225"/>
                    <a:gd name="connsiteX53" fmla="*/ 925852 w 4519987"/>
                    <a:gd name="connsiteY53" fmla="*/ 4067175 h 4429225"/>
                    <a:gd name="connsiteX54" fmla="*/ 830602 w 4519987"/>
                    <a:gd name="connsiteY54" fmla="*/ 3981450 h 4429225"/>
                    <a:gd name="connsiteX55" fmla="*/ 763927 w 4519987"/>
                    <a:gd name="connsiteY55" fmla="*/ 3914775 h 4429225"/>
                    <a:gd name="connsiteX56" fmla="*/ 725827 w 4519987"/>
                    <a:gd name="connsiteY56" fmla="*/ 3876675 h 4429225"/>
                    <a:gd name="connsiteX57" fmla="*/ 697252 w 4519987"/>
                    <a:gd name="connsiteY57" fmla="*/ 3838575 h 4429225"/>
                    <a:gd name="connsiteX58" fmla="*/ 640102 w 4519987"/>
                    <a:gd name="connsiteY58" fmla="*/ 3781425 h 4429225"/>
                    <a:gd name="connsiteX59" fmla="*/ 611527 w 4519987"/>
                    <a:gd name="connsiteY59" fmla="*/ 3733800 h 4429225"/>
                    <a:gd name="connsiteX60" fmla="*/ 554377 w 4519987"/>
                    <a:gd name="connsiteY60" fmla="*/ 3657600 h 4429225"/>
                    <a:gd name="connsiteX61" fmla="*/ 525802 w 4519987"/>
                    <a:gd name="connsiteY61" fmla="*/ 3609975 h 4429225"/>
                    <a:gd name="connsiteX62" fmla="*/ 497227 w 4519987"/>
                    <a:gd name="connsiteY62" fmla="*/ 3552825 h 4429225"/>
                    <a:gd name="connsiteX63" fmla="*/ 440077 w 4519987"/>
                    <a:gd name="connsiteY63" fmla="*/ 3495675 h 4429225"/>
                    <a:gd name="connsiteX64" fmla="*/ 411502 w 4519987"/>
                    <a:gd name="connsiteY64" fmla="*/ 3448050 h 4429225"/>
                    <a:gd name="connsiteX65" fmla="*/ 278152 w 4519987"/>
                    <a:gd name="connsiteY65" fmla="*/ 3257550 h 4429225"/>
                    <a:gd name="connsiteX66" fmla="*/ 249577 w 4519987"/>
                    <a:gd name="connsiteY66" fmla="*/ 3200400 h 4429225"/>
                    <a:gd name="connsiteX67" fmla="*/ 240052 w 4519987"/>
                    <a:gd name="connsiteY67" fmla="*/ 3162300 h 4429225"/>
                    <a:gd name="connsiteX68" fmla="*/ 221002 w 4519987"/>
                    <a:gd name="connsiteY68" fmla="*/ 3105150 h 4429225"/>
                    <a:gd name="connsiteX69" fmla="*/ 173377 w 4519987"/>
                    <a:gd name="connsiteY69" fmla="*/ 3019425 h 4429225"/>
                    <a:gd name="connsiteX70" fmla="*/ 144802 w 4519987"/>
                    <a:gd name="connsiteY70" fmla="*/ 2924175 h 4429225"/>
                    <a:gd name="connsiteX71" fmla="*/ 68602 w 4519987"/>
                    <a:gd name="connsiteY71" fmla="*/ 2724150 h 4429225"/>
                    <a:gd name="connsiteX72" fmla="*/ 49552 w 4519987"/>
                    <a:gd name="connsiteY72" fmla="*/ 2638425 h 4429225"/>
                    <a:gd name="connsiteX73" fmla="*/ 40027 w 4519987"/>
                    <a:gd name="connsiteY73" fmla="*/ 2562225 h 4429225"/>
                    <a:gd name="connsiteX74" fmla="*/ 30502 w 4519987"/>
                    <a:gd name="connsiteY74" fmla="*/ 2514600 h 4429225"/>
                    <a:gd name="connsiteX75" fmla="*/ 11452 w 4519987"/>
                    <a:gd name="connsiteY75" fmla="*/ 2400300 h 4429225"/>
                    <a:gd name="connsiteX76" fmla="*/ 20977 w 4519987"/>
                    <a:gd name="connsiteY76" fmla="*/ 1905000 h 4429225"/>
                    <a:gd name="connsiteX77" fmla="*/ 30502 w 4519987"/>
                    <a:gd name="connsiteY77" fmla="*/ 1838325 h 4429225"/>
                    <a:gd name="connsiteX78" fmla="*/ 49552 w 4519987"/>
                    <a:gd name="connsiteY78" fmla="*/ 1781175 h 4429225"/>
                    <a:gd name="connsiteX79" fmla="*/ 59077 w 4519987"/>
                    <a:gd name="connsiteY79" fmla="*/ 1743075 h 4429225"/>
                    <a:gd name="connsiteX80" fmla="*/ 78127 w 4519987"/>
                    <a:gd name="connsiteY80" fmla="*/ 1685925 h 4429225"/>
                    <a:gd name="connsiteX81" fmla="*/ 87652 w 4519987"/>
                    <a:gd name="connsiteY81" fmla="*/ 1638300 h 4429225"/>
                    <a:gd name="connsiteX82" fmla="*/ 106702 w 4519987"/>
                    <a:gd name="connsiteY82" fmla="*/ 1590675 h 4429225"/>
                    <a:gd name="connsiteX83" fmla="*/ 135277 w 4519987"/>
                    <a:gd name="connsiteY83" fmla="*/ 1504950 h 4429225"/>
                    <a:gd name="connsiteX84" fmla="*/ 154327 w 4519987"/>
                    <a:gd name="connsiteY84" fmla="*/ 1419225 h 4429225"/>
                    <a:gd name="connsiteX85" fmla="*/ 230527 w 4519987"/>
                    <a:gd name="connsiteY85" fmla="*/ 1276350 h 4429225"/>
                    <a:gd name="connsiteX86" fmla="*/ 240052 w 4519987"/>
                    <a:gd name="connsiteY86" fmla="*/ 1247775 h 4429225"/>
                    <a:gd name="connsiteX87" fmla="*/ 268627 w 4519987"/>
                    <a:gd name="connsiteY87" fmla="*/ 1200150 h 4429225"/>
                    <a:gd name="connsiteX88" fmla="*/ 287677 w 4519987"/>
                    <a:gd name="connsiteY88" fmla="*/ 1152525 h 4429225"/>
                    <a:gd name="connsiteX89" fmla="*/ 316252 w 4519987"/>
                    <a:gd name="connsiteY89" fmla="*/ 1114425 h 4429225"/>
                    <a:gd name="connsiteX90" fmla="*/ 363877 w 4519987"/>
                    <a:gd name="connsiteY90" fmla="*/ 1038225 h 4429225"/>
                    <a:gd name="connsiteX91" fmla="*/ 382927 w 4519987"/>
                    <a:gd name="connsiteY91" fmla="*/ 1009650 h 4429225"/>
                    <a:gd name="connsiteX92" fmla="*/ 440077 w 4519987"/>
                    <a:gd name="connsiteY92" fmla="*/ 904875 h 4429225"/>
                    <a:gd name="connsiteX93" fmla="*/ 478177 w 4519987"/>
                    <a:gd name="connsiteY93" fmla="*/ 857250 h 4429225"/>
                    <a:gd name="connsiteX94" fmla="*/ 497227 w 4519987"/>
                    <a:gd name="connsiteY94" fmla="*/ 828675 h 4429225"/>
                    <a:gd name="connsiteX95" fmla="*/ 535327 w 4519987"/>
                    <a:gd name="connsiteY95" fmla="*/ 800100 h 4429225"/>
                    <a:gd name="connsiteX96" fmla="*/ 602002 w 4519987"/>
                    <a:gd name="connsiteY96" fmla="*/ 733425 h 4429225"/>
                    <a:gd name="connsiteX97" fmla="*/ 668677 w 4519987"/>
                    <a:gd name="connsiteY97" fmla="*/ 676275 h 4429225"/>
                    <a:gd name="connsiteX98" fmla="*/ 697252 w 4519987"/>
                    <a:gd name="connsiteY98" fmla="*/ 657225 h 4429225"/>
                    <a:gd name="connsiteX99" fmla="*/ 840127 w 4519987"/>
                    <a:gd name="connsiteY99" fmla="*/ 533400 h 4429225"/>
                    <a:gd name="connsiteX100" fmla="*/ 887752 w 4519987"/>
                    <a:gd name="connsiteY100" fmla="*/ 504825 h 4429225"/>
                    <a:gd name="connsiteX101" fmla="*/ 1167152 w 4519987"/>
                    <a:gd name="connsiteY101" fmla="*/ 311150 h 4429225"/>
                    <a:gd name="connsiteX102" fmla="*/ 1268752 w 4519987"/>
                    <a:gd name="connsiteY102" fmla="*/ 285750 h 4429225"/>
                    <a:gd name="connsiteX103" fmla="*/ 1411627 w 4519987"/>
                    <a:gd name="connsiteY103" fmla="*/ 190500 h 4429225"/>
                    <a:gd name="connsiteX104" fmla="*/ 1449727 w 4519987"/>
                    <a:gd name="connsiteY104" fmla="*/ 161925 h 4429225"/>
                    <a:gd name="connsiteX105" fmla="*/ 1525927 w 4519987"/>
                    <a:gd name="connsiteY105" fmla="*/ 152400 h 4429225"/>
                    <a:gd name="connsiteX106" fmla="*/ 1583077 w 4519987"/>
                    <a:gd name="connsiteY106" fmla="*/ 142875 h 4429225"/>
                    <a:gd name="connsiteX107" fmla="*/ 1716427 w 4519987"/>
                    <a:gd name="connsiteY107" fmla="*/ 123825 h 4429225"/>
                    <a:gd name="connsiteX108" fmla="*/ 1811677 w 4519987"/>
                    <a:gd name="connsiteY108" fmla="*/ 114300 h 4429225"/>
                    <a:gd name="connsiteX109" fmla="*/ 1859302 w 4519987"/>
                    <a:gd name="connsiteY109" fmla="*/ 104775 h 4429225"/>
                    <a:gd name="connsiteX110" fmla="*/ 1916452 w 4519987"/>
                    <a:gd name="connsiteY110" fmla="*/ 95250 h 4429225"/>
                    <a:gd name="connsiteX111" fmla="*/ 2030752 w 4519987"/>
                    <a:gd name="connsiteY111" fmla="*/ 66675 h 4429225"/>
                    <a:gd name="connsiteX112" fmla="*/ 2097427 w 4519987"/>
                    <a:gd name="connsiteY112" fmla="*/ 47625 h 4429225"/>
                    <a:gd name="connsiteX113" fmla="*/ 2164102 w 4519987"/>
                    <a:gd name="connsiteY113" fmla="*/ 38100 h 4429225"/>
                    <a:gd name="connsiteX114" fmla="*/ 2392702 w 4519987"/>
                    <a:gd name="connsiteY11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402102 w 4519987"/>
                    <a:gd name="connsiteY46" fmla="*/ 4276725 h 4429225"/>
                    <a:gd name="connsiteX47" fmla="*/ 1287802 w 4519987"/>
                    <a:gd name="connsiteY47" fmla="*/ 4229100 h 4429225"/>
                    <a:gd name="connsiteX48" fmla="*/ 1221127 w 4519987"/>
                    <a:gd name="connsiteY48" fmla="*/ 4200525 h 4429225"/>
                    <a:gd name="connsiteX49" fmla="*/ 1144927 w 4519987"/>
                    <a:gd name="connsiteY49" fmla="*/ 4171950 h 4429225"/>
                    <a:gd name="connsiteX50" fmla="*/ 1087777 w 4519987"/>
                    <a:gd name="connsiteY50" fmla="*/ 4143375 h 4429225"/>
                    <a:gd name="connsiteX51" fmla="*/ 1030627 w 4519987"/>
                    <a:gd name="connsiteY51" fmla="*/ 4124325 h 4429225"/>
                    <a:gd name="connsiteX52" fmla="*/ 925852 w 4519987"/>
                    <a:gd name="connsiteY52" fmla="*/ 4067175 h 4429225"/>
                    <a:gd name="connsiteX53" fmla="*/ 830602 w 4519987"/>
                    <a:gd name="connsiteY53" fmla="*/ 3981450 h 4429225"/>
                    <a:gd name="connsiteX54" fmla="*/ 763927 w 4519987"/>
                    <a:gd name="connsiteY54" fmla="*/ 3914775 h 4429225"/>
                    <a:gd name="connsiteX55" fmla="*/ 725827 w 4519987"/>
                    <a:gd name="connsiteY55" fmla="*/ 3876675 h 4429225"/>
                    <a:gd name="connsiteX56" fmla="*/ 697252 w 4519987"/>
                    <a:gd name="connsiteY56" fmla="*/ 3838575 h 4429225"/>
                    <a:gd name="connsiteX57" fmla="*/ 640102 w 4519987"/>
                    <a:gd name="connsiteY57" fmla="*/ 3781425 h 4429225"/>
                    <a:gd name="connsiteX58" fmla="*/ 611527 w 4519987"/>
                    <a:gd name="connsiteY58" fmla="*/ 3733800 h 4429225"/>
                    <a:gd name="connsiteX59" fmla="*/ 554377 w 4519987"/>
                    <a:gd name="connsiteY59" fmla="*/ 3657600 h 4429225"/>
                    <a:gd name="connsiteX60" fmla="*/ 525802 w 4519987"/>
                    <a:gd name="connsiteY60" fmla="*/ 3609975 h 4429225"/>
                    <a:gd name="connsiteX61" fmla="*/ 497227 w 4519987"/>
                    <a:gd name="connsiteY61" fmla="*/ 3552825 h 4429225"/>
                    <a:gd name="connsiteX62" fmla="*/ 440077 w 4519987"/>
                    <a:gd name="connsiteY62" fmla="*/ 3495675 h 4429225"/>
                    <a:gd name="connsiteX63" fmla="*/ 411502 w 4519987"/>
                    <a:gd name="connsiteY63" fmla="*/ 3448050 h 4429225"/>
                    <a:gd name="connsiteX64" fmla="*/ 278152 w 4519987"/>
                    <a:gd name="connsiteY64" fmla="*/ 3257550 h 4429225"/>
                    <a:gd name="connsiteX65" fmla="*/ 249577 w 4519987"/>
                    <a:gd name="connsiteY65" fmla="*/ 3200400 h 4429225"/>
                    <a:gd name="connsiteX66" fmla="*/ 240052 w 4519987"/>
                    <a:gd name="connsiteY66" fmla="*/ 3162300 h 4429225"/>
                    <a:gd name="connsiteX67" fmla="*/ 221002 w 4519987"/>
                    <a:gd name="connsiteY67" fmla="*/ 3105150 h 4429225"/>
                    <a:gd name="connsiteX68" fmla="*/ 173377 w 4519987"/>
                    <a:gd name="connsiteY68" fmla="*/ 3019425 h 4429225"/>
                    <a:gd name="connsiteX69" fmla="*/ 144802 w 4519987"/>
                    <a:gd name="connsiteY69" fmla="*/ 2924175 h 4429225"/>
                    <a:gd name="connsiteX70" fmla="*/ 68602 w 4519987"/>
                    <a:gd name="connsiteY70" fmla="*/ 2724150 h 4429225"/>
                    <a:gd name="connsiteX71" fmla="*/ 49552 w 4519987"/>
                    <a:gd name="connsiteY71" fmla="*/ 2638425 h 4429225"/>
                    <a:gd name="connsiteX72" fmla="*/ 40027 w 4519987"/>
                    <a:gd name="connsiteY72" fmla="*/ 2562225 h 4429225"/>
                    <a:gd name="connsiteX73" fmla="*/ 30502 w 4519987"/>
                    <a:gd name="connsiteY73" fmla="*/ 2514600 h 4429225"/>
                    <a:gd name="connsiteX74" fmla="*/ 11452 w 4519987"/>
                    <a:gd name="connsiteY74" fmla="*/ 2400300 h 4429225"/>
                    <a:gd name="connsiteX75" fmla="*/ 20977 w 4519987"/>
                    <a:gd name="connsiteY75" fmla="*/ 1905000 h 4429225"/>
                    <a:gd name="connsiteX76" fmla="*/ 30502 w 4519987"/>
                    <a:gd name="connsiteY76" fmla="*/ 1838325 h 4429225"/>
                    <a:gd name="connsiteX77" fmla="*/ 49552 w 4519987"/>
                    <a:gd name="connsiteY77" fmla="*/ 1781175 h 4429225"/>
                    <a:gd name="connsiteX78" fmla="*/ 59077 w 4519987"/>
                    <a:gd name="connsiteY78" fmla="*/ 1743075 h 4429225"/>
                    <a:gd name="connsiteX79" fmla="*/ 78127 w 4519987"/>
                    <a:gd name="connsiteY79" fmla="*/ 1685925 h 4429225"/>
                    <a:gd name="connsiteX80" fmla="*/ 87652 w 4519987"/>
                    <a:gd name="connsiteY80" fmla="*/ 1638300 h 4429225"/>
                    <a:gd name="connsiteX81" fmla="*/ 106702 w 4519987"/>
                    <a:gd name="connsiteY81" fmla="*/ 1590675 h 4429225"/>
                    <a:gd name="connsiteX82" fmla="*/ 135277 w 4519987"/>
                    <a:gd name="connsiteY82" fmla="*/ 1504950 h 4429225"/>
                    <a:gd name="connsiteX83" fmla="*/ 154327 w 4519987"/>
                    <a:gd name="connsiteY83" fmla="*/ 1419225 h 4429225"/>
                    <a:gd name="connsiteX84" fmla="*/ 230527 w 4519987"/>
                    <a:gd name="connsiteY84" fmla="*/ 1276350 h 4429225"/>
                    <a:gd name="connsiteX85" fmla="*/ 240052 w 4519987"/>
                    <a:gd name="connsiteY85" fmla="*/ 1247775 h 4429225"/>
                    <a:gd name="connsiteX86" fmla="*/ 268627 w 4519987"/>
                    <a:gd name="connsiteY86" fmla="*/ 1200150 h 4429225"/>
                    <a:gd name="connsiteX87" fmla="*/ 287677 w 4519987"/>
                    <a:gd name="connsiteY87" fmla="*/ 1152525 h 4429225"/>
                    <a:gd name="connsiteX88" fmla="*/ 316252 w 4519987"/>
                    <a:gd name="connsiteY88" fmla="*/ 1114425 h 4429225"/>
                    <a:gd name="connsiteX89" fmla="*/ 363877 w 4519987"/>
                    <a:gd name="connsiteY89" fmla="*/ 1038225 h 4429225"/>
                    <a:gd name="connsiteX90" fmla="*/ 382927 w 4519987"/>
                    <a:gd name="connsiteY90" fmla="*/ 1009650 h 4429225"/>
                    <a:gd name="connsiteX91" fmla="*/ 440077 w 4519987"/>
                    <a:gd name="connsiteY91" fmla="*/ 904875 h 4429225"/>
                    <a:gd name="connsiteX92" fmla="*/ 478177 w 4519987"/>
                    <a:gd name="connsiteY92" fmla="*/ 857250 h 4429225"/>
                    <a:gd name="connsiteX93" fmla="*/ 497227 w 4519987"/>
                    <a:gd name="connsiteY93" fmla="*/ 828675 h 4429225"/>
                    <a:gd name="connsiteX94" fmla="*/ 535327 w 4519987"/>
                    <a:gd name="connsiteY94" fmla="*/ 800100 h 4429225"/>
                    <a:gd name="connsiteX95" fmla="*/ 602002 w 4519987"/>
                    <a:gd name="connsiteY95" fmla="*/ 733425 h 4429225"/>
                    <a:gd name="connsiteX96" fmla="*/ 668677 w 4519987"/>
                    <a:gd name="connsiteY96" fmla="*/ 676275 h 4429225"/>
                    <a:gd name="connsiteX97" fmla="*/ 697252 w 4519987"/>
                    <a:gd name="connsiteY97" fmla="*/ 657225 h 4429225"/>
                    <a:gd name="connsiteX98" fmla="*/ 840127 w 4519987"/>
                    <a:gd name="connsiteY98" fmla="*/ 533400 h 4429225"/>
                    <a:gd name="connsiteX99" fmla="*/ 887752 w 4519987"/>
                    <a:gd name="connsiteY99" fmla="*/ 504825 h 4429225"/>
                    <a:gd name="connsiteX100" fmla="*/ 1167152 w 4519987"/>
                    <a:gd name="connsiteY100" fmla="*/ 311150 h 4429225"/>
                    <a:gd name="connsiteX101" fmla="*/ 1268752 w 4519987"/>
                    <a:gd name="connsiteY101" fmla="*/ 285750 h 4429225"/>
                    <a:gd name="connsiteX102" fmla="*/ 1411627 w 4519987"/>
                    <a:gd name="connsiteY102" fmla="*/ 190500 h 4429225"/>
                    <a:gd name="connsiteX103" fmla="*/ 1449727 w 4519987"/>
                    <a:gd name="connsiteY103" fmla="*/ 161925 h 4429225"/>
                    <a:gd name="connsiteX104" fmla="*/ 1525927 w 4519987"/>
                    <a:gd name="connsiteY104" fmla="*/ 152400 h 4429225"/>
                    <a:gd name="connsiteX105" fmla="*/ 1583077 w 4519987"/>
                    <a:gd name="connsiteY105" fmla="*/ 142875 h 4429225"/>
                    <a:gd name="connsiteX106" fmla="*/ 1716427 w 4519987"/>
                    <a:gd name="connsiteY106" fmla="*/ 123825 h 4429225"/>
                    <a:gd name="connsiteX107" fmla="*/ 1811677 w 4519987"/>
                    <a:gd name="connsiteY107" fmla="*/ 114300 h 4429225"/>
                    <a:gd name="connsiteX108" fmla="*/ 1859302 w 4519987"/>
                    <a:gd name="connsiteY108" fmla="*/ 104775 h 4429225"/>
                    <a:gd name="connsiteX109" fmla="*/ 1916452 w 4519987"/>
                    <a:gd name="connsiteY109" fmla="*/ 95250 h 4429225"/>
                    <a:gd name="connsiteX110" fmla="*/ 2030752 w 4519987"/>
                    <a:gd name="connsiteY110" fmla="*/ 66675 h 4429225"/>
                    <a:gd name="connsiteX111" fmla="*/ 2097427 w 4519987"/>
                    <a:gd name="connsiteY111" fmla="*/ 47625 h 4429225"/>
                    <a:gd name="connsiteX112" fmla="*/ 2164102 w 4519987"/>
                    <a:gd name="connsiteY112" fmla="*/ 38100 h 4429225"/>
                    <a:gd name="connsiteX113" fmla="*/ 2392702 w 4519987"/>
                    <a:gd name="connsiteY11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144927 w 4519987"/>
                    <a:gd name="connsiteY48" fmla="*/ 4171950 h 4429225"/>
                    <a:gd name="connsiteX49" fmla="*/ 1087777 w 4519987"/>
                    <a:gd name="connsiteY49" fmla="*/ 4143375 h 4429225"/>
                    <a:gd name="connsiteX50" fmla="*/ 1030627 w 4519987"/>
                    <a:gd name="connsiteY50" fmla="*/ 4124325 h 4429225"/>
                    <a:gd name="connsiteX51" fmla="*/ 925852 w 4519987"/>
                    <a:gd name="connsiteY51" fmla="*/ 4067175 h 4429225"/>
                    <a:gd name="connsiteX52" fmla="*/ 830602 w 4519987"/>
                    <a:gd name="connsiteY52" fmla="*/ 3981450 h 4429225"/>
                    <a:gd name="connsiteX53" fmla="*/ 763927 w 4519987"/>
                    <a:gd name="connsiteY53" fmla="*/ 3914775 h 4429225"/>
                    <a:gd name="connsiteX54" fmla="*/ 725827 w 4519987"/>
                    <a:gd name="connsiteY54" fmla="*/ 3876675 h 4429225"/>
                    <a:gd name="connsiteX55" fmla="*/ 697252 w 4519987"/>
                    <a:gd name="connsiteY55" fmla="*/ 3838575 h 4429225"/>
                    <a:gd name="connsiteX56" fmla="*/ 640102 w 4519987"/>
                    <a:gd name="connsiteY56" fmla="*/ 3781425 h 4429225"/>
                    <a:gd name="connsiteX57" fmla="*/ 611527 w 4519987"/>
                    <a:gd name="connsiteY57" fmla="*/ 3733800 h 4429225"/>
                    <a:gd name="connsiteX58" fmla="*/ 554377 w 4519987"/>
                    <a:gd name="connsiteY58" fmla="*/ 3657600 h 4429225"/>
                    <a:gd name="connsiteX59" fmla="*/ 525802 w 4519987"/>
                    <a:gd name="connsiteY59" fmla="*/ 3609975 h 4429225"/>
                    <a:gd name="connsiteX60" fmla="*/ 497227 w 4519987"/>
                    <a:gd name="connsiteY60" fmla="*/ 3552825 h 4429225"/>
                    <a:gd name="connsiteX61" fmla="*/ 440077 w 4519987"/>
                    <a:gd name="connsiteY61" fmla="*/ 3495675 h 4429225"/>
                    <a:gd name="connsiteX62" fmla="*/ 411502 w 4519987"/>
                    <a:gd name="connsiteY62" fmla="*/ 3448050 h 4429225"/>
                    <a:gd name="connsiteX63" fmla="*/ 278152 w 4519987"/>
                    <a:gd name="connsiteY63" fmla="*/ 3257550 h 4429225"/>
                    <a:gd name="connsiteX64" fmla="*/ 249577 w 4519987"/>
                    <a:gd name="connsiteY64" fmla="*/ 3200400 h 4429225"/>
                    <a:gd name="connsiteX65" fmla="*/ 240052 w 4519987"/>
                    <a:gd name="connsiteY65" fmla="*/ 3162300 h 4429225"/>
                    <a:gd name="connsiteX66" fmla="*/ 221002 w 4519987"/>
                    <a:gd name="connsiteY66" fmla="*/ 3105150 h 4429225"/>
                    <a:gd name="connsiteX67" fmla="*/ 173377 w 4519987"/>
                    <a:gd name="connsiteY67" fmla="*/ 3019425 h 4429225"/>
                    <a:gd name="connsiteX68" fmla="*/ 144802 w 4519987"/>
                    <a:gd name="connsiteY68" fmla="*/ 2924175 h 4429225"/>
                    <a:gd name="connsiteX69" fmla="*/ 68602 w 4519987"/>
                    <a:gd name="connsiteY69" fmla="*/ 2724150 h 4429225"/>
                    <a:gd name="connsiteX70" fmla="*/ 49552 w 4519987"/>
                    <a:gd name="connsiteY70" fmla="*/ 2638425 h 4429225"/>
                    <a:gd name="connsiteX71" fmla="*/ 40027 w 4519987"/>
                    <a:gd name="connsiteY71" fmla="*/ 2562225 h 4429225"/>
                    <a:gd name="connsiteX72" fmla="*/ 30502 w 4519987"/>
                    <a:gd name="connsiteY72" fmla="*/ 2514600 h 4429225"/>
                    <a:gd name="connsiteX73" fmla="*/ 11452 w 4519987"/>
                    <a:gd name="connsiteY73" fmla="*/ 2400300 h 4429225"/>
                    <a:gd name="connsiteX74" fmla="*/ 20977 w 4519987"/>
                    <a:gd name="connsiteY74" fmla="*/ 1905000 h 4429225"/>
                    <a:gd name="connsiteX75" fmla="*/ 30502 w 4519987"/>
                    <a:gd name="connsiteY75" fmla="*/ 1838325 h 4429225"/>
                    <a:gd name="connsiteX76" fmla="*/ 49552 w 4519987"/>
                    <a:gd name="connsiteY76" fmla="*/ 1781175 h 4429225"/>
                    <a:gd name="connsiteX77" fmla="*/ 59077 w 4519987"/>
                    <a:gd name="connsiteY77" fmla="*/ 1743075 h 4429225"/>
                    <a:gd name="connsiteX78" fmla="*/ 78127 w 4519987"/>
                    <a:gd name="connsiteY78" fmla="*/ 1685925 h 4429225"/>
                    <a:gd name="connsiteX79" fmla="*/ 87652 w 4519987"/>
                    <a:gd name="connsiteY79" fmla="*/ 1638300 h 4429225"/>
                    <a:gd name="connsiteX80" fmla="*/ 106702 w 4519987"/>
                    <a:gd name="connsiteY80" fmla="*/ 1590675 h 4429225"/>
                    <a:gd name="connsiteX81" fmla="*/ 135277 w 4519987"/>
                    <a:gd name="connsiteY81" fmla="*/ 1504950 h 4429225"/>
                    <a:gd name="connsiteX82" fmla="*/ 154327 w 4519987"/>
                    <a:gd name="connsiteY82" fmla="*/ 1419225 h 4429225"/>
                    <a:gd name="connsiteX83" fmla="*/ 230527 w 4519987"/>
                    <a:gd name="connsiteY83" fmla="*/ 1276350 h 4429225"/>
                    <a:gd name="connsiteX84" fmla="*/ 240052 w 4519987"/>
                    <a:gd name="connsiteY84" fmla="*/ 1247775 h 4429225"/>
                    <a:gd name="connsiteX85" fmla="*/ 268627 w 4519987"/>
                    <a:gd name="connsiteY85" fmla="*/ 1200150 h 4429225"/>
                    <a:gd name="connsiteX86" fmla="*/ 287677 w 4519987"/>
                    <a:gd name="connsiteY86" fmla="*/ 1152525 h 4429225"/>
                    <a:gd name="connsiteX87" fmla="*/ 316252 w 4519987"/>
                    <a:gd name="connsiteY87" fmla="*/ 1114425 h 4429225"/>
                    <a:gd name="connsiteX88" fmla="*/ 363877 w 4519987"/>
                    <a:gd name="connsiteY88" fmla="*/ 1038225 h 4429225"/>
                    <a:gd name="connsiteX89" fmla="*/ 382927 w 4519987"/>
                    <a:gd name="connsiteY89" fmla="*/ 1009650 h 4429225"/>
                    <a:gd name="connsiteX90" fmla="*/ 440077 w 4519987"/>
                    <a:gd name="connsiteY90" fmla="*/ 904875 h 4429225"/>
                    <a:gd name="connsiteX91" fmla="*/ 478177 w 4519987"/>
                    <a:gd name="connsiteY91" fmla="*/ 857250 h 4429225"/>
                    <a:gd name="connsiteX92" fmla="*/ 497227 w 4519987"/>
                    <a:gd name="connsiteY92" fmla="*/ 828675 h 4429225"/>
                    <a:gd name="connsiteX93" fmla="*/ 535327 w 4519987"/>
                    <a:gd name="connsiteY93" fmla="*/ 800100 h 4429225"/>
                    <a:gd name="connsiteX94" fmla="*/ 602002 w 4519987"/>
                    <a:gd name="connsiteY94" fmla="*/ 733425 h 4429225"/>
                    <a:gd name="connsiteX95" fmla="*/ 668677 w 4519987"/>
                    <a:gd name="connsiteY95" fmla="*/ 676275 h 4429225"/>
                    <a:gd name="connsiteX96" fmla="*/ 697252 w 4519987"/>
                    <a:gd name="connsiteY96" fmla="*/ 657225 h 4429225"/>
                    <a:gd name="connsiteX97" fmla="*/ 840127 w 4519987"/>
                    <a:gd name="connsiteY97" fmla="*/ 533400 h 4429225"/>
                    <a:gd name="connsiteX98" fmla="*/ 887752 w 4519987"/>
                    <a:gd name="connsiteY98" fmla="*/ 504825 h 4429225"/>
                    <a:gd name="connsiteX99" fmla="*/ 1167152 w 4519987"/>
                    <a:gd name="connsiteY99" fmla="*/ 311150 h 4429225"/>
                    <a:gd name="connsiteX100" fmla="*/ 1268752 w 4519987"/>
                    <a:gd name="connsiteY100" fmla="*/ 285750 h 4429225"/>
                    <a:gd name="connsiteX101" fmla="*/ 1411627 w 4519987"/>
                    <a:gd name="connsiteY101" fmla="*/ 190500 h 4429225"/>
                    <a:gd name="connsiteX102" fmla="*/ 1449727 w 4519987"/>
                    <a:gd name="connsiteY102" fmla="*/ 161925 h 4429225"/>
                    <a:gd name="connsiteX103" fmla="*/ 1525927 w 4519987"/>
                    <a:gd name="connsiteY103" fmla="*/ 152400 h 4429225"/>
                    <a:gd name="connsiteX104" fmla="*/ 1583077 w 4519987"/>
                    <a:gd name="connsiteY104" fmla="*/ 142875 h 4429225"/>
                    <a:gd name="connsiteX105" fmla="*/ 1716427 w 4519987"/>
                    <a:gd name="connsiteY105" fmla="*/ 123825 h 4429225"/>
                    <a:gd name="connsiteX106" fmla="*/ 1811677 w 4519987"/>
                    <a:gd name="connsiteY106" fmla="*/ 114300 h 4429225"/>
                    <a:gd name="connsiteX107" fmla="*/ 1859302 w 4519987"/>
                    <a:gd name="connsiteY107" fmla="*/ 104775 h 4429225"/>
                    <a:gd name="connsiteX108" fmla="*/ 1916452 w 4519987"/>
                    <a:gd name="connsiteY108" fmla="*/ 95250 h 4429225"/>
                    <a:gd name="connsiteX109" fmla="*/ 2030752 w 4519987"/>
                    <a:gd name="connsiteY109" fmla="*/ 66675 h 4429225"/>
                    <a:gd name="connsiteX110" fmla="*/ 2097427 w 4519987"/>
                    <a:gd name="connsiteY110" fmla="*/ 47625 h 4429225"/>
                    <a:gd name="connsiteX111" fmla="*/ 2164102 w 4519987"/>
                    <a:gd name="connsiteY111" fmla="*/ 38100 h 4429225"/>
                    <a:gd name="connsiteX112" fmla="*/ 2392702 w 4519987"/>
                    <a:gd name="connsiteY11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221127 w 4519987"/>
                    <a:gd name="connsiteY47" fmla="*/ 4200525 h 4429225"/>
                    <a:gd name="connsiteX48" fmla="*/ 1087777 w 4519987"/>
                    <a:gd name="connsiteY48" fmla="*/ 4143375 h 4429225"/>
                    <a:gd name="connsiteX49" fmla="*/ 1030627 w 4519987"/>
                    <a:gd name="connsiteY49" fmla="*/ 4124325 h 4429225"/>
                    <a:gd name="connsiteX50" fmla="*/ 925852 w 4519987"/>
                    <a:gd name="connsiteY50" fmla="*/ 4067175 h 4429225"/>
                    <a:gd name="connsiteX51" fmla="*/ 830602 w 4519987"/>
                    <a:gd name="connsiteY51" fmla="*/ 3981450 h 4429225"/>
                    <a:gd name="connsiteX52" fmla="*/ 763927 w 4519987"/>
                    <a:gd name="connsiteY52" fmla="*/ 3914775 h 4429225"/>
                    <a:gd name="connsiteX53" fmla="*/ 725827 w 4519987"/>
                    <a:gd name="connsiteY53" fmla="*/ 3876675 h 4429225"/>
                    <a:gd name="connsiteX54" fmla="*/ 697252 w 4519987"/>
                    <a:gd name="connsiteY54" fmla="*/ 3838575 h 4429225"/>
                    <a:gd name="connsiteX55" fmla="*/ 640102 w 4519987"/>
                    <a:gd name="connsiteY55" fmla="*/ 3781425 h 4429225"/>
                    <a:gd name="connsiteX56" fmla="*/ 611527 w 4519987"/>
                    <a:gd name="connsiteY56" fmla="*/ 3733800 h 4429225"/>
                    <a:gd name="connsiteX57" fmla="*/ 554377 w 4519987"/>
                    <a:gd name="connsiteY57" fmla="*/ 3657600 h 4429225"/>
                    <a:gd name="connsiteX58" fmla="*/ 525802 w 4519987"/>
                    <a:gd name="connsiteY58" fmla="*/ 3609975 h 4429225"/>
                    <a:gd name="connsiteX59" fmla="*/ 497227 w 4519987"/>
                    <a:gd name="connsiteY59" fmla="*/ 3552825 h 4429225"/>
                    <a:gd name="connsiteX60" fmla="*/ 440077 w 4519987"/>
                    <a:gd name="connsiteY60" fmla="*/ 3495675 h 4429225"/>
                    <a:gd name="connsiteX61" fmla="*/ 411502 w 4519987"/>
                    <a:gd name="connsiteY61" fmla="*/ 3448050 h 4429225"/>
                    <a:gd name="connsiteX62" fmla="*/ 278152 w 4519987"/>
                    <a:gd name="connsiteY62" fmla="*/ 3257550 h 4429225"/>
                    <a:gd name="connsiteX63" fmla="*/ 249577 w 4519987"/>
                    <a:gd name="connsiteY63" fmla="*/ 3200400 h 4429225"/>
                    <a:gd name="connsiteX64" fmla="*/ 240052 w 4519987"/>
                    <a:gd name="connsiteY64" fmla="*/ 3162300 h 4429225"/>
                    <a:gd name="connsiteX65" fmla="*/ 221002 w 4519987"/>
                    <a:gd name="connsiteY65" fmla="*/ 3105150 h 4429225"/>
                    <a:gd name="connsiteX66" fmla="*/ 173377 w 4519987"/>
                    <a:gd name="connsiteY66" fmla="*/ 3019425 h 4429225"/>
                    <a:gd name="connsiteX67" fmla="*/ 144802 w 4519987"/>
                    <a:gd name="connsiteY67" fmla="*/ 2924175 h 4429225"/>
                    <a:gd name="connsiteX68" fmla="*/ 68602 w 4519987"/>
                    <a:gd name="connsiteY68" fmla="*/ 2724150 h 4429225"/>
                    <a:gd name="connsiteX69" fmla="*/ 49552 w 4519987"/>
                    <a:gd name="connsiteY69" fmla="*/ 2638425 h 4429225"/>
                    <a:gd name="connsiteX70" fmla="*/ 40027 w 4519987"/>
                    <a:gd name="connsiteY70" fmla="*/ 2562225 h 4429225"/>
                    <a:gd name="connsiteX71" fmla="*/ 30502 w 4519987"/>
                    <a:gd name="connsiteY71" fmla="*/ 2514600 h 4429225"/>
                    <a:gd name="connsiteX72" fmla="*/ 11452 w 4519987"/>
                    <a:gd name="connsiteY72" fmla="*/ 2400300 h 4429225"/>
                    <a:gd name="connsiteX73" fmla="*/ 20977 w 4519987"/>
                    <a:gd name="connsiteY73" fmla="*/ 1905000 h 4429225"/>
                    <a:gd name="connsiteX74" fmla="*/ 30502 w 4519987"/>
                    <a:gd name="connsiteY74" fmla="*/ 1838325 h 4429225"/>
                    <a:gd name="connsiteX75" fmla="*/ 49552 w 4519987"/>
                    <a:gd name="connsiteY75" fmla="*/ 1781175 h 4429225"/>
                    <a:gd name="connsiteX76" fmla="*/ 59077 w 4519987"/>
                    <a:gd name="connsiteY76" fmla="*/ 1743075 h 4429225"/>
                    <a:gd name="connsiteX77" fmla="*/ 78127 w 4519987"/>
                    <a:gd name="connsiteY77" fmla="*/ 1685925 h 4429225"/>
                    <a:gd name="connsiteX78" fmla="*/ 87652 w 4519987"/>
                    <a:gd name="connsiteY78" fmla="*/ 1638300 h 4429225"/>
                    <a:gd name="connsiteX79" fmla="*/ 106702 w 4519987"/>
                    <a:gd name="connsiteY79" fmla="*/ 1590675 h 4429225"/>
                    <a:gd name="connsiteX80" fmla="*/ 135277 w 4519987"/>
                    <a:gd name="connsiteY80" fmla="*/ 1504950 h 4429225"/>
                    <a:gd name="connsiteX81" fmla="*/ 154327 w 4519987"/>
                    <a:gd name="connsiteY81" fmla="*/ 1419225 h 4429225"/>
                    <a:gd name="connsiteX82" fmla="*/ 230527 w 4519987"/>
                    <a:gd name="connsiteY82" fmla="*/ 1276350 h 4429225"/>
                    <a:gd name="connsiteX83" fmla="*/ 240052 w 4519987"/>
                    <a:gd name="connsiteY83" fmla="*/ 1247775 h 4429225"/>
                    <a:gd name="connsiteX84" fmla="*/ 268627 w 4519987"/>
                    <a:gd name="connsiteY84" fmla="*/ 1200150 h 4429225"/>
                    <a:gd name="connsiteX85" fmla="*/ 287677 w 4519987"/>
                    <a:gd name="connsiteY85" fmla="*/ 1152525 h 4429225"/>
                    <a:gd name="connsiteX86" fmla="*/ 316252 w 4519987"/>
                    <a:gd name="connsiteY86" fmla="*/ 1114425 h 4429225"/>
                    <a:gd name="connsiteX87" fmla="*/ 363877 w 4519987"/>
                    <a:gd name="connsiteY87" fmla="*/ 1038225 h 4429225"/>
                    <a:gd name="connsiteX88" fmla="*/ 382927 w 4519987"/>
                    <a:gd name="connsiteY88" fmla="*/ 1009650 h 4429225"/>
                    <a:gd name="connsiteX89" fmla="*/ 440077 w 4519987"/>
                    <a:gd name="connsiteY89" fmla="*/ 904875 h 4429225"/>
                    <a:gd name="connsiteX90" fmla="*/ 478177 w 4519987"/>
                    <a:gd name="connsiteY90" fmla="*/ 857250 h 4429225"/>
                    <a:gd name="connsiteX91" fmla="*/ 497227 w 4519987"/>
                    <a:gd name="connsiteY91" fmla="*/ 828675 h 4429225"/>
                    <a:gd name="connsiteX92" fmla="*/ 535327 w 4519987"/>
                    <a:gd name="connsiteY92" fmla="*/ 800100 h 4429225"/>
                    <a:gd name="connsiteX93" fmla="*/ 602002 w 4519987"/>
                    <a:gd name="connsiteY93" fmla="*/ 733425 h 4429225"/>
                    <a:gd name="connsiteX94" fmla="*/ 668677 w 4519987"/>
                    <a:gd name="connsiteY94" fmla="*/ 676275 h 4429225"/>
                    <a:gd name="connsiteX95" fmla="*/ 697252 w 4519987"/>
                    <a:gd name="connsiteY95" fmla="*/ 657225 h 4429225"/>
                    <a:gd name="connsiteX96" fmla="*/ 840127 w 4519987"/>
                    <a:gd name="connsiteY96" fmla="*/ 533400 h 4429225"/>
                    <a:gd name="connsiteX97" fmla="*/ 887752 w 4519987"/>
                    <a:gd name="connsiteY97" fmla="*/ 504825 h 4429225"/>
                    <a:gd name="connsiteX98" fmla="*/ 1167152 w 4519987"/>
                    <a:gd name="connsiteY98" fmla="*/ 311150 h 4429225"/>
                    <a:gd name="connsiteX99" fmla="*/ 1268752 w 4519987"/>
                    <a:gd name="connsiteY99" fmla="*/ 285750 h 4429225"/>
                    <a:gd name="connsiteX100" fmla="*/ 1411627 w 4519987"/>
                    <a:gd name="connsiteY100" fmla="*/ 190500 h 4429225"/>
                    <a:gd name="connsiteX101" fmla="*/ 1449727 w 4519987"/>
                    <a:gd name="connsiteY101" fmla="*/ 161925 h 4429225"/>
                    <a:gd name="connsiteX102" fmla="*/ 1525927 w 4519987"/>
                    <a:gd name="connsiteY102" fmla="*/ 152400 h 4429225"/>
                    <a:gd name="connsiteX103" fmla="*/ 1583077 w 4519987"/>
                    <a:gd name="connsiteY103" fmla="*/ 142875 h 4429225"/>
                    <a:gd name="connsiteX104" fmla="*/ 1716427 w 4519987"/>
                    <a:gd name="connsiteY104" fmla="*/ 123825 h 4429225"/>
                    <a:gd name="connsiteX105" fmla="*/ 1811677 w 4519987"/>
                    <a:gd name="connsiteY105" fmla="*/ 114300 h 4429225"/>
                    <a:gd name="connsiteX106" fmla="*/ 1859302 w 4519987"/>
                    <a:gd name="connsiteY106" fmla="*/ 104775 h 4429225"/>
                    <a:gd name="connsiteX107" fmla="*/ 1916452 w 4519987"/>
                    <a:gd name="connsiteY107" fmla="*/ 95250 h 4429225"/>
                    <a:gd name="connsiteX108" fmla="*/ 2030752 w 4519987"/>
                    <a:gd name="connsiteY108" fmla="*/ 66675 h 4429225"/>
                    <a:gd name="connsiteX109" fmla="*/ 2097427 w 4519987"/>
                    <a:gd name="connsiteY109" fmla="*/ 47625 h 4429225"/>
                    <a:gd name="connsiteX110" fmla="*/ 2164102 w 4519987"/>
                    <a:gd name="connsiteY110" fmla="*/ 38100 h 4429225"/>
                    <a:gd name="connsiteX111" fmla="*/ 2392702 w 4519987"/>
                    <a:gd name="connsiteY11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1030627 w 4519987"/>
                    <a:gd name="connsiteY48" fmla="*/ 4124325 h 4429225"/>
                    <a:gd name="connsiteX49" fmla="*/ 925852 w 4519987"/>
                    <a:gd name="connsiteY49" fmla="*/ 4067175 h 4429225"/>
                    <a:gd name="connsiteX50" fmla="*/ 830602 w 4519987"/>
                    <a:gd name="connsiteY50" fmla="*/ 3981450 h 4429225"/>
                    <a:gd name="connsiteX51" fmla="*/ 763927 w 4519987"/>
                    <a:gd name="connsiteY51" fmla="*/ 3914775 h 4429225"/>
                    <a:gd name="connsiteX52" fmla="*/ 725827 w 4519987"/>
                    <a:gd name="connsiteY52" fmla="*/ 3876675 h 4429225"/>
                    <a:gd name="connsiteX53" fmla="*/ 697252 w 4519987"/>
                    <a:gd name="connsiteY53" fmla="*/ 3838575 h 4429225"/>
                    <a:gd name="connsiteX54" fmla="*/ 640102 w 4519987"/>
                    <a:gd name="connsiteY54" fmla="*/ 3781425 h 4429225"/>
                    <a:gd name="connsiteX55" fmla="*/ 611527 w 4519987"/>
                    <a:gd name="connsiteY55" fmla="*/ 3733800 h 4429225"/>
                    <a:gd name="connsiteX56" fmla="*/ 554377 w 4519987"/>
                    <a:gd name="connsiteY56" fmla="*/ 3657600 h 4429225"/>
                    <a:gd name="connsiteX57" fmla="*/ 525802 w 4519987"/>
                    <a:gd name="connsiteY57" fmla="*/ 3609975 h 4429225"/>
                    <a:gd name="connsiteX58" fmla="*/ 497227 w 4519987"/>
                    <a:gd name="connsiteY58" fmla="*/ 3552825 h 4429225"/>
                    <a:gd name="connsiteX59" fmla="*/ 440077 w 4519987"/>
                    <a:gd name="connsiteY59" fmla="*/ 3495675 h 4429225"/>
                    <a:gd name="connsiteX60" fmla="*/ 411502 w 4519987"/>
                    <a:gd name="connsiteY60" fmla="*/ 3448050 h 4429225"/>
                    <a:gd name="connsiteX61" fmla="*/ 278152 w 4519987"/>
                    <a:gd name="connsiteY61" fmla="*/ 3257550 h 4429225"/>
                    <a:gd name="connsiteX62" fmla="*/ 249577 w 4519987"/>
                    <a:gd name="connsiteY62" fmla="*/ 3200400 h 4429225"/>
                    <a:gd name="connsiteX63" fmla="*/ 240052 w 4519987"/>
                    <a:gd name="connsiteY63" fmla="*/ 3162300 h 4429225"/>
                    <a:gd name="connsiteX64" fmla="*/ 221002 w 4519987"/>
                    <a:gd name="connsiteY64" fmla="*/ 3105150 h 4429225"/>
                    <a:gd name="connsiteX65" fmla="*/ 173377 w 4519987"/>
                    <a:gd name="connsiteY65" fmla="*/ 3019425 h 4429225"/>
                    <a:gd name="connsiteX66" fmla="*/ 144802 w 4519987"/>
                    <a:gd name="connsiteY66" fmla="*/ 2924175 h 4429225"/>
                    <a:gd name="connsiteX67" fmla="*/ 68602 w 4519987"/>
                    <a:gd name="connsiteY67" fmla="*/ 2724150 h 4429225"/>
                    <a:gd name="connsiteX68" fmla="*/ 49552 w 4519987"/>
                    <a:gd name="connsiteY68" fmla="*/ 2638425 h 4429225"/>
                    <a:gd name="connsiteX69" fmla="*/ 40027 w 4519987"/>
                    <a:gd name="connsiteY69" fmla="*/ 2562225 h 4429225"/>
                    <a:gd name="connsiteX70" fmla="*/ 30502 w 4519987"/>
                    <a:gd name="connsiteY70" fmla="*/ 2514600 h 4429225"/>
                    <a:gd name="connsiteX71" fmla="*/ 11452 w 4519987"/>
                    <a:gd name="connsiteY71" fmla="*/ 2400300 h 4429225"/>
                    <a:gd name="connsiteX72" fmla="*/ 20977 w 4519987"/>
                    <a:gd name="connsiteY72" fmla="*/ 1905000 h 4429225"/>
                    <a:gd name="connsiteX73" fmla="*/ 30502 w 4519987"/>
                    <a:gd name="connsiteY73" fmla="*/ 1838325 h 4429225"/>
                    <a:gd name="connsiteX74" fmla="*/ 49552 w 4519987"/>
                    <a:gd name="connsiteY74" fmla="*/ 1781175 h 4429225"/>
                    <a:gd name="connsiteX75" fmla="*/ 59077 w 4519987"/>
                    <a:gd name="connsiteY75" fmla="*/ 1743075 h 4429225"/>
                    <a:gd name="connsiteX76" fmla="*/ 78127 w 4519987"/>
                    <a:gd name="connsiteY76" fmla="*/ 1685925 h 4429225"/>
                    <a:gd name="connsiteX77" fmla="*/ 87652 w 4519987"/>
                    <a:gd name="connsiteY77" fmla="*/ 1638300 h 4429225"/>
                    <a:gd name="connsiteX78" fmla="*/ 106702 w 4519987"/>
                    <a:gd name="connsiteY78" fmla="*/ 1590675 h 4429225"/>
                    <a:gd name="connsiteX79" fmla="*/ 135277 w 4519987"/>
                    <a:gd name="connsiteY79" fmla="*/ 1504950 h 4429225"/>
                    <a:gd name="connsiteX80" fmla="*/ 154327 w 4519987"/>
                    <a:gd name="connsiteY80" fmla="*/ 1419225 h 4429225"/>
                    <a:gd name="connsiteX81" fmla="*/ 230527 w 4519987"/>
                    <a:gd name="connsiteY81" fmla="*/ 1276350 h 4429225"/>
                    <a:gd name="connsiteX82" fmla="*/ 240052 w 4519987"/>
                    <a:gd name="connsiteY82" fmla="*/ 1247775 h 4429225"/>
                    <a:gd name="connsiteX83" fmla="*/ 268627 w 4519987"/>
                    <a:gd name="connsiteY83" fmla="*/ 1200150 h 4429225"/>
                    <a:gd name="connsiteX84" fmla="*/ 287677 w 4519987"/>
                    <a:gd name="connsiteY84" fmla="*/ 1152525 h 4429225"/>
                    <a:gd name="connsiteX85" fmla="*/ 316252 w 4519987"/>
                    <a:gd name="connsiteY85" fmla="*/ 1114425 h 4429225"/>
                    <a:gd name="connsiteX86" fmla="*/ 363877 w 4519987"/>
                    <a:gd name="connsiteY86" fmla="*/ 1038225 h 4429225"/>
                    <a:gd name="connsiteX87" fmla="*/ 382927 w 4519987"/>
                    <a:gd name="connsiteY87" fmla="*/ 1009650 h 4429225"/>
                    <a:gd name="connsiteX88" fmla="*/ 440077 w 4519987"/>
                    <a:gd name="connsiteY88" fmla="*/ 904875 h 4429225"/>
                    <a:gd name="connsiteX89" fmla="*/ 478177 w 4519987"/>
                    <a:gd name="connsiteY89" fmla="*/ 857250 h 4429225"/>
                    <a:gd name="connsiteX90" fmla="*/ 497227 w 4519987"/>
                    <a:gd name="connsiteY90" fmla="*/ 828675 h 4429225"/>
                    <a:gd name="connsiteX91" fmla="*/ 535327 w 4519987"/>
                    <a:gd name="connsiteY91" fmla="*/ 800100 h 4429225"/>
                    <a:gd name="connsiteX92" fmla="*/ 602002 w 4519987"/>
                    <a:gd name="connsiteY92" fmla="*/ 733425 h 4429225"/>
                    <a:gd name="connsiteX93" fmla="*/ 668677 w 4519987"/>
                    <a:gd name="connsiteY93" fmla="*/ 676275 h 4429225"/>
                    <a:gd name="connsiteX94" fmla="*/ 697252 w 4519987"/>
                    <a:gd name="connsiteY94" fmla="*/ 657225 h 4429225"/>
                    <a:gd name="connsiteX95" fmla="*/ 840127 w 4519987"/>
                    <a:gd name="connsiteY95" fmla="*/ 533400 h 4429225"/>
                    <a:gd name="connsiteX96" fmla="*/ 887752 w 4519987"/>
                    <a:gd name="connsiteY96" fmla="*/ 504825 h 4429225"/>
                    <a:gd name="connsiteX97" fmla="*/ 1167152 w 4519987"/>
                    <a:gd name="connsiteY97" fmla="*/ 311150 h 4429225"/>
                    <a:gd name="connsiteX98" fmla="*/ 1268752 w 4519987"/>
                    <a:gd name="connsiteY98" fmla="*/ 285750 h 4429225"/>
                    <a:gd name="connsiteX99" fmla="*/ 1411627 w 4519987"/>
                    <a:gd name="connsiteY99" fmla="*/ 190500 h 4429225"/>
                    <a:gd name="connsiteX100" fmla="*/ 1449727 w 4519987"/>
                    <a:gd name="connsiteY100" fmla="*/ 161925 h 4429225"/>
                    <a:gd name="connsiteX101" fmla="*/ 1525927 w 4519987"/>
                    <a:gd name="connsiteY101" fmla="*/ 152400 h 4429225"/>
                    <a:gd name="connsiteX102" fmla="*/ 1583077 w 4519987"/>
                    <a:gd name="connsiteY102" fmla="*/ 142875 h 4429225"/>
                    <a:gd name="connsiteX103" fmla="*/ 1716427 w 4519987"/>
                    <a:gd name="connsiteY103" fmla="*/ 123825 h 4429225"/>
                    <a:gd name="connsiteX104" fmla="*/ 1811677 w 4519987"/>
                    <a:gd name="connsiteY104" fmla="*/ 114300 h 4429225"/>
                    <a:gd name="connsiteX105" fmla="*/ 1859302 w 4519987"/>
                    <a:gd name="connsiteY105" fmla="*/ 104775 h 4429225"/>
                    <a:gd name="connsiteX106" fmla="*/ 1916452 w 4519987"/>
                    <a:gd name="connsiteY106" fmla="*/ 95250 h 4429225"/>
                    <a:gd name="connsiteX107" fmla="*/ 2030752 w 4519987"/>
                    <a:gd name="connsiteY107" fmla="*/ 66675 h 4429225"/>
                    <a:gd name="connsiteX108" fmla="*/ 2097427 w 4519987"/>
                    <a:gd name="connsiteY108" fmla="*/ 47625 h 4429225"/>
                    <a:gd name="connsiteX109" fmla="*/ 2164102 w 4519987"/>
                    <a:gd name="connsiteY109" fmla="*/ 38100 h 4429225"/>
                    <a:gd name="connsiteX110" fmla="*/ 2392702 w 4519987"/>
                    <a:gd name="connsiteY11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925852 w 4519987"/>
                    <a:gd name="connsiteY48" fmla="*/ 4067175 h 4429225"/>
                    <a:gd name="connsiteX49" fmla="*/ 830602 w 4519987"/>
                    <a:gd name="connsiteY49" fmla="*/ 3981450 h 4429225"/>
                    <a:gd name="connsiteX50" fmla="*/ 763927 w 4519987"/>
                    <a:gd name="connsiteY50" fmla="*/ 3914775 h 4429225"/>
                    <a:gd name="connsiteX51" fmla="*/ 725827 w 4519987"/>
                    <a:gd name="connsiteY51" fmla="*/ 3876675 h 4429225"/>
                    <a:gd name="connsiteX52" fmla="*/ 697252 w 4519987"/>
                    <a:gd name="connsiteY52" fmla="*/ 3838575 h 4429225"/>
                    <a:gd name="connsiteX53" fmla="*/ 640102 w 4519987"/>
                    <a:gd name="connsiteY53" fmla="*/ 3781425 h 4429225"/>
                    <a:gd name="connsiteX54" fmla="*/ 611527 w 4519987"/>
                    <a:gd name="connsiteY54" fmla="*/ 3733800 h 4429225"/>
                    <a:gd name="connsiteX55" fmla="*/ 554377 w 4519987"/>
                    <a:gd name="connsiteY55" fmla="*/ 3657600 h 4429225"/>
                    <a:gd name="connsiteX56" fmla="*/ 525802 w 4519987"/>
                    <a:gd name="connsiteY56" fmla="*/ 3609975 h 4429225"/>
                    <a:gd name="connsiteX57" fmla="*/ 497227 w 4519987"/>
                    <a:gd name="connsiteY57" fmla="*/ 3552825 h 4429225"/>
                    <a:gd name="connsiteX58" fmla="*/ 440077 w 4519987"/>
                    <a:gd name="connsiteY58" fmla="*/ 3495675 h 4429225"/>
                    <a:gd name="connsiteX59" fmla="*/ 411502 w 4519987"/>
                    <a:gd name="connsiteY59" fmla="*/ 3448050 h 4429225"/>
                    <a:gd name="connsiteX60" fmla="*/ 278152 w 4519987"/>
                    <a:gd name="connsiteY60" fmla="*/ 3257550 h 4429225"/>
                    <a:gd name="connsiteX61" fmla="*/ 249577 w 4519987"/>
                    <a:gd name="connsiteY61" fmla="*/ 3200400 h 4429225"/>
                    <a:gd name="connsiteX62" fmla="*/ 240052 w 4519987"/>
                    <a:gd name="connsiteY62" fmla="*/ 3162300 h 4429225"/>
                    <a:gd name="connsiteX63" fmla="*/ 221002 w 4519987"/>
                    <a:gd name="connsiteY63" fmla="*/ 3105150 h 4429225"/>
                    <a:gd name="connsiteX64" fmla="*/ 173377 w 4519987"/>
                    <a:gd name="connsiteY64" fmla="*/ 3019425 h 4429225"/>
                    <a:gd name="connsiteX65" fmla="*/ 144802 w 4519987"/>
                    <a:gd name="connsiteY65" fmla="*/ 2924175 h 4429225"/>
                    <a:gd name="connsiteX66" fmla="*/ 68602 w 4519987"/>
                    <a:gd name="connsiteY66" fmla="*/ 2724150 h 4429225"/>
                    <a:gd name="connsiteX67" fmla="*/ 49552 w 4519987"/>
                    <a:gd name="connsiteY67" fmla="*/ 2638425 h 4429225"/>
                    <a:gd name="connsiteX68" fmla="*/ 40027 w 4519987"/>
                    <a:gd name="connsiteY68" fmla="*/ 2562225 h 4429225"/>
                    <a:gd name="connsiteX69" fmla="*/ 30502 w 4519987"/>
                    <a:gd name="connsiteY69" fmla="*/ 2514600 h 4429225"/>
                    <a:gd name="connsiteX70" fmla="*/ 11452 w 4519987"/>
                    <a:gd name="connsiteY70" fmla="*/ 2400300 h 4429225"/>
                    <a:gd name="connsiteX71" fmla="*/ 20977 w 4519987"/>
                    <a:gd name="connsiteY71" fmla="*/ 1905000 h 4429225"/>
                    <a:gd name="connsiteX72" fmla="*/ 30502 w 4519987"/>
                    <a:gd name="connsiteY72" fmla="*/ 1838325 h 4429225"/>
                    <a:gd name="connsiteX73" fmla="*/ 49552 w 4519987"/>
                    <a:gd name="connsiteY73" fmla="*/ 1781175 h 4429225"/>
                    <a:gd name="connsiteX74" fmla="*/ 59077 w 4519987"/>
                    <a:gd name="connsiteY74" fmla="*/ 1743075 h 4429225"/>
                    <a:gd name="connsiteX75" fmla="*/ 78127 w 4519987"/>
                    <a:gd name="connsiteY75" fmla="*/ 1685925 h 4429225"/>
                    <a:gd name="connsiteX76" fmla="*/ 87652 w 4519987"/>
                    <a:gd name="connsiteY76" fmla="*/ 1638300 h 4429225"/>
                    <a:gd name="connsiteX77" fmla="*/ 106702 w 4519987"/>
                    <a:gd name="connsiteY77" fmla="*/ 1590675 h 4429225"/>
                    <a:gd name="connsiteX78" fmla="*/ 135277 w 4519987"/>
                    <a:gd name="connsiteY78" fmla="*/ 1504950 h 4429225"/>
                    <a:gd name="connsiteX79" fmla="*/ 154327 w 4519987"/>
                    <a:gd name="connsiteY79" fmla="*/ 1419225 h 4429225"/>
                    <a:gd name="connsiteX80" fmla="*/ 230527 w 4519987"/>
                    <a:gd name="connsiteY80" fmla="*/ 1276350 h 4429225"/>
                    <a:gd name="connsiteX81" fmla="*/ 240052 w 4519987"/>
                    <a:gd name="connsiteY81" fmla="*/ 1247775 h 4429225"/>
                    <a:gd name="connsiteX82" fmla="*/ 268627 w 4519987"/>
                    <a:gd name="connsiteY82" fmla="*/ 1200150 h 4429225"/>
                    <a:gd name="connsiteX83" fmla="*/ 287677 w 4519987"/>
                    <a:gd name="connsiteY83" fmla="*/ 1152525 h 4429225"/>
                    <a:gd name="connsiteX84" fmla="*/ 316252 w 4519987"/>
                    <a:gd name="connsiteY84" fmla="*/ 1114425 h 4429225"/>
                    <a:gd name="connsiteX85" fmla="*/ 363877 w 4519987"/>
                    <a:gd name="connsiteY85" fmla="*/ 1038225 h 4429225"/>
                    <a:gd name="connsiteX86" fmla="*/ 382927 w 4519987"/>
                    <a:gd name="connsiteY86" fmla="*/ 1009650 h 4429225"/>
                    <a:gd name="connsiteX87" fmla="*/ 440077 w 4519987"/>
                    <a:gd name="connsiteY87" fmla="*/ 904875 h 4429225"/>
                    <a:gd name="connsiteX88" fmla="*/ 478177 w 4519987"/>
                    <a:gd name="connsiteY88" fmla="*/ 857250 h 4429225"/>
                    <a:gd name="connsiteX89" fmla="*/ 497227 w 4519987"/>
                    <a:gd name="connsiteY89" fmla="*/ 828675 h 4429225"/>
                    <a:gd name="connsiteX90" fmla="*/ 535327 w 4519987"/>
                    <a:gd name="connsiteY90" fmla="*/ 800100 h 4429225"/>
                    <a:gd name="connsiteX91" fmla="*/ 602002 w 4519987"/>
                    <a:gd name="connsiteY91" fmla="*/ 733425 h 4429225"/>
                    <a:gd name="connsiteX92" fmla="*/ 668677 w 4519987"/>
                    <a:gd name="connsiteY92" fmla="*/ 676275 h 4429225"/>
                    <a:gd name="connsiteX93" fmla="*/ 697252 w 4519987"/>
                    <a:gd name="connsiteY93" fmla="*/ 657225 h 4429225"/>
                    <a:gd name="connsiteX94" fmla="*/ 840127 w 4519987"/>
                    <a:gd name="connsiteY94" fmla="*/ 533400 h 4429225"/>
                    <a:gd name="connsiteX95" fmla="*/ 887752 w 4519987"/>
                    <a:gd name="connsiteY95" fmla="*/ 504825 h 4429225"/>
                    <a:gd name="connsiteX96" fmla="*/ 1167152 w 4519987"/>
                    <a:gd name="connsiteY96" fmla="*/ 311150 h 4429225"/>
                    <a:gd name="connsiteX97" fmla="*/ 1268752 w 4519987"/>
                    <a:gd name="connsiteY97" fmla="*/ 285750 h 4429225"/>
                    <a:gd name="connsiteX98" fmla="*/ 1411627 w 4519987"/>
                    <a:gd name="connsiteY98" fmla="*/ 190500 h 4429225"/>
                    <a:gd name="connsiteX99" fmla="*/ 1449727 w 4519987"/>
                    <a:gd name="connsiteY99" fmla="*/ 161925 h 4429225"/>
                    <a:gd name="connsiteX100" fmla="*/ 1525927 w 4519987"/>
                    <a:gd name="connsiteY100" fmla="*/ 152400 h 4429225"/>
                    <a:gd name="connsiteX101" fmla="*/ 1583077 w 4519987"/>
                    <a:gd name="connsiteY101" fmla="*/ 142875 h 4429225"/>
                    <a:gd name="connsiteX102" fmla="*/ 1716427 w 4519987"/>
                    <a:gd name="connsiteY102" fmla="*/ 123825 h 4429225"/>
                    <a:gd name="connsiteX103" fmla="*/ 1811677 w 4519987"/>
                    <a:gd name="connsiteY103" fmla="*/ 114300 h 4429225"/>
                    <a:gd name="connsiteX104" fmla="*/ 1859302 w 4519987"/>
                    <a:gd name="connsiteY104" fmla="*/ 104775 h 4429225"/>
                    <a:gd name="connsiteX105" fmla="*/ 1916452 w 4519987"/>
                    <a:gd name="connsiteY105" fmla="*/ 95250 h 4429225"/>
                    <a:gd name="connsiteX106" fmla="*/ 2030752 w 4519987"/>
                    <a:gd name="connsiteY106" fmla="*/ 66675 h 4429225"/>
                    <a:gd name="connsiteX107" fmla="*/ 2097427 w 4519987"/>
                    <a:gd name="connsiteY107" fmla="*/ 47625 h 4429225"/>
                    <a:gd name="connsiteX108" fmla="*/ 2164102 w 4519987"/>
                    <a:gd name="connsiteY108" fmla="*/ 38100 h 4429225"/>
                    <a:gd name="connsiteX109" fmla="*/ 2392702 w 4519987"/>
                    <a:gd name="connsiteY10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725827 w 4519987"/>
                    <a:gd name="connsiteY50" fmla="*/ 3876675 h 4429225"/>
                    <a:gd name="connsiteX51" fmla="*/ 697252 w 4519987"/>
                    <a:gd name="connsiteY51" fmla="*/ 3838575 h 4429225"/>
                    <a:gd name="connsiteX52" fmla="*/ 640102 w 4519987"/>
                    <a:gd name="connsiteY52" fmla="*/ 3781425 h 4429225"/>
                    <a:gd name="connsiteX53" fmla="*/ 611527 w 4519987"/>
                    <a:gd name="connsiteY53" fmla="*/ 3733800 h 4429225"/>
                    <a:gd name="connsiteX54" fmla="*/ 554377 w 4519987"/>
                    <a:gd name="connsiteY54" fmla="*/ 3657600 h 4429225"/>
                    <a:gd name="connsiteX55" fmla="*/ 525802 w 4519987"/>
                    <a:gd name="connsiteY55" fmla="*/ 3609975 h 4429225"/>
                    <a:gd name="connsiteX56" fmla="*/ 497227 w 4519987"/>
                    <a:gd name="connsiteY56" fmla="*/ 3552825 h 4429225"/>
                    <a:gd name="connsiteX57" fmla="*/ 440077 w 4519987"/>
                    <a:gd name="connsiteY57" fmla="*/ 3495675 h 4429225"/>
                    <a:gd name="connsiteX58" fmla="*/ 411502 w 4519987"/>
                    <a:gd name="connsiteY58" fmla="*/ 3448050 h 4429225"/>
                    <a:gd name="connsiteX59" fmla="*/ 278152 w 4519987"/>
                    <a:gd name="connsiteY59" fmla="*/ 3257550 h 4429225"/>
                    <a:gd name="connsiteX60" fmla="*/ 249577 w 4519987"/>
                    <a:gd name="connsiteY60" fmla="*/ 3200400 h 4429225"/>
                    <a:gd name="connsiteX61" fmla="*/ 240052 w 4519987"/>
                    <a:gd name="connsiteY61" fmla="*/ 3162300 h 4429225"/>
                    <a:gd name="connsiteX62" fmla="*/ 221002 w 4519987"/>
                    <a:gd name="connsiteY62" fmla="*/ 3105150 h 4429225"/>
                    <a:gd name="connsiteX63" fmla="*/ 173377 w 4519987"/>
                    <a:gd name="connsiteY63" fmla="*/ 3019425 h 4429225"/>
                    <a:gd name="connsiteX64" fmla="*/ 144802 w 4519987"/>
                    <a:gd name="connsiteY64" fmla="*/ 2924175 h 4429225"/>
                    <a:gd name="connsiteX65" fmla="*/ 68602 w 4519987"/>
                    <a:gd name="connsiteY65" fmla="*/ 2724150 h 4429225"/>
                    <a:gd name="connsiteX66" fmla="*/ 49552 w 4519987"/>
                    <a:gd name="connsiteY66" fmla="*/ 2638425 h 4429225"/>
                    <a:gd name="connsiteX67" fmla="*/ 40027 w 4519987"/>
                    <a:gd name="connsiteY67" fmla="*/ 2562225 h 4429225"/>
                    <a:gd name="connsiteX68" fmla="*/ 30502 w 4519987"/>
                    <a:gd name="connsiteY68" fmla="*/ 2514600 h 4429225"/>
                    <a:gd name="connsiteX69" fmla="*/ 11452 w 4519987"/>
                    <a:gd name="connsiteY69" fmla="*/ 2400300 h 4429225"/>
                    <a:gd name="connsiteX70" fmla="*/ 20977 w 4519987"/>
                    <a:gd name="connsiteY70" fmla="*/ 1905000 h 4429225"/>
                    <a:gd name="connsiteX71" fmla="*/ 30502 w 4519987"/>
                    <a:gd name="connsiteY71" fmla="*/ 1838325 h 4429225"/>
                    <a:gd name="connsiteX72" fmla="*/ 49552 w 4519987"/>
                    <a:gd name="connsiteY72" fmla="*/ 1781175 h 4429225"/>
                    <a:gd name="connsiteX73" fmla="*/ 59077 w 4519987"/>
                    <a:gd name="connsiteY73" fmla="*/ 1743075 h 4429225"/>
                    <a:gd name="connsiteX74" fmla="*/ 78127 w 4519987"/>
                    <a:gd name="connsiteY74" fmla="*/ 1685925 h 4429225"/>
                    <a:gd name="connsiteX75" fmla="*/ 87652 w 4519987"/>
                    <a:gd name="connsiteY75" fmla="*/ 1638300 h 4429225"/>
                    <a:gd name="connsiteX76" fmla="*/ 106702 w 4519987"/>
                    <a:gd name="connsiteY76" fmla="*/ 1590675 h 4429225"/>
                    <a:gd name="connsiteX77" fmla="*/ 135277 w 4519987"/>
                    <a:gd name="connsiteY77" fmla="*/ 1504950 h 4429225"/>
                    <a:gd name="connsiteX78" fmla="*/ 154327 w 4519987"/>
                    <a:gd name="connsiteY78" fmla="*/ 1419225 h 4429225"/>
                    <a:gd name="connsiteX79" fmla="*/ 230527 w 4519987"/>
                    <a:gd name="connsiteY79" fmla="*/ 1276350 h 4429225"/>
                    <a:gd name="connsiteX80" fmla="*/ 240052 w 4519987"/>
                    <a:gd name="connsiteY80" fmla="*/ 1247775 h 4429225"/>
                    <a:gd name="connsiteX81" fmla="*/ 268627 w 4519987"/>
                    <a:gd name="connsiteY81" fmla="*/ 1200150 h 4429225"/>
                    <a:gd name="connsiteX82" fmla="*/ 287677 w 4519987"/>
                    <a:gd name="connsiteY82" fmla="*/ 1152525 h 4429225"/>
                    <a:gd name="connsiteX83" fmla="*/ 316252 w 4519987"/>
                    <a:gd name="connsiteY83" fmla="*/ 1114425 h 4429225"/>
                    <a:gd name="connsiteX84" fmla="*/ 363877 w 4519987"/>
                    <a:gd name="connsiteY84" fmla="*/ 1038225 h 4429225"/>
                    <a:gd name="connsiteX85" fmla="*/ 382927 w 4519987"/>
                    <a:gd name="connsiteY85" fmla="*/ 1009650 h 4429225"/>
                    <a:gd name="connsiteX86" fmla="*/ 440077 w 4519987"/>
                    <a:gd name="connsiteY86" fmla="*/ 904875 h 4429225"/>
                    <a:gd name="connsiteX87" fmla="*/ 478177 w 4519987"/>
                    <a:gd name="connsiteY87" fmla="*/ 857250 h 4429225"/>
                    <a:gd name="connsiteX88" fmla="*/ 497227 w 4519987"/>
                    <a:gd name="connsiteY88" fmla="*/ 828675 h 4429225"/>
                    <a:gd name="connsiteX89" fmla="*/ 535327 w 4519987"/>
                    <a:gd name="connsiteY89" fmla="*/ 800100 h 4429225"/>
                    <a:gd name="connsiteX90" fmla="*/ 602002 w 4519987"/>
                    <a:gd name="connsiteY90" fmla="*/ 733425 h 4429225"/>
                    <a:gd name="connsiteX91" fmla="*/ 668677 w 4519987"/>
                    <a:gd name="connsiteY91" fmla="*/ 676275 h 4429225"/>
                    <a:gd name="connsiteX92" fmla="*/ 697252 w 4519987"/>
                    <a:gd name="connsiteY92" fmla="*/ 657225 h 4429225"/>
                    <a:gd name="connsiteX93" fmla="*/ 840127 w 4519987"/>
                    <a:gd name="connsiteY93" fmla="*/ 533400 h 4429225"/>
                    <a:gd name="connsiteX94" fmla="*/ 887752 w 4519987"/>
                    <a:gd name="connsiteY94" fmla="*/ 504825 h 4429225"/>
                    <a:gd name="connsiteX95" fmla="*/ 1167152 w 4519987"/>
                    <a:gd name="connsiteY95" fmla="*/ 311150 h 4429225"/>
                    <a:gd name="connsiteX96" fmla="*/ 1268752 w 4519987"/>
                    <a:gd name="connsiteY96" fmla="*/ 285750 h 4429225"/>
                    <a:gd name="connsiteX97" fmla="*/ 1411627 w 4519987"/>
                    <a:gd name="connsiteY97" fmla="*/ 190500 h 4429225"/>
                    <a:gd name="connsiteX98" fmla="*/ 1449727 w 4519987"/>
                    <a:gd name="connsiteY98" fmla="*/ 161925 h 4429225"/>
                    <a:gd name="connsiteX99" fmla="*/ 1525927 w 4519987"/>
                    <a:gd name="connsiteY99" fmla="*/ 152400 h 4429225"/>
                    <a:gd name="connsiteX100" fmla="*/ 1583077 w 4519987"/>
                    <a:gd name="connsiteY100" fmla="*/ 142875 h 4429225"/>
                    <a:gd name="connsiteX101" fmla="*/ 1716427 w 4519987"/>
                    <a:gd name="connsiteY101" fmla="*/ 123825 h 4429225"/>
                    <a:gd name="connsiteX102" fmla="*/ 1811677 w 4519987"/>
                    <a:gd name="connsiteY102" fmla="*/ 114300 h 4429225"/>
                    <a:gd name="connsiteX103" fmla="*/ 1859302 w 4519987"/>
                    <a:gd name="connsiteY103" fmla="*/ 104775 h 4429225"/>
                    <a:gd name="connsiteX104" fmla="*/ 1916452 w 4519987"/>
                    <a:gd name="connsiteY104" fmla="*/ 95250 h 4429225"/>
                    <a:gd name="connsiteX105" fmla="*/ 2030752 w 4519987"/>
                    <a:gd name="connsiteY105" fmla="*/ 66675 h 4429225"/>
                    <a:gd name="connsiteX106" fmla="*/ 2097427 w 4519987"/>
                    <a:gd name="connsiteY106" fmla="*/ 47625 h 4429225"/>
                    <a:gd name="connsiteX107" fmla="*/ 2164102 w 4519987"/>
                    <a:gd name="connsiteY107" fmla="*/ 38100 h 4429225"/>
                    <a:gd name="connsiteX108" fmla="*/ 2392702 w 4519987"/>
                    <a:gd name="connsiteY10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40102 w 4519987"/>
                    <a:gd name="connsiteY51" fmla="*/ 3781425 h 4429225"/>
                    <a:gd name="connsiteX52" fmla="*/ 611527 w 4519987"/>
                    <a:gd name="connsiteY52" fmla="*/ 3733800 h 4429225"/>
                    <a:gd name="connsiteX53" fmla="*/ 554377 w 4519987"/>
                    <a:gd name="connsiteY53" fmla="*/ 3657600 h 4429225"/>
                    <a:gd name="connsiteX54" fmla="*/ 525802 w 4519987"/>
                    <a:gd name="connsiteY54" fmla="*/ 3609975 h 4429225"/>
                    <a:gd name="connsiteX55" fmla="*/ 497227 w 4519987"/>
                    <a:gd name="connsiteY55" fmla="*/ 3552825 h 4429225"/>
                    <a:gd name="connsiteX56" fmla="*/ 440077 w 4519987"/>
                    <a:gd name="connsiteY56" fmla="*/ 3495675 h 4429225"/>
                    <a:gd name="connsiteX57" fmla="*/ 411502 w 4519987"/>
                    <a:gd name="connsiteY57" fmla="*/ 3448050 h 4429225"/>
                    <a:gd name="connsiteX58" fmla="*/ 278152 w 4519987"/>
                    <a:gd name="connsiteY58" fmla="*/ 3257550 h 4429225"/>
                    <a:gd name="connsiteX59" fmla="*/ 249577 w 4519987"/>
                    <a:gd name="connsiteY59" fmla="*/ 3200400 h 4429225"/>
                    <a:gd name="connsiteX60" fmla="*/ 240052 w 4519987"/>
                    <a:gd name="connsiteY60" fmla="*/ 3162300 h 4429225"/>
                    <a:gd name="connsiteX61" fmla="*/ 221002 w 4519987"/>
                    <a:gd name="connsiteY61" fmla="*/ 3105150 h 4429225"/>
                    <a:gd name="connsiteX62" fmla="*/ 173377 w 4519987"/>
                    <a:gd name="connsiteY62" fmla="*/ 3019425 h 4429225"/>
                    <a:gd name="connsiteX63" fmla="*/ 144802 w 4519987"/>
                    <a:gd name="connsiteY63" fmla="*/ 2924175 h 4429225"/>
                    <a:gd name="connsiteX64" fmla="*/ 68602 w 4519987"/>
                    <a:gd name="connsiteY64" fmla="*/ 2724150 h 4429225"/>
                    <a:gd name="connsiteX65" fmla="*/ 49552 w 4519987"/>
                    <a:gd name="connsiteY65" fmla="*/ 2638425 h 4429225"/>
                    <a:gd name="connsiteX66" fmla="*/ 40027 w 4519987"/>
                    <a:gd name="connsiteY66" fmla="*/ 2562225 h 4429225"/>
                    <a:gd name="connsiteX67" fmla="*/ 30502 w 4519987"/>
                    <a:gd name="connsiteY67" fmla="*/ 2514600 h 4429225"/>
                    <a:gd name="connsiteX68" fmla="*/ 11452 w 4519987"/>
                    <a:gd name="connsiteY68" fmla="*/ 2400300 h 4429225"/>
                    <a:gd name="connsiteX69" fmla="*/ 20977 w 4519987"/>
                    <a:gd name="connsiteY69" fmla="*/ 1905000 h 4429225"/>
                    <a:gd name="connsiteX70" fmla="*/ 30502 w 4519987"/>
                    <a:gd name="connsiteY70" fmla="*/ 1838325 h 4429225"/>
                    <a:gd name="connsiteX71" fmla="*/ 49552 w 4519987"/>
                    <a:gd name="connsiteY71" fmla="*/ 1781175 h 4429225"/>
                    <a:gd name="connsiteX72" fmla="*/ 59077 w 4519987"/>
                    <a:gd name="connsiteY72" fmla="*/ 1743075 h 4429225"/>
                    <a:gd name="connsiteX73" fmla="*/ 78127 w 4519987"/>
                    <a:gd name="connsiteY73" fmla="*/ 1685925 h 4429225"/>
                    <a:gd name="connsiteX74" fmla="*/ 87652 w 4519987"/>
                    <a:gd name="connsiteY74" fmla="*/ 1638300 h 4429225"/>
                    <a:gd name="connsiteX75" fmla="*/ 106702 w 4519987"/>
                    <a:gd name="connsiteY75" fmla="*/ 1590675 h 4429225"/>
                    <a:gd name="connsiteX76" fmla="*/ 135277 w 4519987"/>
                    <a:gd name="connsiteY76" fmla="*/ 1504950 h 4429225"/>
                    <a:gd name="connsiteX77" fmla="*/ 154327 w 4519987"/>
                    <a:gd name="connsiteY77" fmla="*/ 1419225 h 4429225"/>
                    <a:gd name="connsiteX78" fmla="*/ 230527 w 4519987"/>
                    <a:gd name="connsiteY78" fmla="*/ 1276350 h 4429225"/>
                    <a:gd name="connsiteX79" fmla="*/ 240052 w 4519987"/>
                    <a:gd name="connsiteY79" fmla="*/ 1247775 h 4429225"/>
                    <a:gd name="connsiteX80" fmla="*/ 268627 w 4519987"/>
                    <a:gd name="connsiteY80" fmla="*/ 1200150 h 4429225"/>
                    <a:gd name="connsiteX81" fmla="*/ 287677 w 4519987"/>
                    <a:gd name="connsiteY81" fmla="*/ 1152525 h 4429225"/>
                    <a:gd name="connsiteX82" fmla="*/ 316252 w 4519987"/>
                    <a:gd name="connsiteY82" fmla="*/ 1114425 h 4429225"/>
                    <a:gd name="connsiteX83" fmla="*/ 363877 w 4519987"/>
                    <a:gd name="connsiteY83" fmla="*/ 1038225 h 4429225"/>
                    <a:gd name="connsiteX84" fmla="*/ 382927 w 4519987"/>
                    <a:gd name="connsiteY84" fmla="*/ 1009650 h 4429225"/>
                    <a:gd name="connsiteX85" fmla="*/ 440077 w 4519987"/>
                    <a:gd name="connsiteY85" fmla="*/ 904875 h 4429225"/>
                    <a:gd name="connsiteX86" fmla="*/ 478177 w 4519987"/>
                    <a:gd name="connsiteY86" fmla="*/ 857250 h 4429225"/>
                    <a:gd name="connsiteX87" fmla="*/ 497227 w 4519987"/>
                    <a:gd name="connsiteY87" fmla="*/ 828675 h 4429225"/>
                    <a:gd name="connsiteX88" fmla="*/ 535327 w 4519987"/>
                    <a:gd name="connsiteY88" fmla="*/ 800100 h 4429225"/>
                    <a:gd name="connsiteX89" fmla="*/ 602002 w 4519987"/>
                    <a:gd name="connsiteY89" fmla="*/ 733425 h 4429225"/>
                    <a:gd name="connsiteX90" fmla="*/ 668677 w 4519987"/>
                    <a:gd name="connsiteY90" fmla="*/ 676275 h 4429225"/>
                    <a:gd name="connsiteX91" fmla="*/ 697252 w 4519987"/>
                    <a:gd name="connsiteY91" fmla="*/ 657225 h 4429225"/>
                    <a:gd name="connsiteX92" fmla="*/ 840127 w 4519987"/>
                    <a:gd name="connsiteY92" fmla="*/ 533400 h 4429225"/>
                    <a:gd name="connsiteX93" fmla="*/ 887752 w 4519987"/>
                    <a:gd name="connsiteY93" fmla="*/ 504825 h 4429225"/>
                    <a:gd name="connsiteX94" fmla="*/ 1167152 w 4519987"/>
                    <a:gd name="connsiteY94" fmla="*/ 311150 h 4429225"/>
                    <a:gd name="connsiteX95" fmla="*/ 1268752 w 4519987"/>
                    <a:gd name="connsiteY95" fmla="*/ 285750 h 4429225"/>
                    <a:gd name="connsiteX96" fmla="*/ 1411627 w 4519987"/>
                    <a:gd name="connsiteY96" fmla="*/ 190500 h 4429225"/>
                    <a:gd name="connsiteX97" fmla="*/ 1449727 w 4519987"/>
                    <a:gd name="connsiteY97" fmla="*/ 161925 h 4429225"/>
                    <a:gd name="connsiteX98" fmla="*/ 1525927 w 4519987"/>
                    <a:gd name="connsiteY98" fmla="*/ 152400 h 4429225"/>
                    <a:gd name="connsiteX99" fmla="*/ 1583077 w 4519987"/>
                    <a:gd name="connsiteY99" fmla="*/ 142875 h 4429225"/>
                    <a:gd name="connsiteX100" fmla="*/ 1716427 w 4519987"/>
                    <a:gd name="connsiteY100" fmla="*/ 123825 h 4429225"/>
                    <a:gd name="connsiteX101" fmla="*/ 1811677 w 4519987"/>
                    <a:gd name="connsiteY101" fmla="*/ 114300 h 4429225"/>
                    <a:gd name="connsiteX102" fmla="*/ 1859302 w 4519987"/>
                    <a:gd name="connsiteY102" fmla="*/ 104775 h 4429225"/>
                    <a:gd name="connsiteX103" fmla="*/ 1916452 w 4519987"/>
                    <a:gd name="connsiteY103" fmla="*/ 95250 h 4429225"/>
                    <a:gd name="connsiteX104" fmla="*/ 2030752 w 4519987"/>
                    <a:gd name="connsiteY104" fmla="*/ 66675 h 4429225"/>
                    <a:gd name="connsiteX105" fmla="*/ 2097427 w 4519987"/>
                    <a:gd name="connsiteY105" fmla="*/ 47625 h 4429225"/>
                    <a:gd name="connsiteX106" fmla="*/ 2164102 w 4519987"/>
                    <a:gd name="connsiteY106" fmla="*/ 38100 h 4429225"/>
                    <a:gd name="connsiteX107" fmla="*/ 2392702 w 4519987"/>
                    <a:gd name="connsiteY10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611527 w 4519987"/>
                    <a:gd name="connsiteY51" fmla="*/ 3733800 h 4429225"/>
                    <a:gd name="connsiteX52" fmla="*/ 554377 w 4519987"/>
                    <a:gd name="connsiteY52" fmla="*/ 3657600 h 4429225"/>
                    <a:gd name="connsiteX53" fmla="*/ 525802 w 4519987"/>
                    <a:gd name="connsiteY53" fmla="*/ 3609975 h 4429225"/>
                    <a:gd name="connsiteX54" fmla="*/ 497227 w 4519987"/>
                    <a:gd name="connsiteY54" fmla="*/ 3552825 h 4429225"/>
                    <a:gd name="connsiteX55" fmla="*/ 440077 w 4519987"/>
                    <a:gd name="connsiteY55" fmla="*/ 3495675 h 4429225"/>
                    <a:gd name="connsiteX56" fmla="*/ 411502 w 4519987"/>
                    <a:gd name="connsiteY56" fmla="*/ 3448050 h 4429225"/>
                    <a:gd name="connsiteX57" fmla="*/ 278152 w 4519987"/>
                    <a:gd name="connsiteY57" fmla="*/ 3257550 h 4429225"/>
                    <a:gd name="connsiteX58" fmla="*/ 249577 w 4519987"/>
                    <a:gd name="connsiteY58" fmla="*/ 3200400 h 4429225"/>
                    <a:gd name="connsiteX59" fmla="*/ 240052 w 4519987"/>
                    <a:gd name="connsiteY59" fmla="*/ 3162300 h 4429225"/>
                    <a:gd name="connsiteX60" fmla="*/ 221002 w 4519987"/>
                    <a:gd name="connsiteY60" fmla="*/ 3105150 h 4429225"/>
                    <a:gd name="connsiteX61" fmla="*/ 173377 w 4519987"/>
                    <a:gd name="connsiteY61" fmla="*/ 3019425 h 4429225"/>
                    <a:gd name="connsiteX62" fmla="*/ 144802 w 4519987"/>
                    <a:gd name="connsiteY62" fmla="*/ 2924175 h 4429225"/>
                    <a:gd name="connsiteX63" fmla="*/ 68602 w 4519987"/>
                    <a:gd name="connsiteY63" fmla="*/ 2724150 h 4429225"/>
                    <a:gd name="connsiteX64" fmla="*/ 49552 w 4519987"/>
                    <a:gd name="connsiteY64" fmla="*/ 2638425 h 4429225"/>
                    <a:gd name="connsiteX65" fmla="*/ 40027 w 4519987"/>
                    <a:gd name="connsiteY65" fmla="*/ 2562225 h 4429225"/>
                    <a:gd name="connsiteX66" fmla="*/ 30502 w 4519987"/>
                    <a:gd name="connsiteY66" fmla="*/ 2514600 h 4429225"/>
                    <a:gd name="connsiteX67" fmla="*/ 11452 w 4519987"/>
                    <a:gd name="connsiteY67" fmla="*/ 2400300 h 4429225"/>
                    <a:gd name="connsiteX68" fmla="*/ 20977 w 4519987"/>
                    <a:gd name="connsiteY68" fmla="*/ 1905000 h 4429225"/>
                    <a:gd name="connsiteX69" fmla="*/ 30502 w 4519987"/>
                    <a:gd name="connsiteY69" fmla="*/ 1838325 h 4429225"/>
                    <a:gd name="connsiteX70" fmla="*/ 49552 w 4519987"/>
                    <a:gd name="connsiteY70" fmla="*/ 1781175 h 4429225"/>
                    <a:gd name="connsiteX71" fmla="*/ 59077 w 4519987"/>
                    <a:gd name="connsiteY71" fmla="*/ 1743075 h 4429225"/>
                    <a:gd name="connsiteX72" fmla="*/ 78127 w 4519987"/>
                    <a:gd name="connsiteY72" fmla="*/ 1685925 h 4429225"/>
                    <a:gd name="connsiteX73" fmla="*/ 87652 w 4519987"/>
                    <a:gd name="connsiteY73" fmla="*/ 1638300 h 4429225"/>
                    <a:gd name="connsiteX74" fmla="*/ 106702 w 4519987"/>
                    <a:gd name="connsiteY74" fmla="*/ 1590675 h 4429225"/>
                    <a:gd name="connsiteX75" fmla="*/ 135277 w 4519987"/>
                    <a:gd name="connsiteY75" fmla="*/ 1504950 h 4429225"/>
                    <a:gd name="connsiteX76" fmla="*/ 154327 w 4519987"/>
                    <a:gd name="connsiteY76" fmla="*/ 1419225 h 4429225"/>
                    <a:gd name="connsiteX77" fmla="*/ 230527 w 4519987"/>
                    <a:gd name="connsiteY77" fmla="*/ 1276350 h 4429225"/>
                    <a:gd name="connsiteX78" fmla="*/ 240052 w 4519987"/>
                    <a:gd name="connsiteY78" fmla="*/ 1247775 h 4429225"/>
                    <a:gd name="connsiteX79" fmla="*/ 268627 w 4519987"/>
                    <a:gd name="connsiteY79" fmla="*/ 1200150 h 4429225"/>
                    <a:gd name="connsiteX80" fmla="*/ 287677 w 4519987"/>
                    <a:gd name="connsiteY80" fmla="*/ 1152525 h 4429225"/>
                    <a:gd name="connsiteX81" fmla="*/ 316252 w 4519987"/>
                    <a:gd name="connsiteY81" fmla="*/ 1114425 h 4429225"/>
                    <a:gd name="connsiteX82" fmla="*/ 363877 w 4519987"/>
                    <a:gd name="connsiteY82" fmla="*/ 1038225 h 4429225"/>
                    <a:gd name="connsiteX83" fmla="*/ 382927 w 4519987"/>
                    <a:gd name="connsiteY83" fmla="*/ 1009650 h 4429225"/>
                    <a:gd name="connsiteX84" fmla="*/ 440077 w 4519987"/>
                    <a:gd name="connsiteY84" fmla="*/ 904875 h 4429225"/>
                    <a:gd name="connsiteX85" fmla="*/ 478177 w 4519987"/>
                    <a:gd name="connsiteY85" fmla="*/ 857250 h 4429225"/>
                    <a:gd name="connsiteX86" fmla="*/ 497227 w 4519987"/>
                    <a:gd name="connsiteY86" fmla="*/ 828675 h 4429225"/>
                    <a:gd name="connsiteX87" fmla="*/ 535327 w 4519987"/>
                    <a:gd name="connsiteY87" fmla="*/ 800100 h 4429225"/>
                    <a:gd name="connsiteX88" fmla="*/ 602002 w 4519987"/>
                    <a:gd name="connsiteY88" fmla="*/ 733425 h 4429225"/>
                    <a:gd name="connsiteX89" fmla="*/ 668677 w 4519987"/>
                    <a:gd name="connsiteY89" fmla="*/ 676275 h 4429225"/>
                    <a:gd name="connsiteX90" fmla="*/ 697252 w 4519987"/>
                    <a:gd name="connsiteY90" fmla="*/ 657225 h 4429225"/>
                    <a:gd name="connsiteX91" fmla="*/ 840127 w 4519987"/>
                    <a:gd name="connsiteY91" fmla="*/ 533400 h 4429225"/>
                    <a:gd name="connsiteX92" fmla="*/ 887752 w 4519987"/>
                    <a:gd name="connsiteY92" fmla="*/ 504825 h 4429225"/>
                    <a:gd name="connsiteX93" fmla="*/ 1167152 w 4519987"/>
                    <a:gd name="connsiteY93" fmla="*/ 311150 h 4429225"/>
                    <a:gd name="connsiteX94" fmla="*/ 1268752 w 4519987"/>
                    <a:gd name="connsiteY94" fmla="*/ 285750 h 4429225"/>
                    <a:gd name="connsiteX95" fmla="*/ 1411627 w 4519987"/>
                    <a:gd name="connsiteY95" fmla="*/ 190500 h 4429225"/>
                    <a:gd name="connsiteX96" fmla="*/ 1449727 w 4519987"/>
                    <a:gd name="connsiteY96" fmla="*/ 161925 h 4429225"/>
                    <a:gd name="connsiteX97" fmla="*/ 1525927 w 4519987"/>
                    <a:gd name="connsiteY97" fmla="*/ 152400 h 4429225"/>
                    <a:gd name="connsiteX98" fmla="*/ 1583077 w 4519987"/>
                    <a:gd name="connsiteY98" fmla="*/ 142875 h 4429225"/>
                    <a:gd name="connsiteX99" fmla="*/ 1716427 w 4519987"/>
                    <a:gd name="connsiteY99" fmla="*/ 123825 h 4429225"/>
                    <a:gd name="connsiteX100" fmla="*/ 1811677 w 4519987"/>
                    <a:gd name="connsiteY100" fmla="*/ 114300 h 4429225"/>
                    <a:gd name="connsiteX101" fmla="*/ 1859302 w 4519987"/>
                    <a:gd name="connsiteY101" fmla="*/ 104775 h 4429225"/>
                    <a:gd name="connsiteX102" fmla="*/ 1916452 w 4519987"/>
                    <a:gd name="connsiteY102" fmla="*/ 95250 h 4429225"/>
                    <a:gd name="connsiteX103" fmla="*/ 2030752 w 4519987"/>
                    <a:gd name="connsiteY103" fmla="*/ 66675 h 4429225"/>
                    <a:gd name="connsiteX104" fmla="*/ 2097427 w 4519987"/>
                    <a:gd name="connsiteY104" fmla="*/ 47625 h 4429225"/>
                    <a:gd name="connsiteX105" fmla="*/ 2164102 w 4519987"/>
                    <a:gd name="connsiteY105" fmla="*/ 38100 h 4429225"/>
                    <a:gd name="connsiteX106" fmla="*/ 2392702 w 4519987"/>
                    <a:gd name="connsiteY10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525802 w 4519987"/>
                    <a:gd name="connsiteY52" fmla="*/ 3609975 h 4429225"/>
                    <a:gd name="connsiteX53" fmla="*/ 497227 w 4519987"/>
                    <a:gd name="connsiteY53" fmla="*/ 3552825 h 4429225"/>
                    <a:gd name="connsiteX54" fmla="*/ 440077 w 4519987"/>
                    <a:gd name="connsiteY54" fmla="*/ 3495675 h 4429225"/>
                    <a:gd name="connsiteX55" fmla="*/ 411502 w 4519987"/>
                    <a:gd name="connsiteY55" fmla="*/ 3448050 h 4429225"/>
                    <a:gd name="connsiteX56" fmla="*/ 278152 w 4519987"/>
                    <a:gd name="connsiteY56" fmla="*/ 3257550 h 4429225"/>
                    <a:gd name="connsiteX57" fmla="*/ 249577 w 4519987"/>
                    <a:gd name="connsiteY57" fmla="*/ 3200400 h 4429225"/>
                    <a:gd name="connsiteX58" fmla="*/ 240052 w 4519987"/>
                    <a:gd name="connsiteY58" fmla="*/ 3162300 h 4429225"/>
                    <a:gd name="connsiteX59" fmla="*/ 221002 w 4519987"/>
                    <a:gd name="connsiteY59" fmla="*/ 3105150 h 4429225"/>
                    <a:gd name="connsiteX60" fmla="*/ 173377 w 4519987"/>
                    <a:gd name="connsiteY60" fmla="*/ 3019425 h 4429225"/>
                    <a:gd name="connsiteX61" fmla="*/ 144802 w 4519987"/>
                    <a:gd name="connsiteY61" fmla="*/ 2924175 h 4429225"/>
                    <a:gd name="connsiteX62" fmla="*/ 68602 w 4519987"/>
                    <a:gd name="connsiteY62" fmla="*/ 2724150 h 4429225"/>
                    <a:gd name="connsiteX63" fmla="*/ 49552 w 4519987"/>
                    <a:gd name="connsiteY63" fmla="*/ 2638425 h 4429225"/>
                    <a:gd name="connsiteX64" fmla="*/ 40027 w 4519987"/>
                    <a:gd name="connsiteY64" fmla="*/ 2562225 h 4429225"/>
                    <a:gd name="connsiteX65" fmla="*/ 30502 w 4519987"/>
                    <a:gd name="connsiteY65" fmla="*/ 2514600 h 4429225"/>
                    <a:gd name="connsiteX66" fmla="*/ 11452 w 4519987"/>
                    <a:gd name="connsiteY66" fmla="*/ 2400300 h 4429225"/>
                    <a:gd name="connsiteX67" fmla="*/ 20977 w 4519987"/>
                    <a:gd name="connsiteY67" fmla="*/ 1905000 h 4429225"/>
                    <a:gd name="connsiteX68" fmla="*/ 30502 w 4519987"/>
                    <a:gd name="connsiteY68" fmla="*/ 1838325 h 4429225"/>
                    <a:gd name="connsiteX69" fmla="*/ 49552 w 4519987"/>
                    <a:gd name="connsiteY69" fmla="*/ 1781175 h 4429225"/>
                    <a:gd name="connsiteX70" fmla="*/ 59077 w 4519987"/>
                    <a:gd name="connsiteY70" fmla="*/ 1743075 h 4429225"/>
                    <a:gd name="connsiteX71" fmla="*/ 78127 w 4519987"/>
                    <a:gd name="connsiteY71" fmla="*/ 1685925 h 4429225"/>
                    <a:gd name="connsiteX72" fmla="*/ 87652 w 4519987"/>
                    <a:gd name="connsiteY72" fmla="*/ 1638300 h 4429225"/>
                    <a:gd name="connsiteX73" fmla="*/ 106702 w 4519987"/>
                    <a:gd name="connsiteY73" fmla="*/ 1590675 h 4429225"/>
                    <a:gd name="connsiteX74" fmla="*/ 135277 w 4519987"/>
                    <a:gd name="connsiteY74" fmla="*/ 1504950 h 4429225"/>
                    <a:gd name="connsiteX75" fmla="*/ 154327 w 4519987"/>
                    <a:gd name="connsiteY75" fmla="*/ 1419225 h 4429225"/>
                    <a:gd name="connsiteX76" fmla="*/ 230527 w 4519987"/>
                    <a:gd name="connsiteY76" fmla="*/ 1276350 h 4429225"/>
                    <a:gd name="connsiteX77" fmla="*/ 240052 w 4519987"/>
                    <a:gd name="connsiteY77" fmla="*/ 1247775 h 4429225"/>
                    <a:gd name="connsiteX78" fmla="*/ 268627 w 4519987"/>
                    <a:gd name="connsiteY78" fmla="*/ 1200150 h 4429225"/>
                    <a:gd name="connsiteX79" fmla="*/ 287677 w 4519987"/>
                    <a:gd name="connsiteY79" fmla="*/ 1152525 h 4429225"/>
                    <a:gd name="connsiteX80" fmla="*/ 316252 w 4519987"/>
                    <a:gd name="connsiteY80" fmla="*/ 1114425 h 4429225"/>
                    <a:gd name="connsiteX81" fmla="*/ 363877 w 4519987"/>
                    <a:gd name="connsiteY81" fmla="*/ 1038225 h 4429225"/>
                    <a:gd name="connsiteX82" fmla="*/ 382927 w 4519987"/>
                    <a:gd name="connsiteY82" fmla="*/ 1009650 h 4429225"/>
                    <a:gd name="connsiteX83" fmla="*/ 440077 w 4519987"/>
                    <a:gd name="connsiteY83" fmla="*/ 904875 h 4429225"/>
                    <a:gd name="connsiteX84" fmla="*/ 478177 w 4519987"/>
                    <a:gd name="connsiteY84" fmla="*/ 857250 h 4429225"/>
                    <a:gd name="connsiteX85" fmla="*/ 497227 w 4519987"/>
                    <a:gd name="connsiteY85" fmla="*/ 828675 h 4429225"/>
                    <a:gd name="connsiteX86" fmla="*/ 535327 w 4519987"/>
                    <a:gd name="connsiteY86" fmla="*/ 800100 h 4429225"/>
                    <a:gd name="connsiteX87" fmla="*/ 602002 w 4519987"/>
                    <a:gd name="connsiteY87" fmla="*/ 733425 h 4429225"/>
                    <a:gd name="connsiteX88" fmla="*/ 668677 w 4519987"/>
                    <a:gd name="connsiteY88" fmla="*/ 676275 h 4429225"/>
                    <a:gd name="connsiteX89" fmla="*/ 697252 w 4519987"/>
                    <a:gd name="connsiteY89" fmla="*/ 657225 h 4429225"/>
                    <a:gd name="connsiteX90" fmla="*/ 840127 w 4519987"/>
                    <a:gd name="connsiteY90" fmla="*/ 533400 h 4429225"/>
                    <a:gd name="connsiteX91" fmla="*/ 887752 w 4519987"/>
                    <a:gd name="connsiteY91" fmla="*/ 504825 h 4429225"/>
                    <a:gd name="connsiteX92" fmla="*/ 1167152 w 4519987"/>
                    <a:gd name="connsiteY92" fmla="*/ 311150 h 4429225"/>
                    <a:gd name="connsiteX93" fmla="*/ 1268752 w 4519987"/>
                    <a:gd name="connsiteY93" fmla="*/ 285750 h 4429225"/>
                    <a:gd name="connsiteX94" fmla="*/ 1411627 w 4519987"/>
                    <a:gd name="connsiteY94" fmla="*/ 190500 h 4429225"/>
                    <a:gd name="connsiteX95" fmla="*/ 1449727 w 4519987"/>
                    <a:gd name="connsiteY95" fmla="*/ 161925 h 4429225"/>
                    <a:gd name="connsiteX96" fmla="*/ 1525927 w 4519987"/>
                    <a:gd name="connsiteY96" fmla="*/ 152400 h 4429225"/>
                    <a:gd name="connsiteX97" fmla="*/ 1583077 w 4519987"/>
                    <a:gd name="connsiteY97" fmla="*/ 142875 h 4429225"/>
                    <a:gd name="connsiteX98" fmla="*/ 1716427 w 4519987"/>
                    <a:gd name="connsiteY98" fmla="*/ 123825 h 4429225"/>
                    <a:gd name="connsiteX99" fmla="*/ 1811677 w 4519987"/>
                    <a:gd name="connsiteY99" fmla="*/ 114300 h 4429225"/>
                    <a:gd name="connsiteX100" fmla="*/ 1859302 w 4519987"/>
                    <a:gd name="connsiteY100" fmla="*/ 104775 h 4429225"/>
                    <a:gd name="connsiteX101" fmla="*/ 1916452 w 4519987"/>
                    <a:gd name="connsiteY101" fmla="*/ 95250 h 4429225"/>
                    <a:gd name="connsiteX102" fmla="*/ 2030752 w 4519987"/>
                    <a:gd name="connsiteY102" fmla="*/ 66675 h 4429225"/>
                    <a:gd name="connsiteX103" fmla="*/ 2097427 w 4519987"/>
                    <a:gd name="connsiteY103" fmla="*/ 47625 h 4429225"/>
                    <a:gd name="connsiteX104" fmla="*/ 2164102 w 4519987"/>
                    <a:gd name="connsiteY104" fmla="*/ 38100 h 4429225"/>
                    <a:gd name="connsiteX105" fmla="*/ 2392702 w 4519987"/>
                    <a:gd name="connsiteY105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411502 w 4519987"/>
                    <a:gd name="connsiteY54" fmla="*/ 3448050 h 4429225"/>
                    <a:gd name="connsiteX55" fmla="*/ 278152 w 4519987"/>
                    <a:gd name="connsiteY55" fmla="*/ 3257550 h 4429225"/>
                    <a:gd name="connsiteX56" fmla="*/ 249577 w 4519987"/>
                    <a:gd name="connsiteY56" fmla="*/ 3200400 h 4429225"/>
                    <a:gd name="connsiteX57" fmla="*/ 240052 w 4519987"/>
                    <a:gd name="connsiteY57" fmla="*/ 3162300 h 4429225"/>
                    <a:gd name="connsiteX58" fmla="*/ 221002 w 4519987"/>
                    <a:gd name="connsiteY58" fmla="*/ 3105150 h 4429225"/>
                    <a:gd name="connsiteX59" fmla="*/ 173377 w 4519987"/>
                    <a:gd name="connsiteY59" fmla="*/ 3019425 h 4429225"/>
                    <a:gd name="connsiteX60" fmla="*/ 144802 w 4519987"/>
                    <a:gd name="connsiteY60" fmla="*/ 2924175 h 4429225"/>
                    <a:gd name="connsiteX61" fmla="*/ 68602 w 4519987"/>
                    <a:gd name="connsiteY61" fmla="*/ 2724150 h 4429225"/>
                    <a:gd name="connsiteX62" fmla="*/ 49552 w 4519987"/>
                    <a:gd name="connsiteY62" fmla="*/ 2638425 h 4429225"/>
                    <a:gd name="connsiteX63" fmla="*/ 40027 w 4519987"/>
                    <a:gd name="connsiteY63" fmla="*/ 2562225 h 4429225"/>
                    <a:gd name="connsiteX64" fmla="*/ 30502 w 4519987"/>
                    <a:gd name="connsiteY64" fmla="*/ 2514600 h 4429225"/>
                    <a:gd name="connsiteX65" fmla="*/ 11452 w 4519987"/>
                    <a:gd name="connsiteY65" fmla="*/ 2400300 h 4429225"/>
                    <a:gd name="connsiteX66" fmla="*/ 20977 w 4519987"/>
                    <a:gd name="connsiteY66" fmla="*/ 1905000 h 4429225"/>
                    <a:gd name="connsiteX67" fmla="*/ 30502 w 4519987"/>
                    <a:gd name="connsiteY67" fmla="*/ 1838325 h 4429225"/>
                    <a:gd name="connsiteX68" fmla="*/ 49552 w 4519987"/>
                    <a:gd name="connsiteY68" fmla="*/ 1781175 h 4429225"/>
                    <a:gd name="connsiteX69" fmla="*/ 59077 w 4519987"/>
                    <a:gd name="connsiteY69" fmla="*/ 1743075 h 4429225"/>
                    <a:gd name="connsiteX70" fmla="*/ 78127 w 4519987"/>
                    <a:gd name="connsiteY70" fmla="*/ 1685925 h 4429225"/>
                    <a:gd name="connsiteX71" fmla="*/ 87652 w 4519987"/>
                    <a:gd name="connsiteY71" fmla="*/ 1638300 h 4429225"/>
                    <a:gd name="connsiteX72" fmla="*/ 106702 w 4519987"/>
                    <a:gd name="connsiteY72" fmla="*/ 1590675 h 4429225"/>
                    <a:gd name="connsiteX73" fmla="*/ 135277 w 4519987"/>
                    <a:gd name="connsiteY73" fmla="*/ 1504950 h 4429225"/>
                    <a:gd name="connsiteX74" fmla="*/ 154327 w 4519987"/>
                    <a:gd name="connsiteY74" fmla="*/ 1419225 h 4429225"/>
                    <a:gd name="connsiteX75" fmla="*/ 230527 w 4519987"/>
                    <a:gd name="connsiteY75" fmla="*/ 1276350 h 4429225"/>
                    <a:gd name="connsiteX76" fmla="*/ 240052 w 4519987"/>
                    <a:gd name="connsiteY76" fmla="*/ 1247775 h 4429225"/>
                    <a:gd name="connsiteX77" fmla="*/ 268627 w 4519987"/>
                    <a:gd name="connsiteY77" fmla="*/ 1200150 h 4429225"/>
                    <a:gd name="connsiteX78" fmla="*/ 287677 w 4519987"/>
                    <a:gd name="connsiteY78" fmla="*/ 1152525 h 4429225"/>
                    <a:gd name="connsiteX79" fmla="*/ 316252 w 4519987"/>
                    <a:gd name="connsiteY79" fmla="*/ 1114425 h 4429225"/>
                    <a:gd name="connsiteX80" fmla="*/ 363877 w 4519987"/>
                    <a:gd name="connsiteY80" fmla="*/ 1038225 h 4429225"/>
                    <a:gd name="connsiteX81" fmla="*/ 382927 w 4519987"/>
                    <a:gd name="connsiteY81" fmla="*/ 1009650 h 4429225"/>
                    <a:gd name="connsiteX82" fmla="*/ 440077 w 4519987"/>
                    <a:gd name="connsiteY82" fmla="*/ 904875 h 4429225"/>
                    <a:gd name="connsiteX83" fmla="*/ 478177 w 4519987"/>
                    <a:gd name="connsiteY83" fmla="*/ 857250 h 4429225"/>
                    <a:gd name="connsiteX84" fmla="*/ 497227 w 4519987"/>
                    <a:gd name="connsiteY84" fmla="*/ 828675 h 4429225"/>
                    <a:gd name="connsiteX85" fmla="*/ 535327 w 4519987"/>
                    <a:gd name="connsiteY85" fmla="*/ 800100 h 4429225"/>
                    <a:gd name="connsiteX86" fmla="*/ 602002 w 4519987"/>
                    <a:gd name="connsiteY86" fmla="*/ 733425 h 4429225"/>
                    <a:gd name="connsiteX87" fmla="*/ 668677 w 4519987"/>
                    <a:gd name="connsiteY87" fmla="*/ 676275 h 4429225"/>
                    <a:gd name="connsiteX88" fmla="*/ 697252 w 4519987"/>
                    <a:gd name="connsiteY88" fmla="*/ 657225 h 4429225"/>
                    <a:gd name="connsiteX89" fmla="*/ 840127 w 4519987"/>
                    <a:gd name="connsiteY89" fmla="*/ 533400 h 4429225"/>
                    <a:gd name="connsiteX90" fmla="*/ 887752 w 4519987"/>
                    <a:gd name="connsiteY90" fmla="*/ 504825 h 4429225"/>
                    <a:gd name="connsiteX91" fmla="*/ 1167152 w 4519987"/>
                    <a:gd name="connsiteY91" fmla="*/ 311150 h 4429225"/>
                    <a:gd name="connsiteX92" fmla="*/ 1268752 w 4519987"/>
                    <a:gd name="connsiteY92" fmla="*/ 285750 h 4429225"/>
                    <a:gd name="connsiteX93" fmla="*/ 1411627 w 4519987"/>
                    <a:gd name="connsiteY93" fmla="*/ 190500 h 4429225"/>
                    <a:gd name="connsiteX94" fmla="*/ 1449727 w 4519987"/>
                    <a:gd name="connsiteY94" fmla="*/ 161925 h 4429225"/>
                    <a:gd name="connsiteX95" fmla="*/ 1525927 w 4519987"/>
                    <a:gd name="connsiteY95" fmla="*/ 152400 h 4429225"/>
                    <a:gd name="connsiteX96" fmla="*/ 1583077 w 4519987"/>
                    <a:gd name="connsiteY96" fmla="*/ 142875 h 4429225"/>
                    <a:gd name="connsiteX97" fmla="*/ 1716427 w 4519987"/>
                    <a:gd name="connsiteY97" fmla="*/ 123825 h 4429225"/>
                    <a:gd name="connsiteX98" fmla="*/ 1811677 w 4519987"/>
                    <a:gd name="connsiteY98" fmla="*/ 114300 h 4429225"/>
                    <a:gd name="connsiteX99" fmla="*/ 1859302 w 4519987"/>
                    <a:gd name="connsiteY99" fmla="*/ 104775 h 4429225"/>
                    <a:gd name="connsiteX100" fmla="*/ 1916452 w 4519987"/>
                    <a:gd name="connsiteY100" fmla="*/ 95250 h 4429225"/>
                    <a:gd name="connsiteX101" fmla="*/ 2030752 w 4519987"/>
                    <a:gd name="connsiteY101" fmla="*/ 66675 h 4429225"/>
                    <a:gd name="connsiteX102" fmla="*/ 2097427 w 4519987"/>
                    <a:gd name="connsiteY102" fmla="*/ 47625 h 4429225"/>
                    <a:gd name="connsiteX103" fmla="*/ 2164102 w 4519987"/>
                    <a:gd name="connsiteY103" fmla="*/ 38100 h 4429225"/>
                    <a:gd name="connsiteX104" fmla="*/ 2392702 w 4519987"/>
                    <a:gd name="connsiteY104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97227 w 4519987"/>
                    <a:gd name="connsiteY52" fmla="*/ 3552825 h 4429225"/>
                    <a:gd name="connsiteX53" fmla="*/ 440077 w 4519987"/>
                    <a:gd name="connsiteY53" fmla="*/ 3495675 h 4429225"/>
                    <a:gd name="connsiteX54" fmla="*/ 278152 w 4519987"/>
                    <a:gd name="connsiteY54" fmla="*/ 3257550 h 4429225"/>
                    <a:gd name="connsiteX55" fmla="*/ 249577 w 4519987"/>
                    <a:gd name="connsiteY55" fmla="*/ 3200400 h 4429225"/>
                    <a:gd name="connsiteX56" fmla="*/ 240052 w 4519987"/>
                    <a:gd name="connsiteY56" fmla="*/ 3162300 h 4429225"/>
                    <a:gd name="connsiteX57" fmla="*/ 221002 w 4519987"/>
                    <a:gd name="connsiteY57" fmla="*/ 3105150 h 4429225"/>
                    <a:gd name="connsiteX58" fmla="*/ 173377 w 4519987"/>
                    <a:gd name="connsiteY58" fmla="*/ 3019425 h 4429225"/>
                    <a:gd name="connsiteX59" fmla="*/ 144802 w 4519987"/>
                    <a:gd name="connsiteY59" fmla="*/ 2924175 h 4429225"/>
                    <a:gd name="connsiteX60" fmla="*/ 68602 w 4519987"/>
                    <a:gd name="connsiteY60" fmla="*/ 2724150 h 4429225"/>
                    <a:gd name="connsiteX61" fmla="*/ 49552 w 4519987"/>
                    <a:gd name="connsiteY61" fmla="*/ 2638425 h 4429225"/>
                    <a:gd name="connsiteX62" fmla="*/ 40027 w 4519987"/>
                    <a:gd name="connsiteY62" fmla="*/ 2562225 h 4429225"/>
                    <a:gd name="connsiteX63" fmla="*/ 30502 w 4519987"/>
                    <a:gd name="connsiteY63" fmla="*/ 2514600 h 4429225"/>
                    <a:gd name="connsiteX64" fmla="*/ 11452 w 4519987"/>
                    <a:gd name="connsiteY64" fmla="*/ 2400300 h 4429225"/>
                    <a:gd name="connsiteX65" fmla="*/ 20977 w 4519987"/>
                    <a:gd name="connsiteY65" fmla="*/ 1905000 h 4429225"/>
                    <a:gd name="connsiteX66" fmla="*/ 30502 w 4519987"/>
                    <a:gd name="connsiteY66" fmla="*/ 1838325 h 4429225"/>
                    <a:gd name="connsiteX67" fmla="*/ 49552 w 4519987"/>
                    <a:gd name="connsiteY67" fmla="*/ 1781175 h 4429225"/>
                    <a:gd name="connsiteX68" fmla="*/ 59077 w 4519987"/>
                    <a:gd name="connsiteY68" fmla="*/ 1743075 h 4429225"/>
                    <a:gd name="connsiteX69" fmla="*/ 78127 w 4519987"/>
                    <a:gd name="connsiteY69" fmla="*/ 1685925 h 4429225"/>
                    <a:gd name="connsiteX70" fmla="*/ 87652 w 4519987"/>
                    <a:gd name="connsiteY70" fmla="*/ 1638300 h 4429225"/>
                    <a:gd name="connsiteX71" fmla="*/ 106702 w 4519987"/>
                    <a:gd name="connsiteY71" fmla="*/ 1590675 h 4429225"/>
                    <a:gd name="connsiteX72" fmla="*/ 135277 w 4519987"/>
                    <a:gd name="connsiteY72" fmla="*/ 1504950 h 4429225"/>
                    <a:gd name="connsiteX73" fmla="*/ 154327 w 4519987"/>
                    <a:gd name="connsiteY73" fmla="*/ 1419225 h 4429225"/>
                    <a:gd name="connsiteX74" fmla="*/ 230527 w 4519987"/>
                    <a:gd name="connsiteY74" fmla="*/ 1276350 h 4429225"/>
                    <a:gd name="connsiteX75" fmla="*/ 240052 w 4519987"/>
                    <a:gd name="connsiteY75" fmla="*/ 1247775 h 4429225"/>
                    <a:gd name="connsiteX76" fmla="*/ 268627 w 4519987"/>
                    <a:gd name="connsiteY76" fmla="*/ 1200150 h 4429225"/>
                    <a:gd name="connsiteX77" fmla="*/ 287677 w 4519987"/>
                    <a:gd name="connsiteY77" fmla="*/ 1152525 h 4429225"/>
                    <a:gd name="connsiteX78" fmla="*/ 316252 w 4519987"/>
                    <a:gd name="connsiteY78" fmla="*/ 1114425 h 4429225"/>
                    <a:gd name="connsiteX79" fmla="*/ 363877 w 4519987"/>
                    <a:gd name="connsiteY79" fmla="*/ 1038225 h 4429225"/>
                    <a:gd name="connsiteX80" fmla="*/ 382927 w 4519987"/>
                    <a:gd name="connsiteY80" fmla="*/ 1009650 h 4429225"/>
                    <a:gd name="connsiteX81" fmla="*/ 440077 w 4519987"/>
                    <a:gd name="connsiteY81" fmla="*/ 904875 h 4429225"/>
                    <a:gd name="connsiteX82" fmla="*/ 478177 w 4519987"/>
                    <a:gd name="connsiteY82" fmla="*/ 857250 h 4429225"/>
                    <a:gd name="connsiteX83" fmla="*/ 497227 w 4519987"/>
                    <a:gd name="connsiteY83" fmla="*/ 828675 h 4429225"/>
                    <a:gd name="connsiteX84" fmla="*/ 535327 w 4519987"/>
                    <a:gd name="connsiteY84" fmla="*/ 800100 h 4429225"/>
                    <a:gd name="connsiteX85" fmla="*/ 602002 w 4519987"/>
                    <a:gd name="connsiteY85" fmla="*/ 733425 h 4429225"/>
                    <a:gd name="connsiteX86" fmla="*/ 668677 w 4519987"/>
                    <a:gd name="connsiteY86" fmla="*/ 676275 h 4429225"/>
                    <a:gd name="connsiteX87" fmla="*/ 697252 w 4519987"/>
                    <a:gd name="connsiteY87" fmla="*/ 657225 h 4429225"/>
                    <a:gd name="connsiteX88" fmla="*/ 840127 w 4519987"/>
                    <a:gd name="connsiteY88" fmla="*/ 533400 h 4429225"/>
                    <a:gd name="connsiteX89" fmla="*/ 887752 w 4519987"/>
                    <a:gd name="connsiteY89" fmla="*/ 504825 h 4429225"/>
                    <a:gd name="connsiteX90" fmla="*/ 1167152 w 4519987"/>
                    <a:gd name="connsiteY90" fmla="*/ 311150 h 4429225"/>
                    <a:gd name="connsiteX91" fmla="*/ 1268752 w 4519987"/>
                    <a:gd name="connsiteY91" fmla="*/ 285750 h 4429225"/>
                    <a:gd name="connsiteX92" fmla="*/ 1411627 w 4519987"/>
                    <a:gd name="connsiteY92" fmla="*/ 190500 h 4429225"/>
                    <a:gd name="connsiteX93" fmla="*/ 1449727 w 4519987"/>
                    <a:gd name="connsiteY93" fmla="*/ 161925 h 4429225"/>
                    <a:gd name="connsiteX94" fmla="*/ 1525927 w 4519987"/>
                    <a:gd name="connsiteY94" fmla="*/ 152400 h 4429225"/>
                    <a:gd name="connsiteX95" fmla="*/ 1583077 w 4519987"/>
                    <a:gd name="connsiteY95" fmla="*/ 142875 h 4429225"/>
                    <a:gd name="connsiteX96" fmla="*/ 1716427 w 4519987"/>
                    <a:gd name="connsiteY96" fmla="*/ 123825 h 4429225"/>
                    <a:gd name="connsiteX97" fmla="*/ 1811677 w 4519987"/>
                    <a:gd name="connsiteY97" fmla="*/ 114300 h 4429225"/>
                    <a:gd name="connsiteX98" fmla="*/ 1859302 w 4519987"/>
                    <a:gd name="connsiteY98" fmla="*/ 104775 h 4429225"/>
                    <a:gd name="connsiteX99" fmla="*/ 1916452 w 4519987"/>
                    <a:gd name="connsiteY99" fmla="*/ 95250 h 4429225"/>
                    <a:gd name="connsiteX100" fmla="*/ 2030752 w 4519987"/>
                    <a:gd name="connsiteY100" fmla="*/ 66675 h 4429225"/>
                    <a:gd name="connsiteX101" fmla="*/ 2097427 w 4519987"/>
                    <a:gd name="connsiteY101" fmla="*/ 47625 h 4429225"/>
                    <a:gd name="connsiteX102" fmla="*/ 2164102 w 4519987"/>
                    <a:gd name="connsiteY102" fmla="*/ 38100 h 4429225"/>
                    <a:gd name="connsiteX103" fmla="*/ 2392702 w 4519987"/>
                    <a:gd name="connsiteY103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763927 w 4519987"/>
                    <a:gd name="connsiteY49" fmla="*/ 3914775 h 4429225"/>
                    <a:gd name="connsiteX50" fmla="*/ 697252 w 4519987"/>
                    <a:gd name="connsiteY50" fmla="*/ 3838575 h 4429225"/>
                    <a:gd name="connsiteX51" fmla="*/ 554377 w 4519987"/>
                    <a:gd name="connsiteY51" fmla="*/ 3657600 h 4429225"/>
                    <a:gd name="connsiteX52" fmla="*/ 440077 w 4519987"/>
                    <a:gd name="connsiteY52" fmla="*/ 3495675 h 4429225"/>
                    <a:gd name="connsiteX53" fmla="*/ 278152 w 4519987"/>
                    <a:gd name="connsiteY53" fmla="*/ 3257550 h 4429225"/>
                    <a:gd name="connsiteX54" fmla="*/ 249577 w 4519987"/>
                    <a:gd name="connsiteY54" fmla="*/ 3200400 h 4429225"/>
                    <a:gd name="connsiteX55" fmla="*/ 240052 w 4519987"/>
                    <a:gd name="connsiteY55" fmla="*/ 3162300 h 4429225"/>
                    <a:gd name="connsiteX56" fmla="*/ 221002 w 4519987"/>
                    <a:gd name="connsiteY56" fmla="*/ 3105150 h 4429225"/>
                    <a:gd name="connsiteX57" fmla="*/ 173377 w 4519987"/>
                    <a:gd name="connsiteY57" fmla="*/ 3019425 h 4429225"/>
                    <a:gd name="connsiteX58" fmla="*/ 144802 w 4519987"/>
                    <a:gd name="connsiteY58" fmla="*/ 2924175 h 4429225"/>
                    <a:gd name="connsiteX59" fmla="*/ 68602 w 4519987"/>
                    <a:gd name="connsiteY59" fmla="*/ 2724150 h 4429225"/>
                    <a:gd name="connsiteX60" fmla="*/ 49552 w 4519987"/>
                    <a:gd name="connsiteY60" fmla="*/ 2638425 h 4429225"/>
                    <a:gd name="connsiteX61" fmla="*/ 40027 w 4519987"/>
                    <a:gd name="connsiteY61" fmla="*/ 2562225 h 4429225"/>
                    <a:gd name="connsiteX62" fmla="*/ 30502 w 4519987"/>
                    <a:gd name="connsiteY62" fmla="*/ 2514600 h 4429225"/>
                    <a:gd name="connsiteX63" fmla="*/ 11452 w 4519987"/>
                    <a:gd name="connsiteY63" fmla="*/ 2400300 h 4429225"/>
                    <a:gd name="connsiteX64" fmla="*/ 20977 w 4519987"/>
                    <a:gd name="connsiteY64" fmla="*/ 1905000 h 4429225"/>
                    <a:gd name="connsiteX65" fmla="*/ 30502 w 4519987"/>
                    <a:gd name="connsiteY65" fmla="*/ 1838325 h 4429225"/>
                    <a:gd name="connsiteX66" fmla="*/ 49552 w 4519987"/>
                    <a:gd name="connsiteY66" fmla="*/ 1781175 h 4429225"/>
                    <a:gd name="connsiteX67" fmla="*/ 59077 w 4519987"/>
                    <a:gd name="connsiteY67" fmla="*/ 1743075 h 4429225"/>
                    <a:gd name="connsiteX68" fmla="*/ 78127 w 4519987"/>
                    <a:gd name="connsiteY68" fmla="*/ 1685925 h 4429225"/>
                    <a:gd name="connsiteX69" fmla="*/ 87652 w 4519987"/>
                    <a:gd name="connsiteY69" fmla="*/ 1638300 h 4429225"/>
                    <a:gd name="connsiteX70" fmla="*/ 106702 w 4519987"/>
                    <a:gd name="connsiteY70" fmla="*/ 1590675 h 4429225"/>
                    <a:gd name="connsiteX71" fmla="*/ 135277 w 4519987"/>
                    <a:gd name="connsiteY71" fmla="*/ 1504950 h 4429225"/>
                    <a:gd name="connsiteX72" fmla="*/ 154327 w 4519987"/>
                    <a:gd name="connsiteY72" fmla="*/ 1419225 h 4429225"/>
                    <a:gd name="connsiteX73" fmla="*/ 230527 w 4519987"/>
                    <a:gd name="connsiteY73" fmla="*/ 1276350 h 4429225"/>
                    <a:gd name="connsiteX74" fmla="*/ 240052 w 4519987"/>
                    <a:gd name="connsiteY74" fmla="*/ 1247775 h 4429225"/>
                    <a:gd name="connsiteX75" fmla="*/ 268627 w 4519987"/>
                    <a:gd name="connsiteY75" fmla="*/ 1200150 h 4429225"/>
                    <a:gd name="connsiteX76" fmla="*/ 287677 w 4519987"/>
                    <a:gd name="connsiteY76" fmla="*/ 1152525 h 4429225"/>
                    <a:gd name="connsiteX77" fmla="*/ 316252 w 4519987"/>
                    <a:gd name="connsiteY77" fmla="*/ 1114425 h 4429225"/>
                    <a:gd name="connsiteX78" fmla="*/ 363877 w 4519987"/>
                    <a:gd name="connsiteY78" fmla="*/ 1038225 h 4429225"/>
                    <a:gd name="connsiteX79" fmla="*/ 382927 w 4519987"/>
                    <a:gd name="connsiteY79" fmla="*/ 1009650 h 4429225"/>
                    <a:gd name="connsiteX80" fmla="*/ 440077 w 4519987"/>
                    <a:gd name="connsiteY80" fmla="*/ 904875 h 4429225"/>
                    <a:gd name="connsiteX81" fmla="*/ 478177 w 4519987"/>
                    <a:gd name="connsiteY81" fmla="*/ 857250 h 4429225"/>
                    <a:gd name="connsiteX82" fmla="*/ 497227 w 4519987"/>
                    <a:gd name="connsiteY82" fmla="*/ 828675 h 4429225"/>
                    <a:gd name="connsiteX83" fmla="*/ 535327 w 4519987"/>
                    <a:gd name="connsiteY83" fmla="*/ 800100 h 4429225"/>
                    <a:gd name="connsiteX84" fmla="*/ 602002 w 4519987"/>
                    <a:gd name="connsiteY84" fmla="*/ 733425 h 4429225"/>
                    <a:gd name="connsiteX85" fmla="*/ 668677 w 4519987"/>
                    <a:gd name="connsiteY85" fmla="*/ 676275 h 4429225"/>
                    <a:gd name="connsiteX86" fmla="*/ 697252 w 4519987"/>
                    <a:gd name="connsiteY86" fmla="*/ 657225 h 4429225"/>
                    <a:gd name="connsiteX87" fmla="*/ 840127 w 4519987"/>
                    <a:gd name="connsiteY87" fmla="*/ 533400 h 4429225"/>
                    <a:gd name="connsiteX88" fmla="*/ 887752 w 4519987"/>
                    <a:gd name="connsiteY88" fmla="*/ 504825 h 4429225"/>
                    <a:gd name="connsiteX89" fmla="*/ 1167152 w 4519987"/>
                    <a:gd name="connsiteY89" fmla="*/ 311150 h 4429225"/>
                    <a:gd name="connsiteX90" fmla="*/ 1268752 w 4519987"/>
                    <a:gd name="connsiteY90" fmla="*/ 285750 h 4429225"/>
                    <a:gd name="connsiteX91" fmla="*/ 1411627 w 4519987"/>
                    <a:gd name="connsiteY91" fmla="*/ 190500 h 4429225"/>
                    <a:gd name="connsiteX92" fmla="*/ 1449727 w 4519987"/>
                    <a:gd name="connsiteY92" fmla="*/ 161925 h 4429225"/>
                    <a:gd name="connsiteX93" fmla="*/ 1525927 w 4519987"/>
                    <a:gd name="connsiteY93" fmla="*/ 152400 h 4429225"/>
                    <a:gd name="connsiteX94" fmla="*/ 1583077 w 4519987"/>
                    <a:gd name="connsiteY94" fmla="*/ 142875 h 4429225"/>
                    <a:gd name="connsiteX95" fmla="*/ 1716427 w 4519987"/>
                    <a:gd name="connsiteY95" fmla="*/ 123825 h 4429225"/>
                    <a:gd name="connsiteX96" fmla="*/ 1811677 w 4519987"/>
                    <a:gd name="connsiteY96" fmla="*/ 114300 h 4429225"/>
                    <a:gd name="connsiteX97" fmla="*/ 1859302 w 4519987"/>
                    <a:gd name="connsiteY97" fmla="*/ 104775 h 4429225"/>
                    <a:gd name="connsiteX98" fmla="*/ 1916452 w 4519987"/>
                    <a:gd name="connsiteY98" fmla="*/ 95250 h 4429225"/>
                    <a:gd name="connsiteX99" fmla="*/ 2030752 w 4519987"/>
                    <a:gd name="connsiteY99" fmla="*/ 66675 h 4429225"/>
                    <a:gd name="connsiteX100" fmla="*/ 2097427 w 4519987"/>
                    <a:gd name="connsiteY100" fmla="*/ 47625 h 4429225"/>
                    <a:gd name="connsiteX101" fmla="*/ 2164102 w 4519987"/>
                    <a:gd name="connsiteY101" fmla="*/ 38100 h 4429225"/>
                    <a:gd name="connsiteX102" fmla="*/ 2392702 w 4519987"/>
                    <a:gd name="connsiteY102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40052 w 4519987"/>
                    <a:gd name="connsiteY54" fmla="*/ 3162300 h 4429225"/>
                    <a:gd name="connsiteX55" fmla="*/ 221002 w 4519987"/>
                    <a:gd name="connsiteY55" fmla="*/ 3105150 h 4429225"/>
                    <a:gd name="connsiteX56" fmla="*/ 173377 w 4519987"/>
                    <a:gd name="connsiteY56" fmla="*/ 3019425 h 4429225"/>
                    <a:gd name="connsiteX57" fmla="*/ 144802 w 4519987"/>
                    <a:gd name="connsiteY57" fmla="*/ 2924175 h 4429225"/>
                    <a:gd name="connsiteX58" fmla="*/ 68602 w 4519987"/>
                    <a:gd name="connsiteY58" fmla="*/ 2724150 h 4429225"/>
                    <a:gd name="connsiteX59" fmla="*/ 49552 w 4519987"/>
                    <a:gd name="connsiteY59" fmla="*/ 2638425 h 4429225"/>
                    <a:gd name="connsiteX60" fmla="*/ 40027 w 4519987"/>
                    <a:gd name="connsiteY60" fmla="*/ 2562225 h 4429225"/>
                    <a:gd name="connsiteX61" fmla="*/ 30502 w 4519987"/>
                    <a:gd name="connsiteY61" fmla="*/ 2514600 h 4429225"/>
                    <a:gd name="connsiteX62" fmla="*/ 11452 w 4519987"/>
                    <a:gd name="connsiteY62" fmla="*/ 2400300 h 4429225"/>
                    <a:gd name="connsiteX63" fmla="*/ 20977 w 4519987"/>
                    <a:gd name="connsiteY63" fmla="*/ 1905000 h 4429225"/>
                    <a:gd name="connsiteX64" fmla="*/ 30502 w 4519987"/>
                    <a:gd name="connsiteY64" fmla="*/ 1838325 h 4429225"/>
                    <a:gd name="connsiteX65" fmla="*/ 49552 w 4519987"/>
                    <a:gd name="connsiteY65" fmla="*/ 1781175 h 4429225"/>
                    <a:gd name="connsiteX66" fmla="*/ 59077 w 4519987"/>
                    <a:gd name="connsiteY66" fmla="*/ 1743075 h 4429225"/>
                    <a:gd name="connsiteX67" fmla="*/ 78127 w 4519987"/>
                    <a:gd name="connsiteY67" fmla="*/ 1685925 h 4429225"/>
                    <a:gd name="connsiteX68" fmla="*/ 87652 w 4519987"/>
                    <a:gd name="connsiteY68" fmla="*/ 1638300 h 4429225"/>
                    <a:gd name="connsiteX69" fmla="*/ 106702 w 4519987"/>
                    <a:gd name="connsiteY69" fmla="*/ 1590675 h 4429225"/>
                    <a:gd name="connsiteX70" fmla="*/ 135277 w 4519987"/>
                    <a:gd name="connsiteY70" fmla="*/ 1504950 h 4429225"/>
                    <a:gd name="connsiteX71" fmla="*/ 154327 w 4519987"/>
                    <a:gd name="connsiteY71" fmla="*/ 1419225 h 4429225"/>
                    <a:gd name="connsiteX72" fmla="*/ 230527 w 4519987"/>
                    <a:gd name="connsiteY72" fmla="*/ 1276350 h 4429225"/>
                    <a:gd name="connsiteX73" fmla="*/ 240052 w 4519987"/>
                    <a:gd name="connsiteY73" fmla="*/ 1247775 h 4429225"/>
                    <a:gd name="connsiteX74" fmla="*/ 268627 w 4519987"/>
                    <a:gd name="connsiteY74" fmla="*/ 1200150 h 4429225"/>
                    <a:gd name="connsiteX75" fmla="*/ 287677 w 4519987"/>
                    <a:gd name="connsiteY75" fmla="*/ 1152525 h 4429225"/>
                    <a:gd name="connsiteX76" fmla="*/ 316252 w 4519987"/>
                    <a:gd name="connsiteY76" fmla="*/ 1114425 h 4429225"/>
                    <a:gd name="connsiteX77" fmla="*/ 363877 w 4519987"/>
                    <a:gd name="connsiteY77" fmla="*/ 1038225 h 4429225"/>
                    <a:gd name="connsiteX78" fmla="*/ 382927 w 4519987"/>
                    <a:gd name="connsiteY78" fmla="*/ 1009650 h 4429225"/>
                    <a:gd name="connsiteX79" fmla="*/ 440077 w 4519987"/>
                    <a:gd name="connsiteY79" fmla="*/ 904875 h 4429225"/>
                    <a:gd name="connsiteX80" fmla="*/ 478177 w 4519987"/>
                    <a:gd name="connsiteY80" fmla="*/ 857250 h 4429225"/>
                    <a:gd name="connsiteX81" fmla="*/ 497227 w 4519987"/>
                    <a:gd name="connsiteY81" fmla="*/ 828675 h 4429225"/>
                    <a:gd name="connsiteX82" fmla="*/ 535327 w 4519987"/>
                    <a:gd name="connsiteY82" fmla="*/ 800100 h 4429225"/>
                    <a:gd name="connsiteX83" fmla="*/ 602002 w 4519987"/>
                    <a:gd name="connsiteY83" fmla="*/ 733425 h 4429225"/>
                    <a:gd name="connsiteX84" fmla="*/ 668677 w 4519987"/>
                    <a:gd name="connsiteY84" fmla="*/ 676275 h 4429225"/>
                    <a:gd name="connsiteX85" fmla="*/ 697252 w 4519987"/>
                    <a:gd name="connsiteY85" fmla="*/ 657225 h 4429225"/>
                    <a:gd name="connsiteX86" fmla="*/ 840127 w 4519987"/>
                    <a:gd name="connsiteY86" fmla="*/ 533400 h 4429225"/>
                    <a:gd name="connsiteX87" fmla="*/ 887752 w 4519987"/>
                    <a:gd name="connsiteY87" fmla="*/ 504825 h 4429225"/>
                    <a:gd name="connsiteX88" fmla="*/ 1167152 w 4519987"/>
                    <a:gd name="connsiteY88" fmla="*/ 311150 h 4429225"/>
                    <a:gd name="connsiteX89" fmla="*/ 1268752 w 4519987"/>
                    <a:gd name="connsiteY89" fmla="*/ 285750 h 4429225"/>
                    <a:gd name="connsiteX90" fmla="*/ 1411627 w 4519987"/>
                    <a:gd name="connsiteY90" fmla="*/ 190500 h 4429225"/>
                    <a:gd name="connsiteX91" fmla="*/ 1449727 w 4519987"/>
                    <a:gd name="connsiteY91" fmla="*/ 161925 h 4429225"/>
                    <a:gd name="connsiteX92" fmla="*/ 1525927 w 4519987"/>
                    <a:gd name="connsiteY92" fmla="*/ 152400 h 4429225"/>
                    <a:gd name="connsiteX93" fmla="*/ 1583077 w 4519987"/>
                    <a:gd name="connsiteY93" fmla="*/ 142875 h 4429225"/>
                    <a:gd name="connsiteX94" fmla="*/ 1716427 w 4519987"/>
                    <a:gd name="connsiteY94" fmla="*/ 123825 h 4429225"/>
                    <a:gd name="connsiteX95" fmla="*/ 1811677 w 4519987"/>
                    <a:gd name="connsiteY95" fmla="*/ 114300 h 4429225"/>
                    <a:gd name="connsiteX96" fmla="*/ 1859302 w 4519987"/>
                    <a:gd name="connsiteY96" fmla="*/ 104775 h 4429225"/>
                    <a:gd name="connsiteX97" fmla="*/ 1916452 w 4519987"/>
                    <a:gd name="connsiteY97" fmla="*/ 95250 h 4429225"/>
                    <a:gd name="connsiteX98" fmla="*/ 2030752 w 4519987"/>
                    <a:gd name="connsiteY98" fmla="*/ 66675 h 4429225"/>
                    <a:gd name="connsiteX99" fmla="*/ 2097427 w 4519987"/>
                    <a:gd name="connsiteY99" fmla="*/ 47625 h 4429225"/>
                    <a:gd name="connsiteX100" fmla="*/ 2164102 w 4519987"/>
                    <a:gd name="connsiteY100" fmla="*/ 38100 h 4429225"/>
                    <a:gd name="connsiteX101" fmla="*/ 2392702 w 4519987"/>
                    <a:gd name="connsiteY101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49577 w 4519987"/>
                    <a:gd name="connsiteY53" fmla="*/ 3200400 h 4429225"/>
                    <a:gd name="connsiteX54" fmla="*/ 221002 w 4519987"/>
                    <a:gd name="connsiteY54" fmla="*/ 3105150 h 4429225"/>
                    <a:gd name="connsiteX55" fmla="*/ 173377 w 4519987"/>
                    <a:gd name="connsiteY55" fmla="*/ 3019425 h 4429225"/>
                    <a:gd name="connsiteX56" fmla="*/ 144802 w 4519987"/>
                    <a:gd name="connsiteY56" fmla="*/ 2924175 h 4429225"/>
                    <a:gd name="connsiteX57" fmla="*/ 68602 w 4519987"/>
                    <a:gd name="connsiteY57" fmla="*/ 2724150 h 4429225"/>
                    <a:gd name="connsiteX58" fmla="*/ 49552 w 4519987"/>
                    <a:gd name="connsiteY58" fmla="*/ 2638425 h 4429225"/>
                    <a:gd name="connsiteX59" fmla="*/ 40027 w 4519987"/>
                    <a:gd name="connsiteY59" fmla="*/ 2562225 h 4429225"/>
                    <a:gd name="connsiteX60" fmla="*/ 30502 w 4519987"/>
                    <a:gd name="connsiteY60" fmla="*/ 2514600 h 4429225"/>
                    <a:gd name="connsiteX61" fmla="*/ 11452 w 4519987"/>
                    <a:gd name="connsiteY61" fmla="*/ 2400300 h 4429225"/>
                    <a:gd name="connsiteX62" fmla="*/ 20977 w 4519987"/>
                    <a:gd name="connsiteY62" fmla="*/ 1905000 h 4429225"/>
                    <a:gd name="connsiteX63" fmla="*/ 30502 w 4519987"/>
                    <a:gd name="connsiteY63" fmla="*/ 1838325 h 4429225"/>
                    <a:gd name="connsiteX64" fmla="*/ 49552 w 4519987"/>
                    <a:gd name="connsiteY64" fmla="*/ 1781175 h 4429225"/>
                    <a:gd name="connsiteX65" fmla="*/ 59077 w 4519987"/>
                    <a:gd name="connsiteY65" fmla="*/ 1743075 h 4429225"/>
                    <a:gd name="connsiteX66" fmla="*/ 78127 w 4519987"/>
                    <a:gd name="connsiteY66" fmla="*/ 1685925 h 4429225"/>
                    <a:gd name="connsiteX67" fmla="*/ 87652 w 4519987"/>
                    <a:gd name="connsiteY67" fmla="*/ 1638300 h 4429225"/>
                    <a:gd name="connsiteX68" fmla="*/ 106702 w 4519987"/>
                    <a:gd name="connsiteY68" fmla="*/ 1590675 h 4429225"/>
                    <a:gd name="connsiteX69" fmla="*/ 135277 w 4519987"/>
                    <a:gd name="connsiteY69" fmla="*/ 1504950 h 4429225"/>
                    <a:gd name="connsiteX70" fmla="*/ 154327 w 4519987"/>
                    <a:gd name="connsiteY70" fmla="*/ 1419225 h 4429225"/>
                    <a:gd name="connsiteX71" fmla="*/ 230527 w 4519987"/>
                    <a:gd name="connsiteY71" fmla="*/ 1276350 h 4429225"/>
                    <a:gd name="connsiteX72" fmla="*/ 240052 w 4519987"/>
                    <a:gd name="connsiteY72" fmla="*/ 1247775 h 4429225"/>
                    <a:gd name="connsiteX73" fmla="*/ 268627 w 4519987"/>
                    <a:gd name="connsiteY73" fmla="*/ 1200150 h 4429225"/>
                    <a:gd name="connsiteX74" fmla="*/ 287677 w 4519987"/>
                    <a:gd name="connsiteY74" fmla="*/ 1152525 h 4429225"/>
                    <a:gd name="connsiteX75" fmla="*/ 316252 w 4519987"/>
                    <a:gd name="connsiteY75" fmla="*/ 1114425 h 4429225"/>
                    <a:gd name="connsiteX76" fmla="*/ 363877 w 4519987"/>
                    <a:gd name="connsiteY76" fmla="*/ 1038225 h 4429225"/>
                    <a:gd name="connsiteX77" fmla="*/ 382927 w 4519987"/>
                    <a:gd name="connsiteY77" fmla="*/ 1009650 h 4429225"/>
                    <a:gd name="connsiteX78" fmla="*/ 440077 w 4519987"/>
                    <a:gd name="connsiteY78" fmla="*/ 904875 h 4429225"/>
                    <a:gd name="connsiteX79" fmla="*/ 478177 w 4519987"/>
                    <a:gd name="connsiteY79" fmla="*/ 857250 h 4429225"/>
                    <a:gd name="connsiteX80" fmla="*/ 497227 w 4519987"/>
                    <a:gd name="connsiteY80" fmla="*/ 828675 h 4429225"/>
                    <a:gd name="connsiteX81" fmla="*/ 535327 w 4519987"/>
                    <a:gd name="connsiteY81" fmla="*/ 800100 h 4429225"/>
                    <a:gd name="connsiteX82" fmla="*/ 602002 w 4519987"/>
                    <a:gd name="connsiteY82" fmla="*/ 733425 h 4429225"/>
                    <a:gd name="connsiteX83" fmla="*/ 668677 w 4519987"/>
                    <a:gd name="connsiteY83" fmla="*/ 676275 h 4429225"/>
                    <a:gd name="connsiteX84" fmla="*/ 697252 w 4519987"/>
                    <a:gd name="connsiteY84" fmla="*/ 657225 h 4429225"/>
                    <a:gd name="connsiteX85" fmla="*/ 840127 w 4519987"/>
                    <a:gd name="connsiteY85" fmla="*/ 533400 h 4429225"/>
                    <a:gd name="connsiteX86" fmla="*/ 887752 w 4519987"/>
                    <a:gd name="connsiteY86" fmla="*/ 504825 h 4429225"/>
                    <a:gd name="connsiteX87" fmla="*/ 1167152 w 4519987"/>
                    <a:gd name="connsiteY87" fmla="*/ 311150 h 4429225"/>
                    <a:gd name="connsiteX88" fmla="*/ 1268752 w 4519987"/>
                    <a:gd name="connsiteY88" fmla="*/ 285750 h 4429225"/>
                    <a:gd name="connsiteX89" fmla="*/ 1411627 w 4519987"/>
                    <a:gd name="connsiteY89" fmla="*/ 190500 h 4429225"/>
                    <a:gd name="connsiteX90" fmla="*/ 1449727 w 4519987"/>
                    <a:gd name="connsiteY90" fmla="*/ 161925 h 4429225"/>
                    <a:gd name="connsiteX91" fmla="*/ 1525927 w 4519987"/>
                    <a:gd name="connsiteY91" fmla="*/ 152400 h 4429225"/>
                    <a:gd name="connsiteX92" fmla="*/ 1583077 w 4519987"/>
                    <a:gd name="connsiteY92" fmla="*/ 142875 h 4429225"/>
                    <a:gd name="connsiteX93" fmla="*/ 1716427 w 4519987"/>
                    <a:gd name="connsiteY93" fmla="*/ 123825 h 4429225"/>
                    <a:gd name="connsiteX94" fmla="*/ 1811677 w 4519987"/>
                    <a:gd name="connsiteY94" fmla="*/ 114300 h 4429225"/>
                    <a:gd name="connsiteX95" fmla="*/ 1859302 w 4519987"/>
                    <a:gd name="connsiteY95" fmla="*/ 104775 h 4429225"/>
                    <a:gd name="connsiteX96" fmla="*/ 1916452 w 4519987"/>
                    <a:gd name="connsiteY96" fmla="*/ 95250 h 4429225"/>
                    <a:gd name="connsiteX97" fmla="*/ 2030752 w 4519987"/>
                    <a:gd name="connsiteY97" fmla="*/ 66675 h 4429225"/>
                    <a:gd name="connsiteX98" fmla="*/ 2097427 w 4519987"/>
                    <a:gd name="connsiteY98" fmla="*/ 47625 h 4429225"/>
                    <a:gd name="connsiteX99" fmla="*/ 2164102 w 4519987"/>
                    <a:gd name="connsiteY99" fmla="*/ 38100 h 4429225"/>
                    <a:gd name="connsiteX100" fmla="*/ 2392702 w 4519987"/>
                    <a:gd name="connsiteY100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73377 w 4519987"/>
                    <a:gd name="connsiteY54" fmla="*/ 3019425 h 4429225"/>
                    <a:gd name="connsiteX55" fmla="*/ 144802 w 4519987"/>
                    <a:gd name="connsiteY55" fmla="*/ 2924175 h 4429225"/>
                    <a:gd name="connsiteX56" fmla="*/ 68602 w 4519987"/>
                    <a:gd name="connsiteY56" fmla="*/ 2724150 h 4429225"/>
                    <a:gd name="connsiteX57" fmla="*/ 49552 w 4519987"/>
                    <a:gd name="connsiteY57" fmla="*/ 2638425 h 4429225"/>
                    <a:gd name="connsiteX58" fmla="*/ 40027 w 4519987"/>
                    <a:gd name="connsiteY58" fmla="*/ 2562225 h 4429225"/>
                    <a:gd name="connsiteX59" fmla="*/ 30502 w 4519987"/>
                    <a:gd name="connsiteY59" fmla="*/ 2514600 h 4429225"/>
                    <a:gd name="connsiteX60" fmla="*/ 11452 w 4519987"/>
                    <a:gd name="connsiteY60" fmla="*/ 2400300 h 4429225"/>
                    <a:gd name="connsiteX61" fmla="*/ 20977 w 4519987"/>
                    <a:gd name="connsiteY61" fmla="*/ 1905000 h 4429225"/>
                    <a:gd name="connsiteX62" fmla="*/ 30502 w 4519987"/>
                    <a:gd name="connsiteY62" fmla="*/ 1838325 h 4429225"/>
                    <a:gd name="connsiteX63" fmla="*/ 49552 w 4519987"/>
                    <a:gd name="connsiteY63" fmla="*/ 1781175 h 4429225"/>
                    <a:gd name="connsiteX64" fmla="*/ 59077 w 4519987"/>
                    <a:gd name="connsiteY64" fmla="*/ 1743075 h 4429225"/>
                    <a:gd name="connsiteX65" fmla="*/ 78127 w 4519987"/>
                    <a:gd name="connsiteY65" fmla="*/ 1685925 h 4429225"/>
                    <a:gd name="connsiteX66" fmla="*/ 87652 w 4519987"/>
                    <a:gd name="connsiteY66" fmla="*/ 1638300 h 4429225"/>
                    <a:gd name="connsiteX67" fmla="*/ 106702 w 4519987"/>
                    <a:gd name="connsiteY67" fmla="*/ 1590675 h 4429225"/>
                    <a:gd name="connsiteX68" fmla="*/ 135277 w 4519987"/>
                    <a:gd name="connsiteY68" fmla="*/ 1504950 h 4429225"/>
                    <a:gd name="connsiteX69" fmla="*/ 154327 w 4519987"/>
                    <a:gd name="connsiteY69" fmla="*/ 1419225 h 4429225"/>
                    <a:gd name="connsiteX70" fmla="*/ 230527 w 4519987"/>
                    <a:gd name="connsiteY70" fmla="*/ 1276350 h 4429225"/>
                    <a:gd name="connsiteX71" fmla="*/ 240052 w 4519987"/>
                    <a:gd name="connsiteY71" fmla="*/ 1247775 h 4429225"/>
                    <a:gd name="connsiteX72" fmla="*/ 268627 w 4519987"/>
                    <a:gd name="connsiteY72" fmla="*/ 1200150 h 4429225"/>
                    <a:gd name="connsiteX73" fmla="*/ 287677 w 4519987"/>
                    <a:gd name="connsiteY73" fmla="*/ 1152525 h 4429225"/>
                    <a:gd name="connsiteX74" fmla="*/ 316252 w 4519987"/>
                    <a:gd name="connsiteY74" fmla="*/ 1114425 h 4429225"/>
                    <a:gd name="connsiteX75" fmla="*/ 363877 w 4519987"/>
                    <a:gd name="connsiteY75" fmla="*/ 1038225 h 4429225"/>
                    <a:gd name="connsiteX76" fmla="*/ 382927 w 4519987"/>
                    <a:gd name="connsiteY76" fmla="*/ 1009650 h 4429225"/>
                    <a:gd name="connsiteX77" fmla="*/ 440077 w 4519987"/>
                    <a:gd name="connsiteY77" fmla="*/ 904875 h 4429225"/>
                    <a:gd name="connsiteX78" fmla="*/ 478177 w 4519987"/>
                    <a:gd name="connsiteY78" fmla="*/ 857250 h 4429225"/>
                    <a:gd name="connsiteX79" fmla="*/ 497227 w 4519987"/>
                    <a:gd name="connsiteY79" fmla="*/ 828675 h 4429225"/>
                    <a:gd name="connsiteX80" fmla="*/ 535327 w 4519987"/>
                    <a:gd name="connsiteY80" fmla="*/ 800100 h 4429225"/>
                    <a:gd name="connsiteX81" fmla="*/ 602002 w 4519987"/>
                    <a:gd name="connsiteY81" fmla="*/ 733425 h 4429225"/>
                    <a:gd name="connsiteX82" fmla="*/ 668677 w 4519987"/>
                    <a:gd name="connsiteY82" fmla="*/ 676275 h 4429225"/>
                    <a:gd name="connsiteX83" fmla="*/ 697252 w 4519987"/>
                    <a:gd name="connsiteY83" fmla="*/ 657225 h 4429225"/>
                    <a:gd name="connsiteX84" fmla="*/ 840127 w 4519987"/>
                    <a:gd name="connsiteY84" fmla="*/ 533400 h 4429225"/>
                    <a:gd name="connsiteX85" fmla="*/ 887752 w 4519987"/>
                    <a:gd name="connsiteY85" fmla="*/ 504825 h 4429225"/>
                    <a:gd name="connsiteX86" fmla="*/ 1167152 w 4519987"/>
                    <a:gd name="connsiteY86" fmla="*/ 311150 h 4429225"/>
                    <a:gd name="connsiteX87" fmla="*/ 1268752 w 4519987"/>
                    <a:gd name="connsiteY87" fmla="*/ 285750 h 4429225"/>
                    <a:gd name="connsiteX88" fmla="*/ 1411627 w 4519987"/>
                    <a:gd name="connsiteY88" fmla="*/ 190500 h 4429225"/>
                    <a:gd name="connsiteX89" fmla="*/ 1449727 w 4519987"/>
                    <a:gd name="connsiteY89" fmla="*/ 161925 h 4429225"/>
                    <a:gd name="connsiteX90" fmla="*/ 1525927 w 4519987"/>
                    <a:gd name="connsiteY90" fmla="*/ 152400 h 4429225"/>
                    <a:gd name="connsiteX91" fmla="*/ 1583077 w 4519987"/>
                    <a:gd name="connsiteY91" fmla="*/ 142875 h 4429225"/>
                    <a:gd name="connsiteX92" fmla="*/ 1716427 w 4519987"/>
                    <a:gd name="connsiteY92" fmla="*/ 123825 h 4429225"/>
                    <a:gd name="connsiteX93" fmla="*/ 1811677 w 4519987"/>
                    <a:gd name="connsiteY93" fmla="*/ 114300 h 4429225"/>
                    <a:gd name="connsiteX94" fmla="*/ 1859302 w 4519987"/>
                    <a:gd name="connsiteY94" fmla="*/ 104775 h 4429225"/>
                    <a:gd name="connsiteX95" fmla="*/ 1916452 w 4519987"/>
                    <a:gd name="connsiteY95" fmla="*/ 95250 h 4429225"/>
                    <a:gd name="connsiteX96" fmla="*/ 2030752 w 4519987"/>
                    <a:gd name="connsiteY96" fmla="*/ 66675 h 4429225"/>
                    <a:gd name="connsiteX97" fmla="*/ 2097427 w 4519987"/>
                    <a:gd name="connsiteY97" fmla="*/ 47625 h 4429225"/>
                    <a:gd name="connsiteX98" fmla="*/ 2164102 w 4519987"/>
                    <a:gd name="connsiteY98" fmla="*/ 38100 h 4429225"/>
                    <a:gd name="connsiteX99" fmla="*/ 2392702 w 4519987"/>
                    <a:gd name="connsiteY99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9552 w 4519987"/>
                    <a:gd name="connsiteY56" fmla="*/ 2638425 h 4429225"/>
                    <a:gd name="connsiteX57" fmla="*/ 40027 w 4519987"/>
                    <a:gd name="connsiteY57" fmla="*/ 2562225 h 4429225"/>
                    <a:gd name="connsiteX58" fmla="*/ 30502 w 4519987"/>
                    <a:gd name="connsiteY58" fmla="*/ 2514600 h 4429225"/>
                    <a:gd name="connsiteX59" fmla="*/ 11452 w 4519987"/>
                    <a:gd name="connsiteY59" fmla="*/ 2400300 h 4429225"/>
                    <a:gd name="connsiteX60" fmla="*/ 20977 w 4519987"/>
                    <a:gd name="connsiteY60" fmla="*/ 1905000 h 4429225"/>
                    <a:gd name="connsiteX61" fmla="*/ 30502 w 4519987"/>
                    <a:gd name="connsiteY61" fmla="*/ 1838325 h 4429225"/>
                    <a:gd name="connsiteX62" fmla="*/ 49552 w 4519987"/>
                    <a:gd name="connsiteY62" fmla="*/ 1781175 h 4429225"/>
                    <a:gd name="connsiteX63" fmla="*/ 59077 w 4519987"/>
                    <a:gd name="connsiteY63" fmla="*/ 1743075 h 4429225"/>
                    <a:gd name="connsiteX64" fmla="*/ 78127 w 4519987"/>
                    <a:gd name="connsiteY64" fmla="*/ 1685925 h 4429225"/>
                    <a:gd name="connsiteX65" fmla="*/ 87652 w 4519987"/>
                    <a:gd name="connsiteY65" fmla="*/ 1638300 h 4429225"/>
                    <a:gd name="connsiteX66" fmla="*/ 106702 w 4519987"/>
                    <a:gd name="connsiteY66" fmla="*/ 1590675 h 4429225"/>
                    <a:gd name="connsiteX67" fmla="*/ 135277 w 4519987"/>
                    <a:gd name="connsiteY67" fmla="*/ 1504950 h 4429225"/>
                    <a:gd name="connsiteX68" fmla="*/ 154327 w 4519987"/>
                    <a:gd name="connsiteY68" fmla="*/ 1419225 h 4429225"/>
                    <a:gd name="connsiteX69" fmla="*/ 230527 w 4519987"/>
                    <a:gd name="connsiteY69" fmla="*/ 1276350 h 4429225"/>
                    <a:gd name="connsiteX70" fmla="*/ 240052 w 4519987"/>
                    <a:gd name="connsiteY70" fmla="*/ 1247775 h 4429225"/>
                    <a:gd name="connsiteX71" fmla="*/ 268627 w 4519987"/>
                    <a:gd name="connsiteY71" fmla="*/ 1200150 h 4429225"/>
                    <a:gd name="connsiteX72" fmla="*/ 287677 w 4519987"/>
                    <a:gd name="connsiteY72" fmla="*/ 1152525 h 4429225"/>
                    <a:gd name="connsiteX73" fmla="*/ 316252 w 4519987"/>
                    <a:gd name="connsiteY73" fmla="*/ 1114425 h 4429225"/>
                    <a:gd name="connsiteX74" fmla="*/ 363877 w 4519987"/>
                    <a:gd name="connsiteY74" fmla="*/ 1038225 h 4429225"/>
                    <a:gd name="connsiteX75" fmla="*/ 382927 w 4519987"/>
                    <a:gd name="connsiteY75" fmla="*/ 1009650 h 4429225"/>
                    <a:gd name="connsiteX76" fmla="*/ 440077 w 4519987"/>
                    <a:gd name="connsiteY76" fmla="*/ 904875 h 4429225"/>
                    <a:gd name="connsiteX77" fmla="*/ 478177 w 4519987"/>
                    <a:gd name="connsiteY77" fmla="*/ 857250 h 4429225"/>
                    <a:gd name="connsiteX78" fmla="*/ 497227 w 4519987"/>
                    <a:gd name="connsiteY78" fmla="*/ 828675 h 4429225"/>
                    <a:gd name="connsiteX79" fmla="*/ 535327 w 4519987"/>
                    <a:gd name="connsiteY79" fmla="*/ 800100 h 4429225"/>
                    <a:gd name="connsiteX80" fmla="*/ 602002 w 4519987"/>
                    <a:gd name="connsiteY80" fmla="*/ 733425 h 4429225"/>
                    <a:gd name="connsiteX81" fmla="*/ 668677 w 4519987"/>
                    <a:gd name="connsiteY81" fmla="*/ 676275 h 4429225"/>
                    <a:gd name="connsiteX82" fmla="*/ 697252 w 4519987"/>
                    <a:gd name="connsiteY82" fmla="*/ 657225 h 4429225"/>
                    <a:gd name="connsiteX83" fmla="*/ 840127 w 4519987"/>
                    <a:gd name="connsiteY83" fmla="*/ 533400 h 4429225"/>
                    <a:gd name="connsiteX84" fmla="*/ 887752 w 4519987"/>
                    <a:gd name="connsiteY84" fmla="*/ 504825 h 4429225"/>
                    <a:gd name="connsiteX85" fmla="*/ 1167152 w 4519987"/>
                    <a:gd name="connsiteY85" fmla="*/ 311150 h 4429225"/>
                    <a:gd name="connsiteX86" fmla="*/ 1268752 w 4519987"/>
                    <a:gd name="connsiteY86" fmla="*/ 285750 h 4429225"/>
                    <a:gd name="connsiteX87" fmla="*/ 1411627 w 4519987"/>
                    <a:gd name="connsiteY87" fmla="*/ 190500 h 4429225"/>
                    <a:gd name="connsiteX88" fmla="*/ 1449727 w 4519987"/>
                    <a:gd name="connsiteY88" fmla="*/ 161925 h 4429225"/>
                    <a:gd name="connsiteX89" fmla="*/ 1525927 w 4519987"/>
                    <a:gd name="connsiteY89" fmla="*/ 152400 h 4429225"/>
                    <a:gd name="connsiteX90" fmla="*/ 1583077 w 4519987"/>
                    <a:gd name="connsiteY90" fmla="*/ 142875 h 4429225"/>
                    <a:gd name="connsiteX91" fmla="*/ 1716427 w 4519987"/>
                    <a:gd name="connsiteY91" fmla="*/ 123825 h 4429225"/>
                    <a:gd name="connsiteX92" fmla="*/ 1811677 w 4519987"/>
                    <a:gd name="connsiteY92" fmla="*/ 114300 h 4429225"/>
                    <a:gd name="connsiteX93" fmla="*/ 1859302 w 4519987"/>
                    <a:gd name="connsiteY93" fmla="*/ 104775 h 4429225"/>
                    <a:gd name="connsiteX94" fmla="*/ 1916452 w 4519987"/>
                    <a:gd name="connsiteY94" fmla="*/ 95250 h 4429225"/>
                    <a:gd name="connsiteX95" fmla="*/ 2030752 w 4519987"/>
                    <a:gd name="connsiteY95" fmla="*/ 66675 h 4429225"/>
                    <a:gd name="connsiteX96" fmla="*/ 2097427 w 4519987"/>
                    <a:gd name="connsiteY96" fmla="*/ 47625 h 4429225"/>
                    <a:gd name="connsiteX97" fmla="*/ 2164102 w 4519987"/>
                    <a:gd name="connsiteY97" fmla="*/ 38100 h 4429225"/>
                    <a:gd name="connsiteX98" fmla="*/ 2392702 w 4519987"/>
                    <a:gd name="connsiteY98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30502 w 4519987"/>
                    <a:gd name="connsiteY57" fmla="*/ 2514600 h 4429225"/>
                    <a:gd name="connsiteX58" fmla="*/ 11452 w 4519987"/>
                    <a:gd name="connsiteY58" fmla="*/ 2400300 h 4429225"/>
                    <a:gd name="connsiteX59" fmla="*/ 20977 w 4519987"/>
                    <a:gd name="connsiteY59" fmla="*/ 1905000 h 4429225"/>
                    <a:gd name="connsiteX60" fmla="*/ 30502 w 4519987"/>
                    <a:gd name="connsiteY60" fmla="*/ 1838325 h 4429225"/>
                    <a:gd name="connsiteX61" fmla="*/ 49552 w 4519987"/>
                    <a:gd name="connsiteY61" fmla="*/ 1781175 h 4429225"/>
                    <a:gd name="connsiteX62" fmla="*/ 59077 w 4519987"/>
                    <a:gd name="connsiteY62" fmla="*/ 1743075 h 4429225"/>
                    <a:gd name="connsiteX63" fmla="*/ 78127 w 4519987"/>
                    <a:gd name="connsiteY63" fmla="*/ 1685925 h 4429225"/>
                    <a:gd name="connsiteX64" fmla="*/ 87652 w 4519987"/>
                    <a:gd name="connsiteY64" fmla="*/ 1638300 h 4429225"/>
                    <a:gd name="connsiteX65" fmla="*/ 106702 w 4519987"/>
                    <a:gd name="connsiteY65" fmla="*/ 1590675 h 4429225"/>
                    <a:gd name="connsiteX66" fmla="*/ 135277 w 4519987"/>
                    <a:gd name="connsiteY66" fmla="*/ 1504950 h 4429225"/>
                    <a:gd name="connsiteX67" fmla="*/ 154327 w 4519987"/>
                    <a:gd name="connsiteY67" fmla="*/ 1419225 h 4429225"/>
                    <a:gd name="connsiteX68" fmla="*/ 230527 w 4519987"/>
                    <a:gd name="connsiteY68" fmla="*/ 1276350 h 4429225"/>
                    <a:gd name="connsiteX69" fmla="*/ 240052 w 4519987"/>
                    <a:gd name="connsiteY69" fmla="*/ 1247775 h 4429225"/>
                    <a:gd name="connsiteX70" fmla="*/ 268627 w 4519987"/>
                    <a:gd name="connsiteY70" fmla="*/ 1200150 h 4429225"/>
                    <a:gd name="connsiteX71" fmla="*/ 287677 w 4519987"/>
                    <a:gd name="connsiteY71" fmla="*/ 1152525 h 4429225"/>
                    <a:gd name="connsiteX72" fmla="*/ 316252 w 4519987"/>
                    <a:gd name="connsiteY72" fmla="*/ 1114425 h 4429225"/>
                    <a:gd name="connsiteX73" fmla="*/ 363877 w 4519987"/>
                    <a:gd name="connsiteY73" fmla="*/ 1038225 h 4429225"/>
                    <a:gd name="connsiteX74" fmla="*/ 382927 w 4519987"/>
                    <a:gd name="connsiteY74" fmla="*/ 1009650 h 4429225"/>
                    <a:gd name="connsiteX75" fmla="*/ 440077 w 4519987"/>
                    <a:gd name="connsiteY75" fmla="*/ 904875 h 4429225"/>
                    <a:gd name="connsiteX76" fmla="*/ 478177 w 4519987"/>
                    <a:gd name="connsiteY76" fmla="*/ 857250 h 4429225"/>
                    <a:gd name="connsiteX77" fmla="*/ 497227 w 4519987"/>
                    <a:gd name="connsiteY77" fmla="*/ 828675 h 4429225"/>
                    <a:gd name="connsiteX78" fmla="*/ 535327 w 4519987"/>
                    <a:gd name="connsiteY78" fmla="*/ 800100 h 4429225"/>
                    <a:gd name="connsiteX79" fmla="*/ 602002 w 4519987"/>
                    <a:gd name="connsiteY79" fmla="*/ 733425 h 4429225"/>
                    <a:gd name="connsiteX80" fmla="*/ 668677 w 4519987"/>
                    <a:gd name="connsiteY80" fmla="*/ 676275 h 4429225"/>
                    <a:gd name="connsiteX81" fmla="*/ 697252 w 4519987"/>
                    <a:gd name="connsiteY81" fmla="*/ 657225 h 4429225"/>
                    <a:gd name="connsiteX82" fmla="*/ 840127 w 4519987"/>
                    <a:gd name="connsiteY82" fmla="*/ 533400 h 4429225"/>
                    <a:gd name="connsiteX83" fmla="*/ 887752 w 4519987"/>
                    <a:gd name="connsiteY83" fmla="*/ 504825 h 4429225"/>
                    <a:gd name="connsiteX84" fmla="*/ 1167152 w 4519987"/>
                    <a:gd name="connsiteY84" fmla="*/ 311150 h 4429225"/>
                    <a:gd name="connsiteX85" fmla="*/ 1268752 w 4519987"/>
                    <a:gd name="connsiteY85" fmla="*/ 285750 h 4429225"/>
                    <a:gd name="connsiteX86" fmla="*/ 1411627 w 4519987"/>
                    <a:gd name="connsiteY86" fmla="*/ 190500 h 4429225"/>
                    <a:gd name="connsiteX87" fmla="*/ 1449727 w 4519987"/>
                    <a:gd name="connsiteY87" fmla="*/ 161925 h 4429225"/>
                    <a:gd name="connsiteX88" fmla="*/ 1525927 w 4519987"/>
                    <a:gd name="connsiteY88" fmla="*/ 152400 h 4429225"/>
                    <a:gd name="connsiteX89" fmla="*/ 1583077 w 4519987"/>
                    <a:gd name="connsiteY89" fmla="*/ 142875 h 4429225"/>
                    <a:gd name="connsiteX90" fmla="*/ 1716427 w 4519987"/>
                    <a:gd name="connsiteY90" fmla="*/ 123825 h 4429225"/>
                    <a:gd name="connsiteX91" fmla="*/ 1811677 w 4519987"/>
                    <a:gd name="connsiteY91" fmla="*/ 114300 h 4429225"/>
                    <a:gd name="connsiteX92" fmla="*/ 1859302 w 4519987"/>
                    <a:gd name="connsiteY92" fmla="*/ 104775 h 4429225"/>
                    <a:gd name="connsiteX93" fmla="*/ 1916452 w 4519987"/>
                    <a:gd name="connsiteY93" fmla="*/ 95250 h 4429225"/>
                    <a:gd name="connsiteX94" fmla="*/ 2030752 w 4519987"/>
                    <a:gd name="connsiteY94" fmla="*/ 66675 h 4429225"/>
                    <a:gd name="connsiteX95" fmla="*/ 2097427 w 4519987"/>
                    <a:gd name="connsiteY95" fmla="*/ 47625 h 4429225"/>
                    <a:gd name="connsiteX96" fmla="*/ 2164102 w 4519987"/>
                    <a:gd name="connsiteY96" fmla="*/ 38100 h 4429225"/>
                    <a:gd name="connsiteX97" fmla="*/ 2392702 w 4519987"/>
                    <a:gd name="connsiteY97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40027 w 4519987"/>
                    <a:gd name="connsiteY56" fmla="*/ 2562225 h 4429225"/>
                    <a:gd name="connsiteX57" fmla="*/ 11452 w 4519987"/>
                    <a:gd name="connsiteY57" fmla="*/ 2400300 h 4429225"/>
                    <a:gd name="connsiteX58" fmla="*/ 20977 w 4519987"/>
                    <a:gd name="connsiteY58" fmla="*/ 1905000 h 4429225"/>
                    <a:gd name="connsiteX59" fmla="*/ 30502 w 4519987"/>
                    <a:gd name="connsiteY59" fmla="*/ 1838325 h 4429225"/>
                    <a:gd name="connsiteX60" fmla="*/ 49552 w 4519987"/>
                    <a:gd name="connsiteY60" fmla="*/ 1781175 h 4429225"/>
                    <a:gd name="connsiteX61" fmla="*/ 59077 w 4519987"/>
                    <a:gd name="connsiteY61" fmla="*/ 1743075 h 4429225"/>
                    <a:gd name="connsiteX62" fmla="*/ 78127 w 4519987"/>
                    <a:gd name="connsiteY62" fmla="*/ 1685925 h 4429225"/>
                    <a:gd name="connsiteX63" fmla="*/ 87652 w 4519987"/>
                    <a:gd name="connsiteY63" fmla="*/ 1638300 h 4429225"/>
                    <a:gd name="connsiteX64" fmla="*/ 106702 w 4519987"/>
                    <a:gd name="connsiteY64" fmla="*/ 1590675 h 4429225"/>
                    <a:gd name="connsiteX65" fmla="*/ 135277 w 4519987"/>
                    <a:gd name="connsiteY65" fmla="*/ 1504950 h 4429225"/>
                    <a:gd name="connsiteX66" fmla="*/ 154327 w 4519987"/>
                    <a:gd name="connsiteY66" fmla="*/ 1419225 h 4429225"/>
                    <a:gd name="connsiteX67" fmla="*/ 230527 w 4519987"/>
                    <a:gd name="connsiteY67" fmla="*/ 1276350 h 4429225"/>
                    <a:gd name="connsiteX68" fmla="*/ 240052 w 4519987"/>
                    <a:gd name="connsiteY68" fmla="*/ 1247775 h 4429225"/>
                    <a:gd name="connsiteX69" fmla="*/ 268627 w 4519987"/>
                    <a:gd name="connsiteY69" fmla="*/ 1200150 h 4429225"/>
                    <a:gd name="connsiteX70" fmla="*/ 287677 w 4519987"/>
                    <a:gd name="connsiteY70" fmla="*/ 1152525 h 4429225"/>
                    <a:gd name="connsiteX71" fmla="*/ 316252 w 4519987"/>
                    <a:gd name="connsiteY71" fmla="*/ 1114425 h 4429225"/>
                    <a:gd name="connsiteX72" fmla="*/ 363877 w 4519987"/>
                    <a:gd name="connsiteY72" fmla="*/ 1038225 h 4429225"/>
                    <a:gd name="connsiteX73" fmla="*/ 382927 w 4519987"/>
                    <a:gd name="connsiteY73" fmla="*/ 1009650 h 4429225"/>
                    <a:gd name="connsiteX74" fmla="*/ 440077 w 4519987"/>
                    <a:gd name="connsiteY74" fmla="*/ 904875 h 4429225"/>
                    <a:gd name="connsiteX75" fmla="*/ 478177 w 4519987"/>
                    <a:gd name="connsiteY75" fmla="*/ 857250 h 4429225"/>
                    <a:gd name="connsiteX76" fmla="*/ 497227 w 4519987"/>
                    <a:gd name="connsiteY76" fmla="*/ 828675 h 4429225"/>
                    <a:gd name="connsiteX77" fmla="*/ 535327 w 4519987"/>
                    <a:gd name="connsiteY77" fmla="*/ 800100 h 4429225"/>
                    <a:gd name="connsiteX78" fmla="*/ 602002 w 4519987"/>
                    <a:gd name="connsiteY78" fmla="*/ 733425 h 4429225"/>
                    <a:gd name="connsiteX79" fmla="*/ 668677 w 4519987"/>
                    <a:gd name="connsiteY79" fmla="*/ 676275 h 4429225"/>
                    <a:gd name="connsiteX80" fmla="*/ 697252 w 4519987"/>
                    <a:gd name="connsiteY80" fmla="*/ 657225 h 4429225"/>
                    <a:gd name="connsiteX81" fmla="*/ 840127 w 4519987"/>
                    <a:gd name="connsiteY81" fmla="*/ 533400 h 4429225"/>
                    <a:gd name="connsiteX82" fmla="*/ 887752 w 4519987"/>
                    <a:gd name="connsiteY82" fmla="*/ 504825 h 4429225"/>
                    <a:gd name="connsiteX83" fmla="*/ 1167152 w 4519987"/>
                    <a:gd name="connsiteY83" fmla="*/ 311150 h 4429225"/>
                    <a:gd name="connsiteX84" fmla="*/ 1268752 w 4519987"/>
                    <a:gd name="connsiteY84" fmla="*/ 285750 h 4429225"/>
                    <a:gd name="connsiteX85" fmla="*/ 1411627 w 4519987"/>
                    <a:gd name="connsiteY85" fmla="*/ 190500 h 4429225"/>
                    <a:gd name="connsiteX86" fmla="*/ 1449727 w 4519987"/>
                    <a:gd name="connsiteY86" fmla="*/ 161925 h 4429225"/>
                    <a:gd name="connsiteX87" fmla="*/ 1525927 w 4519987"/>
                    <a:gd name="connsiteY87" fmla="*/ 152400 h 4429225"/>
                    <a:gd name="connsiteX88" fmla="*/ 1583077 w 4519987"/>
                    <a:gd name="connsiteY88" fmla="*/ 142875 h 4429225"/>
                    <a:gd name="connsiteX89" fmla="*/ 1716427 w 4519987"/>
                    <a:gd name="connsiteY89" fmla="*/ 123825 h 4429225"/>
                    <a:gd name="connsiteX90" fmla="*/ 1811677 w 4519987"/>
                    <a:gd name="connsiteY90" fmla="*/ 114300 h 4429225"/>
                    <a:gd name="connsiteX91" fmla="*/ 1859302 w 4519987"/>
                    <a:gd name="connsiteY91" fmla="*/ 104775 h 4429225"/>
                    <a:gd name="connsiteX92" fmla="*/ 1916452 w 4519987"/>
                    <a:gd name="connsiteY92" fmla="*/ 95250 h 4429225"/>
                    <a:gd name="connsiteX93" fmla="*/ 2030752 w 4519987"/>
                    <a:gd name="connsiteY93" fmla="*/ 66675 h 4429225"/>
                    <a:gd name="connsiteX94" fmla="*/ 2097427 w 4519987"/>
                    <a:gd name="connsiteY94" fmla="*/ 47625 h 4429225"/>
                    <a:gd name="connsiteX95" fmla="*/ 2164102 w 4519987"/>
                    <a:gd name="connsiteY95" fmla="*/ 38100 h 4429225"/>
                    <a:gd name="connsiteX96" fmla="*/ 2392702 w 4519987"/>
                    <a:gd name="connsiteY96" fmla="*/ 28575 h 4429225"/>
                    <a:gd name="connsiteX0" fmla="*/ 2297452 w 4519987"/>
                    <a:gd name="connsiteY0" fmla="*/ 0 h 4429225"/>
                    <a:gd name="connsiteX1" fmla="*/ 2421277 w 4519987"/>
                    <a:gd name="connsiteY1" fmla="*/ 28575 h 4429225"/>
                    <a:gd name="connsiteX2" fmla="*/ 2497477 w 4519987"/>
                    <a:gd name="connsiteY2" fmla="*/ 47625 h 4429225"/>
                    <a:gd name="connsiteX3" fmla="*/ 2754652 w 4519987"/>
                    <a:gd name="connsiteY3" fmla="*/ 66675 h 4429225"/>
                    <a:gd name="connsiteX4" fmla="*/ 2830852 w 4519987"/>
                    <a:gd name="connsiteY4" fmla="*/ 76200 h 4429225"/>
                    <a:gd name="connsiteX5" fmla="*/ 2916577 w 4519987"/>
                    <a:gd name="connsiteY5" fmla="*/ 85725 h 4429225"/>
                    <a:gd name="connsiteX6" fmla="*/ 2973727 w 4519987"/>
                    <a:gd name="connsiteY6" fmla="*/ 114300 h 4429225"/>
                    <a:gd name="connsiteX7" fmla="*/ 3011827 w 4519987"/>
                    <a:gd name="connsiteY7" fmla="*/ 123825 h 4429225"/>
                    <a:gd name="connsiteX8" fmla="*/ 3135652 w 4519987"/>
                    <a:gd name="connsiteY8" fmla="*/ 171450 h 4429225"/>
                    <a:gd name="connsiteX9" fmla="*/ 3173752 w 4519987"/>
                    <a:gd name="connsiteY9" fmla="*/ 190500 h 4429225"/>
                    <a:gd name="connsiteX10" fmla="*/ 3240427 w 4519987"/>
                    <a:gd name="connsiteY10" fmla="*/ 228600 h 4429225"/>
                    <a:gd name="connsiteX11" fmla="*/ 3269002 w 4519987"/>
                    <a:gd name="connsiteY11" fmla="*/ 238125 h 4429225"/>
                    <a:gd name="connsiteX12" fmla="*/ 3297577 w 4519987"/>
                    <a:gd name="connsiteY12" fmla="*/ 257175 h 4429225"/>
                    <a:gd name="connsiteX13" fmla="*/ 3326152 w 4519987"/>
                    <a:gd name="connsiteY13" fmla="*/ 266700 h 4429225"/>
                    <a:gd name="connsiteX14" fmla="*/ 3354727 w 4519987"/>
                    <a:gd name="connsiteY14" fmla="*/ 285750 h 4429225"/>
                    <a:gd name="connsiteX15" fmla="*/ 3421402 w 4519987"/>
                    <a:gd name="connsiteY15" fmla="*/ 323850 h 4429225"/>
                    <a:gd name="connsiteX16" fmla="*/ 3469027 w 4519987"/>
                    <a:gd name="connsiteY16" fmla="*/ 361950 h 4429225"/>
                    <a:gd name="connsiteX17" fmla="*/ 3516652 w 4519987"/>
                    <a:gd name="connsiteY17" fmla="*/ 390525 h 4429225"/>
                    <a:gd name="connsiteX18" fmla="*/ 3630952 w 4519987"/>
                    <a:gd name="connsiteY18" fmla="*/ 485775 h 4429225"/>
                    <a:gd name="connsiteX19" fmla="*/ 3745252 w 4519987"/>
                    <a:gd name="connsiteY19" fmla="*/ 542925 h 4429225"/>
                    <a:gd name="connsiteX20" fmla="*/ 3811927 w 4519987"/>
                    <a:gd name="connsiteY20" fmla="*/ 581025 h 4429225"/>
                    <a:gd name="connsiteX21" fmla="*/ 4027827 w 4519987"/>
                    <a:gd name="connsiteY21" fmla="*/ 819150 h 4429225"/>
                    <a:gd name="connsiteX22" fmla="*/ 4164352 w 4519987"/>
                    <a:gd name="connsiteY22" fmla="*/ 990600 h 4429225"/>
                    <a:gd name="connsiteX23" fmla="*/ 4250077 w 4519987"/>
                    <a:gd name="connsiteY23" fmla="*/ 1143000 h 4429225"/>
                    <a:gd name="connsiteX24" fmla="*/ 4307227 w 4519987"/>
                    <a:gd name="connsiteY24" fmla="*/ 1266825 h 4429225"/>
                    <a:gd name="connsiteX25" fmla="*/ 4345327 w 4519987"/>
                    <a:gd name="connsiteY25" fmla="*/ 1362075 h 4429225"/>
                    <a:gd name="connsiteX26" fmla="*/ 4392952 w 4519987"/>
                    <a:gd name="connsiteY26" fmla="*/ 1552575 h 4429225"/>
                    <a:gd name="connsiteX27" fmla="*/ 4431052 w 4519987"/>
                    <a:gd name="connsiteY27" fmla="*/ 1685925 h 4429225"/>
                    <a:gd name="connsiteX28" fmla="*/ 4519952 w 4519987"/>
                    <a:gd name="connsiteY28" fmla="*/ 2181225 h 4429225"/>
                    <a:gd name="connsiteX29" fmla="*/ 4446927 w 4519987"/>
                    <a:gd name="connsiteY29" fmla="*/ 2768600 h 4429225"/>
                    <a:gd name="connsiteX30" fmla="*/ 4383427 w 4519987"/>
                    <a:gd name="connsiteY30" fmla="*/ 2990850 h 4429225"/>
                    <a:gd name="connsiteX31" fmla="*/ 4278652 w 4519987"/>
                    <a:gd name="connsiteY31" fmla="*/ 3248025 h 4429225"/>
                    <a:gd name="connsiteX32" fmla="*/ 4183402 w 4519987"/>
                    <a:gd name="connsiteY32" fmla="*/ 3400425 h 4429225"/>
                    <a:gd name="connsiteX33" fmla="*/ 4059577 w 4519987"/>
                    <a:gd name="connsiteY33" fmla="*/ 3533775 h 4429225"/>
                    <a:gd name="connsiteX34" fmla="*/ 3954802 w 4519987"/>
                    <a:gd name="connsiteY34" fmla="*/ 3648075 h 4429225"/>
                    <a:gd name="connsiteX35" fmla="*/ 3659527 w 4519987"/>
                    <a:gd name="connsiteY35" fmla="*/ 3971925 h 4429225"/>
                    <a:gd name="connsiteX36" fmla="*/ 3516652 w 4519987"/>
                    <a:gd name="connsiteY36" fmla="*/ 4083050 h 4429225"/>
                    <a:gd name="connsiteX37" fmla="*/ 3221377 w 4519987"/>
                    <a:gd name="connsiteY37" fmla="*/ 4222750 h 4429225"/>
                    <a:gd name="connsiteX38" fmla="*/ 3068977 w 4519987"/>
                    <a:gd name="connsiteY38" fmla="*/ 4286250 h 4429225"/>
                    <a:gd name="connsiteX39" fmla="*/ 2935627 w 4519987"/>
                    <a:gd name="connsiteY39" fmla="*/ 4333875 h 4429225"/>
                    <a:gd name="connsiteX40" fmla="*/ 2811802 w 4519987"/>
                    <a:gd name="connsiteY40" fmla="*/ 4371975 h 4429225"/>
                    <a:gd name="connsiteX41" fmla="*/ 2580027 w 4519987"/>
                    <a:gd name="connsiteY41" fmla="*/ 4391025 h 4429225"/>
                    <a:gd name="connsiteX42" fmla="*/ 2126002 w 4519987"/>
                    <a:gd name="connsiteY42" fmla="*/ 4429125 h 4429225"/>
                    <a:gd name="connsiteX43" fmla="*/ 1935502 w 4519987"/>
                    <a:gd name="connsiteY43" fmla="*/ 4400550 h 4429225"/>
                    <a:gd name="connsiteX44" fmla="*/ 1754527 w 4519987"/>
                    <a:gd name="connsiteY44" fmla="*/ 4352925 h 4429225"/>
                    <a:gd name="connsiteX45" fmla="*/ 1573552 w 4519987"/>
                    <a:gd name="connsiteY45" fmla="*/ 4305300 h 4429225"/>
                    <a:gd name="connsiteX46" fmla="*/ 1287802 w 4519987"/>
                    <a:gd name="connsiteY46" fmla="*/ 4229100 h 4429225"/>
                    <a:gd name="connsiteX47" fmla="*/ 1087777 w 4519987"/>
                    <a:gd name="connsiteY47" fmla="*/ 4143375 h 4429225"/>
                    <a:gd name="connsiteX48" fmla="*/ 830602 w 4519987"/>
                    <a:gd name="connsiteY48" fmla="*/ 3981450 h 4429225"/>
                    <a:gd name="connsiteX49" fmla="*/ 697252 w 4519987"/>
                    <a:gd name="connsiteY49" fmla="*/ 3838575 h 4429225"/>
                    <a:gd name="connsiteX50" fmla="*/ 554377 w 4519987"/>
                    <a:gd name="connsiteY50" fmla="*/ 3657600 h 4429225"/>
                    <a:gd name="connsiteX51" fmla="*/ 440077 w 4519987"/>
                    <a:gd name="connsiteY51" fmla="*/ 3495675 h 4429225"/>
                    <a:gd name="connsiteX52" fmla="*/ 278152 w 4519987"/>
                    <a:gd name="connsiteY52" fmla="*/ 3257550 h 4429225"/>
                    <a:gd name="connsiteX53" fmla="*/ 221002 w 4519987"/>
                    <a:gd name="connsiteY53" fmla="*/ 3105150 h 4429225"/>
                    <a:gd name="connsiteX54" fmla="*/ 144802 w 4519987"/>
                    <a:gd name="connsiteY54" fmla="*/ 2924175 h 4429225"/>
                    <a:gd name="connsiteX55" fmla="*/ 68602 w 4519987"/>
                    <a:gd name="connsiteY55" fmla="*/ 2724150 h 4429225"/>
                    <a:gd name="connsiteX56" fmla="*/ 11452 w 4519987"/>
                    <a:gd name="connsiteY56" fmla="*/ 2400300 h 4429225"/>
                    <a:gd name="connsiteX57" fmla="*/ 20977 w 4519987"/>
                    <a:gd name="connsiteY57" fmla="*/ 1905000 h 4429225"/>
                    <a:gd name="connsiteX58" fmla="*/ 30502 w 4519987"/>
                    <a:gd name="connsiteY58" fmla="*/ 1838325 h 4429225"/>
                    <a:gd name="connsiteX59" fmla="*/ 49552 w 4519987"/>
                    <a:gd name="connsiteY59" fmla="*/ 1781175 h 4429225"/>
                    <a:gd name="connsiteX60" fmla="*/ 59077 w 4519987"/>
                    <a:gd name="connsiteY60" fmla="*/ 1743075 h 4429225"/>
                    <a:gd name="connsiteX61" fmla="*/ 78127 w 4519987"/>
                    <a:gd name="connsiteY61" fmla="*/ 1685925 h 4429225"/>
                    <a:gd name="connsiteX62" fmla="*/ 87652 w 4519987"/>
                    <a:gd name="connsiteY62" fmla="*/ 1638300 h 4429225"/>
                    <a:gd name="connsiteX63" fmla="*/ 106702 w 4519987"/>
                    <a:gd name="connsiteY63" fmla="*/ 1590675 h 4429225"/>
                    <a:gd name="connsiteX64" fmla="*/ 135277 w 4519987"/>
                    <a:gd name="connsiteY64" fmla="*/ 1504950 h 4429225"/>
                    <a:gd name="connsiteX65" fmla="*/ 154327 w 4519987"/>
                    <a:gd name="connsiteY65" fmla="*/ 1419225 h 4429225"/>
                    <a:gd name="connsiteX66" fmla="*/ 230527 w 4519987"/>
                    <a:gd name="connsiteY66" fmla="*/ 1276350 h 4429225"/>
                    <a:gd name="connsiteX67" fmla="*/ 240052 w 4519987"/>
                    <a:gd name="connsiteY67" fmla="*/ 1247775 h 4429225"/>
                    <a:gd name="connsiteX68" fmla="*/ 268627 w 4519987"/>
                    <a:gd name="connsiteY68" fmla="*/ 1200150 h 4429225"/>
                    <a:gd name="connsiteX69" fmla="*/ 287677 w 4519987"/>
                    <a:gd name="connsiteY69" fmla="*/ 1152525 h 4429225"/>
                    <a:gd name="connsiteX70" fmla="*/ 316252 w 4519987"/>
                    <a:gd name="connsiteY70" fmla="*/ 1114425 h 4429225"/>
                    <a:gd name="connsiteX71" fmla="*/ 363877 w 4519987"/>
                    <a:gd name="connsiteY71" fmla="*/ 1038225 h 4429225"/>
                    <a:gd name="connsiteX72" fmla="*/ 382927 w 4519987"/>
                    <a:gd name="connsiteY72" fmla="*/ 1009650 h 4429225"/>
                    <a:gd name="connsiteX73" fmla="*/ 440077 w 4519987"/>
                    <a:gd name="connsiteY73" fmla="*/ 904875 h 4429225"/>
                    <a:gd name="connsiteX74" fmla="*/ 478177 w 4519987"/>
                    <a:gd name="connsiteY74" fmla="*/ 857250 h 4429225"/>
                    <a:gd name="connsiteX75" fmla="*/ 497227 w 4519987"/>
                    <a:gd name="connsiteY75" fmla="*/ 828675 h 4429225"/>
                    <a:gd name="connsiteX76" fmla="*/ 535327 w 4519987"/>
                    <a:gd name="connsiteY76" fmla="*/ 800100 h 4429225"/>
                    <a:gd name="connsiteX77" fmla="*/ 602002 w 4519987"/>
                    <a:gd name="connsiteY77" fmla="*/ 733425 h 4429225"/>
                    <a:gd name="connsiteX78" fmla="*/ 668677 w 4519987"/>
                    <a:gd name="connsiteY78" fmla="*/ 676275 h 4429225"/>
                    <a:gd name="connsiteX79" fmla="*/ 697252 w 4519987"/>
                    <a:gd name="connsiteY79" fmla="*/ 657225 h 4429225"/>
                    <a:gd name="connsiteX80" fmla="*/ 840127 w 4519987"/>
                    <a:gd name="connsiteY80" fmla="*/ 533400 h 4429225"/>
                    <a:gd name="connsiteX81" fmla="*/ 887752 w 4519987"/>
                    <a:gd name="connsiteY81" fmla="*/ 504825 h 4429225"/>
                    <a:gd name="connsiteX82" fmla="*/ 1167152 w 4519987"/>
                    <a:gd name="connsiteY82" fmla="*/ 311150 h 4429225"/>
                    <a:gd name="connsiteX83" fmla="*/ 1268752 w 4519987"/>
                    <a:gd name="connsiteY83" fmla="*/ 285750 h 4429225"/>
                    <a:gd name="connsiteX84" fmla="*/ 1411627 w 4519987"/>
                    <a:gd name="connsiteY84" fmla="*/ 190500 h 4429225"/>
                    <a:gd name="connsiteX85" fmla="*/ 1449727 w 4519987"/>
                    <a:gd name="connsiteY85" fmla="*/ 161925 h 4429225"/>
                    <a:gd name="connsiteX86" fmla="*/ 1525927 w 4519987"/>
                    <a:gd name="connsiteY86" fmla="*/ 152400 h 4429225"/>
                    <a:gd name="connsiteX87" fmla="*/ 1583077 w 4519987"/>
                    <a:gd name="connsiteY87" fmla="*/ 142875 h 4429225"/>
                    <a:gd name="connsiteX88" fmla="*/ 1716427 w 4519987"/>
                    <a:gd name="connsiteY88" fmla="*/ 123825 h 4429225"/>
                    <a:gd name="connsiteX89" fmla="*/ 1811677 w 4519987"/>
                    <a:gd name="connsiteY89" fmla="*/ 114300 h 4429225"/>
                    <a:gd name="connsiteX90" fmla="*/ 1859302 w 4519987"/>
                    <a:gd name="connsiteY90" fmla="*/ 104775 h 4429225"/>
                    <a:gd name="connsiteX91" fmla="*/ 1916452 w 4519987"/>
                    <a:gd name="connsiteY91" fmla="*/ 95250 h 4429225"/>
                    <a:gd name="connsiteX92" fmla="*/ 2030752 w 4519987"/>
                    <a:gd name="connsiteY92" fmla="*/ 66675 h 4429225"/>
                    <a:gd name="connsiteX93" fmla="*/ 2097427 w 4519987"/>
                    <a:gd name="connsiteY93" fmla="*/ 47625 h 4429225"/>
                    <a:gd name="connsiteX94" fmla="*/ 2164102 w 4519987"/>
                    <a:gd name="connsiteY94" fmla="*/ 38100 h 4429225"/>
                    <a:gd name="connsiteX95" fmla="*/ 2392702 w 4519987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49994 w 4501379"/>
                    <a:gd name="connsiteY55" fmla="*/ 2724150 h 4429225"/>
                    <a:gd name="connsiteX56" fmla="*/ 56344 w 4501379"/>
                    <a:gd name="connsiteY56" fmla="*/ 2368550 h 4429225"/>
                    <a:gd name="connsiteX57" fmla="*/ 2369 w 4501379"/>
                    <a:gd name="connsiteY57" fmla="*/ 1905000 h 4429225"/>
                    <a:gd name="connsiteX58" fmla="*/ 11894 w 4501379"/>
                    <a:gd name="connsiteY58" fmla="*/ 1838325 h 4429225"/>
                    <a:gd name="connsiteX59" fmla="*/ 30944 w 4501379"/>
                    <a:gd name="connsiteY59" fmla="*/ 1781175 h 4429225"/>
                    <a:gd name="connsiteX60" fmla="*/ 40469 w 4501379"/>
                    <a:gd name="connsiteY60" fmla="*/ 1743075 h 4429225"/>
                    <a:gd name="connsiteX61" fmla="*/ 59519 w 4501379"/>
                    <a:gd name="connsiteY61" fmla="*/ 1685925 h 4429225"/>
                    <a:gd name="connsiteX62" fmla="*/ 69044 w 4501379"/>
                    <a:gd name="connsiteY62" fmla="*/ 1638300 h 4429225"/>
                    <a:gd name="connsiteX63" fmla="*/ 88094 w 4501379"/>
                    <a:gd name="connsiteY63" fmla="*/ 1590675 h 4429225"/>
                    <a:gd name="connsiteX64" fmla="*/ 116669 w 4501379"/>
                    <a:gd name="connsiteY64" fmla="*/ 1504950 h 4429225"/>
                    <a:gd name="connsiteX65" fmla="*/ 135719 w 4501379"/>
                    <a:gd name="connsiteY65" fmla="*/ 1419225 h 4429225"/>
                    <a:gd name="connsiteX66" fmla="*/ 211919 w 4501379"/>
                    <a:gd name="connsiteY66" fmla="*/ 1276350 h 4429225"/>
                    <a:gd name="connsiteX67" fmla="*/ 221444 w 4501379"/>
                    <a:gd name="connsiteY67" fmla="*/ 1247775 h 4429225"/>
                    <a:gd name="connsiteX68" fmla="*/ 250019 w 4501379"/>
                    <a:gd name="connsiteY68" fmla="*/ 1200150 h 4429225"/>
                    <a:gd name="connsiteX69" fmla="*/ 269069 w 4501379"/>
                    <a:gd name="connsiteY69" fmla="*/ 1152525 h 4429225"/>
                    <a:gd name="connsiteX70" fmla="*/ 297644 w 4501379"/>
                    <a:gd name="connsiteY70" fmla="*/ 1114425 h 4429225"/>
                    <a:gd name="connsiteX71" fmla="*/ 345269 w 4501379"/>
                    <a:gd name="connsiteY71" fmla="*/ 1038225 h 4429225"/>
                    <a:gd name="connsiteX72" fmla="*/ 364319 w 4501379"/>
                    <a:gd name="connsiteY72" fmla="*/ 1009650 h 4429225"/>
                    <a:gd name="connsiteX73" fmla="*/ 421469 w 4501379"/>
                    <a:gd name="connsiteY73" fmla="*/ 904875 h 4429225"/>
                    <a:gd name="connsiteX74" fmla="*/ 459569 w 4501379"/>
                    <a:gd name="connsiteY74" fmla="*/ 857250 h 4429225"/>
                    <a:gd name="connsiteX75" fmla="*/ 478619 w 4501379"/>
                    <a:gd name="connsiteY75" fmla="*/ 828675 h 4429225"/>
                    <a:gd name="connsiteX76" fmla="*/ 516719 w 4501379"/>
                    <a:gd name="connsiteY76" fmla="*/ 800100 h 4429225"/>
                    <a:gd name="connsiteX77" fmla="*/ 583394 w 4501379"/>
                    <a:gd name="connsiteY77" fmla="*/ 733425 h 4429225"/>
                    <a:gd name="connsiteX78" fmla="*/ 650069 w 4501379"/>
                    <a:gd name="connsiteY78" fmla="*/ 676275 h 4429225"/>
                    <a:gd name="connsiteX79" fmla="*/ 678644 w 4501379"/>
                    <a:gd name="connsiteY79" fmla="*/ 657225 h 4429225"/>
                    <a:gd name="connsiteX80" fmla="*/ 821519 w 4501379"/>
                    <a:gd name="connsiteY80" fmla="*/ 533400 h 4429225"/>
                    <a:gd name="connsiteX81" fmla="*/ 869144 w 4501379"/>
                    <a:gd name="connsiteY81" fmla="*/ 504825 h 4429225"/>
                    <a:gd name="connsiteX82" fmla="*/ 1148544 w 4501379"/>
                    <a:gd name="connsiteY82" fmla="*/ 311150 h 4429225"/>
                    <a:gd name="connsiteX83" fmla="*/ 1250144 w 4501379"/>
                    <a:gd name="connsiteY83" fmla="*/ 285750 h 4429225"/>
                    <a:gd name="connsiteX84" fmla="*/ 1393019 w 4501379"/>
                    <a:gd name="connsiteY84" fmla="*/ 190500 h 4429225"/>
                    <a:gd name="connsiteX85" fmla="*/ 1431119 w 4501379"/>
                    <a:gd name="connsiteY85" fmla="*/ 161925 h 4429225"/>
                    <a:gd name="connsiteX86" fmla="*/ 1507319 w 4501379"/>
                    <a:gd name="connsiteY86" fmla="*/ 152400 h 4429225"/>
                    <a:gd name="connsiteX87" fmla="*/ 1564469 w 4501379"/>
                    <a:gd name="connsiteY87" fmla="*/ 142875 h 4429225"/>
                    <a:gd name="connsiteX88" fmla="*/ 1697819 w 4501379"/>
                    <a:gd name="connsiteY88" fmla="*/ 123825 h 4429225"/>
                    <a:gd name="connsiteX89" fmla="*/ 1793069 w 4501379"/>
                    <a:gd name="connsiteY89" fmla="*/ 114300 h 4429225"/>
                    <a:gd name="connsiteX90" fmla="*/ 1840694 w 4501379"/>
                    <a:gd name="connsiteY90" fmla="*/ 104775 h 4429225"/>
                    <a:gd name="connsiteX91" fmla="*/ 1897844 w 4501379"/>
                    <a:gd name="connsiteY91" fmla="*/ 95250 h 4429225"/>
                    <a:gd name="connsiteX92" fmla="*/ 2012144 w 4501379"/>
                    <a:gd name="connsiteY92" fmla="*/ 66675 h 4429225"/>
                    <a:gd name="connsiteX93" fmla="*/ 2078819 w 4501379"/>
                    <a:gd name="connsiteY93" fmla="*/ 47625 h 4429225"/>
                    <a:gd name="connsiteX94" fmla="*/ 2145494 w 4501379"/>
                    <a:gd name="connsiteY94" fmla="*/ 38100 h 4429225"/>
                    <a:gd name="connsiteX95" fmla="*/ 2374094 w 4501379"/>
                    <a:gd name="connsiteY95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202394 w 4501379"/>
                    <a:gd name="connsiteY53" fmla="*/ 3105150 h 4429225"/>
                    <a:gd name="connsiteX54" fmla="*/ 126194 w 4501379"/>
                    <a:gd name="connsiteY54" fmla="*/ 2924175 h 4429225"/>
                    <a:gd name="connsiteX55" fmla="*/ 56344 w 4501379"/>
                    <a:gd name="connsiteY55" fmla="*/ 2368550 h 4429225"/>
                    <a:gd name="connsiteX56" fmla="*/ 2369 w 4501379"/>
                    <a:gd name="connsiteY56" fmla="*/ 1905000 h 4429225"/>
                    <a:gd name="connsiteX57" fmla="*/ 11894 w 4501379"/>
                    <a:gd name="connsiteY57" fmla="*/ 1838325 h 4429225"/>
                    <a:gd name="connsiteX58" fmla="*/ 30944 w 4501379"/>
                    <a:gd name="connsiteY58" fmla="*/ 1781175 h 4429225"/>
                    <a:gd name="connsiteX59" fmla="*/ 40469 w 4501379"/>
                    <a:gd name="connsiteY59" fmla="*/ 1743075 h 4429225"/>
                    <a:gd name="connsiteX60" fmla="*/ 59519 w 4501379"/>
                    <a:gd name="connsiteY60" fmla="*/ 1685925 h 4429225"/>
                    <a:gd name="connsiteX61" fmla="*/ 69044 w 4501379"/>
                    <a:gd name="connsiteY61" fmla="*/ 1638300 h 4429225"/>
                    <a:gd name="connsiteX62" fmla="*/ 88094 w 4501379"/>
                    <a:gd name="connsiteY62" fmla="*/ 1590675 h 4429225"/>
                    <a:gd name="connsiteX63" fmla="*/ 116669 w 4501379"/>
                    <a:gd name="connsiteY63" fmla="*/ 1504950 h 4429225"/>
                    <a:gd name="connsiteX64" fmla="*/ 135719 w 4501379"/>
                    <a:gd name="connsiteY64" fmla="*/ 1419225 h 4429225"/>
                    <a:gd name="connsiteX65" fmla="*/ 211919 w 4501379"/>
                    <a:gd name="connsiteY65" fmla="*/ 1276350 h 4429225"/>
                    <a:gd name="connsiteX66" fmla="*/ 221444 w 4501379"/>
                    <a:gd name="connsiteY66" fmla="*/ 1247775 h 4429225"/>
                    <a:gd name="connsiteX67" fmla="*/ 250019 w 4501379"/>
                    <a:gd name="connsiteY67" fmla="*/ 1200150 h 4429225"/>
                    <a:gd name="connsiteX68" fmla="*/ 269069 w 4501379"/>
                    <a:gd name="connsiteY68" fmla="*/ 1152525 h 4429225"/>
                    <a:gd name="connsiteX69" fmla="*/ 297644 w 4501379"/>
                    <a:gd name="connsiteY69" fmla="*/ 1114425 h 4429225"/>
                    <a:gd name="connsiteX70" fmla="*/ 345269 w 4501379"/>
                    <a:gd name="connsiteY70" fmla="*/ 1038225 h 4429225"/>
                    <a:gd name="connsiteX71" fmla="*/ 364319 w 4501379"/>
                    <a:gd name="connsiteY71" fmla="*/ 1009650 h 4429225"/>
                    <a:gd name="connsiteX72" fmla="*/ 421469 w 4501379"/>
                    <a:gd name="connsiteY72" fmla="*/ 904875 h 4429225"/>
                    <a:gd name="connsiteX73" fmla="*/ 459569 w 4501379"/>
                    <a:gd name="connsiteY73" fmla="*/ 857250 h 4429225"/>
                    <a:gd name="connsiteX74" fmla="*/ 478619 w 4501379"/>
                    <a:gd name="connsiteY74" fmla="*/ 828675 h 4429225"/>
                    <a:gd name="connsiteX75" fmla="*/ 516719 w 4501379"/>
                    <a:gd name="connsiteY75" fmla="*/ 800100 h 4429225"/>
                    <a:gd name="connsiteX76" fmla="*/ 583394 w 4501379"/>
                    <a:gd name="connsiteY76" fmla="*/ 733425 h 4429225"/>
                    <a:gd name="connsiteX77" fmla="*/ 650069 w 4501379"/>
                    <a:gd name="connsiteY77" fmla="*/ 676275 h 4429225"/>
                    <a:gd name="connsiteX78" fmla="*/ 678644 w 4501379"/>
                    <a:gd name="connsiteY78" fmla="*/ 657225 h 4429225"/>
                    <a:gd name="connsiteX79" fmla="*/ 821519 w 4501379"/>
                    <a:gd name="connsiteY79" fmla="*/ 533400 h 4429225"/>
                    <a:gd name="connsiteX80" fmla="*/ 869144 w 4501379"/>
                    <a:gd name="connsiteY80" fmla="*/ 504825 h 4429225"/>
                    <a:gd name="connsiteX81" fmla="*/ 1148544 w 4501379"/>
                    <a:gd name="connsiteY81" fmla="*/ 311150 h 4429225"/>
                    <a:gd name="connsiteX82" fmla="*/ 1250144 w 4501379"/>
                    <a:gd name="connsiteY82" fmla="*/ 285750 h 4429225"/>
                    <a:gd name="connsiteX83" fmla="*/ 1393019 w 4501379"/>
                    <a:gd name="connsiteY83" fmla="*/ 190500 h 4429225"/>
                    <a:gd name="connsiteX84" fmla="*/ 1431119 w 4501379"/>
                    <a:gd name="connsiteY84" fmla="*/ 161925 h 4429225"/>
                    <a:gd name="connsiteX85" fmla="*/ 1507319 w 4501379"/>
                    <a:gd name="connsiteY85" fmla="*/ 152400 h 4429225"/>
                    <a:gd name="connsiteX86" fmla="*/ 1564469 w 4501379"/>
                    <a:gd name="connsiteY86" fmla="*/ 142875 h 4429225"/>
                    <a:gd name="connsiteX87" fmla="*/ 1697819 w 4501379"/>
                    <a:gd name="connsiteY87" fmla="*/ 123825 h 4429225"/>
                    <a:gd name="connsiteX88" fmla="*/ 1793069 w 4501379"/>
                    <a:gd name="connsiteY88" fmla="*/ 114300 h 4429225"/>
                    <a:gd name="connsiteX89" fmla="*/ 1840694 w 4501379"/>
                    <a:gd name="connsiteY89" fmla="*/ 104775 h 4429225"/>
                    <a:gd name="connsiteX90" fmla="*/ 1897844 w 4501379"/>
                    <a:gd name="connsiteY90" fmla="*/ 95250 h 4429225"/>
                    <a:gd name="connsiteX91" fmla="*/ 2012144 w 4501379"/>
                    <a:gd name="connsiteY91" fmla="*/ 66675 h 4429225"/>
                    <a:gd name="connsiteX92" fmla="*/ 2078819 w 4501379"/>
                    <a:gd name="connsiteY92" fmla="*/ 47625 h 4429225"/>
                    <a:gd name="connsiteX93" fmla="*/ 2145494 w 4501379"/>
                    <a:gd name="connsiteY93" fmla="*/ 38100 h 4429225"/>
                    <a:gd name="connsiteX94" fmla="*/ 2374094 w 4501379"/>
                    <a:gd name="connsiteY94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26194 w 4501379"/>
                    <a:gd name="connsiteY53" fmla="*/ 292417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259544 w 4501379"/>
                    <a:gd name="connsiteY52" fmla="*/ 32575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2146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3576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0519 w 4501379"/>
                    <a:gd name="connsiteY51" fmla="*/ 34956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678644 w 4501379"/>
                    <a:gd name="connsiteY49" fmla="*/ 3838575 h 4429225"/>
                    <a:gd name="connsiteX50" fmla="*/ 592919 w 4501379"/>
                    <a:gd name="connsiteY50" fmla="*/ 3657600 h 4429225"/>
                    <a:gd name="connsiteX51" fmla="*/ 446869 w 4501379"/>
                    <a:gd name="connsiteY51" fmla="*/ 3470275 h 4429225"/>
                    <a:gd name="connsiteX52" fmla="*/ 316694 w 4501379"/>
                    <a:gd name="connsiteY52" fmla="*/ 3244850 h 4429225"/>
                    <a:gd name="connsiteX53" fmla="*/ 164294 w 4501379"/>
                    <a:gd name="connsiteY53" fmla="*/ 2892425 h 4429225"/>
                    <a:gd name="connsiteX54" fmla="*/ 56344 w 4501379"/>
                    <a:gd name="connsiteY54" fmla="*/ 2368550 h 4429225"/>
                    <a:gd name="connsiteX55" fmla="*/ 2369 w 4501379"/>
                    <a:gd name="connsiteY55" fmla="*/ 1905000 h 4429225"/>
                    <a:gd name="connsiteX56" fmla="*/ 11894 w 4501379"/>
                    <a:gd name="connsiteY56" fmla="*/ 1838325 h 4429225"/>
                    <a:gd name="connsiteX57" fmla="*/ 30944 w 4501379"/>
                    <a:gd name="connsiteY57" fmla="*/ 1781175 h 4429225"/>
                    <a:gd name="connsiteX58" fmla="*/ 40469 w 4501379"/>
                    <a:gd name="connsiteY58" fmla="*/ 1743075 h 4429225"/>
                    <a:gd name="connsiteX59" fmla="*/ 59519 w 4501379"/>
                    <a:gd name="connsiteY59" fmla="*/ 1685925 h 4429225"/>
                    <a:gd name="connsiteX60" fmla="*/ 69044 w 4501379"/>
                    <a:gd name="connsiteY60" fmla="*/ 1638300 h 4429225"/>
                    <a:gd name="connsiteX61" fmla="*/ 88094 w 4501379"/>
                    <a:gd name="connsiteY61" fmla="*/ 1590675 h 4429225"/>
                    <a:gd name="connsiteX62" fmla="*/ 116669 w 4501379"/>
                    <a:gd name="connsiteY62" fmla="*/ 1504950 h 4429225"/>
                    <a:gd name="connsiteX63" fmla="*/ 135719 w 4501379"/>
                    <a:gd name="connsiteY63" fmla="*/ 1419225 h 4429225"/>
                    <a:gd name="connsiteX64" fmla="*/ 211919 w 4501379"/>
                    <a:gd name="connsiteY64" fmla="*/ 1276350 h 4429225"/>
                    <a:gd name="connsiteX65" fmla="*/ 221444 w 4501379"/>
                    <a:gd name="connsiteY65" fmla="*/ 1247775 h 4429225"/>
                    <a:gd name="connsiteX66" fmla="*/ 250019 w 4501379"/>
                    <a:gd name="connsiteY66" fmla="*/ 1200150 h 4429225"/>
                    <a:gd name="connsiteX67" fmla="*/ 269069 w 4501379"/>
                    <a:gd name="connsiteY67" fmla="*/ 1152525 h 4429225"/>
                    <a:gd name="connsiteX68" fmla="*/ 297644 w 4501379"/>
                    <a:gd name="connsiteY68" fmla="*/ 1114425 h 4429225"/>
                    <a:gd name="connsiteX69" fmla="*/ 345269 w 4501379"/>
                    <a:gd name="connsiteY69" fmla="*/ 1038225 h 4429225"/>
                    <a:gd name="connsiteX70" fmla="*/ 364319 w 4501379"/>
                    <a:gd name="connsiteY70" fmla="*/ 1009650 h 4429225"/>
                    <a:gd name="connsiteX71" fmla="*/ 421469 w 4501379"/>
                    <a:gd name="connsiteY71" fmla="*/ 904875 h 4429225"/>
                    <a:gd name="connsiteX72" fmla="*/ 459569 w 4501379"/>
                    <a:gd name="connsiteY72" fmla="*/ 857250 h 4429225"/>
                    <a:gd name="connsiteX73" fmla="*/ 478619 w 4501379"/>
                    <a:gd name="connsiteY73" fmla="*/ 828675 h 4429225"/>
                    <a:gd name="connsiteX74" fmla="*/ 516719 w 4501379"/>
                    <a:gd name="connsiteY74" fmla="*/ 800100 h 4429225"/>
                    <a:gd name="connsiteX75" fmla="*/ 583394 w 4501379"/>
                    <a:gd name="connsiteY75" fmla="*/ 733425 h 4429225"/>
                    <a:gd name="connsiteX76" fmla="*/ 650069 w 4501379"/>
                    <a:gd name="connsiteY76" fmla="*/ 676275 h 4429225"/>
                    <a:gd name="connsiteX77" fmla="*/ 678644 w 4501379"/>
                    <a:gd name="connsiteY77" fmla="*/ 657225 h 4429225"/>
                    <a:gd name="connsiteX78" fmla="*/ 821519 w 4501379"/>
                    <a:gd name="connsiteY78" fmla="*/ 533400 h 4429225"/>
                    <a:gd name="connsiteX79" fmla="*/ 869144 w 4501379"/>
                    <a:gd name="connsiteY79" fmla="*/ 504825 h 4429225"/>
                    <a:gd name="connsiteX80" fmla="*/ 1148544 w 4501379"/>
                    <a:gd name="connsiteY80" fmla="*/ 311150 h 4429225"/>
                    <a:gd name="connsiteX81" fmla="*/ 1250144 w 4501379"/>
                    <a:gd name="connsiteY81" fmla="*/ 285750 h 4429225"/>
                    <a:gd name="connsiteX82" fmla="*/ 1393019 w 4501379"/>
                    <a:gd name="connsiteY82" fmla="*/ 190500 h 4429225"/>
                    <a:gd name="connsiteX83" fmla="*/ 1431119 w 4501379"/>
                    <a:gd name="connsiteY83" fmla="*/ 161925 h 4429225"/>
                    <a:gd name="connsiteX84" fmla="*/ 1507319 w 4501379"/>
                    <a:gd name="connsiteY84" fmla="*/ 152400 h 4429225"/>
                    <a:gd name="connsiteX85" fmla="*/ 1564469 w 4501379"/>
                    <a:gd name="connsiteY85" fmla="*/ 142875 h 4429225"/>
                    <a:gd name="connsiteX86" fmla="*/ 1697819 w 4501379"/>
                    <a:gd name="connsiteY86" fmla="*/ 123825 h 4429225"/>
                    <a:gd name="connsiteX87" fmla="*/ 1793069 w 4501379"/>
                    <a:gd name="connsiteY87" fmla="*/ 114300 h 4429225"/>
                    <a:gd name="connsiteX88" fmla="*/ 1840694 w 4501379"/>
                    <a:gd name="connsiteY88" fmla="*/ 104775 h 4429225"/>
                    <a:gd name="connsiteX89" fmla="*/ 1897844 w 4501379"/>
                    <a:gd name="connsiteY89" fmla="*/ 95250 h 4429225"/>
                    <a:gd name="connsiteX90" fmla="*/ 2012144 w 4501379"/>
                    <a:gd name="connsiteY90" fmla="*/ 66675 h 4429225"/>
                    <a:gd name="connsiteX91" fmla="*/ 2078819 w 4501379"/>
                    <a:gd name="connsiteY91" fmla="*/ 47625 h 4429225"/>
                    <a:gd name="connsiteX92" fmla="*/ 2145494 w 4501379"/>
                    <a:gd name="connsiteY92" fmla="*/ 38100 h 4429225"/>
                    <a:gd name="connsiteX93" fmla="*/ 2374094 w 4501379"/>
                    <a:gd name="connsiteY93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811994 w 4501379"/>
                    <a:gd name="connsiteY48" fmla="*/ 39814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069169 w 4501379"/>
                    <a:gd name="connsiteY47" fmla="*/ 414337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269194 w 4501379"/>
                    <a:gd name="connsiteY46" fmla="*/ 42291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25"/>
                    <a:gd name="connsiteX1" fmla="*/ 2402669 w 4501379"/>
                    <a:gd name="connsiteY1" fmla="*/ 28575 h 4429225"/>
                    <a:gd name="connsiteX2" fmla="*/ 2478869 w 4501379"/>
                    <a:gd name="connsiteY2" fmla="*/ 47625 h 4429225"/>
                    <a:gd name="connsiteX3" fmla="*/ 2736044 w 4501379"/>
                    <a:gd name="connsiteY3" fmla="*/ 66675 h 4429225"/>
                    <a:gd name="connsiteX4" fmla="*/ 2812244 w 4501379"/>
                    <a:gd name="connsiteY4" fmla="*/ 76200 h 4429225"/>
                    <a:gd name="connsiteX5" fmla="*/ 2897969 w 4501379"/>
                    <a:gd name="connsiteY5" fmla="*/ 85725 h 4429225"/>
                    <a:gd name="connsiteX6" fmla="*/ 2955119 w 4501379"/>
                    <a:gd name="connsiteY6" fmla="*/ 114300 h 4429225"/>
                    <a:gd name="connsiteX7" fmla="*/ 2993219 w 4501379"/>
                    <a:gd name="connsiteY7" fmla="*/ 123825 h 4429225"/>
                    <a:gd name="connsiteX8" fmla="*/ 3117044 w 4501379"/>
                    <a:gd name="connsiteY8" fmla="*/ 171450 h 4429225"/>
                    <a:gd name="connsiteX9" fmla="*/ 3155144 w 4501379"/>
                    <a:gd name="connsiteY9" fmla="*/ 190500 h 4429225"/>
                    <a:gd name="connsiteX10" fmla="*/ 3221819 w 4501379"/>
                    <a:gd name="connsiteY10" fmla="*/ 228600 h 4429225"/>
                    <a:gd name="connsiteX11" fmla="*/ 3250394 w 4501379"/>
                    <a:gd name="connsiteY11" fmla="*/ 238125 h 4429225"/>
                    <a:gd name="connsiteX12" fmla="*/ 3278969 w 4501379"/>
                    <a:gd name="connsiteY12" fmla="*/ 257175 h 4429225"/>
                    <a:gd name="connsiteX13" fmla="*/ 3307544 w 4501379"/>
                    <a:gd name="connsiteY13" fmla="*/ 266700 h 4429225"/>
                    <a:gd name="connsiteX14" fmla="*/ 3336119 w 4501379"/>
                    <a:gd name="connsiteY14" fmla="*/ 285750 h 4429225"/>
                    <a:gd name="connsiteX15" fmla="*/ 3402794 w 4501379"/>
                    <a:gd name="connsiteY15" fmla="*/ 323850 h 4429225"/>
                    <a:gd name="connsiteX16" fmla="*/ 3450419 w 4501379"/>
                    <a:gd name="connsiteY16" fmla="*/ 361950 h 4429225"/>
                    <a:gd name="connsiteX17" fmla="*/ 3498044 w 4501379"/>
                    <a:gd name="connsiteY17" fmla="*/ 390525 h 4429225"/>
                    <a:gd name="connsiteX18" fmla="*/ 3612344 w 4501379"/>
                    <a:gd name="connsiteY18" fmla="*/ 485775 h 4429225"/>
                    <a:gd name="connsiteX19" fmla="*/ 3726644 w 4501379"/>
                    <a:gd name="connsiteY19" fmla="*/ 542925 h 4429225"/>
                    <a:gd name="connsiteX20" fmla="*/ 3793319 w 4501379"/>
                    <a:gd name="connsiteY20" fmla="*/ 581025 h 4429225"/>
                    <a:gd name="connsiteX21" fmla="*/ 4009219 w 4501379"/>
                    <a:gd name="connsiteY21" fmla="*/ 819150 h 4429225"/>
                    <a:gd name="connsiteX22" fmla="*/ 4145744 w 4501379"/>
                    <a:gd name="connsiteY22" fmla="*/ 990600 h 4429225"/>
                    <a:gd name="connsiteX23" fmla="*/ 4231469 w 4501379"/>
                    <a:gd name="connsiteY23" fmla="*/ 1143000 h 4429225"/>
                    <a:gd name="connsiteX24" fmla="*/ 4288619 w 4501379"/>
                    <a:gd name="connsiteY24" fmla="*/ 1266825 h 4429225"/>
                    <a:gd name="connsiteX25" fmla="*/ 4326719 w 4501379"/>
                    <a:gd name="connsiteY25" fmla="*/ 1362075 h 4429225"/>
                    <a:gd name="connsiteX26" fmla="*/ 4374344 w 4501379"/>
                    <a:gd name="connsiteY26" fmla="*/ 1552575 h 4429225"/>
                    <a:gd name="connsiteX27" fmla="*/ 4412444 w 4501379"/>
                    <a:gd name="connsiteY27" fmla="*/ 1685925 h 4429225"/>
                    <a:gd name="connsiteX28" fmla="*/ 4501344 w 4501379"/>
                    <a:gd name="connsiteY28" fmla="*/ 2181225 h 4429225"/>
                    <a:gd name="connsiteX29" fmla="*/ 4428319 w 4501379"/>
                    <a:gd name="connsiteY29" fmla="*/ 2768600 h 4429225"/>
                    <a:gd name="connsiteX30" fmla="*/ 4364819 w 4501379"/>
                    <a:gd name="connsiteY30" fmla="*/ 2990850 h 4429225"/>
                    <a:gd name="connsiteX31" fmla="*/ 4260044 w 4501379"/>
                    <a:gd name="connsiteY31" fmla="*/ 3248025 h 4429225"/>
                    <a:gd name="connsiteX32" fmla="*/ 4164794 w 4501379"/>
                    <a:gd name="connsiteY32" fmla="*/ 3400425 h 4429225"/>
                    <a:gd name="connsiteX33" fmla="*/ 4040969 w 4501379"/>
                    <a:gd name="connsiteY33" fmla="*/ 3533775 h 4429225"/>
                    <a:gd name="connsiteX34" fmla="*/ 3936194 w 4501379"/>
                    <a:gd name="connsiteY34" fmla="*/ 3648075 h 4429225"/>
                    <a:gd name="connsiteX35" fmla="*/ 3640919 w 4501379"/>
                    <a:gd name="connsiteY35" fmla="*/ 3971925 h 4429225"/>
                    <a:gd name="connsiteX36" fmla="*/ 3498044 w 4501379"/>
                    <a:gd name="connsiteY36" fmla="*/ 4083050 h 4429225"/>
                    <a:gd name="connsiteX37" fmla="*/ 3202769 w 4501379"/>
                    <a:gd name="connsiteY37" fmla="*/ 4222750 h 4429225"/>
                    <a:gd name="connsiteX38" fmla="*/ 3050369 w 4501379"/>
                    <a:gd name="connsiteY38" fmla="*/ 4286250 h 4429225"/>
                    <a:gd name="connsiteX39" fmla="*/ 2917019 w 4501379"/>
                    <a:gd name="connsiteY39" fmla="*/ 4333875 h 4429225"/>
                    <a:gd name="connsiteX40" fmla="*/ 2793194 w 4501379"/>
                    <a:gd name="connsiteY40" fmla="*/ 4371975 h 4429225"/>
                    <a:gd name="connsiteX41" fmla="*/ 2561419 w 4501379"/>
                    <a:gd name="connsiteY41" fmla="*/ 4391025 h 4429225"/>
                    <a:gd name="connsiteX42" fmla="*/ 2107394 w 4501379"/>
                    <a:gd name="connsiteY42" fmla="*/ 4429125 h 4429225"/>
                    <a:gd name="connsiteX43" fmla="*/ 1916894 w 4501379"/>
                    <a:gd name="connsiteY43" fmla="*/ 4400550 h 4429225"/>
                    <a:gd name="connsiteX44" fmla="*/ 1735919 w 4501379"/>
                    <a:gd name="connsiteY44" fmla="*/ 4352925 h 4429225"/>
                    <a:gd name="connsiteX45" fmla="*/ 1554944 w 4501379"/>
                    <a:gd name="connsiteY45" fmla="*/ 4305300 h 4429225"/>
                    <a:gd name="connsiteX46" fmla="*/ 1313644 w 4501379"/>
                    <a:gd name="connsiteY46" fmla="*/ 4216400 h 4429225"/>
                    <a:gd name="connsiteX47" fmla="*/ 1145369 w 4501379"/>
                    <a:gd name="connsiteY47" fmla="*/ 4111625 h 4429225"/>
                    <a:gd name="connsiteX48" fmla="*/ 926294 w 4501379"/>
                    <a:gd name="connsiteY48" fmla="*/ 3968750 h 4429225"/>
                    <a:gd name="connsiteX49" fmla="*/ 592919 w 4501379"/>
                    <a:gd name="connsiteY49" fmla="*/ 3657600 h 4429225"/>
                    <a:gd name="connsiteX50" fmla="*/ 446869 w 4501379"/>
                    <a:gd name="connsiteY50" fmla="*/ 3470275 h 4429225"/>
                    <a:gd name="connsiteX51" fmla="*/ 316694 w 4501379"/>
                    <a:gd name="connsiteY51" fmla="*/ 3244850 h 4429225"/>
                    <a:gd name="connsiteX52" fmla="*/ 164294 w 4501379"/>
                    <a:gd name="connsiteY52" fmla="*/ 2892425 h 4429225"/>
                    <a:gd name="connsiteX53" fmla="*/ 56344 w 4501379"/>
                    <a:gd name="connsiteY53" fmla="*/ 2368550 h 4429225"/>
                    <a:gd name="connsiteX54" fmla="*/ 2369 w 4501379"/>
                    <a:gd name="connsiteY54" fmla="*/ 1905000 h 4429225"/>
                    <a:gd name="connsiteX55" fmla="*/ 11894 w 4501379"/>
                    <a:gd name="connsiteY55" fmla="*/ 1838325 h 4429225"/>
                    <a:gd name="connsiteX56" fmla="*/ 30944 w 4501379"/>
                    <a:gd name="connsiteY56" fmla="*/ 1781175 h 4429225"/>
                    <a:gd name="connsiteX57" fmla="*/ 40469 w 4501379"/>
                    <a:gd name="connsiteY57" fmla="*/ 1743075 h 4429225"/>
                    <a:gd name="connsiteX58" fmla="*/ 59519 w 4501379"/>
                    <a:gd name="connsiteY58" fmla="*/ 1685925 h 4429225"/>
                    <a:gd name="connsiteX59" fmla="*/ 69044 w 4501379"/>
                    <a:gd name="connsiteY59" fmla="*/ 1638300 h 4429225"/>
                    <a:gd name="connsiteX60" fmla="*/ 88094 w 4501379"/>
                    <a:gd name="connsiteY60" fmla="*/ 1590675 h 4429225"/>
                    <a:gd name="connsiteX61" fmla="*/ 116669 w 4501379"/>
                    <a:gd name="connsiteY61" fmla="*/ 1504950 h 4429225"/>
                    <a:gd name="connsiteX62" fmla="*/ 135719 w 4501379"/>
                    <a:gd name="connsiteY62" fmla="*/ 1419225 h 4429225"/>
                    <a:gd name="connsiteX63" fmla="*/ 211919 w 4501379"/>
                    <a:gd name="connsiteY63" fmla="*/ 1276350 h 4429225"/>
                    <a:gd name="connsiteX64" fmla="*/ 221444 w 4501379"/>
                    <a:gd name="connsiteY64" fmla="*/ 1247775 h 4429225"/>
                    <a:gd name="connsiteX65" fmla="*/ 250019 w 4501379"/>
                    <a:gd name="connsiteY65" fmla="*/ 1200150 h 4429225"/>
                    <a:gd name="connsiteX66" fmla="*/ 269069 w 4501379"/>
                    <a:gd name="connsiteY66" fmla="*/ 1152525 h 4429225"/>
                    <a:gd name="connsiteX67" fmla="*/ 297644 w 4501379"/>
                    <a:gd name="connsiteY67" fmla="*/ 1114425 h 4429225"/>
                    <a:gd name="connsiteX68" fmla="*/ 345269 w 4501379"/>
                    <a:gd name="connsiteY68" fmla="*/ 1038225 h 4429225"/>
                    <a:gd name="connsiteX69" fmla="*/ 364319 w 4501379"/>
                    <a:gd name="connsiteY69" fmla="*/ 1009650 h 4429225"/>
                    <a:gd name="connsiteX70" fmla="*/ 421469 w 4501379"/>
                    <a:gd name="connsiteY70" fmla="*/ 904875 h 4429225"/>
                    <a:gd name="connsiteX71" fmla="*/ 459569 w 4501379"/>
                    <a:gd name="connsiteY71" fmla="*/ 857250 h 4429225"/>
                    <a:gd name="connsiteX72" fmla="*/ 478619 w 4501379"/>
                    <a:gd name="connsiteY72" fmla="*/ 828675 h 4429225"/>
                    <a:gd name="connsiteX73" fmla="*/ 516719 w 4501379"/>
                    <a:gd name="connsiteY73" fmla="*/ 800100 h 4429225"/>
                    <a:gd name="connsiteX74" fmla="*/ 583394 w 4501379"/>
                    <a:gd name="connsiteY74" fmla="*/ 733425 h 4429225"/>
                    <a:gd name="connsiteX75" fmla="*/ 650069 w 4501379"/>
                    <a:gd name="connsiteY75" fmla="*/ 676275 h 4429225"/>
                    <a:gd name="connsiteX76" fmla="*/ 678644 w 4501379"/>
                    <a:gd name="connsiteY76" fmla="*/ 657225 h 4429225"/>
                    <a:gd name="connsiteX77" fmla="*/ 821519 w 4501379"/>
                    <a:gd name="connsiteY77" fmla="*/ 533400 h 4429225"/>
                    <a:gd name="connsiteX78" fmla="*/ 869144 w 4501379"/>
                    <a:gd name="connsiteY78" fmla="*/ 504825 h 4429225"/>
                    <a:gd name="connsiteX79" fmla="*/ 1148544 w 4501379"/>
                    <a:gd name="connsiteY79" fmla="*/ 311150 h 4429225"/>
                    <a:gd name="connsiteX80" fmla="*/ 1250144 w 4501379"/>
                    <a:gd name="connsiteY80" fmla="*/ 285750 h 4429225"/>
                    <a:gd name="connsiteX81" fmla="*/ 1393019 w 4501379"/>
                    <a:gd name="connsiteY81" fmla="*/ 190500 h 4429225"/>
                    <a:gd name="connsiteX82" fmla="*/ 1431119 w 4501379"/>
                    <a:gd name="connsiteY82" fmla="*/ 161925 h 4429225"/>
                    <a:gd name="connsiteX83" fmla="*/ 1507319 w 4501379"/>
                    <a:gd name="connsiteY83" fmla="*/ 152400 h 4429225"/>
                    <a:gd name="connsiteX84" fmla="*/ 1564469 w 4501379"/>
                    <a:gd name="connsiteY84" fmla="*/ 142875 h 4429225"/>
                    <a:gd name="connsiteX85" fmla="*/ 1697819 w 4501379"/>
                    <a:gd name="connsiteY85" fmla="*/ 123825 h 4429225"/>
                    <a:gd name="connsiteX86" fmla="*/ 1793069 w 4501379"/>
                    <a:gd name="connsiteY86" fmla="*/ 114300 h 4429225"/>
                    <a:gd name="connsiteX87" fmla="*/ 1840694 w 4501379"/>
                    <a:gd name="connsiteY87" fmla="*/ 104775 h 4429225"/>
                    <a:gd name="connsiteX88" fmla="*/ 1897844 w 4501379"/>
                    <a:gd name="connsiteY88" fmla="*/ 95250 h 4429225"/>
                    <a:gd name="connsiteX89" fmla="*/ 2012144 w 4501379"/>
                    <a:gd name="connsiteY89" fmla="*/ 66675 h 4429225"/>
                    <a:gd name="connsiteX90" fmla="*/ 2078819 w 4501379"/>
                    <a:gd name="connsiteY90" fmla="*/ 47625 h 4429225"/>
                    <a:gd name="connsiteX91" fmla="*/ 2145494 w 4501379"/>
                    <a:gd name="connsiteY91" fmla="*/ 38100 h 4429225"/>
                    <a:gd name="connsiteX92" fmla="*/ 2374094 w 4501379"/>
                    <a:gd name="connsiteY92" fmla="*/ 28575 h 4429225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91" fmla="*/ 2374094 w 4501379"/>
                    <a:gd name="connsiteY91" fmla="*/ 28575 h 4429294"/>
                    <a:gd name="connsiteX0" fmla="*/ 2278844 w 4501379"/>
                    <a:gd name="connsiteY0" fmla="*/ 0 h 4429294"/>
                    <a:gd name="connsiteX1" fmla="*/ 2402669 w 4501379"/>
                    <a:gd name="connsiteY1" fmla="*/ 28575 h 4429294"/>
                    <a:gd name="connsiteX2" fmla="*/ 2478869 w 4501379"/>
                    <a:gd name="connsiteY2" fmla="*/ 47625 h 4429294"/>
                    <a:gd name="connsiteX3" fmla="*/ 2736044 w 4501379"/>
                    <a:gd name="connsiteY3" fmla="*/ 66675 h 4429294"/>
                    <a:gd name="connsiteX4" fmla="*/ 2812244 w 4501379"/>
                    <a:gd name="connsiteY4" fmla="*/ 76200 h 4429294"/>
                    <a:gd name="connsiteX5" fmla="*/ 2897969 w 4501379"/>
                    <a:gd name="connsiteY5" fmla="*/ 85725 h 4429294"/>
                    <a:gd name="connsiteX6" fmla="*/ 2955119 w 4501379"/>
                    <a:gd name="connsiteY6" fmla="*/ 114300 h 4429294"/>
                    <a:gd name="connsiteX7" fmla="*/ 2993219 w 4501379"/>
                    <a:gd name="connsiteY7" fmla="*/ 123825 h 4429294"/>
                    <a:gd name="connsiteX8" fmla="*/ 3117044 w 4501379"/>
                    <a:gd name="connsiteY8" fmla="*/ 171450 h 4429294"/>
                    <a:gd name="connsiteX9" fmla="*/ 3155144 w 4501379"/>
                    <a:gd name="connsiteY9" fmla="*/ 190500 h 4429294"/>
                    <a:gd name="connsiteX10" fmla="*/ 3221819 w 4501379"/>
                    <a:gd name="connsiteY10" fmla="*/ 228600 h 4429294"/>
                    <a:gd name="connsiteX11" fmla="*/ 3250394 w 4501379"/>
                    <a:gd name="connsiteY11" fmla="*/ 238125 h 4429294"/>
                    <a:gd name="connsiteX12" fmla="*/ 3278969 w 4501379"/>
                    <a:gd name="connsiteY12" fmla="*/ 257175 h 4429294"/>
                    <a:gd name="connsiteX13" fmla="*/ 3307544 w 4501379"/>
                    <a:gd name="connsiteY13" fmla="*/ 266700 h 4429294"/>
                    <a:gd name="connsiteX14" fmla="*/ 3336119 w 4501379"/>
                    <a:gd name="connsiteY14" fmla="*/ 285750 h 4429294"/>
                    <a:gd name="connsiteX15" fmla="*/ 3402794 w 4501379"/>
                    <a:gd name="connsiteY15" fmla="*/ 323850 h 4429294"/>
                    <a:gd name="connsiteX16" fmla="*/ 3450419 w 4501379"/>
                    <a:gd name="connsiteY16" fmla="*/ 361950 h 4429294"/>
                    <a:gd name="connsiteX17" fmla="*/ 3498044 w 4501379"/>
                    <a:gd name="connsiteY17" fmla="*/ 390525 h 4429294"/>
                    <a:gd name="connsiteX18" fmla="*/ 3612344 w 4501379"/>
                    <a:gd name="connsiteY18" fmla="*/ 485775 h 4429294"/>
                    <a:gd name="connsiteX19" fmla="*/ 3726644 w 4501379"/>
                    <a:gd name="connsiteY19" fmla="*/ 542925 h 4429294"/>
                    <a:gd name="connsiteX20" fmla="*/ 3793319 w 4501379"/>
                    <a:gd name="connsiteY20" fmla="*/ 581025 h 4429294"/>
                    <a:gd name="connsiteX21" fmla="*/ 4009219 w 4501379"/>
                    <a:gd name="connsiteY21" fmla="*/ 819150 h 4429294"/>
                    <a:gd name="connsiteX22" fmla="*/ 4145744 w 4501379"/>
                    <a:gd name="connsiteY22" fmla="*/ 990600 h 4429294"/>
                    <a:gd name="connsiteX23" fmla="*/ 4231469 w 4501379"/>
                    <a:gd name="connsiteY23" fmla="*/ 1143000 h 4429294"/>
                    <a:gd name="connsiteX24" fmla="*/ 4288619 w 4501379"/>
                    <a:gd name="connsiteY24" fmla="*/ 1266825 h 4429294"/>
                    <a:gd name="connsiteX25" fmla="*/ 4326719 w 4501379"/>
                    <a:gd name="connsiteY25" fmla="*/ 1362075 h 4429294"/>
                    <a:gd name="connsiteX26" fmla="*/ 4374344 w 4501379"/>
                    <a:gd name="connsiteY26" fmla="*/ 1552575 h 4429294"/>
                    <a:gd name="connsiteX27" fmla="*/ 4412444 w 4501379"/>
                    <a:gd name="connsiteY27" fmla="*/ 1685925 h 4429294"/>
                    <a:gd name="connsiteX28" fmla="*/ 4501344 w 4501379"/>
                    <a:gd name="connsiteY28" fmla="*/ 2181225 h 4429294"/>
                    <a:gd name="connsiteX29" fmla="*/ 4428319 w 4501379"/>
                    <a:gd name="connsiteY29" fmla="*/ 2768600 h 4429294"/>
                    <a:gd name="connsiteX30" fmla="*/ 4364819 w 4501379"/>
                    <a:gd name="connsiteY30" fmla="*/ 2990850 h 4429294"/>
                    <a:gd name="connsiteX31" fmla="*/ 4260044 w 4501379"/>
                    <a:gd name="connsiteY31" fmla="*/ 3248025 h 4429294"/>
                    <a:gd name="connsiteX32" fmla="*/ 4164794 w 4501379"/>
                    <a:gd name="connsiteY32" fmla="*/ 3400425 h 4429294"/>
                    <a:gd name="connsiteX33" fmla="*/ 4040969 w 4501379"/>
                    <a:gd name="connsiteY33" fmla="*/ 3533775 h 4429294"/>
                    <a:gd name="connsiteX34" fmla="*/ 3936194 w 4501379"/>
                    <a:gd name="connsiteY34" fmla="*/ 3648075 h 4429294"/>
                    <a:gd name="connsiteX35" fmla="*/ 3640919 w 4501379"/>
                    <a:gd name="connsiteY35" fmla="*/ 3971925 h 4429294"/>
                    <a:gd name="connsiteX36" fmla="*/ 3498044 w 4501379"/>
                    <a:gd name="connsiteY36" fmla="*/ 4083050 h 4429294"/>
                    <a:gd name="connsiteX37" fmla="*/ 3202769 w 4501379"/>
                    <a:gd name="connsiteY37" fmla="*/ 4222750 h 4429294"/>
                    <a:gd name="connsiteX38" fmla="*/ 3050369 w 4501379"/>
                    <a:gd name="connsiteY38" fmla="*/ 4286250 h 4429294"/>
                    <a:gd name="connsiteX39" fmla="*/ 2917019 w 4501379"/>
                    <a:gd name="connsiteY39" fmla="*/ 4333875 h 4429294"/>
                    <a:gd name="connsiteX40" fmla="*/ 2793194 w 4501379"/>
                    <a:gd name="connsiteY40" fmla="*/ 4371975 h 4429294"/>
                    <a:gd name="connsiteX41" fmla="*/ 2561419 w 4501379"/>
                    <a:gd name="connsiteY41" fmla="*/ 4391025 h 4429294"/>
                    <a:gd name="connsiteX42" fmla="*/ 2107394 w 4501379"/>
                    <a:gd name="connsiteY42" fmla="*/ 4429125 h 4429294"/>
                    <a:gd name="connsiteX43" fmla="*/ 1916894 w 4501379"/>
                    <a:gd name="connsiteY43" fmla="*/ 4400550 h 4429294"/>
                    <a:gd name="connsiteX44" fmla="*/ 1554944 w 4501379"/>
                    <a:gd name="connsiteY44" fmla="*/ 4305300 h 4429294"/>
                    <a:gd name="connsiteX45" fmla="*/ 1313644 w 4501379"/>
                    <a:gd name="connsiteY45" fmla="*/ 4216400 h 4429294"/>
                    <a:gd name="connsiteX46" fmla="*/ 1145369 w 4501379"/>
                    <a:gd name="connsiteY46" fmla="*/ 4111625 h 4429294"/>
                    <a:gd name="connsiteX47" fmla="*/ 926294 w 4501379"/>
                    <a:gd name="connsiteY47" fmla="*/ 3968750 h 4429294"/>
                    <a:gd name="connsiteX48" fmla="*/ 592919 w 4501379"/>
                    <a:gd name="connsiteY48" fmla="*/ 3657600 h 4429294"/>
                    <a:gd name="connsiteX49" fmla="*/ 446869 w 4501379"/>
                    <a:gd name="connsiteY49" fmla="*/ 3470275 h 4429294"/>
                    <a:gd name="connsiteX50" fmla="*/ 316694 w 4501379"/>
                    <a:gd name="connsiteY50" fmla="*/ 3244850 h 4429294"/>
                    <a:gd name="connsiteX51" fmla="*/ 164294 w 4501379"/>
                    <a:gd name="connsiteY51" fmla="*/ 2892425 h 4429294"/>
                    <a:gd name="connsiteX52" fmla="*/ 56344 w 4501379"/>
                    <a:gd name="connsiteY52" fmla="*/ 2368550 h 4429294"/>
                    <a:gd name="connsiteX53" fmla="*/ 2369 w 4501379"/>
                    <a:gd name="connsiteY53" fmla="*/ 1905000 h 4429294"/>
                    <a:gd name="connsiteX54" fmla="*/ 11894 w 4501379"/>
                    <a:gd name="connsiteY54" fmla="*/ 1838325 h 4429294"/>
                    <a:gd name="connsiteX55" fmla="*/ 30944 w 4501379"/>
                    <a:gd name="connsiteY55" fmla="*/ 1781175 h 4429294"/>
                    <a:gd name="connsiteX56" fmla="*/ 40469 w 4501379"/>
                    <a:gd name="connsiteY56" fmla="*/ 1743075 h 4429294"/>
                    <a:gd name="connsiteX57" fmla="*/ 59519 w 4501379"/>
                    <a:gd name="connsiteY57" fmla="*/ 1685925 h 4429294"/>
                    <a:gd name="connsiteX58" fmla="*/ 69044 w 4501379"/>
                    <a:gd name="connsiteY58" fmla="*/ 1638300 h 4429294"/>
                    <a:gd name="connsiteX59" fmla="*/ 88094 w 4501379"/>
                    <a:gd name="connsiteY59" fmla="*/ 1590675 h 4429294"/>
                    <a:gd name="connsiteX60" fmla="*/ 116669 w 4501379"/>
                    <a:gd name="connsiteY60" fmla="*/ 1504950 h 4429294"/>
                    <a:gd name="connsiteX61" fmla="*/ 135719 w 4501379"/>
                    <a:gd name="connsiteY61" fmla="*/ 1419225 h 4429294"/>
                    <a:gd name="connsiteX62" fmla="*/ 211919 w 4501379"/>
                    <a:gd name="connsiteY62" fmla="*/ 1276350 h 4429294"/>
                    <a:gd name="connsiteX63" fmla="*/ 221444 w 4501379"/>
                    <a:gd name="connsiteY63" fmla="*/ 1247775 h 4429294"/>
                    <a:gd name="connsiteX64" fmla="*/ 250019 w 4501379"/>
                    <a:gd name="connsiteY64" fmla="*/ 1200150 h 4429294"/>
                    <a:gd name="connsiteX65" fmla="*/ 269069 w 4501379"/>
                    <a:gd name="connsiteY65" fmla="*/ 1152525 h 4429294"/>
                    <a:gd name="connsiteX66" fmla="*/ 297644 w 4501379"/>
                    <a:gd name="connsiteY66" fmla="*/ 1114425 h 4429294"/>
                    <a:gd name="connsiteX67" fmla="*/ 345269 w 4501379"/>
                    <a:gd name="connsiteY67" fmla="*/ 1038225 h 4429294"/>
                    <a:gd name="connsiteX68" fmla="*/ 364319 w 4501379"/>
                    <a:gd name="connsiteY68" fmla="*/ 1009650 h 4429294"/>
                    <a:gd name="connsiteX69" fmla="*/ 421469 w 4501379"/>
                    <a:gd name="connsiteY69" fmla="*/ 904875 h 4429294"/>
                    <a:gd name="connsiteX70" fmla="*/ 459569 w 4501379"/>
                    <a:gd name="connsiteY70" fmla="*/ 857250 h 4429294"/>
                    <a:gd name="connsiteX71" fmla="*/ 478619 w 4501379"/>
                    <a:gd name="connsiteY71" fmla="*/ 828675 h 4429294"/>
                    <a:gd name="connsiteX72" fmla="*/ 516719 w 4501379"/>
                    <a:gd name="connsiteY72" fmla="*/ 800100 h 4429294"/>
                    <a:gd name="connsiteX73" fmla="*/ 583394 w 4501379"/>
                    <a:gd name="connsiteY73" fmla="*/ 733425 h 4429294"/>
                    <a:gd name="connsiteX74" fmla="*/ 650069 w 4501379"/>
                    <a:gd name="connsiteY74" fmla="*/ 676275 h 4429294"/>
                    <a:gd name="connsiteX75" fmla="*/ 678644 w 4501379"/>
                    <a:gd name="connsiteY75" fmla="*/ 657225 h 4429294"/>
                    <a:gd name="connsiteX76" fmla="*/ 821519 w 4501379"/>
                    <a:gd name="connsiteY76" fmla="*/ 533400 h 4429294"/>
                    <a:gd name="connsiteX77" fmla="*/ 869144 w 4501379"/>
                    <a:gd name="connsiteY77" fmla="*/ 504825 h 4429294"/>
                    <a:gd name="connsiteX78" fmla="*/ 1148544 w 4501379"/>
                    <a:gd name="connsiteY78" fmla="*/ 311150 h 4429294"/>
                    <a:gd name="connsiteX79" fmla="*/ 1250144 w 4501379"/>
                    <a:gd name="connsiteY79" fmla="*/ 285750 h 4429294"/>
                    <a:gd name="connsiteX80" fmla="*/ 1393019 w 4501379"/>
                    <a:gd name="connsiteY80" fmla="*/ 190500 h 4429294"/>
                    <a:gd name="connsiteX81" fmla="*/ 1431119 w 4501379"/>
                    <a:gd name="connsiteY81" fmla="*/ 161925 h 4429294"/>
                    <a:gd name="connsiteX82" fmla="*/ 1507319 w 4501379"/>
                    <a:gd name="connsiteY82" fmla="*/ 152400 h 4429294"/>
                    <a:gd name="connsiteX83" fmla="*/ 1564469 w 4501379"/>
                    <a:gd name="connsiteY83" fmla="*/ 142875 h 4429294"/>
                    <a:gd name="connsiteX84" fmla="*/ 1697819 w 4501379"/>
                    <a:gd name="connsiteY84" fmla="*/ 123825 h 4429294"/>
                    <a:gd name="connsiteX85" fmla="*/ 1793069 w 4501379"/>
                    <a:gd name="connsiteY85" fmla="*/ 114300 h 4429294"/>
                    <a:gd name="connsiteX86" fmla="*/ 1840694 w 4501379"/>
                    <a:gd name="connsiteY86" fmla="*/ 104775 h 4429294"/>
                    <a:gd name="connsiteX87" fmla="*/ 1897844 w 4501379"/>
                    <a:gd name="connsiteY87" fmla="*/ 95250 h 4429294"/>
                    <a:gd name="connsiteX88" fmla="*/ 2012144 w 4501379"/>
                    <a:gd name="connsiteY88" fmla="*/ 66675 h 4429294"/>
                    <a:gd name="connsiteX89" fmla="*/ 2078819 w 4501379"/>
                    <a:gd name="connsiteY89" fmla="*/ 47625 h 4429294"/>
                    <a:gd name="connsiteX90" fmla="*/ 2145494 w 4501379"/>
                    <a:gd name="connsiteY90" fmla="*/ 38100 h 4429294"/>
                    <a:gd name="connsiteX0" fmla="*/ 2278844 w 4501379"/>
                    <a:gd name="connsiteY0" fmla="*/ 0 h 4429294"/>
                    <a:gd name="connsiteX1" fmla="*/ 2478869 w 4501379"/>
                    <a:gd name="connsiteY1" fmla="*/ 47625 h 4429294"/>
                    <a:gd name="connsiteX2" fmla="*/ 2736044 w 4501379"/>
                    <a:gd name="connsiteY2" fmla="*/ 66675 h 4429294"/>
                    <a:gd name="connsiteX3" fmla="*/ 2812244 w 4501379"/>
                    <a:gd name="connsiteY3" fmla="*/ 76200 h 4429294"/>
                    <a:gd name="connsiteX4" fmla="*/ 2897969 w 4501379"/>
                    <a:gd name="connsiteY4" fmla="*/ 85725 h 4429294"/>
                    <a:gd name="connsiteX5" fmla="*/ 2955119 w 4501379"/>
                    <a:gd name="connsiteY5" fmla="*/ 114300 h 4429294"/>
                    <a:gd name="connsiteX6" fmla="*/ 2993219 w 4501379"/>
                    <a:gd name="connsiteY6" fmla="*/ 123825 h 4429294"/>
                    <a:gd name="connsiteX7" fmla="*/ 3117044 w 4501379"/>
                    <a:gd name="connsiteY7" fmla="*/ 171450 h 4429294"/>
                    <a:gd name="connsiteX8" fmla="*/ 3155144 w 4501379"/>
                    <a:gd name="connsiteY8" fmla="*/ 190500 h 4429294"/>
                    <a:gd name="connsiteX9" fmla="*/ 3221819 w 4501379"/>
                    <a:gd name="connsiteY9" fmla="*/ 228600 h 4429294"/>
                    <a:gd name="connsiteX10" fmla="*/ 3250394 w 4501379"/>
                    <a:gd name="connsiteY10" fmla="*/ 238125 h 4429294"/>
                    <a:gd name="connsiteX11" fmla="*/ 3278969 w 4501379"/>
                    <a:gd name="connsiteY11" fmla="*/ 257175 h 4429294"/>
                    <a:gd name="connsiteX12" fmla="*/ 3307544 w 4501379"/>
                    <a:gd name="connsiteY12" fmla="*/ 266700 h 4429294"/>
                    <a:gd name="connsiteX13" fmla="*/ 3336119 w 4501379"/>
                    <a:gd name="connsiteY13" fmla="*/ 285750 h 4429294"/>
                    <a:gd name="connsiteX14" fmla="*/ 3402794 w 4501379"/>
                    <a:gd name="connsiteY14" fmla="*/ 323850 h 4429294"/>
                    <a:gd name="connsiteX15" fmla="*/ 3450419 w 4501379"/>
                    <a:gd name="connsiteY15" fmla="*/ 361950 h 4429294"/>
                    <a:gd name="connsiteX16" fmla="*/ 3498044 w 4501379"/>
                    <a:gd name="connsiteY16" fmla="*/ 390525 h 4429294"/>
                    <a:gd name="connsiteX17" fmla="*/ 3612344 w 4501379"/>
                    <a:gd name="connsiteY17" fmla="*/ 485775 h 4429294"/>
                    <a:gd name="connsiteX18" fmla="*/ 3726644 w 4501379"/>
                    <a:gd name="connsiteY18" fmla="*/ 542925 h 4429294"/>
                    <a:gd name="connsiteX19" fmla="*/ 3793319 w 4501379"/>
                    <a:gd name="connsiteY19" fmla="*/ 581025 h 4429294"/>
                    <a:gd name="connsiteX20" fmla="*/ 4009219 w 4501379"/>
                    <a:gd name="connsiteY20" fmla="*/ 819150 h 4429294"/>
                    <a:gd name="connsiteX21" fmla="*/ 4145744 w 4501379"/>
                    <a:gd name="connsiteY21" fmla="*/ 990600 h 4429294"/>
                    <a:gd name="connsiteX22" fmla="*/ 4231469 w 4501379"/>
                    <a:gd name="connsiteY22" fmla="*/ 1143000 h 4429294"/>
                    <a:gd name="connsiteX23" fmla="*/ 4288619 w 4501379"/>
                    <a:gd name="connsiteY23" fmla="*/ 1266825 h 4429294"/>
                    <a:gd name="connsiteX24" fmla="*/ 4326719 w 4501379"/>
                    <a:gd name="connsiteY24" fmla="*/ 1362075 h 4429294"/>
                    <a:gd name="connsiteX25" fmla="*/ 4374344 w 4501379"/>
                    <a:gd name="connsiteY25" fmla="*/ 1552575 h 4429294"/>
                    <a:gd name="connsiteX26" fmla="*/ 4412444 w 4501379"/>
                    <a:gd name="connsiteY26" fmla="*/ 1685925 h 4429294"/>
                    <a:gd name="connsiteX27" fmla="*/ 4501344 w 4501379"/>
                    <a:gd name="connsiteY27" fmla="*/ 2181225 h 4429294"/>
                    <a:gd name="connsiteX28" fmla="*/ 4428319 w 4501379"/>
                    <a:gd name="connsiteY28" fmla="*/ 2768600 h 4429294"/>
                    <a:gd name="connsiteX29" fmla="*/ 4364819 w 4501379"/>
                    <a:gd name="connsiteY29" fmla="*/ 2990850 h 4429294"/>
                    <a:gd name="connsiteX30" fmla="*/ 4260044 w 4501379"/>
                    <a:gd name="connsiteY30" fmla="*/ 3248025 h 4429294"/>
                    <a:gd name="connsiteX31" fmla="*/ 4164794 w 4501379"/>
                    <a:gd name="connsiteY31" fmla="*/ 3400425 h 4429294"/>
                    <a:gd name="connsiteX32" fmla="*/ 4040969 w 4501379"/>
                    <a:gd name="connsiteY32" fmla="*/ 3533775 h 4429294"/>
                    <a:gd name="connsiteX33" fmla="*/ 3936194 w 4501379"/>
                    <a:gd name="connsiteY33" fmla="*/ 3648075 h 4429294"/>
                    <a:gd name="connsiteX34" fmla="*/ 3640919 w 4501379"/>
                    <a:gd name="connsiteY34" fmla="*/ 3971925 h 4429294"/>
                    <a:gd name="connsiteX35" fmla="*/ 3498044 w 4501379"/>
                    <a:gd name="connsiteY35" fmla="*/ 4083050 h 4429294"/>
                    <a:gd name="connsiteX36" fmla="*/ 3202769 w 4501379"/>
                    <a:gd name="connsiteY36" fmla="*/ 4222750 h 4429294"/>
                    <a:gd name="connsiteX37" fmla="*/ 3050369 w 4501379"/>
                    <a:gd name="connsiteY37" fmla="*/ 4286250 h 4429294"/>
                    <a:gd name="connsiteX38" fmla="*/ 2917019 w 4501379"/>
                    <a:gd name="connsiteY38" fmla="*/ 4333875 h 4429294"/>
                    <a:gd name="connsiteX39" fmla="*/ 2793194 w 4501379"/>
                    <a:gd name="connsiteY39" fmla="*/ 4371975 h 4429294"/>
                    <a:gd name="connsiteX40" fmla="*/ 2561419 w 4501379"/>
                    <a:gd name="connsiteY40" fmla="*/ 4391025 h 4429294"/>
                    <a:gd name="connsiteX41" fmla="*/ 2107394 w 4501379"/>
                    <a:gd name="connsiteY41" fmla="*/ 4429125 h 4429294"/>
                    <a:gd name="connsiteX42" fmla="*/ 1916894 w 4501379"/>
                    <a:gd name="connsiteY42" fmla="*/ 4400550 h 4429294"/>
                    <a:gd name="connsiteX43" fmla="*/ 1554944 w 4501379"/>
                    <a:gd name="connsiteY43" fmla="*/ 4305300 h 4429294"/>
                    <a:gd name="connsiteX44" fmla="*/ 1313644 w 4501379"/>
                    <a:gd name="connsiteY44" fmla="*/ 4216400 h 4429294"/>
                    <a:gd name="connsiteX45" fmla="*/ 1145369 w 4501379"/>
                    <a:gd name="connsiteY45" fmla="*/ 4111625 h 4429294"/>
                    <a:gd name="connsiteX46" fmla="*/ 926294 w 4501379"/>
                    <a:gd name="connsiteY46" fmla="*/ 3968750 h 4429294"/>
                    <a:gd name="connsiteX47" fmla="*/ 592919 w 4501379"/>
                    <a:gd name="connsiteY47" fmla="*/ 3657600 h 4429294"/>
                    <a:gd name="connsiteX48" fmla="*/ 446869 w 4501379"/>
                    <a:gd name="connsiteY48" fmla="*/ 3470275 h 4429294"/>
                    <a:gd name="connsiteX49" fmla="*/ 316694 w 4501379"/>
                    <a:gd name="connsiteY49" fmla="*/ 3244850 h 4429294"/>
                    <a:gd name="connsiteX50" fmla="*/ 164294 w 4501379"/>
                    <a:gd name="connsiteY50" fmla="*/ 2892425 h 4429294"/>
                    <a:gd name="connsiteX51" fmla="*/ 56344 w 4501379"/>
                    <a:gd name="connsiteY51" fmla="*/ 2368550 h 4429294"/>
                    <a:gd name="connsiteX52" fmla="*/ 2369 w 4501379"/>
                    <a:gd name="connsiteY52" fmla="*/ 1905000 h 4429294"/>
                    <a:gd name="connsiteX53" fmla="*/ 11894 w 4501379"/>
                    <a:gd name="connsiteY53" fmla="*/ 1838325 h 4429294"/>
                    <a:gd name="connsiteX54" fmla="*/ 30944 w 4501379"/>
                    <a:gd name="connsiteY54" fmla="*/ 1781175 h 4429294"/>
                    <a:gd name="connsiteX55" fmla="*/ 40469 w 4501379"/>
                    <a:gd name="connsiteY55" fmla="*/ 1743075 h 4429294"/>
                    <a:gd name="connsiteX56" fmla="*/ 59519 w 4501379"/>
                    <a:gd name="connsiteY56" fmla="*/ 1685925 h 4429294"/>
                    <a:gd name="connsiteX57" fmla="*/ 69044 w 4501379"/>
                    <a:gd name="connsiteY57" fmla="*/ 1638300 h 4429294"/>
                    <a:gd name="connsiteX58" fmla="*/ 88094 w 4501379"/>
                    <a:gd name="connsiteY58" fmla="*/ 1590675 h 4429294"/>
                    <a:gd name="connsiteX59" fmla="*/ 116669 w 4501379"/>
                    <a:gd name="connsiteY59" fmla="*/ 1504950 h 4429294"/>
                    <a:gd name="connsiteX60" fmla="*/ 135719 w 4501379"/>
                    <a:gd name="connsiteY60" fmla="*/ 1419225 h 4429294"/>
                    <a:gd name="connsiteX61" fmla="*/ 211919 w 4501379"/>
                    <a:gd name="connsiteY61" fmla="*/ 1276350 h 4429294"/>
                    <a:gd name="connsiteX62" fmla="*/ 221444 w 4501379"/>
                    <a:gd name="connsiteY62" fmla="*/ 1247775 h 4429294"/>
                    <a:gd name="connsiteX63" fmla="*/ 250019 w 4501379"/>
                    <a:gd name="connsiteY63" fmla="*/ 1200150 h 4429294"/>
                    <a:gd name="connsiteX64" fmla="*/ 269069 w 4501379"/>
                    <a:gd name="connsiteY64" fmla="*/ 1152525 h 4429294"/>
                    <a:gd name="connsiteX65" fmla="*/ 297644 w 4501379"/>
                    <a:gd name="connsiteY65" fmla="*/ 1114425 h 4429294"/>
                    <a:gd name="connsiteX66" fmla="*/ 345269 w 4501379"/>
                    <a:gd name="connsiteY66" fmla="*/ 1038225 h 4429294"/>
                    <a:gd name="connsiteX67" fmla="*/ 364319 w 4501379"/>
                    <a:gd name="connsiteY67" fmla="*/ 1009650 h 4429294"/>
                    <a:gd name="connsiteX68" fmla="*/ 421469 w 4501379"/>
                    <a:gd name="connsiteY68" fmla="*/ 904875 h 4429294"/>
                    <a:gd name="connsiteX69" fmla="*/ 459569 w 4501379"/>
                    <a:gd name="connsiteY69" fmla="*/ 857250 h 4429294"/>
                    <a:gd name="connsiteX70" fmla="*/ 478619 w 4501379"/>
                    <a:gd name="connsiteY70" fmla="*/ 828675 h 4429294"/>
                    <a:gd name="connsiteX71" fmla="*/ 516719 w 4501379"/>
                    <a:gd name="connsiteY71" fmla="*/ 800100 h 4429294"/>
                    <a:gd name="connsiteX72" fmla="*/ 583394 w 4501379"/>
                    <a:gd name="connsiteY72" fmla="*/ 733425 h 4429294"/>
                    <a:gd name="connsiteX73" fmla="*/ 650069 w 4501379"/>
                    <a:gd name="connsiteY73" fmla="*/ 676275 h 4429294"/>
                    <a:gd name="connsiteX74" fmla="*/ 678644 w 4501379"/>
                    <a:gd name="connsiteY74" fmla="*/ 657225 h 4429294"/>
                    <a:gd name="connsiteX75" fmla="*/ 821519 w 4501379"/>
                    <a:gd name="connsiteY75" fmla="*/ 533400 h 4429294"/>
                    <a:gd name="connsiteX76" fmla="*/ 869144 w 4501379"/>
                    <a:gd name="connsiteY76" fmla="*/ 504825 h 4429294"/>
                    <a:gd name="connsiteX77" fmla="*/ 1148544 w 4501379"/>
                    <a:gd name="connsiteY77" fmla="*/ 311150 h 4429294"/>
                    <a:gd name="connsiteX78" fmla="*/ 1250144 w 4501379"/>
                    <a:gd name="connsiteY78" fmla="*/ 285750 h 4429294"/>
                    <a:gd name="connsiteX79" fmla="*/ 1393019 w 4501379"/>
                    <a:gd name="connsiteY79" fmla="*/ 190500 h 4429294"/>
                    <a:gd name="connsiteX80" fmla="*/ 1431119 w 4501379"/>
                    <a:gd name="connsiteY80" fmla="*/ 161925 h 4429294"/>
                    <a:gd name="connsiteX81" fmla="*/ 1507319 w 4501379"/>
                    <a:gd name="connsiteY81" fmla="*/ 152400 h 4429294"/>
                    <a:gd name="connsiteX82" fmla="*/ 1564469 w 4501379"/>
                    <a:gd name="connsiteY82" fmla="*/ 142875 h 4429294"/>
                    <a:gd name="connsiteX83" fmla="*/ 1697819 w 4501379"/>
                    <a:gd name="connsiteY83" fmla="*/ 123825 h 4429294"/>
                    <a:gd name="connsiteX84" fmla="*/ 1793069 w 4501379"/>
                    <a:gd name="connsiteY84" fmla="*/ 114300 h 4429294"/>
                    <a:gd name="connsiteX85" fmla="*/ 1840694 w 4501379"/>
                    <a:gd name="connsiteY85" fmla="*/ 104775 h 4429294"/>
                    <a:gd name="connsiteX86" fmla="*/ 1897844 w 4501379"/>
                    <a:gd name="connsiteY86" fmla="*/ 95250 h 4429294"/>
                    <a:gd name="connsiteX87" fmla="*/ 2012144 w 4501379"/>
                    <a:gd name="connsiteY87" fmla="*/ 66675 h 4429294"/>
                    <a:gd name="connsiteX88" fmla="*/ 2078819 w 4501379"/>
                    <a:gd name="connsiteY88" fmla="*/ 47625 h 4429294"/>
                    <a:gd name="connsiteX89" fmla="*/ 2145494 w 4501379"/>
                    <a:gd name="connsiteY89" fmla="*/ 38100 h 4429294"/>
                    <a:gd name="connsiteX0" fmla="*/ 2278844 w 4501379"/>
                    <a:gd name="connsiteY0" fmla="*/ 0 h 4429294"/>
                    <a:gd name="connsiteX1" fmla="*/ 2736044 w 4501379"/>
                    <a:gd name="connsiteY1" fmla="*/ 666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12244 w 4501379"/>
                    <a:gd name="connsiteY2" fmla="*/ 76200 h 4429294"/>
                    <a:gd name="connsiteX3" fmla="*/ 2897969 w 4501379"/>
                    <a:gd name="connsiteY3" fmla="*/ 85725 h 4429294"/>
                    <a:gd name="connsiteX4" fmla="*/ 2955119 w 4501379"/>
                    <a:gd name="connsiteY4" fmla="*/ 114300 h 4429294"/>
                    <a:gd name="connsiteX5" fmla="*/ 2993219 w 4501379"/>
                    <a:gd name="connsiteY5" fmla="*/ 123825 h 4429294"/>
                    <a:gd name="connsiteX6" fmla="*/ 3117044 w 4501379"/>
                    <a:gd name="connsiteY6" fmla="*/ 171450 h 4429294"/>
                    <a:gd name="connsiteX7" fmla="*/ 3155144 w 4501379"/>
                    <a:gd name="connsiteY7" fmla="*/ 190500 h 4429294"/>
                    <a:gd name="connsiteX8" fmla="*/ 3221819 w 4501379"/>
                    <a:gd name="connsiteY8" fmla="*/ 228600 h 4429294"/>
                    <a:gd name="connsiteX9" fmla="*/ 3250394 w 4501379"/>
                    <a:gd name="connsiteY9" fmla="*/ 238125 h 4429294"/>
                    <a:gd name="connsiteX10" fmla="*/ 3278969 w 4501379"/>
                    <a:gd name="connsiteY10" fmla="*/ 257175 h 4429294"/>
                    <a:gd name="connsiteX11" fmla="*/ 3307544 w 4501379"/>
                    <a:gd name="connsiteY11" fmla="*/ 266700 h 4429294"/>
                    <a:gd name="connsiteX12" fmla="*/ 3336119 w 4501379"/>
                    <a:gd name="connsiteY12" fmla="*/ 285750 h 4429294"/>
                    <a:gd name="connsiteX13" fmla="*/ 3402794 w 4501379"/>
                    <a:gd name="connsiteY13" fmla="*/ 323850 h 4429294"/>
                    <a:gd name="connsiteX14" fmla="*/ 3450419 w 4501379"/>
                    <a:gd name="connsiteY14" fmla="*/ 361950 h 4429294"/>
                    <a:gd name="connsiteX15" fmla="*/ 3498044 w 4501379"/>
                    <a:gd name="connsiteY15" fmla="*/ 390525 h 4429294"/>
                    <a:gd name="connsiteX16" fmla="*/ 3612344 w 4501379"/>
                    <a:gd name="connsiteY16" fmla="*/ 485775 h 4429294"/>
                    <a:gd name="connsiteX17" fmla="*/ 3726644 w 4501379"/>
                    <a:gd name="connsiteY17" fmla="*/ 542925 h 4429294"/>
                    <a:gd name="connsiteX18" fmla="*/ 3793319 w 4501379"/>
                    <a:gd name="connsiteY18" fmla="*/ 581025 h 4429294"/>
                    <a:gd name="connsiteX19" fmla="*/ 4009219 w 4501379"/>
                    <a:gd name="connsiteY19" fmla="*/ 819150 h 4429294"/>
                    <a:gd name="connsiteX20" fmla="*/ 4145744 w 4501379"/>
                    <a:gd name="connsiteY20" fmla="*/ 990600 h 4429294"/>
                    <a:gd name="connsiteX21" fmla="*/ 4231469 w 4501379"/>
                    <a:gd name="connsiteY21" fmla="*/ 1143000 h 4429294"/>
                    <a:gd name="connsiteX22" fmla="*/ 4288619 w 4501379"/>
                    <a:gd name="connsiteY22" fmla="*/ 1266825 h 4429294"/>
                    <a:gd name="connsiteX23" fmla="*/ 4326719 w 4501379"/>
                    <a:gd name="connsiteY23" fmla="*/ 1362075 h 4429294"/>
                    <a:gd name="connsiteX24" fmla="*/ 4374344 w 4501379"/>
                    <a:gd name="connsiteY24" fmla="*/ 1552575 h 4429294"/>
                    <a:gd name="connsiteX25" fmla="*/ 4412444 w 4501379"/>
                    <a:gd name="connsiteY25" fmla="*/ 1685925 h 4429294"/>
                    <a:gd name="connsiteX26" fmla="*/ 4501344 w 4501379"/>
                    <a:gd name="connsiteY26" fmla="*/ 2181225 h 4429294"/>
                    <a:gd name="connsiteX27" fmla="*/ 4428319 w 4501379"/>
                    <a:gd name="connsiteY27" fmla="*/ 2768600 h 4429294"/>
                    <a:gd name="connsiteX28" fmla="*/ 4364819 w 4501379"/>
                    <a:gd name="connsiteY28" fmla="*/ 2990850 h 4429294"/>
                    <a:gd name="connsiteX29" fmla="*/ 4260044 w 4501379"/>
                    <a:gd name="connsiteY29" fmla="*/ 3248025 h 4429294"/>
                    <a:gd name="connsiteX30" fmla="*/ 4164794 w 4501379"/>
                    <a:gd name="connsiteY30" fmla="*/ 3400425 h 4429294"/>
                    <a:gd name="connsiteX31" fmla="*/ 4040969 w 4501379"/>
                    <a:gd name="connsiteY31" fmla="*/ 3533775 h 4429294"/>
                    <a:gd name="connsiteX32" fmla="*/ 3936194 w 4501379"/>
                    <a:gd name="connsiteY32" fmla="*/ 3648075 h 4429294"/>
                    <a:gd name="connsiteX33" fmla="*/ 3640919 w 4501379"/>
                    <a:gd name="connsiteY33" fmla="*/ 3971925 h 4429294"/>
                    <a:gd name="connsiteX34" fmla="*/ 3498044 w 4501379"/>
                    <a:gd name="connsiteY34" fmla="*/ 4083050 h 4429294"/>
                    <a:gd name="connsiteX35" fmla="*/ 3202769 w 4501379"/>
                    <a:gd name="connsiteY35" fmla="*/ 4222750 h 4429294"/>
                    <a:gd name="connsiteX36" fmla="*/ 3050369 w 4501379"/>
                    <a:gd name="connsiteY36" fmla="*/ 4286250 h 4429294"/>
                    <a:gd name="connsiteX37" fmla="*/ 2917019 w 4501379"/>
                    <a:gd name="connsiteY37" fmla="*/ 4333875 h 4429294"/>
                    <a:gd name="connsiteX38" fmla="*/ 2793194 w 4501379"/>
                    <a:gd name="connsiteY38" fmla="*/ 4371975 h 4429294"/>
                    <a:gd name="connsiteX39" fmla="*/ 2561419 w 4501379"/>
                    <a:gd name="connsiteY39" fmla="*/ 4391025 h 4429294"/>
                    <a:gd name="connsiteX40" fmla="*/ 2107394 w 4501379"/>
                    <a:gd name="connsiteY40" fmla="*/ 4429125 h 4429294"/>
                    <a:gd name="connsiteX41" fmla="*/ 1916894 w 4501379"/>
                    <a:gd name="connsiteY41" fmla="*/ 4400550 h 4429294"/>
                    <a:gd name="connsiteX42" fmla="*/ 1554944 w 4501379"/>
                    <a:gd name="connsiteY42" fmla="*/ 4305300 h 4429294"/>
                    <a:gd name="connsiteX43" fmla="*/ 1313644 w 4501379"/>
                    <a:gd name="connsiteY43" fmla="*/ 4216400 h 4429294"/>
                    <a:gd name="connsiteX44" fmla="*/ 1145369 w 4501379"/>
                    <a:gd name="connsiteY44" fmla="*/ 4111625 h 4429294"/>
                    <a:gd name="connsiteX45" fmla="*/ 926294 w 4501379"/>
                    <a:gd name="connsiteY45" fmla="*/ 3968750 h 4429294"/>
                    <a:gd name="connsiteX46" fmla="*/ 592919 w 4501379"/>
                    <a:gd name="connsiteY46" fmla="*/ 3657600 h 4429294"/>
                    <a:gd name="connsiteX47" fmla="*/ 446869 w 4501379"/>
                    <a:gd name="connsiteY47" fmla="*/ 3470275 h 4429294"/>
                    <a:gd name="connsiteX48" fmla="*/ 316694 w 4501379"/>
                    <a:gd name="connsiteY48" fmla="*/ 3244850 h 4429294"/>
                    <a:gd name="connsiteX49" fmla="*/ 164294 w 4501379"/>
                    <a:gd name="connsiteY49" fmla="*/ 2892425 h 4429294"/>
                    <a:gd name="connsiteX50" fmla="*/ 56344 w 4501379"/>
                    <a:gd name="connsiteY50" fmla="*/ 2368550 h 4429294"/>
                    <a:gd name="connsiteX51" fmla="*/ 2369 w 4501379"/>
                    <a:gd name="connsiteY51" fmla="*/ 1905000 h 4429294"/>
                    <a:gd name="connsiteX52" fmla="*/ 11894 w 4501379"/>
                    <a:gd name="connsiteY52" fmla="*/ 1838325 h 4429294"/>
                    <a:gd name="connsiteX53" fmla="*/ 30944 w 4501379"/>
                    <a:gd name="connsiteY53" fmla="*/ 1781175 h 4429294"/>
                    <a:gd name="connsiteX54" fmla="*/ 40469 w 4501379"/>
                    <a:gd name="connsiteY54" fmla="*/ 1743075 h 4429294"/>
                    <a:gd name="connsiteX55" fmla="*/ 59519 w 4501379"/>
                    <a:gd name="connsiteY55" fmla="*/ 1685925 h 4429294"/>
                    <a:gd name="connsiteX56" fmla="*/ 69044 w 4501379"/>
                    <a:gd name="connsiteY56" fmla="*/ 1638300 h 4429294"/>
                    <a:gd name="connsiteX57" fmla="*/ 88094 w 4501379"/>
                    <a:gd name="connsiteY57" fmla="*/ 1590675 h 4429294"/>
                    <a:gd name="connsiteX58" fmla="*/ 116669 w 4501379"/>
                    <a:gd name="connsiteY58" fmla="*/ 1504950 h 4429294"/>
                    <a:gd name="connsiteX59" fmla="*/ 135719 w 4501379"/>
                    <a:gd name="connsiteY59" fmla="*/ 1419225 h 4429294"/>
                    <a:gd name="connsiteX60" fmla="*/ 211919 w 4501379"/>
                    <a:gd name="connsiteY60" fmla="*/ 1276350 h 4429294"/>
                    <a:gd name="connsiteX61" fmla="*/ 221444 w 4501379"/>
                    <a:gd name="connsiteY61" fmla="*/ 1247775 h 4429294"/>
                    <a:gd name="connsiteX62" fmla="*/ 250019 w 4501379"/>
                    <a:gd name="connsiteY62" fmla="*/ 1200150 h 4429294"/>
                    <a:gd name="connsiteX63" fmla="*/ 269069 w 4501379"/>
                    <a:gd name="connsiteY63" fmla="*/ 1152525 h 4429294"/>
                    <a:gd name="connsiteX64" fmla="*/ 297644 w 4501379"/>
                    <a:gd name="connsiteY64" fmla="*/ 1114425 h 4429294"/>
                    <a:gd name="connsiteX65" fmla="*/ 345269 w 4501379"/>
                    <a:gd name="connsiteY65" fmla="*/ 1038225 h 4429294"/>
                    <a:gd name="connsiteX66" fmla="*/ 364319 w 4501379"/>
                    <a:gd name="connsiteY66" fmla="*/ 1009650 h 4429294"/>
                    <a:gd name="connsiteX67" fmla="*/ 421469 w 4501379"/>
                    <a:gd name="connsiteY67" fmla="*/ 904875 h 4429294"/>
                    <a:gd name="connsiteX68" fmla="*/ 459569 w 4501379"/>
                    <a:gd name="connsiteY68" fmla="*/ 857250 h 4429294"/>
                    <a:gd name="connsiteX69" fmla="*/ 478619 w 4501379"/>
                    <a:gd name="connsiteY69" fmla="*/ 828675 h 4429294"/>
                    <a:gd name="connsiteX70" fmla="*/ 516719 w 4501379"/>
                    <a:gd name="connsiteY70" fmla="*/ 800100 h 4429294"/>
                    <a:gd name="connsiteX71" fmla="*/ 583394 w 4501379"/>
                    <a:gd name="connsiteY71" fmla="*/ 733425 h 4429294"/>
                    <a:gd name="connsiteX72" fmla="*/ 650069 w 4501379"/>
                    <a:gd name="connsiteY72" fmla="*/ 676275 h 4429294"/>
                    <a:gd name="connsiteX73" fmla="*/ 678644 w 4501379"/>
                    <a:gd name="connsiteY73" fmla="*/ 657225 h 4429294"/>
                    <a:gd name="connsiteX74" fmla="*/ 821519 w 4501379"/>
                    <a:gd name="connsiteY74" fmla="*/ 533400 h 4429294"/>
                    <a:gd name="connsiteX75" fmla="*/ 869144 w 4501379"/>
                    <a:gd name="connsiteY75" fmla="*/ 504825 h 4429294"/>
                    <a:gd name="connsiteX76" fmla="*/ 1148544 w 4501379"/>
                    <a:gd name="connsiteY76" fmla="*/ 311150 h 4429294"/>
                    <a:gd name="connsiteX77" fmla="*/ 1250144 w 4501379"/>
                    <a:gd name="connsiteY77" fmla="*/ 285750 h 4429294"/>
                    <a:gd name="connsiteX78" fmla="*/ 1393019 w 4501379"/>
                    <a:gd name="connsiteY78" fmla="*/ 190500 h 4429294"/>
                    <a:gd name="connsiteX79" fmla="*/ 1431119 w 4501379"/>
                    <a:gd name="connsiteY79" fmla="*/ 161925 h 4429294"/>
                    <a:gd name="connsiteX80" fmla="*/ 1507319 w 4501379"/>
                    <a:gd name="connsiteY80" fmla="*/ 152400 h 4429294"/>
                    <a:gd name="connsiteX81" fmla="*/ 1564469 w 4501379"/>
                    <a:gd name="connsiteY81" fmla="*/ 142875 h 4429294"/>
                    <a:gd name="connsiteX82" fmla="*/ 1697819 w 4501379"/>
                    <a:gd name="connsiteY82" fmla="*/ 123825 h 4429294"/>
                    <a:gd name="connsiteX83" fmla="*/ 1793069 w 4501379"/>
                    <a:gd name="connsiteY83" fmla="*/ 114300 h 4429294"/>
                    <a:gd name="connsiteX84" fmla="*/ 1840694 w 4501379"/>
                    <a:gd name="connsiteY84" fmla="*/ 104775 h 4429294"/>
                    <a:gd name="connsiteX85" fmla="*/ 1897844 w 4501379"/>
                    <a:gd name="connsiteY85" fmla="*/ 95250 h 4429294"/>
                    <a:gd name="connsiteX86" fmla="*/ 2012144 w 4501379"/>
                    <a:gd name="connsiteY86" fmla="*/ 66675 h 4429294"/>
                    <a:gd name="connsiteX87" fmla="*/ 2078819 w 4501379"/>
                    <a:gd name="connsiteY87" fmla="*/ 47625 h 4429294"/>
                    <a:gd name="connsiteX88" fmla="*/ 2145494 w 4501379"/>
                    <a:gd name="connsiteY8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2993219 w 4501379"/>
                    <a:gd name="connsiteY4" fmla="*/ 123825 h 4429294"/>
                    <a:gd name="connsiteX5" fmla="*/ 3117044 w 4501379"/>
                    <a:gd name="connsiteY5" fmla="*/ 171450 h 4429294"/>
                    <a:gd name="connsiteX6" fmla="*/ 3155144 w 4501379"/>
                    <a:gd name="connsiteY6" fmla="*/ 190500 h 4429294"/>
                    <a:gd name="connsiteX7" fmla="*/ 3221819 w 4501379"/>
                    <a:gd name="connsiteY7" fmla="*/ 228600 h 4429294"/>
                    <a:gd name="connsiteX8" fmla="*/ 3250394 w 4501379"/>
                    <a:gd name="connsiteY8" fmla="*/ 238125 h 4429294"/>
                    <a:gd name="connsiteX9" fmla="*/ 3278969 w 4501379"/>
                    <a:gd name="connsiteY9" fmla="*/ 257175 h 4429294"/>
                    <a:gd name="connsiteX10" fmla="*/ 3307544 w 4501379"/>
                    <a:gd name="connsiteY10" fmla="*/ 266700 h 4429294"/>
                    <a:gd name="connsiteX11" fmla="*/ 3336119 w 4501379"/>
                    <a:gd name="connsiteY11" fmla="*/ 285750 h 4429294"/>
                    <a:gd name="connsiteX12" fmla="*/ 3402794 w 4501379"/>
                    <a:gd name="connsiteY12" fmla="*/ 323850 h 4429294"/>
                    <a:gd name="connsiteX13" fmla="*/ 3450419 w 4501379"/>
                    <a:gd name="connsiteY13" fmla="*/ 361950 h 4429294"/>
                    <a:gd name="connsiteX14" fmla="*/ 3498044 w 4501379"/>
                    <a:gd name="connsiteY14" fmla="*/ 390525 h 4429294"/>
                    <a:gd name="connsiteX15" fmla="*/ 3612344 w 4501379"/>
                    <a:gd name="connsiteY15" fmla="*/ 485775 h 4429294"/>
                    <a:gd name="connsiteX16" fmla="*/ 3726644 w 4501379"/>
                    <a:gd name="connsiteY16" fmla="*/ 542925 h 4429294"/>
                    <a:gd name="connsiteX17" fmla="*/ 3793319 w 4501379"/>
                    <a:gd name="connsiteY17" fmla="*/ 581025 h 4429294"/>
                    <a:gd name="connsiteX18" fmla="*/ 4009219 w 4501379"/>
                    <a:gd name="connsiteY18" fmla="*/ 819150 h 4429294"/>
                    <a:gd name="connsiteX19" fmla="*/ 4145744 w 4501379"/>
                    <a:gd name="connsiteY19" fmla="*/ 990600 h 4429294"/>
                    <a:gd name="connsiteX20" fmla="*/ 4231469 w 4501379"/>
                    <a:gd name="connsiteY20" fmla="*/ 1143000 h 4429294"/>
                    <a:gd name="connsiteX21" fmla="*/ 4288619 w 4501379"/>
                    <a:gd name="connsiteY21" fmla="*/ 1266825 h 4429294"/>
                    <a:gd name="connsiteX22" fmla="*/ 4326719 w 4501379"/>
                    <a:gd name="connsiteY22" fmla="*/ 1362075 h 4429294"/>
                    <a:gd name="connsiteX23" fmla="*/ 4374344 w 4501379"/>
                    <a:gd name="connsiteY23" fmla="*/ 1552575 h 4429294"/>
                    <a:gd name="connsiteX24" fmla="*/ 4412444 w 4501379"/>
                    <a:gd name="connsiteY24" fmla="*/ 1685925 h 4429294"/>
                    <a:gd name="connsiteX25" fmla="*/ 4501344 w 4501379"/>
                    <a:gd name="connsiteY25" fmla="*/ 2181225 h 4429294"/>
                    <a:gd name="connsiteX26" fmla="*/ 4428319 w 4501379"/>
                    <a:gd name="connsiteY26" fmla="*/ 2768600 h 4429294"/>
                    <a:gd name="connsiteX27" fmla="*/ 4364819 w 4501379"/>
                    <a:gd name="connsiteY27" fmla="*/ 2990850 h 4429294"/>
                    <a:gd name="connsiteX28" fmla="*/ 4260044 w 4501379"/>
                    <a:gd name="connsiteY28" fmla="*/ 3248025 h 4429294"/>
                    <a:gd name="connsiteX29" fmla="*/ 4164794 w 4501379"/>
                    <a:gd name="connsiteY29" fmla="*/ 3400425 h 4429294"/>
                    <a:gd name="connsiteX30" fmla="*/ 4040969 w 4501379"/>
                    <a:gd name="connsiteY30" fmla="*/ 3533775 h 4429294"/>
                    <a:gd name="connsiteX31" fmla="*/ 3936194 w 4501379"/>
                    <a:gd name="connsiteY31" fmla="*/ 3648075 h 4429294"/>
                    <a:gd name="connsiteX32" fmla="*/ 3640919 w 4501379"/>
                    <a:gd name="connsiteY32" fmla="*/ 3971925 h 4429294"/>
                    <a:gd name="connsiteX33" fmla="*/ 3498044 w 4501379"/>
                    <a:gd name="connsiteY33" fmla="*/ 4083050 h 4429294"/>
                    <a:gd name="connsiteX34" fmla="*/ 3202769 w 4501379"/>
                    <a:gd name="connsiteY34" fmla="*/ 4222750 h 4429294"/>
                    <a:gd name="connsiteX35" fmla="*/ 3050369 w 4501379"/>
                    <a:gd name="connsiteY35" fmla="*/ 4286250 h 4429294"/>
                    <a:gd name="connsiteX36" fmla="*/ 2917019 w 4501379"/>
                    <a:gd name="connsiteY36" fmla="*/ 4333875 h 4429294"/>
                    <a:gd name="connsiteX37" fmla="*/ 2793194 w 4501379"/>
                    <a:gd name="connsiteY37" fmla="*/ 4371975 h 4429294"/>
                    <a:gd name="connsiteX38" fmla="*/ 2561419 w 4501379"/>
                    <a:gd name="connsiteY38" fmla="*/ 4391025 h 4429294"/>
                    <a:gd name="connsiteX39" fmla="*/ 2107394 w 4501379"/>
                    <a:gd name="connsiteY39" fmla="*/ 4429125 h 4429294"/>
                    <a:gd name="connsiteX40" fmla="*/ 1916894 w 4501379"/>
                    <a:gd name="connsiteY40" fmla="*/ 4400550 h 4429294"/>
                    <a:gd name="connsiteX41" fmla="*/ 1554944 w 4501379"/>
                    <a:gd name="connsiteY41" fmla="*/ 4305300 h 4429294"/>
                    <a:gd name="connsiteX42" fmla="*/ 1313644 w 4501379"/>
                    <a:gd name="connsiteY42" fmla="*/ 4216400 h 4429294"/>
                    <a:gd name="connsiteX43" fmla="*/ 1145369 w 4501379"/>
                    <a:gd name="connsiteY43" fmla="*/ 4111625 h 4429294"/>
                    <a:gd name="connsiteX44" fmla="*/ 926294 w 4501379"/>
                    <a:gd name="connsiteY44" fmla="*/ 3968750 h 4429294"/>
                    <a:gd name="connsiteX45" fmla="*/ 592919 w 4501379"/>
                    <a:gd name="connsiteY45" fmla="*/ 3657600 h 4429294"/>
                    <a:gd name="connsiteX46" fmla="*/ 446869 w 4501379"/>
                    <a:gd name="connsiteY46" fmla="*/ 3470275 h 4429294"/>
                    <a:gd name="connsiteX47" fmla="*/ 316694 w 4501379"/>
                    <a:gd name="connsiteY47" fmla="*/ 3244850 h 4429294"/>
                    <a:gd name="connsiteX48" fmla="*/ 164294 w 4501379"/>
                    <a:gd name="connsiteY48" fmla="*/ 2892425 h 4429294"/>
                    <a:gd name="connsiteX49" fmla="*/ 56344 w 4501379"/>
                    <a:gd name="connsiteY49" fmla="*/ 2368550 h 4429294"/>
                    <a:gd name="connsiteX50" fmla="*/ 2369 w 4501379"/>
                    <a:gd name="connsiteY50" fmla="*/ 1905000 h 4429294"/>
                    <a:gd name="connsiteX51" fmla="*/ 11894 w 4501379"/>
                    <a:gd name="connsiteY51" fmla="*/ 1838325 h 4429294"/>
                    <a:gd name="connsiteX52" fmla="*/ 30944 w 4501379"/>
                    <a:gd name="connsiteY52" fmla="*/ 1781175 h 4429294"/>
                    <a:gd name="connsiteX53" fmla="*/ 40469 w 4501379"/>
                    <a:gd name="connsiteY53" fmla="*/ 1743075 h 4429294"/>
                    <a:gd name="connsiteX54" fmla="*/ 59519 w 4501379"/>
                    <a:gd name="connsiteY54" fmla="*/ 1685925 h 4429294"/>
                    <a:gd name="connsiteX55" fmla="*/ 69044 w 4501379"/>
                    <a:gd name="connsiteY55" fmla="*/ 1638300 h 4429294"/>
                    <a:gd name="connsiteX56" fmla="*/ 88094 w 4501379"/>
                    <a:gd name="connsiteY56" fmla="*/ 1590675 h 4429294"/>
                    <a:gd name="connsiteX57" fmla="*/ 116669 w 4501379"/>
                    <a:gd name="connsiteY57" fmla="*/ 1504950 h 4429294"/>
                    <a:gd name="connsiteX58" fmla="*/ 135719 w 4501379"/>
                    <a:gd name="connsiteY58" fmla="*/ 1419225 h 4429294"/>
                    <a:gd name="connsiteX59" fmla="*/ 211919 w 4501379"/>
                    <a:gd name="connsiteY59" fmla="*/ 1276350 h 4429294"/>
                    <a:gd name="connsiteX60" fmla="*/ 221444 w 4501379"/>
                    <a:gd name="connsiteY60" fmla="*/ 1247775 h 4429294"/>
                    <a:gd name="connsiteX61" fmla="*/ 250019 w 4501379"/>
                    <a:gd name="connsiteY61" fmla="*/ 1200150 h 4429294"/>
                    <a:gd name="connsiteX62" fmla="*/ 269069 w 4501379"/>
                    <a:gd name="connsiteY62" fmla="*/ 1152525 h 4429294"/>
                    <a:gd name="connsiteX63" fmla="*/ 297644 w 4501379"/>
                    <a:gd name="connsiteY63" fmla="*/ 1114425 h 4429294"/>
                    <a:gd name="connsiteX64" fmla="*/ 345269 w 4501379"/>
                    <a:gd name="connsiteY64" fmla="*/ 1038225 h 4429294"/>
                    <a:gd name="connsiteX65" fmla="*/ 364319 w 4501379"/>
                    <a:gd name="connsiteY65" fmla="*/ 1009650 h 4429294"/>
                    <a:gd name="connsiteX66" fmla="*/ 421469 w 4501379"/>
                    <a:gd name="connsiteY66" fmla="*/ 904875 h 4429294"/>
                    <a:gd name="connsiteX67" fmla="*/ 459569 w 4501379"/>
                    <a:gd name="connsiteY67" fmla="*/ 857250 h 4429294"/>
                    <a:gd name="connsiteX68" fmla="*/ 478619 w 4501379"/>
                    <a:gd name="connsiteY68" fmla="*/ 828675 h 4429294"/>
                    <a:gd name="connsiteX69" fmla="*/ 516719 w 4501379"/>
                    <a:gd name="connsiteY69" fmla="*/ 800100 h 4429294"/>
                    <a:gd name="connsiteX70" fmla="*/ 583394 w 4501379"/>
                    <a:gd name="connsiteY70" fmla="*/ 733425 h 4429294"/>
                    <a:gd name="connsiteX71" fmla="*/ 650069 w 4501379"/>
                    <a:gd name="connsiteY71" fmla="*/ 676275 h 4429294"/>
                    <a:gd name="connsiteX72" fmla="*/ 678644 w 4501379"/>
                    <a:gd name="connsiteY72" fmla="*/ 657225 h 4429294"/>
                    <a:gd name="connsiteX73" fmla="*/ 821519 w 4501379"/>
                    <a:gd name="connsiteY73" fmla="*/ 533400 h 4429294"/>
                    <a:gd name="connsiteX74" fmla="*/ 869144 w 4501379"/>
                    <a:gd name="connsiteY74" fmla="*/ 504825 h 4429294"/>
                    <a:gd name="connsiteX75" fmla="*/ 1148544 w 4501379"/>
                    <a:gd name="connsiteY75" fmla="*/ 311150 h 4429294"/>
                    <a:gd name="connsiteX76" fmla="*/ 1250144 w 4501379"/>
                    <a:gd name="connsiteY76" fmla="*/ 285750 h 4429294"/>
                    <a:gd name="connsiteX77" fmla="*/ 1393019 w 4501379"/>
                    <a:gd name="connsiteY77" fmla="*/ 190500 h 4429294"/>
                    <a:gd name="connsiteX78" fmla="*/ 1431119 w 4501379"/>
                    <a:gd name="connsiteY78" fmla="*/ 161925 h 4429294"/>
                    <a:gd name="connsiteX79" fmla="*/ 1507319 w 4501379"/>
                    <a:gd name="connsiteY79" fmla="*/ 152400 h 4429294"/>
                    <a:gd name="connsiteX80" fmla="*/ 1564469 w 4501379"/>
                    <a:gd name="connsiteY80" fmla="*/ 142875 h 4429294"/>
                    <a:gd name="connsiteX81" fmla="*/ 1697819 w 4501379"/>
                    <a:gd name="connsiteY81" fmla="*/ 123825 h 4429294"/>
                    <a:gd name="connsiteX82" fmla="*/ 1793069 w 4501379"/>
                    <a:gd name="connsiteY82" fmla="*/ 114300 h 4429294"/>
                    <a:gd name="connsiteX83" fmla="*/ 1840694 w 4501379"/>
                    <a:gd name="connsiteY83" fmla="*/ 104775 h 4429294"/>
                    <a:gd name="connsiteX84" fmla="*/ 1897844 w 4501379"/>
                    <a:gd name="connsiteY84" fmla="*/ 95250 h 4429294"/>
                    <a:gd name="connsiteX85" fmla="*/ 2012144 w 4501379"/>
                    <a:gd name="connsiteY85" fmla="*/ 66675 h 4429294"/>
                    <a:gd name="connsiteX86" fmla="*/ 2078819 w 4501379"/>
                    <a:gd name="connsiteY86" fmla="*/ 47625 h 4429294"/>
                    <a:gd name="connsiteX87" fmla="*/ 2145494 w 4501379"/>
                    <a:gd name="connsiteY8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2955119 w 4501379"/>
                    <a:gd name="connsiteY3" fmla="*/ 114300 h 4429294"/>
                    <a:gd name="connsiteX4" fmla="*/ 3117044 w 4501379"/>
                    <a:gd name="connsiteY4" fmla="*/ 171450 h 4429294"/>
                    <a:gd name="connsiteX5" fmla="*/ 3155144 w 4501379"/>
                    <a:gd name="connsiteY5" fmla="*/ 190500 h 4429294"/>
                    <a:gd name="connsiteX6" fmla="*/ 3221819 w 4501379"/>
                    <a:gd name="connsiteY6" fmla="*/ 228600 h 4429294"/>
                    <a:gd name="connsiteX7" fmla="*/ 3250394 w 4501379"/>
                    <a:gd name="connsiteY7" fmla="*/ 238125 h 4429294"/>
                    <a:gd name="connsiteX8" fmla="*/ 3278969 w 4501379"/>
                    <a:gd name="connsiteY8" fmla="*/ 257175 h 4429294"/>
                    <a:gd name="connsiteX9" fmla="*/ 3307544 w 4501379"/>
                    <a:gd name="connsiteY9" fmla="*/ 266700 h 4429294"/>
                    <a:gd name="connsiteX10" fmla="*/ 3336119 w 4501379"/>
                    <a:gd name="connsiteY10" fmla="*/ 285750 h 4429294"/>
                    <a:gd name="connsiteX11" fmla="*/ 3402794 w 4501379"/>
                    <a:gd name="connsiteY11" fmla="*/ 323850 h 4429294"/>
                    <a:gd name="connsiteX12" fmla="*/ 3450419 w 4501379"/>
                    <a:gd name="connsiteY12" fmla="*/ 361950 h 4429294"/>
                    <a:gd name="connsiteX13" fmla="*/ 3498044 w 4501379"/>
                    <a:gd name="connsiteY13" fmla="*/ 390525 h 4429294"/>
                    <a:gd name="connsiteX14" fmla="*/ 3612344 w 4501379"/>
                    <a:gd name="connsiteY14" fmla="*/ 485775 h 4429294"/>
                    <a:gd name="connsiteX15" fmla="*/ 3726644 w 4501379"/>
                    <a:gd name="connsiteY15" fmla="*/ 542925 h 4429294"/>
                    <a:gd name="connsiteX16" fmla="*/ 3793319 w 4501379"/>
                    <a:gd name="connsiteY16" fmla="*/ 581025 h 4429294"/>
                    <a:gd name="connsiteX17" fmla="*/ 4009219 w 4501379"/>
                    <a:gd name="connsiteY17" fmla="*/ 819150 h 4429294"/>
                    <a:gd name="connsiteX18" fmla="*/ 4145744 w 4501379"/>
                    <a:gd name="connsiteY18" fmla="*/ 990600 h 4429294"/>
                    <a:gd name="connsiteX19" fmla="*/ 4231469 w 4501379"/>
                    <a:gd name="connsiteY19" fmla="*/ 1143000 h 4429294"/>
                    <a:gd name="connsiteX20" fmla="*/ 4288619 w 4501379"/>
                    <a:gd name="connsiteY20" fmla="*/ 1266825 h 4429294"/>
                    <a:gd name="connsiteX21" fmla="*/ 4326719 w 4501379"/>
                    <a:gd name="connsiteY21" fmla="*/ 1362075 h 4429294"/>
                    <a:gd name="connsiteX22" fmla="*/ 4374344 w 4501379"/>
                    <a:gd name="connsiteY22" fmla="*/ 1552575 h 4429294"/>
                    <a:gd name="connsiteX23" fmla="*/ 4412444 w 4501379"/>
                    <a:gd name="connsiteY23" fmla="*/ 1685925 h 4429294"/>
                    <a:gd name="connsiteX24" fmla="*/ 4501344 w 4501379"/>
                    <a:gd name="connsiteY24" fmla="*/ 2181225 h 4429294"/>
                    <a:gd name="connsiteX25" fmla="*/ 4428319 w 4501379"/>
                    <a:gd name="connsiteY25" fmla="*/ 2768600 h 4429294"/>
                    <a:gd name="connsiteX26" fmla="*/ 4364819 w 4501379"/>
                    <a:gd name="connsiteY26" fmla="*/ 2990850 h 4429294"/>
                    <a:gd name="connsiteX27" fmla="*/ 4260044 w 4501379"/>
                    <a:gd name="connsiteY27" fmla="*/ 3248025 h 4429294"/>
                    <a:gd name="connsiteX28" fmla="*/ 4164794 w 4501379"/>
                    <a:gd name="connsiteY28" fmla="*/ 3400425 h 4429294"/>
                    <a:gd name="connsiteX29" fmla="*/ 4040969 w 4501379"/>
                    <a:gd name="connsiteY29" fmla="*/ 3533775 h 4429294"/>
                    <a:gd name="connsiteX30" fmla="*/ 3936194 w 4501379"/>
                    <a:gd name="connsiteY30" fmla="*/ 3648075 h 4429294"/>
                    <a:gd name="connsiteX31" fmla="*/ 3640919 w 4501379"/>
                    <a:gd name="connsiteY31" fmla="*/ 3971925 h 4429294"/>
                    <a:gd name="connsiteX32" fmla="*/ 3498044 w 4501379"/>
                    <a:gd name="connsiteY32" fmla="*/ 4083050 h 4429294"/>
                    <a:gd name="connsiteX33" fmla="*/ 3202769 w 4501379"/>
                    <a:gd name="connsiteY33" fmla="*/ 4222750 h 4429294"/>
                    <a:gd name="connsiteX34" fmla="*/ 3050369 w 4501379"/>
                    <a:gd name="connsiteY34" fmla="*/ 4286250 h 4429294"/>
                    <a:gd name="connsiteX35" fmla="*/ 2917019 w 4501379"/>
                    <a:gd name="connsiteY35" fmla="*/ 4333875 h 4429294"/>
                    <a:gd name="connsiteX36" fmla="*/ 2793194 w 4501379"/>
                    <a:gd name="connsiteY36" fmla="*/ 4371975 h 4429294"/>
                    <a:gd name="connsiteX37" fmla="*/ 2561419 w 4501379"/>
                    <a:gd name="connsiteY37" fmla="*/ 4391025 h 4429294"/>
                    <a:gd name="connsiteX38" fmla="*/ 2107394 w 4501379"/>
                    <a:gd name="connsiteY38" fmla="*/ 4429125 h 4429294"/>
                    <a:gd name="connsiteX39" fmla="*/ 1916894 w 4501379"/>
                    <a:gd name="connsiteY39" fmla="*/ 4400550 h 4429294"/>
                    <a:gd name="connsiteX40" fmla="*/ 1554944 w 4501379"/>
                    <a:gd name="connsiteY40" fmla="*/ 4305300 h 4429294"/>
                    <a:gd name="connsiteX41" fmla="*/ 1313644 w 4501379"/>
                    <a:gd name="connsiteY41" fmla="*/ 4216400 h 4429294"/>
                    <a:gd name="connsiteX42" fmla="*/ 1145369 w 4501379"/>
                    <a:gd name="connsiteY42" fmla="*/ 4111625 h 4429294"/>
                    <a:gd name="connsiteX43" fmla="*/ 926294 w 4501379"/>
                    <a:gd name="connsiteY43" fmla="*/ 3968750 h 4429294"/>
                    <a:gd name="connsiteX44" fmla="*/ 592919 w 4501379"/>
                    <a:gd name="connsiteY44" fmla="*/ 3657600 h 4429294"/>
                    <a:gd name="connsiteX45" fmla="*/ 446869 w 4501379"/>
                    <a:gd name="connsiteY45" fmla="*/ 3470275 h 4429294"/>
                    <a:gd name="connsiteX46" fmla="*/ 316694 w 4501379"/>
                    <a:gd name="connsiteY46" fmla="*/ 3244850 h 4429294"/>
                    <a:gd name="connsiteX47" fmla="*/ 164294 w 4501379"/>
                    <a:gd name="connsiteY47" fmla="*/ 2892425 h 4429294"/>
                    <a:gd name="connsiteX48" fmla="*/ 56344 w 4501379"/>
                    <a:gd name="connsiteY48" fmla="*/ 2368550 h 4429294"/>
                    <a:gd name="connsiteX49" fmla="*/ 2369 w 4501379"/>
                    <a:gd name="connsiteY49" fmla="*/ 1905000 h 4429294"/>
                    <a:gd name="connsiteX50" fmla="*/ 11894 w 4501379"/>
                    <a:gd name="connsiteY50" fmla="*/ 1838325 h 4429294"/>
                    <a:gd name="connsiteX51" fmla="*/ 30944 w 4501379"/>
                    <a:gd name="connsiteY51" fmla="*/ 1781175 h 4429294"/>
                    <a:gd name="connsiteX52" fmla="*/ 40469 w 4501379"/>
                    <a:gd name="connsiteY52" fmla="*/ 1743075 h 4429294"/>
                    <a:gd name="connsiteX53" fmla="*/ 59519 w 4501379"/>
                    <a:gd name="connsiteY53" fmla="*/ 1685925 h 4429294"/>
                    <a:gd name="connsiteX54" fmla="*/ 69044 w 4501379"/>
                    <a:gd name="connsiteY54" fmla="*/ 1638300 h 4429294"/>
                    <a:gd name="connsiteX55" fmla="*/ 88094 w 4501379"/>
                    <a:gd name="connsiteY55" fmla="*/ 1590675 h 4429294"/>
                    <a:gd name="connsiteX56" fmla="*/ 116669 w 4501379"/>
                    <a:gd name="connsiteY56" fmla="*/ 1504950 h 4429294"/>
                    <a:gd name="connsiteX57" fmla="*/ 135719 w 4501379"/>
                    <a:gd name="connsiteY57" fmla="*/ 1419225 h 4429294"/>
                    <a:gd name="connsiteX58" fmla="*/ 211919 w 4501379"/>
                    <a:gd name="connsiteY58" fmla="*/ 1276350 h 4429294"/>
                    <a:gd name="connsiteX59" fmla="*/ 221444 w 4501379"/>
                    <a:gd name="connsiteY59" fmla="*/ 1247775 h 4429294"/>
                    <a:gd name="connsiteX60" fmla="*/ 250019 w 4501379"/>
                    <a:gd name="connsiteY60" fmla="*/ 1200150 h 4429294"/>
                    <a:gd name="connsiteX61" fmla="*/ 269069 w 4501379"/>
                    <a:gd name="connsiteY61" fmla="*/ 1152525 h 4429294"/>
                    <a:gd name="connsiteX62" fmla="*/ 297644 w 4501379"/>
                    <a:gd name="connsiteY62" fmla="*/ 1114425 h 4429294"/>
                    <a:gd name="connsiteX63" fmla="*/ 345269 w 4501379"/>
                    <a:gd name="connsiteY63" fmla="*/ 1038225 h 4429294"/>
                    <a:gd name="connsiteX64" fmla="*/ 364319 w 4501379"/>
                    <a:gd name="connsiteY64" fmla="*/ 1009650 h 4429294"/>
                    <a:gd name="connsiteX65" fmla="*/ 421469 w 4501379"/>
                    <a:gd name="connsiteY65" fmla="*/ 904875 h 4429294"/>
                    <a:gd name="connsiteX66" fmla="*/ 459569 w 4501379"/>
                    <a:gd name="connsiteY66" fmla="*/ 857250 h 4429294"/>
                    <a:gd name="connsiteX67" fmla="*/ 478619 w 4501379"/>
                    <a:gd name="connsiteY67" fmla="*/ 828675 h 4429294"/>
                    <a:gd name="connsiteX68" fmla="*/ 516719 w 4501379"/>
                    <a:gd name="connsiteY68" fmla="*/ 800100 h 4429294"/>
                    <a:gd name="connsiteX69" fmla="*/ 583394 w 4501379"/>
                    <a:gd name="connsiteY69" fmla="*/ 733425 h 4429294"/>
                    <a:gd name="connsiteX70" fmla="*/ 650069 w 4501379"/>
                    <a:gd name="connsiteY70" fmla="*/ 676275 h 4429294"/>
                    <a:gd name="connsiteX71" fmla="*/ 678644 w 4501379"/>
                    <a:gd name="connsiteY71" fmla="*/ 657225 h 4429294"/>
                    <a:gd name="connsiteX72" fmla="*/ 821519 w 4501379"/>
                    <a:gd name="connsiteY72" fmla="*/ 533400 h 4429294"/>
                    <a:gd name="connsiteX73" fmla="*/ 869144 w 4501379"/>
                    <a:gd name="connsiteY73" fmla="*/ 504825 h 4429294"/>
                    <a:gd name="connsiteX74" fmla="*/ 1148544 w 4501379"/>
                    <a:gd name="connsiteY74" fmla="*/ 311150 h 4429294"/>
                    <a:gd name="connsiteX75" fmla="*/ 1250144 w 4501379"/>
                    <a:gd name="connsiteY75" fmla="*/ 285750 h 4429294"/>
                    <a:gd name="connsiteX76" fmla="*/ 1393019 w 4501379"/>
                    <a:gd name="connsiteY76" fmla="*/ 190500 h 4429294"/>
                    <a:gd name="connsiteX77" fmla="*/ 1431119 w 4501379"/>
                    <a:gd name="connsiteY77" fmla="*/ 161925 h 4429294"/>
                    <a:gd name="connsiteX78" fmla="*/ 1507319 w 4501379"/>
                    <a:gd name="connsiteY78" fmla="*/ 152400 h 4429294"/>
                    <a:gd name="connsiteX79" fmla="*/ 1564469 w 4501379"/>
                    <a:gd name="connsiteY79" fmla="*/ 142875 h 4429294"/>
                    <a:gd name="connsiteX80" fmla="*/ 1697819 w 4501379"/>
                    <a:gd name="connsiteY80" fmla="*/ 123825 h 4429294"/>
                    <a:gd name="connsiteX81" fmla="*/ 1793069 w 4501379"/>
                    <a:gd name="connsiteY81" fmla="*/ 114300 h 4429294"/>
                    <a:gd name="connsiteX82" fmla="*/ 1840694 w 4501379"/>
                    <a:gd name="connsiteY82" fmla="*/ 104775 h 4429294"/>
                    <a:gd name="connsiteX83" fmla="*/ 1897844 w 4501379"/>
                    <a:gd name="connsiteY83" fmla="*/ 95250 h 4429294"/>
                    <a:gd name="connsiteX84" fmla="*/ 2012144 w 4501379"/>
                    <a:gd name="connsiteY84" fmla="*/ 66675 h 4429294"/>
                    <a:gd name="connsiteX85" fmla="*/ 2078819 w 4501379"/>
                    <a:gd name="connsiteY85" fmla="*/ 47625 h 4429294"/>
                    <a:gd name="connsiteX86" fmla="*/ 2145494 w 4501379"/>
                    <a:gd name="connsiteY8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155144 w 4501379"/>
                    <a:gd name="connsiteY4" fmla="*/ 190500 h 4429294"/>
                    <a:gd name="connsiteX5" fmla="*/ 3221819 w 4501379"/>
                    <a:gd name="connsiteY5" fmla="*/ 228600 h 4429294"/>
                    <a:gd name="connsiteX6" fmla="*/ 3250394 w 4501379"/>
                    <a:gd name="connsiteY6" fmla="*/ 238125 h 4429294"/>
                    <a:gd name="connsiteX7" fmla="*/ 3278969 w 4501379"/>
                    <a:gd name="connsiteY7" fmla="*/ 257175 h 4429294"/>
                    <a:gd name="connsiteX8" fmla="*/ 3307544 w 4501379"/>
                    <a:gd name="connsiteY8" fmla="*/ 266700 h 4429294"/>
                    <a:gd name="connsiteX9" fmla="*/ 3336119 w 4501379"/>
                    <a:gd name="connsiteY9" fmla="*/ 285750 h 4429294"/>
                    <a:gd name="connsiteX10" fmla="*/ 3402794 w 4501379"/>
                    <a:gd name="connsiteY10" fmla="*/ 323850 h 4429294"/>
                    <a:gd name="connsiteX11" fmla="*/ 3450419 w 4501379"/>
                    <a:gd name="connsiteY11" fmla="*/ 361950 h 4429294"/>
                    <a:gd name="connsiteX12" fmla="*/ 3498044 w 4501379"/>
                    <a:gd name="connsiteY12" fmla="*/ 390525 h 4429294"/>
                    <a:gd name="connsiteX13" fmla="*/ 3612344 w 4501379"/>
                    <a:gd name="connsiteY13" fmla="*/ 485775 h 4429294"/>
                    <a:gd name="connsiteX14" fmla="*/ 3726644 w 4501379"/>
                    <a:gd name="connsiteY14" fmla="*/ 542925 h 4429294"/>
                    <a:gd name="connsiteX15" fmla="*/ 3793319 w 4501379"/>
                    <a:gd name="connsiteY15" fmla="*/ 581025 h 4429294"/>
                    <a:gd name="connsiteX16" fmla="*/ 4009219 w 4501379"/>
                    <a:gd name="connsiteY16" fmla="*/ 819150 h 4429294"/>
                    <a:gd name="connsiteX17" fmla="*/ 4145744 w 4501379"/>
                    <a:gd name="connsiteY17" fmla="*/ 990600 h 4429294"/>
                    <a:gd name="connsiteX18" fmla="*/ 4231469 w 4501379"/>
                    <a:gd name="connsiteY18" fmla="*/ 1143000 h 4429294"/>
                    <a:gd name="connsiteX19" fmla="*/ 4288619 w 4501379"/>
                    <a:gd name="connsiteY19" fmla="*/ 1266825 h 4429294"/>
                    <a:gd name="connsiteX20" fmla="*/ 4326719 w 4501379"/>
                    <a:gd name="connsiteY20" fmla="*/ 1362075 h 4429294"/>
                    <a:gd name="connsiteX21" fmla="*/ 4374344 w 4501379"/>
                    <a:gd name="connsiteY21" fmla="*/ 1552575 h 4429294"/>
                    <a:gd name="connsiteX22" fmla="*/ 4412444 w 4501379"/>
                    <a:gd name="connsiteY22" fmla="*/ 1685925 h 4429294"/>
                    <a:gd name="connsiteX23" fmla="*/ 4501344 w 4501379"/>
                    <a:gd name="connsiteY23" fmla="*/ 2181225 h 4429294"/>
                    <a:gd name="connsiteX24" fmla="*/ 4428319 w 4501379"/>
                    <a:gd name="connsiteY24" fmla="*/ 2768600 h 4429294"/>
                    <a:gd name="connsiteX25" fmla="*/ 4364819 w 4501379"/>
                    <a:gd name="connsiteY25" fmla="*/ 2990850 h 4429294"/>
                    <a:gd name="connsiteX26" fmla="*/ 4260044 w 4501379"/>
                    <a:gd name="connsiteY26" fmla="*/ 3248025 h 4429294"/>
                    <a:gd name="connsiteX27" fmla="*/ 4164794 w 4501379"/>
                    <a:gd name="connsiteY27" fmla="*/ 3400425 h 4429294"/>
                    <a:gd name="connsiteX28" fmla="*/ 4040969 w 4501379"/>
                    <a:gd name="connsiteY28" fmla="*/ 3533775 h 4429294"/>
                    <a:gd name="connsiteX29" fmla="*/ 3936194 w 4501379"/>
                    <a:gd name="connsiteY29" fmla="*/ 3648075 h 4429294"/>
                    <a:gd name="connsiteX30" fmla="*/ 3640919 w 4501379"/>
                    <a:gd name="connsiteY30" fmla="*/ 3971925 h 4429294"/>
                    <a:gd name="connsiteX31" fmla="*/ 3498044 w 4501379"/>
                    <a:gd name="connsiteY31" fmla="*/ 4083050 h 4429294"/>
                    <a:gd name="connsiteX32" fmla="*/ 3202769 w 4501379"/>
                    <a:gd name="connsiteY32" fmla="*/ 4222750 h 4429294"/>
                    <a:gd name="connsiteX33" fmla="*/ 3050369 w 4501379"/>
                    <a:gd name="connsiteY33" fmla="*/ 4286250 h 4429294"/>
                    <a:gd name="connsiteX34" fmla="*/ 2917019 w 4501379"/>
                    <a:gd name="connsiteY34" fmla="*/ 4333875 h 4429294"/>
                    <a:gd name="connsiteX35" fmla="*/ 2793194 w 4501379"/>
                    <a:gd name="connsiteY35" fmla="*/ 4371975 h 4429294"/>
                    <a:gd name="connsiteX36" fmla="*/ 2561419 w 4501379"/>
                    <a:gd name="connsiteY36" fmla="*/ 4391025 h 4429294"/>
                    <a:gd name="connsiteX37" fmla="*/ 2107394 w 4501379"/>
                    <a:gd name="connsiteY37" fmla="*/ 4429125 h 4429294"/>
                    <a:gd name="connsiteX38" fmla="*/ 1916894 w 4501379"/>
                    <a:gd name="connsiteY38" fmla="*/ 4400550 h 4429294"/>
                    <a:gd name="connsiteX39" fmla="*/ 1554944 w 4501379"/>
                    <a:gd name="connsiteY39" fmla="*/ 4305300 h 4429294"/>
                    <a:gd name="connsiteX40" fmla="*/ 1313644 w 4501379"/>
                    <a:gd name="connsiteY40" fmla="*/ 4216400 h 4429294"/>
                    <a:gd name="connsiteX41" fmla="*/ 1145369 w 4501379"/>
                    <a:gd name="connsiteY41" fmla="*/ 4111625 h 4429294"/>
                    <a:gd name="connsiteX42" fmla="*/ 926294 w 4501379"/>
                    <a:gd name="connsiteY42" fmla="*/ 3968750 h 4429294"/>
                    <a:gd name="connsiteX43" fmla="*/ 592919 w 4501379"/>
                    <a:gd name="connsiteY43" fmla="*/ 3657600 h 4429294"/>
                    <a:gd name="connsiteX44" fmla="*/ 446869 w 4501379"/>
                    <a:gd name="connsiteY44" fmla="*/ 3470275 h 4429294"/>
                    <a:gd name="connsiteX45" fmla="*/ 316694 w 4501379"/>
                    <a:gd name="connsiteY45" fmla="*/ 3244850 h 4429294"/>
                    <a:gd name="connsiteX46" fmla="*/ 164294 w 4501379"/>
                    <a:gd name="connsiteY46" fmla="*/ 2892425 h 4429294"/>
                    <a:gd name="connsiteX47" fmla="*/ 56344 w 4501379"/>
                    <a:gd name="connsiteY47" fmla="*/ 2368550 h 4429294"/>
                    <a:gd name="connsiteX48" fmla="*/ 2369 w 4501379"/>
                    <a:gd name="connsiteY48" fmla="*/ 1905000 h 4429294"/>
                    <a:gd name="connsiteX49" fmla="*/ 11894 w 4501379"/>
                    <a:gd name="connsiteY49" fmla="*/ 1838325 h 4429294"/>
                    <a:gd name="connsiteX50" fmla="*/ 30944 w 4501379"/>
                    <a:gd name="connsiteY50" fmla="*/ 1781175 h 4429294"/>
                    <a:gd name="connsiteX51" fmla="*/ 40469 w 4501379"/>
                    <a:gd name="connsiteY51" fmla="*/ 1743075 h 4429294"/>
                    <a:gd name="connsiteX52" fmla="*/ 59519 w 4501379"/>
                    <a:gd name="connsiteY52" fmla="*/ 1685925 h 4429294"/>
                    <a:gd name="connsiteX53" fmla="*/ 69044 w 4501379"/>
                    <a:gd name="connsiteY53" fmla="*/ 1638300 h 4429294"/>
                    <a:gd name="connsiteX54" fmla="*/ 88094 w 4501379"/>
                    <a:gd name="connsiteY54" fmla="*/ 1590675 h 4429294"/>
                    <a:gd name="connsiteX55" fmla="*/ 116669 w 4501379"/>
                    <a:gd name="connsiteY55" fmla="*/ 1504950 h 4429294"/>
                    <a:gd name="connsiteX56" fmla="*/ 135719 w 4501379"/>
                    <a:gd name="connsiteY56" fmla="*/ 1419225 h 4429294"/>
                    <a:gd name="connsiteX57" fmla="*/ 211919 w 4501379"/>
                    <a:gd name="connsiteY57" fmla="*/ 1276350 h 4429294"/>
                    <a:gd name="connsiteX58" fmla="*/ 221444 w 4501379"/>
                    <a:gd name="connsiteY58" fmla="*/ 1247775 h 4429294"/>
                    <a:gd name="connsiteX59" fmla="*/ 250019 w 4501379"/>
                    <a:gd name="connsiteY59" fmla="*/ 1200150 h 4429294"/>
                    <a:gd name="connsiteX60" fmla="*/ 269069 w 4501379"/>
                    <a:gd name="connsiteY60" fmla="*/ 1152525 h 4429294"/>
                    <a:gd name="connsiteX61" fmla="*/ 297644 w 4501379"/>
                    <a:gd name="connsiteY61" fmla="*/ 1114425 h 4429294"/>
                    <a:gd name="connsiteX62" fmla="*/ 345269 w 4501379"/>
                    <a:gd name="connsiteY62" fmla="*/ 1038225 h 4429294"/>
                    <a:gd name="connsiteX63" fmla="*/ 364319 w 4501379"/>
                    <a:gd name="connsiteY63" fmla="*/ 1009650 h 4429294"/>
                    <a:gd name="connsiteX64" fmla="*/ 421469 w 4501379"/>
                    <a:gd name="connsiteY64" fmla="*/ 904875 h 4429294"/>
                    <a:gd name="connsiteX65" fmla="*/ 459569 w 4501379"/>
                    <a:gd name="connsiteY65" fmla="*/ 857250 h 4429294"/>
                    <a:gd name="connsiteX66" fmla="*/ 478619 w 4501379"/>
                    <a:gd name="connsiteY66" fmla="*/ 828675 h 4429294"/>
                    <a:gd name="connsiteX67" fmla="*/ 516719 w 4501379"/>
                    <a:gd name="connsiteY67" fmla="*/ 800100 h 4429294"/>
                    <a:gd name="connsiteX68" fmla="*/ 583394 w 4501379"/>
                    <a:gd name="connsiteY68" fmla="*/ 733425 h 4429294"/>
                    <a:gd name="connsiteX69" fmla="*/ 650069 w 4501379"/>
                    <a:gd name="connsiteY69" fmla="*/ 676275 h 4429294"/>
                    <a:gd name="connsiteX70" fmla="*/ 678644 w 4501379"/>
                    <a:gd name="connsiteY70" fmla="*/ 657225 h 4429294"/>
                    <a:gd name="connsiteX71" fmla="*/ 821519 w 4501379"/>
                    <a:gd name="connsiteY71" fmla="*/ 533400 h 4429294"/>
                    <a:gd name="connsiteX72" fmla="*/ 869144 w 4501379"/>
                    <a:gd name="connsiteY72" fmla="*/ 504825 h 4429294"/>
                    <a:gd name="connsiteX73" fmla="*/ 1148544 w 4501379"/>
                    <a:gd name="connsiteY73" fmla="*/ 311150 h 4429294"/>
                    <a:gd name="connsiteX74" fmla="*/ 1250144 w 4501379"/>
                    <a:gd name="connsiteY74" fmla="*/ 285750 h 4429294"/>
                    <a:gd name="connsiteX75" fmla="*/ 1393019 w 4501379"/>
                    <a:gd name="connsiteY75" fmla="*/ 190500 h 4429294"/>
                    <a:gd name="connsiteX76" fmla="*/ 1431119 w 4501379"/>
                    <a:gd name="connsiteY76" fmla="*/ 161925 h 4429294"/>
                    <a:gd name="connsiteX77" fmla="*/ 1507319 w 4501379"/>
                    <a:gd name="connsiteY77" fmla="*/ 152400 h 4429294"/>
                    <a:gd name="connsiteX78" fmla="*/ 1564469 w 4501379"/>
                    <a:gd name="connsiteY78" fmla="*/ 142875 h 4429294"/>
                    <a:gd name="connsiteX79" fmla="*/ 1697819 w 4501379"/>
                    <a:gd name="connsiteY79" fmla="*/ 123825 h 4429294"/>
                    <a:gd name="connsiteX80" fmla="*/ 1793069 w 4501379"/>
                    <a:gd name="connsiteY80" fmla="*/ 114300 h 4429294"/>
                    <a:gd name="connsiteX81" fmla="*/ 1840694 w 4501379"/>
                    <a:gd name="connsiteY81" fmla="*/ 104775 h 4429294"/>
                    <a:gd name="connsiteX82" fmla="*/ 1897844 w 4501379"/>
                    <a:gd name="connsiteY82" fmla="*/ 95250 h 4429294"/>
                    <a:gd name="connsiteX83" fmla="*/ 2012144 w 4501379"/>
                    <a:gd name="connsiteY83" fmla="*/ 66675 h 4429294"/>
                    <a:gd name="connsiteX84" fmla="*/ 2078819 w 4501379"/>
                    <a:gd name="connsiteY84" fmla="*/ 47625 h 4429294"/>
                    <a:gd name="connsiteX85" fmla="*/ 2145494 w 4501379"/>
                    <a:gd name="connsiteY8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278969 w 4501379"/>
                    <a:gd name="connsiteY6" fmla="*/ 257175 h 4429294"/>
                    <a:gd name="connsiteX7" fmla="*/ 3307544 w 4501379"/>
                    <a:gd name="connsiteY7" fmla="*/ 266700 h 4429294"/>
                    <a:gd name="connsiteX8" fmla="*/ 3336119 w 4501379"/>
                    <a:gd name="connsiteY8" fmla="*/ 285750 h 4429294"/>
                    <a:gd name="connsiteX9" fmla="*/ 3402794 w 4501379"/>
                    <a:gd name="connsiteY9" fmla="*/ 323850 h 4429294"/>
                    <a:gd name="connsiteX10" fmla="*/ 3450419 w 4501379"/>
                    <a:gd name="connsiteY10" fmla="*/ 361950 h 4429294"/>
                    <a:gd name="connsiteX11" fmla="*/ 3498044 w 4501379"/>
                    <a:gd name="connsiteY11" fmla="*/ 390525 h 4429294"/>
                    <a:gd name="connsiteX12" fmla="*/ 3612344 w 4501379"/>
                    <a:gd name="connsiteY12" fmla="*/ 485775 h 4429294"/>
                    <a:gd name="connsiteX13" fmla="*/ 3726644 w 4501379"/>
                    <a:gd name="connsiteY13" fmla="*/ 542925 h 4429294"/>
                    <a:gd name="connsiteX14" fmla="*/ 3793319 w 4501379"/>
                    <a:gd name="connsiteY14" fmla="*/ 581025 h 4429294"/>
                    <a:gd name="connsiteX15" fmla="*/ 4009219 w 4501379"/>
                    <a:gd name="connsiteY15" fmla="*/ 819150 h 4429294"/>
                    <a:gd name="connsiteX16" fmla="*/ 4145744 w 4501379"/>
                    <a:gd name="connsiteY16" fmla="*/ 990600 h 4429294"/>
                    <a:gd name="connsiteX17" fmla="*/ 4231469 w 4501379"/>
                    <a:gd name="connsiteY17" fmla="*/ 1143000 h 4429294"/>
                    <a:gd name="connsiteX18" fmla="*/ 4288619 w 4501379"/>
                    <a:gd name="connsiteY18" fmla="*/ 1266825 h 4429294"/>
                    <a:gd name="connsiteX19" fmla="*/ 4326719 w 4501379"/>
                    <a:gd name="connsiteY19" fmla="*/ 1362075 h 4429294"/>
                    <a:gd name="connsiteX20" fmla="*/ 4374344 w 4501379"/>
                    <a:gd name="connsiteY20" fmla="*/ 1552575 h 4429294"/>
                    <a:gd name="connsiteX21" fmla="*/ 4412444 w 4501379"/>
                    <a:gd name="connsiteY21" fmla="*/ 1685925 h 4429294"/>
                    <a:gd name="connsiteX22" fmla="*/ 4501344 w 4501379"/>
                    <a:gd name="connsiteY22" fmla="*/ 2181225 h 4429294"/>
                    <a:gd name="connsiteX23" fmla="*/ 4428319 w 4501379"/>
                    <a:gd name="connsiteY23" fmla="*/ 2768600 h 4429294"/>
                    <a:gd name="connsiteX24" fmla="*/ 4364819 w 4501379"/>
                    <a:gd name="connsiteY24" fmla="*/ 2990850 h 4429294"/>
                    <a:gd name="connsiteX25" fmla="*/ 4260044 w 4501379"/>
                    <a:gd name="connsiteY25" fmla="*/ 3248025 h 4429294"/>
                    <a:gd name="connsiteX26" fmla="*/ 4164794 w 4501379"/>
                    <a:gd name="connsiteY26" fmla="*/ 3400425 h 4429294"/>
                    <a:gd name="connsiteX27" fmla="*/ 4040969 w 4501379"/>
                    <a:gd name="connsiteY27" fmla="*/ 3533775 h 4429294"/>
                    <a:gd name="connsiteX28" fmla="*/ 3936194 w 4501379"/>
                    <a:gd name="connsiteY28" fmla="*/ 3648075 h 4429294"/>
                    <a:gd name="connsiteX29" fmla="*/ 3640919 w 4501379"/>
                    <a:gd name="connsiteY29" fmla="*/ 3971925 h 4429294"/>
                    <a:gd name="connsiteX30" fmla="*/ 3498044 w 4501379"/>
                    <a:gd name="connsiteY30" fmla="*/ 4083050 h 4429294"/>
                    <a:gd name="connsiteX31" fmla="*/ 3202769 w 4501379"/>
                    <a:gd name="connsiteY31" fmla="*/ 4222750 h 4429294"/>
                    <a:gd name="connsiteX32" fmla="*/ 3050369 w 4501379"/>
                    <a:gd name="connsiteY32" fmla="*/ 4286250 h 4429294"/>
                    <a:gd name="connsiteX33" fmla="*/ 2917019 w 4501379"/>
                    <a:gd name="connsiteY33" fmla="*/ 4333875 h 4429294"/>
                    <a:gd name="connsiteX34" fmla="*/ 2793194 w 4501379"/>
                    <a:gd name="connsiteY34" fmla="*/ 4371975 h 4429294"/>
                    <a:gd name="connsiteX35" fmla="*/ 2561419 w 4501379"/>
                    <a:gd name="connsiteY35" fmla="*/ 4391025 h 4429294"/>
                    <a:gd name="connsiteX36" fmla="*/ 2107394 w 4501379"/>
                    <a:gd name="connsiteY36" fmla="*/ 4429125 h 4429294"/>
                    <a:gd name="connsiteX37" fmla="*/ 1916894 w 4501379"/>
                    <a:gd name="connsiteY37" fmla="*/ 4400550 h 4429294"/>
                    <a:gd name="connsiteX38" fmla="*/ 1554944 w 4501379"/>
                    <a:gd name="connsiteY38" fmla="*/ 4305300 h 4429294"/>
                    <a:gd name="connsiteX39" fmla="*/ 1313644 w 4501379"/>
                    <a:gd name="connsiteY39" fmla="*/ 4216400 h 4429294"/>
                    <a:gd name="connsiteX40" fmla="*/ 1145369 w 4501379"/>
                    <a:gd name="connsiteY40" fmla="*/ 4111625 h 4429294"/>
                    <a:gd name="connsiteX41" fmla="*/ 926294 w 4501379"/>
                    <a:gd name="connsiteY41" fmla="*/ 3968750 h 4429294"/>
                    <a:gd name="connsiteX42" fmla="*/ 592919 w 4501379"/>
                    <a:gd name="connsiteY42" fmla="*/ 3657600 h 4429294"/>
                    <a:gd name="connsiteX43" fmla="*/ 446869 w 4501379"/>
                    <a:gd name="connsiteY43" fmla="*/ 3470275 h 4429294"/>
                    <a:gd name="connsiteX44" fmla="*/ 316694 w 4501379"/>
                    <a:gd name="connsiteY44" fmla="*/ 3244850 h 4429294"/>
                    <a:gd name="connsiteX45" fmla="*/ 164294 w 4501379"/>
                    <a:gd name="connsiteY45" fmla="*/ 2892425 h 4429294"/>
                    <a:gd name="connsiteX46" fmla="*/ 56344 w 4501379"/>
                    <a:gd name="connsiteY46" fmla="*/ 2368550 h 4429294"/>
                    <a:gd name="connsiteX47" fmla="*/ 2369 w 4501379"/>
                    <a:gd name="connsiteY47" fmla="*/ 1905000 h 4429294"/>
                    <a:gd name="connsiteX48" fmla="*/ 11894 w 4501379"/>
                    <a:gd name="connsiteY48" fmla="*/ 1838325 h 4429294"/>
                    <a:gd name="connsiteX49" fmla="*/ 30944 w 4501379"/>
                    <a:gd name="connsiteY49" fmla="*/ 1781175 h 4429294"/>
                    <a:gd name="connsiteX50" fmla="*/ 40469 w 4501379"/>
                    <a:gd name="connsiteY50" fmla="*/ 1743075 h 4429294"/>
                    <a:gd name="connsiteX51" fmla="*/ 59519 w 4501379"/>
                    <a:gd name="connsiteY51" fmla="*/ 1685925 h 4429294"/>
                    <a:gd name="connsiteX52" fmla="*/ 69044 w 4501379"/>
                    <a:gd name="connsiteY52" fmla="*/ 1638300 h 4429294"/>
                    <a:gd name="connsiteX53" fmla="*/ 88094 w 4501379"/>
                    <a:gd name="connsiteY53" fmla="*/ 1590675 h 4429294"/>
                    <a:gd name="connsiteX54" fmla="*/ 116669 w 4501379"/>
                    <a:gd name="connsiteY54" fmla="*/ 1504950 h 4429294"/>
                    <a:gd name="connsiteX55" fmla="*/ 135719 w 4501379"/>
                    <a:gd name="connsiteY55" fmla="*/ 1419225 h 4429294"/>
                    <a:gd name="connsiteX56" fmla="*/ 211919 w 4501379"/>
                    <a:gd name="connsiteY56" fmla="*/ 1276350 h 4429294"/>
                    <a:gd name="connsiteX57" fmla="*/ 221444 w 4501379"/>
                    <a:gd name="connsiteY57" fmla="*/ 1247775 h 4429294"/>
                    <a:gd name="connsiteX58" fmla="*/ 250019 w 4501379"/>
                    <a:gd name="connsiteY58" fmla="*/ 1200150 h 4429294"/>
                    <a:gd name="connsiteX59" fmla="*/ 269069 w 4501379"/>
                    <a:gd name="connsiteY59" fmla="*/ 1152525 h 4429294"/>
                    <a:gd name="connsiteX60" fmla="*/ 297644 w 4501379"/>
                    <a:gd name="connsiteY60" fmla="*/ 1114425 h 4429294"/>
                    <a:gd name="connsiteX61" fmla="*/ 345269 w 4501379"/>
                    <a:gd name="connsiteY61" fmla="*/ 1038225 h 4429294"/>
                    <a:gd name="connsiteX62" fmla="*/ 364319 w 4501379"/>
                    <a:gd name="connsiteY62" fmla="*/ 1009650 h 4429294"/>
                    <a:gd name="connsiteX63" fmla="*/ 421469 w 4501379"/>
                    <a:gd name="connsiteY63" fmla="*/ 904875 h 4429294"/>
                    <a:gd name="connsiteX64" fmla="*/ 459569 w 4501379"/>
                    <a:gd name="connsiteY64" fmla="*/ 857250 h 4429294"/>
                    <a:gd name="connsiteX65" fmla="*/ 478619 w 4501379"/>
                    <a:gd name="connsiteY65" fmla="*/ 828675 h 4429294"/>
                    <a:gd name="connsiteX66" fmla="*/ 516719 w 4501379"/>
                    <a:gd name="connsiteY66" fmla="*/ 800100 h 4429294"/>
                    <a:gd name="connsiteX67" fmla="*/ 583394 w 4501379"/>
                    <a:gd name="connsiteY67" fmla="*/ 733425 h 4429294"/>
                    <a:gd name="connsiteX68" fmla="*/ 650069 w 4501379"/>
                    <a:gd name="connsiteY68" fmla="*/ 676275 h 4429294"/>
                    <a:gd name="connsiteX69" fmla="*/ 678644 w 4501379"/>
                    <a:gd name="connsiteY69" fmla="*/ 657225 h 4429294"/>
                    <a:gd name="connsiteX70" fmla="*/ 821519 w 4501379"/>
                    <a:gd name="connsiteY70" fmla="*/ 533400 h 4429294"/>
                    <a:gd name="connsiteX71" fmla="*/ 869144 w 4501379"/>
                    <a:gd name="connsiteY71" fmla="*/ 504825 h 4429294"/>
                    <a:gd name="connsiteX72" fmla="*/ 1148544 w 4501379"/>
                    <a:gd name="connsiteY72" fmla="*/ 311150 h 4429294"/>
                    <a:gd name="connsiteX73" fmla="*/ 1250144 w 4501379"/>
                    <a:gd name="connsiteY73" fmla="*/ 285750 h 4429294"/>
                    <a:gd name="connsiteX74" fmla="*/ 1393019 w 4501379"/>
                    <a:gd name="connsiteY74" fmla="*/ 190500 h 4429294"/>
                    <a:gd name="connsiteX75" fmla="*/ 1431119 w 4501379"/>
                    <a:gd name="connsiteY75" fmla="*/ 161925 h 4429294"/>
                    <a:gd name="connsiteX76" fmla="*/ 1507319 w 4501379"/>
                    <a:gd name="connsiteY76" fmla="*/ 152400 h 4429294"/>
                    <a:gd name="connsiteX77" fmla="*/ 1564469 w 4501379"/>
                    <a:gd name="connsiteY77" fmla="*/ 142875 h 4429294"/>
                    <a:gd name="connsiteX78" fmla="*/ 1697819 w 4501379"/>
                    <a:gd name="connsiteY78" fmla="*/ 123825 h 4429294"/>
                    <a:gd name="connsiteX79" fmla="*/ 1793069 w 4501379"/>
                    <a:gd name="connsiteY79" fmla="*/ 114300 h 4429294"/>
                    <a:gd name="connsiteX80" fmla="*/ 1840694 w 4501379"/>
                    <a:gd name="connsiteY80" fmla="*/ 104775 h 4429294"/>
                    <a:gd name="connsiteX81" fmla="*/ 1897844 w 4501379"/>
                    <a:gd name="connsiteY81" fmla="*/ 95250 h 4429294"/>
                    <a:gd name="connsiteX82" fmla="*/ 2012144 w 4501379"/>
                    <a:gd name="connsiteY82" fmla="*/ 66675 h 4429294"/>
                    <a:gd name="connsiteX83" fmla="*/ 2078819 w 4501379"/>
                    <a:gd name="connsiteY83" fmla="*/ 47625 h 4429294"/>
                    <a:gd name="connsiteX84" fmla="*/ 2145494 w 4501379"/>
                    <a:gd name="connsiteY8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336119 w 4501379"/>
                    <a:gd name="connsiteY7" fmla="*/ 285750 h 4429294"/>
                    <a:gd name="connsiteX8" fmla="*/ 3402794 w 4501379"/>
                    <a:gd name="connsiteY8" fmla="*/ 323850 h 4429294"/>
                    <a:gd name="connsiteX9" fmla="*/ 3450419 w 4501379"/>
                    <a:gd name="connsiteY9" fmla="*/ 361950 h 4429294"/>
                    <a:gd name="connsiteX10" fmla="*/ 3498044 w 4501379"/>
                    <a:gd name="connsiteY10" fmla="*/ 390525 h 4429294"/>
                    <a:gd name="connsiteX11" fmla="*/ 3612344 w 4501379"/>
                    <a:gd name="connsiteY11" fmla="*/ 485775 h 4429294"/>
                    <a:gd name="connsiteX12" fmla="*/ 3726644 w 4501379"/>
                    <a:gd name="connsiteY12" fmla="*/ 542925 h 4429294"/>
                    <a:gd name="connsiteX13" fmla="*/ 3793319 w 4501379"/>
                    <a:gd name="connsiteY13" fmla="*/ 581025 h 4429294"/>
                    <a:gd name="connsiteX14" fmla="*/ 4009219 w 4501379"/>
                    <a:gd name="connsiteY14" fmla="*/ 819150 h 4429294"/>
                    <a:gd name="connsiteX15" fmla="*/ 4145744 w 4501379"/>
                    <a:gd name="connsiteY15" fmla="*/ 990600 h 4429294"/>
                    <a:gd name="connsiteX16" fmla="*/ 4231469 w 4501379"/>
                    <a:gd name="connsiteY16" fmla="*/ 1143000 h 4429294"/>
                    <a:gd name="connsiteX17" fmla="*/ 4288619 w 4501379"/>
                    <a:gd name="connsiteY17" fmla="*/ 1266825 h 4429294"/>
                    <a:gd name="connsiteX18" fmla="*/ 4326719 w 4501379"/>
                    <a:gd name="connsiteY18" fmla="*/ 1362075 h 4429294"/>
                    <a:gd name="connsiteX19" fmla="*/ 4374344 w 4501379"/>
                    <a:gd name="connsiteY19" fmla="*/ 1552575 h 4429294"/>
                    <a:gd name="connsiteX20" fmla="*/ 4412444 w 4501379"/>
                    <a:gd name="connsiteY20" fmla="*/ 1685925 h 4429294"/>
                    <a:gd name="connsiteX21" fmla="*/ 4501344 w 4501379"/>
                    <a:gd name="connsiteY21" fmla="*/ 2181225 h 4429294"/>
                    <a:gd name="connsiteX22" fmla="*/ 4428319 w 4501379"/>
                    <a:gd name="connsiteY22" fmla="*/ 2768600 h 4429294"/>
                    <a:gd name="connsiteX23" fmla="*/ 4364819 w 4501379"/>
                    <a:gd name="connsiteY23" fmla="*/ 2990850 h 4429294"/>
                    <a:gd name="connsiteX24" fmla="*/ 4260044 w 4501379"/>
                    <a:gd name="connsiteY24" fmla="*/ 3248025 h 4429294"/>
                    <a:gd name="connsiteX25" fmla="*/ 4164794 w 4501379"/>
                    <a:gd name="connsiteY25" fmla="*/ 3400425 h 4429294"/>
                    <a:gd name="connsiteX26" fmla="*/ 4040969 w 4501379"/>
                    <a:gd name="connsiteY26" fmla="*/ 3533775 h 4429294"/>
                    <a:gd name="connsiteX27" fmla="*/ 3936194 w 4501379"/>
                    <a:gd name="connsiteY27" fmla="*/ 3648075 h 4429294"/>
                    <a:gd name="connsiteX28" fmla="*/ 3640919 w 4501379"/>
                    <a:gd name="connsiteY28" fmla="*/ 3971925 h 4429294"/>
                    <a:gd name="connsiteX29" fmla="*/ 3498044 w 4501379"/>
                    <a:gd name="connsiteY29" fmla="*/ 4083050 h 4429294"/>
                    <a:gd name="connsiteX30" fmla="*/ 3202769 w 4501379"/>
                    <a:gd name="connsiteY30" fmla="*/ 4222750 h 4429294"/>
                    <a:gd name="connsiteX31" fmla="*/ 3050369 w 4501379"/>
                    <a:gd name="connsiteY31" fmla="*/ 4286250 h 4429294"/>
                    <a:gd name="connsiteX32" fmla="*/ 2917019 w 4501379"/>
                    <a:gd name="connsiteY32" fmla="*/ 4333875 h 4429294"/>
                    <a:gd name="connsiteX33" fmla="*/ 2793194 w 4501379"/>
                    <a:gd name="connsiteY33" fmla="*/ 4371975 h 4429294"/>
                    <a:gd name="connsiteX34" fmla="*/ 2561419 w 4501379"/>
                    <a:gd name="connsiteY34" fmla="*/ 4391025 h 4429294"/>
                    <a:gd name="connsiteX35" fmla="*/ 2107394 w 4501379"/>
                    <a:gd name="connsiteY35" fmla="*/ 4429125 h 4429294"/>
                    <a:gd name="connsiteX36" fmla="*/ 1916894 w 4501379"/>
                    <a:gd name="connsiteY36" fmla="*/ 4400550 h 4429294"/>
                    <a:gd name="connsiteX37" fmla="*/ 1554944 w 4501379"/>
                    <a:gd name="connsiteY37" fmla="*/ 4305300 h 4429294"/>
                    <a:gd name="connsiteX38" fmla="*/ 1313644 w 4501379"/>
                    <a:gd name="connsiteY38" fmla="*/ 4216400 h 4429294"/>
                    <a:gd name="connsiteX39" fmla="*/ 1145369 w 4501379"/>
                    <a:gd name="connsiteY39" fmla="*/ 4111625 h 4429294"/>
                    <a:gd name="connsiteX40" fmla="*/ 926294 w 4501379"/>
                    <a:gd name="connsiteY40" fmla="*/ 3968750 h 4429294"/>
                    <a:gd name="connsiteX41" fmla="*/ 592919 w 4501379"/>
                    <a:gd name="connsiteY41" fmla="*/ 3657600 h 4429294"/>
                    <a:gd name="connsiteX42" fmla="*/ 446869 w 4501379"/>
                    <a:gd name="connsiteY42" fmla="*/ 3470275 h 4429294"/>
                    <a:gd name="connsiteX43" fmla="*/ 316694 w 4501379"/>
                    <a:gd name="connsiteY43" fmla="*/ 3244850 h 4429294"/>
                    <a:gd name="connsiteX44" fmla="*/ 164294 w 4501379"/>
                    <a:gd name="connsiteY44" fmla="*/ 2892425 h 4429294"/>
                    <a:gd name="connsiteX45" fmla="*/ 56344 w 4501379"/>
                    <a:gd name="connsiteY45" fmla="*/ 2368550 h 4429294"/>
                    <a:gd name="connsiteX46" fmla="*/ 2369 w 4501379"/>
                    <a:gd name="connsiteY46" fmla="*/ 1905000 h 4429294"/>
                    <a:gd name="connsiteX47" fmla="*/ 11894 w 4501379"/>
                    <a:gd name="connsiteY47" fmla="*/ 1838325 h 4429294"/>
                    <a:gd name="connsiteX48" fmla="*/ 30944 w 4501379"/>
                    <a:gd name="connsiteY48" fmla="*/ 1781175 h 4429294"/>
                    <a:gd name="connsiteX49" fmla="*/ 40469 w 4501379"/>
                    <a:gd name="connsiteY49" fmla="*/ 1743075 h 4429294"/>
                    <a:gd name="connsiteX50" fmla="*/ 59519 w 4501379"/>
                    <a:gd name="connsiteY50" fmla="*/ 1685925 h 4429294"/>
                    <a:gd name="connsiteX51" fmla="*/ 69044 w 4501379"/>
                    <a:gd name="connsiteY51" fmla="*/ 1638300 h 4429294"/>
                    <a:gd name="connsiteX52" fmla="*/ 88094 w 4501379"/>
                    <a:gd name="connsiteY52" fmla="*/ 1590675 h 4429294"/>
                    <a:gd name="connsiteX53" fmla="*/ 116669 w 4501379"/>
                    <a:gd name="connsiteY53" fmla="*/ 1504950 h 4429294"/>
                    <a:gd name="connsiteX54" fmla="*/ 135719 w 4501379"/>
                    <a:gd name="connsiteY54" fmla="*/ 1419225 h 4429294"/>
                    <a:gd name="connsiteX55" fmla="*/ 211919 w 4501379"/>
                    <a:gd name="connsiteY55" fmla="*/ 1276350 h 4429294"/>
                    <a:gd name="connsiteX56" fmla="*/ 221444 w 4501379"/>
                    <a:gd name="connsiteY56" fmla="*/ 1247775 h 4429294"/>
                    <a:gd name="connsiteX57" fmla="*/ 250019 w 4501379"/>
                    <a:gd name="connsiteY57" fmla="*/ 1200150 h 4429294"/>
                    <a:gd name="connsiteX58" fmla="*/ 269069 w 4501379"/>
                    <a:gd name="connsiteY58" fmla="*/ 1152525 h 4429294"/>
                    <a:gd name="connsiteX59" fmla="*/ 297644 w 4501379"/>
                    <a:gd name="connsiteY59" fmla="*/ 1114425 h 4429294"/>
                    <a:gd name="connsiteX60" fmla="*/ 345269 w 4501379"/>
                    <a:gd name="connsiteY60" fmla="*/ 1038225 h 4429294"/>
                    <a:gd name="connsiteX61" fmla="*/ 364319 w 4501379"/>
                    <a:gd name="connsiteY61" fmla="*/ 1009650 h 4429294"/>
                    <a:gd name="connsiteX62" fmla="*/ 421469 w 4501379"/>
                    <a:gd name="connsiteY62" fmla="*/ 904875 h 4429294"/>
                    <a:gd name="connsiteX63" fmla="*/ 459569 w 4501379"/>
                    <a:gd name="connsiteY63" fmla="*/ 857250 h 4429294"/>
                    <a:gd name="connsiteX64" fmla="*/ 478619 w 4501379"/>
                    <a:gd name="connsiteY64" fmla="*/ 828675 h 4429294"/>
                    <a:gd name="connsiteX65" fmla="*/ 516719 w 4501379"/>
                    <a:gd name="connsiteY65" fmla="*/ 800100 h 4429294"/>
                    <a:gd name="connsiteX66" fmla="*/ 583394 w 4501379"/>
                    <a:gd name="connsiteY66" fmla="*/ 733425 h 4429294"/>
                    <a:gd name="connsiteX67" fmla="*/ 650069 w 4501379"/>
                    <a:gd name="connsiteY67" fmla="*/ 676275 h 4429294"/>
                    <a:gd name="connsiteX68" fmla="*/ 678644 w 4501379"/>
                    <a:gd name="connsiteY68" fmla="*/ 657225 h 4429294"/>
                    <a:gd name="connsiteX69" fmla="*/ 821519 w 4501379"/>
                    <a:gd name="connsiteY69" fmla="*/ 533400 h 4429294"/>
                    <a:gd name="connsiteX70" fmla="*/ 869144 w 4501379"/>
                    <a:gd name="connsiteY70" fmla="*/ 504825 h 4429294"/>
                    <a:gd name="connsiteX71" fmla="*/ 1148544 w 4501379"/>
                    <a:gd name="connsiteY71" fmla="*/ 311150 h 4429294"/>
                    <a:gd name="connsiteX72" fmla="*/ 1250144 w 4501379"/>
                    <a:gd name="connsiteY72" fmla="*/ 285750 h 4429294"/>
                    <a:gd name="connsiteX73" fmla="*/ 1393019 w 4501379"/>
                    <a:gd name="connsiteY73" fmla="*/ 190500 h 4429294"/>
                    <a:gd name="connsiteX74" fmla="*/ 1431119 w 4501379"/>
                    <a:gd name="connsiteY74" fmla="*/ 161925 h 4429294"/>
                    <a:gd name="connsiteX75" fmla="*/ 1507319 w 4501379"/>
                    <a:gd name="connsiteY75" fmla="*/ 152400 h 4429294"/>
                    <a:gd name="connsiteX76" fmla="*/ 1564469 w 4501379"/>
                    <a:gd name="connsiteY76" fmla="*/ 142875 h 4429294"/>
                    <a:gd name="connsiteX77" fmla="*/ 1697819 w 4501379"/>
                    <a:gd name="connsiteY77" fmla="*/ 123825 h 4429294"/>
                    <a:gd name="connsiteX78" fmla="*/ 1793069 w 4501379"/>
                    <a:gd name="connsiteY78" fmla="*/ 114300 h 4429294"/>
                    <a:gd name="connsiteX79" fmla="*/ 1840694 w 4501379"/>
                    <a:gd name="connsiteY79" fmla="*/ 104775 h 4429294"/>
                    <a:gd name="connsiteX80" fmla="*/ 1897844 w 4501379"/>
                    <a:gd name="connsiteY80" fmla="*/ 95250 h 4429294"/>
                    <a:gd name="connsiteX81" fmla="*/ 2012144 w 4501379"/>
                    <a:gd name="connsiteY81" fmla="*/ 66675 h 4429294"/>
                    <a:gd name="connsiteX82" fmla="*/ 2078819 w 4501379"/>
                    <a:gd name="connsiteY82" fmla="*/ 47625 h 4429294"/>
                    <a:gd name="connsiteX83" fmla="*/ 2145494 w 4501379"/>
                    <a:gd name="connsiteY8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250394 w 4501379"/>
                    <a:gd name="connsiteY5" fmla="*/ 238125 h 4429294"/>
                    <a:gd name="connsiteX6" fmla="*/ 3307544 w 4501379"/>
                    <a:gd name="connsiteY6" fmla="*/ 266700 h 4429294"/>
                    <a:gd name="connsiteX7" fmla="*/ 3402794 w 4501379"/>
                    <a:gd name="connsiteY7" fmla="*/ 323850 h 4429294"/>
                    <a:gd name="connsiteX8" fmla="*/ 3450419 w 4501379"/>
                    <a:gd name="connsiteY8" fmla="*/ 361950 h 4429294"/>
                    <a:gd name="connsiteX9" fmla="*/ 3498044 w 4501379"/>
                    <a:gd name="connsiteY9" fmla="*/ 390525 h 4429294"/>
                    <a:gd name="connsiteX10" fmla="*/ 3612344 w 4501379"/>
                    <a:gd name="connsiteY10" fmla="*/ 485775 h 4429294"/>
                    <a:gd name="connsiteX11" fmla="*/ 3726644 w 4501379"/>
                    <a:gd name="connsiteY11" fmla="*/ 542925 h 4429294"/>
                    <a:gd name="connsiteX12" fmla="*/ 3793319 w 4501379"/>
                    <a:gd name="connsiteY12" fmla="*/ 581025 h 4429294"/>
                    <a:gd name="connsiteX13" fmla="*/ 4009219 w 4501379"/>
                    <a:gd name="connsiteY13" fmla="*/ 819150 h 4429294"/>
                    <a:gd name="connsiteX14" fmla="*/ 4145744 w 4501379"/>
                    <a:gd name="connsiteY14" fmla="*/ 990600 h 4429294"/>
                    <a:gd name="connsiteX15" fmla="*/ 4231469 w 4501379"/>
                    <a:gd name="connsiteY15" fmla="*/ 1143000 h 4429294"/>
                    <a:gd name="connsiteX16" fmla="*/ 4288619 w 4501379"/>
                    <a:gd name="connsiteY16" fmla="*/ 1266825 h 4429294"/>
                    <a:gd name="connsiteX17" fmla="*/ 4326719 w 4501379"/>
                    <a:gd name="connsiteY17" fmla="*/ 1362075 h 4429294"/>
                    <a:gd name="connsiteX18" fmla="*/ 4374344 w 4501379"/>
                    <a:gd name="connsiteY18" fmla="*/ 1552575 h 4429294"/>
                    <a:gd name="connsiteX19" fmla="*/ 4412444 w 4501379"/>
                    <a:gd name="connsiteY19" fmla="*/ 1685925 h 4429294"/>
                    <a:gd name="connsiteX20" fmla="*/ 4501344 w 4501379"/>
                    <a:gd name="connsiteY20" fmla="*/ 2181225 h 4429294"/>
                    <a:gd name="connsiteX21" fmla="*/ 4428319 w 4501379"/>
                    <a:gd name="connsiteY21" fmla="*/ 2768600 h 4429294"/>
                    <a:gd name="connsiteX22" fmla="*/ 4364819 w 4501379"/>
                    <a:gd name="connsiteY22" fmla="*/ 2990850 h 4429294"/>
                    <a:gd name="connsiteX23" fmla="*/ 4260044 w 4501379"/>
                    <a:gd name="connsiteY23" fmla="*/ 3248025 h 4429294"/>
                    <a:gd name="connsiteX24" fmla="*/ 4164794 w 4501379"/>
                    <a:gd name="connsiteY24" fmla="*/ 3400425 h 4429294"/>
                    <a:gd name="connsiteX25" fmla="*/ 4040969 w 4501379"/>
                    <a:gd name="connsiteY25" fmla="*/ 3533775 h 4429294"/>
                    <a:gd name="connsiteX26" fmla="*/ 3936194 w 4501379"/>
                    <a:gd name="connsiteY26" fmla="*/ 3648075 h 4429294"/>
                    <a:gd name="connsiteX27" fmla="*/ 3640919 w 4501379"/>
                    <a:gd name="connsiteY27" fmla="*/ 3971925 h 4429294"/>
                    <a:gd name="connsiteX28" fmla="*/ 3498044 w 4501379"/>
                    <a:gd name="connsiteY28" fmla="*/ 4083050 h 4429294"/>
                    <a:gd name="connsiteX29" fmla="*/ 3202769 w 4501379"/>
                    <a:gd name="connsiteY29" fmla="*/ 4222750 h 4429294"/>
                    <a:gd name="connsiteX30" fmla="*/ 3050369 w 4501379"/>
                    <a:gd name="connsiteY30" fmla="*/ 4286250 h 4429294"/>
                    <a:gd name="connsiteX31" fmla="*/ 2917019 w 4501379"/>
                    <a:gd name="connsiteY31" fmla="*/ 4333875 h 4429294"/>
                    <a:gd name="connsiteX32" fmla="*/ 2793194 w 4501379"/>
                    <a:gd name="connsiteY32" fmla="*/ 4371975 h 4429294"/>
                    <a:gd name="connsiteX33" fmla="*/ 2561419 w 4501379"/>
                    <a:gd name="connsiteY33" fmla="*/ 4391025 h 4429294"/>
                    <a:gd name="connsiteX34" fmla="*/ 2107394 w 4501379"/>
                    <a:gd name="connsiteY34" fmla="*/ 4429125 h 4429294"/>
                    <a:gd name="connsiteX35" fmla="*/ 1916894 w 4501379"/>
                    <a:gd name="connsiteY35" fmla="*/ 4400550 h 4429294"/>
                    <a:gd name="connsiteX36" fmla="*/ 1554944 w 4501379"/>
                    <a:gd name="connsiteY36" fmla="*/ 4305300 h 4429294"/>
                    <a:gd name="connsiteX37" fmla="*/ 1313644 w 4501379"/>
                    <a:gd name="connsiteY37" fmla="*/ 4216400 h 4429294"/>
                    <a:gd name="connsiteX38" fmla="*/ 1145369 w 4501379"/>
                    <a:gd name="connsiteY38" fmla="*/ 4111625 h 4429294"/>
                    <a:gd name="connsiteX39" fmla="*/ 926294 w 4501379"/>
                    <a:gd name="connsiteY39" fmla="*/ 3968750 h 4429294"/>
                    <a:gd name="connsiteX40" fmla="*/ 592919 w 4501379"/>
                    <a:gd name="connsiteY40" fmla="*/ 3657600 h 4429294"/>
                    <a:gd name="connsiteX41" fmla="*/ 446869 w 4501379"/>
                    <a:gd name="connsiteY41" fmla="*/ 3470275 h 4429294"/>
                    <a:gd name="connsiteX42" fmla="*/ 316694 w 4501379"/>
                    <a:gd name="connsiteY42" fmla="*/ 3244850 h 4429294"/>
                    <a:gd name="connsiteX43" fmla="*/ 164294 w 4501379"/>
                    <a:gd name="connsiteY43" fmla="*/ 2892425 h 4429294"/>
                    <a:gd name="connsiteX44" fmla="*/ 56344 w 4501379"/>
                    <a:gd name="connsiteY44" fmla="*/ 2368550 h 4429294"/>
                    <a:gd name="connsiteX45" fmla="*/ 2369 w 4501379"/>
                    <a:gd name="connsiteY45" fmla="*/ 1905000 h 4429294"/>
                    <a:gd name="connsiteX46" fmla="*/ 11894 w 4501379"/>
                    <a:gd name="connsiteY46" fmla="*/ 1838325 h 4429294"/>
                    <a:gd name="connsiteX47" fmla="*/ 30944 w 4501379"/>
                    <a:gd name="connsiteY47" fmla="*/ 1781175 h 4429294"/>
                    <a:gd name="connsiteX48" fmla="*/ 40469 w 4501379"/>
                    <a:gd name="connsiteY48" fmla="*/ 1743075 h 4429294"/>
                    <a:gd name="connsiteX49" fmla="*/ 59519 w 4501379"/>
                    <a:gd name="connsiteY49" fmla="*/ 1685925 h 4429294"/>
                    <a:gd name="connsiteX50" fmla="*/ 69044 w 4501379"/>
                    <a:gd name="connsiteY50" fmla="*/ 1638300 h 4429294"/>
                    <a:gd name="connsiteX51" fmla="*/ 88094 w 4501379"/>
                    <a:gd name="connsiteY51" fmla="*/ 1590675 h 4429294"/>
                    <a:gd name="connsiteX52" fmla="*/ 116669 w 4501379"/>
                    <a:gd name="connsiteY52" fmla="*/ 1504950 h 4429294"/>
                    <a:gd name="connsiteX53" fmla="*/ 135719 w 4501379"/>
                    <a:gd name="connsiteY53" fmla="*/ 1419225 h 4429294"/>
                    <a:gd name="connsiteX54" fmla="*/ 211919 w 4501379"/>
                    <a:gd name="connsiteY54" fmla="*/ 1276350 h 4429294"/>
                    <a:gd name="connsiteX55" fmla="*/ 221444 w 4501379"/>
                    <a:gd name="connsiteY55" fmla="*/ 1247775 h 4429294"/>
                    <a:gd name="connsiteX56" fmla="*/ 250019 w 4501379"/>
                    <a:gd name="connsiteY56" fmla="*/ 1200150 h 4429294"/>
                    <a:gd name="connsiteX57" fmla="*/ 269069 w 4501379"/>
                    <a:gd name="connsiteY57" fmla="*/ 1152525 h 4429294"/>
                    <a:gd name="connsiteX58" fmla="*/ 297644 w 4501379"/>
                    <a:gd name="connsiteY58" fmla="*/ 1114425 h 4429294"/>
                    <a:gd name="connsiteX59" fmla="*/ 345269 w 4501379"/>
                    <a:gd name="connsiteY59" fmla="*/ 1038225 h 4429294"/>
                    <a:gd name="connsiteX60" fmla="*/ 364319 w 4501379"/>
                    <a:gd name="connsiteY60" fmla="*/ 1009650 h 4429294"/>
                    <a:gd name="connsiteX61" fmla="*/ 421469 w 4501379"/>
                    <a:gd name="connsiteY61" fmla="*/ 904875 h 4429294"/>
                    <a:gd name="connsiteX62" fmla="*/ 459569 w 4501379"/>
                    <a:gd name="connsiteY62" fmla="*/ 857250 h 4429294"/>
                    <a:gd name="connsiteX63" fmla="*/ 478619 w 4501379"/>
                    <a:gd name="connsiteY63" fmla="*/ 828675 h 4429294"/>
                    <a:gd name="connsiteX64" fmla="*/ 516719 w 4501379"/>
                    <a:gd name="connsiteY64" fmla="*/ 800100 h 4429294"/>
                    <a:gd name="connsiteX65" fmla="*/ 583394 w 4501379"/>
                    <a:gd name="connsiteY65" fmla="*/ 733425 h 4429294"/>
                    <a:gd name="connsiteX66" fmla="*/ 650069 w 4501379"/>
                    <a:gd name="connsiteY66" fmla="*/ 676275 h 4429294"/>
                    <a:gd name="connsiteX67" fmla="*/ 678644 w 4501379"/>
                    <a:gd name="connsiteY67" fmla="*/ 657225 h 4429294"/>
                    <a:gd name="connsiteX68" fmla="*/ 821519 w 4501379"/>
                    <a:gd name="connsiteY68" fmla="*/ 533400 h 4429294"/>
                    <a:gd name="connsiteX69" fmla="*/ 869144 w 4501379"/>
                    <a:gd name="connsiteY69" fmla="*/ 504825 h 4429294"/>
                    <a:gd name="connsiteX70" fmla="*/ 1148544 w 4501379"/>
                    <a:gd name="connsiteY70" fmla="*/ 311150 h 4429294"/>
                    <a:gd name="connsiteX71" fmla="*/ 1250144 w 4501379"/>
                    <a:gd name="connsiteY71" fmla="*/ 285750 h 4429294"/>
                    <a:gd name="connsiteX72" fmla="*/ 1393019 w 4501379"/>
                    <a:gd name="connsiteY72" fmla="*/ 190500 h 4429294"/>
                    <a:gd name="connsiteX73" fmla="*/ 1431119 w 4501379"/>
                    <a:gd name="connsiteY73" fmla="*/ 161925 h 4429294"/>
                    <a:gd name="connsiteX74" fmla="*/ 1507319 w 4501379"/>
                    <a:gd name="connsiteY74" fmla="*/ 152400 h 4429294"/>
                    <a:gd name="connsiteX75" fmla="*/ 1564469 w 4501379"/>
                    <a:gd name="connsiteY75" fmla="*/ 142875 h 4429294"/>
                    <a:gd name="connsiteX76" fmla="*/ 1697819 w 4501379"/>
                    <a:gd name="connsiteY76" fmla="*/ 123825 h 4429294"/>
                    <a:gd name="connsiteX77" fmla="*/ 1793069 w 4501379"/>
                    <a:gd name="connsiteY77" fmla="*/ 114300 h 4429294"/>
                    <a:gd name="connsiteX78" fmla="*/ 1840694 w 4501379"/>
                    <a:gd name="connsiteY78" fmla="*/ 104775 h 4429294"/>
                    <a:gd name="connsiteX79" fmla="*/ 1897844 w 4501379"/>
                    <a:gd name="connsiteY79" fmla="*/ 95250 h 4429294"/>
                    <a:gd name="connsiteX80" fmla="*/ 2012144 w 4501379"/>
                    <a:gd name="connsiteY80" fmla="*/ 66675 h 4429294"/>
                    <a:gd name="connsiteX81" fmla="*/ 2078819 w 4501379"/>
                    <a:gd name="connsiteY81" fmla="*/ 47625 h 4429294"/>
                    <a:gd name="connsiteX82" fmla="*/ 2145494 w 4501379"/>
                    <a:gd name="connsiteY8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307544 w 4501379"/>
                    <a:gd name="connsiteY5" fmla="*/ 266700 h 4429294"/>
                    <a:gd name="connsiteX6" fmla="*/ 3402794 w 4501379"/>
                    <a:gd name="connsiteY6" fmla="*/ 323850 h 4429294"/>
                    <a:gd name="connsiteX7" fmla="*/ 3450419 w 4501379"/>
                    <a:gd name="connsiteY7" fmla="*/ 361950 h 4429294"/>
                    <a:gd name="connsiteX8" fmla="*/ 3498044 w 4501379"/>
                    <a:gd name="connsiteY8" fmla="*/ 390525 h 4429294"/>
                    <a:gd name="connsiteX9" fmla="*/ 3612344 w 4501379"/>
                    <a:gd name="connsiteY9" fmla="*/ 485775 h 4429294"/>
                    <a:gd name="connsiteX10" fmla="*/ 3726644 w 4501379"/>
                    <a:gd name="connsiteY10" fmla="*/ 542925 h 4429294"/>
                    <a:gd name="connsiteX11" fmla="*/ 3793319 w 4501379"/>
                    <a:gd name="connsiteY11" fmla="*/ 581025 h 4429294"/>
                    <a:gd name="connsiteX12" fmla="*/ 4009219 w 4501379"/>
                    <a:gd name="connsiteY12" fmla="*/ 819150 h 4429294"/>
                    <a:gd name="connsiteX13" fmla="*/ 4145744 w 4501379"/>
                    <a:gd name="connsiteY13" fmla="*/ 990600 h 4429294"/>
                    <a:gd name="connsiteX14" fmla="*/ 4231469 w 4501379"/>
                    <a:gd name="connsiteY14" fmla="*/ 1143000 h 4429294"/>
                    <a:gd name="connsiteX15" fmla="*/ 4288619 w 4501379"/>
                    <a:gd name="connsiteY15" fmla="*/ 1266825 h 4429294"/>
                    <a:gd name="connsiteX16" fmla="*/ 4326719 w 4501379"/>
                    <a:gd name="connsiteY16" fmla="*/ 1362075 h 4429294"/>
                    <a:gd name="connsiteX17" fmla="*/ 4374344 w 4501379"/>
                    <a:gd name="connsiteY17" fmla="*/ 1552575 h 4429294"/>
                    <a:gd name="connsiteX18" fmla="*/ 4412444 w 4501379"/>
                    <a:gd name="connsiteY18" fmla="*/ 1685925 h 4429294"/>
                    <a:gd name="connsiteX19" fmla="*/ 4501344 w 4501379"/>
                    <a:gd name="connsiteY19" fmla="*/ 2181225 h 4429294"/>
                    <a:gd name="connsiteX20" fmla="*/ 4428319 w 4501379"/>
                    <a:gd name="connsiteY20" fmla="*/ 2768600 h 4429294"/>
                    <a:gd name="connsiteX21" fmla="*/ 4364819 w 4501379"/>
                    <a:gd name="connsiteY21" fmla="*/ 2990850 h 4429294"/>
                    <a:gd name="connsiteX22" fmla="*/ 4260044 w 4501379"/>
                    <a:gd name="connsiteY22" fmla="*/ 3248025 h 4429294"/>
                    <a:gd name="connsiteX23" fmla="*/ 4164794 w 4501379"/>
                    <a:gd name="connsiteY23" fmla="*/ 3400425 h 4429294"/>
                    <a:gd name="connsiteX24" fmla="*/ 4040969 w 4501379"/>
                    <a:gd name="connsiteY24" fmla="*/ 3533775 h 4429294"/>
                    <a:gd name="connsiteX25" fmla="*/ 3936194 w 4501379"/>
                    <a:gd name="connsiteY25" fmla="*/ 3648075 h 4429294"/>
                    <a:gd name="connsiteX26" fmla="*/ 3640919 w 4501379"/>
                    <a:gd name="connsiteY26" fmla="*/ 3971925 h 4429294"/>
                    <a:gd name="connsiteX27" fmla="*/ 3498044 w 4501379"/>
                    <a:gd name="connsiteY27" fmla="*/ 4083050 h 4429294"/>
                    <a:gd name="connsiteX28" fmla="*/ 3202769 w 4501379"/>
                    <a:gd name="connsiteY28" fmla="*/ 4222750 h 4429294"/>
                    <a:gd name="connsiteX29" fmla="*/ 3050369 w 4501379"/>
                    <a:gd name="connsiteY29" fmla="*/ 4286250 h 4429294"/>
                    <a:gd name="connsiteX30" fmla="*/ 2917019 w 4501379"/>
                    <a:gd name="connsiteY30" fmla="*/ 4333875 h 4429294"/>
                    <a:gd name="connsiteX31" fmla="*/ 2793194 w 4501379"/>
                    <a:gd name="connsiteY31" fmla="*/ 4371975 h 4429294"/>
                    <a:gd name="connsiteX32" fmla="*/ 2561419 w 4501379"/>
                    <a:gd name="connsiteY32" fmla="*/ 4391025 h 4429294"/>
                    <a:gd name="connsiteX33" fmla="*/ 2107394 w 4501379"/>
                    <a:gd name="connsiteY33" fmla="*/ 4429125 h 4429294"/>
                    <a:gd name="connsiteX34" fmla="*/ 1916894 w 4501379"/>
                    <a:gd name="connsiteY34" fmla="*/ 4400550 h 4429294"/>
                    <a:gd name="connsiteX35" fmla="*/ 1554944 w 4501379"/>
                    <a:gd name="connsiteY35" fmla="*/ 4305300 h 4429294"/>
                    <a:gd name="connsiteX36" fmla="*/ 1313644 w 4501379"/>
                    <a:gd name="connsiteY36" fmla="*/ 4216400 h 4429294"/>
                    <a:gd name="connsiteX37" fmla="*/ 1145369 w 4501379"/>
                    <a:gd name="connsiteY37" fmla="*/ 4111625 h 4429294"/>
                    <a:gd name="connsiteX38" fmla="*/ 926294 w 4501379"/>
                    <a:gd name="connsiteY38" fmla="*/ 3968750 h 4429294"/>
                    <a:gd name="connsiteX39" fmla="*/ 592919 w 4501379"/>
                    <a:gd name="connsiteY39" fmla="*/ 3657600 h 4429294"/>
                    <a:gd name="connsiteX40" fmla="*/ 446869 w 4501379"/>
                    <a:gd name="connsiteY40" fmla="*/ 3470275 h 4429294"/>
                    <a:gd name="connsiteX41" fmla="*/ 316694 w 4501379"/>
                    <a:gd name="connsiteY41" fmla="*/ 3244850 h 4429294"/>
                    <a:gd name="connsiteX42" fmla="*/ 164294 w 4501379"/>
                    <a:gd name="connsiteY42" fmla="*/ 2892425 h 4429294"/>
                    <a:gd name="connsiteX43" fmla="*/ 56344 w 4501379"/>
                    <a:gd name="connsiteY43" fmla="*/ 2368550 h 4429294"/>
                    <a:gd name="connsiteX44" fmla="*/ 2369 w 4501379"/>
                    <a:gd name="connsiteY44" fmla="*/ 1905000 h 4429294"/>
                    <a:gd name="connsiteX45" fmla="*/ 11894 w 4501379"/>
                    <a:gd name="connsiteY45" fmla="*/ 1838325 h 4429294"/>
                    <a:gd name="connsiteX46" fmla="*/ 30944 w 4501379"/>
                    <a:gd name="connsiteY46" fmla="*/ 1781175 h 4429294"/>
                    <a:gd name="connsiteX47" fmla="*/ 40469 w 4501379"/>
                    <a:gd name="connsiteY47" fmla="*/ 1743075 h 4429294"/>
                    <a:gd name="connsiteX48" fmla="*/ 59519 w 4501379"/>
                    <a:gd name="connsiteY48" fmla="*/ 1685925 h 4429294"/>
                    <a:gd name="connsiteX49" fmla="*/ 69044 w 4501379"/>
                    <a:gd name="connsiteY49" fmla="*/ 1638300 h 4429294"/>
                    <a:gd name="connsiteX50" fmla="*/ 88094 w 4501379"/>
                    <a:gd name="connsiteY50" fmla="*/ 1590675 h 4429294"/>
                    <a:gd name="connsiteX51" fmla="*/ 116669 w 4501379"/>
                    <a:gd name="connsiteY51" fmla="*/ 1504950 h 4429294"/>
                    <a:gd name="connsiteX52" fmla="*/ 135719 w 4501379"/>
                    <a:gd name="connsiteY52" fmla="*/ 1419225 h 4429294"/>
                    <a:gd name="connsiteX53" fmla="*/ 211919 w 4501379"/>
                    <a:gd name="connsiteY53" fmla="*/ 1276350 h 4429294"/>
                    <a:gd name="connsiteX54" fmla="*/ 221444 w 4501379"/>
                    <a:gd name="connsiteY54" fmla="*/ 1247775 h 4429294"/>
                    <a:gd name="connsiteX55" fmla="*/ 250019 w 4501379"/>
                    <a:gd name="connsiteY55" fmla="*/ 1200150 h 4429294"/>
                    <a:gd name="connsiteX56" fmla="*/ 269069 w 4501379"/>
                    <a:gd name="connsiteY56" fmla="*/ 1152525 h 4429294"/>
                    <a:gd name="connsiteX57" fmla="*/ 297644 w 4501379"/>
                    <a:gd name="connsiteY57" fmla="*/ 1114425 h 4429294"/>
                    <a:gd name="connsiteX58" fmla="*/ 345269 w 4501379"/>
                    <a:gd name="connsiteY58" fmla="*/ 1038225 h 4429294"/>
                    <a:gd name="connsiteX59" fmla="*/ 364319 w 4501379"/>
                    <a:gd name="connsiteY59" fmla="*/ 1009650 h 4429294"/>
                    <a:gd name="connsiteX60" fmla="*/ 421469 w 4501379"/>
                    <a:gd name="connsiteY60" fmla="*/ 904875 h 4429294"/>
                    <a:gd name="connsiteX61" fmla="*/ 459569 w 4501379"/>
                    <a:gd name="connsiteY61" fmla="*/ 857250 h 4429294"/>
                    <a:gd name="connsiteX62" fmla="*/ 478619 w 4501379"/>
                    <a:gd name="connsiteY62" fmla="*/ 828675 h 4429294"/>
                    <a:gd name="connsiteX63" fmla="*/ 516719 w 4501379"/>
                    <a:gd name="connsiteY63" fmla="*/ 800100 h 4429294"/>
                    <a:gd name="connsiteX64" fmla="*/ 583394 w 4501379"/>
                    <a:gd name="connsiteY64" fmla="*/ 733425 h 4429294"/>
                    <a:gd name="connsiteX65" fmla="*/ 650069 w 4501379"/>
                    <a:gd name="connsiteY65" fmla="*/ 676275 h 4429294"/>
                    <a:gd name="connsiteX66" fmla="*/ 678644 w 4501379"/>
                    <a:gd name="connsiteY66" fmla="*/ 657225 h 4429294"/>
                    <a:gd name="connsiteX67" fmla="*/ 821519 w 4501379"/>
                    <a:gd name="connsiteY67" fmla="*/ 533400 h 4429294"/>
                    <a:gd name="connsiteX68" fmla="*/ 869144 w 4501379"/>
                    <a:gd name="connsiteY68" fmla="*/ 504825 h 4429294"/>
                    <a:gd name="connsiteX69" fmla="*/ 1148544 w 4501379"/>
                    <a:gd name="connsiteY69" fmla="*/ 311150 h 4429294"/>
                    <a:gd name="connsiteX70" fmla="*/ 1250144 w 4501379"/>
                    <a:gd name="connsiteY70" fmla="*/ 285750 h 4429294"/>
                    <a:gd name="connsiteX71" fmla="*/ 1393019 w 4501379"/>
                    <a:gd name="connsiteY71" fmla="*/ 190500 h 4429294"/>
                    <a:gd name="connsiteX72" fmla="*/ 1431119 w 4501379"/>
                    <a:gd name="connsiteY72" fmla="*/ 161925 h 4429294"/>
                    <a:gd name="connsiteX73" fmla="*/ 1507319 w 4501379"/>
                    <a:gd name="connsiteY73" fmla="*/ 152400 h 4429294"/>
                    <a:gd name="connsiteX74" fmla="*/ 1564469 w 4501379"/>
                    <a:gd name="connsiteY74" fmla="*/ 142875 h 4429294"/>
                    <a:gd name="connsiteX75" fmla="*/ 1697819 w 4501379"/>
                    <a:gd name="connsiteY75" fmla="*/ 123825 h 4429294"/>
                    <a:gd name="connsiteX76" fmla="*/ 1793069 w 4501379"/>
                    <a:gd name="connsiteY76" fmla="*/ 114300 h 4429294"/>
                    <a:gd name="connsiteX77" fmla="*/ 1840694 w 4501379"/>
                    <a:gd name="connsiteY77" fmla="*/ 104775 h 4429294"/>
                    <a:gd name="connsiteX78" fmla="*/ 1897844 w 4501379"/>
                    <a:gd name="connsiteY78" fmla="*/ 95250 h 4429294"/>
                    <a:gd name="connsiteX79" fmla="*/ 2012144 w 4501379"/>
                    <a:gd name="connsiteY79" fmla="*/ 66675 h 4429294"/>
                    <a:gd name="connsiteX80" fmla="*/ 2078819 w 4501379"/>
                    <a:gd name="connsiteY80" fmla="*/ 47625 h 4429294"/>
                    <a:gd name="connsiteX81" fmla="*/ 2145494 w 4501379"/>
                    <a:gd name="connsiteY8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498044 w 4501379"/>
                    <a:gd name="connsiteY7" fmla="*/ 390525 h 4429294"/>
                    <a:gd name="connsiteX8" fmla="*/ 3612344 w 4501379"/>
                    <a:gd name="connsiteY8" fmla="*/ 485775 h 4429294"/>
                    <a:gd name="connsiteX9" fmla="*/ 3726644 w 4501379"/>
                    <a:gd name="connsiteY9" fmla="*/ 542925 h 4429294"/>
                    <a:gd name="connsiteX10" fmla="*/ 3793319 w 4501379"/>
                    <a:gd name="connsiteY10" fmla="*/ 581025 h 4429294"/>
                    <a:gd name="connsiteX11" fmla="*/ 4009219 w 4501379"/>
                    <a:gd name="connsiteY11" fmla="*/ 819150 h 4429294"/>
                    <a:gd name="connsiteX12" fmla="*/ 4145744 w 4501379"/>
                    <a:gd name="connsiteY12" fmla="*/ 990600 h 4429294"/>
                    <a:gd name="connsiteX13" fmla="*/ 4231469 w 4501379"/>
                    <a:gd name="connsiteY13" fmla="*/ 1143000 h 4429294"/>
                    <a:gd name="connsiteX14" fmla="*/ 4288619 w 4501379"/>
                    <a:gd name="connsiteY14" fmla="*/ 1266825 h 4429294"/>
                    <a:gd name="connsiteX15" fmla="*/ 4326719 w 4501379"/>
                    <a:gd name="connsiteY15" fmla="*/ 1362075 h 4429294"/>
                    <a:gd name="connsiteX16" fmla="*/ 4374344 w 4501379"/>
                    <a:gd name="connsiteY16" fmla="*/ 1552575 h 4429294"/>
                    <a:gd name="connsiteX17" fmla="*/ 4412444 w 4501379"/>
                    <a:gd name="connsiteY17" fmla="*/ 1685925 h 4429294"/>
                    <a:gd name="connsiteX18" fmla="*/ 4501344 w 4501379"/>
                    <a:gd name="connsiteY18" fmla="*/ 2181225 h 4429294"/>
                    <a:gd name="connsiteX19" fmla="*/ 4428319 w 4501379"/>
                    <a:gd name="connsiteY19" fmla="*/ 2768600 h 4429294"/>
                    <a:gd name="connsiteX20" fmla="*/ 4364819 w 4501379"/>
                    <a:gd name="connsiteY20" fmla="*/ 2990850 h 4429294"/>
                    <a:gd name="connsiteX21" fmla="*/ 4260044 w 4501379"/>
                    <a:gd name="connsiteY21" fmla="*/ 3248025 h 4429294"/>
                    <a:gd name="connsiteX22" fmla="*/ 4164794 w 4501379"/>
                    <a:gd name="connsiteY22" fmla="*/ 3400425 h 4429294"/>
                    <a:gd name="connsiteX23" fmla="*/ 4040969 w 4501379"/>
                    <a:gd name="connsiteY23" fmla="*/ 3533775 h 4429294"/>
                    <a:gd name="connsiteX24" fmla="*/ 3936194 w 4501379"/>
                    <a:gd name="connsiteY24" fmla="*/ 3648075 h 4429294"/>
                    <a:gd name="connsiteX25" fmla="*/ 3640919 w 4501379"/>
                    <a:gd name="connsiteY25" fmla="*/ 3971925 h 4429294"/>
                    <a:gd name="connsiteX26" fmla="*/ 3498044 w 4501379"/>
                    <a:gd name="connsiteY26" fmla="*/ 4083050 h 4429294"/>
                    <a:gd name="connsiteX27" fmla="*/ 3202769 w 4501379"/>
                    <a:gd name="connsiteY27" fmla="*/ 4222750 h 4429294"/>
                    <a:gd name="connsiteX28" fmla="*/ 3050369 w 4501379"/>
                    <a:gd name="connsiteY28" fmla="*/ 4286250 h 4429294"/>
                    <a:gd name="connsiteX29" fmla="*/ 2917019 w 4501379"/>
                    <a:gd name="connsiteY29" fmla="*/ 4333875 h 4429294"/>
                    <a:gd name="connsiteX30" fmla="*/ 2793194 w 4501379"/>
                    <a:gd name="connsiteY30" fmla="*/ 4371975 h 4429294"/>
                    <a:gd name="connsiteX31" fmla="*/ 2561419 w 4501379"/>
                    <a:gd name="connsiteY31" fmla="*/ 4391025 h 4429294"/>
                    <a:gd name="connsiteX32" fmla="*/ 2107394 w 4501379"/>
                    <a:gd name="connsiteY32" fmla="*/ 4429125 h 4429294"/>
                    <a:gd name="connsiteX33" fmla="*/ 1916894 w 4501379"/>
                    <a:gd name="connsiteY33" fmla="*/ 4400550 h 4429294"/>
                    <a:gd name="connsiteX34" fmla="*/ 1554944 w 4501379"/>
                    <a:gd name="connsiteY34" fmla="*/ 4305300 h 4429294"/>
                    <a:gd name="connsiteX35" fmla="*/ 1313644 w 4501379"/>
                    <a:gd name="connsiteY35" fmla="*/ 4216400 h 4429294"/>
                    <a:gd name="connsiteX36" fmla="*/ 1145369 w 4501379"/>
                    <a:gd name="connsiteY36" fmla="*/ 4111625 h 4429294"/>
                    <a:gd name="connsiteX37" fmla="*/ 926294 w 4501379"/>
                    <a:gd name="connsiteY37" fmla="*/ 3968750 h 4429294"/>
                    <a:gd name="connsiteX38" fmla="*/ 592919 w 4501379"/>
                    <a:gd name="connsiteY38" fmla="*/ 3657600 h 4429294"/>
                    <a:gd name="connsiteX39" fmla="*/ 446869 w 4501379"/>
                    <a:gd name="connsiteY39" fmla="*/ 3470275 h 4429294"/>
                    <a:gd name="connsiteX40" fmla="*/ 316694 w 4501379"/>
                    <a:gd name="connsiteY40" fmla="*/ 3244850 h 4429294"/>
                    <a:gd name="connsiteX41" fmla="*/ 164294 w 4501379"/>
                    <a:gd name="connsiteY41" fmla="*/ 2892425 h 4429294"/>
                    <a:gd name="connsiteX42" fmla="*/ 56344 w 4501379"/>
                    <a:gd name="connsiteY42" fmla="*/ 2368550 h 4429294"/>
                    <a:gd name="connsiteX43" fmla="*/ 2369 w 4501379"/>
                    <a:gd name="connsiteY43" fmla="*/ 1905000 h 4429294"/>
                    <a:gd name="connsiteX44" fmla="*/ 11894 w 4501379"/>
                    <a:gd name="connsiteY44" fmla="*/ 1838325 h 4429294"/>
                    <a:gd name="connsiteX45" fmla="*/ 30944 w 4501379"/>
                    <a:gd name="connsiteY45" fmla="*/ 1781175 h 4429294"/>
                    <a:gd name="connsiteX46" fmla="*/ 40469 w 4501379"/>
                    <a:gd name="connsiteY46" fmla="*/ 1743075 h 4429294"/>
                    <a:gd name="connsiteX47" fmla="*/ 59519 w 4501379"/>
                    <a:gd name="connsiteY47" fmla="*/ 1685925 h 4429294"/>
                    <a:gd name="connsiteX48" fmla="*/ 69044 w 4501379"/>
                    <a:gd name="connsiteY48" fmla="*/ 1638300 h 4429294"/>
                    <a:gd name="connsiteX49" fmla="*/ 88094 w 4501379"/>
                    <a:gd name="connsiteY49" fmla="*/ 1590675 h 4429294"/>
                    <a:gd name="connsiteX50" fmla="*/ 116669 w 4501379"/>
                    <a:gd name="connsiteY50" fmla="*/ 1504950 h 4429294"/>
                    <a:gd name="connsiteX51" fmla="*/ 135719 w 4501379"/>
                    <a:gd name="connsiteY51" fmla="*/ 1419225 h 4429294"/>
                    <a:gd name="connsiteX52" fmla="*/ 211919 w 4501379"/>
                    <a:gd name="connsiteY52" fmla="*/ 1276350 h 4429294"/>
                    <a:gd name="connsiteX53" fmla="*/ 221444 w 4501379"/>
                    <a:gd name="connsiteY53" fmla="*/ 1247775 h 4429294"/>
                    <a:gd name="connsiteX54" fmla="*/ 250019 w 4501379"/>
                    <a:gd name="connsiteY54" fmla="*/ 1200150 h 4429294"/>
                    <a:gd name="connsiteX55" fmla="*/ 269069 w 4501379"/>
                    <a:gd name="connsiteY55" fmla="*/ 1152525 h 4429294"/>
                    <a:gd name="connsiteX56" fmla="*/ 297644 w 4501379"/>
                    <a:gd name="connsiteY56" fmla="*/ 1114425 h 4429294"/>
                    <a:gd name="connsiteX57" fmla="*/ 345269 w 4501379"/>
                    <a:gd name="connsiteY57" fmla="*/ 1038225 h 4429294"/>
                    <a:gd name="connsiteX58" fmla="*/ 364319 w 4501379"/>
                    <a:gd name="connsiteY58" fmla="*/ 1009650 h 4429294"/>
                    <a:gd name="connsiteX59" fmla="*/ 421469 w 4501379"/>
                    <a:gd name="connsiteY59" fmla="*/ 904875 h 4429294"/>
                    <a:gd name="connsiteX60" fmla="*/ 459569 w 4501379"/>
                    <a:gd name="connsiteY60" fmla="*/ 857250 h 4429294"/>
                    <a:gd name="connsiteX61" fmla="*/ 478619 w 4501379"/>
                    <a:gd name="connsiteY61" fmla="*/ 828675 h 4429294"/>
                    <a:gd name="connsiteX62" fmla="*/ 516719 w 4501379"/>
                    <a:gd name="connsiteY62" fmla="*/ 800100 h 4429294"/>
                    <a:gd name="connsiteX63" fmla="*/ 583394 w 4501379"/>
                    <a:gd name="connsiteY63" fmla="*/ 733425 h 4429294"/>
                    <a:gd name="connsiteX64" fmla="*/ 650069 w 4501379"/>
                    <a:gd name="connsiteY64" fmla="*/ 676275 h 4429294"/>
                    <a:gd name="connsiteX65" fmla="*/ 678644 w 4501379"/>
                    <a:gd name="connsiteY65" fmla="*/ 657225 h 4429294"/>
                    <a:gd name="connsiteX66" fmla="*/ 821519 w 4501379"/>
                    <a:gd name="connsiteY66" fmla="*/ 533400 h 4429294"/>
                    <a:gd name="connsiteX67" fmla="*/ 869144 w 4501379"/>
                    <a:gd name="connsiteY67" fmla="*/ 504825 h 4429294"/>
                    <a:gd name="connsiteX68" fmla="*/ 1148544 w 4501379"/>
                    <a:gd name="connsiteY68" fmla="*/ 311150 h 4429294"/>
                    <a:gd name="connsiteX69" fmla="*/ 1250144 w 4501379"/>
                    <a:gd name="connsiteY69" fmla="*/ 285750 h 4429294"/>
                    <a:gd name="connsiteX70" fmla="*/ 1393019 w 4501379"/>
                    <a:gd name="connsiteY70" fmla="*/ 190500 h 4429294"/>
                    <a:gd name="connsiteX71" fmla="*/ 1431119 w 4501379"/>
                    <a:gd name="connsiteY71" fmla="*/ 161925 h 4429294"/>
                    <a:gd name="connsiteX72" fmla="*/ 1507319 w 4501379"/>
                    <a:gd name="connsiteY72" fmla="*/ 152400 h 4429294"/>
                    <a:gd name="connsiteX73" fmla="*/ 1564469 w 4501379"/>
                    <a:gd name="connsiteY73" fmla="*/ 142875 h 4429294"/>
                    <a:gd name="connsiteX74" fmla="*/ 1697819 w 4501379"/>
                    <a:gd name="connsiteY74" fmla="*/ 123825 h 4429294"/>
                    <a:gd name="connsiteX75" fmla="*/ 1793069 w 4501379"/>
                    <a:gd name="connsiteY75" fmla="*/ 114300 h 4429294"/>
                    <a:gd name="connsiteX76" fmla="*/ 1840694 w 4501379"/>
                    <a:gd name="connsiteY76" fmla="*/ 104775 h 4429294"/>
                    <a:gd name="connsiteX77" fmla="*/ 1897844 w 4501379"/>
                    <a:gd name="connsiteY77" fmla="*/ 95250 h 4429294"/>
                    <a:gd name="connsiteX78" fmla="*/ 2012144 w 4501379"/>
                    <a:gd name="connsiteY78" fmla="*/ 66675 h 4429294"/>
                    <a:gd name="connsiteX79" fmla="*/ 2078819 w 4501379"/>
                    <a:gd name="connsiteY79" fmla="*/ 47625 h 4429294"/>
                    <a:gd name="connsiteX80" fmla="*/ 2145494 w 4501379"/>
                    <a:gd name="connsiteY8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450419 w 4501379"/>
                    <a:gd name="connsiteY6" fmla="*/ 361950 h 4429294"/>
                    <a:gd name="connsiteX7" fmla="*/ 3612344 w 4501379"/>
                    <a:gd name="connsiteY7" fmla="*/ 485775 h 4429294"/>
                    <a:gd name="connsiteX8" fmla="*/ 3726644 w 4501379"/>
                    <a:gd name="connsiteY8" fmla="*/ 542925 h 4429294"/>
                    <a:gd name="connsiteX9" fmla="*/ 3793319 w 4501379"/>
                    <a:gd name="connsiteY9" fmla="*/ 581025 h 4429294"/>
                    <a:gd name="connsiteX10" fmla="*/ 4009219 w 4501379"/>
                    <a:gd name="connsiteY10" fmla="*/ 819150 h 4429294"/>
                    <a:gd name="connsiteX11" fmla="*/ 4145744 w 4501379"/>
                    <a:gd name="connsiteY11" fmla="*/ 990600 h 4429294"/>
                    <a:gd name="connsiteX12" fmla="*/ 4231469 w 4501379"/>
                    <a:gd name="connsiteY12" fmla="*/ 1143000 h 4429294"/>
                    <a:gd name="connsiteX13" fmla="*/ 4288619 w 4501379"/>
                    <a:gd name="connsiteY13" fmla="*/ 1266825 h 4429294"/>
                    <a:gd name="connsiteX14" fmla="*/ 4326719 w 4501379"/>
                    <a:gd name="connsiteY14" fmla="*/ 1362075 h 4429294"/>
                    <a:gd name="connsiteX15" fmla="*/ 4374344 w 4501379"/>
                    <a:gd name="connsiteY15" fmla="*/ 1552575 h 4429294"/>
                    <a:gd name="connsiteX16" fmla="*/ 4412444 w 4501379"/>
                    <a:gd name="connsiteY16" fmla="*/ 1685925 h 4429294"/>
                    <a:gd name="connsiteX17" fmla="*/ 4501344 w 4501379"/>
                    <a:gd name="connsiteY17" fmla="*/ 2181225 h 4429294"/>
                    <a:gd name="connsiteX18" fmla="*/ 4428319 w 4501379"/>
                    <a:gd name="connsiteY18" fmla="*/ 2768600 h 4429294"/>
                    <a:gd name="connsiteX19" fmla="*/ 4364819 w 4501379"/>
                    <a:gd name="connsiteY19" fmla="*/ 2990850 h 4429294"/>
                    <a:gd name="connsiteX20" fmla="*/ 4260044 w 4501379"/>
                    <a:gd name="connsiteY20" fmla="*/ 3248025 h 4429294"/>
                    <a:gd name="connsiteX21" fmla="*/ 4164794 w 4501379"/>
                    <a:gd name="connsiteY21" fmla="*/ 3400425 h 4429294"/>
                    <a:gd name="connsiteX22" fmla="*/ 4040969 w 4501379"/>
                    <a:gd name="connsiteY22" fmla="*/ 3533775 h 4429294"/>
                    <a:gd name="connsiteX23" fmla="*/ 3936194 w 4501379"/>
                    <a:gd name="connsiteY23" fmla="*/ 3648075 h 4429294"/>
                    <a:gd name="connsiteX24" fmla="*/ 3640919 w 4501379"/>
                    <a:gd name="connsiteY24" fmla="*/ 3971925 h 4429294"/>
                    <a:gd name="connsiteX25" fmla="*/ 3498044 w 4501379"/>
                    <a:gd name="connsiteY25" fmla="*/ 4083050 h 4429294"/>
                    <a:gd name="connsiteX26" fmla="*/ 3202769 w 4501379"/>
                    <a:gd name="connsiteY26" fmla="*/ 4222750 h 4429294"/>
                    <a:gd name="connsiteX27" fmla="*/ 3050369 w 4501379"/>
                    <a:gd name="connsiteY27" fmla="*/ 4286250 h 4429294"/>
                    <a:gd name="connsiteX28" fmla="*/ 2917019 w 4501379"/>
                    <a:gd name="connsiteY28" fmla="*/ 4333875 h 4429294"/>
                    <a:gd name="connsiteX29" fmla="*/ 2793194 w 4501379"/>
                    <a:gd name="connsiteY29" fmla="*/ 4371975 h 4429294"/>
                    <a:gd name="connsiteX30" fmla="*/ 2561419 w 4501379"/>
                    <a:gd name="connsiteY30" fmla="*/ 4391025 h 4429294"/>
                    <a:gd name="connsiteX31" fmla="*/ 2107394 w 4501379"/>
                    <a:gd name="connsiteY31" fmla="*/ 4429125 h 4429294"/>
                    <a:gd name="connsiteX32" fmla="*/ 1916894 w 4501379"/>
                    <a:gd name="connsiteY32" fmla="*/ 4400550 h 4429294"/>
                    <a:gd name="connsiteX33" fmla="*/ 1554944 w 4501379"/>
                    <a:gd name="connsiteY33" fmla="*/ 4305300 h 4429294"/>
                    <a:gd name="connsiteX34" fmla="*/ 1313644 w 4501379"/>
                    <a:gd name="connsiteY34" fmla="*/ 4216400 h 4429294"/>
                    <a:gd name="connsiteX35" fmla="*/ 1145369 w 4501379"/>
                    <a:gd name="connsiteY35" fmla="*/ 4111625 h 4429294"/>
                    <a:gd name="connsiteX36" fmla="*/ 926294 w 4501379"/>
                    <a:gd name="connsiteY36" fmla="*/ 3968750 h 4429294"/>
                    <a:gd name="connsiteX37" fmla="*/ 592919 w 4501379"/>
                    <a:gd name="connsiteY37" fmla="*/ 3657600 h 4429294"/>
                    <a:gd name="connsiteX38" fmla="*/ 446869 w 4501379"/>
                    <a:gd name="connsiteY38" fmla="*/ 3470275 h 4429294"/>
                    <a:gd name="connsiteX39" fmla="*/ 316694 w 4501379"/>
                    <a:gd name="connsiteY39" fmla="*/ 3244850 h 4429294"/>
                    <a:gd name="connsiteX40" fmla="*/ 164294 w 4501379"/>
                    <a:gd name="connsiteY40" fmla="*/ 2892425 h 4429294"/>
                    <a:gd name="connsiteX41" fmla="*/ 56344 w 4501379"/>
                    <a:gd name="connsiteY41" fmla="*/ 2368550 h 4429294"/>
                    <a:gd name="connsiteX42" fmla="*/ 2369 w 4501379"/>
                    <a:gd name="connsiteY42" fmla="*/ 1905000 h 4429294"/>
                    <a:gd name="connsiteX43" fmla="*/ 11894 w 4501379"/>
                    <a:gd name="connsiteY43" fmla="*/ 1838325 h 4429294"/>
                    <a:gd name="connsiteX44" fmla="*/ 30944 w 4501379"/>
                    <a:gd name="connsiteY44" fmla="*/ 1781175 h 4429294"/>
                    <a:gd name="connsiteX45" fmla="*/ 40469 w 4501379"/>
                    <a:gd name="connsiteY45" fmla="*/ 1743075 h 4429294"/>
                    <a:gd name="connsiteX46" fmla="*/ 59519 w 4501379"/>
                    <a:gd name="connsiteY46" fmla="*/ 1685925 h 4429294"/>
                    <a:gd name="connsiteX47" fmla="*/ 69044 w 4501379"/>
                    <a:gd name="connsiteY47" fmla="*/ 1638300 h 4429294"/>
                    <a:gd name="connsiteX48" fmla="*/ 88094 w 4501379"/>
                    <a:gd name="connsiteY48" fmla="*/ 1590675 h 4429294"/>
                    <a:gd name="connsiteX49" fmla="*/ 116669 w 4501379"/>
                    <a:gd name="connsiteY49" fmla="*/ 1504950 h 4429294"/>
                    <a:gd name="connsiteX50" fmla="*/ 135719 w 4501379"/>
                    <a:gd name="connsiteY50" fmla="*/ 1419225 h 4429294"/>
                    <a:gd name="connsiteX51" fmla="*/ 211919 w 4501379"/>
                    <a:gd name="connsiteY51" fmla="*/ 1276350 h 4429294"/>
                    <a:gd name="connsiteX52" fmla="*/ 221444 w 4501379"/>
                    <a:gd name="connsiteY52" fmla="*/ 1247775 h 4429294"/>
                    <a:gd name="connsiteX53" fmla="*/ 250019 w 4501379"/>
                    <a:gd name="connsiteY53" fmla="*/ 1200150 h 4429294"/>
                    <a:gd name="connsiteX54" fmla="*/ 269069 w 4501379"/>
                    <a:gd name="connsiteY54" fmla="*/ 1152525 h 4429294"/>
                    <a:gd name="connsiteX55" fmla="*/ 297644 w 4501379"/>
                    <a:gd name="connsiteY55" fmla="*/ 1114425 h 4429294"/>
                    <a:gd name="connsiteX56" fmla="*/ 345269 w 4501379"/>
                    <a:gd name="connsiteY56" fmla="*/ 1038225 h 4429294"/>
                    <a:gd name="connsiteX57" fmla="*/ 364319 w 4501379"/>
                    <a:gd name="connsiteY57" fmla="*/ 1009650 h 4429294"/>
                    <a:gd name="connsiteX58" fmla="*/ 421469 w 4501379"/>
                    <a:gd name="connsiteY58" fmla="*/ 904875 h 4429294"/>
                    <a:gd name="connsiteX59" fmla="*/ 459569 w 4501379"/>
                    <a:gd name="connsiteY59" fmla="*/ 857250 h 4429294"/>
                    <a:gd name="connsiteX60" fmla="*/ 478619 w 4501379"/>
                    <a:gd name="connsiteY60" fmla="*/ 828675 h 4429294"/>
                    <a:gd name="connsiteX61" fmla="*/ 516719 w 4501379"/>
                    <a:gd name="connsiteY61" fmla="*/ 800100 h 4429294"/>
                    <a:gd name="connsiteX62" fmla="*/ 583394 w 4501379"/>
                    <a:gd name="connsiteY62" fmla="*/ 733425 h 4429294"/>
                    <a:gd name="connsiteX63" fmla="*/ 650069 w 4501379"/>
                    <a:gd name="connsiteY63" fmla="*/ 676275 h 4429294"/>
                    <a:gd name="connsiteX64" fmla="*/ 678644 w 4501379"/>
                    <a:gd name="connsiteY64" fmla="*/ 657225 h 4429294"/>
                    <a:gd name="connsiteX65" fmla="*/ 821519 w 4501379"/>
                    <a:gd name="connsiteY65" fmla="*/ 533400 h 4429294"/>
                    <a:gd name="connsiteX66" fmla="*/ 869144 w 4501379"/>
                    <a:gd name="connsiteY66" fmla="*/ 504825 h 4429294"/>
                    <a:gd name="connsiteX67" fmla="*/ 1148544 w 4501379"/>
                    <a:gd name="connsiteY67" fmla="*/ 311150 h 4429294"/>
                    <a:gd name="connsiteX68" fmla="*/ 1250144 w 4501379"/>
                    <a:gd name="connsiteY68" fmla="*/ 285750 h 4429294"/>
                    <a:gd name="connsiteX69" fmla="*/ 1393019 w 4501379"/>
                    <a:gd name="connsiteY69" fmla="*/ 190500 h 4429294"/>
                    <a:gd name="connsiteX70" fmla="*/ 1431119 w 4501379"/>
                    <a:gd name="connsiteY70" fmla="*/ 161925 h 4429294"/>
                    <a:gd name="connsiteX71" fmla="*/ 1507319 w 4501379"/>
                    <a:gd name="connsiteY71" fmla="*/ 152400 h 4429294"/>
                    <a:gd name="connsiteX72" fmla="*/ 1564469 w 4501379"/>
                    <a:gd name="connsiteY72" fmla="*/ 142875 h 4429294"/>
                    <a:gd name="connsiteX73" fmla="*/ 1697819 w 4501379"/>
                    <a:gd name="connsiteY73" fmla="*/ 123825 h 4429294"/>
                    <a:gd name="connsiteX74" fmla="*/ 1793069 w 4501379"/>
                    <a:gd name="connsiteY74" fmla="*/ 114300 h 4429294"/>
                    <a:gd name="connsiteX75" fmla="*/ 1840694 w 4501379"/>
                    <a:gd name="connsiteY75" fmla="*/ 104775 h 4429294"/>
                    <a:gd name="connsiteX76" fmla="*/ 1897844 w 4501379"/>
                    <a:gd name="connsiteY76" fmla="*/ 95250 h 4429294"/>
                    <a:gd name="connsiteX77" fmla="*/ 2012144 w 4501379"/>
                    <a:gd name="connsiteY77" fmla="*/ 66675 h 4429294"/>
                    <a:gd name="connsiteX78" fmla="*/ 2078819 w 4501379"/>
                    <a:gd name="connsiteY78" fmla="*/ 47625 h 4429294"/>
                    <a:gd name="connsiteX79" fmla="*/ 2145494 w 4501379"/>
                    <a:gd name="connsiteY7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26644 w 4501379"/>
                    <a:gd name="connsiteY7" fmla="*/ 542925 h 4429294"/>
                    <a:gd name="connsiteX8" fmla="*/ 3793319 w 4501379"/>
                    <a:gd name="connsiteY8" fmla="*/ 581025 h 4429294"/>
                    <a:gd name="connsiteX9" fmla="*/ 4009219 w 4501379"/>
                    <a:gd name="connsiteY9" fmla="*/ 819150 h 4429294"/>
                    <a:gd name="connsiteX10" fmla="*/ 4145744 w 4501379"/>
                    <a:gd name="connsiteY10" fmla="*/ 990600 h 4429294"/>
                    <a:gd name="connsiteX11" fmla="*/ 4231469 w 4501379"/>
                    <a:gd name="connsiteY11" fmla="*/ 1143000 h 4429294"/>
                    <a:gd name="connsiteX12" fmla="*/ 4288619 w 4501379"/>
                    <a:gd name="connsiteY12" fmla="*/ 1266825 h 4429294"/>
                    <a:gd name="connsiteX13" fmla="*/ 4326719 w 4501379"/>
                    <a:gd name="connsiteY13" fmla="*/ 1362075 h 4429294"/>
                    <a:gd name="connsiteX14" fmla="*/ 4374344 w 4501379"/>
                    <a:gd name="connsiteY14" fmla="*/ 1552575 h 4429294"/>
                    <a:gd name="connsiteX15" fmla="*/ 4412444 w 4501379"/>
                    <a:gd name="connsiteY15" fmla="*/ 1685925 h 4429294"/>
                    <a:gd name="connsiteX16" fmla="*/ 4501344 w 4501379"/>
                    <a:gd name="connsiteY16" fmla="*/ 2181225 h 4429294"/>
                    <a:gd name="connsiteX17" fmla="*/ 4428319 w 4501379"/>
                    <a:gd name="connsiteY17" fmla="*/ 2768600 h 4429294"/>
                    <a:gd name="connsiteX18" fmla="*/ 4364819 w 4501379"/>
                    <a:gd name="connsiteY18" fmla="*/ 2990850 h 4429294"/>
                    <a:gd name="connsiteX19" fmla="*/ 4260044 w 4501379"/>
                    <a:gd name="connsiteY19" fmla="*/ 3248025 h 4429294"/>
                    <a:gd name="connsiteX20" fmla="*/ 4164794 w 4501379"/>
                    <a:gd name="connsiteY20" fmla="*/ 3400425 h 4429294"/>
                    <a:gd name="connsiteX21" fmla="*/ 4040969 w 4501379"/>
                    <a:gd name="connsiteY21" fmla="*/ 3533775 h 4429294"/>
                    <a:gd name="connsiteX22" fmla="*/ 3936194 w 4501379"/>
                    <a:gd name="connsiteY22" fmla="*/ 3648075 h 4429294"/>
                    <a:gd name="connsiteX23" fmla="*/ 3640919 w 4501379"/>
                    <a:gd name="connsiteY23" fmla="*/ 3971925 h 4429294"/>
                    <a:gd name="connsiteX24" fmla="*/ 3498044 w 4501379"/>
                    <a:gd name="connsiteY24" fmla="*/ 4083050 h 4429294"/>
                    <a:gd name="connsiteX25" fmla="*/ 3202769 w 4501379"/>
                    <a:gd name="connsiteY25" fmla="*/ 4222750 h 4429294"/>
                    <a:gd name="connsiteX26" fmla="*/ 3050369 w 4501379"/>
                    <a:gd name="connsiteY26" fmla="*/ 4286250 h 4429294"/>
                    <a:gd name="connsiteX27" fmla="*/ 2917019 w 4501379"/>
                    <a:gd name="connsiteY27" fmla="*/ 4333875 h 4429294"/>
                    <a:gd name="connsiteX28" fmla="*/ 2793194 w 4501379"/>
                    <a:gd name="connsiteY28" fmla="*/ 4371975 h 4429294"/>
                    <a:gd name="connsiteX29" fmla="*/ 2561419 w 4501379"/>
                    <a:gd name="connsiteY29" fmla="*/ 4391025 h 4429294"/>
                    <a:gd name="connsiteX30" fmla="*/ 2107394 w 4501379"/>
                    <a:gd name="connsiteY30" fmla="*/ 4429125 h 4429294"/>
                    <a:gd name="connsiteX31" fmla="*/ 1916894 w 4501379"/>
                    <a:gd name="connsiteY31" fmla="*/ 4400550 h 4429294"/>
                    <a:gd name="connsiteX32" fmla="*/ 1554944 w 4501379"/>
                    <a:gd name="connsiteY32" fmla="*/ 4305300 h 4429294"/>
                    <a:gd name="connsiteX33" fmla="*/ 1313644 w 4501379"/>
                    <a:gd name="connsiteY33" fmla="*/ 4216400 h 4429294"/>
                    <a:gd name="connsiteX34" fmla="*/ 1145369 w 4501379"/>
                    <a:gd name="connsiteY34" fmla="*/ 4111625 h 4429294"/>
                    <a:gd name="connsiteX35" fmla="*/ 926294 w 4501379"/>
                    <a:gd name="connsiteY35" fmla="*/ 3968750 h 4429294"/>
                    <a:gd name="connsiteX36" fmla="*/ 592919 w 4501379"/>
                    <a:gd name="connsiteY36" fmla="*/ 3657600 h 4429294"/>
                    <a:gd name="connsiteX37" fmla="*/ 446869 w 4501379"/>
                    <a:gd name="connsiteY37" fmla="*/ 3470275 h 4429294"/>
                    <a:gd name="connsiteX38" fmla="*/ 316694 w 4501379"/>
                    <a:gd name="connsiteY38" fmla="*/ 3244850 h 4429294"/>
                    <a:gd name="connsiteX39" fmla="*/ 164294 w 4501379"/>
                    <a:gd name="connsiteY39" fmla="*/ 2892425 h 4429294"/>
                    <a:gd name="connsiteX40" fmla="*/ 56344 w 4501379"/>
                    <a:gd name="connsiteY40" fmla="*/ 2368550 h 4429294"/>
                    <a:gd name="connsiteX41" fmla="*/ 2369 w 4501379"/>
                    <a:gd name="connsiteY41" fmla="*/ 1905000 h 4429294"/>
                    <a:gd name="connsiteX42" fmla="*/ 11894 w 4501379"/>
                    <a:gd name="connsiteY42" fmla="*/ 1838325 h 4429294"/>
                    <a:gd name="connsiteX43" fmla="*/ 30944 w 4501379"/>
                    <a:gd name="connsiteY43" fmla="*/ 1781175 h 4429294"/>
                    <a:gd name="connsiteX44" fmla="*/ 40469 w 4501379"/>
                    <a:gd name="connsiteY44" fmla="*/ 1743075 h 4429294"/>
                    <a:gd name="connsiteX45" fmla="*/ 59519 w 4501379"/>
                    <a:gd name="connsiteY45" fmla="*/ 1685925 h 4429294"/>
                    <a:gd name="connsiteX46" fmla="*/ 69044 w 4501379"/>
                    <a:gd name="connsiteY46" fmla="*/ 1638300 h 4429294"/>
                    <a:gd name="connsiteX47" fmla="*/ 88094 w 4501379"/>
                    <a:gd name="connsiteY47" fmla="*/ 1590675 h 4429294"/>
                    <a:gd name="connsiteX48" fmla="*/ 116669 w 4501379"/>
                    <a:gd name="connsiteY48" fmla="*/ 1504950 h 4429294"/>
                    <a:gd name="connsiteX49" fmla="*/ 135719 w 4501379"/>
                    <a:gd name="connsiteY49" fmla="*/ 1419225 h 4429294"/>
                    <a:gd name="connsiteX50" fmla="*/ 211919 w 4501379"/>
                    <a:gd name="connsiteY50" fmla="*/ 1276350 h 4429294"/>
                    <a:gd name="connsiteX51" fmla="*/ 221444 w 4501379"/>
                    <a:gd name="connsiteY51" fmla="*/ 1247775 h 4429294"/>
                    <a:gd name="connsiteX52" fmla="*/ 250019 w 4501379"/>
                    <a:gd name="connsiteY52" fmla="*/ 1200150 h 4429294"/>
                    <a:gd name="connsiteX53" fmla="*/ 269069 w 4501379"/>
                    <a:gd name="connsiteY53" fmla="*/ 1152525 h 4429294"/>
                    <a:gd name="connsiteX54" fmla="*/ 297644 w 4501379"/>
                    <a:gd name="connsiteY54" fmla="*/ 1114425 h 4429294"/>
                    <a:gd name="connsiteX55" fmla="*/ 345269 w 4501379"/>
                    <a:gd name="connsiteY55" fmla="*/ 1038225 h 4429294"/>
                    <a:gd name="connsiteX56" fmla="*/ 364319 w 4501379"/>
                    <a:gd name="connsiteY56" fmla="*/ 1009650 h 4429294"/>
                    <a:gd name="connsiteX57" fmla="*/ 421469 w 4501379"/>
                    <a:gd name="connsiteY57" fmla="*/ 904875 h 4429294"/>
                    <a:gd name="connsiteX58" fmla="*/ 459569 w 4501379"/>
                    <a:gd name="connsiteY58" fmla="*/ 857250 h 4429294"/>
                    <a:gd name="connsiteX59" fmla="*/ 478619 w 4501379"/>
                    <a:gd name="connsiteY59" fmla="*/ 828675 h 4429294"/>
                    <a:gd name="connsiteX60" fmla="*/ 516719 w 4501379"/>
                    <a:gd name="connsiteY60" fmla="*/ 800100 h 4429294"/>
                    <a:gd name="connsiteX61" fmla="*/ 583394 w 4501379"/>
                    <a:gd name="connsiteY61" fmla="*/ 733425 h 4429294"/>
                    <a:gd name="connsiteX62" fmla="*/ 650069 w 4501379"/>
                    <a:gd name="connsiteY62" fmla="*/ 676275 h 4429294"/>
                    <a:gd name="connsiteX63" fmla="*/ 678644 w 4501379"/>
                    <a:gd name="connsiteY63" fmla="*/ 657225 h 4429294"/>
                    <a:gd name="connsiteX64" fmla="*/ 821519 w 4501379"/>
                    <a:gd name="connsiteY64" fmla="*/ 533400 h 4429294"/>
                    <a:gd name="connsiteX65" fmla="*/ 869144 w 4501379"/>
                    <a:gd name="connsiteY65" fmla="*/ 504825 h 4429294"/>
                    <a:gd name="connsiteX66" fmla="*/ 1148544 w 4501379"/>
                    <a:gd name="connsiteY66" fmla="*/ 311150 h 4429294"/>
                    <a:gd name="connsiteX67" fmla="*/ 1250144 w 4501379"/>
                    <a:gd name="connsiteY67" fmla="*/ 285750 h 4429294"/>
                    <a:gd name="connsiteX68" fmla="*/ 1393019 w 4501379"/>
                    <a:gd name="connsiteY68" fmla="*/ 190500 h 4429294"/>
                    <a:gd name="connsiteX69" fmla="*/ 1431119 w 4501379"/>
                    <a:gd name="connsiteY69" fmla="*/ 161925 h 4429294"/>
                    <a:gd name="connsiteX70" fmla="*/ 1507319 w 4501379"/>
                    <a:gd name="connsiteY70" fmla="*/ 152400 h 4429294"/>
                    <a:gd name="connsiteX71" fmla="*/ 1564469 w 4501379"/>
                    <a:gd name="connsiteY71" fmla="*/ 142875 h 4429294"/>
                    <a:gd name="connsiteX72" fmla="*/ 1697819 w 4501379"/>
                    <a:gd name="connsiteY72" fmla="*/ 123825 h 4429294"/>
                    <a:gd name="connsiteX73" fmla="*/ 1793069 w 4501379"/>
                    <a:gd name="connsiteY73" fmla="*/ 114300 h 4429294"/>
                    <a:gd name="connsiteX74" fmla="*/ 1840694 w 4501379"/>
                    <a:gd name="connsiteY74" fmla="*/ 104775 h 4429294"/>
                    <a:gd name="connsiteX75" fmla="*/ 1897844 w 4501379"/>
                    <a:gd name="connsiteY75" fmla="*/ 95250 h 4429294"/>
                    <a:gd name="connsiteX76" fmla="*/ 2012144 w 4501379"/>
                    <a:gd name="connsiteY76" fmla="*/ 66675 h 4429294"/>
                    <a:gd name="connsiteX77" fmla="*/ 2078819 w 4501379"/>
                    <a:gd name="connsiteY77" fmla="*/ 47625 h 4429294"/>
                    <a:gd name="connsiteX78" fmla="*/ 2145494 w 4501379"/>
                    <a:gd name="connsiteY7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612344 w 4501379"/>
                    <a:gd name="connsiteY6" fmla="*/ 485775 h 4429294"/>
                    <a:gd name="connsiteX7" fmla="*/ 3793319 w 4501379"/>
                    <a:gd name="connsiteY7" fmla="*/ 581025 h 4429294"/>
                    <a:gd name="connsiteX8" fmla="*/ 4009219 w 4501379"/>
                    <a:gd name="connsiteY8" fmla="*/ 819150 h 4429294"/>
                    <a:gd name="connsiteX9" fmla="*/ 4145744 w 4501379"/>
                    <a:gd name="connsiteY9" fmla="*/ 990600 h 4429294"/>
                    <a:gd name="connsiteX10" fmla="*/ 4231469 w 4501379"/>
                    <a:gd name="connsiteY10" fmla="*/ 1143000 h 4429294"/>
                    <a:gd name="connsiteX11" fmla="*/ 4288619 w 4501379"/>
                    <a:gd name="connsiteY11" fmla="*/ 1266825 h 4429294"/>
                    <a:gd name="connsiteX12" fmla="*/ 4326719 w 4501379"/>
                    <a:gd name="connsiteY12" fmla="*/ 1362075 h 4429294"/>
                    <a:gd name="connsiteX13" fmla="*/ 4374344 w 4501379"/>
                    <a:gd name="connsiteY13" fmla="*/ 1552575 h 4429294"/>
                    <a:gd name="connsiteX14" fmla="*/ 4412444 w 4501379"/>
                    <a:gd name="connsiteY14" fmla="*/ 1685925 h 4429294"/>
                    <a:gd name="connsiteX15" fmla="*/ 4501344 w 4501379"/>
                    <a:gd name="connsiteY15" fmla="*/ 2181225 h 4429294"/>
                    <a:gd name="connsiteX16" fmla="*/ 4428319 w 4501379"/>
                    <a:gd name="connsiteY16" fmla="*/ 2768600 h 4429294"/>
                    <a:gd name="connsiteX17" fmla="*/ 4364819 w 4501379"/>
                    <a:gd name="connsiteY17" fmla="*/ 2990850 h 4429294"/>
                    <a:gd name="connsiteX18" fmla="*/ 4260044 w 4501379"/>
                    <a:gd name="connsiteY18" fmla="*/ 3248025 h 4429294"/>
                    <a:gd name="connsiteX19" fmla="*/ 4164794 w 4501379"/>
                    <a:gd name="connsiteY19" fmla="*/ 3400425 h 4429294"/>
                    <a:gd name="connsiteX20" fmla="*/ 4040969 w 4501379"/>
                    <a:gd name="connsiteY20" fmla="*/ 3533775 h 4429294"/>
                    <a:gd name="connsiteX21" fmla="*/ 3936194 w 4501379"/>
                    <a:gd name="connsiteY21" fmla="*/ 3648075 h 4429294"/>
                    <a:gd name="connsiteX22" fmla="*/ 3640919 w 4501379"/>
                    <a:gd name="connsiteY22" fmla="*/ 3971925 h 4429294"/>
                    <a:gd name="connsiteX23" fmla="*/ 3498044 w 4501379"/>
                    <a:gd name="connsiteY23" fmla="*/ 4083050 h 4429294"/>
                    <a:gd name="connsiteX24" fmla="*/ 3202769 w 4501379"/>
                    <a:gd name="connsiteY24" fmla="*/ 4222750 h 4429294"/>
                    <a:gd name="connsiteX25" fmla="*/ 3050369 w 4501379"/>
                    <a:gd name="connsiteY25" fmla="*/ 4286250 h 4429294"/>
                    <a:gd name="connsiteX26" fmla="*/ 2917019 w 4501379"/>
                    <a:gd name="connsiteY26" fmla="*/ 4333875 h 4429294"/>
                    <a:gd name="connsiteX27" fmla="*/ 2793194 w 4501379"/>
                    <a:gd name="connsiteY27" fmla="*/ 4371975 h 4429294"/>
                    <a:gd name="connsiteX28" fmla="*/ 2561419 w 4501379"/>
                    <a:gd name="connsiteY28" fmla="*/ 4391025 h 4429294"/>
                    <a:gd name="connsiteX29" fmla="*/ 2107394 w 4501379"/>
                    <a:gd name="connsiteY29" fmla="*/ 4429125 h 4429294"/>
                    <a:gd name="connsiteX30" fmla="*/ 1916894 w 4501379"/>
                    <a:gd name="connsiteY30" fmla="*/ 4400550 h 4429294"/>
                    <a:gd name="connsiteX31" fmla="*/ 1554944 w 4501379"/>
                    <a:gd name="connsiteY31" fmla="*/ 4305300 h 4429294"/>
                    <a:gd name="connsiteX32" fmla="*/ 1313644 w 4501379"/>
                    <a:gd name="connsiteY32" fmla="*/ 4216400 h 4429294"/>
                    <a:gd name="connsiteX33" fmla="*/ 1145369 w 4501379"/>
                    <a:gd name="connsiteY33" fmla="*/ 4111625 h 4429294"/>
                    <a:gd name="connsiteX34" fmla="*/ 926294 w 4501379"/>
                    <a:gd name="connsiteY34" fmla="*/ 3968750 h 4429294"/>
                    <a:gd name="connsiteX35" fmla="*/ 592919 w 4501379"/>
                    <a:gd name="connsiteY35" fmla="*/ 3657600 h 4429294"/>
                    <a:gd name="connsiteX36" fmla="*/ 446869 w 4501379"/>
                    <a:gd name="connsiteY36" fmla="*/ 3470275 h 4429294"/>
                    <a:gd name="connsiteX37" fmla="*/ 316694 w 4501379"/>
                    <a:gd name="connsiteY37" fmla="*/ 3244850 h 4429294"/>
                    <a:gd name="connsiteX38" fmla="*/ 164294 w 4501379"/>
                    <a:gd name="connsiteY38" fmla="*/ 2892425 h 4429294"/>
                    <a:gd name="connsiteX39" fmla="*/ 56344 w 4501379"/>
                    <a:gd name="connsiteY39" fmla="*/ 2368550 h 4429294"/>
                    <a:gd name="connsiteX40" fmla="*/ 2369 w 4501379"/>
                    <a:gd name="connsiteY40" fmla="*/ 1905000 h 4429294"/>
                    <a:gd name="connsiteX41" fmla="*/ 11894 w 4501379"/>
                    <a:gd name="connsiteY41" fmla="*/ 1838325 h 4429294"/>
                    <a:gd name="connsiteX42" fmla="*/ 30944 w 4501379"/>
                    <a:gd name="connsiteY42" fmla="*/ 1781175 h 4429294"/>
                    <a:gd name="connsiteX43" fmla="*/ 40469 w 4501379"/>
                    <a:gd name="connsiteY43" fmla="*/ 1743075 h 4429294"/>
                    <a:gd name="connsiteX44" fmla="*/ 59519 w 4501379"/>
                    <a:gd name="connsiteY44" fmla="*/ 1685925 h 4429294"/>
                    <a:gd name="connsiteX45" fmla="*/ 69044 w 4501379"/>
                    <a:gd name="connsiteY45" fmla="*/ 1638300 h 4429294"/>
                    <a:gd name="connsiteX46" fmla="*/ 88094 w 4501379"/>
                    <a:gd name="connsiteY46" fmla="*/ 1590675 h 4429294"/>
                    <a:gd name="connsiteX47" fmla="*/ 116669 w 4501379"/>
                    <a:gd name="connsiteY47" fmla="*/ 1504950 h 4429294"/>
                    <a:gd name="connsiteX48" fmla="*/ 135719 w 4501379"/>
                    <a:gd name="connsiteY48" fmla="*/ 1419225 h 4429294"/>
                    <a:gd name="connsiteX49" fmla="*/ 211919 w 4501379"/>
                    <a:gd name="connsiteY49" fmla="*/ 1276350 h 4429294"/>
                    <a:gd name="connsiteX50" fmla="*/ 221444 w 4501379"/>
                    <a:gd name="connsiteY50" fmla="*/ 1247775 h 4429294"/>
                    <a:gd name="connsiteX51" fmla="*/ 250019 w 4501379"/>
                    <a:gd name="connsiteY51" fmla="*/ 1200150 h 4429294"/>
                    <a:gd name="connsiteX52" fmla="*/ 269069 w 4501379"/>
                    <a:gd name="connsiteY52" fmla="*/ 1152525 h 4429294"/>
                    <a:gd name="connsiteX53" fmla="*/ 297644 w 4501379"/>
                    <a:gd name="connsiteY53" fmla="*/ 1114425 h 4429294"/>
                    <a:gd name="connsiteX54" fmla="*/ 345269 w 4501379"/>
                    <a:gd name="connsiteY54" fmla="*/ 1038225 h 4429294"/>
                    <a:gd name="connsiteX55" fmla="*/ 364319 w 4501379"/>
                    <a:gd name="connsiteY55" fmla="*/ 1009650 h 4429294"/>
                    <a:gd name="connsiteX56" fmla="*/ 421469 w 4501379"/>
                    <a:gd name="connsiteY56" fmla="*/ 904875 h 4429294"/>
                    <a:gd name="connsiteX57" fmla="*/ 459569 w 4501379"/>
                    <a:gd name="connsiteY57" fmla="*/ 857250 h 4429294"/>
                    <a:gd name="connsiteX58" fmla="*/ 478619 w 4501379"/>
                    <a:gd name="connsiteY58" fmla="*/ 828675 h 4429294"/>
                    <a:gd name="connsiteX59" fmla="*/ 516719 w 4501379"/>
                    <a:gd name="connsiteY59" fmla="*/ 800100 h 4429294"/>
                    <a:gd name="connsiteX60" fmla="*/ 583394 w 4501379"/>
                    <a:gd name="connsiteY60" fmla="*/ 733425 h 4429294"/>
                    <a:gd name="connsiteX61" fmla="*/ 650069 w 4501379"/>
                    <a:gd name="connsiteY61" fmla="*/ 676275 h 4429294"/>
                    <a:gd name="connsiteX62" fmla="*/ 678644 w 4501379"/>
                    <a:gd name="connsiteY62" fmla="*/ 657225 h 4429294"/>
                    <a:gd name="connsiteX63" fmla="*/ 821519 w 4501379"/>
                    <a:gd name="connsiteY63" fmla="*/ 533400 h 4429294"/>
                    <a:gd name="connsiteX64" fmla="*/ 869144 w 4501379"/>
                    <a:gd name="connsiteY64" fmla="*/ 504825 h 4429294"/>
                    <a:gd name="connsiteX65" fmla="*/ 1148544 w 4501379"/>
                    <a:gd name="connsiteY65" fmla="*/ 311150 h 4429294"/>
                    <a:gd name="connsiteX66" fmla="*/ 1250144 w 4501379"/>
                    <a:gd name="connsiteY66" fmla="*/ 285750 h 4429294"/>
                    <a:gd name="connsiteX67" fmla="*/ 1393019 w 4501379"/>
                    <a:gd name="connsiteY67" fmla="*/ 190500 h 4429294"/>
                    <a:gd name="connsiteX68" fmla="*/ 1431119 w 4501379"/>
                    <a:gd name="connsiteY68" fmla="*/ 161925 h 4429294"/>
                    <a:gd name="connsiteX69" fmla="*/ 1507319 w 4501379"/>
                    <a:gd name="connsiteY69" fmla="*/ 152400 h 4429294"/>
                    <a:gd name="connsiteX70" fmla="*/ 1564469 w 4501379"/>
                    <a:gd name="connsiteY70" fmla="*/ 142875 h 4429294"/>
                    <a:gd name="connsiteX71" fmla="*/ 1697819 w 4501379"/>
                    <a:gd name="connsiteY71" fmla="*/ 123825 h 4429294"/>
                    <a:gd name="connsiteX72" fmla="*/ 1793069 w 4501379"/>
                    <a:gd name="connsiteY72" fmla="*/ 114300 h 4429294"/>
                    <a:gd name="connsiteX73" fmla="*/ 1840694 w 4501379"/>
                    <a:gd name="connsiteY73" fmla="*/ 104775 h 4429294"/>
                    <a:gd name="connsiteX74" fmla="*/ 1897844 w 4501379"/>
                    <a:gd name="connsiteY74" fmla="*/ 95250 h 4429294"/>
                    <a:gd name="connsiteX75" fmla="*/ 2012144 w 4501379"/>
                    <a:gd name="connsiteY75" fmla="*/ 66675 h 4429294"/>
                    <a:gd name="connsiteX76" fmla="*/ 2078819 w 4501379"/>
                    <a:gd name="connsiteY76" fmla="*/ 47625 h 4429294"/>
                    <a:gd name="connsiteX77" fmla="*/ 2145494 w 4501379"/>
                    <a:gd name="connsiteY7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393019 w 4501379"/>
                    <a:gd name="connsiteY66" fmla="*/ 190500 h 4429294"/>
                    <a:gd name="connsiteX67" fmla="*/ 1431119 w 4501379"/>
                    <a:gd name="connsiteY67" fmla="*/ 161925 h 4429294"/>
                    <a:gd name="connsiteX68" fmla="*/ 1507319 w 4501379"/>
                    <a:gd name="connsiteY68" fmla="*/ 152400 h 4429294"/>
                    <a:gd name="connsiteX69" fmla="*/ 1564469 w 4501379"/>
                    <a:gd name="connsiteY69" fmla="*/ 142875 h 4429294"/>
                    <a:gd name="connsiteX70" fmla="*/ 1697819 w 4501379"/>
                    <a:gd name="connsiteY70" fmla="*/ 123825 h 4429294"/>
                    <a:gd name="connsiteX71" fmla="*/ 1793069 w 4501379"/>
                    <a:gd name="connsiteY71" fmla="*/ 114300 h 4429294"/>
                    <a:gd name="connsiteX72" fmla="*/ 1840694 w 4501379"/>
                    <a:gd name="connsiteY72" fmla="*/ 104775 h 4429294"/>
                    <a:gd name="connsiteX73" fmla="*/ 1897844 w 4501379"/>
                    <a:gd name="connsiteY73" fmla="*/ 95250 h 4429294"/>
                    <a:gd name="connsiteX74" fmla="*/ 2012144 w 4501379"/>
                    <a:gd name="connsiteY74" fmla="*/ 66675 h 4429294"/>
                    <a:gd name="connsiteX75" fmla="*/ 2078819 w 4501379"/>
                    <a:gd name="connsiteY75" fmla="*/ 47625 h 4429294"/>
                    <a:gd name="connsiteX76" fmla="*/ 2145494 w 4501379"/>
                    <a:gd name="connsiteY76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431119 w 4501379"/>
                    <a:gd name="connsiteY66" fmla="*/ 161925 h 4429294"/>
                    <a:gd name="connsiteX67" fmla="*/ 1507319 w 4501379"/>
                    <a:gd name="connsiteY67" fmla="*/ 152400 h 4429294"/>
                    <a:gd name="connsiteX68" fmla="*/ 1564469 w 4501379"/>
                    <a:gd name="connsiteY68" fmla="*/ 142875 h 4429294"/>
                    <a:gd name="connsiteX69" fmla="*/ 1697819 w 4501379"/>
                    <a:gd name="connsiteY69" fmla="*/ 123825 h 4429294"/>
                    <a:gd name="connsiteX70" fmla="*/ 1793069 w 4501379"/>
                    <a:gd name="connsiteY70" fmla="*/ 114300 h 4429294"/>
                    <a:gd name="connsiteX71" fmla="*/ 1840694 w 4501379"/>
                    <a:gd name="connsiteY71" fmla="*/ 104775 h 4429294"/>
                    <a:gd name="connsiteX72" fmla="*/ 1897844 w 4501379"/>
                    <a:gd name="connsiteY72" fmla="*/ 95250 h 4429294"/>
                    <a:gd name="connsiteX73" fmla="*/ 2012144 w 4501379"/>
                    <a:gd name="connsiteY73" fmla="*/ 66675 h 4429294"/>
                    <a:gd name="connsiteX74" fmla="*/ 2078819 w 4501379"/>
                    <a:gd name="connsiteY74" fmla="*/ 47625 h 4429294"/>
                    <a:gd name="connsiteX75" fmla="*/ 2145494 w 4501379"/>
                    <a:gd name="connsiteY75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250144 w 4501379"/>
                    <a:gd name="connsiteY65" fmla="*/ 285750 h 4429294"/>
                    <a:gd name="connsiteX66" fmla="*/ 1507319 w 4501379"/>
                    <a:gd name="connsiteY66" fmla="*/ 152400 h 4429294"/>
                    <a:gd name="connsiteX67" fmla="*/ 1564469 w 4501379"/>
                    <a:gd name="connsiteY67" fmla="*/ 142875 h 4429294"/>
                    <a:gd name="connsiteX68" fmla="*/ 1697819 w 4501379"/>
                    <a:gd name="connsiteY68" fmla="*/ 123825 h 4429294"/>
                    <a:gd name="connsiteX69" fmla="*/ 1793069 w 4501379"/>
                    <a:gd name="connsiteY69" fmla="*/ 114300 h 4429294"/>
                    <a:gd name="connsiteX70" fmla="*/ 1840694 w 4501379"/>
                    <a:gd name="connsiteY70" fmla="*/ 104775 h 4429294"/>
                    <a:gd name="connsiteX71" fmla="*/ 1897844 w 4501379"/>
                    <a:gd name="connsiteY71" fmla="*/ 95250 h 4429294"/>
                    <a:gd name="connsiteX72" fmla="*/ 2012144 w 4501379"/>
                    <a:gd name="connsiteY72" fmla="*/ 66675 h 4429294"/>
                    <a:gd name="connsiteX73" fmla="*/ 2078819 w 4501379"/>
                    <a:gd name="connsiteY73" fmla="*/ 47625 h 4429294"/>
                    <a:gd name="connsiteX74" fmla="*/ 2145494 w 4501379"/>
                    <a:gd name="connsiteY74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697819 w 4501379"/>
                    <a:gd name="connsiteY67" fmla="*/ 123825 h 4429294"/>
                    <a:gd name="connsiteX68" fmla="*/ 1793069 w 4501379"/>
                    <a:gd name="connsiteY68" fmla="*/ 114300 h 4429294"/>
                    <a:gd name="connsiteX69" fmla="*/ 1840694 w 4501379"/>
                    <a:gd name="connsiteY69" fmla="*/ 104775 h 4429294"/>
                    <a:gd name="connsiteX70" fmla="*/ 1897844 w 4501379"/>
                    <a:gd name="connsiteY70" fmla="*/ 95250 h 4429294"/>
                    <a:gd name="connsiteX71" fmla="*/ 2012144 w 4501379"/>
                    <a:gd name="connsiteY71" fmla="*/ 66675 h 4429294"/>
                    <a:gd name="connsiteX72" fmla="*/ 2078819 w 4501379"/>
                    <a:gd name="connsiteY72" fmla="*/ 47625 h 4429294"/>
                    <a:gd name="connsiteX73" fmla="*/ 2145494 w 4501379"/>
                    <a:gd name="connsiteY73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793069 w 4501379"/>
                    <a:gd name="connsiteY67" fmla="*/ 114300 h 4429294"/>
                    <a:gd name="connsiteX68" fmla="*/ 1840694 w 4501379"/>
                    <a:gd name="connsiteY68" fmla="*/ 104775 h 4429294"/>
                    <a:gd name="connsiteX69" fmla="*/ 1897844 w 4501379"/>
                    <a:gd name="connsiteY69" fmla="*/ 95250 h 4429294"/>
                    <a:gd name="connsiteX70" fmla="*/ 2012144 w 4501379"/>
                    <a:gd name="connsiteY70" fmla="*/ 66675 h 4429294"/>
                    <a:gd name="connsiteX71" fmla="*/ 2078819 w 4501379"/>
                    <a:gd name="connsiteY71" fmla="*/ 47625 h 4429294"/>
                    <a:gd name="connsiteX72" fmla="*/ 2145494 w 4501379"/>
                    <a:gd name="connsiteY72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40694 w 4501379"/>
                    <a:gd name="connsiteY67" fmla="*/ 104775 h 4429294"/>
                    <a:gd name="connsiteX68" fmla="*/ 1897844 w 4501379"/>
                    <a:gd name="connsiteY68" fmla="*/ 95250 h 4429294"/>
                    <a:gd name="connsiteX69" fmla="*/ 2012144 w 4501379"/>
                    <a:gd name="connsiteY69" fmla="*/ 66675 h 4429294"/>
                    <a:gd name="connsiteX70" fmla="*/ 2078819 w 4501379"/>
                    <a:gd name="connsiteY70" fmla="*/ 47625 h 4429294"/>
                    <a:gd name="connsiteX71" fmla="*/ 2145494 w 4501379"/>
                    <a:gd name="connsiteY71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1897844 w 4501379"/>
                    <a:gd name="connsiteY67" fmla="*/ 95250 h 4429294"/>
                    <a:gd name="connsiteX68" fmla="*/ 2012144 w 4501379"/>
                    <a:gd name="connsiteY68" fmla="*/ 66675 h 4429294"/>
                    <a:gd name="connsiteX69" fmla="*/ 2078819 w 4501379"/>
                    <a:gd name="connsiteY69" fmla="*/ 47625 h 4429294"/>
                    <a:gd name="connsiteX70" fmla="*/ 2145494 w 4501379"/>
                    <a:gd name="connsiteY70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12144 w 4501379"/>
                    <a:gd name="connsiteY67" fmla="*/ 66675 h 4429294"/>
                    <a:gd name="connsiteX68" fmla="*/ 2078819 w 4501379"/>
                    <a:gd name="connsiteY68" fmla="*/ 47625 h 4429294"/>
                    <a:gd name="connsiteX69" fmla="*/ 2145494 w 4501379"/>
                    <a:gd name="connsiteY69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078819 w 4501379"/>
                    <a:gd name="connsiteY67" fmla="*/ 47625 h 4429294"/>
                    <a:gd name="connsiteX68" fmla="*/ 2145494 w 4501379"/>
                    <a:gd name="connsiteY68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145494 w 4501379"/>
                    <a:gd name="connsiteY67" fmla="*/ 381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564469 w 4501379"/>
                    <a:gd name="connsiteY66" fmla="*/ 14287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583394 w 4501379"/>
                    <a:gd name="connsiteY59" fmla="*/ 733425 h 4429294"/>
                    <a:gd name="connsiteX60" fmla="*/ 650069 w 4501379"/>
                    <a:gd name="connsiteY60" fmla="*/ 676275 h 4429294"/>
                    <a:gd name="connsiteX61" fmla="*/ 678644 w 4501379"/>
                    <a:gd name="connsiteY61" fmla="*/ 657225 h 4429294"/>
                    <a:gd name="connsiteX62" fmla="*/ 821519 w 4501379"/>
                    <a:gd name="connsiteY62" fmla="*/ 533400 h 4429294"/>
                    <a:gd name="connsiteX63" fmla="*/ 869144 w 4501379"/>
                    <a:gd name="connsiteY63" fmla="*/ 504825 h 4429294"/>
                    <a:gd name="connsiteX64" fmla="*/ 1148544 w 4501379"/>
                    <a:gd name="connsiteY64" fmla="*/ 311150 h 4429294"/>
                    <a:gd name="connsiteX65" fmla="*/ 1507319 w 4501379"/>
                    <a:gd name="connsiteY65" fmla="*/ 152400 h 4429294"/>
                    <a:gd name="connsiteX66" fmla="*/ 1621619 w 4501379"/>
                    <a:gd name="connsiteY66" fmla="*/ 111125 h 4429294"/>
                    <a:gd name="connsiteX67" fmla="*/ 2253444 w 4501379"/>
                    <a:gd name="connsiteY6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678644 w 4501379"/>
                    <a:gd name="connsiteY60" fmla="*/ 657225 h 4429294"/>
                    <a:gd name="connsiteX61" fmla="*/ 821519 w 4501379"/>
                    <a:gd name="connsiteY61" fmla="*/ 533400 h 4429294"/>
                    <a:gd name="connsiteX62" fmla="*/ 869144 w 4501379"/>
                    <a:gd name="connsiteY62" fmla="*/ 504825 h 4429294"/>
                    <a:gd name="connsiteX63" fmla="*/ 1148544 w 4501379"/>
                    <a:gd name="connsiteY63" fmla="*/ 311150 h 4429294"/>
                    <a:gd name="connsiteX64" fmla="*/ 1507319 w 4501379"/>
                    <a:gd name="connsiteY64" fmla="*/ 152400 h 4429294"/>
                    <a:gd name="connsiteX65" fmla="*/ 1621619 w 4501379"/>
                    <a:gd name="connsiteY65" fmla="*/ 111125 h 4429294"/>
                    <a:gd name="connsiteX66" fmla="*/ 2253444 w 4501379"/>
                    <a:gd name="connsiteY6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21519 w 4501379"/>
                    <a:gd name="connsiteY60" fmla="*/ 533400 h 4429294"/>
                    <a:gd name="connsiteX61" fmla="*/ 869144 w 4501379"/>
                    <a:gd name="connsiteY61" fmla="*/ 504825 h 4429294"/>
                    <a:gd name="connsiteX62" fmla="*/ 1148544 w 4501379"/>
                    <a:gd name="connsiteY62" fmla="*/ 311150 h 4429294"/>
                    <a:gd name="connsiteX63" fmla="*/ 1507319 w 4501379"/>
                    <a:gd name="connsiteY63" fmla="*/ 152400 h 4429294"/>
                    <a:gd name="connsiteX64" fmla="*/ 1621619 w 4501379"/>
                    <a:gd name="connsiteY64" fmla="*/ 111125 h 4429294"/>
                    <a:gd name="connsiteX65" fmla="*/ 2253444 w 4501379"/>
                    <a:gd name="connsiteY6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45269 w 4501379"/>
                    <a:gd name="connsiteY53" fmla="*/ 1038225 h 4429294"/>
                    <a:gd name="connsiteX54" fmla="*/ 364319 w 4501379"/>
                    <a:gd name="connsiteY54" fmla="*/ 1009650 h 4429294"/>
                    <a:gd name="connsiteX55" fmla="*/ 421469 w 4501379"/>
                    <a:gd name="connsiteY55" fmla="*/ 904875 h 4429294"/>
                    <a:gd name="connsiteX56" fmla="*/ 459569 w 4501379"/>
                    <a:gd name="connsiteY56" fmla="*/ 857250 h 4429294"/>
                    <a:gd name="connsiteX57" fmla="*/ 478619 w 4501379"/>
                    <a:gd name="connsiteY57" fmla="*/ 828675 h 4429294"/>
                    <a:gd name="connsiteX58" fmla="*/ 516719 w 4501379"/>
                    <a:gd name="connsiteY58" fmla="*/ 800100 h 4429294"/>
                    <a:gd name="connsiteX59" fmla="*/ 650069 w 4501379"/>
                    <a:gd name="connsiteY59" fmla="*/ 676275 h 4429294"/>
                    <a:gd name="connsiteX60" fmla="*/ 869144 w 4501379"/>
                    <a:gd name="connsiteY60" fmla="*/ 504825 h 4429294"/>
                    <a:gd name="connsiteX61" fmla="*/ 1148544 w 4501379"/>
                    <a:gd name="connsiteY61" fmla="*/ 311150 h 4429294"/>
                    <a:gd name="connsiteX62" fmla="*/ 1507319 w 4501379"/>
                    <a:gd name="connsiteY62" fmla="*/ 152400 h 4429294"/>
                    <a:gd name="connsiteX63" fmla="*/ 1621619 w 4501379"/>
                    <a:gd name="connsiteY63" fmla="*/ 111125 h 4429294"/>
                    <a:gd name="connsiteX64" fmla="*/ 2253444 w 4501379"/>
                    <a:gd name="connsiteY6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364319 w 4501379"/>
                    <a:gd name="connsiteY53" fmla="*/ 1009650 h 4429294"/>
                    <a:gd name="connsiteX54" fmla="*/ 421469 w 4501379"/>
                    <a:gd name="connsiteY54" fmla="*/ 904875 h 4429294"/>
                    <a:gd name="connsiteX55" fmla="*/ 459569 w 4501379"/>
                    <a:gd name="connsiteY55" fmla="*/ 857250 h 4429294"/>
                    <a:gd name="connsiteX56" fmla="*/ 478619 w 4501379"/>
                    <a:gd name="connsiteY56" fmla="*/ 828675 h 4429294"/>
                    <a:gd name="connsiteX57" fmla="*/ 516719 w 4501379"/>
                    <a:gd name="connsiteY57" fmla="*/ 800100 h 4429294"/>
                    <a:gd name="connsiteX58" fmla="*/ 650069 w 4501379"/>
                    <a:gd name="connsiteY58" fmla="*/ 676275 h 4429294"/>
                    <a:gd name="connsiteX59" fmla="*/ 869144 w 4501379"/>
                    <a:gd name="connsiteY59" fmla="*/ 504825 h 4429294"/>
                    <a:gd name="connsiteX60" fmla="*/ 1148544 w 4501379"/>
                    <a:gd name="connsiteY60" fmla="*/ 311150 h 4429294"/>
                    <a:gd name="connsiteX61" fmla="*/ 1507319 w 4501379"/>
                    <a:gd name="connsiteY61" fmla="*/ 152400 h 4429294"/>
                    <a:gd name="connsiteX62" fmla="*/ 1621619 w 4501379"/>
                    <a:gd name="connsiteY62" fmla="*/ 111125 h 4429294"/>
                    <a:gd name="connsiteX63" fmla="*/ 2253444 w 4501379"/>
                    <a:gd name="connsiteY63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21469 w 4501379"/>
                    <a:gd name="connsiteY53" fmla="*/ 904875 h 4429294"/>
                    <a:gd name="connsiteX54" fmla="*/ 459569 w 4501379"/>
                    <a:gd name="connsiteY54" fmla="*/ 857250 h 4429294"/>
                    <a:gd name="connsiteX55" fmla="*/ 478619 w 4501379"/>
                    <a:gd name="connsiteY55" fmla="*/ 828675 h 4429294"/>
                    <a:gd name="connsiteX56" fmla="*/ 516719 w 4501379"/>
                    <a:gd name="connsiteY56" fmla="*/ 800100 h 4429294"/>
                    <a:gd name="connsiteX57" fmla="*/ 650069 w 4501379"/>
                    <a:gd name="connsiteY57" fmla="*/ 676275 h 4429294"/>
                    <a:gd name="connsiteX58" fmla="*/ 869144 w 4501379"/>
                    <a:gd name="connsiteY58" fmla="*/ 504825 h 4429294"/>
                    <a:gd name="connsiteX59" fmla="*/ 1148544 w 4501379"/>
                    <a:gd name="connsiteY59" fmla="*/ 311150 h 4429294"/>
                    <a:gd name="connsiteX60" fmla="*/ 1507319 w 4501379"/>
                    <a:gd name="connsiteY60" fmla="*/ 152400 h 4429294"/>
                    <a:gd name="connsiteX61" fmla="*/ 1621619 w 4501379"/>
                    <a:gd name="connsiteY61" fmla="*/ 111125 h 4429294"/>
                    <a:gd name="connsiteX62" fmla="*/ 2253444 w 4501379"/>
                    <a:gd name="connsiteY62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478619 w 4501379"/>
                    <a:gd name="connsiteY54" fmla="*/ 828675 h 4429294"/>
                    <a:gd name="connsiteX55" fmla="*/ 516719 w 4501379"/>
                    <a:gd name="connsiteY55" fmla="*/ 800100 h 4429294"/>
                    <a:gd name="connsiteX56" fmla="*/ 650069 w 4501379"/>
                    <a:gd name="connsiteY56" fmla="*/ 676275 h 4429294"/>
                    <a:gd name="connsiteX57" fmla="*/ 869144 w 4501379"/>
                    <a:gd name="connsiteY57" fmla="*/ 504825 h 4429294"/>
                    <a:gd name="connsiteX58" fmla="*/ 1148544 w 4501379"/>
                    <a:gd name="connsiteY58" fmla="*/ 311150 h 4429294"/>
                    <a:gd name="connsiteX59" fmla="*/ 1507319 w 4501379"/>
                    <a:gd name="connsiteY59" fmla="*/ 152400 h 4429294"/>
                    <a:gd name="connsiteX60" fmla="*/ 1621619 w 4501379"/>
                    <a:gd name="connsiteY60" fmla="*/ 111125 h 4429294"/>
                    <a:gd name="connsiteX61" fmla="*/ 2253444 w 4501379"/>
                    <a:gd name="connsiteY61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50019 w 4501379"/>
                    <a:gd name="connsiteY50" fmla="*/ 1200150 h 4429294"/>
                    <a:gd name="connsiteX51" fmla="*/ 269069 w 4501379"/>
                    <a:gd name="connsiteY51" fmla="*/ 1152525 h 4429294"/>
                    <a:gd name="connsiteX52" fmla="*/ 297644 w 4501379"/>
                    <a:gd name="connsiteY52" fmla="*/ 1114425 h 4429294"/>
                    <a:gd name="connsiteX53" fmla="*/ 459569 w 4501379"/>
                    <a:gd name="connsiteY53" fmla="*/ 857250 h 4429294"/>
                    <a:gd name="connsiteX54" fmla="*/ 516719 w 4501379"/>
                    <a:gd name="connsiteY54" fmla="*/ 800100 h 4429294"/>
                    <a:gd name="connsiteX55" fmla="*/ 650069 w 4501379"/>
                    <a:gd name="connsiteY55" fmla="*/ 676275 h 4429294"/>
                    <a:gd name="connsiteX56" fmla="*/ 869144 w 4501379"/>
                    <a:gd name="connsiteY56" fmla="*/ 504825 h 4429294"/>
                    <a:gd name="connsiteX57" fmla="*/ 1148544 w 4501379"/>
                    <a:gd name="connsiteY57" fmla="*/ 311150 h 4429294"/>
                    <a:gd name="connsiteX58" fmla="*/ 1507319 w 4501379"/>
                    <a:gd name="connsiteY58" fmla="*/ 152400 h 4429294"/>
                    <a:gd name="connsiteX59" fmla="*/ 1621619 w 4501379"/>
                    <a:gd name="connsiteY59" fmla="*/ 111125 h 4429294"/>
                    <a:gd name="connsiteX60" fmla="*/ 2253444 w 4501379"/>
                    <a:gd name="connsiteY60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69069 w 4501379"/>
                    <a:gd name="connsiteY50" fmla="*/ 1152525 h 4429294"/>
                    <a:gd name="connsiteX51" fmla="*/ 297644 w 4501379"/>
                    <a:gd name="connsiteY51" fmla="*/ 1114425 h 4429294"/>
                    <a:gd name="connsiteX52" fmla="*/ 459569 w 4501379"/>
                    <a:gd name="connsiteY52" fmla="*/ 857250 h 4429294"/>
                    <a:gd name="connsiteX53" fmla="*/ 516719 w 4501379"/>
                    <a:gd name="connsiteY53" fmla="*/ 800100 h 4429294"/>
                    <a:gd name="connsiteX54" fmla="*/ 650069 w 4501379"/>
                    <a:gd name="connsiteY54" fmla="*/ 676275 h 4429294"/>
                    <a:gd name="connsiteX55" fmla="*/ 869144 w 4501379"/>
                    <a:gd name="connsiteY55" fmla="*/ 504825 h 4429294"/>
                    <a:gd name="connsiteX56" fmla="*/ 1148544 w 4501379"/>
                    <a:gd name="connsiteY56" fmla="*/ 311150 h 4429294"/>
                    <a:gd name="connsiteX57" fmla="*/ 1507319 w 4501379"/>
                    <a:gd name="connsiteY57" fmla="*/ 152400 h 4429294"/>
                    <a:gd name="connsiteX58" fmla="*/ 1621619 w 4501379"/>
                    <a:gd name="connsiteY58" fmla="*/ 111125 h 4429294"/>
                    <a:gd name="connsiteX59" fmla="*/ 2253444 w 4501379"/>
                    <a:gd name="connsiteY59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21444 w 4501379"/>
                    <a:gd name="connsiteY49" fmla="*/ 1247775 h 4429294"/>
                    <a:gd name="connsiteX50" fmla="*/ 297644 w 4501379"/>
                    <a:gd name="connsiteY50" fmla="*/ 1114425 h 4429294"/>
                    <a:gd name="connsiteX51" fmla="*/ 459569 w 4501379"/>
                    <a:gd name="connsiteY51" fmla="*/ 857250 h 4429294"/>
                    <a:gd name="connsiteX52" fmla="*/ 516719 w 4501379"/>
                    <a:gd name="connsiteY52" fmla="*/ 800100 h 4429294"/>
                    <a:gd name="connsiteX53" fmla="*/ 650069 w 4501379"/>
                    <a:gd name="connsiteY53" fmla="*/ 676275 h 4429294"/>
                    <a:gd name="connsiteX54" fmla="*/ 869144 w 4501379"/>
                    <a:gd name="connsiteY54" fmla="*/ 504825 h 4429294"/>
                    <a:gd name="connsiteX55" fmla="*/ 1148544 w 4501379"/>
                    <a:gd name="connsiteY55" fmla="*/ 311150 h 4429294"/>
                    <a:gd name="connsiteX56" fmla="*/ 1507319 w 4501379"/>
                    <a:gd name="connsiteY56" fmla="*/ 152400 h 4429294"/>
                    <a:gd name="connsiteX57" fmla="*/ 1621619 w 4501379"/>
                    <a:gd name="connsiteY57" fmla="*/ 111125 h 4429294"/>
                    <a:gd name="connsiteX58" fmla="*/ 2253444 w 4501379"/>
                    <a:gd name="connsiteY58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16669 w 4501379"/>
                    <a:gd name="connsiteY46" fmla="*/ 1504950 h 4429294"/>
                    <a:gd name="connsiteX47" fmla="*/ 135719 w 4501379"/>
                    <a:gd name="connsiteY47" fmla="*/ 1419225 h 4429294"/>
                    <a:gd name="connsiteX48" fmla="*/ 211919 w 4501379"/>
                    <a:gd name="connsiteY48" fmla="*/ 1276350 h 4429294"/>
                    <a:gd name="connsiteX49" fmla="*/ 297644 w 4501379"/>
                    <a:gd name="connsiteY49" fmla="*/ 1114425 h 4429294"/>
                    <a:gd name="connsiteX50" fmla="*/ 459569 w 4501379"/>
                    <a:gd name="connsiteY50" fmla="*/ 857250 h 4429294"/>
                    <a:gd name="connsiteX51" fmla="*/ 516719 w 4501379"/>
                    <a:gd name="connsiteY51" fmla="*/ 800100 h 4429294"/>
                    <a:gd name="connsiteX52" fmla="*/ 650069 w 4501379"/>
                    <a:gd name="connsiteY52" fmla="*/ 676275 h 4429294"/>
                    <a:gd name="connsiteX53" fmla="*/ 869144 w 4501379"/>
                    <a:gd name="connsiteY53" fmla="*/ 504825 h 4429294"/>
                    <a:gd name="connsiteX54" fmla="*/ 1148544 w 4501379"/>
                    <a:gd name="connsiteY54" fmla="*/ 311150 h 4429294"/>
                    <a:gd name="connsiteX55" fmla="*/ 1507319 w 4501379"/>
                    <a:gd name="connsiteY55" fmla="*/ 152400 h 4429294"/>
                    <a:gd name="connsiteX56" fmla="*/ 1621619 w 4501379"/>
                    <a:gd name="connsiteY56" fmla="*/ 111125 h 4429294"/>
                    <a:gd name="connsiteX57" fmla="*/ 2253444 w 4501379"/>
                    <a:gd name="connsiteY57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69044 w 4501379"/>
                    <a:gd name="connsiteY44" fmla="*/ 1638300 h 4429294"/>
                    <a:gd name="connsiteX45" fmla="*/ 88094 w 4501379"/>
                    <a:gd name="connsiteY45" fmla="*/ 1590675 h 4429294"/>
                    <a:gd name="connsiteX46" fmla="*/ 135719 w 4501379"/>
                    <a:gd name="connsiteY46" fmla="*/ 1419225 h 4429294"/>
                    <a:gd name="connsiteX47" fmla="*/ 211919 w 4501379"/>
                    <a:gd name="connsiteY47" fmla="*/ 1276350 h 4429294"/>
                    <a:gd name="connsiteX48" fmla="*/ 297644 w 4501379"/>
                    <a:gd name="connsiteY48" fmla="*/ 1114425 h 4429294"/>
                    <a:gd name="connsiteX49" fmla="*/ 459569 w 4501379"/>
                    <a:gd name="connsiteY49" fmla="*/ 857250 h 4429294"/>
                    <a:gd name="connsiteX50" fmla="*/ 516719 w 4501379"/>
                    <a:gd name="connsiteY50" fmla="*/ 800100 h 4429294"/>
                    <a:gd name="connsiteX51" fmla="*/ 650069 w 4501379"/>
                    <a:gd name="connsiteY51" fmla="*/ 676275 h 4429294"/>
                    <a:gd name="connsiteX52" fmla="*/ 869144 w 4501379"/>
                    <a:gd name="connsiteY52" fmla="*/ 504825 h 4429294"/>
                    <a:gd name="connsiteX53" fmla="*/ 1148544 w 4501379"/>
                    <a:gd name="connsiteY53" fmla="*/ 311150 h 4429294"/>
                    <a:gd name="connsiteX54" fmla="*/ 1507319 w 4501379"/>
                    <a:gd name="connsiteY54" fmla="*/ 152400 h 4429294"/>
                    <a:gd name="connsiteX55" fmla="*/ 1621619 w 4501379"/>
                    <a:gd name="connsiteY55" fmla="*/ 111125 h 4429294"/>
                    <a:gd name="connsiteX56" fmla="*/ 2253444 w 4501379"/>
                    <a:gd name="connsiteY56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59519 w 4501379"/>
                    <a:gd name="connsiteY43" fmla="*/ 1685925 h 4429294"/>
                    <a:gd name="connsiteX44" fmla="*/ 88094 w 4501379"/>
                    <a:gd name="connsiteY44" fmla="*/ 1590675 h 4429294"/>
                    <a:gd name="connsiteX45" fmla="*/ 135719 w 4501379"/>
                    <a:gd name="connsiteY45" fmla="*/ 1419225 h 4429294"/>
                    <a:gd name="connsiteX46" fmla="*/ 211919 w 4501379"/>
                    <a:gd name="connsiteY46" fmla="*/ 1276350 h 4429294"/>
                    <a:gd name="connsiteX47" fmla="*/ 297644 w 4501379"/>
                    <a:gd name="connsiteY47" fmla="*/ 1114425 h 4429294"/>
                    <a:gd name="connsiteX48" fmla="*/ 459569 w 4501379"/>
                    <a:gd name="connsiteY48" fmla="*/ 857250 h 4429294"/>
                    <a:gd name="connsiteX49" fmla="*/ 516719 w 4501379"/>
                    <a:gd name="connsiteY49" fmla="*/ 800100 h 4429294"/>
                    <a:gd name="connsiteX50" fmla="*/ 650069 w 4501379"/>
                    <a:gd name="connsiteY50" fmla="*/ 676275 h 4429294"/>
                    <a:gd name="connsiteX51" fmla="*/ 869144 w 4501379"/>
                    <a:gd name="connsiteY51" fmla="*/ 504825 h 4429294"/>
                    <a:gd name="connsiteX52" fmla="*/ 1148544 w 4501379"/>
                    <a:gd name="connsiteY52" fmla="*/ 311150 h 4429294"/>
                    <a:gd name="connsiteX53" fmla="*/ 1507319 w 4501379"/>
                    <a:gd name="connsiteY53" fmla="*/ 152400 h 4429294"/>
                    <a:gd name="connsiteX54" fmla="*/ 1621619 w 4501379"/>
                    <a:gd name="connsiteY54" fmla="*/ 111125 h 4429294"/>
                    <a:gd name="connsiteX55" fmla="*/ 2253444 w 4501379"/>
                    <a:gd name="connsiteY55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40469 w 4501379"/>
                    <a:gd name="connsiteY42" fmla="*/ 1743075 h 4429294"/>
                    <a:gd name="connsiteX43" fmla="*/ 88094 w 4501379"/>
                    <a:gd name="connsiteY43" fmla="*/ 1590675 h 4429294"/>
                    <a:gd name="connsiteX44" fmla="*/ 135719 w 4501379"/>
                    <a:gd name="connsiteY44" fmla="*/ 1419225 h 4429294"/>
                    <a:gd name="connsiteX45" fmla="*/ 211919 w 4501379"/>
                    <a:gd name="connsiteY45" fmla="*/ 1276350 h 4429294"/>
                    <a:gd name="connsiteX46" fmla="*/ 297644 w 4501379"/>
                    <a:gd name="connsiteY46" fmla="*/ 1114425 h 4429294"/>
                    <a:gd name="connsiteX47" fmla="*/ 459569 w 4501379"/>
                    <a:gd name="connsiteY47" fmla="*/ 857250 h 4429294"/>
                    <a:gd name="connsiteX48" fmla="*/ 516719 w 4501379"/>
                    <a:gd name="connsiteY48" fmla="*/ 800100 h 4429294"/>
                    <a:gd name="connsiteX49" fmla="*/ 650069 w 4501379"/>
                    <a:gd name="connsiteY49" fmla="*/ 676275 h 4429294"/>
                    <a:gd name="connsiteX50" fmla="*/ 869144 w 4501379"/>
                    <a:gd name="connsiteY50" fmla="*/ 504825 h 4429294"/>
                    <a:gd name="connsiteX51" fmla="*/ 1148544 w 4501379"/>
                    <a:gd name="connsiteY51" fmla="*/ 311150 h 4429294"/>
                    <a:gd name="connsiteX52" fmla="*/ 1507319 w 4501379"/>
                    <a:gd name="connsiteY52" fmla="*/ 152400 h 4429294"/>
                    <a:gd name="connsiteX53" fmla="*/ 1621619 w 4501379"/>
                    <a:gd name="connsiteY53" fmla="*/ 111125 h 4429294"/>
                    <a:gd name="connsiteX54" fmla="*/ 2253444 w 4501379"/>
                    <a:gd name="connsiteY54" fmla="*/ 12700 h 4429294"/>
                    <a:gd name="connsiteX0" fmla="*/ 2278844 w 4501379"/>
                    <a:gd name="connsiteY0" fmla="*/ 0 h 4429294"/>
                    <a:gd name="connsiteX1" fmla="*/ 2602694 w 4501379"/>
                    <a:gd name="connsiteY1" fmla="*/ 15875 h 4429294"/>
                    <a:gd name="connsiteX2" fmla="*/ 2897969 w 4501379"/>
                    <a:gd name="connsiteY2" fmla="*/ 85725 h 4429294"/>
                    <a:gd name="connsiteX3" fmla="*/ 3117044 w 4501379"/>
                    <a:gd name="connsiteY3" fmla="*/ 171450 h 4429294"/>
                    <a:gd name="connsiteX4" fmla="*/ 3221819 w 4501379"/>
                    <a:gd name="connsiteY4" fmla="*/ 228600 h 4429294"/>
                    <a:gd name="connsiteX5" fmla="*/ 3402794 w 4501379"/>
                    <a:gd name="connsiteY5" fmla="*/ 323850 h 4429294"/>
                    <a:gd name="connsiteX6" fmla="*/ 3793319 w 4501379"/>
                    <a:gd name="connsiteY6" fmla="*/ 581025 h 4429294"/>
                    <a:gd name="connsiteX7" fmla="*/ 4009219 w 4501379"/>
                    <a:gd name="connsiteY7" fmla="*/ 819150 h 4429294"/>
                    <a:gd name="connsiteX8" fmla="*/ 4145744 w 4501379"/>
                    <a:gd name="connsiteY8" fmla="*/ 990600 h 4429294"/>
                    <a:gd name="connsiteX9" fmla="*/ 4231469 w 4501379"/>
                    <a:gd name="connsiteY9" fmla="*/ 1143000 h 4429294"/>
                    <a:gd name="connsiteX10" fmla="*/ 4288619 w 4501379"/>
                    <a:gd name="connsiteY10" fmla="*/ 1266825 h 4429294"/>
                    <a:gd name="connsiteX11" fmla="*/ 4326719 w 4501379"/>
                    <a:gd name="connsiteY11" fmla="*/ 1362075 h 4429294"/>
                    <a:gd name="connsiteX12" fmla="*/ 4374344 w 4501379"/>
                    <a:gd name="connsiteY12" fmla="*/ 1552575 h 4429294"/>
                    <a:gd name="connsiteX13" fmla="*/ 4412444 w 4501379"/>
                    <a:gd name="connsiteY13" fmla="*/ 1685925 h 4429294"/>
                    <a:gd name="connsiteX14" fmla="*/ 4501344 w 4501379"/>
                    <a:gd name="connsiteY14" fmla="*/ 2181225 h 4429294"/>
                    <a:gd name="connsiteX15" fmla="*/ 4428319 w 4501379"/>
                    <a:gd name="connsiteY15" fmla="*/ 2768600 h 4429294"/>
                    <a:gd name="connsiteX16" fmla="*/ 4364819 w 4501379"/>
                    <a:gd name="connsiteY16" fmla="*/ 2990850 h 4429294"/>
                    <a:gd name="connsiteX17" fmla="*/ 4260044 w 4501379"/>
                    <a:gd name="connsiteY17" fmla="*/ 3248025 h 4429294"/>
                    <a:gd name="connsiteX18" fmla="*/ 4164794 w 4501379"/>
                    <a:gd name="connsiteY18" fmla="*/ 3400425 h 4429294"/>
                    <a:gd name="connsiteX19" fmla="*/ 4040969 w 4501379"/>
                    <a:gd name="connsiteY19" fmla="*/ 3533775 h 4429294"/>
                    <a:gd name="connsiteX20" fmla="*/ 3936194 w 4501379"/>
                    <a:gd name="connsiteY20" fmla="*/ 3648075 h 4429294"/>
                    <a:gd name="connsiteX21" fmla="*/ 3640919 w 4501379"/>
                    <a:gd name="connsiteY21" fmla="*/ 3971925 h 4429294"/>
                    <a:gd name="connsiteX22" fmla="*/ 3498044 w 4501379"/>
                    <a:gd name="connsiteY22" fmla="*/ 4083050 h 4429294"/>
                    <a:gd name="connsiteX23" fmla="*/ 3202769 w 4501379"/>
                    <a:gd name="connsiteY23" fmla="*/ 4222750 h 4429294"/>
                    <a:gd name="connsiteX24" fmla="*/ 3050369 w 4501379"/>
                    <a:gd name="connsiteY24" fmla="*/ 4286250 h 4429294"/>
                    <a:gd name="connsiteX25" fmla="*/ 2917019 w 4501379"/>
                    <a:gd name="connsiteY25" fmla="*/ 4333875 h 4429294"/>
                    <a:gd name="connsiteX26" fmla="*/ 2793194 w 4501379"/>
                    <a:gd name="connsiteY26" fmla="*/ 4371975 h 4429294"/>
                    <a:gd name="connsiteX27" fmla="*/ 2561419 w 4501379"/>
                    <a:gd name="connsiteY27" fmla="*/ 4391025 h 4429294"/>
                    <a:gd name="connsiteX28" fmla="*/ 2107394 w 4501379"/>
                    <a:gd name="connsiteY28" fmla="*/ 4429125 h 4429294"/>
                    <a:gd name="connsiteX29" fmla="*/ 1916894 w 4501379"/>
                    <a:gd name="connsiteY29" fmla="*/ 4400550 h 4429294"/>
                    <a:gd name="connsiteX30" fmla="*/ 1554944 w 4501379"/>
                    <a:gd name="connsiteY30" fmla="*/ 4305300 h 4429294"/>
                    <a:gd name="connsiteX31" fmla="*/ 1313644 w 4501379"/>
                    <a:gd name="connsiteY31" fmla="*/ 4216400 h 4429294"/>
                    <a:gd name="connsiteX32" fmla="*/ 1145369 w 4501379"/>
                    <a:gd name="connsiteY32" fmla="*/ 4111625 h 4429294"/>
                    <a:gd name="connsiteX33" fmla="*/ 926294 w 4501379"/>
                    <a:gd name="connsiteY33" fmla="*/ 3968750 h 4429294"/>
                    <a:gd name="connsiteX34" fmla="*/ 592919 w 4501379"/>
                    <a:gd name="connsiteY34" fmla="*/ 3657600 h 4429294"/>
                    <a:gd name="connsiteX35" fmla="*/ 446869 w 4501379"/>
                    <a:gd name="connsiteY35" fmla="*/ 3470275 h 4429294"/>
                    <a:gd name="connsiteX36" fmla="*/ 316694 w 4501379"/>
                    <a:gd name="connsiteY36" fmla="*/ 3244850 h 4429294"/>
                    <a:gd name="connsiteX37" fmla="*/ 164294 w 4501379"/>
                    <a:gd name="connsiteY37" fmla="*/ 2892425 h 4429294"/>
                    <a:gd name="connsiteX38" fmla="*/ 56344 w 4501379"/>
                    <a:gd name="connsiteY38" fmla="*/ 2368550 h 4429294"/>
                    <a:gd name="connsiteX39" fmla="*/ 2369 w 4501379"/>
                    <a:gd name="connsiteY39" fmla="*/ 1905000 h 4429294"/>
                    <a:gd name="connsiteX40" fmla="*/ 11894 w 4501379"/>
                    <a:gd name="connsiteY40" fmla="*/ 1838325 h 4429294"/>
                    <a:gd name="connsiteX41" fmla="*/ 30944 w 4501379"/>
                    <a:gd name="connsiteY41" fmla="*/ 1781175 h 4429294"/>
                    <a:gd name="connsiteX42" fmla="*/ 88094 w 4501379"/>
                    <a:gd name="connsiteY42" fmla="*/ 1590675 h 4429294"/>
                    <a:gd name="connsiteX43" fmla="*/ 135719 w 4501379"/>
                    <a:gd name="connsiteY43" fmla="*/ 1419225 h 4429294"/>
                    <a:gd name="connsiteX44" fmla="*/ 211919 w 4501379"/>
                    <a:gd name="connsiteY44" fmla="*/ 1276350 h 4429294"/>
                    <a:gd name="connsiteX45" fmla="*/ 297644 w 4501379"/>
                    <a:gd name="connsiteY45" fmla="*/ 1114425 h 4429294"/>
                    <a:gd name="connsiteX46" fmla="*/ 459569 w 4501379"/>
                    <a:gd name="connsiteY46" fmla="*/ 857250 h 4429294"/>
                    <a:gd name="connsiteX47" fmla="*/ 516719 w 4501379"/>
                    <a:gd name="connsiteY47" fmla="*/ 800100 h 4429294"/>
                    <a:gd name="connsiteX48" fmla="*/ 650069 w 4501379"/>
                    <a:gd name="connsiteY48" fmla="*/ 676275 h 4429294"/>
                    <a:gd name="connsiteX49" fmla="*/ 869144 w 4501379"/>
                    <a:gd name="connsiteY49" fmla="*/ 504825 h 4429294"/>
                    <a:gd name="connsiteX50" fmla="*/ 1148544 w 4501379"/>
                    <a:gd name="connsiteY50" fmla="*/ 311150 h 4429294"/>
                    <a:gd name="connsiteX51" fmla="*/ 1507319 w 4501379"/>
                    <a:gd name="connsiteY51" fmla="*/ 152400 h 4429294"/>
                    <a:gd name="connsiteX52" fmla="*/ 1621619 w 4501379"/>
                    <a:gd name="connsiteY52" fmla="*/ 111125 h 4429294"/>
                    <a:gd name="connsiteX53" fmla="*/ 2253444 w 4501379"/>
                    <a:gd name="connsiteY53" fmla="*/ 12700 h 4429294"/>
                    <a:gd name="connsiteX0" fmla="*/ 2277090 w 4499625"/>
                    <a:gd name="connsiteY0" fmla="*/ 0 h 4429294"/>
                    <a:gd name="connsiteX1" fmla="*/ 2600940 w 4499625"/>
                    <a:gd name="connsiteY1" fmla="*/ 15875 h 4429294"/>
                    <a:gd name="connsiteX2" fmla="*/ 2896215 w 4499625"/>
                    <a:gd name="connsiteY2" fmla="*/ 85725 h 4429294"/>
                    <a:gd name="connsiteX3" fmla="*/ 3115290 w 4499625"/>
                    <a:gd name="connsiteY3" fmla="*/ 171450 h 4429294"/>
                    <a:gd name="connsiteX4" fmla="*/ 3220065 w 4499625"/>
                    <a:gd name="connsiteY4" fmla="*/ 228600 h 4429294"/>
                    <a:gd name="connsiteX5" fmla="*/ 3401040 w 4499625"/>
                    <a:gd name="connsiteY5" fmla="*/ 323850 h 4429294"/>
                    <a:gd name="connsiteX6" fmla="*/ 3791565 w 4499625"/>
                    <a:gd name="connsiteY6" fmla="*/ 581025 h 4429294"/>
                    <a:gd name="connsiteX7" fmla="*/ 4007465 w 4499625"/>
                    <a:gd name="connsiteY7" fmla="*/ 819150 h 4429294"/>
                    <a:gd name="connsiteX8" fmla="*/ 4143990 w 4499625"/>
                    <a:gd name="connsiteY8" fmla="*/ 990600 h 4429294"/>
                    <a:gd name="connsiteX9" fmla="*/ 4229715 w 4499625"/>
                    <a:gd name="connsiteY9" fmla="*/ 1143000 h 4429294"/>
                    <a:gd name="connsiteX10" fmla="*/ 4286865 w 4499625"/>
                    <a:gd name="connsiteY10" fmla="*/ 1266825 h 4429294"/>
                    <a:gd name="connsiteX11" fmla="*/ 4324965 w 4499625"/>
                    <a:gd name="connsiteY11" fmla="*/ 1362075 h 4429294"/>
                    <a:gd name="connsiteX12" fmla="*/ 4372590 w 4499625"/>
                    <a:gd name="connsiteY12" fmla="*/ 1552575 h 4429294"/>
                    <a:gd name="connsiteX13" fmla="*/ 4410690 w 4499625"/>
                    <a:gd name="connsiteY13" fmla="*/ 1685925 h 4429294"/>
                    <a:gd name="connsiteX14" fmla="*/ 4499590 w 4499625"/>
                    <a:gd name="connsiteY14" fmla="*/ 2181225 h 4429294"/>
                    <a:gd name="connsiteX15" fmla="*/ 4426565 w 4499625"/>
                    <a:gd name="connsiteY15" fmla="*/ 2768600 h 4429294"/>
                    <a:gd name="connsiteX16" fmla="*/ 4363065 w 4499625"/>
                    <a:gd name="connsiteY16" fmla="*/ 2990850 h 4429294"/>
                    <a:gd name="connsiteX17" fmla="*/ 4258290 w 4499625"/>
                    <a:gd name="connsiteY17" fmla="*/ 3248025 h 4429294"/>
                    <a:gd name="connsiteX18" fmla="*/ 4163040 w 4499625"/>
                    <a:gd name="connsiteY18" fmla="*/ 3400425 h 4429294"/>
                    <a:gd name="connsiteX19" fmla="*/ 4039215 w 4499625"/>
                    <a:gd name="connsiteY19" fmla="*/ 3533775 h 4429294"/>
                    <a:gd name="connsiteX20" fmla="*/ 3934440 w 4499625"/>
                    <a:gd name="connsiteY20" fmla="*/ 3648075 h 4429294"/>
                    <a:gd name="connsiteX21" fmla="*/ 3639165 w 4499625"/>
                    <a:gd name="connsiteY21" fmla="*/ 3971925 h 4429294"/>
                    <a:gd name="connsiteX22" fmla="*/ 3496290 w 4499625"/>
                    <a:gd name="connsiteY22" fmla="*/ 4083050 h 4429294"/>
                    <a:gd name="connsiteX23" fmla="*/ 3201015 w 4499625"/>
                    <a:gd name="connsiteY23" fmla="*/ 4222750 h 4429294"/>
                    <a:gd name="connsiteX24" fmla="*/ 3048615 w 4499625"/>
                    <a:gd name="connsiteY24" fmla="*/ 4286250 h 4429294"/>
                    <a:gd name="connsiteX25" fmla="*/ 2915265 w 4499625"/>
                    <a:gd name="connsiteY25" fmla="*/ 4333875 h 4429294"/>
                    <a:gd name="connsiteX26" fmla="*/ 2791440 w 4499625"/>
                    <a:gd name="connsiteY26" fmla="*/ 4371975 h 4429294"/>
                    <a:gd name="connsiteX27" fmla="*/ 2559665 w 4499625"/>
                    <a:gd name="connsiteY27" fmla="*/ 4391025 h 4429294"/>
                    <a:gd name="connsiteX28" fmla="*/ 2105640 w 4499625"/>
                    <a:gd name="connsiteY28" fmla="*/ 4429125 h 4429294"/>
                    <a:gd name="connsiteX29" fmla="*/ 1915140 w 4499625"/>
                    <a:gd name="connsiteY29" fmla="*/ 4400550 h 4429294"/>
                    <a:gd name="connsiteX30" fmla="*/ 1553190 w 4499625"/>
                    <a:gd name="connsiteY30" fmla="*/ 4305300 h 4429294"/>
                    <a:gd name="connsiteX31" fmla="*/ 1311890 w 4499625"/>
                    <a:gd name="connsiteY31" fmla="*/ 4216400 h 4429294"/>
                    <a:gd name="connsiteX32" fmla="*/ 1143615 w 4499625"/>
                    <a:gd name="connsiteY32" fmla="*/ 4111625 h 4429294"/>
                    <a:gd name="connsiteX33" fmla="*/ 924540 w 4499625"/>
                    <a:gd name="connsiteY33" fmla="*/ 3968750 h 4429294"/>
                    <a:gd name="connsiteX34" fmla="*/ 591165 w 4499625"/>
                    <a:gd name="connsiteY34" fmla="*/ 3657600 h 4429294"/>
                    <a:gd name="connsiteX35" fmla="*/ 445115 w 4499625"/>
                    <a:gd name="connsiteY35" fmla="*/ 3470275 h 4429294"/>
                    <a:gd name="connsiteX36" fmla="*/ 314940 w 4499625"/>
                    <a:gd name="connsiteY36" fmla="*/ 3244850 h 4429294"/>
                    <a:gd name="connsiteX37" fmla="*/ 162540 w 4499625"/>
                    <a:gd name="connsiteY37" fmla="*/ 2892425 h 4429294"/>
                    <a:gd name="connsiteX38" fmla="*/ 54590 w 4499625"/>
                    <a:gd name="connsiteY38" fmla="*/ 2368550 h 4429294"/>
                    <a:gd name="connsiteX39" fmla="*/ 615 w 4499625"/>
                    <a:gd name="connsiteY39" fmla="*/ 1905000 h 4429294"/>
                    <a:gd name="connsiteX40" fmla="*/ 29190 w 4499625"/>
                    <a:gd name="connsiteY40" fmla="*/ 1781175 h 4429294"/>
                    <a:gd name="connsiteX41" fmla="*/ 86340 w 4499625"/>
                    <a:gd name="connsiteY41" fmla="*/ 1590675 h 4429294"/>
                    <a:gd name="connsiteX42" fmla="*/ 133965 w 4499625"/>
                    <a:gd name="connsiteY42" fmla="*/ 1419225 h 4429294"/>
                    <a:gd name="connsiteX43" fmla="*/ 210165 w 4499625"/>
                    <a:gd name="connsiteY43" fmla="*/ 1276350 h 4429294"/>
                    <a:gd name="connsiteX44" fmla="*/ 295890 w 4499625"/>
                    <a:gd name="connsiteY44" fmla="*/ 1114425 h 4429294"/>
                    <a:gd name="connsiteX45" fmla="*/ 457815 w 4499625"/>
                    <a:gd name="connsiteY45" fmla="*/ 857250 h 4429294"/>
                    <a:gd name="connsiteX46" fmla="*/ 514965 w 4499625"/>
                    <a:gd name="connsiteY46" fmla="*/ 800100 h 4429294"/>
                    <a:gd name="connsiteX47" fmla="*/ 648315 w 4499625"/>
                    <a:gd name="connsiteY47" fmla="*/ 676275 h 4429294"/>
                    <a:gd name="connsiteX48" fmla="*/ 867390 w 4499625"/>
                    <a:gd name="connsiteY48" fmla="*/ 504825 h 4429294"/>
                    <a:gd name="connsiteX49" fmla="*/ 1146790 w 4499625"/>
                    <a:gd name="connsiteY49" fmla="*/ 311150 h 4429294"/>
                    <a:gd name="connsiteX50" fmla="*/ 1505565 w 4499625"/>
                    <a:gd name="connsiteY50" fmla="*/ 152400 h 4429294"/>
                    <a:gd name="connsiteX51" fmla="*/ 1619865 w 4499625"/>
                    <a:gd name="connsiteY51" fmla="*/ 111125 h 4429294"/>
                    <a:gd name="connsiteX52" fmla="*/ 2251690 w 4499625"/>
                    <a:gd name="connsiteY52" fmla="*/ 12700 h 4429294"/>
                    <a:gd name="connsiteX0" fmla="*/ 2249427 w 4471962"/>
                    <a:gd name="connsiteY0" fmla="*/ 0 h 4429294"/>
                    <a:gd name="connsiteX1" fmla="*/ 2573277 w 4471962"/>
                    <a:gd name="connsiteY1" fmla="*/ 15875 h 4429294"/>
                    <a:gd name="connsiteX2" fmla="*/ 2868552 w 4471962"/>
                    <a:gd name="connsiteY2" fmla="*/ 85725 h 4429294"/>
                    <a:gd name="connsiteX3" fmla="*/ 3087627 w 4471962"/>
                    <a:gd name="connsiteY3" fmla="*/ 171450 h 4429294"/>
                    <a:gd name="connsiteX4" fmla="*/ 3192402 w 4471962"/>
                    <a:gd name="connsiteY4" fmla="*/ 228600 h 4429294"/>
                    <a:gd name="connsiteX5" fmla="*/ 3373377 w 4471962"/>
                    <a:gd name="connsiteY5" fmla="*/ 323850 h 4429294"/>
                    <a:gd name="connsiteX6" fmla="*/ 3763902 w 4471962"/>
                    <a:gd name="connsiteY6" fmla="*/ 581025 h 4429294"/>
                    <a:gd name="connsiteX7" fmla="*/ 3979802 w 4471962"/>
                    <a:gd name="connsiteY7" fmla="*/ 819150 h 4429294"/>
                    <a:gd name="connsiteX8" fmla="*/ 4116327 w 4471962"/>
                    <a:gd name="connsiteY8" fmla="*/ 990600 h 4429294"/>
                    <a:gd name="connsiteX9" fmla="*/ 4202052 w 4471962"/>
                    <a:gd name="connsiteY9" fmla="*/ 1143000 h 4429294"/>
                    <a:gd name="connsiteX10" fmla="*/ 4259202 w 4471962"/>
                    <a:gd name="connsiteY10" fmla="*/ 1266825 h 4429294"/>
                    <a:gd name="connsiteX11" fmla="*/ 4297302 w 4471962"/>
                    <a:gd name="connsiteY11" fmla="*/ 1362075 h 4429294"/>
                    <a:gd name="connsiteX12" fmla="*/ 4344927 w 4471962"/>
                    <a:gd name="connsiteY12" fmla="*/ 1552575 h 4429294"/>
                    <a:gd name="connsiteX13" fmla="*/ 4383027 w 4471962"/>
                    <a:gd name="connsiteY13" fmla="*/ 1685925 h 4429294"/>
                    <a:gd name="connsiteX14" fmla="*/ 4471927 w 4471962"/>
                    <a:gd name="connsiteY14" fmla="*/ 2181225 h 4429294"/>
                    <a:gd name="connsiteX15" fmla="*/ 4398902 w 4471962"/>
                    <a:gd name="connsiteY15" fmla="*/ 2768600 h 4429294"/>
                    <a:gd name="connsiteX16" fmla="*/ 4335402 w 4471962"/>
                    <a:gd name="connsiteY16" fmla="*/ 2990850 h 4429294"/>
                    <a:gd name="connsiteX17" fmla="*/ 4230627 w 4471962"/>
                    <a:gd name="connsiteY17" fmla="*/ 3248025 h 4429294"/>
                    <a:gd name="connsiteX18" fmla="*/ 4135377 w 4471962"/>
                    <a:gd name="connsiteY18" fmla="*/ 3400425 h 4429294"/>
                    <a:gd name="connsiteX19" fmla="*/ 4011552 w 4471962"/>
                    <a:gd name="connsiteY19" fmla="*/ 3533775 h 4429294"/>
                    <a:gd name="connsiteX20" fmla="*/ 3906777 w 4471962"/>
                    <a:gd name="connsiteY20" fmla="*/ 3648075 h 4429294"/>
                    <a:gd name="connsiteX21" fmla="*/ 3611502 w 4471962"/>
                    <a:gd name="connsiteY21" fmla="*/ 3971925 h 4429294"/>
                    <a:gd name="connsiteX22" fmla="*/ 3468627 w 4471962"/>
                    <a:gd name="connsiteY22" fmla="*/ 4083050 h 4429294"/>
                    <a:gd name="connsiteX23" fmla="*/ 3173352 w 4471962"/>
                    <a:gd name="connsiteY23" fmla="*/ 4222750 h 4429294"/>
                    <a:gd name="connsiteX24" fmla="*/ 3020952 w 4471962"/>
                    <a:gd name="connsiteY24" fmla="*/ 4286250 h 4429294"/>
                    <a:gd name="connsiteX25" fmla="*/ 2887602 w 4471962"/>
                    <a:gd name="connsiteY25" fmla="*/ 4333875 h 4429294"/>
                    <a:gd name="connsiteX26" fmla="*/ 2763777 w 4471962"/>
                    <a:gd name="connsiteY26" fmla="*/ 4371975 h 4429294"/>
                    <a:gd name="connsiteX27" fmla="*/ 2532002 w 4471962"/>
                    <a:gd name="connsiteY27" fmla="*/ 4391025 h 4429294"/>
                    <a:gd name="connsiteX28" fmla="*/ 2077977 w 4471962"/>
                    <a:gd name="connsiteY28" fmla="*/ 4429125 h 4429294"/>
                    <a:gd name="connsiteX29" fmla="*/ 1887477 w 4471962"/>
                    <a:gd name="connsiteY29" fmla="*/ 4400550 h 4429294"/>
                    <a:gd name="connsiteX30" fmla="*/ 1525527 w 4471962"/>
                    <a:gd name="connsiteY30" fmla="*/ 4305300 h 4429294"/>
                    <a:gd name="connsiteX31" fmla="*/ 1284227 w 4471962"/>
                    <a:gd name="connsiteY31" fmla="*/ 4216400 h 4429294"/>
                    <a:gd name="connsiteX32" fmla="*/ 1115952 w 4471962"/>
                    <a:gd name="connsiteY32" fmla="*/ 4111625 h 4429294"/>
                    <a:gd name="connsiteX33" fmla="*/ 896877 w 4471962"/>
                    <a:gd name="connsiteY33" fmla="*/ 3968750 h 4429294"/>
                    <a:gd name="connsiteX34" fmla="*/ 563502 w 4471962"/>
                    <a:gd name="connsiteY34" fmla="*/ 3657600 h 4429294"/>
                    <a:gd name="connsiteX35" fmla="*/ 417452 w 4471962"/>
                    <a:gd name="connsiteY35" fmla="*/ 3470275 h 4429294"/>
                    <a:gd name="connsiteX36" fmla="*/ 287277 w 4471962"/>
                    <a:gd name="connsiteY36" fmla="*/ 3244850 h 4429294"/>
                    <a:gd name="connsiteX37" fmla="*/ 134877 w 4471962"/>
                    <a:gd name="connsiteY37" fmla="*/ 2892425 h 4429294"/>
                    <a:gd name="connsiteX38" fmla="*/ 26927 w 4471962"/>
                    <a:gd name="connsiteY38" fmla="*/ 2368550 h 4429294"/>
                    <a:gd name="connsiteX39" fmla="*/ 1527 w 4471962"/>
                    <a:gd name="connsiteY39" fmla="*/ 1781175 h 4429294"/>
                    <a:gd name="connsiteX40" fmla="*/ 58677 w 4471962"/>
                    <a:gd name="connsiteY40" fmla="*/ 1590675 h 4429294"/>
                    <a:gd name="connsiteX41" fmla="*/ 106302 w 4471962"/>
                    <a:gd name="connsiteY41" fmla="*/ 1419225 h 4429294"/>
                    <a:gd name="connsiteX42" fmla="*/ 182502 w 4471962"/>
                    <a:gd name="connsiteY42" fmla="*/ 1276350 h 4429294"/>
                    <a:gd name="connsiteX43" fmla="*/ 268227 w 4471962"/>
                    <a:gd name="connsiteY43" fmla="*/ 1114425 h 4429294"/>
                    <a:gd name="connsiteX44" fmla="*/ 430152 w 4471962"/>
                    <a:gd name="connsiteY44" fmla="*/ 857250 h 4429294"/>
                    <a:gd name="connsiteX45" fmla="*/ 487302 w 4471962"/>
                    <a:gd name="connsiteY45" fmla="*/ 800100 h 4429294"/>
                    <a:gd name="connsiteX46" fmla="*/ 620652 w 4471962"/>
                    <a:gd name="connsiteY46" fmla="*/ 676275 h 4429294"/>
                    <a:gd name="connsiteX47" fmla="*/ 839727 w 4471962"/>
                    <a:gd name="connsiteY47" fmla="*/ 504825 h 4429294"/>
                    <a:gd name="connsiteX48" fmla="*/ 1119127 w 4471962"/>
                    <a:gd name="connsiteY48" fmla="*/ 311150 h 4429294"/>
                    <a:gd name="connsiteX49" fmla="*/ 1477902 w 4471962"/>
                    <a:gd name="connsiteY49" fmla="*/ 152400 h 4429294"/>
                    <a:gd name="connsiteX50" fmla="*/ 1592202 w 4471962"/>
                    <a:gd name="connsiteY50" fmla="*/ 111125 h 4429294"/>
                    <a:gd name="connsiteX51" fmla="*/ 2224027 w 4471962"/>
                    <a:gd name="connsiteY51" fmla="*/ 12700 h 4429294"/>
                    <a:gd name="connsiteX0" fmla="*/ 2231942 w 4454477"/>
                    <a:gd name="connsiteY0" fmla="*/ 0 h 4429294"/>
                    <a:gd name="connsiteX1" fmla="*/ 2555792 w 4454477"/>
                    <a:gd name="connsiteY1" fmla="*/ 15875 h 4429294"/>
                    <a:gd name="connsiteX2" fmla="*/ 2851067 w 4454477"/>
                    <a:gd name="connsiteY2" fmla="*/ 85725 h 4429294"/>
                    <a:gd name="connsiteX3" fmla="*/ 3070142 w 4454477"/>
                    <a:gd name="connsiteY3" fmla="*/ 171450 h 4429294"/>
                    <a:gd name="connsiteX4" fmla="*/ 3174917 w 4454477"/>
                    <a:gd name="connsiteY4" fmla="*/ 228600 h 4429294"/>
                    <a:gd name="connsiteX5" fmla="*/ 3355892 w 4454477"/>
                    <a:gd name="connsiteY5" fmla="*/ 323850 h 4429294"/>
                    <a:gd name="connsiteX6" fmla="*/ 3746417 w 4454477"/>
                    <a:gd name="connsiteY6" fmla="*/ 581025 h 4429294"/>
                    <a:gd name="connsiteX7" fmla="*/ 3962317 w 4454477"/>
                    <a:gd name="connsiteY7" fmla="*/ 819150 h 4429294"/>
                    <a:gd name="connsiteX8" fmla="*/ 4098842 w 4454477"/>
                    <a:gd name="connsiteY8" fmla="*/ 990600 h 4429294"/>
                    <a:gd name="connsiteX9" fmla="*/ 4184567 w 4454477"/>
                    <a:gd name="connsiteY9" fmla="*/ 1143000 h 4429294"/>
                    <a:gd name="connsiteX10" fmla="*/ 4241717 w 4454477"/>
                    <a:gd name="connsiteY10" fmla="*/ 1266825 h 4429294"/>
                    <a:gd name="connsiteX11" fmla="*/ 4279817 w 4454477"/>
                    <a:gd name="connsiteY11" fmla="*/ 1362075 h 4429294"/>
                    <a:gd name="connsiteX12" fmla="*/ 4327442 w 4454477"/>
                    <a:gd name="connsiteY12" fmla="*/ 1552575 h 4429294"/>
                    <a:gd name="connsiteX13" fmla="*/ 4365542 w 4454477"/>
                    <a:gd name="connsiteY13" fmla="*/ 1685925 h 4429294"/>
                    <a:gd name="connsiteX14" fmla="*/ 4454442 w 4454477"/>
                    <a:gd name="connsiteY14" fmla="*/ 2181225 h 4429294"/>
                    <a:gd name="connsiteX15" fmla="*/ 4381417 w 4454477"/>
                    <a:gd name="connsiteY15" fmla="*/ 2768600 h 4429294"/>
                    <a:gd name="connsiteX16" fmla="*/ 4317917 w 4454477"/>
                    <a:gd name="connsiteY16" fmla="*/ 2990850 h 4429294"/>
                    <a:gd name="connsiteX17" fmla="*/ 4213142 w 4454477"/>
                    <a:gd name="connsiteY17" fmla="*/ 3248025 h 4429294"/>
                    <a:gd name="connsiteX18" fmla="*/ 4117892 w 4454477"/>
                    <a:gd name="connsiteY18" fmla="*/ 3400425 h 4429294"/>
                    <a:gd name="connsiteX19" fmla="*/ 3994067 w 4454477"/>
                    <a:gd name="connsiteY19" fmla="*/ 3533775 h 4429294"/>
                    <a:gd name="connsiteX20" fmla="*/ 3889292 w 4454477"/>
                    <a:gd name="connsiteY20" fmla="*/ 3648075 h 4429294"/>
                    <a:gd name="connsiteX21" fmla="*/ 3594017 w 4454477"/>
                    <a:gd name="connsiteY21" fmla="*/ 3971925 h 4429294"/>
                    <a:gd name="connsiteX22" fmla="*/ 3451142 w 4454477"/>
                    <a:gd name="connsiteY22" fmla="*/ 4083050 h 4429294"/>
                    <a:gd name="connsiteX23" fmla="*/ 3155867 w 4454477"/>
                    <a:gd name="connsiteY23" fmla="*/ 4222750 h 4429294"/>
                    <a:gd name="connsiteX24" fmla="*/ 3003467 w 4454477"/>
                    <a:gd name="connsiteY24" fmla="*/ 4286250 h 4429294"/>
                    <a:gd name="connsiteX25" fmla="*/ 2870117 w 4454477"/>
                    <a:gd name="connsiteY25" fmla="*/ 4333875 h 4429294"/>
                    <a:gd name="connsiteX26" fmla="*/ 2746292 w 4454477"/>
                    <a:gd name="connsiteY26" fmla="*/ 4371975 h 4429294"/>
                    <a:gd name="connsiteX27" fmla="*/ 2514517 w 4454477"/>
                    <a:gd name="connsiteY27" fmla="*/ 4391025 h 4429294"/>
                    <a:gd name="connsiteX28" fmla="*/ 2060492 w 4454477"/>
                    <a:gd name="connsiteY28" fmla="*/ 4429125 h 4429294"/>
                    <a:gd name="connsiteX29" fmla="*/ 1869992 w 4454477"/>
                    <a:gd name="connsiteY29" fmla="*/ 4400550 h 4429294"/>
                    <a:gd name="connsiteX30" fmla="*/ 1508042 w 4454477"/>
                    <a:gd name="connsiteY30" fmla="*/ 4305300 h 4429294"/>
                    <a:gd name="connsiteX31" fmla="*/ 1266742 w 4454477"/>
                    <a:gd name="connsiteY31" fmla="*/ 4216400 h 4429294"/>
                    <a:gd name="connsiteX32" fmla="*/ 1098467 w 4454477"/>
                    <a:gd name="connsiteY32" fmla="*/ 4111625 h 4429294"/>
                    <a:gd name="connsiteX33" fmla="*/ 879392 w 4454477"/>
                    <a:gd name="connsiteY33" fmla="*/ 3968750 h 4429294"/>
                    <a:gd name="connsiteX34" fmla="*/ 546017 w 4454477"/>
                    <a:gd name="connsiteY34" fmla="*/ 3657600 h 4429294"/>
                    <a:gd name="connsiteX35" fmla="*/ 399967 w 4454477"/>
                    <a:gd name="connsiteY35" fmla="*/ 3470275 h 4429294"/>
                    <a:gd name="connsiteX36" fmla="*/ 269792 w 4454477"/>
                    <a:gd name="connsiteY36" fmla="*/ 3244850 h 4429294"/>
                    <a:gd name="connsiteX37" fmla="*/ 117392 w 4454477"/>
                    <a:gd name="connsiteY37" fmla="*/ 2892425 h 4429294"/>
                    <a:gd name="connsiteX38" fmla="*/ 9442 w 4454477"/>
                    <a:gd name="connsiteY38" fmla="*/ 2368550 h 4429294"/>
                    <a:gd name="connsiteX39" fmla="*/ 15792 w 4454477"/>
                    <a:gd name="connsiteY39" fmla="*/ 1870075 h 4429294"/>
                    <a:gd name="connsiteX40" fmla="*/ 41192 w 4454477"/>
                    <a:gd name="connsiteY40" fmla="*/ 1590675 h 4429294"/>
                    <a:gd name="connsiteX41" fmla="*/ 88817 w 4454477"/>
                    <a:gd name="connsiteY41" fmla="*/ 1419225 h 4429294"/>
                    <a:gd name="connsiteX42" fmla="*/ 165017 w 4454477"/>
                    <a:gd name="connsiteY42" fmla="*/ 1276350 h 4429294"/>
                    <a:gd name="connsiteX43" fmla="*/ 250742 w 4454477"/>
                    <a:gd name="connsiteY43" fmla="*/ 1114425 h 4429294"/>
                    <a:gd name="connsiteX44" fmla="*/ 412667 w 4454477"/>
                    <a:gd name="connsiteY44" fmla="*/ 857250 h 4429294"/>
                    <a:gd name="connsiteX45" fmla="*/ 469817 w 4454477"/>
                    <a:gd name="connsiteY45" fmla="*/ 800100 h 4429294"/>
                    <a:gd name="connsiteX46" fmla="*/ 603167 w 4454477"/>
                    <a:gd name="connsiteY46" fmla="*/ 676275 h 4429294"/>
                    <a:gd name="connsiteX47" fmla="*/ 822242 w 4454477"/>
                    <a:gd name="connsiteY47" fmla="*/ 504825 h 4429294"/>
                    <a:gd name="connsiteX48" fmla="*/ 1101642 w 4454477"/>
                    <a:gd name="connsiteY48" fmla="*/ 311150 h 4429294"/>
                    <a:gd name="connsiteX49" fmla="*/ 1460417 w 4454477"/>
                    <a:gd name="connsiteY49" fmla="*/ 152400 h 4429294"/>
                    <a:gd name="connsiteX50" fmla="*/ 1574717 w 4454477"/>
                    <a:gd name="connsiteY50" fmla="*/ 111125 h 4429294"/>
                    <a:gd name="connsiteX51" fmla="*/ 2206542 w 4454477"/>
                    <a:gd name="connsiteY51" fmla="*/ 12700 h 4429294"/>
                    <a:gd name="connsiteX0" fmla="*/ 2233750 w 4456285"/>
                    <a:gd name="connsiteY0" fmla="*/ 0 h 4429294"/>
                    <a:gd name="connsiteX1" fmla="*/ 2557600 w 4456285"/>
                    <a:gd name="connsiteY1" fmla="*/ 15875 h 4429294"/>
                    <a:gd name="connsiteX2" fmla="*/ 2852875 w 4456285"/>
                    <a:gd name="connsiteY2" fmla="*/ 85725 h 4429294"/>
                    <a:gd name="connsiteX3" fmla="*/ 3071950 w 4456285"/>
                    <a:gd name="connsiteY3" fmla="*/ 171450 h 4429294"/>
                    <a:gd name="connsiteX4" fmla="*/ 3176725 w 4456285"/>
                    <a:gd name="connsiteY4" fmla="*/ 228600 h 4429294"/>
                    <a:gd name="connsiteX5" fmla="*/ 3357700 w 4456285"/>
                    <a:gd name="connsiteY5" fmla="*/ 323850 h 4429294"/>
                    <a:gd name="connsiteX6" fmla="*/ 3748225 w 4456285"/>
                    <a:gd name="connsiteY6" fmla="*/ 581025 h 4429294"/>
                    <a:gd name="connsiteX7" fmla="*/ 3964125 w 4456285"/>
                    <a:gd name="connsiteY7" fmla="*/ 819150 h 4429294"/>
                    <a:gd name="connsiteX8" fmla="*/ 4100650 w 4456285"/>
                    <a:gd name="connsiteY8" fmla="*/ 990600 h 4429294"/>
                    <a:gd name="connsiteX9" fmla="*/ 4186375 w 4456285"/>
                    <a:gd name="connsiteY9" fmla="*/ 1143000 h 4429294"/>
                    <a:gd name="connsiteX10" fmla="*/ 4243525 w 4456285"/>
                    <a:gd name="connsiteY10" fmla="*/ 1266825 h 4429294"/>
                    <a:gd name="connsiteX11" fmla="*/ 4281625 w 4456285"/>
                    <a:gd name="connsiteY11" fmla="*/ 1362075 h 4429294"/>
                    <a:gd name="connsiteX12" fmla="*/ 4329250 w 4456285"/>
                    <a:gd name="connsiteY12" fmla="*/ 1552575 h 4429294"/>
                    <a:gd name="connsiteX13" fmla="*/ 4367350 w 4456285"/>
                    <a:gd name="connsiteY13" fmla="*/ 1685925 h 4429294"/>
                    <a:gd name="connsiteX14" fmla="*/ 4456250 w 4456285"/>
                    <a:gd name="connsiteY14" fmla="*/ 2181225 h 4429294"/>
                    <a:gd name="connsiteX15" fmla="*/ 4383225 w 4456285"/>
                    <a:gd name="connsiteY15" fmla="*/ 2768600 h 4429294"/>
                    <a:gd name="connsiteX16" fmla="*/ 4319725 w 4456285"/>
                    <a:gd name="connsiteY16" fmla="*/ 2990850 h 4429294"/>
                    <a:gd name="connsiteX17" fmla="*/ 4214950 w 4456285"/>
                    <a:gd name="connsiteY17" fmla="*/ 3248025 h 4429294"/>
                    <a:gd name="connsiteX18" fmla="*/ 4119700 w 4456285"/>
                    <a:gd name="connsiteY18" fmla="*/ 3400425 h 4429294"/>
                    <a:gd name="connsiteX19" fmla="*/ 3995875 w 4456285"/>
                    <a:gd name="connsiteY19" fmla="*/ 3533775 h 4429294"/>
                    <a:gd name="connsiteX20" fmla="*/ 3891100 w 4456285"/>
                    <a:gd name="connsiteY20" fmla="*/ 3648075 h 4429294"/>
                    <a:gd name="connsiteX21" fmla="*/ 3595825 w 4456285"/>
                    <a:gd name="connsiteY21" fmla="*/ 3971925 h 4429294"/>
                    <a:gd name="connsiteX22" fmla="*/ 3452950 w 4456285"/>
                    <a:gd name="connsiteY22" fmla="*/ 4083050 h 4429294"/>
                    <a:gd name="connsiteX23" fmla="*/ 3157675 w 4456285"/>
                    <a:gd name="connsiteY23" fmla="*/ 4222750 h 4429294"/>
                    <a:gd name="connsiteX24" fmla="*/ 3005275 w 4456285"/>
                    <a:gd name="connsiteY24" fmla="*/ 4286250 h 4429294"/>
                    <a:gd name="connsiteX25" fmla="*/ 2871925 w 4456285"/>
                    <a:gd name="connsiteY25" fmla="*/ 4333875 h 4429294"/>
                    <a:gd name="connsiteX26" fmla="*/ 2748100 w 4456285"/>
                    <a:gd name="connsiteY26" fmla="*/ 4371975 h 4429294"/>
                    <a:gd name="connsiteX27" fmla="*/ 2516325 w 4456285"/>
                    <a:gd name="connsiteY27" fmla="*/ 4391025 h 4429294"/>
                    <a:gd name="connsiteX28" fmla="*/ 2062300 w 4456285"/>
                    <a:gd name="connsiteY28" fmla="*/ 4429125 h 4429294"/>
                    <a:gd name="connsiteX29" fmla="*/ 1871800 w 4456285"/>
                    <a:gd name="connsiteY29" fmla="*/ 4400550 h 4429294"/>
                    <a:gd name="connsiteX30" fmla="*/ 1509850 w 4456285"/>
                    <a:gd name="connsiteY30" fmla="*/ 4305300 h 4429294"/>
                    <a:gd name="connsiteX31" fmla="*/ 1268550 w 4456285"/>
                    <a:gd name="connsiteY31" fmla="*/ 4216400 h 4429294"/>
                    <a:gd name="connsiteX32" fmla="*/ 1100275 w 4456285"/>
                    <a:gd name="connsiteY32" fmla="*/ 4111625 h 4429294"/>
                    <a:gd name="connsiteX33" fmla="*/ 881200 w 4456285"/>
                    <a:gd name="connsiteY33" fmla="*/ 3968750 h 4429294"/>
                    <a:gd name="connsiteX34" fmla="*/ 547825 w 4456285"/>
                    <a:gd name="connsiteY34" fmla="*/ 3657600 h 4429294"/>
                    <a:gd name="connsiteX35" fmla="*/ 401775 w 4456285"/>
                    <a:gd name="connsiteY35" fmla="*/ 3470275 h 4429294"/>
                    <a:gd name="connsiteX36" fmla="*/ 271600 w 4456285"/>
                    <a:gd name="connsiteY36" fmla="*/ 3244850 h 4429294"/>
                    <a:gd name="connsiteX37" fmla="*/ 119200 w 4456285"/>
                    <a:gd name="connsiteY37" fmla="*/ 2892425 h 4429294"/>
                    <a:gd name="connsiteX38" fmla="*/ 11250 w 4456285"/>
                    <a:gd name="connsiteY38" fmla="*/ 2368550 h 4429294"/>
                    <a:gd name="connsiteX39" fmla="*/ 17600 w 4456285"/>
                    <a:gd name="connsiteY39" fmla="*/ 1870075 h 4429294"/>
                    <a:gd name="connsiteX40" fmla="*/ 90625 w 4456285"/>
                    <a:gd name="connsiteY40" fmla="*/ 1419225 h 4429294"/>
                    <a:gd name="connsiteX41" fmla="*/ 166825 w 4456285"/>
                    <a:gd name="connsiteY41" fmla="*/ 1276350 h 4429294"/>
                    <a:gd name="connsiteX42" fmla="*/ 252550 w 4456285"/>
                    <a:gd name="connsiteY42" fmla="*/ 1114425 h 4429294"/>
                    <a:gd name="connsiteX43" fmla="*/ 414475 w 4456285"/>
                    <a:gd name="connsiteY43" fmla="*/ 857250 h 4429294"/>
                    <a:gd name="connsiteX44" fmla="*/ 471625 w 4456285"/>
                    <a:gd name="connsiteY44" fmla="*/ 800100 h 4429294"/>
                    <a:gd name="connsiteX45" fmla="*/ 604975 w 4456285"/>
                    <a:gd name="connsiteY45" fmla="*/ 676275 h 4429294"/>
                    <a:gd name="connsiteX46" fmla="*/ 824050 w 4456285"/>
                    <a:gd name="connsiteY46" fmla="*/ 504825 h 4429294"/>
                    <a:gd name="connsiteX47" fmla="*/ 1103450 w 4456285"/>
                    <a:gd name="connsiteY47" fmla="*/ 311150 h 4429294"/>
                    <a:gd name="connsiteX48" fmla="*/ 1462225 w 4456285"/>
                    <a:gd name="connsiteY48" fmla="*/ 152400 h 4429294"/>
                    <a:gd name="connsiteX49" fmla="*/ 1576525 w 4456285"/>
                    <a:gd name="connsiteY49" fmla="*/ 111125 h 4429294"/>
                    <a:gd name="connsiteX50" fmla="*/ 2208350 w 4456285"/>
                    <a:gd name="connsiteY50" fmla="*/ 12700 h 4429294"/>
                    <a:gd name="connsiteX0" fmla="*/ 2237540 w 4460075"/>
                    <a:gd name="connsiteY0" fmla="*/ 0 h 4429294"/>
                    <a:gd name="connsiteX1" fmla="*/ 2561390 w 4460075"/>
                    <a:gd name="connsiteY1" fmla="*/ 15875 h 4429294"/>
                    <a:gd name="connsiteX2" fmla="*/ 2856665 w 4460075"/>
                    <a:gd name="connsiteY2" fmla="*/ 85725 h 4429294"/>
                    <a:gd name="connsiteX3" fmla="*/ 3075740 w 4460075"/>
                    <a:gd name="connsiteY3" fmla="*/ 171450 h 4429294"/>
                    <a:gd name="connsiteX4" fmla="*/ 3180515 w 4460075"/>
                    <a:gd name="connsiteY4" fmla="*/ 228600 h 4429294"/>
                    <a:gd name="connsiteX5" fmla="*/ 3361490 w 4460075"/>
                    <a:gd name="connsiteY5" fmla="*/ 323850 h 4429294"/>
                    <a:gd name="connsiteX6" fmla="*/ 3752015 w 4460075"/>
                    <a:gd name="connsiteY6" fmla="*/ 581025 h 4429294"/>
                    <a:gd name="connsiteX7" fmla="*/ 3967915 w 4460075"/>
                    <a:gd name="connsiteY7" fmla="*/ 819150 h 4429294"/>
                    <a:gd name="connsiteX8" fmla="*/ 4104440 w 4460075"/>
                    <a:gd name="connsiteY8" fmla="*/ 990600 h 4429294"/>
                    <a:gd name="connsiteX9" fmla="*/ 4190165 w 4460075"/>
                    <a:gd name="connsiteY9" fmla="*/ 1143000 h 4429294"/>
                    <a:gd name="connsiteX10" fmla="*/ 4247315 w 4460075"/>
                    <a:gd name="connsiteY10" fmla="*/ 1266825 h 4429294"/>
                    <a:gd name="connsiteX11" fmla="*/ 4285415 w 4460075"/>
                    <a:gd name="connsiteY11" fmla="*/ 1362075 h 4429294"/>
                    <a:gd name="connsiteX12" fmla="*/ 4333040 w 4460075"/>
                    <a:gd name="connsiteY12" fmla="*/ 1552575 h 4429294"/>
                    <a:gd name="connsiteX13" fmla="*/ 4371140 w 4460075"/>
                    <a:gd name="connsiteY13" fmla="*/ 1685925 h 4429294"/>
                    <a:gd name="connsiteX14" fmla="*/ 4460040 w 4460075"/>
                    <a:gd name="connsiteY14" fmla="*/ 2181225 h 4429294"/>
                    <a:gd name="connsiteX15" fmla="*/ 4387015 w 4460075"/>
                    <a:gd name="connsiteY15" fmla="*/ 2768600 h 4429294"/>
                    <a:gd name="connsiteX16" fmla="*/ 4323515 w 4460075"/>
                    <a:gd name="connsiteY16" fmla="*/ 2990850 h 4429294"/>
                    <a:gd name="connsiteX17" fmla="*/ 4218740 w 4460075"/>
                    <a:gd name="connsiteY17" fmla="*/ 3248025 h 4429294"/>
                    <a:gd name="connsiteX18" fmla="*/ 4123490 w 4460075"/>
                    <a:gd name="connsiteY18" fmla="*/ 3400425 h 4429294"/>
                    <a:gd name="connsiteX19" fmla="*/ 3999665 w 4460075"/>
                    <a:gd name="connsiteY19" fmla="*/ 3533775 h 4429294"/>
                    <a:gd name="connsiteX20" fmla="*/ 3894890 w 4460075"/>
                    <a:gd name="connsiteY20" fmla="*/ 3648075 h 4429294"/>
                    <a:gd name="connsiteX21" fmla="*/ 3599615 w 4460075"/>
                    <a:gd name="connsiteY21" fmla="*/ 3971925 h 4429294"/>
                    <a:gd name="connsiteX22" fmla="*/ 3456740 w 4460075"/>
                    <a:gd name="connsiteY22" fmla="*/ 4083050 h 4429294"/>
                    <a:gd name="connsiteX23" fmla="*/ 3161465 w 4460075"/>
                    <a:gd name="connsiteY23" fmla="*/ 4222750 h 4429294"/>
                    <a:gd name="connsiteX24" fmla="*/ 3009065 w 4460075"/>
                    <a:gd name="connsiteY24" fmla="*/ 4286250 h 4429294"/>
                    <a:gd name="connsiteX25" fmla="*/ 2875715 w 4460075"/>
                    <a:gd name="connsiteY25" fmla="*/ 4333875 h 4429294"/>
                    <a:gd name="connsiteX26" fmla="*/ 2751890 w 4460075"/>
                    <a:gd name="connsiteY26" fmla="*/ 4371975 h 4429294"/>
                    <a:gd name="connsiteX27" fmla="*/ 2520115 w 4460075"/>
                    <a:gd name="connsiteY27" fmla="*/ 4391025 h 4429294"/>
                    <a:gd name="connsiteX28" fmla="*/ 2066090 w 4460075"/>
                    <a:gd name="connsiteY28" fmla="*/ 4429125 h 4429294"/>
                    <a:gd name="connsiteX29" fmla="*/ 1875590 w 4460075"/>
                    <a:gd name="connsiteY29" fmla="*/ 4400550 h 4429294"/>
                    <a:gd name="connsiteX30" fmla="*/ 1513640 w 4460075"/>
                    <a:gd name="connsiteY30" fmla="*/ 4305300 h 4429294"/>
                    <a:gd name="connsiteX31" fmla="*/ 1272340 w 4460075"/>
                    <a:gd name="connsiteY31" fmla="*/ 4216400 h 4429294"/>
                    <a:gd name="connsiteX32" fmla="*/ 1104065 w 4460075"/>
                    <a:gd name="connsiteY32" fmla="*/ 4111625 h 4429294"/>
                    <a:gd name="connsiteX33" fmla="*/ 884990 w 4460075"/>
                    <a:gd name="connsiteY33" fmla="*/ 3968750 h 4429294"/>
                    <a:gd name="connsiteX34" fmla="*/ 551615 w 4460075"/>
                    <a:gd name="connsiteY34" fmla="*/ 3657600 h 4429294"/>
                    <a:gd name="connsiteX35" fmla="*/ 405565 w 4460075"/>
                    <a:gd name="connsiteY35" fmla="*/ 3470275 h 4429294"/>
                    <a:gd name="connsiteX36" fmla="*/ 275390 w 4460075"/>
                    <a:gd name="connsiteY36" fmla="*/ 3244850 h 4429294"/>
                    <a:gd name="connsiteX37" fmla="*/ 122990 w 4460075"/>
                    <a:gd name="connsiteY37" fmla="*/ 2892425 h 4429294"/>
                    <a:gd name="connsiteX38" fmla="*/ 15040 w 4460075"/>
                    <a:gd name="connsiteY38" fmla="*/ 2368550 h 4429294"/>
                    <a:gd name="connsiteX39" fmla="*/ 21390 w 4460075"/>
                    <a:gd name="connsiteY39" fmla="*/ 1870075 h 4429294"/>
                    <a:gd name="connsiteX40" fmla="*/ 170615 w 4460075"/>
                    <a:gd name="connsiteY40" fmla="*/ 1276350 h 4429294"/>
                    <a:gd name="connsiteX41" fmla="*/ 256340 w 4460075"/>
                    <a:gd name="connsiteY41" fmla="*/ 1114425 h 4429294"/>
                    <a:gd name="connsiteX42" fmla="*/ 418265 w 4460075"/>
                    <a:gd name="connsiteY42" fmla="*/ 857250 h 4429294"/>
                    <a:gd name="connsiteX43" fmla="*/ 475415 w 4460075"/>
                    <a:gd name="connsiteY43" fmla="*/ 800100 h 4429294"/>
                    <a:gd name="connsiteX44" fmla="*/ 608765 w 4460075"/>
                    <a:gd name="connsiteY44" fmla="*/ 676275 h 4429294"/>
                    <a:gd name="connsiteX45" fmla="*/ 827840 w 4460075"/>
                    <a:gd name="connsiteY45" fmla="*/ 504825 h 4429294"/>
                    <a:gd name="connsiteX46" fmla="*/ 1107240 w 4460075"/>
                    <a:gd name="connsiteY46" fmla="*/ 311150 h 4429294"/>
                    <a:gd name="connsiteX47" fmla="*/ 1466015 w 4460075"/>
                    <a:gd name="connsiteY47" fmla="*/ 152400 h 4429294"/>
                    <a:gd name="connsiteX48" fmla="*/ 1580315 w 4460075"/>
                    <a:gd name="connsiteY48" fmla="*/ 111125 h 4429294"/>
                    <a:gd name="connsiteX49" fmla="*/ 2212140 w 4460075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5706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18990 w 4460800"/>
                    <a:gd name="connsiteY42" fmla="*/ 857250 h 4429294"/>
                    <a:gd name="connsiteX43" fmla="*/ 476140 w 4460800"/>
                    <a:gd name="connsiteY43" fmla="*/ 800100 h 4429294"/>
                    <a:gd name="connsiteX44" fmla="*/ 609490 w 4460800"/>
                    <a:gd name="connsiteY44" fmla="*/ 676275 h 4429294"/>
                    <a:gd name="connsiteX45" fmla="*/ 828565 w 4460800"/>
                    <a:gd name="connsiteY45" fmla="*/ 504825 h 4429294"/>
                    <a:gd name="connsiteX46" fmla="*/ 1107965 w 4460800"/>
                    <a:gd name="connsiteY46" fmla="*/ 311150 h 4429294"/>
                    <a:gd name="connsiteX47" fmla="*/ 1466740 w 4460800"/>
                    <a:gd name="connsiteY47" fmla="*/ 152400 h 4429294"/>
                    <a:gd name="connsiteX48" fmla="*/ 1581040 w 4460800"/>
                    <a:gd name="connsiteY48" fmla="*/ 111125 h 4429294"/>
                    <a:gd name="connsiteX49" fmla="*/ 2212865 w 4460800"/>
                    <a:gd name="connsiteY49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476140 w 4460800"/>
                    <a:gd name="connsiteY42" fmla="*/ 800100 h 4429294"/>
                    <a:gd name="connsiteX43" fmla="*/ 609490 w 4460800"/>
                    <a:gd name="connsiteY43" fmla="*/ 676275 h 4429294"/>
                    <a:gd name="connsiteX44" fmla="*/ 828565 w 4460800"/>
                    <a:gd name="connsiteY44" fmla="*/ 504825 h 4429294"/>
                    <a:gd name="connsiteX45" fmla="*/ 1107965 w 4460800"/>
                    <a:gd name="connsiteY45" fmla="*/ 311150 h 4429294"/>
                    <a:gd name="connsiteX46" fmla="*/ 1466740 w 4460800"/>
                    <a:gd name="connsiteY46" fmla="*/ 152400 h 4429294"/>
                    <a:gd name="connsiteX47" fmla="*/ 1581040 w 4460800"/>
                    <a:gd name="connsiteY47" fmla="*/ 111125 h 4429294"/>
                    <a:gd name="connsiteX48" fmla="*/ 2212865 w 4460800"/>
                    <a:gd name="connsiteY48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0" fmla="*/ 2238265 w 4460800"/>
                    <a:gd name="connsiteY0" fmla="*/ 0 h 4429294"/>
                    <a:gd name="connsiteX1" fmla="*/ 2562115 w 4460800"/>
                    <a:gd name="connsiteY1" fmla="*/ 15875 h 4429294"/>
                    <a:gd name="connsiteX2" fmla="*/ 2857390 w 4460800"/>
                    <a:gd name="connsiteY2" fmla="*/ 85725 h 4429294"/>
                    <a:gd name="connsiteX3" fmla="*/ 3076465 w 4460800"/>
                    <a:gd name="connsiteY3" fmla="*/ 171450 h 4429294"/>
                    <a:gd name="connsiteX4" fmla="*/ 3181240 w 4460800"/>
                    <a:gd name="connsiteY4" fmla="*/ 228600 h 4429294"/>
                    <a:gd name="connsiteX5" fmla="*/ 3362215 w 4460800"/>
                    <a:gd name="connsiteY5" fmla="*/ 323850 h 4429294"/>
                    <a:gd name="connsiteX6" fmla="*/ 3752740 w 4460800"/>
                    <a:gd name="connsiteY6" fmla="*/ 581025 h 4429294"/>
                    <a:gd name="connsiteX7" fmla="*/ 3968640 w 4460800"/>
                    <a:gd name="connsiteY7" fmla="*/ 819150 h 4429294"/>
                    <a:gd name="connsiteX8" fmla="*/ 4105165 w 4460800"/>
                    <a:gd name="connsiteY8" fmla="*/ 990600 h 4429294"/>
                    <a:gd name="connsiteX9" fmla="*/ 4190890 w 4460800"/>
                    <a:gd name="connsiteY9" fmla="*/ 1143000 h 4429294"/>
                    <a:gd name="connsiteX10" fmla="*/ 4248040 w 4460800"/>
                    <a:gd name="connsiteY10" fmla="*/ 1266825 h 4429294"/>
                    <a:gd name="connsiteX11" fmla="*/ 4286140 w 4460800"/>
                    <a:gd name="connsiteY11" fmla="*/ 1362075 h 4429294"/>
                    <a:gd name="connsiteX12" fmla="*/ 4333765 w 4460800"/>
                    <a:gd name="connsiteY12" fmla="*/ 1552575 h 4429294"/>
                    <a:gd name="connsiteX13" fmla="*/ 4371865 w 4460800"/>
                    <a:gd name="connsiteY13" fmla="*/ 1685925 h 4429294"/>
                    <a:gd name="connsiteX14" fmla="*/ 4460765 w 4460800"/>
                    <a:gd name="connsiteY14" fmla="*/ 2181225 h 4429294"/>
                    <a:gd name="connsiteX15" fmla="*/ 4387740 w 4460800"/>
                    <a:gd name="connsiteY15" fmla="*/ 2768600 h 4429294"/>
                    <a:gd name="connsiteX16" fmla="*/ 4324240 w 4460800"/>
                    <a:gd name="connsiteY16" fmla="*/ 2990850 h 4429294"/>
                    <a:gd name="connsiteX17" fmla="*/ 4219465 w 4460800"/>
                    <a:gd name="connsiteY17" fmla="*/ 3248025 h 4429294"/>
                    <a:gd name="connsiteX18" fmla="*/ 4124215 w 4460800"/>
                    <a:gd name="connsiteY18" fmla="*/ 3400425 h 4429294"/>
                    <a:gd name="connsiteX19" fmla="*/ 4000390 w 4460800"/>
                    <a:gd name="connsiteY19" fmla="*/ 3533775 h 4429294"/>
                    <a:gd name="connsiteX20" fmla="*/ 3895615 w 4460800"/>
                    <a:gd name="connsiteY20" fmla="*/ 3648075 h 4429294"/>
                    <a:gd name="connsiteX21" fmla="*/ 3600340 w 4460800"/>
                    <a:gd name="connsiteY21" fmla="*/ 3971925 h 4429294"/>
                    <a:gd name="connsiteX22" fmla="*/ 3457465 w 4460800"/>
                    <a:gd name="connsiteY22" fmla="*/ 4083050 h 4429294"/>
                    <a:gd name="connsiteX23" fmla="*/ 3162190 w 4460800"/>
                    <a:gd name="connsiteY23" fmla="*/ 4222750 h 4429294"/>
                    <a:gd name="connsiteX24" fmla="*/ 3009790 w 4460800"/>
                    <a:gd name="connsiteY24" fmla="*/ 4286250 h 4429294"/>
                    <a:gd name="connsiteX25" fmla="*/ 2876440 w 4460800"/>
                    <a:gd name="connsiteY25" fmla="*/ 4333875 h 4429294"/>
                    <a:gd name="connsiteX26" fmla="*/ 2752615 w 4460800"/>
                    <a:gd name="connsiteY26" fmla="*/ 4371975 h 4429294"/>
                    <a:gd name="connsiteX27" fmla="*/ 2520840 w 4460800"/>
                    <a:gd name="connsiteY27" fmla="*/ 4391025 h 4429294"/>
                    <a:gd name="connsiteX28" fmla="*/ 2066815 w 4460800"/>
                    <a:gd name="connsiteY28" fmla="*/ 4429125 h 4429294"/>
                    <a:gd name="connsiteX29" fmla="*/ 1876315 w 4460800"/>
                    <a:gd name="connsiteY29" fmla="*/ 4400550 h 4429294"/>
                    <a:gd name="connsiteX30" fmla="*/ 1514365 w 4460800"/>
                    <a:gd name="connsiteY30" fmla="*/ 4305300 h 4429294"/>
                    <a:gd name="connsiteX31" fmla="*/ 1273065 w 4460800"/>
                    <a:gd name="connsiteY31" fmla="*/ 4216400 h 4429294"/>
                    <a:gd name="connsiteX32" fmla="*/ 1104790 w 4460800"/>
                    <a:gd name="connsiteY32" fmla="*/ 4111625 h 4429294"/>
                    <a:gd name="connsiteX33" fmla="*/ 885715 w 4460800"/>
                    <a:gd name="connsiteY33" fmla="*/ 3968750 h 4429294"/>
                    <a:gd name="connsiteX34" fmla="*/ 552340 w 4460800"/>
                    <a:gd name="connsiteY34" fmla="*/ 3657600 h 4429294"/>
                    <a:gd name="connsiteX35" fmla="*/ 406290 w 4460800"/>
                    <a:gd name="connsiteY35" fmla="*/ 3470275 h 4429294"/>
                    <a:gd name="connsiteX36" fmla="*/ 276115 w 4460800"/>
                    <a:gd name="connsiteY36" fmla="*/ 3244850 h 4429294"/>
                    <a:gd name="connsiteX37" fmla="*/ 123715 w 4460800"/>
                    <a:gd name="connsiteY37" fmla="*/ 2892425 h 4429294"/>
                    <a:gd name="connsiteX38" fmla="*/ 15765 w 4460800"/>
                    <a:gd name="connsiteY38" fmla="*/ 2368550 h 4429294"/>
                    <a:gd name="connsiteX39" fmla="*/ 22115 w 4460800"/>
                    <a:gd name="connsiteY39" fmla="*/ 1870075 h 4429294"/>
                    <a:gd name="connsiteX40" fmla="*/ 184040 w 4460800"/>
                    <a:gd name="connsiteY40" fmla="*/ 1320800 h 4429294"/>
                    <a:gd name="connsiteX41" fmla="*/ 288815 w 4460800"/>
                    <a:gd name="connsiteY41" fmla="*/ 1114425 h 4429294"/>
                    <a:gd name="connsiteX42" fmla="*/ 609490 w 4460800"/>
                    <a:gd name="connsiteY42" fmla="*/ 676275 h 4429294"/>
                    <a:gd name="connsiteX43" fmla="*/ 828565 w 4460800"/>
                    <a:gd name="connsiteY43" fmla="*/ 504825 h 4429294"/>
                    <a:gd name="connsiteX44" fmla="*/ 1107965 w 4460800"/>
                    <a:gd name="connsiteY44" fmla="*/ 311150 h 4429294"/>
                    <a:gd name="connsiteX45" fmla="*/ 1466740 w 4460800"/>
                    <a:gd name="connsiteY45" fmla="*/ 152400 h 4429294"/>
                    <a:gd name="connsiteX46" fmla="*/ 1581040 w 4460800"/>
                    <a:gd name="connsiteY46" fmla="*/ 111125 h 4429294"/>
                    <a:gd name="connsiteX47" fmla="*/ 2212865 w 4460800"/>
                    <a:gd name="connsiteY47" fmla="*/ 12700 h 4429294"/>
                    <a:gd name="connsiteX48" fmla="*/ 2238265 w 4460800"/>
                    <a:gd name="connsiteY48" fmla="*/ 0 h 44292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4460800" h="4429294">
                      <a:moveTo>
                        <a:pt x="2238265" y="0"/>
                      </a:moveTo>
                      <a:cubicBezTo>
                        <a:pt x="2346215" y="5292"/>
                        <a:pt x="2458928" y="1588"/>
                        <a:pt x="2562115" y="15875"/>
                      </a:cubicBezTo>
                      <a:cubicBezTo>
                        <a:pt x="2665302" y="30162"/>
                        <a:pt x="2798653" y="69321"/>
                        <a:pt x="2857390" y="85725"/>
                      </a:cubicBezTo>
                      <a:cubicBezTo>
                        <a:pt x="2943115" y="111654"/>
                        <a:pt x="3033603" y="153988"/>
                        <a:pt x="3076465" y="171450"/>
                      </a:cubicBezTo>
                      <a:cubicBezTo>
                        <a:pt x="3130440" y="195262"/>
                        <a:pt x="3133615" y="203200"/>
                        <a:pt x="3181240" y="228600"/>
                      </a:cubicBezTo>
                      <a:cubicBezTo>
                        <a:pt x="3228865" y="254000"/>
                        <a:pt x="3266965" y="265113"/>
                        <a:pt x="3362215" y="323850"/>
                      </a:cubicBezTo>
                      <a:cubicBezTo>
                        <a:pt x="3457465" y="382588"/>
                        <a:pt x="3651669" y="498475"/>
                        <a:pt x="3752740" y="581025"/>
                      </a:cubicBezTo>
                      <a:cubicBezTo>
                        <a:pt x="3853811" y="663575"/>
                        <a:pt x="3909903" y="750888"/>
                        <a:pt x="3968640" y="819150"/>
                      </a:cubicBezTo>
                      <a:cubicBezTo>
                        <a:pt x="4027378" y="887413"/>
                        <a:pt x="4068123" y="936625"/>
                        <a:pt x="4105165" y="990600"/>
                      </a:cubicBezTo>
                      <a:cubicBezTo>
                        <a:pt x="4142207" y="1044575"/>
                        <a:pt x="4175015" y="1109663"/>
                        <a:pt x="4190890" y="1143000"/>
                      </a:cubicBezTo>
                      <a:cubicBezTo>
                        <a:pt x="4214703" y="1189038"/>
                        <a:pt x="4232165" y="1230313"/>
                        <a:pt x="4248040" y="1266825"/>
                      </a:cubicBezTo>
                      <a:cubicBezTo>
                        <a:pt x="4263915" y="1303338"/>
                        <a:pt x="4271853" y="1314450"/>
                        <a:pt x="4286140" y="1362075"/>
                      </a:cubicBezTo>
                      <a:cubicBezTo>
                        <a:pt x="4300427" y="1409700"/>
                        <a:pt x="4319478" y="1498600"/>
                        <a:pt x="4333765" y="1552575"/>
                      </a:cubicBezTo>
                      <a:cubicBezTo>
                        <a:pt x="4348053" y="1606550"/>
                        <a:pt x="4350698" y="1581150"/>
                        <a:pt x="4371865" y="1685925"/>
                      </a:cubicBezTo>
                      <a:cubicBezTo>
                        <a:pt x="4393032" y="1790700"/>
                        <a:pt x="4459178" y="1982788"/>
                        <a:pt x="4460765" y="2181225"/>
                      </a:cubicBezTo>
                      <a:cubicBezTo>
                        <a:pt x="4462352" y="2379662"/>
                        <a:pt x="4410494" y="2633663"/>
                        <a:pt x="4387740" y="2768600"/>
                      </a:cubicBezTo>
                      <a:cubicBezTo>
                        <a:pt x="4364986" y="2903537"/>
                        <a:pt x="4352286" y="2910946"/>
                        <a:pt x="4324240" y="2990850"/>
                      </a:cubicBezTo>
                      <a:cubicBezTo>
                        <a:pt x="4296194" y="3070754"/>
                        <a:pt x="4252802" y="3179763"/>
                        <a:pt x="4219465" y="3248025"/>
                      </a:cubicBezTo>
                      <a:cubicBezTo>
                        <a:pt x="4186128" y="3316287"/>
                        <a:pt x="4160728" y="3352800"/>
                        <a:pt x="4124215" y="3400425"/>
                      </a:cubicBezTo>
                      <a:cubicBezTo>
                        <a:pt x="4087703" y="3448050"/>
                        <a:pt x="4038490" y="3492500"/>
                        <a:pt x="4000390" y="3533775"/>
                      </a:cubicBezTo>
                      <a:lnTo>
                        <a:pt x="3895615" y="3648075"/>
                      </a:lnTo>
                      <a:cubicBezTo>
                        <a:pt x="3797190" y="3756025"/>
                        <a:pt x="3673365" y="3899429"/>
                        <a:pt x="3600340" y="3971925"/>
                      </a:cubicBezTo>
                      <a:cubicBezTo>
                        <a:pt x="3527315" y="4044421"/>
                        <a:pt x="3530490" y="4041246"/>
                        <a:pt x="3457465" y="4083050"/>
                      </a:cubicBezTo>
                      <a:cubicBezTo>
                        <a:pt x="3384440" y="4124854"/>
                        <a:pt x="3236802" y="4188883"/>
                        <a:pt x="3162190" y="4222750"/>
                      </a:cubicBezTo>
                      <a:cubicBezTo>
                        <a:pt x="3087578" y="4256617"/>
                        <a:pt x="3038173" y="4283885"/>
                        <a:pt x="3009790" y="4286250"/>
                      </a:cubicBezTo>
                      <a:cubicBezTo>
                        <a:pt x="2947977" y="4310975"/>
                        <a:pt x="2954113" y="4309602"/>
                        <a:pt x="2876440" y="4333875"/>
                      </a:cubicBezTo>
                      <a:cubicBezTo>
                        <a:pt x="2853306" y="4341104"/>
                        <a:pt x="2811882" y="4362450"/>
                        <a:pt x="2752615" y="4371975"/>
                      </a:cubicBezTo>
                      <a:cubicBezTo>
                        <a:pt x="2693348" y="4381500"/>
                        <a:pt x="2635140" y="4381500"/>
                        <a:pt x="2520840" y="4391025"/>
                      </a:cubicBezTo>
                      <a:cubicBezTo>
                        <a:pt x="2406540" y="4400550"/>
                        <a:pt x="2174236" y="4427538"/>
                        <a:pt x="2066815" y="4429125"/>
                      </a:cubicBezTo>
                      <a:cubicBezTo>
                        <a:pt x="1959394" y="4430712"/>
                        <a:pt x="1968390" y="4421187"/>
                        <a:pt x="1876315" y="4400550"/>
                      </a:cubicBezTo>
                      <a:cubicBezTo>
                        <a:pt x="1784240" y="4379913"/>
                        <a:pt x="1614907" y="4335992"/>
                        <a:pt x="1514365" y="4305300"/>
                      </a:cubicBezTo>
                      <a:cubicBezTo>
                        <a:pt x="1413823" y="4274608"/>
                        <a:pt x="1353498" y="4246033"/>
                        <a:pt x="1273065" y="4216400"/>
                      </a:cubicBezTo>
                      <a:cubicBezTo>
                        <a:pt x="1206390" y="4187825"/>
                        <a:pt x="1169348" y="4152900"/>
                        <a:pt x="1104790" y="4111625"/>
                      </a:cubicBezTo>
                      <a:cubicBezTo>
                        <a:pt x="1040232" y="4070350"/>
                        <a:pt x="977790" y="4044421"/>
                        <a:pt x="885715" y="3968750"/>
                      </a:cubicBezTo>
                      <a:cubicBezTo>
                        <a:pt x="793640" y="3893079"/>
                        <a:pt x="632244" y="3740679"/>
                        <a:pt x="552340" y="3657600"/>
                      </a:cubicBezTo>
                      <a:cubicBezTo>
                        <a:pt x="472436" y="3574521"/>
                        <a:pt x="452327" y="3539067"/>
                        <a:pt x="406290" y="3470275"/>
                      </a:cubicBezTo>
                      <a:cubicBezTo>
                        <a:pt x="360253" y="3401483"/>
                        <a:pt x="323211" y="3341158"/>
                        <a:pt x="276115" y="3244850"/>
                      </a:cubicBezTo>
                      <a:cubicBezTo>
                        <a:pt x="229019" y="3148542"/>
                        <a:pt x="167107" y="3038475"/>
                        <a:pt x="123715" y="2892425"/>
                      </a:cubicBezTo>
                      <a:cubicBezTo>
                        <a:pt x="80323" y="2746375"/>
                        <a:pt x="37990" y="2553758"/>
                        <a:pt x="15765" y="2368550"/>
                      </a:cubicBezTo>
                      <a:cubicBezTo>
                        <a:pt x="-6460" y="2183342"/>
                        <a:pt x="-5931" y="2044700"/>
                        <a:pt x="22115" y="1870075"/>
                      </a:cubicBezTo>
                      <a:cubicBezTo>
                        <a:pt x="50161" y="1695450"/>
                        <a:pt x="139590" y="1446742"/>
                        <a:pt x="184040" y="1320800"/>
                      </a:cubicBezTo>
                      <a:cubicBezTo>
                        <a:pt x="228490" y="1194858"/>
                        <a:pt x="217907" y="1221846"/>
                        <a:pt x="288815" y="1114425"/>
                      </a:cubicBezTo>
                      <a:cubicBezTo>
                        <a:pt x="359723" y="1007004"/>
                        <a:pt x="519532" y="777875"/>
                        <a:pt x="609490" y="676275"/>
                      </a:cubicBezTo>
                      <a:cubicBezTo>
                        <a:pt x="699448" y="574675"/>
                        <a:pt x="745486" y="565679"/>
                        <a:pt x="828565" y="504825"/>
                      </a:cubicBezTo>
                      <a:cubicBezTo>
                        <a:pt x="911644" y="443971"/>
                        <a:pt x="997898" y="379942"/>
                        <a:pt x="1107965" y="311150"/>
                      </a:cubicBezTo>
                      <a:cubicBezTo>
                        <a:pt x="1214328" y="252413"/>
                        <a:pt x="1387894" y="185737"/>
                        <a:pt x="1466740" y="152400"/>
                      </a:cubicBezTo>
                      <a:cubicBezTo>
                        <a:pt x="1545586" y="119063"/>
                        <a:pt x="1456686" y="134408"/>
                        <a:pt x="1581040" y="111125"/>
                      </a:cubicBezTo>
                      <a:cubicBezTo>
                        <a:pt x="1810698" y="67733"/>
                        <a:pt x="1945107" y="-7408"/>
                        <a:pt x="2212865" y="12700"/>
                      </a:cubicBezTo>
                      <a:lnTo>
                        <a:pt x="2238265" y="0"/>
                      </a:lnTo>
                      <a:close/>
                    </a:path>
                  </a:pathLst>
                </a:custGeom>
                <a:noFill/>
                <a:ln w="5406" cap="rnd">
                  <a:solidFill>
                    <a:srgbClr val="005950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da-DK"/>
                </a:p>
              </p:txBody>
            </p:sp>
          </p:grpSp>
          <p:grpSp>
            <p:nvGrpSpPr>
              <p:cNvPr id="1042" name="Group 1041">
                <a:extLst>
                  <a:ext uri="{FF2B5EF4-FFF2-40B4-BE49-F238E27FC236}">
                    <a16:creationId xmlns:a16="http://schemas.microsoft.com/office/drawing/2014/main" id="{31EDCF0F-F261-CA18-A74B-32BA29AC8DB0}"/>
                  </a:ext>
                </a:extLst>
              </p:cNvPr>
              <p:cNvGrpSpPr/>
              <p:nvPr/>
            </p:nvGrpSpPr>
            <p:grpSpPr>
              <a:xfrm>
                <a:off x="9198843" y="4734307"/>
                <a:ext cx="656205" cy="1398541"/>
                <a:chOff x="9454341" y="4734307"/>
                <a:chExt cx="656205" cy="1398541"/>
              </a:xfrm>
            </p:grpSpPr>
            <p:sp>
              <p:nvSpPr>
                <p:cNvPr id="83" name="Freeform 100">
                  <a:extLst>
                    <a:ext uri="{FF2B5EF4-FFF2-40B4-BE49-F238E27FC236}">
                      <a16:creationId xmlns:a16="http://schemas.microsoft.com/office/drawing/2014/main" id="{C9878B5C-26EB-CFF5-0FCB-7626622966D9}"/>
                    </a:ext>
                  </a:extLst>
                </p:cNvPr>
                <p:cNvSpPr/>
                <p:nvPr/>
              </p:nvSpPr>
              <p:spPr bwMode="auto">
                <a:xfrm>
                  <a:off x="9460606" y="4739005"/>
                  <a:ext cx="415020" cy="425984"/>
                </a:xfrm>
                <a:custGeom>
                  <a:avLst/>
                  <a:gdLst>
                    <a:gd name="T0" fmla="*/ 9 w 162"/>
                    <a:gd name="T1" fmla="*/ 5 h 166"/>
                    <a:gd name="T2" fmla="*/ 15 w 162"/>
                    <a:gd name="T3" fmla="*/ 17 h 166"/>
                    <a:gd name="T4" fmla="*/ 5 w 162"/>
                    <a:gd name="T5" fmla="*/ 11 h 166"/>
                    <a:gd name="T6" fmla="*/ 2 w 162"/>
                    <a:gd name="T7" fmla="*/ 16 h 166"/>
                    <a:gd name="T8" fmla="*/ 6 w 162"/>
                    <a:gd name="T9" fmla="*/ 22 h 166"/>
                    <a:gd name="T10" fmla="*/ 11 w 162"/>
                    <a:gd name="T11" fmla="*/ 36 h 166"/>
                    <a:gd name="T12" fmla="*/ 11 w 162"/>
                    <a:gd name="T13" fmla="*/ 36 h 166"/>
                    <a:gd name="T14" fmla="*/ 144 w 162"/>
                    <a:gd name="T15" fmla="*/ 165 h 166"/>
                    <a:gd name="T16" fmla="*/ 161 w 162"/>
                    <a:gd name="T17" fmla="*/ 146 h 166"/>
                    <a:gd name="T18" fmla="*/ 149 w 162"/>
                    <a:gd name="T19" fmla="*/ 132 h 166"/>
                    <a:gd name="T20" fmla="*/ 113 w 162"/>
                    <a:gd name="T21" fmla="*/ 119 h 166"/>
                    <a:gd name="T22" fmla="*/ 42 w 162"/>
                    <a:gd name="T23" fmla="*/ 40 h 166"/>
                    <a:gd name="T24" fmla="*/ 41 w 162"/>
                    <a:gd name="T25" fmla="*/ 35 h 166"/>
                    <a:gd name="T26" fmla="*/ 48 w 162"/>
                    <a:gd name="T27" fmla="*/ 27 h 166"/>
                    <a:gd name="T28" fmla="*/ 50 w 162"/>
                    <a:gd name="T29" fmla="*/ 23 h 166"/>
                    <a:gd name="T30" fmla="*/ 47 w 162"/>
                    <a:gd name="T31" fmla="*/ 19 h 166"/>
                    <a:gd name="T32" fmla="*/ 45 w 162"/>
                    <a:gd name="T33" fmla="*/ 19 h 166"/>
                    <a:gd name="T34" fmla="*/ 40 w 162"/>
                    <a:gd name="T35" fmla="*/ 20 h 166"/>
                    <a:gd name="T36" fmla="*/ 36 w 162"/>
                    <a:gd name="T37" fmla="*/ 19 h 166"/>
                    <a:gd name="T38" fmla="*/ 34 w 162"/>
                    <a:gd name="T39" fmla="*/ 17 h 166"/>
                    <a:gd name="T40" fmla="*/ 29 w 162"/>
                    <a:gd name="T41" fmla="*/ 4 h 166"/>
                    <a:gd name="T42" fmla="*/ 25 w 162"/>
                    <a:gd name="T43" fmla="*/ 0 h 166"/>
                    <a:gd name="T44" fmla="*/ 24 w 162"/>
                    <a:gd name="T45" fmla="*/ 6 h 166"/>
                    <a:gd name="T46" fmla="*/ 26 w 162"/>
                    <a:gd name="T47" fmla="*/ 13 h 166"/>
                    <a:gd name="T48" fmla="*/ 16 w 162"/>
                    <a:gd name="T49" fmla="*/ 4 h 166"/>
                    <a:gd name="T50" fmla="*/ 13 w 162"/>
                    <a:gd name="T51" fmla="*/ 2 h 166"/>
                    <a:gd name="T52" fmla="*/ 9 w 162"/>
                    <a:gd name="T53" fmla="*/ 5 h 1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162" h="166">
                      <a:moveTo>
                        <a:pt x="9" y="5"/>
                      </a:moveTo>
                      <a:cubicBezTo>
                        <a:pt x="10" y="9"/>
                        <a:pt x="14" y="13"/>
                        <a:pt x="15" y="17"/>
                      </a:cubicBezTo>
                      <a:cubicBezTo>
                        <a:pt x="12" y="15"/>
                        <a:pt x="9" y="12"/>
                        <a:pt x="5" y="11"/>
                      </a:cubicBezTo>
                      <a:cubicBezTo>
                        <a:pt x="2" y="11"/>
                        <a:pt x="0" y="14"/>
                        <a:pt x="2" y="16"/>
                      </a:cubicBezTo>
                      <a:cubicBezTo>
                        <a:pt x="3" y="18"/>
                        <a:pt x="5" y="20"/>
                        <a:pt x="6" y="22"/>
                      </a:cubicBezTo>
                      <a:cubicBezTo>
                        <a:pt x="9" y="26"/>
                        <a:pt x="9" y="32"/>
                        <a:pt x="11" y="36"/>
                      </a:cubicBezTo>
                      <a:cubicBezTo>
                        <a:pt x="11" y="36"/>
                        <a:pt x="11" y="36"/>
                        <a:pt x="11" y="36"/>
                      </a:cubicBezTo>
                      <a:cubicBezTo>
                        <a:pt x="10" y="58"/>
                        <a:pt x="54" y="159"/>
                        <a:pt x="144" y="165"/>
                      </a:cubicBezTo>
                      <a:cubicBezTo>
                        <a:pt x="154" y="166"/>
                        <a:pt x="162" y="156"/>
                        <a:pt x="161" y="146"/>
                      </a:cubicBezTo>
                      <a:cubicBezTo>
                        <a:pt x="160" y="139"/>
                        <a:pt x="155" y="134"/>
                        <a:pt x="149" y="132"/>
                      </a:cubicBezTo>
                      <a:cubicBezTo>
                        <a:pt x="140" y="130"/>
                        <a:pt x="127" y="126"/>
                        <a:pt x="113" y="119"/>
                      </a:cubicBezTo>
                      <a:cubicBezTo>
                        <a:pt x="88" y="106"/>
                        <a:pt x="59" y="83"/>
                        <a:pt x="42" y="40"/>
                      </a:cubicBezTo>
                      <a:cubicBezTo>
                        <a:pt x="42" y="39"/>
                        <a:pt x="41" y="37"/>
                        <a:pt x="41" y="35"/>
                      </a:cubicBezTo>
                      <a:cubicBezTo>
                        <a:pt x="44" y="33"/>
                        <a:pt x="46" y="30"/>
                        <a:pt x="48" y="27"/>
                      </a:cubicBezTo>
                      <a:cubicBezTo>
                        <a:pt x="49" y="26"/>
                        <a:pt x="49" y="25"/>
                        <a:pt x="50" y="23"/>
                      </a:cubicBezTo>
                      <a:cubicBezTo>
                        <a:pt x="50" y="21"/>
                        <a:pt x="49" y="20"/>
                        <a:pt x="47" y="19"/>
                      </a:cubicBezTo>
                      <a:cubicBezTo>
                        <a:pt x="47" y="19"/>
                        <a:pt x="46" y="19"/>
                        <a:pt x="45" y="19"/>
                      </a:cubicBezTo>
                      <a:cubicBezTo>
                        <a:pt x="43" y="19"/>
                        <a:pt x="42" y="20"/>
                        <a:pt x="40" y="20"/>
                      </a:cubicBezTo>
                      <a:cubicBezTo>
                        <a:pt x="39" y="20"/>
                        <a:pt x="37" y="20"/>
                        <a:pt x="36" y="19"/>
                      </a:cubicBezTo>
                      <a:cubicBezTo>
                        <a:pt x="35" y="18"/>
                        <a:pt x="35" y="17"/>
                        <a:pt x="34" y="17"/>
                      </a:cubicBezTo>
                      <a:cubicBezTo>
                        <a:pt x="33" y="12"/>
                        <a:pt x="31" y="8"/>
                        <a:pt x="29" y="4"/>
                      </a:cubicBezTo>
                      <a:cubicBezTo>
                        <a:pt x="28" y="2"/>
                        <a:pt x="27" y="0"/>
                        <a:pt x="25" y="0"/>
                      </a:cubicBezTo>
                      <a:cubicBezTo>
                        <a:pt x="23" y="1"/>
                        <a:pt x="23" y="4"/>
                        <a:pt x="24" y="6"/>
                      </a:cubicBezTo>
                      <a:cubicBezTo>
                        <a:pt x="25" y="8"/>
                        <a:pt x="25" y="11"/>
                        <a:pt x="26" y="13"/>
                      </a:cubicBezTo>
                      <a:cubicBezTo>
                        <a:pt x="23" y="10"/>
                        <a:pt x="20" y="7"/>
                        <a:pt x="16" y="4"/>
                      </a:cubicBezTo>
                      <a:cubicBezTo>
                        <a:pt x="15" y="3"/>
                        <a:pt x="14" y="2"/>
                        <a:pt x="13" y="2"/>
                      </a:cubicBezTo>
                      <a:cubicBezTo>
                        <a:pt x="11" y="1"/>
                        <a:pt x="9" y="3"/>
                        <a:pt x="9" y="5"/>
                      </a:cubicBez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84" name="Freeform 101">
                  <a:extLst>
                    <a:ext uri="{FF2B5EF4-FFF2-40B4-BE49-F238E27FC236}">
                      <a16:creationId xmlns:a16="http://schemas.microsoft.com/office/drawing/2014/main" id="{12F9E45B-B9AC-DFFF-AFD2-A1A7B80B0C74}"/>
                    </a:ext>
                  </a:extLst>
                </p:cNvPr>
                <p:cNvSpPr/>
                <p:nvPr/>
              </p:nvSpPr>
              <p:spPr bwMode="auto">
                <a:xfrm>
                  <a:off x="9534213" y="4840804"/>
                  <a:ext cx="214558" cy="233352"/>
                </a:xfrm>
                <a:custGeom>
                  <a:avLst/>
                  <a:gdLst>
                    <a:gd name="T0" fmla="*/ 6 w 84"/>
                    <a:gd name="T1" fmla="*/ 4 h 91"/>
                    <a:gd name="T2" fmla="*/ 55 w 84"/>
                    <a:gd name="T3" fmla="*/ 83 h 91"/>
                    <a:gd name="T4" fmla="*/ 84 w 84"/>
                    <a:gd name="T5" fmla="*/ 79 h 91"/>
                    <a:gd name="T6" fmla="*/ 13 w 84"/>
                    <a:gd name="T7" fmla="*/ 0 h 91"/>
                    <a:gd name="T8" fmla="*/ 6 w 84"/>
                    <a:gd name="T9" fmla="*/ 4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4" h="91">
                      <a:moveTo>
                        <a:pt x="6" y="4"/>
                      </a:moveTo>
                      <a:cubicBezTo>
                        <a:pt x="0" y="20"/>
                        <a:pt x="36" y="72"/>
                        <a:pt x="55" y="83"/>
                      </a:cubicBezTo>
                      <a:cubicBezTo>
                        <a:pt x="67" y="91"/>
                        <a:pt x="78" y="84"/>
                        <a:pt x="84" y="79"/>
                      </a:cubicBezTo>
                      <a:cubicBezTo>
                        <a:pt x="59" y="66"/>
                        <a:pt x="30" y="43"/>
                        <a:pt x="13" y="0"/>
                      </a:cubicBezTo>
                      <a:cubicBezTo>
                        <a:pt x="10" y="0"/>
                        <a:pt x="7" y="1"/>
                        <a:pt x="6" y="4"/>
                      </a:cubicBez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85" name="Freeform 103">
                  <a:extLst>
                    <a:ext uri="{FF2B5EF4-FFF2-40B4-BE49-F238E27FC236}">
                      <a16:creationId xmlns:a16="http://schemas.microsoft.com/office/drawing/2014/main" id="{CB5BA84C-175E-2B34-8896-F615C9432607}"/>
                    </a:ext>
                  </a:extLst>
                </p:cNvPr>
                <p:cNvSpPr/>
                <p:nvPr/>
              </p:nvSpPr>
              <p:spPr bwMode="auto">
                <a:xfrm>
                  <a:off x="9639143" y="5448458"/>
                  <a:ext cx="236484" cy="635843"/>
                </a:xfrm>
                <a:custGeom>
                  <a:avLst/>
                  <a:gdLst>
                    <a:gd name="T0" fmla="*/ 35 w 92"/>
                    <a:gd name="T1" fmla="*/ 4 h 248"/>
                    <a:gd name="T2" fmla="*/ 19 w 92"/>
                    <a:gd name="T3" fmla="*/ 161 h 248"/>
                    <a:gd name="T4" fmla="*/ 33 w 92"/>
                    <a:gd name="T5" fmla="*/ 248 h 248"/>
                    <a:gd name="T6" fmla="*/ 61 w 92"/>
                    <a:gd name="T7" fmla="*/ 248 h 248"/>
                    <a:gd name="T8" fmla="*/ 92 w 92"/>
                    <a:gd name="T9" fmla="*/ 21 h 248"/>
                    <a:gd name="T10" fmla="*/ 35 w 92"/>
                    <a:gd name="T11" fmla="*/ 4 h 2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2" h="248">
                      <a:moveTo>
                        <a:pt x="35" y="4"/>
                      </a:moveTo>
                      <a:cubicBezTo>
                        <a:pt x="35" y="4"/>
                        <a:pt x="0" y="72"/>
                        <a:pt x="19" y="161"/>
                      </a:cubicBezTo>
                      <a:cubicBezTo>
                        <a:pt x="33" y="248"/>
                        <a:pt x="33" y="248"/>
                        <a:pt x="33" y="248"/>
                      </a:cubicBezTo>
                      <a:cubicBezTo>
                        <a:pt x="61" y="248"/>
                        <a:pt x="61" y="248"/>
                        <a:pt x="61" y="248"/>
                      </a:cubicBezTo>
                      <a:cubicBezTo>
                        <a:pt x="61" y="248"/>
                        <a:pt x="62" y="95"/>
                        <a:pt x="92" y="21"/>
                      </a:cubicBezTo>
                      <a:cubicBezTo>
                        <a:pt x="92" y="21"/>
                        <a:pt x="85" y="0"/>
                        <a:pt x="35" y="4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86" name="Freeform 105">
                  <a:extLst>
                    <a:ext uri="{FF2B5EF4-FFF2-40B4-BE49-F238E27FC236}">
                      <a16:creationId xmlns:a16="http://schemas.microsoft.com/office/drawing/2014/main" id="{C6410AF7-275D-D03E-5780-113213DF6086}"/>
                    </a:ext>
                  </a:extLst>
                </p:cNvPr>
                <p:cNvSpPr/>
                <p:nvPr/>
              </p:nvSpPr>
              <p:spPr bwMode="auto">
                <a:xfrm>
                  <a:off x="9672033" y="6084299"/>
                  <a:ext cx="133119" cy="48549"/>
                </a:xfrm>
                <a:custGeom>
                  <a:avLst/>
                  <a:gdLst>
                    <a:gd name="T0" fmla="*/ 48 w 52"/>
                    <a:gd name="T1" fmla="*/ 0 h 19"/>
                    <a:gd name="T2" fmla="*/ 50 w 52"/>
                    <a:gd name="T3" fmla="*/ 18 h 19"/>
                    <a:gd name="T4" fmla="*/ 48 w 52"/>
                    <a:gd name="T5" fmla="*/ 19 h 19"/>
                    <a:gd name="T6" fmla="*/ 2 w 52"/>
                    <a:gd name="T7" fmla="*/ 19 h 19"/>
                    <a:gd name="T8" fmla="*/ 1 w 52"/>
                    <a:gd name="T9" fmla="*/ 17 h 19"/>
                    <a:gd name="T10" fmla="*/ 20 w 52"/>
                    <a:gd name="T11" fmla="*/ 0 h 19"/>
                    <a:gd name="T12" fmla="*/ 48 w 52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19">
                      <a:moveTo>
                        <a:pt x="48" y="0"/>
                      </a:moveTo>
                      <a:cubicBezTo>
                        <a:pt x="48" y="0"/>
                        <a:pt x="52" y="7"/>
                        <a:pt x="50" y="18"/>
                      </a:cubicBezTo>
                      <a:cubicBezTo>
                        <a:pt x="50" y="19"/>
                        <a:pt x="49" y="19"/>
                        <a:pt x="48" y="19"/>
                      </a:cubicBezTo>
                      <a:cubicBezTo>
                        <a:pt x="2" y="19"/>
                        <a:pt x="2" y="19"/>
                        <a:pt x="2" y="19"/>
                      </a:cubicBezTo>
                      <a:cubicBezTo>
                        <a:pt x="0" y="19"/>
                        <a:pt x="0" y="18"/>
                        <a:pt x="1" y="17"/>
                      </a:cubicBezTo>
                      <a:cubicBezTo>
                        <a:pt x="5" y="12"/>
                        <a:pt x="15" y="4"/>
                        <a:pt x="20" y="0"/>
                      </a:cubicBezTo>
                      <a:lnTo>
                        <a:pt x="48" y="0"/>
                      </a:ln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87" name="Freeform 106">
                  <a:extLst>
                    <a:ext uri="{FF2B5EF4-FFF2-40B4-BE49-F238E27FC236}">
                      <a16:creationId xmlns:a16="http://schemas.microsoft.com/office/drawing/2014/main" id="{266A0F2C-6B58-74D3-B976-A2DDAAF64FEE}"/>
                    </a:ext>
                  </a:extLst>
                </p:cNvPr>
                <p:cNvSpPr/>
                <p:nvPr/>
              </p:nvSpPr>
              <p:spPr bwMode="auto">
                <a:xfrm>
                  <a:off x="9747205" y="5371718"/>
                  <a:ext cx="274071" cy="712583"/>
                </a:xfrm>
                <a:custGeom>
                  <a:avLst/>
                  <a:gdLst>
                    <a:gd name="T0" fmla="*/ 25 w 107"/>
                    <a:gd name="T1" fmla="*/ 31 h 278"/>
                    <a:gd name="T2" fmla="*/ 3 w 107"/>
                    <a:gd name="T3" fmla="*/ 165 h 278"/>
                    <a:gd name="T4" fmla="*/ 78 w 107"/>
                    <a:gd name="T5" fmla="*/ 278 h 278"/>
                    <a:gd name="T6" fmla="*/ 107 w 107"/>
                    <a:gd name="T7" fmla="*/ 278 h 278"/>
                    <a:gd name="T8" fmla="*/ 58 w 107"/>
                    <a:gd name="T9" fmla="*/ 155 h 278"/>
                    <a:gd name="T10" fmla="*/ 83 w 107"/>
                    <a:gd name="T11" fmla="*/ 46 h 278"/>
                    <a:gd name="T12" fmla="*/ 25 w 107"/>
                    <a:gd name="T13" fmla="*/ 31 h 2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7" h="278">
                      <a:moveTo>
                        <a:pt x="25" y="31"/>
                      </a:moveTo>
                      <a:cubicBezTo>
                        <a:pt x="25" y="31"/>
                        <a:pt x="0" y="151"/>
                        <a:pt x="3" y="165"/>
                      </a:cubicBezTo>
                      <a:cubicBezTo>
                        <a:pt x="6" y="179"/>
                        <a:pt x="78" y="278"/>
                        <a:pt x="78" y="278"/>
                      </a:cubicBezTo>
                      <a:cubicBezTo>
                        <a:pt x="107" y="278"/>
                        <a:pt x="107" y="278"/>
                        <a:pt x="107" y="278"/>
                      </a:cubicBezTo>
                      <a:cubicBezTo>
                        <a:pt x="107" y="278"/>
                        <a:pt x="76" y="177"/>
                        <a:pt x="58" y="155"/>
                      </a:cubicBezTo>
                      <a:cubicBezTo>
                        <a:pt x="58" y="155"/>
                        <a:pt x="93" y="92"/>
                        <a:pt x="83" y="46"/>
                      </a:cubicBezTo>
                      <a:cubicBezTo>
                        <a:pt x="72" y="0"/>
                        <a:pt x="25" y="31"/>
                        <a:pt x="25" y="31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88" name="Freeform 107">
                  <a:extLst>
                    <a:ext uri="{FF2B5EF4-FFF2-40B4-BE49-F238E27FC236}">
                      <a16:creationId xmlns:a16="http://schemas.microsoft.com/office/drawing/2014/main" id="{DF8E548C-CBBD-C915-ACFB-A31A81F173A7}"/>
                    </a:ext>
                  </a:extLst>
                </p:cNvPr>
                <p:cNvSpPr/>
                <p:nvPr/>
              </p:nvSpPr>
              <p:spPr bwMode="auto">
                <a:xfrm>
                  <a:off x="9895988" y="6084299"/>
                  <a:ext cx="133119" cy="48549"/>
                </a:xfrm>
                <a:custGeom>
                  <a:avLst/>
                  <a:gdLst>
                    <a:gd name="T0" fmla="*/ 49 w 52"/>
                    <a:gd name="T1" fmla="*/ 0 h 19"/>
                    <a:gd name="T2" fmla="*/ 51 w 52"/>
                    <a:gd name="T3" fmla="*/ 18 h 19"/>
                    <a:gd name="T4" fmla="*/ 49 w 52"/>
                    <a:gd name="T5" fmla="*/ 19 h 19"/>
                    <a:gd name="T6" fmla="*/ 2 w 52"/>
                    <a:gd name="T7" fmla="*/ 19 h 19"/>
                    <a:gd name="T8" fmla="*/ 1 w 52"/>
                    <a:gd name="T9" fmla="*/ 17 h 19"/>
                    <a:gd name="T10" fmla="*/ 20 w 52"/>
                    <a:gd name="T11" fmla="*/ 0 h 19"/>
                    <a:gd name="T12" fmla="*/ 49 w 52"/>
                    <a:gd name="T13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2" h="19">
                      <a:moveTo>
                        <a:pt x="49" y="0"/>
                      </a:moveTo>
                      <a:cubicBezTo>
                        <a:pt x="49" y="0"/>
                        <a:pt x="52" y="7"/>
                        <a:pt x="51" y="18"/>
                      </a:cubicBezTo>
                      <a:cubicBezTo>
                        <a:pt x="51" y="19"/>
                        <a:pt x="50" y="19"/>
                        <a:pt x="49" y="19"/>
                      </a:cubicBezTo>
                      <a:cubicBezTo>
                        <a:pt x="2" y="19"/>
                        <a:pt x="2" y="19"/>
                        <a:pt x="2" y="19"/>
                      </a:cubicBezTo>
                      <a:cubicBezTo>
                        <a:pt x="1" y="19"/>
                        <a:pt x="0" y="18"/>
                        <a:pt x="1" y="17"/>
                      </a:cubicBezTo>
                      <a:cubicBezTo>
                        <a:pt x="6" y="12"/>
                        <a:pt x="16" y="4"/>
                        <a:pt x="20" y="0"/>
                      </a:cubicBezTo>
                      <a:lnTo>
                        <a:pt x="49" y="0"/>
                      </a:ln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89" name="Freeform 108">
                  <a:extLst>
                    <a:ext uri="{FF2B5EF4-FFF2-40B4-BE49-F238E27FC236}">
                      <a16:creationId xmlns:a16="http://schemas.microsoft.com/office/drawing/2014/main" id="{61C48059-070A-4495-EFDE-15F887114E65}"/>
                    </a:ext>
                  </a:extLst>
                </p:cNvPr>
                <p:cNvSpPr/>
                <p:nvPr/>
              </p:nvSpPr>
              <p:spPr bwMode="auto">
                <a:xfrm>
                  <a:off x="9770697" y="4739006"/>
                  <a:ext cx="306959" cy="379000"/>
                </a:xfrm>
                <a:custGeom>
                  <a:avLst/>
                  <a:gdLst>
                    <a:gd name="T0" fmla="*/ 118 w 120"/>
                    <a:gd name="T1" fmla="*/ 86 h 148"/>
                    <a:gd name="T2" fmla="*/ 105 w 120"/>
                    <a:gd name="T3" fmla="*/ 78 h 148"/>
                    <a:gd name="T4" fmla="*/ 85 w 120"/>
                    <a:gd name="T5" fmla="*/ 14 h 148"/>
                    <a:gd name="T6" fmla="*/ 15 w 120"/>
                    <a:gd name="T7" fmla="*/ 36 h 148"/>
                    <a:gd name="T8" fmla="*/ 26 w 120"/>
                    <a:gd name="T9" fmla="*/ 107 h 148"/>
                    <a:gd name="T10" fmla="*/ 44 w 120"/>
                    <a:gd name="T11" fmla="*/ 113 h 148"/>
                    <a:gd name="T12" fmla="*/ 42 w 120"/>
                    <a:gd name="T13" fmla="*/ 146 h 148"/>
                    <a:gd name="T14" fmla="*/ 74 w 120"/>
                    <a:gd name="T15" fmla="*/ 148 h 148"/>
                    <a:gd name="T16" fmla="*/ 76 w 120"/>
                    <a:gd name="T17" fmla="*/ 108 h 148"/>
                    <a:gd name="T18" fmla="*/ 87 w 120"/>
                    <a:gd name="T19" fmla="*/ 102 h 148"/>
                    <a:gd name="T20" fmla="*/ 118 w 120"/>
                    <a:gd name="T21" fmla="*/ 86 h 1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20" h="148">
                      <a:moveTo>
                        <a:pt x="118" y="86"/>
                      </a:moveTo>
                      <a:cubicBezTo>
                        <a:pt x="117" y="79"/>
                        <a:pt x="110" y="78"/>
                        <a:pt x="105" y="78"/>
                      </a:cubicBezTo>
                      <a:cubicBezTo>
                        <a:pt x="115" y="54"/>
                        <a:pt x="107" y="27"/>
                        <a:pt x="85" y="14"/>
                      </a:cubicBezTo>
                      <a:cubicBezTo>
                        <a:pt x="62" y="0"/>
                        <a:pt x="30" y="10"/>
                        <a:pt x="15" y="36"/>
                      </a:cubicBezTo>
                      <a:cubicBezTo>
                        <a:pt x="0" y="62"/>
                        <a:pt x="3" y="93"/>
                        <a:pt x="26" y="107"/>
                      </a:cubicBezTo>
                      <a:cubicBezTo>
                        <a:pt x="32" y="110"/>
                        <a:pt x="38" y="112"/>
                        <a:pt x="44" y="113"/>
                      </a:cubicBezTo>
                      <a:cubicBezTo>
                        <a:pt x="42" y="146"/>
                        <a:pt x="42" y="146"/>
                        <a:pt x="42" y="146"/>
                      </a:cubicBezTo>
                      <a:cubicBezTo>
                        <a:pt x="74" y="148"/>
                        <a:pt x="74" y="148"/>
                        <a:pt x="74" y="148"/>
                      </a:cubicBezTo>
                      <a:cubicBezTo>
                        <a:pt x="76" y="108"/>
                        <a:pt x="76" y="108"/>
                        <a:pt x="76" y="108"/>
                      </a:cubicBezTo>
                      <a:cubicBezTo>
                        <a:pt x="80" y="106"/>
                        <a:pt x="84" y="104"/>
                        <a:pt x="87" y="102"/>
                      </a:cubicBezTo>
                      <a:cubicBezTo>
                        <a:pt x="100" y="106"/>
                        <a:pt x="120" y="98"/>
                        <a:pt x="118" y="86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90" name="Freeform 109">
                  <a:extLst>
                    <a:ext uri="{FF2B5EF4-FFF2-40B4-BE49-F238E27FC236}">
                      <a16:creationId xmlns:a16="http://schemas.microsoft.com/office/drawing/2014/main" id="{DF80EC17-7053-9230-3877-7B1BDD1B60F6}"/>
                    </a:ext>
                  </a:extLst>
                </p:cNvPr>
                <p:cNvSpPr/>
                <p:nvPr/>
              </p:nvSpPr>
              <p:spPr bwMode="auto">
                <a:xfrm>
                  <a:off x="10010312" y="4953565"/>
                  <a:ext cx="43851" cy="34454"/>
                </a:xfrm>
                <a:custGeom>
                  <a:avLst/>
                  <a:gdLst>
                    <a:gd name="T0" fmla="*/ 17 w 17"/>
                    <a:gd name="T1" fmla="*/ 0 h 13"/>
                    <a:gd name="T2" fmla="*/ 8 w 17"/>
                    <a:gd name="T3" fmla="*/ 13 h 13"/>
                    <a:gd name="T4" fmla="*/ 5 w 17"/>
                    <a:gd name="T5" fmla="*/ 11 h 13"/>
                    <a:gd name="T6" fmla="*/ 6 w 17"/>
                    <a:gd name="T7" fmla="*/ 9 h 13"/>
                    <a:gd name="T8" fmla="*/ 6 w 17"/>
                    <a:gd name="T9" fmla="*/ 9 h 13"/>
                    <a:gd name="T10" fmla="*/ 8 w 17"/>
                    <a:gd name="T11" fmla="*/ 7 h 13"/>
                    <a:gd name="T12" fmla="*/ 7 w 17"/>
                    <a:gd name="T13" fmla="*/ 5 h 13"/>
                    <a:gd name="T14" fmla="*/ 4 w 17"/>
                    <a:gd name="T15" fmla="*/ 4 h 13"/>
                    <a:gd name="T16" fmla="*/ 0 w 17"/>
                    <a:gd name="T17" fmla="*/ 4 h 13"/>
                    <a:gd name="T18" fmla="*/ 4 w 17"/>
                    <a:gd name="T19" fmla="*/ 2 h 13"/>
                    <a:gd name="T20" fmla="*/ 9 w 17"/>
                    <a:gd name="T21" fmla="*/ 2 h 13"/>
                    <a:gd name="T22" fmla="*/ 11 w 17"/>
                    <a:gd name="T23" fmla="*/ 7 h 13"/>
                    <a:gd name="T24" fmla="*/ 8 w 17"/>
                    <a:gd name="T25" fmla="*/ 12 h 13"/>
                    <a:gd name="T26" fmla="*/ 7 w 17"/>
                    <a:gd name="T27" fmla="*/ 9 h 13"/>
                    <a:gd name="T28" fmla="*/ 17 w 17"/>
                    <a:gd name="T29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3">
                      <a:moveTo>
                        <a:pt x="17" y="0"/>
                      </a:moveTo>
                      <a:cubicBezTo>
                        <a:pt x="17" y="6"/>
                        <a:pt x="13" y="11"/>
                        <a:pt x="8" y="13"/>
                      </a:cubicBezTo>
                      <a:cubicBezTo>
                        <a:pt x="7" y="13"/>
                        <a:pt x="6" y="12"/>
                        <a:pt x="5" y="11"/>
                      </a:cubicBezTo>
                      <a:cubicBezTo>
                        <a:pt x="5" y="11"/>
                        <a:pt x="5" y="10"/>
                        <a:pt x="6" y="9"/>
                      </a:cubicBezTo>
                      <a:cubicBezTo>
                        <a:pt x="6" y="9"/>
                        <a:pt x="6" y="9"/>
                        <a:pt x="6" y="9"/>
                      </a:cubicBezTo>
                      <a:cubicBezTo>
                        <a:pt x="7" y="8"/>
                        <a:pt x="8" y="8"/>
                        <a:pt x="8" y="7"/>
                      </a:cubicBezTo>
                      <a:cubicBezTo>
                        <a:pt x="8" y="6"/>
                        <a:pt x="8" y="5"/>
                        <a:pt x="7" y="5"/>
                      </a:cubicBezTo>
                      <a:cubicBezTo>
                        <a:pt x="7" y="4"/>
                        <a:pt x="5" y="4"/>
                        <a:pt x="4" y="4"/>
                      </a:cubicBezTo>
                      <a:cubicBezTo>
                        <a:pt x="3" y="4"/>
                        <a:pt x="1" y="4"/>
                        <a:pt x="0" y="4"/>
                      </a:cubicBezTo>
                      <a:cubicBezTo>
                        <a:pt x="1" y="3"/>
                        <a:pt x="2" y="2"/>
                        <a:pt x="4" y="2"/>
                      </a:cubicBezTo>
                      <a:cubicBezTo>
                        <a:pt x="5" y="1"/>
                        <a:pt x="7" y="1"/>
                        <a:pt x="9" y="2"/>
                      </a:cubicBezTo>
                      <a:cubicBezTo>
                        <a:pt x="11" y="3"/>
                        <a:pt x="12" y="5"/>
                        <a:pt x="11" y="7"/>
                      </a:cubicBezTo>
                      <a:cubicBezTo>
                        <a:pt x="11" y="10"/>
                        <a:pt x="10" y="11"/>
                        <a:pt x="8" y="12"/>
                      </a:cubicBezTo>
                      <a:cubicBezTo>
                        <a:pt x="7" y="9"/>
                        <a:pt x="7" y="9"/>
                        <a:pt x="7" y="9"/>
                      </a:cubicBezTo>
                      <a:cubicBezTo>
                        <a:pt x="11" y="8"/>
                        <a:pt x="14" y="5"/>
                        <a:pt x="17" y="0"/>
                      </a:cubicBezTo>
                      <a:close/>
                    </a:path>
                  </a:pathLst>
                </a:custGeom>
                <a:solidFill>
                  <a:srgbClr val="EED7B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91" name="Freeform 110">
                  <a:extLst>
                    <a:ext uri="{FF2B5EF4-FFF2-40B4-BE49-F238E27FC236}">
                      <a16:creationId xmlns:a16="http://schemas.microsoft.com/office/drawing/2014/main" id="{67443F68-7D93-2DB8-8F4A-92B84713ACA8}"/>
                    </a:ext>
                  </a:extLst>
                </p:cNvPr>
                <p:cNvSpPr/>
                <p:nvPr/>
              </p:nvSpPr>
              <p:spPr bwMode="auto">
                <a:xfrm>
                  <a:off x="9881892" y="5016209"/>
                  <a:ext cx="62645" cy="40719"/>
                </a:xfrm>
                <a:custGeom>
                  <a:avLst/>
                  <a:gdLst>
                    <a:gd name="T0" fmla="*/ 0 w 24"/>
                    <a:gd name="T1" fmla="*/ 5 h 16"/>
                    <a:gd name="T2" fmla="*/ 24 w 24"/>
                    <a:gd name="T3" fmla="*/ 0 h 16"/>
                    <a:gd name="T4" fmla="*/ 0 w 24"/>
                    <a:gd name="T5" fmla="*/ 15 h 16"/>
                    <a:gd name="T6" fmla="*/ 0 w 24"/>
                    <a:gd name="T7" fmla="*/ 5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4" h="16">
                      <a:moveTo>
                        <a:pt x="0" y="5"/>
                      </a:moveTo>
                      <a:cubicBezTo>
                        <a:pt x="0" y="5"/>
                        <a:pt x="17" y="4"/>
                        <a:pt x="24" y="0"/>
                      </a:cubicBezTo>
                      <a:cubicBezTo>
                        <a:pt x="24" y="0"/>
                        <a:pt x="17" y="16"/>
                        <a:pt x="0" y="15"/>
                      </a:cubicBez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B5CEB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92" name="Freeform 111">
                  <a:extLst>
                    <a:ext uri="{FF2B5EF4-FFF2-40B4-BE49-F238E27FC236}">
                      <a16:creationId xmlns:a16="http://schemas.microsoft.com/office/drawing/2014/main" id="{22FDF3D6-58E2-E30C-A6C2-0F6E31618599}"/>
                    </a:ext>
                  </a:extLst>
                </p:cNvPr>
                <p:cNvSpPr/>
                <p:nvPr/>
              </p:nvSpPr>
              <p:spPr bwMode="auto">
                <a:xfrm>
                  <a:off x="9767566" y="4734307"/>
                  <a:ext cx="342980" cy="491761"/>
                </a:xfrm>
                <a:custGeom>
                  <a:avLst/>
                  <a:gdLst>
                    <a:gd name="T0" fmla="*/ 133 w 134"/>
                    <a:gd name="T1" fmla="*/ 84 h 192"/>
                    <a:gd name="T2" fmla="*/ 106 w 134"/>
                    <a:gd name="T3" fmla="*/ 156 h 192"/>
                    <a:gd name="T4" fmla="*/ 85 w 134"/>
                    <a:gd name="T5" fmla="*/ 192 h 192"/>
                    <a:gd name="T6" fmla="*/ 90 w 134"/>
                    <a:gd name="T7" fmla="*/ 172 h 192"/>
                    <a:gd name="T8" fmla="*/ 80 w 134"/>
                    <a:gd name="T9" fmla="*/ 144 h 192"/>
                    <a:gd name="T10" fmla="*/ 62 w 134"/>
                    <a:gd name="T11" fmla="*/ 136 h 192"/>
                    <a:gd name="T12" fmla="*/ 88 w 134"/>
                    <a:gd name="T13" fmla="*/ 104 h 192"/>
                    <a:gd name="T14" fmla="*/ 119 w 134"/>
                    <a:gd name="T15" fmla="*/ 92 h 192"/>
                    <a:gd name="T16" fmla="*/ 106 w 134"/>
                    <a:gd name="T17" fmla="*/ 80 h 192"/>
                    <a:gd name="T18" fmla="*/ 89 w 134"/>
                    <a:gd name="T19" fmla="*/ 77 h 192"/>
                    <a:gd name="T20" fmla="*/ 75 w 134"/>
                    <a:gd name="T21" fmla="*/ 42 h 192"/>
                    <a:gd name="T22" fmla="*/ 76 w 134"/>
                    <a:gd name="T23" fmla="*/ 34 h 192"/>
                    <a:gd name="T24" fmla="*/ 40 w 134"/>
                    <a:gd name="T25" fmla="*/ 20 h 192"/>
                    <a:gd name="T26" fmla="*/ 40 w 134"/>
                    <a:gd name="T27" fmla="*/ 20 h 192"/>
                    <a:gd name="T28" fmla="*/ 38 w 134"/>
                    <a:gd name="T29" fmla="*/ 18 h 192"/>
                    <a:gd name="T30" fmla="*/ 16 w 134"/>
                    <a:gd name="T31" fmla="*/ 39 h 192"/>
                    <a:gd name="T32" fmla="*/ 9 w 134"/>
                    <a:gd name="T33" fmla="*/ 54 h 192"/>
                    <a:gd name="T34" fmla="*/ 7 w 134"/>
                    <a:gd name="T35" fmla="*/ 80 h 192"/>
                    <a:gd name="T36" fmla="*/ 45 w 134"/>
                    <a:gd name="T37" fmla="*/ 115 h 192"/>
                    <a:gd name="T38" fmla="*/ 44 w 134"/>
                    <a:gd name="T39" fmla="*/ 135 h 192"/>
                    <a:gd name="T40" fmla="*/ 26 w 134"/>
                    <a:gd name="T41" fmla="*/ 134 h 192"/>
                    <a:gd name="T42" fmla="*/ 25 w 134"/>
                    <a:gd name="T43" fmla="*/ 134 h 192"/>
                    <a:gd name="T44" fmla="*/ 1 w 134"/>
                    <a:gd name="T45" fmla="*/ 125 h 192"/>
                    <a:gd name="T46" fmla="*/ 1 w 134"/>
                    <a:gd name="T47" fmla="*/ 86 h 192"/>
                    <a:gd name="T48" fmla="*/ 2 w 134"/>
                    <a:gd name="T49" fmla="*/ 55 h 192"/>
                    <a:gd name="T50" fmla="*/ 27 w 134"/>
                    <a:gd name="T51" fmla="*/ 12 h 192"/>
                    <a:gd name="T52" fmla="*/ 74 w 134"/>
                    <a:gd name="T53" fmla="*/ 0 h 192"/>
                    <a:gd name="T54" fmla="*/ 113 w 134"/>
                    <a:gd name="T55" fmla="*/ 42 h 192"/>
                    <a:gd name="T56" fmla="*/ 114 w 134"/>
                    <a:gd name="T57" fmla="*/ 43 h 192"/>
                    <a:gd name="T58" fmla="*/ 132 w 134"/>
                    <a:gd name="T59" fmla="*/ 68 h 192"/>
                    <a:gd name="T60" fmla="*/ 133 w 134"/>
                    <a:gd name="T61" fmla="*/ 84 h 1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134" h="192">
                      <a:moveTo>
                        <a:pt x="133" y="84"/>
                      </a:moveTo>
                      <a:cubicBezTo>
                        <a:pt x="131" y="112"/>
                        <a:pt x="114" y="127"/>
                        <a:pt x="106" y="156"/>
                      </a:cubicBezTo>
                      <a:cubicBezTo>
                        <a:pt x="99" y="185"/>
                        <a:pt x="85" y="192"/>
                        <a:pt x="85" y="192"/>
                      </a:cubicBezTo>
                      <a:cubicBezTo>
                        <a:pt x="88" y="184"/>
                        <a:pt x="89" y="177"/>
                        <a:pt x="90" y="172"/>
                      </a:cubicBezTo>
                      <a:cubicBezTo>
                        <a:pt x="91" y="162"/>
                        <a:pt x="88" y="151"/>
                        <a:pt x="80" y="144"/>
                      </a:cubicBezTo>
                      <a:cubicBezTo>
                        <a:pt x="71" y="137"/>
                        <a:pt x="62" y="136"/>
                        <a:pt x="62" y="136"/>
                      </a:cubicBezTo>
                      <a:cubicBezTo>
                        <a:pt x="64" y="110"/>
                        <a:pt x="88" y="104"/>
                        <a:pt x="88" y="104"/>
                      </a:cubicBezTo>
                      <a:cubicBezTo>
                        <a:pt x="116" y="108"/>
                        <a:pt x="119" y="92"/>
                        <a:pt x="119" y="92"/>
                      </a:cubicBezTo>
                      <a:cubicBezTo>
                        <a:pt x="120" y="79"/>
                        <a:pt x="106" y="80"/>
                        <a:pt x="106" y="80"/>
                      </a:cubicBezTo>
                      <a:cubicBezTo>
                        <a:pt x="99" y="80"/>
                        <a:pt x="94" y="79"/>
                        <a:pt x="89" y="77"/>
                      </a:cubicBezTo>
                      <a:cubicBezTo>
                        <a:pt x="75" y="70"/>
                        <a:pt x="74" y="52"/>
                        <a:pt x="75" y="42"/>
                      </a:cubicBezTo>
                      <a:cubicBezTo>
                        <a:pt x="75" y="37"/>
                        <a:pt x="76" y="34"/>
                        <a:pt x="76" y="34"/>
                      </a:cubicBezTo>
                      <a:cubicBezTo>
                        <a:pt x="76" y="34"/>
                        <a:pt x="55" y="38"/>
                        <a:pt x="40" y="20"/>
                      </a:cubicBezTo>
                      <a:cubicBezTo>
                        <a:pt x="40" y="20"/>
                        <a:pt x="40" y="20"/>
                        <a:pt x="40" y="20"/>
                      </a:cubicBezTo>
                      <a:cubicBezTo>
                        <a:pt x="39" y="20"/>
                        <a:pt x="39" y="19"/>
                        <a:pt x="38" y="18"/>
                      </a:cubicBezTo>
                      <a:cubicBezTo>
                        <a:pt x="38" y="18"/>
                        <a:pt x="19" y="33"/>
                        <a:pt x="16" y="39"/>
                      </a:cubicBezTo>
                      <a:cubicBezTo>
                        <a:pt x="14" y="41"/>
                        <a:pt x="11" y="47"/>
                        <a:pt x="9" y="54"/>
                      </a:cubicBezTo>
                      <a:cubicBezTo>
                        <a:pt x="7" y="62"/>
                        <a:pt x="6" y="71"/>
                        <a:pt x="7" y="80"/>
                      </a:cubicBezTo>
                      <a:cubicBezTo>
                        <a:pt x="7" y="80"/>
                        <a:pt x="12" y="110"/>
                        <a:pt x="45" y="115"/>
                      </a:cubicBezTo>
                      <a:cubicBezTo>
                        <a:pt x="44" y="135"/>
                        <a:pt x="44" y="135"/>
                        <a:pt x="44" y="135"/>
                      </a:cubicBezTo>
                      <a:cubicBezTo>
                        <a:pt x="26" y="134"/>
                        <a:pt x="26" y="134"/>
                        <a:pt x="26" y="134"/>
                      </a:cubicBezTo>
                      <a:cubicBezTo>
                        <a:pt x="25" y="134"/>
                        <a:pt x="25" y="134"/>
                        <a:pt x="25" y="134"/>
                      </a:cubicBezTo>
                      <a:cubicBezTo>
                        <a:pt x="25" y="134"/>
                        <a:pt x="16" y="131"/>
                        <a:pt x="1" y="125"/>
                      </a:cubicBezTo>
                      <a:cubicBezTo>
                        <a:pt x="1" y="125"/>
                        <a:pt x="1" y="107"/>
                        <a:pt x="1" y="86"/>
                      </a:cubicBezTo>
                      <a:cubicBezTo>
                        <a:pt x="1" y="79"/>
                        <a:pt x="0" y="67"/>
                        <a:pt x="2" y="55"/>
                      </a:cubicBezTo>
                      <a:cubicBezTo>
                        <a:pt x="5" y="39"/>
                        <a:pt x="11" y="23"/>
                        <a:pt x="27" y="12"/>
                      </a:cubicBezTo>
                      <a:cubicBezTo>
                        <a:pt x="38" y="5"/>
                        <a:pt x="53" y="0"/>
                        <a:pt x="74" y="0"/>
                      </a:cubicBezTo>
                      <a:cubicBezTo>
                        <a:pt x="74" y="0"/>
                        <a:pt x="108" y="1"/>
                        <a:pt x="113" y="42"/>
                      </a:cubicBezTo>
                      <a:cubicBezTo>
                        <a:pt x="113" y="42"/>
                        <a:pt x="113" y="42"/>
                        <a:pt x="114" y="43"/>
                      </a:cubicBezTo>
                      <a:cubicBezTo>
                        <a:pt x="118" y="45"/>
                        <a:pt x="128" y="53"/>
                        <a:pt x="132" y="68"/>
                      </a:cubicBezTo>
                      <a:cubicBezTo>
                        <a:pt x="133" y="73"/>
                        <a:pt x="134" y="78"/>
                        <a:pt x="133" y="84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93" name="Freeform 112">
                  <a:extLst>
                    <a:ext uri="{FF2B5EF4-FFF2-40B4-BE49-F238E27FC236}">
                      <a16:creationId xmlns:a16="http://schemas.microsoft.com/office/drawing/2014/main" id="{B4D0FD7C-2AAA-3CCF-421E-CDEA6E615401}"/>
                    </a:ext>
                  </a:extLst>
                </p:cNvPr>
                <p:cNvSpPr/>
                <p:nvPr/>
              </p:nvSpPr>
              <p:spPr bwMode="auto">
                <a:xfrm>
                  <a:off x="9772264" y="4764064"/>
                  <a:ext cx="97100" cy="111194"/>
                </a:xfrm>
                <a:custGeom>
                  <a:avLst/>
                  <a:gdLst>
                    <a:gd name="T0" fmla="*/ 38 w 38"/>
                    <a:gd name="T1" fmla="*/ 8 h 43"/>
                    <a:gd name="T2" fmla="*/ 36 w 38"/>
                    <a:gd name="T3" fmla="*/ 6 h 43"/>
                    <a:gd name="T4" fmla="*/ 14 w 38"/>
                    <a:gd name="T5" fmla="*/ 27 h 43"/>
                    <a:gd name="T6" fmla="*/ 7 w 38"/>
                    <a:gd name="T7" fmla="*/ 42 h 43"/>
                    <a:gd name="T8" fmla="*/ 3 w 38"/>
                    <a:gd name="T9" fmla="*/ 43 h 43"/>
                    <a:gd name="T10" fmla="*/ 0 w 38"/>
                    <a:gd name="T11" fmla="*/ 43 h 43"/>
                    <a:gd name="T12" fmla="*/ 25 w 38"/>
                    <a:gd name="T13" fmla="*/ 0 h 43"/>
                    <a:gd name="T14" fmla="*/ 27 w 38"/>
                    <a:gd name="T15" fmla="*/ 1 h 43"/>
                    <a:gd name="T16" fmla="*/ 35 w 38"/>
                    <a:gd name="T17" fmla="*/ 4 h 43"/>
                    <a:gd name="T18" fmla="*/ 38 w 38"/>
                    <a:gd name="T19" fmla="*/ 8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8" h="43">
                      <a:moveTo>
                        <a:pt x="38" y="8"/>
                      </a:moveTo>
                      <a:cubicBezTo>
                        <a:pt x="37" y="8"/>
                        <a:pt x="37" y="7"/>
                        <a:pt x="36" y="6"/>
                      </a:cubicBezTo>
                      <a:cubicBezTo>
                        <a:pt x="36" y="6"/>
                        <a:pt x="17" y="21"/>
                        <a:pt x="14" y="27"/>
                      </a:cubicBezTo>
                      <a:cubicBezTo>
                        <a:pt x="12" y="29"/>
                        <a:pt x="9" y="35"/>
                        <a:pt x="7" y="42"/>
                      </a:cubicBezTo>
                      <a:cubicBezTo>
                        <a:pt x="6" y="43"/>
                        <a:pt x="4" y="43"/>
                        <a:pt x="3" y="43"/>
                      </a:cubicBezTo>
                      <a:cubicBezTo>
                        <a:pt x="2" y="43"/>
                        <a:pt x="1" y="43"/>
                        <a:pt x="0" y="43"/>
                      </a:cubicBezTo>
                      <a:cubicBezTo>
                        <a:pt x="3" y="27"/>
                        <a:pt x="9" y="11"/>
                        <a:pt x="25" y="0"/>
                      </a:cubicBezTo>
                      <a:cubicBezTo>
                        <a:pt x="26" y="1"/>
                        <a:pt x="26" y="1"/>
                        <a:pt x="27" y="1"/>
                      </a:cubicBezTo>
                      <a:cubicBezTo>
                        <a:pt x="29" y="3"/>
                        <a:pt x="33" y="2"/>
                        <a:pt x="35" y="4"/>
                      </a:cubicBezTo>
                      <a:cubicBezTo>
                        <a:pt x="37" y="5"/>
                        <a:pt x="37" y="7"/>
                        <a:pt x="38" y="8"/>
                      </a:cubicBezTo>
                      <a:close/>
                    </a:path>
                  </a:pathLst>
                </a:custGeom>
                <a:solidFill>
                  <a:sysClr val="windowText" lastClr="000000">
                    <a:lumMod val="85000"/>
                    <a:lumOff val="15000"/>
                  </a:sys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94" name="Freeform 113">
                  <a:extLst>
                    <a:ext uri="{FF2B5EF4-FFF2-40B4-BE49-F238E27FC236}">
                      <a16:creationId xmlns:a16="http://schemas.microsoft.com/office/drawing/2014/main" id="{1AE3BAC0-4F6E-DD95-A3D8-BC6F57E72B46}"/>
                    </a:ext>
                  </a:extLst>
                </p:cNvPr>
                <p:cNvSpPr/>
                <p:nvPr/>
              </p:nvSpPr>
              <p:spPr bwMode="auto">
                <a:xfrm>
                  <a:off x="9957065" y="4828274"/>
                  <a:ext cx="148782" cy="103363"/>
                </a:xfrm>
                <a:custGeom>
                  <a:avLst/>
                  <a:gdLst>
                    <a:gd name="T0" fmla="*/ 58 w 58"/>
                    <a:gd name="T1" fmla="*/ 31 h 40"/>
                    <a:gd name="T2" fmla="*/ 43 w 58"/>
                    <a:gd name="T3" fmla="*/ 36 h 40"/>
                    <a:gd name="T4" fmla="*/ 37 w 58"/>
                    <a:gd name="T5" fmla="*/ 35 h 40"/>
                    <a:gd name="T6" fmla="*/ 21 w 58"/>
                    <a:gd name="T7" fmla="*/ 37 h 40"/>
                    <a:gd name="T8" fmla="*/ 15 w 58"/>
                    <a:gd name="T9" fmla="*/ 40 h 40"/>
                    <a:gd name="T10" fmla="*/ 1 w 58"/>
                    <a:gd name="T11" fmla="*/ 5 h 40"/>
                    <a:gd name="T12" fmla="*/ 12 w 58"/>
                    <a:gd name="T13" fmla="*/ 1 h 40"/>
                    <a:gd name="T14" fmla="*/ 27 w 58"/>
                    <a:gd name="T15" fmla="*/ 4 h 40"/>
                    <a:gd name="T16" fmla="*/ 30 w 58"/>
                    <a:gd name="T17" fmla="*/ 6 h 40"/>
                    <a:gd name="T18" fmla="*/ 40 w 58"/>
                    <a:gd name="T19" fmla="*/ 6 h 40"/>
                    <a:gd name="T20" fmla="*/ 58 w 58"/>
                    <a:gd name="T21" fmla="*/ 31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7" h="40">
                      <a:moveTo>
                        <a:pt x="58" y="31"/>
                      </a:moveTo>
                      <a:cubicBezTo>
                        <a:pt x="53" y="32"/>
                        <a:pt x="49" y="36"/>
                        <a:pt x="43" y="36"/>
                      </a:cubicBezTo>
                      <a:cubicBezTo>
                        <a:pt x="41" y="36"/>
                        <a:pt x="39" y="35"/>
                        <a:pt x="37" y="35"/>
                      </a:cubicBezTo>
                      <a:cubicBezTo>
                        <a:pt x="32" y="33"/>
                        <a:pt x="26" y="34"/>
                        <a:pt x="21" y="37"/>
                      </a:cubicBezTo>
                      <a:cubicBezTo>
                        <a:pt x="19" y="38"/>
                        <a:pt x="18" y="39"/>
                        <a:pt x="15" y="40"/>
                      </a:cubicBezTo>
                      <a:cubicBezTo>
                        <a:pt x="1" y="33"/>
                        <a:pt x="0" y="15"/>
                        <a:pt x="1" y="5"/>
                      </a:cubicBezTo>
                      <a:cubicBezTo>
                        <a:pt x="5" y="4"/>
                        <a:pt x="8" y="2"/>
                        <a:pt x="12" y="1"/>
                      </a:cubicBezTo>
                      <a:cubicBezTo>
                        <a:pt x="17" y="0"/>
                        <a:pt x="23" y="0"/>
                        <a:pt x="27" y="4"/>
                      </a:cubicBezTo>
                      <a:cubicBezTo>
                        <a:pt x="28" y="4"/>
                        <a:pt x="29" y="5"/>
                        <a:pt x="30" y="6"/>
                      </a:cubicBezTo>
                      <a:cubicBezTo>
                        <a:pt x="33" y="8"/>
                        <a:pt x="36" y="7"/>
                        <a:pt x="40" y="6"/>
                      </a:cubicBezTo>
                      <a:cubicBezTo>
                        <a:pt x="44" y="8"/>
                        <a:pt x="54" y="16"/>
                        <a:pt x="58" y="31"/>
                      </a:cubicBezTo>
                      <a:close/>
                    </a:path>
                  </a:pathLst>
                </a:custGeom>
                <a:solidFill>
                  <a:sysClr val="windowText" lastClr="000000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95" name="Freeform 114">
                  <a:extLst>
                    <a:ext uri="{FF2B5EF4-FFF2-40B4-BE49-F238E27FC236}">
                      <a16:creationId xmlns:a16="http://schemas.microsoft.com/office/drawing/2014/main" id="{93D6FF90-0CF7-ADC1-7F09-0206C93EF418}"/>
                    </a:ext>
                  </a:extLst>
                </p:cNvPr>
                <p:cNvSpPr/>
                <p:nvPr/>
              </p:nvSpPr>
              <p:spPr bwMode="auto">
                <a:xfrm>
                  <a:off x="9657938" y="5074155"/>
                  <a:ext cx="380566" cy="651505"/>
                </a:xfrm>
                <a:custGeom>
                  <a:avLst/>
                  <a:gdLst>
                    <a:gd name="T0" fmla="*/ 105 w 149"/>
                    <a:gd name="T1" fmla="*/ 3 h 254"/>
                    <a:gd name="T2" fmla="*/ 70 w 149"/>
                    <a:gd name="T3" fmla="*/ 1 h 254"/>
                    <a:gd name="T4" fmla="*/ 34 w 149"/>
                    <a:gd name="T5" fmla="*/ 39 h 254"/>
                    <a:gd name="T6" fmla="*/ 33 w 149"/>
                    <a:gd name="T7" fmla="*/ 46 h 254"/>
                    <a:gd name="T8" fmla="*/ 46 w 149"/>
                    <a:gd name="T9" fmla="*/ 91 h 254"/>
                    <a:gd name="T10" fmla="*/ 44 w 149"/>
                    <a:gd name="T11" fmla="*/ 97 h 254"/>
                    <a:gd name="T12" fmla="*/ 3 w 149"/>
                    <a:gd name="T13" fmla="*/ 254 h 254"/>
                    <a:gd name="T14" fmla="*/ 108 w 149"/>
                    <a:gd name="T15" fmla="*/ 254 h 254"/>
                    <a:gd name="T16" fmla="*/ 117 w 149"/>
                    <a:gd name="T17" fmla="*/ 103 h 254"/>
                    <a:gd name="T18" fmla="*/ 117 w 149"/>
                    <a:gd name="T19" fmla="*/ 93 h 254"/>
                    <a:gd name="T20" fmla="*/ 133 w 149"/>
                    <a:gd name="T21" fmla="*/ 44 h 254"/>
                    <a:gd name="T22" fmla="*/ 105 w 149"/>
                    <a:gd name="T23" fmla="*/ 3 h 2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49" h="254">
                      <a:moveTo>
                        <a:pt x="105" y="3"/>
                      </a:moveTo>
                      <a:cubicBezTo>
                        <a:pt x="93" y="2"/>
                        <a:pt x="81" y="1"/>
                        <a:pt x="70" y="1"/>
                      </a:cubicBezTo>
                      <a:cubicBezTo>
                        <a:pt x="56" y="0"/>
                        <a:pt x="39" y="29"/>
                        <a:pt x="34" y="39"/>
                      </a:cubicBezTo>
                      <a:cubicBezTo>
                        <a:pt x="33" y="41"/>
                        <a:pt x="33" y="43"/>
                        <a:pt x="33" y="46"/>
                      </a:cubicBezTo>
                      <a:cubicBezTo>
                        <a:pt x="46" y="91"/>
                        <a:pt x="46" y="91"/>
                        <a:pt x="46" y="91"/>
                      </a:cubicBezTo>
                      <a:cubicBezTo>
                        <a:pt x="46" y="93"/>
                        <a:pt x="46" y="95"/>
                        <a:pt x="44" y="97"/>
                      </a:cubicBezTo>
                      <a:cubicBezTo>
                        <a:pt x="35" y="109"/>
                        <a:pt x="0" y="160"/>
                        <a:pt x="3" y="254"/>
                      </a:cubicBezTo>
                      <a:cubicBezTo>
                        <a:pt x="108" y="254"/>
                        <a:pt x="108" y="254"/>
                        <a:pt x="108" y="254"/>
                      </a:cubicBezTo>
                      <a:cubicBezTo>
                        <a:pt x="108" y="254"/>
                        <a:pt x="149" y="168"/>
                        <a:pt x="117" y="103"/>
                      </a:cubicBezTo>
                      <a:cubicBezTo>
                        <a:pt x="116" y="100"/>
                        <a:pt x="116" y="96"/>
                        <a:pt x="117" y="93"/>
                      </a:cubicBezTo>
                      <a:cubicBezTo>
                        <a:pt x="120" y="83"/>
                        <a:pt x="127" y="63"/>
                        <a:pt x="133" y="44"/>
                      </a:cubicBezTo>
                      <a:cubicBezTo>
                        <a:pt x="138" y="25"/>
                        <a:pt x="125" y="5"/>
                        <a:pt x="105" y="3"/>
                      </a:cubicBezTo>
                      <a:close/>
                    </a:path>
                  </a:pathLst>
                </a:custGeom>
                <a:solidFill>
                  <a:srgbClr val="97A2BB"/>
                </a:solidFill>
                <a:ln>
                  <a:noFill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96" name="Freeform 116">
                  <a:extLst>
                    <a:ext uri="{FF2B5EF4-FFF2-40B4-BE49-F238E27FC236}">
                      <a16:creationId xmlns:a16="http://schemas.microsoft.com/office/drawing/2014/main" id="{FD73D72C-A95A-D9BA-2D04-C8868F4BE480}"/>
                    </a:ext>
                  </a:extLst>
                </p:cNvPr>
                <p:cNvSpPr/>
                <p:nvPr/>
              </p:nvSpPr>
              <p:spPr bwMode="auto">
                <a:xfrm>
                  <a:off x="9888156" y="5108609"/>
                  <a:ext cx="104930" cy="162876"/>
                </a:xfrm>
                <a:custGeom>
                  <a:avLst/>
                  <a:gdLst>
                    <a:gd name="T0" fmla="*/ 38 w 41"/>
                    <a:gd name="T1" fmla="*/ 35 h 64"/>
                    <a:gd name="T2" fmla="*/ 14 w 41"/>
                    <a:gd name="T3" fmla="*/ 62 h 64"/>
                    <a:gd name="T4" fmla="*/ 8 w 41"/>
                    <a:gd name="T5" fmla="*/ 59 h 64"/>
                    <a:gd name="T6" fmla="*/ 1 w 41"/>
                    <a:gd name="T7" fmla="*/ 41 h 64"/>
                    <a:gd name="T8" fmla="*/ 1 w 41"/>
                    <a:gd name="T9" fmla="*/ 41 h 64"/>
                    <a:gd name="T10" fmla="*/ 2 w 41"/>
                    <a:gd name="T11" fmla="*/ 28 h 64"/>
                    <a:gd name="T12" fmla="*/ 26 w 41"/>
                    <a:gd name="T13" fmla="*/ 2 h 64"/>
                    <a:gd name="T14" fmla="*/ 38 w 41"/>
                    <a:gd name="T15" fmla="*/ 35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1" h="64">
                      <a:moveTo>
                        <a:pt x="38" y="35"/>
                      </a:moveTo>
                      <a:cubicBezTo>
                        <a:pt x="35" y="52"/>
                        <a:pt x="24" y="64"/>
                        <a:pt x="14" y="62"/>
                      </a:cubicBezTo>
                      <a:cubicBezTo>
                        <a:pt x="12" y="62"/>
                        <a:pt x="10" y="60"/>
                        <a:pt x="8" y="59"/>
                      </a:cubicBezTo>
                      <a:cubicBezTo>
                        <a:pt x="4" y="55"/>
                        <a:pt x="2" y="49"/>
                        <a:pt x="1" y="41"/>
                      </a:cubicBezTo>
                      <a:cubicBezTo>
                        <a:pt x="1" y="41"/>
                        <a:pt x="1" y="41"/>
                        <a:pt x="1" y="41"/>
                      </a:cubicBezTo>
                      <a:cubicBezTo>
                        <a:pt x="0" y="37"/>
                        <a:pt x="1" y="33"/>
                        <a:pt x="2" y="28"/>
                      </a:cubicBezTo>
                      <a:cubicBezTo>
                        <a:pt x="5" y="12"/>
                        <a:pt x="15" y="0"/>
                        <a:pt x="26" y="2"/>
                      </a:cubicBezTo>
                      <a:cubicBezTo>
                        <a:pt x="36" y="4"/>
                        <a:pt x="41" y="19"/>
                        <a:pt x="38" y="35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97" name="Freeform 117">
                  <a:extLst>
                    <a:ext uri="{FF2B5EF4-FFF2-40B4-BE49-F238E27FC236}">
                      <a16:creationId xmlns:a16="http://schemas.microsoft.com/office/drawing/2014/main" id="{DD06DB07-545C-54B6-B055-E2A2B2086079}"/>
                    </a:ext>
                  </a:extLst>
                </p:cNvPr>
                <p:cNvSpPr/>
                <p:nvPr/>
              </p:nvSpPr>
              <p:spPr bwMode="auto">
                <a:xfrm>
                  <a:off x="9889721" y="5177518"/>
                  <a:ext cx="87703" cy="81438"/>
                </a:xfrm>
                <a:custGeom>
                  <a:avLst/>
                  <a:gdLst>
                    <a:gd name="T0" fmla="*/ 34 w 34"/>
                    <a:gd name="T1" fmla="*/ 0 h 32"/>
                    <a:gd name="T2" fmla="*/ 7 w 34"/>
                    <a:gd name="T3" fmla="*/ 32 h 32"/>
                    <a:gd name="T4" fmla="*/ 0 w 34"/>
                    <a:gd name="T5" fmla="*/ 14 h 32"/>
                    <a:gd name="T6" fmla="*/ 0 w 34"/>
                    <a:gd name="T7" fmla="*/ 14 h 32"/>
                    <a:gd name="T8" fmla="*/ 34 w 34"/>
                    <a:gd name="T9" fmla="*/ 0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4" h="32">
                      <a:moveTo>
                        <a:pt x="34" y="0"/>
                      </a:moveTo>
                      <a:cubicBezTo>
                        <a:pt x="33" y="2"/>
                        <a:pt x="23" y="27"/>
                        <a:pt x="7" y="32"/>
                      </a:cubicBezTo>
                      <a:cubicBezTo>
                        <a:pt x="3" y="28"/>
                        <a:pt x="1" y="22"/>
                        <a:pt x="0" y="14"/>
                      </a:cubicBezTo>
                      <a:cubicBezTo>
                        <a:pt x="0" y="14"/>
                        <a:pt x="0" y="14"/>
                        <a:pt x="0" y="14"/>
                      </a:cubicBezTo>
                      <a:cubicBezTo>
                        <a:pt x="0" y="14"/>
                        <a:pt x="26" y="11"/>
                        <a:pt x="34" y="0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98" name="Freeform 118">
                  <a:extLst>
                    <a:ext uri="{FF2B5EF4-FFF2-40B4-BE49-F238E27FC236}">
                      <a16:creationId xmlns:a16="http://schemas.microsoft.com/office/drawing/2014/main" id="{F6319F2D-D472-7539-ED46-D9D79B7AA9DE}"/>
                    </a:ext>
                  </a:extLst>
                </p:cNvPr>
                <p:cNvSpPr/>
                <p:nvPr/>
              </p:nvSpPr>
              <p:spPr bwMode="auto">
                <a:xfrm>
                  <a:off x="9454341" y="4953565"/>
                  <a:ext cx="535611" cy="325753"/>
                </a:xfrm>
                <a:custGeom>
                  <a:avLst/>
                  <a:gdLst>
                    <a:gd name="T0" fmla="*/ 4 w 209"/>
                    <a:gd name="T1" fmla="*/ 12 h 127"/>
                    <a:gd name="T2" fmla="*/ 15 w 209"/>
                    <a:gd name="T3" fmla="*/ 20 h 127"/>
                    <a:gd name="T4" fmla="*/ 3 w 209"/>
                    <a:gd name="T5" fmla="*/ 20 h 127"/>
                    <a:gd name="T6" fmla="*/ 2 w 209"/>
                    <a:gd name="T7" fmla="*/ 25 h 127"/>
                    <a:gd name="T8" fmla="*/ 9 w 209"/>
                    <a:gd name="T9" fmla="*/ 29 h 127"/>
                    <a:gd name="T10" fmla="*/ 13 w 209"/>
                    <a:gd name="T11" fmla="*/ 32 h 127"/>
                    <a:gd name="T12" fmla="*/ 22 w 209"/>
                    <a:gd name="T13" fmla="*/ 42 h 127"/>
                    <a:gd name="T14" fmla="*/ 197 w 209"/>
                    <a:gd name="T15" fmla="*/ 93 h 127"/>
                    <a:gd name="T16" fmla="*/ 204 w 209"/>
                    <a:gd name="T17" fmla="*/ 69 h 127"/>
                    <a:gd name="T18" fmla="*/ 185 w 209"/>
                    <a:gd name="T19" fmla="*/ 62 h 127"/>
                    <a:gd name="T20" fmla="*/ 149 w 209"/>
                    <a:gd name="T21" fmla="*/ 66 h 127"/>
                    <a:gd name="T22" fmla="*/ 50 w 209"/>
                    <a:gd name="T23" fmla="*/ 29 h 127"/>
                    <a:gd name="T24" fmla="*/ 46 w 209"/>
                    <a:gd name="T25" fmla="*/ 25 h 127"/>
                    <a:gd name="T26" fmla="*/ 49 w 209"/>
                    <a:gd name="T27" fmla="*/ 14 h 127"/>
                    <a:gd name="T28" fmla="*/ 48 w 209"/>
                    <a:gd name="T29" fmla="*/ 10 h 127"/>
                    <a:gd name="T30" fmla="*/ 45 w 209"/>
                    <a:gd name="T31" fmla="*/ 7 h 127"/>
                    <a:gd name="T32" fmla="*/ 42 w 209"/>
                    <a:gd name="T33" fmla="*/ 8 h 127"/>
                    <a:gd name="T34" fmla="*/ 39 w 209"/>
                    <a:gd name="T35" fmla="*/ 12 h 127"/>
                    <a:gd name="T36" fmla="*/ 34 w 209"/>
                    <a:gd name="T37" fmla="*/ 13 h 127"/>
                    <a:gd name="T38" fmla="*/ 32 w 209"/>
                    <a:gd name="T39" fmla="*/ 11 h 127"/>
                    <a:gd name="T40" fmla="*/ 21 w 209"/>
                    <a:gd name="T41" fmla="*/ 2 h 127"/>
                    <a:gd name="T42" fmla="*/ 16 w 209"/>
                    <a:gd name="T43" fmla="*/ 1 h 127"/>
                    <a:gd name="T44" fmla="*/ 17 w 209"/>
                    <a:gd name="T45" fmla="*/ 6 h 127"/>
                    <a:gd name="T46" fmla="*/ 23 w 209"/>
                    <a:gd name="T47" fmla="*/ 12 h 127"/>
                    <a:gd name="T48" fmla="*/ 10 w 209"/>
                    <a:gd name="T49" fmla="*/ 8 h 127"/>
                    <a:gd name="T50" fmla="*/ 6 w 209"/>
                    <a:gd name="T51" fmla="*/ 8 h 127"/>
                    <a:gd name="T52" fmla="*/ 4 w 209"/>
                    <a:gd name="T53" fmla="*/ 12 h 1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09" h="127">
                      <a:moveTo>
                        <a:pt x="4" y="12"/>
                      </a:moveTo>
                      <a:cubicBezTo>
                        <a:pt x="7" y="15"/>
                        <a:pt x="12" y="17"/>
                        <a:pt x="15" y="20"/>
                      </a:cubicBezTo>
                      <a:cubicBezTo>
                        <a:pt x="11" y="20"/>
                        <a:pt x="7" y="19"/>
                        <a:pt x="3" y="20"/>
                      </a:cubicBezTo>
                      <a:cubicBezTo>
                        <a:pt x="0" y="21"/>
                        <a:pt x="0" y="24"/>
                        <a:pt x="2" y="25"/>
                      </a:cubicBezTo>
                      <a:cubicBezTo>
                        <a:pt x="4" y="27"/>
                        <a:pt x="7" y="27"/>
                        <a:pt x="9" y="29"/>
                      </a:cubicBezTo>
                      <a:cubicBezTo>
                        <a:pt x="10" y="29"/>
                        <a:pt x="11" y="30"/>
                        <a:pt x="13" y="32"/>
                      </a:cubicBezTo>
                      <a:cubicBezTo>
                        <a:pt x="16" y="35"/>
                        <a:pt x="19" y="38"/>
                        <a:pt x="22" y="42"/>
                      </a:cubicBezTo>
                      <a:cubicBezTo>
                        <a:pt x="37" y="66"/>
                        <a:pt x="118" y="127"/>
                        <a:pt x="197" y="93"/>
                      </a:cubicBezTo>
                      <a:cubicBezTo>
                        <a:pt x="206" y="89"/>
                        <a:pt x="209" y="77"/>
                        <a:pt x="204" y="69"/>
                      </a:cubicBezTo>
                      <a:cubicBezTo>
                        <a:pt x="200" y="63"/>
                        <a:pt x="192" y="61"/>
                        <a:pt x="185" y="62"/>
                      </a:cubicBezTo>
                      <a:cubicBezTo>
                        <a:pt x="177" y="64"/>
                        <a:pt x="164" y="66"/>
                        <a:pt x="149" y="66"/>
                      </a:cubicBezTo>
                      <a:cubicBezTo>
                        <a:pt x="120" y="66"/>
                        <a:pt x="83" y="59"/>
                        <a:pt x="50" y="29"/>
                      </a:cubicBezTo>
                      <a:cubicBezTo>
                        <a:pt x="48" y="27"/>
                        <a:pt x="47" y="26"/>
                        <a:pt x="46" y="25"/>
                      </a:cubicBezTo>
                      <a:cubicBezTo>
                        <a:pt x="47" y="21"/>
                        <a:pt x="48" y="17"/>
                        <a:pt x="49" y="14"/>
                      </a:cubicBezTo>
                      <a:cubicBezTo>
                        <a:pt x="49" y="13"/>
                        <a:pt x="49" y="11"/>
                        <a:pt x="48" y="10"/>
                      </a:cubicBezTo>
                      <a:cubicBezTo>
                        <a:pt x="48" y="9"/>
                        <a:pt x="46" y="7"/>
                        <a:pt x="45" y="7"/>
                      </a:cubicBezTo>
                      <a:cubicBezTo>
                        <a:pt x="44" y="8"/>
                        <a:pt x="43" y="8"/>
                        <a:pt x="42" y="8"/>
                      </a:cubicBezTo>
                      <a:cubicBezTo>
                        <a:pt x="41" y="9"/>
                        <a:pt x="40" y="11"/>
                        <a:pt x="39" y="12"/>
                      </a:cubicBezTo>
                      <a:cubicBezTo>
                        <a:pt x="37" y="13"/>
                        <a:pt x="35" y="13"/>
                        <a:pt x="34" y="13"/>
                      </a:cubicBezTo>
                      <a:cubicBezTo>
                        <a:pt x="33" y="12"/>
                        <a:pt x="32" y="12"/>
                        <a:pt x="32" y="11"/>
                      </a:cubicBezTo>
                      <a:cubicBezTo>
                        <a:pt x="28" y="8"/>
                        <a:pt x="25" y="5"/>
                        <a:pt x="21" y="2"/>
                      </a:cubicBezTo>
                      <a:cubicBezTo>
                        <a:pt x="20" y="1"/>
                        <a:pt x="18" y="0"/>
                        <a:pt x="16" y="1"/>
                      </a:cubicBezTo>
                      <a:cubicBezTo>
                        <a:pt x="15" y="2"/>
                        <a:pt x="16" y="5"/>
                        <a:pt x="17" y="6"/>
                      </a:cubicBezTo>
                      <a:cubicBezTo>
                        <a:pt x="19" y="8"/>
                        <a:pt x="21" y="10"/>
                        <a:pt x="23" y="12"/>
                      </a:cubicBezTo>
                      <a:cubicBezTo>
                        <a:pt x="19" y="11"/>
                        <a:pt x="14" y="10"/>
                        <a:pt x="10" y="8"/>
                      </a:cubicBezTo>
                      <a:cubicBezTo>
                        <a:pt x="9" y="8"/>
                        <a:pt x="7" y="8"/>
                        <a:pt x="6" y="8"/>
                      </a:cubicBezTo>
                      <a:cubicBezTo>
                        <a:pt x="4" y="8"/>
                        <a:pt x="3" y="10"/>
                        <a:pt x="4" y="12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  <p:sp>
              <p:nvSpPr>
                <p:cNvPr id="99" name="Freeform 119">
                  <a:extLst>
                    <a:ext uri="{FF2B5EF4-FFF2-40B4-BE49-F238E27FC236}">
                      <a16:creationId xmlns:a16="http://schemas.microsoft.com/office/drawing/2014/main" id="{662CFA0F-7E1A-C962-D330-18FEB8C3177D}"/>
                    </a:ext>
                  </a:extLst>
                </p:cNvPr>
                <p:cNvSpPr/>
                <p:nvPr/>
              </p:nvSpPr>
              <p:spPr bwMode="auto">
                <a:xfrm>
                  <a:off x="9567102" y="5028736"/>
                  <a:ext cx="269373" cy="142517"/>
                </a:xfrm>
                <a:custGeom>
                  <a:avLst/>
                  <a:gdLst>
                    <a:gd name="T0" fmla="*/ 1 w 105"/>
                    <a:gd name="T1" fmla="*/ 6 h 56"/>
                    <a:gd name="T2" fmla="*/ 80 w 105"/>
                    <a:gd name="T3" fmla="*/ 55 h 56"/>
                    <a:gd name="T4" fmla="*/ 105 w 105"/>
                    <a:gd name="T5" fmla="*/ 37 h 56"/>
                    <a:gd name="T6" fmla="*/ 6 w 105"/>
                    <a:gd name="T7" fmla="*/ 0 h 56"/>
                    <a:gd name="T8" fmla="*/ 1 w 105"/>
                    <a:gd name="T9" fmla="*/ 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5" h="56">
                      <a:moveTo>
                        <a:pt x="1" y="6"/>
                      </a:moveTo>
                      <a:cubicBezTo>
                        <a:pt x="3" y="23"/>
                        <a:pt x="59" y="53"/>
                        <a:pt x="80" y="55"/>
                      </a:cubicBezTo>
                      <a:cubicBezTo>
                        <a:pt x="95" y="56"/>
                        <a:pt x="102" y="45"/>
                        <a:pt x="105" y="37"/>
                      </a:cubicBezTo>
                      <a:cubicBezTo>
                        <a:pt x="76" y="37"/>
                        <a:pt x="39" y="30"/>
                        <a:pt x="6" y="0"/>
                      </a:cubicBezTo>
                      <a:cubicBezTo>
                        <a:pt x="2" y="1"/>
                        <a:pt x="0" y="3"/>
                        <a:pt x="1" y="6"/>
                      </a:cubicBezTo>
                      <a:close/>
                    </a:path>
                  </a:pathLst>
                </a:custGeom>
                <a:solidFill>
                  <a:srgbClr val="E1EB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>
                  <a:defPPr>
                    <a:defRPr lang="da-DK"/>
                  </a:defPPr>
                  <a:lvl1pPr marL="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ysClr val="windowText" lastClr="000000"/>
                      </a:solidFill>
                      <a:latin typeface="Calibri" panose="020F0502020204030204"/>
                    </a:defRPr>
                  </a:lvl9pPr>
                </a:lstStyle>
                <a:p>
                  <a:endParaRPr lang="da-DK" sz="1350"/>
                </a:p>
              </p:txBody>
            </p:sp>
          </p:grpSp>
          <p:grpSp>
            <p:nvGrpSpPr>
              <p:cNvPr id="146" name="Group 145">
                <a:extLst>
                  <a:ext uri="{FF2B5EF4-FFF2-40B4-BE49-F238E27FC236}">
                    <a16:creationId xmlns:a16="http://schemas.microsoft.com/office/drawing/2014/main" id="{820F5AC8-3810-D86F-27E1-AD60EFBD8211}"/>
                  </a:ext>
                </a:extLst>
              </p:cNvPr>
              <p:cNvGrpSpPr/>
              <p:nvPr/>
            </p:nvGrpSpPr>
            <p:grpSpPr>
              <a:xfrm>
                <a:off x="8911787" y="4299531"/>
                <a:ext cx="648721" cy="646659"/>
                <a:chOff x="2890484" y="4310132"/>
                <a:chExt cx="1636257" cy="1631057"/>
              </a:xfrm>
            </p:grpSpPr>
            <p:sp>
              <p:nvSpPr>
                <p:cNvPr id="147" name="Freeform: Shape 146">
                  <a:extLst>
                    <a:ext uri="{FF2B5EF4-FFF2-40B4-BE49-F238E27FC236}">
                      <a16:creationId xmlns:a16="http://schemas.microsoft.com/office/drawing/2014/main" id="{D349001E-8287-5569-F923-19305DFE2FB8}"/>
                    </a:ext>
                  </a:extLst>
                </p:cNvPr>
                <p:cNvSpPr/>
                <p:nvPr/>
              </p:nvSpPr>
              <p:spPr>
                <a:xfrm>
                  <a:off x="2890484" y="4310132"/>
                  <a:ext cx="1636256" cy="1631057"/>
                </a:xfrm>
                <a:custGeom>
                  <a:avLst/>
                  <a:gdLst>
                    <a:gd name="connsiteX0" fmla="*/ 841588 w 1636256"/>
                    <a:gd name="connsiteY0" fmla="*/ 579 h 1631057"/>
                    <a:gd name="connsiteX1" fmla="*/ 915010 w 1636256"/>
                    <a:gd name="connsiteY1" fmla="*/ 11691 h 1631057"/>
                    <a:gd name="connsiteX2" fmla="*/ 978510 w 1636256"/>
                    <a:gd name="connsiteY2" fmla="*/ 145041 h 1631057"/>
                    <a:gd name="connsiteX3" fmla="*/ 994385 w 1636256"/>
                    <a:gd name="connsiteY3" fmla="*/ 170441 h 1631057"/>
                    <a:gd name="connsiteX4" fmla="*/ 1152341 w 1636256"/>
                    <a:gd name="connsiteY4" fmla="*/ 226004 h 1631057"/>
                    <a:gd name="connsiteX5" fmla="*/ 1203935 w 1636256"/>
                    <a:gd name="connsiteY5" fmla="*/ 218066 h 1631057"/>
                    <a:gd name="connsiteX6" fmla="*/ 1322203 w 1636256"/>
                    <a:gd name="connsiteY6" fmla="*/ 179172 h 1631057"/>
                    <a:gd name="connsiteX7" fmla="*/ 1365860 w 1636256"/>
                    <a:gd name="connsiteY7" fmla="*/ 205366 h 1631057"/>
                    <a:gd name="connsiteX8" fmla="*/ 1461110 w 1636256"/>
                    <a:gd name="connsiteY8" fmla="*/ 303791 h 1631057"/>
                    <a:gd name="connsiteX9" fmla="*/ 1454760 w 1636256"/>
                    <a:gd name="connsiteY9" fmla="*/ 338716 h 1631057"/>
                    <a:gd name="connsiteX10" fmla="*/ 1423010 w 1636256"/>
                    <a:gd name="connsiteY10" fmla="*/ 402216 h 1631057"/>
                    <a:gd name="connsiteX11" fmla="*/ 1403960 w 1636256"/>
                    <a:gd name="connsiteY11" fmla="*/ 459366 h 1631057"/>
                    <a:gd name="connsiteX12" fmla="*/ 1403960 w 1636256"/>
                    <a:gd name="connsiteY12" fmla="*/ 506991 h 1631057"/>
                    <a:gd name="connsiteX13" fmla="*/ 1410310 w 1636256"/>
                    <a:gd name="connsiteY13" fmla="*/ 519691 h 1631057"/>
                    <a:gd name="connsiteX14" fmla="*/ 1442060 w 1636256"/>
                    <a:gd name="connsiteY14" fmla="*/ 573666 h 1631057"/>
                    <a:gd name="connsiteX15" fmla="*/ 1461110 w 1636256"/>
                    <a:gd name="connsiteY15" fmla="*/ 627641 h 1631057"/>
                    <a:gd name="connsiteX16" fmla="*/ 1467460 w 1636256"/>
                    <a:gd name="connsiteY16" fmla="*/ 646691 h 1631057"/>
                    <a:gd name="connsiteX17" fmla="*/ 1527785 w 1636256"/>
                    <a:gd name="connsiteY17" fmla="*/ 665741 h 1631057"/>
                    <a:gd name="connsiteX18" fmla="*/ 1603985 w 1636256"/>
                    <a:gd name="connsiteY18" fmla="*/ 707016 h 1631057"/>
                    <a:gd name="connsiteX19" fmla="*/ 1634942 w 1636256"/>
                    <a:gd name="connsiteY19" fmla="*/ 715747 h 1631057"/>
                    <a:gd name="connsiteX20" fmla="*/ 1632560 w 1636256"/>
                    <a:gd name="connsiteY20" fmla="*/ 903866 h 1631057"/>
                    <a:gd name="connsiteX21" fmla="*/ 1613510 w 1636256"/>
                    <a:gd name="connsiteY21" fmla="*/ 913391 h 1631057"/>
                    <a:gd name="connsiteX22" fmla="*/ 1483335 w 1636256"/>
                    <a:gd name="connsiteY22" fmla="*/ 983241 h 1631057"/>
                    <a:gd name="connsiteX23" fmla="*/ 1464285 w 1636256"/>
                    <a:gd name="connsiteY23" fmla="*/ 989591 h 1631057"/>
                    <a:gd name="connsiteX24" fmla="*/ 1454760 w 1636256"/>
                    <a:gd name="connsiteY24" fmla="*/ 1014991 h 1631057"/>
                    <a:gd name="connsiteX25" fmla="*/ 1442060 w 1636256"/>
                    <a:gd name="connsiteY25" fmla="*/ 1065791 h 1631057"/>
                    <a:gd name="connsiteX26" fmla="*/ 1410310 w 1636256"/>
                    <a:gd name="connsiteY26" fmla="*/ 1135641 h 1631057"/>
                    <a:gd name="connsiteX27" fmla="*/ 1403960 w 1636256"/>
                    <a:gd name="connsiteY27" fmla="*/ 1145166 h 1631057"/>
                    <a:gd name="connsiteX28" fmla="*/ 1432535 w 1636256"/>
                    <a:gd name="connsiteY28" fmla="*/ 1234066 h 1631057"/>
                    <a:gd name="connsiteX29" fmla="*/ 1461110 w 1636256"/>
                    <a:gd name="connsiteY29" fmla="*/ 1291216 h 1631057"/>
                    <a:gd name="connsiteX30" fmla="*/ 1453966 w 1636256"/>
                    <a:gd name="connsiteY30" fmla="*/ 1334078 h 1631057"/>
                    <a:gd name="connsiteX31" fmla="*/ 1381735 w 1636256"/>
                    <a:gd name="connsiteY31" fmla="*/ 1427741 h 1631057"/>
                    <a:gd name="connsiteX32" fmla="*/ 1330935 w 1636256"/>
                    <a:gd name="connsiteY32" fmla="*/ 1462666 h 1631057"/>
                    <a:gd name="connsiteX33" fmla="*/ 1321410 w 1636256"/>
                    <a:gd name="connsiteY33" fmla="*/ 1465841 h 1631057"/>
                    <a:gd name="connsiteX34" fmla="*/ 1302360 w 1636256"/>
                    <a:gd name="connsiteY34" fmla="*/ 1459491 h 1631057"/>
                    <a:gd name="connsiteX35" fmla="*/ 1203935 w 1636256"/>
                    <a:gd name="connsiteY35" fmla="*/ 1424566 h 1631057"/>
                    <a:gd name="connsiteX36" fmla="*/ 1143610 w 1636256"/>
                    <a:gd name="connsiteY36" fmla="*/ 1408691 h 1631057"/>
                    <a:gd name="connsiteX37" fmla="*/ 1121385 w 1636256"/>
                    <a:gd name="connsiteY37" fmla="*/ 1411866 h 1631057"/>
                    <a:gd name="connsiteX38" fmla="*/ 988035 w 1636256"/>
                    <a:gd name="connsiteY38" fmla="*/ 1453141 h 1631057"/>
                    <a:gd name="connsiteX39" fmla="*/ 950729 w 1636256"/>
                    <a:gd name="connsiteY39" fmla="*/ 1522198 h 1631057"/>
                    <a:gd name="connsiteX40" fmla="*/ 911835 w 1636256"/>
                    <a:gd name="connsiteY40" fmla="*/ 1602366 h 1631057"/>
                    <a:gd name="connsiteX41" fmla="*/ 868179 w 1636256"/>
                    <a:gd name="connsiteY41" fmla="*/ 1623797 h 1631057"/>
                    <a:gd name="connsiteX42" fmla="*/ 737210 w 1636256"/>
                    <a:gd name="connsiteY42" fmla="*/ 1625385 h 1631057"/>
                    <a:gd name="connsiteX43" fmla="*/ 692760 w 1636256"/>
                    <a:gd name="connsiteY43" fmla="*/ 1599191 h 1631057"/>
                    <a:gd name="connsiteX44" fmla="*/ 635610 w 1636256"/>
                    <a:gd name="connsiteY44" fmla="*/ 1484891 h 1631057"/>
                    <a:gd name="connsiteX45" fmla="*/ 629260 w 1636256"/>
                    <a:gd name="connsiteY45" fmla="*/ 1469016 h 1631057"/>
                    <a:gd name="connsiteX46" fmla="*/ 527660 w 1636256"/>
                    <a:gd name="connsiteY46" fmla="*/ 1430916 h 1631057"/>
                    <a:gd name="connsiteX47" fmla="*/ 501318 w 1636256"/>
                    <a:gd name="connsiteY47" fmla="*/ 1414694 h 1631057"/>
                    <a:gd name="connsiteX48" fmla="*/ 489102 w 1636256"/>
                    <a:gd name="connsiteY48" fmla="*/ 1404589 h 1631057"/>
                    <a:gd name="connsiteX49" fmla="*/ 460985 w 1636256"/>
                    <a:gd name="connsiteY49" fmla="*/ 1408692 h 1631057"/>
                    <a:gd name="connsiteX50" fmla="*/ 349860 w 1636256"/>
                    <a:gd name="connsiteY50" fmla="*/ 1443617 h 1631057"/>
                    <a:gd name="connsiteX51" fmla="*/ 299060 w 1636256"/>
                    <a:gd name="connsiteY51" fmla="*/ 1453142 h 1631057"/>
                    <a:gd name="connsiteX52" fmla="*/ 187935 w 1636256"/>
                    <a:gd name="connsiteY52" fmla="*/ 1342017 h 1631057"/>
                    <a:gd name="connsiteX53" fmla="*/ 184760 w 1636256"/>
                    <a:gd name="connsiteY53" fmla="*/ 1319792 h 1631057"/>
                    <a:gd name="connsiteX54" fmla="*/ 187935 w 1636256"/>
                    <a:gd name="connsiteY54" fmla="*/ 1300742 h 1631057"/>
                    <a:gd name="connsiteX55" fmla="*/ 213335 w 1636256"/>
                    <a:gd name="connsiteY55" fmla="*/ 1202317 h 1631057"/>
                    <a:gd name="connsiteX56" fmla="*/ 229210 w 1636256"/>
                    <a:gd name="connsiteY56" fmla="*/ 1151517 h 1631057"/>
                    <a:gd name="connsiteX57" fmla="*/ 162535 w 1636256"/>
                    <a:gd name="connsiteY57" fmla="*/ 1005467 h 1631057"/>
                    <a:gd name="connsiteX58" fmla="*/ 133960 w 1636256"/>
                    <a:gd name="connsiteY58" fmla="*/ 970542 h 1631057"/>
                    <a:gd name="connsiteX59" fmla="*/ 16485 w 1636256"/>
                    <a:gd name="connsiteY59" fmla="*/ 922917 h 1631057"/>
                    <a:gd name="connsiteX60" fmla="*/ 3785 w 1636256"/>
                    <a:gd name="connsiteY60" fmla="*/ 913392 h 1631057"/>
                    <a:gd name="connsiteX61" fmla="*/ 610 w 1636256"/>
                    <a:gd name="connsiteY61" fmla="*/ 903867 h 1631057"/>
                    <a:gd name="connsiteX62" fmla="*/ 610 w 1636256"/>
                    <a:gd name="connsiteY62" fmla="*/ 795917 h 1631057"/>
                    <a:gd name="connsiteX63" fmla="*/ 6960 w 1636256"/>
                    <a:gd name="connsiteY63" fmla="*/ 710192 h 1631057"/>
                    <a:gd name="connsiteX64" fmla="*/ 133960 w 1636256"/>
                    <a:gd name="connsiteY64" fmla="*/ 646692 h 1631057"/>
                    <a:gd name="connsiteX65" fmla="*/ 159360 w 1636256"/>
                    <a:gd name="connsiteY65" fmla="*/ 633992 h 1631057"/>
                    <a:gd name="connsiteX66" fmla="*/ 168885 w 1636256"/>
                    <a:gd name="connsiteY66" fmla="*/ 630817 h 1631057"/>
                    <a:gd name="connsiteX67" fmla="*/ 188729 w 1636256"/>
                    <a:gd name="connsiteY67" fmla="*/ 553823 h 1631057"/>
                    <a:gd name="connsiteX68" fmla="*/ 226035 w 1636256"/>
                    <a:gd name="connsiteY68" fmla="*/ 484767 h 1631057"/>
                    <a:gd name="connsiteX69" fmla="*/ 219685 w 1636256"/>
                    <a:gd name="connsiteY69" fmla="*/ 462542 h 1631057"/>
                    <a:gd name="connsiteX70" fmla="*/ 172060 w 1636256"/>
                    <a:gd name="connsiteY70" fmla="*/ 303792 h 1631057"/>
                    <a:gd name="connsiteX71" fmla="*/ 302235 w 1636256"/>
                    <a:gd name="connsiteY71" fmla="*/ 167267 h 1631057"/>
                    <a:gd name="connsiteX72" fmla="*/ 488095 w 1636256"/>
                    <a:gd name="connsiteY72" fmla="*/ 1191476 h 1631057"/>
                    <a:gd name="connsiteX73" fmla="*/ 495910 w 1636256"/>
                    <a:gd name="connsiteY73" fmla="*/ 227591 h 1631057"/>
                    <a:gd name="connsiteX74" fmla="*/ 641960 w 1636256"/>
                    <a:gd name="connsiteY74" fmla="*/ 160916 h 1631057"/>
                    <a:gd name="connsiteX75" fmla="*/ 654660 w 1636256"/>
                    <a:gd name="connsiteY75" fmla="*/ 148216 h 1631057"/>
                    <a:gd name="connsiteX76" fmla="*/ 695935 w 1636256"/>
                    <a:gd name="connsiteY76" fmla="*/ 65666 h 1631057"/>
                    <a:gd name="connsiteX77" fmla="*/ 724510 w 1636256"/>
                    <a:gd name="connsiteY77" fmla="*/ 14866 h 1631057"/>
                    <a:gd name="connsiteX78" fmla="*/ 756260 w 1636256"/>
                    <a:gd name="connsiteY78" fmla="*/ 5341 h 1631057"/>
                    <a:gd name="connsiteX79" fmla="*/ 841588 w 1636256"/>
                    <a:gd name="connsiteY79" fmla="*/ 579 h 1631057"/>
                    <a:gd name="connsiteX0" fmla="*/ 841588 w 1636256"/>
                    <a:gd name="connsiteY0" fmla="*/ 579 h 1631057"/>
                    <a:gd name="connsiteX1" fmla="*/ 915010 w 1636256"/>
                    <a:gd name="connsiteY1" fmla="*/ 11691 h 1631057"/>
                    <a:gd name="connsiteX2" fmla="*/ 978510 w 1636256"/>
                    <a:gd name="connsiteY2" fmla="*/ 145041 h 1631057"/>
                    <a:gd name="connsiteX3" fmla="*/ 994385 w 1636256"/>
                    <a:gd name="connsiteY3" fmla="*/ 170441 h 1631057"/>
                    <a:gd name="connsiteX4" fmla="*/ 1152341 w 1636256"/>
                    <a:gd name="connsiteY4" fmla="*/ 226004 h 1631057"/>
                    <a:gd name="connsiteX5" fmla="*/ 1203935 w 1636256"/>
                    <a:gd name="connsiteY5" fmla="*/ 218066 h 1631057"/>
                    <a:gd name="connsiteX6" fmla="*/ 1322203 w 1636256"/>
                    <a:gd name="connsiteY6" fmla="*/ 179172 h 1631057"/>
                    <a:gd name="connsiteX7" fmla="*/ 1365860 w 1636256"/>
                    <a:gd name="connsiteY7" fmla="*/ 205366 h 1631057"/>
                    <a:gd name="connsiteX8" fmla="*/ 1461110 w 1636256"/>
                    <a:gd name="connsiteY8" fmla="*/ 303791 h 1631057"/>
                    <a:gd name="connsiteX9" fmla="*/ 1454760 w 1636256"/>
                    <a:gd name="connsiteY9" fmla="*/ 338716 h 1631057"/>
                    <a:gd name="connsiteX10" fmla="*/ 1423010 w 1636256"/>
                    <a:gd name="connsiteY10" fmla="*/ 402216 h 1631057"/>
                    <a:gd name="connsiteX11" fmla="*/ 1403960 w 1636256"/>
                    <a:gd name="connsiteY11" fmla="*/ 459366 h 1631057"/>
                    <a:gd name="connsiteX12" fmla="*/ 1403960 w 1636256"/>
                    <a:gd name="connsiteY12" fmla="*/ 506991 h 1631057"/>
                    <a:gd name="connsiteX13" fmla="*/ 1410310 w 1636256"/>
                    <a:gd name="connsiteY13" fmla="*/ 519691 h 1631057"/>
                    <a:gd name="connsiteX14" fmla="*/ 1442060 w 1636256"/>
                    <a:gd name="connsiteY14" fmla="*/ 573666 h 1631057"/>
                    <a:gd name="connsiteX15" fmla="*/ 1461110 w 1636256"/>
                    <a:gd name="connsiteY15" fmla="*/ 627641 h 1631057"/>
                    <a:gd name="connsiteX16" fmla="*/ 1467460 w 1636256"/>
                    <a:gd name="connsiteY16" fmla="*/ 646691 h 1631057"/>
                    <a:gd name="connsiteX17" fmla="*/ 1527785 w 1636256"/>
                    <a:gd name="connsiteY17" fmla="*/ 665741 h 1631057"/>
                    <a:gd name="connsiteX18" fmla="*/ 1603985 w 1636256"/>
                    <a:gd name="connsiteY18" fmla="*/ 707016 h 1631057"/>
                    <a:gd name="connsiteX19" fmla="*/ 1634942 w 1636256"/>
                    <a:gd name="connsiteY19" fmla="*/ 715747 h 1631057"/>
                    <a:gd name="connsiteX20" fmla="*/ 1632560 w 1636256"/>
                    <a:gd name="connsiteY20" fmla="*/ 903866 h 1631057"/>
                    <a:gd name="connsiteX21" fmla="*/ 1613510 w 1636256"/>
                    <a:gd name="connsiteY21" fmla="*/ 913391 h 1631057"/>
                    <a:gd name="connsiteX22" fmla="*/ 1483335 w 1636256"/>
                    <a:gd name="connsiteY22" fmla="*/ 983241 h 1631057"/>
                    <a:gd name="connsiteX23" fmla="*/ 1464285 w 1636256"/>
                    <a:gd name="connsiteY23" fmla="*/ 989591 h 1631057"/>
                    <a:gd name="connsiteX24" fmla="*/ 1454760 w 1636256"/>
                    <a:gd name="connsiteY24" fmla="*/ 1014991 h 1631057"/>
                    <a:gd name="connsiteX25" fmla="*/ 1442060 w 1636256"/>
                    <a:gd name="connsiteY25" fmla="*/ 1065791 h 1631057"/>
                    <a:gd name="connsiteX26" fmla="*/ 1410310 w 1636256"/>
                    <a:gd name="connsiteY26" fmla="*/ 1135641 h 1631057"/>
                    <a:gd name="connsiteX27" fmla="*/ 1403960 w 1636256"/>
                    <a:gd name="connsiteY27" fmla="*/ 1145166 h 1631057"/>
                    <a:gd name="connsiteX28" fmla="*/ 1432535 w 1636256"/>
                    <a:gd name="connsiteY28" fmla="*/ 1234066 h 1631057"/>
                    <a:gd name="connsiteX29" fmla="*/ 1461110 w 1636256"/>
                    <a:gd name="connsiteY29" fmla="*/ 1291216 h 1631057"/>
                    <a:gd name="connsiteX30" fmla="*/ 1453966 w 1636256"/>
                    <a:gd name="connsiteY30" fmla="*/ 1334078 h 1631057"/>
                    <a:gd name="connsiteX31" fmla="*/ 1381735 w 1636256"/>
                    <a:gd name="connsiteY31" fmla="*/ 1427741 h 1631057"/>
                    <a:gd name="connsiteX32" fmla="*/ 1330935 w 1636256"/>
                    <a:gd name="connsiteY32" fmla="*/ 1462666 h 1631057"/>
                    <a:gd name="connsiteX33" fmla="*/ 1321410 w 1636256"/>
                    <a:gd name="connsiteY33" fmla="*/ 1465841 h 1631057"/>
                    <a:gd name="connsiteX34" fmla="*/ 1302360 w 1636256"/>
                    <a:gd name="connsiteY34" fmla="*/ 1459491 h 1631057"/>
                    <a:gd name="connsiteX35" fmla="*/ 1203935 w 1636256"/>
                    <a:gd name="connsiteY35" fmla="*/ 1424566 h 1631057"/>
                    <a:gd name="connsiteX36" fmla="*/ 1143610 w 1636256"/>
                    <a:gd name="connsiteY36" fmla="*/ 1408691 h 1631057"/>
                    <a:gd name="connsiteX37" fmla="*/ 1121385 w 1636256"/>
                    <a:gd name="connsiteY37" fmla="*/ 1411866 h 1631057"/>
                    <a:gd name="connsiteX38" fmla="*/ 988035 w 1636256"/>
                    <a:gd name="connsiteY38" fmla="*/ 1453141 h 1631057"/>
                    <a:gd name="connsiteX39" fmla="*/ 950729 w 1636256"/>
                    <a:gd name="connsiteY39" fmla="*/ 1522198 h 1631057"/>
                    <a:gd name="connsiteX40" fmla="*/ 911835 w 1636256"/>
                    <a:gd name="connsiteY40" fmla="*/ 1602366 h 1631057"/>
                    <a:gd name="connsiteX41" fmla="*/ 868179 w 1636256"/>
                    <a:gd name="connsiteY41" fmla="*/ 1623797 h 1631057"/>
                    <a:gd name="connsiteX42" fmla="*/ 737210 w 1636256"/>
                    <a:gd name="connsiteY42" fmla="*/ 1625385 h 1631057"/>
                    <a:gd name="connsiteX43" fmla="*/ 692760 w 1636256"/>
                    <a:gd name="connsiteY43" fmla="*/ 1599191 h 1631057"/>
                    <a:gd name="connsiteX44" fmla="*/ 635610 w 1636256"/>
                    <a:gd name="connsiteY44" fmla="*/ 1484891 h 1631057"/>
                    <a:gd name="connsiteX45" fmla="*/ 629260 w 1636256"/>
                    <a:gd name="connsiteY45" fmla="*/ 1469016 h 1631057"/>
                    <a:gd name="connsiteX46" fmla="*/ 527660 w 1636256"/>
                    <a:gd name="connsiteY46" fmla="*/ 1430916 h 1631057"/>
                    <a:gd name="connsiteX47" fmla="*/ 501318 w 1636256"/>
                    <a:gd name="connsiteY47" fmla="*/ 1414694 h 1631057"/>
                    <a:gd name="connsiteX48" fmla="*/ 489102 w 1636256"/>
                    <a:gd name="connsiteY48" fmla="*/ 1404589 h 1631057"/>
                    <a:gd name="connsiteX49" fmla="*/ 460985 w 1636256"/>
                    <a:gd name="connsiteY49" fmla="*/ 1408692 h 1631057"/>
                    <a:gd name="connsiteX50" fmla="*/ 349860 w 1636256"/>
                    <a:gd name="connsiteY50" fmla="*/ 1443617 h 1631057"/>
                    <a:gd name="connsiteX51" fmla="*/ 299060 w 1636256"/>
                    <a:gd name="connsiteY51" fmla="*/ 1453142 h 1631057"/>
                    <a:gd name="connsiteX52" fmla="*/ 187935 w 1636256"/>
                    <a:gd name="connsiteY52" fmla="*/ 1342017 h 1631057"/>
                    <a:gd name="connsiteX53" fmla="*/ 184760 w 1636256"/>
                    <a:gd name="connsiteY53" fmla="*/ 1319792 h 1631057"/>
                    <a:gd name="connsiteX54" fmla="*/ 187935 w 1636256"/>
                    <a:gd name="connsiteY54" fmla="*/ 1300742 h 1631057"/>
                    <a:gd name="connsiteX55" fmla="*/ 213335 w 1636256"/>
                    <a:gd name="connsiteY55" fmla="*/ 1202317 h 1631057"/>
                    <a:gd name="connsiteX56" fmla="*/ 229210 w 1636256"/>
                    <a:gd name="connsiteY56" fmla="*/ 1151517 h 1631057"/>
                    <a:gd name="connsiteX57" fmla="*/ 162535 w 1636256"/>
                    <a:gd name="connsiteY57" fmla="*/ 1005467 h 1631057"/>
                    <a:gd name="connsiteX58" fmla="*/ 133960 w 1636256"/>
                    <a:gd name="connsiteY58" fmla="*/ 970542 h 1631057"/>
                    <a:gd name="connsiteX59" fmla="*/ 16485 w 1636256"/>
                    <a:gd name="connsiteY59" fmla="*/ 922917 h 1631057"/>
                    <a:gd name="connsiteX60" fmla="*/ 3785 w 1636256"/>
                    <a:gd name="connsiteY60" fmla="*/ 913392 h 1631057"/>
                    <a:gd name="connsiteX61" fmla="*/ 610 w 1636256"/>
                    <a:gd name="connsiteY61" fmla="*/ 903867 h 1631057"/>
                    <a:gd name="connsiteX62" fmla="*/ 610 w 1636256"/>
                    <a:gd name="connsiteY62" fmla="*/ 795917 h 1631057"/>
                    <a:gd name="connsiteX63" fmla="*/ 6960 w 1636256"/>
                    <a:gd name="connsiteY63" fmla="*/ 710192 h 1631057"/>
                    <a:gd name="connsiteX64" fmla="*/ 133960 w 1636256"/>
                    <a:gd name="connsiteY64" fmla="*/ 646692 h 1631057"/>
                    <a:gd name="connsiteX65" fmla="*/ 159360 w 1636256"/>
                    <a:gd name="connsiteY65" fmla="*/ 633992 h 1631057"/>
                    <a:gd name="connsiteX66" fmla="*/ 168885 w 1636256"/>
                    <a:gd name="connsiteY66" fmla="*/ 630817 h 1631057"/>
                    <a:gd name="connsiteX67" fmla="*/ 188729 w 1636256"/>
                    <a:gd name="connsiteY67" fmla="*/ 553823 h 1631057"/>
                    <a:gd name="connsiteX68" fmla="*/ 226035 w 1636256"/>
                    <a:gd name="connsiteY68" fmla="*/ 484767 h 1631057"/>
                    <a:gd name="connsiteX69" fmla="*/ 219685 w 1636256"/>
                    <a:gd name="connsiteY69" fmla="*/ 462542 h 1631057"/>
                    <a:gd name="connsiteX70" fmla="*/ 172060 w 1636256"/>
                    <a:gd name="connsiteY70" fmla="*/ 303792 h 1631057"/>
                    <a:gd name="connsiteX71" fmla="*/ 302235 w 1636256"/>
                    <a:gd name="connsiteY71" fmla="*/ 167267 h 1631057"/>
                    <a:gd name="connsiteX72" fmla="*/ 495910 w 1636256"/>
                    <a:gd name="connsiteY72" fmla="*/ 227591 h 1631057"/>
                    <a:gd name="connsiteX73" fmla="*/ 641960 w 1636256"/>
                    <a:gd name="connsiteY73" fmla="*/ 160916 h 1631057"/>
                    <a:gd name="connsiteX74" fmla="*/ 654660 w 1636256"/>
                    <a:gd name="connsiteY74" fmla="*/ 148216 h 1631057"/>
                    <a:gd name="connsiteX75" fmla="*/ 695935 w 1636256"/>
                    <a:gd name="connsiteY75" fmla="*/ 65666 h 1631057"/>
                    <a:gd name="connsiteX76" fmla="*/ 724510 w 1636256"/>
                    <a:gd name="connsiteY76" fmla="*/ 14866 h 1631057"/>
                    <a:gd name="connsiteX77" fmla="*/ 756260 w 1636256"/>
                    <a:gd name="connsiteY77" fmla="*/ 5341 h 1631057"/>
                    <a:gd name="connsiteX78" fmla="*/ 841588 w 1636256"/>
                    <a:gd name="connsiteY78" fmla="*/ 579 h 1631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</a:cxnLst>
                  <a:rect l="l" t="t" r="r" b="b"/>
                  <a:pathLst>
                    <a:path w="1636256" h="1631057">
                      <a:moveTo>
                        <a:pt x="841588" y="579"/>
                      </a:moveTo>
                      <a:cubicBezTo>
                        <a:pt x="870031" y="-1009"/>
                        <a:pt x="896489" y="50"/>
                        <a:pt x="915010" y="11691"/>
                      </a:cubicBezTo>
                      <a:cubicBezTo>
                        <a:pt x="952052" y="34974"/>
                        <a:pt x="965281" y="118583"/>
                        <a:pt x="978510" y="145041"/>
                      </a:cubicBezTo>
                      <a:cubicBezTo>
                        <a:pt x="991739" y="171499"/>
                        <a:pt x="965413" y="156947"/>
                        <a:pt x="994385" y="170441"/>
                      </a:cubicBezTo>
                      <a:cubicBezTo>
                        <a:pt x="1023357" y="183935"/>
                        <a:pt x="1081697" y="184730"/>
                        <a:pt x="1152341" y="226004"/>
                      </a:cubicBezTo>
                      <a:cubicBezTo>
                        <a:pt x="1187266" y="233941"/>
                        <a:pt x="1175625" y="225871"/>
                        <a:pt x="1203935" y="218066"/>
                      </a:cubicBezTo>
                      <a:cubicBezTo>
                        <a:pt x="1232245" y="210261"/>
                        <a:pt x="1295216" y="181289"/>
                        <a:pt x="1322203" y="179172"/>
                      </a:cubicBezTo>
                      <a:cubicBezTo>
                        <a:pt x="1335961" y="185522"/>
                        <a:pt x="1342709" y="184596"/>
                        <a:pt x="1365860" y="205366"/>
                      </a:cubicBezTo>
                      <a:cubicBezTo>
                        <a:pt x="1389011" y="226136"/>
                        <a:pt x="1446293" y="281566"/>
                        <a:pt x="1461110" y="303791"/>
                      </a:cubicBezTo>
                      <a:cubicBezTo>
                        <a:pt x="1475927" y="326016"/>
                        <a:pt x="1461110" y="322312"/>
                        <a:pt x="1454760" y="338716"/>
                      </a:cubicBezTo>
                      <a:cubicBezTo>
                        <a:pt x="1448410" y="355120"/>
                        <a:pt x="1431477" y="382108"/>
                        <a:pt x="1423010" y="402216"/>
                      </a:cubicBezTo>
                      <a:cubicBezTo>
                        <a:pt x="1414543" y="422324"/>
                        <a:pt x="1407664" y="448254"/>
                        <a:pt x="1403960" y="459366"/>
                      </a:cubicBezTo>
                      <a:lnTo>
                        <a:pt x="1403960" y="506991"/>
                      </a:lnTo>
                      <a:cubicBezTo>
                        <a:pt x="1404832" y="511643"/>
                        <a:pt x="1403960" y="508579"/>
                        <a:pt x="1410310" y="519691"/>
                      </a:cubicBezTo>
                      <a:cubicBezTo>
                        <a:pt x="1416660" y="530803"/>
                        <a:pt x="1433593" y="555674"/>
                        <a:pt x="1442060" y="573666"/>
                      </a:cubicBezTo>
                      <a:cubicBezTo>
                        <a:pt x="1450527" y="591658"/>
                        <a:pt x="1456877" y="615470"/>
                        <a:pt x="1461110" y="627641"/>
                      </a:cubicBezTo>
                      <a:cubicBezTo>
                        <a:pt x="1465343" y="639812"/>
                        <a:pt x="1456348" y="640341"/>
                        <a:pt x="1467460" y="646691"/>
                      </a:cubicBezTo>
                      <a:cubicBezTo>
                        <a:pt x="1478572" y="653041"/>
                        <a:pt x="1505031" y="655687"/>
                        <a:pt x="1527785" y="665741"/>
                      </a:cubicBezTo>
                      <a:cubicBezTo>
                        <a:pt x="1550539" y="675795"/>
                        <a:pt x="1586125" y="698682"/>
                        <a:pt x="1603985" y="707016"/>
                      </a:cubicBezTo>
                      <a:cubicBezTo>
                        <a:pt x="1621845" y="715350"/>
                        <a:pt x="1628592" y="713630"/>
                        <a:pt x="1634942" y="715747"/>
                      </a:cubicBezTo>
                      <a:cubicBezTo>
                        <a:pt x="1636631" y="805271"/>
                        <a:pt x="1637457" y="825687"/>
                        <a:pt x="1632560" y="903866"/>
                      </a:cubicBezTo>
                      <a:cubicBezTo>
                        <a:pt x="1626210" y="907041"/>
                        <a:pt x="1638381" y="900162"/>
                        <a:pt x="1613510" y="913391"/>
                      </a:cubicBezTo>
                      <a:lnTo>
                        <a:pt x="1483335" y="983241"/>
                      </a:lnTo>
                      <a:lnTo>
                        <a:pt x="1464285" y="989591"/>
                      </a:lnTo>
                      <a:cubicBezTo>
                        <a:pt x="1461110" y="998058"/>
                        <a:pt x="1458464" y="1002291"/>
                        <a:pt x="1454760" y="1014991"/>
                      </a:cubicBezTo>
                      <a:cubicBezTo>
                        <a:pt x="1451056" y="1027691"/>
                        <a:pt x="1449468" y="1045683"/>
                        <a:pt x="1442060" y="1065791"/>
                      </a:cubicBezTo>
                      <a:cubicBezTo>
                        <a:pt x="1434652" y="1085899"/>
                        <a:pt x="1416660" y="1122412"/>
                        <a:pt x="1410310" y="1135641"/>
                      </a:cubicBezTo>
                      <a:cubicBezTo>
                        <a:pt x="1403960" y="1148870"/>
                        <a:pt x="1406077" y="1141991"/>
                        <a:pt x="1403960" y="1145166"/>
                      </a:cubicBezTo>
                      <a:cubicBezTo>
                        <a:pt x="1407664" y="1161570"/>
                        <a:pt x="1423010" y="1209724"/>
                        <a:pt x="1432535" y="1234066"/>
                      </a:cubicBezTo>
                      <a:cubicBezTo>
                        <a:pt x="1442060" y="1258408"/>
                        <a:pt x="1455818" y="1279574"/>
                        <a:pt x="1461110" y="1291216"/>
                      </a:cubicBezTo>
                      <a:cubicBezTo>
                        <a:pt x="1465872" y="1310266"/>
                        <a:pt x="1467195" y="1311324"/>
                        <a:pt x="1453966" y="1334078"/>
                      </a:cubicBezTo>
                      <a:cubicBezTo>
                        <a:pt x="1440737" y="1356832"/>
                        <a:pt x="1402240" y="1406310"/>
                        <a:pt x="1381735" y="1427741"/>
                      </a:cubicBezTo>
                      <a:cubicBezTo>
                        <a:pt x="1361230" y="1449172"/>
                        <a:pt x="1340989" y="1456316"/>
                        <a:pt x="1330935" y="1462666"/>
                      </a:cubicBezTo>
                      <a:cubicBezTo>
                        <a:pt x="1320881" y="1469016"/>
                        <a:pt x="1324585" y="1464783"/>
                        <a:pt x="1321410" y="1465841"/>
                      </a:cubicBezTo>
                      <a:lnTo>
                        <a:pt x="1302360" y="1459491"/>
                      </a:lnTo>
                      <a:cubicBezTo>
                        <a:pt x="1269552" y="1447849"/>
                        <a:pt x="1230393" y="1433033"/>
                        <a:pt x="1203935" y="1424566"/>
                      </a:cubicBezTo>
                      <a:cubicBezTo>
                        <a:pt x="1177477" y="1416099"/>
                        <a:pt x="1157368" y="1410808"/>
                        <a:pt x="1143610" y="1408691"/>
                      </a:cubicBezTo>
                      <a:cubicBezTo>
                        <a:pt x="1129852" y="1406574"/>
                        <a:pt x="1147314" y="1404458"/>
                        <a:pt x="1121385" y="1411866"/>
                      </a:cubicBezTo>
                      <a:cubicBezTo>
                        <a:pt x="1095456" y="1419274"/>
                        <a:pt x="1016478" y="1434752"/>
                        <a:pt x="988035" y="1453141"/>
                      </a:cubicBezTo>
                      <a:cubicBezTo>
                        <a:pt x="959592" y="1471530"/>
                        <a:pt x="963429" y="1497327"/>
                        <a:pt x="950729" y="1522198"/>
                      </a:cubicBezTo>
                      <a:cubicBezTo>
                        <a:pt x="938029" y="1547069"/>
                        <a:pt x="925593" y="1585433"/>
                        <a:pt x="911835" y="1602366"/>
                      </a:cubicBezTo>
                      <a:cubicBezTo>
                        <a:pt x="898077" y="1619299"/>
                        <a:pt x="902046" y="1619564"/>
                        <a:pt x="868179" y="1623797"/>
                      </a:cubicBezTo>
                      <a:cubicBezTo>
                        <a:pt x="831064" y="1636526"/>
                        <a:pt x="766447" y="1629486"/>
                        <a:pt x="737210" y="1625385"/>
                      </a:cubicBezTo>
                      <a:cubicBezTo>
                        <a:pt x="707974" y="1621284"/>
                        <a:pt x="704931" y="1623004"/>
                        <a:pt x="692760" y="1599191"/>
                      </a:cubicBezTo>
                      <a:cubicBezTo>
                        <a:pt x="680589" y="1575379"/>
                        <a:pt x="646193" y="1506587"/>
                        <a:pt x="635610" y="1484891"/>
                      </a:cubicBezTo>
                      <a:cubicBezTo>
                        <a:pt x="625027" y="1463195"/>
                        <a:pt x="647252" y="1478012"/>
                        <a:pt x="629260" y="1469016"/>
                      </a:cubicBezTo>
                      <a:cubicBezTo>
                        <a:pt x="611268" y="1460020"/>
                        <a:pt x="551473" y="1442029"/>
                        <a:pt x="527660" y="1430916"/>
                      </a:cubicBezTo>
                      <a:cubicBezTo>
                        <a:pt x="515754" y="1425360"/>
                        <a:pt x="507585" y="1419705"/>
                        <a:pt x="501318" y="1414694"/>
                      </a:cubicBezTo>
                      <a:lnTo>
                        <a:pt x="489102" y="1404589"/>
                      </a:lnTo>
                      <a:lnTo>
                        <a:pt x="460985" y="1408692"/>
                      </a:lnTo>
                      <a:cubicBezTo>
                        <a:pt x="431616" y="1415836"/>
                        <a:pt x="376847" y="1436209"/>
                        <a:pt x="349860" y="1443617"/>
                      </a:cubicBezTo>
                      <a:cubicBezTo>
                        <a:pt x="322873" y="1451025"/>
                        <a:pt x="326048" y="1470075"/>
                        <a:pt x="299060" y="1453142"/>
                      </a:cubicBezTo>
                      <a:cubicBezTo>
                        <a:pt x="272073" y="1436209"/>
                        <a:pt x="206985" y="1364242"/>
                        <a:pt x="187935" y="1342017"/>
                      </a:cubicBezTo>
                      <a:cubicBezTo>
                        <a:pt x="168885" y="1319792"/>
                        <a:pt x="185818" y="1327200"/>
                        <a:pt x="184760" y="1319792"/>
                      </a:cubicBezTo>
                      <a:cubicBezTo>
                        <a:pt x="185818" y="1313442"/>
                        <a:pt x="183173" y="1320321"/>
                        <a:pt x="187935" y="1300742"/>
                      </a:cubicBezTo>
                      <a:cubicBezTo>
                        <a:pt x="192697" y="1281163"/>
                        <a:pt x="206456" y="1227188"/>
                        <a:pt x="213335" y="1202317"/>
                      </a:cubicBezTo>
                      <a:cubicBezTo>
                        <a:pt x="223867" y="1181253"/>
                        <a:pt x="237677" y="1184325"/>
                        <a:pt x="229210" y="1151517"/>
                      </a:cubicBezTo>
                      <a:cubicBezTo>
                        <a:pt x="220743" y="1118709"/>
                        <a:pt x="178410" y="1035629"/>
                        <a:pt x="162535" y="1005467"/>
                      </a:cubicBezTo>
                      <a:cubicBezTo>
                        <a:pt x="153666" y="987728"/>
                        <a:pt x="158302" y="984300"/>
                        <a:pt x="133960" y="970542"/>
                      </a:cubicBezTo>
                      <a:cubicBezTo>
                        <a:pt x="109618" y="956784"/>
                        <a:pt x="38181" y="932442"/>
                        <a:pt x="16485" y="922917"/>
                      </a:cubicBezTo>
                      <a:cubicBezTo>
                        <a:pt x="-5211" y="913392"/>
                        <a:pt x="7173" y="917457"/>
                        <a:pt x="3785" y="913392"/>
                      </a:cubicBezTo>
                      <a:cubicBezTo>
                        <a:pt x="1642" y="910821"/>
                        <a:pt x="840" y="907206"/>
                        <a:pt x="610" y="903867"/>
                      </a:cubicBezTo>
                      <a:cubicBezTo>
                        <a:pt x="81" y="884288"/>
                        <a:pt x="-448" y="828196"/>
                        <a:pt x="610" y="795917"/>
                      </a:cubicBezTo>
                      <a:cubicBezTo>
                        <a:pt x="1668" y="763638"/>
                        <a:pt x="-1340" y="751693"/>
                        <a:pt x="6960" y="710192"/>
                      </a:cubicBezTo>
                      <a:lnTo>
                        <a:pt x="133960" y="646692"/>
                      </a:lnTo>
                      <a:cubicBezTo>
                        <a:pt x="142427" y="642459"/>
                        <a:pt x="150742" y="637909"/>
                        <a:pt x="159360" y="633992"/>
                      </a:cubicBezTo>
                      <a:cubicBezTo>
                        <a:pt x="162407" y="632607"/>
                        <a:pt x="163990" y="644178"/>
                        <a:pt x="168885" y="630817"/>
                      </a:cubicBezTo>
                      <a:cubicBezTo>
                        <a:pt x="173780" y="617456"/>
                        <a:pt x="174895" y="576001"/>
                        <a:pt x="188729" y="553823"/>
                      </a:cubicBezTo>
                      <a:cubicBezTo>
                        <a:pt x="205398" y="527100"/>
                        <a:pt x="219685" y="502759"/>
                        <a:pt x="226035" y="484767"/>
                      </a:cubicBezTo>
                      <a:cubicBezTo>
                        <a:pt x="225018" y="480698"/>
                        <a:pt x="228681" y="492705"/>
                        <a:pt x="219685" y="462542"/>
                      </a:cubicBezTo>
                      <a:cubicBezTo>
                        <a:pt x="210689" y="432380"/>
                        <a:pt x="179733" y="355385"/>
                        <a:pt x="172060" y="303792"/>
                      </a:cubicBezTo>
                      <a:lnTo>
                        <a:pt x="302235" y="167267"/>
                      </a:lnTo>
                      <a:lnTo>
                        <a:pt x="495910" y="227591"/>
                      </a:lnTo>
                      <a:cubicBezTo>
                        <a:pt x="544593" y="205366"/>
                        <a:pt x="567083" y="180759"/>
                        <a:pt x="641960" y="160916"/>
                      </a:cubicBezTo>
                      <a:cubicBezTo>
                        <a:pt x="670554" y="153338"/>
                        <a:pt x="645664" y="164091"/>
                        <a:pt x="654660" y="148216"/>
                      </a:cubicBezTo>
                      <a:cubicBezTo>
                        <a:pt x="663656" y="132341"/>
                        <a:pt x="684293" y="87891"/>
                        <a:pt x="695935" y="65666"/>
                      </a:cubicBezTo>
                      <a:cubicBezTo>
                        <a:pt x="707577" y="43441"/>
                        <a:pt x="714456" y="24920"/>
                        <a:pt x="724510" y="14866"/>
                      </a:cubicBezTo>
                      <a:cubicBezTo>
                        <a:pt x="734564" y="4812"/>
                        <a:pt x="742271" y="7339"/>
                        <a:pt x="756260" y="5341"/>
                      </a:cubicBezTo>
                      <a:cubicBezTo>
                        <a:pt x="782719" y="6400"/>
                        <a:pt x="813146" y="2167"/>
                        <a:pt x="841588" y="579"/>
                      </a:cubicBezTo>
                      <a:close/>
                    </a:path>
                  </a:pathLst>
                </a:custGeom>
                <a:solidFill>
                  <a:srgbClr val="FBCCD0"/>
                </a:solidFill>
                <a:ln w="12700">
                  <a:noFill/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endParaRPr lang="da-DK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8" name="Freeform: Shape 147">
                  <a:extLst>
                    <a:ext uri="{FF2B5EF4-FFF2-40B4-BE49-F238E27FC236}">
                      <a16:creationId xmlns:a16="http://schemas.microsoft.com/office/drawing/2014/main" id="{B81F0935-BCD6-44BB-84BF-39453E719097}"/>
                    </a:ext>
                  </a:extLst>
                </p:cNvPr>
                <p:cNvSpPr/>
                <p:nvPr/>
              </p:nvSpPr>
              <p:spPr>
                <a:xfrm>
                  <a:off x="3376870" y="4310132"/>
                  <a:ext cx="1149871" cy="1631057"/>
                </a:xfrm>
                <a:custGeom>
                  <a:avLst/>
                  <a:gdLst>
                    <a:gd name="connsiteX0" fmla="*/ 9525 w 1146175"/>
                    <a:gd name="connsiteY0" fmla="*/ 222250 h 1655757"/>
                    <a:gd name="connsiteX1" fmla="*/ 28575 w 1146175"/>
                    <a:gd name="connsiteY1" fmla="*/ 206375 h 1655757"/>
                    <a:gd name="connsiteX2" fmla="*/ 50800 w 1146175"/>
                    <a:gd name="connsiteY2" fmla="*/ 200025 h 1655757"/>
                    <a:gd name="connsiteX3" fmla="*/ 73025 w 1146175"/>
                    <a:gd name="connsiteY3" fmla="*/ 190500 h 1655757"/>
                    <a:gd name="connsiteX4" fmla="*/ 85725 w 1146175"/>
                    <a:gd name="connsiteY4" fmla="*/ 187325 h 1655757"/>
                    <a:gd name="connsiteX5" fmla="*/ 111125 w 1146175"/>
                    <a:gd name="connsiteY5" fmla="*/ 168275 h 1655757"/>
                    <a:gd name="connsiteX6" fmla="*/ 127000 w 1146175"/>
                    <a:gd name="connsiteY6" fmla="*/ 165100 h 1655757"/>
                    <a:gd name="connsiteX7" fmla="*/ 139700 w 1146175"/>
                    <a:gd name="connsiteY7" fmla="*/ 158750 h 1655757"/>
                    <a:gd name="connsiteX8" fmla="*/ 155575 w 1146175"/>
                    <a:gd name="connsiteY8" fmla="*/ 155575 h 1655757"/>
                    <a:gd name="connsiteX9" fmla="*/ 168275 w 1146175"/>
                    <a:gd name="connsiteY9" fmla="*/ 142875 h 1655757"/>
                    <a:gd name="connsiteX10" fmla="*/ 180975 w 1146175"/>
                    <a:gd name="connsiteY10" fmla="*/ 127000 h 1655757"/>
                    <a:gd name="connsiteX11" fmla="*/ 193675 w 1146175"/>
                    <a:gd name="connsiteY11" fmla="*/ 107950 h 1655757"/>
                    <a:gd name="connsiteX12" fmla="*/ 206375 w 1146175"/>
                    <a:gd name="connsiteY12" fmla="*/ 73025 h 1655757"/>
                    <a:gd name="connsiteX13" fmla="*/ 209550 w 1146175"/>
                    <a:gd name="connsiteY13" fmla="*/ 60325 h 1655757"/>
                    <a:gd name="connsiteX14" fmla="*/ 228600 w 1146175"/>
                    <a:gd name="connsiteY14" fmla="*/ 28575 h 1655757"/>
                    <a:gd name="connsiteX15" fmla="*/ 238125 w 1146175"/>
                    <a:gd name="connsiteY15" fmla="*/ 9525 h 1655757"/>
                    <a:gd name="connsiteX16" fmla="*/ 269875 w 1146175"/>
                    <a:gd name="connsiteY16" fmla="*/ 0 h 1655757"/>
                    <a:gd name="connsiteX17" fmla="*/ 428625 w 1146175"/>
                    <a:gd name="connsiteY17" fmla="*/ 6350 h 1655757"/>
                    <a:gd name="connsiteX18" fmla="*/ 434975 w 1146175"/>
                    <a:gd name="connsiteY18" fmla="*/ 19050 h 1655757"/>
                    <a:gd name="connsiteX19" fmla="*/ 441325 w 1146175"/>
                    <a:gd name="connsiteY19" fmla="*/ 34925 h 1655757"/>
                    <a:gd name="connsiteX20" fmla="*/ 447675 w 1146175"/>
                    <a:gd name="connsiteY20" fmla="*/ 44450 h 1655757"/>
                    <a:gd name="connsiteX21" fmla="*/ 454025 w 1146175"/>
                    <a:gd name="connsiteY21" fmla="*/ 60325 h 1655757"/>
                    <a:gd name="connsiteX22" fmla="*/ 460375 w 1146175"/>
                    <a:gd name="connsiteY22" fmla="*/ 69850 h 1655757"/>
                    <a:gd name="connsiteX23" fmla="*/ 476250 w 1146175"/>
                    <a:gd name="connsiteY23" fmla="*/ 101600 h 1655757"/>
                    <a:gd name="connsiteX24" fmla="*/ 479425 w 1146175"/>
                    <a:gd name="connsiteY24" fmla="*/ 117475 h 1655757"/>
                    <a:gd name="connsiteX25" fmla="*/ 485775 w 1146175"/>
                    <a:gd name="connsiteY25" fmla="*/ 127000 h 1655757"/>
                    <a:gd name="connsiteX26" fmla="*/ 492125 w 1146175"/>
                    <a:gd name="connsiteY26" fmla="*/ 139700 h 1655757"/>
                    <a:gd name="connsiteX27" fmla="*/ 508000 w 1146175"/>
                    <a:gd name="connsiteY27" fmla="*/ 165100 h 1655757"/>
                    <a:gd name="connsiteX28" fmla="*/ 527050 w 1146175"/>
                    <a:gd name="connsiteY28" fmla="*/ 168275 h 1655757"/>
                    <a:gd name="connsiteX29" fmla="*/ 558800 w 1146175"/>
                    <a:gd name="connsiteY29" fmla="*/ 184150 h 1655757"/>
                    <a:gd name="connsiteX30" fmla="*/ 574675 w 1146175"/>
                    <a:gd name="connsiteY30" fmla="*/ 187325 h 1655757"/>
                    <a:gd name="connsiteX31" fmla="*/ 635000 w 1146175"/>
                    <a:gd name="connsiteY31" fmla="*/ 215900 h 1655757"/>
                    <a:gd name="connsiteX32" fmla="*/ 717550 w 1146175"/>
                    <a:gd name="connsiteY32" fmla="*/ 212725 h 1655757"/>
                    <a:gd name="connsiteX33" fmla="*/ 733425 w 1146175"/>
                    <a:gd name="connsiteY33" fmla="*/ 206375 h 1655757"/>
                    <a:gd name="connsiteX34" fmla="*/ 771525 w 1146175"/>
                    <a:gd name="connsiteY34" fmla="*/ 200025 h 1655757"/>
                    <a:gd name="connsiteX35" fmla="*/ 796925 w 1146175"/>
                    <a:gd name="connsiteY35" fmla="*/ 190500 h 1655757"/>
                    <a:gd name="connsiteX36" fmla="*/ 838200 w 1146175"/>
                    <a:gd name="connsiteY36" fmla="*/ 180975 h 1655757"/>
                    <a:gd name="connsiteX37" fmla="*/ 879475 w 1146175"/>
                    <a:gd name="connsiteY37" fmla="*/ 200025 h 1655757"/>
                    <a:gd name="connsiteX38" fmla="*/ 885825 w 1146175"/>
                    <a:gd name="connsiteY38" fmla="*/ 209550 h 1655757"/>
                    <a:gd name="connsiteX39" fmla="*/ 901700 w 1146175"/>
                    <a:gd name="connsiteY39" fmla="*/ 225425 h 1655757"/>
                    <a:gd name="connsiteX40" fmla="*/ 917575 w 1146175"/>
                    <a:gd name="connsiteY40" fmla="*/ 238125 h 1655757"/>
                    <a:gd name="connsiteX41" fmla="*/ 936625 w 1146175"/>
                    <a:gd name="connsiteY41" fmla="*/ 250825 h 1655757"/>
                    <a:gd name="connsiteX42" fmla="*/ 955675 w 1146175"/>
                    <a:gd name="connsiteY42" fmla="*/ 273050 h 1655757"/>
                    <a:gd name="connsiteX43" fmla="*/ 974725 w 1146175"/>
                    <a:gd name="connsiteY43" fmla="*/ 298450 h 1655757"/>
                    <a:gd name="connsiteX44" fmla="*/ 968375 w 1146175"/>
                    <a:gd name="connsiteY44" fmla="*/ 333375 h 1655757"/>
                    <a:gd name="connsiteX45" fmla="*/ 965200 w 1146175"/>
                    <a:gd name="connsiteY45" fmla="*/ 342900 h 1655757"/>
                    <a:gd name="connsiteX46" fmla="*/ 949325 w 1146175"/>
                    <a:gd name="connsiteY46" fmla="*/ 361950 h 1655757"/>
                    <a:gd name="connsiteX47" fmla="*/ 939800 w 1146175"/>
                    <a:gd name="connsiteY47" fmla="*/ 384175 h 1655757"/>
                    <a:gd name="connsiteX48" fmla="*/ 936625 w 1146175"/>
                    <a:gd name="connsiteY48" fmla="*/ 396875 h 1655757"/>
                    <a:gd name="connsiteX49" fmla="*/ 930275 w 1146175"/>
                    <a:gd name="connsiteY49" fmla="*/ 412750 h 1655757"/>
                    <a:gd name="connsiteX50" fmla="*/ 927100 w 1146175"/>
                    <a:gd name="connsiteY50" fmla="*/ 425450 h 1655757"/>
                    <a:gd name="connsiteX51" fmla="*/ 920750 w 1146175"/>
                    <a:gd name="connsiteY51" fmla="*/ 441325 h 1655757"/>
                    <a:gd name="connsiteX52" fmla="*/ 917575 w 1146175"/>
                    <a:gd name="connsiteY52" fmla="*/ 454025 h 1655757"/>
                    <a:gd name="connsiteX53" fmla="*/ 914400 w 1146175"/>
                    <a:gd name="connsiteY53" fmla="*/ 463550 h 1655757"/>
                    <a:gd name="connsiteX54" fmla="*/ 917575 w 1146175"/>
                    <a:gd name="connsiteY54" fmla="*/ 501650 h 1655757"/>
                    <a:gd name="connsiteX55" fmla="*/ 923925 w 1146175"/>
                    <a:gd name="connsiteY55" fmla="*/ 514350 h 1655757"/>
                    <a:gd name="connsiteX56" fmla="*/ 939800 w 1146175"/>
                    <a:gd name="connsiteY56" fmla="*/ 533400 h 1655757"/>
                    <a:gd name="connsiteX57" fmla="*/ 942975 w 1146175"/>
                    <a:gd name="connsiteY57" fmla="*/ 542925 h 1655757"/>
                    <a:gd name="connsiteX58" fmla="*/ 955675 w 1146175"/>
                    <a:gd name="connsiteY58" fmla="*/ 568325 h 1655757"/>
                    <a:gd name="connsiteX59" fmla="*/ 968375 w 1146175"/>
                    <a:gd name="connsiteY59" fmla="*/ 609600 h 1655757"/>
                    <a:gd name="connsiteX60" fmla="*/ 974725 w 1146175"/>
                    <a:gd name="connsiteY60" fmla="*/ 622300 h 1655757"/>
                    <a:gd name="connsiteX61" fmla="*/ 981075 w 1146175"/>
                    <a:gd name="connsiteY61" fmla="*/ 641350 h 1655757"/>
                    <a:gd name="connsiteX62" fmla="*/ 993775 w 1146175"/>
                    <a:gd name="connsiteY62" fmla="*/ 644525 h 1655757"/>
                    <a:gd name="connsiteX63" fmla="*/ 1012825 w 1146175"/>
                    <a:gd name="connsiteY63" fmla="*/ 647700 h 1655757"/>
                    <a:gd name="connsiteX64" fmla="*/ 1041400 w 1146175"/>
                    <a:gd name="connsiteY64" fmla="*/ 660400 h 1655757"/>
                    <a:gd name="connsiteX65" fmla="*/ 1050925 w 1146175"/>
                    <a:gd name="connsiteY65" fmla="*/ 663575 h 1655757"/>
                    <a:gd name="connsiteX66" fmla="*/ 1066800 w 1146175"/>
                    <a:gd name="connsiteY66" fmla="*/ 673100 h 1655757"/>
                    <a:gd name="connsiteX67" fmla="*/ 1089025 w 1146175"/>
                    <a:gd name="connsiteY67" fmla="*/ 682625 h 1655757"/>
                    <a:gd name="connsiteX68" fmla="*/ 1117600 w 1146175"/>
                    <a:gd name="connsiteY68" fmla="*/ 701675 h 1655757"/>
                    <a:gd name="connsiteX69" fmla="*/ 1136650 w 1146175"/>
                    <a:gd name="connsiteY69" fmla="*/ 708025 h 1655757"/>
                    <a:gd name="connsiteX70" fmla="*/ 1146175 w 1146175"/>
                    <a:gd name="connsiteY70" fmla="*/ 898525 h 1655757"/>
                    <a:gd name="connsiteX71" fmla="*/ 1127125 w 1146175"/>
                    <a:gd name="connsiteY71" fmla="*/ 908050 h 1655757"/>
                    <a:gd name="connsiteX72" fmla="*/ 1101725 w 1146175"/>
                    <a:gd name="connsiteY72" fmla="*/ 914400 h 1655757"/>
                    <a:gd name="connsiteX73" fmla="*/ 1092200 w 1146175"/>
                    <a:gd name="connsiteY73" fmla="*/ 920750 h 1655757"/>
                    <a:gd name="connsiteX74" fmla="*/ 1079500 w 1146175"/>
                    <a:gd name="connsiteY74" fmla="*/ 923925 h 1655757"/>
                    <a:gd name="connsiteX75" fmla="*/ 1069975 w 1146175"/>
                    <a:gd name="connsiteY75" fmla="*/ 933450 h 1655757"/>
                    <a:gd name="connsiteX76" fmla="*/ 1060450 w 1146175"/>
                    <a:gd name="connsiteY76" fmla="*/ 939800 h 1655757"/>
                    <a:gd name="connsiteX77" fmla="*/ 1038225 w 1146175"/>
                    <a:gd name="connsiteY77" fmla="*/ 952500 h 1655757"/>
                    <a:gd name="connsiteX78" fmla="*/ 996950 w 1146175"/>
                    <a:gd name="connsiteY78" fmla="*/ 977900 h 1655757"/>
                    <a:gd name="connsiteX79" fmla="*/ 977900 w 1146175"/>
                    <a:gd name="connsiteY79" fmla="*/ 984250 h 1655757"/>
                    <a:gd name="connsiteX80" fmla="*/ 968375 w 1146175"/>
                    <a:gd name="connsiteY80" fmla="*/ 1009650 h 1655757"/>
                    <a:gd name="connsiteX81" fmla="*/ 958850 w 1146175"/>
                    <a:gd name="connsiteY81" fmla="*/ 1035050 h 1655757"/>
                    <a:gd name="connsiteX82" fmla="*/ 955675 w 1146175"/>
                    <a:gd name="connsiteY82" fmla="*/ 1060450 h 1655757"/>
                    <a:gd name="connsiteX83" fmla="*/ 949325 w 1146175"/>
                    <a:gd name="connsiteY83" fmla="*/ 1069975 h 1655757"/>
                    <a:gd name="connsiteX84" fmla="*/ 946150 w 1146175"/>
                    <a:gd name="connsiteY84" fmla="*/ 1079500 h 1655757"/>
                    <a:gd name="connsiteX85" fmla="*/ 936625 w 1146175"/>
                    <a:gd name="connsiteY85" fmla="*/ 1095375 h 1655757"/>
                    <a:gd name="connsiteX86" fmla="*/ 923925 w 1146175"/>
                    <a:gd name="connsiteY86" fmla="*/ 1130300 h 1655757"/>
                    <a:gd name="connsiteX87" fmla="*/ 917575 w 1146175"/>
                    <a:gd name="connsiteY87" fmla="*/ 1139825 h 1655757"/>
                    <a:gd name="connsiteX88" fmla="*/ 923925 w 1146175"/>
                    <a:gd name="connsiteY88" fmla="*/ 1193800 h 1655757"/>
                    <a:gd name="connsiteX89" fmla="*/ 939800 w 1146175"/>
                    <a:gd name="connsiteY89" fmla="*/ 1216025 h 1655757"/>
                    <a:gd name="connsiteX90" fmla="*/ 946150 w 1146175"/>
                    <a:gd name="connsiteY90" fmla="*/ 1228725 h 1655757"/>
                    <a:gd name="connsiteX91" fmla="*/ 952500 w 1146175"/>
                    <a:gd name="connsiteY91" fmla="*/ 1238250 h 1655757"/>
                    <a:gd name="connsiteX92" fmla="*/ 965200 w 1146175"/>
                    <a:gd name="connsiteY92" fmla="*/ 1263650 h 1655757"/>
                    <a:gd name="connsiteX93" fmla="*/ 974725 w 1146175"/>
                    <a:gd name="connsiteY93" fmla="*/ 1285875 h 1655757"/>
                    <a:gd name="connsiteX94" fmla="*/ 977900 w 1146175"/>
                    <a:gd name="connsiteY94" fmla="*/ 1298575 h 1655757"/>
                    <a:gd name="connsiteX95" fmla="*/ 981075 w 1146175"/>
                    <a:gd name="connsiteY95" fmla="*/ 1308100 h 1655757"/>
                    <a:gd name="connsiteX96" fmla="*/ 974725 w 1146175"/>
                    <a:gd name="connsiteY96" fmla="*/ 1343025 h 1655757"/>
                    <a:gd name="connsiteX97" fmla="*/ 949325 w 1146175"/>
                    <a:gd name="connsiteY97" fmla="*/ 1374775 h 1655757"/>
                    <a:gd name="connsiteX98" fmla="*/ 939800 w 1146175"/>
                    <a:gd name="connsiteY98" fmla="*/ 1381125 h 1655757"/>
                    <a:gd name="connsiteX99" fmla="*/ 930275 w 1146175"/>
                    <a:gd name="connsiteY99" fmla="*/ 1390650 h 1655757"/>
                    <a:gd name="connsiteX100" fmla="*/ 923925 w 1146175"/>
                    <a:gd name="connsiteY100" fmla="*/ 1400175 h 1655757"/>
                    <a:gd name="connsiteX101" fmla="*/ 908050 w 1146175"/>
                    <a:gd name="connsiteY101" fmla="*/ 1409700 h 1655757"/>
                    <a:gd name="connsiteX102" fmla="*/ 895350 w 1146175"/>
                    <a:gd name="connsiteY102" fmla="*/ 1422400 h 1655757"/>
                    <a:gd name="connsiteX103" fmla="*/ 882650 w 1146175"/>
                    <a:gd name="connsiteY103" fmla="*/ 1431925 h 1655757"/>
                    <a:gd name="connsiteX104" fmla="*/ 873125 w 1146175"/>
                    <a:gd name="connsiteY104" fmla="*/ 1441450 h 1655757"/>
                    <a:gd name="connsiteX105" fmla="*/ 844550 w 1146175"/>
                    <a:gd name="connsiteY105" fmla="*/ 1457325 h 1655757"/>
                    <a:gd name="connsiteX106" fmla="*/ 835025 w 1146175"/>
                    <a:gd name="connsiteY106" fmla="*/ 1460500 h 1655757"/>
                    <a:gd name="connsiteX107" fmla="*/ 815975 w 1146175"/>
                    <a:gd name="connsiteY107" fmla="*/ 1454150 h 1655757"/>
                    <a:gd name="connsiteX108" fmla="*/ 774700 w 1146175"/>
                    <a:gd name="connsiteY108" fmla="*/ 1438275 h 1655757"/>
                    <a:gd name="connsiteX109" fmla="*/ 749300 w 1146175"/>
                    <a:gd name="connsiteY109" fmla="*/ 1431925 h 1655757"/>
                    <a:gd name="connsiteX110" fmla="*/ 717550 w 1146175"/>
                    <a:gd name="connsiteY110" fmla="*/ 1419225 h 1655757"/>
                    <a:gd name="connsiteX111" fmla="*/ 688975 w 1146175"/>
                    <a:gd name="connsiteY111" fmla="*/ 1412875 h 1655757"/>
                    <a:gd name="connsiteX112" fmla="*/ 657225 w 1146175"/>
                    <a:gd name="connsiteY112" fmla="*/ 1403350 h 1655757"/>
                    <a:gd name="connsiteX113" fmla="*/ 635000 w 1146175"/>
                    <a:gd name="connsiteY113" fmla="*/ 1406525 h 1655757"/>
                    <a:gd name="connsiteX114" fmla="*/ 622300 w 1146175"/>
                    <a:gd name="connsiteY114" fmla="*/ 1412875 h 1655757"/>
                    <a:gd name="connsiteX115" fmla="*/ 606425 w 1146175"/>
                    <a:gd name="connsiteY115" fmla="*/ 1422400 h 1655757"/>
                    <a:gd name="connsiteX116" fmla="*/ 577850 w 1146175"/>
                    <a:gd name="connsiteY116" fmla="*/ 1438275 h 1655757"/>
                    <a:gd name="connsiteX117" fmla="*/ 558800 w 1146175"/>
                    <a:gd name="connsiteY117" fmla="*/ 1441450 h 1655757"/>
                    <a:gd name="connsiteX118" fmla="*/ 501650 w 1146175"/>
                    <a:gd name="connsiteY118" fmla="*/ 1447800 h 1655757"/>
                    <a:gd name="connsiteX119" fmla="*/ 492125 w 1146175"/>
                    <a:gd name="connsiteY119" fmla="*/ 1454150 h 1655757"/>
                    <a:gd name="connsiteX120" fmla="*/ 466725 w 1146175"/>
                    <a:gd name="connsiteY120" fmla="*/ 1485900 h 1655757"/>
                    <a:gd name="connsiteX121" fmla="*/ 457200 w 1146175"/>
                    <a:gd name="connsiteY121" fmla="*/ 1504950 h 1655757"/>
                    <a:gd name="connsiteX122" fmla="*/ 454025 w 1146175"/>
                    <a:gd name="connsiteY122" fmla="*/ 1514475 h 1655757"/>
                    <a:gd name="connsiteX123" fmla="*/ 447675 w 1146175"/>
                    <a:gd name="connsiteY123" fmla="*/ 1530350 h 1655757"/>
                    <a:gd name="connsiteX124" fmla="*/ 434975 w 1146175"/>
                    <a:gd name="connsiteY124" fmla="*/ 1555750 h 1655757"/>
                    <a:gd name="connsiteX125" fmla="*/ 431800 w 1146175"/>
                    <a:gd name="connsiteY125" fmla="*/ 1571625 h 1655757"/>
                    <a:gd name="connsiteX126" fmla="*/ 425450 w 1146175"/>
                    <a:gd name="connsiteY126" fmla="*/ 1597025 h 1655757"/>
                    <a:gd name="connsiteX127" fmla="*/ 422275 w 1146175"/>
                    <a:gd name="connsiteY127" fmla="*/ 1606550 h 1655757"/>
                    <a:gd name="connsiteX128" fmla="*/ 412750 w 1146175"/>
                    <a:gd name="connsiteY128" fmla="*/ 1616075 h 1655757"/>
                    <a:gd name="connsiteX129" fmla="*/ 222250 w 1146175"/>
                    <a:gd name="connsiteY129" fmla="*/ 1622425 h 1655757"/>
                    <a:gd name="connsiteX130" fmla="*/ 215900 w 1146175"/>
                    <a:gd name="connsiteY130" fmla="*/ 1606550 h 1655757"/>
                    <a:gd name="connsiteX131" fmla="*/ 206375 w 1146175"/>
                    <a:gd name="connsiteY131" fmla="*/ 1593850 h 1655757"/>
                    <a:gd name="connsiteX132" fmla="*/ 203200 w 1146175"/>
                    <a:gd name="connsiteY132" fmla="*/ 1581150 h 1655757"/>
                    <a:gd name="connsiteX133" fmla="*/ 196850 w 1146175"/>
                    <a:gd name="connsiteY133" fmla="*/ 1568450 h 1655757"/>
                    <a:gd name="connsiteX134" fmla="*/ 193675 w 1146175"/>
                    <a:gd name="connsiteY134" fmla="*/ 1558925 h 1655757"/>
                    <a:gd name="connsiteX135" fmla="*/ 187325 w 1146175"/>
                    <a:gd name="connsiteY135" fmla="*/ 1546225 h 1655757"/>
                    <a:gd name="connsiteX136" fmla="*/ 180975 w 1146175"/>
                    <a:gd name="connsiteY136" fmla="*/ 1530350 h 1655757"/>
                    <a:gd name="connsiteX137" fmla="*/ 161925 w 1146175"/>
                    <a:gd name="connsiteY137" fmla="*/ 1501775 h 1655757"/>
                    <a:gd name="connsiteX138" fmla="*/ 149225 w 1146175"/>
                    <a:gd name="connsiteY138" fmla="*/ 1479550 h 1655757"/>
                    <a:gd name="connsiteX139" fmla="*/ 142875 w 1146175"/>
                    <a:gd name="connsiteY139" fmla="*/ 1463675 h 1655757"/>
                    <a:gd name="connsiteX140" fmla="*/ 130175 w 1146175"/>
                    <a:gd name="connsiteY140" fmla="*/ 1460500 h 1655757"/>
                    <a:gd name="connsiteX141" fmla="*/ 101600 w 1146175"/>
                    <a:gd name="connsiteY141" fmla="*/ 1447800 h 1655757"/>
                    <a:gd name="connsiteX142" fmla="*/ 69850 w 1146175"/>
                    <a:gd name="connsiteY142" fmla="*/ 1438275 h 1655757"/>
                    <a:gd name="connsiteX143" fmla="*/ 41275 w 1146175"/>
                    <a:gd name="connsiteY143" fmla="*/ 1425575 h 1655757"/>
                    <a:gd name="connsiteX144" fmla="*/ 31750 w 1146175"/>
                    <a:gd name="connsiteY144" fmla="*/ 1419225 h 1655757"/>
                    <a:gd name="connsiteX145" fmla="*/ 15875 w 1146175"/>
                    <a:gd name="connsiteY145" fmla="*/ 1412875 h 1655757"/>
                    <a:gd name="connsiteX146" fmla="*/ 0 w 1146175"/>
                    <a:gd name="connsiteY146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73025 w 1146175"/>
                    <a:gd name="connsiteY2" fmla="*/ 190500 h 1655757"/>
                    <a:gd name="connsiteX3" fmla="*/ 85725 w 1146175"/>
                    <a:gd name="connsiteY3" fmla="*/ 187325 h 1655757"/>
                    <a:gd name="connsiteX4" fmla="*/ 111125 w 1146175"/>
                    <a:gd name="connsiteY4" fmla="*/ 168275 h 1655757"/>
                    <a:gd name="connsiteX5" fmla="*/ 127000 w 1146175"/>
                    <a:gd name="connsiteY5" fmla="*/ 165100 h 1655757"/>
                    <a:gd name="connsiteX6" fmla="*/ 139700 w 1146175"/>
                    <a:gd name="connsiteY6" fmla="*/ 158750 h 1655757"/>
                    <a:gd name="connsiteX7" fmla="*/ 155575 w 1146175"/>
                    <a:gd name="connsiteY7" fmla="*/ 155575 h 1655757"/>
                    <a:gd name="connsiteX8" fmla="*/ 168275 w 1146175"/>
                    <a:gd name="connsiteY8" fmla="*/ 142875 h 1655757"/>
                    <a:gd name="connsiteX9" fmla="*/ 180975 w 1146175"/>
                    <a:gd name="connsiteY9" fmla="*/ 127000 h 1655757"/>
                    <a:gd name="connsiteX10" fmla="*/ 193675 w 1146175"/>
                    <a:gd name="connsiteY10" fmla="*/ 107950 h 1655757"/>
                    <a:gd name="connsiteX11" fmla="*/ 206375 w 1146175"/>
                    <a:gd name="connsiteY11" fmla="*/ 73025 h 1655757"/>
                    <a:gd name="connsiteX12" fmla="*/ 209550 w 1146175"/>
                    <a:gd name="connsiteY12" fmla="*/ 60325 h 1655757"/>
                    <a:gd name="connsiteX13" fmla="*/ 228600 w 1146175"/>
                    <a:gd name="connsiteY13" fmla="*/ 28575 h 1655757"/>
                    <a:gd name="connsiteX14" fmla="*/ 238125 w 1146175"/>
                    <a:gd name="connsiteY14" fmla="*/ 9525 h 1655757"/>
                    <a:gd name="connsiteX15" fmla="*/ 269875 w 1146175"/>
                    <a:gd name="connsiteY15" fmla="*/ 0 h 1655757"/>
                    <a:gd name="connsiteX16" fmla="*/ 428625 w 1146175"/>
                    <a:gd name="connsiteY16" fmla="*/ 6350 h 1655757"/>
                    <a:gd name="connsiteX17" fmla="*/ 434975 w 1146175"/>
                    <a:gd name="connsiteY17" fmla="*/ 19050 h 1655757"/>
                    <a:gd name="connsiteX18" fmla="*/ 441325 w 1146175"/>
                    <a:gd name="connsiteY18" fmla="*/ 34925 h 1655757"/>
                    <a:gd name="connsiteX19" fmla="*/ 447675 w 1146175"/>
                    <a:gd name="connsiteY19" fmla="*/ 44450 h 1655757"/>
                    <a:gd name="connsiteX20" fmla="*/ 454025 w 1146175"/>
                    <a:gd name="connsiteY20" fmla="*/ 60325 h 1655757"/>
                    <a:gd name="connsiteX21" fmla="*/ 460375 w 1146175"/>
                    <a:gd name="connsiteY21" fmla="*/ 69850 h 1655757"/>
                    <a:gd name="connsiteX22" fmla="*/ 476250 w 1146175"/>
                    <a:gd name="connsiteY22" fmla="*/ 101600 h 1655757"/>
                    <a:gd name="connsiteX23" fmla="*/ 479425 w 1146175"/>
                    <a:gd name="connsiteY23" fmla="*/ 117475 h 1655757"/>
                    <a:gd name="connsiteX24" fmla="*/ 485775 w 1146175"/>
                    <a:gd name="connsiteY24" fmla="*/ 127000 h 1655757"/>
                    <a:gd name="connsiteX25" fmla="*/ 492125 w 1146175"/>
                    <a:gd name="connsiteY25" fmla="*/ 139700 h 1655757"/>
                    <a:gd name="connsiteX26" fmla="*/ 508000 w 1146175"/>
                    <a:gd name="connsiteY26" fmla="*/ 165100 h 1655757"/>
                    <a:gd name="connsiteX27" fmla="*/ 527050 w 1146175"/>
                    <a:gd name="connsiteY27" fmla="*/ 168275 h 1655757"/>
                    <a:gd name="connsiteX28" fmla="*/ 558800 w 1146175"/>
                    <a:gd name="connsiteY28" fmla="*/ 184150 h 1655757"/>
                    <a:gd name="connsiteX29" fmla="*/ 574675 w 1146175"/>
                    <a:gd name="connsiteY29" fmla="*/ 187325 h 1655757"/>
                    <a:gd name="connsiteX30" fmla="*/ 635000 w 1146175"/>
                    <a:gd name="connsiteY30" fmla="*/ 215900 h 1655757"/>
                    <a:gd name="connsiteX31" fmla="*/ 717550 w 1146175"/>
                    <a:gd name="connsiteY31" fmla="*/ 212725 h 1655757"/>
                    <a:gd name="connsiteX32" fmla="*/ 733425 w 1146175"/>
                    <a:gd name="connsiteY32" fmla="*/ 206375 h 1655757"/>
                    <a:gd name="connsiteX33" fmla="*/ 771525 w 1146175"/>
                    <a:gd name="connsiteY33" fmla="*/ 200025 h 1655757"/>
                    <a:gd name="connsiteX34" fmla="*/ 796925 w 1146175"/>
                    <a:gd name="connsiteY34" fmla="*/ 190500 h 1655757"/>
                    <a:gd name="connsiteX35" fmla="*/ 838200 w 1146175"/>
                    <a:gd name="connsiteY35" fmla="*/ 180975 h 1655757"/>
                    <a:gd name="connsiteX36" fmla="*/ 879475 w 1146175"/>
                    <a:gd name="connsiteY36" fmla="*/ 200025 h 1655757"/>
                    <a:gd name="connsiteX37" fmla="*/ 885825 w 1146175"/>
                    <a:gd name="connsiteY37" fmla="*/ 209550 h 1655757"/>
                    <a:gd name="connsiteX38" fmla="*/ 901700 w 1146175"/>
                    <a:gd name="connsiteY38" fmla="*/ 225425 h 1655757"/>
                    <a:gd name="connsiteX39" fmla="*/ 917575 w 1146175"/>
                    <a:gd name="connsiteY39" fmla="*/ 238125 h 1655757"/>
                    <a:gd name="connsiteX40" fmla="*/ 936625 w 1146175"/>
                    <a:gd name="connsiteY40" fmla="*/ 250825 h 1655757"/>
                    <a:gd name="connsiteX41" fmla="*/ 955675 w 1146175"/>
                    <a:gd name="connsiteY41" fmla="*/ 273050 h 1655757"/>
                    <a:gd name="connsiteX42" fmla="*/ 974725 w 1146175"/>
                    <a:gd name="connsiteY42" fmla="*/ 298450 h 1655757"/>
                    <a:gd name="connsiteX43" fmla="*/ 968375 w 1146175"/>
                    <a:gd name="connsiteY43" fmla="*/ 333375 h 1655757"/>
                    <a:gd name="connsiteX44" fmla="*/ 965200 w 1146175"/>
                    <a:gd name="connsiteY44" fmla="*/ 342900 h 1655757"/>
                    <a:gd name="connsiteX45" fmla="*/ 949325 w 1146175"/>
                    <a:gd name="connsiteY45" fmla="*/ 361950 h 1655757"/>
                    <a:gd name="connsiteX46" fmla="*/ 939800 w 1146175"/>
                    <a:gd name="connsiteY46" fmla="*/ 384175 h 1655757"/>
                    <a:gd name="connsiteX47" fmla="*/ 936625 w 1146175"/>
                    <a:gd name="connsiteY47" fmla="*/ 396875 h 1655757"/>
                    <a:gd name="connsiteX48" fmla="*/ 930275 w 1146175"/>
                    <a:gd name="connsiteY48" fmla="*/ 412750 h 1655757"/>
                    <a:gd name="connsiteX49" fmla="*/ 927100 w 1146175"/>
                    <a:gd name="connsiteY49" fmla="*/ 425450 h 1655757"/>
                    <a:gd name="connsiteX50" fmla="*/ 920750 w 1146175"/>
                    <a:gd name="connsiteY50" fmla="*/ 441325 h 1655757"/>
                    <a:gd name="connsiteX51" fmla="*/ 917575 w 1146175"/>
                    <a:gd name="connsiteY51" fmla="*/ 454025 h 1655757"/>
                    <a:gd name="connsiteX52" fmla="*/ 914400 w 1146175"/>
                    <a:gd name="connsiteY52" fmla="*/ 463550 h 1655757"/>
                    <a:gd name="connsiteX53" fmla="*/ 917575 w 1146175"/>
                    <a:gd name="connsiteY53" fmla="*/ 501650 h 1655757"/>
                    <a:gd name="connsiteX54" fmla="*/ 923925 w 1146175"/>
                    <a:gd name="connsiteY54" fmla="*/ 514350 h 1655757"/>
                    <a:gd name="connsiteX55" fmla="*/ 939800 w 1146175"/>
                    <a:gd name="connsiteY55" fmla="*/ 533400 h 1655757"/>
                    <a:gd name="connsiteX56" fmla="*/ 942975 w 1146175"/>
                    <a:gd name="connsiteY56" fmla="*/ 542925 h 1655757"/>
                    <a:gd name="connsiteX57" fmla="*/ 955675 w 1146175"/>
                    <a:gd name="connsiteY57" fmla="*/ 568325 h 1655757"/>
                    <a:gd name="connsiteX58" fmla="*/ 968375 w 1146175"/>
                    <a:gd name="connsiteY58" fmla="*/ 609600 h 1655757"/>
                    <a:gd name="connsiteX59" fmla="*/ 974725 w 1146175"/>
                    <a:gd name="connsiteY59" fmla="*/ 622300 h 1655757"/>
                    <a:gd name="connsiteX60" fmla="*/ 981075 w 1146175"/>
                    <a:gd name="connsiteY60" fmla="*/ 641350 h 1655757"/>
                    <a:gd name="connsiteX61" fmla="*/ 993775 w 1146175"/>
                    <a:gd name="connsiteY61" fmla="*/ 644525 h 1655757"/>
                    <a:gd name="connsiteX62" fmla="*/ 1012825 w 1146175"/>
                    <a:gd name="connsiteY62" fmla="*/ 647700 h 1655757"/>
                    <a:gd name="connsiteX63" fmla="*/ 1041400 w 1146175"/>
                    <a:gd name="connsiteY63" fmla="*/ 660400 h 1655757"/>
                    <a:gd name="connsiteX64" fmla="*/ 1050925 w 1146175"/>
                    <a:gd name="connsiteY64" fmla="*/ 663575 h 1655757"/>
                    <a:gd name="connsiteX65" fmla="*/ 1066800 w 1146175"/>
                    <a:gd name="connsiteY65" fmla="*/ 673100 h 1655757"/>
                    <a:gd name="connsiteX66" fmla="*/ 1089025 w 1146175"/>
                    <a:gd name="connsiteY66" fmla="*/ 682625 h 1655757"/>
                    <a:gd name="connsiteX67" fmla="*/ 1117600 w 1146175"/>
                    <a:gd name="connsiteY67" fmla="*/ 701675 h 1655757"/>
                    <a:gd name="connsiteX68" fmla="*/ 1136650 w 1146175"/>
                    <a:gd name="connsiteY68" fmla="*/ 708025 h 1655757"/>
                    <a:gd name="connsiteX69" fmla="*/ 1146175 w 1146175"/>
                    <a:gd name="connsiteY69" fmla="*/ 898525 h 1655757"/>
                    <a:gd name="connsiteX70" fmla="*/ 1127125 w 1146175"/>
                    <a:gd name="connsiteY70" fmla="*/ 908050 h 1655757"/>
                    <a:gd name="connsiteX71" fmla="*/ 1101725 w 1146175"/>
                    <a:gd name="connsiteY71" fmla="*/ 914400 h 1655757"/>
                    <a:gd name="connsiteX72" fmla="*/ 1092200 w 1146175"/>
                    <a:gd name="connsiteY72" fmla="*/ 920750 h 1655757"/>
                    <a:gd name="connsiteX73" fmla="*/ 1079500 w 1146175"/>
                    <a:gd name="connsiteY73" fmla="*/ 923925 h 1655757"/>
                    <a:gd name="connsiteX74" fmla="*/ 1069975 w 1146175"/>
                    <a:gd name="connsiteY74" fmla="*/ 933450 h 1655757"/>
                    <a:gd name="connsiteX75" fmla="*/ 1060450 w 1146175"/>
                    <a:gd name="connsiteY75" fmla="*/ 939800 h 1655757"/>
                    <a:gd name="connsiteX76" fmla="*/ 1038225 w 1146175"/>
                    <a:gd name="connsiteY76" fmla="*/ 952500 h 1655757"/>
                    <a:gd name="connsiteX77" fmla="*/ 996950 w 1146175"/>
                    <a:gd name="connsiteY77" fmla="*/ 977900 h 1655757"/>
                    <a:gd name="connsiteX78" fmla="*/ 977900 w 1146175"/>
                    <a:gd name="connsiteY78" fmla="*/ 984250 h 1655757"/>
                    <a:gd name="connsiteX79" fmla="*/ 968375 w 1146175"/>
                    <a:gd name="connsiteY79" fmla="*/ 1009650 h 1655757"/>
                    <a:gd name="connsiteX80" fmla="*/ 958850 w 1146175"/>
                    <a:gd name="connsiteY80" fmla="*/ 1035050 h 1655757"/>
                    <a:gd name="connsiteX81" fmla="*/ 955675 w 1146175"/>
                    <a:gd name="connsiteY81" fmla="*/ 1060450 h 1655757"/>
                    <a:gd name="connsiteX82" fmla="*/ 949325 w 1146175"/>
                    <a:gd name="connsiteY82" fmla="*/ 1069975 h 1655757"/>
                    <a:gd name="connsiteX83" fmla="*/ 946150 w 1146175"/>
                    <a:gd name="connsiteY83" fmla="*/ 1079500 h 1655757"/>
                    <a:gd name="connsiteX84" fmla="*/ 936625 w 1146175"/>
                    <a:gd name="connsiteY84" fmla="*/ 1095375 h 1655757"/>
                    <a:gd name="connsiteX85" fmla="*/ 923925 w 1146175"/>
                    <a:gd name="connsiteY85" fmla="*/ 1130300 h 1655757"/>
                    <a:gd name="connsiteX86" fmla="*/ 917575 w 1146175"/>
                    <a:gd name="connsiteY86" fmla="*/ 1139825 h 1655757"/>
                    <a:gd name="connsiteX87" fmla="*/ 923925 w 1146175"/>
                    <a:gd name="connsiteY87" fmla="*/ 1193800 h 1655757"/>
                    <a:gd name="connsiteX88" fmla="*/ 939800 w 1146175"/>
                    <a:gd name="connsiteY88" fmla="*/ 1216025 h 1655757"/>
                    <a:gd name="connsiteX89" fmla="*/ 946150 w 1146175"/>
                    <a:gd name="connsiteY89" fmla="*/ 1228725 h 1655757"/>
                    <a:gd name="connsiteX90" fmla="*/ 952500 w 1146175"/>
                    <a:gd name="connsiteY90" fmla="*/ 1238250 h 1655757"/>
                    <a:gd name="connsiteX91" fmla="*/ 965200 w 1146175"/>
                    <a:gd name="connsiteY91" fmla="*/ 1263650 h 1655757"/>
                    <a:gd name="connsiteX92" fmla="*/ 974725 w 1146175"/>
                    <a:gd name="connsiteY92" fmla="*/ 1285875 h 1655757"/>
                    <a:gd name="connsiteX93" fmla="*/ 977900 w 1146175"/>
                    <a:gd name="connsiteY93" fmla="*/ 1298575 h 1655757"/>
                    <a:gd name="connsiteX94" fmla="*/ 981075 w 1146175"/>
                    <a:gd name="connsiteY94" fmla="*/ 1308100 h 1655757"/>
                    <a:gd name="connsiteX95" fmla="*/ 974725 w 1146175"/>
                    <a:gd name="connsiteY95" fmla="*/ 1343025 h 1655757"/>
                    <a:gd name="connsiteX96" fmla="*/ 949325 w 1146175"/>
                    <a:gd name="connsiteY96" fmla="*/ 1374775 h 1655757"/>
                    <a:gd name="connsiteX97" fmla="*/ 939800 w 1146175"/>
                    <a:gd name="connsiteY97" fmla="*/ 1381125 h 1655757"/>
                    <a:gd name="connsiteX98" fmla="*/ 930275 w 1146175"/>
                    <a:gd name="connsiteY98" fmla="*/ 1390650 h 1655757"/>
                    <a:gd name="connsiteX99" fmla="*/ 923925 w 1146175"/>
                    <a:gd name="connsiteY99" fmla="*/ 1400175 h 1655757"/>
                    <a:gd name="connsiteX100" fmla="*/ 908050 w 1146175"/>
                    <a:gd name="connsiteY100" fmla="*/ 1409700 h 1655757"/>
                    <a:gd name="connsiteX101" fmla="*/ 895350 w 1146175"/>
                    <a:gd name="connsiteY101" fmla="*/ 1422400 h 1655757"/>
                    <a:gd name="connsiteX102" fmla="*/ 882650 w 1146175"/>
                    <a:gd name="connsiteY102" fmla="*/ 1431925 h 1655757"/>
                    <a:gd name="connsiteX103" fmla="*/ 873125 w 1146175"/>
                    <a:gd name="connsiteY103" fmla="*/ 1441450 h 1655757"/>
                    <a:gd name="connsiteX104" fmla="*/ 844550 w 1146175"/>
                    <a:gd name="connsiteY104" fmla="*/ 1457325 h 1655757"/>
                    <a:gd name="connsiteX105" fmla="*/ 835025 w 1146175"/>
                    <a:gd name="connsiteY105" fmla="*/ 1460500 h 1655757"/>
                    <a:gd name="connsiteX106" fmla="*/ 815975 w 1146175"/>
                    <a:gd name="connsiteY106" fmla="*/ 1454150 h 1655757"/>
                    <a:gd name="connsiteX107" fmla="*/ 774700 w 1146175"/>
                    <a:gd name="connsiteY107" fmla="*/ 1438275 h 1655757"/>
                    <a:gd name="connsiteX108" fmla="*/ 749300 w 1146175"/>
                    <a:gd name="connsiteY108" fmla="*/ 1431925 h 1655757"/>
                    <a:gd name="connsiteX109" fmla="*/ 717550 w 1146175"/>
                    <a:gd name="connsiteY109" fmla="*/ 1419225 h 1655757"/>
                    <a:gd name="connsiteX110" fmla="*/ 688975 w 1146175"/>
                    <a:gd name="connsiteY110" fmla="*/ 1412875 h 1655757"/>
                    <a:gd name="connsiteX111" fmla="*/ 657225 w 1146175"/>
                    <a:gd name="connsiteY111" fmla="*/ 1403350 h 1655757"/>
                    <a:gd name="connsiteX112" fmla="*/ 635000 w 1146175"/>
                    <a:gd name="connsiteY112" fmla="*/ 1406525 h 1655757"/>
                    <a:gd name="connsiteX113" fmla="*/ 622300 w 1146175"/>
                    <a:gd name="connsiteY113" fmla="*/ 1412875 h 1655757"/>
                    <a:gd name="connsiteX114" fmla="*/ 606425 w 1146175"/>
                    <a:gd name="connsiteY114" fmla="*/ 1422400 h 1655757"/>
                    <a:gd name="connsiteX115" fmla="*/ 577850 w 1146175"/>
                    <a:gd name="connsiteY115" fmla="*/ 1438275 h 1655757"/>
                    <a:gd name="connsiteX116" fmla="*/ 558800 w 1146175"/>
                    <a:gd name="connsiteY116" fmla="*/ 1441450 h 1655757"/>
                    <a:gd name="connsiteX117" fmla="*/ 501650 w 1146175"/>
                    <a:gd name="connsiteY117" fmla="*/ 1447800 h 1655757"/>
                    <a:gd name="connsiteX118" fmla="*/ 492125 w 1146175"/>
                    <a:gd name="connsiteY118" fmla="*/ 1454150 h 1655757"/>
                    <a:gd name="connsiteX119" fmla="*/ 466725 w 1146175"/>
                    <a:gd name="connsiteY119" fmla="*/ 1485900 h 1655757"/>
                    <a:gd name="connsiteX120" fmla="*/ 457200 w 1146175"/>
                    <a:gd name="connsiteY120" fmla="*/ 1504950 h 1655757"/>
                    <a:gd name="connsiteX121" fmla="*/ 454025 w 1146175"/>
                    <a:gd name="connsiteY121" fmla="*/ 1514475 h 1655757"/>
                    <a:gd name="connsiteX122" fmla="*/ 447675 w 1146175"/>
                    <a:gd name="connsiteY122" fmla="*/ 1530350 h 1655757"/>
                    <a:gd name="connsiteX123" fmla="*/ 434975 w 1146175"/>
                    <a:gd name="connsiteY123" fmla="*/ 1555750 h 1655757"/>
                    <a:gd name="connsiteX124" fmla="*/ 431800 w 1146175"/>
                    <a:gd name="connsiteY124" fmla="*/ 1571625 h 1655757"/>
                    <a:gd name="connsiteX125" fmla="*/ 425450 w 1146175"/>
                    <a:gd name="connsiteY125" fmla="*/ 1597025 h 1655757"/>
                    <a:gd name="connsiteX126" fmla="*/ 422275 w 1146175"/>
                    <a:gd name="connsiteY126" fmla="*/ 1606550 h 1655757"/>
                    <a:gd name="connsiteX127" fmla="*/ 412750 w 1146175"/>
                    <a:gd name="connsiteY127" fmla="*/ 1616075 h 1655757"/>
                    <a:gd name="connsiteX128" fmla="*/ 222250 w 1146175"/>
                    <a:gd name="connsiteY128" fmla="*/ 1622425 h 1655757"/>
                    <a:gd name="connsiteX129" fmla="*/ 215900 w 1146175"/>
                    <a:gd name="connsiteY129" fmla="*/ 1606550 h 1655757"/>
                    <a:gd name="connsiteX130" fmla="*/ 206375 w 1146175"/>
                    <a:gd name="connsiteY130" fmla="*/ 1593850 h 1655757"/>
                    <a:gd name="connsiteX131" fmla="*/ 203200 w 1146175"/>
                    <a:gd name="connsiteY131" fmla="*/ 1581150 h 1655757"/>
                    <a:gd name="connsiteX132" fmla="*/ 196850 w 1146175"/>
                    <a:gd name="connsiteY132" fmla="*/ 1568450 h 1655757"/>
                    <a:gd name="connsiteX133" fmla="*/ 193675 w 1146175"/>
                    <a:gd name="connsiteY133" fmla="*/ 1558925 h 1655757"/>
                    <a:gd name="connsiteX134" fmla="*/ 187325 w 1146175"/>
                    <a:gd name="connsiteY134" fmla="*/ 1546225 h 1655757"/>
                    <a:gd name="connsiteX135" fmla="*/ 180975 w 1146175"/>
                    <a:gd name="connsiteY135" fmla="*/ 1530350 h 1655757"/>
                    <a:gd name="connsiteX136" fmla="*/ 161925 w 1146175"/>
                    <a:gd name="connsiteY136" fmla="*/ 1501775 h 1655757"/>
                    <a:gd name="connsiteX137" fmla="*/ 149225 w 1146175"/>
                    <a:gd name="connsiteY137" fmla="*/ 1479550 h 1655757"/>
                    <a:gd name="connsiteX138" fmla="*/ 142875 w 1146175"/>
                    <a:gd name="connsiteY138" fmla="*/ 1463675 h 1655757"/>
                    <a:gd name="connsiteX139" fmla="*/ 130175 w 1146175"/>
                    <a:gd name="connsiteY139" fmla="*/ 1460500 h 1655757"/>
                    <a:gd name="connsiteX140" fmla="*/ 101600 w 1146175"/>
                    <a:gd name="connsiteY140" fmla="*/ 1447800 h 1655757"/>
                    <a:gd name="connsiteX141" fmla="*/ 69850 w 1146175"/>
                    <a:gd name="connsiteY141" fmla="*/ 1438275 h 1655757"/>
                    <a:gd name="connsiteX142" fmla="*/ 41275 w 1146175"/>
                    <a:gd name="connsiteY142" fmla="*/ 1425575 h 1655757"/>
                    <a:gd name="connsiteX143" fmla="*/ 31750 w 1146175"/>
                    <a:gd name="connsiteY143" fmla="*/ 1419225 h 1655757"/>
                    <a:gd name="connsiteX144" fmla="*/ 15875 w 1146175"/>
                    <a:gd name="connsiteY144" fmla="*/ 1412875 h 1655757"/>
                    <a:gd name="connsiteX145" fmla="*/ 0 w 1146175"/>
                    <a:gd name="connsiteY145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85725 w 1146175"/>
                    <a:gd name="connsiteY2" fmla="*/ 187325 h 1655757"/>
                    <a:gd name="connsiteX3" fmla="*/ 111125 w 1146175"/>
                    <a:gd name="connsiteY3" fmla="*/ 168275 h 1655757"/>
                    <a:gd name="connsiteX4" fmla="*/ 127000 w 1146175"/>
                    <a:gd name="connsiteY4" fmla="*/ 165100 h 1655757"/>
                    <a:gd name="connsiteX5" fmla="*/ 139700 w 1146175"/>
                    <a:gd name="connsiteY5" fmla="*/ 158750 h 1655757"/>
                    <a:gd name="connsiteX6" fmla="*/ 155575 w 1146175"/>
                    <a:gd name="connsiteY6" fmla="*/ 155575 h 1655757"/>
                    <a:gd name="connsiteX7" fmla="*/ 168275 w 1146175"/>
                    <a:gd name="connsiteY7" fmla="*/ 142875 h 1655757"/>
                    <a:gd name="connsiteX8" fmla="*/ 180975 w 1146175"/>
                    <a:gd name="connsiteY8" fmla="*/ 127000 h 1655757"/>
                    <a:gd name="connsiteX9" fmla="*/ 193675 w 1146175"/>
                    <a:gd name="connsiteY9" fmla="*/ 107950 h 1655757"/>
                    <a:gd name="connsiteX10" fmla="*/ 206375 w 1146175"/>
                    <a:gd name="connsiteY10" fmla="*/ 73025 h 1655757"/>
                    <a:gd name="connsiteX11" fmla="*/ 209550 w 1146175"/>
                    <a:gd name="connsiteY11" fmla="*/ 60325 h 1655757"/>
                    <a:gd name="connsiteX12" fmla="*/ 228600 w 1146175"/>
                    <a:gd name="connsiteY12" fmla="*/ 28575 h 1655757"/>
                    <a:gd name="connsiteX13" fmla="*/ 238125 w 1146175"/>
                    <a:gd name="connsiteY13" fmla="*/ 9525 h 1655757"/>
                    <a:gd name="connsiteX14" fmla="*/ 269875 w 1146175"/>
                    <a:gd name="connsiteY14" fmla="*/ 0 h 1655757"/>
                    <a:gd name="connsiteX15" fmla="*/ 428625 w 1146175"/>
                    <a:gd name="connsiteY15" fmla="*/ 6350 h 1655757"/>
                    <a:gd name="connsiteX16" fmla="*/ 434975 w 1146175"/>
                    <a:gd name="connsiteY16" fmla="*/ 19050 h 1655757"/>
                    <a:gd name="connsiteX17" fmla="*/ 441325 w 1146175"/>
                    <a:gd name="connsiteY17" fmla="*/ 34925 h 1655757"/>
                    <a:gd name="connsiteX18" fmla="*/ 447675 w 1146175"/>
                    <a:gd name="connsiteY18" fmla="*/ 44450 h 1655757"/>
                    <a:gd name="connsiteX19" fmla="*/ 454025 w 1146175"/>
                    <a:gd name="connsiteY19" fmla="*/ 60325 h 1655757"/>
                    <a:gd name="connsiteX20" fmla="*/ 460375 w 1146175"/>
                    <a:gd name="connsiteY20" fmla="*/ 69850 h 1655757"/>
                    <a:gd name="connsiteX21" fmla="*/ 476250 w 1146175"/>
                    <a:gd name="connsiteY21" fmla="*/ 101600 h 1655757"/>
                    <a:gd name="connsiteX22" fmla="*/ 479425 w 1146175"/>
                    <a:gd name="connsiteY22" fmla="*/ 117475 h 1655757"/>
                    <a:gd name="connsiteX23" fmla="*/ 485775 w 1146175"/>
                    <a:gd name="connsiteY23" fmla="*/ 127000 h 1655757"/>
                    <a:gd name="connsiteX24" fmla="*/ 492125 w 1146175"/>
                    <a:gd name="connsiteY24" fmla="*/ 139700 h 1655757"/>
                    <a:gd name="connsiteX25" fmla="*/ 508000 w 1146175"/>
                    <a:gd name="connsiteY25" fmla="*/ 165100 h 1655757"/>
                    <a:gd name="connsiteX26" fmla="*/ 527050 w 1146175"/>
                    <a:gd name="connsiteY26" fmla="*/ 168275 h 1655757"/>
                    <a:gd name="connsiteX27" fmla="*/ 558800 w 1146175"/>
                    <a:gd name="connsiteY27" fmla="*/ 184150 h 1655757"/>
                    <a:gd name="connsiteX28" fmla="*/ 574675 w 1146175"/>
                    <a:gd name="connsiteY28" fmla="*/ 187325 h 1655757"/>
                    <a:gd name="connsiteX29" fmla="*/ 635000 w 1146175"/>
                    <a:gd name="connsiteY29" fmla="*/ 215900 h 1655757"/>
                    <a:gd name="connsiteX30" fmla="*/ 717550 w 1146175"/>
                    <a:gd name="connsiteY30" fmla="*/ 212725 h 1655757"/>
                    <a:gd name="connsiteX31" fmla="*/ 733425 w 1146175"/>
                    <a:gd name="connsiteY31" fmla="*/ 206375 h 1655757"/>
                    <a:gd name="connsiteX32" fmla="*/ 771525 w 1146175"/>
                    <a:gd name="connsiteY32" fmla="*/ 200025 h 1655757"/>
                    <a:gd name="connsiteX33" fmla="*/ 796925 w 1146175"/>
                    <a:gd name="connsiteY33" fmla="*/ 190500 h 1655757"/>
                    <a:gd name="connsiteX34" fmla="*/ 838200 w 1146175"/>
                    <a:gd name="connsiteY34" fmla="*/ 180975 h 1655757"/>
                    <a:gd name="connsiteX35" fmla="*/ 879475 w 1146175"/>
                    <a:gd name="connsiteY35" fmla="*/ 200025 h 1655757"/>
                    <a:gd name="connsiteX36" fmla="*/ 885825 w 1146175"/>
                    <a:gd name="connsiteY36" fmla="*/ 209550 h 1655757"/>
                    <a:gd name="connsiteX37" fmla="*/ 901700 w 1146175"/>
                    <a:gd name="connsiteY37" fmla="*/ 225425 h 1655757"/>
                    <a:gd name="connsiteX38" fmla="*/ 917575 w 1146175"/>
                    <a:gd name="connsiteY38" fmla="*/ 238125 h 1655757"/>
                    <a:gd name="connsiteX39" fmla="*/ 936625 w 1146175"/>
                    <a:gd name="connsiteY39" fmla="*/ 250825 h 1655757"/>
                    <a:gd name="connsiteX40" fmla="*/ 955675 w 1146175"/>
                    <a:gd name="connsiteY40" fmla="*/ 273050 h 1655757"/>
                    <a:gd name="connsiteX41" fmla="*/ 974725 w 1146175"/>
                    <a:gd name="connsiteY41" fmla="*/ 298450 h 1655757"/>
                    <a:gd name="connsiteX42" fmla="*/ 968375 w 1146175"/>
                    <a:gd name="connsiteY42" fmla="*/ 333375 h 1655757"/>
                    <a:gd name="connsiteX43" fmla="*/ 965200 w 1146175"/>
                    <a:gd name="connsiteY43" fmla="*/ 342900 h 1655757"/>
                    <a:gd name="connsiteX44" fmla="*/ 949325 w 1146175"/>
                    <a:gd name="connsiteY44" fmla="*/ 361950 h 1655757"/>
                    <a:gd name="connsiteX45" fmla="*/ 939800 w 1146175"/>
                    <a:gd name="connsiteY45" fmla="*/ 384175 h 1655757"/>
                    <a:gd name="connsiteX46" fmla="*/ 936625 w 1146175"/>
                    <a:gd name="connsiteY46" fmla="*/ 396875 h 1655757"/>
                    <a:gd name="connsiteX47" fmla="*/ 930275 w 1146175"/>
                    <a:gd name="connsiteY47" fmla="*/ 412750 h 1655757"/>
                    <a:gd name="connsiteX48" fmla="*/ 927100 w 1146175"/>
                    <a:gd name="connsiteY48" fmla="*/ 425450 h 1655757"/>
                    <a:gd name="connsiteX49" fmla="*/ 920750 w 1146175"/>
                    <a:gd name="connsiteY49" fmla="*/ 441325 h 1655757"/>
                    <a:gd name="connsiteX50" fmla="*/ 917575 w 1146175"/>
                    <a:gd name="connsiteY50" fmla="*/ 454025 h 1655757"/>
                    <a:gd name="connsiteX51" fmla="*/ 914400 w 1146175"/>
                    <a:gd name="connsiteY51" fmla="*/ 463550 h 1655757"/>
                    <a:gd name="connsiteX52" fmla="*/ 917575 w 1146175"/>
                    <a:gd name="connsiteY52" fmla="*/ 501650 h 1655757"/>
                    <a:gd name="connsiteX53" fmla="*/ 923925 w 1146175"/>
                    <a:gd name="connsiteY53" fmla="*/ 514350 h 1655757"/>
                    <a:gd name="connsiteX54" fmla="*/ 939800 w 1146175"/>
                    <a:gd name="connsiteY54" fmla="*/ 533400 h 1655757"/>
                    <a:gd name="connsiteX55" fmla="*/ 942975 w 1146175"/>
                    <a:gd name="connsiteY55" fmla="*/ 542925 h 1655757"/>
                    <a:gd name="connsiteX56" fmla="*/ 955675 w 1146175"/>
                    <a:gd name="connsiteY56" fmla="*/ 568325 h 1655757"/>
                    <a:gd name="connsiteX57" fmla="*/ 968375 w 1146175"/>
                    <a:gd name="connsiteY57" fmla="*/ 609600 h 1655757"/>
                    <a:gd name="connsiteX58" fmla="*/ 974725 w 1146175"/>
                    <a:gd name="connsiteY58" fmla="*/ 622300 h 1655757"/>
                    <a:gd name="connsiteX59" fmla="*/ 981075 w 1146175"/>
                    <a:gd name="connsiteY59" fmla="*/ 641350 h 1655757"/>
                    <a:gd name="connsiteX60" fmla="*/ 993775 w 1146175"/>
                    <a:gd name="connsiteY60" fmla="*/ 644525 h 1655757"/>
                    <a:gd name="connsiteX61" fmla="*/ 1012825 w 1146175"/>
                    <a:gd name="connsiteY61" fmla="*/ 647700 h 1655757"/>
                    <a:gd name="connsiteX62" fmla="*/ 1041400 w 1146175"/>
                    <a:gd name="connsiteY62" fmla="*/ 660400 h 1655757"/>
                    <a:gd name="connsiteX63" fmla="*/ 1050925 w 1146175"/>
                    <a:gd name="connsiteY63" fmla="*/ 663575 h 1655757"/>
                    <a:gd name="connsiteX64" fmla="*/ 1066800 w 1146175"/>
                    <a:gd name="connsiteY64" fmla="*/ 673100 h 1655757"/>
                    <a:gd name="connsiteX65" fmla="*/ 1089025 w 1146175"/>
                    <a:gd name="connsiteY65" fmla="*/ 682625 h 1655757"/>
                    <a:gd name="connsiteX66" fmla="*/ 1117600 w 1146175"/>
                    <a:gd name="connsiteY66" fmla="*/ 701675 h 1655757"/>
                    <a:gd name="connsiteX67" fmla="*/ 1136650 w 1146175"/>
                    <a:gd name="connsiteY67" fmla="*/ 708025 h 1655757"/>
                    <a:gd name="connsiteX68" fmla="*/ 1146175 w 1146175"/>
                    <a:gd name="connsiteY68" fmla="*/ 898525 h 1655757"/>
                    <a:gd name="connsiteX69" fmla="*/ 1127125 w 1146175"/>
                    <a:gd name="connsiteY69" fmla="*/ 908050 h 1655757"/>
                    <a:gd name="connsiteX70" fmla="*/ 1101725 w 1146175"/>
                    <a:gd name="connsiteY70" fmla="*/ 914400 h 1655757"/>
                    <a:gd name="connsiteX71" fmla="*/ 1092200 w 1146175"/>
                    <a:gd name="connsiteY71" fmla="*/ 920750 h 1655757"/>
                    <a:gd name="connsiteX72" fmla="*/ 1079500 w 1146175"/>
                    <a:gd name="connsiteY72" fmla="*/ 923925 h 1655757"/>
                    <a:gd name="connsiteX73" fmla="*/ 1069975 w 1146175"/>
                    <a:gd name="connsiteY73" fmla="*/ 933450 h 1655757"/>
                    <a:gd name="connsiteX74" fmla="*/ 1060450 w 1146175"/>
                    <a:gd name="connsiteY74" fmla="*/ 939800 h 1655757"/>
                    <a:gd name="connsiteX75" fmla="*/ 1038225 w 1146175"/>
                    <a:gd name="connsiteY75" fmla="*/ 952500 h 1655757"/>
                    <a:gd name="connsiteX76" fmla="*/ 996950 w 1146175"/>
                    <a:gd name="connsiteY76" fmla="*/ 977900 h 1655757"/>
                    <a:gd name="connsiteX77" fmla="*/ 977900 w 1146175"/>
                    <a:gd name="connsiteY77" fmla="*/ 984250 h 1655757"/>
                    <a:gd name="connsiteX78" fmla="*/ 968375 w 1146175"/>
                    <a:gd name="connsiteY78" fmla="*/ 1009650 h 1655757"/>
                    <a:gd name="connsiteX79" fmla="*/ 958850 w 1146175"/>
                    <a:gd name="connsiteY79" fmla="*/ 1035050 h 1655757"/>
                    <a:gd name="connsiteX80" fmla="*/ 955675 w 1146175"/>
                    <a:gd name="connsiteY80" fmla="*/ 1060450 h 1655757"/>
                    <a:gd name="connsiteX81" fmla="*/ 949325 w 1146175"/>
                    <a:gd name="connsiteY81" fmla="*/ 1069975 h 1655757"/>
                    <a:gd name="connsiteX82" fmla="*/ 946150 w 1146175"/>
                    <a:gd name="connsiteY82" fmla="*/ 1079500 h 1655757"/>
                    <a:gd name="connsiteX83" fmla="*/ 936625 w 1146175"/>
                    <a:gd name="connsiteY83" fmla="*/ 1095375 h 1655757"/>
                    <a:gd name="connsiteX84" fmla="*/ 923925 w 1146175"/>
                    <a:gd name="connsiteY84" fmla="*/ 1130300 h 1655757"/>
                    <a:gd name="connsiteX85" fmla="*/ 917575 w 1146175"/>
                    <a:gd name="connsiteY85" fmla="*/ 1139825 h 1655757"/>
                    <a:gd name="connsiteX86" fmla="*/ 923925 w 1146175"/>
                    <a:gd name="connsiteY86" fmla="*/ 1193800 h 1655757"/>
                    <a:gd name="connsiteX87" fmla="*/ 939800 w 1146175"/>
                    <a:gd name="connsiteY87" fmla="*/ 1216025 h 1655757"/>
                    <a:gd name="connsiteX88" fmla="*/ 946150 w 1146175"/>
                    <a:gd name="connsiteY88" fmla="*/ 1228725 h 1655757"/>
                    <a:gd name="connsiteX89" fmla="*/ 952500 w 1146175"/>
                    <a:gd name="connsiteY89" fmla="*/ 1238250 h 1655757"/>
                    <a:gd name="connsiteX90" fmla="*/ 965200 w 1146175"/>
                    <a:gd name="connsiteY90" fmla="*/ 1263650 h 1655757"/>
                    <a:gd name="connsiteX91" fmla="*/ 974725 w 1146175"/>
                    <a:gd name="connsiteY91" fmla="*/ 1285875 h 1655757"/>
                    <a:gd name="connsiteX92" fmla="*/ 977900 w 1146175"/>
                    <a:gd name="connsiteY92" fmla="*/ 1298575 h 1655757"/>
                    <a:gd name="connsiteX93" fmla="*/ 981075 w 1146175"/>
                    <a:gd name="connsiteY93" fmla="*/ 1308100 h 1655757"/>
                    <a:gd name="connsiteX94" fmla="*/ 974725 w 1146175"/>
                    <a:gd name="connsiteY94" fmla="*/ 1343025 h 1655757"/>
                    <a:gd name="connsiteX95" fmla="*/ 949325 w 1146175"/>
                    <a:gd name="connsiteY95" fmla="*/ 1374775 h 1655757"/>
                    <a:gd name="connsiteX96" fmla="*/ 939800 w 1146175"/>
                    <a:gd name="connsiteY96" fmla="*/ 1381125 h 1655757"/>
                    <a:gd name="connsiteX97" fmla="*/ 930275 w 1146175"/>
                    <a:gd name="connsiteY97" fmla="*/ 1390650 h 1655757"/>
                    <a:gd name="connsiteX98" fmla="*/ 923925 w 1146175"/>
                    <a:gd name="connsiteY98" fmla="*/ 1400175 h 1655757"/>
                    <a:gd name="connsiteX99" fmla="*/ 908050 w 1146175"/>
                    <a:gd name="connsiteY99" fmla="*/ 1409700 h 1655757"/>
                    <a:gd name="connsiteX100" fmla="*/ 895350 w 1146175"/>
                    <a:gd name="connsiteY100" fmla="*/ 1422400 h 1655757"/>
                    <a:gd name="connsiteX101" fmla="*/ 882650 w 1146175"/>
                    <a:gd name="connsiteY101" fmla="*/ 1431925 h 1655757"/>
                    <a:gd name="connsiteX102" fmla="*/ 873125 w 1146175"/>
                    <a:gd name="connsiteY102" fmla="*/ 1441450 h 1655757"/>
                    <a:gd name="connsiteX103" fmla="*/ 844550 w 1146175"/>
                    <a:gd name="connsiteY103" fmla="*/ 1457325 h 1655757"/>
                    <a:gd name="connsiteX104" fmla="*/ 835025 w 1146175"/>
                    <a:gd name="connsiteY104" fmla="*/ 1460500 h 1655757"/>
                    <a:gd name="connsiteX105" fmla="*/ 815975 w 1146175"/>
                    <a:gd name="connsiteY105" fmla="*/ 1454150 h 1655757"/>
                    <a:gd name="connsiteX106" fmla="*/ 774700 w 1146175"/>
                    <a:gd name="connsiteY106" fmla="*/ 1438275 h 1655757"/>
                    <a:gd name="connsiteX107" fmla="*/ 749300 w 1146175"/>
                    <a:gd name="connsiteY107" fmla="*/ 1431925 h 1655757"/>
                    <a:gd name="connsiteX108" fmla="*/ 717550 w 1146175"/>
                    <a:gd name="connsiteY108" fmla="*/ 1419225 h 1655757"/>
                    <a:gd name="connsiteX109" fmla="*/ 688975 w 1146175"/>
                    <a:gd name="connsiteY109" fmla="*/ 1412875 h 1655757"/>
                    <a:gd name="connsiteX110" fmla="*/ 657225 w 1146175"/>
                    <a:gd name="connsiteY110" fmla="*/ 1403350 h 1655757"/>
                    <a:gd name="connsiteX111" fmla="*/ 635000 w 1146175"/>
                    <a:gd name="connsiteY111" fmla="*/ 1406525 h 1655757"/>
                    <a:gd name="connsiteX112" fmla="*/ 622300 w 1146175"/>
                    <a:gd name="connsiteY112" fmla="*/ 1412875 h 1655757"/>
                    <a:gd name="connsiteX113" fmla="*/ 606425 w 1146175"/>
                    <a:gd name="connsiteY113" fmla="*/ 1422400 h 1655757"/>
                    <a:gd name="connsiteX114" fmla="*/ 577850 w 1146175"/>
                    <a:gd name="connsiteY114" fmla="*/ 1438275 h 1655757"/>
                    <a:gd name="connsiteX115" fmla="*/ 558800 w 1146175"/>
                    <a:gd name="connsiteY115" fmla="*/ 1441450 h 1655757"/>
                    <a:gd name="connsiteX116" fmla="*/ 501650 w 1146175"/>
                    <a:gd name="connsiteY116" fmla="*/ 1447800 h 1655757"/>
                    <a:gd name="connsiteX117" fmla="*/ 492125 w 1146175"/>
                    <a:gd name="connsiteY117" fmla="*/ 1454150 h 1655757"/>
                    <a:gd name="connsiteX118" fmla="*/ 466725 w 1146175"/>
                    <a:gd name="connsiteY118" fmla="*/ 1485900 h 1655757"/>
                    <a:gd name="connsiteX119" fmla="*/ 457200 w 1146175"/>
                    <a:gd name="connsiteY119" fmla="*/ 1504950 h 1655757"/>
                    <a:gd name="connsiteX120" fmla="*/ 454025 w 1146175"/>
                    <a:gd name="connsiteY120" fmla="*/ 1514475 h 1655757"/>
                    <a:gd name="connsiteX121" fmla="*/ 447675 w 1146175"/>
                    <a:gd name="connsiteY121" fmla="*/ 1530350 h 1655757"/>
                    <a:gd name="connsiteX122" fmla="*/ 434975 w 1146175"/>
                    <a:gd name="connsiteY122" fmla="*/ 1555750 h 1655757"/>
                    <a:gd name="connsiteX123" fmla="*/ 431800 w 1146175"/>
                    <a:gd name="connsiteY123" fmla="*/ 1571625 h 1655757"/>
                    <a:gd name="connsiteX124" fmla="*/ 425450 w 1146175"/>
                    <a:gd name="connsiteY124" fmla="*/ 1597025 h 1655757"/>
                    <a:gd name="connsiteX125" fmla="*/ 422275 w 1146175"/>
                    <a:gd name="connsiteY125" fmla="*/ 1606550 h 1655757"/>
                    <a:gd name="connsiteX126" fmla="*/ 412750 w 1146175"/>
                    <a:gd name="connsiteY126" fmla="*/ 1616075 h 1655757"/>
                    <a:gd name="connsiteX127" fmla="*/ 222250 w 1146175"/>
                    <a:gd name="connsiteY127" fmla="*/ 1622425 h 1655757"/>
                    <a:gd name="connsiteX128" fmla="*/ 215900 w 1146175"/>
                    <a:gd name="connsiteY128" fmla="*/ 1606550 h 1655757"/>
                    <a:gd name="connsiteX129" fmla="*/ 206375 w 1146175"/>
                    <a:gd name="connsiteY129" fmla="*/ 1593850 h 1655757"/>
                    <a:gd name="connsiteX130" fmla="*/ 203200 w 1146175"/>
                    <a:gd name="connsiteY130" fmla="*/ 1581150 h 1655757"/>
                    <a:gd name="connsiteX131" fmla="*/ 196850 w 1146175"/>
                    <a:gd name="connsiteY131" fmla="*/ 1568450 h 1655757"/>
                    <a:gd name="connsiteX132" fmla="*/ 193675 w 1146175"/>
                    <a:gd name="connsiteY132" fmla="*/ 1558925 h 1655757"/>
                    <a:gd name="connsiteX133" fmla="*/ 187325 w 1146175"/>
                    <a:gd name="connsiteY133" fmla="*/ 1546225 h 1655757"/>
                    <a:gd name="connsiteX134" fmla="*/ 180975 w 1146175"/>
                    <a:gd name="connsiteY134" fmla="*/ 1530350 h 1655757"/>
                    <a:gd name="connsiteX135" fmla="*/ 161925 w 1146175"/>
                    <a:gd name="connsiteY135" fmla="*/ 1501775 h 1655757"/>
                    <a:gd name="connsiteX136" fmla="*/ 149225 w 1146175"/>
                    <a:gd name="connsiteY136" fmla="*/ 1479550 h 1655757"/>
                    <a:gd name="connsiteX137" fmla="*/ 142875 w 1146175"/>
                    <a:gd name="connsiteY137" fmla="*/ 1463675 h 1655757"/>
                    <a:gd name="connsiteX138" fmla="*/ 130175 w 1146175"/>
                    <a:gd name="connsiteY138" fmla="*/ 1460500 h 1655757"/>
                    <a:gd name="connsiteX139" fmla="*/ 101600 w 1146175"/>
                    <a:gd name="connsiteY139" fmla="*/ 1447800 h 1655757"/>
                    <a:gd name="connsiteX140" fmla="*/ 69850 w 1146175"/>
                    <a:gd name="connsiteY140" fmla="*/ 1438275 h 1655757"/>
                    <a:gd name="connsiteX141" fmla="*/ 41275 w 1146175"/>
                    <a:gd name="connsiteY141" fmla="*/ 1425575 h 1655757"/>
                    <a:gd name="connsiteX142" fmla="*/ 31750 w 1146175"/>
                    <a:gd name="connsiteY142" fmla="*/ 1419225 h 1655757"/>
                    <a:gd name="connsiteX143" fmla="*/ 15875 w 1146175"/>
                    <a:gd name="connsiteY143" fmla="*/ 1412875 h 1655757"/>
                    <a:gd name="connsiteX144" fmla="*/ 0 w 1146175"/>
                    <a:gd name="connsiteY144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85725 w 1146175"/>
                    <a:gd name="connsiteY2" fmla="*/ 187325 h 1655757"/>
                    <a:gd name="connsiteX3" fmla="*/ 127000 w 1146175"/>
                    <a:gd name="connsiteY3" fmla="*/ 165100 h 1655757"/>
                    <a:gd name="connsiteX4" fmla="*/ 139700 w 1146175"/>
                    <a:gd name="connsiteY4" fmla="*/ 158750 h 1655757"/>
                    <a:gd name="connsiteX5" fmla="*/ 155575 w 1146175"/>
                    <a:gd name="connsiteY5" fmla="*/ 155575 h 1655757"/>
                    <a:gd name="connsiteX6" fmla="*/ 168275 w 1146175"/>
                    <a:gd name="connsiteY6" fmla="*/ 142875 h 1655757"/>
                    <a:gd name="connsiteX7" fmla="*/ 180975 w 1146175"/>
                    <a:gd name="connsiteY7" fmla="*/ 127000 h 1655757"/>
                    <a:gd name="connsiteX8" fmla="*/ 193675 w 1146175"/>
                    <a:gd name="connsiteY8" fmla="*/ 107950 h 1655757"/>
                    <a:gd name="connsiteX9" fmla="*/ 206375 w 1146175"/>
                    <a:gd name="connsiteY9" fmla="*/ 73025 h 1655757"/>
                    <a:gd name="connsiteX10" fmla="*/ 209550 w 1146175"/>
                    <a:gd name="connsiteY10" fmla="*/ 60325 h 1655757"/>
                    <a:gd name="connsiteX11" fmla="*/ 228600 w 1146175"/>
                    <a:gd name="connsiteY11" fmla="*/ 28575 h 1655757"/>
                    <a:gd name="connsiteX12" fmla="*/ 238125 w 1146175"/>
                    <a:gd name="connsiteY12" fmla="*/ 9525 h 1655757"/>
                    <a:gd name="connsiteX13" fmla="*/ 269875 w 1146175"/>
                    <a:gd name="connsiteY13" fmla="*/ 0 h 1655757"/>
                    <a:gd name="connsiteX14" fmla="*/ 428625 w 1146175"/>
                    <a:gd name="connsiteY14" fmla="*/ 6350 h 1655757"/>
                    <a:gd name="connsiteX15" fmla="*/ 434975 w 1146175"/>
                    <a:gd name="connsiteY15" fmla="*/ 19050 h 1655757"/>
                    <a:gd name="connsiteX16" fmla="*/ 441325 w 1146175"/>
                    <a:gd name="connsiteY16" fmla="*/ 34925 h 1655757"/>
                    <a:gd name="connsiteX17" fmla="*/ 447675 w 1146175"/>
                    <a:gd name="connsiteY17" fmla="*/ 44450 h 1655757"/>
                    <a:gd name="connsiteX18" fmla="*/ 454025 w 1146175"/>
                    <a:gd name="connsiteY18" fmla="*/ 60325 h 1655757"/>
                    <a:gd name="connsiteX19" fmla="*/ 460375 w 1146175"/>
                    <a:gd name="connsiteY19" fmla="*/ 69850 h 1655757"/>
                    <a:gd name="connsiteX20" fmla="*/ 476250 w 1146175"/>
                    <a:gd name="connsiteY20" fmla="*/ 101600 h 1655757"/>
                    <a:gd name="connsiteX21" fmla="*/ 479425 w 1146175"/>
                    <a:gd name="connsiteY21" fmla="*/ 117475 h 1655757"/>
                    <a:gd name="connsiteX22" fmla="*/ 485775 w 1146175"/>
                    <a:gd name="connsiteY22" fmla="*/ 127000 h 1655757"/>
                    <a:gd name="connsiteX23" fmla="*/ 492125 w 1146175"/>
                    <a:gd name="connsiteY23" fmla="*/ 139700 h 1655757"/>
                    <a:gd name="connsiteX24" fmla="*/ 508000 w 1146175"/>
                    <a:gd name="connsiteY24" fmla="*/ 165100 h 1655757"/>
                    <a:gd name="connsiteX25" fmla="*/ 527050 w 1146175"/>
                    <a:gd name="connsiteY25" fmla="*/ 168275 h 1655757"/>
                    <a:gd name="connsiteX26" fmla="*/ 558800 w 1146175"/>
                    <a:gd name="connsiteY26" fmla="*/ 184150 h 1655757"/>
                    <a:gd name="connsiteX27" fmla="*/ 574675 w 1146175"/>
                    <a:gd name="connsiteY27" fmla="*/ 187325 h 1655757"/>
                    <a:gd name="connsiteX28" fmla="*/ 635000 w 1146175"/>
                    <a:gd name="connsiteY28" fmla="*/ 215900 h 1655757"/>
                    <a:gd name="connsiteX29" fmla="*/ 717550 w 1146175"/>
                    <a:gd name="connsiteY29" fmla="*/ 212725 h 1655757"/>
                    <a:gd name="connsiteX30" fmla="*/ 733425 w 1146175"/>
                    <a:gd name="connsiteY30" fmla="*/ 206375 h 1655757"/>
                    <a:gd name="connsiteX31" fmla="*/ 771525 w 1146175"/>
                    <a:gd name="connsiteY31" fmla="*/ 200025 h 1655757"/>
                    <a:gd name="connsiteX32" fmla="*/ 796925 w 1146175"/>
                    <a:gd name="connsiteY32" fmla="*/ 190500 h 1655757"/>
                    <a:gd name="connsiteX33" fmla="*/ 838200 w 1146175"/>
                    <a:gd name="connsiteY33" fmla="*/ 180975 h 1655757"/>
                    <a:gd name="connsiteX34" fmla="*/ 879475 w 1146175"/>
                    <a:gd name="connsiteY34" fmla="*/ 200025 h 1655757"/>
                    <a:gd name="connsiteX35" fmla="*/ 885825 w 1146175"/>
                    <a:gd name="connsiteY35" fmla="*/ 209550 h 1655757"/>
                    <a:gd name="connsiteX36" fmla="*/ 901700 w 1146175"/>
                    <a:gd name="connsiteY36" fmla="*/ 225425 h 1655757"/>
                    <a:gd name="connsiteX37" fmla="*/ 917575 w 1146175"/>
                    <a:gd name="connsiteY37" fmla="*/ 238125 h 1655757"/>
                    <a:gd name="connsiteX38" fmla="*/ 936625 w 1146175"/>
                    <a:gd name="connsiteY38" fmla="*/ 250825 h 1655757"/>
                    <a:gd name="connsiteX39" fmla="*/ 955675 w 1146175"/>
                    <a:gd name="connsiteY39" fmla="*/ 273050 h 1655757"/>
                    <a:gd name="connsiteX40" fmla="*/ 974725 w 1146175"/>
                    <a:gd name="connsiteY40" fmla="*/ 298450 h 1655757"/>
                    <a:gd name="connsiteX41" fmla="*/ 968375 w 1146175"/>
                    <a:gd name="connsiteY41" fmla="*/ 333375 h 1655757"/>
                    <a:gd name="connsiteX42" fmla="*/ 965200 w 1146175"/>
                    <a:gd name="connsiteY42" fmla="*/ 342900 h 1655757"/>
                    <a:gd name="connsiteX43" fmla="*/ 949325 w 1146175"/>
                    <a:gd name="connsiteY43" fmla="*/ 361950 h 1655757"/>
                    <a:gd name="connsiteX44" fmla="*/ 939800 w 1146175"/>
                    <a:gd name="connsiteY44" fmla="*/ 384175 h 1655757"/>
                    <a:gd name="connsiteX45" fmla="*/ 936625 w 1146175"/>
                    <a:gd name="connsiteY45" fmla="*/ 396875 h 1655757"/>
                    <a:gd name="connsiteX46" fmla="*/ 930275 w 1146175"/>
                    <a:gd name="connsiteY46" fmla="*/ 412750 h 1655757"/>
                    <a:gd name="connsiteX47" fmla="*/ 927100 w 1146175"/>
                    <a:gd name="connsiteY47" fmla="*/ 425450 h 1655757"/>
                    <a:gd name="connsiteX48" fmla="*/ 920750 w 1146175"/>
                    <a:gd name="connsiteY48" fmla="*/ 441325 h 1655757"/>
                    <a:gd name="connsiteX49" fmla="*/ 917575 w 1146175"/>
                    <a:gd name="connsiteY49" fmla="*/ 454025 h 1655757"/>
                    <a:gd name="connsiteX50" fmla="*/ 914400 w 1146175"/>
                    <a:gd name="connsiteY50" fmla="*/ 463550 h 1655757"/>
                    <a:gd name="connsiteX51" fmla="*/ 917575 w 1146175"/>
                    <a:gd name="connsiteY51" fmla="*/ 501650 h 1655757"/>
                    <a:gd name="connsiteX52" fmla="*/ 923925 w 1146175"/>
                    <a:gd name="connsiteY52" fmla="*/ 514350 h 1655757"/>
                    <a:gd name="connsiteX53" fmla="*/ 939800 w 1146175"/>
                    <a:gd name="connsiteY53" fmla="*/ 533400 h 1655757"/>
                    <a:gd name="connsiteX54" fmla="*/ 942975 w 1146175"/>
                    <a:gd name="connsiteY54" fmla="*/ 542925 h 1655757"/>
                    <a:gd name="connsiteX55" fmla="*/ 955675 w 1146175"/>
                    <a:gd name="connsiteY55" fmla="*/ 568325 h 1655757"/>
                    <a:gd name="connsiteX56" fmla="*/ 968375 w 1146175"/>
                    <a:gd name="connsiteY56" fmla="*/ 609600 h 1655757"/>
                    <a:gd name="connsiteX57" fmla="*/ 974725 w 1146175"/>
                    <a:gd name="connsiteY57" fmla="*/ 622300 h 1655757"/>
                    <a:gd name="connsiteX58" fmla="*/ 981075 w 1146175"/>
                    <a:gd name="connsiteY58" fmla="*/ 641350 h 1655757"/>
                    <a:gd name="connsiteX59" fmla="*/ 993775 w 1146175"/>
                    <a:gd name="connsiteY59" fmla="*/ 644525 h 1655757"/>
                    <a:gd name="connsiteX60" fmla="*/ 1012825 w 1146175"/>
                    <a:gd name="connsiteY60" fmla="*/ 647700 h 1655757"/>
                    <a:gd name="connsiteX61" fmla="*/ 1041400 w 1146175"/>
                    <a:gd name="connsiteY61" fmla="*/ 660400 h 1655757"/>
                    <a:gd name="connsiteX62" fmla="*/ 1050925 w 1146175"/>
                    <a:gd name="connsiteY62" fmla="*/ 663575 h 1655757"/>
                    <a:gd name="connsiteX63" fmla="*/ 1066800 w 1146175"/>
                    <a:gd name="connsiteY63" fmla="*/ 673100 h 1655757"/>
                    <a:gd name="connsiteX64" fmla="*/ 1089025 w 1146175"/>
                    <a:gd name="connsiteY64" fmla="*/ 682625 h 1655757"/>
                    <a:gd name="connsiteX65" fmla="*/ 1117600 w 1146175"/>
                    <a:gd name="connsiteY65" fmla="*/ 701675 h 1655757"/>
                    <a:gd name="connsiteX66" fmla="*/ 1136650 w 1146175"/>
                    <a:gd name="connsiteY66" fmla="*/ 708025 h 1655757"/>
                    <a:gd name="connsiteX67" fmla="*/ 1146175 w 1146175"/>
                    <a:gd name="connsiteY67" fmla="*/ 898525 h 1655757"/>
                    <a:gd name="connsiteX68" fmla="*/ 1127125 w 1146175"/>
                    <a:gd name="connsiteY68" fmla="*/ 908050 h 1655757"/>
                    <a:gd name="connsiteX69" fmla="*/ 1101725 w 1146175"/>
                    <a:gd name="connsiteY69" fmla="*/ 914400 h 1655757"/>
                    <a:gd name="connsiteX70" fmla="*/ 1092200 w 1146175"/>
                    <a:gd name="connsiteY70" fmla="*/ 920750 h 1655757"/>
                    <a:gd name="connsiteX71" fmla="*/ 1079500 w 1146175"/>
                    <a:gd name="connsiteY71" fmla="*/ 923925 h 1655757"/>
                    <a:gd name="connsiteX72" fmla="*/ 1069975 w 1146175"/>
                    <a:gd name="connsiteY72" fmla="*/ 933450 h 1655757"/>
                    <a:gd name="connsiteX73" fmla="*/ 1060450 w 1146175"/>
                    <a:gd name="connsiteY73" fmla="*/ 939800 h 1655757"/>
                    <a:gd name="connsiteX74" fmla="*/ 1038225 w 1146175"/>
                    <a:gd name="connsiteY74" fmla="*/ 952500 h 1655757"/>
                    <a:gd name="connsiteX75" fmla="*/ 996950 w 1146175"/>
                    <a:gd name="connsiteY75" fmla="*/ 977900 h 1655757"/>
                    <a:gd name="connsiteX76" fmla="*/ 977900 w 1146175"/>
                    <a:gd name="connsiteY76" fmla="*/ 984250 h 1655757"/>
                    <a:gd name="connsiteX77" fmla="*/ 968375 w 1146175"/>
                    <a:gd name="connsiteY77" fmla="*/ 1009650 h 1655757"/>
                    <a:gd name="connsiteX78" fmla="*/ 958850 w 1146175"/>
                    <a:gd name="connsiteY78" fmla="*/ 1035050 h 1655757"/>
                    <a:gd name="connsiteX79" fmla="*/ 955675 w 1146175"/>
                    <a:gd name="connsiteY79" fmla="*/ 1060450 h 1655757"/>
                    <a:gd name="connsiteX80" fmla="*/ 949325 w 1146175"/>
                    <a:gd name="connsiteY80" fmla="*/ 1069975 h 1655757"/>
                    <a:gd name="connsiteX81" fmla="*/ 946150 w 1146175"/>
                    <a:gd name="connsiteY81" fmla="*/ 1079500 h 1655757"/>
                    <a:gd name="connsiteX82" fmla="*/ 936625 w 1146175"/>
                    <a:gd name="connsiteY82" fmla="*/ 1095375 h 1655757"/>
                    <a:gd name="connsiteX83" fmla="*/ 923925 w 1146175"/>
                    <a:gd name="connsiteY83" fmla="*/ 1130300 h 1655757"/>
                    <a:gd name="connsiteX84" fmla="*/ 917575 w 1146175"/>
                    <a:gd name="connsiteY84" fmla="*/ 1139825 h 1655757"/>
                    <a:gd name="connsiteX85" fmla="*/ 923925 w 1146175"/>
                    <a:gd name="connsiteY85" fmla="*/ 1193800 h 1655757"/>
                    <a:gd name="connsiteX86" fmla="*/ 939800 w 1146175"/>
                    <a:gd name="connsiteY86" fmla="*/ 1216025 h 1655757"/>
                    <a:gd name="connsiteX87" fmla="*/ 946150 w 1146175"/>
                    <a:gd name="connsiteY87" fmla="*/ 1228725 h 1655757"/>
                    <a:gd name="connsiteX88" fmla="*/ 952500 w 1146175"/>
                    <a:gd name="connsiteY88" fmla="*/ 1238250 h 1655757"/>
                    <a:gd name="connsiteX89" fmla="*/ 965200 w 1146175"/>
                    <a:gd name="connsiteY89" fmla="*/ 1263650 h 1655757"/>
                    <a:gd name="connsiteX90" fmla="*/ 974725 w 1146175"/>
                    <a:gd name="connsiteY90" fmla="*/ 1285875 h 1655757"/>
                    <a:gd name="connsiteX91" fmla="*/ 977900 w 1146175"/>
                    <a:gd name="connsiteY91" fmla="*/ 1298575 h 1655757"/>
                    <a:gd name="connsiteX92" fmla="*/ 981075 w 1146175"/>
                    <a:gd name="connsiteY92" fmla="*/ 1308100 h 1655757"/>
                    <a:gd name="connsiteX93" fmla="*/ 974725 w 1146175"/>
                    <a:gd name="connsiteY93" fmla="*/ 1343025 h 1655757"/>
                    <a:gd name="connsiteX94" fmla="*/ 949325 w 1146175"/>
                    <a:gd name="connsiteY94" fmla="*/ 1374775 h 1655757"/>
                    <a:gd name="connsiteX95" fmla="*/ 939800 w 1146175"/>
                    <a:gd name="connsiteY95" fmla="*/ 1381125 h 1655757"/>
                    <a:gd name="connsiteX96" fmla="*/ 930275 w 1146175"/>
                    <a:gd name="connsiteY96" fmla="*/ 1390650 h 1655757"/>
                    <a:gd name="connsiteX97" fmla="*/ 923925 w 1146175"/>
                    <a:gd name="connsiteY97" fmla="*/ 1400175 h 1655757"/>
                    <a:gd name="connsiteX98" fmla="*/ 908050 w 1146175"/>
                    <a:gd name="connsiteY98" fmla="*/ 1409700 h 1655757"/>
                    <a:gd name="connsiteX99" fmla="*/ 895350 w 1146175"/>
                    <a:gd name="connsiteY99" fmla="*/ 1422400 h 1655757"/>
                    <a:gd name="connsiteX100" fmla="*/ 882650 w 1146175"/>
                    <a:gd name="connsiteY100" fmla="*/ 1431925 h 1655757"/>
                    <a:gd name="connsiteX101" fmla="*/ 873125 w 1146175"/>
                    <a:gd name="connsiteY101" fmla="*/ 1441450 h 1655757"/>
                    <a:gd name="connsiteX102" fmla="*/ 844550 w 1146175"/>
                    <a:gd name="connsiteY102" fmla="*/ 1457325 h 1655757"/>
                    <a:gd name="connsiteX103" fmla="*/ 835025 w 1146175"/>
                    <a:gd name="connsiteY103" fmla="*/ 1460500 h 1655757"/>
                    <a:gd name="connsiteX104" fmla="*/ 815975 w 1146175"/>
                    <a:gd name="connsiteY104" fmla="*/ 1454150 h 1655757"/>
                    <a:gd name="connsiteX105" fmla="*/ 774700 w 1146175"/>
                    <a:gd name="connsiteY105" fmla="*/ 1438275 h 1655757"/>
                    <a:gd name="connsiteX106" fmla="*/ 749300 w 1146175"/>
                    <a:gd name="connsiteY106" fmla="*/ 1431925 h 1655757"/>
                    <a:gd name="connsiteX107" fmla="*/ 717550 w 1146175"/>
                    <a:gd name="connsiteY107" fmla="*/ 1419225 h 1655757"/>
                    <a:gd name="connsiteX108" fmla="*/ 688975 w 1146175"/>
                    <a:gd name="connsiteY108" fmla="*/ 1412875 h 1655757"/>
                    <a:gd name="connsiteX109" fmla="*/ 657225 w 1146175"/>
                    <a:gd name="connsiteY109" fmla="*/ 1403350 h 1655757"/>
                    <a:gd name="connsiteX110" fmla="*/ 635000 w 1146175"/>
                    <a:gd name="connsiteY110" fmla="*/ 1406525 h 1655757"/>
                    <a:gd name="connsiteX111" fmla="*/ 622300 w 1146175"/>
                    <a:gd name="connsiteY111" fmla="*/ 1412875 h 1655757"/>
                    <a:gd name="connsiteX112" fmla="*/ 606425 w 1146175"/>
                    <a:gd name="connsiteY112" fmla="*/ 1422400 h 1655757"/>
                    <a:gd name="connsiteX113" fmla="*/ 577850 w 1146175"/>
                    <a:gd name="connsiteY113" fmla="*/ 1438275 h 1655757"/>
                    <a:gd name="connsiteX114" fmla="*/ 558800 w 1146175"/>
                    <a:gd name="connsiteY114" fmla="*/ 1441450 h 1655757"/>
                    <a:gd name="connsiteX115" fmla="*/ 501650 w 1146175"/>
                    <a:gd name="connsiteY115" fmla="*/ 1447800 h 1655757"/>
                    <a:gd name="connsiteX116" fmla="*/ 492125 w 1146175"/>
                    <a:gd name="connsiteY116" fmla="*/ 1454150 h 1655757"/>
                    <a:gd name="connsiteX117" fmla="*/ 466725 w 1146175"/>
                    <a:gd name="connsiteY117" fmla="*/ 1485900 h 1655757"/>
                    <a:gd name="connsiteX118" fmla="*/ 457200 w 1146175"/>
                    <a:gd name="connsiteY118" fmla="*/ 1504950 h 1655757"/>
                    <a:gd name="connsiteX119" fmla="*/ 454025 w 1146175"/>
                    <a:gd name="connsiteY119" fmla="*/ 1514475 h 1655757"/>
                    <a:gd name="connsiteX120" fmla="*/ 447675 w 1146175"/>
                    <a:gd name="connsiteY120" fmla="*/ 1530350 h 1655757"/>
                    <a:gd name="connsiteX121" fmla="*/ 434975 w 1146175"/>
                    <a:gd name="connsiteY121" fmla="*/ 1555750 h 1655757"/>
                    <a:gd name="connsiteX122" fmla="*/ 431800 w 1146175"/>
                    <a:gd name="connsiteY122" fmla="*/ 1571625 h 1655757"/>
                    <a:gd name="connsiteX123" fmla="*/ 425450 w 1146175"/>
                    <a:gd name="connsiteY123" fmla="*/ 1597025 h 1655757"/>
                    <a:gd name="connsiteX124" fmla="*/ 422275 w 1146175"/>
                    <a:gd name="connsiteY124" fmla="*/ 1606550 h 1655757"/>
                    <a:gd name="connsiteX125" fmla="*/ 412750 w 1146175"/>
                    <a:gd name="connsiteY125" fmla="*/ 1616075 h 1655757"/>
                    <a:gd name="connsiteX126" fmla="*/ 222250 w 1146175"/>
                    <a:gd name="connsiteY126" fmla="*/ 1622425 h 1655757"/>
                    <a:gd name="connsiteX127" fmla="*/ 215900 w 1146175"/>
                    <a:gd name="connsiteY127" fmla="*/ 1606550 h 1655757"/>
                    <a:gd name="connsiteX128" fmla="*/ 206375 w 1146175"/>
                    <a:gd name="connsiteY128" fmla="*/ 1593850 h 1655757"/>
                    <a:gd name="connsiteX129" fmla="*/ 203200 w 1146175"/>
                    <a:gd name="connsiteY129" fmla="*/ 1581150 h 1655757"/>
                    <a:gd name="connsiteX130" fmla="*/ 196850 w 1146175"/>
                    <a:gd name="connsiteY130" fmla="*/ 1568450 h 1655757"/>
                    <a:gd name="connsiteX131" fmla="*/ 193675 w 1146175"/>
                    <a:gd name="connsiteY131" fmla="*/ 1558925 h 1655757"/>
                    <a:gd name="connsiteX132" fmla="*/ 187325 w 1146175"/>
                    <a:gd name="connsiteY132" fmla="*/ 1546225 h 1655757"/>
                    <a:gd name="connsiteX133" fmla="*/ 180975 w 1146175"/>
                    <a:gd name="connsiteY133" fmla="*/ 1530350 h 1655757"/>
                    <a:gd name="connsiteX134" fmla="*/ 161925 w 1146175"/>
                    <a:gd name="connsiteY134" fmla="*/ 1501775 h 1655757"/>
                    <a:gd name="connsiteX135" fmla="*/ 149225 w 1146175"/>
                    <a:gd name="connsiteY135" fmla="*/ 1479550 h 1655757"/>
                    <a:gd name="connsiteX136" fmla="*/ 142875 w 1146175"/>
                    <a:gd name="connsiteY136" fmla="*/ 1463675 h 1655757"/>
                    <a:gd name="connsiteX137" fmla="*/ 130175 w 1146175"/>
                    <a:gd name="connsiteY137" fmla="*/ 1460500 h 1655757"/>
                    <a:gd name="connsiteX138" fmla="*/ 101600 w 1146175"/>
                    <a:gd name="connsiteY138" fmla="*/ 1447800 h 1655757"/>
                    <a:gd name="connsiteX139" fmla="*/ 69850 w 1146175"/>
                    <a:gd name="connsiteY139" fmla="*/ 1438275 h 1655757"/>
                    <a:gd name="connsiteX140" fmla="*/ 41275 w 1146175"/>
                    <a:gd name="connsiteY140" fmla="*/ 1425575 h 1655757"/>
                    <a:gd name="connsiteX141" fmla="*/ 31750 w 1146175"/>
                    <a:gd name="connsiteY141" fmla="*/ 1419225 h 1655757"/>
                    <a:gd name="connsiteX142" fmla="*/ 15875 w 1146175"/>
                    <a:gd name="connsiteY142" fmla="*/ 1412875 h 1655757"/>
                    <a:gd name="connsiteX143" fmla="*/ 0 w 1146175"/>
                    <a:gd name="connsiteY143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39700 w 1146175"/>
                    <a:gd name="connsiteY3" fmla="*/ 158750 h 1655757"/>
                    <a:gd name="connsiteX4" fmla="*/ 155575 w 1146175"/>
                    <a:gd name="connsiteY4" fmla="*/ 155575 h 1655757"/>
                    <a:gd name="connsiteX5" fmla="*/ 168275 w 1146175"/>
                    <a:gd name="connsiteY5" fmla="*/ 142875 h 1655757"/>
                    <a:gd name="connsiteX6" fmla="*/ 180975 w 1146175"/>
                    <a:gd name="connsiteY6" fmla="*/ 127000 h 1655757"/>
                    <a:gd name="connsiteX7" fmla="*/ 193675 w 1146175"/>
                    <a:gd name="connsiteY7" fmla="*/ 107950 h 1655757"/>
                    <a:gd name="connsiteX8" fmla="*/ 206375 w 1146175"/>
                    <a:gd name="connsiteY8" fmla="*/ 73025 h 1655757"/>
                    <a:gd name="connsiteX9" fmla="*/ 209550 w 1146175"/>
                    <a:gd name="connsiteY9" fmla="*/ 60325 h 1655757"/>
                    <a:gd name="connsiteX10" fmla="*/ 228600 w 1146175"/>
                    <a:gd name="connsiteY10" fmla="*/ 28575 h 1655757"/>
                    <a:gd name="connsiteX11" fmla="*/ 238125 w 1146175"/>
                    <a:gd name="connsiteY11" fmla="*/ 9525 h 1655757"/>
                    <a:gd name="connsiteX12" fmla="*/ 269875 w 1146175"/>
                    <a:gd name="connsiteY12" fmla="*/ 0 h 1655757"/>
                    <a:gd name="connsiteX13" fmla="*/ 428625 w 1146175"/>
                    <a:gd name="connsiteY13" fmla="*/ 6350 h 1655757"/>
                    <a:gd name="connsiteX14" fmla="*/ 434975 w 1146175"/>
                    <a:gd name="connsiteY14" fmla="*/ 19050 h 1655757"/>
                    <a:gd name="connsiteX15" fmla="*/ 441325 w 1146175"/>
                    <a:gd name="connsiteY15" fmla="*/ 34925 h 1655757"/>
                    <a:gd name="connsiteX16" fmla="*/ 447675 w 1146175"/>
                    <a:gd name="connsiteY16" fmla="*/ 44450 h 1655757"/>
                    <a:gd name="connsiteX17" fmla="*/ 454025 w 1146175"/>
                    <a:gd name="connsiteY17" fmla="*/ 60325 h 1655757"/>
                    <a:gd name="connsiteX18" fmla="*/ 460375 w 1146175"/>
                    <a:gd name="connsiteY18" fmla="*/ 69850 h 1655757"/>
                    <a:gd name="connsiteX19" fmla="*/ 476250 w 1146175"/>
                    <a:gd name="connsiteY19" fmla="*/ 101600 h 1655757"/>
                    <a:gd name="connsiteX20" fmla="*/ 479425 w 1146175"/>
                    <a:gd name="connsiteY20" fmla="*/ 117475 h 1655757"/>
                    <a:gd name="connsiteX21" fmla="*/ 485775 w 1146175"/>
                    <a:gd name="connsiteY21" fmla="*/ 127000 h 1655757"/>
                    <a:gd name="connsiteX22" fmla="*/ 492125 w 1146175"/>
                    <a:gd name="connsiteY22" fmla="*/ 139700 h 1655757"/>
                    <a:gd name="connsiteX23" fmla="*/ 508000 w 1146175"/>
                    <a:gd name="connsiteY23" fmla="*/ 165100 h 1655757"/>
                    <a:gd name="connsiteX24" fmla="*/ 527050 w 1146175"/>
                    <a:gd name="connsiteY24" fmla="*/ 168275 h 1655757"/>
                    <a:gd name="connsiteX25" fmla="*/ 558800 w 1146175"/>
                    <a:gd name="connsiteY25" fmla="*/ 184150 h 1655757"/>
                    <a:gd name="connsiteX26" fmla="*/ 574675 w 1146175"/>
                    <a:gd name="connsiteY26" fmla="*/ 187325 h 1655757"/>
                    <a:gd name="connsiteX27" fmla="*/ 635000 w 1146175"/>
                    <a:gd name="connsiteY27" fmla="*/ 215900 h 1655757"/>
                    <a:gd name="connsiteX28" fmla="*/ 717550 w 1146175"/>
                    <a:gd name="connsiteY28" fmla="*/ 212725 h 1655757"/>
                    <a:gd name="connsiteX29" fmla="*/ 733425 w 1146175"/>
                    <a:gd name="connsiteY29" fmla="*/ 206375 h 1655757"/>
                    <a:gd name="connsiteX30" fmla="*/ 771525 w 1146175"/>
                    <a:gd name="connsiteY30" fmla="*/ 200025 h 1655757"/>
                    <a:gd name="connsiteX31" fmla="*/ 796925 w 1146175"/>
                    <a:gd name="connsiteY31" fmla="*/ 190500 h 1655757"/>
                    <a:gd name="connsiteX32" fmla="*/ 838200 w 1146175"/>
                    <a:gd name="connsiteY32" fmla="*/ 180975 h 1655757"/>
                    <a:gd name="connsiteX33" fmla="*/ 879475 w 1146175"/>
                    <a:gd name="connsiteY33" fmla="*/ 200025 h 1655757"/>
                    <a:gd name="connsiteX34" fmla="*/ 885825 w 1146175"/>
                    <a:gd name="connsiteY34" fmla="*/ 209550 h 1655757"/>
                    <a:gd name="connsiteX35" fmla="*/ 901700 w 1146175"/>
                    <a:gd name="connsiteY35" fmla="*/ 225425 h 1655757"/>
                    <a:gd name="connsiteX36" fmla="*/ 917575 w 1146175"/>
                    <a:gd name="connsiteY36" fmla="*/ 238125 h 1655757"/>
                    <a:gd name="connsiteX37" fmla="*/ 936625 w 1146175"/>
                    <a:gd name="connsiteY37" fmla="*/ 250825 h 1655757"/>
                    <a:gd name="connsiteX38" fmla="*/ 955675 w 1146175"/>
                    <a:gd name="connsiteY38" fmla="*/ 273050 h 1655757"/>
                    <a:gd name="connsiteX39" fmla="*/ 974725 w 1146175"/>
                    <a:gd name="connsiteY39" fmla="*/ 298450 h 1655757"/>
                    <a:gd name="connsiteX40" fmla="*/ 968375 w 1146175"/>
                    <a:gd name="connsiteY40" fmla="*/ 333375 h 1655757"/>
                    <a:gd name="connsiteX41" fmla="*/ 965200 w 1146175"/>
                    <a:gd name="connsiteY41" fmla="*/ 342900 h 1655757"/>
                    <a:gd name="connsiteX42" fmla="*/ 949325 w 1146175"/>
                    <a:gd name="connsiteY42" fmla="*/ 361950 h 1655757"/>
                    <a:gd name="connsiteX43" fmla="*/ 939800 w 1146175"/>
                    <a:gd name="connsiteY43" fmla="*/ 384175 h 1655757"/>
                    <a:gd name="connsiteX44" fmla="*/ 936625 w 1146175"/>
                    <a:gd name="connsiteY44" fmla="*/ 396875 h 1655757"/>
                    <a:gd name="connsiteX45" fmla="*/ 930275 w 1146175"/>
                    <a:gd name="connsiteY45" fmla="*/ 412750 h 1655757"/>
                    <a:gd name="connsiteX46" fmla="*/ 927100 w 1146175"/>
                    <a:gd name="connsiteY46" fmla="*/ 425450 h 1655757"/>
                    <a:gd name="connsiteX47" fmla="*/ 920750 w 1146175"/>
                    <a:gd name="connsiteY47" fmla="*/ 441325 h 1655757"/>
                    <a:gd name="connsiteX48" fmla="*/ 917575 w 1146175"/>
                    <a:gd name="connsiteY48" fmla="*/ 454025 h 1655757"/>
                    <a:gd name="connsiteX49" fmla="*/ 914400 w 1146175"/>
                    <a:gd name="connsiteY49" fmla="*/ 463550 h 1655757"/>
                    <a:gd name="connsiteX50" fmla="*/ 917575 w 1146175"/>
                    <a:gd name="connsiteY50" fmla="*/ 501650 h 1655757"/>
                    <a:gd name="connsiteX51" fmla="*/ 923925 w 1146175"/>
                    <a:gd name="connsiteY51" fmla="*/ 514350 h 1655757"/>
                    <a:gd name="connsiteX52" fmla="*/ 939800 w 1146175"/>
                    <a:gd name="connsiteY52" fmla="*/ 533400 h 1655757"/>
                    <a:gd name="connsiteX53" fmla="*/ 942975 w 1146175"/>
                    <a:gd name="connsiteY53" fmla="*/ 542925 h 1655757"/>
                    <a:gd name="connsiteX54" fmla="*/ 955675 w 1146175"/>
                    <a:gd name="connsiteY54" fmla="*/ 568325 h 1655757"/>
                    <a:gd name="connsiteX55" fmla="*/ 968375 w 1146175"/>
                    <a:gd name="connsiteY55" fmla="*/ 609600 h 1655757"/>
                    <a:gd name="connsiteX56" fmla="*/ 974725 w 1146175"/>
                    <a:gd name="connsiteY56" fmla="*/ 622300 h 1655757"/>
                    <a:gd name="connsiteX57" fmla="*/ 981075 w 1146175"/>
                    <a:gd name="connsiteY57" fmla="*/ 641350 h 1655757"/>
                    <a:gd name="connsiteX58" fmla="*/ 993775 w 1146175"/>
                    <a:gd name="connsiteY58" fmla="*/ 644525 h 1655757"/>
                    <a:gd name="connsiteX59" fmla="*/ 1012825 w 1146175"/>
                    <a:gd name="connsiteY59" fmla="*/ 647700 h 1655757"/>
                    <a:gd name="connsiteX60" fmla="*/ 1041400 w 1146175"/>
                    <a:gd name="connsiteY60" fmla="*/ 660400 h 1655757"/>
                    <a:gd name="connsiteX61" fmla="*/ 1050925 w 1146175"/>
                    <a:gd name="connsiteY61" fmla="*/ 663575 h 1655757"/>
                    <a:gd name="connsiteX62" fmla="*/ 1066800 w 1146175"/>
                    <a:gd name="connsiteY62" fmla="*/ 673100 h 1655757"/>
                    <a:gd name="connsiteX63" fmla="*/ 1089025 w 1146175"/>
                    <a:gd name="connsiteY63" fmla="*/ 682625 h 1655757"/>
                    <a:gd name="connsiteX64" fmla="*/ 1117600 w 1146175"/>
                    <a:gd name="connsiteY64" fmla="*/ 701675 h 1655757"/>
                    <a:gd name="connsiteX65" fmla="*/ 1136650 w 1146175"/>
                    <a:gd name="connsiteY65" fmla="*/ 708025 h 1655757"/>
                    <a:gd name="connsiteX66" fmla="*/ 1146175 w 1146175"/>
                    <a:gd name="connsiteY66" fmla="*/ 898525 h 1655757"/>
                    <a:gd name="connsiteX67" fmla="*/ 1127125 w 1146175"/>
                    <a:gd name="connsiteY67" fmla="*/ 908050 h 1655757"/>
                    <a:gd name="connsiteX68" fmla="*/ 1101725 w 1146175"/>
                    <a:gd name="connsiteY68" fmla="*/ 914400 h 1655757"/>
                    <a:gd name="connsiteX69" fmla="*/ 1092200 w 1146175"/>
                    <a:gd name="connsiteY69" fmla="*/ 920750 h 1655757"/>
                    <a:gd name="connsiteX70" fmla="*/ 1079500 w 1146175"/>
                    <a:gd name="connsiteY70" fmla="*/ 923925 h 1655757"/>
                    <a:gd name="connsiteX71" fmla="*/ 1069975 w 1146175"/>
                    <a:gd name="connsiteY71" fmla="*/ 933450 h 1655757"/>
                    <a:gd name="connsiteX72" fmla="*/ 1060450 w 1146175"/>
                    <a:gd name="connsiteY72" fmla="*/ 939800 h 1655757"/>
                    <a:gd name="connsiteX73" fmla="*/ 1038225 w 1146175"/>
                    <a:gd name="connsiteY73" fmla="*/ 952500 h 1655757"/>
                    <a:gd name="connsiteX74" fmla="*/ 996950 w 1146175"/>
                    <a:gd name="connsiteY74" fmla="*/ 977900 h 1655757"/>
                    <a:gd name="connsiteX75" fmla="*/ 977900 w 1146175"/>
                    <a:gd name="connsiteY75" fmla="*/ 984250 h 1655757"/>
                    <a:gd name="connsiteX76" fmla="*/ 968375 w 1146175"/>
                    <a:gd name="connsiteY76" fmla="*/ 1009650 h 1655757"/>
                    <a:gd name="connsiteX77" fmla="*/ 958850 w 1146175"/>
                    <a:gd name="connsiteY77" fmla="*/ 1035050 h 1655757"/>
                    <a:gd name="connsiteX78" fmla="*/ 955675 w 1146175"/>
                    <a:gd name="connsiteY78" fmla="*/ 1060450 h 1655757"/>
                    <a:gd name="connsiteX79" fmla="*/ 949325 w 1146175"/>
                    <a:gd name="connsiteY79" fmla="*/ 1069975 h 1655757"/>
                    <a:gd name="connsiteX80" fmla="*/ 946150 w 1146175"/>
                    <a:gd name="connsiteY80" fmla="*/ 1079500 h 1655757"/>
                    <a:gd name="connsiteX81" fmla="*/ 936625 w 1146175"/>
                    <a:gd name="connsiteY81" fmla="*/ 1095375 h 1655757"/>
                    <a:gd name="connsiteX82" fmla="*/ 923925 w 1146175"/>
                    <a:gd name="connsiteY82" fmla="*/ 1130300 h 1655757"/>
                    <a:gd name="connsiteX83" fmla="*/ 917575 w 1146175"/>
                    <a:gd name="connsiteY83" fmla="*/ 1139825 h 1655757"/>
                    <a:gd name="connsiteX84" fmla="*/ 923925 w 1146175"/>
                    <a:gd name="connsiteY84" fmla="*/ 1193800 h 1655757"/>
                    <a:gd name="connsiteX85" fmla="*/ 939800 w 1146175"/>
                    <a:gd name="connsiteY85" fmla="*/ 1216025 h 1655757"/>
                    <a:gd name="connsiteX86" fmla="*/ 946150 w 1146175"/>
                    <a:gd name="connsiteY86" fmla="*/ 1228725 h 1655757"/>
                    <a:gd name="connsiteX87" fmla="*/ 952500 w 1146175"/>
                    <a:gd name="connsiteY87" fmla="*/ 1238250 h 1655757"/>
                    <a:gd name="connsiteX88" fmla="*/ 965200 w 1146175"/>
                    <a:gd name="connsiteY88" fmla="*/ 1263650 h 1655757"/>
                    <a:gd name="connsiteX89" fmla="*/ 974725 w 1146175"/>
                    <a:gd name="connsiteY89" fmla="*/ 1285875 h 1655757"/>
                    <a:gd name="connsiteX90" fmla="*/ 977900 w 1146175"/>
                    <a:gd name="connsiteY90" fmla="*/ 1298575 h 1655757"/>
                    <a:gd name="connsiteX91" fmla="*/ 981075 w 1146175"/>
                    <a:gd name="connsiteY91" fmla="*/ 1308100 h 1655757"/>
                    <a:gd name="connsiteX92" fmla="*/ 974725 w 1146175"/>
                    <a:gd name="connsiteY92" fmla="*/ 1343025 h 1655757"/>
                    <a:gd name="connsiteX93" fmla="*/ 949325 w 1146175"/>
                    <a:gd name="connsiteY93" fmla="*/ 1374775 h 1655757"/>
                    <a:gd name="connsiteX94" fmla="*/ 939800 w 1146175"/>
                    <a:gd name="connsiteY94" fmla="*/ 1381125 h 1655757"/>
                    <a:gd name="connsiteX95" fmla="*/ 930275 w 1146175"/>
                    <a:gd name="connsiteY95" fmla="*/ 1390650 h 1655757"/>
                    <a:gd name="connsiteX96" fmla="*/ 923925 w 1146175"/>
                    <a:gd name="connsiteY96" fmla="*/ 1400175 h 1655757"/>
                    <a:gd name="connsiteX97" fmla="*/ 908050 w 1146175"/>
                    <a:gd name="connsiteY97" fmla="*/ 1409700 h 1655757"/>
                    <a:gd name="connsiteX98" fmla="*/ 895350 w 1146175"/>
                    <a:gd name="connsiteY98" fmla="*/ 1422400 h 1655757"/>
                    <a:gd name="connsiteX99" fmla="*/ 882650 w 1146175"/>
                    <a:gd name="connsiteY99" fmla="*/ 1431925 h 1655757"/>
                    <a:gd name="connsiteX100" fmla="*/ 873125 w 1146175"/>
                    <a:gd name="connsiteY100" fmla="*/ 1441450 h 1655757"/>
                    <a:gd name="connsiteX101" fmla="*/ 844550 w 1146175"/>
                    <a:gd name="connsiteY101" fmla="*/ 1457325 h 1655757"/>
                    <a:gd name="connsiteX102" fmla="*/ 835025 w 1146175"/>
                    <a:gd name="connsiteY102" fmla="*/ 1460500 h 1655757"/>
                    <a:gd name="connsiteX103" fmla="*/ 815975 w 1146175"/>
                    <a:gd name="connsiteY103" fmla="*/ 1454150 h 1655757"/>
                    <a:gd name="connsiteX104" fmla="*/ 774700 w 1146175"/>
                    <a:gd name="connsiteY104" fmla="*/ 1438275 h 1655757"/>
                    <a:gd name="connsiteX105" fmla="*/ 749300 w 1146175"/>
                    <a:gd name="connsiteY105" fmla="*/ 1431925 h 1655757"/>
                    <a:gd name="connsiteX106" fmla="*/ 717550 w 1146175"/>
                    <a:gd name="connsiteY106" fmla="*/ 1419225 h 1655757"/>
                    <a:gd name="connsiteX107" fmla="*/ 688975 w 1146175"/>
                    <a:gd name="connsiteY107" fmla="*/ 1412875 h 1655757"/>
                    <a:gd name="connsiteX108" fmla="*/ 657225 w 1146175"/>
                    <a:gd name="connsiteY108" fmla="*/ 1403350 h 1655757"/>
                    <a:gd name="connsiteX109" fmla="*/ 635000 w 1146175"/>
                    <a:gd name="connsiteY109" fmla="*/ 1406525 h 1655757"/>
                    <a:gd name="connsiteX110" fmla="*/ 622300 w 1146175"/>
                    <a:gd name="connsiteY110" fmla="*/ 1412875 h 1655757"/>
                    <a:gd name="connsiteX111" fmla="*/ 606425 w 1146175"/>
                    <a:gd name="connsiteY111" fmla="*/ 1422400 h 1655757"/>
                    <a:gd name="connsiteX112" fmla="*/ 577850 w 1146175"/>
                    <a:gd name="connsiteY112" fmla="*/ 1438275 h 1655757"/>
                    <a:gd name="connsiteX113" fmla="*/ 558800 w 1146175"/>
                    <a:gd name="connsiteY113" fmla="*/ 1441450 h 1655757"/>
                    <a:gd name="connsiteX114" fmla="*/ 501650 w 1146175"/>
                    <a:gd name="connsiteY114" fmla="*/ 1447800 h 1655757"/>
                    <a:gd name="connsiteX115" fmla="*/ 492125 w 1146175"/>
                    <a:gd name="connsiteY115" fmla="*/ 1454150 h 1655757"/>
                    <a:gd name="connsiteX116" fmla="*/ 466725 w 1146175"/>
                    <a:gd name="connsiteY116" fmla="*/ 1485900 h 1655757"/>
                    <a:gd name="connsiteX117" fmla="*/ 457200 w 1146175"/>
                    <a:gd name="connsiteY117" fmla="*/ 1504950 h 1655757"/>
                    <a:gd name="connsiteX118" fmla="*/ 454025 w 1146175"/>
                    <a:gd name="connsiteY118" fmla="*/ 1514475 h 1655757"/>
                    <a:gd name="connsiteX119" fmla="*/ 447675 w 1146175"/>
                    <a:gd name="connsiteY119" fmla="*/ 1530350 h 1655757"/>
                    <a:gd name="connsiteX120" fmla="*/ 434975 w 1146175"/>
                    <a:gd name="connsiteY120" fmla="*/ 1555750 h 1655757"/>
                    <a:gd name="connsiteX121" fmla="*/ 431800 w 1146175"/>
                    <a:gd name="connsiteY121" fmla="*/ 1571625 h 1655757"/>
                    <a:gd name="connsiteX122" fmla="*/ 425450 w 1146175"/>
                    <a:gd name="connsiteY122" fmla="*/ 1597025 h 1655757"/>
                    <a:gd name="connsiteX123" fmla="*/ 422275 w 1146175"/>
                    <a:gd name="connsiteY123" fmla="*/ 1606550 h 1655757"/>
                    <a:gd name="connsiteX124" fmla="*/ 412750 w 1146175"/>
                    <a:gd name="connsiteY124" fmla="*/ 1616075 h 1655757"/>
                    <a:gd name="connsiteX125" fmla="*/ 222250 w 1146175"/>
                    <a:gd name="connsiteY125" fmla="*/ 1622425 h 1655757"/>
                    <a:gd name="connsiteX126" fmla="*/ 215900 w 1146175"/>
                    <a:gd name="connsiteY126" fmla="*/ 1606550 h 1655757"/>
                    <a:gd name="connsiteX127" fmla="*/ 206375 w 1146175"/>
                    <a:gd name="connsiteY127" fmla="*/ 1593850 h 1655757"/>
                    <a:gd name="connsiteX128" fmla="*/ 203200 w 1146175"/>
                    <a:gd name="connsiteY128" fmla="*/ 1581150 h 1655757"/>
                    <a:gd name="connsiteX129" fmla="*/ 196850 w 1146175"/>
                    <a:gd name="connsiteY129" fmla="*/ 1568450 h 1655757"/>
                    <a:gd name="connsiteX130" fmla="*/ 193675 w 1146175"/>
                    <a:gd name="connsiteY130" fmla="*/ 1558925 h 1655757"/>
                    <a:gd name="connsiteX131" fmla="*/ 187325 w 1146175"/>
                    <a:gd name="connsiteY131" fmla="*/ 1546225 h 1655757"/>
                    <a:gd name="connsiteX132" fmla="*/ 180975 w 1146175"/>
                    <a:gd name="connsiteY132" fmla="*/ 1530350 h 1655757"/>
                    <a:gd name="connsiteX133" fmla="*/ 161925 w 1146175"/>
                    <a:gd name="connsiteY133" fmla="*/ 1501775 h 1655757"/>
                    <a:gd name="connsiteX134" fmla="*/ 149225 w 1146175"/>
                    <a:gd name="connsiteY134" fmla="*/ 1479550 h 1655757"/>
                    <a:gd name="connsiteX135" fmla="*/ 142875 w 1146175"/>
                    <a:gd name="connsiteY135" fmla="*/ 1463675 h 1655757"/>
                    <a:gd name="connsiteX136" fmla="*/ 130175 w 1146175"/>
                    <a:gd name="connsiteY136" fmla="*/ 1460500 h 1655757"/>
                    <a:gd name="connsiteX137" fmla="*/ 101600 w 1146175"/>
                    <a:gd name="connsiteY137" fmla="*/ 1447800 h 1655757"/>
                    <a:gd name="connsiteX138" fmla="*/ 69850 w 1146175"/>
                    <a:gd name="connsiteY138" fmla="*/ 1438275 h 1655757"/>
                    <a:gd name="connsiteX139" fmla="*/ 41275 w 1146175"/>
                    <a:gd name="connsiteY139" fmla="*/ 1425575 h 1655757"/>
                    <a:gd name="connsiteX140" fmla="*/ 31750 w 1146175"/>
                    <a:gd name="connsiteY140" fmla="*/ 1419225 h 1655757"/>
                    <a:gd name="connsiteX141" fmla="*/ 15875 w 1146175"/>
                    <a:gd name="connsiteY141" fmla="*/ 1412875 h 1655757"/>
                    <a:gd name="connsiteX142" fmla="*/ 0 w 1146175"/>
                    <a:gd name="connsiteY142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55575 w 1146175"/>
                    <a:gd name="connsiteY3" fmla="*/ 155575 h 1655757"/>
                    <a:gd name="connsiteX4" fmla="*/ 168275 w 1146175"/>
                    <a:gd name="connsiteY4" fmla="*/ 142875 h 1655757"/>
                    <a:gd name="connsiteX5" fmla="*/ 180975 w 1146175"/>
                    <a:gd name="connsiteY5" fmla="*/ 127000 h 1655757"/>
                    <a:gd name="connsiteX6" fmla="*/ 193675 w 1146175"/>
                    <a:gd name="connsiteY6" fmla="*/ 107950 h 1655757"/>
                    <a:gd name="connsiteX7" fmla="*/ 206375 w 1146175"/>
                    <a:gd name="connsiteY7" fmla="*/ 73025 h 1655757"/>
                    <a:gd name="connsiteX8" fmla="*/ 209550 w 1146175"/>
                    <a:gd name="connsiteY8" fmla="*/ 60325 h 1655757"/>
                    <a:gd name="connsiteX9" fmla="*/ 228600 w 1146175"/>
                    <a:gd name="connsiteY9" fmla="*/ 28575 h 1655757"/>
                    <a:gd name="connsiteX10" fmla="*/ 238125 w 1146175"/>
                    <a:gd name="connsiteY10" fmla="*/ 9525 h 1655757"/>
                    <a:gd name="connsiteX11" fmla="*/ 269875 w 1146175"/>
                    <a:gd name="connsiteY11" fmla="*/ 0 h 1655757"/>
                    <a:gd name="connsiteX12" fmla="*/ 428625 w 1146175"/>
                    <a:gd name="connsiteY12" fmla="*/ 6350 h 1655757"/>
                    <a:gd name="connsiteX13" fmla="*/ 434975 w 1146175"/>
                    <a:gd name="connsiteY13" fmla="*/ 19050 h 1655757"/>
                    <a:gd name="connsiteX14" fmla="*/ 441325 w 1146175"/>
                    <a:gd name="connsiteY14" fmla="*/ 34925 h 1655757"/>
                    <a:gd name="connsiteX15" fmla="*/ 447675 w 1146175"/>
                    <a:gd name="connsiteY15" fmla="*/ 44450 h 1655757"/>
                    <a:gd name="connsiteX16" fmla="*/ 454025 w 1146175"/>
                    <a:gd name="connsiteY16" fmla="*/ 60325 h 1655757"/>
                    <a:gd name="connsiteX17" fmla="*/ 460375 w 1146175"/>
                    <a:gd name="connsiteY17" fmla="*/ 69850 h 1655757"/>
                    <a:gd name="connsiteX18" fmla="*/ 476250 w 1146175"/>
                    <a:gd name="connsiteY18" fmla="*/ 101600 h 1655757"/>
                    <a:gd name="connsiteX19" fmla="*/ 479425 w 1146175"/>
                    <a:gd name="connsiteY19" fmla="*/ 117475 h 1655757"/>
                    <a:gd name="connsiteX20" fmla="*/ 485775 w 1146175"/>
                    <a:gd name="connsiteY20" fmla="*/ 127000 h 1655757"/>
                    <a:gd name="connsiteX21" fmla="*/ 492125 w 1146175"/>
                    <a:gd name="connsiteY21" fmla="*/ 139700 h 1655757"/>
                    <a:gd name="connsiteX22" fmla="*/ 508000 w 1146175"/>
                    <a:gd name="connsiteY22" fmla="*/ 165100 h 1655757"/>
                    <a:gd name="connsiteX23" fmla="*/ 527050 w 1146175"/>
                    <a:gd name="connsiteY23" fmla="*/ 168275 h 1655757"/>
                    <a:gd name="connsiteX24" fmla="*/ 558800 w 1146175"/>
                    <a:gd name="connsiteY24" fmla="*/ 184150 h 1655757"/>
                    <a:gd name="connsiteX25" fmla="*/ 574675 w 1146175"/>
                    <a:gd name="connsiteY25" fmla="*/ 187325 h 1655757"/>
                    <a:gd name="connsiteX26" fmla="*/ 635000 w 1146175"/>
                    <a:gd name="connsiteY26" fmla="*/ 215900 h 1655757"/>
                    <a:gd name="connsiteX27" fmla="*/ 717550 w 1146175"/>
                    <a:gd name="connsiteY27" fmla="*/ 212725 h 1655757"/>
                    <a:gd name="connsiteX28" fmla="*/ 733425 w 1146175"/>
                    <a:gd name="connsiteY28" fmla="*/ 206375 h 1655757"/>
                    <a:gd name="connsiteX29" fmla="*/ 771525 w 1146175"/>
                    <a:gd name="connsiteY29" fmla="*/ 200025 h 1655757"/>
                    <a:gd name="connsiteX30" fmla="*/ 796925 w 1146175"/>
                    <a:gd name="connsiteY30" fmla="*/ 190500 h 1655757"/>
                    <a:gd name="connsiteX31" fmla="*/ 838200 w 1146175"/>
                    <a:gd name="connsiteY31" fmla="*/ 180975 h 1655757"/>
                    <a:gd name="connsiteX32" fmla="*/ 879475 w 1146175"/>
                    <a:gd name="connsiteY32" fmla="*/ 200025 h 1655757"/>
                    <a:gd name="connsiteX33" fmla="*/ 885825 w 1146175"/>
                    <a:gd name="connsiteY33" fmla="*/ 209550 h 1655757"/>
                    <a:gd name="connsiteX34" fmla="*/ 901700 w 1146175"/>
                    <a:gd name="connsiteY34" fmla="*/ 225425 h 1655757"/>
                    <a:gd name="connsiteX35" fmla="*/ 917575 w 1146175"/>
                    <a:gd name="connsiteY35" fmla="*/ 238125 h 1655757"/>
                    <a:gd name="connsiteX36" fmla="*/ 936625 w 1146175"/>
                    <a:gd name="connsiteY36" fmla="*/ 250825 h 1655757"/>
                    <a:gd name="connsiteX37" fmla="*/ 955675 w 1146175"/>
                    <a:gd name="connsiteY37" fmla="*/ 273050 h 1655757"/>
                    <a:gd name="connsiteX38" fmla="*/ 974725 w 1146175"/>
                    <a:gd name="connsiteY38" fmla="*/ 298450 h 1655757"/>
                    <a:gd name="connsiteX39" fmla="*/ 968375 w 1146175"/>
                    <a:gd name="connsiteY39" fmla="*/ 333375 h 1655757"/>
                    <a:gd name="connsiteX40" fmla="*/ 965200 w 1146175"/>
                    <a:gd name="connsiteY40" fmla="*/ 342900 h 1655757"/>
                    <a:gd name="connsiteX41" fmla="*/ 949325 w 1146175"/>
                    <a:gd name="connsiteY41" fmla="*/ 361950 h 1655757"/>
                    <a:gd name="connsiteX42" fmla="*/ 939800 w 1146175"/>
                    <a:gd name="connsiteY42" fmla="*/ 384175 h 1655757"/>
                    <a:gd name="connsiteX43" fmla="*/ 936625 w 1146175"/>
                    <a:gd name="connsiteY43" fmla="*/ 396875 h 1655757"/>
                    <a:gd name="connsiteX44" fmla="*/ 930275 w 1146175"/>
                    <a:gd name="connsiteY44" fmla="*/ 412750 h 1655757"/>
                    <a:gd name="connsiteX45" fmla="*/ 927100 w 1146175"/>
                    <a:gd name="connsiteY45" fmla="*/ 425450 h 1655757"/>
                    <a:gd name="connsiteX46" fmla="*/ 920750 w 1146175"/>
                    <a:gd name="connsiteY46" fmla="*/ 441325 h 1655757"/>
                    <a:gd name="connsiteX47" fmla="*/ 917575 w 1146175"/>
                    <a:gd name="connsiteY47" fmla="*/ 454025 h 1655757"/>
                    <a:gd name="connsiteX48" fmla="*/ 914400 w 1146175"/>
                    <a:gd name="connsiteY48" fmla="*/ 463550 h 1655757"/>
                    <a:gd name="connsiteX49" fmla="*/ 917575 w 1146175"/>
                    <a:gd name="connsiteY49" fmla="*/ 501650 h 1655757"/>
                    <a:gd name="connsiteX50" fmla="*/ 923925 w 1146175"/>
                    <a:gd name="connsiteY50" fmla="*/ 514350 h 1655757"/>
                    <a:gd name="connsiteX51" fmla="*/ 939800 w 1146175"/>
                    <a:gd name="connsiteY51" fmla="*/ 533400 h 1655757"/>
                    <a:gd name="connsiteX52" fmla="*/ 942975 w 1146175"/>
                    <a:gd name="connsiteY52" fmla="*/ 542925 h 1655757"/>
                    <a:gd name="connsiteX53" fmla="*/ 955675 w 1146175"/>
                    <a:gd name="connsiteY53" fmla="*/ 568325 h 1655757"/>
                    <a:gd name="connsiteX54" fmla="*/ 968375 w 1146175"/>
                    <a:gd name="connsiteY54" fmla="*/ 609600 h 1655757"/>
                    <a:gd name="connsiteX55" fmla="*/ 974725 w 1146175"/>
                    <a:gd name="connsiteY55" fmla="*/ 622300 h 1655757"/>
                    <a:gd name="connsiteX56" fmla="*/ 981075 w 1146175"/>
                    <a:gd name="connsiteY56" fmla="*/ 641350 h 1655757"/>
                    <a:gd name="connsiteX57" fmla="*/ 993775 w 1146175"/>
                    <a:gd name="connsiteY57" fmla="*/ 644525 h 1655757"/>
                    <a:gd name="connsiteX58" fmla="*/ 1012825 w 1146175"/>
                    <a:gd name="connsiteY58" fmla="*/ 647700 h 1655757"/>
                    <a:gd name="connsiteX59" fmla="*/ 1041400 w 1146175"/>
                    <a:gd name="connsiteY59" fmla="*/ 660400 h 1655757"/>
                    <a:gd name="connsiteX60" fmla="*/ 1050925 w 1146175"/>
                    <a:gd name="connsiteY60" fmla="*/ 663575 h 1655757"/>
                    <a:gd name="connsiteX61" fmla="*/ 1066800 w 1146175"/>
                    <a:gd name="connsiteY61" fmla="*/ 673100 h 1655757"/>
                    <a:gd name="connsiteX62" fmla="*/ 1089025 w 1146175"/>
                    <a:gd name="connsiteY62" fmla="*/ 682625 h 1655757"/>
                    <a:gd name="connsiteX63" fmla="*/ 1117600 w 1146175"/>
                    <a:gd name="connsiteY63" fmla="*/ 701675 h 1655757"/>
                    <a:gd name="connsiteX64" fmla="*/ 1136650 w 1146175"/>
                    <a:gd name="connsiteY64" fmla="*/ 708025 h 1655757"/>
                    <a:gd name="connsiteX65" fmla="*/ 1146175 w 1146175"/>
                    <a:gd name="connsiteY65" fmla="*/ 898525 h 1655757"/>
                    <a:gd name="connsiteX66" fmla="*/ 1127125 w 1146175"/>
                    <a:gd name="connsiteY66" fmla="*/ 908050 h 1655757"/>
                    <a:gd name="connsiteX67" fmla="*/ 1101725 w 1146175"/>
                    <a:gd name="connsiteY67" fmla="*/ 914400 h 1655757"/>
                    <a:gd name="connsiteX68" fmla="*/ 1092200 w 1146175"/>
                    <a:gd name="connsiteY68" fmla="*/ 920750 h 1655757"/>
                    <a:gd name="connsiteX69" fmla="*/ 1079500 w 1146175"/>
                    <a:gd name="connsiteY69" fmla="*/ 923925 h 1655757"/>
                    <a:gd name="connsiteX70" fmla="*/ 1069975 w 1146175"/>
                    <a:gd name="connsiteY70" fmla="*/ 933450 h 1655757"/>
                    <a:gd name="connsiteX71" fmla="*/ 1060450 w 1146175"/>
                    <a:gd name="connsiteY71" fmla="*/ 939800 h 1655757"/>
                    <a:gd name="connsiteX72" fmla="*/ 1038225 w 1146175"/>
                    <a:gd name="connsiteY72" fmla="*/ 952500 h 1655757"/>
                    <a:gd name="connsiteX73" fmla="*/ 996950 w 1146175"/>
                    <a:gd name="connsiteY73" fmla="*/ 977900 h 1655757"/>
                    <a:gd name="connsiteX74" fmla="*/ 977900 w 1146175"/>
                    <a:gd name="connsiteY74" fmla="*/ 984250 h 1655757"/>
                    <a:gd name="connsiteX75" fmla="*/ 968375 w 1146175"/>
                    <a:gd name="connsiteY75" fmla="*/ 1009650 h 1655757"/>
                    <a:gd name="connsiteX76" fmla="*/ 958850 w 1146175"/>
                    <a:gd name="connsiteY76" fmla="*/ 1035050 h 1655757"/>
                    <a:gd name="connsiteX77" fmla="*/ 955675 w 1146175"/>
                    <a:gd name="connsiteY77" fmla="*/ 1060450 h 1655757"/>
                    <a:gd name="connsiteX78" fmla="*/ 949325 w 1146175"/>
                    <a:gd name="connsiteY78" fmla="*/ 1069975 h 1655757"/>
                    <a:gd name="connsiteX79" fmla="*/ 946150 w 1146175"/>
                    <a:gd name="connsiteY79" fmla="*/ 1079500 h 1655757"/>
                    <a:gd name="connsiteX80" fmla="*/ 936625 w 1146175"/>
                    <a:gd name="connsiteY80" fmla="*/ 1095375 h 1655757"/>
                    <a:gd name="connsiteX81" fmla="*/ 923925 w 1146175"/>
                    <a:gd name="connsiteY81" fmla="*/ 1130300 h 1655757"/>
                    <a:gd name="connsiteX82" fmla="*/ 917575 w 1146175"/>
                    <a:gd name="connsiteY82" fmla="*/ 1139825 h 1655757"/>
                    <a:gd name="connsiteX83" fmla="*/ 923925 w 1146175"/>
                    <a:gd name="connsiteY83" fmla="*/ 1193800 h 1655757"/>
                    <a:gd name="connsiteX84" fmla="*/ 939800 w 1146175"/>
                    <a:gd name="connsiteY84" fmla="*/ 1216025 h 1655757"/>
                    <a:gd name="connsiteX85" fmla="*/ 946150 w 1146175"/>
                    <a:gd name="connsiteY85" fmla="*/ 1228725 h 1655757"/>
                    <a:gd name="connsiteX86" fmla="*/ 952500 w 1146175"/>
                    <a:gd name="connsiteY86" fmla="*/ 1238250 h 1655757"/>
                    <a:gd name="connsiteX87" fmla="*/ 965200 w 1146175"/>
                    <a:gd name="connsiteY87" fmla="*/ 1263650 h 1655757"/>
                    <a:gd name="connsiteX88" fmla="*/ 974725 w 1146175"/>
                    <a:gd name="connsiteY88" fmla="*/ 1285875 h 1655757"/>
                    <a:gd name="connsiteX89" fmla="*/ 977900 w 1146175"/>
                    <a:gd name="connsiteY89" fmla="*/ 1298575 h 1655757"/>
                    <a:gd name="connsiteX90" fmla="*/ 981075 w 1146175"/>
                    <a:gd name="connsiteY90" fmla="*/ 1308100 h 1655757"/>
                    <a:gd name="connsiteX91" fmla="*/ 974725 w 1146175"/>
                    <a:gd name="connsiteY91" fmla="*/ 1343025 h 1655757"/>
                    <a:gd name="connsiteX92" fmla="*/ 949325 w 1146175"/>
                    <a:gd name="connsiteY92" fmla="*/ 1374775 h 1655757"/>
                    <a:gd name="connsiteX93" fmla="*/ 939800 w 1146175"/>
                    <a:gd name="connsiteY93" fmla="*/ 1381125 h 1655757"/>
                    <a:gd name="connsiteX94" fmla="*/ 930275 w 1146175"/>
                    <a:gd name="connsiteY94" fmla="*/ 1390650 h 1655757"/>
                    <a:gd name="connsiteX95" fmla="*/ 923925 w 1146175"/>
                    <a:gd name="connsiteY95" fmla="*/ 1400175 h 1655757"/>
                    <a:gd name="connsiteX96" fmla="*/ 908050 w 1146175"/>
                    <a:gd name="connsiteY96" fmla="*/ 1409700 h 1655757"/>
                    <a:gd name="connsiteX97" fmla="*/ 895350 w 1146175"/>
                    <a:gd name="connsiteY97" fmla="*/ 1422400 h 1655757"/>
                    <a:gd name="connsiteX98" fmla="*/ 882650 w 1146175"/>
                    <a:gd name="connsiteY98" fmla="*/ 1431925 h 1655757"/>
                    <a:gd name="connsiteX99" fmla="*/ 873125 w 1146175"/>
                    <a:gd name="connsiteY99" fmla="*/ 1441450 h 1655757"/>
                    <a:gd name="connsiteX100" fmla="*/ 844550 w 1146175"/>
                    <a:gd name="connsiteY100" fmla="*/ 1457325 h 1655757"/>
                    <a:gd name="connsiteX101" fmla="*/ 835025 w 1146175"/>
                    <a:gd name="connsiteY101" fmla="*/ 1460500 h 1655757"/>
                    <a:gd name="connsiteX102" fmla="*/ 815975 w 1146175"/>
                    <a:gd name="connsiteY102" fmla="*/ 1454150 h 1655757"/>
                    <a:gd name="connsiteX103" fmla="*/ 774700 w 1146175"/>
                    <a:gd name="connsiteY103" fmla="*/ 1438275 h 1655757"/>
                    <a:gd name="connsiteX104" fmla="*/ 749300 w 1146175"/>
                    <a:gd name="connsiteY104" fmla="*/ 1431925 h 1655757"/>
                    <a:gd name="connsiteX105" fmla="*/ 717550 w 1146175"/>
                    <a:gd name="connsiteY105" fmla="*/ 1419225 h 1655757"/>
                    <a:gd name="connsiteX106" fmla="*/ 688975 w 1146175"/>
                    <a:gd name="connsiteY106" fmla="*/ 1412875 h 1655757"/>
                    <a:gd name="connsiteX107" fmla="*/ 657225 w 1146175"/>
                    <a:gd name="connsiteY107" fmla="*/ 1403350 h 1655757"/>
                    <a:gd name="connsiteX108" fmla="*/ 635000 w 1146175"/>
                    <a:gd name="connsiteY108" fmla="*/ 1406525 h 1655757"/>
                    <a:gd name="connsiteX109" fmla="*/ 622300 w 1146175"/>
                    <a:gd name="connsiteY109" fmla="*/ 1412875 h 1655757"/>
                    <a:gd name="connsiteX110" fmla="*/ 606425 w 1146175"/>
                    <a:gd name="connsiteY110" fmla="*/ 1422400 h 1655757"/>
                    <a:gd name="connsiteX111" fmla="*/ 577850 w 1146175"/>
                    <a:gd name="connsiteY111" fmla="*/ 1438275 h 1655757"/>
                    <a:gd name="connsiteX112" fmla="*/ 558800 w 1146175"/>
                    <a:gd name="connsiteY112" fmla="*/ 1441450 h 1655757"/>
                    <a:gd name="connsiteX113" fmla="*/ 501650 w 1146175"/>
                    <a:gd name="connsiteY113" fmla="*/ 1447800 h 1655757"/>
                    <a:gd name="connsiteX114" fmla="*/ 492125 w 1146175"/>
                    <a:gd name="connsiteY114" fmla="*/ 1454150 h 1655757"/>
                    <a:gd name="connsiteX115" fmla="*/ 466725 w 1146175"/>
                    <a:gd name="connsiteY115" fmla="*/ 1485900 h 1655757"/>
                    <a:gd name="connsiteX116" fmla="*/ 457200 w 1146175"/>
                    <a:gd name="connsiteY116" fmla="*/ 1504950 h 1655757"/>
                    <a:gd name="connsiteX117" fmla="*/ 454025 w 1146175"/>
                    <a:gd name="connsiteY117" fmla="*/ 1514475 h 1655757"/>
                    <a:gd name="connsiteX118" fmla="*/ 447675 w 1146175"/>
                    <a:gd name="connsiteY118" fmla="*/ 1530350 h 1655757"/>
                    <a:gd name="connsiteX119" fmla="*/ 434975 w 1146175"/>
                    <a:gd name="connsiteY119" fmla="*/ 1555750 h 1655757"/>
                    <a:gd name="connsiteX120" fmla="*/ 431800 w 1146175"/>
                    <a:gd name="connsiteY120" fmla="*/ 1571625 h 1655757"/>
                    <a:gd name="connsiteX121" fmla="*/ 425450 w 1146175"/>
                    <a:gd name="connsiteY121" fmla="*/ 1597025 h 1655757"/>
                    <a:gd name="connsiteX122" fmla="*/ 422275 w 1146175"/>
                    <a:gd name="connsiteY122" fmla="*/ 1606550 h 1655757"/>
                    <a:gd name="connsiteX123" fmla="*/ 412750 w 1146175"/>
                    <a:gd name="connsiteY123" fmla="*/ 1616075 h 1655757"/>
                    <a:gd name="connsiteX124" fmla="*/ 222250 w 1146175"/>
                    <a:gd name="connsiteY124" fmla="*/ 1622425 h 1655757"/>
                    <a:gd name="connsiteX125" fmla="*/ 215900 w 1146175"/>
                    <a:gd name="connsiteY125" fmla="*/ 1606550 h 1655757"/>
                    <a:gd name="connsiteX126" fmla="*/ 206375 w 1146175"/>
                    <a:gd name="connsiteY126" fmla="*/ 1593850 h 1655757"/>
                    <a:gd name="connsiteX127" fmla="*/ 203200 w 1146175"/>
                    <a:gd name="connsiteY127" fmla="*/ 1581150 h 1655757"/>
                    <a:gd name="connsiteX128" fmla="*/ 196850 w 1146175"/>
                    <a:gd name="connsiteY128" fmla="*/ 1568450 h 1655757"/>
                    <a:gd name="connsiteX129" fmla="*/ 193675 w 1146175"/>
                    <a:gd name="connsiteY129" fmla="*/ 1558925 h 1655757"/>
                    <a:gd name="connsiteX130" fmla="*/ 187325 w 1146175"/>
                    <a:gd name="connsiteY130" fmla="*/ 1546225 h 1655757"/>
                    <a:gd name="connsiteX131" fmla="*/ 180975 w 1146175"/>
                    <a:gd name="connsiteY131" fmla="*/ 1530350 h 1655757"/>
                    <a:gd name="connsiteX132" fmla="*/ 161925 w 1146175"/>
                    <a:gd name="connsiteY132" fmla="*/ 1501775 h 1655757"/>
                    <a:gd name="connsiteX133" fmla="*/ 149225 w 1146175"/>
                    <a:gd name="connsiteY133" fmla="*/ 1479550 h 1655757"/>
                    <a:gd name="connsiteX134" fmla="*/ 142875 w 1146175"/>
                    <a:gd name="connsiteY134" fmla="*/ 1463675 h 1655757"/>
                    <a:gd name="connsiteX135" fmla="*/ 130175 w 1146175"/>
                    <a:gd name="connsiteY135" fmla="*/ 1460500 h 1655757"/>
                    <a:gd name="connsiteX136" fmla="*/ 101600 w 1146175"/>
                    <a:gd name="connsiteY136" fmla="*/ 1447800 h 1655757"/>
                    <a:gd name="connsiteX137" fmla="*/ 69850 w 1146175"/>
                    <a:gd name="connsiteY137" fmla="*/ 1438275 h 1655757"/>
                    <a:gd name="connsiteX138" fmla="*/ 41275 w 1146175"/>
                    <a:gd name="connsiteY138" fmla="*/ 1425575 h 1655757"/>
                    <a:gd name="connsiteX139" fmla="*/ 31750 w 1146175"/>
                    <a:gd name="connsiteY139" fmla="*/ 1419225 h 1655757"/>
                    <a:gd name="connsiteX140" fmla="*/ 15875 w 1146175"/>
                    <a:gd name="connsiteY140" fmla="*/ 1412875 h 1655757"/>
                    <a:gd name="connsiteX141" fmla="*/ 0 w 1146175"/>
                    <a:gd name="connsiteY141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55575 w 1146175"/>
                    <a:gd name="connsiteY3" fmla="*/ 155575 h 1655757"/>
                    <a:gd name="connsiteX4" fmla="*/ 168275 w 1146175"/>
                    <a:gd name="connsiteY4" fmla="*/ 142875 h 1655757"/>
                    <a:gd name="connsiteX5" fmla="*/ 193675 w 1146175"/>
                    <a:gd name="connsiteY5" fmla="*/ 107950 h 1655757"/>
                    <a:gd name="connsiteX6" fmla="*/ 206375 w 1146175"/>
                    <a:gd name="connsiteY6" fmla="*/ 73025 h 1655757"/>
                    <a:gd name="connsiteX7" fmla="*/ 209550 w 1146175"/>
                    <a:gd name="connsiteY7" fmla="*/ 60325 h 1655757"/>
                    <a:gd name="connsiteX8" fmla="*/ 228600 w 1146175"/>
                    <a:gd name="connsiteY8" fmla="*/ 28575 h 1655757"/>
                    <a:gd name="connsiteX9" fmla="*/ 238125 w 1146175"/>
                    <a:gd name="connsiteY9" fmla="*/ 9525 h 1655757"/>
                    <a:gd name="connsiteX10" fmla="*/ 269875 w 1146175"/>
                    <a:gd name="connsiteY10" fmla="*/ 0 h 1655757"/>
                    <a:gd name="connsiteX11" fmla="*/ 428625 w 1146175"/>
                    <a:gd name="connsiteY11" fmla="*/ 6350 h 1655757"/>
                    <a:gd name="connsiteX12" fmla="*/ 434975 w 1146175"/>
                    <a:gd name="connsiteY12" fmla="*/ 19050 h 1655757"/>
                    <a:gd name="connsiteX13" fmla="*/ 441325 w 1146175"/>
                    <a:gd name="connsiteY13" fmla="*/ 34925 h 1655757"/>
                    <a:gd name="connsiteX14" fmla="*/ 447675 w 1146175"/>
                    <a:gd name="connsiteY14" fmla="*/ 44450 h 1655757"/>
                    <a:gd name="connsiteX15" fmla="*/ 454025 w 1146175"/>
                    <a:gd name="connsiteY15" fmla="*/ 60325 h 1655757"/>
                    <a:gd name="connsiteX16" fmla="*/ 460375 w 1146175"/>
                    <a:gd name="connsiteY16" fmla="*/ 69850 h 1655757"/>
                    <a:gd name="connsiteX17" fmla="*/ 476250 w 1146175"/>
                    <a:gd name="connsiteY17" fmla="*/ 101600 h 1655757"/>
                    <a:gd name="connsiteX18" fmla="*/ 479425 w 1146175"/>
                    <a:gd name="connsiteY18" fmla="*/ 117475 h 1655757"/>
                    <a:gd name="connsiteX19" fmla="*/ 485775 w 1146175"/>
                    <a:gd name="connsiteY19" fmla="*/ 127000 h 1655757"/>
                    <a:gd name="connsiteX20" fmla="*/ 492125 w 1146175"/>
                    <a:gd name="connsiteY20" fmla="*/ 139700 h 1655757"/>
                    <a:gd name="connsiteX21" fmla="*/ 508000 w 1146175"/>
                    <a:gd name="connsiteY21" fmla="*/ 165100 h 1655757"/>
                    <a:gd name="connsiteX22" fmla="*/ 527050 w 1146175"/>
                    <a:gd name="connsiteY22" fmla="*/ 168275 h 1655757"/>
                    <a:gd name="connsiteX23" fmla="*/ 558800 w 1146175"/>
                    <a:gd name="connsiteY23" fmla="*/ 184150 h 1655757"/>
                    <a:gd name="connsiteX24" fmla="*/ 574675 w 1146175"/>
                    <a:gd name="connsiteY24" fmla="*/ 187325 h 1655757"/>
                    <a:gd name="connsiteX25" fmla="*/ 635000 w 1146175"/>
                    <a:gd name="connsiteY25" fmla="*/ 215900 h 1655757"/>
                    <a:gd name="connsiteX26" fmla="*/ 717550 w 1146175"/>
                    <a:gd name="connsiteY26" fmla="*/ 212725 h 1655757"/>
                    <a:gd name="connsiteX27" fmla="*/ 733425 w 1146175"/>
                    <a:gd name="connsiteY27" fmla="*/ 206375 h 1655757"/>
                    <a:gd name="connsiteX28" fmla="*/ 771525 w 1146175"/>
                    <a:gd name="connsiteY28" fmla="*/ 200025 h 1655757"/>
                    <a:gd name="connsiteX29" fmla="*/ 796925 w 1146175"/>
                    <a:gd name="connsiteY29" fmla="*/ 190500 h 1655757"/>
                    <a:gd name="connsiteX30" fmla="*/ 838200 w 1146175"/>
                    <a:gd name="connsiteY30" fmla="*/ 180975 h 1655757"/>
                    <a:gd name="connsiteX31" fmla="*/ 879475 w 1146175"/>
                    <a:gd name="connsiteY31" fmla="*/ 200025 h 1655757"/>
                    <a:gd name="connsiteX32" fmla="*/ 885825 w 1146175"/>
                    <a:gd name="connsiteY32" fmla="*/ 209550 h 1655757"/>
                    <a:gd name="connsiteX33" fmla="*/ 901700 w 1146175"/>
                    <a:gd name="connsiteY33" fmla="*/ 225425 h 1655757"/>
                    <a:gd name="connsiteX34" fmla="*/ 917575 w 1146175"/>
                    <a:gd name="connsiteY34" fmla="*/ 238125 h 1655757"/>
                    <a:gd name="connsiteX35" fmla="*/ 936625 w 1146175"/>
                    <a:gd name="connsiteY35" fmla="*/ 250825 h 1655757"/>
                    <a:gd name="connsiteX36" fmla="*/ 955675 w 1146175"/>
                    <a:gd name="connsiteY36" fmla="*/ 273050 h 1655757"/>
                    <a:gd name="connsiteX37" fmla="*/ 974725 w 1146175"/>
                    <a:gd name="connsiteY37" fmla="*/ 298450 h 1655757"/>
                    <a:gd name="connsiteX38" fmla="*/ 968375 w 1146175"/>
                    <a:gd name="connsiteY38" fmla="*/ 333375 h 1655757"/>
                    <a:gd name="connsiteX39" fmla="*/ 965200 w 1146175"/>
                    <a:gd name="connsiteY39" fmla="*/ 342900 h 1655757"/>
                    <a:gd name="connsiteX40" fmla="*/ 949325 w 1146175"/>
                    <a:gd name="connsiteY40" fmla="*/ 361950 h 1655757"/>
                    <a:gd name="connsiteX41" fmla="*/ 939800 w 1146175"/>
                    <a:gd name="connsiteY41" fmla="*/ 384175 h 1655757"/>
                    <a:gd name="connsiteX42" fmla="*/ 936625 w 1146175"/>
                    <a:gd name="connsiteY42" fmla="*/ 396875 h 1655757"/>
                    <a:gd name="connsiteX43" fmla="*/ 930275 w 1146175"/>
                    <a:gd name="connsiteY43" fmla="*/ 412750 h 1655757"/>
                    <a:gd name="connsiteX44" fmla="*/ 927100 w 1146175"/>
                    <a:gd name="connsiteY44" fmla="*/ 425450 h 1655757"/>
                    <a:gd name="connsiteX45" fmla="*/ 920750 w 1146175"/>
                    <a:gd name="connsiteY45" fmla="*/ 441325 h 1655757"/>
                    <a:gd name="connsiteX46" fmla="*/ 917575 w 1146175"/>
                    <a:gd name="connsiteY46" fmla="*/ 454025 h 1655757"/>
                    <a:gd name="connsiteX47" fmla="*/ 914400 w 1146175"/>
                    <a:gd name="connsiteY47" fmla="*/ 463550 h 1655757"/>
                    <a:gd name="connsiteX48" fmla="*/ 917575 w 1146175"/>
                    <a:gd name="connsiteY48" fmla="*/ 501650 h 1655757"/>
                    <a:gd name="connsiteX49" fmla="*/ 923925 w 1146175"/>
                    <a:gd name="connsiteY49" fmla="*/ 514350 h 1655757"/>
                    <a:gd name="connsiteX50" fmla="*/ 939800 w 1146175"/>
                    <a:gd name="connsiteY50" fmla="*/ 533400 h 1655757"/>
                    <a:gd name="connsiteX51" fmla="*/ 942975 w 1146175"/>
                    <a:gd name="connsiteY51" fmla="*/ 542925 h 1655757"/>
                    <a:gd name="connsiteX52" fmla="*/ 955675 w 1146175"/>
                    <a:gd name="connsiteY52" fmla="*/ 568325 h 1655757"/>
                    <a:gd name="connsiteX53" fmla="*/ 968375 w 1146175"/>
                    <a:gd name="connsiteY53" fmla="*/ 609600 h 1655757"/>
                    <a:gd name="connsiteX54" fmla="*/ 974725 w 1146175"/>
                    <a:gd name="connsiteY54" fmla="*/ 622300 h 1655757"/>
                    <a:gd name="connsiteX55" fmla="*/ 981075 w 1146175"/>
                    <a:gd name="connsiteY55" fmla="*/ 641350 h 1655757"/>
                    <a:gd name="connsiteX56" fmla="*/ 993775 w 1146175"/>
                    <a:gd name="connsiteY56" fmla="*/ 644525 h 1655757"/>
                    <a:gd name="connsiteX57" fmla="*/ 1012825 w 1146175"/>
                    <a:gd name="connsiteY57" fmla="*/ 647700 h 1655757"/>
                    <a:gd name="connsiteX58" fmla="*/ 1041400 w 1146175"/>
                    <a:gd name="connsiteY58" fmla="*/ 660400 h 1655757"/>
                    <a:gd name="connsiteX59" fmla="*/ 1050925 w 1146175"/>
                    <a:gd name="connsiteY59" fmla="*/ 663575 h 1655757"/>
                    <a:gd name="connsiteX60" fmla="*/ 1066800 w 1146175"/>
                    <a:gd name="connsiteY60" fmla="*/ 673100 h 1655757"/>
                    <a:gd name="connsiteX61" fmla="*/ 1089025 w 1146175"/>
                    <a:gd name="connsiteY61" fmla="*/ 682625 h 1655757"/>
                    <a:gd name="connsiteX62" fmla="*/ 1117600 w 1146175"/>
                    <a:gd name="connsiteY62" fmla="*/ 701675 h 1655757"/>
                    <a:gd name="connsiteX63" fmla="*/ 1136650 w 1146175"/>
                    <a:gd name="connsiteY63" fmla="*/ 708025 h 1655757"/>
                    <a:gd name="connsiteX64" fmla="*/ 1146175 w 1146175"/>
                    <a:gd name="connsiteY64" fmla="*/ 898525 h 1655757"/>
                    <a:gd name="connsiteX65" fmla="*/ 1127125 w 1146175"/>
                    <a:gd name="connsiteY65" fmla="*/ 908050 h 1655757"/>
                    <a:gd name="connsiteX66" fmla="*/ 1101725 w 1146175"/>
                    <a:gd name="connsiteY66" fmla="*/ 914400 h 1655757"/>
                    <a:gd name="connsiteX67" fmla="*/ 1092200 w 1146175"/>
                    <a:gd name="connsiteY67" fmla="*/ 920750 h 1655757"/>
                    <a:gd name="connsiteX68" fmla="*/ 1079500 w 1146175"/>
                    <a:gd name="connsiteY68" fmla="*/ 923925 h 1655757"/>
                    <a:gd name="connsiteX69" fmla="*/ 1069975 w 1146175"/>
                    <a:gd name="connsiteY69" fmla="*/ 933450 h 1655757"/>
                    <a:gd name="connsiteX70" fmla="*/ 1060450 w 1146175"/>
                    <a:gd name="connsiteY70" fmla="*/ 939800 h 1655757"/>
                    <a:gd name="connsiteX71" fmla="*/ 1038225 w 1146175"/>
                    <a:gd name="connsiteY71" fmla="*/ 952500 h 1655757"/>
                    <a:gd name="connsiteX72" fmla="*/ 996950 w 1146175"/>
                    <a:gd name="connsiteY72" fmla="*/ 977900 h 1655757"/>
                    <a:gd name="connsiteX73" fmla="*/ 977900 w 1146175"/>
                    <a:gd name="connsiteY73" fmla="*/ 984250 h 1655757"/>
                    <a:gd name="connsiteX74" fmla="*/ 968375 w 1146175"/>
                    <a:gd name="connsiteY74" fmla="*/ 1009650 h 1655757"/>
                    <a:gd name="connsiteX75" fmla="*/ 958850 w 1146175"/>
                    <a:gd name="connsiteY75" fmla="*/ 1035050 h 1655757"/>
                    <a:gd name="connsiteX76" fmla="*/ 955675 w 1146175"/>
                    <a:gd name="connsiteY76" fmla="*/ 1060450 h 1655757"/>
                    <a:gd name="connsiteX77" fmla="*/ 949325 w 1146175"/>
                    <a:gd name="connsiteY77" fmla="*/ 1069975 h 1655757"/>
                    <a:gd name="connsiteX78" fmla="*/ 946150 w 1146175"/>
                    <a:gd name="connsiteY78" fmla="*/ 1079500 h 1655757"/>
                    <a:gd name="connsiteX79" fmla="*/ 936625 w 1146175"/>
                    <a:gd name="connsiteY79" fmla="*/ 1095375 h 1655757"/>
                    <a:gd name="connsiteX80" fmla="*/ 923925 w 1146175"/>
                    <a:gd name="connsiteY80" fmla="*/ 1130300 h 1655757"/>
                    <a:gd name="connsiteX81" fmla="*/ 917575 w 1146175"/>
                    <a:gd name="connsiteY81" fmla="*/ 1139825 h 1655757"/>
                    <a:gd name="connsiteX82" fmla="*/ 923925 w 1146175"/>
                    <a:gd name="connsiteY82" fmla="*/ 1193800 h 1655757"/>
                    <a:gd name="connsiteX83" fmla="*/ 939800 w 1146175"/>
                    <a:gd name="connsiteY83" fmla="*/ 1216025 h 1655757"/>
                    <a:gd name="connsiteX84" fmla="*/ 946150 w 1146175"/>
                    <a:gd name="connsiteY84" fmla="*/ 1228725 h 1655757"/>
                    <a:gd name="connsiteX85" fmla="*/ 952500 w 1146175"/>
                    <a:gd name="connsiteY85" fmla="*/ 1238250 h 1655757"/>
                    <a:gd name="connsiteX86" fmla="*/ 965200 w 1146175"/>
                    <a:gd name="connsiteY86" fmla="*/ 1263650 h 1655757"/>
                    <a:gd name="connsiteX87" fmla="*/ 974725 w 1146175"/>
                    <a:gd name="connsiteY87" fmla="*/ 1285875 h 1655757"/>
                    <a:gd name="connsiteX88" fmla="*/ 977900 w 1146175"/>
                    <a:gd name="connsiteY88" fmla="*/ 1298575 h 1655757"/>
                    <a:gd name="connsiteX89" fmla="*/ 981075 w 1146175"/>
                    <a:gd name="connsiteY89" fmla="*/ 1308100 h 1655757"/>
                    <a:gd name="connsiteX90" fmla="*/ 974725 w 1146175"/>
                    <a:gd name="connsiteY90" fmla="*/ 1343025 h 1655757"/>
                    <a:gd name="connsiteX91" fmla="*/ 949325 w 1146175"/>
                    <a:gd name="connsiteY91" fmla="*/ 1374775 h 1655757"/>
                    <a:gd name="connsiteX92" fmla="*/ 939800 w 1146175"/>
                    <a:gd name="connsiteY92" fmla="*/ 1381125 h 1655757"/>
                    <a:gd name="connsiteX93" fmla="*/ 930275 w 1146175"/>
                    <a:gd name="connsiteY93" fmla="*/ 1390650 h 1655757"/>
                    <a:gd name="connsiteX94" fmla="*/ 923925 w 1146175"/>
                    <a:gd name="connsiteY94" fmla="*/ 1400175 h 1655757"/>
                    <a:gd name="connsiteX95" fmla="*/ 908050 w 1146175"/>
                    <a:gd name="connsiteY95" fmla="*/ 1409700 h 1655757"/>
                    <a:gd name="connsiteX96" fmla="*/ 895350 w 1146175"/>
                    <a:gd name="connsiteY96" fmla="*/ 1422400 h 1655757"/>
                    <a:gd name="connsiteX97" fmla="*/ 882650 w 1146175"/>
                    <a:gd name="connsiteY97" fmla="*/ 1431925 h 1655757"/>
                    <a:gd name="connsiteX98" fmla="*/ 873125 w 1146175"/>
                    <a:gd name="connsiteY98" fmla="*/ 1441450 h 1655757"/>
                    <a:gd name="connsiteX99" fmla="*/ 844550 w 1146175"/>
                    <a:gd name="connsiteY99" fmla="*/ 1457325 h 1655757"/>
                    <a:gd name="connsiteX100" fmla="*/ 835025 w 1146175"/>
                    <a:gd name="connsiteY100" fmla="*/ 1460500 h 1655757"/>
                    <a:gd name="connsiteX101" fmla="*/ 815975 w 1146175"/>
                    <a:gd name="connsiteY101" fmla="*/ 1454150 h 1655757"/>
                    <a:gd name="connsiteX102" fmla="*/ 774700 w 1146175"/>
                    <a:gd name="connsiteY102" fmla="*/ 1438275 h 1655757"/>
                    <a:gd name="connsiteX103" fmla="*/ 749300 w 1146175"/>
                    <a:gd name="connsiteY103" fmla="*/ 1431925 h 1655757"/>
                    <a:gd name="connsiteX104" fmla="*/ 717550 w 1146175"/>
                    <a:gd name="connsiteY104" fmla="*/ 1419225 h 1655757"/>
                    <a:gd name="connsiteX105" fmla="*/ 688975 w 1146175"/>
                    <a:gd name="connsiteY105" fmla="*/ 1412875 h 1655757"/>
                    <a:gd name="connsiteX106" fmla="*/ 657225 w 1146175"/>
                    <a:gd name="connsiteY106" fmla="*/ 1403350 h 1655757"/>
                    <a:gd name="connsiteX107" fmla="*/ 635000 w 1146175"/>
                    <a:gd name="connsiteY107" fmla="*/ 1406525 h 1655757"/>
                    <a:gd name="connsiteX108" fmla="*/ 622300 w 1146175"/>
                    <a:gd name="connsiteY108" fmla="*/ 1412875 h 1655757"/>
                    <a:gd name="connsiteX109" fmla="*/ 606425 w 1146175"/>
                    <a:gd name="connsiteY109" fmla="*/ 1422400 h 1655757"/>
                    <a:gd name="connsiteX110" fmla="*/ 577850 w 1146175"/>
                    <a:gd name="connsiteY110" fmla="*/ 1438275 h 1655757"/>
                    <a:gd name="connsiteX111" fmla="*/ 558800 w 1146175"/>
                    <a:gd name="connsiteY111" fmla="*/ 1441450 h 1655757"/>
                    <a:gd name="connsiteX112" fmla="*/ 501650 w 1146175"/>
                    <a:gd name="connsiteY112" fmla="*/ 1447800 h 1655757"/>
                    <a:gd name="connsiteX113" fmla="*/ 492125 w 1146175"/>
                    <a:gd name="connsiteY113" fmla="*/ 1454150 h 1655757"/>
                    <a:gd name="connsiteX114" fmla="*/ 466725 w 1146175"/>
                    <a:gd name="connsiteY114" fmla="*/ 1485900 h 1655757"/>
                    <a:gd name="connsiteX115" fmla="*/ 457200 w 1146175"/>
                    <a:gd name="connsiteY115" fmla="*/ 1504950 h 1655757"/>
                    <a:gd name="connsiteX116" fmla="*/ 454025 w 1146175"/>
                    <a:gd name="connsiteY116" fmla="*/ 1514475 h 1655757"/>
                    <a:gd name="connsiteX117" fmla="*/ 447675 w 1146175"/>
                    <a:gd name="connsiteY117" fmla="*/ 1530350 h 1655757"/>
                    <a:gd name="connsiteX118" fmla="*/ 434975 w 1146175"/>
                    <a:gd name="connsiteY118" fmla="*/ 1555750 h 1655757"/>
                    <a:gd name="connsiteX119" fmla="*/ 431800 w 1146175"/>
                    <a:gd name="connsiteY119" fmla="*/ 1571625 h 1655757"/>
                    <a:gd name="connsiteX120" fmla="*/ 425450 w 1146175"/>
                    <a:gd name="connsiteY120" fmla="*/ 1597025 h 1655757"/>
                    <a:gd name="connsiteX121" fmla="*/ 422275 w 1146175"/>
                    <a:gd name="connsiteY121" fmla="*/ 1606550 h 1655757"/>
                    <a:gd name="connsiteX122" fmla="*/ 412750 w 1146175"/>
                    <a:gd name="connsiteY122" fmla="*/ 1616075 h 1655757"/>
                    <a:gd name="connsiteX123" fmla="*/ 222250 w 1146175"/>
                    <a:gd name="connsiteY123" fmla="*/ 1622425 h 1655757"/>
                    <a:gd name="connsiteX124" fmla="*/ 215900 w 1146175"/>
                    <a:gd name="connsiteY124" fmla="*/ 1606550 h 1655757"/>
                    <a:gd name="connsiteX125" fmla="*/ 206375 w 1146175"/>
                    <a:gd name="connsiteY125" fmla="*/ 1593850 h 1655757"/>
                    <a:gd name="connsiteX126" fmla="*/ 203200 w 1146175"/>
                    <a:gd name="connsiteY126" fmla="*/ 1581150 h 1655757"/>
                    <a:gd name="connsiteX127" fmla="*/ 196850 w 1146175"/>
                    <a:gd name="connsiteY127" fmla="*/ 1568450 h 1655757"/>
                    <a:gd name="connsiteX128" fmla="*/ 193675 w 1146175"/>
                    <a:gd name="connsiteY128" fmla="*/ 1558925 h 1655757"/>
                    <a:gd name="connsiteX129" fmla="*/ 187325 w 1146175"/>
                    <a:gd name="connsiteY129" fmla="*/ 1546225 h 1655757"/>
                    <a:gd name="connsiteX130" fmla="*/ 180975 w 1146175"/>
                    <a:gd name="connsiteY130" fmla="*/ 1530350 h 1655757"/>
                    <a:gd name="connsiteX131" fmla="*/ 161925 w 1146175"/>
                    <a:gd name="connsiteY131" fmla="*/ 1501775 h 1655757"/>
                    <a:gd name="connsiteX132" fmla="*/ 149225 w 1146175"/>
                    <a:gd name="connsiteY132" fmla="*/ 1479550 h 1655757"/>
                    <a:gd name="connsiteX133" fmla="*/ 142875 w 1146175"/>
                    <a:gd name="connsiteY133" fmla="*/ 1463675 h 1655757"/>
                    <a:gd name="connsiteX134" fmla="*/ 130175 w 1146175"/>
                    <a:gd name="connsiteY134" fmla="*/ 1460500 h 1655757"/>
                    <a:gd name="connsiteX135" fmla="*/ 101600 w 1146175"/>
                    <a:gd name="connsiteY135" fmla="*/ 1447800 h 1655757"/>
                    <a:gd name="connsiteX136" fmla="*/ 69850 w 1146175"/>
                    <a:gd name="connsiteY136" fmla="*/ 1438275 h 1655757"/>
                    <a:gd name="connsiteX137" fmla="*/ 41275 w 1146175"/>
                    <a:gd name="connsiteY137" fmla="*/ 1425575 h 1655757"/>
                    <a:gd name="connsiteX138" fmla="*/ 31750 w 1146175"/>
                    <a:gd name="connsiteY138" fmla="*/ 1419225 h 1655757"/>
                    <a:gd name="connsiteX139" fmla="*/ 15875 w 1146175"/>
                    <a:gd name="connsiteY139" fmla="*/ 1412875 h 1655757"/>
                    <a:gd name="connsiteX140" fmla="*/ 0 w 1146175"/>
                    <a:gd name="connsiteY140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55575 w 1146175"/>
                    <a:gd name="connsiteY3" fmla="*/ 155575 h 1655757"/>
                    <a:gd name="connsiteX4" fmla="*/ 168275 w 1146175"/>
                    <a:gd name="connsiteY4" fmla="*/ 142875 h 1655757"/>
                    <a:gd name="connsiteX5" fmla="*/ 206375 w 1146175"/>
                    <a:gd name="connsiteY5" fmla="*/ 73025 h 1655757"/>
                    <a:gd name="connsiteX6" fmla="*/ 209550 w 1146175"/>
                    <a:gd name="connsiteY6" fmla="*/ 60325 h 1655757"/>
                    <a:gd name="connsiteX7" fmla="*/ 228600 w 1146175"/>
                    <a:gd name="connsiteY7" fmla="*/ 28575 h 1655757"/>
                    <a:gd name="connsiteX8" fmla="*/ 238125 w 1146175"/>
                    <a:gd name="connsiteY8" fmla="*/ 9525 h 1655757"/>
                    <a:gd name="connsiteX9" fmla="*/ 269875 w 1146175"/>
                    <a:gd name="connsiteY9" fmla="*/ 0 h 1655757"/>
                    <a:gd name="connsiteX10" fmla="*/ 428625 w 1146175"/>
                    <a:gd name="connsiteY10" fmla="*/ 6350 h 1655757"/>
                    <a:gd name="connsiteX11" fmla="*/ 434975 w 1146175"/>
                    <a:gd name="connsiteY11" fmla="*/ 19050 h 1655757"/>
                    <a:gd name="connsiteX12" fmla="*/ 441325 w 1146175"/>
                    <a:gd name="connsiteY12" fmla="*/ 34925 h 1655757"/>
                    <a:gd name="connsiteX13" fmla="*/ 447675 w 1146175"/>
                    <a:gd name="connsiteY13" fmla="*/ 44450 h 1655757"/>
                    <a:gd name="connsiteX14" fmla="*/ 454025 w 1146175"/>
                    <a:gd name="connsiteY14" fmla="*/ 60325 h 1655757"/>
                    <a:gd name="connsiteX15" fmla="*/ 460375 w 1146175"/>
                    <a:gd name="connsiteY15" fmla="*/ 69850 h 1655757"/>
                    <a:gd name="connsiteX16" fmla="*/ 476250 w 1146175"/>
                    <a:gd name="connsiteY16" fmla="*/ 101600 h 1655757"/>
                    <a:gd name="connsiteX17" fmla="*/ 479425 w 1146175"/>
                    <a:gd name="connsiteY17" fmla="*/ 117475 h 1655757"/>
                    <a:gd name="connsiteX18" fmla="*/ 485775 w 1146175"/>
                    <a:gd name="connsiteY18" fmla="*/ 127000 h 1655757"/>
                    <a:gd name="connsiteX19" fmla="*/ 492125 w 1146175"/>
                    <a:gd name="connsiteY19" fmla="*/ 139700 h 1655757"/>
                    <a:gd name="connsiteX20" fmla="*/ 508000 w 1146175"/>
                    <a:gd name="connsiteY20" fmla="*/ 165100 h 1655757"/>
                    <a:gd name="connsiteX21" fmla="*/ 527050 w 1146175"/>
                    <a:gd name="connsiteY21" fmla="*/ 168275 h 1655757"/>
                    <a:gd name="connsiteX22" fmla="*/ 558800 w 1146175"/>
                    <a:gd name="connsiteY22" fmla="*/ 184150 h 1655757"/>
                    <a:gd name="connsiteX23" fmla="*/ 574675 w 1146175"/>
                    <a:gd name="connsiteY23" fmla="*/ 187325 h 1655757"/>
                    <a:gd name="connsiteX24" fmla="*/ 635000 w 1146175"/>
                    <a:gd name="connsiteY24" fmla="*/ 215900 h 1655757"/>
                    <a:gd name="connsiteX25" fmla="*/ 717550 w 1146175"/>
                    <a:gd name="connsiteY25" fmla="*/ 212725 h 1655757"/>
                    <a:gd name="connsiteX26" fmla="*/ 733425 w 1146175"/>
                    <a:gd name="connsiteY26" fmla="*/ 206375 h 1655757"/>
                    <a:gd name="connsiteX27" fmla="*/ 771525 w 1146175"/>
                    <a:gd name="connsiteY27" fmla="*/ 200025 h 1655757"/>
                    <a:gd name="connsiteX28" fmla="*/ 796925 w 1146175"/>
                    <a:gd name="connsiteY28" fmla="*/ 190500 h 1655757"/>
                    <a:gd name="connsiteX29" fmla="*/ 838200 w 1146175"/>
                    <a:gd name="connsiteY29" fmla="*/ 180975 h 1655757"/>
                    <a:gd name="connsiteX30" fmla="*/ 879475 w 1146175"/>
                    <a:gd name="connsiteY30" fmla="*/ 200025 h 1655757"/>
                    <a:gd name="connsiteX31" fmla="*/ 885825 w 1146175"/>
                    <a:gd name="connsiteY31" fmla="*/ 209550 h 1655757"/>
                    <a:gd name="connsiteX32" fmla="*/ 901700 w 1146175"/>
                    <a:gd name="connsiteY32" fmla="*/ 225425 h 1655757"/>
                    <a:gd name="connsiteX33" fmla="*/ 917575 w 1146175"/>
                    <a:gd name="connsiteY33" fmla="*/ 238125 h 1655757"/>
                    <a:gd name="connsiteX34" fmla="*/ 936625 w 1146175"/>
                    <a:gd name="connsiteY34" fmla="*/ 250825 h 1655757"/>
                    <a:gd name="connsiteX35" fmla="*/ 955675 w 1146175"/>
                    <a:gd name="connsiteY35" fmla="*/ 273050 h 1655757"/>
                    <a:gd name="connsiteX36" fmla="*/ 974725 w 1146175"/>
                    <a:gd name="connsiteY36" fmla="*/ 298450 h 1655757"/>
                    <a:gd name="connsiteX37" fmla="*/ 968375 w 1146175"/>
                    <a:gd name="connsiteY37" fmla="*/ 333375 h 1655757"/>
                    <a:gd name="connsiteX38" fmla="*/ 965200 w 1146175"/>
                    <a:gd name="connsiteY38" fmla="*/ 342900 h 1655757"/>
                    <a:gd name="connsiteX39" fmla="*/ 949325 w 1146175"/>
                    <a:gd name="connsiteY39" fmla="*/ 361950 h 1655757"/>
                    <a:gd name="connsiteX40" fmla="*/ 939800 w 1146175"/>
                    <a:gd name="connsiteY40" fmla="*/ 384175 h 1655757"/>
                    <a:gd name="connsiteX41" fmla="*/ 936625 w 1146175"/>
                    <a:gd name="connsiteY41" fmla="*/ 396875 h 1655757"/>
                    <a:gd name="connsiteX42" fmla="*/ 930275 w 1146175"/>
                    <a:gd name="connsiteY42" fmla="*/ 412750 h 1655757"/>
                    <a:gd name="connsiteX43" fmla="*/ 927100 w 1146175"/>
                    <a:gd name="connsiteY43" fmla="*/ 425450 h 1655757"/>
                    <a:gd name="connsiteX44" fmla="*/ 920750 w 1146175"/>
                    <a:gd name="connsiteY44" fmla="*/ 441325 h 1655757"/>
                    <a:gd name="connsiteX45" fmla="*/ 917575 w 1146175"/>
                    <a:gd name="connsiteY45" fmla="*/ 454025 h 1655757"/>
                    <a:gd name="connsiteX46" fmla="*/ 914400 w 1146175"/>
                    <a:gd name="connsiteY46" fmla="*/ 463550 h 1655757"/>
                    <a:gd name="connsiteX47" fmla="*/ 917575 w 1146175"/>
                    <a:gd name="connsiteY47" fmla="*/ 501650 h 1655757"/>
                    <a:gd name="connsiteX48" fmla="*/ 923925 w 1146175"/>
                    <a:gd name="connsiteY48" fmla="*/ 514350 h 1655757"/>
                    <a:gd name="connsiteX49" fmla="*/ 939800 w 1146175"/>
                    <a:gd name="connsiteY49" fmla="*/ 533400 h 1655757"/>
                    <a:gd name="connsiteX50" fmla="*/ 942975 w 1146175"/>
                    <a:gd name="connsiteY50" fmla="*/ 542925 h 1655757"/>
                    <a:gd name="connsiteX51" fmla="*/ 955675 w 1146175"/>
                    <a:gd name="connsiteY51" fmla="*/ 568325 h 1655757"/>
                    <a:gd name="connsiteX52" fmla="*/ 968375 w 1146175"/>
                    <a:gd name="connsiteY52" fmla="*/ 609600 h 1655757"/>
                    <a:gd name="connsiteX53" fmla="*/ 974725 w 1146175"/>
                    <a:gd name="connsiteY53" fmla="*/ 622300 h 1655757"/>
                    <a:gd name="connsiteX54" fmla="*/ 981075 w 1146175"/>
                    <a:gd name="connsiteY54" fmla="*/ 641350 h 1655757"/>
                    <a:gd name="connsiteX55" fmla="*/ 993775 w 1146175"/>
                    <a:gd name="connsiteY55" fmla="*/ 644525 h 1655757"/>
                    <a:gd name="connsiteX56" fmla="*/ 1012825 w 1146175"/>
                    <a:gd name="connsiteY56" fmla="*/ 647700 h 1655757"/>
                    <a:gd name="connsiteX57" fmla="*/ 1041400 w 1146175"/>
                    <a:gd name="connsiteY57" fmla="*/ 660400 h 1655757"/>
                    <a:gd name="connsiteX58" fmla="*/ 1050925 w 1146175"/>
                    <a:gd name="connsiteY58" fmla="*/ 663575 h 1655757"/>
                    <a:gd name="connsiteX59" fmla="*/ 1066800 w 1146175"/>
                    <a:gd name="connsiteY59" fmla="*/ 673100 h 1655757"/>
                    <a:gd name="connsiteX60" fmla="*/ 1089025 w 1146175"/>
                    <a:gd name="connsiteY60" fmla="*/ 682625 h 1655757"/>
                    <a:gd name="connsiteX61" fmla="*/ 1117600 w 1146175"/>
                    <a:gd name="connsiteY61" fmla="*/ 701675 h 1655757"/>
                    <a:gd name="connsiteX62" fmla="*/ 1136650 w 1146175"/>
                    <a:gd name="connsiteY62" fmla="*/ 708025 h 1655757"/>
                    <a:gd name="connsiteX63" fmla="*/ 1146175 w 1146175"/>
                    <a:gd name="connsiteY63" fmla="*/ 898525 h 1655757"/>
                    <a:gd name="connsiteX64" fmla="*/ 1127125 w 1146175"/>
                    <a:gd name="connsiteY64" fmla="*/ 908050 h 1655757"/>
                    <a:gd name="connsiteX65" fmla="*/ 1101725 w 1146175"/>
                    <a:gd name="connsiteY65" fmla="*/ 914400 h 1655757"/>
                    <a:gd name="connsiteX66" fmla="*/ 1092200 w 1146175"/>
                    <a:gd name="connsiteY66" fmla="*/ 920750 h 1655757"/>
                    <a:gd name="connsiteX67" fmla="*/ 1079500 w 1146175"/>
                    <a:gd name="connsiteY67" fmla="*/ 923925 h 1655757"/>
                    <a:gd name="connsiteX68" fmla="*/ 1069975 w 1146175"/>
                    <a:gd name="connsiteY68" fmla="*/ 933450 h 1655757"/>
                    <a:gd name="connsiteX69" fmla="*/ 1060450 w 1146175"/>
                    <a:gd name="connsiteY69" fmla="*/ 939800 h 1655757"/>
                    <a:gd name="connsiteX70" fmla="*/ 1038225 w 1146175"/>
                    <a:gd name="connsiteY70" fmla="*/ 952500 h 1655757"/>
                    <a:gd name="connsiteX71" fmla="*/ 996950 w 1146175"/>
                    <a:gd name="connsiteY71" fmla="*/ 977900 h 1655757"/>
                    <a:gd name="connsiteX72" fmla="*/ 977900 w 1146175"/>
                    <a:gd name="connsiteY72" fmla="*/ 984250 h 1655757"/>
                    <a:gd name="connsiteX73" fmla="*/ 968375 w 1146175"/>
                    <a:gd name="connsiteY73" fmla="*/ 1009650 h 1655757"/>
                    <a:gd name="connsiteX74" fmla="*/ 958850 w 1146175"/>
                    <a:gd name="connsiteY74" fmla="*/ 1035050 h 1655757"/>
                    <a:gd name="connsiteX75" fmla="*/ 955675 w 1146175"/>
                    <a:gd name="connsiteY75" fmla="*/ 1060450 h 1655757"/>
                    <a:gd name="connsiteX76" fmla="*/ 949325 w 1146175"/>
                    <a:gd name="connsiteY76" fmla="*/ 1069975 h 1655757"/>
                    <a:gd name="connsiteX77" fmla="*/ 946150 w 1146175"/>
                    <a:gd name="connsiteY77" fmla="*/ 1079500 h 1655757"/>
                    <a:gd name="connsiteX78" fmla="*/ 936625 w 1146175"/>
                    <a:gd name="connsiteY78" fmla="*/ 1095375 h 1655757"/>
                    <a:gd name="connsiteX79" fmla="*/ 923925 w 1146175"/>
                    <a:gd name="connsiteY79" fmla="*/ 1130300 h 1655757"/>
                    <a:gd name="connsiteX80" fmla="*/ 917575 w 1146175"/>
                    <a:gd name="connsiteY80" fmla="*/ 1139825 h 1655757"/>
                    <a:gd name="connsiteX81" fmla="*/ 923925 w 1146175"/>
                    <a:gd name="connsiteY81" fmla="*/ 1193800 h 1655757"/>
                    <a:gd name="connsiteX82" fmla="*/ 939800 w 1146175"/>
                    <a:gd name="connsiteY82" fmla="*/ 1216025 h 1655757"/>
                    <a:gd name="connsiteX83" fmla="*/ 946150 w 1146175"/>
                    <a:gd name="connsiteY83" fmla="*/ 1228725 h 1655757"/>
                    <a:gd name="connsiteX84" fmla="*/ 952500 w 1146175"/>
                    <a:gd name="connsiteY84" fmla="*/ 1238250 h 1655757"/>
                    <a:gd name="connsiteX85" fmla="*/ 965200 w 1146175"/>
                    <a:gd name="connsiteY85" fmla="*/ 1263650 h 1655757"/>
                    <a:gd name="connsiteX86" fmla="*/ 974725 w 1146175"/>
                    <a:gd name="connsiteY86" fmla="*/ 1285875 h 1655757"/>
                    <a:gd name="connsiteX87" fmla="*/ 977900 w 1146175"/>
                    <a:gd name="connsiteY87" fmla="*/ 1298575 h 1655757"/>
                    <a:gd name="connsiteX88" fmla="*/ 981075 w 1146175"/>
                    <a:gd name="connsiteY88" fmla="*/ 1308100 h 1655757"/>
                    <a:gd name="connsiteX89" fmla="*/ 974725 w 1146175"/>
                    <a:gd name="connsiteY89" fmla="*/ 1343025 h 1655757"/>
                    <a:gd name="connsiteX90" fmla="*/ 949325 w 1146175"/>
                    <a:gd name="connsiteY90" fmla="*/ 1374775 h 1655757"/>
                    <a:gd name="connsiteX91" fmla="*/ 939800 w 1146175"/>
                    <a:gd name="connsiteY91" fmla="*/ 1381125 h 1655757"/>
                    <a:gd name="connsiteX92" fmla="*/ 930275 w 1146175"/>
                    <a:gd name="connsiteY92" fmla="*/ 1390650 h 1655757"/>
                    <a:gd name="connsiteX93" fmla="*/ 923925 w 1146175"/>
                    <a:gd name="connsiteY93" fmla="*/ 1400175 h 1655757"/>
                    <a:gd name="connsiteX94" fmla="*/ 908050 w 1146175"/>
                    <a:gd name="connsiteY94" fmla="*/ 1409700 h 1655757"/>
                    <a:gd name="connsiteX95" fmla="*/ 895350 w 1146175"/>
                    <a:gd name="connsiteY95" fmla="*/ 1422400 h 1655757"/>
                    <a:gd name="connsiteX96" fmla="*/ 882650 w 1146175"/>
                    <a:gd name="connsiteY96" fmla="*/ 1431925 h 1655757"/>
                    <a:gd name="connsiteX97" fmla="*/ 873125 w 1146175"/>
                    <a:gd name="connsiteY97" fmla="*/ 1441450 h 1655757"/>
                    <a:gd name="connsiteX98" fmla="*/ 844550 w 1146175"/>
                    <a:gd name="connsiteY98" fmla="*/ 1457325 h 1655757"/>
                    <a:gd name="connsiteX99" fmla="*/ 835025 w 1146175"/>
                    <a:gd name="connsiteY99" fmla="*/ 1460500 h 1655757"/>
                    <a:gd name="connsiteX100" fmla="*/ 815975 w 1146175"/>
                    <a:gd name="connsiteY100" fmla="*/ 1454150 h 1655757"/>
                    <a:gd name="connsiteX101" fmla="*/ 774700 w 1146175"/>
                    <a:gd name="connsiteY101" fmla="*/ 1438275 h 1655757"/>
                    <a:gd name="connsiteX102" fmla="*/ 749300 w 1146175"/>
                    <a:gd name="connsiteY102" fmla="*/ 1431925 h 1655757"/>
                    <a:gd name="connsiteX103" fmla="*/ 717550 w 1146175"/>
                    <a:gd name="connsiteY103" fmla="*/ 1419225 h 1655757"/>
                    <a:gd name="connsiteX104" fmla="*/ 688975 w 1146175"/>
                    <a:gd name="connsiteY104" fmla="*/ 1412875 h 1655757"/>
                    <a:gd name="connsiteX105" fmla="*/ 657225 w 1146175"/>
                    <a:gd name="connsiteY105" fmla="*/ 1403350 h 1655757"/>
                    <a:gd name="connsiteX106" fmla="*/ 635000 w 1146175"/>
                    <a:gd name="connsiteY106" fmla="*/ 1406525 h 1655757"/>
                    <a:gd name="connsiteX107" fmla="*/ 622300 w 1146175"/>
                    <a:gd name="connsiteY107" fmla="*/ 1412875 h 1655757"/>
                    <a:gd name="connsiteX108" fmla="*/ 606425 w 1146175"/>
                    <a:gd name="connsiteY108" fmla="*/ 1422400 h 1655757"/>
                    <a:gd name="connsiteX109" fmla="*/ 577850 w 1146175"/>
                    <a:gd name="connsiteY109" fmla="*/ 1438275 h 1655757"/>
                    <a:gd name="connsiteX110" fmla="*/ 558800 w 1146175"/>
                    <a:gd name="connsiteY110" fmla="*/ 1441450 h 1655757"/>
                    <a:gd name="connsiteX111" fmla="*/ 501650 w 1146175"/>
                    <a:gd name="connsiteY111" fmla="*/ 1447800 h 1655757"/>
                    <a:gd name="connsiteX112" fmla="*/ 492125 w 1146175"/>
                    <a:gd name="connsiteY112" fmla="*/ 1454150 h 1655757"/>
                    <a:gd name="connsiteX113" fmla="*/ 466725 w 1146175"/>
                    <a:gd name="connsiteY113" fmla="*/ 1485900 h 1655757"/>
                    <a:gd name="connsiteX114" fmla="*/ 457200 w 1146175"/>
                    <a:gd name="connsiteY114" fmla="*/ 1504950 h 1655757"/>
                    <a:gd name="connsiteX115" fmla="*/ 454025 w 1146175"/>
                    <a:gd name="connsiteY115" fmla="*/ 1514475 h 1655757"/>
                    <a:gd name="connsiteX116" fmla="*/ 447675 w 1146175"/>
                    <a:gd name="connsiteY116" fmla="*/ 1530350 h 1655757"/>
                    <a:gd name="connsiteX117" fmla="*/ 434975 w 1146175"/>
                    <a:gd name="connsiteY117" fmla="*/ 1555750 h 1655757"/>
                    <a:gd name="connsiteX118" fmla="*/ 431800 w 1146175"/>
                    <a:gd name="connsiteY118" fmla="*/ 1571625 h 1655757"/>
                    <a:gd name="connsiteX119" fmla="*/ 425450 w 1146175"/>
                    <a:gd name="connsiteY119" fmla="*/ 1597025 h 1655757"/>
                    <a:gd name="connsiteX120" fmla="*/ 422275 w 1146175"/>
                    <a:gd name="connsiteY120" fmla="*/ 1606550 h 1655757"/>
                    <a:gd name="connsiteX121" fmla="*/ 412750 w 1146175"/>
                    <a:gd name="connsiteY121" fmla="*/ 1616075 h 1655757"/>
                    <a:gd name="connsiteX122" fmla="*/ 222250 w 1146175"/>
                    <a:gd name="connsiteY122" fmla="*/ 1622425 h 1655757"/>
                    <a:gd name="connsiteX123" fmla="*/ 215900 w 1146175"/>
                    <a:gd name="connsiteY123" fmla="*/ 1606550 h 1655757"/>
                    <a:gd name="connsiteX124" fmla="*/ 206375 w 1146175"/>
                    <a:gd name="connsiteY124" fmla="*/ 1593850 h 1655757"/>
                    <a:gd name="connsiteX125" fmla="*/ 203200 w 1146175"/>
                    <a:gd name="connsiteY125" fmla="*/ 1581150 h 1655757"/>
                    <a:gd name="connsiteX126" fmla="*/ 196850 w 1146175"/>
                    <a:gd name="connsiteY126" fmla="*/ 1568450 h 1655757"/>
                    <a:gd name="connsiteX127" fmla="*/ 193675 w 1146175"/>
                    <a:gd name="connsiteY127" fmla="*/ 1558925 h 1655757"/>
                    <a:gd name="connsiteX128" fmla="*/ 187325 w 1146175"/>
                    <a:gd name="connsiteY128" fmla="*/ 1546225 h 1655757"/>
                    <a:gd name="connsiteX129" fmla="*/ 180975 w 1146175"/>
                    <a:gd name="connsiteY129" fmla="*/ 1530350 h 1655757"/>
                    <a:gd name="connsiteX130" fmla="*/ 161925 w 1146175"/>
                    <a:gd name="connsiteY130" fmla="*/ 1501775 h 1655757"/>
                    <a:gd name="connsiteX131" fmla="*/ 149225 w 1146175"/>
                    <a:gd name="connsiteY131" fmla="*/ 1479550 h 1655757"/>
                    <a:gd name="connsiteX132" fmla="*/ 142875 w 1146175"/>
                    <a:gd name="connsiteY132" fmla="*/ 1463675 h 1655757"/>
                    <a:gd name="connsiteX133" fmla="*/ 130175 w 1146175"/>
                    <a:gd name="connsiteY133" fmla="*/ 1460500 h 1655757"/>
                    <a:gd name="connsiteX134" fmla="*/ 101600 w 1146175"/>
                    <a:gd name="connsiteY134" fmla="*/ 1447800 h 1655757"/>
                    <a:gd name="connsiteX135" fmla="*/ 69850 w 1146175"/>
                    <a:gd name="connsiteY135" fmla="*/ 1438275 h 1655757"/>
                    <a:gd name="connsiteX136" fmla="*/ 41275 w 1146175"/>
                    <a:gd name="connsiteY136" fmla="*/ 1425575 h 1655757"/>
                    <a:gd name="connsiteX137" fmla="*/ 31750 w 1146175"/>
                    <a:gd name="connsiteY137" fmla="*/ 1419225 h 1655757"/>
                    <a:gd name="connsiteX138" fmla="*/ 15875 w 1146175"/>
                    <a:gd name="connsiteY138" fmla="*/ 1412875 h 1655757"/>
                    <a:gd name="connsiteX139" fmla="*/ 0 w 1146175"/>
                    <a:gd name="connsiteY139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55575 w 1146175"/>
                    <a:gd name="connsiteY3" fmla="*/ 155575 h 1655757"/>
                    <a:gd name="connsiteX4" fmla="*/ 168275 w 1146175"/>
                    <a:gd name="connsiteY4" fmla="*/ 142875 h 1655757"/>
                    <a:gd name="connsiteX5" fmla="*/ 209550 w 1146175"/>
                    <a:gd name="connsiteY5" fmla="*/ 60325 h 1655757"/>
                    <a:gd name="connsiteX6" fmla="*/ 228600 w 1146175"/>
                    <a:gd name="connsiteY6" fmla="*/ 28575 h 1655757"/>
                    <a:gd name="connsiteX7" fmla="*/ 238125 w 1146175"/>
                    <a:gd name="connsiteY7" fmla="*/ 9525 h 1655757"/>
                    <a:gd name="connsiteX8" fmla="*/ 269875 w 1146175"/>
                    <a:gd name="connsiteY8" fmla="*/ 0 h 1655757"/>
                    <a:gd name="connsiteX9" fmla="*/ 428625 w 1146175"/>
                    <a:gd name="connsiteY9" fmla="*/ 6350 h 1655757"/>
                    <a:gd name="connsiteX10" fmla="*/ 434975 w 1146175"/>
                    <a:gd name="connsiteY10" fmla="*/ 19050 h 1655757"/>
                    <a:gd name="connsiteX11" fmla="*/ 441325 w 1146175"/>
                    <a:gd name="connsiteY11" fmla="*/ 34925 h 1655757"/>
                    <a:gd name="connsiteX12" fmla="*/ 447675 w 1146175"/>
                    <a:gd name="connsiteY12" fmla="*/ 44450 h 1655757"/>
                    <a:gd name="connsiteX13" fmla="*/ 454025 w 1146175"/>
                    <a:gd name="connsiteY13" fmla="*/ 60325 h 1655757"/>
                    <a:gd name="connsiteX14" fmla="*/ 460375 w 1146175"/>
                    <a:gd name="connsiteY14" fmla="*/ 69850 h 1655757"/>
                    <a:gd name="connsiteX15" fmla="*/ 476250 w 1146175"/>
                    <a:gd name="connsiteY15" fmla="*/ 101600 h 1655757"/>
                    <a:gd name="connsiteX16" fmla="*/ 479425 w 1146175"/>
                    <a:gd name="connsiteY16" fmla="*/ 117475 h 1655757"/>
                    <a:gd name="connsiteX17" fmla="*/ 485775 w 1146175"/>
                    <a:gd name="connsiteY17" fmla="*/ 127000 h 1655757"/>
                    <a:gd name="connsiteX18" fmla="*/ 492125 w 1146175"/>
                    <a:gd name="connsiteY18" fmla="*/ 139700 h 1655757"/>
                    <a:gd name="connsiteX19" fmla="*/ 508000 w 1146175"/>
                    <a:gd name="connsiteY19" fmla="*/ 165100 h 1655757"/>
                    <a:gd name="connsiteX20" fmla="*/ 527050 w 1146175"/>
                    <a:gd name="connsiteY20" fmla="*/ 168275 h 1655757"/>
                    <a:gd name="connsiteX21" fmla="*/ 558800 w 1146175"/>
                    <a:gd name="connsiteY21" fmla="*/ 184150 h 1655757"/>
                    <a:gd name="connsiteX22" fmla="*/ 574675 w 1146175"/>
                    <a:gd name="connsiteY22" fmla="*/ 187325 h 1655757"/>
                    <a:gd name="connsiteX23" fmla="*/ 635000 w 1146175"/>
                    <a:gd name="connsiteY23" fmla="*/ 215900 h 1655757"/>
                    <a:gd name="connsiteX24" fmla="*/ 717550 w 1146175"/>
                    <a:gd name="connsiteY24" fmla="*/ 212725 h 1655757"/>
                    <a:gd name="connsiteX25" fmla="*/ 733425 w 1146175"/>
                    <a:gd name="connsiteY25" fmla="*/ 206375 h 1655757"/>
                    <a:gd name="connsiteX26" fmla="*/ 771525 w 1146175"/>
                    <a:gd name="connsiteY26" fmla="*/ 200025 h 1655757"/>
                    <a:gd name="connsiteX27" fmla="*/ 796925 w 1146175"/>
                    <a:gd name="connsiteY27" fmla="*/ 190500 h 1655757"/>
                    <a:gd name="connsiteX28" fmla="*/ 838200 w 1146175"/>
                    <a:gd name="connsiteY28" fmla="*/ 180975 h 1655757"/>
                    <a:gd name="connsiteX29" fmla="*/ 879475 w 1146175"/>
                    <a:gd name="connsiteY29" fmla="*/ 200025 h 1655757"/>
                    <a:gd name="connsiteX30" fmla="*/ 885825 w 1146175"/>
                    <a:gd name="connsiteY30" fmla="*/ 209550 h 1655757"/>
                    <a:gd name="connsiteX31" fmla="*/ 901700 w 1146175"/>
                    <a:gd name="connsiteY31" fmla="*/ 225425 h 1655757"/>
                    <a:gd name="connsiteX32" fmla="*/ 917575 w 1146175"/>
                    <a:gd name="connsiteY32" fmla="*/ 238125 h 1655757"/>
                    <a:gd name="connsiteX33" fmla="*/ 936625 w 1146175"/>
                    <a:gd name="connsiteY33" fmla="*/ 250825 h 1655757"/>
                    <a:gd name="connsiteX34" fmla="*/ 955675 w 1146175"/>
                    <a:gd name="connsiteY34" fmla="*/ 273050 h 1655757"/>
                    <a:gd name="connsiteX35" fmla="*/ 974725 w 1146175"/>
                    <a:gd name="connsiteY35" fmla="*/ 298450 h 1655757"/>
                    <a:gd name="connsiteX36" fmla="*/ 968375 w 1146175"/>
                    <a:gd name="connsiteY36" fmla="*/ 333375 h 1655757"/>
                    <a:gd name="connsiteX37" fmla="*/ 965200 w 1146175"/>
                    <a:gd name="connsiteY37" fmla="*/ 342900 h 1655757"/>
                    <a:gd name="connsiteX38" fmla="*/ 949325 w 1146175"/>
                    <a:gd name="connsiteY38" fmla="*/ 361950 h 1655757"/>
                    <a:gd name="connsiteX39" fmla="*/ 939800 w 1146175"/>
                    <a:gd name="connsiteY39" fmla="*/ 384175 h 1655757"/>
                    <a:gd name="connsiteX40" fmla="*/ 936625 w 1146175"/>
                    <a:gd name="connsiteY40" fmla="*/ 396875 h 1655757"/>
                    <a:gd name="connsiteX41" fmla="*/ 930275 w 1146175"/>
                    <a:gd name="connsiteY41" fmla="*/ 412750 h 1655757"/>
                    <a:gd name="connsiteX42" fmla="*/ 927100 w 1146175"/>
                    <a:gd name="connsiteY42" fmla="*/ 425450 h 1655757"/>
                    <a:gd name="connsiteX43" fmla="*/ 920750 w 1146175"/>
                    <a:gd name="connsiteY43" fmla="*/ 441325 h 1655757"/>
                    <a:gd name="connsiteX44" fmla="*/ 917575 w 1146175"/>
                    <a:gd name="connsiteY44" fmla="*/ 454025 h 1655757"/>
                    <a:gd name="connsiteX45" fmla="*/ 914400 w 1146175"/>
                    <a:gd name="connsiteY45" fmla="*/ 463550 h 1655757"/>
                    <a:gd name="connsiteX46" fmla="*/ 917575 w 1146175"/>
                    <a:gd name="connsiteY46" fmla="*/ 501650 h 1655757"/>
                    <a:gd name="connsiteX47" fmla="*/ 923925 w 1146175"/>
                    <a:gd name="connsiteY47" fmla="*/ 514350 h 1655757"/>
                    <a:gd name="connsiteX48" fmla="*/ 939800 w 1146175"/>
                    <a:gd name="connsiteY48" fmla="*/ 533400 h 1655757"/>
                    <a:gd name="connsiteX49" fmla="*/ 942975 w 1146175"/>
                    <a:gd name="connsiteY49" fmla="*/ 542925 h 1655757"/>
                    <a:gd name="connsiteX50" fmla="*/ 955675 w 1146175"/>
                    <a:gd name="connsiteY50" fmla="*/ 568325 h 1655757"/>
                    <a:gd name="connsiteX51" fmla="*/ 968375 w 1146175"/>
                    <a:gd name="connsiteY51" fmla="*/ 609600 h 1655757"/>
                    <a:gd name="connsiteX52" fmla="*/ 974725 w 1146175"/>
                    <a:gd name="connsiteY52" fmla="*/ 622300 h 1655757"/>
                    <a:gd name="connsiteX53" fmla="*/ 981075 w 1146175"/>
                    <a:gd name="connsiteY53" fmla="*/ 641350 h 1655757"/>
                    <a:gd name="connsiteX54" fmla="*/ 993775 w 1146175"/>
                    <a:gd name="connsiteY54" fmla="*/ 644525 h 1655757"/>
                    <a:gd name="connsiteX55" fmla="*/ 1012825 w 1146175"/>
                    <a:gd name="connsiteY55" fmla="*/ 647700 h 1655757"/>
                    <a:gd name="connsiteX56" fmla="*/ 1041400 w 1146175"/>
                    <a:gd name="connsiteY56" fmla="*/ 660400 h 1655757"/>
                    <a:gd name="connsiteX57" fmla="*/ 1050925 w 1146175"/>
                    <a:gd name="connsiteY57" fmla="*/ 663575 h 1655757"/>
                    <a:gd name="connsiteX58" fmla="*/ 1066800 w 1146175"/>
                    <a:gd name="connsiteY58" fmla="*/ 673100 h 1655757"/>
                    <a:gd name="connsiteX59" fmla="*/ 1089025 w 1146175"/>
                    <a:gd name="connsiteY59" fmla="*/ 682625 h 1655757"/>
                    <a:gd name="connsiteX60" fmla="*/ 1117600 w 1146175"/>
                    <a:gd name="connsiteY60" fmla="*/ 701675 h 1655757"/>
                    <a:gd name="connsiteX61" fmla="*/ 1136650 w 1146175"/>
                    <a:gd name="connsiteY61" fmla="*/ 708025 h 1655757"/>
                    <a:gd name="connsiteX62" fmla="*/ 1146175 w 1146175"/>
                    <a:gd name="connsiteY62" fmla="*/ 898525 h 1655757"/>
                    <a:gd name="connsiteX63" fmla="*/ 1127125 w 1146175"/>
                    <a:gd name="connsiteY63" fmla="*/ 908050 h 1655757"/>
                    <a:gd name="connsiteX64" fmla="*/ 1101725 w 1146175"/>
                    <a:gd name="connsiteY64" fmla="*/ 914400 h 1655757"/>
                    <a:gd name="connsiteX65" fmla="*/ 1092200 w 1146175"/>
                    <a:gd name="connsiteY65" fmla="*/ 920750 h 1655757"/>
                    <a:gd name="connsiteX66" fmla="*/ 1079500 w 1146175"/>
                    <a:gd name="connsiteY66" fmla="*/ 923925 h 1655757"/>
                    <a:gd name="connsiteX67" fmla="*/ 1069975 w 1146175"/>
                    <a:gd name="connsiteY67" fmla="*/ 933450 h 1655757"/>
                    <a:gd name="connsiteX68" fmla="*/ 1060450 w 1146175"/>
                    <a:gd name="connsiteY68" fmla="*/ 939800 h 1655757"/>
                    <a:gd name="connsiteX69" fmla="*/ 1038225 w 1146175"/>
                    <a:gd name="connsiteY69" fmla="*/ 952500 h 1655757"/>
                    <a:gd name="connsiteX70" fmla="*/ 996950 w 1146175"/>
                    <a:gd name="connsiteY70" fmla="*/ 977900 h 1655757"/>
                    <a:gd name="connsiteX71" fmla="*/ 977900 w 1146175"/>
                    <a:gd name="connsiteY71" fmla="*/ 984250 h 1655757"/>
                    <a:gd name="connsiteX72" fmla="*/ 968375 w 1146175"/>
                    <a:gd name="connsiteY72" fmla="*/ 1009650 h 1655757"/>
                    <a:gd name="connsiteX73" fmla="*/ 958850 w 1146175"/>
                    <a:gd name="connsiteY73" fmla="*/ 1035050 h 1655757"/>
                    <a:gd name="connsiteX74" fmla="*/ 955675 w 1146175"/>
                    <a:gd name="connsiteY74" fmla="*/ 1060450 h 1655757"/>
                    <a:gd name="connsiteX75" fmla="*/ 949325 w 1146175"/>
                    <a:gd name="connsiteY75" fmla="*/ 1069975 h 1655757"/>
                    <a:gd name="connsiteX76" fmla="*/ 946150 w 1146175"/>
                    <a:gd name="connsiteY76" fmla="*/ 1079500 h 1655757"/>
                    <a:gd name="connsiteX77" fmla="*/ 936625 w 1146175"/>
                    <a:gd name="connsiteY77" fmla="*/ 1095375 h 1655757"/>
                    <a:gd name="connsiteX78" fmla="*/ 923925 w 1146175"/>
                    <a:gd name="connsiteY78" fmla="*/ 1130300 h 1655757"/>
                    <a:gd name="connsiteX79" fmla="*/ 917575 w 1146175"/>
                    <a:gd name="connsiteY79" fmla="*/ 1139825 h 1655757"/>
                    <a:gd name="connsiteX80" fmla="*/ 923925 w 1146175"/>
                    <a:gd name="connsiteY80" fmla="*/ 1193800 h 1655757"/>
                    <a:gd name="connsiteX81" fmla="*/ 939800 w 1146175"/>
                    <a:gd name="connsiteY81" fmla="*/ 1216025 h 1655757"/>
                    <a:gd name="connsiteX82" fmla="*/ 946150 w 1146175"/>
                    <a:gd name="connsiteY82" fmla="*/ 1228725 h 1655757"/>
                    <a:gd name="connsiteX83" fmla="*/ 952500 w 1146175"/>
                    <a:gd name="connsiteY83" fmla="*/ 1238250 h 1655757"/>
                    <a:gd name="connsiteX84" fmla="*/ 965200 w 1146175"/>
                    <a:gd name="connsiteY84" fmla="*/ 1263650 h 1655757"/>
                    <a:gd name="connsiteX85" fmla="*/ 974725 w 1146175"/>
                    <a:gd name="connsiteY85" fmla="*/ 1285875 h 1655757"/>
                    <a:gd name="connsiteX86" fmla="*/ 977900 w 1146175"/>
                    <a:gd name="connsiteY86" fmla="*/ 1298575 h 1655757"/>
                    <a:gd name="connsiteX87" fmla="*/ 981075 w 1146175"/>
                    <a:gd name="connsiteY87" fmla="*/ 1308100 h 1655757"/>
                    <a:gd name="connsiteX88" fmla="*/ 974725 w 1146175"/>
                    <a:gd name="connsiteY88" fmla="*/ 1343025 h 1655757"/>
                    <a:gd name="connsiteX89" fmla="*/ 949325 w 1146175"/>
                    <a:gd name="connsiteY89" fmla="*/ 1374775 h 1655757"/>
                    <a:gd name="connsiteX90" fmla="*/ 939800 w 1146175"/>
                    <a:gd name="connsiteY90" fmla="*/ 1381125 h 1655757"/>
                    <a:gd name="connsiteX91" fmla="*/ 930275 w 1146175"/>
                    <a:gd name="connsiteY91" fmla="*/ 1390650 h 1655757"/>
                    <a:gd name="connsiteX92" fmla="*/ 923925 w 1146175"/>
                    <a:gd name="connsiteY92" fmla="*/ 1400175 h 1655757"/>
                    <a:gd name="connsiteX93" fmla="*/ 908050 w 1146175"/>
                    <a:gd name="connsiteY93" fmla="*/ 1409700 h 1655757"/>
                    <a:gd name="connsiteX94" fmla="*/ 895350 w 1146175"/>
                    <a:gd name="connsiteY94" fmla="*/ 1422400 h 1655757"/>
                    <a:gd name="connsiteX95" fmla="*/ 882650 w 1146175"/>
                    <a:gd name="connsiteY95" fmla="*/ 1431925 h 1655757"/>
                    <a:gd name="connsiteX96" fmla="*/ 873125 w 1146175"/>
                    <a:gd name="connsiteY96" fmla="*/ 1441450 h 1655757"/>
                    <a:gd name="connsiteX97" fmla="*/ 844550 w 1146175"/>
                    <a:gd name="connsiteY97" fmla="*/ 1457325 h 1655757"/>
                    <a:gd name="connsiteX98" fmla="*/ 835025 w 1146175"/>
                    <a:gd name="connsiteY98" fmla="*/ 1460500 h 1655757"/>
                    <a:gd name="connsiteX99" fmla="*/ 815975 w 1146175"/>
                    <a:gd name="connsiteY99" fmla="*/ 1454150 h 1655757"/>
                    <a:gd name="connsiteX100" fmla="*/ 774700 w 1146175"/>
                    <a:gd name="connsiteY100" fmla="*/ 1438275 h 1655757"/>
                    <a:gd name="connsiteX101" fmla="*/ 749300 w 1146175"/>
                    <a:gd name="connsiteY101" fmla="*/ 1431925 h 1655757"/>
                    <a:gd name="connsiteX102" fmla="*/ 717550 w 1146175"/>
                    <a:gd name="connsiteY102" fmla="*/ 1419225 h 1655757"/>
                    <a:gd name="connsiteX103" fmla="*/ 688975 w 1146175"/>
                    <a:gd name="connsiteY103" fmla="*/ 1412875 h 1655757"/>
                    <a:gd name="connsiteX104" fmla="*/ 657225 w 1146175"/>
                    <a:gd name="connsiteY104" fmla="*/ 1403350 h 1655757"/>
                    <a:gd name="connsiteX105" fmla="*/ 635000 w 1146175"/>
                    <a:gd name="connsiteY105" fmla="*/ 1406525 h 1655757"/>
                    <a:gd name="connsiteX106" fmla="*/ 622300 w 1146175"/>
                    <a:gd name="connsiteY106" fmla="*/ 1412875 h 1655757"/>
                    <a:gd name="connsiteX107" fmla="*/ 606425 w 1146175"/>
                    <a:gd name="connsiteY107" fmla="*/ 1422400 h 1655757"/>
                    <a:gd name="connsiteX108" fmla="*/ 577850 w 1146175"/>
                    <a:gd name="connsiteY108" fmla="*/ 1438275 h 1655757"/>
                    <a:gd name="connsiteX109" fmla="*/ 558800 w 1146175"/>
                    <a:gd name="connsiteY109" fmla="*/ 1441450 h 1655757"/>
                    <a:gd name="connsiteX110" fmla="*/ 501650 w 1146175"/>
                    <a:gd name="connsiteY110" fmla="*/ 1447800 h 1655757"/>
                    <a:gd name="connsiteX111" fmla="*/ 492125 w 1146175"/>
                    <a:gd name="connsiteY111" fmla="*/ 1454150 h 1655757"/>
                    <a:gd name="connsiteX112" fmla="*/ 466725 w 1146175"/>
                    <a:gd name="connsiteY112" fmla="*/ 1485900 h 1655757"/>
                    <a:gd name="connsiteX113" fmla="*/ 457200 w 1146175"/>
                    <a:gd name="connsiteY113" fmla="*/ 1504950 h 1655757"/>
                    <a:gd name="connsiteX114" fmla="*/ 454025 w 1146175"/>
                    <a:gd name="connsiteY114" fmla="*/ 1514475 h 1655757"/>
                    <a:gd name="connsiteX115" fmla="*/ 447675 w 1146175"/>
                    <a:gd name="connsiteY115" fmla="*/ 1530350 h 1655757"/>
                    <a:gd name="connsiteX116" fmla="*/ 434975 w 1146175"/>
                    <a:gd name="connsiteY116" fmla="*/ 1555750 h 1655757"/>
                    <a:gd name="connsiteX117" fmla="*/ 431800 w 1146175"/>
                    <a:gd name="connsiteY117" fmla="*/ 1571625 h 1655757"/>
                    <a:gd name="connsiteX118" fmla="*/ 425450 w 1146175"/>
                    <a:gd name="connsiteY118" fmla="*/ 1597025 h 1655757"/>
                    <a:gd name="connsiteX119" fmla="*/ 422275 w 1146175"/>
                    <a:gd name="connsiteY119" fmla="*/ 1606550 h 1655757"/>
                    <a:gd name="connsiteX120" fmla="*/ 412750 w 1146175"/>
                    <a:gd name="connsiteY120" fmla="*/ 1616075 h 1655757"/>
                    <a:gd name="connsiteX121" fmla="*/ 222250 w 1146175"/>
                    <a:gd name="connsiteY121" fmla="*/ 1622425 h 1655757"/>
                    <a:gd name="connsiteX122" fmla="*/ 215900 w 1146175"/>
                    <a:gd name="connsiteY122" fmla="*/ 1606550 h 1655757"/>
                    <a:gd name="connsiteX123" fmla="*/ 206375 w 1146175"/>
                    <a:gd name="connsiteY123" fmla="*/ 1593850 h 1655757"/>
                    <a:gd name="connsiteX124" fmla="*/ 203200 w 1146175"/>
                    <a:gd name="connsiteY124" fmla="*/ 1581150 h 1655757"/>
                    <a:gd name="connsiteX125" fmla="*/ 196850 w 1146175"/>
                    <a:gd name="connsiteY125" fmla="*/ 1568450 h 1655757"/>
                    <a:gd name="connsiteX126" fmla="*/ 193675 w 1146175"/>
                    <a:gd name="connsiteY126" fmla="*/ 1558925 h 1655757"/>
                    <a:gd name="connsiteX127" fmla="*/ 187325 w 1146175"/>
                    <a:gd name="connsiteY127" fmla="*/ 1546225 h 1655757"/>
                    <a:gd name="connsiteX128" fmla="*/ 180975 w 1146175"/>
                    <a:gd name="connsiteY128" fmla="*/ 1530350 h 1655757"/>
                    <a:gd name="connsiteX129" fmla="*/ 161925 w 1146175"/>
                    <a:gd name="connsiteY129" fmla="*/ 1501775 h 1655757"/>
                    <a:gd name="connsiteX130" fmla="*/ 149225 w 1146175"/>
                    <a:gd name="connsiteY130" fmla="*/ 1479550 h 1655757"/>
                    <a:gd name="connsiteX131" fmla="*/ 142875 w 1146175"/>
                    <a:gd name="connsiteY131" fmla="*/ 1463675 h 1655757"/>
                    <a:gd name="connsiteX132" fmla="*/ 130175 w 1146175"/>
                    <a:gd name="connsiteY132" fmla="*/ 1460500 h 1655757"/>
                    <a:gd name="connsiteX133" fmla="*/ 101600 w 1146175"/>
                    <a:gd name="connsiteY133" fmla="*/ 1447800 h 1655757"/>
                    <a:gd name="connsiteX134" fmla="*/ 69850 w 1146175"/>
                    <a:gd name="connsiteY134" fmla="*/ 1438275 h 1655757"/>
                    <a:gd name="connsiteX135" fmla="*/ 41275 w 1146175"/>
                    <a:gd name="connsiteY135" fmla="*/ 1425575 h 1655757"/>
                    <a:gd name="connsiteX136" fmla="*/ 31750 w 1146175"/>
                    <a:gd name="connsiteY136" fmla="*/ 1419225 h 1655757"/>
                    <a:gd name="connsiteX137" fmla="*/ 15875 w 1146175"/>
                    <a:gd name="connsiteY137" fmla="*/ 1412875 h 1655757"/>
                    <a:gd name="connsiteX138" fmla="*/ 0 w 1146175"/>
                    <a:gd name="connsiteY138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55575 w 1146175"/>
                    <a:gd name="connsiteY3" fmla="*/ 155575 h 1655757"/>
                    <a:gd name="connsiteX4" fmla="*/ 168275 w 1146175"/>
                    <a:gd name="connsiteY4" fmla="*/ 142875 h 1655757"/>
                    <a:gd name="connsiteX5" fmla="*/ 209550 w 1146175"/>
                    <a:gd name="connsiteY5" fmla="*/ 60325 h 1655757"/>
                    <a:gd name="connsiteX6" fmla="*/ 238125 w 1146175"/>
                    <a:gd name="connsiteY6" fmla="*/ 9525 h 1655757"/>
                    <a:gd name="connsiteX7" fmla="*/ 269875 w 1146175"/>
                    <a:gd name="connsiteY7" fmla="*/ 0 h 1655757"/>
                    <a:gd name="connsiteX8" fmla="*/ 428625 w 1146175"/>
                    <a:gd name="connsiteY8" fmla="*/ 6350 h 1655757"/>
                    <a:gd name="connsiteX9" fmla="*/ 434975 w 1146175"/>
                    <a:gd name="connsiteY9" fmla="*/ 19050 h 1655757"/>
                    <a:gd name="connsiteX10" fmla="*/ 441325 w 1146175"/>
                    <a:gd name="connsiteY10" fmla="*/ 34925 h 1655757"/>
                    <a:gd name="connsiteX11" fmla="*/ 447675 w 1146175"/>
                    <a:gd name="connsiteY11" fmla="*/ 44450 h 1655757"/>
                    <a:gd name="connsiteX12" fmla="*/ 454025 w 1146175"/>
                    <a:gd name="connsiteY12" fmla="*/ 60325 h 1655757"/>
                    <a:gd name="connsiteX13" fmla="*/ 460375 w 1146175"/>
                    <a:gd name="connsiteY13" fmla="*/ 69850 h 1655757"/>
                    <a:gd name="connsiteX14" fmla="*/ 476250 w 1146175"/>
                    <a:gd name="connsiteY14" fmla="*/ 101600 h 1655757"/>
                    <a:gd name="connsiteX15" fmla="*/ 479425 w 1146175"/>
                    <a:gd name="connsiteY15" fmla="*/ 117475 h 1655757"/>
                    <a:gd name="connsiteX16" fmla="*/ 485775 w 1146175"/>
                    <a:gd name="connsiteY16" fmla="*/ 127000 h 1655757"/>
                    <a:gd name="connsiteX17" fmla="*/ 492125 w 1146175"/>
                    <a:gd name="connsiteY17" fmla="*/ 139700 h 1655757"/>
                    <a:gd name="connsiteX18" fmla="*/ 508000 w 1146175"/>
                    <a:gd name="connsiteY18" fmla="*/ 165100 h 1655757"/>
                    <a:gd name="connsiteX19" fmla="*/ 527050 w 1146175"/>
                    <a:gd name="connsiteY19" fmla="*/ 168275 h 1655757"/>
                    <a:gd name="connsiteX20" fmla="*/ 558800 w 1146175"/>
                    <a:gd name="connsiteY20" fmla="*/ 184150 h 1655757"/>
                    <a:gd name="connsiteX21" fmla="*/ 574675 w 1146175"/>
                    <a:gd name="connsiteY21" fmla="*/ 187325 h 1655757"/>
                    <a:gd name="connsiteX22" fmla="*/ 635000 w 1146175"/>
                    <a:gd name="connsiteY22" fmla="*/ 215900 h 1655757"/>
                    <a:gd name="connsiteX23" fmla="*/ 717550 w 1146175"/>
                    <a:gd name="connsiteY23" fmla="*/ 212725 h 1655757"/>
                    <a:gd name="connsiteX24" fmla="*/ 733425 w 1146175"/>
                    <a:gd name="connsiteY24" fmla="*/ 206375 h 1655757"/>
                    <a:gd name="connsiteX25" fmla="*/ 771525 w 1146175"/>
                    <a:gd name="connsiteY25" fmla="*/ 200025 h 1655757"/>
                    <a:gd name="connsiteX26" fmla="*/ 796925 w 1146175"/>
                    <a:gd name="connsiteY26" fmla="*/ 190500 h 1655757"/>
                    <a:gd name="connsiteX27" fmla="*/ 838200 w 1146175"/>
                    <a:gd name="connsiteY27" fmla="*/ 180975 h 1655757"/>
                    <a:gd name="connsiteX28" fmla="*/ 879475 w 1146175"/>
                    <a:gd name="connsiteY28" fmla="*/ 200025 h 1655757"/>
                    <a:gd name="connsiteX29" fmla="*/ 885825 w 1146175"/>
                    <a:gd name="connsiteY29" fmla="*/ 209550 h 1655757"/>
                    <a:gd name="connsiteX30" fmla="*/ 901700 w 1146175"/>
                    <a:gd name="connsiteY30" fmla="*/ 225425 h 1655757"/>
                    <a:gd name="connsiteX31" fmla="*/ 917575 w 1146175"/>
                    <a:gd name="connsiteY31" fmla="*/ 238125 h 1655757"/>
                    <a:gd name="connsiteX32" fmla="*/ 936625 w 1146175"/>
                    <a:gd name="connsiteY32" fmla="*/ 250825 h 1655757"/>
                    <a:gd name="connsiteX33" fmla="*/ 955675 w 1146175"/>
                    <a:gd name="connsiteY33" fmla="*/ 273050 h 1655757"/>
                    <a:gd name="connsiteX34" fmla="*/ 974725 w 1146175"/>
                    <a:gd name="connsiteY34" fmla="*/ 298450 h 1655757"/>
                    <a:gd name="connsiteX35" fmla="*/ 968375 w 1146175"/>
                    <a:gd name="connsiteY35" fmla="*/ 333375 h 1655757"/>
                    <a:gd name="connsiteX36" fmla="*/ 965200 w 1146175"/>
                    <a:gd name="connsiteY36" fmla="*/ 342900 h 1655757"/>
                    <a:gd name="connsiteX37" fmla="*/ 949325 w 1146175"/>
                    <a:gd name="connsiteY37" fmla="*/ 361950 h 1655757"/>
                    <a:gd name="connsiteX38" fmla="*/ 939800 w 1146175"/>
                    <a:gd name="connsiteY38" fmla="*/ 384175 h 1655757"/>
                    <a:gd name="connsiteX39" fmla="*/ 936625 w 1146175"/>
                    <a:gd name="connsiteY39" fmla="*/ 396875 h 1655757"/>
                    <a:gd name="connsiteX40" fmla="*/ 930275 w 1146175"/>
                    <a:gd name="connsiteY40" fmla="*/ 412750 h 1655757"/>
                    <a:gd name="connsiteX41" fmla="*/ 927100 w 1146175"/>
                    <a:gd name="connsiteY41" fmla="*/ 425450 h 1655757"/>
                    <a:gd name="connsiteX42" fmla="*/ 920750 w 1146175"/>
                    <a:gd name="connsiteY42" fmla="*/ 441325 h 1655757"/>
                    <a:gd name="connsiteX43" fmla="*/ 917575 w 1146175"/>
                    <a:gd name="connsiteY43" fmla="*/ 454025 h 1655757"/>
                    <a:gd name="connsiteX44" fmla="*/ 914400 w 1146175"/>
                    <a:gd name="connsiteY44" fmla="*/ 463550 h 1655757"/>
                    <a:gd name="connsiteX45" fmla="*/ 917575 w 1146175"/>
                    <a:gd name="connsiteY45" fmla="*/ 501650 h 1655757"/>
                    <a:gd name="connsiteX46" fmla="*/ 923925 w 1146175"/>
                    <a:gd name="connsiteY46" fmla="*/ 514350 h 1655757"/>
                    <a:gd name="connsiteX47" fmla="*/ 939800 w 1146175"/>
                    <a:gd name="connsiteY47" fmla="*/ 533400 h 1655757"/>
                    <a:gd name="connsiteX48" fmla="*/ 942975 w 1146175"/>
                    <a:gd name="connsiteY48" fmla="*/ 542925 h 1655757"/>
                    <a:gd name="connsiteX49" fmla="*/ 955675 w 1146175"/>
                    <a:gd name="connsiteY49" fmla="*/ 568325 h 1655757"/>
                    <a:gd name="connsiteX50" fmla="*/ 968375 w 1146175"/>
                    <a:gd name="connsiteY50" fmla="*/ 609600 h 1655757"/>
                    <a:gd name="connsiteX51" fmla="*/ 974725 w 1146175"/>
                    <a:gd name="connsiteY51" fmla="*/ 622300 h 1655757"/>
                    <a:gd name="connsiteX52" fmla="*/ 981075 w 1146175"/>
                    <a:gd name="connsiteY52" fmla="*/ 641350 h 1655757"/>
                    <a:gd name="connsiteX53" fmla="*/ 993775 w 1146175"/>
                    <a:gd name="connsiteY53" fmla="*/ 644525 h 1655757"/>
                    <a:gd name="connsiteX54" fmla="*/ 1012825 w 1146175"/>
                    <a:gd name="connsiteY54" fmla="*/ 647700 h 1655757"/>
                    <a:gd name="connsiteX55" fmla="*/ 1041400 w 1146175"/>
                    <a:gd name="connsiteY55" fmla="*/ 660400 h 1655757"/>
                    <a:gd name="connsiteX56" fmla="*/ 1050925 w 1146175"/>
                    <a:gd name="connsiteY56" fmla="*/ 663575 h 1655757"/>
                    <a:gd name="connsiteX57" fmla="*/ 1066800 w 1146175"/>
                    <a:gd name="connsiteY57" fmla="*/ 673100 h 1655757"/>
                    <a:gd name="connsiteX58" fmla="*/ 1089025 w 1146175"/>
                    <a:gd name="connsiteY58" fmla="*/ 682625 h 1655757"/>
                    <a:gd name="connsiteX59" fmla="*/ 1117600 w 1146175"/>
                    <a:gd name="connsiteY59" fmla="*/ 701675 h 1655757"/>
                    <a:gd name="connsiteX60" fmla="*/ 1136650 w 1146175"/>
                    <a:gd name="connsiteY60" fmla="*/ 708025 h 1655757"/>
                    <a:gd name="connsiteX61" fmla="*/ 1146175 w 1146175"/>
                    <a:gd name="connsiteY61" fmla="*/ 898525 h 1655757"/>
                    <a:gd name="connsiteX62" fmla="*/ 1127125 w 1146175"/>
                    <a:gd name="connsiteY62" fmla="*/ 908050 h 1655757"/>
                    <a:gd name="connsiteX63" fmla="*/ 1101725 w 1146175"/>
                    <a:gd name="connsiteY63" fmla="*/ 914400 h 1655757"/>
                    <a:gd name="connsiteX64" fmla="*/ 1092200 w 1146175"/>
                    <a:gd name="connsiteY64" fmla="*/ 920750 h 1655757"/>
                    <a:gd name="connsiteX65" fmla="*/ 1079500 w 1146175"/>
                    <a:gd name="connsiteY65" fmla="*/ 923925 h 1655757"/>
                    <a:gd name="connsiteX66" fmla="*/ 1069975 w 1146175"/>
                    <a:gd name="connsiteY66" fmla="*/ 933450 h 1655757"/>
                    <a:gd name="connsiteX67" fmla="*/ 1060450 w 1146175"/>
                    <a:gd name="connsiteY67" fmla="*/ 939800 h 1655757"/>
                    <a:gd name="connsiteX68" fmla="*/ 1038225 w 1146175"/>
                    <a:gd name="connsiteY68" fmla="*/ 952500 h 1655757"/>
                    <a:gd name="connsiteX69" fmla="*/ 996950 w 1146175"/>
                    <a:gd name="connsiteY69" fmla="*/ 977900 h 1655757"/>
                    <a:gd name="connsiteX70" fmla="*/ 977900 w 1146175"/>
                    <a:gd name="connsiteY70" fmla="*/ 984250 h 1655757"/>
                    <a:gd name="connsiteX71" fmla="*/ 968375 w 1146175"/>
                    <a:gd name="connsiteY71" fmla="*/ 1009650 h 1655757"/>
                    <a:gd name="connsiteX72" fmla="*/ 958850 w 1146175"/>
                    <a:gd name="connsiteY72" fmla="*/ 1035050 h 1655757"/>
                    <a:gd name="connsiteX73" fmla="*/ 955675 w 1146175"/>
                    <a:gd name="connsiteY73" fmla="*/ 1060450 h 1655757"/>
                    <a:gd name="connsiteX74" fmla="*/ 949325 w 1146175"/>
                    <a:gd name="connsiteY74" fmla="*/ 1069975 h 1655757"/>
                    <a:gd name="connsiteX75" fmla="*/ 946150 w 1146175"/>
                    <a:gd name="connsiteY75" fmla="*/ 1079500 h 1655757"/>
                    <a:gd name="connsiteX76" fmla="*/ 936625 w 1146175"/>
                    <a:gd name="connsiteY76" fmla="*/ 1095375 h 1655757"/>
                    <a:gd name="connsiteX77" fmla="*/ 923925 w 1146175"/>
                    <a:gd name="connsiteY77" fmla="*/ 1130300 h 1655757"/>
                    <a:gd name="connsiteX78" fmla="*/ 917575 w 1146175"/>
                    <a:gd name="connsiteY78" fmla="*/ 1139825 h 1655757"/>
                    <a:gd name="connsiteX79" fmla="*/ 923925 w 1146175"/>
                    <a:gd name="connsiteY79" fmla="*/ 1193800 h 1655757"/>
                    <a:gd name="connsiteX80" fmla="*/ 939800 w 1146175"/>
                    <a:gd name="connsiteY80" fmla="*/ 1216025 h 1655757"/>
                    <a:gd name="connsiteX81" fmla="*/ 946150 w 1146175"/>
                    <a:gd name="connsiteY81" fmla="*/ 1228725 h 1655757"/>
                    <a:gd name="connsiteX82" fmla="*/ 952500 w 1146175"/>
                    <a:gd name="connsiteY82" fmla="*/ 1238250 h 1655757"/>
                    <a:gd name="connsiteX83" fmla="*/ 965200 w 1146175"/>
                    <a:gd name="connsiteY83" fmla="*/ 1263650 h 1655757"/>
                    <a:gd name="connsiteX84" fmla="*/ 974725 w 1146175"/>
                    <a:gd name="connsiteY84" fmla="*/ 1285875 h 1655757"/>
                    <a:gd name="connsiteX85" fmla="*/ 977900 w 1146175"/>
                    <a:gd name="connsiteY85" fmla="*/ 1298575 h 1655757"/>
                    <a:gd name="connsiteX86" fmla="*/ 981075 w 1146175"/>
                    <a:gd name="connsiteY86" fmla="*/ 1308100 h 1655757"/>
                    <a:gd name="connsiteX87" fmla="*/ 974725 w 1146175"/>
                    <a:gd name="connsiteY87" fmla="*/ 1343025 h 1655757"/>
                    <a:gd name="connsiteX88" fmla="*/ 949325 w 1146175"/>
                    <a:gd name="connsiteY88" fmla="*/ 1374775 h 1655757"/>
                    <a:gd name="connsiteX89" fmla="*/ 939800 w 1146175"/>
                    <a:gd name="connsiteY89" fmla="*/ 1381125 h 1655757"/>
                    <a:gd name="connsiteX90" fmla="*/ 930275 w 1146175"/>
                    <a:gd name="connsiteY90" fmla="*/ 1390650 h 1655757"/>
                    <a:gd name="connsiteX91" fmla="*/ 923925 w 1146175"/>
                    <a:gd name="connsiteY91" fmla="*/ 1400175 h 1655757"/>
                    <a:gd name="connsiteX92" fmla="*/ 908050 w 1146175"/>
                    <a:gd name="connsiteY92" fmla="*/ 1409700 h 1655757"/>
                    <a:gd name="connsiteX93" fmla="*/ 895350 w 1146175"/>
                    <a:gd name="connsiteY93" fmla="*/ 1422400 h 1655757"/>
                    <a:gd name="connsiteX94" fmla="*/ 882650 w 1146175"/>
                    <a:gd name="connsiteY94" fmla="*/ 1431925 h 1655757"/>
                    <a:gd name="connsiteX95" fmla="*/ 873125 w 1146175"/>
                    <a:gd name="connsiteY95" fmla="*/ 1441450 h 1655757"/>
                    <a:gd name="connsiteX96" fmla="*/ 844550 w 1146175"/>
                    <a:gd name="connsiteY96" fmla="*/ 1457325 h 1655757"/>
                    <a:gd name="connsiteX97" fmla="*/ 835025 w 1146175"/>
                    <a:gd name="connsiteY97" fmla="*/ 1460500 h 1655757"/>
                    <a:gd name="connsiteX98" fmla="*/ 815975 w 1146175"/>
                    <a:gd name="connsiteY98" fmla="*/ 1454150 h 1655757"/>
                    <a:gd name="connsiteX99" fmla="*/ 774700 w 1146175"/>
                    <a:gd name="connsiteY99" fmla="*/ 1438275 h 1655757"/>
                    <a:gd name="connsiteX100" fmla="*/ 749300 w 1146175"/>
                    <a:gd name="connsiteY100" fmla="*/ 1431925 h 1655757"/>
                    <a:gd name="connsiteX101" fmla="*/ 717550 w 1146175"/>
                    <a:gd name="connsiteY101" fmla="*/ 1419225 h 1655757"/>
                    <a:gd name="connsiteX102" fmla="*/ 688975 w 1146175"/>
                    <a:gd name="connsiteY102" fmla="*/ 1412875 h 1655757"/>
                    <a:gd name="connsiteX103" fmla="*/ 657225 w 1146175"/>
                    <a:gd name="connsiteY103" fmla="*/ 1403350 h 1655757"/>
                    <a:gd name="connsiteX104" fmla="*/ 635000 w 1146175"/>
                    <a:gd name="connsiteY104" fmla="*/ 1406525 h 1655757"/>
                    <a:gd name="connsiteX105" fmla="*/ 622300 w 1146175"/>
                    <a:gd name="connsiteY105" fmla="*/ 1412875 h 1655757"/>
                    <a:gd name="connsiteX106" fmla="*/ 606425 w 1146175"/>
                    <a:gd name="connsiteY106" fmla="*/ 1422400 h 1655757"/>
                    <a:gd name="connsiteX107" fmla="*/ 577850 w 1146175"/>
                    <a:gd name="connsiteY107" fmla="*/ 1438275 h 1655757"/>
                    <a:gd name="connsiteX108" fmla="*/ 558800 w 1146175"/>
                    <a:gd name="connsiteY108" fmla="*/ 1441450 h 1655757"/>
                    <a:gd name="connsiteX109" fmla="*/ 501650 w 1146175"/>
                    <a:gd name="connsiteY109" fmla="*/ 1447800 h 1655757"/>
                    <a:gd name="connsiteX110" fmla="*/ 492125 w 1146175"/>
                    <a:gd name="connsiteY110" fmla="*/ 1454150 h 1655757"/>
                    <a:gd name="connsiteX111" fmla="*/ 466725 w 1146175"/>
                    <a:gd name="connsiteY111" fmla="*/ 1485900 h 1655757"/>
                    <a:gd name="connsiteX112" fmla="*/ 457200 w 1146175"/>
                    <a:gd name="connsiteY112" fmla="*/ 1504950 h 1655757"/>
                    <a:gd name="connsiteX113" fmla="*/ 454025 w 1146175"/>
                    <a:gd name="connsiteY113" fmla="*/ 1514475 h 1655757"/>
                    <a:gd name="connsiteX114" fmla="*/ 447675 w 1146175"/>
                    <a:gd name="connsiteY114" fmla="*/ 1530350 h 1655757"/>
                    <a:gd name="connsiteX115" fmla="*/ 434975 w 1146175"/>
                    <a:gd name="connsiteY115" fmla="*/ 1555750 h 1655757"/>
                    <a:gd name="connsiteX116" fmla="*/ 431800 w 1146175"/>
                    <a:gd name="connsiteY116" fmla="*/ 1571625 h 1655757"/>
                    <a:gd name="connsiteX117" fmla="*/ 425450 w 1146175"/>
                    <a:gd name="connsiteY117" fmla="*/ 1597025 h 1655757"/>
                    <a:gd name="connsiteX118" fmla="*/ 422275 w 1146175"/>
                    <a:gd name="connsiteY118" fmla="*/ 1606550 h 1655757"/>
                    <a:gd name="connsiteX119" fmla="*/ 412750 w 1146175"/>
                    <a:gd name="connsiteY119" fmla="*/ 1616075 h 1655757"/>
                    <a:gd name="connsiteX120" fmla="*/ 222250 w 1146175"/>
                    <a:gd name="connsiteY120" fmla="*/ 1622425 h 1655757"/>
                    <a:gd name="connsiteX121" fmla="*/ 215900 w 1146175"/>
                    <a:gd name="connsiteY121" fmla="*/ 1606550 h 1655757"/>
                    <a:gd name="connsiteX122" fmla="*/ 206375 w 1146175"/>
                    <a:gd name="connsiteY122" fmla="*/ 1593850 h 1655757"/>
                    <a:gd name="connsiteX123" fmla="*/ 203200 w 1146175"/>
                    <a:gd name="connsiteY123" fmla="*/ 1581150 h 1655757"/>
                    <a:gd name="connsiteX124" fmla="*/ 196850 w 1146175"/>
                    <a:gd name="connsiteY124" fmla="*/ 1568450 h 1655757"/>
                    <a:gd name="connsiteX125" fmla="*/ 193675 w 1146175"/>
                    <a:gd name="connsiteY125" fmla="*/ 1558925 h 1655757"/>
                    <a:gd name="connsiteX126" fmla="*/ 187325 w 1146175"/>
                    <a:gd name="connsiteY126" fmla="*/ 1546225 h 1655757"/>
                    <a:gd name="connsiteX127" fmla="*/ 180975 w 1146175"/>
                    <a:gd name="connsiteY127" fmla="*/ 1530350 h 1655757"/>
                    <a:gd name="connsiteX128" fmla="*/ 161925 w 1146175"/>
                    <a:gd name="connsiteY128" fmla="*/ 1501775 h 1655757"/>
                    <a:gd name="connsiteX129" fmla="*/ 149225 w 1146175"/>
                    <a:gd name="connsiteY129" fmla="*/ 1479550 h 1655757"/>
                    <a:gd name="connsiteX130" fmla="*/ 142875 w 1146175"/>
                    <a:gd name="connsiteY130" fmla="*/ 1463675 h 1655757"/>
                    <a:gd name="connsiteX131" fmla="*/ 130175 w 1146175"/>
                    <a:gd name="connsiteY131" fmla="*/ 1460500 h 1655757"/>
                    <a:gd name="connsiteX132" fmla="*/ 101600 w 1146175"/>
                    <a:gd name="connsiteY132" fmla="*/ 1447800 h 1655757"/>
                    <a:gd name="connsiteX133" fmla="*/ 69850 w 1146175"/>
                    <a:gd name="connsiteY133" fmla="*/ 1438275 h 1655757"/>
                    <a:gd name="connsiteX134" fmla="*/ 41275 w 1146175"/>
                    <a:gd name="connsiteY134" fmla="*/ 1425575 h 1655757"/>
                    <a:gd name="connsiteX135" fmla="*/ 31750 w 1146175"/>
                    <a:gd name="connsiteY135" fmla="*/ 1419225 h 1655757"/>
                    <a:gd name="connsiteX136" fmla="*/ 15875 w 1146175"/>
                    <a:gd name="connsiteY136" fmla="*/ 1412875 h 1655757"/>
                    <a:gd name="connsiteX137" fmla="*/ 0 w 1146175"/>
                    <a:gd name="connsiteY137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55575 w 1146175"/>
                    <a:gd name="connsiteY3" fmla="*/ 155575 h 1655757"/>
                    <a:gd name="connsiteX4" fmla="*/ 168275 w 1146175"/>
                    <a:gd name="connsiteY4" fmla="*/ 142875 h 1655757"/>
                    <a:gd name="connsiteX5" fmla="*/ 209550 w 1146175"/>
                    <a:gd name="connsiteY5" fmla="*/ 60325 h 1655757"/>
                    <a:gd name="connsiteX6" fmla="*/ 238125 w 1146175"/>
                    <a:gd name="connsiteY6" fmla="*/ 9525 h 1655757"/>
                    <a:gd name="connsiteX7" fmla="*/ 269875 w 1146175"/>
                    <a:gd name="connsiteY7" fmla="*/ 0 h 1655757"/>
                    <a:gd name="connsiteX8" fmla="*/ 428625 w 1146175"/>
                    <a:gd name="connsiteY8" fmla="*/ 6350 h 1655757"/>
                    <a:gd name="connsiteX9" fmla="*/ 434975 w 1146175"/>
                    <a:gd name="connsiteY9" fmla="*/ 19050 h 1655757"/>
                    <a:gd name="connsiteX10" fmla="*/ 441325 w 1146175"/>
                    <a:gd name="connsiteY10" fmla="*/ 34925 h 1655757"/>
                    <a:gd name="connsiteX11" fmla="*/ 454025 w 1146175"/>
                    <a:gd name="connsiteY11" fmla="*/ 60325 h 1655757"/>
                    <a:gd name="connsiteX12" fmla="*/ 460375 w 1146175"/>
                    <a:gd name="connsiteY12" fmla="*/ 69850 h 1655757"/>
                    <a:gd name="connsiteX13" fmla="*/ 476250 w 1146175"/>
                    <a:gd name="connsiteY13" fmla="*/ 101600 h 1655757"/>
                    <a:gd name="connsiteX14" fmla="*/ 479425 w 1146175"/>
                    <a:gd name="connsiteY14" fmla="*/ 117475 h 1655757"/>
                    <a:gd name="connsiteX15" fmla="*/ 485775 w 1146175"/>
                    <a:gd name="connsiteY15" fmla="*/ 127000 h 1655757"/>
                    <a:gd name="connsiteX16" fmla="*/ 492125 w 1146175"/>
                    <a:gd name="connsiteY16" fmla="*/ 139700 h 1655757"/>
                    <a:gd name="connsiteX17" fmla="*/ 508000 w 1146175"/>
                    <a:gd name="connsiteY17" fmla="*/ 165100 h 1655757"/>
                    <a:gd name="connsiteX18" fmla="*/ 527050 w 1146175"/>
                    <a:gd name="connsiteY18" fmla="*/ 168275 h 1655757"/>
                    <a:gd name="connsiteX19" fmla="*/ 558800 w 1146175"/>
                    <a:gd name="connsiteY19" fmla="*/ 184150 h 1655757"/>
                    <a:gd name="connsiteX20" fmla="*/ 574675 w 1146175"/>
                    <a:gd name="connsiteY20" fmla="*/ 187325 h 1655757"/>
                    <a:gd name="connsiteX21" fmla="*/ 635000 w 1146175"/>
                    <a:gd name="connsiteY21" fmla="*/ 215900 h 1655757"/>
                    <a:gd name="connsiteX22" fmla="*/ 717550 w 1146175"/>
                    <a:gd name="connsiteY22" fmla="*/ 212725 h 1655757"/>
                    <a:gd name="connsiteX23" fmla="*/ 733425 w 1146175"/>
                    <a:gd name="connsiteY23" fmla="*/ 206375 h 1655757"/>
                    <a:gd name="connsiteX24" fmla="*/ 771525 w 1146175"/>
                    <a:gd name="connsiteY24" fmla="*/ 200025 h 1655757"/>
                    <a:gd name="connsiteX25" fmla="*/ 796925 w 1146175"/>
                    <a:gd name="connsiteY25" fmla="*/ 190500 h 1655757"/>
                    <a:gd name="connsiteX26" fmla="*/ 838200 w 1146175"/>
                    <a:gd name="connsiteY26" fmla="*/ 180975 h 1655757"/>
                    <a:gd name="connsiteX27" fmla="*/ 879475 w 1146175"/>
                    <a:gd name="connsiteY27" fmla="*/ 200025 h 1655757"/>
                    <a:gd name="connsiteX28" fmla="*/ 885825 w 1146175"/>
                    <a:gd name="connsiteY28" fmla="*/ 209550 h 1655757"/>
                    <a:gd name="connsiteX29" fmla="*/ 901700 w 1146175"/>
                    <a:gd name="connsiteY29" fmla="*/ 225425 h 1655757"/>
                    <a:gd name="connsiteX30" fmla="*/ 917575 w 1146175"/>
                    <a:gd name="connsiteY30" fmla="*/ 238125 h 1655757"/>
                    <a:gd name="connsiteX31" fmla="*/ 936625 w 1146175"/>
                    <a:gd name="connsiteY31" fmla="*/ 250825 h 1655757"/>
                    <a:gd name="connsiteX32" fmla="*/ 955675 w 1146175"/>
                    <a:gd name="connsiteY32" fmla="*/ 273050 h 1655757"/>
                    <a:gd name="connsiteX33" fmla="*/ 974725 w 1146175"/>
                    <a:gd name="connsiteY33" fmla="*/ 298450 h 1655757"/>
                    <a:gd name="connsiteX34" fmla="*/ 968375 w 1146175"/>
                    <a:gd name="connsiteY34" fmla="*/ 333375 h 1655757"/>
                    <a:gd name="connsiteX35" fmla="*/ 965200 w 1146175"/>
                    <a:gd name="connsiteY35" fmla="*/ 342900 h 1655757"/>
                    <a:gd name="connsiteX36" fmla="*/ 949325 w 1146175"/>
                    <a:gd name="connsiteY36" fmla="*/ 361950 h 1655757"/>
                    <a:gd name="connsiteX37" fmla="*/ 939800 w 1146175"/>
                    <a:gd name="connsiteY37" fmla="*/ 384175 h 1655757"/>
                    <a:gd name="connsiteX38" fmla="*/ 936625 w 1146175"/>
                    <a:gd name="connsiteY38" fmla="*/ 396875 h 1655757"/>
                    <a:gd name="connsiteX39" fmla="*/ 930275 w 1146175"/>
                    <a:gd name="connsiteY39" fmla="*/ 412750 h 1655757"/>
                    <a:gd name="connsiteX40" fmla="*/ 927100 w 1146175"/>
                    <a:gd name="connsiteY40" fmla="*/ 425450 h 1655757"/>
                    <a:gd name="connsiteX41" fmla="*/ 920750 w 1146175"/>
                    <a:gd name="connsiteY41" fmla="*/ 441325 h 1655757"/>
                    <a:gd name="connsiteX42" fmla="*/ 917575 w 1146175"/>
                    <a:gd name="connsiteY42" fmla="*/ 454025 h 1655757"/>
                    <a:gd name="connsiteX43" fmla="*/ 914400 w 1146175"/>
                    <a:gd name="connsiteY43" fmla="*/ 463550 h 1655757"/>
                    <a:gd name="connsiteX44" fmla="*/ 917575 w 1146175"/>
                    <a:gd name="connsiteY44" fmla="*/ 501650 h 1655757"/>
                    <a:gd name="connsiteX45" fmla="*/ 923925 w 1146175"/>
                    <a:gd name="connsiteY45" fmla="*/ 514350 h 1655757"/>
                    <a:gd name="connsiteX46" fmla="*/ 939800 w 1146175"/>
                    <a:gd name="connsiteY46" fmla="*/ 533400 h 1655757"/>
                    <a:gd name="connsiteX47" fmla="*/ 942975 w 1146175"/>
                    <a:gd name="connsiteY47" fmla="*/ 542925 h 1655757"/>
                    <a:gd name="connsiteX48" fmla="*/ 955675 w 1146175"/>
                    <a:gd name="connsiteY48" fmla="*/ 568325 h 1655757"/>
                    <a:gd name="connsiteX49" fmla="*/ 968375 w 1146175"/>
                    <a:gd name="connsiteY49" fmla="*/ 609600 h 1655757"/>
                    <a:gd name="connsiteX50" fmla="*/ 974725 w 1146175"/>
                    <a:gd name="connsiteY50" fmla="*/ 622300 h 1655757"/>
                    <a:gd name="connsiteX51" fmla="*/ 981075 w 1146175"/>
                    <a:gd name="connsiteY51" fmla="*/ 641350 h 1655757"/>
                    <a:gd name="connsiteX52" fmla="*/ 993775 w 1146175"/>
                    <a:gd name="connsiteY52" fmla="*/ 644525 h 1655757"/>
                    <a:gd name="connsiteX53" fmla="*/ 1012825 w 1146175"/>
                    <a:gd name="connsiteY53" fmla="*/ 647700 h 1655757"/>
                    <a:gd name="connsiteX54" fmla="*/ 1041400 w 1146175"/>
                    <a:gd name="connsiteY54" fmla="*/ 660400 h 1655757"/>
                    <a:gd name="connsiteX55" fmla="*/ 1050925 w 1146175"/>
                    <a:gd name="connsiteY55" fmla="*/ 663575 h 1655757"/>
                    <a:gd name="connsiteX56" fmla="*/ 1066800 w 1146175"/>
                    <a:gd name="connsiteY56" fmla="*/ 673100 h 1655757"/>
                    <a:gd name="connsiteX57" fmla="*/ 1089025 w 1146175"/>
                    <a:gd name="connsiteY57" fmla="*/ 682625 h 1655757"/>
                    <a:gd name="connsiteX58" fmla="*/ 1117600 w 1146175"/>
                    <a:gd name="connsiteY58" fmla="*/ 701675 h 1655757"/>
                    <a:gd name="connsiteX59" fmla="*/ 1136650 w 1146175"/>
                    <a:gd name="connsiteY59" fmla="*/ 708025 h 1655757"/>
                    <a:gd name="connsiteX60" fmla="*/ 1146175 w 1146175"/>
                    <a:gd name="connsiteY60" fmla="*/ 898525 h 1655757"/>
                    <a:gd name="connsiteX61" fmla="*/ 1127125 w 1146175"/>
                    <a:gd name="connsiteY61" fmla="*/ 908050 h 1655757"/>
                    <a:gd name="connsiteX62" fmla="*/ 1101725 w 1146175"/>
                    <a:gd name="connsiteY62" fmla="*/ 914400 h 1655757"/>
                    <a:gd name="connsiteX63" fmla="*/ 1092200 w 1146175"/>
                    <a:gd name="connsiteY63" fmla="*/ 920750 h 1655757"/>
                    <a:gd name="connsiteX64" fmla="*/ 1079500 w 1146175"/>
                    <a:gd name="connsiteY64" fmla="*/ 923925 h 1655757"/>
                    <a:gd name="connsiteX65" fmla="*/ 1069975 w 1146175"/>
                    <a:gd name="connsiteY65" fmla="*/ 933450 h 1655757"/>
                    <a:gd name="connsiteX66" fmla="*/ 1060450 w 1146175"/>
                    <a:gd name="connsiteY66" fmla="*/ 939800 h 1655757"/>
                    <a:gd name="connsiteX67" fmla="*/ 1038225 w 1146175"/>
                    <a:gd name="connsiteY67" fmla="*/ 952500 h 1655757"/>
                    <a:gd name="connsiteX68" fmla="*/ 996950 w 1146175"/>
                    <a:gd name="connsiteY68" fmla="*/ 977900 h 1655757"/>
                    <a:gd name="connsiteX69" fmla="*/ 977900 w 1146175"/>
                    <a:gd name="connsiteY69" fmla="*/ 984250 h 1655757"/>
                    <a:gd name="connsiteX70" fmla="*/ 968375 w 1146175"/>
                    <a:gd name="connsiteY70" fmla="*/ 1009650 h 1655757"/>
                    <a:gd name="connsiteX71" fmla="*/ 958850 w 1146175"/>
                    <a:gd name="connsiteY71" fmla="*/ 1035050 h 1655757"/>
                    <a:gd name="connsiteX72" fmla="*/ 955675 w 1146175"/>
                    <a:gd name="connsiteY72" fmla="*/ 1060450 h 1655757"/>
                    <a:gd name="connsiteX73" fmla="*/ 949325 w 1146175"/>
                    <a:gd name="connsiteY73" fmla="*/ 1069975 h 1655757"/>
                    <a:gd name="connsiteX74" fmla="*/ 946150 w 1146175"/>
                    <a:gd name="connsiteY74" fmla="*/ 1079500 h 1655757"/>
                    <a:gd name="connsiteX75" fmla="*/ 936625 w 1146175"/>
                    <a:gd name="connsiteY75" fmla="*/ 1095375 h 1655757"/>
                    <a:gd name="connsiteX76" fmla="*/ 923925 w 1146175"/>
                    <a:gd name="connsiteY76" fmla="*/ 1130300 h 1655757"/>
                    <a:gd name="connsiteX77" fmla="*/ 917575 w 1146175"/>
                    <a:gd name="connsiteY77" fmla="*/ 1139825 h 1655757"/>
                    <a:gd name="connsiteX78" fmla="*/ 923925 w 1146175"/>
                    <a:gd name="connsiteY78" fmla="*/ 1193800 h 1655757"/>
                    <a:gd name="connsiteX79" fmla="*/ 939800 w 1146175"/>
                    <a:gd name="connsiteY79" fmla="*/ 1216025 h 1655757"/>
                    <a:gd name="connsiteX80" fmla="*/ 946150 w 1146175"/>
                    <a:gd name="connsiteY80" fmla="*/ 1228725 h 1655757"/>
                    <a:gd name="connsiteX81" fmla="*/ 952500 w 1146175"/>
                    <a:gd name="connsiteY81" fmla="*/ 1238250 h 1655757"/>
                    <a:gd name="connsiteX82" fmla="*/ 965200 w 1146175"/>
                    <a:gd name="connsiteY82" fmla="*/ 1263650 h 1655757"/>
                    <a:gd name="connsiteX83" fmla="*/ 974725 w 1146175"/>
                    <a:gd name="connsiteY83" fmla="*/ 1285875 h 1655757"/>
                    <a:gd name="connsiteX84" fmla="*/ 977900 w 1146175"/>
                    <a:gd name="connsiteY84" fmla="*/ 1298575 h 1655757"/>
                    <a:gd name="connsiteX85" fmla="*/ 981075 w 1146175"/>
                    <a:gd name="connsiteY85" fmla="*/ 1308100 h 1655757"/>
                    <a:gd name="connsiteX86" fmla="*/ 974725 w 1146175"/>
                    <a:gd name="connsiteY86" fmla="*/ 1343025 h 1655757"/>
                    <a:gd name="connsiteX87" fmla="*/ 949325 w 1146175"/>
                    <a:gd name="connsiteY87" fmla="*/ 1374775 h 1655757"/>
                    <a:gd name="connsiteX88" fmla="*/ 939800 w 1146175"/>
                    <a:gd name="connsiteY88" fmla="*/ 1381125 h 1655757"/>
                    <a:gd name="connsiteX89" fmla="*/ 930275 w 1146175"/>
                    <a:gd name="connsiteY89" fmla="*/ 1390650 h 1655757"/>
                    <a:gd name="connsiteX90" fmla="*/ 923925 w 1146175"/>
                    <a:gd name="connsiteY90" fmla="*/ 1400175 h 1655757"/>
                    <a:gd name="connsiteX91" fmla="*/ 908050 w 1146175"/>
                    <a:gd name="connsiteY91" fmla="*/ 1409700 h 1655757"/>
                    <a:gd name="connsiteX92" fmla="*/ 895350 w 1146175"/>
                    <a:gd name="connsiteY92" fmla="*/ 1422400 h 1655757"/>
                    <a:gd name="connsiteX93" fmla="*/ 882650 w 1146175"/>
                    <a:gd name="connsiteY93" fmla="*/ 1431925 h 1655757"/>
                    <a:gd name="connsiteX94" fmla="*/ 873125 w 1146175"/>
                    <a:gd name="connsiteY94" fmla="*/ 1441450 h 1655757"/>
                    <a:gd name="connsiteX95" fmla="*/ 844550 w 1146175"/>
                    <a:gd name="connsiteY95" fmla="*/ 1457325 h 1655757"/>
                    <a:gd name="connsiteX96" fmla="*/ 835025 w 1146175"/>
                    <a:gd name="connsiteY96" fmla="*/ 1460500 h 1655757"/>
                    <a:gd name="connsiteX97" fmla="*/ 815975 w 1146175"/>
                    <a:gd name="connsiteY97" fmla="*/ 1454150 h 1655757"/>
                    <a:gd name="connsiteX98" fmla="*/ 774700 w 1146175"/>
                    <a:gd name="connsiteY98" fmla="*/ 1438275 h 1655757"/>
                    <a:gd name="connsiteX99" fmla="*/ 749300 w 1146175"/>
                    <a:gd name="connsiteY99" fmla="*/ 1431925 h 1655757"/>
                    <a:gd name="connsiteX100" fmla="*/ 717550 w 1146175"/>
                    <a:gd name="connsiteY100" fmla="*/ 1419225 h 1655757"/>
                    <a:gd name="connsiteX101" fmla="*/ 688975 w 1146175"/>
                    <a:gd name="connsiteY101" fmla="*/ 1412875 h 1655757"/>
                    <a:gd name="connsiteX102" fmla="*/ 657225 w 1146175"/>
                    <a:gd name="connsiteY102" fmla="*/ 1403350 h 1655757"/>
                    <a:gd name="connsiteX103" fmla="*/ 635000 w 1146175"/>
                    <a:gd name="connsiteY103" fmla="*/ 1406525 h 1655757"/>
                    <a:gd name="connsiteX104" fmla="*/ 622300 w 1146175"/>
                    <a:gd name="connsiteY104" fmla="*/ 1412875 h 1655757"/>
                    <a:gd name="connsiteX105" fmla="*/ 606425 w 1146175"/>
                    <a:gd name="connsiteY105" fmla="*/ 1422400 h 1655757"/>
                    <a:gd name="connsiteX106" fmla="*/ 577850 w 1146175"/>
                    <a:gd name="connsiteY106" fmla="*/ 1438275 h 1655757"/>
                    <a:gd name="connsiteX107" fmla="*/ 558800 w 1146175"/>
                    <a:gd name="connsiteY107" fmla="*/ 1441450 h 1655757"/>
                    <a:gd name="connsiteX108" fmla="*/ 501650 w 1146175"/>
                    <a:gd name="connsiteY108" fmla="*/ 1447800 h 1655757"/>
                    <a:gd name="connsiteX109" fmla="*/ 492125 w 1146175"/>
                    <a:gd name="connsiteY109" fmla="*/ 1454150 h 1655757"/>
                    <a:gd name="connsiteX110" fmla="*/ 466725 w 1146175"/>
                    <a:gd name="connsiteY110" fmla="*/ 1485900 h 1655757"/>
                    <a:gd name="connsiteX111" fmla="*/ 457200 w 1146175"/>
                    <a:gd name="connsiteY111" fmla="*/ 1504950 h 1655757"/>
                    <a:gd name="connsiteX112" fmla="*/ 454025 w 1146175"/>
                    <a:gd name="connsiteY112" fmla="*/ 1514475 h 1655757"/>
                    <a:gd name="connsiteX113" fmla="*/ 447675 w 1146175"/>
                    <a:gd name="connsiteY113" fmla="*/ 1530350 h 1655757"/>
                    <a:gd name="connsiteX114" fmla="*/ 434975 w 1146175"/>
                    <a:gd name="connsiteY114" fmla="*/ 1555750 h 1655757"/>
                    <a:gd name="connsiteX115" fmla="*/ 431800 w 1146175"/>
                    <a:gd name="connsiteY115" fmla="*/ 1571625 h 1655757"/>
                    <a:gd name="connsiteX116" fmla="*/ 425450 w 1146175"/>
                    <a:gd name="connsiteY116" fmla="*/ 1597025 h 1655757"/>
                    <a:gd name="connsiteX117" fmla="*/ 422275 w 1146175"/>
                    <a:gd name="connsiteY117" fmla="*/ 1606550 h 1655757"/>
                    <a:gd name="connsiteX118" fmla="*/ 412750 w 1146175"/>
                    <a:gd name="connsiteY118" fmla="*/ 1616075 h 1655757"/>
                    <a:gd name="connsiteX119" fmla="*/ 222250 w 1146175"/>
                    <a:gd name="connsiteY119" fmla="*/ 1622425 h 1655757"/>
                    <a:gd name="connsiteX120" fmla="*/ 215900 w 1146175"/>
                    <a:gd name="connsiteY120" fmla="*/ 1606550 h 1655757"/>
                    <a:gd name="connsiteX121" fmla="*/ 206375 w 1146175"/>
                    <a:gd name="connsiteY121" fmla="*/ 1593850 h 1655757"/>
                    <a:gd name="connsiteX122" fmla="*/ 203200 w 1146175"/>
                    <a:gd name="connsiteY122" fmla="*/ 1581150 h 1655757"/>
                    <a:gd name="connsiteX123" fmla="*/ 196850 w 1146175"/>
                    <a:gd name="connsiteY123" fmla="*/ 1568450 h 1655757"/>
                    <a:gd name="connsiteX124" fmla="*/ 193675 w 1146175"/>
                    <a:gd name="connsiteY124" fmla="*/ 1558925 h 1655757"/>
                    <a:gd name="connsiteX125" fmla="*/ 187325 w 1146175"/>
                    <a:gd name="connsiteY125" fmla="*/ 1546225 h 1655757"/>
                    <a:gd name="connsiteX126" fmla="*/ 180975 w 1146175"/>
                    <a:gd name="connsiteY126" fmla="*/ 1530350 h 1655757"/>
                    <a:gd name="connsiteX127" fmla="*/ 161925 w 1146175"/>
                    <a:gd name="connsiteY127" fmla="*/ 1501775 h 1655757"/>
                    <a:gd name="connsiteX128" fmla="*/ 149225 w 1146175"/>
                    <a:gd name="connsiteY128" fmla="*/ 1479550 h 1655757"/>
                    <a:gd name="connsiteX129" fmla="*/ 142875 w 1146175"/>
                    <a:gd name="connsiteY129" fmla="*/ 1463675 h 1655757"/>
                    <a:gd name="connsiteX130" fmla="*/ 130175 w 1146175"/>
                    <a:gd name="connsiteY130" fmla="*/ 1460500 h 1655757"/>
                    <a:gd name="connsiteX131" fmla="*/ 101600 w 1146175"/>
                    <a:gd name="connsiteY131" fmla="*/ 1447800 h 1655757"/>
                    <a:gd name="connsiteX132" fmla="*/ 69850 w 1146175"/>
                    <a:gd name="connsiteY132" fmla="*/ 1438275 h 1655757"/>
                    <a:gd name="connsiteX133" fmla="*/ 41275 w 1146175"/>
                    <a:gd name="connsiteY133" fmla="*/ 1425575 h 1655757"/>
                    <a:gd name="connsiteX134" fmla="*/ 31750 w 1146175"/>
                    <a:gd name="connsiteY134" fmla="*/ 1419225 h 1655757"/>
                    <a:gd name="connsiteX135" fmla="*/ 15875 w 1146175"/>
                    <a:gd name="connsiteY135" fmla="*/ 1412875 h 1655757"/>
                    <a:gd name="connsiteX136" fmla="*/ 0 w 1146175"/>
                    <a:gd name="connsiteY136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55575 w 1146175"/>
                    <a:gd name="connsiteY3" fmla="*/ 155575 h 1655757"/>
                    <a:gd name="connsiteX4" fmla="*/ 168275 w 1146175"/>
                    <a:gd name="connsiteY4" fmla="*/ 142875 h 1655757"/>
                    <a:gd name="connsiteX5" fmla="*/ 209550 w 1146175"/>
                    <a:gd name="connsiteY5" fmla="*/ 60325 h 1655757"/>
                    <a:gd name="connsiteX6" fmla="*/ 238125 w 1146175"/>
                    <a:gd name="connsiteY6" fmla="*/ 9525 h 1655757"/>
                    <a:gd name="connsiteX7" fmla="*/ 269875 w 1146175"/>
                    <a:gd name="connsiteY7" fmla="*/ 0 h 1655757"/>
                    <a:gd name="connsiteX8" fmla="*/ 428625 w 1146175"/>
                    <a:gd name="connsiteY8" fmla="*/ 6350 h 1655757"/>
                    <a:gd name="connsiteX9" fmla="*/ 434975 w 1146175"/>
                    <a:gd name="connsiteY9" fmla="*/ 19050 h 1655757"/>
                    <a:gd name="connsiteX10" fmla="*/ 454025 w 1146175"/>
                    <a:gd name="connsiteY10" fmla="*/ 60325 h 1655757"/>
                    <a:gd name="connsiteX11" fmla="*/ 460375 w 1146175"/>
                    <a:gd name="connsiteY11" fmla="*/ 69850 h 1655757"/>
                    <a:gd name="connsiteX12" fmla="*/ 476250 w 1146175"/>
                    <a:gd name="connsiteY12" fmla="*/ 101600 h 1655757"/>
                    <a:gd name="connsiteX13" fmla="*/ 479425 w 1146175"/>
                    <a:gd name="connsiteY13" fmla="*/ 117475 h 1655757"/>
                    <a:gd name="connsiteX14" fmla="*/ 485775 w 1146175"/>
                    <a:gd name="connsiteY14" fmla="*/ 127000 h 1655757"/>
                    <a:gd name="connsiteX15" fmla="*/ 492125 w 1146175"/>
                    <a:gd name="connsiteY15" fmla="*/ 139700 h 1655757"/>
                    <a:gd name="connsiteX16" fmla="*/ 508000 w 1146175"/>
                    <a:gd name="connsiteY16" fmla="*/ 165100 h 1655757"/>
                    <a:gd name="connsiteX17" fmla="*/ 527050 w 1146175"/>
                    <a:gd name="connsiteY17" fmla="*/ 168275 h 1655757"/>
                    <a:gd name="connsiteX18" fmla="*/ 558800 w 1146175"/>
                    <a:gd name="connsiteY18" fmla="*/ 184150 h 1655757"/>
                    <a:gd name="connsiteX19" fmla="*/ 574675 w 1146175"/>
                    <a:gd name="connsiteY19" fmla="*/ 187325 h 1655757"/>
                    <a:gd name="connsiteX20" fmla="*/ 635000 w 1146175"/>
                    <a:gd name="connsiteY20" fmla="*/ 215900 h 1655757"/>
                    <a:gd name="connsiteX21" fmla="*/ 717550 w 1146175"/>
                    <a:gd name="connsiteY21" fmla="*/ 212725 h 1655757"/>
                    <a:gd name="connsiteX22" fmla="*/ 733425 w 1146175"/>
                    <a:gd name="connsiteY22" fmla="*/ 206375 h 1655757"/>
                    <a:gd name="connsiteX23" fmla="*/ 771525 w 1146175"/>
                    <a:gd name="connsiteY23" fmla="*/ 200025 h 1655757"/>
                    <a:gd name="connsiteX24" fmla="*/ 796925 w 1146175"/>
                    <a:gd name="connsiteY24" fmla="*/ 190500 h 1655757"/>
                    <a:gd name="connsiteX25" fmla="*/ 838200 w 1146175"/>
                    <a:gd name="connsiteY25" fmla="*/ 180975 h 1655757"/>
                    <a:gd name="connsiteX26" fmla="*/ 879475 w 1146175"/>
                    <a:gd name="connsiteY26" fmla="*/ 200025 h 1655757"/>
                    <a:gd name="connsiteX27" fmla="*/ 885825 w 1146175"/>
                    <a:gd name="connsiteY27" fmla="*/ 209550 h 1655757"/>
                    <a:gd name="connsiteX28" fmla="*/ 901700 w 1146175"/>
                    <a:gd name="connsiteY28" fmla="*/ 225425 h 1655757"/>
                    <a:gd name="connsiteX29" fmla="*/ 917575 w 1146175"/>
                    <a:gd name="connsiteY29" fmla="*/ 238125 h 1655757"/>
                    <a:gd name="connsiteX30" fmla="*/ 936625 w 1146175"/>
                    <a:gd name="connsiteY30" fmla="*/ 250825 h 1655757"/>
                    <a:gd name="connsiteX31" fmla="*/ 955675 w 1146175"/>
                    <a:gd name="connsiteY31" fmla="*/ 273050 h 1655757"/>
                    <a:gd name="connsiteX32" fmla="*/ 974725 w 1146175"/>
                    <a:gd name="connsiteY32" fmla="*/ 298450 h 1655757"/>
                    <a:gd name="connsiteX33" fmla="*/ 968375 w 1146175"/>
                    <a:gd name="connsiteY33" fmla="*/ 333375 h 1655757"/>
                    <a:gd name="connsiteX34" fmla="*/ 965200 w 1146175"/>
                    <a:gd name="connsiteY34" fmla="*/ 342900 h 1655757"/>
                    <a:gd name="connsiteX35" fmla="*/ 949325 w 1146175"/>
                    <a:gd name="connsiteY35" fmla="*/ 361950 h 1655757"/>
                    <a:gd name="connsiteX36" fmla="*/ 939800 w 1146175"/>
                    <a:gd name="connsiteY36" fmla="*/ 384175 h 1655757"/>
                    <a:gd name="connsiteX37" fmla="*/ 936625 w 1146175"/>
                    <a:gd name="connsiteY37" fmla="*/ 396875 h 1655757"/>
                    <a:gd name="connsiteX38" fmla="*/ 930275 w 1146175"/>
                    <a:gd name="connsiteY38" fmla="*/ 412750 h 1655757"/>
                    <a:gd name="connsiteX39" fmla="*/ 927100 w 1146175"/>
                    <a:gd name="connsiteY39" fmla="*/ 425450 h 1655757"/>
                    <a:gd name="connsiteX40" fmla="*/ 920750 w 1146175"/>
                    <a:gd name="connsiteY40" fmla="*/ 441325 h 1655757"/>
                    <a:gd name="connsiteX41" fmla="*/ 917575 w 1146175"/>
                    <a:gd name="connsiteY41" fmla="*/ 454025 h 1655757"/>
                    <a:gd name="connsiteX42" fmla="*/ 914400 w 1146175"/>
                    <a:gd name="connsiteY42" fmla="*/ 463550 h 1655757"/>
                    <a:gd name="connsiteX43" fmla="*/ 917575 w 1146175"/>
                    <a:gd name="connsiteY43" fmla="*/ 501650 h 1655757"/>
                    <a:gd name="connsiteX44" fmla="*/ 923925 w 1146175"/>
                    <a:gd name="connsiteY44" fmla="*/ 514350 h 1655757"/>
                    <a:gd name="connsiteX45" fmla="*/ 939800 w 1146175"/>
                    <a:gd name="connsiteY45" fmla="*/ 533400 h 1655757"/>
                    <a:gd name="connsiteX46" fmla="*/ 942975 w 1146175"/>
                    <a:gd name="connsiteY46" fmla="*/ 542925 h 1655757"/>
                    <a:gd name="connsiteX47" fmla="*/ 955675 w 1146175"/>
                    <a:gd name="connsiteY47" fmla="*/ 568325 h 1655757"/>
                    <a:gd name="connsiteX48" fmla="*/ 968375 w 1146175"/>
                    <a:gd name="connsiteY48" fmla="*/ 609600 h 1655757"/>
                    <a:gd name="connsiteX49" fmla="*/ 974725 w 1146175"/>
                    <a:gd name="connsiteY49" fmla="*/ 622300 h 1655757"/>
                    <a:gd name="connsiteX50" fmla="*/ 981075 w 1146175"/>
                    <a:gd name="connsiteY50" fmla="*/ 641350 h 1655757"/>
                    <a:gd name="connsiteX51" fmla="*/ 993775 w 1146175"/>
                    <a:gd name="connsiteY51" fmla="*/ 644525 h 1655757"/>
                    <a:gd name="connsiteX52" fmla="*/ 1012825 w 1146175"/>
                    <a:gd name="connsiteY52" fmla="*/ 647700 h 1655757"/>
                    <a:gd name="connsiteX53" fmla="*/ 1041400 w 1146175"/>
                    <a:gd name="connsiteY53" fmla="*/ 660400 h 1655757"/>
                    <a:gd name="connsiteX54" fmla="*/ 1050925 w 1146175"/>
                    <a:gd name="connsiteY54" fmla="*/ 663575 h 1655757"/>
                    <a:gd name="connsiteX55" fmla="*/ 1066800 w 1146175"/>
                    <a:gd name="connsiteY55" fmla="*/ 673100 h 1655757"/>
                    <a:gd name="connsiteX56" fmla="*/ 1089025 w 1146175"/>
                    <a:gd name="connsiteY56" fmla="*/ 682625 h 1655757"/>
                    <a:gd name="connsiteX57" fmla="*/ 1117600 w 1146175"/>
                    <a:gd name="connsiteY57" fmla="*/ 701675 h 1655757"/>
                    <a:gd name="connsiteX58" fmla="*/ 1136650 w 1146175"/>
                    <a:gd name="connsiteY58" fmla="*/ 708025 h 1655757"/>
                    <a:gd name="connsiteX59" fmla="*/ 1146175 w 1146175"/>
                    <a:gd name="connsiteY59" fmla="*/ 898525 h 1655757"/>
                    <a:gd name="connsiteX60" fmla="*/ 1127125 w 1146175"/>
                    <a:gd name="connsiteY60" fmla="*/ 908050 h 1655757"/>
                    <a:gd name="connsiteX61" fmla="*/ 1101725 w 1146175"/>
                    <a:gd name="connsiteY61" fmla="*/ 914400 h 1655757"/>
                    <a:gd name="connsiteX62" fmla="*/ 1092200 w 1146175"/>
                    <a:gd name="connsiteY62" fmla="*/ 920750 h 1655757"/>
                    <a:gd name="connsiteX63" fmla="*/ 1079500 w 1146175"/>
                    <a:gd name="connsiteY63" fmla="*/ 923925 h 1655757"/>
                    <a:gd name="connsiteX64" fmla="*/ 1069975 w 1146175"/>
                    <a:gd name="connsiteY64" fmla="*/ 933450 h 1655757"/>
                    <a:gd name="connsiteX65" fmla="*/ 1060450 w 1146175"/>
                    <a:gd name="connsiteY65" fmla="*/ 939800 h 1655757"/>
                    <a:gd name="connsiteX66" fmla="*/ 1038225 w 1146175"/>
                    <a:gd name="connsiteY66" fmla="*/ 952500 h 1655757"/>
                    <a:gd name="connsiteX67" fmla="*/ 996950 w 1146175"/>
                    <a:gd name="connsiteY67" fmla="*/ 977900 h 1655757"/>
                    <a:gd name="connsiteX68" fmla="*/ 977900 w 1146175"/>
                    <a:gd name="connsiteY68" fmla="*/ 984250 h 1655757"/>
                    <a:gd name="connsiteX69" fmla="*/ 968375 w 1146175"/>
                    <a:gd name="connsiteY69" fmla="*/ 1009650 h 1655757"/>
                    <a:gd name="connsiteX70" fmla="*/ 958850 w 1146175"/>
                    <a:gd name="connsiteY70" fmla="*/ 1035050 h 1655757"/>
                    <a:gd name="connsiteX71" fmla="*/ 955675 w 1146175"/>
                    <a:gd name="connsiteY71" fmla="*/ 1060450 h 1655757"/>
                    <a:gd name="connsiteX72" fmla="*/ 949325 w 1146175"/>
                    <a:gd name="connsiteY72" fmla="*/ 1069975 h 1655757"/>
                    <a:gd name="connsiteX73" fmla="*/ 946150 w 1146175"/>
                    <a:gd name="connsiteY73" fmla="*/ 1079500 h 1655757"/>
                    <a:gd name="connsiteX74" fmla="*/ 936625 w 1146175"/>
                    <a:gd name="connsiteY74" fmla="*/ 1095375 h 1655757"/>
                    <a:gd name="connsiteX75" fmla="*/ 923925 w 1146175"/>
                    <a:gd name="connsiteY75" fmla="*/ 1130300 h 1655757"/>
                    <a:gd name="connsiteX76" fmla="*/ 917575 w 1146175"/>
                    <a:gd name="connsiteY76" fmla="*/ 1139825 h 1655757"/>
                    <a:gd name="connsiteX77" fmla="*/ 923925 w 1146175"/>
                    <a:gd name="connsiteY77" fmla="*/ 1193800 h 1655757"/>
                    <a:gd name="connsiteX78" fmla="*/ 939800 w 1146175"/>
                    <a:gd name="connsiteY78" fmla="*/ 1216025 h 1655757"/>
                    <a:gd name="connsiteX79" fmla="*/ 946150 w 1146175"/>
                    <a:gd name="connsiteY79" fmla="*/ 1228725 h 1655757"/>
                    <a:gd name="connsiteX80" fmla="*/ 952500 w 1146175"/>
                    <a:gd name="connsiteY80" fmla="*/ 1238250 h 1655757"/>
                    <a:gd name="connsiteX81" fmla="*/ 965200 w 1146175"/>
                    <a:gd name="connsiteY81" fmla="*/ 1263650 h 1655757"/>
                    <a:gd name="connsiteX82" fmla="*/ 974725 w 1146175"/>
                    <a:gd name="connsiteY82" fmla="*/ 1285875 h 1655757"/>
                    <a:gd name="connsiteX83" fmla="*/ 977900 w 1146175"/>
                    <a:gd name="connsiteY83" fmla="*/ 1298575 h 1655757"/>
                    <a:gd name="connsiteX84" fmla="*/ 981075 w 1146175"/>
                    <a:gd name="connsiteY84" fmla="*/ 1308100 h 1655757"/>
                    <a:gd name="connsiteX85" fmla="*/ 974725 w 1146175"/>
                    <a:gd name="connsiteY85" fmla="*/ 1343025 h 1655757"/>
                    <a:gd name="connsiteX86" fmla="*/ 949325 w 1146175"/>
                    <a:gd name="connsiteY86" fmla="*/ 1374775 h 1655757"/>
                    <a:gd name="connsiteX87" fmla="*/ 939800 w 1146175"/>
                    <a:gd name="connsiteY87" fmla="*/ 1381125 h 1655757"/>
                    <a:gd name="connsiteX88" fmla="*/ 930275 w 1146175"/>
                    <a:gd name="connsiteY88" fmla="*/ 1390650 h 1655757"/>
                    <a:gd name="connsiteX89" fmla="*/ 923925 w 1146175"/>
                    <a:gd name="connsiteY89" fmla="*/ 1400175 h 1655757"/>
                    <a:gd name="connsiteX90" fmla="*/ 908050 w 1146175"/>
                    <a:gd name="connsiteY90" fmla="*/ 1409700 h 1655757"/>
                    <a:gd name="connsiteX91" fmla="*/ 895350 w 1146175"/>
                    <a:gd name="connsiteY91" fmla="*/ 1422400 h 1655757"/>
                    <a:gd name="connsiteX92" fmla="*/ 882650 w 1146175"/>
                    <a:gd name="connsiteY92" fmla="*/ 1431925 h 1655757"/>
                    <a:gd name="connsiteX93" fmla="*/ 873125 w 1146175"/>
                    <a:gd name="connsiteY93" fmla="*/ 1441450 h 1655757"/>
                    <a:gd name="connsiteX94" fmla="*/ 844550 w 1146175"/>
                    <a:gd name="connsiteY94" fmla="*/ 1457325 h 1655757"/>
                    <a:gd name="connsiteX95" fmla="*/ 835025 w 1146175"/>
                    <a:gd name="connsiteY95" fmla="*/ 1460500 h 1655757"/>
                    <a:gd name="connsiteX96" fmla="*/ 815975 w 1146175"/>
                    <a:gd name="connsiteY96" fmla="*/ 1454150 h 1655757"/>
                    <a:gd name="connsiteX97" fmla="*/ 774700 w 1146175"/>
                    <a:gd name="connsiteY97" fmla="*/ 1438275 h 1655757"/>
                    <a:gd name="connsiteX98" fmla="*/ 749300 w 1146175"/>
                    <a:gd name="connsiteY98" fmla="*/ 1431925 h 1655757"/>
                    <a:gd name="connsiteX99" fmla="*/ 717550 w 1146175"/>
                    <a:gd name="connsiteY99" fmla="*/ 1419225 h 1655757"/>
                    <a:gd name="connsiteX100" fmla="*/ 688975 w 1146175"/>
                    <a:gd name="connsiteY100" fmla="*/ 1412875 h 1655757"/>
                    <a:gd name="connsiteX101" fmla="*/ 657225 w 1146175"/>
                    <a:gd name="connsiteY101" fmla="*/ 1403350 h 1655757"/>
                    <a:gd name="connsiteX102" fmla="*/ 635000 w 1146175"/>
                    <a:gd name="connsiteY102" fmla="*/ 1406525 h 1655757"/>
                    <a:gd name="connsiteX103" fmla="*/ 622300 w 1146175"/>
                    <a:gd name="connsiteY103" fmla="*/ 1412875 h 1655757"/>
                    <a:gd name="connsiteX104" fmla="*/ 606425 w 1146175"/>
                    <a:gd name="connsiteY104" fmla="*/ 1422400 h 1655757"/>
                    <a:gd name="connsiteX105" fmla="*/ 577850 w 1146175"/>
                    <a:gd name="connsiteY105" fmla="*/ 1438275 h 1655757"/>
                    <a:gd name="connsiteX106" fmla="*/ 558800 w 1146175"/>
                    <a:gd name="connsiteY106" fmla="*/ 1441450 h 1655757"/>
                    <a:gd name="connsiteX107" fmla="*/ 501650 w 1146175"/>
                    <a:gd name="connsiteY107" fmla="*/ 1447800 h 1655757"/>
                    <a:gd name="connsiteX108" fmla="*/ 492125 w 1146175"/>
                    <a:gd name="connsiteY108" fmla="*/ 1454150 h 1655757"/>
                    <a:gd name="connsiteX109" fmla="*/ 466725 w 1146175"/>
                    <a:gd name="connsiteY109" fmla="*/ 1485900 h 1655757"/>
                    <a:gd name="connsiteX110" fmla="*/ 457200 w 1146175"/>
                    <a:gd name="connsiteY110" fmla="*/ 1504950 h 1655757"/>
                    <a:gd name="connsiteX111" fmla="*/ 454025 w 1146175"/>
                    <a:gd name="connsiteY111" fmla="*/ 1514475 h 1655757"/>
                    <a:gd name="connsiteX112" fmla="*/ 447675 w 1146175"/>
                    <a:gd name="connsiteY112" fmla="*/ 1530350 h 1655757"/>
                    <a:gd name="connsiteX113" fmla="*/ 434975 w 1146175"/>
                    <a:gd name="connsiteY113" fmla="*/ 1555750 h 1655757"/>
                    <a:gd name="connsiteX114" fmla="*/ 431800 w 1146175"/>
                    <a:gd name="connsiteY114" fmla="*/ 1571625 h 1655757"/>
                    <a:gd name="connsiteX115" fmla="*/ 425450 w 1146175"/>
                    <a:gd name="connsiteY115" fmla="*/ 1597025 h 1655757"/>
                    <a:gd name="connsiteX116" fmla="*/ 422275 w 1146175"/>
                    <a:gd name="connsiteY116" fmla="*/ 1606550 h 1655757"/>
                    <a:gd name="connsiteX117" fmla="*/ 412750 w 1146175"/>
                    <a:gd name="connsiteY117" fmla="*/ 1616075 h 1655757"/>
                    <a:gd name="connsiteX118" fmla="*/ 222250 w 1146175"/>
                    <a:gd name="connsiteY118" fmla="*/ 1622425 h 1655757"/>
                    <a:gd name="connsiteX119" fmla="*/ 215900 w 1146175"/>
                    <a:gd name="connsiteY119" fmla="*/ 1606550 h 1655757"/>
                    <a:gd name="connsiteX120" fmla="*/ 206375 w 1146175"/>
                    <a:gd name="connsiteY120" fmla="*/ 1593850 h 1655757"/>
                    <a:gd name="connsiteX121" fmla="*/ 203200 w 1146175"/>
                    <a:gd name="connsiteY121" fmla="*/ 1581150 h 1655757"/>
                    <a:gd name="connsiteX122" fmla="*/ 196850 w 1146175"/>
                    <a:gd name="connsiteY122" fmla="*/ 1568450 h 1655757"/>
                    <a:gd name="connsiteX123" fmla="*/ 193675 w 1146175"/>
                    <a:gd name="connsiteY123" fmla="*/ 1558925 h 1655757"/>
                    <a:gd name="connsiteX124" fmla="*/ 187325 w 1146175"/>
                    <a:gd name="connsiteY124" fmla="*/ 1546225 h 1655757"/>
                    <a:gd name="connsiteX125" fmla="*/ 180975 w 1146175"/>
                    <a:gd name="connsiteY125" fmla="*/ 1530350 h 1655757"/>
                    <a:gd name="connsiteX126" fmla="*/ 161925 w 1146175"/>
                    <a:gd name="connsiteY126" fmla="*/ 1501775 h 1655757"/>
                    <a:gd name="connsiteX127" fmla="*/ 149225 w 1146175"/>
                    <a:gd name="connsiteY127" fmla="*/ 1479550 h 1655757"/>
                    <a:gd name="connsiteX128" fmla="*/ 142875 w 1146175"/>
                    <a:gd name="connsiteY128" fmla="*/ 1463675 h 1655757"/>
                    <a:gd name="connsiteX129" fmla="*/ 130175 w 1146175"/>
                    <a:gd name="connsiteY129" fmla="*/ 1460500 h 1655757"/>
                    <a:gd name="connsiteX130" fmla="*/ 101600 w 1146175"/>
                    <a:gd name="connsiteY130" fmla="*/ 1447800 h 1655757"/>
                    <a:gd name="connsiteX131" fmla="*/ 69850 w 1146175"/>
                    <a:gd name="connsiteY131" fmla="*/ 1438275 h 1655757"/>
                    <a:gd name="connsiteX132" fmla="*/ 41275 w 1146175"/>
                    <a:gd name="connsiteY132" fmla="*/ 1425575 h 1655757"/>
                    <a:gd name="connsiteX133" fmla="*/ 31750 w 1146175"/>
                    <a:gd name="connsiteY133" fmla="*/ 1419225 h 1655757"/>
                    <a:gd name="connsiteX134" fmla="*/ 15875 w 1146175"/>
                    <a:gd name="connsiteY134" fmla="*/ 1412875 h 1655757"/>
                    <a:gd name="connsiteX135" fmla="*/ 0 w 1146175"/>
                    <a:gd name="connsiteY135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55575 w 1146175"/>
                    <a:gd name="connsiteY3" fmla="*/ 155575 h 1655757"/>
                    <a:gd name="connsiteX4" fmla="*/ 168275 w 1146175"/>
                    <a:gd name="connsiteY4" fmla="*/ 142875 h 1655757"/>
                    <a:gd name="connsiteX5" fmla="*/ 209550 w 1146175"/>
                    <a:gd name="connsiteY5" fmla="*/ 60325 h 1655757"/>
                    <a:gd name="connsiteX6" fmla="*/ 238125 w 1146175"/>
                    <a:gd name="connsiteY6" fmla="*/ 9525 h 1655757"/>
                    <a:gd name="connsiteX7" fmla="*/ 269875 w 1146175"/>
                    <a:gd name="connsiteY7" fmla="*/ 0 h 1655757"/>
                    <a:gd name="connsiteX8" fmla="*/ 428625 w 1146175"/>
                    <a:gd name="connsiteY8" fmla="*/ 6350 h 1655757"/>
                    <a:gd name="connsiteX9" fmla="*/ 434975 w 1146175"/>
                    <a:gd name="connsiteY9" fmla="*/ 19050 h 1655757"/>
                    <a:gd name="connsiteX10" fmla="*/ 454025 w 1146175"/>
                    <a:gd name="connsiteY10" fmla="*/ 60325 h 1655757"/>
                    <a:gd name="connsiteX11" fmla="*/ 476250 w 1146175"/>
                    <a:gd name="connsiteY11" fmla="*/ 101600 h 1655757"/>
                    <a:gd name="connsiteX12" fmla="*/ 479425 w 1146175"/>
                    <a:gd name="connsiteY12" fmla="*/ 117475 h 1655757"/>
                    <a:gd name="connsiteX13" fmla="*/ 485775 w 1146175"/>
                    <a:gd name="connsiteY13" fmla="*/ 127000 h 1655757"/>
                    <a:gd name="connsiteX14" fmla="*/ 492125 w 1146175"/>
                    <a:gd name="connsiteY14" fmla="*/ 139700 h 1655757"/>
                    <a:gd name="connsiteX15" fmla="*/ 508000 w 1146175"/>
                    <a:gd name="connsiteY15" fmla="*/ 165100 h 1655757"/>
                    <a:gd name="connsiteX16" fmla="*/ 527050 w 1146175"/>
                    <a:gd name="connsiteY16" fmla="*/ 168275 h 1655757"/>
                    <a:gd name="connsiteX17" fmla="*/ 558800 w 1146175"/>
                    <a:gd name="connsiteY17" fmla="*/ 184150 h 1655757"/>
                    <a:gd name="connsiteX18" fmla="*/ 574675 w 1146175"/>
                    <a:gd name="connsiteY18" fmla="*/ 187325 h 1655757"/>
                    <a:gd name="connsiteX19" fmla="*/ 635000 w 1146175"/>
                    <a:gd name="connsiteY19" fmla="*/ 215900 h 1655757"/>
                    <a:gd name="connsiteX20" fmla="*/ 717550 w 1146175"/>
                    <a:gd name="connsiteY20" fmla="*/ 212725 h 1655757"/>
                    <a:gd name="connsiteX21" fmla="*/ 733425 w 1146175"/>
                    <a:gd name="connsiteY21" fmla="*/ 206375 h 1655757"/>
                    <a:gd name="connsiteX22" fmla="*/ 771525 w 1146175"/>
                    <a:gd name="connsiteY22" fmla="*/ 200025 h 1655757"/>
                    <a:gd name="connsiteX23" fmla="*/ 796925 w 1146175"/>
                    <a:gd name="connsiteY23" fmla="*/ 190500 h 1655757"/>
                    <a:gd name="connsiteX24" fmla="*/ 838200 w 1146175"/>
                    <a:gd name="connsiteY24" fmla="*/ 180975 h 1655757"/>
                    <a:gd name="connsiteX25" fmla="*/ 879475 w 1146175"/>
                    <a:gd name="connsiteY25" fmla="*/ 200025 h 1655757"/>
                    <a:gd name="connsiteX26" fmla="*/ 885825 w 1146175"/>
                    <a:gd name="connsiteY26" fmla="*/ 209550 h 1655757"/>
                    <a:gd name="connsiteX27" fmla="*/ 901700 w 1146175"/>
                    <a:gd name="connsiteY27" fmla="*/ 225425 h 1655757"/>
                    <a:gd name="connsiteX28" fmla="*/ 917575 w 1146175"/>
                    <a:gd name="connsiteY28" fmla="*/ 238125 h 1655757"/>
                    <a:gd name="connsiteX29" fmla="*/ 936625 w 1146175"/>
                    <a:gd name="connsiteY29" fmla="*/ 250825 h 1655757"/>
                    <a:gd name="connsiteX30" fmla="*/ 955675 w 1146175"/>
                    <a:gd name="connsiteY30" fmla="*/ 273050 h 1655757"/>
                    <a:gd name="connsiteX31" fmla="*/ 974725 w 1146175"/>
                    <a:gd name="connsiteY31" fmla="*/ 298450 h 1655757"/>
                    <a:gd name="connsiteX32" fmla="*/ 968375 w 1146175"/>
                    <a:gd name="connsiteY32" fmla="*/ 333375 h 1655757"/>
                    <a:gd name="connsiteX33" fmla="*/ 965200 w 1146175"/>
                    <a:gd name="connsiteY33" fmla="*/ 342900 h 1655757"/>
                    <a:gd name="connsiteX34" fmla="*/ 949325 w 1146175"/>
                    <a:gd name="connsiteY34" fmla="*/ 361950 h 1655757"/>
                    <a:gd name="connsiteX35" fmla="*/ 939800 w 1146175"/>
                    <a:gd name="connsiteY35" fmla="*/ 384175 h 1655757"/>
                    <a:gd name="connsiteX36" fmla="*/ 936625 w 1146175"/>
                    <a:gd name="connsiteY36" fmla="*/ 396875 h 1655757"/>
                    <a:gd name="connsiteX37" fmla="*/ 930275 w 1146175"/>
                    <a:gd name="connsiteY37" fmla="*/ 412750 h 1655757"/>
                    <a:gd name="connsiteX38" fmla="*/ 927100 w 1146175"/>
                    <a:gd name="connsiteY38" fmla="*/ 425450 h 1655757"/>
                    <a:gd name="connsiteX39" fmla="*/ 920750 w 1146175"/>
                    <a:gd name="connsiteY39" fmla="*/ 441325 h 1655757"/>
                    <a:gd name="connsiteX40" fmla="*/ 917575 w 1146175"/>
                    <a:gd name="connsiteY40" fmla="*/ 454025 h 1655757"/>
                    <a:gd name="connsiteX41" fmla="*/ 914400 w 1146175"/>
                    <a:gd name="connsiteY41" fmla="*/ 463550 h 1655757"/>
                    <a:gd name="connsiteX42" fmla="*/ 917575 w 1146175"/>
                    <a:gd name="connsiteY42" fmla="*/ 501650 h 1655757"/>
                    <a:gd name="connsiteX43" fmla="*/ 923925 w 1146175"/>
                    <a:gd name="connsiteY43" fmla="*/ 514350 h 1655757"/>
                    <a:gd name="connsiteX44" fmla="*/ 939800 w 1146175"/>
                    <a:gd name="connsiteY44" fmla="*/ 533400 h 1655757"/>
                    <a:gd name="connsiteX45" fmla="*/ 942975 w 1146175"/>
                    <a:gd name="connsiteY45" fmla="*/ 542925 h 1655757"/>
                    <a:gd name="connsiteX46" fmla="*/ 955675 w 1146175"/>
                    <a:gd name="connsiteY46" fmla="*/ 568325 h 1655757"/>
                    <a:gd name="connsiteX47" fmla="*/ 968375 w 1146175"/>
                    <a:gd name="connsiteY47" fmla="*/ 609600 h 1655757"/>
                    <a:gd name="connsiteX48" fmla="*/ 974725 w 1146175"/>
                    <a:gd name="connsiteY48" fmla="*/ 622300 h 1655757"/>
                    <a:gd name="connsiteX49" fmla="*/ 981075 w 1146175"/>
                    <a:gd name="connsiteY49" fmla="*/ 641350 h 1655757"/>
                    <a:gd name="connsiteX50" fmla="*/ 993775 w 1146175"/>
                    <a:gd name="connsiteY50" fmla="*/ 644525 h 1655757"/>
                    <a:gd name="connsiteX51" fmla="*/ 1012825 w 1146175"/>
                    <a:gd name="connsiteY51" fmla="*/ 647700 h 1655757"/>
                    <a:gd name="connsiteX52" fmla="*/ 1041400 w 1146175"/>
                    <a:gd name="connsiteY52" fmla="*/ 660400 h 1655757"/>
                    <a:gd name="connsiteX53" fmla="*/ 1050925 w 1146175"/>
                    <a:gd name="connsiteY53" fmla="*/ 663575 h 1655757"/>
                    <a:gd name="connsiteX54" fmla="*/ 1066800 w 1146175"/>
                    <a:gd name="connsiteY54" fmla="*/ 673100 h 1655757"/>
                    <a:gd name="connsiteX55" fmla="*/ 1089025 w 1146175"/>
                    <a:gd name="connsiteY55" fmla="*/ 682625 h 1655757"/>
                    <a:gd name="connsiteX56" fmla="*/ 1117600 w 1146175"/>
                    <a:gd name="connsiteY56" fmla="*/ 701675 h 1655757"/>
                    <a:gd name="connsiteX57" fmla="*/ 1136650 w 1146175"/>
                    <a:gd name="connsiteY57" fmla="*/ 708025 h 1655757"/>
                    <a:gd name="connsiteX58" fmla="*/ 1146175 w 1146175"/>
                    <a:gd name="connsiteY58" fmla="*/ 898525 h 1655757"/>
                    <a:gd name="connsiteX59" fmla="*/ 1127125 w 1146175"/>
                    <a:gd name="connsiteY59" fmla="*/ 908050 h 1655757"/>
                    <a:gd name="connsiteX60" fmla="*/ 1101725 w 1146175"/>
                    <a:gd name="connsiteY60" fmla="*/ 914400 h 1655757"/>
                    <a:gd name="connsiteX61" fmla="*/ 1092200 w 1146175"/>
                    <a:gd name="connsiteY61" fmla="*/ 920750 h 1655757"/>
                    <a:gd name="connsiteX62" fmla="*/ 1079500 w 1146175"/>
                    <a:gd name="connsiteY62" fmla="*/ 923925 h 1655757"/>
                    <a:gd name="connsiteX63" fmla="*/ 1069975 w 1146175"/>
                    <a:gd name="connsiteY63" fmla="*/ 933450 h 1655757"/>
                    <a:gd name="connsiteX64" fmla="*/ 1060450 w 1146175"/>
                    <a:gd name="connsiteY64" fmla="*/ 939800 h 1655757"/>
                    <a:gd name="connsiteX65" fmla="*/ 1038225 w 1146175"/>
                    <a:gd name="connsiteY65" fmla="*/ 952500 h 1655757"/>
                    <a:gd name="connsiteX66" fmla="*/ 996950 w 1146175"/>
                    <a:gd name="connsiteY66" fmla="*/ 977900 h 1655757"/>
                    <a:gd name="connsiteX67" fmla="*/ 977900 w 1146175"/>
                    <a:gd name="connsiteY67" fmla="*/ 984250 h 1655757"/>
                    <a:gd name="connsiteX68" fmla="*/ 968375 w 1146175"/>
                    <a:gd name="connsiteY68" fmla="*/ 1009650 h 1655757"/>
                    <a:gd name="connsiteX69" fmla="*/ 958850 w 1146175"/>
                    <a:gd name="connsiteY69" fmla="*/ 1035050 h 1655757"/>
                    <a:gd name="connsiteX70" fmla="*/ 955675 w 1146175"/>
                    <a:gd name="connsiteY70" fmla="*/ 1060450 h 1655757"/>
                    <a:gd name="connsiteX71" fmla="*/ 949325 w 1146175"/>
                    <a:gd name="connsiteY71" fmla="*/ 1069975 h 1655757"/>
                    <a:gd name="connsiteX72" fmla="*/ 946150 w 1146175"/>
                    <a:gd name="connsiteY72" fmla="*/ 1079500 h 1655757"/>
                    <a:gd name="connsiteX73" fmla="*/ 936625 w 1146175"/>
                    <a:gd name="connsiteY73" fmla="*/ 1095375 h 1655757"/>
                    <a:gd name="connsiteX74" fmla="*/ 923925 w 1146175"/>
                    <a:gd name="connsiteY74" fmla="*/ 1130300 h 1655757"/>
                    <a:gd name="connsiteX75" fmla="*/ 917575 w 1146175"/>
                    <a:gd name="connsiteY75" fmla="*/ 1139825 h 1655757"/>
                    <a:gd name="connsiteX76" fmla="*/ 923925 w 1146175"/>
                    <a:gd name="connsiteY76" fmla="*/ 1193800 h 1655757"/>
                    <a:gd name="connsiteX77" fmla="*/ 939800 w 1146175"/>
                    <a:gd name="connsiteY77" fmla="*/ 1216025 h 1655757"/>
                    <a:gd name="connsiteX78" fmla="*/ 946150 w 1146175"/>
                    <a:gd name="connsiteY78" fmla="*/ 1228725 h 1655757"/>
                    <a:gd name="connsiteX79" fmla="*/ 952500 w 1146175"/>
                    <a:gd name="connsiteY79" fmla="*/ 1238250 h 1655757"/>
                    <a:gd name="connsiteX80" fmla="*/ 965200 w 1146175"/>
                    <a:gd name="connsiteY80" fmla="*/ 1263650 h 1655757"/>
                    <a:gd name="connsiteX81" fmla="*/ 974725 w 1146175"/>
                    <a:gd name="connsiteY81" fmla="*/ 1285875 h 1655757"/>
                    <a:gd name="connsiteX82" fmla="*/ 977900 w 1146175"/>
                    <a:gd name="connsiteY82" fmla="*/ 1298575 h 1655757"/>
                    <a:gd name="connsiteX83" fmla="*/ 981075 w 1146175"/>
                    <a:gd name="connsiteY83" fmla="*/ 1308100 h 1655757"/>
                    <a:gd name="connsiteX84" fmla="*/ 974725 w 1146175"/>
                    <a:gd name="connsiteY84" fmla="*/ 1343025 h 1655757"/>
                    <a:gd name="connsiteX85" fmla="*/ 949325 w 1146175"/>
                    <a:gd name="connsiteY85" fmla="*/ 1374775 h 1655757"/>
                    <a:gd name="connsiteX86" fmla="*/ 939800 w 1146175"/>
                    <a:gd name="connsiteY86" fmla="*/ 1381125 h 1655757"/>
                    <a:gd name="connsiteX87" fmla="*/ 930275 w 1146175"/>
                    <a:gd name="connsiteY87" fmla="*/ 1390650 h 1655757"/>
                    <a:gd name="connsiteX88" fmla="*/ 923925 w 1146175"/>
                    <a:gd name="connsiteY88" fmla="*/ 1400175 h 1655757"/>
                    <a:gd name="connsiteX89" fmla="*/ 908050 w 1146175"/>
                    <a:gd name="connsiteY89" fmla="*/ 1409700 h 1655757"/>
                    <a:gd name="connsiteX90" fmla="*/ 895350 w 1146175"/>
                    <a:gd name="connsiteY90" fmla="*/ 1422400 h 1655757"/>
                    <a:gd name="connsiteX91" fmla="*/ 882650 w 1146175"/>
                    <a:gd name="connsiteY91" fmla="*/ 1431925 h 1655757"/>
                    <a:gd name="connsiteX92" fmla="*/ 873125 w 1146175"/>
                    <a:gd name="connsiteY92" fmla="*/ 1441450 h 1655757"/>
                    <a:gd name="connsiteX93" fmla="*/ 844550 w 1146175"/>
                    <a:gd name="connsiteY93" fmla="*/ 1457325 h 1655757"/>
                    <a:gd name="connsiteX94" fmla="*/ 835025 w 1146175"/>
                    <a:gd name="connsiteY94" fmla="*/ 1460500 h 1655757"/>
                    <a:gd name="connsiteX95" fmla="*/ 815975 w 1146175"/>
                    <a:gd name="connsiteY95" fmla="*/ 1454150 h 1655757"/>
                    <a:gd name="connsiteX96" fmla="*/ 774700 w 1146175"/>
                    <a:gd name="connsiteY96" fmla="*/ 1438275 h 1655757"/>
                    <a:gd name="connsiteX97" fmla="*/ 749300 w 1146175"/>
                    <a:gd name="connsiteY97" fmla="*/ 1431925 h 1655757"/>
                    <a:gd name="connsiteX98" fmla="*/ 717550 w 1146175"/>
                    <a:gd name="connsiteY98" fmla="*/ 1419225 h 1655757"/>
                    <a:gd name="connsiteX99" fmla="*/ 688975 w 1146175"/>
                    <a:gd name="connsiteY99" fmla="*/ 1412875 h 1655757"/>
                    <a:gd name="connsiteX100" fmla="*/ 657225 w 1146175"/>
                    <a:gd name="connsiteY100" fmla="*/ 1403350 h 1655757"/>
                    <a:gd name="connsiteX101" fmla="*/ 635000 w 1146175"/>
                    <a:gd name="connsiteY101" fmla="*/ 1406525 h 1655757"/>
                    <a:gd name="connsiteX102" fmla="*/ 622300 w 1146175"/>
                    <a:gd name="connsiteY102" fmla="*/ 1412875 h 1655757"/>
                    <a:gd name="connsiteX103" fmla="*/ 606425 w 1146175"/>
                    <a:gd name="connsiteY103" fmla="*/ 1422400 h 1655757"/>
                    <a:gd name="connsiteX104" fmla="*/ 577850 w 1146175"/>
                    <a:gd name="connsiteY104" fmla="*/ 1438275 h 1655757"/>
                    <a:gd name="connsiteX105" fmla="*/ 558800 w 1146175"/>
                    <a:gd name="connsiteY105" fmla="*/ 1441450 h 1655757"/>
                    <a:gd name="connsiteX106" fmla="*/ 501650 w 1146175"/>
                    <a:gd name="connsiteY106" fmla="*/ 1447800 h 1655757"/>
                    <a:gd name="connsiteX107" fmla="*/ 492125 w 1146175"/>
                    <a:gd name="connsiteY107" fmla="*/ 1454150 h 1655757"/>
                    <a:gd name="connsiteX108" fmla="*/ 466725 w 1146175"/>
                    <a:gd name="connsiteY108" fmla="*/ 1485900 h 1655757"/>
                    <a:gd name="connsiteX109" fmla="*/ 457200 w 1146175"/>
                    <a:gd name="connsiteY109" fmla="*/ 1504950 h 1655757"/>
                    <a:gd name="connsiteX110" fmla="*/ 454025 w 1146175"/>
                    <a:gd name="connsiteY110" fmla="*/ 1514475 h 1655757"/>
                    <a:gd name="connsiteX111" fmla="*/ 447675 w 1146175"/>
                    <a:gd name="connsiteY111" fmla="*/ 1530350 h 1655757"/>
                    <a:gd name="connsiteX112" fmla="*/ 434975 w 1146175"/>
                    <a:gd name="connsiteY112" fmla="*/ 1555750 h 1655757"/>
                    <a:gd name="connsiteX113" fmla="*/ 431800 w 1146175"/>
                    <a:gd name="connsiteY113" fmla="*/ 1571625 h 1655757"/>
                    <a:gd name="connsiteX114" fmla="*/ 425450 w 1146175"/>
                    <a:gd name="connsiteY114" fmla="*/ 1597025 h 1655757"/>
                    <a:gd name="connsiteX115" fmla="*/ 422275 w 1146175"/>
                    <a:gd name="connsiteY115" fmla="*/ 1606550 h 1655757"/>
                    <a:gd name="connsiteX116" fmla="*/ 412750 w 1146175"/>
                    <a:gd name="connsiteY116" fmla="*/ 1616075 h 1655757"/>
                    <a:gd name="connsiteX117" fmla="*/ 222250 w 1146175"/>
                    <a:gd name="connsiteY117" fmla="*/ 1622425 h 1655757"/>
                    <a:gd name="connsiteX118" fmla="*/ 215900 w 1146175"/>
                    <a:gd name="connsiteY118" fmla="*/ 1606550 h 1655757"/>
                    <a:gd name="connsiteX119" fmla="*/ 206375 w 1146175"/>
                    <a:gd name="connsiteY119" fmla="*/ 1593850 h 1655757"/>
                    <a:gd name="connsiteX120" fmla="*/ 203200 w 1146175"/>
                    <a:gd name="connsiteY120" fmla="*/ 1581150 h 1655757"/>
                    <a:gd name="connsiteX121" fmla="*/ 196850 w 1146175"/>
                    <a:gd name="connsiteY121" fmla="*/ 1568450 h 1655757"/>
                    <a:gd name="connsiteX122" fmla="*/ 193675 w 1146175"/>
                    <a:gd name="connsiteY122" fmla="*/ 1558925 h 1655757"/>
                    <a:gd name="connsiteX123" fmla="*/ 187325 w 1146175"/>
                    <a:gd name="connsiteY123" fmla="*/ 1546225 h 1655757"/>
                    <a:gd name="connsiteX124" fmla="*/ 180975 w 1146175"/>
                    <a:gd name="connsiteY124" fmla="*/ 1530350 h 1655757"/>
                    <a:gd name="connsiteX125" fmla="*/ 161925 w 1146175"/>
                    <a:gd name="connsiteY125" fmla="*/ 1501775 h 1655757"/>
                    <a:gd name="connsiteX126" fmla="*/ 149225 w 1146175"/>
                    <a:gd name="connsiteY126" fmla="*/ 1479550 h 1655757"/>
                    <a:gd name="connsiteX127" fmla="*/ 142875 w 1146175"/>
                    <a:gd name="connsiteY127" fmla="*/ 1463675 h 1655757"/>
                    <a:gd name="connsiteX128" fmla="*/ 130175 w 1146175"/>
                    <a:gd name="connsiteY128" fmla="*/ 1460500 h 1655757"/>
                    <a:gd name="connsiteX129" fmla="*/ 101600 w 1146175"/>
                    <a:gd name="connsiteY129" fmla="*/ 1447800 h 1655757"/>
                    <a:gd name="connsiteX130" fmla="*/ 69850 w 1146175"/>
                    <a:gd name="connsiteY130" fmla="*/ 1438275 h 1655757"/>
                    <a:gd name="connsiteX131" fmla="*/ 41275 w 1146175"/>
                    <a:gd name="connsiteY131" fmla="*/ 1425575 h 1655757"/>
                    <a:gd name="connsiteX132" fmla="*/ 31750 w 1146175"/>
                    <a:gd name="connsiteY132" fmla="*/ 1419225 h 1655757"/>
                    <a:gd name="connsiteX133" fmla="*/ 15875 w 1146175"/>
                    <a:gd name="connsiteY133" fmla="*/ 1412875 h 1655757"/>
                    <a:gd name="connsiteX134" fmla="*/ 0 w 1146175"/>
                    <a:gd name="connsiteY134" fmla="*/ 1397000 h 1655757"/>
                    <a:gd name="connsiteX0" fmla="*/ 9525 w 1146175"/>
                    <a:gd name="connsiteY0" fmla="*/ 222250 h 1655757"/>
                    <a:gd name="connsiteX1" fmla="*/ 50800 w 1146175"/>
                    <a:gd name="connsiteY1" fmla="*/ 200025 h 1655757"/>
                    <a:gd name="connsiteX2" fmla="*/ 127000 w 1146175"/>
                    <a:gd name="connsiteY2" fmla="*/ 165100 h 1655757"/>
                    <a:gd name="connsiteX3" fmla="*/ 155575 w 1146175"/>
                    <a:gd name="connsiteY3" fmla="*/ 155575 h 1655757"/>
                    <a:gd name="connsiteX4" fmla="*/ 168275 w 1146175"/>
                    <a:gd name="connsiteY4" fmla="*/ 142875 h 1655757"/>
                    <a:gd name="connsiteX5" fmla="*/ 209550 w 1146175"/>
                    <a:gd name="connsiteY5" fmla="*/ 60325 h 1655757"/>
                    <a:gd name="connsiteX6" fmla="*/ 238125 w 1146175"/>
                    <a:gd name="connsiteY6" fmla="*/ 9525 h 1655757"/>
                    <a:gd name="connsiteX7" fmla="*/ 269875 w 1146175"/>
                    <a:gd name="connsiteY7" fmla="*/ 0 h 1655757"/>
                    <a:gd name="connsiteX8" fmla="*/ 428625 w 1146175"/>
                    <a:gd name="connsiteY8" fmla="*/ 6350 h 1655757"/>
                    <a:gd name="connsiteX9" fmla="*/ 454025 w 1146175"/>
                    <a:gd name="connsiteY9" fmla="*/ 60325 h 1655757"/>
                    <a:gd name="connsiteX10" fmla="*/ 476250 w 1146175"/>
                    <a:gd name="connsiteY10" fmla="*/ 101600 h 1655757"/>
                    <a:gd name="connsiteX11" fmla="*/ 479425 w 1146175"/>
                    <a:gd name="connsiteY11" fmla="*/ 117475 h 1655757"/>
                    <a:gd name="connsiteX12" fmla="*/ 485775 w 1146175"/>
                    <a:gd name="connsiteY12" fmla="*/ 127000 h 1655757"/>
                    <a:gd name="connsiteX13" fmla="*/ 492125 w 1146175"/>
                    <a:gd name="connsiteY13" fmla="*/ 139700 h 1655757"/>
                    <a:gd name="connsiteX14" fmla="*/ 508000 w 1146175"/>
                    <a:gd name="connsiteY14" fmla="*/ 165100 h 1655757"/>
                    <a:gd name="connsiteX15" fmla="*/ 527050 w 1146175"/>
                    <a:gd name="connsiteY15" fmla="*/ 168275 h 1655757"/>
                    <a:gd name="connsiteX16" fmla="*/ 558800 w 1146175"/>
                    <a:gd name="connsiteY16" fmla="*/ 184150 h 1655757"/>
                    <a:gd name="connsiteX17" fmla="*/ 574675 w 1146175"/>
                    <a:gd name="connsiteY17" fmla="*/ 187325 h 1655757"/>
                    <a:gd name="connsiteX18" fmla="*/ 635000 w 1146175"/>
                    <a:gd name="connsiteY18" fmla="*/ 215900 h 1655757"/>
                    <a:gd name="connsiteX19" fmla="*/ 717550 w 1146175"/>
                    <a:gd name="connsiteY19" fmla="*/ 212725 h 1655757"/>
                    <a:gd name="connsiteX20" fmla="*/ 733425 w 1146175"/>
                    <a:gd name="connsiteY20" fmla="*/ 206375 h 1655757"/>
                    <a:gd name="connsiteX21" fmla="*/ 771525 w 1146175"/>
                    <a:gd name="connsiteY21" fmla="*/ 200025 h 1655757"/>
                    <a:gd name="connsiteX22" fmla="*/ 796925 w 1146175"/>
                    <a:gd name="connsiteY22" fmla="*/ 190500 h 1655757"/>
                    <a:gd name="connsiteX23" fmla="*/ 838200 w 1146175"/>
                    <a:gd name="connsiteY23" fmla="*/ 180975 h 1655757"/>
                    <a:gd name="connsiteX24" fmla="*/ 879475 w 1146175"/>
                    <a:gd name="connsiteY24" fmla="*/ 200025 h 1655757"/>
                    <a:gd name="connsiteX25" fmla="*/ 885825 w 1146175"/>
                    <a:gd name="connsiteY25" fmla="*/ 209550 h 1655757"/>
                    <a:gd name="connsiteX26" fmla="*/ 901700 w 1146175"/>
                    <a:gd name="connsiteY26" fmla="*/ 225425 h 1655757"/>
                    <a:gd name="connsiteX27" fmla="*/ 917575 w 1146175"/>
                    <a:gd name="connsiteY27" fmla="*/ 238125 h 1655757"/>
                    <a:gd name="connsiteX28" fmla="*/ 936625 w 1146175"/>
                    <a:gd name="connsiteY28" fmla="*/ 250825 h 1655757"/>
                    <a:gd name="connsiteX29" fmla="*/ 955675 w 1146175"/>
                    <a:gd name="connsiteY29" fmla="*/ 273050 h 1655757"/>
                    <a:gd name="connsiteX30" fmla="*/ 974725 w 1146175"/>
                    <a:gd name="connsiteY30" fmla="*/ 298450 h 1655757"/>
                    <a:gd name="connsiteX31" fmla="*/ 968375 w 1146175"/>
                    <a:gd name="connsiteY31" fmla="*/ 333375 h 1655757"/>
                    <a:gd name="connsiteX32" fmla="*/ 965200 w 1146175"/>
                    <a:gd name="connsiteY32" fmla="*/ 342900 h 1655757"/>
                    <a:gd name="connsiteX33" fmla="*/ 949325 w 1146175"/>
                    <a:gd name="connsiteY33" fmla="*/ 361950 h 1655757"/>
                    <a:gd name="connsiteX34" fmla="*/ 939800 w 1146175"/>
                    <a:gd name="connsiteY34" fmla="*/ 384175 h 1655757"/>
                    <a:gd name="connsiteX35" fmla="*/ 936625 w 1146175"/>
                    <a:gd name="connsiteY35" fmla="*/ 396875 h 1655757"/>
                    <a:gd name="connsiteX36" fmla="*/ 930275 w 1146175"/>
                    <a:gd name="connsiteY36" fmla="*/ 412750 h 1655757"/>
                    <a:gd name="connsiteX37" fmla="*/ 927100 w 1146175"/>
                    <a:gd name="connsiteY37" fmla="*/ 425450 h 1655757"/>
                    <a:gd name="connsiteX38" fmla="*/ 920750 w 1146175"/>
                    <a:gd name="connsiteY38" fmla="*/ 441325 h 1655757"/>
                    <a:gd name="connsiteX39" fmla="*/ 917575 w 1146175"/>
                    <a:gd name="connsiteY39" fmla="*/ 454025 h 1655757"/>
                    <a:gd name="connsiteX40" fmla="*/ 914400 w 1146175"/>
                    <a:gd name="connsiteY40" fmla="*/ 463550 h 1655757"/>
                    <a:gd name="connsiteX41" fmla="*/ 917575 w 1146175"/>
                    <a:gd name="connsiteY41" fmla="*/ 501650 h 1655757"/>
                    <a:gd name="connsiteX42" fmla="*/ 923925 w 1146175"/>
                    <a:gd name="connsiteY42" fmla="*/ 514350 h 1655757"/>
                    <a:gd name="connsiteX43" fmla="*/ 939800 w 1146175"/>
                    <a:gd name="connsiteY43" fmla="*/ 533400 h 1655757"/>
                    <a:gd name="connsiteX44" fmla="*/ 942975 w 1146175"/>
                    <a:gd name="connsiteY44" fmla="*/ 542925 h 1655757"/>
                    <a:gd name="connsiteX45" fmla="*/ 955675 w 1146175"/>
                    <a:gd name="connsiteY45" fmla="*/ 568325 h 1655757"/>
                    <a:gd name="connsiteX46" fmla="*/ 968375 w 1146175"/>
                    <a:gd name="connsiteY46" fmla="*/ 609600 h 1655757"/>
                    <a:gd name="connsiteX47" fmla="*/ 974725 w 1146175"/>
                    <a:gd name="connsiteY47" fmla="*/ 622300 h 1655757"/>
                    <a:gd name="connsiteX48" fmla="*/ 981075 w 1146175"/>
                    <a:gd name="connsiteY48" fmla="*/ 641350 h 1655757"/>
                    <a:gd name="connsiteX49" fmla="*/ 993775 w 1146175"/>
                    <a:gd name="connsiteY49" fmla="*/ 644525 h 1655757"/>
                    <a:gd name="connsiteX50" fmla="*/ 1012825 w 1146175"/>
                    <a:gd name="connsiteY50" fmla="*/ 647700 h 1655757"/>
                    <a:gd name="connsiteX51" fmla="*/ 1041400 w 1146175"/>
                    <a:gd name="connsiteY51" fmla="*/ 660400 h 1655757"/>
                    <a:gd name="connsiteX52" fmla="*/ 1050925 w 1146175"/>
                    <a:gd name="connsiteY52" fmla="*/ 663575 h 1655757"/>
                    <a:gd name="connsiteX53" fmla="*/ 1066800 w 1146175"/>
                    <a:gd name="connsiteY53" fmla="*/ 673100 h 1655757"/>
                    <a:gd name="connsiteX54" fmla="*/ 1089025 w 1146175"/>
                    <a:gd name="connsiteY54" fmla="*/ 682625 h 1655757"/>
                    <a:gd name="connsiteX55" fmla="*/ 1117600 w 1146175"/>
                    <a:gd name="connsiteY55" fmla="*/ 701675 h 1655757"/>
                    <a:gd name="connsiteX56" fmla="*/ 1136650 w 1146175"/>
                    <a:gd name="connsiteY56" fmla="*/ 708025 h 1655757"/>
                    <a:gd name="connsiteX57" fmla="*/ 1146175 w 1146175"/>
                    <a:gd name="connsiteY57" fmla="*/ 898525 h 1655757"/>
                    <a:gd name="connsiteX58" fmla="*/ 1127125 w 1146175"/>
                    <a:gd name="connsiteY58" fmla="*/ 908050 h 1655757"/>
                    <a:gd name="connsiteX59" fmla="*/ 1101725 w 1146175"/>
                    <a:gd name="connsiteY59" fmla="*/ 914400 h 1655757"/>
                    <a:gd name="connsiteX60" fmla="*/ 1092200 w 1146175"/>
                    <a:gd name="connsiteY60" fmla="*/ 920750 h 1655757"/>
                    <a:gd name="connsiteX61" fmla="*/ 1079500 w 1146175"/>
                    <a:gd name="connsiteY61" fmla="*/ 923925 h 1655757"/>
                    <a:gd name="connsiteX62" fmla="*/ 1069975 w 1146175"/>
                    <a:gd name="connsiteY62" fmla="*/ 933450 h 1655757"/>
                    <a:gd name="connsiteX63" fmla="*/ 1060450 w 1146175"/>
                    <a:gd name="connsiteY63" fmla="*/ 939800 h 1655757"/>
                    <a:gd name="connsiteX64" fmla="*/ 1038225 w 1146175"/>
                    <a:gd name="connsiteY64" fmla="*/ 952500 h 1655757"/>
                    <a:gd name="connsiteX65" fmla="*/ 996950 w 1146175"/>
                    <a:gd name="connsiteY65" fmla="*/ 977900 h 1655757"/>
                    <a:gd name="connsiteX66" fmla="*/ 977900 w 1146175"/>
                    <a:gd name="connsiteY66" fmla="*/ 984250 h 1655757"/>
                    <a:gd name="connsiteX67" fmla="*/ 968375 w 1146175"/>
                    <a:gd name="connsiteY67" fmla="*/ 1009650 h 1655757"/>
                    <a:gd name="connsiteX68" fmla="*/ 958850 w 1146175"/>
                    <a:gd name="connsiteY68" fmla="*/ 1035050 h 1655757"/>
                    <a:gd name="connsiteX69" fmla="*/ 955675 w 1146175"/>
                    <a:gd name="connsiteY69" fmla="*/ 1060450 h 1655757"/>
                    <a:gd name="connsiteX70" fmla="*/ 949325 w 1146175"/>
                    <a:gd name="connsiteY70" fmla="*/ 1069975 h 1655757"/>
                    <a:gd name="connsiteX71" fmla="*/ 946150 w 1146175"/>
                    <a:gd name="connsiteY71" fmla="*/ 1079500 h 1655757"/>
                    <a:gd name="connsiteX72" fmla="*/ 936625 w 1146175"/>
                    <a:gd name="connsiteY72" fmla="*/ 1095375 h 1655757"/>
                    <a:gd name="connsiteX73" fmla="*/ 923925 w 1146175"/>
                    <a:gd name="connsiteY73" fmla="*/ 1130300 h 1655757"/>
                    <a:gd name="connsiteX74" fmla="*/ 917575 w 1146175"/>
                    <a:gd name="connsiteY74" fmla="*/ 1139825 h 1655757"/>
                    <a:gd name="connsiteX75" fmla="*/ 923925 w 1146175"/>
                    <a:gd name="connsiteY75" fmla="*/ 1193800 h 1655757"/>
                    <a:gd name="connsiteX76" fmla="*/ 939800 w 1146175"/>
                    <a:gd name="connsiteY76" fmla="*/ 1216025 h 1655757"/>
                    <a:gd name="connsiteX77" fmla="*/ 946150 w 1146175"/>
                    <a:gd name="connsiteY77" fmla="*/ 1228725 h 1655757"/>
                    <a:gd name="connsiteX78" fmla="*/ 952500 w 1146175"/>
                    <a:gd name="connsiteY78" fmla="*/ 1238250 h 1655757"/>
                    <a:gd name="connsiteX79" fmla="*/ 965200 w 1146175"/>
                    <a:gd name="connsiteY79" fmla="*/ 1263650 h 1655757"/>
                    <a:gd name="connsiteX80" fmla="*/ 974725 w 1146175"/>
                    <a:gd name="connsiteY80" fmla="*/ 1285875 h 1655757"/>
                    <a:gd name="connsiteX81" fmla="*/ 977900 w 1146175"/>
                    <a:gd name="connsiteY81" fmla="*/ 1298575 h 1655757"/>
                    <a:gd name="connsiteX82" fmla="*/ 981075 w 1146175"/>
                    <a:gd name="connsiteY82" fmla="*/ 1308100 h 1655757"/>
                    <a:gd name="connsiteX83" fmla="*/ 974725 w 1146175"/>
                    <a:gd name="connsiteY83" fmla="*/ 1343025 h 1655757"/>
                    <a:gd name="connsiteX84" fmla="*/ 949325 w 1146175"/>
                    <a:gd name="connsiteY84" fmla="*/ 1374775 h 1655757"/>
                    <a:gd name="connsiteX85" fmla="*/ 939800 w 1146175"/>
                    <a:gd name="connsiteY85" fmla="*/ 1381125 h 1655757"/>
                    <a:gd name="connsiteX86" fmla="*/ 930275 w 1146175"/>
                    <a:gd name="connsiteY86" fmla="*/ 1390650 h 1655757"/>
                    <a:gd name="connsiteX87" fmla="*/ 923925 w 1146175"/>
                    <a:gd name="connsiteY87" fmla="*/ 1400175 h 1655757"/>
                    <a:gd name="connsiteX88" fmla="*/ 908050 w 1146175"/>
                    <a:gd name="connsiteY88" fmla="*/ 1409700 h 1655757"/>
                    <a:gd name="connsiteX89" fmla="*/ 895350 w 1146175"/>
                    <a:gd name="connsiteY89" fmla="*/ 1422400 h 1655757"/>
                    <a:gd name="connsiteX90" fmla="*/ 882650 w 1146175"/>
                    <a:gd name="connsiteY90" fmla="*/ 1431925 h 1655757"/>
                    <a:gd name="connsiteX91" fmla="*/ 873125 w 1146175"/>
                    <a:gd name="connsiteY91" fmla="*/ 1441450 h 1655757"/>
                    <a:gd name="connsiteX92" fmla="*/ 844550 w 1146175"/>
                    <a:gd name="connsiteY92" fmla="*/ 1457325 h 1655757"/>
                    <a:gd name="connsiteX93" fmla="*/ 835025 w 1146175"/>
                    <a:gd name="connsiteY93" fmla="*/ 1460500 h 1655757"/>
                    <a:gd name="connsiteX94" fmla="*/ 815975 w 1146175"/>
                    <a:gd name="connsiteY94" fmla="*/ 1454150 h 1655757"/>
                    <a:gd name="connsiteX95" fmla="*/ 774700 w 1146175"/>
                    <a:gd name="connsiteY95" fmla="*/ 1438275 h 1655757"/>
                    <a:gd name="connsiteX96" fmla="*/ 749300 w 1146175"/>
                    <a:gd name="connsiteY96" fmla="*/ 1431925 h 1655757"/>
                    <a:gd name="connsiteX97" fmla="*/ 717550 w 1146175"/>
                    <a:gd name="connsiteY97" fmla="*/ 1419225 h 1655757"/>
                    <a:gd name="connsiteX98" fmla="*/ 688975 w 1146175"/>
                    <a:gd name="connsiteY98" fmla="*/ 1412875 h 1655757"/>
                    <a:gd name="connsiteX99" fmla="*/ 657225 w 1146175"/>
                    <a:gd name="connsiteY99" fmla="*/ 1403350 h 1655757"/>
                    <a:gd name="connsiteX100" fmla="*/ 635000 w 1146175"/>
                    <a:gd name="connsiteY100" fmla="*/ 1406525 h 1655757"/>
                    <a:gd name="connsiteX101" fmla="*/ 622300 w 1146175"/>
                    <a:gd name="connsiteY101" fmla="*/ 1412875 h 1655757"/>
                    <a:gd name="connsiteX102" fmla="*/ 606425 w 1146175"/>
                    <a:gd name="connsiteY102" fmla="*/ 1422400 h 1655757"/>
                    <a:gd name="connsiteX103" fmla="*/ 577850 w 1146175"/>
                    <a:gd name="connsiteY103" fmla="*/ 1438275 h 1655757"/>
                    <a:gd name="connsiteX104" fmla="*/ 558800 w 1146175"/>
                    <a:gd name="connsiteY104" fmla="*/ 1441450 h 1655757"/>
                    <a:gd name="connsiteX105" fmla="*/ 501650 w 1146175"/>
                    <a:gd name="connsiteY105" fmla="*/ 1447800 h 1655757"/>
                    <a:gd name="connsiteX106" fmla="*/ 492125 w 1146175"/>
                    <a:gd name="connsiteY106" fmla="*/ 1454150 h 1655757"/>
                    <a:gd name="connsiteX107" fmla="*/ 466725 w 1146175"/>
                    <a:gd name="connsiteY107" fmla="*/ 1485900 h 1655757"/>
                    <a:gd name="connsiteX108" fmla="*/ 457200 w 1146175"/>
                    <a:gd name="connsiteY108" fmla="*/ 1504950 h 1655757"/>
                    <a:gd name="connsiteX109" fmla="*/ 454025 w 1146175"/>
                    <a:gd name="connsiteY109" fmla="*/ 1514475 h 1655757"/>
                    <a:gd name="connsiteX110" fmla="*/ 447675 w 1146175"/>
                    <a:gd name="connsiteY110" fmla="*/ 1530350 h 1655757"/>
                    <a:gd name="connsiteX111" fmla="*/ 434975 w 1146175"/>
                    <a:gd name="connsiteY111" fmla="*/ 1555750 h 1655757"/>
                    <a:gd name="connsiteX112" fmla="*/ 431800 w 1146175"/>
                    <a:gd name="connsiteY112" fmla="*/ 1571625 h 1655757"/>
                    <a:gd name="connsiteX113" fmla="*/ 425450 w 1146175"/>
                    <a:gd name="connsiteY113" fmla="*/ 1597025 h 1655757"/>
                    <a:gd name="connsiteX114" fmla="*/ 422275 w 1146175"/>
                    <a:gd name="connsiteY114" fmla="*/ 1606550 h 1655757"/>
                    <a:gd name="connsiteX115" fmla="*/ 412750 w 1146175"/>
                    <a:gd name="connsiteY115" fmla="*/ 1616075 h 1655757"/>
                    <a:gd name="connsiteX116" fmla="*/ 222250 w 1146175"/>
                    <a:gd name="connsiteY116" fmla="*/ 1622425 h 1655757"/>
                    <a:gd name="connsiteX117" fmla="*/ 215900 w 1146175"/>
                    <a:gd name="connsiteY117" fmla="*/ 1606550 h 1655757"/>
                    <a:gd name="connsiteX118" fmla="*/ 206375 w 1146175"/>
                    <a:gd name="connsiteY118" fmla="*/ 1593850 h 1655757"/>
                    <a:gd name="connsiteX119" fmla="*/ 203200 w 1146175"/>
                    <a:gd name="connsiteY119" fmla="*/ 1581150 h 1655757"/>
                    <a:gd name="connsiteX120" fmla="*/ 196850 w 1146175"/>
                    <a:gd name="connsiteY120" fmla="*/ 1568450 h 1655757"/>
                    <a:gd name="connsiteX121" fmla="*/ 193675 w 1146175"/>
                    <a:gd name="connsiteY121" fmla="*/ 1558925 h 1655757"/>
                    <a:gd name="connsiteX122" fmla="*/ 187325 w 1146175"/>
                    <a:gd name="connsiteY122" fmla="*/ 1546225 h 1655757"/>
                    <a:gd name="connsiteX123" fmla="*/ 180975 w 1146175"/>
                    <a:gd name="connsiteY123" fmla="*/ 1530350 h 1655757"/>
                    <a:gd name="connsiteX124" fmla="*/ 161925 w 1146175"/>
                    <a:gd name="connsiteY124" fmla="*/ 1501775 h 1655757"/>
                    <a:gd name="connsiteX125" fmla="*/ 149225 w 1146175"/>
                    <a:gd name="connsiteY125" fmla="*/ 1479550 h 1655757"/>
                    <a:gd name="connsiteX126" fmla="*/ 142875 w 1146175"/>
                    <a:gd name="connsiteY126" fmla="*/ 1463675 h 1655757"/>
                    <a:gd name="connsiteX127" fmla="*/ 130175 w 1146175"/>
                    <a:gd name="connsiteY127" fmla="*/ 1460500 h 1655757"/>
                    <a:gd name="connsiteX128" fmla="*/ 101600 w 1146175"/>
                    <a:gd name="connsiteY128" fmla="*/ 1447800 h 1655757"/>
                    <a:gd name="connsiteX129" fmla="*/ 69850 w 1146175"/>
                    <a:gd name="connsiteY129" fmla="*/ 1438275 h 1655757"/>
                    <a:gd name="connsiteX130" fmla="*/ 41275 w 1146175"/>
                    <a:gd name="connsiteY130" fmla="*/ 1425575 h 1655757"/>
                    <a:gd name="connsiteX131" fmla="*/ 31750 w 1146175"/>
                    <a:gd name="connsiteY131" fmla="*/ 1419225 h 1655757"/>
                    <a:gd name="connsiteX132" fmla="*/ 15875 w 1146175"/>
                    <a:gd name="connsiteY132" fmla="*/ 1412875 h 1655757"/>
                    <a:gd name="connsiteX133" fmla="*/ 0 w 1146175"/>
                    <a:gd name="connsiteY133" fmla="*/ 1397000 h 1655757"/>
                    <a:gd name="connsiteX0" fmla="*/ 9525 w 1146175"/>
                    <a:gd name="connsiteY0" fmla="*/ 224847 h 1658354"/>
                    <a:gd name="connsiteX1" fmla="*/ 50800 w 1146175"/>
                    <a:gd name="connsiteY1" fmla="*/ 202622 h 1658354"/>
                    <a:gd name="connsiteX2" fmla="*/ 127000 w 1146175"/>
                    <a:gd name="connsiteY2" fmla="*/ 167697 h 1658354"/>
                    <a:gd name="connsiteX3" fmla="*/ 155575 w 1146175"/>
                    <a:gd name="connsiteY3" fmla="*/ 158172 h 1658354"/>
                    <a:gd name="connsiteX4" fmla="*/ 168275 w 1146175"/>
                    <a:gd name="connsiteY4" fmla="*/ 145472 h 1658354"/>
                    <a:gd name="connsiteX5" fmla="*/ 209550 w 1146175"/>
                    <a:gd name="connsiteY5" fmla="*/ 62922 h 1658354"/>
                    <a:gd name="connsiteX6" fmla="*/ 238125 w 1146175"/>
                    <a:gd name="connsiteY6" fmla="*/ 12122 h 1658354"/>
                    <a:gd name="connsiteX7" fmla="*/ 269875 w 1146175"/>
                    <a:gd name="connsiteY7" fmla="*/ 2597 h 1658354"/>
                    <a:gd name="connsiteX8" fmla="*/ 428625 w 1146175"/>
                    <a:gd name="connsiteY8" fmla="*/ 8947 h 1658354"/>
                    <a:gd name="connsiteX9" fmla="*/ 476250 w 1146175"/>
                    <a:gd name="connsiteY9" fmla="*/ 104197 h 1658354"/>
                    <a:gd name="connsiteX10" fmla="*/ 479425 w 1146175"/>
                    <a:gd name="connsiteY10" fmla="*/ 120072 h 1658354"/>
                    <a:gd name="connsiteX11" fmla="*/ 485775 w 1146175"/>
                    <a:gd name="connsiteY11" fmla="*/ 129597 h 1658354"/>
                    <a:gd name="connsiteX12" fmla="*/ 492125 w 1146175"/>
                    <a:gd name="connsiteY12" fmla="*/ 142297 h 1658354"/>
                    <a:gd name="connsiteX13" fmla="*/ 508000 w 1146175"/>
                    <a:gd name="connsiteY13" fmla="*/ 167697 h 1658354"/>
                    <a:gd name="connsiteX14" fmla="*/ 527050 w 1146175"/>
                    <a:gd name="connsiteY14" fmla="*/ 170872 h 1658354"/>
                    <a:gd name="connsiteX15" fmla="*/ 558800 w 1146175"/>
                    <a:gd name="connsiteY15" fmla="*/ 186747 h 1658354"/>
                    <a:gd name="connsiteX16" fmla="*/ 574675 w 1146175"/>
                    <a:gd name="connsiteY16" fmla="*/ 189922 h 1658354"/>
                    <a:gd name="connsiteX17" fmla="*/ 635000 w 1146175"/>
                    <a:gd name="connsiteY17" fmla="*/ 218497 h 1658354"/>
                    <a:gd name="connsiteX18" fmla="*/ 717550 w 1146175"/>
                    <a:gd name="connsiteY18" fmla="*/ 215322 h 1658354"/>
                    <a:gd name="connsiteX19" fmla="*/ 733425 w 1146175"/>
                    <a:gd name="connsiteY19" fmla="*/ 208972 h 1658354"/>
                    <a:gd name="connsiteX20" fmla="*/ 771525 w 1146175"/>
                    <a:gd name="connsiteY20" fmla="*/ 202622 h 1658354"/>
                    <a:gd name="connsiteX21" fmla="*/ 796925 w 1146175"/>
                    <a:gd name="connsiteY21" fmla="*/ 193097 h 1658354"/>
                    <a:gd name="connsiteX22" fmla="*/ 838200 w 1146175"/>
                    <a:gd name="connsiteY22" fmla="*/ 183572 h 1658354"/>
                    <a:gd name="connsiteX23" fmla="*/ 879475 w 1146175"/>
                    <a:gd name="connsiteY23" fmla="*/ 202622 h 1658354"/>
                    <a:gd name="connsiteX24" fmla="*/ 885825 w 1146175"/>
                    <a:gd name="connsiteY24" fmla="*/ 212147 h 1658354"/>
                    <a:gd name="connsiteX25" fmla="*/ 901700 w 1146175"/>
                    <a:gd name="connsiteY25" fmla="*/ 228022 h 1658354"/>
                    <a:gd name="connsiteX26" fmla="*/ 917575 w 1146175"/>
                    <a:gd name="connsiteY26" fmla="*/ 240722 h 1658354"/>
                    <a:gd name="connsiteX27" fmla="*/ 936625 w 1146175"/>
                    <a:gd name="connsiteY27" fmla="*/ 253422 h 1658354"/>
                    <a:gd name="connsiteX28" fmla="*/ 955675 w 1146175"/>
                    <a:gd name="connsiteY28" fmla="*/ 275647 h 1658354"/>
                    <a:gd name="connsiteX29" fmla="*/ 974725 w 1146175"/>
                    <a:gd name="connsiteY29" fmla="*/ 301047 h 1658354"/>
                    <a:gd name="connsiteX30" fmla="*/ 968375 w 1146175"/>
                    <a:gd name="connsiteY30" fmla="*/ 335972 h 1658354"/>
                    <a:gd name="connsiteX31" fmla="*/ 965200 w 1146175"/>
                    <a:gd name="connsiteY31" fmla="*/ 345497 h 1658354"/>
                    <a:gd name="connsiteX32" fmla="*/ 949325 w 1146175"/>
                    <a:gd name="connsiteY32" fmla="*/ 364547 h 1658354"/>
                    <a:gd name="connsiteX33" fmla="*/ 939800 w 1146175"/>
                    <a:gd name="connsiteY33" fmla="*/ 386772 h 1658354"/>
                    <a:gd name="connsiteX34" fmla="*/ 936625 w 1146175"/>
                    <a:gd name="connsiteY34" fmla="*/ 399472 h 1658354"/>
                    <a:gd name="connsiteX35" fmla="*/ 930275 w 1146175"/>
                    <a:gd name="connsiteY35" fmla="*/ 415347 h 1658354"/>
                    <a:gd name="connsiteX36" fmla="*/ 927100 w 1146175"/>
                    <a:gd name="connsiteY36" fmla="*/ 428047 h 1658354"/>
                    <a:gd name="connsiteX37" fmla="*/ 920750 w 1146175"/>
                    <a:gd name="connsiteY37" fmla="*/ 443922 h 1658354"/>
                    <a:gd name="connsiteX38" fmla="*/ 917575 w 1146175"/>
                    <a:gd name="connsiteY38" fmla="*/ 456622 h 1658354"/>
                    <a:gd name="connsiteX39" fmla="*/ 914400 w 1146175"/>
                    <a:gd name="connsiteY39" fmla="*/ 466147 h 1658354"/>
                    <a:gd name="connsiteX40" fmla="*/ 917575 w 1146175"/>
                    <a:gd name="connsiteY40" fmla="*/ 504247 h 1658354"/>
                    <a:gd name="connsiteX41" fmla="*/ 923925 w 1146175"/>
                    <a:gd name="connsiteY41" fmla="*/ 516947 h 1658354"/>
                    <a:gd name="connsiteX42" fmla="*/ 939800 w 1146175"/>
                    <a:gd name="connsiteY42" fmla="*/ 535997 h 1658354"/>
                    <a:gd name="connsiteX43" fmla="*/ 942975 w 1146175"/>
                    <a:gd name="connsiteY43" fmla="*/ 545522 h 1658354"/>
                    <a:gd name="connsiteX44" fmla="*/ 955675 w 1146175"/>
                    <a:gd name="connsiteY44" fmla="*/ 570922 h 1658354"/>
                    <a:gd name="connsiteX45" fmla="*/ 968375 w 1146175"/>
                    <a:gd name="connsiteY45" fmla="*/ 612197 h 1658354"/>
                    <a:gd name="connsiteX46" fmla="*/ 974725 w 1146175"/>
                    <a:gd name="connsiteY46" fmla="*/ 624897 h 1658354"/>
                    <a:gd name="connsiteX47" fmla="*/ 981075 w 1146175"/>
                    <a:gd name="connsiteY47" fmla="*/ 643947 h 1658354"/>
                    <a:gd name="connsiteX48" fmla="*/ 993775 w 1146175"/>
                    <a:gd name="connsiteY48" fmla="*/ 647122 h 1658354"/>
                    <a:gd name="connsiteX49" fmla="*/ 1012825 w 1146175"/>
                    <a:gd name="connsiteY49" fmla="*/ 650297 h 1658354"/>
                    <a:gd name="connsiteX50" fmla="*/ 1041400 w 1146175"/>
                    <a:gd name="connsiteY50" fmla="*/ 662997 h 1658354"/>
                    <a:gd name="connsiteX51" fmla="*/ 1050925 w 1146175"/>
                    <a:gd name="connsiteY51" fmla="*/ 666172 h 1658354"/>
                    <a:gd name="connsiteX52" fmla="*/ 1066800 w 1146175"/>
                    <a:gd name="connsiteY52" fmla="*/ 675697 h 1658354"/>
                    <a:gd name="connsiteX53" fmla="*/ 1089025 w 1146175"/>
                    <a:gd name="connsiteY53" fmla="*/ 685222 h 1658354"/>
                    <a:gd name="connsiteX54" fmla="*/ 1117600 w 1146175"/>
                    <a:gd name="connsiteY54" fmla="*/ 704272 h 1658354"/>
                    <a:gd name="connsiteX55" fmla="*/ 1136650 w 1146175"/>
                    <a:gd name="connsiteY55" fmla="*/ 710622 h 1658354"/>
                    <a:gd name="connsiteX56" fmla="*/ 1146175 w 1146175"/>
                    <a:gd name="connsiteY56" fmla="*/ 901122 h 1658354"/>
                    <a:gd name="connsiteX57" fmla="*/ 1127125 w 1146175"/>
                    <a:gd name="connsiteY57" fmla="*/ 910647 h 1658354"/>
                    <a:gd name="connsiteX58" fmla="*/ 1101725 w 1146175"/>
                    <a:gd name="connsiteY58" fmla="*/ 916997 h 1658354"/>
                    <a:gd name="connsiteX59" fmla="*/ 1092200 w 1146175"/>
                    <a:gd name="connsiteY59" fmla="*/ 923347 h 1658354"/>
                    <a:gd name="connsiteX60" fmla="*/ 1079500 w 1146175"/>
                    <a:gd name="connsiteY60" fmla="*/ 926522 h 1658354"/>
                    <a:gd name="connsiteX61" fmla="*/ 1069975 w 1146175"/>
                    <a:gd name="connsiteY61" fmla="*/ 936047 h 1658354"/>
                    <a:gd name="connsiteX62" fmla="*/ 1060450 w 1146175"/>
                    <a:gd name="connsiteY62" fmla="*/ 942397 h 1658354"/>
                    <a:gd name="connsiteX63" fmla="*/ 1038225 w 1146175"/>
                    <a:gd name="connsiteY63" fmla="*/ 955097 h 1658354"/>
                    <a:gd name="connsiteX64" fmla="*/ 996950 w 1146175"/>
                    <a:gd name="connsiteY64" fmla="*/ 980497 h 1658354"/>
                    <a:gd name="connsiteX65" fmla="*/ 977900 w 1146175"/>
                    <a:gd name="connsiteY65" fmla="*/ 986847 h 1658354"/>
                    <a:gd name="connsiteX66" fmla="*/ 968375 w 1146175"/>
                    <a:gd name="connsiteY66" fmla="*/ 1012247 h 1658354"/>
                    <a:gd name="connsiteX67" fmla="*/ 958850 w 1146175"/>
                    <a:gd name="connsiteY67" fmla="*/ 1037647 h 1658354"/>
                    <a:gd name="connsiteX68" fmla="*/ 955675 w 1146175"/>
                    <a:gd name="connsiteY68" fmla="*/ 1063047 h 1658354"/>
                    <a:gd name="connsiteX69" fmla="*/ 949325 w 1146175"/>
                    <a:gd name="connsiteY69" fmla="*/ 1072572 h 1658354"/>
                    <a:gd name="connsiteX70" fmla="*/ 946150 w 1146175"/>
                    <a:gd name="connsiteY70" fmla="*/ 1082097 h 1658354"/>
                    <a:gd name="connsiteX71" fmla="*/ 936625 w 1146175"/>
                    <a:gd name="connsiteY71" fmla="*/ 1097972 h 1658354"/>
                    <a:gd name="connsiteX72" fmla="*/ 923925 w 1146175"/>
                    <a:gd name="connsiteY72" fmla="*/ 1132897 h 1658354"/>
                    <a:gd name="connsiteX73" fmla="*/ 917575 w 1146175"/>
                    <a:gd name="connsiteY73" fmla="*/ 1142422 h 1658354"/>
                    <a:gd name="connsiteX74" fmla="*/ 923925 w 1146175"/>
                    <a:gd name="connsiteY74" fmla="*/ 1196397 h 1658354"/>
                    <a:gd name="connsiteX75" fmla="*/ 939800 w 1146175"/>
                    <a:gd name="connsiteY75" fmla="*/ 1218622 h 1658354"/>
                    <a:gd name="connsiteX76" fmla="*/ 946150 w 1146175"/>
                    <a:gd name="connsiteY76" fmla="*/ 1231322 h 1658354"/>
                    <a:gd name="connsiteX77" fmla="*/ 952500 w 1146175"/>
                    <a:gd name="connsiteY77" fmla="*/ 1240847 h 1658354"/>
                    <a:gd name="connsiteX78" fmla="*/ 965200 w 1146175"/>
                    <a:gd name="connsiteY78" fmla="*/ 1266247 h 1658354"/>
                    <a:gd name="connsiteX79" fmla="*/ 974725 w 1146175"/>
                    <a:gd name="connsiteY79" fmla="*/ 1288472 h 1658354"/>
                    <a:gd name="connsiteX80" fmla="*/ 977900 w 1146175"/>
                    <a:gd name="connsiteY80" fmla="*/ 1301172 h 1658354"/>
                    <a:gd name="connsiteX81" fmla="*/ 981075 w 1146175"/>
                    <a:gd name="connsiteY81" fmla="*/ 1310697 h 1658354"/>
                    <a:gd name="connsiteX82" fmla="*/ 974725 w 1146175"/>
                    <a:gd name="connsiteY82" fmla="*/ 1345622 h 1658354"/>
                    <a:gd name="connsiteX83" fmla="*/ 949325 w 1146175"/>
                    <a:gd name="connsiteY83" fmla="*/ 1377372 h 1658354"/>
                    <a:gd name="connsiteX84" fmla="*/ 939800 w 1146175"/>
                    <a:gd name="connsiteY84" fmla="*/ 1383722 h 1658354"/>
                    <a:gd name="connsiteX85" fmla="*/ 930275 w 1146175"/>
                    <a:gd name="connsiteY85" fmla="*/ 1393247 h 1658354"/>
                    <a:gd name="connsiteX86" fmla="*/ 923925 w 1146175"/>
                    <a:gd name="connsiteY86" fmla="*/ 1402772 h 1658354"/>
                    <a:gd name="connsiteX87" fmla="*/ 908050 w 1146175"/>
                    <a:gd name="connsiteY87" fmla="*/ 1412297 h 1658354"/>
                    <a:gd name="connsiteX88" fmla="*/ 895350 w 1146175"/>
                    <a:gd name="connsiteY88" fmla="*/ 1424997 h 1658354"/>
                    <a:gd name="connsiteX89" fmla="*/ 882650 w 1146175"/>
                    <a:gd name="connsiteY89" fmla="*/ 1434522 h 1658354"/>
                    <a:gd name="connsiteX90" fmla="*/ 873125 w 1146175"/>
                    <a:gd name="connsiteY90" fmla="*/ 1444047 h 1658354"/>
                    <a:gd name="connsiteX91" fmla="*/ 844550 w 1146175"/>
                    <a:gd name="connsiteY91" fmla="*/ 1459922 h 1658354"/>
                    <a:gd name="connsiteX92" fmla="*/ 835025 w 1146175"/>
                    <a:gd name="connsiteY92" fmla="*/ 1463097 h 1658354"/>
                    <a:gd name="connsiteX93" fmla="*/ 815975 w 1146175"/>
                    <a:gd name="connsiteY93" fmla="*/ 1456747 h 1658354"/>
                    <a:gd name="connsiteX94" fmla="*/ 774700 w 1146175"/>
                    <a:gd name="connsiteY94" fmla="*/ 1440872 h 1658354"/>
                    <a:gd name="connsiteX95" fmla="*/ 749300 w 1146175"/>
                    <a:gd name="connsiteY95" fmla="*/ 1434522 h 1658354"/>
                    <a:gd name="connsiteX96" fmla="*/ 717550 w 1146175"/>
                    <a:gd name="connsiteY96" fmla="*/ 1421822 h 1658354"/>
                    <a:gd name="connsiteX97" fmla="*/ 688975 w 1146175"/>
                    <a:gd name="connsiteY97" fmla="*/ 1415472 h 1658354"/>
                    <a:gd name="connsiteX98" fmla="*/ 657225 w 1146175"/>
                    <a:gd name="connsiteY98" fmla="*/ 1405947 h 1658354"/>
                    <a:gd name="connsiteX99" fmla="*/ 635000 w 1146175"/>
                    <a:gd name="connsiteY99" fmla="*/ 1409122 h 1658354"/>
                    <a:gd name="connsiteX100" fmla="*/ 622300 w 1146175"/>
                    <a:gd name="connsiteY100" fmla="*/ 1415472 h 1658354"/>
                    <a:gd name="connsiteX101" fmla="*/ 606425 w 1146175"/>
                    <a:gd name="connsiteY101" fmla="*/ 1424997 h 1658354"/>
                    <a:gd name="connsiteX102" fmla="*/ 577850 w 1146175"/>
                    <a:gd name="connsiteY102" fmla="*/ 1440872 h 1658354"/>
                    <a:gd name="connsiteX103" fmla="*/ 558800 w 1146175"/>
                    <a:gd name="connsiteY103" fmla="*/ 1444047 h 1658354"/>
                    <a:gd name="connsiteX104" fmla="*/ 501650 w 1146175"/>
                    <a:gd name="connsiteY104" fmla="*/ 1450397 h 1658354"/>
                    <a:gd name="connsiteX105" fmla="*/ 492125 w 1146175"/>
                    <a:gd name="connsiteY105" fmla="*/ 1456747 h 1658354"/>
                    <a:gd name="connsiteX106" fmla="*/ 466725 w 1146175"/>
                    <a:gd name="connsiteY106" fmla="*/ 1488497 h 1658354"/>
                    <a:gd name="connsiteX107" fmla="*/ 457200 w 1146175"/>
                    <a:gd name="connsiteY107" fmla="*/ 1507547 h 1658354"/>
                    <a:gd name="connsiteX108" fmla="*/ 454025 w 1146175"/>
                    <a:gd name="connsiteY108" fmla="*/ 1517072 h 1658354"/>
                    <a:gd name="connsiteX109" fmla="*/ 447675 w 1146175"/>
                    <a:gd name="connsiteY109" fmla="*/ 1532947 h 1658354"/>
                    <a:gd name="connsiteX110" fmla="*/ 434975 w 1146175"/>
                    <a:gd name="connsiteY110" fmla="*/ 1558347 h 1658354"/>
                    <a:gd name="connsiteX111" fmla="*/ 431800 w 1146175"/>
                    <a:gd name="connsiteY111" fmla="*/ 1574222 h 1658354"/>
                    <a:gd name="connsiteX112" fmla="*/ 425450 w 1146175"/>
                    <a:gd name="connsiteY112" fmla="*/ 1599622 h 1658354"/>
                    <a:gd name="connsiteX113" fmla="*/ 422275 w 1146175"/>
                    <a:gd name="connsiteY113" fmla="*/ 1609147 h 1658354"/>
                    <a:gd name="connsiteX114" fmla="*/ 412750 w 1146175"/>
                    <a:gd name="connsiteY114" fmla="*/ 1618672 h 1658354"/>
                    <a:gd name="connsiteX115" fmla="*/ 222250 w 1146175"/>
                    <a:gd name="connsiteY115" fmla="*/ 1625022 h 1658354"/>
                    <a:gd name="connsiteX116" fmla="*/ 215900 w 1146175"/>
                    <a:gd name="connsiteY116" fmla="*/ 1609147 h 1658354"/>
                    <a:gd name="connsiteX117" fmla="*/ 206375 w 1146175"/>
                    <a:gd name="connsiteY117" fmla="*/ 1596447 h 1658354"/>
                    <a:gd name="connsiteX118" fmla="*/ 203200 w 1146175"/>
                    <a:gd name="connsiteY118" fmla="*/ 1583747 h 1658354"/>
                    <a:gd name="connsiteX119" fmla="*/ 196850 w 1146175"/>
                    <a:gd name="connsiteY119" fmla="*/ 1571047 h 1658354"/>
                    <a:gd name="connsiteX120" fmla="*/ 193675 w 1146175"/>
                    <a:gd name="connsiteY120" fmla="*/ 1561522 h 1658354"/>
                    <a:gd name="connsiteX121" fmla="*/ 187325 w 1146175"/>
                    <a:gd name="connsiteY121" fmla="*/ 1548822 h 1658354"/>
                    <a:gd name="connsiteX122" fmla="*/ 180975 w 1146175"/>
                    <a:gd name="connsiteY122" fmla="*/ 1532947 h 1658354"/>
                    <a:gd name="connsiteX123" fmla="*/ 161925 w 1146175"/>
                    <a:gd name="connsiteY123" fmla="*/ 1504372 h 1658354"/>
                    <a:gd name="connsiteX124" fmla="*/ 149225 w 1146175"/>
                    <a:gd name="connsiteY124" fmla="*/ 1482147 h 1658354"/>
                    <a:gd name="connsiteX125" fmla="*/ 142875 w 1146175"/>
                    <a:gd name="connsiteY125" fmla="*/ 1466272 h 1658354"/>
                    <a:gd name="connsiteX126" fmla="*/ 130175 w 1146175"/>
                    <a:gd name="connsiteY126" fmla="*/ 1463097 h 1658354"/>
                    <a:gd name="connsiteX127" fmla="*/ 101600 w 1146175"/>
                    <a:gd name="connsiteY127" fmla="*/ 1450397 h 1658354"/>
                    <a:gd name="connsiteX128" fmla="*/ 69850 w 1146175"/>
                    <a:gd name="connsiteY128" fmla="*/ 1440872 h 1658354"/>
                    <a:gd name="connsiteX129" fmla="*/ 41275 w 1146175"/>
                    <a:gd name="connsiteY129" fmla="*/ 1428172 h 1658354"/>
                    <a:gd name="connsiteX130" fmla="*/ 31750 w 1146175"/>
                    <a:gd name="connsiteY130" fmla="*/ 1421822 h 1658354"/>
                    <a:gd name="connsiteX131" fmla="*/ 15875 w 1146175"/>
                    <a:gd name="connsiteY131" fmla="*/ 1415472 h 1658354"/>
                    <a:gd name="connsiteX132" fmla="*/ 0 w 1146175"/>
                    <a:gd name="connsiteY132" fmla="*/ 1399597 h 1658354"/>
                    <a:gd name="connsiteX0" fmla="*/ 9525 w 1146175"/>
                    <a:gd name="connsiteY0" fmla="*/ 224847 h 1658354"/>
                    <a:gd name="connsiteX1" fmla="*/ 50800 w 1146175"/>
                    <a:gd name="connsiteY1" fmla="*/ 202622 h 1658354"/>
                    <a:gd name="connsiteX2" fmla="*/ 127000 w 1146175"/>
                    <a:gd name="connsiteY2" fmla="*/ 167697 h 1658354"/>
                    <a:gd name="connsiteX3" fmla="*/ 155575 w 1146175"/>
                    <a:gd name="connsiteY3" fmla="*/ 158172 h 1658354"/>
                    <a:gd name="connsiteX4" fmla="*/ 168275 w 1146175"/>
                    <a:gd name="connsiteY4" fmla="*/ 145472 h 1658354"/>
                    <a:gd name="connsiteX5" fmla="*/ 209550 w 1146175"/>
                    <a:gd name="connsiteY5" fmla="*/ 62922 h 1658354"/>
                    <a:gd name="connsiteX6" fmla="*/ 238125 w 1146175"/>
                    <a:gd name="connsiteY6" fmla="*/ 12122 h 1658354"/>
                    <a:gd name="connsiteX7" fmla="*/ 269875 w 1146175"/>
                    <a:gd name="connsiteY7" fmla="*/ 2597 h 1658354"/>
                    <a:gd name="connsiteX8" fmla="*/ 428625 w 1146175"/>
                    <a:gd name="connsiteY8" fmla="*/ 8947 h 1658354"/>
                    <a:gd name="connsiteX9" fmla="*/ 476250 w 1146175"/>
                    <a:gd name="connsiteY9" fmla="*/ 104197 h 1658354"/>
                    <a:gd name="connsiteX10" fmla="*/ 479425 w 1146175"/>
                    <a:gd name="connsiteY10" fmla="*/ 120072 h 1658354"/>
                    <a:gd name="connsiteX11" fmla="*/ 492125 w 1146175"/>
                    <a:gd name="connsiteY11" fmla="*/ 142297 h 1658354"/>
                    <a:gd name="connsiteX12" fmla="*/ 508000 w 1146175"/>
                    <a:gd name="connsiteY12" fmla="*/ 167697 h 1658354"/>
                    <a:gd name="connsiteX13" fmla="*/ 527050 w 1146175"/>
                    <a:gd name="connsiteY13" fmla="*/ 170872 h 1658354"/>
                    <a:gd name="connsiteX14" fmla="*/ 558800 w 1146175"/>
                    <a:gd name="connsiteY14" fmla="*/ 186747 h 1658354"/>
                    <a:gd name="connsiteX15" fmla="*/ 574675 w 1146175"/>
                    <a:gd name="connsiteY15" fmla="*/ 189922 h 1658354"/>
                    <a:gd name="connsiteX16" fmla="*/ 635000 w 1146175"/>
                    <a:gd name="connsiteY16" fmla="*/ 218497 h 1658354"/>
                    <a:gd name="connsiteX17" fmla="*/ 717550 w 1146175"/>
                    <a:gd name="connsiteY17" fmla="*/ 215322 h 1658354"/>
                    <a:gd name="connsiteX18" fmla="*/ 733425 w 1146175"/>
                    <a:gd name="connsiteY18" fmla="*/ 208972 h 1658354"/>
                    <a:gd name="connsiteX19" fmla="*/ 771525 w 1146175"/>
                    <a:gd name="connsiteY19" fmla="*/ 202622 h 1658354"/>
                    <a:gd name="connsiteX20" fmla="*/ 796925 w 1146175"/>
                    <a:gd name="connsiteY20" fmla="*/ 193097 h 1658354"/>
                    <a:gd name="connsiteX21" fmla="*/ 838200 w 1146175"/>
                    <a:gd name="connsiteY21" fmla="*/ 183572 h 1658354"/>
                    <a:gd name="connsiteX22" fmla="*/ 879475 w 1146175"/>
                    <a:gd name="connsiteY22" fmla="*/ 202622 h 1658354"/>
                    <a:gd name="connsiteX23" fmla="*/ 885825 w 1146175"/>
                    <a:gd name="connsiteY23" fmla="*/ 212147 h 1658354"/>
                    <a:gd name="connsiteX24" fmla="*/ 901700 w 1146175"/>
                    <a:gd name="connsiteY24" fmla="*/ 228022 h 1658354"/>
                    <a:gd name="connsiteX25" fmla="*/ 917575 w 1146175"/>
                    <a:gd name="connsiteY25" fmla="*/ 240722 h 1658354"/>
                    <a:gd name="connsiteX26" fmla="*/ 936625 w 1146175"/>
                    <a:gd name="connsiteY26" fmla="*/ 253422 h 1658354"/>
                    <a:gd name="connsiteX27" fmla="*/ 955675 w 1146175"/>
                    <a:gd name="connsiteY27" fmla="*/ 275647 h 1658354"/>
                    <a:gd name="connsiteX28" fmla="*/ 974725 w 1146175"/>
                    <a:gd name="connsiteY28" fmla="*/ 301047 h 1658354"/>
                    <a:gd name="connsiteX29" fmla="*/ 968375 w 1146175"/>
                    <a:gd name="connsiteY29" fmla="*/ 335972 h 1658354"/>
                    <a:gd name="connsiteX30" fmla="*/ 965200 w 1146175"/>
                    <a:gd name="connsiteY30" fmla="*/ 345497 h 1658354"/>
                    <a:gd name="connsiteX31" fmla="*/ 949325 w 1146175"/>
                    <a:gd name="connsiteY31" fmla="*/ 364547 h 1658354"/>
                    <a:gd name="connsiteX32" fmla="*/ 939800 w 1146175"/>
                    <a:gd name="connsiteY32" fmla="*/ 386772 h 1658354"/>
                    <a:gd name="connsiteX33" fmla="*/ 936625 w 1146175"/>
                    <a:gd name="connsiteY33" fmla="*/ 399472 h 1658354"/>
                    <a:gd name="connsiteX34" fmla="*/ 930275 w 1146175"/>
                    <a:gd name="connsiteY34" fmla="*/ 415347 h 1658354"/>
                    <a:gd name="connsiteX35" fmla="*/ 927100 w 1146175"/>
                    <a:gd name="connsiteY35" fmla="*/ 428047 h 1658354"/>
                    <a:gd name="connsiteX36" fmla="*/ 920750 w 1146175"/>
                    <a:gd name="connsiteY36" fmla="*/ 443922 h 1658354"/>
                    <a:gd name="connsiteX37" fmla="*/ 917575 w 1146175"/>
                    <a:gd name="connsiteY37" fmla="*/ 456622 h 1658354"/>
                    <a:gd name="connsiteX38" fmla="*/ 914400 w 1146175"/>
                    <a:gd name="connsiteY38" fmla="*/ 466147 h 1658354"/>
                    <a:gd name="connsiteX39" fmla="*/ 917575 w 1146175"/>
                    <a:gd name="connsiteY39" fmla="*/ 504247 h 1658354"/>
                    <a:gd name="connsiteX40" fmla="*/ 923925 w 1146175"/>
                    <a:gd name="connsiteY40" fmla="*/ 516947 h 1658354"/>
                    <a:gd name="connsiteX41" fmla="*/ 939800 w 1146175"/>
                    <a:gd name="connsiteY41" fmla="*/ 535997 h 1658354"/>
                    <a:gd name="connsiteX42" fmla="*/ 942975 w 1146175"/>
                    <a:gd name="connsiteY42" fmla="*/ 545522 h 1658354"/>
                    <a:gd name="connsiteX43" fmla="*/ 955675 w 1146175"/>
                    <a:gd name="connsiteY43" fmla="*/ 570922 h 1658354"/>
                    <a:gd name="connsiteX44" fmla="*/ 968375 w 1146175"/>
                    <a:gd name="connsiteY44" fmla="*/ 612197 h 1658354"/>
                    <a:gd name="connsiteX45" fmla="*/ 974725 w 1146175"/>
                    <a:gd name="connsiteY45" fmla="*/ 624897 h 1658354"/>
                    <a:gd name="connsiteX46" fmla="*/ 981075 w 1146175"/>
                    <a:gd name="connsiteY46" fmla="*/ 643947 h 1658354"/>
                    <a:gd name="connsiteX47" fmla="*/ 993775 w 1146175"/>
                    <a:gd name="connsiteY47" fmla="*/ 647122 h 1658354"/>
                    <a:gd name="connsiteX48" fmla="*/ 1012825 w 1146175"/>
                    <a:gd name="connsiteY48" fmla="*/ 650297 h 1658354"/>
                    <a:gd name="connsiteX49" fmla="*/ 1041400 w 1146175"/>
                    <a:gd name="connsiteY49" fmla="*/ 662997 h 1658354"/>
                    <a:gd name="connsiteX50" fmla="*/ 1050925 w 1146175"/>
                    <a:gd name="connsiteY50" fmla="*/ 666172 h 1658354"/>
                    <a:gd name="connsiteX51" fmla="*/ 1066800 w 1146175"/>
                    <a:gd name="connsiteY51" fmla="*/ 675697 h 1658354"/>
                    <a:gd name="connsiteX52" fmla="*/ 1089025 w 1146175"/>
                    <a:gd name="connsiteY52" fmla="*/ 685222 h 1658354"/>
                    <a:gd name="connsiteX53" fmla="*/ 1117600 w 1146175"/>
                    <a:gd name="connsiteY53" fmla="*/ 704272 h 1658354"/>
                    <a:gd name="connsiteX54" fmla="*/ 1136650 w 1146175"/>
                    <a:gd name="connsiteY54" fmla="*/ 710622 h 1658354"/>
                    <a:gd name="connsiteX55" fmla="*/ 1146175 w 1146175"/>
                    <a:gd name="connsiteY55" fmla="*/ 901122 h 1658354"/>
                    <a:gd name="connsiteX56" fmla="*/ 1127125 w 1146175"/>
                    <a:gd name="connsiteY56" fmla="*/ 910647 h 1658354"/>
                    <a:gd name="connsiteX57" fmla="*/ 1101725 w 1146175"/>
                    <a:gd name="connsiteY57" fmla="*/ 916997 h 1658354"/>
                    <a:gd name="connsiteX58" fmla="*/ 1092200 w 1146175"/>
                    <a:gd name="connsiteY58" fmla="*/ 923347 h 1658354"/>
                    <a:gd name="connsiteX59" fmla="*/ 1079500 w 1146175"/>
                    <a:gd name="connsiteY59" fmla="*/ 926522 h 1658354"/>
                    <a:gd name="connsiteX60" fmla="*/ 1069975 w 1146175"/>
                    <a:gd name="connsiteY60" fmla="*/ 936047 h 1658354"/>
                    <a:gd name="connsiteX61" fmla="*/ 1060450 w 1146175"/>
                    <a:gd name="connsiteY61" fmla="*/ 942397 h 1658354"/>
                    <a:gd name="connsiteX62" fmla="*/ 1038225 w 1146175"/>
                    <a:gd name="connsiteY62" fmla="*/ 955097 h 1658354"/>
                    <a:gd name="connsiteX63" fmla="*/ 996950 w 1146175"/>
                    <a:gd name="connsiteY63" fmla="*/ 980497 h 1658354"/>
                    <a:gd name="connsiteX64" fmla="*/ 977900 w 1146175"/>
                    <a:gd name="connsiteY64" fmla="*/ 986847 h 1658354"/>
                    <a:gd name="connsiteX65" fmla="*/ 968375 w 1146175"/>
                    <a:gd name="connsiteY65" fmla="*/ 1012247 h 1658354"/>
                    <a:gd name="connsiteX66" fmla="*/ 958850 w 1146175"/>
                    <a:gd name="connsiteY66" fmla="*/ 1037647 h 1658354"/>
                    <a:gd name="connsiteX67" fmla="*/ 955675 w 1146175"/>
                    <a:gd name="connsiteY67" fmla="*/ 1063047 h 1658354"/>
                    <a:gd name="connsiteX68" fmla="*/ 949325 w 1146175"/>
                    <a:gd name="connsiteY68" fmla="*/ 1072572 h 1658354"/>
                    <a:gd name="connsiteX69" fmla="*/ 946150 w 1146175"/>
                    <a:gd name="connsiteY69" fmla="*/ 1082097 h 1658354"/>
                    <a:gd name="connsiteX70" fmla="*/ 936625 w 1146175"/>
                    <a:gd name="connsiteY70" fmla="*/ 1097972 h 1658354"/>
                    <a:gd name="connsiteX71" fmla="*/ 923925 w 1146175"/>
                    <a:gd name="connsiteY71" fmla="*/ 1132897 h 1658354"/>
                    <a:gd name="connsiteX72" fmla="*/ 917575 w 1146175"/>
                    <a:gd name="connsiteY72" fmla="*/ 1142422 h 1658354"/>
                    <a:gd name="connsiteX73" fmla="*/ 923925 w 1146175"/>
                    <a:gd name="connsiteY73" fmla="*/ 1196397 h 1658354"/>
                    <a:gd name="connsiteX74" fmla="*/ 939800 w 1146175"/>
                    <a:gd name="connsiteY74" fmla="*/ 1218622 h 1658354"/>
                    <a:gd name="connsiteX75" fmla="*/ 946150 w 1146175"/>
                    <a:gd name="connsiteY75" fmla="*/ 1231322 h 1658354"/>
                    <a:gd name="connsiteX76" fmla="*/ 952500 w 1146175"/>
                    <a:gd name="connsiteY76" fmla="*/ 1240847 h 1658354"/>
                    <a:gd name="connsiteX77" fmla="*/ 965200 w 1146175"/>
                    <a:gd name="connsiteY77" fmla="*/ 1266247 h 1658354"/>
                    <a:gd name="connsiteX78" fmla="*/ 974725 w 1146175"/>
                    <a:gd name="connsiteY78" fmla="*/ 1288472 h 1658354"/>
                    <a:gd name="connsiteX79" fmla="*/ 977900 w 1146175"/>
                    <a:gd name="connsiteY79" fmla="*/ 1301172 h 1658354"/>
                    <a:gd name="connsiteX80" fmla="*/ 981075 w 1146175"/>
                    <a:gd name="connsiteY80" fmla="*/ 1310697 h 1658354"/>
                    <a:gd name="connsiteX81" fmla="*/ 974725 w 1146175"/>
                    <a:gd name="connsiteY81" fmla="*/ 1345622 h 1658354"/>
                    <a:gd name="connsiteX82" fmla="*/ 949325 w 1146175"/>
                    <a:gd name="connsiteY82" fmla="*/ 1377372 h 1658354"/>
                    <a:gd name="connsiteX83" fmla="*/ 939800 w 1146175"/>
                    <a:gd name="connsiteY83" fmla="*/ 1383722 h 1658354"/>
                    <a:gd name="connsiteX84" fmla="*/ 930275 w 1146175"/>
                    <a:gd name="connsiteY84" fmla="*/ 1393247 h 1658354"/>
                    <a:gd name="connsiteX85" fmla="*/ 923925 w 1146175"/>
                    <a:gd name="connsiteY85" fmla="*/ 1402772 h 1658354"/>
                    <a:gd name="connsiteX86" fmla="*/ 908050 w 1146175"/>
                    <a:gd name="connsiteY86" fmla="*/ 1412297 h 1658354"/>
                    <a:gd name="connsiteX87" fmla="*/ 895350 w 1146175"/>
                    <a:gd name="connsiteY87" fmla="*/ 1424997 h 1658354"/>
                    <a:gd name="connsiteX88" fmla="*/ 882650 w 1146175"/>
                    <a:gd name="connsiteY88" fmla="*/ 1434522 h 1658354"/>
                    <a:gd name="connsiteX89" fmla="*/ 873125 w 1146175"/>
                    <a:gd name="connsiteY89" fmla="*/ 1444047 h 1658354"/>
                    <a:gd name="connsiteX90" fmla="*/ 844550 w 1146175"/>
                    <a:gd name="connsiteY90" fmla="*/ 1459922 h 1658354"/>
                    <a:gd name="connsiteX91" fmla="*/ 835025 w 1146175"/>
                    <a:gd name="connsiteY91" fmla="*/ 1463097 h 1658354"/>
                    <a:gd name="connsiteX92" fmla="*/ 815975 w 1146175"/>
                    <a:gd name="connsiteY92" fmla="*/ 1456747 h 1658354"/>
                    <a:gd name="connsiteX93" fmla="*/ 774700 w 1146175"/>
                    <a:gd name="connsiteY93" fmla="*/ 1440872 h 1658354"/>
                    <a:gd name="connsiteX94" fmla="*/ 749300 w 1146175"/>
                    <a:gd name="connsiteY94" fmla="*/ 1434522 h 1658354"/>
                    <a:gd name="connsiteX95" fmla="*/ 717550 w 1146175"/>
                    <a:gd name="connsiteY95" fmla="*/ 1421822 h 1658354"/>
                    <a:gd name="connsiteX96" fmla="*/ 688975 w 1146175"/>
                    <a:gd name="connsiteY96" fmla="*/ 1415472 h 1658354"/>
                    <a:gd name="connsiteX97" fmla="*/ 657225 w 1146175"/>
                    <a:gd name="connsiteY97" fmla="*/ 1405947 h 1658354"/>
                    <a:gd name="connsiteX98" fmla="*/ 635000 w 1146175"/>
                    <a:gd name="connsiteY98" fmla="*/ 1409122 h 1658354"/>
                    <a:gd name="connsiteX99" fmla="*/ 622300 w 1146175"/>
                    <a:gd name="connsiteY99" fmla="*/ 1415472 h 1658354"/>
                    <a:gd name="connsiteX100" fmla="*/ 606425 w 1146175"/>
                    <a:gd name="connsiteY100" fmla="*/ 1424997 h 1658354"/>
                    <a:gd name="connsiteX101" fmla="*/ 577850 w 1146175"/>
                    <a:gd name="connsiteY101" fmla="*/ 1440872 h 1658354"/>
                    <a:gd name="connsiteX102" fmla="*/ 558800 w 1146175"/>
                    <a:gd name="connsiteY102" fmla="*/ 1444047 h 1658354"/>
                    <a:gd name="connsiteX103" fmla="*/ 501650 w 1146175"/>
                    <a:gd name="connsiteY103" fmla="*/ 1450397 h 1658354"/>
                    <a:gd name="connsiteX104" fmla="*/ 492125 w 1146175"/>
                    <a:gd name="connsiteY104" fmla="*/ 1456747 h 1658354"/>
                    <a:gd name="connsiteX105" fmla="*/ 466725 w 1146175"/>
                    <a:gd name="connsiteY105" fmla="*/ 1488497 h 1658354"/>
                    <a:gd name="connsiteX106" fmla="*/ 457200 w 1146175"/>
                    <a:gd name="connsiteY106" fmla="*/ 1507547 h 1658354"/>
                    <a:gd name="connsiteX107" fmla="*/ 454025 w 1146175"/>
                    <a:gd name="connsiteY107" fmla="*/ 1517072 h 1658354"/>
                    <a:gd name="connsiteX108" fmla="*/ 447675 w 1146175"/>
                    <a:gd name="connsiteY108" fmla="*/ 1532947 h 1658354"/>
                    <a:gd name="connsiteX109" fmla="*/ 434975 w 1146175"/>
                    <a:gd name="connsiteY109" fmla="*/ 1558347 h 1658354"/>
                    <a:gd name="connsiteX110" fmla="*/ 431800 w 1146175"/>
                    <a:gd name="connsiteY110" fmla="*/ 1574222 h 1658354"/>
                    <a:gd name="connsiteX111" fmla="*/ 425450 w 1146175"/>
                    <a:gd name="connsiteY111" fmla="*/ 1599622 h 1658354"/>
                    <a:gd name="connsiteX112" fmla="*/ 422275 w 1146175"/>
                    <a:gd name="connsiteY112" fmla="*/ 1609147 h 1658354"/>
                    <a:gd name="connsiteX113" fmla="*/ 412750 w 1146175"/>
                    <a:gd name="connsiteY113" fmla="*/ 1618672 h 1658354"/>
                    <a:gd name="connsiteX114" fmla="*/ 222250 w 1146175"/>
                    <a:gd name="connsiteY114" fmla="*/ 1625022 h 1658354"/>
                    <a:gd name="connsiteX115" fmla="*/ 215900 w 1146175"/>
                    <a:gd name="connsiteY115" fmla="*/ 1609147 h 1658354"/>
                    <a:gd name="connsiteX116" fmla="*/ 206375 w 1146175"/>
                    <a:gd name="connsiteY116" fmla="*/ 1596447 h 1658354"/>
                    <a:gd name="connsiteX117" fmla="*/ 203200 w 1146175"/>
                    <a:gd name="connsiteY117" fmla="*/ 1583747 h 1658354"/>
                    <a:gd name="connsiteX118" fmla="*/ 196850 w 1146175"/>
                    <a:gd name="connsiteY118" fmla="*/ 1571047 h 1658354"/>
                    <a:gd name="connsiteX119" fmla="*/ 193675 w 1146175"/>
                    <a:gd name="connsiteY119" fmla="*/ 1561522 h 1658354"/>
                    <a:gd name="connsiteX120" fmla="*/ 187325 w 1146175"/>
                    <a:gd name="connsiteY120" fmla="*/ 1548822 h 1658354"/>
                    <a:gd name="connsiteX121" fmla="*/ 180975 w 1146175"/>
                    <a:gd name="connsiteY121" fmla="*/ 1532947 h 1658354"/>
                    <a:gd name="connsiteX122" fmla="*/ 161925 w 1146175"/>
                    <a:gd name="connsiteY122" fmla="*/ 1504372 h 1658354"/>
                    <a:gd name="connsiteX123" fmla="*/ 149225 w 1146175"/>
                    <a:gd name="connsiteY123" fmla="*/ 1482147 h 1658354"/>
                    <a:gd name="connsiteX124" fmla="*/ 142875 w 1146175"/>
                    <a:gd name="connsiteY124" fmla="*/ 1466272 h 1658354"/>
                    <a:gd name="connsiteX125" fmla="*/ 130175 w 1146175"/>
                    <a:gd name="connsiteY125" fmla="*/ 1463097 h 1658354"/>
                    <a:gd name="connsiteX126" fmla="*/ 101600 w 1146175"/>
                    <a:gd name="connsiteY126" fmla="*/ 1450397 h 1658354"/>
                    <a:gd name="connsiteX127" fmla="*/ 69850 w 1146175"/>
                    <a:gd name="connsiteY127" fmla="*/ 1440872 h 1658354"/>
                    <a:gd name="connsiteX128" fmla="*/ 41275 w 1146175"/>
                    <a:gd name="connsiteY128" fmla="*/ 1428172 h 1658354"/>
                    <a:gd name="connsiteX129" fmla="*/ 31750 w 1146175"/>
                    <a:gd name="connsiteY129" fmla="*/ 1421822 h 1658354"/>
                    <a:gd name="connsiteX130" fmla="*/ 15875 w 1146175"/>
                    <a:gd name="connsiteY130" fmla="*/ 1415472 h 1658354"/>
                    <a:gd name="connsiteX131" fmla="*/ 0 w 1146175"/>
                    <a:gd name="connsiteY131" fmla="*/ 1399597 h 1658354"/>
                    <a:gd name="connsiteX0" fmla="*/ 9525 w 1146175"/>
                    <a:gd name="connsiteY0" fmla="*/ 224847 h 1658354"/>
                    <a:gd name="connsiteX1" fmla="*/ 50800 w 1146175"/>
                    <a:gd name="connsiteY1" fmla="*/ 202622 h 1658354"/>
                    <a:gd name="connsiteX2" fmla="*/ 127000 w 1146175"/>
                    <a:gd name="connsiteY2" fmla="*/ 167697 h 1658354"/>
                    <a:gd name="connsiteX3" fmla="*/ 155575 w 1146175"/>
                    <a:gd name="connsiteY3" fmla="*/ 158172 h 1658354"/>
                    <a:gd name="connsiteX4" fmla="*/ 168275 w 1146175"/>
                    <a:gd name="connsiteY4" fmla="*/ 145472 h 1658354"/>
                    <a:gd name="connsiteX5" fmla="*/ 209550 w 1146175"/>
                    <a:gd name="connsiteY5" fmla="*/ 62922 h 1658354"/>
                    <a:gd name="connsiteX6" fmla="*/ 238125 w 1146175"/>
                    <a:gd name="connsiteY6" fmla="*/ 12122 h 1658354"/>
                    <a:gd name="connsiteX7" fmla="*/ 269875 w 1146175"/>
                    <a:gd name="connsiteY7" fmla="*/ 2597 h 1658354"/>
                    <a:gd name="connsiteX8" fmla="*/ 428625 w 1146175"/>
                    <a:gd name="connsiteY8" fmla="*/ 8947 h 1658354"/>
                    <a:gd name="connsiteX9" fmla="*/ 476250 w 1146175"/>
                    <a:gd name="connsiteY9" fmla="*/ 104197 h 1658354"/>
                    <a:gd name="connsiteX10" fmla="*/ 492125 w 1146175"/>
                    <a:gd name="connsiteY10" fmla="*/ 142297 h 1658354"/>
                    <a:gd name="connsiteX11" fmla="*/ 508000 w 1146175"/>
                    <a:gd name="connsiteY11" fmla="*/ 167697 h 1658354"/>
                    <a:gd name="connsiteX12" fmla="*/ 527050 w 1146175"/>
                    <a:gd name="connsiteY12" fmla="*/ 170872 h 1658354"/>
                    <a:gd name="connsiteX13" fmla="*/ 558800 w 1146175"/>
                    <a:gd name="connsiteY13" fmla="*/ 186747 h 1658354"/>
                    <a:gd name="connsiteX14" fmla="*/ 574675 w 1146175"/>
                    <a:gd name="connsiteY14" fmla="*/ 189922 h 1658354"/>
                    <a:gd name="connsiteX15" fmla="*/ 635000 w 1146175"/>
                    <a:gd name="connsiteY15" fmla="*/ 218497 h 1658354"/>
                    <a:gd name="connsiteX16" fmla="*/ 717550 w 1146175"/>
                    <a:gd name="connsiteY16" fmla="*/ 215322 h 1658354"/>
                    <a:gd name="connsiteX17" fmla="*/ 733425 w 1146175"/>
                    <a:gd name="connsiteY17" fmla="*/ 208972 h 1658354"/>
                    <a:gd name="connsiteX18" fmla="*/ 771525 w 1146175"/>
                    <a:gd name="connsiteY18" fmla="*/ 202622 h 1658354"/>
                    <a:gd name="connsiteX19" fmla="*/ 796925 w 1146175"/>
                    <a:gd name="connsiteY19" fmla="*/ 193097 h 1658354"/>
                    <a:gd name="connsiteX20" fmla="*/ 838200 w 1146175"/>
                    <a:gd name="connsiteY20" fmla="*/ 183572 h 1658354"/>
                    <a:gd name="connsiteX21" fmla="*/ 879475 w 1146175"/>
                    <a:gd name="connsiteY21" fmla="*/ 202622 h 1658354"/>
                    <a:gd name="connsiteX22" fmla="*/ 885825 w 1146175"/>
                    <a:gd name="connsiteY22" fmla="*/ 212147 h 1658354"/>
                    <a:gd name="connsiteX23" fmla="*/ 901700 w 1146175"/>
                    <a:gd name="connsiteY23" fmla="*/ 228022 h 1658354"/>
                    <a:gd name="connsiteX24" fmla="*/ 917575 w 1146175"/>
                    <a:gd name="connsiteY24" fmla="*/ 240722 h 1658354"/>
                    <a:gd name="connsiteX25" fmla="*/ 936625 w 1146175"/>
                    <a:gd name="connsiteY25" fmla="*/ 253422 h 1658354"/>
                    <a:gd name="connsiteX26" fmla="*/ 955675 w 1146175"/>
                    <a:gd name="connsiteY26" fmla="*/ 275647 h 1658354"/>
                    <a:gd name="connsiteX27" fmla="*/ 974725 w 1146175"/>
                    <a:gd name="connsiteY27" fmla="*/ 301047 h 1658354"/>
                    <a:gd name="connsiteX28" fmla="*/ 968375 w 1146175"/>
                    <a:gd name="connsiteY28" fmla="*/ 335972 h 1658354"/>
                    <a:gd name="connsiteX29" fmla="*/ 965200 w 1146175"/>
                    <a:gd name="connsiteY29" fmla="*/ 345497 h 1658354"/>
                    <a:gd name="connsiteX30" fmla="*/ 949325 w 1146175"/>
                    <a:gd name="connsiteY30" fmla="*/ 364547 h 1658354"/>
                    <a:gd name="connsiteX31" fmla="*/ 939800 w 1146175"/>
                    <a:gd name="connsiteY31" fmla="*/ 386772 h 1658354"/>
                    <a:gd name="connsiteX32" fmla="*/ 936625 w 1146175"/>
                    <a:gd name="connsiteY32" fmla="*/ 399472 h 1658354"/>
                    <a:gd name="connsiteX33" fmla="*/ 930275 w 1146175"/>
                    <a:gd name="connsiteY33" fmla="*/ 415347 h 1658354"/>
                    <a:gd name="connsiteX34" fmla="*/ 927100 w 1146175"/>
                    <a:gd name="connsiteY34" fmla="*/ 428047 h 1658354"/>
                    <a:gd name="connsiteX35" fmla="*/ 920750 w 1146175"/>
                    <a:gd name="connsiteY35" fmla="*/ 443922 h 1658354"/>
                    <a:gd name="connsiteX36" fmla="*/ 917575 w 1146175"/>
                    <a:gd name="connsiteY36" fmla="*/ 456622 h 1658354"/>
                    <a:gd name="connsiteX37" fmla="*/ 914400 w 1146175"/>
                    <a:gd name="connsiteY37" fmla="*/ 466147 h 1658354"/>
                    <a:gd name="connsiteX38" fmla="*/ 917575 w 1146175"/>
                    <a:gd name="connsiteY38" fmla="*/ 504247 h 1658354"/>
                    <a:gd name="connsiteX39" fmla="*/ 923925 w 1146175"/>
                    <a:gd name="connsiteY39" fmla="*/ 516947 h 1658354"/>
                    <a:gd name="connsiteX40" fmla="*/ 939800 w 1146175"/>
                    <a:gd name="connsiteY40" fmla="*/ 535997 h 1658354"/>
                    <a:gd name="connsiteX41" fmla="*/ 942975 w 1146175"/>
                    <a:gd name="connsiteY41" fmla="*/ 545522 h 1658354"/>
                    <a:gd name="connsiteX42" fmla="*/ 955675 w 1146175"/>
                    <a:gd name="connsiteY42" fmla="*/ 570922 h 1658354"/>
                    <a:gd name="connsiteX43" fmla="*/ 968375 w 1146175"/>
                    <a:gd name="connsiteY43" fmla="*/ 612197 h 1658354"/>
                    <a:gd name="connsiteX44" fmla="*/ 974725 w 1146175"/>
                    <a:gd name="connsiteY44" fmla="*/ 624897 h 1658354"/>
                    <a:gd name="connsiteX45" fmla="*/ 981075 w 1146175"/>
                    <a:gd name="connsiteY45" fmla="*/ 643947 h 1658354"/>
                    <a:gd name="connsiteX46" fmla="*/ 993775 w 1146175"/>
                    <a:gd name="connsiteY46" fmla="*/ 647122 h 1658354"/>
                    <a:gd name="connsiteX47" fmla="*/ 1012825 w 1146175"/>
                    <a:gd name="connsiteY47" fmla="*/ 650297 h 1658354"/>
                    <a:gd name="connsiteX48" fmla="*/ 1041400 w 1146175"/>
                    <a:gd name="connsiteY48" fmla="*/ 662997 h 1658354"/>
                    <a:gd name="connsiteX49" fmla="*/ 1050925 w 1146175"/>
                    <a:gd name="connsiteY49" fmla="*/ 666172 h 1658354"/>
                    <a:gd name="connsiteX50" fmla="*/ 1066800 w 1146175"/>
                    <a:gd name="connsiteY50" fmla="*/ 675697 h 1658354"/>
                    <a:gd name="connsiteX51" fmla="*/ 1089025 w 1146175"/>
                    <a:gd name="connsiteY51" fmla="*/ 685222 h 1658354"/>
                    <a:gd name="connsiteX52" fmla="*/ 1117600 w 1146175"/>
                    <a:gd name="connsiteY52" fmla="*/ 704272 h 1658354"/>
                    <a:gd name="connsiteX53" fmla="*/ 1136650 w 1146175"/>
                    <a:gd name="connsiteY53" fmla="*/ 710622 h 1658354"/>
                    <a:gd name="connsiteX54" fmla="*/ 1146175 w 1146175"/>
                    <a:gd name="connsiteY54" fmla="*/ 901122 h 1658354"/>
                    <a:gd name="connsiteX55" fmla="*/ 1127125 w 1146175"/>
                    <a:gd name="connsiteY55" fmla="*/ 910647 h 1658354"/>
                    <a:gd name="connsiteX56" fmla="*/ 1101725 w 1146175"/>
                    <a:gd name="connsiteY56" fmla="*/ 916997 h 1658354"/>
                    <a:gd name="connsiteX57" fmla="*/ 1092200 w 1146175"/>
                    <a:gd name="connsiteY57" fmla="*/ 923347 h 1658354"/>
                    <a:gd name="connsiteX58" fmla="*/ 1079500 w 1146175"/>
                    <a:gd name="connsiteY58" fmla="*/ 926522 h 1658354"/>
                    <a:gd name="connsiteX59" fmla="*/ 1069975 w 1146175"/>
                    <a:gd name="connsiteY59" fmla="*/ 936047 h 1658354"/>
                    <a:gd name="connsiteX60" fmla="*/ 1060450 w 1146175"/>
                    <a:gd name="connsiteY60" fmla="*/ 942397 h 1658354"/>
                    <a:gd name="connsiteX61" fmla="*/ 1038225 w 1146175"/>
                    <a:gd name="connsiteY61" fmla="*/ 955097 h 1658354"/>
                    <a:gd name="connsiteX62" fmla="*/ 996950 w 1146175"/>
                    <a:gd name="connsiteY62" fmla="*/ 980497 h 1658354"/>
                    <a:gd name="connsiteX63" fmla="*/ 977900 w 1146175"/>
                    <a:gd name="connsiteY63" fmla="*/ 986847 h 1658354"/>
                    <a:gd name="connsiteX64" fmla="*/ 968375 w 1146175"/>
                    <a:gd name="connsiteY64" fmla="*/ 1012247 h 1658354"/>
                    <a:gd name="connsiteX65" fmla="*/ 958850 w 1146175"/>
                    <a:gd name="connsiteY65" fmla="*/ 1037647 h 1658354"/>
                    <a:gd name="connsiteX66" fmla="*/ 955675 w 1146175"/>
                    <a:gd name="connsiteY66" fmla="*/ 1063047 h 1658354"/>
                    <a:gd name="connsiteX67" fmla="*/ 949325 w 1146175"/>
                    <a:gd name="connsiteY67" fmla="*/ 1072572 h 1658354"/>
                    <a:gd name="connsiteX68" fmla="*/ 946150 w 1146175"/>
                    <a:gd name="connsiteY68" fmla="*/ 1082097 h 1658354"/>
                    <a:gd name="connsiteX69" fmla="*/ 936625 w 1146175"/>
                    <a:gd name="connsiteY69" fmla="*/ 1097972 h 1658354"/>
                    <a:gd name="connsiteX70" fmla="*/ 923925 w 1146175"/>
                    <a:gd name="connsiteY70" fmla="*/ 1132897 h 1658354"/>
                    <a:gd name="connsiteX71" fmla="*/ 917575 w 1146175"/>
                    <a:gd name="connsiteY71" fmla="*/ 1142422 h 1658354"/>
                    <a:gd name="connsiteX72" fmla="*/ 923925 w 1146175"/>
                    <a:gd name="connsiteY72" fmla="*/ 1196397 h 1658354"/>
                    <a:gd name="connsiteX73" fmla="*/ 939800 w 1146175"/>
                    <a:gd name="connsiteY73" fmla="*/ 1218622 h 1658354"/>
                    <a:gd name="connsiteX74" fmla="*/ 946150 w 1146175"/>
                    <a:gd name="connsiteY74" fmla="*/ 1231322 h 1658354"/>
                    <a:gd name="connsiteX75" fmla="*/ 952500 w 1146175"/>
                    <a:gd name="connsiteY75" fmla="*/ 1240847 h 1658354"/>
                    <a:gd name="connsiteX76" fmla="*/ 965200 w 1146175"/>
                    <a:gd name="connsiteY76" fmla="*/ 1266247 h 1658354"/>
                    <a:gd name="connsiteX77" fmla="*/ 974725 w 1146175"/>
                    <a:gd name="connsiteY77" fmla="*/ 1288472 h 1658354"/>
                    <a:gd name="connsiteX78" fmla="*/ 977900 w 1146175"/>
                    <a:gd name="connsiteY78" fmla="*/ 1301172 h 1658354"/>
                    <a:gd name="connsiteX79" fmla="*/ 981075 w 1146175"/>
                    <a:gd name="connsiteY79" fmla="*/ 1310697 h 1658354"/>
                    <a:gd name="connsiteX80" fmla="*/ 974725 w 1146175"/>
                    <a:gd name="connsiteY80" fmla="*/ 1345622 h 1658354"/>
                    <a:gd name="connsiteX81" fmla="*/ 949325 w 1146175"/>
                    <a:gd name="connsiteY81" fmla="*/ 1377372 h 1658354"/>
                    <a:gd name="connsiteX82" fmla="*/ 939800 w 1146175"/>
                    <a:gd name="connsiteY82" fmla="*/ 1383722 h 1658354"/>
                    <a:gd name="connsiteX83" fmla="*/ 930275 w 1146175"/>
                    <a:gd name="connsiteY83" fmla="*/ 1393247 h 1658354"/>
                    <a:gd name="connsiteX84" fmla="*/ 923925 w 1146175"/>
                    <a:gd name="connsiteY84" fmla="*/ 1402772 h 1658354"/>
                    <a:gd name="connsiteX85" fmla="*/ 908050 w 1146175"/>
                    <a:gd name="connsiteY85" fmla="*/ 1412297 h 1658354"/>
                    <a:gd name="connsiteX86" fmla="*/ 895350 w 1146175"/>
                    <a:gd name="connsiteY86" fmla="*/ 1424997 h 1658354"/>
                    <a:gd name="connsiteX87" fmla="*/ 882650 w 1146175"/>
                    <a:gd name="connsiteY87" fmla="*/ 1434522 h 1658354"/>
                    <a:gd name="connsiteX88" fmla="*/ 873125 w 1146175"/>
                    <a:gd name="connsiteY88" fmla="*/ 1444047 h 1658354"/>
                    <a:gd name="connsiteX89" fmla="*/ 844550 w 1146175"/>
                    <a:gd name="connsiteY89" fmla="*/ 1459922 h 1658354"/>
                    <a:gd name="connsiteX90" fmla="*/ 835025 w 1146175"/>
                    <a:gd name="connsiteY90" fmla="*/ 1463097 h 1658354"/>
                    <a:gd name="connsiteX91" fmla="*/ 815975 w 1146175"/>
                    <a:gd name="connsiteY91" fmla="*/ 1456747 h 1658354"/>
                    <a:gd name="connsiteX92" fmla="*/ 774700 w 1146175"/>
                    <a:gd name="connsiteY92" fmla="*/ 1440872 h 1658354"/>
                    <a:gd name="connsiteX93" fmla="*/ 749300 w 1146175"/>
                    <a:gd name="connsiteY93" fmla="*/ 1434522 h 1658354"/>
                    <a:gd name="connsiteX94" fmla="*/ 717550 w 1146175"/>
                    <a:gd name="connsiteY94" fmla="*/ 1421822 h 1658354"/>
                    <a:gd name="connsiteX95" fmla="*/ 688975 w 1146175"/>
                    <a:gd name="connsiteY95" fmla="*/ 1415472 h 1658354"/>
                    <a:gd name="connsiteX96" fmla="*/ 657225 w 1146175"/>
                    <a:gd name="connsiteY96" fmla="*/ 1405947 h 1658354"/>
                    <a:gd name="connsiteX97" fmla="*/ 635000 w 1146175"/>
                    <a:gd name="connsiteY97" fmla="*/ 1409122 h 1658354"/>
                    <a:gd name="connsiteX98" fmla="*/ 622300 w 1146175"/>
                    <a:gd name="connsiteY98" fmla="*/ 1415472 h 1658354"/>
                    <a:gd name="connsiteX99" fmla="*/ 606425 w 1146175"/>
                    <a:gd name="connsiteY99" fmla="*/ 1424997 h 1658354"/>
                    <a:gd name="connsiteX100" fmla="*/ 577850 w 1146175"/>
                    <a:gd name="connsiteY100" fmla="*/ 1440872 h 1658354"/>
                    <a:gd name="connsiteX101" fmla="*/ 558800 w 1146175"/>
                    <a:gd name="connsiteY101" fmla="*/ 1444047 h 1658354"/>
                    <a:gd name="connsiteX102" fmla="*/ 501650 w 1146175"/>
                    <a:gd name="connsiteY102" fmla="*/ 1450397 h 1658354"/>
                    <a:gd name="connsiteX103" fmla="*/ 492125 w 1146175"/>
                    <a:gd name="connsiteY103" fmla="*/ 1456747 h 1658354"/>
                    <a:gd name="connsiteX104" fmla="*/ 466725 w 1146175"/>
                    <a:gd name="connsiteY104" fmla="*/ 1488497 h 1658354"/>
                    <a:gd name="connsiteX105" fmla="*/ 457200 w 1146175"/>
                    <a:gd name="connsiteY105" fmla="*/ 1507547 h 1658354"/>
                    <a:gd name="connsiteX106" fmla="*/ 454025 w 1146175"/>
                    <a:gd name="connsiteY106" fmla="*/ 1517072 h 1658354"/>
                    <a:gd name="connsiteX107" fmla="*/ 447675 w 1146175"/>
                    <a:gd name="connsiteY107" fmla="*/ 1532947 h 1658354"/>
                    <a:gd name="connsiteX108" fmla="*/ 434975 w 1146175"/>
                    <a:gd name="connsiteY108" fmla="*/ 1558347 h 1658354"/>
                    <a:gd name="connsiteX109" fmla="*/ 431800 w 1146175"/>
                    <a:gd name="connsiteY109" fmla="*/ 1574222 h 1658354"/>
                    <a:gd name="connsiteX110" fmla="*/ 425450 w 1146175"/>
                    <a:gd name="connsiteY110" fmla="*/ 1599622 h 1658354"/>
                    <a:gd name="connsiteX111" fmla="*/ 422275 w 1146175"/>
                    <a:gd name="connsiteY111" fmla="*/ 1609147 h 1658354"/>
                    <a:gd name="connsiteX112" fmla="*/ 412750 w 1146175"/>
                    <a:gd name="connsiteY112" fmla="*/ 1618672 h 1658354"/>
                    <a:gd name="connsiteX113" fmla="*/ 222250 w 1146175"/>
                    <a:gd name="connsiteY113" fmla="*/ 1625022 h 1658354"/>
                    <a:gd name="connsiteX114" fmla="*/ 215900 w 1146175"/>
                    <a:gd name="connsiteY114" fmla="*/ 1609147 h 1658354"/>
                    <a:gd name="connsiteX115" fmla="*/ 206375 w 1146175"/>
                    <a:gd name="connsiteY115" fmla="*/ 1596447 h 1658354"/>
                    <a:gd name="connsiteX116" fmla="*/ 203200 w 1146175"/>
                    <a:gd name="connsiteY116" fmla="*/ 1583747 h 1658354"/>
                    <a:gd name="connsiteX117" fmla="*/ 196850 w 1146175"/>
                    <a:gd name="connsiteY117" fmla="*/ 1571047 h 1658354"/>
                    <a:gd name="connsiteX118" fmla="*/ 193675 w 1146175"/>
                    <a:gd name="connsiteY118" fmla="*/ 1561522 h 1658354"/>
                    <a:gd name="connsiteX119" fmla="*/ 187325 w 1146175"/>
                    <a:gd name="connsiteY119" fmla="*/ 1548822 h 1658354"/>
                    <a:gd name="connsiteX120" fmla="*/ 180975 w 1146175"/>
                    <a:gd name="connsiteY120" fmla="*/ 1532947 h 1658354"/>
                    <a:gd name="connsiteX121" fmla="*/ 161925 w 1146175"/>
                    <a:gd name="connsiteY121" fmla="*/ 1504372 h 1658354"/>
                    <a:gd name="connsiteX122" fmla="*/ 149225 w 1146175"/>
                    <a:gd name="connsiteY122" fmla="*/ 1482147 h 1658354"/>
                    <a:gd name="connsiteX123" fmla="*/ 142875 w 1146175"/>
                    <a:gd name="connsiteY123" fmla="*/ 1466272 h 1658354"/>
                    <a:gd name="connsiteX124" fmla="*/ 130175 w 1146175"/>
                    <a:gd name="connsiteY124" fmla="*/ 1463097 h 1658354"/>
                    <a:gd name="connsiteX125" fmla="*/ 101600 w 1146175"/>
                    <a:gd name="connsiteY125" fmla="*/ 1450397 h 1658354"/>
                    <a:gd name="connsiteX126" fmla="*/ 69850 w 1146175"/>
                    <a:gd name="connsiteY126" fmla="*/ 1440872 h 1658354"/>
                    <a:gd name="connsiteX127" fmla="*/ 41275 w 1146175"/>
                    <a:gd name="connsiteY127" fmla="*/ 1428172 h 1658354"/>
                    <a:gd name="connsiteX128" fmla="*/ 31750 w 1146175"/>
                    <a:gd name="connsiteY128" fmla="*/ 1421822 h 1658354"/>
                    <a:gd name="connsiteX129" fmla="*/ 15875 w 1146175"/>
                    <a:gd name="connsiteY129" fmla="*/ 1415472 h 1658354"/>
                    <a:gd name="connsiteX130" fmla="*/ 0 w 1146175"/>
                    <a:gd name="connsiteY130" fmla="*/ 1399597 h 1658354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27050 w 1146175"/>
                    <a:gd name="connsiteY11" fmla="*/ 173616 h 1661098"/>
                    <a:gd name="connsiteX12" fmla="*/ 558800 w 1146175"/>
                    <a:gd name="connsiteY12" fmla="*/ 189491 h 1661098"/>
                    <a:gd name="connsiteX13" fmla="*/ 574675 w 1146175"/>
                    <a:gd name="connsiteY13" fmla="*/ 192666 h 1661098"/>
                    <a:gd name="connsiteX14" fmla="*/ 635000 w 1146175"/>
                    <a:gd name="connsiteY14" fmla="*/ 221241 h 1661098"/>
                    <a:gd name="connsiteX15" fmla="*/ 717550 w 1146175"/>
                    <a:gd name="connsiteY15" fmla="*/ 218066 h 1661098"/>
                    <a:gd name="connsiteX16" fmla="*/ 733425 w 1146175"/>
                    <a:gd name="connsiteY16" fmla="*/ 211716 h 1661098"/>
                    <a:gd name="connsiteX17" fmla="*/ 771525 w 1146175"/>
                    <a:gd name="connsiteY17" fmla="*/ 205366 h 1661098"/>
                    <a:gd name="connsiteX18" fmla="*/ 796925 w 1146175"/>
                    <a:gd name="connsiteY18" fmla="*/ 195841 h 1661098"/>
                    <a:gd name="connsiteX19" fmla="*/ 838200 w 1146175"/>
                    <a:gd name="connsiteY19" fmla="*/ 186316 h 1661098"/>
                    <a:gd name="connsiteX20" fmla="*/ 879475 w 1146175"/>
                    <a:gd name="connsiteY20" fmla="*/ 205366 h 1661098"/>
                    <a:gd name="connsiteX21" fmla="*/ 885825 w 1146175"/>
                    <a:gd name="connsiteY21" fmla="*/ 214891 h 1661098"/>
                    <a:gd name="connsiteX22" fmla="*/ 901700 w 1146175"/>
                    <a:gd name="connsiteY22" fmla="*/ 230766 h 1661098"/>
                    <a:gd name="connsiteX23" fmla="*/ 917575 w 1146175"/>
                    <a:gd name="connsiteY23" fmla="*/ 243466 h 1661098"/>
                    <a:gd name="connsiteX24" fmla="*/ 936625 w 1146175"/>
                    <a:gd name="connsiteY24" fmla="*/ 256166 h 1661098"/>
                    <a:gd name="connsiteX25" fmla="*/ 955675 w 1146175"/>
                    <a:gd name="connsiteY25" fmla="*/ 278391 h 1661098"/>
                    <a:gd name="connsiteX26" fmla="*/ 974725 w 1146175"/>
                    <a:gd name="connsiteY26" fmla="*/ 303791 h 1661098"/>
                    <a:gd name="connsiteX27" fmla="*/ 968375 w 1146175"/>
                    <a:gd name="connsiteY27" fmla="*/ 338716 h 1661098"/>
                    <a:gd name="connsiteX28" fmla="*/ 965200 w 1146175"/>
                    <a:gd name="connsiteY28" fmla="*/ 348241 h 1661098"/>
                    <a:gd name="connsiteX29" fmla="*/ 949325 w 1146175"/>
                    <a:gd name="connsiteY29" fmla="*/ 367291 h 1661098"/>
                    <a:gd name="connsiteX30" fmla="*/ 939800 w 1146175"/>
                    <a:gd name="connsiteY30" fmla="*/ 389516 h 1661098"/>
                    <a:gd name="connsiteX31" fmla="*/ 936625 w 1146175"/>
                    <a:gd name="connsiteY31" fmla="*/ 402216 h 1661098"/>
                    <a:gd name="connsiteX32" fmla="*/ 930275 w 1146175"/>
                    <a:gd name="connsiteY32" fmla="*/ 418091 h 1661098"/>
                    <a:gd name="connsiteX33" fmla="*/ 927100 w 1146175"/>
                    <a:gd name="connsiteY33" fmla="*/ 430791 h 1661098"/>
                    <a:gd name="connsiteX34" fmla="*/ 920750 w 1146175"/>
                    <a:gd name="connsiteY34" fmla="*/ 446666 h 1661098"/>
                    <a:gd name="connsiteX35" fmla="*/ 917575 w 1146175"/>
                    <a:gd name="connsiteY35" fmla="*/ 459366 h 1661098"/>
                    <a:gd name="connsiteX36" fmla="*/ 914400 w 1146175"/>
                    <a:gd name="connsiteY36" fmla="*/ 468891 h 1661098"/>
                    <a:gd name="connsiteX37" fmla="*/ 917575 w 1146175"/>
                    <a:gd name="connsiteY37" fmla="*/ 506991 h 1661098"/>
                    <a:gd name="connsiteX38" fmla="*/ 923925 w 1146175"/>
                    <a:gd name="connsiteY38" fmla="*/ 519691 h 1661098"/>
                    <a:gd name="connsiteX39" fmla="*/ 939800 w 1146175"/>
                    <a:gd name="connsiteY39" fmla="*/ 538741 h 1661098"/>
                    <a:gd name="connsiteX40" fmla="*/ 942975 w 1146175"/>
                    <a:gd name="connsiteY40" fmla="*/ 548266 h 1661098"/>
                    <a:gd name="connsiteX41" fmla="*/ 955675 w 1146175"/>
                    <a:gd name="connsiteY41" fmla="*/ 573666 h 1661098"/>
                    <a:gd name="connsiteX42" fmla="*/ 968375 w 1146175"/>
                    <a:gd name="connsiteY42" fmla="*/ 614941 h 1661098"/>
                    <a:gd name="connsiteX43" fmla="*/ 974725 w 1146175"/>
                    <a:gd name="connsiteY43" fmla="*/ 627641 h 1661098"/>
                    <a:gd name="connsiteX44" fmla="*/ 981075 w 1146175"/>
                    <a:gd name="connsiteY44" fmla="*/ 646691 h 1661098"/>
                    <a:gd name="connsiteX45" fmla="*/ 993775 w 1146175"/>
                    <a:gd name="connsiteY45" fmla="*/ 649866 h 1661098"/>
                    <a:gd name="connsiteX46" fmla="*/ 1012825 w 1146175"/>
                    <a:gd name="connsiteY46" fmla="*/ 653041 h 1661098"/>
                    <a:gd name="connsiteX47" fmla="*/ 1041400 w 1146175"/>
                    <a:gd name="connsiteY47" fmla="*/ 665741 h 1661098"/>
                    <a:gd name="connsiteX48" fmla="*/ 1050925 w 1146175"/>
                    <a:gd name="connsiteY48" fmla="*/ 668916 h 1661098"/>
                    <a:gd name="connsiteX49" fmla="*/ 1066800 w 1146175"/>
                    <a:gd name="connsiteY49" fmla="*/ 678441 h 1661098"/>
                    <a:gd name="connsiteX50" fmla="*/ 1089025 w 1146175"/>
                    <a:gd name="connsiteY50" fmla="*/ 687966 h 1661098"/>
                    <a:gd name="connsiteX51" fmla="*/ 1117600 w 1146175"/>
                    <a:gd name="connsiteY51" fmla="*/ 707016 h 1661098"/>
                    <a:gd name="connsiteX52" fmla="*/ 1136650 w 1146175"/>
                    <a:gd name="connsiteY52" fmla="*/ 713366 h 1661098"/>
                    <a:gd name="connsiteX53" fmla="*/ 1146175 w 1146175"/>
                    <a:gd name="connsiteY53" fmla="*/ 903866 h 1661098"/>
                    <a:gd name="connsiteX54" fmla="*/ 1127125 w 1146175"/>
                    <a:gd name="connsiteY54" fmla="*/ 913391 h 1661098"/>
                    <a:gd name="connsiteX55" fmla="*/ 1101725 w 1146175"/>
                    <a:gd name="connsiteY55" fmla="*/ 919741 h 1661098"/>
                    <a:gd name="connsiteX56" fmla="*/ 1092200 w 1146175"/>
                    <a:gd name="connsiteY56" fmla="*/ 926091 h 1661098"/>
                    <a:gd name="connsiteX57" fmla="*/ 1079500 w 1146175"/>
                    <a:gd name="connsiteY57" fmla="*/ 929266 h 1661098"/>
                    <a:gd name="connsiteX58" fmla="*/ 1069975 w 1146175"/>
                    <a:gd name="connsiteY58" fmla="*/ 938791 h 1661098"/>
                    <a:gd name="connsiteX59" fmla="*/ 1060450 w 1146175"/>
                    <a:gd name="connsiteY59" fmla="*/ 945141 h 1661098"/>
                    <a:gd name="connsiteX60" fmla="*/ 1038225 w 1146175"/>
                    <a:gd name="connsiteY60" fmla="*/ 957841 h 1661098"/>
                    <a:gd name="connsiteX61" fmla="*/ 996950 w 1146175"/>
                    <a:gd name="connsiteY61" fmla="*/ 983241 h 1661098"/>
                    <a:gd name="connsiteX62" fmla="*/ 977900 w 1146175"/>
                    <a:gd name="connsiteY62" fmla="*/ 989591 h 1661098"/>
                    <a:gd name="connsiteX63" fmla="*/ 968375 w 1146175"/>
                    <a:gd name="connsiteY63" fmla="*/ 1014991 h 1661098"/>
                    <a:gd name="connsiteX64" fmla="*/ 958850 w 1146175"/>
                    <a:gd name="connsiteY64" fmla="*/ 1040391 h 1661098"/>
                    <a:gd name="connsiteX65" fmla="*/ 955675 w 1146175"/>
                    <a:gd name="connsiteY65" fmla="*/ 1065791 h 1661098"/>
                    <a:gd name="connsiteX66" fmla="*/ 949325 w 1146175"/>
                    <a:gd name="connsiteY66" fmla="*/ 1075316 h 1661098"/>
                    <a:gd name="connsiteX67" fmla="*/ 946150 w 1146175"/>
                    <a:gd name="connsiteY67" fmla="*/ 1084841 h 1661098"/>
                    <a:gd name="connsiteX68" fmla="*/ 936625 w 1146175"/>
                    <a:gd name="connsiteY68" fmla="*/ 1100716 h 1661098"/>
                    <a:gd name="connsiteX69" fmla="*/ 923925 w 1146175"/>
                    <a:gd name="connsiteY69" fmla="*/ 1135641 h 1661098"/>
                    <a:gd name="connsiteX70" fmla="*/ 917575 w 1146175"/>
                    <a:gd name="connsiteY70" fmla="*/ 1145166 h 1661098"/>
                    <a:gd name="connsiteX71" fmla="*/ 923925 w 1146175"/>
                    <a:gd name="connsiteY71" fmla="*/ 1199141 h 1661098"/>
                    <a:gd name="connsiteX72" fmla="*/ 939800 w 1146175"/>
                    <a:gd name="connsiteY72" fmla="*/ 1221366 h 1661098"/>
                    <a:gd name="connsiteX73" fmla="*/ 946150 w 1146175"/>
                    <a:gd name="connsiteY73" fmla="*/ 1234066 h 1661098"/>
                    <a:gd name="connsiteX74" fmla="*/ 952500 w 1146175"/>
                    <a:gd name="connsiteY74" fmla="*/ 1243591 h 1661098"/>
                    <a:gd name="connsiteX75" fmla="*/ 965200 w 1146175"/>
                    <a:gd name="connsiteY75" fmla="*/ 1268991 h 1661098"/>
                    <a:gd name="connsiteX76" fmla="*/ 974725 w 1146175"/>
                    <a:gd name="connsiteY76" fmla="*/ 1291216 h 1661098"/>
                    <a:gd name="connsiteX77" fmla="*/ 977900 w 1146175"/>
                    <a:gd name="connsiteY77" fmla="*/ 1303916 h 1661098"/>
                    <a:gd name="connsiteX78" fmla="*/ 981075 w 1146175"/>
                    <a:gd name="connsiteY78" fmla="*/ 1313441 h 1661098"/>
                    <a:gd name="connsiteX79" fmla="*/ 974725 w 1146175"/>
                    <a:gd name="connsiteY79" fmla="*/ 1348366 h 1661098"/>
                    <a:gd name="connsiteX80" fmla="*/ 949325 w 1146175"/>
                    <a:gd name="connsiteY80" fmla="*/ 1380116 h 1661098"/>
                    <a:gd name="connsiteX81" fmla="*/ 939800 w 1146175"/>
                    <a:gd name="connsiteY81" fmla="*/ 1386466 h 1661098"/>
                    <a:gd name="connsiteX82" fmla="*/ 930275 w 1146175"/>
                    <a:gd name="connsiteY82" fmla="*/ 1395991 h 1661098"/>
                    <a:gd name="connsiteX83" fmla="*/ 923925 w 1146175"/>
                    <a:gd name="connsiteY83" fmla="*/ 1405516 h 1661098"/>
                    <a:gd name="connsiteX84" fmla="*/ 908050 w 1146175"/>
                    <a:gd name="connsiteY84" fmla="*/ 1415041 h 1661098"/>
                    <a:gd name="connsiteX85" fmla="*/ 895350 w 1146175"/>
                    <a:gd name="connsiteY85" fmla="*/ 1427741 h 1661098"/>
                    <a:gd name="connsiteX86" fmla="*/ 882650 w 1146175"/>
                    <a:gd name="connsiteY86" fmla="*/ 1437266 h 1661098"/>
                    <a:gd name="connsiteX87" fmla="*/ 873125 w 1146175"/>
                    <a:gd name="connsiteY87" fmla="*/ 1446791 h 1661098"/>
                    <a:gd name="connsiteX88" fmla="*/ 844550 w 1146175"/>
                    <a:gd name="connsiteY88" fmla="*/ 1462666 h 1661098"/>
                    <a:gd name="connsiteX89" fmla="*/ 835025 w 1146175"/>
                    <a:gd name="connsiteY89" fmla="*/ 1465841 h 1661098"/>
                    <a:gd name="connsiteX90" fmla="*/ 815975 w 1146175"/>
                    <a:gd name="connsiteY90" fmla="*/ 1459491 h 1661098"/>
                    <a:gd name="connsiteX91" fmla="*/ 774700 w 1146175"/>
                    <a:gd name="connsiteY91" fmla="*/ 1443616 h 1661098"/>
                    <a:gd name="connsiteX92" fmla="*/ 749300 w 1146175"/>
                    <a:gd name="connsiteY92" fmla="*/ 1437266 h 1661098"/>
                    <a:gd name="connsiteX93" fmla="*/ 717550 w 1146175"/>
                    <a:gd name="connsiteY93" fmla="*/ 1424566 h 1661098"/>
                    <a:gd name="connsiteX94" fmla="*/ 688975 w 1146175"/>
                    <a:gd name="connsiteY94" fmla="*/ 1418216 h 1661098"/>
                    <a:gd name="connsiteX95" fmla="*/ 657225 w 1146175"/>
                    <a:gd name="connsiteY95" fmla="*/ 1408691 h 1661098"/>
                    <a:gd name="connsiteX96" fmla="*/ 635000 w 1146175"/>
                    <a:gd name="connsiteY96" fmla="*/ 1411866 h 1661098"/>
                    <a:gd name="connsiteX97" fmla="*/ 622300 w 1146175"/>
                    <a:gd name="connsiteY97" fmla="*/ 1418216 h 1661098"/>
                    <a:gd name="connsiteX98" fmla="*/ 606425 w 1146175"/>
                    <a:gd name="connsiteY98" fmla="*/ 1427741 h 1661098"/>
                    <a:gd name="connsiteX99" fmla="*/ 577850 w 1146175"/>
                    <a:gd name="connsiteY99" fmla="*/ 1443616 h 1661098"/>
                    <a:gd name="connsiteX100" fmla="*/ 558800 w 1146175"/>
                    <a:gd name="connsiteY100" fmla="*/ 1446791 h 1661098"/>
                    <a:gd name="connsiteX101" fmla="*/ 501650 w 1146175"/>
                    <a:gd name="connsiteY101" fmla="*/ 1453141 h 1661098"/>
                    <a:gd name="connsiteX102" fmla="*/ 492125 w 1146175"/>
                    <a:gd name="connsiteY102" fmla="*/ 1459491 h 1661098"/>
                    <a:gd name="connsiteX103" fmla="*/ 466725 w 1146175"/>
                    <a:gd name="connsiteY103" fmla="*/ 1491241 h 1661098"/>
                    <a:gd name="connsiteX104" fmla="*/ 457200 w 1146175"/>
                    <a:gd name="connsiteY104" fmla="*/ 1510291 h 1661098"/>
                    <a:gd name="connsiteX105" fmla="*/ 454025 w 1146175"/>
                    <a:gd name="connsiteY105" fmla="*/ 1519816 h 1661098"/>
                    <a:gd name="connsiteX106" fmla="*/ 447675 w 1146175"/>
                    <a:gd name="connsiteY106" fmla="*/ 1535691 h 1661098"/>
                    <a:gd name="connsiteX107" fmla="*/ 434975 w 1146175"/>
                    <a:gd name="connsiteY107" fmla="*/ 1561091 h 1661098"/>
                    <a:gd name="connsiteX108" fmla="*/ 431800 w 1146175"/>
                    <a:gd name="connsiteY108" fmla="*/ 1576966 h 1661098"/>
                    <a:gd name="connsiteX109" fmla="*/ 425450 w 1146175"/>
                    <a:gd name="connsiteY109" fmla="*/ 1602366 h 1661098"/>
                    <a:gd name="connsiteX110" fmla="*/ 422275 w 1146175"/>
                    <a:gd name="connsiteY110" fmla="*/ 1611891 h 1661098"/>
                    <a:gd name="connsiteX111" fmla="*/ 412750 w 1146175"/>
                    <a:gd name="connsiteY111" fmla="*/ 1621416 h 1661098"/>
                    <a:gd name="connsiteX112" fmla="*/ 222250 w 1146175"/>
                    <a:gd name="connsiteY112" fmla="*/ 1627766 h 1661098"/>
                    <a:gd name="connsiteX113" fmla="*/ 215900 w 1146175"/>
                    <a:gd name="connsiteY113" fmla="*/ 1611891 h 1661098"/>
                    <a:gd name="connsiteX114" fmla="*/ 206375 w 1146175"/>
                    <a:gd name="connsiteY114" fmla="*/ 1599191 h 1661098"/>
                    <a:gd name="connsiteX115" fmla="*/ 203200 w 1146175"/>
                    <a:gd name="connsiteY115" fmla="*/ 1586491 h 1661098"/>
                    <a:gd name="connsiteX116" fmla="*/ 196850 w 1146175"/>
                    <a:gd name="connsiteY116" fmla="*/ 1573791 h 1661098"/>
                    <a:gd name="connsiteX117" fmla="*/ 193675 w 1146175"/>
                    <a:gd name="connsiteY117" fmla="*/ 1564266 h 1661098"/>
                    <a:gd name="connsiteX118" fmla="*/ 187325 w 1146175"/>
                    <a:gd name="connsiteY118" fmla="*/ 1551566 h 1661098"/>
                    <a:gd name="connsiteX119" fmla="*/ 180975 w 1146175"/>
                    <a:gd name="connsiteY119" fmla="*/ 1535691 h 1661098"/>
                    <a:gd name="connsiteX120" fmla="*/ 161925 w 1146175"/>
                    <a:gd name="connsiteY120" fmla="*/ 1507116 h 1661098"/>
                    <a:gd name="connsiteX121" fmla="*/ 149225 w 1146175"/>
                    <a:gd name="connsiteY121" fmla="*/ 1484891 h 1661098"/>
                    <a:gd name="connsiteX122" fmla="*/ 142875 w 1146175"/>
                    <a:gd name="connsiteY122" fmla="*/ 1469016 h 1661098"/>
                    <a:gd name="connsiteX123" fmla="*/ 130175 w 1146175"/>
                    <a:gd name="connsiteY123" fmla="*/ 1465841 h 1661098"/>
                    <a:gd name="connsiteX124" fmla="*/ 101600 w 1146175"/>
                    <a:gd name="connsiteY124" fmla="*/ 1453141 h 1661098"/>
                    <a:gd name="connsiteX125" fmla="*/ 69850 w 1146175"/>
                    <a:gd name="connsiteY125" fmla="*/ 1443616 h 1661098"/>
                    <a:gd name="connsiteX126" fmla="*/ 41275 w 1146175"/>
                    <a:gd name="connsiteY126" fmla="*/ 1430916 h 1661098"/>
                    <a:gd name="connsiteX127" fmla="*/ 31750 w 1146175"/>
                    <a:gd name="connsiteY127" fmla="*/ 1424566 h 1661098"/>
                    <a:gd name="connsiteX128" fmla="*/ 15875 w 1146175"/>
                    <a:gd name="connsiteY128" fmla="*/ 1418216 h 1661098"/>
                    <a:gd name="connsiteX129" fmla="*/ 0 w 1146175"/>
                    <a:gd name="connsiteY129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27050 w 1146175"/>
                    <a:gd name="connsiteY11" fmla="*/ 173616 h 1661098"/>
                    <a:gd name="connsiteX12" fmla="*/ 558800 w 1146175"/>
                    <a:gd name="connsiteY12" fmla="*/ 189491 h 1661098"/>
                    <a:gd name="connsiteX13" fmla="*/ 635000 w 1146175"/>
                    <a:gd name="connsiteY13" fmla="*/ 221241 h 1661098"/>
                    <a:gd name="connsiteX14" fmla="*/ 717550 w 1146175"/>
                    <a:gd name="connsiteY14" fmla="*/ 218066 h 1661098"/>
                    <a:gd name="connsiteX15" fmla="*/ 733425 w 1146175"/>
                    <a:gd name="connsiteY15" fmla="*/ 211716 h 1661098"/>
                    <a:gd name="connsiteX16" fmla="*/ 771525 w 1146175"/>
                    <a:gd name="connsiteY16" fmla="*/ 205366 h 1661098"/>
                    <a:gd name="connsiteX17" fmla="*/ 796925 w 1146175"/>
                    <a:gd name="connsiteY17" fmla="*/ 195841 h 1661098"/>
                    <a:gd name="connsiteX18" fmla="*/ 838200 w 1146175"/>
                    <a:gd name="connsiteY18" fmla="*/ 186316 h 1661098"/>
                    <a:gd name="connsiteX19" fmla="*/ 879475 w 1146175"/>
                    <a:gd name="connsiteY19" fmla="*/ 205366 h 1661098"/>
                    <a:gd name="connsiteX20" fmla="*/ 885825 w 1146175"/>
                    <a:gd name="connsiteY20" fmla="*/ 214891 h 1661098"/>
                    <a:gd name="connsiteX21" fmla="*/ 901700 w 1146175"/>
                    <a:gd name="connsiteY21" fmla="*/ 230766 h 1661098"/>
                    <a:gd name="connsiteX22" fmla="*/ 917575 w 1146175"/>
                    <a:gd name="connsiteY22" fmla="*/ 243466 h 1661098"/>
                    <a:gd name="connsiteX23" fmla="*/ 936625 w 1146175"/>
                    <a:gd name="connsiteY23" fmla="*/ 256166 h 1661098"/>
                    <a:gd name="connsiteX24" fmla="*/ 955675 w 1146175"/>
                    <a:gd name="connsiteY24" fmla="*/ 278391 h 1661098"/>
                    <a:gd name="connsiteX25" fmla="*/ 974725 w 1146175"/>
                    <a:gd name="connsiteY25" fmla="*/ 303791 h 1661098"/>
                    <a:gd name="connsiteX26" fmla="*/ 968375 w 1146175"/>
                    <a:gd name="connsiteY26" fmla="*/ 338716 h 1661098"/>
                    <a:gd name="connsiteX27" fmla="*/ 965200 w 1146175"/>
                    <a:gd name="connsiteY27" fmla="*/ 348241 h 1661098"/>
                    <a:gd name="connsiteX28" fmla="*/ 949325 w 1146175"/>
                    <a:gd name="connsiteY28" fmla="*/ 367291 h 1661098"/>
                    <a:gd name="connsiteX29" fmla="*/ 939800 w 1146175"/>
                    <a:gd name="connsiteY29" fmla="*/ 389516 h 1661098"/>
                    <a:gd name="connsiteX30" fmla="*/ 936625 w 1146175"/>
                    <a:gd name="connsiteY30" fmla="*/ 402216 h 1661098"/>
                    <a:gd name="connsiteX31" fmla="*/ 930275 w 1146175"/>
                    <a:gd name="connsiteY31" fmla="*/ 418091 h 1661098"/>
                    <a:gd name="connsiteX32" fmla="*/ 927100 w 1146175"/>
                    <a:gd name="connsiteY32" fmla="*/ 430791 h 1661098"/>
                    <a:gd name="connsiteX33" fmla="*/ 920750 w 1146175"/>
                    <a:gd name="connsiteY33" fmla="*/ 446666 h 1661098"/>
                    <a:gd name="connsiteX34" fmla="*/ 917575 w 1146175"/>
                    <a:gd name="connsiteY34" fmla="*/ 459366 h 1661098"/>
                    <a:gd name="connsiteX35" fmla="*/ 914400 w 1146175"/>
                    <a:gd name="connsiteY35" fmla="*/ 468891 h 1661098"/>
                    <a:gd name="connsiteX36" fmla="*/ 917575 w 1146175"/>
                    <a:gd name="connsiteY36" fmla="*/ 506991 h 1661098"/>
                    <a:gd name="connsiteX37" fmla="*/ 923925 w 1146175"/>
                    <a:gd name="connsiteY37" fmla="*/ 519691 h 1661098"/>
                    <a:gd name="connsiteX38" fmla="*/ 939800 w 1146175"/>
                    <a:gd name="connsiteY38" fmla="*/ 538741 h 1661098"/>
                    <a:gd name="connsiteX39" fmla="*/ 942975 w 1146175"/>
                    <a:gd name="connsiteY39" fmla="*/ 548266 h 1661098"/>
                    <a:gd name="connsiteX40" fmla="*/ 955675 w 1146175"/>
                    <a:gd name="connsiteY40" fmla="*/ 573666 h 1661098"/>
                    <a:gd name="connsiteX41" fmla="*/ 968375 w 1146175"/>
                    <a:gd name="connsiteY41" fmla="*/ 614941 h 1661098"/>
                    <a:gd name="connsiteX42" fmla="*/ 974725 w 1146175"/>
                    <a:gd name="connsiteY42" fmla="*/ 627641 h 1661098"/>
                    <a:gd name="connsiteX43" fmla="*/ 981075 w 1146175"/>
                    <a:gd name="connsiteY43" fmla="*/ 646691 h 1661098"/>
                    <a:gd name="connsiteX44" fmla="*/ 993775 w 1146175"/>
                    <a:gd name="connsiteY44" fmla="*/ 649866 h 1661098"/>
                    <a:gd name="connsiteX45" fmla="*/ 1012825 w 1146175"/>
                    <a:gd name="connsiteY45" fmla="*/ 653041 h 1661098"/>
                    <a:gd name="connsiteX46" fmla="*/ 1041400 w 1146175"/>
                    <a:gd name="connsiteY46" fmla="*/ 665741 h 1661098"/>
                    <a:gd name="connsiteX47" fmla="*/ 1050925 w 1146175"/>
                    <a:gd name="connsiteY47" fmla="*/ 668916 h 1661098"/>
                    <a:gd name="connsiteX48" fmla="*/ 1066800 w 1146175"/>
                    <a:gd name="connsiteY48" fmla="*/ 678441 h 1661098"/>
                    <a:gd name="connsiteX49" fmla="*/ 1089025 w 1146175"/>
                    <a:gd name="connsiteY49" fmla="*/ 687966 h 1661098"/>
                    <a:gd name="connsiteX50" fmla="*/ 1117600 w 1146175"/>
                    <a:gd name="connsiteY50" fmla="*/ 707016 h 1661098"/>
                    <a:gd name="connsiteX51" fmla="*/ 1136650 w 1146175"/>
                    <a:gd name="connsiteY51" fmla="*/ 713366 h 1661098"/>
                    <a:gd name="connsiteX52" fmla="*/ 1146175 w 1146175"/>
                    <a:gd name="connsiteY52" fmla="*/ 903866 h 1661098"/>
                    <a:gd name="connsiteX53" fmla="*/ 1127125 w 1146175"/>
                    <a:gd name="connsiteY53" fmla="*/ 913391 h 1661098"/>
                    <a:gd name="connsiteX54" fmla="*/ 1101725 w 1146175"/>
                    <a:gd name="connsiteY54" fmla="*/ 919741 h 1661098"/>
                    <a:gd name="connsiteX55" fmla="*/ 1092200 w 1146175"/>
                    <a:gd name="connsiteY55" fmla="*/ 926091 h 1661098"/>
                    <a:gd name="connsiteX56" fmla="*/ 1079500 w 1146175"/>
                    <a:gd name="connsiteY56" fmla="*/ 929266 h 1661098"/>
                    <a:gd name="connsiteX57" fmla="*/ 1069975 w 1146175"/>
                    <a:gd name="connsiteY57" fmla="*/ 938791 h 1661098"/>
                    <a:gd name="connsiteX58" fmla="*/ 1060450 w 1146175"/>
                    <a:gd name="connsiteY58" fmla="*/ 945141 h 1661098"/>
                    <a:gd name="connsiteX59" fmla="*/ 1038225 w 1146175"/>
                    <a:gd name="connsiteY59" fmla="*/ 957841 h 1661098"/>
                    <a:gd name="connsiteX60" fmla="*/ 996950 w 1146175"/>
                    <a:gd name="connsiteY60" fmla="*/ 983241 h 1661098"/>
                    <a:gd name="connsiteX61" fmla="*/ 977900 w 1146175"/>
                    <a:gd name="connsiteY61" fmla="*/ 989591 h 1661098"/>
                    <a:gd name="connsiteX62" fmla="*/ 968375 w 1146175"/>
                    <a:gd name="connsiteY62" fmla="*/ 1014991 h 1661098"/>
                    <a:gd name="connsiteX63" fmla="*/ 958850 w 1146175"/>
                    <a:gd name="connsiteY63" fmla="*/ 1040391 h 1661098"/>
                    <a:gd name="connsiteX64" fmla="*/ 955675 w 1146175"/>
                    <a:gd name="connsiteY64" fmla="*/ 1065791 h 1661098"/>
                    <a:gd name="connsiteX65" fmla="*/ 949325 w 1146175"/>
                    <a:gd name="connsiteY65" fmla="*/ 1075316 h 1661098"/>
                    <a:gd name="connsiteX66" fmla="*/ 946150 w 1146175"/>
                    <a:gd name="connsiteY66" fmla="*/ 1084841 h 1661098"/>
                    <a:gd name="connsiteX67" fmla="*/ 936625 w 1146175"/>
                    <a:gd name="connsiteY67" fmla="*/ 1100716 h 1661098"/>
                    <a:gd name="connsiteX68" fmla="*/ 923925 w 1146175"/>
                    <a:gd name="connsiteY68" fmla="*/ 1135641 h 1661098"/>
                    <a:gd name="connsiteX69" fmla="*/ 917575 w 1146175"/>
                    <a:gd name="connsiteY69" fmla="*/ 1145166 h 1661098"/>
                    <a:gd name="connsiteX70" fmla="*/ 923925 w 1146175"/>
                    <a:gd name="connsiteY70" fmla="*/ 1199141 h 1661098"/>
                    <a:gd name="connsiteX71" fmla="*/ 939800 w 1146175"/>
                    <a:gd name="connsiteY71" fmla="*/ 1221366 h 1661098"/>
                    <a:gd name="connsiteX72" fmla="*/ 946150 w 1146175"/>
                    <a:gd name="connsiteY72" fmla="*/ 1234066 h 1661098"/>
                    <a:gd name="connsiteX73" fmla="*/ 952500 w 1146175"/>
                    <a:gd name="connsiteY73" fmla="*/ 1243591 h 1661098"/>
                    <a:gd name="connsiteX74" fmla="*/ 965200 w 1146175"/>
                    <a:gd name="connsiteY74" fmla="*/ 1268991 h 1661098"/>
                    <a:gd name="connsiteX75" fmla="*/ 974725 w 1146175"/>
                    <a:gd name="connsiteY75" fmla="*/ 1291216 h 1661098"/>
                    <a:gd name="connsiteX76" fmla="*/ 977900 w 1146175"/>
                    <a:gd name="connsiteY76" fmla="*/ 1303916 h 1661098"/>
                    <a:gd name="connsiteX77" fmla="*/ 981075 w 1146175"/>
                    <a:gd name="connsiteY77" fmla="*/ 1313441 h 1661098"/>
                    <a:gd name="connsiteX78" fmla="*/ 974725 w 1146175"/>
                    <a:gd name="connsiteY78" fmla="*/ 1348366 h 1661098"/>
                    <a:gd name="connsiteX79" fmla="*/ 949325 w 1146175"/>
                    <a:gd name="connsiteY79" fmla="*/ 1380116 h 1661098"/>
                    <a:gd name="connsiteX80" fmla="*/ 939800 w 1146175"/>
                    <a:gd name="connsiteY80" fmla="*/ 1386466 h 1661098"/>
                    <a:gd name="connsiteX81" fmla="*/ 930275 w 1146175"/>
                    <a:gd name="connsiteY81" fmla="*/ 1395991 h 1661098"/>
                    <a:gd name="connsiteX82" fmla="*/ 923925 w 1146175"/>
                    <a:gd name="connsiteY82" fmla="*/ 1405516 h 1661098"/>
                    <a:gd name="connsiteX83" fmla="*/ 908050 w 1146175"/>
                    <a:gd name="connsiteY83" fmla="*/ 1415041 h 1661098"/>
                    <a:gd name="connsiteX84" fmla="*/ 895350 w 1146175"/>
                    <a:gd name="connsiteY84" fmla="*/ 1427741 h 1661098"/>
                    <a:gd name="connsiteX85" fmla="*/ 882650 w 1146175"/>
                    <a:gd name="connsiteY85" fmla="*/ 1437266 h 1661098"/>
                    <a:gd name="connsiteX86" fmla="*/ 873125 w 1146175"/>
                    <a:gd name="connsiteY86" fmla="*/ 1446791 h 1661098"/>
                    <a:gd name="connsiteX87" fmla="*/ 844550 w 1146175"/>
                    <a:gd name="connsiteY87" fmla="*/ 1462666 h 1661098"/>
                    <a:gd name="connsiteX88" fmla="*/ 835025 w 1146175"/>
                    <a:gd name="connsiteY88" fmla="*/ 1465841 h 1661098"/>
                    <a:gd name="connsiteX89" fmla="*/ 815975 w 1146175"/>
                    <a:gd name="connsiteY89" fmla="*/ 1459491 h 1661098"/>
                    <a:gd name="connsiteX90" fmla="*/ 774700 w 1146175"/>
                    <a:gd name="connsiteY90" fmla="*/ 1443616 h 1661098"/>
                    <a:gd name="connsiteX91" fmla="*/ 749300 w 1146175"/>
                    <a:gd name="connsiteY91" fmla="*/ 1437266 h 1661098"/>
                    <a:gd name="connsiteX92" fmla="*/ 717550 w 1146175"/>
                    <a:gd name="connsiteY92" fmla="*/ 1424566 h 1661098"/>
                    <a:gd name="connsiteX93" fmla="*/ 688975 w 1146175"/>
                    <a:gd name="connsiteY93" fmla="*/ 1418216 h 1661098"/>
                    <a:gd name="connsiteX94" fmla="*/ 657225 w 1146175"/>
                    <a:gd name="connsiteY94" fmla="*/ 1408691 h 1661098"/>
                    <a:gd name="connsiteX95" fmla="*/ 635000 w 1146175"/>
                    <a:gd name="connsiteY95" fmla="*/ 1411866 h 1661098"/>
                    <a:gd name="connsiteX96" fmla="*/ 622300 w 1146175"/>
                    <a:gd name="connsiteY96" fmla="*/ 1418216 h 1661098"/>
                    <a:gd name="connsiteX97" fmla="*/ 606425 w 1146175"/>
                    <a:gd name="connsiteY97" fmla="*/ 1427741 h 1661098"/>
                    <a:gd name="connsiteX98" fmla="*/ 577850 w 1146175"/>
                    <a:gd name="connsiteY98" fmla="*/ 1443616 h 1661098"/>
                    <a:gd name="connsiteX99" fmla="*/ 558800 w 1146175"/>
                    <a:gd name="connsiteY99" fmla="*/ 1446791 h 1661098"/>
                    <a:gd name="connsiteX100" fmla="*/ 501650 w 1146175"/>
                    <a:gd name="connsiteY100" fmla="*/ 1453141 h 1661098"/>
                    <a:gd name="connsiteX101" fmla="*/ 492125 w 1146175"/>
                    <a:gd name="connsiteY101" fmla="*/ 1459491 h 1661098"/>
                    <a:gd name="connsiteX102" fmla="*/ 466725 w 1146175"/>
                    <a:gd name="connsiteY102" fmla="*/ 1491241 h 1661098"/>
                    <a:gd name="connsiteX103" fmla="*/ 457200 w 1146175"/>
                    <a:gd name="connsiteY103" fmla="*/ 1510291 h 1661098"/>
                    <a:gd name="connsiteX104" fmla="*/ 454025 w 1146175"/>
                    <a:gd name="connsiteY104" fmla="*/ 1519816 h 1661098"/>
                    <a:gd name="connsiteX105" fmla="*/ 447675 w 1146175"/>
                    <a:gd name="connsiteY105" fmla="*/ 1535691 h 1661098"/>
                    <a:gd name="connsiteX106" fmla="*/ 434975 w 1146175"/>
                    <a:gd name="connsiteY106" fmla="*/ 1561091 h 1661098"/>
                    <a:gd name="connsiteX107" fmla="*/ 431800 w 1146175"/>
                    <a:gd name="connsiteY107" fmla="*/ 1576966 h 1661098"/>
                    <a:gd name="connsiteX108" fmla="*/ 425450 w 1146175"/>
                    <a:gd name="connsiteY108" fmla="*/ 1602366 h 1661098"/>
                    <a:gd name="connsiteX109" fmla="*/ 422275 w 1146175"/>
                    <a:gd name="connsiteY109" fmla="*/ 1611891 h 1661098"/>
                    <a:gd name="connsiteX110" fmla="*/ 412750 w 1146175"/>
                    <a:gd name="connsiteY110" fmla="*/ 1621416 h 1661098"/>
                    <a:gd name="connsiteX111" fmla="*/ 222250 w 1146175"/>
                    <a:gd name="connsiteY111" fmla="*/ 1627766 h 1661098"/>
                    <a:gd name="connsiteX112" fmla="*/ 215900 w 1146175"/>
                    <a:gd name="connsiteY112" fmla="*/ 1611891 h 1661098"/>
                    <a:gd name="connsiteX113" fmla="*/ 206375 w 1146175"/>
                    <a:gd name="connsiteY113" fmla="*/ 1599191 h 1661098"/>
                    <a:gd name="connsiteX114" fmla="*/ 203200 w 1146175"/>
                    <a:gd name="connsiteY114" fmla="*/ 1586491 h 1661098"/>
                    <a:gd name="connsiteX115" fmla="*/ 196850 w 1146175"/>
                    <a:gd name="connsiteY115" fmla="*/ 1573791 h 1661098"/>
                    <a:gd name="connsiteX116" fmla="*/ 193675 w 1146175"/>
                    <a:gd name="connsiteY116" fmla="*/ 1564266 h 1661098"/>
                    <a:gd name="connsiteX117" fmla="*/ 187325 w 1146175"/>
                    <a:gd name="connsiteY117" fmla="*/ 1551566 h 1661098"/>
                    <a:gd name="connsiteX118" fmla="*/ 180975 w 1146175"/>
                    <a:gd name="connsiteY118" fmla="*/ 1535691 h 1661098"/>
                    <a:gd name="connsiteX119" fmla="*/ 161925 w 1146175"/>
                    <a:gd name="connsiteY119" fmla="*/ 1507116 h 1661098"/>
                    <a:gd name="connsiteX120" fmla="*/ 149225 w 1146175"/>
                    <a:gd name="connsiteY120" fmla="*/ 1484891 h 1661098"/>
                    <a:gd name="connsiteX121" fmla="*/ 142875 w 1146175"/>
                    <a:gd name="connsiteY121" fmla="*/ 1469016 h 1661098"/>
                    <a:gd name="connsiteX122" fmla="*/ 130175 w 1146175"/>
                    <a:gd name="connsiteY122" fmla="*/ 1465841 h 1661098"/>
                    <a:gd name="connsiteX123" fmla="*/ 101600 w 1146175"/>
                    <a:gd name="connsiteY123" fmla="*/ 1453141 h 1661098"/>
                    <a:gd name="connsiteX124" fmla="*/ 69850 w 1146175"/>
                    <a:gd name="connsiteY124" fmla="*/ 1443616 h 1661098"/>
                    <a:gd name="connsiteX125" fmla="*/ 41275 w 1146175"/>
                    <a:gd name="connsiteY125" fmla="*/ 1430916 h 1661098"/>
                    <a:gd name="connsiteX126" fmla="*/ 31750 w 1146175"/>
                    <a:gd name="connsiteY126" fmla="*/ 1424566 h 1661098"/>
                    <a:gd name="connsiteX127" fmla="*/ 15875 w 1146175"/>
                    <a:gd name="connsiteY127" fmla="*/ 1418216 h 1661098"/>
                    <a:gd name="connsiteX128" fmla="*/ 0 w 1146175"/>
                    <a:gd name="connsiteY128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733425 w 1146175"/>
                    <a:gd name="connsiteY14" fmla="*/ 211716 h 1661098"/>
                    <a:gd name="connsiteX15" fmla="*/ 771525 w 1146175"/>
                    <a:gd name="connsiteY15" fmla="*/ 205366 h 1661098"/>
                    <a:gd name="connsiteX16" fmla="*/ 796925 w 1146175"/>
                    <a:gd name="connsiteY16" fmla="*/ 195841 h 1661098"/>
                    <a:gd name="connsiteX17" fmla="*/ 838200 w 1146175"/>
                    <a:gd name="connsiteY17" fmla="*/ 186316 h 1661098"/>
                    <a:gd name="connsiteX18" fmla="*/ 879475 w 1146175"/>
                    <a:gd name="connsiteY18" fmla="*/ 205366 h 1661098"/>
                    <a:gd name="connsiteX19" fmla="*/ 885825 w 1146175"/>
                    <a:gd name="connsiteY19" fmla="*/ 214891 h 1661098"/>
                    <a:gd name="connsiteX20" fmla="*/ 901700 w 1146175"/>
                    <a:gd name="connsiteY20" fmla="*/ 230766 h 1661098"/>
                    <a:gd name="connsiteX21" fmla="*/ 917575 w 1146175"/>
                    <a:gd name="connsiteY21" fmla="*/ 243466 h 1661098"/>
                    <a:gd name="connsiteX22" fmla="*/ 936625 w 1146175"/>
                    <a:gd name="connsiteY22" fmla="*/ 256166 h 1661098"/>
                    <a:gd name="connsiteX23" fmla="*/ 955675 w 1146175"/>
                    <a:gd name="connsiteY23" fmla="*/ 278391 h 1661098"/>
                    <a:gd name="connsiteX24" fmla="*/ 974725 w 1146175"/>
                    <a:gd name="connsiteY24" fmla="*/ 303791 h 1661098"/>
                    <a:gd name="connsiteX25" fmla="*/ 968375 w 1146175"/>
                    <a:gd name="connsiteY25" fmla="*/ 338716 h 1661098"/>
                    <a:gd name="connsiteX26" fmla="*/ 965200 w 1146175"/>
                    <a:gd name="connsiteY26" fmla="*/ 348241 h 1661098"/>
                    <a:gd name="connsiteX27" fmla="*/ 949325 w 1146175"/>
                    <a:gd name="connsiteY27" fmla="*/ 367291 h 1661098"/>
                    <a:gd name="connsiteX28" fmla="*/ 939800 w 1146175"/>
                    <a:gd name="connsiteY28" fmla="*/ 389516 h 1661098"/>
                    <a:gd name="connsiteX29" fmla="*/ 936625 w 1146175"/>
                    <a:gd name="connsiteY29" fmla="*/ 402216 h 1661098"/>
                    <a:gd name="connsiteX30" fmla="*/ 930275 w 1146175"/>
                    <a:gd name="connsiteY30" fmla="*/ 418091 h 1661098"/>
                    <a:gd name="connsiteX31" fmla="*/ 927100 w 1146175"/>
                    <a:gd name="connsiteY31" fmla="*/ 430791 h 1661098"/>
                    <a:gd name="connsiteX32" fmla="*/ 920750 w 1146175"/>
                    <a:gd name="connsiteY32" fmla="*/ 446666 h 1661098"/>
                    <a:gd name="connsiteX33" fmla="*/ 917575 w 1146175"/>
                    <a:gd name="connsiteY33" fmla="*/ 459366 h 1661098"/>
                    <a:gd name="connsiteX34" fmla="*/ 914400 w 1146175"/>
                    <a:gd name="connsiteY34" fmla="*/ 468891 h 1661098"/>
                    <a:gd name="connsiteX35" fmla="*/ 917575 w 1146175"/>
                    <a:gd name="connsiteY35" fmla="*/ 506991 h 1661098"/>
                    <a:gd name="connsiteX36" fmla="*/ 923925 w 1146175"/>
                    <a:gd name="connsiteY36" fmla="*/ 519691 h 1661098"/>
                    <a:gd name="connsiteX37" fmla="*/ 939800 w 1146175"/>
                    <a:gd name="connsiteY37" fmla="*/ 538741 h 1661098"/>
                    <a:gd name="connsiteX38" fmla="*/ 942975 w 1146175"/>
                    <a:gd name="connsiteY38" fmla="*/ 548266 h 1661098"/>
                    <a:gd name="connsiteX39" fmla="*/ 955675 w 1146175"/>
                    <a:gd name="connsiteY39" fmla="*/ 573666 h 1661098"/>
                    <a:gd name="connsiteX40" fmla="*/ 968375 w 1146175"/>
                    <a:gd name="connsiteY40" fmla="*/ 614941 h 1661098"/>
                    <a:gd name="connsiteX41" fmla="*/ 974725 w 1146175"/>
                    <a:gd name="connsiteY41" fmla="*/ 627641 h 1661098"/>
                    <a:gd name="connsiteX42" fmla="*/ 981075 w 1146175"/>
                    <a:gd name="connsiteY42" fmla="*/ 646691 h 1661098"/>
                    <a:gd name="connsiteX43" fmla="*/ 993775 w 1146175"/>
                    <a:gd name="connsiteY43" fmla="*/ 649866 h 1661098"/>
                    <a:gd name="connsiteX44" fmla="*/ 1012825 w 1146175"/>
                    <a:gd name="connsiteY44" fmla="*/ 653041 h 1661098"/>
                    <a:gd name="connsiteX45" fmla="*/ 1041400 w 1146175"/>
                    <a:gd name="connsiteY45" fmla="*/ 665741 h 1661098"/>
                    <a:gd name="connsiteX46" fmla="*/ 1050925 w 1146175"/>
                    <a:gd name="connsiteY46" fmla="*/ 668916 h 1661098"/>
                    <a:gd name="connsiteX47" fmla="*/ 1066800 w 1146175"/>
                    <a:gd name="connsiteY47" fmla="*/ 678441 h 1661098"/>
                    <a:gd name="connsiteX48" fmla="*/ 1089025 w 1146175"/>
                    <a:gd name="connsiteY48" fmla="*/ 687966 h 1661098"/>
                    <a:gd name="connsiteX49" fmla="*/ 1117600 w 1146175"/>
                    <a:gd name="connsiteY49" fmla="*/ 707016 h 1661098"/>
                    <a:gd name="connsiteX50" fmla="*/ 1136650 w 1146175"/>
                    <a:gd name="connsiteY50" fmla="*/ 713366 h 1661098"/>
                    <a:gd name="connsiteX51" fmla="*/ 1146175 w 1146175"/>
                    <a:gd name="connsiteY51" fmla="*/ 903866 h 1661098"/>
                    <a:gd name="connsiteX52" fmla="*/ 1127125 w 1146175"/>
                    <a:gd name="connsiteY52" fmla="*/ 913391 h 1661098"/>
                    <a:gd name="connsiteX53" fmla="*/ 1101725 w 1146175"/>
                    <a:gd name="connsiteY53" fmla="*/ 919741 h 1661098"/>
                    <a:gd name="connsiteX54" fmla="*/ 1092200 w 1146175"/>
                    <a:gd name="connsiteY54" fmla="*/ 926091 h 1661098"/>
                    <a:gd name="connsiteX55" fmla="*/ 1079500 w 1146175"/>
                    <a:gd name="connsiteY55" fmla="*/ 929266 h 1661098"/>
                    <a:gd name="connsiteX56" fmla="*/ 1069975 w 1146175"/>
                    <a:gd name="connsiteY56" fmla="*/ 938791 h 1661098"/>
                    <a:gd name="connsiteX57" fmla="*/ 1060450 w 1146175"/>
                    <a:gd name="connsiteY57" fmla="*/ 945141 h 1661098"/>
                    <a:gd name="connsiteX58" fmla="*/ 1038225 w 1146175"/>
                    <a:gd name="connsiteY58" fmla="*/ 957841 h 1661098"/>
                    <a:gd name="connsiteX59" fmla="*/ 996950 w 1146175"/>
                    <a:gd name="connsiteY59" fmla="*/ 983241 h 1661098"/>
                    <a:gd name="connsiteX60" fmla="*/ 977900 w 1146175"/>
                    <a:gd name="connsiteY60" fmla="*/ 989591 h 1661098"/>
                    <a:gd name="connsiteX61" fmla="*/ 968375 w 1146175"/>
                    <a:gd name="connsiteY61" fmla="*/ 1014991 h 1661098"/>
                    <a:gd name="connsiteX62" fmla="*/ 958850 w 1146175"/>
                    <a:gd name="connsiteY62" fmla="*/ 1040391 h 1661098"/>
                    <a:gd name="connsiteX63" fmla="*/ 955675 w 1146175"/>
                    <a:gd name="connsiteY63" fmla="*/ 1065791 h 1661098"/>
                    <a:gd name="connsiteX64" fmla="*/ 949325 w 1146175"/>
                    <a:gd name="connsiteY64" fmla="*/ 1075316 h 1661098"/>
                    <a:gd name="connsiteX65" fmla="*/ 946150 w 1146175"/>
                    <a:gd name="connsiteY65" fmla="*/ 1084841 h 1661098"/>
                    <a:gd name="connsiteX66" fmla="*/ 936625 w 1146175"/>
                    <a:gd name="connsiteY66" fmla="*/ 1100716 h 1661098"/>
                    <a:gd name="connsiteX67" fmla="*/ 923925 w 1146175"/>
                    <a:gd name="connsiteY67" fmla="*/ 1135641 h 1661098"/>
                    <a:gd name="connsiteX68" fmla="*/ 917575 w 1146175"/>
                    <a:gd name="connsiteY68" fmla="*/ 1145166 h 1661098"/>
                    <a:gd name="connsiteX69" fmla="*/ 923925 w 1146175"/>
                    <a:gd name="connsiteY69" fmla="*/ 1199141 h 1661098"/>
                    <a:gd name="connsiteX70" fmla="*/ 939800 w 1146175"/>
                    <a:gd name="connsiteY70" fmla="*/ 1221366 h 1661098"/>
                    <a:gd name="connsiteX71" fmla="*/ 946150 w 1146175"/>
                    <a:gd name="connsiteY71" fmla="*/ 1234066 h 1661098"/>
                    <a:gd name="connsiteX72" fmla="*/ 952500 w 1146175"/>
                    <a:gd name="connsiteY72" fmla="*/ 1243591 h 1661098"/>
                    <a:gd name="connsiteX73" fmla="*/ 965200 w 1146175"/>
                    <a:gd name="connsiteY73" fmla="*/ 1268991 h 1661098"/>
                    <a:gd name="connsiteX74" fmla="*/ 974725 w 1146175"/>
                    <a:gd name="connsiteY74" fmla="*/ 1291216 h 1661098"/>
                    <a:gd name="connsiteX75" fmla="*/ 977900 w 1146175"/>
                    <a:gd name="connsiteY75" fmla="*/ 1303916 h 1661098"/>
                    <a:gd name="connsiteX76" fmla="*/ 981075 w 1146175"/>
                    <a:gd name="connsiteY76" fmla="*/ 1313441 h 1661098"/>
                    <a:gd name="connsiteX77" fmla="*/ 974725 w 1146175"/>
                    <a:gd name="connsiteY77" fmla="*/ 1348366 h 1661098"/>
                    <a:gd name="connsiteX78" fmla="*/ 949325 w 1146175"/>
                    <a:gd name="connsiteY78" fmla="*/ 1380116 h 1661098"/>
                    <a:gd name="connsiteX79" fmla="*/ 939800 w 1146175"/>
                    <a:gd name="connsiteY79" fmla="*/ 1386466 h 1661098"/>
                    <a:gd name="connsiteX80" fmla="*/ 930275 w 1146175"/>
                    <a:gd name="connsiteY80" fmla="*/ 1395991 h 1661098"/>
                    <a:gd name="connsiteX81" fmla="*/ 923925 w 1146175"/>
                    <a:gd name="connsiteY81" fmla="*/ 1405516 h 1661098"/>
                    <a:gd name="connsiteX82" fmla="*/ 908050 w 1146175"/>
                    <a:gd name="connsiteY82" fmla="*/ 1415041 h 1661098"/>
                    <a:gd name="connsiteX83" fmla="*/ 895350 w 1146175"/>
                    <a:gd name="connsiteY83" fmla="*/ 1427741 h 1661098"/>
                    <a:gd name="connsiteX84" fmla="*/ 882650 w 1146175"/>
                    <a:gd name="connsiteY84" fmla="*/ 1437266 h 1661098"/>
                    <a:gd name="connsiteX85" fmla="*/ 873125 w 1146175"/>
                    <a:gd name="connsiteY85" fmla="*/ 1446791 h 1661098"/>
                    <a:gd name="connsiteX86" fmla="*/ 844550 w 1146175"/>
                    <a:gd name="connsiteY86" fmla="*/ 1462666 h 1661098"/>
                    <a:gd name="connsiteX87" fmla="*/ 835025 w 1146175"/>
                    <a:gd name="connsiteY87" fmla="*/ 1465841 h 1661098"/>
                    <a:gd name="connsiteX88" fmla="*/ 815975 w 1146175"/>
                    <a:gd name="connsiteY88" fmla="*/ 1459491 h 1661098"/>
                    <a:gd name="connsiteX89" fmla="*/ 774700 w 1146175"/>
                    <a:gd name="connsiteY89" fmla="*/ 1443616 h 1661098"/>
                    <a:gd name="connsiteX90" fmla="*/ 749300 w 1146175"/>
                    <a:gd name="connsiteY90" fmla="*/ 1437266 h 1661098"/>
                    <a:gd name="connsiteX91" fmla="*/ 717550 w 1146175"/>
                    <a:gd name="connsiteY91" fmla="*/ 1424566 h 1661098"/>
                    <a:gd name="connsiteX92" fmla="*/ 688975 w 1146175"/>
                    <a:gd name="connsiteY92" fmla="*/ 1418216 h 1661098"/>
                    <a:gd name="connsiteX93" fmla="*/ 657225 w 1146175"/>
                    <a:gd name="connsiteY93" fmla="*/ 1408691 h 1661098"/>
                    <a:gd name="connsiteX94" fmla="*/ 635000 w 1146175"/>
                    <a:gd name="connsiteY94" fmla="*/ 1411866 h 1661098"/>
                    <a:gd name="connsiteX95" fmla="*/ 622300 w 1146175"/>
                    <a:gd name="connsiteY95" fmla="*/ 1418216 h 1661098"/>
                    <a:gd name="connsiteX96" fmla="*/ 606425 w 1146175"/>
                    <a:gd name="connsiteY96" fmla="*/ 1427741 h 1661098"/>
                    <a:gd name="connsiteX97" fmla="*/ 577850 w 1146175"/>
                    <a:gd name="connsiteY97" fmla="*/ 1443616 h 1661098"/>
                    <a:gd name="connsiteX98" fmla="*/ 558800 w 1146175"/>
                    <a:gd name="connsiteY98" fmla="*/ 1446791 h 1661098"/>
                    <a:gd name="connsiteX99" fmla="*/ 501650 w 1146175"/>
                    <a:gd name="connsiteY99" fmla="*/ 1453141 h 1661098"/>
                    <a:gd name="connsiteX100" fmla="*/ 492125 w 1146175"/>
                    <a:gd name="connsiteY100" fmla="*/ 1459491 h 1661098"/>
                    <a:gd name="connsiteX101" fmla="*/ 466725 w 1146175"/>
                    <a:gd name="connsiteY101" fmla="*/ 1491241 h 1661098"/>
                    <a:gd name="connsiteX102" fmla="*/ 457200 w 1146175"/>
                    <a:gd name="connsiteY102" fmla="*/ 1510291 h 1661098"/>
                    <a:gd name="connsiteX103" fmla="*/ 454025 w 1146175"/>
                    <a:gd name="connsiteY103" fmla="*/ 1519816 h 1661098"/>
                    <a:gd name="connsiteX104" fmla="*/ 447675 w 1146175"/>
                    <a:gd name="connsiteY104" fmla="*/ 1535691 h 1661098"/>
                    <a:gd name="connsiteX105" fmla="*/ 434975 w 1146175"/>
                    <a:gd name="connsiteY105" fmla="*/ 1561091 h 1661098"/>
                    <a:gd name="connsiteX106" fmla="*/ 431800 w 1146175"/>
                    <a:gd name="connsiteY106" fmla="*/ 1576966 h 1661098"/>
                    <a:gd name="connsiteX107" fmla="*/ 425450 w 1146175"/>
                    <a:gd name="connsiteY107" fmla="*/ 1602366 h 1661098"/>
                    <a:gd name="connsiteX108" fmla="*/ 422275 w 1146175"/>
                    <a:gd name="connsiteY108" fmla="*/ 1611891 h 1661098"/>
                    <a:gd name="connsiteX109" fmla="*/ 412750 w 1146175"/>
                    <a:gd name="connsiteY109" fmla="*/ 1621416 h 1661098"/>
                    <a:gd name="connsiteX110" fmla="*/ 222250 w 1146175"/>
                    <a:gd name="connsiteY110" fmla="*/ 1627766 h 1661098"/>
                    <a:gd name="connsiteX111" fmla="*/ 215900 w 1146175"/>
                    <a:gd name="connsiteY111" fmla="*/ 1611891 h 1661098"/>
                    <a:gd name="connsiteX112" fmla="*/ 206375 w 1146175"/>
                    <a:gd name="connsiteY112" fmla="*/ 1599191 h 1661098"/>
                    <a:gd name="connsiteX113" fmla="*/ 203200 w 1146175"/>
                    <a:gd name="connsiteY113" fmla="*/ 1586491 h 1661098"/>
                    <a:gd name="connsiteX114" fmla="*/ 196850 w 1146175"/>
                    <a:gd name="connsiteY114" fmla="*/ 1573791 h 1661098"/>
                    <a:gd name="connsiteX115" fmla="*/ 193675 w 1146175"/>
                    <a:gd name="connsiteY115" fmla="*/ 1564266 h 1661098"/>
                    <a:gd name="connsiteX116" fmla="*/ 187325 w 1146175"/>
                    <a:gd name="connsiteY116" fmla="*/ 1551566 h 1661098"/>
                    <a:gd name="connsiteX117" fmla="*/ 180975 w 1146175"/>
                    <a:gd name="connsiteY117" fmla="*/ 1535691 h 1661098"/>
                    <a:gd name="connsiteX118" fmla="*/ 161925 w 1146175"/>
                    <a:gd name="connsiteY118" fmla="*/ 1507116 h 1661098"/>
                    <a:gd name="connsiteX119" fmla="*/ 149225 w 1146175"/>
                    <a:gd name="connsiteY119" fmla="*/ 1484891 h 1661098"/>
                    <a:gd name="connsiteX120" fmla="*/ 142875 w 1146175"/>
                    <a:gd name="connsiteY120" fmla="*/ 1469016 h 1661098"/>
                    <a:gd name="connsiteX121" fmla="*/ 130175 w 1146175"/>
                    <a:gd name="connsiteY121" fmla="*/ 1465841 h 1661098"/>
                    <a:gd name="connsiteX122" fmla="*/ 101600 w 1146175"/>
                    <a:gd name="connsiteY122" fmla="*/ 1453141 h 1661098"/>
                    <a:gd name="connsiteX123" fmla="*/ 69850 w 1146175"/>
                    <a:gd name="connsiteY123" fmla="*/ 1443616 h 1661098"/>
                    <a:gd name="connsiteX124" fmla="*/ 41275 w 1146175"/>
                    <a:gd name="connsiteY124" fmla="*/ 1430916 h 1661098"/>
                    <a:gd name="connsiteX125" fmla="*/ 31750 w 1146175"/>
                    <a:gd name="connsiteY125" fmla="*/ 1424566 h 1661098"/>
                    <a:gd name="connsiteX126" fmla="*/ 15875 w 1146175"/>
                    <a:gd name="connsiteY126" fmla="*/ 1418216 h 1661098"/>
                    <a:gd name="connsiteX127" fmla="*/ 0 w 1146175"/>
                    <a:gd name="connsiteY127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733425 w 1146175"/>
                    <a:gd name="connsiteY14" fmla="*/ 211716 h 1661098"/>
                    <a:gd name="connsiteX15" fmla="*/ 796925 w 1146175"/>
                    <a:gd name="connsiteY15" fmla="*/ 195841 h 1661098"/>
                    <a:gd name="connsiteX16" fmla="*/ 838200 w 1146175"/>
                    <a:gd name="connsiteY16" fmla="*/ 186316 h 1661098"/>
                    <a:gd name="connsiteX17" fmla="*/ 879475 w 1146175"/>
                    <a:gd name="connsiteY17" fmla="*/ 205366 h 1661098"/>
                    <a:gd name="connsiteX18" fmla="*/ 885825 w 1146175"/>
                    <a:gd name="connsiteY18" fmla="*/ 214891 h 1661098"/>
                    <a:gd name="connsiteX19" fmla="*/ 901700 w 1146175"/>
                    <a:gd name="connsiteY19" fmla="*/ 230766 h 1661098"/>
                    <a:gd name="connsiteX20" fmla="*/ 917575 w 1146175"/>
                    <a:gd name="connsiteY20" fmla="*/ 243466 h 1661098"/>
                    <a:gd name="connsiteX21" fmla="*/ 936625 w 1146175"/>
                    <a:gd name="connsiteY21" fmla="*/ 256166 h 1661098"/>
                    <a:gd name="connsiteX22" fmla="*/ 955675 w 1146175"/>
                    <a:gd name="connsiteY22" fmla="*/ 278391 h 1661098"/>
                    <a:gd name="connsiteX23" fmla="*/ 974725 w 1146175"/>
                    <a:gd name="connsiteY23" fmla="*/ 303791 h 1661098"/>
                    <a:gd name="connsiteX24" fmla="*/ 968375 w 1146175"/>
                    <a:gd name="connsiteY24" fmla="*/ 338716 h 1661098"/>
                    <a:gd name="connsiteX25" fmla="*/ 965200 w 1146175"/>
                    <a:gd name="connsiteY25" fmla="*/ 348241 h 1661098"/>
                    <a:gd name="connsiteX26" fmla="*/ 949325 w 1146175"/>
                    <a:gd name="connsiteY26" fmla="*/ 367291 h 1661098"/>
                    <a:gd name="connsiteX27" fmla="*/ 939800 w 1146175"/>
                    <a:gd name="connsiteY27" fmla="*/ 389516 h 1661098"/>
                    <a:gd name="connsiteX28" fmla="*/ 936625 w 1146175"/>
                    <a:gd name="connsiteY28" fmla="*/ 402216 h 1661098"/>
                    <a:gd name="connsiteX29" fmla="*/ 930275 w 1146175"/>
                    <a:gd name="connsiteY29" fmla="*/ 418091 h 1661098"/>
                    <a:gd name="connsiteX30" fmla="*/ 927100 w 1146175"/>
                    <a:gd name="connsiteY30" fmla="*/ 430791 h 1661098"/>
                    <a:gd name="connsiteX31" fmla="*/ 920750 w 1146175"/>
                    <a:gd name="connsiteY31" fmla="*/ 446666 h 1661098"/>
                    <a:gd name="connsiteX32" fmla="*/ 917575 w 1146175"/>
                    <a:gd name="connsiteY32" fmla="*/ 459366 h 1661098"/>
                    <a:gd name="connsiteX33" fmla="*/ 914400 w 1146175"/>
                    <a:gd name="connsiteY33" fmla="*/ 468891 h 1661098"/>
                    <a:gd name="connsiteX34" fmla="*/ 917575 w 1146175"/>
                    <a:gd name="connsiteY34" fmla="*/ 506991 h 1661098"/>
                    <a:gd name="connsiteX35" fmla="*/ 923925 w 1146175"/>
                    <a:gd name="connsiteY35" fmla="*/ 519691 h 1661098"/>
                    <a:gd name="connsiteX36" fmla="*/ 939800 w 1146175"/>
                    <a:gd name="connsiteY36" fmla="*/ 538741 h 1661098"/>
                    <a:gd name="connsiteX37" fmla="*/ 942975 w 1146175"/>
                    <a:gd name="connsiteY37" fmla="*/ 548266 h 1661098"/>
                    <a:gd name="connsiteX38" fmla="*/ 955675 w 1146175"/>
                    <a:gd name="connsiteY38" fmla="*/ 573666 h 1661098"/>
                    <a:gd name="connsiteX39" fmla="*/ 968375 w 1146175"/>
                    <a:gd name="connsiteY39" fmla="*/ 614941 h 1661098"/>
                    <a:gd name="connsiteX40" fmla="*/ 974725 w 1146175"/>
                    <a:gd name="connsiteY40" fmla="*/ 627641 h 1661098"/>
                    <a:gd name="connsiteX41" fmla="*/ 981075 w 1146175"/>
                    <a:gd name="connsiteY41" fmla="*/ 646691 h 1661098"/>
                    <a:gd name="connsiteX42" fmla="*/ 993775 w 1146175"/>
                    <a:gd name="connsiteY42" fmla="*/ 649866 h 1661098"/>
                    <a:gd name="connsiteX43" fmla="*/ 1012825 w 1146175"/>
                    <a:gd name="connsiteY43" fmla="*/ 653041 h 1661098"/>
                    <a:gd name="connsiteX44" fmla="*/ 1041400 w 1146175"/>
                    <a:gd name="connsiteY44" fmla="*/ 665741 h 1661098"/>
                    <a:gd name="connsiteX45" fmla="*/ 1050925 w 1146175"/>
                    <a:gd name="connsiteY45" fmla="*/ 668916 h 1661098"/>
                    <a:gd name="connsiteX46" fmla="*/ 1066800 w 1146175"/>
                    <a:gd name="connsiteY46" fmla="*/ 678441 h 1661098"/>
                    <a:gd name="connsiteX47" fmla="*/ 1089025 w 1146175"/>
                    <a:gd name="connsiteY47" fmla="*/ 687966 h 1661098"/>
                    <a:gd name="connsiteX48" fmla="*/ 1117600 w 1146175"/>
                    <a:gd name="connsiteY48" fmla="*/ 707016 h 1661098"/>
                    <a:gd name="connsiteX49" fmla="*/ 1136650 w 1146175"/>
                    <a:gd name="connsiteY49" fmla="*/ 713366 h 1661098"/>
                    <a:gd name="connsiteX50" fmla="*/ 1146175 w 1146175"/>
                    <a:gd name="connsiteY50" fmla="*/ 903866 h 1661098"/>
                    <a:gd name="connsiteX51" fmla="*/ 1127125 w 1146175"/>
                    <a:gd name="connsiteY51" fmla="*/ 913391 h 1661098"/>
                    <a:gd name="connsiteX52" fmla="*/ 1101725 w 1146175"/>
                    <a:gd name="connsiteY52" fmla="*/ 919741 h 1661098"/>
                    <a:gd name="connsiteX53" fmla="*/ 1092200 w 1146175"/>
                    <a:gd name="connsiteY53" fmla="*/ 926091 h 1661098"/>
                    <a:gd name="connsiteX54" fmla="*/ 1079500 w 1146175"/>
                    <a:gd name="connsiteY54" fmla="*/ 929266 h 1661098"/>
                    <a:gd name="connsiteX55" fmla="*/ 1069975 w 1146175"/>
                    <a:gd name="connsiteY55" fmla="*/ 938791 h 1661098"/>
                    <a:gd name="connsiteX56" fmla="*/ 1060450 w 1146175"/>
                    <a:gd name="connsiteY56" fmla="*/ 945141 h 1661098"/>
                    <a:gd name="connsiteX57" fmla="*/ 1038225 w 1146175"/>
                    <a:gd name="connsiteY57" fmla="*/ 957841 h 1661098"/>
                    <a:gd name="connsiteX58" fmla="*/ 996950 w 1146175"/>
                    <a:gd name="connsiteY58" fmla="*/ 983241 h 1661098"/>
                    <a:gd name="connsiteX59" fmla="*/ 977900 w 1146175"/>
                    <a:gd name="connsiteY59" fmla="*/ 989591 h 1661098"/>
                    <a:gd name="connsiteX60" fmla="*/ 968375 w 1146175"/>
                    <a:gd name="connsiteY60" fmla="*/ 1014991 h 1661098"/>
                    <a:gd name="connsiteX61" fmla="*/ 958850 w 1146175"/>
                    <a:gd name="connsiteY61" fmla="*/ 1040391 h 1661098"/>
                    <a:gd name="connsiteX62" fmla="*/ 955675 w 1146175"/>
                    <a:gd name="connsiteY62" fmla="*/ 1065791 h 1661098"/>
                    <a:gd name="connsiteX63" fmla="*/ 949325 w 1146175"/>
                    <a:gd name="connsiteY63" fmla="*/ 1075316 h 1661098"/>
                    <a:gd name="connsiteX64" fmla="*/ 946150 w 1146175"/>
                    <a:gd name="connsiteY64" fmla="*/ 1084841 h 1661098"/>
                    <a:gd name="connsiteX65" fmla="*/ 936625 w 1146175"/>
                    <a:gd name="connsiteY65" fmla="*/ 1100716 h 1661098"/>
                    <a:gd name="connsiteX66" fmla="*/ 923925 w 1146175"/>
                    <a:gd name="connsiteY66" fmla="*/ 1135641 h 1661098"/>
                    <a:gd name="connsiteX67" fmla="*/ 917575 w 1146175"/>
                    <a:gd name="connsiteY67" fmla="*/ 1145166 h 1661098"/>
                    <a:gd name="connsiteX68" fmla="*/ 923925 w 1146175"/>
                    <a:gd name="connsiteY68" fmla="*/ 1199141 h 1661098"/>
                    <a:gd name="connsiteX69" fmla="*/ 939800 w 1146175"/>
                    <a:gd name="connsiteY69" fmla="*/ 1221366 h 1661098"/>
                    <a:gd name="connsiteX70" fmla="*/ 946150 w 1146175"/>
                    <a:gd name="connsiteY70" fmla="*/ 1234066 h 1661098"/>
                    <a:gd name="connsiteX71" fmla="*/ 952500 w 1146175"/>
                    <a:gd name="connsiteY71" fmla="*/ 1243591 h 1661098"/>
                    <a:gd name="connsiteX72" fmla="*/ 965200 w 1146175"/>
                    <a:gd name="connsiteY72" fmla="*/ 1268991 h 1661098"/>
                    <a:gd name="connsiteX73" fmla="*/ 974725 w 1146175"/>
                    <a:gd name="connsiteY73" fmla="*/ 1291216 h 1661098"/>
                    <a:gd name="connsiteX74" fmla="*/ 977900 w 1146175"/>
                    <a:gd name="connsiteY74" fmla="*/ 1303916 h 1661098"/>
                    <a:gd name="connsiteX75" fmla="*/ 981075 w 1146175"/>
                    <a:gd name="connsiteY75" fmla="*/ 1313441 h 1661098"/>
                    <a:gd name="connsiteX76" fmla="*/ 974725 w 1146175"/>
                    <a:gd name="connsiteY76" fmla="*/ 1348366 h 1661098"/>
                    <a:gd name="connsiteX77" fmla="*/ 949325 w 1146175"/>
                    <a:gd name="connsiteY77" fmla="*/ 1380116 h 1661098"/>
                    <a:gd name="connsiteX78" fmla="*/ 939800 w 1146175"/>
                    <a:gd name="connsiteY78" fmla="*/ 1386466 h 1661098"/>
                    <a:gd name="connsiteX79" fmla="*/ 930275 w 1146175"/>
                    <a:gd name="connsiteY79" fmla="*/ 1395991 h 1661098"/>
                    <a:gd name="connsiteX80" fmla="*/ 923925 w 1146175"/>
                    <a:gd name="connsiteY80" fmla="*/ 1405516 h 1661098"/>
                    <a:gd name="connsiteX81" fmla="*/ 908050 w 1146175"/>
                    <a:gd name="connsiteY81" fmla="*/ 1415041 h 1661098"/>
                    <a:gd name="connsiteX82" fmla="*/ 895350 w 1146175"/>
                    <a:gd name="connsiteY82" fmla="*/ 1427741 h 1661098"/>
                    <a:gd name="connsiteX83" fmla="*/ 882650 w 1146175"/>
                    <a:gd name="connsiteY83" fmla="*/ 1437266 h 1661098"/>
                    <a:gd name="connsiteX84" fmla="*/ 873125 w 1146175"/>
                    <a:gd name="connsiteY84" fmla="*/ 1446791 h 1661098"/>
                    <a:gd name="connsiteX85" fmla="*/ 844550 w 1146175"/>
                    <a:gd name="connsiteY85" fmla="*/ 1462666 h 1661098"/>
                    <a:gd name="connsiteX86" fmla="*/ 835025 w 1146175"/>
                    <a:gd name="connsiteY86" fmla="*/ 1465841 h 1661098"/>
                    <a:gd name="connsiteX87" fmla="*/ 815975 w 1146175"/>
                    <a:gd name="connsiteY87" fmla="*/ 1459491 h 1661098"/>
                    <a:gd name="connsiteX88" fmla="*/ 774700 w 1146175"/>
                    <a:gd name="connsiteY88" fmla="*/ 1443616 h 1661098"/>
                    <a:gd name="connsiteX89" fmla="*/ 749300 w 1146175"/>
                    <a:gd name="connsiteY89" fmla="*/ 1437266 h 1661098"/>
                    <a:gd name="connsiteX90" fmla="*/ 717550 w 1146175"/>
                    <a:gd name="connsiteY90" fmla="*/ 1424566 h 1661098"/>
                    <a:gd name="connsiteX91" fmla="*/ 688975 w 1146175"/>
                    <a:gd name="connsiteY91" fmla="*/ 1418216 h 1661098"/>
                    <a:gd name="connsiteX92" fmla="*/ 657225 w 1146175"/>
                    <a:gd name="connsiteY92" fmla="*/ 1408691 h 1661098"/>
                    <a:gd name="connsiteX93" fmla="*/ 635000 w 1146175"/>
                    <a:gd name="connsiteY93" fmla="*/ 1411866 h 1661098"/>
                    <a:gd name="connsiteX94" fmla="*/ 622300 w 1146175"/>
                    <a:gd name="connsiteY94" fmla="*/ 1418216 h 1661098"/>
                    <a:gd name="connsiteX95" fmla="*/ 606425 w 1146175"/>
                    <a:gd name="connsiteY95" fmla="*/ 1427741 h 1661098"/>
                    <a:gd name="connsiteX96" fmla="*/ 577850 w 1146175"/>
                    <a:gd name="connsiteY96" fmla="*/ 1443616 h 1661098"/>
                    <a:gd name="connsiteX97" fmla="*/ 558800 w 1146175"/>
                    <a:gd name="connsiteY97" fmla="*/ 1446791 h 1661098"/>
                    <a:gd name="connsiteX98" fmla="*/ 501650 w 1146175"/>
                    <a:gd name="connsiteY98" fmla="*/ 1453141 h 1661098"/>
                    <a:gd name="connsiteX99" fmla="*/ 492125 w 1146175"/>
                    <a:gd name="connsiteY99" fmla="*/ 1459491 h 1661098"/>
                    <a:gd name="connsiteX100" fmla="*/ 466725 w 1146175"/>
                    <a:gd name="connsiteY100" fmla="*/ 1491241 h 1661098"/>
                    <a:gd name="connsiteX101" fmla="*/ 457200 w 1146175"/>
                    <a:gd name="connsiteY101" fmla="*/ 1510291 h 1661098"/>
                    <a:gd name="connsiteX102" fmla="*/ 454025 w 1146175"/>
                    <a:gd name="connsiteY102" fmla="*/ 1519816 h 1661098"/>
                    <a:gd name="connsiteX103" fmla="*/ 447675 w 1146175"/>
                    <a:gd name="connsiteY103" fmla="*/ 1535691 h 1661098"/>
                    <a:gd name="connsiteX104" fmla="*/ 434975 w 1146175"/>
                    <a:gd name="connsiteY104" fmla="*/ 1561091 h 1661098"/>
                    <a:gd name="connsiteX105" fmla="*/ 431800 w 1146175"/>
                    <a:gd name="connsiteY105" fmla="*/ 1576966 h 1661098"/>
                    <a:gd name="connsiteX106" fmla="*/ 425450 w 1146175"/>
                    <a:gd name="connsiteY106" fmla="*/ 1602366 h 1661098"/>
                    <a:gd name="connsiteX107" fmla="*/ 422275 w 1146175"/>
                    <a:gd name="connsiteY107" fmla="*/ 1611891 h 1661098"/>
                    <a:gd name="connsiteX108" fmla="*/ 412750 w 1146175"/>
                    <a:gd name="connsiteY108" fmla="*/ 1621416 h 1661098"/>
                    <a:gd name="connsiteX109" fmla="*/ 222250 w 1146175"/>
                    <a:gd name="connsiteY109" fmla="*/ 1627766 h 1661098"/>
                    <a:gd name="connsiteX110" fmla="*/ 215900 w 1146175"/>
                    <a:gd name="connsiteY110" fmla="*/ 1611891 h 1661098"/>
                    <a:gd name="connsiteX111" fmla="*/ 206375 w 1146175"/>
                    <a:gd name="connsiteY111" fmla="*/ 1599191 h 1661098"/>
                    <a:gd name="connsiteX112" fmla="*/ 203200 w 1146175"/>
                    <a:gd name="connsiteY112" fmla="*/ 1586491 h 1661098"/>
                    <a:gd name="connsiteX113" fmla="*/ 196850 w 1146175"/>
                    <a:gd name="connsiteY113" fmla="*/ 1573791 h 1661098"/>
                    <a:gd name="connsiteX114" fmla="*/ 193675 w 1146175"/>
                    <a:gd name="connsiteY114" fmla="*/ 1564266 h 1661098"/>
                    <a:gd name="connsiteX115" fmla="*/ 187325 w 1146175"/>
                    <a:gd name="connsiteY115" fmla="*/ 1551566 h 1661098"/>
                    <a:gd name="connsiteX116" fmla="*/ 180975 w 1146175"/>
                    <a:gd name="connsiteY116" fmla="*/ 1535691 h 1661098"/>
                    <a:gd name="connsiteX117" fmla="*/ 161925 w 1146175"/>
                    <a:gd name="connsiteY117" fmla="*/ 1507116 h 1661098"/>
                    <a:gd name="connsiteX118" fmla="*/ 149225 w 1146175"/>
                    <a:gd name="connsiteY118" fmla="*/ 1484891 h 1661098"/>
                    <a:gd name="connsiteX119" fmla="*/ 142875 w 1146175"/>
                    <a:gd name="connsiteY119" fmla="*/ 1469016 h 1661098"/>
                    <a:gd name="connsiteX120" fmla="*/ 130175 w 1146175"/>
                    <a:gd name="connsiteY120" fmla="*/ 1465841 h 1661098"/>
                    <a:gd name="connsiteX121" fmla="*/ 101600 w 1146175"/>
                    <a:gd name="connsiteY121" fmla="*/ 1453141 h 1661098"/>
                    <a:gd name="connsiteX122" fmla="*/ 69850 w 1146175"/>
                    <a:gd name="connsiteY122" fmla="*/ 1443616 h 1661098"/>
                    <a:gd name="connsiteX123" fmla="*/ 41275 w 1146175"/>
                    <a:gd name="connsiteY123" fmla="*/ 1430916 h 1661098"/>
                    <a:gd name="connsiteX124" fmla="*/ 31750 w 1146175"/>
                    <a:gd name="connsiteY124" fmla="*/ 1424566 h 1661098"/>
                    <a:gd name="connsiteX125" fmla="*/ 15875 w 1146175"/>
                    <a:gd name="connsiteY125" fmla="*/ 1418216 h 1661098"/>
                    <a:gd name="connsiteX126" fmla="*/ 0 w 1146175"/>
                    <a:gd name="connsiteY126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796925 w 1146175"/>
                    <a:gd name="connsiteY14" fmla="*/ 195841 h 1661098"/>
                    <a:gd name="connsiteX15" fmla="*/ 838200 w 1146175"/>
                    <a:gd name="connsiteY15" fmla="*/ 186316 h 1661098"/>
                    <a:gd name="connsiteX16" fmla="*/ 879475 w 1146175"/>
                    <a:gd name="connsiteY16" fmla="*/ 205366 h 1661098"/>
                    <a:gd name="connsiteX17" fmla="*/ 885825 w 1146175"/>
                    <a:gd name="connsiteY17" fmla="*/ 214891 h 1661098"/>
                    <a:gd name="connsiteX18" fmla="*/ 901700 w 1146175"/>
                    <a:gd name="connsiteY18" fmla="*/ 230766 h 1661098"/>
                    <a:gd name="connsiteX19" fmla="*/ 917575 w 1146175"/>
                    <a:gd name="connsiteY19" fmla="*/ 243466 h 1661098"/>
                    <a:gd name="connsiteX20" fmla="*/ 936625 w 1146175"/>
                    <a:gd name="connsiteY20" fmla="*/ 256166 h 1661098"/>
                    <a:gd name="connsiteX21" fmla="*/ 955675 w 1146175"/>
                    <a:gd name="connsiteY21" fmla="*/ 278391 h 1661098"/>
                    <a:gd name="connsiteX22" fmla="*/ 974725 w 1146175"/>
                    <a:gd name="connsiteY22" fmla="*/ 303791 h 1661098"/>
                    <a:gd name="connsiteX23" fmla="*/ 968375 w 1146175"/>
                    <a:gd name="connsiteY23" fmla="*/ 338716 h 1661098"/>
                    <a:gd name="connsiteX24" fmla="*/ 965200 w 1146175"/>
                    <a:gd name="connsiteY24" fmla="*/ 348241 h 1661098"/>
                    <a:gd name="connsiteX25" fmla="*/ 949325 w 1146175"/>
                    <a:gd name="connsiteY25" fmla="*/ 367291 h 1661098"/>
                    <a:gd name="connsiteX26" fmla="*/ 939800 w 1146175"/>
                    <a:gd name="connsiteY26" fmla="*/ 389516 h 1661098"/>
                    <a:gd name="connsiteX27" fmla="*/ 936625 w 1146175"/>
                    <a:gd name="connsiteY27" fmla="*/ 402216 h 1661098"/>
                    <a:gd name="connsiteX28" fmla="*/ 930275 w 1146175"/>
                    <a:gd name="connsiteY28" fmla="*/ 418091 h 1661098"/>
                    <a:gd name="connsiteX29" fmla="*/ 927100 w 1146175"/>
                    <a:gd name="connsiteY29" fmla="*/ 430791 h 1661098"/>
                    <a:gd name="connsiteX30" fmla="*/ 920750 w 1146175"/>
                    <a:gd name="connsiteY30" fmla="*/ 446666 h 1661098"/>
                    <a:gd name="connsiteX31" fmla="*/ 917575 w 1146175"/>
                    <a:gd name="connsiteY31" fmla="*/ 459366 h 1661098"/>
                    <a:gd name="connsiteX32" fmla="*/ 914400 w 1146175"/>
                    <a:gd name="connsiteY32" fmla="*/ 468891 h 1661098"/>
                    <a:gd name="connsiteX33" fmla="*/ 917575 w 1146175"/>
                    <a:gd name="connsiteY33" fmla="*/ 506991 h 1661098"/>
                    <a:gd name="connsiteX34" fmla="*/ 923925 w 1146175"/>
                    <a:gd name="connsiteY34" fmla="*/ 519691 h 1661098"/>
                    <a:gd name="connsiteX35" fmla="*/ 939800 w 1146175"/>
                    <a:gd name="connsiteY35" fmla="*/ 538741 h 1661098"/>
                    <a:gd name="connsiteX36" fmla="*/ 942975 w 1146175"/>
                    <a:gd name="connsiteY36" fmla="*/ 548266 h 1661098"/>
                    <a:gd name="connsiteX37" fmla="*/ 955675 w 1146175"/>
                    <a:gd name="connsiteY37" fmla="*/ 573666 h 1661098"/>
                    <a:gd name="connsiteX38" fmla="*/ 968375 w 1146175"/>
                    <a:gd name="connsiteY38" fmla="*/ 614941 h 1661098"/>
                    <a:gd name="connsiteX39" fmla="*/ 974725 w 1146175"/>
                    <a:gd name="connsiteY39" fmla="*/ 627641 h 1661098"/>
                    <a:gd name="connsiteX40" fmla="*/ 981075 w 1146175"/>
                    <a:gd name="connsiteY40" fmla="*/ 646691 h 1661098"/>
                    <a:gd name="connsiteX41" fmla="*/ 993775 w 1146175"/>
                    <a:gd name="connsiteY41" fmla="*/ 649866 h 1661098"/>
                    <a:gd name="connsiteX42" fmla="*/ 1012825 w 1146175"/>
                    <a:gd name="connsiteY42" fmla="*/ 653041 h 1661098"/>
                    <a:gd name="connsiteX43" fmla="*/ 1041400 w 1146175"/>
                    <a:gd name="connsiteY43" fmla="*/ 665741 h 1661098"/>
                    <a:gd name="connsiteX44" fmla="*/ 1050925 w 1146175"/>
                    <a:gd name="connsiteY44" fmla="*/ 668916 h 1661098"/>
                    <a:gd name="connsiteX45" fmla="*/ 1066800 w 1146175"/>
                    <a:gd name="connsiteY45" fmla="*/ 678441 h 1661098"/>
                    <a:gd name="connsiteX46" fmla="*/ 1089025 w 1146175"/>
                    <a:gd name="connsiteY46" fmla="*/ 687966 h 1661098"/>
                    <a:gd name="connsiteX47" fmla="*/ 1117600 w 1146175"/>
                    <a:gd name="connsiteY47" fmla="*/ 707016 h 1661098"/>
                    <a:gd name="connsiteX48" fmla="*/ 1136650 w 1146175"/>
                    <a:gd name="connsiteY48" fmla="*/ 713366 h 1661098"/>
                    <a:gd name="connsiteX49" fmla="*/ 1146175 w 1146175"/>
                    <a:gd name="connsiteY49" fmla="*/ 903866 h 1661098"/>
                    <a:gd name="connsiteX50" fmla="*/ 1127125 w 1146175"/>
                    <a:gd name="connsiteY50" fmla="*/ 913391 h 1661098"/>
                    <a:gd name="connsiteX51" fmla="*/ 1101725 w 1146175"/>
                    <a:gd name="connsiteY51" fmla="*/ 919741 h 1661098"/>
                    <a:gd name="connsiteX52" fmla="*/ 1092200 w 1146175"/>
                    <a:gd name="connsiteY52" fmla="*/ 926091 h 1661098"/>
                    <a:gd name="connsiteX53" fmla="*/ 1079500 w 1146175"/>
                    <a:gd name="connsiteY53" fmla="*/ 929266 h 1661098"/>
                    <a:gd name="connsiteX54" fmla="*/ 1069975 w 1146175"/>
                    <a:gd name="connsiteY54" fmla="*/ 938791 h 1661098"/>
                    <a:gd name="connsiteX55" fmla="*/ 1060450 w 1146175"/>
                    <a:gd name="connsiteY55" fmla="*/ 945141 h 1661098"/>
                    <a:gd name="connsiteX56" fmla="*/ 1038225 w 1146175"/>
                    <a:gd name="connsiteY56" fmla="*/ 957841 h 1661098"/>
                    <a:gd name="connsiteX57" fmla="*/ 996950 w 1146175"/>
                    <a:gd name="connsiteY57" fmla="*/ 983241 h 1661098"/>
                    <a:gd name="connsiteX58" fmla="*/ 977900 w 1146175"/>
                    <a:gd name="connsiteY58" fmla="*/ 989591 h 1661098"/>
                    <a:gd name="connsiteX59" fmla="*/ 968375 w 1146175"/>
                    <a:gd name="connsiteY59" fmla="*/ 1014991 h 1661098"/>
                    <a:gd name="connsiteX60" fmla="*/ 958850 w 1146175"/>
                    <a:gd name="connsiteY60" fmla="*/ 1040391 h 1661098"/>
                    <a:gd name="connsiteX61" fmla="*/ 955675 w 1146175"/>
                    <a:gd name="connsiteY61" fmla="*/ 1065791 h 1661098"/>
                    <a:gd name="connsiteX62" fmla="*/ 949325 w 1146175"/>
                    <a:gd name="connsiteY62" fmla="*/ 1075316 h 1661098"/>
                    <a:gd name="connsiteX63" fmla="*/ 946150 w 1146175"/>
                    <a:gd name="connsiteY63" fmla="*/ 1084841 h 1661098"/>
                    <a:gd name="connsiteX64" fmla="*/ 936625 w 1146175"/>
                    <a:gd name="connsiteY64" fmla="*/ 1100716 h 1661098"/>
                    <a:gd name="connsiteX65" fmla="*/ 923925 w 1146175"/>
                    <a:gd name="connsiteY65" fmla="*/ 1135641 h 1661098"/>
                    <a:gd name="connsiteX66" fmla="*/ 917575 w 1146175"/>
                    <a:gd name="connsiteY66" fmla="*/ 1145166 h 1661098"/>
                    <a:gd name="connsiteX67" fmla="*/ 923925 w 1146175"/>
                    <a:gd name="connsiteY67" fmla="*/ 1199141 h 1661098"/>
                    <a:gd name="connsiteX68" fmla="*/ 939800 w 1146175"/>
                    <a:gd name="connsiteY68" fmla="*/ 1221366 h 1661098"/>
                    <a:gd name="connsiteX69" fmla="*/ 946150 w 1146175"/>
                    <a:gd name="connsiteY69" fmla="*/ 1234066 h 1661098"/>
                    <a:gd name="connsiteX70" fmla="*/ 952500 w 1146175"/>
                    <a:gd name="connsiteY70" fmla="*/ 1243591 h 1661098"/>
                    <a:gd name="connsiteX71" fmla="*/ 965200 w 1146175"/>
                    <a:gd name="connsiteY71" fmla="*/ 1268991 h 1661098"/>
                    <a:gd name="connsiteX72" fmla="*/ 974725 w 1146175"/>
                    <a:gd name="connsiteY72" fmla="*/ 1291216 h 1661098"/>
                    <a:gd name="connsiteX73" fmla="*/ 977900 w 1146175"/>
                    <a:gd name="connsiteY73" fmla="*/ 1303916 h 1661098"/>
                    <a:gd name="connsiteX74" fmla="*/ 981075 w 1146175"/>
                    <a:gd name="connsiteY74" fmla="*/ 1313441 h 1661098"/>
                    <a:gd name="connsiteX75" fmla="*/ 974725 w 1146175"/>
                    <a:gd name="connsiteY75" fmla="*/ 1348366 h 1661098"/>
                    <a:gd name="connsiteX76" fmla="*/ 949325 w 1146175"/>
                    <a:gd name="connsiteY76" fmla="*/ 1380116 h 1661098"/>
                    <a:gd name="connsiteX77" fmla="*/ 939800 w 1146175"/>
                    <a:gd name="connsiteY77" fmla="*/ 1386466 h 1661098"/>
                    <a:gd name="connsiteX78" fmla="*/ 930275 w 1146175"/>
                    <a:gd name="connsiteY78" fmla="*/ 1395991 h 1661098"/>
                    <a:gd name="connsiteX79" fmla="*/ 923925 w 1146175"/>
                    <a:gd name="connsiteY79" fmla="*/ 1405516 h 1661098"/>
                    <a:gd name="connsiteX80" fmla="*/ 908050 w 1146175"/>
                    <a:gd name="connsiteY80" fmla="*/ 1415041 h 1661098"/>
                    <a:gd name="connsiteX81" fmla="*/ 895350 w 1146175"/>
                    <a:gd name="connsiteY81" fmla="*/ 1427741 h 1661098"/>
                    <a:gd name="connsiteX82" fmla="*/ 882650 w 1146175"/>
                    <a:gd name="connsiteY82" fmla="*/ 1437266 h 1661098"/>
                    <a:gd name="connsiteX83" fmla="*/ 873125 w 1146175"/>
                    <a:gd name="connsiteY83" fmla="*/ 1446791 h 1661098"/>
                    <a:gd name="connsiteX84" fmla="*/ 844550 w 1146175"/>
                    <a:gd name="connsiteY84" fmla="*/ 1462666 h 1661098"/>
                    <a:gd name="connsiteX85" fmla="*/ 835025 w 1146175"/>
                    <a:gd name="connsiteY85" fmla="*/ 1465841 h 1661098"/>
                    <a:gd name="connsiteX86" fmla="*/ 815975 w 1146175"/>
                    <a:gd name="connsiteY86" fmla="*/ 1459491 h 1661098"/>
                    <a:gd name="connsiteX87" fmla="*/ 774700 w 1146175"/>
                    <a:gd name="connsiteY87" fmla="*/ 1443616 h 1661098"/>
                    <a:gd name="connsiteX88" fmla="*/ 749300 w 1146175"/>
                    <a:gd name="connsiteY88" fmla="*/ 1437266 h 1661098"/>
                    <a:gd name="connsiteX89" fmla="*/ 717550 w 1146175"/>
                    <a:gd name="connsiteY89" fmla="*/ 1424566 h 1661098"/>
                    <a:gd name="connsiteX90" fmla="*/ 688975 w 1146175"/>
                    <a:gd name="connsiteY90" fmla="*/ 1418216 h 1661098"/>
                    <a:gd name="connsiteX91" fmla="*/ 657225 w 1146175"/>
                    <a:gd name="connsiteY91" fmla="*/ 1408691 h 1661098"/>
                    <a:gd name="connsiteX92" fmla="*/ 635000 w 1146175"/>
                    <a:gd name="connsiteY92" fmla="*/ 1411866 h 1661098"/>
                    <a:gd name="connsiteX93" fmla="*/ 622300 w 1146175"/>
                    <a:gd name="connsiteY93" fmla="*/ 1418216 h 1661098"/>
                    <a:gd name="connsiteX94" fmla="*/ 606425 w 1146175"/>
                    <a:gd name="connsiteY94" fmla="*/ 1427741 h 1661098"/>
                    <a:gd name="connsiteX95" fmla="*/ 577850 w 1146175"/>
                    <a:gd name="connsiteY95" fmla="*/ 1443616 h 1661098"/>
                    <a:gd name="connsiteX96" fmla="*/ 558800 w 1146175"/>
                    <a:gd name="connsiteY96" fmla="*/ 1446791 h 1661098"/>
                    <a:gd name="connsiteX97" fmla="*/ 501650 w 1146175"/>
                    <a:gd name="connsiteY97" fmla="*/ 1453141 h 1661098"/>
                    <a:gd name="connsiteX98" fmla="*/ 492125 w 1146175"/>
                    <a:gd name="connsiteY98" fmla="*/ 1459491 h 1661098"/>
                    <a:gd name="connsiteX99" fmla="*/ 466725 w 1146175"/>
                    <a:gd name="connsiteY99" fmla="*/ 1491241 h 1661098"/>
                    <a:gd name="connsiteX100" fmla="*/ 457200 w 1146175"/>
                    <a:gd name="connsiteY100" fmla="*/ 1510291 h 1661098"/>
                    <a:gd name="connsiteX101" fmla="*/ 454025 w 1146175"/>
                    <a:gd name="connsiteY101" fmla="*/ 1519816 h 1661098"/>
                    <a:gd name="connsiteX102" fmla="*/ 447675 w 1146175"/>
                    <a:gd name="connsiteY102" fmla="*/ 1535691 h 1661098"/>
                    <a:gd name="connsiteX103" fmla="*/ 434975 w 1146175"/>
                    <a:gd name="connsiteY103" fmla="*/ 1561091 h 1661098"/>
                    <a:gd name="connsiteX104" fmla="*/ 431800 w 1146175"/>
                    <a:gd name="connsiteY104" fmla="*/ 1576966 h 1661098"/>
                    <a:gd name="connsiteX105" fmla="*/ 425450 w 1146175"/>
                    <a:gd name="connsiteY105" fmla="*/ 1602366 h 1661098"/>
                    <a:gd name="connsiteX106" fmla="*/ 422275 w 1146175"/>
                    <a:gd name="connsiteY106" fmla="*/ 1611891 h 1661098"/>
                    <a:gd name="connsiteX107" fmla="*/ 412750 w 1146175"/>
                    <a:gd name="connsiteY107" fmla="*/ 1621416 h 1661098"/>
                    <a:gd name="connsiteX108" fmla="*/ 222250 w 1146175"/>
                    <a:gd name="connsiteY108" fmla="*/ 1627766 h 1661098"/>
                    <a:gd name="connsiteX109" fmla="*/ 215900 w 1146175"/>
                    <a:gd name="connsiteY109" fmla="*/ 1611891 h 1661098"/>
                    <a:gd name="connsiteX110" fmla="*/ 206375 w 1146175"/>
                    <a:gd name="connsiteY110" fmla="*/ 1599191 h 1661098"/>
                    <a:gd name="connsiteX111" fmla="*/ 203200 w 1146175"/>
                    <a:gd name="connsiteY111" fmla="*/ 1586491 h 1661098"/>
                    <a:gd name="connsiteX112" fmla="*/ 196850 w 1146175"/>
                    <a:gd name="connsiteY112" fmla="*/ 1573791 h 1661098"/>
                    <a:gd name="connsiteX113" fmla="*/ 193675 w 1146175"/>
                    <a:gd name="connsiteY113" fmla="*/ 1564266 h 1661098"/>
                    <a:gd name="connsiteX114" fmla="*/ 187325 w 1146175"/>
                    <a:gd name="connsiteY114" fmla="*/ 1551566 h 1661098"/>
                    <a:gd name="connsiteX115" fmla="*/ 180975 w 1146175"/>
                    <a:gd name="connsiteY115" fmla="*/ 1535691 h 1661098"/>
                    <a:gd name="connsiteX116" fmla="*/ 161925 w 1146175"/>
                    <a:gd name="connsiteY116" fmla="*/ 1507116 h 1661098"/>
                    <a:gd name="connsiteX117" fmla="*/ 149225 w 1146175"/>
                    <a:gd name="connsiteY117" fmla="*/ 1484891 h 1661098"/>
                    <a:gd name="connsiteX118" fmla="*/ 142875 w 1146175"/>
                    <a:gd name="connsiteY118" fmla="*/ 1469016 h 1661098"/>
                    <a:gd name="connsiteX119" fmla="*/ 130175 w 1146175"/>
                    <a:gd name="connsiteY119" fmla="*/ 1465841 h 1661098"/>
                    <a:gd name="connsiteX120" fmla="*/ 101600 w 1146175"/>
                    <a:gd name="connsiteY120" fmla="*/ 1453141 h 1661098"/>
                    <a:gd name="connsiteX121" fmla="*/ 69850 w 1146175"/>
                    <a:gd name="connsiteY121" fmla="*/ 1443616 h 1661098"/>
                    <a:gd name="connsiteX122" fmla="*/ 41275 w 1146175"/>
                    <a:gd name="connsiteY122" fmla="*/ 1430916 h 1661098"/>
                    <a:gd name="connsiteX123" fmla="*/ 31750 w 1146175"/>
                    <a:gd name="connsiteY123" fmla="*/ 1424566 h 1661098"/>
                    <a:gd name="connsiteX124" fmla="*/ 15875 w 1146175"/>
                    <a:gd name="connsiteY124" fmla="*/ 1418216 h 1661098"/>
                    <a:gd name="connsiteX125" fmla="*/ 0 w 1146175"/>
                    <a:gd name="connsiteY125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885825 w 1146175"/>
                    <a:gd name="connsiteY16" fmla="*/ 214891 h 1661098"/>
                    <a:gd name="connsiteX17" fmla="*/ 901700 w 1146175"/>
                    <a:gd name="connsiteY17" fmla="*/ 230766 h 1661098"/>
                    <a:gd name="connsiteX18" fmla="*/ 917575 w 1146175"/>
                    <a:gd name="connsiteY18" fmla="*/ 243466 h 1661098"/>
                    <a:gd name="connsiteX19" fmla="*/ 936625 w 1146175"/>
                    <a:gd name="connsiteY19" fmla="*/ 256166 h 1661098"/>
                    <a:gd name="connsiteX20" fmla="*/ 955675 w 1146175"/>
                    <a:gd name="connsiteY20" fmla="*/ 278391 h 1661098"/>
                    <a:gd name="connsiteX21" fmla="*/ 974725 w 1146175"/>
                    <a:gd name="connsiteY21" fmla="*/ 303791 h 1661098"/>
                    <a:gd name="connsiteX22" fmla="*/ 968375 w 1146175"/>
                    <a:gd name="connsiteY22" fmla="*/ 338716 h 1661098"/>
                    <a:gd name="connsiteX23" fmla="*/ 965200 w 1146175"/>
                    <a:gd name="connsiteY23" fmla="*/ 348241 h 1661098"/>
                    <a:gd name="connsiteX24" fmla="*/ 949325 w 1146175"/>
                    <a:gd name="connsiteY24" fmla="*/ 367291 h 1661098"/>
                    <a:gd name="connsiteX25" fmla="*/ 939800 w 1146175"/>
                    <a:gd name="connsiteY25" fmla="*/ 389516 h 1661098"/>
                    <a:gd name="connsiteX26" fmla="*/ 936625 w 1146175"/>
                    <a:gd name="connsiteY26" fmla="*/ 402216 h 1661098"/>
                    <a:gd name="connsiteX27" fmla="*/ 930275 w 1146175"/>
                    <a:gd name="connsiteY27" fmla="*/ 418091 h 1661098"/>
                    <a:gd name="connsiteX28" fmla="*/ 927100 w 1146175"/>
                    <a:gd name="connsiteY28" fmla="*/ 430791 h 1661098"/>
                    <a:gd name="connsiteX29" fmla="*/ 920750 w 1146175"/>
                    <a:gd name="connsiteY29" fmla="*/ 446666 h 1661098"/>
                    <a:gd name="connsiteX30" fmla="*/ 917575 w 1146175"/>
                    <a:gd name="connsiteY30" fmla="*/ 459366 h 1661098"/>
                    <a:gd name="connsiteX31" fmla="*/ 914400 w 1146175"/>
                    <a:gd name="connsiteY31" fmla="*/ 468891 h 1661098"/>
                    <a:gd name="connsiteX32" fmla="*/ 917575 w 1146175"/>
                    <a:gd name="connsiteY32" fmla="*/ 506991 h 1661098"/>
                    <a:gd name="connsiteX33" fmla="*/ 923925 w 1146175"/>
                    <a:gd name="connsiteY33" fmla="*/ 519691 h 1661098"/>
                    <a:gd name="connsiteX34" fmla="*/ 939800 w 1146175"/>
                    <a:gd name="connsiteY34" fmla="*/ 538741 h 1661098"/>
                    <a:gd name="connsiteX35" fmla="*/ 942975 w 1146175"/>
                    <a:gd name="connsiteY35" fmla="*/ 548266 h 1661098"/>
                    <a:gd name="connsiteX36" fmla="*/ 955675 w 1146175"/>
                    <a:gd name="connsiteY36" fmla="*/ 573666 h 1661098"/>
                    <a:gd name="connsiteX37" fmla="*/ 968375 w 1146175"/>
                    <a:gd name="connsiteY37" fmla="*/ 614941 h 1661098"/>
                    <a:gd name="connsiteX38" fmla="*/ 974725 w 1146175"/>
                    <a:gd name="connsiteY38" fmla="*/ 627641 h 1661098"/>
                    <a:gd name="connsiteX39" fmla="*/ 981075 w 1146175"/>
                    <a:gd name="connsiteY39" fmla="*/ 646691 h 1661098"/>
                    <a:gd name="connsiteX40" fmla="*/ 993775 w 1146175"/>
                    <a:gd name="connsiteY40" fmla="*/ 649866 h 1661098"/>
                    <a:gd name="connsiteX41" fmla="*/ 1012825 w 1146175"/>
                    <a:gd name="connsiteY41" fmla="*/ 653041 h 1661098"/>
                    <a:gd name="connsiteX42" fmla="*/ 1041400 w 1146175"/>
                    <a:gd name="connsiteY42" fmla="*/ 665741 h 1661098"/>
                    <a:gd name="connsiteX43" fmla="*/ 1050925 w 1146175"/>
                    <a:gd name="connsiteY43" fmla="*/ 668916 h 1661098"/>
                    <a:gd name="connsiteX44" fmla="*/ 1066800 w 1146175"/>
                    <a:gd name="connsiteY44" fmla="*/ 678441 h 1661098"/>
                    <a:gd name="connsiteX45" fmla="*/ 1089025 w 1146175"/>
                    <a:gd name="connsiteY45" fmla="*/ 687966 h 1661098"/>
                    <a:gd name="connsiteX46" fmla="*/ 1117600 w 1146175"/>
                    <a:gd name="connsiteY46" fmla="*/ 707016 h 1661098"/>
                    <a:gd name="connsiteX47" fmla="*/ 1136650 w 1146175"/>
                    <a:gd name="connsiteY47" fmla="*/ 713366 h 1661098"/>
                    <a:gd name="connsiteX48" fmla="*/ 1146175 w 1146175"/>
                    <a:gd name="connsiteY48" fmla="*/ 903866 h 1661098"/>
                    <a:gd name="connsiteX49" fmla="*/ 1127125 w 1146175"/>
                    <a:gd name="connsiteY49" fmla="*/ 913391 h 1661098"/>
                    <a:gd name="connsiteX50" fmla="*/ 1101725 w 1146175"/>
                    <a:gd name="connsiteY50" fmla="*/ 919741 h 1661098"/>
                    <a:gd name="connsiteX51" fmla="*/ 1092200 w 1146175"/>
                    <a:gd name="connsiteY51" fmla="*/ 926091 h 1661098"/>
                    <a:gd name="connsiteX52" fmla="*/ 1079500 w 1146175"/>
                    <a:gd name="connsiteY52" fmla="*/ 929266 h 1661098"/>
                    <a:gd name="connsiteX53" fmla="*/ 1069975 w 1146175"/>
                    <a:gd name="connsiteY53" fmla="*/ 938791 h 1661098"/>
                    <a:gd name="connsiteX54" fmla="*/ 1060450 w 1146175"/>
                    <a:gd name="connsiteY54" fmla="*/ 945141 h 1661098"/>
                    <a:gd name="connsiteX55" fmla="*/ 1038225 w 1146175"/>
                    <a:gd name="connsiteY55" fmla="*/ 957841 h 1661098"/>
                    <a:gd name="connsiteX56" fmla="*/ 996950 w 1146175"/>
                    <a:gd name="connsiteY56" fmla="*/ 983241 h 1661098"/>
                    <a:gd name="connsiteX57" fmla="*/ 977900 w 1146175"/>
                    <a:gd name="connsiteY57" fmla="*/ 989591 h 1661098"/>
                    <a:gd name="connsiteX58" fmla="*/ 968375 w 1146175"/>
                    <a:gd name="connsiteY58" fmla="*/ 1014991 h 1661098"/>
                    <a:gd name="connsiteX59" fmla="*/ 958850 w 1146175"/>
                    <a:gd name="connsiteY59" fmla="*/ 1040391 h 1661098"/>
                    <a:gd name="connsiteX60" fmla="*/ 955675 w 1146175"/>
                    <a:gd name="connsiteY60" fmla="*/ 1065791 h 1661098"/>
                    <a:gd name="connsiteX61" fmla="*/ 949325 w 1146175"/>
                    <a:gd name="connsiteY61" fmla="*/ 1075316 h 1661098"/>
                    <a:gd name="connsiteX62" fmla="*/ 946150 w 1146175"/>
                    <a:gd name="connsiteY62" fmla="*/ 1084841 h 1661098"/>
                    <a:gd name="connsiteX63" fmla="*/ 936625 w 1146175"/>
                    <a:gd name="connsiteY63" fmla="*/ 1100716 h 1661098"/>
                    <a:gd name="connsiteX64" fmla="*/ 923925 w 1146175"/>
                    <a:gd name="connsiteY64" fmla="*/ 1135641 h 1661098"/>
                    <a:gd name="connsiteX65" fmla="*/ 917575 w 1146175"/>
                    <a:gd name="connsiteY65" fmla="*/ 1145166 h 1661098"/>
                    <a:gd name="connsiteX66" fmla="*/ 923925 w 1146175"/>
                    <a:gd name="connsiteY66" fmla="*/ 1199141 h 1661098"/>
                    <a:gd name="connsiteX67" fmla="*/ 939800 w 1146175"/>
                    <a:gd name="connsiteY67" fmla="*/ 1221366 h 1661098"/>
                    <a:gd name="connsiteX68" fmla="*/ 946150 w 1146175"/>
                    <a:gd name="connsiteY68" fmla="*/ 1234066 h 1661098"/>
                    <a:gd name="connsiteX69" fmla="*/ 952500 w 1146175"/>
                    <a:gd name="connsiteY69" fmla="*/ 1243591 h 1661098"/>
                    <a:gd name="connsiteX70" fmla="*/ 965200 w 1146175"/>
                    <a:gd name="connsiteY70" fmla="*/ 1268991 h 1661098"/>
                    <a:gd name="connsiteX71" fmla="*/ 974725 w 1146175"/>
                    <a:gd name="connsiteY71" fmla="*/ 1291216 h 1661098"/>
                    <a:gd name="connsiteX72" fmla="*/ 977900 w 1146175"/>
                    <a:gd name="connsiteY72" fmla="*/ 1303916 h 1661098"/>
                    <a:gd name="connsiteX73" fmla="*/ 981075 w 1146175"/>
                    <a:gd name="connsiteY73" fmla="*/ 1313441 h 1661098"/>
                    <a:gd name="connsiteX74" fmla="*/ 974725 w 1146175"/>
                    <a:gd name="connsiteY74" fmla="*/ 1348366 h 1661098"/>
                    <a:gd name="connsiteX75" fmla="*/ 949325 w 1146175"/>
                    <a:gd name="connsiteY75" fmla="*/ 1380116 h 1661098"/>
                    <a:gd name="connsiteX76" fmla="*/ 939800 w 1146175"/>
                    <a:gd name="connsiteY76" fmla="*/ 1386466 h 1661098"/>
                    <a:gd name="connsiteX77" fmla="*/ 930275 w 1146175"/>
                    <a:gd name="connsiteY77" fmla="*/ 1395991 h 1661098"/>
                    <a:gd name="connsiteX78" fmla="*/ 923925 w 1146175"/>
                    <a:gd name="connsiteY78" fmla="*/ 1405516 h 1661098"/>
                    <a:gd name="connsiteX79" fmla="*/ 908050 w 1146175"/>
                    <a:gd name="connsiteY79" fmla="*/ 1415041 h 1661098"/>
                    <a:gd name="connsiteX80" fmla="*/ 895350 w 1146175"/>
                    <a:gd name="connsiteY80" fmla="*/ 1427741 h 1661098"/>
                    <a:gd name="connsiteX81" fmla="*/ 882650 w 1146175"/>
                    <a:gd name="connsiteY81" fmla="*/ 1437266 h 1661098"/>
                    <a:gd name="connsiteX82" fmla="*/ 873125 w 1146175"/>
                    <a:gd name="connsiteY82" fmla="*/ 1446791 h 1661098"/>
                    <a:gd name="connsiteX83" fmla="*/ 844550 w 1146175"/>
                    <a:gd name="connsiteY83" fmla="*/ 1462666 h 1661098"/>
                    <a:gd name="connsiteX84" fmla="*/ 835025 w 1146175"/>
                    <a:gd name="connsiteY84" fmla="*/ 1465841 h 1661098"/>
                    <a:gd name="connsiteX85" fmla="*/ 815975 w 1146175"/>
                    <a:gd name="connsiteY85" fmla="*/ 1459491 h 1661098"/>
                    <a:gd name="connsiteX86" fmla="*/ 774700 w 1146175"/>
                    <a:gd name="connsiteY86" fmla="*/ 1443616 h 1661098"/>
                    <a:gd name="connsiteX87" fmla="*/ 749300 w 1146175"/>
                    <a:gd name="connsiteY87" fmla="*/ 1437266 h 1661098"/>
                    <a:gd name="connsiteX88" fmla="*/ 717550 w 1146175"/>
                    <a:gd name="connsiteY88" fmla="*/ 1424566 h 1661098"/>
                    <a:gd name="connsiteX89" fmla="*/ 688975 w 1146175"/>
                    <a:gd name="connsiteY89" fmla="*/ 1418216 h 1661098"/>
                    <a:gd name="connsiteX90" fmla="*/ 657225 w 1146175"/>
                    <a:gd name="connsiteY90" fmla="*/ 1408691 h 1661098"/>
                    <a:gd name="connsiteX91" fmla="*/ 635000 w 1146175"/>
                    <a:gd name="connsiteY91" fmla="*/ 1411866 h 1661098"/>
                    <a:gd name="connsiteX92" fmla="*/ 622300 w 1146175"/>
                    <a:gd name="connsiteY92" fmla="*/ 1418216 h 1661098"/>
                    <a:gd name="connsiteX93" fmla="*/ 606425 w 1146175"/>
                    <a:gd name="connsiteY93" fmla="*/ 1427741 h 1661098"/>
                    <a:gd name="connsiteX94" fmla="*/ 577850 w 1146175"/>
                    <a:gd name="connsiteY94" fmla="*/ 1443616 h 1661098"/>
                    <a:gd name="connsiteX95" fmla="*/ 558800 w 1146175"/>
                    <a:gd name="connsiteY95" fmla="*/ 1446791 h 1661098"/>
                    <a:gd name="connsiteX96" fmla="*/ 501650 w 1146175"/>
                    <a:gd name="connsiteY96" fmla="*/ 1453141 h 1661098"/>
                    <a:gd name="connsiteX97" fmla="*/ 492125 w 1146175"/>
                    <a:gd name="connsiteY97" fmla="*/ 1459491 h 1661098"/>
                    <a:gd name="connsiteX98" fmla="*/ 466725 w 1146175"/>
                    <a:gd name="connsiteY98" fmla="*/ 1491241 h 1661098"/>
                    <a:gd name="connsiteX99" fmla="*/ 457200 w 1146175"/>
                    <a:gd name="connsiteY99" fmla="*/ 1510291 h 1661098"/>
                    <a:gd name="connsiteX100" fmla="*/ 454025 w 1146175"/>
                    <a:gd name="connsiteY100" fmla="*/ 1519816 h 1661098"/>
                    <a:gd name="connsiteX101" fmla="*/ 447675 w 1146175"/>
                    <a:gd name="connsiteY101" fmla="*/ 1535691 h 1661098"/>
                    <a:gd name="connsiteX102" fmla="*/ 434975 w 1146175"/>
                    <a:gd name="connsiteY102" fmla="*/ 1561091 h 1661098"/>
                    <a:gd name="connsiteX103" fmla="*/ 431800 w 1146175"/>
                    <a:gd name="connsiteY103" fmla="*/ 1576966 h 1661098"/>
                    <a:gd name="connsiteX104" fmla="*/ 425450 w 1146175"/>
                    <a:gd name="connsiteY104" fmla="*/ 1602366 h 1661098"/>
                    <a:gd name="connsiteX105" fmla="*/ 422275 w 1146175"/>
                    <a:gd name="connsiteY105" fmla="*/ 1611891 h 1661098"/>
                    <a:gd name="connsiteX106" fmla="*/ 412750 w 1146175"/>
                    <a:gd name="connsiteY106" fmla="*/ 1621416 h 1661098"/>
                    <a:gd name="connsiteX107" fmla="*/ 222250 w 1146175"/>
                    <a:gd name="connsiteY107" fmla="*/ 1627766 h 1661098"/>
                    <a:gd name="connsiteX108" fmla="*/ 215900 w 1146175"/>
                    <a:gd name="connsiteY108" fmla="*/ 1611891 h 1661098"/>
                    <a:gd name="connsiteX109" fmla="*/ 206375 w 1146175"/>
                    <a:gd name="connsiteY109" fmla="*/ 1599191 h 1661098"/>
                    <a:gd name="connsiteX110" fmla="*/ 203200 w 1146175"/>
                    <a:gd name="connsiteY110" fmla="*/ 1586491 h 1661098"/>
                    <a:gd name="connsiteX111" fmla="*/ 196850 w 1146175"/>
                    <a:gd name="connsiteY111" fmla="*/ 1573791 h 1661098"/>
                    <a:gd name="connsiteX112" fmla="*/ 193675 w 1146175"/>
                    <a:gd name="connsiteY112" fmla="*/ 1564266 h 1661098"/>
                    <a:gd name="connsiteX113" fmla="*/ 187325 w 1146175"/>
                    <a:gd name="connsiteY113" fmla="*/ 1551566 h 1661098"/>
                    <a:gd name="connsiteX114" fmla="*/ 180975 w 1146175"/>
                    <a:gd name="connsiteY114" fmla="*/ 1535691 h 1661098"/>
                    <a:gd name="connsiteX115" fmla="*/ 161925 w 1146175"/>
                    <a:gd name="connsiteY115" fmla="*/ 1507116 h 1661098"/>
                    <a:gd name="connsiteX116" fmla="*/ 149225 w 1146175"/>
                    <a:gd name="connsiteY116" fmla="*/ 1484891 h 1661098"/>
                    <a:gd name="connsiteX117" fmla="*/ 142875 w 1146175"/>
                    <a:gd name="connsiteY117" fmla="*/ 1469016 h 1661098"/>
                    <a:gd name="connsiteX118" fmla="*/ 130175 w 1146175"/>
                    <a:gd name="connsiteY118" fmla="*/ 1465841 h 1661098"/>
                    <a:gd name="connsiteX119" fmla="*/ 101600 w 1146175"/>
                    <a:gd name="connsiteY119" fmla="*/ 1453141 h 1661098"/>
                    <a:gd name="connsiteX120" fmla="*/ 69850 w 1146175"/>
                    <a:gd name="connsiteY120" fmla="*/ 1443616 h 1661098"/>
                    <a:gd name="connsiteX121" fmla="*/ 41275 w 1146175"/>
                    <a:gd name="connsiteY121" fmla="*/ 1430916 h 1661098"/>
                    <a:gd name="connsiteX122" fmla="*/ 31750 w 1146175"/>
                    <a:gd name="connsiteY122" fmla="*/ 1424566 h 1661098"/>
                    <a:gd name="connsiteX123" fmla="*/ 15875 w 1146175"/>
                    <a:gd name="connsiteY123" fmla="*/ 1418216 h 1661098"/>
                    <a:gd name="connsiteX124" fmla="*/ 0 w 1146175"/>
                    <a:gd name="connsiteY124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885825 w 1146175"/>
                    <a:gd name="connsiteY16" fmla="*/ 214891 h 1661098"/>
                    <a:gd name="connsiteX17" fmla="*/ 917575 w 1146175"/>
                    <a:gd name="connsiteY17" fmla="*/ 243466 h 1661098"/>
                    <a:gd name="connsiteX18" fmla="*/ 936625 w 1146175"/>
                    <a:gd name="connsiteY18" fmla="*/ 256166 h 1661098"/>
                    <a:gd name="connsiteX19" fmla="*/ 955675 w 1146175"/>
                    <a:gd name="connsiteY19" fmla="*/ 278391 h 1661098"/>
                    <a:gd name="connsiteX20" fmla="*/ 974725 w 1146175"/>
                    <a:gd name="connsiteY20" fmla="*/ 303791 h 1661098"/>
                    <a:gd name="connsiteX21" fmla="*/ 968375 w 1146175"/>
                    <a:gd name="connsiteY21" fmla="*/ 338716 h 1661098"/>
                    <a:gd name="connsiteX22" fmla="*/ 965200 w 1146175"/>
                    <a:gd name="connsiteY22" fmla="*/ 348241 h 1661098"/>
                    <a:gd name="connsiteX23" fmla="*/ 949325 w 1146175"/>
                    <a:gd name="connsiteY23" fmla="*/ 367291 h 1661098"/>
                    <a:gd name="connsiteX24" fmla="*/ 939800 w 1146175"/>
                    <a:gd name="connsiteY24" fmla="*/ 389516 h 1661098"/>
                    <a:gd name="connsiteX25" fmla="*/ 936625 w 1146175"/>
                    <a:gd name="connsiteY25" fmla="*/ 402216 h 1661098"/>
                    <a:gd name="connsiteX26" fmla="*/ 930275 w 1146175"/>
                    <a:gd name="connsiteY26" fmla="*/ 418091 h 1661098"/>
                    <a:gd name="connsiteX27" fmla="*/ 927100 w 1146175"/>
                    <a:gd name="connsiteY27" fmla="*/ 430791 h 1661098"/>
                    <a:gd name="connsiteX28" fmla="*/ 920750 w 1146175"/>
                    <a:gd name="connsiteY28" fmla="*/ 446666 h 1661098"/>
                    <a:gd name="connsiteX29" fmla="*/ 917575 w 1146175"/>
                    <a:gd name="connsiteY29" fmla="*/ 459366 h 1661098"/>
                    <a:gd name="connsiteX30" fmla="*/ 914400 w 1146175"/>
                    <a:gd name="connsiteY30" fmla="*/ 468891 h 1661098"/>
                    <a:gd name="connsiteX31" fmla="*/ 917575 w 1146175"/>
                    <a:gd name="connsiteY31" fmla="*/ 506991 h 1661098"/>
                    <a:gd name="connsiteX32" fmla="*/ 923925 w 1146175"/>
                    <a:gd name="connsiteY32" fmla="*/ 519691 h 1661098"/>
                    <a:gd name="connsiteX33" fmla="*/ 939800 w 1146175"/>
                    <a:gd name="connsiteY33" fmla="*/ 538741 h 1661098"/>
                    <a:gd name="connsiteX34" fmla="*/ 942975 w 1146175"/>
                    <a:gd name="connsiteY34" fmla="*/ 548266 h 1661098"/>
                    <a:gd name="connsiteX35" fmla="*/ 955675 w 1146175"/>
                    <a:gd name="connsiteY35" fmla="*/ 573666 h 1661098"/>
                    <a:gd name="connsiteX36" fmla="*/ 968375 w 1146175"/>
                    <a:gd name="connsiteY36" fmla="*/ 614941 h 1661098"/>
                    <a:gd name="connsiteX37" fmla="*/ 974725 w 1146175"/>
                    <a:gd name="connsiteY37" fmla="*/ 627641 h 1661098"/>
                    <a:gd name="connsiteX38" fmla="*/ 981075 w 1146175"/>
                    <a:gd name="connsiteY38" fmla="*/ 646691 h 1661098"/>
                    <a:gd name="connsiteX39" fmla="*/ 993775 w 1146175"/>
                    <a:gd name="connsiteY39" fmla="*/ 649866 h 1661098"/>
                    <a:gd name="connsiteX40" fmla="*/ 1012825 w 1146175"/>
                    <a:gd name="connsiteY40" fmla="*/ 653041 h 1661098"/>
                    <a:gd name="connsiteX41" fmla="*/ 1041400 w 1146175"/>
                    <a:gd name="connsiteY41" fmla="*/ 665741 h 1661098"/>
                    <a:gd name="connsiteX42" fmla="*/ 1050925 w 1146175"/>
                    <a:gd name="connsiteY42" fmla="*/ 668916 h 1661098"/>
                    <a:gd name="connsiteX43" fmla="*/ 1066800 w 1146175"/>
                    <a:gd name="connsiteY43" fmla="*/ 678441 h 1661098"/>
                    <a:gd name="connsiteX44" fmla="*/ 1089025 w 1146175"/>
                    <a:gd name="connsiteY44" fmla="*/ 687966 h 1661098"/>
                    <a:gd name="connsiteX45" fmla="*/ 1117600 w 1146175"/>
                    <a:gd name="connsiteY45" fmla="*/ 707016 h 1661098"/>
                    <a:gd name="connsiteX46" fmla="*/ 1136650 w 1146175"/>
                    <a:gd name="connsiteY46" fmla="*/ 713366 h 1661098"/>
                    <a:gd name="connsiteX47" fmla="*/ 1146175 w 1146175"/>
                    <a:gd name="connsiteY47" fmla="*/ 903866 h 1661098"/>
                    <a:gd name="connsiteX48" fmla="*/ 1127125 w 1146175"/>
                    <a:gd name="connsiteY48" fmla="*/ 913391 h 1661098"/>
                    <a:gd name="connsiteX49" fmla="*/ 1101725 w 1146175"/>
                    <a:gd name="connsiteY49" fmla="*/ 919741 h 1661098"/>
                    <a:gd name="connsiteX50" fmla="*/ 1092200 w 1146175"/>
                    <a:gd name="connsiteY50" fmla="*/ 926091 h 1661098"/>
                    <a:gd name="connsiteX51" fmla="*/ 1079500 w 1146175"/>
                    <a:gd name="connsiteY51" fmla="*/ 929266 h 1661098"/>
                    <a:gd name="connsiteX52" fmla="*/ 1069975 w 1146175"/>
                    <a:gd name="connsiteY52" fmla="*/ 938791 h 1661098"/>
                    <a:gd name="connsiteX53" fmla="*/ 1060450 w 1146175"/>
                    <a:gd name="connsiteY53" fmla="*/ 945141 h 1661098"/>
                    <a:gd name="connsiteX54" fmla="*/ 1038225 w 1146175"/>
                    <a:gd name="connsiteY54" fmla="*/ 957841 h 1661098"/>
                    <a:gd name="connsiteX55" fmla="*/ 996950 w 1146175"/>
                    <a:gd name="connsiteY55" fmla="*/ 983241 h 1661098"/>
                    <a:gd name="connsiteX56" fmla="*/ 977900 w 1146175"/>
                    <a:gd name="connsiteY56" fmla="*/ 989591 h 1661098"/>
                    <a:gd name="connsiteX57" fmla="*/ 968375 w 1146175"/>
                    <a:gd name="connsiteY57" fmla="*/ 1014991 h 1661098"/>
                    <a:gd name="connsiteX58" fmla="*/ 958850 w 1146175"/>
                    <a:gd name="connsiteY58" fmla="*/ 1040391 h 1661098"/>
                    <a:gd name="connsiteX59" fmla="*/ 955675 w 1146175"/>
                    <a:gd name="connsiteY59" fmla="*/ 1065791 h 1661098"/>
                    <a:gd name="connsiteX60" fmla="*/ 949325 w 1146175"/>
                    <a:gd name="connsiteY60" fmla="*/ 1075316 h 1661098"/>
                    <a:gd name="connsiteX61" fmla="*/ 946150 w 1146175"/>
                    <a:gd name="connsiteY61" fmla="*/ 1084841 h 1661098"/>
                    <a:gd name="connsiteX62" fmla="*/ 936625 w 1146175"/>
                    <a:gd name="connsiteY62" fmla="*/ 1100716 h 1661098"/>
                    <a:gd name="connsiteX63" fmla="*/ 923925 w 1146175"/>
                    <a:gd name="connsiteY63" fmla="*/ 1135641 h 1661098"/>
                    <a:gd name="connsiteX64" fmla="*/ 917575 w 1146175"/>
                    <a:gd name="connsiteY64" fmla="*/ 1145166 h 1661098"/>
                    <a:gd name="connsiteX65" fmla="*/ 923925 w 1146175"/>
                    <a:gd name="connsiteY65" fmla="*/ 1199141 h 1661098"/>
                    <a:gd name="connsiteX66" fmla="*/ 939800 w 1146175"/>
                    <a:gd name="connsiteY66" fmla="*/ 1221366 h 1661098"/>
                    <a:gd name="connsiteX67" fmla="*/ 946150 w 1146175"/>
                    <a:gd name="connsiteY67" fmla="*/ 1234066 h 1661098"/>
                    <a:gd name="connsiteX68" fmla="*/ 952500 w 1146175"/>
                    <a:gd name="connsiteY68" fmla="*/ 1243591 h 1661098"/>
                    <a:gd name="connsiteX69" fmla="*/ 965200 w 1146175"/>
                    <a:gd name="connsiteY69" fmla="*/ 1268991 h 1661098"/>
                    <a:gd name="connsiteX70" fmla="*/ 974725 w 1146175"/>
                    <a:gd name="connsiteY70" fmla="*/ 1291216 h 1661098"/>
                    <a:gd name="connsiteX71" fmla="*/ 977900 w 1146175"/>
                    <a:gd name="connsiteY71" fmla="*/ 1303916 h 1661098"/>
                    <a:gd name="connsiteX72" fmla="*/ 981075 w 1146175"/>
                    <a:gd name="connsiteY72" fmla="*/ 1313441 h 1661098"/>
                    <a:gd name="connsiteX73" fmla="*/ 974725 w 1146175"/>
                    <a:gd name="connsiteY73" fmla="*/ 1348366 h 1661098"/>
                    <a:gd name="connsiteX74" fmla="*/ 949325 w 1146175"/>
                    <a:gd name="connsiteY74" fmla="*/ 1380116 h 1661098"/>
                    <a:gd name="connsiteX75" fmla="*/ 939800 w 1146175"/>
                    <a:gd name="connsiteY75" fmla="*/ 1386466 h 1661098"/>
                    <a:gd name="connsiteX76" fmla="*/ 930275 w 1146175"/>
                    <a:gd name="connsiteY76" fmla="*/ 1395991 h 1661098"/>
                    <a:gd name="connsiteX77" fmla="*/ 923925 w 1146175"/>
                    <a:gd name="connsiteY77" fmla="*/ 1405516 h 1661098"/>
                    <a:gd name="connsiteX78" fmla="*/ 908050 w 1146175"/>
                    <a:gd name="connsiteY78" fmla="*/ 1415041 h 1661098"/>
                    <a:gd name="connsiteX79" fmla="*/ 895350 w 1146175"/>
                    <a:gd name="connsiteY79" fmla="*/ 1427741 h 1661098"/>
                    <a:gd name="connsiteX80" fmla="*/ 882650 w 1146175"/>
                    <a:gd name="connsiteY80" fmla="*/ 1437266 h 1661098"/>
                    <a:gd name="connsiteX81" fmla="*/ 873125 w 1146175"/>
                    <a:gd name="connsiteY81" fmla="*/ 1446791 h 1661098"/>
                    <a:gd name="connsiteX82" fmla="*/ 844550 w 1146175"/>
                    <a:gd name="connsiteY82" fmla="*/ 1462666 h 1661098"/>
                    <a:gd name="connsiteX83" fmla="*/ 835025 w 1146175"/>
                    <a:gd name="connsiteY83" fmla="*/ 1465841 h 1661098"/>
                    <a:gd name="connsiteX84" fmla="*/ 815975 w 1146175"/>
                    <a:gd name="connsiteY84" fmla="*/ 1459491 h 1661098"/>
                    <a:gd name="connsiteX85" fmla="*/ 774700 w 1146175"/>
                    <a:gd name="connsiteY85" fmla="*/ 1443616 h 1661098"/>
                    <a:gd name="connsiteX86" fmla="*/ 749300 w 1146175"/>
                    <a:gd name="connsiteY86" fmla="*/ 1437266 h 1661098"/>
                    <a:gd name="connsiteX87" fmla="*/ 717550 w 1146175"/>
                    <a:gd name="connsiteY87" fmla="*/ 1424566 h 1661098"/>
                    <a:gd name="connsiteX88" fmla="*/ 688975 w 1146175"/>
                    <a:gd name="connsiteY88" fmla="*/ 1418216 h 1661098"/>
                    <a:gd name="connsiteX89" fmla="*/ 657225 w 1146175"/>
                    <a:gd name="connsiteY89" fmla="*/ 1408691 h 1661098"/>
                    <a:gd name="connsiteX90" fmla="*/ 635000 w 1146175"/>
                    <a:gd name="connsiteY90" fmla="*/ 1411866 h 1661098"/>
                    <a:gd name="connsiteX91" fmla="*/ 622300 w 1146175"/>
                    <a:gd name="connsiteY91" fmla="*/ 1418216 h 1661098"/>
                    <a:gd name="connsiteX92" fmla="*/ 606425 w 1146175"/>
                    <a:gd name="connsiteY92" fmla="*/ 1427741 h 1661098"/>
                    <a:gd name="connsiteX93" fmla="*/ 577850 w 1146175"/>
                    <a:gd name="connsiteY93" fmla="*/ 1443616 h 1661098"/>
                    <a:gd name="connsiteX94" fmla="*/ 558800 w 1146175"/>
                    <a:gd name="connsiteY94" fmla="*/ 1446791 h 1661098"/>
                    <a:gd name="connsiteX95" fmla="*/ 501650 w 1146175"/>
                    <a:gd name="connsiteY95" fmla="*/ 1453141 h 1661098"/>
                    <a:gd name="connsiteX96" fmla="*/ 492125 w 1146175"/>
                    <a:gd name="connsiteY96" fmla="*/ 1459491 h 1661098"/>
                    <a:gd name="connsiteX97" fmla="*/ 466725 w 1146175"/>
                    <a:gd name="connsiteY97" fmla="*/ 1491241 h 1661098"/>
                    <a:gd name="connsiteX98" fmla="*/ 457200 w 1146175"/>
                    <a:gd name="connsiteY98" fmla="*/ 1510291 h 1661098"/>
                    <a:gd name="connsiteX99" fmla="*/ 454025 w 1146175"/>
                    <a:gd name="connsiteY99" fmla="*/ 1519816 h 1661098"/>
                    <a:gd name="connsiteX100" fmla="*/ 447675 w 1146175"/>
                    <a:gd name="connsiteY100" fmla="*/ 1535691 h 1661098"/>
                    <a:gd name="connsiteX101" fmla="*/ 434975 w 1146175"/>
                    <a:gd name="connsiteY101" fmla="*/ 1561091 h 1661098"/>
                    <a:gd name="connsiteX102" fmla="*/ 431800 w 1146175"/>
                    <a:gd name="connsiteY102" fmla="*/ 1576966 h 1661098"/>
                    <a:gd name="connsiteX103" fmla="*/ 425450 w 1146175"/>
                    <a:gd name="connsiteY103" fmla="*/ 1602366 h 1661098"/>
                    <a:gd name="connsiteX104" fmla="*/ 422275 w 1146175"/>
                    <a:gd name="connsiteY104" fmla="*/ 1611891 h 1661098"/>
                    <a:gd name="connsiteX105" fmla="*/ 412750 w 1146175"/>
                    <a:gd name="connsiteY105" fmla="*/ 1621416 h 1661098"/>
                    <a:gd name="connsiteX106" fmla="*/ 222250 w 1146175"/>
                    <a:gd name="connsiteY106" fmla="*/ 1627766 h 1661098"/>
                    <a:gd name="connsiteX107" fmla="*/ 215900 w 1146175"/>
                    <a:gd name="connsiteY107" fmla="*/ 1611891 h 1661098"/>
                    <a:gd name="connsiteX108" fmla="*/ 206375 w 1146175"/>
                    <a:gd name="connsiteY108" fmla="*/ 1599191 h 1661098"/>
                    <a:gd name="connsiteX109" fmla="*/ 203200 w 1146175"/>
                    <a:gd name="connsiteY109" fmla="*/ 1586491 h 1661098"/>
                    <a:gd name="connsiteX110" fmla="*/ 196850 w 1146175"/>
                    <a:gd name="connsiteY110" fmla="*/ 1573791 h 1661098"/>
                    <a:gd name="connsiteX111" fmla="*/ 193675 w 1146175"/>
                    <a:gd name="connsiteY111" fmla="*/ 1564266 h 1661098"/>
                    <a:gd name="connsiteX112" fmla="*/ 187325 w 1146175"/>
                    <a:gd name="connsiteY112" fmla="*/ 1551566 h 1661098"/>
                    <a:gd name="connsiteX113" fmla="*/ 180975 w 1146175"/>
                    <a:gd name="connsiteY113" fmla="*/ 1535691 h 1661098"/>
                    <a:gd name="connsiteX114" fmla="*/ 161925 w 1146175"/>
                    <a:gd name="connsiteY114" fmla="*/ 1507116 h 1661098"/>
                    <a:gd name="connsiteX115" fmla="*/ 149225 w 1146175"/>
                    <a:gd name="connsiteY115" fmla="*/ 1484891 h 1661098"/>
                    <a:gd name="connsiteX116" fmla="*/ 142875 w 1146175"/>
                    <a:gd name="connsiteY116" fmla="*/ 1469016 h 1661098"/>
                    <a:gd name="connsiteX117" fmla="*/ 130175 w 1146175"/>
                    <a:gd name="connsiteY117" fmla="*/ 1465841 h 1661098"/>
                    <a:gd name="connsiteX118" fmla="*/ 101600 w 1146175"/>
                    <a:gd name="connsiteY118" fmla="*/ 1453141 h 1661098"/>
                    <a:gd name="connsiteX119" fmla="*/ 69850 w 1146175"/>
                    <a:gd name="connsiteY119" fmla="*/ 1443616 h 1661098"/>
                    <a:gd name="connsiteX120" fmla="*/ 41275 w 1146175"/>
                    <a:gd name="connsiteY120" fmla="*/ 1430916 h 1661098"/>
                    <a:gd name="connsiteX121" fmla="*/ 31750 w 1146175"/>
                    <a:gd name="connsiteY121" fmla="*/ 1424566 h 1661098"/>
                    <a:gd name="connsiteX122" fmla="*/ 15875 w 1146175"/>
                    <a:gd name="connsiteY122" fmla="*/ 1418216 h 1661098"/>
                    <a:gd name="connsiteX123" fmla="*/ 0 w 1146175"/>
                    <a:gd name="connsiteY123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17575 w 1146175"/>
                    <a:gd name="connsiteY16" fmla="*/ 243466 h 1661098"/>
                    <a:gd name="connsiteX17" fmla="*/ 936625 w 1146175"/>
                    <a:gd name="connsiteY17" fmla="*/ 256166 h 1661098"/>
                    <a:gd name="connsiteX18" fmla="*/ 955675 w 1146175"/>
                    <a:gd name="connsiteY18" fmla="*/ 278391 h 1661098"/>
                    <a:gd name="connsiteX19" fmla="*/ 974725 w 1146175"/>
                    <a:gd name="connsiteY19" fmla="*/ 303791 h 1661098"/>
                    <a:gd name="connsiteX20" fmla="*/ 968375 w 1146175"/>
                    <a:gd name="connsiteY20" fmla="*/ 338716 h 1661098"/>
                    <a:gd name="connsiteX21" fmla="*/ 965200 w 1146175"/>
                    <a:gd name="connsiteY21" fmla="*/ 348241 h 1661098"/>
                    <a:gd name="connsiteX22" fmla="*/ 949325 w 1146175"/>
                    <a:gd name="connsiteY22" fmla="*/ 367291 h 1661098"/>
                    <a:gd name="connsiteX23" fmla="*/ 939800 w 1146175"/>
                    <a:gd name="connsiteY23" fmla="*/ 389516 h 1661098"/>
                    <a:gd name="connsiteX24" fmla="*/ 936625 w 1146175"/>
                    <a:gd name="connsiteY24" fmla="*/ 402216 h 1661098"/>
                    <a:gd name="connsiteX25" fmla="*/ 930275 w 1146175"/>
                    <a:gd name="connsiteY25" fmla="*/ 418091 h 1661098"/>
                    <a:gd name="connsiteX26" fmla="*/ 927100 w 1146175"/>
                    <a:gd name="connsiteY26" fmla="*/ 430791 h 1661098"/>
                    <a:gd name="connsiteX27" fmla="*/ 920750 w 1146175"/>
                    <a:gd name="connsiteY27" fmla="*/ 446666 h 1661098"/>
                    <a:gd name="connsiteX28" fmla="*/ 917575 w 1146175"/>
                    <a:gd name="connsiteY28" fmla="*/ 459366 h 1661098"/>
                    <a:gd name="connsiteX29" fmla="*/ 914400 w 1146175"/>
                    <a:gd name="connsiteY29" fmla="*/ 468891 h 1661098"/>
                    <a:gd name="connsiteX30" fmla="*/ 917575 w 1146175"/>
                    <a:gd name="connsiteY30" fmla="*/ 506991 h 1661098"/>
                    <a:gd name="connsiteX31" fmla="*/ 923925 w 1146175"/>
                    <a:gd name="connsiteY31" fmla="*/ 519691 h 1661098"/>
                    <a:gd name="connsiteX32" fmla="*/ 939800 w 1146175"/>
                    <a:gd name="connsiteY32" fmla="*/ 538741 h 1661098"/>
                    <a:gd name="connsiteX33" fmla="*/ 942975 w 1146175"/>
                    <a:gd name="connsiteY33" fmla="*/ 548266 h 1661098"/>
                    <a:gd name="connsiteX34" fmla="*/ 955675 w 1146175"/>
                    <a:gd name="connsiteY34" fmla="*/ 573666 h 1661098"/>
                    <a:gd name="connsiteX35" fmla="*/ 968375 w 1146175"/>
                    <a:gd name="connsiteY35" fmla="*/ 614941 h 1661098"/>
                    <a:gd name="connsiteX36" fmla="*/ 974725 w 1146175"/>
                    <a:gd name="connsiteY36" fmla="*/ 627641 h 1661098"/>
                    <a:gd name="connsiteX37" fmla="*/ 981075 w 1146175"/>
                    <a:gd name="connsiteY37" fmla="*/ 646691 h 1661098"/>
                    <a:gd name="connsiteX38" fmla="*/ 993775 w 1146175"/>
                    <a:gd name="connsiteY38" fmla="*/ 649866 h 1661098"/>
                    <a:gd name="connsiteX39" fmla="*/ 1012825 w 1146175"/>
                    <a:gd name="connsiteY39" fmla="*/ 653041 h 1661098"/>
                    <a:gd name="connsiteX40" fmla="*/ 1041400 w 1146175"/>
                    <a:gd name="connsiteY40" fmla="*/ 665741 h 1661098"/>
                    <a:gd name="connsiteX41" fmla="*/ 1050925 w 1146175"/>
                    <a:gd name="connsiteY41" fmla="*/ 668916 h 1661098"/>
                    <a:gd name="connsiteX42" fmla="*/ 1066800 w 1146175"/>
                    <a:gd name="connsiteY42" fmla="*/ 678441 h 1661098"/>
                    <a:gd name="connsiteX43" fmla="*/ 1089025 w 1146175"/>
                    <a:gd name="connsiteY43" fmla="*/ 687966 h 1661098"/>
                    <a:gd name="connsiteX44" fmla="*/ 1117600 w 1146175"/>
                    <a:gd name="connsiteY44" fmla="*/ 707016 h 1661098"/>
                    <a:gd name="connsiteX45" fmla="*/ 1136650 w 1146175"/>
                    <a:gd name="connsiteY45" fmla="*/ 713366 h 1661098"/>
                    <a:gd name="connsiteX46" fmla="*/ 1146175 w 1146175"/>
                    <a:gd name="connsiteY46" fmla="*/ 903866 h 1661098"/>
                    <a:gd name="connsiteX47" fmla="*/ 1127125 w 1146175"/>
                    <a:gd name="connsiteY47" fmla="*/ 913391 h 1661098"/>
                    <a:gd name="connsiteX48" fmla="*/ 1101725 w 1146175"/>
                    <a:gd name="connsiteY48" fmla="*/ 919741 h 1661098"/>
                    <a:gd name="connsiteX49" fmla="*/ 1092200 w 1146175"/>
                    <a:gd name="connsiteY49" fmla="*/ 926091 h 1661098"/>
                    <a:gd name="connsiteX50" fmla="*/ 1079500 w 1146175"/>
                    <a:gd name="connsiteY50" fmla="*/ 929266 h 1661098"/>
                    <a:gd name="connsiteX51" fmla="*/ 1069975 w 1146175"/>
                    <a:gd name="connsiteY51" fmla="*/ 938791 h 1661098"/>
                    <a:gd name="connsiteX52" fmla="*/ 1060450 w 1146175"/>
                    <a:gd name="connsiteY52" fmla="*/ 945141 h 1661098"/>
                    <a:gd name="connsiteX53" fmla="*/ 1038225 w 1146175"/>
                    <a:gd name="connsiteY53" fmla="*/ 957841 h 1661098"/>
                    <a:gd name="connsiteX54" fmla="*/ 996950 w 1146175"/>
                    <a:gd name="connsiteY54" fmla="*/ 983241 h 1661098"/>
                    <a:gd name="connsiteX55" fmla="*/ 977900 w 1146175"/>
                    <a:gd name="connsiteY55" fmla="*/ 989591 h 1661098"/>
                    <a:gd name="connsiteX56" fmla="*/ 968375 w 1146175"/>
                    <a:gd name="connsiteY56" fmla="*/ 1014991 h 1661098"/>
                    <a:gd name="connsiteX57" fmla="*/ 958850 w 1146175"/>
                    <a:gd name="connsiteY57" fmla="*/ 1040391 h 1661098"/>
                    <a:gd name="connsiteX58" fmla="*/ 955675 w 1146175"/>
                    <a:gd name="connsiteY58" fmla="*/ 1065791 h 1661098"/>
                    <a:gd name="connsiteX59" fmla="*/ 949325 w 1146175"/>
                    <a:gd name="connsiteY59" fmla="*/ 1075316 h 1661098"/>
                    <a:gd name="connsiteX60" fmla="*/ 946150 w 1146175"/>
                    <a:gd name="connsiteY60" fmla="*/ 1084841 h 1661098"/>
                    <a:gd name="connsiteX61" fmla="*/ 936625 w 1146175"/>
                    <a:gd name="connsiteY61" fmla="*/ 1100716 h 1661098"/>
                    <a:gd name="connsiteX62" fmla="*/ 923925 w 1146175"/>
                    <a:gd name="connsiteY62" fmla="*/ 1135641 h 1661098"/>
                    <a:gd name="connsiteX63" fmla="*/ 917575 w 1146175"/>
                    <a:gd name="connsiteY63" fmla="*/ 1145166 h 1661098"/>
                    <a:gd name="connsiteX64" fmla="*/ 923925 w 1146175"/>
                    <a:gd name="connsiteY64" fmla="*/ 1199141 h 1661098"/>
                    <a:gd name="connsiteX65" fmla="*/ 939800 w 1146175"/>
                    <a:gd name="connsiteY65" fmla="*/ 1221366 h 1661098"/>
                    <a:gd name="connsiteX66" fmla="*/ 946150 w 1146175"/>
                    <a:gd name="connsiteY66" fmla="*/ 1234066 h 1661098"/>
                    <a:gd name="connsiteX67" fmla="*/ 952500 w 1146175"/>
                    <a:gd name="connsiteY67" fmla="*/ 1243591 h 1661098"/>
                    <a:gd name="connsiteX68" fmla="*/ 965200 w 1146175"/>
                    <a:gd name="connsiteY68" fmla="*/ 1268991 h 1661098"/>
                    <a:gd name="connsiteX69" fmla="*/ 974725 w 1146175"/>
                    <a:gd name="connsiteY69" fmla="*/ 1291216 h 1661098"/>
                    <a:gd name="connsiteX70" fmla="*/ 977900 w 1146175"/>
                    <a:gd name="connsiteY70" fmla="*/ 1303916 h 1661098"/>
                    <a:gd name="connsiteX71" fmla="*/ 981075 w 1146175"/>
                    <a:gd name="connsiteY71" fmla="*/ 1313441 h 1661098"/>
                    <a:gd name="connsiteX72" fmla="*/ 974725 w 1146175"/>
                    <a:gd name="connsiteY72" fmla="*/ 1348366 h 1661098"/>
                    <a:gd name="connsiteX73" fmla="*/ 949325 w 1146175"/>
                    <a:gd name="connsiteY73" fmla="*/ 1380116 h 1661098"/>
                    <a:gd name="connsiteX74" fmla="*/ 939800 w 1146175"/>
                    <a:gd name="connsiteY74" fmla="*/ 1386466 h 1661098"/>
                    <a:gd name="connsiteX75" fmla="*/ 930275 w 1146175"/>
                    <a:gd name="connsiteY75" fmla="*/ 1395991 h 1661098"/>
                    <a:gd name="connsiteX76" fmla="*/ 923925 w 1146175"/>
                    <a:gd name="connsiteY76" fmla="*/ 1405516 h 1661098"/>
                    <a:gd name="connsiteX77" fmla="*/ 908050 w 1146175"/>
                    <a:gd name="connsiteY77" fmla="*/ 1415041 h 1661098"/>
                    <a:gd name="connsiteX78" fmla="*/ 895350 w 1146175"/>
                    <a:gd name="connsiteY78" fmla="*/ 1427741 h 1661098"/>
                    <a:gd name="connsiteX79" fmla="*/ 882650 w 1146175"/>
                    <a:gd name="connsiteY79" fmla="*/ 1437266 h 1661098"/>
                    <a:gd name="connsiteX80" fmla="*/ 873125 w 1146175"/>
                    <a:gd name="connsiteY80" fmla="*/ 1446791 h 1661098"/>
                    <a:gd name="connsiteX81" fmla="*/ 844550 w 1146175"/>
                    <a:gd name="connsiteY81" fmla="*/ 1462666 h 1661098"/>
                    <a:gd name="connsiteX82" fmla="*/ 835025 w 1146175"/>
                    <a:gd name="connsiteY82" fmla="*/ 1465841 h 1661098"/>
                    <a:gd name="connsiteX83" fmla="*/ 815975 w 1146175"/>
                    <a:gd name="connsiteY83" fmla="*/ 1459491 h 1661098"/>
                    <a:gd name="connsiteX84" fmla="*/ 774700 w 1146175"/>
                    <a:gd name="connsiteY84" fmla="*/ 1443616 h 1661098"/>
                    <a:gd name="connsiteX85" fmla="*/ 749300 w 1146175"/>
                    <a:gd name="connsiteY85" fmla="*/ 1437266 h 1661098"/>
                    <a:gd name="connsiteX86" fmla="*/ 717550 w 1146175"/>
                    <a:gd name="connsiteY86" fmla="*/ 1424566 h 1661098"/>
                    <a:gd name="connsiteX87" fmla="*/ 688975 w 1146175"/>
                    <a:gd name="connsiteY87" fmla="*/ 1418216 h 1661098"/>
                    <a:gd name="connsiteX88" fmla="*/ 657225 w 1146175"/>
                    <a:gd name="connsiteY88" fmla="*/ 1408691 h 1661098"/>
                    <a:gd name="connsiteX89" fmla="*/ 635000 w 1146175"/>
                    <a:gd name="connsiteY89" fmla="*/ 1411866 h 1661098"/>
                    <a:gd name="connsiteX90" fmla="*/ 622300 w 1146175"/>
                    <a:gd name="connsiteY90" fmla="*/ 1418216 h 1661098"/>
                    <a:gd name="connsiteX91" fmla="*/ 606425 w 1146175"/>
                    <a:gd name="connsiteY91" fmla="*/ 1427741 h 1661098"/>
                    <a:gd name="connsiteX92" fmla="*/ 577850 w 1146175"/>
                    <a:gd name="connsiteY92" fmla="*/ 1443616 h 1661098"/>
                    <a:gd name="connsiteX93" fmla="*/ 558800 w 1146175"/>
                    <a:gd name="connsiteY93" fmla="*/ 1446791 h 1661098"/>
                    <a:gd name="connsiteX94" fmla="*/ 501650 w 1146175"/>
                    <a:gd name="connsiteY94" fmla="*/ 1453141 h 1661098"/>
                    <a:gd name="connsiteX95" fmla="*/ 492125 w 1146175"/>
                    <a:gd name="connsiteY95" fmla="*/ 1459491 h 1661098"/>
                    <a:gd name="connsiteX96" fmla="*/ 466725 w 1146175"/>
                    <a:gd name="connsiteY96" fmla="*/ 1491241 h 1661098"/>
                    <a:gd name="connsiteX97" fmla="*/ 457200 w 1146175"/>
                    <a:gd name="connsiteY97" fmla="*/ 1510291 h 1661098"/>
                    <a:gd name="connsiteX98" fmla="*/ 454025 w 1146175"/>
                    <a:gd name="connsiteY98" fmla="*/ 1519816 h 1661098"/>
                    <a:gd name="connsiteX99" fmla="*/ 447675 w 1146175"/>
                    <a:gd name="connsiteY99" fmla="*/ 1535691 h 1661098"/>
                    <a:gd name="connsiteX100" fmla="*/ 434975 w 1146175"/>
                    <a:gd name="connsiteY100" fmla="*/ 1561091 h 1661098"/>
                    <a:gd name="connsiteX101" fmla="*/ 431800 w 1146175"/>
                    <a:gd name="connsiteY101" fmla="*/ 1576966 h 1661098"/>
                    <a:gd name="connsiteX102" fmla="*/ 425450 w 1146175"/>
                    <a:gd name="connsiteY102" fmla="*/ 1602366 h 1661098"/>
                    <a:gd name="connsiteX103" fmla="*/ 422275 w 1146175"/>
                    <a:gd name="connsiteY103" fmla="*/ 1611891 h 1661098"/>
                    <a:gd name="connsiteX104" fmla="*/ 412750 w 1146175"/>
                    <a:gd name="connsiteY104" fmla="*/ 1621416 h 1661098"/>
                    <a:gd name="connsiteX105" fmla="*/ 222250 w 1146175"/>
                    <a:gd name="connsiteY105" fmla="*/ 1627766 h 1661098"/>
                    <a:gd name="connsiteX106" fmla="*/ 215900 w 1146175"/>
                    <a:gd name="connsiteY106" fmla="*/ 1611891 h 1661098"/>
                    <a:gd name="connsiteX107" fmla="*/ 206375 w 1146175"/>
                    <a:gd name="connsiteY107" fmla="*/ 1599191 h 1661098"/>
                    <a:gd name="connsiteX108" fmla="*/ 203200 w 1146175"/>
                    <a:gd name="connsiteY108" fmla="*/ 1586491 h 1661098"/>
                    <a:gd name="connsiteX109" fmla="*/ 196850 w 1146175"/>
                    <a:gd name="connsiteY109" fmla="*/ 1573791 h 1661098"/>
                    <a:gd name="connsiteX110" fmla="*/ 193675 w 1146175"/>
                    <a:gd name="connsiteY110" fmla="*/ 1564266 h 1661098"/>
                    <a:gd name="connsiteX111" fmla="*/ 187325 w 1146175"/>
                    <a:gd name="connsiteY111" fmla="*/ 1551566 h 1661098"/>
                    <a:gd name="connsiteX112" fmla="*/ 180975 w 1146175"/>
                    <a:gd name="connsiteY112" fmla="*/ 1535691 h 1661098"/>
                    <a:gd name="connsiteX113" fmla="*/ 161925 w 1146175"/>
                    <a:gd name="connsiteY113" fmla="*/ 1507116 h 1661098"/>
                    <a:gd name="connsiteX114" fmla="*/ 149225 w 1146175"/>
                    <a:gd name="connsiteY114" fmla="*/ 1484891 h 1661098"/>
                    <a:gd name="connsiteX115" fmla="*/ 142875 w 1146175"/>
                    <a:gd name="connsiteY115" fmla="*/ 1469016 h 1661098"/>
                    <a:gd name="connsiteX116" fmla="*/ 130175 w 1146175"/>
                    <a:gd name="connsiteY116" fmla="*/ 1465841 h 1661098"/>
                    <a:gd name="connsiteX117" fmla="*/ 101600 w 1146175"/>
                    <a:gd name="connsiteY117" fmla="*/ 1453141 h 1661098"/>
                    <a:gd name="connsiteX118" fmla="*/ 69850 w 1146175"/>
                    <a:gd name="connsiteY118" fmla="*/ 1443616 h 1661098"/>
                    <a:gd name="connsiteX119" fmla="*/ 41275 w 1146175"/>
                    <a:gd name="connsiteY119" fmla="*/ 1430916 h 1661098"/>
                    <a:gd name="connsiteX120" fmla="*/ 31750 w 1146175"/>
                    <a:gd name="connsiteY120" fmla="*/ 1424566 h 1661098"/>
                    <a:gd name="connsiteX121" fmla="*/ 15875 w 1146175"/>
                    <a:gd name="connsiteY121" fmla="*/ 1418216 h 1661098"/>
                    <a:gd name="connsiteX122" fmla="*/ 0 w 1146175"/>
                    <a:gd name="connsiteY122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36625 w 1146175"/>
                    <a:gd name="connsiteY16" fmla="*/ 256166 h 1661098"/>
                    <a:gd name="connsiteX17" fmla="*/ 955675 w 1146175"/>
                    <a:gd name="connsiteY17" fmla="*/ 278391 h 1661098"/>
                    <a:gd name="connsiteX18" fmla="*/ 974725 w 1146175"/>
                    <a:gd name="connsiteY18" fmla="*/ 303791 h 1661098"/>
                    <a:gd name="connsiteX19" fmla="*/ 968375 w 1146175"/>
                    <a:gd name="connsiteY19" fmla="*/ 338716 h 1661098"/>
                    <a:gd name="connsiteX20" fmla="*/ 965200 w 1146175"/>
                    <a:gd name="connsiteY20" fmla="*/ 348241 h 1661098"/>
                    <a:gd name="connsiteX21" fmla="*/ 949325 w 1146175"/>
                    <a:gd name="connsiteY21" fmla="*/ 367291 h 1661098"/>
                    <a:gd name="connsiteX22" fmla="*/ 939800 w 1146175"/>
                    <a:gd name="connsiteY22" fmla="*/ 389516 h 1661098"/>
                    <a:gd name="connsiteX23" fmla="*/ 936625 w 1146175"/>
                    <a:gd name="connsiteY23" fmla="*/ 402216 h 1661098"/>
                    <a:gd name="connsiteX24" fmla="*/ 930275 w 1146175"/>
                    <a:gd name="connsiteY24" fmla="*/ 418091 h 1661098"/>
                    <a:gd name="connsiteX25" fmla="*/ 927100 w 1146175"/>
                    <a:gd name="connsiteY25" fmla="*/ 430791 h 1661098"/>
                    <a:gd name="connsiteX26" fmla="*/ 920750 w 1146175"/>
                    <a:gd name="connsiteY26" fmla="*/ 446666 h 1661098"/>
                    <a:gd name="connsiteX27" fmla="*/ 917575 w 1146175"/>
                    <a:gd name="connsiteY27" fmla="*/ 459366 h 1661098"/>
                    <a:gd name="connsiteX28" fmla="*/ 914400 w 1146175"/>
                    <a:gd name="connsiteY28" fmla="*/ 468891 h 1661098"/>
                    <a:gd name="connsiteX29" fmla="*/ 917575 w 1146175"/>
                    <a:gd name="connsiteY29" fmla="*/ 506991 h 1661098"/>
                    <a:gd name="connsiteX30" fmla="*/ 923925 w 1146175"/>
                    <a:gd name="connsiteY30" fmla="*/ 519691 h 1661098"/>
                    <a:gd name="connsiteX31" fmla="*/ 939800 w 1146175"/>
                    <a:gd name="connsiteY31" fmla="*/ 538741 h 1661098"/>
                    <a:gd name="connsiteX32" fmla="*/ 942975 w 1146175"/>
                    <a:gd name="connsiteY32" fmla="*/ 548266 h 1661098"/>
                    <a:gd name="connsiteX33" fmla="*/ 955675 w 1146175"/>
                    <a:gd name="connsiteY33" fmla="*/ 573666 h 1661098"/>
                    <a:gd name="connsiteX34" fmla="*/ 968375 w 1146175"/>
                    <a:gd name="connsiteY34" fmla="*/ 614941 h 1661098"/>
                    <a:gd name="connsiteX35" fmla="*/ 974725 w 1146175"/>
                    <a:gd name="connsiteY35" fmla="*/ 627641 h 1661098"/>
                    <a:gd name="connsiteX36" fmla="*/ 981075 w 1146175"/>
                    <a:gd name="connsiteY36" fmla="*/ 646691 h 1661098"/>
                    <a:gd name="connsiteX37" fmla="*/ 993775 w 1146175"/>
                    <a:gd name="connsiteY37" fmla="*/ 649866 h 1661098"/>
                    <a:gd name="connsiteX38" fmla="*/ 1012825 w 1146175"/>
                    <a:gd name="connsiteY38" fmla="*/ 653041 h 1661098"/>
                    <a:gd name="connsiteX39" fmla="*/ 1041400 w 1146175"/>
                    <a:gd name="connsiteY39" fmla="*/ 665741 h 1661098"/>
                    <a:gd name="connsiteX40" fmla="*/ 1050925 w 1146175"/>
                    <a:gd name="connsiteY40" fmla="*/ 668916 h 1661098"/>
                    <a:gd name="connsiteX41" fmla="*/ 1066800 w 1146175"/>
                    <a:gd name="connsiteY41" fmla="*/ 678441 h 1661098"/>
                    <a:gd name="connsiteX42" fmla="*/ 1089025 w 1146175"/>
                    <a:gd name="connsiteY42" fmla="*/ 687966 h 1661098"/>
                    <a:gd name="connsiteX43" fmla="*/ 1117600 w 1146175"/>
                    <a:gd name="connsiteY43" fmla="*/ 707016 h 1661098"/>
                    <a:gd name="connsiteX44" fmla="*/ 1136650 w 1146175"/>
                    <a:gd name="connsiteY44" fmla="*/ 713366 h 1661098"/>
                    <a:gd name="connsiteX45" fmla="*/ 1146175 w 1146175"/>
                    <a:gd name="connsiteY45" fmla="*/ 903866 h 1661098"/>
                    <a:gd name="connsiteX46" fmla="*/ 1127125 w 1146175"/>
                    <a:gd name="connsiteY46" fmla="*/ 913391 h 1661098"/>
                    <a:gd name="connsiteX47" fmla="*/ 1101725 w 1146175"/>
                    <a:gd name="connsiteY47" fmla="*/ 919741 h 1661098"/>
                    <a:gd name="connsiteX48" fmla="*/ 1092200 w 1146175"/>
                    <a:gd name="connsiteY48" fmla="*/ 926091 h 1661098"/>
                    <a:gd name="connsiteX49" fmla="*/ 1079500 w 1146175"/>
                    <a:gd name="connsiteY49" fmla="*/ 929266 h 1661098"/>
                    <a:gd name="connsiteX50" fmla="*/ 1069975 w 1146175"/>
                    <a:gd name="connsiteY50" fmla="*/ 938791 h 1661098"/>
                    <a:gd name="connsiteX51" fmla="*/ 1060450 w 1146175"/>
                    <a:gd name="connsiteY51" fmla="*/ 945141 h 1661098"/>
                    <a:gd name="connsiteX52" fmla="*/ 1038225 w 1146175"/>
                    <a:gd name="connsiteY52" fmla="*/ 957841 h 1661098"/>
                    <a:gd name="connsiteX53" fmla="*/ 996950 w 1146175"/>
                    <a:gd name="connsiteY53" fmla="*/ 983241 h 1661098"/>
                    <a:gd name="connsiteX54" fmla="*/ 977900 w 1146175"/>
                    <a:gd name="connsiteY54" fmla="*/ 989591 h 1661098"/>
                    <a:gd name="connsiteX55" fmla="*/ 968375 w 1146175"/>
                    <a:gd name="connsiteY55" fmla="*/ 1014991 h 1661098"/>
                    <a:gd name="connsiteX56" fmla="*/ 958850 w 1146175"/>
                    <a:gd name="connsiteY56" fmla="*/ 1040391 h 1661098"/>
                    <a:gd name="connsiteX57" fmla="*/ 955675 w 1146175"/>
                    <a:gd name="connsiteY57" fmla="*/ 1065791 h 1661098"/>
                    <a:gd name="connsiteX58" fmla="*/ 949325 w 1146175"/>
                    <a:gd name="connsiteY58" fmla="*/ 1075316 h 1661098"/>
                    <a:gd name="connsiteX59" fmla="*/ 946150 w 1146175"/>
                    <a:gd name="connsiteY59" fmla="*/ 1084841 h 1661098"/>
                    <a:gd name="connsiteX60" fmla="*/ 936625 w 1146175"/>
                    <a:gd name="connsiteY60" fmla="*/ 1100716 h 1661098"/>
                    <a:gd name="connsiteX61" fmla="*/ 923925 w 1146175"/>
                    <a:gd name="connsiteY61" fmla="*/ 1135641 h 1661098"/>
                    <a:gd name="connsiteX62" fmla="*/ 917575 w 1146175"/>
                    <a:gd name="connsiteY62" fmla="*/ 1145166 h 1661098"/>
                    <a:gd name="connsiteX63" fmla="*/ 923925 w 1146175"/>
                    <a:gd name="connsiteY63" fmla="*/ 1199141 h 1661098"/>
                    <a:gd name="connsiteX64" fmla="*/ 939800 w 1146175"/>
                    <a:gd name="connsiteY64" fmla="*/ 1221366 h 1661098"/>
                    <a:gd name="connsiteX65" fmla="*/ 946150 w 1146175"/>
                    <a:gd name="connsiteY65" fmla="*/ 1234066 h 1661098"/>
                    <a:gd name="connsiteX66" fmla="*/ 952500 w 1146175"/>
                    <a:gd name="connsiteY66" fmla="*/ 1243591 h 1661098"/>
                    <a:gd name="connsiteX67" fmla="*/ 965200 w 1146175"/>
                    <a:gd name="connsiteY67" fmla="*/ 1268991 h 1661098"/>
                    <a:gd name="connsiteX68" fmla="*/ 974725 w 1146175"/>
                    <a:gd name="connsiteY68" fmla="*/ 1291216 h 1661098"/>
                    <a:gd name="connsiteX69" fmla="*/ 977900 w 1146175"/>
                    <a:gd name="connsiteY69" fmla="*/ 1303916 h 1661098"/>
                    <a:gd name="connsiteX70" fmla="*/ 981075 w 1146175"/>
                    <a:gd name="connsiteY70" fmla="*/ 1313441 h 1661098"/>
                    <a:gd name="connsiteX71" fmla="*/ 974725 w 1146175"/>
                    <a:gd name="connsiteY71" fmla="*/ 1348366 h 1661098"/>
                    <a:gd name="connsiteX72" fmla="*/ 949325 w 1146175"/>
                    <a:gd name="connsiteY72" fmla="*/ 1380116 h 1661098"/>
                    <a:gd name="connsiteX73" fmla="*/ 939800 w 1146175"/>
                    <a:gd name="connsiteY73" fmla="*/ 1386466 h 1661098"/>
                    <a:gd name="connsiteX74" fmla="*/ 930275 w 1146175"/>
                    <a:gd name="connsiteY74" fmla="*/ 1395991 h 1661098"/>
                    <a:gd name="connsiteX75" fmla="*/ 923925 w 1146175"/>
                    <a:gd name="connsiteY75" fmla="*/ 1405516 h 1661098"/>
                    <a:gd name="connsiteX76" fmla="*/ 908050 w 1146175"/>
                    <a:gd name="connsiteY76" fmla="*/ 1415041 h 1661098"/>
                    <a:gd name="connsiteX77" fmla="*/ 895350 w 1146175"/>
                    <a:gd name="connsiteY77" fmla="*/ 1427741 h 1661098"/>
                    <a:gd name="connsiteX78" fmla="*/ 882650 w 1146175"/>
                    <a:gd name="connsiteY78" fmla="*/ 1437266 h 1661098"/>
                    <a:gd name="connsiteX79" fmla="*/ 873125 w 1146175"/>
                    <a:gd name="connsiteY79" fmla="*/ 1446791 h 1661098"/>
                    <a:gd name="connsiteX80" fmla="*/ 844550 w 1146175"/>
                    <a:gd name="connsiteY80" fmla="*/ 1462666 h 1661098"/>
                    <a:gd name="connsiteX81" fmla="*/ 835025 w 1146175"/>
                    <a:gd name="connsiteY81" fmla="*/ 1465841 h 1661098"/>
                    <a:gd name="connsiteX82" fmla="*/ 815975 w 1146175"/>
                    <a:gd name="connsiteY82" fmla="*/ 1459491 h 1661098"/>
                    <a:gd name="connsiteX83" fmla="*/ 774700 w 1146175"/>
                    <a:gd name="connsiteY83" fmla="*/ 1443616 h 1661098"/>
                    <a:gd name="connsiteX84" fmla="*/ 749300 w 1146175"/>
                    <a:gd name="connsiteY84" fmla="*/ 1437266 h 1661098"/>
                    <a:gd name="connsiteX85" fmla="*/ 717550 w 1146175"/>
                    <a:gd name="connsiteY85" fmla="*/ 1424566 h 1661098"/>
                    <a:gd name="connsiteX86" fmla="*/ 688975 w 1146175"/>
                    <a:gd name="connsiteY86" fmla="*/ 1418216 h 1661098"/>
                    <a:gd name="connsiteX87" fmla="*/ 657225 w 1146175"/>
                    <a:gd name="connsiteY87" fmla="*/ 1408691 h 1661098"/>
                    <a:gd name="connsiteX88" fmla="*/ 635000 w 1146175"/>
                    <a:gd name="connsiteY88" fmla="*/ 1411866 h 1661098"/>
                    <a:gd name="connsiteX89" fmla="*/ 622300 w 1146175"/>
                    <a:gd name="connsiteY89" fmla="*/ 1418216 h 1661098"/>
                    <a:gd name="connsiteX90" fmla="*/ 606425 w 1146175"/>
                    <a:gd name="connsiteY90" fmla="*/ 1427741 h 1661098"/>
                    <a:gd name="connsiteX91" fmla="*/ 577850 w 1146175"/>
                    <a:gd name="connsiteY91" fmla="*/ 1443616 h 1661098"/>
                    <a:gd name="connsiteX92" fmla="*/ 558800 w 1146175"/>
                    <a:gd name="connsiteY92" fmla="*/ 1446791 h 1661098"/>
                    <a:gd name="connsiteX93" fmla="*/ 501650 w 1146175"/>
                    <a:gd name="connsiteY93" fmla="*/ 1453141 h 1661098"/>
                    <a:gd name="connsiteX94" fmla="*/ 492125 w 1146175"/>
                    <a:gd name="connsiteY94" fmla="*/ 1459491 h 1661098"/>
                    <a:gd name="connsiteX95" fmla="*/ 466725 w 1146175"/>
                    <a:gd name="connsiteY95" fmla="*/ 1491241 h 1661098"/>
                    <a:gd name="connsiteX96" fmla="*/ 457200 w 1146175"/>
                    <a:gd name="connsiteY96" fmla="*/ 1510291 h 1661098"/>
                    <a:gd name="connsiteX97" fmla="*/ 454025 w 1146175"/>
                    <a:gd name="connsiteY97" fmla="*/ 1519816 h 1661098"/>
                    <a:gd name="connsiteX98" fmla="*/ 447675 w 1146175"/>
                    <a:gd name="connsiteY98" fmla="*/ 1535691 h 1661098"/>
                    <a:gd name="connsiteX99" fmla="*/ 434975 w 1146175"/>
                    <a:gd name="connsiteY99" fmla="*/ 1561091 h 1661098"/>
                    <a:gd name="connsiteX100" fmla="*/ 431800 w 1146175"/>
                    <a:gd name="connsiteY100" fmla="*/ 1576966 h 1661098"/>
                    <a:gd name="connsiteX101" fmla="*/ 425450 w 1146175"/>
                    <a:gd name="connsiteY101" fmla="*/ 1602366 h 1661098"/>
                    <a:gd name="connsiteX102" fmla="*/ 422275 w 1146175"/>
                    <a:gd name="connsiteY102" fmla="*/ 1611891 h 1661098"/>
                    <a:gd name="connsiteX103" fmla="*/ 412750 w 1146175"/>
                    <a:gd name="connsiteY103" fmla="*/ 1621416 h 1661098"/>
                    <a:gd name="connsiteX104" fmla="*/ 222250 w 1146175"/>
                    <a:gd name="connsiteY104" fmla="*/ 1627766 h 1661098"/>
                    <a:gd name="connsiteX105" fmla="*/ 215900 w 1146175"/>
                    <a:gd name="connsiteY105" fmla="*/ 1611891 h 1661098"/>
                    <a:gd name="connsiteX106" fmla="*/ 206375 w 1146175"/>
                    <a:gd name="connsiteY106" fmla="*/ 1599191 h 1661098"/>
                    <a:gd name="connsiteX107" fmla="*/ 203200 w 1146175"/>
                    <a:gd name="connsiteY107" fmla="*/ 1586491 h 1661098"/>
                    <a:gd name="connsiteX108" fmla="*/ 196850 w 1146175"/>
                    <a:gd name="connsiteY108" fmla="*/ 1573791 h 1661098"/>
                    <a:gd name="connsiteX109" fmla="*/ 193675 w 1146175"/>
                    <a:gd name="connsiteY109" fmla="*/ 1564266 h 1661098"/>
                    <a:gd name="connsiteX110" fmla="*/ 187325 w 1146175"/>
                    <a:gd name="connsiteY110" fmla="*/ 1551566 h 1661098"/>
                    <a:gd name="connsiteX111" fmla="*/ 180975 w 1146175"/>
                    <a:gd name="connsiteY111" fmla="*/ 1535691 h 1661098"/>
                    <a:gd name="connsiteX112" fmla="*/ 161925 w 1146175"/>
                    <a:gd name="connsiteY112" fmla="*/ 1507116 h 1661098"/>
                    <a:gd name="connsiteX113" fmla="*/ 149225 w 1146175"/>
                    <a:gd name="connsiteY113" fmla="*/ 1484891 h 1661098"/>
                    <a:gd name="connsiteX114" fmla="*/ 142875 w 1146175"/>
                    <a:gd name="connsiteY114" fmla="*/ 1469016 h 1661098"/>
                    <a:gd name="connsiteX115" fmla="*/ 130175 w 1146175"/>
                    <a:gd name="connsiteY115" fmla="*/ 1465841 h 1661098"/>
                    <a:gd name="connsiteX116" fmla="*/ 101600 w 1146175"/>
                    <a:gd name="connsiteY116" fmla="*/ 1453141 h 1661098"/>
                    <a:gd name="connsiteX117" fmla="*/ 69850 w 1146175"/>
                    <a:gd name="connsiteY117" fmla="*/ 1443616 h 1661098"/>
                    <a:gd name="connsiteX118" fmla="*/ 41275 w 1146175"/>
                    <a:gd name="connsiteY118" fmla="*/ 1430916 h 1661098"/>
                    <a:gd name="connsiteX119" fmla="*/ 31750 w 1146175"/>
                    <a:gd name="connsiteY119" fmla="*/ 1424566 h 1661098"/>
                    <a:gd name="connsiteX120" fmla="*/ 15875 w 1146175"/>
                    <a:gd name="connsiteY120" fmla="*/ 1418216 h 1661098"/>
                    <a:gd name="connsiteX121" fmla="*/ 0 w 1146175"/>
                    <a:gd name="connsiteY121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55675 w 1146175"/>
                    <a:gd name="connsiteY16" fmla="*/ 278391 h 1661098"/>
                    <a:gd name="connsiteX17" fmla="*/ 974725 w 1146175"/>
                    <a:gd name="connsiteY17" fmla="*/ 303791 h 1661098"/>
                    <a:gd name="connsiteX18" fmla="*/ 968375 w 1146175"/>
                    <a:gd name="connsiteY18" fmla="*/ 338716 h 1661098"/>
                    <a:gd name="connsiteX19" fmla="*/ 965200 w 1146175"/>
                    <a:gd name="connsiteY19" fmla="*/ 348241 h 1661098"/>
                    <a:gd name="connsiteX20" fmla="*/ 949325 w 1146175"/>
                    <a:gd name="connsiteY20" fmla="*/ 367291 h 1661098"/>
                    <a:gd name="connsiteX21" fmla="*/ 939800 w 1146175"/>
                    <a:gd name="connsiteY21" fmla="*/ 389516 h 1661098"/>
                    <a:gd name="connsiteX22" fmla="*/ 936625 w 1146175"/>
                    <a:gd name="connsiteY22" fmla="*/ 402216 h 1661098"/>
                    <a:gd name="connsiteX23" fmla="*/ 930275 w 1146175"/>
                    <a:gd name="connsiteY23" fmla="*/ 418091 h 1661098"/>
                    <a:gd name="connsiteX24" fmla="*/ 927100 w 1146175"/>
                    <a:gd name="connsiteY24" fmla="*/ 430791 h 1661098"/>
                    <a:gd name="connsiteX25" fmla="*/ 920750 w 1146175"/>
                    <a:gd name="connsiteY25" fmla="*/ 446666 h 1661098"/>
                    <a:gd name="connsiteX26" fmla="*/ 917575 w 1146175"/>
                    <a:gd name="connsiteY26" fmla="*/ 459366 h 1661098"/>
                    <a:gd name="connsiteX27" fmla="*/ 914400 w 1146175"/>
                    <a:gd name="connsiteY27" fmla="*/ 468891 h 1661098"/>
                    <a:gd name="connsiteX28" fmla="*/ 917575 w 1146175"/>
                    <a:gd name="connsiteY28" fmla="*/ 506991 h 1661098"/>
                    <a:gd name="connsiteX29" fmla="*/ 923925 w 1146175"/>
                    <a:gd name="connsiteY29" fmla="*/ 519691 h 1661098"/>
                    <a:gd name="connsiteX30" fmla="*/ 939800 w 1146175"/>
                    <a:gd name="connsiteY30" fmla="*/ 538741 h 1661098"/>
                    <a:gd name="connsiteX31" fmla="*/ 942975 w 1146175"/>
                    <a:gd name="connsiteY31" fmla="*/ 548266 h 1661098"/>
                    <a:gd name="connsiteX32" fmla="*/ 955675 w 1146175"/>
                    <a:gd name="connsiteY32" fmla="*/ 573666 h 1661098"/>
                    <a:gd name="connsiteX33" fmla="*/ 968375 w 1146175"/>
                    <a:gd name="connsiteY33" fmla="*/ 614941 h 1661098"/>
                    <a:gd name="connsiteX34" fmla="*/ 974725 w 1146175"/>
                    <a:gd name="connsiteY34" fmla="*/ 627641 h 1661098"/>
                    <a:gd name="connsiteX35" fmla="*/ 981075 w 1146175"/>
                    <a:gd name="connsiteY35" fmla="*/ 646691 h 1661098"/>
                    <a:gd name="connsiteX36" fmla="*/ 993775 w 1146175"/>
                    <a:gd name="connsiteY36" fmla="*/ 649866 h 1661098"/>
                    <a:gd name="connsiteX37" fmla="*/ 1012825 w 1146175"/>
                    <a:gd name="connsiteY37" fmla="*/ 653041 h 1661098"/>
                    <a:gd name="connsiteX38" fmla="*/ 1041400 w 1146175"/>
                    <a:gd name="connsiteY38" fmla="*/ 665741 h 1661098"/>
                    <a:gd name="connsiteX39" fmla="*/ 1050925 w 1146175"/>
                    <a:gd name="connsiteY39" fmla="*/ 668916 h 1661098"/>
                    <a:gd name="connsiteX40" fmla="*/ 1066800 w 1146175"/>
                    <a:gd name="connsiteY40" fmla="*/ 678441 h 1661098"/>
                    <a:gd name="connsiteX41" fmla="*/ 1089025 w 1146175"/>
                    <a:gd name="connsiteY41" fmla="*/ 687966 h 1661098"/>
                    <a:gd name="connsiteX42" fmla="*/ 1117600 w 1146175"/>
                    <a:gd name="connsiteY42" fmla="*/ 707016 h 1661098"/>
                    <a:gd name="connsiteX43" fmla="*/ 1136650 w 1146175"/>
                    <a:gd name="connsiteY43" fmla="*/ 713366 h 1661098"/>
                    <a:gd name="connsiteX44" fmla="*/ 1146175 w 1146175"/>
                    <a:gd name="connsiteY44" fmla="*/ 903866 h 1661098"/>
                    <a:gd name="connsiteX45" fmla="*/ 1127125 w 1146175"/>
                    <a:gd name="connsiteY45" fmla="*/ 913391 h 1661098"/>
                    <a:gd name="connsiteX46" fmla="*/ 1101725 w 1146175"/>
                    <a:gd name="connsiteY46" fmla="*/ 919741 h 1661098"/>
                    <a:gd name="connsiteX47" fmla="*/ 1092200 w 1146175"/>
                    <a:gd name="connsiteY47" fmla="*/ 926091 h 1661098"/>
                    <a:gd name="connsiteX48" fmla="*/ 1079500 w 1146175"/>
                    <a:gd name="connsiteY48" fmla="*/ 929266 h 1661098"/>
                    <a:gd name="connsiteX49" fmla="*/ 1069975 w 1146175"/>
                    <a:gd name="connsiteY49" fmla="*/ 938791 h 1661098"/>
                    <a:gd name="connsiteX50" fmla="*/ 1060450 w 1146175"/>
                    <a:gd name="connsiteY50" fmla="*/ 945141 h 1661098"/>
                    <a:gd name="connsiteX51" fmla="*/ 1038225 w 1146175"/>
                    <a:gd name="connsiteY51" fmla="*/ 957841 h 1661098"/>
                    <a:gd name="connsiteX52" fmla="*/ 996950 w 1146175"/>
                    <a:gd name="connsiteY52" fmla="*/ 983241 h 1661098"/>
                    <a:gd name="connsiteX53" fmla="*/ 977900 w 1146175"/>
                    <a:gd name="connsiteY53" fmla="*/ 989591 h 1661098"/>
                    <a:gd name="connsiteX54" fmla="*/ 968375 w 1146175"/>
                    <a:gd name="connsiteY54" fmla="*/ 1014991 h 1661098"/>
                    <a:gd name="connsiteX55" fmla="*/ 958850 w 1146175"/>
                    <a:gd name="connsiteY55" fmla="*/ 1040391 h 1661098"/>
                    <a:gd name="connsiteX56" fmla="*/ 955675 w 1146175"/>
                    <a:gd name="connsiteY56" fmla="*/ 1065791 h 1661098"/>
                    <a:gd name="connsiteX57" fmla="*/ 949325 w 1146175"/>
                    <a:gd name="connsiteY57" fmla="*/ 1075316 h 1661098"/>
                    <a:gd name="connsiteX58" fmla="*/ 946150 w 1146175"/>
                    <a:gd name="connsiteY58" fmla="*/ 1084841 h 1661098"/>
                    <a:gd name="connsiteX59" fmla="*/ 936625 w 1146175"/>
                    <a:gd name="connsiteY59" fmla="*/ 1100716 h 1661098"/>
                    <a:gd name="connsiteX60" fmla="*/ 923925 w 1146175"/>
                    <a:gd name="connsiteY60" fmla="*/ 1135641 h 1661098"/>
                    <a:gd name="connsiteX61" fmla="*/ 917575 w 1146175"/>
                    <a:gd name="connsiteY61" fmla="*/ 1145166 h 1661098"/>
                    <a:gd name="connsiteX62" fmla="*/ 923925 w 1146175"/>
                    <a:gd name="connsiteY62" fmla="*/ 1199141 h 1661098"/>
                    <a:gd name="connsiteX63" fmla="*/ 939800 w 1146175"/>
                    <a:gd name="connsiteY63" fmla="*/ 1221366 h 1661098"/>
                    <a:gd name="connsiteX64" fmla="*/ 946150 w 1146175"/>
                    <a:gd name="connsiteY64" fmla="*/ 1234066 h 1661098"/>
                    <a:gd name="connsiteX65" fmla="*/ 952500 w 1146175"/>
                    <a:gd name="connsiteY65" fmla="*/ 1243591 h 1661098"/>
                    <a:gd name="connsiteX66" fmla="*/ 965200 w 1146175"/>
                    <a:gd name="connsiteY66" fmla="*/ 1268991 h 1661098"/>
                    <a:gd name="connsiteX67" fmla="*/ 974725 w 1146175"/>
                    <a:gd name="connsiteY67" fmla="*/ 1291216 h 1661098"/>
                    <a:gd name="connsiteX68" fmla="*/ 977900 w 1146175"/>
                    <a:gd name="connsiteY68" fmla="*/ 1303916 h 1661098"/>
                    <a:gd name="connsiteX69" fmla="*/ 981075 w 1146175"/>
                    <a:gd name="connsiteY69" fmla="*/ 1313441 h 1661098"/>
                    <a:gd name="connsiteX70" fmla="*/ 974725 w 1146175"/>
                    <a:gd name="connsiteY70" fmla="*/ 1348366 h 1661098"/>
                    <a:gd name="connsiteX71" fmla="*/ 949325 w 1146175"/>
                    <a:gd name="connsiteY71" fmla="*/ 1380116 h 1661098"/>
                    <a:gd name="connsiteX72" fmla="*/ 939800 w 1146175"/>
                    <a:gd name="connsiteY72" fmla="*/ 1386466 h 1661098"/>
                    <a:gd name="connsiteX73" fmla="*/ 930275 w 1146175"/>
                    <a:gd name="connsiteY73" fmla="*/ 1395991 h 1661098"/>
                    <a:gd name="connsiteX74" fmla="*/ 923925 w 1146175"/>
                    <a:gd name="connsiteY74" fmla="*/ 1405516 h 1661098"/>
                    <a:gd name="connsiteX75" fmla="*/ 908050 w 1146175"/>
                    <a:gd name="connsiteY75" fmla="*/ 1415041 h 1661098"/>
                    <a:gd name="connsiteX76" fmla="*/ 895350 w 1146175"/>
                    <a:gd name="connsiteY76" fmla="*/ 1427741 h 1661098"/>
                    <a:gd name="connsiteX77" fmla="*/ 882650 w 1146175"/>
                    <a:gd name="connsiteY77" fmla="*/ 1437266 h 1661098"/>
                    <a:gd name="connsiteX78" fmla="*/ 873125 w 1146175"/>
                    <a:gd name="connsiteY78" fmla="*/ 1446791 h 1661098"/>
                    <a:gd name="connsiteX79" fmla="*/ 844550 w 1146175"/>
                    <a:gd name="connsiteY79" fmla="*/ 1462666 h 1661098"/>
                    <a:gd name="connsiteX80" fmla="*/ 835025 w 1146175"/>
                    <a:gd name="connsiteY80" fmla="*/ 1465841 h 1661098"/>
                    <a:gd name="connsiteX81" fmla="*/ 815975 w 1146175"/>
                    <a:gd name="connsiteY81" fmla="*/ 1459491 h 1661098"/>
                    <a:gd name="connsiteX82" fmla="*/ 774700 w 1146175"/>
                    <a:gd name="connsiteY82" fmla="*/ 1443616 h 1661098"/>
                    <a:gd name="connsiteX83" fmla="*/ 749300 w 1146175"/>
                    <a:gd name="connsiteY83" fmla="*/ 1437266 h 1661098"/>
                    <a:gd name="connsiteX84" fmla="*/ 717550 w 1146175"/>
                    <a:gd name="connsiteY84" fmla="*/ 1424566 h 1661098"/>
                    <a:gd name="connsiteX85" fmla="*/ 688975 w 1146175"/>
                    <a:gd name="connsiteY85" fmla="*/ 1418216 h 1661098"/>
                    <a:gd name="connsiteX86" fmla="*/ 657225 w 1146175"/>
                    <a:gd name="connsiteY86" fmla="*/ 1408691 h 1661098"/>
                    <a:gd name="connsiteX87" fmla="*/ 635000 w 1146175"/>
                    <a:gd name="connsiteY87" fmla="*/ 1411866 h 1661098"/>
                    <a:gd name="connsiteX88" fmla="*/ 622300 w 1146175"/>
                    <a:gd name="connsiteY88" fmla="*/ 1418216 h 1661098"/>
                    <a:gd name="connsiteX89" fmla="*/ 606425 w 1146175"/>
                    <a:gd name="connsiteY89" fmla="*/ 1427741 h 1661098"/>
                    <a:gd name="connsiteX90" fmla="*/ 577850 w 1146175"/>
                    <a:gd name="connsiteY90" fmla="*/ 1443616 h 1661098"/>
                    <a:gd name="connsiteX91" fmla="*/ 558800 w 1146175"/>
                    <a:gd name="connsiteY91" fmla="*/ 1446791 h 1661098"/>
                    <a:gd name="connsiteX92" fmla="*/ 501650 w 1146175"/>
                    <a:gd name="connsiteY92" fmla="*/ 1453141 h 1661098"/>
                    <a:gd name="connsiteX93" fmla="*/ 492125 w 1146175"/>
                    <a:gd name="connsiteY93" fmla="*/ 1459491 h 1661098"/>
                    <a:gd name="connsiteX94" fmla="*/ 466725 w 1146175"/>
                    <a:gd name="connsiteY94" fmla="*/ 1491241 h 1661098"/>
                    <a:gd name="connsiteX95" fmla="*/ 457200 w 1146175"/>
                    <a:gd name="connsiteY95" fmla="*/ 1510291 h 1661098"/>
                    <a:gd name="connsiteX96" fmla="*/ 454025 w 1146175"/>
                    <a:gd name="connsiteY96" fmla="*/ 1519816 h 1661098"/>
                    <a:gd name="connsiteX97" fmla="*/ 447675 w 1146175"/>
                    <a:gd name="connsiteY97" fmla="*/ 1535691 h 1661098"/>
                    <a:gd name="connsiteX98" fmla="*/ 434975 w 1146175"/>
                    <a:gd name="connsiteY98" fmla="*/ 1561091 h 1661098"/>
                    <a:gd name="connsiteX99" fmla="*/ 431800 w 1146175"/>
                    <a:gd name="connsiteY99" fmla="*/ 1576966 h 1661098"/>
                    <a:gd name="connsiteX100" fmla="*/ 425450 w 1146175"/>
                    <a:gd name="connsiteY100" fmla="*/ 1602366 h 1661098"/>
                    <a:gd name="connsiteX101" fmla="*/ 422275 w 1146175"/>
                    <a:gd name="connsiteY101" fmla="*/ 1611891 h 1661098"/>
                    <a:gd name="connsiteX102" fmla="*/ 412750 w 1146175"/>
                    <a:gd name="connsiteY102" fmla="*/ 1621416 h 1661098"/>
                    <a:gd name="connsiteX103" fmla="*/ 222250 w 1146175"/>
                    <a:gd name="connsiteY103" fmla="*/ 1627766 h 1661098"/>
                    <a:gd name="connsiteX104" fmla="*/ 215900 w 1146175"/>
                    <a:gd name="connsiteY104" fmla="*/ 1611891 h 1661098"/>
                    <a:gd name="connsiteX105" fmla="*/ 206375 w 1146175"/>
                    <a:gd name="connsiteY105" fmla="*/ 1599191 h 1661098"/>
                    <a:gd name="connsiteX106" fmla="*/ 203200 w 1146175"/>
                    <a:gd name="connsiteY106" fmla="*/ 1586491 h 1661098"/>
                    <a:gd name="connsiteX107" fmla="*/ 196850 w 1146175"/>
                    <a:gd name="connsiteY107" fmla="*/ 1573791 h 1661098"/>
                    <a:gd name="connsiteX108" fmla="*/ 193675 w 1146175"/>
                    <a:gd name="connsiteY108" fmla="*/ 1564266 h 1661098"/>
                    <a:gd name="connsiteX109" fmla="*/ 187325 w 1146175"/>
                    <a:gd name="connsiteY109" fmla="*/ 1551566 h 1661098"/>
                    <a:gd name="connsiteX110" fmla="*/ 180975 w 1146175"/>
                    <a:gd name="connsiteY110" fmla="*/ 1535691 h 1661098"/>
                    <a:gd name="connsiteX111" fmla="*/ 161925 w 1146175"/>
                    <a:gd name="connsiteY111" fmla="*/ 1507116 h 1661098"/>
                    <a:gd name="connsiteX112" fmla="*/ 149225 w 1146175"/>
                    <a:gd name="connsiteY112" fmla="*/ 1484891 h 1661098"/>
                    <a:gd name="connsiteX113" fmla="*/ 142875 w 1146175"/>
                    <a:gd name="connsiteY113" fmla="*/ 1469016 h 1661098"/>
                    <a:gd name="connsiteX114" fmla="*/ 130175 w 1146175"/>
                    <a:gd name="connsiteY114" fmla="*/ 1465841 h 1661098"/>
                    <a:gd name="connsiteX115" fmla="*/ 101600 w 1146175"/>
                    <a:gd name="connsiteY115" fmla="*/ 1453141 h 1661098"/>
                    <a:gd name="connsiteX116" fmla="*/ 69850 w 1146175"/>
                    <a:gd name="connsiteY116" fmla="*/ 1443616 h 1661098"/>
                    <a:gd name="connsiteX117" fmla="*/ 41275 w 1146175"/>
                    <a:gd name="connsiteY117" fmla="*/ 1430916 h 1661098"/>
                    <a:gd name="connsiteX118" fmla="*/ 31750 w 1146175"/>
                    <a:gd name="connsiteY118" fmla="*/ 1424566 h 1661098"/>
                    <a:gd name="connsiteX119" fmla="*/ 15875 w 1146175"/>
                    <a:gd name="connsiteY119" fmla="*/ 1418216 h 1661098"/>
                    <a:gd name="connsiteX120" fmla="*/ 0 w 1146175"/>
                    <a:gd name="connsiteY120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65200 w 1146175"/>
                    <a:gd name="connsiteY18" fmla="*/ 348241 h 1661098"/>
                    <a:gd name="connsiteX19" fmla="*/ 949325 w 1146175"/>
                    <a:gd name="connsiteY19" fmla="*/ 367291 h 1661098"/>
                    <a:gd name="connsiteX20" fmla="*/ 939800 w 1146175"/>
                    <a:gd name="connsiteY20" fmla="*/ 389516 h 1661098"/>
                    <a:gd name="connsiteX21" fmla="*/ 936625 w 1146175"/>
                    <a:gd name="connsiteY21" fmla="*/ 402216 h 1661098"/>
                    <a:gd name="connsiteX22" fmla="*/ 930275 w 1146175"/>
                    <a:gd name="connsiteY22" fmla="*/ 418091 h 1661098"/>
                    <a:gd name="connsiteX23" fmla="*/ 927100 w 1146175"/>
                    <a:gd name="connsiteY23" fmla="*/ 430791 h 1661098"/>
                    <a:gd name="connsiteX24" fmla="*/ 920750 w 1146175"/>
                    <a:gd name="connsiteY24" fmla="*/ 446666 h 1661098"/>
                    <a:gd name="connsiteX25" fmla="*/ 917575 w 1146175"/>
                    <a:gd name="connsiteY25" fmla="*/ 459366 h 1661098"/>
                    <a:gd name="connsiteX26" fmla="*/ 914400 w 1146175"/>
                    <a:gd name="connsiteY26" fmla="*/ 468891 h 1661098"/>
                    <a:gd name="connsiteX27" fmla="*/ 917575 w 1146175"/>
                    <a:gd name="connsiteY27" fmla="*/ 506991 h 1661098"/>
                    <a:gd name="connsiteX28" fmla="*/ 923925 w 1146175"/>
                    <a:gd name="connsiteY28" fmla="*/ 519691 h 1661098"/>
                    <a:gd name="connsiteX29" fmla="*/ 939800 w 1146175"/>
                    <a:gd name="connsiteY29" fmla="*/ 538741 h 1661098"/>
                    <a:gd name="connsiteX30" fmla="*/ 942975 w 1146175"/>
                    <a:gd name="connsiteY30" fmla="*/ 548266 h 1661098"/>
                    <a:gd name="connsiteX31" fmla="*/ 955675 w 1146175"/>
                    <a:gd name="connsiteY31" fmla="*/ 573666 h 1661098"/>
                    <a:gd name="connsiteX32" fmla="*/ 968375 w 1146175"/>
                    <a:gd name="connsiteY32" fmla="*/ 614941 h 1661098"/>
                    <a:gd name="connsiteX33" fmla="*/ 974725 w 1146175"/>
                    <a:gd name="connsiteY33" fmla="*/ 627641 h 1661098"/>
                    <a:gd name="connsiteX34" fmla="*/ 981075 w 1146175"/>
                    <a:gd name="connsiteY34" fmla="*/ 646691 h 1661098"/>
                    <a:gd name="connsiteX35" fmla="*/ 993775 w 1146175"/>
                    <a:gd name="connsiteY35" fmla="*/ 649866 h 1661098"/>
                    <a:gd name="connsiteX36" fmla="*/ 1012825 w 1146175"/>
                    <a:gd name="connsiteY36" fmla="*/ 653041 h 1661098"/>
                    <a:gd name="connsiteX37" fmla="*/ 1041400 w 1146175"/>
                    <a:gd name="connsiteY37" fmla="*/ 665741 h 1661098"/>
                    <a:gd name="connsiteX38" fmla="*/ 1050925 w 1146175"/>
                    <a:gd name="connsiteY38" fmla="*/ 668916 h 1661098"/>
                    <a:gd name="connsiteX39" fmla="*/ 1066800 w 1146175"/>
                    <a:gd name="connsiteY39" fmla="*/ 678441 h 1661098"/>
                    <a:gd name="connsiteX40" fmla="*/ 1089025 w 1146175"/>
                    <a:gd name="connsiteY40" fmla="*/ 687966 h 1661098"/>
                    <a:gd name="connsiteX41" fmla="*/ 1117600 w 1146175"/>
                    <a:gd name="connsiteY41" fmla="*/ 707016 h 1661098"/>
                    <a:gd name="connsiteX42" fmla="*/ 1136650 w 1146175"/>
                    <a:gd name="connsiteY42" fmla="*/ 713366 h 1661098"/>
                    <a:gd name="connsiteX43" fmla="*/ 1146175 w 1146175"/>
                    <a:gd name="connsiteY43" fmla="*/ 903866 h 1661098"/>
                    <a:gd name="connsiteX44" fmla="*/ 1127125 w 1146175"/>
                    <a:gd name="connsiteY44" fmla="*/ 913391 h 1661098"/>
                    <a:gd name="connsiteX45" fmla="*/ 1101725 w 1146175"/>
                    <a:gd name="connsiteY45" fmla="*/ 919741 h 1661098"/>
                    <a:gd name="connsiteX46" fmla="*/ 1092200 w 1146175"/>
                    <a:gd name="connsiteY46" fmla="*/ 926091 h 1661098"/>
                    <a:gd name="connsiteX47" fmla="*/ 1079500 w 1146175"/>
                    <a:gd name="connsiteY47" fmla="*/ 929266 h 1661098"/>
                    <a:gd name="connsiteX48" fmla="*/ 1069975 w 1146175"/>
                    <a:gd name="connsiteY48" fmla="*/ 938791 h 1661098"/>
                    <a:gd name="connsiteX49" fmla="*/ 1060450 w 1146175"/>
                    <a:gd name="connsiteY49" fmla="*/ 945141 h 1661098"/>
                    <a:gd name="connsiteX50" fmla="*/ 1038225 w 1146175"/>
                    <a:gd name="connsiteY50" fmla="*/ 957841 h 1661098"/>
                    <a:gd name="connsiteX51" fmla="*/ 996950 w 1146175"/>
                    <a:gd name="connsiteY51" fmla="*/ 983241 h 1661098"/>
                    <a:gd name="connsiteX52" fmla="*/ 977900 w 1146175"/>
                    <a:gd name="connsiteY52" fmla="*/ 989591 h 1661098"/>
                    <a:gd name="connsiteX53" fmla="*/ 968375 w 1146175"/>
                    <a:gd name="connsiteY53" fmla="*/ 1014991 h 1661098"/>
                    <a:gd name="connsiteX54" fmla="*/ 958850 w 1146175"/>
                    <a:gd name="connsiteY54" fmla="*/ 1040391 h 1661098"/>
                    <a:gd name="connsiteX55" fmla="*/ 955675 w 1146175"/>
                    <a:gd name="connsiteY55" fmla="*/ 1065791 h 1661098"/>
                    <a:gd name="connsiteX56" fmla="*/ 949325 w 1146175"/>
                    <a:gd name="connsiteY56" fmla="*/ 1075316 h 1661098"/>
                    <a:gd name="connsiteX57" fmla="*/ 946150 w 1146175"/>
                    <a:gd name="connsiteY57" fmla="*/ 1084841 h 1661098"/>
                    <a:gd name="connsiteX58" fmla="*/ 936625 w 1146175"/>
                    <a:gd name="connsiteY58" fmla="*/ 1100716 h 1661098"/>
                    <a:gd name="connsiteX59" fmla="*/ 923925 w 1146175"/>
                    <a:gd name="connsiteY59" fmla="*/ 1135641 h 1661098"/>
                    <a:gd name="connsiteX60" fmla="*/ 917575 w 1146175"/>
                    <a:gd name="connsiteY60" fmla="*/ 1145166 h 1661098"/>
                    <a:gd name="connsiteX61" fmla="*/ 923925 w 1146175"/>
                    <a:gd name="connsiteY61" fmla="*/ 1199141 h 1661098"/>
                    <a:gd name="connsiteX62" fmla="*/ 939800 w 1146175"/>
                    <a:gd name="connsiteY62" fmla="*/ 1221366 h 1661098"/>
                    <a:gd name="connsiteX63" fmla="*/ 946150 w 1146175"/>
                    <a:gd name="connsiteY63" fmla="*/ 1234066 h 1661098"/>
                    <a:gd name="connsiteX64" fmla="*/ 952500 w 1146175"/>
                    <a:gd name="connsiteY64" fmla="*/ 1243591 h 1661098"/>
                    <a:gd name="connsiteX65" fmla="*/ 965200 w 1146175"/>
                    <a:gd name="connsiteY65" fmla="*/ 1268991 h 1661098"/>
                    <a:gd name="connsiteX66" fmla="*/ 974725 w 1146175"/>
                    <a:gd name="connsiteY66" fmla="*/ 1291216 h 1661098"/>
                    <a:gd name="connsiteX67" fmla="*/ 977900 w 1146175"/>
                    <a:gd name="connsiteY67" fmla="*/ 1303916 h 1661098"/>
                    <a:gd name="connsiteX68" fmla="*/ 981075 w 1146175"/>
                    <a:gd name="connsiteY68" fmla="*/ 1313441 h 1661098"/>
                    <a:gd name="connsiteX69" fmla="*/ 974725 w 1146175"/>
                    <a:gd name="connsiteY69" fmla="*/ 1348366 h 1661098"/>
                    <a:gd name="connsiteX70" fmla="*/ 949325 w 1146175"/>
                    <a:gd name="connsiteY70" fmla="*/ 1380116 h 1661098"/>
                    <a:gd name="connsiteX71" fmla="*/ 939800 w 1146175"/>
                    <a:gd name="connsiteY71" fmla="*/ 1386466 h 1661098"/>
                    <a:gd name="connsiteX72" fmla="*/ 930275 w 1146175"/>
                    <a:gd name="connsiteY72" fmla="*/ 1395991 h 1661098"/>
                    <a:gd name="connsiteX73" fmla="*/ 923925 w 1146175"/>
                    <a:gd name="connsiteY73" fmla="*/ 1405516 h 1661098"/>
                    <a:gd name="connsiteX74" fmla="*/ 908050 w 1146175"/>
                    <a:gd name="connsiteY74" fmla="*/ 1415041 h 1661098"/>
                    <a:gd name="connsiteX75" fmla="*/ 895350 w 1146175"/>
                    <a:gd name="connsiteY75" fmla="*/ 1427741 h 1661098"/>
                    <a:gd name="connsiteX76" fmla="*/ 882650 w 1146175"/>
                    <a:gd name="connsiteY76" fmla="*/ 1437266 h 1661098"/>
                    <a:gd name="connsiteX77" fmla="*/ 873125 w 1146175"/>
                    <a:gd name="connsiteY77" fmla="*/ 1446791 h 1661098"/>
                    <a:gd name="connsiteX78" fmla="*/ 844550 w 1146175"/>
                    <a:gd name="connsiteY78" fmla="*/ 1462666 h 1661098"/>
                    <a:gd name="connsiteX79" fmla="*/ 835025 w 1146175"/>
                    <a:gd name="connsiteY79" fmla="*/ 1465841 h 1661098"/>
                    <a:gd name="connsiteX80" fmla="*/ 815975 w 1146175"/>
                    <a:gd name="connsiteY80" fmla="*/ 1459491 h 1661098"/>
                    <a:gd name="connsiteX81" fmla="*/ 774700 w 1146175"/>
                    <a:gd name="connsiteY81" fmla="*/ 1443616 h 1661098"/>
                    <a:gd name="connsiteX82" fmla="*/ 749300 w 1146175"/>
                    <a:gd name="connsiteY82" fmla="*/ 1437266 h 1661098"/>
                    <a:gd name="connsiteX83" fmla="*/ 717550 w 1146175"/>
                    <a:gd name="connsiteY83" fmla="*/ 1424566 h 1661098"/>
                    <a:gd name="connsiteX84" fmla="*/ 688975 w 1146175"/>
                    <a:gd name="connsiteY84" fmla="*/ 1418216 h 1661098"/>
                    <a:gd name="connsiteX85" fmla="*/ 657225 w 1146175"/>
                    <a:gd name="connsiteY85" fmla="*/ 1408691 h 1661098"/>
                    <a:gd name="connsiteX86" fmla="*/ 635000 w 1146175"/>
                    <a:gd name="connsiteY86" fmla="*/ 1411866 h 1661098"/>
                    <a:gd name="connsiteX87" fmla="*/ 622300 w 1146175"/>
                    <a:gd name="connsiteY87" fmla="*/ 1418216 h 1661098"/>
                    <a:gd name="connsiteX88" fmla="*/ 606425 w 1146175"/>
                    <a:gd name="connsiteY88" fmla="*/ 1427741 h 1661098"/>
                    <a:gd name="connsiteX89" fmla="*/ 577850 w 1146175"/>
                    <a:gd name="connsiteY89" fmla="*/ 1443616 h 1661098"/>
                    <a:gd name="connsiteX90" fmla="*/ 558800 w 1146175"/>
                    <a:gd name="connsiteY90" fmla="*/ 1446791 h 1661098"/>
                    <a:gd name="connsiteX91" fmla="*/ 501650 w 1146175"/>
                    <a:gd name="connsiteY91" fmla="*/ 1453141 h 1661098"/>
                    <a:gd name="connsiteX92" fmla="*/ 492125 w 1146175"/>
                    <a:gd name="connsiteY92" fmla="*/ 1459491 h 1661098"/>
                    <a:gd name="connsiteX93" fmla="*/ 466725 w 1146175"/>
                    <a:gd name="connsiteY93" fmla="*/ 1491241 h 1661098"/>
                    <a:gd name="connsiteX94" fmla="*/ 457200 w 1146175"/>
                    <a:gd name="connsiteY94" fmla="*/ 1510291 h 1661098"/>
                    <a:gd name="connsiteX95" fmla="*/ 454025 w 1146175"/>
                    <a:gd name="connsiteY95" fmla="*/ 1519816 h 1661098"/>
                    <a:gd name="connsiteX96" fmla="*/ 447675 w 1146175"/>
                    <a:gd name="connsiteY96" fmla="*/ 1535691 h 1661098"/>
                    <a:gd name="connsiteX97" fmla="*/ 434975 w 1146175"/>
                    <a:gd name="connsiteY97" fmla="*/ 1561091 h 1661098"/>
                    <a:gd name="connsiteX98" fmla="*/ 431800 w 1146175"/>
                    <a:gd name="connsiteY98" fmla="*/ 1576966 h 1661098"/>
                    <a:gd name="connsiteX99" fmla="*/ 425450 w 1146175"/>
                    <a:gd name="connsiteY99" fmla="*/ 1602366 h 1661098"/>
                    <a:gd name="connsiteX100" fmla="*/ 422275 w 1146175"/>
                    <a:gd name="connsiteY100" fmla="*/ 1611891 h 1661098"/>
                    <a:gd name="connsiteX101" fmla="*/ 412750 w 1146175"/>
                    <a:gd name="connsiteY101" fmla="*/ 1621416 h 1661098"/>
                    <a:gd name="connsiteX102" fmla="*/ 222250 w 1146175"/>
                    <a:gd name="connsiteY102" fmla="*/ 1627766 h 1661098"/>
                    <a:gd name="connsiteX103" fmla="*/ 215900 w 1146175"/>
                    <a:gd name="connsiteY103" fmla="*/ 1611891 h 1661098"/>
                    <a:gd name="connsiteX104" fmla="*/ 206375 w 1146175"/>
                    <a:gd name="connsiteY104" fmla="*/ 1599191 h 1661098"/>
                    <a:gd name="connsiteX105" fmla="*/ 203200 w 1146175"/>
                    <a:gd name="connsiteY105" fmla="*/ 1586491 h 1661098"/>
                    <a:gd name="connsiteX106" fmla="*/ 196850 w 1146175"/>
                    <a:gd name="connsiteY106" fmla="*/ 1573791 h 1661098"/>
                    <a:gd name="connsiteX107" fmla="*/ 193675 w 1146175"/>
                    <a:gd name="connsiteY107" fmla="*/ 1564266 h 1661098"/>
                    <a:gd name="connsiteX108" fmla="*/ 187325 w 1146175"/>
                    <a:gd name="connsiteY108" fmla="*/ 1551566 h 1661098"/>
                    <a:gd name="connsiteX109" fmla="*/ 180975 w 1146175"/>
                    <a:gd name="connsiteY109" fmla="*/ 1535691 h 1661098"/>
                    <a:gd name="connsiteX110" fmla="*/ 161925 w 1146175"/>
                    <a:gd name="connsiteY110" fmla="*/ 1507116 h 1661098"/>
                    <a:gd name="connsiteX111" fmla="*/ 149225 w 1146175"/>
                    <a:gd name="connsiteY111" fmla="*/ 1484891 h 1661098"/>
                    <a:gd name="connsiteX112" fmla="*/ 142875 w 1146175"/>
                    <a:gd name="connsiteY112" fmla="*/ 1469016 h 1661098"/>
                    <a:gd name="connsiteX113" fmla="*/ 130175 w 1146175"/>
                    <a:gd name="connsiteY113" fmla="*/ 1465841 h 1661098"/>
                    <a:gd name="connsiteX114" fmla="*/ 101600 w 1146175"/>
                    <a:gd name="connsiteY114" fmla="*/ 1453141 h 1661098"/>
                    <a:gd name="connsiteX115" fmla="*/ 69850 w 1146175"/>
                    <a:gd name="connsiteY115" fmla="*/ 1443616 h 1661098"/>
                    <a:gd name="connsiteX116" fmla="*/ 41275 w 1146175"/>
                    <a:gd name="connsiteY116" fmla="*/ 1430916 h 1661098"/>
                    <a:gd name="connsiteX117" fmla="*/ 31750 w 1146175"/>
                    <a:gd name="connsiteY117" fmla="*/ 1424566 h 1661098"/>
                    <a:gd name="connsiteX118" fmla="*/ 15875 w 1146175"/>
                    <a:gd name="connsiteY118" fmla="*/ 1418216 h 1661098"/>
                    <a:gd name="connsiteX119" fmla="*/ 0 w 1146175"/>
                    <a:gd name="connsiteY119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65200 w 1146175"/>
                    <a:gd name="connsiteY18" fmla="*/ 348241 h 1661098"/>
                    <a:gd name="connsiteX19" fmla="*/ 949325 w 1146175"/>
                    <a:gd name="connsiteY19" fmla="*/ 367291 h 1661098"/>
                    <a:gd name="connsiteX20" fmla="*/ 939800 w 1146175"/>
                    <a:gd name="connsiteY20" fmla="*/ 389516 h 1661098"/>
                    <a:gd name="connsiteX21" fmla="*/ 936625 w 1146175"/>
                    <a:gd name="connsiteY21" fmla="*/ 402216 h 1661098"/>
                    <a:gd name="connsiteX22" fmla="*/ 927100 w 1146175"/>
                    <a:gd name="connsiteY22" fmla="*/ 430791 h 1661098"/>
                    <a:gd name="connsiteX23" fmla="*/ 920750 w 1146175"/>
                    <a:gd name="connsiteY23" fmla="*/ 446666 h 1661098"/>
                    <a:gd name="connsiteX24" fmla="*/ 917575 w 1146175"/>
                    <a:gd name="connsiteY24" fmla="*/ 459366 h 1661098"/>
                    <a:gd name="connsiteX25" fmla="*/ 914400 w 1146175"/>
                    <a:gd name="connsiteY25" fmla="*/ 468891 h 1661098"/>
                    <a:gd name="connsiteX26" fmla="*/ 917575 w 1146175"/>
                    <a:gd name="connsiteY26" fmla="*/ 506991 h 1661098"/>
                    <a:gd name="connsiteX27" fmla="*/ 923925 w 1146175"/>
                    <a:gd name="connsiteY27" fmla="*/ 519691 h 1661098"/>
                    <a:gd name="connsiteX28" fmla="*/ 939800 w 1146175"/>
                    <a:gd name="connsiteY28" fmla="*/ 538741 h 1661098"/>
                    <a:gd name="connsiteX29" fmla="*/ 942975 w 1146175"/>
                    <a:gd name="connsiteY29" fmla="*/ 548266 h 1661098"/>
                    <a:gd name="connsiteX30" fmla="*/ 955675 w 1146175"/>
                    <a:gd name="connsiteY30" fmla="*/ 573666 h 1661098"/>
                    <a:gd name="connsiteX31" fmla="*/ 968375 w 1146175"/>
                    <a:gd name="connsiteY31" fmla="*/ 614941 h 1661098"/>
                    <a:gd name="connsiteX32" fmla="*/ 974725 w 1146175"/>
                    <a:gd name="connsiteY32" fmla="*/ 627641 h 1661098"/>
                    <a:gd name="connsiteX33" fmla="*/ 981075 w 1146175"/>
                    <a:gd name="connsiteY33" fmla="*/ 646691 h 1661098"/>
                    <a:gd name="connsiteX34" fmla="*/ 993775 w 1146175"/>
                    <a:gd name="connsiteY34" fmla="*/ 649866 h 1661098"/>
                    <a:gd name="connsiteX35" fmla="*/ 1012825 w 1146175"/>
                    <a:gd name="connsiteY35" fmla="*/ 653041 h 1661098"/>
                    <a:gd name="connsiteX36" fmla="*/ 1041400 w 1146175"/>
                    <a:gd name="connsiteY36" fmla="*/ 665741 h 1661098"/>
                    <a:gd name="connsiteX37" fmla="*/ 1050925 w 1146175"/>
                    <a:gd name="connsiteY37" fmla="*/ 668916 h 1661098"/>
                    <a:gd name="connsiteX38" fmla="*/ 1066800 w 1146175"/>
                    <a:gd name="connsiteY38" fmla="*/ 678441 h 1661098"/>
                    <a:gd name="connsiteX39" fmla="*/ 1089025 w 1146175"/>
                    <a:gd name="connsiteY39" fmla="*/ 687966 h 1661098"/>
                    <a:gd name="connsiteX40" fmla="*/ 1117600 w 1146175"/>
                    <a:gd name="connsiteY40" fmla="*/ 707016 h 1661098"/>
                    <a:gd name="connsiteX41" fmla="*/ 1136650 w 1146175"/>
                    <a:gd name="connsiteY41" fmla="*/ 713366 h 1661098"/>
                    <a:gd name="connsiteX42" fmla="*/ 1146175 w 1146175"/>
                    <a:gd name="connsiteY42" fmla="*/ 903866 h 1661098"/>
                    <a:gd name="connsiteX43" fmla="*/ 1127125 w 1146175"/>
                    <a:gd name="connsiteY43" fmla="*/ 913391 h 1661098"/>
                    <a:gd name="connsiteX44" fmla="*/ 1101725 w 1146175"/>
                    <a:gd name="connsiteY44" fmla="*/ 919741 h 1661098"/>
                    <a:gd name="connsiteX45" fmla="*/ 1092200 w 1146175"/>
                    <a:gd name="connsiteY45" fmla="*/ 926091 h 1661098"/>
                    <a:gd name="connsiteX46" fmla="*/ 1079500 w 1146175"/>
                    <a:gd name="connsiteY46" fmla="*/ 929266 h 1661098"/>
                    <a:gd name="connsiteX47" fmla="*/ 1069975 w 1146175"/>
                    <a:gd name="connsiteY47" fmla="*/ 938791 h 1661098"/>
                    <a:gd name="connsiteX48" fmla="*/ 1060450 w 1146175"/>
                    <a:gd name="connsiteY48" fmla="*/ 945141 h 1661098"/>
                    <a:gd name="connsiteX49" fmla="*/ 1038225 w 1146175"/>
                    <a:gd name="connsiteY49" fmla="*/ 957841 h 1661098"/>
                    <a:gd name="connsiteX50" fmla="*/ 996950 w 1146175"/>
                    <a:gd name="connsiteY50" fmla="*/ 983241 h 1661098"/>
                    <a:gd name="connsiteX51" fmla="*/ 977900 w 1146175"/>
                    <a:gd name="connsiteY51" fmla="*/ 989591 h 1661098"/>
                    <a:gd name="connsiteX52" fmla="*/ 968375 w 1146175"/>
                    <a:gd name="connsiteY52" fmla="*/ 1014991 h 1661098"/>
                    <a:gd name="connsiteX53" fmla="*/ 958850 w 1146175"/>
                    <a:gd name="connsiteY53" fmla="*/ 1040391 h 1661098"/>
                    <a:gd name="connsiteX54" fmla="*/ 955675 w 1146175"/>
                    <a:gd name="connsiteY54" fmla="*/ 1065791 h 1661098"/>
                    <a:gd name="connsiteX55" fmla="*/ 949325 w 1146175"/>
                    <a:gd name="connsiteY55" fmla="*/ 1075316 h 1661098"/>
                    <a:gd name="connsiteX56" fmla="*/ 946150 w 1146175"/>
                    <a:gd name="connsiteY56" fmla="*/ 1084841 h 1661098"/>
                    <a:gd name="connsiteX57" fmla="*/ 936625 w 1146175"/>
                    <a:gd name="connsiteY57" fmla="*/ 1100716 h 1661098"/>
                    <a:gd name="connsiteX58" fmla="*/ 923925 w 1146175"/>
                    <a:gd name="connsiteY58" fmla="*/ 1135641 h 1661098"/>
                    <a:gd name="connsiteX59" fmla="*/ 917575 w 1146175"/>
                    <a:gd name="connsiteY59" fmla="*/ 1145166 h 1661098"/>
                    <a:gd name="connsiteX60" fmla="*/ 923925 w 1146175"/>
                    <a:gd name="connsiteY60" fmla="*/ 1199141 h 1661098"/>
                    <a:gd name="connsiteX61" fmla="*/ 939800 w 1146175"/>
                    <a:gd name="connsiteY61" fmla="*/ 1221366 h 1661098"/>
                    <a:gd name="connsiteX62" fmla="*/ 946150 w 1146175"/>
                    <a:gd name="connsiteY62" fmla="*/ 1234066 h 1661098"/>
                    <a:gd name="connsiteX63" fmla="*/ 952500 w 1146175"/>
                    <a:gd name="connsiteY63" fmla="*/ 1243591 h 1661098"/>
                    <a:gd name="connsiteX64" fmla="*/ 965200 w 1146175"/>
                    <a:gd name="connsiteY64" fmla="*/ 1268991 h 1661098"/>
                    <a:gd name="connsiteX65" fmla="*/ 974725 w 1146175"/>
                    <a:gd name="connsiteY65" fmla="*/ 1291216 h 1661098"/>
                    <a:gd name="connsiteX66" fmla="*/ 977900 w 1146175"/>
                    <a:gd name="connsiteY66" fmla="*/ 1303916 h 1661098"/>
                    <a:gd name="connsiteX67" fmla="*/ 981075 w 1146175"/>
                    <a:gd name="connsiteY67" fmla="*/ 1313441 h 1661098"/>
                    <a:gd name="connsiteX68" fmla="*/ 974725 w 1146175"/>
                    <a:gd name="connsiteY68" fmla="*/ 1348366 h 1661098"/>
                    <a:gd name="connsiteX69" fmla="*/ 949325 w 1146175"/>
                    <a:gd name="connsiteY69" fmla="*/ 1380116 h 1661098"/>
                    <a:gd name="connsiteX70" fmla="*/ 939800 w 1146175"/>
                    <a:gd name="connsiteY70" fmla="*/ 1386466 h 1661098"/>
                    <a:gd name="connsiteX71" fmla="*/ 930275 w 1146175"/>
                    <a:gd name="connsiteY71" fmla="*/ 1395991 h 1661098"/>
                    <a:gd name="connsiteX72" fmla="*/ 923925 w 1146175"/>
                    <a:gd name="connsiteY72" fmla="*/ 1405516 h 1661098"/>
                    <a:gd name="connsiteX73" fmla="*/ 908050 w 1146175"/>
                    <a:gd name="connsiteY73" fmla="*/ 1415041 h 1661098"/>
                    <a:gd name="connsiteX74" fmla="*/ 895350 w 1146175"/>
                    <a:gd name="connsiteY74" fmla="*/ 1427741 h 1661098"/>
                    <a:gd name="connsiteX75" fmla="*/ 882650 w 1146175"/>
                    <a:gd name="connsiteY75" fmla="*/ 1437266 h 1661098"/>
                    <a:gd name="connsiteX76" fmla="*/ 873125 w 1146175"/>
                    <a:gd name="connsiteY76" fmla="*/ 1446791 h 1661098"/>
                    <a:gd name="connsiteX77" fmla="*/ 844550 w 1146175"/>
                    <a:gd name="connsiteY77" fmla="*/ 1462666 h 1661098"/>
                    <a:gd name="connsiteX78" fmla="*/ 835025 w 1146175"/>
                    <a:gd name="connsiteY78" fmla="*/ 1465841 h 1661098"/>
                    <a:gd name="connsiteX79" fmla="*/ 815975 w 1146175"/>
                    <a:gd name="connsiteY79" fmla="*/ 1459491 h 1661098"/>
                    <a:gd name="connsiteX80" fmla="*/ 774700 w 1146175"/>
                    <a:gd name="connsiteY80" fmla="*/ 1443616 h 1661098"/>
                    <a:gd name="connsiteX81" fmla="*/ 749300 w 1146175"/>
                    <a:gd name="connsiteY81" fmla="*/ 1437266 h 1661098"/>
                    <a:gd name="connsiteX82" fmla="*/ 717550 w 1146175"/>
                    <a:gd name="connsiteY82" fmla="*/ 1424566 h 1661098"/>
                    <a:gd name="connsiteX83" fmla="*/ 688975 w 1146175"/>
                    <a:gd name="connsiteY83" fmla="*/ 1418216 h 1661098"/>
                    <a:gd name="connsiteX84" fmla="*/ 657225 w 1146175"/>
                    <a:gd name="connsiteY84" fmla="*/ 1408691 h 1661098"/>
                    <a:gd name="connsiteX85" fmla="*/ 635000 w 1146175"/>
                    <a:gd name="connsiteY85" fmla="*/ 1411866 h 1661098"/>
                    <a:gd name="connsiteX86" fmla="*/ 622300 w 1146175"/>
                    <a:gd name="connsiteY86" fmla="*/ 1418216 h 1661098"/>
                    <a:gd name="connsiteX87" fmla="*/ 606425 w 1146175"/>
                    <a:gd name="connsiteY87" fmla="*/ 1427741 h 1661098"/>
                    <a:gd name="connsiteX88" fmla="*/ 577850 w 1146175"/>
                    <a:gd name="connsiteY88" fmla="*/ 1443616 h 1661098"/>
                    <a:gd name="connsiteX89" fmla="*/ 558800 w 1146175"/>
                    <a:gd name="connsiteY89" fmla="*/ 1446791 h 1661098"/>
                    <a:gd name="connsiteX90" fmla="*/ 501650 w 1146175"/>
                    <a:gd name="connsiteY90" fmla="*/ 1453141 h 1661098"/>
                    <a:gd name="connsiteX91" fmla="*/ 492125 w 1146175"/>
                    <a:gd name="connsiteY91" fmla="*/ 1459491 h 1661098"/>
                    <a:gd name="connsiteX92" fmla="*/ 466725 w 1146175"/>
                    <a:gd name="connsiteY92" fmla="*/ 1491241 h 1661098"/>
                    <a:gd name="connsiteX93" fmla="*/ 457200 w 1146175"/>
                    <a:gd name="connsiteY93" fmla="*/ 1510291 h 1661098"/>
                    <a:gd name="connsiteX94" fmla="*/ 454025 w 1146175"/>
                    <a:gd name="connsiteY94" fmla="*/ 1519816 h 1661098"/>
                    <a:gd name="connsiteX95" fmla="*/ 447675 w 1146175"/>
                    <a:gd name="connsiteY95" fmla="*/ 1535691 h 1661098"/>
                    <a:gd name="connsiteX96" fmla="*/ 434975 w 1146175"/>
                    <a:gd name="connsiteY96" fmla="*/ 1561091 h 1661098"/>
                    <a:gd name="connsiteX97" fmla="*/ 431800 w 1146175"/>
                    <a:gd name="connsiteY97" fmla="*/ 1576966 h 1661098"/>
                    <a:gd name="connsiteX98" fmla="*/ 425450 w 1146175"/>
                    <a:gd name="connsiteY98" fmla="*/ 1602366 h 1661098"/>
                    <a:gd name="connsiteX99" fmla="*/ 422275 w 1146175"/>
                    <a:gd name="connsiteY99" fmla="*/ 1611891 h 1661098"/>
                    <a:gd name="connsiteX100" fmla="*/ 412750 w 1146175"/>
                    <a:gd name="connsiteY100" fmla="*/ 1621416 h 1661098"/>
                    <a:gd name="connsiteX101" fmla="*/ 222250 w 1146175"/>
                    <a:gd name="connsiteY101" fmla="*/ 1627766 h 1661098"/>
                    <a:gd name="connsiteX102" fmla="*/ 215900 w 1146175"/>
                    <a:gd name="connsiteY102" fmla="*/ 1611891 h 1661098"/>
                    <a:gd name="connsiteX103" fmla="*/ 206375 w 1146175"/>
                    <a:gd name="connsiteY103" fmla="*/ 1599191 h 1661098"/>
                    <a:gd name="connsiteX104" fmla="*/ 203200 w 1146175"/>
                    <a:gd name="connsiteY104" fmla="*/ 1586491 h 1661098"/>
                    <a:gd name="connsiteX105" fmla="*/ 196850 w 1146175"/>
                    <a:gd name="connsiteY105" fmla="*/ 1573791 h 1661098"/>
                    <a:gd name="connsiteX106" fmla="*/ 193675 w 1146175"/>
                    <a:gd name="connsiteY106" fmla="*/ 1564266 h 1661098"/>
                    <a:gd name="connsiteX107" fmla="*/ 187325 w 1146175"/>
                    <a:gd name="connsiteY107" fmla="*/ 1551566 h 1661098"/>
                    <a:gd name="connsiteX108" fmla="*/ 180975 w 1146175"/>
                    <a:gd name="connsiteY108" fmla="*/ 1535691 h 1661098"/>
                    <a:gd name="connsiteX109" fmla="*/ 161925 w 1146175"/>
                    <a:gd name="connsiteY109" fmla="*/ 1507116 h 1661098"/>
                    <a:gd name="connsiteX110" fmla="*/ 149225 w 1146175"/>
                    <a:gd name="connsiteY110" fmla="*/ 1484891 h 1661098"/>
                    <a:gd name="connsiteX111" fmla="*/ 142875 w 1146175"/>
                    <a:gd name="connsiteY111" fmla="*/ 1469016 h 1661098"/>
                    <a:gd name="connsiteX112" fmla="*/ 130175 w 1146175"/>
                    <a:gd name="connsiteY112" fmla="*/ 1465841 h 1661098"/>
                    <a:gd name="connsiteX113" fmla="*/ 101600 w 1146175"/>
                    <a:gd name="connsiteY113" fmla="*/ 1453141 h 1661098"/>
                    <a:gd name="connsiteX114" fmla="*/ 69850 w 1146175"/>
                    <a:gd name="connsiteY114" fmla="*/ 1443616 h 1661098"/>
                    <a:gd name="connsiteX115" fmla="*/ 41275 w 1146175"/>
                    <a:gd name="connsiteY115" fmla="*/ 1430916 h 1661098"/>
                    <a:gd name="connsiteX116" fmla="*/ 31750 w 1146175"/>
                    <a:gd name="connsiteY116" fmla="*/ 1424566 h 1661098"/>
                    <a:gd name="connsiteX117" fmla="*/ 15875 w 1146175"/>
                    <a:gd name="connsiteY117" fmla="*/ 1418216 h 1661098"/>
                    <a:gd name="connsiteX118" fmla="*/ 0 w 1146175"/>
                    <a:gd name="connsiteY118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65200 w 1146175"/>
                    <a:gd name="connsiteY18" fmla="*/ 348241 h 1661098"/>
                    <a:gd name="connsiteX19" fmla="*/ 949325 w 1146175"/>
                    <a:gd name="connsiteY19" fmla="*/ 367291 h 1661098"/>
                    <a:gd name="connsiteX20" fmla="*/ 936625 w 1146175"/>
                    <a:gd name="connsiteY20" fmla="*/ 402216 h 1661098"/>
                    <a:gd name="connsiteX21" fmla="*/ 927100 w 1146175"/>
                    <a:gd name="connsiteY21" fmla="*/ 430791 h 1661098"/>
                    <a:gd name="connsiteX22" fmla="*/ 920750 w 1146175"/>
                    <a:gd name="connsiteY22" fmla="*/ 446666 h 1661098"/>
                    <a:gd name="connsiteX23" fmla="*/ 917575 w 1146175"/>
                    <a:gd name="connsiteY23" fmla="*/ 459366 h 1661098"/>
                    <a:gd name="connsiteX24" fmla="*/ 914400 w 1146175"/>
                    <a:gd name="connsiteY24" fmla="*/ 468891 h 1661098"/>
                    <a:gd name="connsiteX25" fmla="*/ 917575 w 1146175"/>
                    <a:gd name="connsiteY25" fmla="*/ 506991 h 1661098"/>
                    <a:gd name="connsiteX26" fmla="*/ 923925 w 1146175"/>
                    <a:gd name="connsiteY26" fmla="*/ 519691 h 1661098"/>
                    <a:gd name="connsiteX27" fmla="*/ 939800 w 1146175"/>
                    <a:gd name="connsiteY27" fmla="*/ 538741 h 1661098"/>
                    <a:gd name="connsiteX28" fmla="*/ 942975 w 1146175"/>
                    <a:gd name="connsiteY28" fmla="*/ 548266 h 1661098"/>
                    <a:gd name="connsiteX29" fmla="*/ 955675 w 1146175"/>
                    <a:gd name="connsiteY29" fmla="*/ 573666 h 1661098"/>
                    <a:gd name="connsiteX30" fmla="*/ 968375 w 1146175"/>
                    <a:gd name="connsiteY30" fmla="*/ 614941 h 1661098"/>
                    <a:gd name="connsiteX31" fmla="*/ 974725 w 1146175"/>
                    <a:gd name="connsiteY31" fmla="*/ 627641 h 1661098"/>
                    <a:gd name="connsiteX32" fmla="*/ 981075 w 1146175"/>
                    <a:gd name="connsiteY32" fmla="*/ 646691 h 1661098"/>
                    <a:gd name="connsiteX33" fmla="*/ 993775 w 1146175"/>
                    <a:gd name="connsiteY33" fmla="*/ 649866 h 1661098"/>
                    <a:gd name="connsiteX34" fmla="*/ 1012825 w 1146175"/>
                    <a:gd name="connsiteY34" fmla="*/ 653041 h 1661098"/>
                    <a:gd name="connsiteX35" fmla="*/ 1041400 w 1146175"/>
                    <a:gd name="connsiteY35" fmla="*/ 665741 h 1661098"/>
                    <a:gd name="connsiteX36" fmla="*/ 1050925 w 1146175"/>
                    <a:gd name="connsiteY36" fmla="*/ 668916 h 1661098"/>
                    <a:gd name="connsiteX37" fmla="*/ 1066800 w 1146175"/>
                    <a:gd name="connsiteY37" fmla="*/ 678441 h 1661098"/>
                    <a:gd name="connsiteX38" fmla="*/ 1089025 w 1146175"/>
                    <a:gd name="connsiteY38" fmla="*/ 687966 h 1661098"/>
                    <a:gd name="connsiteX39" fmla="*/ 1117600 w 1146175"/>
                    <a:gd name="connsiteY39" fmla="*/ 707016 h 1661098"/>
                    <a:gd name="connsiteX40" fmla="*/ 1136650 w 1146175"/>
                    <a:gd name="connsiteY40" fmla="*/ 713366 h 1661098"/>
                    <a:gd name="connsiteX41" fmla="*/ 1146175 w 1146175"/>
                    <a:gd name="connsiteY41" fmla="*/ 903866 h 1661098"/>
                    <a:gd name="connsiteX42" fmla="*/ 1127125 w 1146175"/>
                    <a:gd name="connsiteY42" fmla="*/ 913391 h 1661098"/>
                    <a:gd name="connsiteX43" fmla="*/ 1101725 w 1146175"/>
                    <a:gd name="connsiteY43" fmla="*/ 919741 h 1661098"/>
                    <a:gd name="connsiteX44" fmla="*/ 1092200 w 1146175"/>
                    <a:gd name="connsiteY44" fmla="*/ 926091 h 1661098"/>
                    <a:gd name="connsiteX45" fmla="*/ 1079500 w 1146175"/>
                    <a:gd name="connsiteY45" fmla="*/ 929266 h 1661098"/>
                    <a:gd name="connsiteX46" fmla="*/ 1069975 w 1146175"/>
                    <a:gd name="connsiteY46" fmla="*/ 938791 h 1661098"/>
                    <a:gd name="connsiteX47" fmla="*/ 1060450 w 1146175"/>
                    <a:gd name="connsiteY47" fmla="*/ 945141 h 1661098"/>
                    <a:gd name="connsiteX48" fmla="*/ 1038225 w 1146175"/>
                    <a:gd name="connsiteY48" fmla="*/ 957841 h 1661098"/>
                    <a:gd name="connsiteX49" fmla="*/ 996950 w 1146175"/>
                    <a:gd name="connsiteY49" fmla="*/ 983241 h 1661098"/>
                    <a:gd name="connsiteX50" fmla="*/ 977900 w 1146175"/>
                    <a:gd name="connsiteY50" fmla="*/ 989591 h 1661098"/>
                    <a:gd name="connsiteX51" fmla="*/ 968375 w 1146175"/>
                    <a:gd name="connsiteY51" fmla="*/ 1014991 h 1661098"/>
                    <a:gd name="connsiteX52" fmla="*/ 958850 w 1146175"/>
                    <a:gd name="connsiteY52" fmla="*/ 1040391 h 1661098"/>
                    <a:gd name="connsiteX53" fmla="*/ 955675 w 1146175"/>
                    <a:gd name="connsiteY53" fmla="*/ 1065791 h 1661098"/>
                    <a:gd name="connsiteX54" fmla="*/ 949325 w 1146175"/>
                    <a:gd name="connsiteY54" fmla="*/ 1075316 h 1661098"/>
                    <a:gd name="connsiteX55" fmla="*/ 946150 w 1146175"/>
                    <a:gd name="connsiteY55" fmla="*/ 1084841 h 1661098"/>
                    <a:gd name="connsiteX56" fmla="*/ 936625 w 1146175"/>
                    <a:gd name="connsiteY56" fmla="*/ 1100716 h 1661098"/>
                    <a:gd name="connsiteX57" fmla="*/ 923925 w 1146175"/>
                    <a:gd name="connsiteY57" fmla="*/ 1135641 h 1661098"/>
                    <a:gd name="connsiteX58" fmla="*/ 917575 w 1146175"/>
                    <a:gd name="connsiteY58" fmla="*/ 1145166 h 1661098"/>
                    <a:gd name="connsiteX59" fmla="*/ 923925 w 1146175"/>
                    <a:gd name="connsiteY59" fmla="*/ 1199141 h 1661098"/>
                    <a:gd name="connsiteX60" fmla="*/ 939800 w 1146175"/>
                    <a:gd name="connsiteY60" fmla="*/ 1221366 h 1661098"/>
                    <a:gd name="connsiteX61" fmla="*/ 946150 w 1146175"/>
                    <a:gd name="connsiteY61" fmla="*/ 1234066 h 1661098"/>
                    <a:gd name="connsiteX62" fmla="*/ 952500 w 1146175"/>
                    <a:gd name="connsiteY62" fmla="*/ 1243591 h 1661098"/>
                    <a:gd name="connsiteX63" fmla="*/ 965200 w 1146175"/>
                    <a:gd name="connsiteY63" fmla="*/ 1268991 h 1661098"/>
                    <a:gd name="connsiteX64" fmla="*/ 974725 w 1146175"/>
                    <a:gd name="connsiteY64" fmla="*/ 1291216 h 1661098"/>
                    <a:gd name="connsiteX65" fmla="*/ 977900 w 1146175"/>
                    <a:gd name="connsiteY65" fmla="*/ 1303916 h 1661098"/>
                    <a:gd name="connsiteX66" fmla="*/ 981075 w 1146175"/>
                    <a:gd name="connsiteY66" fmla="*/ 1313441 h 1661098"/>
                    <a:gd name="connsiteX67" fmla="*/ 974725 w 1146175"/>
                    <a:gd name="connsiteY67" fmla="*/ 1348366 h 1661098"/>
                    <a:gd name="connsiteX68" fmla="*/ 949325 w 1146175"/>
                    <a:gd name="connsiteY68" fmla="*/ 1380116 h 1661098"/>
                    <a:gd name="connsiteX69" fmla="*/ 939800 w 1146175"/>
                    <a:gd name="connsiteY69" fmla="*/ 1386466 h 1661098"/>
                    <a:gd name="connsiteX70" fmla="*/ 930275 w 1146175"/>
                    <a:gd name="connsiteY70" fmla="*/ 1395991 h 1661098"/>
                    <a:gd name="connsiteX71" fmla="*/ 923925 w 1146175"/>
                    <a:gd name="connsiteY71" fmla="*/ 1405516 h 1661098"/>
                    <a:gd name="connsiteX72" fmla="*/ 908050 w 1146175"/>
                    <a:gd name="connsiteY72" fmla="*/ 1415041 h 1661098"/>
                    <a:gd name="connsiteX73" fmla="*/ 895350 w 1146175"/>
                    <a:gd name="connsiteY73" fmla="*/ 1427741 h 1661098"/>
                    <a:gd name="connsiteX74" fmla="*/ 882650 w 1146175"/>
                    <a:gd name="connsiteY74" fmla="*/ 1437266 h 1661098"/>
                    <a:gd name="connsiteX75" fmla="*/ 873125 w 1146175"/>
                    <a:gd name="connsiteY75" fmla="*/ 1446791 h 1661098"/>
                    <a:gd name="connsiteX76" fmla="*/ 844550 w 1146175"/>
                    <a:gd name="connsiteY76" fmla="*/ 1462666 h 1661098"/>
                    <a:gd name="connsiteX77" fmla="*/ 835025 w 1146175"/>
                    <a:gd name="connsiteY77" fmla="*/ 1465841 h 1661098"/>
                    <a:gd name="connsiteX78" fmla="*/ 815975 w 1146175"/>
                    <a:gd name="connsiteY78" fmla="*/ 1459491 h 1661098"/>
                    <a:gd name="connsiteX79" fmla="*/ 774700 w 1146175"/>
                    <a:gd name="connsiteY79" fmla="*/ 1443616 h 1661098"/>
                    <a:gd name="connsiteX80" fmla="*/ 749300 w 1146175"/>
                    <a:gd name="connsiteY80" fmla="*/ 1437266 h 1661098"/>
                    <a:gd name="connsiteX81" fmla="*/ 717550 w 1146175"/>
                    <a:gd name="connsiteY81" fmla="*/ 1424566 h 1661098"/>
                    <a:gd name="connsiteX82" fmla="*/ 688975 w 1146175"/>
                    <a:gd name="connsiteY82" fmla="*/ 1418216 h 1661098"/>
                    <a:gd name="connsiteX83" fmla="*/ 657225 w 1146175"/>
                    <a:gd name="connsiteY83" fmla="*/ 1408691 h 1661098"/>
                    <a:gd name="connsiteX84" fmla="*/ 635000 w 1146175"/>
                    <a:gd name="connsiteY84" fmla="*/ 1411866 h 1661098"/>
                    <a:gd name="connsiteX85" fmla="*/ 622300 w 1146175"/>
                    <a:gd name="connsiteY85" fmla="*/ 1418216 h 1661098"/>
                    <a:gd name="connsiteX86" fmla="*/ 606425 w 1146175"/>
                    <a:gd name="connsiteY86" fmla="*/ 1427741 h 1661098"/>
                    <a:gd name="connsiteX87" fmla="*/ 577850 w 1146175"/>
                    <a:gd name="connsiteY87" fmla="*/ 1443616 h 1661098"/>
                    <a:gd name="connsiteX88" fmla="*/ 558800 w 1146175"/>
                    <a:gd name="connsiteY88" fmla="*/ 1446791 h 1661098"/>
                    <a:gd name="connsiteX89" fmla="*/ 501650 w 1146175"/>
                    <a:gd name="connsiteY89" fmla="*/ 1453141 h 1661098"/>
                    <a:gd name="connsiteX90" fmla="*/ 492125 w 1146175"/>
                    <a:gd name="connsiteY90" fmla="*/ 1459491 h 1661098"/>
                    <a:gd name="connsiteX91" fmla="*/ 466725 w 1146175"/>
                    <a:gd name="connsiteY91" fmla="*/ 1491241 h 1661098"/>
                    <a:gd name="connsiteX92" fmla="*/ 457200 w 1146175"/>
                    <a:gd name="connsiteY92" fmla="*/ 1510291 h 1661098"/>
                    <a:gd name="connsiteX93" fmla="*/ 454025 w 1146175"/>
                    <a:gd name="connsiteY93" fmla="*/ 1519816 h 1661098"/>
                    <a:gd name="connsiteX94" fmla="*/ 447675 w 1146175"/>
                    <a:gd name="connsiteY94" fmla="*/ 1535691 h 1661098"/>
                    <a:gd name="connsiteX95" fmla="*/ 434975 w 1146175"/>
                    <a:gd name="connsiteY95" fmla="*/ 1561091 h 1661098"/>
                    <a:gd name="connsiteX96" fmla="*/ 431800 w 1146175"/>
                    <a:gd name="connsiteY96" fmla="*/ 1576966 h 1661098"/>
                    <a:gd name="connsiteX97" fmla="*/ 425450 w 1146175"/>
                    <a:gd name="connsiteY97" fmla="*/ 1602366 h 1661098"/>
                    <a:gd name="connsiteX98" fmla="*/ 422275 w 1146175"/>
                    <a:gd name="connsiteY98" fmla="*/ 1611891 h 1661098"/>
                    <a:gd name="connsiteX99" fmla="*/ 412750 w 1146175"/>
                    <a:gd name="connsiteY99" fmla="*/ 1621416 h 1661098"/>
                    <a:gd name="connsiteX100" fmla="*/ 222250 w 1146175"/>
                    <a:gd name="connsiteY100" fmla="*/ 1627766 h 1661098"/>
                    <a:gd name="connsiteX101" fmla="*/ 215900 w 1146175"/>
                    <a:gd name="connsiteY101" fmla="*/ 1611891 h 1661098"/>
                    <a:gd name="connsiteX102" fmla="*/ 206375 w 1146175"/>
                    <a:gd name="connsiteY102" fmla="*/ 1599191 h 1661098"/>
                    <a:gd name="connsiteX103" fmla="*/ 203200 w 1146175"/>
                    <a:gd name="connsiteY103" fmla="*/ 1586491 h 1661098"/>
                    <a:gd name="connsiteX104" fmla="*/ 196850 w 1146175"/>
                    <a:gd name="connsiteY104" fmla="*/ 1573791 h 1661098"/>
                    <a:gd name="connsiteX105" fmla="*/ 193675 w 1146175"/>
                    <a:gd name="connsiteY105" fmla="*/ 1564266 h 1661098"/>
                    <a:gd name="connsiteX106" fmla="*/ 187325 w 1146175"/>
                    <a:gd name="connsiteY106" fmla="*/ 1551566 h 1661098"/>
                    <a:gd name="connsiteX107" fmla="*/ 180975 w 1146175"/>
                    <a:gd name="connsiteY107" fmla="*/ 1535691 h 1661098"/>
                    <a:gd name="connsiteX108" fmla="*/ 161925 w 1146175"/>
                    <a:gd name="connsiteY108" fmla="*/ 1507116 h 1661098"/>
                    <a:gd name="connsiteX109" fmla="*/ 149225 w 1146175"/>
                    <a:gd name="connsiteY109" fmla="*/ 1484891 h 1661098"/>
                    <a:gd name="connsiteX110" fmla="*/ 142875 w 1146175"/>
                    <a:gd name="connsiteY110" fmla="*/ 1469016 h 1661098"/>
                    <a:gd name="connsiteX111" fmla="*/ 130175 w 1146175"/>
                    <a:gd name="connsiteY111" fmla="*/ 1465841 h 1661098"/>
                    <a:gd name="connsiteX112" fmla="*/ 101600 w 1146175"/>
                    <a:gd name="connsiteY112" fmla="*/ 1453141 h 1661098"/>
                    <a:gd name="connsiteX113" fmla="*/ 69850 w 1146175"/>
                    <a:gd name="connsiteY113" fmla="*/ 1443616 h 1661098"/>
                    <a:gd name="connsiteX114" fmla="*/ 41275 w 1146175"/>
                    <a:gd name="connsiteY114" fmla="*/ 1430916 h 1661098"/>
                    <a:gd name="connsiteX115" fmla="*/ 31750 w 1146175"/>
                    <a:gd name="connsiteY115" fmla="*/ 1424566 h 1661098"/>
                    <a:gd name="connsiteX116" fmla="*/ 15875 w 1146175"/>
                    <a:gd name="connsiteY116" fmla="*/ 1418216 h 1661098"/>
                    <a:gd name="connsiteX117" fmla="*/ 0 w 1146175"/>
                    <a:gd name="connsiteY117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65200 w 1146175"/>
                    <a:gd name="connsiteY18" fmla="*/ 348241 h 1661098"/>
                    <a:gd name="connsiteX19" fmla="*/ 936625 w 1146175"/>
                    <a:gd name="connsiteY19" fmla="*/ 402216 h 1661098"/>
                    <a:gd name="connsiteX20" fmla="*/ 927100 w 1146175"/>
                    <a:gd name="connsiteY20" fmla="*/ 430791 h 1661098"/>
                    <a:gd name="connsiteX21" fmla="*/ 920750 w 1146175"/>
                    <a:gd name="connsiteY21" fmla="*/ 446666 h 1661098"/>
                    <a:gd name="connsiteX22" fmla="*/ 917575 w 1146175"/>
                    <a:gd name="connsiteY22" fmla="*/ 459366 h 1661098"/>
                    <a:gd name="connsiteX23" fmla="*/ 914400 w 1146175"/>
                    <a:gd name="connsiteY23" fmla="*/ 468891 h 1661098"/>
                    <a:gd name="connsiteX24" fmla="*/ 917575 w 1146175"/>
                    <a:gd name="connsiteY24" fmla="*/ 506991 h 1661098"/>
                    <a:gd name="connsiteX25" fmla="*/ 923925 w 1146175"/>
                    <a:gd name="connsiteY25" fmla="*/ 519691 h 1661098"/>
                    <a:gd name="connsiteX26" fmla="*/ 939800 w 1146175"/>
                    <a:gd name="connsiteY26" fmla="*/ 538741 h 1661098"/>
                    <a:gd name="connsiteX27" fmla="*/ 942975 w 1146175"/>
                    <a:gd name="connsiteY27" fmla="*/ 548266 h 1661098"/>
                    <a:gd name="connsiteX28" fmla="*/ 955675 w 1146175"/>
                    <a:gd name="connsiteY28" fmla="*/ 573666 h 1661098"/>
                    <a:gd name="connsiteX29" fmla="*/ 968375 w 1146175"/>
                    <a:gd name="connsiteY29" fmla="*/ 614941 h 1661098"/>
                    <a:gd name="connsiteX30" fmla="*/ 974725 w 1146175"/>
                    <a:gd name="connsiteY30" fmla="*/ 627641 h 1661098"/>
                    <a:gd name="connsiteX31" fmla="*/ 981075 w 1146175"/>
                    <a:gd name="connsiteY31" fmla="*/ 646691 h 1661098"/>
                    <a:gd name="connsiteX32" fmla="*/ 993775 w 1146175"/>
                    <a:gd name="connsiteY32" fmla="*/ 649866 h 1661098"/>
                    <a:gd name="connsiteX33" fmla="*/ 1012825 w 1146175"/>
                    <a:gd name="connsiteY33" fmla="*/ 653041 h 1661098"/>
                    <a:gd name="connsiteX34" fmla="*/ 1041400 w 1146175"/>
                    <a:gd name="connsiteY34" fmla="*/ 665741 h 1661098"/>
                    <a:gd name="connsiteX35" fmla="*/ 1050925 w 1146175"/>
                    <a:gd name="connsiteY35" fmla="*/ 668916 h 1661098"/>
                    <a:gd name="connsiteX36" fmla="*/ 1066800 w 1146175"/>
                    <a:gd name="connsiteY36" fmla="*/ 678441 h 1661098"/>
                    <a:gd name="connsiteX37" fmla="*/ 1089025 w 1146175"/>
                    <a:gd name="connsiteY37" fmla="*/ 687966 h 1661098"/>
                    <a:gd name="connsiteX38" fmla="*/ 1117600 w 1146175"/>
                    <a:gd name="connsiteY38" fmla="*/ 707016 h 1661098"/>
                    <a:gd name="connsiteX39" fmla="*/ 1136650 w 1146175"/>
                    <a:gd name="connsiteY39" fmla="*/ 713366 h 1661098"/>
                    <a:gd name="connsiteX40" fmla="*/ 1146175 w 1146175"/>
                    <a:gd name="connsiteY40" fmla="*/ 903866 h 1661098"/>
                    <a:gd name="connsiteX41" fmla="*/ 1127125 w 1146175"/>
                    <a:gd name="connsiteY41" fmla="*/ 913391 h 1661098"/>
                    <a:gd name="connsiteX42" fmla="*/ 1101725 w 1146175"/>
                    <a:gd name="connsiteY42" fmla="*/ 919741 h 1661098"/>
                    <a:gd name="connsiteX43" fmla="*/ 1092200 w 1146175"/>
                    <a:gd name="connsiteY43" fmla="*/ 926091 h 1661098"/>
                    <a:gd name="connsiteX44" fmla="*/ 1079500 w 1146175"/>
                    <a:gd name="connsiteY44" fmla="*/ 929266 h 1661098"/>
                    <a:gd name="connsiteX45" fmla="*/ 1069975 w 1146175"/>
                    <a:gd name="connsiteY45" fmla="*/ 938791 h 1661098"/>
                    <a:gd name="connsiteX46" fmla="*/ 1060450 w 1146175"/>
                    <a:gd name="connsiteY46" fmla="*/ 945141 h 1661098"/>
                    <a:gd name="connsiteX47" fmla="*/ 1038225 w 1146175"/>
                    <a:gd name="connsiteY47" fmla="*/ 957841 h 1661098"/>
                    <a:gd name="connsiteX48" fmla="*/ 996950 w 1146175"/>
                    <a:gd name="connsiteY48" fmla="*/ 983241 h 1661098"/>
                    <a:gd name="connsiteX49" fmla="*/ 977900 w 1146175"/>
                    <a:gd name="connsiteY49" fmla="*/ 989591 h 1661098"/>
                    <a:gd name="connsiteX50" fmla="*/ 968375 w 1146175"/>
                    <a:gd name="connsiteY50" fmla="*/ 1014991 h 1661098"/>
                    <a:gd name="connsiteX51" fmla="*/ 958850 w 1146175"/>
                    <a:gd name="connsiteY51" fmla="*/ 1040391 h 1661098"/>
                    <a:gd name="connsiteX52" fmla="*/ 955675 w 1146175"/>
                    <a:gd name="connsiteY52" fmla="*/ 1065791 h 1661098"/>
                    <a:gd name="connsiteX53" fmla="*/ 949325 w 1146175"/>
                    <a:gd name="connsiteY53" fmla="*/ 1075316 h 1661098"/>
                    <a:gd name="connsiteX54" fmla="*/ 946150 w 1146175"/>
                    <a:gd name="connsiteY54" fmla="*/ 1084841 h 1661098"/>
                    <a:gd name="connsiteX55" fmla="*/ 936625 w 1146175"/>
                    <a:gd name="connsiteY55" fmla="*/ 1100716 h 1661098"/>
                    <a:gd name="connsiteX56" fmla="*/ 923925 w 1146175"/>
                    <a:gd name="connsiteY56" fmla="*/ 1135641 h 1661098"/>
                    <a:gd name="connsiteX57" fmla="*/ 917575 w 1146175"/>
                    <a:gd name="connsiteY57" fmla="*/ 1145166 h 1661098"/>
                    <a:gd name="connsiteX58" fmla="*/ 923925 w 1146175"/>
                    <a:gd name="connsiteY58" fmla="*/ 1199141 h 1661098"/>
                    <a:gd name="connsiteX59" fmla="*/ 939800 w 1146175"/>
                    <a:gd name="connsiteY59" fmla="*/ 1221366 h 1661098"/>
                    <a:gd name="connsiteX60" fmla="*/ 946150 w 1146175"/>
                    <a:gd name="connsiteY60" fmla="*/ 1234066 h 1661098"/>
                    <a:gd name="connsiteX61" fmla="*/ 952500 w 1146175"/>
                    <a:gd name="connsiteY61" fmla="*/ 1243591 h 1661098"/>
                    <a:gd name="connsiteX62" fmla="*/ 965200 w 1146175"/>
                    <a:gd name="connsiteY62" fmla="*/ 1268991 h 1661098"/>
                    <a:gd name="connsiteX63" fmla="*/ 974725 w 1146175"/>
                    <a:gd name="connsiteY63" fmla="*/ 1291216 h 1661098"/>
                    <a:gd name="connsiteX64" fmla="*/ 977900 w 1146175"/>
                    <a:gd name="connsiteY64" fmla="*/ 1303916 h 1661098"/>
                    <a:gd name="connsiteX65" fmla="*/ 981075 w 1146175"/>
                    <a:gd name="connsiteY65" fmla="*/ 1313441 h 1661098"/>
                    <a:gd name="connsiteX66" fmla="*/ 974725 w 1146175"/>
                    <a:gd name="connsiteY66" fmla="*/ 1348366 h 1661098"/>
                    <a:gd name="connsiteX67" fmla="*/ 949325 w 1146175"/>
                    <a:gd name="connsiteY67" fmla="*/ 1380116 h 1661098"/>
                    <a:gd name="connsiteX68" fmla="*/ 939800 w 1146175"/>
                    <a:gd name="connsiteY68" fmla="*/ 1386466 h 1661098"/>
                    <a:gd name="connsiteX69" fmla="*/ 930275 w 1146175"/>
                    <a:gd name="connsiteY69" fmla="*/ 1395991 h 1661098"/>
                    <a:gd name="connsiteX70" fmla="*/ 923925 w 1146175"/>
                    <a:gd name="connsiteY70" fmla="*/ 1405516 h 1661098"/>
                    <a:gd name="connsiteX71" fmla="*/ 908050 w 1146175"/>
                    <a:gd name="connsiteY71" fmla="*/ 1415041 h 1661098"/>
                    <a:gd name="connsiteX72" fmla="*/ 895350 w 1146175"/>
                    <a:gd name="connsiteY72" fmla="*/ 1427741 h 1661098"/>
                    <a:gd name="connsiteX73" fmla="*/ 882650 w 1146175"/>
                    <a:gd name="connsiteY73" fmla="*/ 1437266 h 1661098"/>
                    <a:gd name="connsiteX74" fmla="*/ 873125 w 1146175"/>
                    <a:gd name="connsiteY74" fmla="*/ 1446791 h 1661098"/>
                    <a:gd name="connsiteX75" fmla="*/ 844550 w 1146175"/>
                    <a:gd name="connsiteY75" fmla="*/ 1462666 h 1661098"/>
                    <a:gd name="connsiteX76" fmla="*/ 835025 w 1146175"/>
                    <a:gd name="connsiteY76" fmla="*/ 1465841 h 1661098"/>
                    <a:gd name="connsiteX77" fmla="*/ 815975 w 1146175"/>
                    <a:gd name="connsiteY77" fmla="*/ 1459491 h 1661098"/>
                    <a:gd name="connsiteX78" fmla="*/ 774700 w 1146175"/>
                    <a:gd name="connsiteY78" fmla="*/ 1443616 h 1661098"/>
                    <a:gd name="connsiteX79" fmla="*/ 749300 w 1146175"/>
                    <a:gd name="connsiteY79" fmla="*/ 1437266 h 1661098"/>
                    <a:gd name="connsiteX80" fmla="*/ 717550 w 1146175"/>
                    <a:gd name="connsiteY80" fmla="*/ 1424566 h 1661098"/>
                    <a:gd name="connsiteX81" fmla="*/ 688975 w 1146175"/>
                    <a:gd name="connsiteY81" fmla="*/ 1418216 h 1661098"/>
                    <a:gd name="connsiteX82" fmla="*/ 657225 w 1146175"/>
                    <a:gd name="connsiteY82" fmla="*/ 1408691 h 1661098"/>
                    <a:gd name="connsiteX83" fmla="*/ 635000 w 1146175"/>
                    <a:gd name="connsiteY83" fmla="*/ 1411866 h 1661098"/>
                    <a:gd name="connsiteX84" fmla="*/ 622300 w 1146175"/>
                    <a:gd name="connsiteY84" fmla="*/ 1418216 h 1661098"/>
                    <a:gd name="connsiteX85" fmla="*/ 606425 w 1146175"/>
                    <a:gd name="connsiteY85" fmla="*/ 1427741 h 1661098"/>
                    <a:gd name="connsiteX86" fmla="*/ 577850 w 1146175"/>
                    <a:gd name="connsiteY86" fmla="*/ 1443616 h 1661098"/>
                    <a:gd name="connsiteX87" fmla="*/ 558800 w 1146175"/>
                    <a:gd name="connsiteY87" fmla="*/ 1446791 h 1661098"/>
                    <a:gd name="connsiteX88" fmla="*/ 501650 w 1146175"/>
                    <a:gd name="connsiteY88" fmla="*/ 1453141 h 1661098"/>
                    <a:gd name="connsiteX89" fmla="*/ 492125 w 1146175"/>
                    <a:gd name="connsiteY89" fmla="*/ 1459491 h 1661098"/>
                    <a:gd name="connsiteX90" fmla="*/ 466725 w 1146175"/>
                    <a:gd name="connsiteY90" fmla="*/ 1491241 h 1661098"/>
                    <a:gd name="connsiteX91" fmla="*/ 457200 w 1146175"/>
                    <a:gd name="connsiteY91" fmla="*/ 1510291 h 1661098"/>
                    <a:gd name="connsiteX92" fmla="*/ 454025 w 1146175"/>
                    <a:gd name="connsiteY92" fmla="*/ 1519816 h 1661098"/>
                    <a:gd name="connsiteX93" fmla="*/ 447675 w 1146175"/>
                    <a:gd name="connsiteY93" fmla="*/ 1535691 h 1661098"/>
                    <a:gd name="connsiteX94" fmla="*/ 434975 w 1146175"/>
                    <a:gd name="connsiteY94" fmla="*/ 1561091 h 1661098"/>
                    <a:gd name="connsiteX95" fmla="*/ 431800 w 1146175"/>
                    <a:gd name="connsiteY95" fmla="*/ 1576966 h 1661098"/>
                    <a:gd name="connsiteX96" fmla="*/ 425450 w 1146175"/>
                    <a:gd name="connsiteY96" fmla="*/ 1602366 h 1661098"/>
                    <a:gd name="connsiteX97" fmla="*/ 422275 w 1146175"/>
                    <a:gd name="connsiteY97" fmla="*/ 1611891 h 1661098"/>
                    <a:gd name="connsiteX98" fmla="*/ 412750 w 1146175"/>
                    <a:gd name="connsiteY98" fmla="*/ 1621416 h 1661098"/>
                    <a:gd name="connsiteX99" fmla="*/ 222250 w 1146175"/>
                    <a:gd name="connsiteY99" fmla="*/ 1627766 h 1661098"/>
                    <a:gd name="connsiteX100" fmla="*/ 215900 w 1146175"/>
                    <a:gd name="connsiteY100" fmla="*/ 1611891 h 1661098"/>
                    <a:gd name="connsiteX101" fmla="*/ 206375 w 1146175"/>
                    <a:gd name="connsiteY101" fmla="*/ 1599191 h 1661098"/>
                    <a:gd name="connsiteX102" fmla="*/ 203200 w 1146175"/>
                    <a:gd name="connsiteY102" fmla="*/ 1586491 h 1661098"/>
                    <a:gd name="connsiteX103" fmla="*/ 196850 w 1146175"/>
                    <a:gd name="connsiteY103" fmla="*/ 1573791 h 1661098"/>
                    <a:gd name="connsiteX104" fmla="*/ 193675 w 1146175"/>
                    <a:gd name="connsiteY104" fmla="*/ 1564266 h 1661098"/>
                    <a:gd name="connsiteX105" fmla="*/ 187325 w 1146175"/>
                    <a:gd name="connsiteY105" fmla="*/ 1551566 h 1661098"/>
                    <a:gd name="connsiteX106" fmla="*/ 180975 w 1146175"/>
                    <a:gd name="connsiteY106" fmla="*/ 1535691 h 1661098"/>
                    <a:gd name="connsiteX107" fmla="*/ 161925 w 1146175"/>
                    <a:gd name="connsiteY107" fmla="*/ 1507116 h 1661098"/>
                    <a:gd name="connsiteX108" fmla="*/ 149225 w 1146175"/>
                    <a:gd name="connsiteY108" fmla="*/ 1484891 h 1661098"/>
                    <a:gd name="connsiteX109" fmla="*/ 142875 w 1146175"/>
                    <a:gd name="connsiteY109" fmla="*/ 1469016 h 1661098"/>
                    <a:gd name="connsiteX110" fmla="*/ 130175 w 1146175"/>
                    <a:gd name="connsiteY110" fmla="*/ 1465841 h 1661098"/>
                    <a:gd name="connsiteX111" fmla="*/ 101600 w 1146175"/>
                    <a:gd name="connsiteY111" fmla="*/ 1453141 h 1661098"/>
                    <a:gd name="connsiteX112" fmla="*/ 69850 w 1146175"/>
                    <a:gd name="connsiteY112" fmla="*/ 1443616 h 1661098"/>
                    <a:gd name="connsiteX113" fmla="*/ 41275 w 1146175"/>
                    <a:gd name="connsiteY113" fmla="*/ 1430916 h 1661098"/>
                    <a:gd name="connsiteX114" fmla="*/ 31750 w 1146175"/>
                    <a:gd name="connsiteY114" fmla="*/ 1424566 h 1661098"/>
                    <a:gd name="connsiteX115" fmla="*/ 15875 w 1146175"/>
                    <a:gd name="connsiteY115" fmla="*/ 1418216 h 1661098"/>
                    <a:gd name="connsiteX116" fmla="*/ 0 w 1146175"/>
                    <a:gd name="connsiteY116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27100 w 1146175"/>
                    <a:gd name="connsiteY19" fmla="*/ 430791 h 1661098"/>
                    <a:gd name="connsiteX20" fmla="*/ 920750 w 1146175"/>
                    <a:gd name="connsiteY20" fmla="*/ 446666 h 1661098"/>
                    <a:gd name="connsiteX21" fmla="*/ 917575 w 1146175"/>
                    <a:gd name="connsiteY21" fmla="*/ 459366 h 1661098"/>
                    <a:gd name="connsiteX22" fmla="*/ 914400 w 1146175"/>
                    <a:gd name="connsiteY22" fmla="*/ 468891 h 1661098"/>
                    <a:gd name="connsiteX23" fmla="*/ 917575 w 1146175"/>
                    <a:gd name="connsiteY23" fmla="*/ 506991 h 1661098"/>
                    <a:gd name="connsiteX24" fmla="*/ 923925 w 1146175"/>
                    <a:gd name="connsiteY24" fmla="*/ 519691 h 1661098"/>
                    <a:gd name="connsiteX25" fmla="*/ 939800 w 1146175"/>
                    <a:gd name="connsiteY25" fmla="*/ 538741 h 1661098"/>
                    <a:gd name="connsiteX26" fmla="*/ 942975 w 1146175"/>
                    <a:gd name="connsiteY26" fmla="*/ 548266 h 1661098"/>
                    <a:gd name="connsiteX27" fmla="*/ 955675 w 1146175"/>
                    <a:gd name="connsiteY27" fmla="*/ 573666 h 1661098"/>
                    <a:gd name="connsiteX28" fmla="*/ 968375 w 1146175"/>
                    <a:gd name="connsiteY28" fmla="*/ 614941 h 1661098"/>
                    <a:gd name="connsiteX29" fmla="*/ 974725 w 1146175"/>
                    <a:gd name="connsiteY29" fmla="*/ 627641 h 1661098"/>
                    <a:gd name="connsiteX30" fmla="*/ 981075 w 1146175"/>
                    <a:gd name="connsiteY30" fmla="*/ 646691 h 1661098"/>
                    <a:gd name="connsiteX31" fmla="*/ 993775 w 1146175"/>
                    <a:gd name="connsiteY31" fmla="*/ 649866 h 1661098"/>
                    <a:gd name="connsiteX32" fmla="*/ 1012825 w 1146175"/>
                    <a:gd name="connsiteY32" fmla="*/ 653041 h 1661098"/>
                    <a:gd name="connsiteX33" fmla="*/ 1041400 w 1146175"/>
                    <a:gd name="connsiteY33" fmla="*/ 665741 h 1661098"/>
                    <a:gd name="connsiteX34" fmla="*/ 1050925 w 1146175"/>
                    <a:gd name="connsiteY34" fmla="*/ 668916 h 1661098"/>
                    <a:gd name="connsiteX35" fmla="*/ 1066800 w 1146175"/>
                    <a:gd name="connsiteY35" fmla="*/ 678441 h 1661098"/>
                    <a:gd name="connsiteX36" fmla="*/ 1089025 w 1146175"/>
                    <a:gd name="connsiteY36" fmla="*/ 687966 h 1661098"/>
                    <a:gd name="connsiteX37" fmla="*/ 1117600 w 1146175"/>
                    <a:gd name="connsiteY37" fmla="*/ 707016 h 1661098"/>
                    <a:gd name="connsiteX38" fmla="*/ 1136650 w 1146175"/>
                    <a:gd name="connsiteY38" fmla="*/ 713366 h 1661098"/>
                    <a:gd name="connsiteX39" fmla="*/ 1146175 w 1146175"/>
                    <a:gd name="connsiteY39" fmla="*/ 903866 h 1661098"/>
                    <a:gd name="connsiteX40" fmla="*/ 1127125 w 1146175"/>
                    <a:gd name="connsiteY40" fmla="*/ 913391 h 1661098"/>
                    <a:gd name="connsiteX41" fmla="*/ 1101725 w 1146175"/>
                    <a:gd name="connsiteY41" fmla="*/ 919741 h 1661098"/>
                    <a:gd name="connsiteX42" fmla="*/ 1092200 w 1146175"/>
                    <a:gd name="connsiteY42" fmla="*/ 926091 h 1661098"/>
                    <a:gd name="connsiteX43" fmla="*/ 1079500 w 1146175"/>
                    <a:gd name="connsiteY43" fmla="*/ 929266 h 1661098"/>
                    <a:gd name="connsiteX44" fmla="*/ 1069975 w 1146175"/>
                    <a:gd name="connsiteY44" fmla="*/ 938791 h 1661098"/>
                    <a:gd name="connsiteX45" fmla="*/ 1060450 w 1146175"/>
                    <a:gd name="connsiteY45" fmla="*/ 945141 h 1661098"/>
                    <a:gd name="connsiteX46" fmla="*/ 1038225 w 1146175"/>
                    <a:gd name="connsiteY46" fmla="*/ 957841 h 1661098"/>
                    <a:gd name="connsiteX47" fmla="*/ 996950 w 1146175"/>
                    <a:gd name="connsiteY47" fmla="*/ 983241 h 1661098"/>
                    <a:gd name="connsiteX48" fmla="*/ 977900 w 1146175"/>
                    <a:gd name="connsiteY48" fmla="*/ 989591 h 1661098"/>
                    <a:gd name="connsiteX49" fmla="*/ 968375 w 1146175"/>
                    <a:gd name="connsiteY49" fmla="*/ 1014991 h 1661098"/>
                    <a:gd name="connsiteX50" fmla="*/ 958850 w 1146175"/>
                    <a:gd name="connsiteY50" fmla="*/ 1040391 h 1661098"/>
                    <a:gd name="connsiteX51" fmla="*/ 955675 w 1146175"/>
                    <a:gd name="connsiteY51" fmla="*/ 1065791 h 1661098"/>
                    <a:gd name="connsiteX52" fmla="*/ 949325 w 1146175"/>
                    <a:gd name="connsiteY52" fmla="*/ 1075316 h 1661098"/>
                    <a:gd name="connsiteX53" fmla="*/ 946150 w 1146175"/>
                    <a:gd name="connsiteY53" fmla="*/ 1084841 h 1661098"/>
                    <a:gd name="connsiteX54" fmla="*/ 936625 w 1146175"/>
                    <a:gd name="connsiteY54" fmla="*/ 1100716 h 1661098"/>
                    <a:gd name="connsiteX55" fmla="*/ 923925 w 1146175"/>
                    <a:gd name="connsiteY55" fmla="*/ 1135641 h 1661098"/>
                    <a:gd name="connsiteX56" fmla="*/ 917575 w 1146175"/>
                    <a:gd name="connsiteY56" fmla="*/ 1145166 h 1661098"/>
                    <a:gd name="connsiteX57" fmla="*/ 923925 w 1146175"/>
                    <a:gd name="connsiteY57" fmla="*/ 1199141 h 1661098"/>
                    <a:gd name="connsiteX58" fmla="*/ 939800 w 1146175"/>
                    <a:gd name="connsiteY58" fmla="*/ 1221366 h 1661098"/>
                    <a:gd name="connsiteX59" fmla="*/ 946150 w 1146175"/>
                    <a:gd name="connsiteY59" fmla="*/ 1234066 h 1661098"/>
                    <a:gd name="connsiteX60" fmla="*/ 952500 w 1146175"/>
                    <a:gd name="connsiteY60" fmla="*/ 1243591 h 1661098"/>
                    <a:gd name="connsiteX61" fmla="*/ 965200 w 1146175"/>
                    <a:gd name="connsiteY61" fmla="*/ 1268991 h 1661098"/>
                    <a:gd name="connsiteX62" fmla="*/ 974725 w 1146175"/>
                    <a:gd name="connsiteY62" fmla="*/ 1291216 h 1661098"/>
                    <a:gd name="connsiteX63" fmla="*/ 977900 w 1146175"/>
                    <a:gd name="connsiteY63" fmla="*/ 1303916 h 1661098"/>
                    <a:gd name="connsiteX64" fmla="*/ 981075 w 1146175"/>
                    <a:gd name="connsiteY64" fmla="*/ 1313441 h 1661098"/>
                    <a:gd name="connsiteX65" fmla="*/ 974725 w 1146175"/>
                    <a:gd name="connsiteY65" fmla="*/ 1348366 h 1661098"/>
                    <a:gd name="connsiteX66" fmla="*/ 949325 w 1146175"/>
                    <a:gd name="connsiteY66" fmla="*/ 1380116 h 1661098"/>
                    <a:gd name="connsiteX67" fmla="*/ 939800 w 1146175"/>
                    <a:gd name="connsiteY67" fmla="*/ 1386466 h 1661098"/>
                    <a:gd name="connsiteX68" fmla="*/ 930275 w 1146175"/>
                    <a:gd name="connsiteY68" fmla="*/ 1395991 h 1661098"/>
                    <a:gd name="connsiteX69" fmla="*/ 923925 w 1146175"/>
                    <a:gd name="connsiteY69" fmla="*/ 1405516 h 1661098"/>
                    <a:gd name="connsiteX70" fmla="*/ 908050 w 1146175"/>
                    <a:gd name="connsiteY70" fmla="*/ 1415041 h 1661098"/>
                    <a:gd name="connsiteX71" fmla="*/ 895350 w 1146175"/>
                    <a:gd name="connsiteY71" fmla="*/ 1427741 h 1661098"/>
                    <a:gd name="connsiteX72" fmla="*/ 882650 w 1146175"/>
                    <a:gd name="connsiteY72" fmla="*/ 1437266 h 1661098"/>
                    <a:gd name="connsiteX73" fmla="*/ 873125 w 1146175"/>
                    <a:gd name="connsiteY73" fmla="*/ 1446791 h 1661098"/>
                    <a:gd name="connsiteX74" fmla="*/ 844550 w 1146175"/>
                    <a:gd name="connsiteY74" fmla="*/ 1462666 h 1661098"/>
                    <a:gd name="connsiteX75" fmla="*/ 835025 w 1146175"/>
                    <a:gd name="connsiteY75" fmla="*/ 1465841 h 1661098"/>
                    <a:gd name="connsiteX76" fmla="*/ 815975 w 1146175"/>
                    <a:gd name="connsiteY76" fmla="*/ 1459491 h 1661098"/>
                    <a:gd name="connsiteX77" fmla="*/ 774700 w 1146175"/>
                    <a:gd name="connsiteY77" fmla="*/ 1443616 h 1661098"/>
                    <a:gd name="connsiteX78" fmla="*/ 749300 w 1146175"/>
                    <a:gd name="connsiteY78" fmla="*/ 1437266 h 1661098"/>
                    <a:gd name="connsiteX79" fmla="*/ 717550 w 1146175"/>
                    <a:gd name="connsiteY79" fmla="*/ 1424566 h 1661098"/>
                    <a:gd name="connsiteX80" fmla="*/ 688975 w 1146175"/>
                    <a:gd name="connsiteY80" fmla="*/ 1418216 h 1661098"/>
                    <a:gd name="connsiteX81" fmla="*/ 657225 w 1146175"/>
                    <a:gd name="connsiteY81" fmla="*/ 1408691 h 1661098"/>
                    <a:gd name="connsiteX82" fmla="*/ 635000 w 1146175"/>
                    <a:gd name="connsiteY82" fmla="*/ 1411866 h 1661098"/>
                    <a:gd name="connsiteX83" fmla="*/ 622300 w 1146175"/>
                    <a:gd name="connsiteY83" fmla="*/ 1418216 h 1661098"/>
                    <a:gd name="connsiteX84" fmla="*/ 606425 w 1146175"/>
                    <a:gd name="connsiteY84" fmla="*/ 1427741 h 1661098"/>
                    <a:gd name="connsiteX85" fmla="*/ 577850 w 1146175"/>
                    <a:gd name="connsiteY85" fmla="*/ 1443616 h 1661098"/>
                    <a:gd name="connsiteX86" fmla="*/ 558800 w 1146175"/>
                    <a:gd name="connsiteY86" fmla="*/ 1446791 h 1661098"/>
                    <a:gd name="connsiteX87" fmla="*/ 501650 w 1146175"/>
                    <a:gd name="connsiteY87" fmla="*/ 1453141 h 1661098"/>
                    <a:gd name="connsiteX88" fmla="*/ 492125 w 1146175"/>
                    <a:gd name="connsiteY88" fmla="*/ 1459491 h 1661098"/>
                    <a:gd name="connsiteX89" fmla="*/ 466725 w 1146175"/>
                    <a:gd name="connsiteY89" fmla="*/ 1491241 h 1661098"/>
                    <a:gd name="connsiteX90" fmla="*/ 457200 w 1146175"/>
                    <a:gd name="connsiteY90" fmla="*/ 1510291 h 1661098"/>
                    <a:gd name="connsiteX91" fmla="*/ 454025 w 1146175"/>
                    <a:gd name="connsiteY91" fmla="*/ 1519816 h 1661098"/>
                    <a:gd name="connsiteX92" fmla="*/ 447675 w 1146175"/>
                    <a:gd name="connsiteY92" fmla="*/ 1535691 h 1661098"/>
                    <a:gd name="connsiteX93" fmla="*/ 434975 w 1146175"/>
                    <a:gd name="connsiteY93" fmla="*/ 1561091 h 1661098"/>
                    <a:gd name="connsiteX94" fmla="*/ 431800 w 1146175"/>
                    <a:gd name="connsiteY94" fmla="*/ 1576966 h 1661098"/>
                    <a:gd name="connsiteX95" fmla="*/ 425450 w 1146175"/>
                    <a:gd name="connsiteY95" fmla="*/ 1602366 h 1661098"/>
                    <a:gd name="connsiteX96" fmla="*/ 422275 w 1146175"/>
                    <a:gd name="connsiteY96" fmla="*/ 1611891 h 1661098"/>
                    <a:gd name="connsiteX97" fmla="*/ 412750 w 1146175"/>
                    <a:gd name="connsiteY97" fmla="*/ 1621416 h 1661098"/>
                    <a:gd name="connsiteX98" fmla="*/ 222250 w 1146175"/>
                    <a:gd name="connsiteY98" fmla="*/ 1627766 h 1661098"/>
                    <a:gd name="connsiteX99" fmla="*/ 215900 w 1146175"/>
                    <a:gd name="connsiteY99" fmla="*/ 1611891 h 1661098"/>
                    <a:gd name="connsiteX100" fmla="*/ 206375 w 1146175"/>
                    <a:gd name="connsiteY100" fmla="*/ 1599191 h 1661098"/>
                    <a:gd name="connsiteX101" fmla="*/ 203200 w 1146175"/>
                    <a:gd name="connsiteY101" fmla="*/ 1586491 h 1661098"/>
                    <a:gd name="connsiteX102" fmla="*/ 196850 w 1146175"/>
                    <a:gd name="connsiteY102" fmla="*/ 1573791 h 1661098"/>
                    <a:gd name="connsiteX103" fmla="*/ 193675 w 1146175"/>
                    <a:gd name="connsiteY103" fmla="*/ 1564266 h 1661098"/>
                    <a:gd name="connsiteX104" fmla="*/ 187325 w 1146175"/>
                    <a:gd name="connsiteY104" fmla="*/ 1551566 h 1661098"/>
                    <a:gd name="connsiteX105" fmla="*/ 180975 w 1146175"/>
                    <a:gd name="connsiteY105" fmla="*/ 1535691 h 1661098"/>
                    <a:gd name="connsiteX106" fmla="*/ 161925 w 1146175"/>
                    <a:gd name="connsiteY106" fmla="*/ 1507116 h 1661098"/>
                    <a:gd name="connsiteX107" fmla="*/ 149225 w 1146175"/>
                    <a:gd name="connsiteY107" fmla="*/ 1484891 h 1661098"/>
                    <a:gd name="connsiteX108" fmla="*/ 142875 w 1146175"/>
                    <a:gd name="connsiteY108" fmla="*/ 1469016 h 1661098"/>
                    <a:gd name="connsiteX109" fmla="*/ 130175 w 1146175"/>
                    <a:gd name="connsiteY109" fmla="*/ 1465841 h 1661098"/>
                    <a:gd name="connsiteX110" fmla="*/ 101600 w 1146175"/>
                    <a:gd name="connsiteY110" fmla="*/ 1453141 h 1661098"/>
                    <a:gd name="connsiteX111" fmla="*/ 69850 w 1146175"/>
                    <a:gd name="connsiteY111" fmla="*/ 1443616 h 1661098"/>
                    <a:gd name="connsiteX112" fmla="*/ 41275 w 1146175"/>
                    <a:gd name="connsiteY112" fmla="*/ 1430916 h 1661098"/>
                    <a:gd name="connsiteX113" fmla="*/ 31750 w 1146175"/>
                    <a:gd name="connsiteY113" fmla="*/ 1424566 h 1661098"/>
                    <a:gd name="connsiteX114" fmla="*/ 15875 w 1146175"/>
                    <a:gd name="connsiteY114" fmla="*/ 1418216 h 1661098"/>
                    <a:gd name="connsiteX115" fmla="*/ 0 w 1146175"/>
                    <a:gd name="connsiteY115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27100 w 1146175"/>
                    <a:gd name="connsiteY19" fmla="*/ 430791 h 1661098"/>
                    <a:gd name="connsiteX20" fmla="*/ 917575 w 1146175"/>
                    <a:gd name="connsiteY20" fmla="*/ 459366 h 1661098"/>
                    <a:gd name="connsiteX21" fmla="*/ 914400 w 1146175"/>
                    <a:gd name="connsiteY21" fmla="*/ 468891 h 1661098"/>
                    <a:gd name="connsiteX22" fmla="*/ 917575 w 1146175"/>
                    <a:gd name="connsiteY22" fmla="*/ 506991 h 1661098"/>
                    <a:gd name="connsiteX23" fmla="*/ 923925 w 1146175"/>
                    <a:gd name="connsiteY23" fmla="*/ 519691 h 1661098"/>
                    <a:gd name="connsiteX24" fmla="*/ 939800 w 1146175"/>
                    <a:gd name="connsiteY24" fmla="*/ 538741 h 1661098"/>
                    <a:gd name="connsiteX25" fmla="*/ 942975 w 1146175"/>
                    <a:gd name="connsiteY25" fmla="*/ 548266 h 1661098"/>
                    <a:gd name="connsiteX26" fmla="*/ 955675 w 1146175"/>
                    <a:gd name="connsiteY26" fmla="*/ 573666 h 1661098"/>
                    <a:gd name="connsiteX27" fmla="*/ 968375 w 1146175"/>
                    <a:gd name="connsiteY27" fmla="*/ 614941 h 1661098"/>
                    <a:gd name="connsiteX28" fmla="*/ 974725 w 1146175"/>
                    <a:gd name="connsiteY28" fmla="*/ 627641 h 1661098"/>
                    <a:gd name="connsiteX29" fmla="*/ 981075 w 1146175"/>
                    <a:gd name="connsiteY29" fmla="*/ 646691 h 1661098"/>
                    <a:gd name="connsiteX30" fmla="*/ 993775 w 1146175"/>
                    <a:gd name="connsiteY30" fmla="*/ 649866 h 1661098"/>
                    <a:gd name="connsiteX31" fmla="*/ 1012825 w 1146175"/>
                    <a:gd name="connsiteY31" fmla="*/ 653041 h 1661098"/>
                    <a:gd name="connsiteX32" fmla="*/ 1041400 w 1146175"/>
                    <a:gd name="connsiteY32" fmla="*/ 665741 h 1661098"/>
                    <a:gd name="connsiteX33" fmla="*/ 1050925 w 1146175"/>
                    <a:gd name="connsiteY33" fmla="*/ 668916 h 1661098"/>
                    <a:gd name="connsiteX34" fmla="*/ 1066800 w 1146175"/>
                    <a:gd name="connsiteY34" fmla="*/ 678441 h 1661098"/>
                    <a:gd name="connsiteX35" fmla="*/ 1089025 w 1146175"/>
                    <a:gd name="connsiteY35" fmla="*/ 687966 h 1661098"/>
                    <a:gd name="connsiteX36" fmla="*/ 1117600 w 1146175"/>
                    <a:gd name="connsiteY36" fmla="*/ 707016 h 1661098"/>
                    <a:gd name="connsiteX37" fmla="*/ 1136650 w 1146175"/>
                    <a:gd name="connsiteY37" fmla="*/ 713366 h 1661098"/>
                    <a:gd name="connsiteX38" fmla="*/ 1146175 w 1146175"/>
                    <a:gd name="connsiteY38" fmla="*/ 903866 h 1661098"/>
                    <a:gd name="connsiteX39" fmla="*/ 1127125 w 1146175"/>
                    <a:gd name="connsiteY39" fmla="*/ 913391 h 1661098"/>
                    <a:gd name="connsiteX40" fmla="*/ 1101725 w 1146175"/>
                    <a:gd name="connsiteY40" fmla="*/ 919741 h 1661098"/>
                    <a:gd name="connsiteX41" fmla="*/ 1092200 w 1146175"/>
                    <a:gd name="connsiteY41" fmla="*/ 926091 h 1661098"/>
                    <a:gd name="connsiteX42" fmla="*/ 1079500 w 1146175"/>
                    <a:gd name="connsiteY42" fmla="*/ 929266 h 1661098"/>
                    <a:gd name="connsiteX43" fmla="*/ 1069975 w 1146175"/>
                    <a:gd name="connsiteY43" fmla="*/ 938791 h 1661098"/>
                    <a:gd name="connsiteX44" fmla="*/ 1060450 w 1146175"/>
                    <a:gd name="connsiteY44" fmla="*/ 945141 h 1661098"/>
                    <a:gd name="connsiteX45" fmla="*/ 1038225 w 1146175"/>
                    <a:gd name="connsiteY45" fmla="*/ 957841 h 1661098"/>
                    <a:gd name="connsiteX46" fmla="*/ 996950 w 1146175"/>
                    <a:gd name="connsiteY46" fmla="*/ 983241 h 1661098"/>
                    <a:gd name="connsiteX47" fmla="*/ 977900 w 1146175"/>
                    <a:gd name="connsiteY47" fmla="*/ 989591 h 1661098"/>
                    <a:gd name="connsiteX48" fmla="*/ 968375 w 1146175"/>
                    <a:gd name="connsiteY48" fmla="*/ 1014991 h 1661098"/>
                    <a:gd name="connsiteX49" fmla="*/ 958850 w 1146175"/>
                    <a:gd name="connsiteY49" fmla="*/ 1040391 h 1661098"/>
                    <a:gd name="connsiteX50" fmla="*/ 955675 w 1146175"/>
                    <a:gd name="connsiteY50" fmla="*/ 1065791 h 1661098"/>
                    <a:gd name="connsiteX51" fmla="*/ 949325 w 1146175"/>
                    <a:gd name="connsiteY51" fmla="*/ 1075316 h 1661098"/>
                    <a:gd name="connsiteX52" fmla="*/ 946150 w 1146175"/>
                    <a:gd name="connsiteY52" fmla="*/ 1084841 h 1661098"/>
                    <a:gd name="connsiteX53" fmla="*/ 936625 w 1146175"/>
                    <a:gd name="connsiteY53" fmla="*/ 1100716 h 1661098"/>
                    <a:gd name="connsiteX54" fmla="*/ 923925 w 1146175"/>
                    <a:gd name="connsiteY54" fmla="*/ 1135641 h 1661098"/>
                    <a:gd name="connsiteX55" fmla="*/ 917575 w 1146175"/>
                    <a:gd name="connsiteY55" fmla="*/ 1145166 h 1661098"/>
                    <a:gd name="connsiteX56" fmla="*/ 923925 w 1146175"/>
                    <a:gd name="connsiteY56" fmla="*/ 1199141 h 1661098"/>
                    <a:gd name="connsiteX57" fmla="*/ 939800 w 1146175"/>
                    <a:gd name="connsiteY57" fmla="*/ 1221366 h 1661098"/>
                    <a:gd name="connsiteX58" fmla="*/ 946150 w 1146175"/>
                    <a:gd name="connsiteY58" fmla="*/ 1234066 h 1661098"/>
                    <a:gd name="connsiteX59" fmla="*/ 952500 w 1146175"/>
                    <a:gd name="connsiteY59" fmla="*/ 1243591 h 1661098"/>
                    <a:gd name="connsiteX60" fmla="*/ 965200 w 1146175"/>
                    <a:gd name="connsiteY60" fmla="*/ 1268991 h 1661098"/>
                    <a:gd name="connsiteX61" fmla="*/ 974725 w 1146175"/>
                    <a:gd name="connsiteY61" fmla="*/ 1291216 h 1661098"/>
                    <a:gd name="connsiteX62" fmla="*/ 977900 w 1146175"/>
                    <a:gd name="connsiteY62" fmla="*/ 1303916 h 1661098"/>
                    <a:gd name="connsiteX63" fmla="*/ 981075 w 1146175"/>
                    <a:gd name="connsiteY63" fmla="*/ 1313441 h 1661098"/>
                    <a:gd name="connsiteX64" fmla="*/ 974725 w 1146175"/>
                    <a:gd name="connsiteY64" fmla="*/ 1348366 h 1661098"/>
                    <a:gd name="connsiteX65" fmla="*/ 949325 w 1146175"/>
                    <a:gd name="connsiteY65" fmla="*/ 1380116 h 1661098"/>
                    <a:gd name="connsiteX66" fmla="*/ 939800 w 1146175"/>
                    <a:gd name="connsiteY66" fmla="*/ 1386466 h 1661098"/>
                    <a:gd name="connsiteX67" fmla="*/ 930275 w 1146175"/>
                    <a:gd name="connsiteY67" fmla="*/ 1395991 h 1661098"/>
                    <a:gd name="connsiteX68" fmla="*/ 923925 w 1146175"/>
                    <a:gd name="connsiteY68" fmla="*/ 1405516 h 1661098"/>
                    <a:gd name="connsiteX69" fmla="*/ 908050 w 1146175"/>
                    <a:gd name="connsiteY69" fmla="*/ 1415041 h 1661098"/>
                    <a:gd name="connsiteX70" fmla="*/ 895350 w 1146175"/>
                    <a:gd name="connsiteY70" fmla="*/ 1427741 h 1661098"/>
                    <a:gd name="connsiteX71" fmla="*/ 882650 w 1146175"/>
                    <a:gd name="connsiteY71" fmla="*/ 1437266 h 1661098"/>
                    <a:gd name="connsiteX72" fmla="*/ 873125 w 1146175"/>
                    <a:gd name="connsiteY72" fmla="*/ 1446791 h 1661098"/>
                    <a:gd name="connsiteX73" fmla="*/ 844550 w 1146175"/>
                    <a:gd name="connsiteY73" fmla="*/ 1462666 h 1661098"/>
                    <a:gd name="connsiteX74" fmla="*/ 835025 w 1146175"/>
                    <a:gd name="connsiteY74" fmla="*/ 1465841 h 1661098"/>
                    <a:gd name="connsiteX75" fmla="*/ 815975 w 1146175"/>
                    <a:gd name="connsiteY75" fmla="*/ 1459491 h 1661098"/>
                    <a:gd name="connsiteX76" fmla="*/ 774700 w 1146175"/>
                    <a:gd name="connsiteY76" fmla="*/ 1443616 h 1661098"/>
                    <a:gd name="connsiteX77" fmla="*/ 749300 w 1146175"/>
                    <a:gd name="connsiteY77" fmla="*/ 1437266 h 1661098"/>
                    <a:gd name="connsiteX78" fmla="*/ 717550 w 1146175"/>
                    <a:gd name="connsiteY78" fmla="*/ 1424566 h 1661098"/>
                    <a:gd name="connsiteX79" fmla="*/ 688975 w 1146175"/>
                    <a:gd name="connsiteY79" fmla="*/ 1418216 h 1661098"/>
                    <a:gd name="connsiteX80" fmla="*/ 657225 w 1146175"/>
                    <a:gd name="connsiteY80" fmla="*/ 1408691 h 1661098"/>
                    <a:gd name="connsiteX81" fmla="*/ 635000 w 1146175"/>
                    <a:gd name="connsiteY81" fmla="*/ 1411866 h 1661098"/>
                    <a:gd name="connsiteX82" fmla="*/ 622300 w 1146175"/>
                    <a:gd name="connsiteY82" fmla="*/ 1418216 h 1661098"/>
                    <a:gd name="connsiteX83" fmla="*/ 606425 w 1146175"/>
                    <a:gd name="connsiteY83" fmla="*/ 1427741 h 1661098"/>
                    <a:gd name="connsiteX84" fmla="*/ 577850 w 1146175"/>
                    <a:gd name="connsiteY84" fmla="*/ 1443616 h 1661098"/>
                    <a:gd name="connsiteX85" fmla="*/ 558800 w 1146175"/>
                    <a:gd name="connsiteY85" fmla="*/ 1446791 h 1661098"/>
                    <a:gd name="connsiteX86" fmla="*/ 501650 w 1146175"/>
                    <a:gd name="connsiteY86" fmla="*/ 1453141 h 1661098"/>
                    <a:gd name="connsiteX87" fmla="*/ 492125 w 1146175"/>
                    <a:gd name="connsiteY87" fmla="*/ 1459491 h 1661098"/>
                    <a:gd name="connsiteX88" fmla="*/ 466725 w 1146175"/>
                    <a:gd name="connsiteY88" fmla="*/ 1491241 h 1661098"/>
                    <a:gd name="connsiteX89" fmla="*/ 457200 w 1146175"/>
                    <a:gd name="connsiteY89" fmla="*/ 1510291 h 1661098"/>
                    <a:gd name="connsiteX90" fmla="*/ 454025 w 1146175"/>
                    <a:gd name="connsiteY90" fmla="*/ 1519816 h 1661098"/>
                    <a:gd name="connsiteX91" fmla="*/ 447675 w 1146175"/>
                    <a:gd name="connsiteY91" fmla="*/ 1535691 h 1661098"/>
                    <a:gd name="connsiteX92" fmla="*/ 434975 w 1146175"/>
                    <a:gd name="connsiteY92" fmla="*/ 1561091 h 1661098"/>
                    <a:gd name="connsiteX93" fmla="*/ 431800 w 1146175"/>
                    <a:gd name="connsiteY93" fmla="*/ 1576966 h 1661098"/>
                    <a:gd name="connsiteX94" fmla="*/ 425450 w 1146175"/>
                    <a:gd name="connsiteY94" fmla="*/ 1602366 h 1661098"/>
                    <a:gd name="connsiteX95" fmla="*/ 422275 w 1146175"/>
                    <a:gd name="connsiteY95" fmla="*/ 1611891 h 1661098"/>
                    <a:gd name="connsiteX96" fmla="*/ 412750 w 1146175"/>
                    <a:gd name="connsiteY96" fmla="*/ 1621416 h 1661098"/>
                    <a:gd name="connsiteX97" fmla="*/ 222250 w 1146175"/>
                    <a:gd name="connsiteY97" fmla="*/ 1627766 h 1661098"/>
                    <a:gd name="connsiteX98" fmla="*/ 215900 w 1146175"/>
                    <a:gd name="connsiteY98" fmla="*/ 1611891 h 1661098"/>
                    <a:gd name="connsiteX99" fmla="*/ 206375 w 1146175"/>
                    <a:gd name="connsiteY99" fmla="*/ 1599191 h 1661098"/>
                    <a:gd name="connsiteX100" fmla="*/ 203200 w 1146175"/>
                    <a:gd name="connsiteY100" fmla="*/ 1586491 h 1661098"/>
                    <a:gd name="connsiteX101" fmla="*/ 196850 w 1146175"/>
                    <a:gd name="connsiteY101" fmla="*/ 1573791 h 1661098"/>
                    <a:gd name="connsiteX102" fmla="*/ 193675 w 1146175"/>
                    <a:gd name="connsiteY102" fmla="*/ 1564266 h 1661098"/>
                    <a:gd name="connsiteX103" fmla="*/ 187325 w 1146175"/>
                    <a:gd name="connsiteY103" fmla="*/ 1551566 h 1661098"/>
                    <a:gd name="connsiteX104" fmla="*/ 180975 w 1146175"/>
                    <a:gd name="connsiteY104" fmla="*/ 1535691 h 1661098"/>
                    <a:gd name="connsiteX105" fmla="*/ 161925 w 1146175"/>
                    <a:gd name="connsiteY105" fmla="*/ 1507116 h 1661098"/>
                    <a:gd name="connsiteX106" fmla="*/ 149225 w 1146175"/>
                    <a:gd name="connsiteY106" fmla="*/ 1484891 h 1661098"/>
                    <a:gd name="connsiteX107" fmla="*/ 142875 w 1146175"/>
                    <a:gd name="connsiteY107" fmla="*/ 1469016 h 1661098"/>
                    <a:gd name="connsiteX108" fmla="*/ 130175 w 1146175"/>
                    <a:gd name="connsiteY108" fmla="*/ 1465841 h 1661098"/>
                    <a:gd name="connsiteX109" fmla="*/ 101600 w 1146175"/>
                    <a:gd name="connsiteY109" fmla="*/ 1453141 h 1661098"/>
                    <a:gd name="connsiteX110" fmla="*/ 69850 w 1146175"/>
                    <a:gd name="connsiteY110" fmla="*/ 1443616 h 1661098"/>
                    <a:gd name="connsiteX111" fmla="*/ 41275 w 1146175"/>
                    <a:gd name="connsiteY111" fmla="*/ 1430916 h 1661098"/>
                    <a:gd name="connsiteX112" fmla="*/ 31750 w 1146175"/>
                    <a:gd name="connsiteY112" fmla="*/ 1424566 h 1661098"/>
                    <a:gd name="connsiteX113" fmla="*/ 15875 w 1146175"/>
                    <a:gd name="connsiteY113" fmla="*/ 1418216 h 1661098"/>
                    <a:gd name="connsiteX114" fmla="*/ 0 w 1146175"/>
                    <a:gd name="connsiteY114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4400 w 1146175"/>
                    <a:gd name="connsiteY20" fmla="*/ 468891 h 1661098"/>
                    <a:gd name="connsiteX21" fmla="*/ 917575 w 1146175"/>
                    <a:gd name="connsiteY21" fmla="*/ 506991 h 1661098"/>
                    <a:gd name="connsiteX22" fmla="*/ 923925 w 1146175"/>
                    <a:gd name="connsiteY22" fmla="*/ 519691 h 1661098"/>
                    <a:gd name="connsiteX23" fmla="*/ 939800 w 1146175"/>
                    <a:gd name="connsiteY23" fmla="*/ 538741 h 1661098"/>
                    <a:gd name="connsiteX24" fmla="*/ 942975 w 1146175"/>
                    <a:gd name="connsiteY24" fmla="*/ 548266 h 1661098"/>
                    <a:gd name="connsiteX25" fmla="*/ 955675 w 1146175"/>
                    <a:gd name="connsiteY25" fmla="*/ 573666 h 1661098"/>
                    <a:gd name="connsiteX26" fmla="*/ 968375 w 1146175"/>
                    <a:gd name="connsiteY26" fmla="*/ 614941 h 1661098"/>
                    <a:gd name="connsiteX27" fmla="*/ 974725 w 1146175"/>
                    <a:gd name="connsiteY27" fmla="*/ 627641 h 1661098"/>
                    <a:gd name="connsiteX28" fmla="*/ 981075 w 1146175"/>
                    <a:gd name="connsiteY28" fmla="*/ 646691 h 1661098"/>
                    <a:gd name="connsiteX29" fmla="*/ 993775 w 1146175"/>
                    <a:gd name="connsiteY29" fmla="*/ 649866 h 1661098"/>
                    <a:gd name="connsiteX30" fmla="*/ 1012825 w 1146175"/>
                    <a:gd name="connsiteY30" fmla="*/ 653041 h 1661098"/>
                    <a:gd name="connsiteX31" fmla="*/ 1041400 w 1146175"/>
                    <a:gd name="connsiteY31" fmla="*/ 665741 h 1661098"/>
                    <a:gd name="connsiteX32" fmla="*/ 1050925 w 1146175"/>
                    <a:gd name="connsiteY32" fmla="*/ 668916 h 1661098"/>
                    <a:gd name="connsiteX33" fmla="*/ 1066800 w 1146175"/>
                    <a:gd name="connsiteY33" fmla="*/ 678441 h 1661098"/>
                    <a:gd name="connsiteX34" fmla="*/ 1089025 w 1146175"/>
                    <a:gd name="connsiteY34" fmla="*/ 687966 h 1661098"/>
                    <a:gd name="connsiteX35" fmla="*/ 1117600 w 1146175"/>
                    <a:gd name="connsiteY35" fmla="*/ 707016 h 1661098"/>
                    <a:gd name="connsiteX36" fmla="*/ 1136650 w 1146175"/>
                    <a:gd name="connsiteY36" fmla="*/ 713366 h 1661098"/>
                    <a:gd name="connsiteX37" fmla="*/ 1146175 w 1146175"/>
                    <a:gd name="connsiteY37" fmla="*/ 903866 h 1661098"/>
                    <a:gd name="connsiteX38" fmla="*/ 1127125 w 1146175"/>
                    <a:gd name="connsiteY38" fmla="*/ 913391 h 1661098"/>
                    <a:gd name="connsiteX39" fmla="*/ 1101725 w 1146175"/>
                    <a:gd name="connsiteY39" fmla="*/ 919741 h 1661098"/>
                    <a:gd name="connsiteX40" fmla="*/ 1092200 w 1146175"/>
                    <a:gd name="connsiteY40" fmla="*/ 926091 h 1661098"/>
                    <a:gd name="connsiteX41" fmla="*/ 1079500 w 1146175"/>
                    <a:gd name="connsiteY41" fmla="*/ 929266 h 1661098"/>
                    <a:gd name="connsiteX42" fmla="*/ 1069975 w 1146175"/>
                    <a:gd name="connsiteY42" fmla="*/ 938791 h 1661098"/>
                    <a:gd name="connsiteX43" fmla="*/ 1060450 w 1146175"/>
                    <a:gd name="connsiteY43" fmla="*/ 945141 h 1661098"/>
                    <a:gd name="connsiteX44" fmla="*/ 1038225 w 1146175"/>
                    <a:gd name="connsiteY44" fmla="*/ 957841 h 1661098"/>
                    <a:gd name="connsiteX45" fmla="*/ 996950 w 1146175"/>
                    <a:gd name="connsiteY45" fmla="*/ 983241 h 1661098"/>
                    <a:gd name="connsiteX46" fmla="*/ 977900 w 1146175"/>
                    <a:gd name="connsiteY46" fmla="*/ 989591 h 1661098"/>
                    <a:gd name="connsiteX47" fmla="*/ 968375 w 1146175"/>
                    <a:gd name="connsiteY47" fmla="*/ 1014991 h 1661098"/>
                    <a:gd name="connsiteX48" fmla="*/ 958850 w 1146175"/>
                    <a:gd name="connsiteY48" fmla="*/ 1040391 h 1661098"/>
                    <a:gd name="connsiteX49" fmla="*/ 955675 w 1146175"/>
                    <a:gd name="connsiteY49" fmla="*/ 1065791 h 1661098"/>
                    <a:gd name="connsiteX50" fmla="*/ 949325 w 1146175"/>
                    <a:gd name="connsiteY50" fmla="*/ 1075316 h 1661098"/>
                    <a:gd name="connsiteX51" fmla="*/ 946150 w 1146175"/>
                    <a:gd name="connsiteY51" fmla="*/ 1084841 h 1661098"/>
                    <a:gd name="connsiteX52" fmla="*/ 936625 w 1146175"/>
                    <a:gd name="connsiteY52" fmla="*/ 1100716 h 1661098"/>
                    <a:gd name="connsiteX53" fmla="*/ 923925 w 1146175"/>
                    <a:gd name="connsiteY53" fmla="*/ 1135641 h 1661098"/>
                    <a:gd name="connsiteX54" fmla="*/ 917575 w 1146175"/>
                    <a:gd name="connsiteY54" fmla="*/ 1145166 h 1661098"/>
                    <a:gd name="connsiteX55" fmla="*/ 923925 w 1146175"/>
                    <a:gd name="connsiteY55" fmla="*/ 1199141 h 1661098"/>
                    <a:gd name="connsiteX56" fmla="*/ 939800 w 1146175"/>
                    <a:gd name="connsiteY56" fmla="*/ 1221366 h 1661098"/>
                    <a:gd name="connsiteX57" fmla="*/ 946150 w 1146175"/>
                    <a:gd name="connsiteY57" fmla="*/ 1234066 h 1661098"/>
                    <a:gd name="connsiteX58" fmla="*/ 952500 w 1146175"/>
                    <a:gd name="connsiteY58" fmla="*/ 1243591 h 1661098"/>
                    <a:gd name="connsiteX59" fmla="*/ 965200 w 1146175"/>
                    <a:gd name="connsiteY59" fmla="*/ 1268991 h 1661098"/>
                    <a:gd name="connsiteX60" fmla="*/ 974725 w 1146175"/>
                    <a:gd name="connsiteY60" fmla="*/ 1291216 h 1661098"/>
                    <a:gd name="connsiteX61" fmla="*/ 977900 w 1146175"/>
                    <a:gd name="connsiteY61" fmla="*/ 1303916 h 1661098"/>
                    <a:gd name="connsiteX62" fmla="*/ 981075 w 1146175"/>
                    <a:gd name="connsiteY62" fmla="*/ 1313441 h 1661098"/>
                    <a:gd name="connsiteX63" fmla="*/ 974725 w 1146175"/>
                    <a:gd name="connsiteY63" fmla="*/ 1348366 h 1661098"/>
                    <a:gd name="connsiteX64" fmla="*/ 949325 w 1146175"/>
                    <a:gd name="connsiteY64" fmla="*/ 1380116 h 1661098"/>
                    <a:gd name="connsiteX65" fmla="*/ 939800 w 1146175"/>
                    <a:gd name="connsiteY65" fmla="*/ 1386466 h 1661098"/>
                    <a:gd name="connsiteX66" fmla="*/ 930275 w 1146175"/>
                    <a:gd name="connsiteY66" fmla="*/ 1395991 h 1661098"/>
                    <a:gd name="connsiteX67" fmla="*/ 923925 w 1146175"/>
                    <a:gd name="connsiteY67" fmla="*/ 1405516 h 1661098"/>
                    <a:gd name="connsiteX68" fmla="*/ 908050 w 1146175"/>
                    <a:gd name="connsiteY68" fmla="*/ 1415041 h 1661098"/>
                    <a:gd name="connsiteX69" fmla="*/ 895350 w 1146175"/>
                    <a:gd name="connsiteY69" fmla="*/ 1427741 h 1661098"/>
                    <a:gd name="connsiteX70" fmla="*/ 882650 w 1146175"/>
                    <a:gd name="connsiteY70" fmla="*/ 1437266 h 1661098"/>
                    <a:gd name="connsiteX71" fmla="*/ 873125 w 1146175"/>
                    <a:gd name="connsiteY71" fmla="*/ 1446791 h 1661098"/>
                    <a:gd name="connsiteX72" fmla="*/ 844550 w 1146175"/>
                    <a:gd name="connsiteY72" fmla="*/ 1462666 h 1661098"/>
                    <a:gd name="connsiteX73" fmla="*/ 835025 w 1146175"/>
                    <a:gd name="connsiteY73" fmla="*/ 1465841 h 1661098"/>
                    <a:gd name="connsiteX74" fmla="*/ 815975 w 1146175"/>
                    <a:gd name="connsiteY74" fmla="*/ 1459491 h 1661098"/>
                    <a:gd name="connsiteX75" fmla="*/ 774700 w 1146175"/>
                    <a:gd name="connsiteY75" fmla="*/ 1443616 h 1661098"/>
                    <a:gd name="connsiteX76" fmla="*/ 749300 w 1146175"/>
                    <a:gd name="connsiteY76" fmla="*/ 1437266 h 1661098"/>
                    <a:gd name="connsiteX77" fmla="*/ 717550 w 1146175"/>
                    <a:gd name="connsiteY77" fmla="*/ 1424566 h 1661098"/>
                    <a:gd name="connsiteX78" fmla="*/ 688975 w 1146175"/>
                    <a:gd name="connsiteY78" fmla="*/ 1418216 h 1661098"/>
                    <a:gd name="connsiteX79" fmla="*/ 657225 w 1146175"/>
                    <a:gd name="connsiteY79" fmla="*/ 1408691 h 1661098"/>
                    <a:gd name="connsiteX80" fmla="*/ 635000 w 1146175"/>
                    <a:gd name="connsiteY80" fmla="*/ 1411866 h 1661098"/>
                    <a:gd name="connsiteX81" fmla="*/ 622300 w 1146175"/>
                    <a:gd name="connsiteY81" fmla="*/ 1418216 h 1661098"/>
                    <a:gd name="connsiteX82" fmla="*/ 606425 w 1146175"/>
                    <a:gd name="connsiteY82" fmla="*/ 1427741 h 1661098"/>
                    <a:gd name="connsiteX83" fmla="*/ 577850 w 1146175"/>
                    <a:gd name="connsiteY83" fmla="*/ 1443616 h 1661098"/>
                    <a:gd name="connsiteX84" fmla="*/ 558800 w 1146175"/>
                    <a:gd name="connsiteY84" fmla="*/ 1446791 h 1661098"/>
                    <a:gd name="connsiteX85" fmla="*/ 501650 w 1146175"/>
                    <a:gd name="connsiteY85" fmla="*/ 1453141 h 1661098"/>
                    <a:gd name="connsiteX86" fmla="*/ 492125 w 1146175"/>
                    <a:gd name="connsiteY86" fmla="*/ 1459491 h 1661098"/>
                    <a:gd name="connsiteX87" fmla="*/ 466725 w 1146175"/>
                    <a:gd name="connsiteY87" fmla="*/ 1491241 h 1661098"/>
                    <a:gd name="connsiteX88" fmla="*/ 457200 w 1146175"/>
                    <a:gd name="connsiteY88" fmla="*/ 1510291 h 1661098"/>
                    <a:gd name="connsiteX89" fmla="*/ 454025 w 1146175"/>
                    <a:gd name="connsiteY89" fmla="*/ 1519816 h 1661098"/>
                    <a:gd name="connsiteX90" fmla="*/ 447675 w 1146175"/>
                    <a:gd name="connsiteY90" fmla="*/ 1535691 h 1661098"/>
                    <a:gd name="connsiteX91" fmla="*/ 434975 w 1146175"/>
                    <a:gd name="connsiteY91" fmla="*/ 1561091 h 1661098"/>
                    <a:gd name="connsiteX92" fmla="*/ 431800 w 1146175"/>
                    <a:gd name="connsiteY92" fmla="*/ 1576966 h 1661098"/>
                    <a:gd name="connsiteX93" fmla="*/ 425450 w 1146175"/>
                    <a:gd name="connsiteY93" fmla="*/ 1602366 h 1661098"/>
                    <a:gd name="connsiteX94" fmla="*/ 422275 w 1146175"/>
                    <a:gd name="connsiteY94" fmla="*/ 1611891 h 1661098"/>
                    <a:gd name="connsiteX95" fmla="*/ 412750 w 1146175"/>
                    <a:gd name="connsiteY95" fmla="*/ 1621416 h 1661098"/>
                    <a:gd name="connsiteX96" fmla="*/ 222250 w 1146175"/>
                    <a:gd name="connsiteY96" fmla="*/ 1627766 h 1661098"/>
                    <a:gd name="connsiteX97" fmla="*/ 215900 w 1146175"/>
                    <a:gd name="connsiteY97" fmla="*/ 1611891 h 1661098"/>
                    <a:gd name="connsiteX98" fmla="*/ 206375 w 1146175"/>
                    <a:gd name="connsiteY98" fmla="*/ 1599191 h 1661098"/>
                    <a:gd name="connsiteX99" fmla="*/ 203200 w 1146175"/>
                    <a:gd name="connsiteY99" fmla="*/ 1586491 h 1661098"/>
                    <a:gd name="connsiteX100" fmla="*/ 196850 w 1146175"/>
                    <a:gd name="connsiteY100" fmla="*/ 1573791 h 1661098"/>
                    <a:gd name="connsiteX101" fmla="*/ 193675 w 1146175"/>
                    <a:gd name="connsiteY101" fmla="*/ 1564266 h 1661098"/>
                    <a:gd name="connsiteX102" fmla="*/ 187325 w 1146175"/>
                    <a:gd name="connsiteY102" fmla="*/ 1551566 h 1661098"/>
                    <a:gd name="connsiteX103" fmla="*/ 180975 w 1146175"/>
                    <a:gd name="connsiteY103" fmla="*/ 1535691 h 1661098"/>
                    <a:gd name="connsiteX104" fmla="*/ 161925 w 1146175"/>
                    <a:gd name="connsiteY104" fmla="*/ 1507116 h 1661098"/>
                    <a:gd name="connsiteX105" fmla="*/ 149225 w 1146175"/>
                    <a:gd name="connsiteY105" fmla="*/ 1484891 h 1661098"/>
                    <a:gd name="connsiteX106" fmla="*/ 142875 w 1146175"/>
                    <a:gd name="connsiteY106" fmla="*/ 1469016 h 1661098"/>
                    <a:gd name="connsiteX107" fmla="*/ 130175 w 1146175"/>
                    <a:gd name="connsiteY107" fmla="*/ 1465841 h 1661098"/>
                    <a:gd name="connsiteX108" fmla="*/ 101600 w 1146175"/>
                    <a:gd name="connsiteY108" fmla="*/ 1453141 h 1661098"/>
                    <a:gd name="connsiteX109" fmla="*/ 69850 w 1146175"/>
                    <a:gd name="connsiteY109" fmla="*/ 1443616 h 1661098"/>
                    <a:gd name="connsiteX110" fmla="*/ 41275 w 1146175"/>
                    <a:gd name="connsiteY110" fmla="*/ 1430916 h 1661098"/>
                    <a:gd name="connsiteX111" fmla="*/ 31750 w 1146175"/>
                    <a:gd name="connsiteY111" fmla="*/ 1424566 h 1661098"/>
                    <a:gd name="connsiteX112" fmla="*/ 15875 w 1146175"/>
                    <a:gd name="connsiteY112" fmla="*/ 1418216 h 1661098"/>
                    <a:gd name="connsiteX113" fmla="*/ 0 w 1146175"/>
                    <a:gd name="connsiteY113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39800 w 1146175"/>
                    <a:gd name="connsiteY22" fmla="*/ 538741 h 1661098"/>
                    <a:gd name="connsiteX23" fmla="*/ 942975 w 1146175"/>
                    <a:gd name="connsiteY23" fmla="*/ 548266 h 1661098"/>
                    <a:gd name="connsiteX24" fmla="*/ 955675 w 1146175"/>
                    <a:gd name="connsiteY24" fmla="*/ 573666 h 1661098"/>
                    <a:gd name="connsiteX25" fmla="*/ 968375 w 1146175"/>
                    <a:gd name="connsiteY25" fmla="*/ 614941 h 1661098"/>
                    <a:gd name="connsiteX26" fmla="*/ 974725 w 1146175"/>
                    <a:gd name="connsiteY26" fmla="*/ 627641 h 1661098"/>
                    <a:gd name="connsiteX27" fmla="*/ 981075 w 1146175"/>
                    <a:gd name="connsiteY27" fmla="*/ 646691 h 1661098"/>
                    <a:gd name="connsiteX28" fmla="*/ 993775 w 1146175"/>
                    <a:gd name="connsiteY28" fmla="*/ 649866 h 1661098"/>
                    <a:gd name="connsiteX29" fmla="*/ 1012825 w 1146175"/>
                    <a:gd name="connsiteY29" fmla="*/ 653041 h 1661098"/>
                    <a:gd name="connsiteX30" fmla="*/ 1041400 w 1146175"/>
                    <a:gd name="connsiteY30" fmla="*/ 665741 h 1661098"/>
                    <a:gd name="connsiteX31" fmla="*/ 1050925 w 1146175"/>
                    <a:gd name="connsiteY31" fmla="*/ 668916 h 1661098"/>
                    <a:gd name="connsiteX32" fmla="*/ 1066800 w 1146175"/>
                    <a:gd name="connsiteY32" fmla="*/ 678441 h 1661098"/>
                    <a:gd name="connsiteX33" fmla="*/ 1089025 w 1146175"/>
                    <a:gd name="connsiteY33" fmla="*/ 687966 h 1661098"/>
                    <a:gd name="connsiteX34" fmla="*/ 1117600 w 1146175"/>
                    <a:gd name="connsiteY34" fmla="*/ 707016 h 1661098"/>
                    <a:gd name="connsiteX35" fmla="*/ 1136650 w 1146175"/>
                    <a:gd name="connsiteY35" fmla="*/ 713366 h 1661098"/>
                    <a:gd name="connsiteX36" fmla="*/ 1146175 w 1146175"/>
                    <a:gd name="connsiteY36" fmla="*/ 903866 h 1661098"/>
                    <a:gd name="connsiteX37" fmla="*/ 1127125 w 1146175"/>
                    <a:gd name="connsiteY37" fmla="*/ 913391 h 1661098"/>
                    <a:gd name="connsiteX38" fmla="*/ 1101725 w 1146175"/>
                    <a:gd name="connsiteY38" fmla="*/ 919741 h 1661098"/>
                    <a:gd name="connsiteX39" fmla="*/ 1092200 w 1146175"/>
                    <a:gd name="connsiteY39" fmla="*/ 926091 h 1661098"/>
                    <a:gd name="connsiteX40" fmla="*/ 1079500 w 1146175"/>
                    <a:gd name="connsiteY40" fmla="*/ 929266 h 1661098"/>
                    <a:gd name="connsiteX41" fmla="*/ 1069975 w 1146175"/>
                    <a:gd name="connsiteY41" fmla="*/ 938791 h 1661098"/>
                    <a:gd name="connsiteX42" fmla="*/ 1060450 w 1146175"/>
                    <a:gd name="connsiteY42" fmla="*/ 945141 h 1661098"/>
                    <a:gd name="connsiteX43" fmla="*/ 1038225 w 1146175"/>
                    <a:gd name="connsiteY43" fmla="*/ 957841 h 1661098"/>
                    <a:gd name="connsiteX44" fmla="*/ 996950 w 1146175"/>
                    <a:gd name="connsiteY44" fmla="*/ 983241 h 1661098"/>
                    <a:gd name="connsiteX45" fmla="*/ 977900 w 1146175"/>
                    <a:gd name="connsiteY45" fmla="*/ 989591 h 1661098"/>
                    <a:gd name="connsiteX46" fmla="*/ 968375 w 1146175"/>
                    <a:gd name="connsiteY46" fmla="*/ 1014991 h 1661098"/>
                    <a:gd name="connsiteX47" fmla="*/ 958850 w 1146175"/>
                    <a:gd name="connsiteY47" fmla="*/ 1040391 h 1661098"/>
                    <a:gd name="connsiteX48" fmla="*/ 955675 w 1146175"/>
                    <a:gd name="connsiteY48" fmla="*/ 1065791 h 1661098"/>
                    <a:gd name="connsiteX49" fmla="*/ 949325 w 1146175"/>
                    <a:gd name="connsiteY49" fmla="*/ 1075316 h 1661098"/>
                    <a:gd name="connsiteX50" fmla="*/ 946150 w 1146175"/>
                    <a:gd name="connsiteY50" fmla="*/ 1084841 h 1661098"/>
                    <a:gd name="connsiteX51" fmla="*/ 936625 w 1146175"/>
                    <a:gd name="connsiteY51" fmla="*/ 1100716 h 1661098"/>
                    <a:gd name="connsiteX52" fmla="*/ 923925 w 1146175"/>
                    <a:gd name="connsiteY52" fmla="*/ 1135641 h 1661098"/>
                    <a:gd name="connsiteX53" fmla="*/ 917575 w 1146175"/>
                    <a:gd name="connsiteY53" fmla="*/ 1145166 h 1661098"/>
                    <a:gd name="connsiteX54" fmla="*/ 923925 w 1146175"/>
                    <a:gd name="connsiteY54" fmla="*/ 1199141 h 1661098"/>
                    <a:gd name="connsiteX55" fmla="*/ 939800 w 1146175"/>
                    <a:gd name="connsiteY55" fmla="*/ 1221366 h 1661098"/>
                    <a:gd name="connsiteX56" fmla="*/ 946150 w 1146175"/>
                    <a:gd name="connsiteY56" fmla="*/ 1234066 h 1661098"/>
                    <a:gd name="connsiteX57" fmla="*/ 952500 w 1146175"/>
                    <a:gd name="connsiteY57" fmla="*/ 1243591 h 1661098"/>
                    <a:gd name="connsiteX58" fmla="*/ 965200 w 1146175"/>
                    <a:gd name="connsiteY58" fmla="*/ 1268991 h 1661098"/>
                    <a:gd name="connsiteX59" fmla="*/ 974725 w 1146175"/>
                    <a:gd name="connsiteY59" fmla="*/ 1291216 h 1661098"/>
                    <a:gd name="connsiteX60" fmla="*/ 977900 w 1146175"/>
                    <a:gd name="connsiteY60" fmla="*/ 1303916 h 1661098"/>
                    <a:gd name="connsiteX61" fmla="*/ 981075 w 1146175"/>
                    <a:gd name="connsiteY61" fmla="*/ 1313441 h 1661098"/>
                    <a:gd name="connsiteX62" fmla="*/ 974725 w 1146175"/>
                    <a:gd name="connsiteY62" fmla="*/ 1348366 h 1661098"/>
                    <a:gd name="connsiteX63" fmla="*/ 949325 w 1146175"/>
                    <a:gd name="connsiteY63" fmla="*/ 1380116 h 1661098"/>
                    <a:gd name="connsiteX64" fmla="*/ 939800 w 1146175"/>
                    <a:gd name="connsiteY64" fmla="*/ 1386466 h 1661098"/>
                    <a:gd name="connsiteX65" fmla="*/ 930275 w 1146175"/>
                    <a:gd name="connsiteY65" fmla="*/ 1395991 h 1661098"/>
                    <a:gd name="connsiteX66" fmla="*/ 923925 w 1146175"/>
                    <a:gd name="connsiteY66" fmla="*/ 1405516 h 1661098"/>
                    <a:gd name="connsiteX67" fmla="*/ 908050 w 1146175"/>
                    <a:gd name="connsiteY67" fmla="*/ 1415041 h 1661098"/>
                    <a:gd name="connsiteX68" fmla="*/ 895350 w 1146175"/>
                    <a:gd name="connsiteY68" fmla="*/ 1427741 h 1661098"/>
                    <a:gd name="connsiteX69" fmla="*/ 882650 w 1146175"/>
                    <a:gd name="connsiteY69" fmla="*/ 1437266 h 1661098"/>
                    <a:gd name="connsiteX70" fmla="*/ 873125 w 1146175"/>
                    <a:gd name="connsiteY70" fmla="*/ 1446791 h 1661098"/>
                    <a:gd name="connsiteX71" fmla="*/ 844550 w 1146175"/>
                    <a:gd name="connsiteY71" fmla="*/ 1462666 h 1661098"/>
                    <a:gd name="connsiteX72" fmla="*/ 835025 w 1146175"/>
                    <a:gd name="connsiteY72" fmla="*/ 1465841 h 1661098"/>
                    <a:gd name="connsiteX73" fmla="*/ 815975 w 1146175"/>
                    <a:gd name="connsiteY73" fmla="*/ 1459491 h 1661098"/>
                    <a:gd name="connsiteX74" fmla="*/ 774700 w 1146175"/>
                    <a:gd name="connsiteY74" fmla="*/ 1443616 h 1661098"/>
                    <a:gd name="connsiteX75" fmla="*/ 749300 w 1146175"/>
                    <a:gd name="connsiteY75" fmla="*/ 1437266 h 1661098"/>
                    <a:gd name="connsiteX76" fmla="*/ 717550 w 1146175"/>
                    <a:gd name="connsiteY76" fmla="*/ 1424566 h 1661098"/>
                    <a:gd name="connsiteX77" fmla="*/ 688975 w 1146175"/>
                    <a:gd name="connsiteY77" fmla="*/ 1418216 h 1661098"/>
                    <a:gd name="connsiteX78" fmla="*/ 657225 w 1146175"/>
                    <a:gd name="connsiteY78" fmla="*/ 1408691 h 1661098"/>
                    <a:gd name="connsiteX79" fmla="*/ 635000 w 1146175"/>
                    <a:gd name="connsiteY79" fmla="*/ 1411866 h 1661098"/>
                    <a:gd name="connsiteX80" fmla="*/ 622300 w 1146175"/>
                    <a:gd name="connsiteY80" fmla="*/ 1418216 h 1661098"/>
                    <a:gd name="connsiteX81" fmla="*/ 606425 w 1146175"/>
                    <a:gd name="connsiteY81" fmla="*/ 1427741 h 1661098"/>
                    <a:gd name="connsiteX82" fmla="*/ 577850 w 1146175"/>
                    <a:gd name="connsiteY82" fmla="*/ 1443616 h 1661098"/>
                    <a:gd name="connsiteX83" fmla="*/ 558800 w 1146175"/>
                    <a:gd name="connsiteY83" fmla="*/ 1446791 h 1661098"/>
                    <a:gd name="connsiteX84" fmla="*/ 501650 w 1146175"/>
                    <a:gd name="connsiteY84" fmla="*/ 1453141 h 1661098"/>
                    <a:gd name="connsiteX85" fmla="*/ 492125 w 1146175"/>
                    <a:gd name="connsiteY85" fmla="*/ 1459491 h 1661098"/>
                    <a:gd name="connsiteX86" fmla="*/ 466725 w 1146175"/>
                    <a:gd name="connsiteY86" fmla="*/ 1491241 h 1661098"/>
                    <a:gd name="connsiteX87" fmla="*/ 457200 w 1146175"/>
                    <a:gd name="connsiteY87" fmla="*/ 1510291 h 1661098"/>
                    <a:gd name="connsiteX88" fmla="*/ 454025 w 1146175"/>
                    <a:gd name="connsiteY88" fmla="*/ 1519816 h 1661098"/>
                    <a:gd name="connsiteX89" fmla="*/ 447675 w 1146175"/>
                    <a:gd name="connsiteY89" fmla="*/ 1535691 h 1661098"/>
                    <a:gd name="connsiteX90" fmla="*/ 434975 w 1146175"/>
                    <a:gd name="connsiteY90" fmla="*/ 1561091 h 1661098"/>
                    <a:gd name="connsiteX91" fmla="*/ 431800 w 1146175"/>
                    <a:gd name="connsiteY91" fmla="*/ 1576966 h 1661098"/>
                    <a:gd name="connsiteX92" fmla="*/ 425450 w 1146175"/>
                    <a:gd name="connsiteY92" fmla="*/ 1602366 h 1661098"/>
                    <a:gd name="connsiteX93" fmla="*/ 422275 w 1146175"/>
                    <a:gd name="connsiteY93" fmla="*/ 1611891 h 1661098"/>
                    <a:gd name="connsiteX94" fmla="*/ 412750 w 1146175"/>
                    <a:gd name="connsiteY94" fmla="*/ 1621416 h 1661098"/>
                    <a:gd name="connsiteX95" fmla="*/ 222250 w 1146175"/>
                    <a:gd name="connsiteY95" fmla="*/ 1627766 h 1661098"/>
                    <a:gd name="connsiteX96" fmla="*/ 215900 w 1146175"/>
                    <a:gd name="connsiteY96" fmla="*/ 1611891 h 1661098"/>
                    <a:gd name="connsiteX97" fmla="*/ 206375 w 1146175"/>
                    <a:gd name="connsiteY97" fmla="*/ 1599191 h 1661098"/>
                    <a:gd name="connsiteX98" fmla="*/ 203200 w 1146175"/>
                    <a:gd name="connsiteY98" fmla="*/ 1586491 h 1661098"/>
                    <a:gd name="connsiteX99" fmla="*/ 196850 w 1146175"/>
                    <a:gd name="connsiteY99" fmla="*/ 1573791 h 1661098"/>
                    <a:gd name="connsiteX100" fmla="*/ 193675 w 1146175"/>
                    <a:gd name="connsiteY100" fmla="*/ 1564266 h 1661098"/>
                    <a:gd name="connsiteX101" fmla="*/ 187325 w 1146175"/>
                    <a:gd name="connsiteY101" fmla="*/ 1551566 h 1661098"/>
                    <a:gd name="connsiteX102" fmla="*/ 180975 w 1146175"/>
                    <a:gd name="connsiteY102" fmla="*/ 1535691 h 1661098"/>
                    <a:gd name="connsiteX103" fmla="*/ 161925 w 1146175"/>
                    <a:gd name="connsiteY103" fmla="*/ 1507116 h 1661098"/>
                    <a:gd name="connsiteX104" fmla="*/ 149225 w 1146175"/>
                    <a:gd name="connsiteY104" fmla="*/ 1484891 h 1661098"/>
                    <a:gd name="connsiteX105" fmla="*/ 142875 w 1146175"/>
                    <a:gd name="connsiteY105" fmla="*/ 1469016 h 1661098"/>
                    <a:gd name="connsiteX106" fmla="*/ 130175 w 1146175"/>
                    <a:gd name="connsiteY106" fmla="*/ 1465841 h 1661098"/>
                    <a:gd name="connsiteX107" fmla="*/ 101600 w 1146175"/>
                    <a:gd name="connsiteY107" fmla="*/ 1453141 h 1661098"/>
                    <a:gd name="connsiteX108" fmla="*/ 69850 w 1146175"/>
                    <a:gd name="connsiteY108" fmla="*/ 1443616 h 1661098"/>
                    <a:gd name="connsiteX109" fmla="*/ 41275 w 1146175"/>
                    <a:gd name="connsiteY109" fmla="*/ 1430916 h 1661098"/>
                    <a:gd name="connsiteX110" fmla="*/ 31750 w 1146175"/>
                    <a:gd name="connsiteY110" fmla="*/ 1424566 h 1661098"/>
                    <a:gd name="connsiteX111" fmla="*/ 15875 w 1146175"/>
                    <a:gd name="connsiteY111" fmla="*/ 1418216 h 1661098"/>
                    <a:gd name="connsiteX112" fmla="*/ 0 w 1146175"/>
                    <a:gd name="connsiteY112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39800 w 1146175"/>
                    <a:gd name="connsiteY22" fmla="*/ 538741 h 1661098"/>
                    <a:gd name="connsiteX23" fmla="*/ 955675 w 1146175"/>
                    <a:gd name="connsiteY23" fmla="*/ 573666 h 1661098"/>
                    <a:gd name="connsiteX24" fmla="*/ 968375 w 1146175"/>
                    <a:gd name="connsiteY24" fmla="*/ 614941 h 1661098"/>
                    <a:gd name="connsiteX25" fmla="*/ 974725 w 1146175"/>
                    <a:gd name="connsiteY25" fmla="*/ 627641 h 1661098"/>
                    <a:gd name="connsiteX26" fmla="*/ 981075 w 1146175"/>
                    <a:gd name="connsiteY26" fmla="*/ 646691 h 1661098"/>
                    <a:gd name="connsiteX27" fmla="*/ 993775 w 1146175"/>
                    <a:gd name="connsiteY27" fmla="*/ 649866 h 1661098"/>
                    <a:gd name="connsiteX28" fmla="*/ 1012825 w 1146175"/>
                    <a:gd name="connsiteY28" fmla="*/ 653041 h 1661098"/>
                    <a:gd name="connsiteX29" fmla="*/ 1041400 w 1146175"/>
                    <a:gd name="connsiteY29" fmla="*/ 665741 h 1661098"/>
                    <a:gd name="connsiteX30" fmla="*/ 1050925 w 1146175"/>
                    <a:gd name="connsiteY30" fmla="*/ 668916 h 1661098"/>
                    <a:gd name="connsiteX31" fmla="*/ 1066800 w 1146175"/>
                    <a:gd name="connsiteY31" fmla="*/ 678441 h 1661098"/>
                    <a:gd name="connsiteX32" fmla="*/ 1089025 w 1146175"/>
                    <a:gd name="connsiteY32" fmla="*/ 687966 h 1661098"/>
                    <a:gd name="connsiteX33" fmla="*/ 1117600 w 1146175"/>
                    <a:gd name="connsiteY33" fmla="*/ 707016 h 1661098"/>
                    <a:gd name="connsiteX34" fmla="*/ 1136650 w 1146175"/>
                    <a:gd name="connsiteY34" fmla="*/ 713366 h 1661098"/>
                    <a:gd name="connsiteX35" fmla="*/ 1146175 w 1146175"/>
                    <a:gd name="connsiteY35" fmla="*/ 903866 h 1661098"/>
                    <a:gd name="connsiteX36" fmla="*/ 1127125 w 1146175"/>
                    <a:gd name="connsiteY36" fmla="*/ 913391 h 1661098"/>
                    <a:gd name="connsiteX37" fmla="*/ 1101725 w 1146175"/>
                    <a:gd name="connsiteY37" fmla="*/ 919741 h 1661098"/>
                    <a:gd name="connsiteX38" fmla="*/ 1092200 w 1146175"/>
                    <a:gd name="connsiteY38" fmla="*/ 926091 h 1661098"/>
                    <a:gd name="connsiteX39" fmla="*/ 1079500 w 1146175"/>
                    <a:gd name="connsiteY39" fmla="*/ 929266 h 1661098"/>
                    <a:gd name="connsiteX40" fmla="*/ 1069975 w 1146175"/>
                    <a:gd name="connsiteY40" fmla="*/ 938791 h 1661098"/>
                    <a:gd name="connsiteX41" fmla="*/ 1060450 w 1146175"/>
                    <a:gd name="connsiteY41" fmla="*/ 945141 h 1661098"/>
                    <a:gd name="connsiteX42" fmla="*/ 1038225 w 1146175"/>
                    <a:gd name="connsiteY42" fmla="*/ 957841 h 1661098"/>
                    <a:gd name="connsiteX43" fmla="*/ 996950 w 1146175"/>
                    <a:gd name="connsiteY43" fmla="*/ 983241 h 1661098"/>
                    <a:gd name="connsiteX44" fmla="*/ 977900 w 1146175"/>
                    <a:gd name="connsiteY44" fmla="*/ 989591 h 1661098"/>
                    <a:gd name="connsiteX45" fmla="*/ 968375 w 1146175"/>
                    <a:gd name="connsiteY45" fmla="*/ 1014991 h 1661098"/>
                    <a:gd name="connsiteX46" fmla="*/ 958850 w 1146175"/>
                    <a:gd name="connsiteY46" fmla="*/ 1040391 h 1661098"/>
                    <a:gd name="connsiteX47" fmla="*/ 955675 w 1146175"/>
                    <a:gd name="connsiteY47" fmla="*/ 1065791 h 1661098"/>
                    <a:gd name="connsiteX48" fmla="*/ 949325 w 1146175"/>
                    <a:gd name="connsiteY48" fmla="*/ 1075316 h 1661098"/>
                    <a:gd name="connsiteX49" fmla="*/ 946150 w 1146175"/>
                    <a:gd name="connsiteY49" fmla="*/ 1084841 h 1661098"/>
                    <a:gd name="connsiteX50" fmla="*/ 936625 w 1146175"/>
                    <a:gd name="connsiteY50" fmla="*/ 1100716 h 1661098"/>
                    <a:gd name="connsiteX51" fmla="*/ 923925 w 1146175"/>
                    <a:gd name="connsiteY51" fmla="*/ 1135641 h 1661098"/>
                    <a:gd name="connsiteX52" fmla="*/ 917575 w 1146175"/>
                    <a:gd name="connsiteY52" fmla="*/ 1145166 h 1661098"/>
                    <a:gd name="connsiteX53" fmla="*/ 923925 w 1146175"/>
                    <a:gd name="connsiteY53" fmla="*/ 1199141 h 1661098"/>
                    <a:gd name="connsiteX54" fmla="*/ 939800 w 1146175"/>
                    <a:gd name="connsiteY54" fmla="*/ 1221366 h 1661098"/>
                    <a:gd name="connsiteX55" fmla="*/ 946150 w 1146175"/>
                    <a:gd name="connsiteY55" fmla="*/ 1234066 h 1661098"/>
                    <a:gd name="connsiteX56" fmla="*/ 952500 w 1146175"/>
                    <a:gd name="connsiteY56" fmla="*/ 1243591 h 1661098"/>
                    <a:gd name="connsiteX57" fmla="*/ 965200 w 1146175"/>
                    <a:gd name="connsiteY57" fmla="*/ 1268991 h 1661098"/>
                    <a:gd name="connsiteX58" fmla="*/ 974725 w 1146175"/>
                    <a:gd name="connsiteY58" fmla="*/ 1291216 h 1661098"/>
                    <a:gd name="connsiteX59" fmla="*/ 977900 w 1146175"/>
                    <a:gd name="connsiteY59" fmla="*/ 1303916 h 1661098"/>
                    <a:gd name="connsiteX60" fmla="*/ 981075 w 1146175"/>
                    <a:gd name="connsiteY60" fmla="*/ 1313441 h 1661098"/>
                    <a:gd name="connsiteX61" fmla="*/ 974725 w 1146175"/>
                    <a:gd name="connsiteY61" fmla="*/ 1348366 h 1661098"/>
                    <a:gd name="connsiteX62" fmla="*/ 949325 w 1146175"/>
                    <a:gd name="connsiteY62" fmla="*/ 1380116 h 1661098"/>
                    <a:gd name="connsiteX63" fmla="*/ 939800 w 1146175"/>
                    <a:gd name="connsiteY63" fmla="*/ 1386466 h 1661098"/>
                    <a:gd name="connsiteX64" fmla="*/ 930275 w 1146175"/>
                    <a:gd name="connsiteY64" fmla="*/ 1395991 h 1661098"/>
                    <a:gd name="connsiteX65" fmla="*/ 923925 w 1146175"/>
                    <a:gd name="connsiteY65" fmla="*/ 1405516 h 1661098"/>
                    <a:gd name="connsiteX66" fmla="*/ 908050 w 1146175"/>
                    <a:gd name="connsiteY66" fmla="*/ 1415041 h 1661098"/>
                    <a:gd name="connsiteX67" fmla="*/ 895350 w 1146175"/>
                    <a:gd name="connsiteY67" fmla="*/ 1427741 h 1661098"/>
                    <a:gd name="connsiteX68" fmla="*/ 882650 w 1146175"/>
                    <a:gd name="connsiteY68" fmla="*/ 1437266 h 1661098"/>
                    <a:gd name="connsiteX69" fmla="*/ 873125 w 1146175"/>
                    <a:gd name="connsiteY69" fmla="*/ 1446791 h 1661098"/>
                    <a:gd name="connsiteX70" fmla="*/ 844550 w 1146175"/>
                    <a:gd name="connsiteY70" fmla="*/ 1462666 h 1661098"/>
                    <a:gd name="connsiteX71" fmla="*/ 835025 w 1146175"/>
                    <a:gd name="connsiteY71" fmla="*/ 1465841 h 1661098"/>
                    <a:gd name="connsiteX72" fmla="*/ 815975 w 1146175"/>
                    <a:gd name="connsiteY72" fmla="*/ 1459491 h 1661098"/>
                    <a:gd name="connsiteX73" fmla="*/ 774700 w 1146175"/>
                    <a:gd name="connsiteY73" fmla="*/ 1443616 h 1661098"/>
                    <a:gd name="connsiteX74" fmla="*/ 749300 w 1146175"/>
                    <a:gd name="connsiteY74" fmla="*/ 1437266 h 1661098"/>
                    <a:gd name="connsiteX75" fmla="*/ 717550 w 1146175"/>
                    <a:gd name="connsiteY75" fmla="*/ 1424566 h 1661098"/>
                    <a:gd name="connsiteX76" fmla="*/ 688975 w 1146175"/>
                    <a:gd name="connsiteY76" fmla="*/ 1418216 h 1661098"/>
                    <a:gd name="connsiteX77" fmla="*/ 657225 w 1146175"/>
                    <a:gd name="connsiteY77" fmla="*/ 1408691 h 1661098"/>
                    <a:gd name="connsiteX78" fmla="*/ 635000 w 1146175"/>
                    <a:gd name="connsiteY78" fmla="*/ 1411866 h 1661098"/>
                    <a:gd name="connsiteX79" fmla="*/ 622300 w 1146175"/>
                    <a:gd name="connsiteY79" fmla="*/ 1418216 h 1661098"/>
                    <a:gd name="connsiteX80" fmla="*/ 606425 w 1146175"/>
                    <a:gd name="connsiteY80" fmla="*/ 1427741 h 1661098"/>
                    <a:gd name="connsiteX81" fmla="*/ 577850 w 1146175"/>
                    <a:gd name="connsiteY81" fmla="*/ 1443616 h 1661098"/>
                    <a:gd name="connsiteX82" fmla="*/ 558800 w 1146175"/>
                    <a:gd name="connsiteY82" fmla="*/ 1446791 h 1661098"/>
                    <a:gd name="connsiteX83" fmla="*/ 501650 w 1146175"/>
                    <a:gd name="connsiteY83" fmla="*/ 1453141 h 1661098"/>
                    <a:gd name="connsiteX84" fmla="*/ 492125 w 1146175"/>
                    <a:gd name="connsiteY84" fmla="*/ 1459491 h 1661098"/>
                    <a:gd name="connsiteX85" fmla="*/ 466725 w 1146175"/>
                    <a:gd name="connsiteY85" fmla="*/ 1491241 h 1661098"/>
                    <a:gd name="connsiteX86" fmla="*/ 457200 w 1146175"/>
                    <a:gd name="connsiteY86" fmla="*/ 1510291 h 1661098"/>
                    <a:gd name="connsiteX87" fmla="*/ 454025 w 1146175"/>
                    <a:gd name="connsiteY87" fmla="*/ 1519816 h 1661098"/>
                    <a:gd name="connsiteX88" fmla="*/ 447675 w 1146175"/>
                    <a:gd name="connsiteY88" fmla="*/ 1535691 h 1661098"/>
                    <a:gd name="connsiteX89" fmla="*/ 434975 w 1146175"/>
                    <a:gd name="connsiteY89" fmla="*/ 1561091 h 1661098"/>
                    <a:gd name="connsiteX90" fmla="*/ 431800 w 1146175"/>
                    <a:gd name="connsiteY90" fmla="*/ 1576966 h 1661098"/>
                    <a:gd name="connsiteX91" fmla="*/ 425450 w 1146175"/>
                    <a:gd name="connsiteY91" fmla="*/ 1602366 h 1661098"/>
                    <a:gd name="connsiteX92" fmla="*/ 422275 w 1146175"/>
                    <a:gd name="connsiteY92" fmla="*/ 1611891 h 1661098"/>
                    <a:gd name="connsiteX93" fmla="*/ 412750 w 1146175"/>
                    <a:gd name="connsiteY93" fmla="*/ 1621416 h 1661098"/>
                    <a:gd name="connsiteX94" fmla="*/ 222250 w 1146175"/>
                    <a:gd name="connsiteY94" fmla="*/ 1627766 h 1661098"/>
                    <a:gd name="connsiteX95" fmla="*/ 215900 w 1146175"/>
                    <a:gd name="connsiteY95" fmla="*/ 1611891 h 1661098"/>
                    <a:gd name="connsiteX96" fmla="*/ 206375 w 1146175"/>
                    <a:gd name="connsiteY96" fmla="*/ 1599191 h 1661098"/>
                    <a:gd name="connsiteX97" fmla="*/ 203200 w 1146175"/>
                    <a:gd name="connsiteY97" fmla="*/ 1586491 h 1661098"/>
                    <a:gd name="connsiteX98" fmla="*/ 196850 w 1146175"/>
                    <a:gd name="connsiteY98" fmla="*/ 1573791 h 1661098"/>
                    <a:gd name="connsiteX99" fmla="*/ 193675 w 1146175"/>
                    <a:gd name="connsiteY99" fmla="*/ 1564266 h 1661098"/>
                    <a:gd name="connsiteX100" fmla="*/ 187325 w 1146175"/>
                    <a:gd name="connsiteY100" fmla="*/ 1551566 h 1661098"/>
                    <a:gd name="connsiteX101" fmla="*/ 180975 w 1146175"/>
                    <a:gd name="connsiteY101" fmla="*/ 1535691 h 1661098"/>
                    <a:gd name="connsiteX102" fmla="*/ 161925 w 1146175"/>
                    <a:gd name="connsiteY102" fmla="*/ 1507116 h 1661098"/>
                    <a:gd name="connsiteX103" fmla="*/ 149225 w 1146175"/>
                    <a:gd name="connsiteY103" fmla="*/ 1484891 h 1661098"/>
                    <a:gd name="connsiteX104" fmla="*/ 142875 w 1146175"/>
                    <a:gd name="connsiteY104" fmla="*/ 1469016 h 1661098"/>
                    <a:gd name="connsiteX105" fmla="*/ 130175 w 1146175"/>
                    <a:gd name="connsiteY105" fmla="*/ 1465841 h 1661098"/>
                    <a:gd name="connsiteX106" fmla="*/ 101600 w 1146175"/>
                    <a:gd name="connsiteY106" fmla="*/ 1453141 h 1661098"/>
                    <a:gd name="connsiteX107" fmla="*/ 69850 w 1146175"/>
                    <a:gd name="connsiteY107" fmla="*/ 1443616 h 1661098"/>
                    <a:gd name="connsiteX108" fmla="*/ 41275 w 1146175"/>
                    <a:gd name="connsiteY108" fmla="*/ 1430916 h 1661098"/>
                    <a:gd name="connsiteX109" fmla="*/ 31750 w 1146175"/>
                    <a:gd name="connsiteY109" fmla="*/ 1424566 h 1661098"/>
                    <a:gd name="connsiteX110" fmla="*/ 15875 w 1146175"/>
                    <a:gd name="connsiteY110" fmla="*/ 1418216 h 1661098"/>
                    <a:gd name="connsiteX111" fmla="*/ 0 w 1146175"/>
                    <a:gd name="connsiteY111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68375 w 1146175"/>
                    <a:gd name="connsiteY23" fmla="*/ 614941 h 1661098"/>
                    <a:gd name="connsiteX24" fmla="*/ 974725 w 1146175"/>
                    <a:gd name="connsiteY24" fmla="*/ 627641 h 1661098"/>
                    <a:gd name="connsiteX25" fmla="*/ 981075 w 1146175"/>
                    <a:gd name="connsiteY25" fmla="*/ 646691 h 1661098"/>
                    <a:gd name="connsiteX26" fmla="*/ 993775 w 1146175"/>
                    <a:gd name="connsiteY26" fmla="*/ 649866 h 1661098"/>
                    <a:gd name="connsiteX27" fmla="*/ 1012825 w 1146175"/>
                    <a:gd name="connsiteY27" fmla="*/ 653041 h 1661098"/>
                    <a:gd name="connsiteX28" fmla="*/ 1041400 w 1146175"/>
                    <a:gd name="connsiteY28" fmla="*/ 665741 h 1661098"/>
                    <a:gd name="connsiteX29" fmla="*/ 1050925 w 1146175"/>
                    <a:gd name="connsiteY29" fmla="*/ 668916 h 1661098"/>
                    <a:gd name="connsiteX30" fmla="*/ 1066800 w 1146175"/>
                    <a:gd name="connsiteY30" fmla="*/ 678441 h 1661098"/>
                    <a:gd name="connsiteX31" fmla="*/ 1089025 w 1146175"/>
                    <a:gd name="connsiteY31" fmla="*/ 687966 h 1661098"/>
                    <a:gd name="connsiteX32" fmla="*/ 1117600 w 1146175"/>
                    <a:gd name="connsiteY32" fmla="*/ 707016 h 1661098"/>
                    <a:gd name="connsiteX33" fmla="*/ 1136650 w 1146175"/>
                    <a:gd name="connsiteY33" fmla="*/ 713366 h 1661098"/>
                    <a:gd name="connsiteX34" fmla="*/ 1146175 w 1146175"/>
                    <a:gd name="connsiteY34" fmla="*/ 903866 h 1661098"/>
                    <a:gd name="connsiteX35" fmla="*/ 1127125 w 1146175"/>
                    <a:gd name="connsiteY35" fmla="*/ 913391 h 1661098"/>
                    <a:gd name="connsiteX36" fmla="*/ 1101725 w 1146175"/>
                    <a:gd name="connsiteY36" fmla="*/ 919741 h 1661098"/>
                    <a:gd name="connsiteX37" fmla="*/ 1092200 w 1146175"/>
                    <a:gd name="connsiteY37" fmla="*/ 926091 h 1661098"/>
                    <a:gd name="connsiteX38" fmla="*/ 1079500 w 1146175"/>
                    <a:gd name="connsiteY38" fmla="*/ 929266 h 1661098"/>
                    <a:gd name="connsiteX39" fmla="*/ 1069975 w 1146175"/>
                    <a:gd name="connsiteY39" fmla="*/ 938791 h 1661098"/>
                    <a:gd name="connsiteX40" fmla="*/ 1060450 w 1146175"/>
                    <a:gd name="connsiteY40" fmla="*/ 945141 h 1661098"/>
                    <a:gd name="connsiteX41" fmla="*/ 1038225 w 1146175"/>
                    <a:gd name="connsiteY41" fmla="*/ 957841 h 1661098"/>
                    <a:gd name="connsiteX42" fmla="*/ 996950 w 1146175"/>
                    <a:gd name="connsiteY42" fmla="*/ 983241 h 1661098"/>
                    <a:gd name="connsiteX43" fmla="*/ 977900 w 1146175"/>
                    <a:gd name="connsiteY43" fmla="*/ 989591 h 1661098"/>
                    <a:gd name="connsiteX44" fmla="*/ 968375 w 1146175"/>
                    <a:gd name="connsiteY44" fmla="*/ 1014991 h 1661098"/>
                    <a:gd name="connsiteX45" fmla="*/ 958850 w 1146175"/>
                    <a:gd name="connsiteY45" fmla="*/ 1040391 h 1661098"/>
                    <a:gd name="connsiteX46" fmla="*/ 955675 w 1146175"/>
                    <a:gd name="connsiteY46" fmla="*/ 1065791 h 1661098"/>
                    <a:gd name="connsiteX47" fmla="*/ 949325 w 1146175"/>
                    <a:gd name="connsiteY47" fmla="*/ 1075316 h 1661098"/>
                    <a:gd name="connsiteX48" fmla="*/ 946150 w 1146175"/>
                    <a:gd name="connsiteY48" fmla="*/ 1084841 h 1661098"/>
                    <a:gd name="connsiteX49" fmla="*/ 936625 w 1146175"/>
                    <a:gd name="connsiteY49" fmla="*/ 1100716 h 1661098"/>
                    <a:gd name="connsiteX50" fmla="*/ 923925 w 1146175"/>
                    <a:gd name="connsiteY50" fmla="*/ 1135641 h 1661098"/>
                    <a:gd name="connsiteX51" fmla="*/ 917575 w 1146175"/>
                    <a:gd name="connsiteY51" fmla="*/ 1145166 h 1661098"/>
                    <a:gd name="connsiteX52" fmla="*/ 923925 w 1146175"/>
                    <a:gd name="connsiteY52" fmla="*/ 1199141 h 1661098"/>
                    <a:gd name="connsiteX53" fmla="*/ 939800 w 1146175"/>
                    <a:gd name="connsiteY53" fmla="*/ 1221366 h 1661098"/>
                    <a:gd name="connsiteX54" fmla="*/ 946150 w 1146175"/>
                    <a:gd name="connsiteY54" fmla="*/ 1234066 h 1661098"/>
                    <a:gd name="connsiteX55" fmla="*/ 952500 w 1146175"/>
                    <a:gd name="connsiteY55" fmla="*/ 1243591 h 1661098"/>
                    <a:gd name="connsiteX56" fmla="*/ 965200 w 1146175"/>
                    <a:gd name="connsiteY56" fmla="*/ 1268991 h 1661098"/>
                    <a:gd name="connsiteX57" fmla="*/ 974725 w 1146175"/>
                    <a:gd name="connsiteY57" fmla="*/ 1291216 h 1661098"/>
                    <a:gd name="connsiteX58" fmla="*/ 977900 w 1146175"/>
                    <a:gd name="connsiteY58" fmla="*/ 1303916 h 1661098"/>
                    <a:gd name="connsiteX59" fmla="*/ 981075 w 1146175"/>
                    <a:gd name="connsiteY59" fmla="*/ 1313441 h 1661098"/>
                    <a:gd name="connsiteX60" fmla="*/ 974725 w 1146175"/>
                    <a:gd name="connsiteY60" fmla="*/ 1348366 h 1661098"/>
                    <a:gd name="connsiteX61" fmla="*/ 949325 w 1146175"/>
                    <a:gd name="connsiteY61" fmla="*/ 1380116 h 1661098"/>
                    <a:gd name="connsiteX62" fmla="*/ 939800 w 1146175"/>
                    <a:gd name="connsiteY62" fmla="*/ 1386466 h 1661098"/>
                    <a:gd name="connsiteX63" fmla="*/ 930275 w 1146175"/>
                    <a:gd name="connsiteY63" fmla="*/ 1395991 h 1661098"/>
                    <a:gd name="connsiteX64" fmla="*/ 923925 w 1146175"/>
                    <a:gd name="connsiteY64" fmla="*/ 1405516 h 1661098"/>
                    <a:gd name="connsiteX65" fmla="*/ 908050 w 1146175"/>
                    <a:gd name="connsiteY65" fmla="*/ 1415041 h 1661098"/>
                    <a:gd name="connsiteX66" fmla="*/ 895350 w 1146175"/>
                    <a:gd name="connsiteY66" fmla="*/ 1427741 h 1661098"/>
                    <a:gd name="connsiteX67" fmla="*/ 882650 w 1146175"/>
                    <a:gd name="connsiteY67" fmla="*/ 1437266 h 1661098"/>
                    <a:gd name="connsiteX68" fmla="*/ 873125 w 1146175"/>
                    <a:gd name="connsiteY68" fmla="*/ 1446791 h 1661098"/>
                    <a:gd name="connsiteX69" fmla="*/ 844550 w 1146175"/>
                    <a:gd name="connsiteY69" fmla="*/ 1462666 h 1661098"/>
                    <a:gd name="connsiteX70" fmla="*/ 835025 w 1146175"/>
                    <a:gd name="connsiteY70" fmla="*/ 1465841 h 1661098"/>
                    <a:gd name="connsiteX71" fmla="*/ 815975 w 1146175"/>
                    <a:gd name="connsiteY71" fmla="*/ 1459491 h 1661098"/>
                    <a:gd name="connsiteX72" fmla="*/ 774700 w 1146175"/>
                    <a:gd name="connsiteY72" fmla="*/ 1443616 h 1661098"/>
                    <a:gd name="connsiteX73" fmla="*/ 749300 w 1146175"/>
                    <a:gd name="connsiteY73" fmla="*/ 1437266 h 1661098"/>
                    <a:gd name="connsiteX74" fmla="*/ 717550 w 1146175"/>
                    <a:gd name="connsiteY74" fmla="*/ 1424566 h 1661098"/>
                    <a:gd name="connsiteX75" fmla="*/ 688975 w 1146175"/>
                    <a:gd name="connsiteY75" fmla="*/ 1418216 h 1661098"/>
                    <a:gd name="connsiteX76" fmla="*/ 657225 w 1146175"/>
                    <a:gd name="connsiteY76" fmla="*/ 1408691 h 1661098"/>
                    <a:gd name="connsiteX77" fmla="*/ 635000 w 1146175"/>
                    <a:gd name="connsiteY77" fmla="*/ 1411866 h 1661098"/>
                    <a:gd name="connsiteX78" fmla="*/ 622300 w 1146175"/>
                    <a:gd name="connsiteY78" fmla="*/ 1418216 h 1661098"/>
                    <a:gd name="connsiteX79" fmla="*/ 606425 w 1146175"/>
                    <a:gd name="connsiteY79" fmla="*/ 1427741 h 1661098"/>
                    <a:gd name="connsiteX80" fmla="*/ 577850 w 1146175"/>
                    <a:gd name="connsiteY80" fmla="*/ 1443616 h 1661098"/>
                    <a:gd name="connsiteX81" fmla="*/ 558800 w 1146175"/>
                    <a:gd name="connsiteY81" fmla="*/ 1446791 h 1661098"/>
                    <a:gd name="connsiteX82" fmla="*/ 501650 w 1146175"/>
                    <a:gd name="connsiteY82" fmla="*/ 1453141 h 1661098"/>
                    <a:gd name="connsiteX83" fmla="*/ 492125 w 1146175"/>
                    <a:gd name="connsiteY83" fmla="*/ 1459491 h 1661098"/>
                    <a:gd name="connsiteX84" fmla="*/ 466725 w 1146175"/>
                    <a:gd name="connsiteY84" fmla="*/ 1491241 h 1661098"/>
                    <a:gd name="connsiteX85" fmla="*/ 457200 w 1146175"/>
                    <a:gd name="connsiteY85" fmla="*/ 1510291 h 1661098"/>
                    <a:gd name="connsiteX86" fmla="*/ 454025 w 1146175"/>
                    <a:gd name="connsiteY86" fmla="*/ 1519816 h 1661098"/>
                    <a:gd name="connsiteX87" fmla="*/ 447675 w 1146175"/>
                    <a:gd name="connsiteY87" fmla="*/ 1535691 h 1661098"/>
                    <a:gd name="connsiteX88" fmla="*/ 434975 w 1146175"/>
                    <a:gd name="connsiteY88" fmla="*/ 1561091 h 1661098"/>
                    <a:gd name="connsiteX89" fmla="*/ 431800 w 1146175"/>
                    <a:gd name="connsiteY89" fmla="*/ 1576966 h 1661098"/>
                    <a:gd name="connsiteX90" fmla="*/ 425450 w 1146175"/>
                    <a:gd name="connsiteY90" fmla="*/ 1602366 h 1661098"/>
                    <a:gd name="connsiteX91" fmla="*/ 422275 w 1146175"/>
                    <a:gd name="connsiteY91" fmla="*/ 1611891 h 1661098"/>
                    <a:gd name="connsiteX92" fmla="*/ 412750 w 1146175"/>
                    <a:gd name="connsiteY92" fmla="*/ 1621416 h 1661098"/>
                    <a:gd name="connsiteX93" fmla="*/ 222250 w 1146175"/>
                    <a:gd name="connsiteY93" fmla="*/ 1627766 h 1661098"/>
                    <a:gd name="connsiteX94" fmla="*/ 215900 w 1146175"/>
                    <a:gd name="connsiteY94" fmla="*/ 1611891 h 1661098"/>
                    <a:gd name="connsiteX95" fmla="*/ 206375 w 1146175"/>
                    <a:gd name="connsiteY95" fmla="*/ 1599191 h 1661098"/>
                    <a:gd name="connsiteX96" fmla="*/ 203200 w 1146175"/>
                    <a:gd name="connsiteY96" fmla="*/ 1586491 h 1661098"/>
                    <a:gd name="connsiteX97" fmla="*/ 196850 w 1146175"/>
                    <a:gd name="connsiteY97" fmla="*/ 1573791 h 1661098"/>
                    <a:gd name="connsiteX98" fmla="*/ 193675 w 1146175"/>
                    <a:gd name="connsiteY98" fmla="*/ 1564266 h 1661098"/>
                    <a:gd name="connsiteX99" fmla="*/ 187325 w 1146175"/>
                    <a:gd name="connsiteY99" fmla="*/ 1551566 h 1661098"/>
                    <a:gd name="connsiteX100" fmla="*/ 180975 w 1146175"/>
                    <a:gd name="connsiteY100" fmla="*/ 1535691 h 1661098"/>
                    <a:gd name="connsiteX101" fmla="*/ 161925 w 1146175"/>
                    <a:gd name="connsiteY101" fmla="*/ 1507116 h 1661098"/>
                    <a:gd name="connsiteX102" fmla="*/ 149225 w 1146175"/>
                    <a:gd name="connsiteY102" fmla="*/ 1484891 h 1661098"/>
                    <a:gd name="connsiteX103" fmla="*/ 142875 w 1146175"/>
                    <a:gd name="connsiteY103" fmla="*/ 1469016 h 1661098"/>
                    <a:gd name="connsiteX104" fmla="*/ 130175 w 1146175"/>
                    <a:gd name="connsiteY104" fmla="*/ 1465841 h 1661098"/>
                    <a:gd name="connsiteX105" fmla="*/ 101600 w 1146175"/>
                    <a:gd name="connsiteY105" fmla="*/ 1453141 h 1661098"/>
                    <a:gd name="connsiteX106" fmla="*/ 69850 w 1146175"/>
                    <a:gd name="connsiteY106" fmla="*/ 1443616 h 1661098"/>
                    <a:gd name="connsiteX107" fmla="*/ 41275 w 1146175"/>
                    <a:gd name="connsiteY107" fmla="*/ 1430916 h 1661098"/>
                    <a:gd name="connsiteX108" fmla="*/ 31750 w 1146175"/>
                    <a:gd name="connsiteY108" fmla="*/ 1424566 h 1661098"/>
                    <a:gd name="connsiteX109" fmla="*/ 15875 w 1146175"/>
                    <a:gd name="connsiteY109" fmla="*/ 1418216 h 1661098"/>
                    <a:gd name="connsiteX110" fmla="*/ 0 w 1146175"/>
                    <a:gd name="connsiteY110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993775 w 1146175"/>
                    <a:gd name="connsiteY25" fmla="*/ 649866 h 1661098"/>
                    <a:gd name="connsiteX26" fmla="*/ 1012825 w 1146175"/>
                    <a:gd name="connsiteY26" fmla="*/ 653041 h 1661098"/>
                    <a:gd name="connsiteX27" fmla="*/ 1041400 w 1146175"/>
                    <a:gd name="connsiteY27" fmla="*/ 665741 h 1661098"/>
                    <a:gd name="connsiteX28" fmla="*/ 1050925 w 1146175"/>
                    <a:gd name="connsiteY28" fmla="*/ 668916 h 1661098"/>
                    <a:gd name="connsiteX29" fmla="*/ 1066800 w 1146175"/>
                    <a:gd name="connsiteY29" fmla="*/ 678441 h 1661098"/>
                    <a:gd name="connsiteX30" fmla="*/ 1089025 w 1146175"/>
                    <a:gd name="connsiteY30" fmla="*/ 687966 h 1661098"/>
                    <a:gd name="connsiteX31" fmla="*/ 1117600 w 1146175"/>
                    <a:gd name="connsiteY31" fmla="*/ 707016 h 1661098"/>
                    <a:gd name="connsiteX32" fmla="*/ 1136650 w 1146175"/>
                    <a:gd name="connsiteY32" fmla="*/ 713366 h 1661098"/>
                    <a:gd name="connsiteX33" fmla="*/ 1146175 w 1146175"/>
                    <a:gd name="connsiteY33" fmla="*/ 903866 h 1661098"/>
                    <a:gd name="connsiteX34" fmla="*/ 1127125 w 1146175"/>
                    <a:gd name="connsiteY34" fmla="*/ 913391 h 1661098"/>
                    <a:gd name="connsiteX35" fmla="*/ 1101725 w 1146175"/>
                    <a:gd name="connsiteY35" fmla="*/ 919741 h 1661098"/>
                    <a:gd name="connsiteX36" fmla="*/ 1092200 w 1146175"/>
                    <a:gd name="connsiteY36" fmla="*/ 926091 h 1661098"/>
                    <a:gd name="connsiteX37" fmla="*/ 1079500 w 1146175"/>
                    <a:gd name="connsiteY37" fmla="*/ 929266 h 1661098"/>
                    <a:gd name="connsiteX38" fmla="*/ 1069975 w 1146175"/>
                    <a:gd name="connsiteY38" fmla="*/ 938791 h 1661098"/>
                    <a:gd name="connsiteX39" fmla="*/ 1060450 w 1146175"/>
                    <a:gd name="connsiteY39" fmla="*/ 945141 h 1661098"/>
                    <a:gd name="connsiteX40" fmla="*/ 1038225 w 1146175"/>
                    <a:gd name="connsiteY40" fmla="*/ 957841 h 1661098"/>
                    <a:gd name="connsiteX41" fmla="*/ 996950 w 1146175"/>
                    <a:gd name="connsiteY41" fmla="*/ 983241 h 1661098"/>
                    <a:gd name="connsiteX42" fmla="*/ 977900 w 1146175"/>
                    <a:gd name="connsiteY42" fmla="*/ 989591 h 1661098"/>
                    <a:gd name="connsiteX43" fmla="*/ 968375 w 1146175"/>
                    <a:gd name="connsiteY43" fmla="*/ 1014991 h 1661098"/>
                    <a:gd name="connsiteX44" fmla="*/ 958850 w 1146175"/>
                    <a:gd name="connsiteY44" fmla="*/ 1040391 h 1661098"/>
                    <a:gd name="connsiteX45" fmla="*/ 955675 w 1146175"/>
                    <a:gd name="connsiteY45" fmla="*/ 1065791 h 1661098"/>
                    <a:gd name="connsiteX46" fmla="*/ 949325 w 1146175"/>
                    <a:gd name="connsiteY46" fmla="*/ 1075316 h 1661098"/>
                    <a:gd name="connsiteX47" fmla="*/ 946150 w 1146175"/>
                    <a:gd name="connsiteY47" fmla="*/ 1084841 h 1661098"/>
                    <a:gd name="connsiteX48" fmla="*/ 936625 w 1146175"/>
                    <a:gd name="connsiteY48" fmla="*/ 1100716 h 1661098"/>
                    <a:gd name="connsiteX49" fmla="*/ 923925 w 1146175"/>
                    <a:gd name="connsiteY49" fmla="*/ 1135641 h 1661098"/>
                    <a:gd name="connsiteX50" fmla="*/ 917575 w 1146175"/>
                    <a:gd name="connsiteY50" fmla="*/ 1145166 h 1661098"/>
                    <a:gd name="connsiteX51" fmla="*/ 923925 w 1146175"/>
                    <a:gd name="connsiteY51" fmla="*/ 1199141 h 1661098"/>
                    <a:gd name="connsiteX52" fmla="*/ 939800 w 1146175"/>
                    <a:gd name="connsiteY52" fmla="*/ 1221366 h 1661098"/>
                    <a:gd name="connsiteX53" fmla="*/ 946150 w 1146175"/>
                    <a:gd name="connsiteY53" fmla="*/ 1234066 h 1661098"/>
                    <a:gd name="connsiteX54" fmla="*/ 952500 w 1146175"/>
                    <a:gd name="connsiteY54" fmla="*/ 1243591 h 1661098"/>
                    <a:gd name="connsiteX55" fmla="*/ 965200 w 1146175"/>
                    <a:gd name="connsiteY55" fmla="*/ 1268991 h 1661098"/>
                    <a:gd name="connsiteX56" fmla="*/ 974725 w 1146175"/>
                    <a:gd name="connsiteY56" fmla="*/ 1291216 h 1661098"/>
                    <a:gd name="connsiteX57" fmla="*/ 977900 w 1146175"/>
                    <a:gd name="connsiteY57" fmla="*/ 1303916 h 1661098"/>
                    <a:gd name="connsiteX58" fmla="*/ 981075 w 1146175"/>
                    <a:gd name="connsiteY58" fmla="*/ 1313441 h 1661098"/>
                    <a:gd name="connsiteX59" fmla="*/ 974725 w 1146175"/>
                    <a:gd name="connsiteY59" fmla="*/ 1348366 h 1661098"/>
                    <a:gd name="connsiteX60" fmla="*/ 949325 w 1146175"/>
                    <a:gd name="connsiteY60" fmla="*/ 1380116 h 1661098"/>
                    <a:gd name="connsiteX61" fmla="*/ 939800 w 1146175"/>
                    <a:gd name="connsiteY61" fmla="*/ 1386466 h 1661098"/>
                    <a:gd name="connsiteX62" fmla="*/ 930275 w 1146175"/>
                    <a:gd name="connsiteY62" fmla="*/ 1395991 h 1661098"/>
                    <a:gd name="connsiteX63" fmla="*/ 923925 w 1146175"/>
                    <a:gd name="connsiteY63" fmla="*/ 1405516 h 1661098"/>
                    <a:gd name="connsiteX64" fmla="*/ 908050 w 1146175"/>
                    <a:gd name="connsiteY64" fmla="*/ 1415041 h 1661098"/>
                    <a:gd name="connsiteX65" fmla="*/ 895350 w 1146175"/>
                    <a:gd name="connsiteY65" fmla="*/ 1427741 h 1661098"/>
                    <a:gd name="connsiteX66" fmla="*/ 882650 w 1146175"/>
                    <a:gd name="connsiteY66" fmla="*/ 1437266 h 1661098"/>
                    <a:gd name="connsiteX67" fmla="*/ 873125 w 1146175"/>
                    <a:gd name="connsiteY67" fmla="*/ 1446791 h 1661098"/>
                    <a:gd name="connsiteX68" fmla="*/ 844550 w 1146175"/>
                    <a:gd name="connsiteY68" fmla="*/ 1462666 h 1661098"/>
                    <a:gd name="connsiteX69" fmla="*/ 835025 w 1146175"/>
                    <a:gd name="connsiteY69" fmla="*/ 1465841 h 1661098"/>
                    <a:gd name="connsiteX70" fmla="*/ 815975 w 1146175"/>
                    <a:gd name="connsiteY70" fmla="*/ 1459491 h 1661098"/>
                    <a:gd name="connsiteX71" fmla="*/ 774700 w 1146175"/>
                    <a:gd name="connsiteY71" fmla="*/ 1443616 h 1661098"/>
                    <a:gd name="connsiteX72" fmla="*/ 749300 w 1146175"/>
                    <a:gd name="connsiteY72" fmla="*/ 1437266 h 1661098"/>
                    <a:gd name="connsiteX73" fmla="*/ 717550 w 1146175"/>
                    <a:gd name="connsiteY73" fmla="*/ 1424566 h 1661098"/>
                    <a:gd name="connsiteX74" fmla="*/ 688975 w 1146175"/>
                    <a:gd name="connsiteY74" fmla="*/ 1418216 h 1661098"/>
                    <a:gd name="connsiteX75" fmla="*/ 657225 w 1146175"/>
                    <a:gd name="connsiteY75" fmla="*/ 1408691 h 1661098"/>
                    <a:gd name="connsiteX76" fmla="*/ 635000 w 1146175"/>
                    <a:gd name="connsiteY76" fmla="*/ 1411866 h 1661098"/>
                    <a:gd name="connsiteX77" fmla="*/ 622300 w 1146175"/>
                    <a:gd name="connsiteY77" fmla="*/ 1418216 h 1661098"/>
                    <a:gd name="connsiteX78" fmla="*/ 606425 w 1146175"/>
                    <a:gd name="connsiteY78" fmla="*/ 1427741 h 1661098"/>
                    <a:gd name="connsiteX79" fmla="*/ 577850 w 1146175"/>
                    <a:gd name="connsiteY79" fmla="*/ 1443616 h 1661098"/>
                    <a:gd name="connsiteX80" fmla="*/ 558800 w 1146175"/>
                    <a:gd name="connsiteY80" fmla="*/ 1446791 h 1661098"/>
                    <a:gd name="connsiteX81" fmla="*/ 501650 w 1146175"/>
                    <a:gd name="connsiteY81" fmla="*/ 1453141 h 1661098"/>
                    <a:gd name="connsiteX82" fmla="*/ 492125 w 1146175"/>
                    <a:gd name="connsiteY82" fmla="*/ 1459491 h 1661098"/>
                    <a:gd name="connsiteX83" fmla="*/ 466725 w 1146175"/>
                    <a:gd name="connsiteY83" fmla="*/ 1491241 h 1661098"/>
                    <a:gd name="connsiteX84" fmla="*/ 457200 w 1146175"/>
                    <a:gd name="connsiteY84" fmla="*/ 1510291 h 1661098"/>
                    <a:gd name="connsiteX85" fmla="*/ 454025 w 1146175"/>
                    <a:gd name="connsiteY85" fmla="*/ 1519816 h 1661098"/>
                    <a:gd name="connsiteX86" fmla="*/ 447675 w 1146175"/>
                    <a:gd name="connsiteY86" fmla="*/ 1535691 h 1661098"/>
                    <a:gd name="connsiteX87" fmla="*/ 434975 w 1146175"/>
                    <a:gd name="connsiteY87" fmla="*/ 1561091 h 1661098"/>
                    <a:gd name="connsiteX88" fmla="*/ 431800 w 1146175"/>
                    <a:gd name="connsiteY88" fmla="*/ 1576966 h 1661098"/>
                    <a:gd name="connsiteX89" fmla="*/ 425450 w 1146175"/>
                    <a:gd name="connsiteY89" fmla="*/ 1602366 h 1661098"/>
                    <a:gd name="connsiteX90" fmla="*/ 422275 w 1146175"/>
                    <a:gd name="connsiteY90" fmla="*/ 1611891 h 1661098"/>
                    <a:gd name="connsiteX91" fmla="*/ 412750 w 1146175"/>
                    <a:gd name="connsiteY91" fmla="*/ 1621416 h 1661098"/>
                    <a:gd name="connsiteX92" fmla="*/ 222250 w 1146175"/>
                    <a:gd name="connsiteY92" fmla="*/ 1627766 h 1661098"/>
                    <a:gd name="connsiteX93" fmla="*/ 215900 w 1146175"/>
                    <a:gd name="connsiteY93" fmla="*/ 1611891 h 1661098"/>
                    <a:gd name="connsiteX94" fmla="*/ 206375 w 1146175"/>
                    <a:gd name="connsiteY94" fmla="*/ 1599191 h 1661098"/>
                    <a:gd name="connsiteX95" fmla="*/ 203200 w 1146175"/>
                    <a:gd name="connsiteY95" fmla="*/ 1586491 h 1661098"/>
                    <a:gd name="connsiteX96" fmla="*/ 196850 w 1146175"/>
                    <a:gd name="connsiteY96" fmla="*/ 1573791 h 1661098"/>
                    <a:gd name="connsiteX97" fmla="*/ 193675 w 1146175"/>
                    <a:gd name="connsiteY97" fmla="*/ 1564266 h 1661098"/>
                    <a:gd name="connsiteX98" fmla="*/ 187325 w 1146175"/>
                    <a:gd name="connsiteY98" fmla="*/ 1551566 h 1661098"/>
                    <a:gd name="connsiteX99" fmla="*/ 180975 w 1146175"/>
                    <a:gd name="connsiteY99" fmla="*/ 1535691 h 1661098"/>
                    <a:gd name="connsiteX100" fmla="*/ 161925 w 1146175"/>
                    <a:gd name="connsiteY100" fmla="*/ 1507116 h 1661098"/>
                    <a:gd name="connsiteX101" fmla="*/ 149225 w 1146175"/>
                    <a:gd name="connsiteY101" fmla="*/ 1484891 h 1661098"/>
                    <a:gd name="connsiteX102" fmla="*/ 142875 w 1146175"/>
                    <a:gd name="connsiteY102" fmla="*/ 1469016 h 1661098"/>
                    <a:gd name="connsiteX103" fmla="*/ 130175 w 1146175"/>
                    <a:gd name="connsiteY103" fmla="*/ 1465841 h 1661098"/>
                    <a:gd name="connsiteX104" fmla="*/ 101600 w 1146175"/>
                    <a:gd name="connsiteY104" fmla="*/ 1453141 h 1661098"/>
                    <a:gd name="connsiteX105" fmla="*/ 69850 w 1146175"/>
                    <a:gd name="connsiteY105" fmla="*/ 1443616 h 1661098"/>
                    <a:gd name="connsiteX106" fmla="*/ 41275 w 1146175"/>
                    <a:gd name="connsiteY106" fmla="*/ 1430916 h 1661098"/>
                    <a:gd name="connsiteX107" fmla="*/ 31750 w 1146175"/>
                    <a:gd name="connsiteY107" fmla="*/ 1424566 h 1661098"/>
                    <a:gd name="connsiteX108" fmla="*/ 15875 w 1146175"/>
                    <a:gd name="connsiteY108" fmla="*/ 1418216 h 1661098"/>
                    <a:gd name="connsiteX109" fmla="*/ 0 w 1146175"/>
                    <a:gd name="connsiteY109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993775 w 1146175"/>
                    <a:gd name="connsiteY25" fmla="*/ 649866 h 1661098"/>
                    <a:gd name="connsiteX26" fmla="*/ 1041400 w 1146175"/>
                    <a:gd name="connsiteY26" fmla="*/ 665741 h 1661098"/>
                    <a:gd name="connsiteX27" fmla="*/ 1050925 w 1146175"/>
                    <a:gd name="connsiteY27" fmla="*/ 668916 h 1661098"/>
                    <a:gd name="connsiteX28" fmla="*/ 1066800 w 1146175"/>
                    <a:gd name="connsiteY28" fmla="*/ 678441 h 1661098"/>
                    <a:gd name="connsiteX29" fmla="*/ 1089025 w 1146175"/>
                    <a:gd name="connsiteY29" fmla="*/ 687966 h 1661098"/>
                    <a:gd name="connsiteX30" fmla="*/ 1117600 w 1146175"/>
                    <a:gd name="connsiteY30" fmla="*/ 707016 h 1661098"/>
                    <a:gd name="connsiteX31" fmla="*/ 1136650 w 1146175"/>
                    <a:gd name="connsiteY31" fmla="*/ 713366 h 1661098"/>
                    <a:gd name="connsiteX32" fmla="*/ 1146175 w 1146175"/>
                    <a:gd name="connsiteY32" fmla="*/ 903866 h 1661098"/>
                    <a:gd name="connsiteX33" fmla="*/ 1127125 w 1146175"/>
                    <a:gd name="connsiteY33" fmla="*/ 913391 h 1661098"/>
                    <a:gd name="connsiteX34" fmla="*/ 1101725 w 1146175"/>
                    <a:gd name="connsiteY34" fmla="*/ 919741 h 1661098"/>
                    <a:gd name="connsiteX35" fmla="*/ 1092200 w 1146175"/>
                    <a:gd name="connsiteY35" fmla="*/ 926091 h 1661098"/>
                    <a:gd name="connsiteX36" fmla="*/ 1079500 w 1146175"/>
                    <a:gd name="connsiteY36" fmla="*/ 929266 h 1661098"/>
                    <a:gd name="connsiteX37" fmla="*/ 1069975 w 1146175"/>
                    <a:gd name="connsiteY37" fmla="*/ 938791 h 1661098"/>
                    <a:gd name="connsiteX38" fmla="*/ 1060450 w 1146175"/>
                    <a:gd name="connsiteY38" fmla="*/ 945141 h 1661098"/>
                    <a:gd name="connsiteX39" fmla="*/ 1038225 w 1146175"/>
                    <a:gd name="connsiteY39" fmla="*/ 957841 h 1661098"/>
                    <a:gd name="connsiteX40" fmla="*/ 996950 w 1146175"/>
                    <a:gd name="connsiteY40" fmla="*/ 983241 h 1661098"/>
                    <a:gd name="connsiteX41" fmla="*/ 977900 w 1146175"/>
                    <a:gd name="connsiteY41" fmla="*/ 989591 h 1661098"/>
                    <a:gd name="connsiteX42" fmla="*/ 968375 w 1146175"/>
                    <a:gd name="connsiteY42" fmla="*/ 1014991 h 1661098"/>
                    <a:gd name="connsiteX43" fmla="*/ 958850 w 1146175"/>
                    <a:gd name="connsiteY43" fmla="*/ 1040391 h 1661098"/>
                    <a:gd name="connsiteX44" fmla="*/ 955675 w 1146175"/>
                    <a:gd name="connsiteY44" fmla="*/ 1065791 h 1661098"/>
                    <a:gd name="connsiteX45" fmla="*/ 949325 w 1146175"/>
                    <a:gd name="connsiteY45" fmla="*/ 1075316 h 1661098"/>
                    <a:gd name="connsiteX46" fmla="*/ 946150 w 1146175"/>
                    <a:gd name="connsiteY46" fmla="*/ 1084841 h 1661098"/>
                    <a:gd name="connsiteX47" fmla="*/ 936625 w 1146175"/>
                    <a:gd name="connsiteY47" fmla="*/ 1100716 h 1661098"/>
                    <a:gd name="connsiteX48" fmla="*/ 923925 w 1146175"/>
                    <a:gd name="connsiteY48" fmla="*/ 1135641 h 1661098"/>
                    <a:gd name="connsiteX49" fmla="*/ 917575 w 1146175"/>
                    <a:gd name="connsiteY49" fmla="*/ 1145166 h 1661098"/>
                    <a:gd name="connsiteX50" fmla="*/ 923925 w 1146175"/>
                    <a:gd name="connsiteY50" fmla="*/ 1199141 h 1661098"/>
                    <a:gd name="connsiteX51" fmla="*/ 939800 w 1146175"/>
                    <a:gd name="connsiteY51" fmla="*/ 1221366 h 1661098"/>
                    <a:gd name="connsiteX52" fmla="*/ 946150 w 1146175"/>
                    <a:gd name="connsiteY52" fmla="*/ 1234066 h 1661098"/>
                    <a:gd name="connsiteX53" fmla="*/ 952500 w 1146175"/>
                    <a:gd name="connsiteY53" fmla="*/ 1243591 h 1661098"/>
                    <a:gd name="connsiteX54" fmla="*/ 965200 w 1146175"/>
                    <a:gd name="connsiteY54" fmla="*/ 1268991 h 1661098"/>
                    <a:gd name="connsiteX55" fmla="*/ 974725 w 1146175"/>
                    <a:gd name="connsiteY55" fmla="*/ 1291216 h 1661098"/>
                    <a:gd name="connsiteX56" fmla="*/ 977900 w 1146175"/>
                    <a:gd name="connsiteY56" fmla="*/ 1303916 h 1661098"/>
                    <a:gd name="connsiteX57" fmla="*/ 981075 w 1146175"/>
                    <a:gd name="connsiteY57" fmla="*/ 1313441 h 1661098"/>
                    <a:gd name="connsiteX58" fmla="*/ 974725 w 1146175"/>
                    <a:gd name="connsiteY58" fmla="*/ 1348366 h 1661098"/>
                    <a:gd name="connsiteX59" fmla="*/ 949325 w 1146175"/>
                    <a:gd name="connsiteY59" fmla="*/ 1380116 h 1661098"/>
                    <a:gd name="connsiteX60" fmla="*/ 939800 w 1146175"/>
                    <a:gd name="connsiteY60" fmla="*/ 1386466 h 1661098"/>
                    <a:gd name="connsiteX61" fmla="*/ 930275 w 1146175"/>
                    <a:gd name="connsiteY61" fmla="*/ 1395991 h 1661098"/>
                    <a:gd name="connsiteX62" fmla="*/ 923925 w 1146175"/>
                    <a:gd name="connsiteY62" fmla="*/ 1405516 h 1661098"/>
                    <a:gd name="connsiteX63" fmla="*/ 908050 w 1146175"/>
                    <a:gd name="connsiteY63" fmla="*/ 1415041 h 1661098"/>
                    <a:gd name="connsiteX64" fmla="*/ 895350 w 1146175"/>
                    <a:gd name="connsiteY64" fmla="*/ 1427741 h 1661098"/>
                    <a:gd name="connsiteX65" fmla="*/ 882650 w 1146175"/>
                    <a:gd name="connsiteY65" fmla="*/ 1437266 h 1661098"/>
                    <a:gd name="connsiteX66" fmla="*/ 873125 w 1146175"/>
                    <a:gd name="connsiteY66" fmla="*/ 1446791 h 1661098"/>
                    <a:gd name="connsiteX67" fmla="*/ 844550 w 1146175"/>
                    <a:gd name="connsiteY67" fmla="*/ 1462666 h 1661098"/>
                    <a:gd name="connsiteX68" fmla="*/ 835025 w 1146175"/>
                    <a:gd name="connsiteY68" fmla="*/ 1465841 h 1661098"/>
                    <a:gd name="connsiteX69" fmla="*/ 815975 w 1146175"/>
                    <a:gd name="connsiteY69" fmla="*/ 1459491 h 1661098"/>
                    <a:gd name="connsiteX70" fmla="*/ 774700 w 1146175"/>
                    <a:gd name="connsiteY70" fmla="*/ 1443616 h 1661098"/>
                    <a:gd name="connsiteX71" fmla="*/ 749300 w 1146175"/>
                    <a:gd name="connsiteY71" fmla="*/ 1437266 h 1661098"/>
                    <a:gd name="connsiteX72" fmla="*/ 717550 w 1146175"/>
                    <a:gd name="connsiteY72" fmla="*/ 1424566 h 1661098"/>
                    <a:gd name="connsiteX73" fmla="*/ 688975 w 1146175"/>
                    <a:gd name="connsiteY73" fmla="*/ 1418216 h 1661098"/>
                    <a:gd name="connsiteX74" fmla="*/ 657225 w 1146175"/>
                    <a:gd name="connsiteY74" fmla="*/ 1408691 h 1661098"/>
                    <a:gd name="connsiteX75" fmla="*/ 635000 w 1146175"/>
                    <a:gd name="connsiteY75" fmla="*/ 1411866 h 1661098"/>
                    <a:gd name="connsiteX76" fmla="*/ 622300 w 1146175"/>
                    <a:gd name="connsiteY76" fmla="*/ 1418216 h 1661098"/>
                    <a:gd name="connsiteX77" fmla="*/ 606425 w 1146175"/>
                    <a:gd name="connsiteY77" fmla="*/ 1427741 h 1661098"/>
                    <a:gd name="connsiteX78" fmla="*/ 577850 w 1146175"/>
                    <a:gd name="connsiteY78" fmla="*/ 1443616 h 1661098"/>
                    <a:gd name="connsiteX79" fmla="*/ 558800 w 1146175"/>
                    <a:gd name="connsiteY79" fmla="*/ 1446791 h 1661098"/>
                    <a:gd name="connsiteX80" fmla="*/ 501650 w 1146175"/>
                    <a:gd name="connsiteY80" fmla="*/ 1453141 h 1661098"/>
                    <a:gd name="connsiteX81" fmla="*/ 492125 w 1146175"/>
                    <a:gd name="connsiteY81" fmla="*/ 1459491 h 1661098"/>
                    <a:gd name="connsiteX82" fmla="*/ 466725 w 1146175"/>
                    <a:gd name="connsiteY82" fmla="*/ 1491241 h 1661098"/>
                    <a:gd name="connsiteX83" fmla="*/ 457200 w 1146175"/>
                    <a:gd name="connsiteY83" fmla="*/ 1510291 h 1661098"/>
                    <a:gd name="connsiteX84" fmla="*/ 454025 w 1146175"/>
                    <a:gd name="connsiteY84" fmla="*/ 1519816 h 1661098"/>
                    <a:gd name="connsiteX85" fmla="*/ 447675 w 1146175"/>
                    <a:gd name="connsiteY85" fmla="*/ 1535691 h 1661098"/>
                    <a:gd name="connsiteX86" fmla="*/ 434975 w 1146175"/>
                    <a:gd name="connsiteY86" fmla="*/ 1561091 h 1661098"/>
                    <a:gd name="connsiteX87" fmla="*/ 431800 w 1146175"/>
                    <a:gd name="connsiteY87" fmla="*/ 1576966 h 1661098"/>
                    <a:gd name="connsiteX88" fmla="*/ 425450 w 1146175"/>
                    <a:gd name="connsiteY88" fmla="*/ 1602366 h 1661098"/>
                    <a:gd name="connsiteX89" fmla="*/ 422275 w 1146175"/>
                    <a:gd name="connsiteY89" fmla="*/ 1611891 h 1661098"/>
                    <a:gd name="connsiteX90" fmla="*/ 412750 w 1146175"/>
                    <a:gd name="connsiteY90" fmla="*/ 1621416 h 1661098"/>
                    <a:gd name="connsiteX91" fmla="*/ 222250 w 1146175"/>
                    <a:gd name="connsiteY91" fmla="*/ 1627766 h 1661098"/>
                    <a:gd name="connsiteX92" fmla="*/ 215900 w 1146175"/>
                    <a:gd name="connsiteY92" fmla="*/ 1611891 h 1661098"/>
                    <a:gd name="connsiteX93" fmla="*/ 206375 w 1146175"/>
                    <a:gd name="connsiteY93" fmla="*/ 1599191 h 1661098"/>
                    <a:gd name="connsiteX94" fmla="*/ 203200 w 1146175"/>
                    <a:gd name="connsiteY94" fmla="*/ 1586491 h 1661098"/>
                    <a:gd name="connsiteX95" fmla="*/ 196850 w 1146175"/>
                    <a:gd name="connsiteY95" fmla="*/ 1573791 h 1661098"/>
                    <a:gd name="connsiteX96" fmla="*/ 193675 w 1146175"/>
                    <a:gd name="connsiteY96" fmla="*/ 1564266 h 1661098"/>
                    <a:gd name="connsiteX97" fmla="*/ 187325 w 1146175"/>
                    <a:gd name="connsiteY97" fmla="*/ 1551566 h 1661098"/>
                    <a:gd name="connsiteX98" fmla="*/ 180975 w 1146175"/>
                    <a:gd name="connsiteY98" fmla="*/ 1535691 h 1661098"/>
                    <a:gd name="connsiteX99" fmla="*/ 161925 w 1146175"/>
                    <a:gd name="connsiteY99" fmla="*/ 1507116 h 1661098"/>
                    <a:gd name="connsiteX100" fmla="*/ 149225 w 1146175"/>
                    <a:gd name="connsiteY100" fmla="*/ 1484891 h 1661098"/>
                    <a:gd name="connsiteX101" fmla="*/ 142875 w 1146175"/>
                    <a:gd name="connsiteY101" fmla="*/ 1469016 h 1661098"/>
                    <a:gd name="connsiteX102" fmla="*/ 130175 w 1146175"/>
                    <a:gd name="connsiteY102" fmla="*/ 1465841 h 1661098"/>
                    <a:gd name="connsiteX103" fmla="*/ 101600 w 1146175"/>
                    <a:gd name="connsiteY103" fmla="*/ 1453141 h 1661098"/>
                    <a:gd name="connsiteX104" fmla="*/ 69850 w 1146175"/>
                    <a:gd name="connsiteY104" fmla="*/ 1443616 h 1661098"/>
                    <a:gd name="connsiteX105" fmla="*/ 41275 w 1146175"/>
                    <a:gd name="connsiteY105" fmla="*/ 1430916 h 1661098"/>
                    <a:gd name="connsiteX106" fmla="*/ 31750 w 1146175"/>
                    <a:gd name="connsiteY106" fmla="*/ 1424566 h 1661098"/>
                    <a:gd name="connsiteX107" fmla="*/ 15875 w 1146175"/>
                    <a:gd name="connsiteY107" fmla="*/ 1418216 h 1661098"/>
                    <a:gd name="connsiteX108" fmla="*/ 0 w 1146175"/>
                    <a:gd name="connsiteY108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993775 w 1146175"/>
                    <a:gd name="connsiteY25" fmla="*/ 649866 h 1661098"/>
                    <a:gd name="connsiteX26" fmla="*/ 1041400 w 1146175"/>
                    <a:gd name="connsiteY26" fmla="*/ 665741 h 1661098"/>
                    <a:gd name="connsiteX27" fmla="*/ 1050925 w 1146175"/>
                    <a:gd name="connsiteY27" fmla="*/ 668916 h 1661098"/>
                    <a:gd name="connsiteX28" fmla="*/ 1089025 w 1146175"/>
                    <a:gd name="connsiteY28" fmla="*/ 687966 h 1661098"/>
                    <a:gd name="connsiteX29" fmla="*/ 1117600 w 1146175"/>
                    <a:gd name="connsiteY29" fmla="*/ 707016 h 1661098"/>
                    <a:gd name="connsiteX30" fmla="*/ 1136650 w 1146175"/>
                    <a:gd name="connsiteY30" fmla="*/ 713366 h 1661098"/>
                    <a:gd name="connsiteX31" fmla="*/ 1146175 w 1146175"/>
                    <a:gd name="connsiteY31" fmla="*/ 903866 h 1661098"/>
                    <a:gd name="connsiteX32" fmla="*/ 1127125 w 1146175"/>
                    <a:gd name="connsiteY32" fmla="*/ 913391 h 1661098"/>
                    <a:gd name="connsiteX33" fmla="*/ 1101725 w 1146175"/>
                    <a:gd name="connsiteY33" fmla="*/ 919741 h 1661098"/>
                    <a:gd name="connsiteX34" fmla="*/ 1092200 w 1146175"/>
                    <a:gd name="connsiteY34" fmla="*/ 926091 h 1661098"/>
                    <a:gd name="connsiteX35" fmla="*/ 1079500 w 1146175"/>
                    <a:gd name="connsiteY35" fmla="*/ 929266 h 1661098"/>
                    <a:gd name="connsiteX36" fmla="*/ 1069975 w 1146175"/>
                    <a:gd name="connsiteY36" fmla="*/ 938791 h 1661098"/>
                    <a:gd name="connsiteX37" fmla="*/ 1060450 w 1146175"/>
                    <a:gd name="connsiteY37" fmla="*/ 945141 h 1661098"/>
                    <a:gd name="connsiteX38" fmla="*/ 1038225 w 1146175"/>
                    <a:gd name="connsiteY38" fmla="*/ 957841 h 1661098"/>
                    <a:gd name="connsiteX39" fmla="*/ 996950 w 1146175"/>
                    <a:gd name="connsiteY39" fmla="*/ 983241 h 1661098"/>
                    <a:gd name="connsiteX40" fmla="*/ 977900 w 1146175"/>
                    <a:gd name="connsiteY40" fmla="*/ 989591 h 1661098"/>
                    <a:gd name="connsiteX41" fmla="*/ 968375 w 1146175"/>
                    <a:gd name="connsiteY41" fmla="*/ 1014991 h 1661098"/>
                    <a:gd name="connsiteX42" fmla="*/ 958850 w 1146175"/>
                    <a:gd name="connsiteY42" fmla="*/ 1040391 h 1661098"/>
                    <a:gd name="connsiteX43" fmla="*/ 955675 w 1146175"/>
                    <a:gd name="connsiteY43" fmla="*/ 1065791 h 1661098"/>
                    <a:gd name="connsiteX44" fmla="*/ 949325 w 1146175"/>
                    <a:gd name="connsiteY44" fmla="*/ 1075316 h 1661098"/>
                    <a:gd name="connsiteX45" fmla="*/ 946150 w 1146175"/>
                    <a:gd name="connsiteY45" fmla="*/ 1084841 h 1661098"/>
                    <a:gd name="connsiteX46" fmla="*/ 936625 w 1146175"/>
                    <a:gd name="connsiteY46" fmla="*/ 1100716 h 1661098"/>
                    <a:gd name="connsiteX47" fmla="*/ 923925 w 1146175"/>
                    <a:gd name="connsiteY47" fmla="*/ 1135641 h 1661098"/>
                    <a:gd name="connsiteX48" fmla="*/ 917575 w 1146175"/>
                    <a:gd name="connsiteY48" fmla="*/ 1145166 h 1661098"/>
                    <a:gd name="connsiteX49" fmla="*/ 923925 w 1146175"/>
                    <a:gd name="connsiteY49" fmla="*/ 1199141 h 1661098"/>
                    <a:gd name="connsiteX50" fmla="*/ 939800 w 1146175"/>
                    <a:gd name="connsiteY50" fmla="*/ 1221366 h 1661098"/>
                    <a:gd name="connsiteX51" fmla="*/ 946150 w 1146175"/>
                    <a:gd name="connsiteY51" fmla="*/ 1234066 h 1661098"/>
                    <a:gd name="connsiteX52" fmla="*/ 952500 w 1146175"/>
                    <a:gd name="connsiteY52" fmla="*/ 1243591 h 1661098"/>
                    <a:gd name="connsiteX53" fmla="*/ 965200 w 1146175"/>
                    <a:gd name="connsiteY53" fmla="*/ 1268991 h 1661098"/>
                    <a:gd name="connsiteX54" fmla="*/ 974725 w 1146175"/>
                    <a:gd name="connsiteY54" fmla="*/ 1291216 h 1661098"/>
                    <a:gd name="connsiteX55" fmla="*/ 977900 w 1146175"/>
                    <a:gd name="connsiteY55" fmla="*/ 1303916 h 1661098"/>
                    <a:gd name="connsiteX56" fmla="*/ 981075 w 1146175"/>
                    <a:gd name="connsiteY56" fmla="*/ 1313441 h 1661098"/>
                    <a:gd name="connsiteX57" fmla="*/ 974725 w 1146175"/>
                    <a:gd name="connsiteY57" fmla="*/ 1348366 h 1661098"/>
                    <a:gd name="connsiteX58" fmla="*/ 949325 w 1146175"/>
                    <a:gd name="connsiteY58" fmla="*/ 1380116 h 1661098"/>
                    <a:gd name="connsiteX59" fmla="*/ 939800 w 1146175"/>
                    <a:gd name="connsiteY59" fmla="*/ 1386466 h 1661098"/>
                    <a:gd name="connsiteX60" fmla="*/ 930275 w 1146175"/>
                    <a:gd name="connsiteY60" fmla="*/ 1395991 h 1661098"/>
                    <a:gd name="connsiteX61" fmla="*/ 923925 w 1146175"/>
                    <a:gd name="connsiteY61" fmla="*/ 1405516 h 1661098"/>
                    <a:gd name="connsiteX62" fmla="*/ 908050 w 1146175"/>
                    <a:gd name="connsiteY62" fmla="*/ 1415041 h 1661098"/>
                    <a:gd name="connsiteX63" fmla="*/ 895350 w 1146175"/>
                    <a:gd name="connsiteY63" fmla="*/ 1427741 h 1661098"/>
                    <a:gd name="connsiteX64" fmla="*/ 882650 w 1146175"/>
                    <a:gd name="connsiteY64" fmla="*/ 1437266 h 1661098"/>
                    <a:gd name="connsiteX65" fmla="*/ 873125 w 1146175"/>
                    <a:gd name="connsiteY65" fmla="*/ 1446791 h 1661098"/>
                    <a:gd name="connsiteX66" fmla="*/ 844550 w 1146175"/>
                    <a:gd name="connsiteY66" fmla="*/ 1462666 h 1661098"/>
                    <a:gd name="connsiteX67" fmla="*/ 835025 w 1146175"/>
                    <a:gd name="connsiteY67" fmla="*/ 1465841 h 1661098"/>
                    <a:gd name="connsiteX68" fmla="*/ 815975 w 1146175"/>
                    <a:gd name="connsiteY68" fmla="*/ 1459491 h 1661098"/>
                    <a:gd name="connsiteX69" fmla="*/ 774700 w 1146175"/>
                    <a:gd name="connsiteY69" fmla="*/ 1443616 h 1661098"/>
                    <a:gd name="connsiteX70" fmla="*/ 749300 w 1146175"/>
                    <a:gd name="connsiteY70" fmla="*/ 1437266 h 1661098"/>
                    <a:gd name="connsiteX71" fmla="*/ 717550 w 1146175"/>
                    <a:gd name="connsiteY71" fmla="*/ 1424566 h 1661098"/>
                    <a:gd name="connsiteX72" fmla="*/ 688975 w 1146175"/>
                    <a:gd name="connsiteY72" fmla="*/ 1418216 h 1661098"/>
                    <a:gd name="connsiteX73" fmla="*/ 657225 w 1146175"/>
                    <a:gd name="connsiteY73" fmla="*/ 1408691 h 1661098"/>
                    <a:gd name="connsiteX74" fmla="*/ 635000 w 1146175"/>
                    <a:gd name="connsiteY74" fmla="*/ 1411866 h 1661098"/>
                    <a:gd name="connsiteX75" fmla="*/ 622300 w 1146175"/>
                    <a:gd name="connsiteY75" fmla="*/ 1418216 h 1661098"/>
                    <a:gd name="connsiteX76" fmla="*/ 606425 w 1146175"/>
                    <a:gd name="connsiteY76" fmla="*/ 1427741 h 1661098"/>
                    <a:gd name="connsiteX77" fmla="*/ 577850 w 1146175"/>
                    <a:gd name="connsiteY77" fmla="*/ 1443616 h 1661098"/>
                    <a:gd name="connsiteX78" fmla="*/ 558800 w 1146175"/>
                    <a:gd name="connsiteY78" fmla="*/ 1446791 h 1661098"/>
                    <a:gd name="connsiteX79" fmla="*/ 501650 w 1146175"/>
                    <a:gd name="connsiteY79" fmla="*/ 1453141 h 1661098"/>
                    <a:gd name="connsiteX80" fmla="*/ 492125 w 1146175"/>
                    <a:gd name="connsiteY80" fmla="*/ 1459491 h 1661098"/>
                    <a:gd name="connsiteX81" fmla="*/ 466725 w 1146175"/>
                    <a:gd name="connsiteY81" fmla="*/ 1491241 h 1661098"/>
                    <a:gd name="connsiteX82" fmla="*/ 457200 w 1146175"/>
                    <a:gd name="connsiteY82" fmla="*/ 1510291 h 1661098"/>
                    <a:gd name="connsiteX83" fmla="*/ 454025 w 1146175"/>
                    <a:gd name="connsiteY83" fmla="*/ 1519816 h 1661098"/>
                    <a:gd name="connsiteX84" fmla="*/ 447675 w 1146175"/>
                    <a:gd name="connsiteY84" fmla="*/ 1535691 h 1661098"/>
                    <a:gd name="connsiteX85" fmla="*/ 434975 w 1146175"/>
                    <a:gd name="connsiteY85" fmla="*/ 1561091 h 1661098"/>
                    <a:gd name="connsiteX86" fmla="*/ 431800 w 1146175"/>
                    <a:gd name="connsiteY86" fmla="*/ 1576966 h 1661098"/>
                    <a:gd name="connsiteX87" fmla="*/ 425450 w 1146175"/>
                    <a:gd name="connsiteY87" fmla="*/ 1602366 h 1661098"/>
                    <a:gd name="connsiteX88" fmla="*/ 422275 w 1146175"/>
                    <a:gd name="connsiteY88" fmla="*/ 1611891 h 1661098"/>
                    <a:gd name="connsiteX89" fmla="*/ 412750 w 1146175"/>
                    <a:gd name="connsiteY89" fmla="*/ 1621416 h 1661098"/>
                    <a:gd name="connsiteX90" fmla="*/ 222250 w 1146175"/>
                    <a:gd name="connsiteY90" fmla="*/ 1627766 h 1661098"/>
                    <a:gd name="connsiteX91" fmla="*/ 215900 w 1146175"/>
                    <a:gd name="connsiteY91" fmla="*/ 1611891 h 1661098"/>
                    <a:gd name="connsiteX92" fmla="*/ 206375 w 1146175"/>
                    <a:gd name="connsiteY92" fmla="*/ 1599191 h 1661098"/>
                    <a:gd name="connsiteX93" fmla="*/ 203200 w 1146175"/>
                    <a:gd name="connsiteY93" fmla="*/ 1586491 h 1661098"/>
                    <a:gd name="connsiteX94" fmla="*/ 196850 w 1146175"/>
                    <a:gd name="connsiteY94" fmla="*/ 1573791 h 1661098"/>
                    <a:gd name="connsiteX95" fmla="*/ 193675 w 1146175"/>
                    <a:gd name="connsiteY95" fmla="*/ 1564266 h 1661098"/>
                    <a:gd name="connsiteX96" fmla="*/ 187325 w 1146175"/>
                    <a:gd name="connsiteY96" fmla="*/ 1551566 h 1661098"/>
                    <a:gd name="connsiteX97" fmla="*/ 180975 w 1146175"/>
                    <a:gd name="connsiteY97" fmla="*/ 1535691 h 1661098"/>
                    <a:gd name="connsiteX98" fmla="*/ 161925 w 1146175"/>
                    <a:gd name="connsiteY98" fmla="*/ 1507116 h 1661098"/>
                    <a:gd name="connsiteX99" fmla="*/ 149225 w 1146175"/>
                    <a:gd name="connsiteY99" fmla="*/ 1484891 h 1661098"/>
                    <a:gd name="connsiteX100" fmla="*/ 142875 w 1146175"/>
                    <a:gd name="connsiteY100" fmla="*/ 1469016 h 1661098"/>
                    <a:gd name="connsiteX101" fmla="*/ 130175 w 1146175"/>
                    <a:gd name="connsiteY101" fmla="*/ 1465841 h 1661098"/>
                    <a:gd name="connsiteX102" fmla="*/ 101600 w 1146175"/>
                    <a:gd name="connsiteY102" fmla="*/ 1453141 h 1661098"/>
                    <a:gd name="connsiteX103" fmla="*/ 69850 w 1146175"/>
                    <a:gd name="connsiteY103" fmla="*/ 1443616 h 1661098"/>
                    <a:gd name="connsiteX104" fmla="*/ 41275 w 1146175"/>
                    <a:gd name="connsiteY104" fmla="*/ 1430916 h 1661098"/>
                    <a:gd name="connsiteX105" fmla="*/ 31750 w 1146175"/>
                    <a:gd name="connsiteY105" fmla="*/ 1424566 h 1661098"/>
                    <a:gd name="connsiteX106" fmla="*/ 15875 w 1146175"/>
                    <a:gd name="connsiteY106" fmla="*/ 1418216 h 1661098"/>
                    <a:gd name="connsiteX107" fmla="*/ 0 w 1146175"/>
                    <a:gd name="connsiteY107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993775 w 1146175"/>
                    <a:gd name="connsiteY25" fmla="*/ 649866 h 1661098"/>
                    <a:gd name="connsiteX26" fmla="*/ 1041400 w 1146175"/>
                    <a:gd name="connsiteY26" fmla="*/ 665741 h 1661098"/>
                    <a:gd name="connsiteX27" fmla="*/ 1050925 w 1146175"/>
                    <a:gd name="connsiteY27" fmla="*/ 668916 h 1661098"/>
                    <a:gd name="connsiteX28" fmla="*/ 1117600 w 1146175"/>
                    <a:gd name="connsiteY28" fmla="*/ 707016 h 1661098"/>
                    <a:gd name="connsiteX29" fmla="*/ 1136650 w 1146175"/>
                    <a:gd name="connsiteY29" fmla="*/ 713366 h 1661098"/>
                    <a:gd name="connsiteX30" fmla="*/ 1146175 w 1146175"/>
                    <a:gd name="connsiteY30" fmla="*/ 903866 h 1661098"/>
                    <a:gd name="connsiteX31" fmla="*/ 1127125 w 1146175"/>
                    <a:gd name="connsiteY31" fmla="*/ 913391 h 1661098"/>
                    <a:gd name="connsiteX32" fmla="*/ 1101725 w 1146175"/>
                    <a:gd name="connsiteY32" fmla="*/ 919741 h 1661098"/>
                    <a:gd name="connsiteX33" fmla="*/ 1092200 w 1146175"/>
                    <a:gd name="connsiteY33" fmla="*/ 926091 h 1661098"/>
                    <a:gd name="connsiteX34" fmla="*/ 1079500 w 1146175"/>
                    <a:gd name="connsiteY34" fmla="*/ 929266 h 1661098"/>
                    <a:gd name="connsiteX35" fmla="*/ 1069975 w 1146175"/>
                    <a:gd name="connsiteY35" fmla="*/ 938791 h 1661098"/>
                    <a:gd name="connsiteX36" fmla="*/ 1060450 w 1146175"/>
                    <a:gd name="connsiteY36" fmla="*/ 945141 h 1661098"/>
                    <a:gd name="connsiteX37" fmla="*/ 1038225 w 1146175"/>
                    <a:gd name="connsiteY37" fmla="*/ 957841 h 1661098"/>
                    <a:gd name="connsiteX38" fmla="*/ 996950 w 1146175"/>
                    <a:gd name="connsiteY38" fmla="*/ 983241 h 1661098"/>
                    <a:gd name="connsiteX39" fmla="*/ 977900 w 1146175"/>
                    <a:gd name="connsiteY39" fmla="*/ 989591 h 1661098"/>
                    <a:gd name="connsiteX40" fmla="*/ 968375 w 1146175"/>
                    <a:gd name="connsiteY40" fmla="*/ 1014991 h 1661098"/>
                    <a:gd name="connsiteX41" fmla="*/ 958850 w 1146175"/>
                    <a:gd name="connsiteY41" fmla="*/ 1040391 h 1661098"/>
                    <a:gd name="connsiteX42" fmla="*/ 955675 w 1146175"/>
                    <a:gd name="connsiteY42" fmla="*/ 1065791 h 1661098"/>
                    <a:gd name="connsiteX43" fmla="*/ 949325 w 1146175"/>
                    <a:gd name="connsiteY43" fmla="*/ 1075316 h 1661098"/>
                    <a:gd name="connsiteX44" fmla="*/ 946150 w 1146175"/>
                    <a:gd name="connsiteY44" fmla="*/ 1084841 h 1661098"/>
                    <a:gd name="connsiteX45" fmla="*/ 936625 w 1146175"/>
                    <a:gd name="connsiteY45" fmla="*/ 1100716 h 1661098"/>
                    <a:gd name="connsiteX46" fmla="*/ 923925 w 1146175"/>
                    <a:gd name="connsiteY46" fmla="*/ 1135641 h 1661098"/>
                    <a:gd name="connsiteX47" fmla="*/ 917575 w 1146175"/>
                    <a:gd name="connsiteY47" fmla="*/ 1145166 h 1661098"/>
                    <a:gd name="connsiteX48" fmla="*/ 923925 w 1146175"/>
                    <a:gd name="connsiteY48" fmla="*/ 1199141 h 1661098"/>
                    <a:gd name="connsiteX49" fmla="*/ 939800 w 1146175"/>
                    <a:gd name="connsiteY49" fmla="*/ 1221366 h 1661098"/>
                    <a:gd name="connsiteX50" fmla="*/ 946150 w 1146175"/>
                    <a:gd name="connsiteY50" fmla="*/ 1234066 h 1661098"/>
                    <a:gd name="connsiteX51" fmla="*/ 952500 w 1146175"/>
                    <a:gd name="connsiteY51" fmla="*/ 1243591 h 1661098"/>
                    <a:gd name="connsiteX52" fmla="*/ 965200 w 1146175"/>
                    <a:gd name="connsiteY52" fmla="*/ 1268991 h 1661098"/>
                    <a:gd name="connsiteX53" fmla="*/ 974725 w 1146175"/>
                    <a:gd name="connsiteY53" fmla="*/ 1291216 h 1661098"/>
                    <a:gd name="connsiteX54" fmla="*/ 977900 w 1146175"/>
                    <a:gd name="connsiteY54" fmla="*/ 1303916 h 1661098"/>
                    <a:gd name="connsiteX55" fmla="*/ 981075 w 1146175"/>
                    <a:gd name="connsiteY55" fmla="*/ 1313441 h 1661098"/>
                    <a:gd name="connsiteX56" fmla="*/ 974725 w 1146175"/>
                    <a:gd name="connsiteY56" fmla="*/ 1348366 h 1661098"/>
                    <a:gd name="connsiteX57" fmla="*/ 949325 w 1146175"/>
                    <a:gd name="connsiteY57" fmla="*/ 1380116 h 1661098"/>
                    <a:gd name="connsiteX58" fmla="*/ 939800 w 1146175"/>
                    <a:gd name="connsiteY58" fmla="*/ 1386466 h 1661098"/>
                    <a:gd name="connsiteX59" fmla="*/ 930275 w 1146175"/>
                    <a:gd name="connsiteY59" fmla="*/ 1395991 h 1661098"/>
                    <a:gd name="connsiteX60" fmla="*/ 923925 w 1146175"/>
                    <a:gd name="connsiteY60" fmla="*/ 1405516 h 1661098"/>
                    <a:gd name="connsiteX61" fmla="*/ 908050 w 1146175"/>
                    <a:gd name="connsiteY61" fmla="*/ 1415041 h 1661098"/>
                    <a:gd name="connsiteX62" fmla="*/ 895350 w 1146175"/>
                    <a:gd name="connsiteY62" fmla="*/ 1427741 h 1661098"/>
                    <a:gd name="connsiteX63" fmla="*/ 882650 w 1146175"/>
                    <a:gd name="connsiteY63" fmla="*/ 1437266 h 1661098"/>
                    <a:gd name="connsiteX64" fmla="*/ 873125 w 1146175"/>
                    <a:gd name="connsiteY64" fmla="*/ 1446791 h 1661098"/>
                    <a:gd name="connsiteX65" fmla="*/ 844550 w 1146175"/>
                    <a:gd name="connsiteY65" fmla="*/ 1462666 h 1661098"/>
                    <a:gd name="connsiteX66" fmla="*/ 835025 w 1146175"/>
                    <a:gd name="connsiteY66" fmla="*/ 1465841 h 1661098"/>
                    <a:gd name="connsiteX67" fmla="*/ 815975 w 1146175"/>
                    <a:gd name="connsiteY67" fmla="*/ 1459491 h 1661098"/>
                    <a:gd name="connsiteX68" fmla="*/ 774700 w 1146175"/>
                    <a:gd name="connsiteY68" fmla="*/ 1443616 h 1661098"/>
                    <a:gd name="connsiteX69" fmla="*/ 749300 w 1146175"/>
                    <a:gd name="connsiteY69" fmla="*/ 1437266 h 1661098"/>
                    <a:gd name="connsiteX70" fmla="*/ 717550 w 1146175"/>
                    <a:gd name="connsiteY70" fmla="*/ 1424566 h 1661098"/>
                    <a:gd name="connsiteX71" fmla="*/ 688975 w 1146175"/>
                    <a:gd name="connsiteY71" fmla="*/ 1418216 h 1661098"/>
                    <a:gd name="connsiteX72" fmla="*/ 657225 w 1146175"/>
                    <a:gd name="connsiteY72" fmla="*/ 1408691 h 1661098"/>
                    <a:gd name="connsiteX73" fmla="*/ 635000 w 1146175"/>
                    <a:gd name="connsiteY73" fmla="*/ 1411866 h 1661098"/>
                    <a:gd name="connsiteX74" fmla="*/ 622300 w 1146175"/>
                    <a:gd name="connsiteY74" fmla="*/ 1418216 h 1661098"/>
                    <a:gd name="connsiteX75" fmla="*/ 606425 w 1146175"/>
                    <a:gd name="connsiteY75" fmla="*/ 1427741 h 1661098"/>
                    <a:gd name="connsiteX76" fmla="*/ 577850 w 1146175"/>
                    <a:gd name="connsiteY76" fmla="*/ 1443616 h 1661098"/>
                    <a:gd name="connsiteX77" fmla="*/ 558800 w 1146175"/>
                    <a:gd name="connsiteY77" fmla="*/ 1446791 h 1661098"/>
                    <a:gd name="connsiteX78" fmla="*/ 501650 w 1146175"/>
                    <a:gd name="connsiteY78" fmla="*/ 1453141 h 1661098"/>
                    <a:gd name="connsiteX79" fmla="*/ 492125 w 1146175"/>
                    <a:gd name="connsiteY79" fmla="*/ 1459491 h 1661098"/>
                    <a:gd name="connsiteX80" fmla="*/ 466725 w 1146175"/>
                    <a:gd name="connsiteY80" fmla="*/ 1491241 h 1661098"/>
                    <a:gd name="connsiteX81" fmla="*/ 457200 w 1146175"/>
                    <a:gd name="connsiteY81" fmla="*/ 1510291 h 1661098"/>
                    <a:gd name="connsiteX82" fmla="*/ 454025 w 1146175"/>
                    <a:gd name="connsiteY82" fmla="*/ 1519816 h 1661098"/>
                    <a:gd name="connsiteX83" fmla="*/ 447675 w 1146175"/>
                    <a:gd name="connsiteY83" fmla="*/ 1535691 h 1661098"/>
                    <a:gd name="connsiteX84" fmla="*/ 434975 w 1146175"/>
                    <a:gd name="connsiteY84" fmla="*/ 1561091 h 1661098"/>
                    <a:gd name="connsiteX85" fmla="*/ 431800 w 1146175"/>
                    <a:gd name="connsiteY85" fmla="*/ 1576966 h 1661098"/>
                    <a:gd name="connsiteX86" fmla="*/ 425450 w 1146175"/>
                    <a:gd name="connsiteY86" fmla="*/ 1602366 h 1661098"/>
                    <a:gd name="connsiteX87" fmla="*/ 422275 w 1146175"/>
                    <a:gd name="connsiteY87" fmla="*/ 1611891 h 1661098"/>
                    <a:gd name="connsiteX88" fmla="*/ 412750 w 1146175"/>
                    <a:gd name="connsiteY88" fmla="*/ 1621416 h 1661098"/>
                    <a:gd name="connsiteX89" fmla="*/ 222250 w 1146175"/>
                    <a:gd name="connsiteY89" fmla="*/ 1627766 h 1661098"/>
                    <a:gd name="connsiteX90" fmla="*/ 215900 w 1146175"/>
                    <a:gd name="connsiteY90" fmla="*/ 1611891 h 1661098"/>
                    <a:gd name="connsiteX91" fmla="*/ 206375 w 1146175"/>
                    <a:gd name="connsiteY91" fmla="*/ 1599191 h 1661098"/>
                    <a:gd name="connsiteX92" fmla="*/ 203200 w 1146175"/>
                    <a:gd name="connsiteY92" fmla="*/ 1586491 h 1661098"/>
                    <a:gd name="connsiteX93" fmla="*/ 196850 w 1146175"/>
                    <a:gd name="connsiteY93" fmla="*/ 1573791 h 1661098"/>
                    <a:gd name="connsiteX94" fmla="*/ 193675 w 1146175"/>
                    <a:gd name="connsiteY94" fmla="*/ 1564266 h 1661098"/>
                    <a:gd name="connsiteX95" fmla="*/ 187325 w 1146175"/>
                    <a:gd name="connsiteY95" fmla="*/ 1551566 h 1661098"/>
                    <a:gd name="connsiteX96" fmla="*/ 180975 w 1146175"/>
                    <a:gd name="connsiteY96" fmla="*/ 1535691 h 1661098"/>
                    <a:gd name="connsiteX97" fmla="*/ 161925 w 1146175"/>
                    <a:gd name="connsiteY97" fmla="*/ 1507116 h 1661098"/>
                    <a:gd name="connsiteX98" fmla="*/ 149225 w 1146175"/>
                    <a:gd name="connsiteY98" fmla="*/ 1484891 h 1661098"/>
                    <a:gd name="connsiteX99" fmla="*/ 142875 w 1146175"/>
                    <a:gd name="connsiteY99" fmla="*/ 1469016 h 1661098"/>
                    <a:gd name="connsiteX100" fmla="*/ 130175 w 1146175"/>
                    <a:gd name="connsiteY100" fmla="*/ 1465841 h 1661098"/>
                    <a:gd name="connsiteX101" fmla="*/ 101600 w 1146175"/>
                    <a:gd name="connsiteY101" fmla="*/ 1453141 h 1661098"/>
                    <a:gd name="connsiteX102" fmla="*/ 69850 w 1146175"/>
                    <a:gd name="connsiteY102" fmla="*/ 1443616 h 1661098"/>
                    <a:gd name="connsiteX103" fmla="*/ 41275 w 1146175"/>
                    <a:gd name="connsiteY103" fmla="*/ 1430916 h 1661098"/>
                    <a:gd name="connsiteX104" fmla="*/ 31750 w 1146175"/>
                    <a:gd name="connsiteY104" fmla="*/ 1424566 h 1661098"/>
                    <a:gd name="connsiteX105" fmla="*/ 15875 w 1146175"/>
                    <a:gd name="connsiteY105" fmla="*/ 1418216 h 1661098"/>
                    <a:gd name="connsiteX106" fmla="*/ 0 w 1146175"/>
                    <a:gd name="connsiteY106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993775 w 1146175"/>
                    <a:gd name="connsiteY25" fmla="*/ 649866 h 1661098"/>
                    <a:gd name="connsiteX26" fmla="*/ 1041400 w 1146175"/>
                    <a:gd name="connsiteY26" fmla="*/ 665741 h 1661098"/>
                    <a:gd name="connsiteX27" fmla="*/ 1117600 w 1146175"/>
                    <a:gd name="connsiteY27" fmla="*/ 707016 h 1661098"/>
                    <a:gd name="connsiteX28" fmla="*/ 1136650 w 1146175"/>
                    <a:gd name="connsiteY28" fmla="*/ 713366 h 1661098"/>
                    <a:gd name="connsiteX29" fmla="*/ 1146175 w 1146175"/>
                    <a:gd name="connsiteY29" fmla="*/ 903866 h 1661098"/>
                    <a:gd name="connsiteX30" fmla="*/ 1127125 w 1146175"/>
                    <a:gd name="connsiteY30" fmla="*/ 913391 h 1661098"/>
                    <a:gd name="connsiteX31" fmla="*/ 1101725 w 1146175"/>
                    <a:gd name="connsiteY31" fmla="*/ 919741 h 1661098"/>
                    <a:gd name="connsiteX32" fmla="*/ 1092200 w 1146175"/>
                    <a:gd name="connsiteY32" fmla="*/ 926091 h 1661098"/>
                    <a:gd name="connsiteX33" fmla="*/ 1079500 w 1146175"/>
                    <a:gd name="connsiteY33" fmla="*/ 929266 h 1661098"/>
                    <a:gd name="connsiteX34" fmla="*/ 1069975 w 1146175"/>
                    <a:gd name="connsiteY34" fmla="*/ 938791 h 1661098"/>
                    <a:gd name="connsiteX35" fmla="*/ 1060450 w 1146175"/>
                    <a:gd name="connsiteY35" fmla="*/ 945141 h 1661098"/>
                    <a:gd name="connsiteX36" fmla="*/ 1038225 w 1146175"/>
                    <a:gd name="connsiteY36" fmla="*/ 957841 h 1661098"/>
                    <a:gd name="connsiteX37" fmla="*/ 996950 w 1146175"/>
                    <a:gd name="connsiteY37" fmla="*/ 983241 h 1661098"/>
                    <a:gd name="connsiteX38" fmla="*/ 977900 w 1146175"/>
                    <a:gd name="connsiteY38" fmla="*/ 989591 h 1661098"/>
                    <a:gd name="connsiteX39" fmla="*/ 968375 w 1146175"/>
                    <a:gd name="connsiteY39" fmla="*/ 1014991 h 1661098"/>
                    <a:gd name="connsiteX40" fmla="*/ 958850 w 1146175"/>
                    <a:gd name="connsiteY40" fmla="*/ 1040391 h 1661098"/>
                    <a:gd name="connsiteX41" fmla="*/ 955675 w 1146175"/>
                    <a:gd name="connsiteY41" fmla="*/ 1065791 h 1661098"/>
                    <a:gd name="connsiteX42" fmla="*/ 949325 w 1146175"/>
                    <a:gd name="connsiteY42" fmla="*/ 1075316 h 1661098"/>
                    <a:gd name="connsiteX43" fmla="*/ 946150 w 1146175"/>
                    <a:gd name="connsiteY43" fmla="*/ 1084841 h 1661098"/>
                    <a:gd name="connsiteX44" fmla="*/ 936625 w 1146175"/>
                    <a:gd name="connsiteY44" fmla="*/ 1100716 h 1661098"/>
                    <a:gd name="connsiteX45" fmla="*/ 923925 w 1146175"/>
                    <a:gd name="connsiteY45" fmla="*/ 1135641 h 1661098"/>
                    <a:gd name="connsiteX46" fmla="*/ 917575 w 1146175"/>
                    <a:gd name="connsiteY46" fmla="*/ 1145166 h 1661098"/>
                    <a:gd name="connsiteX47" fmla="*/ 923925 w 1146175"/>
                    <a:gd name="connsiteY47" fmla="*/ 1199141 h 1661098"/>
                    <a:gd name="connsiteX48" fmla="*/ 939800 w 1146175"/>
                    <a:gd name="connsiteY48" fmla="*/ 1221366 h 1661098"/>
                    <a:gd name="connsiteX49" fmla="*/ 946150 w 1146175"/>
                    <a:gd name="connsiteY49" fmla="*/ 1234066 h 1661098"/>
                    <a:gd name="connsiteX50" fmla="*/ 952500 w 1146175"/>
                    <a:gd name="connsiteY50" fmla="*/ 1243591 h 1661098"/>
                    <a:gd name="connsiteX51" fmla="*/ 965200 w 1146175"/>
                    <a:gd name="connsiteY51" fmla="*/ 1268991 h 1661098"/>
                    <a:gd name="connsiteX52" fmla="*/ 974725 w 1146175"/>
                    <a:gd name="connsiteY52" fmla="*/ 1291216 h 1661098"/>
                    <a:gd name="connsiteX53" fmla="*/ 977900 w 1146175"/>
                    <a:gd name="connsiteY53" fmla="*/ 1303916 h 1661098"/>
                    <a:gd name="connsiteX54" fmla="*/ 981075 w 1146175"/>
                    <a:gd name="connsiteY54" fmla="*/ 1313441 h 1661098"/>
                    <a:gd name="connsiteX55" fmla="*/ 974725 w 1146175"/>
                    <a:gd name="connsiteY55" fmla="*/ 1348366 h 1661098"/>
                    <a:gd name="connsiteX56" fmla="*/ 949325 w 1146175"/>
                    <a:gd name="connsiteY56" fmla="*/ 1380116 h 1661098"/>
                    <a:gd name="connsiteX57" fmla="*/ 939800 w 1146175"/>
                    <a:gd name="connsiteY57" fmla="*/ 1386466 h 1661098"/>
                    <a:gd name="connsiteX58" fmla="*/ 930275 w 1146175"/>
                    <a:gd name="connsiteY58" fmla="*/ 1395991 h 1661098"/>
                    <a:gd name="connsiteX59" fmla="*/ 923925 w 1146175"/>
                    <a:gd name="connsiteY59" fmla="*/ 1405516 h 1661098"/>
                    <a:gd name="connsiteX60" fmla="*/ 908050 w 1146175"/>
                    <a:gd name="connsiteY60" fmla="*/ 1415041 h 1661098"/>
                    <a:gd name="connsiteX61" fmla="*/ 895350 w 1146175"/>
                    <a:gd name="connsiteY61" fmla="*/ 1427741 h 1661098"/>
                    <a:gd name="connsiteX62" fmla="*/ 882650 w 1146175"/>
                    <a:gd name="connsiteY62" fmla="*/ 1437266 h 1661098"/>
                    <a:gd name="connsiteX63" fmla="*/ 873125 w 1146175"/>
                    <a:gd name="connsiteY63" fmla="*/ 1446791 h 1661098"/>
                    <a:gd name="connsiteX64" fmla="*/ 844550 w 1146175"/>
                    <a:gd name="connsiteY64" fmla="*/ 1462666 h 1661098"/>
                    <a:gd name="connsiteX65" fmla="*/ 835025 w 1146175"/>
                    <a:gd name="connsiteY65" fmla="*/ 1465841 h 1661098"/>
                    <a:gd name="connsiteX66" fmla="*/ 815975 w 1146175"/>
                    <a:gd name="connsiteY66" fmla="*/ 1459491 h 1661098"/>
                    <a:gd name="connsiteX67" fmla="*/ 774700 w 1146175"/>
                    <a:gd name="connsiteY67" fmla="*/ 1443616 h 1661098"/>
                    <a:gd name="connsiteX68" fmla="*/ 749300 w 1146175"/>
                    <a:gd name="connsiteY68" fmla="*/ 1437266 h 1661098"/>
                    <a:gd name="connsiteX69" fmla="*/ 717550 w 1146175"/>
                    <a:gd name="connsiteY69" fmla="*/ 1424566 h 1661098"/>
                    <a:gd name="connsiteX70" fmla="*/ 688975 w 1146175"/>
                    <a:gd name="connsiteY70" fmla="*/ 1418216 h 1661098"/>
                    <a:gd name="connsiteX71" fmla="*/ 657225 w 1146175"/>
                    <a:gd name="connsiteY71" fmla="*/ 1408691 h 1661098"/>
                    <a:gd name="connsiteX72" fmla="*/ 635000 w 1146175"/>
                    <a:gd name="connsiteY72" fmla="*/ 1411866 h 1661098"/>
                    <a:gd name="connsiteX73" fmla="*/ 622300 w 1146175"/>
                    <a:gd name="connsiteY73" fmla="*/ 1418216 h 1661098"/>
                    <a:gd name="connsiteX74" fmla="*/ 606425 w 1146175"/>
                    <a:gd name="connsiteY74" fmla="*/ 1427741 h 1661098"/>
                    <a:gd name="connsiteX75" fmla="*/ 577850 w 1146175"/>
                    <a:gd name="connsiteY75" fmla="*/ 1443616 h 1661098"/>
                    <a:gd name="connsiteX76" fmla="*/ 558800 w 1146175"/>
                    <a:gd name="connsiteY76" fmla="*/ 1446791 h 1661098"/>
                    <a:gd name="connsiteX77" fmla="*/ 501650 w 1146175"/>
                    <a:gd name="connsiteY77" fmla="*/ 1453141 h 1661098"/>
                    <a:gd name="connsiteX78" fmla="*/ 492125 w 1146175"/>
                    <a:gd name="connsiteY78" fmla="*/ 1459491 h 1661098"/>
                    <a:gd name="connsiteX79" fmla="*/ 466725 w 1146175"/>
                    <a:gd name="connsiteY79" fmla="*/ 1491241 h 1661098"/>
                    <a:gd name="connsiteX80" fmla="*/ 457200 w 1146175"/>
                    <a:gd name="connsiteY80" fmla="*/ 1510291 h 1661098"/>
                    <a:gd name="connsiteX81" fmla="*/ 454025 w 1146175"/>
                    <a:gd name="connsiteY81" fmla="*/ 1519816 h 1661098"/>
                    <a:gd name="connsiteX82" fmla="*/ 447675 w 1146175"/>
                    <a:gd name="connsiteY82" fmla="*/ 1535691 h 1661098"/>
                    <a:gd name="connsiteX83" fmla="*/ 434975 w 1146175"/>
                    <a:gd name="connsiteY83" fmla="*/ 1561091 h 1661098"/>
                    <a:gd name="connsiteX84" fmla="*/ 431800 w 1146175"/>
                    <a:gd name="connsiteY84" fmla="*/ 1576966 h 1661098"/>
                    <a:gd name="connsiteX85" fmla="*/ 425450 w 1146175"/>
                    <a:gd name="connsiteY85" fmla="*/ 1602366 h 1661098"/>
                    <a:gd name="connsiteX86" fmla="*/ 422275 w 1146175"/>
                    <a:gd name="connsiteY86" fmla="*/ 1611891 h 1661098"/>
                    <a:gd name="connsiteX87" fmla="*/ 412750 w 1146175"/>
                    <a:gd name="connsiteY87" fmla="*/ 1621416 h 1661098"/>
                    <a:gd name="connsiteX88" fmla="*/ 222250 w 1146175"/>
                    <a:gd name="connsiteY88" fmla="*/ 1627766 h 1661098"/>
                    <a:gd name="connsiteX89" fmla="*/ 215900 w 1146175"/>
                    <a:gd name="connsiteY89" fmla="*/ 1611891 h 1661098"/>
                    <a:gd name="connsiteX90" fmla="*/ 206375 w 1146175"/>
                    <a:gd name="connsiteY90" fmla="*/ 1599191 h 1661098"/>
                    <a:gd name="connsiteX91" fmla="*/ 203200 w 1146175"/>
                    <a:gd name="connsiteY91" fmla="*/ 1586491 h 1661098"/>
                    <a:gd name="connsiteX92" fmla="*/ 196850 w 1146175"/>
                    <a:gd name="connsiteY92" fmla="*/ 1573791 h 1661098"/>
                    <a:gd name="connsiteX93" fmla="*/ 193675 w 1146175"/>
                    <a:gd name="connsiteY93" fmla="*/ 1564266 h 1661098"/>
                    <a:gd name="connsiteX94" fmla="*/ 187325 w 1146175"/>
                    <a:gd name="connsiteY94" fmla="*/ 1551566 h 1661098"/>
                    <a:gd name="connsiteX95" fmla="*/ 180975 w 1146175"/>
                    <a:gd name="connsiteY95" fmla="*/ 1535691 h 1661098"/>
                    <a:gd name="connsiteX96" fmla="*/ 161925 w 1146175"/>
                    <a:gd name="connsiteY96" fmla="*/ 1507116 h 1661098"/>
                    <a:gd name="connsiteX97" fmla="*/ 149225 w 1146175"/>
                    <a:gd name="connsiteY97" fmla="*/ 1484891 h 1661098"/>
                    <a:gd name="connsiteX98" fmla="*/ 142875 w 1146175"/>
                    <a:gd name="connsiteY98" fmla="*/ 1469016 h 1661098"/>
                    <a:gd name="connsiteX99" fmla="*/ 130175 w 1146175"/>
                    <a:gd name="connsiteY99" fmla="*/ 1465841 h 1661098"/>
                    <a:gd name="connsiteX100" fmla="*/ 101600 w 1146175"/>
                    <a:gd name="connsiteY100" fmla="*/ 1453141 h 1661098"/>
                    <a:gd name="connsiteX101" fmla="*/ 69850 w 1146175"/>
                    <a:gd name="connsiteY101" fmla="*/ 1443616 h 1661098"/>
                    <a:gd name="connsiteX102" fmla="*/ 41275 w 1146175"/>
                    <a:gd name="connsiteY102" fmla="*/ 1430916 h 1661098"/>
                    <a:gd name="connsiteX103" fmla="*/ 31750 w 1146175"/>
                    <a:gd name="connsiteY103" fmla="*/ 1424566 h 1661098"/>
                    <a:gd name="connsiteX104" fmla="*/ 15875 w 1146175"/>
                    <a:gd name="connsiteY104" fmla="*/ 1418216 h 1661098"/>
                    <a:gd name="connsiteX105" fmla="*/ 0 w 1146175"/>
                    <a:gd name="connsiteY105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1101725 w 1146175"/>
                    <a:gd name="connsiteY30" fmla="*/ 919741 h 1661098"/>
                    <a:gd name="connsiteX31" fmla="*/ 1092200 w 1146175"/>
                    <a:gd name="connsiteY31" fmla="*/ 926091 h 1661098"/>
                    <a:gd name="connsiteX32" fmla="*/ 1079500 w 1146175"/>
                    <a:gd name="connsiteY32" fmla="*/ 929266 h 1661098"/>
                    <a:gd name="connsiteX33" fmla="*/ 1069975 w 1146175"/>
                    <a:gd name="connsiteY33" fmla="*/ 938791 h 1661098"/>
                    <a:gd name="connsiteX34" fmla="*/ 1060450 w 1146175"/>
                    <a:gd name="connsiteY34" fmla="*/ 945141 h 1661098"/>
                    <a:gd name="connsiteX35" fmla="*/ 1038225 w 1146175"/>
                    <a:gd name="connsiteY35" fmla="*/ 957841 h 1661098"/>
                    <a:gd name="connsiteX36" fmla="*/ 996950 w 1146175"/>
                    <a:gd name="connsiteY36" fmla="*/ 983241 h 1661098"/>
                    <a:gd name="connsiteX37" fmla="*/ 977900 w 1146175"/>
                    <a:gd name="connsiteY37" fmla="*/ 989591 h 1661098"/>
                    <a:gd name="connsiteX38" fmla="*/ 968375 w 1146175"/>
                    <a:gd name="connsiteY38" fmla="*/ 1014991 h 1661098"/>
                    <a:gd name="connsiteX39" fmla="*/ 958850 w 1146175"/>
                    <a:gd name="connsiteY39" fmla="*/ 1040391 h 1661098"/>
                    <a:gd name="connsiteX40" fmla="*/ 955675 w 1146175"/>
                    <a:gd name="connsiteY40" fmla="*/ 1065791 h 1661098"/>
                    <a:gd name="connsiteX41" fmla="*/ 949325 w 1146175"/>
                    <a:gd name="connsiteY41" fmla="*/ 1075316 h 1661098"/>
                    <a:gd name="connsiteX42" fmla="*/ 946150 w 1146175"/>
                    <a:gd name="connsiteY42" fmla="*/ 1084841 h 1661098"/>
                    <a:gd name="connsiteX43" fmla="*/ 936625 w 1146175"/>
                    <a:gd name="connsiteY43" fmla="*/ 1100716 h 1661098"/>
                    <a:gd name="connsiteX44" fmla="*/ 923925 w 1146175"/>
                    <a:gd name="connsiteY44" fmla="*/ 1135641 h 1661098"/>
                    <a:gd name="connsiteX45" fmla="*/ 917575 w 1146175"/>
                    <a:gd name="connsiteY45" fmla="*/ 1145166 h 1661098"/>
                    <a:gd name="connsiteX46" fmla="*/ 923925 w 1146175"/>
                    <a:gd name="connsiteY46" fmla="*/ 1199141 h 1661098"/>
                    <a:gd name="connsiteX47" fmla="*/ 939800 w 1146175"/>
                    <a:gd name="connsiteY47" fmla="*/ 1221366 h 1661098"/>
                    <a:gd name="connsiteX48" fmla="*/ 946150 w 1146175"/>
                    <a:gd name="connsiteY48" fmla="*/ 1234066 h 1661098"/>
                    <a:gd name="connsiteX49" fmla="*/ 952500 w 1146175"/>
                    <a:gd name="connsiteY49" fmla="*/ 1243591 h 1661098"/>
                    <a:gd name="connsiteX50" fmla="*/ 965200 w 1146175"/>
                    <a:gd name="connsiteY50" fmla="*/ 1268991 h 1661098"/>
                    <a:gd name="connsiteX51" fmla="*/ 974725 w 1146175"/>
                    <a:gd name="connsiteY51" fmla="*/ 1291216 h 1661098"/>
                    <a:gd name="connsiteX52" fmla="*/ 977900 w 1146175"/>
                    <a:gd name="connsiteY52" fmla="*/ 1303916 h 1661098"/>
                    <a:gd name="connsiteX53" fmla="*/ 981075 w 1146175"/>
                    <a:gd name="connsiteY53" fmla="*/ 1313441 h 1661098"/>
                    <a:gd name="connsiteX54" fmla="*/ 974725 w 1146175"/>
                    <a:gd name="connsiteY54" fmla="*/ 1348366 h 1661098"/>
                    <a:gd name="connsiteX55" fmla="*/ 949325 w 1146175"/>
                    <a:gd name="connsiteY55" fmla="*/ 1380116 h 1661098"/>
                    <a:gd name="connsiteX56" fmla="*/ 939800 w 1146175"/>
                    <a:gd name="connsiteY56" fmla="*/ 1386466 h 1661098"/>
                    <a:gd name="connsiteX57" fmla="*/ 930275 w 1146175"/>
                    <a:gd name="connsiteY57" fmla="*/ 1395991 h 1661098"/>
                    <a:gd name="connsiteX58" fmla="*/ 923925 w 1146175"/>
                    <a:gd name="connsiteY58" fmla="*/ 1405516 h 1661098"/>
                    <a:gd name="connsiteX59" fmla="*/ 908050 w 1146175"/>
                    <a:gd name="connsiteY59" fmla="*/ 1415041 h 1661098"/>
                    <a:gd name="connsiteX60" fmla="*/ 895350 w 1146175"/>
                    <a:gd name="connsiteY60" fmla="*/ 1427741 h 1661098"/>
                    <a:gd name="connsiteX61" fmla="*/ 882650 w 1146175"/>
                    <a:gd name="connsiteY61" fmla="*/ 1437266 h 1661098"/>
                    <a:gd name="connsiteX62" fmla="*/ 873125 w 1146175"/>
                    <a:gd name="connsiteY62" fmla="*/ 1446791 h 1661098"/>
                    <a:gd name="connsiteX63" fmla="*/ 844550 w 1146175"/>
                    <a:gd name="connsiteY63" fmla="*/ 1462666 h 1661098"/>
                    <a:gd name="connsiteX64" fmla="*/ 835025 w 1146175"/>
                    <a:gd name="connsiteY64" fmla="*/ 1465841 h 1661098"/>
                    <a:gd name="connsiteX65" fmla="*/ 815975 w 1146175"/>
                    <a:gd name="connsiteY65" fmla="*/ 1459491 h 1661098"/>
                    <a:gd name="connsiteX66" fmla="*/ 774700 w 1146175"/>
                    <a:gd name="connsiteY66" fmla="*/ 1443616 h 1661098"/>
                    <a:gd name="connsiteX67" fmla="*/ 749300 w 1146175"/>
                    <a:gd name="connsiteY67" fmla="*/ 1437266 h 1661098"/>
                    <a:gd name="connsiteX68" fmla="*/ 717550 w 1146175"/>
                    <a:gd name="connsiteY68" fmla="*/ 1424566 h 1661098"/>
                    <a:gd name="connsiteX69" fmla="*/ 688975 w 1146175"/>
                    <a:gd name="connsiteY69" fmla="*/ 1418216 h 1661098"/>
                    <a:gd name="connsiteX70" fmla="*/ 657225 w 1146175"/>
                    <a:gd name="connsiteY70" fmla="*/ 1408691 h 1661098"/>
                    <a:gd name="connsiteX71" fmla="*/ 635000 w 1146175"/>
                    <a:gd name="connsiteY71" fmla="*/ 1411866 h 1661098"/>
                    <a:gd name="connsiteX72" fmla="*/ 622300 w 1146175"/>
                    <a:gd name="connsiteY72" fmla="*/ 1418216 h 1661098"/>
                    <a:gd name="connsiteX73" fmla="*/ 606425 w 1146175"/>
                    <a:gd name="connsiteY73" fmla="*/ 1427741 h 1661098"/>
                    <a:gd name="connsiteX74" fmla="*/ 577850 w 1146175"/>
                    <a:gd name="connsiteY74" fmla="*/ 1443616 h 1661098"/>
                    <a:gd name="connsiteX75" fmla="*/ 558800 w 1146175"/>
                    <a:gd name="connsiteY75" fmla="*/ 1446791 h 1661098"/>
                    <a:gd name="connsiteX76" fmla="*/ 501650 w 1146175"/>
                    <a:gd name="connsiteY76" fmla="*/ 1453141 h 1661098"/>
                    <a:gd name="connsiteX77" fmla="*/ 492125 w 1146175"/>
                    <a:gd name="connsiteY77" fmla="*/ 1459491 h 1661098"/>
                    <a:gd name="connsiteX78" fmla="*/ 466725 w 1146175"/>
                    <a:gd name="connsiteY78" fmla="*/ 1491241 h 1661098"/>
                    <a:gd name="connsiteX79" fmla="*/ 457200 w 1146175"/>
                    <a:gd name="connsiteY79" fmla="*/ 1510291 h 1661098"/>
                    <a:gd name="connsiteX80" fmla="*/ 454025 w 1146175"/>
                    <a:gd name="connsiteY80" fmla="*/ 1519816 h 1661098"/>
                    <a:gd name="connsiteX81" fmla="*/ 447675 w 1146175"/>
                    <a:gd name="connsiteY81" fmla="*/ 1535691 h 1661098"/>
                    <a:gd name="connsiteX82" fmla="*/ 434975 w 1146175"/>
                    <a:gd name="connsiteY82" fmla="*/ 1561091 h 1661098"/>
                    <a:gd name="connsiteX83" fmla="*/ 431800 w 1146175"/>
                    <a:gd name="connsiteY83" fmla="*/ 1576966 h 1661098"/>
                    <a:gd name="connsiteX84" fmla="*/ 425450 w 1146175"/>
                    <a:gd name="connsiteY84" fmla="*/ 1602366 h 1661098"/>
                    <a:gd name="connsiteX85" fmla="*/ 422275 w 1146175"/>
                    <a:gd name="connsiteY85" fmla="*/ 1611891 h 1661098"/>
                    <a:gd name="connsiteX86" fmla="*/ 412750 w 1146175"/>
                    <a:gd name="connsiteY86" fmla="*/ 1621416 h 1661098"/>
                    <a:gd name="connsiteX87" fmla="*/ 222250 w 1146175"/>
                    <a:gd name="connsiteY87" fmla="*/ 1627766 h 1661098"/>
                    <a:gd name="connsiteX88" fmla="*/ 215900 w 1146175"/>
                    <a:gd name="connsiteY88" fmla="*/ 1611891 h 1661098"/>
                    <a:gd name="connsiteX89" fmla="*/ 206375 w 1146175"/>
                    <a:gd name="connsiteY89" fmla="*/ 1599191 h 1661098"/>
                    <a:gd name="connsiteX90" fmla="*/ 203200 w 1146175"/>
                    <a:gd name="connsiteY90" fmla="*/ 1586491 h 1661098"/>
                    <a:gd name="connsiteX91" fmla="*/ 196850 w 1146175"/>
                    <a:gd name="connsiteY91" fmla="*/ 1573791 h 1661098"/>
                    <a:gd name="connsiteX92" fmla="*/ 193675 w 1146175"/>
                    <a:gd name="connsiteY92" fmla="*/ 1564266 h 1661098"/>
                    <a:gd name="connsiteX93" fmla="*/ 187325 w 1146175"/>
                    <a:gd name="connsiteY93" fmla="*/ 1551566 h 1661098"/>
                    <a:gd name="connsiteX94" fmla="*/ 180975 w 1146175"/>
                    <a:gd name="connsiteY94" fmla="*/ 1535691 h 1661098"/>
                    <a:gd name="connsiteX95" fmla="*/ 161925 w 1146175"/>
                    <a:gd name="connsiteY95" fmla="*/ 1507116 h 1661098"/>
                    <a:gd name="connsiteX96" fmla="*/ 149225 w 1146175"/>
                    <a:gd name="connsiteY96" fmla="*/ 1484891 h 1661098"/>
                    <a:gd name="connsiteX97" fmla="*/ 142875 w 1146175"/>
                    <a:gd name="connsiteY97" fmla="*/ 1469016 h 1661098"/>
                    <a:gd name="connsiteX98" fmla="*/ 130175 w 1146175"/>
                    <a:gd name="connsiteY98" fmla="*/ 1465841 h 1661098"/>
                    <a:gd name="connsiteX99" fmla="*/ 101600 w 1146175"/>
                    <a:gd name="connsiteY99" fmla="*/ 1453141 h 1661098"/>
                    <a:gd name="connsiteX100" fmla="*/ 69850 w 1146175"/>
                    <a:gd name="connsiteY100" fmla="*/ 1443616 h 1661098"/>
                    <a:gd name="connsiteX101" fmla="*/ 41275 w 1146175"/>
                    <a:gd name="connsiteY101" fmla="*/ 1430916 h 1661098"/>
                    <a:gd name="connsiteX102" fmla="*/ 31750 w 1146175"/>
                    <a:gd name="connsiteY102" fmla="*/ 1424566 h 1661098"/>
                    <a:gd name="connsiteX103" fmla="*/ 15875 w 1146175"/>
                    <a:gd name="connsiteY103" fmla="*/ 1418216 h 1661098"/>
                    <a:gd name="connsiteX104" fmla="*/ 0 w 1146175"/>
                    <a:gd name="connsiteY104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1101725 w 1146175"/>
                    <a:gd name="connsiteY30" fmla="*/ 919741 h 1661098"/>
                    <a:gd name="connsiteX31" fmla="*/ 1092200 w 1146175"/>
                    <a:gd name="connsiteY31" fmla="*/ 926091 h 1661098"/>
                    <a:gd name="connsiteX32" fmla="*/ 1069975 w 1146175"/>
                    <a:gd name="connsiteY32" fmla="*/ 938791 h 1661098"/>
                    <a:gd name="connsiteX33" fmla="*/ 1060450 w 1146175"/>
                    <a:gd name="connsiteY33" fmla="*/ 945141 h 1661098"/>
                    <a:gd name="connsiteX34" fmla="*/ 1038225 w 1146175"/>
                    <a:gd name="connsiteY34" fmla="*/ 957841 h 1661098"/>
                    <a:gd name="connsiteX35" fmla="*/ 996950 w 1146175"/>
                    <a:gd name="connsiteY35" fmla="*/ 983241 h 1661098"/>
                    <a:gd name="connsiteX36" fmla="*/ 977900 w 1146175"/>
                    <a:gd name="connsiteY36" fmla="*/ 989591 h 1661098"/>
                    <a:gd name="connsiteX37" fmla="*/ 968375 w 1146175"/>
                    <a:gd name="connsiteY37" fmla="*/ 1014991 h 1661098"/>
                    <a:gd name="connsiteX38" fmla="*/ 958850 w 1146175"/>
                    <a:gd name="connsiteY38" fmla="*/ 1040391 h 1661098"/>
                    <a:gd name="connsiteX39" fmla="*/ 955675 w 1146175"/>
                    <a:gd name="connsiteY39" fmla="*/ 1065791 h 1661098"/>
                    <a:gd name="connsiteX40" fmla="*/ 949325 w 1146175"/>
                    <a:gd name="connsiteY40" fmla="*/ 1075316 h 1661098"/>
                    <a:gd name="connsiteX41" fmla="*/ 946150 w 1146175"/>
                    <a:gd name="connsiteY41" fmla="*/ 1084841 h 1661098"/>
                    <a:gd name="connsiteX42" fmla="*/ 936625 w 1146175"/>
                    <a:gd name="connsiteY42" fmla="*/ 1100716 h 1661098"/>
                    <a:gd name="connsiteX43" fmla="*/ 923925 w 1146175"/>
                    <a:gd name="connsiteY43" fmla="*/ 1135641 h 1661098"/>
                    <a:gd name="connsiteX44" fmla="*/ 917575 w 1146175"/>
                    <a:gd name="connsiteY44" fmla="*/ 1145166 h 1661098"/>
                    <a:gd name="connsiteX45" fmla="*/ 923925 w 1146175"/>
                    <a:gd name="connsiteY45" fmla="*/ 1199141 h 1661098"/>
                    <a:gd name="connsiteX46" fmla="*/ 939800 w 1146175"/>
                    <a:gd name="connsiteY46" fmla="*/ 1221366 h 1661098"/>
                    <a:gd name="connsiteX47" fmla="*/ 946150 w 1146175"/>
                    <a:gd name="connsiteY47" fmla="*/ 1234066 h 1661098"/>
                    <a:gd name="connsiteX48" fmla="*/ 952500 w 1146175"/>
                    <a:gd name="connsiteY48" fmla="*/ 1243591 h 1661098"/>
                    <a:gd name="connsiteX49" fmla="*/ 965200 w 1146175"/>
                    <a:gd name="connsiteY49" fmla="*/ 1268991 h 1661098"/>
                    <a:gd name="connsiteX50" fmla="*/ 974725 w 1146175"/>
                    <a:gd name="connsiteY50" fmla="*/ 1291216 h 1661098"/>
                    <a:gd name="connsiteX51" fmla="*/ 977900 w 1146175"/>
                    <a:gd name="connsiteY51" fmla="*/ 1303916 h 1661098"/>
                    <a:gd name="connsiteX52" fmla="*/ 981075 w 1146175"/>
                    <a:gd name="connsiteY52" fmla="*/ 1313441 h 1661098"/>
                    <a:gd name="connsiteX53" fmla="*/ 974725 w 1146175"/>
                    <a:gd name="connsiteY53" fmla="*/ 1348366 h 1661098"/>
                    <a:gd name="connsiteX54" fmla="*/ 949325 w 1146175"/>
                    <a:gd name="connsiteY54" fmla="*/ 1380116 h 1661098"/>
                    <a:gd name="connsiteX55" fmla="*/ 939800 w 1146175"/>
                    <a:gd name="connsiteY55" fmla="*/ 1386466 h 1661098"/>
                    <a:gd name="connsiteX56" fmla="*/ 930275 w 1146175"/>
                    <a:gd name="connsiteY56" fmla="*/ 1395991 h 1661098"/>
                    <a:gd name="connsiteX57" fmla="*/ 923925 w 1146175"/>
                    <a:gd name="connsiteY57" fmla="*/ 1405516 h 1661098"/>
                    <a:gd name="connsiteX58" fmla="*/ 908050 w 1146175"/>
                    <a:gd name="connsiteY58" fmla="*/ 1415041 h 1661098"/>
                    <a:gd name="connsiteX59" fmla="*/ 895350 w 1146175"/>
                    <a:gd name="connsiteY59" fmla="*/ 1427741 h 1661098"/>
                    <a:gd name="connsiteX60" fmla="*/ 882650 w 1146175"/>
                    <a:gd name="connsiteY60" fmla="*/ 1437266 h 1661098"/>
                    <a:gd name="connsiteX61" fmla="*/ 873125 w 1146175"/>
                    <a:gd name="connsiteY61" fmla="*/ 1446791 h 1661098"/>
                    <a:gd name="connsiteX62" fmla="*/ 844550 w 1146175"/>
                    <a:gd name="connsiteY62" fmla="*/ 1462666 h 1661098"/>
                    <a:gd name="connsiteX63" fmla="*/ 835025 w 1146175"/>
                    <a:gd name="connsiteY63" fmla="*/ 1465841 h 1661098"/>
                    <a:gd name="connsiteX64" fmla="*/ 815975 w 1146175"/>
                    <a:gd name="connsiteY64" fmla="*/ 1459491 h 1661098"/>
                    <a:gd name="connsiteX65" fmla="*/ 774700 w 1146175"/>
                    <a:gd name="connsiteY65" fmla="*/ 1443616 h 1661098"/>
                    <a:gd name="connsiteX66" fmla="*/ 749300 w 1146175"/>
                    <a:gd name="connsiteY66" fmla="*/ 1437266 h 1661098"/>
                    <a:gd name="connsiteX67" fmla="*/ 717550 w 1146175"/>
                    <a:gd name="connsiteY67" fmla="*/ 1424566 h 1661098"/>
                    <a:gd name="connsiteX68" fmla="*/ 688975 w 1146175"/>
                    <a:gd name="connsiteY68" fmla="*/ 1418216 h 1661098"/>
                    <a:gd name="connsiteX69" fmla="*/ 657225 w 1146175"/>
                    <a:gd name="connsiteY69" fmla="*/ 1408691 h 1661098"/>
                    <a:gd name="connsiteX70" fmla="*/ 635000 w 1146175"/>
                    <a:gd name="connsiteY70" fmla="*/ 1411866 h 1661098"/>
                    <a:gd name="connsiteX71" fmla="*/ 622300 w 1146175"/>
                    <a:gd name="connsiteY71" fmla="*/ 1418216 h 1661098"/>
                    <a:gd name="connsiteX72" fmla="*/ 606425 w 1146175"/>
                    <a:gd name="connsiteY72" fmla="*/ 1427741 h 1661098"/>
                    <a:gd name="connsiteX73" fmla="*/ 577850 w 1146175"/>
                    <a:gd name="connsiteY73" fmla="*/ 1443616 h 1661098"/>
                    <a:gd name="connsiteX74" fmla="*/ 558800 w 1146175"/>
                    <a:gd name="connsiteY74" fmla="*/ 1446791 h 1661098"/>
                    <a:gd name="connsiteX75" fmla="*/ 501650 w 1146175"/>
                    <a:gd name="connsiteY75" fmla="*/ 1453141 h 1661098"/>
                    <a:gd name="connsiteX76" fmla="*/ 492125 w 1146175"/>
                    <a:gd name="connsiteY76" fmla="*/ 1459491 h 1661098"/>
                    <a:gd name="connsiteX77" fmla="*/ 466725 w 1146175"/>
                    <a:gd name="connsiteY77" fmla="*/ 1491241 h 1661098"/>
                    <a:gd name="connsiteX78" fmla="*/ 457200 w 1146175"/>
                    <a:gd name="connsiteY78" fmla="*/ 1510291 h 1661098"/>
                    <a:gd name="connsiteX79" fmla="*/ 454025 w 1146175"/>
                    <a:gd name="connsiteY79" fmla="*/ 1519816 h 1661098"/>
                    <a:gd name="connsiteX80" fmla="*/ 447675 w 1146175"/>
                    <a:gd name="connsiteY80" fmla="*/ 1535691 h 1661098"/>
                    <a:gd name="connsiteX81" fmla="*/ 434975 w 1146175"/>
                    <a:gd name="connsiteY81" fmla="*/ 1561091 h 1661098"/>
                    <a:gd name="connsiteX82" fmla="*/ 431800 w 1146175"/>
                    <a:gd name="connsiteY82" fmla="*/ 1576966 h 1661098"/>
                    <a:gd name="connsiteX83" fmla="*/ 425450 w 1146175"/>
                    <a:gd name="connsiteY83" fmla="*/ 1602366 h 1661098"/>
                    <a:gd name="connsiteX84" fmla="*/ 422275 w 1146175"/>
                    <a:gd name="connsiteY84" fmla="*/ 1611891 h 1661098"/>
                    <a:gd name="connsiteX85" fmla="*/ 412750 w 1146175"/>
                    <a:gd name="connsiteY85" fmla="*/ 1621416 h 1661098"/>
                    <a:gd name="connsiteX86" fmla="*/ 222250 w 1146175"/>
                    <a:gd name="connsiteY86" fmla="*/ 1627766 h 1661098"/>
                    <a:gd name="connsiteX87" fmla="*/ 215900 w 1146175"/>
                    <a:gd name="connsiteY87" fmla="*/ 1611891 h 1661098"/>
                    <a:gd name="connsiteX88" fmla="*/ 206375 w 1146175"/>
                    <a:gd name="connsiteY88" fmla="*/ 1599191 h 1661098"/>
                    <a:gd name="connsiteX89" fmla="*/ 203200 w 1146175"/>
                    <a:gd name="connsiteY89" fmla="*/ 1586491 h 1661098"/>
                    <a:gd name="connsiteX90" fmla="*/ 196850 w 1146175"/>
                    <a:gd name="connsiteY90" fmla="*/ 1573791 h 1661098"/>
                    <a:gd name="connsiteX91" fmla="*/ 193675 w 1146175"/>
                    <a:gd name="connsiteY91" fmla="*/ 1564266 h 1661098"/>
                    <a:gd name="connsiteX92" fmla="*/ 187325 w 1146175"/>
                    <a:gd name="connsiteY92" fmla="*/ 1551566 h 1661098"/>
                    <a:gd name="connsiteX93" fmla="*/ 180975 w 1146175"/>
                    <a:gd name="connsiteY93" fmla="*/ 1535691 h 1661098"/>
                    <a:gd name="connsiteX94" fmla="*/ 161925 w 1146175"/>
                    <a:gd name="connsiteY94" fmla="*/ 1507116 h 1661098"/>
                    <a:gd name="connsiteX95" fmla="*/ 149225 w 1146175"/>
                    <a:gd name="connsiteY95" fmla="*/ 1484891 h 1661098"/>
                    <a:gd name="connsiteX96" fmla="*/ 142875 w 1146175"/>
                    <a:gd name="connsiteY96" fmla="*/ 1469016 h 1661098"/>
                    <a:gd name="connsiteX97" fmla="*/ 130175 w 1146175"/>
                    <a:gd name="connsiteY97" fmla="*/ 1465841 h 1661098"/>
                    <a:gd name="connsiteX98" fmla="*/ 101600 w 1146175"/>
                    <a:gd name="connsiteY98" fmla="*/ 1453141 h 1661098"/>
                    <a:gd name="connsiteX99" fmla="*/ 69850 w 1146175"/>
                    <a:gd name="connsiteY99" fmla="*/ 1443616 h 1661098"/>
                    <a:gd name="connsiteX100" fmla="*/ 41275 w 1146175"/>
                    <a:gd name="connsiteY100" fmla="*/ 1430916 h 1661098"/>
                    <a:gd name="connsiteX101" fmla="*/ 31750 w 1146175"/>
                    <a:gd name="connsiteY101" fmla="*/ 1424566 h 1661098"/>
                    <a:gd name="connsiteX102" fmla="*/ 15875 w 1146175"/>
                    <a:gd name="connsiteY102" fmla="*/ 1418216 h 1661098"/>
                    <a:gd name="connsiteX103" fmla="*/ 0 w 1146175"/>
                    <a:gd name="connsiteY103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1101725 w 1146175"/>
                    <a:gd name="connsiteY30" fmla="*/ 919741 h 1661098"/>
                    <a:gd name="connsiteX31" fmla="*/ 1092200 w 1146175"/>
                    <a:gd name="connsiteY31" fmla="*/ 926091 h 1661098"/>
                    <a:gd name="connsiteX32" fmla="*/ 1069975 w 1146175"/>
                    <a:gd name="connsiteY32" fmla="*/ 938791 h 1661098"/>
                    <a:gd name="connsiteX33" fmla="*/ 1038225 w 1146175"/>
                    <a:gd name="connsiteY33" fmla="*/ 957841 h 1661098"/>
                    <a:gd name="connsiteX34" fmla="*/ 996950 w 1146175"/>
                    <a:gd name="connsiteY34" fmla="*/ 983241 h 1661098"/>
                    <a:gd name="connsiteX35" fmla="*/ 977900 w 1146175"/>
                    <a:gd name="connsiteY35" fmla="*/ 989591 h 1661098"/>
                    <a:gd name="connsiteX36" fmla="*/ 968375 w 1146175"/>
                    <a:gd name="connsiteY36" fmla="*/ 1014991 h 1661098"/>
                    <a:gd name="connsiteX37" fmla="*/ 958850 w 1146175"/>
                    <a:gd name="connsiteY37" fmla="*/ 1040391 h 1661098"/>
                    <a:gd name="connsiteX38" fmla="*/ 955675 w 1146175"/>
                    <a:gd name="connsiteY38" fmla="*/ 1065791 h 1661098"/>
                    <a:gd name="connsiteX39" fmla="*/ 949325 w 1146175"/>
                    <a:gd name="connsiteY39" fmla="*/ 1075316 h 1661098"/>
                    <a:gd name="connsiteX40" fmla="*/ 946150 w 1146175"/>
                    <a:gd name="connsiteY40" fmla="*/ 1084841 h 1661098"/>
                    <a:gd name="connsiteX41" fmla="*/ 936625 w 1146175"/>
                    <a:gd name="connsiteY41" fmla="*/ 1100716 h 1661098"/>
                    <a:gd name="connsiteX42" fmla="*/ 923925 w 1146175"/>
                    <a:gd name="connsiteY42" fmla="*/ 1135641 h 1661098"/>
                    <a:gd name="connsiteX43" fmla="*/ 917575 w 1146175"/>
                    <a:gd name="connsiteY43" fmla="*/ 1145166 h 1661098"/>
                    <a:gd name="connsiteX44" fmla="*/ 923925 w 1146175"/>
                    <a:gd name="connsiteY44" fmla="*/ 1199141 h 1661098"/>
                    <a:gd name="connsiteX45" fmla="*/ 939800 w 1146175"/>
                    <a:gd name="connsiteY45" fmla="*/ 1221366 h 1661098"/>
                    <a:gd name="connsiteX46" fmla="*/ 946150 w 1146175"/>
                    <a:gd name="connsiteY46" fmla="*/ 1234066 h 1661098"/>
                    <a:gd name="connsiteX47" fmla="*/ 952500 w 1146175"/>
                    <a:gd name="connsiteY47" fmla="*/ 1243591 h 1661098"/>
                    <a:gd name="connsiteX48" fmla="*/ 965200 w 1146175"/>
                    <a:gd name="connsiteY48" fmla="*/ 1268991 h 1661098"/>
                    <a:gd name="connsiteX49" fmla="*/ 974725 w 1146175"/>
                    <a:gd name="connsiteY49" fmla="*/ 1291216 h 1661098"/>
                    <a:gd name="connsiteX50" fmla="*/ 977900 w 1146175"/>
                    <a:gd name="connsiteY50" fmla="*/ 1303916 h 1661098"/>
                    <a:gd name="connsiteX51" fmla="*/ 981075 w 1146175"/>
                    <a:gd name="connsiteY51" fmla="*/ 1313441 h 1661098"/>
                    <a:gd name="connsiteX52" fmla="*/ 974725 w 1146175"/>
                    <a:gd name="connsiteY52" fmla="*/ 1348366 h 1661098"/>
                    <a:gd name="connsiteX53" fmla="*/ 949325 w 1146175"/>
                    <a:gd name="connsiteY53" fmla="*/ 1380116 h 1661098"/>
                    <a:gd name="connsiteX54" fmla="*/ 939800 w 1146175"/>
                    <a:gd name="connsiteY54" fmla="*/ 1386466 h 1661098"/>
                    <a:gd name="connsiteX55" fmla="*/ 930275 w 1146175"/>
                    <a:gd name="connsiteY55" fmla="*/ 1395991 h 1661098"/>
                    <a:gd name="connsiteX56" fmla="*/ 923925 w 1146175"/>
                    <a:gd name="connsiteY56" fmla="*/ 1405516 h 1661098"/>
                    <a:gd name="connsiteX57" fmla="*/ 908050 w 1146175"/>
                    <a:gd name="connsiteY57" fmla="*/ 1415041 h 1661098"/>
                    <a:gd name="connsiteX58" fmla="*/ 895350 w 1146175"/>
                    <a:gd name="connsiteY58" fmla="*/ 1427741 h 1661098"/>
                    <a:gd name="connsiteX59" fmla="*/ 882650 w 1146175"/>
                    <a:gd name="connsiteY59" fmla="*/ 1437266 h 1661098"/>
                    <a:gd name="connsiteX60" fmla="*/ 873125 w 1146175"/>
                    <a:gd name="connsiteY60" fmla="*/ 1446791 h 1661098"/>
                    <a:gd name="connsiteX61" fmla="*/ 844550 w 1146175"/>
                    <a:gd name="connsiteY61" fmla="*/ 1462666 h 1661098"/>
                    <a:gd name="connsiteX62" fmla="*/ 835025 w 1146175"/>
                    <a:gd name="connsiteY62" fmla="*/ 1465841 h 1661098"/>
                    <a:gd name="connsiteX63" fmla="*/ 815975 w 1146175"/>
                    <a:gd name="connsiteY63" fmla="*/ 1459491 h 1661098"/>
                    <a:gd name="connsiteX64" fmla="*/ 774700 w 1146175"/>
                    <a:gd name="connsiteY64" fmla="*/ 1443616 h 1661098"/>
                    <a:gd name="connsiteX65" fmla="*/ 749300 w 1146175"/>
                    <a:gd name="connsiteY65" fmla="*/ 1437266 h 1661098"/>
                    <a:gd name="connsiteX66" fmla="*/ 717550 w 1146175"/>
                    <a:gd name="connsiteY66" fmla="*/ 1424566 h 1661098"/>
                    <a:gd name="connsiteX67" fmla="*/ 688975 w 1146175"/>
                    <a:gd name="connsiteY67" fmla="*/ 1418216 h 1661098"/>
                    <a:gd name="connsiteX68" fmla="*/ 657225 w 1146175"/>
                    <a:gd name="connsiteY68" fmla="*/ 1408691 h 1661098"/>
                    <a:gd name="connsiteX69" fmla="*/ 635000 w 1146175"/>
                    <a:gd name="connsiteY69" fmla="*/ 1411866 h 1661098"/>
                    <a:gd name="connsiteX70" fmla="*/ 622300 w 1146175"/>
                    <a:gd name="connsiteY70" fmla="*/ 1418216 h 1661098"/>
                    <a:gd name="connsiteX71" fmla="*/ 606425 w 1146175"/>
                    <a:gd name="connsiteY71" fmla="*/ 1427741 h 1661098"/>
                    <a:gd name="connsiteX72" fmla="*/ 577850 w 1146175"/>
                    <a:gd name="connsiteY72" fmla="*/ 1443616 h 1661098"/>
                    <a:gd name="connsiteX73" fmla="*/ 558800 w 1146175"/>
                    <a:gd name="connsiteY73" fmla="*/ 1446791 h 1661098"/>
                    <a:gd name="connsiteX74" fmla="*/ 501650 w 1146175"/>
                    <a:gd name="connsiteY74" fmla="*/ 1453141 h 1661098"/>
                    <a:gd name="connsiteX75" fmla="*/ 492125 w 1146175"/>
                    <a:gd name="connsiteY75" fmla="*/ 1459491 h 1661098"/>
                    <a:gd name="connsiteX76" fmla="*/ 466725 w 1146175"/>
                    <a:gd name="connsiteY76" fmla="*/ 1491241 h 1661098"/>
                    <a:gd name="connsiteX77" fmla="*/ 457200 w 1146175"/>
                    <a:gd name="connsiteY77" fmla="*/ 1510291 h 1661098"/>
                    <a:gd name="connsiteX78" fmla="*/ 454025 w 1146175"/>
                    <a:gd name="connsiteY78" fmla="*/ 1519816 h 1661098"/>
                    <a:gd name="connsiteX79" fmla="*/ 447675 w 1146175"/>
                    <a:gd name="connsiteY79" fmla="*/ 1535691 h 1661098"/>
                    <a:gd name="connsiteX80" fmla="*/ 434975 w 1146175"/>
                    <a:gd name="connsiteY80" fmla="*/ 1561091 h 1661098"/>
                    <a:gd name="connsiteX81" fmla="*/ 431800 w 1146175"/>
                    <a:gd name="connsiteY81" fmla="*/ 1576966 h 1661098"/>
                    <a:gd name="connsiteX82" fmla="*/ 425450 w 1146175"/>
                    <a:gd name="connsiteY82" fmla="*/ 1602366 h 1661098"/>
                    <a:gd name="connsiteX83" fmla="*/ 422275 w 1146175"/>
                    <a:gd name="connsiteY83" fmla="*/ 1611891 h 1661098"/>
                    <a:gd name="connsiteX84" fmla="*/ 412750 w 1146175"/>
                    <a:gd name="connsiteY84" fmla="*/ 1621416 h 1661098"/>
                    <a:gd name="connsiteX85" fmla="*/ 222250 w 1146175"/>
                    <a:gd name="connsiteY85" fmla="*/ 1627766 h 1661098"/>
                    <a:gd name="connsiteX86" fmla="*/ 215900 w 1146175"/>
                    <a:gd name="connsiteY86" fmla="*/ 1611891 h 1661098"/>
                    <a:gd name="connsiteX87" fmla="*/ 206375 w 1146175"/>
                    <a:gd name="connsiteY87" fmla="*/ 1599191 h 1661098"/>
                    <a:gd name="connsiteX88" fmla="*/ 203200 w 1146175"/>
                    <a:gd name="connsiteY88" fmla="*/ 1586491 h 1661098"/>
                    <a:gd name="connsiteX89" fmla="*/ 196850 w 1146175"/>
                    <a:gd name="connsiteY89" fmla="*/ 1573791 h 1661098"/>
                    <a:gd name="connsiteX90" fmla="*/ 193675 w 1146175"/>
                    <a:gd name="connsiteY90" fmla="*/ 1564266 h 1661098"/>
                    <a:gd name="connsiteX91" fmla="*/ 187325 w 1146175"/>
                    <a:gd name="connsiteY91" fmla="*/ 1551566 h 1661098"/>
                    <a:gd name="connsiteX92" fmla="*/ 180975 w 1146175"/>
                    <a:gd name="connsiteY92" fmla="*/ 1535691 h 1661098"/>
                    <a:gd name="connsiteX93" fmla="*/ 161925 w 1146175"/>
                    <a:gd name="connsiteY93" fmla="*/ 1507116 h 1661098"/>
                    <a:gd name="connsiteX94" fmla="*/ 149225 w 1146175"/>
                    <a:gd name="connsiteY94" fmla="*/ 1484891 h 1661098"/>
                    <a:gd name="connsiteX95" fmla="*/ 142875 w 1146175"/>
                    <a:gd name="connsiteY95" fmla="*/ 1469016 h 1661098"/>
                    <a:gd name="connsiteX96" fmla="*/ 130175 w 1146175"/>
                    <a:gd name="connsiteY96" fmla="*/ 1465841 h 1661098"/>
                    <a:gd name="connsiteX97" fmla="*/ 101600 w 1146175"/>
                    <a:gd name="connsiteY97" fmla="*/ 1453141 h 1661098"/>
                    <a:gd name="connsiteX98" fmla="*/ 69850 w 1146175"/>
                    <a:gd name="connsiteY98" fmla="*/ 1443616 h 1661098"/>
                    <a:gd name="connsiteX99" fmla="*/ 41275 w 1146175"/>
                    <a:gd name="connsiteY99" fmla="*/ 1430916 h 1661098"/>
                    <a:gd name="connsiteX100" fmla="*/ 31750 w 1146175"/>
                    <a:gd name="connsiteY100" fmla="*/ 1424566 h 1661098"/>
                    <a:gd name="connsiteX101" fmla="*/ 15875 w 1146175"/>
                    <a:gd name="connsiteY101" fmla="*/ 1418216 h 1661098"/>
                    <a:gd name="connsiteX102" fmla="*/ 0 w 1146175"/>
                    <a:gd name="connsiteY102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1101725 w 1146175"/>
                    <a:gd name="connsiteY30" fmla="*/ 919741 h 1661098"/>
                    <a:gd name="connsiteX31" fmla="*/ 1092200 w 1146175"/>
                    <a:gd name="connsiteY31" fmla="*/ 926091 h 1661098"/>
                    <a:gd name="connsiteX32" fmla="*/ 1038225 w 1146175"/>
                    <a:gd name="connsiteY32" fmla="*/ 957841 h 1661098"/>
                    <a:gd name="connsiteX33" fmla="*/ 996950 w 1146175"/>
                    <a:gd name="connsiteY33" fmla="*/ 983241 h 1661098"/>
                    <a:gd name="connsiteX34" fmla="*/ 977900 w 1146175"/>
                    <a:gd name="connsiteY34" fmla="*/ 989591 h 1661098"/>
                    <a:gd name="connsiteX35" fmla="*/ 968375 w 1146175"/>
                    <a:gd name="connsiteY35" fmla="*/ 1014991 h 1661098"/>
                    <a:gd name="connsiteX36" fmla="*/ 958850 w 1146175"/>
                    <a:gd name="connsiteY36" fmla="*/ 1040391 h 1661098"/>
                    <a:gd name="connsiteX37" fmla="*/ 955675 w 1146175"/>
                    <a:gd name="connsiteY37" fmla="*/ 1065791 h 1661098"/>
                    <a:gd name="connsiteX38" fmla="*/ 949325 w 1146175"/>
                    <a:gd name="connsiteY38" fmla="*/ 1075316 h 1661098"/>
                    <a:gd name="connsiteX39" fmla="*/ 946150 w 1146175"/>
                    <a:gd name="connsiteY39" fmla="*/ 1084841 h 1661098"/>
                    <a:gd name="connsiteX40" fmla="*/ 936625 w 1146175"/>
                    <a:gd name="connsiteY40" fmla="*/ 1100716 h 1661098"/>
                    <a:gd name="connsiteX41" fmla="*/ 923925 w 1146175"/>
                    <a:gd name="connsiteY41" fmla="*/ 1135641 h 1661098"/>
                    <a:gd name="connsiteX42" fmla="*/ 917575 w 1146175"/>
                    <a:gd name="connsiteY42" fmla="*/ 1145166 h 1661098"/>
                    <a:gd name="connsiteX43" fmla="*/ 923925 w 1146175"/>
                    <a:gd name="connsiteY43" fmla="*/ 1199141 h 1661098"/>
                    <a:gd name="connsiteX44" fmla="*/ 939800 w 1146175"/>
                    <a:gd name="connsiteY44" fmla="*/ 1221366 h 1661098"/>
                    <a:gd name="connsiteX45" fmla="*/ 946150 w 1146175"/>
                    <a:gd name="connsiteY45" fmla="*/ 1234066 h 1661098"/>
                    <a:gd name="connsiteX46" fmla="*/ 952500 w 1146175"/>
                    <a:gd name="connsiteY46" fmla="*/ 1243591 h 1661098"/>
                    <a:gd name="connsiteX47" fmla="*/ 965200 w 1146175"/>
                    <a:gd name="connsiteY47" fmla="*/ 1268991 h 1661098"/>
                    <a:gd name="connsiteX48" fmla="*/ 974725 w 1146175"/>
                    <a:gd name="connsiteY48" fmla="*/ 1291216 h 1661098"/>
                    <a:gd name="connsiteX49" fmla="*/ 977900 w 1146175"/>
                    <a:gd name="connsiteY49" fmla="*/ 1303916 h 1661098"/>
                    <a:gd name="connsiteX50" fmla="*/ 981075 w 1146175"/>
                    <a:gd name="connsiteY50" fmla="*/ 1313441 h 1661098"/>
                    <a:gd name="connsiteX51" fmla="*/ 974725 w 1146175"/>
                    <a:gd name="connsiteY51" fmla="*/ 1348366 h 1661098"/>
                    <a:gd name="connsiteX52" fmla="*/ 949325 w 1146175"/>
                    <a:gd name="connsiteY52" fmla="*/ 1380116 h 1661098"/>
                    <a:gd name="connsiteX53" fmla="*/ 939800 w 1146175"/>
                    <a:gd name="connsiteY53" fmla="*/ 1386466 h 1661098"/>
                    <a:gd name="connsiteX54" fmla="*/ 930275 w 1146175"/>
                    <a:gd name="connsiteY54" fmla="*/ 1395991 h 1661098"/>
                    <a:gd name="connsiteX55" fmla="*/ 923925 w 1146175"/>
                    <a:gd name="connsiteY55" fmla="*/ 1405516 h 1661098"/>
                    <a:gd name="connsiteX56" fmla="*/ 908050 w 1146175"/>
                    <a:gd name="connsiteY56" fmla="*/ 1415041 h 1661098"/>
                    <a:gd name="connsiteX57" fmla="*/ 895350 w 1146175"/>
                    <a:gd name="connsiteY57" fmla="*/ 1427741 h 1661098"/>
                    <a:gd name="connsiteX58" fmla="*/ 882650 w 1146175"/>
                    <a:gd name="connsiteY58" fmla="*/ 1437266 h 1661098"/>
                    <a:gd name="connsiteX59" fmla="*/ 873125 w 1146175"/>
                    <a:gd name="connsiteY59" fmla="*/ 1446791 h 1661098"/>
                    <a:gd name="connsiteX60" fmla="*/ 844550 w 1146175"/>
                    <a:gd name="connsiteY60" fmla="*/ 1462666 h 1661098"/>
                    <a:gd name="connsiteX61" fmla="*/ 835025 w 1146175"/>
                    <a:gd name="connsiteY61" fmla="*/ 1465841 h 1661098"/>
                    <a:gd name="connsiteX62" fmla="*/ 815975 w 1146175"/>
                    <a:gd name="connsiteY62" fmla="*/ 1459491 h 1661098"/>
                    <a:gd name="connsiteX63" fmla="*/ 774700 w 1146175"/>
                    <a:gd name="connsiteY63" fmla="*/ 1443616 h 1661098"/>
                    <a:gd name="connsiteX64" fmla="*/ 749300 w 1146175"/>
                    <a:gd name="connsiteY64" fmla="*/ 1437266 h 1661098"/>
                    <a:gd name="connsiteX65" fmla="*/ 717550 w 1146175"/>
                    <a:gd name="connsiteY65" fmla="*/ 1424566 h 1661098"/>
                    <a:gd name="connsiteX66" fmla="*/ 688975 w 1146175"/>
                    <a:gd name="connsiteY66" fmla="*/ 1418216 h 1661098"/>
                    <a:gd name="connsiteX67" fmla="*/ 657225 w 1146175"/>
                    <a:gd name="connsiteY67" fmla="*/ 1408691 h 1661098"/>
                    <a:gd name="connsiteX68" fmla="*/ 635000 w 1146175"/>
                    <a:gd name="connsiteY68" fmla="*/ 1411866 h 1661098"/>
                    <a:gd name="connsiteX69" fmla="*/ 622300 w 1146175"/>
                    <a:gd name="connsiteY69" fmla="*/ 1418216 h 1661098"/>
                    <a:gd name="connsiteX70" fmla="*/ 606425 w 1146175"/>
                    <a:gd name="connsiteY70" fmla="*/ 1427741 h 1661098"/>
                    <a:gd name="connsiteX71" fmla="*/ 577850 w 1146175"/>
                    <a:gd name="connsiteY71" fmla="*/ 1443616 h 1661098"/>
                    <a:gd name="connsiteX72" fmla="*/ 558800 w 1146175"/>
                    <a:gd name="connsiteY72" fmla="*/ 1446791 h 1661098"/>
                    <a:gd name="connsiteX73" fmla="*/ 501650 w 1146175"/>
                    <a:gd name="connsiteY73" fmla="*/ 1453141 h 1661098"/>
                    <a:gd name="connsiteX74" fmla="*/ 492125 w 1146175"/>
                    <a:gd name="connsiteY74" fmla="*/ 1459491 h 1661098"/>
                    <a:gd name="connsiteX75" fmla="*/ 466725 w 1146175"/>
                    <a:gd name="connsiteY75" fmla="*/ 1491241 h 1661098"/>
                    <a:gd name="connsiteX76" fmla="*/ 457200 w 1146175"/>
                    <a:gd name="connsiteY76" fmla="*/ 1510291 h 1661098"/>
                    <a:gd name="connsiteX77" fmla="*/ 454025 w 1146175"/>
                    <a:gd name="connsiteY77" fmla="*/ 1519816 h 1661098"/>
                    <a:gd name="connsiteX78" fmla="*/ 447675 w 1146175"/>
                    <a:gd name="connsiteY78" fmla="*/ 1535691 h 1661098"/>
                    <a:gd name="connsiteX79" fmla="*/ 434975 w 1146175"/>
                    <a:gd name="connsiteY79" fmla="*/ 1561091 h 1661098"/>
                    <a:gd name="connsiteX80" fmla="*/ 431800 w 1146175"/>
                    <a:gd name="connsiteY80" fmla="*/ 1576966 h 1661098"/>
                    <a:gd name="connsiteX81" fmla="*/ 425450 w 1146175"/>
                    <a:gd name="connsiteY81" fmla="*/ 1602366 h 1661098"/>
                    <a:gd name="connsiteX82" fmla="*/ 422275 w 1146175"/>
                    <a:gd name="connsiteY82" fmla="*/ 1611891 h 1661098"/>
                    <a:gd name="connsiteX83" fmla="*/ 412750 w 1146175"/>
                    <a:gd name="connsiteY83" fmla="*/ 1621416 h 1661098"/>
                    <a:gd name="connsiteX84" fmla="*/ 222250 w 1146175"/>
                    <a:gd name="connsiteY84" fmla="*/ 1627766 h 1661098"/>
                    <a:gd name="connsiteX85" fmla="*/ 215900 w 1146175"/>
                    <a:gd name="connsiteY85" fmla="*/ 1611891 h 1661098"/>
                    <a:gd name="connsiteX86" fmla="*/ 206375 w 1146175"/>
                    <a:gd name="connsiteY86" fmla="*/ 1599191 h 1661098"/>
                    <a:gd name="connsiteX87" fmla="*/ 203200 w 1146175"/>
                    <a:gd name="connsiteY87" fmla="*/ 1586491 h 1661098"/>
                    <a:gd name="connsiteX88" fmla="*/ 196850 w 1146175"/>
                    <a:gd name="connsiteY88" fmla="*/ 1573791 h 1661098"/>
                    <a:gd name="connsiteX89" fmla="*/ 193675 w 1146175"/>
                    <a:gd name="connsiteY89" fmla="*/ 1564266 h 1661098"/>
                    <a:gd name="connsiteX90" fmla="*/ 187325 w 1146175"/>
                    <a:gd name="connsiteY90" fmla="*/ 1551566 h 1661098"/>
                    <a:gd name="connsiteX91" fmla="*/ 180975 w 1146175"/>
                    <a:gd name="connsiteY91" fmla="*/ 1535691 h 1661098"/>
                    <a:gd name="connsiteX92" fmla="*/ 161925 w 1146175"/>
                    <a:gd name="connsiteY92" fmla="*/ 1507116 h 1661098"/>
                    <a:gd name="connsiteX93" fmla="*/ 149225 w 1146175"/>
                    <a:gd name="connsiteY93" fmla="*/ 1484891 h 1661098"/>
                    <a:gd name="connsiteX94" fmla="*/ 142875 w 1146175"/>
                    <a:gd name="connsiteY94" fmla="*/ 1469016 h 1661098"/>
                    <a:gd name="connsiteX95" fmla="*/ 130175 w 1146175"/>
                    <a:gd name="connsiteY95" fmla="*/ 1465841 h 1661098"/>
                    <a:gd name="connsiteX96" fmla="*/ 101600 w 1146175"/>
                    <a:gd name="connsiteY96" fmla="*/ 1453141 h 1661098"/>
                    <a:gd name="connsiteX97" fmla="*/ 69850 w 1146175"/>
                    <a:gd name="connsiteY97" fmla="*/ 1443616 h 1661098"/>
                    <a:gd name="connsiteX98" fmla="*/ 41275 w 1146175"/>
                    <a:gd name="connsiteY98" fmla="*/ 1430916 h 1661098"/>
                    <a:gd name="connsiteX99" fmla="*/ 31750 w 1146175"/>
                    <a:gd name="connsiteY99" fmla="*/ 1424566 h 1661098"/>
                    <a:gd name="connsiteX100" fmla="*/ 15875 w 1146175"/>
                    <a:gd name="connsiteY100" fmla="*/ 1418216 h 1661098"/>
                    <a:gd name="connsiteX101" fmla="*/ 0 w 1146175"/>
                    <a:gd name="connsiteY101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1101725 w 1146175"/>
                    <a:gd name="connsiteY30" fmla="*/ 919741 h 1661098"/>
                    <a:gd name="connsiteX31" fmla="*/ 1038225 w 1146175"/>
                    <a:gd name="connsiteY31" fmla="*/ 957841 h 1661098"/>
                    <a:gd name="connsiteX32" fmla="*/ 996950 w 1146175"/>
                    <a:gd name="connsiteY32" fmla="*/ 983241 h 1661098"/>
                    <a:gd name="connsiteX33" fmla="*/ 977900 w 1146175"/>
                    <a:gd name="connsiteY33" fmla="*/ 989591 h 1661098"/>
                    <a:gd name="connsiteX34" fmla="*/ 968375 w 1146175"/>
                    <a:gd name="connsiteY34" fmla="*/ 1014991 h 1661098"/>
                    <a:gd name="connsiteX35" fmla="*/ 958850 w 1146175"/>
                    <a:gd name="connsiteY35" fmla="*/ 1040391 h 1661098"/>
                    <a:gd name="connsiteX36" fmla="*/ 955675 w 1146175"/>
                    <a:gd name="connsiteY36" fmla="*/ 1065791 h 1661098"/>
                    <a:gd name="connsiteX37" fmla="*/ 949325 w 1146175"/>
                    <a:gd name="connsiteY37" fmla="*/ 1075316 h 1661098"/>
                    <a:gd name="connsiteX38" fmla="*/ 946150 w 1146175"/>
                    <a:gd name="connsiteY38" fmla="*/ 1084841 h 1661098"/>
                    <a:gd name="connsiteX39" fmla="*/ 936625 w 1146175"/>
                    <a:gd name="connsiteY39" fmla="*/ 1100716 h 1661098"/>
                    <a:gd name="connsiteX40" fmla="*/ 923925 w 1146175"/>
                    <a:gd name="connsiteY40" fmla="*/ 1135641 h 1661098"/>
                    <a:gd name="connsiteX41" fmla="*/ 917575 w 1146175"/>
                    <a:gd name="connsiteY41" fmla="*/ 1145166 h 1661098"/>
                    <a:gd name="connsiteX42" fmla="*/ 923925 w 1146175"/>
                    <a:gd name="connsiteY42" fmla="*/ 1199141 h 1661098"/>
                    <a:gd name="connsiteX43" fmla="*/ 939800 w 1146175"/>
                    <a:gd name="connsiteY43" fmla="*/ 1221366 h 1661098"/>
                    <a:gd name="connsiteX44" fmla="*/ 946150 w 1146175"/>
                    <a:gd name="connsiteY44" fmla="*/ 1234066 h 1661098"/>
                    <a:gd name="connsiteX45" fmla="*/ 952500 w 1146175"/>
                    <a:gd name="connsiteY45" fmla="*/ 1243591 h 1661098"/>
                    <a:gd name="connsiteX46" fmla="*/ 965200 w 1146175"/>
                    <a:gd name="connsiteY46" fmla="*/ 1268991 h 1661098"/>
                    <a:gd name="connsiteX47" fmla="*/ 974725 w 1146175"/>
                    <a:gd name="connsiteY47" fmla="*/ 1291216 h 1661098"/>
                    <a:gd name="connsiteX48" fmla="*/ 977900 w 1146175"/>
                    <a:gd name="connsiteY48" fmla="*/ 1303916 h 1661098"/>
                    <a:gd name="connsiteX49" fmla="*/ 981075 w 1146175"/>
                    <a:gd name="connsiteY49" fmla="*/ 1313441 h 1661098"/>
                    <a:gd name="connsiteX50" fmla="*/ 974725 w 1146175"/>
                    <a:gd name="connsiteY50" fmla="*/ 1348366 h 1661098"/>
                    <a:gd name="connsiteX51" fmla="*/ 949325 w 1146175"/>
                    <a:gd name="connsiteY51" fmla="*/ 1380116 h 1661098"/>
                    <a:gd name="connsiteX52" fmla="*/ 939800 w 1146175"/>
                    <a:gd name="connsiteY52" fmla="*/ 1386466 h 1661098"/>
                    <a:gd name="connsiteX53" fmla="*/ 930275 w 1146175"/>
                    <a:gd name="connsiteY53" fmla="*/ 1395991 h 1661098"/>
                    <a:gd name="connsiteX54" fmla="*/ 923925 w 1146175"/>
                    <a:gd name="connsiteY54" fmla="*/ 1405516 h 1661098"/>
                    <a:gd name="connsiteX55" fmla="*/ 908050 w 1146175"/>
                    <a:gd name="connsiteY55" fmla="*/ 1415041 h 1661098"/>
                    <a:gd name="connsiteX56" fmla="*/ 895350 w 1146175"/>
                    <a:gd name="connsiteY56" fmla="*/ 1427741 h 1661098"/>
                    <a:gd name="connsiteX57" fmla="*/ 882650 w 1146175"/>
                    <a:gd name="connsiteY57" fmla="*/ 1437266 h 1661098"/>
                    <a:gd name="connsiteX58" fmla="*/ 873125 w 1146175"/>
                    <a:gd name="connsiteY58" fmla="*/ 1446791 h 1661098"/>
                    <a:gd name="connsiteX59" fmla="*/ 844550 w 1146175"/>
                    <a:gd name="connsiteY59" fmla="*/ 1462666 h 1661098"/>
                    <a:gd name="connsiteX60" fmla="*/ 835025 w 1146175"/>
                    <a:gd name="connsiteY60" fmla="*/ 1465841 h 1661098"/>
                    <a:gd name="connsiteX61" fmla="*/ 815975 w 1146175"/>
                    <a:gd name="connsiteY61" fmla="*/ 1459491 h 1661098"/>
                    <a:gd name="connsiteX62" fmla="*/ 774700 w 1146175"/>
                    <a:gd name="connsiteY62" fmla="*/ 1443616 h 1661098"/>
                    <a:gd name="connsiteX63" fmla="*/ 749300 w 1146175"/>
                    <a:gd name="connsiteY63" fmla="*/ 1437266 h 1661098"/>
                    <a:gd name="connsiteX64" fmla="*/ 717550 w 1146175"/>
                    <a:gd name="connsiteY64" fmla="*/ 1424566 h 1661098"/>
                    <a:gd name="connsiteX65" fmla="*/ 688975 w 1146175"/>
                    <a:gd name="connsiteY65" fmla="*/ 1418216 h 1661098"/>
                    <a:gd name="connsiteX66" fmla="*/ 657225 w 1146175"/>
                    <a:gd name="connsiteY66" fmla="*/ 1408691 h 1661098"/>
                    <a:gd name="connsiteX67" fmla="*/ 635000 w 1146175"/>
                    <a:gd name="connsiteY67" fmla="*/ 1411866 h 1661098"/>
                    <a:gd name="connsiteX68" fmla="*/ 622300 w 1146175"/>
                    <a:gd name="connsiteY68" fmla="*/ 1418216 h 1661098"/>
                    <a:gd name="connsiteX69" fmla="*/ 606425 w 1146175"/>
                    <a:gd name="connsiteY69" fmla="*/ 1427741 h 1661098"/>
                    <a:gd name="connsiteX70" fmla="*/ 577850 w 1146175"/>
                    <a:gd name="connsiteY70" fmla="*/ 1443616 h 1661098"/>
                    <a:gd name="connsiteX71" fmla="*/ 558800 w 1146175"/>
                    <a:gd name="connsiteY71" fmla="*/ 1446791 h 1661098"/>
                    <a:gd name="connsiteX72" fmla="*/ 501650 w 1146175"/>
                    <a:gd name="connsiteY72" fmla="*/ 1453141 h 1661098"/>
                    <a:gd name="connsiteX73" fmla="*/ 492125 w 1146175"/>
                    <a:gd name="connsiteY73" fmla="*/ 1459491 h 1661098"/>
                    <a:gd name="connsiteX74" fmla="*/ 466725 w 1146175"/>
                    <a:gd name="connsiteY74" fmla="*/ 1491241 h 1661098"/>
                    <a:gd name="connsiteX75" fmla="*/ 457200 w 1146175"/>
                    <a:gd name="connsiteY75" fmla="*/ 1510291 h 1661098"/>
                    <a:gd name="connsiteX76" fmla="*/ 454025 w 1146175"/>
                    <a:gd name="connsiteY76" fmla="*/ 1519816 h 1661098"/>
                    <a:gd name="connsiteX77" fmla="*/ 447675 w 1146175"/>
                    <a:gd name="connsiteY77" fmla="*/ 1535691 h 1661098"/>
                    <a:gd name="connsiteX78" fmla="*/ 434975 w 1146175"/>
                    <a:gd name="connsiteY78" fmla="*/ 1561091 h 1661098"/>
                    <a:gd name="connsiteX79" fmla="*/ 431800 w 1146175"/>
                    <a:gd name="connsiteY79" fmla="*/ 1576966 h 1661098"/>
                    <a:gd name="connsiteX80" fmla="*/ 425450 w 1146175"/>
                    <a:gd name="connsiteY80" fmla="*/ 1602366 h 1661098"/>
                    <a:gd name="connsiteX81" fmla="*/ 422275 w 1146175"/>
                    <a:gd name="connsiteY81" fmla="*/ 1611891 h 1661098"/>
                    <a:gd name="connsiteX82" fmla="*/ 412750 w 1146175"/>
                    <a:gd name="connsiteY82" fmla="*/ 1621416 h 1661098"/>
                    <a:gd name="connsiteX83" fmla="*/ 222250 w 1146175"/>
                    <a:gd name="connsiteY83" fmla="*/ 1627766 h 1661098"/>
                    <a:gd name="connsiteX84" fmla="*/ 215900 w 1146175"/>
                    <a:gd name="connsiteY84" fmla="*/ 1611891 h 1661098"/>
                    <a:gd name="connsiteX85" fmla="*/ 206375 w 1146175"/>
                    <a:gd name="connsiteY85" fmla="*/ 1599191 h 1661098"/>
                    <a:gd name="connsiteX86" fmla="*/ 203200 w 1146175"/>
                    <a:gd name="connsiteY86" fmla="*/ 1586491 h 1661098"/>
                    <a:gd name="connsiteX87" fmla="*/ 196850 w 1146175"/>
                    <a:gd name="connsiteY87" fmla="*/ 1573791 h 1661098"/>
                    <a:gd name="connsiteX88" fmla="*/ 193675 w 1146175"/>
                    <a:gd name="connsiteY88" fmla="*/ 1564266 h 1661098"/>
                    <a:gd name="connsiteX89" fmla="*/ 187325 w 1146175"/>
                    <a:gd name="connsiteY89" fmla="*/ 1551566 h 1661098"/>
                    <a:gd name="connsiteX90" fmla="*/ 180975 w 1146175"/>
                    <a:gd name="connsiteY90" fmla="*/ 1535691 h 1661098"/>
                    <a:gd name="connsiteX91" fmla="*/ 161925 w 1146175"/>
                    <a:gd name="connsiteY91" fmla="*/ 1507116 h 1661098"/>
                    <a:gd name="connsiteX92" fmla="*/ 149225 w 1146175"/>
                    <a:gd name="connsiteY92" fmla="*/ 1484891 h 1661098"/>
                    <a:gd name="connsiteX93" fmla="*/ 142875 w 1146175"/>
                    <a:gd name="connsiteY93" fmla="*/ 1469016 h 1661098"/>
                    <a:gd name="connsiteX94" fmla="*/ 130175 w 1146175"/>
                    <a:gd name="connsiteY94" fmla="*/ 1465841 h 1661098"/>
                    <a:gd name="connsiteX95" fmla="*/ 101600 w 1146175"/>
                    <a:gd name="connsiteY95" fmla="*/ 1453141 h 1661098"/>
                    <a:gd name="connsiteX96" fmla="*/ 69850 w 1146175"/>
                    <a:gd name="connsiteY96" fmla="*/ 1443616 h 1661098"/>
                    <a:gd name="connsiteX97" fmla="*/ 41275 w 1146175"/>
                    <a:gd name="connsiteY97" fmla="*/ 1430916 h 1661098"/>
                    <a:gd name="connsiteX98" fmla="*/ 31750 w 1146175"/>
                    <a:gd name="connsiteY98" fmla="*/ 1424566 h 1661098"/>
                    <a:gd name="connsiteX99" fmla="*/ 15875 w 1146175"/>
                    <a:gd name="connsiteY99" fmla="*/ 1418216 h 1661098"/>
                    <a:gd name="connsiteX100" fmla="*/ 0 w 1146175"/>
                    <a:gd name="connsiteY100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1038225 w 1146175"/>
                    <a:gd name="connsiteY30" fmla="*/ 957841 h 1661098"/>
                    <a:gd name="connsiteX31" fmla="*/ 996950 w 1146175"/>
                    <a:gd name="connsiteY31" fmla="*/ 983241 h 1661098"/>
                    <a:gd name="connsiteX32" fmla="*/ 977900 w 1146175"/>
                    <a:gd name="connsiteY32" fmla="*/ 989591 h 1661098"/>
                    <a:gd name="connsiteX33" fmla="*/ 968375 w 1146175"/>
                    <a:gd name="connsiteY33" fmla="*/ 1014991 h 1661098"/>
                    <a:gd name="connsiteX34" fmla="*/ 958850 w 1146175"/>
                    <a:gd name="connsiteY34" fmla="*/ 1040391 h 1661098"/>
                    <a:gd name="connsiteX35" fmla="*/ 955675 w 1146175"/>
                    <a:gd name="connsiteY35" fmla="*/ 1065791 h 1661098"/>
                    <a:gd name="connsiteX36" fmla="*/ 949325 w 1146175"/>
                    <a:gd name="connsiteY36" fmla="*/ 1075316 h 1661098"/>
                    <a:gd name="connsiteX37" fmla="*/ 946150 w 1146175"/>
                    <a:gd name="connsiteY37" fmla="*/ 1084841 h 1661098"/>
                    <a:gd name="connsiteX38" fmla="*/ 936625 w 1146175"/>
                    <a:gd name="connsiteY38" fmla="*/ 1100716 h 1661098"/>
                    <a:gd name="connsiteX39" fmla="*/ 923925 w 1146175"/>
                    <a:gd name="connsiteY39" fmla="*/ 1135641 h 1661098"/>
                    <a:gd name="connsiteX40" fmla="*/ 917575 w 1146175"/>
                    <a:gd name="connsiteY40" fmla="*/ 1145166 h 1661098"/>
                    <a:gd name="connsiteX41" fmla="*/ 923925 w 1146175"/>
                    <a:gd name="connsiteY41" fmla="*/ 1199141 h 1661098"/>
                    <a:gd name="connsiteX42" fmla="*/ 939800 w 1146175"/>
                    <a:gd name="connsiteY42" fmla="*/ 1221366 h 1661098"/>
                    <a:gd name="connsiteX43" fmla="*/ 946150 w 1146175"/>
                    <a:gd name="connsiteY43" fmla="*/ 1234066 h 1661098"/>
                    <a:gd name="connsiteX44" fmla="*/ 952500 w 1146175"/>
                    <a:gd name="connsiteY44" fmla="*/ 1243591 h 1661098"/>
                    <a:gd name="connsiteX45" fmla="*/ 965200 w 1146175"/>
                    <a:gd name="connsiteY45" fmla="*/ 1268991 h 1661098"/>
                    <a:gd name="connsiteX46" fmla="*/ 974725 w 1146175"/>
                    <a:gd name="connsiteY46" fmla="*/ 1291216 h 1661098"/>
                    <a:gd name="connsiteX47" fmla="*/ 977900 w 1146175"/>
                    <a:gd name="connsiteY47" fmla="*/ 1303916 h 1661098"/>
                    <a:gd name="connsiteX48" fmla="*/ 981075 w 1146175"/>
                    <a:gd name="connsiteY48" fmla="*/ 1313441 h 1661098"/>
                    <a:gd name="connsiteX49" fmla="*/ 974725 w 1146175"/>
                    <a:gd name="connsiteY49" fmla="*/ 1348366 h 1661098"/>
                    <a:gd name="connsiteX50" fmla="*/ 949325 w 1146175"/>
                    <a:gd name="connsiteY50" fmla="*/ 1380116 h 1661098"/>
                    <a:gd name="connsiteX51" fmla="*/ 939800 w 1146175"/>
                    <a:gd name="connsiteY51" fmla="*/ 1386466 h 1661098"/>
                    <a:gd name="connsiteX52" fmla="*/ 930275 w 1146175"/>
                    <a:gd name="connsiteY52" fmla="*/ 1395991 h 1661098"/>
                    <a:gd name="connsiteX53" fmla="*/ 923925 w 1146175"/>
                    <a:gd name="connsiteY53" fmla="*/ 1405516 h 1661098"/>
                    <a:gd name="connsiteX54" fmla="*/ 908050 w 1146175"/>
                    <a:gd name="connsiteY54" fmla="*/ 1415041 h 1661098"/>
                    <a:gd name="connsiteX55" fmla="*/ 895350 w 1146175"/>
                    <a:gd name="connsiteY55" fmla="*/ 1427741 h 1661098"/>
                    <a:gd name="connsiteX56" fmla="*/ 882650 w 1146175"/>
                    <a:gd name="connsiteY56" fmla="*/ 1437266 h 1661098"/>
                    <a:gd name="connsiteX57" fmla="*/ 873125 w 1146175"/>
                    <a:gd name="connsiteY57" fmla="*/ 1446791 h 1661098"/>
                    <a:gd name="connsiteX58" fmla="*/ 844550 w 1146175"/>
                    <a:gd name="connsiteY58" fmla="*/ 1462666 h 1661098"/>
                    <a:gd name="connsiteX59" fmla="*/ 835025 w 1146175"/>
                    <a:gd name="connsiteY59" fmla="*/ 1465841 h 1661098"/>
                    <a:gd name="connsiteX60" fmla="*/ 815975 w 1146175"/>
                    <a:gd name="connsiteY60" fmla="*/ 1459491 h 1661098"/>
                    <a:gd name="connsiteX61" fmla="*/ 774700 w 1146175"/>
                    <a:gd name="connsiteY61" fmla="*/ 1443616 h 1661098"/>
                    <a:gd name="connsiteX62" fmla="*/ 749300 w 1146175"/>
                    <a:gd name="connsiteY62" fmla="*/ 1437266 h 1661098"/>
                    <a:gd name="connsiteX63" fmla="*/ 717550 w 1146175"/>
                    <a:gd name="connsiteY63" fmla="*/ 1424566 h 1661098"/>
                    <a:gd name="connsiteX64" fmla="*/ 688975 w 1146175"/>
                    <a:gd name="connsiteY64" fmla="*/ 1418216 h 1661098"/>
                    <a:gd name="connsiteX65" fmla="*/ 657225 w 1146175"/>
                    <a:gd name="connsiteY65" fmla="*/ 1408691 h 1661098"/>
                    <a:gd name="connsiteX66" fmla="*/ 635000 w 1146175"/>
                    <a:gd name="connsiteY66" fmla="*/ 1411866 h 1661098"/>
                    <a:gd name="connsiteX67" fmla="*/ 622300 w 1146175"/>
                    <a:gd name="connsiteY67" fmla="*/ 1418216 h 1661098"/>
                    <a:gd name="connsiteX68" fmla="*/ 606425 w 1146175"/>
                    <a:gd name="connsiteY68" fmla="*/ 1427741 h 1661098"/>
                    <a:gd name="connsiteX69" fmla="*/ 577850 w 1146175"/>
                    <a:gd name="connsiteY69" fmla="*/ 1443616 h 1661098"/>
                    <a:gd name="connsiteX70" fmla="*/ 558800 w 1146175"/>
                    <a:gd name="connsiteY70" fmla="*/ 1446791 h 1661098"/>
                    <a:gd name="connsiteX71" fmla="*/ 501650 w 1146175"/>
                    <a:gd name="connsiteY71" fmla="*/ 1453141 h 1661098"/>
                    <a:gd name="connsiteX72" fmla="*/ 492125 w 1146175"/>
                    <a:gd name="connsiteY72" fmla="*/ 1459491 h 1661098"/>
                    <a:gd name="connsiteX73" fmla="*/ 466725 w 1146175"/>
                    <a:gd name="connsiteY73" fmla="*/ 1491241 h 1661098"/>
                    <a:gd name="connsiteX74" fmla="*/ 457200 w 1146175"/>
                    <a:gd name="connsiteY74" fmla="*/ 1510291 h 1661098"/>
                    <a:gd name="connsiteX75" fmla="*/ 454025 w 1146175"/>
                    <a:gd name="connsiteY75" fmla="*/ 1519816 h 1661098"/>
                    <a:gd name="connsiteX76" fmla="*/ 447675 w 1146175"/>
                    <a:gd name="connsiteY76" fmla="*/ 1535691 h 1661098"/>
                    <a:gd name="connsiteX77" fmla="*/ 434975 w 1146175"/>
                    <a:gd name="connsiteY77" fmla="*/ 1561091 h 1661098"/>
                    <a:gd name="connsiteX78" fmla="*/ 431800 w 1146175"/>
                    <a:gd name="connsiteY78" fmla="*/ 1576966 h 1661098"/>
                    <a:gd name="connsiteX79" fmla="*/ 425450 w 1146175"/>
                    <a:gd name="connsiteY79" fmla="*/ 1602366 h 1661098"/>
                    <a:gd name="connsiteX80" fmla="*/ 422275 w 1146175"/>
                    <a:gd name="connsiteY80" fmla="*/ 1611891 h 1661098"/>
                    <a:gd name="connsiteX81" fmla="*/ 412750 w 1146175"/>
                    <a:gd name="connsiteY81" fmla="*/ 1621416 h 1661098"/>
                    <a:gd name="connsiteX82" fmla="*/ 222250 w 1146175"/>
                    <a:gd name="connsiteY82" fmla="*/ 1627766 h 1661098"/>
                    <a:gd name="connsiteX83" fmla="*/ 215900 w 1146175"/>
                    <a:gd name="connsiteY83" fmla="*/ 1611891 h 1661098"/>
                    <a:gd name="connsiteX84" fmla="*/ 206375 w 1146175"/>
                    <a:gd name="connsiteY84" fmla="*/ 1599191 h 1661098"/>
                    <a:gd name="connsiteX85" fmla="*/ 203200 w 1146175"/>
                    <a:gd name="connsiteY85" fmla="*/ 1586491 h 1661098"/>
                    <a:gd name="connsiteX86" fmla="*/ 196850 w 1146175"/>
                    <a:gd name="connsiteY86" fmla="*/ 1573791 h 1661098"/>
                    <a:gd name="connsiteX87" fmla="*/ 193675 w 1146175"/>
                    <a:gd name="connsiteY87" fmla="*/ 1564266 h 1661098"/>
                    <a:gd name="connsiteX88" fmla="*/ 187325 w 1146175"/>
                    <a:gd name="connsiteY88" fmla="*/ 1551566 h 1661098"/>
                    <a:gd name="connsiteX89" fmla="*/ 180975 w 1146175"/>
                    <a:gd name="connsiteY89" fmla="*/ 1535691 h 1661098"/>
                    <a:gd name="connsiteX90" fmla="*/ 161925 w 1146175"/>
                    <a:gd name="connsiteY90" fmla="*/ 1507116 h 1661098"/>
                    <a:gd name="connsiteX91" fmla="*/ 149225 w 1146175"/>
                    <a:gd name="connsiteY91" fmla="*/ 1484891 h 1661098"/>
                    <a:gd name="connsiteX92" fmla="*/ 142875 w 1146175"/>
                    <a:gd name="connsiteY92" fmla="*/ 1469016 h 1661098"/>
                    <a:gd name="connsiteX93" fmla="*/ 130175 w 1146175"/>
                    <a:gd name="connsiteY93" fmla="*/ 1465841 h 1661098"/>
                    <a:gd name="connsiteX94" fmla="*/ 101600 w 1146175"/>
                    <a:gd name="connsiteY94" fmla="*/ 1453141 h 1661098"/>
                    <a:gd name="connsiteX95" fmla="*/ 69850 w 1146175"/>
                    <a:gd name="connsiteY95" fmla="*/ 1443616 h 1661098"/>
                    <a:gd name="connsiteX96" fmla="*/ 41275 w 1146175"/>
                    <a:gd name="connsiteY96" fmla="*/ 1430916 h 1661098"/>
                    <a:gd name="connsiteX97" fmla="*/ 31750 w 1146175"/>
                    <a:gd name="connsiteY97" fmla="*/ 1424566 h 1661098"/>
                    <a:gd name="connsiteX98" fmla="*/ 15875 w 1146175"/>
                    <a:gd name="connsiteY98" fmla="*/ 1418216 h 1661098"/>
                    <a:gd name="connsiteX99" fmla="*/ 0 w 1146175"/>
                    <a:gd name="connsiteY99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8850 w 1146175"/>
                    <a:gd name="connsiteY33" fmla="*/ 1040391 h 1661098"/>
                    <a:gd name="connsiteX34" fmla="*/ 955675 w 1146175"/>
                    <a:gd name="connsiteY34" fmla="*/ 1065791 h 1661098"/>
                    <a:gd name="connsiteX35" fmla="*/ 949325 w 1146175"/>
                    <a:gd name="connsiteY35" fmla="*/ 1075316 h 1661098"/>
                    <a:gd name="connsiteX36" fmla="*/ 946150 w 1146175"/>
                    <a:gd name="connsiteY36" fmla="*/ 1084841 h 1661098"/>
                    <a:gd name="connsiteX37" fmla="*/ 936625 w 1146175"/>
                    <a:gd name="connsiteY37" fmla="*/ 1100716 h 1661098"/>
                    <a:gd name="connsiteX38" fmla="*/ 923925 w 1146175"/>
                    <a:gd name="connsiteY38" fmla="*/ 1135641 h 1661098"/>
                    <a:gd name="connsiteX39" fmla="*/ 917575 w 1146175"/>
                    <a:gd name="connsiteY39" fmla="*/ 1145166 h 1661098"/>
                    <a:gd name="connsiteX40" fmla="*/ 923925 w 1146175"/>
                    <a:gd name="connsiteY40" fmla="*/ 1199141 h 1661098"/>
                    <a:gd name="connsiteX41" fmla="*/ 939800 w 1146175"/>
                    <a:gd name="connsiteY41" fmla="*/ 1221366 h 1661098"/>
                    <a:gd name="connsiteX42" fmla="*/ 946150 w 1146175"/>
                    <a:gd name="connsiteY42" fmla="*/ 1234066 h 1661098"/>
                    <a:gd name="connsiteX43" fmla="*/ 952500 w 1146175"/>
                    <a:gd name="connsiteY43" fmla="*/ 1243591 h 1661098"/>
                    <a:gd name="connsiteX44" fmla="*/ 965200 w 1146175"/>
                    <a:gd name="connsiteY44" fmla="*/ 1268991 h 1661098"/>
                    <a:gd name="connsiteX45" fmla="*/ 974725 w 1146175"/>
                    <a:gd name="connsiteY45" fmla="*/ 1291216 h 1661098"/>
                    <a:gd name="connsiteX46" fmla="*/ 977900 w 1146175"/>
                    <a:gd name="connsiteY46" fmla="*/ 1303916 h 1661098"/>
                    <a:gd name="connsiteX47" fmla="*/ 981075 w 1146175"/>
                    <a:gd name="connsiteY47" fmla="*/ 1313441 h 1661098"/>
                    <a:gd name="connsiteX48" fmla="*/ 974725 w 1146175"/>
                    <a:gd name="connsiteY48" fmla="*/ 1348366 h 1661098"/>
                    <a:gd name="connsiteX49" fmla="*/ 949325 w 1146175"/>
                    <a:gd name="connsiteY49" fmla="*/ 1380116 h 1661098"/>
                    <a:gd name="connsiteX50" fmla="*/ 939800 w 1146175"/>
                    <a:gd name="connsiteY50" fmla="*/ 1386466 h 1661098"/>
                    <a:gd name="connsiteX51" fmla="*/ 930275 w 1146175"/>
                    <a:gd name="connsiteY51" fmla="*/ 1395991 h 1661098"/>
                    <a:gd name="connsiteX52" fmla="*/ 923925 w 1146175"/>
                    <a:gd name="connsiteY52" fmla="*/ 1405516 h 1661098"/>
                    <a:gd name="connsiteX53" fmla="*/ 908050 w 1146175"/>
                    <a:gd name="connsiteY53" fmla="*/ 1415041 h 1661098"/>
                    <a:gd name="connsiteX54" fmla="*/ 895350 w 1146175"/>
                    <a:gd name="connsiteY54" fmla="*/ 1427741 h 1661098"/>
                    <a:gd name="connsiteX55" fmla="*/ 882650 w 1146175"/>
                    <a:gd name="connsiteY55" fmla="*/ 1437266 h 1661098"/>
                    <a:gd name="connsiteX56" fmla="*/ 873125 w 1146175"/>
                    <a:gd name="connsiteY56" fmla="*/ 1446791 h 1661098"/>
                    <a:gd name="connsiteX57" fmla="*/ 844550 w 1146175"/>
                    <a:gd name="connsiteY57" fmla="*/ 1462666 h 1661098"/>
                    <a:gd name="connsiteX58" fmla="*/ 835025 w 1146175"/>
                    <a:gd name="connsiteY58" fmla="*/ 1465841 h 1661098"/>
                    <a:gd name="connsiteX59" fmla="*/ 815975 w 1146175"/>
                    <a:gd name="connsiteY59" fmla="*/ 1459491 h 1661098"/>
                    <a:gd name="connsiteX60" fmla="*/ 774700 w 1146175"/>
                    <a:gd name="connsiteY60" fmla="*/ 1443616 h 1661098"/>
                    <a:gd name="connsiteX61" fmla="*/ 749300 w 1146175"/>
                    <a:gd name="connsiteY61" fmla="*/ 1437266 h 1661098"/>
                    <a:gd name="connsiteX62" fmla="*/ 717550 w 1146175"/>
                    <a:gd name="connsiteY62" fmla="*/ 1424566 h 1661098"/>
                    <a:gd name="connsiteX63" fmla="*/ 688975 w 1146175"/>
                    <a:gd name="connsiteY63" fmla="*/ 1418216 h 1661098"/>
                    <a:gd name="connsiteX64" fmla="*/ 657225 w 1146175"/>
                    <a:gd name="connsiteY64" fmla="*/ 1408691 h 1661098"/>
                    <a:gd name="connsiteX65" fmla="*/ 635000 w 1146175"/>
                    <a:gd name="connsiteY65" fmla="*/ 1411866 h 1661098"/>
                    <a:gd name="connsiteX66" fmla="*/ 622300 w 1146175"/>
                    <a:gd name="connsiteY66" fmla="*/ 1418216 h 1661098"/>
                    <a:gd name="connsiteX67" fmla="*/ 606425 w 1146175"/>
                    <a:gd name="connsiteY67" fmla="*/ 1427741 h 1661098"/>
                    <a:gd name="connsiteX68" fmla="*/ 577850 w 1146175"/>
                    <a:gd name="connsiteY68" fmla="*/ 1443616 h 1661098"/>
                    <a:gd name="connsiteX69" fmla="*/ 558800 w 1146175"/>
                    <a:gd name="connsiteY69" fmla="*/ 1446791 h 1661098"/>
                    <a:gd name="connsiteX70" fmla="*/ 501650 w 1146175"/>
                    <a:gd name="connsiteY70" fmla="*/ 1453141 h 1661098"/>
                    <a:gd name="connsiteX71" fmla="*/ 492125 w 1146175"/>
                    <a:gd name="connsiteY71" fmla="*/ 1459491 h 1661098"/>
                    <a:gd name="connsiteX72" fmla="*/ 466725 w 1146175"/>
                    <a:gd name="connsiteY72" fmla="*/ 1491241 h 1661098"/>
                    <a:gd name="connsiteX73" fmla="*/ 457200 w 1146175"/>
                    <a:gd name="connsiteY73" fmla="*/ 1510291 h 1661098"/>
                    <a:gd name="connsiteX74" fmla="*/ 454025 w 1146175"/>
                    <a:gd name="connsiteY74" fmla="*/ 1519816 h 1661098"/>
                    <a:gd name="connsiteX75" fmla="*/ 447675 w 1146175"/>
                    <a:gd name="connsiteY75" fmla="*/ 1535691 h 1661098"/>
                    <a:gd name="connsiteX76" fmla="*/ 434975 w 1146175"/>
                    <a:gd name="connsiteY76" fmla="*/ 1561091 h 1661098"/>
                    <a:gd name="connsiteX77" fmla="*/ 431800 w 1146175"/>
                    <a:gd name="connsiteY77" fmla="*/ 1576966 h 1661098"/>
                    <a:gd name="connsiteX78" fmla="*/ 425450 w 1146175"/>
                    <a:gd name="connsiteY78" fmla="*/ 1602366 h 1661098"/>
                    <a:gd name="connsiteX79" fmla="*/ 422275 w 1146175"/>
                    <a:gd name="connsiteY79" fmla="*/ 1611891 h 1661098"/>
                    <a:gd name="connsiteX80" fmla="*/ 412750 w 1146175"/>
                    <a:gd name="connsiteY80" fmla="*/ 1621416 h 1661098"/>
                    <a:gd name="connsiteX81" fmla="*/ 222250 w 1146175"/>
                    <a:gd name="connsiteY81" fmla="*/ 1627766 h 1661098"/>
                    <a:gd name="connsiteX82" fmla="*/ 215900 w 1146175"/>
                    <a:gd name="connsiteY82" fmla="*/ 1611891 h 1661098"/>
                    <a:gd name="connsiteX83" fmla="*/ 206375 w 1146175"/>
                    <a:gd name="connsiteY83" fmla="*/ 1599191 h 1661098"/>
                    <a:gd name="connsiteX84" fmla="*/ 203200 w 1146175"/>
                    <a:gd name="connsiteY84" fmla="*/ 1586491 h 1661098"/>
                    <a:gd name="connsiteX85" fmla="*/ 196850 w 1146175"/>
                    <a:gd name="connsiteY85" fmla="*/ 1573791 h 1661098"/>
                    <a:gd name="connsiteX86" fmla="*/ 193675 w 1146175"/>
                    <a:gd name="connsiteY86" fmla="*/ 1564266 h 1661098"/>
                    <a:gd name="connsiteX87" fmla="*/ 187325 w 1146175"/>
                    <a:gd name="connsiteY87" fmla="*/ 1551566 h 1661098"/>
                    <a:gd name="connsiteX88" fmla="*/ 180975 w 1146175"/>
                    <a:gd name="connsiteY88" fmla="*/ 1535691 h 1661098"/>
                    <a:gd name="connsiteX89" fmla="*/ 161925 w 1146175"/>
                    <a:gd name="connsiteY89" fmla="*/ 1507116 h 1661098"/>
                    <a:gd name="connsiteX90" fmla="*/ 149225 w 1146175"/>
                    <a:gd name="connsiteY90" fmla="*/ 1484891 h 1661098"/>
                    <a:gd name="connsiteX91" fmla="*/ 142875 w 1146175"/>
                    <a:gd name="connsiteY91" fmla="*/ 1469016 h 1661098"/>
                    <a:gd name="connsiteX92" fmla="*/ 130175 w 1146175"/>
                    <a:gd name="connsiteY92" fmla="*/ 1465841 h 1661098"/>
                    <a:gd name="connsiteX93" fmla="*/ 101600 w 1146175"/>
                    <a:gd name="connsiteY93" fmla="*/ 1453141 h 1661098"/>
                    <a:gd name="connsiteX94" fmla="*/ 69850 w 1146175"/>
                    <a:gd name="connsiteY94" fmla="*/ 1443616 h 1661098"/>
                    <a:gd name="connsiteX95" fmla="*/ 41275 w 1146175"/>
                    <a:gd name="connsiteY95" fmla="*/ 1430916 h 1661098"/>
                    <a:gd name="connsiteX96" fmla="*/ 31750 w 1146175"/>
                    <a:gd name="connsiteY96" fmla="*/ 1424566 h 1661098"/>
                    <a:gd name="connsiteX97" fmla="*/ 15875 w 1146175"/>
                    <a:gd name="connsiteY97" fmla="*/ 1418216 h 1661098"/>
                    <a:gd name="connsiteX98" fmla="*/ 0 w 1146175"/>
                    <a:gd name="connsiteY98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49325 w 1146175"/>
                    <a:gd name="connsiteY34" fmla="*/ 1075316 h 1661098"/>
                    <a:gd name="connsiteX35" fmla="*/ 946150 w 1146175"/>
                    <a:gd name="connsiteY35" fmla="*/ 1084841 h 1661098"/>
                    <a:gd name="connsiteX36" fmla="*/ 936625 w 1146175"/>
                    <a:gd name="connsiteY36" fmla="*/ 1100716 h 1661098"/>
                    <a:gd name="connsiteX37" fmla="*/ 923925 w 1146175"/>
                    <a:gd name="connsiteY37" fmla="*/ 1135641 h 1661098"/>
                    <a:gd name="connsiteX38" fmla="*/ 917575 w 1146175"/>
                    <a:gd name="connsiteY38" fmla="*/ 1145166 h 1661098"/>
                    <a:gd name="connsiteX39" fmla="*/ 923925 w 1146175"/>
                    <a:gd name="connsiteY39" fmla="*/ 1199141 h 1661098"/>
                    <a:gd name="connsiteX40" fmla="*/ 939800 w 1146175"/>
                    <a:gd name="connsiteY40" fmla="*/ 1221366 h 1661098"/>
                    <a:gd name="connsiteX41" fmla="*/ 946150 w 1146175"/>
                    <a:gd name="connsiteY41" fmla="*/ 1234066 h 1661098"/>
                    <a:gd name="connsiteX42" fmla="*/ 952500 w 1146175"/>
                    <a:gd name="connsiteY42" fmla="*/ 1243591 h 1661098"/>
                    <a:gd name="connsiteX43" fmla="*/ 965200 w 1146175"/>
                    <a:gd name="connsiteY43" fmla="*/ 1268991 h 1661098"/>
                    <a:gd name="connsiteX44" fmla="*/ 974725 w 1146175"/>
                    <a:gd name="connsiteY44" fmla="*/ 1291216 h 1661098"/>
                    <a:gd name="connsiteX45" fmla="*/ 977900 w 1146175"/>
                    <a:gd name="connsiteY45" fmla="*/ 1303916 h 1661098"/>
                    <a:gd name="connsiteX46" fmla="*/ 981075 w 1146175"/>
                    <a:gd name="connsiteY46" fmla="*/ 1313441 h 1661098"/>
                    <a:gd name="connsiteX47" fmla="*/ 974725 w 1146175"/>
                    <a:gd name="connsiteY47" fmla="*/ 1348366 h 1661098"/>
                    <a:gd name="connsiteX48" fmla="*/ 949325 w 1146175"/>
                    <a:gd name="connsiteY48" fmla="*/ 1380116 h 1661098"/>
                    <a:gd name="connsiteX49" fmla="*/ 939800 w 1146175"/>
                    <a:gd name="connsiteY49" fmla="*/ 1386466 h 1661098"/>
                    <a:gd name="connsiteX50" fmla="*/ 930275 w 1146175"/>
                    <a:gd name="connsiteY50" fmla="*/ 1395991 h 1661098"/>
                    <a:gd name="connsiteX51" fmla="*/ 923925 w 1146175"/>
                    <a:gd name="connsiteY51" fmla="*/ 1405516 h 1661098"/>
                    <a:gd name="connsiteX52" fmla="*/ 908050 w 1146175"/>
                    <a:gd name="connsiteY52" fmla="*/ 1415041 h 1661098"/>
                    <a:gd name="connsiteX53" fmla="*/ 895350 w 1146175"/>
                    <a:gd name="connsiteY53" fmla="*/ 1427741 h 1661098"/>
                    <a:gd name="connsiteX54" fmla="*/ 882650 w 1146175"/>
                    <a:gd name="connsiteY54" fmla="*/ 1437266 h 1661098"/>
                    <a:gd name="connsiteX55" fmla="*/ 873125 w 1146175"/>
                    <a:gd name="connsiteY55" fmla="*/ 1446791 h 1661098"/>
                    <a:gd name="connsiteX56" fmla="*/ 844550 w 1146175"/>
                    <a:gd name="connsiteY56" fmla="*/ 1462666 h 1661098"/>
                    <a:gd name="connsiteX57" fmla="*/ 835025 w 1146175"/>
                    <a:gd name="connsiteY57" fmla="*/ 1465841 h 1661098"/>
                    <a:gd name="connsiteX58" fmla="*/ 815975 w 1146175"/>
                    <a:gd name="connsiteY58" fmla="*/ 1459491 h 1661098"/>
                    <a:gd name="connsiteX59" fmla="*/ 774700 w 1146175"/>
                    <a:gd name="connsiteY59" fmla="*/ 1443616 h 1661098"/>
                    <a:gd name="connsiteX60" fmla="*/ 749300 w 1146175"/>
                    <a:gd name="connsiteY60" fmla="*/ 1437266 h 1661098"/>
                    <a:gd name="connsiteX61" fmla="*/ 717550 w 1146175"/>
                    <a:gd name="connsiteY61" fmla="*/ 1424566 h 1661098"/>
                    <a:gd name="connsiteX62" fmla="*/ 688975 w 1146175"/>
                    <a:gd name="connsiteY62" fmla="*/ 1418216 h 1661098"/>
                    <a:gd name="connsiteX63" fmla="*/ 657225 w 1146175"/>
                    <a:gd name="connsiteY63" fmla="*/ 1408691 h 1661098"/>
                    <a:gd name="connsiteX64" fmla="*/ 635000 w 1146175"/>
                    <a:gd name="connsiteY64" fmla="*/ 1411866 h 1661098"/>
                    <a:gd name="connsiteX65" fmla="*/ 622300 w 1146175"/>
                    <a:gd name="connsiteY65" fmla="*/ 1418216 h 1661098"/>
                    <a:gd name="connsiteX66" fmla="*/ 606425 w 1146175"/>
                    <a:gd name="connsiteY66" fmla="*/ 1427741 h 1661098"/>
                    <a:gd name="connsiteX67" fmla="*/ 577850 w 1146175"/>
                    <a:gd name="connsiteY67" fmla="*/ 1443616 h 1661098"/>
                    <a:gd name="connsiteX68" fmla="*/ 558800 w 1146175"/>
                    <a:gd name="connsiteY68" fmla="*/ 1446791 h 1661098"/>
                    <a:gd name="connsiteX69" fmla="*/ 501650 w 1146175"/>
                    <a:gd name="connsiteY69" fmla="*/ 1453141 h 1661098"/>
                    <a:gd name="connsiteX70" fmla="*/ 492125 w 1146175"/>
                    <a:gd name="connsiteY70" fmla="*/ 1459491 h 1661098"/>
                    <a:gd name="connsiteX71" fmla="*/ 466725 w 1146175"/>
                    <a:gd name="connsiteY71" fmla="*/ 1491241 h 1661098"/>
                    <a:gd name="connsiteX72" fmla="*/ 457200 w 1146175"/>
                    <a:gd name="connsiteY72" fmla="*/ 1510291 h 1661098"/>
                    <a:gd name="connsiteX73" fmla="*/ 454025 w 1146175"/>
                    <a:gd name="connsiteY73" fmla="*/ 1519816 h 1661098"/>
                    <a:gd name="connsiteX74" fmla="*/ 447675 w 1146175"/>
                    <a:gd name="connsiteY74" fmla="*/ 1535691 h 1661098"/>
                    <a:gd name="connsiteX75" fmla="*/ 434975 w 1146175"/>
                    <a:gd name="connsiteY75" fmla="*/ 1561091 h 1661098"/>
                    <a:gd name="connsiteX76" fmla="*/ 431800 w 1146175"/>
                    <a:gd name="connsiteY76" fmla="*/ 1576966 h 1661098"/>
                    <a:gd name="connsiteX77" fmla="*/ 425450 w 1146175"/>
                    <a:gd name="connsiteY77" fmla="*/ 1602366 h 1661098"/>
                    <a:gd name="connsiteX78" fmla="*/ 422275 w 1146175"/>
                    <a:gd name="connsiteY78" fmla="*/ 1611891 h 1661098"/>
                    <a:gd name="connsiteX79" fmla="*/ 412750 w 1146175"/>
                    <a:gd name="connsiteY79" fmla="*/ 1621416 h 1661098"/>
                    <a:gd name="connsiteX80" fmla="*/ 222250 w 1146175"/>
                    <a:gd name="connsiteY80" fmla="*/ 1627766 h 1661098"/>
                    <a:gd name="connsiteX81" fmla="*/ 215900 w 1146175"/>
                    <a:gd name="connsiteY81" fmla="*/ 1611891 h 1661098"/>
                    <a:gd name="connsiteX82" fmla="*/ 206375 w 1146175"/>
                    <a:gd name="connsiteY82" fmla="*/ 1599191 h 1661098"/>
                    <a:gd name="connsiteX83" fmla="*/ 203200 w 1146175"/>
                    <a:gd name="connsiteY83" fmla="*/ 1586491 h 1661098"/>
                    <a:gd name="connsiteX84" fmla="*/ 196850 w 1146175"/>
                    <a:gd name="connsiteY84" fmla="*/ 1573791 h 1661098"/>
                    <a:gd name="connsiteX85" fmla="*/ 193675 w 1146175"/>
                    <a:gd name="connsiteY85" fmla="*/ 1564266 h 1661098"/>
                    <a:gd name="connsiteX86" fmla="*/ 187325 w 1146175"/>
                    <a:gd name="connsiteY86" fmla="*/ 1551566 h 1661098"/>
                    <a:gd name="connsiteX87" fmla="*/ 180975 w 1146175"/>
                    <a:gd name="connsiteY87" fmla="*/ 1535691 h 1661098"/>
                    <a:gd name="connsiteX88" fmla="*/ 161925 w 1146175"/>
                    <a:gd name="connsiteY88" fmla="*/ 1507116 h 1661098"/>
                    <a:gd name="connsiteX89" fmla="*/ 149225 w 1146175"/>
                    <a:gd name="connsiteY89" fmla="*/ 1484891 h 1661098"/>
                    <a:gd name="connsiteX90" fmla="*/ 142875 w 1146175"/>
                    <a:gd name="connsiteY90" fmla="*/ 1469016 h 1661098"/>
                    <a:gd name="connsiteX91" fmla="*/ 130175 w 1146175"/>
                    <a:gd name="connsiteY91" fmla="*/ 1465841 h 1661098"/>
                    <a:gd name="connsiteX92" fmla="*/ 101600 w 1146175"/>
                    <a:gd name="connsiteY92" fmla="*/ 1453141 h 1661098"/>
                    <a:gd name="connsiteX93" fmla="*/ 69850 w 1146175"/>
                    <a:gd name="connsiteY93" fmla="*/ 1443616 h 1661098"/>
                    <a:gd name="connsiteX94" fmla="*/ 41275 w 1146175"/>
                    <a:gd name="connsiteY94" fmla="*/ 1430916 h 1661098"/>
                    <a:gd name="connsiteX95" fmla="*/ 31750 w 1146175"/>
                    <a:gd name="connsiteY95" fmla="*/ 1424566 h 1661098"/>
                    <a:gd name="connsiteX96" fmla="*/ 15875 w 1146175"/>
                    <a:gd name="connsiteY96" fmla="*/ 1418216 h 1661098"/>
                    <a:gd name="connsiteX97" fmla="*/ 0 w 1146175"/>
                    <a:gd name="connsiteY97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49325 w 1146175"/>
                    <a:gd name="connsiteY34" fmla="*/ 1075316 h 1661098"/>
                    <a:gd name="connsiteX35" fmla="*/ 946150 w 1146175"/>
                    <a:gd name="connsiteY35" fmla="*/ 1084841 h 1661098"/>
                    <a:gd name="connsiteX36" fmla="*/ 923925 w 1146175"/>
                    <a:gd name="connsiteY36" fmla="*/ 1135641 h 1661098"/>
                    <a:gd name="connsiteX37" fmla="*/ 917575 w 1146175"/>
                    <a:gd name="connsiteY37" fmla="*/ 1145166 h 1661098"/>
                    <a:gd name="connsiteX38" fmla="*/ 923925 w 1146175"/>
                    <a:gd name="connsiteY38" fmla="*/ 1199141 h 1661098"/>
                    <a:gd name="connsiteX39" fmla="*/ 939800 w 1146175"/>
                    <a:gd name="connsiteY39" fmla="*/ 1221366 h 1661098"/>
                    <a:gd name="connsiteX40" fmla="*/ 946150 w 1146175"/>
                    <a:gd name="connsiteY40" fmla="*/ 1234066 h 1661098"/>
                    <a:gd name="connsiteX41" fmla="*/ 952500 w 1146175"/>
                    <a:gd name="connsiteY41" fmla="*/ 1243591 h 1661098"/>
                    <a:gd name="connsiteX42" fmla="*/ 965200 w 1146175"/>
                    <a:gd name="connsiteY42" fmla="*/ 1268991 h 1661098"/>
                    <a:gd name="connsiteX43" fmla="*/ 974725 w 1146175"/>
                    <a:gd name="connsiteY43" fmla="*/ 1291216 h 1661098"/>
                    <a:gd name="connsiteX44" fmla="*/ 977900 w 1146175"/>
                    <a:gd name="connsiteY44" fmla="*/ 1303916 h 1661098"/>
                    <a:gd name="connsiteX45" fmla="*/ 981075 w 1146175"/>
                    <a:gd name="connsiteY45" fmla="*/ 1313441 h 1661098"/>
                    <a:gd name="connsiteX46" fmla="*/ 974725 w 1146175"/>
                    <a:gd name="connsiteY46" fmla="*/ 1348366 h 1661098"/>
                    <a:gd name="connsiteX47" fmla="*/ 949325 w 1146175"/>
                    <a:gd name="connsiteY47" fmla="*/ 1380116 h 1661098"/>
                    <a:gd name="connsiteX48" fmla="*/ 939800 w 1146175"/>
                    <a:gd name="connsiteY48" fmla="*/ 1386466 h 1661098"/>
                    <a:gd name="connsiteX49" fmla="*/ 930275 w 1146175"/>
                    <a:gd name="connsiteY49" fmla="*/ 1395991 h 1661098"/>
                    <a:gd name="connsiteX50" fmla="*/ 923925 w 1146175"/>
                    <a:gd name="connsiteY50" fmla="*/ 1405516 h 1661098"/>
                    <a:gd name="connsiteX51" fmla="*/ 908050 w 1146175"/>
                    <a:gd name="connsiteY51" fmla="*/ 1415041 h 1661098"/>
                    <a:gd name="connsiteX52" fmla="*/ 895350 w 1146175"/>
                    <a:gd name="connsiteY52" fmla="*/ 1427741 h 1661098"/>
                    <a:gd name="connsiteX53" fmla="*/ 882650 w 1146175"/>
                    <a:gd name="connsiteY53" fmla="*/ 1437266 h 1661098"/>
                    <a:gd name="connsiteX54" fmla="*/ 873125 w 1146175"/>
                    <a:gd name="connsiteY54" fmla="*/ 1446791 h 1661098"/>
                    <a:gd name="connsiteX55" fmla="*/ 844550 w 1146175"/>
                    <a:gd name="connsiteY55" fmla="*/ 1462666 h 1661098"/>
                    <a:gd name="connsiteX56" fmla="*/ 835025 w 1146175"/>
                    <a:gd name="connsiteY56" fmla="*/ 1465841 h 1661098"/>
                    <a:gd name="connsiteX57" fmla="*/ 815975 w 1146175"/>
                    <a:gd name="connsiteY57" fmla="*/ 1459491 h 1661098"/>
                    <a:gd name="connsiteX58" fmla="*/ 774700 w 1146175"/>
                    <a:gd name="connsiteY58" fmla="*/ 1443616 h 1661098"/>
                    <a:gd name="connsiteX59" fmla="*/ 749300 w 1146175"/>
                    <a:gd name="connsiteY59" fmla="*/ 1437266 h 1661098"/>
                    <a:gd name="connsiteX60" fmla="*/ 717550 w 1146175"/>
                    <a:gd name="connsiteY60" fmla="*/ 1424566 h 1661098"/>
                    <a:gd name="connsiteX61" fmla="*/ 688975 w 1146175"/>
                    <a:gd name="connsiteY61" fmla="*/ 1418216 h 1661098"/>
                    <a:gd name="connsiteX62" fmla="*/ 657225 w 1146175"/>
                    <a:gd name="connsiteY62" fmla="*/ 1408691 h 1661098"/>
                    <a:gd name="connsiteX63" fmla="*/ 635000 w 1146175"/>
                    <a:gd name="connsiteY63" fmla="*/ 1411866 h 1661098"/>
                    <a:gd name="connsiteX64" fmla="*/ 622300 w 1146175"/>
                    <a:gd name="connsiteY64" fmla="*/ 1418216 h 1661098"/>
                    <a:gd name="connsiteX65" fmla="*/ 606425 w 1146175"/>
                    <a:gd name="connsiteY65" fmla="*/ 1427741 h 1661098"/>
                    <a:gd name="connsiteX66" fmla="*/ 577850 w 1146175"/>
                    <a:gd name="connsiteY66" fmla="*/ 1443616 h 1661098"/>
                    <a:gd name="connsiteX67" fmla="*/ 558800 w 1146175"/>
                    <a:gd name="connsiteY67" fmla="*/ 1446791 h 1661098"/>
                    <a:gd name="connsiteX68" fmla="*/ 501650 w 1146175"/>
                    <a:gd name="connsiteY68" fmla="*/ 1453141 h 1661098"/>
                    <a:gd name="connsiteX69" fmla="*/ 492125 w 1146175"/>
                    <a:gd name="connsiteY69" fmla="*/ 1459491 h 1661098"/>
                    <a:gd name="connsiteX70" fmla="*/ 466725 w 1146175"/>
                    <a:gd name="connsiteY70" fmla="*/ 1491241 h 1661098"/>
                    <a:gd name="connsiteX71" fmla="*/ 457200 w 1146175"/>
                    <a:gd name="connsiteY71" fmla="*/ 1510291 h 1661098"/>
                    <a:gd name="connsiteX72" fmla="*/ 454025 w 1146175"/>
                    <a:gd name="connsiteY72" fmla="*/ 1519816 h 1661098"/>
                    <a:gd name="connsiteX73" fmla="*/ 447675 w 1146175"/>
                    <a:gd name="connsiteY73" fmla="*/ 1535691 h 1661098"/>
                    <a:gd name="connsiteX74" fmla="*/ 434975 w 1146175"/>
                    <a:gd name="connsiteY74" fmla="*/ 1561091 h 1661098"/>
                    <a:gd name="connsiteX75" fmla="*/ 431800 w 1146175"/>
                    <a:gd name="connsiteY75" fmla="*/ 1576966 h 1661098"/>
                    <a:gd name="connsiteX76" fmla="*/ 425450 w 1146175"/>
                    <a:gd name="connsiteY76" fmla="*/ 1602366 h 1661098"/>
                    <a:gd name="connsiteX77" fmla="*/ 422275 w 1146175"/>
                    <a:gd name="connsiteY77" fmla="*/ 1611891 h 1661098"/>
                    <a:gd name="connsiteX78" fmla="*/ 412750 w 1146175"/>
                    <a:gd name="connsiteY78" fmla="*/ 1621416 h 1661098"/>
                    <a:gd name="connsiteX79" fmla="*/ 222250 w 1146175"/>
                    <a:gd name="connsiteY79" fmla="*/ 1627766 h 1661098"/>
                    <a:gd name="connsiteX80" fmla="*/ 215900 w 1146175"/>
                    <a:gd name="connsiteY80" fmla="*/ 1611891 h 1661098"/>
                    <a:gd name="connsiteX81" fmla="*/ 206375 w 1146175"/>
                    <a:gd name="connsiteY81" fmla="*/ 1599191 h 1661098"/>
                    <a:gd name="connsiteX82" fmla="*/ 203200 w 1146175"/>
                    <a:gd name="connsiteY82" fmla="*/ 1586491 h 1661098"/>
                    <a:gd name="connsiteX83" fmla="*/ 196850 w 1146175"/>
                    <a:gd name="connsiteY83" fmla="*/ 1573791 h 1661098"/>
                    <a:gd name="connsiteX84" fmla="*/ 193675 w 1146175"/>
                    <a:gd name="connsiteY84" fmla="*/ 1564266 h 1661098"/>
                    <a:gd name="connsiteX85" fmla="*/ 187325 w 1146175"/>
                    <a:gd name="connsiteY85" fmla="*/ 1551566 h 1661098"/>
                    <a:gd name="connsiteX86" fmla="*/ 180975 w 1146175"/>
                    <a:gd name="connsiteY86" fmla="*/ 1535691 h 1661098"/>
                    <a:gd name="connsiteX87" fmla="*/ 161925 w 1146175"/>
                    <a:gd name="connsiteY87" fmla="*/ 1507116 h 1661098"/>
                    <a:gd name="connsiteX88" fmla="*/ 149225 w 1146175"/>
                    <a:gd name="connsiteY88" fmla="*/ 1484891 h 1661098"/>
                    <a:gd name="connsiteX89" fmla="*/ 142875 w 1146175"/>
                    <a:gd name="connsiteY89" fmla="*/ 1469016 h 1661098"/>
                    <a:gd name="connsiteX90" fmla="*/ 130175 w 1146175"/>
                    <a:gd name="connsiteY90" fmla="*/ 1465841 h 1661098"/>
                    <a:gd name="connsiteX91" fmla="*/ 101600 w 1146175"/>
                    <a:gd name="connsiteY91" fmla="*/ 1453141 h 1661098"/>
                    <a:gd name="connsiteX92" fmla="*/ 69850 w 1146175"/>
                    <a:gd name="connsiteY92" fmla="*/ 1443616 h 1661098"/>
                    <a:gd name="connsiteX93" fmla="*/ 41275 w 1146175"/>
                    <a:gd name="connsiteY93" fmla="*/ 1430916 h 1661098"/>
                    <a:gd name="connsiteX94" fmla="*/ 31750 w 1146175"/>
                    <a:gd name="connsiteY94" fmla="*/ 1424566 h 1661098"/>
                    <a:gd name="connsiteX95" fmla="*/ 15875 w 1146175"/>
                    <a:gd name="connsiteY95" fmla="*/ 1418216 h 1661098"/>
                    <a:gd name="connsiteX96" fmla="*/ 0 w 1146175"/>
                    <a:gd name="connsiteY96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49325 w 1146175"/>
                    <a:gd name="connsiteY34" fmla="*/ 1075316 h 1661098"/>
                    <a:gd name="connsiteX35" fmla="*/ 923925 w 1146175"/>
                    <a:gd name="connsiteY35" fmla="*/ 1135641 h 1661098"/>
                    <a:gd name="connsiteX36" fmla="*/ 917575 w 1146175"/>
                    <a:gd name="connsiteY36" fmla="*/ 1145166 h 1661098"/>
                    <a:gd name="connsiteX37" fmla="*/ 923925 w 1146175"/>
                    <a:gd name="connsiteY37" fmla="*/ 1199141 h 1661098"/>
                    <a:gd name="connsiteX38" fmla="*/ 939800 w 1146175"/>
                    <a:gd name="connsiteY38" fmla="*/ 1221366 h 1661098"/>
                    <a:gd name="connsiteX39" fmla="*/ 946150 w 1146175"/>
                    <a:gd name="connsiteY39" fmla="*/ 1234066 h 1661098"/>
                    <a:gd name="connsiteX40" fmla="*/ 952500 w 1146175"/>
                    <a:gd name="connsiteY40" fmla="*/ 1243591 h 1661098"/>
                    <a:gd name="connsiteX41" fmla="*/ 965200 w 1146175"/>
                    <a:gd name="connsiteY41" fmla="*/ 1268991 h 1661098"/>
                    <a:gd name="connsiteX42" fmla="*/ 974725 w 1146175"/>
                    <a:gd name="connsiteY42" fmla="*/ 1291216 h 1661098"/>
                    <a:gd name="connsiteX43" fmla="*/ 977900 w 1146175"/>
                    <a:gd name="connsiteY43" fmla="*/ 1303916 h 1661098"/>
                    <a:gd name="connsiteX44" fmla="*/ 981075 w 1146175"/>
                    <a:gd name="connsiteY44" fmla="*/ 1313441 h 1661098"/>
                    <a:gd name="connsiteX45" fmla="*/ 974725 w 1146175"/>
                    <a:gd name="connsiteY45" fmla="*/ 1348366 h 1661098"/>
                    <a:gd name="connsiteX46" fmla="*/ 949325 w 1146175"/>
                    <a:gd name="connsiteY46" fmla="*/ 1380116 h 1661098"/>
                    <a:gd name="connsiteX47" fmla="*/ 939800 w 1146175"/>
                    <a:gd name="connsiteY47" fmla="*/ 1386466 h 1661098"/>
                    <a:gd name="connsiteX48" fmla="*/ 930275 w 1146175"/>
                    <a:gd name="connsiteY48" fmla="*/ 1395991 h 1661098"/>
                    <a:gd name="connsiteX49" fmla="*/ 923925 w 1146175"/>
                    <a:gd name="connsiteY49" fmla="*/ 1405516 h 1661098"/>
                    <a:gd name="connsiteX50" fmla="*/ 908050 w 1146175"/>
                    <a:gd name="connsiteY50" fmla="*/ 1415041 h 1661098"/>
                    <a:gd name="connsiteX51" fmla="*/ 895350 w 1146175"/>
                    <a:gd name="connsiteY51" fmla="*/ 1427741 h 1661098"/>
                    <a:gd name="connsiteX52" fmla="*/ 882650 w 1146175"/>
                    <a:gd name="connsiteY52" fmla="*/ 1437266 h 1661098"/>
                    <a:gd name="connsiteX53" fmla="*/ 873125 w 1146175"/>
                    <a:gd name="connsiteY53" fmla="*/ 1446791 h 1661098"/>
                    <a:gd name="connsiteX54" fmla="*/ 844550 w 1146175"/>
                    <a:gd name="connsiteY54" fmla="*/ 1462666 h 1661098"/>
                    <a:gd name="connsiteX55" fmla="*/ 835025 w 1146175"/>
                    <a:gd name="connsiteY55" fmla="*/ 1465841 h 1661098"/>
                    <a:gd name="connsiteX56" fmla="*/ 815975 w 1146175"/>
                    <a:gd name="connsiteY56" fmla="*/ 1459491 h 1661098"/>
                    <a:gd name="connsiteX57" fmla="*/ 774700 w 1146175"/>
                    <a:gd name="connsiteY57" fmla="*/ 1443616 h 1661098"/>
                    <a:gd name="connsiteX58" fmla="*/ 749300 w 1146175"/>
                    <a:gd name="connsiteY58" fmla="*/ 1437266 h 1661098"/>
                    <a:gd name="connsiteX59" fmla="*/ 717550 w 1146175"/>
                    <a:gd name="connsiteY59" fmla="*/ 1424566 h 1661098"/>
                    <a:gd name="connsiteX60" fmla="*/ 688975 w 1146175"/>
                    <a:gd name="connsiteY60" fmla="*/ 1418216 h 1661098"/>
                    <a:gd name="connsiteX61" fmla="*/ 657225 w 1146175"/>
                    <a:gd name="connsiteY61" fmla="*/ 1408691 h 1661098"/>
                    <a:gd name="connsiteX62" fmla="*/ 635000 w 1146175"/>
                    <a:gd name="connsiteY62" fmla="*/ 1411866 h 1661098"/>
                    <a:gd name="connsiteX63" fmla="*/ 622300 w 1146175"/>
                    <a:gd name="connsiteY63" fmla="*/ 1418216 h 1661098"/>
                    <a:gd name="connsiteX64" fmla="*/ 606425 w 1146175"/>
                    <a:gd name="connsiteY64" fmla="*/ 1427741 h 1661098"/>
                    <a:gd name="connsiteX65" fmla="*/ 577850 w 1146175"/>
                    <a:gd name="connsiteY65" fmla="*/ 1443616 h 1661098"/>
                    <a:gd name="connsiteX66" fmla="*/ 558800 w 1146175"/>
                    <a:gd name="connsiteY66" fmla="*/ 1446791 h 1661098"/>
                    <a:gd name="connsiteX67" fmla="*/ 501650 w 1146175"/>
                    <a:gd name="connsiteY67" fmla="*/ 1453141 h 1661098"/>
                    <a:gd name="connsiteX68" fmla="*/ 492125 w 1146175"/>
                    <a:gd name="connsiteY68" fmla="*/ 1459491 h 1661098"/>
                    <a:gd name="connsiteX69" fmla="*/ 466725 w 1146175"/>
                    <a:gd name="connsiteY69" fmla="*/ 1491241 h 1661098"/>
                    <a:gd name="connsiteX70" fmla="*/ 457200 w 1146175"/>
                    <a:gd name="connsiteY70" fmla="*/ 1510291 h 1661098"/>
                    <a:gd name="connsiteX71" fmla="*/ 454025 w 1146175"/>
                    <a:gd name="connsiteY71" fmla="*/ 1519816 h 1661098"/>
                    <a:gd name="connsiteX72" fmla="*/ 447675 w 1146175"/>
                    <a:gd name="connsiteY72" fmla="*/ 1535691 h 1661098"/>
                    <a:gd name="connsiteX73" fmla="*/ 434975 w 1146175"/>
                    <a:gd name="connsiteY73" fmla="*/ 1561091 h 1661098"/>
                    <a:gd name="connsiteX74" fmla="*/ 431800 w 1146175"/>
                    <a:gd name="connsiteY74" fmla="*/ 1576966 h 1661098"/>
                    <a:gd name="connsiteX75" fmla="*/ 425450 w 1146175"/>
                    <a:gd name="connsiteY75" fmla="*/ 1602366 h 1661098"/>
                    <a:gd name="connsiteX76" fmla="*/ 422275 w 1146175"/>
                    <a:gd name="connsiteY76" fmla="*/ 1611891 h 1661098"/>
                    <a:gd name="connsiteX77" fmla="*/ 412750 w 1146175"/>
                    <a:gd name="connsiteY77" fmla="*/ 1621416 h 1661098"/>
                    <a:gd name="connsiteX78" fmla="*/ 222250 w 1146175"/>
                    <a:gd name="connsiteY78" fmla="*/ 1627766 h 1661098"/>
                    <a:gd name="connsiteX79" fmla="*/ 215900 w 1146175"/>
                    <a:gd name="connsiteY79" fmla="*/ 1611891 h 1661098"/>
                    <a:gd name="connsiteX80" fmla="*/ 206375 w 1146175"/>
                    <a:gd name="connsiteY80" fmla="*/ 1599191 h 1661098"/>
                    <a:gd name="connsiteX81" fmla="*/ 203200 w 1146175"/>
                    <a:gd name="connsiteY81" fmla="*/ 1586491 h 1661098"/>
                    <a:gd name="connsiteX82" fmla="*/ 196850 w 1146175"/>
                    <a:gd name="connsiteY82" fmla="*/ 1573791 h 1661098"/>
                    <a:gd name="connsiteX83" fmla="*/ 193675 w 1146175"/>
                    <a:gd name="connsiteY83" fmla="*/ 1564266 h 1661098"/>
                    <a:gd name="connsiteX84" fmla="*/ 187325 w 1146175"/>
                    <a:gd name="connsiteY84" fmla="*/ 1551566 h 1661098"/>
                    <a:gd name="connsiteX85" fmla="*/ 180975 w 1146175"/>
                    <a:gd name="connsiteY85" fmla="*/ 1535691 h 1661098"/>
                    <a:gd name="connsiteX86" fmla="*/ 161925 w 1146175"/>
                    <a:gd name="connsiteY86" fmla="*/ 1507116 h 1661098"/>
                    <a:gd name="connsiteX87" fmla="*/ 149225 w 1146175"/>
                    <a:gd name="connsiteY87" fmla="*/ 1484891 h 1661098"/>
                    <a:gd name="connsiteX88" fmla="*/ 142875 w 1146175"/>
                    <a:gd name="connsiteY88" fmla="*/ 1469016 h 1661098"/>
                    <a:gd name="connsiteX89" fmla="*/ 130175 w 1146175"/>
                    <a:gd name="connsiteY89" fmla="*/ 1465841 h 1661098"/>
                    <a:gd name="connsiteX90" fmla="*/ 101600 w 1146175"/>
                    <a:gd name="connsiteY90" fmla="*/ 1453141 h 1661098"/>
                    <a:gd name="connsiteX91" fmla="*/ 69850 w 1146175"/>
                    <a:gd name="connsiteY91" fmla="*/ 1443616 h 1661098"/>
                    <a:gd name="connsiteX92" fmla="*/ 41275 w 1146175"/>
                    <a:gd name="connsiteY92" fmla="*/ 1430916 h 1661098"/>
                    <a:gd name="connsiteX93" fmla="*/ 31750 w 1146175"/>
                    <a:gd name="connsiteY93" fmla="*/ 1424566 h 1661098"/>
                    <a:gd name="connsiteX94" fmla="*/ 15875 w 1146175"/>
                    <a:gd name="connsiteY94" fmla="*/ 1418216 h 1661098"/>
                    <a:gd name="connsiteX95" fmla="*/ 0 w 1146175"/>
                    <a:gd name="connsiteY95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23925 w 1146175"/>
                    <a:gd name="connsiteY36" fmla="*/ 1199141 h 1661098"/>
                    <a:gd name="connsiteX37" fmla="*/ 939800 w 1146175"/>
                    <a:gd name="connsiteY37" fmla="*/ 1221366 h 1661098"/>
                    <a:gd name="connsiteX38" fmla="*/ 946150 w 1146175"/>
                    <a:gd name="connsiteY38" fmla="*/ 1234066 h 1661098"/>
                    <a:gd name="connsiteX39" fmla="*/ 952500 w 1146175"/>
                    <a:gd name="connsiteY39" fmla="*/ 1243591 h 1661098"/>
                    <a:gd name="connsiteX40" fmla="*/ 965200 w 1146175"/>
                    <a:gd name="connsiteY40" fmla="*/ 1268991 h 1661098"/>
                    <a:gd name="connsiteX41" fmla="*/ 974725 w 1146175"/>
                    <a:gd name="connsiteY41" fmla="*/ 1291216 h 1661098"/>
                    <a:gd name="connsiteX42" fmla="*/ 977900 w 1146175"/>
                    <a:gd name="connsiteY42" fmla="*/ 1303916 h 1661098"/>
                    <a:gd name="connsiteX43" fmla="*/ 981075 w 1146175"/>
                    <a:gd name="connsiteY43" fmla="*/ 1313441 h 1661098"/>
                    <a:gd name="connsiteX44" fmla="*/ 974725 w 1146175"/>
                    <a:gd name="connsiteY44" fmla="*/ 1348366 h 1661098"/>
                    <a:gd name="connsiteX45" fmla="*/ 949325 w 1146175"/>
                    <a:gd name="connsiteY45" fmla="*/ 1380116 h 1661098"/>
                    <a:gd name="connsiteX46" fmla="*/ 939800 w 1146175"/>
                    <a:gd name="connsiteY46" fmla="*/ 1386466 h 1661098"/>
                    <a:gd name="connsiteX47" fmla="*/ 930275 w 1146175"/>
                    <a:gd name="connsiteY47" fmla="*/ 1395991 h 1661098"/>
                    <a:gd name="connsiteX48" fmla="*/ 923925 w 1146175"/>
                    <a:gd name="connsiteY48" fmla="*/ 1405516 h 1661098"/>
                    <a:gd name="connsiteX49" fmla="*/ 908050 w 1146175"/>
                    <a:gd name="connsiteY49" fmla="*/ 1415041 h 1661098"/>
                    <a:gd name="connsiteX50" fmla="*/ 895350 w 1146175"/>
                    <a:gd name="connsiteY50" fmla="*/ 1427741 h 1661098"/>
                    <a:gd name="connsiteX51" fmla="*/ 882650 w 1146175"/>
                    <a:gd name="connsiteY51" fmla="*/ 1437266 h 1661098"/>
                    <a:gd name="connsiteX52" fmla="*/ 873125 w 1146175"/>
                    <a:gd name="connsiteY52" fmla="*/ 1446791 h 1661098"/>
                    <a:gd name="connsiteX53" fmla="*/ 844550 w 1146175"/>
                    <a:gd name="connsiteY53" fmla="*/ 1462666 h 1661098"/>
                    <a:gd name="connsiteX54" fmla="*/ 835025 w 1146175"/>
                    <a:gd name="connsiteY54" fmla="*/ 1465841 h 1661098"/>
                    <a:gd name="connsiteX55" fmla="*/ 815975 w 1146175"/>
                    <a:gd name="connsiteY55" fmla="*/ 1459491 h 1661098"/>
                    <a:gd name="connsiteX56" fmla="*/ 774700 w 1146175"/>
                    <a:gd name="connsiteY56" fmla="*/ 1443616 h 1661098"/>
                    <a:gd name="connsiteX57" fmla="*/ 749300 w 1146175"/>
                    <a:gd name="connsiteY57" fmla="*/ 1437266 h 1661098"/>
                    <a:gd name="connsiteX58" fmla="*/ 717550 w 1146175"/>
                    <a:gd name="connsiteY58" fmla="*/ 1424566 h 1661098"/>
                    <a:gd name="connsiteX59" fmla="*/ 688975 w 1146175"/>
                    <a:gd name="connsiteY59" fmla="*/ 1418216 h 1661098"/>
                    <a:gd name="connsiteX60" fmla="*/ 657225 w 1146175"/>
                    <a:gd name="connsiteY60" fmla="*/ 1408691 h 1661098"/>
                    <a:gd name="connsiteX61" fmla="*/ 635000 w 1146175"/>
                    <a:gd name="connsiteY61" fmla="*/ 1411866 h 1661098"/>
                    <a:gd name="connsiteX62" fmla="*/ 622300 w 1146175"/>
                    <a:gd name="connsiteY62" fmla="*/ 1418216 h 1661098"/>
                    <a:gd name="connsiteX63" fmla="*/ 606425 w 1146175"/>
                    <a:gd name="connsiteY63" fmla="*/ 1427741 h 1661098"/>
                    <a:gd name="connsiteX64" fmla="*/ 577850 w 1146175"/>
                    <a:gd name="connsiteY64" fmla="*/ 1443616 h 1661098"/>
                    <a:gd name="connsiteX65" fmla="*/ 558800 w 1146175"/>
                    <a:gd name="connsiteY65" fmla="*/ 1446791 h 1661098"/>
                    <a:gd name="connsiteX66" fmla="*/ 501650 w 1146175"/>
                    <a:gd name="connsiteY66" fmla="*/ 1453141 h 1661098"/>
                    <a:gd name="connsiteX67" fmla="*/ 492125 w 1146175"/>
                    <a:gd name="connsiteY67" fmla="*/ 1459491 h 1661098"/>
                    <a:gd name="connsiteX68" fmla="*/ 466725 w 1146175"/>
                    <a:gd name="connsiteY68" fmla="*/ 1491241 h 1661098"/>
                    <a:gd name="connsiteX69" fmla="*/ 457200 w 1146175"/>
                    <a:gd name="connsiteY69" fmla="*/ 1510291 h 1661098"/>
                    <a:gd name="connsiteX70" fmla="*/ 454025 w 1146175"/>
                    <a:gd name="connsiteY70" fmla="*/ 1519816 h 1661098"/>
                    <a:gd name="connsiteX71" fmla="*/ 447675 w 1146175"/>
                    <a:gd name="connsiteY71" fmla="*/ 1535691 h 1661098"/>
                    <a:gd name="connsiteX72" fmla="*/ 434975 w 1146175"/>
                    <a:gd name="connsiteY72" fmla="*/ 1561091 h 1661098"/>
                    <a:gd name="connsiteX73" fmla="*/ 431800 w 1146175"/>
                    <a:gd name="connsiteY73" fmla="*/ 1576966 h 1661098"/>
                    <a:gd name="connsiteX74" fmla="*/ 425450 w 1146175"/>
                    <a:gd name="connsiteY74" fmla="*/ 1602366 h 1661098"/>
                    <a:gd name="connsiteX75" fmla="*/ 422275 w 1146175"/>
                    <a:gd name="connsiteY75" fmla="*/ 1611891 h 1661098"/>
                    <a:gd name="connsiteX76" fmla="*/ 412750 w 1146175"/>
                    <a:gd name="connsiteY76" fmla="*/ 1621416 h 1661098"/>
                    <a:gd name="connsiteX77" fmla="*/ 222250 w 1146175"/>
                    <a:gd name="connsiteY77" fmla="*/ 1627766 h 1661098"/>
                    <a:gd name="connsiteX78" fmla="*/ 215900 w 1146175"/>
                    <a:gd name="connsiteY78" fmla="*/ 1611891 h 1661098"/>
                    <a:gd name="connsiteX79" fmla="*/ 206375 w 1146175"/>
                    <a:gd name="connsiteY79" fmla="*/ 1599191 h 1661098"/>
                    <a:gd name="connsiteX80" fmla="*/ 203200 w 1146175"/>
                    <a:gd name="connsiteY80" fmla="*/ 1586491 h 1661098"/>
                    <a:gd name="connsiteX81" fmla="*/ 196850 w 1146175"/>
                    <a:gd name="connsiteY81" fmla="*/ 1573791 h 1661098"/>
                    <a:gd name="connsiteX82" fmla="*/ 193675 w 1146175"/>
                    <a:gd name="connsiteY82" fmla="*/ 1564266 h 1661098"/>
                    <a:gd name="connsiteX83" fmla="*/ 187325 w 1146175"/>
                    <a:gd name="connsiteY83" fmla="*/ 1551566 h 1661098"/>
                    <a:gd name="connsiteX84" fmla="*/ 180975 w 1146175"/>
                    <a:gd name="connsiteY84" fmla="*/ 1535691 h 1661098"/>
                    <a:gd name="connsiteX85" fmla="*/ 161925 w 1146175"/>
                    <a:gd name="connsiteY85" fmla="*/ 1507116 h 1661098"/>
                    <a:gd name="connsiteX86" fmla="*/ 149225 w 1146175"/>
                    <a:gd name="connsiteY86" fmla="*/ 1484891 h 1661098"/>
                    <a:gd name="connsiteX87" fmla="*/ 142875 w 1146175"/>
                    <a:gd name="connsiteY87" fmla="*/ 1469016 h 1661098"/>
                    <a:gd name="connsiteX88" fmla="*/ 130175 w 1146175"/>
                    <a:gd name="connsiteY88" fmla="*/ 1465841 h 1661098"/>
                    <a:gd name="connsiteX89" fmla="*/ 101600 w 1146175"/>
                    <a:gd name="connsiteY89" fmla="*/ 1453141 h 1661098"/>
                    <a:gd name="connsiteX90" fmla="*/ 69850 w 1146175"/>
                    <a:gd name="connsiteY90" fmla="*/ 1443616 h 1661098"/>
                    <a:gd name="connsiteX91" fmla="*/ 41275 w 1146175"/>
                    <a:gd name="connsiteY91" fmla="*/ 1430916 h 1661098"/>
                    <a:gd name="connsiteX92" fmla="*/ 31750 w 1146175"/>
                    <a:gd name="connsiteY92" fmla="*/ 1424566 h 1661098"/>
                    <a:gd name="connsiteX93" fmla="*/ 15875 w 1146175"/>
                    <a:gd name="connsiteY93" fmla="*/ 1418216 h 1661098"/>
                    <a:gd name="connsiteX94" fmla="*/ 0 w 1146175"/>
                    <a:gd name="connsiteY94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23925 w 1146175"/>
                    <a:gd name="connsiteY36" fmla="*/ 1199141 h 1661098"/>
                    <a:gd name="connsiteX37" fmla="*/ 946150 w 1146175"/>
                    <a:gd name="connsiteY37" fmla="*/ 1234066 h 1661098"/>
                    <a:gd name="connsiteX38" fmla="*/ 952500 w 1146175"/>
                    <a:gd name="connsiteY38" fmla="*/ 1243591 h 1661098"/>
                    <a:gd name="connsiteX39" fmla="*/ 965200 w 1146175"/>
                    <a:gd name="connsiteY39" fmla="*/ 1268991 h 1661098"/>
                    <a:gd name="connsiteX40" fmla="*/ 974725 w 1146175"/>
                    <a:gd name="connsiteY40" fmla="*/ 1291216 h 1661098"/>
                    <a:gd name="connsiteX41" fmla="*/ 977900 w 1146175"/>
                    <a:gd name="connsiteY41" fmla="*/ 1303916 h 1661098"/>
                    <a:gd name="connsiteX42" fmla="*/ 981075 w 1146175"/>
                    <a:gd name="connsiteY42" fmla="*/ 1313441 h 1661098"/>
                    <a:gd name="connsiteX43" fmla="*/ 974725 w 1146175"/>
                    <a:gd name="connsiteY43" fmla="*/ 1348366 h 1661098"/>
                    <a:gd name="connsiteX44" fmla="*/ 949325 w 1146175"/>
                    <a:gd name="connsiteY44" fmla="*/ 1380116 h 1661098"/>
                    <a:gd name="connsiteX45" fmla="*/ 939800 w 1146175"/>
                    <a:gd name="connsiteY45" fmla="*/ 1386466 h 1661098"/>
                    <a:gd name="connsiteX46" fmla="*/ 930275 w 1146175"/>
                    <a:gd name="connsiteY46" fmla="*/ 1395991 h 1661098"/>
                    <a:gd name="connsiteX47" fmla="*/ 923925 w 1146175"/>
                    <a:gd name="connsiteY47" fmla="*/ 1405516 h 1661098"/>
                    <a:gd name="connsiteX48" fmla="*/ 908050 w 1146175"/>
                    <a:gd name="connsiteY48" fmla="*/ 1415041 h 1661098"/>
                    <a:gd name="connsiteX49" fmla="*/ 895350 w 1146175"/>
                    <a:gd name="connsiteY49" fmla="*/ 1427741 h 1661098"/>
                    <a:gd name="connsiteX50" fmla="*/ 882650 w 1146175"/>
                    <a:gd name="connsiteY50" fmla="*/ 1437266 h 1661098"/>
                    <a:gd name="connsiteX51" fmla="*/ 873125 w 1146175"/>
                    <a:gd name="connsiteY51" fmla="*/ 1446791 h 1661098"/>
                    <a:gd name="connsiteX52" fmla="*/ 844550 w 1146175"/>
                    <a:gd name="connsiteY52" fmla="*/ 1462666 h 1661098"/>
                    <a:gd name="connsiteX53" fmla="*/ 835025 w 1146175"/>
                    <a:gd name="connsiteY53" fmla="*/ 1465841 h 1661098"/>
                    <a:gd name="connsiteX54" fmla="*/ 815975 w 1146175"/>
                    <a:gd name="connsiteY54" fmla="*/ 1459491 h 1661098"/>
                    <a:gd name="connsiteX55" fmla="*/ 774700 w 1146175"/>
                    <a:gd name="connsiteY55" fmla="*/ 1443616 h 1661098"/>
                    <a:gd name="connsiteX56" fmla="*/ 749300 w 1146175"/>
                    <a:gd name="connsiteY56" fmla="*/ 1437266 h 1661098"/>
                    <a:gd name="connsiteX57" fmla="*/ 717550 w 1146175"/>
                    <a:gd name="connsiteY57" fmla="*/ 1424566 h 1661098"/>
                    <a:gd name="connsiteX58" fmla="*/ 688975 w 1146175"/>
                    <a:gd name="connsiteY58" fmla="*/ 1418216 h 1661098"/>
                    <a:gd name="connsiteX59" fmla="*/ 657225 w 1146175"/>
                    <a:gd name="connsiteY59" fmla="*/ 1408691 h 1661098"/>
                    <a:gd name="connsiteX60" fmla="*/ 635000 w 1146175"/>
                    <a:gd name="connsiteY60" fmla="*/ 1411866 h 1661098"/>
                    <a:gd name="connsiteX61" fmla="*/ 622300 w 1146175"/>
                    <a:gd name="connsiteY61" fmla="*/ 1418216 h 1661098"/>
                    <a:gd name="connsiteX62" fmla="*/ 606425 w 1146175"/>
                    <a:gd name="connsiteY62" fmla="*/ 1427741 h 1661098"/>
                    <a:gd name="connsiteX63" fmla="*/ 577850 w 1146175"/>
                    <a:gd name="connsiteY63" fmla="*/ 1443616 h 1661098"/>
                    <a:gd name="connsiteX64" fmla="*/ 558800 w 1146175"/>
                    <a:gd name="connsiteY64" fmla="*/ 1446791 h 1661098"/>
                    <a:gd name="connsiteX65" fmla="*/ 501650 w 1146175"/>
                    <a:gd name="connsiteY65" fmla="*/ 1453141 h 1661098"/>
                    <a:gd name="connsiteX66" fmla="*/ 492125 w 1146175"/>
                    <a:gd name="connsiteY66" fmla="*/ 1459491 h 1661098"/>
                    <a:gd name="connsiteX67" fmla="*/ 466725 w 1146175"/>
                    <a:gd name="connsiteY67" fmla="*/ 1491241 h 1661098"/>
                    <a:gd name="connsiteX68" fmla="*/ 457200 w 1146175"/>
                    <a:gd name="connsiteY68" fmla="*/ 1510291 h 1661098"/>
                    <a:gd name="connsiteX69" fmla="*/ 454025 w 1146175"/>
                    <a:gd name="connsiteY69" fmla="*/ 1519816 h 1661098"/>
                    <a:gd name="connsiteX70" fmla="*/ 447675 w 1146175"/>
                    <a:gd name="connsiteY70" fmla="*/ 1535691 h 1661098"/>
                    <a:gd name="connsiteX71" fmla="*/ 434975 w 1146175"/>
                    <a:gd name="connsiteY71" fmla="*/ 1561091 h 1661098"/>
                    <a:gd name="connsiteX72" fmla="*/ 431800 w 1146175"/>
                    <a:gd name="connsiteY72" fmla="*/ 1576966 h 1661098"/>
                    <a:gd name="connsiteX73" fmla="*/ 425450 w 1146175"/>
                    <a:gd name="connsiteY73" fmla="*/ 1602366 h 1661098"/>
                    <a:gd name="connsiteX74" fmla="*/ 422275 w 1146175"/>
                    <a:gd name="connsiteY74" fmla="*/ 1611891 h 1661098"/>
                    <a:gd name="connsiteX75" fmla="*/ 412750 w 1146175"/>
                    <a:gd name="connsiteY75" fmla="*/ 1621416 h 1661098"/>
                    <a:gd name="connsiteX76" fmla="*/ 222250 w 1146175"/>
                    <a:gd name="connsiteY76" fmla="*/ 1627766 h 1661098"/>
                    <a:gd name="connsiteX77" fmla="*/ 215900 w 1146175"/>
                    <a:gd name="connsiteY77" fmla="*/ 1611891 h 1661098"/>
                    <a:gd name="connsiteX78" fmla="*/ 206375 w 1146175"/>
                    <a:gd name="connsiteY78" fmla="*/ 1599191 h 1661098"/>
                    <a:gd name="connsiteX79" fmla="*/ 203200 w 1146175"/>
                    <a:gd name="connsiteY79" fmla="*/ 1586491 h 1661098"/>
                    <a:gd name="connsiteX80" fmla="*/ 196850 w 1146175"/>
                    <a:gd name="connsiteY80" fmla="*/ 1573791 h 1661098"/>
                    <a:gd name="connsiteX81" fmla="*/ 193675 w 1146175"/>
                    <a:gd name="connsiteY81" fmla="*/ 1564266 h 1661098"/>
                    <a:gd name="connsiteX82" fmla="*/ 187325 w 1146175"/>
                    <a:gd name="connsiteY82" fmla="*/ 1551566 h 1661098"/>
                    <a:gd name="connsiteX83" fmla="*/ 180975 w 1146175"/>
                    <a:gd name="connsiteY83" fmla="*/ 1535691 h 1661098"/>
                    <a:gd name="connsiteX84" fmla="*/ 161925 w 1146175"/>
                    <a:gd name="connsiteY84" fmla="*/ 1507116 h 1661098"/>
                    <a:gd name="connsiteX85" fmla="*/ 149225 w 1146175"/>
                    <a:gd name="connsiteY85" fmla="*/ 1484891 h 1661098"/>
                    <a:gd name="connsiteX86" fmla="*/ 142875 w 1146175"/>
                    <a:gd name="connsiteY86" fmla="*/ 1469016 h 1661098"/>
                    <a:gd name="connsiteX87" fmla="*/ 130175 w 1146175"/>
                    <a:gd name="connsiteY87" fmla="*/ 1465841 h 1661098"/>
                    <a:gd name="connsiteX88" fmla="*/ 101600 w 1146175"/>
                    <a:gd name="connsiteY88" fmla="*/ 1453141 h 1661098"/>
                    <a:gd name="connsiteX89" fmla="*/ 69850 w 1146175"/>
                    <a:gd name="connsiteY89" fmla="*/ 1443616 h 1661098"/>
                    <a:gd name="connsiteX90" fmla="*/ 41275 w 1146175"/>
                    <a:gd name="connsiteY90" fmla="*/ 1430916 h 1661098"/>
                    <a:gd name="connsiteX91" fmla="*/ 31750 w 1146175"/>
                    <a:gd name="connsiteY91" fmla="*/ 1424566 h 1661098"/>
                    <a:gd name="connsiteX92" fmla="*/ 15875 w 1146175"/>
                    <a:gd name="connsiteY92" fmla="*/ 1418216 h 1661098"/>
                    <a:gd name="connsiteX93" fmla="*/ 0 w 1146175"/>
                    <a:gd name="connsiteY93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52500 w 1146175"/>
                    <a:gd name="connsiteY37" fmla="*/ 1243591 h 1661098"/>
                    <a:gd name="connsiteX38" fmla="*/ 965200 w 1146175"/>
                    <a:gd name="connsiteY38" fmla="*/ 1268991 h 1661098"/>
                    <a:gd name="connsiteX39" fmla="*/ 974725 w 1146175"/>
                    <a:gd name="connsiteY39" fmla="*/ 1291216 h 1661098"/>
                    <a:gd name="connsiteX40" fmla="*/ 977900 w 1146175"/>
                    <a:gd name="connsiteY40" fmla="*/ 1303916 h 1661098"/>
                    <a:gd name="connsiteX41" fmla="*/ 981075 w 1146175"/>
                    <a:gd name="connsiteY41" fmla="*/ 1313441 h 1661098"/>
                    <a:gd name="connsiteX42" fmla="*/ 974725 w 1146175"/>
                    <a:gd name="connsiteY42" fmla="*/ 1348366 h 1661098"/>
                    <a:gd name="connsiteX43" fmla="*/ 949325 w 1146175"/>
                    <a:gd name="connsiteY43" fmla="*/ 1380116 h 1661098"/>
                    <a:gd name="connsiteX44" fmla="*/ 939800 w 1146175"/>
                    <a:gd name="connsiteY44" fmla="*/ 1386466 h 1661098"/>
                    <a:gd name="connsiteX45" fmla="*/ 930275 w 1146175"/>
                    <a:gd name="connsiteY45" fmla="*/ 1395991 h 1661098"/>
                    <a:gd name="connsiteX46" fmla="*/ 923925 w 1146175"/>
                    <a:gd name="connsiteY46" fmla="*/ 1405516 h 1661098"/>
                    <a:gd name="connsiteX47" fmla="*/ 908050 w 1146175"/>
                    <a:gd name="connsiteY47" fmla="*/ 1415041 h 1661098"/>
                    <a:gd name="connsiteX48" fmla="*/ 895350 w 1146175"/>
                    <a:gd name="connsiteY48" fmla="*/ 1427741 h 1661098"/>
                    <a:gd name="connsiteX49" fmla="*/ 882650 w 1146175"/>
                    <a:gd name="connsiteY49" fmla="*/ 1437266 h 1661098"/>
                    <a:gd name="connsiteX50" fmla="*/ 873125 w 1146175"/>
                    <a:gd name="connsiteY50" fmla="*/ 1446791 h 1661098"/>
                    <a:gd name="connsiteX51" fmla="*/ 844550 w 1146175"/>
                    <a:gd name="connsiteY51" fmla="*/ 1462666 h 1661098"/>
                    <a:gd name="connsiteX52" fmla="*/ 835025 w 1146175"/>
                    <a:gd name="connsiteY52" fmla="*/ 1465841 h 1661098"/>
                    <a:gd name="connsiteX53" fmla="*/ 815975 w 1146175"/>
                    <a:gd name="connsiteY53" fmla="*/ 1459491 h 1661098"/>
                    <a:gd name="connsiteX54" fmla="*/ 774700 w 1146175"/>
                    <a:gd name="connsiteY54" fmla="*/ 1443616 h 1661098"/>
                    <a:gd name="connsiteX55" fmla="*/ 749300 w 1146175"/>
                    <a:gd name="connsiteY55" fmla="*/ 1437266 h 1661098"/>
                    <a:gd name="connsiteX56" fmla="*/ 717550 w 1146175"/>
                    <a:gd name="connsiteY56" fmla="*/ 1424566 h 1661098"/>
                    <a:gd name="connsiteX57" fmla="*/ 688975 w 1146175"/>
                    <a:gd name="connsiteY57" fmla="*/ 1418216 h 1661098"/>
                    <a:gd name="connsiteX58" fmla="*/ 657225 w 1146175"/>
                    <a:gd name="connsiteY58" fmla="*/ 1408691 h 1661098"/>
                    <a:gd name="connsiteX59" fmla="*/ 635000 w 1146175"/>
                    <a:gd name="connsiteY59" fmla="*/ 1411866 h 1661098"/>
                    <a:gd name="connsiteX60" fmla="*/ 622300 w 1146175"/>
                    <a:gd name="connsiteY60" fmla="*/ 1418216 h 1661098"/>
                    <a:gd name="connsiteX61" fmla="*/ 606425 w 1146175"/>
                    <a:gd name="connsiteY61" fmla="*/ 1427741 h 1661098"/>
                    <a:gd name="connsiteX62" fmla="*/ 577850 w 1146175"/>
                    <a:gd name="connsiteY62" fmla="*/ 1443616 h 1661098"/>
                    <a:gd name="connsiteX63" fmla="*/ 558800 w 1146175"/>
                    <a:gd name="connsiteY63" fmla="*/ 1446791 h 1661098"/>
                    <a:gd name="connsiteX64" fmla="*/ 501650 w 1146175"/>
                    <a:gd name="connsiteY64" fmla="*/ 1453141 h 1661098"/>
                    <a:gd name="connsiteX65" fmla="*/ 492125 w 1146175"/>
                    <a:gd name="connsiteY65" fmla="*/ 1459491 h 1661098"/>
                    <a:gd name="connsiteX66" fmla="*/ 466725 w 1146175"/>
                    <a:gd name="connsiteY66" fmla="*/ 1491241 h 1661098"/>
                    <a:gd name="connsiteX67" fmla="*/ 457200 w 1146175"/>
                    <a:gd name="connsiteY67" fmla="*/ 1510291 h 1661098"/>
                    <a:gd name="connsiteX68" fmla="*/ 454025 w 1146175"/>
                    <a:gd name="connsiteY68" fmla="*/ 1519816 h 1661098"/>
                    <a:gd name="connsiteX69" fmla="*/ 447675 w 1146175"/>
                    <a:gd name="connsiteY69" fmla="*/ 1535691 h 1661098"/>
                    <a:gd name="connsiteX70" fmla="*/ 434975 w 1146175"/>
                    <a:gd name="connsiteY70" fmla="*/ 1561091 h 1661098"/>
                    <a:gd name="connsiteX71" fmla="*/ 431800 w 1146175"/>
                    <a:gd name="connsiteY71" fmla="*/ 1576966 h 1661098"/>
                    <a:gd name="connsiteX72" fmla="*/ 425450 w 1146175"/>
                    <a:gd name="connsiteY72" fmla="*/ 1602366 h 1661098"/>
                    <a:gd name="connsiteX73" fmla="*/ 422275 w 1146175"/>
                    <a:gd name="connsiteY73" fmla="*/ 1611891 h 1661098"/>
                    <a:gd name="connsiteX74" fmla="*/ 412750 w 1146175"/>
                    <a:gd name="connsiteY74" fmla="*/ 1621416 h 1661098"/>
                    <a:gd name="connsiteX75" fmla="*/ 222250 w 1146175"/>
                    <a:gd name="connsiteY75" fmla="*/ 1627766 h 1661098"/>
                    <a:gd name="connsiteX76" fmla="*/ 215900 w 1146175"/>
                    <a:gd name="connsiteY76" fmla="*/ 1611891 h 1661098"/>
                    <a:gd name="connsiteX77" fmla="*/ 206375 w 1146175"/>
                    <a:gd name="connsiteY77" fmla="*/ 1599191 h 1661098"/>
                    <a:gd name="connsiteX78" fmla="*/ 203200 w 1146175"/>
                    <a:gd name="connsiteY78" fmla="*/ 1586491 h 1661098"/>
                    <a:gd name="connsiteX79" fmla="*/ 196850 w 1146175"/>
                    <a:gd name="connsiteY79" fmla="*/ 1573791 h 1661098"/>
                    <a:gd name="connsiteX80" fmla="*/ 193675 w 1146175"/>
                    <a:gd name="connsiteY80" fmla="*/ 1564266 h 1661098"/>
                    <a:gd name="connsiteX81" fmla="*/ 187325 w 1146175"/>
                    <a:gd name="connsiteY81" fmla="*/ 1551566 h 1661098"/>
                    <a:gd name="connsiteX82" fmla="*/ 180975 w 1146175"/>
                    <a:gd name="connsiteY82" fmla="*/ 1535691 h 1661098"/>
                    <a:gd name="connsiteX83" fmla="*/ 161925 w 1146175"/>
                    <a:gd name="connsiteY83" fmla="*/ 1507116 h 1661098"/>
                    <a:gd name="connsiteX84" fmla="*/ 149225 w 1146175"/>
                    <a:gd name="connsiteY84" fmla="*/ 1484891 h 1661098"/>
                    <a:gd name="connsiteX85" fmla="*/ 142875 w 1146175"/>
                    <a:gd name="connsiteY85" fmla="*/ 1469016 h 1661098"/>
                    <a:gd name="connsiteX86" fmla="*/ 130175 w 1146175"/>
                    <a:gd name="connsiteY86" fmla="*/ 1465841 h 1661098"/>
                    <a:gd name="connsiteX87" fmla="*/ 101600 w 1146175"/>
                    <a:gd name="connsiteY87" fmla="*/ 1453141 h 1661098"/>
                    <a:gd name="connsiteX88" fmla="*/ 69850 w 1146175"/>
                    <a:gd name="connsiteY88" fmla="*/ 1443616 h 1661098"/>
                    <a:gd name="connsiteX89" fmla="*/ 41275 w 1146175"/>
                    <a:gd name="connsiteY89" fmla="*/ 1430916 h 1661098"/>
                    <a:gd name="connsiteX90" fmla="*/ 31750 w 1146175"/>
                    <a:gd name="connsiteY90" fmla="*/ 1424566 h 1661098"/>
                    <a:gd name="connsiteX91" fmla="*/ 15875 w 1146175"/>
                    <a:gd name="connsiteY91" fmla="*/ 1418216 h 1661098"/>
                    <a:gd name="connsiteX92" fmla="*/ 0 w 1146175"/>
                    <a:gd name="connsiteY92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52500 w 1146175"/>
                    <a:gd name="connsiteY37" fmla="*/ 1243591 h 1661098"/>
                    <a:gd name="connsiteX38" fmla="*/ 974725 w 1146175"/>
                    <a:gd name="connsiteY38" fmla="*/ 1291216 h 1661098"/>
                    <a:gd name="connsiteX39" fmla="*/ 977900 w 1146175"/>
                    <a:gd name="connsiteY39" fmla="*/ 1303916 h 1661098"/>
                    <a:gd name="connsiteX40" fmla="*/ 981075 w 1146175"/>
                    <a:gd name="connsiteY40" fmla="*/ 1313441 h 1661098"/>
                    <a:gd name="connsiteX41" fmla="*/ 974725 w 1146175"/>
                    <a:gd name="connsiteY41" fmla="*/ 1348366 h 1661098"/>
                    <a:gd name="connsiteX42" fmla="*/ 949325 w 1146175"/>
                    <a:gd name="connsiteY42" fmla="*/ 1380116 h 1661098"/>
                    <a:gd name="connsiteX43" fmla="*/ 939800 w 1146175"/>
                    <a:gd name="connsiteY43" fmla="*/ 1386466 h 1661098"/>
                    <a:gd name="connsiteX44" fmla="*/ 930275 w 1146175"/>
                    <a:gd name="connsiteY44" fmla="*/ 1395991 h 1661098"/>
                    <a:gd name="connsiteX45" fmla="*/ 923925 w 1146175"/>
                    <a:gd name="connsiteY45" fmla="*/ 1405516 h 1661098"/>
                    <a:gd name="connsiteX46" fmla="*/ 908050 w 1146175"/>
                    <a:gd name="connsiteY46" fmla="*/ 1415041 h 1661098"/>
                    <a:gd name="connsiteX47" fmla="*/ 895350 w 1146175"/>
                    <a:gd name="connsiteY47" fmla="*/ 1427741 h 1661098"/>
                    <a:gd name="connsiteX48" fmla="*/ 882650 w 1146175"/>
                    <a:gd name="connsiteY48" fmla="*/ 1437266 h 1661098"/>
                    <a:gd name="connsiteX49" fmla="*/ 873125 w 1146175"/>
                    <a:gd name="connsiteY49" fmla="*/ 1446791 h 1661098"/>
                    <a:gd name="connsiteX50" fmla="*/ 844550 w 1146175"/>
                    <a:gd name="connsiteY50" fmla="*/ 1462666 h 1661098"/>
                    <a:gd name="connsiteX51" fmla="*/ 835025 w 1146175"/>
                    <a:gd name="connsiteY51" fmla="*/ 1465841 h 1661098"/>
                    <a:gd name="connsiteX52" fmla="*/ 815975 w 1146175"/>
                    <a:gd name="connsiteY52" fmla="*/ 1459491 h 1661098"/>
                    <a:gd name="connsiteX53" fmla="*/ 774700 w 1146175"/>
                    <a:gd name="connsiteY53" fmla="*/ 1443616 h 1661098"/>
                    <a:gd name="connsiteX54" fmla="*/ 749300 w 1146175"/>
                    <a:gd name="connsiteY54" fmla="*/ 1437266 h 1661098"/>
                    <a:gd name="connsiteX55" fmla="*/ 717550 w 1146175"/>
                    <a:gd name="connsiteY55" fmla="*/ 1424566 h 1661098"/>
                    <a:gd name="connsiteX56" fmla="*/ 688975 w 1146175"/>
                    <a:gd name="connsiteY56" fmla="*/ 1418216 h 1661098"/>
                    <a:gd name="connsiteX57" fmla="*/ 657225 w 1146175"/>
                    <a:gd name="connsiteY57" fmla="*/ 1408691 h 1661098"/>
                    <a:gd name="connsiteX58" fmla="*/ 635000 w 1146175"/>
                    <a:gd name="connsiteY58" fmla="*/ 1411866 h 1661098"/>
                    <a:gd name="connsiteX59" fmla="*/ 622300 w 1146175"/>
                    <a:gd name="connsiteY59" fmla="*/ 1418216 h 1661098"/>
                    <a:gd name="connsiteX60" fmla="*/ 606425 w 1146175"/>
                    <a:gd name="connsiteY60" fmla="*/ 1427741 h 1661098"/>
                    <a:gd name="connsiteX61" fmla="*/ 577850 w 1146175"/>
                    <a:gd name="connsiteY61" fmla="*/ 1443616 h 1661098"/>
                    <a:gd name="connsiteX62" fmla="*/ 558800 w 1146175"/>
                    <a:gd name="connsiteY62" fmla="*/ 1446791 h 1661098"/>
                    <a:gd name="connsiteX63" fmla="*/ 501650 w 1146175"/>
                    <a:gd name="connsiteY63" fmla="*/ 1453141 h 1661098"/>
                    <a:gd name="connsiteX64" fmla="*/ 492125 w 1146175"/>
                    <a:gd name="connsiteY64" fmla="*/ 1459491 h 1661098"/>
                    <a:gd name="connsiteX65" fmla="*/ 466725 w 1146175"/>
                    <a:gd name="connsiteY65" fmla="*/ 1491241 h 1661098"/>
                    <a:gd name="connsiteX66" fmla="*/ 457200 w 1146175"/>
                    <a:gd name="connsiteY66" fmla="*/ 1510291 h 1661098"/>
                    <a:gd name="connsiteX67" fmla="*/ 454025 w 1146175"/>
                    <a:gd name="connsiteY67" fmla="*/ 1519816 h 1661098"/>
                    <a:gd name="connsiteX68" fmla="*/ 447675 w 1146175"/>
                    <a:gd name="connsiteY68" fmla="*/ 1535691 h 1661098"/>
                    <a:gd name="connsiteX69" fmla="*/ 434975 w 1146175"/>
                    <a:gd name="connsiteY69" fmla="*/ 1561091 h 1661098"/>
                    <a:gd name="connsiteX70" fmla="*/ 431800 w 1146175"/>
                    <a:gd name="connsiteY70" fmla="*/ 1576966 h 1661098"/>
                    <a:gd name="connsiteX71" fmla="*/ 425450 w 1146175"/>
                    <a:gd name="connsiteY71" fmla="*/ 1602366 h 1661098"/>
                    <a:gd name="connsiteX72" fmla="*/ 422275 w 1146175"/>
                    <a:gd name="connsiteY72" fmla="*/ 1611891 h 1661098"/>
                    <a:gd name="connsiteX73" fmla="*/ 412750 w 1146175"/>
                    <a:gd name="connsiteY73" fmla="*/ 1621416 h 1661098"/>
                    <a:gd name="connsiteX74" fmla="*/ 222250 w 1146175"/>
                    <a:gd name="connsiteY74" fmla="*/ 1627766 h 1661098"/>
                    <a:gd name="connsiteX75" fmla="*/ 215900 w 1146175"/>
                    <a:gd name="connsiteY75" fmla="*/ 1611891 h 1661098"/>
                    <a:gd name="connsiteX76" fmla="*/ 206375 w 1146175"/>
                    <a:gd name="connsiteY76" fmla="*/ 1599191 h 1661098"/>
                    <a:gd name="connsiteX77" fmla="*/ 203200 w 1146175"/>
                    <a:gd name="connsiteY77" fmla="*/ 1586491 h 1661098"/>
                    <a:gd name="connsiteX78" fmla="*/ 196850 w 1146175"/>
                    <a:gd name="connsiteY78" fmla="*/ 1573791 h 1661098"/>
                    <a:gd name="connsiteX79" fmla="*/ 193675 w 1146175"/>
                    <a:gd name="connsiteY79" fmla="*/ 1564266 h 1661098"/>
                    <a:gd name="connsiteX80" fmla="*/ 187325 w 1146175"/>
                    <a:gd name="connsiteY80" fmla="*/ 1551566 h 1661098"/>
                    <a:gd name="connsiteX81" fmla="*/ 180975 w 1146175"/>
                    <a:gd name="connsiteY81" fmla="*/ 1535691 h 1661098"/>
                    <a:gd name="connsiteX82" fmla="*/ 161925 w 1146175"/>
                    <a:gd name="connsiteY82" fmla="*/ 1507116 h 1661098"/>
                    <a:gd name="connsiteX83" fmla="*/ 149225 w 1146175"/>
                    <a:gd name="connsiteY83" fmla="*/ 1484891 h 1661098"/>
                    <a:gd name="connsiteX84" fmla="*/ 142875 w 1146175"/>
                    <a:gd name="connsiteY84" fmla="*/ 1469016 h 1661098"/>
                    <a:gd name="connsiteX85" fmla="*/ 130175 w 1146175"/>
                    <a:gd name="connsiteY85" fmla="*/ 1465841 h 1661098"/>
                    <a:gd name="connsiteX86" fmla="*/ 101600 w 1146175"/>
                    <a:gd name="connsiteY86" fmla="*/ 1453141 h 1661098"/>
                    <a:gd name="connsiteX87" fmla="*/ 69850 w 1146175"/>
                    <a:gd name="connsiteY87" fmla="*/ 1443616 h 1661098"/>
                    <a:gd name="connsiteX88" fmla="*/ 41275 w 1146175"/>
                    <a:gd name="connsiteY88" fmla="*/ 1430916 h 1661098"/>
                    <a:gd name="connsiteX89" fmla="*/ 31750 w 1146175"/>
                    <a:gd name="connsiteY89" fmla="*/ 1424566 h 1661098"/>
                    <a:gd name="connsiteX90" fmla="*/ 15875 w 1146175"/>
                    <a:gd name="connsiteY90" fmla="*/ 1418216 h 1661098"/>
                    <a:gd name="connsiteX91" fmla="*/ 0 w 1146175"/>
                    <a:gd name="connsiteY91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7900 w 1146175"/>
                    <a:gd name="connsiteY38" fmla="*/ 1303916 h 1661098"/>
                    <a:gd name="connsiteX39" fmla="*/ 981075 w 1146175"/>
                    <a:gd name="connsiteY39" fmla="*/ 1313441 h 1661098"/>
                    <a:gd name="connsiteX40" fmla="*/ 974725 w 1146175"/>
                    <a:gd name="connsiteY40" fmla="*/ 1348366 h 1661098"/>
                    <a:gd name="connsiteX41" fmla="*/ 949325 w 1146175"/>
                    <a:gd name="connsiteY41" fmla="*/ 1380116 h 1661098"/>
                    <a:gd name="connsiteX42" fmla="*/ 939800 w 1146175"/>
                    <a:gd name="connsiteY42" fmla="*/ 1386466 h 1661098"/>
                    <a:gd name="connsiteX43" fmla="*/ 930275 w 1146175"/>
                    <a:gd name="connsiteY43" fmla="*/ 1395991 h 1661098"/>
                    <a:gd name="connsiteX44" fmla="*/ 923925 w 1146175"/>
                    <a:gd name="connsiteY44" fmla="*/ 1405516 h 1661098"/>
                    <a:gd name="connsiteX45" fmla="*/ 908050 w 1146175"/>
                    <a:gd name="connsiteY45" fmla="*/ 1415041 h 1661098"/>
                    <a:gd name="connsiteX46" fmla="*/ 895350 w 1146175"/>
                    <a:gd name="connsiteY46" fmla="*/ 1427741 h 1661098"/>
                    <a:gd name="connsiteX47" fmla="*/ 882650 w 1146175"/>
                    <a:gd name="connsiteY47" fmla="*/ 1437266 h 1661098"/>
                    <a:gd name="connsiteX48" fmla="*/ 873125 w 1146175"/>
                    <a:gd name="connsiteY48" fmla="*/ 1446791 h 1661098"/>
                    <a:gd name="connsiteX49" fmla="*/ 844550 w 1146175"/>
                    <a:gd name="connsiteY49" fmla="*/ 1462666 h 1661098"/>
                    <a:gd name="connsiteX50" fmla="*/ 835025 w 1146175"/>
                    <a:gd name="connsiteY50" fmla="*/ 1465841 h 1661098"/>
                    <a:gd name="connsiteX51" fmla="*/ 815975 w 1146175"/>
                    <a:gd name="connsiteY51" fmla="*/ 1459491 h 1661098"/>
                    <a:gd name="connsiteX52" fmla="*/ 774700 w 1146175"/>
                    <a:gd name="connsiteY52" fmla="*/ 1443616 h 1661098"/>
                    <a:gd name="connsiteX53" fmla="*/ 749300 w 1146175"/>
                    <a:gd name="connsiteY53" fmla="*/ 1437266 h 1661098"/>
                    <a:gd name="connsiteX54" fmla="*/ 717550 w 1146175"/>
                    <a:gd name="connsiteY54" fmla="*/ 1424566 h 1661098"/>
                    <a:gd name="connsiteX55" fmla="*/ 688975 w 1146175"/>
                    <a:gd name="connsiteY55" fmla="*/ 1418216 h 1661098"/>
                    <a:gd name="connsiteX56" fmla="*/ 657225 w 1146175"/>
                    <a:gd name="connsiteY56" fmla="*/ 1408691 h 1661098"/>
                    <a:gd name="connsiteX57" fmla="*/ 635000 w 1146175"/>
                    <a:gd name="connsiteY57" fmla="*/ 1411866 h 1661098"/>
                    <a:gd name="connsiteX58" fmla="*/ 622300 w 1146175"/>
                    <a:gd name="connsiteY58" fmla="*/ 1418216 h 1661098"/>
                    <a:gd name="connsiteX59" fmla="*/ 606425 w 1146175"/>
                    <a:gd name="connsiteY59" fmla="*/ 1427741 h 1661098"/>
                    <a:gd name="connsiteX60" fmla="*/ 577850 w 1146175"/>
                    <a:gd name="connsiteY60" fmla="*/ 1443616 h 1661098"/>
                    <a:gd name="connsiteX61" fmla="*/ 558800 w 1146175"/>
                    <a:gd name="connsiteY61" fmla="*/ 1446791 h 1661098"/>
                    <a:gd name="connsiteX62" fmla="*/ 501650 w 1146175"/>
                    <a:gd name="connsiteY62" fmla="*/ 1453141 h 1661098"/>
                    <a:gd name="connsiteX63" fmla="*/ 492125 w 1146175"/>
                    <a:gd name="connsiteY63" fmla="*/ 1459491 h 1661098"/>
                    <a:gd name="connsiteX64" fmla="*/ 466725 w 1146175"/>
                    <a:gd name="connsiteY64" fmla="*/ 1491241 h 1661098"/>
                    <a:gd name="connsiteX65" fmla="*/ 457200 w 1146175"/>
                    <a:gd name="connsiteY65" fmla="*/ 1510291 h 1661098"/>
                    <a:gd name="connsiteX66" fmla="*/ 454025 w 1146175"/>
                    <a:gd name="connsiteY66" fmla="*/ 1519816 h 1661098"/>
                    <a:gd name="connsiteX67" fmla="*/ 447675 w 1146175"/>
                    <a:gd name="connsiteY67" fmla="*/ 1535691 h 1661098"/>
                    <a:gd name="connsiteX68" fmla="*/ 434975 w 1146175"/>
                    <a:gd name="connsiteY68" fmla="*/ 1561091 h 1661098"/>
                    <a:gd name="connsiteX69" fmla="*/ 431800 w 1146175"/>
                    <a:gd name="connsiteY69" fmla="*/ 1576966 h 1661098"/>
                    <a:gd name="connsiteX70" fmla="*/ 425450 w 1146175"/>
                    <a:gd name="connsiteY70" fmla="*/ 1602366 h 1661098"/>
                    <a:gd name="connsiteX71" fmla="*/ 422275 w 1146175"/>
                    <a:gd name="connsiteY71" fmla="*/ 1611891 h 1661098"/>
                    <a:gd name="connsiteX72" fmla="*/ 412750 w 1146175"/>
                    <a:gd name="connsiteY72" fmla="*/ 1621416 h 1661098"/>
                    <a:gd name="connsiteX73" fmla="*/ 222250 w 1146175"/>
                    <a:gd name="connsiteY73" fmla="*/ 1627766 h 1661098"/>
                    <a:gd name="connsiteX74" fmla="*/ 215900 w 1146175"/>
                    <a:gd name="connsiteY74" fmla="*/ 1611891 h 1661098"/>
                    <a:gd name="connsiteX75" fmla="*/ 206375 w 1146175"/>
                    <a:gd name="connsiteY75" fmla="*/ 1599191 h 1661098"/>
                    <a:gd name="connsiteX76" fmla="*/ 203200 w 1146175"/>
                    <a:gd name="connsiteY76" fmla="*/ 1586491 h 1661098"/>
                    <a:gd name="connsiteX77" fmla="*/ 196850 w 1146175"/>
                    <a:gd name="connsiteY77" fmla="*/ 1573791 h 1661098"/>
                    <a:gd name="connsiteX78" fmla="*/ 193675 w 1146175"/>
                    <a:gd name="connsiteY78" fmla="*/ 1564266 h 1661098"/>
                    <a:gd name="connsiteX79" fmla="*/ 187325 w 1146175"/>
                    <a:gd name="connsiteY79" fmla="*/ 1551566 h 1661098"/>
                    <a:gd name="connsiteX80" fmla="*/ 180975 w 1146175"/>
                    <a:gd name="connsiteY80" fmla="*/ 1535691 h 1661098"/>
                    <a:gd name="connsiteX81" fmla="*/ 161925 w 1146175"/>
                    <a:gd name="connsiteY81" fmla="*/ 1507116 h 1661098"/>
                    <a:gd name="connsiteX82" fmla="*/ 149225 w 1146175"/>
                    <a:gd name="connsiteY82" fmla="*/ 1484891 h 1661098"/>
                    <a:gd name="connsiteX83" fmla="*/ 142875 w 1146175"/>
                    <a:gd name="connsiteY83" fmla="*/ 1469016 h 1661098"/>
                    <a:gd name="connsiteX84" fmla="*/ 130175 w 1146175"/>
                    <a:gd name="connsiteY84" fmla="*/ 1465841 h 1661098"/>
                    <a:gd name="connsiteX85" fmla="*/ 101600 w 1146175"/>
                    <a:gd name="connsiteY85" fmla="*/ 1453141 h 1661098"/>
                    <a:gd name="connsiteX86" fmla="*/ 69850 w 1146175"/>
                    <a:gd name="connsiteY86" fmla="*/ 1443616 h 1661098"/>
                    <a:gd name="connsiteX87" fmla="*/ 41275 w 1146175"/>
                    <a:gd name="connsiteY87" fmla="*/ 1430916 h 1661098"/>
                    <a:gd name="connsiteX88" fmla="*/ 31750 w 1146175"/>
                    <a:gd name="connsiteY88" fmla="*/ 1424566 h 1661098"/>
                    <a:gd name="connsiteX89" fmla="*/ 15875 w 1146175"/>
                    <a:gd name="connsiteY89" fmla="*/ 1418216 h 1661098"/>
                    <a:gd name="connsiteX90" fmla="*/ 0 w 1146175"/>
                    <a:gd name="connsiteY90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7900 w 1146175"/>
                    <a:gd name="connsiteY38" fmla="*/ 1303916 h 1661098"/>
                    <a:gd name="connsiteX39" fmla="*/ 974725 w 1146175"/>
                    <a:gd name="connsiteY39" fmla="*/ 1348366 h 1661098"/>
                    <a:gd name="connsiteX40" fmla="*/ 949325 w 1146175"/>
                    <a:gd name="connsiteY40" fmla="*/ 1380116 h 1661098"/>
                    <a:gd name="connsiteX41" fmla="*/ 939800 w 1146175"/>
                    <a:gd name="connsiteY41" fmla="*/ 1386466 h 1661098"/>
                    <a:gd name="connsiteX42" fmla="*/ 930275 w 1146175"/>
                    <a:gd name="connsiteY42" fmla="*/ 1395991 h 1661098"/>
                    <a:gd name="connsiteX43" fmla="*/ 923925 w 1146175"/>
                    <a:gd name="connsiteY43" fmla="*/ 1405516 h 1661098"/>
                    <a:gd name="connsiteX44" fmla="*/ 908050 w 1146175"/>
                    <a:gd name="connsiteY44" fmla="*/ 1415041 h 1661098"/>
                    <a:gd name="connsiteX45" fmla="*/ 895350 w 1146175"/>
                    <a:gd name="connsiteY45" fmla="*/ 1427741 h 1661098"/>
                    <a:gd name="connsiteX46" fmla="*/ 882650 w 1146175"/>
                    <a:gd name="connsiteY46" fmla="*/ 1437266 h 1661098"/>
                    <a:gd name="connsiteX47" fmla="*/ 873125 w 1146175"/>
                    <a:gd name="connsiteY47" fmla="*/ 1446791 h 1661098"/>
                    <a:gd name="connsiteX48" fmla="*/ 844550 w 1146175"/>
                    <a:gd name="connsiteY48" fmla="*/ 1462666 h 1661098"/>
                    <a:gd name="connsiteX49" fmla="*/ 835025 w 1146175"/>
                    <a:gd name="connsiteY49" fmla="*/ 1465841 h 1661098"/>
                    <a:gd name="connsiteX50" fmla="*/ 815975 w 1146175"/>
                    <a:gd name="connsiteY50" fmla="*/ 1459491 h 1661098"/>
                    <a:gd name="connsiteX51" fmla="*/ 774700 w 1146175"/>
                    <a:gd name="connsiteY51" fmla="*/ 1443616 h 1661098"/>
                    <a:gd name="connsiteX52" fmla="*/ 749300 w 1146175"/>
                    <a:gd name="connsiteY52" fmla="*/ 1437266 h 1661098"/>
                    <a:gd name="connsiteX53" fmla="*/ 717550 w 1146175"/>
                    <a:gd name="connsiteY53" fmla="*/ 1424566 h 1661098"/>
                    <a:gd name="connsiteX54" fmla="*/ 688975 w 1146175"/>
                    <a:gd name="connsiteY54" fmla="*/ 1418216 h 1661098"/>
                    <a:gd name="connsiteX55" fmla="*/ 657225 w 1146175"/>
                    <a:gd name="connsiteY55" fmla="*/ 1408691 h 1661098"/>
                    <a:gd name="connsiteX56" fmla="*/ 635000 w 1146175"/>
                    <a:gd name="connsiteY56" fmla="*/ 1411866 h 1661098"/>
                    <a:gd name="connsiteX57" fmla="*/ 622300 w 1146175"/>
                    <a:gd name="connsiteY57" fmla="*/ 1418216 h 1661098"/>
                    <a:gd name="connsiteX58" fmla="*/ 606425 w 1146175"/>
                    <a:gd name="connsiteY58" fmla="*/ 1427741 h 1661098"/>
                    <a:gd name="connsiteX59" fmla="*/ 577850 w 1146175"/>
                    <a:gd name="connsiteY59" fmla="*/ 1443616 h 1661098"/>
                    <a:gd name="connsiteX60" fmla="*/ 558800 w 1146175"/>
                    <a:gd name="connsiteY60" fmla="*/ 1446791 h 1661098"/>
                    <a:gd name="connsiteX61" fmla="*/ 501650 w 1146175"/>
                    <a:gd name="connsiteY61" fmla="*/ 1453141 h 1661098"/>
                    <a:gd name="connsiteX62" fmla="*/ 492125 w 1146175"/>
                    <a:gd name="connsiteY62" fmla="*/ 1459491 h 1661098"/>
                    <a:gd name="connsiteX63" fmla="*/ 466725 w 1146175"/>
                    <a:gd name="connsiteY63" fmla="*/ 1491241 h 1661098"/>
                    <a:gd name="connsiteX64" fmla="*/ 457200 w 1146175"/>
                    <a:gd name="connsiteY64" fmla="*/ 1510291 h 1661098"/>
                    <a:gd name="connsiteX65" fmla="*/ 454025 w 1146175"/>
                    <a:gd name="connsiteY65" fmla="*/ 1519816 h 1661098"/>
                    <a:gd name="connsiteX66" fmla="*/ 447675 w 1146175"/>
                    <a:gd name="connsiteY66" fmla="*/ 1535691 h 1661098"/>
                    <a:gd name="connsiteX67" fmla="*/ 434975 w 1146175"/>
                    <a:gd name="connsiteY67" fmla="*/ 1561091 h 1661098"/>
                    <a:gd name="connsiteX68" fmla="*/ 431800 w 1146175"/>
                    <a:gd name="connsiteY68" fmla="*/ 1576966 h 1661098"/>
                    <a:gd name="connsiteX69" fmla="*/ 425450 w 1146175"/>
                    <a:gd name="connsiteY69" fmla="*/ 1602366 h 1661098"/>
                    <a:gd name="connsiteX70" fmla="*/ 422275 w 1146175"/>
                    <a:gd name="connsiteY70" fmla="*/ 1611891 h 1661098"/>
                    <a:gd name="connsiteX71" fmla="*/ 412750 w 1146175"/>
                    <a:gd name="connsiteY71" fmla="*/ 1621416 h 1661098"/>
                    <a:gd name="connsiteX72" fmla="*/ 222250 w 1146175"/>
                    <a:gd name="connsiteY72" fmla="*/ 1627766 h 1661098"/>
                    <a:gd name="connsiteX73" fmla="*/ 215900 w 1146175"/>
                    <a:gd name="connsiteY73" fmla="*/ 1611891 h 1661098"/>
                    <a:gd name="connsiteX74" fmla="*/ 206375 w 1146175"/>
                    <a:gd name="connsiteY74" fmla="*/ 1599191 h 1661098"/>
                    <a:gd name="connsiteX75" fmla="*/ 203200 w 1146175"/>
                    <a:gd name="connsiteY75" fmla="*/ 1586491 h 1661098"/>
                    <a:gd name="connsiteX76" fmla="*/ 196850 w 1146175"/>
                    <a:gd name="connsiteY76" fmla="*/ 1573791 h 1661098"/>
                    <a:gd name="connsiteX77" fmla="*/ 193675 w 1146175"/>
                    <a:gd name="connsiteY77" fmla="*/ 1564266 h 1661098"/>
                    <a:gd name="connsiteX78" fmla="*/ 187325 w 1146175"/>
                    <a:gd name="connsiteY78" fmla="*/ 1551566 h 1661098"/>
                    <a:gd name="connsiteX79" fmla="*/ 180975 w 1146175"/>
                    <a:gd name="connsiteY79" fmla="*/ 1535691 h 1661098"/>
                    <a:gd name="connsiteX80" fmla="*/ 161925 w 1146175"/>
                    <a:gd name="connsiteY80" fmla="*/ 1507116 h 1661098"/>
                    <a:gd name="connsiteX81" fmla="*/ 149225 w 1146175"/>
                    <a:gd name="connsiteY81" fmla="*/ 1484891 h 1661098"/>
                    <a:gd name="connsiteX82" fmla="*/ 142875 w 1146175"/>
                    <a:gd name="connsiteY82" fmla="*/ 1469016 h 1661098"/>
                    <a:gd name="connsiteX83" fmla="*/ 130175 w 1146175"/>
                    <a:gd name="connsiteY83" fmla="*/ 1465841 h 1661098"/>
                    <a:gd name="connsiteX84" fmla="*/ 101600 w 1146175"/>
                    <a:gd name="connsiteY84" fmla="*/ 1453141 h 1661098"/>
                    <a:gd name="connsiteX85" fmla="*/ 69850 w 1146175"/>
                    <a:gd name="connsiteY85" fmla="*/ 1443616 h 1661098"/>
                    <a:gd name="connsiteX86" fmla="*/ 41275 w 1146175"/>
                    <a:gd name="connsiteY86" fmla="*/ 1430916 h 1661098"/>
                    <a:gd name="connsiteX87" fmla="*/ 31750 w 1146175"/>
                    <a:gd name="connsiteY87" fmla="*/ 1424566 h 1661098"/>
                    <a:gd name="connsiteX88" fmla="*/ 15875 w 1146175"/>
                    <a:gd name="connsiteY88" fmla="*/ 1418216 h 1661098"/>
                    <a:gd name="connsiteX89" fmla="*/ 0 w 1146175"/>
                    <a:gd name="connsiteY89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939800 w 1146175"/>
                    <a:gd name="connsiteY40" fmla="*/ 1386466 h 1661098"/>
                    <a:gd name="connsiteX41" fmla="*/ 930275 w 1146175"/>
                    <a:gd name="connsiteY41" fmla="*/ 1395991 h 1661098"/>
                    <a:gd name="connsiteX42" fmla="*/ 923925 w 1146175"/>
                    <a:gd name="connsiteY42" fmla="*/ 1405516 h 1661098"/>
                    <a:gd name="connsiteX43" fmla="*/ 908050 w 1146175"/>
                    <a:gd name="connsiteY43" fmla="*/ 1415041 h 1661098"/>
                    <a:gd name="connsiteX44" fmla="*/ 895350 w 1146175"/>
                    <a:gd name="connsiteY44" fmla="*/ 1427741 h 1661098"/>
                    <a:gd name="connsiteX45" fmla="*/ 882650 w 1146175"/>
                    <a:gd name="connsiteY45" fmla="*/ 1437266 h 1661098"/>
                    <a:gd name="connsiteX46" fmla="*/ 873125 w 1146175"/>
                    <a:gd name="connsiteY46" fmla="*/ 1446791 h 1661098"/>
                    <a:gd name="connsiteX47" fmla="*/ 844550 w 1146175"/>
                    <a:gd name="connsiteY47" fmla="*/ 1462666 h 1661098"/>
                    <a:gd name="connsiteX48" fmla="*/ 835025 w 1146175"/>
                    <a:gd name="connsiteY48" fmla="*/ 1465841 h 1661098"/>
                    <a:gd name="connsiteX49" fmla="*/ 815975 w 1146175"/>
                    <a:gd name="connsiteY49" fmla="*/ 1459491 h 1661098"/>
                    <a:gd name="connsiteX50" fmla="*/ 774700 w 1146175"/>
                    <a:gd name="connsiteY50" fmla="*/ 1443616 h 1661098"/>
                    <a:gd name="connsiteX51" fmla="*/ 749300 w 1146175"/>
                    <a:gd name="connsiteY51" fmla="*/ 1437266 h 1661098"/>
                    <a:gd name="connsiteX52" fmla="*/ 717550 w 1146175"/>
                    <a:gd name="connsiteY52" fmla="*/ 1424566 h 1661098"/>
                    <a:gd name="connsiteX53" fmla="*/ 688975 w 1146175"/>
                    <a:gd name="connsiteY53" fmla="*/ 1418216 h 1661098"/>
                    <a:gd name="connsiteX54" fmla="*/ 657225 w 1146175"/>
                    <a:gd name="connsiteY54" fmla="*/ 1408691 h 1661098"/>
                    <a:gd name="connsiteX55" fmla="*/ 635000 w 1146175"/>
                    <a:gd name="connsiteY55" fmla="*/ 1411866 h 1661098"/>
                    <a:gd name="connsiteX56" fmla="*/ 622300 w 1146175"/>
                    <a:gd name="connsiteY56" fmla="*/ 1418216 h 1661098"/>
                    <a:gd name="connsiteX57" fmla="*/ 606425 w 1146175"/>
                    <a:gd name="connsiteY57" fmla="*/ 1427741 h 1661098"/>
                    <a:gd name="connsiteX58" fmla="*/ 577850 w 1146175"/>
                    <a:gd name="connsiteY58" fmla="*/ 1443616 h 1661098"/>
                    <a:gd name="connsiteX59" fmla="*/ 558800 w 1146175"/>
                    <a:gd name="connsiteY59" fmla="*/ 1446791 h 1661098"/>
                    <a:gd name="connsiteX60" fmla="*/ 501650 w 1146175"/>
                    <a:gd name="connsiteY60" fmla="*/ 1453141 h 1661098"/>
                    <a:gd name="connsiteX61" fmla="*/ 492125 w 1146175"/>
                    <a:gd name="connsiteY61" fmla="*/ 1459491 h 1661098"/>
                    <a:gd name="connsiteX62" fmla="*/ 466725 w 1146175"/>
                    <a:gd name="connsiteY62" fmla="*/ 1491241 h 1661098"/>
                    <a:gd name="connsiteX63" fmla="*/ 457200 w 1146175"/>
                    <a:gd name="connsiteY63" fmla="*/ 1510291 h 1661098"/>
                    <a:gd name="connsiteX64" fmla="*/ 454025 w 1146175"/>
                    <a:gd name="connsiteY64" fmla="*/ 1519816 h 1661098"/>
                    <a:gd name="connsiteX65" fmla="*/ 447675 w 1146175"/>
                    <a:gd name="connsiteY65" fmla="*/ 1535691 h 1661098"/>
                    <a:gd name="connsiteX66" fmla="*/ 434975 w 1146175"/>
                    <a:gd name="connsiteY66" fmla="*/ 1561091 h 1661098"/>
                    <a:gd name="connsiteX67" fmla="*/ 431800 w 1146175"/>
                    <a:gd name="connsiteY67" fmla="*/ 1576966 h 1661098"/>
                    <a:gd name="connsiteX68" fmla="*/ 425450 w 1146175"/>
                    <a:gd name="connsiteY68" fmla="*/ 1602366 h 1661098"/>
                    <a:gd name="connsiteX69" fmla="*/ 422275 w 1146175"/>
                    <a:gd name="connsiteY69" fmla="*/ 1611891 h 1661098"/>
                    <a:gd name="connsiteX70" fmla="*/ 412750 w 1146175"/>
                    <a:gd name="connsiteY70" fmla="*/ 1621416 h 1661098"/>
                    <a:gd name="connsiteX71" fmla="*/ 222250 w 1146175"/>
                    <a:gd name="connsiteY71" fmla="*/ 1627766 h 1661098"/>
                    <a:gd name="connsiteX72" fmla="*/ 215900 w 1146175"/>
                    <a:gd name="connsiteY72" fmla="*/ 1611891 h 1661098"/>
                    <a:gd name="connsiteX73" fmla="*/ 206375 w 1146175"/>
                    <a:gd name="connsiteY73" fmla="*/ 1599191 h 1661098"/>
                    <a:gd name="connsiteX74" fmla="*/ 203200 w 1146175"/>
                    <a:gd name="connsiteY74" fmla="*/ 1586491 h 1661098"/>
                    <a:gd name="connsiteX75" fmla="*/ 196850 w 1146175"/>
                    <a:gd name="connsiteY75" fmla="*/ 1573791 h 1661098"/>
                    <a:gd name="connsiteX76" fmla="*/ 193675 w 1146175"/>
                    <a:gd name="connsiteY76" fmla="*/ 1564266 h 1661098"/>
                    <a:gd name="connsiteX77" fmla="*/ 187325 w 1146175"/>
                    <a:gd name="connsiteY77" fmla="*/ 1551566 h 1661098"/>
                    <a:gd name="connsiteX78" fmla="*/ 180975 w 1146175"/>
                    <a:gd name="connsiteY78" fmla="*/ 1535691 h 1661098"/>
                    <a:gd name="connsiteX79" fmla="*/ 161925 w 1146175"/>
                    <a:gd name="connsiteY79" fmla="*/ 1507116 h 1661098"/>
                    <a:gd name="connsiteX80" fmla="*/ 149225 w 1146175"/>
                    <a:gd name="connsiteY80" fmla="*/ 1484891 h 1661098"/>
                    <a:gd name="connsiteX81" fmla="*/ 142875 w 1146175"/>
                    <a:gd name="connsiteY81" fmla="*/ 1469016 h 1661098"/>
                    <a:gd name="connsiteX82" fmla="*/ 130175 w 1146175"/>
                    <a:gd name="connsiteY82" fmla="*/ 1465841 h 1661098"/>
                    <a:gd name="connsiteX83" fmla="*/ 101600 w 1146175"/>
                    <a:gd name="connsiteY83" fmla="*/ 1453141 h 1661098"/>
                    <a:gd name="connsiteX84" fmla="*/ 69850 w 1146175"/>
                    <a:gd name="connsiteY84" fmla="*/ 1443616 h 1661098"/>
                    <a:gd name="connsiteX85" fmla="*/ 41275 w 1146175"/>
                    <a:gd name="connsiteY85" fmla="*/ 1430916 h 1661098"/>
                    <a:gd name="connsiteX86" fmla="*/ 31750 w 1146175"/>
                    <a:gd name="connsiteY86" fmla="*/ 1424566 h 1661098"/>
                    <a:gd name="connsiteX87" fmla="*/ 15875 w 1146175"/>
                    <a:gd name="connsiteY87" fmla="*/ 1418216 h 1661098"/>
                    <a:gd name="connsiteX88" fmla="*/ 0 w 1146175"/>
                    <a:gd name="connsiteY88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939800 w 1146175"/>
                    <a:gd name="connsiteY40" fmla="*/ 1386466 h 1661098"/>
                    <a:gd name="connsiteX41" fmla="*/ 923925 w 1146175"/>
                    <a:gd name="connsiteY41" fmla="*/ 1405516 h 1661098"/>
                    <a:gd name="connsiteX42" fmla="*/ 908050 w 1146175"/>
                    <a:gd name="connsiteY42" fmla="*/ 1415041 h 1661098"/>
                    <a:gd name="connsiteX43" fmla="*/ 895350 w 1146175"/>
                    <a:gd name="connsiteY43" fmla="*/ 1427741 h 1661098"/>
                    <a:gd name="connsiteX44" fmla="*/ 882650 w 1146175"/>
                    <a:gd name="connsiteY44" fmla="*/ 1437266 h 1661098"/>
                    <a:gd name="connsiteX45" fmla="*/ 873125 w 1146175"/>
                    <a:gd name="connsiteY45" fmla="*/ 1446791 h 1661098"/>
                    <a:gd name="connsiteX46" fmla="*/ 844550 w 1146175"/>
                    <a:gd name="connsiteY46" fmla="*/ 1462666 h 1661098"/>
                    <a:gd name="connsiteX47" fmla="*/ 835025 w 1146175"/>
                    <a:gd name="connsiteY47" fmla="*/ 1465841 h 1661098"/>
                    <a:gd name="connsiteX48" fmla="*/ 815975 w 1146175"/>
                    <a:gd name="connsiteY48" fmla="*/ 1459491 h 1661098"/>
                    <a:gd name="connsiteX49" fmla="*/ 774700 w 1146175"/>
                    <a:gd name="connsiteY49" fmla="*/ 1443616 h 1661098"/>
                    <a:gd name="connsiteX50" fmla="*/ 749300 w 1146175"/>
                    <a:gd name="connsiteY50" fmla="*/ 1437266 h 1661098"/>
                    <a:gd name="connsiteX51" fmla="*/ 717550 w 1146175"/>
                    <a:gd name="connsiteY51" fmla="*/ 1424566 h 1661098"/>
                    <a:gd name="connsiteX52" fmla="*/ 688975 w 1146175"/>
                    <a:gd name="connsiteY52" fmla="*/ 1418216 h 1661098"/>
                    <a:gd name="connsiteX53" fmla="*/ 657225 w 1146175"/>
                    <a:gd name="connsiteY53" fmla="*/ 1408691 h 1661098"/>
                    <a:gd name="connsiteX54" fmla="*/ 635000 w 1146175"/>
                    <a:gd name="connsiteY54" fmla="*/ 1411866 h 1661098"/>
                    <a:gd name="connsiteX55" fmla="*/ 622300 w 1146175"/>
                    <a:gd name="connsiteY55" fmla="*/ 1418216 h 1661098"/>
                    <a:gd name="connsiteX56" fmla="*/ 606425 w 1146175"/>
                    <a:gd name="connsiteY56" fmla="*/ 1427741 h 1661098"/>
                    <a:gd name="connsiteX57" fmla="*/ 577850 w 1146175"/>
                    <a:gd name="connsiteY57" fmla="*/ 1443616 h 1661098"/>
                    <a:gd name="connsiteX58" fmla="*/ 558800 w 1146175"/>
                    <a:gd name="connsiteY58" fmla="*/ 1446791 h 1661098"/>
                    <a:gd name="connsiteX59" fmla="*/ 501650 w 1146175"/>
                    <a:gd name="connsiteY59" fmla="*/ 1453141 h 1661098"/>
                    <a:gd name="connsiteX60" fmla="*/ 492125 w 1146175"/>
                    <a:gd name="connsiteY60" fmla="*/ 1459491 h 1661098"/>
                    <a:gd name="connsiteX61" fmla="*/ 466725 w 1146175"/>
                    <a:gd name="connsiteY61" fmla="*/ 1491241 h 1661098"/>
                    <a:gd name="connsiteX62" fmla="*/ 457200 w 1146175"/>
                    <a:gd name="connsiteY62" fmla="*/ 1510291 h 1661098"/>
                    <a:gd name="connsiteX63" fmla="*/ 454025 w 1146175"/>
                    <a:gd name="connsiteY63" fmla="*/ 1519816 h 1661098"/>
                    <a:gd name="connsiteX64" fmla="*/ 447675 w 1146175"/>
                    <a:gd name="connsiteY64" fmla="*/ 1535691 h 1661098"/>
                    <a:gd name="connsiteX65" fmla="*/ 434975 w 1146175"/>
                    <a:gd name="connsiteY65" fmla="*/ 1561091 h 1661098"/>
                    <a:gd name="connsiteX66" fmla="*/ 431800 w 1146175"/>
                    <a:gd name="connsiteY66" fmla="*/ 1576966 h 1661098"/>
                    <a:gd name="connsiteX67" fmla="*/ 425450 w 1146175"/>
                    <a:gd name="connsiteY67" fmla="*/ 1602366 h 1661098"/>
                    <a:gd name="connsiteX68" fmla="*/ 422275 w 1146175"/>
                    <a:gd name="connsiteY68" fmla="*/ 1611891 h 1661098"/>
                    <a:gd name="connsiteX69" fmla="*/ 412750 w 1146175"/>
                    <a:gd name="connsiteY69" fmla="*/ 1621416 h 1661098"/>
                    <a:gd name="connsiteX70" fmla="*/ 222250 w 1146175"/>
                    <a:gd name="connsiteY70" fmla="*/ 1627766 h 1661098"/>
                    <a:gd name="connsiteX71" fmla="*/ 215900 w 1146175"/>
                    <a:gd name="connsiteY71" fmla="*/ 1611891 h 1661098"/>
                    <a:gd name="connsiteX72" fmla="*/ 206375 w 1146175"/>
                    <a:gd name="connsiteY72" fmla="*/ 1599191 h 1661098"/>
                    <a:gd name="connsiteX73" fmla="*/ 203200 w 1146175"/>
                    <a:gd name="connsiteY73" fmla="*/ 1586491 h 1661098"/>
                    <a:gd name="connsiteX74" fmla="*/ 196850 w 1146175"/>
                    <a:gd name="connsiteY74" fmla="*/ 1573791 h 1661098"/>
                    <a:gd name="connsiteX75" fmla="*/ 193675 w 1146175"/>
                    <a:gd name="connsiteY75" fmla="*/ 1564266 h 1661098"/>
                    <a:gd name="connsiteX76" fmla="*/ 187325 w 1146175"/>
                    <a:gd name="connsiteY76" fmla="*/ 1551566 h 1661098"/>
                    <a:gd name="connsiteX77" fmla="*/ 180975 w 1146175"/>
                    <a:gd name="connsiteY77" fmla="*/ 1535691 h 1661098"/>
                    <a:gd name="connsiteX78" fmla="*/ 161925 w 1146175"/>
                    <a:gd name="connsiteY78" fmla="*/ 1507116 h 1661098"/>
                    <a:gd name="connsiteX79" fmla="*/ 149225 w 1146175"/>
                    <a:gd name="connsiteY79" fmla="*/ 1484891 h 1661098"/>
                    <a:gd name="connsiteX80" fmla="*/ 142875 w 1146175"/>
                    <a:gd name="connsiteY80" fmla="*/ 1469016 h 1661098"/>
                    <a:gd name="connsiteX81" fmla="*/ 130175 w 1146175"/>
                    <a:gd name="connsiteY81" fmla="*/ 1465841 h 1661098"/>
                    <a:gd name="connsiteX82" fmla="*/ 101600 w 1146175"/>
                    <a:gd name="connsiteY82" fmla="*/ 1453141 h 1661098"/>
                    <a:gd name="connsiteX83" fmla="*/ 69850 w 1146175"/>
                    <a:gd name="connsiteY83" fmla="*/ 1443616 h 1661098"/>
                    <a:gd name="connsiteX84" fmla="*/ 41275 w 1146175"/>
                    <a:gd name="connsiteY84" fmla="*/ 1430916 h 1661098"/>
                    <a:gd name="connsiteX85" fmla="*/ 31750 w 1146175"/>
                    <a:gd name="connsiteY85" fmla="*/ 1424566 h 1661098"/>
                    <a:gd name="connsiteX86" fmla="*/ 15875 w 1146175"/>
                    <a:gd name="connsiteY86" fmla="*/ 1418216 h 1661098"/>
                    <a:gd name="connsiteX87" fmla="*/ 0 w 1146175"/>
                    <a:gd name="connsiteY87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939800 w 1146175"/>
                    <a:gd name="connsiteY40" fmla="*/ 1386466 h 1661098"/>
                    <a:gd name="connsiteX41" fmla="*/ 908050 w 1146175"/>
                    <a:gd name="connsiteY41" fmla="*/ 1415041 h 1661098"/>
                    <a:gd name="connsiteX42" fmla="*/ 895350 w 1146175"/>
                    <a:gd name="connsiteY42" fmla="*/ 1427741 h 1661098"/>
                    <a:gd name="connsiteX43" fmla="*/ 882650 w 1146175"/>
                    <a:gd name="connsiteY43" fmla="*/ 1437266 h 1661098"/>
                    <a:gd name="connsiteX44" fmla="*/ 873125 w 1146175"/>
                    <a:gd name="connsiteY44" fmla="*/ 1446791 h 1661098"/>
                    <a:gd name="connsiteX45" fmla="*/ 844550 w 1146175"/>
                    <a:gd name="connsiteY45" fmla="*/ 1462666 h 1661098"/>
                    <a:gd name="connsiteX46" fmla="*/ 835025 w 1146175"/>
                    <a:gd name="connsiteY46" fmla="*/ 1465841 h 1661098"/>
                    <a:gd name="connsiteX47" fmla="*/ 815975 w 1146175"/>
                    <a:gd name="connsiteY47" fmla="*/ 1459491 h 1661098"/>
                    <a:gd name="connsiteX48" fmla="*/ 774700 w 1146175"/>
                    <a:gd name="connsiteY48" fmla="*/ 1443616 h 1661098"/>
                    <a:gd name="connsiteX49" fmla="*/ 749300 w 1146175"/>
                    <a:gd name="connsiteY49" fmla="*/ 1437266 h 1661098"/>
                    <a:gd name="connsiteX50" fmla="*/ 717550 w 1146175"/>
                    <a:gd name="connsiteY50" fmla="*/ 1424566 h 1661098"/>
                    <a:gd name="connsiteX51" fmla="*/ 688975 w 1146175"/>
                    <a:gd name="connsiteY51" fmla="*/ 1418216 h 1661098"/>
                    <a:gd name="connsiteX52" fmla="*/ 657225 w 1146175"/>
                    <a:gd name="connsiteY52" fmla="*/ 1408691 h 1661098"/>
                    <a:gd name="connsiteX53" fmla="*/ 635000 w 1146175"/>
                    <a:gd name="connsiteY53" fmla="*/ 1411866 h 1661098"/>
                    <a:gd name="connsiteX54" fmla="*/ 622300 w 1146175"/>
                    <a:gd name="connsiteY54" fmla="*/ 1418216 h 1661098"/>
                    <a:gd name="connsiteX55" fmla="*/ 606425 w 1146175"/>
                    <a:gd name="connsiteY55" fmla="*/ 1427741 h 1661098"/>
                    <a:gd name="connsiteX56" fmla="*/ 577850 w 1146175"/>
                    <a:gd name="connsiteY56" fmla="*/ 1443616 h 1661098"/>
                    <a:gd name="connsiteX57" fmla="*/ 558800 w 1146175"/>
                    <a:gd name="connsiteY57" fmla="*/ 1446791 h 1661098"/>
                    <a:gd name="connsiteX58" fmla="*/ 501650 w 1146175"/>
                    <a:gd name="connsiteY58" fmla="*/ 1453141 h 1661098"/>
                    <a:gd name="connsiteX59" fmla="*/ 492125 w 1146175"/>
                    <a:gd name="connsiteY59" fmla="*/ 1459491 h 1661098"/>
                    <a:gd name="connsiteX60" fmla="*/ 466725 w 1146175"/>
                    <a:gd name="connsiteY60" fmla="*/ 1491241 h 1661098"/>
                    <a:gd name="connsiteX61" fmla="*/ 457200 w 1146175"/>
                    <a:gd name="connsiteY61" fmla="*/ 1510291 h 1661098"/>
                    <a:gd name="connsiteX62" fmla="*/ 454025 w 1146175"/>
                    <a:gd name="connsiteY62" fmla="*/ 1519816 h 1661098"/>
                    <a:gd name="connsiteX63" fmla="*/ 447675 w 1146175"/>
                    <a:gd name="connsiteY63" fmla="*/ 1535691 h 1661098"/>
                    <a:gd name="connsiteX64" fmla="*/ 434975 w 1146175"/>
                    <a:gd name="connsiteY64" fmla="*/ 1561091 h 1661098"/>
                    <a:gd name="connsiteX65" fmla="*/ 431800 w 1146175"/>
                    <a:gd name="connsiteY65" fmla="*/ 1576966 h 1661098"/>
                    <a:gd name="connsiteX66" fmla="*/ 425450 w 1146175"/>
                    <a:gd name="connsiteY66" fmla="*/ 1602366 h 1661098"/>
                    <a:gd name="connsiteX67" fmla="*/ 422275 w 1146175"/>
                    <a:gd name="connsiteY67" fmla="*/ 1611891 h 1661098"/>
                    <a:gd name="connsiteX68" fmla="*/ 412750 w 1146175"/>
                    <a:gd name="connsiteY68" fmla="*/ 1621416 h 1661098"/>
                    <a:gd name="connsiteX69" fmla="*/ 222250 w 1146175"/>
                    <a:gd name="connsiteY69" fmla="*/ 1627766 h 1661098"/>
                    <a:gd name="connsiteX70" fmla="*/ 215900 w 1146175"/>
                    <a:gd name="connsiteY70" fmla="*/ 1611891 h 1661098"/>
                    <a:gd name="connsiteX71" fmla="*/ 206375 w 1146175"/>
                    <a:gd name="connsiteY71" fmla="*/ 1599191 h 1661098"/>
                    <a:gd name="connsiteX72" fmla="*/ 203200 w 1146175"/>
                    <a:gd name="connsiteY72" fmla="*/ 1586491 h 1661098"/>
                    <a:gd name="connsiteX73" fmla="*/ 196850 w 1146175"/>
                    <a:gd name="connsiteY73" fmla="*/ 1573791 h 1661098"/>
                    <a:gd name="connsiteX74" fmla="*/ 193675 w 1146175"/>
                    <a:gd name="connsiteY74" fmla="*/ 1564266 h 1661098"/>
                    <a:gd name="connsiteX75" fmla="*/ 187325 w 1146175"/>
                    <a:gd name="connsiteY75" fmla="*/ 1551566 h 1661098"/>
                    <a:gd name="connsiteX76" fmla="*/ 180975 w 1146175"/>
                    <a:gd name="connsiteY76" fmla="*/ 1535691 h 1661098"/>
                    <a:gd name="connsiteX77" fmla="*/ 161925 w 1146175"/>
                    <a:gd name="connsiteY77" fmla="*/ 1507116 h 1661098"/>
                    <a:gd name="connsiteX78" fmla="*/ 149225 w 1146175"/>
                    <a:gd name="connsiteY78" fmla="*/ 1484891 h 1661098"/>
                    <a:gd name="connsiteX79" fmla="*/ 142875 w 1146175"/>
                    <a:gd name="connsiteY79" fmla="*/ 1469016 h 1661098"/>
                    <a:gd name="connsiteX80" fmla="*/ 130175 w 1146175"/>
                    <a:gd name="connsiteY80" fmla="*/ 1465841 h 1661098"/>
                    <a:gd name="connsiteX81" fmla="*/ 101600 w 1146175"/>
                    <a:gd name="connsiteY81" fmla="*/ 1453141 h 1661098"/>
                    <a:gd name="connsiteX82" fmla="*/ 69850 w 1146175"/>
                    <a:gd name="connsiteY82" fmla="*/ 1443616 h 1661098"/>
                    <a:gd name="connsiteX83" fmla="*/ 41275 w 1146175"/>
                    <a:gd name="connsiteY83" fmla="*/ 1430916 h 1661098"/>
                    <a:gd name="connsiteX84" fmla="*/ 31750 w 1146175"/>
                    <a:gd name="connsiteY84" fmla="*/ 1424566 h 1661098"/>
                    <a:gd name="connsiteX85" fmla="*/ 15875 w 1146175"/>
                    <a:gd name="connsiteY85" fmla="*/ 1418216 h 1661098"/>
                    <a:gd name="connsiteX86" fmla="*/ 0 w 1146175"/>
                    <a:gd name="connsiteY86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939800 w 1146175"/>
                    <a:gd name="connsiteY40" fmla="*/ 1386466 h 1661098"/>
                    <a:gd name="connsiteX41" fmla="*/ 895350 w 1146175"/>
                    <a:gd name="connsiteY41" fmla="*/ 1427741 h 1661098"/>
                    <a:gd name="connsiteX42" fmla="*/ 882650 w 1146175"/>
                    <a:gd name="connsiteY42" fmla="*/ 1437266 h 1661098"/>
                    <a:gd name="connsiteX43" fmla="*/ 873125 w 1146175"/>
                    <a:gd name="connsiteY43" fmla="*/ 1446791 h 1661098"/>
                    <a:gd name="connsiteX44" fmla="*/ 844550 w 1146175"/>
                    <a:gd name="connsiteY44" fmla="*/ 1462666 h 1661098"/>
                    <a:gd name="connsiteX45" fmla="*/ 835025 w 1146175"/>
                    <a:gd name="connsiteY45" fmla="*/ 1465841 h 1661098"/>
                    <a:gd name="connsiteX46" fmla="*/ 815975 w 1146175"/>
                    <a:gd name="connsiteY46" fmla="*/ 1459491 h 1661098"/>
                    <a:gd name="connsiteX47" fmla="*/ 774700 w 1146175"/>
                    <a:gd name="connsiteY47" fmla="*/ 1443616 h 1661098"/>
                    <a:gd name="connsiteX48" fmla="*/ 749300 w 1146175"/>
                    <a:gd name="connsiteY48" fmla="*/ 1437266 h 1661098"/>
                    <a:gd name="connsiteX49" fmla="*/ 717550 w 1146175"/>
                    <a:gd name="connsiteY49" fmla="*/ 1424566 h 1661098"/>
                    <a:gd name="connsiteX50" fmla="*/ 688975 w 1146175"/>
                    <a:gd name="connsiteY50" fmla="*/ 1418216 h 1661098"/>
                    <a:gd name="connsiteX51" fmla="*/ 657225 w 1146175"/>
                    <a:gd name="connsiteY51" fmla="*/ 1408691 h 1661098"/>
                    <a:gd name="connsiteX52" fmla="*/ 635000 w 1146175"/>
                    <a:gd name="connsiteY52" fmla="*/ 1411866 h 1661098"/>
                    <a:gd name="connsiteX53" fmla="*/ 622300 w 1146175"/>
                    <a:gd name="connsiteY53" fmla="*/ 1418216 h 1661098"/>
                    <a:gd name="connsiteX54" fmla="*/ 606425 w 1146175"/>
                    <a:gd name="connsiteY54" fmla="*/ 1427741 h 1661098"/>
                    <a:gd name="connsiteX55" fmla="*/ 577850 w 1146175"/>
                    <a:gd name="connsiteY55" fmla="*/ 1443616 h 1661098"/>
                    <a:gd name="connsiteX56" fmla="*/ 558800 w 1146175"/>
                    <a:gd name="connsiteY56" fmla="*/ 1446791 h 1661098"/>
                    <a:gd name="connsiteX57" fmla="*/ 501650 w 1146175"/>
                    <a:gd name="connsiteY57" fmla="*/ 1453141 h 1661098"/>
                    <a:gd name="connsiteX58" fmla="*/ 492125 w 1146175"/>
                    <a:gd name="connsiteY58" fmla="*/ 1459491 h 1661098"/>
                    <a:gd name="connsiteX59" fmla="*/ 466725 w 1146175"/>
                    <a:gd name="connsiteY59" fmla="*/ 1491241 h 1661098"/>
                    <a:gd name="connsiteX60" fmla="*/ 457200 w 1146175"/>
                    <a:gd name="connsiteY60" fmla="*/ 1510291 h 1661098"/>
                    <a:gd name="connsiteX61" fmla="*/ 454025 w 1146175"/>
                    <a:gd name="connsiteY61" fmla="*/ 1519816 h 1661098"/>
                    <a:gd name="connsiteX62" fmla="*/ 447675 w 1146175"/>
                    <a:gd name="connsiteY62" fmla="*/ 1535691 h 1661098"/>
                    <a:gd name="connsiteX63" fmla="*/ 434975 w 1146175"/>
                    <a:gd name="connsiteY63" fmla="*/ 1561091 h 1661098"/>
                    <a:gd name="connsiteX64" fmla="*/ 431800 w 1146175"/>
                    <a:gd name="connsiteY64" fmla="*/ 1576966 h 1661098"/>
                    <a:gd name="connsiteX65" fmla="*/ 425450 w 1146175"/>
                    <a:gd name="connsiteY65" fmla="*/ 1602366 h 1661098"/>
                    <a:gd name="connsiteX66" fmla="*/ 422275 w 1146175"/>
                    <a:gd name="connsiteY66" fmla="*/ 1611891 h 1661098"/>
                    <a:gd name="connsiteX67" fmla="*/ 412750 w 1146175"/>
                    <a:gd name="connsiteY67" fmla="*/ 1621416 h 1661098"/>
                    <a:gd name="connsiteX68" fmla="*/ 222250 w 1146175"/>
                    <a:gd name="connsiteY68" fmla="*/ 1627766 h 1661098"/>
                    <a:gd name="connsiteX69" fmla="*/ 215900 w 1146175"/>
                    <a:gd name="connsiteY69" fmla="*/ 1611891 h 1661098"/>
                    <a:gd name="connsiteX70" fmla="*/ 206375 w 1146175"/>
                    <a:gd name="connsiteY70" fmla="*/ 1599191 h 1661098"/>
                    <a:gd name="connsiteX71" fmla="*/ 203200 w 1146175"/>
                    <a:gd name="connsiteY71" fmla="*/ 1586491 h 1661098"/>
                    <a:gd name="connsiteX72" fmla="*/ 196850 w 1146175"/>
                    <a:gd name="connsiteY72" fmla="*/ 1573791 h 1661098"/>
                    <a:gd name="connsiteX73" fmla="*/ 193675 w 1146175"/>
                    <a:gd name="connsiteY73" fmla="*/ 1564266 h 1661098"/>
                    <a:gd name="connsiteX74" fmla="*/ 187325 w 1146175"/>
                    <a:gd name="connsiteY74" fmla="*/ 1551566 h 1661098"/>
                    <a:gd name="connsiteX75" fmla="*/ 180975 w 1146175"/>
                    <a:gd name="connsiteY75" fmla="*/ 1535691 h 1661098"/>
                    <a:gd name="connsiteX76" fmla="*/ 161925 w 1146175"/>
                    <a:gd name="connsiteY76" fmla="*/ 1507116 h 1661098"/>
                    <a:gd name="connsiteX77" fmla="*/ 149225 w 1146175"/>
                    <a:gd name="connsiteY77" fmla="*/ 1484891 h 1661098"/>
                    <a:gd name="connsiteX78" fmla="*/ 142875 w 1146175"/>
                    <a:gd name="connsiteY78" fmla="*/ 1469016 h 1661098"/>
                    <a:gd name="connsiteX79" fmla="*/ 130175 w 1146175"/>
                    <a:gd name="connsiteY79" fmla="*/ 1465841 h 1661098"/>
                    <a:gd name="connsiteX80" fmla="*/ 101600 w 1146175"/>
                    <a:gd name="connsiteY80" fmla="*/ 1453141 h 1661098"/>
                    <a:gd name="connsiteX81" fmla="*/ 69850 w 1146175"/>
                    <a:gd name="connsiteY81" fmla="*/ 1443616 h 1661098"/>
                    <a:gd name="connsiteX82" fmla="*/ 41275 w 1146175"/>
                    <a:gd name="connsiteY82" fmla="*/ 1430916 h 1661098"/>
                    <a:gd name="connsiteX83" fmla="*/ 31750 w 1146175"/>
                    <a:gd name="connsiteY83" fmla="*/ 1424566 h 1661098"/>
                    <a:gd name="connsiteX84" fmla="*/ 15875 w 1146175"/>
                    <a:gd name="connsiteY84" fmla="*/ 1418216 h 1661098"/>
                    <a:gd name="connsiteX85" fmla="*/ 0 w 1146175"/>
                    <a:gd name="connsiteY85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939800 w 1146175"/>
                    <a:gd name="connsiteY40" fmla="*/ 1386466 h 1661098"/>
                    <a:gd name="connsiteX41" fmla="*/ 895350 w 1146175"/>
                    <a:gd name="connsiteY41" fmla="*/ 1427741 h 1661098"/>
                    <a:gd name="connsiteX42" fmla="*/ 873125 w 1146175"/>
                    <a:gd name="connsiteY42" fmla="*/ 1446791 h 1661098"/>
                    <a:gd name="connsiteX43" fmla="*/ 844550 w 1146175"/>
                    <a:gd name="connsiteY43" fmla="*/ 1462666 h 1661098"/>
                    <a:gd name="connsiteX44" fmla="*/ 835025 w 1146175"/>
                    <a:gd name="connsiteY44" fmla="*/ 1465841 h 1661098"/>
                    <a:gd name="connsiteX45" fmla="*/ 815975 w 1146175"/>
                    <a:gd name="connsiteY45" fmla="*/ 1459491 h 1661098"/>
                    <a:gd name="connsiteX46" fmla="*/ 774700 w 1146175"/>
                    <a:gd name="connsiteY46" fmla="*/ 1443616 h 1661098"/>
                    <a:gd name="connsiteX47" fmla="*/ 749300 w 1146175"/>
                    <a:gd name="connsiteY47" fmla="*/ 1437266 h 1661098"/>
                    <a:gd name="connsiteX48" fmla="*/ 717550 w 1146175"/>
                    <a:gd name="connsiteY48" fmla="*/ 1424566 h 1661098"/>
                    <a:gd name="connsiteX49" fmla="*/ 688975 w 1146175"/>
                    <a:gd name="connsiteY49" fmla="*/ 1418216 h 1661098"/>
                    <a:gd name="connsiteX50" fmla="*/ 657225 w 1146175"/>
                    <a:gd name="connsiteY50" fmla="*/ 1408691 h 1661098"/>
                    <a:gd name="connsiteX51" fmla="*/ 635000 w 1146175"/>
                    <a:gd name="connsiteY51" fmla="*/ 1411866 h 1661098"/>
                    <a:gd name="connsiteX52" fmla="*/ 622300 w 1146175"/>
                    <a:gd name="connsiteY52" fmla="*/ 1418216 h 1661098"/>
                    <a:gd name="connsiteX53" fmla="*/ 606425 w 1146175"/>
                    <a:gd name="connsiteY53" fmla="*/ 1427741 h 1661098"/>
                    <a:gd name="connsiteX54" fmla="*/ 577850 w 1146175"/>
                    <a:gd name="connsiteY54" fmla="*/ 1443616 h 1661098"/>
                    <a:gd name="connsiteX55" fmla="*/ 558800 w 1146175"/>
                    <a:gd name="connsiteY55" fmla="*/ 1446791 h 1661098"/>
                    <a:gd name="connsiteX56" fmla="*/ 501650 w 1146175"/>
                    <a:gd name="connsiteY56" fmla="*/ 1453141 h 1661098"/>
                    <a:gd name="connsiteX57" fmla="*/ 492125 w 1146175"/>
                    <a:gd name="connsiteY57" fmla="*/ 1459491 h 1661098"/>
                    <a:gd name="connsiteX58" fmla="*/ 466725 w 1146175"/>
                    <a:gd name="connsiteY58" fmla="*/ 1491241 h 1661098"/>
                    <a:gd name="connsiteX59" fmla="*/ 457200 w 1146175"/>
                    <a:gd name="connsiteY59" fmla="*/ 1510291 h 1661098"/>
                    <a:gd name="connsiteX60" fmla="*/ 454025 w 1146175"/>
                    <a:gd name="connsiteY60" fmla="*/ 1519816 h 1661098"/>
                    <a:gd name="connsiteX61" fmla="*/ 447675 w 1146175"/>
                    <a:gd name="connsiteY61" fmla="*/ 1535691 h 1661098"/>
                    <a:gd name="connsiteX62" fmla="*/ 434975 w 1146175"/>
                    <a:gd name="connsiteY62" fmla="*/ 1561091 h 1661098"/>
                    <a:gd name="connsiteX63" fmla="*/ 431800 w 1146175"/>
                    <a:gd name="connsiteY63" fmla="*/ 1576966 h 1661098"/>
                    <a:gd name="connsiteX64" fmla="*/ 425450 w 1146175"/>
                    <a:gd name="connsiteY64" fmla="*/ 1602366 h 1661098"/>
                    <a:gd name="connsiteX65" fmla="*/ 422275 w 1146175"/>
                    <a:gd name="connsiteY65" fmla="*/ 1611891 h 1661098"/>
                    <a:gd name="connsiteX66" fmla="*/ 412750 w 1146175"/>
                    <a:gd name="connsiteY66" fmla="*/ 1621416 h 1661098"/>
                    <a:gd name="connsiteX67" fmla="*/ 222250 w 1146175"/>
                    <a:gd name="connsiteY67" fmla="*/ 1627766 h 1661098"/>
                    <a:gd name="connsiteX68" fmla="*/ 215900 w 1146175"/>
                    <a:gd name="connsiteY68" fmla="*/ 1611891 h 1661098"/>
                    <a:gd name="connsiteX69" fmla="*/ 206375 w 1146175"/>
                    <a:gd name="connsiteY69" fmla="*/ 1599191 h 1661098"/>
                    <a:gd name="connsiteX70" fmla="*/ 203200 w 1146175"/>
                    <a:gd name="connsiteY70" fmla="*/ 1586491 h 1661098"/>
                    <a:gd name="connsiteX71" fmla="*/ 196850 w 1146175"/>
                    <a:gd name="connsiteY71" fmla="*/ 1573791 h 1661098"/>
                    <a:gd name="connsiteX72" fmla="*/ 193675 w 1146175"/>
                    <a:gd name="connsiteY72" fmla="*/ 1564266 h 1661098"/>
                    <a:gd name="connsiteX73" fmla="*/ 187325 w 1146175"/>
                    <a:gd name="connsiteY73" fmla="*/ 1551566 h 1661098"/>
                    <a:gd name="connsiteX74" fmla="*/ 180975 w 1146175"/>
                    <a:gd name="connsiteY74" fmla="*/ 1535691 h 1661098"/>
                    <a:gd name="connsiteX75" fmla="*/ 161925 w 1146175"/>
                    <a:gd name="connsiteY75" fmla="*/ 1507116 h 1661098"/>
                    <a:gd name="connsiteX76" fmla="*/ 149225 w 1146175"/>
                    <a:gd name="connsiteY76" fmla="*/ 1484891 h 1661098"/>
                    <a:gd name="connsiteX77" fmla="*/ 142875 w 1146175"/>
                    <a:gd name="connsiteY77" fmla="*/ 1469016 h 1661098"/>
                    <a:gd name="connsiteX78" fmla="*/ 130175 w 1146175"/>
                    <a:gd name="connsiteY78" fmla="*/ 1465841 h 1661098"/>
                    <a:gd name="connsiteX79" fmla="*/ 101600 w 1146175"/>
                    <a:gd name="connsiteY79" fmla="*/ 1453141 h 1661098"/>
                    <a:gd name="connsiteX80" fmla="*/ 69850 w 1146175"/>
                    <a:gd name="connsiteY80" fmla="*/ 1443616 h 1661098"/>
                    <a:gd name="connsiteX81" fmla="*/ 41275 w 1146175"/>
                    <a:gd name="connsiteY81" fmla="*/ 1430916 h 1661098"/>
                    <a:gd name="connsiteX82" fmla="*/ 31750 w 1146175"/>
                    <a:gd name="connsiteY82" fmla="*/ 1424566 h 1661098"/>
                    <a:gd name="connsiteX83" fmla="*/ 15875 w 1146175"/>
                    <a:gd name="connsiteY83" fmla="*/ 1418216 h 1661098"/>
                    <a:gd name="connsiteX84" fmla="*/ 0 w 1146175"/>
                    <a:gd name="connsiteY84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939800 w 1146175"/>
                    <a:gd name="connsiteY40" fmla="*/ 1386466 h 1661098"/>
                    <a:gd name="connsiteX41" fmla="*/ 895350 w 1146175"/>
                    <a:gd name="connsiteY41" fmla="*/ 1427741 h 1661098"/>
                    <a:gd name="connsiteX42" fmla="*/ 844550 w 1146175"/>
                    <a:gd name="connsiteY42" fmla="*/ 1462666 h 1661098"/>
                    <a:gd name="connsiteX43" fmla="*/ 835025 w 1146175"/>
                    <a:gd name="connsiteY43" fmla="*/ 1465841 h 1661098"/>
                    <a:gd name="connsiteX44" fmla="*/ 815975 w 1146175"/>
                    <a:gd name="connsiteY44" fmla="*/ 1459491 h 1661098"/>
                    <a:gd name="connsiteX45" fmla="*/ 774700 w 1146175"/>
                    <a:gd name="connsiteY45" fmla="*/ 1443616 h 1661098"/>
                    <a:gd name="connsiteX46" fmla="*/ 749300 w 1146175"/>
                    <a:gd name="connsiteY46" fmla="*/ 1437266 h 1661098"/>
                    <a:gd name="connsiteX47" fmla="*/ 717550 w 1146175"/>
                    <a:gd name="connsiteY47" fmla="*/ 1424566 h 1661098"/>
                    <a:gd name="connsiteX48" fmla="*/ 688975 w 1146175"/>
                    <a:gd name="connsiteY48" fmla="*/ 1418216 h 1661098"/>
                    <a:gd name="connsiteX49" fmla="*/ 657225 w 1146175"/>
                    <a:gd name="connsiteY49" fmla="*/ 1408691 h 1661098"/>
                    <a:gd name="connsiteX50" fmla="*/ 635000 w 1146175"/>
                    <a:gd name="connsiteY50" fmla="*/ 1411866 h 1661098"/>
                    <a:gd name="connsiteX51" fmla="*/ 622300 w 1146175"/>
                    <a:gd name="connsiteY51" fmla="*/ 1418216 h 1661098"/>
                    <a:gd name="connsiteX52" fmla="*/ 606425 w 1146175"/>
                    <a:gd name="connsiteY52" fmla="*/ 1427741 h 1661098"/>
                    <a:gd name="connsiteX53" fmla="*/ 577850 w 1146175"/>
                    <a:gd name="connsiteY53" fmla="*/ 1443616 h 1661098"/>
                    <a:gd name="connsiteX54" fmla="*/ 558800 w 1146175"/>
                    <a:gd name="connsiteY54" fmla="*/ 1446791 h 1661098"/>
                    <a:gd name="connsiteX55" fmla="*/ 501650 w 1146175"/>
                    <a:gd name="connsiteY55" fmla="*/ 1453141 h 1661098"/>
                    <a:gd name="connsiteX56" fmla="*/ 492125 w 1146175"/>
                    <a:gd name="connsiteY56" fmla="*/ 1459491 h 1661098"/>
                    <a:gd name="connsiteX57" fmla="*/ 466725 w 1146175"/>
                    <a:gd name="connsiteY57" fmla="*/ 1491241 h 1661098"/>
                    <a:gd name="connsiteX58" fmla="*/ 457200 w 1146175"/>
                    <a:gd name="connsiteY58" fmla="*/ 1510291 h 1661098"/>
                    <a:gd name="connsiteX59" fmla="*/ 454025 w 1146175"/>
                    <a:gd name="connsiteY59" fmla="*/ 1519816 h 1661098"/>
                    <a:gd name="connsiteX60" fmla="*/ 447675 w 1146175"/>
                    <a:gd name="connsiteY60" fmla="*/ 1535691 h 1661098"/>
                    <a:gd name="connsiteX61" fmla="*/ 434975 w 1146175"/>
                    <a:gd name="connsiteY61" fmla="*/ 1561091 h 1661098"/>
                    <a:gd name="connsiteX62" fmla="*/ 431800 w 1146175"/>
                    <a:gd name="connsiteY62" fmla="*/ 1576966 h 1661098"/>
                    <a:gd name="connsiteX63" fmla="*/ 425450 w 1146175"/>
                    <a:gd name="connsiteY63" fmla="*/ 1602366 h 1661098"/>
                    <a:gd name="connsiteX64" fmla="*/ 422275 w 1146175"/>
                    <a:gd name="connsiteY64" fmla="*/ 1611891 h 1661098"/>
                    <a:gd name="connsiteX65" fmla="*/ 412750 w 1146175"/>
                    <a:gd name="connsiteY65" fmla="*/ 1621416 h 1661098"/>
                    <a:gd name="connsiteX66" fmla="*/ 222250 w 1146175"/>
                    <a:gd name="connsiteY66" fmla="*/ 1627766 h 1661098"/>
                    <a:gd name="connsiteX67" fmla="*/ 215900 w 1146175"/>
                    <a:gd name="connsiteY67" fmla="*/ 1611891 h 1661098"/>
                    <a:gd name="connsiteX68" fmla="*/ 206375 w 1146175"/>
                    <a:gd name="connsiteY68" fmla="*/ 1599191 h 1661098"/>
                    <a:gd name="connsiteX69" fmla="*/ 203200 w 1146175"/>
                    <a:gd name="connsiteY69" fmla="*/ 1586491 h 1661098"/>
                    <a:gd name="connsiteX70" fmla="*/ 196850 w 1146175"/>
                    <a:gd name="connsiteY70" fmla="*/ 1573791 h 1661098"/>
                    <a:gd name="connsiteX71" fmla="*/ 193675 w 1146175"/>
                    <a:gd name="connsiteY71" fmla="*/ 1564266 h 1661098"/>
                    <a:gd name="connsiteX72" fmla="*/ 187325 w 1146175"/>
                    <a:gd name="connsiteY72" fmla="*/ 1551566 h 1661098"/>
                    <a:gd name="connsiteX73" fmla="*/ 180975 w 1146175"/>
                    <a:gd name="connsiteY73" fmla="*/ 1535691 h 1661098"/>
                    <a:gd name="connsiteX74" fmla="*/ 161925 w 1146175"/>
                    <a:gd name="connsiteY74" fmla="*/ 1507116 h 1661098"/>
                    <a:gd name="connsiteX75" fmla="*/ 149225 w 1146175"/>
                    <a:gd name="connsiteY75" fmla="*/ 1484891 h 1661098"/>
                    <a:gd name="connsiteX76" fmla="*/ 142875 w 1146175"/>
                    <a:gd name="connsiteY76" fmla="*/ 1469016 h 1661098"/>
                    <a:gd name="connsiteX77" fmla="*/ 130175 w 1146175"/>
                    <a:gd name="connsiteY77" fmla="*/ 1465841 h 1661098"/>
                    <a:gd name="connsiteX78" fmla="*/ 101600 w 1146175"/>
                    <a:gd name="connsiteY78" fmla="*/ 1453141 h 1661098"/>
                    <a:gd name="connsiteX79" fmla="*/ 69850 w 1146175"/>
                    <a:gd name="connsiteY79" fmla="*/ 1443616 h 1661098"/>
                    <a:gd name="connsiteX80" fmla="*/ 41275 w 1146175"/>
                    <a:gd name="connsiteY80" fmla="*/ 1430916 h 1661098"/>
                    <a:gd name="connsiteX81" fmla="*/ 31750 w 1146175"/>
                    <a:gd name="connsiteY81" fmla="*/ 1424566 h 1661098"/>
                    <a:gd name="connsiteX82" fmla="*/ 15875 w 1146175"/>
                    <a:gd name="connsiteY82" fmla="*/ 1418216 h 1661098"/>
                    <a:gd name="connsiteX83" fmla="*/ 0 w 1146175"/>
                    <a:gd name="connsiteY83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74700 w 1146175"/>
                    <a:gd name="connsiteY44" fmla="*/ 1443616 h 1661098"/>
                    <a:gd name="connsiteX45" fmla="*/ 749300 w 1146175"/>
                    <a:gd name="connsiteY45" fmla="*/ 1437266 h 1661098"/>
                    <a:gd name="connsiteX46" fmla="*/ 717550 w 1146175"/>
                    <a:gd name="connsiteY46" fmla="*/ 1424566 h 1661098"/>
                    <a:gd name="connsiteX47" fmla="*/ 688975 w 1146175"/>
                    <a:gd name="connsiteY47" fmla="*/ 1418216 h 1661098"/>
                    <a:gd name="connsiteX48" fmla="*/ 657225 w 1146175"/>
                    <a:gd name="connsiteY48" fmla="*/ 1408691 h 1661098"/>
                    <a:gd name="connsiteX49" fmla="*/ 635000 w 1146175"/>
                    <a:gd name="connsiteY49" fmla="*/ 1411866 h 1661098"/>
                    <a:gd name="connsiteX50" fmla="*/ 622300 w 1146175"/>
                    <a:gd name="connsiteY50" fmla="*/ 1418216 h 1661098"/>
                    <a:gd name="connsiteX51" fmla="*/ 606425 w 1146175"/>
                    <a:gd name="connsiteY51" fmla="*/ 1427741 h 1661098"/>
                    <a:gd name="connsiteX52" fmla="*/ 577850 w 1146175"/>
                    <a:gd name="connsiteY52" fmla="*/ 1443616 h 1661098"/>
                    <a:gd name="connsiteX53" fmla="*/ 558800 w 1146175"/>
                    <a:gd name="connsiteY53" fmla="*/ 1446791 h 1661098"/>
                    <a:gd name="connsiteX54" fmla="*/ 501650 w 1146175"/>
                    <a:gd name="connsiteY54" fmla="*/ 1453141 h 1661098"/>
                    <a:gd name="connsiteX55" fmla="*/ 492125 w 1146175"/>
                    <a:gd name="connsiteY55" fmla="*/ 1459491 h 1661098"/>
                    <a:gd name="connsiteX56" fmla="*/ 466725 w 1146175"/>
                    <a:gd name="connsiteY56" fmla="*/ 1491241 h 1661098"/>
                    <a:gd name="connsiteX57" fmla="*/ 457200 w 1146175"/>
                    <a:gd name="connsiteY57" fmla="*/ 1510291 h 1661098"/>
                    <a:gd name="connsiteX58" fmla="*/ 454025 w 1146175"/>
                    <a:gd name="connsiteY58" fmla="*/ 1519816 h 1661098"/>
                    <a:gd name="connsiteX59" fmla="*/ 447675 w 1146175"/>
                    <a:gd name="connsiteY59" fmla="*/ 1535691 h 1661098"/>
                    <a:gd name="connsiteX60" fmla="*/ 434975 w 1146175"/>
                    <a:gd name="connsiteY60" fmla="*/ 1561091 h 1661098"/>
                    <a:gd name="connsiteX61" fmla="*/ 431800 w 1146175"/>
                    <a:gd name="connsiteY61" fmla="*/ 1576966 h 1661098"/>
                    <a:gd name="connsiteX62" fmla="*/ 425450 w 1146175"/>
                    <a:gd name="connsiteY62" fmla="*/ 1602366 h 1661098"/>
                    <a:gd name="connsiteX63" fmla="*/ 422275 w 1146175"/>
                    <a:gd name="connsiteY63" fmla="*/ 1611891 h 1661098"/>
                    <a:gd name="connsiteX64" fmla="*/ 412750 w 1146175"/>
                    <a:gd name="connsiteY64" fmla="*/ 1621416 h 1661098"/>
                    <a:gd name="connsiteX65" fmla="*/ 222250 w 1146175"/>
                    <a:gd name="connsiteY65" fmla="*/ 1627766 h 1661098"/>
                    <a:gd name="connsiteX66" fmla="*/ 215900 w 1146175"/>
                    <a:gd name="connsiteY66" fmla="*/ 1611891 h 1661098"/>
                    <a:gd name="connsiteX67" fmla="*/ 206375 w 1146175"/>
                    <a:gd name="connsiteY67" fmla="*/ 1599191 h 1661098"/>
                    <a:gd name="connsiteX68" fmla="*/ 203200 w 1146175"/>
                    <a:gd name="connsiteY68" fmla="*/ 1586491 h 1661098"/>
                    <a:gd name="connsiteX69" fmla="*/ 196850 w 1146175"/>
                    <a:gd name="connsiteY69" fmla="*/ 1573791 h 1661098"/>
                    <a:gd name="connsiteX70" fmla="*/ 193675 w 1146175"/>
                    <a:gd name="connsiteY70" fmla="*/ 1564266 h 1661098"/>
                    <a:gd name="connsiteX71" fmla="*/ 187325 w 1146175"/>
                    <a:gd name="connsiteY71" fmla="*/ 1551566 h 1661098"/>
                    <a:gd name="connsiteX72" fmla="*/ 180975 w 1146175"/>
                    <a:gd name="connsiteY72" fmla="*/ 1535691 h 1661098"/>
                    <a:gd name="connsiteX73" fmla="*/ 161925 w 1146175"/>
                    <a:gd name="connsiteY73" fmla="*/ 1507116 h 1661098"/>
                    <a:gd name="connsiteX74" fmla="*/ 149225 w 1146175"/>
                    <a:gd name="connsiteY74" fmla="*/ 1484891 h 1661098"/>
                    <a:gd name="connsiteX75" fmla="*/ 142875 w 1146175"/>
                    <a:gd name="connsiteY75" fmla="*/ 1469016 h 1661098"/>
                    <a:gd name="connsiteX76" fmla="*/ 130175 w 1146175"/>
                    <a:gd name="connsiteY76" fmla="*/ 1465841 h 1661098"/>
                    <a:gd name="connsiteX77" fmla="*/ 101600 w 1146175"/>
                    <a:gd name="connsiteY77" fmla="*/ 1453141 h 1661098"/>
                    <a:gd name="connsiteX78" fmla="*/ 69850 w 1146175"/>
                    <a:gd name="connsiteY78" fmla="*/ 1443616 h 1661098"/>
                    <a:gd name="connsiteX79" fmla="*/ 41275 w 1146175"/>
                    <a:gd name="connsiteY79" fmla="*/ 1430916 h 1661098"/>
                    <a:gd name="connsiteX80" fmla="*/ 31750 w 1146175"/>
                    <a:gd name="connsiteY80" fmla="*/ 1424566 h 1661098"/>
                    <a:gd name="connsiteX81" fmla="*/ 15875 w 1146175"/>
                    <a:gd name="connsiteY81" fmla="*/ 1418216 h 1661098"/>
                    <a:gd name="connsiteX82" fmla="*/ 0 w 1146175"/>
                    <a:gd name="connsiteY82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49300 w 1146175"/>
                    <a:gd name="connsiteY44" fmla="*/ 1437266 h 1661098"/>
                    <a:gd name="connsiteX45" fmla="*/ 717550 w 1146175"/>
                    <a:gd name="connsiteY45" fmla="*/ 1424566 h 1661098"/>
                    <a:gd name="connsiteX46" fmla="*/ 688975 w 1146175"/>
                    <a:gd name="connsiteY46" fmla="*/ 1418216 h 1661098"/>
                    <a:gd name="connsiteX47" fmla="*/ 657225 w 1146175"/>
                    <a:gd name="connsiteY47" fmla="*/ 1408691 h 1661098"/>
                    <a:gd name="connsiteX48" fmla="*/ 635000 w 1146175"/>
                    <a:gd name="connsiteY48" fmla="*/ 1411866 h 1661098"/>
                    <a:gd name="connsiteX49" fmla="*/ 622300 w 1146175"/>
                    <a:gd name="connsiteY49" fmla="*/ 1418216 h 1661098"/>
                    <a:gd name="connsiteX50" fmla="*/ 606425 w 1146175"/>
                    <a:gd name="connsiteY50" fmla="*/ 1427741 h 1661098"/>
                    <a:gd name="connsiteX51" fmla="*/ 577850 w 1146175"/>
                    <a:gd name="connsiteY51" fmla="*/ 1443616 h 1661098"/>
                    <a:gd name="connsiteX52" fmla="*/ 558800 w 1146175"/>
                    <a:gd name="connsiteY52" fmla="*/ 1446791 h 1661098"/>
                    <a:gd name="connsiteX53" fmla="*/ 501650 w 1146175"/>
                    <a:gd name="connsiteY53" fmla="*/ 1453141 h 1661098"/>
                    <a:gd name="connsiteX54" fmla="*/ 492125 w 1146175"/>
                    <a:gd name="connsiteY54" fmla="*/ 1459491 h 1661098"/>
                    <a:gd name="connsiteX55" fmla="*/ 466725 w 1146175"/>
                    <a:gd name="connsiteY55" fmla="*/ 1491241 h 1661098"/>
                    <a:gd name="connsiteX56" fmla="*/ 457200 w 1146175"/>
                    <a:gd name="connsiteY56" fmla="*/ 1510291 h 1661098"/>
                    <a:gd name="connsiteX57" fmla="*/ 454025 w 1146175"/>
                    <a:gd name="connsiteY57" fmla="*/ 1519816 h 1661098"/>
                    <a:gd name="connsiteX58" fmla="*/ 447675 w 1146175"/>
                    <a:gd name="connsiteY58" fmla="*/ 1535691 h 1661098"/>
                    <a:gd name="connsiteX59" fmla="*/ 434975 w 1146175"/>
                    <a:gd name="connsiteY59" fmla="*/ 1561091 h 1661098"/>
                    <a:gd name="connsiteX60" fmla="*/ 431800 w 1146175"/>
                    <a:gd name="connsiteY60" fmla="*/ 1576966 h 1661098"/>
                    <a:gd name="connsiteX61" fmla="*/ 425450 w 1146175"/>
                    <a:gd name="connsiteY61" fmla="*/ 1602366 h 1661098"/>
                    <a:gd name="connsiteX62" fmla="*/ 422275 w 1146175"/>
                    <a:gd name="connsiteY62" fmla="*/ 1611891 h 1661098"/>
                    <a:gd name="connsiteX63" fmla="*/ 412750 w 1146175"/>
                    <a:gd name="connsiteY63" fmla="*/ 1621416 h 1661098"/>
                    <a:gd name="connsiteX64" fmla="*/ 222250 w 1146175"/>
                    <a:gd name="connsiteY64" fmla="*/ 1627766 h 1661098"/>
                    <a:gd name="connsiteX65" fmla="*/ 215900 w 1146175"/>
                    <a:gd name="connsiteY65" fmla="*/ 1611891 h 1661098"/>
                    <a:gd name="connsiteX66" fmla="*/ 206375 w 1146175"/>
                    <a:gd name="connsiteY66" fmla="*/ 1599191 h 1661098"/>
                    <a:gd name="connsiteX67" fmla="*/ 203200 w 1146175"/>
                    <a:gd name="connsiteY67" fmla="*/ 1586491 h 1661098"/>
                    <a:gd name="connsiteX68" fmla="*/ 196850 w 1146175"/>
                    <a:gd name="connsiteY68" fmla="*/ 1573791 h 1661098"/>
                    <a:gd name="connsiteX69" fmla="*/ 193675 w 1146175"/>
                    <a:gd name="connsiteY69" fmla="*/ 1564266 h 1661098"/>
                    <a:gd name="connsiteX70" fmla="*/ 187325 w 1146175"/>
                    <a:gd name="connsiteY70" fmla="*/ 1551566 h 1661098"/>
                    <a:gd name="connsiteX71" fmla="*/ 180975 w 1146175"/>
                    <a:gd name="connsiteY71" fmla="*/ 1535691 h 1661098"/>
                    <a:gd name="connsiteX72" fmla="*/ 161925 w 1146175"/>
                    <a:gd name="connsiteY72" fmla="*/ 1507116 h 1661098"/>
                    <a:gd name="connsiteX73" fmla="*/ 149225 w 1146175"/>
                    <a:gd name="connsiteY73" fmla="*/ 1484891 h 1661098"/>
                    <a:gd name="connsiteX74" fmla="*/ 142875 w 1146175"/>
                    <a:gd name="connsiteY74" fmla="*/ 1469016 h 1661098"/>
                    <a:gd name="connsiteX75" fmla="*/ 130175 w 1146175"/>
                    <a:gd name="connsiteY75" fmla="*/ 1465841 h 1661098"/>
                    <a:gd name="connsiteX76" fmla="*/ 101600 w 1146175"/>
                    <a:gd name="connsiteY76" fmla="*/ 1453141 h 1661098"/>
                    <a:gd name="connsiteX77" fmla="*/ 69850 w 1146175"/>
                    <a:gd name="connsiteY77" fmla="*/ 1443616 h 1661098"/>
                    <a:gd name="connsiteX78" fmla="*/ 41275 w 1146175"/>
                    <a:gd name="connsiteY78" fmla="*/ 1430916 h 1661098"/>
                    <a:gd name="connsiteX79" fmla="*/ 31750 w 1146175"/>
                    <a:gd name="connsiteY79" fmla="*/ 1424566 h 1661098"/>
                    <a:gd name="connsiteX80" fmla="*/ 15875 w 1146175"/>
                    <a:gd name="connsiteY80" fmla="*/ 1418216 h 1661098"/>
                    <a:gd name="connsiteX81" fmla="*/ 0 w 1146175"/>
                    <a:gd name="connsiteY81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88975 w 1146175"/>
                    <a:gd name="connsiteY45" fmla="*/ 1418216 h 1661098"/>
                    <a:gd name="connsiteX46" fmla="*/ 657225 w 1146175"/>
                    <a:gd name="connsiteY46" fmla="*/ 1408691 h 1661098"/>
                    <a:gd name="connsiteX47" fmla="*/ 635000 w 1146175"/>
                    <a:gd name="connsiteY47" fmla="*/ 1411866 h 1661098"/>
                    <a:gd name="connsiteX48" fmla="*/ 622300 w 1146175"/>
                    <a:gd name="connsiteY48" fmla="*/ 1418216 h 1661098"/>
                    <a:gd name="connsiteX49" fmla="*/ 606425 w 1146175"/>
                    <a:gd name="connsiteY49" fmla="*/ 1427741 h 1661098"/>
                    <a:gd name="connsiteX50" fmla="*/ 577850 w 1146175"/>
                    <a:gd name="connsiteY50" fmla="*/ 1443616 h 1661098"/>
                    <a:gd name="connsiteX51" fmla="*/ 558800 w 1146175"/>
                    <a:gd name="connsiteY51" fmla="*/ 1446791 h 1661098"/>
                    <a:gd name="connsiteX52" fmla="*/ 501650 w 1146175"/>
                    <a:gd name="connsiteY52" fmla="*/ 1453141 h 1661098"/>
                    <a:gd name="connsiteX53" fmla="*/ 492125 w 1146175"/>
                    <a:gd name="connsiteY53" fmla="*/ 1459491 h 1661098"/>
                    <a:gd name="connsiteX54" fmla="*/ 466725 w 1146175"/>
                    <a:gd name="connsiteY54" fmla="*/ 1491241 h 1661098"/>
                    <a:gd name="connsiteX55" fmla="*/ 457200 w 1146175"/>
                    <a:gd name="connsiteY55" fmla="*/ 1510291 h 1661098"/>
                    <a:gd name="connsiteX56" fmla="*/ 454025 w 1146175"/>
                    <a:gd name="connsiteY56" fmla="*/ 1519816 h 1661098"/>
                    <a:gd name="connsiteX57" fmla="*/ 447675 w 1146175"/>
                    <a:gd name="connsiteY57" fmla="*/ 1535691 h 1661098"/>
                    <a:gd name="connsiteX58" fmla="*/ 434975 w 1146175"/>
                    <a:gd name="connsiteY58" fmla="*/ 1561091 h 1661098"/>
                    <a:gd name="connsiteX59" fmla="*/ 431800 w 1146175"/>
                    <a:gd name="connsiteY59" fmla="*/ 1576966 h 1661098"/>
                    <a:gd name="connsiteX60" fmla="*/ 425450 w 1146175"/>
                    <a:gd name="connsiteY60" fmla="*/ 1602366 h 1661098"/>
                    <a:gd name="connsiteX61" fmla="*/ 422275 w 1146175"/>
                    <a:gd name="connsiteY61" fmla="*/ 1611891 h 1661098"/>
                    <a:gd name="connsiteX62" fmla="*/ 412750 w 1146175"/>
                    <a:gd name="connsiteY62" fmla="*/ 1621416 h 1661098"/>
                    <a:gd name="connsiteX63" fmla="*/ 222250 w 1146175"/>
                    <a:gd name="connsiteY63" fmla="*/ 1627766 h 1661098"/>
                    <a:gd name="connsiteX64" fmla="*/ 215900 w 1146175"/>
                    <a:gd name="connsiteY64" fmla="*/ 1611891 h 1661098"/>
                    <a:gd name="connsiteX65" fmla="*/ 206375 w 1146175"/>
                    <a:gd name="connsiteY65" fmla="*/ 1599191 h 1661098"/>
                    <a:gd name="connsiteX66" fmla="*/ 203200 w 1146175"/>
                    <a:gd name="connsiteY66" fmla="*/ 1586491 h 1661098"/>
                    <a:gd name="connsiteX67" fmla="*/ 196850 w 1146175"/>
                    <a:gd name="connsiteY67" fmla="*/ 1573791 h 1661098"/>
                    <a:gd name="connsiteX68" fmla="*/ 193675 w 1146175"/>
                    <a:gd name="connsiteY68" fmla="*/ 1564266 h 1661098"/>
                    <a:gd name="connsiteX69" fmla="*/ 187325 w 1146175"/>
                    <a:gd name="connsiteY69" fmla="*/ 1551566 h 1661098"/>
                    <a:gd name="connsiteX70" fmla="*/ 180975 w 1146175"/>
                    <a:gd name="connsiteY70" fmla="*/ 1535691 h 1661098"/>
                    <a:gd name="connsiteX71" fmla="*/ 161925 w 1146175"/>
                    <a:gd name="connsiteY71" fmla="*/ 1507116 h 1661098"/>
                    <a:gd name="connsiteX72" fmla="*/ 149225 w 1146175"/>
                    <a:gd name="connsiteY72" fmla="*/ 1484891 h 1661098"/>
                    <a:gd name="connsiteX73" fmla="*/ 142875 w 1146175"/>
                    <a:gd name="connsiteY73" fmla="*/ 1469016 h 1661098"/>
                    <a:gd name="connsiteX74" fmla="*/ 130175 w 1146175"/>
                    <a:gd name="connsiteY74" fmla="*/ 1465841 h 1661098"/>
                    <a:gd name="connsiteX75" fmla="*/ 101600 w 1146175"/>
                    <a:gd name="connsiteY75" fmla="*/ 1453141 h 1661098"/>
                    <a:gd name="connsiteX76" fmla="*/ 69850 w 1146175"/>
                    <a:gd name="connsiteY76" fmla="*/ 1443616 h 1661098"/>
                    <a:gd name="connsiteX77" fmla="*/ 41275 w 1146175"/>
                    <a:gd name="connsiteY77" fmla="*/ 1430916 h 1661098"/>
                    <a:gd name="connsiteX78" fmla="*/ 31750 w 1146175"/>
                    <a:gd name="connsiteY78" fmla="*/ 1424566 h 1661098"/>
                    <a:gd name="connsiteX79" fmla="*/ 15875 w 1146175"/>
                    <a:gd name="connsiteY79" fmla="*/ 1418216 h 1661098"/>
                    <a:gd name="connsiteX80" fmla="*/ 0 w 1146175"/>
                    <a:gd name="connsiteY80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606425 w 1146175"/>
                    <a:gd name="connsiteY48" fmla="*/ 1427741 h 1661098"/>
                    <a:gd name="connsiteX49" fmla="*/ 577850 w 1146175"/>
                    <a:gd name="connsiteY49" fmla="*/ 1443616 h 1661098"/>
                    <a:gd name="connsiteX50" fmla="*/ 558800 w 1146175"/>
                    <a:gd name="connsiteY50" fmla="*/ 1446791 h 1661098"/>
                    <a:gd name="connsiteX51" fmla="*/ 501650 w 1146175"/>
                    <a:gd name="connsiteY51" fmla="*/ 1453141 h 1661098"/>
                    <a:gd name="connsiteX52" fmla="*/ 492125 w 1146175"/>
                    <a:gd name="connsiteY52" fmla="*/ 1459491 h 1661098"/>
                    <a:gd name="connsiteX53" fmla="*/ 466725 w 1146175"/>
                    <a:gd name="connsiteY53" fmla="*/ 1491241 h 1661098"/>
                    <a:gd name="connsiteX54" fmla="*/ 457200 w 1146175"/>
                    <a:gd name="connsiteY54" fmla="*/ 1510291 h 1661098"/>
                    <a:gd name="connsiteX55" fmla="*/ 454025 w 1146175"/>
                    <a:gd name="connsiteY55" fmla="*/ 1519816 h 1661098"/>
                    <a:gd name="connsiteX56" fmla="*/ 447675 w 1146175"/>
                    <a:gd name="connsiteY56" fmla="*/ 1535691 h 1661098"/>
                    <a:gd name="connsiteX57" fmla="*/ 434975 w 1146175"/>
                    <a:gd name="connsiteY57" fmla="*/ 1561091 h 1661098"/>
                    <a:gd name="connsiteX58" fmla="*/ 431800 w 1146175"/>
                    <a:gd name="connsiteY58" fmla="*/ 1576966 h 1661098"/>
                    <a:gd name="connsiteX59" fmla="*/ 425450 w 1146175"/>
                    <a:gd name="connsiteY59" fmla="*/ 1602366 h 1661098"/>
                    <a:gd name="connsiteX60" fmla="*/ 422275 w 1146175"/>
                    <a:gd name="connsiteY60" fmla="*/ 1611891 h 1661098"/>
                    <a:gd name="connsiteX61" fmla="*/ 412750 w 1146175"/>
                    <a:gd name="connsiteY61" fmla="*/ 1621416 h 1661098"/>
                    <a:gd name="connsiteX62" fmla="*/ 222250 w 1146175"/>
                    <a:gd name="connsiteY62" fmla="*/ 1627766 h 1661098"/>
                    <a:gd name="connsiteX63" fmla="*/ 215900 w 1146175"/>
                    <a:gd name="connsiteY63" fmla="*/ 1611891 h 1661098"/>
                    <a:gd name="connsiteX64" fmla="*/ 206375 w 1146175"/>
                    <a:gd name="connsiteY64" fmla="*/ 1599191 h 1661098"/>
                    <a:gd name="connsiteX65" fmla="*/ 203200 w 1146175"/>
                    <a:gd name="connsiteY65" fmla="*/ 1586491 h 1661098"/>
                    <a:gd name="connsiteX66" fmla="*/ 196850 w 1146175"/>
                    <a:gd name="connsiteY66" fmla="*/ 1573791 h 1661098"/>
                    <a:gd name="connsiteX67" fmla="*/ 193675 w 1146175"/>
                    <a:gd name="connsiteY67" fmla="*/ 1564266 h 1661098"/>
                    <a:gd name="connsiteX68" fmla="*/ 187325 w 1146175"/>
                    <a:gd name="connsiteY68" fmla="*/ 1551566 h 1661098"/>
                    <a:gd name="connsiteX69" fmla="*/ 180975 w 1146175"/>
                    <a:gd name="connsiteY69" fmla="*/ 1535691 h 1661098"/>
                    <a:gd name="connsiteX70" fmla="*/ 161925 w 1146175"/>
                    <a:gd name="connsiteY70" fmla="*/ 1507116 h 1661098"/>
                    <a:gd name="connsiteX71" fmla="*/ 149225 w 1146175"/>
                    <a:gd name="connsiteY71" fmla="*/ 1484891 h 1661098"/>
                    <a:gd name="connsiteX72" fmla="*/ 142875 w 1146175"/>
                    <a:gd name="connsiteY72" fmla="*/ 1469016 h 1661098"/>
                    <a:gd name="connsiteX73" fmla="*/ 130175 w 1146175"/>
                    <a:gd name="connsiteY73" fmla="*/ 1465841 h 1661098"/>
                    <a:gd name="connsiteX74" fmla="*/ 101600 w 1146175"/>
                    <a:gd name="connsiteY74" fmla="*/ 1453141 h 1661098"/>
                    <a:gd name="connsiteX75" fmla="*/ 69850 w 1146175"/>
                    <a:gd name="connsiteY75" fmla="*/ 1443616 h 1661098"/>
                    <a:gd name="connsiteX76" fmla="*/ 41275 w 1146175"/>
                    <a:gd name="connsiteY76" fmla="*/ 1430916 h 1661098"/>
                    <a:gd name="connsiteX77" fmla="*/ 31750 w 1146175"/>
                    <a:gd name="connsiteY77" fmla="*/ 1424566 h 1661098"/>
                    <a:gd name="connsiteX78" fmla="*/ 15875 w 1146175"/>
                    <a:gd name="connsiteY78" fmla="*/ 1418216 h 1661098"/>
                    <a:gd name="connsiteX79" fmla="*/ 0 w 1146175"/>
                    <a:gd name="connsiteY79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606425 w 1146175"/>
                    <a:gd name="connsiteY48" fmla="*/ 1427741 h 1661098"/>
                    <a:gd name="connsiteX49" fmla="*/ 558800 w 1146175"/>
                    <a:gd name="connsiteY49" fmla="*/ 1446791 h 1661098"/>
                    <a:gd name="connsiteX50" fmla="*/ 501650 w 1146175"/>
                    <a:gd name="connsiteY50" fmla="*/ 1453141 h 1661098"/>
                    <a:gd name="connsiteX51" fmla="*/ 492125 w 1146175"/>
                    <a:gd name="connsiteY51" fmla="*/ 1459491 h 1661098"/>
                    <a:gd name="connsiteX52" fmla="*/ 466725 w 1146175"/>
                    <a:gd name="connsiteY52" fmla="*/ 1491241 h 1661098"/>
                    <a:gd name="connsiteX53" fmla="*/ 457200 w 1146175"/>
                    <a:gd name="connsiteY53" fmla="*/ 1510291 h 1661098"/>
                    <a:gd name="connsiteX54" fmla="*/ 454025 w 1146175"/>
                    <a:gd name="connsiteY54" fmla="*/ 1519816 h 1661098"/>
                    <a:gd name="connsiteX55" fmla="*/ 447675 w 1146175"/>
                    <a:gd name="connsiteY55" fmla="*/ 1535691 h 1661098"/>
                    <a:gd name="connsiteX56" fmla="*/ 434975 w 1146175"/>
                    <a:gd name="connsiteY56" fmla="*/ 1561091 h 1661098"/>
                    <a:gd name="connsiteX57" fmla="*/ 431800 w 1146175"/>
                    <a:gd name="connsiteY57" fmla="*/ 1576966 h 1661098"/>
                    <a:gd name="connsiteX58" fmla="*/ 425450 w 1146175"/>
                    <a:gd name="connsiteY58" fmla="*/ 1602366 h 1661098"/>
                    <a:gd name="connsiteX59" fmla="*/ 422275 w 1146175"/>
                    <a:gd name="connsiteY59" fmla="*/ 1611891 h 1661098"/>
                    <a:gd name="connsiteX60" fmla="*/ 412750 w 1146175"/>
                    <a:gd name="connsiteY60" fmla="*/ 1621416 h 1661098"/>
                    <a:gd name="connsiteX61" fmla="*/ 222250 w 1146175"/>
                    <a:gd name="connsiteY61" fmla="*/ 1627766 h 1661098"/>
                    <a:gd name="connsiteX62" fmla="*/ 215900 w 1146175"/>
                    <a:gd name="connsiteY62" fmla="*/ 1611891 h 1661098"/>
                    <a:gd name="connsiteX63" fmla="*/ 206375 w 1146175"/>
                    <a:gd name="connsiteY63" fmla="*/ 1599191 h 1661098"/>
                    <a:gd name="connsiteX64" fmla="*/ 203200 w 1146175"/>
                    <a:gd name="connsiteY64" fmla="*/ 1586491 h 1661098"/>
                    <a:gd name="connsiteX65" fmla="*/ 196850 w 1146175"/>
                    <a:gd name="connsiteY65" fmla="*/ 1573791 h 1661098"/>
                    <a:gd name="connsiteX66" fmla="*/ 193675 w 1146175"/>
                    <a:gd name="connsiteY66" fmla="*/ 1564266 h 1661098"/>
                    <a:gd name="connsiteX67" fmla="*/ 187325 w 1146175"/>
                    <a:gd name="connsiteY67" fmla="*/ 1551566 h 1661098"/>
                    <a:gd name="connsiteX68" fmla="*/ 180975 w 1146175"/>
                    <a:gd name="connsiteY68" fmla="*/ 1535691 h 1661098"/>
                    <a:gd name="connsiteX69" fmla="*/ 161925 w 1146175"/>
                    <a:gd name="connsiteY69" fmla="*/ 1507116 h 1661098"/>
                    <a:gd name="connsiteX70" fmla="*/ 149225 w 1146175"/>
                    <a:gd name="connsiteY70" fmla="*/ 1484891 h 1661098"/>
                    <a:gd name="connsiteX71" fmla="*/ 142875 w 1146175"/>
                    <a:gd name="connsiteY71" fmla="*/ 1469016 h 1661098"/>
                    <a:gd name="connsiteX72" fmla="*/ 130175 w 1146175"/>
                    <a:gd name="connsiteY72" fmla="*/ 1465841 h 1661098"/>
                    <a:gd name="connsiteX73" fmla="*/ 101600 w 1146175"/>
                    <a:gd name="connsiteY73" fmla="*/ 1453141 h 1661098"/>
                    <a:gd name="connsiteX74" fmla="*/ 69850 w 1146175"/>
                    <a:gd name="connsiteY74" fmla="*/ 1443616 h 1661098"/>
                    <a:gd name="connsiteX75" fmla="*/ 41275 w 1146175"/>
                    <a:gd name="connsiteY75" fmla="*/ 1430916 h 1661098"/>
                    <a:gd name="connsiteX76" fmla="*/ 31750 w 1146175"/>
                    <a:gd name="connsiteY76" fmla="*/ 1424566 h 1661098"/>
                    <a:gd name="connsiteX77" fmla="*/ 15875 w 1146175"/>
                    <a:gd name="connsiteY77" fmla="*/ 1418216 h 1661098"/>
                    <a:gd name="connsiteX78" fmla="*/ 0 w 1146175"/>
                    <a:gd name="connsiteY78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606425 w 1146175"/>
                    <a:gd name="connsiteY48" fmla="*/ 1427741 h 1661098"/>
                    <a:gd name="connsiteX49" fmla="*/ 501650 w 1146175"/>
                    <a:gd name="connsiteY49" fmla="*/ 1453141 h 1661098"/>
                    <a:gd name="connsiteX50" fmla="*/ 492125 w 1146175"/>
                    <a:gd name="connsiteY50" fmla="*/ 1459491 h 1661098"/>
                    <a:gd name="connsiteX51" fmla="*/ 466725 w 1146175"/>
                    <a:gd name="connsiteY51" fmla="*/ 1491241 h 1661098"/>
                    <a:gd name="connsiteX52" fmla="*/ 457200 w 1146175"/>
                    <a:gd name="connsiteY52" fmla="*/ 1510291 h 1661098"/>
                    <a:gd name="connsiteX53" fmla="*/ 454025 w 1146175"/>
                    <a:gd name="connsiteY53" fmla="*/ 1519816 h 1661098"/>
                    <a:gd name="connsiteX54" fmla="*/ 447675 w 1146175"/>
                    <a:gd name="connsiteY54" fmla="*/ 1535691 h 1661098"/>
                    <a:gd name="connsiteX55" fmla="*/ 434975 w 1146175"/>
                    <a:gd name="connsiteY55" fmla="*/ 1561091 h 1661098"/>
                    <a:gd name="connsiteX56" fmla="*/ 431800 w 1146175"/>
                    <a:gd name="connsiteY56" fmla="*/ 1576966 h 1661098"/>
                    <a:gd name="connsiteX57" fmla="*/ 425450 w 1146175"/>
                    <a:gd name="connsiteY57" fmla="*/ 1602366 h 1661098"/>
                    <a:gd name="connsiteX58" fmla="*/ 422275 w 1146175"/>
                    <a:gd name="connsiteY58" fmla="*/ 1611891 h 1661098"/>
                    <a:gd name="connsiteX59" fmla="*/ 412750 w 1146175"/>
                    <a:gd name="connsiteY59" fmla="*/ 1621416 h 1661098"/>
                    <a:gd name="connsiteX60" fmla="*/ 222250 w 1146175"/>
                    <a:gd name="connsiteY60" fmla="*/ 1627766 h 1661098"/>
                    <a:gd name="connsiteX61" fmla="*/ 215900 w 1146175"/>
                    <a:gd name="connsiteY61" fmla="*/ 1611891 h 1661098"/>
                    <a:gd name="connsiteX62" fmla="*/ 206375 w 1146175"/>
                    <a:gd name="connsiteY62" fmla="*/ 1599191 h 1661098"/>
                    <a:gd name="connsiteX63" fmla="*/ 203200 w 1146175"/>
                    <a:gd name="connsiteY63" fmla="*/ 1586491 h 1661098"/>
                    <a:gd name="connsiteX64" fmla="*/ 196850 w 1146175"/>
                    <a:gd name="connsiteY64" fmla="*/ 1573791 h 1661098"/>
                    <a:gd name="connsiteX65" fmla="*/ 193675 w 1146175"/>
                    <a:gd name="connsiteY65" fmla="*/ 1564266 h 1661098"/>
                    <a:gd name="connsiteX66" fmla="*/ 187325 w 1146175"/>
                    <a:gd name="connsiteY66" fmla="*/ 1551566 h 1661098"/>
                    <a:gd name="connsiteX67" fmla="*/ 180975 w 1146175"/>
                    <a:gd name="connsiteY67" fmla="*/ 1535691 h 1661098"/>
                    <a:gd name="connsiteX68" fmla="*/ 161925 w 1146175"/>
                    <a:gd name="connsiteY68" fmla="*/ 1507116 h 1661098"/>
                    <a:gd name="connsiteX69" fmla="*/ 149225 w 1146175"/>
                    <a:gd name="connsiteY69" fmla="*/ 1484891 h 1661098"/>
                    <a:gd name="connsiteX70" fmla="*/ 142875 w 1146175"/>
                    <a:gd name="connsiteY70" fmla="*/ 1469016 h 1661098"/>
                    <a:gd name="connsiteX71" fmla="*/ 130175 w 1146175"/>
                    <a:gd name="connsiteY71" fmla="*/ 1465841 h 1661098"/>
                    <a:gd name="connsiteX72" fmla="*/ 101600 w 1146175"/>
                    <a:gd name="connsiteY72" fmla="*/ 1453141 h 1661098"/>
                    <a:gd name="connsiteX73" fmla="*/ 69850 w 1146175"/>
                    <a:gd name="connsiteY73" fmla="*/ 1443616 h 1661098"/>
                    <a:gd name="connsiteX74" fmla="*/ 41275 w 1146175"/>
                    <a:gd name="connsiteY74" fmla="*/ 1430916 h 1661098"/>
                    <a:gd name="connsiteX75" fmla="*/ 31750 w 1146175"/>
                    <a:gd name="connsiteY75" fmla="*/ 1424566 h 1661098"/>
                    <a:gd name="connsiteX76" fmla="*/ 15875 w 1146175"/>
                    <a:gd name="connsiteY76" fmla="*/ 1418216 h 1661098"/>
                    <a:gd name="connsiteX77" fmla="*/ 0 w 1146175"/>
                    <a:gd name="connsiteY77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54025 w 1146175"/>
                    <a:gd name="connsiteY52" fmla="*/ 1519816 h 1661098"/>
                    <a:gd name="connsiteX53" fmla="*/ 447675 w 1146175"/>
                    <a:gd name="connsiteY53" fmla="*/ 1535691 h 1661098"/>
                    <a:gd name="connsiteX54" fmla="*/ 434975 w 1146175"/>
                    <a:gd name="connsiteY54" fmla="*/ 1561091 h 1661098"/>
                    <a:gd name="connsiteX55" fmla="*/ 431800 w 1146175"/>
                    <a:gd name="connsiteY55" fmla="*/ 1576966 h 1661098"/>
                    <a:gd name="connsiteX56" fmla="*/ 425450 w 1146175"/>
                    <a:gd name="connsiteY56" fmla="*/ 1602366 h 1661098"/>
                    <a:gd name="connsiteX57" fmla="*/ 422275 w 1146175"/>
                    <a:gd name="connsiteY57" fmla="*/ 1611891 h 1661098"/>
                    <a:gd name="connsiteX58" fmla="*/ 412750 w 1146175"/>
                    <a:gd name="connsiteY58" fmla="*/ 1621416 h 1661098"/>
                    <a:gd name="connsiteX59" fmla="*/ 222250 w 1146175"/>
                    <a:gd name="connsiteY59" fmla="*/ 1627766 h 1661098"/>
                    <a:gd name="connsiteX60" fmla="*/ 215900 w 1146175"/>
                    <a:gd name="connsiteY60" fmla="*/ 1611891 h 1661098"/>
                    <a:gd name="connsiteX61" fmla="*/ 206375 w 1146175"/>
                    <a:gd name="connsiteY61" fmla="*/ 1599191 h 1661098"/>
                    <a:gd name="connsiteX62" fmla="*/ 203200 w 1146175"/>
                    <a:gd name="connsiteY62" fmla="*/ 1586491 h 1661098"/>
                    <a:gd name="connsiteX63" fmla="*/ 196850 w 1146175"/>
                    <a:gd name="connsiteY63" fmla="*/ 1573791 h 1661098"/>
                    <a:gd name="connsiteX64" fmla="*/ 193675 w 1146175"/>
                    <a:gd name="connsiteY64" fmla="*/ 1564266 h 1661098"/>
                    <a:gd name="connsiteX65" fmla="*/ 187325 w 1146175"/>
                    <a:gd name="connsiteY65" fmla="*/ 1551566 h 1661098"/>
                    <a:gd name="connsiteX66" fmla="*/ 180975 w 1146175"/>
                    <a:gd name="connsiteY66" fmla="*/ 1535691 h 1661098"/>
                    <a:gd name="connsiteX67" fmla="*/ 161925 w 1146175"/>
                    <a:gd name="connsiteY67" fmla="*/ 1507116 h 1661098"/>
                    <a:gd name="connsiteX68" fmla="*/ 149225 w 1146175"/>
                    <a:gd name="connsiteY68" fmla="*/ 1484891 h 1661098"/>
                    <a:gd name="connsiteX69" fmla="*/ 142875 w 1146175"/>
                    <a:gd name="connsiteY69" fmla="*/ 1469016 h 1661098"/>
                    <a:gd name="connsiteX70" fmla="*/ 130175 w 1146175"/>
                    <a:gd name="connsiteY70" fmla="*/ 1465841 h 1661098"/>
                    <a:gd name="connsiteX71" fmla="*/ 101600 w 1146175"/>
                    <a:gd name="connsiteY71" fmla="*/ 1453141 h 1661098"/>
                    <a:gd name="connsiteX72" fmla="*/ 69850 w 1146175"/>
                    <a:gd name="connsiteY72" fmla="*/ 1443616 h 1661098"/>
                    <a:gd name="connsiteX73" fmla="*/ 41275 w 1146175"/>
                    <a:gd name="connsiteY73" fmla="*/ 1430916 h 1661098"/>
                    <a:gd name="connsiteX74" fmla="*/ 31750 w 1146175"/>
                    <a:gd name="connsiteY74" fmla="*/ 1424566 h 1661098"/>
                    <a:gd name="connsiteX75" fmla="*/ 15875 w 1146175"/>
                    <a:gd name="connsiteY75" fmla="*/ 1418216 h 1661098"/>
                    <a:gd name="connsiteX76" fmla="*/ 0 w 1146175"/>
                    <a:gd name="connsiteY76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47675 w 1146175"/>
                    <a:gd name="connsiteY52" fmla="*/ 1535691 h 1661098"/>
                    <a:gd name="connsiteX53" fmla="*/ 434975 w 1146175"/>
                    <a:gd name="connsiteY53" fmla="*/ 1561091 h 1661098"/>
                    <a:gd name="connsiteX54" fmla="*/ 431800 w 1146175"/>
                    <a:gd name="connsiteY54" fmla="*/ 1576966 h 1661098"/>
                    <a:gd name="connsiteX55" fmla="*/ 425450 w 1146175"/>
                    <a:gd name="connsiteY55" fmla="*/ 1602366 h 1661098"/>
                    <a:gd name="connsiteX56" fmla="*/ 422275 w 1146175"/>
                    <a:gd name="connsiteY56" fmla="*/ 1611891 h 1661098"/>
                    <a:gd name="connsiteX57" fmla="*/ 412750 w 1146175"/>
                    <a:gd name="connsiteY57" fmla="*/ 1621416 h 1661098"/>
                    <a:gd name="connsiteX58" fmla="*/ 222250 w 1146175"/>
                    <a:gd name="connsiteY58" fmla="*/ 1627766 h 1661098"/>
                    <a:gd name="connsiteX59" fmla="*/ 215900 w 1146175"/>
                    <a:gd name="connsiteY59" fmla="*/ 1611891 h 1661098"/>
                    <a:gd name="connsiteX60" fmla="*/ 206375 w 1146175"/>
                    <a:gd name="connsiteY60" fmla="*/ 1599191 h 1661098"/>
                    <a:gd name="connsiteX61" fmla="*/ 203200 w 1146175"/>
                    <a:gd name="connsiteY61" fmla="*/ 1586491 h 1661098"/>
                    <a:gd name="connsiteX62" fmla="*/ 196850 w 1146175"/>
                    <a:gd name="connsiteY62" fmla="*/ 1573791 h 1661098"/>
                    <a:gd name="connsiteX63" fmla="*/ 193675 w 1146175"/>
                    <a:gd name="connsiteY63" fmla="*/ 1564266 h 1661098"/>
                    <a:gd name="connsiteX64" fmla="*/ 187325 w 1146175"/>
                    <a:gd name="connsiteY64" fmla="*/ 1551566 h 1661098"/>
                    <a:gd name="connsiteX65" fmla="*/ 180975 w 1146175"/>
                    <a:gd name="connsiteY65" fmla="*/ 1535691 h 1661098"/>
                    <a:gd name="connsiteX66" fmla="*/ 161925 w 1146175"/>
                    <a:gd name="connsiteY66" fmla="*/ 1507116 h 1661098"/>
                    <a:gd name="connsiteX67" fmla="*/ 149225 w 1146175"/>
                    <a:gd name="connsiteY67" fmla="*/ 1484891 h 1661098"/>
                    <a:gd name="connsiteX68" fmla="*/ 142875 w 1146175"/>
                    <a:gd name="connsiteY68" fmla="*/ 1469016 h 1661098"/>
                    <a:gd name="connsiteX69" fmla="*/ 130175 w 1146175"/>
                    <a:gd name="connsiteY69" fmla="*/ 1465841 h 1661098"/>
                    <a:gd name="connsiteX70" fmla="*/ 101600 w 1146175"/>
                    <a:gd name="connsiteY70" fmla="*/ 1453141 h 1661098"/>
                    <a:gd name="connsiteX71" fmla="*/ 69850 w 1146175"/>
                    <a:gd name="connsiteY71" fmla="*/ 1443616 h 1661098"/>
                    <a:gd name="connsiteX72" fmla="*/ 41275 w 1146175"/>
                    <a:gd name="connsiteY72" fmla="*/ 1430916 h 1661098"/>
                    <a:gd name="connsiteX73" fmla="*/ 31750 w 1146175"/>
                    <a:gd name="connsiteY73" fmla="*/ 1424566 h 1661098"/>
                    <a:gd name="connsiteX74" fmla="*/ 15875 w 1146175"/>
                    <a:gd name="connsiteY74" fmla="*/ 1418216 h 1661098"/>
                    <a:gd name="connsiteX75" fmla="*/ 0 w 1146175"/>
                    <a:gd name="connsiteY75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34975 w 1146175"/>
                    <a:gd name="connsiteY52" fmla="*/ 1561091 h 1661098"/>
                    <a:gd name="connsiteX53" fmla="*/ 431800 w 1146175"/>
                    <a:gd name="connsiteY53" fmla="*/ 1576966 h 1661098"/>
                    <a:gd name="connsiteX54" fmla="*/ 425450 w 1146175"/>
                    <a:gd name="connsiteY54" fmla="*/ 1602366 h 1661098"/>
                    <a:gd name="connsiteX55" fmla="*/ 422275 w 1146175"/>
                    <a:gd name="connsiteY55" fmla="*/ 1611891 h 1661098"/>
                    <a:gd name="connsiteX56" fmla="*/ 412750 w 1146175"/>
                    <a:gd name="connsiteY56" fmla="*/ 1621416 h 1661098"/>
                    <a:gd name="connsiteX57" fmla="*/ 222250 w 1146175"/>
                    <a:gd name="connsiteY57" fmla="*/ 1627766 h 1661098"/>
                    <a:gd name="connsiteX58" fmla="*/ 215900 w 1146175"/>
                    <a:gd name="connsiteY58" fmla="*/ 1611891 h 1661098"/>
                    <a:gd name="connsiteX59" fmla="*/ 206375 w 1146175"/>
                    <a:gd name="connsiteY59" fmla="*/ 1599191 h 1661098"/>
                    <a:gd name="connsiteX60" fmla="*/ 203200 w 1146175"/>
                    <a:gd name="connsiteY60" fmla="*/ 1586491 h 1661098"/>
                    <a:gd name="connsiteX61" fmla="*/ 196850 w 1146175"/>
                    <a:gd name="connsiteY61" fmla="*/ 1573791 h 1661098"/>
                    <a:gd name="connsiteX62" fmla="*/ 193675 w 1146175"/>
                    <a:gd name="connsiteY62" fmla="*/ 1564266 h 1661098"/>
                    <a:gd name="connsiteX63" fmla="*/ 187325 w 1146175"/>
                    <a:gd name="connsiteY63" fmla="*/ 1551566 h 1661098"/>
                    <a:gd name="connsiteX64" fmla="*/ 180975 w 1146175"/>
                    <a:gd name="connsiteY64" fmla="*/ 1535691 h 1661098"/>
                    <a:gd name="connsiteX65" fmla="*/ 161925 w 1146175"/>
                    <a:gd name="connsiteY65" fmla="*/ 1507116 h 1661098"/>
                    <a:gd name="connsiteX66" fmla="*/ 149225 w 1146175"/>
                    <a:gd name="connsiteY66" fmla="*/ 1484891 h 1661098"/>
                    <a:gd name="connsiteX67" fmla="*/ 142875 w 1146175"/>
                    <a:gd name="connsiteY67" fmla="*/ 1469016 h 1661098"/>
                    <a:gd name="connsiteX68" fmla="*/ 130175 w 1146175"/>
                    <a:gd name="connsiteY68" fmla="*/ 1465841 h 1661098"/>
                    <a:gd name="connsiteX69" fmla="*/ 101600 w 1146175"/>
                    <a:gd name="connsiteY69" fmla="*/ 1453141 h 1661098"/>
                    <a:gd name="connsiteX70" fmla="*/ 69850 w 1146175"/>
                    <a:gd name="connsiteY70" fmla="*/ 1443616 h 1661098"/>
                    <a:gd name="connsiteX71" fmla="*/ 41275 w 1146175"/>
                    <a:gd name="connsiteY71" fmla="*/ 1430916 h 1661098"/>
                    <a:gd name="connsiteX72" fmla="*/ 31750 w 1146175"/>
                    <a:gd name="connsiteY72" fmla="*/ 1424566 h 1661098"/>
                    <a:gd name="connsiteX73" fmla="*/ 15875 w 1146175"/>
                    <a:gd name="connsiteY73" fmla="*/ 1418216 h 1661098"/>
                    <a:gd name="connsiteX74" fmla="*/ 0 w 1146175"/>
                    <a:gd name="connsiteY74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31800 w 1146175"/>
                    <a:gd name="connsiteY52" fmla="*/ 1576966 h 1661098"/>
                    <a:gd name="connsiteX53" fmla="*/ 425450 w 1146175"/>
                    <a:gd name="connsiteY53" fmla="*/ 1602366 h 1661098"/>
                    <a:gd name="connsiteX54" fmla="*/ 422275 w 1146175"/>
                    <a:gd name="connsiteY54" fmla="*/ 1611891 h 1661098"/>
                    <a:gd name="connsiteX55" fmla="*/ 412750 w 1146175"/>
                    <a:gd name="connsiteY55" fmla="*/ 1621416 h 1661098"/>
                    <a:gd name="connsiteX56" fmla="*/ 222250 w 1146175"/>
                    <a:gd name="connsiteY56" fmla="*/ 1627766 h 1661098"/>
                    <a:gd name="connsiteX57" fmla="*/ 215900 w 1146175"/>
                    <a:gd name="connsiteY57" fmla="*/ 1611891 h 1661098"/>
                    <a:gd name="connsiteX58" fmla="*/ 206375 w 1146175"/>
                    <a:gd name="connsiteY58" fmla="*/ 1599191 h 1661098"/>
                    <a:gd name="connsiteX59" fmla="*/ 203200 w 1146175"/>
                    <a:gd name="connsiteY59" fmla="*/ 1586491 h 1661098"/>
                    <a:gd name="connsiteX60" fmla="*/ 196850 w 1146175"/>
                    <a:gd name="connsiteY60" fmla="*/ 1573791 h 1661098"/>
                    <a:gd name="connsiteX61" fmla="*/ 193675 w 1146175"/>
                    <a:gd name="connsiteY61" fmla="*/ 1564266 h 1661098"/>
                    <a:gd name="connsiteX62" fmla="*/ 187325 w 1146175"/>
                    <a:gd name="connsiteY62" fmla="*/ 1551566 h 1661098"/>
                    <a:gd name="connsiteX63" fmla="*/ 180975 w 1146175"/>
                    <a:gd name="connsiteY63" fmla="*/ 1535691 h 1661098"/>
                    <a:gd name="connsiteX64" fmla="*/ 161925 w 1146175"/>
                    <a:gd name="connsiteY64" fmla="*/ 1507116 h 1661098"/>
                    <a:gd name="connsiteX65" fmla="*/ 149225 w 1146175"/>
                    <a:gd name="connsiteY65" fmla="*/ 1484891 h 1661098"/>
                    <a:gd name="connsiteX66" fmla="*/ 142875 w 1146175"/>
                    <a:gd name="connsiteY66" fmla="*/ 1469016 h 1661098"/>
                    <a:gd name="connsiteX67" fmla="*/ 130175 w 1146175"/>
                    <a:gd name="connsiteY67" fmla="*/ 1465841 h 1661098"/>
                    <a:gd name="connsiteX68" fmla="*/ 101600 w 1146175"/>
                    <a:gd name="connsiteY68" fmla="*/ 1453141 h 1661098"/>
                    <a:gd name="connsiteX69" fmla="*/ 69850 w 1146175"/>
                    <a:gd name="connsiteY69" fmla="*/ 1443616 h 1661098"/>
                    <a:gd name="connsiteX70" fmla="*/ 41275 w 1146175"/>
                    <a:gd name="connsiteY70" fmla="*/ 1430916 h 1661098"/>
                    <a:gd name="connsiteX71" fmla="*/ 31750 w 1146175"/>
                    <a:gd name="connsiteY71" fmla="*/ 1424566 h 1661098"/>
                    <a:gd name="connsiteX72" fmla="*/ 15875 w 1146175"/>
                    <a:gd name="connsiteY72" fmla="*/ 1418216 h 1661098"/>
                    <a:gd name="connsiteX73" fmla="*/ 0 w 1146175"/>
                    <a:gd name="connsiteY73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22275 w 1146175"/>
                    <a:gd name="connsiteY53" fmla="*/ 1611891 h 1661098"/>
                    <a:gd name="connsiteX54" fmla="*/ 412750 w 1146175"/>
                    <a:gd name="connsiteY54" fmla="*/ 1621416 h 1661098"/>
                    <a:gd name="connsiteX55" fmla="*/ 222250 w 1146175"/>
                    <a:gd name="connsiteY55" fmla="*/ 1627766 h 1661098"/>
                    <a:gd name="connsiteX56" fmla="*/ 215900 w 1146175"/>
                    <a:gd name="connsiteY56" fmla="*/ 1611891 h 1661098"/>
                    <a:gd name="connsiteX57" fmla="*/ 206375 w 1146175"/>
                    <a:gd name="connsiteY57" fmla="*/ 1599191 h 1661098"/>
                    <a:gd name="connsiteX58" fmla="*/ 203200 w 1146175"/>
                    <a:gd name="connsiteY58" fmla="*/ 1586491 h 1661098"/>
                    <a:gd name="connsiteX59" fmla="*/ 196850 w 1146175"/>
                    <a:gd name="connsiteY59" fmla="*/ 1573791 h 1661098"/>
                    <a:gd name="connsiteX60" fmla="*/ 193675 w 1146175"/>
                    <a:gd name="connsiteY60" fmla="*/ 1564266 h 1661098"/>
                    <a:gd name="connsiteX61" fmla="*/ 187325 w 1146175"/>
                    <a:gd name="connsiteY61" fmla="*/ 1551566 h 1661098"/>
                    <a:gd name="connsiteX62" fmla="*/ 180975 w 1146175"/>
                    <a:gd name="connsiteY62" fmla="*/ 1535691 h 1661098"/>
                    <a:gd name="connsiteX63" fmla="*/ 161925 w 1146175"/>
                    <a:gd name="connsiteY63" fmla="*/ 1507116 h 1661098"/>
                    <a:gd name="connsiteX64" fmla="*/ 149225 w 1146175"/>
                    <a:gd name="connsiteY64" fmla="*/ 1484891 h 1661098"/>
                    <a:gd name="connsiteX65" fmla="*/ 142875 w 1146175"/>
                    <a:gd name="connsiteY65" fmla="*/ 1469016 h 1661098"/>
                    <a:gd name="connsiteX66" fmla="*/ 130175 w 1146175"/>
                    <a:gd name="connsiteY66" fmla="*/ 1465841 h 1661098"/>
                    <a:gd name="connsiteX67" fmla="*/ 101600 w 1146175"/>
                    <a:gd name="connsiteY67" fmla="*/ 1453141 h 1661098"/>
                    <a:gd name="connsiteX68" fmla="*/ 69850 w 1146175"/>
                    <a:gd name="connsiteY68" fmla="*/ 1443616 h 1661098"/>
                    <a:gd name="connsiteX69" fmla="*/ 41275 w 1146175"/>
                    <a:gd name="connsiteY69" fmla="*/ 1430916 h 1661098"/>
                    <a:gd name="connsiteX70" fmla="*/ 31750 w 1146175"/>
                    <a:gd name="connsiteY70" fmla="*/ 1424566 h 1661098"/>
                    <a:gd name="connsiteX71" fmla="*/ 15875 w 1146175"/>
                    <a:gd name="connsiteY71" fmla="*/ 1418216 h 1661098"/>
                    <a:gd name="connsiteX72" fmla="*/ 0 w 1146175"/>
                    <a:gd name="connsiteY72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203200 w 1146175"/>
                    <a:gd name="connsiteY57" fmla="*/ 1586491 h 1661098"/>
                    <a:gd name="connsiteX58" fmla="*/ 196850 w 1146175"/>
                    <a:gd name="connsiteY58" fmla="*/ 1573791 h 1661098"/>
                    <a:gd name="connsiteX59" fmla="*/ 193675 w 1146175"/>
                    <a:gd name="connsiteY59" fmla="*/ 1564266 h 1661098"/>
                    <a:gd name="connsiteX60" fmla="*/ 187325 w 1146175"/>
                    <a:gd name="connsiteY60" fmla="*/ 1551566 h 1661098"/>
                    <a:gd name="connsiteX61" fmla="*/ 180975 w 1146175"/>
                    <a:gd name="connsiteY61" fmla="*/ 1535691 h 1661098"/>
                    <a:gd name="connsiteX62" fmla="*/ 161925 w 1146175"/>
                    <a:gd name="connsiteY62" fmla="*/ 1507116 h 1661098"/>
                    <a:gd name="connsiteX63" fmla="*/ 149225 w 1146175"/>
                    <a:gd name="connsiteY63" fmla="*/ 1484891 h 1661098"/>
                    <a:gd name="connsiteX64" fmla="*/ 142875 w 1146175"/>
                    <a:gd name="connsiteY64" fmla="*/ 1469016 h 1661098"/>
                    <a:gd name="connsiteX65" fmla="*/ 130175 w 1146175"/>
                    <a:gd name="connsiteY65" fmla="*/ 1465841 h 1661098"/>
                    <a:gd name="connsiteX66" fmla="*/ 101600 w 1146175"/>
                    <a:gd name="connsiteY66" fmla="*/ 1453141 h 1661098"/>
                    <a:gd name="connsiteX67" fmla="*/ 69850 w 1146175"/>
                    <a:gd name="connsiteY67" fmla="*/ 1443616 h 1661098"/>
                    <a:gd name="connsiteX68" fmla="*/ 41275 w 1146175"/>
                    <a:gd name="connsiteY68" fmla="*/ 1430916 h 1661098"/>
                    <a:gd name="connsiteX69" fmla="*/ 31750 w 1146175"/>
                    <a:gd name="connsiteY69" fmla="*/ 1424566 h 1661098"/>
                    <a:gd name="connsiteX70" fmla="*/ 15875 w 1146175"/>
                    <a:gd name="connsiteY70" fmla="*/ 1418216 h 1661098"/>
                    <a:gd name="connsiteX71" fmla="*/ 0 w 1146175"/>
                    <a:gd name="connsiteY71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203200 w 1146175"/>
                    <a:gd name="connsiteY57" fmla="*/ 1586491 h 1661098"/>
                    <a:gd name="connsiteX58" fmla="*/ 196850 w 1146175"/>
                    <a:gd name="connsiteY58" fmla="*/ 1573791 h 1661098"/>
                    <a:gd name="connsiteX59" fmla="*/ 193675 w 1146175"/>
                    <a:gd name="connsiteY59" fmla="*/ 1564266 h 1661098"/>
                    <a:gd name="connsiteX60" fmla="*/ 187325 w 1146175"/>
                    <a:gd name="connsiteY60" fmla="*/ 1551566 h 1661098"/>
                    <a:gd name="connsiteX61" fmla="*/ 161925 w 1146175"/>
                    <a:gd name="connsiteY61" fmla="*/ 1507116 h 1661098"/>
                    <a:gd name="connsiteX62" fmla="*/ 149225 w 1146175"/>
                    <a:gd name="connsiteY62" fmla="*/ 1484891 h 1661098"/>
                    <a:gd name="connsiteX63" fmla="*/ 142875 w 1146175"/>
                    <a:gd name="connsiteY63" fmla="*/ 1469016 h 1661098"/>
                    <a:gd name="connsiteX64" fmla="*/ 130175 w 1146175"/>
                    <a:gd name="connsiteY64" fmla="*/ 1465841 h 1661098"/>
                    <a:gd name="connsiteX65" fmla="*/ 101600 w 1146175"/>
                    <a:gd name="connsiteY65" fmla="*/ 1453141 h 1661098"/>
                    <a:gd name="connsiteX66" fmla="*/ 69850 w 1146175"/>
                    <a:gd name="connsiteY66" fmla="*/ 1443616 h 1661098"/>
                    <a:gd name="connsiteX67" fmla="*/ 41275 w 1146175"/>
                    <a:gd name="connsiteY67" fmla="*/ 1430916 h 1661098"/>
                    <a:gd name="connsiteX68" fmla="*/ 31750 w 1146175"/>
                    <a:gd name="connsiteY68" fmla="*/ 1424566 h 1661098"/>
                    <a:gd name="connsiteX69" fmla="*/ 15875 w 1146175"/>
                    <a:gd name="connsiteY69" fmla="*/ 1418216 h 1661098"/>
                    <a:gd name="connsiteX70" fmla="*/ 0 w 1146175"/>
                    <a:gd name="connsiteY70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203200 w 1146175"/>
                    <a:gd name="connsiteY57" fmla="*/ 1586491 h 1661098"/>
                    <a:gd name="connsiteX58" fmla="*/ 196850 w 1146175"/>
                    <a:gd name="connsiteY58" fmla="*/ 1573791 h 1661098"/>
                    <a:gd name="connsiteX59" fmla="*/ 187325 w 1146175"/>
                    <a:gd name="connsiteY59" fmla="*/ 1551566 h 1661098"/>
                    <a:gd name="connsiteX60" fmla="*/ 161925 w 1146175"/>
                    <a:gd name="connsiteY60" fmla="*/ 1507116 h 1661098"/>
                    <a:gd name="connsiteX61" fmla="*/ 149225 w 1146175"/>
                    <a:gd name="connsiteY61" fmla="*/ 1484891 h 1661098"/>
                    <a:gd name="connsiteX62" fmla="*/ 142875 w 1146175"/>
                    <a:gd name="connsiteY62" fmla="*/ 1469016 h 1661098"/>
                    <a:gd name="connsiteX63" fmla="*/ 130175 w 1146175"/>
                    <a:gd name="connsiteY63" fmla="*/ 1465841 h 1661098"/>
                    <a:gd name="connsiteX64" fmla="*/ 101600 w 1146175"/>
                    <a:gd name="connsiteY64" fmla="*/ 1453141 h 1661098"/>
                    <a:gd name="connsiteX65" fmla="*/ 69850 w 1146175"/>
                    <a:gd name="connsiteY65" fmla="*/ 1443616 h 1661098"/>
                    <a:gd name="connsiteX66" fmla="*/ 41275 w 1146175"/>
                    <a:gd name="connsiteY66" fmla="*/ 1430916 h 1661098"/>
                    <a:gd name="connsiteX67" fmla="*/ 31750 w 1146175"/>
                    <a:gd name="connsiteY67" fmla="*/ 1424566 h 1661098"/>
                    <a:gd name="connsiteX68" fmla="*/ 15875 w 1146175"/>
                    <a:gd name="connsiteY68" fmla="*/ 1418216 h 1661098"/>
                    <a:gd name="connsiteX69" fmla="*/ 0 w 1146175"/>
                    <a:gd name="connsiteY69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196850 w 1146175"/>
                    <a:gd name="connsiteY57" fmla="*/ 1573791 h 1661098"/>
                    <a:gd name="connsiteX58" fmla="*/ 187325 w 1146175"/>
                    <a:gd name="connsiteY58" fmla="*/ 1551566 h 1661098"/>
                    <a:gd name="connsiteX59" fmla="*/ 161925 w 1146175"/>
                    <a:gd name="connsiteY59" fmla="*/ 1507116 h 1661098"/>
                    <a:gd name="connsiteX60" fmla="*/ 149225 w 1146175"/>
                    <a:gd name="connsiteY60" fmla="*/ 1484891 h 1661098"/>
                    <a:gd name="connsiteX61" fmla="*/ 142875 w 1146175"/>
                    <a:gd name="connsiteY61" fmla="*/ 1469016 h 1661098"/>
                    <a:gd name="connsiteX62" fmla="*/ 130175 w 1146175"/>
                    <a:gd name="connsiteY62" fmla="*/ 1465841 h 1661098"/>
                    <a:gd name="connsiteX63" fmla="*/ 101600 w 1146175"/>
                    <a:gd name="connsiteY63" fmla="*/ 1453141 h 1661098"/>
                    <a:gd name="connsiteX64" fmla="*/ 69850 w 1146175"/>
                    <a:gd name="connsiteY64" fmla="*/ 1443616 h 1661098"/>
                    <a:gd name="connsiteX65" fmla="*/ 41275 w 1146175"/>
                    <a:gd name="connsiteY65" fmla="*/ 1430916 h 1661098"/>
                    <a:gd name="connsiteX66" fmla="*/ 31750 w 1146175"/>
                    <a:gd name="connsiteY66" fmla="*/ 1424566 h 1661098"/>
                    <a:gd name="connsiteX67" fmla="*/ 15875 w 1146175"/>
                    <a:gd name="connsiteY67" fmla="*/ 1418216 h 1661098"/>
                    <a:gd name="connsiteX68" fmla="*/ 0 w 1146175"/>
                    <a:gd name="connsiteY68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196850 w 1146175"/>
                    <a:gd name="connsiteY57" fmla="*/ 1573791 h 1661098"/>
                    <a:gd name="connsiteX58" fmla="*/ 161925 w 1146175"/>
                    <a:gd name="connsiteY58" fmla="*/ 1507116 h 1661098"/>
                    <a:gd name="connsiteX59" fmla="*/ 149225 w 1146175"/>
                    <a:gd name="connsiteY59" fmla="*/ 1484891 h 1661098"/>
                    <a:gd name="connsiteX60" fmla="*/ 142875 w 1146175"/>
                    <a:gd name="connsiteY60" fmla="*/ 1469016 h 1661098"/>
                    <a:gd name="connsiteX61" fmla="*/ 130175 w 1146175"/>
                    <a:gd name="connsiteY61" fmla="*/ 1465841 h 1661098"/>
                    <a:gd name="connsiteX62" fmla="*/ 101600 w 1146175"/>
                    <a:gd name="connsiteY62" fmla="*/ 1453141 h 1661098"/>
                    <a:gd name="connsiteX63" fmla="*/ 69850 w 1146175"/>
                    <a:gd name="connsiteY63" fmla="*/ 1443616 h 1661098"/>
                    <a:gd name="connsiteX64" fmla="*/ 41275 w 1146175"/>
                    <a:gd name="connsiteY64" fmla="*/ 1430916 h 1661098"/>
                    <a:gd name="connsiteX65" fmla="*/ 31750 w 1146175"/>
                    <a:gd name="connsiteY65" fmla="*/ 1424566 h 1661098"/>
                    <a:gd name="connsiteX66" fmla="*/ 15875 w 1146175"/>
                    <a:gd name="connsiteY66" fmla="*/ 1418216 h 1661098"/>
                    <a:gd name="connsiteX67" fmla="*/ 0 w 1146175"/>
                    <a:gd name="connsiteY67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161925 w 1146175"/>
                    <a:gd name="connsiteY57" fmla="*/ 1507116 h 1661098"/>
                    <a:gd name="connsiteX58" fmla="*/ 149225 w 1146175"/>
                    <a:gd name="connsiteY58" fmla="*/ 1484891 h 1661098"/>
                    <a:gd name="connsiteX59" fmla="*/ 142875 w 1146175"/>
                    <a:gd name="connsiteY59" fmla="*/ 1469016 h 1661098"/>
                    <a:gd name="connsiteX60" fmla="*/ 130175 w 1146175"/>
                    <a:gd name="connsiteY60" fmla="*/ 1465841 h 1661098"/>
                    <a:gd name="connsiteX61" fmla="*/ 101600 w 1146175"/>
                    <a:gd name="connsiteY61" fmla="*/ 1453141 h 1661098"/>
                    <a:gd name="connsiteX62" fmla="*/ 69850 w 1146175"/>
                    <a:gd name="connsiteY62" fmla="*/ 1443616 h 1661098"/>
                    <a:gd name="connsiteX63" fmla="*/ 41275 w 1146175"/>
                    <a:gd name="connsiteY63" fmla="*/ 1430916 h 1661098"/>
                    <a:gd name="connsiteX64" fmla="*/ 31750 w 1146175"/>
                    <a:gd name="connsiteY64" fmla="*/ 1424566 h 1661098"/>
                    <a:gd name="connsiteX65" fmla="*/ 15875 w 1146175"/>
                    <a:gd name="connsiteY65" fmla="*/ 1418216 h 1661098"/>
                    <a:gd name="connsiteX66" fmla="*/ 0 w 1146175"/>
                    <a:gd name="connsiteY66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161925 w 1146175"/>
                    <a:gd name="connsiteY57" fmla="*/ 1507116 h 1661098"/>
                    <a:gd name="connsiteX58" fmla="*/ 149225 w 1146175"/>
                    <a:gd name="connsiteY58" fmla="*/ 1484891 h 1661098"/>
                    <a:gd name="connsiteX59" fmla="*/ 142875 w 1146175"/>
                    <a:gd name="connsiteY59" fmla="*/ 1469016 h 1661098"/>
                    <a:gd name="connsiteX60" fmla="*/ 130175 w 1146175"/>
                    <a:gd name="connsiteY60" fmla="*/ 1465841 h 1661098"/>
                    <a:gd name="connsiteX61" fmla="*/ 101600 w 1146175"/>
                    <a:gd name="connsiteY61" fmla="*/ 1453141 h 1661098"/>
                    <a:gd name="connsiteX62" fmla="*/ 69850 w 1146175"/>
                    <a:gd name="connsiteY62" fmla="*/ 1443616 h 1661098"/>
                    <a:gd name="connsiteX63" fmla="*/ 41275 w 1146175"/>
                    <a:gd name="connsiteY63" fmla="*/ 1430916 h 1661098"/>
                    <a:gd name="connsiteX64" fmla="*/ 15875 w 1146175"/>
                    <a:gd name="connsiteY64" fmla="*/ 1418216 h 1661098"/>
                    <a:gd name="connsiteX65" fmla="*/ 0 w 1146175"/>
                    <a:gd name="connsiteY65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161925 w 1146175"/>
                    <a:gd name="connsiteY57" fmla="*/ 1507116 h 1661098"/>
                    <a:gd name="connsiteX58" fmla="*/ 149225 w 1146175"/>
                    <a:gd name="connsiteY58" fmla="*/ 1484891 h 1661098"/>
                    <a:gd name="connsiteX59" fmla="*/ 142875 w 1146175"/>
                    <a:gd name="connsiteY59" fmla="*/ 1469016 h 1661098"/>
                    <a:gd name="connsiteX60" fmla="*/ 130175 w 1146175"/>
                    <a:gd name="connsiteY60" fmla="*/ 1465841 h 1661098"/>
                    <a:gd name="connsiteX61" fmla="*/ 101600 w 1146175"/>
                    <a:gd name="connsiteY61" fmla="*/ 1453141 h 1661098"/>
                    <a:gd name="connsiteX62" fmla="*/ 69850 w 1146175"/>
                    <a:gd name="connsiteY62" fmla="*/ 1443616 h 1661098"/>
                    <a:gd name="connsiteX63" fmla="*/ 41275 w 1146175"/>
                    <a:gd name="connsiteY63" fmla="*/ 1430916 h 1661098"/>
                    <a:gd name="connsiteX64" fmla="*/ 0 w 1146175"/>
                    <a:gd name="connsiteY64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161925 w 1146175"/>
                    <a:gd name="connsiteY57" fmla="*/ 1507116 h 1661098"/>
                    <a:gd name="connsiteX58" fmla="*/ 149225 w 1146175"/>
                    <a:gd name="connsiteY58" fmla="*/ 1484891 h 1661098"/>
                    <a:gd name="connsiteX59" fmla="*/ 142875 w 1146175"/>
                    <a:gd name="connsiteY59" fmla="*/ 1469016 h 1661098"/>
                    <a:gd name="connsiteX60" fmla="*/ 130175 w 1146175"/>
                    <a:gd name="connsiteY60" fmla="*/ 1465841 h 1661098"/>
                    <a:gd name="connsiteX61" fmla="*/ 101600 w 1146175"/>
                    <a:gd name="connsiteY61" fmla="*/ 1453141 h 1661098"/>
                    <a:gd name="connsiteX62" fmla="*/ 41275 w 1146175"/>
                    <a:gd name="connsiteY62" fmla="*/ 1430916 h 1661098"/>
                    <a:gd name="connsiteX63" fmla="*/ 0 w 1146175"/>
                    <a:gd name="connsiteY63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161925 w 1146175"/>
                    <a:gd name="connsiteY57" fmla="*/ 1507116 h 1661098"/>
                    <a:gd name="connsiteX58" fmla="*/ 149225 w 1146175"/>
                    <a:gd name="connsiteY58" fmla="*/ 1484891 h 1661098"/>
                    <a:gd name="connsiteX59" fmla="*/ 142875 w 1146175"/>
                    <a:gd name="connsiteY59" fmla="*/ 1469016 h 1661098"/>
                    <a:gd name="connsiteX60" fmla="*/ 130175 w 1146175"/>
                    <a:gd name="connsiteY60" fmla="*/ 1465841 h 1661098"/>
                    <a:gd name="connsiteX61" fmla="*/ 41275 w 1146175"/>
                    <a:gd name="connsiteY61" fmla="*/ 1430916 h 1661098"/>
                    <a:gd name="connsiteX62" fmla="*/ 0 w 1146175"/>
                    <a:gd name="connsiteY62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161925 w 1146175"/>
                    <a:gd name="connsiteY57" fmla="*/ 1507116 h 1661098"/>
                    <a:gd name="connsiteX58" fmla="*/ 149225 w 1146175"/>
                    <a:gd name="connsiteY58" fmla="*/ 1484891 h 1661098"/>
                    <a:gd name="connsiteX59" fmla="*/ 142875 w 1146175"/>
                    <a:gd name="connsiteY59" fmla="*/ 1469016 h 1661098"/>
                    <a:gd name="connsiteX60" fmla="*/ 41275 w 1146175"/>
                    <a:gd name="connsiteY60" fmla="*/ 1430916 h 1661098"/>
                    <a:gd name="connsiteX61" fmla="*/ 0 w 1146175"/>
                    <a:gd name="connsiteY61" fmla="*/ 1402341 h 1661098"/>
                    <a:gd name="connsiteX0" fmla="*/ 9525 w 1146175"/>
                    <a:gd name="connsiteY0" fmla="*/ 227591 h 1661098"/>
                    <a:gd name="connsiteX1" fmla="*/ 50800 w 1146175"/>
                    <a:gd name="connsiteY1" fmla="*/ 205366 h 1661098"/>
                    <a:gd name="connsiteX2" fmla="*/ 127000 w 1146175"/>
                    <a:gd name="connsiteY2" fmla="*/ 170441 h 1661098"/>
                    <a:gd name="connsiteX3" fmla="*/ 155575 w 1146175"/>
                    <a:gd name="connsiteY3" fmla="*/ 160916 h 1661098"/>
                    <a:gd name="connsiteX4" fmla="*/ 168275 w 1146175"/>
                    <a:gd name="connsiteY4" fmla="*/ 148216 h 1661098"/>
                    <a:gd name="connsiteX5" fmla="*/ 209550 w 1146175"/>
                    <a:gd name="connsiteY5" fmla="*/ 65666 h 1661098"/>
                    <a:gd name="connsiteX6" fmla="*/ 238125 w 1146175"/>
                    <a:gd name="connsiteY6" fmla="*/ 14866 h 1661098"/>
                    <a:gd name="connsiteX7" fmla="*/ 269875 w 1146175"/>
                    <a:gd name="connsiteY7" fmla="*/ 5341 h 1661098"/>
                    <a:gd name="connsiteX8" fmla="*/ 428625 w 1146175"/>
                    <a:gd name="connsiteY8" fmla="*/ 11691 h 1661098"/>
                    <a:gd name="connsiteX9" fmla="*/ 492125 w 1146175"/>
                    <a:gd name="connsiteY9" fmla="*/ 145041 h 1661098"/>
                    <a:gd name="connsiteX10" fmla="*/ 508000 w 1146175"/>
                    <a:gd name="connsiteY10" fmla="*/ 170441 h 1661098"/>
                    <a:gd name="connsiteX11" fmla="*/ 558800 w 1146175"/>
                    <a:gd name="connsiteY11" fmla="*/ 189491 h 1661098"/>
                    <a:gd name="connsiteX12" fmla="*/ 635000 w 1146175"/>
                    <a:gd name="connsiteY12" fmla="*/ 221241 h 1661098"/>
                    <a:gd name="connsiteX13" fmla="*/ 717550 w 1146175"/>
                    <a:gd name="connsiteY13" fmla="*/ 218066 h 1661098"/>
                    <a:gd name="connsiteX14" fmla="*/ 838200 w 1146175"/>
                    <a:gd name="connsiteY14" fmla="*/ 186316 h 1661098"/>
                    <a:gd name="connsiteX15" fmla="*/ 879475 w 1146175"/>
                    <a:gd name="connsiteY15" fmla="*/ 205366 h 1661098"/>
                    <a:gd name="connsiteX16" fmla="*/ 974725 w 1146175"/>
                    <a:gd name="connsiteY16" fmla="*/ 303791 h 1661098"/>
                    <a:gd name="connsiteX17" fmla="*/ 968375 w 1146175"/>
                    <a:gd name="connsiteY17" fmla="*/ 338716 h 1661098"/>
                    <a:gd name="connsiteX18" fmla="*/ 936625 w 1146175"/>
                    <a:gd name="connsiteY18" fmla="*/ 402216 h 1661098"/>
                    <a:gd name="connsiteX19" fmla="*/ 917575 w 1146175"/>
                    <a:gd name="connsiteY19" fmla="*/ 459366 h 1661098"/>
                    <a:gd name="connsiteX20" fmla="*/ 917575 w 1146175"/>
                    <a:gd name="connsiteY20" fmla="*/ 506991 h 1661098"/>
                    <a:gd name="connsiteX21" fmla="*/ 923925 w 1146175"/>
                    <a:gd name="connsiteY21" fmla="*/ 519691 h 1661098"/>
                    <a:gd name="connsiteX22" fmla="*/ 955675 w 1146175"/>
                    <a:gd name="connsiteY22" fmla="*/ 573666 h 1661098"/>
                    <a:gd name="connsiteX23" fmla="*/ 974725 w 1146175"/>
                    <a:gd name="connsiteY23" fmla="*/ 627641 h 1661098"/>
                    <a:gd name="connsiteX24" fmla="*/ 981075 w 1146175"/>
                    <a:gd name="connsiteY24" fmla="*/ 646691 h 1661098"/>
                    <a:gd name="connsiteX25" fmla="*/ 1041400 w 1146175"/>
                    <a:gd name="connsiteY25" fmla="*/ 665741 h 1661098"/>
                    <a:gd name="connsiteX26" fmla="*/ 1117600 w 1146175"/>
                    <a:gd name="connsiteY26" fmla="*/ 707016 h 1661098"/>
                    <a:gd name="connsiteX27" fmla="*/ 1136650 w 1146175"/>
                    <a:gd name="connsiteY27" fmla="*/ 713366 h 1661098"/>
                    <a:gd name="connsiteX28" fmla="*/ 1146175 w 1146175"/>
                    <a:gd name="connsiteY28" fmla="*/ 903866 h 1661098"/>
                    <a:gd name="connsiteX29" fmla="*/ 1127125 w 1146175"/>
                    <a:gd name="connsiteY29" fmla="*/ 913391 h 1661098"/>
                    <a:gd name="connsiteX30" fmla="*/ 996950 w 1146175"/>
                    <a:gd name="connsiteY30" fmla="*/ 983241 h 1661098"/>
                    <a:gd name="connsiteX31" fmla="*/ 977900 w 1146175"/>
                    <a:gd name="connsiteY31" fmla="*/ 989591 h 1661098"/>
                    <a:gd name="connsiteX32" fmla="*/ 968375 w 1146175"/>
                    <a:gd name="connsiteY32" fmla="*/ 1014991 h 1661098"/>
                    <a:gd name="connsiteX33" fmla="*/ 955675 w 1146175"/>
                    <a:gd name="connsiteY33" fmla="*/ 1065791 h 1661098"/>
                    <a:gd name="connsiteX34" fmla="*/ 923925 w 1146175"/>
                    <a:gd name="connsiteY34" fmla="*/ 1135641 h 1661098"/>
                    <a:gd name="connsiteX35" fmla="*/ 917575 w 1146175"/>
                    <a:gd name="connsiteY35" fmla="*/ 1145166 h 1661098"/>
                    <a:gd name="connsiteX36" fmla="*/ 946150 w 1146175"/>
                    <a:gd name="connsiteY36" fmla="*/ 1234066 h 1661098"/>
                    <a:gd name="connsiteX37" fmla="*/ 974725 w 1146175"/>
                    <a:gd name="connsiteY37" fmla="*/ 1291216 h 1661098"/>
                    <a:gd name="connsiteX38" fmla="*/ 974725 w 1146175"/>
                    <a:gd name="connsiteY38" fmla="*/ 1348366 h 1661098"/>
                    <a:gd name="connsiteX39" fmla="*/ 949325 w 1146175"/>
                    <a:gd name="connsiteY39" fmla="*/ 1380116 h 1661098"/>
                    <a:gd name="connsiteX40" fmla="*/ 895350 w 1146175"/>
                    <a:gd name="connsiteY40" fmla="*/ 1427741 h 1661098"/>
                    <a:gd name="connsiteX41" fmla="*/ 844550 w 1146175"/>
                    <a:gd name="connsiteY41" fmla="*/ 1462666 h 1661098"/>
                    <a:gd name="connsiteX42" fmla="*/ 835025 w 1146175"/>
                    <a:gd name="connsiteY42" fmla="*/ 1465841 h 1661098"/>
                    <a:gd name="connsiteX43" fmla="*/ 815975 w 1146175"/>
                    <a:gd name="connsiteY43" fmla="*/ 1459491 h 1661098"/>
                    <a:gd name="connsiteX44" fmla="*/ 717550 w 1146175"/>
                    <a:gd name="connsiteY44" fmla="*/ 1424566 h 1661098"/>
                    <a:gd name="connsiteX45" fmla="*/ 657225 w 1146175"/>
                    <a:gd name="connsiteY45" fmla="*/ 1408691 h 1661098"/>
                    <a:gd name="connsiteX46" fmla="*/ 635000 w 1146175"/>
                    <a:gd name="connsiteY46" fmla="*/ 1411866 h 1661098"/>
                    <a:gd name="connsiteX47" fmla="*/ 622300 w 1146175"/>
                    <a:gd name="connsiteY47" fmla="*/ 1418216 h 1661098"/>
                    <a:gd name="connsiteX48" fmla="*/ 501650 w 1146175"/>
                    <a:gd name="connsiteY48" fmla="*/ 1453141 h 1661098"/>
                    <a:gd name="connsiteX49" fmla="*/ 492125 w 1146175"/>
                    <a:gd name="connsiteY49" fmla="*/ 1459491 h 1661098"/>
                    <a:gd name="connsiteX50" fmla="*/ 466725 w 1146175"/>
                    <a:gd name="connsiteY50" fmla="*/ 1491241 h 1661098"/>
                    <a:gd name="connsiteX51" fmla="*/ 457200 w 1146175"/>
                    <a:gd name="connsiteY51" fmla="*/ 1510291 h 1661098"/>
                    <a:gd name="connsiteX52" fmla="*/ 425450 w 1146175"/>
                    <a:gd name="connsiteY52" fmla="*/ 1602366 h 1661098"/>
                    <a:gd name="connsiteX53" fmla="*/ 412750 w 1146175"/>
                    <a:gd name="connsiteY53" fmla="*/ 1621416 h 1661098"/>
                    <a:gd name="connsiteX54" fmla="*/ 222250 w 1146175"/>
                    <a:gd name="connsiteY54" fmla="*/ 1627766 h 1661098"/>
                    <a:gd name="connsiteX55" fmla="*/ 215900 w 1146175"/>
                    <a:gd name="connsiteY55" fmla="*/ 1611891 h 1661098"/>
                    <a:gd name="connsiteX56" fmla="*/ 206375 w 1146175"/>
                    <a:gd name="connsiteY56" fmla="*/ 1599191 h 1661098"/>
                    <a:gd name="connsiteX57" fmla="*/ 149225 w 1146175"/>
                    <a:gd name="connsiteY57" fmla="*/ 1484891 h 1661098"/>
                    <a:gd name="connsiteX58" fmla="*/ 142875 w 1146175"/>
                    <a:gd name="connsiteY58" fmla="*/ 1469016 h 1661098"/>
                    <a:gd name="connsiteX59" fmla="*/ 41275 w 1146175"/>
                    <a:gd name="connsiteY59" fmla="*/ 1430916 h 1661098"/>
                    <a:gd name="connsiteX60" fmla="*/ 0 w 1146175"/>
                    <a:gd name="connsiteY60" fmla="*/ 1402341 h 1661098"/>
                    <a:gd name="connsiteX0" fmla="*/ 9525 w 1146175"/>
                    <a:gd name="connsiteY0" fmla="*/ 227591 h 1657445"/>
                    <a:gd name="connsiteX1" fmla="*/ 50800 w 1146175"/>
                    <a:gd name="connsiteY1" fmla="*/ 205366 h 1657445"/>
                    <a:gd name="connsiteX2" fmla="*/ 127000 w 1146175"/>
                    <a:gd name="connsiteY2" fmla="*/ 170441 h 1657445"/>
                    <a:gd name="connsiteX3" fmla="*/ 155575 w 1146175"/>
                    <a:gd name="connsiteY3" fmla="*/ 160916 h 1657445"/>
                    <a:gd name="connsiteX4" fmla="*/ 168275 w 1146175"/>
                    <a:gd name="connsiteY4" fmla="*/ 148216 h 1657445"/>
                    <a:gd name="connsiteX5" fmla="*/ 209550 w 1146175"/>
                    <a:gd name="connsiteY5" fmla="*/ 65666 h 1657445"/>
                    <a:gd name="connsiteX6" fmla="*/ 238125 w 1146175"/>
                    <a:gd name="connsiteY6" fmla="*/ 14866 h 1657445"/>
                    <a:gd name="connsiteX7" fmla="*/ 269875 w 1146175"/>
                    <a:gd name="connsiteY7" fmla="*/ 5341 h 1657445"/>
                    <a:gd name="connsiteX8" fmla="*/ 428625 w 1146175"/>
                    <a:gd name="connsiteY8" fmla="*/ 11691 h 1657445"/>
                    <a:gd name="connsiteX9" fmla="*/ 492125 w 1146175"/>
                    <a:gd name="connsiteY9" fmla="*/ 145041 h 1657445"/>
                    <a:gd name="connsiteX10" fmla="*/ 508000 w 1146175"/>
                    <a:gd name="connsiteY10" fmla="*/ 170441 h 1657445"/>
                    <a:gd name="connsiteX11" fmla="*/ 558800 w 1146175"/>
                    <a:gd name="connsiteY11" fmla="*/ 189491 h 1657445"/>
                    <a:gd name="connsiteX12" fmla="*/ 635000 w 1146175"/>
                    <a:gd name="connsiteY12" fmla="*/ 221241 h 1657445"/>
                    <a:gd name="connsiteX13" fmla="*/ 717550 w 1146175"/>
                    <a:gd name="connsiteY13" fmla="*/ 218066 h 1657445"/>
                    <a:gd name="connsiteX14" fmla="*/ 838200 w 1146175"/>
                    <a:gd name="connsiteY14" fmla="*/ 186316 h 1657445"/>
                    <a:gd name="connsiteX15" fmla="*/ 879475 w 1146175"/>
                    <a:gd name="connsiteY15" fmla="*/ 205366 h 1657445"/>
                    <a:gd name="connsiteX16" fmla="*/ 974725 w 1146175"/>
                    <a:gd name="connsiteY16" fmla="*/ 303791 h 1657445"/>
                    <a:gd name="connsiteX17" fmla="*/ 968375 w 1146175"/>
                    <a:gd name="connsiteY17" fmla="*/ 338716 h 1657445"/>
                    <a:gd name="connsiteX18" fmla="*/ 936625 w 1146175"/>
                    <a:gd name="connsiteY18" fmla="*/ 402216 h 1657445"/>
                    <a:gd name="connsiteX19" fmla="*/ 917575 w 1146175"/>
                    <a:gd name="connsiteY19" fmla="*/ 459366 h 1657445"/>
                    <a:gd name="connsiteX20" fmla="*/ 917575 w 1146175"/>
                    <a:gd name="connsiteY20" fmla="*/ 506991 h 1657445"/>
                    <a:gd name="connsiteX21" fmla="*/ 923925 w 1146175"/>
                    <a:gd name="connsiteY21" fmla="*/ 519691 h 1657445"/>
                    <a:gd name="connsiteX22" fmla="*/ 955675 w 1146175"/>
                    <a:gd name="connsiteY22" fmla="*/ 573666 h 1657445"/>
                    <a:gd name="connsiteX23" fmla="*/ 974725 w 1146175"/>
                    <a:gd name="connsiteY23" fmla="*/ 627641 h 1657445"/>
                    <a:gd name="connsiteX24" fmla="*/ 981075 w 1146175"/>
                    <a:gd name="connsiteY24" fmla="*/ 646691 h 1657445"/>
                    <a:gd name="connsiteX25" fmla="*/ 1041400 w 1146175"/>
                    <a:gd name="connsiteY25" fmla="*/ 665741 h 1657445"/>
                    <a:gd name="connsiteX26" fmla="*/ 1117600 w 1146175"/>
                    <a:gd name="connsiteY26" fmla="*/ 707016 h 1657445"/>
                    <a:gd name="connsiteX27" fmla="*/ 1136650 w 1146175"/>
                    <a:gd name="connsiteY27" fmla="*/ 713366 h 1657445"/>
                    <a:gd name="connsiteX28" fmla="*/ 1146175 w 1146175"/>
                    <a:gd name="connsiteY28" fmla="*/ 903866 h 1657445"/>
                    <a:gd name="connsiteX29" fmla="*/ 1127125 w 1146175"/>
                    <a:gd name="connsiteY29" fmla="*/ 913391 h 1657445"/>
                    <a:gd name="connsiteX30" fmla="*/ 996950 w 1146175"/>
                    <a:gd name="connsiteY30" fmla="*/ 983241 h 1657445"/>
                    <a:gd name="connsiteX31" fmla="*/ 977900 w 1146175"/>
                    <a:gd name="connsiteY31" fmla="*/ 989591 h 1657445"/>
                    <a:gd name="connsiteX32" fmla="*/ 968375 w 1146175"/>
                    <a:gd name="connsiteY32" fmla="*/ 1014991 h 1657445"/>
                    <a:gd name="connsiteX33" fmla="*/ 955675 w 1146175"/>
                    <a:gd name="connsiteY33" fmla="*/ 1065791 h 1657445"/>
                    <a:gd name="connsiteX34" fmla="*/ 923925 w 1146175"/>
                    <a:gd name="connsiteY34" fmla="*/ 1135641 h 1657445"/>
                    <a:gd name="connsiteX35" fmla="*/ 917575 w 1146175"/>
                    <a:gd name="connsiteY35" fmla="*/ 1145166 h 1657445"/>
                    <a:gd name="connsiteX36" fmla="*/ 946150 w 1146175"/>
                    <a:gd name="connsiteY36" fmla="*/ 1234066 h 1657445"/>
                    <a:gd name="connsiteX37" fmla="*/ 974725 w 1146175"/>
                    <a:gd name="connsiteY37" fmla="*/ 1291216 h 1657445"/>
                    <a:gd name="connsiteX38" fmla="*/ 974725 w 1146175"/>
                    <a:gd name="connsiteY38" fmla="*/ 1348366 h 1657445"/>
                    <a:gd name="connsiteX39" fmla="*/ 949325 w 1146175"/>
                    <a:gd name="connsiteY39" fmla="*/ 1380116 h 1657445"/>
                    <a:gd name="connsiteX40" fmla="*/ 895350 w 1146175"/>
                    <a:gd name="connsiteY40" fmla="*/ 1427741 h 1657445"/>
                    <a:gd name="connsiteX41" fmla="*/ 844550 w 1146175"/>
                    <a:gd name="connsiteY41" fmla="*/ 1462666 h 1657445"/>
                    <a:gd name="connsiteX42" fmla="*/ 835025 w 1146175"/>
                    <a:gd name="connsiteY42" fmla="*/ 1465841 h 1657445"/>
                    <a:gd name="connsiteX43" fmla="*/ 815975 w 1146175"/>
                    <a:gd name="connsiteY43" fmla="*/ 1459491 h 1657445"/>
                    <a:gd name="connsiteX44" fmla="*/ 717550 w 1146175"/>
                    <a:gd name="connsiteY44" fmla="*/ 1424566 h 1657445"/>
                    <a:gd name="connsiteX45" fmla="*/ 657225 w 1146175"/>
                    <a:gd name="connsiteY45" fmla="*/ 1408691 h 1657445"/>
                    <a:gd name="connsiteX46" fmla="*/ 635000 w 1146175"/>
                    <a:gd name="connsiteY46" fmla="*/ 1411866 h 1657445"/>
                    <a:gd name="connsiteX47" fmla="*/ 622300 w 1146175"/>
                    <a:gd name="connsiteY47" fmla="*/ 1418216 h 1657445"/>
                    <a:gd name="connsiteX48" fmla="*/ 501650 w 1146175"/>
                    <a:gd name="connsiteY48" fmla="*/ 1453141 h 1657445"/>
                    <a:gd name="connsiteX49" fmla="*/ 492125 w 1146175"/>
                    <a:gd name="connsiteY49" fmla="*/ 1459491 h 1657445"/>
                    <a:gd name="connsiteX50" fmla="*/ 466725 w 1146175"/>
                    <a:gd name="connsiteY50" fmla="*/ 1491241 h 1657445"/>
                    <a:gd name="connsiteX51" fmla="*/ 457200 w 1146175"/>
                    <a:gd name="connsiteY51" fmla="*/ 1510291 h 1657445"/>
                    <a:gd name="connsiteX52" fmla="*/ 425450 w 1146175"/>
                    <a:gd name="connsiteY52" fmla="*/ 1602366 h 1657445"/>
                    <a:gd name="connsiteX53" fmla="*/ 381794 w 1146175"/>
                    <a:gd name="connsiteY53" fmla="*/ 1623797 h 1657445"/>
                    <a:gd name="connsiteX54" fmla="*/ 222250 w 1146175"/>
                    <a:gd name="connsiteY54" fmla="*/ 1627766 h 1657445"/>
                    <a:gd name="connsiteX55" fmla="*/ 215900 w 1146175"/>
                    <a:gd name="connsiteY55" fmla="*/ 1611891 h 1657445"/>
                    <a:gd name="connsiteX56" fmla="*/ 206375 w 1146175"/>
                    <a:gd name="connsiteY56" fmla="*/ 1599191 h 1657445"/>
                    <a:gd name="connsiteX57" fmla="*/ 149225 w 1146175"/>
                    <a:gd name="connsiteY57" fmla="*/ 1484891 h 1657445"/>
                    <a:gd name="connsiteX58" fmla="*/ 142875 w 1146175"/>
                    <a:gd name="connsiteY58" fmla="*/ 1469016 h 1657445"/>
                    <a:gd name="connsiteX59" fmla="*/ 41275 w 1146175"/>
                    <a:gd name="connsiteY59" fmla="*/ 1430916 h 1657445"/>
                    <a:gd name="connsiteX60" fmla="*/ 0 w 1146175"/>
                    <a:gd name="connsiteY60" fmla="*/ 1402341 h 1657445"/>
                    <a:gd name="connsiteX0" fmla="*/ 9525 w 1146175"/>
                    <a:gd name="connsiteY0" fmla="*/ 227591 h 1631346"/>
                    <a:gd name="connsiteX1" fmla="*/ 50800 w 1146175"/>
                    <a:gd name="connsiteY1" fmla="*/ 205366 h 1631346"/>
                    <a:gd name="connsiteX2" fmla="*/ 127000 w 1146175"/>
                    <a:gd name="connsiteY2" fmla="*/ 170441 h 1631346"/>
                    <a:gd name="connsiteX3" fmla="*/ 155575 w 1146175"/>
                    <a:gd name="connsiteY3" fmla="*/ 160916 h 1631346"/>
                    <a:gd name="connsiteX4" fmla="*/ 168275 w 1146175"/>
                    <a:gd name="connsiteY4" fmla="*/ 148216 h 1631346"/>
                    <a:gd name="connsiteX5" fmla="*/ 209550 w 1146175"/>
                    <a:gd name="connsiteY5" fmla="*/ 65666 h 1631346"/>
                    <a:gd name="connsiteX6" fmla="*/ 238125 w 1146175"/>
                    <a:gd name="connsiteY6" fmla="*/ 14866 h 1631346"/>
                    <a:gd name="connsiteX7" fmla="*/ 269875 w 1146175"/>
                    <a:gd name="connsiteY7" fmla="*/ 5341 h 1631346"/>
                    <a:gd name="connsiteX8" fmla="*/ 428625 w 1146175"/>
                    <a:gd name="connsiteY8" fmla="*/ 11691 h 1631346"/>
                    <a:gd name="connsiteX9" fmla="*/ 492125 w 1146175"/>
                    <a:gd name="connsiteY9" fmla="*/ 145041 h 1631346"/>
                    <a:gd name="connsiteX10" fmla="*/ 508000 w 1146175"/>
                    <a:gd name="connsiteY10" fmla="*/ 170441 h 1631346"/>
                    <a:gd name="connsiteX11" fmla="*/ 558800 w 1146175"/>
                    <a:gd name="connsiteY11" fmla="*/ 189491 h 1631346"/>
                    <a:gd name="connsiteX12" fmla="*/ 635000 w 1146175"/>
                    <a:gd name="connsiteY12" fmla="*/ 221241 h 1631346"/>
                    <a:gd name="connsiteX13" fmla="*/ 717550 w 1146175"/>
                    <a:gd name="connsiteY13" fmla="*/ 218066 h 1631346"/>
                    <a:gd name="connsiteX14" fmla="*/ 838200 w 1146175"/>
                    <a:gd name="connsiteY14" fmla="*/ 186316 h 1631346"/>
                    <a:gd name="connsiteX15" fmla="*/ 879475 w 1146175"/>
                    <a:gd name="connsiteY15" fmla="*/ 205366 h 1631346"/>
                    <a:gd name="connsiteX16" fmla="*/ 974725 w 1146175"/>
                    <a:gd name="connsiteY16" fmla="*/ 303791 h 1631346"/>
                    <a:gd name="connsiteX17" fmla="*/ 968375 w 1146175"/>
                    <a:gd name="connsiteY17" fmla="*/ 338716 h 1631346"/>
                    <a:gd name="connsiteX18" fmla="*/ 936625 w 1146175"/>
                    <a:gd name="connsiteY18" fmla="*/ 402216 h 1631346"/>
                    <a:gd name="connsiteX19" fmla="*/ 917575 w 1146175"/>
                    <a:gd name="connsiteY19" fmla="*/ 459366 h 1631346"/>
                    <a:gd name="connsiteX20" fmla="*/ 917575 w 1146175"/>
                    <a:gd name="connsiteY20" fmla="*/ 506991 h 1631346"/>
                    <a:gd name="connsiteX21" fmla="*/ 923925 w 1146175"/>
                    <a:gd name="connsiteY21" fmla="*/ 519691 h 1631346"/>
                    <a:gd name="connsiteX22" fmla="*/ 955675 w 1146175"/>
                    <a:gd name="connsiteY22" fmla="*/ 573666 h 1631346"/>
                    <a:gd name="connsiteX23" fmla="*/ 974725 w 1146175"/>
                    <a:gd name="connsiteY23" fmla="*/ 627641 h 1631346"/>
                    <a:gd name="connsiteX24" fmla="*/ 981075 w 1146175"/>
                    <a:gd name="connsiteY24" fmla="*/ 646691 h 1631346"/>
                    <a:gd name="connsiteX25" fmla="*/ 1041400 w 1146175"/>
                    <a:gd name="connsiteY25" fmla="*/ 665741 h 1631346"/>
                    <a:gd name="connsiteX26" fmla="*/ 1117600 w 1146175"/>
                    <a:gd name="connsiteY26" fmla="*/ 707016 h 1631346"/>
                    <a:gd name="connsiteX27" fmla="*/ 1136650 w 1146175"/>
                    <a:gd name="connsiteY27" fmla="*/ 713366 h 1631346"/>
                    <a:gd name="connsiteX28" fmla="*/ 1146175 w 1146175"/>
                    <a:gd name="connsiteY28" fmla="*/ 903866 h 1631346"/>
                    <a:gd name="connsiteX29" fmla="*/ 1127125 w 1146175"/>
                    <a:gd name="connsiteY29" fmla="*/ 913391 h 1631346"/>
                    <a:gd name="connsiteX30" fmla="*/ 996950 w 1146175"/>
                    <a:gd name="connsiteY30" fmla="*/ 983241 h 1631346"/>
                    <a:gd name="connsiteX31" fmla="*/ 977900 w 1146175"/>
                    <a:gd name="connsiteY31" fmla="*/ 989591 h 1631346"/>
                    <a:gd name="connsiteX32" fmla="*/ 968375 w 1146175"/>
                    <a:gd name="connsiteY32" fmla="*/ 1014991 h 1631346"/>
                    <a:gd name="connsiteX33" fmla="*/ 955675 w 1146175"/>
                    <a:gd name="connsiteY33" fmla="*/ 1065791 h 1631346"/>
                    <a:gd name="connsiteX34" fmla="*/ 923925 w 1146175"/>
                    <a:gd name="connsiteY34" fmla="*/ 1135641 h 1631346"/>
                    <a:gd name="connsiteX35" fmla="*/ 917575 w 1146175"/>
                    <a:gd name="connsiteY35" fmla="*/ 1145166 h 1631346"/>
                    <a:gd name="connsiteX36" fmla="*/ 946150 w 1146175"/>
                    <a:gd name="connsiteY36" fmla="*/ 1234066 h 1631346"/>
                    <a:gd name="connsiteX37" fmla="*/ 974725 w 1146175"/>
                    <a:gd name="connsiteY37" fmla="*/ 1291216 h 1631346"/>
                    <a:gd name="connsiteX38" fmla="*/ 974725 w 1146175"/>
                    <a:gd name="connsiteY38" fmla="*/ 1348366 h 1631346"/>
                    <a:gd name="connsiteX39" fmla="*/ 949325 w 1146175"/>
                    <a:gd name="connsiteY39" fmla="*/ 1380116 h 1631346"/>
                    <a:gd name="connsiteX40" fmla="*/ 895350 w 1146175"/>
                    <a:gd name="connsiteY40" fmla="*/ 1427741 h 1631346"/>
                    <a:gd name="connsiteX41" fmla="*/ 844550 w 1146175"/>
                    <a:gd name="connsiteY41" fmla="*/ 1462666 h 1631346"/>
                    <a:gd name="connsiteX42" fmla="*/ 835025 w 1146175"/>
                    <a:gd name="connsiteY42" fmla="*/ 1465841 h 1631346"/>
                    <a:gd name="connsiteX43" fmla="*/ 815975 w 1146175"/>
                    <a:gd name="connsiteY43" fmla="*/ 1459491 h 1631346"/>
                    <a:gd name="connsiteX44" fmla="*/ 717550 w 1146175"/>
                    <a:gd name="connsiteY44" fmla="*/ 1424566 h 1631346"/>
                    <a:gd name="connsiteX45" fmla="*/ 657225 w 1146175"/>
                    <a:gd name="connsiteY45" fmla="*/ 1408691 h 1631346"/>
                    <a:gd name="connsiteX46" fmla="*/ 635000 w 1146175"/>
                    <a:gd name="connsiteY46" fmla="*/ 1411866 h 1631346"/>
                    <a:gd name="connsiteX47" fmla="*/ 622300 w 1146175"/>
                    <a:gd name="connsiteY47" fmla="*/ 1418216 h 1631346"/>
                    <a:gd name="connsiteX48" fmla="*/ 501650 w 1146175"/>
                    <a:gd name="connsiteY48" fmla="*/ 1453141 h 1631346"/>
                    <a:gd name="connsiteX49" fmla="*/ 492125 w 1146175"/>
                    <a:gd name="connsiteY49" fmla="*/ 1459491 h 1631346"/>
                    <a:gd name="connsiteX50" fmla="*/ 466725 w 1146175"/>
                    <a:gd name="connsiteY50" fmla="*/ 1491241 h 1631346"/>
                    <a:gd name="connsiteX51" fmla="*/ 457200 w 1146175"/>
                    <a:gd name="connsiteY51" fmla="*/ 1510291 h 1631346"/>
                    <a:gd name="connsiteX52" fmla="*/ 425450 w 1146175"/>
                    <a:gd name="connsiteY52" fmla="*/ 1602366 h 1631346"/>
                    <a:gd name="connsiteX53" fmla="*/ 381794 w 1146175"/>
                    <a:gd name="connsiteY53" fmla="*/ 1623797 h 1631346"/>
                    <a:gd name="connsiteX54" fmla="*/ 222250 w 1146175"/>
                    <a:gd name="connsiteY54" fmla="*/ 1627766 h 1631346"/>
                    <a:gd name="connsiteX55" fmla="*/ 215900 w 1146175"/>
                    <a:gd name="connsiteY55" fmla="*/ 1611891 h 1631346"/>
                    <a:gd name="connsiteX56" fmla="*/ 206375 w 1146175"/>
                    <a:gd name="connsiteY56" fmla="*/ 1599191 h 1631346"/>
                    <a:gd name="connsiteX57" fmla="*/ 149225 w 1146175"/>
                    <a:gd name="connsiteY57" fmla="*/ 1484891 h 1631346"/>
                    <a:gd name="connsiteX58" fmla="*/ 142875 w 1146175"/>
                    <a:gd name="connsiteY58" fmla="*/ 1469016 h 1631346"/>
                    <a:gd name="connsiteX59" fmla="*/ 41275 w 1146175"/>
                    <a:gd name="connsiteY59" fmla="*/ 1430916 h 1631346"/>
                    <a:gd name="connsiteX60" fmla="*/ 0 w 1146175"/>
                    <a:gd name="connsiteY60" fmla="*/ 1402341 h 1631346"/>
                    <a:gd name="connsiteX0" fmla="*/ 9525 w 1146175"/>
                    <a:gd name="connsiteY0" fmla="*/ 227591 h 1632095"/>
                    <a:gd name="connsiteX1" fmla="*/ 50800 w 1146175"/>
                    <a:gd name="connsiteY1" fmla="*/ 205366 h 1632095"/>
                    <a:gd name="connsiteX2" fmla="*/ 127000 w 1146175"/>
                    <a:gd name="connsiteY2" fmla="*/ 170441 h 1632095"/>
                    <a:gd name="connsiteX3" fmla="*/ 155575 w 1146175"/>
                    <a:gd name="connsiteY3" fmla="*/ 160916 h 1632095"/>
                    <a:gd name="connsiteX4" fmla="*/ 168275 w 1146175"/>
                    <a:gd name="connsiteY4" fmla="*/ 148216 h 1632095"/>
                    <a:gd name="connsiteX5" fmla="*/ 209550 w 1146175"/>
                    <a:gd name="connsiteY5" fmla="*/ 65666 h 1632095"/>
                    <a:gd name="connsiteX6" fmla="*/ 238125 w 1146175"/>
                    <a:gd name="connsiteY6" fmla="*/ 14866 h 1632095"/>
                    <a:gd name="connsiteX7" fmla="*/ 269875 w 1146175"/>
                    <a:gd name="connsiteY7" fmla="*/ 5341 h 1632095"/>
                    <a:gd name="connsiteX8" fmla="*/ 428625 w 1146175"/>
                    <a:gd name="connsiteY8" fmla="*/ 11691 h 1632095"/>
                    <a:gd name="connsiteX9" fmla="*/ 492125 w 1146175"/>
                    <a:gd name="connsiteY9" fmla="*/ 145041 h 1632095"/>
                    <a:gd name="connsiteX10" fmla="*/ 508000 w 1146175"/>
                    <a:gd name="connsiteY10" fmla="*/ 170441 h 1632095"/>
                    <a:gd name="connsiteX11" fmla="*/ 558800 w 1146175"/>
                    <a:gd name="connsiteY11" fmla="*/ 189491 h 1632095"/>
                    <a:gd name="connsiteX12" fmla="*/ 635000 w 1146175"/>
                    <a:gd name="connsiteY12" fmla="*/ 221241 h 1632095"/>
                    <a:gd name="connsiteX13" fmla="*/ 717550 w 1146175"/>
                    <a:gd name="connsiteY13" fmla="*/ 218066 h 1632095"/>
                    <a:gd name="connsiteX14" fmla="*/ 838200 w 1146175"/>
                    <a:gd name="connsiteY14" fmla="*/ 186316 h 1632095"/>
                    <a:gd name="connsiteX15" fmla="*/ 879475 w 1146175"/>
                    <a:gd name="connsiteY15" fmla="*/ 205366 h 1632095"/>
                    <a:gd name="connsiteX16" fmla="*/ 974725 w 1146175"/>
                    <a:gd name="connsiteY16" fmla="*/ 303791 h 1632095"/>
                    <a:gd name="connsiteX17" fmla="*/ 968375 w 1146175"/>
                    <a:gd name="connsiteY17" fmla="*/ 338716 h 1632095"/>
                    <a:gd name="connsiteX18" fmla="*/ 936625 w 1146175"/>
                    <a:gd name="connsiteY18" fmla="*/ 402216 h 1632095"/>
                    <a:gd name="connsiteX19" fmla="*/ 917575 w 1146175"/>
                    <a:gd name="connsiteY19" fmla="*/ 459366 h 1632095"/>
                    <a:gd name="connsiteX20" fmla="*/ 917575 w 1146175"/>
                    <a:gd name="connsiteY20" fmla="*/ 506991 h 1632095"/>
                    <a:gd name="connsiteX21" fmla="*/ 923925 w 1146175"/>
                    <a:gd name="connsiteY21" fmla="*/ 519691 h 1632095"/>
                    <a:gd name="connsiteX22" fmla="*/ 955675 w 1146175"/>
                    <a:gd name="connsiteY22" fmla="*/ 573666 h 1632095"/>
                    <a:gd name="connsiteX23" fmla="*/ 974725 w 1146175"/>
                    <a:gd name="connsiteY23" fmla="*/ 627641 h 1632095"/>
                    <a:gd name="connsiteX24" fmla="*/ 981075 w 1146175"/>
                    <a:gd name="connsiteY24" fmla="*/ 646691 h 1632095"/>
                    <a:gd name="connsiteX25" fmla="*/ 1041400 w 1146175"/>
                    <a:gd name="connsiteY25" fmla="*/ 665741 h 1632095"/>
                    <a:gd name="connsiteX26" fmla="*/ 1117600 w 1146175"/>
                    <a:gd name="connsiteY26" fmla="*/ 707016 h 1632095"/>
                    <a:gd name="connsiteX27" fmla="*/ 1136650 w 1146175"/>
                    <a:gd name="connsiteY27" fmla="*/ 713366 h 1632095"/>
                    <a:gd name="connsiteX28" fmla="*/ 1146175 w 1146175"/>
                    <a:gd name="connsiteY28" fmla="*/ 903866 h 1632095"/>
                    <a:gd name="connsiteX29" fmla="*/ 1127125 w 1146175"/>
                    <a:gd name="connsiteY29" fmla="*/ 913391 h 1632095"/>
                    <a:gd name="connsiteX30" fmla="*/ 996950 w 1146175"/>
                    <a:gd name="connsiteY30" fmla="*/ 983241 h 1632095"/>
                    <a:gd name="connsiteX31" fmla="*/ 977900 w 1146175"/>
                    <a:gd name="connsiteY31" fmla="*/ 989591 h 1632095"/>
                    <a:gd name="connsiteX32" fmla="*/ 968375 w 1146175"/>
                    <a:gd name="connsiteY32" fmla="*/ 1014991 h 1632095"/>
                    <a:gd name="connsiteX33" fmla="*/ 955675 w 1146175"/>
                    <a:gd name="connsiteY33" fmla="*/ 1065791 h 1632095"/>
                    <a:gd name="connsiteX34" fmla="*/ 923925 w 1146175"/>
                    <a:gd name="connsiteY34" fmla="*/ 1135641 h 1632095"/>
                    <a:gd name="connsiteX35" fmla="*/ 917575 w 1146175"/>
                    <a:gd name="connsiteY35" fmla="*/ 1145166 h 1632095"/>
                    <a:gd name="connsiteX36" fmla="*/ 946150 w 1146175"/>
                    <a:gd name="connsiteY36" fmla="*/ 1234066 h 1632095"/>
                    <a:gd name="connsiteX37" fmla="*/ 974725 w 1146175"/>
                    <a:gd name="connsiteY37" fmla="*/ 1291216 h 1632095"/>
                    <a:gd name="connsiteX38" fmla="*/ 974725 w 1146175"/>
                    <a:gd name="connsiteY38" fmla="*/ 1348366 h 1632095"/>
                    <a:gd name="connsiteX39" fmla="*/ 949325 w 1146175"/>
                    <a:gd name="connsiteY39" fmla="*/ 1380116 h 1632095"/>
                    <a:gd name="connsiteX40" fmla="*/ 895350 w 1146175"/>
                    <a:gd name="connsiteY40" fmla="*/ 1427741 h 1632095"/>
                    <a:gd name="connsiteX41" fmla="*/ 844550 w 1146175"/>
                    <a:gd name="connsiteY41" fmla="*/ 1462666 h 1632095"/>
                    <a:gd name="connsiteX42" fmla="*/ 835025 w 1146175"/>
                    <a:gd name="connsiteY42" fmla="*/ 1465841 h 1632095"/>
                    <a:gd name="connsiteX43" fmla="*/ 815975 w 1146175"/>
                    <a:gd name="connsiteY43" fmla="*/ 1459491 h 1632095"/>
                    <a:gd name="connsiteX44" fmla="*/ 717550 w 1146175"/>
                    <a:gd name="connsiteY44" fmla="*/ 1424566 h 1632095"/>
                    <a:gd name="connsiteX45" fmla="*/ 657225 w 1146175"/>
                    <a:gd name="connsiteY45" fmla="*/ 1408691 h 1632095"/>
                    <a:gd name="connsiteX46" fmla="*/ 635000 w 1146175"/>
                    <a:gd name="connsiteY46" fmla="*/ 1411866 h 1632095"/>
                    <a:gd name="connsiteX47" fmla="*/ 622300 w 1146175"/>
                    <a:gd name="connsiteY47" fmla="*/ 1418216 h 1632095"/>
                    <a:gd name="connsiteX48" fmla="*/ 501650 w 1146175"/>
                    <a:gd name="connsiteY48" fmla="*/ 1453141 h 1632095"/>
                    <a:gd name="connsiteX49" fmla="*/ 492125 w 1146175"/>
                    <a:gd name="connsiteY49" fmla="*/ 1459491 h 1632095"/>
                    <a:gd name="connsiteX50" fmla="*/ 466725 w 1146175"/>
                    <a:gd name="connsiteY50" fmla="*/ 1491241 h 1632095"/>
                    <a:gd name="connsiteX51" fmla="*/ 457200 w 1146175"/>
                    <a:gd name="connsiteY51" fmla="*/ 1510291 h 1632095"/>
                    <a:gd name="connsiteX52" fmla="*/ 425450 w 1146175"/>
                    <a:gd name="connsiteY52" fmla="*/ 1602366 h 1632095"/>
                    <a:gd name="connsiteX53" fmla="*/ 381794 w 1146175"/>
                    <a:gd name="connsiteY53" fmla="*/ 1623797 h 1632095"/>
                    <a:gd name="connsiteX54" fmla="*/ 222250 w 1146175"/>
                    <a:gd name="connsiteY54" fmla="*/ 1627766 h 1632095"/>
                    <a:gd name="connsiteX55" fmla="*/ 206375 w 1146175"/>
                    <a:gd name="connsiteY55" fmla="*/ 1599191 h 1632095"/>
                    <a:gd name="connsiteX56" fmla="*/ 149225 w 1146175"/>
                    <a:gd name="connsiteY56" fmla="*/ 1484891 h 1632095"/>
                    <a:gd name="connsiteX57" fmla="*/ 142875 w 1146175"/>
                    <a:gd name="connsiteY57" fmla="*/ 1469016 h 1632095"/>
                    <a:gd name="connsiteX58" fmla="*/ 41275 w 1146175"/>
                    <a:gd name="connsiteY58" fmla="*/ 1430916 h 1632095"/>
                    <a:gd name="connsiteX59" fmla="*/ 0 w 1146175"/>
                    <a:gd name="connsiteY59" fmla="*/ 1402341 h 1632095"/>
                    <a:gd name="connsiteX0" fmla="*/ 9525 w 1146175"/>
                    <a:gd name="connsiteY0" fmla="*/ 227591 h 1631057"/>
                    <a:gd name="connsiteX1" fmla="*/ 50800 w 1146175"/>
                    <a:gd name="connsiteY1" fmla="*/ 205366 h 1631057"/>
                    <a:gd name="connsiteX2" fmla="*/ 127000 w 1146175"/>
                    <a:gd name="connsiteY2" fmla="*/ 170441 h 1631057"/>
                    <a:gd name="connsiteX3" fmla="*/ 155575 w 1146175"/>
                    <a:gd name="connsiteY3" fmla="*/ 160916 h 1631057"/>
                    <a:gd name="connsiteX4" fmla="*/ 168275 w 1146175"/>
                    <a:gd name="connsiteY4" fmla="*/ 148216 h 1631057"/>
                    <a:gd name="connsiteX5" fmla="*/ 209550 w 1146175"/>
                    <a:gd name="connsiteY5" fmla="*/ 65666 h 1631057"/>
                    <a:gd name="connsiteX6" fmla="*/ 238125 w 1146175"/>
                    <a:gd name="connsiteY6" fmla="*/ 14866 h 1631057"/>
                    <a:gd name="connsiteX7" fmla="*/ 269875 w 1146175"/>
                    <a:gd name="connsiteY7" fmla="*/ 5341 h 1631057"/>
                    <a:gd name="connsiteX8" fmla="*/ 428625 w 1146175"/>
                    <a:gd name="connsiteY8" fmla="*/ 11691 h 1631057"/>
                    <a:gd name="connsiteX9" fmla="*/ 492125 w 1146175"/>
                    <a:gd name="connsiteY9" fmla="*/ 145041 h 1631057"/>
                    <a:gd name="connsiteX10" fmla="*/ 508000 w 1146175"/>
                    <a:gd name="connsiteY10" fmla="*/ 170441 h 1631057"/>
                    <a:gd name="connsiteX11" fmla="*/ 558800 w 1146175"/>
                    <a:gd name="connsiteY11" fmla="*/ 189491 h 1631057"/>
                    <a:gd name="connsiteX12" fmla="*/ 635000 w 1146175"/>
                    <a:gd name="connsiteY12" fmla="*/ 221241 h 1631057"/>
                    <a:gd name="connsiteX13" fmla="*/ 717550 w 1146175"/>
                    <a:gd name="connsiteY13" fmla="*/ 218066 h 1631057"/>
                    <a:gd name="connsiteX14" fmla="*/ 838200 w 1146175"/>
                    <a:gd name="connsiteY14" fmla="*/ 186316 h 1631057"/>
                    <a:gd name="connsiteX15" fmla="*/ 879475 w 1146175"/>
                    <a:gd name="connsiteY15" fmla="*/ 205366 h 1631057"/>
                    <a:gd name="connsiteX16" fmla="*/ 974725 w 1146175"/>
                    <a:gd name="connsiteY16" fmla="*/ 303791 h 1631057"/>
                    <a:gd name="connsiteX17" fmla="*/ 968375 w 1146175"/>
                    <a:gd name="connsiteY17" fmla="*/ 338716 h 1631057"/>
                    <a:gd name="connsiteX18" fmla="*/ 936625 w 1146175"/>
                    <a:gd name="connsiteY18" fmla="*/ 402216 h 1631057"/>
                    <a:gd name="connsiteX19" fmla="*/ 917575 w 1146175"/>
                    <a:gd name="connsiteY19" fmla="*/ 459366 h 1631057"/>
                    <a:gd name="connsiteX20" fmla="*/ 917575 w 1146175"/>
                    <a:gd name="connsiteY20" fmla="*/ 506991 h 1631057"/>
                    <a:gd name="connsiteX21" fmla="*/ 923925 w 1146175"/>
                    <a:gd name="connsiteY21" fmla="*/ 519691 h 1631057"/>
                    <a:gd name="connsiteX22" fmla="*/ 955675 w 1146175"/>
                    <a:gd name="connsiteY22" fmla="*/ 573666 h 1631057"/>
                    <a:gd name="connsiteX23" fmla="*/ 974725 w 1146175"/>
                    <a:gd name="connsiteY23" fmla="*/ 627641 h 1631057"/>
                    <a:gd name="connsiteX24" fmla="*/ 981075 w 1146175"/>
                    <a:gd name="connsiteY24" fmla="*/ 646691 h 1631057"/>
                    <a:gd name="connsiteX25" fmla="*/ 1041400 w 1146175"/>
                    <a:gd name="connsiteY25" fmla="*/ 665741 h 1631057"/>
                    <a:gd name="connsiteX26" fmla="*/ 1117600 w 1146175"/>
                    <a:gd name="connsiteY26" fmla="*/ 707016 h 1631057"/>
                    <a:gd name="connsiteX27" fmla="*/ 1136650 w 1146175"/>
                    <a:gd name="connsiteY27" fmla="*/ 713366 h 1631057"/>
                    <a:gd name="connsiteX28" fmla="*/ 1146175 w 1146175"/>
                    <a:gd name="connsiteY28" fmla="*/ 903866 h 1631057"/>
                    <a:gd name="connsiteX29" fmla="*/ 1127125 w 1146175"/>
                    <a:gd name="connsiteY29" fmla="*/ 913391 h 1631057"/>
                    <a:gd name="connsiteX30" fmla="*/ 996950 w 1146175"/>
                    <a:gd name="connsiteY30" fmla="*/ 983241 h 1631057"/>
                    <a:gd name="connsiteX31" fmla="*/ 977900 w 1146175"/>
                    <a:gd name="connsiteY31" fmla="*/ 989591 h 1631057"/>
                    <a:gd name="connsiteX32" fmla="*/ 968375 w 1146175"/>
                    <a:gd name="connsiteY32" fmla="*/ 1014991 h 1631057"/>
                    <a:gd name="connsiteX33" fmla="*/ 955675 w 1146175"/>
                    <a:gd name="connsiteY33" fmla="*/ 1065791 h 1631057"/>
                    <a:gd name="connsiteX34" fmla="*/ 923925 w 1146175"/>
                    <a:gd name="connsiteY34" fmla="*/ 1135641 h 1631057"/>
                    <a:gd name="connsiteX35" fmla="*/ 917575 w 1146175"/>
                    <a:gd name="connsiteY35" fmla="*/ 1145166 h 1631057"/>
                    <a:gd name="connsiteX36" fmla="*/ 946150 w 1146175"/>
                    <a:gd name="connsiteY36" fmla="*/ 1234066 h 1631057"/>
                    <a:gd name="connsiteX37" fmla="*/ 974725 w 1146175"/>
                    <a:gd name="connsiteY37" fmla="*/ 1291216 h 1631057"/>
                    <a:gd name="connsiteX38" fmla="*/ 974725 w 1146175"/>
                    <a:gd name="connsiteY38" fmla="*/ 1348366 h 1631057"/>
                    <a:gd name="connsiteX39" fmla="*/ 949325 w 1146175"/>
                    <a:gd name="connsiteY39" fmla="*/ 1380116 h 1631057"/>
                    <a:gd name="connsiteX40" fmla="*/ 895350 w 1146175"/>
                    <a:gd name="connsiteY40" fmla="*/ 1427741 h 1631057"/>
                    <a:gd name="connsiteX41" fmla="*/ 844550 w 1146175"/>
                    <a:gd name="connsiteY41" fmla="*/ 1462666 h 1631057"/>
                    <a:gd name="connsiteX42" fmla="*/ 835025 w 1146175"/>
                    <a:gd name="connsiteY42" fmla="*/ 1465841 h 1631057"/>
                    <a:gd name="connsiteX43" fmla="*/ 815975 w 1146175"/>
                    <a:gd name="connsiteY43" fmla="*/ 1459491 h 1631057"/>
                    <a:gd name="connsiteX44" fmla="*/ 717550 w 1146175"/>
                    <a:gd name="connsiteY44" fmla="*/ 1424566 h 1631057"/>
                    <a:gd name="connsiteX45" fmla="*/ 657225 w 1146175"/>
                    <a:gd name="connsiteY45" fmla="*/ 1408691 h 1631057"/>
                    <a:gd name="connsiteX46" fmla="*/ 635000 w 1146175"/>
                    <a:gd name="connsiteY46" fmla="*/ 1411866 h 1631057"/>
                    <a:gd name="connsiteX47" fmla="*/ 622300 w 1146175"/>
                    <a:gd name="connsiteY47" fmla="*/ 1418216 h 1631057"/>
                    <a:gd name="connsiteX48" fmla="*/ 501650 w 1146175"/>
                    <a:gd name="connsiteY48" fmla="*/ 1453141 h 1631057"/>
                    <a:gd name="connsiteX49" fmla="*/ 492125 w 1146175"/>
                    <a:gd name="connsiteY49" fmla="*/ 1459491 h 1631057"/>
                    <a:gd name="connsiteX50" fmla="*/ 466725 w 1146175"/>
                    <a:gd name="connsiteY50" fmla="*/ 1491241 h 1631057"/>
                    <a:gd name="connsiteX51" fmla="*/ 457200 w 1146175"/>
                    <a:gd name="connsiteY51" fmla="*/ 1510291 h 1631057"/>
                    <a:gd name="connsiteX52" fmla="*/ 425450 w 1146175"/>
                    <a:gd name="connsiteY52" fmla="*/ 1602366 h 1631057"/>
                    <a:gd name="connsiteX53" fmla="*/ 381794 w 1146175"/>
                    <a:gd name="connsiteY53" fmla="*/ 1623797 h 1631057"/>
                    <a:gd name="connsiteX54" fmla="*/ 250825 w 1146175"/>
                    <a:gd name="connsiteY54" fmla="*/ 1625385 h 1631057"/>
                    <a:gd name="connsiteX55" fmla="*/ 206375 w 1146175"/>
                    <a:gd name="connsiteY55" fmla="*/ 1599191 h 1631057"/>
                    <a:gd name="connsiteX56" fmla="*/ 149225 w 1146175"/>
                    <a:gd name="connsiteY56" fmla="*/ 1484891 h 1631057"/>
                    <a:gd name="connsiteX57" fmla="*/ 142875 w 1146175"/>
                    <a:gd name="connsiteY57" fmla="*/ 1469016 h 1631057"/>
                    <a:gd name="connsiteX58" fmla="*/ 41275 w 1146175"/>
                    <a:gd name="connsiteY58" fmla="*/ 1430916 h 1631057"/>
                    <a:gd name="connsiteX59" fmla="*/ 0 w 1146175"/>
                    <a:gd name="connsiteY59" fmla="*/ 1402341 h 1631057"/>
                    <a:gd name="connsiteX0" fmla="*/ 9525 w 1146175"/>
                    <a:gd name="connsiteY0" fmla="*/ 227591 h 1631057"/>
                    <a:gd name="connsiteX1" fmla="*/ 50800 w 1146175"/>
                    <a:gd name="connsiteY1" fmla="*/ 205366 h 1631057"/>
                    <a:gd name="connsiteX2" fmla="*/ 127000 w 1146175"/>
                    <a:gd name="connsiteY2" fmla="*/ 170441 h 1631057"/>
                    <a:gd name="connsiteX3" fmla="*/ 155575 w 1146175"/>
                    <a:gd name="connsiteY3" fmla="*/ 160916 h 1631057"/>
                    <a:gd name="connsiteX4" fmla="*/ 168275 w 1146175"/>
                    <a:gd name="connsiteY4" fmla="*/ 148216 h 1631057"/>
                    <a:gd name="connsiteX5" fmla="*/ 209550 w 1146175"/>
                    <a:gd name="connsiteY5" fmla="*/ 65666 h 1631057"/>
                    <a:gd name="connsiteX6" fmla="*/ 238125 w 1146175"/>
                    <a:gd name="connsiteY6" fmla="*/ 14866 h 1631057"/>
                    <a:gd name="connsiteX7" fmla="*/ 269875 w 1146175"/>
                    <a:gd name="connsiteY7" fmla="*/ 5341 h 1631057"/>
                    <a:gd name="connsiteX8" fmla="*/ 428625 w 1146175"/>
                    <a:gd name="connsiteY8" fmla="*/ 11691 h 1631057"/>
                    <a:gd name="connsiteX9" fmla="*/ 492125 w 1146175"/>
                    <a:gd name="connsiteY9" fmla="*/ 145041 h 1631057"/>
                    <a:gd name="connsiteX10" fmla="*/ 508000 w 1146175"/>
                    <a:gd name="connsiteY10" fmla="*/ 170441 h 1631057"/>
                    <a:gd name="connsiteX11" fmla="*/ 558800 w 1146175"/>
                    <a:gd name="connsiteY11" fmla="*/ 189491 h 1631057"/>
                    <a:gd name="connsiteX12" fmla="*/ 635000 w 1146175"/>
                    <a:gd name="connsiteY12" fmla="*/ 221241 h 1631057"/>
                    <a:gd name="connsiteX13" fmla="*/ 717550 w 1146175"/>
                    <a:gd name="connsiteY13" fmla="*/ 218066 h 1631057"/>
                    <a:gd name="connsiteX14" fmla="*/ 838200 w 1146175"/>
                    <a:gd name="connsiteY14" fmla="*/ 186316 h 1631057"/>
                    <a:gd name="connsiteX15" fmla="*/ 879475 w 1146175"/>
                    <a:gd name="connsiteY15" fmla="*/ 205366 h 1631057"/>
                    <a:gd name="connsiteX16" fmla="*/ 974725 w 1146175"/>
                    <a:gd name="connsiteY16" fmla="*/ 303791 h 1631057"/>
                    <a:gd name="connsiteX17" fmla="*/ 968375 w 1146175"/>
                    <a:gd name="connsiteY17" fmla="*/ 338716 h 1631057"/>
                    <a:gd name="connsiteX18" fmla="*/ 936625 w 1146175"/>
                    <a:gd name="connsiteY18" fmla="*/ 402216 h 1631057"/>
                    <a:gd name="connsiteX19" fmla="*/ 917575 w 1146175"/>
                    <a:gd name="connsiteY19" fmla="*/ 459366 h 1631057"/>
                    <a:gd name="connsiteX20" fmla="*/ 917575 w 1146175"/>
                    <a:gd name="connsiteY20" fmla="*/ 506991 h 1631057"/>
                    <a:gd name="connsiteX21" fmla="*/ 923925 w 1146175"/>
                    <a:gd name="connsiteY21" fmla="*/ 519691 h 1631057"/>
                    <a:gd name="connsiteX22" fmla="*/ 955675 w 1146175"/>
                    <a:gd name="connsiteY22" fmla="*/ 573666 h 1631057"/>
                    <a:gd name="connsiteX23" fmla="*/ 974725 w 1146175"/>
                    <a:gd name="connsiteY23" fmla="*/ 627641 h 1631057"/>
                    <a:gd name="connsiteX24" fmla="*/ 981075 w 1146175"/>
                    <a:gd name="connsiteY24" fmla="*/ 646691 h 1631057"/>
                    <a:gd name="connsiteX25" fmla="*/ 1041400 w 1146175"/>
                    <a:gd name="connsiteY25" fmla="*/ 665741 h 1631057"/>
                    <a:gd name="connsiteX26" fmla="*/ 1117600 w 1146175"/>
                    <a:gd name="connsiteY26" fmla="*/ 707016 h 1631057"/>
                    <a:gd name="connsiteX27" fmla="*/ 1136650 w 1146175"/>
                    <a:gd name="connsiteY27" fmla="*/ 713366 h 1631057"/>
                    <a:gd name="connsiteX28" fmla="*/ 1146175 w 1146175"/>
                    <a:gd name="connsiteY28" fmla="*/ 903866 h 1631057"/>
                    <a:gd name="connsiteX29" fmla="*/ 1127125 w 1146175"/>
                    <a:gd name="connsiteY29" fmla="*/ 913391 h 1631057"/>
                    <a:gd name="connsiteX30" fmla="*/ 996950 w 1146175"/>
                    <a:gd name="connsiteY30" fmla="*/ 983241 h 1631057"/>
                    <a:gd name="connsiteX31" fmla="*/ 977900 w 1146175"/>
                    <a:gd name="connsiteY31" fmla="*/ 989591 h 1631057"/>
                    <a:gd name="connsiteX32" fmla="*/ 968375 w 1146175"/>
                    <a:gd name="connsiteY32" fmla="*/ 1014991 h 1631057"/>
                    <a:gd name="connsiteX33" fmla="*/ 955675 w 1146175"/>
                    <a:gd name="connsiteY33" fmla="*/ 1065791 h 1631057"/>
                    <a:gd name="connsiteX34" fmla="*/ 923925 w 1146175"/>
                    <a:gd name="connsiteY34" fmla="*/ 1135641 h 1631057"/>
                    <a:gd name="connsiteX35" fmla="*/ 917575 w 1146175"/>
                    <a:gd name="connsiteY35" fmla="*/ 1145166 h 1631057"/>
                    <a:gd name="connsiteX36" fmla="*/ 946150 w 1146175"/>
                    <a:gd name="connsiteY36" fmla="*/ 1234066 h 1631057"/>
                    <a:gd name="connsiteX37" fmla="*/ 974725 w 1146175"/>
                    <a:gd name="connsiteY37" fmla="*/ 1291216 h 1631057"/>
                    <a:gd name="connsiteX38" fmla="*/ 974725 w 1146175"/>
                    <a:gd name="connsiteY38" fmla="*/ 1348366 h 1631057"/>
                    <a:gd name="connsiteX39" fmla="*/ 949325 w 1146175"/>
                    <a:gd name="connsiteY39" fmla="*/ 1380116 h 1631057"/>
                    <a:gd name="connsiteX40" fmla="*/ 895350 w 1146175"/>
                    <a:gd name="connsiteY40" fmla="*/ 1427741 h 1631057"/>
                    <a:gd name="connsiteX41" fmla="*/ 844550 w 1146175"/>
                    <a:gd name="connsiteY41" fmla="*/ 1462666 h 1631057"/>
                    <a:gd name="connsiteX42" fmla="*/ 835025 w 1146175"/>
                    <a:gd name="connsiteY42" fmla="*/ 1465841 h 1631057"/>
                    <a:gd name="connsiteX43" fmla="*/ 815975 w 1146175"/>
                    <a:gd name="connsiteY43" fmla="*/ 1459491 h 1631057"/>
                    <a:gd name="connsiteX44" fmla="*/ 717550 w 1146175"/>
                    <a:gd name="connsiteY44" fmla="*/ 1424566 h 1631057"/>
                    <a:gd name="connsiteX45" fmla="*/ 657225 w 1146175"/>
                    <a:gd name="connsiteY45" fmla="*/ 1408691 h 1631057"/>
                    <a:gd name="connsiteX46" fmla="*/ 635000 w 1146175"/>
                    <a:gd name="connsiteY46" fmla="*/ 1411866 h 1631057"/>
                    <a:gd name="connsiteX47" fmla="*/ 622300 w 1146175"/>
                    <a:gd name="connsiteY47" fmla="*/ 1418216 h 1631057"/>
                    <a:gd name="connsiteX48" fmla="*/ 501650 w 1146175"/>
                    <a:gd name="connsiteY48" fmla="*/ 1453141 h 1631057"/>
                    <a:gd name="connsiteX49" fmla="*/ 466725 w 1146175"/>
                    <a:gd name="connsiteY49" fmla="*/ 1491241 h 1631057"/>
                    <a:gd name="connsiteX50" fmla="*/ 457200 w 1146175"/>
                    <a:gd name="connsiteY50" fmla="*/ 1510291 h 1631057"/>
                    <a:gd name="connsiteX51" fmla="*/ 425450 w 1146175"/>
                    <a:gd name="connsiteY51" fmla="*/ 1602366 h 1631057"/>
                    <a:gd name="connsiteX52" fmla="*/ 381794 w 1146175"/>
                    <a:gd name="connsiteY52" fmla="*/ 1623797 h 1631057"/>
                    <a:gd name="connsiteX53" fmla="*/ 250825 w 1146175"/>
                    <a:gd name="connsiteY53" fmla="*/ 1625385 h 1631057"/>
                    <a:gd name="connsiteX54" fmla="*/ 206375 w 1146175"/>
                    <a:gd name="connsiteY54" fmla="*/ 1599191 h 1631057"/>
                    <a:gd name="connsiteX55" fmla="*/ 149225 w 1146175"/>
                    <a:gd name="connsiteY55" fmla="*/ 1484891 h 1631057"/>
                    <a:gd name="connsiteX56" fmla="*/ 142875 w 1146175"/>
                    <a:gd name="connsiteY56" fmla="*/ 1469016 h 1631057"/>
                    <a:gd name="connsiteX57" fmla="*/ 41275 w 1146175"/>
                    <a:gd name="connsiteY57" fmla="*/ 1430916 h 1631057"/>
                    <a:gd name="connsiteX58" fmla="*/ 0 w 1146175"/>
                    <a:gd name="connsiteY58" fmla="*/ 1402341 h 1631057"/>
                    <a:gd name="connsiteX0" fmla="*/ 9525 w 1146175"/>
                    <a:gd name="connsiteY0" fmla="*/ 227591 h 1631057"/>
                    <a:gd name="connsiteX1" fmla="*/ 50800 w 1146175"/>
                    <a:gd name="connsiteY1" fmla="*/ 205366 h 1631057"/>
                    <a:gd name="connsiteX2" fmla="*/ 127000 w 1146175"/>
                    <a:gd name="connsiteY2" fmla="*/ 170441 h 1631057"/>
                    <a:gd name="connsiteX3" fmla="*/ 155575 w 1146175"/>
                    <a:gd name="connsiteY3" fmla="*/ 160916 h 1631057"/>
                    <a:gd name="connsiteX4" fmla="*/ 168275 w 1146175"/>
                    <a:gd name="connsiteY4" fmla="*/ 148216 h 1631057"/>
                    <a:gd name="connsiteX5" fmla="*/ 209550 w 1146175"/>
                    <a:gd name="connsiteY5" fmla="*/ 65666 h 1631057"/>
                    <a:gd name="connsiteX6" fmla="*/ 238125 w 1146175"/>
                    <a:gd name="connsiteY6" fmla="*/ 14866 h 1631057"/>
                    <a:gd name="connsiteX7" fmla="*/ 269875 w 1146175"/>
                    <a:gd name="connsiteY7" fmla="*/ 5341 h 1631057"/>
                    <a:gd name="connsiteX8" fmla="*/ 428625 w 1146175"/>
                    <a:gd name="connsiteY8" fmla="*/ 11691 h 1631057"/>
                    <a:gd name="connsiteX9" fmla="*/ 492125 w 1146175"/>
                    <a:gd name="connsiteY9" fmla="*/ 145041 h 1631057"/>
                    <a:gd name="connsiteX10" fmla="*/ 508000 w 1146175"/>
                    <a:gd name="connsiteY10" fmla="*/ 170441 h 1631057"/>
                    <a:gd name="connsiteX11" fmla="*/ 558800 w 1146175"/>
                    <a:gd name="connsiteY11" fmla="*/ 189491 h 1631057"/>
                    <a:gd name="connsiteX12" fmla="*/ 635000 w 1146175"/>
                    <a:gd name="connsiteY12" fmla="*/ 221241 h 1631057"/>
                    <a:gd name="connsiteX13" fmla="*/ 717550 w 1146175"/>
                    <a:gd name="connsiteY13" fmla="*/ 218066 h 1631057"/>
                    <a:gd name="connsiteX14" fmla="*/ 838200 w 1146175"/>
                    <a:gd name="connsiteY14" fmla="*/ 186316 h 1631057"/>
                    <a:gd name="connsiteX15" fmla="*/ 879475 w 1146175"/>
                    <a:gd name="connsiteY15" fmla="*/ 205366 h 1631057"/>
                    <a:gd name="connsiteX16" fmla="*/ 974725 w 1146175"/>
                    <a:gd name="connsiteY16" fmla="*/ 303791 h 1631057"/>
                    <a:gd name="connsiteX17" fmla="*/ 968375 w 1146175"/>
                    <a:gd name="connsiteY17" fmla="*/ 338716 h 1631057"/>
                    <a:gd name="connsiteX18" fmla="*/ 936625 w 1146175"/>
                    <a:gd name="connsiteY18" fmla="*/ 402216 h 1631057"/>
                    <a:gd name="connsiteX19" fmla="*/ 917575 w 1146175"/>
                    <a:gd name="connsiteY19" fmla="*/ 459366 h 1631057"/>
                    <a:gd name="connsiteX20" fmla="*/ 917575 w 1146175"/>
                    <a:gd name="connsiteY20" fmla="*/ 506991 h 1631057"/>
                    <a:gd name="connsiteX21" fmla="*/ 923925 w 1146175"/>
                    <a:gd name="connsiteY21" fmla="*/ 519691 h 1631057"/>
                    <a:gd name="connsiteX22" fmla="*/ 955675 w 1146175"/>
                    <a:gd name="connsiteY22" fmla="*/ 573666 h 1631057"/>
                    <a:gd name="connsiteX23" fmla="*/ 974725 w 1146175"/>
                    <a:gd name="connsiteY23" fmla="*/ 627641 h 1631057"/>
                    <a:gd name="connsiteX24" fmla="*/ 981075 w 1146175"/>
                    <a:gd name="connsiteY24" fmla="*/ 646691 h 1631057"/>
                    <a:gd name="connsiteX25" fmla="*/ 1041400 w 1146175"/>
                    <a:gd name="connsiteY25" fmla="*/ 665741 h 1631057"/>
                    <a:gd name="connsiteX26" fmla="*/ 1117600 w 1146175"/>
                    <a:gd name="connsiteY26" fmla="*/ 707016 h 1631057"/>
                    <a:gd name="connsiteX27" fmla="*/ 1136650 w 1146175"/>
                    <a:gd name="connsiteY27" fmla="*/ 713366 h 1631057"/>
                    <a:gd name="connsiteX28" fmla="*/ 1146175 w 1146175"/>
                    <a:gd name="connsiteY28" fmla="*/ 903866 h 1631057"/>
                    <a:gd name="connsiteX29" fmla="*/ 1127125 w 1146175"/>
                    <a:gd name="connsiteY29" fmla="*/ 913391 h 1631057"/>
                    <a:gd name="connsiteX30" fmla="*/ 996950 w 1146175"/>
                    <a:gd name="connsiteY30" fmla="*/ 983241 h 1631057"/>
                    <a:gd name="connsiteX31" fmla="*/ 977900 w 1146175"/>
                    <a:gd name="connsiteY31" fmla="*/ 989591 h 1631057"/>
                    <a:gd name="connsiteX32" fmla="*/ 968375 w 1146175"/>
                    <a:gd name="connsiteY32" fmla="*/ 1014991 h 1631057"/>
                    <a:gd name="connsiteX33" fmla="*/ 955675 w 1146175"/>
                    <a:gd name="connsiteY33" fmla="*/ 1065791 h 1631057"/>
                    <a:gd name="connsiteX34" fmla="*/ 923925 w 1146175"/>
                    <a:gd name="connsiteY34" fmla="*/ 1135641 h 1631057"/>
                    <a:gd name="connsiteX35" fmla="*/ 917575 w 1146175"/>
                    <a:gd name="connsiteY35" fmla="*/ 1145166 h 1631057"/>
                    <a:gd name="connsiteX36" fmla="*/ 946150 w 1146175"/>
                    <a:gd name="connsiteY36" fmla="*/ 1234066 h 1631057"/>
                    <a:gd name="connsiteX37" fmla="*/ 974725 w 1146175"/>
                    <a:gd name="connsiteY37" fmla="*/ 1291216 h 1631057"/>
                    <a:gd name="connsiteX38" fmla="*/ 974725 w 1146175"/>
                    <a:gd name="connsiteY38" fmla="*/ 1348366 h 1631057"/>
                    <a:gd name="connsiteX39" fmla="*/ 949325 w 1146175"/>
                    <a:gd name="connsiteY39" fmla="*/ 1380116 h 1631057"/>
                    <a:gd name="connsiteX40" fmla="*/ 895350 w 1146175"/>
                    <a:gd name="connsiteY40" fmla="*/ 1427741 h 1631057"/>
                    <a:gd name="connsiteX41" fmla="*/ 844550 w 1146175"/>
                    <a:gd name="connsiteY41" fmla="*/ 1462666 h 1631057"/>
                    <a:gd name="connsiteX42" fmla="*/ 835025 w 1146175"/>
                    <a:gd name="connsiteY42" fmla="*/ 1465841 h 1631057"/>
                    <a:gd name="connsiteX43" fmla="*/ 815975 w 1146175"/>
                    <a:gd name="connsiteY43" fmla="*/ 1459491 h 1631057"/>
                    <a:gd name="connsiteX44" fmla="*/ 717550 w 1146175"/>
                    <a:gd name="connsiteY44" fmla="*/ 1424566 h 1631057"/>
                    <a:gd name="connsiteX45" fmla="*/ 657225 w 1146175"/>
                    <a:gd name="connsiteY45" fmla="*/ 1408691 h 1631057"/>
                    <a:gd name="connsiteX46" fmla="*/ 635000 w 1146175"/>
                    <a:gd name="connsiteY46" fmla="*/ 1411866 h 1631057"/>
                    <a:gd name="connsiteX47" fmla="*/ 622300 w 1146175"/>
                    <a:gd name="connsiteY47" fmla="*/ 1418216 h 1631057"/>
                    <a:gd name="connsiteX48" fmla="*/ 501650 w 1146175"/>
                    <a:gd name="connsiteY48" fmla="*/ 1453141 h 1631057"/>
                    <a:gd name="connsiteX49" fmla="*/ 457200 w 1146175"/>
                    <a:gd name="connsiteY49" fmla="*/ 1510291 h 1631057"/>
                    <a:gd name="connsiteX50" fmla="*/ 425450 w 1146175"/>
                    <a:gd name="connsiteY50" fmla="*/ 1602366 h 1631057"/>
                    <a:gd name="connsiteX51" fmla="*/ 381794 w 1146175"/>
                    <a:gd name="connsiteY51" fmla="*/ 1623797 h 1631057"/>
                    <a:gd name="connsiteX52" fmla="*/ 250825 w 1146175"/>
                    <a:gd name="connsiteY52" fmla="*/ 1625385 h 1631057"/>
                    <a:gd name="connsiteX53" fmla="*/ 206375 w 1146175"/>
                    <a:gd name="connsiteY53" fmla="*/ 1599191 h 1631057"/>
                    <a:gd name="connsiteX54" fmla="*/ 149225 w 1146175"/>
                    <a:gd name="connsiteY54" fmla="*/ 1484891 h 1631057"/>
                    <a:gd name="connsiteX55" fmla="*/ 142875 w 1146175"/>
                    <a:gd name="connsiteY55" fmla="*/ 1469016 h 1631057"/>
                    <a:gd name="connsiteX56" fmla="*/ 41275 w 1146175"/>
                    <a:gd name="connsiteY56" fmla="*/ 1430916 h 1631057"/>
                    <a:gd name="connsiteX57" fmla="*/ 0 w 1146175"/>
                    <a:gd name="connsiteY57" fmla="*/ 1402341 h 1631057"/>
                    <a:gd name="connsiteX0" fmla="*/ 9525 w 1146175"/>
                    <a:gd name="connsiteY0" fmla="*/ 227591 h 1631057"/>
                    <a:gd name="connsiteX1" fmla="*/ 50800 w 1146175"/>
                    <a:gd name="connsiteY1" fmla="*/ 205366 h 1631057"/>
                    <a:gd name="connsiteX2" fmla="*/ 127000 w 1146175"/>
                    <a:gd name="connsiteY2" fmla="*/ 170441 h 1631057"/>
                    <a:gd name="connsiteX3" fmla="*/ 155575 w 1146175"/>
                    <a:gd name="connsiteY3" fmla="*/ 160916 h 1631057"/>
                    <a:gd name="connsiteX4" fmla="*/ 168275 w 1146175"/>
                    <a:gd name="connsiteY4" fmla="*/ 148216 h 1631057"/>
                    <a:gd name="connsiteX5" fmla="*/ 209550 w 1146175"/>
                    <a:gd name="connsiteY5" fmla="*/ 65666 h 1631057"/>
                    <a:gd name="connsiteX6" fmla="*/ 238125 w 1146175"/>
                    <a:gd name="connsiteY6" fmla="*/ 14866 h 1631057"/>
                    <a:gd name="connsiteX7" fmla="*/ 269875 w 1146175"/>
                    <a:gd name="connsiteY7" fmla="*/ 5341 h 1631057"/>
                    <a:gd name="connsiteX8" fmla="*/ 428625 w 1146175"/>
                    <a:gd name="connsiteY8" fmla="*/ 11691 h 1631057"/>
                    <a:gd name="connsiteX9" fmla="*/ 492125 w 1146175"/>
                    <a:gd name="connsiteY9" fmla="*/ 145041 h 1631057"/>
                    <a:gd name="connsiteX10" fmla="*/ 508000 w 1146175"/>
                    <a:gd name="connsiteY10" fmla="*/ 170441 h 1631057"/>
                    <a:gd name="connsiteX11" fmla="*/ 558800 w 1146175"/>
                    <a:gd name="connsiteY11" fmla="*/ 189491 h 1631057"/>
                    <a:gd name="connsiteX12" fmla="*/ 635000 w 1146175"/>
                    <a:gd name="connsiteY12" fmla="*/ 221241 h 1631057"/>
                    <a:gd name="connsiteX13" fmla="*/ 717550 w 1146175"/>
                    <a:gd name="connsiteY13" fmla="*/ 218066 h 1631057"/>
                    <a:gd name="connsiteX14" fmla="*/ 838200 w 1146175"/>
                    <a:gd name="connsiteY14" fmla="*/ 186316 h 1631057"/>
                    <a:gd name="connsiteX15" fmla="*/ 879475 w 1146175"/>
                    <a:gd name="connsiteY15" fmla="*/ 205366 h 1631057"/>
                    <a:gd name="connsiteX16" fmla="*/ 974725 w 1146175"/>
                    <a:gd name="connsiteY16" fmla="*/ 303791 h 1631057"/>
                    <a:gd name="connsiteX17" fmla="*/ 968375 w 1146175"/>
                    <a:gd name="connsiteY17" fmla="*/ 338716 h 1631057"/>
                    <a:gd name="connsiteX18" fmla="*/ 936625 w 1146175"/>
                    <a:gd name="connsiteY18" fmla="*/ 402216 h 1631057"/>
                    <a:gd name="connsiteX19" fmla="*/ 917575 w 1146175"/>
                    <a:gd name="connsiteY19" fmla="*/ 459366 h 1631057"/>
                    <a:gd name="connsiteX20" fmla="*/ 917575 w 1146175"/>
                    <a:gd name="connsiteY20" fmla="*/ 506991 h 1631057"/>
                    <a:gd name="connsiteX21" fmla="*/ 923925 w 1146175"/>
                    <a:gd name="connsiteY21" fmla="*/ 519691 h 1631057"/>
                    <a:gd name="connsiteX22" fmla="*/ 955675 w 1146175"/>
                    <a:gd name="connsiteY22" fmla="*/ 573666 h 1631057"/>
                    <a:gd name="connsiteX23" fmla="*/ 974725 w 1146175"/>
                    <a:gd name="connsiteY23" fmla="*/ 627641 h 1631057"/>
                    <a:gd name="connsiteX24" fmla="*/ 981075 w 1146175"/>
                    <a:gd name="connsiteY24" fmla="*/ 646691 h 1631057"/>
                    <a:gd name="connsiteX25" fmla="*/ 1041400 w 1146175"/>
                    <a:gd name="connsiteY25" fmla="*/ 665741 h 1631057"/>
                    <a:gd name="connsiteX26" fmla="*/ 1117600 w 1146175"/>
                    <a:gd name="connsiteY26" fmla="*/ 707016 h 1631057"/>
                    <a:gd name="connsiteX27" fmla="*/ 1136650 w 1146175"/>
                    <a:gd name="connsiteY27" fmla="*/ 713366 h 1631057"/>
                    <a:gd name="connsiteX28" fmla="*/ 1146175 w 1146175"/>
                    <a:gd name="connsiteY28" fmla="*/ 903866 h 1631057"/>
                    <a:gd name="connsiteX29" fmla="*/ 1127125 w 1146175"/>
                    <a:gd name="connsiteY29" fmla="*/ 913391 h 1631057"/>
                    <a:gd name="connsiteX30" fmla="*/ 996950 w 1146175"/>
                    <a:gd name="connsiteY30" fmla="*/ 983241 h 1631057"/>
                    <a:gd name="connsiteX31" fmla="*/ 977900 w 1146175"/>
                    <a:gd name="connsiteY31" fmla="*/ 989591 h 1631057"/>
                    <a:gd name="connsiteX32" fmla="*/ 968375 w 1146175"/>
                    <a:gd name="connsiteY32" fmla="*/ 1014991 h 1631057"/>
                    <a:gd name="connsiteX33" fmla="*/ 955675 w 1146175"/>
                    <a:gd name="connsiteY33" fmla="*/ 1065791 h 1631057"/>
                    <a:gd name="connsiteX34" fmla="*/ 923925 w 1146175"/>
                    <a:gd name="connsiteY34" fmla="*/ 1135641 h 1631057"/>
                    <a:gd name="connsiteX35" fmla="*/ 917575 w 1146175"/>
                    <a:gd name="connsiteY35" fmla="*/ 1145166 h 1631057"/>
                    <a:gd name="connsiteX36" fmla="*/ 946150 w 1146175"/>
                    <a:gd name="connsiteY36" fmla="*/ 1234066 h 1631057"/>
                    <a:gd name="connsiteX37" fmla="*/ 974725 w 1146175"/>
                    <a:gd name="connsiteY37" fmla="*/ 1291216 h 1631057"/>
                    <a:gd name="connsiteX38" fmla="*/ 974725 w 1146175"/>
                    <a:gd name="connsiteY38" fmla="*/ 1348366 h 1631057"/>
                    <a:gd name="connsiteX39" fmla="*/ 949325 w 1146175"/>
                    <a:gd name="connsiteY39" fmla="*/ 1380116 h 1631057"/>
                    <a:gd name="connsiteX40" fmla="*/ 895350 w 1146175"/>
                    <a:gd name="connsiteY40" fmla="*/ 1427741 h 1631057"/>
                    <a:gd name="connsiteX41" fmla="*/ 844550 w 1146175"/>
                    <a:gd name="connsiteY41" fmla="*/ 1462666 h 1631057"/>
                    <a:gd name="connsiteX42" fmla="*/ 835025 w 1146175"/>
                    <a:gd name="connsiteY42" fmla="*/ 1465841 h 1631057"/>
                    <a:gd name="connsiteX43" fmla="*/ 815975 w 1146175"/>
                    <a:gd name="connsiteY43" fmla="*/ 1459491 h 1631057"/>
                    <a:gd name="connsiteX44" fmla="*/ 717550 w 1146175"/>
                    <a:gd name="connsiteY44" fmla="*/ 1424566 h 1631057"/>
                    <a:gd name="connsiteX45" fmla="*/ 657225 w 1146175"/>
                    <a:gd name="connsiteY45" fmla="*/ 1408691 h 1631057"/>
                    <a:gd name="connsiteX46" fmla="*/ 635000 w 1146175"/>
                    <a:gd name="connsiteY46" fmla="*/ 1411866 h 1631057"/>
                    <a:gd name="connsiteX47" fmla="*/ 622300 w 1146175"/>
                    <a:gd name="connsiteY47" fmla="*/ 1418216 h 1631057"/>
                    <a:gd name="connsiteX48" fmla="*/ 501650 w 1146175"/>
                    <a:gd name="connsiteY48" fmla="*/ 1453141 h 1631057"/>
                    <a:gd name="connsiteX49" fmla="*/ 464344 w 1146175"/>
                    <a:gd name="connsiteY49" fmla="*/ 1522198 h 1631057"/>
                    <a:gd name="connsiteX50" fmla="*/ 425450 w 1146175"/>
                    <a:gd name="connsiteY50" fmla="*/ 1602366 h 1631057"/>
                    <a:gd name="connsiteX51" fmla="*/ 381794 w 1146175"/>
                    <a:gd name="connsiteY51" fmla="*/ 1623797 h 1631057"/>
                    <a:gd name="connsiteX52" fmla="*/ 250825 w 1146175"/>
                    <a:gd name="connsiteY52" fmla="*/ 1625385 h 1631057"/>
                    <a:gd name="connsiteX53" fmla="*/ 206375 w 1146175"/>
                    <a:gd name="connsiteY53" fmla="*/ 1599191 h 1631057"/>
                    <a:gd name="connsiteX54" fmla="*/ 149225 w 1146175"/>
                    <a:gd name="connsiteY54" fmla="*/ 1484891 h 1631057"/>
                    <a:gd name="connsiteX55" fmla="*/ 142875 w 1146175"/>
                    <a:gd name="connsiteY55" fmla="*/ 1469016 h 1631057"/>
                    <a:gd name="connsiteX56" fmla="*/ 41275 w 1146175"/>
                    <a:gd name="connsiteY56" fmla="*/ 1430916 h 1631057"/>
                    <a:gd name="connsiteX57" fmla="*/ 0 w 1146175"/>
                    <a:gd name="connsiteY57" fmla="*/ 1402341 h 1631057"/>
                    <a:gd name="connsiteX0" fmla="*/ 9525 w 1146175"/>
                    <a:gd name="connsiteY0" fmla="*/ 227591 h 1631057"/>
                    <a:gd name="connsiteX1" fmla="*/ 50800 w 1146175"/>
                    <a:gd name="connsiteY1" fmla="*/ 205366 h 1631057"/>
                    <a:gd name="connsiteX2" fmla="*/ 127000 w 1146175"/>
                    <a:gd name="connsiteY2" fmla="*/ 170441 h 1631057"/>
                    <a:gd name="connsiteX3" fmla="*/ 155575 w 1146175"/>
                    <a:gd name="connsiteY3" fmla="*/ 160916 h 1631057"/>
                    <a:gd name="connsiteX4" fmla="*/ 168275 w 1146175"/>
                    <a:gd name="connsiteY4" fmla="*/ 148216 h 1631057"/>
                    <a:gd name="connsiteX5" fmla="*/ 209550 w 1146175"/>
                    <a:gd name="connsiteY5" fmla="*/ 65666 h 1631057"/>
                    <a:gd name="connsiteX6" fmla="*/ 238125 w 1146175"/>
                    <a:gd name="connsiteY6" fmla="*/ 14866 h 1631057"/>
                    <a:gd name="connsiteX7" fmla="*/ 269875 w 1146175"/>
                    <a:gd name="connsiteY7" fmla="*/ 5341 h 1631057"/>
                    <a:gd name="connsiteX8" fmla="*/ 428625 w 1146175"/>
                    <a:gd name="connsiteY8" fmla="*/ 11691 h 1631057"/>
                    <a:gd name="connsiteX9" fmla="*/ 492125 w 1146175"/>
                    <a:gd name="connsiteY9" fmla="*/ 145041 h 1631057"/>
                    <a:gd name="connsiteX10" fmla="*/ 508000 w 1146175"/>
                    <a:gd name="connsiteY10" fmla="*/ 170441 h 1631057"/>
                    <a:gd name="connsiteX11" fmla="*/ 558800 w 1146175"/>
                    <a:gd name="connsiteY11" fmla="*/ 189491 h 1631057"/>
                    <a:gd name="connsiteX12" fmla="*/ 635000 w 1146175"/>
                    <a:gd name="connsiteY12" fmla="*/ 221241 h 1631057"/>
                    <a:gd name="connsiteX13" fmla="*/ 717550 w 1146175"/>
                    <a:gd name="connsiteY13" fmla="*/ 218066 h 1631057"/>
                    <a:gd name="connsiteX14" fmla="*/ 838200 w 1146175"/>
                    <a:gd name="connsiteY14" fmla="*/ 186316 h 1631057"/>
                    <a:gd name="connsiteX15" fmla="*/ 879475 w 1146175"/>
                    <a:gd name="connsiteY15" fmla="*/ 205366 h 1631057"/>
                    <a:gd name="connsiteX16" fmla="*/ 974725 w 1146175"/>
                    <a:gd name="connsiteY16" fmla="*/ 303791 h 1631057"/>
                    <a:gd name="connsiteX17" fmla="*/ 968375 w 1146175"/>
                    <a:gd name="connsiteY17" fmla="*/ 338716 h 1631057"/>
                    <a:gd name="connsiteX18" fmla="*/ 936625 w 1146175"/>
                    <a:gd name="connsiteY18" fmla="*/ 402216 h 1631057"/>
                    <a:gd name="connsiteX19" fmla="*/ 917575 w 1146175"/>
                    <a:gd name="connsiteY19" fmla="*/ 459366 h 1631057"/>
                    <a:gd name="connsiteX20" fmla="*/ 917575 w 1146175"/>
                    <a:gd name="connsiteY20" fmla="*/ 506991 h 1631057"/>
                    <a:gd name="connsiteX21" fmla="*/ 923925 w 1146175"/>
                    <a:gd name="connsiteY21" fmla="*/ 519691 h 1631057"/>
                    <a:gd name="connsiteX22" fmla="*/ 955675 w 1146175"/>
                    <a:gd name="connsiteY22" fmla="*/ 573666 h 1631057"/>
                    <a:gd name="connsiteX23" fmla="*/ 974725 w 1146175"/>
                    <a:gd name="connsiteY23" fmla="*/ 627641 h 1631057"/>
                    <a:gd name="connsiteX24" fmla="*/ 981075 w 1146175"/>
                    <a:gd name="connsiteY24" fmla="*/ 646691 h 1631057"/>
                    <a:gd name="connsiteX25" fmla="*/ 1041400 w 1146175"/>
                    <a:gd name="connsiteY25" fmla="*/ 665741 h 1631057"/>
                    <a:gd name="connsiteX26" fmla="*/ 1117600 w 1146175"/>
                    <a:gd name="connsiteY26" fmla="*/ 707016 h 1631057"/>
                    <a:gd name="connsiteX27" fmla="*/ 1136650 w 1146175"/>
                    <a:gd name="connsiteY27" fmla="*/ 713366 h 1631057"/>
                    <a:gd name="connsiteX28" fmla="*/ 1146175 w 1146175"/>
                    <a:gd name="connsiteY28" fmla="*/ 903866 h 1631057"/>
                    <a:gd name="connsiteX29" fmla="*/ 1127125 w 1146175"/>
                    <a:gd name="connsiteY29" fmla="*/ 913391 h 1631057"/>
                    <a:gd name="connsiteX30" fmla="*/ 996950 w 1146175"/>
                    <a:gd name="connsiteY30" fmla="*/ 983241 h 1631057"/>
                    <a:gd name="connsiteX31" fmla="*/ 977900 w 1146175"/>
                    <a:gd name="connsiteY31" fmla="*/ 989591 h 1631057"/>
                    <a:gd name="connsiteX32" fmla="*/ 968375 w 1146175"/>
                    <a:gd name="connsiteY32" fmla="*/ 1014991 h 1631057"/>
                    <a:gd name="connsiteX33" fmla="*/ 955675 w 1146175"/>
                    <a:gd name="connsiteY33" fmla="*/ 1065791 h 1631057"/>
                    <a:gd name="connsiteX34" fmla="*/ 923925 w 1146175"/>
                    <a:gd name="connsiteY34" fmla="*/ 1135641 h 1631057"/>
                    <a:gd name="connsiteX35" fmla="*/ 917575 w 1146175"/>
                    <a:gd name="connsiteY35" fmla="*/ 1145166 h 1631057"/>
                    <a:gd name="connsiteX36" fmla="*/ 946150 w 1146175"/>
                    <a:gd name="connsiteY36" fmla="*/ 1234066 h 1631057"/>
                    <a:gd name="connsiteX37" fmla="*/ 974725 w 1146175"/>
                    <a:gd name="connsiteY37" fmla="*/ 1291216 h 1631057"/>
                    <a:gd name="connsiteX38" fmla="*/ 974725 w 1146175"/>
                    <a:gd name="connsiteY38" fmla="*/ 1348366 h 1631057"/>
                    <a:gd name="connsiteX39" fmla="*/ 949325 w 1146175"/>
                    <a:gd name="connsiteY39" fmla="*/ 1380116 h 1631057"/>
                    <a:gd name="connsiteX40" fmla="*/ 895350 w 1146175"/>
                    <a:gd name="connsiteY40" fmla="*/ 1427741 h 1631057"/>
                    <a:gd name="connsiteX41" fmla="*/ 844550 w 1146175"/>
                    <a:gd name="connsiteY41" fmla="*/ 1462666 h 1631057"/>
                    <a:gd name="connsiteX42" fmla="*/ 835025 w 1146175"/>
                    <a:gd name="connsiteY42" fmla="*/ 1465841 h 1631057"/>
                    <a:gd name="connsiteX43" fmla="*/ 815975 w 1146175"/>
                    <a:gd name="connsiteY43" fmla="*/ 1459491 h 1631057"/>
                    <a:gd name="connsiteX44" fmla="*/ 717550 w 1146175"/>
                    <a:gd name="connsiteY44" fmla="*/ 1424566 h 1631057"/>
                    <a:gd name="connsiteX45" fmla="*/ 657225 w 1146175"/>
                    <a:gd name="connsiteY45" fmla="*/ 1408691 h 1631057"/>
                    <a:gd name="connsiteX46" fmla="*/ 635000 w 1146175"/>
                    <a:gd name="connsiteY46" fmla="*/ 1411866 h 1631057"/>
                    <a:gd name="connsiteX47" fmla="*/ 501650 w 1146175"/>
                    <a:gd name="connsiteY47" fmla="*/ 1453141 h 1631057"/>
                    <a:gd name="connsiteX48" fmla="*/ 464344 w 1146175"/>
                    <a:gd name="connsiteY48" fmla="*/ 1522198 h 1631057"/>
                    <a:gd name="connsiteX49" fmla="*/ 425450 w 1146175"/>
                    <a:gd name="connsiteY49" fmla="*/ 1602366 h 1631057"/>
                    <a:gd name="connsiteX50" fmla="*/ 381794 w 1146175"/>
                    <a:gd name="connsiteY50" fmla="*/ 1623797 h 1631057"/>
                    <a:gd name="connsiteX51" fmla="*/ 250825 w 1146175"/>
                    <a:gd name="connsiteY51" fmla="*/ 1625385 h 1631057"/>
                    <a:gd name="connsiteX52" fmla="*/ 206375 w 1146175"/>
                    <a:gd name="connsiteY52" fmla="*/ 1599191 h 1631057"/>
                    <a:gd name="connsiteX53" fmla="*/ 149225 w 1146175"/>
                    <a:gd name="connsiteY53" fmla="*/ 1484891 h 1631057"/>
                    <a:gd name="connsiteX54" fmla="*/ 142875 w 1146175"/>
                    <a:gd name="connsiteY54" fmla="*/ 1469016 h 1631057"/>
                    <a:gd name="connsiteX55" fmla="*/ 41275 w 1146175"/>
                    <a:gd name="connsiteY55" fmla="*/ 1430916 h 1631057"/>
                    <a:gd name="connsiteX56" fmla="*/ 0 w 1146175"/>
                    <a:gd name="connsiteY56" fmla="*/ 1402341 h 1631057"/>
                    <a:gd name="connsiteX0" fmla="*/ 9525 w 1146175"/>
                    <a:gd name="connsiteY0" fmla="*/ 227591 h 1631057"/>
                    <a:gd name="connsiteX1" fmla="*/ 50800 w 1146175"/>
                    <a:gd name="connsiteY1" fmla="*/ 205366 h 1631057"/>
                    <a:gd name="connsiteX2" fmla="*/ 127000 w 1146175"/>
                    <a:gd name="connsiteY2" fmla="*/ 170441 h 1631057"/>
                    <a:gd name="connsiteX3" fmla="*/ 155575 w 1146175"/>
                    <a:gd name="connsiteY3" fmla="*/ 160916 h 1631057"/>
                    <a:gd name="connsiteX4" fmla="*/ 168275 w 1146175"/>
                    <a:gd name="connsiteY4" fmla="*/ 148216 h 1631057"/>
                    <a:gd name="connsiteX5" fmla="*/ 209550 w 1146175"/>
                    <a:gd name="connsiteY5" fmla="*/ 65666 h 1631057"/>
                    <a:gd name="connsiteX6" fmla="*/ 238125 w 1146175"/>
                    <a:gd name="connsiteY6" fmla="*/ 14866 h 1631057"/>
                    <a:gd name="connsiteX7" fmla="*/ 269875 w 1146175"/>
                    <a:gd name="connsiteY7" fmla="*/ 5341 h 1631057"/>
                    <a:gd name="connsiteX8" fmla="*/ 428625 w 1146175"/>
                    <a:gd name="connsiteY8" fmla="*/ 11691 h 1631057"/>
                    <a:gd name="connsiteX9" fmla="*/ 492125 w 1146175"/>
                    <a:gd name="connsiteY9" fmla="*/ 145041 h 1631057"/>
                    <a:gd name="connsiteX10" fmla="*/ 508000 w 1146175"/>
                    <a:gd name="connsiteY10" fmla="*/ 170441 h 1631057"/>
                    <a:gd name="connsiteX11" fmla="*/ 558800 w 1146175"/>
                    <a:gd name="connsiteY11" fmla="*/ 189491 h 1631057"/>
                    <a:gd name="connsiteX12" fmla="*/ 635000 w 1146175"/>
                    <a:gd name="connsiteY12" fmla="*/ 221241 h 1631057"/>
                    <a:gd name="connsiteX13" fmla="*/ 717550 w 1146175"/>
                    <a:gd name="connsiteY13" fmla="*/ 218066 h 1631057"/>
                    <a:gd name="connsiteX14" fmla="*/ 838200 w 1146175"/>
                    <a:gd name="connsiteY14" fmla="*/ 186316 h 1631057"/>
                    <a:gd name="connsiteX15" fmla="*/ 879475 w 1146175"/>
                    <a:gd name="connsiteY15" fmla="*/ 205366 h 1631057"/>
                    <a:gd name="connsiteX16" fmla="*/ 974725 w 1146175"/>
                    <a:gd name="connsiteY16" fmla="*/ 303791 h 1631057"/>
                    <a:gd name="connsiteX17" fmla="*/ 968375 w 1146175"/>
                    <a:gd name="connsiteY17" fmla="*/ 338716 h 1631057"/>
                    <a:gd name="connsiteX18" fmla="*/ 936625 w 1146175"/>
                    <a:gd name="connsiteY18" fmla="*/ 402216 h 1631057"/>
                    <a:gd name="connsiteX19" fmla="*/ 917575 w 1146175"/>
                    <a:gd name="connsiteY19" fmla="*/ 459366 h 1631057"/>
                    <a:gd name="connsiteX20" fmla="*/ 917575 w 1146175"/>
                    <a:gd name="connsiteY20" fmla="*/ 506991 h 1631057"/>
                    <a:gd name="connsiteX21" fmla="*/ 923925 w 1146175"/>
                    <a:gd name="connsiteY21" fmla="*/ 519691 h 1631057"/>
                    <a:gd name="connsiteX22" fmla="*/ 955675 w 1146175"/>
                    <a:gd name="connsiteY22" fmla="*/ 573666 h 1631057"/>
                    <a:gd name="connsiteX23" fmla="*/ 974725 w 1146175"/>
                    <a:gd name="connsiteY23" fmla="*/ 627641 h 1631057"/>
                    <a:gd name="connsiteX24" fmla="*/ 981075 w 1146175"/>
                    <a:gd name="connsiteY24" fmla="*/ 646691 h 1631057"/>
                    <a:gd name="connsiteX25" fmla="*/ 1041400 w 1146175"/>
                    <a:gd name="connsiteY25" fmla="*/ 665741 h 1631057"/>
                    <a:gd name="connsiteX26" fmla="*/ 1117600 w 1146175"/>
                    <a:gd name="connsiteY26" fmla="*/ 707016 h 1631057"/>
                    <a:gd name="connsiteX27" fmla="*/ 1136650 w 1146175"/>
                    <a:gd name="connsiteY27" fmla="*/ 713366 h 1631057"/>
                    <a:gd name="connsiteX28" fmla="*/ 1146175 w 1146175"/>
                    <a:gd name="connsiteY28" fmla="*/ 903866 h 1631057"/>
                    <a:gd name="connsiteX29" fmla="*/ 1127125 w 1146175"/>
                    <a:gd name="connsiteY29" fmla="*/ 913391 h 1631057"/>
                    <a:gd name="connsiteX30" fmla="*/ 996950 w 1146175"/>
                    <a:gd name="connsiteY30" fmla="*/ 983241 h 1631057"/>
                    <a:gd name="connsiteX31" fmla="*/ 977900 w 1146175"/>
                    <a:gd name="connsiteY31" fmla="*/ 989591 h 1631057"/>
                    <a:gd name="connsiteX32" fmla="*/ 968375 w 1146175"/>
                    <a:gd name="connsiteY32" fmla="*/ 1014991 h 1631057"/>
                    <a:gd name="connsiteX33" fmla="*/ 955675 w 1146175"/>
                    <a:gd name="connsiteY33" fmla="*/ 1065791 h 1631057"/>
                    <a:gd name="connsiteX34" fmla="*/ 923925 w 1146175"/>
                    <a:gd name="connsiteY34" fmla="*/ 1135641 h 1631057"/>
                    <a:gd name="connsiteX35" fmla="*/ 917575 w 1146175"/>
                    <a:gd name="connsiteY35" fmla="*/ 1145166 h 1631057"/>
                    <a:gd name="connsiteX36" fmla="*/ 946150 w 1146175"/>
                    <a:gd name="connsiteY36" fmla="*/ 1234066 h 1631057"/>
                    <a:gd name="connsiteX37" fmla="*/ 974725 w 1146175"/>
                    <a:gd name="connsiteY37" fmla="*/ 1291216 h 1631057"/>
                    <a:gd name="connsiteX38" fmla="*/ 974725 w 1146175"/>
                    <a:gd name="connsiteY38" fmla="*/ 1348366 h 1631057"/>
                    <a:gd name="connsiteX39" fmla="*/ 895350 w 1146175"/>
                    <a:gd name="connsiteY39" fmla="*/ 1427741 h 1631057"/>
                    <a:gd name="connsiteX40" fmla="*/ 844550 w 1146175"/>
                    <a:gd name="connsiteY40" fmla="*/ 1462666 h 1631057"/>
                    <a:gd name="connsiteX41" fmla="*/ 835025 w 1146175"/>
                    <a:gd name="connsiteY41" fmla="*/ 1465841 h 1631057"/>
                    <a:gd name="connsiteX42" fmla="*/ 815975 w 1146175"/>
                    <a:gd name="connsiteY42" fmla="*/ 1459491 h 1631057"/>
                    <a:gd name="connsiteX43" fmla="*/ 717550 w 1146175"/>
                    <a:gd name="connsiteY43" fmla="*/ 1424566 h 1631057"/>
                    <a:gd name="connsiteX44" fmla="*/ 657225 w 1146175"/>
                    <a:gd name="connsiteY44" fmla="*/ 1408691 h 1631057"/>
                    <a:gd name="connsiteX45" fmla="*/ 635000 w 1146175"/>
                    <a:gd name="connsiteY45" fmla="*/ 1411866 h 1631057"/>
                    <a:gd name="connsiteX46" fmla="*/ 501650 w 1146175"/>
                    <a:gd name="connsiteY46" fmla="*/ 1453141 h 1631057"/>
                    <a:gd name="connsiteX47" fmla="*/ 464344 w 1146175"/>
                    <a:gd name="connsiteY47" fmla="*/ 1522198 h 1631057"/>
                    <a:gd name="connsiteX48" fmla="*/ 425450 w 1146175"/>
                    <a:gd name="connsiteY48" fmla="*/ 1602366 h 1631057"/>
                    <a:gd name="connsiteX49" fmla="*/ 381794 w 1146175"/>
                    <a:gd name="connsiteY49" fmla="*/ 1623797 h 1631057"/>
                    <a:gd name="connsiteX50" fmla="*/ 250825 w 1146175"/>
                    <a:gd name="connsiteY50" fmla="*/ 1625385 h 1631057"/>
                    <a:gd name="connsiteX51" fmla="*/ 206375 w 1146175"/>
                    <a:gd name="connsiteY51" fmla="*/ 1599191 h 1631057"/>
                    <a:gd name="connsiteX52" fmla="*/ 149225 w 1146175"/>
                    <a:gd name="connsiteY52" fmla="*/ 1484891 h 1631057"/>
                    <a:gd name="connsiteX53" fmla="*/ 142875 w 1146175"/>
                    <a:gd name="connsiteY53" fmla="*/ 1469016 h 1631057"/>
                    <a:gd name="connsiteX54" fmla="*/ 41275 w 1146175"/>
                    <a:gd name="connsiteY54" fmla="*/ 1430916 h 1631057"/>
                    <a:gd name="connsiteX55" fmla="*/ 0 w 1146175"/>
                    <a:gd name="connsiteY55" fmla="*/ 1402341 h 1631057"/>
                    <a:gd name="connsiteX0" fmla="*/ 9525 w 1146175"/>
                    <a:gd name="connsiteY0" fmla="*/ 227591 h 1631057"/>
                    <a:gd name="connsiteX1" fmla="*/ 50800 w 1146175"/>
                    <a:gd name="connsiteY1" fmla="*/ 205366 h 1631057"/>
                    <a:gd name="connsiteX2" fmla="*/ 127000 w 1146175"/>
                    <a:gd name="connsiteY2" fmla="*/ 170441 h 1631057"/>
                    <a:gd name="connsiteX3" fmla="*/ 155575 w 1146175"/>
                    <a:gd name="connsiteY3" fmla="*/ 160916 h 1631057"/>
                    <a:gd name="connsiteX4" fmla="*/ 168275 w 1146175"/>
                    <a:gd name="connsiteY4" fmla="*/ 148216 h 1631057"/>
                    <a:gd name="connsiteX5" fmla="*/ 209550 w 1146175"/>
                    <a:gd name="connsiteY5" fmla="*/ 65666 h 1631057"/>
                    <a:gd name="connsiteX6" fmla="*/ 238125 w 1146175"/>
                    <a:gd name="connsiteY6" fmla="*/ 14866 h 1631057"/>
                    <a:gd name="connsiteX7" fmla="*/ 269875 w 1146175"/>
                    <a:gd name="connsiteY7" fmla="*/ 5341 h 1631057"/>
                    <a:gd name="connsiteX8" fmla="*/ 428625 w 1146175"/>
                    <a:gd name="connsiteY8" fmla="*/ 11691 h 1631057"/>
                    <a:gd name="connsiteX9" fmla="*/ 492125 w 1146175"/>
                    <a:gd name="connsiteY9" fmla="*/ 145041 h 1631057"/>
                    <a:gd name="connsiteX10" fmla="*/ 508000 w 1146175"/>
                    <a:gd name="connsiteY10" fmla="*/ 170441 h 1631057"/>
                    <a:gd name="connsiteX11" fmla="*/ 558800 w 1146175"/>
                    <a:gd name="connsiteY11" fmla="*/ 189491 h 1631057"/>
                    <a:gd name="connsiteX12" fmla="*/ 635000 w 1146175"/>
                    <a:gd name="connsiteY12" fmla="*/ 221241 h 1631057"/>
                    <a:gd name="connsiteX13" fmla="*/ 717550 w 1146175"/>
                    <a:gd name="connsiteY13" fmla="*/ 218066 h 1631057"/>
                    <a:gd name="connsiteX14" fmla="*/ 838200 w 1146175"/>
                    <a:gd name="connsiteY14" fmla="*/ 186316 h 1631057"/>
                    <a:gd name="connsiteX15" fmla="*/ 879475 w 1146175"/>
                    <a:gd name="connsiteY15" fmla="*/ 205366 h 1631057"/>
                    <a:gd name="connsiteX16" fmla="*/ 974725 w 1146175"/>
                    <a:gd name="connsiteY16" fmla="*/ 303791 h 1631057"/>
                    <a:gd name="connsiteX17" fmla="*/ 968375 w 1146175"/>
                    <a:gd name="connsiteY17" fmla="*/ 338716 h 1631057"/>
                    <a:gd name="connsiteX18" fmla="*/ 936625 w 1146175"/>
                    <a:gd name="connsiteY18" fmla="*/ 402216 h 1631057"/>
                    <a:gd name="connsiteX19" fmla="*/ 917575 w 1146175"/>
                    <a:gd name="connsiteY19" fmla="*/ 459366 h 1631057"/>
                    <a:gd name="connsiteX20" fmla="*/ 917575 w 1146175"/>
                    <a:gd name="connsiteY20" fmla="*/ 506991 h 1631057"/>
                    <a:gd name="connsiteX21" fmla="*/ 923925 w 1146175"/>
                    <a:gd name="connsiteY21" fmla="*/ 519691 h 1631057"/>
                    <a:gd name="connsiteX22" fmla="*/ 955675 w 1146175"/>
                    <a:gd name="connsiteY22" fmla="*/ 573666 h 1631057"/>
                    <a:gd name="connsiteX23" fmla="*/ 974725 w 1146175"/>
                    <a:gd name="connsiteY23" fmla="*/ 627641 h 1631057"/>
                    <a:gd name="connsiteX24" fmla="*/ 981075 w 1146175"/>
                    <a:gd name="connsiteY24" fmla="*/ 646691 h 1631057"/>
                    <a:gd name="connsiteX25" fmla="*/ 1041400 w 1146175"/>
                    <a:gd name="connsiteY25" fmla="*/ 665741 h 1631057"/>
                    <a:gd name="connsiteX26" fmla="*/ 1117600 w 1146175"/>
                    <a:gd name="connsiteY26" fmla="*/ 707016 h 1631057"/>
                    <a:gd name="connsiteX27" fmla="*/ 1136650 w 1146175"/>
                    <a:gd name="connsiteY27" fmla="*/ 713366 h 1631057"/>
                    <a:gd name="connsiteX28" fmla="*/ 1146175 w 1146175"/>
                    <a:gd name="connsiteY28" fmla="*/ 903866 h 1631057"/>
                    <a:gd name="connsiteX29" fmla="*/ 1127125 w 1146175"/>
                    <a:gd name="connsiteY29" fmla="*/ 913391 h 1631057"/>
                    <a:gd name="connsiteX30" fmla="*/ 996950 w 1146175"/>
                    <a:gd name="connsiteY30" fmla="*/ 983241 h 1631057"/>
                    <a:gd name="connsiteX31" fmla="*/ 977900 w 1146175"/>
                    <a:gd name="connsiteY31" fmla="*/ 989591 h 1631057"/>
                    <a:gd name="connsiteX32" fmla="*/ 968375 w 1146175"/>
                    <a:gd name="connsiteY32" fmla="*/ 1014991 h 1631057"/>
                    <a:gd name="connsiteX33" fmla="*/ 955675 w 1146175"/>
                    <a:gd name="connsiteY33" fmla="*/ 1065791 h 1631057"/>
                    <a:gd name="connsiteX34" fmla="*/ 923925 w 1146175"/>
                    <a:gd name="connsiteY34" fmla="*/ 1135641 h 1631057"/>
                    <a:gd name="connsiteX35" fmla="*/ 917575 w 1146175"/>
                    <a:gd name="connsiteY35" fmla="*/ 1145166 h 1631057"/>
                    <a:gd name="connsiteX36" fmla="*/ 946150 w 1146175"/>
                    <a:gd name="connsiteY36" fmla="*/ 1234066 h 1631057"/>
                    <a:gd name="connsiteX37" fmla="*/ 974725 w 1146175"/>
                    <a:gd name="connsiteY37" fmla="*/ 1291216 h 1631057"/>
                    <a:gd name="connsiteX38" fmla="*/ 967581 w 1146175"/>
                    <a:gd name="connsiteY38" fmla="*/ 1334078 h 1631057"/>
                    <a:gd name="connsiteX39" fmla="*/ 895350 w 1146175"/>
                    <a:gd name="connsiteY39" fmla="*/ 1427741 h 1631057"/>
                    <a:gd name="connsiteX40" fmla="*/ 844550 w 1146175"/>
                    <a:gd name="connsiteY40" fmla="*/ 1462666 h 1631057"/>
                    <a:gd name="connsiteX41" fmla="*/ 835025 w 1146175"/>
                    <a:gd name="connsiteY41" fmla="*/ 1465841 h 1631057"/>
                    <a:gd name="connsiteX42" fmla="*/ 815975 w 1146175"/>
                    <a:gd name="connsiteY42" fmla="*/ 1459491 h 1631057"/>
                    <a:gd name="connsiteX43" fmla="*/ 717550 w 1146175"/>
                    <a:gd name="connsiteY43" fmla="*/ 1424566 h 1631057"/>
                    <a:gd name="connsiteX44" fmla="*/ 657225 w 1146175"/>
                    <a:gd name="connsiteY44" fmla="*/ 1408691 h 1631057"/>
                    <a:gd name="connsiteX45" fmla="*/ 635000 w 1146175"/>
                    <a:gd name="connsiteY45" fmla="*/ 1411866 h 1631057"/>
                    <a:gd name="connsiteX46" fmla="*/ 501650 w 1146175"/>
                    <a:gd name="connsiteY46" fmla="*/ 1453141 h 1631057"/>
                    <a:gd name="connsiteX47" fmla="*/ 464344 w 1146175"/>
                    <a:gd name="connsiteY47" fmla="*/ 1522198 h 1631057"/>
                    <a:gd name="connsiteX48" fmla="*/ 425450 w 1146175"/>
                    <a:gd name="connsiteY48" fmla="*/ 1602366 h 1631057"/>
                    <a:gd name="connsiteX49" fmla="*/ 381794 w 1146175"/>
                    <a:gd name="connsiteY49" fmla="*/ 1623797 h 1631057"/>
                    <a:gd name="connsiteX50" fmla="*/ 250825 w 1146175"/>
                    <a:gd name="connsiteY50" fmla="*/ 1625385 h 1631057"/>
                    <a:gd name="connsiteX51" fmla="*/ 206375 w 1146175"/>
                    <a:gd name="connsiteY51" fmla="*/ 1599191 h 1631057"/>
                    <a:gd name="connsiteX52" fmla="*/ 149225 w 1146175"/>
                    <a:gd name="connsiteY52" fmla="*/ 1484891 h 1631057"/>
                    <a:gd name="connsiteX53" fmla="*/ 142875 w 1146175"/>
                    <a:gd name="connsiteY53" fmla="*/ 1469016 h 1631057"/>
                    <a:gd name="connsiteX54" fmla="*/ 41275 w 1146175"/>
                    <a:gd name="connsiteY54" fmla="*/ 1430916 h 1631057"/>
                    <a:gd name="connsiteX55" fmla="*/ 0 w 1146175"/>
                    <a:gd name="connsiteY55" fmla="*/ 1402341 h 1631057"/>
                    <a:gd name="connsiteX0" fmla="*/ 9525 w 1147289"/>
                    <a:gd name="connsiteY0" fmla="*/ 227591 h 1631057"/>
                    <a:gd name="connsiteX1" fmla="*/ 50800 w 1147289"/>
                    <a:gd name="connsiteY1" fmla="*/ 205366 h 1631057"/>
                    <a:gd name="connsiteX2" fmla="*/ 127000 w 1147289"/>
                    <a:gd name="connsiteY2" fmla="*/ 170441 h 1631057"/>
                    <a:gd name="connsiteX3" fmla="*/ 155575 w 1147289"/>
                    <a:gd name="connsiteY3" fmla="*/ 160916 h 1631057"/>
                    <a:gd name="connsiteX4" fmla="*/ 168275 w 1147289"/>
                    <a:gd name="connsiteY4" fmla="*/ 148216 h 1631057"/>
                    <a:gd name="connsiteX5" fmla="*/ 209550 w 1147289"/>
                    <a:gd name="connsiteY5" fmla="*/ 65666 h 1631057"/>
                    <a:gd name="connsiteX6" fmla="*/ 238125 w 1147289"/>
                    <a:gd name="connsiteY6" fmla="*/ 14866 h 1631057"/>
                    <a:gd name="connsiteX7" fmla="*/ 269875 w 1147289"/>
                    <a:gd name="connsiteY7" fmla="*/ 5341 h 1631057"/>
                    <a:gd name="connsiteX8" fmla="*/ 428625 w 1147289"/>
                    <a:gd name="connsiteY8" fmla="*/ 11691 h 1631057"/>
                    <a:gd name="connsiteX9" fmla="*/ 492125 w 1147289"/>
                    <a:gd name="connsiteY9" fmla="*/ 145041 h 1631057"/>
                    <a:gd name="connsiteX10" fmla="*/ 508000 w 1147289"/>
                    <a:gd name="connsiteY10" fmla="*/ 170441 h 1631057"/>
                    <a:gd name="connsiteX11" fmla="*/ 558800 w 1147289"/>
                    <a:gd name="connsiteY11" fmla="*/ 189491 h 1631057"/>
                    <a:gd name="connsiteX12" fmla="*/ 635000 w 1147289"/>
                    <a:gd name="connsiteY12" fmla="*/ 221241 h 1631057"/>
                    <a:gd name="connsiteX13" fmla="*/ 717550 w 1147289"/>
                    <a:gd name="connsiteY13" fmla="*/ 218066 h 1631057"/>
                    <a:gd name="connsiteX14" fmla="*/ 838200 w 1147289"/>
                    <a:gd name="connsiteY14" fmla="*/ 186316 h 1631057"/>
                    <a:gd name="connsiteX15" fmla="*/ 879475 w 1147289"/>
                    <a:gd name="connsiteY15" fmla="*/ 205366 h 1631057"/>
                    <a:gd name="connsiteX16" fmla="*/ 974725 w 1147289"/>
                    <a:gd name="connsiteY16" fmla="*/ 303791 h 1631057"/>
                    <a:gd name="connsiteX17" fmla="*/ 968375 w 1147289"/>
                    <a:gd name="connsiteY17" fmla="*/ 338716 h 1631057"/>
                    <a:gd name="connsiteX18" fmla="*/ 936625 w 1147289"/>
                    <a:gd name="connsiteY18" fmla="*/ 402216 h 1631057"/>
                    <a:gd name="connsiteX19" fmla="*/ 917575 w 1147289"/>
                    <a:gd name="connsiteY19" fmla="*/ 459366 h 1631057"/>
                    <a:gd name="connsiteX20" fmla="*/ 917575 w 1147289"/>
                    <a:gd name="connsiteY20" fmla="*/ 506991 h 1631057"/>
                    <a:gd name="connsiteX21" fmla="*/ 923925 w 1147289"/>
                    <a:gd name="connsiteY21" fmla="*/ 519691 h 1631057"/>
                    <a:gd name="connsiteX22" fmla="*/ 955675 w 1147289"/>
                    <a:gd name="connsiteY22" fmla="*/ 573666 h 1631057"/>
                    <a:gd name="connsiteX23" fmla="*/ 974725 w 1147289"/>
                    <a:gd name="connsiteY23" fmla="*/ 627641 h 1631057"/>
                    <a:gd name="connsiteX24" fmla="*/ 981075 w 1147289"/>
                    <a:gd name="connsiteY24" fmla="*/ 646691 h 1631057"/>
                    <a:gd name="connsiteX25" fmla="*/ 1041400 w 1147289"/>
                    <a:gd name="connsiteY25" fmla="*/ 665741 h 1631057"/>
                    <a:gd name="connsiteX26" fmla="*/ 1117600 w 1147289"/>
                    <a:gd name="connsiteY26" fmla="*/ 707016 h 1631057"/>
                    <a:gd name="connsiteX27" fmla="*/ 1136650 w 1147289"/>
                    <a:gd name="connsiteY27" fmla="*/ 713366 h 1631057"/>
                    <a:gd name="connsiteX28" fmla="*/ 1146175 w 1147289"/>
                    <a:gd name="connsiteY28" fmla="*/ 903866 h 1631057"/>
                    <a:gd name="connsiteX29" fmla="*/ 1127125 w 1147289"/>
                    <a:gd name="connsiteY29" fmla="*/ 913391 h 1631057"/>
                    <a:gd name="connsiteX30" fmla="*/ 996950 w 1147289"/>
                    <a:gd name="connsiteY30" fmla="*/ 983241 h 1631057"/>
                    <a:gd name="connsiteX31" fmla="*/ 977900 w 1147289"/>
                    <a:gd name="connsiteY31" fmla="*/ 989591 h 1631057"/>
                    <a:gd name="connsiteX32" fmla="*/ 968375 w 1147289"/>
                    <a:gd name="connsiteY32" fmla="*/ 1014991 h 1631057"/>
                    <a:gd name="connsiteX33" fmla="*/ 955675 w 1147289"/>
                    <a:gd name="connsiteY33" fmla="*/ 1065791 h 1631057"/>
                    <a:gd name="connsiteX34" fmla="*/ 923925 w 1147289"/>
                    <a:gd name="connsiteY34" fmla="*/ 1135641 h 1631057"/>
                    <a:gd name="connsiteX35" fmla="*/ 917575 w 1147289"/>
                    <a:gd name="connsiteY35" fmla="*/ 1145166 h 1631057"/>
                    <a:gd name="connsiteX36" fmla="*/ 946150 w 1147289"/>
                    <a:gd name="connsiteY36" fmla="*/ 1234066 h 1631057"/>
                    <a:gd name="connsiteX37" fmla="*/ 974725 w 1147289"/>
                    <a:gd name="connsiteY37" fmla="*/ 1291216 h 1631057"/>
                    <a:gd name="connsiteX38" fmla="*/ 967581 w 1147289"/>
                    <a:gd name="connsiteY38" fmla="*/ 1334078 h 1631057"/>
                    <a:gd name="connsiteX39" fmla="*/ 895350 w 1147289"/>
                    <a:gd name="connsiteY39" fmla="*/ 1427741 h 1631057"/>
                    <a:gd name="connsiteX40" fmla="*/ 844550 w 1147289"/>
                    <a:gd name="connsiteY40" fmla="*/ 1462666 h 1631057"/>
                    <a:gd name="connsiteX41" fmla="*/ 835025 w 1147289"/>
                    <a:gd name="connsiteY41" fmla="*/ 1465841 h 1631057"/>
                    <a:gd name="connsiteX42" fmla="*/ 815975 w 1147289"/>
                    <a:gd name="connsiteY42" fmla="*/ 1459491 h 1631057"/>
                    <a:gd name="connsiteX43" fmla="*/ 717550 w 1147289"/>
                    <a:gd name="connsiteY43" fmla="*/ 1424566 h 1631057"/>
                    <a:gd name="connsiteX44" fmla="*/ 657225 w 1147289"/>
                    <a:gd name="connsiteY44" fmla="*/ 1408691 h 1631057"/>
                    <a:gd name="connsiteX45" fmla="*/ 635000 w 1147289"/>
                    <a:gd name="connsiteY45" fmla="*/ 1411866 h 1631057"/>
                    <a:gd name="connsiteX46" fmla="*/ 501650 w 1147289"/>
                    <a:gd name="connsiteY46" fmla="*/ 1453141 h 1631057"/>
                    <a:gd name="connsiteX47" fmla="*/ 464344 w 1147289"/>
                    <a:gd name="connsiteY47" fmla="*/ 1522198 h 1631057"/>
                    <a:gd name="connsiteX48" fmla="*/ 425450 w 1147289"/>
                    <a:gd name="connsiteY48" fmla="*/ 1602366 h 1631057"/>
                    <a:gd name="connsiteX49" fmla="*/ 381794 w 1147289"/>
                    <a:gd name="connsiteY49" fmla="*/ 1623797 h 1631057"/>
                    <a:gd name="connsiteX50" fmla="*/ 250825 w 1147289"/>
                    <a:gd name="connsiteY50" fmla="*/ 1625385 h 1631057"/>
                    <a:gd name="connsiteX51" fmla="*/ 206375 w 1147289"/>
                    <a:gd name="connsiteY51" fmla="*/ 1599191 h 1631057"/>
                    <a:gd name="connsiteX52" fmla="*/ 149225 w 1147289"/>
                    <a:gd name="connsiteY52" fmla="*/ 1484891 h 1631057"/>
                    <a:gd name="connsiteX53" fmla="*/ 142875 w 1147289"/>
                    <a:gd name="connsiteY53" fmla="*/ 1469016 h 1631057"/>
                    <a:gd name="connsiteX54" fmla="*/ 41275 w 1147289"/>
                    <a:gd name="connsiteY54" fmla="*/ 1430916 h 1631057"/>
                    <a:gd name="connsiteX55" fmla="*/ 0 w 1147289"/>
                    <a:gd name="connsiteY55" fmla="*/ 1402341 h 1631057"/>
                    <a:gd name="connsiteX0" fmla="*/ 9525 w 1149871"/>
                    <a:gd name="connsiteY0" fmla="*/ 227591 h 1631057"/>
                    <a:gd name="connsiteX1" fmla="*/ 50800 w 1149871"/>
                    <a:gd name="connsiteY1" fmla="*/ 205366 h 1631057"/>
                    <a:gd name="connsiteX2" fmla="*/ 127000 w 1149871"/>
                    <a:gd name="connsiteY2" fmla="*/ 170441 h 1631057"/>
                    <a:gd name="connsiteX3" fmla="*/ 155575 w 1149871"/>
                    <a:gd name="connsiteY3" fmla="*/ 160916 h 1631057"/>
                    <a:gd name="connsiteX4" fmla="*/ 168275 w 1149871"/>
                    <a:gd name="connsiteY4" fmla="*/ 148216 h 1631057"/>
                    <a:gd name="connsiteX5" fmla="*/ 209550 w 1149871"/>
                    <a:gd name="connsiteY5" fmla="*/ 65666 h 1631057"/>
                    <a:gd name="connsiteX6" fmla="*/ 238125 w 1149871"/>
                    <a:gd name="connsiteY6" fmla="*/ 14866 h 1631057"/>
                    <a:gd name="connsiteX7" fmla="*/ 269875 w 1149871"/>
                    <a:gd name="connsiteY7" fmla="*/ 5341 h 1631057"/>
                    <a:gd name="connsiteX8" fmla="*/ 428625 w 1149871"/>
                    <a:gd name="connsiteY8" fmla="*/ 11691 h 1631057"/>
                    <a:gd name="connsiteX9" fmla="*/ 492125 w 1149871"/>
                    <a:gd name="connsiteY9" fmla="*/ 145041 h 1631057"/>
                    <a:gd name="connsiteX10" fmla="*/ 508000 w 1149871"/>
                    <a:gd name="connsiteY10" fmla="*/ 170441 h 1631057"/>
                    <a:gd name="connsiteX11" fmla="*/ 558800 w 1149871"/>
                    <a:gd name="connsiteY11" fmla="*/ 189491 h 1631057"/>
                    <a:gd name="connsiteX12" fmla="*/ 635000 w 1149871"/>
                    <a:gd name="connsiteY12" fmla="*/ 221241 h 1631057"/>
                    <a:gd name="connsiteX13" fmla="*/ 717550 w 1149871"/>
                    <a:gd name="connsiteY13" fmla="*/ 218066 h 1631057"/>
                    <a:gd name="connsiteX14" fmla="*/ 838200 w 1149871"/>
                    <a:gd name="connsiteY14" fmla="*/ 186316 h 1631057"/>
                    <a:gd name="connsiteX15" fmla="*/ 879475 w 1149871"/>
                    <a:gd name="connsiteY15" fmla="*/ 205366 h 1631057"/>
                    <a:gd name="connsiteX16" fmla="*/ 974725 w 1149871"/>
                    <a:gd name="connsiteY16" fmla="*/ 303791 h 1631057"/>
                    <a:gd name="connsiteX17" fmla="*/ 968375 w 1149871"/>
                    <a:gd name="connsiteY17" fmla="*/ 338716 h 1631057"/>
                    <a:gd name="connsiteX18" fmla="*/ 936625 w 1149871"/>
                    <a:gd name="connsiteY18" fmla="*/ 402216 h 1631057"/>
                    <a:gd name="connsiteX19" fmla="*/ 917575 w 1149871"/>
                    <a:gd name="connsiteY19" fmla="*/ 459366 h 1631057"/>
                    <a:gd name="connsiteX20" fmla="*/ 917575 w 1149871"/>
                    <a:gd name="connsiteY20" fmla="*/ 506991 h 1631057"/>
                    <a:gd name="connsiteX21" fmla="*/ 923925 w 1149871"/>
                    <a:gd name="connsiteY21" fmla="*/ 519691 h 1631057"/>
                    <a:gd name="connsiteX22" fmla="*/ 955675 w 1149871"/>
                    <a:gd name="connsiteY22" fmla="*/ 573666 h 1631057"/>
                    <a:gd name="connsiteX23" fmla="*/ 974725 w 1149871"/>
                    <a:gd name="connsiteY23" fmla="*/ 627641 h 1631057"/>
                    <a:gd name="connsiteX24" fmla="*/ 981075 w 1149871"/>
                    <a:gd name="connsiteY24" fmla="*/ 646691 h 1631057"/>
                    <a:gd name="connsiteX25" fmla="*/ 1041400 w 1149871"/>
                    <a:gd name="connsiteY25" fmla="*/ 665741 h 1631057"/>
                    <a:gd name="connsiteX26" fmla="*/ 1117600 w 1149871"/>
                    <a:gd name="connsiteY26" fmla="*/ 707016 h 1631057"/>
                    <a:gd name="connsiteX27" fmla="*/ 1148557 w 1149871"/>
                    <a:gd name="connsiteY27" fmla="*/ 715747 h 1631057"/>
                    <a:gd name="connsiteX28" fmla="*/ 1146175 w 1149871"/>
                    <a:gd name="connsiteY28" fmla="*/ 903866 h 1631057"/>
                    <a:gd name="connsiteX29" fmla="*/ 1127125 w 1149871"/>
                    <a:gd name="connsiteY29" fmla="*/ 913391 h 1631057"/>
                    <a:gd name="connsiteX30" fmla="*/ 996950 w 1149871"/>
                    <a:gd name="connsiteY30" fmla="*/ 983241 h 1631057"/>
                    <a:gd name="connsiteX31" fmla="*/ 977900 w 1149871"/>
                    <a:gd name="connsiteY31" fmla="*/ 989591 h 1631057"/>
                    <a:gd name="connsiteX32" fmla="*/ 968375 w 1149871"/>
                    <a:gd name="connsiteY32" fmla="*/ 1014991 h 1631057"/>
                    <a:gd name="connsiteX33" fmla="*/ 955675 w 1149871"/>
                    <a:gd name="connsiteY33" fmla="*/ 1065791 h 1631057"/>
                    <a:gd name="connsiteX34" fmla="*/ 923925 w 1149871"/>
                    <a:gd name="connsiteY34" fmla="*/ 1135641 h 1631057"/>
                    <a:gd name="connsiteX35" fmla="*/ 917575 w 1149871"/>
                    <a:gd name="connsiteY35" fmla="*/ 1145166 h 1631057"/>
                    <a:gd name="connsiteX36" fmla="*/ 946150 w 1149871"/>
                    <a:gd name="connsiteY36" fmla="*/ 1234066 h 1631057"/>
                    <a:gd name="connsiteX37" fmla="*/ 974725 w 1149871"/>
                    <a:gd name="connsiteY37" fmla="*/ 1291216 h 1631057"/>
                    <a:gd name="connsiteX38" fmla="*/ 967581 w 1149871"/>
                    <a:gd name="connsiteY38" fmla="*/ 1334078 h 1631057"/>
                    <a:gd name="connsiteX39" fmla="*/ 895350 w 1149871"/>
                    <a:gd name="connsiteY39" fmla="*/ 1427741 h 1631057"/>
                    <a:gd name="connsiteX40" fmla="*/ 844550 w 1149871"/>
                    <a:gd name="connsiteY40" fmla="*/ 1462666 h 1631057"/>
                    <a:gd name="connsiteX41" fmla="*/ 835025 w 1149871"/>
                    <a:gd name="connsiteY41" fmla="*/ 1465841 h 1631057"/>
                    <a:gd name="connsiteX42" fmla="*/ 815975 w 1149871"/>
                    <a:gd name="connsiteY42" fmla="*/ 1459491 h 1631057"/>
                    <a:gd name="connsiteX43" fmla="*/ 717550 w 1149871"/>
                    <a:gd name="connsiteY43" fmla="*/ 1424566 h 1631057"/>
                    <a:gd name="connsiteX44" fmla="*/ 657225 w 1149871"/>
                    <a:gd name="connsiteY44" fmla="*/ 1408691 h 1631057"/>
                    <a:gd name="connsiteX45" fmla="*/ 635000 w 1149871"/>
                    <a:gd name="connsiteY45" fmla="*/ 1411866 h 1631057"/>
                    <a:gd name="connsiteX46" fmla="*/ 501650 w 1149871"/>
                    <a:gd name="connsiteY46" fmla="*/ 1453141 h 1631057"/>
                    <a:gd name="connsiteX47" fmla="*/ 464344 w 1149871"/>
                    <a:gd name="connsiteY47" fmla="*/ 1522198 h 1631057"/>
                    <a:gd name="connsiteX48" fmla="*/ 425450 w 1149871"/>
                    <a:gd name="connsiteY48" fmla="*/ 1602366 h 1631057"/>
                    <a:gd name="connsiteX49" fmla="*/ 381794 w 1149871"/>
                    <a:gd name="connsiteY49" fmla="*/ 1623797 h 1631057"/>
                    <a:gd name="connsiteX50" fmla="*/ 250825 w 1149871"/>
                    <a:gd name="connsiteY50" fmla="*/ 1625385 h 1631057"/>
                    <a:gd name="connsiteX51" fmla="*/ 206375 w 1149871"/>
                    <a:gd name="connsiteY51" fmla="*/ 1599191 h 1631057"/>
                    <a:gd name="connsiteX52" fmla="*/ 149225 w 1149871"/>
                    <a:gd name="connsiteY52" fmla="*/ 1484891 h 1631057"/>
                    <a:gd name="connsiteX53" fmla="*/ 142875 w 1149871"/>
                    <a:gd name="connsiteY53" fmla="*/ 1469016 h 1631057"/>
                    <a:gd name="connsiteX54" fmla="*/ 41275 w 1149871"/>
                    <a:gd name="connsiteY54" fmla="*/ 1430916 h 1631057"/>
                    <a:gd name="connsiteX55" fmla="*/ 0 w 1149871"/>
                    <a:gd name="connsiteY55" fmla="*/ 1402341 h 1631057"/>
                    <a:gd name="connsiteX0" fmla="*/ 9525 w 1149871"/>
                    <a:gd name="connsiteY0" fmla="*/ 227591 h 1631057"/>
                    <a:gd name="connsiteX1" fmla="*/ 50800 w 1149871"/>
                    <a:gd name="connsiteY1" fmla="*/ 205366 h 1631057"/>
                    <a:gd name="connsiteX2" fmla="*/ 127000 w 1149871"/>
                    <a:gd name="connsiteY2" fmla="*/ 170441 h 1631057"/>
                    <a:gd name="connsiteX3" fmla="*/ 155575 w 1149871"/>
                    <a:gd name="connsiteY3" fmla="*/ 160916 h 1631057"/>
                    <a:gd name="connsiteX4" fmla="*/ 168275 w 1149871"/>
                    <a:gd name="connsiteY4" fmla="*/ 148216 h 1631057"/>
                    <a:gd name="connsiteX5" fmla="*/ 209550 w 1149871"/>
                    <a:gd name="connsiteY5" fmla="*/ 65666 h 1631057"/>
                    <a:gd name="connsiteX6" fmla="*/ 238125 w 1149871"/>
                    <a:gd name="connsiteY6" fmla="*/ 14866 h 1631057"/>
                    <a:gd name="connsiteX7" fmla="*/ 269875 w 1149871"/>
                    <a:gd name="connsiteY7" fmla="*/ 5341 h 1631057"/>
                    <a:gd name="connsiteX8" fmla="*/ 428625 w 1149871"/>
                    <a:gd name="connsiteY8" fmla="*/ 11691 h 1631057"/>
                    <a:gd name="connsiteX9" fmla="*/ 492125 w 1149871"/>
                    <a:gd name="connsiteY9" fmla="*/ 145041 h 1631057"/>
                    <a:gd name="connsiteX10" fmla="*/ 508000 w 1149871"/>
                    <a:gd name="connsiteY10" fmla="*/ 170441 h 1631057"/>
                    <a:gd name="connsiteX11" fmla="*/ 558800 w 1149871"/>
                    <a:gd name="connsiteY11" fmla="*/ 189491 h 1631057"/>
                    <a:gd name="connsiteX12" fmla="*/ 635000 w 1149871"/>
                    <a:gd name="connsiteY12" fmla="*/ 221241 h 1631057"/>
                    <a:gd name="connsiteX13" fmla="*/ 717550 w 1149871"/>
                    <a:gd name="connsiteY13" fmla="*/ 218066 h 1631057"/>
                    <a:gd name="connsiteX14" fmla="*/ 835818 w 1149871"/>
                    <a:gd name="connsiteY14" fmla="*/ 179172 h 1631057"/>
                    <a:gd name="connsiteX15" fmla="*/ 879475 w 1149871"/>
                    <a:gd name="connsiteY15" fmla="*/ 205366 h 1631057"/>
                    <a:gd name="connsiteX16" fmla="*/ 974725 w 1149871"/>
                    <a:gd name="connsiteY16" fmla="*/ 303791 h 1631057"/>
                    <a:gd name="connsiteX17" fmla="*/ 968375 w 1149871"/>
                    <a:gd name="connsiteY17" fmla="*/ 338716 h 1631057"/>
                    <a:gd name="connsiteX18" fmla="*/ 936625 w 1149871"/>
                    <a:gd name="connsiteY18" fmla="*/ 402216 h 1631057"/>
                    <a:gd name="connsiteX19" fmla="*/ 917575 w 1149871"/>
                    <a:gd name="connsiteY19" fmla="*/ 459366 h 1631057"/>
                    <a:gd name="connsiteX20" fmla="*/ 917575 w 1149871"/>
                    <a:gd name="connsiteY20" fmla="*/ 506991 h 1631057"/>
                    <a:gd name="connsiteX21" fmla="*/ 923925 w 1149871"/>
                    <a:gd name="connsiteY21" fmla="*/ 519691 h 1631057"/>
                    <a:gd name="connsiteX22" fmla="*/ 955675 w 1149871"/>
                    <a:gd name="connsiteY22" fmla="*/ 573666 h 1631057"/>
                    <a:gd name="connsiteX23" fmla="*/ 974725 w 1149871"/>
                    <a:gd name="connsiteY23" fmla="*/ 627641 h 1631057"/>
                    <a:gd name="connsiteX24" fmla="*/ 981075 w 1149871"/>
                    <a:gd name="connsiteY24" fmla="*/ 646691 h 1631057"/>
                    <a:gd name="connsiteX25" fmla="*/ 1041400 w 1149871"/>
                    <a:gd name="connsiteY25" fmla="*/ 665741 h 1631057"/>
                    <a:gd name="connsiteX26" fmla="*/ 1117600 w 1149871"/>
                    <a:gd name="connsiteY26" fmla="*/ 707016 h 1631057"/>
                    <a:gd name="connsiteX27" fmla="*/ 1148557 w 1149871"/>
                    <a:gd name="connsiteY27" fmla="*/ 715747 h 1631057"/>
                    <a:gd name="connsiteX28" fmla="*/ 1146175 w 1149871"/>
                    <a:gd name="connsiteY28" fmla="*/ 903866 h 1631057"/>
                    <a:gd name="connsiteX29" fmla="*/ 1127125 w 1149871"/>
                    <a:gd name="connsiteY29" fmla="*/ 913391 h 1631057"/>
                    <a:gd name="connsiteX30" fmla="*/ 996950 w 1149871"/>
                    <a:gd name="connsiteY30" fmla="*/ 983241 h 1631057"/>
                    <a:gd name="connsiteX31" fmla="*/ 977900 w 1149871"/>
                    <a:gd name="connsiteY31" fmla="*/ 989591 h 1631057"/>
                    <a:gd name="connsiteX32" fmla="*/ 968375 w 1149871"/>
                    <a:gd name="connsiteY32" fmla="*/ 1014991 h 1631057"/>
                    <a:gd name="connsiteX33" fmla="*/ 955675 w 1149871"/>
                    <a:gd name="connsiteY33" fmla="*/ 1065791 h 1631057"/>
                    <a:gd name="connsiteX34" fmla="*/ 923925 w 1149871"/>
                    <a:gd name="connsiteY34" fmla="*/ 1135641 h 1631057"/>
                    <a:gd name="connsiteX35" fmla="*/ 917575 w 1149871"/>
                    <a:gd name="connsiteY35" fmla="*/ 1145166 h 1631057"/>
                    <a:gd name="connsiteX36" fmla="*/ 946150 w 1149871"/>
                    <a:gd name="connsiteY36" fmla="*/ 1234066 h 1631057"/>
                    <a:gd name="connsiteX37" fmla="*/ 974725 w 1149871"/>
                    <a:gd name="connsiteY37" fmla="*/ 1291216 h 1631057"/>
                    <a:gd name="connsiteX38" fmla="*/ 967581 w 1149871"/>
                    <a:gd name="connsiteY38" fmla="*/ 1334078 h 1631057"/>
                    <a:gd name="connsiteX39" fmla="*/ 895350 w 1149871"/>
                    <a:gd name="connsiteY39" fmla="*/ 1427741 h 1631057"/>
                    <a:gd name="connsiteX40" fmla="*/ 844550 w 1149871"/>
                    <a:gd name="connsiteY40" fmla="*/ 1462666 h 1631057"/>
                    <a:gd name="connsiteX41" fmla="*/ 835025 w 1149871"/>
                    <a:gd name="connsiteY41" fmla="*/ 1465841 h 1631057"/>
                    <a:gd name="connsiteX42" fmla="*/ 815975 w 1149871"/>
                    <a:gd name="connsiteY42" fmla="*/ 1459491 h 1631057"/>
                    <a:gd name="connsiteX43" fmla="*/ 717550 w 1149871"/>
                    <a:gd name="connsiteY43" fmla="*/ 1424566 h 1631057"/>
                    <a:gd name="connsiteX44" fmla="*/ 657225 w 1149871"/>
                    <a:gd name="connsiteY44" fmla="*/ 1408691 h 1631057"/>
                    <a:gd name="connsiteX45" fmla="*/ 635000 w 1149871"/>
                    <a:gd name="connsiteY45" fmla="*/ 1411866 h 1631057"/>
                    <a:gd name="connsiteX46" fmla="*/ 501650 w 1149871"/>
                    <a:gd name="connsiteY46" fmla="*/ 1453141 h 1631057"/>
                    <a:gd name="connsiteX47" fmla="*/ 464344 w 1149871"/>
                    <a:gd name="connsiteY47" fmla="*/ 1522198 h 1631057"/>
                    <a:gd name="connsiteX48" fmla="*/ 425450 w 1149871"/>
                    <a:gd name="connsiteY48" fmla="*/ 1602366 h 1631057"/>
                    <a:gd name="connsiteX49" fmla="*/ 381794 w 1149871"/>
                    <a:gd name="connsiteY49" fmla="*/ 1623797 h 1631057"/>
                    <a:gd name="connsiteX50" fmla="*/ 250825 w 1149871"/>
                    <a:gd name="connsiteY50" fmla="*/ 1625385 h 1631057"/>
                    <a:gd name="connsiteX51" fmla="*/ 206375 w 1149871"/>
                    <a:gd name="connsiteY51" fmla="*/ 1599191 h 1631057"/>
                    <a:gd name="connsiteX52" fmla="*/ 149225 w 1149871"/>
                    <a:gd name="connsiteY52" fmla="*/ 1484891 h 1631057"/>
                    <a:gd name="connsiteX53" fmla="*/ 142875 w 1149871"/>
                    <a:gd name="connsiteY53" fmla="*/ 1469016 h 1631057"/>
                    <a:gd name="connsiteX54" fmla="*/ 41275 w 1149871"/>
                    <a:gd name="connsiteY54" fmla="*/ 1430916 h 1631057"/>
                    <a:gd name="connsiteX55" fmla="*/ 0 w 1149871"/>
                    <a:gd name="connsiteY55" fmla="*/ 1402341 h 1631057"/>
                    <a:gd name="connsiteX0" fmla="*/ 9525 w 1149871"/>
                    <a:gd name="connsiteY0" fmla="*/ 227591 h 1631057"/>
                    <a:gd name="connsiteX1" fmla="*/ 50800 w 1149871"/>
                    <a:gd name="connsiteY1" fmla="*/ 205366 h 1631057"/>
                    <a:gd name="connsiteX2" fmla="*/ 127000 w 1149871"/>
                    <a:gd name="connsiteY2" fmla="*/ 170441 h 1631057"/>
                    <a:gd name="connsiteX3" fmla="*/ 155575 w 1149871"/>
                    <a:gd name="connsiteY3" fmla="*/ 160916 h 1631057"/>
                    <a:gd name="connsiteX4" fmla="*/ 168275 w 1149871"/>
                    <a:gd name="connsiteY4" fmla="*/ 148216 h 1631057"/>
                    <a:gd name="connsiteX5" fmla="*/ 209550 w 1149871"/>
                    <a:gd name="connsiteY5" fmla="*/ 65666 h 1631057"/>
                    <a:gd name="connsiteX6" fmla="*/ 238125 w 1149871"/>
                    <a:gd name="connsiteY6" fmla="*/ 14866 h 1631057"/>
                    <a:gd name="connsiteX7" fmla="*/ 269875 w 1149871"/>
                    <a:gd name="connsiteY7" fmla="*/ 5341 h 1631057"/>
                    <a:gd name="connsiteX8" fmla="*/ 428625 w 1149871"/>
                    <a:gd name="connsiteY8" fmla="*/ 11691 h 1631057"/>
                    <a:gd name="connsiteX9" fmla="*/ 492125 w 1149871"/>
                    <a:gd name="connsiteY9" fmla="*/ 145041 h 1631057"/>
                    <a:gd name="connsiteX10" fmla="*/ 508000 w 1149871"/>
                    <a:gd name="connsiteY10" fmla="*/ 170441 h 1631057"/>
                    <a:gd name="connsiteX11" fmla="*/ 635000 w 1149871"/>
                    <a:gd name="connsiteY11" fmla="*/ 221241 h 1631057"/>
                    <a:gd name="connsiteX12" fmla="*/ 717550 w 1149871"/>
                    <a:gd name="connsiteY12" fmla="*/ 218066 h 1631057"/>
                    <a:gd name="connsiteX13" fmla="*/ 835818 w 1149871"/>
                    <a:gd name="connsiteY13" fmla="*/ 179172 h 1631057"/>
                    <a:gd name="connsiteX14" fmla="*/ 879475 w 1149871"/>
                    <a:gd name="connsiteY14" fmla="*/ 205366 h 1631057"/>
                    <a:gd name="connsiteX15" fmla="*/ 974725 w 1149871"/>
                    <a:gd name="connsiteY15" fmla="*/ 303791 h 1631057"/>
                    <a:gd name="connsiteX16" fmla="*/ 968375 w 1149871"/>
                    <a:gd name="connsiteY16" fmla="*/ 338716 h 1631057"/>
                    <a:gd name="connsiteX17" fmla="*/ 936625 w 1149871"/>
                    <a:gd name="connsiteY17" fmla="*/ 402216 h 1631057"/>
                    <a:gd name="connsiteX18" fmla="*/ 917575 w 1149871"/>
                    <a:gd name="connsiteY18" fmla="*/ 459366 h 1631057"/>
                    <a:gd name="connsiteX19" fmla="*/ 917575 w 1149871"/>
                    <a:gd name="connsiteY19" fmla="*/ 506991 h 1631057"/>
                    <a:gd name="connsiteX20" fmla="*/ 923925 w 1149871"/>
                    <a:gd name="connsiteY20" fmla="*/ 519691 h 1631057"/>
                    <a:gd name="connsiteX21" fmla="*/ 955675 w 1149871"/>
                    <a:gd name="connsiteY21" fmla="*/ 573666 h 1631057"/>
                    <a:gd name="connsiteX22" fmla="*/ 974725 w 1149871"/>
                    <a:gd name="connsiteY22" fmla="*/ 627641 h 1631057"/>
                    <a:gd name="connsiteX23" fmla="*/ 981075 w 1149871"/>
                    <a:gd name="connsiteY23" fmla="*/ 646691 h 1631057"/>
                    <a:gd name="connsiteX24" fmla="*/ 1041400 w 1149871"/>
                    <a:gd name="connsiteY24" fmla="*/ 665741 h 1631057"/>
                    <a:gd name="connsiteX25" fmla="*/ 1117600 w 1149871"/>
                    <a:gd name="connsiteY25" fmla="*/ 707016 h 1631057"/>
                    <a:gd name="connsiteX26" fmla="*/ 1148557 w 1149871"/>
                    <a:gd name="connsiteY26" fmla="*/ 715747 h 1631057"/>
                    <a:gd name="connsiteX27" fmla="*/ 1146175 w 1149871"/>
                    <a:gd name="connsiteY27" fmla="*/ 903866 h 1631057"/>
                    <a:gd name="connsiteX28" fmla="*/ 1127125 w 1149871"/>
                    <a:gd name="connsiteY28" fmla="*/ 913391 h 1631057"/>
                    <a:gd name="connsiteX29" fmla="*/ 996950 w 1149871"/>
                    <a:gd name="connsiteY29" fmla="*/ 983241 h 1631057"/>
                    <a:gd name="connsiteX30" fmla="*/ 977900 w 1149871"/>
                    <a:gd name="connsiteY30" fmla="*/ 989591 h 1631057"/>
                    <a:gd name="connsiteX31" fmla="*/ 968375 w 1149871"/>
                    <a:gd name="connsiteY31" fmla="*/ 1014991 h 1631057"/>
                    <a:gd name="connsiteX32" fmla="*/ 955675 w 1149871"/>
                    <a:gd name="connsiteY32" fmla="*/ 1065791 h 1631057"/>
                    <a:gd name="connsiteX33" fmla="*/ 923925 w 1149871"/>
                    <a:gd name="connsiteY33" fmla="*/ 1135641 h 1631057"/>
                    <a:gd name="connsiteX34" fmla="*/ 917575 w 1149871"/>
                    <a:gd name="connsiteY34" fmla="*/ 1145166 h 1631057"/>
                    <a:gd name="connsiteX35" fmla="*/ 946150 w 1149871"/>
                    <a:gd name="connsiteY35" fmla="*/ 1234066 h 1631057"/>
                    <a:gd name="connsiteX36" fmla="*/ 974725 w 1149871"/>
                    <a:gd name="connsiteY36" fmla="*/ 1291216 h 1631057"/>
                    <a:gd name="connsiteX37" fmla="*/ 967581 w 1149871"/>
                    <a:gd name="connsiteY37" fmla="*/ 1334078 h 1631057"/>
                    <a:gd name="connsiteX38" fmla="*/ 895350 w 1149871"/>
                    <a:gd name="connsiteY38" fmla="*/ 1427741 h 1631057"/>
                    <a:gd name="connsiteX39" fmla="*/ 844550 w 1149871"/>
                    <a:gd name="connsiteY39" fmla="*/ 1462666 h 1631057"/>
                    <a:gd name="connsiteX40" fmla="*/ 835025 w 1149871"/>
                    <a:gd name="connsiteY40" fmla="*/ 1465841 h 1631057"/>
                    <a:gd name="connsiteX41" fmla="*/ 815975 w 1149871"/>
                    <a:gd name="connsiteY41" fmla="*/ 1459491 h 1631057"/>
                    <a:gd name="connsiteX42" fmla="*/ 717550 w 1149871"/>
                    <a:gd name="connsiteY42" fmla="*/ 1424566 h 1631057"/>
                    <a:gd name="connsiteX43" fmla="*/ 657225 w 1149871"/>
                    <a:gd name="connsiteY43" fmla="*/ 1408691 h 1631057"/>
                    <a:gd name="connsiteX44" fmla="*/ 635000 w 1149871"/>
                    <a:gd name="connsiteY44" fmla="*/ 1411866 h 1631057"/>
                    <a:gd name="connsiteX45" fmla="*/ 501650 w 1149871"/>
                    <a:gd name="connsiteY45" fmla="*/ 1453141 h 1631057"/>
                    <a:gd name="connsiteX46" fmla="*/ 464344 w 1149871"/>
                    <a:gd name="connsiteY46" fmla="*/ 1522198 h 1631057"/>
                    <a:gd name="connsiteX47" fmla="*/ 425450 w 1149871"/>
                    <a:gd name="connsiteY47" fmla="*/ 1602366 h 1631057"/>
                    <a:gd name="connsiteX48" fmla="*/ 381794 w 1149871"/>
                    <a:gd name="connsiteY48" fmla="*/ 1623797 h 1631057"/>
                    <a:gd name="connsiteX49" fmla="*/ 250825 w 1149871"/>
                    <a:gd name="connsiteY49" fmla="*/ 1625385 h 1631057"/>
                    <a:gd name="connsiteX50" fmla="*/ 206375 w 1149871"/>
                    <a:gd name="connsiteY50" fmla="*/ 1599191 h 1631057"/>
                    <a:gd name="connsiteX51" fmla="*/ 149225 w 1149871"/>
                    <a:gd name="connsiteY51" fmla="*/ 1484891 h 1631057"/>
                    <a:gd name="connsiteX52" fmla="*/ 142875 w 1149871"/>
                    <a:gd name="connsiteY52" fmla="*/ 1469016 h 1631057"/>
                    <a:gd name="connsiteX53" fmla="*/ 41275 w 1149871"/>
                    <a:gd name="connsiteY53" fmla="*/ 1430916 h 1631057"/>
                    <a:gd name="connsiteX54" fmla="*/ 0 w 1149871"/>
                    <a:gd name="connsiteY54" fmla="*/ 1402341 h 1631057"/>
                    <a:gd name="connsiteX0" fmla="*/ 9525 w 1149871"/>
                    <a:gd name="connsiteY0" fmla="*/ 227591 h 1631057"/>
                    <a:gd name="connsiteX1" fmla="*/ 50800 w 1149871"/>
                    <a:gd name="connsiteY1" fmla="*/ 205366 h 1631057"/>
                    <a:gd name="connsiteX2" fmla="*/ 127000 w 1149871"/>
                    <a:gd name="connsiteY2" fmla="*/ 170441 h 1631057"/>
                    <a:gd name="connsiteX3" fmla="*/ 155575 w 1149871"/>
                    <a:gd name="connsiteY3" fmla="*/ 160916 h 1631057"/>
                    <a:gd name="connsiteX4" fmla="*/ 168275 w 1149871"/>
                    <a:gd name="connsiteY4" fmla="*/ 148216 h 1631057"/>
                    <a:gd name="connsiteX5" fmla="*/ 209550 w 1149871"/>
                    <a:gd name="connsiteY5" fmla="*/ 65666 h 1631057"/>
                    <a:gd name="connsiteX6" fmla="*/ 238125 w 1149871"/>
                    <a:gd name="connsiteY6" fmla="*/ 14866 h 1631057"/>
                    <a:gd name="connsiteX7" fmla="*/ 269875 w 1149871"/>
                    <a:gd name="connsiteY7" fmla="*/ 5341 h 1631057"/>
                    <a:gd name="connsiteX8" fmla="*/ 428625 w 1149871"/>
                    <a:gd name="connsiteY8" fmla="*/ 11691 h 1631057"/>
                    <a:gd name="connsiteX9" fmla="*/ 492125 w 1149871"/>
                    <a:gd name="connsiteY9" fmla="*/ 145041 h 1631057"/>
                    <a:gd name="connsiteX10" fmla="*/ 508000 w 1149871"/>
                    <a:gd name="connsiteY10" fmla="*/ 170441 h 1631057"/>
                    <a:gd name="connsiteX11" fmla="*/ 665956 w 1149871"/>
                    <a:gd name="connsiteY11" fmla="*/ 226004 h 1631057"/>
                    <a:gd name="connsiteX12" fmla="*/ 717550 w 1149871"/>
                    <a:gd name="connsiteY12" fmla="*/ 218066 h 1631057"/>
                    <a:gd name="connsiteX13" fmla="*/ 835818 w 1149871"/>
                    <a:gd name="connsiteY13" fmla="*/ 179172 h 1631057"/>
                    <a:gd name="connsiteX14" fmla="*/ 879475 w 1149871"/>
                    <a:gd name="connsiteY14" fmla="*/ 205366 h 1631057"/>
                    <a:gd name="connsiteX15" fmla="*/ 974725 w 1149871"/>
                    <a:gd name="connsiteY15" fmla="*/ 303791 h 1631057"/>
                    <a:gd name="connsiteX16" fmla="*/ 968375 w 1149871"/>
                    <a:gd name="connsiteY16" fmla="*/ 338716 h 1631057"/>
                    <a:gd name="connsiteX17" fmla="*/ 936625 w 1149871"/>
                    <a:gd name="connsiteY17" fmla="*/ 402216 h 1631057"/>
                    <a:gd name="connsiteX18" fmla="*/ 917575 w 1149871"/>
                    <a:gd name="connsiteY18" fmla="*/ 459366 h 1631057"/>
                    <a:gd name="connsiteX19" fmla="*/ 917575 w 1149871"/>
                    <a:gd name="connsiteY19" fmla="*/ 506991 h 1631057"/>
                    <a:gd name="connsiteX20" fmla="*/ 923925 w 1149871"/>
                    <a:gd name="connsiteY20" fmla="*/ 519691 h 1631057"/>
                    <a:gd name="connsiteX21" fmla="*/ 955675 w 1149871"/>
                    <a:gd name="connsiteY21" fmla="*/ 573666 h 1631057"/>
                    <a:gd name="connsiteX22" fmla="*/ 974725 w 1149871"/>
                    <a:gd name="connsiteY22" fmla="*/ 627641 h 1631057"/>
                    <a:gd name="connsiteX23" fmla="*/ 981075 w 1149871"/>
                    <a:gd name="connsiteY23" fmla="*/ 646691 h 1631057"/>
                    <a:gd name="connsiteX24" fmla="*/ 1041400 w 1149871"/>
                    <a:gd name="connsiteY24" fmla="*/ 665741 h 1631057"/>
                    <a:gd name="connsiteX25" fmla="*/ 1117600 w 1149871"/>
                    <a:gd name="connsiteY25" fmla="*/ 707016 h 1631057"/>
                    <a:gd name="connsiteX26" fmla="*/ 1148557 w 1149871"/>
                    <a:gd name="connsiteY26" fmla="*/ 715747 h 1631057"/>
                    <a:gd name="connsiteX27" fmla="*/ 1146175 w 1149871"/>
                    <a:gd name="connsiteY27" fmla="*/ 903866 h 1631057"/>
                    <a:gd name="connsiteX28" fmla="*/ 1127125 w 1149871"/>
                    <a:gd name="connsiteY28" fmla="*/ 913391 h 1631057"/>
                    <a:gd name="connsiteX29" fmla="*/ 996950 w 1149871"/>
                    <a:gd name="connsiteY29" fmla="*/ 983241 h 1631057"/>
                    <a:gd name="connsiteX30" fmla="*/ 977900 w 1149871"/>
                    <a:gd name="connsiteY30" fmla="*/ 989591 h 1631057"/>
                    <a:gd name="connsiteX31" fmla="*/ 968375 w 1149871"/>
                    <a:gd name="connsiteY31" fmla="*/ 1014991 h 1631057"/>
                    <a:gd name="connsiteX32" fmla="*/ 955675 w 1149871"/>
                    <a:gd name="connsiteY32" fmla="*/ 1065791 h 1631057"/>
                    <a:gd name="connsiteX33" fmla="*/ 923925 w 1149871"/>
                    <a:gd name="connsiteY33" fmla="*/ 1135641 h 1631057"/>
                    <a:gd name="connsiteX34" fmla="*/ 917575 w 1149871"/>
                    <a:gd name="connsiteY34" fmla="*/ 1145166 h 1631057"/>
                    <a:gd name="connsiteX35" fmla="*/ 946150 w 1149871"/>
                    <a:gd name="connsiteY35" fmla="*/ 1234066 h 1631057"/>
                    <a:gd name="connsiteX36" fmla="*/ 974725 w 1149871"/>
                    <a:gd name="connsiteY36" fmla="*/ 1291216 h 1631057"/>
                    <a:gd name="connsiteX37" fmla="*/ 967581 w 1149871"/>
                    <a:gd name="connsiteY37" fmla="*/ 1334078 h 1631057"/>
                    <a:gd name="connsiteX38" fmla="*/ 895350 w 1149871"/>
                    <a:gd name="connsiteY38" fmla="*/ 1427741 h 1631057"/>
                    <a:gd name="connsiteX39" fmla="*/ 844550 w 1149871"/>
                    <a:gd name="connsiteY39" fmla="*/ 1462666 h 1631057"/>
                    <a:gd name="connsiteX40" fmla="*/ 835025 w 1149871"/>
                    <a:gd name="connsiteY40" fmla="*/ 1465841 h 1631057"/>
                    <a:gd name="connsiteX41" fmla="*/ 815975 w 1149871"/>
                    <a:gd name="connsiteY41" fmla="*/ 1459491 h 1631057"/>
                    <a:gd name="connsiteX42" fmla="*/ 717550 w 1149871"/>
                    <a:gd name="connsiteY42" fmla="*/ 1424566 h 1631057"/>
                    <a:gd name="connsiteX43" fmla="*/ 657225 w 1149871"/>
                    <a:gd name="connsiteY43" fmla="*/ 1408691 h 1631057"/>
                    <a:gd name="connsiteX44" fmla="*/ 635000 w 1149871"/>
                    <a:gd name="connsiteY44" fmla="*/ 1411866 h 1631057"/>
                    <a:gd name="connsiteX45" fmla="*/ 501650 w 1149871"/>
                    <a:gd name="connsiteY45" fmla="*/ 1453141 h 1631057"/>
                    <a:gd name="connsiteX46" fmla="*/ 464344 w 1149871"/>
                    <a:gd name="connsiteY46" fmla="*/ 1522198 h 1631057"/>
                    <a:gd name="connsiteX47" fmla="*/ 425450 w 1149871"/>
                    <a:gd name="connsiteY47" fmla="*/ 1602366 h 1631057"/>
                    <a:gd name="connsiteX48" fmla="*/ 381794 w 1149871"/>
                    <a:gd name="connsiteY48" fmla="*/ 1623797 h 1631057"/>
                    <a:gd name="connsiteX49" fmla="*/ 250825 w 1149871"/>
                    <a:gd name="connsiteY49" fmla="*/ 1625385 h 1631057"/>
                    <a:gd name="connsiteX50" fmla="*/ 206375 w 1149871"/>
                    <a:gd name="connsiteY50" fmla="*/ 1599191 h 1631057"/>
                    <a:gd name="connsiteX51" fmla="*/ 149225 w 1149871"/>
                    <a:gd name="connsiteY51" fmla="*/ 1484891 h 1631057"/>
                    <a:gd name="connsiteX52" fmla="*/ 142875 w 1149871"/>
                    <a:gd name="connsiteY52" fmla="*/ 1469016 h 1631057"/>
                    <a:gd name="connsiteX53" fmla="*/ 41275 w 1149871"/>
                    <a:gd name="connsiteY53" fmla="*/ 1430916 h 1631057"/>
                    <a:gd name="connsiteX54" fmla="*/ 0 w 1149871"/>
                    <a:gd name="connsiteY54" fmla="*/ 1402341 h 1631057"/>
                    <a:gd name="connsiteX0" fmla="*/ 9525 w 1149871"/>
                    <a:gd name="connsiteY0" fmla="*/ 227591 h 1631057"/>
                    <a:gd name="connsiteX1" fmla="*/ 50800 w 1149871"/>
                    <a:gd name="connsiteY1" fmla="*/ 205366 h 1631057"/>
                    <a:gd name="connsiteX2" fmla="*/ 127000 w 1149871"/>
                    <a:gd name="connsiteY2" fmla="*/ 170441 h 1631057"/>
                    <a:gd name="connsiteX3" fmla="*/ 155575 w 1149871"/>
                    <a:gd name="connsiteY3" fmla="*/ 160916 h 1631057"/>
                    <a:gd name="connsiteX4" fmla="*/ 168275 w 1149871"/>
                    <a:gd name="connsiteY4" fmla="*/ 148216 h 1631057"/>
                    <a:gd name="connsiteX5" fmla="*/ 209550 w 1149871"/>
                    <a:gd name="connsiteY5" fmla="*/ 65666 h 1631057"/>
                    <a:gd name="connsiteX6" fmla="*/ 238125 w 1149871"/>
                    <a:gd name="connsiteY6" fmla="*/ 14866 h 1631057"/>
                    <a:gd name="connsiteX7" fmla="*/ 269875 w 1149871"/>
                    <a:gd name="connsiteY7" fmla="*/ 5341 h 1631057"/>
                    <a:gd name="connsiteX8" fmla="*/ 428625 w 1149871"/>
                    <a:gd name="connsiteY8" fmla="*/ 11691 h 1631057"/>
                    <a:gd name="connsiteX9" fmla="*/ 492125 w 1149871"/>
                    <a:gd name="connsiteY9" fmla="*/ 145041 h 1631057"/>
                    <a:gd name="connsiteX10" fmla="*/ 508000 w 1149871"/>
                    <a:gd name="connsiteY10" fmla="*/ 170441 h 1631057"/>
                    <a:gd name="connsiteX11" fmla="*/ 665956 w 1149871"/>
                    <a:gd name="connsiteY11" fmla="*/ 226004 h 1631057"/>
                    <a:gd name="connsiteX12" fmla="*/ 717550 w 1149871"/>
                    <a:gd name="connsiteY12" fmla="*/ 218066 h 1631057"/>
                    <a:gd name="connsiteX13" fmla="*/ 835818 w 1149871"/>
                    <a:gd name="connsiteY13" fmla="*/ 179172 h 1631057"/>
                    <a:gd name="connsiteX14" fmla="*/ 879475 w 1149871"/>
                    <a:gd name="connsiteY14" fmla="*/ 205366 h 1631057"/>
                    <a:gd name="connsiteX15" fmla="*/ 974725 w 1149871"/>
                    <a:gd name="connsiteY15" fmla="*/ 303791 h 1631057"/>
                    <a:gd name="connsiteX16" fmla="*/ 968375 w 1149871"/>
                    <a:gd name="connsiteY16" fmla="*/ 338716 h 1631057"/>
                    <a:gd name="connsiteX17" fmla="*/ 936625 w 1149871"/>
                    <a:gd name="connsiteY17" fmla="*/ 402216 h 1631057"/>
                    <a:gd name="connsiteX18" fmla="*/ 917575 w 1149871"/>
                    <a:gd name="connsiteY18" fmla="*/ 459366 h 1631057"/>
                    <a:gd name="connsiteX19" fmla="*/ 917575 w 1149871"/>
                    <a:gd name="connsiteY19" fmla="*/ 506991 h 1631057"/>
                    <a:gd name="connsiteX20" fmla="*/ 923925 w 1149871"/>
                    <a:gd name="connsiteY20" fmla="*/ 519691 h 1631057"/>
                    <a:gd name="connsiteX21" fmla="*/ 955675 w 1149871"/>
                    <a:gd name="connsiteY21" fmla="*/ 573666 h 1631057"/>
                    <a:gd name="connsiteX22" fmla="*/ 974725 w 1149871"/>
                    <a:gd name="connsiteY22" fmla="*/ 627641 h 1631057"/>
                    <a:gd name="connsiteX23" fmla="*/ 981075 w 1149871"/>
                    <a:gd name="connsiteY23" fmla="*/ 646691 h 1631057"/>
                    <a:gd name="connsiteX24" fmla="*/ 1041400 w 1149871"/>
                    <a:gd name="connsiteY24" fmla="*/ 665741 h 1631057"/>
                    <a:gd name="connsiteX25" fmla="*/ 1117600 w 1149871"/>
                    <a:gd name="connsiteY25" fmla="*/ 707016 h 1631057"/>
                    <a:gd name="connsiteX26" fmla="*/ 1148557 w 1149871"/>
                    <a:gd name="connsiteY26" fmla="*/ 715747 h 1631057"/>
                    <a:gd name="connsiteX27" fmla="*/ 1146175 w 1149871"/>
                    <a:gd name="connsiteY27" fmla="*/ 903866 h 1631057"/>
                    <a:gd name="connsiteX28" fmla="*/ 1127125 w 1149871"/>
                    <a:gd name="connsiteY28" fmla="*/ 913391 h 1631057"/>
                    <a:gd name="connsiteX29" fmla="*/ 996950 w 1149871"/>
                    <a:gd name="connsiteY29" fmla="*/ 983241 h 1631057"/>
                    <a:gd name="connsiteX30" fmla="*/ 977900 w 1149871"/>
                    <a:gd name="connsiteY30" fmla="*/ 989591 h 1631057"/>
                    <a:gd name="connsiteX31" fmla="*/ 968375 w 1149871"/>
                    <a:gd name="connsiteY31" fmla="*/ 1014991 h 1631057"/>
                    <a:gd name="connsiteX32" fmla="*/ 955675 w 1149871"/>
                    <a:gd name="connsiteY32" fmla="*/ 1065791 h 1631057"/>
                    <a:gd name="connsiteX33" fmla="*/ 923925 w 1149871"/>
                    <a:gd name="connsiteY33" fmla="*/ 1135641 h 1631057"/>
                    <a:gd name="connsiteX34" fmla="*/ 917575 w 1149871"/>
                    <a:gd name="connsiteY34" fmla="*/ 1145166 h 1631057"/>
                    <a:gd name="connsiteX35" fmla="*/ 946150 w 1149871"/>
                    <a:gd name="connsiteY35" fmla="*/ 1234066 h 1631057"/>
                    <a:gd name="connsiteX36" fmla="*/ 974725 w 1149871"/>
                    <a:gd name="connsiteY36" fmla="*/ 1291216 h 1631057"/>
                    <a:gd name="connsiteX37" fmla="*/ 967581 w 1149871"/>
                    <a:gd name="connsiteY37" fmla="*/ 1334078 h 1631057"/>
                    <a:gd name="connsiteX38" fmla="*/ 895350 w 1149871"/>
                    <a:gd name="connsiteY38" fmla="*/ 1427741 h 1631057"/>
                    <a:gd name="connsiteX39" fmla="*/ 844550 w 1149871"/>
                    <a:gd name="connsiteY39" fmla="*/ 1462666 h 1631057"/>
                    <a:gd name="connsiteX40" fmla="*/ 835025 w 1149871"/>
                    <a:gd name="connsiteY40" fmla="*/ 1465841 h 1631057"/>
                    <a:gd name="connsiteX41" fmla="*/ 815975 w 1149871"/>
                    <a:gd name="connsiteY41" fmla="*/ 1459491 h 1631057"/>
                    <a:gd name="connsiteX42" fmla="*/ 717550 w 1149871"/>
                    <a:gd name="connsiteY42" fmla="*/ 1424566 h 1631057"/>
                    <a:gd name="connsiteX43" fmla="*/ 657225 w 1149871"/>
                    <a:gd name="connsiteY43" fmla="*/ 1408691 h 1631057"/>
                    <a:gd name="connsiteX44" fmla="*/ 635000 w 1149871"/>
                    <a:gd name="connsiteY44" fmla="*/ 1411866 h 1631057"/>
                    <a:gd name="connsiteX45" fmla="*/ 501650 w 1149871"/>
                    <a:gd name="connsiteY45" fmla="*/ 1453141 h 1631057"/>
                    <a:gd name="connsiteX46" fmla="*/ 464344 w 1149871"/>
                    <a:gd name="connsiteY46" fmla="*/ 1522198 h 1631057"/>
                    <a:gd name="connsiteX47" fmla="*/ 425450 w 1149871"/>
                    <a:gd name="connsiteY47" fmla="*/ 1602366 h 1631057"/>
                    <a:gd name="connsiteX48" fmla="*/ 381794 w 1149871"/>
                    <a:gd name="connsiteY48" fmla="*/ 1623797 h 1631057"/>
                    <a:gd name="connsiteX49" fmla="*/ 250825 w 1149871"/>
                    <a:gd name="connsiteY49" fmla="*/ 1625385 h 1631057"/>
                    <a:gd name="connsiteX50" fmla="*/ 206375 w 1149871"/>
                    <a:gd name="connsiteY50" fmla="*/ 1599191 h 1631057"/>
                    <a:gd name="connsiteX51" fmla="*/ 149225 w 1149871"/>
                    <a:gd name="connsiteY51" fmla="*/ 1484891 h 1631057"/>
                    <a:gd name="connsiteX52" fmla="*/ 142875 w 1149871"/>
                    <a:gd name="connsiteY52" fmla="*/ 1469016 h 1631057"/>
                    <a:gd name="connsiteX53" fmla="*/ 41275 w 1149871"/>
                    <a:gd name="connsiteY53" fmla="*/ 1430916 h 1631057"/>
                    <a:gd name="connsiteX54" fmla="*/ 0 w 1149871"/>
                    <a:gd name="connsiteY54" fmla="*/ 1402341 h 1631057"/>
                    <a:gd name="connsiteX0" fmla="*/ 9525 w 1149871"/>
                    <a:gd name="connsiteY0" fmla="*/ 227591 h 1631057"/>
                    <a:gd name="connsiteX1" fmla="*/ 50800 w 1149871"/>
                    <a:gd name="connsiteY1" fmla="*/ 205366 h 1631057"/>
                    <a:gd name="connsiteX2" fmla="*/ 155575 w 1149871"/>
                    <a:gd name="connsiteY2" fmla="*/ 160916 h 1631057"/>
                    <a:gd name="connsiteX3" fmla="*/ 168275 w 1149871"/>
                    <a:gd name="connsiteY3" fmla="*/ 148216 h 1631057"/>
                    <a:gd name="connsiteX4" fmla="*/ 209550 w 1149871"/>
                    <a:gd name="connsiteY4" fmla="*/ 65666 h 1631057"/>
                    <a:gd name="connsiteX5" fmla="*/ 238125 w 1149871"/>
                    <a:gd name="connsiteY5" fmla="*/ 14866 h 1631057"/>
                    <a:gd name="connsiteX6" fmla="*/ 269875 w 1149871"/>
                    <a:gd name="connsiteY6" fmla="*/ 5341 h 1631057"/>
                    <a:gd name="connsiteX7" fmla="*/ 428625 w 1149871"/>
                    <a:gd name="connsiteY7" fmla="*/ 11691 h 1631057"/>
                    <a:gd name="connsiteX8" fmla="*/ 492125 w 1149871"/>
                    <a:gd name="connsiteY8" fmla="*/ 145041 h 1631057"/>
                    <a:gd name="connsiteX9" fmla="*/ 508000 w 1149871"/>
                    <a:gd name="connsiteY9" fmla="*/ 170441 h 1631057"/>
                    <a:gd name="connsiteX10" fmla="*/ 665956 w 1149871"/>
                    <a:gd name="connsiteY10" fmla="*/ 226004 h 1631057"/>
                    <a:gd name="connsiteX11" fmla="*/ 717550 w 1149871"/>
                    <a:gd name="connsiteY11" fmla="*/ 218066 h 1631057"/>
                    <a:gd name="connsiteX12" fmla="*/ 835818 w 1149871"/>
                    <a:gd name="connsiteY12" fmla="*/ 179172 h 1631057"/>
                    <a:gd name="connsiteX13" fmla="*/ 879475 w 1149871"/>
                    <a:gd name="connsiteY13" fmla="*/ 205366 h 1631057"/>
                    <a:gd name="connsiteX14" fmla="*/ 974725 w 1149871"/>
                    <a:gd name="connsiteY14" fmla="*/ 303791 h 1631057"/>
                    <a:gd name="connsiteX15" fmla="*/ 968375 w 1149871"/>
                    <a:gd name="connsiteY15" fmla="*/ 338716 h 1631057"/>
                    <a:gd name="connsiteX16" fmla="*/ 936625 w 1149871"/>
                    <a:gd name="connsiteY16" fmla="*/ 402216 h 1631057"/>
                    <a:gd name="connsiteX17" fmla="*/ 917575 w 1149871"/>
                    <a:gd name="connsiteY17" fmla="*/ 459366 h 1631057"/>
                    <a:gd name="connsiteX18" fmla="*/ 917575 w 1149871"/>
                    <a:gd name="connsiteY18" fmla="*/ 506991 h 1631057"/>
                    <a:gd name="connsiteX19" fmla="*/ 923925 w 1149871"/>
                    <a:gd name="connsiteY19" fmla="*/ 519691 h 1631057"/>
                    <a:gd name="connsiteX20" fmla="*/ 955675 w 1149871"/>
                    <a:gd name="connsiteY20" fmla="*/ 573666 h 1631057"/>
                    <a:gd name="connsiteX21" fmla="*/ 974725 w 1149871"/>
                    <a:gd name="connsiteY21" fmla="*/ 627641 h 1631057"/>
                    <a:gd name="connsiteX22" fmla="*/ 981075 w 1149871"/>
                    <a:gd name="connsiteY22" fmla="*/ 646691 h 1631057"/>
                    <a:gd name="connsiteX23" fmla="*/ 1041400 w 1149871"/>
                    <a:gd name="connsiteY23" fmla="*/ 665741 h 1631057"/>
                    <a:gd name="connsiteX24" fmla="*/ 1117600 w 1149871"/>
                    <a:gd name="connsiteY24" fmla="*/ 707016 h 1631057"/>
                    <a:gd name="connsiteX25" fmla="*/ 1148557 w 1149871"/>
                    <a:gd name="connsiteY25" fmla="*/ 715747 h 1631057"/>
                    <a:gd name="connsiteX26" fmla="*/ 1146175 w 1149871"/>
                    <a:gd name="connsiteY26" fmla="*/ 903866 h 1631057"/>
                    <a:gd name="connsiteX27" fmla="*/ 1127125 w 1149871"/>
                    <a:gd name="connsiteY27" fmla="*/ 913391 h 1631057"/>
                    <a:gd name="connsiteX28" fmla="*/ 996950 w 1149871"/>
                    <a:gd name="connsiteY28" fmla="*/ 983241 h 1631057"/>
                    <a:gd name="connsiteX29" fmla="*/ 977900 w 1149871"/>
                    <a:gd name="connsiteY29" fmla="*/ 989591 h 1631057"/>
                    <a:gd name="connsiteX30" fmla="*/ 968375 w 1149871"/>
                    <a:gd name="connsiteY30" fmla="*/ 1014991 h 1631057"/>
                    <a:gd name="connsiteX31" fmla="*/ 955675 w 1149871"/>
                    <a:gd name="connsiteY31" fmla="*/ 1065791 h 1631057"/>
                    <a:gd name="connsiteX32" fmla="*/ 923925 w 1149871"/>
                    <a:gd name="connsiteY32" fmla="*/ 1135641 h 1631057"/>
                    <a:gd name="connsiteX33" fmla="*/ 917575 w 1149871"/>
                    <a:gd name="connsiteY33" fmla="*/ 1145166 h 1631057"/>
                    <a:gd name="connsiteX34" fmla="*/ 946150 w 1149871"/>
                    <a:gd name="connsiteY34" fmla="*/ 1234066 h 1631057"/>
                    <a:gd name="connsiteX35" fmla="*/ 974725 w 1149871"/>
                    <a:gd name="connsiteY35" fmla="*/ 1291216 h 1631057"/>
                    <a:gd name="connsiteX36" fmla="*/ 967581 w 1149871"/>
                    <a:gd name="connsiteY36" fmla="*/ 1334078 h 1631057"/>
                    <a:gd name="connsiteX37" fmla="*/ 895350 w 1149871"/>
                    <a:gd name="connsiteY37" fmla="*/ 1427741 h 1631057"/>
                    <a:gd name="connsiteX38" fmla="*/ 844550 w 1149871"/>
                    <a:gd name="connsiteY38" fmla="*/ 1462666 h 1631057"/>
                    <a:gd name="connsiteX39" fmla="*/ 835025 w 1149871"/>
                    <a:gd name="connsiteY39" fmla="*/ 1465841 h 1631057"/>
                    <a:gd name="connsiteX40" fmla="*/ 815975 w 1149871"/>
                    <a:gd name="connsiteY40" fmla="*/ 1459491 h 1631057"/>
                    <a:gd name="connsiteX41" fmla="*/ 717550 w 1149871"/>
                    <a:gd name="connsiteY41" fmla="*/ 1424566 h 1631057"/>
                    <a:gd name="connsiteX42" fmla="*/ 657225 w 1149871"/>
                    <a:gd name="connsiteY42" fmla="*/ 1408691 h 1631057"/>
                    <a:gd name="connsiteX43" fmla="*/ 635000 w 1149871"/>
                    <a:gd name="connsiteY43" fmla="*/ 1411866 h 1631057"/>
                    <a:gd name="connsiteX44" fmla="*/ 501650 w 1149871"/>
                    <a:gd name="connsiteY44" fmla="*/ 1453141 h 1631057"/>
                    <a:gd name="connsiteX45" fmla="*/ 464344 w 1149871"/>
                    <a:gd name="connsiteY45" fmla="*/ 1522198 h 1631057"/>
                    <a:gd name="connsiteX46" fmla="*/ 425450 w 1149871"/>
                    <a:gd name="connsiteY46" fmla="*/ 1602366 h 1631057"/>
                    <a:gd name="connsiteX47" fmla="*/ 381794 w 1149871"/>
                    <a:gd name="connsiteY47" fmla="*/ 1623797 h 1631057"/>
                    <a:gd name="connsiteX48" fmla="*/ 250825 w 1149871"/>
                    <a:gd name="connsiteY48" fmla="*/ 1625385 h 1631057"/>
                    <a:gd name="connsiteX49" fmla="*/ 206375 w 1149871"/>
                    <a:gd name="connsiteY49" fmla="*/ 1599191 h 1631057"/>
                    <a:gd name="connsiteX50" fmla="*/ 149225 w 1149871"/>
                    <a:gd name="connsiteY50" fmla="*/ 1484891 h 1631057"/>
                    <a:gd name="connsiteX51" fmla="*/ 142875 w 1149871"/>
                    <a:gd name="connsiteY51" fmla="*/ 1469016 h 1631057"/>
                    <a:gd name="connsiteX52" fmla="*/ 41275 w 1149871"/>
                    <a:gd name="connsiteY52" fmla="*/ 1430916 h 1631057"/>
                    <a:gd name="connsiteX53" fmla="*/ 0 w 1149871"/>
                    <a:gd name="connsiteY53" fmla="*/ 1402341 h 1631057"/>
                    <a:gd name="connsiteX0" fmla="*/ 9525 w 1149871"/>
                    <a:gd name="connsiteY0" fmla="*/ 227591 h 1631057"/>
                    <a:gd name="connsiteX1" fmla="*/ 155575 w 1149871"/>
                    <a:gd name="connsiteY1" fmla="*/ 160916 h 1631057"/>
                    <a:gd name="connsiteX2" fmla="*/ 168275 w 1149871"/>
                    <a:gd name="connsiteY2" fmla="*/ 148216 h 1631057"/>
                    <a:gd name="connsiteX3" fmla="*/ 209550 w 1149871"/>
                    <a:gd name="connsiteY3" fmla="*/ 65666 h 1631057"/>
                    <a:gd name="connsiteX4" fmla="*/ 238125 w 1149871"/>
                    <a:gd name="connsiteY4" fmla="*/ 14866 h 1631057"/>
                    <a:gd name="connsiteX5" fmla="*/ 269875 w 1149871"/>
                    <a:gd name="connsiteY5" fmla="*/ 5341 h 1631057"/>
                    <a:gd name="connsiteX6" fmla="*/ 428625 w 1149871"/>
                    <a:gd name="connsiteY6" fmla="*/ 11691 h 1631057"/>
                    <a:gd name="connsiteX7" fmla="*/ 492125 w 1149871"/>
                    <a:gd name="connsiteY7" fmla="*/ 145041 h 1631057"/>
                    <a:gd name="connsiteX8" fmla="*/ 508000 w 1149871"/>
                    <a:gd name="connsiteY8" fmla="*/ 170441 h 1631057"/>
                    <a:gd name="connsiteX9" fmla="*/ 665956 w 1149871"/>
                    <a:gd name="connsiteY9" fmla="*/ 226004 h 1631057"/>
                    <a:gd name="connsiteX10" fmla="*/ 717550 w 1149871"/>
                    <a:gd name="connsiteY10" fmla="*/ 218066 h 1631057"/>
                    <a:gd name="connsiteX11" fmla="*/ 835818 w 1149871"/>
                    <a:gd name="connsiteY11" fmla="*/ 179172 h 1631057"/>
                    <a:gd name="connsiteX12" fmla="*/ 879475 w 1149871"/>
                    <a:gd name="connsiteY12" fmla="*/ 205366 h 1631057"/>
                    <a:gd name="connsiteX13" fmla="*/ 974725 w 1149871"/>
                    <a:gd name="connsiteY13" fmla="*/ 303791 h 1631057"/>
                    <a:gd name="connsiteX14" fmla="*/ 968375 w 1149871"/>
                    <a:gd name="connsiteY14" fmla="*/ 338716 h 1631057"/>
                    <a:gd name="connsiteX15" fmla="*/ 936625 w 1149871"/>
                    <a:gd name="connsiteY15" fmla="*/ 402216 h 1631057"/>
                    <a:gd name="connsiteX16" fmla="*/ 917575 w 1149871"/>
                    <a:gd name="connsiteY16" fmla="*/ 459366 h 1631057"/>
                    <a:gd name="connsiteX17" fmla="*/ 917575 w 1149871"/>
                    <a:gd name="connsiteY17" fmla="*/ 506991 h 1631057"/>
                    <a:gd name="connsiteX18" fmla="*/ 923925 w 1149871"/>
                    <a:gd name="connsiteY18" fmla="*/ 519691 h 1631057"/>
                    <a:gd name="connsiteX19" fmla="*/ 955675 w 1149871"/>
                    <a:gd name="connsiteY19" fmla="*/ 573666 h 1631057"/>
                    <a:gd name="connsiteX20" fmla="*/ 974725 w 1149871"/>
                    <a:gd name="connsiteY20" fmla="*/ 627641 h 1631057"/>
                    <a:gd name="connsiteX21" fmla="*/ 981075 w 1149871"/>
                    <a:gd name="connsiteY21" fmla="*/ 646691 h 1631057"/>
                    <a:gd name="connsiteX22" fmla="*/ 1041400 w 1149871"/>
                    <a:gd name="connsiteY22" fmla="*/ 665741 h 1631057"/>
                    <a:gd name="connsiteX23" fmla="*/ 1117600 w 1149871"/>
                    <a:gd name="connsiteY23" fmla="*/ 707016 h 1631057"/>
                    <a:gd name="connsiteX24" fmla="*/ 1148557 w 1149871"/>
                    <a:gd name="connsiteY24" fmla="*/ 715747 h 1631057"/>
                    <a:gd name="connsiteX25" fmla="*/ 1146175 w 1149871"/>
                    <a:gd name="connsiteY25" fmla="*/ 903866 h 1631057"/>
                    <a:gd name="connsiteX26" fmla="*/ 1127125 w 1149871"/>
                    <a:gd name="connsiteY26" fmla="*/ 913391 h 1631057"/>
                    <a:gd name="connsiteX27" fmla="*/ 996950 w 1149871"/>
                    <a:gd name="connsiteY27" fmla="*/ 983241 h 1631057"/>
                    <a:gd name="connsiteX28" fmla="*/ 977900 w 1149871"/>
                    <a:gd name="connsiteY28" fmla="*/ 989591 h 1631057"/>
                    <a:gd name="connsiteX29" fmla="*/ 968375 w 1149871"/>
                    <a:gd name="connsiteY29" fmla="*/ 1014991 h 1631057"/>
                    <a:gd name="connsiteX30" fmla="*/ 955675 w 1149871"/>
                    <a:gd name="connsiteY30" fmla="*/ 1065791 h 1631057"/>
                    <a:gd name="connsiteX31" fmla="*/ 923925 w 1149871"/>
                    <a:gd name="connsiteY31" fmla="*/ 1135641 h 1631057"/>
                    <a:gd name="connsiteX32" fmla="*/ 917575 w 1149871"/>
                    <a:gd name="connsiteY32" fmla="*/ 1145166 h 1631057"/>
                    <a:gd name="connsiteX33" fmla="*/ 946150 w 1149871"/>
                    <a:gd name="connsiteY33" fmla="*/ 1234066 h 1631057"/>
                    <a:gd name="connsiteX34" fmla="*/ 974725 w 1149871"/>
                    <a:gd name="connsiteY34" fmla="*/ 1291216 h 1631057"/>
                    <a:gd name="connsiteX35" fmla="*/ 967581 w 1149871"/>
                    <a:gd name="connsiteY35" fmla="*/ 1334078 h 1631057"/>
                    <a:gd name="connsiteX36" fmla="*/ 895350 w 1149871"/>
                    <a:gd name="connsiteY36" fmla="*/ 1427741 h 1631057"/>
                    <a:gd name="connsiteX37" fmla="*/ 844550 w 1149871"/>
                    <a:gd name="connsiteY37" fmla="*/ 1462666 h 1631057"/>
                    <a:gd name="connsiteX38" fmla="*/ 835025 w 1149871"/>
                    <a:gd name="connsiteY38" fmla="*/ 1465841 h 1631057"/>
                    <a:gd name="connsiteX39" fmla="*/ 815975 w 1149871"/>
                    <a:gd name="connsiteY39" fmla="*/ 1459491 h 1631057"/>
                    <a:gd name="connsiteX40" fmla="*/ 717550 w 1149871"/>
                    <a:gd name="connsiteY40" fmla="*/ 1424566 h 1631057"/>
                    <a:gd name="connsiteX41" fmla="*/ 657225 w 1149871"/>
                    <a:gd name="connsiteY41" fmla="*/ 1408691 h 1631057"/>
                    <a:gd name="connsiteX42" fmla="*/ 635000 w 1149871"/>
                    <a:gd name="connsiteY42" fmla="*/ 1411866 h 1631057"/>
                    <a:gd name="connsiteX43" fmla="*/ 501650 w 1149871"/>
                    <a:gd name="connsiteY43" fmla="*/ 1453141 h 1631057"/>
                    <a:gd name="connsiteX44" fmla="*/ 464344 w 1149871"/>
                    <a:gd name="connsiteY44" fmla="*/ 1522198 h 1631057"/>
                    <a:gd name="connsiteX45" fmla="*/ 425450 w 1149871"/>
                    <a:gd name="connsiteY45" fmla="*/ 1602366 h 1631057"/>
                    <a:gd name="connsiteX46" fmla="*/ 381794 w 1149871"/>
                    <a:gd name="connsiteY46" fmla="*/ 1623797 h 1631057"/>
                    <a:gd name="connsiteX47" fmla="*/ 250825 w 1149871"/>
                    <a:gd name="connsiteY47" fmla="*/ 1625385 h 1631057"/>
                    <a:gd name="connsiteX48" fmla="*/ 206375 w 1149871"/>
                    <a:gd name="connsiteY48" fmla="*/ 1599191 h 1631057"/>
                    <a:gd name="connsiteX49" fmla="*/ 149225 w 1149871"/>
                    <a:gd name="connsiteY49" fmla="*/ 1484891 h 1631057"/>
                    <a:gd name="connsiteX50" fmla="*/ 142875 w 1149871"/>
                    <a:gd name="connsiteY50" fmla="*/ 1469016 h 1631057"/>
                    <a:gd name="connsiteX51" fmla="*/ 41275 w 1149871"/>
                    <a:gd name="connsiteY51" fmla="*/ 1430916 h 1631057"/>
                    <a:gd name="connsiteX52" fmla="*/ 0 w 1149871"/>
                    <a:gd name="connsiteY52" fmla="*/ 1402341 h 1631057"/>
                    <a:gd name="connsiteX0" fmla="*/ 9525 w 1149871"/>
                    <a:gd name="connsiteY0" fmla="*/ 227591 h 1631057"/>
                    <a:gd name="connsiteX1" fmla="*/ 155575 w 1149871"/>
                    <a:gd name="connsiteY1" fmla="*/ 160916 h 1631057"/>
                    <a:gd name="connsiteX2" fmla="*/ 168275 w 1149871"/>
                    <a:gd name="connsiteY2" fmla="*/ 148216 h 1631057"/>
                    <a:gd name="connsiteX3" fmla="*/ 209550 w 1149871"/>
                    <a:gd name="connsiteY3" fmla="*/ 65666 h 1631057"/>
                    <a:gd name="connsiteX4" fmla="*/ 238125 w 1149871"/>
                    <a:gd name="connsiteY4" fmla="*/ 14866 h 1631057"/>
                    <a:gd name="connsiteX5" fmla="*/ 269875 w 1149871"/>
                    <a:gd name="connsiteY5" fmla="*/ 5341 h 1631057"/>
                    <a:gd name="connsiteX6" fmla="*/ 428625 w 1149871"/>
                    <a:gd name="connsiteY6" fmla="*/ 11691 h 1631057"/>
                    <a:gd name="connsiteX7" fmla="*/ 492125 w 1149871"/>
                    <a:gd name="connsiteY7" fmla="*/ 145041 h 1631057"/>
                    <a:gd name="connsiteX8" fmla="*/ 508000 w 1149871"/>
                    <a:gd name="connsiteY8" fmla="*/ 170441 h 1631057"/>
                    <a:gd name="connsiteX9" fmla="*/ 665956 w 1149871"/>
                    <a:gd name="connsiteY9" fmla="*/ 226004 h 1631057"/>
                    <a:gd name="connsiteX10" fmla="*/ 717550 w 1149871"/>
                    <a:gd name="connsiteY10" fmla="*/ 218066 h 1631057"/>
                    <a:gd name="connsiteX11" fmla="*/ 835818 w 1149871"/>
                    <a:gd name="connsiteY11" fmla="*/ 179172 h 1631057"/>
                    <a:gd name="connsiteX12" fmla="*/ 879475 w 1149871"/>
                    <a:gd name="connsiteY12" fmla="*/ 205366 h 1631057"/>
                    <a:gd name="connsiteX13" fmla="*/ 974725 w 1149871"/>
                    <a:gd name="connsiteY13" fmla="*/ 303791 h 1631057"/>
                    <a:gd name="connsiteX14" fmla="*/ 968375 w 1149871"/>
                    <a:gd name="connsiteY14" fmla="*/ 338716 h 1631057"/>
                    <a:gd name="connsiteX15" fmla="*/ 936625 w 1149871"/>
                    <a:gd name="connsiteY15" fmla="*/ 402216 h 1631057"/>
                    <a:gd name="connsiteX16" fmla="*/ 917575 w 1149871"/>
                    <a:gd name="connsiteY16" fmla="*/ 459366 h 1631057"/>
                    <a:gd name="connsiteX17" fmla="*/ 917575 w 1149871"/>
                    <a:gd name="connsiteY17" fmla="*/ 506991 h 1631057"/>
                    <a:gd name="connsiteX18" fmla="*/ 923925 w 1149871"/>
                    <a:gd name="connsiteY18" fmla="*/ 519691 h 1631057"/>
                    <a:gd name="connsiteX19" fmla="*/ 955675 w 1149871"/>
                    <a:gd name="connsiteY19" fmla="*/ 573666 h 1631057"/>
                    <a:gd name="connsiteX20" fmla="*/ 974725 w 1149871"/>
                    <a:gd name="connsiteY20" fmla="*/ 627641 h 1631057"/>
                    <a:gd name="connsiteX21" fmla="*/ 981075 w 1149871"/>
                    <a:gd name="connsiteY21" fmla="*/ 646691 h 1631057"/>
                    <a:gd name="connsiteX22" fmla="*/ 1041400 w 1149871"/>
                    <a:gd name="connsiteY22" fmla="*/ 665741 h 1631057"/>
                    <a:gd name="connsiteX23" fmla="*/ 1117600 w 1149871"/>
                    <a:gd name="connsiteY23" fmla="*/ 707016 h 1631057"/>
                    <a:gd name="connsiteX24" fmla="*/ 1148557 w 1149871"/>
                    <a:gd name="connsiteY24" fmla="*/ 715747 h 1631057"/>
                    <a:gd name="connsiteX25" fmla="*/ 1146175 w 1149871"/>
                    <a:gd name="connsiteY25" fmla="*/ 903866 h 1631057"/>
                    <a:gd name="connsiteX26" fmla="*/ 1127125 w 1149871"/>
                    <a:gd name="connsiteY26" fmla="*/ 913391 h 1631057"/>
                    <a:gd name="connsiteX27" fmla="*/ 996950 w 1149871"/>
                    <a:gd name="connsiteY27" fmla="*/ 983241 h 1631057"/>
                    <a:gd name="connsiteX28" fmla="*/ 977900 w 1149871"/>
                    <a:gd name="connsiteY28" fmla="*/ 989591 h 1631057"/>
                    <a:gd name="connsiteX29" fmla="*/ 968375 w 1149871"/>
                    <a:gd name="connsiteY29" fmla="*/ 1014991 h 1631057"/>
                    <a:gd name="connsiteX30" fmla="*/ 955675 w 1149871"/>
                    <a:gd name="connsiteY30" fmla="*/ 1065791 h 1631057"/>
                    <a:gd name="connsiteX31" fmla="*/ 923925 w 1149871"/>
                    <a:gd name="connsiteY31" fmla="*/ 1135641 h 1631057"/>
                    <a:gd name="connsiteX32" fmla="*/ 917575 w 1149871"/>
                    <a:gd name="connsiteY32" fmla="*/ 1145166 h 1631057"/>
                    <a:gd name="connsiteX33" fmla="*/ 946150 w 1149871"/>
                    <a:gd name="connsiteY33" fmla="*/ 1234066 h 1631057"/>
                    <a:gd name="connsiteX34" fmla="*/ 974725 w 1149871"/>
                    <a:gd name="connsiteY34" fmla="*/ 1291216 h 1631057"/>
                    <a:gd name="connsiteX35" fmla="*/ 967581 w 1149871"/>
                    <a:gd name="connsiteY35" fmla="*/ 1334078 h 1631057"/>
                    <a:gd name="connsiteX36" fmla="*/ 895350 w 1149871"/>
                    <a:gd name="connsiteY36" fmla="*/ 1427741 h 1631057"/>
                    <a:gd name="connsiteX37" fmla="*/ 844550 w 1149871"/>
                    <a:gd name="connsiteY37" fmla="*/ 1462666 h 1631057"/>
                    <a:gd name="connsiteX38" fmla="*/ 835025 w 1149871"/>
                    <a:gd name="connsiteY38" fmla="*/ 1465841 h 1631057"/>
                    <a:gd name="connsiteX39" fmla="*/ 815975 w 1149871"/>
                    <a:gd name="connsiteY39" fmla="*/ 1459491 h 1631057"/>
                    <a:gd name="connsiteX40" fmla="*/ 717550 w 1149871"/>
                    <a:gd name="connsiteY40" fmla="*/ 1424566 h 1631057"/>
                    <a:gd name="connsiteX41" fmla="*/ 657225 w 1149871"/>
                    <a:gd name="connsiteY41" fmla="*/ 1408691 h 1631057"/>
                    <a:gd name="connsiteX42" fmla="*/ 635000 w 1149871"/>
                    <a:gd name="connsiteY42" fmla="*/ 1411866 h 1631057"/>
                    <a:gd name="connsiteX43" fmla="*/ 501650 w 1149871"/>
                    <a:gd name="connsiteY43" fmla="*/ 1453141 h 1631057"/>
                    <a:gd name="connsiteX44" fmla="*/ 464344 w 1149871"/>
                    <a:gd name="connsiteY44" fmla="*/ 1522198 h 1631057"/>
                    <a:gd name="connsiteX45" fmla="*/ 425450 w 1149871"/>
                    <a:gd name="connsiteY45" fmla="*/ 1602366 h 1631057"/>
                    <a:gd name="connsiteX46" fmla="*/ 381794 w 1149871"/>
                    <a:gd name="connsiteY46" fmla="*/ 1623797 h 1631057"/>
                    <a:gd name="connsiteX47" fmla="*/ 250825 w 1149871"/>
                    <a:gd name="connsiteY47" fmla="*/ 1625385 h 1631057"/>
                    <a:gd name="connsiteX48" fmla="*/ 206375 w 1149871"/>
                    <a:gd name="connsiteY48" fmla="*/ 1599191 h 1631057"/>
                    <a:gd name="connsiteX49" fmla="*/ 149225 w 1149871"/>
                    <a:gd name="connsiteY49" fmla="*/ 1484891 h 1631057"/>
                    <a:gd name="connsiteX50" fmla="*/ 142875 w 1149871"/>
                    <a:gd name="connsiteY50" fmla="*/ 1469016 h 1631057"/>
                    <a:gd name="connsiteX51" fmla="*/ 41275 w 1149871"/>
                    <a:gd name="connsiteY51" fmla="*/ 1430916 h 1631057"/>
                    <a:gd name="connsiteX52" fmla="*/ 0 w 1149871"/>
                    <a:gd name="connsiteY52" fmla="*/ 1402341 h 1631057"/>
                    <a:gd name="connsiteX0" fmla="*/ 9525 w 1149871"/>
                    <a:gd name="connsiteY0" fmla="*/ 227591 h 1631057"/>
                    <a:gd name="connsiteX1" fmla="*/ 155575 w 1149871"/>
                    <a:gd name="connsiteY1" fmla="*/ 160916 h 1631057"/>
                    <a:gd name="connsiteX2" fmla="*/ 168275 w 1149871"/>
                    <a:gd name="connsiteY2" fmla="*/ 148216 h 1631057"/>
                    <a:gd name="connsiteX3" fmla="*/ 209550 w 1149871"/>
                    <a:gd name="connsiteY3" fmla="*/ 65666 h 1631057"/>
                    <a:gd name="connsiteX4" fmla="*/ 238125 w 1149871"/>
                    <a:gd name="connsiteY4" fmla="*/ 14866 h 1631057"/>
                    <a:gd name="connsiteX5" fmla="*/ 269875 w 1149871"/>
                    <a:gd name="connsiteY5" fmla="*/ 5341 h 1631057"/>
                    <a:gd name="connsiteX6" fmla="*/ 428625 w 1149871"/>
                    <a:gd name="connsiteY6" fmla="*/ 11691 h 1631057"/>
                    <a:gd name="connsiteX7" fmla="*/ 492125 w 1149871"/>
                    <a:gd name="connsiteY7" fmla="*/ 145041 h 1631057"/>
                    <a:gd name="connsiteX8" fmla="*/ 508000 w 1149871"/>
                    <a:gd name="connsiteY8" fmla="*/ 170441 h 1631057"/>
                    <a:gd name="connsiteX9" fmla="*/ 665956 w 1149871"/>
                    <a:gd name="connsiteY9" fmla="*/ 226004 h 1631057"/>
                    <a:gd name="connsiteX10" fmla="*/ 717550 w 1149871"/>
                    <a:gd name="connsiteY10" fmla="*/ 218066 h 1631057"/>
                    <a:gd name="connsiteX11" fmla="*/ 835818 w 1149871"/>
                    <a:gd name="connsiteY11" fmla="*/ 179172 h 1631057"/>
                    <a:gd name="connsiteX12" fmla="*/ 879475 w 1149871"/>
                    <a:gd name="connsiteY12" fmla="*/ 205366 h 1631057"/>
                    <a:gd name="connsiteX13" fmla="*/ 974725 w 1149871"/>
                    <a:gd name="connsiteY13" fmla="*/ 303791 h 1631057"/>
                    <a:gd name="connsiteX14" fmla="*/ 968375 w 1149871"/>
                    <a:gd name="connsiteY14" fmla="*/ 338716 h 1631057"/>
                    <a:gd name="connsiteX15" fmla="*/ 936625 w 1149871"/>
                    <a:gd name="connsiteY15" fmla="*/ 402216 h 1631057"/>
                    <a:gd name="connsiteX16" fmla="*/ 917575 w 1149871"/>
                    <a:gd name="connsiteY16" fmla="*/ 459366 h 1631057"/>
                    <a:gd name="connsiteX17" fmla="*/ 917575 w 1149871"/>
                    <a:gd name="connsiteY17" fmla="*/ 506991 h 1631057"/>
                    <a:gd name="connsiteX18" fmla="*/ 923925 w 1149871"/>
                    <a:gd name="connsiteY18" fmla="*/ 519691 h 1631057"/>
                    <a:gd name="connsiteX19" fmla="*/ 955675 w 1149871"/>
                    <a:gd name="connsiteY19" fmla="*/ 573666 h 1631057"/>
                    <a:gd name="connsiteX20" fmla="*/ 974725 w 1149871"/>
                    <a:gd name="connsiteY20" fmla="*/ 627641 h 1631057"/>
                    <a:gd name="connsiteX21" fmla="*/ 981075 w 1149871"/>
                    <a:gd name="connsiteY21" fmla="*/ 646691 h 1631057"/>
                    <a:gd name="connsiteX22" fmla="*/ 1041400 w 1149871"/>
                    <a:gd name="connsiteY22" fmla="*/ 665741 h 1631057"/>
                    <a:gd name="connsiteX23" fmla="*/ 1117600 w 1149871"/>
                    <a:gd name="connsiteY23" fmla="*/ 707016 h 1631057"/>
                    <a:gd name="connsiteX24" fmla="*/ 1148557 w 1149871"/>
                    <a:gd name="connsiteY24" fmla="*/ 715747 h 1631057"/>
                    <a:gd name="connsiteX25" fmla="*/ 1146175 w 1149871"/>
                    <a:gd name="connsiteY25" fmla="*/ 903866 h 1631057"/>
                    <a:gd name="connsiteX26" fmla="*/ 1127125 w 1149871"/>
                    <a:gd name="connsiteY26" fmla="*/ 913391 h 1631057"/>
                    <a:gd name="connsiteX27" fmla="*/ 996950 w 1149871"/>
                    <a:gd name="connsiteY27" fmla="*/ 983241 h 1631057"/>
                    <a:gd name="connsiteX28" fmla="*/ 977900 w 1149871"/>
                    <a:gd name="connsiteY28" fmla="*/ 989591 h 1631057"/>
                    <a:gd name="connsiteX29" fmla="*/ 968375 w 1149871"/>
                    <a:gd name="connsiteY29" fmla="*/ 1014991 h 1631057"/>
                    <a:gd name="connsiteX30" fmla="*/ 955675 w 1149871"/>
                    <a:gd name="connsiteY30" fmla="*/ 1065791 h 1631057"/>
                    <a:gd name="connsiteX31" fmla="*/ 923925 w 1149871"/>
                    <a:gd name="connsiteY31" fmla="*/ 1135641 h 1631057"/>
                    <a:gd name="connsiteX32" fmla="*/ 917575 w 1149871"/>
                    <a:gd name="connsiteY32" fmla="*/ 1145166 h 1631057"/>
                    <a:gd name="connsiteX33" fmla="*/ 946150 w 1149871"/>
                    <a:gd name="connsiteY33" fmla="*/ 1234066 h 1631057"/>
                    <a:gd name="connsiteX34" fmla="*/ 974725 w 1149871"/>
                    <a:gd name="connsiteY34" fmla="*/ 1291216 h 1631057"/>
                    <a:gd name="connsiteX35" fmla="*/ 967581 w 1149871"/>
                    <a:gd name="connsiteY35" fmla="*/ 1334078 h 1631057"/>
                    <a:gd name="connsiteX36" fmla="*/ 895350 w 1149871"/>
                    <a:gd name="connsiteY36" fmla="*/ 1427741 h 1631057"/>
                    <a:gd name="connsiteX37" fmla="*/ 844550 w 1149871"/>
                    <a:gd name="connsiteY37" fmla="*/ 1462666 h 1631057"/>
                    <a:gd name="connsiteX38" fmla="*/ 835025 w 1149871"/>
                    <a:gd name="connsiteY38" fmla="*/ 1465841 h 1631057"/>
                    <a:gd name="connsiteX39" fmla="*/ 815975 w 1149871"/>
                    <a:gd name="connsiteY39" fmla="*/ 1459491 h 1631057"/>
                    <a:gd name="connsiteX40" fmla="*/ 717550 w 1149871"/>
                    <a:gd name="connsiteY40" fmla="*/ 1424566 h 1631057"/>
                    <a:gd name="connsiteX41" fmla="*/ 657225 w 1149871"/>
                    <a:gd name="connsiteY41" fmla="*/ 1408691 h 1631057"/>
                    <a:gd name="connsiteX42" fmla="*/ 635000 w 1149871"/>
                    <a:gd name="connsiteY42" fmla="*/ 1411866 h 1631057"/>
                    <a:gd name="connsiteX43" fmla="*/ 501650 w 1149871"/>
                    <a:gd name="connsiteY43" fmla="*/ 1453141 h 1631057"/>
                    <a:gd name="connsiteX44" fmla="*/ 464344 w 1149871"/>
                    <a:gd name="connsiteY44" fmla="*/ 1522198 h 1631057"/>
                    <a:gd name="connsiteX45" fmla="*/ 425450 w 1149871"/>
                    <a:gd name="connsiteY45" fmla="*/ 1602366 h 1631057"/>
                    <a:gd name="connsiteX46" fmla="*/ 381794 w 1149871"/>
                    <a:gd name="connsiteY46" fmla="*/ 1623797 h 1631057"/>
                    <a:gd name="connsiteX47" fmla="*/ 250825 w 1149871"/>
                    <a:gd name="connsiteY47" fmla="*/ 1625385 h 1631057"/>
                    <a:gd name="connsiteX48" fmla="*/ 206375 w 1149871"/>
                    <a:gd name="connsiteY48" fmla="*/ 1599191 h 1631057"/>
                    <a:gd name="connsiteX49" fmla="*/ 149225 w 1149871"/>
                    <a:gd name="connsiteY49" fmla="*/ 1484891 h 1631057"/>
                    <a:gd name="connsiteX50" fmla="*/ 142875 w 1149871"/>
                    <a:gd name="connsiteY50" fmla="*/ 1469016 h 1631057"/>
                    <a:gd name="connsiteX51" fmla="*/ 41275 w 1149871"/>
                    <a:gd name="connsiteY51" fmla="*/ 1430916 h 1631057"/>
                    <a:gd name="connsiteX52" fmla="*/ 0 w 1149871"/>
                    <a:gd name="connsiteY52" fmla="*/ 1402341 h 1631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</a:cxnLst>
                  <a:rect l="l" t="t" r="r" b="b"/>
                  <a:pathLst>
                    <a:path w="1149871" h="1631057">
                      <a:moveTo>
                        <a:pt x="9525" y="227591"/>
                      </a:moveTo>
                      <a:cubicBezTo>
                        <a:pt x="58208" y="205366"/>
                        <a:pt x="80698" y="180759"/>
                        <a:pt x="155575" y="160916"/>
                      </a:cubicBezTo>
                      <a:cubicBezTo>
                        <a:pt x="184169" y="153338"/>
                        <a:pt x="159279" y="164091"/>
                        <a:pt x="168275" y="148216"/>
                      </a:cubicBezTo>
                      <a:cubicBezTo>
                        <a:pt x="177271" y="132341"/>
                        <a:pt x="197908" y="87891"/>
                        <a:pt x="209550" y="65666"/>
                      </a:cubicBezTo>
                      <a:cubicBezTo>
                        <a:pt x="221192" y="43441"/>
                        <a:pt x="228071" y="24920"/>
                        <a:pt x="238125" y="14866"/>
                      </a:cubicBezTo>
                      <a:cubicBezTo>
                        <a:pt x="248179" y="4812"/>
                        <a:pt x="255886" y="7339"/>
                        <a:pt x="269875" y="5341"/>
                      </a:cubicBezTo>
                      <a:cubicBezTo>
                        <a:pt x="322792" y="7458"/>
                        <a:pt x="391583" y="-11592"/>
                        <a:pt x="428625" y="11691"/>
                      </a:cubicBezTo>
                      <a:cubicBezTo>
                        <a:pt x="465667" y="34974"/>
                        <a:pt x="478896" y="118583"/>
                        <a:pt x="492125" y="145041"/>
                      </a:cubicBezTo>
                      <a:cubicBezTo>
                        <a:pt x="505354" y="171499"/>
                        <a:pt x="479028" y="156947"/>
                        <a:pt x="508000" y="170441"/>
                      </a:cubicBezTo>
                      <a:cubicBezTo>
                        <a:pt x="536972" y="183935"/>
                        <a:pt x="595312" y="184730"/>
                        <a:pt x="665956" y="226004"/>
                      </a:cubicBezTo>
                      <a:cubicBezTo>
                        <a:pt x="700881" y="233941"/>
                        <a:pt x="689240" y="225871"/>
                        <a:pt x="717550" y="218066"/>
                      </a:cubicBezTo>
                      <a:cubicBezTo>
                        <a:pt x="745860" y="210261"/>
                        <a:pt x="808831" y="181289"/>
                        <a:pt x="835818" y="179172"/>
                      </a:cubicBezTo>
                      <a:cubicBezTo>
                        <a:pt x="849576" y="185522"/>
                        <a:pt x="856324" y="184596"/>
                        <a:pt x="879475" y="205366"/>
                      </a:cubicBezTo>
                      <a:cubicBezTo>
                        <a:pt x="902626" y="226136"/>
                        <a:pt x="959908" y="281566"/>
                        <a:pt x="974725" y="303791"/>
                      </a:cubicBezTo>
                      <a:cubicBezTo>
                        <a:pt x="989542" y="326016"/>
                        <a:pt x="974725" y="322312"/>
                        <a:pt x="968375" y="338716"/>
                      </a:cubicBezTo>
                      <a:cubicBezTo>
                        <a:pt x="962025" y="355120"/>
                        <a:pt x="945092" y="382108"/>
                        <a:pt x="936625" y="402216"/>
                      </a:cubicBezTo>
                      <a:cubicBezTo>
                        <a:pt x="928158" y="422324"/>
                        <a:pt x="921279" y="448254"/>
                        <a:pt x="917575" y="459366"/>
                      </a:cubicBezTo>
                      <a:lnTo>
                        <a:pt x="917575" y="506991"/>
                      </a:lnTo>
                      <a:cubicBezTo>
                        <a:pt x="918447" y="511643"/>
                        <a:pt x="917575" y="508579"/>
                        <a:pt x="923925" y="519691"/>
                      </a:cubicBezTo>
                      <a:cubicBezTo>
                        <a:pt x="930275" y="530803"/>
                        <a:pt x="947208" y="555674"/>
                        <a:pt x="955675" y="573666"/>
                      </a:cubicBezTo>
                      <a:cubicBezTo>
                        <a:pt x="964142" y="591658"/>
                        <a:pt x="970492" y="615470"/>
                        <a:pt x="974725" y="627641"/>
                      </a:cubicBezTo>
                      <a:cubicBezTo>
                        <a:pt x="978958" y="639812"/>
                        <a:pt x="969963" y="640341"/>
                        <a:pt x="981075" y="646691"/>
                      </a:cubicBezTo>
                      <a:cubicBezTo>
                        <a:pt x="992187" y="653041"/>
                        <a:pt x="1018646" y="655687"/>
                        <a:pt x="1041400" y="665741"/>
                      </a:cubicBezTo>
                      <a:cubicBezTo>
                        <a:pt x="1064154" y="675795"/>
                        <a:pt x="1099740" y="698682"/>
                        <a:pt x="1117600" y="707016"/>
                      </a:cubicBezTo>
                      <a:cubicBezTo>
                        <a:pt x="1135460" y="715350"/>
                        <a:pt x="1142207" y="713630"/>
                        <a:pt x="1148557" y="715747"/>
                      </a:cubicBezTo>
                      <a:cubicBezTo>
                        <a:pt x="1150246" y="805271"/>
                        <a:pt x="1151072" y="825687"/>
                        <a:pt x="1146175" y="903866"/>
                      </a:cubicBezTo>
                      <a:cubicBezTo>
                        <a:pt x="1139825" y="907041"/>
                        <a:pt x="1151996" y="900162"/>
                        <a:pt x="1127125" y="913391"/>
                      </a:cubicBezTo>
                      <a:lnTo>
                        <a:pt x="996950" y="983241"/>
                      </a:lnTo>
                      <a:lnTo>
                        <a:pt x="977900" y="989591"/>
                      </a:lnTo>
                      <a:cubicBezTo>
                        <a:pt x="974725" y="998058"/>
                        <a:pt x="972079" y="1002291"/>
                        <a:pt x="968375" y="1014991"/>
                      </a:cubicBezTo>
                      <a:cubicBezTo>
                        <a:pt x="964671" y="1027691"/>
                        <a:pt x="963083" y="1045683"/>
                        <a:pt x="955675" y="1065791"/>
                      </a:cubicBezTo>
                      <a:cubicBezTo>
                        <a:pt x="948267" y="1085899"/>
                        <a:pt x="930275" y="1122412"/>
                        <a:pt x="923925" y="1135641"/>
                      </a:cubicBezTo>
                      <a:cubicBezTo>
                        <a:pt x="917575" y="1148870"/>
                        <a:pt x="919692" y="1141991"/>
                        <a:pt x="917575" y="1145166"/>
                      </a:cubicBezTo>
                      <a:cubicBezTo>
                        <a:pt x="921279" y="1161570"/>
                        <a:pt x="936625" y="1209724"/>
                        <a:pt x="946150" y="1234066"/>
                      </a:cubicBezTo>
                      <a:cubicBezTo>
                        <a:pt x="955675" y="1258408"/>
                        <a:pt x="969433" y="1279574"/>
                        <a:pt x="974725" y="1291216"/>
                      </a:cubicBezTo>
                      <a:cubicBezTo>
                        <a:pt x="979487" y="1310266"/>
                        <a:pt x="980810" y="1311324"/>
                        <a:pt x="967581" y="1334078"/>
                      </a:cubicBezTo>
                      <a:cubicBezTo>
                        <a:pt x="954352" y="1356832"/>
                        <a:pt x="915855" y="1406310"/>
                        <a:pt x="895350" y="1427741"/>
                      </a:cubicBezTo>
                      <a:cubicBezTo>
                        <a:pt x="874845" y="1449172"/>
                        <a:pt x="854604" y="1456316"/>
                        <a:pt x="844550" y="1462666"/>
                      </a:cubicBezTo>
                      <a:cubicBezTo>
                        <a:pt x="834496" y="1469016"/>
                        <a:pt x="838200" y="1464783"/>
                        <a:pt x="835025" y="1465841"/>
                      </a:cubicBezTo>
                      <a:lnTo>
                        <a:pt x="815975" y="1459491"/>
                      </a:lnTo>
                      <a:cubicBezTo>
                        <a:pt x="783167" y="1447849"/>
                        <a:pt x="744008" y="1433033"/>
                        <a:pt x="717550" y="1424566"/>
                      </a:cubicBezTo>
                      <a:cubicBezTo>
                        <a:pt x="691092" y="1416099"/>
                        <a:pt x="670983" y="1410808"/>
                        <a:pt x="657225" y="1408691"/>
                      </a:cubicBezTo>
                      <a:cubicBezTo>
                        <a:pt x="643467" y="1406574"/>
                        <a:pt x="660929" y="1404458"/>
                        <a:pt x="635000" y="1411866"/>
                      </a:cubicBezTo>
                      <a:cubicBezTo>
                        <a:pt x="609071" y="1419274"/>
                        <a:pt x="530093" y="1434752"/>
                        <a:pt x="501650" y="1453141"/>
                      </a:cubicBezTo>
                      <a:cubicBezTo>
                        <a:pt x="473207" y="1471530"/>
                        <a:pt x="477044" y="1497327"/>
                        <a:pt x="464344" y="1522198"/>
                      </a:cubicBezTo>
                      <a:cubicBezTo>
                        <a:pt x="451644" y="1547069"/>
                        <a:pt x="439208" y="1585433"/>
                        <a:pt x="425450" y="1602366"/>
                      </a:cubicBezTo>
                      <a:cubicBezTo>
                        <a:pt x="411692" y="1619299"/>
                        <a:pt x="415661" y="1619564"/>
                        <a:pt x="381794" y="1623797"/>
                      </a:cubicBezTo>
                      <a:cubicBezTo>
                        <a:pt x="344679" y="1636526"/>
                        <a:pt x="280062" y="1629486"/>
                        <a:pt x="250825" y="1625385"/>
                      </a:cubicBezTo>
                      <a:cubicBezTo>
                        <a:pt x="221589" y="1621284"/>
                        <a:pt x="218546" y="1623004"/>
                        <a:pt x="206375" y="1599191"/>
                      </a:cubicBezTo>
                      <a:cubicBezTo>
                        <a:pt x="194204" y="1575379"/>
                        <a:pt x="159808" y="1506587"/>
                        <a:pt x="149225" y="1484891"/>
                      </a:cubicBezTo>
                      <a:cubicBezTo>
                        <a:pt x="138642" y="1463195"/>
                        <a:pt x="160867" y="1478012"/>
                        <a:pt x="142875" y="1469016"/>
                      </a:cubicBezTo>
                      <a:cubicBezTo>
                        <a:pt x="124883" y="1460020"/>
                        <a:pt x="65088" y="1442029"/>
                        <a:pt x="41275" y="1430916"/>
                      </a:cubicBezTo>
                      <a:cubicBezTo>
                        <a:pt x="17463" y="1419804"/>
                        <a:pt x="8599" y="1408294"/>
                        <a:pt x="0" y="1402341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49" name="Freeform: Shape 148">
                  <a:extLst>
                    <a:ext uri="{FF2B5EF4-FFF2-40B4-BE49-F238E27FC236}">
                      <a16:creationId xmlns:a16="http://schemas.microsoft.com/office/drawing/2014/main" id="{1A162A24-003F-E219-24D6-5FB2CD84DCAF}"/>
                    </a:ext>
                  </a:extLst>
                </p:cNvPr>
                <p:cNvSpPr/>
                <p:nvPr/>
              </p:nvSpPr>
              <p:spPr>
                <a:xfrm>
                  <a:off x="2890484" y="4477399"/>
                  <a:ext cx="473686" cy="1292689"/>
                </a:xfrm>
                <a:custGeom>
                  <a:avLst/>
                  <a:gdLst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228600 w 488950"/>
                    <a:gd name="connsiteY4" fmla="*/ 82550 h 1289050"/>
                    <a:gd name="connsiteX5" fmla="*/ 193675 w 488950"/>
                    <a:gd name="connsiteY5" fmla="*/ 120650 h 1289050"/>
                    <a:gd name="connsiteX6" fmla="*/ 174625 w 488950"/>
                    <a:gd name="connsiteY6" fmla="*/ 136525 h 1289050"/>
                    <a:gd name="connsiteX7" fmla="*/ 177800 w 488950"/>
                    <a:gd name="connsiteY7" fmla="*/ 168275 h 1289050"/>
                    <a:gd name="connsiteX8" fmla="*/ 180975 w 488950"/>
                    <a:gd name="connsiteY8" fmla="*/ 180975 h 1289050"/>
                    <a:gd name="connsiteX9" fmla="*/ 190500 w 488950"/>
                    <a:gd name="connsiteY9" fmla="*/ 190500 h 1289050"/>
                    <a:gd name="connsiteX10" fmla="*/ 196850 w 488950"/>
                    <a:gd name="connsiteY10" fmla="*/ 212725 h 1289050"/>
                    <a:gd name="connsiteX11" fmla="*/ 200025 w 488950"/>
                    <a:gd name="connsiteY11" fmla="*/ 228600 h 1289050"/>
                    <a:gd name="connsiteX12" fmla="*/ 203200 w 488950"/>
                    <a:gd name="connsiteY12" fmla="*/ 241300 h 1289050"/>
                    <a:gd name="connsiteX13" fmla="*/ 206375 w 488950"/>
                    <a:gd name="connsiteY13" fmla="*/ 250825 h 1289050"/>
                    <a:gd name="connsiteX14" fmla="*/ 209550 w 488950"/>
                    <a:gd name="connsiteY14" fmla="*/ 269875 h 1289050"/>
                    <a:gd name="connsiteX15" fmla="*/ 222250 w 488950"/>
                    <a:gd name="connsiteY15" fmla="*/ 295275 h 1289050"/>
                    <a:gd name="connsiteX16" fmla="*/ 228600 w 488950"/>
                    <a:gd name="connsiteY16" fmla="*/ 317500 h 1289050"/>
                    <a:gd name="connsiteX17" fmla="*/ 225425 w 488950"/>
                    <a:gd name="connsiteY17" fmla="*/ 336550 h 1289050"/>
                    <a:gd name="connsiteX18" fmla="*/ 193675 w 488950"/>
                    <a:gd name="connsiteY18" fmla="*/ 377825 h 1289050"/>
                    <a:gd name="connsiteX19" fmla="*/ 184150 w 488950"/>
                    <a:gd name="connsiteY19" fmla="*/ 403225 h 1289050"/>
                    <a:gd name="connsiteX20" fmla="*/ 177800 w 488950"/>
                    <a:gd name="connsiteY20" fmla="*/ 415925 h 1289050"/>
                    <a:gd name="connsiteX21" fmla="*/ 174625 w 488950"/>
                    <a:gd name="connsiteY21" fmla="*/ 438150 h 1289050"/>
                    <a:gd name="connsiteX22" fmla="*/ 171450 w 488950"/>
                    <a:gd name="connsiteY22" fmla="*/ 463550 h 1289050"/>
                    <a:gd name="connsiteX23" fmla="*/ 161925 w 488950"/>
                    <a:gd name="connsiteY23" fmla="*/ 466725 h 1289050"/>
                    <a:gd name="connsiteX24" fmla="*/ 136525 w 488950"/>
                    <a:gd name="connsiteY24" fmla="*/ 479425 h 1289050"/>
                    <a:gd name="connsiteX25" fmla="*/ 123825 w 488950"/>
                    <a:gd name="connsiteY25" fmla="*/ 485775 h 1289050"/>
                    <a:gd name="connsiteX26" fmla="*/ 111125 w 488950"/>
                    <a:gd name="connsiteY26" fmla="*/ 492125 h 1289050"/>
                    <a:gd name="connsiteX27" fmla="*/ 98425 w 488950"/>
                    <a:gd name="connsiteY27" fmla="*/ 504825 h 1289050"/>
                    <a:gd name="connsiteX28" fmla="*/ 76200 w 488950"/>
                    <a:gd name="connsiteY28" fmla="*/ 514350 h 1289050"/>
                    <a:gd name="connsiteX29" fmla="*/ 41275 w 488950"/>
                    <a:gd name="connsiteY29" fmla="*/ 523875 h 1289050"/>
                    <a:gd name="connsiteX30" fmla="*/ 28575 w 488950"/>
                    <a:gd name="connsiteY30" fmla="*/ 533400 h 1289050"/>
                    <a:gd name="connsiteX31" fmla="*/ 19050 w 488950"/>
                    <a:gd name="connsiteY31" fmla="*/ 536575 h 1289050"/>
                    <a:gd name="connsiteX32" fmla="*/ 9525 w 488950"/>
                    <a:gd name="connsiteY32" fmla="*/ 542925 h 1289050"/>
                    <a:gd name="connsiteX33" fmla="*/ 3175 w 488950"/>
                    <a:gd name="connsiteY33" fmla="*/ 628650 h 1289050"/>
                    <a:gd name="connsiteX34" fmla="*/ 0 w 488950"/>
                    <a:gd name="connsiteY34" fmla="*/ 654050 h 1289050"/>
                    <a:gd name="connsiteX35" fmla="*/ 3175 w 488950"/>
                    <a:gd name="connsiteY35" fmla="*/ 736600 h 1289050"/>
                    <a:gd name="connsiteX36" fmla="*/ 6350 w 488950"/>
                    <a:gd name="connsiteY36" fmla="*/ 746125 h 1289050"/>
                    <a:gd name="connsiteX37" fmla="*/ 19050 w 488950"/>
                    <a:gd name="connsiteY37" fmla="*/ 755650 h 1289050"/>
                    <a:gd name="connsiteX38" fmla="*/ 34925 w 488950"/>
                    <a:gd name="connsiteY38" fmla="*/ 758825 h 1289050"/>
                    <a:gd name="connsiteX39" fmla="*/ 47625 w 488950"/>
                    <a:gd name="connsiteY39" fmla="*/ 762000 h 1289050"/>
                    <a:gd name="connsiteX40" fmla="*/ 104775 w 488950"/>
                    <a:gd name="connsiteY40" fmla="*/ 784225 h 1289050"/>
                    <a:gd name="connsiteX41" fmla="*/ 117475 w 488950"/>
                    <a:gd name="connsiteY41" fmla="*/ 793750 h 1289050"/>
                    <a:gd name="connsiteX42" fmla="*/ 136525 w 488950"/>
                    <a:gd name="connsiteY42" fmla="*/ 803275 h 1289050"/>
                    <a:gd name="connsiteX43" fmla="*/ 165100 w 488950"/>
                    <a:gd name="connsiteY43" fmla="*/ 838200 h 1289050"/>
                    <a:gd name="connsiteX44" fmla="*/ 174625 w 488950"/>
                    <a:gd name="connsiteY44" fmla="*/ 866775 h 1289050"/>
                    <a:gd name="connsiteX45" fmla="*/ 177800 w 488950"/>
                    <a:gd name="connsiteY45" fmla="*/ 879475 h 1289050"/>
                    <a:gd name="connsiteX46" fmla="*/ 190500 w 488950"/>
                    <a:gd name="connsiteY46" fmla="*/ 895350 h 1289050"/>
                    <a:gd name="connsiteX47" fmla="*/ 196850 w 488950"/>
                    <a:gd name="connsiteY47" fmla="*/ 911225 h 1289050"/>
                    <a:gd name="connsiteX48" fmla="*/ 212725 w 488950"/>
                    <a:gd name="connsiteY48" fmla="*/ 939800 h 1289050"/>
                    <a:gd name="connsiteX49" fmla="*/ 228600 w 488950"/>
                    <a:gd name="connsiteY49" fmla="*/ 971550 h 1289050"/>
                    <a:gd name="connsiteX50" fmla="*/ 231775 w 488950"/>
                    <a:gd name="connsiteY50" fmla="*/ 984250 h 1289050"/>
                    <a:gd name="connsiteX51" fmla="*/ 215900 w 488950"/>
                    <a:gd name="connsiteY51" fmla="*/ 1035050 h 1289050"/>
                    <a:gd name="connsiteX52" fmla="*/ 209550 w 488950"/>
                    <a:gd name="connsiteY52" fmla="*/ 1066800 h 1289050"/>
                    <a:gd name="connsiteX53" fmla="*/ 196850 w 488950"/>
                    <a:gd name="connsiteY53" fmla="*/ 1098550 h 1289050"/>
                    <a:gd name="connsiteX54" fmla="*/ 190500 w 488950"/>
                    <a:gd name="connsiteY54" fmla="*/ 1133475 h 1289050"/>
                    <a:gd name="connsiteX55" fmla="*/ 187325 w 488950"/>
                    <a:gd name="connsiteY55" fmla="*/ 1152525 h 1289050"/>
                    <a:gd name="connsiteX56" fmla="*/ 190500 w 488950"/>
                    <a:gd name="connsiteY56" fmla="*/ 1174750 h 1289050"/>
                    <a:gd name="connsiteX57" fmla="*/ 215900 w 488950"/>
                    <a:gd name="connsiteY57" fmla="*/ 1196975 h 1289050"/>
                    <a:gd name="connsiteX58" fmla="*/ 238125 w 488950"/>
                    <a:gd name="connsiteY58" fmla="*/ 1206500 h 1289050"/>
                    <a:gd name="connsiteX59" fmla="*/ 257175 w 488950"/>
                    <a:gd name="connsiteY59" fmla="*/ 1225550 h 1289050"/>
                    <a:gd name="connsiteX60" fmla="*/ 273050 w 488950"/>
                    <a:gd name="connsiteY60" fmla="*/ 1241425 h 1289050"/>
                    <a:gd name="connsiteX61" fmla="*/ 285750 w 488950"/>
                    <a:gd name="connsiteY61" fmla="*/ 1250950 h 1289050"/>
                    <a:gd name="connsiteX62" fmla="*/ 301625 w 488950"/>
                    <a:gd name="connsiteY62" fmla="*/ 1285875 h 1289050"/>
                    <a:gd name="connsiteX63" fmla="*/ 311150 w 488950"/>
                    <a:gd name="connsiteY63" fmla="*/ 1289050 h 1289050"/>
                    <a:gd name="connsiteX64" fmla="*/ 352425 w 488950"/>
                    <a:gd name="connsiteY64" fmla="*/ 1276350 h 1289050"/>
                    <a:gd name="connsiteX65" fmla="*/ 368300 w 488950"/>
                    <a:gd name="connsiteY65" fmla="*/ 1266825 h 1289050"/>
                    <a:gd name="connsiteX66" fmla="*/ 384175 w 488950"/>
                    <a:gd name="connsiteY66" fmla="*/ 1263650 h 1289050"/>
                    <a:gd name="connsiteX67" fmla="*/ 396875 w 488950"/>
                    <a:gd name="connsiteY67" fmla="*/ 1260475 h 1289050"/>
                    <a:gd name="connsiteX68" fmla="*/ 409575 w 488950"/>
                    <a:gd name="connsiteY68" fmla="*/ 1254125 h 1289050"/>
                    <a:gd name="connsiteX69" fmla="*/ 438150 w 488950"/>
                    <a:gd name="connsiteY69" fmla="*/ 1247775 h 1289050"/>
                    <a:gd name="connsiteX70" fmla="*/ 463550 w 488950"/>
                    <a:gd name="connsiteY70" fmla="*/ 1241425 h 1289050"/>
                    <a:gd name="connsiteX71" fmla="*/ 476250 w 488950"/>
                    <a:gd name="connsiteY71" fmla="*/ 1238250 h 1289050"/>
                    <a:gd name="connsiteX72" fmla="*/ 488950 w 488950"/>
                    <a:gd name="connsiteY72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228600 w 488950"/>
                    <a:gd name="connsiteY4" fmla="*/ 82550 h 1289050"/>
                    <a:gd name="connsiteX5" fmla="*/ 193675 w 488950"/>
                    <a:gd name="connsiteY5" fmla="*/ 120650 h 1289050"/>
                    <a:gd name="connsiteX6" fmla="*/ 174625 w 488950"/>
                    <a:gd name="connsiteY6" fmla="*/ 136525 h 1289050"/>
                    <a:gd name="connsiteX7" fmla="*/ 177800 w 488950"/>
                    <a:gd name="connsiteY7" fmla="*/ 168275 h 1289050"/>
                    <a:gd name="connsiteX8" fmla="*/ 180975 w 488950"/>
                    <a:gd name="connsiteY8" fmla="*/ 180975 h 1289050"/>
                    <a:gd name="connsiteX9" fmla="*/ 190500 w 488950"/>
                    <a:gd name="connsiteY9" fmla="*/ 190500 h 1289050"/>
                    <a:gd name="connsiteX10" fmla="*/ 196850 w 488950"/>
                    <a:gd name="connsiteY10" fmla="*/ 212725 h 1289050"/>
                    <a:gd name="connsiteX11" fmla="*/ 200025 w 488950"/>
                    <a:gd name="connsiteY11" fmla="*/ 228600 h 1289050"/>
                    <a:gd name="connsiteX12" fmla="*/ 203200 w 488950"/>
                    <a:gd name="connsiteY12" fmla="*/ 241300 h 1289050"/>
                    <a:gd name="connsiteX13" fmla="*/ 206375 w 488950"/>
                    <a:gd name="connsiteY13" fmla="*/ 250825 h 1289050"/>
                    <a:gd name="connsiteX14" fmla="*/ 222250 w 488950"/>
                    <a:gd name="connsiteY14" fmla="*/ 295275 h 1289050"/>
                    <a:gd name="connsiteX15" fmla="*/ 228600 w 488950"/>
                    <a:gd name="connsiteY15" fmla="*/ 317500 h 1289050"/>
                    <a:gd name="connsiteX16" fmla="*/ 225425 w 488950"/>
                    <a:gd name="connsiteY16" fmla="*/ 336550 h 1289050"/>
                    <a:gd name="connsiteX17" fmla="*/ 193675 w 488950"/>
                    <a:gd name="connsiteY17" fmla="*/ 377825 h 1289050"/>
                    <a:gd name="connsiteX18" fmla="*/ 184150 w 488950"/>
                    <a:gd name="connsiteY18" fmla="*/ 403225 h 1289050"/>
                    <a:gd name="connsiteX19" fmla="*/ 177800 w 488950"/>
                    <a:gd name="connsiteY19" fmla="*/ 415925 h 1289050"/>
                    <a:gd name="connsiteX20" fmla="*/ 174625 w 488950"/>
                    <a:gd name="connsiteY20" fmla="*/ 438150 h 1289050"/>
                    <a:gd name="connsiteX21" fmla="*/ 171450 w 488950"/>
                    <a:gd name="connsiteY21" fmla="*/ 463550 h 1289050"/>
                    <a:gd name="connsiteX22" fmla="*/ 161925 w 488950"/>
                    <a:gd name="connsiteY22" fmla="*/ 466725 h 1289050"/>
                    <a:gd name="connsiteX23" fmla="*/ 136525 w 488950"/>
                    <a:gd name="connsiteY23" fmla="*/ 479425 h 1289050"/>
                    <a:gd name="connsiteX24" fmla="*/ 123825 w 488950"/>
                    <a:gd name="connsiteY24" fmla="*/ 485775 h 1289050"/>
                    <a:gd name="connsiteX25" fmla="*/ 111125 w 488950"/>
                    <a:gd name="connsiteY25" fmla="*/ 492125 h 1289050"/>
                    <a:gd name="connsiteX26" fmla="*/ 98425 w 488950"/>
                    <a:gd name="connsiteY26" fmla="*/ 504825 h 1289050"/>
                    <a:gd name="connsiteX27" fmla="*/ 76200 w 488950"/>
                    <a:gd name="connsiteY27" fmla="*/ 514350 h 1289050"/>
                    <a:gd name="connsiteX28" fmla="*/ 41275 w 488950"/>
                    <a:gd name="connsiteY28" fmla="*/ 523875 h 1289050"/>
                    <a:gd name="connsiteX29" fmla="*/ 28575 w 488950"/>
                    <a:gd name="connsiteY29" fmla="*/ 533400 h 1289050"/>
                    <a:gd name="connsiteX30" fmla="*/ 19050 w 488950"/>
                    <a:gd name="connsiteY30" fmla="*/ 536575 h 1289050"/>
                    <a:gd name="connsiteX31" fmla="*/ 9525 w 488950"/>
                    <a:gd name="connsiteY31" fmla="*/ 542925 h 1289050"/>
                    <a:gd name="connsiteX32" fmla="*/ 3175 w 488950"/>
                    <a:gd name="connsiteY32" fmla="*/ 628650 h 1289050"/>
                    <a:gd name="connsiteX33" fmla="*/ 0 w 488950"/>
                    <a:gd name="connsiteY33" fmla="*/ 654050 h 1289050"/>
                    <a:gd name="connsiteX34" fmla="*/ 3175 w 488950"/>
                    <a:gd name="connsiteY34" fmla="*/ 736600 h 1289050"/>
                    <a:gd name="connsiteX35" fmla="*/ 6350 w 488950"/>
                    <a:gd name="connsiteY35" fmla="*/ 746125 h 1289050"/>
                    <a:gd name="connsiteX36" fmla="*/ 19050 w 488950"/>
                    <a:gd name="connsiteY36" fmla="*/ 755650 h 1289050"/>
                    <a:gd name="connsiteX37" fmla="*/ 34925 w 488950"/>
                    <a:gd name="connsiteY37" fmla="*/ 758825 h 1289050"/>
                    <a:gd name="connsiteX38" fmla="*/ 47625 w 488950"/>
                    <a:gd name="connsiteY38" fmla="*/ 762000 h 1289050"/>
                    <a:gd name="connsiteX39" fmla="*/ 104775 w 488950"/>
                    <a:gd name="connsiteY39" fmla="*/ 784225 h 1289050"/>
                    <a:gd name="connsiteX40" fmla="*/ 117475 w 488950"/>
                    <a:gd name="connsiteY40" fmla="*/ 793750 h 1289050"/>
                    <a:gd name="connsiteX41" fmla="*/ 136525 w 488950"/>
                    <a:gd name="connsiteY41" fmla="*/ 803275 h 1289050"/>
                    <a:gd name="connsiteX42" fmla="*/ 165100 w 488950"/>
                    <a:gd name="connsiteY42" fmla="*/ 838200 h 1289050"/>
                    <a:gd name="connsiteX43" fmla="*/ 174625 w 488950"/>
                    <a:gd name="connsiteY43" fmla="*/ 866775 h 1289050"/>
                    <a:gd name="connsiteX44" fmla="*/ 177800 w 488950"/>
                    <a:gd name="connsiteY44" fmla="*/ 879475 h 1289050"/>
                    <a:gd name="connsiteX45" fmla="*/ 190500 w 488950"/>
                    <a:gd name="connsiteY45" fmla="*/ 895350 h 1289050"/>
                    <a:gd name="connsiteX46" fmla="*/ 196850 w 488950"/>
                    <a:gd name="connsiteY46" fmla="*/ 911225 h 1289050"/>
                    <a:gd name="connsiteX47" fmla="*/ 212725 w 488950"/>
                    <a:gd name="connsiteY47" fmla="*/ 939800 h 1289050"/>
                    <a:gd name="connsiteX48" fmla="*/ 228600 w 488950"/>
                    <a:gd name="connsiteY48" fmla="*/ 971550 h 1289050"/>
                    <a:gd name="connsiteX49" fmla="*/ 231775 w 488950"/>
                    <a:gd name="connsiteY49" fmla="*/ 984250 h 1289050"/>
                    <a:gd name="connsiteX50" fmla="*/ 215900 w 488950"/>
                    <a:gd name="connsiteY50" fmla="*/ 1035050 h 1289050"/>
                    <a:gd name="connsiteX51" fmla="*/ 209550 w 488950"/>
                    <a:gd name="connsiteY51" fmla="*/ 1066800 h 1289050"/>
                    <a:gd name="connsiteX52" fmla="*/ 196850 w 488950"/>
                    <a:gd name="connsiteY52" fmla="*/ 1098550 h 1289050"/>
                    <a:gd name="connsiteX53" fmla="*/ 190500 w 488950"/>
                    <a:gd name="connsiteY53" fmla="*/ 1133475 h 1289050"/>
                    <a:gd name="connsiteX54" fmla="*/ 187325 w 488950"/>
                    <a:gd name="connsiteY54" fmla="*/ 1152525 h 1289050"/>
                    <a:gd name="connsiteX55" fmla="*/ 190500 w 488950"/>
                    <a:gd name="connsiteY55" fmla="*/ 1174750 h 1289050"/>
                    <a:gd name="connsiteX56" fmla="*/ 215900 w 488950"/>
                    <a:gd name="connsiteY56" fmla="*/ 1196975 h 1289050"/>
                    <a:gd name="connsiteX57" fmla="*/ 238125 w 488950"/>
                    <a:gd name="connsiteY57" fmla="*/ 1206500 h 1289050"/>
                    <a:gd name="connsiteX58" fmla="*/ 257175 w 488950"/>
                    <a:gd name="connsiteY58" fmla="*/ 1225550 h 1289050"/>
                    <a:gd name="connsiteX59" fmla="*/ 273050 w 488950"/>
                    <a:gd name="connsiteY59" fmla="*/ 1241425 h 1289050"/>
                    <a:gd name="connsiteX60" fmla="*/ 285750 w 488950"/>
                    <a:gd name="connsiteY60" fmla="*/ 1250950 h 1289050"/>
                    <a:gd name="connsiteX61" fmla="*/ 301625 w 488950"/>
                    <a:gd name="connsiteY61" fmla="*/ 1285875 h 1289050"/>
                    <a:gd name="connsiteX62" fmla="*/ 311150 w 488950"/>
                    <a:gd name="connsiteY62" fmla="*/ 1289050 h 1289050"/>
                    <a:gd name="connsiteX63" fmla="*/ 352425 w 488950"/>
                    <a:gd name="connsiteY63" fmla="*/ 1276350 h 1289050"/>
                    <a:gd name="connsiteX64" fmla="*/ 368300 w 488950"/>
                    <a:gd name="connsiteY64" fmla="*/ 1266825 h 1289050"/>
                    <a:gd name="connsiteX65" fmla="*/ 384175 w 488950"/>
                    <a:gd name="connsiteY65" fmla="*/ 1263650 h 1289050"/>
                    <a:gd name="connsiteX66" fmla="*/ 396875 w 488950"/>
                    <a:gd name="connsiteY66" fmla="*/ 1260475 h 1289050"/>
                    <a:gd name="connsiteX67" fmla="*/ 409575 w 488950"/>
                    <a:gd name="connsiteY67" fmla="*/ 1254125 h 1289050"/>
                    <a:gd name="connsiteX68" fmla="*/ 438150 w 488950"/>
                    <a:gd name="connsiteY68" fmla="*/ 1247775 h 1289050"/>
                    <a:gd name="connsiteX69" fmla="*/ 463550 w 488950"/>
                    <a:gd name="connsiteY69" fmla="*/ 1241425 h 1289050"/>
                    <a:gd name="connsiteX70" fmla="*/ 476250 w 488950"/>
                    <a:gd name="connsiteY70" fmla="*/ 1238250 h 1289050"/>
                    <a:gd name="connsiteX71" fmla="*/ 488950 w 488950"/>
                    <a:gd name="connsiteY71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228600 w 488950"/>
                    <a:gd name="connsiteY4" fmla="*/ 82550 h 1289050"/>
                    <a:gd name="connsiteX5" fmla="*/ 193675 w 488950"/>
                    <a:gd name="connsiteY5" fmla="*/ 120650 h 1289050"/>
                    <a:gd name="connsiteX6" fmla="*/ 174625 w 488950"/>
                    <a:gd name="connsiteY6" fmla="*/ 136525 h 1289050"/>
                    <a:gd name="connsiteX7" fmla="*/ 177800 w 488950"/>
                    <a:gd name="connsiteY7" fmla="*/ 168275 h 1289050"/>
                    <a:gd name="connsiteX8" fmla="*/ 180975 w 488950"/>
                    <a:gd name="connsiteY8" fmla="*/ 180975 h 1289050"/>
                    <a:gd name="connsiteX9" fmla="*/ 190500 w 488950"/>
                    <a:gd name="connsiteY9" fmla="*/ 190500 h 1289050"/>
                    <a:gd name="connsiteX10" fmla="*/ 196850 w 488950"/>
                    <a:gd name="connsiteY10" fmla="*/ 212725 h 1289050"/>
                    <a:gd name="connsiteX11" fmla="*/ 200025 w 488950"/>
                    <a:gd name="connsiteY11" fmla="*/ 228600 h 1289050"/>
                    <a:gd name="connsiteX12" fmla="*/ 203200 w 488950"/>
                    <a:gd name="connsiteY12" fmla="*/ 241300 h 1289050"/>
                    <a:gd name="connsiteX13" fmla="*/ 222250 w 488950"/>
                    <a:gd name="connsiteY13" fmla="*/ 295275 h 1289050"/>
                    <a:gd name="connsiteX14" fmla="*/ 228600 w 488950"/>
                    <a:gd name="connsiteY14" fmla="*/ 317500 h 1289050"/>
                    <a:gd name="connsiteX15" fmla="*/ 225425 w 488950"/>
                    <a:gd name="connsiteY15" fmla="*/ 336550 h 1289050"/>
                    <a:gd name="connsiteX16" fmla="*/ 193675 w 488950"/>
                    <a:gd name="connsiteY16" fmla="*/ 377825 h 1289050"/>
                    <a:gd name="connsiteX17" fmla="*/ 184150 w 488950"/>
                    <a:gd name="connsiteY17" fmla="*/ 403225 h 1289050"/>
                    <a:gd name="connsiteX18" fmla="*/ 177800 w 488950"/>
                    <a:gd name="connsiteY18" fmla="*/ 415925 h 1289050"/>
                    <a:gd name="connsiteX19" fmla="*/ 174625 w 488950"/>
                    <a:gd name="connsiteY19" fmla="*/ 438150 h 1289050"/>
                    <a:gd name="connsiteX20" fmla="*/ 171450 w 488950"/>
                    <a:gd name="connsiteY20" fmla="*/ 463550 h 1289050"/>
                    <a:gd name="connsiteX21" fmla="*/ 161925 w 488950"/>
                    <a:gd name="connsiteY21" fmla="*/ 466725 h 1289050"/>
                    <a:gd name="connsiteX22" fmla="*/ 136525 w 488950"/>
                    <a:gd name="connsiteY22" fmla="*/ 479425 h 1289050"/>
                    <a:gd name="connsiteX23" fmla="*/ 123825 w 488950"/>
                    <a:gd name="connsiteY23" fmla="*/ 485775 h 1289050"/>
                    <a:gd name="connsiteX24" fmla="*/ 111125 w 488950"/>
                    <a:gd name="connsiteY24" fmla="*/ 492125 h 1289050"/>
                    <a:gd name="connsiteX25" fmla="*/ 98425 w 488950"/>
                    <a:gd name="connsiteY25" fmla="*/ 504825 h 1289050"/>
                    <a:gd name="connsiteX26" fmla="*/ 76200 w 488950"/>
                    <a:gd name="connsiteY26" fmla="*/ 514350 h 1289050"/>
                    <a:gd name="connsiteX27" fmla="*/ 41275 w 488950"/>
                    <a:gd name="connsiteY27" fmla="*/ 523875 h 1289050"/>
                    <a:gd name="connsiteX28" fmla="*/ 28575 w 488950"/>
                    <a:gd name="connsiteY28" fmla="*/ 533400 h 1289050"/>
                    <a:gd name="connsiteX29" fmla="*/ 19050 w 488950"/>
                    <a:gd name="connsiteY29" fmla="*/ 536575 h 1289050"/>
                    <a:gd name="connsiteX30" fmla="*/ 9525 w 488950"/>
                    <a:gd name="connsiteY30" fmla="*/ 542925 h 1289050"/>
                    <a:gd name="connsiteX31" fmla="*/ 3175 w 488950"/>
                    <a:gd name="connsiteY31" fmla="*/ 628650 h 1289050"/>
                    <a:gd name="connsiteX32" fmla="*/ 0 w 488950"/>
                    <a:gd name="connsiteY32" fmla="*/ 654050 h 1289050"/>
                    <a:gd name="connsiteX33" fmla="*/ 3175 w 488950"/>
                    <a:gd name="connsiteY33" fmla="*/ 736600 h 1289050"/>
                    <a:gd name="connsiteX34" fmla="*/ 6350 w 488950"/>
                    <a:gd name="connsiteY34" fmla="*/ 746125 h 1289050"/>
                    <a:gd name="connsiteX35" fmla="*/ 19050 w 488950"/>
                    <a:gd name="connsiteY35" fmla="*/ 755650 h 1289050"/>
                    <a:gd name="connsiteX36" fmla="*/ 34925 w 488950"/>
                    <a:gd name="connsiteY36" fmla="*/ 758825 h 1289050"/>
                    <a:gd name="connsiteX37" fmla="*/ 47625 w 488950"/>
                    <a:gd name="connsiteY37" fmla="*/ 762000 h 1289050"/>
                    <a:gd name="connsiteX38" fmla="*/ 104775 w 488950"/>
                    <a:gd name="connsiteY38" fmla="*/ 784225 h 1289050"/>
                    <a:gd name="connsiteX39" fmla="*/ 117475 w 488950"/>
                    <a:gd name="connsiteY39" fmla="*/ 793750 h 1289050"/>
                    <a:gd name="connsiteX40" fmla="*/ 136525 w 488950"/>
                    <a:gd name="connsiteY40" fmla="*/ 803275 h 1289050"/>
                    <a:gd name="connsiteX41" fmla="*/ 165100 w 488950"/>
                    <a:gd name="connsiteY41" fmla="*/ 838200 h 1289050"/>
                    <a:gd name="connsiteX42" fmla="*/ 174625 w 488950"/>
                    <a:gd name="connsiteY42" fmla="*/ 866775 h 1289050"/>
                    <a:gd name="connsiteX43" fmla="*/ 177800 w 488950"/>
                    <a:gd name="connsiteY43" fmla="*/ 879475 h 1289050"/>
                    <a:gd name="connsiteX44" fmla="*/ 190500 w 488950"/>
                    <a:gd name="connsiteY44" fmla="*/ 895350 h 1289050"/>
                    <a:gd name="connsiteX45" fmla="*/ 196850 w 488950"/>
                    <a:gd name="connsiteY45" fmla="*/ 911225 h 1289050"/>
                    <a:gd name="connsiteX46" fmla="*/ 212725 w 488950"/>
                    <a:gd name="connsiteY46" fmla="*/ 939800 h 1289050"/>
                    <a:gd name="connsiteX47" fmla="*/ 228600 w 488950"/>
                    <a:gd name="connsiteY47" fmla="*/ 971550 h 1289050"/>
                    <a:gd name="connsiteX48" fmla="*/ 231775 w 488950"/>
                    <a:gd name="connsiteY48" fmla="*/ 984250 h 1289050"/>
                    <a:gd name="connsiteX49" fmla="*/ 215900 w 488950"/>
                    <a:gd name="connsiteY49" fmla="*/ 1035050 h 1289050"/>
                    <a:gd name="connsiteX50" fmla="*/ 209550 w 488950"/>
                    <a:gd name="connsiteY50" fmla="*/ 1066800 h 1289050"/>
                    <a:gd name="connsiteX51" fmla="*/ 196850 w 488950"/>
                    <a:gd name="connsiteY51" fmla="*/ 1098550 h 1289050"/>
                    <a:gd name="connsiteX52" fmla="*/ 190500 w 488950"/>
                    <a:gd name="connsiteY52" fmla="*/ 1133475 h 1289050"/>
                    <a:gd name="connsiteX53" fmla="*/ 187325 w 488950"/>
                    <a:gd name="connsiteY53" fmla="*/ 1152525 h 1289050"/>
                    <a:gd name="connsiteX54" fmla="*/ 190500 w 488950"/>
                    <a:gd name="connsiteY54" fmla="*/ 1174750 h 1289050"/>
                    <a:gd name="connsiteX55" fmla="*/ 215900 w 488950"/>
                    <a:gd name="connsiteY55" fmla="*/ 1196975 h 1289050"/>
                    <a:gd name="connsiteX56" fmla="*/ 238125 w 488950"/>
                    <a:gd name="connsiteY56" fmla="*/ 1206500 h 1289050"/>
                    <a:gd name="connsiteX57" fmla="*/ 257175 w 488950"/>
                    <a:gd name="connsiteY57" fmla="*/ 1225550 h 1289050"/>
                    <a:gd name="connsiteX58" fmla="*/ 273050 w 488950"/>
                    <a:gd name="connsiteY58" fmla="*/ 1241425 h 1289050"/>
                    <a:gd name="connsiteX59" fmla="*/ 285750 w 488950"/>
                    <a:gd name="connsiteY59" fmla="*/ 1250950 h 1289050"/>
                    <a:gd name="connsiteX60" fmla="*/ 301625 w 488950"/>
                    <a:gd name="connsiteY60" fmla="*/ 1285875 h 1289050"/>
                    <a:gd name="connsiteX61" fmla="*/ 311150 w 488950"/>
                    <a:gd name="connsiteY61" fmla="*/ 1289050 h 1289050"/>
                    <a:gd name="connsiteX62" fmla="*/ 352425 w 488950"/>
                    <a:gd name="connsiteY62" fmla="*/ 1276350 h 1289050"/>
                    <a:gd name="connsiteX63" fmla="*/ 368300 w 488950"/>
                    <a:gd name="connsiteY63" fmla="*/ 1266825 h 1289050"/>
                    <a:gd name="connsiteX64" fmla="*/ 384175 w 488950"/>
                    <a:gd name="connsiteY64" fmla="*/ 1263650 h 1289050"/>
                    <a:gd name="connsiteX65" fmla="*/ 396875 w 488950"/>
                    <a:gd name="connsiteY65" fmla="*/ 1260475 h 1289050"/>
                    <a:gd name="connsiteX66" fmla="*/ 409575 w 488950"/>
                    <a:gd name="connsiteY66" fmla="*/ 1254125 h 1289050"/>
                    <a:gd name="connsiteX67" fmla="*/ 438150 w 488950"/>
                    <a:gd name="connsiteY67" fmla="*/ 1247775 h 1289050"/>
                    <a:gd name="connsiteX68" fmla="*/ 463550 w 488950"/>
                    <a:gd name="connsiteY68" fmla="*/ 1241425 h 1289050"/>
                    <a:gd name="connsiteX69" fmla="*/ 476250 w 488950"/>
                    <a:gd name="connsiteY69" fmla="*/ 1238250 h 1289050"/>
                    <a:gd name="connsiteX70" fmla="*/ 488950 w 488950"/>
                    <a:gd name="connsiteY70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228600 w 488950"/>
                    <a:gd name="connsiteY4" fmla="*/ 82550 h 1289050"/>
                    <a:gd name="connsiteX5" fmla="*/ 193675 w 488950"/>
                    <a:gd name="connsiteY5" fmla="*/ 120650 h 1289050"/>
                    <a:gd name="connsiteX6" fmla="*/ 174625 w 488950"/>
                    <a:gd name="connsiteY6" fmla="*/ 136525 h 1289050"/>
                    <a:gd name="connsiteX7" fmla="*/ 177800 w 488950"/>
                    <a:gd name="connsiteY7" fmla="*/ 168275 h 1289050"/>
                    <a:gd name="connsiteX8" fmla="*/ 180975 w 488950"/>
                    <a:gd name="connsiteY8" fmla="*/ 180975 h 1289050"/>
                    <a:gd name="connsiteX9" fmla="*/ 190500 w 488950"/>
                    <a:gd name="connsiteY9" fmla="*/ 190500 h 1289050"/>
                    <a:gd name="connsiteX10" fmla="*/ 196850 w 488950"/>
                    <a:gd name="connsiteY10" fmla="*/ 212725 h 1289050"/>
                    <a:gd name="connsiteX11" fmla="*/ 200025 w 488950"/>
                    <a:gd name="connsiteY11" fmla="*/ 228600 h 1289050"/>
                    <a:gd name="connsiteX12" fmla="*/ 222250 w 488950"/>
                    <a:gd name="connsiteY12" fmla="*/ 295275 h 1289050"/>
                    <a:gd name="connsiteX13" fmla="*/ 228600 w 488950"/>
                    <a:gd name="connsiteY13" fmla="*/ 317500 h 1289050"/>
                    <a:gd name="connsiteX14" fmla="*/ 225425 w 488950"/>
                    <a:gd name="connsiteY14" fmla="*/ 336550 h 1289050"/>
                    <a:gd name="connsiteX15" fmla="*/ 193675 w 488950"/>
                    <a:gd name="connsiteY15" fmla="*/ 377825 h 1289050"/>
                    <a:gd name="connsiteX16" fmla="*/ 184150 w 488950"/>
                    <a:gd name="connsiteY16" fmla="*/ 403225 h 1289050"/>
                    <a:gd name="connsiteX17" fmla="*/ 177800 w 488950"/>
                    <a:gd name="connsiteY17" fmla="*/ 415925 h 1289050"/>
                    <a:gd name="connsiteX18" fmla="*/ 174625 w 488950"/>
                    <a:gd name="connsiteY18" fmla="*/ 438150 h 1289050"/>
                    <a:gd name="connsiteX19" fmla="*/ 171450 w 488950"/>
                    <a:gd name="connsiteY19" fmla="*/ 463550 h 1289050"/>
                    <a:gd name="connsiteX20" fmla="*/ 161925 w 488950"/>
                    <a:gd name="connsiteY20" fmla="*/ 466725 h 1289050"/>
                    <a:gd name="connsiteX21" fmla="*/ 136525 w 488950"/>
                    <a:gd name="connsiteY21" fmla="*/ 479425 h 1289050"/>
                    <a:gd name="connsiteX22" fmla="*/ 123825 w 488950"/>
                    <a:gd name="connsiteY22" fmla="*/ 485775 h 1289050"/>
                    <a:gd name="connsiteX23" fmla="*/ 111125 w 488950"/>
                    <a:gd name="connsiteY23" fmla="*/ 492125 h 1289050"/>
                    <a:gd name="connsiteX24" fmla="*/ 98425 w 488950"/>
                    <a:gd name="connsiteY24" fmla="*/ 504825 h 1289050"/>
                    <a:gd name="connsiteX25" fmla="*/ 76200 w 488950"/>
                    <a:gd name="connsiteY25" fmla="*/ 514350 h 1289050"/>
                    <a:gd name="connsiteX26" fmla="*/ 41275 w 488950"/>
                    <a:gd name="connsiteY26" fmla="*/ 523875 h 1289050"/>
                    <a:gd name="connsiteX27" fmla="*/ 28575 w 488950"/>
                    <a:gd name="connsiteY27" fmla="*/ 533400 h 1289050"/>
                    <a:gd name="connsiteX28" fmla="*/ 19050 w 488950"/>
                    <a:gd name="connsiteY28" fmla="*/ 536575 h 1289050"/>
                    <a:gd name="connsiteX29" fmla="*/ 9525 w 488950"/>
                    <a:gd name="connsiteY29" fmla="*/ 542925 h 1289050"/>
                    <a:gd name="connsiteX30" fmla="*/ 3175 w 488950"/>
                    <a:gd name="connsiteY30" fmla="*/ 628650 h 1289050"/>
                    <a:gd name="connsiteX31" fmla="*/ 0 w 488950"/>
                    <a:gd name="connsiteY31" fmla="*/ 654050 h 1289050"/>
                    <a:gd name="connsiteX32" fmla="*/ 3175 w 488950"/>
                    <a:gd name="connsiteY32" fmla="*/ 736600 h 1289050"/>
                    <a:gd name="connsiteX33" fmla="*/ 6350 w 488950"/>
                    <a:gd name="connsiteY33" fmla="*/ 746125 h 1289050"/>
                    <a:gd name="connsiteX34" fmla="*/ 19050 w 488950"/>
                    <a:gd name="connsiteY34" fmla="*/ 755650 h 1289050"/>
                    <a:gd name="connsiteX35" fmla="*/ 34925 w 488950"/>
                    <a:gd name="connsiteY35" fmla="*/ 758825 h 1289050"/>
                    <a:gd name="connsiteX36" fmla="*/ 47625 w 488950"/>
                    <a:gd name="connsiteY36" fmla="*/ 762000 h 1289050"/>
                    <a:gd name="connsiteX37" fmla="*/ 104775 w 488950"/>
                    <a:gd name="connsiteY37" fmla="*/ 784225 h 1289050"/>
                    <a:gd name="connsiteX38" fmla="*/ 117475 w 488950"/>
                    <a:gd name="connsiteY38" fmla="*/ 793750 h 1289050"/>
                    <a:gd name="connsiteX39" fmla="*/ 136525 w 488950"/>
                    <a:gd name="connsiteY39" fmla="*/ 803275 h 1289050"/>
                    <a:gd name="connsiteX40" fmla="*/ 165100 w 488950"/>
                    <a:gd name="connsiteY40" fmla="*/ 838200 h 1289050"/>
                    <a:gd name="connsiteX41" fmla="*/ 174625 w 488950"/>
                    <a:gd name="connsiteY41" fmla="*/ 866775 h 1289050"/>
                    <a:gd name="connsiteX42" fmla="*/ 177800 w 488950"/>
                    <a:gd name="connsiteY42" fmla="*/ 879475 h 1289050"/>
                    <a:gd name="connsiteX43" fmla="*/ 190500 w 488950"/>
                    <a:gd name="connsiteY43" fmla="*/ 895350 h 1289050"/>
                    <a:gd name="connsiteX44" fmla="*/ 196850 w 488950"/>
                    <a:gd name="connsiteY44" fmla="*/ 911225 h 1289050"/>
                    <a:gd name="connsiteX45" fmla="*/ 212725 w 488950"/>
                    <a:gd name="connsiteY45" fmla="*/ 939800 h 1289050"/>
                    <a:gd name="connsiteX46" fmla="*/ 228600 w 488950"/>
                    <a:gd name="connsiteY46" fmla="*/ 971550 h 1289050"/>
                    <a:gd name="connsiteX47" fmla="*/ 231775 w 488950"/>
                    <a:gd name="connsiteY47" fmla="*/ 984250 h 1289050"/>
                    <a:gd name="connsiteX48" fmla="*/ 215900 w 488950"/>
                    <a:gd name="connsiteY48" fmla="*/ 1035050 h 1289050"/>
                    <a:gd name="connsiteX49" fmla="*/ 209550 w 488950"/>
                    <a:gd name="connsiteY49" fmla="*/ 1066800 h 1289050"/>
                    <a:gd name="connsiteX50" fmla="*/ 196850 w 488950"/>
                    <a:gd name="connsiteY50" fmla="*/ 1098550 h 1289050"/>
                    <a:gd name="connsiteX51" fmla="*/ 190500 w 488950"/>
                    <a:gd name="connsiteY51" fmla="*/ 1133475 h 1289050"/>
                    <a:gd name="connsiteX52" fmla="*/ 187325 w 488950"/>
                    <a:gd name="connsiteY52" fmla="*/ 1152525 h 1289050"/>
                    <a:gd name="connsiteX53" fmla="*/ 190500 w 488950"/>
                    <a:gd name="connsiteY53" fmla="*/ 1174750 h 1289050"/>
                    <a:gd name="connsiteX54" fmla="*/ 215900 w 488950"/>
                    <a:gd name="connsiteY54" fmla="*/ 1196975 h 1289050"/>
                    <a:gd name="connsiteX55" fmla="*/ 238125 w 488950"/>
                    <a:gd name="connsiteY55" fmla="*/ 1206500 h 1289050"/>
                    <a:gd name="connsiteX56" fmla="*/ 257175 w 488950"/>
                    <a:gd name="connsiteY56" fmla="*/ 1225550 h 1289050"/>
                    <a:gd name="connsiteX57" fmla="*/ 273050 w 488950"/>
                    <a:gd name="connsiteY57" fmla="*/ 1241425 h 1289050"/>
                    <a:gd name="connsiteX58" fmla="*/ 285750 w 488950"/>
                    <a:gd name="connsiteY58" fmla="*/ 1250950 h 1289050"/>
                    <a:gd name="connsiteX59" fmla="*/ 301625 w 488950"/>
                    <a:gd name="connsiteY59" fmla="*/ 1285875 h 1289050"/>
                    <a:gd name="connsiteX60" fmla="*/ 311150 w 488950"/>
                    <a:gd name="connsiteY60" fmla="*/ 1289050 h 1289050"/>
                    <a:gd name="connsiteX61" fmla="*/ 352425 w 488950"/>
                    <a:gd name="connsiteY61" fmla="*/ 1276350 h 1289050"/>
                    <a:gd name="connsiteX62" fmla="*/ 368300 w 488950"/>
                    <a:gd name="connsiteY62" fmla="*/ 1266825 h 1289050"/>
                    <a:gd name="connsiteX63" fmla="*/ 384175 w 488950"/>
                    <a:gd name="connsiteY63" fmla="*/ 1263650 h 1289050"/>
                    <a:gd name="connsiteX64" fmla="*/ 396875 w 488950"/>
                    <a:gd name="connsiteY64" fmla="*/ 1260475 h 1289050"/>
                    <a:gd name="connsiteX65" fmla="*/ 409575 w 488950"/>
                    <a:gd name="connsiteY65" fmla="*/ 1254125 h 1289050"/>
                    <a:gd name="connsiteX66" fmla="*/ 438150 w 488950"/>
                    <a:gd name="connsiteY66" fmla="*/ 1247775 h 1289050"/>
                    <a:gd name="connsiteX67" fmla="*/ 463550 w 488950"/>
                    <a:gd name="connsiteY67" fmla="*/ 1241425 h 1289050"/>
                    <a:gd name="connsiteX68" fmla="*/ 476250 w 488950"/>
                    <a:gd name="connsiteY68" fmla="*/ 1238250 h 1289050"/>
                    <a:gd name="connsiteX69" fmla="*/ 488950 w 488950"/>
                    <a:gd name="connsiteY69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228600 w 488950"/>
                    <a:gd name="connsiteY4" fmla="*/ 82550 h 1289050"/>
                    <a:gd name="connsiteX5" fmla="*/ 193675 w 488950"/>
                    <a:gd name="connsiteY5" fmla="*/ 120650 h 1289050"/>
                    <a:gd name="connsiteX6" fmla="*/ 174625 w 488950"/>
                    <a:gd name="connsiteY6" fmla="*/ 136525 h 1289050"/>
                    <a:gd name="connsiteX7" fmla="*/ 177800 w 488950"/>
                    <a:gd name="connsiteY7" fmla="*/ 168275 h 1289050"/>
                    <a:gd name="connsiteX8" fmla="*/ 180975 w 488950"/>
                    <a:gd name="connsiteY8" fmla="*/ 180975 h 1289050"/>
                    <a:gd name="connsiteX9" fmla="*/ 190500 w 488950"/>
                    <a:gd name="connsiteY9" fmla="*/ 190500 h 1289050"/>
                    <a:gd name="connsiteX10" fmla="*/ 196850 w 488950"/>
                    <a:gd name="connsiteY10" fmla="*/ 212725 h 1289050"/>
                    <a:gd name="connsiteX11" fmla="*/ 222250 w 488950"/>
                    <a:gd name="connsiteY11" fmla="*/ 295275 h 1289050"/>
                    <a:gd name="connsiteX12" fmla="*/ 228600 w 488950"/>
                    <a:gd name="connsiteY12" fmla="*/ 317500 h 1289050"/>
                    <a:gd name="connsiteX13" fmla="*/ 225425 w 488950"/>
                    <a:gd name="connsiteY13" fmla="*/ 336550 h 1289050"/>
                    <a:gd name="connsiteX14" fmla="*/ 193675 w 488950"/>
                    <a:gd name="connsiteY14" fmla="*/ 377825 h 1289050"/>
                    <a:gd name="connsiteX15" fmla="*/ 184150 w 488950"/>
                    <a:gd name="connsiteY15" fmla="*/ 403225 h 1289050"/>
                    <a:gd name="connsiteX16" fmla="*/ 177800 w 488950"/>
                    <a:gd name="connsiteY16" fmla="*/ 415925 h 1289050"/>
                    <a:gd name="connsiteX17" fmla="*/ 174625 w 488950"/>
                    <a:gd name="connsiteY17" fmla="*/ 438150 h 1289050"/>
                    <a:gd name="connsiteX18" fmla="*/ 171450 w 488950"/>
                    <a:gd name="connsiteY18" fmla="*/ 463550 h 1289050"/>
                    <a:gd name="connsiteX19" fmla="*/ 161925 w 488950"/>
                    <a:gd name="connsiteY19" fmla="*/ 466725 h 1289050"/>
                    <a:gd name="connsiteX20" fmla="*/ 136525 w 488950"/>
                    <a:gd name="connsiteY20" fmla="*/ 479425 h 1289050"/>
                    <a:gd name="connsiteX21" fmla="*/ 123825 w 488950"/>
                    <a:gd name="connsiteY21" fmla="*/ 485775 h 1289050"/>
                    <a:gd name="connsiteX22" fmla="*/ 111125 w 488950"/>
                    <a:gd name="connsiteY22" fmla="*/ 492125 h 1289050"/>
                    <a:gd name="connsiteX23" fmla="*/ 98425 w 488950"/>
                    <a:gd name="connsiteY23" fmla="*/ 504825 h 1289050"/>
                    <a:gd name="connsiteX24" fmla="*/ 76200 w 488950"/>
                    <a:gd name="connsiteY24" fmla="*/ 514350 h 1289050"/>
                    <a:gd name="connsiteX25" fmla="*/ 41275 w 488950"/>
                    <a:gd name="connsiteY25" fmla="*/ 523875 h 1289050"/>
                    <a:gd name="connsiteX26" fmla="*/ 28575 w 488950"/>
                    <a:gd name="connsiteY26" fmla="*/ 533400 h 1289050"/>
                    <a:gd name="connsiteX27" fmla="*/ 19050 w 488950"/>
                    <a:gd name="connsiteY27" fmla="*/ 536575 h 1289050"/>
                    <a:gd name="connsiteX28" fmla="*/ 9525 w 488950"/>
                    <a:gd name="connsiteY28" fmla="*/ 542925 h 1289050"/>
                    <a:gd name="connsiteX29" fmla="*/ 3175 w 488950"/>
                    <a:gd name="connsiteY29" fmla="*/ 628650 h 1289050"/>
                    <a:gd name="connsiteX30" fmla="*/ 0 w 488950"/>
                    <a:gd name="connsiteY30" fmla="*/ 654050 h 1289050"/>
                    <a:gd name="connsiteX31" fmla="*/ 3175 w 488950"/>
                    <a:gd name="connsiteY31" fmla="*/ 736600 h 1289050"/>
                    <a:gd name="connsiteX32" fmla="*/ 6350 w 488950"/>
                    <a:gd name="connsiteY32" fmla="*/ 746125 h 1289050"/>
                    <a:gd name="connsiteX33" fmla="*/ 19050 w 488950"/>
                    <a:gd name="connsiteY33" fmla="*/ 755650 h 1289050"/>
                    <a:gd name="connsiteX34" fmla="*/ 34925 w 488950"/>
                    <a:gd name="connsiteY34" fmla="*/ 758825 h 1289050"/>
                    <a:gd name="connsiteX35" fmla="*/ 47625 w 488950"/>
                    <a:gd name="connsiteY35" fmla="*/ 762000 h 1289050"/>
                    <a:gd name="connsiteX36" fmla="*/ 104775 w 488950"/>
                    <a:gd name="connsiteY36" fmla="*/ 784225 h 1289050"/>
                    <a:gd name="connsiteX37" fmla="*/ 117475 w 488950"/>
                    <a:gd name="connsiteY37" fmla="*/ 793750 h 1289050"/>
                    <a:gd name="connsiteX38" fmla="*/ 136525 w 488950"/>
                    <a:gd name="connsiteY38" fmla="*/ 803275 h 1289050"/>
                    <a:gd name="connsiteX39" fmla="*/ 165100 w 488950"/>
                    <a:gd name="connsiteY39" fmla="*/ 838200 h 1289050"/>
                    <a:gd name="connsiteX40" fmla="*/ 174625 w 488950"/>
                    <a:gd name="connsiteY40" fmla="*/ 866775 h 1289050"/>
                    <a:gd name="connsiteX41" fmla="*/ 177800 w 488950"/>
                    <a:gd name="connsiteY41" fmla="*/ 879475 h 1289050"/>
                    <a:gd name="connsiteX42" fmla="*/ 190500 w 488950"/>
                    <a:gd name="connsiteY42" fmla="*/ 895350 h 1289050"/>
                    <a:gd name="connsiteX43" fmla="*/ 196850 w 488950"/>
                    <a:gd name="connsiteY43" fmla="*/ 911225 h 1289050"/>
                    <a:gd name="connsiteX44" fmla="*/ 212725 w 488950"/>
                    <a:gd name="connsiteY44" fmla="*/ 939800 h 1289050"/>
                    <a:gd name="connsiteX45" fmla="*/ 228600 w 488950"/>
                    <a:gd name="connsiteY45" fmla="*/ 971550 h 1289050"/>
                    <a:gd name="connsiteX46" fmla="*/ 231775 w 488950"/>
                    <a:gd name="connsiteY46" fmla="*/ 984250 h 1289050"/>
                    <a:gd name="connsiteX47" fmla="*/ 215900 w 488950"/>
                    <a:gd name="connsiteY47" fmla="*/ 1035050 h 1289050"/>
                    <a:gd name="connsiteX48" fmla="*/ 209550 w 488950"/>
                    <a:gd name="connsiteY48" fmla="*/ 1066800 h 1289050"/>
                    <a:gd name="connsiteX49" fmla="*/ 196850 w 488950"/>
                    <a:gd name="connsiteY49" fmla="*/ 1098550 h 1289050"/>
                    <a:gd name="connsiteX50" fmla="*/ 190500 w 488950"/>
                    <a:gd name="connsiteY50" fmla="*/ 1133475 h 1289050"/>
                    <a:gd name="connsiteX51" fmla="*/ 187325 w 488950"/>
                    <a:gd name="connsiteY51" fmla="*/ 1152525 h 1289050"/>
                    <a:gd name="connsiteX52" fmla="*/ 190500 w 488950"/>
                    <a:gd name="connsiteY52" fmla="*/ 1174750 h 1289050"/>
                    <a:gd name="connsiteX53" fmla="*/ 215900 w 488950"/>
                    <a:gd name="connsiteY53" fmla="*/ 1196975 h 1289050"/>
                    <a:gd name="connsiteX54" fmla="*/ 238125 w 488950"/>
                    <a:gd name="connsiteY54" fmla="*/ 1206500 h 1289050"/>
                    <a:gd name="connsiteX55" fmla="*/ 257175 w 488950"/>
                    <a:gd name="connsiteY55" fmla="*/ 1225550 h 1289050"/>
                    <a:gd name="connsiteX56" fmla="*/ 273050 w 488950"/>
                    <a:gd name="connsiteY56" fmla="*/ 1241425 h 1289050"/>
                    <a:gd name="connsiteX57" fmla="*/ 285750 w 488950"/>
                    <a:gd name="connsiteY57" fmla="*/ 1250950 h 1289050"/>
                    <a:gd name="connsiteX58" fmla="*/ 301625 w 488950"/>
                    <a:gd name="connsiteY58" fmla="*/ 1285875 h 1289050"/>
                    <a:gd name="connsiteX59" fmla="*/ 311150 w 488950"/>
                    <a:gd name="connsiteY59" fmla="*/ 1289050 h 1289050"/>
                    <a:gd name="connsiteX60" fmla="*/ 352425 w 488950"/>
                    <a:gd name="connsiteY60" fmla="*/ 1276350 h 1289050"/>
                    <a:gd name="connsiteX61" fmla="*/ 368300 w 488950"/>
                    <a:gd name="connsiteY61" fmla="*/ 1266825 h 1289050"/>
                    <a:gd name="connsiteX62" fmla="*/ 384175 w 488950"/>
                    <a:gd name="connsiteY62" fmla="*/ 1263650 h 1289050"/>
                    <a:gd name="connsiteX63" fmla="*/ 396875 w 488950"/>
                    <a:gd name="connsiteY63" fmla="*/ 1260475 h 1289050"/>
                    <a:gd name="connsiteX64" fmla="*/ 409575 w 488950"/>
                    <a:gd name="connsiteY64" fmla="*/ 1254125 h 1289050"/>
                    <a:gd name="connsiteX65" fmla="*/ 438150 w 488950"/>
                    <a:gd name="connsiteY65" fmla="*/ 1247775 h 1289050"/>
                    <a:gd name="connsiteX66" fmla="*/ 463550 w 488950"/>
                    <a:gd name="connsiteY66" fmla="*/ 1241425 h 1289050"/>
                    <a:gd name="connsiteX67" fmla="*/ 476250 w 488950"/>
                    <a:gd name="connsiteY67" fmla="*/ 1238250 h 1289050"/>
                    <a:gd name="connsiteX68" fmla="*/ 488950 w 488950"/>
                    <a:gd name="connsiteY68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228600 w 488950"/>
                    <a:gd name="connsiteY4" fmla="*/ 82550 h 1289050"/>
                    <a:gd name="connsiteX5" fmla="*/ 193675 w 488950"/>
                    <a:gd name="connsiteY5" fmla="*/ 120650 h 1289050"/>
                    <a:gd name="connsiteX6" fmla="*/ 174625 w 488950"/>
                    <a:gd name="connsiteY6" fmla="*/ 136525 h 1289050"/>
                    <a:gd name="connsiteX7" fmla="*/ 177800 w 488950"/>
                    <a:gd name="connsiteY7" fmla="*/ 168275 h 1289050"/>
                    <a:gd name="connsiteX8" fmla="*/ 180975 w 488950"/>
                    <a:gd name="connsiteY8" fmla="*/ 180975 h 1289050"/>
                    <a:gd name="connsiteX9" fmla="*/ 190500 w 488950"/>
                    <a:gd name="connsiteY9" fmla="*/ 190500 h 1289050"/>
                    <a:gd name="connsiteX10" fmla="*/ 222250 w 488950"/>
                    <a:gd name="connsiteY10" fmla="*/ 295275 h 1289050"/>
                    <a:gd name="connsiteX11" fmla="*/ 228600 w 488950"/>
                    <a:gd name="connsiteY11" fmla="*/ 317500 h 1289050"/>
                    <a:gd name="connsiteX12" fmla="*/ 225425 w 488950"/>
                    <a:gd name="connsiteY12" fmla="*/ 336550 h 1289050"/>
                    <a:gd name="connsiteX13" fmla="*/ 193675 w 488950"/>
                    <a:gd name="connsiteY13" fmla="*/ 377825 h 1289050"/>
                    <a:gd name="connsiteX14" fmla="*/ 184150 w 488950"/>
                    <a:gd name="connsiteY14" fmla="*/ 403225 h 1289050"/>
                    <a:gd name="connsiteX15" fmla="*/ 177800 w 488950"/>
                    <a:gd name="connsiteY15" fmla="*/ 415925 h 1289050"/>
                    <a:gd name="connsiteX16" fmla="*/ 174625 w 488950"/>
                    <a:gd name="connsiteY16" fmla="*/ 438150 h 1289050"/>
                    <a:gd name="connsiteX17" fmla="*/ 171450 w 488950"/>
                    <a:gd name="connsiteY17" fmla="*/ 463550 h 1289050"/>
                    <a:gd name="connsiteX18" fmla="*/ 161925 w 488950"/>
                    <a:gd name="connsiteY18" fmla="*/ 466725 h 1289050"/>
                    <a:gd name="connsiteX19" fmla="*/ 136525 w 488950"/>
                    <a:gd name="connsiteY19" fmla="*/ 479425 h 1289050"/>
                    <a:gd name="connsiteX20" fmla="*/ 123825 w 488950"/>
                    <a:gd name="connsiteY20" fmla="*/ 485775 h 1289050"/>
                    <a:gd name="connsiteX21" fmla="*/ 111125 w 488950"/>
                    <a:gd name="connsiteY21" fmla="*/ 492125 h 1289050"/>
                    <a:gd name="connsiteX22" fmla="*/ 98425 w 488950"/>
                    <a:gd name="connsiteY22" fmla="*/ 504825 h 1289050"/>
                    <a:gd name="connsiteX23" fmla="*/ 76200 w 488950"/>
                    <a:gd name="connsiteY23" fmla="*/ 514350 h 1289050"/>
                    <a:gd name="connsiteX24" fmla="*/ 41275 w 488950"/>
                    <a:gd name="connsiteY24" fmla="*/ 523875 h 1289050"/>
                    <a:gd name="connsiteX25" fmla="*/ 28575 w 488950"/>
                    <a:gd name="connsiteY25" fmla="*/ 533400 h 1289050"/>
                    <a:gd name="connsiteX26" fmla="*/ 19050 w 488950"/>
                    <a:gd name="connsiteY26" fmla="*/ 536575 h 1289050"/>
                    <a:gd name="connsiteX27" fmla="*/ 9525 w 488950"/>
                    <a:gd name="connsiteY27" fmla="*/ 542925 h 1289050"/>
                    <a:gd name="connsiteX28" fmla="*/ 3175 w 488950"/>
                    <a:gd name="connsiteY28" fmla="*/ 628650 h 1289050"/>
                    <a:gd name="connsiteX29" fmla="*/ 0 w 488950"/>
                    <a:gd name="connsiteY29" fmla="*/ 654050 h 1289050"/>
                    <a:gd name="connsiteX30" fmla="*/ 3175 w 488950"/>
                    <a:gd name="connsiteY30" fmla="*/ 736600 h 1289050"/>
                    <a:gd name="connsiteX31" fmla="*/ 6350 w 488950"/>
                    <a:gd name="connsiteY31" fmla="*/ 746125 h 1289050"/>
                    <a:gd name="connsiteX32" fmla="*/ 19050 w 488950"/>
                    <a:gd name="connsiteY32" fmla="*/ 755650 h 1289050"/>
                    <a:gd name="connsiteX33" fmla="*/ 34925 w 488950"/>
                    <a:gd name="connsiteY33" fmla="*/ 758825 h 1289050"/>
                    <a:gd name="connsiteX34" fmla="*/ 47625 w 488950"/>
                    <a:gd name="connsiteY34" fmla="*/ 762000 h 1289050"/>
                    <a:gd name="connsiteX35" fmla="*/ 104775 w 488950"/>
                    <a:gd name="connsiteY35" fmla="*/ 784225 h 1289050"/>
                    <a:gd name="connsiteX36" fmla="*/ 117475 w 488950"/>
                    <a:gd name="connsiteY36" fmla="*/ 793750 h 1289050"/>
                    <a:gd name="connsiteX37" fmla="*/ 136525 w 488950"/>
                    <a:gd name="connsiteY37" fmla="*/ 803275 h 1289050"/>
                    <a:gd name="connsiteX38" fmla="*/ 165100 w 488950"/>
                    <a:gd name="connsiteY38" fmla="*/ 838200 h 1289050"/>
                    <a:gd name="connsiteX39" fmla="*/ 174625 w 488950"/>
                    <a:gd name="connsiteY39" fmla="*/ 866775 h 1289050"/>
                    <a:gd name="connsiteX40" fmla="*/ 177800 w 488950"/>
                    <a:gd name="connsiteY40" fmla="*/ 879475 h 1289050"/>
                    <a:gd name="connsiteX41" fmla="*/ 190500 w 488950"/>
                    <a:gd name="connsiteY41" fmla="*/ 895350 h 1289050"/>
                    <a:gd name="connsiteX42" fmla="*/ 196850 w 488950"/>
                    <a:gd name="connsiteY42" fmla="*/ 911225 h 1289050"/>
                    <a:gd name="connsiteX43" fmla="*/ 212725 w 488950"/>
                    <a:gd name="connsiteY43" fmla="*/ 939800 h 1289050"/>
                    <a:gd name="connsiteX44" fmla="*/ 228600 w 488950"/>
                    <a:gd name="connsiteY44" fmla="*/ 971550 h 1289050"/>
                    <a:gd name="connsiteX45" fmla="*/ 231775 w 488950"/>
                    <a:gd name="connsiteY45" fmla="*/ 984250 h 1289050"/>
                    <a:gd name="connsiteX46" fmla="*/ 215900 w 488950"/>
                    <a:gd name="connsiteY46" fmla="*/ 1035050 h 1289050"/>
                    <a:gd name="connsiteX47" fmla="*/ 209550 w 488950"/>
                    <a:gd name="connsiteY47" fmla="*/ 1066800 h 1289050"/>
                    <a:gd name="connsiteX48" fmla="*/ 196850 w 488950"/>
                    <a:gd name="connsiteY48" fmla="*/ 1098550 h 1289050"/>
                    <a:gd name="connsiteX49" fmla="*/ 190500 w 488950"/>
                    <a:gd name="connsiteY49" fmla="*/ 1133475 h 1289050"/>
                    <a:gd name="connsiteX50" fmla="*/ 187325 w 488950"/>
                    <a:gd name="connsiteY50" fmla="*/ 1152525 h 1289050"/>
                    <a:gd name="connsiteX51" fmla="*/ 190500 w 488950"/>
                    <a:gd name="connsiteY51" fmla="*/ 1174750 h 1289050"/>
                    <a:gd name="connsiteX52" fmla="*/ 215900 w 488950"/>
                    <a:gd name="connsiteY52" fmla="*/ 1196975 h 1289050"/>
                    <a:gd name="connsiteX53" fmla="*/ 238125 w 488950"/>
                    <a:gd name="connsiteY53" fmla="*/ 1206500 h 1289050"/>
                    <a:gd name="connsiteX54" fmla="*/ 257175 w 488950"/>
                    <a:gd name="connsiteY54" fmla="*/ 1225550 h 1289050"/>
                    <a:gd name="connsiteX55" fmla="*/ 273050 w 488950"/>
                    <a:gd name="connsiteY55" fmla="*/ 1241425 h 1289050"/>
                    <a:gd name="connsiteX56" fmla="*/ 285750 w 488950"/>
                    <a:gd name="connsiteY56" fmla="*/ 1250950 h 1289050"/>
                    <a:gd name="connsiteX57" fmla="*/ 301625 w 488950"/>
                    <a:gd name="connsiteY57" fmla="*/ 1285875 h 1289050"/>
                    <a:gd name="connsiteX58" fmla="*/ 311150 w 488950"/>
                    <a:gd name="connsiteY58" fmla="*/ 1289050 h 1289050"/>
                    <a:gd name="connsiteX59" fmla="*/ 352425 w 488950"/>
                    <a:gd name="connsiteY59" fmla="*/ 1276350 h 1289050"/>
                    <a:gd name="connsiteX60" fmla="*/ 368300 w 488950"/>
                    <a:gd name="connsiteY60" fmla="*/ 1266825 h 1289050"/>
                    <a:gd name="connsiteX61" fmla="*/ 384175 w 488950"/>
                    <a:gd name="connsiteY61" fmla="*/ 1263650 h 1289050"/>
                    <a:gd name="connsiteX62" fmla="*/ 396875 w 488950"/>
                    <a:gd name="connsiteY62" fmla="*/ 1260475 h 1289050"/>
                    <a:gd name="connsiteX63" fmla="*/ 409575 w 488950"/>
                    <a:gd name="connsiteY63" fmla="*/ 1254125 h 1289050"/>
                    <a:gd name="connsiteX64" fmla="*/ 438150 w 488950"/>
                    <a:gd name="connsiteY64" fmla="*/ 1247775 h 1289050"/>
                    <a:gd name="connsiteX65" fmla="*/ 463550 w 488950"/>
                    <a:gd name="connsiteY65" fmla="*/ 1241425 h 1289050"/>
                    <a:gd name="connsiteX66" fmla="*/ 476250 w 488950"/>
                    <a:gd name="connsiteY66" fmla="*/ 1238250 h 1289050"/>
                    <a:gd name="connsiteX67" fmla="*/ 488950 w 488950"/>
                    <a:gd name="connsiteY67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228600 w 488950"/>
                    <a:gd name="connsiteY4" fmla="*/ 82550 h 1289050"/>
                    <a:gd name="connsiteX5" fmla="*/ 193675 w 488950"/>
                    <a:gd name="connsiteY5" fmla="*/ 120650 h 1289050"/>
                    <a:gd name="connsiteX6" fmla="*/ 174625 w 488950"/>
                    <a:gd name="connsiteY6" fmla="*/ 136525 h 1289050"/>
                    <a:gd name="connsiteX7" fmla="*/ 177800 w 488950"/>
                    <a:gd name="connsiteY7" fmla="*/ 168275 h 1289050"/>
                    <a:gd name="connsiteX8" fmla="*/ 180975 w 488950"/>
                    <a:gd name="connsiteY8" fmla="*/ 180975 h 1289050"/>
                    <a:gd name="connsiteX9" fmla="*/ 222250 w 488950"/>
                    <a:gd name="connsiteY9" fmla="*/ 295275 h 1289050"/>
                    <a:gd name="connsiteX10" fmla="*/ 228600 w 488950"/>
                    <a:gd name="connsiteY10" fmla="*/ 317500 h 1289050"/>
                    <a:gd name="connsiteX11" fmla="*/ 225425 w 488950"/>
                    <a:gd name="connsiteY11" fmla="*/ 336550 h 1289050"/>
                    <a:gd name="connsiteX12" fmla="*/ 193675 w 488950"/>
                    <a:gd name="connsiteY12" fmla="*/ 377825 h 1289050"/>
                    <a:gd name="connsiteX13" fmla="*/ 184150 w 488950"/>
                    <a:gd name="connsiteY13" fmla="*/ 403225 h 1289050"/>
                    <a:gd name="connsiteX14" fmla="*/ 177800 w 488950"/>
                    <a:gd name="connsiteY14" fmla="*/ 415925 h 1289050"/>
                    <a:gd name="connsiteX15" fmla="*/ 174625 w 488950"/>
                    <a:gd name="connsiteY15" fmla="*/ 438150 h 1289050"/>
                    <a:gd name="connsiteX16" fmla="*/ 171450 w 488950"/>
                    <a:gd name="connsiteY16" fmla="*/ 463550 h 1289050"/>
                    <a:gd name="connsiteX17" fmla="*/ 161925 w 488950"/>
                    <a:gd name="connsiteY17" fmla="*/ 466725 h 1289050"/>
                    <a:gd name="connsiteX18" fmla="*/ 136525 w 488950"/>
                    <a:gd name="connsiteY18" fmla="*/ 479425 h 1289050"/>
                    <a:gd name="connsiteX19" fmla="*/ 123825 w 488950"/>
                    <a:gd name="connsiteY19" fmla="*/ 485775 h 1289050"/>
                    <a:gd name="connsiteX20" fmla="*/ 111125 w 488950"/>
                    <a:gd name="connsiteY20" fmla="*/ 492125 h 1289050"/>
                    <a:gd name="connsiteX21" fmla="*/ 98425 w 488950"/>
                    <a:gd name="connsiteY21" fmla="*/ 504825 h 1289050"/>
                    <a:gd name="connsiteX22" fmla="*/ 76200 w 488950"/>
                    <a:gd name="connsiteY22" fmla="*/ 514350 h 1289050"/>
                    <a:gd name="connsiteX23" fmla="*/ 41275 w 488950"/>
                    <a:gd name="connsiteY23" fmla="*/ 523875 h 1289050"/>
                    <a:gd name="connsiteX24" fmla="*/ 28575 w 488950"/>
                    <a:gd name="connsiteY24" fmla="*/ 533400 h 1289050"/>
                    <a:gd name="connsiteX25" fmla="*/ 19050 w 488950"/>
                    <a:gd name="connsiteY25" fmla="*/ 536575 h 1289050"/>
                    <a:gd name="connsiteX26" fmla="*/ 9525 w 488950"/>
                    <a:gd name="connsiteY26" fmla="*/ 542925 h 1289050"/>
                    <a:gd name="connsiteX27" fmla="*/ 3175 w 488950"/>
                    <a:gd name="connsiteY27" fmla="*/ 628650 h 1289050"/>
                    <a:gd name="connsiteX28" fmla="*/ 0 w 488950"/>
                    <a:gd name="connsiteY28" fmla="*/ 654050 h 1289050"/>
                    <a:gd name="connsiteX29" fmla="*/ 3175 w 488950"/>
                    <a:gd name="connsiteY29" fmla="*/ 736600 h 1289050"/>
                    <a:gd name="connsiteX30" fmla="*/ 6350 w 488950"/>
                    <a:gd name="connsiteY30" fmla="*/ 746125 h 1289050"/>
                    <a:gd name="connsiteX31" fmla="*/ 19050 w 488950"/>
                    <a:gd name="connsiteY31" fmla="*/ 755650 h 1289050"/>
                    <a:gd name="connsiteX32" fmla="*/ 34925 w 488950"/>
                    <a:gd name="connsiteY32" fmla="*/ 758825 h 1289050"/>
                    <a:gd name="connsiteX33" fmla="*/ 47625 w 488950"/>
                    <a:gd name="connsiteY33" fmla="*/ 762000 h 1289050"/>
                    <a:gd name="connsiteX34" fmla="*/ 104775 w 488950"/>
                    <a:gd name="connsiteY34" fmla="*/ 784225 h 1289050"/>
                    <a:gd name="connsiteX35" fmla="*/ 117475 w 488950"/>
                    <a:gd name="connsiteY35" fmla="*/ 793750 h 1289050"/>
                    <a:gd name="connsiteX36" fmla="*/ 136525 w 488950"/>
                    <a:gd name="connsiteY36" fmla="*/ 803275 h 1289050"/>
                    <a:gd name="connsiteX37" fmla="*/ 165100 w 488950"/>
                    <a:gd name="connsiteY37" fmla="*/ 838200 h 1289050"/>
                    <a:gd name="connsiteX38" fmla="*/ 174625 w 488950"/>
                    <a:gd name="connsiteY38" fmla="*/ 866775 h 1289050"/>
                    <a:gd name="connsiteX39" fmla="*/ 177800 w 488950"/>
                    <a:gd name="connsiteY39" fmla="*/ 879475 h 1289050"/>
                    <a:gd name="connsiteX40" fmla="*/ 190500 w 488950"/>
                    <a:gd name="connsiteY40" fmla="*/ 895350 h 1289050"/>
                    <a:gd name="connsiteX41" fmla="*/ 196850 w 488950"/>
                    <a:gd name="connsiteY41" fmla="*/ 911225 h 1289050"/>
                    <a:gd name="connsiteX42" fmla="*/ 212725 w 488950"/>
                    <a:gd name="connsiteY42" fmla="*/ 939800 h 1289050"/>
                    <a:gd name="connsiteX43" fmla="*/ 228600 w 488950"/>
                    <a:gd name="connsiteY43" fmla="*/ 971550 h 1289050"/>
                    <a:gd name="connsiteX44" fmla="*/ 231775 w 488950"/>
                    <a:gd name="connsiteY44" fmla="*/ 984250 h 1289050"/>
                    <a:gd name="connsiteX45" fmla="*/ 215900 w 488950"/>
                    <a:gd name="connsiteY45" fmla="*/ 1035050 h 1289050"/>
                    <a:gd name="connsiteX46" fmla="*/ 209550 w 488950"/>
                    <a:gd name="connsiteY46" fmla="*/ 1066800 h 1289050"/>
                    <a:gd name="connsiteX47" fmla="*/ 196850 w 488950"/>
                    <a:gd name="connsiteY47" fmla="*/ 1098550 h 1289050"/>
                    <a:gd name="connsiteX48" fmla="*/ 190500 w 488950"/>
                    <a:gd name="connsiteY48" fmla="*/ 1133475 h 1289050"/>
                    <a:gd name="connsiteX49" fmla="*/ 187325 w 488950"/>
                    <a:gd name="connsiteY49" fmla="*/ 1152525 h 1289050"/>
                    <a:gd name="connsiteX50" fmla="*/ 190500 w 488950"/>
                    <a:gd name="connsiteY50" fmla="*/ 1174750 h 1289050"/>
                    <a:gd name="connsiteX51" fmla="*/ 215900 w 488950"/>
                    <a:gd name="connsiteY51" fmla="*/ 1196975 h 1289050"/>
                    <a:gd name="connsiteX52" fmla="*/ 238125 w 488950"/>
                    <a:gd name="connsiteY52" fmla="*/ 1206500 h 1289050"/>
                    <a:gd name="connsiteX53" fmla="*/ 257175 w 488950"/>
                    <a:gd name="connsiteY53" fmla="*/ 1225550 h 1289050"/>
                    <a:gd name="connsiteX54" fmla="*/ 273050 w 488950"/>
                    <a:gd name="connsiteY54" fmla="*/ 1241425 h 1289050"/>
                    <a:gd name="connsiteX55" fmla="*/ 285750 w 488950"/>
                    <a:gd name="connsiteY55" fmla="*/ 1250950 h 1289050"/>
                    <a:gd name="connsiteX56" fmla="*/ 301625 w 488950"/>
                    <a:gd name="connsiteY56" fmla="*/ 1285875 h 1289050"/>
                    <a:gd name="connsiteX57" fmla="*/ 311150 w 488950"/>
                    <a:gd name="connsiteY57" fmla="*/ 1289050 h 1289050"/>
                    <a:gd name="connsiteX58" fmla="*/ 352425 w 488950"/>
                    <a:gd name="connsiteY58" fmla="*/ 1276350 h 1289050"/>
                    <a:gd name="connsiteX59" fmla="*/ 368300 w 488950"/>
                    <a:gd name="connsiteY59" fmla="*/ 1266825 h 1289050"/>
                    <a:gd name="connsiteX60" fmla="*/ 384175 w 488950"/>
                    <a:gd name="connsiteY60" fmla="*/ 1263650 h 1289050"/>
                    <a:gd name="connsiteX61" fmla="*/ 396875 w 488950"/>
                    <a:gd name="connsiteY61" fmla="*/ 1260475 h 1289050"/>
                    <a:gd name="connsiteX62" fmla="*/ 409575 w 488950"/>
                    <a:gd name="connsiteY62" fmla="*/ 1254125 h 1289050"/>
                    <a:gd name="connsiteX63" fmla="*/ 438150 w 488950"/>
                    <a:gd name="connsiteY63" fmla="*/ 1247775 h 1289050"/>
                    <a:gd name="connsiteX64" fmla="*/ 463550 w 488950"/>
                    <a:gd name="connsiteY64" fmla="*/ 1241425 h 1289050"/>
                    <a:gd name="connsiteX65" fmla="*/ 476250 w 488950"/>
                    <a:gd name="connsiteY65" fmla="*/ 1238250 h 1289050"/>
                    <a:gd name="connsiteX66" fmla="*/ 488950 w 488950"/>
                    <a:gd name="connsiteY66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228600 w 488950"/>
                    <a:gd name="connsiteY4" fmla="*/ 82550 h 1289050"/>
                    <a:gd name="connsiteX5" fmla="*/ 193675 w 488950"/>
                    <a:gd name="connsiteY5" fmla="*/ 120650 h 1289050"/>
                    <a:gd name="connsiteX6" fmla="*/ 174625 w 488950"/>
                    <a:gd name="connsiteY6" fmla="*/ 136525 h 1289050"/>
                    <a:gd name="connsiteX7" fmla="*/ 177800 w 488950"/>
                    <a:gd name="connsiteY7" fmla="*/ 168275 h 1289050"/>
                    <a:gd name="connsiteX8" fmla="*/ 222250 w 488950"/>
                    <a:gd name="connsiteY8" fmla="*/ 295275 h 1289050"/>
                    <a:gd name="connsiteX9" fmla="*/ 228600 w 488950"/>
                    <a:gd name="connsiteY9" fmla="*/ 317500 h 1289050"/>
                    <a:gd name="connsiteX10" fmla="*/ 225425 w 488950"/>
                    <a:gd name="connsiteY10" fmla="*/ 336550 h 1289050"/>
                    <a:gd name="connsiteX11" fmla="*/ 193675 w 488950"/>
                    <a:gd name="connsiteY11" fmla="*/ 377825 h 1289050"/>
                    <a:gd name="connsiteX12" fmla="*/ 184150 w 488950"/>
                    <a:gd name="connsiteY12" fmla="*/ 403225 h 1289050"/>
                    <a:gd name="connsiteX13" fmla="*/ 177800 w 488950"/>
                    <a:gd name="connsiteY13" fmla="*/ 415925 h 1289050"/>
                    <a:gd name="connsiteX14" fmla="*/ 174625 w 488950"/>
                    <a:gd name="connsiteY14" fmla="*/ 438150 h 1289050"/>
                    <a:gd name="connsiteX15" fmla="*/ 171450 w 488950"/>
                    <a:gd name="connsiteY15" fmla="*/ 463550 h 1289050"/>
                    <a:gd name="connsiteX16" fmla="*/ 161925 w 488950"/>
                    <a:gd name="connsiteY16" fmla="*/ 466725 h 1289050"/>
                    <a:gd name="connsiteX17" fmla="*/ 136525 w 488950"/>
                    <a:gd name="connsiteY17" fmla="*/ 479425 h 1289050"/>
                    <a:gd name="connsiteX18" fmla="*/ 123825 w 488950"/>
                    <a:gd name="connsiteY18" fmla="*/ 485775 h 1289050"/>
                    <a:gd name="connsiteX19" fmla="*/ 111125 w 488950"/>
                    <a:gd name="connsiteY19" fmla="*/ 492125 h 1289050"/>
                    <a:gd name="connsiteX20" fmla="*/ 98425 w 488950"/>
                    <a:gd name="connsiteY20" fmla="*/ 504825 h 1289050"/>
                    <a:gd name="connsiteX21" fmla="*/ 76200 w 488950"/>
                    <a:gd name="connsiteY21" fmla="*/ 514350 h 1289050"/>
                    <a:gd name="connsiteX22" fmla="*/ 41275 w 488950"/>
                    <a:gd name="connsiteY22" fmla="*/ 523875 h 1289050"/>
                    <a:gd name="connsiteX23" fmla="*/ 28575 w 488950"/>
                    <a:gd name="connsiteY23" fmla="*/ 533400 h 1289050"/>
                    <a:gd name="connsiteX24" fmla="*/ 19050 w 488950"/>
                    <a:gd name="connsiteY24" fmla="*/ 536575 h 1289050"/>
                    <a:gd name="connsiteX25" fmla="*/ 9525 w 488950"/>
                    <a:gd name="connsiteY25" fmla="*/ 542925 h 1289050"/>
                    <a:gd name="connsiteX26" fmla="*/ 3175 w 488950"/>
                    <a:gd name="connsiteY26" fmla="*/ 628650 h 1289050"/>
                    <a:gd name="connsiteX27" fmla="*/ 0 w 488950"/>
                    <a:gd name="connsiteY27" fmla="*/ 654050 h 1289050"/>
                    <a:gd name="connsiteX28" fmla="*/ 3175 w 488950"/>
                    <a:gd name="connsiteY28" fmla="*/ 736600 h 1289050"/>
                    <a:gd name="connsiteX29" fmla="*/ 6350 w 488950"/>
                    <a:gd name="connsiteY29" fmla="*/ 746125 h 1289050"/>
                    <a:gd name="connsiteX30" fmla="*/ 19050 w 488950"/>
                    <a:gd name="connsiteY30" fmla="*/ 755650 h 1289050"/>
                    <a:gd name="connsiteX31" fmla="*/ 34925 w 488950"/>
                    <a:gd name="connsiteY31" fmla="*/ 758825 h 1289050"/>
                    <a:gd name="connsiteX32" fmla="*/ 47625 w 488950"/>
                    <a:gd name="connsiteY32" fmla="*/ 762000 h 1289050"/>
                    <a:gd name="connsiteX33" fmla="*/ 104775 w 488950"/>
                    <a:gd name="connsiteY33" fmla="*/ 784225 h 1289050"/>
                    <a:gd name="connsiteX34" fmla="*/ 117475 w 488950"/>
                    <a:gd name="connsiteY34" fmla="*/ 793750 h 1289050"/>
                    <a:gd name="connsiteX35" fmla="*/ 136525 w 488950"/>
                    <a:gd name="connsiteY35" fmla="*/ 803275 h 1289050"/>
                    <a:gd name="connsiteX36" fmla="*/ 165100 w 488950"/>
                    <a:gd name="connsiteY36" fmla="*/ 838200 h 1289050"/>
                    <a:gd name="connsiteX37" fmla="*/ 174625 w 488950"/>
                    <a:gd name="connsiteY37" fmla="*/ 866775 h 1289050"/>
                    <a:gd name="connsiteX38" fmla="*/ 177800 w 488950"/>
                    <a:gd name="connsiteY38" fmla="*/ 879475 h 1289050"/>
                    <a:gd name="connsiteX39" fmla="*/ 190500 w 488950"/>
                    <a:gd name="connsiteY39" fmla="*/ 895350 h 1289050"/>
                    <a:gd name="connsiteX40" fmla="*/ 196850 w 488950"/>
                    <a:gd name="connsiteY40" fmla="*/ 911225 h 1289050"/>
                    <a:gd name="connsiteX41" fmla="*/ 212725 w 488950"/>
                    <a:gd name="connsiteY41" fmla="*/ 939800 h 1289050"/>
                    <a:gd name="connsiteX42" fmla="*/ 228600 w 488950"/>
                    <a:gd name="connsiteY42" fmla="*/ 971550 h 1289050"/>
                    <a:gd name="connsiteX43" fmla="*/ 231775 w 488950"/>
                    <a:gd name="connsiteY43" fmla="*/ 984250 h 1289050"/>
                    <a:gd name="connsiteX44" fmla="*/ 215900 w 488950"/>
                    <a:gd name="connsiteY44" fmla="*/ 1035050 h 1289050"/>
                    <a:gd name="connsiteX45" fmla="*/ 209550 w 488950"/>
                    <a:gd name="connsiteY45" fmla="*/ 1066800 h 1289050"/>
                    <a:gd name="connsiteX46" fmla="*/ 196850 w 488950"/>
                    <a:gd name="connsiteY46" fmla="*/ 1098550 h 1289050"/>
                    <a:gd name="connsiteX47" fmla="*/ 190500 w 488950"/>
                    <a:gd name="connsiteY47" fmla="*/ 1133475 h 1289050"/>
                    <a:gd name="connsiteX48" fmla="*/ 187325 w 488950"/>
                    <a:gd name="connsiteY48" fmla="*/ 1152525 h 1289050"/>
                    <a:gd name="connsiteX49" fmla="*/ 190500 w 488950"/>
                    <a:gd name="connsiteY49" fmla="*/ 1174750 h 1289050"/>
                    <a:gd name="connsiteX50" fmla="*/ 215900 w 488950"/>
                    <a:gd name="connsiteY50" fmla="*/ 1196975 h 1289050"/>
                    <a:gd name="connsiteX51" fmla="*/ 238125 w 488950"/>
                    <a:gd name="connsiteY51" fmla="*/ 1206500 h 1289050"/>
                    <a:gd name="connsiteX52" fmla="*/ 257175 w 488950"/>
                    <a:gd name="connsiteY52" fmla="*/ 1225550 h 1289050"/>
                    <a:gd name="connsiteX53" fmla="*/ 273050 w 488950"/>
                    <a:gd name="connsiteY53" fmla="*/ 1241425 h 1289050"/>
                    <a:gd name="connsiteX54" fmla="*/ 285750 w 488950"/>
                    <a:gd name="connsiteY54" fmla="*/ 1250950 h 1289050"/>
                    <a:gd name="connsiteX55" fmla="*/ 301625 w 488950"/>
                    <a:gd name="connsiteY55" fmla="*/ 1285875 h 1289050"/>
                    <a:gd name="connsiteX56" fmla="*/ 311150 w 488950"/>
                    <a:gd name="connsiteY56" fmla="*/ 1289050 h 1289050"/>
                    <a:gd name="connsiteX57" fmla="*/ 352425 w 488950"/>
                    <a:gd name="connsiteY57" fmla="*/ 1276350 h 1289050"/>
                    <a:gd name="connsiteX58" fmla="*/ 368300 w 488950"/>
                    <a:gd name="connsiteY58" fmla="*/ 1266825 h 1289050"/>
                    <a:gd name="connsiteX59" fmla="*/ 384175 w 488950"/>
                    <a:gd name="connsiteY59" fmla="*/ 1263650 h 1289050"/>
                    <a:gd name="connsiteX60" fmla="*/ 396875 w 488950"/>
                    <a:gd name="connsiteY60" fmla="*/ 1260475 h 1289050"/>
                    <a:gd name="connsiteX61" fmla="*/ 409575 w 488950"/>
                    <a:gd name="connsiteY61" fmla="*/ 1254125 h 1289050"/>
                    <a:gd name="connsiteX62" fmla="*/ 438150 w 488950"/>
                    <a:gd name="connsiteY62" fmla="*/ 1247775 h 1289050"/>
                    <a:gd name="connsiteX63" fmla="*/ 463550 w 488950"/>
                    <a:gd name="connsiteY63" fmla="*/ 1241425 h 1289050"/>
                    <a:gd name="connsiteX64" fmla="*/ 476250 w 488950"/>
                    <a:gd name="connsiteY64" fmla="*/ 1238250 h 1289050"/>
                    <a:gd name="connsiteX65" fmla="*/ 488950 w 488950"/>
                    <a:gd name="connsiteY65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228600 w 488950"/>
                    <a:gd name="connsiteY4" fmla="*/ 82550 h 1289050"/>
                    <a:gd name="connsiteX5" fmla="*/ 174625 w 488950"/>
                    <a:gd name="connsiteY5" fmla="*/ 136525 h 1289050"/>
                    <a:gd name="connsiteX6" fmla="*/ 177800 w 488950"/>
                    <a:gd name="connsiteY6" fmla="*/ 168275 h 1289050"/>
                    <a:gd name="connsiteX7" fmla="*/ 222250 w 488950"/>
                    <a:gd name="connsiteY7" fmla="*/ 295275 h 1289050"/>
                    <a:gd name="connsiteX8" fmla="*/ 228600 w 488950"/>
                    <a:gd name="connsiteY8" fmla="*/ 317500 h 1289050"/>
                    <a:gd name="connsiteX9" fmla="*/ 225425 w 488950"/>
                    <a:gd name="connsiteY9" fmla="*/ 336550 h 1289050"/>
                    <a:gd name="connsiteX10" fmla="*/ 193675 w 488950"/>
                    <a:gd name="connsiteY10" fmla="*/ 377825 h 1289050"/>
                    <a:gd name="connsiteX11" fmla="*/ 184150 w 488950"/>
                    <a:gd name="connsiteY11" fmla="*/ 403225 h 1289050"/>
                    <a:gd name="connsiteX12" fmla="*/ 177800 w 488950"/>
                    <a:gd name="connsiteY12" fmla="*/ 415925 h 1289050"/>
                    <a:gd name="connsiteX13" fmla="*/ 174625 w 488950"/>
                    <a:gd name="connsiteY13" fmla="*/ 438150 h 1289050"/>
                    <a:gd name="connsiteX14" fmla="*/ 171450 w 488950"/>
                    <a:gd name="connsiteY14" fmla="*/ 463550 h 1289050"/>
                    <a:gd name="connsiteX15" fmla="*/ 161925 w 488950"/>
                    <a:gd name="connsiteY15" fmla="*/ 466725 h 1289050"/>
                    <a:gd name="connsiteX16" fmla="*/ 136525 w 488950"/>
                    <a:gd name="connsiteY16" fmla="*/ 479425 h 1289050"/>
                    <a:gd name="connsiteX17" fmla="*/ 123825 w 488950"/>
                    <a:gd name="connsiteY17" fmla="*/ 485775 h 1289050"/>
                    <a:gd name="connsiteX18" fmla="*/ 111125 w 488950"/>
                    <a:gd name="connsiteY18" fmla="*/ 492125 h 1289050"/>
                    <a:gd name="connsiteX19" fmla="*/ 98425 w 488950"/>
                    <a:gd name="connsiteY19" fmla="*/ 504825 h 1289050"/>
                    <a:gd name="connsiteX20" fmla="*/ 76200 w 488950"/>
                    <a:gd name="connsiteY20" fmla="*/ 514350 h 1289050"/>
                    <a:gd name="connsiteX21" fmla="*/ 41275 w 488950"/>
                    <a:gd name="connsiteY21" fmla="*/ 523875 h 1289050"/>
                    <a:gd name="connsiteX22" fmla="*/ 28575 w 488950"/>
                    <a:gd name="connsiteY22" fmla="*/ 533400 h 1289050"/>
                    <a:gd name="connsiteX23" fmla="*/ 19050 w 488950"/>
                    <a:gd name="connsiteY23" fmla="*/ 536575 h 1289050"/>
                    <a:gd name="connsiteX24" fmla="*/ 9525 w 488950"/>
                    <a:gd name="connsiteY24" fmla="*/ 542925 h 1289050"/>
                    <a:gd name="connsiteX25" fmla="*/ 3175 w 488950"/>
                    <a:gd name="connsiteY25" fmla="*/ 628650 h 1289050"/>
                    <a:gd name="connsiteX26" fmla="*/ 0 w 488950"/>
                    <a:gd name="connsiteY26" fmla="*/ 654050 h 1289050"/>
                    <a:gd name="connsiteX27" fmla="*/ 3175 w 488950"/>
                    <a:gd name="connsiteY27" fmla="*/ 736600 h 1289050"/>
                    <a:gd name="connsiteX28" fmla="*/ 6350 w 488950"/>
                    <a:gd name="connsiteY28" fmla="*/ 746125 h 1289050"/>
                    <a:gd name="connsiteX29" fmla="*/ 19050 w 488950"/>
                    <a:gd name="connsiteY29" fmla="*/ 755650 h 1289050"/>
                    <a:gd name="connsiteX30" fmla="*/ 34925 w 488950"/>
                    <a:gd name="connsiteY30" fmla="*/ 758825 h 1289050"/>
                    <a:gd name="connsiteX31" fmla="*/ 47625 w 488950"/>
                    <a:gd name="connsiteY31" fmla="*/ 762000 h 1289050"/>
                    <a:gd name="connsiteX32" fmla="*/ 104775 w 488950"/>
                    <a:gd name="connsiteY32" fmla="*/ 784225 h 1289050"/>
                    <a:gd name="connsiteX33" fmla="*/ 117475 w 488950"/>
                    <a:gd name="connsiteY33" fmla="*/ 793750 h 1289050"/>
                    <a:gd name="connsiteX34" fmla="*/ 136525 w 488950"/>
                    <a:gd name="connsiteY34" fmla="*/ 803275 h 1289050"/>
                    <a:gd name="connsiteX35" fmla="*/ 165100 w 488950"/>
                    <a:gd name="connsiteY35" fmla="*/ 838200 h 1289050"/>
                    <a:gd name="connsiteX36" fmla="*/ 174625 w 488950"/>
                    <a:gd name="connsiteY36" fmla="*/ 866775 h 1289050"/>
                    <a:gd name="connsiteX37" fmla="*/ 177800 w 488950"/>
                    <a:gd name="connsiteY37" fmla="*/ 879475 h 1289050"/>
                    <a:gd name="connsiteX38" fmla="*/ 190500 w 488950"/>
                    <a:gd name="connsiteY38" fmla="*/ 895350 h 1289050"/>
                    <a:gd name="connsiteX39" fmla="*/ 196850 w 488950"/>
                    <a:gd name="connsiteY39" fmla="*/ 911225 h 1289050"/>
                    <a:gd name="connsiteX40" fmla="*/ 212725 w 488950"/>
                    <a:gd name="connsiteY40" fmla="*/ 939800 h 1289050"/>
                    <a:gd name="connsiteX41" fmla="*/ 228600 w 488950"/>
                    <a:gd name="connsiteY41" fmla="*/ 971550 h 1289050"/>
                    <a:gd name="connsiteX42" fmla="*/ 231775 w 488950"/>
                    <a:gd name="connsiteY42" fmla="*/ 984250 h 1289050"/>
                    <a:gd name="connsiteX43" fmla="*/ 215900 w 488950"/>
                    <a:gd name="connsiteY43" fmla="*/ 1035050 h 1289050"/>
                    <a:gd name="connsiteX44" fmla="*/ 209550 w 488950"/>
                    <a:gd name="connsiteY44" fmla="*/ 1066800 h 1289050"/>
                    <a:gd name="connsiteX45" fmla="*/ 196850 w 488950"/>
                    <a:gd name="connsiteY45" fmla="*/ 1098550 h 1289050"/>
                    <a:gd name="connsiteX46" fmla="*/ 190500 w 488950"/>
                    <a:gd name="connsiteY46" fmla="*/ 1133475 h 1289050"/>
                    <a:gd name="connsiteX47" fmla="*/ 187325 w 488950"/>
                    <a:gd name="connsiteY47" fmla="*/ 1152525 h 1289050"/>
                    <a:gd name="connsiteX48" fmla="*/ 190500 w 488950"/>
                    <a:gd name="connsiteY48" fmla="*/ 1174750 h 1289050"/>
                    <a:gd name="connsiteX49" fmla="*/ 215900 w 488950"/>
                    <a:gd name="connsiteY49" fmla="*/ 1196975 h 1289050"/>
                    <a:gd name="connsiteX50" fmla="*/ 238125 w 488950"/>
                    <a:gd name="connsiteY50" fmla="*/ 1206500 h 1289050"/>
                    <a:gd name="connsiteX51" fmla="*/ 257175 w 488950"/>
                    <a:gd name="connsiteY51" fmla="*/ 1225550 h 1289050"/>
                    <a:gd name="connsiteX52" fmla="*/ 273050 w 488950"/>
                    <a:gd name="connsiteY52" fmla="*/ 1241425 h 1289050"/>
                    <a:gd name="connsiteX53" fmla="*/ 285750 w 488950"/>
                    <a:gd name="connsiteY53" fmla="*/ 1250950 h 1289050"/>
                    <a:gd name="connsiteX54" fmla="*/ 301625 w 488950"/>
                    <a:gd name="connsiteY54" fmla="*/ 1285875 h 1289050"/>
                    <a:gd name="connsiteX55" fmla="*/ 311150 w 488950"/>
                    <a:gd name="connsiteY55" fmla="*/ 1289050 h 1289050"/>
                    <a:gd name="connsiteX56" fmla="*/ 352425 w 488950"/>
                    <a:gd name="connsiteY56" fmla="*/ 1276350 h 1289050"/>
                    <a:gd name="connsiteX57" fmla="*/ 368300 w 488950"/>
                    <a:gd name="connsiteY57" fmla="*/ 1266825 h 1289050"/>
                    <a:gd name="connsiteX58" fmla="*/ 384175 w 488950"/>
                    <a:gd name="connsiteY58" fmla="*/ 1263650 h 1289050"/>
                    <a:gd name="connsiteX59" fmla="*/ 396875 w 488950"/>
                    <a:gd name="connsiteY59" fmla="*/ 1260475 h 1289050"/>
                    <a:gd name="connsiteX60" fmla="*/ 409575 w 488950"/>
                    <a:gd name="connsiteY60" fmla="*/ 1254125 h 1289050"/>
                    <a:gd name="connsiteX61" fmla="*/ 438150 w 488950"/>
                    <a:gd name="connsiteY61" fmla="*/ 1247775 h 1289050"/>
                    <a:gd name="connsiteX62" fmla="*/ 463550 w 488950"/>
                    <a:gd name="connsiteY62" fmla="*/ 1241425 h 1289050"/>
                    <a:gd name="connsiteX63" fmla="*/ 476250 w 488950"/>
                    <a:gd name="connsiteY63" fmla="*/ 1238250 h 1289050"/>
                    <a:gd name="connsiteX64" fmla="*/ 488950 w 488950"/>
                    <a:gd name="connsiteY64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250825 w 488950"/>
                    <a:gd name="connsiteY3" fmla="*/ 53975 h 1289050"/>
                    <a:gd name="connsiteX4" fmla="*/ 174625 w 488950"/>
                    <a:gd name="connsiteY4" fmla="*/ 136525 h 1289050"/>
                    <a:gd name="connsiteX5" fmla="*/ 177800 w 488950"/>
                    <a:gd name="connsiteY5" fmla="*/ 168275 h 1289050"/>
                    <a:gd name="connsiteX6" fmla="*/ 222250 w 488950"/>
                    <a:gd name="connsiteY6" fmla="*/ 295275 h 1289050"/>
                    <a:gd name="connsiteX7" fmla="*/ 228600 w 488950"/>
                    <a:gd name="connsiteY7" fmla="*/ 317500 h 1289050"/>
                    <a:gd name="connsiteX8" fmla="*/ 225425 w 488950"/>
                    <a:gd name="connsiteY8" fmla="*/ 336550 h 1289050"/>
                    <a:gd name="connsiteX9" fmla="*/ 193675 w 488950"/>
                    <a:gd name="connsiteY9" fmla="*/ 377825 h 1289050"/>
                    <a:gd name="connsiteX10" fmla="*/ 184150 w 488950"/>
                    <a:gd name="connsiteY10" fmla="*/ 403225 h 1289050"/>
                    <a:gd name="connsiteX11" fmla="*/ 177800 w 488950"/>
                    <a:gd name="connsiteY11" fmla="*/ 415925 h 1289050"/>
                    <a:gd name="connsiteX12" fmla="*/ 174625 w 488950"/>
                    <a:gd name="connsiteY12" fmla="*/ 438150 h 1289050"/>
                    <a:gd name="connsiteX13" fmla="*/ 171450 w 488950"/>
                    <a:gd name="connsiteY13" fmla="*/ 463550 h 1289050"/>
                    <a:gd name="connsiteX14" fmla="*/ 161925 w 488950"/>
                    <a:gd name="connsiteY14" fmla="*/ 466725 h 1289050"/>
                    <a:gd name="connsiteX15" fmla="*/ 136525 w 488950"/>
                    <a:gd name="connsiteY15" fmla="*/ 479425 h 1289050"/>
                    <a:gd name="connsiteX16" fmla="*/ 123825 w 488950"/>
                    <a:gd name="connsiteY16" fmla="*/ 485775 h 1289050"/>
                    <a:gd name="connsiteX17" fmla="*/ 111125 w 488950"/>
                    <a:gd name="connsiteY17" fmla="*/ 492125 h 1289050"/>
                    <a:gd name="connsiteX18" fmla="*/ 98425 w 488950"/>
                    <a:gd name="connsiteY18" fmla="*/ 504825 h 1289050"/>
                    <a:gd name="connsiteX19" fmla="*/ 76200 w 488950"/>
                    <a:gd name="connsiteY19" fmla="*/ 514350 h 1289050"/>
                    <a:gd name="connsiteX20" fmla="*/ 41275 w 488950"/>
                    <a:gd name="connsiteY20" fmla="*/ 523875 h 1289050"/>
                    <a:gd name="connsiteX21" fmla="*/ 28575 w 488950"/>
                    <a:gd name="connsiteY21" fmla="*/ 533400 h 1289050"/>
                    <a:gd name="connsiteX22" fmla="*/ 19050 w 488950"/>
                    <a:gd name="connsiteY22" fmla="*/ 536575 h 1289050"/>
                    <a:gd name="connsiteX23" fmla="*/ 9525 w 488950"/>
                    <a:gd name="connsiteY23" fmla="*/ 542925 h 1289050"/>
                    <a:gd name="connsiteX24" fmla="*/ 3175 w 488950"/>
                    <a:gd name="connsiteY24" fmla="*/ 628650 h 1289050"/>
                    <a:gd name="connsiteX25" fmla="*/ 0 w 488950"/>
                    <a:gd name="connsiteY25" fmla="*/ 654050 h 1289050"/>
                    <a:gd name="connsiteX26" fmla="*/ 3175 w 488950"/>
                    <a:gd name="connsiteY26" fmla="*/ 736600 h 1289050"/>
                    <a:gd name="connsiteX27" fmla="*/ 6350 w 488950"/>
                    <a:gd name="connsiteY27" fmla="*/ 746125 h 1289050"/>
                    <a:gd name="connsiteX28" fmla="*/ 19050 w 488950"/>
                    <a:gd name="connsiteY28" fmla="*/ 755650 h 1289050"/>
                    <a:gd name="connsiteX29" fmla="*/ 34925 w 488950"/>
                    <a:gd name="connsiteY29" fmla="*/ 758825 h 1289050"/>
                    <a:gd name="connsiteX30" fmla="*/ 47625 w 488950"/>
                    <a:gd name="connsiteY30" fmla="*/ 762000 h 1289050"/>
                    <a:gd name="connsiteX31" fmla="*/ 104775 w 488950"/>
                    <a:gd name="connsiteY31" fmla="*/ 784225 h 1289050"/>
                    <a:gd name="connsiteX32" fmla="*/ 117475 w 488950"/>
                    <a:gd name="connsiteY32" fmla="*/ 793750 h 1289050"/>
                    <a:gd name="connsiteX33" fmla="*/ 136525 w 488950"/>
                    <a:gd name="connsiteY33" fmla="*/ 803275 h 1289050"/>
                    <a:gd name="connsiteX34" fmla="*/ 165100 w 488950"/>
                    <a:gd name="connsiteY34" fmla="*/ 838200 h 1289050"/>
                    <a:gd name="connsiteX35" fmla="*/ 174625 w 488950"/>
                    <a:gd name="connsiteY35" fmla="*/ 866775 h 1289050"/>
                    <a:gd name="connsiteX36" fmla="*/ 177800 w 488950"/>
                    <a:gd name="connsiteY36" fmla="*/ 879475 h 1289050"/>
                    <a:gd name="connsiteX37" fmla="*/ 190500 w 488950"/>
                    <a:gd name="connsiteY37" fmla="*/ 895350 h 1289050"/>
                    <a:gd name="connsiteX38" fmla="*/ 196850 w 488950"/>
                    <a:gd name="connsiteY38" fmla="*/ 911225 h 1289050"/>
                    <a:gd name="connsiteX39" fmla="*/ 212725 w 488950"/>
                    <a:gd name="connsiteY39" fmla="*/ 939800 h 1289050"/>
                    <a:gd name="connsiteX40" fmla="*/ 228600 w 488950"/>
                    <a:gd name="connsiteY40" fmla="*/ 971550 h 1289050"/>
                    <a:gd name="connsiteX41" fmla="*/ 231775 w 488950"/>
                    <a:gd name="connsiteY41" fmla="*/ 984250 h 1289050"/>
                    <a:gd name="connsiteX42" fmla="*/ 215900 w 488950"/>
                    <a:gd name="connsiteY42" fmla="*/ 1035050 h 1289050"/>
                    <a:gd name="connsiteX43" fmla="*/ 209550 w 488950"/>
                    <a:gd name="connsiteY43" fmla="*/ 1066800 h 1289050"/>
                    <a:gd name="connsiteX44" fmla="*/ 196850 w 488950"/>
                    <a:gd name="connsiteY44" fmla="*/ 1098550 h 1289050"/>
                    <a:gd name="connsiteX45" fmla="*/ 190500 w 488950"/>
                    <a:gd name="connsiteY45" fmla="*/ 1133475 h 1289050"/>
                    <a:gd name="connsiteX46" fmla="*/ 187325 w 488950"/>
                    <a:gd name="connsiteY46" fmla="*/ 1152525 h 1289050"/>
                    <a:gd name="connsiteX47" fmla="*/ 190500 w 488950"/>
                    <a:gd name="connsiteY47" fmla="*/ 1174750 h 1289050"/>
                    <a:gd name="connsiteX48" fmla="*/ 215900 w 488950"/>
                    <a:gd name="connsiteY48" fmla="*/ 1196975 h 1289050"/>
                    <a:gd name="connsiteX49" fmla="*/ 238125 w 488950"/>
                    <a:gd name="connsiteY49" fmla="*/ 1206500 h 1289050"/>
                    <a:gd name="connsiteX50" fmla="*/ 257175 w 488950"/>
                    <a:gd name="connsiteY50" fmla="*/ 1225550 h 1289050"/>
                    <a:gd name="connsiteX51" fmla="*/ 273050 w 488950"/>
                    <a:gd name="connsiteY51" fmla="*/ 1241425 h 1289050"/>
                    <a:gd name="connsiteX52" fmla="*/ 285750 w 488950"/>
                    <a:gd name="connsiteY52" fmla="*/ 1250950 h 1289050"/>
                    <a:gd name="connsiteX53" fmla="*/ 301625 w 488950"/>
                    <a:gd name="connsiteY53" fmla="*/ 1285875 h 1289050"/>
                    <a:gd name="connsiteX54" fmla="*/ 311150 w 488950"/>
                    <a:gd name="connsiteY54" fmla="*/ 1289050 h 1289050"/>
                    <a:gd name="connsiteX55" fmla="*/ 352425 w 488950"/>
                    <a:gd name="connsiteY55" fmla="*/ 1276350 h 1289050"/>
                    <a:gd name="connsiteX56" fmla="*/ 368300 w 488950"/>
                    <a:gd name="connsiteY56" fmla="*/ 1266825 h 1289050"/>
                    <a:gd name="connsiteX57" fmla="*/ 384175 w 488950"/>
                    <a:gd name="connsiteY57" fmla="*/ 1263650 h 1289050"/>
                    <a:gd name="connsiteX58" fmla="*/ 396875 w 488950"/>
                    <a:gd name="connsiteY58" fmla="*/ 1260475 h 1289050"/>
                    <a:gd name="connsiteX59" fmla="*/ 409575 w 488950"/>
                    <a:gd name="connsiteY59" fmla="*/ 1254125 h 1289050"/>
                    <a:gd name="connsiteX60" fmla="*/ 438150 w 488950"/>
                    <a:gd name="connsiteY60" fmla="*/ 1247775 h 1289050"/>
                    <a:gd name="connsiteX61" fmla="*/ 463550 w 488950"/>
                    <a:gd name="connsiteY61" fmla="*/ 1241425 h 1289050"/>
                    <a:gd name="connsiteX62" fmla="*/ 476250 w 488950"/>
                    <a:gd name="connsiteY62" fmla="*/ 1238250 h 1289050"/>
                    <a:gd name="connsiteX63" fmla="*/ 488950 w 488950"/>
                    <a:gd name="connsiteY63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266700 w 488950"/>
                    <a:gd name="connsiteY2" fmla="*/ 38100 h 1289050"/>
                    <a:gd name="connsiteX3" fmla="*/ 174625 w 488950"/>
                    <a:gd name="connsiteY3" fmla="*/ 136525 h 1289050"/>
                    <a:gd name="connsiteX4" fmla="*/ 177800 w 488950"/>
                    <a:gd name="connsiteY4" fmla="*/ 168275 h 1289050"/>
                    <a:gd name="connsiteX5" fmla="*/ 222250 w 488950"/>
                    <a:gd name="connsiteY5" fmla="*/ 295275 h 1289050"/>
                    <a:gd name="connsiteX6" fmla="*/ 228600 w 488950"/>
                    <a:gd name="connsiteY6" fmla="*/ 317500 h 1289050"/>
                    <a:gd name="connsiteX7" fmla="*/ 225425 w 488950"/>
                    <a:gd name="connsiteY7" fmla="*/ 336550 h 1289050"/>
                    <a:gd name="connsiteX8" fmla="*/ 193675 w 488950"/>
                    <a:gd name="connsiteY8" fmla="*/ 377825 h 1289050"/>
                    <a:gd name="connsiteX9" fmla="*/ 184150 w 488950"/>
                    <a:gd name="connsiteY9" fmla="*/ 403225 h 1289050"/>
                    <a:gd name="connsiteX10" fmla="*/ 177800 w 488950"/>
                    <a:gd name="connsiteY10" fmla="*/ 415925 h 1289050"/>
                    <a:gd name="connsiteX11" fmla="*/ 174625 w 488950"/>
                    <a:gd name="connsiteY11" fmla="*/ 438150 h 1289050"/>
                    <a:gd name="connsiteX12" fmla="*/ 171450 w 488950"/>
                    <a:gd name="connsiteY12" fmla="*/ 463550 h 1289050"/>
                    <a:gd name="connsiteX13" fmla="*/ 161925 w 488950"/>
                    <a:gd name="connsiteY13" fmla="*/ 466725 h 1289050"/>
                    <a:gd name="connsiteX14" fmla="*/ 136525 w 488950"/>
                    <a:gd name="connsiteY14" fmla="*/ 479425 h 1289050"/>
                    <a:gd name="connsiteX15" fmla="*/ 123825 w 488950"/>
                    <a:gd name="connsiteY15" fmla="*/ 485775 h 1289050"/>
                    <a:gd name="connsiteX16" fmla="*/ 111125 w 488950"/>
                    <a:gd name="connsiteY16" fmla="*/ 492125 h 1289050"/>
                    <a:gd name="connsiteX17" fmla="*/ 98425 w 488950"/>
                    <a:gd name="connsiteY17" fmla="*/ 504825 h 1289050"/>
                    <a:gd name="connsiteX18" fmla="*/ 76200 w 488950"/>
                    <a:gd name="connsiteY18" fmla="*/ 514350 h 1289050"/>
                    <a:gd name="connsiteX19" fmla="*/ 41275 w 488950"/>
                    <a:gd name="connsiteY19" fmla="*/ 523875 h 1289050"/>
                    <a:gd name="connsiteX20" fmla="*/ 28575 w 488950"/>
                    <a:gd name="connsiteY20" fmla="*/ 533400 h 1289050"/>
                    <a:gd name="connsiteX21" fmla="*/ 19050 w 488950"/>
                    <a:gd name="connsiteY21" fmla="*/ 536575 h 1289050"/>
                    <a:gd name="connsiteX22" fmla="*/ 9525 w 488950"/>
                    <a:gd name="connsiteY22" fmla="*/ 542925 h 1289050"/>
                    <a:gd name="connsiteX23" fmla="*/ 3175 w 488950"/>
                    <a:gd name="connsiteY23" fmla="*/ 628650 h 1289050"/>
                    <a:gd name="connsiteX24" fmla="*/ 0 w 488950"/>
                    <a:gd name="connsiteY24" fmla="*/ 654050 h 1289050"/>
                    <a:gd name="connsiteX25" fmla="*/ 3175 w 488950"/>
                    <a:gd name="connsiteY25" fmla="*/ 736600 h 1289050"/>
                    <a:gd name="connsiteX26" fmla="*/ 6350 w 488950"/>
                    <a:gd name="connsiteY26" fmla="*/ 746125 h 1289050"/>
                    <a:gd name="connsiteX27" fmla="*/ 19050 w 488950"/>
                    <a:gd name="connsiteY27" fmla="*/ 755650 h 1289050"/>
                    <a:gd name="connsiteX28" fmla="*/ 34925 w 488950"/>
                    <a:gd name="connsiteY28" fmla="*/ 758825 h 1289050"/>
                    <a:gd name="connsiteX29" fmla="*/ 47625 w 488950"/>
                    <a:gd name="connsiteY29" fmla="*/ 762000 h 1289050"/>
                    <a:gd name="connsiteX30" fmla="*/ 104775 w 488950"/>
                    <a:gd name="connsiteY30" fmla="*/ 784225 h 1289050"/>
                    <a:gd name="connsiteX31" fmla="*/ 117475 w 488950"/>
                    <a:gd name="connsiteY31" fmla="*/ 793750 h 1289050"/>
                    <a:gd name="connsiteX32" fmla="*/ 136525 w 488950"/>
                    <a:gd name="connsiteY32" fmla="*/ 803275 h 1289050"/>
                    <a:gd name="connsiteX33" fmla="*/ 165100 w 488950"/>
                    <a:gd name="connsiteY33" fmla="*/ 838200 h 1289050"/>
                    <a:gd name="connsiteX34" fmla="*/ 174625 w 488950"/>
                    <a:gd name="connsiteY34" fmla="*/ 866775 h 1289050"/>
                    <a:gd name="connsiteX35" fmla="*/ 177800 w 488950"/>
                    <a:gd name="connsiteY35" fmla="*/ 879475 h 1289050"/>
                    <a:gd name="connsiteX36" fmla="*/ 190500 w 488950"/>
                    <a:gd name="connsiteY36" fmla="*/ 895350 h 1289050"/>
                    <a:gd name="connsiteX37" fmla="*/ 196850 w 488950"/>
                    <a:gd name="connsiteY37" fmla="*/ 911225 h 1289050"/>
                    <a:gd name="connsiteX38" fmla="*/ 212725 w 488950"/>
                    <a:gd name="connsiteY38" fmla="*/ 939800 h 1289050"/>
                    <a:gd name="connsiteX39" fmla="*/ 228600 w 488950"/>
                    <a:gd name="connsiteY39" fmla="*/ 971550 h 1289050"/>
                    <a:gd name="connsiteX40" fmla="*/ 231775 w 488950"/>
                    <a:gd name="connsiteY40" fmla="*/ 984250 h 1289050"/>
                    <a:gd name="connsiteX41" fmla="*/ 215900 w 488950"/>
                    <a:gd name="connsiteY41" fmla="*/ 1035050 h 1289050"/>
                    <a:gd name="connsiteX42" fmla="*/ 209550 w 488950"/>
                    <a:gd name="connsiteY42" fmla="*/ 1066800 h 1289050"/>
                    <a:gd name="connsiteX43" fmla="*/ 196850 w 488950"/>
                    <a:gd name="connsiteY43" fmla="*/ 1098550 h 1289050"/>
                    <a:gd name="connsiteX44" fmla="*/ 190500 w 488950"/>
                    <a:gd name="connsiteY44" fmla="*/ 1133475 h 1289050"/>
                    <a:gd name="connsiteX45" fmla="*/ 187325 w 488950"/>
                    <a:gd name="connsiteY45" fmla="*/ 1152525 h 1289050"/>
                    <a:gd name="connsiteX46" fmla="*/ 190500 w 488950"/>
                    <a:gd name="connsiteY46" fmla="*/ 1174750 h 1289050"/>
                    <a:gd name="connsiteX47" fmla="*/ 215900 w 488950"/>
                    <a:gd name="connsiteY47" fmla="*/ 1196975 h 1289050"/>
                    <a:gd name="connsiteX48" fmla="*/ 238125 w 488950"/>
                    <a:gd name="connsiteY48" fmla="*/ 1206500 h 1289050"/>
                    <a:gd name="connsiteX49" fmla="*/ 257175 w 488950"/>
                    <a:gd name="connsiteY49" fmla="*/ 1225550 h 1289050"/>
                    <a:gd name="connsiteX50" fmla="*/ 273050 w 488950"/>
                    <a:gd name="connsiteY50" fmla="*/ 1241425 h 1289050"/>
                    <a:gd name="connsiteX51" fmla="*/ 285750 w 488950"/>
                    <a:gd name="connsiteY51" fmla="*/ 1250950 h 1289050"/>
                    <a:gd name="connsiteX52" fmla="*/ 301625 w 488950"/>
                    <a:gd name="connsiteY52" fmla="*/ 1285875 h 1289050"/>
                    <a:gd name="connsiteX53" fmla="*/ 311150 w 488950"/>
                    <a:gd name="connsiteY53" fmla="*/ 1289050 h 1289050"/>
                    <a:gd name="connsiteX54" fmla="*/ 352425 w 488950"/>
                    <a:gd name="connsiteY54" fmla="*/ 1276350 h 1289050"/>
                    <a:gd name="connsiteX55" fmla="*/ 368300 w 488950"/>
                    <a:gd name="connsiteY55" fmla="*/ 1266825 h 1289050"/>
                    <a:gd name="connsiteX56" fmla="*/ 384175 w 488950"/>
                    <a:gd name="connsiteY56" fmla="*/ 1263650 h 1289050"/>
                    <a:gd name="connsiteX57" fmla="*/ 396875 w 488950"/>
                    <a:gd name="connsiteY57" fmla="*/ 1260475 h 1289050"/>
                    <a:gd name="connsiteX58" fmla="*/ 409575 w 488950"/>
                    <a:gd name="connsiteY58" fmla="*/ 1254125 h 1289050"/>
                    <a:gd name="connsiteX59" fmla="*/ 438150 w 488950"/>
                    <a:gd name="connsiteY59" fmla="*/ 1247775 h 1289050"/>
                    <a:gd name="connsiteX60" fmla="*/ 463550 w 488950"/>
                    <a:gd name="connsiteY60" fmla="*/ 1241425 h 1289050"/>
                    <a:gd name="connsiteX61" fmla="*/ 476250 w 488950"/>
                    <a:gd name="connsiteY61" fmla="*/ 1238250 h 1289050"/>
                    <a:gd name="connsiteX62" fmla="*/ 488950 w 488950"/>
                    <a:gd name="connsiteY62" fmla="*/ 1235075 h 1289050"/>
                    <a:gd name="connsiteX0" fmla="*/ 304800 w 488950"/>
                    <a:gd name="connsiteY0" fmla="*/ 0 h 1289050"/>
                    <a:gd name="connsiteX1" fmla="*/ 279400 w 488950"/>
                    <a:gd name="connsiteY1" fmla="*/ 25400 h 1289050"/>
                    <a:gd name="connsiteX2" fmla="*/ 174625 w 488950"/>
                    <a:gd name="connsiteY2" fmla="*/ 136525 h 1289050"/>
                    <a:gd name="connsiteX3" fmla="*/ 177800 w 488950"/>
                    <a:gd name="connsiteY3" fmla="*/ 168275 h 1289050"/>
                    <a:gd name="connsiteX4" fmla="*/ 222250 w 488950"/>
                    <a:gd name="connsiteY4" fmla="*/ 295275 h 1289050"/>
                    <a:gd name="connsiteX5" fmla="*/ 228600 w 488950"/>
                    <a:gd name="connsiteY5" fmla="*/ 317500 h 1289050"/>
                    <a:gd name="connsiteX6" fmla="*/ 225425 w 488950"/>
                    <a:gd name="connsiteY6" fmla="*/ 336550 h 1289050"/>
                    <a:gd name="connsiteX7" fmla="*/ 193675 w 488950"/>
                    <a:gd name="connsiteY7" fmla="*/ 377825 h 1289050"/>
                    <a:gd name="connsiteX8" fmla="*/ 184150 w 488950"/>
                    <a:gd name="connsiteY8" fmla="*/ 403225 h 1289050"/>
                    <a:gd name="connsiteX9" fmla="*/ 177800 w 488950"/>
                    <a:gd name="connsiteY9" fmla="*/ 415925 h 1289050"/>
                    <a:gd name="connsiteX10" fmla="*/ 174625 w 488950"/>
                    <a:gd name="connsiteY10" fmla="*/ 438150 h 1289050"/>
                    <a:gd name="connsiteX11" fmla="*/ 171450 w 488950"/>
                    <a:gd name="connsiteY11" fmla="*/ 463550 h 1289050"/>
                    <a:gd name="connsiteX12" fmla="*/ 161925 w 488950"/>
                    <a:gd name="connsiteY12" fmla="*/ 466725 h 1289050"/>
                    <a:gd name="connsiteX13" fmla="*/ 136525 w 488950"/>
                    <a:gd name="connsiteY13" fmla="*/ 479425 h 1289050"/>
                    <a:gd name="connsiteX14" fmla="*/ 123825 w 488950"/>
                    <a:gd name="connsiteY14" fmla="*/ 485775 h 1289050"/>
                    <a:gd name="connsiteX15" fmla="*/ 111125 w 488950"/>
                    <a:gd name="connsiteY15" fmla="*/ 492125 h 1289050"/>
                    <a:gd name="connsiteX16" fmla="*/ 98425 w 488950"/>
                    <a:gd name="connsiteY16" fmla="*/ 504825 h 1289050"/>
                    <a:gd name="connsiteX17" fmla="*/ 76200 w 488950"/>
                    <a:gd name="connsiteY17" fmla="*/ 514350 h 1289050"/>
                    <a:gd name="connsiteX18" fmla="*/ 41275 w 488950"/>
                    <a:gd name="connsiteY18" fmla="*/ 523875 h 1289050"/>
                    <a:gd name="connsiteX19" fmla="*/ 28575 w 488950"/>
                    <a:gd name="connsiteY19" fmla="*/ 533400 h 1289050"/>
                    <a:gd name="connsiteX20" fmla="*/ 19050 w 488950"/>
                    <a:gd name="connsiteY20" fmla="*/ 536575 h 1289050"/>
                    <a:gd name="connsiteX21" fmla="*/ 9525 w 488950"/>
                    <a:gd name="connsiteY21" fmla="*/ 542925 h 1289050"/>
                    <a:gd name="connsiteX22" fmla="*/ 3175 w 488950"/>
                    <a:gd name="connsiteY22" fmla="*/ 628650 h 1289050"/>
                    <a:gd name="connsiteX23" fmla="*/ 0 w 488950"/>
                    <a:gd name="connsiteY23" fmla="*/ 654050 h 1289050"/>
                    <a:gd name="connsiteX24" fmla="*/ 3175 w 488950"/>
                    <a:gd name="connsiteY24" fmla="*/ 736600 h 1289050"/>
                    <a:gd name="connsiteX25" fmla="*/ 6350 w 488950"/>
                    <a:gd name="connsiteY25" fmla="*/ 746125 h 1289050"/>
                    <a:gd name="connsiteX26" fmla="*/ 19050 w 488950"/>
                    <a:gd name="connsiteY26" fmla="*/ 755650 h 1289050"/>
                    <a:gd name="connsiteX27" fmla="*/ 34925 w 488950"/>
                    <a:gd name="connsiteY27" fmla="*/ 758825 h 1289050"/>
                    <a:gd name="connsiteX28" fmla="*/ 47625 w 488950"/>
                    <a:gd name="connsiteY28" fmla="*/ 762000 h 1289050"/>
                    <a:gd name="connsiteX29" fmla="*/ 104775 w 488950"/>
                    <a:gd name="connsiteY29" fmla="*/ 784225 h 1289050"/>
                    <a:gd name="connsiteX30" fmla="*/ 117475 w 488950"/>
                    <a:gd name="connsiteY30" fmla="*/ 793750 h 1289050"/>
                    <a:gd name="connsiteX31" fmla="*/ 136525 w 488950"/>
                    <a:gd name="connsiteY31" fmla="*/ 803275 h 1289050"/>
                    <a:gd name="connsiteX32" fmla="*/ 165100 w 488950"/>
                    <a:gd name="connsiteY32" fmla="*/ 838200 h 1289050"/>
                    <a:gd name="connsiteX33" fmla="*/ 174625 w 488950"/>
                    <a:gd name="connsiteY33" fmla="*/ 866775 h 1289050"/>
                    <a:gd name="connsiteX34" fmla="*/ 177800 w 488950"/>
                    <a:gd name="connsiteY34" fmla="*/ 879475 h 1289050"/>
                    <a:gd name="connsiteX35" fmla="*/ 190500 w 488950"/>
                    <a:gd name="connsiteY35" fmla="*/ 895350 h 1289050"/>
                    <a:gd name="connsiteX36" fmla="*/ 196850 w 488950"/>
                    <a:gd name="connsiteY36" fmla="*/ 911225 h 1289050"/>
                    <a:gd name="connsiteX37" fmla="*/ 212725 w 488950"/>
                    <a:gd name="connsiteY37" fmla="*/ 939800 h 1289050"/>
                    <a:gd name="connsiteX38" fmla="*/ 228600 w 488950"/>
                    <a:gd name="connsiteY38" fmla="*/ 971550 h 1289050"/>
                    <a:gd name="connsiteX39" fmla="*/ 231775 w 488950"/>
                    <a:gd name="connsiteY39" fmla="*/ 984250 h 1289050"/>
                    <a:gd name="connsiteX40" fmla="*/ 215900 w 488950"/>
                    <a:gd name="connsiteY40" fmla="*/ 1035050 h 1289050"/>
                    <a:gd name="connsiteX41" fmla="*/ 209550 w 488950"/>
                    <a:gd name="connsiteY41" fmla="*/ 1066800 h 1289050"/>
                    <a:gd name="connsiteX42" fmla="*/ 196850 w 488950"/>
                    <a:gd name="connsiteY42" fmla="*/ 1098550 h 1289050"/>
                    <a:gd name="connsiteX43" fmla="*/ 190500 w 488950"/>
                    <a:gd name="connsiteY43" fmla="*/ 1133475 h 1289050"/>
                    <a:gd name="connsiteX44" fmla="*/ 187325 w 488950"/>
                    <a:gd name="connsiteY44" fmla="*/ 1152525 h 1289050"/>
                    <a:gd name="connsiteX45" fmla="*/ 190500 w 488950"/>
                    <a:gd name="connsiteY45" fmla="*/ 1174750 h 1289050"/>
                    <a:gd name="connsiteX46" fmla="*/ 215900 w 488950"/>
                    <a:gd name="connsiteY46" fmla="*/ 1196975 h 1289050"/>
                    <a:gd name="connsiteX47" fmla="*/ 238125 w 488950"/>
                    <a:gd name="connsiteY47" fmla="*/ 1206500 h 1289050"/>
                    <a:gd name="connsiteX48" fmla="*/ 257175 w 488950"/>
                    <a:gd name="connsiteY48" fmla="*/ 1225550 h 1289050"/>
                    <a:gd name="connsiteX49" fmla="*/ 273050 w 488950"/>
                    <a:gd name="connsiteY49" fmla="*/ 1241425 h 1289050"/>
                    <a:gd name="connsiteX50" fmla="*/ 285750 w 488950"/>
                    <a:gd name="connsiteY50" fmla="*/ 1250950 h 1289050"/>
                    <a:gd name="connsiteX51" fmla="*/ 301625 w 488950"/>
                    <a:gd name="connsiteY51" fmla="*/ 1285875 h 1289050"/>
                    <a:gd name="connsiteX52" fmla="*/ 311150 w 488950"/>
                    <a:gd name="connsiteY52" fmla="*/ 1289050 h 1289050"/>
                    <a:gd name="connsiteX53" fmla="*/ 352425 w 488950"/>
                    <a:gd name="connsiteY53" fmla="*/ 1276350 h 1289050"/>
                    <a:gd name="connsiteX54" fmla="*/ 368300 w 488950"/>
                    <a:gd name="connsiteY54" fmla="*/ 1266825 h 1289050"/>
                    <a:gd name="connsiteX55" fmla="*/ 384175 w 488950"/>
                    <a:gd name="connsiteY55" fmla="*/ 1263650 h 1289050"/>
                    <a:gd name="connsiteX56" fmla="*/ 396875 w 488950"/>
                    <a:gd name="connsiteY56" fmla="*/ 1260475 h 1289050"/>
                    <a:gd name="connsiteX57" fmla="*/ 409575 w 488950"/>
                    <a:gd name="connsiteY57" fmla="*/ 1254125 h 1289050"/>
                    <a:gd name="connsiteX58" fmla="*/ 438150 w 488950"/>
                    <a:gd name="connsiteY58" fmla="*/ 1247775 h 1289050"/>
                    <a:gd name="connsiteX59" fmla="*/ 463550 w 488950"/>
                    <a:gd name="connsiteY59" fmla="*/ 1241425 h 1289050"/>
                    <a:gd name="connsiteX60" fmla="*/ 476250 w 488950"/>
                    <a:gd name="connsiteY60" fmla="*/ 1238250 h 1289050"/>
                    <a:gd name="connsiteX61" fmla="*/ 488950 w 488950"/>
                    <a:gd name="connsiteY61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177800 w 488950"/>
                    <a:gd name="connsiteY2" fmla="*/ 168275 h 1289050"/>
                    <a:gd name="connsiteX3" fmla="*/ 222250 w 488950"/>
                    <a:gd name="connsiteY3" fmla="*/ 295275 h 1289050"/>
                    <a:gd name="connsiteX4" fmla="*/ 228600 w 488950"/>
                    <a:gd name="connsiteY4" fmla="*/ 317500 h 1289050"/>
                    <a:gd name="connsiteX5" fmla="*/ 225425 w 488950"/>
                    <a:gd name="connsiteY5" fmla="*/ 336550 h 1289050"/>
                    <a:gd name="connsiteX6" fmla="*/ 193675 w 488950"/>
                    <a:gd name="connsiteY6" fmla="*/ 377825 h 1289050"/>
                    <a:gd name="connsiteX7" fmla="*/ 184150 w 488950"/>
                    <a:gd name="connsiteY7" fmla="*/ 403225 h 1289050"/>
                    <a:gd name="connsiteX8" fmla="*/ 177800 w 488950"/>
                    <a:gd name="connsiteY8" fmla="*/ 415925 h 1289050"/>
                    <a:gd name="connsiteX9" fmla="*/ 174625 w 488950"/>
                    <a:gd name="connsiteY9" fmla="*/ 438150 h 1289050"/>
                    <a:gd name="connsiteX10" fmla="*/ 171450 w 488950"/>
                    <a:gd name="connsiteY10" fmla="*/ 463550 h 1289050"/>
                    <a:gd name="connsiteX11" fmla="*/ 161925 w 488950"/>
                    <a:gd name="connsiteY11" fmla="*/ 466725 h 1289050"/>
                    <a:gd name="connsiteX12" fmla="*/ 136525 w 488950"/>
                    <a:gd name="connsiteY12" fmla="*/ 479425 h 1289050"/>
                    <a:gd name="connsiteX13" fmla="*/ 123825 w 488950"/>
                    <a:gd name="connsiteY13" fmla="*/ 485775 h 1289050"/>
                    <a:gd name="connsiteX14" fmla="*/ 111125 w 488950"/>
                    <a:gd name="connsiteY14" fmla="*/ 492125 h 1289050"/>
                    <a:gd name="connsiteX15" fmla="*/ 98425 w 488950"/>
                    <a:gd name="connsiteY15" fmla="*/ 504825 h 1289050"/>
                    <a:gd name="connsiteX16" fmla="*/ 76200 w 488950"/>
                    <a:gd name="connsiteY16" fmla="*/ 514350 h 1289050"/>
                    <a:gd name="connsiteX17" fmla="*/ 41275 w 488950"/>
                    <a:gd name="connsiteY17" fmla="*/ 523875 h 1289050"/>
                    <a:gd name="connsiteX18" fmla="*/ 28575 w 488950"/>
                    <a:gd name="connsiteY18" fmla="*/ 533400 h 1289050"/>
                    <a:gd name="connsiteX19" fmla="*/ 19050 w 488950"/>
                    <a:gd name="connsiteY19" fmla="*/ 536575 h 1289050"/>
                    <a:gd name="connsiteX20" fmla="*/ 9525 w 488950"/>
                    <a:gd name="connsiteY20" fmla="*/ 542925 h 1289050"/>
                    <a:gd name="connsiteX21" fmla="*/ 3175 w 488950"/>
                    <a:gd name="connsiteY21" fmla="*/ 628650 h 1289050"/>
                    <a:gd name="connsiteX22" fmla="*/ 0 w 488950"/>
                    <a:gd name="connsiteY22" fmla="*/ 654050 h 1289050"/>
                    <a:gd name="connsiteX23" fmla="*/ 3175 w 488950"/>
                    <a:gd name="connsiteY23" fmla="*/ 736600 h 1289050"/>
                    <a:gd name="connsiteX24" fmla="*/ 6350 w 488950"/>
                    <a:gd name="connsiteY24" fmla="*/ 746125 h 1289050"/>
                    <a:gd name="connsiteX25" fmla="*/ 19050 w 488950"/>
                    <a:gd name="connsiteY25" fmla="*/ 755650 h 1289050"/>
                    <a:gd name="connsiteX26" fmla="*/ 34925 w 488950"/>
                    <a:gd name="connsiteY26" fmla="*/ 758825 h 1289050"/>
                    <a:gd name="connsiteX27" fmla="*/ 47625 w 488950"/>
                    <a:gd name="connsiteY27" fmla="*/ 762000 h 1289050"/>
                    <a:gd name="connsiteX28" fmla="*/ 104775 w 488950"/>
                    <a:gd name="connsiteY28" fmla="*/ 784225 h 1289050"/>
                    <a:gd name="connsiteX29" fmla="*/ 117475 w 488950"/>
                    <a:gd name="connsiteY29" fmla="*/ 793750 h 1289050"/>
                    <a:gd name="connsiteX30" fmla="*/ 136525 w 488950"/>
                    <a:gd name="connsiteY30" fmla="*/ 803275 h 1289050"/>
                    <a:gd name="connsiteX31" fmla="*/ 165100 w 488950"/>
                    <a:gd name="connsiteY31" fmla="*/ 838200 h 1289050"/>
                    <a:gd name="connsiteX32" fmla="*/ 174625 w 488950"/>
                    <a:gd name="connsiteY32" fmla="*/ 866775 h 1289050"/>
                    <a:gd name="connsiteX33" fmla="*/ 177800 w 488950"/>
                    <a:gd name="connsiteY33" fmla="*/ 879475 h 1289050"/>
                    <a:gd name="connsiteX34" fmla="*/ 190500 w 488950"/>
                    <a:gd name="connsiteY34" fmla="*/ 895350 h 1289050"/>
                    <a:gd name="connsiteX35" fmla="*/ 196850 w 488950"/>
                    <a:gd name="connsiteY35" fmla="*/ 911225 h 1289050"/>
                    <a:gd name="connsiteX36" fmla="*/ 212725 w 488950"/>
                    <a:gd name="connsiteY36" fmla="*/ 939800 h 1289050"/>
                    <a:gd name="connsiteX37" fmla="*/ 228600 w 488950"/>
                    <a:gd name="connsiteY37" fmla="*/ 971550 h 1289050"/>
                    <a:gd name="connsiteX38" fmla="*/ 231775 w 488950"/>
                    <a:gd name="connsiteY38" fmla="*/ 984250 h 1289050"/>
                    <a:gd name="connsiteX39" fmla="*/ 215900 w 488950"/>
                    <a:gd name="connsiteY39" fmla="*/ 1035050 h 1289050"/>
                    <a:gd name="connsiteX40" fmla="*/ 209550 w 488950"/>
                    <a:gd name="connsiteY40" fmla="*/ 1066800 h 1289050"/>
                    <a:gd name="connsiteX41" fmla="*/ 196850 w 488950"/>
                    <a:gd name="connsiteY41" fmla="*/ 1098550 h 1289050"/>
                    <a:gd name="connsiteX42" fmla="*/ 190500 w 488950"/>
                    <a:gd name="connsiteY42" fmla="*/ 1133475 h 1289050"/>
                    <a:gd name="connsiteX43" fmla="*/ 187325 w 488950"/>
                    <a:gd name="connsiteY43" fmla="*/ 1152525 h 1289050"/>
                    <a:gd name="connsiteX44" fmla="*/ 190500 w 488950"/>
                    <a:gd name="connsiteY44" fmla="*/ 1174750 h 1289050"/>
                    <a:gd name="connsiteX45" fmla="*/ 215900 w 488950"/>
                    <a:gd name="connsiteY45" fmla="*/ 1196975 h 1289050"/>
                    <a:gd name="connsiteX46" fmla="*/ 238125 w 488950"/>
                    <a:gd name="connsiteY46" fmla="*/ 1206500 h 1289050"/>
                    <a:gd name="connsiteX47" fmla="*/ 257175 w 488950"/>
                    <a:gd name="connsiteY47" fmla="*/ 1225550 h 1289050"/>
                    <a:gd name="connsiteX48" fmla="*/ 273050 w 488950"/>
                    <a:gd name="connsiteY48" fmla="*/ 1241425 h 1289050"/>
                    <a:gd name="connsiteX49" fmla="*/ 285750 w 488950"/>
                    <a:gd name="connsiteY49" fmla="*/ 1250950 h 1289050"/>
                    <a:gd name="connsiteX50" fmla="*/ 301625 w 488950"/>
                    <a:gd name="connsiteY50" fmla="*/ 1285875 h 1289050"/>
                    <a:gd name="connsiteX51" fmla="*/ 311150 w 488950"/>
                    <a:gd name="connsiteY51" fmla="*/ 1289050 h 1289050"/>
                    <a:gd name="connsiteX52" fmla="*/ 352425 w 488950"/>
                    <a:gd name="connsiteY52" fmla="*/ 1276350 h 1289050"/>
                    <a:gd name="connsiteX53" fmla="*/ 368300 w 488950"/>
                    <a:gd name="connsiteY53" fmla="*/ 1266825 h 1289050"/>
                    <a:gd name="connsiteX54" fmla="*/ 384175 w 488950"/>
                    <a:gd name="connsiteY54" fmla="*/ 1263650 h 1289050"/>
                    <a:gd name="connsiteX55" fmla="*/ 396875 w 488950"/>
                    <a:gd name="connsiteY55" fmla="*/ 1260475 h 1289050"/>
                    <a:gd name="connsiteX56" fmla="*/ 409575 w 488950"/>
                    <a:gd name="connsiteY56" fmla="*/ 1254125 h 1289050"/>
                    <a:gd name="connsiteX57" fmla="*/ 438150 w 488950"/>
                    <a:gd name="connsiteY57" fmla="*/ 1247775 h 1289050"/>
                    <a:gd name="connsiteX58" fmla="*/ 463550 w 488950"/>
                    <a:gd name="connsiteY58" fmla="*/ 1241425 h 1289050"/>
                    <a:gd name="connsiteX59" fmla="*/ 476250 w 488950"/>
                    <a:gd name="connsiteY59" fmla="*/ 1238250 h 1289050"/>
                    <a:gd name="connsiteX60" fmla="*/ 488950 w 488950"/>
                    <a:gd name="connsiteY60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225425 w 488950"/>
                    <a:gd name="connsiteY4" fmla="*/ 336550 h 1289050"/>
                    <a:gd name="connsiteX5" fmla="*/ 193675 w 488950"/>
                    <a:gd name="connsiteY5" fmla="*/ 377825 h 1289050"/>
                    <a:gd name="connsiteX6" fmla="*/ 184150 w 488950"/>
                    <a:gd name="connsiteY6" fmla="*/ 403225 h 1289050"/>
                    <a:gd name="connsiteX7" fmla="*/ 177800 w 488950"/>
                    <a:gd name="connsiteY7" fmla="*/ 415925 h 1289050"/>
                    <a:gd name="connsiteX8" fmla="*/ 174625 w 488950"/>
                    <a:gd name="connsiteY8" fmla="*/ 438150 h 1289050"/>
                    <a:gd name="connsiteX9" fmla="*/ 171450 w 488950"/>
                    <a:gd name="connsiteY9" fmla="*/ 463550 h 1289050"/>
                    <a:gd name="connsiteX10" fmla="*/ 161925 w 488950"/>
                    <a:gd name="connsiteY10" fmla="*/ 466725 h 1289050"/>
                    <a:gd name="connsiteX11" fmla="*/ 136525 w 488950"/>
                    <a:gd name="connsiteY11" fmla="*/ 479425 h 1289050"/>
                    <a:gd name="connsiteX12" fmla="*/ 123825 w 488950"/>
                    <a:gd name="connsiteY12" fmla="*/ 485775 h 1289050"/>
                    <a:gd name="connsiteX13" fmla="*/ 111125 w 488950"/>
                    <a:gd name="connsiteY13" fmla="*/ 492125 h 1289050"/>
                    <a:gd name="connsiteX14" fmla="*/ 98425 w 488950"/>
                    <a:gd name="connsiteY14" fmla="*/ 504825 h 1289050"/>
                    <a:gd name="connsiteX15" fmla="*/ 76200 w 488950"/>
                    <a:gd name="connsiteY15" fmla="*/ 514350 h 1289050"/>
                    <a:gd name="connsiteX16" fmla="*/ 41275 w 488950"/>
                    <a:gd name="connsiteY16" fmla="*/ 523875 h 1289050"/>
                    <a:gd name="connsiteX17" fmla="*/ 28575 w 488950"/>
                    <a:gd name="connsiteY17" fmla="*/ 533400 h 1289050"/>
                    <a:gd name="connsiteX18" fmla="*/ 19050 w 488950"/>
                    <a:gd name="connsiteY18" fmla="*/ 536575 h 1289050"/>
                    <a:gd name="connsiteX19" fmla="*/ 9525 w 488950"/>
                    <a:gd name="connsiteY19" fmla="*/ 542925 h 1289050"/>
                    <a:gd name="connsiteX20" fmla="*/ 3175 w 488950"/>
                    <a:gd name="connsiteY20" fmla="*/ 628650 h 1289050"/>
                    <a:gd name="connsiteX21" fmla="*/ 0 w 488950"/>
                    <a:gd name="connsiteY21" fmla="*/ 654050 h 1289050"/>
                    <a:gd name="connsiteX22" fmla="*/ 3175 w 488950"/>
                    <a:gd name="connsiteY22" fmla="*/ 736600 h 1289050"/>
                    <a:gd name="connsiteX23" fmla="*/ 6350 w 488950"/>
                    <a:gd name="connsiteY23" fmla="*/ 746125 h 1289050"/>
                    <a:gd name="connsiteX24" fmla="*/ 19050 w 488950"/>
                    <a:gd name="connsiteY24" fmla="*/ 755650 h 1289050"/>
                    <a:gd name="connsiteX25" fmla="*/ 34925 w 488950"/>
                    <a:gd name="connsiteY25" fmla="*/ 758825 h 1289050"/>
                    <a:gd name="connsiteX26" fmla="*/ 47625 w 488950"/>
                    <a:gd name="connsiteY26" fmla="*/ 762000 h 1289050"/>
                    <a:gd name="connsiteX27" fmla="*/ 104775 w 488950"/>
                    <a:gd name="connsiteY27" fmla="*/ 784225 h 1289050"/>
                    <a:gd name="connsiteX28" fmla="*/ 117475 w 488950"/>
                    <a:gd name="connsiteY28" fmla="*/ 793750 h 1289050"/>
                    <a:gd name="connsiteX29" fmla="*/ 136525 w 488950"/>
                    <a:gd name="connsiteY29" fmla="*/ 803275 h 1289050"/>
                    <a:gd name="connsiteX30" fmla="*/ 165100 w 488950"/>
                    <a:gd name="connsiteY30" fmla="*/ 838200 h 1289050"/>
                    <a:gd name="connsiteX31" fmla="*/ 174625 w 488950"/>
                    <a:gd name="connsiteY31" fmla="*/ 866775 h 1289050"/>
                    <a:gd name="connsiteX32" fmla="*/ 177800 w 488950"/>
                    <a:gd name="connsiteY32" fmla="*/ 879475 h 1289050"/>
                    <a:gd name="connsiteX33" fmla="*/ 190500 w 488950"/>
                    <a:gd name="connsiteY33" fmla="*/ 895350 h 1289050"/>
                    <a:gd name="connsiteX34" fmla="*/ 196850 w 488950"/>
                    <a:gd name="connsiteY34" fmla="*/ 911225 h 1289050"/>
                    <a:gd name="connsiteX35" fmla="*/ 212725 w 488950"/>
                    <a:gd name="connsiteY35" fmla="*/ 939800 h 1289050"/>
                    <a:gd name="connsiteX36" fmla="*/ 228600 w 488950"/>
                    <a:gd name="connsiteY36" fmla="*/ 971550 h 1289050"/>
                    <a:gd name="connsiteX37" fmla="*/ 231775 w 488950"/>
                    <a:gd name="connsiteY37" fmla="*/ 984250 h 1289050"/>
                    <a:gd name="connsiteX38" fmla="*/ 215900 w 488950"/>
                    <a:gd name="connsiteY38" fmla="*/ 1035050 h 1289050"/>
                    <a:gd name="connsiteX39" fmla="*/ 209550 w 488950"/>
                    <a:gd name="connsiteY39" fmla="*/ 1066800 h 1289050"/>
                    <a:gd name="connsiteX40" fmla="*/ 196850 w 488950"/>
                    <a:gd name="connsiteY40" fmla="*/ 1098550 h 1289050"/>
                    <a:gd name="connsiteX41" fmla="*/ 190500 w 488950"/>
                    <a:gd name="connsiteY41" fmla="*/ 1133475 h 1289050"/>
                    <a:gd name="connsiteX42" fmla="*/ 187325 w 488950"/>
                    <a:gd name="connsiteY42" fmla="*/ 1152525 h 1289050"/>
                    <a:gd name="connsiteX43" fmla="*/ 190500 w 488950"/>
                    <a:gd name="connsiteY43" fmla="*/ 1174750 h 1289050"/>
                    <a:gd name="connsiteX44" fmla="*/ 215900 w 488950"/>
                    <a:gd name="connsiteY44" fmla="*/ 1196975 h 1289050"/>
                    <a:gd name="connsiteX45" fmla="*/ 238125 w 488950"/>
                    <a:gd name="connsiteY45" fmla="*/ 1206500 h 1289050"/>
                    <a:gd name="connsiteX46" fmla="*/ 257175 w 488950"/>
                    <a:gd name="connsiteY46" fmla="*/ 1225550 h 1289050"/>
                    <a:gd name="connsiteX47" fmla="*/ 273050 w 488950"/>
                    <a:gd name="connsiteY47" fmla="*/ 1241425 h 1289050"/>
                    <a:gd name="connsiteX48" fmla="*/ 285750 w 488950"/>
                    <a:gd name="connsiteY48" fmla="*/ 1250950 h 1289050"/>
                    <a:gd name="connsiteX49" fmla="*/ 301625 w 488950"/>
                    <a:gd name="connsiteY49" fmla="*/ 1285875 h 1289050"/>
                    <a:gd name="connsiteX50" fmla="*/ 311150 w 488950"/>
                    <a:gd name="connsiteY50" fmla="*/ 1289050 h 1289050"/>
                    <a:gd name="connsiteX51" fmla="*/ 352425 w 488950"/>
                    <a:gd name="connsiteY51" fmla="*/ 1276350 h 1289050"/>
                    <a:gd name="connsiteX52" fmla="*/ 368300 w 488950"/>
                    <a:gd name="connsiteY52" fmla="*/ 1266825 h 1289050"/>
                    <a:gd name="connsiteX53" fmla="*/ 384175 w 488950"/>
                    <a:gd name="connsiteY53" fmla="*/ 1263650 h 1289050"/>
                    <a:gd name="connsiteX54" fmla="*/ 396875 w 488950"/>
                    <a:gd name="connsiteY54" fmla="*/ 1260475 h 1289050"/>
                    <a:gd name="connsiteX55" fmla="*/ 409575 w 488950"/>
                    <a:gd name="connsiteY55" fmla="*/ 1254125 h 1289050"/>
                    <a:gd name="connsiteX56" fmla="*/ 438150 w 488950"/>
                    <a:gd name="connsiteY56" fmla="*/ 1247775 h 1289050"/>
                    <a:gd name="connsiteX57" fmla="*/ 463550 w 488950"/>
                    <a:gd name="connsiteY57" fmla="*/ 1241425 h 1289050"/>
                    <a:gd name="connsiteX58" fmla="*/ 476250 w 488950"/>
                    <a:gd name="connsiteY58" fmla="*/ 1238250 h 1289050"/>
                    <a:gd name="connsiteX59" fmla="*/ 488950 w 488950"/>
                    <a:gd name="connsiteY59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225425 w 488950"/>
                    <a:gd name="connsiteY4" fmla="*/ 336550 h 1289050"/>
                    <a:gd name="connsiteX5" fmla="*/ 193675 w 488950"/>
                    <a:gd name="connsiteY5" fmla="*/ 377825 h 1289050"/>
                    <a:gd name="connsiteX6" fmla="*/ 184150 w 488950"/>
                    <a:gd name="connsiteY6" fmla="*/ 403225 h 1289050"/>
                    <a:gd name="connsiteX7" fmla="*/ 177800 w 488950"/>
                    <a:gd name="connsiteY7" fmla="*/ 415925 h 1289050"/>
                    <a:gd name="connsiteX8" fmla="*/ 174625 w 488950"/>
                    <a:gd name="connsiteY8" fmla="*/ 438150 h 1289050"/>
                    <a:gd name="connsiteX9" fmla="*/ 171450 w 488950"/>
                    <a:gd name="connsiteY9" fmla="*/ 463550 h 1289050"/>
                    <a:gd name="connsiteX10" fmla="*/ 161925 w 488950"/>
                    <a:gd name="connsiteY10" fmla="*/ 466725 h 1289050"/>
                    <a:gd name="connsiteX11" fmla="*/ 136525 w 488950"/>
                    <a:gd name="connsiteY11" fmla="*/ 479425 h 1289050"/>
                    <a:gd name="connsiteX12" fmla="*/ 123825 w 488950"/>
                    <a:gd name="connsiteY12" fmla="*/ 485775 h 1289050"/>
                    <a:gd name="connsiteX13" fmla="*/ 111125 w 488950"/>
                    <a:gd name="connsiteY13" fmla="*/ 492125 h 1289050"/>
                    <a:gd name="connsiteX14" fmla="*/ 98425 w 488950"/>
                    <a:gd name="connsiteY14" fmla="*/ 504825 h 1289050"/>
                    <a:gd name="connsiteX15" fmla="*/ 76200 w 488950"/>
                    <a:gd name="connsiteY15" fmla="*/ 514350 h 1289050"/>
                    <a:gd name="connsiteX16" fmla="*/ 41275 w 488950"/>
                    <a:gd name="connsiteY16" fmla="*/ 523875 h 1289050"/>
                    <a:gd name="connsiteX17" fmla="*/ 28575 w 488950"/>
                    <a:gd name="connsiteY17" fmla="*/ 533400 h 1289050"/>
                    <a:gd name="connsiteX18" fmla="*/ 19050 w 488950"/>
                    <a:gd name="connsiteY18" fmla="*/ 536575 h 1289050"/>
                    <a:gd name="connsiteX19" fmla="*/ 9525 w 488950"/>
                    <a:gd name="connsiteY19" fmla="*/ 542925 h 1289050"/>
                    <a:gd name="connsiteX20" fmla="*/ 3175 w 488950"/>
                    <a:gd name="connsiteY20" fmla="*/ 628650 h 1289050"/>
                    <a:gd name="connsiteX21" fmla="*/ 0 w 488950"/>
                    <a:gd name="connsiteY21" fmla="*/ 654050 h 1289050"/>
                    <a:gd name="connsiteX22" fmla="*/ 3175 w 488950"/>
                    <a:gd name="connsiteY22" fmla="*/ 736600 h 1289050"/>
                    <a:gd name="connsiteX23" fmla="*/ 6350 w 488950"/>
                    <a:gd name="connsiteY23" fmla="*/ 746125 h 1289050"/>
                    <a:gd name="connsiteX24" fmla="*/ 19050 w 488950"/>
                    <a:gd name="connsiteY24" fmla="*/ 755650 h 1289050"/>
                    <a:gd name="connsiteX25" fmla="*/ 34925 w 488950"/>
                    <a:gd name="connsiteY25" fmla="*/ 758825 h 1289050"/>
                    <a:gd name="connsiteX26" fmla="*/ 47625 w 488950"/>
                    <a:gd name="connsiteY26" fmla="*/ 762000 h 1289050"/>
                    <a:gd name="connsiteX27" fmla="*/ 104775 w 488950"/>
                    <a:gd name="connsiteY27" fmla="*/ 784225 h 1289050"/>
                    <a:gd name="connsiteX28" fmla="*/ 117475 w 488950"/>
                    <a:gd name="connsiteY28" fmla="*/ 793750 h 1289050"/>
                    <a:gd name="connsiteX29" fmla="*/ 136525 w 488950"/>
                    <a:gd name="connsiteY29" fmla="*/ 803275 h 1289050"/>
                    <a:gd name="connsiteX30" fmla="*/ 165100 w 488950"/>
                    <a:gd name="connsiteY30" fmla="*/ 838200 h 1289050"/>
                    <a:gd name="connsiteX31" fmla="*/ 174625 w 488950"/>
                    <a:gd name="connsiteY31" fmla="*/ 866775 h 1289050"/>
                    <a:gd name="connsiteX32" fmla="*/ 177800 w 488950"/>
                    <a:gd name="connsiteY32" fmla="*/ 879475 h 1289050"/>
                    <a:gd name="connsiteX33" fmla="*/ 190500 w 488950"/>
                    <a:gd name="connsiteY33" fmla="*/ 895350 h 1289050"/>
                    <a:gd name="connsiteX34" fmla="*/ 196850 w 488950"/>
                    <a:gd name="connsiteY34" fmla="*/ 911225 h 1289050"/>
                    <a:gd name="connsiteX35" fmla="*/ 212725 w 488950"/>
                    <a:gd name="connsiteY35" fmla="*/ 939800 h 1289050"/>
                    <a:gd name="connsiteX36" fmla="*/ 228600 w 488950"/>
                    <a:gd name="connsiteY36" fmla="*/ 971550 h 1289050"/>
                    <a:gd name="connsiteX37" fmla="*/ 231775 w 488950"/>
                    <a:gd name="connsiteY37" fmla="*/ 984250 h 1289050"/>
                    <a:gd name="connsiteX38" fmla="*/ 215900 w 488950"/>
                    <a:gd name="connsiteY38" fmla="*/ 1035050 h 1289050"/>
                    <a:gd name="connsiteX39" fmla="*/ 209550 w 488950"/>
                    <a:gd name="connsiteY39" fmla="*/ 1066800 h 1289050"/>
                    <a:gd name="connsiteX40" fmla="*/ 196850 w 488950"/>
                    <a:gd name="connsiteY40" fmla="*/ 1098550 h 1289050"/>
                    <a:gd name="connsiteX41" fmla="*/ 190500 w 488950"/>
                    <a:gd name="connsiteY41" fmla="*/ 1133475 h 1289050"/>
                    <a:gd name="connsiteX42" fmla="*/ 187325 w 488950"/>
                    <a:gd name="connsiteY42" fmla="*/ 1152525 h 1289050"/>
                    <a:gd name="connsiteX43" fmla="*/ 190500 w 488950"/>
                    <a:gd name="connsiteY43" fmla="*/ 1174750 h 1289050"/>
                    <a:gd name="connsiteX44" fmla="*/ 215900 w 488950"/>
                    <a:gd name="connsiteY44" fmla="*/ 1196975 h 1289050"/>
                    <a:gd name="connsiteX45" fmla="*/ 238125 w 488950"/>
                    <a:gd name="connsiteY45" fmla="*/ 1206500 h 1289050"/>
                    <a:gd name="connsiteX46" fmla="*/ 257175 w 488950"/>
                    <a:gd name="connsiteY46" fmla="*/ 1225550 h 1289050"/>
                    <a:gd name="connsiteX47" fmla="*/ 273050 w 488950"/>
                    <a:gd name="connsiteY47" fmla="*/ 1241425 h 1289050"/>
                    <a:gd name="connsiteX48" fmla="*/ 285750 w 488950"/>
                    <a:gd name="connsiteY48" fmla="*/ 1250950 h 1289050"/>
                    <a:gd name="connsiteX49" fmla="*/ 301625 w 488950"/>
                    <a:gd name="connsiteY49" fmla="*/ 1285875 h 1289050"/>
                    <a:gd name="connsiteX50" fmla="*/ 311150 w 488950"/>
                    <a:gd name="connsiteY50" fmla="*/ 1289050 h 1289050"/>
                    <a:gd name="connsiteX51" fmla="*/ 352425 w 488950"/>
                    <a:gd name="connsiteY51" fmla="*/ 1276350 h 1289050"/>
                    <a:gd name="connsiteX52" fmla="*/ 368300 w 488950"/>
                    <a:gd name="connsiteY52" fmla="*/ 1266825 h 1289050"/>
                    <a:gd name="connsiteX53" fmla="*/ 384175 w 488950"/>
                    <a:gd name="connsiteY53" fmla="*/ 1263650 h 1289050"/>
                    <a:gd name="connsiteX54" fmla="*/ 396875 w 488950"/>
                    <a:gd name="connsiteY54" fmla="*/ 1260475 h 1289050"/>
                    <a:gd name="connsiteX55" fmla="*/ 409575 w 488950"/>
                    <a:gd name="connsiteY55" fmla="*/ 1254125 h 1289050"/>
                    <a:gd name="connsiteX56" fmla="*/ 438150 w 488950"/>
                    <a:gd name="connsiteY56" fmla="*/ 1247775 h 1289050"/>
                    <a:gd name="connsiteX57" fmla="*/ 463550 w 488950"/>
                    <a:gd name="connsiteY57" fmla="*/ 1241425 h 1289050"/>
                    <a:gd name="connsiteX58" fmla="*/ 476250 w 488950"/>
                    <a:gd name="connsiteY58" fmla="*/ 1238250 h 1289050"/>
                    <a:gd name="connsiteX59" fmla="*/ 488950 w 488950"/>
                    <a:gd name="connsiteY59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3675 w 488950"/>
                    <a:gd name="connsiteY4" fmla="*/ 377825 h 1289050"/>
                    <a:gd name="connsiteX5" fmla="*/ 184150 w 488950"/>
                    <a:gd name="connsiteY5" fmla="*/ 403225 h 1289050"/>
                    <a:gd name="connsiteX6" fmla="*/ 177800 w 488950"/>
                    <a:gd name="connsiteY6" fmla="*/ 415925 h 1289050"/>
                    <a:gd name="connsiteX7" fmla="*/ 174625 w 488950"/>
                    <a:gd name="connsiteY7" fmla="*/ 438150 h 1289050"/>
                    <a:gd name="connsiteX8" fmla="*/ 171450 w 488950"/>
                    <a:gd name="connsiteY8" fmla="*/ 463550 h 1289050"/>
                    <a:gd name="connsiteX9" fmla="*/ 161925 w 488950"/>
                    <a:gd name="connsiteY9" fmla="*/ 466725 h 1289050"/>
                    <a:gd name="connsiteX10" fmla="*/ 136525 w 488950"/>
                    <a:gd name="connsiteY10" fmla="*/ 479425 h 1289050"/>
                    <a:gd name="connsiteX11" fmla="*/ 123825 w 488950"/>
                    <a:gd name="connsiteY11" fmla="*/ 485775 h 1289050"/>
                    <a:gd name="connsiteX12" fmla="*/ 111125 w 488950"/>
                    <a:gd name="connsiteY12" fmla="*/ 492125 h 1289050"/>
                    <a:gd name="connsiteX13" fmla="*/ 98425 w 488950"/>
                    <a:gd name="connsiteY13" fmla="*/ 504825 h 1289050"/>
                    <a:gd name="connsiteX14" fmla="*/ 76200 w 488950"/>
                    <a:gd name="connsiteY14" fmla="*/ 514350 h 1289050"/>
                    <a:gd name="connsiteX15" fmla="*/ 41275 w 488950"/>
                    <a:gd name="connsiteY15" fmla="*/ 523875 h 1289050"/>
                    <a:gd name="connsiteX16" fmla="*/ 28575 w 488950"/>
                    <a:gd name="connsiteY16" fmla="*/ 533400 h 1289050"/>
                    <a:gd name="connsiteX17" fmla="*/ 19050 w 488950"/>
                    <a:gd name="connsiteY17" fmla="*/ 536575 h 1289050"/>
                    <a:gd name="connsiteX18" fmla="*/ 9525 w 488950"/>
                    <a:gd name="connsiteY18" fmla="*/ 542925 h 1289050"/>
                    <a:gd name="connsiteX19" fmla="*/ 3175 w 488950"/>
                    <a:gd name="connsiteY19" fmla="*/ 628650 h 1289050"/>
                    <a:gd name="connsiteX20" fmla="*/ 0 w 488950"/>
                    <a:gd name="connsiteY20" fmla="*/ 654050 h 1289050"/>
                    <a:gd name="connsiteX21" fmla="*/ 3175 w 488950"/>
                    <a:gd name="connsiteY21" fmla="*/ 736600 h 1289050"/>
                    <a:gd name="connsiteX22" fmla="*/ 6350 w 488950"/>
                    <a:gd name="connsiteY22" fmla="*/ 746125 h 1289050"/>
                    <a:gd name="connsiteX23" fmla="*/ 19050 w 488950"/>
                    <a:gd name="connsiteY23" fmla="*/ 755650 h 1289050"/>
                    <a:gd name="connsiteX24" fmla="*/ 34925 w 488950"/>
                    <a:gd name="connsiteY24" fmla="*/ 758825 h 1289050"/>
                    <a:gd name="connsiteX25" fmla="*/ 47625 w 488950"/>
                    <a:gd name="connsiteY25" fmla="*/ 762000 h 1289050"/>
                    <a:gd name="connsiteX26" fmla="*/ 104775 w 488950"/>
                    <a:gd name="connsiteY26" fmla="*/ 784225 h 1289050"/>
                    <a:gd name="connsiteX27" fmla="*/ 117475 w 488950"/>
                    <a:gd name="connsiteY27" fmla="*/ 793750 h 1289050"/>
                    <a:gd name="connsiteX28" fmla="*/ 136525 w 488950"/>
                    <a:gd name="connsiteY28" fmla="*/ 803275 h 1289050"/>
                    <a:gd name="connsiteX29" fmla="*/ 165100 w 488950"/>
                    <a:gd name="connsiteY29" fmla="*/ 838200 h 1289050"/>
                    <a:gd name="connsiteX30" fmla="*/ 174625 w 488950"/>
                    <a:gd name="connsiteY30" fmla="*/ 866775 h 1289050"/>
                    <a:gd name="connsiteX31" fmla="*/ 177800 w 488950"/>
                    <a:gd name="connsiteY31" fmla="*/ 879475 h 1289050"/>
                    <a:gd name="connsiteX32" fmla="*/ 190500 w 488950"/>
                    <a:gd name="connsiteY32" fmla="*/ 895350 h 1289050"/>
                    <a:gd name="connsiteX33" fmla="*/ 196850 w 488950"/>
                    <a:gd name="connsiteY33" fmla="*/ 911225 h 1289050"/>
                    <a:gd name="connsiteX34" fmla="*/ 212725 w 488950"/>
                    <a:gd name="connsiteY34" fmla="*/ 939800 h 1289050"/>
                    <a:gd name="connsiteX35" fmla="*/ 228600 w 488950"/>
                    <a:gd name="connsiteY35" fmla="*/ 971550 h 1289050"/>
                    <a:gd name="connsiteX36" fmla="*/ 231775 w 488950"/>
                    <a:gd name="connsiteY36" fmla="*/ 984250 h 1289050"/>
                    <a:gd name="connsiteX37" fmla="*/ 215900 w 488950"/>
                    <a:gd name="connsiteY37" fmla="*/ 1035050 h 1289050"/>
                    <a:gd name="connsiteX38" fmla="*/ 209550 w 488950"/>
                    <a:gd name="connsiteY38" fmla="*/ 1066800 h 1289050"/>
                    <a:gd name="connsiteX39" fmla="*/ 196850 w 488950"/>
                    <a:gd name="connsiteY39" fmla="*/ 1098550 h 1289050"/>
                    <a:gd name="connsiteX40" fmla="*/ 190500 w 488950"/>
                    <a:gd name="connsiteY40" fmla="*/ 1133475 h 1289050"/>
                    <a:gd name="connsiteX41" fmla="*/ 187325 w 488950"/>
                    <a:gd name="connsiteY41" fmla="*/ 1152525 h 1289050"/>
                    <a:gd name="connsiteX42" fmla="*/ 190500 w 488950"/>
                    <a:gd name="connsiteY42" fmla="*/ 1174750 h 1289050"/>
                    <a:gd name="connsiteX43" fmla="*/ 215900 w 488950"/>
                    <a:gd name="connsiteY43" fmla="*/ 1196975 h 1289050"/>
                    <a:gd name="connsiteX44" fmla="*/ 238125 w 488950"/>
                    <a:gd name="connsiteY44" fmla="*/ 1206500 h 1289050"/>
                    <a:gd name="connsiteX45" fmla="*/ 257175 w 488950"/>
                    <a:gd name="connsiteY45" fmla="*/ 1225550 h 1289050"/>
                    <a:gd name="connsiteX46" fmla="*/ 273050 w 488950"/>
                    <a:gd name="connsiteY46" fmla="*/ 1241425 h 1289050"/>
                    <a:gd name="connsiteX47" fmla="*/ 285750 w 488950"/>
                    <a:gd name="connsiteY47" fmla="*/ 1250950 h 1289050"/>
                    <a:gd name="connsiteX48" fmla="*/ 301625 w 488950"/>
                    <a:gd name="connsiteY48" fmla="*/ 1285875 h 1289050"/>
                    <a:gd name="connsiteX49" fmla="*/ 311150 w 488950"/>
                    <a:gd name="connsiteY49" fmla="*/ 1289050 h 1289050"/>
                    <a:gd name="connsiteX50" fmla="*/ 352425 w 488950"/>
                    <a:gd name="connsiteY50" fmla="*/ 1276350 h 1289050"/>
                    <a:gd name="connsiteX51" fmla="*/ 368300 w 488950"/>
                    <a:gd name="connsiteY51" fmla="*/ 1266825 h 1289050"/>
                    <a:gd name="connsiteX52" fmla="*/ 384175 w 488950"/>
                    <a:gd name="connsiteY52" fmla="*/ 1263650 h 1289050"/>
                    <a:gd name="connsiteX53" fmla="*/ 396875 w 488950"/>
                    <a:gd name="connsiteY53" fmla="*/ 1260475 h 1289050"/>
                    <a:gd name="connsiteX54" fmla="*/ 409575 w 488950"/>
                    <a:gd name="connsiteY54" fmla="*/ 1254125 h 1289050"/>
                    <a:gd name="connsiteX55" fmla="*/ 438150 w 488950"/>
                    <a:gd name="connsiteY55" fmla="*/ 1247775 h 1289050"/>
                    <a:gd name="connsiteX56" fmla="*/ 463550 w 488950"/>
                    <a:gd name="connsiteY56" fmla="*/ 1241425 h 1289050"/>
                    <a:gd name="connsiteX57" fmla="*/ 476250 w 488950"/>
                    <a:gd name="connsiteY57" fmla="*/ 1238250 h 1289050"/>
                    <a:gd name="connsiteX58" fmla="*/ 488950 w 488950"/>
                    <a:gd name="connsiteY58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84150 w 488950"/>
                    <a:gd name="connsiteY4" fmla="*/ 403225 h 1289050"/>
                    <a:gd name="connsiteX5" fmla="*/ 177800 w 488950"/>
                    <a:gd name="connsiteY5" fmla="*/ 415925 h 1289050"/>
                    <a:gd name="connsiteX6" fmla="*/ 174625 w 488950"/>
                    <a:gd name="connsiteY6" fmla="*/ 438150 h 1289050"/>
                    <a:gd name="connsiteX7" fmla="*/ 171450 w 488950"/>
                    <a:gd name="connsiteY7" fmla="*/ 463550 h 1289050"/>
                    <a:gd name="connsiteX8" fmla="*/ 161925 w 488950"/>
                    <a:gd name="connsiteY8" fmla="*/ 466725 h 1289050"/>
                    <a:gd name="connsiteX9" fmla="*/ 136525 w 488950"/>
                    <a:gd name="connsiteY9" fmla="*/ 479425 h 1289050"/>
                    <a:gd name="connsiteX10" fmla="*/ 123825 w 488950"/>
                    <a:gd name="connsiteY10" fmla="*/ 485775 h 1289050"/>
                    <a:gd name="connsiteX11" fmla="*/ 111125 w 488950"/>
                    <a:gd name="connsiteY11" fmla="*/ 492125 h 1289050"/>
                    <a:gd name="connsiteX12" fmla="*/ 98425 w 488950"/>
                    <a:gd name="connsiteY12" fmla="*/ 504825 h 1289050"/>
                    <a:gd name="connsiteX13" fmla="*/ 76200 w 488950"/>
                    <a:gd name="connsiteY13" fmla="*/ 514350 h 1289050"/>
                    <a:gd name="connsiteX14" fmla="*/ 41275 w 488950"/>
                    <a:gd name="connsiteY14" fmla="*/ 523875 h 1289050"/>
                    <a:gd name="connsiteX15" fmla="*/ 28575 w 488950"/>
                    <a:gd name="connsiteY15" fmla="*/ 533400 h 1289050"/>
                    <a:gd name="connsiteX16" fmla="*/ 19050 w 488950"/>
                    <a:gd name="connsiteY16" fmla="*/ 536575 h 1289050"/>
                    <a:gd name="connsiteX17" fmla="*/ 9525 w 488950"/>
                    <a:gd name="connsiteY17" fmla="*/ 542925 h 1289050"/>
                    <a:gd name="connsiteX18" fmla="*/ 3175 w 488950"/>
                    <a:gd name="connsiteY18" fmla="*/ 628650 h 1289050"/>
                    <a:gd name="connsiteX19" fmla="*/ 0 w 488950"/>
                    <a:gd name="connsiteY19" fmla="*/ 654050 h 1289050"/>
                    <a:gd name="connsiteX20" fmla="*/ 3175 w 488950"/>
                    <a:gd name="connsiteY20" fmla="*/ 736600 h 1289050"/>
                    <a:gd name="connsiteX21" fmla="*/ 6350 w 488950"/>
                    <a:gd name="connsiteY21" fmla="*/ 746125 h 1289050"/>
                    <a:gd name="connsiteX22" fmla="*/ 19050 w 488950"/>
                    <a:gd name="connsiteY22" fmla="*/ 755650 h 1289050"/>
                    <a:gd name="connsiteX23" fmla="*/ 34925 w 488950"/>
                    <a:gd name="connsiteY23" fmla="*/ 758825 h 1289050"/>
                    <a:gd name="connsiteX24" fmla="*/ 47625 w 488950"/>
                    <a:gd name="connsiteY24" fmla="*/ 762000 h 1289050"/>
                    <a:gd name="connsiteX25" fmla="*/ 104775 w 488950"/>
                    <a:gd name="connsiteY25" fmla="*/ 784225 h 1289050"/>
                    <a:gd name="connsiteX26" fmla="*/ 117475 w 488950"/>
                    <a:gd name="connsiteY26" fmla="*/ 793750 h 1289050"/>
                    <a:gd name="connsiteX27" fmla="*/ 136525 w 488950"/>
                    <a:gd name="connsiteY27" fmla="*/ 803275 h 1289050"/>
                    <a:gd name="connsiteX28" fmla="*/ 165100 w 488950"/>
                    <a:gd name="connsiteY28" fmla="*/ 838200 h 1289050"/>
                    <a:gd name="connsiteX29" fmla="*/ 174625 w 488950"/>
                    <a:gd name="connsiteY29" fmla="*/ 866775 h 1289050"/>
                    <a:gd name="connsiteX30" fmla="*/ 177800 w 488950"/>
                    <a:gd name="connsiteY30" fmla="*/ 879475 h 1289050"/>
                    <a:gd name="connsiteX31" fmla="*/ 190500 w 488950"/>
                    <a:gd name="connsiteY31" fmla="*/ 895350 h 1289050"/>
                    <a:gd name="connsiteX32" fmla="*/ 196850 w 488950"/>
                    <a:gd name="connsiteY32" fmla="*/ 911225 h 1289050"/>
                    <a:gd name="connsiteX33" fmla="*/ 212725 w 488950"/>
                    <a:gd name="connsiteY33" fmla="*/ 939800 h 1289050"/>
                    <a:gd name="connsiteX34" fmla="*/ 228600 w 488950"/>
                    <a:gd name="connsiteY34" fmla="*/ 971550 h 1289050"/>
                    <a:gd name="connsiteX35" fmla="*/ 231775 w 488950"/>
                    <a:gd name="connsiteY35" fmla="*/ 984250 h 1289050"/>
                    <a:gd name="connsiteX36" fmla="*/ 215900 w 488950"/>
                    <a:gd name="connsiteY36" fmla="*/ 1035050 h 1289050"/>
                    <a:gd name="connsiteX37" fmla="*/ 209550 w 488950"/>
                    <a:gd name="connsiteY37" fmla="*/ 1066800 h 1289050"/>
                    <a:gd name="connsiteX38" fmla="*/ 196850 w 488950"/>
                    <a:gd name="connsiteY38" fmla="*/ 1098550 h 1289050"/>
                    <a:gd name="connsiteX39" fmla="*/ 190500 w 488950"/>
                    <a:gd name="connsiteY39" fmla="*/ 1133475 h 1289050"/>
                    <a:gd name="connsiteX40" fmla="*/ 187325 w 488950"/>
                    <a:gd name="connsiteY40" fmla="*/ 1152525 h 1289050"/>
                    <a:gd name="connsiteX41" fmla="*/ 190500 w 488950"/>
                    <a:gd name="connsiteY41" fmla="*/ 1174750 h 1289050"/>
                    <a:gd name="connsiteX42" fmla="*/ 215900 w 488950"/>
                    <a:gd name="connsiteY42" fmla="*/ 1196975 h 1289050"/>
                    <a:gd name="connsiteX43" fmla="*/ 238125 w 488950"/>
                    <a:gd name="connsiteY43" fmla="*/ 1206500 h 1289050"/>
                    <a:gd name="connsiteX44" fmla="*/ 257175 w 488950"/>
                    <a:gd name="connsiteY44" fmla="*/ 1225550 h 1289050"/>
                    <a:gd name="connsiteX45" fmla="*/ 273050 w 488950"/>
                    <a:gd name="connsiteY45" fmla="*/ 1241425 h 1289050"/>
                    <a:gd name="connsiteX46" fmla="*/ 285750 w 488950"/>
                    <a:gd name="connsiteY46" fmla="*/ 1250950 h 1289050"/>
                    <a:gd name="connsiteX47" fmla="*/ 301625 w 488950"/>
                    <a:gd name="connsiteY47" fmla="*/ 1285875 h 1289050"/>
                    <a:gd name="connsiteX48" fmla="*/ 311150 w 488950"/>
                    <a:gd name="connsiteY48" fmla="*/ 1289050 h 1289050"/>
                    <a:gd name="connsiteX49" fmla="*/ 352425 w 488950"/>
                    <a:gd name="connsiteY49" fmla="*/ 1276350 h 1289050"/>
                    <a:gd name="connsiteX50" fmla="*/ 368300 w 488950"/>
                    <a:gd name="connsiteY50" fmla="*/ 1266825 h 1289050"/>
                    <a:gd name="connsiteX51" fmla="*/ 384175 w 488950"/>
                    <a:gd name="connsiteY51" fmla="*/ 1263650 h 1289050"/>
                    <a:gd name="connsiteX52" fmla="*/ 396875 w 488950"/>
                    <a:gd name="connsiteY52" fmla="*/ 1260475 h 1289050"/>
                    <a:gd name="connsiteX53" fmla="*/ 409575 w 488950"/>
                    <a:gd name="connsiteY53" fmla="*/ 1254125 h 1289050"/>
                    <a:gd name="connsiteX54" fmla="*/ 438150 w 488950"/>
                    <a:gd name="connsiteY54" fmla="*/ 1247775 h 1289050"/>
                    <a:gd name="connsiteX55" fmla="*/ 463550 w 488950"/>
                    <a:gd name="connsiteY55" fmla="*/ 1241425 h 1289050"/>
                    <a:gd name="connsiteX56" fmla="*/ 476250 w 488950"/>
                    <a:gd name="connsiteY56" fmla="*/ 1238250 h 1289050"/>
                    <a:gd name="connsiteX57" fmla="*/ 488950 w 488950"/>
                    <a:gd name="connsiteY57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84150 w 488950"/>
                    <a:gd name="connsiteY4" fmla="*/ 403225 h 1289050"/>
                    <a:gd name="connsiteX5" fmla="*/ 177800 w 488950"/>
                    <a:gd name="connsiteY5" fmla="*/ 415925 h 1289050"/>
                    <a:gd name="connsiteX6" fmla="*/ 171450 w 488950"/>
                    <a:gd name="connsiteY6" fmla="*/ 463550 h 1289050"/>
                    <a:gd name="connsiteX7" fmla="*/ 161925 w 488950"/>
                    <a:gd name="connsiteY7" fmla="*/ 466725 h 1289050"/>
                    <a:gd name="connsiteX8" fmla="*/ 136525 w 488950"/>
                    <a:gd name="connsiteY8" fmla="*/ 479425 h 1289050"/>
                    <a:gd name="connsiteX9" fmla="*/ 123825 w 488950"/>
                    <a:gd name="connsiteY9" fmla="*/ 485775 h 1289050"/>
                    <a:gd name="connsiteX10" fmla="*/ 111125 w 488950"/>
                    <a:gd name="connsiteY10" fmla="*/ 492125 h 1289050"/>
                    <a:gd name="connsiteX11" fmla="*/ 98425 w 488950"/>
                    <a:gd name="connsiteY11" fmla="*/ 504825 h 1289050"/>
                    <a:gd name="connsiteX12" fmla="*/ 76200 w 488950"/>
                    <a:gd name="connsiteY12" fmla="*/ 514350 h 1289050"/>
                    <a:gd name="connsiteX13" fmla="*/ 41275 w 488950"/>
                    <a:gd name="connsiteY13" fmla="*/ 523875 h 1289050"/>
                    <a:gd name="connsiteX14" fmla="*/ 28575 w 488950"/>
                    <a:gd name="connsiteY14" fmla="*/ 533400 h 1289050"/>
                    <a:gd name="connsiteX15" fmla="*/ 19050 w 488950"/>
                    <a:gd name="connsiteY15" fmla="*/ 536575 h 1289050"/>
                    <a:gd name="connsiteX16" fmla="*/ 9525 w 488950"/>
                    <a:gd name="connsiteY16" fmla="*/ 542925 h 1289050"/>
                    <a:gd name="connsiteX17" fmla="*/ 3175 w 488950"/>
                    <a:gd name="connsiteY17" fmla="*/ 628650 h 1289050"/>
                    <a:gd name="connsiteX18" fmla="*/ 0 w 488950"/>
                    <a:gd name="connsiteY18" fmla="*/ 654050 h 1289050"/>
                    <a:gd name="connsiteX19" fmla="*/ 3175 w 488950"/>
                    <a:gd name="connsiteY19" fmla="*/ 736600 h 1289050"/>
                    <a:gd name="connsiteX20" fmla="*/ 6350 w 488950"/>
                    <a:gd name="connsiteY20" fmla="*/ 746125 h 1289050"/>
                    <a:gd name="connsiteX21" fmla="*/ 19050 w 488950"/>
                    <a:gd name="connsiteY21" fmla="*/ 755650 h 1289050"/>
                    <a:gd name="connsiteX22" fmla="*/ 34925 w 488950"/>
                    <a:gd name="connsiteY22" fmla="*/ 758825 h 1289050"/>
                    <a:gd name="connsiteX23" fmla="*/ 47625 w 488950"/>
                    <a:gd name="connsiteY23" fmla="*/ 762000 h 1289050"/>
                    <a:gd name="connsiteX24" fmla="*/ 104775 w 488950"/>
                    <a:gd name="connsiteY24" fmla="*/ 784225 h 1289050"/>
                    <a:gd name="connsiteX25" fmla="*/ 117475 w 488950"/>
                    <a:gd name="connsiteY25" fmla="*/ 793750 h 1289050"/>
                    <a:gd name="connsiteX26" fmla="*/ 136525 w 488950"/>
                    <a:gd name="connsiteY26" fmla="*/ 803275 h 1289050"/>
                    <a:gd name="connsiteX27" fmla="*/ 165100 w 488950"/>
                    <a:gd name="connsiteY27" fmla="*/ 838200 h 1289050"/>
                    <a:gd name="connsiteX28" fmla="*/ 174625 w 488950"/>
                    <a:gd name="connsiteY28" fmla="*/ 866775 h 1289050"/>
                    <a:gd name="connsiteX29" fmla="*/ 177800 w 488950"/>
                    <a:gd name="connsiteY29" fmla="*/ 879475 h 1289050"/>
                    <a:gd name="connsiteX30" fmla="*/ 190500 w 488950"/>
                    <a:gd name="connsiteY30" fmla="*/ 895350 h 1289050"/>
                    <a:gd name="connsiteX31" fmla="*/ 196850 w 488950"/>
                    <a:gd name="connsiteY31" fmla="*/ 911225 h 1289050"/>
                    <a:gd name="connsiteX32" fmla="*/ 212725 w 488950"/>
                    <a:gd name="connsiteY32" fmla="*/ 939800 h 1289050"/>
                    <a:gd name="connsiteX33" fmla="*/ 228600 w 488950"/>
                    <a:gd name="connsiteY33" fmla="*/ 971550 h 1289050"/>
                    <a:gd name="connsiteX34" fmla="*/ 231775 w 488950"/>
                    <a:gd name="connsiteY34" fmla="*/ 984250 h 1289050"/>
                    <a:gd name="connsiteX35" fmla="*/ 215900 w 488950"/>
                    <a:gd name="connsiteY35" fmla="*/ 1035050 h 1289050"/>
                    <a:gd name="connsiteX36" fmla="*/ 209550 w 488950"/>
                    <a:gd name="connsiteY36" fmla="*/ 1066800 h 1289050"/>
                    <a:gd name="connsiteX37" fmla="*/ 196850 w 488950"/>
                    <a:gd name="connsiteY37" fmla="*/ 1098550 h 1289050"/>
                    <a:gd name="connsiteX38" fmla="*/ 190500 w 488950"/>
                    <a:gd name="connsiteY38" fmla="*/ 1133475 h 1289050"/>
                    <a:gd name="connsiteX39" fmla="*/ 187325 w 488950"/>
                    <a:gd name="connsiteY39" fmla="*/ 1152525 h 1289050"/>
                    <a:gd name="connsiteX40" fmla="*/ 190500 w 488950"/>
                    <a:gd name="connsiteY40" fmla="*/ 1174750 h 1289050"/>
                    <a:gd name="connsiteX41" fmla="*/ 215900 w 488950"/>
                    <a:gd name="connsiteY41" fmla="*/ 1196975 h 1289050"/>
                    <a:gd name="connsiteX42" fmla="*/ 238125 w 488950"/>
                    <a:gd name="connsiteY42" fmla="*/ 1206500 h 1289050"/>
                    <a:gd name="connsiteX43" fmla="*/ 257175 w 488950"/>
                    <a:gd name="connsiteY43" fmla="*/ 1225550 h 1289050"/>
                    <a:gd name="connsiteX44" fmla="*/ 273050 w 488950"/>
                    <a:gd name="connsiteY44" fmla="*/ 1241425 h 1289050"/>
                    <a:gd name="connsiteX45" fmla="*/ 285750 w 488950"/>
                    <a:gd name="connsiteY45" fmla="*/ 1250950 h 1289050"/>
                    <a:gd name="connsiteX46" fmla="*/ 301625 w 488950"/>
                    <a:gd name="connsiteY46" fmla="*/ 1285875 h 1289050"/>
                    <a:gd name="connsiteX47" fmla="*/ 311150 w 488950"/>
                    <a:gd name="connsiteY47" fmla="*/ 1289050 h 1289050"/>
                    <a:gd name="connsiteX48" fmla="*/ 352425 w 488950"/>
                    <a:gd name="connsiteY48" fmla="*/ 1276350 h 1289050"/>
                    <a:gd name="connsiteX49" fmla="*/ 368300 w 488950"/>
                    <a:gd name="connsiteY49" fmla="*/ 1266825 h 1289050"/>
                    <a:gd name="connsiteX50" fmla="*/ 384175 w 488950"/>
                    <a:gd name="connsiteY50" fmla="*/ 1263650 h 1289050"/>
                    <a:gd name="connsiteX51" fmla="*/ 396875 w 488950"/>
                    <a:gd name="connsiteY51" fmla="*/ 1260475 h 1289050"/>
                    <a:gd name="connsiteX52" fmla="*/ 409575 w 488950"/>
                    <a:gd name="connsiteY52" fmla="*/ 1254125 h 1289050"/>
                    <a:gd name="connsiteX53" fmla="*/ 438150 w 488950"/>
                    <a:gd name="connsiteY53" fmla="*/ 1247775 h 1289050"/>
                    <a:gd name="connsiteX54" fmla="*/ 463550 w 488950"/>
                    <a:gd name="connsiteY54" fmla="*/ 1241425 h 1289050"/>
                    <a:gd name="connsiteX55" fmla="*/ 476250 w 488950"/>
                    <a:gd name="connsiteY55" fmla="*/ 1238250 h 1289050"/>
                    <a:gd name="connsiteX56" fmla="*/ 488950 w 488950"/>
                    <a:gd name="connsiteY56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84150 w 488950"/>
                    <a:gd name="connsiteY4" fmla="*/ 403225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123825 w 488950"/>
                    <a:gd name="connsiteY8" fmla="*/ 485775 h 1289050"/>
                    <a:gd name="connsiteX9" fmla="*/ 111125 w 488950"/>
                    <a:gd name="connsiteY9" fmla="*/ 492125 h 1289050"/>
                    <a:gd name="connsiteX10" fmla="*/ 98425 w 488950"/>
                    <a:gd name="connsiteY10" fmla="*/ 504825 h 1289050"/>
                    <a:gd name="connsiteX11" fmla="*/ 76200 w 488950"/>
                    <a:gd name="connsiteY11" fmla="*/ 514350 h 1289050"/>
                    <a:gd name="connsiteX12" fmla="*/ 41275 w 488950"/>
                    <a:gd name="connsiteY12" fmla="*/ 523875 h 1289050"/>
                    <a:gd name="connsiteX13" fmla="*/ 28575 w 488950"/>
                    <a:gd name="connsiteY13" fmla="*/ 533400 h 1289050"/>
                    <a:gd name="connsiteX14" fmla="*/ 19050 w 488950"/>
                    <a:gd name="connsiteY14" fmla="*/ 536575 h 1289050"/>
                    <a:gd name="connsiteX15" fmla="*/ 9525 w 488950"/>
                    <a:gd name="connsiteY15" fmla="*/ 542925 h 1289050"/>
                    <a:gd name="connsiteX16" fmla="*/ 3175 w 488950"/>
                    <a:gd name="connsiteY16" fmla="*/ 628650 h 1289050"/>
                    <a:gd name="connsiteX17" fmla="*/ 0 w 488950"/>
                    <a:gd name="connsiteY17" fmla="*/ 654050 h 1289050"/>
                    <a:gd name="connsiteX18" fmla="*/ 3175 w 488950"/>
                    <a:gd name="connsiteY18" fmla="*/ 736600 h 1289050"/>
                    <a:gd name="connsiteX19" fmla="*/ 6350 w 488950"/>
                    <a:gd name="connsiteY19" fmla="*/ 746125 h 1289050"/>
                    <a:gd name="connsiteX20" fmla="*/ 19050 w 488950"/>
                    <a:gd name="connsiteY20" fmla="*/ 755650 h 1289050"/>
                    <a:gd name="connsiteX21" fmla="*/ 34925 w 488950"/>
                    <a:gd name="connsiteY21" fmla="*/ 758825 h 1289050"/>
                    <a:gd name="connsiteX22" fmla="*/ 47625 w 488950"/>
                    <a:gd name="connsiteY22" fmla="*/ 762000 h 1289050"/>
                    <a:gd name="connsiteX23" fmla="*/ 104775 w 488950"/>
                    <a:gd name="connsiteY23" fmla="*/ 784225 h 1289050"/>
                    <a:gd name="connsiteX24" fmla="*/ 117475 w 488950"/>
                    <a:gd name="connsiteY24" fmla="*/ 793750 h 1289050"/>
                    <a:gd name="connsiteX25" fmla="*/ 136525 w 488950"/>
                    <a:gd name="connsiteY25" fmla="*/ 803275 h 1289050"/>
                    <a:gd name="connsiteX26" fmla="*/ 165100 w 488950"/>
                    <a:gd name="connsiteY26" fmla="*/ 838200 h 1289050"/>
                    <a:gd name="connsiteX27" fmla="*/ 174625 w 488950"/>
                    <a:gd name="connsiteY27" fmla="*/ 866775 h 1289050"/>
                    <a:gd name="connsiteX28" fmla="*/ 177800 w 488950"/>
                    <a:gd name="connsiteY28" fmla="*/ 879475 h 1289050"/>
                    <a:gd name="connsiteX29" fmla="*/ 190500 w 488950"/>
                    <a:gd name="connsiteY29" fmla="*/ 895350 h 1289050"/>
                    <a:gd name="connsiteX30" fmla="*/ 196850 w 488950"/>
                    <a:gd name="connsiteY30" fmla="*/ 911225 h 1289050"/>
                    <a:gd name="connsiteX31" fmla="*/ 212725 w 488950"/>
                    <a:gd name="connsiteY31" fmla="*/ 939800 h 1289050"/>
                    <a:gd name="connsiteX32" fmla="*/ 228600 w 488950"/>
                    <a:gd name="connsiteY32" fmla="*/ 971550 h 1289050"/>
                    <a:gd name="connsiteX33" fmla="*/ 231775 w 488950"/>
                    <a:gd name="connsiteY33" fmla="*/ 984250 h 1289050"/>
                    <a:gd name="connsiteX34" fmla="*/ 215900 w 488950"/>
                    <a:gd name="connsiteY34" fmla="*/ 1035050 h 1289050"/>
                    <a:gd name="connsiteX35" fmla="*/ 209550 w 488950"/>
                    <a:gd name="connsiteY35" fmla="*/ 1066800 h 1289050"/>
                    <a:gd name="connsiteX36" fmla="*/ 196850 w 488950"/>
                    <a:gd name="connsiteY36" fmla="*/ 1098550 h 1289050"/>
                    <a:gd name="connsiteX37" fmla="*/ 190500 w 488950"/>
                    <a:gd name="connsiteY37" fmla="*/ 1133475 h 1289050"/>
                    <a:gd name="connsiteX38" fmla="*/ 187325 w 488950"/>
                    <a:gd name="connsiteY38" fmla="*/ 1152525 h 1289050"/>
                    <a:gd name="connsiteX39" fmla="*/ 190500 w 488950"/>
                    <a:gd name="connsiteY39" fmla="*/ 1174750 h 1289050"/>
                    <a:gd name="connsiteX40" fmla="*/ 215900 w 488950"/>
                    <a:gd name="connsiteY40" fmla="*/ 1196975 h 1289050"/>
                    <a:gd name="connsiteX41" fmla="*/ 238125 w 488950"/>
                    <a:gd name="connsiteY41" fmla="*/ 1206500 h 1289050"/>
                    <a:gd name="connsiteX42" fmla="*/ 257175 w 488950"/>
                    <a:gd name="connsiteY42" fmla="*/ 1225550 h 1289050"/>
                    <a:gd name="connsiteX43" fmla="*/ 273050 w 488950"/>
                    <a:gd name="connsiteY43" fmla="*/ 1241425 h 1289050"/>
                    <a:gd name="connsiteX44" fmla="*/ 285750 w 488950"/>
                    <a:gd name="connsiteY44" fmla="*/ 1250950 h 1289050"/>
                    <a:gd name="connsiteX45" fmla="*/ 301625 w 488950"/>
                    <a:gd name="connsiteY45" fmla="*/ 1285875 h 1289050"/>
                    <a:gd name="connsiteX46" fmla="*/ 311150 w 488950"/>
                    <a:gd name="connsiteY46" fmla="*/ 1289050 h 1289050"/>
                    <a:gd name="connsiteX47" fmla="*/ 352425 w 488950"/>
                    <a:gd name="connsiteY47" fmla="*/ 1276350 h 1289050"/>
                    <a:gd name="connsiteX48" fmla="*/ 368300 w 488950"/>
                    <a:gd name="connsiteY48" fmla="*/ 1266825 h 1289050"/>
                    <a:gd name="connsiteX49" fmla="*/ 384175 w 488950"/>
                    <a:gd name="connsiteY49" fmla="*/ 1263650 h 1289050"/>
                    <a:gd name="connsiteX50" fmla="*/ 396875 w 488950"/>
                    <a:gd name="connsiteY50" fmla="*/ 1260475 h 1289050"/>
                    <a:gd name="connsiteX51" fmla="*/ 409575 w 488950"/>
                    <a:gd name="connsiteY51" fmla="*/ 1254125 h 1289050"/>
                    <a:gd name="connsiteX52" fmla="*/ 438150 w 488950"/>
                    <a:gd name="connsiteY52" fmla="*/ 1247775 h 1289050"/>
                    <a:gd name="connsiteX53" fmla="*/ 463550 w 488950"/>
                    <a:gd name="connsiteY53" fmla="*/ 1241425 h 1289050"/>
                    <a:gd name="connsiteX54" fmla="*/ 476250 w 488950"/>
                    <a:gd name="connsiteY54" fmla="*/ 1238250 h 1289050"/>
                    <a:gd name="connsiteX55" fmla="*/ 488950 w 488950"/>
                    <a:gd name="connsiteY55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84150 w 488950"/>
                    <a:gd name="connsiteY4" fmla="*/ 388937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123825 w 488950"/>
                    <a:gd name="connsiteY8" fmla="*/ 485775 h 1289050"/>
                    <a:gd name="connsiteX9" fmla="*/ 111125 w 488950"/>
                    <a:gd name="connsiteY9" fmla="*/ 492125 h 1289050"/>
                    <a:gd name="connsiteX10" fmla="*/ 98425 w 488950"/>
                    <a:gd name="connsiteY10" fmla="*/ 504825 h 1289050"/>
                    <a:gd name="connsiteX11" fmla="*/ 76200 w 488950"/>
                    <a:gd name="connsiteY11" fmla="*/ 514350 h 1289050"/>
                    <a:gd name="connsiteX12" fmla="*/ 41275 w 488950"/>
                    <a:gd name="connsiteY12" fmla="*/ 523875 h 1289050"/>
                    <a:gd name="connsiteX13" fmla="*/ 28575 w 488950"/>
                    <a:gd name="connsiteY13" fmla="*/ 533400 h 1289050"/>
                    <a:gd name="connsiteX14" fmla="*/ 19050 w 488950"/>
                    <a:gd name="connsiteY14" fmla="*/ 536575 h 1289050"/>
                    <a:gd name="connsiteX15" fmla="*/ 9525 w 488950"/>
                    <a:gd name="connsiteY15" fmla="*/ 542925 h 1289050"/>
                    <a:gd name="connsiteX16" fmla="*/ 3175 w 488950"/>
                    <a:gd name="connsiteY16" fmla="*/ 628650 h 1289050"/>
                    <a:gd name="connsiteX17" fmla="*/ 0 w 488950"/>
                    <a:gd name="connsiteY17" fmla="*/ 654050 h 1289050"/>
                    <a:gd name="connsiteX18" fmla="*/ 3175 w 488950"/>
                    <a:gd name="connsiteY18" fmla="*/ 736600 h 1289050"/>
                    <a:gd name="connsiteX19" fmla="*/ 6350 w 488950"/>
                    <a:gd name="connsiteY19" fmla="*/ 746125 h 1289050"/>
                    <a:gd name="connsiteX20" fmla="*/ 19050 w 488950"/>
                    <a:gd name="connsiteY20" fmla="*/ 755650 h 1289050"/>
                    <a:gd name="connsiteX21" fmla="*/ 34925 w 488950"/>
                    <a:gd name="connsiteY21" fmla="*/ 758825 h 1289050"/>
                    <a:gd name="connsiteX22" fmla="*/ 47625 w 488950"/>
                    <a:gd name="connsiteY22" fmla="*/ 762000 h 1289050"/>
                    <a:gd name="connsiteX23" fmla="*/ 104775 w 488950"/>
                    <a:gd name="connsiteY23" fmla="*/ 784225 h 1289050"/>
                    <a:gd name="connsiteX24" fmla="*/ 117475 w 488950"/>
                    <a:gd name="connsiteY24" fmla="*/ 793750 h 1289050"/>
                    <a:gd name="connsiteX25" fmla="*/ 136525 w 488950"/>
                    <a:gd name="connsiteY25" fmla="*/ 803275 h 1289050"/>
                    <a:gd name="connsiteX26" fmla="*/ 165100 w 488950"/>
                    <a:gd name="connsiteY26" fmla="*/ 838200 h 1289050"/>
                    <a:gd name="connsiteX27" fmla="*/ 174625 w 488950"/>
                    <a:gd name="connsiteY27" fmla="*/ 866775 h 1289050"/>
                    <a:gd name="connsiteX28" fmla="*/ 177800 w 488950"/>
                    <a:gd name="connsiteY28" fmla="*/ 879475 h 1289050"/>
                    <a:gd name="connsiteX29" fmla="*/ 190500 w 488950"/>
                    <a:gd name="connsiteY29" fmla="*/ 895350 h 1289050"/>
                    <a:gd name="connsiteX30" fmla="*/ 196850 w 488950"/>
                    <a:gd name="connsiteY30" fmla="*/ 911225 h 1289050"/>
                    <a:gd name="connsiteX31" fmla="*/ 212725 w 488950"/>
                    <a:gd name="connsiteY31" fmla="*/ 939800 h 1289050"/>
                    <a:gd name="connsiteX32" fmla="*/ 228600 w 488950"/>
                    <a:gd name="connsiteY32" fmla="*/ 971550 h 1289050"/>
                    <a:gd name="connsiteX33" fmla="*/ 231775 w 488950"/>
                    <a:gd name="connsiteY33" fmla="*/ 984250 h 1289050"/>
                    <a:gd name="connsiteX34" fmla="*/ 215900 w 488950"/>
                    <a:gd name="connsiteY34" fmla="*/ 1035050 h 1289050"/>
                    <a:gd name="connsiteX35" fmla="*/ 209550 w 488950"/>
                    <a:gd name="connsiteY35" fmla="*/ 1066800 h 1289050"/>
                    <a:gd name="connsiteX36" fmla="*/ 196850 w 488950"/>
                    <a:gd name="connsiteY36" fmla="*/ 1098550 h 1289050"/>
                    <a:gd name="connsiteX37" fmla="*/ 190500 w 488950"/>
                    <a:gd name="connsiteY37" fmla="*/ 1133475 h 1289050"/>
                    <a:gd name="connsiteX38" fmla="*/ 187325 w 488950"/>
                    <a:gd name="connsiteY38" fmla="*/ 1152525 h 1289050"/>
                    <a:gd name="connsiteX39" fmla="*/ 190500 w 488950"/>
                    <a:gd name="connsiteY39" fmla="*/ 1174750 h 1289050"/>
                    <a:gd name="connsiteX40" fmla="*/ 215900 w 488950"/>
                    <a:gd name="connsiteY40" fmla="*/ 1196975 h 1289050"/>
                    <a:gd name="connsiteX41" fmla="*/ 238125 w 488950"/>
                    <a:gd name="connsiteY41" fmla="*/ 1206500 h 1289050"/>
                    <a:gd name="connsiteX42" fmla="*/ 257175 w 488950"/>
                    <a:gd name="connsiteY42" fmla="*/ 1225550 h 1289050"/>
                    <a:gd name="connsiteX43" fmla="*/ 273050 w 488950"/>
                    <a:gd name="connsiteY43" fmla="*/ 1241425 h 1289050"/>
                    <a:gd name="connsiteX44" fmla="*/ 285750 w 488950"/>
                    <a:gd name="connsiteY44" fmla="*/ 1250950 h 1289050"/>
                    <a:gd name="connsiteX45" fmla="*/ 301625 w 488950"/>
                    <a:gd name="connsiteY45" fmla="*/ 1285875 h 1289050"/>
                    <a:gd name="connsiteX46" fmla="*/ 311150 w 488950"/>
                    <a:gd name="connsiteY46" fmla="*/ 1289050 h 1289050"/>
                    <a:gd name="connsiteX47" fmla="*/ 352425 w 488950"/>
                    <a:gd name="connsiteY47" fmla="*/ 1276350 h 1289050"/>
                    <a:gd name="connsiteX48" fmla="*/ 368300 w 488950"/>
                    <a:gd name="connsiteY48" fmla="*/ 1266825 h 1289050"/>
                    <a:gd name="connsiteX49" fmla="*/ 384175 w 488950"/>
                    <a:gd name="connsiteY49" fmla="*/ 1263650 h 1289050"/>
                    <a:gd name="connsiteX50" fmla="*/ 396875 w 488950"/>
                    <a:gd name="connsiteY50" fmla="*/ 1260475 h 1289050"/>
                    <a:gd name="connsiteX51" fmla="*/ 409575 w 488950"/>
                    <a:gd name="connsiteY51" fmla="*/ 1254125 h 1289050"/>
                    <a:gd name="connsiteX52" fmla="*/ 438150 w 488950"/>
                    <a:gd name="connsiteY52" fmla="*/ 1247775 h 1289050"/>
                    <a:gd name="connsiteX53" fmla="*/ 463550 w 488950"/>
                    <a:gd name="connsiteY53" fmla="*/ 1241425 h 1289050"/>
                    <a:gd name="connsiteX54" fmla="*/ 476250 w 488950"/>
                    <a:gd name="connsiteY54" fmla="*/ 1238250 h 1289050"/>
                    <a:gd name="connsiteX55" fmla="*/ 488950 w 488950"/>
                    <a:gd name="connsiteY55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1294 w 488950"/>
                    <a:gd name="connsiteY4" fmla="*/ 386556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123825 w 488950"/>
                    <a:gd name="connsiteY8" fmla="*/ 485775 h 1289050"/>
                    <a:gd name="connsiteX9" fmla="*/ 111125 w 488950"/>
                    <a:gd name="connsiteY9" fmla="*/ 492125 h 1289050"/>
                    <a:gd name="connsiteX10" fmla="*/ 98425 w 488950"/>
                    <a:gd name="connsiteY10" fmla="*/ 504825 h 1289050"/>
                    <a:gd name="connsiteX11" fmla="*/ 76200 w 488950"/>
                    <a:gd name="connsiteY11" fmla="*/ 514350 h 1289050"/>
                    <a:gd name="connsiteX12" fmla="*/ 41275 w 488950"/>
                    <a:gd name="connsiteY12" fmla="*/ 523875 h 1289050"/>
                    <a:gd name="connsiteX13" fmla="*/ 28575 w 488950"/>
                    <a:gd name="connsiteY13" fmla="*/ 533400 h 1289050"/>
                    <a:gd name="connsiteX14" fmla="*/ 19050 w 488950"/>
                    <a:gd name="connsiteY14" fmla="*/ 536575 h 1289050"/>
                    <a:gd name="connsiteX15" fmla="*/ 9525 w 488950"/>
                    <a:gd name="connsiteY15" fmla="*/ 542925 h 1289050"/>
                    <a:gd name="connsiteX16" fmla="*/ 3175 w 488950"/>
                    <a:gd name="connsiteY16" fmla="*/ 628650 h 1289050"/>
                    <a:gd name="connsiteX17" fmla="*/ 0 w 488950"/>
                    <a:gd name="connsiteY17" fmla="*/ 654050 h 1289050"/>
                    <a:gd name="connsiteX18" fmla="*/ 3175 w 488950"/>
                    <a:gd name="connsiteY18" fmla="*/ 736600 h 1289050"/>
                    <a:gd name="connsiteX19" fmla="*/ 6350 w 488950"/>
                    <a:gd name="connsiteY19" fmla="*/ 746125 h 1289050"/>
                    <a:gd name="connsiteX20" fmla="*/ 19050 w 488950"/>
                    <a:gd name="connsiteY20" fmla="*/ 755650 h 1289050"/>
                    <a:gd name="connsiteX21" fmla="*/ 34925 w 488950"/>
                    <a:gd name="connsiteY21" fmla="*/ 758825 h 1289050"/>
                    <a:gd name="connsiteX22" fmla="*/ 47625 w 488950"/>
                    <a:gd name="connsiteY22" fmla="*/ 762000 h 1289050"/>
                    <a:gd name="connsiteX23" fmla="*/ 104775 w 488950"/>
                    <a:gd name="connsiteY23" fmla="*/ 784225 h 1289050"/>
                    <a:gd name="connsiteX24" fmla="*/ 117475 w 488950"/>
                    <a:gd name="connsiteY24" fmla="*/ 793750 h 1289050"/>
                    <a:gd name="connsiteX25" fmla="*/ 136525 w 488950"/>
                    <a:gd name="connsiteY25" fmla="*/ 803275 h 1289050"/>
                    <a:gd name="connsiteX26" fmla="*/ 165100 w 488950"/>
                    <a:gd name="connsiteY26" fmla="*/ 838200 h 1289050"/>
                    <a:gd name="connsiteX27" fmla="*/ 174625 w 488950"/>
                    <a:gd name="connsiteY27" fmla="*/ 866775 h 1289050"/>
                    <a:gd name="connsiteX28" fmla="*/ 177800 w 488950"/>
                    <a:gd name="connsiteY28" fmla="*/ 879475 h 1289050"/>
                    <a:gd name="connsiteX29" fmla="*/ 190500 w 488950"/>
                    <a:gd name="connsiteY29" fmla="*/ 895350 h 1289050"/>
                    <a:gd name="connsiteX30" fmla="*/ 196850 w 488950"/>
                    <a:gd name="connsiteY30" fmla="*/ 911225 h 1289050"/>
                    <a:gd name="connsiteX31" fmla="*/ 212725 w 488950"/>
                    <a:gd name="connsiteY31" fmla="*/ 939800 h 1289050"/>
                    <a:gd name="connsiteX32" fmla="*/ 228600 w 488950"/>
                    <a:gd name="connsiteY32" fmla="*/ 971550 h 1289050"/>
                    <a:gd name="connsiteX33" fmla="*/ 231775 w 488950"/>
                    <a:gd name="connsiteY33" fmla="*/ 984250 h 1289050"/>
                    <a:gd name="connsiteX34" fmla="*/ 215900 w 488950"/>
                    <a:gd name="connsiteY34" fmla="*/ 1035050 h 1289050"/>
                    <a:gd name="connsiteX35" fmla="*/ 209550 w 488950"/>
                    <a:gd name="connsiteY35" fmla="*/ 1066800 h 1289050"/>
                    <a:gd name="connsiteX36" fmla="*/ 196850 w 488950"/>
                    <a:gd name="connsiteY36" fmla="*/ 1098550 h 1289050"/>
                    <a:gd name="connsiteX37" fmla="*/ 190500 w 488950"/>
                    <a:gd name="connsiteY37" fmla="*/ 1133475 h 1289050"/>
                    <a:gd name="connsiteX38" fmla="*/ 187325 w 488950"/>
                    <a:gd name="connsiteY38" fmla="*/ 1152525 h 1289050"/>
                    <a:gd name="connsiteX39" fmla="*/ 190500 w 488950"/>
                    <a:gd name="connsiteY39" fmla="*/ 1174750 h 1289050"/>
                    <a:gd name="connsiteX40" fmla="*/ 215900 w 488950"/>
                    <a:gd name="connsiteY40" fmla="*/ 1196975 h 1289050"/>
                    <a:gd name="connsiteX41" fmla="*/ 238125 w 488950"/>
                    <a:gd name="connsiteY41" fmla="*/ 1206500 h 1289050"/>
                    <a:gd name="connsiteX42" fmla="*/ 257175 w 488950"/>
                    <a:gd name="connsiteY42" fmla="*/ 1225550 h 1289050"/>
                    <a:gd name="connsiteX43" fmla="*/ 273050 w 488950"/>
                    <a:gd name="connsiteY43" fmla="*/ 1241425 h 1289050"/>
                    <a:gd name="connsiteX44" fmla="*/ 285750 w 488950"/>
                    <a:gd name="connsiteY44" fmla="*/ 1250950 h 1289050"/>
                    <a:gd name="connsiteX45" fmla="*/ 301625 w 488950"/>
                    <a:gd name="connsiteY45" fmla="*/ 1285875 h 1289050"/>
                    <a:gd name="connsiteX46" fmla="*/ 311150 w 488950"/>
                    <a:gd name="connsiteY46" fmla="*/ 1289050 h 1289050"/>
                    <a:gd name="connsiteX47" fmla="*/ 352425 w 488950"/>
                    <a:gd name="connsiteY47" fmla="*/ 1276350 h 1289050"/>
                    <a:gd name="connsiteX48" fmla="*/ 368300 w 488950"/>
                    <a:gd name="connsiteY48" fmla="*/ 1266825 h 1289050"/>
                    <a:gd name="connsiteX49" fmla="*/ 384175 w 488950"/>
                    <a:gd name="connsiteY49" fmla="*/ 1263650 h 1289050"/>
                    <a:gd name="connsiteX50" fmla="*/ 396875 w 488950"/>
                    <a:gd name="connsiteY50" fmla="*/ 1260475 h 1289050"/>
                    <a:gd name="connsiteX51" fmla="*/ 409575 w 488950"/>
                    <a:gd name="connsiteY51" fmla="*/ 1254125 h 1289050"/>
                    <a:gd name="connsiteX52" fmla="*/ 438150 w 488950"/>
                    <a:gd name="connsiteY52" fmla="*/ 1247775 h 1289050"/>
                    <a:gd name="connsiteX53" fmla="*/ 463550 w 488950"/>
                    <a:gd name="connsiteY53" fmla="*/ 1241425 h 1289050"/>
                    <a:gd name="connsiteX54" fmla="*/ 476250 w 488950"/>
                    <a:gd name="connsiteY54" fmla="*/ 1238250 h 1289050"/>
                    <a:gd name="connsiteX55" fmla="*/ 488950 w 488950"/>
                    <a:gd name="connsiteY55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1294 w 488950"/>
                    <a:gd name="connsiteY4" fmla="*/ 386556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123825 w 488950"/>
                    <a:gd name="connsiteY8" fmla="*/ 485775 h 1289050"/>
                    <a:gd name="connsiteX9" fmla="*/ 111125 w 488950"/>
                    <a:gd name="connsiteY9" fmla="*/ 492125 h 1289050"/>
                    <a:gd name="connsiteX10" fmla="*/ 98425 w 488950"/>
                    <a:gd name="connsiteY10" fmla="*/ 504825 h 1289050"/>
                    <a:gd name="connsiteX11" fmla="*/ 76200 w 488950"/>
                    <a:gd name="connsiteY11" fmla="*/ 514350 h 1289050"/>
                    <a:gd name="connsiteX12" fmla="*/ 41275 w 488950"/>
                    <a:gd name="connsiteY12" fmla="*/ 523875 h 1289050"/>
                    <a:gd name="connsiteX13" fmla="*/ 28575 w 488950"/>
                    <a:gd name="connsiteY13" fmla="*/ 533400 h 1289050"/>
                    <a:gd name="connsiteX14" fmla="*/ 19050 w 488950"/>
                    <a:gd name="connsiteY14" fmla="*/ 536575 h 1289050"/>
                    <a:gd name="connsiteX15" fmla="*/ 9525 w 488950"/>
                    <a:gd name="connsiteY15" fmla="*/ 542925 h 1289050"/>
                    <a:gd name="connsiteX16" fmla="*/ 3175 w 488950"/>
                    <a:gd name="connsiteY16" fmla="*/ 628650 h 1289050"/>
                    <a:gd name="connsiteX17" fmla="*/ 0 w 488950"/>
                    <a:gd name="connsiteY17" fmla="*/ 654050 h 1289050"/>
                    <a:gd name="connsiteX18" fmla="*/ 3175 w 488950"/>
                    <a:gd name="connsiteY18" fmla="*/ 736600 h 1289050"/>
                    <a:gd name="connsiteX19" fmla="*/ 6350 w 488950"/>
                    <a:gd name="connsiteY19" fmla="*/ 746125 h 1289050"/>
                    <a:gd name="connsiteX20" fmla="*/ 19050 w 488950"/>
                    <a:gd name="connsiteY20" fmla="*/ 755650 h 1289050"/>
                    <a:gd name="connsiteX21" fmla="*/ 34925 w 488950"/>
                    <a:gd name="connsiteY21" fmla="*/ 758825 h 1289050"/>
                    <a:gd name="connsiteX22" fmla="*/ 47625 w 488950"/>
                    <a:gd name="connsiteY22" fmla="*/ 762000 h 1289050"/>
                    <a:gd name="connsiteX23" fmla="*/ 104775 w 488950"/>
                    <a:gd name="connsiteY23" fmla="*/ 784225 h 1289050"/>
                    <a:gd name="connsiteX24" fmla="*/ 117475 w 488950"/>
                    <a:gd name="connsiteY24" fmla="*/ 793750 h 1289050"/>
                    <a:gd name="connsiteX25" fmla="*/ 136525 w 488950"/>
                    <a:gd name="connsiteY25" fmla="*/ 803275 h 1289050"/>
                    <a:gd name="connsiteX26" fmla="*/ 165100 w 488950"/>
                    <a:gd name="connsiteY26" fmla="*/ 838200 h 1289050"/>
                    <a:gd name="connsiteX27" fmla="*/ 174625 w 488950"/>
                    <a:gd name="connsiteY27" fmla="*/ 866775 h 1289050"/>
                    <a:gd name="connsiteX28" fmla="*/ 177800 w 488950"/>
                    <a:gd name="connsiteY28" fmla="*/ 879475 h 1289050"/>
                    <a:gd name="connsiteX29" fmla="*/ 190500 w 488950"/>
                    <a:gd name="connsiteY29" fmla="*/ 895350 h 1289050"/>
                    <a:gd name="connsiteX30" fmla="*/ 196850 w 488950"/>
                    <a:gd name="connsiteY30" fmla="*/ 911225 h 1289050"/>
                    <a:gd name="connsiteX31" fmla="*/ 212725 w 488950"/>
                    <a:gd name="connsiteY31" fmla="*/ 939800 h 1289050"/>
                    <a:gd name="connsiteX32" fmla="*/ 228600 w 488950"/>
                    <a:gd name="connsiteY32" fmla="*/ 971550 h 1289050"/>
                    <a:gd name="connsiteX33" fmla="*/ 231775 w 488950"/>
                    <a:gd name="connsiteY33" fmla="*/ 984250 h 1289050"/>
                    <a:gd name="connsiteX34" fmla="*/ 215900 w 488950"/>
                    <a:gd name="connsiteY34" fmla="*/ 1035050 h 1289050"/>
                    <a:gd name="connsiteX35" fmla="*/ 209550 w 488950"/>
                    <a:gd name="connsiteY35" fmla="*/ 1066800 h 1289050"/>
                    <a:gd name="connsiteX36" fmla="*/ 196850 w 488950"/>
                    <a:gd name="connsiteY36" fmla="*/ 1098550 h 1289050"/>
                    <a:gd name="connsiteX37" fmla="*/ 190500 w 488950"/>
                    <a:gd name="connsiteY37" fmla="*/ 1133475 h 1289050"/>
                    <a:gd name="connsiteX38" fmla="*/ 187325 w 488950"/>
                    <a:gd name="connsiteY38" fmla="*/ 1152525 h 1289050"/>
                    <a:gd name="connsiteX39" fmla="*/ 190500 w 488950"/>
                    <a:gd name="connsiteY39" fmla="*/ 1174750 h 1289050"/>
                    <a:gd name="connsiteX40" fmla="*/ 215900 w 488950"/>
                    <a:gd name="connsiteY40" fmla="*/ 1196975 h 1289050"/>
                    <a:gd name="connsiteX41" fmla="*/ 238125 w 488950"/>
                    <a:gd name="connsiteY41" fmla="*/ 1206500 h 1289050"/>
                    <a:gd name="connsiteX42" fmla="*/ 257175 w 488950"/>
                    <a:gd name="connsiteY42" fmla="*/ 1225550 h 1289050"/>
                    <a:gd name="connsiteX43" fmla="*/ 273050 w 488950"/>
                    <a:gd name="connsiteY43" fmla="*/ 1241425 h 1289050"/>
                    <a:gd name="connsiteX44" fmla="*/ 285750 w 488950"/>
                    <a:gd name="connsiteY44" fmla="*/ 1250950 h 1289050"/>
                    <a:gd name="connsiteX45" fmla="*/ 301625 w 488950"/>
                    <a:gd name="connsiteY45" fmla="*/ 1285875 h 1289050"/>
                    <a:gd name="connsiteX46" fmla="*/ 311150 w 488950"/>
                    <a:gd name="connsiteY46" fmla="*/ 1289050 h 1289050"/>
                    <a:gd name="connsiteX47" fmla="*/ 352425 w 488950"/>
                    <a:gd name="connsiteY47" fmla="*/ 1276350 h 1289050"/>
                    <a:gd name="connsiteX48" fmla="*/ 368300 w 488950"/>
                    <a:gd name="connsiteY48" fmla="*/ 1266825 h 1289050"/>
                    <a:gd name="connsiteX49" fmla="*/ 384175 w 488950"/>
                    <a:gd name="connsiteY49" fmla="*/ 1263650 h 1289050"/>
                    <a:gd name="connsiteX50" fmla="*/ 396875 w 488950"/>
                    <a:gd name="connsiteY50" fmla="*/ 1260475 h 1289050"/>
                    <a:gd name="connsiteX51" fmla="*/ 409575 w 488950"/>
                    <a:gd name="connsiteY51" fmla="*/ 1254125 h 1289050"/>
                    <a:gd name="connsiteX52" fmla="*/ 438150 w 488950"/>
                    <a:gd name="connsiteY52" fmla="*/ 1247775 h 1289050"/>
                    <a:gd name="connsiteX53" fmla="*/ 463550 w 488950"/>
                    <a:gd name="connsiteY53" fmla="*/ 1241425 h 1289050"/>
                    <a:gd name="connsiteX54" fmla="*/ 476250 w 488950"/>
                    <a:gd name="connsiteY54" fmla="*/ 1238250 h 1289050"/>
                    <a:gd name="connsiteX55" fmla="*/ 488950 w 488950"/>
                    <a:gd name="connsiteY55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1294 w 488950"/>
                    <a:gd name="connsiteY4" fmla="*/ 386556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123825 w 488950"/>
                    <a:gd name="connsiteY8" fmla="*/ 485775 h 1289050"/>
                    <a:gd name="connsiteX9" fmla="*/ 111125 w 488950"/>
                    <a:gd name="connsiteY9" fmla="*/ 492125 h 1289050"/>
                    <a:gd name="connsiteX10" fmla="*/ 76200 w 488950"/>
                    <a:gd name="connsiteY10" fmla="*/ 514350 h 1289050"/>
                    <a:gd name="connsiteX11" fmla="*/ 41275 w 488950"/>
                    <a:gd name="connsiteY11" fmla="*/ 523875 h 1289050"/>
                    <a:gd name="connsiteX12" fmla="*/ 28575 w 488950"/>
                    <a:gd name="connsiteY12" fmla="*/ 533400 h 1289050"/>
                    <a:gd name="connsiteX13" fmla="*/ 19050 w 488950"/>
                    <a:gd name="connsiteY13" fmla="*/ 536575 h 1289050"/>
                    <a:gd name="connsiteX14" fmla="*/ 9525 w 488950"/>
                    <a:gd name="connsiteY14" fmla="*/ 542925 h 1289050"/>
                    <a:gd name="connsiteX15" fmla="*/ 3175 w 488950"/>
                    <a:gd name="connsiteY15" fmla="*/ 628650 h 1289050"/>
                    <a:gd name="connsiteX16" fmla="*/ 0 w 488950"/>
                    <a:gd name="connsiteY16" fmla="*/ 654050 h 1289050"/>
                    <a:gd name="connsiteX17" fmla="*/ 3175 w 488950"/>
                    <a:gd name="connsiteY17" fmla="*/ 736600 h 1289050"/>
                    <a:gd name="connsiteX18" fmla="*/ 6350 w 488950"/>
                    <a:gd name="connsiteY18" fmla="*/ 746125 h 1289050"/>
                    <a:gd name="connsiteX19" fmla="*/ 19050 w 488950"/>
                    <a:gd name="connsiteY19" fmla="*/ 755650 h 1289050"/>
                    <a:gd name="connsiteX20" fmla="*/ 34925 w 488950"/>
                    <a:gd name="connsiteY20" fmla="*/ 758825 h 1289050"/>
                    <a:gd name="connsiteX21" fmla="*/ 47625 w 488950"/>
                    <a:gd name="connsiteY21" fmla="*/ 762000 h 1289050"/>
                    <a:gd name="connsiteX22" fmla="*/ 104775 w 488950"/>
                    <a:gd name="connsiteY22" fmla="*/ 784225 h 1289050"/>
                    <a:gd name="connsiteX23" fmla="*/ 117475 w 488950"/>
                    <a:gd name="connsiteY23" fmla="*/ 793750 h 1289050"/>
                    <a:gd name="connsiteX24" fmla="*/ 136525 w 488950"/>
                    <a:gd name="connsiteY24" fmla="*/ 803275 h 1289050"/>
                    <a:gd name="connsiteX25" fmla="*/ 165100 w 488950"/>
                    <a:gd name="connsiteY25" fmla="*/ 838200 h 1289050"/>
                    <a:gd name="connsiteX26" fmla="*/ 174625 w 488950"/>
                    <a:gd name="connsiteY26" fmla="*/ 866775 h 1289050"/>
                    <a:gd name="connsiteX27" fmla="*/ 177800 w 488950"/>
                    <a:gd name="connsiteY27" fmla="*/ 879475 h 1289050"/>
                    <a:gd name="connsiteX28" fmla="*/ 190500 w 488950"/>
                    <a:gd name="connsiteY28" fmla="*/ 895350 h 1289050"/>
                    <a:gd name="connsiteX29" fmla="*/ 196850 w 488950"/>
                    <a:gd name="connsiteY29" fmla="*/ 911225 h 1289050"/>
                    <a:gd name="connsiteX30" fmla="*/ 212725 w 488950"/>
                    <a:gd name="connsiteY30" fmla="*/ 939800 h 1289050"/>
                    <a:gd name="connsiteX31" fmla="*/ 228600 w 488950"/>
                    <a:gd name="connsiteY31" fmla="*/ 971550 h 1289050"/>
                    <a:gd name="connsiteX32" fmla="*/ 231775 w 488950"/>
                    <a:gd name="connsiteY32" fmla="*/ 984250 h 1289050"/>
                    <a:gd name="connsiteX33" fmla="*/ 215900 w 488950"/>
                    <a:gd name="connsiteY33" fmla="*/ 1035050 h 1289050"/>
                    <a:gd name="connsiteX34" fmla="*/ 209550 w 488950"/>
                    <a:gd name="connsiteY34" fmla="*/ 1066800 h 1289050"/>
                    <a:gd name="connsiteX35" fmla="*/ 196850 w 488950"/>
                    <a:gd name="connsiteY35" fmla="*/ 1098550 h 1289050"/>
                    <a:gd name="connsiteX36" fmla="*/ 190500 w 488950"/>
                    <a:gd name="connsiteY36" fmla="*/ 1133475 h 1289050"/>
                    <a:gd name="connsiteX37" fmla="*/ 187325 w 488950"/>
                    <a:gd name="connsiteY37" fmla="*/ 1152525 h 1289050"/>
                    <a:gd name="connsiteX38" fmla="*/ 190500 w 488950"/>
                    <a:gd name="connsiteY38" fmla="*/ 1174750 h 1289050"/>
                    <a:gd name="connsiteX39" fmla="*/ 215900 w 488950"/>
                    <a:gd name="connsiteY39" fmla="*/ 1196975 h 1289050"/>
                    <a:gd name="connsiteX40" fmla="*/ 238125 w 488950"/>
                    <a:gd name="connsiteY40" fmla="*/ 1206500 h 1289050"/>
                    <a:gd name="connsiteX41" fmla="*/ 257175 w 488950"/>
                    <a:gd name="connsiteY41" fmla="*/ 1225550 h 1289050"/>
                    <a:gd name="connsiteX42" fmla="*/ 273050 w 488950"/>
                    <a:gd name="connsiteY42" fmla="*/ 1241425 h 1289050"/>
                    <a:gd name="connsiteX43" fmla="*/ 285750 w 488950"/>
                    <a:gd name="connsiteY43" fmla="*/ 1250950 h 1289050"/>
                    <a:gd name="connsiteX44" fmla="*/ 301625 w 488950"/>
                    <a:gd name="connsiteY44" fmla="*/ 1285875 h 1289050"/>
                    <a:gd name="connsiteX45" fmla="*/ 311150 w 488950"/>
                    <a:gd name="connsiteY45" fmla="*/ 1289050 h 1289050"/>
                    <a:gd name="connsiteX46" fmla="*/ 352425 w 488950"/>
                    <a:gd name="connsiteY46" fmla="*/ 1276350 h 1289050"/>
                    <a:gd name="connsiteX47" fmla="*/ 368300 w 488950"/>
                    <a:gd name="connsiteY47" fmla="*/ 1266825 h 1289050"/>
                    <a:gd name="connsiteX48" fmla="*/ 384175 w 488950"/>
                    <a:gd name="connsiteY48" fmla="*/ 1263650 h 1289050"/>
                    <a:gd name="connsiteX49" fmla="*/ 396875 w 488950"/>
                    <a:gd name="connsiteY49" fmla="*/ 1260475 h 1289050"/>
                    <a:gd name="connsiteX50" fmla="*/ 409575 w 488950"/>
                    <a:gd name="connsiteY50" fmla="*/ 1254125 h 1289050"/>
                    <a:gd name="connsiteX51" fmla="*/ 438150 w 488950"/>
                    <a:gd name="connsiteY51" fmla="*/ 1247775 h 1289050"/>
                    <a:gd name="connsiteX52" fmla="*/ 463550 w 488950"/>
                    <a:gd name="connsiteY52" fmla="*/ 1241425 h 1289050"/>
                    <a:gd name="connsiteX53" fmla="*/ 476250 w 488950"/>
                    <a:gd name="connsiteY53" fmla="*/ 1238250 h 1289050"/>
                    <a:gd name="connsiteX54" fmla="*/ 488950 w 488950"/>
                    <a:gd name="connsiteY54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1294 w 488950"/>
                    <a:gd name="connsiteY4" fmla="*/ 386556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123825 w 488950"/>
                    <a:gd name="connsiteY8" fmla="*/ 485775 h 1289050"/>
                    <a:gd name="connsiteX9" fmla="*/ 76200 w 488950"/>
                    <a:gd name="connsiteY9" fmla="*/ 514350 h 1289050"/>
                    <a:gd name="connsiteX10" fmla="*/ 41275 w 488950"/>
                    <a:gd name="connsiteY10" fmla="*/ 523875 h 1289050"/>
                    <a:gd name="connsiteX11" fmla="*/ 28575 w 488950"/>
                    <a:gd name="connsiteY11" fmla="*/ 533400 h 1289050"/>
                    <a:gd name="connsiteX12" fmla="*/ 19050 w 488950"/>
                    <a:gd name="connsiteY12" fmla="*/ 536575 h 1289050"/>
                    <a:gd name="connsiteX13" fmla="*/ 9525 w 488950"/>
                    <a:gd name="connsiteY13" fmla="*/ 542925 h 1289050"/>
                    <a:gd name="connsiteX14" fmla="*/ 3175 w 488950"/>
                    <a:gd name="connsiteY14" fmla="*/ 628650 h 1289050"/>
                    <a:gd name="connsiteX15" fmla="*/ 0 w 488950"/>
                    <a:gd name="connsiteY15" fmla="*/ 654050 h 1289050"/>
                    <a:gd name="connsiteX16" fmla="*/ 3175 w 488950"/>
                    <a:gd name="connsiteY16" fmla="*/ 736600 h 1289050"/>
                    <a:gd name="connsiteX17" fmla="*/ 6350 w 488950"/>
                    <a:gd name="connsiteY17" fmla="*/ 746125 h 1289050"/>
                    <a:gd name="connsiteX18" fmla="*/ 19050 w 488950"/>
                    <a:gd name="connsiteY18" fmla="*/ 755650 h 1289050"/>
                    <a:gd name="connsiteX19" fmla="*/ 34925 w 488950"/>
                    <a:gd name="connsiteY19" fmla="*/ 758825 h 1289050"/>
                    <a:gd name="connsiteX20" fmla="*/ 47625 w 488950"/>
                    <a:gd name="connsiteY20" fmla="*/ 762000 h 1289050"/>
                    <a:gd name="connsiteX21" fmla="*/ 104775 w 488950"/>
                    <a:gd name="connsiteY21" fmla="*/ 784225 h 1289050"/>
                    <a:gd name="connsiteX22" fmla="*/ 117475 w 488950"/>
                    <a:gd name="connsiteY22" fmla="*/ 793750 h 1289050"/>
                    <a:gd name="connsiteX23" fmla="*/ 136525 w 488950"/>
                    <a:gd name="connsiteY23" fmla="*/ 803275 h 1289050"/>
                    <a:gd name="connsiteX24" fmla="*/ 165100 w 488950"/>
                    <a:gd name="connsiteY24" fmla="*/ 838200 h 1289050"/>
                    <a:gd name="connsiteX25" fmla="*/ 174625 w 488950"/>
                    <a:gd name="connsiteY25" fmla="*/ 866775 h 1289050"/>
                    <a:gd name="connsiteX26" fmla="*/ 177800 w 488950"/>
                    <a:gd name="connsiteY26" fmla="*/ 879475 h 1289050"/>
                    <a:gd name="connsiteX27" fmla="*/ 190500 w 488950"/>
                    <a:gd name="connsiteY27" fmla="*/ 895350 h 1289050"/>
                    <a:gd name="connsiteX28" fmla="*/ 196850 w 488950"/>
                    <a:gd name="connsiteY28" fmla="*/ 911225 h 1289050"/>
                    <a:gd name="connsiteX29" fmla="*/ 212725 w 488950"/>
                    <a:gd name="connsiteY29" fmla="*/ 939800 h 1289050"/>
                    <a:gd name="connsiteX30" fmla="*/ 228600 w 488950"/>
                    <a:gd name="connsiteY30" fmla="*/ 971550 h 1289050"/>
                    <a:gd name="connsiteX31" fmla="*/ 231775 w 488950"/>
                    <a:gd name="connsiteY31" fmla="*/ 984250 h 1289050"/>
                    <a:gd name="connsiteX32" fmla="*/ 215900 w 488950"/>
                    <a:gd name="connsiteY32" fmla="*/ 1035050 h 1289050"/>
                    <a:gd name="connsiteX33" fmla="*/ 209550 w 488950"/>
                    <a:gd name="connsiteY33" fmla="*/ 1066800 h 1289050"/>
                    <a:gd name="connsiteX34" fmla="*/ 196850 w 488950"/>
                    <a:gd name="connsiteY34" fmla="*/ 1098550 h 1289050"/>
                    <a:gd name="connsiteX35" fmla="*/ 190500 w 488950"/>
                    <a:gd name="connsiteY35" fmla="*/ 1133475 h 1289050"/>
                    <a:gd name="connsiteX36" fmla="*/ 187325 w 488950"/>
                    <a:gd name="connsiteY36" fmla="*/ 1152525 h 1289050"/>
                    <a:gd name="connsiteX37" fmla="*/ 190500 w 488950"/>
                    <a:gd name="connsiteY37" fmla="*/ 1174750 h 1289050"/>
                    <a:gd name="connsiteX38" fmla="*/ 215900 w 488950"/>
                    <a:gd name="connsiteY38" fmla="*/ 1196975 h 1289050"/>
                    <a:gd name="connsiteX39" fmla="*/ 238125 w 488950"/>
                    <a:gd name="connsiteY39" fmla="*/ 1206500 h 1289050"/>
                    <a:gd name="connsiteX40" fmla="*/ 257175 w 488950"/>
                    <a:gd name="connsiteY40" fmla="*/ 1225550 h 1289050"/>
                    <a:gd name="connsiteX41" fmla="*/ 273050 w 488950"/>
                    <a:gd name="connsiteY41" fmla="*/ 1241425 h 1289050"/>
                    <a:gd name="connsiteX42" fmla="*/ 285750 w 488950"/>
                    <a:gd name="connsiteY42" fmla="*/ 1250950 h 1289050"/>
                    <a:gd name="connsiteX43" fmla="*/ 301625 w 488950"/>
                    <a:gd name="connsiteY43" fmla="*/ 1285875 h 1289050"/>
                    <a:gd name="connsiteX44" fmla="*/ 311150 w 488950"/>
                    <a:gd name="connsiteY44" fmla="*/ 1289050 h 1289050"/>
                    <a:gd name="connsiteX45" fmla="*/ 352425 w 488950"/>
                    <a:gd name="connsiteY45" fmla="*/ 1276350 h 1289050"/>
                    <a:gd name="connsiteX46" fmla="*/ 368300 w 488950"/>
                    <a:gd name="connsiteY46" fmla="*/ 1266825 h 1289050"/>
                    <a:gd name="connsiteX47" fmla="*/ 384175 w 488950"/>
                    <a:gd name="connsiteY47" fmla="*/ 1263650 h 1289050"/>
                    <a:gd name="connsiteX48" fmla="*/ 396875 w 488950"/>
                    <a:gd name="connsiteY48" fmla="*/ 1260475 h 1289050"/>
                    <a:gd name="connsiteX49" fmla="*/ 409575 w 488950"/>
                    <a:gd name="connsiteY49" fmla="*/ 1254125 h 1289050"/>
                    <a:gd name="connsiteX50" fmla="*/ 438150 w 488950"/>
                    <a:gd name="connsiteY50" fmla="*/ 1247775 h 1289050"/>
                    <a:gd name="connsiteX51" fmla="*/ 463550 w 488950"/>
                    <a:gd name="connsiteY51" fmla="*/ 1241425 h 1289050"/>
                    <a:gd name="connsiteX52" fmla="*/ 476250 w 488950"/>
                    <a:gd name="connsiteY52" fmla="*/ 1238250 h 1289050"/>
                    <a:gd name="connsiteX53" fmla="*/ 488950 w 488950"/>
                    <a:gd name="connsiteY53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1294 w 488950"/>
                    <a:gd name="connsiteY4" fmla="*/ 386556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123825 w 488950"/>
                    <a:gd name="connsiteY8" fmla="*/ 485775 h 1289050"/>
                    <a:gd name="connsiteX9" fmla="*/ 41275 w 488950"/>
                    <a:gd name="connsiteY9" fmla="*/ 523875 h 1289050"/>
                    <a:gd name="connsiteX10" fmla="*/ 28575 w 488950"/>
                    <a:gd name="connsiteY10" fmla="*/ 533400 h 1289050"/>
                    <a:gd name="connsiteX11" fmla="*/ 19050 w 488950"/>
                    <a:gd name="connsiteY11" fmla="*/ 536575 h 1289050"/>
                    <a:gd name="connsiteX12" fmla="*/ 9525 w 488950"/>
                    <a:gd name="connsiteY12" fmla="*/ 542925 h 1289050"/>
                    <a:gd name="connsiteX13" fmla="*/ 3175 w 488950"/>
                    <a:gd name="connsiteY13" fmla="*/ 628650 h 1289050"/>
                    <a:gd name="connsiteX14" fmla="*/ 0 w 488950"/>
                    <a:gd name="connsiteY14" fmla="*/ 654050 h 1289050"/>
                    <a:gd name="connsiteX15" fmla="*/ 3175 w 488950"/>
                    <a:gd name="connsiteY15" fmla="*/ 736600 h 1289050"/>
                    <a:gd name="connsiteX16" fmla="*/ 6350 w 488950"/>
                    <a:gd name="connsiteY16" fmla="*/ 746125 h 1289050"/>
                    <a:gd name="connsiteX17" fmla="*/ 19050 w 488950"/>
                    <a:gd name="connsiteY17" fmla="*/ 755650 h 1289050"/>
                    <a:gd name="connsiteX18" fmla="*/ 34925 w 488950"/>
                    <a:gd name="connsiteY18" fmla="*/ 758825 h 1289050"/>
                    <a:gd name="connsiteX19" fmla="*/ 47625 w 488950"/>
                    <a:gd name="connsiteY19" fmla="*/ 762000 h 1289050"/>
                    <a:gd name="connsiteX20" fmla="*/ 104775 w 488950"/>
                    <a:gd name="connsiteY20" fmla="*/ 784225 h 1289050"/>
                    <a:gd name="connsiteX21" fmla="*/ 117475 w 488950"/>
                    <a:gd name="connsiteY21" fmla="*/ 793750 h 1289050"/>
                    <a:gd name="connsiteX22" fmla="*/ 136525 w 488950"/>
                    <a:gd name="connsiteY22" fmla="*/ 803275 h 1289050"/>
                    <a:gd name="connsiteX23" fmla="*/ 165100 w 488950"/>
                    <a:gd name="connsiteY23" fmla="*/ 838200 h 1289050"/>
                    <a:gd name="connsiteX24" fmla="*/ 174625 w 488950"/>
                    <a:gd name="connsiteY24" fmla="*/ 866775 h 1289050"/>
                    <a:gd name="connsiteX25" fmla="*/ 177800 w 488950"/>
                    <a:gd name="connsiteY25" fmla="*/ 879475 h 1289050"/>
                    <a:gd name="connsiteX26" fmla="*/ 190500 w 488950"/>
                    <a:gd name="connsiteY26" fmla="*/ 895350 h 1289050"/>
                    <a:gd name="connsiteX27" fmla="*/ 196850 w 488950"/>
                    <a:gd name="connsiteY27" fmla="*/ 911225 h 1289050"/>
                    <a:gd name="connsiteX28" fmla="*/ 212725 w 488950"/>
                    <a:gd name="connsiteY28" fmla="*/ 939800 h 1289050"/>
                    <a:gd name="connsiteX29" fmla="*/ 228600 w 488950"/>
                    <a:gd name="connsiteY29" fmla="*/ 971550 h 1289050"/>
                    <a:gd name="connsiteX30" fmla="*/ 231775 w 488950"/>
                    <a:gd name="connsiteY30" fmla="*/ 984250 h 1289050"/>
                    <a:gd name="connsiteX31" fmla="*/ 215900 w 488950"/>
                    <a:gd name="connsiteY31" fmla="*/ 1035050 h 1289050"/>
                    <a:gd name="connsiteX32" fmla="*/ 209550 w 488950"/>
                    <a:gd name="connsiteY32" fmla="*/ 1066800 h 1289050"/>
                    <a:gd name="connsiteX33" fmla="*/ 196850 w 488950"/>
                    <a:gd name="connsiteY33" fmla="*/ 1098550 h 1289050"/>
                    <a:gd name="connsiteX34" fmla="*/ 190500 w 488950"/>
                    <a:gd name="connsiteY34" fmla="*/ 1133475 h 1289050"/>
                    <a:gd name="connsiteX35" fmla="*/ 187325 w 488950"/>
                    <a:gd name="connsiteY35" fmla="*/ 1152525 h 1289050"/>
                    <a:gd name="connsiteX36" fmla="*/ 190500 w 488950"/>
                    <a:gd name="connsiteY36" fmla="*/ 1174750 h 1289050"/>
                    <a:gd name="connsiteX37" fmla="*/ 215900 w 488950"/>
                    <a:gd name="connsiteY37" fmla="*/ 1196975 h 1289050"/>
                    <a:gd name="connsiteX38" fmla="*/ 238125 w 488950"/>
                    <a:gd name="connsiteY38" fmla="*/ 1206500 h 1289050"/>
                    <a:gd name="connsiteX39" fmla="*/ 257175 w 488950"/>
                    <a:gd name="connsiteY39" fmla="*/ 1225550 h 1289050"/>
                    <a:gd name="connsiteX40" fmla="*/ 273050 w 488950"/>
                    <a:gd name="connsiteY40" fmla="*/ 1241425 h 1289050"/>
                    <a:gd name="connsiteX41" fmla="*/ 285750 w 488950"/>
                    <a:gd name="connsiteY41" fmla="*/ 1250950 h 1289050"/>
                    <a:gd name="connsiteX42" fmla="*/ 301625 w 488950"/>
                    <a:gd name="connsiteY42" fmla="*/ 1285875 h 1289050"/>
                    <a:gd name="connsiteX43" fmla="*/ 311150 w 488950"/>
                    <a:gd name="connsiteY43" fmla="*/ 1289050 h 1289050"/>
                    <a:gd name="connsiteX44" fmla="*/ 352425 w 488950"/>
                    <a:gd name="connsiteY44" fmla="*/ 1276350 h 1289050"/>
                    <a:gd name="connsiteX45" fmla="*/ 368300 w 488950"/>
                    <a:gd name="connsiteY45" fmla="*/ 1266825 h 1289050"/>
                    <a:gd name="connsiteX46" fmla="*/ 384175 w 488950"/>
                    <a:gd name="connsiteY46" fmla="*/ 1263650 h 1289050"/>
                    <a:gd name="connsiteX47" fmla="*/ 396875 w 488950"/>
                    <a:gd name="connsiteY47" fmla="*/ 1260475 h 1289050"/>
                    <a:gd name="connsiteX48" fmla="*/ 409575 w 488950"/>
                    <a:gd name="connsiteY48" fmla="*/ 1254125 h 1289050"/>
                    <a:gd name="connsiteX49" fmla="*/ 438150 w 488950"/>
                    <a:gd name="connsiteY49" fmla="*/ 1247775 h 1289050"/>
                    <a:gd name="connsiteX50" fmla="*/ 463550 w 488950"/>
                    <a:gd name="connsiteY50" fmla="*/ 1241425 h 1289050"/>
                    <a:gd name="connsiteX51" fmla="*/ 476250 w 488950"/>
                    <a:gd name="connsiteY51" fmla="*/ 1238250 h 1289050"/>
                    <a:gd name="connsiteX52" fmla="*/ 488950 w 488950"/>
                    <a:gd name="connsiteY52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1294 w 488950"/>
                    <a:gd name="connsiteY4" fmla="*/ 386556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41275 w 488950"/>
                    <a:gd name="connsiteY8" fmla="*/ 523875 h 1289050"/>
                    <a:gd name="connsiteX9" fmla="*/ 28575 w 488950"/>
                    <a:gd name="connsiteY9" fmla="*/ 533400 h 1289050"/>
                    <a:gd name="connsiteX10" fmla="*/ 19050 w 488950"/>
                    <a:gd name="connsiteY10" fmla="*/ 536575 h 1289050"/>
                    <a:gd name="connsiteX11" fmla="*/ 9525 w 488950"/>
                    <a:gd name="connsiteY11" fmla="*/ 542925 h 1289050"/>
                    <a:gd name="connsiteX12" fmla="*/ 3175 w 488950"/>
                    <a:gd name="connsiteY12" fmla="*/ 628650 h 1289050"/>
                    <a:gd name="connsiteX13" fmla="*/ 0 w 488950"/>
                    <a:gd name="connsiteY13" fmla="*/ 654050 h 1289050"/>
                    <a:gd name="connsiteX14" fmla="*/ 3175 w 488950"/>
                    <a:gd name="connsiteY14" fmla="*/ 736600 h 1289050"/>
                    <a:gd name="connsiteX15" fmla="*/ 6350 w 488950"/>
                    <a:gd name="connsiteY15" fmla="*/ 746125 h 1289050"/>
                    <a:gd name="connsiteX16" fmla="*/ 19050 w 488950"/>
                    <a:gd name="connsiteY16" fmla="*/ 755650 h 1289050"/>
                    <a:gd name="connsiteX17" fmla="*/ 34925 w 488950"/>
                    <a:gd name="connsiteY17" fmla="*/ 758825 h 1289050"/>
                    <a:gd name="connsiteX18" fmla="*/ 47625 w 488950"/>
                    <a:gd name="connsiteY18" fmla="*/ 762000 h 1289050"/>
                    <a:gd name="connsiteX19" fmla="*/ 104775 w 488950"/>
                    <a:gd name="connsiteY19" fmla="*/ 784225 h 1289050"/>
                    <a:gd name="connsiteX20" fmla="*/ 117475 w 488950"/>
                    <a:gd name="connsiteY20" fmla="*/ 793750 h 1289050"/>
                    <a:gd name="connsiteX21" fmla="*/ 136525 w 488950"/>
                    <a:gd name="connsiteY21" fmla="*/ 803275 h 1289050"/>
                    <a:gd name="connsiteX22" fmla="*/ 165100 w 488950"/>
                    <a:gd name="connsiteY22" fmla="*/ 838200 h 1289050"/>
                    <a:gd name="connsiteX23" fmla="*/ 174625 w 488950"/>
                    <a:gd name="connsiteY23" fmla="*/ 866775 h 1289050"/>
                    <a:gd name="connsiteX24" fmla="*/ 177800 w 488950"/>
                    <a:gd name="connsiteY24" fmla="*/ 879475 h 1289050"/>
                    <a:gd name="connsiteX25" fmla="*/ 190500 w 488950"/>
                    <a:gd name="connsiteY25" fmla="*/ 895350 h 1289050"/>
                    <a:gd name="connsiteX26" fmla="*/ 196850 w 488950"/>
                    <a:gd name="connsiteY26" fmla="*/ 911225 h 1289050"/>
                    <a:gd name="connsiteX27" fmla="*/ 212725 w 488950"/>
                    <a:gd name="connsiteY27" fmla="*/ 939800 h 1289050"/>
                    <a:gd name="connsiteX28" fmla="*/ 228600 w 488950"/>
                    <a:gd name="connsiteY28" fmla="*/ 971550 h 1289050"/>
                    <a:gd name="connsiteX29" fmla="*/ 231775 w 488950"/>
                    <a:gd name="connsiteY29" fmla="*/ 984250 h 1289050"/>
                    <a:gd name="connsiteX30" fmla="*/ 215900 w 488950"/>
                    <a:gd name="connsiteY30" fmla="*/ 1035050 h 1289050"/>
                    <a:gd name="connsiteX31" fmla="*/ 209550 w 488950"/>
                    <a:gd name="connsiteY31" fmla="*/ 1066800 h 1289050"/>
                    <a:gd name="connsiteX32" fmla="*/ 196850 w 488950"/>
                    <a:gd name="connsiteY32" fmla="*/ 1098550 h 1289050"/>
                    <a:gd name="connsiteX33" fmla="*/ 190500 w 488950"/>
                    <a:gd name="connsiteY33" fmla="*/ 1133475 h 1289050"/>
                    <a:gd name="connsiteX34" fmla="*/ 187325 w 488950"/>
                    <a:gd name="connsiteY34" fmla="*/ 1152525 h 1289050"/>
                    <a:gd name="connsiteX35" fmla="*/ 190500 w 488950"/>
                    <a:gd name="connsiteY35" fmla="*/ 1174750 h 1289050"/>
                    <a:gd name="connsiteX36" fmla="*/ 215900 w 488950"/>
                    <a:gd name="connsiteY36" fmla="*/ 1196975 h 1289050"/>
                    <a:gd name="connsiteX37" fmla="*/ 238125 w 488950"/>
                    <a:gd name="connsiteY37" fmla="*/ 1206500 h 1289050"/>
                    <a:gd name="connsiteX38" fmla="*/ 257175 w 488950"/>
                    <a:gd name="connsiteY38" fmla="*/ 1225550 h 1289050"/>
                    <a:gd name="connsiteX39" fmla="*/ 273050 w 488950"/>
                    <a:gd name="connsiteY39" fmla="*/ 1241425 h 1289050"/>
                    <a:gd name="connsiteX40" fmla="*/ 285750 w 488950"/>
                    <a:gd name="connsiteY40" fmla="*/ 1250950 h 1289050"/>
                    <a:gd name="connsiteX41" fmla="*/ 301625 w 488950"/>
                    <a:gd name="connsiteY41" fmla="*/ 1285875 h 1289050"/>
                    <a:gd name="connsiteX42" fmla="*/ 311150 w 488950"/>
                    <a:gd name="connsiteY42" fmla="*/ 1289050 h 1289050"/>
                    <a:gd name="connsiteX43" fmla="*/ 352425 w 488950"/>
                    <a:gd name="connsiteY43" fmla="*/ 1276350 h 1289050"/>
                    <a:gd name="connsiteX44" fmla="*/ 368300 w 488950"/>
                    <a:gd name="connsiteY44" fmla="*/ 1266825 h 1289050"/>
                    <a:gd name="connsiteX45" fmla="*/ 384175 w 488950"/>
                    <a:gd name="connsiteY45" fmla="*/ 1263650 h 1289050"/>
                    <a:gd name="connsiteX46" fmla="*/ 396875 w 488950"/>
                    <a:gd name="connsiteY46" fmla="*/ 1260475 h 1289050"/>
                    <a:gd name="connsiteX47" fmla="*/ 409575 w 488950"/>
                    <a:gd name="connsiteY47" fmla="*/ 1254125 h 1289050"/>
                    <a:gd name="connsiteX48" fmla="*/ 438150 w 488950"/>
                    <a:gd name="connsiteY48" fmla="*/ 1247775 h 1289050"/>
                    <a:gd name="connsiteX49" fmla="*/ 463550 w 488950"/>
                    <a:gd name="connsiteY49" fmla="*/ 1241425 h 1289050"/>
                    <a:gd name="connsiteX50" fmla="*/ 476250 w 488950"/>
                    <a:gd name="connsiteY50" fmla="*/ 1238250 h 1289050"/>
                    <a:gd name="connsiteX51" fmla="*/ 488950 w 488950"/>
                    <a:gd name="connsiteY51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1294 w 488950"/>
                    <a:gd name="connsiteY4" fmla="*/ 386556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41275 w 488950"/>
                    <a:gd name="connsiteY8" fmla="*/ 523875 h 1289050"/>
                    <a:gd name="connsiteX9" fmla="*/ 28575 w 488950"/>
                    <a:gd name="connsiteY9" fmla="*/ 533400 h 1289050"/>
                    <a:gd name="connsiteX10" fmla="*/ 9525 w 488950"/>
                    <a:gd name="connsiteY10" fmla="*/ 542925 h 1289050"/>
                    <a:gd name="connsiteX11" fmla="*/ 3175 w 488950"/>
                    <a:gd name="connsiteY11" fmla="*/ 628650 h 1289050"/>
                    <a:gd name="connsiteX12" fmla="*/ 0 w 488950"/>
                    <a:gd name="connsiteY12" fmla="*/ 654050 h 1289050"/>
                    <a:gd name="connsiteX13" fmla="*/ 3175 w 488950"/>
                    <a:gd name="connsiteY13" fmla="*/ 736600 h 1289050"/>
                    <a:gd name="connsiteX14" fmla="*/ 6350 w 488950"/>
                    <a:gd name="connsiteY14" fmla="*/ 746125 h 1289050"/>
                    <a:gd name="connsiteX15" fmla="*/ 19050 w 488950"/>
                    <a:gd name="connsiteY15" fmla="*/ 755650 h 1289050"/>
                    <a:gd name="connsiteX16" fmla="*/ 34925 w 488950"/>
                    <a:gd name="connsiteY16" fmla="*/ 758825 h 1289050"/>
                    <a:gd name="connsiteX17" fmla="*/ 47625 w 488950"/>
                    <a:gd name="connsiteY17" fmla="*/ 762000 h 1289050"/>
                    <a:gd name="connsiteX18" fmla="*/ 104775 w 488950"/>
                    <a:gd name="connsiteY18" fmla="*/ 784225 h 1289050"/>
                    <a:gd name="connsiteX19" fmla="*/ 117475 w 488950"/>
                    <a:gd name="connsiteY19" fmla="*/ 793750 h 1289050"/>
                    <a:gd name="connsiteX20" fmla="*/ 136525 w 488950"/>
                    <a:gd name="connsiteY20" fmla="*/ 803275 h 1289050"/>
                    <a:gd name="connsiteX21" fmla="*/ 165100 w 488950"/>
                    <a:gd name="connsiteY21" fmla="*/ 838200 h 1289050"/>
                    <a:gd name="connsiteX22" fmla="*/ 174625 w 488950"/>
                    <a:gd name="connsiteY22" fmla="*/ 866775 h 1289050"/>
                    <a:gd name="connsiteX23" fmla="*/ 177800 w 488950"/>
                    <a:gd name="connsiteY23" fmla="*/ 879475 h 1289050"/>
                    <a:gd name="connsiteX24" fmla="*/ 190500 w 488950"/>
                    <a:gd name="connsiteY24" fmla="*/ 895350 h 1289050"/>
                    <a:gd name="connsiteX25" fmla="*/ 196850 w 488950"/>
                    <a:gd name="connsiteY25" fmla="*/ 911225 h 1289050"/>
                    <a:gd name="connsiteX26" fmla="*/ 212725 w 488950"/>
                    <a:gd name="connsiteY26" fmla="*/ 939800 h 1289050"/>
                    <a:gd name="connsiteX27" fmla="*/ 228600 w 488950"/>
                    <a:gd name="connsiteY27" fmla="*/ 971550 h 1289050"/>
                    <a:gd name="connsiteX28" fmla="*/ 231775 w 488950"/>
                    <a:gd name="connsiteY28" fmla="*/ 984250 h 1289050"/>
                    <a:gd name="connsiteX29" fmla="*/ 215900 w 488950"/>
                    <a:gd name="connsiteY29" fmla="*/ 1035050 h 1289050"/>
                    <a:gd name="connsiteX30" fmla="*/ 209550 w 488950"/>
                    <a:gd name="connsiteY30" fmla="*/ 1066800 h 1289050"/>
                    <a:gd name="connsiteX31" fmla="*/ 196850 w 488950"/>
                    <a:gd name="connsiteY31" fmla="*/ 1098550 h 1289050"/>
                    <a:gd name="connsiteX32" fmla="*/ 190500 w 488950"/>
                    <a:gd name="connsiteY32" fmla="*/ 1133475 h 1289050"/>
                    <a:gd name="connsiteX33" fmla="*/ 187325 w 488950"/>
                    <a:gd name="connsiteY33" fmla="*/ 1152525 h 1289050"/>
                    <a:gd name="connsiteX34" fmla="*/ 190500 w 488950"/>
                    <a:gd name="connsiteY34" fmla="*/ 1174750 h 1289050"/>
                    <a:gd name="connsiteX35" fmla="*/ 215900 w 488950"/>
                    <a:gd name="connsiteY35" fmla="*/ 1196975 h 1289050"/>
                    <a:gd name="connsiteX36" fmla="*/ 238125 w 488950"/>
                    <a:gd name="connsiteY36" fmla="*/ 1206500 h 1289050"/>
                    <a:gd name="connsiteX37" fmla="*/ 257175 w 488950"/>
                    <a:gd name="connsiteY37" fmla="*/ 1225550 h 1289050"/>
                    <a:gd name="connsiteX38" fmla="*/ 273050 w 488950"/>
                    <a:gd name="connsiteY38" fmla="*/ 1241425 h 1289050"/>
                    <a:gd name="connsiteX39" fmla="*/ 285750 w 488950"/>
                    <a:gd name="connsiteY39" fmla="*/ 1250950 h 1289050"/>
                    <a:gd name="connsiteX40" fmla="*/ 301625 w 488950"/>
                    <a:gd name="connsiteY40" fmla="*/ 1285875 h 1289050"/>
                    <a:gd name="connsiteX41" fmla="*/ 311150 w 488950"/>
                    <a:gd name="connsiteY41" fmla="*/ 1289050 h 1289050"/>
                    <a:gd name="connsiteX42" fmla="*/ 352425 w 488950"/>
                    <a:gd name="connsiteY42" fmla="*/ 1276350 h 1289050"/>
                    <a:gd name="connsiteX43" fmla="*/ 368300 w 488950"/>
                    <a:gd name="connsiteY43" fmla="*/ 1266825 h 1289050"/>
                    <a:gd name="connsiteX44" fmla="*/ 384175 w 488950"/>
                    <a:gd name="connsiteY44" fmla="*/ 1263650 h 1289050"/>
                    <a:gd name="connsiteX45" fmla="*/ 396875 w 488950"/>
                    <a:gd name="connsiteY45" fmla="*/ 1260475 h 1289050"/>
                    <a:gd name="connsiteX46" fmla="*/ 409575 w 488950"/>
                    <a:gd name="connsiteY46" fmla="*/ 1254125 h 1289050"/>
                    <a:gd name="connsiteX47" fmla="*/ 438150 w 488950"/>
                    <a:gd name="connsiteY47" fmla="*/ 1247775 h 1289050"/>
                    <a:gd name="connsiteX48" fmla="*/ 463550 w 488950"/>
                    <a:gd name="connsiteY48" fmla="*/ 1241425 h 1289050"/>
                    <a:gd name="connsiteX49" fmla="*/ 476250 w 488950"/>
                    <a:gd name="connsiteY49" fmla="*/ 1238250 h 1289050"/>
                    <a:gd name="connsiteX50" fmla="*/ 488950 w 488950"/>
                    <a:gd name="connsiteY50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1294 w 488950"/>
                    <a:gd name="connsiteY4" fmla="*/ 386556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28575 w 488950"/>
                    <a:gd name="connsiteY8" fmla="*/ 533400 h 1289050"/>
                    <a:gd name="connsiteX9" fmla="*/ 9525 w 488950"/>
                    <a:gd name="connsiteY9" fmla="*/ 542925 h 1289050"/>
                    <a:gd name="connsiteX10" fmla="*/ 3175 w 488950"/>
                    <a:gd name="connsiteY10" fmla="*/ 628650 h 1289050"/>
                    <a:gd name="connsiteX11" fmla="*/ 0 w 488950"/>
                    <a:gd name="connsiteY11" fmla="*/ 654050 h 1289050"/>
                    <a:gd name="connsiteX12" fmla="*/ 3175 w 488950"/>
                    <a:gd name="connsiteY12" fmla="*/ 736600 h 1289050"/>
                    <a:gd name="connsiteX13" fmla="*/ 6350 w 488950"/>
                    <a:gd name="connsiteY13" fmla="*/ 746125 h 1289050"/>
                    <a:gd name="connsiteX14" fmla="*/ 19050 w 488950"/>
                    <a:gd name="connsiteY14" fmla="*/ 755650 h 1289050"/>
                    <a:gd name="connsiteX15" fmla="*/ 34925 w 488950"/>
                    <a:gd name="connsiteY15" fmla="*/ 758825 h 1289050"/>
                    <a:gd name="connsiteX16" fmla="*/ 47625 w 488950"/>
                    <a:gd name="connsiteY16" fmla="*/ 762000 h 1289050"/>
                    <a:gd name="connsiteX17" fmla="*/ 104775 w 488950"/>
                    <a:gd name="connsiteY17" fmla="*/ 784225 h 1289050"/>
                    <a:gd name="connsiteX18" fmla="*/ 117475 w 488950"/>
                    <a:gd name="connsiteY18" fmla="*/ 793750 h 1289050"/>
                    <a:gd name="connsiteX19" fmla="*/ 136525 w 488950"/>
                    <a:gd name="connsiteY19" fmla="*/ 803275 h 1289050"/>
                    <a:gd name="connsiteX20" fmla="*/ 165100 w 488950"/>
                    <a:gd name="connsiteY20" fmla="*/ 838200 h 1289050"/>
                    <a:gd name="connsiteX21" fmla="*/ 174625 w 488950"/>
                    <a:gd name="connsiteY21" fmla="*/ 866775 h 1289050"/>
                    <a:gd name="connsiteX22" fmla="*/ 177800 w 488950"/>
                    <a:gd name="connsiteY22" fmla="*/ 879475 h 1289050"/>
                    <a:gd name="connsiteX23" fmla="*/ 190500 w 488950"/>
                    <a:gd name="connsiteY23" fmla="*/ 895350 h 1289050"/>
                    <a:gd name="connsiteX24" fmla="*/ 196850 w 488950"/>
                    <a:gd name="connsiteY24" fmla="*/ 911225 h 1289050"/>
                    <a:gd name="connsiteX25" fmla="*/ 212725 w 488950"/>
                    <a:gd name="connsiteY25" fmla="*/ 939800 h 1289050"/>
                    <a:gd name="connsiteX26" fmla="*/ 228600 w 488950"/>
                    <a:gd name="connsiteY26" fmla="*/ 971550 h 1289050"/>
                    <a:gd name="connsiteX27" fmla="*/ 231775 w 488950"/>
                    <a:gd name="connsiteY27" fmla="*/ 984250 h 1289050"/>
                    <a:gd name="connsiteX28" fmla="*/ 215900 w 488950"/>
                    <a:gd name="connsiteY28" fmla="*/ 1035050 h 1289050"/>
                    <a:gd name="connsiteX29" fmla="*/ 209550 w 488950"/>
                    <a:gd name="connsiteY29" fmla="*/ 1066800 h 1289050"/>
                    <a:gd name="connsiteX30" fmla="*/ 196850 w 488950"/>
                    <a:gd name="connsiteY30" fmla="*/ 1098550 h 1289050"/>
                    <a:gd name="connsiteX31" fmla="*/ 190500 w 488950"/>
                    <a:gd name="connsiteY31" fmla="*/ 1133475 h 1289050"/>
                    <a:gd name="connsiteX32" fmla="*/ 187325 w 488950"/>
                    <a:gd name="connsiteY32" fmla="*/ 1152525 h 1289050"/>
                    <a:gd name="connsiteX33" fmla="*/ 190500 w 488950"/>
                    <a:gd name="connsiteY33" fmla="*/ 1174750 h 1289050"/>
                    <a:gd name="connsiteX34" fmla="*/ 215900 w 488950"/>
                    <a:gd name="connsiteY34" fmla="*/ 1196975 h 1289050"/>
                    <a:gd name="connsiteX35" fmla="*/ 238125 w 488950"/>
                    <a:gd name="connsiteY35" fmla="*/ 1206500 h 1289050"/>
                    <a:gd name="connsiteX36" fmla="*/ 257175 w 488950"/>
                    <a:gd name="connsiteY36" fmla="*/ 1225550 h 1289050"/>
                    <a:gd name="connsiteX37" fmla="*/ 273050 w 488950"/>
                    <a:gd name="connsiteY37" fmla="*/ 1241425 h 1289050"/>
                    <a:gd name="connsiteX38" fmla="*/ 285750 w 488950"/>
                    <a:gd name="connsiteY38" fmla="*/ 1250950 h 1289050"/>
                    <a:gd name="connsiteX39" fmla="*/ 301625 w 488950"/>
                    <a:gd name="connsiteY39" fmla="*/ 1285875 h 1289050"/>
                    <a:gd name="connsiteX40" fmla="*/ 311150 w 488950"/>
                    <a:gd name="connsiteY40" fmla="*/ 1289050 h 1289050"/>
                    <a:gd name="connsiteX41" fmla="*/ 352425 w 488950"/>
                    <a:gd name="connsiteY41" fmla="*/ 1276350 h 1289050"/>
                    <a:gd name="connsiteX42" fmla="*/ 368300 w 488950"/>
                    <a:gd name="connsiteY42" fmla="*/ 1266825 h 1289050"/>
                    <a:gd name="connsiteX43" fmla="*/ 384175 w 488950"/>
                    <a:gd name="connsiteY43" fmla="*/ 1263650 h 1289050"/>
                    <a:gd name="connsiteX44" fmla="*/ 396875 w 488950"/>
                    <a:gd name="connsiteY44" fmla="*/ 1260475 h 1289050"/>
                    <a:gd name="connsiteX45" fmla="*/ 409575 w 488950"/>
                    <a:gd name="connsiteY45" fmla="*/ 1254125 h 1289050"/>
                    <a:gd name="connsiteX46" fmla="*/ 438150 w 488950"/>
                    <a:gd name="connsiteY46" fmla="*/ 1247775 h 1289050"/>
                    <a:gd name="connsiteX47" fmla="*/ 463550 w 488950"/>
                    <a:gd name="connsiteY47" fmla="*/ 1241425 h 1289050"/>
                    <a:gd name="connsiteX48" fmla="*/ 476250 w 488950"/>
                    <a:gd name="connsiteY48" fmla="*/ 1238250 h 1289050"/>
                    <a:gd name="connsiteX49" fmla="*/ 488950 w 488950"/>
                    <a:gd name="connsiteY49" fmla="*/ 1235075 h 1289050"/>
                    <a:gd name="connsiteX0" fmla="*/ 304800 w 488950"/>
                    <a:gd name="connsiteY0" fmla="*/ 0 h 1289050"/>
                    <a:gd name="connsiteX1" fmla="*/ 174625 w 488950"/>
                    <a:gd name="connsiteY1" fmla="*/ 136525 h 1289050"/>
                    <a:gd name="connsiteX2" fmla="*/ 222250 w 488950"/>
                    <a:gd name="connsiteY2" fmla="*/ 295275 h 1289050"/>
                    <a:gd name="connsiteX3" fmla="*/ 228600 w 488950"/>
                    <a:gd name="connsiteY3" fmla="*/ 317500 h 1289050"/>
                    <a:gd name="connsiteX4" fmla="*/ 191294 w 488950"/>
                    <a:gd name="connsiteY4" fmla="*/ 386556 h 1289050"/>
                    <a:gd name="connsiteX5" fmla="*/ 171450 w 488950"/>
                    <a:gd name="connsiteY5" fmla="*/ 463550 h 1289050"/>
                    <a:gd name="connsiteX6" fmla="*/ 161925 w 488950"/>
                    <a:gd name="connsiteY6" fmla="*/ 466725 h 1289050"/>
                    <a:gd name="connsiteX7" fmla="*/ 136525 w 488950"/>
                    <a:gd name="connsiteY7" fmla="*/ 479425 h 1289050"/>
                    <a:gd name="connsiteX8" fmla="*/ 9525 w 488950"/>
                    <a:gd name="connsiteY8" fmla="*/ 542925 h 1289050"/>
                    <a:gd name="connsiteX9" fmla="*/ 3175 w 488950"/>
                    <a:gd name="connsiteY9" fmla="*/ 628650 h 1289050"/>
                    <a:gd name="connsiteX10" fmla="*/ 0 w 488950"/>
                    <a:gd name="connsiteY10" fmla="*/ 654050 h 1289050"/>
                    <a:gd name="connsiteX11" fmla="*/ 3175 w 488950"/>
                    <a:gd name="connsiteY11" fmla="*/ 736600 h 1289050"/>
                    <a:gd name="connsiteX12" fmla="*/ 6350 w 488950"/>
                    <a:gd name="connsiteY12" fmla="*/ 746125 h 1289050"/>
                    <a:gd name="connsiteX13" fmla="*/ 19050 w 488950"/>
                    <a:gd name="connsiteY13" fmla="*/ 755650 h 1289050"/>
                    <a:gd name="connsiteX14" fmla="*/ 34925 w 488950"/>
                    <a:gd name="connsiteY14" fmla="*/ 758825 h 1289050"/>
                    <a:gd name="connsiteX15" fmla="*/ 47625 w 488950"/>
                    <a:gd name="connsiteY15" fmla="*/ 762000 h 1289050"/>
                    <a:gd name="connsiteX16" fmla="*/ 104775 w 488950"/>
                    <a:gd name="connsiteY16" fmla="*/ 784225 h 1289050"/>
                    <a:gd name="connsiteX17" fmla="*/ 117475 w 488950"/>
                    <a:gd name="connsiteY17" fmla="*/ 793750 h 1289050"/>
                    <a:gd name="connsiteX18" fmla="*/ 136525 w 488950"/>
                    <a:gd name="connsiteY18" fmla="*/ 803275 h 1289050"/>
                    <a:gd name="connsiteX19" fmla="*/ 165100 w 488950"/>
                    <a:gd name="connsiteY19" fmla="*/ 838200 h 1289050"/>
                    <a:gd name="connsiteX20" fmla="*/ 174625 w 488950"/>
                    <a:gd name="connsiteY20" fmla="*/ 866775 h 1289050"/>
                    <a:gd name="connsiteX21" fmla="*/ 177800 w 488950"/>
                    <a:gd name="connsiteY21" fmla="*/ 879475 h 1289050"/>
                    <a:gd name="connsiteX22" fmla="*/ 190500 w 488950"/>
                    <a:gd name="connsiteY22" fmla="*/ 895350 h 1289050"/>
                    <a:gd name="connsiteX23" fmla="*/ 196850 w 488950"/>
                    <a:gd name="connsiteY23" fmla="*/ 911225 h 1289050"/>
                    <a:gd name="connsiteX24" fmla="*/ 212725 w 488950"/>
                    <a:gd name="connsiteY24" fmla="*/ 939800 h 1289050"/>
                    <a:gd name="connsiteX25" fmla="*/ 228600 w 488950"/>
                    <a:gd name="connsiteY25" fmla="*/ 971550 h 1289050"/>
                    <a:gd name="connsiteX26" fmla="*/ 231775 w 488950"/>
                    <a:gd name="connsiteY26" fmla="*/ 984250 h 1289050"/>
                    <a:gd name="connsiteX27" fmla="*/ 215900 w 488950"/>
                    <a:gd name="connsiteY27" fmla="*/ 1035050 h 1289050"/>
                    <a:gd name="connsiteX28" fmla="*/ 209550 w 488950"/>
                    <a:gd name="connsiteY28" fmla="*/ 1066800 h 1289050"/>
                    <a:gd name="connsiteX29" fmla="*/ 196850 w 488950"/>
                    <a:gd name="connsiteY29" fmla="*/ 1098550 h 1289050"/>
                    <a:gd name="connsiteX30" fmla="*/ 190500 w 488950"/>
                    <a:gd name="connsiteY30" fmla="*/ 1133475 h 1289050"/>
                    <a:gd name="connsiteX31" fmla="*/ 187325 w 488950"/>
                    <a:gd name="connsiteY31" fmla="*/ 1152525 h 1289050"/>
                    <a:gd name="connsiteX32" fmla="*/ 190500 w 488950"/>
                    <a:gd name="connsiteY32" fmla="*/ 1174750 h 1289050"/>
                    <a:gd name="connsiteX33" fmla="*/ 215900 w 488950"/>
                    <a:gd name="connsiteY33" fmla="*/ 1196975 h 1289050"/>
                    <a:gd name="connsiteX34" fmla="*/ 238125 w 488950"/>
                    <a:gd name="connsiteY34" fmla="*/ 1206500 h 1289050"/>
                    <a:gd name="connsiteX35" fmla="*/ 257175 w 488950"/>
                    <a:gd name="connsiteY35" fmla="*/ 1225550 h 1289050"/>
                    <a:gd name="connsiteX36" fmla="*/ 273050 w 488950"/>
                    <a:gd name="connsiteY36" fmla="*/ 1241425 h 1289050"/>
                    <a:gd name="connsiteX37" fmla="*/ 285750 w 488950"/>
                    <a:gd name="connsiteY37" fmla="*/ 1250950 h 1289050"/>
                    <a:gd name="connsiteX38" fmla="*/ 301625 w 488950"/>
                    <a:gd name="connsiteY38" fmla="*/ 1285875 h 1289050"/>
                    <a:gd name="connsiteX39" fmla="*/ 311150 w 488950"/>
                    <a:gd name="connsiteY39" fmla="*/ 1289050 h 1289050"/>
                    <a:gd name="connsiteX40" fmla="*/ 352425 w 488950"/>
                    <a:gd name="connsiteY40" fmla="*/ 1276350 h 1289050"/>
                    <a:gd name="connsiteX41" fmla="*/ 368300 w 488950"/>
                    <a:gd name="connsiteY41" fmla="*/ 1266825 h 1289050"/>
                    <a:gd name="connsiteX42" fmla="*/ 384175 w 488950"/>
                    <a:gd name="connsiteY42" fmla="*/ 1263650 h 1289050"/>
                    <a:gd name="connsiteX43" fmla="*/ 396875 w 488950"/>
                    <a:gd name="connsiteY43" fmla="*/ 1260475 h 1289050"/>
                    <a:gd name="connsiteX44" fmla="*/ 409575 w 488950"/>
                    <a:gd name="connsiteY44" fmla="*/ 1254125 h 1289050"/>
                    <a:gd name="connsiteX45" fmla="*/ 438150 w 488950"/>
                    <a:gd name="connsiteY45" fmla="*/ 1247775 h 1289050"/>
                    <a:gd name="connsiteX46" fmla="*/ 463550 w 488950"/>
                    <a:gd name="connsiteY46" fmla="*/ 1241425 h 1289050"/>
                    <a:gd name="connsiteX47" fmla="*/ 476250 w 488950"/>
                    <a:gd name="connsiteY47" fmla="*/ 1238250 h 1289050"/>
                    <a:gd name="connsiteX48" fmla="*/ 488950 w 488950"/>
                    <a:gd name="connsiteY48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32361 w 486386"/>
                    <a:gd name="connsiteY13" fmla="*/ 758825 h 1289050"/>
                    <a:gd name="connsiteX14" fmla="*/ 45061 w 486386"/>
                    <a:gd name="connsiteY14" fmla="*/ 762000 h 1289050"/>
                    <a:gd name="connsiteX15" fmla="*/ 102211 w 486386"/>
                    <a:gd name="connsiteY15" fmla="*/ 784225 h 1289050"/>
                    <a:gd name="connsiteX16" fmla="*/ 114911 w 486386"/>
                    <a:gd name="connsiteY16" fmla="*/ 793750 h 1289050"/>
                    <a:gd name="connsiteX17" fmla="*/ 133961 w 486386"/>
                    <a:gd name="connsiteY17" fmla="*/ 803275 h 1289050"/>
                    <a:gd name="connsiteX18" fmla="*/ 162536 w 486386"/>
                    <a:gd name="connsiteY18" fmla="*/ 838200 h 1289050"/>
                    <a:gd name="connsiteX19" fmla="*/ 172061 w 486386"/>
                    <a:gd name="connsiteY19" fmla="*/ 866775 h 1289050"/>
                    <a:gd name="connsiteX20" fmla="*/ 175236 w 486386"/>
                    <a:gd name="connsiteY20" fmla="*/ 879475 h 1289050"/>
                    <a:gd name="connsiteX21" fmla="*/ 187936 w 486386"/>
                    <a:gd name="connsiteY21" fmla="*/ 895350 h 1289050"/>
                    <a:gd name="connsiteX22" fmla="*/ 194286 w 486386"/>
                    <a:gd name="connsiteY22" fmla="*/ 911225 h 1289050"/>
                    <a:gd name="connsiteX23" fmla="*/ 210161 w 486386"/>
                    <a:gd name="connsiteY23" fmla="*/ 939800 h 1289050"/>
                    <a:gd name="connsiteX24" fmla="*/ 226036 w 486386"/>
                    <a:gd name="connsiteY24" fmla="*/ 971550 h 1289050"/>
                    <a:gd name="connsiteX25" fmla="*/ 229211 w 486386"/>
                    <a:gd name="connsiteY25" fmla="*/ 984250 h 1289050"/>
                    <a:gd name="connsiteX26" fmla="*/ 213336 w 486386"/>
                    <a:gd name="connsiteY26" fmla="*/ 1035050 h 1289050"/>
                    <a:gd name="connsiteX27" fmla="*/ 206986 w 486386"/>
                    <a:gd name="connsiteY27" fmla="*/ 1066800 h 1289050"/>
                    <a:gd name="connsiteX28" fmla="*/ 194286 w 486386"/>
                    <a:gd name="connsiteY28" fmla="*/ 1098550 h 1289050"/>
                    <a:gd name="connsiteX29" fmla="*/ 187936 w 486386"/>
                    <a:gd name="connsiteY29" fmla="*/ 1133475 h 1289050"/>
                    <a:gd name="connsiteX30" fmla="*/ 184761 w 486386"/>
                    <a:gd name="connsiteY30" fmla="*/ 1152525 h 1289050"/>
                    <a:gd name="connsiteX31" fmla="*/ 187936 w 486386"/>
                    <a:gd name="connsiteY31" fmla="*/ 1174750 h 1289050"/>
                    <a:gd name="connsiteX32" fmla="*/ 213336 w 486386"/>
                    <a:gd name="connsiteY32" fmla="*/ 1196975 h 1289050"/>
                    <a:gd name="connsiteX33" fmla="*/ 235561 w 486386"/>
                    <a:gd name="connsiteY33" fmla="*/ 1206500 h 1289050"/>
                    <a:gd name="connsiteX34" fmla="*/ 254611 w 486386"/>
                    <a:gd name="connsiteY34" fmla="*/ 1225550 h 1289050"/>
                    <a:gd name="connsiteX35" fmla="*/ 270486 w 486386"/>
                    <a:gd name="connsiteY35" fmla="*/ 1241425 h 1289050"/>
                    <a:gd name="connsiteX36" fmla="*/ 283186 w 486386"/>
                    <a:gd name="connsiteY36" fmla="*/ 1250950 h 1289050"/>
                    <a:gd name="connsiteX37" fmla="*/ 299061 w 486386"/>
                    <a:gd name="connsiteY37" fmla="*/ 1285875 h 1289050"/>
                    <a:gd name="connsiteX38" fmla="*/ 308586 w 486386"/>
                    <a:gd name="connsiteY38" fmla="*/ 1289050 h 1289050"/>
                    <a:gd name="connsiteX39" fmla="*/ 349861 w 486386"/>
                    <a:gd name="connsiteY39" fmla="*/ 1276350 h 1289050"/>
                    <a:gd name="connsiteX40" fmla="*/ 365736 w 486386"/>
                    <a:gd name="connsiteY40" fmla="*/ 1266825 h 1289050"/>
                    <a:gd name="connsiteX41" fmla="*/ 381611 w 486386"/>
                    <a:gd name="connsiteY41" fmla="*/ 1263650 h 1289050"/>
                    <a:gd name="connsiteX42" fmla="*/ 394311 w 486386"/>
                    <a:gd name="connsiteY42" fmla="*/ 1260475 h 1289050"/>
                    <a:gd name="connsiteX43" fmla="*/ 407011 w 486386"/>
                    <a:gd name="connsiteY43" fmla="*/ 1254125 h 1289050"/>
                    <a:gd name="connsiteX44" fmla="*/ 435586 w 486386"/>
                    <a:gd name="connsiteY44" fmla="*/ 1247775 h 1289050"/>
                    <a:gd name="connsiteX45" fmla="*/ 460986 w 486386"/>
                    <a:gd name="connsiteY45" fmla="*/ 1241425 h 1289050"/>
                    <a:gd name="connsiteX46" fmla="*/ 473686 w 486386"/>
                    <a:gd name="connsiteY46" fmla="*/ 1238250 h 1289050"/>
                    <a:gd name="connsiteX47" fmla="*/ 486386 w 486386"/>
                    <a:gd name="connsiteY47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32361 w 486386"/>
                    <a:gd name="connsiteY13" fmla="*/ 758825 h 1289050"/>
                    <a:gd name="connsiteX14" fmla="*/ 102211 w 486386"/>
                    <a:gd name="connsiteY14" fmla="*/ 784225 h 1289050"/>
                    <a:gd name="connsiteX15" fmla="*/ 114911 w 486386"/>
                    <a:gd name="connsiteY15" fmla="*/ 793750 h 1289050"/>
                    <a:gd name="connsiteX16" fmla="*/ 133961 w 486386"/>
                    <a:gd name="connsiteY16" fmla="*/ 803275 h 1289050"/>
                    <a:gd name="connsiteX17" fmla="*/ 162536 w 486386"/>
                    <a:gd name="connsiteY17" fmla="*/ 838200 h 1289050"/>
                    <a:gd name="connsiteX18" fmla="*/ 172061 w 486386"/>
                    <a:gd name="connsiteY18" fmla="*/ 866775 h 1289050"/>
                    <a:gd name="connsiteX19" fmla="*/ 175236 w 486386"/>
                    <a:gd name="connsiteY19" fmla="*/ 879475 h 1289050"/>
                    <a:gd name="connsiteX20" fmla="*/ 187936 w 486386"/>
                    <a:gd name="connsiteY20" fmla="*/ 895350 h 1289050"/>
                    <a:gd name="connsiteX21" fmla="*/ 194286 w 486386"/>
                    <a:gd name="connsiteY21" fmla="*/ 911225 h 1289050"/>
                    <a:gd name="connsiteX22" fmla="*/ 210161 w 486386"/>
                    <a:gd name="connsiteY22" fmla="*/ 939800 h 1289050"/>
                    <a:gd name="connsiteX23" fmla="*/ 226036 w 486386"/>
                    <a:gd name="connsiteY23" fmla="*/ 971550 h 1289050"/>
                    <a:gd name="connsiteX24" fmla="*/ 229211 w 486386"/>
                    <a:gd name="connsiteY24" fmla="*/ 984250 h 1289050"/>
                    <a:gd name="connsiteX25" fmla="*/ 213336 w 486386"/>
                    <a:gd name="connsiteY25" fmla="*/ 1035050 h 1289050"/>
                    <a:gd name="connsiteX26" fmla="*/ 206986 w 486386"/>
                    <a:gd name="connsiteY26" fmla="*/ 1066800 h 1289050"/>
                    <a:gd name="connsiteX27" fmla="*/ 194286 w 486386"/>
                    <a:gd name="connsiteY27" fmla="*/ 1098550 h 1289050"/>
                    <a:gd name="connsiteX28" fmla="*/ 187936 w 486386"/>
                    <a:gd name="connsiteY28" fmla="*/ 1133475 h 1289050"/>
                    <a:gd name="connsiteX29" fmla="*/ 184761 w 486386"/>
                    <a:gd name="connsiteY29" fmla="*/ 1152525 h 1289050"/>
                    <a:gd name="connsiteX30" fmla="*/ 187936 w 486386"/>
                    <a:gd name="connsiteY30" fmla="*/ 1174750 h 1289050"/>
                    <a:gd name="connsiteX31" fmla="*/ 213336 w 486386"/>
                    <a:gd name="connsiteY31" fmla="*/ 1196975 h 1289050"/>
                    <a:gd name="connsiteX32" fmla="*/ 235561 w 486386"/>
                    <a:gd name="connsiteY32" fmla="*/ 1206500 h 1289050"/>
                    <a:gd name="connsiteX33" fmla="*/ 254611 w 486386"/>
                    <a:gd name="connsiteY33" fmla="*/ 1225550 h 1289050"/>
                    <a:gd name="connsiteX34" fmla="*/ 270486 w 486386"/>
                    <a:gd name="connsiteY34" fmla="*/ 1241425 h 1289050"/>
                    <a:gd name="connsiteX35" fmla="*/ 283186 w 486386"/>
                    <a:gd name="connsiteY35" fmla="*/ 1250950 h 1289050"/>
                    <a:gd name="connsiteX36" fmla="*/ 299061 w 486386"/>
                    <a:gd name="connsiteY36" fmla="*/ 1285875 h 1289050"/>
                    <a:gd name="connsiteX37" fmla="*/ 308586 w 486386"/>
                    <a:gd name="connsiteY37" fmla="*/ 1289050 h 1289050"/>
                    <a:gd name="connsiteX38" fmla="*/ 349861 w 486386"/>
                    <a:gd name="connsiteY38" fmla="*/ 1276350 h 1289050"/>
                    <a:gd name="connsiteX39" fmla="*/ 365736 w 486386"/>
                    <a:gd name="connsiteY39" fmla="*/ 1266825 h 1289050"/>
                    <a:gd name="connsiteX40" fmla="*/ 381611 w 486386"/>
                    <a:gd name="connsiteY40" fmla="*/ 1263650 h 1289050"/>
                    <a:gd name="connsiteX41" fmla="*/ 394311 w 486386"/>
                    <a:gd name="connsiteY41" fmla="*/ 1260475 h 1289050"/>
                    <a:gd name="connsiteX42" fmla="*/ 407011 w 486386"/>
                    <a:gd name="connsiteY42" fmla="*/ 1254125 h 1289050"/>
                    <a:gd name="connsiteX43" fmla="*/ 435586 w 486386"/>
                    <a:gd name="connsiteY43" fmla="*/ 1247775 h 1289050"/>
                    <a:gd name="connsiteX44" fmla="*/ 460986 w 486386"/>
                    <a:gd name="connsiteY44" fmla="*/ 1241425 h 1289050"/>
                    <a:gd name="connsiteX45" fmla="*/ 473686 w 486386"/>
                    <a:gd name="connsiteY45" fmla="*/ 1238250 h 1289050"/>
                    <a:gd name="connsiteX46" fmla="*/ 486386 w 486386"/>
                    <a:gd name="connsiteY46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02211 w 486386"/>
                    <a:gd name="connsiteY13" fmla="*/ 784225 h 1289050"/>
                    <a:gd name="connsiteX14" fmla="*/ 114911 w 486386"/>
                    <a:gd name="connsiteY14" fmla="*/ 793750 h 1289050"/>
                    <a:gd name="connsiteX15" fmla="*/ 133961 w 486386"/>
                    <a:gd name="connsiteY15" fmla="*/ 803275 h 1289050"/>
                    <a:gd name="connsiteX16" fmla="*/ 162536 w 486386"/>
                    <a:gd name="connsiteY16" fmla="*/ 838200 h 1289050"/>
                    <a:gd name="connsiteX17" fmla="*/ 172061 w 486386"/>
                    <a:gd name="connsiteY17" fmla="*/ 866775 h 1289050"/>
                    <a:gd name="connsiteX18" fmla="*/ 175236 w 486386"/>
                    <a:gd name="connsiteY18" fmla="*/ 879475 h 1289050"/>
                    <a:gd name="connsiteX19" fmla="*/ 187936 w 486386"/>
                    <a:gd name="connsiteY19" fmla="*/ 895350 h 1289050"/>
                    <a:gd name="connsiteX20" fmla="*/ 194286 w 486386"/>
                    <a:gd name="connsiteY20" fmla="*/ 911225 h 1289050"/>
                    <a:gd name="connsiteX21" fmla="*/ 210161 w 486386"/>
                    <a:gd name="connsiteY21" fmla="*/ 939800 h 1289050"/>
                    <a:gd name="connsiteX22" fmla="*/ 226036 w 486386"/>
                    <a:gd name="connsiteY22" fmla="*/ 971550 h 1289050"/>
                    <a:gd name="connsiteX23" fmla="*/ 229211 w 486386"/>
                    <a:gd name="connsiteY23" fmla="*/ 984250 h 1289050"/>
                    <a:gd name="connsiteX24" fmla="*/ 213336 w 486386"/>
                    <a:gd name="connsiteY24" fmla="*/ 1035050 h 1289050"/>
                    <a:gd name="connsiteX25" fmla="*/ 206986 w 486386"/>
                    <a:gd name="connsiteY25" fmla="*/ 1066800 h 1289050"/>
                    <a:gd name="connsiteX26" fmla="*/ 194286 w 486386"/>
                    <a:gd name="connsiteY26" fmla="*/ 1098550 h 1289050"/>
                    <a:gd name="connsiteX27" fmla="*/ 187936 w 486386"/>
                    <a:gd name="connsiteY27" fmla="*/ 1133475 h 1289050"/>
                    <a:gd name="connsiteX28" fmla="*/ 184761 w 486386"/>
                    <a:gd name="connsiteY28" fmla="*/ 1152525 h 1289050"/>
                    <a:gd name="connsiteX29" fmla="*/ 187936 w 486386"/>
                    <a:gd name="connsiteY29" fmla="*/ 1174750 h 1289050"/>
                    <a:gd name="connsiteX30" fmla="*/ 213336 w 486386"/>
                    <a:gd name="connsiteY30" fmla="*/ 1196975 h 1289050"/>
                    <a:gd name="connsiteX31" fmla="*/ 235561 w 486386"/>
                    <a:gd name="connsiteY31" fmla="*/ 1206500 h 1289050"/>
                    <a:gd name="connsiteX32" fmla="*/ 254611 w 486386"/>
                    <a:gd name="connsiteY32" fmla="*/ 1225550 h 1289050"/>
                    <a:gd name="connsiteX33" fmla="*/ 270486 w 486386"/>
                    <a:gd name="connsiteY33" fmla="*/ 1241425 h 1289050"/>
                    <a:gd name="connsiteX34" fmla="*/ 283186 w 486386"/>
                    <a:gd name="connsiteY34" fmla="*/ 1250950 h 1289050"/>
                    <a:gd name="connsiteX35" fmla="*/ 299061 w 486386"/>
                    <a:gd name="connsiteY35" fmla="*/ 1285875 h 1289050"/>
                    <a:gd name="connsiteX36" fmla="*/ 308586 w 486386"/>
                    <a:gd name="connsiteY36" fmla="*/ 1289050 h 1289050"/>
                    <a:gd name="connsiteX37" fmla="*/ 349861 w 486386"/>
                    <a:gd name="connsiteY37" fmla="*/ 1276350 h 1289050"/>
                    <a:gd name="connsiteX38" fmla="*/ 365736 w 486386"/>
                    <a:gd name="connsiteY38" fmla="*/ 1266825 h 1289050"/>
                    <a:gd name="connsiteX39" fmla="*/ 381611 w 486386"/>
                    <a:gd name="connsiteY39" fmla="*/ 1263650 h 1289050"/>
                    <a:gd name="connsiteX40" fmla="*/ 394311 w 486386"/>
                    <a:gd name="connsiteY40" fmla="*/ 1260475 h 1289050"/>
                    <a:gd name="connsiteX41" fmla="*/ 407011 w 486386"/>
                    <a:gd name="connsiteY41" fmla="*/ 1254125 h 1289050"/>
                    <a:gd name="connsiteX42" fmla="*/ 435586 w 486386"/>
                    <a:gd name="connsiteY42" fmla="*/ 1247775 h 1289050"/>
                    <a:gd name="connsiteX43" fmla="*/ 460986 w 486386"/>
                    <a:gd name="connsiteY43" fmla="*/ 1241425 h 1289050"/>
                    <a:gd name="connsiteX44" fmla="*/ 473686 w 486386"/>
                    <a:gd name="connsiteY44" fmla="*/ 1238250 h 1289050"/>
                    <a:gd name="connsiteX45" fmla="*/ 486386 w 486386"/>
                    <a:gd name="connsiteY45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14911 w 486386"/>
                    <a:gd name="connsiteY13" fmla="*/ 793750 h 1289050"/>
                    <a:gd name="connsiteX14" fmla="*/ 133961 w 486386"/>
                    <a:gd name="connsiteY14" fmla="*/ 803275 h 1289050"/>
                    <a:gd name="connsiteX15" fmla="*/ 162536 w 486386"/>
                    <a:gd name="connsiteY15" fmla="*/ 838200 h 1289050"/>
                    <a:gd name="connsiteX16" fmla="*/ 172061 w 486386"/>
                    <a:gd name="connsiteY16" fmla="*/ 866775 h 1289050"/>
                    <a:gd name="connsiteX17" fmla="*/ 175236 w 486386"/>
                    <a:gd name="connsiteY17" fmla="*/ 879475 h 1289050"/>
                    <a:gd name="connsiteX18" fmla="*/ 187936 w 486386"/>
                    <a:gd name="connsiteY18" fmla="*/ 895350 h 1289050"/>
                    <a:gd name="connsiteX19" fmla="*/ 194286 w 486386"/>
                    <a:gd name="connsiteY19" fmla="*/ 911225 h 1289050"/>
                    <a:gd name="connsiteX20" fmla="*/ 210161 w 486386"/>
                    <a:gd name="connsiteY20" fmla="*/ 939800 h 1289050"/>
                    <a:gd name="connsiteX21" fmla="*/ 226036 w 486386"/>
                    <a:gd name="connsiteY21" fmla="*/ 971550 h 1289050"/>
                    <a:gd name="connsiteX22" fmla="*/ 229211 w 486386"/>
                    <a:gd name="connsiteY22" fmla="*/ 984250 h 1289050"/>
                    <a:gd name="connsiteX23" fmla="*/ 213336 w 486386"/>
                    <a:gd name="connsiteY23" fmla="*/ 1035050 h 1289050"/>
                    <a:gd name="connsiteX24" fmla="*/ 206986 w 486386"/>
                    <a:gd name="connsiteY24" fmla="*/ 1066800 h 1289050"/>
                    <a:gd name="connsiteX25" fmla="*/ 194286 w 486386"/>
                    <a:gd name="connsiteY25" fmla="*/ 1098550 h 1289050"/>
                    <a:gd name="connsiteX26" fmla="*/ 187936 w 486386"/>
                    <a:gd name="connsiteY26" fmla="*/ 1133475 h 1289050"/>
                    <a:gd name="connsiteX27" fmla="*/ 184761 w 486386"/>
                    <a:gd name="connsiteY27" fmla="*/ 1152525 h 1289050"/>
                    <a:gd name="connsiteX28" fmla="*/ 187936 w 486386"/>
                    <a:gd name="connsiteY28" fmla="*/ 1174750 h 1289050"/>
                    <a:gd name="connsiteX29" fmla="*/ 213336 w 486386"/>
                    <a:gd name="connsiteY29" fmla="*/ 1196975 h 1289050"/>
                    <a:gd name="connsiteX30" fmla="*/ 235561 w 486386"/>
                    <a:gd name="connsiteY30" fmla="*/ 1206500 h 1289050"/>
                    <a:gd name="connsiteX31" fmla="*/ 254611 w 486386"/>
                    <a:gd name="connsiteY31" fmla="*/ 1225550 h 1289050"/>
                    <a:gd name="connsiteX32" fmla="*/ 270486 w 486386"/>
                    <a:gd name="connsiteY32" fmla="*/ 1241425 h 1289050"/>
                    <a:gd name="connsiteX33" fmla="*/ 283186 w 486386"/>
                    <a:gd name="connsiteY33" fmla="*/ 1250950 h 1289050"/>
                    <a:gd name="connsiteX34" fmla="*/ 299061 w 486386"/>
                    <a:gd name="connsiteY34" fmla="*/ 1285875 h 1289050"/>
                    <a:gd name="connsiteX35" fmla="*/ 308586 w 486386"/>
                    <a:gd name="connsiteY35" fmla="*/ 1289050 h 1289050"/>
                    <a:gd name="connsiteX36" fmla="*/ 349861 w 486386"/>
                    <a:gd name="connsiteY36" fmla="*/ 1276350 h 1289050"/>
                    <a:gd name="connsiteX37" fmla="*/ 365736 w 486386"/>
                    <a:gd name="connsiteY37" fmla="*/ 1266825 h 1289050"/>
                    <a:gd name="connsiteX38" fmla="*/ 381611 w 486386"/>
                    <a:gd name="connsiteY38" fmla="*/ 1263650 h 1289050"/>
                    <a:gd name="connsiteX39" fmla="*/ 394311 w 486386"/>
                    <a:gd name="connsiteY39" fmla="*/ 1260475 h 1289050"/>
                    <a:gd name="connsiteX40" fmla="*/ 407011 w 486386"/>
                    <a:gd name="connsiteY40" fmla="*/ 1254125 h 1289050"/>
                    <a:gd name="connsiteX41" fmla="*/ 435586 w 486386"/>
                    <a:gd name="connsiteY41" fmla="*/ 1247775 h 1289050"/>
                    <a:gd name="connsiteX42" fmla="*/ 460986 w 486386"/>
                    <a:gd name="connsiteY42" fmla="*/ 1241425 h 1289050"/>
                    <a:gd name="connsiteX43" fmla="*/ 473686 w 486386"/>
                    <a:gd name="connsiteY43" fmla="*/ 1238250 h 1289050"/>
                    <a:gd name="connsiteX44" fmla="*/ 486386 w 486386"/>
                    <a:gd name="connsiteY44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172061 w 486386"/>
                    <a:gd name="connsiteY15" fmla="*/ 866775 h 1289050"/>
                    <a:gd name="connsiteX16" fmla="*/ 175236 w 486386"/>
                    <a:gd name="connsiteY16" fmla="*/ 879475 h 1289050"/>
                    <a:gd name="connsiteX17" fmla="*/ 187936 w 486386"/>
                    <a:gd name="connsiteY17" fmla="*/ 895350 h 1289050"/>
                    <a:gd name="connsiteX18" fmla="*/ 194286 w 486386"/>
                    <a:gd name="connsiteY18" fmla="*/ 911225 h 1289050"/>
                    <a:gd name="connsiteX19" fmla="*/ 210161 w 486386"/>
                    <a:gd name="connsiteY19" fmla="*/ 939800 h 1289050"/>
                    <a:gd name="connsiteX20" fmla="*/ 226036 w 486386"/>
                    <a:gd name="connsiteY20" fmla="*/ 971550 h 1289050"/>
                    <a:gd name="connsiteX21" fmla="*/ 229211 w 486386"/>
                    <a:gd name="connsiteY21" fmla="*/ 984250 h 1289050"/>
                    <a:gd name="connsiteX22" fmla="*/ 213336 w 486386"/>
                    <a:gd name="connsiteY22" fmla="*/ 1035050 h 1289050"/>
                    <a:gd name="connsiteX23" fmla="*/ 206986 w 486386"/>
                    <a:gd name="connsiteY23" fmla="*/ 1066800 h 1289050"/>
                    <a:gd name="connsiteX24" fmla="*/ 194286 w 486386"/>
                    <a:gd name="connsiteY24" fmla="*/ 1098550 h 1289050"/>
                    <a:gd name="connsiteX25" fmla="*/ 187936 w 486386"/>
                    <a:gd name="connsiteY25" fmla="*/ 1133475 h 1289050"/>
                    <a:gd name="connsiteX26" fmla="*/ 184761 w 486386"/>
                    <a:gd name="connsiteY26" fmla="*/ 1152525 h 1289050"/>
                    <a:gd name="connsiteX27" fmla="*/ 187936 w 486386"/>
                    <a:gd name="connsiteY27" fmla="*/ 1174750 h 1289050"/>
                    <a:gd name="connsiteX28" fmla="*/ 213336 w 486386"/>
                    <a:gd name="connsiteY28" fmla="*/ 1196975 h 1289050"/>
                    <a:gd name="connsiteX29" fmla="*/ 235561 w 486386"/>
                    <a:gd name="connsiteY29" fmla="*/ 1206500 h 1289050"/>
                    <a:gd name="connsiteX30" fmla="*/ 254611 w 486386"/>
                    <a:gd name="connsiteY30" fmla="*/ 1225550 h 1289050"/>
                    <a:gd name="connsiteX31" fmla="*/ 270486 w 486386"/>
                    <a:gd name="connsiteY31" fmla="*/ 1241425 h 1289050"/>
                    <a:gd name="connsiteX32" fmla="*/ 283186 w 486386"/>
                    <a:gd name="connsiteY32" fmla="*/ 1250950 h 1289050"/>
                    <a:gd name="connsiteX33" fmla="*/ 299061 w 486386"/>
                    <a:gd name="connsiteY33" fmla="*/ 1285875 h 1289050"/>
                    <a:gd name="connsiteX34" fmla="*/ 308586 w 486386"/>
                    <a:gd name="connsiteY34" fmla="*/ 1289050 h 1289050"/>
                    <a:gd name="connsiteX35" fmla="*/ 349861 w 486386"/>
                    <a:gd name="connsiteY35" fmla="*/ 1276350 h 1289050"/>
                    <a:gd name="connsiteX36" fmla="*/ 365736 w 486386"/>
                    <a:gd name="connsiteY36" fmla="*/ 1266825 h 1289050"/>
                    <a:gd name="connsiteX37" fmla="*/ 381611 w 486386"/>
                    <a:gd name="connsiteY37" fmla="*/ 1263650 h 1289050"/>
                    <a:gd name="connsiteX38" fmla="*/ 394311 w 486386"/>
                    <a:gd name="connsiteY38" fmla="*/ 1260475 h 1289050"/>
                    <a:gd name="connsiteX39" fmla="*/ 407011 w 486386"/>
                    <a:gd name="connsiteY39" fmla="*/ 1254125 h 1289050"/>
                    <a:gd name="connsiteX40" fmla="*/ 435586 w 486386"/>
                    <a:gd name="connsiteY40" fmla="*/ 1247775 h 1289050"/>
                    <a:gd name="connsiteX41" fmla="*/ 460986 w 486386"/>
                    <a:gd name="connsiteY41" fmla="*/ 1241425 h 1289050"/>
                    <a:gd name="connsiteX42" fmla="*/ 473686 w 486386"/>
                    <a:gd name="connsiteY42" fmla="*/ 1238250 h 1289050"/>
                    <a:gd name="connsiteX43" fmla="*/ 486386 w 486386"/>
                    <a:gd name="connsiteY43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172061 w 486386"/>
                    <a:gd name="connsiteY15" fmla="*/ 866775 h 1289050"/>
                    <a:gd name="connsiteX16" fmla="*/ 187936 w 486386"/>
                    <a:gd name="connsiteY16" fmla="*/ 895350 h 1289050"/>
                    <a:gd name="connsiteX17" fmla="*/ 194286 w 486386"/>
                    <a:gd name="connsiteY17" fmla="*/ 911225 h 1289050"/>
                    <a:gd name="connsiteX18" fmla="*/ 210161 w 486386"/>
                    <a:gd name="connsiteY18" fmla="*/ 939800 h 1289050"/>
                    <a:gd name="connsiteX19" fmla="*/ 226036 w 486386"/>
                    <a:gd name="connsiteY19" fmla="*/ 971550 h 1289050"/>
                    <a:gd name="connsiteX20" fmla="*/ 229211 w 486386"/>
                    <a:gd name="connsiteY20" fmla="*/ 984250 h 1289050"/>
                    <a:gd name="connsiteX21" fmla="*/ 213336 w 486386"/>
                    <a:gd name="connsiteY21" fmla="*/ 1035050 h 1289050"/>
                    <a:gd name="connsiteX22" fmla="*/ 206986 w 486386"/>
                    <a:gd name="connsiteY22" fmla="*/ 1066800 h 1289050"/>
                    <a:gd name="connsiteX23" fmla="*/ 194286 w 486386"/>
                    <a:gd name="connsiteY23" fmla="*/ 1098550 h 1289050"/>
                    <a:gd name="connsiteX24" fmla="*/ 187936 w 486386"/>
                    <a:gd name="connsiteY24" fmla="*/ 1133475 h 1289050"/>
                    <a:gd name="connsiteX25" fmla="*/ 184761 w 486386"/>
                    <a:gd name="connsiteY25" fmla="*/ 1152525 h 1289050"/>
                    <a:gd name="connsiteX26" fmla="*/ 187936 w 486386"/>
                    <a:gd name="connsiteY26" fmla="*/ 1174750 h 1289050"/>
                    <a:gd name="connsiteX27" fmla="*/ 213336 w 486386"/>
                    <a:gd name="connsiteY27" fmla="*/ 1196975 h 1289050"/>
                    <a:gd name="connsiteX28" fmla="*/ 235561 w 486386"/>
                    <a:gd name="connsiteY28" fmla="*/ 1206500 h 1289050"/>
                    <a:gd name="connsiteX29" fmla="*/ 254611 w 486386"/>
                    <a:gd name="connsiteY29" fmla="*/ 1225550 h 1289050"/>
                    <a:gd name="connsiteX30" fmla="*/ 270486 w 486386"/>
                    <a:gd name="connsiteY30" fmla="*/ 1241425 h 1289050"/>
                    <a:gd name="connsiteX31" fmla="*/ 283186 w 486386"/>
                    <a:gd name="connsiteY31" fmla="*/ 1250950 h 1289050"/>
                    <a:gd name="connsiteX32" fmla="*/ 299061 w 486386"/>
                    <a:gd name="connsiteY32" fmla="*/ 1285875 h 1289050"/>
                    <a:gd name="connsiteX33" fmla="*/ 308586 w 486386"/>
                    <a:gd name="connsiteY33" fmla="*/ 1289050 h 1289050"/>
                    <a:gd name="connsiteX34" fmla="*/ 349861 w 486386"/>
                    <a:gd name="connsiteY34" fmla="*/ 1276350 h 1289050"/>
                    <a:gd name="connsiteX35" fmla="*/ 365736 w 486386"/>
                    <a:gd name="connsiteY35" fmla="*/ 1266825 h 1289050"/>
                    <a:gd name="connsiteX36" fmla="*/ 381611 w 486386"/>
                    <a:gd name="connsiteY36" fmla="*/ 1263650 h 1289050"/>
                    <a:gd name="connsiteX37" fmla="*/ 394311 w 486386"/>
                    <a:gd name="connsiteY37" fmla="*/ 1260475 h 1289050"/>
                    <a:gd name="connsiteX38" fmla="*/ 407011 w 486386"/>
                    <a:gd name="connsiteY38" fmla="*/ 1254125 h 1289050"/>
                    <a:gd name="connsiteX39" fmla="*/ 435586 w 486386"/>
                    <a:gd name="connsiteY39" fmla="*/ 1247775 h 1289050"/>
                    <a:gd name="connsiteX40" fmla="*/ 460986 w 486386"/>
                    <a:gd name="connsiteY40" fmla="*/ 1241425 h 1289050"/>
                    <a:gd name="connsiteX41" fmla="*/ 473686 w 486386"/>
                    <a:gd name="connsiteY41" fmla="*/ 1238250 h 1289050"/>
                    <a:gd name="connsiteX42" fmla="*/ 486386 w 486386"/>
                    <a:gd name="connsiteY42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172061 w 486386"/>
                    <a:gd name="connsiteY15" fmla="*/ 866775 h 1289050"/>
                    <a:gd name="connsiteX16" fmla="*/ 187936 w 486386"/>
                    <a:gd name="connsiteY16" fmla="*/ 895350 h 1289050"/>
                    <a:gd name="connsiteX17" fmla="*/ 210161 w 486386"/>
                    <a:gd name="connsiteY17" fmla="*/ 939800 h 1289050"/>
                    <a:gd name="connsiteX18" fmla="*/ 226036 w 486386"/>
                    <a:gd name="connsiteY18" fmla="*/ 971550 h 1289050"/>
                    <a:gd name="connsiteX19" fmla="*/ 229211 w 486386"/>
                    <a:gd name="connsiteY19" fmla="*/ 984250 h 1289050"/>
                    <a:gd name="connsiteX20" fmla="*/ 213336 w 486386"/>
                    <a:gd name="connsiteY20" fmla="*/ 1035050 h 1289050"/>
                    <a:gd name="connsiteX21" fmla="*/ 206986 w 486386"/>
                    <a:gd name="connsiteY21" fmla="*/ 1066800 h 1289050"/>
                    <a:gd name="connsiteX22" fmla="*/ 194286 w 486386"/>
                    <a:gd name="connsiteY22" fmla="*/ 1098550 h 1289050"/>
                    <a:gd name="connsiteX23" fmla="*/ 187936 w 486386"/>
                    <a:gd name="connsiteY23" fmla="*/ 1133475 h 1289050"/>
                    <a:gd name="connsiteX24" fmla="*/ 184761 w 486386"/>
                    <a:gd name="connsiteY24" fmla="*/ 1152525 h 1289050"/>
                    <a:gd name="connsiteX25" fmla="*/ 187936 w 486386"/>
                    <a:gd name="connsiteY25" fmla="*/ 1174750 h 1289050"/>
                    <a:gd name="connsiteX26" fmla="*/ 213336 w 486386"/>
                    <a:gd name="connsiteY26" fmla="*/ 1196975 h 1289050"/>
                    <a:gd name="connsiteX27" fmla="*/ 235561 w 486386"/>
                    <a:gd name="connsiteY27" fmla="*/ 1206500 h 1289050"/>
                    <a:gd name="connsiteX28" fmla="*/ 254611 w 486386"/>
                    <a:gd name="connsiteY28" fmla="*/ 1225550 h 1289050"/>
                    <a:gd name="connsiteX29" fmla="*/ 270486 w 486386"/>
                    <a:gd name="connsiteY29" fmla="*/ 1241425 h 1289050"/>
                    <a:gd name="connsiteX30" fmla="*/ 283186 w 486386"/>
                    <a:gd name="connsiteY30" fmla="*/ 1250950 h 1289050"/>
                    <a:gd name="connsiteX31" fmla="*/ 299061 w 486386"/>
                    <a:gd name="connsiteY31" fmla="*/ 1285875 h 1289050"/>
                    <a:gd name="connsiteX32" fmla="*/ 308586 w 486386"/>
                    <a:gd name="connsiteY32" fmla="*/ 1289050 h 1289050"/>
                    <a:gd name="connsiteX33" fmla="*/ 349861 w 486386"/>
                    <a:gd name="connsiteY33" fmla="*/ 1276350 h 1289050"/>
                    <a:gd name="connsiteX34" fmla="*/ 365736 w 486386"/>
                    <a:gd name="connsiteY34" fmla="*/ 1266825 h 1289050"/>
                    <a:gd name="connsiteX35" fmla="*/ 381611 w 486386"/>
                    <a:gd name="connsiteY35" fmla="*/ 1263650 h 1289050"/>
                    <a:gd name="connsiteX36" fmla="*/ 394311 w 486386"/>
                    <a:gd name="connsiteY36" fmla="*/ 1260475 h 1289050"/>
                    <a:gd name="connsiteX37" fmla="*/ 407011 w 486386"/>
                    <a:gd name="connsiteY37" fmla="*/ 1254125 h 1289050"/>
                    <a:gd name="connsiteX38" fmla="*/ 435586 w 486386"/>
                    <a:gd name="connsiteY38" fmla="*/ 1247775 h 1289050"/>
                    <a:gd name="connsiteX39" fmla="*/ 460986 w 486386"/>
                    <a:gd name="connsiteY39" fmla="*/ 1241425 h 1289050"/>
                    <a:gd name="connsiteX40" fmla="*/ 473686 w 486386"/>
                    <a:gd name="connsiteY40" fmla="*/ 1238250 h 1289050"/>
                    <a:gd name="connsiteX41" fmla="*/ 486386 w 486386"/>
                    <a:gd name="connsiteY41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172061 w 486386"/>
                    <a:gd name="connsiteY15" fmla="*/ 866775 h 1289050"/>
                    <a:gd name="connsiteX16" fmla="*/ 210161 w 486386"/>
                    <a:gd name="connsiteY16" fmla="*/ 939800 h 1289050"/>
                    <a:gd name="connsiteX17" fmla="*/ 226036 w 486386"/>
                    <a:gd name="connsiteY17" fmla="*/ 971550 h 1289050"/>
                    <a:gd name="connsiteX18" fmla="*/ 229211 w 486386"/>
                    <a:gd name="connsiteY18" fmla="*/ 984250 h 1289050"/>
                    <a:gd name="connsiteX19" fmla="*/ 213336 w 486386"/>
                    <a:gd name="connsiteY19" fmla="*/ 1035050 h 1289050"/>
                    <a:gd name="connsiteX20" fmla="*/ 206986 w 486386"/>
                    <a:gd name="connsiteY20" fmla="*/ 1066800 h 1289050"/>
                    <a:gd name="connsiteX21" fmla="*/ 194286 w 486386"/>
                    <a:gd name="connsiteY21" fmla="*/ 1098550 h 1289050"/>
                    <a:gd name="connsiteX22" fmla="*/ 187936 w 486386"/>
                    <a:gd name="connsiteY22" fmla="*/ 1133475 h 1289050"/>
                    <a:gd name="connsiteX23" fmla="*/ 184761 w 486386"/>
                    <a:gd name="connsiteY23" fmla="*/ 1152525 h 1289050"/>
                    <a:gd name="connsiteX24" fmla="*/ 187936 w 486386"/>
                    <a:gd name="connsiteY24" fmla="*/ 1174750 h 1289050"/>
                    <a:gd name="connsiteX25" fmla="*/ 213336 w 486386"/>
                    <a:gd name="connsiteY25" fmla="*/ 1196975 h 1289050"/>
                    <a:gd name="connsiteX26" fmla="*/ 235561 w 486386"/>
                    <a:gd name="connsiteY26" fmla="*/ 1206500 h 1289050"/>
                    <a:gd name="connsiteX27" fmla="*/ 254611 w 486386"/>
                    <a:gd name="connsiteY27" fmla="*/ 1225550 h 1289050"/>
                    <a:gd name="connsiteX28" fmla="*/ 270486 w 486386"/>
                    <a:gd name="connsiteY28" fmla="*/ 1241425 h 1289050"/>
                    <a:gd name="connsiteX29" fmla="*/ 283186 w 486386"/>
                    <a:gd name="connsiteY29" fmla="*/ 1250950 h 1289050"/>
                    <a:gd name="connsiteX30" fmla="*/ 299061 w 486386"/>
                    <a:gd name="connsiteY30" fmla="*/ 1285875 h 1289050"/>
                    <a:gd name="connsiteX31" fmla="*/ 308586 w 486386"/>
                    <a:gd name="connsiteY31" fmla="*/ 1289050 h 1289050"/>
                    <a:gd name="connsiteX32" fmla="*/ 349861 w 486386"/>
                    <a:gd name="connsiteY32" fmla="*/ 1276350 h 1289050"/>
                    <a:gd name="connsiteX33" fmla="*/ 365736 w 486386"/>
                    <a:gd name="connsiteY33" fmla="*/ 1266825 h 1289050"/>
                    <a:gd name="connsiteX34" fmla="*/ 381611 w 486386"/>
                    <a:gd name="connsiteY34" fmla="*/ 1263650 h 1289050"/>
                    <a:gd name="connsiteX35" fmla="*/ 394311 w 486386"/>
                    <a:gd name="connsiteY35" fmla="*/ 1260475 h 1289050"/>
                    <a:gd name="connsiteX36" fmla="*/ 407011 w 486386"/>
                    <a:gd name="connsiteY36" fmla="*/ 1254125 h 1289050"/>
                    <a:gd name="connsiteX37" fmla="*/ 435586 w 486386"/>
                    <a:gd name="connsiteY37" fmla="*/ 1247775 h 1289050"/>
                    <a:gd name="connsiteX38" fmla="*/ 460986 w 486386"/>
                    <a:gd name="connsiteY38" fmla="*/ 1241425 h 1289050"/>
                    <a:gd name="connsiteX39" fmla="*/ 473686 w 486386"/>
                    <a:gd name="connsiteY39" fmla="*/ 1238250 h 1289050"/>
                    <a:gd name="connsiteX40" fmla="*/ 486386 w 486386"/>
                    <a:gd name="connsiteY40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210161 w 486386"/>
                    <a:gd name="connsiteY15" fmla="*/ 939800 h 1289050"/>
                    <a:gd name="connsiteX16" fmla="*/ 226036 w 486386"/>
                    <a:gd name="connsiteY16" fmla="*/ 971550 h 1289050"/>
                    <a:gd name="connsiteX17" fmla="*/ 229211 w 486386"/>
                    <a:gd name="connsiteY17" fmla="*/ 984250 h 1289050"/>
                    <a:gd name="connsiteX18" fmla="*/ 213336 w 486386"/>
                    <a:gd name="connsiteY18" fmla="*/ 1035050 h 1289050"/>
                    <a:gd name="connsiteX19" fmla="*/ 206986 w 486386"/>
                    <a:gd name="connsiteY19" fmla="*/ 1066800 h 1289050"/>
                    <a:gd name="connsiteX20" fmla="*/ 194286 w 486386"/>
                    <a:gd name="connsiteY20" fmla="*/ 1098550 h 1289050"/>
                    <a:gd name="connsiteX21" fmla="*/ 187936 w 486386"/>
                    <a:gd name="connsiteY21" fmla="*/ 1133475 h 1289050"/>
                    <a:gd name="connsiteX22" fmla="*/ 184761 w 486386"/>
                    <a:gd name="connsiteY22" fmla="*/ 1152525 h 1289050"/>
                    <a:gd name="connsiteX23" fmla="*/ 187936 w 486386"/>
                    <a:gd name="connsiteY23" fmla="*/ 1174750 h 1289050"/>
                    <a:gd name="connsiteX24" fmla="*/ 213336 w 486386"/>
                    <a:gd name="connsiteY24" fmla="*/ 1196975 h 1289050"/>
                    <a:gd name="connsiteX25" fmla="*/ 235561 w 486386"/>
                    <a:gd name="connsiteY25" fmla="*/ 1206500 h 1289050"/>
                    <a:gd name="connsiteX26" fmla="*/ 254611 w 486386"/>
                    <a:gd name="connsiteY26" fmla="*/ 1225550 h 1289050"/>
                    <a:gd name="connsiteX27" fmla="*/ 270486 w 486386"/>
                    <a:gd name="connsiteY27" fmla="*/ 1241425 h 1289050"/>
                    <a:gd name="connsiteX28" fmla="*/ 283186 w 486386"/>
                    <a:gd name="connsiteY28" fmla="*/ 1250950 h 1289050"/>
                    <a:gd name="connsiteX29" fmla="*/ 299061 w 486386"/>
                    <a:gd name="connsiteY29" fmla="*/ 1285875 h 1289050"/>
                    <a:gd name="connsiteX30" fmla="*/ 308586 w 486386"/>
                    <a:gd name="connsiteY30" fmla="*/ 1289050 h 1289050"/>
                    <a:gd name="connsiteX31" fmla="*/ 349861 w 486386"/>
                    <a:gd name="connsiteY31" fmla="*/ 1276350 h 1289050"/>
                    <a:gd name="connsiteX32" fmla="*/ 365736 w 486386"/>
                    <a:gd name="connsiteY32" fmla="*/ 1266825 h 1289050"/>
                    <a:gd name="connsiteX33" fmla="*/ 381611 w 486386"/>
                    <a:gd name="connsiteY33" fmla="*/ 1263650 h 1289050"/>
                    <a:gd name="connsiteX34" fmla="*/ 394311 w 486386"/>
                    <a:gd name="connsiteY34" fmla="*/ 1260475 h 1289050"/>
                    <a:gd name="connsiteX35" fmla="*/ 407011 w 486386"/>
                    <a:gd name="connsiteY35" fmla="*/ 1254125 h 1289050"/>
                    <a:gd name="connsiteX36" fmla="*/ 435586 w 486386"/>
                    <a:gd name="connsiteY36" fmla="*/ 1247775 h 1289050"/>
                    <a:gd name="connsiteX37" fmla="*/ 460986 w 486386"/>
                    <a:gd name="connsiteY37" fmla="*/ 1241425 h 1289050"/>
                    <a:gd name="connsiteX38" fmla="*/ 473686 w 486386"/>
                    <a:gd name="connsiteY38" fmla="*/ 1238250 h 1289050"/>
                    <a:gd name="connsiteX39" fmla="*/ 486386 w 486386"/>
                    <a:gd name="connsiteY39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210161 w 486386"/>
                    <a:gd name="connsiteY15" fmla="*/ 939800 h 1289050"/>
                    <a:gd name="connsiteX16" fmla="*/ 229211 w 486386"/>
                    <a:gd name="connsiteY16" fmla="*/ 984250 h 1289050"/>
                    <a:gd name="connsiteX17" fmla="*/ 213336 w 486386"/>
                    <a:gd name="connsiteY17" fmla="*/ 1035050 h 1289050"/>
                    <a:gd name="connsiteX18" fmla="*/ 206986 w 486386"/>
                    <a:gd name="connsiteY18" fmla="*/ 1066800 h 1289050"/>
                    <a:gd name="connsiteX19" fmla="*/ 194286 w 486386"/>
                    <a:gd name="connsiteY19" fmla="*/ 1098550 h 1289050"/>
                    <a:gd name="connsiteX20" fmla="*/ 187936 w 486386"/>
                    <a:gd name="connsiteY20" fmla="*/ 1133475 h 1289050"/>
                    <a:gd name="connsiteX21" fmla="*/ 184761 w 486386"/>
                    <a:gd name="connsiteY21" fmla="*/ 1152525 h 1289050"/>
                    <a:gd name="connsiteX22" fmla="*/ 187936 w 486386"/>
                    <a:gd name="connsiteY22" fmla="*/ 1174750 h 1289050"/>
                    <a:gd name="connsiteX23" fmla="*/ 213336 w 486386"/>
                    <a:gd name="connsiteY23" fmla="*/ 1196975 h 1289050"/>
                    <a:gd name="connsiteX24" fmla="*/ 235561 w 486386"/>
                    <a:gd name="connsiteY24" fmla="*/ 1206500 h 1289050"/>
                    <a:gd name="connsiteX25" fmla="*/ 254611 w 486386"/>
                    <a:gd name="connsiteY25" fmla="*/ 1225550 h 1289050"/>
                    <a:gd name="connsiteX26" fmla="*/ 270486 w 486386"/>
                    <a:gd name="connsiteY26" fmla="*/ 1241425 h 1289050"/>
                    <a:gd name="connsiteX27" fmla="*/ 283186 w 486386"/>
                    <a:gd name="connsiteY27" fmla="*/ 1250950 h 1289050"/>
                    <a:gd name="connsiteX28" fmla="*/ 299061 w 486386"/>
                    <a:gd name="connsiteY28" fmla="*/ 1285875 h 1289050"/>
                    <a:gd name="connsiteX29" fmla="*/ 308586 w 486386"/>
                    <a:gd name="connsiteY29" fmla="*/ 1289050 h 1289050"/>
                    <a:gd name="connsiteX30" fmla="*/ 349861 w 486386"/>
                    <a:gd name="connsiteY30" fmla="*/ 1276350 h 1289050"/>
                    <a:gd name="connsiteX31" fmla="*/ 365736 w 486386"/>
                    <a:gd name="connsiteY31" fmla="*/ 1266825 h 1289050"/>
                    <a:gd name="connsiteX32" fmla="*/ 381611 w 486386"/>
                    <a:gd name="connsiteY32" fmla="*/ 1263650 h 1289050"/>
                    <a:gd name="connsiteX33" fmla="*/ 394311 w 486386"/>
                    <a:gd name="connsiteY33" fmla="*/ 1260475 h 1289050"/>
                    <a:gd name="connsiteX34" fmla="*/ 407011 w 486386"/>
                    <a:gd name="connsiteY34" fmla="*/ 1254125 h 1289050"/>
                    <a:gd name="connsiteX35" fmla="*/ 435586 w 486386"/>
                    <a:gd name="connsiteY35" fmla="*/ 1247775 h 1289050"/>
                    <a:gd name="connsiteX36" fmla="*/ 460986 w 486386"/>
                    <a:gd name="connsiteY36" fmla="*/ 1241425 h 1289050"/>
                    <a:gd name="connsiteX37" fmla="*/ 473686 w 486386"/>
                    <a:gd name="connsiteY37" fmla="*/ 1238250 h 1289050"/>
                    <a:gd name="connsiteX38" fmla="*/ 486386 w 486386"/>
                    <a:gd name="connsiteY38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229211 w 486386"/>
                    <a:gd name="connsiteY15" fmla="*/ 984250 h 1289050"/>
                    <a:gd name="connsiteX16" fmla="*/ 213336 w 486386"/>
                    <a:gd name="connsiteY16" fmla="*/ 1035050 h 1289050"/>
                    <a:gd name="connsiteX17" fmla="*/ 206986 w 486386"/>
                    <a:gd name="connsiteY17" fmla="*/ 1066800 h 1289050"/>
                    <a:gd name="connsiteX18" fmla="*/ 194286 w 486386"/>
                    <a:gd name="connsiteY18" fmla="*/ 1098550 h 1289050"/>
                    <a:gd name="connsiteX19" fmla="*/ 187936 w 486386"/>
                    <a:gd name="connsiteY19" fmla="*/ 1133475 h 1289050"/>
                    <a:gd name="connsiteX20" fmla="*/ 184761 w 486386"/>
                    <a:gd name="connsiteY20" fmla="*/ 1152525 h 1289050"/>
                    <a:gd name="connsiteX21" fmla="*/ 187936 w 486386"/>
                    <a:gd name="connsiteY21" fmla="*/ 1174750 h 1289050"/>
                    <a:gd name="connsiteX22" fmla="*/ 213336 w 486386"/>
                    <a:gd name="connsiteY22" fmla="*/ 1196975 h 1289050"/>
                    <a:gd name="connsiteX23" fmla="*/ 235561 w 486386"/>
                    <a:gd name="connsiteY23" fmla="*/ 1206500 h 1289050"/>
                    <a:gd name="connsiteX24" fmla="*/ 254611 w 486386"/>
                    <a:gd name="connsiteY24" fmla="*/ 1225550 h 1289050"/>
                    <a:gd name="connsiteX25" fmla="*/ 270486 w 486386"/>
                    <a:gd name="connsiteY25" fmla="*/ 1241425 h 1289050"/>
                    <a:gd name="connsiteX26" fmla="*/ 283186 w 486386"/>
                    <a:gd name="connsiteY26" fmla="*/ 1250950 h 1289050"/>
                    <a:gd name="connsiteX27" fmla="*/ 299061 w 486386"/>
                    <a:gd name="connsiteY27" fmla="*/ 1285875 h 1289050"/>
                    <a:gd name="connsiteX28" fmla="*/ 308586 w 486386"/>
                    <a:gd name="connsiteY28" fmla="*/ 1289050 h 1289050"/>
                    <a:gd name="connsiteX29" fmla="*/ 349861 w 486386"/>
                    <a:gd name="connsiteY29" fmla="*/ 1276350 h 1289050"/>
                    <a:gd name="connsiteX30" fmla="*/ 365736 w 486386"/>
                    <a:gd name="connsiteY30" fmla="*/ 1266825 h 1289050"/>
                    <a:gd name="connsiteX31" fmla="*/ 381611 w 486386"/>
                    <a:gd name="connsiteY31" fmla="*/ 1263650 h 1289050"/>
                    <a:gd name="connsiteX32" fmla="*/ 394311 w 486386"/>
                    <a:gd name="connsiteY32" fmla="*/ 1260475 h 1289050"/>
                    <a:gd name="connsiteX33" fmla="*/ 407011 w 486386"/>
                    <a:gd name="connsiteY33" fmla="*/ 1254125 h 1289050"/>
                    <a:gd name="connsiteX34" fmla="*/ 435586 w 486386"/>
                    <a:gd name="connsiteY34" fmla="*/ 1247775 h 1289050"/>
                    <a:gd name="connsiteX35" fmla="*/ 460986 w 486386"/>
                    <a:gd name="connsiteY35" fmla="*/ 1241425 h 1289050"/>
                    <a:gd name="connsiteX36" fmla="*/ 473686 w 486386"/>
                    <a:gd name="connsiteY36" fmla="*/ 1238250 h 1289050"/>
                    <a:gd name="connsiteX37" fmla="*/ 486386 w 486386"/>
                    <a:gd name="connsiteY37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229211 w 486386"/>
                    <a:gd name="connsiteY15" fmla="*/ 984250 h 1289050"/>
                    <a:gd name="connsiteX16" fmla="*/ 213336 w 486386"/>
                    <a:gd name="connsiteY16" fmla="*/ 1035050 h 1289050"/>
                    <a:gd name="connsiteX17" fmla="*/ 194286 w 486386"/>
                    <a:gd name="connsiteY17" fmla="*/ 1098550 h 1289050"/>
                    <a:gd name="connsiteX18" fmla="*/ 187936 w 486386"/>
                    <a:gd name="connsiteY18" fmla="*/ 1133475 h 1289050"/>
                    <a:gd name="connsiteX19" fmla="*/ 184761 w 486386"/>
                    <a:gd name="connsiteY19" fmla="*/ 1152525 h 1289050"/>
                    <a:gd name="connsiteX20" fmla="*/ 187936 w 486386"/>
                    <a:gd name="connsiteY20" fmla="*/ 1174750 h 1289050"/>
                    <a:gd name="connsiteX21" fmla="*/ 213336 w 486386"/>
                    <a:gd name="connsiteY21" fmla="*/ 1196975 h 1289050"/>
                    <a:gd name="connsiteX22" fmla="*/ 235561 w 486386"/>
                    <a:gd name="connsiteY22" fmla="*/ 1206500 h 1289050"/>
                    <a:gd name="connsiteX23" fmla="*/ 254611 w 486386"/>
                    <a:gd name="connsiteY23" fmla="*/ 1225550 h 1289050"/>
                    <a:gd name="connsiteX24" fmla="*/ 270486 w 486386"/>
                    <a:gd name="connsiteY24" fmla="*/ 1241425 h 1289050"/>
                    <a:gd name="connsiteX25" fmla="*/ 283186 w 486386"/>
                    <a:gd name="connsiteY25" fmla="*/ 1250950 h 1289050"/>
                    <a:gd name="connsiteX26" fmla="*/ 299061 w 486386"/>
                    <a:gd name="connsiteY26" fmla="*/ 1285875 h 1289050"/>
                    <a:gd name="connsiteX27" fmla="*/ 308586 w 486386"/>
                    <a:gd name="connsiteY27" fmla="*/ 1289050 h 1289050"/>
                    <a:gd name="connsiteX28" fmla="*/ 349861 w 486386"/>
                    <a:gd name="connsiteY28" fmla="*/ 1276350 h 1289050"/>
                    <a:gd name="connsiteX29" fmla="*/ 365736 w 486386"/>
                    <a:gd name="connsiteY29" fmla="*/ 1266825 h 1289050"/>
                    <a:gd name="connsiteX30" fmla="*/ 381611 w 486386"/>
                    <a:gd name="connsiteY30" fmla="*/ 1263650 h 1289050"/>
                    <a:gd name="connsiteX31" fmla="*/ 394311 w 486386"/>
                    <a:gd name="connsiteY31" fmla="*/ 1260475 h 1289050"/>
                    <a:gd name="connsiteX32" fmla="*/ 407011 w 486386"/>
                    <a:gd name="connsiteY32" fmla="*/ 1254125 h 1289050"/>
                    <a:gd name="connsiteX33" fmla="*/ 435586 w 486386"/>
                    <a:gd name="connsiteY33" fmla="*/ 1247775 h 1289050"/>
                    <a:gd name="connsiteX34" fmla="*/ 460986 w 486386"/>
                    <a:gd name="connsiteY34" fmla="*/ 1241425 h 1289050"/>
                    <a:gd name="connsiteX35" fmla="*/ 473686 w 486386"/>
                    <a:gd name="connsiteY35" fmla="*/ 1238250 h 1289050"/>
                    <a:gd name="connsiteX36" fmla="*/ 486386 w 486386"/>
                    <a:gd name="connsiteY36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229211 w 486386"/>
                    <a:gd name="connsiteY15" fmla="*/ 984250 h 1289050"/>
                    <a:gd name="connsiteX16" fmla="*/ 213336 w 486386"/>
                    <a:gd name="connsiteY16" fmla="*/ 1035050 h 1289050"/>
                    <a:gd name="connsiteX17" fmla="*/ 187936 w 486386"/>
                    <a:gd name="connsiteY17" fmla="*/ 1133475 h 1289050"/>
                    <a:gd name="connsiteX18" fmla="*/ 184761 w 486386"/>
                    <a:gd name="connsiteY18" fmla="*/ 1152525 h 1289050"/>
                    <a:gd name="connsiteX19" fmla="*/ 187936 w 486386"/>
                    <a:gd name="connsiteY19" fmla="*/ 1174750 h 1289050"/>
                    <a:gd name="connsiteX20" fmla="*/ 213336 w 486386"/>
                    <a:gd name="connsiteY20" fmla="*/ 1196975 h 1289050"/>
                    <a:gd name="connsiteX21" fmla="*/ 235561 w 486386"/>
                    <a:gd name="connsiteY21" fmla="*/ 1206500 h 1289050"/>
                    <a:gd name="connsiteX22" fmla="*/ 254611 w 486386"/>
                    <a:gd name="connsiteY22" fmla="*/ 1225550 h 1289050"/>
                    <a:gd name="connsiteX23" fmla="*/ 270486 w 486386"/>
                    <a:gd name="connsiteY23" fmla="*/ 1241425 h 1289050"/>
                    <a:gd name="connsiteX24" fmla="*/ 283186 w 486386"/>
                    <a:gd name="connsiteY24" fmla="*/ 1250950 h 1289050"/>
                    <a:gd name="connsiteX25" fmla="*/ 299061 w 486386"/>
                    <a:gd name="connsiteY25" fmla="*/ 1285875 h 1289050"/>
                    <a:gd name="connsiteX26" fmla="*/ 308586 w 486386"/>
                    <a:gd name="connsiteY26" fmla="*/ 1289050 h 1289050"/>
                    <a:gd name="connsiteX27" fmla="*/ 349861 w 486386"/>
                    <a:gd name="connsiteY27" fmla="*/ 1276350 h 1289050"/>
                    <a:gd name="connsiteX28" fmla="*/ 365736 w 486386"/>
                    <a:gd name="connsiteY28" fmla="*/ 1266825 h 1289050"/>
                    <a:gd name="connsiteX29" fmla="*/ 381611 w 486386"/>
                    <a:gd name="connsiteY29" fmla="*/ 1263650 h 1289050"/>
                    <a:gd name="connsiteX30" fmla="*/ 394311 w 486386"/>
                    <a:gd name="connsiteY30" fmla="*/ 1260475 h 1289050"/>
                    <a:gd name="connsiteX31" fmla="*/ 407011 w 486386"/>
                    <a:gd name="connsiteY31" fmla="*/ 1254125 h 1289050"/>
                    <a:gd name="connsiteX32" fmla="*/ 435586 w 486386"/>
                    <a:gd name="connsiteY32" fmla="*/ 1247775 h 1289050"/>
                    <a:gd name="connsiteX33" fmla="*/ 460986 w 486386"/>
                    <a:gd name="connsiteY33" fmla="*/ 1241425 h 1289050"/>
                    <a:gd name="connsiteX34" fmla="*/ 473686 w 486386"/>
                    <a:gd name="connsiteY34" fmla="*/ 1238250 h 1289050"/>
                    <a:gd name="connsiteX35" fmla="*/ 486386 w 486386"/>
                    <a:gd name="connsiteY35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229211 w 486386"/>
                    <a:gd name="connsiteY15" fmla="*/ 984250 h 1289050"/>
                    <a:gd name="connsiteX16" fmla="*/ 213336 w 486386"/>
                    <a:gd name="connsiteY16" fmla="*/ 1035050 h 1289050"/>
                    <a:gd name="connsiteX17" fmla="*/ 187936 w 486386"/>
                    <a:gd name="connsiteY17" fmla="*/ 1133475 h 1289050"/>
                    <a:gd name="connsiteX18" fmla="*/ 184761 w 486386"/>
                    <a:gd name="connsiteY18" fmla="*/ 1152525 h 1289050"/>
                    <a:gd name="connsiteX19" fmla="*/ 187936 w 486386"/>
                    <a:gd name="connsiteY19" fmla="*/ 1174750 h 1289050"/>
                    <a:gd name="connsiteX20" fmla="*/ 213336 w 486386"/>
                    <a:gd name="connsiteY20" fmla="*/ 1196975 h 1289050"/>
                    <a:gd name="connsiteX21" fmla="*/ 254611 w 486386"/>
                    <a:gd name="connsiteY21" fmla="*/ 1225550 h 1289050"/>
                    <a:gd name="connsiteX22" fmla="*/ 270486 w 486386"/>
                    <a:gd name="connsiteY22" fmla="*/ 1241425 h 1289050"/>
                    <a:gd name="connsiteX23" fmla="*/ 283186 w 486386"/>
                    <a:gd name="connsiteY23" fmla="*/ 1250950 h 1289050"/>
                    <a:gd name="connsiteX24" fmla="*/ 299061 w 486386"/>
                    <a:gd name="connsiteY24" fmla="*/ 1285875 h 1289050"/>
                    <a:gd name="connsiteX25" fmla="*/ 308586 w 486386"/>
                    <a:gd name="connsiteY25" fmla="*/ 1289050 h 1289050"/>
                    <a:gd name="connsiteX26" fmla="*/ 349861 w 486386"/>
                    <a:gd name="connsiteY26" fmla="*/ 1276350 h 1289050"/>
                    <a:gd name="connsiteX27" fmla="*/ 365736 w 486386"/>
                    <a:gd name="connsiteY27" fmla="*/ 1266825 h 1289050"/>
                    <a:gd name="connsiteX28" fmla="*/ 381611 w 486386"/>
                    <a:gd name="connsiteY28" fmla="*/ 1263650 h 1289050"/>
                    <a:gd name="connsiteX29" fmla="*/ 394311 w 486386"/>
                    <a:gd name="connsiteY29" fmla="*/ 1260475 h 1289050"/>
                    <a:gd name="connsiteX30" fmla="*/ 407011 w 486386"/>
                    <a:gd name="connsiteY30" fmla="*/ 1254125 h 1289050"/>
                    <a:gd name="connsiteX31" fmla="*/ 435586 w 486386"/>
                    <a:gd name="connsiteY31" fmla="*/ 1247775 h 1289050"/>
                    <a:gd name="connsiteX32" fmla="*/ 460986 w 486386"/>
                    <a:gd name="connsiteY32" fmla="*/ 1241425 h 1289050"/>
                    <a:gd name="connsiteX33" fmla="*/ 473686 w 486386"/>
                    <a:gd name="connsiteY33" fmla="*/ 1238250 h 1289050"/>
                    <a:gd name="connsiteX34" fmla="*/ 486386 w 486386"/>
                    <a:gd name="connsiteY34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229211 w 486386"/>
                    <a:gd name="connsiteY15" fmla="*/ 984250 h 1289050"/>
                    <a:gd name="connsiteX16" fmla="*/ 213336 w 486386"/>
                    <a:gd name="connsiteY16" fmla="*/ 1035050 h 1289050"/>
                    <a:gd name="connsiteX17" fmla="*/ 187936 w 486386"/>
                    <a:gd name="connsiteY17" fmla="*/ 1133475 h 1289050"/>
                    <a:gd name="connsiteX18" fmla="*/ 184761 w 486386"/>
                    <a:gd name="connsiteY18" fmla="*/ 1152525 h 1289050"/>
                    <a:gd name="connsiteX19" fmla="*/ 187936 w 486386"/>
                    <a:gd name="connsiteY19" fmla="*/ 1174750 h 1289050"/>
                    <a:gd name="connsiteX20" fmla="*/ 254611 w 486386"/>
                    <a:gd name="connsiteY20" fmla="*/ 1225550 h 1289050"/>
                    <a:gd name="connsiteX21" fmla="*/ 270486 w 486386"/>
                    <a:gd name="connsiteY21" fmla="*/ 1241425 h 1289050"/>
                    <a:gd name="connsiteX22" fmla="*/ 283186 w 486386"/>
                    <a:gd name="connsiteY22" fmla="*/ 1250950 h 1289050"/>
                    <a:gd name="connsiteX23" fmla="*/ 299061 w 486386"/>
                    <a:gd name="connsiteY23" fmla="*/ 1285875 h 1289050"/>
                    <a:gd name="connsiteX24" fmla="*/ 308586 w 486386"/>
                    <a:gd name="connsiteY24" fmla="*/ 1289050 h 1289050"/>
                    <a:gd name="connsiteX25" fmla="*/ 349861 w 486386"/>
                    <a:gd name="connsiteY25" fmla="*/ 1276350 h 1289050"/>
                    <a:gd name="connsiteX26" fmla="*/ 365736 w 486386"/>
                    <a:gd name="connsiteY26" fmla="*/ 1266825 h 1289050"/>
                    <a:gd name="connsiteX27" fmla="*/ 381611 w 486386"/>
                    <a:gd name="connsiteY27" fmla="*/ 1263650 h 1289050"/>
                    <a:gd name="connsiteX28" fmla="*/ 394311 w 486386"/>
                    <a:gd name="connsiteY28" fmla="*/ 1260475 h 1289050"/>
                    <a:gd name="connsiteX29" fmla="*/ 407011 w 486386"/>
                    <a:gd name="connsiteY29" fmla="*/ 1254125 h 1289050"/>
                    <a:gd name="connsiteX30" fmla="*/ 435586 w 486386"/>
                    <a:gd name="connsiteY30" fmla="*/ 1247775 h 1289050"/>
                    <a:gd name="connsiteX31" fmla="*/ 460986 w 486386"/>
                    <a:gd name="connsiteY31" fmla="*/ 1241425 h 1289050"/>
                    <a:gd name="connsiteX32" fmla="*/ 473686 w 486386"/>
                    <a:gd name="connsiteY32" fmla="*/ 1238250 h 1289050"/>
                    <a:gd name="connsiteX33" fmla="*/ 486386 w 486386"/>
                    <a:gd name="connsiteY33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229211 w 486386"/>
                    <a:gd name="connsiteY15" fmla="*/ 984250 h 1289050"/>
                    <a:gd name="connsiteX16" fmla="*/ 213336 w 486386"/>
                    <a:gd name="connsiteY16" fmla="*/ 1035050 h 1289050"/>
                    <a:gd name="connsiteX17" fmla="*/ 187936 w 486386"/>
                    <a:gd name="connsiteY17" fmla="*/ 1133475 h 1289050"/>
                    <a:gd name="connsiteX18" fmla="*/ 184761 w 486386"/>
                    <a:gd name="connsiteY18" fmla="*/ 1152525 h 1289050"/>
                    <a:gd name="connsiteX19" fmla="*/ 187936 w 486386"/>
                    <a:gd name="connsiteY19" fmla="*/ 1174750 h 1289050"/>
                    <a:gd name="connsiteX20" fmla="*/ 254611 w 486386"/>
                    <a:gd name="connsiteY20" fmla="*/ 1225550 h 1289050"/>
                    <a:gd name="connsiteX21" fmla="*/ 283186 w 486386"/>
                    <a:gd name="connsiteY21" fmla="*/ 1250950 h 1289050"/>
                    <a:gd name="connsiteX22" fmla="*/ 299061 w 486386"/>
                    <a:gd name="connsiteY22" fmla="*/ 1285875 h 1289050"/>
                    <a:gd name="connsiteX23" fmla="*/ 308586 w 486386"/>
                    <a:gd name="connsiteY23" fmla="*/ 1289050 h 1289050"/>
                    <a:gd name="connsiteX24" fmla="*/ 349861 w 486386"/>
                    <a:gd name="connsiteY24" fmla="*/ 1276350 h 1289050"/>
                    <a:gd name="connsiteX25" fmla="*/ 365736 w 486386"/>
                    <a:gd name="connsiteY25" fmla="*/ 1266825 h 1289050"/>
                    <a:gd name="connsiteX26" fmla="*/ 381611 w 486386"/>
                    <a:gd name="connsiteY26" fmla="*/ 1263650 h 1289050"/>
                    <a:gd name="connsiteX27" fmla="*/ 394311 w 486386"/>
                    <a:gd name="connsiteY27" fmla="*/ 1260475 h 1289050"/>
                    <a:gd name="connsiteX28" fmla="*/ 407011 w 486386"/>
                    <a:gd name="connsiteY28" fmla="*/ 1254125 h 1289050"/>
                    <a:gd name="connsiteX29" fmla="*/ 435586 w 486386"/>
                    <a:gd name="connsiteY29" fmla="*/ 1247775 h 1289050"/>
                    <a:gd name="connsiteX30" fmla="*/ 460986 w 486386"/>
                    <a:gd name="connsiteY30" fmla="*/ 1241425 h 1289050"/>
                    <a:gd name="connsiteX31" fmla="*/ 473686 w 486386"/>
                    <a:gd name="connsiteY31" fmla="*/ 1238250 h 1289050"/>
                    <a:gd name="connsiteX32" fmla="*/ 486386 w 486386"/>
                    <a:gd name="connsiteY32" fmla="*/ 1235075 h 1289050"/>
                    <a:gd name="connsiteX0" fmla="*/ 302236 w 486386"/>
                    <a:gd name="connsiteY0" fmla="*/ 0 h 1289050"/>
                    <a:gd name="connsiteX1" fmla="*/ 172061 w 486386"/>
                    <a:gd name="connsiteY1" fmla="*/ 136525 h 1289050"/>
                    <a:gd name="connsiteX2" fmla="*/ 219686 w 486386"/>
                    <a:gd name="connsiteY2" fmla="*/ 295275 h 1289050"/>
                    <a:gd name="connsiteX3" fmla="*/ 226036 w 486386"/>
                    <a:gd name="connsiteY3" fmla="*/ 317500 h 1289050"/>
                    <a:gd name="connsiteX4" fmla="*/ 188730 w 486386"/>
                    <a:gd name="connsiteY4" fmla="*/ 386556 h 1289050"/>
                    <a:gd name="connsiteX5" fmla="*/ 168886 w 486386"/>
                    <a:gd name="connsiteY5" fmla="*/ 463550 h 1289050"/>
                    <a:gd name="connsiteX6" fmla="*/ 159361 w 486386"/>
                    <a:gd name="connsiteY6" fmla="*/ 466725 h 1289050"/>
                    <a:gd name="connsiteX7" fmla="*/ 133961 w 486386"/>
                    <a:gd name="connsiteY7" fmla="*/ 479425 h 1289050"/>
                    <a:gd name="connsiteX8" fmla="*/ 6961 w 486386"/>
                    <a:gd name="connsiteY8" fmla="*/ 542925 h 1289050"/>
                    <a:gd name="connsiteX9" fmla="*/ 611 w 486386"/>
                    <a:gd name="connsiteY9" fmla="*/ 628650 h 1289050"/>
                    <a:gd name="connsiteX10" fmla="*/ 611 w 486386"/>
                    <a:gd name="connsiteY10" fmla="*/ 736600 h 1289050"/>
                    <a:gd name="connsiteX11" fmla="*/ 3786 w 486386"/>
                    <a:gd name="connsiteY11" fmla="*/ 746125 h 1289050"/>
                    <a:gd name="connsiteX12" fmla="*/ 16486 w 486386"/>
                    <a:gd name="connsiteY12" fmla="*/ 755650 h 1289050"/>
                    <a:gd name="connsiteX13" fmla="*/ 133961 w 486386"/>
                    <a:gd name="connsiteY13" fmla="*/ 803275 h 1289050"/>
                    <a:gd name="connsiteX14" fmla="*/ 162536 w 486386"/>
                    <a:gd name="connsiteY14" fmla="*/ 838200 h 1289050"/>
                    <a:gd name="connsiteX15" fmla="*/ 229211 w 486386"/>
                    <a:gd name="connsiteY15" fmla="*/ 984250 h 1289050"/>
                    <a:gd name="connsiteX16" fmla="*/ 213336 w 486386"/>
                    <a:gd name="connsiteY16" fmla="*/ 1035050 h 1289050"/>
                    <a:gd name="connsiteX17" fmla="*/ 187936 w 486386"/>
                    <a:gd name="connsiteY17" fmla="*/ 1133475 h 1289050"/>
                    <a:gd name="connsiteX18" fmla="*/ 184761 w 486386"/>
                    <a:gd name="connsiteY18" fmla="*/ 1152525 h 1289050"/>
                    <a:gd name="connsiteX19" fmla="*/ 187936 w 486386"/>
                    <a:gd name="connsiteY19" fmla="*/ 1174750 h 1289050"/>
                    <a:gd name="connsiteX20" fmla="*/ 283186 w 486386"/>
                    <a:gd name="connsiteY20" fmla="*/ 1250950 h 1289050"/>
                    <a:gd name="connsiteX21" fmla="*/ 299061 w 486386"/>
                    <a:gd name="connsiteY21" fmla="*/ 1285875 h 1289050"/>
                    <a:gd name="connsiteX22" fmla="*/ 308586 w 486386"/>
                    <a:gd name="connsiteY22" fmla="*/ 1289050 h 1289050"/>
                    <a:gd name="connsiteX23" fmla="*/ 349861 w 486386"/>
                    <a:gd name="connsiteY23" fmla="*/ 1276350 h 1289050"/>
                    <a:gd name="connsiteX24" fmla="*/ 365736 w 486386"/>
                    <a:gd name="connsiteY24" fmla="*/ 1266825 h 1289050"/>
                    <a:gd name="connsiteX25" fmla="*/ 381611 w 486386"/>
                    <a:gd name="connsiteY25" fmla="*/ 1263650 h 1289050"/>
                    <a:gd name="connsiteX26" fmla="*/ 394311 w 486386"/>
                    <a:gd name="connsiteY26" fmla="*/ 1260475 h 1289050"/>
                    <a:gd name="connsiteX27" fmla="*/ 407011 w 486386"/>
                    <a:gd name="connsiteY27" fmla="*/ 1254125 h 1289050"/>
                    <a:gd name="connsiteX28" fmla="*/ 435586 w 486386"/>
                    <a:gd name="connsiteY28" fmla="*/ 1247775 h 1289050"/>
                    <a:gd name="connsiteX29" fmla="*/ 460986 w 486386"/>
                    <a:gd name="connsiteY29" fmla="*/ 1241425 h 1289050"/>
                    <a:gd name="connsiteX30" fmla="*/ 473686 w 486386"/>
                    <a:gd name="connsiteY30" fmla="*/ 1238250 h 1289050"/>
                    <a:gd name="connsiteX31" fmla="*/ 486386 w 486386"/>
                    <a:gd name="connsiteY31" fmla="*/ 1235075 h 1289050"/>
                    <a:gd name="connsiteX0" fmla="*/ 302236 w 486386"/>
                    <a:gd name="connsiteY0" fmla="*/ 0 h 1294977"/>
                    <a:gd name="connsiteX1" fmla="*/ 172061 w 486386"/>
                    <a:gd name="connsiteY1" fmla="*/ 136525 h 1294977"/>
                    <a:gd name="connsiteX2" fmla="*/ 219686 w 486386"/>
                    <a:gd name="connsiteY2" fmla="*/ 295275 h 1294977"/>
                    <a:gd name="connsiteX3" fmla="*/ 226036 w 486386"/>
                    <a:gd name="connsiteY3" fmla="*/ 317500 h 1294977"/>
                    <a:gd name="connsiteX4" fmla="*/ 188730 w 486386"/>
                    <a:gd name="connsiteY4" fmla="*/ 386556 h 1294977"/>
                    <a:gd name="connsiteX5" fmla="*/ 168886 w 486386"/>
                    <a:gd name="connsiteY5" fmla="*/ 463550 h 1294977"/>
                    <a:gd name="connsiteX6" fmla="*/ 159361 w 486386"/>
                    <a:gd name="connsiteY6" fmla="*/ 466725 h 1294977"/>
                    <a:gd name="connsiteX7" fmla="*/ 133961 w 486386"/>
                    <a:gd name="connsiteY7" fmla="*/ 479425 h 1294977"/>
                    <a:gd name="connsiteX8" fmla="*/ 6961 w 486386"/>
                    <a:gd name="connsiteY8" fmla="*/ 542925 h 1294977"/>
                    <a:gd name="connsiteX9" fmla="*/ 611 w 486386"/>
                    <a:gd name="connsiteY9" fmla="*/ 628650 h 1294977"/>
                    <a:gd name="connsiteX10" fmla="*/ 611 w 486386"/>
                    <a:gd name="connsiteY10" fmla="*/ 736600 h 1294977"/>
                    <a:gd name="connsiteX11" fmla="*/ 3786 w 486386"/>
                    <a:gd name="connsiteY11" fmla="*/ 746125 h 1294977"/>
                    <a:gd name="connsiteX12" fmla="*/ 16486 w 486386"/>
                    <a:gd name="connsiteY12" fmla="*/ 755650 h 1294977"/>
                    <a:gd name="connsiteX13" fmla="*/ 133961 w 486386"/>
                    <a:gd name="connsiteY13" fmla="*/ 803275 h 1294977"/>
                    <a:gd name="connsiteX14" fmla="*/ 162536 w 486386"/>
                    <a:gd name="connsiteY14" fmla="*/ 838200 h 1294977"/>
                    <a:gd name="connsiteX15" fmla="*/ 229211 w 486386"/>
                    <a:gd name="connsiteY15" fmla="*/ 984250 h 1294977"/>
                    <a:gd name="connsiteX16" fmla="*/ 213336 w 486386"/>
                    <a:gd name="connsiteY16" fmla="*/ 1035050 h 1294977"/>
                    <a:gd name="connsiteX17" fmla="*/ 187936 w 486386"/>
                    <a:gd name="connsiteY17" fmla="*/ 1133475 h 1294977"/>
                    <a:gd name="connsiteX18" fmla="*/ 184761 w 486386"/>
                    <a:gd name="connsiteY18" fmla="*/ 1152525 h 1294977"/>
                    <a:gd name="connsiteX19" fmla="*/ 187936 w 486386"/>
                    <a:gd name="connsiteY19" fmla="*/ 1174750 h 1294977"/>
                    <a:gd name="connsiteX20" fmla="*/ 299061 w 486386"/>
                    <a:gd name="connsiteY20" fmla="*/ 1285875 h 1294977"/>
                    <a:gd name="connsiteX21" fmla="*/ 308586 w 486386"/>
                    <a:gd name="connsiteY21" fmla="*/ 1289050 h 1294977"/>
                    <a:gd name="connsiteX22" fmla="*/ 349861 w 486386"/>
                    <a:gd name="connsiteY22" fmla="*/ 1276350 h 1294977"/>
                    <a:gd name="connsiteX23" fmla="*/ 365736 w 486386"/>
                    <a:gd name="connsiteY23" fmla="*/ 1266825 h 1294977"/>
                    <a:gd name="connsiteX24" fmla="*/ 381611 w 486386"/>
                    <a:gd name="connsiteY24" fmla="*/ 1263650 h 1294977"/>
                    <a:gd name="connsiteX25" fmla="*/ 394311 w 486386"/>
                    <a:gd name="connsiteY25" fmla="*/ 1260475 h 1294977"/>
                    <a:gd name="connsiteX26" fmla="*/ 407011 w 486386"/>
                    <a:gd name="connsiteY26" fmla="*/ 1254125 h 1294977"/>
                    <a:gd name="connsiteX27" fmla="*/ 435586 w 486386"/>
                    <a:gd name="connsiteY27" fmla="*/ 1247775 h 1294977"/>
                    <a:gd name="connsiteX28" fmla="*/ 460986 w 486386"/>
                    <a:gd name="connsiteY28" fmla="*/ 1241425 h 1294977"/>
                    <a:gd name="connsiteX29" fmla="*/ 473686 w 486386"/>
                    <a:gd name="connsiteY29" fmla="*/ 1238250 h 1294977"/>
                    <a:gd name="connsiteX30" fmla="*/ 486386 w 486386"/>
                    <a:gd name="connsiteY30" fmla="*/ 1235075 h 1294977"/>
                    <a:gd name="connsiteX0" fmla="*/ 302236 w 486386"/>
                    <a:gd name="connsiteY0" fmla="*/ 0 h 1294977"/>
                    <a:gd name="connsiteX1" fmla="*/ 172061 w 486386"/>
                    <a:gd name="connsiteY1" fmla="*/ 136525 h 1294977"/>
                    <a:gd name="connsiteX2" fmla="*/ 219686 w 486386"/>
                    <a:gd name="connsiteY2" fmla="*/ 295275 h 1294977"/>
                    <a:gd name="connsiteX3" fmla="*/ 226036 w 486386"/>
                    <a:gd name="connsiteY3" fmla="*/ 317500 h 1294977"/>
                    <a:gd name="connsiteX4" fmla="*/ 188730 w 486386"/>
                    <a:gd name="connsiteY4" fmla="*/ 386556 h 1294977"/>
                    <a:gd name="connsiteX5" fmla="*/ 168886 w 486386"/>
                    <a:gd name="connsiteY5" fmla="*/ 463550 h 1294977"/>
                    <a:gd name="connsiteX6" fmla="*/ 159361 w 486386"/>
                    <a:gd name="connsiteY6" fmla="*/ 466725 h 1294977"/>
                    <a:gd name="connsiteX7" fmla="*/ 133961 w 486386"/>
                    <a:gd name="connsiteY7" fmla="*/ 479425 h 1294977"/>
                    <a:gd name="connsiteX8" fmla="*/ 6961 w 486386"/>
                    <a:gd name="connsiteY8" fmla="*/ 542925 h 1294977"/>
                    <a:gd name="connsiteX9" fmla="*/ 611 w 486386"/>
                    <a:gd name="connsiteY9" fmla="*/ 628650 h 1294977"/>
                    <a:gd name="connsiteX10" fmla="*/ 611 w 486386"/>
                    <a:gd name="connsiteY10" fmla="*/ 736600 h 1294977"/>
                    <a:gd name="connsiteX11" fmla="*/ 3786 w 486386"/>
                    <a:gd name="connsiteY11" fmla="*/ 746125 h 1294977"/>
                    <a:gd name="connsiteX12" fmla="*/ 16486 w 486386"/>
                    <a:gd name="connsiteY12" fmla="*/ 755650 h 1294977"/>
                    <a:gd name="connsiteX13" fmla="*/ 133961 w 486386"/>
                    <a:gd name="connsiteY13" fmla="*/ 803275 h 1294977"/>
                    <a:gd name="connsiteX14" fmla="*/ 162536 w 486386"/>
                    <a:gd name="connsiteY14" fmla="*/ 838200 h 1294977"/>
                    <a:gd name="connsiteX15" fmla="*/ 229211 w 486386"/>
                    <a:gd name="connsiteY15" fmla="*/ 984250 h 1294977"/>
                    <a:gd name="connsiteX16" fmla="*/ 213336 w 486386"/>
                    <a:gd name="connsiteY16" fmla="*/ 1035050 h 1294977"/>
                    <a:gd name="connsiteX17" fmla="*/ 187936 w 486386"/>
                    <a:gd name="connsiteY17" fmla="*/ 1133475 h 1294977"/>
                    <a:gd name="connsiteX18" fmla="*/ 184761 w 486386"/>
                    <a:gd name="connsiteY18" fmla="*/ 1152525 h 1294977"/>
                    <a:gd name="connsiteX19" fmla="*/ 187936 w 486386"/>
                    <a:gd name="connsiteY19" fmla="*/ 1174750 h 1294977"/>
                    <a:gd name="connsiteX20" fmla="*/ 299061 w 486386"/>
                    <a:gd name="connsiteY20" fmla="*/ 1285875 h 1294977"/>
                    <a:gd name="connsiteX21" fmla="*/ 308586 w 486386"/>
                    <a:gd name="connsiteY21" fmla="*/ 1289050 h 1294977"/>
                    <a:gd name="connsiteX22" fmla="*/ 349861 w 486386"/>
                    <a:gd name="connsiteY22" fmla="*/ 1276350 h 1294977"/>
                    <a:gd name="connsiteX23" fmla="*/ 365736 w 486386"/>
                    <a:gd name="connsiteY23" fmla="*/ 1266825 h 1294977"/>
                    <a:gd name="connsiteX24" fmla="*/ 394311 w 486386"/>
                    <a:gd name="connsiteY24" fmla="*/ 1260475 h 1294977"/>
                    <a:gd name="connsiteX25" fmla="*/ 407011 w 486386"/>
                    <a:gd name="connsiteY25" fmla="*/ 1254125 h 1294977"/>
                    <a:gd name="connsiteX26" fmla="*/ 435586 w 486386"/>
                    <a:gd name="connsiteY26" fmla="*/ 1247775 h 1294977"/>
                    <a:gd name="connsiteX27" fmla="*/ 460986 w 486386"/>
                    <a:gd name="connsiteY27" fmla="*/ 1241425 h 1294977"/>
                    <a:gd name="connsiteX28" fmla="*/ 473686 w 486386"/>
                    <a:gd name="connsiteY28" fmla="*/ 1238250 h 1294977"/>
                    <a:gd name="connsiteX29" fmla="*/ 486386 w 486386"/>
                    <a:gd name="connsiteY29" fmla="*/ 1235075 h 1294977"/>
                    <a:gd name="connsiteX0" fmla="*/ 302236 w 486386"/>
                    <a:gd name="connsiteY0" fmla="*/ 0 h 1294977"/>
                    <a:gd name="connsiteX1" fmla="*/ 172061 w 486386"/>
                    <a:gd name="connsiteY1" fmla="*/ 136525 h 1294977"/>
                    <a:gd name="connsiteX2" fmla="*/ 219686 w 486386"/>
                    <a:gd name="connsiteY2" fmla="*/ 295275 h 1294977"/>
                    <a:gd name="connsiteX3" fmla="*/ 226036 w 486386"/>
                    <a:gd name="connsiteY3" fmla="*/ 317500 h 1294977"/>
                    <a:gd name="connsiteX4" fmla="*/ 188730 w 486386"/>
                    <a:gd name="connsiteY4" fmla="*/ 386556 h 1294977"/>
                    <a:gd name="connsiteX5" fmla="*/ 168886 w 486386"/>
                    <a:gd name="connsiteY5" fmla="*/ 463550 h 1294977"/>
                    <a:gd name="connsiteX6" fmla="*/ 159361 w 486386"/>
                    <a:gd name="connsiteY6" fmla="*/ 466725 h 1294977"/>
                    <a:gd name="connsiteX7" fmla="*/ 133961 w 486386"/>
                    <a:gd name="connsiteY7" fmla="*/ 479425 h 1294977"/>
                    <a:gd name="connsiteX8" fmla="*/ 6961 w 486386"/>
                    <a:gd name="connsiteY8" fmla="*/ 542925 h 1294977"/>
                    <a:gd name="connsiteX9" fmla="*/ 611 w 486386"/>
                    <a:gd name="connsiteY9" fmla="*/ 628650 h 1294977"/>
                    <a:gd name="connsiteX10" fmla="*/ 611 w 486386"/>
                    <a:gd name="connsiteY10" fmla="*/ 736600 h 1294977"/>
                    <a:gd name="connsiteX11" fmla="*/ 3786 w 486386"/>
                    <a:gd name="connsiteY11" fmla="*/ 746125 h 1294977"/>
                    <a:gd name="connsiteX12" fmla="*/ 16486 w 486386"/>
                    <a:gd name="connsiteY12" fmla="*/ 755650 h 1294977"/>
                    <a:gd name="connsiteX13" fmla="*/ 133961 w 486386"/>
                    <a:gd name="connsiteY13" fmla="*/ 803275 h 1294977"/>
                    <a:gd name="connsiteX14" fmla="*/ 162536 w 486386"/>
                    <a:gd name="connsiteY14" fmla="*/ 838200 h 1294977"/>
                    <a:gd name="connsiteX15" fmla="*/ 229211 w 486386"/>
                    <a:gd name="connsiteY15" fmla="*/ 984250 h 1294977"/>
                    <a:gd name="connsiteX16" fmla="*/ 213336 w 486386"/>
                    <a:gd name="connsiteY16" fmla="*/ 1035050 h 1294977"/>
                    <a:gd name="connsiteX17" fmla="*/ 187936 w 486386"/>
                    <a:gd name="connsiteY17" fmla="*/ 1133475 h 1294977"/>
                    <a:gd name="connsiteX18" fmla="*/ 184761 w 486386"/>
                    <a:gd name="connsiteY18" fmla="*/ 1152525 h 1294977"/>
                    <a:gd name="connsiteX19" fmla="*/ 187936 w 486386"/>
                    <a:gd name="connsiteY19" fmla="*/ 1174750 h 1294977"/>
                    <a:gd name="connsiteX20" fmla="*/ 299061 w 486386"/>
                    <a:gd name="connsiteY20" fmla="*/ 1285875 h 1294977"/>
                    <a:gd name="connsiteX21" fmla="*/ 308586 w 486386"/>
                    <a:gd name="connsiteY21" fmla="*/ 1289050 h 1294977"/>
                    <a:gd name="connsiteX22" fmla="*/ 349861 w 486386"/>
                    <a:gd name="connsiteY22" fmla="*/ 1276350 h 1294977"/>
                    <a:gd name="connsiteX23" fmla="*/ 365736 w 486386"/>
                    <a:gd name="connsiteY23" fmla="*/ 1266825 h 1294977"/>
                    <a:gd name="connsiteX24" fmla="*/ 407011 w 486386"/>
                    <a:gd name="connsiteY24" fmla="*/ 1254125 h 1294977"/>
                    <a:gd name="connsiteX25" fmla="*/ 435586 w 486386"/>
                    <a:gd name="connsiteY25" fmla="*/ 1247775 h 1294977"/>
                    <a:gd name="connsiteX26" fmla="*/ 460986 w 486386"/>
                    <a:gd name="connsiteY26" fmla="*/ 1241425 h 1294977"/>
                    <a:gd name="connsiteX27" fmla="*/ 473686 w 486386"/>
                    <a:gd name="connsiteY27" fmla="*/ 1238250 h 1294977"/>
                    <a:gd name="connsiteX28" fmla="*/ 486386 w 486386"/>
                    <a:gd name="connsiteY28" fmla="*/ 1235075 h 1294977"/>
                    <a:gd name="connsiteX0" fmla="*/ 302236 w 486386"/>
                    <a:gd name="connsiteY0" fmla="*/ 0 h 1294977"/>
                    <a:gd name="connsiteX1" fmla="*/ 172061 w 486386"/>
                    <a:gd name="connsiteY1" fmla="*/ 136525 h 1294977"/>
                    <a:gd name="connsiteX2" fmla="*/ 219686 w 486386"/>
                    <a:gd name="connsiteY2" fmla="*/ 295275 h 1294977"/>
                    <a:gd name="connsiteX3" fmla="*/ 226036 w 486386"/>
                    <a:gd name="connsiteY3" fmla="*/ 317500 h 1294977"/>
                    <a:gd name="connsiteX4" fmla="*/ 188730 w 486386"/>
                    <a:gd name="connsiteY4" fmla="*/ 386556 h 1294977"/>
                    <a:gd name="connsiteX5" fmla="*/ 168886 w 486386"/>
                    <a:gd name="connsiteY5" fmla="*/ 463550 h 1294977"/>
                    <a:gd name="connsiteX6" fmla="*/ 159361 w 486386"/>
                    <a:gd name="connsiteY6" fmla="*/ 466725 h 1294977"/>
                    <a:gd name="connsiteX7" fmla="*/ 133961 w 486386"/>
                    <a:gd name="connsiteY7" fmla="*/ 479425 h 1294977"/>
                    <a:gd name="connsiteX8" fmla="*/ 6961 w 486386"/>
                    <a:gd name="connsiteY8" fmla="*/ 542925 h 1294977"/>
                    <a:gd name="connsiteX9" fmla="*/ 611 w 486386"/>
                    <a:gd name="connsiteY9" fmla="*/ 628650 h 1294977"/>
                    <a:gd name="connsiteX10" fmla="*/ 611 w 486386"/>
                    <a:gd name="connsiteY10" fmla="*/ 736600 h 1294977"/>
                    <a:gd name="connsiteX11" fmla="*/ 3786 w 486386"/>
                    <a:gd name="connsiteY11" fmla="*/ 746125 h 1294977"/>
                    <a:gd name="connsiteX12" fmla="*/ 16486 w 486386"/>
                    <a:gd name="connsiteY12" fmla="*/ 755650 h 1294977"/>
                    <a:gd name="connsiteX13" fmla="*/ 133961 w 486386"/>
                    <a:gd name="connsiteY13" fmla="*/ 803275 h 1294977"/>
                    <a:gd name="connsiteX14" fmla="*/ 162536 w 486386"/>
                    <a:gd name="connsiteY14" fmla="*/ 838200 h 1294977"/>
                    <a:gd name="connsiteX15" fmla="*/ 229211 w 486386"/>
                    <a:gd name="connsiteY15" fmla="*/ 984250 h 1294977"/>
                    <a:gd name="connsiteX16" fmla="*/ 213336 w 486386"/>
                    <a:gd name="connsiteY16" fmla="*/ 1035050 h 1294977"/>
                    <a:gd name="connsiteX17" fmla="*/ 187936 w 486386"/>
                    <a:gd name="connsiteY17" fmla="*/ 1133475 h 1294977"/>
                    <a:gd name="connsiteX18" fmla="*/ 184761 w 486386"/>
                    <a:gd name="connsiteY18" fmla="*/ 1152525 h 1294977"/>
                    <a:gd name="connsiteX19" fmla="*/ 187936 w 486386"/>
                    <a:gd name="connsiteY19" fmla="*/ 1174750 h 1294977"/>
                    <a:gd name="connsiteX20" fmla="*/ 299061 w 486386"/>
                    <a:gd name="connsiteY20" fmla="*/ 1285875 h 1294977"/>
                    <a:gd name="connsiteX21" fmla="*/ 308586 w 486386"/>
                    <a:gd name="connsiteY21" fmla="*/ 1289050 h 1294977"/>
                    <a:gd name="connsiteX22" fmla="*/ 349861 w 486386"/>
                    <a:gd name="connsiteY22" fmla="*/ 1276350 h 1294977"/>
                    <a:gd name="connsiteX23" fmla="*/ 407011 w 486386"/>
                    <a:gd name="connsiteY23" fmla="*/ 1254125 h 1294977"/>
                    <a:gd name="connsiteX24" fmla="*/ 435586 w 486386"/>
                    <a:gd name="connsiteY24" fmla="*/ 1247775 h 1294977"/>
                    <a:gd name="connsiteX25" fmla="*/ 460986 w 486386"/>
                    <a:gd name="connsiteY25" fmla="*/ 1241425 h 1294977"/>
                    <a:gd name="connsiteX26" fmla="*/ 473686 w 486386"/>
                    <a:gd name="connsiteY26" fmla="*/ 1238250 h 1294977"/>
                    <a:gd name="connsiteX27" fmla="*/ 486386 w 486386"/>
                    <a:gd name="connsiteY27" fmla="*/ 1235075 h 1294977"/>
                    <a:gd name="connsiteX0" fmla="*/ 302236 w 486386"/>
                    <a:gd name="connsiteY0" fmla="*/ 0 h 1294977"/>
                    <a:gd name="connsiteX1" fmla="*/ 172061 w 486386"/>
                    <a:gd name="connsiteY1" fmla="*/ 136525 h 1294977"/>
                    <a:gd name="connsiteX2" fmla="*/ 219686 w 486386"/>
                    <a:gd name="connsiteY2" fmla="*/ 295275 h 1294977"/>
                    <a:gd name="connsiteX3" fmla="*/ 226036 w 486386"/>
                    <a:gd name="connsiteY3" fmla="*/ 317500 h 1294977"/>
                    <a:gd name="connsiteX4" fmla="*/ 188730 w 486386"/>
                    <a:gd name="connsiteY4" fmla="*/ 386556 h 1294977"/>
                    <a:gd name="connsiteX5" fmla="*/ 168886 w 486386"/>
                    <a:gd name="connsiteY5" fmla="*/ 463550 h 1294977"/>
                    <a:gd name="connsiteX6" fmla="*/ 159361 w 486386"/>
                    <a:gd name="connsiteY6" fmla="*/ 466725 h 1294977"/>
                    <a:gd name="connsiteX7" fmla="*/ 133961 w 486386"/>
                    <a:gd name="connsiteY7" fmla="*/ 479425 h 1294977"/>
                    <a:gd name="connsiteX8" fmla="*/ 6961 w 486386"/>
                    <a:gd name="connsiteY8" fmla="*/ 542925 h 1294977"/>
                    <a:gd name="connsiteX9" fmla="*/ 611 w 486386"/>
                    <a:gd name="connsiteY9" fmla="*/ 628650 h 1294977"/>
                    <a:gd name="connsiteX10" fmla="*/ 611 w 486386"/>
                    <a:gd name="connsiteY10" fmla="*/ 736600 h 1294977"/>
                    <a:gd name="connsiteX11" fmla="*/ 3786 w 486386"/>
                    <a:gd name="connsiteY11" fmla="*/ 746125 h 1294977"/>
                    <a:gd name="connsiteX12" fmla="*/ 16486 w 486386"/>
                    <a:gd name="connsiteY12" fmla="*/ 755650 h 1294977"/>
                    <a:gd name="connsiteX13" fmla="*/ 133961 w 486386"/>
                    <a:gd name="connsiteY13" fmla="*/ 803275 h 1294977"/>
                    <a:gd name="connsiteX14" fmla="*/ 162536 w 486386"/>
                    <a:gd name="connsiteY14" fmla="*/ 838200 h 1294977"/>
                    <a:gd name="connsiteX15" fmla="*/ 229211 w 486386"/>
                    <a:gd name="connsiteY15" fmla="*/ 984250 h 1294977"/>
                    <a:gd name="connsiteX16" fmla="*/ 213336 w 486386"/>
                    <a:gd name="connsiteY16" fmla="*/ 1035050 h 1294977"/>
                    <a:gd name="connsiteX17" fmla="*/ 187936 w 486386"/>
                    <a:gd name="connsiteY17" fmla="*/ 1133475 h 1294977"/>
                    <a:gd name="connsiteX18" fmla="*/ 184761 w 486386"/>
                    <a:gd name="connsiteY18" fmla="*/ 1152525 h 1294977"/>
                    <a:gd name="connsiteX19" fmla="*/ 187936 w 486386"/>
                    <a:gd name="connsiteY19" fmla="*/ 1174750 h 1294977"/>
                    <a:gd name="connsiteX20" fmla="*/ 299061 w 486386"/>
                    <a:gd name="connsiteY20" fmla="*/ 1285875 h 1294977"/>
                    <a:gd name="connsiteX21" fmla="*/ 308586 w 486386"/>
                    <a:gd name="connsiteY21" fmla="*/ 1289050 h 1294977"/>
                    <a:gd name="connsiteX22" fmla="*/ 349861 w 486386"/>
                    <a:gd name="connsiteY22" fmla="*/ 1276350 h 1294977"/>
                    <a:gd name="connsiteX23" fmla="*/ 435586 w 486386"/>
                    <a:gd name="connsiteY23" fmla="*/ 1247775 h 1294977"/>
                    <a:gd name="connsiteX24" fmla="*/ 460986 w 486386"/>
                    <a:gd name="connsiteY24" fmla="*/ 1241425 h 1294977"/>
                    <a:gd name="connsiteX25" fmla="*/ 473686 w 486386"/>
                    <a:gd name="connsiteY25" fmla="*/ 1238250 h 1294977"/>
                    <a:gd name="connsiteX26" fmla="*/ 486386 w 486386"/>
                    <a:gd name="connsiteY26" fmla="*/ 1235075 h 1294977"/>
                    <a:gd name="connsiteX0" fmla="*/ 302236 w 486386"/>
                    <a:gd name="connsiteY0" fmla="*/ 0 h 1294977"/>
                    <a:gd name="connsiteX1" fmla="*/ 172061 w 486386"/>
                    <a:gd name="connsiteY1" fmla="*/ 136525 h 1294977"/>
                    <a:gd name="connsiteX2" fmla="*/ 219686 w 486386"/>
                    <a:gd name="connsiteY2" fmla="*/ 295275 h 1294977"/>
                    <a:gd name="connsiteX3" fmla="*/ 226036 w 486386"/>
                    <a:gd name="connsiteY3" fmla="*/ 317500 h 1294977"/>
                    <a:gd name="connsiteX4" fmla="*/ 188730 w 486386"/>
                    <a:gd name="connsiteY4" fmla="*/ 386556 h 1294977"/>
                    <a:gd name="connsiteX5" fmla="*/ 168886 w 486386"/>
                    <a:gd name="connsiteY5" fmla="*/ 463550 h 1294977"/>
                    <a:gd name="connsiteX6" fmla="*/ 159361 w 486386"/>
                    <a:gd name="connsiteY6" fmla="*/ 466725 h 1294977"/>
                    <a:gd name="connsiteX7" fmla="*/ 133961 w 486386"/>
                    <a:gd name="connsiteY7" fmla="*/ 479425 h 1294977"/>
                    <a:gd name="connsiteX8" fmla="*/ 6961 w 486386"/>
                    <a:gd name="connsiteY8" fmla="*/ 542925 h 1294977"/>
                    <a:gd name="connsiteX9" fmla="*/ 611 w 486386"/>
                    <a:gd name="connsiteY9" fmla="*/ 628650 h 1294977"/>
                    <a:gd name="connsiteX10" fmla="*/ 611 w 486386"/>
                    <a:gd name="connsiteY10" fmla="*/ 736600 h 1294977"/>
                    <a:gd name="connsiteX11" fmla="*/ 3786 w 486386"/>
                    <a:gd name="connsiteY11" fmla="*/ 746125 h 1294977"/>
                    <a:gd name="connsiteX12" fmla="*/ 16486 w 486386"/>
                    <a:gd name="connsiteY12" fmla="*/ 755650 h 1294977"/>
                    <a:gd name="connsiteX13" fmla="*/ 133961 w 486386"/>
                    <a:gd name="connsiteY13" fmla="*/ 803275 h 1294977"/>
                    <a:gd name="connsiteX14" fmla="*/ 162536 w 486386"/>
                    <a:gd name="connsiteY14" fmla="*/ 838200 h 1294977"/>
                    <a:gd name="connsiteX15" fmla="*/ 229211 w 486386"/>
                    <a:gd name="connsiteY15" fmla="*/ 984250 h 1294977"/>
                    <a:gd name="connsiteX16" fmla="*/ 213336 w 486386"/>
                    <a:gd name="connsiteY16" fmla="*/ 1035050 h 1294977"/>
                    <a:gd name="connsiteX17" fmla="*/ 187936 w 486386"/>
                    <a:gd name="connsiteY17" fmla="*/ 1133475 h 1294977"/>
                    <a:gd name="connsiteX18" fmla="*/ 184761 w 486386"/>
                    <a:gd name="connsiteY18" fmla="*/ 1152525 h 1294977"/>
                    <a:gd name="connsiteX19" fmla="*/ 187936 w 486386"/>
                    <a:gd name="connsiteY19" fmla="*/ 1174750 h 1294977"/>
                    <a:gd name="connsiteX20" fmla="*/ 299061 w 486386"/>
                    <a:gd name="connsiteY20" fmla="*/ 1285875 h 1294977"/>
                    <a:gd name="connsiteX21" fmla="*/ 308586 w 486386"/>
                    <a:gd name="connsiteY21" fmla="*/ 1289050 h 1294977"/>
                    <a:gd name="connsiteX22" fmla="*/ 349861 w 486386"/>
                    <a:gd name="connsiteY22" fmla="*/ 1276350 h 1294977"/>
                    <a:gd name="connsiteX23" fmla="*/ 460986 w 486386"/>
                    <a:gd name="connsiteY23" fmla="*/ 1241425 h 1294977"/>
                    <a:gd name="connsiteX24" fmla="*/ 473686 w 486386"/>
                    <a:gd name="connsiteY24" fmla="*/ 1238250 h 1294977"/>
                    <a:gd name="connsiteX25" fmla="*/ 486386 w 486386"/>
                    <a:gd name="connsiteY25" fmla="*/ 1235075 h 1294977"/>
                    <a:gd name="connsiteX0" fmla="*/ 302236 w 486386"/>
                    <a:gd name="connsiteY0" fmla="*/ 0 h 1292689"/>
                    <a:gd name="connsiteX1" fmla="*/ 172061 w 486386"/>
                    <a:gd name="connsiteY1" fmla="*/ 136525 h 1292689"/>
                    <a:gd name="connsiteX2" fmla="*/ 219686 w 486386"/>
                    <a:gd name="connsiteY2" fmla="*/ 295275 h 1292689"/>
                    <a:gd name="connsiteX3" fmla="*/ 226036 w 486386"/>
                    <a:gd name="connsiteY3" fmla="*/ 317500 h 1292689"/>
                    <a:gd name="connsiteX4" fmla="*/ 188730 w 486386"/>
                    <a:gd name="connsiteY4" fmla="*/ 386556 h 1292689"/>
                    <a:gd name="connsiteX5" fmla="*/ 168886 w 486386"/>
                    <a:gd name="connsiteY5" fmla="*/ 463550 h 1292689"/>
                    <a:gd name="connsiteX6" fmla="*/ 159361 w 486386"/>
                    <a:gd name="connsiteY6" fmla="*/ 466725 h 1292689"/>
                    <a:gd name="connsiteX7" fmla="*/ 133961 w 486386"/>
                    <a:gd name="connsiteY7" fmla="*/ 479425 h 1292689"/>
                    <a:gd name="connsiteX8" fmla="*/ 6961 w 486386"/>
                    <a:gd name="connsiteY8" fmla="*/ 542925 h 1292689"/>
                    <a:gd name="connsiteX9" fmla="*/ 611 w 486386"/>
                    <a:gd name="connsiteY9" fmla="*/ 628650 h 1292689"/>
                    <a:gd name="connsiteX10" fmla="*/ 611 w 486386"/>
                    <a:gd name="connsiteY10" fmla="*/ 736600 h 1292689"/>
                    <a:gd name="connsiteX11" fmla="*/ 3786 w 486386"/>
                    <a:gd name="connsiteY11" fmla="*/ 746125 h 1292689"/>
                    <a:gd name="connsiteX12" fmla="*/ 16486 w 486386"/>
                    <a:gd name="connsiteY12" fmla="*/ 755650 h 1292689"/>
                    <a:gd name="connsiteX13" fmla="*/ 133961 w 486386"/>
                    <a:gd name="connsiteY13" fmla="*/ 803275 h 1292689"/>
                    <a:gd name="connsiteX14" fmla="*/ 162536 w 486386"/>
                    <a:gd name="connsiteY14" fmla="*/ 838200 h 1292689"/>
                    <a:gd name="connsiteX15" fmla="*/ 229211 w 486386"/>
                    <a:gd name="connsiteY15" fmla="*/ 984250 h 1292689"/>
                    <a:gd name="connsiteX16" fmla="*/ 213336 w 486386"/>
                    <a:gd name="connsiteY16" fmla="*/ 1035050 h 1292689"/>
                    <a:gd name="connsiteX17" fmla="*/ 187936 w 486386"/>
                    <a:gd name="connsiteY17" fmla="*/ 1133475 h 1292689"/>
                    <a:gd name="connsiteX18" fmla="*/ 184761 w 486386"/>
                    <a:gd name="connsiteY18" fmla="*/ 1152525 h 1292689"/>
                    <a:gd name="connsiteX19" fmla="*/ 187936 w 486386"/>
                    <a:gd name="connsiteY19" fmla="*/ 1174750 h 1292689"/>
                    <a:gd name="connsiteX20" fmla="*/ 299061 w 486386"/>
                    <a:gd name="connsiteY20" fmla="*/ 1285875 h 1292689"/>
                    <a:gd name="connsiteX21" fmla="*/ 349861 w 486386"/>
                    <a:gd name="connsiteY21" fmla="*/ 1276350 h 1292689"/>
                    <a:gd name="connsiteX22" fmla="*/ 460986 w 486386"/>
                    <a:gd name="connsiteY22" fmla="*/ 1241425 h 1292689"/>
                    <a:gd name="connsiteX23" fmla="*/ 473686 w 486386"/>
                    <a:gd name="connsiteY23" fmla="*/ 1238250 h 1292689"/>
                    <a:gd name="connsiteX24" fmla="*/ 486386 w 486386"/>
                    <a:gd name="connsiteY24" fmla="*/ 1235075 h 1292689"/>
                    <a:gd name="connsiteX0" fmla="*/ 302236 w 473686"/>
                    <a:gd name="connsiteY0" fmla="*/ 0 h 1292689"/>
                    <a:gd name="connsiteX1" fmla="*/ 172061 w 473686"/>
                    <a:gd name="connsiteY1" fmla="*/ 136525 h 1292689"/>
                    <a:gd name="connsiteX2" fmla="*/ 219686 w 473686"/>
                    <a:gd name="connsiteY2" fmla="*/ 295275 h 1292689"/>
                    <a:gd name="connsiteX3" fmla="*/ 226036 w 473686"/>
                    <a:gd name="connsiteY3" fmla="*/ 317500 h 1292689"/>
                    <a:gd name="connsiteX4" fmla="*/ 188730 w 473686"/>
                    <a:gd name="connsiteY4" fmla="*/ 386556 h 1292689"/>
                    <a:gd name="connsiteX5" fmla="*/ 168886 w 473686"/>
                    <a:gd name="connsiteY5" fmla="*/ 463550 h 1292689"/>
                    <a:gd name="connsiteX6" fmla="*/ 159361 w 473686"/>
                    <a:gd name="connsiteY6" fmla="*/ 466725 h 1292689"/>
                    <a:gd name="connsiteX7" fmla="*/ 133961 w 473686"/>
                    <a:gd name="connsiteY7" fmla="*/ 479425 h 1292689"/>
                    <a:gd name="connsiteX8" fmla="*/ 6961 w 473686"/>
                    <a:gd name="connsiteY8" fmla="*/ 542925 h 1292689"/>
                    <a:gd name="connsiteX9" fmla="*/ 611 w 473686"/>
                    <a:gd name="connsiteY9" fmla="*/ 628650 h 1292689"/>
                    <a:gd name="connsiteX10" fmla="*/ 611 w 473686"/>
                    <a:gd name="connsiteY10" fmla="*/ 736600 h 1292689"/>
                    <a:gd name="connsiteX11" fmla="*/ 3786 w 473686"/>
                    <a:gd name="connsiteY11" fmla="*/ 746125 h 1292689"/>
                    <a:gd name="connsiteX12" fmla="*/ 16486 w 473686"/>
                    <a:gd name="connsiteY12" fmla="*/ 755650 h 1292689"/>
                    <a:gd name="connsiteX13" fmla="*/ 133961 w 473686"/>
                    <a:gd name="connsiteY13" fmla="*/ 803275 h 1292689"/>
                    <a:gd name="connsiteX14" fmla="*/ 162536 w 473686"/>
                    <a:gd name="connsiteY14" fmla="*/ 838200 h 1292689"/>
                    <a:gd name="connsiteX15" fmla="*/ 229211 w 473686"/>
                    <a:gd name="connsiteY15" fmla="*/ 984250 h 1292689"/>
                    <a:gd name="connsiteX16" fmla="*/ 213336 w 473686"/>
                    <a:gd name="connsiteY16" fmla="*/ 1035050 h 1292689"/>
                    <a:gd name="connsiteX17" fmla="*/ 187936 w 473686"/>
                    <a:gd name="connsiteY17" fmla="*/ 1133475 h 1292689"/>
                    <a:gd name="connsiteX18" fmla="*/ 184761 w 473686"/>
                    <a:gd name="connsiteY18" fmla="*/ 1152525 h 1292689"/>
                    <a:gd name="connsiteX19" fmla="*/ 187936 w 473686"/>
                    <a:gd name="connsiteY19" fmla="*/ 1174750 h 1292689"/>
                    <a:gd name="connsiteX20" fmla="*/ 299061 w 473686"/>
                    <a:gd name="connsiteY20" fmla="*/ 1285875 h 1292689"/>
                    <a:gd name="connsiteX21" fmla="*/ 349861 w 473686"/>
                    <a:gd name="connsiteY21" fmla="*/ 1276350 h 1292689"/>
                    <a:gd name="connsiteX22" fmla="*/ 460986 w 473686"/>
                    <a:gd name="connsiteY22" fmla="*/ 1241425 h 1292689"/>
                    <a:gd name="connsiteX23" fmla="*/ 473686 w 473686"/>
                    <a:gd name="connsiteY23" fmla="*/ 1238250 h 129268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</a:cxnLst>
                  <a:rect l="l" t="t" r="r" b="b"/>
                  <a:pathLst>
                    <a:path w="473686" h="1292689">
                      <a:moveTo>
                        <a:pt x="302236" y="0"/>
                      </a:moveTo>
                      <a:lnTo>
                        <a:pt x="172061" y="136525"/>
                      </a:lnTo>
                      <a:cubicBezTo>
                        <a:pt x="179734" y="188118"/>
                        <a:pt x="210690" y="265113"/>
                        <a:pt x="219686" y="295275"/>
                      </a:cubicBezTo>
                      <a:cubicBezTo>
                        <a:pt x="228682" y="325438"/>
                        <a:pt x="225019" y="313431"/>
                        <a:pt x="226036" y="317500"/>
                      </a:cubicBezTo>
                      <a:cubicBezTo>
                        <a:pt x="219686" y="335492"/>
                        <a:pt x="205399" y="359833"/>
                        <a:pt x="188730" y="386556"/>
                      </a:cubicBezTo>
                      <a:cubicBezTo>
                        <a:pt x="174896" y="408734"/>
                        <a:pt x="173781" y="450189"/>
                        <a:pt x="168886" y="463550"/>
                      </a:cubicBezTo>
                      <a:cubicBezTo>
                        <a:pt x="163991" y="476911"/>
                        <a:pt x="162408" y="465340"/>
                        <a:pt x="159361" y="466725"/>
                      </a:cubicBezTo>
                      <a:cubicBezTo>
                        <a:pt x="150743" y="470642"/>
                        <a:pt x="142428" y="475192"/>
                        <a:pt x="133961" y="479425"/>
                      </a:cubicBezTo>
                      <a:lnTo>
                        <a:pt x="6961" y="542925"/>
                      </a:lnTo>
                      <a:cubicBezTo>
                        <a:pt x="-1339" y="584426"/>
                        <a:pt x="1669" y="596371"/>
                        <a:pt x="611" y="628650"/>
                      </a:cubicBezTo>
                      <a:cubicBezTo>
                        <a:pt x="-447" y="660929"/>
                        <a:pt x="82" y="717021"/>
                        <a:pt x="611" y="736600"/>
                      </a:cubicBezTo>
                      <a:cubicBezTo>
                        <a:pt x="841" y="739939"/>
                        <a:pt x="1643" y="743554"/>
                        <a:pt x="3786" y="746125"/>
                      </a:cubicBezTo>
                      <a:cubicBezTo>
                        <a:pt x="7174" y="750190"/>
                        <a:pt x="-5210" y="746125"/>
                        <a:pt x="16486" y="755650"/>
                      </a:cubicBezTo>
                      <a:cubicBezTo>
                        <a:pt x="38182" y="765175"/>
                        <a:pt x="109619" y="789517"/>
                        <a:pt x="133961" y="803275"/>
                      </a:cubicBezTo>
                      <a:cubicBezTo>
                        <a:pt x="158303" y="817033"/>
                        <a:pt x="153667" y="820461"/>
                        <a:pt x="162536" y="838200"/>
                      </a:cubicBezTo>
                      <a:cubicBezTo>
                        <a:pt x="178411" y="868362"/>
                        <a:pt x="220744" y="951442"/>
                        <a:pt x="229211" y="984250"/>
                      </a:cubicBezTo>
                      <a:cubicBezTo>
                        <a:pt x="237678" y="1017058"/>
                        <a:pt x="223868" y="1013986"/>
                        <a:pt x="213336" y="1035050"/>
                      </a:cubicBezTo>
                      <a:cubicBezTo>
                        <a:pt x="206457" y="1059921"/>
                        <a:pt x="192698" y="1113896"/>
                        <a:pt x="187936" y="1133475"/>
                      </a:cubicBezTo>
                      <a:cubicBezTo>
                        <a:pt x="183174" y="1153054"/>
                        <a:pt x="185819" y="1146175"/>
                        <a:pt x="184761" y="1152525"/>
                      </a:cubicBezTo>
                      <a:cubicBezTo>
                        <a:pt x="185819" y="1159933"/>
                        <a:pt x="168886" y="1152525"/>
                        <a:pt x="187936" y="1174750"/>
                      </a:cubicBezTo>
                      <a:cubicBezTo>
                        <a:pt x="206986" y="1196975"/>
                        <a:pt x="272074" y="1268942"/>
                        <a:pt x="299061" y="1285875"/>
                      </a:cubicBezTo>
                      <a:cubicBezTo>
                        <a:pt x="326049" y="1302808"/>
                        <a:pt x="322874" y="1283758"/>
                        <a:pt x="349861" y="1276350"/>
                      </a:cubicBezTo>
                      <a:cubicBezTo>
                        <a:pt x="376848" y="1268942"/>
                        <a:pt x="423944" y="1253067"/>
                        <a:pt x="460986" y="1241425"/>
                      </a:cubicBezTo>
                      <a:cubicBezTo>
                        <a:pt x="465219" y="1240367"/>
                        <a:pt x="469546" y="1239630"/>
                        <a:pt x="473686" y="1238250"/>
                      </a:cubicBezTo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0" name="Freeform: Shape 149">
                  <a:extLst>
                    <a:ext uri="{FF2B5EF4-FFF2-40B4-BE49-F238E27FC236}">
                      <a16:creationId xmlns:a16="http://schemas.microsoft.com/office/drawing/2014/main" id="{F8709EC1-EEB6-1B9C-DD26-7021203EA03D}"/>
                    </a:ext>
                  </a:extLst>
                </p:cNvPr>
                <p:cNvSpPr/>
                <p:nvPr/>
              </p:nvSpPr>
              <p:spPr>
                <a:xfrm>
                  <a:off x="3420196" y="4832279"/>
                  <a:ext cx="579079" cy="582453"/>
                </a:xfrm>
                <a:custGeom>
                  <a:avLst/>
                  <a:gdLst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20225 w 573161"/>
                    <a:gd name="connsiteY4" fmla="*/ 18572 h 580547"/>
                    <a:gd name="connsiteX5" fmla="*/ 432131 w 573161"/>
                    <a:gd name="connsiteY5" fmla="*/ 20953 h 580547"/>
                    <a:gd name="connsiteX6" fmla="*/ 441656 w 573161"/>
                    <a:gd name="connsiteY6" fmla="*/ 25716 h 580547"/>
                    <a:gd name="connsiteX7" fmla="*/ 448800 w 573161"/>
                    <a:gd name="connsiteY7" fmla="*/ 28097 h 580547"/>
                    <a:gd name="connsiteX8" fmla="*/ 460706 w 573161"/>
                    <a:gd name="connsiteY8" fmla="*/ 35241 h 580547"/>
                    <a:gd name="connsiteX9" fmla="*/ 472613 w 573161"/>
                    <a:gd name="connsiteY9" fmla="*/ 51910 h 580547"/>
                    <a:gd name="connsiteX10" fmla="*/ 479756 w 573161"/>
                    <a:gd name="connsiteY10" fmla="*/ 61435 h 580547"/>
                    <a:gd name="connsiteX11" fmla="*/ 484519 w 573161"/>
                    <a:gd name="connsiteY11" fmla="*/ 68578 h 580547"/>
                    <a:gd name="connsiteX12" fmla="*/ 491663 w 573161"/>
                    <a:gd name="connsiteY12" fmla="*/ 73341 h 580547"/>
                    <a:gd name="connsiteX13" fmla="*/ 498806 w 573161"/>
                    <a:gd name="connsiteY13" fmla="*/ 82866 h 580547"/>
                    <a:gd name="connsiteX14" fmla="*/ 508331 w 573161"/>
                    <a:gd name="connsiteY14" fmla="*/ 97153 h 580547"/>
                    <a:gd name="connsiteX15" fmla="*/ 517856 w 573161"/>
                    <a:gd name="connsiteY15" fmla="*/ 106678 h 580547"/>
                    <a:gd name="connsiteX16" fmla="*/ 529763 w 573161"/>
                    <a:gd name="connsiteY16" fmla="*/ 125728 h 580547"/>
                    <a:gd name="connsiteX17" fmla="*/ 534525 w 573161"/>
                    <a:gd name="connsiteY17" fmla="*/ 135253 h 580547"/>
                    <a:gd name="connsiteX18" fmla="*/ 546431 w 573161"/>
                    <a:gd name="connsiteY18" fmla="*/ 142397 h 580547"/>
                    <a:gd name="connsiteX19" fmla="*/ 555956 w 573161"/>
                    <a:gd name="connsiteY19" fmla="*/ 168591 h 580547"/>
                    <a:gd name="connsiteX20" fmla="*/ 560719 w 573161"/>
                    <a:gd name="connsiteY20" fmla="*/ 185260 h 580547"/>
                    <a:gd name="connsiteX21" fmla="*/ 567863 w 573161"/>
                    <a:gd name="connsiteY21" fmla="*/ 220978 h 580547"/>
                    <a:gd name="connsiteX22" fmla="*/ 572625 w 573161"/>
                    <a:gd name="connsiteY22" fmla="*/ 349566 h 580547"/>
                    <a:gd name="connsiteX23" fmla="*/ 565481 w 573161"/>
                    <a:gd name="connsiteY23" fmla="*/ 411478 h 580547"/>
                    <a:gd name="connsiteX24" fmla="*/ 560719 w 573161"/>
                    <a:gd name="connsiteY24" fmla="*/ 428147 h 580547"/>
                    <a:gd name="connsiteX25" fmla="*/ 532144 w 573161"/>
                    <a:gd name="connsiteY25" fmla="*/ 451960 h 580547"/>
                    <a:gd name="connsiteX26" fmla="*/ 515475 w 573161"/>
                    <a:gd name="connsiteY26" fmla="*/ 475772 h 580547"/>
                    <a:gd name="connsiteX27" fmla="*/ 508331 w 573161"/>
                    <a:gd name="connsiteY27" fmla="*/ 482916 h 580547"/>
                    <a:gd name="connsiteX28" fmla="*/ 501188 w 573161"/>
                    <a:gd name="connsiteY28" fmla="*/ 492441 h 580547"/>
                    <a:gd name="connsiteX29" fmla="*/ 494044 w 573161"/>
                    <a:gd name="connsiteY29" fmla="*/ 499585 h 580547"/>
                    <a:gd name="connsiteX30" fmla="*/ 467850 w 573161"/>
                    <a:gd name="connsiteY30" fmla="*/ 528160 h 580547"/>
                    <a:gd name="connsiteX31" fmla="*/ 451181 w 573161"/>
                    <a:gd name="connsiteY31" fmla="*/ 537685 h 580547"/>
                    <a:gd name="connsiteX32" fmla="*/ 439275 w 573161"/>
                    <a:gd name="connsiteY32" fmla="*/ 542447 h 580547"/>
                    <a:gd name="connsiteX33" fmla="*/ 424988 w 573161"/>
                    <a:gd name="connsiteY33" fmla="*/ 544828 h 580547"/>
                    <a:gd name="connsiteX34" fmla="*/ 382125 w 573161"/>
                    <a:gd name="connsiteY34" fmla="*/ 549591 h 580547"/>
                    <a:gd name="connsiteX35" fmla="*/ 365456 w 573161"/>
                    <a:gd name="connsiteY35" fmla="*/ 554353 h 580547"/>
                    <a:gd name="connsiteX36" fmla="*/ 344025 w 573161"/>
                    <a:gd name="connsiteY36" fmla="*/ 559116 h 580547"/>
                    <a:gd name="connsiteX37" fmla="*/ 329738 w 573161"/>
                    <a:gd name="connsiteY37" fmla="*/ 563878 h 580547"/>
                    <a:gd name="connsiteX38" fmla="*/ 310688 w 573161"/>
                    <a:gd name="connsiteY38" fmla="*/ 575785 h 580547"/>
                    <a:gd name="connsiteX39" fmla="*/ 303544 w 573161"/>
                    <a:gd name="connsiteY39" fmla="*/ 578166 h 580547"/>
                    <a:gd name="connsiteX40" fmla="*/ 282113 w 573161"/>
                    <a:gd name="connsiteY40" fmla="*/ 580547 h 580547"/>
                    <a:gd name="connsiteX41" fmla="*/ 232106 w 573161"/>
                    <a:gd name="connsiteY41" fmla="*/ 578166 h 580547"/>
                    <a:gd name="connsiteX42" fmla="*/ 215438 w 573161"/>
                    <a:gd name="connsiteY42" fmla="*/ 571022 h 580547"/>
                    <a:gd name="connsiteX43" fmla="*/ 205913 w 573161"/>
                    <a:gd name="connsiteY43" fmla="*/ 568641 h 580547"/>
                    <a:gd name="connsiteX44" fmla="*/ 189244 w 573161"/>
                    <a:gd name="connsiteY44" fmla="*/ 563878 h 580547"/>
                    <a:gd name="connsiteX45" fmla="*/ 182100 w 573161"/>
                    <a:gd name="connsiteY45" fmla="*/ 559116 h 580547"/>
                    <a:gd name="connsiteX46" fmla="*/ 167813 w 573161"/>
                    <a:gd name="connsiteY46" fmla="*/ 554353 h 580547"/>
                    <a:gd name="connsiteX47" fmla="*/ 155906 w 573161"/>
                    <a:gd name="connsiteY47" fmla="*/ 544828 h 580547"/>
                    <a:gd name="connsiteX48" fmla="*/ 127331 w 573161"/>
                    <a:gd name="connsiteY48" fmla="*/ 525778 h 580547"/>
                    <a:gd name="connsiteX49" fmla="*/ 96375 w 573161"/>
                    <a:gd name="connsiteY49" fmla="*/ 504347 h 580547"/>
                    <a:gd name="connsiteX50" fmla="*/ 79706 w 573161"/>
                    <a:gd name="connsiteY50" fmla="*/ 485297 h 580547"/>
                    <a:gd name="connsiteX51" fmla="*/ 58275 w 573161"/>
                    <a:gd name="connsiteY51" fmla="*/ 461485 h 580547"/>
                    <a:gd name="connsiteX52" fmla="*/ 48750 w 573161"/>
                    <a:gd name="connsiteY52" fmla="*/ 444816 h 580547"/>
                    <a:gd name="connsiteX53" fmla="*/ 43988 w 573161"/>
                    <a:gd name="connsiteY53" fmla="*/ 432910 h 580547"/>
                    <a:gd name="connsiteX54" fmla="*/ 36844 w 573161"/>
                    <a:gd name="connsiteY54" fmla="*/ 425766 h 580547"/>
                    <a:gd name="connsiteX55" fmla="*/ 32081 w 573161"/>
                    <a:gd name="connsiteY55" fmla="*/ 416241 h 580547"/>
                    <a:gd name="connsiteX56" fmla="*/ 10650 w 573161"/>
                    <a:gd name="connsiteY56" fmla="*/ 378141 h 580547"/>
                    <a:gd name="connsiteX57" fmla="*/ 3506 w 573161"/>
                    <a:gd name="connsiteY57" fmla="*/ 354328 h 580547"/>
                    <a:gd name="connsiteX58" fmla="*/ 3506 w 573161"/>
                    <a:gd name="connsiteY58" fmla="*/ 220978 h 580547"/>
                    <a:gd name="connsiteX59" fmla="*/ 13031 w 573161"/>
                    <a:gd name="connsiteY59" fmla="*/ 197166 h 580547"/>
                    <a:gd name="connsiteX60" fmla="*/ 20175 w 573161"/>
                    <a:gd name="connsiteY60" fmla="*/ 178116 h 580547"/>
                    <a:gd name="connsiteX61" fmla="*/ 27319 w 573161"/>
                    <a:gd name="connsiteY61" fmla="*/ 159066 h 580547"/>
                    <a:gd name="connsiteX62" fmla="*/ 34463 w 573161"/>
                    <a:gd name="connsiteY62" fmla="*/ 144778 h 580547"/>
                    <a:gd name="connsiteX63" fmla="*/ 43988 w 573161"/>
                    <a:gd name="connsiteY63" fmla="*/ 118585 h 580547"/>
                    <a:gd name="connsiteX64" fmla="*/ 67800 w 573161"/>
                    <a:gd name="connsiteY64" fmla="*/ 92391 h 580547"/>
                    <a:gd name="connsiteX65" fmla="*/ 74944 w 573161"/>
                    <a:gd name="connsiteY65" fmla="*/ 82866 h 580547"/>
                    <a:gd name="connsiteX66" fmla="*/ 101138 w 573161"/>
                    <a:gd name="connsiteY66" fmla="*/ 63816 h 580547"/>
                    <a:gd name="connsiteX67" fmla="*/ 115425 w 573161"/>
                    <a:gd name="connsiteY67" fmla="*/ 54291 h 580547"/>
                    <a:gd name="connsiteX68" fmla="*/ 124950 w 573161"/>
                    <a:gd name="connsiteY68" fmla="*/ 47147 h 580547"/>
                    <a:gd name="connsiteX69" fmla="*/ 141619 w 573161"/>
                    <a:gd name="connsiteY69" fmla="*/ 40003 h 580547"/>
                    <a:gd name="connsiteX70" fmla="*/ 153525 w 573161"/>
                    <a:gd name="connsiteY70" fmla="*/ 37622 h 580547"/>
                    <a:gd name="connsiteX71" fmla="*/ 179719 w 573161"/>
                    <a:gd name="connsiteY71" fmla="*/ 28097 h 580547"/>
                    <a:gd name="connsiteX72" fmla="*/ 198769 w 573161"/>
                    <a:gd name="connsiteY72" fmla="*/ 23335 h 580547"/>
                    <a:gd name="connsiteX73" fmla="*/ 208294 w 573161"/>
                    <a:gd name="connsiteY73" fmla="*/ 20953 h 580547"/>
                    <a:gd name="connsiteX74" fmla="*/ 217819 w 573161"/>
                    <a:gd name="connsiteY74" fmla="*/ 18572 h 580547"/>
                    <a:gd name="connsiteX75" fmla="*/ 239250 w 573161"/>
                    <a:gd name="connsiteY75" fmla="*/ 11428 h 580547"/>
                    <a:gd name="connsiteX76" fmla="*/ 263063 w 573161"/>
                    <a:gd name="connsiteY76" fmla="*/ 4285 h 580547"/>
                    <a:gd name="connsiteX77" fmla="*/ 274969 w 573161"/>
                    <a:gd name="connsiteY77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20225 w 573161"/>
                    <a:gd name="connsiteY4" fmla="*/ 18572 h 580547"/>
                    <a:gd name="connsiteX5" fmla="*/ 432131 w 573161"/>
                    <a:gd name="connsiteY5" fmla="*/ 20953 h 580547"/>
                    <a:gd name="connsiteX6" fmla="*/ 441656 w 573161"/>
                    <a:gd name="connsiteY6" fmla="*/ 25716 h 580547"/>
                    <a:gd name="connsiteX7" fmla="*/ 460706 w 573161"/>
                    <a:gd name="connsiteY7" fmla="*/ 35241 h 580547"/>
                    <a:gd name="connsiteX8" fmla="*/ 472613 w 573161"/>
                    <a:gd name="connsiteY8" fmla="*/ 51910 h 580547"/>
                    <a:gd name="connsiteX9" fmla="*/ 479756 w 573161"/>
                    <a:gd name="connsiteY9" fmla="*/ 61435 h 580547"/>
                    <a:gd name="connsiteX10" fmla="*/ 484519 w 573161"/>
                    <a:gd name="connsiteY10" fmla="*/ 68578 h 580547"/>
                    <a:gd name="connsiteX11" fmla="*/ 491663 w 573161"/>
                    <a:gd name="connsiteY11" fmla="*/ 73341 h 580547"/>
                    <a:gd name="connsiteX12" fmla="*/ 498806 w 573161"/>
                    <a:gd name="connsiteY12" fmla="*/ 82866 h 580547"/>
                    <a:gd name="connsiteX13" fmla="*/ 508331 w 573161"/>
                    <a:gd name="connsiteY13" fmla="*/ 97153 h 580547"/>
                    <a:gd name="connsiteX14" fmla="*/ 517856 w 573161"/>
                    <a:gd name="connsiteY14" fmla="*/ 106678 h 580547"/>
                    <a:gd name="connsiteX15" fmla="*/ 529763 w 573161"/>
                    <a:gd name="connsiteY15" fmla="*/ 125728 h 580547"/>
                    <a:gd name="connsiteX16" fmla="*/ 534525 w 573161"/>
                    <a:gd name="connsiteY16" fmla="*/ 135253 h 580547"/>
                    <a:gd name="connsiteX17" fmla="*/ 546431 w 573161"/>
                    <a:gd name="connsiteY17" fmla="*/ 142397 h 580547"/>
                    <a:gd name="connsiteX18" fmla="*/ 555956 w 573161"/>
                    <a:gd name="connsiteY18" fmla="*/ 168591 h 580547"/>
                    <a:gd name="connsiteX19" fmla="*/ 560719 w 573161"/>
                    <a:gd name="connsiteY19" fmla="*/ 185260 h 580547"/>
                    <a:gd name="connsiteX20" fmla="*/ 567863 w 573161"/>
                    <a:gd name="connsiteY20" fmla="*/ 220978 h 580547"/>
                    <a:gd name="connsiteX21" fmla="*/ 572625 w 573161"/>
                    <a:gd name="connsiteY21" fmla="*/ 349566 h 580547"/>
                    <a:gd name="connsiteX22" fmla="*/ 565481 w 573161"/>
                    <a:gd name="connsiteY22" fmla="*/ 411478 h 580547"/>
                    <a:gd name="connsiteX23" fmla="*/ 560719 w 573161"/>
                    <a:gd name="connsiteY23" fmla="*/ 428147 h 580547"/>
                    <a:gd name="connsiteX24" fmla="*/ 532144 w 573161"/>
                    <a:gd name="connsiteY24" fmla="*/ 451960 h 580547"/>
                    <a:gd name="connsiteX25" fmla="*/ 515475 w 573161"/>
                    <a:gd name="connsiteY25" fmla="*/ 475772 h 580547"/>
                    <a:gd name="connsiteX26" fmla="*/ 508331 w 573161"/>
                    <a:gd name="connsiteY26" fmla="*/ 482916 h 580547"/>
                    <a:gd name="connsiteX27" fmla="*/ 501188 w 573161"/>
                    <a:gd name="connsiteY27" fmla="*/ 492441 h 580547"/>
                    <a:gd name="connsiteX28" fmla="*/ 494044 w 573161"/>
                    <a:gd name="connsiteY28" fmla="*/ 499585 h 580547"/>
                    <a:gd name="connsiteX29" fmla="*/ 467850 w 573161"/>
                    <a:gd name="connsiteY29" fmla="*/ 528160 h 580547"/>
                    <a:gd name="connsiteX30" fmla="*/ 451181 w 573161"/>
                    <a:gd name="connsiteY30" fmla="*/ 537685 h 580547"/>
                    <a:gd name="connsiteX31" fmla="*/ 439275 w 573161"/>
                    <a:gd name="connsiteY31" fmla="*/ 542447 h 580547"/>
                    <a:gd name="connsiteX32" fmla="*/ 424988 w 573161"/>
                    <a:gd name="connsiteY32" fmla="*/ 544828 h 580547"/>
                    <a:gd name="connsiteX33" fmla="*/ 382125 w 573161"/>
                    <a:gd name="connsiteY33" fmla="*/ 549591 h 580547"/>
                    <a:gd name="connsiteX34" fmla="*/ 365456 w 573161"/>
                    <a:gd name="connsiteY34" fmla="*/ 554353 h 580547"/>
                    <a:gd name="connsiteX35" fmla="*/ 344025 w 573161"/>
                    <a:gd name="connsiteY35" fmla="*/ 559116 h 580547"/>
                    <a:gd name="connsiteX36" fmla="*/ 329738 w 573161"/>
                    <a:gd name="connsiteY36" fmla="*/ 563878 h 580547"/>
                    <a:gd name="connsiteX37" fmla="*/ 310688 w 573161"/>
                    <a:gd name="connsiteY37" fmla="*/ 575785 h 580547"/>
                    <a:gd name="connsiteX38" fmla="*/ 303544 w 573161"/>
                    <a:gd name="connsiteY38" fmla="*/ 578166 h 580547"/>
                    <a:gd name="connsiteX39" fmla="*/ 282113 w 573161"/>
                    <a:gd name="connsiteY39" fmla="*/ 580547 h 580547"/>
                    <a:gd name="connsiteX40" fmla="*/ 232106 w 573161"/>
                    <a:gd name="connsiteY40" fmla="*/ 578166 h 580547"/>
                    <a:gd name="connsiteX41" fmla="*/ 215438 w 573161"/>
                    <a:gd name="connsiteY41" fmla="*/ 571022 h 580547"/>
                    <a:gd name="connsiteX42" fmla="*/ 205913 w 573161"/>
                    <a:gd name="connsiteY42" fmla="*/ 568641 h 580547"/>
                    <a:gd name="connsiteX43" fmla="*/ 189244 w 573161"/>
                    <a:gd name="connsiteY43" fmla="*/ 563878 h 580547"/>
                    <a:gd name="connsiteX44" fmla="*/ 182100 w 573161"/>
                    <a:gd name="connsiteY44" fmla="*/ 559116 h 580547"/>
                    <a:gd name="connsiteX45" fmla="*/ 167813 w 573161"/>
                    <a:gd name="connsiteY45" fmla="*/ 554353 h 580547"/>
                    <a:gd name="connsiteX46" fmla="*/ 155906 w 573161"/>
                    <a:gd name="connsiteY46" fmla="*/ 544828 h 580547"/>
                    <a:gd name="connsiteX47" fmla="*/ 127331 w 573161"/>
                    <a:gd name="connsiteY47" fmla="*/ 525778 h 580547"/>
                    <a:gd name="connsiteX48" fmla="*/ 96375 w 573161"/>
                    <a:gd name="connsiteY48" fmla="*/ 504347 h 580547"/>
                    <a:gd name="connsiteX49" fmla="*/ 79706 w 573161"/>
                    <a:gd name="connsiteY49" fmla="*/ 485297 h 580547"/>
                    <a:gd name="connsiteX50" fmla="*/ 58275 w 573161"/>
                    <a:gd name="connsiteY50" fmla="*/ 461485 h 580547"/>
                    <a:gd name="connsiteX51" fmla="*/ 48750 w 573161"/>
                    <a:gd name="connsiteY51" fmla="*/ 444816 h 580547"/>
                    <a:gd name="connsiteX52" fmla="*/ 43988 w 573161"/>
                    <a:gd name="connsiteY52" fmla="*/ 432910 h 580547"/>
                    <a:gd name="connsiteX53" fmla="*/ 36844 w 573161"/>
                    <a:gd name="connsiteY53" fmla="*/ 425766 h 580547"/>
                    <a:gd name="connsiteX54" fmla="*/ 32081 w 573161"/>
                    <a:gd name="connsiteY54" fmla="*/ 416241 h 580547"/>
                    <a:gd name="connsiteX55" fmla="*/ 10650 w 573161"/>
                    <a:gd name="connsiteY55" fmla="*/ 378141 h 580547"/>
                    <a:gd name="connsiteX56" fmla="*/ 3506 w 573161"/>
                    <a:gd name="connsiteY56" fmla="*/ 354328 h 580547"/>
                    <a:gd name="connsiteX57" fmla="*/ 3506 w 573161"/>
                    <a:gd name="connsiteY57" fmla="*/ 220978 h 580547"/>
                    <a:gd name="connsiteX58" fmla="*/ 13031 w 573161"/>
                    <a:gd name="connsiteY58" fmla="*/ 197166 h 580547"/>
                    <a:gd name="connsiteX59" fmla="*/ 20175 w 573161"/>
                    <a:gd name="connsiteY59" fmla="*/ 178116 h 580547"/>
                    <a:gd name="connsiteX60" fmla="*/ 27319 w 573161"/>
                    <a:gd name="connsiteY60" fmla="*/ 159066 h 580547"/>
                    <a:gd name="connsiteX61" fmla="*/ 34463 w 573161"/>
                    <a:gd name="connsiteY61" fmla="*/ 144778 h 580547"/>
                    <a:gd name="connsiteX62" fmla="*/ 43988 w 573161"/>
                    <a:gd name="connsiteY62" fmla="*/ 118585 h 580547"/>
                    <a:gd name="connsiteX63" fmla="*/ 67800 w 573161"/>
                    <a:gd name="connsiteY63" fmla="*/ 92391 h 580547"/>
                    <a:gd name="connsiteX64" fmla="*/ 74944 w 573161"/>
                    <a:gd name="connsiteY64" fmla="*/ 82866 h 580547"/>
                    <a:gd name="connsiteX65" fmla="*/ 101138 w 573161"/>
                    <a:gd name="connsiteY65" fmla="*/ 63816 h 580547"/>
                    <a:gd name="connsiteX66" fmla="*/ 115425 w 573161"/>
                    <a:gd name="connsiteY66" fmla="*/ 54291 h 580547"/>
                    <a:gd name="connsiteX67" fmla="*/ 124950 w 573161"/>
                    <a:gd name="connsiteY67" fmla="*/ 47147 h 580547"/>
                    <a:gd name="connsiteX68" fmla="*/ 141619 w 573161"/>
                    <a:gd name="connsiteY68" fmla="*/ 40003 h 580547"/>
                    <a:gd name="connsiteX69" fmla="*/ 153525 w 573161"/>
                    <a:gd name="connsiteY69" fmla="*/ 37622 h 580547"/>
                    <a:gd name="connsiteX70" fmla="*/ 179719 w 573161"/>
                    <a:gd name="connsiteY70" fmla="*/ 28097 h 580547"/>
                    <a:gd name="connsiteX71" fmla="*/ 198769 w 573161"/>
                    <a:gd name="connsiteY71" fmla="*/ 23335 h 580547"/>
                    <a:gd name="connsiteX72" fmla="*/ 208294 w 573161"/>
                    <a:gd name="connsiteY72" fmla="*/ 20953 h 580547"/>
                    <a:gd name="connsiteX73" fmla="*/ 217819 w 573161"/>
                    <a:gd name="connsiteY73" fmla="*/ 18572 h 580547"/>
                    <a:gd name="connsiteX74" fmla="*/ 239250 w 573161"/>
                    <a:gd name="connsiteY74" fmla="*/ 11428 h 580547"/>
                    <a:gd name="connsiteX75" fmla="*/ 263063 w 573161"/>
                    <a:gd name="connsiteY75" fmla="*/ 4285 h 580547"/>
                    <a:gd name="connsiteX76" fmla="*/ 274969 w 573161"/>
                    <a:gd name="connsiteY76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20225 w 573161"/>
                    <a:gd name="connsiteY4" fmla="*/ 18572 h 580547"/>
                    <a:gd name="connsiteX5" fmla="*/ 432131 w 573161"/>
                    <a:gd name="connsiteY5" fmla="*/ 20953 h 580547"/>
                    <a:gd name="connsiteX6" fmla="*/ 460706 w 573161"/>
                    <a:gd name="connsiteY6" fmla="*/ 35241 h 580547"/>
                    <a:gd name="connsiteX7" fmla="*/ 472613 w 573161"/>
                    <a:gd name="connsiteY7" fmla="*/ 51910 h 580547"/>
                    <a:gd name="connsiteX8" fmla="*/ 479756 w 573161"/>
                    <a:gd name="connsiteY8" fmla="*/ 61435 h 580547"/>
                    <a:gd name="connsiteX9" fmla="*/ 484519 w 573161"/>
                    <a:gd name="connsiteY9" fmla="*/ 68578 h 580547"/>
                    <a:gd name="connsiteX10" fmla="*/ 491663 w 573161"/>
                    <a:gd name="connsiteY10" fmla="*/ 73341 h 580547"/>
                    <a:gd name="connsiteX11" fmla="*/ 498806 w 573161"/>
                    <a:gd name="connsiteY11" fmla="*/ 82866 h 580547"/>
                    <a:gd name="connsiteX12" fmla="*/ 508331 w 573161"/>
                    <a:gd name="connsiteY12" fmla="*/ 97153 h 580547"/>
                    <a:gd name="connsiteX13" fmla="*/ 517856 w 573161"/>
                    <a:gd name="connsiteY13" fmla="*/ 106678 h 580547"/>
                    <a:gd name="connsiteX14" fmla="*/ 529763 w 573161"/>
                    <a:gd name="connsiteY14" fmla="*/ 125728 h 580547"/>
                    <a:gd name="connsiteX15" fmla="*/ 534525 w 573161"/>
                    <a:gd name="connsiteY15" fmla="*/ 135253 h 580547"/>
                    <a:gd name="connsiteX16" fmla="*/ 546431 w 573161"/>
                    <a:gd name="connsiteY16" fmla="*/ 142397 h 580547"/>
                    <a:gd name="connsiteX17" fmla="*/ 555956 w 573161"/>
                    <a:gd name="connsiteY17" fmla="*/ 168591 h 580547"/>
                    <a:gd name="connsiteX18" fmla="*/ 560719 w 573161"/>
                    <a:gd name="connsiteY18" fmla="*/ 185260 h 580547"/>
                    <a:gd name="connsiteX19" fmla="*/ 567863 w 573161"/>
                    <a:gd name="connsiteY19" fmla="*/ 220978 h 580547"/>
                    <a:gd name="connsiteX20" fmla="*/ 572625 w 573161"/>
                    <a:gd name="connsiteY20" fmla="*/ 349566 h 580547"/>
                    <a:gd name="connsiteX21" fmla="*/ 565481 w 573161"/>
                    <a:gd name="connsiteY21" fmla="*/ 411478 h 580547"/>
                    <a:gd name="connsiteX22" fmla="*/ 560719 w 573161"/>
                    <a:gd name="connsiteY22" fmla="*/ 428147 h 580547"/>
                    <a:gd name="connsiteX23" fmla="*/ 532144 w 573161"/>
                    <a:gd name="connsiteY23" fmla="*/ 451960 h 580547"/>
                    <a:gd name="connsiteX24" fmla="*/ 515475 w 573161"/>
                    <a:gd name="connsiteY24" fmla="*/ 475772 h 580547"/>
                    <a:gd name="connsiteX25" fmla="*/ 508331 w 573161"/>
                    <a:gd name="connsiteY25" fmla="*/ 482916 h 580547"/>
                    <a:gd name="connsiteX26" fmla="*/ 501188 w 573161"/>
                    <a:gd name="connsiteY26" fmla="*/ 492441 h 580547"/>
                    <a:gd name="connsiteX27" fmla="*/ 494044 w 573161"/>
                    <a:gd name="connsiteY27" fmla="*/ 499585 h 580547"/>
                    <a:gd name="connsiteX28" fmla="*/ 467850 w 573161"/>
                    <a:gd name="connsiteY28" fmla="*/ 528160 h 580547"/>
                    <a:gd name="connsiteX29" fmla="*/ 451181 w 573161"/>
                    <a:gd name="connsiteY29" fmla="*/ 537685 h 580547"/>
                    <a:gd name="connsiteX30" fmla="*/ 439275 w 573161"/>
                    <a:gd name="connsiteY30" fmla="*/ 542447 h 580547"/>
                    <a:gd name="connsiteX31" fmla="*/ 424988 w 573161"/>
                    <a:gd name="connsiteY31" fmla="*/ 544828 h 580547"/>
                    <a:gd name="connsiteX32" fmla="*/ 382125 w 573161"/>
                    <a:gd name="connsiteY32" fmla="*/ 549591 h 580547"/>
                    <a:gd name="connsiteX33" fmla="*/ 365456 w 573161"/>
                    <a:gd name="connsiteY33" fmla="*/ 554353 h 580547"/>
                    <a:gd name="connsiteX34" fmla="*/ 344025 w 573161"/>
                    <a:gd name="connsiteY34" fmla="*/ 559116 h 580547"/>
                    <a:gd name="connsiteX35" fmla="*/ 329738 w 573161"/>
                    <a:gd name="connsiteY35" fmla="*/ 563878 h 580547"/>
                    <a:gd name="connsiteX36" fmla="*/ 310688 w 573161"/>
                    <a:gd name="connsiteY36" fmla="*/ 575785 h 580547"/>
                    <a:gd name="connsiteX37" fmla="*/ 303544 w 573161"/>
                    <a:gd name="connsiteY37" fmla="*/ 578166 h 580547"/>
                    <a:gd name="connsiteX38" fmla="*/ 282113 w 573161"/>
                    <a:gd name="connsiteY38" fmla="*/ 580547 h 580547"/>
                    <a:gd name="connsiteX39" fmla="*/ 232106 w 573161"/>
                    <a:gd name="connsiteY39" fmla="*/ 578166 h 580547"/>
                    <a:gd name="connsiteX40" fmla="*/ 215438 w 573161"/>
                    <a:gd name="connsiteY40" fmla="*/ 571022 h 580547"/>
                    <a:gd name="connsiteX41" fmla="*/ 205913 w 573161"/>
                    <a:gd name="connsiteY41" fmla="*/ 568641 h 580547"/>
                    <a:gd name="connsiteX42" fmla="*/ 189244 w 573161"/>
                    <a:gd name="connsiteY42" fmla="*/ 563878 h 580547"/>
                    <a:gd name="connsiteX43" fmla="*/ 182100 w 573161"/>
                    <a:gd name="connsiteY43" fmla="*/ 559116 h 580547"/>
                    <a:gd name="connsiteX44" fmla="*/ 167813 w 573161"/>
                    <a:gd name="connsiteY44" fmla="*/ 554353 h 580547"/>
                    <a:gd name="connsiteX45" fmla="*/ 155906 w 573161"/>
                    <a:gd name="connsiteY45" fmla="*/ 544828 h 580547"/>
                    <a:gd name="connsiteX46" fmla="*/ 127331 w 573161"/>
                    <a:gd name="connsiteY46" fmla="*/ 525778 h 580547"/>
                    <a:gd name="connsiteX47" fmla="*/ 96375 w 573161"/>
                    <a:gd name="connsiteY47" fmla="*/ 504347 h 580547"/>
                    <a:gd name="connsiteX48" fmla="*/ 79706 w 573161"/>
                    <a:gd name="connsiteY48" fmla="*/ 485297 h 580547"/>
                    <a:gd name="connsiteX49" fmla="*/ 58275 w 573161"/>
                    <a:gd name="connsiteY49" fmla="*/ 461485 h 580547"/>
                    <a:gd name="connsiteX50" fmla="*/ 48750 w 573161"/>
                    <a:gd name="connsiteY50" fmla="*/ 444816 h 580547"/>
                    <a:gd name="connsiteX51" fmla="*/ 43988 w 573161"/>
                    <a:gd name="connsiteY51" fmla="*/ 432910 h 580547"/>
                    <a:gd name="connsiteX52" fmla="*/ 36844 w 573161"/>
                    <a:gd name="connsiteY52" fmla="*/ 425766 h 580547"/>
                    <a:gd name="connsiteX53" fmla="*/ 32081 w 573161"/>
                    <a:gd name="connsiteY53" fmla="*/ 416241 h 580547"/>
                    <a:gd name="connsiteX54" fmla="*/ 10650 w 573161"/>
                    <a:gd name="connsiteY54" fmla="*/ 378141 h 580547"/>
                    <a:gd name="connsiteX55" fmla="*/ 3506 w 573161"/>
                    <a:gd name="connsiteY55" fmla="*/ 354328 h 580547"/>
                    <a:gd name="connsiteX56" fmla="*/ 3506 w 573161"/>
                    <a:gd name="connsiteY56" fmla="*/ 220978 h 580547"/>
                    <a:gd name="connsiteX57" fmla="*/ 13031 w 573161"/>
                    <a:gd name="connsiteY57" fmla="*/ 197166 h 580547"/>
                    <a:gd name="connsiteX58" fmla="*/ 20175 w 573161"/>
                    <a:gd name="connsiteY58" fmla="*/ 178116 h 580547"/>
                    <a:gd name="connsiteX59" fmla="*/ 27319 w 573161"/>
                    <a:gd name="connsiteY59" fmla="*/ 159066 h 580547"/>
                    <a:gd name="connsiteX60" fmla="*/ 34463 w 573161"/>
                    <a:gd name="connsiteY60" fmla="*/ 144778 h 580547"/>
                    <a:gd name="connsiteX61" fmla="*/ 43988 w 573161"/>
                    <a:gd name="connsiteY61" fmla="*/ 118585 h 580547"/>
                    <a:gd name="connsiteX62" fmla="*/ 67800 w 573161"/>
                    <a:gd name="connsiteY62" fmla="*/ 92391 h 580547"/>
                    <a:gd name="connsiteX63" fmla="*/ 74944 w 573161"/>
                    <a:gd name="connsiteY63" fmla="*/ 82866 h 580547"/>
                    <a:gd name="connsiteX64" fmla="*/ 101138 w 573161"/>
                    <a:gd name="connsiteY64" fmla="*/ 63816 h 580547"/>
                    <a:gd name="connsiteX65" fmla="*/ 115425 w 573161"/>
                    <a:gd name="connsiteY65" fmla="*/ 54291 h 580547"/>
                    <a:gd name="connsiteX66" fmla="*/ 124950 w 573161"/>
                    <a:gd name="connsiteY66" fmla="*/ 47147 h 580547"/>
                    <a:gd name="connsiteX67" fmla="*/ 141619 w 573161"/>
                    <a:gd name="connsiteY67" fmla="*/ 40003 h 580547"/>
                    <a:gd name="connsiteX68" fmla="*/ 153525 w 573161"/>
                    <a:gd name="connsiteY68" fmla="*/ 37622 h 580547"/>
                    <a:gd name="connsiteX69" fmla="*/ 179719 w 573161"/>
                    <a:gd name="connsiteY69" fmla="*/ 28097 h 580547"/>
                    <a:gd name="connsiteX70" fmla="*/ 198769 w 573161"/>
                    <a:gd name="connsiteY70" fmla="*/ 23335 h 580547"/>
                    <a:gd name="connsiteX71" fmla="*/ 208294 w 573161"/>
                    <a:gd name="connsiteY71" fmla="*/ 20953 h 580547"/>
                    <a:gd name="connsiteX72" fmla="*/ 217819 w 573161"/>
                    <a:gd name="connsiteY72" fmla="*/ 18572 h 580547"/>
                    <a:gd name="connsiteX73" fmla="*/ 239250 w 573161"/>
                    <a:gd name="connsiteY73" fmla="*/ 11428 h 580547"/>
                    <a:gd name="connsiteX74" fmla="*/ 263063 w 573161"/>
                    <a:gd name="connsiteY74" fmla="*/ 4285 h 580547"/>
                    <a:gd name="connsiteX75" fmla="*/ 274969 w 573161"/>
                    <a:gd name="connsiteY75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20225 w 573161"/>
                    <a:gd name="connsiteY4" fmla="*/ 18572 h 580547"/>
                    <a:gd name="connsiteX5" fmla="*/ 460706 w 573161"/>
                    <a:gd name="connsiteY5" fmla="*/ 35241 h 580547"/>
                    <a:gd name="connsiteX6" fmla="*/ 472613 w 573161"/>
                    <a:gd name="connsiteY6" fmla="*/ 51910 h 580547"/>
                    <a:gd name="connsiteX7" fmla="*/ 479756 w 573161"/>
                    <a:gd name="connsiteY7" fmla="*/ 61435 h 580547"/>
                    <a:gd name="connsiteX8" fmla="*/ 484519 w 573161"/>
                    <a:gd name="connsiteY8" fmla="*/ 68578 h 580547"/>
                    <a:gd name="connsiteX9" fmla="*/ 491663 w 573161"/>
                    <a:gd name="connsiteY9" fmla="*/ 73341 h 580547"/>
                    <a:gd name="connsiteX10" fmla="*/ 498806 w 573161"/>
                    <a:gd name="connsiteY10" fmla="*/ 82866 h 580547"/>
                    <a:gd name="connsiteX11" fmla="*/ 508331 w 573161"/>
                    <a:gd name="connsiteY11" fmla="*/ 97153 h 580547"/>
                    <a:gd name="connsiteX12" fmla="*/ 517856 w 573161"/>
                    <a:gd name="connsiteY12" fmla="*/ 106678 h 580547"/>
                    <a:gd name="connsiteX13" fmla="*/ 529763 w 573161"/>
                    <a:gd name="connsiteY13" fmla="*/ 125728 h 580547"/>
                    <a:gd name="connsiteX14" fmla="*/ 534525 w 573161"/>
                    <a:gd name="connsiteY14" fmla="*/ 135253 h 580547"/>
                    <a:gd name="connsiteX15" fmla="*/ 546431 w 573161"/>
                    <a:gd name="connsiteY15" fmla="*/ 142397 h 580547"/>
                    <a:gd name="connsiteX16" fmla="*/ 555956 w 573161"/>
                    <a:gd name="connsiteY16" fmla="*/ 168591 h 580547"/>
                    <a:gd name="connsiteX17" fmla="*/ 560719 w 573161"/>
                    <a:gd name="connsiteY17" fmla="*/ 185260 h 580547"/>
                    <a:gd name="connsiteX18" fmla="*/ 567863 w 573161"/>
                    <a:gd name="connsiteY18" fmla="*/ 220978 h 580547"/>
                    <a:gd name="connsiteX19" fmla="*/ 572625 w 573161"/>
                    <a:gd name="connsiteY19" fmla="*/ 349566 h 580547"/>
                    <a:gd name="connsiteX20" fmla="*/ 565481 w 573161"/>
                    <a:gd name="connsiteY20" fmla="*/ 411478 h 580547"/>
                    <a:gd name="connsiteX21" fmla="*/ 560719 w 573161"/>
                    <a:gd name="connsiteY21" fmla="*/ 428147 h 580547"/>
                    <a:gd name="connsiteX22" fmla="*/ 532144 w 573161"/>
                    <a:gd name="connsiteY22" fmla="*/ 451960 h 580547"/>
                    <a:gd name="connsiteX23" fmla="*/ 515475 w 573161"/>
                    <a:gd name="connsiteY23" fmla="*/ 475772 h 580547"/>
                    <a:gd name="connsiteX24" fmla="*/ 508331 w 573161"/>
                    <a:gd name="connsiteY24" fmla="*/ 482916 h 580547"/>
                    <a:gd name="connsiteX25" fmla="*/ 501188 w 573161"/>
                    <a:gd name="connsiteY25" fmla="*/ 492441 h 580547"/>
                    <a:gd name="connsiteX26" fmla="*/ 494044 w 573161"/>
                    <a:gd name="connsiteY26" fmla="*/ 499585 h 580547"/>
                    <a:gd name="connsiteX27" fmla="*/ 467850 w 573161"/>
                    <a:gd name="connsiteY27" fmla="*/ 528160 h 580547"/>
                    <a:gd name="connsiteX28" fmla="*/ 451181 w 573161"/>
                    <a:gd name="connsiteY28" fmla="*/ 537685 h 580547"/>
                    <a:gd name="connsiteX29" fmla="*/ 439275 w 573161"/>
                    <a:gd name="connsiteY29" fmla="*/ 542447 h 580547"/>
                    <a:gd name="connsiteX30" fmla="*/ 424988 w 573161"/>
                    <a:gd name="connsiteY30" fmla="*/ 544828 h 580547"/>
                    <a:gd name="connsiteX31" fmla="*/ 382125 w 573161"/>
                    <a:gd name="connsiteY31" fmla="*/ 549591 h 580547"/>
                    <a:gd name="connsiteX32" fmla="*/ 365456 w 573161"/>
                    <a:gd name="connsiteY32" fmla="*/ 554353 h 580547"/>
                    <a:gd name="connsiteX33" fmla="*/ 344025 w 573161"/>
                    <a:gd name="connsiteY33" fmla="*/ 559116 h 580547"/>
                    <a:gd name="connsiteX34" fmla="*/ 329738 w 573161"/>
                    <a:gd name="connsiteY34" fmla="*/ 563878 h 580547"/>
                    <a:gd name="connsiteX35" fmla="*/ 310688 w 573161"/>
                    <a:gd name="connsiteY35" fmla="*/ 575785 h 580547"/>
                    <a:gd name="connsiteX36" fmla="*/ 303544 w 573161"/>
                    <a:gd name="connsiteY36" fmla="*/ 578166 h 580547"/>
                    <a:gd name="connsiteX37" fmla="*/ 282113 w 573161"/>
                    <a:gd name="connsiteY37" fmla="*/ 580547 h 580547"/>
                    <a:gd name="connsiteX38" fmla="*/ 232106 w 573161"/>
                    <a:gd name="connsiteY38" fmla="*/ 578166 h 580547"/>
                    <a:gd name="connsiteX39" fmla="*/ 215438 w 573161"/>
                    <a:gd name="connsiteY39" fmla="*/ 571022 h 580547"/>
                    <a:gd name="connsiteX40" fmla="*/ 205913 w 573161"/>
                    <a:gd name="connsiteY40" fmla="*/ 568641 h 580547"/>
                    <a:gd name="connsiteX41" fmla="*/ 189244 w 573161"/>
                    <a:gd name="connsiteY41" fmla="*/ 563878 h 580547"/>
                    <a:gd name="connsiteX42" fmla="*/ 182100 w 573161"/>
                    <a:gd name="connsiteY42" fmla="*/ 559116 h 580547"/>
                    <a:gd name="connsiteX43" fmla="*/ 167813 w 573161"/>
                    <a:gd name="connsiteY43" fmla="*/ 554353 h 580547"/>
                    <a:gd name="connsiteX44" fmla="*/ 155906 w 573161"/>
                    <a:gd name="connsiteY44" fmla="*/ 544828 h 580547"/>
                    <a:gd name="connsiteX45" fmla="*/ 127331 w 573161"/>
                    <a:gd name="connsiteY45" fmla="*/ 525778 h 580547"/>
                    <a:gd name="connsiteX46" fmla="*/ 96375 w 573161"/>
                    <a:gd name="connsiteY46" fmla="*/ 504347 h 580547"/>
                    <a:gd name="connsiteX47" fmla="*/ 79706 w 573161"/>
                    <a:gd name="connsiteY47" fmla="*/ 485297 h 580547"/>
                    <a:gd name="connsiteX48" fmla="*/ 58275 w 573161"/>
                    <a:gd name="connsiteY48" fmla="*/ 461485 h 580547"/>
                    <a:gd name="connsiteX49" fmla="*/ 48750 w 573161"/>
                    <a:gd name="connsiteY49" fmla="*/ 444816 h 580547"/>
                    <a:gd name="connsiteX50" fmla="*/ 43988 w 573161"/>
                    <a:gd name="connsiteY50" fmla="*/ 432910 h 580547"/>
                    <a:gd name="connsiteX51" fmla="*/ 36844 w 573161"/>
                    <a:gd name="connsiteY51" fmla="*/ 425766 h 580547"/>
                    <a:gd name="connsiteX52" fmla="*/ 32081 w 573161"/>
                    <a:gd name="connsiteY52" fmla="*/ 416241 h 580547"/>
                    <a:gd name="connsiteX53" fmla="*/ 10650 w 573161"/>
                    <a:gd name="connsiteY53" fmla="*/ 378141 h 580547"/>
                    <a:gd name="connsiteX54" fmla="*/ 3506 w 573161"/>
                    <a:gd name="connsiteY54" fmla="*/ 354328 h 580547"/>
                    <a:gd name="connsiteX55" fmla="*/ 3506 w 573161"/>
                    <a:gd name="connsiteY55" fmla="*/ 220978 h 580547"/>
                    <a:gd name="connsiteX56" fmla="*/ 13031 w 573161"/>
                    <a:gd name="connsiteY56" fmla="*/ 197166 h 580547"/>
                    <a:gd name="connsiteX57" fmla="*/ 20175 w 573161"/>
                    <a:gd name="connsiteY57" fmla="*/ 178116 h 580547"/>
                    <a:gd name="connsiteX58" fmla="*/ 27319 w 573161"/>
                    <a:gd name="connsiteY58" fmla="*/ 159066 h 580547"/>
                    <a:gd name="connsiteX59" fmla="*/ 34463 w 573161"/>
                    <a:gd name="connsiteY59" fmla="*/ 144778 h 580547"/>
                    <a:gd name="connsiteX60" fmla="*/ 43988 w 573161"/>
                    <a:gd name="connsiteY60" fmla="*/ 118585 h 580547"/>
                    <a:gd name="connsiteX61" fmla="*/ 67800 w 573161"/>
                    <a:gd name="connsiteY61" fmla="*/ 92391 h 580547"/>
                    <a:gd name="connsiteX62" fmla="*/ 74944 w 573161"/>
                    <a:gd name="connsiteY62" fmla="*/ 82866 h 580547"/>
                    <a:gd name="connsiteX63" fmla="*/ 101138 w 573161"/>
                    <a:gd name="connsiteY63" fmla="*/ 63816 h 580547"/>
                    <a:gd name="connsiteX64" fmla="*/ 115425 w 573161"/>
                    <a:gd name="connsiteY64" fmla="*/ 54291 h 580547"/>
                    <a:gd name="connsiteX65" fmla="*/ 124950 w 573161"/>
                    <a:gd name="connsiteY65" fmla="*/ 47147 h 580547"/>
                    <a:gd name="connsiteX66" fmla="*/ 141619 w 573161"/>
                    <a:gd name="connsiteY66" fmla="*/ 40003 h 580547"/>
                    <a:gd name="connsiteX67" fmla="*/ 153525 w 573161"/>
                    <a:gd name="connsiteY67" fmla="*/ 37622 h 580547"/>
                    <a:gd name="connsiteX68" fmla="*/ 179719 w 573161"/>
                    <a:gd name="connsiteY68" fmla="*/ 28097 h 580547"/>
                    <a:gd name="connsiteX69" fmla="*/ 198769 w 573161"/>
                    <a:gd name="connsiteY69" fmla="*/ 23335 h 580547"/>
                    <a:gd name="connsiteX70" fmla="*/ 208294 w 573161"/>
                    <a:gd name="connsiteY70" fmla="*/ 20953 h 580547"/>
                    <a:gd name="connsiteX71" fmla="*/ 217819 w 573161"/>
                    <a:gd name="connsiteY71" fmla="*/ 18572 h 580547"/>
                    <a:gd name="connsiteX72" fmla="*/ 239250 w 573161"/>
                    <a:gd name="connsiteY72" fmla="*/ 11428 h 580547"/>
                    <a:gd name="connsiteX73" fmla="*/ 263063 w 573161"/>
                    <a:gd name="connsiteY73" fmla="*/ 4285 h 580547"/>
                    <a:gd name="connsiteX74" fmla="*/ 274969 w 573161"/>
                    <a:gd name="connsiteY74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13031 w 573161"/>
                    <a:gd name="connsiteY55" fmla="*/ 197166 h 580547"/>
                    <a:gd name="connsiteX56" fmla="*/ 20175 w 573161"/>
                    <a:gd name="connsiteY56" fmla="*/ 178116 h 580547"/>
                    <a:gd name="connsiteX57" fmla="*/ 27319 w 573161"/>
                    <a:gd name="connsiteY57" fmla="*/ 159066 h 580547"/>
                    <a:gd name="connsiteX58" fmla="*/ 34463 w 573161"/>
                    <a:gd name="connsiteY58" fmla="*/ 144778 h 580547"/>
                    <a:gd name="connsiteX59" fmla="*/ 43988 w 573161"/>
                    <a:gd name="connsiteY59" fmla="*/ 118585 h 580547"/>
                    <a:gd name="connsiteX60" fmla="*/ 67800 w 573161"/>
                    <a:gd name="connsiteY60" fmla="*/ 92391 h 580547"/>
                    <a:gd name="connsiteX61" fmla="*/ 74944 w 573161"/>
                    <a:gd name="connsiteY61" fmla="*/ 82866 h 580547"/>
                    <a:gd name="connsiteX62" fmla="*/ 101138 w 573161"/>
                    <a:gd name="connsiteY62" fmla="*/ 63816 h 580547"/>
                    <a:gd name="connsiteX63" fmla="*/ 115425 w 573161"/>
                    <a:gd name="connsiteY63" fmla="*/ 54291 h 580547"/>
                    <a:gd name="connsiteX64" fmla="*/ 124950 w 573161"/>
                    <a:gd name="connsiteY64" fmla="*/ 47147 h 580547"/>
                    <a:gd name="connsiteX65" fmla="*/ 141619 w 573161"/>
                    <a:gd name="connsiteY65" fmla="*/ 40003 h 580547"/>
                    <a:gd name="connsiteX66" fmla="*/ 153525 w 573161"/>
                    <a:gd name="connsiteY66" fmla="*/ 37622 h 580547"/>
                    <a:gd name="connsiteX67" fmla="*/ 179719 w 573161"/>
                    <a:gd name="connsiteY67" fmla="*/ 28097 h 580547"/>
                    <a:gd name="connsiteX68" fmla="*/ 198769 w 573161"/>
                    <a:gd name="connsiteY68" fmla="*/ 23335 h 580547"/>
                    <a:gd name="connsiteX69" fmla="*/ 208294 w 573161"/>
                    <a:gd name="connsiteY69" fmla="*/ 20953 h 580547"/>
                    <a:gd name="connsiteX70" fmla="*/ 217819 w 573161"/>
                    <a:gd name="connsiteY70" fmla="*/ 18572 h 580547"/>
                    <a:gd name="connsiteX71" fmla="*/ 239250 w 573161"/>
                    <a:gd name="connsiteY71" fmla="*/ 11428 h 580547"/>
                    <a:gd name="connsiteX72" fmla="*/ 263063 w 573161"/>
                    <a:gd name="connsiteY72" fmla="*/ 4285 h 580547"/>
                    <a:gd name="connsiteX73" fmla="*/ 274969 w 573161"/>
                    <a:gd name="connsiteY73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13031 w 573161"/>
                    <a:gd name="connsiteY55" fmla="*/ 197166 h 580547"/>
                    <a:gd name="connsiteX56" fmla="*/ 20175 w 573161"/>
                    <a:gd name="connsiteY56" fmla="*/ 178116 h 580547"/>
                    <a:gd name="connsiteX57" fmla="*/ 27319 w 573161"/>
                    <a:gd name="connsiteY57" fmla="*/ 159066 h 580547"/>
                    <a:gd name="connsiteX58" fmla="*/ 34463 w 573161"/>
                    <a:gd name="connsiteY58" fmla="*/ 144778 h 580547"/>
                    <a:gd name="connsiteX59" fmla="*/ 43988 w 573161"/>
                    <a:gd name="connsiteY59" fmla="*/ 118585 h 580547"/>
                    <a:gd name="connsiteX60" fmla="*/ 67800 w 573161"/>
                    <a:gd name="connsiteY60" fmla="*/ 92391 h 580547"/>
                    <a:gd name="connsiteX61" fmla="*/ 74944 w 573161"/>
                    <a:gd name="connsiteY61" fmla="*/ 82866 h 580547"/>
                    <a:gd name="connsiteX62" fmla="*/ 101138 w 573161"/>
                    <a:gd name="connsiteY62" fmla="*/ 63816 h 580547"/>
                    <a:gd name="connsiteX63" fmla="*/ 115425 w 573161"/>
                    <a:gd name="connsiteY63" fmla="*/ 54291 h 580547"/>
                    <a:gd name="connsiteX64" fmla="*/ 124950 w 573161"/>
                    <a:gd name="connsiteY64" fmla="*/ 47147 h 580547"/>
                    <a:gd name="connsiteX65" fmla="*/ 141619 w 573161"/>
                    <a:gd name="connsiteY65" fmla="*/ 40003 h 580547"/>
                    <a:gd name="connsiteX66" fmla="*/ 153525 w 573161"/>
                    <a:gd name="connsiteY66" fmla="*/ 37622 h 580547"/>
                    <a:gd name="connsiteX67" fmla="*/ 179719 w 573161"/>
                    <a:gd name="connsiteY67" fmla="*/ 28097 h 580547"/>
                    <a:gd name="connsiteX68" fmla="*/ 198769 w 573161"/>
                    <a:gd name="connsiteY68" fmla="*/ 23335 h 580547"/>
                    <a:gd name="connsiteX69" fmla="*/ 208294 w 573161"/>
                    <a:gd name="connsiteY69" fmla="*/ 20953 h 580547"/>
                    <a:gd name="connsiteX70" fmla="*/ 239250 w 573161"/>
                    <a:gd name="connsiteY70" fmla="*/ 11428 h 580547"/>
                    <a:gd name="connsiteX71" fmla="*/ 263063 w 573161"/>
                    <a:gd name="connsiteY71" fmla="*/ 4285 h 580547"/>
                    <a:gd name="connsiteX72" fmla="*/ 274969 w 573161"/>
                    <a:gd name="connsiteY72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13031 w 573161"/>
                    <a:gd name="connsiteY55" fmla="*/ 197166 h 580547"/>
                    <a:gd name="connsiteX56" fmla="*/ 20175 w 573161"/>
                    <a:gd name="connsiteY56" fmla="*/ 178116 h 580547"/>
                    <a:gd name="connsiteX57" fmla="*/ 27319 w 573161"/>
                    <a:gd name="connsiteY57" fmla="*/ 159066 h 580547"/>
                    <a:gd name="connsiteX58" fmla="*/ 34463 w 573161"/>
                    <a:gd name="connsiteY58" fmla="*/ 144778 h 580547"/>
                    <a:gd name="connsiteX59" fmla="*/ 43988 w 573161"/>
                    <a:gd name="connsiteY59" fmla="*/ 118585 h 580547"/>
                    <a:gd name="connsiteX60" fmla="*/ 67800 w 573161"/>
                    <a:gd name="connsiteY60" fmla="*/ 92391 h 580547"/>
                    <a:gd name="connsiteX61" fmla="*/ 74944 w 573161"/>
                    <a:gd name="connsiteY61" fmla="*/ 82866 h 580547"/>
                    <a:gd name="connsiteX62" fmla="*/ 101138 w 573161"/>
                    <a:gd name="connsiteY62" fmla="*/ 63816 h 580547"/>
                    <a:gd name="connsiteX63" fmla="*/ 115425 w 573161"/>
                    <a:gd name="connsiteY63" fmla="*/ 54291 h 580547"/>
                    <a:gd name="connsiteX64" fmla="*/ 124950 w 573161"/>
                    <a:gd name="connsiteY64" fmla="*/ 47147 h 580547"/>
                    <a:gd name="connsiteX65" fmla="*/ 141619 w 573161"/>
                    <a:gd name="connsiteY65" fmla="*/ 40003 h 580547"/>
                    <a:gd name="connsiteX66" fmla="*/ 153525 w 573161"/>
                    <a:gd name="connsiteY66" fmla="*/ 37622 h 580547"/>
                    <a:gd name="connsiteX67" fmla="*/ 179719 w 573161"/>
                    <a:gd name="connsiteY67" fmla="*/ 28097 h 580547"/>
                    <a:gd name="connsiteX68" fmla="*/ 198769 w 573161"/>
                    <a:gd name="connsiteY68" fmla="*/ 23335 h 580547"/>
                    <a:gd name="connsiteX69" fmla="*/ 239250 w 573161"/>
                    <a:gd name="connsiteY69" fmla="*/ 11428 h 580547"/>
                    <a:gd name="connsiteX70" fmla="*/ 263063 w 573161"/>
                    <a:gd name="connsiteY70" fmla="*/ 4285 h 580547"/>
                    <a:gd name="connsiteX71" fmla="*/ 274969 w 573161"/>
                    <a:gd name="connsiteY71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13031 w 573161"/>
                    <a:gd name="connsiteY55" fmla="*/ 197166 h 580547"/>
                    <a:gd name="connsiteX56" fmla="*/ 20175 w 573161"/>
                    <a:gd name="connsiteY56" fmla="*/ 178116 h 580547"/>
                    <a:gd name="connsiteX57" fmla="*/ 27319 w 573161"/>
                    <a:gd name="connsiteY57" fmla="*/ 159066 h 580547"/>
                    <a:gd name="connsiteX58" fmla="*/ 34463 w 573161"/>
                    <a:gd name="connsiteY58" fmla="*/ 144778 h 580547"/>
                    <a:gd name="connsiteX59" fmla="*/ 43988 w 573161"/>
                    <a:gd name="connsiteY59" fmla="*/ 118585 h 580547"/>
                    <a:gd name="connsiteX60" fmla="*/ 67800 w 573161"/>
                    <a:gd name="connsiteY60" fmla="*/ 92391 h 580547"/>
                    <a:gd name="connsiteX61" fmla="*/ 74944 w 573161"/>
                    <a:gd name="connsiteY61" fmla="*/ 82866 h 580547"/>
                    <a:gd name="connsiteX62" fmla="*/ 101138 w 573161"/>
                    <a:gd name="connsiteY62" fmla="*/ 63816 h 580547"/>
                    <a:gd name="connsiteX63" fmla="*/ 115425 w 573161"/>
                    <a:gd name="connsiteY63" fmla="*/ 54291 h 580547"/>
                    <a:gd name="connsiteX64" fmla="*/ 124950 w 573161"/>
                    <a:gd name="connsiteY64" fmla="*/ 47147 h 580547"/>
                    <a:gd name="connsiteX65" fmla="*/ 141619 w 573161"/>
                    <a:gd name="connsiteY65" fmla="*/ 40003 h 580547"/>
                    <a:gd name="connsiteX66" fmla="*/ 153525 w 573161"/>
                    <a:gd name="connsiteY66" fmla="*/ 37622 h 580547"/>
                    <a:gd name="connsiteX67" fmla="*/ 179719 w 573161"/>
                    <a:gd name="connsiteY67" fmla="*/ 28097 h 580547"/>
                    <a:gd name="connsiteX68" fmla="*/ 239250 w 573161"/>
                    <a:gd name="connsiteY68" fmla="*/ 11428 h 580547"/>
                    <a:gd name="connsiteX69" fmla="*/ 263063 w 573161"/>
                    <a:gd name="connsiteY69" fmla="*/ 4285 h 580547"/>
                    <a:gd name="connsiteX70" fmla="*/ 274969 w 573161"/>
                    <a:gd name="connsiteY70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13031 w 573161"/>
                    <a:gd name="connsiteY55" fmla="*/ 197166 h 580547"/>
                    <a:gd name="connsiteX56" fmla="*/ 20175 w 573161"/>
                    <a:gd name="connsiteY56" fmla="*/ 178116 h 580547"/>
                    <a:gd name="connsiteX57" fmla="*/ 27319 w 573161"/>
                    <a:gd name="connsiteY57" fmla="*/ 159066 h 580547"/>
                    <a:gd name="connsiteX58" fmla="*/ 34463 w 573161"/>
                    <a:gd name="connsiteY58" fmla="*/ 144778 h 580547"/>
                    <a:gd name="connsiteX59" fmla="*/ 43988 w 573161"/>
                    <a:gd name="connsiteY59" fmla="*/ 118585 h 580547"/>
                    <a:gd name="connsiteX60" fmla="*/ 67800 w 573161"/>
                    <a:gd name="connsiteY60" fmla="*/ 92391 h 580547"/>
                    <a:gd name="connsiteX61" fmla="*/ 74944 w 573161"/>
                    <a:gd name="connsiteY61" fmla="*/ 82866 h 580547"/>
                    <a:gd name="connsiteX62" fmla="*/ 101138 w 573161"/>
                    <a:gd name="connsiteY62" fmla="*/ 63816 h 580547"/>
                    <a:gd name="connsiteX63" fmla="*/ 115425 w 573161"/>
                    <a:gd name="connsiteY63" fmla="*/ 54291 h 580547"/>
                    <a:gd name="connsiteX64" fmla="*/ 141619 w 573161"/>
                    <a:gd name="connsiteY64" fmla="*/ 40003 h 580547"/>
                    <a:gd name="connsiteX65" fmla="*/ 153525 w 573161"/>
                    <a:gd name="connsiteY65" fmla="*/ 37622 h 580547"/>
                    <a:gd name="connsiteX66" fmla="*/ 179719 w 573161"/>
                    <a:gd name="connsiteY66" fmla="*/ 28097 h 580547"/>
                    <a:gd name="connsiteX67" fmla="*/ 239250 w 573161"/>
                    <a:gd name="connsiteY67" fmla="*/ 11428 h 580547"/>
                    <a:gd name="connsiteX68" fmla="*/ 263063 w 573161"/>
                    <a:gd name="connsiteY68" fmla="*/ 4285 h 580547"/>
                    <a:gd name="connsiteX69" fmla="*/ 274969 w 573161"/>
                    <a:gd name="connsiteY69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13031 w 573161"/>
                    <a:gd name="connsiteY55" fmla="*/ 197166 h 580547"/>
                    <a:gd name="connsiteX56" fmla="*/ 20175 w 573161"/>
                    <a:gd name="connsiteY56" fmla="*/ 178116 h 580547"/>
                    <a:gd name="connsiteX57" fmla="*/ 27319 w 573161"/>
                    <a:gd name="connsiteY57" fmla="*/ 159066 h 580547"/>
                    <a:gd name="connsiteX58" fmla="*/ 34463 w 573161"/>
                    <a:gd name="connsiteY58" fmla="*/ 144778 h 580547"/>
                    <a:gd name="connsiteX59" fmla="*/ 43988 w 573161"/>
                    <a:gd name="connsiteY59" fmla="*/ 118585 h 580547"/>
                    <a:gd name="connsiteX60" fmla="*/ 67800 w 573161"/>
                    <a:gd name="connsiteY60" fmla="*/ 92391 h 580547"/>
                    <a:gd name="connsiteX61" fmla="*/ 74944 w 573161"/>
                    <a:gd name="connsiteY61" fmla="*/ 82866 h 580547"/>
                    <a:gd name="connsiteX62" fmla="*/ 101138 w 573161"/>
                    <a:gd name="connsiteY62" fmla="*/ 63816 h 580547"/>
                    <a:gd name="connsiteX63" fmla="*/ 141619 w 573161"/>
                    <a:gd name="connsiteY63" fmla="*/ 40003 h 580547"/>
                    <a:gd name="connsiteX64" fmla="*/ 153525 w 573161"/>
                    <a:gd name="connsiteY64" fmla="*/ 37622 h 580547"/>
                    <a:gd name="connsiteX65" fmla="*/ 179719 w 573161"/>
                    <a:gd name="connsiteY65" fmla="*/ 28097 h 580547"/>
                    <a:gd name="connsiteX66" fmla="*/ 239250 w 573161"/>
                    <a:gd name="connsiteY66" fmla="*/ 11428 h 580547"/>
                    <a:gd name="connsiteX67" fmla="*/ 263063 w 573161"/>
                    <a:gd name="connsiteY67" fmla="*/ 4285 h 580547"/>
                    <a:gd name="connsiteX68" fmla="*/ 274969 w 573161"/>
                    <a:gd name="connsiteY68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13031 w 573161"/>
                    <a:gd name="connsiteY55" fmla="*/ 197166 h 580547"/>
                    <a:gd name="connsiteX56" fmla="*/ 20175 w 573161"/>
                    <a:gd name="connsiteY56" fmla="*/ 178116 h 580547"/>
                    <a:gd name="connsiteX57" fmla="*/ 27319 w 573161"/>
                    <a:gd name="connsiteY57" fmla="*/ 159066 h 580547"/>
                    <a:gd name="connsiteX58" fmla="*/ 34463 w 573161"/>
                    <a:gd name="connsiteY58" fmla="*/ 144778 h 580547"/>
                    <a:gd name="connsiteX59" fmla="*/ 43988 w 573161"/>
                    <a:gd name="connsiteY59" fmla="*/ 118585 h 580547"/>
                    <a:gd name="connsiteX60" fmla="*/ 67800 w 573161"/>
                    <a:gd name="connsiteY60" fmla="*/ 92391 h 580547"/>
                    <a:gd name="connsiteX61" fmla="*/ 74944 w 573161"/>
                    <a:gd name="connsiteY61" fmla="*/ 82866 h 580547"/>
                    <a:gd name="connsiteX62" fmla="*/ 101138 w 573161"/>
                    <a:gd name="connsiteY62" fmla="*/ 63816 h 580547"/>
                    <a:gd name="connsiteX63" fmla="*/ 141619 w 573161"/>
                    <a:gd name="connsiteY63" fmla="*/ 40003 h 580547"/>
                    <a:gd name="connsiteX64" fmla="*/ 179719 w 573161"/>
                    <a:gd name="connsiteY64" fmla="*/ 28097 h 580547"/>
                    <a:gd name="connsiteX65" fmla="*/ 239250 w 573161"/>
                    <a:gd name="connsiteY65" fmla="*/ 11428 h 580547"/>
                    <a:gd name="connsiteX66" fmla="*/ 263063 w 573161"/>
                    <a:gd name="connsiteY66" fmla="*/ 4285 h 580547"/>
                    <a:gd name="connsiteX67" fmla="*/ 274969 w 573161"/>
                    <a:gd name="connsiteY67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13031 w 573161"/>
                    <a:gd name="connsiteY55" fmla="*/ 197166 h 580547"/>
                    <a:gd name="connsiteX56" fmla="*/ 20175 w 573161"/>
                    <a:gd name="connsiteY56" fmla="*/ 178116 h 580547"/>
                    <a:gd name="connsiteX57" fmla="*/ 27319 w 573161"/>
                    <a:gd name="connsiteY57" fmla="*/ 159066 h 580547"/>
                    <a:gd name="connsiteX58" fmla="*/ 34463 w 573161"/>
                    <a:gd name="connsiteY58" fmla="*/ 144778 h 580547"/>
                    <a:gd name="connsiteX59" fmla="*/ 43988 w 573161"/>
                    <a:gd name="connsiteY59" fmla="*/ 118585 h 580547"/>
                    <a:gd name="connsiteX60" fmla="*/ 67800 w 573161"/>
                    <a:gd name="connsiteY60" fmla="*/ 92391 h 580547"/>
                    <a:gd name="connsiteX61" fmla="*/ 74944 w 573161"/>
                    <a:gd name="connsiteY61" fmla="*/ 82866 h 580547"/>
                    <a:gd name="connsiteX62" fmla="*/ 101138 w 573161"/>
                    <a:gd name="connsiteY62" fmla="*/ 63816 h 580547"/>
                    <a:gd name="connsiteX63" fmla="*/ 141619 w 573161"/>
                    <a:gd name="connsiteY63" fmla="*/ 40003 h 580547"/>
                    <a:gd name="connsiteX64" fmla="*/ 239250 w 573161"/>
                    <a:gd name="connsiteY64" fmla="*/ 11428 h 580547"/>
                    <a:gd name="connsiteX65" fmla="*/ 263063 w 573161"/>
                    <a:gd name="connsiteY65" fmla="*/ 4285 h 580547"/>
                    <a:gd name="connsiteX66" fmla="*/ 274969 w 573161"/>
                    <a:gd name="connsiteY66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13031 w 573161"/>
                    <a:gd name="connsiteY55" fmla="*/ 197166 h 580547"/>
                    <a:gd name="connsiteX56" fmla="*/ 20175 w 573161"/>
                    <a:gd name="connsiteY56" fmla="*/ 178116 h 580547"/>
                    <a:gd name="connsiteX57" fmla="*/ 27319 w 573161"/>
                    <a:gd name="connsiteY57" fmla="*/ 159066 h 580547"/>
                    <a:gd name="connsiteX58" fmla="*/ 34463 w 573161"/>
                    <a:gd name="connsiteY58" fmla="*/ 144778 h 580547"/>
                    <a:gd name="connsiteX59" fmla="*/ 43988 w 573161"/>
                    <a:gd name="connsiteY59" fmla="*/ 118585 h 580547"/>
                    <a:gd name="connsiteX60" fmla="*/ 67800 w 573161"/>
                    <a:gd name="connsiteY60" fmla="*/ 92391 h 580547"/>
                    <a:gd name="connsiteX61" fmla="*/ 74944 w 573161"/>
                    <a:gd name="connsiteY61" fmla="*/ 82866 h 580547"/>
                    <a:gd name="connsiteX62" fmla="*/ 101138 w 573161"/>
                    <a:gd name="connsiteY62" fmla="*/ 63816 h 580547"/>
                    <a:gd name="connsiteX63" fmla="*/ 141619 w 573161"/>
                    <a:gd name="connsiteY63" fmla="*/ 40003 h 580547"/>
                    <a:gd name="connsiteX64" fmla="*/ 263063 w 573161"/>
                    <a:gd name="connsiteY64" fmla="*/ 4285 h 580547"/>
                    <a:gd name="connsiteX65" fmla="*/ 274969 w 573161"/>
                    <a:gd name="connsiteY65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60706 w 573161"/>
                    <a:gd name="connsiteY4" fmla="*/ 35241 h 580547"/>
                    <a:gd name="connsiteX5" fmla="*/ 472613 w 573161"/>
                    <a:gd name="connsiteY5" fmla="*/ 51910 h 580547"/>
                    <a:gd name="connsiteX6" fmla="*/ 479756 w 573161"/>
                    <a:gd name="connsiteY6" fmla="*/ 61435 h 580547"/>
                    <a:gd name="connsiteX7" fmla="*/ 484519 w 573161"/>
                    <a:gd name="connsiteY7" fmla="*/ 68578 h 580547"/>
                    <a:gd name="connsiteX8" fmla="*/ 491663 w 573161"/>
                    <a:gd name="connsiteY8" fmla="*/ 73341 h 580547"/>
                    <a:gd name="connsiteX9" fmla="*/ 498806 w 573161"/>
                    <a:gd name="connsiteY9" fmla="*/ 82866 h 580547"/>
                    <a:gd name="connsiteX10" fmla="*/ 508331 w 573161"/>
                    <a:gd name="connsiteY10" fmla="*/ 97153 h 580547"/>
                    <a:gd name="connsiteX11" fmla="*/ 517856 w 573161"/>
                    <a:gd name="connsiteY11" fmla="*/ 106678 h 580547"/>
                    <a:gd name="connsiteX12" fmla="*/ 529763 w 573161"/>
                    <a:gd name="connsiteY12" fmla="*/ 125728 h 580547"/>
                    <a:gd name="connsiteX13" fmla="*/ 534525 w 573161"/>
                    <a:gd name="connsiteY13" fmla="*/ 135253 h 580547"/>
                    <a:gd name="connsiteX14" fmla="*/ 546431 w 573161"/>
                    <a:gd name="connsiteY14" fmla="*/ 142397 h 580547"/>
                    <a:gd name="connsiteX15" fmla="*/ 555956 w 573161"/>
                    <a:gd name="connsiteY15" fmla="*/ 168591 h 580547"/>
                    <a:gd name="connsiteX16" fmla="*/ 560719 w 573161"/>
                    <a:gd name="connsiteY16" fmla="*/ 185260 h 580547"/>
                    <a:gd name="connsiteX17" fmla="*/ 567863 w 573161"/>
                    <a:gd name="connsiteY17" fmla="*/ 220978 h 580547"/>
                    <a:gd name="connsiteX18" fmla="*/ 572625 w 573161"/>
                    <a:gd name="connsiteY18" fmla="*/ 349566 h 580547"/>
                    <a:gd name="connsiteX19" fmla="*/ 565481 w 573161"/>
                    <a:gd name="connsiteY19" fmla="*/ 411478 h 580547"/>
                    <a:gd name="connsiteX20" fmla="*/ 560719 w 573161"/>
                    <a:gd name="connsiteY20" fmla="*/ 428147 h 580547"/>
                    <a:gd name="connsiteX21" fmla="*/ 532144 w 573161"/>
                    <a:gd name="connsiteY21" fmla="*/ 451960 h 580547"/>
                    <a:gd name="connsiteX22" fmla="*/ 515475 w 573161"/>
                    <a:gd name="connsiteY22" fmla="*/ 475772 h 580547"/>
                    <a:gd name="connsiteX23" fmla="*/ 508331 w 573161"/>
                    <a:gd name="connsiteY23" fmla="*/ 482916 h 580547"/>
                    <a:gd name="connsiteX24" fmla="*/ 501188 w 573161"/>
                    <a:gd name="connsiteY24" fmla="*/ 492441 h 580547"/>
                    <a:gd name="connsiteX25" fmla="*/ 494044 w 573161"/>
                    <a:gd name="connsiteY25" fmla="*/ 499585 h 580547"/>
                    <a:gd name="connsiteX26" fmla="*/ 467850 w 573161"/>
                    <a:gd name="connsiteY26" fmla="*/ 528160 h 580547"/>
                    <a:gd name="connsiteX27" fmla="*/ 451181 w 573161"/>
                    <a:gd name="connsiteY27" fmla="*/ 537685 h 580547"/>
                    <a:gd name="connsiteX28" fmla="*/ 439275 w 573161"/>
                    <a:gd name="connsiteY28" fmla="*/ 542447 h 580547"/>
                    <a:gd name="connsiteX29" fmla="*/ 424988 w 573161"/>
                    <a:gd name="connsiteY29" fmla="*/ 544828 h 580547"/>
                    <a:gd name="connsiteX30" fmla="*/ 382125 w 573161"/>
                    <a:gd name="connsiteY30" fmla="*/ 549591 h 580547"/>
                    <a:gd name="connsiteX31" fmla="*/ 365456 w 573161"/>
                    <a:gd name="connsiteY31" fmla="*/ 554353 h 580547"/>
                    <a:gd name="connsiteX32" fmla="*/ 344025 w 573161"/>
                    <a:gd name="connsiteY32" fmla="*/ 559116 h 580547"/>
                    <a:gd name="connsiteX33" fmla="*/ 329738 w 573161"/>
                    <a:gd name="connsiteY33" fmla="*/ 563878 h 580547"/>
                    <a:gd name="connsiteX34" fmla="*/ 310688 w 573161"/>
                    <a:gd name="connsiteY34" fmla="*/ 575785 h 580547"/>
                    <a:gd name="connsiteX35" fmla="*/ 303544 w 573161"/>
                    <a:gd name="connsiteY35" fmla="*/ 578166 h 580547"/>
                    <a:gd name="connsiteX36" fmla="*/ 282113 w 573161"/>
                    <a:gd name="connsiteY36" fmla="*/ 580547 h 580547"/>
                    <a:gd name="connsiteX37" fmla="*/ 232106 w 573161"/>
                    <a:gd name="connsiteY37" fmla="*/ 578166 h 580547"/>
                    <a:gd name="connsiteX38" fmla="*/ 215438 w 573161"/>
                    <a:gd name="connsiteY38" fmla="*/ 571022 h 580547"/>
                    <a:gd name="connsiteX39" fmla="*/ 205913 w 573161"/>
                    <a:gd name="connsiteY39" fmla="*/ 568641 h 580547"/>
                    <a:gd name="connsiteX40" fmla="*/ 189244 w 573161"/>
                    <a:gd name="connsiteY40" fmla="*/ 563878 h 580547"/>
                    <a:gd name="connsiteX41" fmla="*/ 182100 w 573161"/>
                    <a:gd name="connsiteY41" fmla="*/ 559116 h 580547"/>
                    <a:gd name="connsiteX42" fmla="*/ 167813 w 573161"/>
                    <a:gd name="connsiteY42" fmla="*/ 554353 h 580547"/>
                    <a:gd name="connsiteX43" fmla="*/ 155906 w 573161"/>
                    <a:gd name="connsiteY43" fmla="*/ 544828 h 580547"/>
                    <a:gd name="connsiteX44" fmla="*/ 127331 w 573161"/>
                    <a:gd name="connsiteY44" fmla="*/ 525778 h 580547"/>
                    <a:gd name="connsiteX45" fmla="*/ 96375 w 573161"/>
                    <a:gd name="connsiteY45" fmla="*/ 504347 h 580547"/>
                    <a:gd name="connsiteX46" fmla="*/ 79706 w 573161"/>
                    <a:gd name="connsiteY46" fmla="*/ 485297 h 580547"/>
                    <a:gd name="connsiteX47" fmla="*/ 58275 w 573161"/>
                    <a:gd name="connsiteY47" fmla="*/ 461485 h 580547"/>
                    <a:gd name="connsiteX48" fmla="*/ 48750 w 573161"/>
                    <a:gd name="connsiteY48" fmla="*/ 444816 h 580547"/>
                    <a:gd name="connsiteX49" fmla="*/ 43988 w 573161"/>
                    <a:gd name="connsiteY49" fmla="*/ 432910 h 580547"/>
                    <a:gd name="connsiteX50" fmla="*/ 36844 w 573161"/>
                    <a:gd name="connsiteY50" fmla="*/ 425766 h 580547"/>
                    <a:gd name="connsiteX51" fmla="*/ 32081 w 573161"/>
                    <a:gd name="connsiteY51" fmla="*/ 416241 h 580547"/>
                    <a:gd name="connsiteX52" fmla="*/ 10650 w 573161"/>
                    <a:gd name="connsiteY52" fmla="*/ 378141 h 580547"/>
                    <a:gd name="connsiteX53" fmla="*/ 3506 w 573161"/>
                    <a:gd name="connsiteY53" fmla="*/ 354328 h 580547"/>
                    <a:gd name="connsiteX54" fmla="*/ 3506 w 573161"/>
                    <a:gd name="connsiteY54" fmla="*/ 220978 h 580547"/>
                    <a:gd name="connsiteX55" fmla="*/ 20175 w 573161"/>
                    <a:gd name="connsiteY55" fmla="*/ 178116 h 580547"/>
                    <a:gd name="connsiteX56" fmla="*/ 27319 w 573161"/>
                    <a:gd name="connsiteY56" fmla="*/ 159066 h 580547"/>
                    <a:gd name="connsiteX57" fmla="*/ 34463 w 573161"/>
                    <a:gd name="connsiteY57" fmla="*/ 144778 h 580547"/>
                    <a:gd name="connsiteX58" fmla="*/ 43988 w 573161"/>
                    <a:gd name="connsiteY58" fmla="*/ 118585 h 580547"/>
                    <a:gd name="connsiteX59" fmla="*/ 67800 w 573161"/>
                    <a:gd name="connsiteY59" fmla="*/ 92391 h 580547"/>
                    <a:gd name="connsiteX60" fmla="*/ 74944 w 573161"/>
                    <a:gd name="connsiteY60" fmla="*/ 82866 h 580547"/>
                    <a:gd name="connsiteX61" fmla="*/ 101138 w 573161"/>
                    <a:gd name="connsiteY61" fmla="*/ 63816 h 580547"/>
                    <a:gd name="connsiteX62" fmla="*/ 141619 w 573161"/>
                    <a:gd name="connsiteY62" fmla="*/ 40003 h 580547"/>
                    <a:gd name="connsiteX63" fmla="*/ 263063 w 573161"/>
                    <a:gd name="connsiteY63" fmla="*/ 4285 h 580547"/>
                    <a:gd name="connsiteX64" fmla="*/ 274969 w 573161"/>
                    <a:gd name="connsiteY64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84519 w 573161"/>
                    <a:gd name="connsiteY6" fmla="*/ 68578 h 580547"/>
                    <a:gd name="connsiteX7" fmla="*/ 491663 w 573161"/>
                    <a:gd name="connsiteY7" fmla="*/ 73341 h 580547"/>
                    <a:gd name="connsiteX8" fmla="*/ 498806 w 573161"/>
                    <a:gd name="connsiteY8" fmla="*/ 82866 h 580547"/>
                    <a:gd name="connsiteX9" fmla="*/ 508331 w 573161"/>
                    <a:gd name="connsiteY9" fmla="*/ 97153 h 580547"/>
                    <a:gd name="connsiteX10" fmla="*/ 517856 w 573161"/>
                    <a:gd name="connsiteY10" fmla="*/ 106678 h 580547"/>
                    <a:gd name="connsiteX11" fmla="*/ 529763 w 573161"/>
                    <a:gd name="connsiteY11" fmla="*/ 125728 h 580547"/>
                    <a:gd name="connsiteX12" fmla="*/ 534525 w 573161"/>
                    <a:gd name="connsiteY12" fmla="*/ 135253 h 580547"/>
                    <a:gd name="connsiteX13" fmla="*/ 546431 w 573161"/>
                    <a:gd name="connsiteY13" fmla="*/ 142397 h 580547"/>
                    <a:gd name="connsiteX14" fmla="*/ 555956 w 573161"/>
                    <a:gd name="connsiteY14" fmla="*/ 168591 h 580547"/>
                    <a:gd name="connsiteX15" fmla="*/ 560719 w 573161"/>
                    <a:gd name="connsiteY15" fmla="*/ 185260 h 580547"/>
                    <a:gd name="connsiteX16" fmla="*/ 567863 w 573161"/>
                    <a:gd name="connsiteY16" fmla="*/ 220978 h 580547"/>
                    <a:gd name="connsiteX17" fmla="*/ 572625 w 573161"/>
                    <a:gd name="connsiteY17" fmla="*/ 349566 h 580547"/>
                    <a:gd name="connsiteX18" fmla="*/ 565481 w 573161"/>
                    <a:gd name="connsiteY18" fmla="*/ 411478 h 580547"/>
                    <a:gd name="connsiteX19" fmla="*/ 560719 w 573161"/>
                    <a:gd name="connsiteY19" fmla="*/ 428147 h 580547"/>
                    <a:gd name="connsiteX20" fmla="*/ 532144 w 573161"/>
                    <a:gd name="connsiteY20" fmla="*/ 451960 h 580547"/>
                    <a:gd name="connsiteX21" fmla="*/ 515475 w 573161"/>
                    <a:gd name="connsiteY21" fmla="*/ 475772 h 580547"/>
                    <a:gd name="connsiteX22" fmla="*/ 508331 w 573161"/>
                    <a:gd name="connsiteY22" fmla="*/ 482916 h 580547"/>
                    <a:gd name="connsiteX23" fmla="*/ 501188 w 573161"/>
                    <a:gd name="connsiteY23" fmla="*/ 492441 h 580547"/>
                    <a:gd name="connsiteX24" fmla="*/ 494044 w 573161"/>
                    <a:gd name="connsiteY24" fmla="*/ 499585 h 580547"/>
                    <a:gd name="connsiteX25" fmla="*/ 467850 w 573161"/>
                    <a:gd name="connsiteY25" fmla="*/ 528160 h 580547"/>
                    <a:gd name="connsiteX26" fmla="*/ 451181 w 573161"/>
                    <a:gd name="connsiteY26" fmla="*/ 537685 h 580547"/>
                    <a:gd name="connsiteX27" fmla="*/ 439275 w 573161"/>
                    <a:gd name="connsiteY27" fmla="*/ 542447 h 580547"/>
                    <a:gd name="connsiteX28" fmla="*/ 424988 w 573161"/>
                    <a:gd name="connsiteY28" fmla="*/ 544828 h 580547"/>
                    <a:gd name="connsiteX29" fmla="*/ 382125 w 573161"/>
                    <a:gd name="connsiteY29" fmla="*/ 549591 h 580547"/>
                    <a:gd name="connsiteX30" fmla="*/ 365456 w 573161"/>
                    <a:gd name="connsiteY30" fmla="*/ 554353 h 580547"/>
                    <a:gd name="connsiteX31" fmla="*/ 344025 w 573161"/>
                    <a:gd name="connsiteY31" fmla="*/ 559116 h 580547"/>
                    <a:gd name="connsiteX32" fmla="*/ 329738 w 573161"/>
                    <a:gd name="connsiteY32" fmla="*/ 563878 h 580547"/>
                    <a:gd name="connsiteX33" fmla="*/ 310688 w 573161"/>
                    <a:gd name="connsiteY33" fmla="*/ 575785 h 580547"/>
                    <a:gd name="connsiteX34" fmla="*/ 303544 w 573161"/>
                    <a:gd name="connsiteY34" fmla="*/ 578166 h 580547"/>
                    <a:gd name="connsiteX35" fmla="*/ 282113 w 573161"/>
                    <a:gd name="connsiteY35" fmla="*/ 580547 h 580547"/>
                    <a:gd name="connsiteX36" fmla="*/ 232106 w 573161"/>
                    <a:gd name="connsiteY36" fmla="*/ 578166 h 580547"/>
                    <a:gd name="connsiteX37" fmla="*/ 215438 w 573161"/>
                    <a:gd name="connsiteY37" fmla="*/ 571022 h 580547"/>
                    <a:gd name="connsiteX38" fmla="*/ 205913 w 573161"/>
                    <a:gd name="connsiteY38" fmla="*/ 568641 h 580547"/>
                    <a:gd name="connsiteX39" fmla="*/ 189244 w 573161"/>
                    <a:gd name="connsiteY39" fmla="*/ 563878 h 580547"/>
                    <a:gd name="connsiteX40" fmla="*/ 182100 w 573161"/>
                    <a:gd name="connsiteY40" fmla="*/ 559116 h 580547"/>
                    <a:gd name="connsiteX41" fmla="*/ 167813 w 573161"/>
                    <a:gd name="connsiteY41" fmla="*/ 554353 h 580547"/>
                    <a:gd name="connsiteX42" fmla="*/ 155906 w 573161"/>
                    <a:gd name="connsiteY42" fmla="*/ 544828 h 580547"/>
                    <a:gd name="connsiteX43" fmla="*/ 127331 w 573161"/>
                    <a:gd name="connsiteY43" fmla="*/ 525778 h 580547"/>
                    <a:gd name="connsiteX44" fmla="*/ 96375 w 573161"/>
                    <a:gd name="connsiteY44" fmla="*/ 504347 h 580547"/>
                    <a:gd name="connsiteX45" fmla="*/ 79706 w 573161"/>
                    <a:gd name="connsiteY45" fmla="*/ 485297 h 580547"/>
                    <a:gd name="connsiteX46" fmla="*/ 58275 w 573161"/>
                    <a:gd name="connsiteY46" fmla="*/ 461485 h 580547"/>
                    <a:gd name="connsiteX47" fmla="*/ 48750 w 573161"/>
                    <a:gd name="connsiteY47" fmla="*/ 444816 h 580547"/>
                    <a:gd name="connsiteX48" fmla="*/ 43988 w 573161"/>
                    <a:gd name="connsiteY48" fmla="*/ 432910 h 580547"/>
                    <a:gd name="connsiteX49" fmla="*/ 36844 w 573161"/>
                    <a:gd name="connsiteY49" fmla="*/ 425766 h 580547"/>
                    <a:gd name="connsiteX50" fmla="*/ 32081 w 573161"/>
                    <a:gd name="connsiteY50" fmla="*/ 416241 h 580547"/>
                    <a:gd name="connsiteX51" fmla="*/ 10650 w 573161"/>
                    <a:gd name="connsiteY51" fmla="*/ 378141 h 580547"/>
                    <a:gd name="connsiteX52" fmla="*/ 3506 w 573161"/>
                    <a:gd name="connsiteY52" fmla="*/ 354328 h 580547"/>
                    <a:gd name="connsiteX53" fmla="*/ 3506 w 573161"/>
                    <a:gd name="connsiteY53" fmla="*/ 220978 h 580547"/>
                    <a:gd name="connsiteX54" fmla="*/ 20175 w 573161"/>
                    <a:gd name="connsiteY54" fmla="*/ 178116 h 580547"/>
                    <a:gd name="connsiteX55" fmla="*/ 27319 w 573161"/>
                    <a:gd name="connsiteY55" fmla="*/ 159066 h 580547"/>
                    <a:gd name="connsiteX56" fmla="*/ 34463 w 573161"/>
                    <a:gd name="connsiteY56" fmla="*/ 144778 h 580547"/>
                    <a:gd name="connsiteX57" fmla="*/ 43988 w 573161"/>
                    <a:gd name="connsiteY57" fmla="*/ 118585 h 580547"/>
                    <a:gd name="connsiteX58" fmla="*/ 67800 w 573161"/>
                    <a:gd name="connsiteY58" fmla="*/ 92391 h 580547"/>
                    <a:gd name="connsiteX59" fmla="*/ 74944 w 573161"/>
                    <a:gd name="connsiteY59" fmla="*/ 82866 h 580547"/>
                    <a:gd name="connsiteX60" fmla="*/ 101138 w 573161"/>
                    <a:gd name="connsiteY60" fmla="*/ 63816 h 580547"/>
                    <a:gd name="connsiteX61" fmla="*/ 141619 w 573161"/>
                    <a:gd name="connsiteY61" fmla="*/ 40003 h 580547"/>
                    <a:gd name="connsiteX62" fmla="*/ 263063 w 573161"/>
                    <a:gd name="connsiteY62" fmla="*/ 4285 h 580547"/>
                    <a:gd name="connsiteX63" fmla="*/ 274969 w 573161"/>
                    <a:gd name="connsiteY63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84519 w 573161"/>
                    <a:gd name="connsiteY6" fmla="*/ 68578 h 580547"/>
                    <a:gd name="connsiteX7" fmla="*/ 498806 w 573161"/>
                    <a:gd name="connsiteY7" fmla="*/ 82866 h 580547"/>
                    <a:gd name="connsiteX8" fmla="*/ 508331 w 573161"/>
                    <a:gd name="connsiteY8" fmla="*/ 97153 h 580547"/>
                    <a:gd name="connsiteX9" fmla="*/ 517856 w 573161"/>
                    <a:gd name="connsiteY9" fmla="*/ 106678 h 580547"/>
                    <a:gd name="connsiteX10" fmla="*/ 529763 w 573161"/>
                    <a:gd name="connsiteY10" fmla="*/ 125728 h 580547"/>
                    <a:gd name="connsiteX11" fmla="*/ 534525 w 573161"/>
                    <a:gd name="connsiteY11" fmla="*/ 135253 h 580547"/>
                    <a:gd name="connsiteX12" fmla="*/ 546431 w 573161"/>
                    <a:gd name="connsiteY12" fmla="*/ 142397 h 580547"/>
                    <a:gd name="connsiteX13" fmla="*/ 555956 w 573161"/>
                    <a:gd name="connsiteY13" fmla="*/ 168591 h 580547"/>
                    <a:gd name="connsiteX14" fmla="*/ 560719 w 573161"/>
                    <a:gd name="connsiteY14" fmla="*/ 185260 h 580547"/>
                    <a:gd name="connsiteX15" fmla="*/ 567863 w 573161"/>
                    <a:gd name="connsiteY15" fmla="*/ 220978 h 580547"/>
                    <a:gd name="connsiteX16" fmla="*/ 572625 w 573161"/>
                    <a:gd name="connsiteY16" fmla="*/ 349566 h 580547"/>
                    <a:gd name="connsiteX17" fmla="*/ 565481 w 573161"/>
                    <a:gd name="connsiteY17" fmla="*/ 411478 h 580547"/>
                    <a:gd name="connsiteX18" fmla="*/ 560719 w 573161"/>
                    <a:gd name="connsiteY18" fmla="*/ 428147 h 580547"/>
                    <a:gd name="connsiteX19" fmla="*/ 532144 w 573161"/>
                    <a:gd name="connsiteY19" fmla="*/ 451960 h 580547"/>
                    <a:gd name="connsiteX20" fmla="*/ 515475 w 573161"/>
                    <a:gd name="connsiteY20" fmla="*/ 475772 h 580547"/>
                    <a:gd name="connsiteX21" fmla="*/ 508331 w 573161"/>
                    <a:gd name="connsiteY21" fmla="*/ 482916 h 580547"/>
                    <a:gd name="connsiteX22" fmla="*/ 501188 w 573161"/>
                    <a:gd name="connsiteY22" fmla="*/ 492441 h 580547"/>
                    <a:gd name="connsiteX23" fmla="*/ 494044 w 573161"/>
                    <a:gd name="connsiteY23" fmla="*/ 499585 h 580547"/>
                    <a:gd name="connsiteX24" fmla="*/ 467850 w 573161"/>
                    <a:gd name="connsiteY24" fmla="*/ 528160 h 580547"/>
                    <a:gd name="connsiteX25" fmla="*/ 451181 w 573161"/>
                    <a:gd name="connsiteY25" fmla="*/ 537685 h 580547"/>
                    <a:gd name="connsiteX26" fmla="*/ 439275 w 573161"/>
                    <a:gd name="connsiteY26" fmla="*/ 542447 h 580547"/>
                    <a:gd name="connsiteX27" fmla="*/ 424988 w 573161"/>
                    <a:gd name="connsiteY27" fmla="*/ 544828 h 580547"/>
                    <a:gd name="connsiteX28" fmla="*/ 382125 w 573161"/>
                    <a:gd name="connsiteY28" fmla="*/ 549591 h 580547"/>
                    <a:gd name="connsiteX29" fmla="*/ 365456 w 573161"/>
                    <a:gd name="connsiteY29" fmla="*/ 554353 h 580547"/>
                    <a:gd name="connsiteX30" fmla="*/ 344025 w 573161"/>
                    <a:gd name="connsiteY30" fmla="*/ 559116 h 580547"/>
                    <a:gd name="connsiteX31" fmla="*/ 329738 w 573161"/>
                    <a:gd name="connsiteY31" fmla="*/ 563878 h 580547"/>
                    <a:gd name="connsiteX32" fmla="*/ 310688 w 573161"/>
                    <a:gd name="connsiteY32" fmla="*/ 575785 h 580547"/>
                    <a:gd name="connsiteX33" fmla="*/ 303544 w 573161"/>
                    <a:gd name="connsiteY33" fmla="*/ 578166 h 580547"/>
                    <a:gd name="connsiteX34" fmla="*/ 282113 w 573161"/>
                    <a:gd name="connsiteY34" fmla="*/ 580547 h 580547"/>
                    <a:gd name="connsiteX35" fmla="*/ 232106 w 573161"/>
                    <a:gd name="connsiteY35" fmla="*/ 578166 h 580547"/>
                    <a:gd name="connsiteX36" fmla="*/ 215438 w 573161"/>
                    <a:gd name="connsiteY36" fmla="*/ 571022 h 580547"/>
                    <a:gd name="connsiteX37" fmla="*/ 205913 w 573161"/>
                    <a:gd name="connsiteY37" fmla="*/ 568641 h 580547"/>
                    <a:gd name="connsiteX38" fmla="*/ 189244 w 573161"/>
                    <a:gd name="connsiteY38" fmla="*/ 563878 h 580547"/>
                    <a:gd name="connsiteX39" fmla="*/ 182100 w 573161"/>
                    <a:gd name="connsiteY39" fmla="*/ 559116 h 580547"/>
                    <a:gd name="connsiteX40" fmla="*/ 167813 w 573161"/>
                    <a:gd name="connsiteY40" fmla="*/ 554353 h 580547"/>
                    <a:gd name="connsiteX41" fmla="*/ 155906 w 573161"/>
                    <a:gd name="connsiteY41" fmla="*/ 544828 h 580547"/>
                    <a:gd name="connsiteX42" fmla="*/ 127331 w 573161"/>
                    <a:gd name="connsiteY42" fmla="*/ 525778 h 580547"/>
                    <a:gd name="connsiteX43" fmla="*/ 96375 w 573161"/>
                    <a:gd name="connsiteY43" fmla="*/ 504347 h 580547"/>
                    <a:gd name="connsiteX44" fmla="*/ 79706 w 573161"/>
                    <a:gd name="connsiteY44" fmla="*/ 485297 h 580547"/>
                    <a:gd name="connsiteX45" fmla="*/ 58275 w 573161"/>
                    <a:gd name="connsiteY45" fmla="*/ 461485 h 580547"/>
                    <a:gd name="connsiteX46" fmla="*/ 48750 w 573161"/>
                    <a:gd name="connsiteY46" fmla="*/ 444816 h 580547"/>
                    <a:gd name="connsiteX47" fmla="*/ 43988 w 573161"/>
                    <a:gd name="connsiteY47" fmla="*/ 432910 h 580547"/>
                    <a:gd name="connsiteX48" fmla="*/ 36844 w 573161"/>
                    <a:gd name="connsiteY48" fmla="*/ 425766 h 580547"/>
                    <a:gd name="connsiteX49" fmla="*/ 32081 w 573161"/>
                    <a:gd name="connsiteY49" fmla="*/ 416241 h 580547"/>
                    <a:gd name="connsiteX50" fmla="*/ 10650 w 573161"/>
                    <a:gd name="connsiteY50" fmla="*/ 378141 h 580547"/>
                    <a:gd name="connsiteX51" fmla="*/ 3506 w 573161"/>
                    <a:gd name="connsiteY51" fmla="*/ 354328 h 580547"/>
                    <a:gd name="connsiteX52" fmla="*/ 3506 w 573161"/>
                    <a:gd name="connsiteY52" fmla="*/ 220978 h 580547"/>
                    <a:gd name="connsiteX53" fmla="*/ 20175 w 573161"/>
                    <a:gd name="connsiteY53" fmla="*/ 178116 h 580547"/>
                    <a:gd name="connsiteX54" fmla="*/ 27319 w 573161"/>
                    <a:gd name="connsiteY54" fmla="*/ 159066 h 580547"/>
                    <a:gd name="connsiteX55" fmla="*/ 34463 w 573161"/>
                    <a:gd name="connsiteY55" fmla="*/ 144778 h 580547"/>
                    <a:gd name="connsiteX56" fmla="*/ 43988 w 573161"/>
                    <a:gd name="connsiteY56" fmla="*/ 118585 h 580547"/>
                    <a:gd name="connsiteX57" fmla="*/ 67800 w 573161"/>
                    <a:gd name="connsiteY57" fmla="*/ 92391 h 580547"/>
                    <a:gd name="connsiteX58" fmla="*/ 74944 w 573161"/>
                    <a:gd name="connsiteY58" fmla="*/ 82866 h 580547"/>
                    <a:gd name="connsiteX59" fmla="*/ 101138 w 573161"/>
                    <a:gd name="connsiteY59" fmla="*/ 63816 h 580547"/>
                    <a:gd name="connsiteX60" fmla="*/ 141619 w 573161"/>
                    <a:gd name="connsiteY60" fmla="*/ 40003 h 580547"/>
                    <a:gd name="connsiteX61" fmla="*/ 263063 w 573161"/>
                    <a:gd name="connsiteY61" fmla="*/ 4285 h 580547"/>
                    <a:gd name="connsiteX62" fmla="*/ 274969 w 573161"/>
                    <a:gd name="connsiteY62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08331 w 573161"/>
                    <a:gd name="connsiteY7" fmla="*/ 97153 h 580547"/>
                    <a:gd name="connsiteX8" fmla="*/ 517856 w 573161"/>
                    <a:gd name="connsiteY8" fmla="*/ 106678 h 580547"/>
                    <a:gd name="connsiteX9" fmla="*/ 529763 w 573161"/>
                    <a:gd name="connsiteY9" fmla="*/ 125728 h 580547"/>
                    <a:gd name="connsiteX10" fmla="*/ 534525 w 573161"/>
                    <a:gd name="connsiteY10" fmla="*/ 135253 h 580547"/>
                    <a:gd name="connsiteX11" fmla="*/ 546431 w 573161"/>
                    <a:gd name="connsiteY11" fmla="*/ 142397 h 580547"/>
                    <a:gd name="connsiteX12" fmla="*/ 555956 w 573161"/>
                    <a:gd name="connsiteY12" fmla="*/ 168591 h 580547"/>
                    <a:gd name="connsiteX13" fmla="*/ 560719 w 573161"/>
                    <a:gd name="connsiteY13" fmla="*/ 185260 h 580547"/>
                    <a:gd name="connsiteX14" fmla="*/ 567863 w 573161"/>
                    <a:gd name="connsiteY14" fmla="*/ 220978 h 580547"/>
                    <a:gd name="connsiteX15" fmla="*/ 572625 w 573161"/>
                    <a:gd name="connsiteY15" fmla="*/ 349566 h 580547"/>
                    <a:gd name="connsiteX16" fmla="*/ 565481 w 573161"/>
                    <a:gd name="connsiteY16" fmla="*/ 411478 h 580547"/>
                    <a:gd name="connsiteX17" fmla="*/ 560719 w 573161"/>
                    <a:gd name="connsiteY17" fmla="*/ 428147 h 580547"/>
                    <a:gd name="connsiteX18" fmla="*/ 532144 w 573161"/>
                    <a:gd name="connsiteY18" fmla="*/ 451960 h 580547"/>
                    <a:gd name="connsiteX19" fmla="*/ 515475 w 573161"/>
                    <a:gd name="connsiteY19" fmla="*/ 475772 h 580547"/>
                    <a:gd name="connsiteX20" fmla="*/ 508331 w 573161"/>
                    <a:gd name="connsiteY20" fmla="*/ 482916 h 580547"/>
                    <a:gd name="connsiteX21" fmla="*/ 501188 w 573161"/>
                    <a:gd name="connsiteY21" fmla="*/ 492441 h 580547"/>
                    <a:gd name="connsiteX22" fmla="*/ 494044 w 573161"/>
                    <a:gd name="connsiteY22" fmla="*/ 499585 h 580547"/>
                    <a:gd name="connsiteX23" fmla="*/ 467850 w 573161"/>
                    <a:gd name="connsiteY23" fmla="*/ 528160 h 580547"/>
                    <a:gd name="connsiteX24" fmla="*/ 451181 w 573161"/>
                    <a:gd name="connsiteY24" fmla="*/ 537685 h 580547"/>
                    <a:gd name="connsiteX25" fmla="*/ 439275 w 573161"/>
                    <a:gd name="connsiteY25" fmla="*/ 542447 h 580547"/>
                    <a:gd name="connsiteX26" fmla="*/ 424988 w 573161"/>
                    <a:gd name="connsiteY26" fmla="*/ 544828 h 580547"/>
                    <a:gd name="connsiteX27" fmla="*/ 382125 w 573161"/>
                    <a:gd name="connsiteY27" fmla="*/ 549591 h 580547"/>
                    <a:gd name="connsiteX28" fmla="*/ 365456 w 573161"/>
                    <a:gd name="connsiteY28" fmla="*/ 554353 h 580547"/>
                    <a:gd name="connsiteX29" fmla="*/ 344025 w 573161"/>
                    <a:gd name="connsiteY29" fmla="*/ 559116 h 580547"/>
                    <a:gd name="connsiteX30" fmla="*/ 329738 w 573161"/>
                    <a:gd name="connsiteY30" fmla="*/ 563878 h 580547"/>
                    <a:gd name="connsiteX31" fmla="*/ 310688 w 573161"/>
                    <a:gd name="connsiteY31" fmla="*/ 575785 h 580547"/>
                    <a:gd name="connsiteX32" fmla="*/ 303544 w 573161"/>
                    <a:gd name="connsiteY32" fmla="*/ 578166 h 580547"/>
                    <a:gd name="connsiteX33" fmla="*/ 282113 w 573161"/>
                    <a:gd name="connsiteY33" fmla="*/ 580547 h 580547"/>
                    <a:gd name="connsiteX34" fmla="*/ 232106 w 573161"/>
                    <a:gd name="connsiteY34" fmla="*/ 578166 h 580547"/>
                    <a:gd name="connsiteX35" fmla="*/ 215438 w 573161"/>
                    <a:gd name="connsiteY35" fmla="*/ 571022 h 580547"/>
                    <a:gd name="connsiteX36" fmla="*/ 205913 w 573161"/>
                    <a:gd name="connsiteY36" fmla="*/ 568641 h 580547"/>
                    <a:gd name="connsiteX37" fmla="*/ 189244 w 573161"/>
                    <a:gd name="connsiteY37" fmla="*/ 563878 h 580547"/>
                    <a:gd name="connsiteX38" fmla="*/ 182100 w 573161"/>
                    <a:gd name="connsiteY38" fmla="*/ 559116 h 580547"/>
                    <a:gd name="connsiteX39" fmla="*/ 167813 w 573161"/>
                    <a:gd name="connsiteY39" fmla="*/ 554353 h 580547"/>
                    <a:gd name="connsiteX40" fmla="*/ 155906 w 573161"/>
                    <a:gd name="connsiteY40" fmla="*/ 544828 h 580547"/>
                    <a:gd name="connsiteX41" fmla="*/ 127331 w 573161"/>
                    <a:gd name="connsiteY41" fmla="*/ 525778 h 580547"/>
                    <a:gd name="connsiteX42" fmla="*/ 96375 w 573161"/>
                    <a:gd name="connsiteY42" fmla="*/ 504347 h 580547"/>
                    <a:gd name="connsiteX43" fmla="*/ 79706 w 573161"/>
                    <a:gd name="connsiteY43" fmla="*/ 485297 h 580547"/>
                    <a:gd name="connsiteX44" fmla="*/ 58275 w 573161"/>
                    <a:gd name="connsiteY44" fmla="*/ 461485 h 580547"/>
                    <a:gd name="connsiteX45" fmla="*/ 48750 w 573161"/>
                    <a:gd name="connsiteY45" fmla="*/ 444816 h 580547"/>
                    <a:gd name="connsiteX46" fmla="*/ 43988 w 573161"/>
                    <a:gd name="connsiteY46" fmla="*/ 432910 h 580547"/>
                    <a:gd name="connsiteX47" fmla="*/ 36844 w 573161"/>
                    <a:gd name="connsiteY47" fmla="*/ 425766 h 580547"/>
                    <a:gd name="connsiteX48" fmla="*/ 32081 w 573161"/>
                    <a:gd name="connsiteY48" fmla="*/ 416241 h 580547"/>
                    <a:gd name="connsiteX49" fmla="*/ 10650 w 573161"/>
                    <a:gd name="connsiteY49" fmla="*/ 378141 h 580547"/>
                    <a:gd name="connsiteX50" fmla="*/ 3506 w 573161"/>
                    <a:gd name="connsiteY50" fmla="*/ 354328 h 580547"/>
                    <a:gd name="connsiteX51" fmla="*/ 3506 w 573161"/>
                    <a:gd name="connsiteY51" fmla="*/ 220978 h 580547"/>
                    <a:gd name="connsiteX52" fmla="*/ 20175 w 573161"/>
                    <a:gd name="connsiteY52" fmla="*/ 178116 h 580547"/>
                    <a:gd name="connsiteX53" fmla="*/ 27319 w 573161"/>
                    <a:gd name="connsiteY53" fmla="*/ 159066 h 580547"/>
                    <a:gd name="connsiteX54" fmla="*/ 34463 w 573161"/>
                    <a:gd name="connsiteY54" fmla="*/ 144778 h 580547"/>
                    <a:gd name="connsiteX55" fmla="*/ 43988 w 573161"/>
                    <a:gd name="connsiteY55" fmla="*/ 118585 h 580547"/>
                    <a:gd name="connsiteX56" fmla="*/ 67800 w 573161"/>
                    <a:gd name="connsiteY56" fmla="*/ 92391 h 580547"/>
                    <a:gd name="connsiteX57" fmla="*/ 74944 w 573161"/>
                    <a:gd name="connsiteY57" fmla="*/ 82866 h 580547"/>
                    <a:gd name="connsiteX58" fmla="*/ 101138 w 573161"/>
                    <a:gd name="connsiteY58" fmla="*/ 63816 h 580547"/>
                    <a:gd name="connsiteX59" fmla="*/ 141619 w 573161"/>
                    <a:gd name="connsiteY59" fmla="*/ 40003 h 580547"/>
                    <a:gd name="connsiteX60" fmla="*/ 263063 w 573161"/>
                    <a:gd name="connsiteY60" fmla="*/ 4285 h 580547"/>
                    <a:gd name="connsiteX61" fmla="*/ 274969 w 573161"/>
                    <a:gd name="connsiteY61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08331 w 573161"/>
                    <a:gd name="connsiteY7" fmla="*/ 97153 h 580547"/>
                    <a:gd name="connsiteX8" fmla="*/ 529763 w 573161"/>
                    <a:gd name="connsiteY8" fmla="*/ 125728 h 580547"/>
                    <a:gd name="connsiteX9" fmla="*/ 534525 w 573161"/>
                    <a:gd name="connsiteY9" fmla="*/ 135253 h 580547"/>
                    <a:gd name="connsiteX10" fmla="*/ 546431 w 573161"/>
                    <a:gd name="connsiteY10" fmla="*/ 142397 h 580547"/>
                    <a:gd name="connsiteX11" fmla="*/ 555956 w 573161"/>
                    <a:gd name="connsiteY11" fmla="*/ 168591 h 580547"/>
                    <a:gd name="connsiteX12" fmla="*/ 560719 w 573161"/>
                    <a:gd name="connsiteY12" fmla="*/ 185260 h 580547"/>
                    <a:gd name="connsiteX13" fmla="*/ 567863 w 573161"/>
                    <a:gd name="connsiteY13" fmla="*/ 220978 h 580547"/>
                    <a:gd name="connsiteX14" fmla="*/ 572625 w 573161"/>
                    <a:gd name="connsiteY14" fmla="*/ 349566 h 580547"/>
                    <a:gd name="connsiteX15" fmla="*/ 565481 w 573161"/>
                    <a:gd name="connsiteY15" fmla="*/ 411478 h 580547"/>
                    <a:gd name="connsiteX16" fmla="*/ 560719 w 573161"/>
                    <a:gd name="connsiteY16" fmla="*/ 428147 h 580547"/>
                    <a:gd name="connsiteX17" fmla="*/ 532144 w 573161"/>
                    <a:gd name="connsiteY17" fmla="*/ 451960 h 580547"/>
                    <a:gd name="connsiteX18" fmla="*/ 515475 w 573161"/>
                    <a:gd name="connsiteY18" fmla="*/ 475772 h 580547"/>
                    <a:gd name="connsiteX19" fmla="*/ 508331 w 573161"/>
                    <a:gd name="connsiteY19" fmla="*/ 482916 h 580547"/>
                    <a:gd name="connsiteX20" fmla="*/ 501188 w 573161"/>
                    <a:gd name="connsiteY20" fmla="*/ 492441 h 580547"/>
                    <a:gd name="connsiteX21" fmla="*/ 494044 w 573161"/>
                    <a:gd name="connsiteY21" fmla="*/ 499585 h 580547"/>
                    <a:gd name="connsiteX22" fmla="*/ 467850 w 573161"/>
                    <a:gd name="connsiteY22" fmla="*/ 528160 h 580547"/>
                    <a:gd name="connsiteX23" fmla="*/ 451181 w 573161"/>
                    <a:gd name="connsiteY23" fmla="*/ 537685 h 580547"/>
                    <a:gd name="connsiteX24" fmla="*/ 439275 w 573161"/>
                    <a:gd name="connsiteY24" fmla="*/ 542447 h 580547"/>
                    <a:gd name="connsiteX25" fmla="*/ 424988 w 573161"/>
                    <a:gd name="connsiteY25" fmla="*/ 544828 h 580547"/>
                    <a:gd name="connsiteX26" fmla="*/ 382125 w 573161"/>
                    <a:gd name="connsiteY26" fmla="*/ 549591 h 580547"/>
                    <a:gd name="connsiteX27" fmla="*/ 365456 w 573161"/>
                    <a:gd name="connsiteY27" fmla="*/ 554353 h 580547"/>
                    <a:gd name="connsiteX28" fmla="*/ 344025 w 573161"/>
                    <a:gd name="connsiteY28" fmla="*/ 559116 h 580547"/>
                    <a:gd name="connsiteX29" fmla="*/ 329738 w 573161"/>
                    <a:gd name="connsiteY29" fmla="*/ 563878 h 580547"/>
                    <a:gd name="connsiteX30" fmla="*/ 310688 w 573161"/>
                    <a:gd name="connsiteY30" fmla="*/ 575785 h 580547"/>
                    <a:gd name="connsiteX31" fmla="*/ 303544 w 573161"/>
                    <a:gd name="connsiteY31" fmla="*/ 578166 h 580547"/>
                    <a:gd name="connsiteX32" fmla="*/ 282113 w 573161"/>
                    <a:gd name="connsiteY32" fmla="*/ 580547 h 580547"/>
                    <a:gd name="connsiteX33" fmla="*/ 232106 w 573161"/>
                    <a:gd name="connsiteY33" fmla="*/ 578166 h 580547"/>
                    <a:gd name="connsiteX34" fmla="*/ 215438 w 573161"/>
                    <a:gd name="connsiteY34" fmla="*/ 571022 h 580547"/>
                    <a:gd name="connsiteX35" fmla="*/ 205913 w 573161"/>
                    <a:gd name="connsiteY35" fmla="*/ 568641 h 580547"/>
                    <a:gd name="connsiteX36" fmla="*/ 189244 w 573161"/>
                    <a:gd name="connsiteY36" fmla="*/ 563878 h 580547"/>
                    <a:gd name="connsiteX37" fmla="*/ 182100 w 573161"/>
                    <a:gd name="connsiteY37" fmla="*/ 559116 h 580547"/>
                    <a:gd name="connsiteX38" fmla="*/ 167813 w 573161"/>
                    <a:gd name="connsiteY38" fmla="*/ 554353 h 580547"/>
                    <a:gd name="connsiteX39" fmla="*/ 155906 w 573161"/>
                    <a:gd name="connsiteY39" fmla="*/ 544828 h 580547"/>
                    <a:gd name="connsiteX40" fmla="*/ 127331 w 573161"/>
                    <a:gd name="connsiteY40" fmla="*/ 525778 h 580547"/>
                    <a:gd name="connsiteX41" fmla="*/ 96375 w 573161"/>
                    <a:gd name="connsiteY41" fmla="*/ 504347 h 580547"/>
                    <a:gd name="connsiteX42" fmla="*/ 79706 w 573161"/>
                    <a:gd name="connsiteY42" fmla="*/ 485297 h 580547"/>
                    <a:gd name="connsiteX43" fmla="*/ 58275 w 573161"/>
                    <a:gd name="connsiteY43" fmla="*/ 461485 h 580547"/>
                    <a:gd name="connsiteX44" fmla="*/ 48750 w 573161"/>
                    <a:gd name="connsiteY44" fmla="*/ 444816 h 580547"/>
                    <a:gd name="connsiteX45" fmla="*/ 43988 w 573161"/>
                    <a:gd name="connsiteY45" fmla="*/ 432910 h 580547"/>
                    <a:gd name="connsiteX46" fmla="*/ 36844 w 573161"/>
                    <a:gd name="connsiteY46" fmla="*/ 425766 h 580547"/>
                    <a:gd name="connsiteX47" fmla="*/ 32081 w 573161"/>
                    <a:gd name="connsiteY47" fmla="*/ 416241 h 580547"/>
                    <a:gd name="connsiteX48" fmla="*/ 10650 w 573161"/>
                    <a:gd name="connsiteY48" fmla="*/ 378141 h 580547"/>
                    <a:gd name="connsiteX49" fmla="*/ 3506 w 573161"/>
                    <a:gd name="connsiteY49" fmla="*/ 354328 h 580547"/>
                    <a:gd name="connsiteX50" fmla="*/ 3506 w 573161"/>
                    <a:gd name="connsiteY50" fmla="*/ 220978 h 580547"/>
                    <a:gd name="connsiteX51" fmla="*/ 20175 w 573161"/>
                    <a:gd name="connsiteY51" fmla="*/ 178116 h 580547"/>
                    <a:gd name="connsiteX52" fmla="*/ 27319 w 573161"/>
                    <a:gd name="connsiteY52" fmla="*/ 159066 h 580547"/>
                    <a:gd name="connsiteX53" fmla="*/ 34463 w 573161"/>
                    <a:gd name="connsiteY53" fmla="*/ 144778 h 580547"/>
                    <a:gd name="connsiteX54" fmla="*/ 43988 w 573161"/>
                    <a:gd name="connsiteY54" fmla="*/ 118585 h 580547"/>
                    <a:gd name="connsiteX55" fmla="*/ 67800 w 573161"/>
                    <a:gd name="connsiteY55" fmla="*/ 92391 h 580547"/>
                    <a:gd name="connsiteX56" fmla="*/ 74944 w 573161"/>
                    <a:gd name="connsiteY56" fmla="*/ 82866 h 580547"/>
                    <a:gd name="connsiteX57" fmla="*/ 101138 w 573161"/>
                    <a:gd name="connsiteY57" fmla="*/ 63816 h 580547"/>
                    <a:gd name="connsiteX58" fmla="*/ 141619 w 573161"/>
                    <a:gd name="connsiteY58" fmla="*/ 40003 h 580547"/>
                    <a:gd name="connsiteX59" fmla="*/ 263063 w 573161"/>
                    <a:gd name="connsiteY59" fmla="*/ 4285 h 580547"/>
                    <a:gd name="connsiteX60" fmla="*/ 274969 w 573161"/>
                    <a:gd name="connsiteY60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34525 w 573161"/>
                    <a:gd name="connsiteY8" fmla="*/ 135253 h 580547"/>
                    <a:gd name="connsiteX9" fmla="*/ 546431 w 573161"/>
                    <a:gd name="connsiteY9" fmla="*/ 142397 h 580547"/>
                    <a:gd name="connsiteX10" fmla="*/ 555956 w 573161"/>
                    <a:gd name="connsiteY10" fmla="*/ 168591 h 580547"/>
                    <a:gd name="connsiteX11" fmla="*/ 560719 w 573161"/>
                    <a:gd name="connsiteY11" fmla="*/ 185260 h 580547"/>
                    <a:gd name="connsiteX12" fmla="*/ 567863 w 573161"/>
                    <a:gd name="connsiteY12" fmla="*/ 220978 h 580547"/>
                    <a:gd name="connsiteX13" fmla="*/ 572625 w 573161"/>
                    <a:gd name="connsiteY13" fmla="*/ 349566 h 580547"/>
                    <a:gd name="connsiteX14" fmla="*/ 565481 w 573161"/>
                    <a:gd name="connsiteY14" fmla="*/ 411478 h 580547"/>
                    <a:gd name="connsiteX15" fmla="*/ 560719 w 573161"/>
                    <a:gd name="connsiteY15" fmla="*/ 428147 h 580547"/>
                    <a:gd name="connsiteX16" fmla="*/ 532144 w 573161"/>
                    <a:gd name="connsiteY16" fmla="*/ 451960 h 580547"/>
                    <a:gd name="connsiteX17" fmla="*/ 515475 w 573161"/>
                    <a:gd name="connsiteY17" fmla="*/ 475772 h 580547"/>
                    <a:gd name="connsiteX18" fmla="*/ 508331 w 573161"/>
                    <a:gd name="connsiteY18" fmla="*/ 482916 h 580547"/>
                    <a:gd name="connsiteX19" fmla="*/ 501188 w 573161"/>
                    <a:gd name="connsiteY19" fmla="*/ 492441 h 580547"/>
                    <a:gd name="connsiteX20" fmla="*/ 494044 w 573161"/>
                    <a:gd name="connsiteY20" fmla="*/ 499585 h 580547"/>
                    <a:gd name="connsiteX21" fmla="*/ 467850 w 573161"/>
                    <a:gd name="connsiteY21" fmla="*/ 528160 h 580547"/>
                    <a:gd name="connsiteX22" fmla="*/ 451181 w 573161"/>
                    <a:gd name="connsiteY22" fmla="*/ 537685 h 580547"/>
                    <a:gd name="connsiteX23" fmla="*/ 439275 w 573161"/>
                    <a:gd name="connsiteY23" fmla="*/ 542447 h 580547"/>
                    <a:gd name="connsiteX24" fmla="*/ 424988 w 573161"/>
                    <a:gd name="connsiteY24" fmla="*/ 544828 h 580547"/>
                    <a:gd name="connsiteX25" fmla="*/ 382125 w 573161"/>
                    <a:gd name="connsiteY25" fmla="*/ 549591 h 580547"/>
                    <a:gd name="connsiteX26" fmla="*/ 365456 w 573161"/>
                    <a:gd name="connsiteY26" fmla="*/ 554353 h 580547"/>
                    <a:gd name="connsiteX27" fmla="*/ 344025 w 573161"/>
                    <a:gd name="connsiteY27" fmla="*/ 559116 h 580547"/>
                    <a:gd name="connsiteX28" fmla="*/ 329738 w 573161"/>
                    <a:gd name="connsiteY28" fmla="*/ 563878 h 580547"/>
                    <a:gd name="connsiteX29" fmla="*/ 310688 w 573161"/>
                    <a:gd name="connsiteY29" fmla="*/ 575785 h 580547"/>
                    <a:gd name="connsiteX30" fmla="*/ 303544 w 573161"/>
                    <a:gd name="connsiteY30" fmla="*/ 578166 h 580547"/>
                    <a:gd name="connsiteX31" fmla="*/ 282113 w 573161"/>
                    <a:gd name="connsiteY31" fmla="*/ 580547 h 580547"/>
                    <a:gd name="connsiteX32" fmla="*/ 232106 w 573161"/>
                    <a:gd name="connsiteY32" fmla="*/ 578166 h 580547"/>
                    <a:gd name="connsiteX33" fmla="*/ 215438 w 573161"/>
                    <a:gd name="connsiteY33" fmla="*/ 571022 h 580547"/>
                    <a:gd name="connsiteX34" fmla="*/ 205913 w 573161"/>
                    <a:gd name="connsiteY34" fmla="*/ 568641 h 580547"/>
                    <a:gd name="connsiteX35" fmla="*/ 189244 w 573161"/>
                    <a:gd name="connsiteY35" fmla="*/ 563878 h 580547"/>
                    <a:gd name="connsiteX36" fmla="*/ 182100 w 573161"/>
                    <a:gd name="connsiteY36" fmla="*/ 559116 h 580547"/>
                    <a:gd name="connsiteX37" fmla="*/ 167813 w 573161"/>
                    <a:gd name="connsiteY37" fmla="*/ 554353 h 580547"/>
                    <a:gd name="connsiteX38" fmla="*/ 155906 w 573161"/>
                    <a:gd name="connsiteY38" fmla="*/ 544828 h 580547"/>
                    <a:gd name="connsiteX39" fmla="*/ 127331 w 573161"/>
                    <a:gd name="connsiteY39" fmla="*/ 525778 h 580547"/>
                    <a:gd name="connsiteX40" fmla="*/ 96375 w 573161"/>
                    <a:gd name="connsiteY40" fmla="*/ 504347 h 580547"/>
                    <a:gd name="connsiteX41" fmla="*/ 79706 w 573161"/>
                    <a:gd name="connsiteY41" fmla="*/ 485297 h 580547"/>
                    <a:gd name="connsiteX42" fmla="*/ 58275 w 573161"/>
                    <a:gd name="connsiteY42" fmla="*/ 461485 h 580547"/>
                    <a:gd name="connsiteX43" fmla="*/ 48750 w 573161"/>
                    <a:gd name="connsiteY43" fmla="*/ 444816 h 580547"/>
                    <a:gd name="connsiteX44" fmla="*/ 43988 w 573161"/>
                    <a:gd name="connsiteY44" fmla="*/ 432910 h 580547"/>
                    <a:gd name="connsiteX45" fmla="*/ 36844 w 573161"/>
                    <a:gd name="connsiteY45" fmla="*/ 425766 h 580547"/>
                    <a:gd name="connsiteX46" fmla="*/ 32081 w 573161"/>
                    <a:gd name="connsiteY46" fmla="*/ 416241 h 580547"/>
                    <a:gd name="connsiteX47" fmla="*/ 10650 w 573161"/>
                    <a:gd name="connsiteY47" fmla="*/ 378141 h 580547"/>
                    <a:gd name="connsiteX48" fmla="*/ 3506 w 573161"/>
                    <a:gd name="connsiteY48" fmla="*/ 354328 h 580547"/>
                    <a:gd name="connsiteX49" fmla="*/ 3506 w 573161"/>
                    <a:gd name="connsiteY49" fmla="*/ 220978 h 580547"/>
                    <a:gd name="connsiteX50" fmla="*/ 20175 w 573161"/>
                    <a:gd name="connsiteY50" fmla="*/ 178116 h 580547"/>
                    <a:gd name="connsiteX51" fmla="*/ 27319 w 573161"/>
                    <a:gd name="connsiteY51" fmla="*/ 159066 h 580547"/>
                    <a:gd name="connsiteX52" fmla="*/ 34463 w 573161"/>
                    <a:gd name="connsiteY52" fmla="*/ 144778 h 580547"/>
                    <a:gd name="connsiteX53" fmla="*/ 43988 w 573161"/>
                    <a:gd name="connsiteY53" fmla="*/ 118585 h 580547"/>
                    <a:gd name="connsiteX54" fmla="*/ 67800 w 573161"/>
                    <a:gd name="connsiteY54" fmla="*/ 92391 h 580547"/>
                    <a:gd name="connsiteX55" fmla="*/ 74944 w 573161"/>
                    <a:gd name="connsiteY55" fmla="*/ 82866 h 580547"/>
                    <a:gd name="connsiteX56" fmla="*/ 101138 w 573161"/>
                    <a:gd name="connsiteY56" fmla="*/ 63816 h 580547"/>
                    <a:gd name="connsiteX57" fmla="*/ 141619 w 573161"/>
                    <a:gd name="connsiteY57" fmla="*/ 40003 h 580547"/>
                    <a:gd name="connsiteX58" fmla="*/ 263063 w 573161"/>
                    <a:gd name="connsiteY58" fmla="*/ 4285 h 580547"/>
                    <a:gd name="connsiteX59" fmla="*/ 274969 w 573161"/>
                    <a:gd name="connsiteY59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34525 w 573161"/>
                    <a:gd name="connsiteY8" fmla="*/ 135253 h 580547"/>
                    <a:gd name="connsiteX9" fmla="*/ 555956 w 573161"/>
                    <a:gd name="connsiteY9" fmla="*/ 168591 h 580547"/>
                    <a:gd name="connsiteX10" fmla="*/ 560719 w 573161"/>
                    <a:gd name="connsiteY10" fmla="*/ 185260 h 580547"/>
                    <a:gd name="connsiteX11" fmla="*/ 567863 w 573161"/>
                    <a:gd name="connsiteY11" fmla="*/ 220978 h 580547"/>
                    <a:gd name="connsiteX12" fmla="*/ 572625 w 573161"/>
                    <a:gd name="connsiteY12" fmla="*/ 349566 h 580547"/>
                    <a:gd name="connsiteX13" fmla="*/ 565481 w 573161"/>
                    <a:gd name="connsiteY13" fmla="*/ 411478 h 580547"/>
                    <a:gd name="connsiteX14" fmla="*/ 560719 w 573161"/>
                    <a:gd name="connsiteY14" fmla="*/ 428147 h 580547"/>
                    <a:gd name="connsiteX15" fmla="*/ 532144 w 573161"/>
                    <a:gd name="connsiteY15" fmla="*/ 451960 h 580547"/>
                    <a:gd name="connsiteX16" fmla="*/ 515475 w 573161"/>
                    <a:gd name="connsiteY16" fmla="*/ 475772 h 580547"/>
                    <a:gd name="connsiteX17" fmla="*/ 508331 w 573161"/>
                    <a:gd name="connsiteY17" fmla="*/ 482916 h 580547"/>
                    <a:gd name="connsiteX18" fmla="*/ 501188 w 573161"/>
                    <a:gd name="connsiteY18" fmla="*/ 492441 h 580547"/>
                    <a:gd name="connsiteX19" fmla="*/ 494044 w 573161"/>
                    <a:gd name="connsiteY19" fmla="*/ 499585 h 580547"/>
                    <a:gd name="connsiteX20" fmla="*/ 467850 w 573161"/>
                    <a:gd name="connsiteY20" fmla="*/ 528160 h 580547"/>
                    <a:gd name="connsiteX21" fmla="*/ 451181 w 573161"/>
                    <a:gd name="connsiteY21" fmla="*/ 537685 h 580547"/>
                    <a:gd name="connsiteX22" fmla="*/ 439275 w 573161"/>
                    <a:gd name="connsiteY22" fmla="*/ 542447 h 580547"/>
                    <a:gd name="connsiteX23" fmla="*/ 424988 w 573161"/>
                    <a:gd name="connsiteY23" fmla="*/ 544828 h 580547"/>
                    <a:gd name="connsiteX24" fmla="*/ 382125 w 573161"/>
                    <a:gd name="connsiteY24" fmla="*/ 549591 h 580547"/>
                    <a:gd name="connsiteX25" fmla="*/ 365456 w 573161"/>
                    <a:gd name="connsiteY25" fmla="*/ 554353 h 580547"/>
                    <a:gd name="connsiteX26" fmla="*/ 344025 w 573161"/>
                    <a:gd name="connsiteY26" fmla="*/ 559116 h 580547"/>
                    <a:gd name="connsiteX27" fmla="*/ 329738 w 573161"/>
                    <a:gd name="connsiteY27" fmla="*/ 563878 h 580547"/>
                    <a:gd name="connsiteX28" fmla="*/ 310688 w 573161"/>
                    <a:gd name="connsiteY28" fmla="*/ 575785 h 580547"/>
                    <a:gd name="connsiteX29" fmla="*/ 303544 w 573161"/>
                    <a:gd name="connsiteY29" fmla="*/ 578166 h 580547"/>
                    <a:gd name="connsiteX30" fmla="*/ 282113 w 573161"/>
                    <a:gd name="connsiteY30" fmla="*/ 580547 h 580547"/>
                    <a:gd name="connsiteX31" fmla="*/ 232106 w 573161"/>
                    <a:gd name="connsiteY31" fmla="*/ 578166 h 580547"/>
                    <a:gd name="connsiteX32" fmla="*/ 215438 w 573161"/>
                    <a:gd name="connsiteY32" fmla="*/ 571022 h 580547"/>
                    <a:gd name="connsiteX33" fmla="*/ 205913 w 573161"/>
                    <a:gd name="connsiteY33" fmla="*/ 568641 h 580547"/>
                    <a:gd name="connsiteX34" fmla="*/ 189244 w 573161"/>
                    <a:gd name="connsiteY34" fmla="*/ 563878 h 580547"/>
                    <a:gd name="connsiteX35" fmla="*/ 182100 w 573161"/>
                    <a:gd name="connsiteY35" fmla="*/ 559116 h 580547"/>
                    <a:gd name="connsiteX36" fmla="*/ 167813 w 573161"/>
                    <a:gd name="connsiteY36" fmla="*/ 554353 h 580547"/>
                    <a:gd name="connsiteX37" fmla="*/ 155906 w 573161"/>
                    <a:gd name="connsiteY37" fmla="*/ 544828 h 580547"/>
                    <a:gd name="connsiteX38" fmla="*/ 127331 w 573161"/>
                    <a:gd name="connsiteY38" fmla="*/ 525778 h 580547"/>
                    <a:gd name="connsiteX39" fmla="*/ 96375 w 573161"/>
                    <a:gd name="connsiteY39" fmla="*/ 504347 h 580547"/>
                    <a:gd name="connsiteX40" fmla="*/ 79706 w 573161"/>
                    <a:gd name="connsiteY40" fmla="*/ 485297 h 580547"/>
                    <a:gd name="connsiteX41" fmla="*/ 58275 w 573161"/>
                    <a:gd name="connsiteY41" fmla="*/ 461485 h 580547"/>
                    <a:gd name="connsiteX42" fmla="*/ 48750 w 573161"/>
                    <a:gd name="connsiteY42" fmla="*/ 444816 h 580547"/>
                    <a:gd name="connsiteX43" fmla="*/ 43988 w 573161"/>
                    <a:gd name="connsiteY43" fmla="*/ 432910 h 580547"/>
                    <a:gd name="connsiteX44" fmla="*/ 36844 w 573161"/>
                    <a:gd name="connsiteY44" fmla="*/ 425766 h 580547"/>
                    <a:gd name="connsiteX45" fmla="*/ 32081 w 573161"/>
                    <a:gd name="connsiteY45" fmla="*/ 416241 h 580547"/>
                    <a:gd name="connsiteX46" fmla="*/ 10650 w 573161"/>
                    <a:gd name="connsiteY46" fmla="*/ 378141 h 580547"/>
                    <a:gd name="connsiteX47" fmla="*/ 3506 w 573161"/>
                    <a:gd name="connsiteY47" fmla="*/ 354328 h 580547"/>
                    <a:gd name="connsiteX48" fmla="*/ 3506 w 573161"/>
                    <a:gd name="connsiteY48" fmla="*/ 220978 h 580547"/>
                    <a:gd name="connsiteX49" fmla="*/ 20175 w 573161"/>
                    <a:gd name="connsiteY49" fmla="*/ 178116 h 580547"/>
                    <a:gd name="connsiteX50" fmla="*/ 27319 w 573161"/>
                    <a:gd name="connsiteY50" fmla="*/ 159066 h 580547"/>
                    <a:gd name="connsiteX51" fmla="*/ 34463 w 573161"/>
                    <a:gd name="connsiteY51" fmla="*/ 144778 h 580547"/>
                    <a:gd name="connsiteX52" fmla="*/ 43988 w 573161"/>
                    <a:gd name="connsiteY52" fmla="*/ 118585 h 580547"/>
                    <a:gd name="connsiteX53" fmla="*/ 67800 w 573161"/>
                    <a:gd name="connsiteY53" fmla="*/ 92391 h 580547"/>
                    <a:gd name="connsiteX54" fmla="*/ 74944 w 573161"/>
                    <a:gd name="connsiteY54" fmla="*/ 82866 h 580547"/>
                    <a:gd name="connsiteX55" fmla="*/ 101138 w 573161"/>
                    <a:gd name="connsiteY55" fmla="*/ 63816 h 580547"/>
                    <a:gd name="connsiteX56" fmla="*/ 141619 w 573161"/>
                    <a:gd name="connsiteY56" fmla="*/ 40003 h 580547"/>
                    <a:gd name="connsiteX57" fmla="*/ 263063 w 573161"/>
                    <a:gd name="connsiteY57" fmla="*/ 4285 h 580547"/>
                    <a:gd name="connsiteX58" fmla="*/ 274969 w 573161"/>
                    <a:gd name="connsiteY58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34525 w 573161"/>
                    <a:gd name="connsiteY8" fmla="*/ 135253 h 580547"/>
                    <a:gd name="connsiteX9" fmla="*/ 555956 w 573161"/>
                    <a:gd name="connsiteY9" fmla="*/ 168591 h 580547"/>
                    <a:gd name="connsiteX10" fmla="*/ 567863 w 573161"/>
                    <a:gd name="connsiteY10" fmla="*/ 220978 h 580547"/>
                    <a:gd name="connsiteX11" fmla="*/ 572625 w 573161"/>
                    <a:gd name="connsiteY11" fmla="*/ 349566 h 580547"/>
                    <a:gd name="connsiteX12" fmla="*/ 565481 w 573161"/>
                    <a:gd name="connsiteY12" fmla="*/ 411478 h 580547"/>
                    <a:gd name="connsiteX13" fmla="*/ 560719 w 573161"/>
                    <a:gd name="connsiteY13" fmla="*/ 428147 h 580547"/>
                    <a:gd name="connsiteX14" fmla="*/ 532144 w 573161"/>
                    <a:gd name="connsiteY14" fmla="*/ 451960 h 580547"/>
                    <a:gd name="connsiteX15" fmla="*/ 515475 w 573161"/>
                    <a:gd name="connsiteY15" fmla="*/ 475772 h 580547"/>
                    <a:gd name="connsiteX16" fmla="*/ 508331 w 573161"/>
                    <a:gd name="connsiteY16" fmla="*/ 482916 h 580547"/>
                    <a:gd name="connsiteX17" fmla="*/ 501188 w 573161"/>
                    <a:gd name="connsiteY17" fmla="*/ 492441 h 580547"/>
                    <a:gd name="connsiteX18" fmla="*/ 494044 w 573161"/>
                    <a:gd name="connsiteY18" fmla="*/ 499585 h 580547"/>
                    <a:gd name="connsiteX19" fmla="*/ 467850 w 573161"/>
                    <a:gd name="connsiteY19" fmla="*/ 528160 h 580547"/>
                    <a:gd name="connsiteX20" fmla="*/ 451181 w 573161"/>
                    <a:gd name="connsiteY20" fmla="*/ 537685 h 580547"/>
                    <a:gd name="connsiteX21" fmla="*/ 439275 w 573161"/>
                    <a:gd name="connsiteY21" fmla="*/ 542447 h 580547"/>
                    <a:gd name="connsiteX22" fmla="*/ 424988 w 573161"/>
                    <a:gd name="connsiteY22" fmla="*/ 544828 h 580547"/>
                    <a:gd name="connsiteX23" fmla="*/ 382125 w 573161"/>
                    <a:gd name="connsiteY23" fmla="*/ 549591 h 580547"/>
                    <a:gd name="connsiteX24" fmla="*/ 365456 w 573161"/>
                    <a:gd name="connsiteY24" fmla="*/ 554353 h 580547"/>
                    <a:gd name="connsiteX25" fmla="*/ 344025 w 573161"/>
                    <a:gd name="connsiteY25" fmla="*/ 559116 h 580547"/>
                    <a:gd name="connsiteX26" fmla="*/ 329738 w 573161"/>
                    <a:gd name="connsiteY26" fmla="*/ 563878 h 580547"/>
                    <a:gd name="connsiteX27" fmla="*/ 310688 w 573161"/>
                    <a:gd name="connsiteY27" fmla="*/ 575785 h 580547"/>
                    <a:gd name="connsiteX28" fmla="*/ 303544 w 573161"/>
                    <a:gd name="connsiteY28" fmla="*/ 578166 h 580547"/>
                    <a:gd name="connsiteX29" fmla="*/ 282113 w 573161"/>
                    <a:gd name="connsiteY29" fmla="*/ 580547 h 580547"/>
                    <a:gd name="connsiteX30" fmla="*/ 232106 w 573161"/>
                    <a:gd name="connsiteY30" fmla="*/ 578166 h 580547"/>
                    <a:gd name="connsiteX31" fmla="*/ 215438 w 573161"/>
                    <a:gd name="connsiteY31" fmla="*/ 571022 h 580547"/>
                    <a:gd name="connsiteX32" fmla="*/ 205913 w 573161"/>
                    <a:gd name="connsiteY32" fmla="*/ 568641 h 580547"/>
                    <a:gd name="connsiteX33" fmla="*/ 189244 w 573161"/>
                    <a:gd name="connsiteY33" fmla="*/ 563878 h 580547"/>
                    <a:gd name="connsiteX34" fmla="*/ 182100 w 573161"/>
                    <a:gd name="connsiteY34" fmla="*/ 559116 h 580547"/>
                    <a:gd name="connsiteX35" fmla="*/ 167813 w 573161"/>
                    <a:gd name="connsiteY35" fmla="*/ 554353 h 580547"/>
                    <a:gd name="connsiteX36" fmla="*/ 155906 w 573161"/>
                    <a:gd name="connsiteY36" fmla="*/ 544828 h 580547"/>
                    <a:gd name="connsiteX37" fmla="*/ 127331 w 573161"/>
                    <a:gd name="connsiteY37" fmla="*/ 525778 h 580547"/>
                    <a:gd name="connsiteX38" fmla="*/ 96375 w 573161"/>
                    <a:gd name="connsiteY38" fmla="*/ 504347 h 580547"/>
                    <a:gd name="connsiteX39" fmla="*/ 79706 w 573161"/>
                    <a:gd name="connsiteY39" fmla="*/ 485297 h 580547"/>
                    <a:gd name="connsiteX40" fmla="*/ 58275 w 573161"/>
                    <a:gd name="connsiteY40" fmla="*/ 461485 h 580547"/>
                    <a:gd name="connsiteX41" fmla="*/ 48750 w 573161"/>
                    <a:gd name="connsiteY41" fmla="*/ 444816 h 580547"/>
                    <a:gd name="connsiteX42" fmla="*/ 43988 w 573161"/>
                    <a:gd name="connsiteY42" fmla="*/ 432910 h 580547"/>
                    <a:gd name="connsiteX43" fmla="*/ 36844 w 573161"/>
                    <a:gd name="connsiteY43" fmla="*/ 425766 h 580547"/>
                    <a:gd name="connsiteX44" fmla="*/ 32081 w 573161"/>
                    <a:gd name="connsiteY44" fmla="*/ 416241 h 580547"/>
                    <a:gd name="connsiteX45" fmla="*/ 10650 w 573161"/>
                    <a:gd name="connsiteY45" fmla="*/ 378141 h 580547"/>
                    <a:gd name="connsiteX46" fmla="*/ 3506 w 573161"/>
                    <a:gd name="connsiteY46" fmla="*/ 354328 h 580547"/>
                    <a:gd name="connsiteX47" fmla="*/ 3506 w 573161"/>
                    <a:gd name="connsiteY47" fmla="*/ 220978 h 580547"/>
                    <a:gd name="connsiteX48" fmla="*/ 20175 w 573161"/>
                    <a:gd name="connsiteY48" fmla="*/ 178116 h 580547"/>
                    <a:gd name="connsiteX49" fmla="*/ 27319 w 573161"/>
                    <a:gd name="connsiteY49" fmla="*/ 159066 h 580547"/>
                    <a:gd name="connsiteX50" fmla="*/ 34463 w 573161"/>
                    <a:gd name="connsiteY50" fmla="*/ 144778 h 580547"/>
                    <a:gd name="connsiteX51" fmla="*/ 43988 w 573161"/>
                    <a:gd name="connsiteY51" fmla="*/ 118585 h 580547"/>
                    <a:gd name="connsiteX52" fmla="*/ 67800 w 573161"/>
                    <a:gd name="connsiteY52" fmla="*/ 92391 h 580547"/>
                    <a:gd name="connsiteX53" fmla="*/ 74944 w 573161"/>
                    <a:gd name="connsiteY53" fmla="*/ 82866 h 580547"/>
                    <a:gd name="connsiteX54" fmla="*/ 101138 w 573161"/>
                    <a:gd name="connsiteY54" fmla="*/ 63816 h 580547"/>
                    <a:gd name="connsiteX55" fmla="*/ 141619 w 573161"/>
                    <a:gd name="connsiteY55" fmla="*/ 40003 h 580547"/>
                    <a:gd name="connsiteX56" fmla="*/ 263063 w 573161"/>
                    <a:gd name="connsiteY56" fmla="*/ 4285 h 580547"/>
                    <a:gd name="connsiteX57" fmla="*/ 274969 w 573161"/>
                    <a:gd name="connsiteY57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79706 w 573161"/>
                    <a:gd name="connsiteY38" fmla="*/ 485297 h 580547"/>
                    <a:gd name="connsiteX39" fmla="*/ 58275 w 573161"/>
                    <a:gd name="connsiteY39" fmla="*/ 461485 h 580547"/>
                    <a:gd name="connsiteX40" fmla="*/ 48750 w 573161"/>
                    <a:gd name="connsiteY40" fmla="*/ 444816 h 580547"/>
                    <a:gd name="connsiteX41" fmla="*/ 43988 w 573161"/>
                    <a:gd name="connsiteY41" fmla="*/ 432910 h 580547"/>
                    <a:gd name="connsiteX42" fmla="*/ 36844 w 573161"/>
                    <a:gd name="connsiteY42" fmla="*/ 425766 h 580547"/>
                    <a:gd name="connsiteX43" fmla="*/ 32081 w 573161"/>
                    <a:gd name="connsiteY43" fmla="*/ 416241 h 580547"/>
                    <a:gd name="connsiteX44" fmla="*/ 10650 w 573161"/>
                    <a:gd name="connsiteY44" fmla="*/ 378141 h 580547"/>
                    <a:gd name="connsiteX45" fmla="*/ 3506 w 573161"/>
                    <a:gd name="connsiteY45" fmla="*/ 354328 h 580547"/>
                    <a:gd name="connsiteX46" fmla="*/ 3506 w 573161"/>
                    <a:gd name="connsiteY46" fmla="*/ 220978 h 580547"/>
                    <a:gd name="connsiteX47" fmla="*/ 20175 w 573161"/>
                    <a:gd name="connsiteY47" fmla="*/ 178116 h 580547"/>
                    <a:gd name="connsiteX48" fmla="*/ 27319 w 573161"/>
                    <a:gd name="connsiteY48" fmla="*/ 159066 h 580547"/>
                    <a:gd name="connsiteX49" fmla="*/ 34463 w 573161"/>
                    <a:gd name="connsiteY49" fmla="*/ 144778 h 580547"/>
                    <a:gd name="connsiteX50" fmla="*/ 43988 w 573161"/>
                    <a:gd name="connsiteY50" fmla="*/ 118585 h 580547"/>
                    <a:gd name="connsiteX51" fmla="*/ 67800 w 573161"/>
                    <a:gd name="connsiteY51" fmla="*/ 92391 h 580547"/>
                    <a:gd name="connsiteX52" fmla="*/ 74944 w 573161"/>
                    <a:gd name="connsiteY52" fmla="*/ 82866 h 580547"/>
                    <a:gd name="connsiteX53" fmla="*/ 101138 w 573161"/>
                    <a:gd name="connsiteY53" fmla="*/ 63816 h 580547"/>
                    <a:gd name="connsiteX54" fmla="*/ 141619 w 573161"/>
                    <a:gd name="connsiteY54" fmla="*/ 40003 h 580547"/>
                    <a:gd name="connsiteX55" fmla="*/ 263063 w 573161"/>
                    <a:gd name="connsiteY55" fmla="*/ 4285 h 580547"/>
                    <a:gd name="connsiteX56" fmla="*/ 274969 w 573161"/>
                    <a:gd name="connsiteY56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79706 w 573161"/>
                    <a:gd name="connsiteY38" fmla="*/ 485297 h 580547"/>
                    <a:gd name="connsiteX39" fmla="*/ 58275 w 573161"/>
                    <a:gd name="connsiteY39" fmla="*/ 461485 h 580547"/>
                    <a:gd name="connsiteX40" fmla="*/ 48750 w 573161"/>
                    <a:gd name="connsiteY40" fmla="*/ 444816 h 580547"/>
                    <a:gd name="connsiteX41" fmla="*/ 43988 w 573161"/>
                    <a:gd name="connsiteY41" fmla="*/ 432910 h 580547"/>
                    <a:gd name="connsiteX42" fmla="*/ 36844 w 573161"/>
                    <a:gd name="connsiteY42" fmla="*/ 425766 h 580547"/>
                    <a:gd name="connsiteX43" fmla="*/ 32081 w 573161"/>
                    <a:gd name="connsiteY43" fmla="*/ 416241 h 580547"/>
                    <a:gd name="connsiteX44" fmla="*/ 10650 w 573161"/>
                    <a:gd name="connsiteY44" fmla="*/ 378141 h 580547"/>
                    <a:gd name="connsiteX45" fmla="*/ 3506 w 573161"/>
                    <a:gd name="connsiteY45" fmla="*/ 354328 h 580547"/>
                    <a:gd name="connsiteX46" fmla="*/ 3506 w 573161"/>
                    <a:gd name="connsiteY46" fmla="*/ 220978 h 580547"/>
                    <a:gd name="connsiteX47" fmla="*/ 20175 w 573161"/>
                    <a:gd name="connsiteY47" fmla="*/ 178116 h 580547"/>
                    <a:gd name="connsiteX48" fmla="*/ 27319 w 573161"/>
                    <a:gd name="connsiteY48" fmla="*/ 159066 h 580547"/>
                    <a:gd name="connsiteX49" fmla="*/ 34463 w 573161"/>
                    <a:gd name="connsiteY49" fmla="*/ 144778 h 580547"/>
                    <a:gd name="connsiteX50" fmla="*/ 43988 w 573161"/>
                    <a:gd name="connsiteY50" fmla="*/ 118585 h 580547"/>
                    <a:gd name="connsiteX51" fmla="*/ 67800 w 573161"/>
                    <a:gd name="connsiteY51" fmla="*/ 92391 h 580547"/>
                    <a:gd name="connsiteX52" fmla="*/ 101138 w 573161"/>
                    <a:gd name="connsiteY52" fmla="*/ 63816 h 580547"/>
                    <a:gd name="connsiteX53" fmla="*/ 141619 w 573161"/>
                    <a:gd name="connsiteY53" fmla="*/ 40003 h 580547"/>
                    <a:gd name="connsiteX54" fmla="*/ 263063 w 573161"/>
                    <a:gd name="connsiteY54" fmla="*/ 4285 h 580547"/>
                    <a:gd name="connsiteX55" fmla="*/ 274969 w 573161"/>
                    <a:gd name="connsiteY55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79706 w 573161"/>
                    <a:gd name="connsiteY38" fmla="*/ 485297 h 580547"/>
                    <a:gd name="connsiteX39" fmla="*/ 58275 w 573161"/>
                    <a:gd name="connsiteY39" fmla="*/ 461485 h 580547"/>
                    <a:gd name="connsiteX40" fmla="*/ 48750 w 573161"/>
                    <a:gd name="connsiteY40" fmla="*/ 444816 h 580547"/>
                    <a:gd name="connsiteX41" fmla="*/ 43988 w 573161"/>
                    <a:gd name="connsiteY41" fmla="*/ 432910 h 580547"/>
                    <a:gd name="connsiteX42" fmla="*/ 36844 w 573161"/>
                    <a:gd name="connsiteY42" fmla="*/ 425766 h 580547"/>
                    <a:gd name="connsiteX43" fmla="*/ 32081 w 573161"/>
                    <a:gd name="connsiteY43" fmla="*/ 416241 h 580547"/>
                    <a:gd name="connsiteX44" fmla="*/ 10650 w 573161"/>
                    <a:gd name="connsiteY44" fmla="*/ 378141 h 580547"/>
                    <a:gd name="connsiteX45" fmla="*/ 3506 w 573161"/>
                    <a:gd name="connsiteY45" fmla="*/ 354328 h 580547"/>
                    <a:gd name="connsiteX46" fmla="*/ 3506 w 573161"/>
                    <a:gd name="connsiteY46" fmla="*/ 220978 h 580547"/>
                    <a:gd name="connsiteX47" fmla="*/ 20175 w 573161"/>
                    <a:gd name="connsiteY47" fmla="*/ 178116 h 580547"/>
                    <a:gd name="connsiteX48" fmla="*/ 27319 w 573161"/>
                    <a:gd name="connsiteY48" fmla="*/ 159066 h 580547"/>
                    <a:gd name="connsiteX49" fmla="*/ 43988 w 573161"/>
                    <a:gd name="connsiteY49" fmla="*/ 118585 h 580547"/>
                    <a:gd name="connsiteX50" fmla="*/ 67800 w 573161"/>
                    <a:gd name="connsiteY50" fmla="*/ 92391 h 580547"/>
                    <a:gd name="connsiteX51" fmla="*/ 101138 w 573161"/>
                    <a:gd name="connsiteY51" fmla="*/ 63816 h 580547"/>
                    <a:gd name="connsiteX52" fmla="*/ 141619 w 573161"/>
                    <a:gd name="connsiteY52" fmla="*/ 40003 h 580547"/>
                    <a:gd name="connsiteX53" fmla="*/ 263063 w 573161"/>
                    <a:gd name="connsiteY53" fmla="*/ 4285 h 580547"/>
                    <a:gd name="connsiteX54" fmla="*/ 274969 w 573161"/>
                    <a:gd name="connsiteY54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79706 w 573161"/>
                    <a:gd name="connsiteY38" fmla="*/ 485297 h 580547"/>
                    <a:gd name="connsiteX39" fmla="*/ 58275 w 573161"/>
                    <a:gd name="connsiteY39" fmla="*/ 461485 h 580547"/>
                    <a:gd name="connsiteX40" fmla="*/ 48750 w 573161"/>
                    <a:gd name="connsiteY40" fmla="*/ 444816 h 580547"/>
                    <a:gd name="connsiteX41" fmla="*/ 43988 w 573161"/>
                    <a:gd name="connsiteY41" fmla="*/ 432910 h 580547"/>
                    <a:gd name="connsiteX42" fmla="*/ 36844 w 573161"/>
                    <a:gd name="connsiteY42" fmla="*/ 425766 h 580547"/>
                    <a:gd name="connsiteX43" fmla="*/ 32081 w 573161"/>
                    <a:gd name="connsiteY43" fmla="*/ 416241 h 580547"/>
                    <a:gd name="connsiteX44" fmla="*/ 10650 w 573161"/>
                    <a:gd name="connsiteY44" fmla="*/ 378141 h 580547"/>
                    <a:gd name="connsiteX45" fmla="*/ 3506 w 573161"/>
                    <a:gd name="connsiteY45" fmla="*/ 354328 h 580547"/>
                    <a:gd name="connsiteX46" fmla="*/ 3506 w 573161"/>
                    <a:gd name="connsiteY46" fmla="*/ 220978 h 580547"/>
                    <a:gd name="connsiteX47" fmla="*/ 20175 w 573161"/>
                    <a:gd name="connsiteY47" fmla="*/ 178116 h 580547"/>
                    <a:gd name="connsiteX48" fmla="*/ 43988 w 573161"/>
                    <a:gd name="connsiteY48" fmla="*/ 118585 h 580547"/>
                    <a:gd name="connsiteX49" fmla="*/ 67800 w 573161"/>
                    <a:gd name="connsiteY49" fmla="*/ 92391 h 580547"/>
                    <a:gd name="connsiteX50" fmla="*/ 101138 w 573161"/>
                    <a:gd name="connsiteY50" fmla="*/ 63816 h 580547"/>
                    <a:gd name="connsiteX51" fmla="*/ 141619 w 573161"/>
                    <a:gd name="connsiteY51" fmla="*/ 40003 h 580547"/>
                    <a:gd name="connsiteX52" fmla="*/ 263063 w 573161"/>
                    <a:gd name="connsiteY52" fmla="*/ 4285 h 580547"/>
                    <a:gd name="connsiteX53" fmla="*/ 274969 w 573161"/>
                    <a:gd name="connsiteY53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79706 w 573161"/>
                    <a:gd name="connsiteY38" fmla="*/ 485297 h 580547"/>
                    <a:gd name="connsiteX39" fmla="*/ 58275 w 573161"/>
                    <a:gd name="connsiteY39" fmla="*/ 461485 h 580547"/>
                    <a:gd name="connsiteX40" fmla="*/ 48750 w 573161"/>
                    <a:gd name="connsiteY40" fmla="*/ 444816 h 580547"/>
                    <a:gd name="connsiteX41" fmla="*/ 43988 w 573161"/>
                    <a:gd name="connsiteY41" fmla="*/ 432910 h 580547"/>
                    <a:gd name="connsiteX42" fmla="*/ 36844 w 573161"/>
                    <a:gd name="connsiteY42" fmla="*/ 425766 h 580547"/>
                    <a:gd name="connsiteX43" fmla="*/ 32081 w 573161"/>
                    <a:gd name="connsiteY43" fmla="*/ 416241 h 580547"/>
                    <a:gd name="connsiteX44" fmla="*/ 10650 w 573161"/>
                    <a:gd name="connsiteY44" fmla="*/ 378141 h 580547"/>
                    <a:gd name="connsiteX45" fmla="*/ 3506 w 573161"/>
                    <a:gd name="connsiteY45" fmla="*/ 354328 h 580547"/>
                    <a:gd name="connsiteX46" fmla="*/ 3506 w 573161"/>
                    <a:gd name="connsiteY46" fmla="*/ 220978 h 580547"/>
                    <a:gd name="connsiteX47" fmla="*/ 43988 w 573161"/>
                    <a:gd name="connsiteY47" fmla="*/ 118585 h 580547"/>
                    <a:gd name="connsiteX48" fmla="*/ 67800 w 573161"/>
                    <a:gd name="connsiteY48" fmla="*/ 92391 h 580547"/>
                    <a:gd name="connsiteX49" fmla="*/ 101138 w 573161"/>
                    <a:gd name="connsiteY49" fmla="*/ 63816 h 580547"/>
                    <a:gd name="connsiteX50" fmla="*/ 141619 w 573161"/>
                    <a:gd name="connsiteY50" fmla="*/ 40003 h 580547"/>
                    <a:gd name="connsiteX51" fmla="*/ 263063 w 573161"/>
                    <a:gd name="connsiteY51" fmla="*/ 4285 h 580547"/>
                    <a:gd name="connsiteX52" fmla="*/ 274969 w 573161"/>
                    <a:gd name="connsiteY52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79706 w 573161"/>
                    <a:gd name="connsiteY38" fmla="*/ 485297 h 580547"/>
                    <a:gd name="connsiteX39" fmla="*/ 58275 w 573161"/>
                    <a:gd name="connsiteY39" fmla="*/ 461485 h 580547"/>
                    <a:gd name="connsiteX40" fmla="*/ 48750 w 573161"/>
                    <a:gd name="connsiteY40" fmla="*/ 444816 h 580547"/>
                    <a:gd name="connsiteX41" fmla="*/ 43988 w 573161"/>
                    <a:gd name="connsiteY41" fmla="*/ 432910 h 580547"/>
                    <a:gd name="connsiteX42" fmla="*/ 36844 w 573161"/>
                    <a:gd name="connsiteY42" fmla="*/ 425766 h 580547"/>
                    <a:gd name="connsiteX43" fmla="*/ 32081 w 573161"/>
                    <a:gd name="connsiteY43" fmla="*/ 416241 h 580547"/>
                    <a:gd name="connsiteX44" fmla="*/ 3506 w 573161"/>
                    <a:gd name="connsiteY44" fmla="*/ 354328 h 580547"/>
                    <a:gd name="connsiteX45" fmla="*/ 3506 w 573161"/>
                    <a:gd name="connsiteY45" fmla="*/ 220978 h 580547"/>
                    <a:gd name="connsiteX46" fmla="*/ 43988 w 573161"/>
                    <a:gd name="connsiteY46" fmla="*/ 118585 h 580547"/>
                    <a:gd name="connsiteX47" fmla="*/ 67800 w 573161"/>
                    <a:gd name="connsiteY47" fmla="*/ 92391 h 580547"/>
                    <a:gd name="connsiteX48" fmla="*/ 101138 w 573161"/>
                    <a:gd name="connsiteY48" fmla="*/ 63816 h 580547"/>
                    <a:gd name="connsiteX49" fmla="*/ 141619 w 573161"/>
                    <a:gd name="connsiteY49" fmla="*/ 40003 h 580547"/>
                    <a:gd name="connsiteX50" fmla="*/ 263063 w 573161"/>
                    <a:gd name="connsiteY50" fmla="*/ 4285 h 580547"/>
                    <a:gd name="connsiteX51" fmla="*/ 274969 w 573161"/>
                    <a:gd name="connsiteY51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79706 w 573161"/>
                    <a:gd name="connsiteY38" fmla="*/ 485297 h 580547"/>
                    <a:gd name="connsiteX39" fmla="*/ 58275 w 573161"/>
                    <a:gd name="connsiteY39" fmla="*/ 461485 h 580547"/>
                    <a:gd name="connsiteX40" fmla="*/ 48750 w 573161"/>
                    <a:gd name="connsiteY40" fmla="*/ 444816 h 580547"/>
                    <a:gd name="connsiteX41" fmla="*/ 36844 w 573161"/>
                    <a:gd name="connsiteY41" fmla="*/ 425766 h 580547"/>
                    <a:gd name="connsiteX42" fmla="*/ 32081 w 573161"/>
                    <a:gd name="connsiteY42" fmla="*/ 416241 h 580547"/>
                    <a:gd name="connsiteX43" fmla="*/ 3506 w 573161"/>
                    <a:gd name="connsiteY43" fmla="*/ 354328 h 580547"/>
                    <a:gd name="connsiteX44" fmla="*/ 3506 w 573161"/>
                    <a:gd name="connsiteY44" fmla="*/ 220978 h 580547"/>
                    <a:gd name="connsiteX45" fmla="*/ 43988 w 573161"/>
                    <a:gd name="connsiteY45" fmla="*/ 118585 h 580547"/>
                    <a:gd name="connsiteX46" fmla="*/ 67800 w 573161"/>
                    <a:gd name="connsiteY46" fmla="*/ 92391 h 580547"/>
                    <a:gd name="connsiteX47" fmla="*/ 101138 w 573161"/>
                    <a:gd name="connsiteY47" fmla="*/ 63816 h 580547"/>
                    <a:gd name="connsiteX48" fmla="*/ 141619 w 573161"/>
                    <a:gd name="connsiteY48" fmla="*/ 40003 h 580547"/>
                    <a:gd name="connsiteX49" fmla="*/ 263063 w 573161"/>
                    <a:gd name="connsiteY49" fmla="*/ 4285 h 580547"/>
                    <a:gd name="connsiteX50" fmla="*/ 274969 w 573161"/>
                    <a:gd name="connsiteY50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58275 w 573161"/>
                    <a:gd name="connsiteY38" fmla="*/ 461485 h 580547"/>
                    <a:gd name="connsiteX39" fmla="*/ 48750 w 573161"/>
                    <a:gd name="connsiteY39" fmla="*/ 444816 h 580547"/>
                    <a:gd name="connsiteX40" fmla="*/ 36844 w 573161"/>
                    <a:gd name="connsiteY40" fmla="*/ 425766 h 580547"/>
                    <a:gd name="connsiteX41" fmla="*/ 32081 w 573161"/>
                    <a:gd name="connsiteY41" fmla="*/ 416241 h 580547"/>
                    <a:gd name="connsiteX42" fmla="*/ 3506 w 573161"/>
                    <a:gd name="connsiteY42" fmla="*/ 354328 h 580547"/>
                    <a:gd name="connsiteX43" fmla="*/ 3506 w 573161"/>
                    <a:gd name="connsiteY43" fmla="*/ 220978 h 580547"/>
                    <a:gd name="connsiteX44" fmla="*/ 43988 w 573161"/>
                    <a:gd name="connsiteY44" fmla="*/ 118585 h 580547"/>
                    <a:gd name="connsiteX45" fmla="*/ 67800 w 573161"/>
                    <a:gd name="connsiteY45" fmla="*/ 92391 h 580547"/>
                    <a:gd name="connsiteX46" fmla="*/ 101138 w 573161"/>
                    <a:gd name="connsiteY46" fmla="*/ 63816 h 580547"/>
                    <a:gd name="connsiteX47" fmla="*/ 141619 w 573161"/>
                    <a:gd name="connsiteY47" fmla="*/ 40003 h 580547"/>
                    <a:gd name="connsiteX48" fmla="*/ 263063 w 573161"/>
                    <a:gd name="connsiteY48" fmla="*/ 4285 h 580547"/>
                    <a:gd name="connsiteX49" fmla="*/ 274969 w 573161"/>
                    <a:gd name="connsiteY49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58275 w 573161"/>
                    <a:gd name="connsiteY38" fmla="*/ 461485 h 580547"/>
                    <a:gd name="connsiteX39" fmla="*/ 36844 w 573161"/>
                    <a:gd name="connsiteY39" fmla="*/ 425766 h 580547"/>
                    <a:gd name="connsiteX40" fmla="*/ 32081 w 573161"/>
                    <a:gd name="connsiteY40" fmla="*/ 416241 h 580547"/>
                    <a:gd name="connsiteX41" fmla="*/ 3506 w 573161"/>
                    <a:gd name="connsiteY41" fmla="*/ 354328 h 580547"/>
                    <a:gd name="connsiteX42" fmla="*/ 3506 w 573161"/>
                    <a:gd name="connsiteY42" fmla="*/ 220978 h 580547"/>
                    <a:gd name="connsiteX43" fmla="*/ 43988 w 573161"/>
                    <a:gd name="connsiteY43" fmla="*/ 118585 h 580547"/>
                    <a:gd name="connsiteX44" fmla="*/ 67800 w 573161"/>
                    <a:gd name="connsiteY44" fmla="*/ 92391 h 580547"/>
                    <a:gd name="connsiteX45" fmla="*/ 101138 w 573161"/>
                    <a:gd name="connsiteY45" fmla="*/ 63816 h 580547"/>
                    <a:gd name="connsiteX46" fmla="*/ 141619 w 573161"/>
                    <a:gd name="connsiteY46" fmla="*/ 40003 h 580547"/>
                    <a:gd name="connsiteX47" fmla="*/ 263063 w 573161"/>
                    <a:gd name="connsiteY47" fmla="*/ 4285 h 580547"/>
                    <a:gd name="connsiteX48" fmla="*/ 274969 w 573161"/>
                    <a:gd name="connsiteY48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127331 w 573161"/>
                    <a:gd name="connsiteY36" fmla="*/ 525778 h 580547"/>
                    <a:gd name="connsiteX37" fmla="*/ 96375 w 573161"/>
                    <a:gd name="connsiteY37" fmla="*/ 504347 h 580547"/>
                    <a:gd name="connsiteX38" fmla="*/ 58275 w 573161"/>
                    <a:gd name="connsiteY38" fmla="*/ 461485 h 580547"/>
                    <a:gd name="connsiteX39" fmla="*/ 36844 w 573161"/>
                    <a:gd name="connsiteY39" fmla="*/ 425766 h 580547"/>
                    <a:gd name="connsiteX40" fmla="*/ 3506 w 573161"/>
                    <a:gd name="connsiteY40" fmla="*/ 354328 h 580547"/>
                    <a:gd name="connsiteX41" fmla="*/ 3506 w 573161"/>
                    <a:gd name="connsiteY41" fmla="*/ 220978 h 580547"/>
                    <a:gd name="connsiteX42" fmla="*/ 43988 w 573161"/>
                    <a:gd name="connsiteY42" fmla="*/ 118585 h 580547"/>
                    <a:gd name="connsiteX43" fmla="*/ 67800 w 573161"/>
                    <a:gd name="connsiteY43" fmla="*/ 92391 h 580547"/>
                    <a:gd name="connsiteX44" fmla="*/ 101138 w 573161"/>
                    <a:gd name="connsiteY44" fmla="*/ 63816 h 580547"/>
                    <a:gd name="connsiteX45" fmla="*/ 141619 w 573161"/>
                    <a:gd name="connsiteY45" fmla="*/ 40003 h 580547"/>
                    <a:gd name="connsiteX46" fmla="*/ 263063 w 573161"/>
                    <a:gd name="connsiteY46" fmla="*/ 4285 h 580547"/>
                    <a:gd name="connsiteX47" fmla="*/ 274969 w 573161"/>
                    <a:gd name="connsiteY47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155906 w 573161"/>
                    <a:gd name="connsiteY35" fmla="*/ 544828 h 580547"/>
                    <a:gd name="connsiteX36" fmla="*/ 96375 w 573161"/>
                    <a:gd name="connsiteY36" fmla="*/ 504347 h 580547"/>
                    <a:gd name="connsiteX37" fmla="*/ 58275 w 573161"/>
                    <a:gd name="connsiteY37" fmla="*/ 461485 h 580547"/>
                    <a:gd name="connsiteX38" fmla="*/ 36844 w 573161"/>
                    <a:gd name="connsiteY38" fmla="*/ 425766 h 580547"/>
                    <a:gd name="connsiteX39" fmla="*/ 3506 w 573161"/>
                    <a:gd name="connsiteY39" fmla="*/ 354328 h 580547"/>
                    <a:gd name="connsiteX40" fmla="*/ 3506 w 573161"/>
                    <a:gd name="connsiteY40" fmla="*/ 220978 h 580547"/>
                    <a:gd name="connsiteX41" fmla="*/ 43988 w 573161"/>
                    <a:gd name="connsiteY41" fmla="*/ 118585 h 580547"/>
                    <a:gd name="connsiteX42" fmla="*/ 67800 w 573161"/>
                    <a:gd name="connsiteY42" fmla="*/ 92391 h 580547"/>
                    <a:gd name="connsiteX43" fmla="*/ 101138 w 573161"/>
                    <a:gd name="connsiteY43" fmla="*/ 63816 h 580547"/>
                    <a:gd name="connsiteX44" fmla="*/ 141619 w 573161"/>
                    <a:gd name="connsiteY44" fmla="*/ 40003 h 580547"/>
                    <a:gd name="connsiteX45" fmla="*/ 263063 w 573161"/>
                    <a:gd name="connsiteY45" fmla="*/ 4285 h 580547"/>
                    <a:gd name="connsiteX46" fmla="*/ 274969 w 573161"/>
                    <a:gd name="connsiteY46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167813 w 573161"/>
                    <a:gd name="connsiteY34" fmla="*/ 554353 h 580547"/>
                    <a:gd name="connsiteX35" fmla="*/ 96375 w 573161"/>
                    <a:gd name="connsiteY35" fmla="*/ 504347 h 580547"/>
                    <a:gd name="connsiteX36" fmla="*/ 58275 w 573161"/>
                    <a:gd name="connsiteY36" fmla="*/ 461485 h 580547"/>
                    <a:gd name="connsiteX37" fmla="*/ 36844 w 573161"/>
                    <a:gd name="connsiteY37" fmla="*/ 425766 h 580547"/>
                    <a:gd name="connsiteX38" fmla="*/ 3506 w 573161"/>
                    <a:gd name="connsiteY38" fmla="*/ 354328 h 580547"/>
                    <a:gd name="connsiteX39" fmla="*/ 3506 w 573161"/>
                    <a:gd name="connsiteY39" fmla="*/ 220978 h 580547"/>
                    <a:gd name="connsiteX40" fmla="*/ 43988 w 573161"/>
                    <a:gd name="connsiteY40" fmla="*/ 118585 h 580547"/>
                    <a:gd name="connsiteX41" fmla="*/ 67800 w 573161"/>
                    <a:gd name="connsiteY41" fmla="*/ 92391 h 580547"/>
                    <a:gd name="connsiteX42" fmla="*/ 101138 w 573161"/>
                    <a:gd name="connsiteY42" fmla="*/ 63816 h 580547"/>
                    <a:gd name="connsiteX43" fmla="*/ 141619 w 573161"/>
                    <a:gd name="connsiteY43" fmla="*/ 40003 h 580547"/>
                    <a:gd name="connsiteX44" fmla="*/ 263063 w 573161"/>
                    <a:gd name="connsiteY44" fmla="*/ 4285 h 580547"/>
                    <a:gd name="connsiteX45" fmla="*/ 274969 w 573161"/>
                    <a:gd name="connsiteY45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9244 w 573161"/>
                    <a:gd name="connsiteY32" fmla="*/ 563878 h 580547"/>
                    <a:gd name="connsiteX33" fmla="*/ 182100 w 573161"/>
                    <a:gd name="connsiteY33" fmla="*/ 559116 h 580547"/>
                    <a:gd name="connsiteX34" fmla="*/ 96375 w 573161"/>
                    <a:gd name="connsiteY34" fmla="*/ 504347 h 580547"/>
                    <a:gd name="connsiteX35" fmla="*/ 58275 w 573161"/>
                    <a:gd name="connsiteY35" fmla="*/ 461485 h 580547"/>
                    <a:gd name="connsiteX36" fmla="*/ 36844 w 573161"/>
                    <a:gd name="connsiteY36" fmla="*/ 425766 h 580547"/>
                    <a:gd name="connsiteX37" fmla="*/ 3506 w 573161"/>
                    <a:gd name="connsiteY37" fmla="*/ 354328 h 580547"/>
                    <a:gd name="connsiteX38" fmla="*/ 3506 w 573161"/>
                    <a:gd name="connsiteY38" fmla="*/ 220978 h 580547"/>
                    <a:gd name="connsiteX39" fmla="*/ 43988 w 573161"/>
                    <a:gd name="connsiteY39" fmla="*/ 118585 h 580547"/>
                    <a:gd name="connsiteX40" fmla="*/ 67800 w 573161"/>
                    <a:gd name="connsiteY40" fmla="*/ 92391 h 580547"/>
                    <a:gd name="connsiteX41" fmla="*/ 101138 w 573161"/>
                    <a:gd name="connsiteY41" fmla="*/ 63816 h 580547"/>
                    <a:gd name="connsiteX42" fmla="*/ 141619 w 573161"/>
                    <a:gd name="connsiteY42" fmla="*/ 40003 h 580547"/>
                    <a:gd name="connsiteX43" fmla="*/ 263063 w 573161"/>
                    <a:gd name="connsiteY43" fmla="*/ 4285 h 580547"/>
                    <a:gd name="connsiteX44" fmla="*/ 274969 w 573161"/>
                    <a:gd name="connsiteY44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205913 w 573161"/>
                    <a:gd name="connsiteY31" fmla="*/ 568641 h 580547"/>
                    <a:gd name="connsiteX32" fmla="*/ 182100 w 573161"/>
                    <a:gd name="connsiteY32" fmla="*/ 559116 h 580547"/>
                    <a:gd name="connsiteX33" fmla="*/ 96375 w 573161"/>
                    <a:gd name="connsiteY33" fmla="*/ 504347 h 580547"/>
                    <a:gd name="connsiteX34" fmla="*/ 58275 w 573161"/>
                    <a:gd name="connsiteY34" fmla="*/ 461485 h 580547"/>
                    <a:gd name="connsiteX35" fmla="*/ 36844 w 573161"/>
                    <a:gd name="connsiteY35" fmla="*/ 425766 h 580547"/>
                    <a:gd name="connsiteX36" fmla="*/ 3506 w 573161"/>
                    <a:gd name="connsiteY36" fmla="*/ 354328 h 580547"/>
                    <a:gd name="connsiteX37" fmla="*/ 3506 w 573161"/>
                    <a:gd name="connsiteY37" fmla="*/ 220978 h 580547"/>
                    <a:gd name="connsiteX38" fmla="*/ 43988 w 573161"/>
                    <a:gd name="connsiteY38" fmla="*/ 118585 h 580547"/>
                    <a:gd name="connsiteX39" fmla="*/ 67800 w 573161"/>
                    <a:gd name="connsiteY39" fmla="*/ 92391 h 580547"/>
                    <a:gd name="connsiteX40" fmla="*/ 101138 w 573161"/>
                    <a:gd name="connsiteY40" fmla="*/ 63816 h 580547"/>
                    <a:gd name="connsiteX41" fmla="*/ 141619 w 573161"/>
                    <a:gd name="connsiteY41" fmla="*/ 40003 h 580547"/>
                    <a:gd name="connsiteX42" fmla="*/ 263063 w 573161"/>
                    <a:gd name="connsiteY42" fmla="*/ 4285 h 580547"/>
                    <a:gd name="connsiteX43" fmla="*/ 274969 w 573161"/>
                    <a:gd name="connsiteY43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215438 w 573161"/>
                    <a:gd name="connsiteY30" fmla="*/ 571022 h 580547"/>
                    <a:gd name="connsiteX31" fmla="*/ 182100 w 573161"/>
                    <a:gd name="connsiteY31" fmla="*/ 559116 h 580547"/>
                    <a:gd name="connsiteX32" fmla="*/ 96375 w 573161"/>
                    <a:gd name="connsiteY32" fmla="*/ 504347 h 580547"/>
                    <a:gd name="connsiteX33" fmla="*/ 58275 w 573161"/>
                    <a:gd name="connsiteY33" fmla="*/ 461485 h 580547"/>
                    <a:gd name="connsiteX34" fmla="*/ 36844 w 573161"/>
                    <a:gd name="connsiteY34" fmla="*/ 425766 h 580547"/>
                    <a:gd name="connsiteX35" fmla="*/ 3506 w 573161"/>
                    <a:gd name="connsiteY35" fmla="*/ 354328 h 580547"/>
                    <a:gd name="connsiteX36" fmla="*/ 3506 w 573161"/>
                    <a:gd name="connsiteY36" fmla="*/ 220978 h 580547"/>
                    <a:gd name="connsiteX37" fmla="*/ 43988 w 573161"/>
                    <a:gd name="connsiteY37" fmla="*/ 118585 h 580547"/>
                    <a:gd name="connsiteX38" fmla="*/ 67800 w 573161"/>
                    <a:gd name="connsiteY38" fmla="*/ 92391 h 580547"/>
                    <a:gd name="connsiteX39" fmla="*/ 101138 w 573161"/>
                    <a:gd name="connsiteY39" fmla="*/ 63816 h 580547"/>
                    <a:gd name="connsiteX40" fmla="*/ 141619 w 573161"/>
                    <a:gd name="connsiteY40" fmla="*/ 40003 h 580547"/>
                    <a:gd name="connsiteX41" fmla="*/ 263063 w 573161"/>
                    <a:gd name="connsiteY41" fmla="*/ 4285 h 580547"/>
                    <a:gd name="connsiteX42" fmla="*/ 274969 w 573161"/>
                    <a:gd name="connsiteY42" fmla="*/ 1903 h 580547"/>
                    <a:gd name="connsiteX0" fmla="*/ 274969 w 573161"/>
                    <a:gd name="connsiteY0" fmla="*/ 1903 h 580547"/>
                    <a:gd name="connsiteX1" fmla="*/ 370219 w 573161"/>
                    <a:gd name="connsiteY1" fmla="*/ 1903 h 580547"/>
                    <a:gd name="connsiteX2" fmla="*/ 379744 w 573161"/>
                    <a:gd name="connsiteY2" fmla="*/ 4285 h 580547"/>
                    <a:gd name="connsiteX3" fmla="*/ 408319 w 573161"/>
                    <a:gd name="connsiteY3" fmla="*/ 13810 h 580547"/>
                    <a:gd name="connsiteX4" fmla="*/ 472613 w 573161"/>
                    <a:gd name="connsiteY4" fmla="*/ 51910 h 580547"/>
                    <a:gd name="connsiteX5" fmla="*/ 479756 w 573161"/>
                    <a:gd name="connsiteY5" fmla="*/ 61435 h 580547"/>
                    <a:gd name="connsiteX6" fmla="*/ 498806 w 573161"/>
                    <a:gd name="connsiteY6" fmla="*/ 82866 h 580547"/>
                    <a:gd name="connsiteX7" fmla="*/ 529763 w 573161"/>
                    <a:gd name="connsiteY7" fmla="*/ 125728 h 580547"/>
                    <a:gd name="connsiteX8" fmla="*/ 555956 w 573161"/>
                    <a:gd name="connsiteY8" fmla="*/ 168591 h 580547"/>
                    <a:gd name="connsiteX9" fmla="*/ 567863 w 573161"/>
                    <a:gd name="connsiteY9" fmla="*/ 220978 h 580547"/>
                    <a:gd name="connsiteX10" fmla="*/ 572625 w 573161"/>
                    <a:gd name="connsiteY10" fmla="*/ 349566 h 580547"/>
                    <a:gd name="connsiteX11" fmla="*/ 565481 w 573161"/>
                    <a:gd name="connsiteY11" fmla="*/ 411478 h 580547"/>
                    <a:gd name="connsiteX12" fmla="*/ 560719 w 573161"/>
                    <a:gd name="connsiteY12" fmla="*/ 428147 h 580547"/>
                    <a:gd name="connsiteX13" fmla="*/ 532144 w 573161"/>
                    <a:gd name="connsiteY13" fmla="*/ 451960 h 580547"/>
                    <a:gd name="connsiteX14" fmla="*/ 515475 w 573161"/>
                    <a:gd name="connsiteY14" fmla="*/ 475772 h 580547"/>
                    <a:gd name="connsiteX15" fmla="*/ 508331 w 573161"/>
                    <a:gd name="connsiteY15" fmla="*/ 482916 h 580547"/>
                    <a:gd name="connsiteX16" fmla="*/ 501188 w 573161"/>
                    <a:gd name="connsiteY16" fmla="*/ 492441 h 580547"/>
                    <a:gd name="connsiteX17" fmla="*/ 494044 w 573161"/>
                    <a:gd name="connsiteY17" fmla="*/ 499585 h 580547"/>
                    <a:gd name="connsiteX18" fmla="*/ 467850 w 573161"/>
                    <a:gd name="connsiteY18" fmla="*/ 528160 h 580547"/>
                    <a:gd name="connsiteX19" fmla="*/ 451181 w 573161"/>
                    <a:gd name="connsiteY19" fmla="*/ 537685 h 580547"/>
                    <a:gd name="connsiteX20" fmla="*/ 439275 w 573161"/>
                    <a:gd name="connsiteY20" fmla="*/ 542447 h 580547"/>
                    <a:gd name="connsiteX21" fmla="*/ 424988 w 573161"/>
                    <a:gd name="connsiteY21" fmla="*/ 544828 h 580547"/>
                    <a:gd name="connsiteX22" fmla="*/ 382125 w 573161"/>
                    <a:gd name="connsiteY22" fmla="*/ 549591 h 580547"/>
                    <a:gd name="connsiteX23" fmla="*/ 365456 w 573161"/>
                    <a:gd name="connsiteY23" fmla="*/ 554353 h 580547"/>
                    <a:gd name="connsiteX24" fmla="*/ 344025 w 573161"/>
                    <a:gd name="connsiteY24" fmla="*/ 559116 h 580547"/>
                    <a:gd name="connsiteX25" fmla="*/ 329738 w 573161"/>
                    <a:gd name="connsiteY25" fmla="*/ 563878 h 580547"/>
                    <a:gd name="connsiteX26" fmla="*/ 310688 w 573161"/>
                    <a:gd name="connsiteY26" fmla="*/ 575785 h 580547"/>
                    <a:gd name="connsiteX27" fmla="*/ 303544 w 573161"/>
                    <a:gd name="connsiteY27" fmla="*/ 578166 h 580547"/>
                    <a:gd name="connsiteX28" fmla="*/ 282113 w 573161"/>
                    <a:gd name="connsiteY28" fmla="*/ 580547 h 580547"/>
                    <a:gd name="connsiteX29" fmla="*/ 232106 w 573161"/>
                    <a:gd name="connsiteY29" fmla="*/ 578166 h 580547"/>
                    <a:gd name="connsiteX30" fmla="*/ 182100 w 573161"/>
                    <a:gd name="connsiteY30" fmla="*/ 559116 h 580547"/>
                    <a:gd name="connsiteX31" fmla="*/ 96375 w 573161"/>
                    <a:gd name="connsiteY31" fmla="*/ 504347 h 580547"/>
                    <a:gd name="connsiteX32" fmla="*/ 58275 w 573161"/>
                    <a:gd name="connsiteY32" fmla="*/ 461485 h 580547"/>
                    <a:gd name="connsiteX33" fmla="*/ 36844 w 573161"/>
                    <a:gd name="connsiteY33" fmla="*/ 425766 h 580547"/>
                    <a:gd name="connsiteX34" fmla="*/ 3506 w 573161"/>
                    <a:gd name="connsiteY34" fmla="*/ 354328 h 580547"/>
                    <a:gd name="connsiteX35" fmla="*/ 3506 w 573161"/>
                    <a:gd name="connsiteY35" fmla="*/ 220978 h 580547"/>
                    <a:gd name="connsiteX36" fmla="*/ 43988 w 573161"/>
                    <a:gd name="connsiteY36" fmla="*/ 118585 h 580547"/>
                    <a:gd name="connsiteX37" fmla="*/ 67800 w 573161"/>
                    <a:gd name="connsiteY37" fmla="*/ 92391 h 580547"/>
                    <a:gd name="connsiteX38" fmla="*/ 101138 w 573161"/>
                    <a:gd name="connsiteY38" fmla="*/ 63816 h 580547"/>
                    <a:gd name="connsiteX39" fmla="*/ 141619 w 573161"/>
                    <a:gd name="connsiteY39" fmla="*/ 40003 h 580547"/>
                    <a:gd name="connsiteX40" fmla="*/ 263063 w 573161"/>
                    <a:gd name="connsiteY40" fmla="*/ 4285 h 580547"/>
                    <a:gd name="connsiteX41" fmla="*/ 274969 w 573161"/>
                    <a:gd name="connsiteY41" fmla="*/ 1903 h 580547"/>
                    <a:gd name="connsiteX0" fmla="*/ 274969 w 573161"/>
                    <a:gd name="connsiteY0" fmla="*/ 1903 h 580910"/>
                    <a:gd name="connsiteX1" fmla="*/ 370219 w 573161"/>
                    <a:gd name="connsiteY1" fmla="*/ 1903 h 580910"/>
                    <a:gd name="connsiteX2" fmla="*/ 379744 w 573161"/>
                    <a:gd name="connsiteY2" fmla="*/ 4285 h 580910"/>
                    <a:gd name="connsiteX3" fmla="*/ 408319 w 573161"/>
                    <a:gd name="connsiteY3" fmla="*/ 13810 h 580910"/>
                    <a:gd name="connsiteX4" fmla="*/ 472613 w 573161"/>
                    <a:gd name="connsiteY4" fmla="*/ 51910 h 580910"/>
                    <a:gd name="connsiteX5" fmla="*/ 479756 w 573161"/>
                    <a:gd name="connsiteY5" fmla="*/ 61435 h 580910"/>
                    <a:gd name="connsiteX6" fmla="*/ 498806 w 573161"/>
                    <a:gd name="connsiteY6" fmla="*/ 82866 h 580910"/>
                    <a:gd name="connsiteX7" fmla="*/ 529763 w 573161"/>
                    <a:gd name="connsiteY7" fmla="*/ 125728 h 580910"/>
                    <a:gd name="connsiteX8" fmla="*/ 555956 w 573161"/>
                    <a:gd name="connsiteY8" fmla="*/ 168591 h 580910"/>
                    <a:gd name="connsiteX9" fmla="*/ 567863 w 573161"/>
                    <a:gd name="connsiteY9" fmla="*/ 220978 h 580910"/>
                    <a:gd name="connsiteX10" fmla="*/ 572625 w 573161"/>
                    <a:gd name="connsiteY10" fmla="*/ 349566 h 580910"/>
                    <a:gd name="connsiteX11" fmla="*/ 565481 w 573161"/>
                    <a:gd name="connsiteY11" fmla="*/ 411478 h 580910"/>
                    <a:gd name="connsiteX12" fmla="*/ 560719 w 573161"/>
                    <a:gd name="connsiteY12" fmla="*/ 428147 h 580910"/>
                    <a:gd name="connsiteX13" fmla="*/ 532144 w 573161"/>
                    <a:gd name="connsiteY13" fmla="*/ 451960 h 580910"/>
                    <a:gd name="connsiteX14" fmla="*/ 515475 w 573161"/>
                    <a:gd name="connsiteY14" fmla="*/ 475772 h 580910"/>
                    <a:gd name="connsiteX15" fmla="*/ 508331 w 573161"/>
                    <a:gd name="connsiteY15" fmla="*/ 482916 h 580910"/>
                    <a:gd name="connsiteX16" fmla="*/ 501188 w 573161"/>
                    <a:gd name="connsiteY16" fmla="*/ 492441 h 580910"/>
                    <a:gd name="connsiteX17" fmla="*/ 494044 w 573161"/>
                    <a:gd name="connsiteY17" fmla="*/ 499585 h 580910"/>
                    <a:gd name="connsiteX18" fmla="*/ 467850 w 573161"/>
                    <a:gd name="connsiteY18" fmla="*/ 528160 h 580910"/>
                    <a:gd name="connsiteX19" fmla="*/ 451181 w 573161"/>
                    <a:gd name="connsiteY19" fmla="*/ 537685 h 580910"/>
                    <a:gd name="connsiteX20" fmla="*/ 439275 w 573161"/>
                    <a:gd name="connsiteY20" fmla="*/ 542447 h 580910"/>
                    <a:gd name="connsiteX21" fmla="*/ 424988 w 573161"/>
                    <a:gd name="connsiteY21" fmla="*/ 544828 h 580910"/>
                    <a:gd name="connsiteX22" fmla="*/ 382125 w 573161"/>
                    <a:gd name="connsiteY22" fmla="*/ 549591 h 580910"/>
                    <a:gd name="connsiteX23" fmla="*/ 365456 w 573161"/>
                    <a:gd name="connsiteY23" fmla="*/ 554353 h 580910"/>
                    <a:gd name="connsiteX24" fmla="*/ 344025 w 573161"/>
                    <a:gd name="connsiteY24" fmla="*/ 559116 h 580910"/>
                    <a:gd name="connsiteX25" fmla="*/ 329738 w 573161"/>
                    <a:gd name="connsiteY25" fmla="*/ 563878 h 580910"/>
                    <a:gd name="connsiteX26" fmla="*/ 310688 w 573161"/>
                    <a:gd name="connsiteY26" fmla="*/ 575785 h 580910"/>
                    <a:gd name="connsiteX27" fmla="*/ 282113 w 573161"/>
                    <a:gd name="connsiteY27" fmla="*/ 580547 h 580910"/>
                    <a:gd name="connsiteX28" fmla="*/ 232106 w 573161"/>
                    <a:gd name="connsiteY28" fmla="*/ 578166 h 580910"/>
                    <a:gd name="connsiteX29" fmla="*/ 182100 w 573161"/>
                    <a:gd name="connsiteY29" fmla="*/ 559116 h 580910"/>
                    <a:gd name="connsiteX30" fmla="*/ 96375 w 573161"/>
                    <a:gd name="connsiteY30" fmla="*/ 504347 h 580910"/>
                    <a:gd name="connsiteX31" fmla="*/ 58275 w 573161"/>
                    <a:gd name="connsiteY31" fmla="*/ 461485 h 580910"/>
                    <a:gd name="connsiteX32" fmla="*/ 36844 w 573161"/>
                    <a:gd name="connsiteY32" fmla="*/ 425766 h 580910"/>
                    <a:gd name="connsiteX33" fmla="*/ 3506 w 573161"/>
                    <a:gd name="connsiteY33" fmla="*/ 354328 h 580910"/>
                    <a:gd name="connsiteX34" fmla="*/ 3506 w 573161"/>
                    <a:gd name="connsiteY34" fmla="*/ 220978 h 580910"/>
                    <a:gd name="connsiteX35" fmla="*/ 43988 w 573161"/>
                    <a:gd name="connsiteY35" fmla="*/ 118585 h 580910"/>
                    <a:gd name="connsiteX36" fmla="*/ 67800 w 573161"/>
                    <a:gd name="connsiteY36" fmla="*/ 92391 h 580910"/>
                    <a:gd name="connsiteX37" fmla="*/ 101138 w 573161"/>
                    <a:gd name="connsiteY37" fmla="*/ 63816 h 580910"/>
                    <a:gd name="connsiteX38" fmla="*/ 141619 w 573161"/>
                    <a:gd name="connsiteY38" fmla="*/ 40003 h 580910"/>
                    <a:gd name="connsiteX39" fmla="*/ 263063 w 573161"/>
                    <a:gd name="connsiteY39" fmla="*/ 4285 h 580910"/>
                    <a:gd name="connsiteX40" fmla="*/ 274969 w 573161"/>
                    <a:gd name="connsiteY40" fmla="*/ 1903 h 580910"/>
                    <a:gd name="connsiteX0" fmla="*/ 274969 w 573161"/>
                    <a:gd name="connsiteY0" fmla="*/ 1903 h 580910"/>
                    <a:gd name="connsiteX1" fmla="*/ 370219 w 573161"/>
                    <a:gd name="connsiteY1" fmla="*/ 1903 h 580910"/>
                    <a:gd name="connsiteX2" fmla="*/ 379744 w 573161"/>
                    <a:gd name="connsiteY2" fmla="*/ 4285 h 580910"/>
                    <a:gd name="connsiteX3" fmla="*/ 408319 w 573161"/>
                    <a:gd name="connsiteY3" fmla="*/ 13810 h 580910"/>
                    <a:gd name="connsiteX4" fmla="*/ 472613 w 573161"/>
                    <a:gd name="connsiteY4" fmla="*/ 51910 h 580910"/>
                    <a:gd name="connsiteX5" fmla="*/ 479756 w 573161"/>
                    <a:gd name="connsiteY5" fmla="*/ 61435 h 580910"/>
                    <a:gd name="connsiteX6" fmla="*/ 498806 w 573161"/>
                    <a:gd name="connsiteY6" fmla="*/ 82866 h 580910"/>
                    <a:gd name="connsiteX7" fmla="*/ 529763 w 573161"/>
                    <a:gd name="connsiteY7" fmla="*/ 125728 h 580910"/>
                    <a:gd name="connsiteX8" fmla="*/ 555956 w 573161"/>
                    <a:gd name="connsiteY8" fmla="*/ 168591 h 580910"/>
                    <a:gd name="connsiteX9" fmla="*/ 567863 w 573161"/>
                    <a:gd name="connsiteY9" fmla="*/ 220978 h 580910"/>
                    <a:gd name="connsiteX10" fmla="*/ 572625 w 573161"/>
                    <a:gd name="connsiteY10" fmla="*/ 349566 h 580910"/>
                    <a:gd name="connsiteX11" fmla="*/ 565481 w 573161"/>
                    <a:gd name="connsiteY11" fmla="*/ 411478 h 580910"/>
                    <a:gd name="connsiteX12" fmla="*/ 560719 w 573161"/>
                    <a:gd name="connsiteY12" fmla="*/ 428147 h 580910"/>
                    <a:gd name="connsiteX13" fmla="*/ 532144 w 573161"/>
                    <a:gd name="connsiteY13" fmla="*/ 451960 h 580910"/>
                    <a:gd name="connsiteX14" fmla="*/ 515475 w 573161"/>
                    <a:gd name="connsiteY14" fmla="*/ 475772 h 580910"/>
                    <a:gd name="connsiteX15" fmla="*/ 508331 w 573161"/>
                    <a:gd name="connsiteY15" fmla="*/ 482916 h 580910"/>
                    <a:gd name="connsiteX16" fmla="*/ 501188 w 573161"/>
                    <a:gd name="connsiteY16" fmla="*/ 492441 h 580910"/>
                    <a:gd name="connsiteX17" fmla="*/ 494044 w 573161"/>
                    <a:gd name="connsiteY17" fmla="*/ 499585 h 580910"/>
                    <a:gd name="connsiteX18" fmla="*/ 467850 w 573161"/>
                    <a:gd name="connsiteY18" fmla="*/ 528160 h 580910"/>
                    <a:gd name="connsiteX19" fmla="*/ 451181 w 573161"/>
                    <a:gd name="connsiteY19" fmla="*/ 537685 h 580910"/>
                    <a:gd name="connsiteX20" fmla="*/ 439275 w 573161"/>
                    <a:gd name="connsiteY20" fmla="*/ 542447 h 580910"/>
                    <a:gd name="connsiteX21" fmla="*/ 424988 w 573161"/>
                    <a:gd name="connsiteY21" fmla="*/ 544828 h 580910"/>
                    <a:gd name="connsiteX22" fmla="*/ 382125 w 573161"/>
                    <a:gd name="connsiteY22" fmla="*/ 549591 h 580910"/>
                    <a:gd name="connsiteX23" fmla="*/ 365456 w 573161"/>
                    <a:gd name="connsiteY23" fmla="*/ 554353 h 580910"/>
                    <a:gd name="connsiteX24" fmla="*/ 329738 w 573161"/>
                    <a:gd name="connsiteY24" fmla="*/ 563878 h 580910"/>
                    <a:gd name="connsiteX25" fmla="*/ 310688 w 573161"/>
                    <a:gd name="connsiteY25" fmla="*/ 575785 h 580910"/>
                    <a:gd name="connsiteX26" fmla="*/ 282113 w 573161"/>
                    <a:gd name="connsiteY26" fmla="*/ 580547 h 580910"/>
                    <a:gd name="connsiteX27" fmla="*/ 232106 w 573161"/>
                    <a:gd name="connsiteY27" fmla="*/ 578166 h 580910"/>
                    <a:gd name="connsiteX28" fmla="*/ 182100 w 573161"/>
                    <a:gd name="connsiteY28" fmla="*/ 559116 h 580910"/>
                    <a:gd name="connsiteX29" fmla="*/ 96375 w 573161"/>
                    <a:gd name="connsiteY29" fmla="*/ 504347 h 580910"/>
                    <a:gd name="connsiteX30" fmla="*/ 58275 w 573161"/>
                    <a:gd name="connsiteY30" fmla="*/ 461485 h 580910"/>
                    <a:gd name="connsiteX31" fmla="*/ 36844 w 573161"/>
                    <a:gd name="connsiteY31" fmla="*/ 425766 h 580910"/>
                    <a:gd name="connsiteX32" fmla="*/ 3506 w 573161"/>
                    <a:gd name="connsiteY32" fmla="*/ 354328 h 580910"/>
                    <a:gd name="connsiteX33" fmla="*/ 3506 w 573161"/>
                    <a:gd name="connsiteY33" fmla="*/ 220978 h 580910"/>
                    <a:gd name="connsiteX34" fmla="*/ 43988 w 573161"/>
                    <a:gd name="connsiteY34" fmla="*/ 118585 h 580910"/>
                    <a:gd name="connsiteX35" fmla="*/ 67800 w 573161"/>
                    <a:gd name="connsiteY35" fmla="*/ 92391 h 580910"/>
                    <a:gd name="connsiteX36" fmla="*/ 101138 w 573161"/>
                    <a:gd name="connsiteY36" fmla="*/ 63816 h 580910"/>
                    <a:gd name="connsiteX37" fmla="*/ 141619 w 573161"/>
                    <a:gd name="connsiteY37" fmla="*/ 40003 h 580910"/>
                    <a:gd name="connsiteX38" fmla="*/ 263063 w 573161"/>
                    <a:gd name="connsiteY38" fmla="*/ 4285 h 580910"/>
                    <a:gd name="connsiteX39" fmla="*/ 274969 w 573161"/>
                    <a:gd name="connsiteY39" fmla="*/ 1903 h 580910"/>
                    <a:gd name="connsiteX0" fmla="*/ 274969 w 573161"/>
                    <a:gd name="connsiteY0" fmla="*/ 1903 h 580910"/>
                    <a:gd name="connsiteX1" fmla="*/ 370219 w 573161"/>
                    <a:gd name="connsiteY1" fmla="*/ 1903 h 580910"/>
                    <a:gd name="connsiteX2" fmla="*/ 379744 w 573161"/>
                    <a:gd name="connsiteY2" fmla="*/ 4285 h 580910"/>
                    <a:gd name="connsiteX3" fmla="*/ 408319 w 573161"/>
                    <a:gd name="connsiteY3" fmla="*/ 13810 h 580910"/>
                    <a:gd name="connsiteX4" fmla="*/ 472613 w 573161"/>
                    <a:gd name="connsiteY4" fmla="*/ 51910 h 580910"/>
                    <a:gd name="connsiteX5" fmla="*/ 479756 w 573161"/>
                    <a:gd name="connsiteY5" fmla="*/ 61435 h 580910"/>
                    <a:gd name="connsiteX6" fmla="*/ 498806 w 573161"/>
                    <a:gd name="connsiteY6" fmla="*/ 82866 h 580910"/>
                    <a:gd name="connsiteX7" fmla="*/ 529763 w 573161"/>
                    <a:gd name="connsiteY7" fmla="*/ 125728 h 580910"/>
                    <a:gd name="connsiteX8" fmla="*/ 555956 w 573161"/>
                    <a:gd name="connsiteY8" fmla="*/ 168591 h 580910"/>
                    <a:gd name="connsiteX9" fmla="*/ 567863 w 573161"/>
                    <a:gd name="connsiteY9" fmla="*/ 220978 h 580910"/>
                    <a:gd name="connsiteX10" fmla="*/ 572625 w 573161"/>
                    <a:gd name="connsiteY10" fmla="*/ 349566 h 580910"/>
                    <a:gd name="connsiteX11" fmla="*/ 565481 w 573161"/>
                    <a:gd name="connsiteY11" fmla="*/ 411478 h 580910"/>
                    <a:gd name="connsiteX12" fmla="*/ 560719 w 573161"/>
                    <a:gd name="connsiteY12" fmla="*/ 428147 h 580910"/>
                    <a:gd name="connsiteX13" fmla="*/ 532144 w 573161"/>
                    <a:gd name="connsiteY13" fmla="*/ 451960 h 580910"/>
                    <a:gd name="connsiteX14" fmla="*/ 515475 w 573161"/>
                    <a:gd name="connsiteY14" fmla="*/ 475772 h 580910"/>
                    <a:gd name="connsiteX15" fmla="*/ 508331 w 573161"/>
                    <a:gd name="connsiteY15" fmla="*/ 482916 h 580910"/>
                    <a:gd name="connsiteX16" fmla="*/ 501188 w 573161"/>
                    <a:gd name="connsiteY16" fmla="*/ 492441 h 580910"/>
                    <a:gd name="connsiteX17" fmla="*/ 494044 w 573161"/>
                    <a:gd name="connsiteY17" fmla="*/ 499585 h 580910"/>
                    <a:gd name="connsiteX18" fmla="*/ 467850 w 573161"/>
                    <a:gd name="connsiteY18" fmla="*/ 528160 h 580910"/>
                    <a:gd name="connsiteX19" fmla="*/ 451181 w 573161"/>
                    <a:gd name="connsiteY19" fmla="*/ 537685 h 580910"/>
                    <a:gd name="connsiteX20" fmla="*/ 439275 w 573161"/>
                    <a:gd name="connsiteY20" fmla="*/ 542447 h 580910"/>
                    <a:gd name="connsiteX21" fmla="*/ 424988 w 573161"/>
                    <a:gd name="connsiteY21" fmla="*/ 544828 h 580910"/>
                    <a:gd name="connsiteX22" fmla="*/ 382125 w 573161"/>
                    <a:gd name="connsiteY22" fmla="*/ 549591 h 580910"/>
                    <a:gd name="connsiteX23" fmla="*/ 329738 w 573161"/>
                    <a:gd name="connsiteY23" fmla="*/ 563878 h 580910"/>
                    <a:gd name="connsiteX24" fmla="*/ 310688 w 573161"/>
                    <a:gd name="connsiteY24" fmla="*/ 575785 h 580910"/>
                    <a:gd name="connsiteX25" fmla="*/ 282113 w 573161"/>
                    <a:gd name="connsiteY25" fmla="*/ 580547 h 580910"/>
                    <a:gd name="connsiteX26" fmla="*/ 232106 w 573161"/>
                    <a:gd name="connsiteY26" fmla="*/ 578166 h 580910"/>
                    <a:gd name="connsiteX27" fmla="*/ 182100 w 573161"/>
                    <a:gd name="connsiteY27" fmla="*/ 559116 h 580910"/>
                    <a:gd name="connsiteX28" fmla="*/ 96375 w 573161"/>
                    <a:gd name="connsiteY28" fmla="*/ 504347 h 580910"/>
                    <a:gd name="connsiteX29" fmla="*/ 58275 w 573161"/>
                    <a:gd name="connsiteY29" fmla="*/ 461485 h 580910"/>
                    <a:gd name="connsiteX30" fmla="*/ 36844 w 573161"/>
                    <a:gd name="connsiteY30" fmla="*/ 425766 h 580910"/>
                    <a:gd name="connsiteX31" fmla="*/ 3506 w 573161"/>
                    <a:gd name="connsiteY31" fmla="*/ 354328 h 580910"/>
                    <a:gd name="connsiteX32" fmla="*/ 3506 w 573161"/>
                    <a:gd name="connsiteY32" fmla="*/ 220978 h 580910"/>
                    <a:gd name="connsiteX33" fmla="*/ 43988 w 573161"/>
                    <a:gd name="connsiteY33" fmla="*/ 118585 h 580910"/>
                    <a:gd name="connsiteX34" fmla="*/ 67800 w 573161"/>
                    <a:gd name="connsiteY34" fmla="*/ 92391 h 580910"/>
                    <a:gd name="connsiteX35" fmla="*/ 101138 w 573161"/>
                    <a:gd name="connsiteY35" fmla="*/ 63816 h 580910"/>
                    <a:gd name="connsiteX36" fmla="*/ 141619 w 573161"/>
                    <a:gd name="connsiteY36" fmla="*/ 40003 h 580910"/>
                    <a:gd name="connsiteX37" fmla="*/ 263063 w 573161"/>
                    <a:gd name="connsiteY37" fmla="*/ 4285 h 580910"/>
                    <a:gd name="connsiteX38" fmla="*/ 274969 w 573161"/>
                    <a:gd name="connsiteY38" fmla="*/ 1903 h 580910"/>
                    <a:gd name="connsiteX0" fmla="*/ 274969 w 573161"/>
                    <a:gd name="connsiteY0" fmla="*/ 1903 h 580910"/>
                    <a:gd name="connsiteX1" fmla="*/ 370219 w 573161"/>
                    <a:gd name="connsiteY1" fmla="*/ 1903 h 580910"/>
                    <a:gd name="connsiteX2" fmla="*/ 379744 w 573161"/>
                    <a:gd name="connsiteY2" fmla="*/ 4285 h 580910"/>
                    <a:gd name="connsiteX3" fmla="*/ 408319 w 573161"/>
                    <a:gd name="connsiteY3" fmla="*/ 13810 h 580910"/>
                    <a:gd name="connsiteX4" fmla="*/ 472613 w 573161"/>
                    <a:gd name="connsiteY4" fmla="*/ 51910 h 580910"/>
                    <a:gd name="connsiteX5" fmla="*/ 479756 w 573161"/>
                    <a:gd name="connsiteY5" fmla="*/ 61435 h 580910"/>
                    <a:gd name="connsiteX6" fmla="*/ 498806 w 573161"/>
                    <a:gd name="connsiteY6" fmla="*/ 82866 h 580910"/>
                    <a:gd name="connsiteX7" fmla="*/ 529763 w 573161"/>
                    <a:gd name="connsiteY7" fmla="*/ 125728 h 580910"/>
                    <a:gd name="connsiteX8" fmla="*/ 555956 w 573161"/>
                    <a:gd name="connsiteY8" fmla="*/ 168591 h 580910"/>
                    <a:gd name="connsiteX9" fmla="*/ 567863 w 573161"/>
                    <a:gd name="connsiteY9" fmla="*/ 220978 h 580910"/>
                    <a:gd name="connsiteX10" fmla="*/ 572625 w 573161"/>
                    <a:gd name="connsiteY10" fmla="*/ 349566 h 580910"/>
                    <a:gd name="connsiteX11" fmla="*/ 565481 w 573161"/>
                    <a:gd name="connsiteY11" fmla="*/ 411478 h 580910"/>
                    <a:gd name="connsiteX12" fmla="*/ 560719 w 573161"/>
                    <a:gd name="connsiteY12" fmla="*/ 428147 h 580910"/>
                    <a:gd name="connsiteX13" fmla="*/ 532144 w 573161"/>
                    <a:gd name="connsiteY13" fmla="*/ 451960 h 580910"/>
                    <a:gd name="connsiteX14" fmla="*/ 515475 w 573161"/>
                    <a:gd name="connsiteY14" fmla="*/ 475772 h 580910"/>
                    <a:gd name="connsiteX15" fmla="*/ 508331 w 573161"/>
                    <a:gd name="connsiteY15" fmla="*/ 482916 h 580910"/>
                    <a:gd name="connsiteX16" fmla="*/ 501188 w 573161"/>
                    <a:gd name="connsiteY16" fmla="*/ 492441 h 580910"/>
                    <a:gd name="connsiteX17" fmla="*/ 494044 w 573161"/>
                    <a:gd name="connsiteY17" fmla="*/ 499585 h 580910"/>
                    <a:gd name="connsiteX18" fmla="*/ 467850 w 573161"/>
                    <a:gd name="connsiteY18" fmla="*/ 528160 h 580910"/>
                    <a:gd name="connsiteX19" fmla="*/ 451181 w 573161"/>
                    <a:gd name="connsiteY19" fmla="*/ 537685 h 580910"/>
                    <a:gd name="connsiteX20" fmla="*/ 439275 w 573161"/>
                    <a:gd name="connsiteY20" fmla="*/ 542447 h 580910"/>
                    <a:gd name="connsiteX21" fmla="*/ 424988 w 573161"/>
                    <a:gd name="connsiteY21" fmla="*/ 544828 h 580910"/>
                    <a:gd name="connsiteX22" fmla="*/ 329738 w 573161"/>
                    <a:gd name="connsiteY22" fmla="*/ 563878 h 580910"/>
                    <a:gd name="connsiteX23" fmla="*/ 310688 w 573161"/>
                    <a:gd name="connsiteY23" fmla="*/ 575785 h 580910"/>
                    <a:gd name="connsiteX24" fmla="*/ 282113 w 573161"/>
                    <a:gd name="connsiteY24" fmla="*/ 580547 h 580910"/>
                    <a:gd name="connsiteX25" fmla="*/ 232106 w 573161"/>
                    <a:gd name="connsiteY25" fmla="*/ 578166 h 580910"/>
                    <a:gd name="connsiteX26" fmla="*/ 182100 w 573161"/>
                    <a:gd name="connsiteY26" fmla="*/ 559116 h 580910"/>
                    <a:gd name="connsiteX27" fmla="*/ 96375 w 573161"/>
                    <a:gd name="connsiteY27" fmla="*/ 504347 h 580910"/>
                    <a:gd name="connsiteX28" fmla="*/ 58275 w 573161"/>
                    <a:gd name="connsiteY28" fmla="*/ 461485 h 580910"/>
                    <a:gd name="connsiteX29" fmla="*/ 36844 w 573161"/>
                    <a:gd name="connsiteY29" fmla="*/ 425766 h 580910"/>
                    <a:gd name="connsiteX30" fmla="*/ 3506 w 573161"/>
                    <a:gd name="connsiteY30" fmla="*/ 354328 h 580910"/>
                    <a:gd name="connsiteX31" fmla="*/ 3506 w 573161"/>
                    <a:gd name="connsiteY31" fmla="*/ 220978 h 580910"/>
                    <a:gd name="connsiteX32" fmla="*/ 43988 w 573161"/>
                    <a:gd name="connsiteY32" fmla="*/ 118585 h 580910"/>
                    <a:gd name="connsiteX33" fmla="*/ 67800 w 573161"/>
                    <a:gd name="connsiteY33" fmla="*/ 92391 h 580910"/>
                    <a:gd name="connsiteX34" fmla="*/ 101138 w 573161"/>
                    <a:gd name="connsiteY34" fmla="*/ 63816 h 580910"/>
                    <a:gd name="connsiteX35" fmla="*/ 141619 w 573161"/>
                    <a:gd name="connsiteY35" fmla="*/ 40003 h 580910"/>
                    <a:gd name="connsiteX36" fmla="*/ 263063 w 573161"/>
                    <a:gd name="connsiteY36" fmla="*/ 4285 h 580910"/>
                    <a:gd name="connsiteX37" fmla="*/ 274969 w 573161"/>
                    <a:gd name="connsiteY37" fmla="*/ 1903 h 580910"/>
                    <a:gd name="connsiteX0" fmla="*/ 274969 w 573161"/>
                    <a:gd name="connsiteY0" fmla="*/ 1903 h 580910"/>
                    <a:gd name="connsiteX1" fmla="*/ 370219 w 573161"/>
                    <a:gd name="connsiteY1" fmla="*/ 1903 h 580910"/>
                    <a:gd name="connsiteX2" fmla="*/ 379744 w 573161"/>
                    <a:gd name="connsiteY2" fmla="*/ 4285 h 580910"/>
                    <a:gd name="connsiteX3" fmla="*/ 408319 w 573161"/>
                    <a:gd name="connsiteY3" fmla="*/ 13810 h 580910"/>
                    <a:gd name="connsiteX4" fmla="*/ 472613 w 573161"/>
                    <a:gd name="connsiteY4" fmla="*/ 51910 h 580910"/>
                    <a:gd name="connsiteX5" fmla="*/ 479756 w 573161"/>
                    <a:gd name="connsiteY5" fmla="*/ 61435 h 580910"/>
                    <a:gd name="connsiteX6" fmla="*/ 498806 w 573161"/>
                    <a:gd name="connsiteY6" fmla="*/ 82866 h 580910"/>
                    <a:gd name="connsiteX7" fmla="*/ 529763 w 573161"/>
                    <a:gd name="connsiteY7" fmla="*/ 125728 h 580910"/>
                    <a:gd name="connsiteX8" fmla="*/ 555956 w 573161"/>
                    <a:gd name="connsiteY8" fmla="*/ 168591 h 580910"/>
                    <a:gd name="connsiteX9" fmla="*/ 567863 w 573161"/>
                    <a:gd name="connsiteY9" fmla="*/ 220978 h 580910"/>
                    <a:gd name="connsiteX10" fmla="*/ 572625 w 573161"/>
                    <a:gd name="connsiteY10" fmla="*/ 349566 h 580910"/>
                    <a:gd name="connsiteX11" fmla="*/ 565481 w 573161"/>
                    <a:gd name="connsiteY11" fmla="*/ 411478 h 580910"/>
                    <a:gd name="connsiteX12" fmla="*/ 560719 w 573161"/>
                    <a:gd name="connsiteY12" fmla="*/ 428147 h 580910"/>
                    <a:gd name="connsiteX13" fmla="*/ 532144 w 573161"/>
                    <a:gd name="connsiteY13" fmla="*/ 451960 h 580910"/>
                    <a:gd name="connsiteX14" fmla="*/ 515475 w 573161"/>
                    <a:gd name="connsiteY14" fmla="*/ 475772 h 580910"/>
                    <a:gd name="connsiteX15" fmla="*/ 508331 w 573161"/>
                    <a:gd name="connsiteY15" fmla="*/ 482916 h 580910"/>
                    <a:gd name="connsiteX16" fmla="*/ 501188 w 573161"/>
                    <a:gd name="connsiteY16" fmla="*/ 492441 h 580910"/>
                    <a:gd name="connsiteX17" fmla="*/ 494044 w 573161"/>
                    <a:gd name="connsiteY17" fmla="*/ 499585 h 580910"/>
                    <a:gd name="connsiteX18" fmla="*/ 467850 w 573161"/>
                    <a:gd name="connsiteY18" fmla="*/ 528160 h 580910"/>
                    <a:gd name="connsiteX19" fmla="*/ 451181 w 573161"/>
                    <a:gd name="connsiteY19" fmla="*/ 537685 h 580910"/>
                    <a:gd name="connsiteX20" fmla="*/ 439275 w 573161"/>
                    <a:gd name="connsiteY20" fmla="*/ 542447 h 580910"/>
                    <a:gd name="connsiteX21" fmla="*/ 424988 w 573161"/>
                    <a:gd name="connsiteY21" fmla="*/ 544828 h 580910"/>
                    <a:gd name="connsiteX22" fmla="*/ 310688 w 573161"/>
                    <a:gd name="connsiteY22" fmla="*/ 575785 h 580910"/>
                    <a:gd name="connsiteX23" fmla="*/ 282113 w 573161"/>
                    <a:gd name="connsiteY23" fmla="*/ 580547 h 580910"/>
                    <a:gd name="connsiteX24" fmla="*/ 232106 w 573161"/>
                    <a:gd name="connsiteY24" fmla="*/ 578166 h 580910"/>
                    <a:gd name="connsiteX25" fmla="*/ 182100 w 573161"/>
                    <a:gd name="connsiteY25" fmla="*/ 559116 h 580910"/>
                    <a:gd name="connsiteX26" fmla="*/ 96375 w 573161"/>
                    <a:gd name="connsiteY26" fmla="*/ 504347 h 580910"/>
                    <a:gd name="connsiteX27" fmla="*/ 58275 w 573161"/>
                    <a:gd name="connsiteY27" fmla="*/ 461485 h 580910"/>
                    <a:gd name="connsiteX28" fmla="*/ 36844 w 573161"/>
                    <a:gd name="connsiteY28" fmla="*/ 425766 h 580910"/>
                    <a:gd name="connsiteX29" fmla="*/ 3506 w 573161"/>
                    <a:gd name="connsiteY29" fmla="*/ 354328 h 580910"/>
                    <a:gd name="connsiteX30" fmla="*/ 3506 w 573161"/>
                    <a:gd name="connsiteY30" fmla="*/ 220978 h 580910"/>
                    <a:gd name="connsiteX31" fmla="*/ 43988 w 573161"/>
                    <a:gd name="connsiteY31" fmla="*/ 118585 h 580910"/>
                    <a:gd name="connsiteX32" fmla="*/ 67800 w 573161"/>
                    <a:gd name="connsiteY32" fmla="*/ 92391 h 580910"/>
                    <a:gd name="connsiteX33" fmla="*/ 101138 w 573161"/>
                    <a:gd name="connsiteY33" fmla="*/ 63816 h 580910"/>
                    <a:gd name="connsiteX34" fmla="*/ 141619 w 573161"/>
                    <a:gd name="connsiteY34" fmla="*/ 40003 h 580910"/>
                    <a:gd name="connsiteX35" fmla="*/ 263063 w 573161"/>
                    <a:gd name="connsiteY35" fmla="*/ 4285 h 580910"/>
                    <a:gd name="connsiteX36" fmla="*/ 274969 w 573161"/>
                    <a:gd name="connsiteY36" fmla="*/ 1903 h 580910"/>
                    <a:gd name="connsiteX0" fmla="*/ 274969 w 573161"/>
                    <a:gd name="connsiteY0" fmla="*/ 1903 h 583194"/>
                    <a:gd name="connsiteX1" fmla="*/ 370219 w 573161"/>
                    <a:gd name="connsiteY1" fmla="*/ 1903 h 583194"/>
                    <a:gd name="connsiteX2" fmla="*/ 379744 w 573161"/>
                    <a:gd name="connsiteY2" fmla="*/ 4285 h 583194"/>
                    <a:gd name="connsiteX3" fmla="*/ 408319 w 573161"/>
                    <a:gd name="connsiteY3" fmla="*/ 13810 h 583194"/>
                    <a:gd name="connsiteX4" fmla="*/ 472613 w 573161"/>
                    <a:gd name="connsiteY4" fmla="*/ 51910 h 583194"/>
                    <a:gd name="connsiteX5" fmla="*/ 479756 w 573161"/>
                    <a:gd name="connsiteY5" fmla="*/ 61435 h 583194"/>
                    <a:gd name="connsiteX6" fmla="*/ 498806 w 573161"/>
                    <a:gd name="connsiteY6" fmla="*/ 82866 h 583194"/>
                    <a:gd name="connsiteX7" fmla="*/ 529763 w 573161"/>
                    <a:gd name="connsiteY7" fmla="*/ 125728 h 583194"/>
                    <a:gd name="connsiteX8" fmla="*/ 555956 w 573161"/>
                    <a:gd name="connsiteY8" fmla="*/ 168591 h 583194"/>
                    <a:gd name="connsiteX9" fmla="*/ 567863 w 573161"/>
                    <a:gd name="connsiteY9" fmla="*/ 220978 h 583194"/>
                    <a:gd name="connsiteX10" fmla="*/ 572625 w 573161"/>
                    <a:gd name="connsiteY10" fmla="*/ 349566 h 583194"/>
                    <a:gd name="connsiteX11" fmla="*/ 565481 w 573161"/>
                    <a:gd name="connsiteY11" fmla="*/ 411478 h 583194"/>
                    <a:gd name="connsiteX12" fmla="*/ 560719 w 573161"/>
                    <a:gd name="connsiteY12" fmla="*/ 428147 h 583194"/>
                    <a:gd name="connsiteX13" fmla="*/ 532144 w 573161"/>
                    <a:gd name="connsiteY13" fmla="*/ 451960 h 583194"/>
                    <a:gd name="connsiteX14" fmla="*/ 515475 w 573161"/>
                    <a:gd name="connsiteY14" fmla="*/ 475772 h 583194"/>
                    <a:gd name="connsiteX15" fmla="*/ 508331 w 573161"/>
                    <a:gd name="connsiteY15" fmla="*/ 482916 h 583194"/>
                    <a:gd name="connsiteX16" fmla="*/ 501188 w 573161"/>
                    <a:gd name="connsiteY16" fmla="*/ 492441 h 583194"/>
                    <a:gd name="connsiteX17" fmla="*/ 494044 w 573161"/>
                    <a:gd name="connsiteY17" fmla="*/ 499585 h 583194"/>
                    <a:gd name="connsiteX18" fmla="*/ 467850 w 573161"/>
                    <a:gd name="connsiteY18" fmla="*/ 528160 h 583194"/>
                    <a:gd name="connsiteX19" fmla="*/ 451181 w 573161"/>
                    <a:gd name="connsiteY19" fmla="*/ 537685 h 583194"/>
                    <a:gd name="connsiteX20" fmla="*/ 439275 w 573161"/>
                    <a:gd name="connsiteY20" fmla="*/ 542447 h 583194"/>
                    <a:gd name="connsiteX21" fmla="*/ 424988 w 573161"/>
                    <a:gd name="connsiteY21" fmla="*/ 544828 h 583194"/>
                    <a:gd name="connsiteX22" fmla="*/ 282113 w 573161"/>
                    <a:gd name="connsiteY22" fmla="*/ 580547 h 583194"/>
                    <a:gd name="connsiteX23" fmla="*/ 232106 w 573161"/>
                    <a:gd name="connsiteY23" fmla="*/ 578166 h 583194"/>
                    <a:gd name="connsiteX24" fmla="*/ 182100 w 573161"/>
                    <a:gd name="connsiteY24" fmla="*/ 559116 h 583194"/>
                    <a:gd name="connsiteX25" fmla="*/ 96375 w 573161"/>
                    <a:gd name="connsiteY25" fmla="*/ 504347 h 583194"/>
                    <a:gd name="connsiteX26" fmla="*/ 58275 w 573161"/>
                    <a:gd name="connsiteY26" fmla="*/ 461485 h 583194"/>
                    <a:gd name="connsiteX27" fmla="*/ 36844 w 573161"/>
                    <a:gd name="connsiteY27" fmla="*/ 425766 h 583194"/>
                    <a:gd name="connsiteX28" fmla="*/ 3506 w 573161"/>
                    <a:gd name="connsiteY28" fmla="*/ 354328 h 583194"/>
                    <a:gd name="connsiteX29" fmla="*/ 3506 w 573161"/>
                    <a:gd name="connsiteY29" fmla="*/ 220978 h 583194"/>
                    <a:gd name="connsiteX30" fmla="*/ 43988 w 573161"/>
                    <a:gd name="connsiteY30" fmla="*/ 118585 h 583194"/>
                    <a:gd name="connsiteX31" fmla="*/ 67800 w 573161"/>
                    <a:gd name="connsiteY31" fmla="*/ 92391 h 583194"/>
                    <a:gd name="connsiteX32" fmla="*/ 101138 w 573161"/>
                    <a:gd name="connsiteY32" fmla="*/ 63816 h 583194"/>
                    <a:gd name="connsiteX33" fmla="*/ 141619 w 573161"/>
                    <a:gd name="connsiteY33" fmla="*/ 40003 h 583194"/>
                    <a:gd name="connsiteX34" fmla="*/ 263063 w 573161"/>
                    <a:gd name="connsiteY34" fmla="*/ 4285 h 583194"/>
                    <a:gd name="connsiteX35" fmla="*/ 274969 w 573161"/>
                    <a:gd name="connsiteY35" fmla="*/ 1903 h 583194"/>
                    <a:gd name="connsiteX0" fmla="*/ 274969 w 573161"/>
                    <a:gd name="connsiteY0" fmla="*/ 1903 h 583371"/>
                    <a:gd name="connsiteX1" fmla="*/ 370219 w 573161"/>
                    <a:gd name="connsiteY1" fmla="*/ 1903 h 583371"/>
                    <a:gd name="connsiteX2" fmla="*/ 379744 w 573161"/>
                    <a:gd name="connsiteY2" fmla="*/ 4285 h 583371"/>
                    <a:gd name="connsiteX3" fmla="*/ 408319 w 573161"/>
                    <a:gd name="connsiteY3" fmla="*/ 13810 h 583371"/>
                    <a:gd name="connsiteX4" fmla="*/ 472613 w 573161"/>
                    <a:gd name="connsiteY4" fmla="*/ 51910 h 583371"/>
                    <a:gd name="connsiteX5" fmla="*/ 479756 w 573161"/>
                    <a:gd name="connsiteY5" fmla="*/ 61435 h 583371"/>
                    <a:gd name="connsiteX6" fmla="*/ 498806 w 573161"/>
                    <a:gd name="connsiteY6" fmla="*/ 82866 h 583371"/>
                    <a:gd name="connsiteX7" fmla="*/ 529763 w 573161"/>
                    <a:gd name="connsiteY7" fmla="*/ 125728 h 583371"/>
                    <a:gd name="connsiteX8" fmla="*/ 555956 w 573161"/>
                    <a:gd name="connsiteY8" fmla="*/ 168591 h 583371"/>
                    <a:gd name="connsiteX9" fmla="*/ 567863 w 573161"/>
                    <a:gd name="connsiteY9" fmla="*/ 220978 h 583371"/>
                    <a:gd name="connsiteX10" fmla="*/ 572625 w 573161"/>
                    <a:gd name="connsiteY10" fmla="*/ 349566 h 583371"/>
                    <a:gd name="connsiteX11" fmla="*/ 565481 w 573161"/>
                    <a:gd name="connsiteY11" fmla="*/ 411478 h 583371"/>
                    <a:gd name="connsiteX12" fmla="*/ 560719 w 573161"/>
                    <a:gd name="connsiteY12" fmla="*/ 428147 h 583371"/>
                    <a:gd name="connsiteX13" fmla="*/ 532144 w 573161"/>
                    <a:gd name="connsiteY13" fmla="*/ 451960 h 583371"/>
                    <a:gd name="connsiteX14" fmla="*/ 515475 w 573161"/>
                    <a:gd name="connsiteY14" fmla="*/ 475772 h 583371"/>
                    <a:gd name="connsiteX15" fmla="*/ 508331 w 573161"/>
                    <a:gd name="connsiteY15" fmla="*/ 482916 h 583371"/>
                    <a:gd name="connsiteX16" fmla="*/ 501188 w 573161"/>
                    <a:gd name="connsiteY16" fmla="*/ 492441 h 583371"/>
                    <a:gd name="connsiteX17" fmla="*/ 494044 w 573161"/>
                    <a:gd name="connsiteY17" fmla="*/ 499585 h 583371"/>
                    <a:gd name="connsiteX18" fmla="*/ 467850 w 573161"/>
                    <a:gd name="connsiteY18" fmla="*/ 528160 h 583371"/>
                    <a:gd name="connsiteX19" fmla="*/ 451181 w 573161"/>
                    <a:gd name="connsiteY19" fmla="*/ 537685 h 583371"/>
                    <a:gd name="connsiteX20" fmla="*/ 439275 w 573161"/>
                    <a:gd name="connsiteY20" fmla="*/ 542447 h 583371"/>
                    <a:gd name="connsiteX21" fmla="*/ 282113 w 573161"/>
                    <a:gd name="connsiteY21" fmla="*/ 580547 h 583371"/>
                    <a:gd name="connsiteX22" fmla="*/ 232106 w 573161"/>
                    <a:gd name="connsiteY22" fmla="*/ 578166 h 583371"/>
                    <a:gd name="connsiteX23" fmla="*/ 182100 w 573161"/>
                    <a:gd name="connsiteY23" fmla="*/ 559116 h 583371"/>
                    <a:gd name="connsiteX24" fmla="*/ 96375 w 573161"/>
                    <a:gd name="connsiteY24" fmla="*/ 504347 h 583371"/>
                    <a:gd name="connsiteX25" fmla="*/ 58275 w 573161"/>
                    <a:gd name="connsiteY25" fmla="*/ 461485 h 583371"/>
                    <a:gd name="connsiteX26" fmla="*/ 36844 w 573161"/>
                    <a:gd name="connsiteY26" fmla="*/ 425766 h 583371"/>
                    <a:gd name="connsiteX27" fmla="*/ 3506 w 573161"/>
                    <a:gd name="connsiteY27" fmla="*/ 354328 h 583371"/>
                    <a:gd name="connsiteX28" fmla="*/ 3506 w 573161"/>
                    <a:gd name="connsiteY28" fmla="*/ 220978 h 583371"/>
                    <a:gd name="connsiteX29" fmla="*/ 43988 w 573161"/>
                    <a:gd name="connsiteY29" fmla="*/ 118585 h 583371"/>
                    <a:gd name="connsiteX30" fmla="*/ 67800 w 573161"/>
                    <a:gd name="connsiteY30" fmla="*/ 92391 h 583371"/>
                    <a:gd name="connsiteX31" fmla="*/ 101138 w 573161"/>
                    <a:gd name="connsiteY31" fmla="*/ 63816 h 583371"/>
                    <a:gd name="connsiteX32" fmla="*/ 141619 w 573161"/>
                    <a:gd name="connsiteY32" fmla="*/ 40003 h 583371"/>
                    <a:gd name="connsiteX33" fmla="*/ 263063 w 573161"/>
                    <a:gd name="connsiteY33" fmla="*/ 4285 h 583371"/>
                    <a:gd name="connsiteX34" fmla="*/ 274969 w 573161"/>
                    <a:gd name="connsiteY34" fmla="*/ 1903 h 583371"/>
                    <a:gd name="connsiteX0" fmla="*/ 274969 w 573161"/>
                    <a:gd name="connsiteY0" fmla="*/ 1903 h 583723"/>
                    <a:gd name="connsiteX1" fmla="*/ 370219 w 573161"/>
                    <a:gd name="connsiteY1" fmla="*/ 1903 h 583723"/>
                    <a:gd name="connsiteX2" fmla="*/ 379744 w 573161"/>
                    <a:gd name="connsiteY2" fmla="*/ 4285 h 583723"/>
                    <a:gd name="connsiteX3" fmla="*/ 408319 w 573161"/>
                    <a:gd name="connsiteY3" fmla="*/ 13810 h 583723"/>
                    <a:gd name="connsiteX4" fmla="*/ 472613 w 573161"/>
                    <a:gd name="connsiteY4" fmla="*/ 51910 h 583723"/>
                    <a:gd name="connsiteX5" fmla="*/ 479756 w 573161"/>
                    <a:gd name="connsiteY5" fmla="*/ 61435 h 583723"/>
                    <a:gd name="connsiteX6" fmla="*/ 498806 w 573161"/>
                    <a:gd name="connsiteY6" fmla="*/ 82866 h 583723"/>
                    <a:gd name="connsiteX7" fmla="*/ 529763 w 573161"/>
                    <a:gd name="connsiteY7" fmla="*/ 125728 h 583723"/>
                    <a:gd name="connsiteX8" fmla="*/ 555956 w 573161"/>
                    <a:gd name="connsiteY8" fmla="*/ 168591 h 583723"/>
                    <a:gd name="connsiteX9" fmla="*/ 567863 w 573161"/>
                    <a:gd name="connsiteY9" fmla="*/ 220978 h 583723"/>
                    <a:gd name="connsiteX10" fmla="*/ 572625 w 573161"/>
                    <a:gd name="connsiteY10" fmla="*/ 349566 h 583723"/>
                    <a:gd name="connsiteX11" fmla="*/ 565481 w 573161"/>
                    <a:gd name="connsiteY11" fmla="*/ 411478 h 583723"/>
                    <a:gd name="connsiteX12" fmla="*/ 560719 w 573161"/>
                    <a:gd name="connsiteY12" fmla="*/ 428147 h 583723"/>
                    <a:gd name="connsiteX13" fmla="*/ 532144 w 573161"/>
                    <a:gd name="connsiteY13" fmla="*/ 451960 h 583723"/>
                    <a:gd name="connsiteX14" fmla="*/ 515475 w 573161"/>
                    <a:gd name="connsiteY14" fmla="*/ 475772 h 583723"/>
                    <a:gd name="connsiteX15" fmla="*/ 508331 w 573161"/>
                    <a:gd name="connsiteY15" fmla="*/ 482916 h 583723"/>
                    <a:gd name="connsiteX16" fmla="*/ 501188 w 573161"/>
                    <a:gd name="connsiteY16" fmla="*/ 492441 h 583723"/>
                    <a:gd name="connsiteX17" fmla="*/ 494044 w 573161"/>
                    <a:gd name="connsiteY17" fmla="*/ 499585 h 583723"/>
                    <a:gd name="connsiteX18" fmla="*/ 467850 w 573161"/>
                    <a:gd name="connsiteY18" fmla="*/ 528160 h 583723"/>
                    <a:gd name="connsiteX19" fmla="*/ 451181 w 573161"/>
                    <a:gd name="connsiteY19" fmla="*/ 537685 h 583723"/>
                    <a:gd name="connsiteX20" fmla="*/ 282113 w 573161"/>
                    <a:gd name="connsiteY20" fmla="*/ 580547 h 583723"/>
                    <a:gd name="connsiteX21" fmla="*/ 232106 w 573161"/>
                    <a:gd name="connsiteY21" fmla="*/ 578166 h 583723"/>
                    <a:gd name="connsiteX22" fmla="*/ 182100 w 573161"/>
                    <a:gd name="connsiteY22" fmla="*/ 559116 h 583723"/>
                    <a:gd name="connsiteX23" fmla="*/ 96375 w 573161"/>
                    <a:gd name="connsiteY23" fmla="*/ 504347 h 583723"/>
                    <a:gd name="connsiteX24" fmla="*/ 58275 w 573161"/>
                    <a:gd name="connsiteY24" fmla="*/ 461485 h 583723"/>
                    <a:gd name="connsiteX25" fmla="*/ 36844 w 573161"/>
                    <a:gd name="connsiteY25" fmla="*/ 425766 h 583723"/>
                    <a:gd name="connsiteX26" fmla="*/ 3506 w 573161"/>
                    <a:gd name="connsiteY26" fmla="*/ 354328 h 583723"/>
                    <a:gd name="connsiteX27" fmla="*/ 3506 w 573161"/>
                    <a:gd name="connsiteY27" fmla="*/ 220978 h 583723"/>
                    <a:gd name="connsiteX28" fmla="*/ 43988 w 573161"/>
                    <a:gd name="connsiteY28" fmla="*/ 118585 h 583723"/>
                    <a:gd name="connsiteX29" fmla="*/ 67800 w 573161"/>
                    <a:gd name="connsiteY29" fmla="*/ 92391 h 583723"/>
                    <a:gd name="connsiteX30" fmla="*/ 101138 w 573161"/>
                    <a:gd name="connsiteY30" fmla="*/ 63816 h 583723"/>
                    <a:gd name="connsiteX31" fmla="*/ 141619 w 573161"/>
                    <a:gd name="connsiteY31" fmla="*/ 40003 h 583723"/>
                    <a:gd name="connsiteX32" fmla="*/ 263063 w 573161"/>
                    <a:gd name="connsiteY32" fmla="*/ 4285 h 583723"/>
                    <a:gd name="connsiteX33" fmla="*/ 274969 w 573161"/>
                    <a:gd name="connsiteY33" fmla="*/ 1903 h 583723"/>
                    <a:gd name="connsiteX0" fmla="*/ 274969 w 573161"/>
                    <a:gd name="connsiteY0" fmla="*/ 1903 h 584428"/>
                    <a:gd name="connsiteX1" fmla="*/ 370219 w 573161"/>
                    <a:gd name="connsiteY1" fmla="*/ 1903 h 584428"/>
                    <a:gd name="connsiteX2" fmla="*/ 379744 w 573161"/>
                    <a:gd name="connsiteY2" fmla="*/ 4285 h 584428"/>
                    <a:gd name="connsiteX3" fmla="*/ 408319 w 573161"/>
                    <a:gd name="connsiteY3" fmla="*/ 13810 h 584428"/>
                    <a:gd name="connsiteX4" fmla="*/ 472613 w 573161"/>
                    <a:gd name="connsiteY4" fmla="*/ 51910 h 584428"/>
                    <a:gd name="connsiteX5" fmla="*/ 479756 w 573161"/>
                    <a:gd name="connsiteY5" fmla="*/ 61435 h 584428"/>
                    <a:gd name="connsiteX6" fmla="*/ 498806 w 573161"/>
                    <a:gd name="connsiteY6" fmla="*/ 82866 h 584428"/>
                    <a:gd name="connsiteX7" fmla="*/ 529763 w 573161"/>
                    <a:gd name="connsiteY7" fmla="*/ 125728 h 584428"/>
                    <a:gd name="connsiteX8" fmla="*/ 555956 w 573161"/>
                    <a:gd name="connsiteY8" fmla="*/ 168591 h 584428"/>
                    <a:gd name="connsiteX9" fmla="*/ 567863 w 573161"/>
                    <a:gd name="connsiteY9" fmla="*/ 220978 h 584428"/>
                    <a:gd name="connsiteX10" fmla="*/ 572625 w 573161"/>
                    <a:gd name="connsiteY10" fmla="*/ 349566 h 584428"/>
                    <a:gd name="connsiteX11" fmla="*/ 565481 w 573161"/>
                    <a:gd name="connsiteY11" fmla="*/ 411478 h 584428"/>
                    <a:gd name="connsiteX12" fmla="*/ 560719 w 573161"/>
                    <a:gd name="connsiteY12" fmla="*/ 428147 h 584428"/>
                    <a:gd name="connsiteX13" fmla="*/ 532144 w 573161"/>
                    <a:gd name="connsiteY13" fmla="*/ 451960 h 584428"/>
                    <a:gd name="connsiteX14" fmla="*/ 515475 w 573161"/>
                    <a:gd name="connsiteY14" fmla="*/ 475772 h 584428"/>
                    <a:gd name="connsiteX15" fmla="*/ 508331 w 573161"/>
                    <a:gd name="connsiteY15" fmla="*/ 482916 h 584428"/>
                    <a:gd name="connsiteX16" fmla="*/ 501188 w 573161"/>
                    <a:gd name="connsiteY16" fmla="*/ 492441 h 584428"/>
                    <a:gd name="connsiteX17" fmla="*/ 494044 w 573161"/>
                    <a:gd name="connsiteY17" fmla="*/ 499585 h 584428"/>
                    <a:gd name="connsiteX18" fmla="*/ 467850 w 573161"/>
                    <a:gd name="connsiteY18" fmla="*/ 528160 h 584428"/>
                    <a:gd name="connsiteX19" fmla="*/ 282113 w 573161"/>
                    <a:gd name="connsiteY19" fmla="*/ 580547 h 584428"/>
                    <a:gd name="connsiteX20" fmla="*/ 232106 w 573161"/>
                    <a:gd name="connsiteY20" fmla="*/ 578166 h 584428"/>
                    <a:gd name="connsiteX21" fmla="*/ 182100 w 573161"/>
                    <a:gd name="connsiteY21" fmla="*/ 559116 h 584428"/>
                    <a:gd name="connsiteX22" fmla="*/ 96375 w 573161"/>
                    <a:gd name="connsiteY22" fmla="*/ 504347 h 584428"/>
                    <a:gd name="connsiteX23" fmla="*/ 58275 w 573161"/>
                    <a:gd name="connsiteY23" fmla="*/ 461485 h 584428"/>
                    <a:gd name="connsiteX24" fmla="*/ 36844 w 573161"/>
                    <a:gd name="connsiteY24" fmla="*/ 425766 h 584428"/>
                    <a:gd name="connsiteX25" fmla="*/ 3506 w 573161"/>
                    <a:gd name="connsiteY25" fmla="*/ 354328 h 584428"/>
                    <a:gd name="connsiteX26" fmla="*/ 3506 w 573161"/>
                    <a:gd name="connsiteY26" fmla="*/ 220978 h 584428"/>
                    <a:gd name="connsiteX27" fmla="*/ 43988 w 573161"/>
                    <a:gd name="connsiteY27" fmla="*/ 118585 h 584428"/>
                    <a:gd name="connsiteX28" fmla="*/ 67800 w 573161"/>
                    <a:gd name="connsiteY28" fmla="*/ 92391 h 584428"/>
                    <a:gd name="connsiteX29" fmla="*/ 101138 w 573161"/>
                    <a:gd name="connsiteY29" fmla="*/ 63816 h 584428"/>
                    <a:gd name="connsiteX30" fmla="*/ 141619 w 573161"/>
                    <a:gd name="connsiteY30" fmla="*/ 40003 h 584428"/>
                    <a:gd name="connsiteX31" fmla="*/ 263063 w 573161"/>
                    <a:gd name="connsiteY31" fmla="*/ 4285 h 584428"/>
                    <a:gd name="connsiteX32" fmla="*/ 274969 w 573161"/>
                    <a:gd name="connsiteY32" fmla="*/ 1903 h 584428"/>
                    <a:gd name="connsiteX0" fmla="*/ 274969 w 573161"/>
                    <a:gd name="connsiteY0" fmla="*/ 1903 h 584428"/>
                    <a:gd name="connsiteX1" fmla="*/ 370219 w 573161"/>
                    <a:gd name="connsiteY1" fmla="*/ 1903 h 584428"/>
                    <a:gd name="connsiteX2" fmla="*/ 379744 w 573161"/>
                    <a:gd name="connsiteY2" fmla="*/ 4285 h 584428"/>
                    <a:gd name="connsiteX3" fmla="*/ 408319 w 573161"/>
                    <a:gd name="connsiteY3" fmla="*/ 13810 h 584428"/>
                    <a:gd name="connsiteX4" fmla="*/ 472613 w 573161"/>
                    <a:gd name="connsiteY4" fmla="*/ 51910 h 584428"/>
                    <a:gd name="connsiteX5" fmla="*/ 479756 w 573161"/>
                    <a:gd name="connsiteY5" fmla="*/ 61435 h 584428"/>
                    <a:gd name="connsiteX6" fmla="*/ 498806 w 573161"/>
                    <a:gd name="connsiteY6" fmla="*/ 82866 h 584428"/>
                    <a:gd name="connsiteX7" fmla="*/ 529763 w 573161"/>
                    <a:gd name="connsiteY7" fmla="*/ 125728 h 584428"/>
                    <a:gd name="connsiteX8" fmla="*/ 555956 w 573161"/>
                    <a:gd name="connsiteY8" fmla="*/ 168591 h 584428"/>
                    <a:gd name="connsiteX9" fmla="*/ 567863 w 573161"/>
                    <a:gd name="connsiteY9" fmla="*/ 220978 h 584428"/>
                    <a:gd name="connsiteX10" fmla="*/ 572625 w 573161"/>
                    <a:gd name="connsiteY10" fmla="*/ 349566 h 584428"/>
                    <a:gd name="connsiteX11" fmla="*/ 565481 w 573161"/>
                    <a:gd name="connsiteY11" fmla="*/ 411478 h 584428"/>
                    <a:gd name="connsiteX12" fmla="*/ 560719 w 573161"/>
                    <a:gd name="connsiteY12" fmla="*/ 428147 h 584428"/>
                    <a:gd name="connsiteX13" fmla="*/ 532144 w 573161"/>
                    <a:gd name="connsiteY13" fmla="*/ 451960 h 584428"/>
                    <a:gd name="connsiteX14" fmla="*/ 515475 w 573161"/>
                    <a:gd name="connsiteY14" fmla="*/ 475772 h 584428"/>
                    <a:gd name="connsiteX15" fmla="*/ 501188 w 573161"/>
                    <a:gd name="connsiteY15" fmla="*/ 492441 h 584428"/>
                    <a:gd name="connsiteX16" fmla="*/ 494044 w 573161"/>
                    <a:gd name="connsiteY16" fmla="*/ 499585 h 584428"/>
                    <a:gd name="connsiteX17" fmla="*/ 467850 w 573161"/>
                    <a:gd name="connsiteY17" fmla="*/ 528160 h 584428"/>
                    <a:gd name="connsiteX18" fmla="*/ 282113 w 573161"/>
                    <a:gd name="connsiteY18" fmla="*/ 580547 h 584428"/>
                    <a:gd name="connsiteX19" fmla="*/ 232106 w 573161"/>
                    <a:gd name="connsiteY19" fmla="*/ 578166 h 584428"/>
                    <a:gd name="connsiteX20" fmla="*/ 182100 w 573161"/>
                    <a:gd name="connsiteY20" fmla="*/ 559116 h 584428"/>
                    <a:gd name="connsiteX21" fmla="*/ 96375 w 573161"/>
                    <a:gd name="connsiteY21" fmla="*/ 504347 h 584428"/>
                    <a:gd name="connsiteX22" fmla="*/ 58275 w 573161"/>
                    <a:gd name="connsiteY22" fmla="*/ 461485 h 584428"/>
                    <a:gd name="connsiteX23" fmla="*/ 36844 w 573161"/>
                    <a:gd name="connsiteY23" fmla="*/ 425766 h 584428"/>
                    <a:gd name="connsiteX24" fmla="*/ 3506 w 573161"/>
                    <a:gd name="connsiteY24" fmla="*/ 354328 h 584428"/>
                    <a:gd name="connsiteX25" fmla="*/ 3506 w 573161"/>
                    <a:gd name="connsiteY25" fmla="*/ 220978 h 584428"/>
                    <a:gd name="connsiteX26" fmla="*/ 43988 w 573161"/>
                    <a:gd name="connsiteY26" fmla="*/ 118585 h 584428"/>
                    <a:gd name="connsiteX27" fmla="*/ 67800 w 573161"/>
                    <a:gd name="connsiteY27" fmla="*/ 92391 h 584428"/>
                    <a:gd name="connsiteX28" fmla="*/ 101138 w 573161"/>
                    <a:gd name="connsiteY28" fmla="*/ 63816 h 584428"/>
                    <a:gd name="connsiteX29" fmla="*/ 141619 w 573161"/>
                    <a:gd name="connsiteY29" fmla="*/ 40003 h 584428"/>
                    <a:gd name="connsiteX30" fmla="*/ 263063 w 573161"/>
                    <a:gd name="connsiteY30" fmla="*/ 4285 h 584428"/>
                    <a:gd name="connsiteX31" fmla="*/ 274969 w 573161"/>
                    <a:gd name="connsiteY31" fmla="*/ 1903 h 584428"/>
                    <a:gd name="connsiteX0" fmla="*/ 274969 w 573161"/>
                    <a:gd name="connsiteY0" fmla="*/ 1903 h 584428"/>
                    <a:gd name="connsiteX1" fmla="*/ 370219 w 573161"/>
                    <a:gd name="connsiteY1" fmla="*/ 1903 h 584428"/>
                    <a:gd name="connsiteX2" fmla="*/ 379744 w 573161"/>
                    <a:gd name="connsiteY2" fmla="*/ 4285 h 584428"/>
                    <a:gd name="connsiteX3" fmla="*/ 408319 w 573161"/>
                    <a:gd name="connsiteY3" fmla="*/ 13810 h 584428"/>
                    <a:gd name="connsiteX4" fmla="*/ 472613 w 573161"/>
                    <a:gd name="connsiteY4" fmla="*/ 51910 h 584428"/>
                    <a:gd name="connsiteX5" fmla="*/ 479756 w 573161"/>
                    <a:gd name="connsiteY5" fmla="*/ 61435 h 584428"/>
                    <a:gd name="connsiteX6" fmla="*/ 498806 w 573161"/>
                    <a:gd name="connsiteY6" fmla="*/ 82866 h 584428"/>
                    <a:gd name="connsiteX7" fmla="*/ 529763 w 573161"/>
                    <a:gd name="connsiteY7" fmla="*/ 125728 h 584428"/>
                    <a:gd name="connsiteX8" fmla="*/ 555956 w 573161"/>
                    <a:gd name="connsiteY8" fmla="*/ 168591 h 584428"/>
                    <a:gd name="connsiteX9" fmla="*/ 567863 w 573161"/>
                    <a:gd name="connsiteY9" fmla="*/ 220978 h 584428"/>
                    <a:gd name="connsiteX10" fmla="*/ 572625 w 573161"/>
                    <a:gd name="connsiteY10" fmla="*/ 349566 h 584428"/>
                    <a:gd name="connsiteX11" fmla="*/ 565481 w 573161"/>
                    <a:gd name="connsiteY11" fmla="*/ 411478 h 584428"/>
                    <a:gd name="connsiteX12" fmla="*/ 560719 w 573161"/>
                    <a:gd name="connsiteY12" fmla="*/ 428147 h 584428"/>
                    <a:gd name="connsiteX13" fmla="*/ 532144 w 573161"/>
                    <a:gd name="connsiteY13" fmla="*/ 451960 h 584428"/>
                    <a:gd name="connsiteX14" fmla="*/ 515475 w 573161"/>
                    <a:gd name="connsiteY14" fmla="*/ 475772 h 584428"/>
                    <a:gd name="connsiteX15" fmla="*/ 501188 w 573161"/>
                    <a:gd name="connsiteY15" fmla="*/ 492441 h 584428"/>
                    <a:gd name="connsiteX16" fmla="*/ 467850 w 573161"/>
                    <a:gd name="connsiteY16" fmla="*/ 528160 h 584428"/>
                    <a:gd name="connsiteX17" fmla="*/ 282113 w 573161"/>
                    <a:gd name="connsiteY17" fmla="*/ 580547 h 584428"/>
                    <a:gd name="connsiteX18" fmla="*/ 232106 w 573161"/>
                    <a:gd name="connsiteY18" fmla="*/ 578166 h 584428"/>
                    <a:gd name="connsiteX19" fmla="*/ 182100 w 573161"/>
                    <a:gd name="connsiteY19" fmla="*/ 559116 h 584428"/>
                    <a:gd name="connsiteX20" fmla="*/ 96375 w 573161"/>
                    <a:gd name="connsiteY20" fmla="*/ 504347 h 584428"/>
                    <a:gd name="connsiteX21" fmla="*/ 58275 w 573161"/>
                    <a:gd name="connsiteY21" fmla="*/ 461485 h 584428"/>
                    <a:gd name="connsiteX22" fmla="*/ 36844 w 573161"/>
                    <a:gd name="connsiteY22" fmla="*/ 425766 h 584428"/>
                    <a:gd name="connsiteX23" fmla="*/ 3506 w 573161"/>
                    <a:gd name="connsiteY23" fmla="*/ 354328 h 584428"/>
                    <a:gd name="connsiteX24" fmla="*/ 3506 w 573161"/>
                    <a:gd name="connsiteY24" fmla="*/ 220978 h 584428"/>
                    <a:gd name="connsiteX25" fmla="*/ 43988 w 573161"/>
                    <a:gd name="connsiteY25" fmla="*/ 118585 h 584428"/>
                    <a:gd name="connsiteX26" fmla="*/ 67800 w 573161"/>
                    <a:gd name="connsiteY26" fmla="*/ 92391 h 584428"/>
                    <a:gd name="connsiteX27" fmla="*/ 101138 w 573161"/>
                    <a:gd name="connsiteY27" fmla="*/ 63816 h 584428"/>
                    <a:gd name="connsiteX28" fmla="*/ 141619 w 573161"/>
                    <a:gd name="connsiteY28" fmla="*/ 40003 h 584428"/>
                    <a:gd name="connsiteX29" fmla="*/ 263063 w 573161"/>
                    <a:gd name="connsiteY29" fmla="*/ 4285 h 584428"/>
                    <a:gd name="connsiteX30" fmla="*/ 274969 w 573161"/>
                    <a:gd name="connsiteY30" fmla="*/ 1903 h 584428"/>
                    <a:gd name="connsiteX0" fmla="*/ 274969 w 573161"/>
                    <a:gd name="connsiteY0" fmla="*/ 1903 h 584428"/>
                    <a:gd name="connsiteX1" fmla="*/ 370219 w 573161"/>
                    <a:gd name="connsiteY1" fmla="*/ 1903 h 584428"/>
                    <a:gd name="connsiteX2" fmla="*/ 379744 w 573161"/>
                    <a:gd name="connsiteY2" fmla="*/ 4285 h 584428"/>
                    <a:gd name="connsiteX3" fmla="*/ 408319 w 573161"/>
                    <a:gd name="connsiteY3" fmla="*/ 13810 h 584428"/>
                    <a:gd name="connsiteX4" fmla="*/ 472613 w 573161"/>
                    <a:gd name="connsiteY4" fmla="*/ 51910 h 584428"/>
                    <a:gd name="connsiteX5" fmla="*/ 479756 w 573161"/>
                    <a:gd name="connsiteY5" fmla="*/ 61435 h 584428"/>
                    <a:gd name="connsiteX6" fmla="*/ 498806 w 573161"/>
                    <a:gd name="connsiteY6" fmla="*/ 82866 h 584428"/>
                    <a:gd name="connsiteX7" fmla="*/ 529763 w 573161"/>
                    <a:gd name="connsiteY7" fmla="*/ 125728 h 584428"/>
                    <a:gd name="connsiteX8" fmla="*/ 555956 w 573161"/>
                    <a:gd name="connsiteY8" fmla="*/ 168591 h 584428"/>
                    <a:gd name="connsiteX9" fmla="*/ 567863 w 573161"/>
                    <a:gd name="connsiteY9" fmla="*/ 220978 h 584428"/>
                    <a:gd name="connsiteX10" fmla="*/ 572625 w 573161"/>
                    <a:gd name="connsiteY10" fmla="*/ 349566 h 584428"/>
                    <a:gd name="connsiteX11" fmla="*/ 565481 w 573161"/>
                    <a:gd name="connsiteY11" fmla="*/ 411478 h 584428"/>
                    <a:gd name="connsiteX12" fmla="*/ 560719 w 573161"/>
                    <a:gd name="connsiteY12" fmla="*/ 428147 h 584428"/>
                    <a:gd name="connsiteX13" fmla="*/ 532144 w 573161"/>
                    <a:gd name="connsiteY13" fmla="*/ 451960 h 584428"/>
                    <a:gd name="connsiteX14" fmla="*/ 515475 w 573161"/>
                    <a:gd name="connsiteY14" fmla="*/ 475772 h 584428"/>
                    <a:gd name="connsiteX15" fmla="*/ 467850 w 573161"/>
                    <a:gd name="connsiteY15" fmla="*/ 528160 h 584428"/>
                    <a:gd name="connsiteX16" fmla="*/ 282113 w 573161"/>
                    <a:gd name="connsiteY16" fmla="*/ 580547 h 584428"/>
                    <a:gd name="connsiteX17" fmla="*/ 232106 w 573161"/>
                    <a:gd name="connsiteY17" fmla="*/ 578166 h 584428"/>
                    <a:gd name="connsiteX18" fmla="*/ 182100 w 573161"/>
                    <a:gd name="connsiteY18" fmla="*/ 559116 h 584428"/>
                    <a:gd name="connsiteX19" fmla="*/ 96375 w 573161"/>
                    <a:gd name="connsiteY19" fmla="*/ 504347 h 584428"/>
                    <a:gd name="connsiteX20" fmla="*/ 58275 w 573161"/>
                    <a:gd name="connsiteY20" fmla="*/ 461485 h 584428"/>
                    <a:gd name="connsiteX21" fmla="*/ 36844 w 573161"/>
                    <a:gd name="connsiteY21" fmla="*/ 425766 h 584428"/>
                    <a:gd name="connsiteX22" fmla="*/ 3506 w 573161"/>
                    <a:gd name="connsiteY22" fmla="*/ 354328 h 584428"/>
                    <a:gd name="connsiteX23" fmla="*/ 3506 w 573161"/>
                    <a:gd name="connsiteY23" fmla="*/ 220978 h 584428"/>
                    <a:gd name="connsiteX24" fmla="*/ 43988 w 573161"/>
                    <a:gd name="connsiteY24" fmla="*/ 118585 h 584428"/>
                    <a:gd name="connsiteX25" fmla="*/ 67800 w 573161"/>
                    <a:gd name="connsiteY25" fmla="*/ 92391 h 584428"/>
                    <a:gd name="connsiteX26" fmla="*/ 101138 w 573161"/>
                    <a:gd name="connsiteY26" fmla="*/ 63816 h 584428"/>
                    <a:gd name="connsiteX27" fmla="*/ 141619 w 573161"/>
                    <a:gd name="connsiteY27" fmla="*/ 40003 h 584428"/>
                    <a:gd name="connsiteX28" fmla="*/ 263063 w 573161"/>
                    <a:gd name="connsiteY28" fmla="*/ 4285 h 584428"/>
                    <a:gd name="connsiteX29" fmla="*/ 274969 w 573161"/>
                    <a:gd name="connsiteY29" fmla="*/ 1903 h 584428"/>
                    <a:gd name="connsiteX0" fmla="*/ 274969 w 573161"/>
                    <a:gd name="connsiteY0" fmla="*/ 1903 h 584428"/>
                    <a:gd name="connsiteX1" fmla="*/ 370219 w 573161"/>
                    <a:gd name="connsiteY1" fmla="*/ 1903 h 584428"/>
                    <a:gd name="connsiteX2" fmla="*/ 379744 w 573161"/>
                    <a:gd name="connsiteY2" fmla="*/ 4285 h 584428"/>
                    <a:gd name="connsiteX3" fmla="*/ 408319 w 573161"/>
                    <a:gd name="connsiteY3" fmla="*/ 13810 h 584428"/>
                    <a:gd name="connsiteX4" fmla="*/ 472613 w 573161"/>
                    <a:gd name="connsiteY4" fmla="*/ 51910 h 584428"/>
                    <a:gd name="connsiteX5" fmla="*/ 479756 w 573161"/>
                    <a:gd name="connsiteY5" fmla="*/ 61435 h 584428"/>
                    <a:gd name="connsiteX6" fmla="*/ 498806 w 573161"/>
                    <a:gd name="connsiteY6" fmla="*/ 82866 h 584428"/>
                    <a:gd name="connsiteX7" fmla="*/ 529763 w 573161"/>
                    <a:gd name="connsiteY7" fmla="*/ 125728 h 584428"/>
                    <a:gd name="connsiteX8" fmla="*/ 555956 w 573161"/>
                    <a:gd name="connsiteY8" fmla="*/ 168591 h 584428"/>
                    <a:gd name="connsiteX9" fmla="*/ 567863 w 573161"/>
                    <a:gd name="connsiteY9" fmla="*/ 220978 h 584428"/>
                    <a:gd name="connsiteX10" fmla="*/ 572625 w 573161"/>
                    <a:gd name="connsiteY10" fmla="*/ 349566 h 584428"/>
                    <a:gd name="connsiteX11" fmla="*/ 565481 w 573161"/>
                    <a:gd name="connsiteY11" fmla="*/ 411478 h 584428"/>
                    <a:gd name="connsiteX12" fmla="*/ 560719 w 573161"/>
                    <a:gd name="connsiteY12" fmla="*/ 428147 h 584428"/>
                    <a:gd name="connsiteX13" fmla="*/ 515475 w 573161"/>
                    <a:gd name="connsiteY13" fmla="*/ 475772 h 584428"/>
                    <a:gd name="connsiteX14" fmla="*/ 467850 w 573161"/>
                    <a:gd name="connsiteY14" fmla="*/ 528160 h 584428"/>
                    <a:gd name="connsiteX15" fmla="*/ 282113 w 573161"/>
                    <a:gd name="connsiteY15" fmla="*/ 580547 h 584428"/>
                    <a:gd name="connsiteX16" fmla="*/ 232106 w 573161"/>
                    <a:gd name="connsiteY16" fmla="*/ 578166 h 584428"/>
                    <a:gd name="connsiteX17" fmla="*/ 182100 w 573161"/>
                    <a:gd name="connsiteY17" fmla="*/ 559116 h 584428"/>
                    <a:gd name="connsiteX18" fmla="*/ 96375 w 573161"/>
                    <a:gd name="connsiteY18" fmla="*/ 504347 h 584428"/>
                    <a:gd name="connsiteX19" fmla="*/ 58275 w 573161"/>
                    <a:gd name="connsiteY19" fmla="*/ 461485 h 584428"/>
                    <a:gd name="connsiteX20" fmla="*/ 36844 w 573161"/>
                    <a:gd name="connsiteY20" fmla="*/ 425766 h 584428"/>
                    <a:gd name="connsiteX21" fmla="*/ 3506 w 573161"/>
                    <a:gd name="connsiteY21" fmla="*/ 354328 h 584428"/>
                    <a:gd name="connsiteX22" fmla="*/ 3506 w 573161"/>
                    <a:gd name="connsiteY22" fmla="*/ 220978 h 584428"/>
                    <a:gd name="connsiteX23" fmla="*/ 43988 w 573161"/>
                    <a:gd name="connsiteY23" fmla="*/ 118585 h 584428"/>
                    <a:gd name="connsiteX24" fmla="*/ 67800 w 573161"/>
                    <a:gd name="connsiteY24" fmla="*/ 92391 h 584428"/>
                    <a:gd name="connsiteX25" fmla="*/ 101138 w 573161"/>
                    <a:gd name="connsiteY25" fmla="*/ 63816 h 584428"/>
                    <a:gd name="connsiteX26" fmla="*/ 141619 w 573161"/>
                    <a:gd name="connsiteY26" fmla="*/ 40003 h 584428"/>
                    <a:gd name="connsiteX27" fmla="*/ 263063 w 573161"/>
                    <a:gd name="connsiteY27" fmla="*/ 4285 h 584428"/>
                    <a:gd name="connsiteX28" fmla="*/ 274969 w 573161"/>
                    <a:gd name="connsiteY28" fmla="*/ 1903 h 584428"/>
                    <a:gd name="connsiteX0" fmla="*/ 274969 w 573161"/>
                    <a:gd name="connsiteY0" fmla="*/ 1903 h 584428"/>
                    <a:gd name="connsiteX1" fmla="*/ 370219 w 573161"/>
                    <a:gd name="connsiteY1" fmla="*/ 1903 h 584428"/>
                    <a:gd name="connsiteX2" fmla="*/ 379744 w 573161"/>
                    <a:gd name="connsiteY2" fmla="*/ 4285 h 584428"/>
                    <a:gd name="connsiteX3" fmla="*/ 408319 w 573161"/>
                    <a:gd name="connsiteY3" fmla="*/ 13810 h 584428"/>
                    <a:gd name="connsiteX4" fmla="*/ 472613 w 573161"/>
                    <a:gd name="connsiteY4" fmla="*/ 51910 h 584428"/>
                    <a:gd name="connsiteX5" fmla="*/ 479756 w 573161"/>
                    <a:gd name="connsiteY5" fmla="*/ 61435 h 584428"/>
                    <a:gd name="connsiteX6" fmla="*/ 498806 w 573161"/>
                    <a:gd name="connsiteY6" fmla="*/ 82866 h 584428"/>
                    <a:gd name="connsiteX7" fmla="*/ 529763 w 573161"/>
                    <a:gd name="connsiteY7" fmla="*/ 125728 h 584428"/>
                    <a:gd name="connsiteX8" fmla="*/ 555956 w 573161"/>
                    <a:gd name="connsiteY8" fmla="*/ 168591 h 584428"/>
                    <a:gd name="connsiteX9" fmla="*/ 567863 w 573161"/>
                    <a:gd name="connsiteY9" fmla="*/ 220978 h 584428"/>
                    <a:gd name="connsiteX10" fmla="*/ 572625 w 573161"/>
                    <a:gd name="connsiteY10" fmla="*/ 349566 h 584428"/>
                    <a:gd name="connsiteX11" fmla="*/ 565481 w 573161"/>
                    <a:gd name="connsiteY11" fmla="*/ 411478 h 584428"/>
                    <a:gd name="connsiteX12" fmla="*/ 515475 w 573161"/>
                    <a:gd name="connsiteY12" fmla="*/ 475772 h 584428"/>
                    <a:gd name="connsiteX13" fmla="*/ 467850 w 573161"/>
                    <a:gd name="connsiteY13" fmla="*/ 528160 h 584428"/>
                    <a:gd name="connsiteX14" fmla="*/ 282113 w 573161"/>
                    <a:gd name="connsiteY14" fmla="*/ 580547 h 584428"/>
                    <a:gd name="connsiteX15" fmla="*/ 232106 w 573161"/>
                    <a:gd name="connsiteY15" fmla="*/ 578166 h 584428"/>
                    <a:gd name="connsiteX16" fmla="*/ 182100 w 573161"/>
                    <a:gd name="connsiteY16" fmla="*/ 559116 h 584428"/>
                    <a:gd name="connsiteX17" fmla="*/ 96375 w 573161"/>
                    <a:gd name="connsiteY17" fmla="*/ 504347 h 584428"/>
                    <a:gd name="connsiteX18" fmla="*/ 58275 w 573161"/>
                    <a:gd name="connsiteY18" fmla="*/ 461485 h 584428"/>
                    <a:gd name="connsiteX19" fmla="*/ 36844 w 573161"/>
                    <a:gd name="connsiteY19" fmla="*/ 425766 h 584428"/>
                    <a:gd name="connsiteX20" fmla="*/ 3506 w 573161"/>
                    <a:gd name="connsiteY20" fmla="*/ 354328 h 584428"/>
                    <a:gd name="connsiteX21" fmla="*/ 3506 w 573161"/>
                    <a:gd name="connsiteY21" fmla="*/ 220978 h 584428"/>
                    <a:gd name="connsiteX22" fmla="*/ 43988 w 573161"/>
                    <a:gd name="connsiteY22" fmla="*/ 118585 h 584428"/>
                    <a:gd name="connsiteX23" fmla="*/ 67800 w 573161"/>
                    <a:gd name="connsiteY23" fmla="*/ 92391 h 584428"/>
                    <a:gd name="connsiteX24" fmla="*/ 101138 w 573161"/>
                    <a:gd name="connsiteY24" fmla="*/ 63816 h 584428"/>
                    <a:gd name="connsiteX25" fmla="*/ 141619 w 573161"/>
                    <a:gd name="connsiteY25" fmla="*/ 40003 h 584428"/>
                    <a:gd name="connsiteX26" fmla="*/ 263063 w 573161"/>
                    <a:gd name="connsiteY26" fmla="*/ 4285 h 584428"/>
                    <a:gd name="connsiteX27" fmla="*/ 274969 w 573161"/>
                    <a:gd name="connsiteY27" fmla="*/ 1903 h 584428"/>
                    <a:gd name="connsiteX0" fmla="*/ 274969 w 570589"/>
                    <a:gd name="connsiteY0" fmla="*/ 1903 h 584428"/>
                    <a:gd name="connsiteX1" fmla="*/ 370219 w 570589"/>
                    <a:gd name="connsiteY1" fmla="*/ 1903 h 584428"/>
                    <a:gd name="connsiteX2" fmla="*/ 379744 w 570589"/>
                    <a:gd name="connsiteY2" fmla="*/ 4285 h 584428"/>
                    <a:gd name="connsiteX3" fmla="*/ 408319 w 570589"/>
                    <a:gd name="connsiteY3" fmla="*/ 13810 h 584428"/>
                    <a:gd name="connsiteX4" fmla="*/ 472613 w 570589"/>
                    <a:gd name="connsiteY4" fmla="*/ 51910 h 584428"/>
                    <a:gd name="connsiteX5" fmla="*/ 479756 w 570589"/>
                    <a:gd name="connsiteY5" fmla="*/ 61435 h 584428"/>
                    <a:gd name="connsiteX6" fmla="*/ 498806 w 570589"/>
                    <a:gd name="connsiteY6" fmla="*/ 82866 h 584428"/>
                    <a:gd name="connsiteX7" fmla="*/ 529763 w 570589"/>
                    <a:gd name="connsiteY7" fmla="*/ 125728 h 584428"/>
                    <a:gd name="connsiteX8" fmla="*/ 555956 w 570589"/>
                    <a:gd name="connsiteY8" fmla="*/ 168591 h 584428"/>
                    <a:gd name="connsiteX9" fmla="*/ 567863 w 570589"/>
                    <a:gd name="connsiteY9" fmla="*/ 220978 h 584428"/>
                    <a:gd name="connsiteX10" fmla="*/ 565481 w 570589"/>
                    <a:gd name="connsiteY10" fmla="*/ 411478 h 584428"/>
                    <a:gd name="connsiteX11" fmla="*/ 515475 w 570589"/>
                    <a:gd name="connsiteY11" fmla="*/ 475772 h 584428"/>
                    <a:gd name="connsiteX12" fmla="*/ 467850 w 570589"/>
                    <a:gd name="connsiteY12" fmla="*/ 528160 h 584428"/>
                    <a:gd name="connsiteX13" fmla="*/ 282113 w 570589"/>
                    <a:gd name="connsiteY13" fmla="*/ 580547 h 584428"/>
                    <a:gd name="connsiteX14" fmla="*/ 232106 w 570589"/>
                    <a:gd name="connsiteY14" fmla="*/ 578166 h 584428"/>
                    <a:gd name="connsiteX15" fmla="*/ 182100 w 570589"/>
                    <a:gd name="connsiteY15" fmla="*/ 559116 h 584428"/>
                    <a:gd name="connsiteX16" fmla="*/ 96375 w 570589"/>
                    <a:gd name="connsiteY16" fmla="*/ 504347 h 584428"/>
                    <a:gd name="connsiteX17" fmla="*/ 58275 w 570589"/>
                    <a:gd name="connsiteY17" fmla="*/ 461485 h 584428"/>
                    <a:gd name="connsiteX18" fmla="*/ 36844 w 570589"/>
                    <a:gd name="connsiteY18" fmla="*/ 425766 h 584428"/>
                    <a:gd name="connsiteX19" fmla="*/ 3506 w 570589"/>
                    <a:gd name="connsiteY19" fmla="*/ 354328 h 584428"/>
                    <a:gd name="connsiteX20" fmla="*/ 3506 w 570589"/>
                    <a:gd name="connsiteY20" fmla="*/ 220978 h 584428"/>
                    <a:gd name="connsiteX21" fmla="*/ 43988 w 570589"/>
                    <a:gd name="connsiteY21" fmla="*/ 118585 h 584428"/>
                    <a:gd name="connsiteX22" fmla="*/ 67800 w 570589"/>
                    <a:gd name="connsiteY22" fmla="*/ 92391 h 584428"/>
                    <a:gd name="connsiteX23" fmla="*/ 101138 w 570589"/>
                    <a:gd name="connsiteY23" fmla="*/ 63816 h 584428"/>
                    <a:gd name="connsiteX24" fmla="*/ 141619 w 570589"/>
                    <a:gd name="connsiteY24" fmla="*/ 40003 h 584428"/>
                    <a:gd name="connsiteX25" fmla="*/ 263063 w 570589"/>
                    <a:gd name="connsiteY25" fmla="*/ 4285 h 584428"/>
                    <a:gd name="connsiteX26" fmla="*/ 274969 w 570589"/>
                    <a:gd name="connsiteY26" fmla="*/ 1903 h 584428"/>
                    <a:gd name="connsiteX0" fmla="*/ 274969 w 570589"/>
                    <a:gd name="connsiteY0" fmla="*/ 1903 h 584428"/>
                    <a:gd name="connsiteX1" fmla="*/ 370219 w 570589"/>
                    <a:gd name="connsiteY1" fmla="*/ 1903 h 584428"/>
                    <a:gd name="connsiteX2" fmla="*/ 379744 w 570589"/>
                    <a:gd name="connsiteY2" fmla="*/ 4285 h 584428"/>
                    <a:gd name="connsiteX3" fmla="*/ 408319 w 570589"/>
                    <a:gd name="connsiteY3" fmla="*/ 13810 h 584428"/>
                    <a:gd name="connsiteX4" fmla="*/ 472613 w 570589"/>
                    <a:gd name="connsiteY4" fmla="*/ 51910 h 584428"/>
                    <a:gd name="connsiteX5" fmla="*/ 479756 w 570589"/>
                    <a:gd name="connsiteY5" fmla="*/ 61435 h 584428"/>
                    <a:gd name="connsiteX6" fmla="*/ 529763 w 570589"/>
                    <a:gd name="connsiteY6" fmla="*/ 125728 h 584428"/>
                    <a:gd name="connsiteX7" fmla="*/ 555956 w 570589"/>
                    <a:gd name="connsiteY7" fmla="*/ 168591 h 584428"/>
                    <a:gd name="connsiteX8" fmla="*/ 567863 w 570589"/>
                    <a:gd name="connsiteY8" fmla="*/ 220978 h 584428"/>
                    <a:gd name="connsiteX9" fmla="*/ 565481 w 570589"/>
                    <a:gd name="connsiteY9" fmla="*/ 411478 h 584428"/>
                    <a:gd name="connsiteX10" fmla="*/ 515475 w 570589"/>
                    <a:gd name="connsiteY10" fmla="*/ 475772 h 584428"/>
                    <a:gd name="connsiteX11" fmla="*/ 467850 w 570589"/>
                    <a:gd name="connsiteY11" fmla="*/ 528160 h 584428"/>
                    <a:gd name="connsiteX12" fmla="*/ 282113 w 570589"/>
                    <a:gd name="connsiteY12" fmla="*/ 580547 h 584428"/>
                    <a:gd name="connsiteX13" fmla="*/ 232106 w 570589"/>
                    <a:gd name="connsiteY13" fmla="*/ 578166 h 584428"/>
                    <a:gd name="connsiteX14" fmla="*/ 182100 w 570589"/>
                    <a:gd name="connsiteY14" fmla="*/ 559116 h 584428"/>
                    <a:gd name="connsiteX15" fmla="*/ 96375 w 570589"/>
                    <a:gd name="connsiteY15" fmla="*/ 504347 h 584428"/>
                    <a:gd name="connsiteX16" fmla="*/ 58275 w 570589"/>
                    <a:gd name="connsiteY16" fmla="*/ 461485 h 584428"/>
                    <a:gd name="connsiteX17" fmla="*/ 36844 w 570589"/>
                    <a:gd name="connsiteY17" fmla="*/ 425766 h 584428"/>
                    <a:gd name="connsiteX18" fmla="*/ 3506 w 570589"/>
                    <a:gd name="connsiteY18" fmla="*/ 354328 h 584428"/>
                    <a:gd name="connsiteX19" fmla="*/ 3506 w 570589"/>
                    <a:gd name="connsiteY19" fmla="*/ 220978 h 584428"/>
                    <a:gd name="connsiteX20" fmla="*/ 43988 w 570589"/>
                    <a:gd name="connsiteY20" fmla="*/ 118585 h 584428"/>
                    <a:gd name="connsiteX21" fmla="*/ 67800 w 570589"/>
                    <a:gd name="connsiteY21" fmla="*/ 92391 h 584428"/>
                    <a:gd name="connsiteX22" fmla="*/ 101138 w 570589"/>
                    <a:gd name="connsiteY22" fmla="*/ 63816 h 584428"/>
                    <a:gd name="connsiteX23" fmla="*/ 141619 w 570589"/>
                    <a:gd name="connsiteY23" fmla="*/ 40003 h 584428"/>
                    <a:gd name="connsiteX24" fmla="*/ 263063 w 570589"/>
                    <a:gd name="connsiteY24" fmla="*/ 4285 h 584428"/>
                    <a:gd name="connsiteX25" fmla="*/ 274969 w 570589"/>
                    <a:gd name="connsiteY25" fmla="*/ 1903 h 584428"/>
                    <a:gd name="connsiteX0" fmla="*/ 274969 w 570589"/>
                    <a:gd name="connsiteY0" fmla="*/ 1903 h 584428"/>
                    <a:gd name="connsiteX1" fmla="*/ 370219 w 570589"/>
                    <a:gd name="connsiteY1" fmla="*/ 1903 h 584428"/>
                    <a:gd name="connsiteX2" fmla="*/ 379744 w 570589"/>
                    <a:gd name="connsiteY2" fmla="*/ 4285 h 584428"/>
                    <a:gd name="connsiteX3" fmla="*/ 408319 w 570589"/>
                    <a:gd name="connsiteY3" fmla="*/ 13810 h 584428"/>
                    <a:gd name="connsiteX4" fmla="*/ 472613 w 570589"/>
                    <a:gd name="connsiteY4" fmla="*/ 51910 h 584428"/>
                    <a:gd name="connsiteX5" fmla="*/ 529763 w 570589"/>
                    <a:gd name="connsiteY5" fmla="*/ 125728 h 584428"/>
                    <a:gd name="connsiteX6" fmla="*/ 555956 w 570589"/>
                    <a:gd name="connsiteY6" fmla="*/ 168591 h 584428"/>
                    <a:gd name="connsiteX7" fmla="*/ 567863 w 570589"/>
                    <a:gd name="connsiteY7" fmla="*/ 220978 h 584428"/>
                    <a:gd name="connsiteX8" fmla="*/ 565481 w 570589"/>
                    <a:gd name="connsiteY8" fmla="*/ 411478 h 584428"/>
                    <a:gd name="connsiteX9" fmla="*/ 515475 w 570589"/>
                    <a:gd name="connsiteY9" fmla="*/ 475772 h 584428"/>
                    <a:gd name="connsiteX10" fmla="*/ 467850 w 570589"/>
                    <a:gd name="connsiteY10" fmla="*/ 528160 h 584428"/>
                    <a:gd name="connsiteX11" fmla="*/ 282113 w 570589"/>
                    <a:gd name="connsiteY11" fmla="*/ 580547 h 584428"/>
                    <a:gd name="connsiteX12" fmla="*/ 232106 w 570589"/>
                    <a:gd name="connsiteY12" fmla="*/ 578166 h 584428"/>
                    <a:gd name="connsiteX13" fmla="*/ 182100 w 570589"/>
                    <a:gd name="connsiteY13" fmla="*/ 559116 h 584428"/>
                    <a:gd name="connsiteX14" fmla="*/ 96375 w 570589"/>
                    <a:gd name="connsiteY14" fmla="*/ 504347 h 584428"/>
                    <a:gd name="connsiteX15" fmla="*/ 58275 w 570589"/>
                    <a:gd name="connsiteY15" fmla="*/ 461485 h 584428"/>
                    <a:gd name="connsiteX16" fmla="*/ 36844 w 570589"/>
                    <a:gd name="connsiteY16" fmla="*/ 425766 h 584428"/>
                    <a:gd name="connsiteX17" fmla="*/ 3506 w 570589"/>
                    <a:gd name="connsiteY17" fmla="*/ 354328 h 584428"/>
                    <a:gd name="connsiteX18" fmla="*/ 3506 w 570589"/>
                    <a:gd name="connsiteY18" fmla="*/ 220978 h 584428"/>
                    <a:gd name="connsiteX19" fmla="*/ 43988 w 570589"/>
                    <a:gd name="connsiteY19" fmla="*/ 118585 h 584428"/>
                    <a:gd name="connsiteX20" fmla="*/ 67800 w 570589"/>
                    <a:gd name="connsiteY20" fmla="*/ 92391 h 584428"/>
                    <a:gd name="connsiteX21" fmla="*/ 101138 w 570589"/>
                    <a:gd name="connsiteY21" fmla="*/ 63816 h 584428"/>
                    <a:gd name="connsiteX22" fmla="*/ 141619 w 570589"/>
                    <a:gd name="connsiteY22" fmla="*/ 40003 h 584428"/>
                    <a:gd name="connsiteX23" fmla="*/ 263063 w 570589"/>
                    <a:gd name="connsiteY23" fmla="*/ 4285 h 584428"/>
                    <a:gd name="connsiteX24" fmla="*/ 274969 w 570589"/>
                    <a:gd name="connsiteY24" fmla="*/ 1903 h 584428"/>
                    <a:gd name="connsiteX0" fmla="*/ 274969 w 573984"/>
                    <a:gd name="connsiteY0" fmla="*/ 1903 h 584428"/>
                    <a:gd name="connsiteX1" fmla="*/ 370219 w 573984"/>
                    <a:gd name="connsiteY1" fmla="*/ 1903 h 584428"/>
                    <a:gd name="connsiteX2" fmla="*/ 379744 w 573984"/>
                    <a:gd name="connsiteY2" fmla="*/ 4285 h 584428"/>
                    <a:gd name="connsiteX3" fmla="*/ 408319 w 573984"/>
                    <a:gd name="connsiteY3" fmla="*/ 13810 h 584428"/>
                    <a:gd name="connsiteX4" fmla="*/ 472613 w 573984"/>
                    <a:gd name="connsiteY4" fmla="*/ 51910 h 584428"/>
                    <a:gd name="connsiteX5" fmla="*/ 529763 w 573984"/>
                    <a:gd name="connsiteY5" fmla="*/ 125728 h 584428"/>
                    <a:gd name="connsiteX6" fmla="*/ 555956 w 573984"/>
                    <a:gd name="connsiteY6" fmla="*/ 168591 h 584428"/>
                    <a:gd name="connsiteX7" fmla="*/ 567863 w 573984"/>
                    <a:gd name="connsiteY7" fmla="*/ 220978 h 584428"/>
                    <a:gd name="connsiteX8" fmla="*/ 565481 w 573984"/>
                    <a:gd name="connsiteY8" fmla="*/ 411478 h 584428"/>
                    <a:gd name="connsiteX9" fmla="*/ 467850 w 573984"/>
                    <a:gd name="connsiteY9" fmla="*/ 528160 h 584428"/>
                    <a:gd name="connsiteX10" fmla="*/ 282113 w 573984"/>
                    <a:gd name="connsiteY10" fmla="*/ 580547 h 584428"/>
                    <a:gd name="connsiteX11" fmla="*/ 232106 w 573984"/>
                    <a:gd name="connsiteY11" fmla="*/ 578166 h 584428"/>
                    <a:gd name="connsiteX12" fmla="*/ 182100 w 573984"/>
                    <a:gd name="connsiteY12" fmla="*/ 559116 h 584428"/>
                    <a:gd name="connsiteX13" fmla="*/ 96375 w 573984"/>
                    <a:gd name="connsiteY13" fmla="*/ 504347 h 584428"/>
                    <a:gd name="connsiteX14" fmla="*/ 58275 w 573984"/>
                    <a:gd name="connsiteY14" fmla="*/ 461485 h 584428"/>
                    <a:gd name="connsiteX15" fmla="*/ 36844 w 573984"/>
                    <a:gd name="connsiteY15" fmla="*/ 425766 h 584428"/>
                    <a:gd name="connsiteX16" fmla="*/ 3506 w 573984"/>
                    <a:gd name="connsiteY16" fmla="*/ 354328 h 584428"/>
                    <a:gd name="connsiteX17" fmla="*/ 3506 w 573984"/>
                    <a:gd name="connsiteY17" fmla="*/ 220978 h 584428"/>
                    <a:gd name="connsiteX18" fmla="*/ 43988 w 573984"/>
                    <a:gd name="connsiteY18" fmla="*/ 118585 h 584428"/>
                    <a:gd name="connsiteX19" fmla="*/ 67800 w 573984"/>
                    <a:gd name="connsiteY19" fmla="*/ 92391 h 584428"/>
                    <a:gd name="connsiteX20" fmla="*/ 101138 w 573984"/>
                    <a:gd name="connsiteY20" fmla="*/ 63816 h 584428"/>
                    <a:gd name="connsiteX21" fmla="*/ 141619 w 573984"/>
                    <a:gd name="connsiteY21" fmla="*/ 40003 h 584428"/>
                    <a:gd name="connsiteX22" fmla="*/ 263063 w 573984"/>
                    <a:gd name="connsiteY22" fmla="*/ 4285 h 584428"/>
                    <a:gd name="connsiteX23" fmla="*/ 274969 w 573984"/>
                    <a:gd name="connsiteY23" fmla="*/ 1903 h 584428"/>
                    <a:gd name="connsiteX0" fmla="*/ 274969 w 573984"/>
                    <a:gd name="connsiteY0" fmla="*/ 1903 h 584428"/>
                    <a:gd name="connsiteX1" fmla="*/ 370219 w 573984"/>
                    <a:gd name="connsiteY1" fmla="*/ 1903 h 584428"/>
                    <a:gd name="connsiteX2" fmla="*/ 379744 w 573984"/>
                    <a:gd name="connsiteY2" fmla="*/ 4285 h 584428"/>
                    <a:gd name="connsiteX3" fmla="*/ 408319 w 573984"/>
                    <a:gd name="connsiteY3" fmla="*/ 13810 h 584428"/>
                    <a:gd name="connsiteX4" fmla="*/ 472613 w 573984"/>
                    <a:gd name="connsiteY4" fmla="*/ 51910 h 584428"/>
                    <a:gd name="connsiteX5" fmla="*/ 529763 w 573984"/>
                    <a:gd name="connsiteY5" fmla="*/ 125728 h 584428"/>
                    <a:gd name="connsiteX6" fmla="*/ 555956 w 573984"/>
                    <a:gd name="connsiteY6" fmla="*/ 168591 h 584428"/>
                    <a:gd name="connsiteX7" fmla="*/ 567863 w 573984"/>
                    <a:gd name="connsiteY7" fmla="*/ 220978 h 584428"/>
                    <a:gd name="connsiteX8" fmla="*/ 565481 w 573984"/>
                    <a:gd name="connsiteY8" fmla="*/ 394809 h 584428"/>
                    <a:gd name="connsiteX9" fmla="*/ 467850 w 573984"/>
                    <a:gd name="connsiteY9" fmla="*/ 528160 h 584428"/>
                    <a:gd name="connsiteX10" fmla="*/ 282113 w 573984"/>
                    <a:gd name="connsiteY10" fmla="*/ 580547 h 584428"/>
                    <a:gd name="connsiteX11" fmla="*/ 232106 w 573984"/>
                    <a:gd name="connsiteY11" fmla="*/ 578166 h 584428"/>
                    <a:gd name="connsiteX12" fmla="*/ 182100 w 573984"/>
                    <a:gd name="connsiteY12" fmla="*/ 559116 h 584428"/>
                    <a:gd name="connsiteX13" fmla="*/ 96375 w 573984"/>
                    <a:gd name="connsiteY13" fmla="*/ 504347 h 584428"/>
                    <a:gd name="connsiteX14" fmla="*/ 58275 w 573984"/>
                    <a:gd name="connsiteY14" fmla="*/ 461485 h 584428"/>
                    <a:gd name="connsiteX15" fmla="*/ 36844 w 573984"/>
                    <a:gd name="connsiteY15" fmla="*/ 425766 h 584428"/>
                    <a:gd name="connsiteX16" fmla="*/ 3506 w 573984"/>
                    <a:gd name="connsiteY16" fmla="*/ 354328 h 584428"/>
                    <a:gd name="connsiteX17" fmla="*/ 3506 w 573984"/>
                    <a:gd name="connsiteY17" fmla="*/ 220978 h 584428"/>
                    <a:gd name="connsiteX18" fmla="*/ 43988 w 573984"/>
                    <a:gd name="connsiteY18" fmla="*/ 118585 h 584428"/>
                    <a:gd name="connsiteX19" fmla="*/ 67800 w 573984"/>
                    <a:gd name="connsiteY19" fmla="*/ 92391 h 584428"/>
                    <a:gd name="connsiteX20" fmla="*/ 101138 w 573984"/>
                    <a:gd name="connsiteY20" fmla="*/ 63816 h 584428"/>
                    <a:gd name="connsiteX21" fmla="*/ 141619 w 573984"/>
                    <a:gd name="connsiteY21" fmla="*/ 40003 h 584428"/>
                    <a:gd name="connsiteX22" fmla="*/ 263063 w 573984"/>
                    <a:gd name="connsiteY22" fmla="*/ 4285 h 584428"/>
                    <a:gd name="connsiteX23" fmla="*/ 274969 w 573984"/>
                    <a:gd name="connsiteY23" fmla="*/ 1903 h 584428"/>
                    <a:gd name="connsiteX0" fmla="*/ 274969 w 573984"/>
                    <a:gd name="connsiteY0" fmla="*/ 1903 h 584428"/>
                    <a:gd name="connsiteX1" fmla="*/ 370219 w 573984"/>
                    <a:gd name="connsiteY1" fmla="*/ 1903 h 584428"/>
                    <a:gd name="connsiteX2" fmla="*/ 379744 w 573984"/>
                    <a:gd name="connsiteY2" fmla="*/ 4285 h 584428"/>
                    <a:gd name="connsiteX3" fmla="*/ 408319 w 573984"/>
                    <a:gd name="connsiteY3" fmla="*/ 13810 h 584428"/>
                    <a:gd name="connsiteX4" fmla="*/ 472613 w 573984"/>
                    <a:gd name="connsiteY4" fmla="*/ 51910 h 584428"/>
                    <a:gd name="connsiteX5" fmla="*/ 529763 w 573984"/>
                    <a:gd name="connsiteY5" fmla="*/ 125728 h 584428"/>
                    <a:gd name="connsiteX6" fmla="*/ 555956 w 573984"/>
                    <a:gd name="connsiteY6" fmla="*/ 168591 h 584428"/>
                    <a:gd name="connsiteX7" fmla="*/ 567863 w 573984"/>
                    <a:gd name="connsiteY7" fmla="*/ 220978 h 584428"/>
                    <a:gd name="connsiteX8" fmla="*/ 565481 w 573984"/>
                    <a:gd name="connsiteY8" fmla="*/ 394809 h 584428"/>
                    <a:gd name="connsiteX9" fmla="*/ 467850 w 573984"/>
                    <a:gd name="connsiteY9" fmla="*/ 528160 h 584428"/>
                    <a:gd name="connsiteX10" fmla="*/ 282113 w 573984"/>
                    <a:gd name="connsiteY10" fmla="*/ 580547 h 584428"/>
                    <a:gd name="connsiteX11" fmla="*/ 232106 w 573984"/>
                    <a:gd name="connsiteY11" fmla="*/ 578166 h 584428"/>
                    <a:gd name="connsiteX12" fmla="*/ 182100 w 573984"/>
                    <a:gd name="connsiteY12" fmla="*/ 559116 h 584428"/>
                    <a:gd name="connsiteX13" fmla="*/ 96375 w 573984"/>
                    <a:gd name="connsiteY13" fmla="*/ 504347 h 584428"/>
                    <a:gd name="connsiteX14" fmla="*/ 58275 w 573984"/>
                    <a:gd name="connsiteY14" fmla="*/ 461485 h 584428"/>
                    <a:gd name="connsiteX15" fmla="*/ 36844 w 573984"/>
                    <a:gd name="connsiteY15" fmla="*/ 425766 h 584428"/>
                    <a:gd name="connsiteX16" fmla="*/ 3506 w 573984"/>
                    <a:gd name="connsiteY16" fmla="*/ 354328 h 584428"/>
                    <a:gd name="connsiteX17" fmla="*/ 3506 w 573984"/>
                    <a:gd name="connsiteY17" fmla="*/ 220978 h 584428"/>
                    <a:gd name="connsiteX18" fmla="*/ 43988 w 573984"/>
                    <a:gd name="connsiteY18" fmla="*/ 118585 h 584428"/>
                    <a:gd name="connsiteX19" fmla="*/ 101138 w 573984"/>
                    <a:gd name="connsiteY19" fmla="*/ 63816 h 584428"/>
                    <a:gd name="connsiteX20" fmla="*/ 141619 w 573984"/>
                    <a:gd name="connsiteY20" fmla="*/ 40003 h 584428"/>
                    <a:gd name="connsiteX21" fmla="*/ 263063 w 573984"/>
                    <a:gd name="connsiteY21" fmla="*/ 4285 h 584428"/>
                    <a:gd name="connsiteX22" fmla="*/ 274969 w 573984"/>
                    <a:gd name="connsiteY22" fmla="*/ 1903 h 584428"/>
                    <a:gd name="connsiteX0" fmla="*/ 274969 w 573984"/>
                    <a:gd name="connsiteY0" fmla="*/ 1903 h 584428"/>
                    <a:gd name="connsiteX1" fmla="*/ 370219 w 573984"/>
                    <a:gd name="connsiteY1" fmla="*/ 1903 h 584428"/>
                    <a:gd name="connsiteX2" fmla="*/ 379744 w 573984"/>
                    <a:gd name="connsiteY2" fmla="*/ 4285 h 584428"/>
                    <a:gd name="connsiteX3" fmla="*/ 408319 w 573984"/>
                    <a:gd name="connsiteY3" fmla="*/ 13810 h 584428"/>
                    <a:gd name="connsiteX4" fmla="*/ 472613 w 573984"/>
                    <a:gd name="connsiteY4" fmla="*/ 51910 h 584428"/>
                    <a:gd name="connsiteX5" fmla="*/ 529763 w 573984"/>
                    <a:gd name="connsiteY5" fmla="*/ 125728 h 584428"/>
                    <a:gd name="connsiteX6" fmla="*/ 555956 w 573984"/>
                    <a:gd name="connsiteY6" fmla="*/ 168591 h 584428"/>
                    <a:gd name="connsiteX7" fmla="*/ 567863 w 573984"/>
                    <a:gd name="connsiteY7" fmla="*/ 220978 h 584428"/>
                    <a:gd name="connsiteX8" fmla="*/ 565481 w 573984"/>
                    <a:gd name="connsiteY8" fmla="*/ 394809 h 584428"/>
                    <a:gd name="connsiteX9" fmla="*/ 467850 w 573984"/>
                    <a:gd name="connsiteY9" fmla="*/ 528160 h 584428"/>
                    <a:gd name="connsiteX10" fmla="*/ 282113 w 573984"/>
                    <a:gd name="connsiteY10" fmla="*/ 580547 h 584428"/>
                    <a:gd name="connsiteX11" fmla="*/ 232106 w 573984"/>
                    <a:gd name="connsiteY11" fmla="*/ 578166 h 584428"/>
                    <a:gd name="connsiteX12" fmla="*/ 182100 w 573984"/>
                    <a:gd name="connsiteY12" fmla="*/ 559116 h 584428"/>
                    <a:gd name="connsiteX13" fmla="*/ 96375 w 573984"/>
                    <a:gd name="connsiteY13" fmla="*/ 504347 h 584428"/>
                    <a:gd name="connsiteX14" fmla="*/ 58275 w 573984"/>
                    <a:gd name="connsiteY14" fmla="*/ 461485 h 584428"/>
                    <a:gd name="connsiteX15" fmla="*/ 36844 w 573984"/>
                    <a:gd name="connsiteY15" fmla="*/ 425766 h 584428"/>
                    <a:gd name="connsiteX16" fmla="*/ 3506 w 573984"/>
                    <a:gd name="connsiteY16" fmla="*/ 354328 h 584428"/>
                    <a:gd name="connsiteX17" fmla="*/ 3506 w 573984"/>
                    <a:gd name="connsiteY17" fmla="*/ 220978 h 584428"/>
                    <a:gd name="connsiteX18" fmla="*/ 43988 w 573984"/>
                    <a:gd name="connsiteY18" fmla="*/ 118585 h 584428"/>
                    <a:gd name="connsiteX19" fmla="*/ 141619 w 573984"/>
                    <a:gd name="connsiteY19" fmla="*/ 40003 h 584428"/>
                    <a:gd name="connsiteX20" fmla="*/ 263063 w 573984"/>
                    <a:gd name="connsiteY20" fmla="*/ 4285 h 584428"/>
                    <a:gd name="connsiteX21" fmla="*/ 274969 w 573984"/>
                    <a:gd name="connsiteY21" fmla="*/ 1903 h 584428"/>
                    <a:gd name="connsiteX0" fmla="*/ 263063 w 573984"/>
                    <a:gd name="connsiteY0" fmla="*/ 3607 h 583750"/>
                    <a:gd name="connsiteX1" fmla="*/ 370219 w 573984"/>
                    <a:gd name="connsiteY1" fmla="*/ 1225 h 583750"/>
                    <a:gd name="connsiteX2" fmla="*/ 379744 w 573984"/>
                    <a:gd name="connsiteY2" fmla="*/ 3607 h 583750"/>
                    <a:gd name="connsiteX3" fmla="*/ 408319 w 573984"/>
                    <a:gd name="connsiteY3" fmla="*/ 13132 h 583750"/>
                    <a:gd name="connsiteX4" fmla="*/ 472613 w 573984"/>
                    <a:gd name="connsiteY4" fmla="*/ 51232 h 583750"/>
                    <a:gd name="connsiteX5" fmla="*/ 529763 w 573984"/>
                    <a:gd name="connsiteY5" fmla="*/ 125050 h 583750"/>
                    <a:gd name="connsiteX6" fmla="*/ 555956 w 573984"/>
                    <a:gd name="connsiteY6" fmla="*/ 167913 h 583750"/>
                    <a:gd name="connsiteX7" fmla="*/ 567863 w 573984"/>
                    <a:gd name="connsiteY7" fmla="*/ 220300 h 583750"/>
                    <a:gd name="connsiteX8" fmla="*/ 565481 w 573984"/>
                    <a:gd name="connsiteY8" fmla="*/ 394131 h 583750"/>
                    <a:gd name="connsiteX9" fmla="*/ 467850 w 573984"/>
                    <a:gd name="connsiteY9" fmla="*/ 527482 h 583750"/>
                    <a:gd name="connsiteX10" fmla="*/ 282113 w 573984"/>
                    <a:gd name="connsiteY10" fmla="*/ 579869 h 583750"/>
                    <a:gd name="connsiteX11" fmla="*/ 232106 w 573984"/>
                    <a:gd name="connsiteY11" fmla="*/ 577488 h 583750"/>
                    <a:gd name="connsiteX12" fmla="*/ 182100 w 573984"/>
                    <a:gd name="connsiteY12" fmla="*/ 558438 h 583750"/>
                    <a:gd name="connsiteX13" fmla="*/ 96375 w 573984"/>
                    <a:gd name="connsiteY13" fmla="*/ 503669 h 583750"/>
                    <a:gd name="connsiteX14" fmla="*/ 58275 w 573984"/>
                    <a:gd name="connsiteY14" fmla="*/ 460807 h 583750"/>
                    <a:gd name="connsiteX15" fmla="*/ 36844 w 573984"/>
                    <a:gd name="connsiteY15" fmla="*/ 425088 h 583750"/>
                    <a:gd name="connsiteX16" fmla="*/ 3506 w 573984"/>
                    <a:gd name="connsiteY16" fmla="*/ 353650 h 583750"/>
                    <a:gd name="connsiteX17" fmla="*/ 3506 w 573984"/>
                    <a:gd name="connsiteY17" fmla="*/ 220300 h 583750"/>
                    <a:gd name="connsiteX18" fmla="*/ 43988 w 573984"/>
                    <a:gd name="connsiteY18" fmla="*/ 117907 h 583750"/>
                    <a:gd name="connsiteX19" fmla="*/ 141619 w 573984"/>
                    <a:gd name="connsiteY19" fmla="*/ 39325 h 583750"/>
                    <a:gd name="connsiteX20" fmla="*/ 263063 w 573984"/>
                    <a:gd name="connsiteY20" fmla="*/ 3607 h 583750"/>
                    <a:gd name="connsiteX0" fmla="*/ 263063 w 573984"/>
                    <a:gd name="connsiteY0" fmla="*/ 4167 h 584310"/>
                    <a:gd name="connsiteX1" fmla="*/ 370219 w 573984"/>
                    <a:gd name="connsiteY1" fmla="*/ 1785 h 584310"/>
                    <a:gd name="connsiteX2" fmla="*/ 408319 w 573984"/>
                    <a:gd name="connsiteY2" fmla="*/ 13692 h 584310"/>
                    <a:gd name="connsiteX3" fmla="*/ 472613 w 573984"/>
                    <a:gd name="connsiteY3" fmla="*/ 51792 h 584310"/>
                    <a:gd name="connsiteX4" fmla="*/ 529763 w 573984"/>
                    <a:gd name="connsiteY4" fmla="*/ 125610 h 584310"/>
                    <a:gd name="connsiteX5" fmla="*/ 555956 w 573984"/>
                    <a:gd name="connsiteY5" fmla="*/ 168473 h 584310"/>
                    <a:gd name="connsiteX6" fmla="*/ 567863 w 573984"/>
                    <a:gd name="connsiteY6" fmla="*/ 220860 h 584310"/>
                    <a:gd name="connsiteX7" fmla="*/ 565481 w 573984"/>
                    <a:gd name="connsiteY7" fmla="*/ 394691 h 584310"/>
                    <a:gd name="connsiteX8" fmla="*/ 467850 w 573984"/>
                    <a:gd name="connsiteY8" fmla="*/ 528042 h 584310"/>
                    <a:gd name="connsiteX9" fmla="*/ 282113 w 573984"/>
                    <a:gd name="connsiteY9" fmla="*/ 580429 h 584310"/>
                    <a:gd name="connsiteX10" fmla="*/ 232106 w 573984"/>
                    <a:gd name="connsiteY10" fmla="*/ 578048 h 584310"/>
                    <a:gd name="connsiteX11" fmla="*/ 182100 w 573984"/>
                    <a:gd name="connsiteY11" fmla="*/ 558998 h 584310"/>
                    <a:gd name="connsiteX12" fmla="*/ 96375 w 573984"/>
                    <a:gd name="connsiteY12" fmla="*/ 504229 h 584310"/>
                    <a:gd name="connsiteX13" fmla="*/ 58275 w 573984"/>
                    <a:gd name="connsiteY13" fmla="*/ 461367 h 584310"/>
                    <a:gd name="connsiteX14" fmla="*/ 36844 w 573984"/>
                    <a:gd name="connsiteY14" fmla="*/ 425648 h 584310"/>
                    <a:gd name="connsiteX15" fmla="*/ 3506 w 573984"/>
                    <a:gd name="connsiteY15" fmla="*/ 354210 h 584310"/>
                    <a:gd name="connsiteX16" fmla="*/ 3506 w 573984"/>
                    <a:gd name="connsiteY16" fmla="*/ 220860 h 584310"/>
                    <a:gd name="connsiteX17" fmla="*/ 43988 w 573984"/>
                    <a:gd name="connsiteY17" fmla="*/ 118467 h 584310"/>
                    <a:gd name="connsiteX18" fmla="*/ 141619 w 573984"/>
                    <a:gd name="connsiteY18" fmla="*/ 39885 h 584310"/>
                    <a:gd name="connsiteX19" fmla="*/ 263063 w 573984"/>
                    <a:gd name="connsiteY19" fmla="*/ 4167 h 584310"/>
                    <a:gd name="connsiteX0" fmla="*/ 263063 w 573984"/>
                    <a:gd name="connsiteY0" fmla="*/ 6801 h 586944"/>
                    <a:gd name="connsiteX1" fmla="*/ 370219 w 573984"/>
                    <a:gd name="connsiteY1" fmla="*/ 4419 h 586944"/>
                    <a:gd name="connsiteX2" fmla="*/ 472613 w 573984"/>
                    <a:gd name="connsiteY2" fmla="*/ 54426 h 586944"/>
                    <a:gd name="connsiteX3" fmla="*/ 529763 w 573984"/>
                    <a:gd name="connsiteY3" fmla="*/ 128244 h 586944"/>
                    <a:gd name="connsiteX4" fmla="*/ 555956 w 573984"/>
                    <a:gd name="connsiteY4" fmla="*/ 171107 h 586944"/>
                    <a:gd name="connsiteX5" fmla="*/ 567863 w 573984"/>
                    <a:gd name="connsiteY5" fmla="*/ 223494 h 586944"/>
                    <a:gd name="connsiteX6" fmla="*/ 565481 w 573984"/>
                    <a:gd name="connsiteY6" fmla="*/ 397325 h 586944"/>
                    <a:gd name="connsiteX7" fmla="*/ 467850 w 573984"/>
                    <a:gd name="connsiteY7" fmla="*/ 530676 h 586944"/>
                    <a:gd name="connsiteX8" fmla="*/ 282113 w 573984"/>
                    <a:gd name="connsiteY8" fmla="*/ 583063 h 586944"/>
                    <a:gd name="connsiteX9" fmla="*/ 232106 w 573984"/>
                    <a:gd name="connsiteY9" fmla="*/ 580682 h 586944"/>
                    <a:gd name="connsiteX10" fmla="*/ 182100 w 573984"/>
                    <a:gd name="connsiteY10" fmla="*/ 561632 h 586944"/>
                    <a:gd name="connsiteX11" fmla="*/ 96375 w 573984"/>
                    <a:gd name="connsiteY11" fmla="*/ 506863 h 586944"/>
                    <a:gd name="connsiteX12" fmla="*/ 58275 w 573984"/>
                    <a:gd name="connsiteY12" fmla="*/ 464001 h 586944"/>
                    <a:gd name="connsiteX13" fmla="*/ 36844 w 573984"/>
                    <a:gd name="connsiteY13" fmla="*/ 428282 h 586944"/>
                    <a:gd name="connsiteX14" fmla="*/ 3506 w 573984"/>
                    <a:gd name="connsiteY14" fmla="*/ 356844 h 586944"/>
                    <a:gd name="connsiteX15" fmla="*/ 3506 w 573984"/>
                    <a:gd name="connsiteY15" fmla="*/ 223494 h 586944"/>
                    <a:gd name="connsiteX16" fmla="*/ 43988 w 573984"/>
                    <a:gd name="connsiteY16" fmla="*/ 121101 h 586944"/>
                    <a:gd name="connsiteX17" fmla="*/ 141619 w 573984"/>
                    <a:gd name="connsiteY17" fmla="*/ 42519 h 586944"/>
                    <a:gd name="connsiteX18" fmla="*/ 263063 w 573984"/>
                    <a:gd name="connsiteY18" fmla="*/ 6801 h 586944"/>
                    <a:gd name="connsiteX0" fmla="*/ 263063 w 573984"/>
                    <a:gd name="connsiteY0" fmla="*/ 8012 h 588155"/>
                    <a:gd name="connsiteX1" fmla="*/ 370219 w 573984"/>
                    <a:gd name="connsiteY1" fmla="*/ 5630 h 588155"/>
                    <a:gd name="connsiteX2" fmla="*/ 467850 w 573984"/>
                    <a:gd name="connsiteY2" fmla="*/ 72306 h 588155"/>
                    <a:gd name="connsiteX3" fmla="*/ 529763 w 573984"/>
                    <a:gd name="connsiteY3" fmla="*/ 129455 h 588155"/>
                    <a:gd name="connsiteX4" fmla="*/ 555956 w 573984"/>
                    <a:gd name="connsiteY4" fmla="*/ 172318 h 588155"/>
                    <a:gd name="connsiteX5" fmla="*/ 567863 w 573984"/>
                    <a:gd name="connsiteY5" fmla="*/ 224705 h 588155"/>
                    <a:gd name="connsiteX6" fmla="*/ 565481 w 573984"/>
                    <a:gd name="connsiteY6" fmla="*/ 398536 h 588155"/>
                    <a:gd name="connsiteX7" fmla="*/ 467850 w 573984"/>
                    <a:gd name="connsiteY7" fmla="*/ 531887 h 588155"/>
                    <a:gd name="connsiteX8" fmla="*/ 282113 w 573984"/>
                    <a:gd name="connsiteY8" fmla="*/ 584274 h 588155"/>
                    <a:gd name="connsiteX9" fmla="*/ 232106 w 573984"/>
                    <a:gd name="connsiteY9" fmla="*/ 581893 h 588155"/>
                    <a:gd name="connsiteX10" fmla="*/ 182100 w 573984"/>
                    <a:gd name="connsiteY10" fmla="*/ 562843 h 588155"/>
                    <a:gd name="connsiteX11" fmla="*/ 96375 w 573984"/>
                    <a:gd name="connsiteY11" fmla="*/ 508074 h 588155"/>
                    <a:gd name="connsiteX12" fmla="*/ 58275 w 573984"/>
                    <a:gd name="connsiteY12" fmla="*/ 465212 h 588155"/>
                    <a:gd name="connsiteX13" fmla="*/ 36844 w 573984"/>
                    <a:gd name="connsiteY13" fmla="*/ 429493 h 588155"/>
                    <a:gd name="connsiteX14" fmla="*/ 3506 w 573984"/>
                    <a:gd name="connsiteY14" fmla="*/ 358055 h 588155"/>
                    <a:gd name="connsiteX15" fmla="*/ 3506 w 573984"/>
                    <a:gd name="connsiteY15" fmla="*/ 224705 h 588155"/>
                    <a:gd name="connsiteX16" fmla="*/ 43988 w 573984"/>
                    <a:gd name="connsiteY16" fmla="*/ 122312 h 588155"/>
                    <a:gd name="connsiteX17" fmla="*/ 141619 w 573984"/>
                    <a:gd name="connsiteY17" fmla="*/ 43730 h 588155"/>
                    <a:gd name="connsiteX18" fmla="*/ 263063 w 573984"/>
                    <a:gd name="connsiteY18" fmla="*/ 8012 h 588155"/>
                    <a:gd name="connsiteX0" fmla="*/ 263063 w 573984"/>
                    <a:gd name="connsiteY0" fmla="*/ 4167 h 584310"/>
                    <a:gd name="connsiteX1" fmla="*/ 363076 w 573984"/>
                    <a:gd name="connsiteY1" fmla="*/ 8929 h 584310"/>
                    <a:gd name="connsiteX2" fmla="*/ 467850 w 573984"/>
                    <a:gd name="connsiteY2" fmla="*/ 68461 h 584310"/>
                    <a:gd name="connsiteX3" fmla="*/ 529763 w 573984"/>
                    <a:gd name="connsiteY3" fmla="*/ 125610 h 584310"/>
                    <a:gd name="connsiteX4" fmla="*/ 555956 w 573984"/>
                    <a:gd name="connsiteY4" fmla="*/ 168473 h 584310"/>
                    <a:gd name="connsiteX5" fmla="*/ 567863 w 573984"/>
                    <a:gd name="connsiteY5" fmla="*/ 220860 h 584310"/>
                    <a:gd name="connsiteX6" fmla="*/ 565481 w 573984"/>
                    <a:gd name="connsiteY6" fmla="*/ 394691 h 584310"/>
                    <a:gd name="connsiteX7" fmla="*/ 467850 w 573984"/>
                    <a:gd name="connsiteY7" fmla="*/ 528042 h 584310"/>
                    <a:gd name="connsiteX8" fmla="*/ 282113 w 573984"/>
                    <a:gd name="connsiteY8" fmla="*/ 580429 h 584310"/>
                    <a:gd name="connsiteX9" fmla="*/ 232106 w 573984"/>
                    <a:gd name="connsiteY9" fmla="*/ 578048 h 584310"/>
                    <a:gd name="connsiteX10" fmla="*/ 182100 w 573984"/>
                    <a:gd name="connsiteY10" fmla="*/ 558998 h 584310"/>
                    <a:gd name="connsiteX11" fmla="*/ 96375 w 573984"/>
                    <a:gd name="connsiteY11" fmla="*/ 504229 h 584310"/>
                    <a:gd name="connsiteX12" fmla="*/ 58275 w 573984"/>
                    <a:gd name="connsiteY12" fmla="*/ 461367 h 584310"/>
                    <a:gd name="connsiteX13" fmla="*/ 36844 w 573984"/>
                    <a:gd name="connsiteY13" fmla="*/ 425648 h 584310"/>
                    <a:gd name="connsiteX14" fmla="*/ 3506 w 573984"/>
                    <a:gd name="connsiteY14" fmla="*/ 354210 h 584310"/>
                    <a:gd name="connsiteX15" fmla="*/ 3506 w 573984"/>
                    <a:gd name="connsiteY15" fmla="*/ 220860 h 584310"/>
                    <a:gd name="connsiteX16" fmla="*/ 43988 w 573984"/>
                    <a:gd name="connsiteY16" fmla="*/ 118467 h 584310"/>
                    <a:gd name="connsiteX17" fmla="*/ 141619 w 573984"/>
                    <a:gd name="connsiteY17" fmla="*/ 39885 h 584310"/>
                    <a:gd name="connsiteX18" fmla="*/ 263063 w 573984"/>
                    <a:gd name="connsiteY18" fmla="*/ 4167 h 584310"/>
                    <a:gd name="connsiteX0" fmla="*/ 263063 w 573984"/>
                    <a:gd name="connsiteY0" fmla="*/ 2310 h 582453"/>
                    <a:gd name="connsiteX1" fmla="*/ 363076 w 573984"/>
                    <a:gd name="connsiteY1" fmla="*/ 7072 h 582453"/>
                    <a:gd name="connsiteX2" fmla="*/ 467850 w 573984"/>
                    <a:gd name="connsiteY2" fmla="*/ 66604 h 582453"/>
                    <a:gd name="connsiteX3" fmla="*/ 529763 w 573984"/>
                    <a:gd name="connsiteY3" fmla="*/ 123753 h 582453"/>
                    <a:gd name="connsiteX4" fmla="*/ 555956 w 573984"/>
                    <a:gd name="connsiteY4" fmla="*/ 166616 h 582453"/>
                    <a:gd name="connsiteX5" fmla="*/ 567863 w 573984"/>
                    <a:gd name="connsiteY5" fmla="*/ 219003 h 582453"/>
                    <a:gd name="connsiteX6" fmla="*/ 565481 w 573984"/>
                    <a:gd name="connsiteY6" fmla="*/ 392834 h 582453"/>
                    <a:gd name="connsiteX7" fmla="*/ 467850 w 573984"/>
                    <a:gd name="connsiteY7" fmla="*/ 526185 h 582453"/>
                    <a:gd name="connsiteX8" fmla="*/ 282113 w 573984"/>
                    <a:gd name="connsiteY8" fmla="*/ 578572 h 582453"/>
                    <a:gd name="connsiteX9" fmla="*/ 232106 w 573984"/>
                    <a:gd name="connsiteY9" fmla="*/ 576191 h 582453"/>
                    <a:gd name="connsiteX10" fmla="*/ 182100 w 573984"/>
                    <a:gd name="connsiteY10" fmla="*/ 557141 h 582453"/>
                    <a:gd name="connsiteX11" fmla="*/ 96375 w 573984"/>
                    <a:gd name="connsiteY11" fmla="*/ 502372 h 582453"/>
                    <a:gd name="connsiteX12" fmla="*/ 58275 w 573984"/>
                    <a:gd name="connsiteY12" fmla="*/ 459510 h 582453"/>
                    <a:gd name="connsiteX13" fmla="*/ 36844 w 573984"/>
                    <a:gd name="connsiteY13" fmla="*/ 423791 h 582453"/>
                    <a:gd name="connsiteX14" fmla="*/ 3506 w 573984"/>
                    <a:gd name="connsiteY14" fmla="*/ 352353 h 582453"/>
                    <a:gd name="connsiteX15" fmla="*/ 3506 w 573984"/>
                    <a:gd name="connsiteY15" fmla="*/ 219003 h 582453"/>
                    <a:gd name="connsiteX16" fmla="*/ 43988 w 573984"/>
                    <a:gd name="connsiteY16" fmla="*/ 116610 h 582453"/>
                    <a:gd name="connsiteX17" fmla="*/ 141619 w 573984"/>
                    <a:gd name="connsiteY17" fmla="*/ 38028 h 582453"/>
                    <a:gd name="connsiteX18" fmla="*/ 263063 w 573984"/>
                    <a:gd name="connsiteY18" fmla="*/ 2310 h 582453"/>
                    <a:gd name="connsiteX0" fmla="*/ 263063 w 573984"/>
                    <a:gd name="connsiteY0" fmla="*/ 2310 h 582453"/>
                    <a:gd name="connsiteX1" fmla="*/ 363076 w 573984"/>
                    <a:gd name="connsiteY1" fmla="*/ 7072 h 582453"/>
                    <a:gd name="connsiteX2" fmla="*/ 467850 w 573984"/>
                    <a:gd name="connsiteY2" fmla="*/ 66604 h 582453"/>
                    <a:gd name="connsiteX3" fmla="*/ 529763 w 573984"/>
                    <a:gd name="connsiteY3" fmla="*/ 123753 h 582453"/>
                    <a:gd name="connsiteX4" fmla="*/ 555956 w 573984"/>
                    <a:gd name="connsiteY4" fmla="*/ 166616 h 582453"/>
                    <a:gd name="connsiteX5" fmla="*/ 567863 w 573984"/>
                    <a:gd name="connsiteY5" fmla="*/ 219003 h 582453"/>
                    <a:gd name="connsiteX6" fmla="*/ 565481 w 573984"/>
                    <a:gd name="connsiteY6" fmla="*/ 392834 h 582453"/>
                    <a:gd name="connsiteX7" fmla="*/ 467850 w 573984"/>
                    <a:gd name="connsiteY7" fmla="*/ 526185 h 582453"/>
                    <a:gd name="connsiteX8" fmla="*/ 282113 w 573984"/>
                    <a:gd name="connsiteY8" fmla="*/ 578572 h 582453"/>
                    <a:gd name="connsiteX9" fmla="*/ 232106 w 573984"/>
                    <a:gd name="connsiteY9" fmla="*/ 576191 h 582453"/>
                    <a:gd name="connsiteX10" fmla="*/ 182100 w 573984"/>
                    <a:gd name="connsiteY10" fmla="*/ 557141 h 582453"/>
                    <a:gd name="connsiteX11" fmla="*/ 96375 w 573984"/>
                    <a:gd name="connsiteY11" fmla="*/ 502372 h 582453"/>
                    <a:gd name="connsiteX12" fmla="*/ 36844 w 573984"/>
                    <a:gd name="connsiteY12" fmla="*/ 423791 h 582453"/>
                    <a:gd name="connsiteX13" fmla="*/ 3506 w 573984"/>
                    <a:gd name="connsiteY13" fmla="*/ 352353 h 582453"/>
                    <a:gd name="connsiteX14" fmla="*/ 3506 w 573984"/>
                    <a:gd name="connsiteY14" fmla="*/ 219003 h 582453"/>
                    <a:gd name="connsiteX15" fmla="*/ 43988 w 573984"/>
                    <a:gd name="connsiteY15" fmla="*/ 116610 h 582453"/>
                    <a:gd name="connsiteX16" fmla="*/ 141619 w 573984"/>
                    <a:gd name="connsiteY16" fmla="*/ 38028 h 582453"/>
                    <a:gd name="connsiteX17" fmla="*/ 263063 w 573984"/>
                    <a:gd name="connsiteY17" fmla="*/ 2310 h 582453"/>
                    <a:gd name="connsiteX0" fmla="*/ 263063 w 575295"/>
                    <a:gd name="connsiteY0" fmla="*/ 2310 h 582453"/>
                    <a:gd name="connsiteX1" fmla="*/ 363076 w 575295"/>
                    <a:gd name="connsiteY1" fmla="*/ 7072 h 582453"/>
                    <a:gd name="connsiteX2" fmla="*/ 467850 w 575295"/>
                    <a:gd name="connsiteY2" fmla="*/ 66604 h 582453"/>
                    <a:gd name="connsiteX3" fmla="*/ 529763 w 575295"/>
                    <a:gd name="connsiteY3" fmla="*/ 123753 h 582453"/>
                    <a:gd name="connsiteX4" fmla="*/ 567863 w 575295"/>
                    <a:gd name="connsiteY4" fmla="*/ 219003 h 582453"/>
                    <a:gd name="connsiteX5" fmla="*/ 565481 w 575295"/>
                    <a:gd name="connsiteY5" fmla="*/ 392834 h 582453"/>
                    <a:gd name="connsiteX6" fmla="*/ 467850 w 575295"/>
                    <a:gd name="connsiteY6" fmla="*/ 526185 h 582453"/>
                    <a:gd name="connsiteX7" fmla="*/ 282113 w 575295"/>
                    <a:gd name="connsiteY7" fmla="*/ 578572 h 582453"/>
                    <a:gd name="connsiteX8" fmla="*/ 232106 w 575295"/>
                    <a:gd name="connsiteY8" fmla="*/ 576191 h 582453"/>
                    <a:gd name="connsiteX9" fmla="*/ 182100 w 575295"/>
                    <a:gd name="connsiteY9" fmla="*/ 557141 h 582453"/>
                    <a:gd name="connsiteX10" fmla="*/ 96375 w 575295"/>
                    <a:gd name="connsiteY10" fmla="*/ 502372 h 582453"/>
                    <a:gd name="connsiteX11" fmla="*/ 36844 w 575295"/>
                    <a:gd name="connsiteY11" fmla="*/ 423791 h 582453"/>
                    <a:gd name="connsiteX12" fmla="*/ 3506 w 575295"/>
                    <a:gd name="connsiteY12" fmla="*/ 352353 h 582453"/>
                    <a:gd name="connsiteX13" fmla="*/ 3506 w 575295"/>
                    <a:gd name="connsiteY13" fmla="*/ 219003 h 582453"/>
                    <a:gd name="connsiteX14" fmla="*/ 43988 w 575295"/>
                    <a:gd name="connsiteY14" fmla="*/ 116610 h 582453"/>
                    <a:gd name="connsiteX15" fmla="*/ 141619 w 575295"/>
                    <a:gd name="connsiteY15" fmla="*/ 38028 h 582453"/>
                    <a:gd name="connsiteX16" fmla="*/ 263063 w 575295"/>
                    <a:gd name="connsiteY16" fmla="*/ 2310 h 582453"/>
                    <a:gd name="connsiteX0" fmla="*/ 263063 w 579079"/>
                    <a:gd name="connsiteY0" fmla="*/ 2310 h 582453"/>
                    <a:gd name="connsiteX1" fmla="*/ 363076 w 579079"/>
                    <a:gd name="connsiteY1" fmla="*/ 7072 h 582453"/>
                    <a:gd name="connsiteX2" fmla="*/ 467850 w 579079"/>
                    <a:gd name="connsiteY2" fmla="*/ 66604 h 582453"/>
                    <a:gd name="connsiteX3" fmla="*/ 567863 w 579079"/>
                    <a:gd name="connsiteY3" fmla="*/ 219003 h 582453"/>
                    <a:gd name="connsiteX4" fmla="*/ 565481 w 579079"/>
                    <a:gd name="connsiteY4" fmla="*/ 392834 h 582453"/>
                    <a:gd name="connsiteX5" fmla="*/ 467850 w 579079"/>
                    <a:gd name="connsiteY5" fmla="*/ 526185 h 582453"/>
                    <a:gd name="connsiteX6" fmla="*/ 282113 w 579079"/>
                    <a:gd name="connsiteY6" fmla="*/ 578572 h 582453"/>
                    <a:gd name="connsiteX7" fmla="*/ 232106 w 579079"/>
                    <a:gd name="connsiteY7" fmla="*/ 576191 h 582453"/>
                    <a:gd name="connsiteX8" fmla="*/ 182100 w 579079"/>
                    <a:gd name="connsiteY8" fmla="*/ 557141 h 582453"/>
                    <a:gd name="connsiteX9" fmla="*/ 96375 w 579079"/>
                    <a:gd name="connsiteY9" fmla="*/ 502372 h 582453"/>
                    <a:gd name="connsiteX10" fmla="*/ 36844 w 579079"/>
                    <a:gd name="connsiteY10" fmla="*/ 423791 h 582453"/>
                    <a:gd name="connsiteX11" fmla="*/ 3506 w 579079"/>
                    <a:gd name="connsiteY11" fmla="*/ 352353 h 582453"/>
                    <a:gd name="connsiteX12" fmla="*/ 3506 w 579079"/>
                    <a:gd name="connsiteY12" fmla="*/ 219003 h 582453"/>
                    <a:gd name="connsiteX13" fmla="*/ 43988 w 579079"/>
                    <a:gd name="connsiteY13" fmla="*/ 116610 h 582453"/>
                    <a:gd name="connsiteX14" fmla="*/ 141619 w 579079"/>
                    <a:gd name="connsiteY14" fmla="*/ 38028 h 582453"/>
                    <a:gd name="connsiteX15" fmla="*/ 263063 w 579079"/>
                    <a:gd name="connsiteY15" fmla="*/ 2310 h 582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579079" h="582453">
                      <a:moveTo>
                        <a:pt x="263063" y="2310"/>
                      </a:moveTo>
                      <a:cubicBezTo>
                        <a:pt x="301163" y="-4040"/>
                        <a:pt x="327399" y="4440"/>
                        <a:pt x="363076" y="7072"/>
                      </a:cubicBezTo>
                      <a:cubicBezTo>
                        <a:pt x="411495" y="10644"/>
                        <a:pt x="433719" y="31282"/>
                        <a:pt x="467850" y="66604"/>
                      </a:cubicBezTo>
                      <a:cubicBezTo>
                        <a:pt x="501981" y="101926"/>
                        <a:pt x="551591" y="164631"/>
                        <a:pt x="567863" y="219003"/>
                      </a:cubicBezTo>
                      <a:cubicBezTo>
                        <a:pt x="584135" y="273375"/>
                        <a:pt x="582150" y="341637"/>
                        <a:pt x="565481" y="392834"/>
                      </a:cubicBezTo>
                      <a:cubicBezTo>
                        <a:pt x="548812" y="444031"/>
                        <a:pt x="515078" y="495229"/>
                        <a:pt x="467850" y="526185"/>
                      </a:cubicBezTo>
                      <a:cubicBezTo>
                        <a:pt x="420622" y="557141"/>
                        <a:pt x="321404" y="570238"/>
                        <a:pt x="282113" y="578572"/>
                      </a:cubicBezTo>
                      <a:cubicBezTo>
                        <a:pt x="242822" y="586906"/>
                        <a:pt x="248775" y="579763"/>
                        <a:pt x="232106" y="576191"/>
                      </a:cubicBezTo>
                      <a:cubicBezTo>
                        <a:pt x="215437" y="572619"/>
                        <a:pt x="204722" y="569444"/>
                        <a:pt x="182100" y="557141"/>
                      </a:cubicBezTo>
                      <a:cubicBezTo>
                        <a:pt x="159478" y="544838"/>
                        <a:pt x="120584" y="524597"/>
                        <a:pt x="96375" y="502372"/>
                      </a:cubicBezTo>
                      <a:cubicBezTo>
                        <a:pt x="72166" y="480147"/>
                        <a:pt x="52322" y="448794"/>
                        <a:pt x="36844" y="423791"/>
                      </a:cubicBezTo>
                      <a:cubicBezTo>
                        <a:pt x="21366" y="398788"/>
                        <a:pt x="9062" y="386484"/>
                        <a:pt x="3506" y="352353"/>
                      </a:cubicBezTo>
                      <a:cubicBezTo>
                        <a:pt x="-1744" y="294596"/>
                        <a:pt x="-558" y="318555"/>
                        <a:pt x="3506" y="219003"/>
                      </a:cubicBezTo>
                      <a:cubicBezTo>
                        <a:pt x="10253" y="179713"/>
                        <a:pt x="20969" y="146772"/>
                        <a:pt x="43988" y="116610"/>
                      </a:cubicBezTo>
                      <a:cubicBezTo>
                        <a:pt x="67007" y="86448"/>
                        <a:pt x="105107" y="57078"/>
                        <a:pt x="141619" y="38028"/>
                      </a:cubicBezTo>
                      <a:cubicBezTo>
                        <a:pt x="178131" y="18978"/>
                        <a:pt x="224963" y="8660"/>
                        <a:pt x="263063" y="2310"/>
                      </a:cubicBezTo>
                      <a:close/>
                    </a:path>
                  </a:pathLst>
                </a:custGeom>
                <a:ln w="12700"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rtlCol="0" anchor="ctr"/>
                <a:lstStyle/>
                <a:p>
                  <a:endParaRPr lang="da-DK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032" name="Group 1031">
              <a:extLst>
                <a:ext uri="{FF2B5EF4-FFF2-40B4-BE49-F238E27FC236}">
                  <a16:creationId xmlns:a16="http://schemas.microsoft.com/office/drawing/2014/main" id="{276794B3-6269-5DD2-AF76-6BFB603F143C}"/>
                </a:ext>
              </a:extLst>
            </p:cNvPr>
            <p:cNvGrpSpPr/>
            <p:nvPr/>
          </p:nvGrpSpPr>
          <p:grpSpPr>
            <a:xfrm rot="1019954">
              <a:off x="9770295" y="4820819"/>
              <a:ext cx="459603" cy="587790"/>
              <a:chOff x="3395346" y="1880433"/>
              <a:chExt cx="1633885" cy="2089588"/>
            </a:xfrm>
          </p:grpSpPr>
          <p:sp>
            <p:nvSpPr>
              <p:cNvPr id="1033" name="Freeform: Shape 1032">
                <a:extLst>
                  <a:ext uri="{FF2B5EF4-FFF2-40B4-BE49-F238E27FC236}">
                    <a16:creationId xmlns:a16="http://schemas.microsoft.com/office/drawing/2014/main" id="{BC796F5D-2F0B-68FE-DCBE-C17A5D2CBC0E}"/>
                  </a:ext>
                </a:extLst>
              </p:cNvPr>
              <p:cNvSpPr/>
              <p:nvPr/>
            </p:nvSpPr>
            <p:spPr>
              <a:xfrm>
                <a:off x="3395346" y="2041850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1034" name="Freeform: Shape 1033">
                <a:extLst>
                  <a:ext uri="{FF2B5EF4-FFF2-40B4-BE49-F238E27FC236}">
                    <a16:creationId xmlns:a16="http://schemas.microsoft.com/office/drawing/2014/main" id="{956DADC0-92D3-9678-5C90-0C679024F111}"/>
                  </a:ext>
                </a:extLst>
              </p:cNvPr>
              <p:cNvSpPr/>
              <p:nvPr/>
            </p:nvSpPr>
            <p:spPr>
              <a:xfrm>
                <a:off x="3395346" y="3242409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1035" name="Freeform: Shape 1034">
                <a:extLst>
                  <a:ext uri="{FF2B5EF4-FFF2-40B4-BE49-F238E27FC236}">
                    <a16:creationId xmlns:a16="http://schemas.microsoft.com/office/drawing/2014/main" id="{1889A542-52F2-F655-581E-ED77903C662F}"/>
                  </a:ext>
                </a:extLst>
              </p:cNvPr>
              <p:cNvSpPr/>
              <p:nvPr/>
            </p:nvSpPr>
            <p:spPr>
              <a:xfrm>
                <a:off x="3397293" y="1880433"/>
                <a:ext cx="1624532" cy="292545"/>
              </a:xfrm>
              <a:custGeom>
                <a:avLst/>
                <a:gdLst>
                  <a:gd name="connsiteX0" fmla="*/ 11907 w 1116840"/>
                  <a:gd name="connsiteY0" fmla="*/ 124159 h 219409"/>
                  <a:gd name="connsiteX1" fmla="*/ 23813 w 1116840"/>
                  <a:gd name="connsiteY1" fmla="*/ 133684 h 219409"/>
                  <a:gd name="connsiteX2" fmla="*/ 28575 w 1116840"/>
                  <a:gd name="connsiteY2" fmla="*/ 140827 h 219409"/>
                  <a:gd name="connsiteX3" fmla="*/ 40482 w 1116840"/>
                  <a:gd name="connsiteY3" fmla="*/ 147971 h 219409"/>
                  <a:gd name="connsiteX4" fmla="*/ 47625 w 1116840"/>
                  <a:gd name="connsiteY4" fmla="*/ 152734 h 219409"/>
                  <a:gd name="connsiteX5" fmla="*/ 78582 w 1116840"/>
                  <a:gd name="connsiteY5" fmla="*/ 157496 h 219409"/>
                  <a:gd name="connsiteX6" fmla="*/ 104775 w 1116840"/>
                  <a:gd name="connsiteY6" fmla="*/ 162259 h 219409"/>
                  <a:gd name="connsiteX7" fmla="*/ 128588 w 1116840"/>
                  <a:gd name="connsiteY7" fmla="*/ 164640 h 219409"/>
                  <a:gd name="connsiteX8" fmla="*/ 161925 w 1116840"/>
                  <a:gd name="connsiteY8" fmla="*/ 174165 h 219409"/>
                  <a:gd name="connsiteX9" fmla="*/ 178594 w 1116840"/>
                  <a:gd name="connsiteY9" fmla="*/ 176546 h 219409"/>
                  <a:gd name="connsiteX10" fmla="*/ 202407 w 1116840"/>
                  <a:gd name="connsiteY10" fmla="*/ 181309 h 219409"/>
                  <a:gd name="connsiteX11" fmla="*/ 209550 w 1116840"/>
                  <a:gd name="connsiteY11" fmla="*/ 183690 h 219409"/>
                  <a:gd name="connsiteX12" fmla="*/ 238125 w 1116840"/>
                  <a:gd name="connsiteY12" fmla="*/ 190834 h 219409"/>
                  <a:gd name="connsiteX13" fmla="*/ 285750 w 1116840"/>
                  <a:gd name="connsiteY13" fmla="*/ 205121 h 219409"/>
                  <a:gd name="connsiteX14" fmla="*/ 378619 w 1116840"/>
                  <a:gd name="connsiteY14" fmla="*/ 207502 h 219409"/>
                  <a:gd name="connsiteX15" fmla="*/ 402432 w 1116840"/>
                  <a:gd name="connsiteY15" fmla="*/ 212265 h 219409"/>
                  <a:gd name="connsiteX16" fmla="*/ 457200 w 1116840"/>
                  <a:gd name="connsiteY16" fmla="*/ 219409 h 219409"/>
                  <a:gd name="connsiteX17" fmla="*/ 604838 w 1116840"/>
                  <a:gd name="connsiteY17" fmla="*/ 217027 h 219409"/>
                  <a:gd name="connsiteX18" fmla="*/ 623888 w 1116840"/>
                  <a:gd name="connsiteY18" fmla="*/ 212265 h 219409"/>
                  <a:gd name="connsiteX19" fmla="*/ 676275 w 1116840"/>
                  <a:gd name="connsiteY19" fmla="*/ 209884 h 219409"/>
                  <a:gd name="connsiteX20" fmla="*/ 697707 w 1116840"/>
                  <a:gd name="connsiteY20" fmla="*/ 205121 h 219409"/>
                  <a:gd name="connsiteX21" fmla="*/ 707232 w 1116840"/>
                  <a:gd name="connsiteY21" fmla="*/ 202740 h 219409"/>
                  <a:gd name="connsiteX22" fmla="*/ 797719 w 1116840"/>
                  <a:gd name="connsiteY22" fmla="*/ 200359 h 219409"/>
                  <a:gd name="connsiteX23" fmla="*/ 823913 w 1116840"/>
                  <a:gd name="connsiteY23" fmla="*/ 193215 h 219409"/>
                  <a:gd name="connsiteX24" fmla="*/ 842963 w 1116840"/>
                  <a:gd name="connsiteY24" fmla="*/ 188452 h 219409"/>
                  <a:gd name="connsiteX25" fmla="*/ 866775 w 1116840"/>
                  <a:gd name="connsiteY25" fmla="*/ 186071 h 219409"/>
                  <a:gd name="connsiteX26" fmla="*/ 940594 w 1116840"/>
                  <a:gd name="connsiteY26" fmla="*/ 181309 h 219409"/>
                  <a:gd name="connsiteX27" fmla="*/ 971550 w 1116840"/>
                  <a:gd name="connsiteY27" fmla="*/ 178927 h 219409"/>
                  <a:gd name="connsiteX28" fmla="*/ 992982 w 1116840"/>
                  <a:gd name="connsiteY28" fmla="*/ 174165 h 219409"/>
                  <a:gd name="connsiteX29" fmla="*/ 1007269 w 1116840"/>
                  <a:gd name="connsiteY29" fmla="*/ 171784 h 219409"/>
                  <a:gd name="connsiteX30" fmla="*/ 1035844 w 1116840"/>
                  <a:gd name="connsiteY30" fmla="*/ 164640 h 219409"/>
                  <a:gd name="connsiteX31" fmla="*/ 1052513 w 1116840"/>
                  <a:gd name="connsiteY31" fmla="*/ 155115 h 219409"/>
                  <a:gd name="connsiteX32" fmla="*/ 1083469 w 1116840"/>
                  <a:gd name="connsiteY32" fmla="*/ 143209 h 219409"/>
                  <a:gd name="connsiteX33" fmla="*/ 1090613 w 1116840"/>
                  <a:gd name="connsiteY33" fmla="*/ 136065 h 219409"/>
                  <a:gd name="connsiteX34" fmla="*/ 1100138 w 1116840"/>
                  <a:gd name="connsiteY34" fmla="*/ 131302 h 219409"/>
                  <a:gd name="connsiteX35" fmla="*/ 1107282 w 1116840"/>
                  <a:gd name="connsiteY35" fmla="*/ 126540 h 219409"/>
                  <a:gd name="connsiteX36" fmla="*/ 1116807 w 1116840"/>
                  <a:gd name="connsiteY36" fmla="*/ 107490 h 219409"/>
                  <a:gd name="connsiteX37" fmla="*/ 1114425 w 1116840"/>
                  <a:gd name="connsiteY37" fmla="*/ 97965 h 219409"/>
                  <a:gd name="connsiteX38" fmla="*/ 1054894 w 1116840"/>
                  <a:gd name="connsiteY38" fmla="*/ 74152 h 219409"/>
                  <a:gd name="connsiteX39" fmla="*/ 1047750 w 1116840"/>
                  <a:gd name="connsiteY39" fmla="*/ 71771 h 219409"/>
                  <a:gd name="connsiteX40" fmla="*/ 1038225 w 1116840"/>
                  <a:gd name="connsiteY40" fmla="*/ 67009 h 219409"/>
                  <a:gd name="connsiteX41" fmla="*/ 1026319 w 1116840"/>
                  <a:gd name="connsiteY41" fmla="*/ 62246 h 219409"/>
                  <a:gd name="connsiteX42" fmla="*/ 995363 w 1116840"/>
                  <a:gd name="connsiteY42" fmla="*/ 57484 h 219409"/>
                  <a:gd name="connsiteX43" fmla="*/ 966788 w 1116840"/>
                  <a:gd name="connsiteY43" fmla="*/ 47959 h 219409"/>
                  <a:gd name="connsiteX44" fmla="*/ 947738 w 1116840"/>
                  <a:gd name="connsiteY44" fmla="*/ 40815 h 219409"/>
                  <a:gd name="connsiteX45" fmla="*/ 857250 w 1116840"/>
                  <a:gd name="connsiteY45" fmla="*/ 33671 h 219409"/>
                  <a:gd name="connsiteX46" fmla="*/ 812007 w 1116840"/>
                  <a:gd name="connsiteY46" fmla="*/ 26527 h 219409"/>
                  <a:gd name="connsiteX47" fmla="*/ 800100 w 1116840"/>
                  <a:gd name="connsiteY47" fmla="*/ 24146 h 219409"/>
                  <a:gd name="connsiteX48" fmla="*/ 790575 w 1116840"/>
                  <a:gd name="connsiteY48" fmla="*/ 21765 h 219409"/>
                  <a:gd name="connsiteX49" fmla="*/ 702469 w 1116840"/>
                  <a:gd name="connsiteY49" fmla="*/ 19384 h 219409"/>
                  <a:gd name="connsiteX50" fmla="*/ 559594 w 1116840"/>
                  <a:gd name="connsiteY50" fmla="*/ 12240 h 219409"/>
                  <a:gd name="connsiteX51" fmla="*/ 350044 w 1116840"/>
                  <a:gd name="connsiteY51" fmla="*/ 9859 h 219409"/>
                  <a:gd name="connsiteX52" fmla="*/ 338138 w 1116840"/>
                  <a:gd name="connsiteY52" fmla="*/ 14621 h 219409"/>
                  <a:gd name="connsiteX53" fmla="*/ 295275 w 1116840"/>
                  <a:gd name="connsiteY53" fmla="*/ 19384 h 219409"/>
                  <a:gd name="connsiteX54" fmla="*/ 278607 w 1116840"/>
                  <a:gd name="connsiteY54" fmla="*/ 21765 h 219409"/>
                  <a:gd name="connsiteX55" fmla="*/ 269082 w 1116840"/>
                  <a:gd name="connsiteY55" fmla="*/ 24146 h 219409"/>
                  <a:gd name="connsiteX56" fmla="*/ 238125 w 1116840"/>
                  <a:gd name="connsiteY56" fmla="*/ 26527 h 219409"/>
                  <a:gd name="connsiteX57" fmla="*/ 216694 w 1116840"/>
                  <a:gd name="connsiteY57" fmla="*/ 33671 h 219409"/>
                  <a:gd name="connsiteX58" fmla="*/ 195263 w 1116840"/>
                  <a:gd name="connsiteY58" fmla="*/ 38434 h 219409"/>
                  <a:gd name="connsiteX59" fmla="*/ 183357 w 1116840"/>
                  <a:gd name="connsiteY59" fmla="*/ 40815 h 219409"/>
                  <a:gd name="connsiteX60" fmla="*/ 147638 w 1116840"/>
                  <a:gd name="connsiteY60" fmla="*/ 50340 h 219409"/>
                  <a:gd name="connsiteX61" fmla="*/ 128588 w 1116840"/>
                  <a:gd name="connsiteY61" fmla="*/ 57484 h 219409"/>
                  <a:gd name="connsiteX62" fmla="*/ 109538 w 1116840"/>
                  <a:gd name="connsiteY62" fmla="*/ 62246 h 219409"/>
                  <a:gd name="connsiteX63" fmla="*/ 97632 w 1116840"/>
                  <a:gd name="connsiteY63" fmla="*/ 67009 h 219409"/>
                  <a:gd name="connsiteX64" fmla="*/ 80963 w 1116840"/>
                  <a:gd name="connsiteY64" fmla="*/ 69390 h 219409"/>
                  <a:gd name="connsiteX65" fmla="*/ 54769 w 1116840"/>
                  <a:gd name="connsiteY65" fmla="*/ 74152 h 219409"/>
                  <a:gd name="connsiteX66" fmla="*/ 47625 w 1116840"/>
                  <a:gd name="connsiteY66" fmla="*/ 76534 h 219409"/>
                  <a:gd name="connsiteX67" fmla="*/ 23813 w 1116840"/>
                  <a:gd name="connsiteY67" fmla="*/ 83677 h 219409"/>
                  <a:gd name="connsiteX68" fmla="*/ 9525 w 1116840"/>
                  <a:gd name="connsiteY68" fmla="*/ 93202 h 219409"/>
                  <a:gd name="connsiteX69" fmla="*/ 0 w 1116840"/>
                  <a:gd name="connsiteY69" fmla="*/ 117015 h 219409"/>
                  <a:gd name="connsiteX70" fmla="*/ 11907 w 1116840"/>
                  <a:gd name="connsiteY70" fmla="*/ 124159 h 21940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800100 w 1116840"/>
                  <a:gd name="connsiteY47" fmla="*/ 11906 h 207169"/>
                  <a:gd name="connsiteX48" fmla="*/ 790575 w 1116840"/>
                  <a:gd name="connsiteY48" fmla="*/ 9525 h 207169"/>
                  <a:gd name="connsiteX49" fmla="*/ 702469 w 1116840"/>
                  <a:gd name="connsiteY49" fmla="*/ 7144 h 207169"/>
                  <a:gd name="connsiteX50" fmla="*/ 559594 w 1116840"/>
                  <a:gd name="connsiteY50" fmla="*/ 0 h 207169"/>
                  <a:gd name="connsiteX51" fmla="*/ 338138 w 1116840"/>
                  <a:gd name="connsiteY51" fmla="*/ 2381 h 207169"/>
                  <a:gd name="connsiteX52" fmla="*/ 295275 w 1116840"/>
                  <a:gd name="connsiteY52" fmla="*/ 7144 h 207169"/>
                  <a:gd name="connsiteX53" fmla="*/ 278607 w 1116840"/>
                  <a:gd name="connsiteY53" fmla="*/ 9525 h 207169"/>
                  <a:gd name="connsiteX54" fmla="*/ 269082 w 1116840"/>
                  <a:gd name="connsiteY54" fmla="*/ 11906 h 207169"/>
                  <a:gd name="connsiteX55" fmla="*/ 238125 w 1116840"/>
                  <a:gd name="connsiteY55" fmla="*/ 14287 h 207169"/>
                  <a:gd name="connsiteX56" fmla="*/ 216694 w 1116840"/>
                  <a:gd name="connsiteY56" fmla="*/ 21431 h 207169"/>
                  <a:gd name="connsiteX57" fmla="*/ 195263 w 1116840"/>
                  <a:gd name="connsiteY57" fmla="*/ 26194 h 207169"/>
                  <a:gd name="connsiteX58" fmla="*/ 183357 w 1116840"/>
                  <a:gd name="connsiteY58" fmla="*/ 28575 h 207169"/>
                  <a:gd name="connsiteX59" fmla="*/ 147638 w 1116840"/>
                  <a:gd name="connsiteY59" fmla="*/ 38100 h 207169"/>
                  <a:gd name="connsiteX60" fmla="*/ 128588 w 1116840"/>
                  <a:gd name="connsiteY60" fmla="*/ 45244 h 207169"/>
                  <a:gd name="connsiteX61" fmla="*/ 109538 w 1116840"/>
                  <a:gd name="connsiteY61" fmla="*/ 50006 h 207169"/>
                  <a:gd name="connsiteX62" fmla="*/ 97632 w 1116840"/>
                  <a:gd name="connsiteY62" fmla="*/ 54769 h 207169"/>
                  <a:gd name="connsiteX63" fmla="*/ 80963 w 1116840"/>
                  <a:gd name="connsiteY63" fmla="*/ 57150 h 207169"/>
                  <a:gd name="connsiteX64" fmla="*/ 54769 w 1116840"/>
                  <a:gd name="connsiteY64" fmla="*/ 61912 h 207169"/>
                  <a:gd name="connsiteX65" fmla="*/ 47625 w 1116840"/>
                  <a:gd name="connsiteY65" fmla="*/ 64294 h 207169"/>
                  <a:gd name="connsiteX66" fmla="*/ 23813 w 1116840"/>
                  <a:gd name="connsiteY66" fmla="*/ 71437 h 207169"/>
                  <a:gd name="connsiteX67" fmla="*/ 9525 w 1116840"/>
                  <a:gd name="connsiteY67" fmla="*/ 80962 h 207169"/>
                  <a:gd name="connsiteX68" fmla="*/ 0 w 1116840"/>
                  <a:gd name="connsiteY68" fmla="*/ 104775 h 207169"/>
                  <a:gd name="connsiteX69" fmla="*/ 11907 w 1116840"/>
                  <a:gd name="connsiteY69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790575 w 1116840"/>
                  <a:gd name="connsiteY47" fmla="*/ 9525 h 207169"/>
                  <a:gd name="connsiteX48" fmla="*/ 702469 w 1116840"/>
                  <a:gd name="connsiteY48" fmla="*/ 7144 h 207169"/>
                  <a:gd name="connsiteX49" fmla="*/ 559594 w 1116840"/>
                  <a:gd name="connsiteY49" fmla="*/ 0 h 207169"/>
                  <a:gd name="connsiteX50" fmla="*/ 338138 w 1116840"/>
                  <a:gd name="connsiteY50" fmla="*/ 2381 h 207169"/>
                  <a:gd name="connsiteX51" fmla="*/ 295275 w 1116840"/>
                  <a:gd name="connsiteY51" fmla="*/ 7144 h 207169"/>
                  <a:gd name="connsiteX52" fmla="*/ 278607 w 1116840"/>
                  <a:gd name="connsiteY52" fmla="*/ 9525 h 207169"/>
                  <a:gd name="connsiteX53" fmla="*/ 269082 w 1116840"/>
                  <a:gd name="connsiteY53" fmla="*/ 11906 h 207169"/>
                  <a:gd name="connsiteX54" fmla="*/ 238125 w 1116840"/>
                  <a:gd name="connsiteY54" fmla="*/ 14287 h 207169"/>
                  <a:gd name="connsiteX55" fmla="*/ 216694 w 1116840"/>
                  <a:gd name="connsiteY55" fmla="*/ 21431 h 207169"/>
                  <a:gd name="connsiteX56" fmla="*/ 195263 w 1116840"/>
                  <a:gd name="connsiteY56" fmla="*/ 26194 h 207169"/>
                  <a:gd name="connsiteX57" fmla="*/ 183357 w 1116840"/>
                  <a:gd name="connsiteY57" fmla="*/ 28575 h 207169"/>
                  <a:gd name="connsiteX58" fmla="*/ 147638 w 1116840"/>
                  <a:gd name="connsiteY58" fmla="*/ 38100 h 207169"/>
                  <a:gd name="connsiteX59" fmla="*/ 128588 w 1116840"/>
                  <a:gd name="connsiteY59" fmla="*/ 45244 h 207169"/>
                  <a:gd name="connsiteX60" fmla="*/ 109538 w 1116840"/>
                  <a:gd name="connsiteY60" fmla="*/ 50006 h 207169"/>
                  <a:gd name="connsiteX61" fmla="*/ 97632 w 1116840"/>
                  <a:gd name="connsiteY61" fmla="*/ 54769 h 207169"/>
                  <a:gd name="connsiteX62" fmla="*/ 80963 w 1116840"/>
                  <a:gd name="connsiteY62" fmla="*/ 57150 h 207169"/>
                  <a:gd name="connsiteX63" fmla="*/ 54769 w 1116840"/>
                  <a:gd name="connsiteY63" fmla="*/ 61912 h 207169"/>
                  <a:gd name="connsiteX64" fmla="*/ 47625 w 1116840"/>
                  <a:gd name="connsiteY64" fmla="*/ 64294 h 207169"/>
                  <a:gd name="connsiteX65" fmla="*/ 23813 w 1116840"/>
                  <a:gd name="connsiteY65" fmla="*/ 71437 h 207169"/>
                  <a:gd name="connsiteX66" fmla="*/ 9525 w 1116840"/>
                  <a:gd name="connsiteY66" fmla="*/ 80962 h 207169"/>
                  <a:gd name="connsiteX67" fmla="*/ 0 w 1116840"/>
                  <a:gd name="connsiteY67" fmla="*/ 104775 h 207169"/>
                  <a:gd name="connsiteX68" fmla="*/ 11907 w 1116840"/>
                  <a:gd name="connsiteY68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790575 w 1116840"/>
                  <a:gd name="connsiteY46" fmla="*/ 9525 h 207169"/>
                  <a:gd name="connsiteX47" fmla="*/ 702469 w 1116840"/>
                  <a:gd name="connsiteY47" fmla="*/ 7144 h 207169"/>
                  <a:gd name="connsiteX48" fmla="*/ 559594 w 1116840"/>
                  <a:gd name="connsiteY48" fmla="*/ 0 h 207169"/>
                  <a:gd name="connsiteX49" fmla="*/ 338138 w 1116840"/>
                  <a:gd name="connsiteY49" fmla="*/ 2381 h 207169"/>
                  <a:gd name="connsiteX50" fmla="*/ 295275 w 1116840"/>
                  <a:gd name="connsiteY50" fmla="*/ 7144 h 207169"/>
                  <a:gd name="connsiteX51" fmla="*/ 278607 w 1116840"/>
                  <a:gd name="connsiteY51" fmla="*/ 9525 h 207169"/>
                  <a:gd name="connsiteX52" fmla="*/ 269082 w 1116840"/>
                  <a:gd name="connsiteY52" fmla="*/ 11906 h 207169"/>
                  <a:gd name="connsiteX53" fmla="*/ 238125 w 1116840"/>
                  <a:gd name="connsiteY53" fmla="*/ 14287 h 207169"/>
                  <a:gd name="connsiteX54" fmla="*/ 216694 w 1116840"/>
                  <a:gd name="connsiteY54" fmla="*/ 21431 h 207169"/>
                  <a:gd name="connsiteX55" fmla="*/ 195263 w 1116840"/>
                  <a:gd name="connsiteY55" fmla="*/ 26194 h 207169"/>
                  <a:gd name="connsiteX56" fmla="*/ 183357 w 1116840"/>
                  <a:gd name="connsiteY56" fmla="*/ 28575 h 207169"/>
                  <a:gd name="connsiteX57" fmla="*/ 147638 w 1116840"/>
                  <a:gd name="connsiteY57" fmla="*/ 38100 h 207169"/>
                  <a:gd name="connsiteX58" fmla="*/ 128588 w 1116840"/>
                  <a:gd name="connsiteY58" fmla="*/ 45244 h 207169"/>
                  <a:gd name="connsiteX59" fmla="*/ 109538 w 1116840"/>
                  <a:gd name="connsiteY59" fmla="*/ 50006 h 207169"/>
                  <a:gd name="connsiteX60" fmla="*/ 97632 w 1116840"/>
                  <a:gd name="connsiteY60" fmla="*/ 54769 h 207169"/>
                  <a:gd name="connsiteX61" fmla="*/ 80963 w 1116840"/>
                  <a:gd name="connsiteY61" fmla="*/ 57150 h 207169"/>
                  <a:gd name="connsiteX62" fmla="*/ 54769 w 1116840"/>
                  <a:gd name="connsiteY62" fmla="*/ 61912 h 207169"/>
                  <a:gd name="connsiteX63" fmla="*/ 47625 w 1116840"/>
                  <a:gd name="connsiteY63" fmla="*/ 64294 h 207169"/>
                  <a:gd name="connsiteX64" fmla="*/ 23813 w 1116840"/>
                  <a:gd name="connsiteY64" fmla="*/ 71437 h 207169"/>
                  <a:gd name="connsiteX65" fmla="*/ 9525 w 1116840"/>
                  <a:gd name="connsiteY65" fmla="*/ 80962 h 207169"/>
                  <a:gd name="connsiteX66" fmla="*/ 0 w 1116840"/>
                  <a:gd name="connsiteY66" fmla="*/ 104775 h 207169"/>
                  <a:gd name="connsiteX67" fmla="*/ 11907 w 1116840"/>
                  <a:gd name="connsiteY67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857250 w 1116840"/>
                  <a:gd name="connsiteY44" fmla="*/ 21431 h 207169"/>
                  <a:gd name="connsiteX45" fmla="*/ 790575 w 1116840"/>
                  <a:gd name="connsiteY45" fmla="*/ 9525 h 207169"/>
                  <a:gd name="connsiteX46" fmla="*/ 702469 w 1116840"/>
                  <a:gd name="connsiteY46" fmla="*/ 7144 h 207169"/>
                  <a:gd name="connsiteX47" fmla="*/ 559594 w 1116840"/>
                  <a:gd name="connsiteY47" fmla="*/ 0 h 207169"/>
                  <a:gd name="connsiteX48" fmla="*/ 338138 w 1116840"/>
                  <a:gd name="connsiteY48" fmla="*/ 2381 h 207169"/>
                  <a:gd name="connsiteX49" fmla="*/ 295275 w 1116840"/>
                  <a:gd name="connsiteY49" fmla="*/ 7144 h 207169"/>
                  <a:gd name="connsiteX50" fmla="*/ 278607 w 1116840"/>
                  <a:gd name="connsiteY50" fmla="*/ 9525 h 207169"/>
                  <a:gd name="connsiteX51" fmla="*/ 269082 w 1116840"/>
                  <a:gd name="connsiteY51" fmla="*/ 11906 h 207169"/>
                  <a:gd name="connsiteX52" fmla="*/ 238125 w 1116840"/>
                  <a:gd name="connsiteY52" fmla="*/ 14287 h 207169"/>
                  <a:gd name="connsiteX53" fmla="*/ 216694 w 1116840"/>
                  <a:gd name="connsiteY53" fmla="*/ 21431 h 207169"/>
                  <a:gd name="connsiteX54" fmla="*/ 195263 w 1116840"/>
                  <a:gd name="connsiteY54" fmla="*/ 26194 h 207169"/>
                  <a:gd name="connsiteX55" fmla="*/ 183357 w 1116840"/>
                  <a:gd name="connsiteY55" fmla="*/ 28575 h 207169"/>
                  <a:gd name="connsiteX56" fmla="*/ 147638 w 1116840"/>
                  <a:gd name="connsiteY56" fmla="*/ 38100 h 207169"/>
                  <a:gd name="connsiteX57" fmla="*/ 128588 w 1116840"/>
                  <a:gd name="connsiteY57" fmla="*/ 45244 h 207169"/>
                  <a:gd name="connsiteX58" fmla="*/ 109538 w 1116840"/>
                  <a:gd name="connsiteY58" fmla="*/ 50006 h 207169"/>
                  <a:gd name="connsiteX59" fmla="*/ 97632 w 1116840"/>
                  <a:gd name="connsiteY59" fmla="*/ 54769 h 207169"/>
                  <a:gd name="connsiteX60" fmla="*/ 80963 w 1116840"/>
                  <a:gd name="connsiteY60" fmla="*/ 57150 h 207169"/>
                  <a:gd name="connsiteX61" fmla="*/ 54769 w 1116840"/>
                  <a:gd name="connsiteY61" fmla="*/ 61912 h 207169"/>
                  <a:gd name="connsiteX62" fmla="*/ 47625 w 1116840"/>
                  <a:gd name="connsiteY62" fmla="*/ 64294 h 207169"/>
                  <a:gd name="connsiteX63" fmla="*/ 23813 w 1116840"/>
                  <a:gd name="connsiteY63" fmla="*/ 71437 h 207169"/>
                  <a:gd name="connsiteX64" fmla="*/ 9525 w 1116840"/>
                  <a:gd name="connsiteY64" fmla="*/ 80962 h 207169"/>
                  <a:gd name="connsiteX65" fmla="*/ 0 w 1116840"/>
                  <a:gd name="connsiteY65" fmla="*/ 104775 h 207169"/>
                  <a:gd name="connsiteX66" fmla="*/ 11907 w 1116840"/>
                  <a:gd name="connsiteY66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66788 w 1116840"/>
                  <a:gd name="connsiteY42" fmla="*/ 35719 h 207169"/>
                  <a:gd name="connsiteX43" fmla="*/ 857250 w 1116840"/>
                  <a:gd name="connsiteY43" fmla="*/ 21431 h 207169"/>
                  <a:gd name="connsiteX44" fmla="*/ 790575 w 1116840"/>
                  <a:gd name="connsiteY44" fmla="*/ 9525 h 207169"/>
                  <a:gd name="connsiteX45" fmla="*/ 702469 w 1116840"/>
                  <a:gd name="connsiteY45" fmla="*/ 7144 h 207169"/>
                  <a:gd name="connsiteX46" fmla="*/ 559594 w 1116840"/>
                  <a:gd name="connsiteY46" fmla="*/ 0 h 207169"/>
                  <a:gd name="connsiteX47" fmla="*/ 338138 w 1116840"/>
                  <a:gd name="connsiteY47" fmla="*/ 2381 h 207169"/>
                  <a:gd name="connsiteX48" fmla="*/ 295275 w 1116840"/>
                  <a:gd name="connsiteY48" fmla="*/ 7144 h 207169"/>
                  <a:gd name="connsiteX49" fmla="*/ 278607 w 1116840"/>
                  <a:gd name="connsiteY49" fmla="*/ 9525 h 207169"/>
                  <a:gd name="connsiteX50" fmla="*/ 269082 w 1116840"/>
                  <a:gd name="connsiteY50" fmla="*/ 11906 h 207169"/>
                  <a:gd name="connsiteX51" fmla="*/ 238125 w 1116840"/>
                  <a:gd name="connsiteY51" fmla="*/ 14287 h 207169"/>
                  <a:gd name="connsiteX52" fmla="*/ 216694 w 1116840"/>
                  <a:gd name="connsiteY52" fmla="*/ 21431 h 207169"/>
                  <a:gd name="connsiteX53" fmla="*/ 195263 w 1116840"/>
                  <a:gd name="connsiteY53" fmla="*/ 26194 h 207169"/>
                  <a:gd name="connsiteX54" fmla="*/ 183357 w 1116840"/>
                  <a:gd name="connsiteY54" fmla="*/ 28575 h 207169"/>
                  <a:gd name="connsiteX55" fmla="*/ 147638 w 1116840"/>
                  <a:gd name="connsiteY55" fmla="*/ 38100 h 207169"/>
                  <a:gd name="connsiteX56" fmla="*/ 128588 w 1116840"/>
                  <a:gd name="connsiteY56" fmla="*/ 45244 h 207169"/>
                  <a:gd name="connsiteX57" fmla="*/ 109538 w 1116840"/>
                  <a:gd name="connsiteY57" fmla="*/ 50006 h 207169"/>
                  <a:gd name="connsiteX58" fmla="*/ 97632 w 1116840"/>
                  <a:gd name="connsiteY58" fmla="*/ 54769 h 207169"/>
                  <a:gd name="connsiteX59" fmla="*/ 80963 w 1116840"/>
                  <a:gd name="connsiteY59" fmla="*/ 57150 h 207169"/>
                  <a:gd name="connsiteX60" fmla="*/ 54769 w 1116840"/>
                  <a:gd name="connsiteY60" fmla="*/ 61912 h 207169"/>
                  <a:gd name="connsiteX61" fmla="*/ 47625 w 1116840"/>
                  <a:gd name="connsiteY61" fmla="*/ 64294 h 207169"/>
                  <a:gd name="connsiteX62" fmla="*/ 23813 w 1116840"/>
                  <a:gd name="connsiteY62" fmla="*/ 71437 h 207169"/>
                  <a:gd name="connsiteX63" fmla="*/ 9525 w 1116840"/>
                  <a:gd name="connsiteY63" fmla="*/ 80962 h 207169"/>
                  <a:gd name="connsiteX64" fmla="*/ 0 w 1116840"/>
                  <a:gd name="connsiteY64" fmla="*/ 104775 h 207169"/>
                  <a:gd name="connsiteX65" fmla="*/ 11907 w 1116840"/>
                  <a:gd name="connsiteY65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966788 w 1116840"/>
                  <a:gd name="connsiteY41" fmla="*/ 35719 h 207169"/>
                  <a:gd name="connsiteX42" fmla="*/ 857250 w 1116840"/>
                  <a:gd name="connsiteY42" fmla="*/ 21431 h 207169"/>
                  <a:gd name="connsiteX43" fmla="*/ 790575 w 1116840"/>
                  <a:gd name="connsiteY43" fmla="*/ 9525 h 207169"/>
                  <a:gd name="connsiteX44" fmla="*/ 702469 w 1116840"/>
                  <a:gd name="connsiteY44" fmla="*/ 7144 h 207169"/>
                  <a:gd name="connsiteX45" fmla="*/ 559594 w 1116840"/>
                  <a:gd name="connsiteY45" fmla="*/ 0 h 207169"/>
                  <a:gd name="connsiteX46" fmla="*/ 338138 w 1116840"/>
                  <a:gd name="connsiteY46" fmla="*/ 2381 h 207169"/>
                  <a:gd name="connsiteX47" fmla="*/ 295275 w 1116840"/>
                  <a:gd name="connsiteY47" fmla="*/ 7144 h 207169"/>
                  <a:gd name="connsiteX48" fmla="*/ 278607 w 1116840"/>
                  <a:gd name="connsiteY48" fmla="*/ 9525 h 207169"/>
                  <a:gd name="connsiteX49" fmla="*/ 269082 w 1116840"/>
                  <a:gd name="connsiteY49" fmla="*/ 11906 h 207169"/>
                  <a:gd name="connsiteX50" fmla="*/ 238125 w 1116840"/>
                  <a:gd name="connsiteY50" fmla="*/ 14287 h 207169"/>
                  <a:gd name="connsiteX51" fmla="*/ 216694 w 1116840"/>
                  <a:gd name="connsiteY51" fmla="*/ 21431 h 207169"/>
                  <a:gd name="connsiteX52" fmla="*/ 195263 w 1116840"/>
                  <a:gd name="connsiteY52" fmla="*/ 26194 h 207169"/>
                  <a:gd name="connsiteX53" fmla="*/ 183357 w 1116840"/>
                  <a:gd name="connsiteY53" fmla="*/ 28575 h 207169"/>
                  <a:gd name="connsiteX54" fmla="*/ 147638 w 1116840"/>
                  <a:gd name="connsiteY54" fmla="*/ 38100 h 207169"/>
                  <a:gd name="connsiteX55" fmla="*/ 128588 w 1116840"/>
                  <a:gd name="connsiteY55" fmla="*/ 45244 h 207169"/>
                  <a:gd name="connsiteX56" fmla="*/ 109538 w 1116840"/>
                  <a:gd name="connsiteY56" fmla="*/ 50006 h 207169"/>
                  <a:gd name="connsiteX57" fmla="*/ 97632 w 1116840"/>
                  <a:gd name="connsiteY57" fmla="*/ 54769 h 207169"/>
                  <a:gd name="connsiteX58" fmla="*/ 80963 w 1116840"/>
                  <a:gd name="connsiteY58" fmla="*/ 57150 h 207169"/>
                  <a:gd name="connsiteX59" fmla="*/ 54769 w 1116840"/>
                  <a:gd name="connsiteY59" fmla="*/ 61912 h 207169"/>
                  <a:gd name="connsiteX60" fmla="*/ 47625 w 1116840"/>
                  <a:gd name="connsiteY60" fmla="*/ 64294 h 207169"/>
                  <a:gd name="connsiteX61" fmla="*/ 23813 w 1116840"/>
                  <a:gd name="connsiteY61" fmla="*/ 71437 h 207169"/>
                  <a:gd name="connsiteX62" fmla="*/ 9525 w 1116840"/>
                  <a:gd name="connsiteY62" fmla="*/ 80962 h 207169"/>
                  <a:gd name="connsiteX63" fmla="*/ 0 w 1116840"/>
                  <a:gd name="connsiteY63" fmla="*/ 104775 h 207169"/>
                  <a:gd name="connsiteX64" fmla="*/ 11907 w 1116840"/>
                  <a:gd name="connsiteY64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966788 w 1116840"/>
                  <a:gd name="connsiteY40" fmla="*/ 35719 h 207169"/>
                  <a:gd name="connsiteX41" fmla="*/ 857250 w 1116840"/>
                  <a:gd name="connsiteY41" fmla="*/ 21431 h 207169"/>
                  <a:gd name="connsiteX42" fmla="*/ 790575 w 1116840"/>
                  <a:gd name="connsiteY42" fmla="*/ 9525 h 207169"/>
                  <a:gd name="connsiteX43" fmla="*/ 702469 w 1116840"/>
                  <a:gd name="connsiteY43" fmla="*/ 7144 h 207169"/>
                  <a:gd name="connsiteX44" fmla="*/ 559594 w 1116840"/>
                  <a:gd name="connsiteY44" fmla="*/ 0 h 207169"/>
                  <a:gd name="connsiteX45" fmla="*/ 338138 w 1116840"/>
                  <a:gd name="connsiteY45" fmla="*/ 2381 h 207169"/>
                  <a:gd name="connsiteX46" fmla="*/ 295275 w 1116840"/>
                  <a:gd name="connsiteY46" fmla="*/ 7144 h 207169"/>
                  <a:gd name="connsiteX47" fmla="*/ 278607 w 1116840"/>
                  <a:gd name="connsiteY47" fmla="*/ 9525 h 207169"/>
                  <a:gd name="connsiteX48" fmla="*/ 269082 w 1116840"/>
                  <a:gd name="connsiteY48" fmla="*/ 11906 h 207169"/>
                  <a:gd name="connsiteX49" fmla="*/ 238125 w 1116840"/>
                  <a:gd name="connsiteY49" fmla="*/ 14287 h 207169"/>
                  <a:gd name="connsiteX50" fmla="*/ 216694 w 1116840"/>
                  <a:gd name="connsiteY50" fmla="*/ 21431 h 207169"/>
                  <a:gd name="connsiteX51" fmla="*/ 195263 w 1116840"/>
                  <a:gd name="connsiteY51" fmla="*/ 26194 h 207169"/>
                  <a:gd name="connsiteX52" fmla="*/ 183357 w 1116840"/>
                  <a:gd name="connsiteY52" fmla="*/ 28575 h 207169"/>
                  <a:gd name="connsiteX53" fmla="*/ 147638 w 1116840"/>
                  <a:gd name="connsiteY53" fmla="*/ 38100 h 207169"/>
                  <a:gd name="connsiteX54" fmla="*/ 128588 w 1116840"/>
                  <a:gd name="connsiteY54" fmla="*/ 45244 h 207169"/>
                  <a:gd name="connsiteX55" fmla="*/ 109538 w 1116840"/>
                  <a:gd name="connsiteY55" fmla="*/ 50006 h 207169"/>
                  <a:gd name="connsiteX56" fmla="*/ 97632 w 1116840"/>
                  <a:gd name="connsiteY56" fmla="*/ 54769 h 207169"/>
                  <a:gd name="connsiteX57" fmla="*/ 80963 w 1116840"/>
                  <a:gd name="connsiteY57" fmla="*/ 57150 h 207169"/>
                  <a:gd name="connsiteX58" fmla="*/ 54769 w 1116840"/>
                  <a:gd name="connsiteY58" fmla="*/ 61912 h 207169"/>
                  <a:gd name="connsiteX59" fmla="*/ 47625 w 1116840"/>
                  <a:gd name="connsiteY59" fmla="*/ 64294 h 207169"/>
                  <a:gd name="connsiteX60" fmla="*/ 23813 w 1116840"/>
                  <a:gd name="connsiteY60" fmla="*/ 71437 h 207169"/>
                  <a:gd name="connsiteX61" fmla="*/ 9525 w 1116840"/>
                  <a:gd name="connsiteY61" fmla="*/ 80962 h 207169"/>
                  <a:gd name="connsiteX62" fmla="*/ 0 w 1116840"/>
                  <a:gd name="connsiteY62" fmla="*/ 104775 h 207169"/>
                  <a:gd name="connsiteX63" fmla="*/ 11907 w 1116840"/>
                  <a:gd name="connsiteY63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966788 w 1116840"/>
                  <a:gd name="connsiteY39" fmla="*/ 35719 h 207169"/>
                  <a:gd name="connsiteX40" fmla="*/ 857250 w 1116840"/>
                  <a:gd name="connsiteY40" fmla="*/ 21431 h 207169"/>
                  <a:gd name="connsiteX41" fmla="*/ 790575 w 1116840"/>
                  <a:gd name="connsiteY41" fmla="*/ 9525 h 207169"/>
                  <a:gd name="connsiteX42" fmla="*/ 702469 w 1116840"/>
                  <a:gd name="connsiteY42" fmla="*/ 7144 h 207169"/>
                  <a:gd name="connsiteX43" fmla="*/ 559594 w 1116840"/>
                  <a:gd name="connsiteY43" fmla="*/ 0 h 207169"/>
                  <a:gd name="connsiteX44" fmla="*/ 338138 w 1116840"/>
                  <a:gd name="connsiteY44" fmla="*/ 2381 h 207169"/>
                  <a:gd name="connsiteX45" fmla="*/ 295275 w 1116840"/>
                  <a:gd name="connsiteY45" fmla="*/ 7144 h 207169"/>
                  <a:gd name="connsiteX46" fmla="*/ 278607 w 1116840"/>
                  <a:gd name="connsiteY46" fmla="*/ 9525 h 207169"/>
                  <a:gd name="connsiteX47" fmla="*/ 269082 w 1116840"/>
                  <a:gd name="connsiteY47" fmla="*/ 11906 h 207169"/>
                  <a:gd name="connsiteX48" fmla="*/ 238125 w 1116840"/>
                  <a:gd name="connsiteY48" fmla="*/ 14287 h 207169"/>
                  <a:gd name="connsiteX49" fmla="*/ 216694 w 1116840"/>
                  <a:gd name="connsiteY49" fmla="*/ 21431 h 207169"/>
                  <a:gd name="connsiteX50" fmla="*/ 195263 w 1116840"/>
                  <a:gd name="connsiteY50" fmla="*/ 26194 h 207169"/>
                  <a:gd name="connsiteX51" fmla="*/ 183357 w 1116840"/>
                  <a:gd name="connsiteY51" fmla="*/ 28575 h 207169"/>
                  <a:gd name="connsiteX52" fmla="*/ 147638 w 1116840"/>
                  <a:gd name="connsiteY52" fmla="*/ 38100 h 207169"/>
                  <a:gd name="connsiteX53" fmla="*/ 128588 w 1116840"/>
                  <a:gd name="connsiteY53" fmla="*/ 45244 h 207169"/>
                  <a:gd name="connsiteX54" fmla="*/ 109538 w 1116840"/>
                  <a:gd name="connsiteY54" fmla="*/ 50006 h 207169"/>
                  <a:gd name="connsiteX55" fmla="*/ 97632 w 1116840"/>
                  <a:gd name="connsiteY55" fmla="*/ 54769 h 207169"/>
                  <a:gd name="connsiteX56" fmla="*/ 80963 w 1116840"/>
                  <a:gd name="connsiteY56" fmla="*/ 57150 h 207169"/>
                  <a:gd name="connsiteX57" fmla="*/ 54769 w 1116840"/>
                  <a:gd name="connsiteY57" fmla="*/ 61912 h 207169"/>
                  <a:gd name="connsiteX58" fmla="*/ 47625 w 1116840"/>
                  <a:gd name="connsiteY58" fmla="*/ 64294 h 207169"/>
                  <a:gd name="connsiteX59" fmla="*/ 23813 w 1116840"/>
                  <a:gd name="connsiteY59" fmla="*/ 71437 h 207169"/>
                  <a:gd name="connsiteX60" fmla="*/ 9525 w 1116840"/>
                  <a:gd name="connsiteY60" fmla="*/ 80962 h 207169"/>
                  <a:gd name="connsiteX61" fmla="*/ 0 w 1116840"/>
                  <a:gd name="connsiteY61" fmla="*/ 104775 h 207169"/>
                  <a:gd name="connsiteX62" fmla="*/ 11907 w 1116840"/>
                  <a:gd name="connsiteY62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83469 w 1117890"/>
                  <a:gd name="connsiteY32" fmla="*/ 130969 h 207169"/>
                  <a:gd name="connsiteX33" fmla="*/ 1090613 w 1117890"/>
                  <a:gd name="connsiteY33" fmla="*/ 123825 h 207169"/>
                  <a:gd name="connsiteX34" fmla="*/ 1100138 w 1117890"/>
                  <a:gd name="connsiteY34" fmla="*/ 119062 h 207169"/>
                  <a:gd name="connsiteX35" fmla="*/ 1116807 w 1117890"/>
                  <a:gd name="connsiteY35" fmla="*/ 95250 h 207169"/>
                  <a:gd name="connsiteX36" fmla="*/ 1114425 w 1117890"/>
                  <a:gd name="connsiteY36" fmla="*/ 85725 h 207169"/>
                  <a:gd name="connsiteX37" fmla="*/ 1054894 w 1117890"/>
                  <a:gd name="connsiteY37" fmla="*/ 61912 h 207169"/>
                  <a:gd name="connsiteX38" fmla="*/ 966788 w 1117890"/>
                  <a:gd name="connsiteY38" fmla="*/ 35719 h 207169"/>
                  <a:gd name="connsiteX39" fmla="*/ 857250 w 1117890"/>
                  <a:gd name="connsiteY39" fmla="*/ 21431 h 207169"/>
                  <a:gd name="connsiteX40" fmla="*/ 790575 w 1117890"/>
                  <a:gd name="connsiteY40" fmla="*/ 9525 h 207169"/>
                  <a:gd name="connsiteX41" fmla="*/ 702469 w 1117890"/>
                  <a:gd name="connsiteY41" fmla="*/ 7144 h 207169"/>
                  <a:gd name="connsiteX42" fmla="*/ 559594 w 1117890"/>
                  <a:gd name="connsiteY42" fmla="*/ 0 h 207169"/>
                  <a:gd name="connsiteX43" fmla="*/ 338138 w 1117890"/>
                  <a:gd name="connsiteY43" fmla="*/ 2381 h 207169"/>
                  <a:gd name="connsiteX44" fmla="*/ 295275 w 1117890"/>
                  <a:gd name="connsiteY44" fmla="*/ 7144 h 207169"/>
                  <a:gd name="connsiteX45" fmla="*/ 278607 w 1117890"/>
                  <a:gd name="connsiteY45" fmla="*/ 9525 h 207169"/>
                  <a:gd name="connsiteX46" fmla="*/ 269082 w 1117890"/>
                  <a:gd name="connsiteY46" fmla="*/ 11906 h 207169"/>
                  <a:gd name="connsiteX47" fmla="*/ 238125 w 1117890"/>
                  <a:gd name="connsiteY47" fmla="*/ 14287 h 207169"/>
                  <a:gd name="connsiteX48" fmla="*/ 216694 w 1117890"/>
                  <a:gd name="connsiteY48" fmla="*/ 21431 h 207169"/>
                  <a:gd name="connsiteX49" fmla="*/ 195263 w 1117890"/>
                  <a:gd name="connsiteY49" fmla="*/ 26194 h 207169"/>
                  <a:gd name="connsiteX50" fmla="*/ 183357 w 1117890"/>
                  <a:gd name="connsiteY50" fmla="*/ 28575 h 207169"/>
                  <a:gd name="connsiteX51" fmla="*/ 147638 w 1117890"/>
                  <a:gd name="connsiteY51" fmla="*/ 38100 h 207169"/>
                  <a:gd name="connsiteX52" fmla="*/ 128588 w 1117890"/>
                  <a:gd name="connsiteY52" fmla="*/ 45244 h 207169"/>
                  <a:gd name="connsiteX53" fmla="*/ 109538 w 1117890"/>
                  <a:gd name="connsiteY53" fmla="*/ 50006 h 207169"/>
                  <a:gd name="connsiteX54" fmla="*/ 97632 w 1117890"/>
                  <a:gd name="connsiteY54" fmla="*/ 54769 h 207169"/>
                  <a:gd name="connsiteX55" fmla="*/ 80963 w 1117890"/>
                  <a:gd name="connsiteY55" fmla="*/ 57150 h 207169"/>
                  <a:gd name="connsiteX56" fmla="*/ 54769 w 1117890"/>
                  <a:gd name="connsiteY56" fmla="*/ 61912 h 207169"/>
                  <a:gd name="connsiteX57" fmla="*/ 47625 w 1117890"/>
                  <a:gd name="connsiteY57" fmla="*/ 64294 h 207169"/>
                  <a:gd name="connsiteX58" fmla="*/ 23813 w 1117890"/>
                  <a:gd name="connsiteY58" fmla="*/ 71437 h 207169"/>
                  <a:gd name="connsiteX59" fmla="*/ 9525 w 1117890"/>
                  <a:gd name="connsiteY59" fmla="*/ 80962 h 207169"/>
                  <a:gd name="connsiteX60" fmla="*/ 0 w 1117890"/>
                  <a:gd name="connsiteY60" fmla="*/ 104775 h 207169"/>
                  <a:gd name="connsiteX61" fmla="*/ 11907 w 1117890"/>
                  <a:gd name="connsiteY61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90613 w 1117890"/>
                  <a:gd name="connsiteY32" fmla="*/ 123825 h 207169"/>
                  <a:gd name="connsiteX33" fmla="*/ 1100138 w 1117890"/>
                  <a:gd name="connsiteY33" fmla="*/ 119062 h 207169"/>
                  <a:gd name="connsiteX34" fmla="*/ 1116807 w 1117890"/>
                  <a:gd name="connsiteY34" fmla="*/ 95250 h 207169"/>
                  <a:gd name="connsiteX35" fmla="*/ 1114425 w 1117890"/>
                  <a:gd name="connsiteY35" fmla="*/ 85725 h 207169"/>
                  <a:gd name="connsiteX36" fmla="*/ 1054894 w 1117890"/>
                  <a:gd name="connsiteY36" fmla="*/ 61912 h 207169"/>
                  <a:gd name="connsiteX37" fmla="*/ 966788 w 1117890"/>
                  <a:gd name="connsiteY37" fmla="*/ 35719 h 207169"/>
                  <a:gd name="connsiteX38" fmla="*/ 857250 w 1117890"/>
                  <a:gd name="connsiteY38" fmla="*/ 21431 h 207169"/>
                  <a:gd name="connsiteX39" fmla="*/ 790575 w 1117890"/>
                  <a:gd name="connsiteY39" fmla="*/ 9525 h 207169"/>
                  <a:gd name="connsiteX40" fmla="*/ 702469 w 1117890"/>
                  <a:gd name="connsiteY40" fmla="*/ 7144 h 207169"/>
                  <a:gd name="connsiteX41" fmla="*/ 559594 w 1117890"/>
                  <a:gd name="connsiteY41" fmla="*/ 0 h 207169"/>
                  <a:gd name="connsiteX42" fmla="*/ 338138 w 1117890"/>
                  <a:gd name="connsiteY42" fmla="*/ 2381 h 207169"/>
                  <a:gd name="connsiteX43" fmla="*/ 295275 w 1117890"/>
                  <a:gd name="connsiteY43" fmla="*/ 7144 h 207169"/>
                  <a:gd name="connsiteX44" fmla="*/ 278607 w 1117890"/>
                  <a:gd name="connsiteY44" fmla="*/ 9525 h 207169"/>
                  <a:gd name="connsiteX45" fmla="*/ 269082 w 1117890"/>
                  <a:gd name="connsiteY45" fmla="*/ 11906 h 207169"/>
                  <a:gd name="connsiteX46" fmla="*/ 238125 w 1117890"/>
                  <a:gd name="connsiteY46" fmla="*/ 14287 h 207169"/>
                  <a:gd name="connsiteX47" fmla="*/ 216694 w 1117890"/>
                  <a:gd name="connsiteY47" fmla="*/ 21431 h 207169"/>
                  <a:gd name="connsiteX48" fmla="*/ 195263 w 1117890"/>
                  <a:gd name="connsiteY48" fmla="*/ 26194 h 207169"/>
                  <a:gd name="connsiteX49" fmla="*/ 183357 w 1117890"/>
                  <a:gd name="connsiteY49" fmla="*/ 28575 h 207169"/>
                  <a:gd name="connsiteX50" fmla="*/ 147638 w 1117890"/>
                  <a:gd name="connsiteY50" fmla="*/ 38100 h 207169"/>
                  <a:gd name="connsiteX51" fmla="*/ 128588 w 1117890"/>
                  <a:gd name="connsiteY51" fmla="*/ 45244 h 207169"/>
                  <a:gd name="connsiteX52" fmla="*/ 109538 w 1117890"/>
                  <a:gd name="connsiteY52" fmla="*/ 50006 h 207169"/>
                  <a:gd name="connsiteX53" fmla="*/ 97632 w 1117890"/>
                  <a:gd name="connsiteY53" fmla="*/ 54769 h 207169"/>
                  <a:gd name="connsiteX54" fmla="*/ 80963 w 1117890"/>
                  <a:gd name="connsiteY54" fmla="*/ 57150 h 207169"/>
                  <a:gd name="connsiteX55" fmla="*/ 54769 w 1117890"/>
                  <a:gd name="connsiteY55" fmla="*/ 61912 h 207169"/>
                  <a:gd name="connsiteX56" fmla="*/ 47625 w 1117890"/>
                  <a:gd name="connsiteY56" fmla="*/ 64294 h 207169"/>
                  <a:gd name="connsiteX57" fmla="*/ 23813 w 1117890"/>
                  <a:gd name="connsiteY57" fmla="*/ 71437 h 207169"/>
                  <a:gd name="connsiteX58" fmla="*/ 9525 w 1117890"/>
                  <a:gd name="connsiteY58" fmla="*/ 80962 h 207169"/>
                  <a:gd name="connsiteX59" fmla="*/ 0 w 1117890"/>
                  <a:gd name="connsiteY59" fmla="*/ 104775 h 207169"/>
                  <a:gd name="connsiteX60" fmla="*/ 11907 w 1117890"/>
                  <a:gd name="connsiteY60" fmla="*/ 111919 h 207169"/>
                  <a:gd name="connsiteX0" fmla="*/ 11907 w 1118595"/>
                  <a:gd name="connsiteY0" fmla="*/ 111919 h 207169"/>
                  <a:gd name="connsiteX1" fmla="*/ 23813 w 1118595"/>
                  <a:gd name="connsiteY1" fmla="*/ 121444 h 207169"/>
                  <a:gd name="connsiteX2" fmla="*/ 28575 w 1118595"/>
                  <a:gd name="connsiteY2" fmla="*/ 128587 h 207169"/>
                  <a:gd name="connsiteX3" fmla="*/ 40482 w 1118595"/>
                  <a:gd name="connsiteY3" fmla="*/ 135731 h 207169"/>
                  <a:gd name="connsiteX4" fmla="*/ 47625 w 1118595"/>
                  <a:gd name="connsiteY4" fmla="*/ 140494 h 207169"/>
                  <a:gd name="connsiteX5" fmla="*/ 78582 w 1118595"/>
                  <a:gd name="connsiteY5" fmla="*/ 145256 h 207169"/>
                  <a:gd name="connsiteX6" fmla="*/ 104775 w 1118595"/>
                  <a:gd name="connsiteY6" fmla="*/ 150019 h 207169"/>
                  <a:gd name="connsiteX7" fmla="*/ 128588 w 1118595"/>
                  <a:gd name="connsiteY7" fmla="*/ 152400 h 207169"/>
                  <a:gd name="connsiteX8" fmla="*/ 161925 w 1118595"/>
                  <a:gd name="connsiteY8" fmla="*/ 161925 h 207169"/>
                  <a:gd name="connsiteX9" fmla="*/ 178594 w 1118595"/>
                  <a:gd name="connsiteY9" fmla="*/ 164306 h 207169"/>
                  <a:gd name="connsiteX10" fmla="*/ 202407 w 1118595"/>
                  <a:gd name="connsiteY10" fmla="*/ 169069 h 207169"/>
                  <a:gd name="connsiteX11" fmla="*/ 209550 w 1118595"/>
                  <a:gd name="connsiteY11" fmla="*/ 171450 h 207169"/>
                  <a:gd name="connsiteX12" fmla="*/ 238125 w 1118595"/>
                  <a:gd name="connsiteY12" fmla="*/ 178594 h 207169"/>
                  <a:gd name="connsiteX13" fmla="*/ 285750 w 1118595"/>
                  <a:gd name="connsiteY13" fmla="*/ 192881 h 207169"/>
                  <a:gd name="connsiteX14" fmla="*/ 378619 w 1118595"/>
                  <a:gd name="connsiteY14" fmla="*/ 195262 h 207169"/>
                  <a:gd name="connsiteX15" fmla="*/ 402432 w 1118595"/>
                  <a:gd name="connsiteY15" fmla="*/ 200025 h 207169"/>
                  <a:gd name="connsiteX16" fmla="*/ 457200 w 1118595"/>
                  <a:gd name="connsiteY16" fmla="*/ 207169 h 207169"/>
                  <a:gd name="connsiteX17" fmla="*/ 604838 w 1118595"/>
                  <a:gd name="connsiteY17" fmla="*/ 204787 h 207169"/>
                  <a:gd name="connsiteX18" fmla="*/ 623888 w 1118595"/>
                  <a:gd name="connsiteY18" fmla="*/ 200025 h 207169"/>
                  <a:gd name="connsiteX19" fmla="*/ 676275 w 1118595"/>
                  <a:gd name="connsiteY19" fmla="*/ 197644 h 207169"/>
                  <a:gd name="connsiteX20" fmla="*/ 697707 w 1118595"/>
                  <a:gd name="connsiteY20" fmla="*/ 192881 h 207169"/>
                  <a:gd name="connsiteX21" fmla="*/ 707232 w 1118595"/>
                  <a:gd name="connsiteY21" fmla="*/ 190500 h 207169"/>
                  <a:gd name="connsiteX22" fmla="*/ 797719 w 1118595"/>
                  <a:gd name="connsiteY22" fmla="*/ 188119 h 207169"/>
                  <a:gd name="connsiteX23" fmla="*/ 823913 w 1118595"/>
                  <a:gd name="connsiteY23" fmla="*/ 180975 h 207169"/>
                  <a:gd name="connsiteX24" fmla="*/ 842963 w 1118595"/>
                  <a:gd name="connsiteY24" fmla="*/ 176212 h 207169"/>
                  <a:gd name="connsiteX25" fmla="*/ 866775 w 1118595"/>
                  <a:gd name="connsiteY25" fmla="*/ 173831 h 207169"/>
                  <a:gd name="connsiteX26" fmla="*/ 940594 w 1118595"/>
                  <a:gd name="connsiteY26" fmla="*/ 169069 h 207169"/>
                  <a:gd name="connsiteX27" fmla="*/ 971550 w 1118595"/>
                  <a:gd name="connsiteY27" fmla="*/ 166687 h 207169"/>
                  <a:gd name="connsiteX28" fmla="*/ 992982 w 1118595"/>
                  <a:gd name="connsiteY28" fmla="*/ 161925 h 207169"/>
                  <a:gd name="connsiteX29" fmla="*/ 1007269 w 1118595"/>
                  <a:gd name="connsiteY29" fmla="*/ 159544 h 207169"/>
                  <a:gd name="connsiteX30" fmla="*/ 1035844 w 1118595"/>
                  <a:gd name="connsiteY30" fmla="*/ 152400 h 207169"/>
                  <a:gd name="connsiteX31" fmla="*/ 1052513 w 1118595"/>
                  <a:gd name="connsiteY31" fmla="*/ 142875 h 207169"/>
                  <a:gd name="connsiteX32" fmla="*/ 1090613 w 1118595"/>
                  <a:gd name="connsiteY32" fmla="*/ 123825 h 207169"/>
                  <a:gd name="connsiteX33" fmla="*/ 1116807 w 1118595"/>
                  <a:gd name="connsiteY33" fmla="*/ 95250 h 207169"/>
                  <a:gd name="connsiteX34" fmla="*/ 1114425 w 1118595"/>
                  <a:gd name="connsiteY34" fmla="*/ 85725 h 207169"/>
                  <a:gd name="connsiteX35" fmla="*/ 1054894 w 1118595"/>
                  <a:gd name="connsiteY35" fmla="*/ 61912 h 207169"/>
                  <a:gd name="connsiteX36" fmla="*/ 966788 w 1118595"/>
                  <a:gd name="connsiteY36" fmla="*/ 35719 h 207169"/>
                  <a:gd name="connsiteX37" fmla="*/ 857250 w 1118595"/>
                  <a:gd name="connsiteY37" fmla="*/ 21431 h 207169"/>
                  <a:gd name="connsiteX38" fmla="*/ 790575 w 1118595"/>
                  <a:gd name="connsiteY38" fmla="*/ 9525 h 207169"/>
                  <a:gd name="connsiteX39" fmla="*/ 702469 w 1118595"/>
                  <a:gd name="connsiteY39" fmla="*/ 7144 h 207169"/>
                  <a:gd name="connsiteX40" fmla="*/ 559594 w 1118595"/>
                  <a:gd name="connsiteY40" fmla="*/ 0 h 207169"/>
                  <a:gd name="connsiteX41" fmla="*/ 338138 w 1118595"/>
                  <a:gd name="connsiteY41" fmla="*/ 2381 h 207169"/>
                  <a:gd name="connsiteX42" fmla="*/ 295275 w 1118595"/>
                  <a:gd name="connsiteY42" fmla="*/ 7144 h 207169"/>
                  <a:gd name="connsiteX43" fmla="*/ 278607 w 1118595"/>
                  <a:gd name="connsiteY43" fmla="*/ 9525 h 207169"/>
                  <a:gd name="connsiteX44" fmla="*/ 269082 w 1118595"/>
                  <a:gd name="connsiteY44" fmla="*/ 11906 h 207169"/>
                  <a:gd name="connsiteX45" fmla="*/ 238125 w 1118595"/>
                  <a:gd name="connsiteY45" fmla="*/ 14287 h 207169"/>
                  <a:gd name="connsiteX46" fmla="*/ 216694 w 1118595"/>
                  <a:gd name="connsiteY46" fmla="*/ 21431 h 207169"/>
                  <a:gd name="connsiteX47" fmla="*/ 195263 w 1118595"/>
                  <a:gd name="connsiteY47" fmla="*/ 26194 h 207169"/>
                  <a:gd name="connsiteX48" fmla="*/ 183357 w 1118595"/>
                  <a:gd name="connsiteY48" fmla="*/ 28575 h 207169"/>
                  <a:gd name="connsiteX49" fmla="*/ 147638 w 1118595"/>
                  <a:gd name="connsiteY49" fmla="*/ 38100 h 207169"/>
                  <a:gd name="connsiteX50" fmla="*/ 128588 w 1118595"/>
                  <a:gd name="connsiteY50" fmla="*/ 45244 h 207169"/>
                  <a:gd name="connsiteX51" fmla="*/ 109538 w 1118595"/>
                  <a:gd name="connsiteY51" fmla="*/ 50006 h 207169"/>
                  <a:gd name="connsiteX52" fmla="*/ 97632 w 1118595"/>
                  <a:gd name="connsiteY52" fmla="*/ 54769 h 207169"/>
                  <a:gd name="connsiteX53" fmla="*/ 80963 w 1118595"/>
                  <a:gd name="connsiteY53" fmla="*/ 57150 h 207169"/>
                  <a:gd name="connsiteX54" fmla="*/ 54769 w 1118595"/>
                  <a:gd name="connsiteY54" fmla="*/ 61912 h 207169"/>
                  <a:gd name="connsiteX55" fmla="*/ 47625 w 1118595"/>
                  <a:gd name="connsiteY55" fmla="*/ 64294 h 207169"/>
                  <a:gd name="connsiteX56" fmla="*/ 23813 w 1118595"/>
                  <a:gd name="connsiteY56" fmla="*/ 71437 h 207169"/>
                  <a:gd name="connsiteX57" fmla="*/ 9525 w 1118595"/>
                  <a:gd name="connsiteY57" fmla="*/ 80962 h 207169"/>
                  <a:gd name="connsiteX58" fmla="*/ 0 w 1118595"/>
                  <a:gd name="connsiteY58" fmla="*/ 104775 h 207169"/>
                  <a:gd name="connsiteX59" fmla="*/ 11907 w 1118595"/>
                  <a:gd name="connsiteY5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992982 w 1121416"/>
                  <a:gd name="connsiteY28" fmla="*/ 161925 h 207169"/>
                  <a:gd name="connsiteX29" fmla="*/ 1007269 w 1121416"/>
                  <a:gd name="connsiteY29" fmla="*/ 159544 h 207169"/>
                  <a:gd name="connsiteX30" fmla="*/ 1035844 w 1121416"/>
                  <a:gd name="connsiteY30" fmla="*/ 152400 h 207169"/>
                  <a:gd name="connsiteX31" fmla="*/ 1052513 w 1121416"/>
                  <a:gd name="connsiteY31" fmla="*/ 142875 h 207169"/>
                  <a:gd name="connsiteX32" fmla="*/ 1116807 w 1121416"/>
                  <a:gd name="connsiteY32" fmla="*/ 95250 h 207169"/>
                  <a:gd name="connsiteX33" fmla="*/ 1114425 w 1121416"/>
                  <a:gd name="connsiteY33" fmla="*/ 85725 h 207169"/>
                  <a:gd name="connsiteX34" fmla="*/ 1054894 w 1121416"/>
                  <a:gd name="connsiteY34" fmla="*/ 61912 h 207169"/>
                  <a:gd name="connsiteX35" fmla="*/ 966788 w 1121416"/>
                  <a:gd name="connsiteY35" fmla="*/ 35719 h 207169"/>
                  <a:gd name="connsiteX36" fmla="*/ 857250 w 1121416"/>
                  <a:gd name="connsiteY36" fmla="*/ 21431 h 207169"/>
                  <a:gd name="connsiteX37" fmla="*/ 790575 w 1121416"/>
                  <a:gd name="connsiteY37" fmla="*/ 9525 h 207169"/>
                  <a:gd name="connsiteX38" fmla="*/ 702469 w 1121416"/>
                  <a:gd name="connsiteY38" fmla="*/ 7144 h 207169"/>
                  <a:gd name="connsiteX39" fmla="*/ 559594 w 1121416"/>
                  <a:gd name="connsiteY39" fmla="*/ 0 h 207169"/>
                  <a:gd name="connsiteX40" fmla="*/ 338138 w 1121416"/>
                  <a:gd name="connsiteY40" fmla="*/ 2381 h 207169"/>
                  <a:gd name="connsiteX41" fmla="*/ 295275 w 1121416"/>
                  <a:gd name="connsiteY41" fmla="*/ 7144 h 207169"/>
                  <a:gd name="connsiteX42" fmla="*/ 278607 w 1121416"/>
                  <a:gd name="connsiteY42" fmla="*/ 9525 h 207169"/>
                  <a:gd name="connsiteX43" fmla="*/ 269082 w 1121416"/>
                  <a:gd name="connsiteY43" fmla="*/ 11906 h 207169"/>
                  <a:gd name="connsiteX44" fmla="*/ 238125 w 1121416"/>
                  <a:gd name="connsiteY44" fmla="*/ 14287 h 207169"/>
                  <a:gd name="connsiteX45" fmla="*/ 216694 w 1121416"/>
                  <a:gd name="connsiteY45" fmla="*/ 21431 h 207169"/>
                  <a:gd name="connsiteX46" fmla="*/ 195263 w 1121416"/>
                  <a:gd name="connsiteY46" fmla="*/ 26194 h 207169"/>
                  <a:gd name="connsiteX47" fmla="*/ 183357 w 1121416"/>
                  <a:gd name="connsiteY47" fmla="*/ 28575 h 207169"/>
                  <a:gd name="connsiteX48" fmla="*/ 147638 w 1121416"/>
                  <a:gd name="connsiteY48" fmla="*/ 38100 h 207169"/>
                  <a:gd name="connsiteX49" fmla="*/ 128588 w 1121416"/>
                  <a:gd name="connsiteY49" fmla="*/ 45244 h 207169"/>
                  <a:gd name="connsiteX50" fmla="*/ 109538 w 1121416"/>
                  <a:gd name="connsiteY50" fmla="*/ 50006 h 207169"/>
                  <a:gd name="connsiteX51" fmla="*/ 97632 w 1121416"/>
                  <a:gd name="connsiteY51" fmla="*/ 54769 h 207169"/>
                  <a:gd name="connsiteX52" fmla="*/ 80963 w 1121416"/>
                  <a:gd name="connsiteY52" fmla="*/ 57150 h 207169"/>
                  <a:gd name="connsiteX53" fmla="*/ 54769 w 1121416"/>
                  <a:gd name="connsiteY53" fmla="*/ 61912 h 207169"/>
                  <a:gd name="connsiteX54" fmla="*/ 47625 w 1121416"/>
                  <a:gd name="connsiteY54" fmla="*/ 64294 h 207169"/>
                  <a:gd name="connsiteX55" fmla="*/ 23813 w 1121416"/>
                  <a:gd name="connsiteY55" fmla="*/ 71437 h 207169"/>
                  <a:gd name="connsiteX56" fmla="*/ 9525 w 1121416"/>
                  <a:gd name="connsiteY56" fmla="*/ 80962 h 207169"/>
                  <a:gd name="connsiteX57" fmla="*/ 0 w 1121416"/>
                  <a:gd name="connsiteY57" fmla="*/ 104775 h 207169"/>
                  <a:gd name="connsiteX58" fmla="*/ 11907 w 1121416"/>
                  <a:gd name="connsiteY5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07269 w 1121416"/>
                  <a:gd name="connsiteY28" fmla="*/ 159544 h 207169"/>
                  <a:gd name="connsiteX29" fmla="*/ 1035844 w 1121416"/>
                  <a:gd name="connsiteY29" fmla="*/ 152400 h 207169"/>
                  <a:gd name="connsiteX30" fmla="*/ 1052513 w 1121416"/>
                  <a:gd name="connsiteY30" fmla="*/ 142875 h 207169"/>
                  <a:gd name="connsiteX31" fmla="*/ 1116807 w 1121416"/>
                  <a:gd name="connsiteY31" fmla="*/ 95250 h 207169"/>
                  <a:gd name="connsiteX32" fmla="*/ 1114425 w 1121416"/>
                  <a:gd name="connsiteY32" fmla="*/ 85725 h 207169"/>
                  <a:gd name="connsiteX33" fmla="*/ 1054894 w 1121416"/>
                  <a:gd name="connsiteY33" fmla="*/ 61912 h 207169"/>
                  <a:gd name="connsiteX34" fmla="*/ 966788 w 1121416"/>
                  <a:gd name="connsiteY34" fmla="*/ 35719 h 207169"/>
                  <a:gd name="connsiteX35" fmla="*/ 857250 w 1121416"/>
                  <a:gd name="connsiteY35" fmla="*/ 21431 h 207169"/>
                  <a:gd name="connsiteX36" fmla="*/ 790575 w 1121416"/>
                  <a:gd name="connsiteY36" fmla="*/ 9525 h 207169"/>
                  <a:gd name="connsiteX37" fmla="*/ 702469 w 1121416"/>
                  <a:gd name="connsiteY37" fmla="*/ 7144 h 207169"/>
                  <a:gd name="connsiteX38" fmla="*/ 559594 w 1121416"/>
                  <a:gd name="connsiteY38" fmla="*/ 0 h 207169"/>
                  <a:gd name="connsiteX39" fmla="*/ 338138 w 1121416"/>
                  <a:gd name="connsiteY39" fmla="*/ 2381 h 207169"/>
                  <a:gd name="connsiteX40" fmla="*/ 295275 w 1121416"/>
                  <a:gd name="connsiteY40" fmla="*/ 7144 h 207169"/>
                  <a:gd name="connsiteX41" fmla="*/ 278607 w 1121416"/>
                  <a:gd name="connsiteY41" fmla="*/ 9525 h 207169"/>
                  <a:gd name="connsiteX42" fmla="*/ 269082 w 1121416"/>
                  <a:gd name="connsiteY42" fmla="*/ 11906 h 207169"/>
                  <a:gd name="connsiteX43" fmla="*/ 238125 w 1121416"/>
                  <a:gd name="connsiteY43" fmla="*/ 14287 h 207169"/>
                  <a:gd name="connsiteX44" fmla="*/ 216694 w 1121416"/>
                  <a:gd name="connsiteY44" fmla="*/ 21431 h 207169"/>
                  <a:gd name="connsiteX45" fmla="*/ 195263 w 1121416"/>
                  <a:gd name="connsiteY45" fmla="*/ 26194 h 207169"/>
                  <a:gd name="connsiteX46" fmla="*/ 183357 w 1121416"/>
                  <a:gd name="connsiteY46" fmla="*/ 28575 h 207169"/>
                  <a:gd name="connsiteX47" fmla="*/ 147638 w 1121416"/>
                  <a:gd name="connsiteY47" fmla="*/ 38100 h 207169"/>
                  <a:gd name="connsiteX48" fmla="*/ 128588 w 1121416"/>
                  <a:gd name="connsiteY48" fmla="*/ 45244 h 207169"/>
                  <a:gd name="connsiteX49" fmla="*/ 109538 w 1121416"/>
                  <a:gd name="connsiteY49" fmla="*/ 50006 h 207169"/>
                  <a:gd name="connsiteX50" fmla="*/ 97632 w 1121416"/>
                  <a:gd name="connsiteY50" fmla="*/ 54769 h 207169"/>
                  <a:gd name="connsiteX51" fmla="*/ 80963 w 1121416"/>
                  <a:gd name="connsiteY51" fmla="*/ 57150 h 207169"/>
                  <a:gd name="connsiteX52" fmla="*/ 54769 w 1121416"/>
                  <a:gd name="connsiteY52" fmla="*/ 61912 h 207169"/>
                  <a:gd name="connsiteX53" fmla="*/ 47625 w 1121416"/>
                  <a:gd name="connsiteY53" fmla="*/ 64294 h 207169"/>
                  <a:gd name="connsiteX54" fmla="*/ 23813 w 1121416"/>
                  <a:gd name="connsiteY54" fmla="*/ 71437 h 207169"/>
                  <a:gd name="connsiteX55" fmla="*/ 9525 w 1121416"/>
                  <a:gd name="connsiteY55" fmla="*/ 80962 h 207169"/>
                  <a:gd name="connsiteX56" fmla="*/ 0 w 1121416"/>
                  <a:gd name="connsiteY56" fmla="*/ 104775 h 207169"/>
                  <a:gd name="connsiteX57" fmla="*/ 11907 w 1121416"/>
                  <a:gd name="connsiteY5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35844 w 1121416"/>
                  <a:gd name="connsiteY28" fmla="*/ 152400 h 207169"/>
                  <a:gd name="connsiteX29" fmla="*/ 1052513 w 1121416"/>
                  <a:gd name="connsiteY29" fmla="*/ 142875 h 207169"/>
                  <a:gd name="connsiteX30" fmla="*/ 1116807 w 1121416"/>
                  <a:gd name="connsiteY30" fmla="*/ 95250 h 207169"/>
                  <a:gd name="connsiteX31" fmla="*/ 1114425 w 1121416"/>
                  <a:gd name="connsiteY31" fmla="*/ 85725 h 207169"/>
                  <a:gd name="connsiteX32" fmla="*/ 1054894 w 1121416"/>
                  <a:gd name="connsiteY32" fmla="*/ 61912 h 207169"/>
                  <a:gd name="connsiteX33" fmla="*/ 966788 w 1121416"/>
                  <a:gd name="connsiteY33" fmla="*/ 35719 h 207169"/>
                  <a:gd name="connsiteX34" fmla="*/ 857250 w 1121416"/>
                  <a:gd name="connsiteY34" fmla="*/ 21431 h 207169"/>
                  <a:gd name="connsiteX35" fmla="*/ 790575 w 1121416"/>
                  <a:gd name="connsiteY35" fmla="*/ 9525 h 207169"/>
                  <a:gd name="connsiteX36" fmla="*/ 702469 w 1121416"/>
                  <a:gd name="connsiteY36" fmla="*/ 7144 h 207169"/>
                  <a:gd name="connsiteX37" fmla="*/ 559594 w 1121416"/>
                  <a:gd name="connsiteY37" fmla="*/ 0 h 207169"/>
                  <a:gd name="connsiteX38" fmla="*/ 338138 w 1121416"/>
                  <a:gd name="connsiteY38" fmla="*/ 2381 h 207169"/>
                  <a:gd name="connsiteX39" fmla="*/ 295275 w 1121416"/>
                  <a:gd name="connsiteY39" fmla="*/ 7144 h 207169"/>
                  <a:gd name="connsiteX40" fmla="*/ 278607 w 1121416"/>
                  <a:gd name="connsiteY40" fmla="*/ 9525 h 207169"/>
                  <a:gd name="connsiteX41" fmla="*/ 269082 w 1121416"/>
                  <a:gd name="connsiteY41" fmla="*/ 11906 h 207169"/>
                  <a:gd name="connsiteX42" fmla="*/ 238125 w 1121416"/>
                  <a:gd name="connsiteY42" fmla="*/ 14287 h 207169"/>
                  <a:gd name="connsiteX43" fmla="*/ 216694 w 1121416"/>
                  <a:gd name="connsiteY43" fmla="*/ 21431 h 207169"/>
                  <a:gd name="connsiteX44" fmla="*/ 195263 w 1121416"/>
                  <a:gd name="connsiteY44" fmla="*/ 26194 h 207169"/>
                  <a:gd name="connsiteX45" fmla="*/ 183357 w 1121416"/>
                  <a:gd name="connsiteY45" fmla="*/ 28575 h 207169"/>
                  <a:gd name="connsiteX46" fmla="*/ 147638 w 1121416"/>
                  <a:gd name="connsiteY46" fmla="*/ 38100 h 207169"/>
                  <a:gd name="connsiteX47" fmla="*/ 128588 w 1121416"/>
                  <a:gd name="connsiteY47" fmla="*/ 45244 h 207169"/>
                  <a:gd name="connsiteX48" fmla="*/ 109538 w 1121416"/>
                  <a:gd name="connsiteY48" fmla="*/ 50006 h 207169"/>
                  <a:gd name="connsiteX49" fmla="*/ 97632 w 1121416"/>
                  <a:gd name="connsiteY49" fmla="*/ 54769 h 207169"/>
                  <a:gd name="connsiteX50" fmla="*/ 80963 w 1121416"/>
                  <a:gd name="connsiteY50" fmla="*/ 57150 h 207169"/>
                  <a:gd name="connsiteX51" fmla="*/ 54769 w 1121416"/>
                  <a:gd name="connsiteY51" fmla="*/ 61912 h 207169"/>
                  <a:gd name="connsiteX52" fmla="*/ 47625 w 1121416"/>
                  <a:gd name="connsiteY52" fmla="*/ 64294 h 207169"/>
                  <a:gd name="connsiteX53" fmla="*/ 23813 w 1121416"/>
                  <a:gd name="connsiteY53" fmla="*/ 71437 h 207169"/>
                  <a:gd name="connsiteX54" fmla="*/ 9525 w 1121416"/>
                  <a:gd name="connsiteY54" fmla="*/ 80962 h 207169"/>
                  <a:gd name="connsiteX55" fmla="*/ 0 w 1121416"/>
                  <a:gd name="connsiteY55" fmla="*/ 104775 h 207169"/>
                  <a:gd name="connsiteX56" fmla="*/ 11907 w 1121416"/>
                  <a:gd name="connsiteY5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52513 w 1121416"/>
                  <a:gd name="connsiteY28" fmla="*/ 142875 h 207169"/>
                  <a:gd name="connsiteX29" fmla="*/ 1116807 w 1121416"/>
                  <a:gd name="connsiteY29" fmla="*/ 95250 h 207169"/>
                  <a:gd name="connsiteX30" fmla="*/ 1114425 w 1121416"/>
                  <a:gd name="connsiteY30" fmla="*/ 85725 h 207169"/>
                  <a:gd name="connsiteX31" fmla="*/ 1054894 w 1121416"/>
                  <a:gd name="connsiteY31" fmla="*/ 61912 h 207169"/>
                  <a:gd name="connsiteX32" fmla="*/ 966788 w 1121416"/>
                  <a:gd name="connsiteY32" fmla="*/ 35719 h 207169"/>
                  <a:gd name="connsiteX33" fmla="*/ 857250 w 1121416"/>
                  <a:gd name="connsiteY33" fmla="*/ 21431 h 207169"/>
                  <a:gd name="connsiteX34" fmla="*/ 790575 w 1121416"/>
                  <a:gd name="connsiteY34" fmla="*/ 9525 h 207169"/>
                  <a:gd name="connsiteX35" fmla="*/ 702469 w 1121416"/>
                  <a:gd name="connsiteY35" fmla="*/ 7144 h 207169"/>
                  <a:gd name="connsiteX36" fmla="*/ 559594 w 1121416"/>
                  <a:gd name="connsiteY36" fmla="*/ 0 h 207169"/>
                  <a:gd name="connsiteX37" fmla="*/ 338138 w 1121416"/>
                  <a:gd name="connsiteY37" fmla="*/ 2381 h 207169"/>
                  <a:gd name="connsiteX38" fmla="*/ 295275 w 1121416"/>
                  <a:gd name="connsiteY38" fmla="*/ 7144 h 207169"/>
                  <a:gd name="connsiteX39" fmla="*/ 278607 w 1121416"/>
                  <a:gd name="connsiteY39" fmla="*/ 9525 h 207169"/>
                  <a:gd name="connsiteX40" fmla="*/ 269082 w 1121416"/>
                  <a:gd name="connsiteY40" fmla="*/ 11906 h 207169"/>
                  <a:gd name="connsiteX41" fmla="*/ 238125 w 1121416"/>
                  <a:gd name="connsiteY41" fmla="*/ 14287 h 207169"/>
                  <a:gd name="connsiteX42" fmla="*/ 216694 w 1121416"/>
                  <a:gd name="connsiteY42" fmla="*/ 21431 h 207169"/>
                  <a:gd name="connsiteX43" fmla="*/ 195263 w 1121416"/>
                  <a:gd name="connsiteY43" fmla="*/ 26194 h 207169"/>
                  <a:gd name="connsiteX44" fmla="*/ 183357 w 1121416"/>
                  <a:gd name="connsiteY44" fmla="*/ 28575 h 207169"/>
                  <a:gd name="connsiteX45" fmla="*/ 147638 w 1121416"/>
                  <a:gd name="connsiteY45" fmla="*/ 38100 h 207169"/>
                  <a:gd name="connsiteX46" fmla="*/ 128588 w 1121416"/>
                  <a:gd name="connsiteY46" fmla="*/ 45244 h 207169"/>
                  <a:gd name="connsiteX47" fmla="*/ 109538 w 1121416"/>
                  <a:gd name="connsiteY47" fmla="*/ 50006 h 207169"/>
                  <a:gd name="connsiteX48" fmla="*/ 97632 w 1121416"/>
                  <a:gd name="connsiteY48" fmla="*/ 54769 h 207169"/>
                  <a:gd name="connsiteX49" fmla="*/ 80963 w 1121416"/>
                  <a:gd name="connsiteY49" fmla="*/ 57150 h 207169"/>
                  <a:gd name="connsiteX50" fmla="*/ 54769 w 1121416"/>
                  <a:gd name="connsiteY50" fmla="*/ 61912 h 207169"/>
                  <a:gd name="connsiteX51" fmla="*/ 47625 w 1121416"/>
                  <a:gd name="connsiteY51" fmla="*/ 64294 h 207169"/>
                  <a:gd name="connsiteX52" fmla="*/ 23813 w 1121416"/>
                  <a:gd name="connsiteY52" fmla="*/ 71437 h 207169"/>
                  <a:gd name="connsiteX53" fmla="*/ 9525 w 1121416"/>
                  <a:gd name="connsiteY53" fmla="*/ 80962 h 207169"/>
                  <a:gd name="connsiteX54" fmla="*/ 0 w 1121416"/>
                  <a:gd name="connsiteY54" fmla="*/ 104775 h 207169"/>
                  <a:gd name="connsiteX55" fmla="*/ 11907 w 1121416"/>
                  <a:gd name="connsiteY5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66775 w 1121416"/>
                  <a:gd name="connsiteY24" fmla="*/ 173831 h 207169"/>
                  <a:gd name="connsiteX25" fmla="*/ 940594 w 1121416"/>
                  <a:gd name="connsiteY25" fmla="*/ 169069 h 207169"/>
                  <a:gd name="connsiteX26" fmla="*/ 971550 w 1121416"/>
                  <a:gd name="connsiteY26" fmla="*/ 166687 h 207169"/>
                  <a:gd name="connsiteX27" fmla="*/ 1052513 w 1121416"/>
                  <a:gd name="connsiteY27" fmla="*/ 142875 h 207169"/>
                  <a:gd name="connsiteX28" fmla="*/ 1116807 w 1121416"/>
                  <a:gd name="connsiteY28" fmla="*/ 95250 h 207169"/>
                  <a:gd name="connsiteX29" fmla="*/ 1114425 w 1121416"/>
                  <a:gd name="connsiteY29" fmla="*/ 85725 h 207169"/>
                  <a:gd name="connsiteX30" fmla="*/ 1054894 w 1121416"/>
                  <a:gd name="connsiteY30" fmla="*/ 61912 h 207169"/>
                  <a:gd name="connsiteX31" fmla="*/ 966788 w 1121416"/>
                  <a:gd name="connsiteY31" fmla="*/ 35719 h 207169"/>
                  <a:gd name="connsiteX32" fmla="*/ 857250 w 1121416"/>
                  <a:gd name="connsiteY32" fmla="*/ 21431 h 207169"/>
                  <a:gd name="connsiteX33" fmla="*/ 790575 w 1121416"/>
                  <a:gd name="connsiteY33" fmla="*/ 9525 h 207169"/>
                  <a:gd name="connsiteX34" fmla="*/ 702469 w 1121416"/>
                  <a:gd name="connsiteY34" fmla="*/ 7144 h 207169"/>
                  <a:gd name="connsiteX35" fmla="*/ 559594 w 1121416"/>
                  <a:gd name="connsiteY35" fmla="*/ 0 h 207169"/>
                  <a:gd name="connsiteX36" fmla="*/ 338138 w 1121416"/>
                  <a:gd name="connsiteY36" fmla="*/ 2381 h 207169"/>
                  <a:gd name="connsiteX37" fmla="*/ 295275 w 1121416"/>
                  <a:gd name="connsiteY37" fmla="*/ 7144 h 207169"/>
                  <a:gd name="connsiteX38" fmla="*/ 278607 w 1121416"/>
                  <a:gd name="connsiteY38" fmla="*/ 9525 h 207169"/>
                  <a:gd name="connsiteX39" fmla="*/ 269082 w 1121416"/>
                  <a:gd name="connsiteY39" fmla="*/ 11906 h 207169"/>
                  <a:gd name="connsiteX40" fmla="*/ 238125 w 1121416"/>
                  <a:gd name="connsiteY40" fmla="*/ 14287 h 207169"/>
                  <a:gd name="connsiteX41" fmla="*/ 216694 w 1121416"/>
                  <a:gd name="connsiteY41" fmla="*/ 21431 h 207169"/>
                  <a:gd name="connsiteX42" fmla="*/ 195263 w 1121416"/>
                  <a:gd name="connsiteY42" fmla="*/ 26194 h 207169"/>
                  <a:gd name="connsiteX43" fmla="*/ 183357 w 1121416"/>
                  <a:gd name="connsiteY43" fmla="*/ 28575 h 207169"/>
                  <a:gd name="connsiteX44" fmla="*/ 147638 w 1121416"/>
                  <a:gd name="connsiteY44" fmla="*/ 38100 h 207169"/>
                  <a:gd name="connsiteX45" fmla="*/ 128588 w 1121416"/>
                  <a:gd name="connsiteY45" fmla="*/ 45244 h 207169"/>
                  <a:gd name="connsiteX46" fmla="*/ 109538 w 1121416"/>
                  <a:gd name="connsiteY46" fmla="*/ 50006 h 207169"/>
                  <a:gd name="connsiteX47" fmla="*/ 97632 w 1121416"/>
                  <a:gd name="connsiteY47" fmla="*/ 54769 h 207169"/>
                  <a:gd name="connsiteX48" fmla="*/ 80963 w 1121416"/>
                  <a:gd name="connsiteY48" fmla="*/ 57150 h 207169"/>
                  <a:gd name="connsiteX49" fmla="*/ 54769 w 1121416"/>
                  <a:gd name="connsiteY49" fmla="*/ 61912 h 207169"/>
                  <a:gd name="connsiteX50" fmla="*/ 47625 w 1121416"/>
                  <a:gd name="connsiteY50" fmla="*/ 64294 h 207169"/>
                  <a:gd name="connsiteX51" fmla="*/ 23813 w 1121416"/>
                  <a:gd name="connsiteY51" fmla="*/ 71437 h 207169"/>
                  <a:gd name="connsiteX52" fmla="*/ 9525 w 1121416"/>
                  <a:gd name="connsiteY52" fmla="*/ 80962 h 207169"/>
                  <a:gd name="connsiteX53" fmla="*/ 0 w 1121416"/>
                  <a:gd name="connsiteY53" fmla="*/ 104775 h 207169"/>
                  <a:gd name="connsiteX54" fmla="*/ 11907 w 1121416"/>
                  <a:gd name="connsiteY5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66775 w 1121416"/>
                  <a:gd name="connsiteY23" fmla="*/ 173831 h 207169"/>
                  <a:gd name="connsiteX24" fmla="*/ 940594 w 1121416"/>
                  <a:gd name="connsiteY24" fmla="*/ 169069 h 207169"/>
                  <a:gd name="connsiteX25" fmla="*/ 971550 w 1121416"/>
                  <a:gd name="connsiteY25" fmla="*/ 166687 h 207169"/>
                  <a:gd name="connsiteX26" fmla="*/ 1052513 w 1121416"/>
                  <a:gd name="connsiteY26" fmla="*/ 142875 h 207169"/>
                  <a:gd name="connsiteX27" fmla="*/ 1116807 w 1121416"/>
                  <a:gd name="connsiteY27" fmla="*/ 95250 h 207169"/>
                  <a:gd name="connsiteX28" fmla="*/ 1114425 w 1121416"/>
                  <a:gd name="connsiteY28" fmla="*/ 85725 h 207169"/>
                  <a:gd name="connsiteX29" fmla="*/ 1054894 w 1121416"/>
                  <a:gd name="connsiteY29" fmla="*/ 61912 h 207169"/>
                  <a:gd name="connsiteX30" fmla="*/ 966788 w 1121416"/>
                  <a:gd name="connsiteY30" fmla="*/ 35719 h 207169"/>
                  <a:gd name="connsiteX31" fmla="*/ 857250 w 1121416"/>
                  <a:gd name="connsiteY31" fmla="*/ 21431 h 207169"/>
                  <a:gd name="connsiteX32" fmla="*/ 790575 w 1121416"/>
                  <a:gd name="connsiteY32" fmla="*/ 9525 h 207169"/>
                  <a:gd name="connsiteX33" fmla="*/ 702469 w 1121416"/>
                  <a:gd name="connsiteY33" fmla="*/ 7144 h 207169"/>
                  <a:gd name="connsiteX34" fmla="*/ 559594 w 1121416"/>
                  <a:gd name="connsiteY34" fmla="*/ 0 h 207169"/>
                  <a:gd name="connsiteX35" fmla="*/ 338138 w 1121416"/>
                  <a:gd name="connsiteY35" fmla="*/ 2381 h 207169"/>
                  <a:gd name="connsiteX36" fmla="*/ 295275 w 1121416"/>
                  <a:gd name="connsiteY36" fmla="*/ 7144 h 207169"/>
                  <a:gd name="connsiteX37" fmla="*/ 278607 w 1121416"/>
                  <a:gd name="connsiteY37" fmla="*/ 9525 h 207169"/>
                  <a:gd name="connsiteX38" fmla="*/ 269082 w 1121416"/>
                  <a:gd name="connsiteY38" fmla="*/ 11906 h 207169"/>
                  <a:gd name="connsiteX39" fmla="*/ 238125 w 1121416"/>
                  <a:gd name="connsiteY39" fmla="*/ 14287 h 207169"/>
                  <a:gd name="connsiteX40" fmla="*/ 216694 w 1121416"/>
                  <a:gd name="connsiteY40" fmla="*/ 21431 h 207169"/>
                  <a:gd name="connsiteX41" fmla="*/ 195263 w 1121416"/>
                  <a:gd name="connsiteY41" fmla="*/ 26194 h 207169"/>
                  <a:gd name="connsiteX42" fmla="*/ 183357 w 1121416"/>
                  <a:gd name="connsiteY42" fmla="*/ 28575 h 207169"/>
                  <a:gd name="connsiteX43" fmla="*/ 147638 w 1121416"/>
                  <a:gd name="connsiteY43" fmla="*/ 38100 h 207169"/>
                  <a:gd name="connsiteX44" fmla="*/ 128588 w 1121416"/>
                  <a:gd name="connsiteY44" fmla="*/ 45244 h 207169"/>
                  <a:gd name="connsiteX45" fmla="*/ 109538 w 1121416"/>
                  <a:gd name="connsiteY45" fmla="*/ 50006 h 207169"/>
                  <a:gd name="connsiteX46" fmla="*/ 97632 w 1121416"/>
                  <a:gd name="connsiteY46" fmla="*/ 54769 h 207169"/>
                  <a:gd name="connsiteX47" fmla="*/ 80963 w 1121416"/>
                  <a:gd name="connsiteY47" fmla="*/ 57150 h 207169"/>
                  <a:gd name="connsiteX48" fmla="*/ 54769 w 1121416"/>
                  <a:gd name="connsiteY48" fmla="*/ 61912 h 207169"/>
                  <a:gd name="connsiteX49" fmla="*/ 47625 w 1121416"/>
                  <a:gd name="connsiteY49" fmla="*/ 64294 h 207169"/>
                  <a:gd name="connsiteX50" fmla="*/ 23813 w 1121416"/>
                  <a:gd name="connsiteY50" fmla="*/ 71437 h 207169"/>
                  <a:gd name="connsiteX51" fmla="*/ 9525 w 1121416"/>
                  <a:gd name="connsiteY51" fmla="*/ 80962 h 207169"/>
                  <a:gd name="connsiteX52" fmla="*/ 0 w 1121416"/>
                  <a:gd name="connsiteY52" fmla="*/ 104775 h 207169"/>
                  <a:gd name="connsiteX53" fmla="*/ 11907 w 1121416"/>
                  <a:gd name="connsiteY53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97719 w 1121416"/>
                  <a:gd name="connsiteY21" fmla="*/ 188119 h 207169"/>
                  <a:gd name="connsiteX22" fmla="*/ 866775 w 1121416"/>
                  <a:gd name="connsiteY22" fmla="*/ 173831 h 207169"/>
                  <a:gd name="connsiteX23" fmla="*/ 940594 w 1121416"/>
                  <a:gd name="connsiteY23" fmla="*/ 169069 h 207169"/>
                  <a:gd name="connsiteX24" fmla="*/ 971550 w 1121416"/>
                  <a:gd name="connsiteY24" fmla="*/ 166687 h 207169"/>
                  <a:gd name="connsiteX25" fmla="*/ 1052513 w 1121416"/>
                  <a:gd name="connsiteY25" fmla="*/ 142875 h 207169"/>
                  <a:gd name="connsiteX26" fmla="*/ 1116807 w 1121416"/>
                  <a:gd name="connsiteY26" fmla="*/ 95250 h 207169"/>
                  <a:gd name="connsiteX27" fmla="*/ 1114425 w 1121416"/>
                  <a:gd name="connsiteY27" fmla="*/ 85725 h 207169"/>
                  <a:gd name="connsiteX28" fmla="*/ 1054894 w 1121416"/>
                  <a:gd name="connsiteY28" fmla="*/ 61912 h 207169"/>
                  <a:gd name="connsiteX29" fmla="*/ 966788 w 1121416"/>
                  <a:gd name="connsiteY29" fmla="*/ 35719 h 207169"/>
                  <a:gd name="connsiteX30" fmla="*/ 857250 w 1121416"/>
                  <a:gd name="connsiteY30" fmla="*/ 21431 h 207169"/>
                  <a:gd name="connsiteX31" fmla="*/ 790575 w 1121416"/>
                  <a:gd name="connsiteY31" fmla="*/ 9525 h 207169"/>
                  <a:gd name="connsiteX32" fmla="*/ 702469 w 1121416"/>
                  <a:gd name="connsiteY32" fmla="*/ 7144 h 207169"/>
                  <a:gd name="connsiteX33" fmla="*/ 559594 w 1121416"/>
                  <a:gd name="connsiteY33" fmla="*/ 0 h 207169"/>
                  <a:gd name="connsiteX34" fmla="*/ 338138 w 1121416"/>
                  <a:gd name="connsiteY34" fmla="*/ 2381 h 207169"/>
                  <a:gd name="connsiteX35" fmla="*/ 295275 w 1121416"/>
                  <a:gd name="connsiteY35" fmla="*/ 7144 h 207169"/>
                  <a:gd name="connsiteX36" fmla="*/ 278607 w 1121416"/>
                  <a:gd name="connsiteY36" fmla="*/ 9525 h 207169"/>
                  <a:gd name="connsiteX37" fmla="*/ 269082 w 1121416"/>
                  <a:gd name="connsiteY37" fmla="*/ 11906 h 207169"/>
                  <a:gd name="connsiteX38" fmla="*/ 238125 w 1121416"/>
                  <a:gd name="connsiteY38" fmla="*/ 14287 h 207169"/>
                  <a:gd name="connsiteX39" fmla="*/ 216694 w 1121416"/>
                  <a:gd name="connsiteY39" fmla="*/ 21431 h 207169"/>
                  <a:gd name="connsiteX40" fmla="*/ 195263 w 1121416"/>
                  <a:gd name="connsiteY40" fmla="*/ 26194 h 207169"/>
                  <a:gd name="connsiteX41" fmla="*/ 183357 w 1121416"/>
                  <a:gd name="connsiteY41" fmla="*/ 28575 h 207169"/>
                  <a:gd name="connsiteX42" fmla="*/ 147638 w 1121416"/>
                  <a:gd name="connsiteY42" fmla="*/ 38100 h 207169"/>
                  <a:gd name="connsiteX43" fmla="*/ 128588 w 1121416"/>
                  <a:gd name="connsiteY43" fmla="*/ 45244 h 207169"/>
                  <a:gd name="connsiteX44" fmla="*/ 109538 w 1121416"/>
                  <a:gd name="connsiteY44" fmla="*/ 50006 h 207169"/>
                  <a:gd name="connsiteX45" fmla="*/ 97632 w 1121416"/>
                  <a:gd name="connsiteY45" fmla="*/ 54769 h 207169"/>
                  <a:gd name="connsiteX46" fmla="*/ 80963 w 1121416"/>
                  <a:gd name="connsiteY46" fmla="*/ 57150 h 207169"/>
                  <a:gd name="connsiteX47" fmla="*/ 54769 w 1121416"/>
                  <a:gd name="connsiteY47" fmla="*/ 61912 h 207169"/>
                  <a:gd name="connsiteX48" fmla="*/ 47625 w 1121416"/>
                  <a:gd name="connsiteY48" fmla="*/ 64294 h 207169"/>
                  <a:gd name="connsiteX49" fmla="*/ 23813 w 1121416"/>
                  <a:gd name="connsiteY49" fmla="*/ 71437 h 207169"/>
                  <a:gd name="connsiteX50" fmla="*/ 9525 w 1121416"/>
                  <a:gd name="connsiteY50" fmla="*/ 80962 h 207169"/>
                  <a:gd name="connsiteX51" fmla="*/ 0 w 1121416"/>
                  <a:gd name="connsiteY51" fmla="*/ 104775 h 207169"/>
                  <a:gd name="connsiteX52" fmla="*/ 11907 w 1121416"/>
                  <a:gd name="connsiteY52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797719 w 1121416"/>
                  <a:gd name="connsiteY20" fmla="*/ 188119 h 207169"/>
                  <a:gd name="connsiteX21" fmla="*/ 866775 w 1121416"/>
                  <a:gd name="connsiteY21" fmla="*/ 173831 h 207169"/>
                  <a:gd name="connsiteX22" fmla="*/ 940594 w 1121416"/>
                  <a:gd name="connsiteY22" fmla="*/ 169069 h 207169"/>
                  <a:gd name="connsiteX23" fmla="*/ 971550 w 1121416"/>
                  <a:gd name="connsiteY23" fmla="*/ 166687 h 207169"/>
                  <a:gd name="connsiteX24" fmla="*/ 1052513 w 1121416"/>
                  <a:gd name="connsiteY24" fmla="*/ 142875 h 207169"/>
                  <a:gd name="connsiteX25" fmla="*/ 1116807 w 1121416"/>
                  <a:gd name="connsiteY25" fmla="*/ 95250 h 207169"/>
                  <a:gd name="connsiteX26" fmla="*/ 1114425 w 1121416"/>
                  <a:gd name="connsiteY26" fmla="*/ 85725 h 207169"/>
                  <a:gd name="connsiteX27" fmla="*/ 1054894 w 1121416"/>
                  <a:gd name="connsiteY27" fmla="*/ 61912 h 207169"/>
                  <a:gd name="connsiteX28" fmla="*/ 966788 w 1121416"/>
                  <a:gd name="connsiteY28" fmla="*/ 35719 h 207169"/>
                  <a:gd name="connsiteX29" fmla="*/ 857250 w 1121416"/>
                  <a:gd name="connsiteY29" fmla="*/ 21431 h 207169"/>
                  <a:gd name="connsiteX30" fmla="*/ 790575 w 1121416"/>
                  <a:gd name="connsiteY30" fmla="*/ 9525 h 207169"/>
                  <a:gd name="connsiteX31" fmla="*/ 702469 w 1121416"/>
                  <a:gd name="connsiteY31" fmla="*/ 7144 h 207169"/>
                  <a:gd name="connsiteX32" fmla="*/ 559594 w 1121416"/>
                  <a:gd name="connsiteY32" fmla="*/ 0 h 207169"/>
                  <a:gd name="connsiteX33" fmla="*/ 338138 w 1121416"/>
                  <a:gd name="connsiteY33" fmla="*/ 2381 h 207169"/>
                  <a:gd name="connsiteX34" fmla="*/ 295275 w 1121416"/>
                  <a:gd name="connsiteY34" fmla="*/ 7144 h 207169"/>
                  <a:gd name="connsiteX35" fmla="*/ 278607 w 1121416"/>
                  <a:gd name="connsiteY35" fmla="*/ 9525 h 207169"/>
                  <a:gd name="connsiteX36" fmla="*/ 269082 w 1121416"/>
                  <a:gd name="connsiteY36" fmla="*/ 11906 h 207169"/>
                  <a:gd name="connsiteX37" fmla="*/ 238125 w 1121416"/>
                  <a:gd name="connsiteY37" fmla="*/ 14287 h 207169"/>
                  <a:gd name="connsiteX38" fmla="*/ 216694 w 1121416"/>
                  <a:gd name="connsiteY38" fmla="*/ 21431 h 207169"/>
                  <a:gd name="connsiteX39" fmla="*/ 195263 w 1121416"/>
                  <a:gd name="connsiteY39" fmla="*/ 26194 h 207169"/>
                  <a:gd name="connsiteX40" fmla="*/ 183357 w 1121416"/>
                  <a:gd name="connsiteY40" fmla="*/ 28575 h 207169"/>
                  <a:gd name="connsiteX41" fmla="*/ 147638 w 1121416"/>
                  <a:gd name="connsiteY41" fmla="*/ 38100 h 207169"/>
                  <a:gd name="connsiteX42" fmla="*/ 128588 w 1121416"/>
                  <a:gd name="connsiteY42" fmla="*/ 45244 h 207169"/>
                  <a:gd name="connsiteX43" fmla="*/ 109538 w 1121416"/>
                  <a:gd name="connsiteY43" fmla="*/ 50006 h 207169"/>
                  <a:gd name="connsiteX44" fmla="*/ 97632 w 1121416"/>
                  <a:gd name="connsiteY44" fmla="*/ 54769 h 207169"/>
                  <a:gd name="connsiteX45" fmla="*/ 80963 w 1121416"/>
                  <a:gd name="connsiteY45" fmla="*/ 57150 h 207169"/>
                  <a:gd name="connsiteX46" fmla="*/ 54769 w 1121416"/>
                  <a:gd name="connsiteY46" fmla="*/ 61912 h 207169"/>
                  <a:gd name="connsiteX47" fmla="*/ 47625 w 1121416"/>
                  <a:gd name="connsiteY47" fmla="*/ 64294 h 207169"/>
                  <a:gd name="connsiteX48" fmla="*/ 23813 w 1121416"/>
                  <a:gd name="connsiteY48" fmla="*/ 71437 h 207169"/>
                  <a:gd name="connsiteX49" fmla="*/ 9525 w 1121416"/>
                  <a:gd name="connsiteY49" fmla="*/ 80962 h 207169"/>
                  <a:gd name="connsiteX50" fmla="*/ 0 w 1121416"/>
                  <a:gd name="connsiteY50" fmla="*/ 104775 h 207169"/>
                  <a:gd name="connsiteX51" fmla="*/ 11907 w 1121416"/>
                  <a:gd name="connsiteY51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57200 w 1121416"/>
                  <a:gd name="connsiteY15" fmla="*/ 207169 h 207169"/>
                  <a:gd name="connsiteX16" fmla="*/ 604838 w 1121416"/>
                  <a:gd name="connsiteY16" fmla="*/ 204787 h 207169"/>
                  <a:gd name="connsiteX17" fmla="*/ 623888 w 1121416"/>
                  <a:gd name="connsiteY17" fmla="*/ 200025 h 207169"/>
                  <a:gd name="connsiteX18" fmla="*/ 676275 w 1121416"/>
                  <a:gd name="connsiteY18" fmla="*/ 197644 h 207169"/>
                  <a:gd name="connsiteX19" fmla="*/ 797719 w 1121416"/>
                  <a:gd name="connsiteY19" fmla="*/ 188119 h 207169"/>
                  <a:gd name="connsiteX20" fmla="*/ 866775 w 1121416"/>
                  <a:gd name="connsiteY20" fmla="*/ 173831 h 207169"/>
                  <a:gd name="connsiteX21" fmla="*/ 940594 w 1121416"/>
                  <a:gd name="connsiteY21" fmla="*/ 169069 h 207169"/>
                  <a:gd name="connsiteX22" fmla="*/ 971550 w 1121416"/>
                  <a:gd name="connsiteY22" fmla="*/ 166687 h 207169"/>
                  <a:gd name="connsiteX23" fmla="*/ 1052513 w 1121416"/>
                  <a:gd name="connsiteY23" fmla="*/ 142875 h 207169"/>
                  <a:gd name="connsiteX24" fmla="*/ 1116807 w 1121416"/>
                  <a:gd name="connsiteY24" fmla="*/ 95250 h 207169"/>
                  <a:gd name="connsiteX25" fmla="*/ 1114425 w 1121416"/>
                  <a:gd name="connsiteY25" fmla="*/ 85725 h 207169"/>
                  <a:gd name="connsiteX26" fmla="*/ 1054894 w 1121416"/>
                  <a:gd name="connsiteY26" fmla="*/ 61912 h 207169"/>
                  <a:gd name="connsiteX27" fmla="*/ 966788 w 1121416"/>
                  <a:gd name="connsiteY27" fmla="*/ 35719 h 207169"/>
                  <a:gd name="connsiteX28" fmla="*/ 857250 w 1121416"/>
                  <a:gd name="connsiteY28" fmla="*/ 21431 h 207169"/>
                  <a:gd name="connsiteX29" fmla="*/ 790575 w 1121416"/>
                  <a:gd name="connsiteY29" fmla="*/ 9525 h 207169"/>
                  <a:gd name="connsiteX30" fmla="*/ 702469 w 1121416"/>
                  <a:gd name="connsiteY30" fmla="*/ 7144 h 207169"/>
                  <a:gd name="connsiteX31" fmla="*/ 559594 w 1121416"/>
                  <a:gd name="connsiteY31" fmla="*/ 0 h 207169"/>
                  <a:gd name="connsiteX32" fmla="*/ 338138 w 1121416"/>
                  <a:gd name="connsiteY32" fmla="*/ 2381 h 207169"/>
                  <a:gd name="connsiteX33" fmla="*/ 295275 w 1121416"/>
                  <a:gd name="connsiteY33" fmla="*/ 7144 h 207169"/>
                  <a:gd name="connsiteX34" fmla="*/ 278607 w 1121416"/>
                  <a:gd name="connsiteY34" fmla="*/ 9525 h 207169"/>
                  <a:gd name="connsiteX35" fmla="*/ 269082 w 1121416"/>
                  <a:gd name="connsiteY35" fmla="*/ 11906 h 207169"/>
                  <a:gd name="connsiteX36" fmla="*/ 238125 w 1121416"/>
                  <a:gd name="connsiteY36" fmla="*/ 14287 h 207169"/>
                  <a:gd name="connsiteX37" fmla="*/ 216694 w 1121416"/>
                  <a:gd name="connsiteY37" fmla="*/ 21431 h 207169"/>
                  <a:gd name="connsiteX38" fmla="*/ 195263 w 1121416"/>
                  <a:gd name="connsiteY38" fmla="*/ 26194 h 207169"/>
                  <a:gd name="connsiteX39" fmla="*/ 183357 w 1121416"/>
                  <a:gd name="connsiteY39" fmla="*/ 28575 h 207169"/>
                  <a:gd name="connsiteX40" fmla="*/ 147638 w 1121416"/>
                  <a:gd name="connsiteY40" fmla="*/ 38100 h 207169"/>
                  <a:gd name="connsiteX41" fmla="*/ 128588 w 1121416"/>
                  <a:gd name="connsiteY41" fmla="*/ 45244 h 207169"/>
                  <a:gd name="connsiteX42" fmla="*/ 109538 w 1121416"/>
                  <a:gd name="connsiteY42" fmla="*/ 50006 h 207169"/>
                  <a:gd name="connsiteX43" fmla="*/ 97632 w 1121416"/>
                  <a:gd name="connsiteY43" fmla="*/ 54769 h 207169"/>
                  <a:gd name="connsiteX44" fmla="*/ 80963 w 1121416"/>
                  <a:gd name="connsiteY44" fmla="*/ 57150 h 207169"/>
                  <a:gd name="connsiteX45" fmla="*/ 54769 w 1121416"/>
                  <a:gd name="connsiteY45" fmla="*/ 61912 h 207169"/>
                  <a:gd name="connsiteX46" fmla="*/ 47625 w 1121416"/>
                  <a:gd name="connsiteY46" fmla="*/ 64294 h 207169"/>
                  <a:gd name="connsiteX47" fmla="*/ 23813 w 1121416"/>
                  <a:gd name="connsiteY47" fmla="*/ 71437 h 207169"/>
                  <a:gd name="connsiteX48" fmla="*/ 9525 w 1121416"/>
                  <a:gd name="connsiteY48" fmla="*/ 80962 h 207169"/>
                  <a:gd name="connsiteX49" fmla="*/ 0 w 1121416"/>
                  <a:gd name="connsiteY49" fmla="*/ 104775 h 207169"/>
                  <a:gd name="connsiteX50" fmla="*/ 11907 w 1121416"/>
                  <a:gd name="connsiteY50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457200 w 1121416"/>
                  <a:gd name="connsiteY14" fmla="*/ 207169 h 207169"/>
                  <a:gd name="connsiteX15" fmla="*/ 604838 w 1121416"/>
                  <a:gd name="connsiteY15" fmla="*/ 204787 h 207169"/>
                  <a:gd name="connsiteX16" fmla="*/ 623888 w 1121416"/>
                  <a:gd name="connsiteY16" fmla="*/ 200025 h 207169"/>
                  <a:gd name="connsiteX17" fmla="*/ 676275 w 1121416"/>
                  <a:gd name="connsiteY17" fmla="*/ 197644 h 207169"/>
                  <a:gd name="connsiteX18" fmla="*/ 797719 w 1121416"/>
                  <a:gd name="connsiteY18" fmla="*/ 188119 h 207169"/>
                  <a:gd name="connsiteX19" fmla="*/ 866775 w 1121416"/>
                  <a:gd name="connsiteY19" fmla="*/ 173831 h 207169"/>
                  <a:gd name="connsiteX20" fmla="*/ 940594 w 1121416"/>
                  <a:gd name="connsiteY20" fmla="*/ 169069 h 207169"/>
                  <a:gd name="connsiteX21" fmla="*/ 971550 w 1121416"/>
                  <a:gd name="connsiteY21" fmla="*/ 166687 h 207169"/>
                  <a:gd name="connsiteX22" fmla="*/ 1052513 w 1121416"/>
                  <a:gd name="connsiteY22" fmla="*/ 142875 h 207169"/>
                  <a:gd name="connsiteX23" fmla="*/ 1116807 w 1121416"/>
                  <a:gd name="connsiteY23" fmla="*/ 95250 h 207169"/>
                  <a:gd name="connsiteX24" fmla="*/ 1114425 w 1121416"/>
                  <a:gd name="connsiteY24" fmla="*/ 85725 h 207169"/>
                  <a:gd name="connsiteX25" fmla="*/ 1054894 w 1121416"/>
                  <a:gd name="connsiteY25" fmla="*/ 61912 h 207169"/>
                  <a:gd name="connsiteX26" fmla="*/ 966788 w 1121416"/>
                  <a:gd name="connsiteY26" fmla="*/ 35719 h 207169"/>
                  <a:gd name="connsiteX27" fmla="*/ 857250 w 1121416"/>
                  <a:gd name="connsiteY27" fmla="*/ 21431 h 207169"/>
                  <a:gd name="connsiteX28" fmla="*/ 790575 w 1121416"/>
                  <a:gd name="connsiteY28" fmla="*/ 9525 h 207169"/>
                  <a:gd name="connsiteX29" fmla="*/ 702469 w 1121416"/>
                  <a:gd name="connsiteY29" fmla="*/ 7144 h 207169"/>
                  <a:gd name="connsiteX30" fmla="*/ 559594 w 1121416"/>
                  <a:gd name="connsiteY30" fmla="*/ 0 h 207169"/>
                  <a:gd name="connsiteX31" fmla="*/ 338138 w 1121416"/>
                  <a:gd name="connsiteY31" fmla="*/ 2381 h 207169"/>
                  <a:gd name="connsiteX32" fmla="*/ 295275 w 1121416"/>
                  <a:gd name="connsiteY32" fmla="*/ 7144 h 207169"/>
                  <a:gd name="connsiteX33" fmla="*/ 278607 w 1121416"/>
                  <a:gd name="connsiteY33" fmla="*/ 9525 h 207169"/>
                  <a:gd name="connsiteX34" fmla="*/ 269082 w 1121416"/>
                  <a:gd name="connsiteY34" fmla="*/ 11906 h 207169"/>
                  <a:gd name="connsiteX35" fmla="*/ 238125 w 1121416"/>
                  <a:gd name="connsiteY35" fmla="*/ 14287 h 207169"/>
                  <a:gd name="connsiteX36" fmla="*/ 216694 w 1121416"/>
                  <a:gd name="connsiteY36" fmla="*/ 21431 h 207169"/>
                  <a:gd name="connsiteX37" fmla="*/ 195263 w 1121416"/>
                  <a:gd name="connsiteY37" fmla="*/ 26194 h 207169"/>
                  <a:gd name="connsiteX38" fmla="*/ 183357 w 1121416"/>
                  <a:gd name="connsiteY38" fmla="*/ 28575 h 207169"/>
                  <a:gd name="connsiteX39" fmla="*/ 147638 w 1121416"/>
                  <a:gd name="connsiteY39" fmla="*/ 38100 h 207169"/>
                  <a:gd name="connsiteX40" fmla="*/ 128588 w 1121416"/>
                  <a:gd name="connsiteY40" fmla="*/ 45244 h 207169"/>
                  <a:gd name="connsiteX41" fmla="*/ 109538 w 1121416"/>
                  <a:gd name="connsiteY41" fmla="*/ 50006 h 207169"/>
                  <a:gd name="connsiteX42" fmla="*/ 97632 w 1121416"/>
                  <a:gd name="connsiteY42" fmla="*/ 54769 h 207169"/>
                  <a:gd name="connsiteX43" fmla="*/ 80963 w 1121416"/>
                  <a:gd name="connsiteY43" fmla="*/ 57150 h 207169"/>
                  <a:gd name="connsiteX44" fmla="*/ 54769 w 1121416"/>
                  <a:gd name="connsiteY44" fmla="*/ 61912 h 207169"/>
                  <a:gd name="connsiteX45" fmla="*/ 47625 w 1121416"/>
                  <a:gd name="connsiteY45" fmla="*/ 64294 h 207169"/>
                  <a:gd name="connsiteX46" fmla="*/ 23813 w 1121416"/>
                  <a:gd name="connsiteY46" fmla="*/ 71437 h 207169"/>
                  <a:gd name="connsiteX47" fmla="*/ 9525 w 1121416"/>
                  <a:gd name="connsiteY47" fmla="*/ 80962 h 207169"/>
                  <a:gd name="connsiteX48" fmla="*/ 0 w 1121416"/>
                  <a:gd name="connsiteY48" fmla="*/ 104775 h 207169"/>
                  <a:gd name="connsiteX49" fmla="*/ 11907 w 1121416"/>
                  <a:gd name="connsiteY4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38125 w 1121416"/>
                  <a:gd name="connsiteY11" fmla="*/ 178594 h 207169"/>
                  <a:gd name="connsiteX12" fmla="*/ 285750 w 1121416"/>
                  <a:gd name="connsiteY12" fmla="*/ 192881 h 207169"/>
                  <a:gd name="connsiteX13" fmla="*/ 457200 w 1121416"/>
                  <a:gd name="connsiteY13" fmla="*/ 207169 h 207169"/>
                  <a:gd name="connsiteX14" fmla="*/ 604838 w 1121416"/>
                  <a:gd name="connsiteY14" fmla="*/ 204787 h 207169"/>
                  <a:gd name="connsiteX15" fmla="*/ 623888 w 1121416"/>
                  <a:gd name="connsiteY15" fmla="*/ 200025 h 207169"/>
                  <a:gd name="connsiteX16" fmla="*/ 676275 w 1121416"/>
                  <a:gd name="connsiteY16" fmla="*/ 197644 h 207169"/>
                  <a:gd name="connsiteX17" fmla="*/ 797719 w 1121416"/>
                  <a:gd name="connsiteY17" fmla="*/ 188119 h 207169"/>
                  <a:gd name="connsiteX18" fmla="*/ 866775 w 1121416"/>
                  <a:gd name="connsiteY18" fmla="*/ 173831 h 207169"/>
                  <a:gd name="connsiteX19" fmla="*/ 940594 w 1121416"/>
                  <a:gd name="connsiteY19" fmla="*/ 169069 h 207169"/>
                  <a:gd name="connsiteX20" fmla="*/ 971550 w 1121416"/>
                  <a:gd name="connsiteY20" fmla="*/ 166687 h 207169"/>
                  <a:gd name="connsiteX21" fmla="*/ 1052513 w 1121416"/>
                  <a:gd name="connsiteY21" fmla="*/ 142875 h 207169"/>
                  <a:gd name="connsiteX22" fmla="*/ 1116807 w 1121416"/>
                  <a:gd name="connsiteY22" fmla="*/ 95250 h 207169"/>
                  <a:gd name="connsiteX23" fmla="*/ 1114425 w 1121416"/>
                  <a:gd name="connsiteY23" fmla="*/ 85725 h 207169"/>
                  <a:gd name="connsiteX24" fmla="*/ 1054894 w 1121416"/>
                  <a:gd name="connsiteY24" fmla="*/ 61912 h 207169"/>
                  <a:gd name="connsiteX25" fmla="*/ 966788 w 1121416"/>
                  <a:gd name="connsiteY25" fmla="*/ 35719 h 207169"/>
                  <a:gd name="connsiteX26" fmla="*/ 857250 w 1121416"/>
                  <a:gd name="connsiteY26" fmla="*/ 21431 h 207169"/>
                  <a:gd name="connsiteX27" fmla="*/ 790575 w 1121416"/>
                  <a:gd name="connsiteY27" fmla="*/ 9525 h 207169"/>
                  <a:gd name="connsiteX28" fmla="*/ 702469 w 1121416"/>
                  <a:gd name="connsiteY28" fmla="*/ 7144 h 207169"/>
                  <a:gd name="connsiteX29" fmla="*/ 559594 w 1121416"/>
                  <a:gd name="connsiteY29" fmla="*/ 0 h 207169"/>
                  <a:gd name="connsiteX30" fmla="*/ 338138 w 1121416"/>
                  <a:gd name="connsiteY30" fmla="*/ 2381 h 207169"/>
                  <a:gd name="connsiteX31" fmla="*/ 295275 w 1121416"/>
                  <a:gd name="connsiteY31" fmla="*/ 7144 h 207169"/>
                  <a:gd name="connsiteX32" fmla="*/ 278607 w 1121416"/>
                  <a:gd name="connsiteY32" fmla="*/ 9525 h 207169"/>
                  <a:gd name="connsiteX33" fmla="*/ 269082 w 1121416"/>
                  <a:gd name="connsiteY33" fmla="*/ 11906 h 207169"/>
                  <a:gd name="connsiteX34" fmla="*/ 238125 w 1121416"/>
                  <a:gd name="connsiteY34" fmla="*/ 14287 h 207169"/>
                  <a:gd name="connsiteX35" fmla="*/ 216694 w 1121416"/>
                  <a:gd name="connsiteY35" fmla="*/ 21431 h 207169"/>
                  <a:gd name="connsiteX36" fmla="*/ 195263 w 1121416"/>
                  <a:gd name="connsiteY36" fmla="*/ 26194 h 207169"/>
                  <a:gd name="connsiteX37" fmla="*/ 183357 w 1121416"/>
                  <a:gd name="connsiteY37" fmla="*/ 28575 h 207169"/>
                  <a:gd name="connsiteX38" fmla="*/ 147638 w 1121416"/>
                  <a:gd name="connsiteY38" fmla="*/ 38100 h 207169"/>
                  <a:gd name="connsiteX39" fmla="*/ 128588 w 1121416"/>
                  <a:gd name="connsiteY39" fmla="*/ 45244 h 207169"/>
                  <a:gd name="connsiteX40" fmla="*/ 109538 w 1121416"/>
                  <a:gd name="connsiteY40" fmla="*/ 50006 h 207169"/>
                  <a:gd name="connsiteX41" fmla="*/ 97632 w 1121416"/>
                  <a:gd name="connsiteY41" fmla="*/ 54769 h 207169"/>
                  <a:gd name="connsiteX42" fmla="*/ 80963 w 1121416"/>
                  <a:gd name="connsiteY42" fmla="*/ 57150 h 207169"/>
                  <a:gd name="connsiteX43" fmla="*/ 54769 w 1121416"/>
                  <a:gd name="connsiteY43" fmla="*/ 61912 h 207169"/>
                  <a:gd name="connsiteX44" fmla="*/ 47625 w 1121416"/>
                  <a:gd name="connsiteY44" fmla="*/ 64294 h 207169"/>
                  <a:gd name="connsiteX45" fmla="*/ 23813 w 1121416"/>
                  <a:gd name="connsiteY45" fmla="*/ 71437 h 207169"/>
                  <a:gd name="connsiteX46" fmla="*/ 9525 w 1121416"/>
                  <a:gd name="connsiteY46" fmla="*/ 80962 h 207169"/>
                  <a:gd name="connsiteX47" fmla="*/ 0 w 1121416"/>
                  <a:gd name="connsiteY47" fmla="*/ 104775 h 207169"/>
                  <a:gd name="connsiteX48" fmla="*/ 11907 w 1121416"/>
                  <a:gd name="connsiteY4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202407 w 1121416"/>
                  <a:gd name="connsiteY9" fmla="*/ 169069 h 207169"/>
                  <a:gd name="connsiteX10" fmla="*/ 238125 w 1121416"/>
                  <a:gd name="connsiteY10" fmla="*/ 178594 h 207169"/>
                  <a:gd name="connsiteX11" fmla="*/ 285750 w 1121416"/>
                  <a:gd name="connsiteY11" fmla="*/ 192881 h 207169"/>
                  <a:gd name="connsiteX12" fmla="*/ 457200 w 1121416"/>
                  <a:gd name="connsiteY12" fmla="*/ 207169 h 207169"/>
                  <a:gd name="connsiteX13" fmla="*/ 604838 w 1121416"/>
                  <a:gd name="connsiteY13" fmla="*/ 204787 h 207169"/>
                  <a:gd name="connsiteX14" fmla="*/ 623888 w 1121416"/>
                  <a:gd name="connsiteY14" fmla="*/ 200025 h 207169"/>
                  <a:gd name="connsiteX15" fmla="*/ 676275 w 1121416"/>
                  <a:gd name="connsiteY15" fmla="*/ 197644 h 207169"/>
                  <a:gd name="connsiteX16" fmla="*/ 797719 w 1121416"/>
                  <a:gd name="connsiteY16" fmla="*/ 188119 h 207169"/>
                  <a:gd name="connsiteX17" fmla="*/ 866775 w 1121416"/>
                  <a:gd name="connsiteY17" fmla="*/ 173831 h 207169"/>
                  <a:gd name="connsiteX18" fmla="*/ 940594 w 1121416"/>
                  <a:gd name="connsiteY18" fmla="*/ 169069 h 207169"/>
                  <a:gd name="connsiteX19" fmla="*/ 971550 w 1121416"/>
                  <a:gd name="connsiteY19" fmla="*/ 166687 h 207169"/>
                  <a:gd name="connsiteX20" fmla="*/ 1052513 w 1121416"/>
                  <a:gd name="connsiteY20" fmla="*/ 142875 h 207169"/>
                  <a:gd name="connsiteX21" fmla="*/ 1116807 w 1121416"/>
                  <a:gd name="connsiteY21" fmla="*/ 95250 h 207169"/>
                  <a:gd name="connsiteX22" fmla="*/ 1114425 w 1121416"/>
                  <a:gd name="connsiteY22" fmla="*/ 85725 h 207169"/>
                  <a:gd name="connsiteX23" fmla="*/ 1054894 w 1121416"/>
                  <a:gd name="connsiteY23" fmla="*/ 61912 h 207169"/>
                  <a:gd name="connsiteX24" fmla="*/ 966788 w 1121416"/>
                  <a:gd name="connsiteY24" fmla="*/ 35719 h 207169"/>
                  <a:gd name="connsiteX25" fmla="*/ 857250 w 1121416"/>
                  <a:gd name="connsiteY25" fmla="*/ 21431 h 207169"/>
                  <a:gd name="connsiteX26" fmla="*/ 790575 w 1121416"/>
                  <a:gd name="connsiteY26" fmla="*/ 9525 h 207169"/>
                  <a:gd name="connsiteX27" fmla="*/ 702469 w 1121416"/>
                  <a:gd name="connsiteY27" fmla="*/ 7144 h 207169"/>
                  <a:gd name="connsiteX28" fmla="*/ 559594 w 1121416"/>
                  <a:gd name="connsiteY28" fmla="*/ 0 h 207169"/>
                  <a:gd name="connsiteX29" fmla="*/ 338138 w 1121416"/>
                  <a:gd name="connsiteY29" fmla="*/ 2381 h 207169"/>
                  <a:gd name="connsiteX30" fmla="*/ 295275 w 1121416"/>
                  <a:gd name="connsiteY30" fmla="*/ 7144 h 207169"/>
                  <a:gd name="connsiteX31" fmla="*/ 278607 w 1121416"/>
                  <a:gd name="connsiteY31" fmla="*/ 9525 h 207169"/>
                  <a:gd name="connsiteX32" fmla="*/ 269082 w 1121416"/>
                  <a:gd name="connsiteY32" fmla="*/ 11906 h 207169"/>
                  <a:gd name="connsiteX33" fmla="*/ 238125 w 1121416"/>
                  <a:gd name="connsiteY33" fmla="*/ 14287 h 207169"/>
                  <a:gd name="connsiteX34" fmla="*/ 216694 w 1121416"/>
                  <a:gd name="connsiteY34" fmla="*/ 21431 h 207169"/>
                  <a:gd name="connsiteX35" fmla="*/ 195263 w 1121416"/>
                  <a:gd name="connsiteY35" fmla="*/ 26194 h 207169"/>
                  <a:gd name="connsiteX36" fmla="*/ 183357 w 1121416"/>
                  <a:gd name="connsiteY36" fmla="*/ 28575 h 207169"/>
                  <a:gd name="connsiteX37" fmla="*/ 147638 w 1121416"/>
                  <a:gd name="connsiteY37" fmla="*/ 38100 h 207169"/>
                  <a:gd name="connsiteX38" fmla="*/ 128588 w 1121416"/>
                  <a:gd name="connsiteY38" fmla="*/ 45244 h 207169"/>
                  <a:gd name="connsiteX39" fmla="*/ 109538 w 1121416"/>
                  <a:gd name="connsiteY39" fmla="*/ 50006 h 207169"/>
                  <a:gd name="connsiteX40" fmla="*/ 97632 w 1121416"/>
                  <a:gd name="connsiteY40" fmla="*/ 54769 h 207169"/>
                  <a:gd name="connsiteX41" fmla="*/ 80963 w 1121416"/>
                  <a:gd name="connsiteY41" fmla="*/ 57150 h 207169"/>
                  <a:gd name="connsiteX42" fmla="*/ 54769 w 1121416"/>
                  <a:gd name="connsiteY42" fmla="*/ 61912 h 207169"/>
                  <a:gd name="connsiteX43" fmla="*/ 47625 w 1121416"/>
                  <a:gd name="connsiteY43" fmla="*/ 64294 h 207169"/>
                  <a:gd name="connsiteX44" fmla="*/ 23813 w 1121416"/>
                  <a:gd name="connsiteY44" fmla="*/ 71437 h 207169"/>
                  <a:gd name="connsiteX45" fmla="*/ 9525 w 1121416"/>
                  <a:gd name="connsiteY45" fmla="*/ 80962 h 207169"/>
                  <a:gd name="connsiteX46" fmla="*/ 0 w 1121416"/>
                  <a:gd name="connsiteY46" fmla="*/ 104775 h 207169"/>
                  <a:gd name="connsiteX47" fmla="*/ 11907 w 1121416"/>
                  <a:gd name="connsiteY4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1443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121443 w 1121416"/>
                  <a:gd name="connsiteY6" fmla="*/ 152400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02407 w 1121416"/>
                  <a:gd name="connsiteY6" fmla="*/ 169069 h 207169"/>
                  <a:gd name="connsiteX7" fmla="*/ 238125 w 1121416"/>
                  <a:gd name="connsiteY7" fmla="*/ 178594 h 207169"/>
                  <a:gd name="connsiteX8" fmla="*/ 285750 w 1121416"/>
                  <a:gd name="connsiteY8" fmla="*/ 192881 h 207169"/>
                  <a:gd name="connsiteX9" fmla="*/ 457200 w 1121416"/>
                  <a:gd name="connsiteY9" fmla="*/ 207169 h 207169"/>
                  <a:gd name="connsiteX10" fmla="*/ 604838 w 1121416"/>
                  <a:gd name="connsiteY10" fmla="*/ 204787 h 207169"/>
                  <a:gd name="connsiteX11" fmla="*/ 623888 w 1121416"/>
                  <a:gd name="connsiteY11" fmla="*/ 200025 h 207169"/>
                  <a:gd name="connsiteX12" fmla="*/ 676275 w 1121416"/>
                  <a:gd name="connsiteY12" fmla="*/ 197644 h 207169"/>
                  <a:gd name="connsiteX13" fmla="*/ 797719 w 1121416"/>
                  <a:gd name="connsiteY13" fmla="*/ 188119 h 207169"/>
                  <a:gd name="connsiteX14" fmla="*/ 866775 w 1121416"/>
                  <a:gd name="connsiteY14" fmla="*/ 173831 h 207169"/>
                  <a:gd name="connsiteX15" fmla="*/ 940594 w 1121416"/>
                  <a:gd name="connsiteY15" fmla="*/ 169069 h 207169"/>
                  <a:gd name="connsiteX16" fmla="*/ 971550 w 1121416"/>
                  <a:gd name="connsiteY16" fmla="*/ 166687 h 207169"/>
                  <a:gd name="connsiteX17" fmla="*/ 1052513 w 1121416"/>
                  <a:gd name="connsiteY17" fmla="*/ 142875 h 207169"/>
                  <a:gd name="connsiteX18" fmla="*/ 1116807 w 1121416"/>
                  <a:gd name="connsiteY18" fmla="*/ 95250 h 207169"/>
                  <a:gd name="connsiteX19" fmla="*/ 1114425 w 1121416"/>
                  <a:gd name="connsiteY19" fmla="*/ 85725 h 207169"/>
                  <a:gd name="connsiteX20" fmla="*/ 1054894 w 1121416"/>
                  <a:gd name="connsiteY20" fmla="*/ 61912 h 207169"/>
                  <a:gd name="connsiteX21" fmla="*/ 966788 w 1121416"/>
                  <a:gd name="connsiteY21" fmla="*/ 35719 h 207169"/>
                  <a:gd name="connsiteX22" fmla="*/ 857250 w 1121416"/>
                  <a:gd name="connsiteY22" fmla="*/ 21431 h 207169"/>
                  <a:gd name="connsiteX23" fmla="*/ 790575 w 1121416"/>
                  <a:gd name="connsiteY23" fmla="*/ 9525 h 207169"/>
                  <a:gd name="connsiteX24" fmla="*/ 702469 w 1121416"/>
                  <a:gd name="connsiteY24" fmla="*/ 7144 h 207169"/>
                  <a:gd name="connsiteX25" fmla="*/ 559594 w 1121416"/>
                  <a:gd name="connsiteY25" fmla="*/ 0 h 207169"/>
                  <a:gd name="connsiteX26" fmla="*/ 338138 w 1121416"/>
                  <a:gd name="connsiteY26" fmla="*/ 2381 h 207169"/>
                  <a:gd name="connsiteX27" fmla="*/ 295275 w 1121416"/>
                  <a:gd name="connsiteY27" fmla="*/ 7144 h 207169"/>
                  <a:gd name="connsiteX28" fmla="*/ 278607 w 1121416"/>
                  <a:gd name="connsiteY28" fmla="*/ 9525 h 207169"/>
                  <a:gd name="connsiteX29" fmla="*/ 269082 w 1121416"/>
                  <a:gd name="connsiteY29" fmla="*/ 11906 h 207169"/>
                  <a:gd name="connsiteX30" fmla="*/ 238125 w 1121416"/>
                  <a:gd name="connsiteY30" fmla="*/ 14287 h 207169"/>
                  <a:gd name="connsiteX31" fmla="*/ 216694 w 1121416"/>
                  <a:gd name="connsiteY31" fmla="*/ 21431 h 207169"/>
                  <a:gd name="connsiteX32" fmla="*/ 195263 w 1121416"/>
                  <a:gd name="connsiteY32" fmla="*/ 26194 h 207169"/>
                  <a:gd name="connsiteX33" fmla="*/ 183357 w 1121416"/>
                  <a:gd name="connsiteY33" fmla="*/ 28575 h 207169"/>
                  <a:gd name="connsiteX34" fmla="*/ 147638 w 1121416"/>
                  <a:gd name="connsiteY34" fmla="*/ 38100 h 207169"/>
                  <a:gd name="connsiteX35" fmla="*/ 128588 w 1121416"/>
                  <a:gd name="connsiteY35" fmla="*/ 45244 h 207169"/>
                  <a:gd name="connsiteX36" fmla="*/ 109538 w 1121416"/>
                  <a:gd name="connsiteY36" fmla="*/ 50006 h 207169"/>
                  <a:gd name="connsiteX37" fmla="*/ 97632 w 1121416"/>
                  <a:gd name="connsiteY37" fmla="*/ 54769 h 207169"/>
                  <a:gd name="connsiteX38" fmla="*/ 80963 w 1121416"/>
                  <a:gd name="connsiteY38" fmla="*/ 57150 h 207169"/>
                  <a:gd name="connsiteX39" fmla="*/ 54769 w 1121416"/>
                  <a:gd name="connsiteY39" fmla="*/ 61912 h 207169"/>
                  <a:gd name="connsiteX40" fmla="*/ 47625 w 1121416"/>
                  <a:gd name="connsiteY40" fmla="*/ 64294 h 207169"/>
                  <a:gd name="connsiteX41" fmla="*/ 23813 w 1121416"/>
                  <a:gd name="connsiteY41" fmla="*/ 71437 h 207169"/>
                  <a:gd name="connsiteX42" fmla="*/ 9525 w 1121416"/>
                  <a:gd name="connsiteY42" fmla="*/ 80962 h 207169"/>
                  <a:gd name="connsiteX43" fmla="*/ 0 w 1121416"/>
                  <a:gd name="connsiteY43" fmla="*/ 104775 h 207169"/>
                  <a:gd name="connsiteX44" fmla="*/ 11907 w 1121416"/>
                  <a:gd name="connsiteY4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43" fmla="*/ 11907 w 1121416"/>
                  <a:gd name="connsiteY43" fmla="*/ 111919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23813 w 1121416"/>
                  <a:gd name="connsiteY39" fmla="*/ 71437 h 207169"/>
                  <a:gd name="connsiteX40" fmla="*/ 9525 w 1121416"/>
                  <a:gd name="connsiteY40" fmla="*/ 80962 h 207169"/>
                  <a:gd name="connsiteX41" fmla="*/ 0 w 1121416"/>
                  <a:gd name="connsiteY4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9525 w 1121416"/>
                  <a:gd name="connsiteY39" fmla="*/ 80962 h 207169"/>
                  <a:gd name="connsiteX40" fmla="*/ 0 w 1121416"/>
                  <a:gd name="connsiteY4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9525 w 1121416"/>
                  <a:gd name="connsiteY38" fmla="*/ 80962 h 207169"/>
                  <a:gd name="connsiteX39" fmla="*/ 0 w 1121416"/>
                  <a:gd name="connsiteY3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54769 w 1121416"/>
                  <a:gd name="connsiteY36" fmla="*/ 61912 h 207169"/>
                  <a:gd name="connsiteX37" fmla="*/ 9525 w 1121416"/>
                  <a:gd name="connsiteY37" fmla="*/ 80962 h 207169"/>
                  <a:gd name="connsiteX38" fmla="*/ 0 w 1121416"/>
                  <a:gd name="connsiteY38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54769 w 1121416"/>
                  <a:gd name="connsiteY35" fmla="*/ 61912 h 207169"/>
                  <a:gd name="connsiteX36" fmla="*/ 9525 w 1121416"/>
                  <a:gd name="connsiteY36" fmla="*/ 80962 h 207169"/>
                  <a:gd name="connsiteX37" fmla="*/ 0 w 1121416"/>
                  <a:gd name="connsiteY37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54769 w 1121416"/>
                  <a:gd name="connsiteY34" fmla="*/ 61912 h 207169"/>
                  <a:gd name="connsiteX35" fmla="*/ 9525 w 1121416"/>
                  <a:gd name="connsiteY35" fmla="*/ 80962 h 207169"/>
                  <a:gd name="connsiteX36" fmla="*/ 0 w 1121416"/>
                  <a:gd name="connsiteY36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54769 w 1121416"/>
                  <a:gd name="connsiteY33" fmla="*/ 61912 h 207169"/>
                  <a:gd name="connsiteX34" fmla="*/ 9525 w 1121416"/>
                  <a:gd name="connsiteY34" fmla="*/ 80962 h 207169"/>
                  <a:gd name="connsiteX35" fmla="*/ 0 w 1121416"/>
                  <a:gd name="connsiteY35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54769 w 1121416"/>
                  <a:gd name="connsiteY32" fmla="*/ 61912 h 207169"/>
                  <a:gd name="connsiteX33" fmla="*/ 9525 w 1121416"/>
                  <a:gd name="connsiteY33" fmla="*/ 80962 h 207169"/>
                  <a:gd name="connsiteX34" fmla="*/ 0 w 1121416"/>
                  <a:gd name="connsiteY34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54769 w 1121416"/>
                  <a:gd name="connsiteY31" fmla="*/ 61912 h 207169"/>
                  <a:gd name="connsiteX32" fmla="*/ 9525 w 1121416"/>
                  <a:gd name="connsiteY32" fmla="*/ 80962 h 207169"/>
                  <a:gd name="connsiteX33" fmla="*/ 0 w 1121416"/>
                  <a:gd name="connsiteY33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54769 w 1121416"/>
                  <a:gd name="connsiteY30" fmla="*/ 61912 h 207169"/>
                  <a:gd name="connsiteX31" fmla="*/ 9525 w 1121416"/>
                  <a:gd name="connsiteY31" fmla="*/ 80962 h 207169"/>
                  <a:gd name="connsiteX32" fmla="*/ 0 w 1121416"/>
                  <a:gd name="connsiteY3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54769 w 1121416"/>
                  <a:gd name="connsiteY29" fmla="*/ 61912 h 207169"/>
                  <a:gd name="connsiteX30" fmla="*/ 9525 w 1121416"/>
                  <a:gd name="connsiteY30" fmla="*/ 80962 h 207169"/>
                  <a:gd name="connsiteX31" fmla="*/ 0 w 1121416"/>
                  <a:gd name="connsiteY3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38125 w 1121416"/>
                  <a:gd name="connsiteY27" fmla="*/ 14287 h 207169"/>
                  <a:gd name="connsiteX28" fmla="*/ 54769 w 1121416"/>
                  <a:gd name="connsiteY28" fmla="*/ 61912 h 207169"/>
                  <a:gd name="connsiteX29" fmla="*/ 9525 w 1121416"/>
                  <a:gd name="connsiteY29" fmla="*/ 80962 h 207169"/>
                  <a:gd name="connsiteX30" fmla="*/ 0 w 1121416"/>
                  <a:gd name="connsiteY3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78607 w 1121416"/>
                  <a:gd name="connsiteY25" fmla="*/ 9525 h 207169"/>
                  <a:gd name="connsiteX26" fmla="*/ 238125 w 1121416"/>
                  <a:gd name="connsiteY26" fmla="*/ 14287 h 207169"/>
                  <a:gd name="connsiteX27" fmla="*/ 54769 w 1121416"/>
                  <a:gd name="connsiteY27" fmla="*/ 61912 h 207169"/>
                  <a:gd name="connsiteX28" fmla="*/ 9525 w 1121416"/>
                  <a:gd name="connsiteY28" fmla="*/ 80962 h 207169"/>
                  <a:gd name="connsiteX29" fmla="*/ 0 w 1121416"/>
                  <a:gd name="connsiteY2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85750 w 1121416"/>
                  <a:gd name="connsiteY5" fmla="*/ 192881 h 207169"/>
                  <a:gd name="connsiteX6" fmla="*/ 457200 w 1121416"/>
                  <a:gd name="connsiteY6" fmla="*/ 207169 h 207169"/>
                  <a:gd name="connsiteX7" fmla="*/ 604838 w 1121416"/>
                  <a:gd name="connsiteY7" fmla="*/ 204787 h 207169"/>
                  <a:gd name="connsiteX8" fmla="*/ 623888 w 1121416"/>
                  <a:gd name="connsiteY8" fmla="*/ 200025 h 207169"/>
                  <a:gd name="connsiteX9" fmla="*/ 676275 w 1121416"/>
                  <a:gd name="connsiteY9" fmla="*/ 197644 h 207169"/>
                  <a:gd name="connsiteX10" fmla="*/ 797719 w 1121416"/>
                  <a:gd name="connsiteY10" fmla="*/ 188119 h 207169"/>
                  <a:gd name="connsiteX11" fmla="*/ 866775 w 1121416"/>
                  <a:gd name="connsiteY11" fmla="*/ 173831 h 207169"/>
                  <a:gd name="connsiteX12" fmla="*/ 940594 w 1121416"/>
                  <a:gd name="connsiteY12" fmla="*/ 169069 h 207169"/>
                  <a:gd name="connsiteX13" fmla="*/ 971550 w 1121416"/>
                  <a:gd name="connsiteY13" fmla="*/ 166687 h 207169"/>
                  <a:gd name="connsiteX14" fmla="*/ 1052513 w 1121416"/>
                  <a:gd name="connsiteY14" fmla="*/ 142875 h 207169"/>
                  <a:gd name="connsiteX15" fmla="*/ 1116807 w 1121416"/>
                  <a:gd name="connsiteY15" fmla="*/ 95250 h 207169"/>
                  <a:gd name="connsiteX16" fmla="*/ 1114425 w 1121416"/>
                  <a:gd name="connsiteY16" fmla="*/ 85725 h 207169"/>
                  <a:gd name="connsiteX17" fmla="*/ 1054894 w 1121416"/>
                  <a:gd name="connsiteY17" fmla="*/ 61912 h 207169"/>
                  <a:gd name="connsiteX18" fmla="*/ 966788 w 1121416"/>
                  <a:gd name="connsiteY18" fmla="*/ 35719 h 207169"/>
                  <a:gd name="connsiteX19" fmla="*/ 857250 w 1121416"/>
                  <a:gd name="connsiteY19" fmla="*/ 21431 h 207169"/>
                  <a:gd name="connsiteX20" fmla="*/ 790575 w 1121416"/>
                  <a:gd name="connsiteY20" fmla="*/ 9525 h 207169"/>
                  <a:gd name="connsiteX21" fmla="*/ 702469 w 1121416"/>
                  <a:gd name="connsiteY21" fmla="*/ 7144 h 207169"/>
                  <a:gd name="connsiteX22" fmla="*/ 559594 w 1121416"/>
                  <a:gd name="connsiteY22" fmla="*/ 0 h 207169"/>
                  <a:gd name="connsiteX23" fmla="*/ 338138 w 1121416"/>
                  <a:gd name="connsiteY23" fmla="*/ 2381 h 207169"/>
                  <a:gd name="connsiteX24" fmla="*/ 278607 w 1121416"/>
                  <a:gd name="connsiteY24" fmla="*/ 9525 h 207169"/>
                  <a:gd name="connsiteX25" fmla="*/ 238125 w 1121416"/>
                  <a:gd name="connsiteY25" fmla="*/ 14287 h 207169"/>
                  <a:gd name="connsiteX26" fmla="*/ 54769 w 1121416"/>
                  <a:gd name="connsiteY26" fmla="*/ 61912 h 207169"/>
                  <a:gd name="connsiteX27" fmla="*/ 9525 w 1121416"/>
                  <a:gd name="connsiteY27" fmla="*/ 80962 h 207169"/>
                  <a:gd name="connsiteX28" fmla="*/ 0 w 1121416"/>
                  <a:gd name="connsiteY28" fmla="*/ 104775 h 207169"/>
                  <a:gd name="connsiteX0" fmla="*/ 0 w 1129985"/>
                  <a:gd name="connsiteY0" fmla="*/ 104775 h 207169"/>
                  <a:gd name="connsiteX1" fmla="*/ 23813 w 1129985"/>
                  <a:gd name="connsiteY1" fmla="*/ 121444 h 207169"/>
                  <a:gd name="connsiteX2" fmla="*/ 28575 w 1129985"/>
                  <a:gd name="connsiteY2" fmla="*/ 128587 h 207169"/>
                  <a:gd name="connsiteX3" fmla="*/ 47625 w 1129985"/>
                  <a:gd name="connsiteY3" fmla="*/ 140494 h 207169"/>
                  <a:gd name="connsiteX4" fmla="*/ 104775 w 1129985"/>
                  <a:gd name="connsiteY4" fmla="*/ 150019 h 207169"/>
                  <a:gd name="connsiteX5" fmla="*/ 285750 w 1129985"/>
                  <a:gd name="connsiteY5" fmla="*/ 192881 h 207169"/>
                  <a:gd name="connsiteX6" fmla="*/ 457200 w 1129985"/>
                  <a:gd name="connsiteY6" fmla="*/ 207169 h 207169"/>
                  <a:gd name="connsiteX7" fmla="*/ 604838 w 1129985"/>
                  <a:gd name="connsiteY7" fmla="*/ 204787 h 207169"/>
                  <a:gd name="connsiteX8" fmla="*/ 623888 w 1129985"/>
                  <a:gd name="connsiteY8" fmla="*/ 200025 h 207169"/>
                  <a:gd name="connsiteX9" fmla="*/ 676275 w 1129985"/>
                  <a:gd name="connsiteY9" fmla="*/ 197644 h 207169"/>
                  <a:gd name="connsiteX10" fmla="*/ 797719 w 1129985"/>
                  <a:gd name="connsiteY10" fmla="*/ 188119 h 207169"/>
                  <a:gd name="connsiteX11" fmla="*/ 866775 w 1129985"/>
                  <a:gd name="connsiteY11" fmla="*/ 173831 h 207169"/>
                  <a:gd name="connsiteX12" fmla="*/ 940594 w 1129985"/>
                  <a:gd name="connsiteY12" fmla="*/ 169069 h 207169"/>
                  <a:gd name="connsiteX13" fmla="*/ 971550 w 1129985"/>
                  <a:gd name="connsiteY13" fmla="*/ 166687 h 207169"/>
                  <a:gd name="connsiteX14" fmla="*/ 1052513 w 1129985"/>
                  <a:gd name="connsiteY14" fmla="*/ 142875 h 207169"/>
                  <a:gd name="connsiteX15" fmla="*/ 1125625 w 1129985"/>
                  <a:gd name="connsiteY15" fmla="*/ 102808 h 207169"/>
                  <a:gd name="connsiteX16" fmla="*/ 1114425 w 1129985"/>
                  <a:gd name="connsiteY16" fmla="*/ 85725 h 207169"/>
                  <a:gd name="connsiteX17" fmla="*/ 1054894 w 1129985"/>
                  <a:gd name="connsiteY17" fmla="*/ 61912 h 207169"/>
                  <a:gd name="connsiteX18" fmla="*/ 966788 w 1129985"/>
                  <a:gd name="connsiteY18" fmla="*/ 35719 h 207169"/>
                  <a:gd name="connsiteX19" fmla="*/ 857250 w 1129985"/>
                  <a:gd name="connsiteY19" fmla="*/ 21431 h 207169"/>
                  <a:gd name="connsiteX20" fmla="*/ 790575 w 1129985"/>
                  <a:gd name="connsiteY20" fmla="*/ 9525 h 207169"/>
                  <a:gd name="connsiteX21" fmla="*/ 702469 w 1129985"/>
                  <a:gd name="connsiteY21" fmla="*/ 7144 h 207169"/>
                  <a:gd name="connsiteX22" fmla="*/ 559594 w 1129985"/>
                  <a:gd name="connsiteY22" fmla="*/ 0 h 207169"/>
                  <a:gd name="connsiteX23" fmla="*/ 338138 w 1129985"/>
                  <a:gd name="connsiteY23" fmla="*/ 2381 h 207169"/>
                  <a:gd name="connsiteX24" fmla="*/ 278607 w 1129985"/>
                  <a:gd name="connsiteY24" fmla="*/ 9525 h 207169"/>
                  <a:gd name="connsiteX25" fmla="*/ 238125 w 1129985"/>
                  <a:gd name="connsiteY25" fmla="*/ 14287 h 207169"/>
                  <a:gd name="connsiteX26" fmla="*/ 54769 w 1129985"/>
                  <a:gd name="connsiteY26" fmla="*/ 61912 h 207169"/>
                  <a:gd name="connsiteX27" fmla="*/ 9525 w 1129985"/>
                  <a:gd name="connsiteY27" fmla="*/ 80962 h 207169"/>
                  <a:gd name="connsiteX28" fmla="*/ 0 w 1129985"/>
                  <a:gd name="connsiteY28" fmla="*/ 104775 h 207169"/>
                  <a:gd name="connsiteX0" fmla="*/ 0 w 1128285"/>
                  <a:gd name="connsiteY0" fmla="*/ 104775 h 207169"/>
                  <a:gd name="connsiteX1" fmla="*/ 23813 w 1128285"/>
                  <a:gd name="connsiteY1" fmla="*/ 121444 h 207169"/>
                  <a:gd name="connsiteX2" fmla="*/ 28575 w 1128285"/>
                  <a:gd name="connsiteY2" fmla="*/ 128587 h 207169"/>
                  <a:gd name="connsiteX3" fmla="*/ 47625 w 1128285"/>
                  <a:gd name="connsiteY3" fmla="*/ 140494 h 207169"/>
                  <a:gd name="connsiteX4" fmla="*/ 104775 w 1128285"/>
                  <a:gd name="connsiteY4" fmla="*/ 150019 h 207169"/>
                  <a:gd name="connsiteX5" fmla="*/ 285750 w 1128285"/>
                  <a:gd name="connsiteY5" fmla="*/ 192881 h 207169"/>
                  <a:gd name="connsiteX6" fmla="*/ 457200 w 1128285"/>
                  <a:gd name="connsiteY6" fmla="*/ 207169 h 207169"/>
                  <a:gd name="connsiteX7" fmla="*/ 604838 w 1128285"/>
                  <a:gd name="connsiteY7" fmla="*/ 204787 h 207169"/>
                  <a:gd name="connsiteX8" fmla="*/ 623888 w 1128285"/>
                  <a:gd name="connsiteY8" fmla="*/ 200025 h 207169"/>
                  <a:gd name="connsiteX9" fmla="*/ 676275 w 1128285"/>
                  <a:gd name="connsiteY9" fmla="*/ 197644 h 207169"/>
                  <a:gd name="connsiteX10" fmla="*/ 797719 w 1128285"/>
                  <a:gd name="connsiteY10" fmla="*/ 188119 h 207169"/>
                  <a:gd name="connsiteX11" fmla="*/ 866775 w 1128285"/>
                  <a:gd name="connsiteY11" fmla="*/ 173831 h 207169"/>
                  <a:gd name="connsiteX12" fmla="*/ 940594 w 1128285"/>
                  <a:gd name="connsiteY12" fmla="*/ 169069 h 207169"/>
                  <a:gd name="connsiteX13" fmla="*/ 971550 w 1128285"/>
                  <a:gd name="connsiteY13" fmla="*/ 166687 h 207169"/>
                  <a:gd name="connsiteX14" fmla="*/ 1052513 w 1128285"/>
                  <a:gd name="connsiteY14" fmla="*/ 142875 h 207169"/>
                  <a:gd name="connsiteX15" fmla="*/ 1125625 w 1128285"/>
                  <a:gd name="connsiteY15" fmla="*/ 102808 h 207169"/>
                  <a:gd name="connsiteX16" fmla="*/ 1106866 w 1128285"/>
                  <a:gd name="connsiteY16" fmla="*/ 74387 h 207169"/>
                  <a:gd name="connsiteX17" fmla="*/ 1054894 w 1128285"/>
                  <a:gd name="connsiteY17" fmla="*/ 61912 h 207169"/>
                  <a:gd name="connsiteX18" fmla="*/ 966788 w 1128285"/>
                  <a:gd name="connsiteY18" fmla="*/ 35719 h 207169"/>
                  <a:gd name="connsiteX19" fmla="*/ 857250 w 1128285"/>
                  <a:gd name="connsiteY19" fmla="*/ 21431 h 207169"/>
                  <a:gd name="connsiteX20" fmla="*/ 790575 w 1128285"/>
                  <a:gd name="connsiteY20" fmla="*/ 9525 h 207169"/>
                  <a:gd name="connsiteX21" fmla="*/ 702469 w 1128285"/>
                  <a:gd name="connsiteY21" fmla="*/ 7144 h 207169"/>
                  <a:gd name="connsiteX22" fmla="*/ 559594 w 1128285"/>
                  <a:gd name="connsiteY22" fmla="*/ 0 h 207169"/>
                  <a:gd name="connsiteX23" fmla="*/ 338138 w 1128285"/>
                  <a:gd name="connsiteY23" fmla="*/ 2381 h 207169"/>
                  <a:gd name="connsiteX24" fmla="*/ 278607 w 1128285"/>
                  <a:gd name="connsiteY24" fmla="*/ 9525 h 207169"/>
                  <a:gd name="connsiteX25" fmla="*/ 238125 w 1128285"/>
                  <a:gd name="connsiteY25" fmla="*/ 14287 h 207169"/>
                  <a:gd name="connsiteX26" fmla="*/ 54769 w 1128285"/>
                  <a:gd name="connsiteY26" fmla="*/ 61912 h 207169"/>
                  <a:gd name="connsiteX27" fmla="*/ 9525 w 1128285"/>
                  <a:gd name="connsiteY27" fmla="*/ 80962 h 207169"/>
                  <a:gd name="connsiteX28" fmla="*/ 0 w 1128285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66788 w 1128511"/>
                  <a:gd name="connsiteY18" fmla="*/ 35719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8055 w 1128511"/>
                  <a:gd name="connsiteY20" fmla="*/ 448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47625 w 1128511"/>
                  <a:gd name="connsiteY2" fmla="*/ 140494 h 207169"/>
                  <a:gd name="connsiteX3" fmla="*/ 104775 w 1128511"/>
                  <a:gd name="connsiteY3" fmla="*/ 150019 h 207169"/>
                  <a:gd name="connsiteX4" fmla="*/ 285750 w 1128511"/>
                  <a:gd name="connsiteY4" fmla="*/ 192881 h 207169"/>
                  <a:gd name="connsiteX5" fmla="*/ 457200 w 1128511"/>
                  <a:gd name="connsiteY5" fmla="*/ 207169 h 207169"/>
                  <a:gd name="connsiteX6" fmla="*/ 604838 w 1128511"/>
                  <a:gd name="connsiteY6" fmla="*/ 204787 h 207169"/>
                  <a:gd name="connsiteX7" fmla="*/ 623888 w 1128511"/>
                  <a:gd name="connsiteY7" fmla="*/ 200025 h 207169"/>
                  <a:gd name="connsiteX8" fmla="*/ 676275 w 1128511"/>
                  <a:gd name="connsiteY8" fmla="*/ 197644 h 207169"/>
                  <a:gd name="connsiteX9" fmla="*/ 797719 w 1128511"/>
                  <a:gd name="connsiteY9" fmla="*/ 188119 h 207169"/>
                  <a:gd name="connsiteX10" fmla="*/ 866775 w 1128511"/>
                  <a:gd name="connsiteY10" fmla="*/ 173831 h 207169"/>
                  <a:gd name="connsiteX11" fmla="*/ 940594 w 1128511"/>
                  <a:gd name="connsiteY11" fmla="*/ 169069 h 207169"/>
                  <a:gd name="connsiteX12" fmla="*/ 971550 w 1128511"/>
                  <a:gd name="connsiteY12" fmla="*/ 166687 h 207169"/>
                  <a:gd name="connsiteX13" fmla="*/ 1052513 w 1128511"/>
                  <a:gd name="connsiteY13" fmla="*/ 142875 h 207169"/>
                  <a:gd name="connsiteX14" fmla="*/ 1125625 w 1128511"/>
                  <a:gd name="connsiteY14" fmla="*/ 102808 h 207169"/>
                  <a:gd name="connsiteX15" fmla="*/ 1106866 w 1128511"/>
                  <a:gd name="connsiteY15" fmla="*/ 74387 h 207169"/>
                  <a:gd name="connsiteX16" fmla="*/ 1042296 w 1128511"/>
                  <a:gd name="connsiteY16" fmla="*/ 44275 h 207169"/>
                  <a:gd name="connsiteX17" fmla="*/ 941593 w 1128511"/>
                  <a:gd name="connsiteY17" fmla="*/ 25641 h 207169"/>
                  <a:gd name="connsiteX18" fmla="*/ 858510 w 1128511"/>
                  <a:gd name="connsiteY18" fmla="*/ 13873 h 207169"/>
                  <a:gd name="connsiteX19" fmla="*/ 783016 w 1128511"/>
                  <a:gd name="connsiteY19" fmla="*/ 3226 h 207169"/>
                  <a:gd name="connsiteX20" fmla="*/ 693651 w 1128511"/>
                  <a:gd name="connsiteY20" fmla="*/ 2105 h 207169"/>
                  <a:gd name="connsiteX21" fmla="*/ 559594 w 1128511"/>
                  <a:gd name="connsiteY21" fmla="*/ 0 h 207169"/>
                  <a:gd name="connsiteX22" fmla="*/ 348216 w 1128511"/>
                  <a:gd name="connsiteY22" fmla="*/ 4901 h 207169"/>
                  <a:gd name="connsiteX23" fmla="*/ 221748 w 1128511"/>
                  <a:gd name="connsiteY23" fmla="*/ 15547 h 207169"/>
                  <a:gd name="connsiteX24" fmla="*/ 63587 w 1128511"/>
                  <a:gd name="connsiteY24" fmla="*/ 53093 h 207169"/>
                  <a:gd name="connsiteX25" fmla="*/ 9525 w 1128511"/>
                  <a:gd name="connsiteY25" fmla="*/ 80962 h 207169"/>
                  <a:gd name="connsiteX26" fmla="*/ 0 w 1128511"/>
                  <a:gd name="connsiteY26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104775 w 1128511"/>
                  <a:gd name="connsiteY2" fmla="*/ 150019 h 207169"/>
                  <a:gd name="connsiteX3" fmla="*/ 285750 w 1128511"/>
                  <a:gd name="connsiteY3" fmla="*/ 192881 h 207169"/>
                  <a:gd name="connsiteX4" fmla="*/ 457200 w 1128511"/>
                  <a:gd name="connsiteY4" fmla="*/ 207169 h 207169"/>
                  <a:gd name="connsiteX5" fmla="*/ 604838 w 1128511"/>
                  <a:gd name="connsiteY5" fmla="*/ 204787 h 207169"/>
                  <a:gd name="connsiteX6" fmla="*/ 623888 w 1128511"/>
                  <a:gd name="connsiteY6" fmla="*/ 200025 h 207169"/>
                  <a:gd name="connsiteX7" fmla="*/ 676275 w 1128511"/>
                  <a:gd name="connsiteY7" fmla="*/ 197644 h 207169"/>
                  <a:gd name="connsiteX8" fmla="*/ 797719 w 1128511"/>
                  <a:gd name="connsiteY8" fmla="*/ 188119 h 207169"/>
                  <a:gd name="connsiteX9" fmla="*/ 866775 w 1128511"/>
                  <a:gd name="connsiteY9" fmla="*/ 173831 h 207169"/>
                  <a:gd name="connsiteX10" fmla="*/ 940594 w 1128511"/>
                  <a:gd name="connsiteY10" fmla="*/ 169069 h 207169"/>
                  <a:gd name="connsiteX11" fmla="*/ 971550 w 1128511"/>
                  <a:gd name="connsiteY11" fmla="*/ 166687 h 207169"/>
                  <a:gd name="connsiteX12" fmla="*/ 1052513 w 1128511"/>
                  <a:gd name="connsiteY12" fmla="*/ 142875 h 207169"/>
                  <a:gd name="connsiteX13" fmla="*/ 1125625 w 1128511"/>
                  <a:gd name="connsiteY13" fmla="*/ 102808 h 207169"/>
                  <a:gd name="connsiteX14" fmla="*/ 1106866 w 1128511"/>
                  <a:gd name="connsiteY14" fmla="*/ 74387 h 207169"/>
                  <a:gd name="connsiteX15" fmla="*/ 1042296 w 1128511"/>
                  <a:gd name="connsiteY15" fmla="*/ 44275 h 207169"/>
                  <a:gd name="connsiteX16" fmla="*/ 941593 w 1128511"/>
                  <a:gd name="connsiteY16" fmla="*/ 25641 h 207169"/>
                  <a:gd name="connsiteX17" fmla="*/ 858510 w 1128511"/>
                  <a:gd name="connsiteY17" fmla="*/ 13873 h 207169"/>
                  <a:gd name="connsiteX18" fmla="*/ 783016 w 1128511"/>
                  <a:gd name="connsiteY18" fmla="*/ 3226 h 207169"/>
                  <a:gd name="connsiteX19" fmla="*/ 693651 w 1128511"/>
                  <a:gd name="connsiteY19" fmla="*/ 2105 h 207169"/>
                  <a:gd name="connsiteX20" fmla="*/ 559594 w 1128511"/>
                  <a:gd name="connsiteY20" fmla="*/ 0 h 207169"/>
                  <a:gd name="connsiteX21" fmla="*/ 348216 w 1128511"/>
                  <a:gd name="connsiteY21" fmla="*/ 4901 h 207169"/>
                  <a:gd name="connsiteX22" fmla="*/ 221748 w 1128511"/>
                  <a:gd name="connsiteY22" fmla="*/ 15547 h 207169"/>
                  <a:gd name="connsiteX23" fmla="*/ 63587 w 1128511"/>
                  <a:gd name="connsiteY23" fmla="*/ 53093 h 207169"/>
                  <a:gd name="connsiteX24" fmla="*/ 9525 w 1128511"/>
                  <a:gd name="connsiteY24" fmla="*/ 80962 h 207169"/>
                  <a:gd name="connsiteX25" fmla="*/ 0 w 1128511"/>
                  <a:gd name="connsiteY25" fmla="*/ 104775 h 207169"/>
                  <a:gd name="connsiteX0" fmla="*/ 1574 w 1130085"/>
                  <a:gd name="connsiteY0" fmla="*/ 104775 h 207169"/>
                  <a:gd name="connsiteX1" fmla="*/ 46803 w 1130085"/>
                  <a:gd name="connsiteY1" fmla="*/ 135301 h 207169"/>
                  <a:gd name="connsiteX2" fmla="*/ 106349 w 1130085"/>
                  <a:gd name="connsiteY2" fmla="*/ 150019 h 207169"/>
                  <a:gd name="connsiteX3" fmla="*/ 287324 w 1130085"/>
                  <a:gd name="connsiteY3" fmla="*/ 192881 h 207169"/>
                  <a:gd name="connsiteX4" fmla="*/ 458774 w 1130085"/>
                  <a:gd name="connsiteY4" fmla="*/ 207169 h 207169"/>
                  <a:gd name="connsiteX5" fmla="*/ 606412 w 1130085"/>
                  <a:gd name="connsiteY5" fmla="*/ 204787 h 207169"/>
                  <a:gd name="connsiteX6" fmla="*/ 625462 w 1130085"/>
                  <a:gd name="connsiteY6" fmla="*/ 200025 h 207169"/>
                  <a:gd name="connsiteX7" fmla="*/ 677849 w 1130085"/>
                  <a:gd name="connsiteY7" fmla="*/ 197644 h 207169"/>
                  <a:gd name="connsiteX8" fmla="*/ 799293 w 1130085"/>
                  <a:gd name="connsiteY8" fmla="*/ 188119 h 207169"/>
                  <a:gd name="connsiteX9" fmla="*/ 868349 w 1130085"/>
                  <a:gd name="connsiteY9" fmla="*/ 173831 h 207169"/>
                  <a:gd name="connsiteX10" fmla="*/ 942168 w 1130085"/>
                  <a:gd name="connsiteY10" fmla="*/ 169069 h 207169"/>
                  <a:gd name="connsiteX11" fmla="*/ 973124 w 1130085"/>
                  <a:gd name="connsiteY11" fmla="*/ 166687 h 207169"/>
                  <a:gd name="connsiteX12" fmla="*/ 1054087 w 1130085"/>
                  <a:gd name="connsiteY12" fmla="*/ 142875 h 207169"/>
                  <a:gd name="connsiteX13" fmla="*/ 1127199 w 1130085"/>
                  <a:gd name="connsiteY13" fmla="*/ 102808 h 207169"/>
                  <a:gd name="connsiteX14" fmla="*/ 1108440 w 1130085"/>
                  <a:gd name="connsiteY14" fmla="*/ 74387 h 207169"/>
                  <a:gd name="connsiteX15" fmla="*/ 1043870 w 1130085"/>
                  <a:gd name="connsiteY15" fmla="*/ 44275 h 207169"/>
                  <a:gd name="connsiteX16" fmla="*/ 943167 w 1130085"/>
                  <a:gd name="connsiteY16" fmla="*/ 25641 h 207169"/>
                  <a:gd name="connsiteX17" fmla="*/ 860084 w 1130085"/>
                  <a:gd name="connsiteY17" fmla="*/ 13873 h 207169"/>
                  <a:gd name="connsiteX18" fmla="*/ 784590 w 1130085"/>
                  <a:gd name="connsiteY18" fmla="*/ 3226 h 207169"/>
                  <a:gd name="connsiteX19" fmla="*/ 695225 w 1130085"/>
                  <a:gd name="connsiteY19" fmla="*/ 2105 h 207169"/>
                  <a:gd name="connsiteX20" fmla="*/ 561168 w 1130085"/>
                  <a:gd name="connsiteY20" fmla="*/ 0 h 207169"/>
                  <a:gd name="connsiteX21" fmla="*/ 349790 w 1130085"/>
                  <a:gd name="connsiteY21" fmla="*/ 4901 h 207169"/>
                  <a:gd name="connsiteX22" fmla="*/ 223322 w 1130085"/>
                  <a:gd name="connsiteY22" fmla="*/ 15547 h 207169"/>
                  <a:gd name="connsiteX23" fmla="*/ 65161 w 1130085"/>
                  <a:gd name="connsiteY23" fmla="*/ 53093 h 207169"/>
                  <a:gd name="connsiteX24" fmla="*/ 11099 w 1130085"/>
                  <a:gd name="connsiteY24" fmla="*/ 80962 h 207169"/>
                  <a:gd name="connsiteX25" fmla="*/ 1574 w 1130085"/>
                  <a:gd name="connsiteY25" fmla="*/ 104775 h 207169"/>
                  <a:gd name="connsiteX0" fmla="*/ 2544 w 1131055"/>
                  <a:gd name="connsiteY0" fmla="*/ 104775 h 207169"/>
                  <a:gd name="connsiteX1" fmla="*/ 47773 w 1131055"/>
                  <a:gd name="connsiteY1" fmla="*/ 135301 h 207169"/>
                  <a:gd name="connsiteX2" fmla="*/ 107319 w 1131055"/>
                  <a:gd name="connsiteY2" fmla="*/ 150019 h 207169"/>
                  <a:gd name="connsiteX3" fmla="*/ 288294 w 1131055"/>
                  <a:gd name="connsiteY3" fmla="*/ 192881 h 207169"/>
                  <a:gd name="connsiteX4" fmla="*/ 459744 w 1131055"/>
                  <a:gd name="connsiteY4" fmla="*/ 207169 h 207169"/>
                  <a:gd name="connsiteX5" fmla="*/ 607382 w 1131055"/>
                  <a:gd name="connsiteY5" fmla="*/ 204787 h 207169"/>
                  <a:gd name="connsiteX6" fmla="*/ 626432 w 1131055"/>
                  <a:gd name="connsiteY6" fmla="*/ 200025 h 207169"/>
                  <a:gd name="connsiteX7" fmla="*/ 678819 w 1131055"/>
                  <a:gd name="connsiteY7" fmla="*/ 197644 h 207169"/>
                  <a:gd name="connsiteX8" fmla="*/ 800263 w 1131055"/>
                  <a:gd name="connsiteY8" fmla="*/ 188119 h 207169"/>
                  <a:gd name="connsiteX9" fmla="*/ 869319 w 1131055"/>
                  <a:gd name="connsiteY9" fmla="*/ 173831 h 207169"/>
                  <a:gd name="connsiteX10" fmla="*/ 943138 w 1131055"/>
                  <a:gd name="connsiteY10" fmla="*/ 169069 h 207169"/>
                  <a:gd name="connsiteX11" fmla="*/ 974094 w 1131055"/>
                  <a:gd name="connsiteY11" fmla="*/ 166687 h 207169"/>
                  <a:gd name="connsiteX12" fmla="*/ 1055057 w 1131055"/>
                  <a:gd name="connsiteY12" fmla="*/ 142875 h 207169"/>
                  <a:gd name="connsiteX13" fmla="*/ 1128169 w 1131055"/>
                  <a:gd name="connsiteY13" fmla="*/ 102808 h 207169"/>
                  <a:gd name="connsiteX14" fmla="*/ 1109410 w 1131055"/>
                  <a:gd name="connsiteY14" fmla="*/ 74387 h 207169"/>
                  <a:gd name="connsiteX15" fmla="*/ 1044840 w 1131055"/>
                  <a:gd name="connsiteY15" fmla="*/ 44275 h 207169"/>
                  <a:gd name="connsiteX16" fmla="*/ 944137 w 1131055"/>
                  <a:gd name="connsiteY16" fmla="*/ 25641 h 207169"/>
                  <a:gd name="connsiteX17" fmla="*/ 861054 w 1131055"/>
                  <a:gd name="connsiteY17" fmla="*/ 13873 h 207169"/>
                  <a:gd name="connsiteX18" fmla="*/ 785560 w 1131055"/>
                  <a:gd name="connsiteY18" fmla="*/ 3226 h 207169"/>
                  <a:gd name="connsiteX19" fmla="*/ 696195 w 1131055"/>
                  <a:gd name="connsiteY19" fmla="*/ 2105 h 207169"/>
                  <a:gd name="connsiteX20" fmla="*/ 562138 w 1131055"/>
                  <a:gd name="connsiteY20" fmla="*/ 0 h 207169"/>
                  <a:gd name="connsiteX21" fmla="*/ 350760 w 1131055"/>
                  <a:gd name="connsiteY21" fmla="*/ 4901 h 207169"/>
                  <a:gd name="connsiteX22" fmla="*/ 224292 w 1131055"/>
                  <a:gd name="connsiteY22" fmla="*/ 15547 h 207169"/>
                  <a:gd name="connsiteX23" fmla="*/ 66131 w 1131055"/>
                  <a:gd name="connsiteY23" fmla="*/ 53093 h 207169"/>
                  <a:gd name="connsiteX24" fmla="*/ 12069 w 1131055"/>
                  <a:gd name="connsiteY24" fmla="*/ 80962 h 207169"/>
                  <a:gd name="connsiteX25" fmla="*/ 2544 w 1131055"/>
                  <a:gd name="connsiteY25" fmla="*/ 104775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1104 w 1124840"/>
                  <a:gd name="connsiteY2" fmla="*/ 150019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9922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83757 w 1126518"/>
                  <a:gd name="connsiteY3" fmla="*/ 192881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9354"/>
                  <a:gd name="connsiteX1" fmla="*/ 43236 w 1126518"/>
                  <a:gd name="connsiteY1" fmla="*/ 135301 h 209354"/>
                  <a:gd name="connsiteX2" fmla="*/ 124198 w 1126518"/>
                  <a:gd name="connsiteY2" fmla="*/ 160097 h 209354"/>
                  <a:gd name="connsiteX3" fmla="*/ 290056 w 1126518"/>
                  <a:gd name="connsiteY3" fmla="*/ 190362 h 209354"/>
                  <a:gd name="connsiteX4" fmla="*/ 455207 w 1126518"/>
                  <a:gd name="connsiteY4" fmla="*/ 207169 h 209354"/>
                  <a:gd name="connsiteX5" fmla="*/ 602845 w 1126518"/>
                  <a:gd name="connsiteY5" fmla="*/ 204787 h 209354"/>
                  <a:gd name="connsiteX6" fmla="*/ 621895 w 1126518"/>
                  <a:gd name="connsiteY6" fmla="*/ 200025 h 209354"/>
                  <a:gd name="connsiteX7" fmla="*/ 674282 w 1126518"/>
                  <a:gd name="connsiteY7" fmla="*/ 197644 h 209354"/>
                  <a:gd name="connsiteX8" fmla="*/ 795726 w 1126518"/>
                  <a:gd name="connsiteY8" fmla="*/ 188119 h 209354"/>
                  <a:gd name="connsiteX9" fmla="*/ 864782 w 1126518"/>
                  <a:gd name="connsiteY9" fmla="*/ 173831 h 209354"/>
                  <a:gd name="connsiteX10" fmla="*/ 938601 w 1126518"/>
                  <a:gd name="connsiteY10" fmla="*/ 169069 h 209354"/>
                  <a:gd name="connsiteX11" fmla="*/ 969557 w 1126518"/>
                  <a:gd name="connsiteY11" fmla="*/ 166687 h 209354"/>
                  <a:gd name="connsiteX12" fmla="*/ 1050520 w 1126518"/>
                  <a:gd name="connsiteY12" fmla="*/ 142875 h 209354"/>
                  <a:gd name="connsiteX13" fmla="*/ 1123632 w 1126518"/>
                  <a:gd name="connsiteY13" fmla="*/ 102808 h 209354"/>
                  <a:gd name="connsiteX14" fmla="*/ 1104873 w 1126518"/>
                  <a:gd name="connsiteY14" fmla="*/ 74387 h 209354"/>
                  <a:gd name="connsiteX15" fmla="*/ 1040303 w 1126518"/>
                  <a:gd name="connsiteY15" fmla="*/ 44275 h 209354"/>
                  <a:gd name="connsiteX16" fmla="*/ 939600 w 1126518"/>
                  <a:gd name="connsiteY16" fmla="*/ 25641 h 209354"/>
                  <a:gd name="connsiteX17" fmla="*/ 856517 w 1126518"/>
                  <a:gd name="connsiteY17" fmla="*/ 13873 h 209354"/>
                  <a:gd name="connsiteX18" fmla="*/ 781023 w 1126518"/>
                  <a:gd name="connsiteY18" fmla="*/ 3226 h 209354"/>
                  <a:gd name="connsiteX19" fmla="*/ 691658 w 1126518"/>
                  <a:gd name="connsiteY19" fmla="*/ 2105 h 209354"/>
                  <a:gd name="connsiteX20" fmla="*/ 557601 w 1126518"/>
                  <a:gd name="connsiteY20" fmla="*/ 0 h 209354"/>
                  <a:gd name="connsiteX21" fmla="*/ 346223 w 1126518"/>
                  <a:gd name="connsiteY21" fmla="*/ 4901 h 209354"/>
                  <a:gd name="connsiteX22" fmla="*/ 219755 w 1126518"/>
                  <a:gd name="connsiteY22" fmla="*/ 15547 h 209354"/>
                  <a:gd name="connsiteX23" fmla="*/ 61594 w 1126518"/>
                  <a:gd name="connsiteY23" fmla="*/ 53093 h 209354"/>
                  <a:gd name="connsiteX24" fmla="*/ 7532 w 1126518"/>
                  <a:gd name="connsiteY24" fmla="*/ 80962 h 209354"/>
                  <a:gd name="connsiteX25" fmla="*/ 5566 w 1126518"/>
                  <a:gd name="connsiteY25" fmla="*/ 111074 h 209354"/>
                  <a:gd name="connsiteX0" fmla="*/ 5566 w 1126518"/>
                  <a:gd name="connsiteY0" fmla="*/ 111074 h 205690"/>
                  <a:gd name="connsiteX1" fmla="*/ 43236 w 1126518"/>
                  <a:gd name="connsiteY1" fmla="*/ 135301 h 205690"/>
                  <a:gd name="connsiteX2" fmla="*/ 124198 w 1126518"/>
                  <a:gd name="connsiteY2" fmla="*/ 160097 h 205690"/>
                  <a:gd name="connsiteX3" fmla="*/ 290056 w 1126518"/>
                  <a:gd name="connsiteY3" fmla="*/ 190362 h 205690"/>
                  <a:gd name="connsiteX4" fmla="*/ 438830 w 1126518"/>
                  <a:gd name="connsiteY4" fmla="*/ 202130 h 205690"/>
                  <a:gd name="connsiteX5" fmla="*/ 602845 w 1126518"/>
                  <a:gd name="connsiteY5" fmla="*/ 204787 h 205690"/>
                  <a:gd name="connsiteX6" fmla="*/ 621895 w 1126518"/>
                  <a:gd name="connsiteY6" fmla="*/ 200025 h 205690"/>
                  <a:gd name="connsiteX7" fmla="*/ 674282 w 1126518"/>
                  <a:gd name="connsiteY7" fmla="*/ 197644 h 205690"/>
                  <a:gd name="connsiteX8" fmla="*/ 795726 w 1126518"/>
                  <a:gd name="connsiteY8" fmla="*/ 188119 h 205690"/>
                  <a:gd name="connsiteX9" fmla="*/ 864782 w 1126518"/>
                  <a:gd name="connsiteY9" fmla="*/ 173831 h 205690"/>
                  <a:gd name="connsiteX10" fmla="*/ 938601 w 1126518"/>
                  <a:gd name="connsiteY10" fmla="*/ 169069 h 205690"/>
                  <a:gd name="connsiteX11" fmla="*/ 969557 w 1126518"/>
                  <a:gd name="connsiteY11" fmla="*/ 166687 h 205690"/>
                  <a:gd name="connsiteX12" fmla="*/ 1050520 w 1126518"/>
                  <a:gd name="connsiteY12" fmla="*/ 142875 h 205690"/>
                  <a:gd name="connsiteX13" fmla="*/ 1123632 w 1126518"/>
                  <a:gd name="connsiteY13" fmla="*/ 102808 h 205690"/>
                  <a:gd name="connsiteX14" fmla="*/ 1104873 w 1126518"/>
                  <a:gd name="connsiteY14" fmla="*/ 74387 h 205690"/>
                  <a:gd name="connsiteX15" fmla="*/ 1040303 w 1126518"/>
                  <a:gd name="connsiteY15" fmla="*/ 44275 h 205690"/>
                  <a:gd name="connsiteX16" fmla="*/ 939600 w 1126518"/>
                  <a:gd name="connsiteY16" fmla="*/ 25641 h 205690"/>
                  <a:gd name="connsiteX17" fmla="*/ 856517 w 1126518"/>
                  <a:gd name="connsiteY17" fmla="*/ 13873 h 205690"/>
                  <a:gd name="connsiteX18" fmla="*/ 781023 w 1126518"/>
                  <a:gd name="connsiteY18" fmla="*/ 3226 h 205690"/>
                  <a:gd name="connsiteX19" fmla="*/ 691658 w 1126518"/>
                  <a:gd name="connsiteY19" fmla="*/ 2105 h 205690"/>
                  <a:gd name="connsiteX20" fmla="*/ 557601 w 1126518"/>
                  <a:gd name="connsiteY20" fmla="*/ 0 h 205690"/>
                  <a:gd name="connsiteX21" fmla="*/ 346223 w 1126518"/>
                  <a:gd name="connsiteY21" fmla="*/ 4901 h 205690"/>
                  <a:gd name="connsiteX22" fmla="*/ 219755 w 1126518"/>
                  <a:gd name="connsiteY22" fmla="*/ 15547 h 205690"/>
                  <a:gd name="connsiteX23" fmla="*/ 61594 w 1126518"/>
                  <a:gd name="connsiteY23" fmla="*/ 53093 h 205690"/>
                  <a:gd name="connsiteX24" fmla="*/ 7532 w 1126518"/>
                  <a:gd name="connsiteY24" fmla="*/ 80962 h 205690"/>
                  <a:gd name="connsiteX25" fmla="*/ 5566 w 1126518"/>
                  <a:gd name="connsiteY25" fmla="*/ 111074 h 205690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864782 w 1126518"/>
                  <a:gd name="connsiteY8" fmla="*/ 173831 h 202601"/>
                  <a:gd name="connsiteX9" fmla="*/ 938601 w 1126518"/>
                  <a:gd name="connsiteY9" fmla="*/ 169069 h 202601"/>
                  <a:gd name="connsiteX10" fmla="*/ 969557 w 1126518"/>
                  <a:gd name="connsiteY10" fmla="*/ 166687 h 202601"/>
                  <a:gd name="connsiteX11" fmla="*/ 1050520 w 1126518"/>
                  <a:gd name="connsiteY11" fmla="*/ 142875 h 202601"/>
                  <a:gd name="connsiteX12" fmla="*/ 1123632 w 1126518"/>
                  <a:gd name="connsiteY12" fmla="*/ 102808 h 202601"/>
                  <a:gd name="connsiteX13" fmla="*/ 1104873 w 1126518"/>
                  <a:gd name="connsiteY13" fmla="*/ 74387 h 202601"/>
                  <a:gd name="connsiteX14" fmla="*/ 1040303 w 1126518"/>
                  <a:gd name="connsiteY14" fmla="*/ 44275 h 202601"/>
                  <a:gd name="connsiteX15" fmla="*/ 939600 w 1126518"/>
                  <a:gd name="connsiteY15" fmla="*/ 25641 h 202601"/>
                  <a:gd name="connsiteX16" fmla="*/ 856517 w 1126518"/>
                  <a:gd name="connsiteY16" fmla="*/ 13873 h 202601"/>
                  <a:gd name="connsiteX17" fmla="*/ 781023 w 1126518"/>
                  <a:gd name="connsiteY17" fmla="*/ 3226 h 202601"/>
                  <a:gd name="connsiteX18" fmla="*/ 691658 w 1126518"/>
                  <a:gd name="connsiteY18" fmla="*/ 2105 h 202601"/>
                  <a:gd name="connsiteX19" fmla="*/ 557601 w 1126518"/>
                  <a:gd name="connsiteY19" fmla="*/ 0 h 202601"/>
                  <a:gd name="connsiteX20" fmla="*/ 346223 w 1126518"/>
                  <a:gd name="connsiteY20" fmla="*/ 4901 h 202601"/>
                  <a:gd name="connsiteX21" fmla="*/ 219755 w 1126518"/>
                  <a:gd name="connsiteY21" fmla="*/ 15547 h 202601"/>
                  <a:gd name="connsiteX22" fmla="*/ 61594 w 1126518"/>
                  <a:gd name="connsiteY22" fmla="*/ 53093 h 202601"/>
                  <a:gd name="connsiteX23" fmla="*/ 7532 w 1126518"/>
                  <a:gd name="connsiteY23" fmla="*/ 80962 h 202601"/>
                  <a:gd name="connsiteX24" fmla="*/ 5566 w 1126518"/>
                  <a:gd name="connsiteY24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5883 w 1126518"/>
                  <a:gd name="connsiteY7" fmla="*/ 18811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7143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29741 w 1126518"/>
                  <a:gd name="connsiteY7" fmla="*/ 18685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939600 w 1125768"/>
                  <a:gd name="connsiteY13" fmla="*/ 25641 h 202601"/>
                  <a:gd name="connsiteX14" fmla="*/ 856517 w 1125768"/>
                  <a:gd name="connsiteY14" fmla="*/ 13873 h 202601"/>
                  <a:gd name="connsiteX15" fmla="*/ 781023 w 1125768"/>
                  <a:gd name="connsiteY15" fmla="*/ 3226 h 202601"/>
                  <a:gd name="connsiteX16" fmla="*/ 691658 w 1125768"/>
                  <a:gd name="connsiteY16" fmla="*/ 2105 h 202601"/>
                  <a:gd name="connsiteX17" fmla="*/ 557601 w 1125768"/>
                  <a:gd name="connsiteY17" fmla="*/ 0 h 202601"/>
                  <a:gd name="connsiteX18" fmla="*/ 346223 w 1125768"/>
                  <a:gd name="connsiteY18" fmla="*/ 4901 h 202601"/>
                  <a:gd name="connsiteX19" fmla="*/ 219755 w 1125768"/>
                  <a:gd name="connsiteY19" fmla="*/ 15547 h 202601"/>
                  <a:gd name="connsiteX20" fmla="*/ 61594 w 1125768"/>
                  <a:gd name="connsiteY20" fmla="*/ 53093 h 202601"/>
                  <a:gd name="connsiteX21" fmla="*/ 7532 w 1125768"/>
                  <a:gd name="connsiteY21" fmla="*/ 80962 h 202601"/>
                  <a:gd name="connsiteX22" fmla="*/ 5566 w 112576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856517 w 1125768"/>
                  <a:gd name="connsiteY13" fmla="*/ 13873 h 202601"/>
                  <a:gd name="connsiteX14" fmla="*/ 781023 w 1125768"/>
                  <a:gd name="connsiteY14" fmla="*/ 3226 h 202601"/>
                  <a:gd name="connsiteX15" fmla="*/ 691658 w 1125768"/>
                  <a:gd name="connsiteY15" fmla="*/ 2105 h 202601"/>
                  <a:gd name="connsiteX16" fmla="*/ 557601 w 1125768"/>
                  <a:gd name="connsiteY16" fmla="*/ 0 h 202601"/>
                  <a:gd name="connsiteX17" fmla="*/ 346223 w 1125768"/>
                  <a:gd name="connsiteY17" fmla="*/ 4901 h 202601"/>
                  <a:gd name="connsiteX18" fmla="*/ 219755 w 1125768"/>
                  <a:gd name="connsiteY18" fmla="*/ 15547 h 202601"/>
                  <a:gd name="connsiteX19" fmla="*/ 61594 w 1125768"/>
                  <a:gd name="connsiteY19" fmla="*/ 53093 h 202601"/>
                  <a:gd name="connsiteX20" fmla="*/ 7532 w 1125768"/>
                  <a:gd name="connsiteY20" fmla="*/ 80962 h 202601"/>
                  <a:gd name="connsiteX21" fmla="*/ 5566 w 112576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56517 w 1125998"/>
                  <a:gd name="connsiteY13" fmla="*/ 1387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80453 w 1125998"/>
                  <a:gd name="connsiteY13" fmla="*/ 1261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4635 w 1125067"/>
                  <a:gd name="connsiteY0" fmla="*/ 111074 h 202601"/>
                  <a:gd name="connsiteX1" fmla="*/ 67500 w 1125067"/>
                  <a:gd name="connsiteY1" fmla="*/ 145379 h 202601"/>
                  <a:gd name="connsiteX2" fmla="*/ 123267 w 1125067"/>
                  <a:gd name="connsiteY2" fmla="*/ 160097 h 202601"/>
                  <a:gd name="connsiteX3" fmla="*/ 289125 w 1125067"/>
                  <a:gd name="connsiteY3" fmla="*/ 190362 h 202601"/>
                  <a:gd name="connsiteX4" fmla="*/ 437899 w 1125067"/>
                  <a:gd name="connsiteY4" fmla="*/ 202130 h 202601"/>
                  <a:gd name="connsiteX5" fmla="*/ 620964 w 1125067"/>
                  <a:gd name="connsiteY5" fmla="*/ 200025 h 202601"/>
                  <a:gd name="connsiteX6" fmla="*/ 673351 w 1125067"/>
                  <a:gd name="connsiteY6" fmla="*/ 197644 h 202601"/>
                  <a:gd name="connsiteX7" fmla="*/ 828810 w 1125067"/>
                  <a:gd name="connsiteY7" fmla="*/ 186859 h 202601"/>
                  <a:gd name="connsiteX8" fmla="*/ 968626 w 1125067"/>
                  <a:gd name="connsiteY8" fmla="*/ 166687 h 202601"/>
                  <a:gd name="connsiteX9" fmla="*/ 1060927 w 1125067"/>
                  <a:gd name="connsiteY9" fmla="*/ 144135 h 202601"/>
                  <a:gd name="connsiteX10" fmla="*/ 1122701 w 1125067"/>
                  <a:gd name="connsiteY10" fmla="*/ 102808 h 202601"/>
                  <a:gd name="connsiteX11" fmla="*/ 1103942 w 1125067"/>
                  <a:gd name="connsiteY11" fmla="*/ 74387 h 202601"/>
                  <a:gd name="connsiteX12" fmla="*/ 1026774 w 1125067"/>
                  <a:gd name="connsiteY12" fmla="*/ 40496 h 202601"/>
                  <a:gd name="connsiteX13" fmla="*/ 879522 w 1125067"/>
                  <a:gd name="connsiteY13" fmla="*/ 12613 h 202601"/>
                  <a:gd name="connsiteX14" fmla="*/ 780092 w 1125067"/>
                  <a:gd name="connsiteY14" fmla="*/ 3226 h 202601"/>
                  <a:gd name="connsiteX15" fmla="*/ 690727 w 1125067"/>
                  <a:gd name="connsiteY15" fmla="*/ 2105 h 202601"/>
                  <a:gd name="connsiteX16" fmla="*/ 556670 w 1125067"/>
                  <a:gd name="connsiteY16" fmla="*/ 0 h 202601"/>
                  <a:gd name="connsiteX17" fmla="*/ 345292 w 1125067"/>
                  <a:gd name="connsiteY17" fmla="*/ 4901 h 202601"/>
                  <a:gd name="connsiteX18" fmla="*/ 218824 w 1125067"/>
                  <a:gd name="connsiteY18" fmla="*/ 15547 h 202601"/>
                  <a:gd name="connsiteX19" fmla="*/ 60663 w 1125067"/>
                  <a:gd name="connsiteY19" fmla="*/ 53093 h 202601"/>
                  <a:gd name="connsiteX20" fmla="*/ 6601 w 1125067"/>
                  <a:gd name="connsiteY20" fmla="*/ 80962 h 202601"/>
                  <a:gd name="connsiteX21" fmla="*/ 4635 w 1125067"/>
                  <a:gd name="connsiteY21" fmla="*/ 111074 h 202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25067" h="202601">
                    <a:moveTo>
                      <a:pt x="4635" y="111074"/>
                    </a:moveTo>
                    <a:cubicBezTo>
                      <a:pt x="14785" y="121810"/>
                      <a:pt x="47288" y="138367"/>
                      <a:pt x="67500" y="145379"/>
                    </a:cubicBezTo>
                    <a:cubicBezTo>
                      <a:pt x="91051" y="153549"/>
                      <a:pt x="86330" y="152600"/>
                      <a:pt x="123267" y="160097"/>
                    </a:cubicBezTo>
                    <a:cubicBezTo>
                      <a:pt x="160204" y="167594"/>
                      <a:pt x="236686" y="183356"/>
                      <a:pt x="289125" y="190362"/>
                    </a:cubicBezTo>
                    <a:cubicBezTo>
                      <a:pt x="341564" y="197368"/>
                      <a:pt x="388308" y="198207"/>
                      <a:pt x="437899" y="202130"/>
                    </a:cubicBezTo>
                    <a:cubicBezTo>
                      <a:pt x="493205" y="203740"/>
                      <a:pt x="581722" y="200773"/>
                      <a:pt x="620964" y="200025"/>
                    </a:cubicBezTo>
                    <a:cubicBezTo>
                      <a:pt x="660206" y="199277"/>
                      <a:pt x="655889" y="198438"/>
                      <a:pt x="673351" y="197644"/>
                    </a:cubicBezTo>
                    <a:cubicBezTo>
                      <a:pt x="718032" y="195729"/>
                      <a:pt x="770272" y="192553"/>
                      <a:pt x="828810" y="186859"/>
                    </a:cubicBezTo>
                    <a:cubicBezTo>
                      <a:pt x="887348" y="181165"/>
                      <a:pt x="928260" y="174858"/>
                      <a:pt x="968626" y="166687"/>
                    </a:cubicBezTo>
                    <a:cubicBezTo>
                      <a:pt x="1008992" y="158517"/>
                      <a:pt x="1035248" y="154782"/>
                      <a:pt x="1060927" y="144135"/>
                    </a:cubicBezTo>
                    <a:cubicBezTo>
                      <a:pt x="1086606" y="133489"/>
                      <a:pt x="1115532" y="114433"/>
                      <a:pt x="1122701" y="102808"/>
                    </a:cubicBezTo>
                    <a:cubicBezTo>
                      <a:pt x="1129870" y="91183"/>
                      <a:pt x="1119930" y="84772"/>
                      <a:pt x="1103942" y="74387"/>
                    </a:cubicBezTo>
                    <a:cubicBezTo>
                      <a:pt x="1087954" y="64002"/>
                      <a:pt x="1064177" y="50792"/>
                      <a:pt x="1026774" y="40496"/>
                    </a:cubicBezTo>
                    <a:cubicBezTo>
                      <a:pt x="989371" y="30200"/>
                      <a:pt x="922735" y="19454"/>
                      <a:pt x="879522" y="12613"/>
                    </a:cubicBezTo>
                    <a:cubicBezTo>
                      <a:pt x="836309" y="5772"/>
                      <a:pt x="811558" y="4977"/>
                      <a:pt x="780092" y="3226"/>
                    </a:cubicBezTo>
                    <a:cubicBezTo>
                      <a:pt x="748626" y="1475"/>
                      <a:pt x="727964" y="2643"/>
                      <a:pt x="690727" y="2105"/>
                    </a:cubicBezTo>
                    <a:cubicBezTo>
                      <a:pt x="653490" y="1567"/>
                      <a:pt x="604294" y="2506"/>
                      <a:pt x="556670" y="0"/>
                    </a:cubicBezTo>
                    <a:cubicBezTo>
                      <a:pt x="482851" y="794"/>
                      <a:pt x="401600" y="2310"/>
                      <a:pt x="345292" y="4901"/>
                    </a:cubicBezTo>
                    <a:cubicBezTo>
                      <a:pt x="288984" y="7492"/>
                      <a:pt x="271091" y="6885"/>
                      <a:pt x="218824" y="15547"/>
                    </a:cubicBezTo>
                    <a:cubicBezTo>
                      <a:pt x="183105" y="23881"/>
                      <a:pt x="101072" y="33372"/>
                      <a:pt x="60663" y="53093"/>
                    </a:cubicBezTo>
                    <a:cubicBezTo>
                      <a:pt x="27401" y="69326"/>
                      <a:pt x="15729" y="73818"/>
                      <a:pt x="6601" y="80962"/>
                    </a:cubicBezTo>
                    <a:cubicBezTo>
                      <a:pt x="3756" y="86654"/>
                      <a:pt x="-5515" y="100338"/>
                      <a:pt x="4635" y="111074"/>
                    </a:cubicBezTo>
                    <a:close/>
                  </a:path>
                </a:pathLst>
              </a:custGeom>
              <a:solidFill>
                <a:schemeClr val="accent6">
                  <a:lumMod val="20000"/>
                  <a:lumOff val="80000"/>
                </a:schemeClr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1036" name="Freeform: Shape 1035">
                <a:extLst>
                  <a:ext uri="{FF2B5EF4-FFF2-40B4-BE49-F238E27FC236}">
                    <a16:creationId xmlns:a16="http://schemas.microsoft.com/office/drawing/2014/main" id="{12B2F2C4-578E-206A-6897-CCAC7656A486}"/>
                  </a:ext>
                </a:extLst>
              </p:cNvPr>
              <p:cNvSpPr/>
              <p:nvPr/>
            </p:nvSpPr>
            <p:spPr>
              <a:xfrm>
                <a:off x="3395346" y="2639947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solidFill>
                <a:srgbClr val="FACCD0"/>
              </a:solidFill>
              <a:ln w="12700">
                <a:noFill/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r>
                  <a:rPr lang="da-DK" sz="1400">
                    <a:latin typeface="Verdana" panose="020B0604030504040204" pitchFamily="34" charset="0"/>
                    <a:ea typeface="Verdana" panose="020B0604030504040204" pitchFamily="34" charset="0"/>
                  </a:rPr>
                  <a:t>…</a:t>
                </a:r>
              </a:p>
            </p:txBody>
          </p:sp>
          <p:sp>
            <p:nvSpPr>
              <p:cNvPr id="1037" name="Freeform: Shape 1036">
                <a:extLst>
                  <a:ext uri="{FF2B5EF4-FFF2-40B4-BE49-F238E27FC236}">
                    <a16:creationId xmlns:a16="http://schemas.microsoft.com/office/drawing/2014/main" id="{CFCABE52-DD2B-4A63-D11B-187D71341724}"/>
                  </a:ext>
                </a:extLst>
              </p:cNvPr>
              <p:cNvSpPr/>
              <p:nvPr/>
            </p:nvSpPr>
            <p:spPr>
              <a:xfrm>
                <a:off x="3397293" y="1880433"/>
                <a:ext cx="1624532" cy="292545"/>
              </a:xfrm>
              <a:custGeom>
                <a:avLst/>
                <a:gdLst>
                  <a:gd name="connsiteX0" fmla="*/ 11907 w 1116840"/>
                  <a:gd name="connsiteY0" fmla="*/ 124159 h 219409"/>
                  <a:gd name="connsiteX1" fmla="*/ 23813 w 1116840"/>
                  <a:gd name="connsiteY1" fmla="*/ 133684 h 219409"/>
                  <a:gd name="connsiteX2" fmla="*/ 28575 w 1116840"/>
                  <a:gd name="connsiteY2" fmla="*/ 140827 h 219409"/>
                  <a:gd name="connsiteX3" fmla="*/ 40482 w 1116840"/>
                  <a:gd name="connsiteY3" fmla="*/ 147971 h 219409"/>
                  <a:gd name="connsiteX4" fmla="*/ 47625 w 1116840"/>
                  <a:gd name="connsiteY4" fmla="*/ 152734 h 219409"/>
                  <a:gd name="connsiteX5" fmla="*/ 78582 w 1116840"/>
                  <a:gd name="connsiteY5" fmla="*/ 157496 h 219409"/>
                  <a:gd name="connsiteX6" fmla="*/ 104775 w 1116840"/>
                  <a:gd name="connsiteY6" fmla="*/ 162259 h 219409"/>
                  <a:gd name="connsiteX7" fmla="*/ 128588 w 1116840"/>
                  <a:gd name="connsiteY7" fmla="*/ 164640 h 219409"/>
                  <a:gd name="connsiteX8" fmla="*/ 161925 w 1116840"/>
                  <a:gd name="connsiteY8" fmla="*/ 174165 h 219409"/>
                  <a:gd name="connsiteX9" fmla="*/ 178594 w 1116840"/>
                  <a:gd name="connsiteY9" fmla="*/ 176546 h 219409"/>
                  <a:gd name="connsiteX10" fmla="*/ 202407 w 1116840"/>
                  <a:gd name="connsiteY10" fmla="*/ 181309 h 219409"/>
                  <a:gd name="connsiteX11" fmla="*/ 209550 w 1116840"/>
                  <a:gd name="connsiteY11" fmla="*/ 183690 h 219409"/>
                  <a:gd name="connsiteX12" fmla="*/ 238125 w 1116840"/>
                  <a:gd name="connsiteY12" fmla="*/ 190834 h 219409"/>
                  <a:gd name="connsiteX13" fmla="*/ 285750 w 1116840"/>
                  <a:gd name="connsiteY13" fmla="*/ 205121 h 219409"/>
                  <a:gd name="connsiteX14" fmla="*/ 378619 w 1116840"/>
                  <a:gd name="connsiteY14" fmla="*/ 207502 h 219409"/>
                  <a:gd name="connsiteX15" fmla="*/ 402432 w 1116840"/>
                  <a:gd name="connsiteY15" fmla="*/ 212265 h 219409"/>
                  <a:gd name="connsiteX16" fmla="*/ 457200 w 1116840"/>
                  <a:gd name="connsiteY16" fmla="*/ 219409 h 219409"/>
                  <a:gd name="connsiteX17" fmla="*/ 604838 w 1116840"/>
                  <a:gd name="connsiteY17" fmla="*/ 217027 h 219409"/>
                  <a:gd name="connsiteX18" fmla="*/ 623888 w 1116840"/>
                  <a:gd name="connsiteY18" fmla="*/ 212265 h 219409"/>
                  <a:gd name="connsiteX19" fmla="*/ 676275 w 1116840"/>
                  <a:gd name="connsiteY19" fmla="*/ 209884 h 219409"/>
                  <a:gd name="connsiteX20" fmla="*/ 697707 w 1116840"/>
                  <a:gd name="connsiteY20" fmla="*/ 205121 h 219409"/>
                  <a:gd name="connsiteX21" fmla="*/ 707232 w 1116840"/>
                  <a:gd name="connsiteY21" fmla="*/ 202740 h 219409"/>
                  <a:gd name="connsiteX22" fmla="*/ 797719 w 1116840"/>
                  <a:gd name="connsiteY22" fmla="*/ 200359 h 219409"/>
                  <a:gd name="connsiteX23" fmla="*/ 823913 w 1116840"/>
                  <a:gd name="connsiteY23" fmla="*/ 193215 h 219409"/>
                  <a:gd name="connsiteX24" fmla="*/ 842963 w 1116840"/>
                  <a:gd name="connsiteY24" fmla="*/ 188452 h 219409"/>
                  <a:gd name="connsiteX25" fmla="*/ 866775 w 1116840"/>
                  <a:gd name="connsiteY25" fmla="*/ 186071 h 219409"/>
                  <a:gd name="connsiteX26" fmla="*/ 940594 w 1116840"/>
                  <a:gd name="connsiteY26" fmla="*/ 181309 h 219409"/>
                  <a:gd name="connsiteX27" fmla="*/ 971550 w 1116840"/>
                  <a:gd name="connsiteY27" fmla="*/ 178927 h 219409"/>
                  <a:gd name="connsiteX28" fmla="*/ 992982 w 1116840"/>
                  <a:gd name="connsiteY28" fmla="*/ 174165 h 219409"/>
                  <a:gd name="connsiteX29" fmla="*/ 1007269 w 1116840"/>
                  <a:gd name="connsiteY29" fmla="*/ 171784 h 219409"/>
                  <a:gd name="connsiteX30" fmla="*/ 1035844 w 1116840"/>
                  <a:gd name="connsiteY30" fmla="*/ 164640 h 219409"/>
                  <a:gd name="connsiteX31" fmla="*/ 1052513 w 1116840"/>
                  <a:gd name="connsiteY31" fmla="*/ 155115 h 219409"/>
                  <a:gd name="connsiteX32" fmla="*/ 1083469 w 1116840"/>
                  <a:gd name="connsiteY32" fmla="*/ 143209 h 219409"/>
                  <a:gd name="connsiteX33" fmla="*/ 1090613 w 1116840"/>
                  <a:gd name="connsiteY33" fmla="*/ 136065 h 219409"/>
                  <a:gd name="connsiteX34" fmla="*/ 1100138 w 1116840"/>
                  <a:gd name="connsiteY34" fmla="*/ 131302 h 219409"/>
                  <a:gd name="connsiteX35" fmla="*/ 1107282 w 1116840"/>
                  <a:gd name="connsiteY35" fmla="*/ 126540 h 219409"/>
                  <a:gd name="connsiteX36" fmla="*/ 1116807 w 1116840"/>
                  <a:gd name="connsiteY36" fmla="*/ 107490 h 219409"/>
                  <a:gd name="connsiteX37" fmla="*/ 1114425 w 1116840"/>
                  <a:gd name="connsiteY37" fmla="*/ 97965 h 219409"/>
                  <a:gd name="connsiteX38" fmla="*/ 1054894 w 1116840"/>
                  <a:gd name="connsiteY38" fmla="*/ 74152 h 219409"/>
                  <a:gd name="connsiteX39" fmla="*/ 1047750 w 1116840"/>
                  <a:gd name="connsiteY39" fmla="*/ 71771 h 219409"/>
                  <a:gd name="connsiteX40" fmla="*/ 1038225 w 1116840"/>
                  <a:gd name="connsiteY40" fmla="*/ 67009 h 219409"/>
                  <a:gd name="connsiteX41" fmla="*/ 1026319 w 1116840"/>
                  <a:gd name="connsiteY41" fmla="*/ 62246 h 219409"/>
                  <a:gd name="connsiteX42" fmla="*/ 995363 w 1116840"/>
                  <a:gd name="connsiteY42" fmla="*/ 57484 h 219409"/>
                  <a:gd name="connsiteX43" fmla="*/ 966788 w 1116840"/>
                  <a:gd name="connsiteY43" fmla="*/ 47959 h 219409"/>
                  <a:gd name="connsiteX44" fmla="*/ 947738 w 1116840"/>
                  <a:gd name="connsiteY44" fmla="*/ 40815 h 219409"/>
                  <a:gd name="connsiteX45" fmla="*/ 857250 w 1116840"/>
                  <a:gd name="connsiteY45" fmla="*/ 33671 h 219409"/>
                  <a:gd name="connsiteX46" fmla="*/ 812007 w 1116840"/>
                  <a:gd name="connsiteY46" fmla="*/ 26527 h 219409"/>
                  <a:gd name="connsiteX47" fmla="*/ 800100 w 1116840"/>
                  <a:gd name="connsiteY47" fmla="*/ 24146 h 219409"/>
                  <a:gd name="connsiteX48" fmla="*/ 790575 w 1116840"/>
                  <a:gd name="connsiteY48" fmla="*/ 21765 h 219409"/>
                  <a:gd name="connsiteX49" fmla="*/ 702469 w 1116840"/>
                  <a:gd name="connsiteY49" fmla="*/ 19384 h 219409"/>
                  <a:gd name="connsiteX50" fmla="*/ 559594 w 1116840"/>
                  <a:gd name="connsiteY50" fmla="*/ 12240 h 219409"/>
                  <a:gd name="connsiteX51" fmla="*/ 350044 w 1116840"/>
                  <a:gd name="connsiteY51" fmla="*/ 9859 h 219409"/>
                  <a:gd name="connsiteX52" fmla="*/ 338138 w 1116840"/>
                  <a:gd name="connsiteY52" fmla="*/ 14621 h 219409"/>
                  <a:gd name="connsiteX53" fmla="*/ 295275 w 1116840"/>
                  <a:gd name="connsiteY53" fmla="*/ 19384 h 219409"/>
                  <a:gd name="connsiteX54" fmla="*/ 278607 w 1116840"/>
                  <a:gd name="connsiteY54" fmla="*/ 21765 h 219409"/>
                  <a:gd name="connsiteX55" fmla="*/ 269082 w 1116840"/>
                  <a:gd name="connsiteY55" fmla="*/ 24146 h 219409"/>
                  <a:gd name="connsiteX56" fmla="*/ 238125 w 1116840"/>
                  <a:gd name="connsiteY56" fmla="*/ 26527 h 219409"/>
                  <a:gd name="connsiteX57" fmla="*/ 216694 w 1116840"/>
                  <a:gd name="connsiteY57" fmla="*/ 33671 h 219409"/>
                  <a:gd name="connsiteX58" fmla="*/ 195263 w 1116840"/>
                  <a:gd name="connsiteY58" fmla="*/ 38434 h 219409"/>
                  <a:gd name="connsiteX59" fmla="*/ 183357 w 1116840"/>
                  <a:gd name="connsiteY59" fmla="*/ 40815 h 219409"/>
                  <a:gd name="connsiteX60" fmla="*/ 147638 w 1116840"/>
                  <a:gd name="connsiteY60" fmla="*/ 50340 h 219409"/>
                  <a:gd name="connsiteX61" fmla="*/ 128588 w 1116840"/>
                  <a:gd name="connsiteY61" fmla="*/ 57484 h 219409"/>
                  <a:gd name="connsiteX62" fmla="*/ 109538 w 1116840"/>
                  <a:gd name="connsiteY62" fmla="*/ 62246 h 219409"/>
                  <a:gd name="connsiteX63" fmla="*/ 97632 w 1116840"/>
                  <a:gd name="connsiteY63" fmla="*/ 67009 h 219409"/>
                  <a:gd name="connsiteX64" fmla="*/ 80963 w 1116840"/>
                  <a:gd name="connsiteY64" fmla="*/ 69390 h 219409"/>
                  <a:gd name="connsiteX65" fmla="*/ 54769 w 1116840"/>
                  <a:gd name="connsiteY65" fmla="*/ 74152 h 219409"/>
                  <a:gd name="connsiteX66" fmla="*/ 47625 w 1116840"/>
                  <a:gd name="connsiteY66" fmla="*/ 76534 h 219409"/>
                  <a:gd name="connsiteX67" fmla="*/ 23813 w 1116840"/>
                  <a:gd name="connsiteY67" fmla="*/ 83677 h 219409"/>
                  <a:gd name="connsiteX68" fmla="*/ 9525 w 1116840"/>
                  <a:gd name="connsiteY68" fmla="*/ 93202 h 219409"/>
                  <a:gd name="connsiteX69" fmla="*/ 0 w 1116840"/>
                  <a:gd name="connsiteY69" fmla="*/ 117015 h 219409"/>
                  <a:gd name="connsiteX70" fmla="*/ 11907 w 1116840"/>
                  <a:gd name="connsiteY70" fmla="*/ 124159 h 21940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800100 w 1116840"/>
                  <a:gd name="connsiteY47" fmla="*/ 11906 h 207169"/>
                  <a:gd name="connsiteX48" fmla="*/ 790575 w 1116840"/>
                  <a:gd name="connsiteY48" fmla="*/ 9525 h 207169"/>
                  <a:gd name="connsiteX49" fmla="*/ 702469 w 1116840"/>
                  <a:gd name="connsiteY49" fmla="*/ 7144 h 207169"/>
                  <a:gd name="connsiteX50" fmla="*/ 559594 w 1116840"/>
                  <a:gd name="connsiteY50" fmla="*/ 0 h 207169"/>
                  <a:gd name="connsiteX51" fmla="*/ 338138 w 1116840"/>
                  <a:gd name="connsiteY51" fmla="*/ 2381 h 207169"/>
                  <a:gd name="connsiteX52" fmla="*/ 295275 w 1116840"/>
                  <a:gd name="connsiteY52" fmla="*/ 7144 h 207169"/>
                  <a:gd name="connsiteX53" fmla="*/ 278607 w 1116840"/>
                  <a:gd name="connsiteY53" fmla="*/ 9525 h 207169"/>
                  <a:gd name="connsiteX54" fmla="*/ 269082 w 1116840"/>
                  <a:gd name="connsiteY54" fmla="*/ 11906 h 207169"/>
                  <a:gd name="connsiteX55" fmla="*/ 238125 w 1116840"/>
                  <a:gd name="connsiteY55" fmla="*/ 14287 h 207169"/>
                  <a:gd name="connsiteX56" fmla="*/ 216694 w 1116840"/>
                  <a:gd name="connsiteY56" fmla="*/ 21431 h 207169"/>
                  <a:gd name="connsiteX57" fmla="*/ 195263 w 1116840"/>
                  <a:gd name="connsiteY57" fmla="*/ 26194 h 207169"/>
                  <a:gd name="connsiteX58" fmla="*/ 183357 w 1116840"/>
                  <a:gd name="connsiteY58" fmla="*/ 28575 h 207169"/>
                  <a:gd name="connsiteX59" fmla="*/ 147638 w 1116840"/>
                  <a:gd name="connsiteY59" fmla="*/ 38100 h 207169"/>
                  <a:gd name="connsiteX60" fmla="*/ 128588 w 1116840"/>
                  <a:gd name="connsiteY60" fmla="*/ 45244 h 207169"/>
                  <a:gd name="connsiteX61" fmla="*/ 109538 w 1116840"/>
                  <a:gd name="connsiteY61" fmla="*/ 50006 h 207169"/>
                  <a:gd name="connsiteX62" fmla="*/ 97632 w 1116840"/>
                  <a:gd name="connsiteY62" fmla="*/ 54769 h 207169"/>
                  <a:gd name="connsiteX63" fmla="*/ 80963 w 1116840"/>
                  <a:gd name="connsiteY63" fmla="*/ 57150 h 207169"/>
                  <a:gd name="connsiteX64" fmla="*/ 54769 w 1116840"/>
                  <a:gd name="connsiteY64" fmla="*/ 61912 h 207169"/>
                  <a:gd name="connsiteX65" fmla="*/ 47625 w 1116840"/>
                  <a:gd name="connsiteY65" fmla="*/ 64294 h 207169"/>
                  <a:gd name="connsiteX66" fmla="*/ 23813 w 1116840"/>
                  <a:gd name="connsiteY66" fmla="*/ 71437 h 207169"/>
                  <a:gd name="connsiteX67" fmla="*/ 9525 w 1116840"/>
                  <a:gd name="connsiteY67" fmla="*/ 80962 h 207169"/>
                  <a:gd name="connsiteX68" fmla="*/ 0 w 1116840"/>
                  <a:gd name="connsiteY68" fmla="*/ 104775 h 207169"/>
                  <a:gd name="connsiteX69" fmla="*/ 11907 w 1116840"/>
                  <a:gd name="connsiteY69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812007 w 1116840"/>
                  <a:gd name="connsiteY46" fmla="*/ 14287 h 207169"/>
                  <a:gd name="connsiteX47" fmla="*/ 790575 w 1116840"/>
                  <a:gd name="connsiteY47" fmla="*/ 9525 h 207169"/>
                  <a:gd name="connsiteX48" fmla="*/ 702469 w 1116840"/>
                  <a:gd name="connsiteY48" fmla="*/ 7144 h 207169"/>
                  <a:gd name="connsiteX49" fmla="*/ 559594 w 1116840"/>
                  <a:gd name="connsiteY49" fmla="*/ 0 h 207169"/>
                  <a:gd name="connsiteX50" fmla="*/ 338138 w 1116840"/>
                  <a:gd name="connsiteY50" fmla="*/ 2381 h 207169"/>
                  <a:gd name="connsiteX51" fmla="*/ 295275 w 1116840"/>
                  <a:gd name="connsiteY51" fmla="*/ 7144 h 207169"/>
                  <a:gd name="connsiteX52" fmla="*/ 278607 w 1116840"/>
                  <a:gd name="connsiteY52" fmla="*/ 9525 h 207169"/>
                  <a:gd name="connsiteX53" fmla="*/ 269082 w 1116840"/>
                  <a:gd name="connsiteY53" fmla="*/ 11906 h 207169"/>
                  <a:gd name="connsiteX54" fmla="*/ 238125 w 1116840"/>
                  <a:gd name="connsiteY54" fmla="*/ 14287 h 207169"/>
                  <a:gd name="connsiteX55" fmla="*/ 216694 w 1116840"/>
                  <a:gd name="connsiteY55" fmla="*/ 21431 h 207169"/>
                  <a:gd name="connsiteX56" fmla="*/ 195263 w 1116840"/>
                  <a:gd name="connsiteY56" fmla="*/ 26194 h 207169"/>
                  <a:gd name="connsiteX57" fmla="*/ 183357 w 1116840"/>
                  <a:gd name="connsiteY57" fmla="*/ 28575 h 207169"/>
                  <a:gd name="connsiteX58" fmla="*/ 147638 w 1116840"/>
                  <a:gd name="connsiteY58" fmla="*/ 38100 h 207169"/>
                  <a:gd name="connsiteX59" fmla="*/ 128588 w 1116840"/>
                  <a:gd name="connsiteY59" fmla="*/ 45244 h 207169"/>
                  <a:gd name="connsiteX60" fmla="*/ 109538 w 1116840"/>
                  <a:gd name="connsiteY60" fmla="*/ 50006 h 207169"/>
                  <a:gd name="connsiteX61" fmla="*/ 97632 w 1116840"/>
                  <a:gd name="connsiteY61" fmla="*/ 54769 h 207169"/>
                  <a:gd name="connsiteX62" fmla="*/ 80963 w 1116840"/>
                  <a:gd name="connsiteY62" fmla="*/ 57150 h 207169"/>
                  <a:gd name="connsiteX63" fmla="*/ 54769 w 1116840"/>
                  <a:gd name="connsiteY63" fmla="*/ 61912 h 207169"/>
                  <a:gd name="connsiteX64" fmla="*/ 47625 w 1116840"/>
                  <a:gd name="connsiteY64" fmla="*/ 64294 h 207169"/>
                  <a:gd name="connsiteX65" fmla="*/ 23813 w 1116840"/>
                  <a:gd name="connsiteY65" fmla="*/ 71437 h 207169"/>
                  <a:gd name="connsiteX66" fmla="*/ 9525 w 1116840"/>
                  <a:gd name="connsiteY66" fmla="*/ 80962 h 207169"/>
                  <a:gd name="connsiteX67" fmla="*/ 0 w 1116840"/>
                  <a:gd name="connsiteY67" fmla="*/ 104775 h 207169"/>
                  <a:gd name="connsiteX68" fmla="*/ 11907 w 1116840"/>
                  <a:gd name="connsiteY68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947738 w 1116840"/>
                  <a:gd name="connsiteY44" fmla="*/ 28575 h 207169"/>
                  <a:gd name="connsiteX45" fmla="*/ 857250 w 1116840"/>
                  <a:gd name="connsiteY45" fmla="*/ 21431 h 207169"/>
                  <a:gd name="connsiteX46" fmla="*/ 790575 w 1116840"/>
                  <a:gd name="connsiteY46" fmla="*/ 9525 h 207169"/>
                  <a:gd name="connsiteX47" fmla="*/ 702469 w 1116840"/>
                  <a:gd name="connsiteY47" fmla="*/ 7144 h 207169"/>
                  <a:gd name="connsiteX48" fmla="*/ 559594 w 1116840"/>
                  <a:gd name="connsiteY48" fmla="*/ 0 h 207169"/>
                  <a:gd name="connsiteX49" fmla="*/ 338138 w 1116840"/>
                  <a:gd name="connsiteY49" fmla="*/ 2381 h 207169"/>
                  <a:gd name="connsiteX50" fmla="*/ 295275 w 1116840"/>
                  <a:gd name="connsiteY50" fmla="*/ 7144 h 207169"/>
                  <a:gd name="connsiteX51" fmla="*/ 278607 w 1116840"/>
                  <a:gd name="connsiteY51" fmla="*/ 9525 h 207169"/>
                  <a:gd name="connsiteX52" fmla="*/ 269082 w 1116840"/>
                  <a:gd name="connsiteY52" fmla="*/ 11906 h 207169"/>
                  <a:gd name="connsiteX53" fmla="*/ 238125 w 1116840"/>
                  <a:gd name="connsiteY53" fmla="*/ 14287 h 207169"/>
                  <a:gd name="connsiteX54" fmla="*/ 216694 w 1116840"/>
                  <a:gd name="connsiteY54" fmla="*/ 21431 h 207169"/>
                  <a:gd name="connsiteX55" fmla="*/ 195263 w 1116840"/>
                  <a:gd name="connsiteY55" fmla="*/ 26194 h 207169"/>
                  <a:gd name="connsiteX56" fmla="*/ 183357 w 1116840"/>
                  <a:gd name="connsiteY56" fmla="*/ 28575 h 207169"/>
                  <a:gd name="connsiteX57" fmla="*/ 147638 w 1116840"/>
                  <a:gd name="connsiteY57" fmla="*/ 38100 h 207169"/>
                  <a:gd name="connsiteX58" fmla="*/ 128588 w 1116840"/>
                  <a:gd name="connsiteY58" fmla="*/ 45244 h 207169"/>
                  <a:gd name="connsiteX59" fmla="*/ 109538 w 1116840"/>
                  <a:gd name="connsiteY59" fmla="*/ 50006 h 207169"/>
                  <a:gd name="connsiteX60" fmla="*/ 97632 w 1116840"/>
                  <a:gd name="connsiteY60" fmla="*/ 54769 h 207169"/>
                  <a:gd name="connsiteX61" fmla="*/ 80963 w 1116840"/>
                  <a:gd name="connsiteY61" fmla="*/ 57150 h 207169"/>
                  <a:gd name="connsiteX62" fmla="*/ 54769 w 1116840"/>
                  <a:gd name="connsiteY62" fmla="*/ 61912 h 207169"/>
                  <a:gd name="connsiteX63" fmla="*/ 47625 w 1116840"/>
                  <a:gd name="connsiteY63" fmla="*/ 64294 h 207169"/>
                  <a:gd name="connsiteX64" fmla="*/ 23813 w 1116840"/>
                  <a:gd name="connsiteY64" fmla="*/ 71437 h 207169"/>
                  <a:gd name="connsiteX65" fmla="*/ 9525 w 1116840"/>
                  <a:gd name="connsiteY65" fmla="*/ 80962 h 207169"/>
                  <a:gd name="connsiteX66" fmla="*/ 0 w 1116840"/>
                  <a:gd name="connsiteY66" fmla="*/ 104775 h 207169"/>
                  <a:gd name="connsiteX67" fmla="*/ 11907 w 1116840"/>
                  <a:gd name="connsiteY67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95363 w 1116840"/>
                  <a:gd name="connsiteY42" fmla="*/ 45244 h 207169"/>
                  <a:gd name="connsiteX43" fmla="*/ 966788 w 1116840"/>
                  <a:gd name="connsiteY43" fmla="*/ 35719 h 207169"/>
                  <a:gd name="connsiteX44" fmla="*/ 857250 w 1116840"/>
                  <a:gd name="connsiteY44" fmla="*/ 21431 h 207169"/>
                  <a:gd name="connsiteX45" fmla="*/ 790575 w 1116840"/>
                  <a:gd name="connsiteY45" fmla="*/ 9525 h 207169"/>
                  <a:gd name="connsiteX46" fmla="*/ 702469 w 1116840"/>
                  <a:gd name="connsiteY46" fmla="*/ 7144 h 207169"/>
                  <a:gd name="connsiteX47" fmla="*/ 559594 w 1116840"/>
                  <a:gd name="connsiteY47" fmla="*/ 0 h 207169"/>
                  <a:gd name="connsiteX48" fmla="*/ 338138 w 1116840"/>
                  <a:gd name="connsiteY48" fmla="*/ 2381 h 207169"/>
                  <a:gd name="connsiteX49" fmla="*/ 295275 w 1116840"/>
                  <a:gd name="connsiteY49" fmla="*/ 7144 h 207169"/>
                  <a:gd name="connsiteX50" fmla="*/ 278607 w 1116840"/>
                  <a:gd name="connsiteY50" fmla="*/ 9525 h 207169"/>
                  <a:gd name="connsiteX51" fmla="*/ 269082 w 1116840"/>
                  <a:gd name="connsiteY51" fmla="*/ 11906 h 207169"/>
                  <a:gd name="connsiteX52" fmla="*/ 238125 w 1116840"/>
                  <a:gd name="connsiteY52" fmla="*/ 14287 h 207169"/>
                  <a:gd name="connsiteX53" fmla="*/ 216694 w 1116840"/>
                  <a:gd name="connsiteY53" fmla="*/ 21431 h 207169"/>
                  <a:gd name="connsiteX54" fmla="*/ 195263 w 1116840"/>
                  <a:gd name="connsiteY54" fmla="*/ 26194 h 207169"/>
                  <a:gd name="connsiteX55" fmla="*/ 183357 w 1116840"/>
                  <a:gd name="connsiteY55" fmla="*/ 28575 h 207169"/>
                  <a:gd name="connsiteX56" fmla="*/ 147638 w 1116840"/>
                  <a:gd name="connsiteY56" fmla="*/ 38100 h 207169"/>
                  <a:gd name="connsiteX57" fmla="*/ 128588 w 1116840"/>
                  <a:gd name="connsiteY57" fmla="*/ 45244 h 207169"/>
                  <a:gd name="connsiteX58" fmla="*/ 109538 w 1116840"/>
                  <a:gd name="connsiteY58" fmla="*/ 50006 h 207169"/>
                  <a:gd name="connsiteX59" fmla="*/ 97632 w 1116840"/>
                  <a:gd name="connsiteY59" fmla="*/ 54769 h 207169"/>
                  <a:gd name="connsiteX60" fmla="*/ 80963 w 1116840"/>
                  <a:gd name="connsiteY60" fmla="*/ 57150 h 207169"/>
                  <a:gd name="connsiteX61" fmla="*/ 54769 w 1116840"/>
                  <a:gd name="connsiteY61" fmla="*/ 61912 h 207169"/>
                  <a:gd name="connsiteX62" fmla="*/ 47625 w 1116840"/>
                  <a:gd name="connsiteY62" fmla="*/ 64294 h 207169"/>
                  <a:gd name="connsiteX63" fmla="*/ 23813 w 1116840"/>
                  <a:gd name="connsiteY63" fmla="*/ 71437 h 207169"/>
                  <a:gd name="connsiteX64" fmla="*/ 9525 w 1116840"/>
                  <a:gd name="connsiteY64" fmla="*/ 80962 h 207169"/>
                  <a:gd name="connsiteX65" fmla="*/ 0 w 1116840"/>
                  <a:gd name="connsiteY65" fmla="*/ 104775 h 207169"/>
                  <a:gd name="connsiteX66" fmla="*/ 11907 w 1116840"/>
                  <a:gd name="connsiteY66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1026319 w 1116840"/>
                  <a:gd name="connsiteY41" fmla="*/ 50006 h 207169"/>
                  <a:gd name="connsiteX42" fmla="*/ 966788 w 1116840"/>
                  <a:gd name="connsiteY42" fmla="*/ 35719 h 207169"/>
                  <a:gd name="connsiteX43" fmla="*/ 857250 w 1116840"/>
                  <a:gd name="connsiteY43" fmla="*/ 21431 h 207169"/>
                  <a:gd name="connsiteX44" fmla="*/ 790575 w 1116840"/>
                  <a:gd name="connsiteY44" fmla="*/ 9525 h 207169"/>
                  <a:gd name="connsiteX45" fmla="*/ 702469 w 1116840"/>
                  <a:gd name="connsiteY45" fmla="*/ 7144 h 207169"/>
                  <a:gd name="connsiteX46" fmla="*/ 559594 w 1116840"/>
                  <a:gd name="connsiteY46" fmla="*/ 0 h 207169"/>
                  <a:gd name="connsiteX47" fmla="*/ 338138 w 1116840"/>
                  <a:gd name="connsiteY47" fmla="*/ 2381 h 207169"/>
                  <a:gd name="connsiteX48" fmla="*/ 295275 w 1116840"/>
                  <a:gd name="connsiteY48" fmla="*/ 7144 h 207169"/>
                  <a:gd name="connsiteX49" fmla="*/ 278607 w 1116840"/>
                  <a:gd name="connsiteY49" fmla="*/ 9525 h 207169"/>
                  <a:gd name="connsiteX50" fmla="*/ 269082 w 1116840"/>
                  <a:gd name="connsiteY50" fmla="*/ 11906 h 207169"/>
                  <a:gd name="connsiteX51" fmla="*/ 238125 w 1116840"/>
                  <a:gd name="connsiteY51" fmla="*/ 14287 h 207169"/>
                  <a:gd name="connsiteX52" fmla="*/ 216694 w 1116840"/>
                  <a:gd name="connsiteY52" fmla="*/ 21431 h 207169"/>
                  <a:gd name="connsiteX53" fmla="*/ 195263 w 1116840"/>
                  <a:gd name="connsiteY53" fmla="*/ 26194 h 207169"/>
                  <a:gd name="connsiteX54" fmla="*/ 183357 w 1116840"/>
                  <a:gd name="connsiteY54" fmla="*/ 28575 h 207169"/>
                  <a:gd name="connsiteX55" fmla="*/ 147638 w 1116840"/>
                  <a:gd name="connsiteY55" fmla="*/ 38100 h 207169"/>
                  <a:gd name="connsiteX56" fmla="*/ 128588 w 1116840"/>
                  <a:gd name="connsiteY56" fmla="*/ 45244 h 207169"/>
                  <a:gd name="connsiteX57" fmla="*/ 109538 w 1116840"/>
                  <a:gd name="connsiteY57" fmla="*/ 50006 h 207169"/>
                  <a:gd name="connsiteX58" fmla="*/ 97632 w 1116840"/>
                  <a:gd name="connsiteY58" fmla="*/ 54769 h 207169"/>
                  <a:gd name="connsiteX59" fmla="*/ 80963 w 1116840"/>
                  <a:gd name="connsiteY59" fmla="*/ 57150 h 207169"/>
                  <a:gd name="connsiteX60" fmla="*/ 54769 w 1116840"/>
                  <a:gd name="connsiteY60" fmla="*/ 61912 h 207169"/>
                  <a:gd name="connsiteX61" fmla="*/ 47625 w 1116840"/>
                  <a:gd name="connsiteY61" fmla="*/ 64294 h 207169"/>
                  <a:gd name="connsiteX62" fmla="*/ 23813 w 1116840"/>
                  <a:gd name="connsiteY62" fmla="*/ 71437 h 207169"/>
                  <a:gd name="connsiteX63" fmla="*/ 9525 w 1116840"/>
                  <a:gd name="connsiteY63" fmla="*/ 80962 h 207169"/>
                  <a:gd name="connsiteX64" fmla="*/ 0 w 1116840"/>
                  <a:gd name="connsiteY64" fmla="*/ 104775 h 207169"/>
                  <a:gd name="connsiteX65" fmla="*/ 11907 w 1116840"/>
                  <a:gd name="connsiteY65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1038225 w 1116840"/>
                  <a:gd name="connsiteY40" fmla="*/ 54769 h 207169"/>
                  <a:gd name="connsiteX41" fmla="*/ 966788 w 1116840"/>
                  <a:gd name="connsiteY41" fmla="*/ 35719 h 207169"/>
                  <a:gd name="connsiteX42" fmla="*/ 857250 w 1116840"/>
                  <a:gd name="connsiteY42" fmla="*/ 21431 h 207169"/>
                  <a:gd name="connsiteX43" fmla="*/ 790575 w 1116840"/>
                  <a:gd name="connsiteY43" fmla="*/ 9525 h 207169"/>
                  <a:gd name="connsiteX44" fmla="*/ 702469 w 1116840"/>
                  <a:gd name="connsiteY44" fmla="*/ 7144 h 207169"/>
                  <a:gd name="connsiteX45" fmla="*/ 559594 w 1116840"/>
                  <a:gd name="connsiteY45" fmla="*/ 0 h 207169"/>
                  <a:gd name="connsiteX46" fmla="*/ 338138 w 1116840"/>
                  <a:gd name="connsiteY46" fmla="*/ 2381 h 207169"/>
                  <a:gd name="connsiteX47" fmla="*/ 295275 w 1116840"/>
                  <a:gd name="connsiteY47" fmla="*/ 7144 h 207169"/>
                  <a:gd name="connsiteX48" fmla="*/ 278607 w 1116840"/>
                  <a:gd name="connsiteY48" fmla="*/ 9525 h 207169"/>
                  <a:gd name="connsiteX49" fmla="*/ 269082 w 1116840"/>
                  <a:gd name="connsiteY49" fmla="*/ 11906 h 207169"/>
                  <a:gd name="connsiteX50" fmla="*/ 238125 w 1116840"/>
                  <a:gd name="connsiteY50" fmla="*/ 14287 h 207169"/>
                  <a:gd name="connsiteX51" fmla="*/ 216694 w 1116840"/>
                  <a:gd name="connsiteY51" fmla="*/ 21431 h 207169"/>
                  <a:gd name="connsiteX52" fmla="*/ 195263 w 1116840"/>
                  <a:gd name="connsiteY52" fmla="*/ 26194 h 207169"/>
                  <a:gd name="connsiteX53" fmla="*/ 183357 w 1116840"/>
                  <a:gd name="connsiteY53" fmla="*/ 28575 h 207169"/>
                  <a:gd name="connsiteX54" fmla="*/ 147638 w 1116840"/>
                  <a:gd name="connsiteY54" fmla="*/ 38100 h 207169"/>
                  <a:gd name="connsiteX55" fmla="*/ 128588 w 1116840"/>
                  <a:gd name="connsiteY55" fmla="*/ 45244 h 207169"/>
                  <a:gd name="connsiteX56" fmla="*/ 109538 w 1116840"/>
                  <a:gd name="connsiteY56" fmla="*/ 50006 h 207169"/>
                  <a:gd name="connsiteX57" fmla="*/ 97632 w 1116840"/>
                  <a:gd name="connsiteY57" fmla="*/ 54769 h 207169"/>
                  <a:gd name="connsiteX58" fmla="*/ 80963 w 1116840"/>
                  <a:gd name="connsiteY58" fmla="*/ 57150 h 207169"/>
                  <a:gd name="connsiteX59" fmla="*/ 54769 w 1116840"/>
                  <a:gd name="connsiteY59" fmla="*/ 61912 h 207169"/>
                  <a:gd name="connsiteX60" fmla="*/ 47625 w 1116840"/>
                  <a:gd name="connsiteY60" fmla="*/ 64294 h 207169"/>
                  <a:gd name="connsiteX61" fmla="*/ 23813 w 1116840"/>
                  <a:gd name="connsiteY61" fmla="*/ 71437 h 207169"/>
                  <a:gd name="connsiteX62" fmla="*/ 9525 w 1116840"/>
                  <a:gd name="connsiteY62" fmla="*/ 80962 h 207169"/>
                  <a:gd name="connsiteX63" fmla="*/ 0 w 1116840"/>
                  <a:gd name="connsiteY63" fmla="*/ 104775 h 207169"/>
                  <a:gd name="connsiteX64" fmla="*/ 11907 w 1116840"/>
                  <a:gd name="connsiteY64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1047750 w 1116840"/>
                  <a:gd name="connsiteY39" fmla="*/ 59531 h 207169"/>
                  <a:gd name="connsiteX40" fmla="*/ 966788 w 1116840"/>
                  <a:gd name="connsiteY40" fmla="*/ 35719 h 207169"/>
                  <a:gd name="connsiteX41" fmla="*/ 857250 w 1116840"/>
                  <a:gd name="connsiteY41" fmla="*/ 21431 h 207169"/>
                  <a:gd name="connsiteX42" fmla="*/ 790575 w 1116840"/>
                  <a:gd name="connsiteY42" fmla="*/ 9525 h 207169"/>
                  <a:gd name="connsiteX43" fmla="*/ 702469 w 1116840"/>
                  <a:gd name="connsiteY43" fmla="*/ 7144 h 207169"/>
                  <a:gd name="connsiteX44" fmla="*/ 559594 w 1116840"/>
                  <a:gd name="connsiteY44" fmla="*/ 0 h 207169"/>
                  <a:gd name="connsiteX45" fmla="*/ 338138 w 1116840"/>
                  <a:gd name="connsiteY45" fmla="*/ 2381 h 207169"/>
                  <a:gd name="connsiteX46" fmla="*/ 295275 w 1116840"/>
                  <a:gd name="connsiteY46" fmla="*/ 7144 h 207169"/>
                  <a:gd name="connsiteX47" fmla="*/ 278607 w 1116840"/>
                  <a:gd name="connsiteY47" fmla="*/ 9525 h 207169"/>
                  <a:gd name="connsiteX48" fmla="*/ 269082 w 1116840"/>
                  <a:gd name="connsiteY48" fmla="*/ 11906 h 207169"/>
                  <a:gd name="connsiteX49" fmla="*/ 238125 w 1116840"/>
                  <a:gd name="connsiteY49" fmla="*/ 14287 h 207169"/>
                  <a:gd name="connsiteX50" fmla="*/ 216694 w 1116840"/>
                  <a:gd name="connsiteY50" fmla="*/ 21431 h 207169"/>
                  <a:gd name="connsiteX51" fmla="*/ 195263 w 1116840"/>
                  <a:gd name="connsiteY51" fmla="*/ 26194 h 207169"/>
                  <a:gd name="connsiteX52" fmla="*/ 183357 w 1116840"/>
                  <a:gd name="connsiteY52" fmla="*/ 28575 h 207169"/>
                  <a:gd name="connsiteX53" fmla="*/ 147638 w 1116840"/>
                  <a:gd name="connsiteY53" fmla="*/ 38100 h 207169"/>
                  <a:gd name="connsiteX54" fmla="*/ 128588 w 1116840"/>
                  <a:gd name="connsiteY54" fmla="*/ 45244 h 207169"/>
                  <a:gd name="connsiteX55" fmla="*/ 109538 w 1116840"/>
                  <a:gd name="connsiteY55" fmla="*/ 50006 h 207169"/>
                  <a:gd name="connsiteX56" fmla="*/ 97632 w 1116840"/>
                  <a:gd name="connsiteY56" fmla="*/ 54769 h 207169"/>
                  <a:gd name="connsiteX57" fmla="*/ 80963 w 1116840"/>
                  <a:gd name="connsiteY57" fmla="*/ 57150 h 207169"/>
                  <a:gd name="connsiteX58" fmla="*/ 54769 w 1116840"/>
                  <a:gd name="connsiteY58" fmla="*/ 61912 h 207169"/>
                  <a:gd name="connsiteX59" fmla="*/ 47625 w 1116840"/>
                  <a:gd name="connsiteY59" fmla="*/ 64294 h 207169"/>
                  <a:gd name="connsiteX60" fmla="*/ 23813 w 1116840"/>
                  <a:gd name="connsiteY60" fmla="*/ 71437 h 207169"/>
                  <a:gd name="connsiteX61" fmla="*/ 9525 w 1116840"/>
                  <a:gd name="connsiteY61" fmla="*/ 80962 h 207169"/>
                  <a:gd name="connsiteX62" fmla="*/ 0 w 1116840"/>
                  <a:gd name="connsiteY62" fmla="*/ 104775 h 207169"/>
                  <a:gd name="connsiteX63" fmla="*/ 11907 w 1116840"/>
                  <a:gd name="connsiteY63" fmla="*/ 111919 h 207169"/>
                  <a:gd name="connsiteX0" fmla="*/ 11907 w 1116840"/>
                  <a:gd name="connsiteY0" fmla="*/ 111919 h 207169"/>
                  <a:gd name="connsiteX1" fmla="*/ 23813 w 1116840"/>
                  <a:gd name="connsiteY1" fmla="*/ 121444 h 207169"/>
                  <a:gd name="connsiteX2" fmla="*/ 28575 w 1116840"/>
                  <a:gd name="connsiteY2" fmla="*/ 128587 h 207169"/>
                  <a:gd name="connsiteX3" fmla="*/ 40482 w 1116840"/>
                  <a:gd name="connsiteY3" fmla="*/ 135731 h 207169"/>
                  <a:gd name="connsiteX4" fmla="*/ 47625 w 1116840"/>
                  <a:gd name="connsiteY4" fmla="*/ 140494 h 207169"/>
                  <a:gd name="connsiteX5" fmla="*/ 78582 w 1116840"/>
                  <a:gd name="connsiteY5" fmla="*/ 145256 h 207169"/>
                  <a:gd name="connsiteX6" fmla="*/ 104775 w 1116840"/>
                  <a:gd name="connsiteY6" fmla="*/ 150019 h 207169"/>
                  <a:gd name="connsiteX7" fmla="*/ 128588 w 1116840"/>
                  <a:gd name="connsiteY7" fmla="*/ 152400 h 207169"/>
                  <a:gd name="connsiteX8" fmla="*/ 161925 w 1116840"/>
                  <a:gd name="connsiteY8" fmla="*/ 161925 h 207169"/>
                  <a:gd name="connsiteX9" fmla="*/ 178594 w 1116840"/>
                  <a:gd name="connsiteY9" fmla="*/ 164306 h 207169"/>
                  <a:gd name="connsiteX10" fmla="*/ 202407 w 1116840"/>
                  <a:gd name="connsiteY10" fmla="*/ 169069 h 207169"/>
                  <a:gd name="connsiteX11" fmla="*/ 209550 w 1116840"/>
                  <a:gd name="connsiteY11" fmla="*/ 171450 h 207169"/>
                  <a:gd name="connsiteX12" fmla="*/ 238125 w 1116840"/>
                  <a:gd name="connsiteY12" fmla="*/ 178594 h 207169"/>
                  <a:gd name="connsiteX13" fmla="*/ 285750 w 1116840"/>
                  <a:gd name="connsiteY13" fmla="*/ 192881 h 207169"/>
                  <a:gd name="connsiteX14" fmla="*/ 378619 w 1116840"/>
                  <a:gd name="connsiteY14" fmla="*/ 195262 h 207169"/>
                  <a:gd name="connsiteX15" fmla="*/ 402432 w 1116840"/>
                  <a:gd name="connsiteY15" fmla="*/ 200025 h 207169"/>
                  <a:gd name="connsiteX16" fmla="*/ 457200 w 1116840"/>
                  <a:gd name="connsiteY16" fmla="*/ 207169 h 207169"/>
                  <a:gd name="connsiteX17" fmla="*/ 604838 w 1116840"/>
                  <a:gd name="connsiteY17" fmla="*/ 204787 h 207169"/>
                  <a:gd name="connsiteX18" fmla="*/ 623888 w 1116840"/>
                  <a:gd name="connsiteY18" fmla="*/ 200025 h 207169"/>
                  <a:gd name="connsiteX19" fmla="*/ 676275 w 1116840"/>
                  <a:gd name="connsiteY19" fmla="*/ 197644 h 207169"/>
                  <a:gd name="connsiteX20" fmla="*/ 697707 w 1116840"/>
                  <a:gd name="connsiteY20" fmla="*/ 192881 h 207169"/>
                  <a:gd name="connsiteX21" fmla="*/ 707232 w 1116840"/>
                  <a:gd name="connsiteY21" fmla="*/ 190500 h 207169"/>
                  <a:gd name="connsiteX22" fmla="*/ 797719 w 1116840"/>
                  <a:gd name="connsiteY22" fmla="*/ 188119 h 207169"/>
                  <a:gd name="connsiteX23" fmla="*/ 823913 w 1116840"/>
                  <a:gd name="connsiteY23" fmla="*/ 180975 h 207169"/>
                  <a:gd name="connsiteX24" fmla="*/ 842963 w 1116840"/>
                  <a:gd name="connsiteY24" fmla="*/ 176212 h 207169"/>
                  <a:gd name="connsiteX25" fmla="*/ 866775 w 1116840"/>
                  <a:gd name="connsiteY25" fmla="*/ 173831 h 207169"/>
                  <a:gd name="connsiteX26" fmla="*/ 940594 w 1116840"/>
                  <a:gd name="connsiteY26" fmla="*/ 169069 h 207169"/>
                  <a:gd name="connsiteX27" fmla="*/ 971550 w 1116840"/>
                  <a:gd name="connsiteY27" fmla="*/ 166687 h 207169"/>
                  <a:gd name="connsiteX28" fmla="*/ 992982 w 1116840"/>
                  <a:gd name="connsiteY28" fmla="*/ 161925 h 207169"/>
                  <a:gd name="connsiteX29" fmla="*/ 1007269 w 1116840"/>
                  <a:gd name="connsiteY29" fmla="*/ 159544 h 207169"/>
                  <a:gd name="connsiteX30" fmla="*/ 1035844 w 1116840"/>
                  <a:gd name="connsiteY30" fmla="*/ 152400 h 207169"/>
                  <a:gd name="connsiteX31" fmla="*/ 1052513 w 1116840"/>
                  <a:gd name="connsiteY31" fmla="*/ 142875 h 207169"/>
                  <a:gd name="connsiteX32" fmla="*/ 1083469 w 1116840"/>
                  <a:gd name="connsiteY32" fmla="*/ 130969 h 207169"/>
                  <a:gd name="connsiteX33" fmla="*/ 1090613 w 1116840"/>
                  <a:gd name="connsiteY33" fmla="*/ 123825 h 207169"/>
                  <a:gd name="connsiteX34" fmla="*/ 1100138 w 1116840"/>
                  <a:gd name="connsiteY34" fmla="*/ 119062 h 207169"/>
                  <a:gd name="connsiteX35" fmla="*/ 1107282 w 1116840"/>
                  <a:gd name="connsiteY35" fmla="*/ 114300 h 207169"/>
                  <a:gd name="connsiteX36" fmla="*/ 1116807 w 1116840"/>
                  <a:gd name="connsiteY36" fmla="*/ 95250 h 207169"/>
                  <a:gd name="connsiteX37" fmla="*/ 1114425 w 1116840"/>
                  <a:gd name="connsiteY37" fmla="*/ 85725 h 207169"/>
                  <a:gd name="connsiteX38" fmla="*/ 1054894 w 1116840"/>
                  <a:gd name="connsiteY38" fmla="*/ 61912 h 207169"/>
                  <a:gd name="connsiteX39" fmla="*/ 966788 w 1116840"/>
                  <a:gd name="connsiteY39" fmla="*/ 35719 h 207169"/>
                  <a:gd name="connsiteX40" fmla="*/ 857250 w 1116840"/>
                  <a:gd name="connsiteY40" fmla="*/ 21431 h 207169"/>
                  <a:gd name="connsiteX41" fmla="*/ 790575 w 1116840"/>
                  <a:gd name="connsiteY41" fmla="*/ 9525 h 207169"/>
                  <a:gd name="connsiteX42" fmla="*/ 702469 w 1116840"/>
                  <a:gd name="connsiteY42" fmla="*/ 7144 h 207169"/>
                  <a:gd name="connsiteX43" fmla="*/ 559594 w 1116840"/>
                  <a:gd name="connsiteY43" fmla="*/ 0 h 207169"/>
                  <a:gd name="connsiteX44" fmla="*/ 338138 w 1116840"/>
                  <a:gd name="connsiteY44" fmla="*/ 2381 h 207169"/>
                  <a:gd name="connsiteX45" fmla="*/ 295275 w 1116840"/>
                  <a:gd name="connsiteY45" fmla="*/ 7144 h 207169"/>
                  <a:gd name="connsiteX46" fmla="*/ 278607 w 1116840"/>
                  <a:gd name="connsiteY46" fmla="*/ 9525 h 207169"/>
                  <a:gd name="connsiteX47" fmla="*/ 269082 w 1116840"/>
                  <a:gd name="connsiteY47" fmla="*/ 11906 h 207169"/>
                  <a:gd name="connsiteX48" fmla="*/ 238125 w 1116840"/>
                  <a:gd name="connsiteY48" fmla="*/ 14287 h 207169"/>
                  <a:gd name="connsiteX49" fmla="*/ 216694 w 1116840"/>
                  <a:gd name="connsiteY49" fmla="*/ 21431 h 207169"/>
                  <a:gd name="connsiteX50" fmla="*/ 195263 w 1116840"/>
                  <a:gd name="connsiteY50" fmla="*/ 26194 h 207169"/>
                  <a:gd name="connsiteX51" fmla="*/ 183357 w 1116840"/>
                  <a:gd name="connsiteY51" fmla="*/ 28575 h 207169"/>
                  <a:gd name="connsiteX52" fmla="*/ 147638 w 1116840"/>
                  <a:gd name="connsiteY52" fmla="*/ 38100 h 207169"/>
                  <a:gd name="connsiteX53" fmla="*/ 128588 w 1116840"/>
                  <a:gd name="connsiteY53" fmla="*/ 45244 h 207169"/>
                  <a:gd name="connsiteX54" fmla="*/ 109538 w 1116840"/>
                  <a:gd name="connsiteY54" fmla="*/ 50006 h 207169"/>
                  <a:gd name="connsiteX55" fmla="*/ 97632 w 1116840"/>
                  <a:gd name="connsiteY55" fmla="*/ 54769 h 207169"/>
                  <a:gd name="connsiteX56" fmla="*/ 80963 w 1116840"/>
                  <a:gd name="connsiteY56" fmla="*/ 57150 h 207169"/>
                  <a:gd name="connsiteX57" fmla="*/ 54769 w 1116840"/>
                  <a:gd name="connsiteY57" fmla="*/ 61912 h 207169"/>
                  <a:gd name="connsiteX58" fmla="*/ 47625 w 1116840"/>
                  <a:gd name="connsiteY58" fmla="*/ 64294 h 207169"/>
                  <a:gd name="connsiteX59" fmla="*/ 23813 w 1116840"/>
                  <a:gd name="connsiteY59" fmla="*/ 71437 h 207169"/>
                  <a:gd name="connsiteX60" fmla="*/ 9525 w 1116840"/>
                  <a:gd name="connsiteY60" fmla="*/ 80962 h 207169"/>
                  <a:gd name="connsiteX61" fmla="*/ 0 w 1116840"/>
                  <a:gd name="connsiteY61" fmla="*/ 104775 h 207169"/>
                  <a:gd name="connsiteX62" fmla="*/ 11907 w 1116840"/>
                  <a:gd name="connsiteY62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83469 w 1117890"/>
                  <a:gd name="connsiteY32" fmla="*/ 130969 h 207169"/>
                  <a:gd name="connsiteX33" fmla="*/ 1090613 w 1117890"/>
                  <a:gd name="connsiteY33" fmla="*/ 123825 h 207169"/>
                  <a:gd name="connsiteX34" fmla="*/ 1100138 w 1117890"/>
                  <a:gd name="connsiteY34" fmla="*/ 119062 h 207169"/>
                  <a:gd name="connsiteX35" fmla="*/ 1116807 w 1117890"/>
                  <a:gd name="connsiteY35" fmla="*/ 95250 h 207169"/>
                  <a:gd name="connsiteX36" fmla="*/ 1114425 w 1117890"/>
                  <a:gd name="connsiteY36" fmla="*/ 85725 h 207169"/>
                  <a:gd name="connsiteX37" fmla="*/ 1054894 w 1117890"/>
                  <a:gd name="connsiteY37" fmla="*/ 61912 h 207169"/>
                  <a:gd name="connsiteX38" fmla="*/ 966788 w 1117890"/>
                  <a:gd name="connsiteY38" fmla="*/ 35719 h 207169"/>
                  <a:gd name="connsiteX39" fmla="*/ 857250 w 1117890"/>
                  <a:gd name="connsiteY39" fmla="*/ 21431 h 207169"/>
                  <a:gd name="connsiteX40" fmla="*/ 790575 w 1117890"/>
                  <a:gd name="connsiteY40" fmla="*/ 9525 h 207169"/>
                  <a:gd name="connsiteX41" fmla="*/ 702469 w 1117890"/>
                  <a:gd name="connsiteY41" fmla="*/ 7144 h 207169"/>
                  <a:gd name="connsiteX42" fmla="*/ 559594 w 1117890"/>
                  <a:gd name="connsiteY42" fmla="*/ 0 h 207169"/>
                  <a:gd name="connsiteX43" fmla="*/ 338138 w 1117890"/>
                  <a:gd name="connsiteY43" fmla="*/ 2381 h 207169"/>
                  <a:gd name="connsiteX44" fmla="*/ 295275 w 1117890"/>
                  <a:gd name="connsiteY44" fmla="*/ 7144 h 207169"/>
                  <a:gd name="connsiteX45" fmla="*/ 278607 w 1117890"/>
                  <a:gd name="connsiteY45" fmla="*/ 9525 h 207169"/>
                  <a:gd name="connsiteX46" fmla="*/ 269082 w 1117890"/>
                  <a:gd name="connsiteY46" fmla="*/ 11906 h 207169"/>
                  <a:gd name="connsiteX47" fmla="*/ 238125 w 1117890"/>
                  <a:gd name="connsiteY47" fmla="*/ 14287 h 207169"/>
                  <a:gd name="connsiteX48" fmla="*/ 216694 w 1117890"/>
                  <a:gd name="connsiteY48" fmla="*/ 21431 h 207169"/>
                  <a:gd name="connsiteX49" fmla="*/ 195263 w 1117890"/>
                  <a:gd name="connsiteY49" fmla="*/ 26194 h 207169"/>
                  <a:gd name="connsiteX50" fmla="*/ 183357 w 1117890"/>
                  <a:gd name="connsiteY50" fmla="*/ 28575 h 207169"/>
                  <a:gd name="connsiteX51" fmla="*/ 147638 w 1117890"/>
                  <a:gd name="connsiteY51" fmla="*/ 38100 h 207169"/>
                  <a:gd name="connsiteX52" fmla="*/ 128588 w 1117890"/>
                  <a:gd name="connsiteY52" fmla="*/ 45244 h 207169"/>
                  <a:gd name="connsiteX53" fmla="*/ 109538 w 1117890"/>
                  <a:gd name="connsiteY53" fmla="*/ 50006 h 207169"/>
                  <a:gd name="connsiteX54" fmla="*/ 97632 w 1117890"/>
                  <a:gd name="connsiteY54" fmla="*/ 54769 h 207169"/>
                  <a:gd name="connsiteX55" fmla="*/ 80963 w 1117890"/>
                  <a:gd name="connsiteY55" fmla="*/ 57150 h 207169"/>
                  <a:gd name="connsiteX56" fmla="*/ 54769 w 1117890"/>
                  <a:gd name="connsiteY56" fmla="*/ 61912 h 207169"/>
                  <a:gd name="connsiteX57" fmla="*/ 47625 w 1117890"/>
                  <a:gd name="connsiteY57" fmla="*/ 64294 h 207169"/>
                  <a:gd name="connsiteX58" fmla="*/ 23813 w 1117890"/>
                  <a:gd name="connsiteY58" fmla="*/ 71437 h 207169"/>
                  <a:gd name="connsiteX59" fmla="*/ 9525 w 1117890"/>
                  <a:gd name="connsiteY59" fmla="*/ 80962 h 207169"/>
                  <a:gd name="connsiteX60" fmla="*/ 0 w 1117890"/>
                  <a:gd name="connsiteY60" fmla="*/ 104775 h 207169"/>
                  <a:gd name="connsiteX61" fmla="*/ 11907 w 1117890"/>
                  <a:gd name="connsiteY61" fmla="*/ 111919 h 207169"/>
                  <a:gd name="connsiteX0" fmla="*/ 11907 w 1117890"/>
                  <a:gd name="connsiteY0" fmla="*/ 111919 h 207169"/>
                  <a:gd name="connsiteX1" fmla="*/ 23813 w 1117890"/>
                  <a:gd name="connsiteY1" fmla="*/ 121444 h 207169"/>
                  <a:gd name="connsiteX2" fmla="*/ 28575 w 1117890"/>
                  <a:gd name="connsiteY2" fmla="*/ 128587 h 207169"/>
                  <a:gd name="connsiteX3" fmla="*/ 40482 w 1117890"/>
                  <a:gd name="connsiteY3" fmla="*/ 135731 h 207169"/>
                  <a:gd name="connsiteX4" fmla="*/ 47625 w 1117890"/>
                  <a:gd name="connsiteY4" fmla="*/ 140494 h 207169"/>
                  <a:gd name="connsiteX5" fmla="*/ 78582 w 1117890"/>
                  <a:gd name="connsiteY5" fmla="*/ 145256 h 207169"/>
                  <a:gd name="connsiteX6" fmla="*/ 104775 w 1117890"/>
                  <a:gd name="connsiteY6" fmla="*/ 150019 h 207169"/>
                  <a:gd name="connsiteX7" fmla="*/ 128588 w 1117890"/>
                  <a:gd name="connsiteY7" fmla="*/ 152400 h 207169"/>
                  <a:gd name="connsiteX8" fmla="*/ 161925 w 1117890"/>
                  <a:gd name="connsiteY8" fmla="*/ 161925 h 207169"/>
                  <a:gd name="connsiteX9" fmla="*/ 178594 w 1117890"/>
                  <a:gd name="connsiteY9" fmla="*/ 164306 h 207169"/>
                  <a:gd name="connsiteX10" fmla="*/ 202407 w 1117890"/>
                  <a:gd name="connsiteY10" fmla="*/ 169069 h 207169"/>
                  <a:gd name="connsiteX11" fmla="*/ 209550 w 1117890"/>
                  <a:gd name="connsiteY11" fmla="*/ 171450 h 207169"/>
                  <a:gd name="connsiteX12" fmla="*/ 238125 w 1117890"/>
                  <a:gd name="connsiteY12" fmla="*/ 178594 h 207169"/>
                  <a:gd name="connsiteX13" fmla="*/ 285750 w 1117890"/>
                  <a:gd name="connsiteY13" fmla="*/ 192881 h 207169"/>
                  <a:gd name="connsiteX14" fmla="*/ 378619 w 1117890"/>
                  <a:gd name="connsiteY14" fmla="*/ 195262 h 207169"/>
                  <a:gd name="connsiteX15" fmla="*/ 402432 w 1117890"/>
                  <a:gd name="connsiteY15" fmla="*/ 200025 h 207169"/>
                  <a:gd name="connsiteX16" fmla="*/ 457200 w 1117890"/>
                  <a:gd name="connsiteY16" fmla="*/ 207169 h 207169"/>
                  <a:gd name="connsiteX17" fmla="*/ 604838 w 1117890"/>
                  <a:gd name="connsiteY17" fmla="*/ 204787 h 207169"/>
                  <a:gd name="connsiteX18" fmla="*/ 623888 w 1117890"/>
                  <a:gd name="connsiteY18" fmla="*/ 200025 h 207169"/>
                  <a:gd name="connsiteX19" fmla="*/ 676275 w 1117890"/>
                  <a:gd name="connsiteY19" fmla="*/ 197644 h 207169"/>
                  <a:gd name="connsiteX20" fmla="*/ 697707 w 1117890"/>
                  <a:gd name="connsiteY20" fmla="*/ 192881 h 207169"/>
                  <a:gd name="connsiteX21" fmla="*/ 707232 w 1117890"/>
                  <a:gd name="connsiteY21" fmla="*/ 190500 h 207169"/>
                  <a:gd name="connsiteX22" fmla="*/ 797719 w 1117890"/>
                  <a:gd name="connsiteY22" fmla="*/ 188119 h 207169"/>
                  <a:gd name="connsiteX23" fmla="*/ 823913 w 1117890"/>
                  <a:gd name="connsiteY23" fmla="*/ 180975 h 207169"/>
                  <a:gd name="connsiteX24" fmla="*/ 842963 w 1117890"/>
                  <a:gd name="connsiteY24" fmla="*/ 176212 h 207169"/>
                  <a:gd name="connsiteX25" fmla="*/ 866775 w 1117890"/>
                  <a:gd name="connsiteY25" fmla="*/ 173831 h 207169"/>
                  <a:gd name="connsiteX26" fmla="*/ 940594 w 1117890"/>
                  <a:gd name="connsiteY26" fmla="*/ 169069 h 207169"/>
                  <a:gd name="connsiteX27" fmla="*/ 971550 w 1117890"/>
                  <a:gd name="connsiteY27" fmla="*/ 166687 h 207169"/>
                  <a:gd name="connsiteX28" fmla="*/ 992982 w 1117890"/>
                  <a:gd name="connsiteY28" fmla="*/ 161925 h 207169"/>
                  <a:gd name="connsiteX29" fmla="*/ 1007269 w 1117890"/>
                  <a:gd name="connsiteY29" fmla="*/ 159544 h 207169"/>
                  <a:gd name="connsiteX30" fmla="*/ 1035844 w 1117890"/>
                  <a:gd name="connsiteY30" fmla="*/ 152400 h 207169"/>
                  <a:gd name="connsiteX31" fmla="*/ 1052513 w 1117890"/>
                  <a:gd name="connsiteY31" fmla="*/ 142875 h 207169"/>
                  <a:gd name="connsiteX32" fmla="*/ 1090613 w 1117890"/>
                  <a:gd name="connsiteY32" fmla="*/ 123825 h 207169"/>
                  <a:gd name="connsiteX33" fmla="*/ 1100138 w 1117890"/>
                  <a:gd name="connsiteY33" fmla="*/ 119062 h 207169"/>
                  <a:gd name="connsiteX34" fmla="*/ 1116807 w 1117890"/>
                  <a:gd name="connsiteY34" fmla="*/ 95250 h 207169"/>
                  <a:gd name="connsiteX35" fmla="*/ 1114425 w 1117890"/>
                  <a:gd name="connsiteY35" fmla="*/ 85725 h 207169"/>
                  <a:gd name="connsiteX36" fmla="*/ 1054894 w 1117890"/>
                  <a:gd name="connsiteY36" fmla="*/ 61912 h 207169"/>
                  <a:gd name="connsiteX37" fmla="*/ 966788 w 1117890"/>
                  <a:gd name="connsiteY37" fmla="*/ 35719 h 207169"/>
                  <a:gd name="connsiteX38" fmla="*/ 857250 w 1117890"/>
                  <a:gd name="connsiteY38" fmla="*/ 21431 h 207169"/>
                  <a:gd name="connsiteX39" fmla="*/ 790575 w 1117890"/>
                  <a:gd name="connsiteY39" fmla="*/ 9525 h 207169"/>
                  <a:gd name="connsiteX40" fmla="*/ 702469 w 1117890"/>
                  <a:gd name="connsiteY40" fmla="*/ 7144 h 207169"/>
                  <a:gd name="connsiteX41" fmla="*/ 559594 w 1117890"/>
                  <a:gd name="connsiteY41" fmla="*/ 0 h 207169"/>
                  <a:gd name="connsiteX42" fmla="*/ 338138 w 1117890"/>
                  <a:gd name="connsiteY42" fmla="*/ 2381 h 207169"/>
                  <a:gd name="connsiteX43" fmla="*/ 295275 w 1117890"/>
                  <a:gd name="connsiteY43" fmla="*/ 7144 h 207169"/>
                  <a:gd name="connsiteX44" fmla="*/ 278607 w 1117890"/>
                  <a:gd name="connsiteY44" fmla="*/ 9525 h 207169"/>
                  <a:gd name="connsiteX45" fmla="*/ 269082 w 1117890"/>
                  <a:gd name="connsiteY45" fmla="*/ 11906 h 207169"/>
                  <a:gd name="connsiteX46" fmla="*/ 238125 w 1117890"/>
                  <a:gd name="connsiteY46" fmla="*/ 14287 h 207169"/>
                  <a:gd name="connsiteX47" fmla="*/ 216694 w 1117890"/>
                  <a:gd name="connsiteY47" fmla="*/ 21431 h 207169"/>
                  <a:gd name="connsiteX48" fmla="*/ 195263 w 1117890"/>
                  <a:gd name="connsiteY48" fmla="*/ 26194 h 207169"/>
                  <a:gd name="connsiteX49" fmla="*/ 183357 w 1117890"/>
                  <a:gd name="connsiteY49" fmla="*/ 28575 h 207169"/>
                  <a:gd name="connsiteX50" fmla="*/ 147638 w 1117890"/>
                  <a:gd name="connsiteY50" fmla="*/ 38100 h 207169"/>
                  <a:gd name="connsiteX51" fmla="*/ 128588 w 1117890"/>
                  <a:gd name="connsiteY51" fmla="*/ 45244 h 207169"/>
                  <a:gd name="connsiteX52" fmla="*/ 109538 w 1117890"/>
                  <a:gd name="connsiteY52" fmla="*/ 50006 h 207169"/>
                  <a:gd name="connsiteX53" fmla="*/ 97632 w 1117890"/>
                  <a:gd name="connsiteY53" fmla="*/ 54769 h 207169"/>
                  <a:gd name="connsiteX54" fmla="*/ 80963 w 1117890"/>
                  <a:gd name="connsiteY54" fmla="*/ 57150 h 207169"/>
                  <a:gd name="connsiteX55" fmla="*/ 54769 w 1117890"/>
                  <a:gd name="connsiteY55" fmla="*/ 61912 h 207169"/>
                  <a:gd name="connsiteX56" fmla="*/ 47625 w 1117890"/>
                  <a:gd name="connsiteY56" fmla="*/ 64294 h 207169"/>
                  <a:gd name="connsiteX57" fmla="*/ 23813 w 1117890"/>
                  <a:gd name="connsiteY57" fmla="*/ 71437 h 207169"/>
                  <a:gd name="connsiteX58" fmla="*/ 9525 w 1117890"/>
                  <a:gd name="connsiteY58" fmla="*/ 80962 h 207169"/>
                  <a:gd name="connsiteX59" fmla="*/ 0 w 1117890"/>
                  <a:gd name="connsiteY59" fmla="*/ 104775 h 207169"/>
                  <a:gd name="connsiteX60" fmla="*/ 11907 w 1117890"/>
                  <a:gd name="connsiteY60" fmla="*/ 111919 h 207169"/>
                  <a:gd name="connsiteX0" fmla="*/ 11907 w 1118595"/>
                  <a:gd name="connsiteY0" fmla="*/ 111919 h 207169"/>
                  <a:gd name="connsiteX1" fmla="*/ 23813 w 1118595"/>
                  <a:gd name="connsiteY1" fmla="*/ 121444 h 207169"/>
                  <a:gd name="connsiteX2" fmla="*/ 28575 w 1118595"/>
                  <a:gd name="connsiteY2" fmla="*/ 128587 h 207169"/>
                  <a:gd name="connsiteX3" fmla="*/ 40482 w 1118595"/>
                  <a:gd name="connsiteY3" fmla="*/ 135731 h 207169"/>
                  <a:gd name="connsiteX4" fmla="*/ 47625 w 1118595"/>
                  <a:gd name="connsiteY4" fmla="*/ 140494 h 207169"/>
                  <a:gd name="connsiteX5" fmla="*/ 78582 w 1118595"/>
                  <a:gd name="connsiteY5" fmla="*/ 145256 h 207169"/>
                  <a:gd name="connsiteX6" fmla="*/ 104775 w 1118595"/>
                  <a:gd name="connsiteY6" fmla="*/ 150019 h 207169"/>
                  <a:gd name="connsiteX7" fmla="*/ 128588 w 1118595"/>
                  <a:gd name="connsiteY7" fmla="*/ 152400 h 207169"/>
                  <a:gd name="connsiteX8" fmla="*/ 161925 w 1118595"/>
                  <a:gd name="connsiteY8" fmla="*/ 161925 h 207169"/>
                  <a:gd name="connsiteX9" fmla="*/ 178594 w 1118595"/>
                  <a:gd name="connsiteY9" fmla="*/ 164306 h 207169"/>
                  <a:gd name="connsiteX10" fmla="*/ 202407 w 1118595"/>
                  <a:gd name="connsiteY10" fmla="*/ 169069 h 207169"/>
                  <a:gd name="connsiteX11" fmla="*/ 209550 w 1118595"/>
                  <a:gd name="connsiteY11" fmla="*/ 171450 h 207169"/>
                  <a:gd name="connsiteX12" fmla="*/ 238125 w 1118595"/>
                  <a:gd name="connsiteY12" fmla="*/ 178594 h 207169"/>
                  <a:gd name="connsiteX13" fmla="*/ 285750 w 1118595"/>
                  <a:gd name="connsiteY13" fmla="*/ 192881 h 207169"/>
                  <a:gd name="connsiteX14" fmla="*/ 378619 w 1118595"/>
                  <a:gd name="connsiteY14" fmla="*/ 195262 h 207169"/>
                  <a:gd name="connsiteX15" fmla="*/ 402432 w 1118595"/>
                  <a:gd name="connsiteY15" fmla="*/ 200025 h 207169"/>
                  <a:gd name="connsiteX16" fmla="*/ 457200 w 1118595"/>
                  <a:gd name="connsiteY16" fmla="*/ 207169 h 207169"/>
                  <a:gd name="connsiteX17" fmla="*/ 604838 w 1118595"/>
                  <a:gd name="connsiteY17" fmla="*/ 204787 h 207169"/>
                  <a:gd name="connsiteX18" fmla="*/ 623888 w 1118595"/>
                  <a:gd name="connsiteY18" fmla="*/ 200025 h 207169"/>
                  <a:gd name="connsiteX19" fmla="*/ 676275 w 1118595"/>
                  <a:gd name="connsiteY19" fmla="*/ 197644 h 207169"/>
                  <a:gd name="connsiteX20" fmla="*/ 697707 w 1118595"/>
                  <a:gd name="connsiteY20" fmla="*/ 192881 h 207169"/>
                  <a:gd name="connsiteX21" fmla="*/ 707232 w 1118595"/>
                  <a:gd name="connsiteY21" fmla="*/ 190500 h 207169"/>
                  <a:gd name="connsiteX22" fmla="*/ 797719 w 1118595"/>
                  <a:gd name="connsiteY22" fmla="*/ 188119 h 207169"/>
                  <a:gd name="connsiteX23" fmla="*/ 823913 w 1118595"/>
                  <a:gd name="connsiteY23" fmla="*/ 180975 h 207169"/>
                  <a:gd name="connsiteX24" fmla="*/ 842963 w 1118595"/>
                  <a:gd name="connsiteY24" fmla="*/ 176212 h 207169"/>
                  <a:gd name="connsiteX25" fmla="*/ 866775 w 1118595"/>
                  <a:gd name="connsiteY25" fmla="*/ 173831 h 207169"/>
                  <a:gd name="connsiteX26" fmla="*/ 940594 w 1118595"/>
                  <a:gd name="connsiteY26" fmla="*/ 169069 h 207169"/>
                  <a:gd name="connsiteX27" fmla="*/ 971550 w 1118595"/>
                  <a:gd name="connsiteY27" fmla="*/ 166687 h 207169"/>
                  <a:gd name="connsiteX28" fmla="*/ 992982 w 1118595"/>
                  <a:gd name="connsiteY28" fmla="*/ 161925 h 207169"/>
                  <a:gd name="connsiteX29" fmla="*/ 1007269 w 1118595"/>
                  <a:gd name="connsiteY29" fmla="*/ 159544 h 207169"/>
                  <a:gd name="connsiteX30" fmla="*/ 1035844 w 1118595"/>
                  <a:gd name="connsiteY30" fmla="*/ 152400 h 207169"/>
                  <a:gd name="connsiteX31" fmla="*/ 1052513 w 1118595"/>
                  <a:gd name="connsiteY31" fmla="*/ 142875 h 207169"/>
                  <a:gd name="connsiteX32" fmla="*/ 1090613 w 1118595"/>
                  <a:gd name="connsiteY32" fmla="*/ 123825 h 207169"/>
                  <a:gd name="connsiteX33" fmla="*/ 1116807 w 1118595"/>
                  <a:gd name="connsiteY33" fmla="*/ 95250 h 207169"/>
                  <a:gd name="connsiteX34" fmla="*/ 1114425 w 1118595"/>
                  <a:gd name="connsiteY34" fmla="*/ 85725 h 207169"/>
                  <a:gd name="connsiteX35" fmla="*/ 1054894 w 1118595"/>
                  <a:gd name="connsiteY35" fmla="*/ 61912 h 207169"/>
                  <a:gd name="connsiteX36" fmla="*/ 966788 w 1118595"/>
                  <a:gd name="connsiteY36" fmla="*/ 35719 h 207169"/>
                  <a:gd name="connsiteX37" fmla="*/ 857250 w 1118595"/>
                  <a:gd name="connsiteY37" fmla="*/ 21431 h 207169"/>
                  <a:gd name="connsiteX38" fmla="*/ 790575 w 1118595"/>
                  <a:gd name="connsiteY38" fmla="*/ 9525 h 207169"/>
                  <a:gd name="connsiteX39" fmla="*/ 702469 w 1118595"/>
                  <a:gd name="connsiteY39" fmla="*/ 7144 h 207169"/>
                  <a:gd name="connsiteX40" fmla="*/ 559594 w 1118595"/>
                  <a:gd name="connsiteY40" fmla="*/ 0 h 207169"/>
                  <a:gd name="connsiteX41" fmla="*/ 338138 w 1118595"/>
                  <a:gd name="connsiteY41" fmla="*/ 2381 h 207169"/>
                  <a:gd name="connsiteX42" fmla="*/ 295275 w 1118595"/>
                  <a:gd name="connsiteY42" fmla="*/ 7144 h 207169"/>
                  <a:gd name="connsiteX43" fmla="*/ 278607 w 1118595"/>
                  <a:gd name="connsiteY43" fmla="*/ 9525 h 207169"/>
                  <a:gd name="connsiteX44" fmla="*/ 269082 w 1118595"/>
                  <a:gd name="connsiteY44" fmla="*/ 11906 h 207169"/>
                  <a:gd name="connsiteX45" fmla="*/ 238125 w 1118595"/>
                  <a:gd name="connsiteY45" fmla="*/ 14287 h 207169"/>
                  <a:gd name="connsiteX46" fmla="*/ 216694 w 1118595"/>
                  <a:gd name="connsiteY46" fmla="*/ 21431 h 207169"/>
                  <a:gd name="connsiteX47" fmla="*/ 195263 w 1118595"/>
                  <a:gd name="connsiteY47" fmla="*/ 26194 h 207169"/>
                  <a:gd name="connsiteX48" fmla="*/ 183357 w 1118595"/>
                  <a:gd name="connsiteY48" fmla="*/ 28575 h 207169"/>
                  <a:gd name="connsiteX49" fmla="*/ 147638 w 1118595"/>
                  <a:gd name="connsiteY49" fmla="*/ 38100 h 207169"/>
                  <a:gd name="connsiteX50" fmla="*/ 128588 w 1118595"/>
                  <a:gd name="connsiteY50" fmla="*/ 45244 h 207169"/>
                  <a:gd name="connsiteX51" fmla="*/ 109538 w 1118595"/>
                  <a:gd name="connsiteY51" fmla="*/ 50006 h 207169"/>
                  <a:gd name="connsiteX52" fmla="*/ 97632 w 1118595"/>
                  <a:gd name="connsiteY52" fmla="*/ 54769 h 207169"/>
                  <a:gd name="connsiteX53" fmla="*/ 80963 w 1118595"/>
                  <a:gd name="connsiteY53" fmla="*/ 57150 h 207169"/>
                  <a:gd name="connsiteX54" fmla="*/ 54769 w 1118595"/>
                  <a:gd name="connsiteY54" fmla="*/ 61912 h 207169"/>
                  <a:gd name="connsiteX55" fmla="*/ 47625 w 1118595"/>
                  <a:gd name="connsiteY55" fmla="*/ 64294 h 207169"/>
                  <a:gd name="connsiteX56" fmla="*/ 23813 w 1118595"/>
                  <a:gd name="connsiteY56" fmla="*/ 71437 h 207169"/>
                  <a:gd name="connsiteX57" fmla="*/ 9525 w 1118595"/>
                  <a:gd name="connsiteY57" fmla="*/ 80962 h 207169"/>
                  <a:gd name="connsiteX58" fmla="*/ 0 w 1118595"/>
                  <a:gd name="connsiteY58" fmla="*/ 104775 h 207169"/>
                  <a:gd name="connsiteX59" fmla="*/ 11907 w 1118595"/>
                  <a:gd name="connsiteY5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992982 w 1121416"/>
                  <a:gd name="connsiteY28" fmla="*/ 161925 h 207169"/>
                  <a:gd name="connsiteX29" fmla="*/ 1007269 w 1121416"/>
                  <a:gd name="connsiteY29" fmla="*/ 159544 h 207169"/>
                  <a:gd name="connsiteX30" fmla="*/ 1035844 w 1121416"/>
                  <a:gd name="connsiteY30" fmla="*/ 152400 h 207169"/>
                  <a:gd name="connsiteX31" fmla="*/ 1052513 w 1121416"/>
                  <a:gd name="connsiteY31" fmla="*/ 142875 h 207169"/>
                  <a:gd name="connsiteX32" fmla="*/ 1116807 w 1121416"/>
                  <a:gd name="connsiteY32" fmla="*/ 95250 h 207169"/>
                  <a:gd name="connsiteX33" fmla="*/ 1114425 w 1121416"/>
                  <a:gd name="connsiteY33" fmla="*/ 85725 h 207169"/>
                  <a:gd name="connsiteX34" fmla="*/ 1054894 w 1121416"/>
                  <a:gd name="connsiteY34" fmla="*/ 61912 h 207169"/>
                  <a:gd name="connsiteX35" fmla="*/ 966788 w 1121416"/>
                  <a:gd name="connsiteY35" fmla="*/ 35719 h 207169"/>
                  <a:gd name="connsiteX36" fmla="*/ 857250 w 1121416"/>
                  <a:gd name="connsiteY36" fmla="*/ 21431 h 207169"/>
                  <a:gd name="connsiteX37" fmla="*/ 790575 w 1121416"/>
                  <a:gd name="connsiteY37" fmla="*/ 9525 h 207169"/>
                  <a:gd name="connsiteX38" fmla="*/ 702469 w 1121416"/>
                  <a:gd name="connsiteY38" fmla="*/ 7144 h 207169"/>
                  <a:gd name="connsiteX39" fmla="*/ 559594 w 1121416"/>
                  <a:gd name="connsiteY39" fmla="*/ 0 h 207169"/>
                  <a:gd name="connsiteX40" fmla="*/ 338138 w 1121416"/>
                  <a:gd name="connsiteY40" fmla="*/ 2381 h 207169"/>
                  <a:gd name="connsiteX41" fmla="*/ 295275 w 1121416"/>
                  <a:gd name="connsiteY41" fmla="*/ 7144 h 207169"/>
                  <a:gd name="connsiteX42" fmla="*/ 278607 w 1121416"/>
                  <a:gd name="connsiteY42" fmla="*/ 9525 h 207169"/>
                  <a:gd name="connsiteX43" fmla="*/ 269082 w 1121416"/>
                  <a:gd name="connsiteY43" fmla="*/ 11906 h 207169"/>
                  <a:gd name="connsiteX44" fmla="*/ 238125 w 1121416"/>
                  <a:gd name="connsiteY44" fmla="*/ 14287 h 207169"/>
                  <a:gd name="connsiteX45" fmla="*/ 216694 w 1121416"/>
                  <a:gd name="connsiteY45" fmla="*/ 21431 h 207169"/>
                  <a:gd name="connsiteX46" fmla="*/ 195263 w 1121416"/>
                  <a:gd name="connsiteY46" fmla="*/ 26194 h 207169"/>
                  <a:gd name="connsiteX47" fmla="*/ 183357 w 1121416"/>
                  <a:gd name="connsiteY47" fmla="*/ 28575 h 207169"/>
                  <a:gd name="connsiteX48" fmla="*/ 147638 w 1121416"/>
                  <a:gd name="connsiteY48" fmla="*/ 38100 h 207169"/>
                  <a:gd name="connsiteX49" fmla="*/ 128588 w 1121416"/>
                  <a:gd name="connsiteY49" fmla="*/ 45244 h 207169"/>
                  <a:gd name="connsiteX50" fmla="*/ 109538 w 1121416"/>
                  <a:gd name="connsiteY50" fmla="*/ 50006 h 207169"/>
                  <a:gd name="connsiteX51" fmla="*/ 97632 w 1121416"/>
                  <a:gd name="connsiteY51" fmla="*/ 54769 h 207169"/>
                  <a:gd name="connsiteX52" fmla="*/ 80963 w 1121416"/>
                  <a:gd name="connsiteY52" fmla="*/ 57150 h 207169"/>
                  <a:gd name="connsiteX53" fmla="*/ 54769 w 1121416"/>
                  <a:gd name="connsiteY53" fmla="*/ 61912 h 207169"/>
                  <a:gd name="connsiteX54" fmla="*/ 47625 w 1121416"/>
                  <a:gd name="connsiteY54" fmla="*/ 64294 h 207169"/>
                  <a:gd name="connsiteX55" fmla="*/ 23813 w 1121416"/>
                  <a:gd name="connsiteY55" fmla="*/ 71437 h 207169"/>
                  <a:gd name="connsiteX56" fmla="*/ 9525 w 1121416"/>
                  <a:gd name="connsiteY56" fmla="*/ 80962 h 207169"/>
                  <a:gd name="connsiteX57" fmla="*/ 0 w 1121416"/>
                  <a:gd name="connsiteY57" fmla="*/ 104775 h 207169"/>
                  <a:gd name="connsiteX58" fmla="*/ 11907 w 1121416"/>
                  <a:gd name="connsiteY5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07269 w 1121416"/>
                  <a:gd name="connsiteY28" fmla="*/ 159544 h 207169"/>
                  <a:gd name="connsiteX29" fmla="*/ 1035844 w 1121416"/>
                  <a:gd name="connsiteY29" fmla="*/ 152400 h 207169"/>
                  <a:gd name="connsiteX30" fmla="*/ 1052513 w 1121416"/>
                  <a:gd name="connsiteY30" fmla="*/ 142875 h 207169"/>
                  <a:gd name="connsiteX31" fmla="*/ 1116807 w 1121416"/>
                  <a:gd name="connsiteY31" fmla="*/ 95250 h 207169"/>
                  <a:gd name="connsiteX32" fmla="*/ 1114425 w 1121416"/>
                  <a:gd name="connsiteY32" fmla="*/ 85725 h 207169"/>
                  <a:gd name="connsiteX33" fmla="*/ 1054894 w 1121416"/>
                  <a:gd name="connsiteY33" fmla="*/ 61912 h 207169"/>
                  <a:gd name="connsiteX34" fmla="*/ 966788 w 1121416"/>
                  <a:gd name="connsiteY34" fmla="*/ 35719 h 207169"/>
                  <a:gd name="connsiteX35" fmla="*/ 857250 w 1121416"/>
                  <a:gd name="connsiteY35" fmla="*/ 21431 h 207169"/>
                  <a:gd name="connsiteX36" fmla="*/ 790575 w 1121416"/>
                  <a:gd name="connsiteY36" fmla="*/ 9525 h 207169"/>
                  <a:gd name="connsiteX37" fmla="*/ 702469 w 1121416"/>
                  <a:gd name="connsiteY37" fmla="*/ 7144 h 207169"/>
                  <a:gd name="connsiteX38" fmla="*/ 559594 w 1121416"/>
                  <a:gd name="connsiteY38" fmla="*/ 0 h 207169"/>
                  <a:gd name="connsiteX39" fmla="*/ 338138 w 1121416"/>
                  <a:gd name="connsiteY39" fmla="*/ 2381 h 207169"/>
                  <a:gd name="connsiteX40" fmla="*/ 295275 w 1121416"/>
                  <a:gd name="connsiteY40" fmla="*/ 7144 h 207169"/>
                  <a:gd name="connsiteX41" fmla="*/ 278607 w 1121416"/>
                  <a:gd name="connsiteY41" fmla="*/ 9525 h 207169"/>
                  <a:gd name="connsiteX42" fmla="*/ 269082 w 1121416"/>
                  <a:gd name="connsiteY42" fmla="*/ 11906 h 207169"/>
                  <a:gd name="connsiteX43" fmla="*/ 238125 w 1121416"/>
                  <a:gd name="connsiteY43" fmla="*/ 14287 h 207169"/>
                  <a:gd name="connsiteX44" fmla="*/ 216694 w 1121416"/>
                  <a:gd name="connsiteY44" fmla="*/ 21431 h 207169"/>
                  <a:gd name="connsiteX45" fmla="*/ 195263 w 1121416"/>
                  <a:gd name="connsiteY45" fmla="*/ 26194 h 207169"/>
                  <a:gd name="connsiteX46" fmla="*/ 183357 w 1121416"/>
                  <a:gd name="connsiteY46" fmla="*/ 28575 h 207169"/>
                  <a:gd name="connsiteX47" fmla="*/ 147638 w 1121416"/>
                  <a:gd name="connsiteY47" fmla="*/ 38100 h 207169"/>
                  <a:gd name="connsiteX48" fmla="*/ 128588 w 1121416"/>
                  <a:gd name="connsiteY48" fmla="*/ 45244 h 207169"/>
                  <a:gd name="connsiteX49" fmla="*/ 109538 w 1121416"/>
                  <a:gd name="connsiteY49" fmla="*/ 50006 h 207169"/>
                  <a:gd name="connsiteX50" fmla="*/ 97632 w 1121416"/>
                  <a:gd name="connsiteY50" fmla="*/ 54769 h 207169"/>
                  <a:gd name="connsiteX51" fmla="*/ 80963 w 1121416"/>
                  <a:gd name="connsiteY51" fmla="*/ 57150 h 207169"/>
                  <a:gd name="connsiteX52" fmla="*/ 54769 w 1121416"/>
                  <a:gd name="connsiteY52" fmla="*/ 61912 h 207169"/>
                  <a:gd name="connsiteX53" fmla="*/ 47625 w 1121416"/>
                  <a:gd name="connsiteY53" fmla="*/ 64294 h 207169"/>
                  <a:gd name="connsiteX54" fmla="*/ 23813 w 1121416"/>
                  <a:gd name="connsiteY54" fmla="*/ 71437 h 207169"/>
                  <a:gd name="connsiteX55" fmla="*/ 9525 w 1121416"/>
                  <a:gd name="connsiteY55" fmla="*/ 80962 h 207169"/>
                  <a:gd name="connsiteX56" fmla="*/ 0 w 1121416"/>
                  <a:gd name="connsiteY56" fmla="*/ 104775 h 207169"/>
                  <a:gd name="connsiteX57" fmla="*/ 11907 w 1121416"/>
                  <a:gd name="connsiteY5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35844 w 1121416"/>
                  <a:gd name="connsiteY28" fmla="*/ 152400 h 207169"/>
                  <a:gd name="connsiteX29" fmla="*/ 1052513 w 1121416"/>
                  <a:gd name="connsiteY29" fmla="*/ 142875 h 207169"/>
                  <a:gd name="connsiteX30" fmla="*/ 1116807 w 1121416"/>
                  <a:gd name="connsiteY30" fmla="*/ 95250 h 207169"/>
                  <a:gd name="connsiteX31" fmla="*/ 1114425 w 1121416"/>
                  <a:gd name="connsiteY31" fmla="*/ 85725 h 207169"/>
                  <a:gd name="connsiteX32" fmla="*/ 1054894 w 1121416"/>
                  <a:gd name="connsiteY32" fmla="*/ 61912 h 207169"/>
                  <a:gd name="connsiteX33" fmla="*/ 966788 w 1121416"/>
                  <a:gd name="connsiteY33" fmla="*/ 35719 h 207169"/>
                  <a:gd name="connsiteX34" fmla="*/ 857250 w 1121416"/>
                  <a:gd name="connsiteY34" fmla="*/ 21431 h 207169"/>
                  <a:gd name="connsiteX35" fmla="*/ 790575 w 1121416"/>
                  <a:gd name="connsiteY35" fmla="*/ 9525 h 207169"/>
                  <a:gd name="connsiteX36" fmla="*/ 702469 w 1121416"/>
                  <a:gd name="connsiteY36" fmla="*/ 7144 h 207169"/>
                  <a:gd name="connsiteX37" fmla="*/ 559594 w 1121416"/>
                  <a:gd name="connsiteY37" fmla="*/ 0 h 207169"/>
                  <a:gd name="connsiteX38" fmla="*/ 338138 w 1121416"/>
                  <a:gd name="connsiteY38" fmla="*/ 2381 h 207169"/>
                  <a:gd name="connsiteX39" fmla="*/ 295275 w 1121416"/>
                  <a:gd name="connsiteY39" fmla="*/ 7144 h 207169"/>
                  <a:gd name="connsiteX40" fmla="*/ 278607 w 1121416"/>
                  <a:gd name="connsiteY40" fmla="*/ 9525 h 207169"/>
                  <a:gd name="connsiteX41" fmla="*/ 269082 w 1121416"/>
                  <a:gd name="connsiteY41" fmla="*/ 11906 h 207169"/>
                  <a:gd name="connsiteX42" fmla="*/ 238125 w 1121416"/>
                  <a:gd name="connsiteY42" fmla="*/ 14287 h 207169"/>
                  <a:gd name="connsiteX43" fmla="*/ 216694 w 1121416"/>
                  <a:gd name="connsiteY43" fmla="*/ 21431 h 207169"/>
                  <a:gd name="connsiteX44" fmla="*/ 195263 w 1121416"/>
                  <a:gd name="connsiteY44" fmla="*/ 26194 h 207169"/>
                  <a:gd name="connsiteX45" fmla="*/ 183357 w 1121416"/>
                  <a:gd name="connsiteY45" fmla="*/ 28575 h 207169"/>
                  <a:gd name="connsiteX46" fmla="*/ 147638 w 1121416"/>
                  <a:gd name="connsiteY46" fmla="*/ 38100 h 207169"/>
                  <a:gd name="connsiteX47" fmla="*/ 128588 w 1121416"/>
                  <a:gd name="connsiteY47" fmla="*/ 45244 h 207169"/>
                  <a:gd name="connsiteX48" fmla="*/ 109538 w 1121416"/>
                  <a:gd name="connsiteY48" fmla="*/ 50006 h 207169"/>
                  <a:gd name="connsiteX49" fmla="*/ 97632 w 1121416"/>
                  <a:gd name="connsiteY49" fmla="*/ 54769 h 207169"/>
                  <a:gd name="connsiteX50" fmla="*/ 80963 w 1121416"/>
                  <a:gd name="connsiteY50" fmla="*/ 57150 h 207169"/>
                  <a:gd name="connsiteX51" fmla="*/ 54769 w 1121416"/>
                  <a:gd name="connsiteY51" fmla="*/ 61912 h 207169"/>
                  <a:gd name="connsiteX52" fmla="*/ 47625 w 1121416"/>
                  <a:gd name="connsiteY52" fmla="*/ 64294 h 207169"/>
                  <a:gd name="connsiteX53" fmla="*/ 23813 w 1121416"/>
                  <a:gd name="connsiteY53" fmla="*/ 71437 h 207169"/>
                  <a:gd name="connsiteX54" fmla="*/ 9525 w 1121416"/>
                  <a:gd name="connsiteY54" fmla="*/ 80962 h 207169"/>
                  <a:gd name="connsiteX55" fmla="*/ 0 w 1121416"/>
                  <a:gd name="connsiteY55" fmla="*/ 104775 h 207169"/>
                  <a:gd name="connsiteX56" fmla="*/ 11907 w 1121416"/>
                  <a:gd name="connsiteY5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42963 w 1121416"/>
                  <a:gd name="connsiteY24" fmla="*/ 176212 h 207169"/>
                  <a:gd name="connsiteX25" fmla="*/ 866775 w 1121416"/>
                  <a:gd name="connsiteY25" fmla="*/ 173831 h 207169"/>
                  <a:gd name="connsiteX26" fmla="*/ 940594 w 1121416"/>
                  <a:gd name="connsiteY26" fmla="*/ 169069 h 207169"/>
                  <a:gd name="connsiteX27" fmla="*/ 971550 w 1121416"/>
                  <a:gd name="connsiteY27" fmla="*/ 166687 h 207169"/>
                  <a:gd name="connsiteX28" fmla="*/ 1052513 w 1121416"/>
                  <a:gd name="connsiteY28" fmla="*/ 142875 h 207169"/>
                  <a:gd name="connsiteX29" fmla="*/ 1116807 w 1121416"/>
                  <a:gd name="connsiteY29" fmla="*/ 95250 h 207169"/>
                  <a:gd name="connsiteX30" fmla="*/ 1114425 w 1121416"/>
                  <a:gd name="connsiteY30" fmla="*/ 85725 h 207169"/>
                  <a:gd name="connsiteX31" fmla="*/ 1054894 w 1121416"/>
                  <a:gd name="connsiteY31" fmla="*/ 61912 h 207169"/>
                  <a:gd name="connsiteX32" fmla="*/ 966788 w 1121416"/>
                  <a:gd name="connsiteY32" fmla="*/ 35719 h 207169"/>
                  <a:gd name="connsiteX33" fmla="*/ 857250 w 1121416"/>
                  <a:gd name="connsiteY33" fmla="*/ 21431 h 207169"/>
                  <a:gd name="connsiteX34" fmla="*/ 790575 w 1121416"/>
                  <a:gd name="connsiteY34" fmla="*/ 9525 h 207169"/>
                  <a:gd name="connsiteX35" fmla="*/ 702469 w 1121416"/>
                  <a:gd name="connsiteY35" fmla="*/ 7144 h 207169"/>
                  <a:gd name="connsiteX36" fmla="*/ 559594 w 1121416"/>
                  <a:gd name="connsiteY36" fmla="*/ 0 h 207169"/>
                  <a:gd name="connsiteX37" fmla="*/ 338138 w 1121416"/>
                  <a:gd name="connsiteY37" fmla="*/ 2381 h 207169"/>
                  <a:gd name="connsiteX38" fmla="*/ 295275 w 1121416"/>
                  <a:gd name="connsiteY38" fmla="*/ 7144 h 207169"/>
                  <a:gd name="connsiteX39" fmla="*/ 278607 w 1121416"/>
                  <a:gd name="connsiteY39" fmla="*/ 9525 h 207169"/>
                  <a:gd name="connsiteX40" fmla="*/ 269082 w 1121416"/>
                  <a:gd name="connsiteY40" fmla="*/ 11906 h 207169"/>
                  <a:gd name="connsiteX41" fmla="*/ 238125 w 1121416"/>
                  <a:gd name="connsiteY41" fmla="*/ 14287 h 207169"/>
                  <a:gd name="connsiteX42" fmla="*/ 216694 w 1121416"/>
                  <a:gd name="connsiteY42" fmla="*/ 21431 h 207169"/>
                  <a:gd name="connsiteX43" fmla="*/ 195263 w 1121416"/>
                  <a:gd name="connsiteY43" fmla="*/ 26194 h 207169"/>
                  <a:gd name="connsiteX44" fmla="*/ 183357 w 1121416"/>
                  <a:gd name="connsiteY44" fmla="*/ 28575 h 207169"/>
                  <a:gd name="connsiteX45" fmla="*/ 147638 w 1121416"/>
                  <a:gd name="connsiteY45" fmla="*/ 38100 h 207169"/>
                  <a:gd name="connsiteX46" fmla="*/ 128588 w 1121416"/>
                  <a:gd name="connsiteY46" fmla="*/ 45244 h 207169"/>
                  <a:gd name="connsiteX47" fmla="*/ 109538 w 1121416"/>
                  <a:gd name="connsiteY47" fmla="*/ 50006 h 207169"/>
                  <a:gd name="connsiteX48" fmla="*/ 97632 w 1121416"/>
                  <a:gd name="connsiteY48" fmla="*/ 54769 h 207169"/>
                  <a:gd name="connsiteX49" fmla="*/ 80963 w 1121416"/>
                  <a:gd name="connsiteY49" fmla="*/ 57150 h 207169"/>
                  <a:gd name="connsiteX50" fmla="*/ 54769 w 1121416"/>
                  <a:gd name="connsiteY50" fmla="*/ 61912 h 207169"/>
                  <a:gd name="connsiteX51" fmla="*/ 47625 w 1121416"/>
                  <a:gd name="connsiteY51" fmla="*/ 64294 h 207169"/>
                  <a:gd name="connsiteX52" fmla="*/ 23813 w 1121416"/>
                  <a:gd name="connsiteY52" fmla="*/ 71437 h 207169"/>
                  <a:gd name="connsiteX53" fmla="*/ 9525 w 1121416"/>
                  <a:gd name="connsiteY53" fmla="*/ 80962 h 207169"/>
                  <a:gd name="connsiteX54" fmla="*/ 0 w 1121416"/>
                  <a:gd name="connsiteY54" fmla="*/ 104775 h 207169"/>
                  <a:gd name="connsiteX55" fmla="*/ 11907 w 1121416"/>
                  <a:gd name="connsiteY5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23913 w 1121416"/>
                  <a:gd name="connsiteY23" fmla="*/ 180975 h 207169"/>
                  <a:gd name="connsiteX24" fmla="*/ 866775 w 1121416"/>
                  <a:gd name="connsiteY24" fmla="*/ 173831 h 207169"/>
                  <a:gd name="connsiteX25" fmla="*/ 940594 w 1121416"/>
                  <a:gd name="connsiteY25" fmla="*/ 169069 h 207169"/>
                  <a:gd name="connsiteX26" fmla="*/ 971550 w 1121416"/>
                  <a:gd name="connsiteY26" fmla="*/ 166687 h 207169"/>
                  <a:gd name="connsiteX27" fmla="*/ 1052513 w 1121416"/>
                  <a:gd name="connsiteY27" fmla="*/ 142875 h 207169"/>
                  <a:gd name="connsiteX28" fmla="*/ 1116807 w 1121416"/>
                  <a:gd name="connsiteY28" fmla="*/ 95250 h 207169"/>
                  <a:gd name="connsiteX29" fmla="*/ 1114425 w 1121416"/>
                  <a:gd name="connsiteY29" fmla="*/ 85725 h 207169"/>
                  <a:gd name="connsiteX30" fmla="*/ 1054894 w 1121416"/>
                  <a:gd name="connsiteY30" fmla="*/ 61912 h 207169"/>
                  <a:gd name="connsiteX31" fmla="*/ 966788 w 1121416"/>
                  <a:gd name="connsiteY31" fmla="*/ 35719 h 207169"/>
                  <a:gd name="connsiteX32" fmla="*/ 857250 w 1121416"/>
                  <a:gd name="connsiteY32" fmla="*/ 21431 h 207169"/>
                  <a:gd name="connsiteX33" fmla="*/ 790575 w 1121416"/>
                  <a:gd name="connsiteY33" fmla="*/ 9525 h 207169"/>
                  <a:gd name="connsiteX34" fmla="*/ 702469 w 1121416"/>
                  <a:gd name="connsiteY34" fmla="*/ 7144 h 207169"/>
                  <a:gd name="connsiteX35" fmla="*/ 559594 w 1121416"/>
                  <a:gd name="connsiteY35" fmla="*/ 0 h 207169"/>
                  <a:gd name="connsiteX36" fmla="*/ 338138 w 1121416"/>
                  <a:gd name="connsiteY36" fmla="*/ 2381 h 207169"/>
                  <a:gd name="connsiteX37" fmla="*/ 295275 w 1121416"/>
                  <a:gd name="connsiteY37" fmla="*/ 7144 h 207169"/>
                  <a:gd name="connsiteX38" fmla="*/ 278607 w 1121416"/>
                  <a:gd name="connsiteY38" fmla="*/ 9525 h 207169"/>
                  <a:gd name="connsiteX39" fmla="*/ 269082 w 1121416"/>
                  <a:gd name="connsiteY39" fmla="*/ 11906 h 207169"/>
                  <a:gd name="connsiteX40" fmla="*/ 238125 w 1121416"/>
                  <a:gd name="connsiteY40" fmla="*/ 14287 h 207169"/>
                  <a:gd name="connsiteX41" fmla="*/ 216694 w 1121416"/>
                  <a:gd name="connsiteY41" fmla="*/ 21431 h 207169"/>
                  <a:gd name="connsiteX42" fmla="*/ 195263 w 1121416"/>
                  <a:gd name="connsiteY42" fmla="*/ 26194 h 207169"/>
                  <a:gd name="connsiteX43" fmla="*/ 183357 w 1121416"/>
                  <a:gd name="connsiteY43" fmla="*/ 28575 h 207169"/>
                  <a:gd name="connsiteX44" fmla="*/ 147638 w 1121416"/>
                  <a:gd name="connsiteY44" fmla="*/ 38100 h 207169"/>
                  <a:gd name="connsiteX45" fmla="*/ 128588 w 1121416"/>
                  <a:gd name="connsiteY45" fmla="*/ 45244 h 207169"/>
                  <a:gd name="connsiteX46" fmla="*/ 109538 w 1121416"/>
                  <a:gd name="connsiteY46" fmla="*/ 50006 h 207169"/>
                  <a:gd name="connsiteX47" fmla="*/ 97632 w 1121416"/>
                  <a:gd name="connsiteY47" fmla="*/ 54769 h 207169"/>
                  <a:gd name="connsiteX48" fmla="*/ 80963 w 1121416"/>
                  <a:gd name="connsiteY48" fmla="*/ 57150 h 207169"/>
                  <a:gd name="connsiteX49" fmla="*/ 54769 w 1121416"/>
                  <a:gd name="connsiteY49" fmla="*/ 61912 h 207169"/>
                  <a:gd name="connsiteX50" fmla="*/ 47625 w 1121416"/>
                  <a:gd name="connsiteY50" fmla="*/ 64294 h 207169"/>
                  <a:gd name="connsiteX51" fmla="*/ 23813 w 1121416"/>
                  <a:gd name="connsiteY51" fmla="*/ 71437 h 207169"/>
                  <a:gd name="connsiteX52" fmla="*/ 9525 w 1121416"/>
                  <a:gd name="connsiteY52" fmla="*/ 80962 h 207169"/>
                  <a:gd name="connsiteX53" fmla="*/ 0 w 1121416"/>
                  <a:gd name="connsiteY53" fmla="*/ 104775 h 207169"/>
                  <a:gd name="connsiteX54" fmla="*/ 11907 w 1121416"/>
                  <a:gd name="connsiteY5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07232 w 1121416"/>
                  <a:gd name="connsiteY21" fmla="*/ 190500 h 207169"/>
                  <a:gd name="connsiteX22" fmla="*/ 797719 w 1121416"/>
                  <a:gd name="connsiteY22" fmla="*/ 188119 h 207169"/>
                  <a:gd name="connsiteX23" fmla="*/ 866775 w 1121416"/>
                  <a:gd name="connsiteY23" fmla="*/ 173831 h 207169"/>
                  <a:gd name="connsiteX24" fmla="*/ 940594 w 1121416"/>
                  <a:gd name="connsiteY24" fmla="*/ 169069 h 207169"/>
                  <a:gd name="connsiteX25" fmla="*/ 971550 w 1121416"/>
                  <a:gd name="connsiteY25" fmla="*/ 166687 h 207169"/>
                  <a:gd name="connsiteX26" fmla="*/ 1052513 w 1121416"/>
                  <a:gd name="connsiteY26" fmla="*/ 142875 h 207169"/>
                  <a:gd name="connsiteX27" fmla="*/ 1116807 w 1121416"/>
                  <a:gd name="connsiteY27" fmla="*/ 95250 h 207169"/>
                  <a:gd name="connsiteX28" fmla="*/ 1114425 w 1121416"/>
                  <a:gd name="connsiteY28" fmla="*/ 85725 h 207169"/>
                  <a:gd name="connsiteX29" fmla="*/ 1054894 w 1121416"/>
                  <a:gd name="connsiteY29" fmla="*/ 61912 h 207169"/>
                  <a:gd name="connsiteX30" fmla="*/ 966788 w 1121416"/>
                  <a:gd name="connsiteY30" fmla="*/ 35719 h 207169"/>
                  <a:gd name="connsiteX31" fmla="*/ 857250 w 1121416"/>
                  <a:gd name="connsiteY31" fmla="*/ 21431 h 207169"/>
                  <a:gd name="connsiteX32" fmla="*/ 790575 w 1121416"/>
                  <a:gd name="connsiteY32" fmla="*/ 9525 h 207169"/>
                  <a:gd name="connsiteX33" fmla="*/ 702469 w 1121416"/>
                  <a:gd name="connsiteY33" fmla="*/ 7144 h 207169"/>
                  <a:gd name="connsiteX34" fmla="*/ 559594 w 1121416"/>
                  <a:gd name="connsiteY34" fmla="*/ 0 h 207169"/>
                  <a:gd name="connsiteX35" fmla="*/ 338138 w 1121416"/>
                  <a:gd name="connsiteY35" fmla="*/ 2381 h 207169"/>
                  <a:gd name="connsiteX36" fmla="*/ 295275 w 1121416"/>
                  <a:gd name="connsiteY36" fmla="*/ 7144 h 207169"/>
                  <a:gd name="connsiteX37" fmla="*/ 278607 w 1121416"/>
                  <a:gd name="connsiteY37" fmla="*/ 9525 h 207169"/>
                  <a:gd name="connsiteX38" fmla="*/ 269082 w 1121416"/>
                  <a:gd name="connsiteY38" fmla="*/ 11906 h 207169"/>
                  <a:gd name="connsiteX39" fmla="*/ 238125 w 1121416"/>
                  <a:gd name="connsiteY39" fmla="*/ 14287 h 207169"/>
                  <a:gd name="connsiteX40" fmla="*/ 216694 w 1121416"/>
                  <a:gd name="connsiteY40" fmla="*/ 21431 h 207169"/>
                  <a:gd name="connsiteX41" fmla="*/ 195263 w 1121416"/>
                  <a:gd name="connsiteY41" fmla="*/ 26194 h 207169"/>
                  <a:gd name="connsiteX42" fmla="*/ 183357 w 1121416"/>
                  <a:gd name="connsiteY42" fmla="*/ 28575 h 207169"/>
                  <a:gd name="connsiteX43" fmla="*/ 147638 w 1121416"/>
                  <a:gd name="connsiteY43" fmla="*/ 38100 h 207169"/>
                  <a:gd name="connsiteX44" fmla="*/ 128588 w 1121416"/>
                  <a:gd name="connsiteY44" fmla="*/ 45244 h 207169"/>
                  <a:gd name="connsiteX45" fmla="*/ 109538 w 1121416"/>
                  <a:gd name="connsiteY45" fmla="*/ 50006 h 207169"/>
                  <a:gd name="connsiteX46" fmla="*/ 97632 w 1121416"/>
                  <a:gd name="connsiteY46" fmla="*/ 54769 h 207169"/>
                  <a:gd name="connsiteX47" fmla="*/ 80963 w 1121416"/>
                  <a:gd name="connsiteY47" fmla="*/ 57150 h 207169"/>
                  <a:gd name="connsiteX48" fmla="*/ 54769 w 1121416"/>
                  <a:gd name="connsiteY48" fmla="*/ 61912 h 207169"/>
                  <a:gd name="connsiteX49" fmla="*/ 47625 w 1121416"/>
                  <a:gd name="connsiteY49" fmla="*/ 64294 h 207169"/>
                  <a:gd name="connsiteX50" fmla="*/ 23813 w 1121416"/>
                  <a:gd name="connsiteY50" fmla="*/ 71437 h 207169"/>
                  <a:gd name="connsiteX51" fmla="*/ 9525 w 1121416"/>
                  <a:gd name="connsiteY51" fmla="*/ 80962 h 207169"/>
                  <a:gd name="connsiteX52" fmla="*/ 0 w 1121416"/>
                  <a:gd name="connsiteY52" fmla="*/ 104775 h 207169"/>
                  <a:gd name="connsiteX53" fmla="*/ 11907 w 1121416"/>
                  <a:gd name="connsiteY53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697707 w 1121416"/>
                  <a:gd name="connsiteY20" fmla="*/ 192881 h 207169"/>
                  <a:gd name="connsiteX21" fmla="*/ 797719 w 1121416"/>
                  <a:gd name="connsiteY21" fmla="*/ 188119 h 207169"/>
                  <a:gd name="connsiteX22" fmla="*/ 866775 w 1121416"/>
                  <a:gd name="connsiteY22" fmla="*/ 173831 h 207169"/>
                  <a:gd name="connsiteX23" fmla="*/ 940594 w 1121416"/>
                  <a:gd name="connsiteY23" fmla="*/ 169069 h 207169"/>
                  <a:gd name="connsiteX24" fmla="*/ 971550 w 1121416"/>
                  <a:gd name="connsiteY24" fmla="*/ 166687 h 207169"/>
                  <a:gd name="connsiteX25" fmla="*/ 1052513 w 1121416"/>
                  <a:gd name="connsiteY25" fmla="*/ 142875 h 207169"/>
                  <a:gd name="connsiteX26" fmla="*/ 1116807 w 1121416"/>
                  <a:gd name="connsiteY26" fmla="*/ 95250 h 207169"/>
                  <a:gd name="connsiteX27" fmla="*/ 1114425 w 1121416"/>
                  <a:gd name="connsiteY27" fmla="*/ 85725 h 207169"/>
                  <a:gd name="connsiteX28" fmla="*/ 1054894 w 1121416"/>
                  <a:gd name="connsiteY28" fmla="*/ 61912 h 207169"/>
                  <a:gd name="connsiteX29" fmla="*/ 966788 w 1121416"/>
                  <a:gd name="connsiteY29" fmla="*/ 35719 h 207169"/>
                  <a:gd name="connsiteX30" fmla="*/ 857250 w 1121416"/>
                  <a:gd name="connsiteY30" fmla="*/ 21431 h 207169"/>
                  <a:gd name="connsiteX31" fmla="*/ 790575 w 1121416"/>
                  <a:gd name="connsiteY31" fmla="*/ 9525 h 207169"/>
                  <a:gd name="connsiteX32" fmla="*/ 702469 w 1121416"/>
                  <a:gd name="connsiteY32" fmla="*/ 7144 h 207169"/>
                  <a:gd name="connsiteX33" fmla="*/ 559594 w 1121416"/>
                  <a:gd name="connsiteY33" fmla="*/ 0 h 207169"/>
                  <a:gd name="connsiteX34" fmla="*/ 338138 w 1121416"/>
                  <a:gd name="connsiteY34" fmla="*/ 2381 h 207169"/>
                  <a:gd name="connsiteX35" fmla="*/ 295275 w 1121416"/>
                  <a:gd name="connsiteY35" fmla="*/ 7144 h 207169"/>
                  <a:gd name="connsiteX36" fmla="*/ 278607 w 1121416"/>
                  <a:gd name="connsiteY36" fmla="*/ 9525 h 207169"/>
                  <a:gd name="connsiteX37" fmla="*/ 269082 w 1121416"/>
                  <a:gd name="connsiteY37" fmla="*/ 11906 h 207169"/>
                  <a:gd name="connsiteX38" fmla="*/ 238125 w 1121416"/>
                  <a:gd name="connsiteY38" fmla="*/ 14287 h 207169"/>
                  <a:gd name="connsiteX39" fmla="*/ 216694 w 1121416"/>
                  <a:gd name="connsiteY39" fmla="*/ 21431 h 207169"/>
                  <a:gd name="connsiteX40" fmla="*/ 195263 w 1121416"/>
                  <a:gd name="connsiteY40" fmla="*/ 26194 h 207169"/>
                  <a:gd name="connsiteX41" fmla="*/ 183357 w 1121416"/>
                  <a:gd name="connsiteY41" fmla="*/ 28575 h 207169"/>
                  <a:gd name="connsiteX42" fmla="*/ 147638 w 1121416"/>
                  <a:gd name="connsiteY42" fmla="*/ 38100 h 207169"/>
                  <a:gd name="connsiteX43" fmla="*/ 128588 w 1121416"/>
                  <a:gd name="connsiteY43" fmla="*/ 45244 h 207169"/>
                  <a:gd name="connsiteX44" fmla="*/ 109538 w 1121416"/>
                  <a:gd name="connsiteY44" fmla="*/ 50006 h 207169"/>
                  <a:gd name="connsiteX45" fmla="*/ 97632 w 1121416"/>
                  <a:gd name="connsiteY45" fmla="*/ 54769 h 207169"/>
                  <a:gd name="connsiteX46" fmla="*/ 80963 w 1121416"/>
                  <a:gd name="connsiteY46" fmla="*/ 57150 h 207169"/>
                  <a:gd name="connsiteX47" fmla="*/ 54769 w 1121416"/>
                  <a:gd name="connsiteY47" fmla="*/ 61912 h 207169"/>
                  <a:gd name="connsiteX48" fmla="*/ 47625 w 1121416"/>
                  <a:gd name="connsiteY48" fmla="*/ 64294 h 207169"/>
                  <a:gd name="connsiteX49" fmla="*/ 23813 w 1121416"/>
                  <a:gd name="connsiteY49" fmla="*/ 71437 h 207169"/>
                  <a:gd name="connsiteX50" fmla="*/ 9525 w 1121416"/>
                  <a:gd name="connsiteY50" fmla="*/ 80962 h 207169"/>
                  <a:gd name="connsiteX51" fmla="*/ 0 w 1121416"/>
                  <a:gd name="connsiteY51" fmla="*/ 104775 h 207169"/>
                  <a:gd name="connsiteX52" fmla="*/ 11907 w 1121416"/>
                  <a:gd name="connsiteY52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02432 w 1121416"/>
                  <a:gd name="connsiteY15" fmla="*/ 200025 h 207169"/>
                  <a:gd name="connsiteX16" fmla="*/ 457200 w 1121416"/>
                  <a:gd name="connsiteY16" fmla="*/ 207169 h 207169"/>
                  <a:gd name="connsiteX17" fmla="*/ 604838 w 1121416"/>
                  <a:gd name="connsiteY17" fmla="*/ 204787 h 207169"/>
                  <a:gd name="connsiteX18" fmla="*/ 623888 w 1121416"/>
                  <a:gd name="connsiteY18" fmla="*/ 200025 h 207169"/>
                  <a:gd name="connsiteX19" fmla="*/ 676275 w 1121416"/>
                  <a:gd name="connsiteY19" fmla="*/ 197644 h 207169"/>
                  <a:gd name="connsiteX20" fmla="*/ 797719 w 1121416"/>
                  <a:gd name="connsiteY20" fmla="*/ 188119 h 207169"/>
                  <a:gd name="connsiteX21" fmla="*/ 866775 w 1121416"/>
                  <a:gd name="connsiteY21" fmla="*/ 173831 h 207169"/>
                  <a:gd name="connsiteX22" fmla="*/ 940594 w 1121416"/>
                  <a:gd name="connsiteY22" fmla="*/ 169069 h 207169"/>
                  <a:gd name="connsiteX23" fmla="*/ 971550 w 1121416"/>
                  <a:gd name="connsiteY23" fmla="*/ 166687 h 207169"/>
                  <a:gd name="connsiteX24" fmla="*/ 1052513 w 1121416"/>
                  <a:gd name="connsiteY24" fmla="*/ 142875 h 207169"/>
                  <a:gd name="connsiteX25" fmla="*/ 1116807 w 1121416"/>
                  <a:gd name="connsiteY25" fmla="*/ 95250 h 207169"/>
                  <a:gd name="connsiteX26" fmla="*/ 1114425 w 1121416"/>
                  <a:gd name="connsiteY26" fmla="*/ 85725 h 207169"/>
                  <a:gd name="connsiteX27" fmla="*/ 1054894 w 1121416"/>
                  <a:gd name="connsiteY27" fmla="*/ 61912 h 207169"/>
                  <a:gd name="connsiteX28" fmla="*/ 966788 w 1121416"/>
                  <a:gd name="connsiteY28" fmla="*/ 35719 h 207169"/>
                  <a:gd name="connsiteX29" fmla="*/ 857250 w 1121416"/>
                  <a:gd name="connsiteY29" fmla="*/ 21431 h 207169"/>
                  <a:gd name="connsiteX30" fmla="*/ 790575 w 1121416"/>
                  <a:gd name="connsiteY30" fmla="*/ 9525 h 207169"/>
                  <a:gd name="connsiteX31" fmla="*/ 702469 w 1121416"/>
                  <a:gd name="connsiteY31" fmla="*/ 7144 h 207169"/>
                  <a:gd name="connsiteX32" fmla="*/ 559594 w 1121416"/>
                  <a:gd name="connsiteY32" fmla="*/ 0 h 207169"/>
                  <a:gd name="connsiteX33" fmla="*/ 338138 w 1121416"/>
                  <a:gd name="connsiteY33" fmla="*/ 2381 h 207169"/>
                  <a:gd name="connsiteX34" fmla="*/ 295275 w 1121416"/>
                  <a:gd name="connsiteY34" fmla="*/ 7144 h 207169"/>
                  <a:gd name="connsiteX35" fmla="*/ 278607 w 1121416"/>
                  <a:gd name="connsiteY35" fmla="*/ 9525 h 207169"/>
                  <a:gd name="connsiteX36" fmla="*/ 269082 w 1121416"/>
                  <a:gd name="connsiteY36" fmla="*/ 11906 h 207169"/>
                  <a:gd name="connsiteX37" fmla="*/ 238125 w 1121416"/>
                  <a:gd name="connsiteY37" fmla="*/ 14287 h 207169"/>
                  <a:gd name="connsiteX38" fmla="*/ 216694 w 1121416"/>
                  <a:gd name="connsiteY38" fmla="*/ 21431 h 207169"/>
                  <a:gd name="connsiteX39" fmla="*/ 195263 w 1121416"/>
                  <a:gd name="connsiteY39" fmla="*/ 26194 h 207169"/>
                  <a:gd name="connsiteX40" fmla="*/ 183357 w 1121416"/>
                  <a:gd name="connsiteY40" fmla="*/ 28575 h 207169"/>
                  <a:gd name="connsiteX41" fmla="*/ 147638 w 1121416"/>
                  <a:gd name="connsiteY41" fmla="*/ 38100 h 207169"/>
                  <a:gd name="connsiteX42" fmla="*/ 128588 w 1121416"/>
                  <a:gd name="connsiteY42" fmla="*/ 45244 h 207169"/>
                  <a:gd name="connsiteX43" fmla="*/ 109538 w 1121416"/>
                  <a:gd name="connsiteY43" fmla="*/ 50006 h 207169"/>
                  <a:gd name="connsiteX44" fmla="*/ 97632 w 1121416"/>
                  <a:gd name="connsiteY44" fmla="*/ 54769 h 207169"/>
                  <a:gd name="connsiteX45" fmla="*/ 80963 w 1121416"/>
                  <a:gd name="connsiteY45" fmla="*/ 57150 h 207169"/>
                  <a:gd name="connsiteX46" fmla="*/ 54769 w 1121416"/>
                  <a:gd name="connsiteY46" fmla="*/ 61912 h 207169"/>
                  <a:gd name="connsiteX47" fmla="*/ 47625 w 1121416"/>
                  <a:gd name="connsiteY47" fmla="*/ 64294 h 207169"/>
                  <a:gd name="connsiteX48" fmla="*/ 23813 w 1121416"/>
                  <a:gd name="connsiteY48" fmla="*/ 71437 h 207169"/>
                  <a:gd name="connsiteX49" fmla="*/ 9525 w 1121416"/>
                  <a:gd name="connsiteY49" fmla="*/ 80962 h 207169"/>
                  <a:gd name="connsiteX50" fmla="*/ 0 w 1121416"/>
                  <a:gd name="connsiteY50" fmla="*/ 104775 h 207169"/>
                  <a:gd name="connsiteX51" fmla="*/ 11907 w 1121416"/>
                  <a:gd name="connsiteY51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378619 w 1121416"/>
                  <a:gd name="connsiteY14" fmla="*/ 195262 h 207169"/>
                  <a:gd name="connsiteX15" fmla="*/ 457200 w 1121416"/>
                  <a:gd name="connsiteY15" fmla="*/ 207169 h 207169"/>
                  <a:gd name="connsiteX16" fmla="*/ 604838 w 1121416"/>
                  <a:gd name="connsiteY16" fmla="*/ 204787 h 207169"/>
                  <a:gd name="connsiteX17" fmla="*/ 623888 w 1121416"/>
                  <a:gd name="connsiteY17" fmla="*/ 200025 h 207169"/>
                  <a:gd name="connsiteX18" fmla="*/ 676275 w 1121416"/>
                  <a:gd name="connsiteY18" fmla="*/ 197644 h 207169"/>
                  <a:gd name="connsiteX19" fmla="*/ 797719 w 1121416"/>
                  <a:gd name="connsiteY19" fmla="*/ 188119 h 207169"/>
                  <a:gd name="connsiteX20" fmla="*/ 866775 w 1121416"/>
                  <a:gd name="connsiteY20" fmla="*/ 173831 h 207169"/>
                  <a:gd name="connsiteX21" fmla="*/ 940594 w 1121416"/>
                  <a:gd name="connsiteY21" fmla="*/ 169069 h 207169"/>
                  <a:gd name="connsiteX22" fmla="*/ 971550 w 1121416"/>
                  <a:gd name="connsiteY22" fmla="*/ 166687 h 207169"/>
                  <a:gd name="connsiteX23" fmla="*/ 1052513 w 1121416"/>
                  <a:gd name="connsiteY23" fmla="*/ 142875 h 207169"/>
                  <a:gd name="connsiteX24" fmla="*/ 1116807 w 1121416"/>
                  <a:gd name="connsiteY24" fmla="*/ 95250 h 207169"/>
                  <a:gd name="connsiteX25" fmla="*/ 1114425 w 1121416"/>
                  <a:gd name="connsiteY25" fmla="*/ 85725 h 207169"/>
                  <a:gd name="connsiteX26" fmla="*/ 1054894 w 1121416"/>
                  <a:gd name="connsiteY26" fmla="*/ 61912 h 207169"/>
                  <a:gd name="connsiteX27" fmla="*/ 966788 w 1121416"/>
                  <a:gd name="connsiteY27" fmla="*/ 35719 h 207169"/>
                  <a:gd name="connsiteX28" fmla="*/ 857250 w 1121416"/>
                  <a:gd name="connsiteY28" fmla="*/ 21431 h 207169"/>
                  <a:gd name="connsiteX29" fmla="*/ 790575 w 1121416"/>
                  <a:gd name="connsiteY29" fmla="*/ 9525 h 207169"/>
                  <a:gd name="connsiteX30" fmla="*/ 702469 w 1121416"/>
                  <a:gd name="connsiteY30" fmla="*/ 7144 h 207169"/>
                  <a:gd name="connsiteX31" fmla="*/ 559594 w 1121416"/>
                  <a:gd name="connsiteY31" fmla="*/ 0 h 207169"/>
                  <a:gd name="connsiteX32" fmla="*/ 338138 w 1121416"/>
                  <a:gd name="connsiteY32" fmla="*/ 2381 h 207169"/>
                  <a:gd name="connsiteX33" fmla="*/ 295275 w 1121416"/>
                  <a:gd name="connsiteY33" fmla="*/ 7144 h 207169"/>
                  <a:gd name="connsiteX34" fmla="*/ 278607 w 1121416"/>
                  <a:gd name="connsiteY34" fmla="*/ 9525 h 207169"/>
                  <a:gd name="connsiteX35" fmla="*/ 269082 w 1121416"/>
                  <a:gd name="connsiteY35" fmla="*/ 11906 h 207169"/>
                  <a:gd name="connsiteX36" fmla="*/ 238125 w 1121416"/>
                  <a:gd name="connsiteY36" fmla="*/ 14287 h 207169"/>
                  <a:gd name="connsiteX37" fmla="*/ 216694 w 1121416"/>
                  <a:gd name="connsiteY37" fmla="*/ 21431 h 207169"/>
                  <a:gd name="connsiteX38" fmla="*/ 195263 w 1121416"/>
                  <a:gd name="connsiteY38" fmla="*/ 26194 h 207169"/>
                  <a:gd name="connsiteX39" fmla="*/ 183357 w 1121416"/>
                  <a:gd name="connsiteY39" fmla="*/ 28575 h 207169"/>
                  <a:gd name="connsiteX40" fmla="*/ 147638 w 1121416"/>
                  <a:gd name="connsiteY40" fmla="*/ 38100 h 207169"/>
                  <a:gd name="connsiteX41" fmla="*/ 128588 w 1121416"/>
                  <a:gd name="connsiteY41" fmla="*/ 45244 h 207169"/>
                  <a:gd name="connsiteX42" fmla="*/ 109538 w 1121416"/>
                  <a:gd name="connsiteY42" fmla="*/ 50006 h 207169"/>
                  <a:gd name="connsiteX43" fmla="*/ 97632 w 1121416"/>
                  <a:gd name="connsiteY43" fmla="*/ 54769 h 207169"/>
                  <a:gd name="connsiteX44" fmla="*/ 80963 w 1121416"/>
                  <a:gd name="connsiteY44" fmla="*/ 57150 h 207169"/>
                  <a:gd name="connsiteX45" fmla="*/ 54769 w 1121416"/>
                  <a:gd name="connsiteY45" fmla="*/ 61912 h 207169"/>
                  <a:gd name="connsiteX46" fmla="*/ 47625 w 1121416"/>
                  <a:gd name="connsiteY46" fmla="*/ 64294 h 207169"/>
                  <a:gd name="connsiteX47" fmla="*/ 23813 w 1121416"/>
                  <a:gd name="connsiteY47" fmla="*/ 71437 h 207169"/>
                  <a:gd name="connsiteX48" fmla="*/ 9525 w 1121416"/>
                  <a:gd name="connsiteY48" fmla="*/ 80962 h 207169"/>
                  <a:gd name="connsiteX49" fmla="*/ 0 w 1121416"/>
                  <a:gd name="connsiteY49" fmla="*/ 104775 h 207169"/>
                  <a:gd name="connsiteX50" fmla="*/ 11907 w 1121416"/>
                  <a:gd name="connsiteY50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09550 w 1121416"/>
                  <a:gd name="connsiteY11" fmla="*/ 171450 h 207169"/>
                  <a:gd name="connsiteX12" fmla="*/ 238125 w 1121416"/>
                  <a:gd name="connsiteY12" fmla="*/ 178594 h 207169"/>
                  <a:gd name="connsiteX13" fmla="*/ 285750 w 1121416"/>
                  <a:gd name="connsiteY13" fmla="*/ 192881 h 207169"/>
                  <a:gd name="connsiteX14" fmla="*/ 457200 w 1121416"/>
                  <a:gd name="connsiteY14" fmla="*/ 207169 h 207169"/>
                  <a:gd name="connsiteX15" fmla="*/ 604838 w 1121416"/>
                  <a:gd name="connsiteY15" fmla="*/ 204787 h 207169"/>
                  <a:gd name="connsiteX16" fmla="*/ 623888 w 1121416"/>
                  <a:gd name="connsiteY16" fmla="*/ 200025 h 207169"/>
                  <a:gd name="connsiteX17" fmla="*/ 676275 w 1121416"/>
                  <a:gd name="connsiteY17" fmla="*/ 197644 h 207169"/>
                  <a:gd name="connsiteX18" fmla="*/ 797719 w 1121416"/>
                  <a:gd name="connsiteY18" fmla="*/ 188119 h 207169"/>
                  <a:gd name="connsiteX19" fmla="*/ 866775 w 1121416"/>
                  <a:gd name="connsiteY19" fmla="*/ 173831 h 207169"/>
                  <a:gd name="connsiteX20" fmla="*/ 940594 w 1121416"/>
                  <a:gd name="connsiteY20" fmla="*/ 169069 h 207169"/>
                  <a:gd name="connsiteX21" fmla="*/ 971550 w 1121416"/>
                  <a:gd name="connsiteY21" fmla="*/ 166687 h 207169"/>
                  <a:gd name="connsiteX22" fmla="*/ 1052513 w 1121416"/>
                  <a:gd name="connsiteY22" fmla="*/ 142875 h 207169"/>
                  <a:gd name="connsiteX23" fmla="*/ 1116807 w 1121416"/>
                  <a:gd name="connsiteY23" fmla="*/ 95250 h 207169"/>
                  <a:gd name="connsiteX24" fmla="*/ 1114425 w 1121416"/>
                  <a:gd name="connsiteY24" fmla="*/ 85725 h 207169"/>
                  <a:gd name="connsiteX25" fmla="*/ 1054894 w 1121416"/>
                  <a:gd name="connsiteY25" fmla="*/ 61912 h 207169"/>
                  <a:gd name="connsiteX26" fmla="*/ 966788 w 1121416"/>
                  <a:gd name="connsiteY26" fmla="*/ 35719 h 207169"/>
                  <a:gd name="connsiteX27" fmla="*/ 857250 w 1121416"/>
                  <a:gd name="connsiteY27" fmla="*/ 21431 h 207169"/>
                  <a:gd name="connsiteX28" fmla="*/ 790575 w 1121416"/>
                  <a:gd name="connsiteY28" fmla="*/ 9525 h 207169"/>
                  <a:gd name="connsiteX29" fmla="*/ 702469 w 1121416"/>
                  <a:gd name="connsiteY29" fmla="*/ 7144 h 207169"/>
                  <a:gd name="connsiteX30" fmla="*/ 559594 w 1121416"/>
                  <a:gd name="connsiteY30" fmla="*/ 0 h 207169"/>
                  <a:gd name="connsiteX31" fmla="*/ 338138 w 1121416"/>
                  <a:gd name="connsiteY31" fmla="*/ 2381 h 207169"/>
                  <a:gd name="connsiteX32" fmla="*/ 295275 w 1121416"/>
                  <a:gd name="connsiteY32" fmla="*/ 7144 h 207169"/>
                  <a:gd name="connsiteX33" fmla="*/ 278607 w 1121416"/>
                  <a:gd name="connsiteY33" fmla="*/ 9525 h 207169"/>
                  <a:gd name="connsiteX34" fmla="*/ 269082 w 1121416"/>
                  <a:gd name="connsiteY34" fmla="*/ 11906 h 207169"/>
                  <a:gd name="connsiteX35" fmla="*/ 238125 w 1121416"/>
                  <a:gd name="connsiteY35" fmla="*/ 14287 h 207169"/>
                  <a:gd name="connsiteX36" fmla="*/ 216694 w 1121416"/>
                  <a:gd name="connsiteY36" fmla="*/ 21431 h 207169"/>
                  <a:gd name="connsiteX37" fmla="*/ 195263 w 1121416"/>
                  <a:gd name="connsiteY37" fmla="*/ 26194 h 207169"/>
                  <a:gd name="connsiteX38" fmla="*/ 183357 w 1121416"/>
                  <a:gd name="connsiteY38" fmla="*/ 28575 h 207169"/>
                  <a:gd name="connsiteX39" fmla="*/ 147638 w 1121416"/>
                  <a:gd name="connsiteY39" fmla="*/ 38100 h 207169"/>
                  <a:gd name="connsiteX40" fmla="*/ 128588 w 1121416"/>
                  <a:gd name="connsiteY40" fmla="*/ 45244 h 207169"/>
                  <a:gd name="connsiteX41" fmla="*/ 109538 w 1121416"/>
                  <a:gd name="connsiteY41" fmla="*/ 50006 h 207169"/>
                  <a:gd name="connsiteX42" fmla="*/ 97632 w 1121416"/>
                  <a:gd name="connsiteY42" fmla="*/ 54769 h 207169"/>
                  <a:gd name="connsiteX43" fmla="*/ 80963 w 1121416"/>
                  <a:gd name="connsiteY43" fmla="*/ 57150 h 207169"/>
                  <a:gd name="connsiteX44" fmla="*/ 54769 w 1121416"/>
                  <a:gd name="connsiteY44" fmla="*/ 61912 h 207169"/>
                  <a:gd name="connsiteX45" fmla="*/ 47625 w 1121416"/>
                  <a:gd name="connsiteY45" fmla="*/ 64294 h 207169"/>
                  <a:gd name="connsiteX46" fmla="*/ 23813 w 1121416"/>
                  <a:gd name="connsiteY46" fmla="*/ 71437 h 207169"/>
                  <a:gd name="connsiteX47" fmla="*/ 9525 w 1121416"/>
                  <a:gd name="connsiteY47" fmla="*/ 80962 h 207169"/>
                  <a:gd name="connsiteX48" fmla="*/ 0 w 1121416"/>
                  <a:gd name="connsiteY48" fmla="*/ 104775 h 207169"/>
                  <a:gd name="connsiteX49" fmla="*/ 11907 w 1121416"/>
                  <a:gd name="connsiteY49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178594 w 1121416"/>
                  <a:gd name="connsiteY9" fmla="*/ 164306 h 207169"/>
                  <a:gd name="connsiteX10" fmla="*/ 202407 w 1121416"/>
                  <a:gd name="connsiteY10" fmla="*/ 169069 h 207169"/>
                  <a:gd name="connsiteX11" fmla="*/ 238125 w 1121416"/>
                  <a:gd name="connsiteY11" fmla="*/ 178594 h 207169"/>
                  <a:gd name="connsiteX12" fmla="*/ 285750 w 1121416"/>
                  <a:gd name="connsiteY12" fmla="*/ 192881 h 207169"/>
                  <a:gd name="connsiteX13" fmla="*/ 457200 w 1121416"/>
                  <a:gd name="connsiteY13" fmla="*/ 207169 h 207169"/>
                  <a:gd name="connsiteX14" fmla="*/ 604838 w 1121416"/>
                  <a:gd name="connsiteY14" fmla="*/ 204787 h 207169"/>
                  <a:gd name="connsiteX15" fmla="*/ 623888 w 1121416"/>
                  <a:gd name="connsiteY15" fmla="*/ 200025 h 207169"/>
                  <a:gd name="connsiteX16" fmla="*/ 676275 w 1121416"/>
                  <a:gd name="connsiteY16" fmla="*/ 197644 h 207169"/>
                  <a:gd name="connsiteX17" fmla="*/ 797719 w 1121416"/>
                  <a:gd name="connsiteY17" fmla="*/ 188119 h 207169"/>
                  <a:gd name="connsiteX18" fmla="*/ 866775 w 1121416"/>
                  <a:gd name="connsiteY18" fmla="*/ 173831 h 207169"/>
                  <a:gd name="connsiteX19" fmla="*/ 940594 w 1121416"/>
                  <a:gd name="connsiteY19" fmla="*/ 169069 h 207169"/>
                  <a:gd name="connsiteX20" fmla="*/ 971550 w 1121416"/>
                  <a:gd name="connsiteY20" fmla="*/ 166687 h 207169"/>
                  <a:gd name="connsiteX21" fmla="*/ 1052513 w 1121416"/>
                  <a:gd name="connsiteY21" fmla="*/ 142875 h 207169"/>
                  <a:gd name="connsiteX22" fmla="*/ 1116807 w 1121416"/>
                  <a:gd name="connsiteY22" fmla="*/ 95250 h 207169"/>
                  <a:gd name="connsiteX23" fmla="*/ 1114425 w 1121416"/>
                  <a:gd name="connsiteY23" fmla="*/ 85725 h 207169"/>
                  <a:gd name="connsiteX24" fmla="*/ 1054894 w 1121416"/>
                  <a:gd name="connsiteY24" fmla="*/ 61912 h 207169"/>
                  <a:gd name="connsiteX25" fmla="*/ 966788 w 1121416"/>
                  <a:gd name="connsiteY25" fmla="*/ 35719 h 207169"/>
                  <a:gd name="connsiteX26" fmla="*/ 857250 w 1121416"/>
                  <a:gd name="connsiteY26" fmla="*/ 21431 h 207169"/>
                  <a:gd name="connsiteX27" fmla="*/ 790575 w 1121416"/>
                  <a:gd name="connsiteY27" fmla="*/ 9525 h 207169"/>
                  <a:gd name="connsiteX28" fmla="*/ 702469 w 1121416"/>
                  <a:gd name="connsiteY28" fmla="*/ 7144 h 207169"/>
                  <a:gd name="connsiteX29" fmla="*/ 559594 w 1121416"/>
                  <a:gd name="connsiteY29" fmla="*/ 0 h 207169"/>
                  <a:gd name="connsiteX30" fmla="*/ 338138 w 1121416"/>
                  <a:gd name="connsiteY30" fmla="*/ 2381 h 207169"/>
                  <a:gd name="connsiteX31" fmla="*/ 295275 w 1121416"/>
                  <a:gd name="connsiteY31" fmla="*/ 7144 h 207169"/>
                  <a:gd name="connsiteX32" fmla="*/ 278607 w 1121416"/>
                  <a:gd name="connsiteY32" fmla="*/ 9525 h 207169"/>
                  <a:gd name="connsiteX33" fmla="*/ 269082 w 1121416"/>
                  <a:gd name="connsiteY33" fmla="*/ 11906 h 207169"/>
                  <a:gd name="connsiteX34" fmla="*/ 238125 w 1121416"/>
                  <a:gd name="connsiteY34" fmla="*/ 14287 h 207169"/>
                  <a:gd name="connsiteX35" fmla="*/ 216694 w 1121416"/>
                  <a:gd name="connsiteY35" fmla="*/ 21431 h 207169"/>
                  <a:gd name="connsiteX36" fmla="*/ 195263 w 1121416"/>
                  <a:gd name="connsiteY36" fmla="*/ 26194 h 207169"/>
                  <a:gd name="connsiteX37" fmla="*/ 183357 w 1121416"/>
                  <a:gd name="connsiteY37" fmla="*/ 28575 h 207169"/>
                  <a:gd name="connsiteX38" fmla="*/ 147638 w 1121416"/>
                  <a:gd name="connsiteY38" fmla="*/ 38100 h 207169"/>
                  <a:gd name="connsiteX39" fmla="*/ 128588 w 1121416"/>
                  <a:gd name="connsiteY39" fmla="*/ 45244 h 207169"/>
                  <a:gd name="connsiteX40" fmla="*/ 109538 w 1121416"/>
                  <a:gd name="connsiteY40" fmla="*/ 50006 h 207169"/>
                  <a:gd name="connsiteX41" fmla="*/ 97632 w 1121416"/>
                  <a:gd name="connsiteY41" fmla="*/ 54769 h 207169"/>
                  <a:gd name="connsiteX42" fmla="*/ 80963 w 1121416"/>
                  <a:gd name="connsiteY42" fmla="*/ 57150 h 207169"/>
                  <a:gd name="connsiteX43" fmla="*/ 54769 w 1121416"/>
                  <a:gd name="connsiteY43" fmla="*/ 61912 h 207169"/>
                  <a:gd name="connsiteX44" fmla="*/ 47625 w 1121416"/>
                  <a:gd name="connsiteY44" fmla="*/ 64294 h 207169"/>
                  <a:gd name="connsiteX45" fmla="*/ 23813 w 1121416"/>
                  <a:gd name="connsiteY45" fmla="*/ 71437 h 207169"/>
                  <a:gd name="connsiteX46" fmla="*/ 9525 w 1121416"/>
                  <a:gd name="connsiteY46" fmla="*/ 80962 h 207169"/>
                  <a:gd name="connsiteX47" fmla="*/ 0 w 1121416"/>
                  <a:gd name="connsiteY47" fmla="*/ 104775 h 207169"/>
                  <a:gd name="connsiteX48" fmla="*/ 11907 w 1121416"/>
                  <a:gd name="connsiteY48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161925 w 1121416"/>
                  <a:gd name="connsiteY8" fmla="*/ 161925 h 207169"/>
                  <a:gd name="connsiteX9" fmla="*/ 202407 w 1121416"/>
                  <a:gd name="connsiteY9" fmla="*/ 169069 h 207169"/>
                  <a:gd name="connsiteX10" fmla="*/ 238125 w 1121416"/>
                  <a:gd name="connsiteY10" fmla="*/ 178594 h 207169"/>
                  <a:gd name="connsiteX11" fmla="*/ 285750 w 1121416"/>
                  <a:gd name="connsiteY11" fmla="*/ 192881 h 207169"/>
                  <a:gd name="connsiteX12" fmla="*/ 457200 w 1121416"/>
                  <a:gd name="connsiteY12" fmla="*/ 207169 h 207169"/>
                  <a:gd name="connsiteX13" fmla="*/ 604838 w 1121416"/>
                  <a:gd name="connsiteY13" fmla="*/ 204787 h 207169"/>
                  <a:gd name="connsiteX14" fmla="*/ 623888 w 1121416"/>
                  <a:gd name="connsiteY14" fmla="*/ 200025 h 207169"/>
                  <a:gd name="connsiteX15" fmla="*/ 676275 w 1121416"/>
                  <a:gd name="connsiteY15" fmla="*/ 197644 h 207169"/>
                  <a:gd name="connsiteX16" fmla="*/ 797719 w 1121416"/>
                  <a:gd name="connsiteY16" fmla="*/ 188119 h 207169"/>
                  <a:gd name="connsiteX17" fmla="*/ 866775 w 1121416"/>
                  <a:gd name="connsiteY17" fmla="*/ 173831 h 207169"/>
                  <a:gd name="connsiteX18" fmla="*/ 940594 w 1121416"/>
                  <a:gd name="connsiteY18" fmla="*/ 169069 h 207169"/>
                  <a:gd name="connsiteX19" fmla="*/ 971550 w 1121416"/>
                  <a:gd name="connsiteY19" fmla="*/ 166687 h 207169"/>
                  <a:gd name="connsiteX20" fmla="*/ 1052513 w 1121416"/>
                  <a:gd name="connsiteY20" fmla="*/ 142875 h 207169"/>
                  <a:gd name="connsiteX21" fmla="*/ 1116807 w 1121416"/>
                  <a:gd name="connsiteY21" fmla="*/ 95250 h 207169"/>
                  <a:gd name="connsiteX22" fmla="*/ 1114425 w 1121416"/>
                  <a:gd name="connsiteY22" fmla="*/ 85725 h 207169"/>
                  <a:gd name="connsiteX23" fmla="*/ 1054894 w 1121416"/>
                  <a:gd name="connsiteY23" fmla="*/ 61912 h 207169"/>
                  <a:gd name="connsiteX24" fmla="*/ 966788 w 1121416"/>
                  <a:gd name="connsiteY24" fmla="*/ 35719 h 207169"/>
                  <a:gd name="connsiteX25" fmla="*/ 857250 w 1121416"/>
                  <a:gd name="connsiteY25" fmla="*/ 21431 h 207169"/>
                  <a:gd name="connsiteX26" fmla="*/ 790575 w 1121416"/>
                  <a:gd name="connsiteY26" fmla="*/ 9525 h 207169"/>
                  <a:gd name="connsiteX27" fmla="*/ 702469 w 1121416"/>
                  <a:gd name="connsiteY27" fmla="*/ 7144 h 207169"/>
                  <a:gd name="connsiteX28" fmla="*/ 559594 w 1121416"/>
                  <a:gd name="connsiteY28" fmla="*/ 0 h 207169"/>
                  <a:gd name="connsiteX29" fmla="*/ 338138 w 1121416"/>
                  <a:gd name="connsiteY29" fmla="*/ 2381 h 207169"/>
                  <a:gd name="connsiteX30" fmla="*/ 295275 w 1121416"/>
                  <a:gd name="connsiteY30" fmla="*/ 7144 h 207169"/>
                  <a:gd name="connsiteX31" fmla="*/ 278607 w 1121416"/>
                  <a:gd name="connsiteY31" fmla="*/ 9525 h 207169"/>
                  <a:gd name="connsiteX32" fmla="*/ 269082 w 1121416"/>
                  <a:gd name="connsiteY32" fmla="*/ 11906 h 207169"/>
                  <a:gd name="connsiteX33" fmla="*/ 238125 w 1121416"/>
                  <a:gd name="connsiteY33" fmla="*/ 14287 h 207169"/>
                  <a:gd name="connsiteX34" fmla="*/ 216694 w 1121416"/>
                  <a:gd name="connsiteY34" fmla="*/ 21431 h 207169"/>
                  <a:gd name="connsiteX35" fmla="*/ 195263 w 1121416"/>
                  <a:gd name="connsiteY35" fmla="*/ 26194 h 207169"/>
                  <a:gd name="connsiteX36" fmla="*/ 183357 w 1121416"/>
                  <a:gd name="connsiteY36" fmla="*/ 28575 h 207169"/>
                  <a:gd name="connsiteX37" fmla="*/ 147638 w 1121416"/>
                  <a:gd name="connsiteY37" fmla="*/ 38100 h 207169"/>
                  <a:gd name="connsiteX38" fmla="*/ 128588 w 1121416"/>
                  <a:gd name="connsiteY38" fmla="*/ 45244 h 207169"/>
                  <a:gd name="connsiteX39" fmla="*/ 109538 w 1121416"/>
                  <a:gd name="connsiteY39" fmla="*/ 50006 h 207169"/>
                  <a:gd name="connsiteX40" fmla="*/ 97632 w 1121416"/>
                  <a:gd name="connsiteY40" fmla="*/ 54769 h 207169"/>
                  <a:gd name="connsiteX41" fmla="*/ 80963 w 1121416"/>
                  <a:gd name="connsiteY41" fmla="*/ 57150 h 207169"/>
                  <a:gd name="connsiteX42" fmla="*/ 54769 w 1121416"/>
                  <a:gd name="connsiteY42" fmla="*/ 61912 h 207169"/>
                  <a:gd name="connsiteX43" fmla="*/ 47625 w 1121416"/>
                  <a:gd name="connsiteY43" fmla="*/ 64294 h 207169"/>
                  <a:gd name="connsiteX44" fmla="*/ 23813 w 1121416"/>
                  <a:gd name="connsiteY44" fmla="*/ 71437 h 207169"/>
                  <a:gd name="connsiteX45" fmla="*/ 9525 w 1121416"/>
                  <a:gd name="connsiteY45" fmla="*/ 80962 h 207169"/>
                  <a:gd name="connsiteX46" fmla="*/ 0 w 1121416"/>
                  <a:gd name="connsiteY46" fmla="*/ 104775 h 207169"/>
                  <a:gd name="connsiteX47" fmla="*/ 11907 w 1121416"/>
                  <a:gd name="connsiteY47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8588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78582 w 1121416"/>
                  <a:gd name="connsiteY5" fmla="*/ 145256 h 207169"/>
                  <a:gd name="connsiteX6" fmla="*/ 104775 w 1121416"/>
                  <a:gd name="connsiteY6" fmla="*/ 150019 h 207169"/>
                  <a:gd name="connsiteX7" fmla="*/ 121443 w 1121416"/>
                  <a:gd name="connsiteY7" fmla="*/ 152400 h 207169"/>
                  <a:gd name="connsiteX8" fmla="*/ 202407 w 1121416"/>
                  <a:gd name="connsiteY8" fmla="*/ 169069 h 207169"/>
                  <a:gd name="connsiteX9" fmla="*/ 238125 w 1121416"/>
                  <a:gd name="connsiteY9" fmla="*/ 178594 h 207169"/>
                  <a:gd name="connsiteX10" fmla="*/ 285750 w 1121416"/>
                  <a:gd name="connsiteY10" fmla="*/ 192881 h 207169"/>
                  <a:gd name="connsiteX11" fmla="*/ 457200 w 1121416"/>
                  <a:gd name="connsiteY11" fmla="*/ 207169 h 207169"/>
                  <a:gd name="connsiteX12" fmla="*/ 604838 w 1121416"/>
                  <a:gd name="connsiteY12" fmla="*/ 204787 h 207169"/>
                  <a:gd name="connsiteX13" fmla="*/ 623888 w 1121416"/>
                  <a:gd name="connsiteY13" fmla="*/ 200025 h 207169"/>
                  <a:gd name="connsiteX14" fmla="*/ 676275 w 1121416"/>
                  <a:gd name="connsiteY14" fmla="*/ 197644 h 207169"/>
                  <a:gd name="connsiteX15" fmla="*/ 797719 w 1121416"/>
                  <a:gd name="connsiteY15" fmla="*/ 188119 h 207169"/>
                  <a:gd name="connsiteX16" fmla="*/ 866775 w 1121416"/>
                  <a:gd name="connsiteY16" fmla="*/ 173831 h 207169"/>
                  <a:gd name="connsiteX17" fmla="*/ 940594 w 1121416"/>
                  <a:gd name="connsiteY17" fmla="*/ 169069 h 207169"/>
                  <a:gd name="connsiteX18" fmla="*/ 971550 w 1121416"/>
                  <a:gd name="connsiteY18" fmla="*/ 166687 h 207169"/>
                  <a:gd name="connsiteX19" fmla="*/ 1052513 w 1121416"/>
                  <a:gd name="connsiteY19" fmla="*/ 142875 h 207169"/>
                  <a:gd name="connsiteX20" fmla="*/ 1116807 w 1121416"/>
                  <a:gd name="connsiteY20" fmla="*/ 95250 h 207169"/>
                  <a:gd name="connsiteX21" fmla="*/ 1114425 w 1121416"/>
                  <a:gd name="connsiteY21" fmla="*/ 85725 h 207169"/>
                  <a:gd name="connsiteX22" fmla="*/ 1054894 w 1121416"/>
                  <a:gd name="connsiteY22" fmla="*/ 61912 h 207169"/>
                  <a:gd name="connsiteX23" fmla="*/ 966788 w 1121416"/>
                  <a:gd name="connsiteY23" fmla="*/ 35719 h 207169"/>
                  <a:gd name="connsiteX24" fmla="*/ 857250 w 1121416"/>
                  <a:gd name="connsiteY24" fmla="*/ 21431 h 207169"/>
                  <a:gd name="connsiteX25" fmla="*/ 790575 w 1121416"/>
                  <a:gd name="connsiteY25" fmla="*/ 9525 h 207169"/>
                  <a:gd name="connsiteX26" fmla="*/ 702469 w 1121416"/>
                  <a:gd name="connsiteY26" fmla="*/ 7144 h 207169"/>
                  <a:gd name="connsiteX27" fmla="*/ 559594 w 1121416"/>
                  <a:gd name="connsiteY27" fmla="*/ 0 h 207169"/>
                  <a:gd name="connsiteX28" fmla="*/ 338138 w 1121416"/>
                  <a:gd name="connsiteY28" fmla="*/ 2381 h 207169"/>
                  <a:gd name="connsiteX29" fmla="*/ 295275 w 1121416"/>
                  <a:gd name="connsiteY29" fmla="*/ 7144 h 207169"/>
                  <a:gd name="connsiteX30" fmla="*/ 278607 w 1121416"/>
                  <a:gd name="connsiteY30" fmla="*/ 9525 h 207169"/>
                  <a:gd name="connsiteX31" fmla="*/ 269082 w 1121416"/>
                  <a:gd name="connsiteY31" fmla="*/ 11906 h 207169"/>
                  <a:gd name="connsiteX32" fmla="*/ 238125 w 1121416"/>
                  <a:gd name="connsiteY32" fmla="*/ 14287 h 207169"/>
                  <a:gd name="connsiteX33" fmla="*/ 216694 w 1121416"/>
                  <a:gd name="connsiteY33" fmla="*/ 21431 h 207169"/>
                  <a:gd name="connsiteX34" fmla="*/ 195263 w 1121416"/>
                  <a:gd name="connsiteY34" fmla="*/ 26194 h 207169"/>
                  <a:gd name="connsiteX35" fmla="*/ 183357 w 1121416"/>
                  <a:gd name="connsiteY35" fmla="*/ 28575 h 207169"/>
                  <a:gd name="connsiteX36" fmla="*/ 147638 w 1121416"/>
                  <a:gd name="connsiteY36" fmla="*/ 38100 h 207169"/>
                  <a:gd name="connsiteX37" fmla="*/ 128588 w 1121416"/>
                  <a:gd name="connsiteY37" fmla="*/ 45244 h 207169"/>
                  <a:gd name="connsiteX38" fmla="*/ 109538 w 1121416"/>
                  <a:gd name="connsiteY38" fmla="*/ 50006 h 207169"/>
                  <a:gd name="connsiteX39" fmla="*/ 97632 w 1121416"/>
                  <a:gd name="connsiteY39" fmla="*/ 54769 h 207169"/>
                  <a:gd name="connsiteX40" fmla="*/ 80963 w 1121416"/>
                  <a:gd name="connsiteY40" fmla="*/ 57150 h 207169"/>
                  <a:gd name="connsiteX41" fmla="*/ 54769 w 1121416"/>
                  <a:gd name="connsiteY41" fmla="*/ 61912 h 207169"/>
                  <a:gd name="connsiteX42" fmla="*/ 47625 w 1121416"/>
                  <a:gd name="connsiteY42" fmla="*/ 64294 h 207169"/>
                  <a:gd name="connsiteX43" fmla="*/ 23813 w 1121416"/>
                  <a:gd name="connsiteY43" fmla="*/ 71437 h 207169"/>
                  <a:gd name="connsiteX44" fmla="*/ 9525 w 1121416"/>
                  <a:gd name="connsiteY44" fmla="*/ 80962 h 207169"/>
                  <a:gd name="connsiteX45" fmla="*/ 0 w 1121416"/>
                  <a:gd name="connsiteY45" fmla="*/ 104775 h 207169"/>
                  <a:gd name="connsiteX46" fmla="*/ 11907 w 1121416"/>
                  <a:gd name="connsiteY46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121443 w 1121416"/>
                  <a:gd name="connsiteY6" fmla="*/ 152400 h 207169"/>
                  <a:gd name="connsiteX7" fmla="*/ 202407 w 1121416"/>
                  <a:gd name="connsiteY7" fmla="*/ 169069 h 207169"/>
                  <a:gd name="connsiteX8" fmla="*/ 238125 w 1121416"/>
                  <a:gd name="connsiteY8" fmla="*/ 178594 h 207169"/>
                  <a:gd name="connsiteX9" fmla="*/ 285750 w 1121416"/>
                  <a:gd name="connsiteY9" fmla="*/ 192881 h 207169"/>
                  <a:gd name="connsiteX10" fmla="*/ 457200 w 1121416"/>
                  <a:gd name="connsiteY10" fmla="*/ 207169 h 207169"/>
                  <a:gd name="connsiteX11" fmla="*/ 604838 w 1121416"/>
                  <a:gd name="connsiteY11" fmla="*/ 204787 h 207169"/>
                  <a:gd name="connsiteX12" fmla="*/ 623888 w 1121416"/>
                  <a:gd name="connsiteY12" fmla="*/ 200025 h 207169"/>
                  <a:gd name="connsiteX13" fmla="*/ 676275 w 1121416"/>
                  <a:gd name="connsiteY13" fmla="*/ 197644 h 207169"/>
                  <a:gd name="connsiteX14" fmla="*/ 797719 w 1121416"/>
                  <a:gd name="connsiteY14" fmla="*/ 188119 h 207169"/>
                  <a:gd name="connsiteX15" fmla="*/ 866775 w 1121416"/>
                  <a:gd name="connsiteY15" fmla="*/ 173831 h 207169"/>
                  <a:gd name="connsiteX16" fmla="*/ 940594 w 1121416"/>
                  <a:gd name="connsiteY16" fmla="*/ 169069 h 207169"/>
                  <a:gd name="connsiteX17" fmla="*/ 971550 w 1121416"/>
                  <a:gd name="connsiteY17" fmla="*/ 166687 h 207169"/>
                  <a:gd name="connsiteX18" fmla="*/ 1052513 w 1121416"/>
                  <a:gd name="connsiteY18" fmla="*/ 142875 h 207169"/>
                  <a:gd name="connsiteX19" fmla="*/ 1116807 w 1121416"/>
                  <a:gd name="connsiteY19" fmla="*/ 95250 h 207169"/>
                  <a:gd name="connsiteX20" fmla="*/ 1114425 w 1121416"/>
                  <a:gd name="connsiteY20" fmla="*/ 85725 h 207169"/>
                  <a:gd name="connsiteX21" fmla="*/ 1054894 w 1121416"/>
                  <a:gd name="connsiteY21" fmla="*/ 61912 h 207169"/>
                  <a:gd name="connsiteX22" fmla="*/ 966788 w 1121416"/>
                  <a:gd name="connsiteY22" fmla="*/ 35719 h 207169"/>
                  <a:gd name="connsiteX23" fmla="*/ 857250 w 1121416"/>
                  <a:gd name="connsiteY23" fmla="*/ 21431 h 207169"/>
                  <a:gd name="connsiteX24" fmla="*/ 790575 w 1121416"/>
                  <a:gd name="connsiteY24" fmla="*/ 9525 h 207169"/>
                  <a:gd name="connsiteX25" fmla="*/ 702469 w 1121416"/>
                  <a:gd name="connsiteY25" fmla="*/ 7144 h 207169"/>
                  <a:gd name="connsiteX26" fmla="*/ 559594 w 1121416"/>
                  <a:gd name="connsiteY26" fmla="*/ 0 h 207169"/>
                  <a:gd name="connsiteX27" fmla="*/ 338138 w 1121416"/>
                  <a:gd name="connsiteY27" fmla="*/ 2381 h 207169"/>
                  <a:gd name="connsiteX28" fmla="*/ 295275 w 1121416"/>
                  <a:gd name="connsiteY28" fmla="*/ 7144 h 207169"/>
                  <a:gd name="connsiteX29" fmla="*/ 278607 w 1121416"/>
                  <a:gd name="connsiteY29" fmla="*/ 9525 h 207169"/>
                  <a:gd name="connsiteX30" fmla="*/ 269082 w 1121416"/>
                  <a:gd name="connsiteY30" fmla="*/ 11906 h 207169"/>
                  <a:gd name="connsiteX31" fmla="*/ 238125 w 1121416"/>
                  <a:gd name="connsiteY31" fmla="*/ 14287 h 207169"/>
                  <a:gd name="connsiteX32" fmla="*/ 216694 w 1121416"/>
                  <a:gd name="connsiteY32" fmla="*/ 21431 h 207169"/>
                  <a:gd name="connsiteX33" fmla="*/ 195263 w 1121416"/>
                  <a:gd name="connsiteY33" fmla="*/ 26194 h 207169"/>
                  <a:gd name="connsiteX34" fmla="*/ 183357 w 1121416"/>
                  <a:gd name="connsiteY34" fmla="*/ 28575 h 207169"/>
                  <a:gd name="connsiteX35" fmla="*/ 147638 w 1121416"/>
                  <a:gd name="connsiteY35" fmla="*/ 38100 h 207169"/>
                  <a:gd name="connsiteX36" fmla="*/ 128588 w 1121416"/>
                  <a:gd name="connsiteY36" fmla="*/ 45244 h 207169"/>
                  <a:gd name="connsiteX37" fmla="*/ 109538 w 1121416"/>
                  <a:gd name="connsiteY37" fmla="*/ 50006 h 207169"/>
                  <a:gd name="connsiteX38" fmla="*/ 97632 w 1121416"/>
                  <a:gd name="connsiteY38" fmla="*/ 54769 h 207169"/>
                  <a:gd name="connsiteX39" fmla="*/ 80963 w 1121416"/>
                  <a:gd name="connsiteY39" fmla="*/ 57150 h 207169"/>
                  <a:gd name="connsiteX40" fmla="*/ 54769 w 1121416"/>
                  <a:gd name="connsiteY40" fmla="*/ 61912 h 207169"/>
                  <a:gd name="connsiteX41" fmla="*/ 47625 w 1121416"/>
                  <a:gd name="connsiteY41" fmla="*/ 64294 h 207169"/>
                  <a:gd name="connsiteX42" fmla="*/ 23813 w 1121416"/>
                  <a:gd name="connsiteY42" fmla="*/ 71437 h 207169"/>
                  <a:gd name="connsiteX43" fmla="*/ 9525 w 1121416"/>
                  <a:gd name="connsiteY43" fmla="*/ 80962 h 207169"/>
                  <a:gd name="connsiteX44" fmla="*/ 0 w 1121416"/>
                  <a:gd name="connsiteY44" fmla="*/ 104775 h 207169"/>
                  <a:gd name="connsiteX45" fmla="*/ 11907 w 1121416"/>
                  <a:gd name="connsiteY45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02407 w 1121416"/>
                  <a:gd name="connsiteY6" fmla="*/ 169069 h 207169"/>
                  <a:gd name="connsiteX7" fmla="*/ 238125 w 1121416"/>
                  <a:gd name="connsiteY7" fmla="*/ 178594 h 207169"/>
                  <a:gd name="connsiteX8" fmla="*/ 285750 w 1121416"/>
                  <a:gd name="connsiteY8" fmla="*/ 192881 h 207169"/>
                  <a:gd name="connsiteX9" fmla="*/ 457200 w 1121416"/>
                  <a:gd name="connsiteY9" fmla="*/ 207169 h 207169"/>
                  <a:gd name="connsiteX10" fmla="*/ 604838 w 1121416"/>
                  <a:gd name="connsiteY10" fmla="*/ 204787 h 207169"/>
                  <a:gd name="connsiteX11" fmla="*/ 623888 w 1121416"/>
                  <a:gd name="connsiteY11" fmla="*/ 200025 h 207169"/>
                  <a:gd name="connsiteX12" fmla="*/ 676275 w 1121416"/>
                  <a:gd name="connsiteY12" fmla="*/ 197644 h 207169"/>
                  <a:gd name="connsiteX13" fmla="*/ 797719 w 1121416"/>
                  <a:gd name="connsiteY13" fmla="*/ 188119 h 207169"/>
                  <a:gd name="connsiteX14" fmla="*/ 866775 w 1121416"/>
                  <a:gd name="connsiteY14" fmla="*/ 173831 h 207169"/>
                  <a:gd name="connsiteX15" fmla="*/ 940594 w 1121416"/>
                  <a:gd name="connsiteY15" fmla="*/ 169069 h 207169"/>
                  <a:gd name="connsiteX16" fmla="*/ 971550 w 1121416"/>
                  <a:gd name="connsiteY16" fmla="*/ 166687 h 207169"/>
                  <a:gd name="connsiteX17" fmla="*/ 1052513 w 1121416"/>
                  <a:gd name="connsiteY17" fmla="*/ 142875 h 207169"/>
                  <a:gd name="connsiteX18" fmla="*/ 1116807 w 1121416"/>
                  <a:gd name="connsiteY18" fmla="*/ 95250 h 207169"/>
                  <a:gd name="connsiteX19" fmla="*/ 1114425 w 1121416"/>
                  <a:gd name="connsiteY19" fmla="*/ 85725 h 207169"/>
                  <a:gd name="connsiteX20" fmla="*/ 1054894 w 1121416"/>
                  <a:gd name="connsiteY20" fmla="*/ 61912 h 207169"/>
                  <a:gd name="connsiteX21" fmla="*/ 966788 w 1121416"/>
                  <a:gd name="connsiteY21" fmla="*/ 35719 h 207169"/>
                  <a:gd name="connsiteX22" fmla="*/ 857250 w 1121416"/>
                  <a:gd name="connsiteY22" fmla="*/ 21431 h 207169"/>
                  <a:gd name="connsiteX23" fmla="*/ 790575 w 1121416"/>
                  <a:gd name="connsiteY23" fmla="*/ 9525 h 207169"/>
                  <a:gd name="connsiteX24" fmla="*/ 702469 w 1121416"/>
                  <a:gd name="connsiteY24" fmla="*/ 7144 h 207169"/>
                  <a:gd name="connsiteX25" fmla="*/ 559594 w 1121416"/>
                  <a:gd name="connsiteY25" fmla="*/ 0 h 207169"/>
                  <a:gd name="connsiteX26" fmla="*/ 338138 w 1121416"/>
                  <a:gd name="connsiteY26" fmla="*/ 2381 h 207169"/>
                  <a:gd name="connsiteX27" fmla="*/ 295275 w 1121416"/>
                  <a:gd name="connsiteY27" fmla="*/ 7144 h 207169"/>
                  <a:gd name="connsiteX28" fmla="*/ 278607 w 1121416"/>
                  <a:gd name="connsiteY28" fmla="*/ 9525 h 207169"/>
                  <a:gd name="connsiteX29" fmla="*/ 269082 w 1121416"/>
                  <a:gd name="connsiteY29" fmla="*/ 11906 h 207169"/>
                  <a:gd name="connsiteX30" fmla="*/ 238125 w 1121416"/>
                  <a:gd name="connsiteY30" fmla="*/ 14287 h 207169"/>
                  <a:gd name="connsiteX31" fmla="*/ 216694 w 1121416"/>
                  <a:gd name="connsiteY31" fmla="*/ 21431 h 207169"/>
                  <a:gd name="connsiteX32" fmla="*/ 195263 w 1121416"/>
                  <a:gd name="connsiteY32" fmla="*/ 26194 h 207169"/>
                  <a:gd name="connsiteX33" fmla="*/ 183357 w 1121416"/>
                  <a:gd name="connsiteY33" fmla="*/ 28575 h 207169"/>
                  <a:gd name="connsiteX34" fmla="*/ 147638 w 1121416"/>
                  <a:gd name="connsiteY34" fmla="*/ 38100 h 207169"/>
                  <a:gd name="connsiteX35" fmla="*/ 128588 w 1121416"/>
                  <a:gd name="connsiteY35" fmla="*/ 45244 h 207169"/>
                  <a:gd name="connsiteX36" fmla="*/ 109538 w 1121416"/>
                  <a:gd name="connsiteY36" fmla="*/ 50006 h 207169"/>
                  <a:gd name="connsiteX37" fmla="*/ 97632 w 1121416"/>
                  <a:gd name="connsiteY37" fmla="*/ 54769 h 207169"/>
                  <a:gd name="connsiteX38" fmla="*/ 80963 w 1121416"/>
                  <a:gd name="connsiteY38" fmla="*/ 57150 h 207169"/>
                  <a:gd name="connsiteX39" fmla="*/ 54769 w 1121416"/>
                  <a:gd name="connsiteY39" fmla="*/ 61912 h 207169"/>
                  <a:gd name="connsiteX40" fmla="*/ 47625 w 1121416"/>
                  <a:gd name="connsiteY40" fmla="*/ 64294 h 207169"/>
                  <a:gd name="connsiteX41" fmla="*/ 23813 w 1121416"/>
                  <a:gd name="connsiteY41" fmla="*/ 71437 h 207169"/>
                  <a:gd name="connsiteX42" fmla="*/ 9525 w 1121416"/>
                  <a:gd name="connsiteY42" fmla="*/ 80962 h 207169"/>
                  <a:gd name="connsiteX43" fmla="*/ 0 w 1121416"/>
                  <a:gd name="connsiteY43" fmla="*/ 104775 h 207169"/>
                  <a:gd name="connsiteX44" fmla="*/ 11907 w 1121416"/>
                  <a:gd name="connsiteY44" fmla="*/ 111919 h 207169"/>
                  <a:gd name="connsiteX0" fmla="*/ 11907 w 1121416"/>
                  <a:gd name="connsiteY0" fmla="*/ 111919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43" fmla="*/ 11907 w 1121416"/>
                  <a:gd name="connsiteY43" fmla="*/ 111919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0482 w 1121416"/>
                  <a:gd name="connsiteY3" fmla="*/ 135731 h 207169"/>
                  <a:gd name="connsiteX4" fmla="*/ 47625 w 1121416"/>
                  <a:gd name="connsiteY4" fmla="*/ 140494 h 207169"/>
                  <a:gd name="connsiteX5" fmla="*/ 104775 w 1121416"/>
                  <a:gd name="connsiteY5" fmla="*/ 150019 h 207169"/>
                  <a:gd name="connsiteX6" fmla="*/ 238125 w 1121416"/>
                  <a:gd name="connsiteY6" fmla="*/ 178594 h 207169"/>
                  <a:gd name="connsiteX7" fmla="*/ 285750 w 1121416"/>
                  <a:gd name="connsiteY7" fmla="*/ 192881 h 207169"/>
                  <a:gd name="connsiteX8" fmla="*/ 457200 w 1121416"/>
                  <a:gd name="connsiteY8" fmla="*/ 207169 h 207169"/>
                  <a:gd name="connsiteX9" fmla="*/ 604838 w 1121416"/>
                  <a:gd name="connsiteY9" fmla="*/ 204787 h 207169"/>
                  <a:gd name="connsiteX10" fmla="*/ 623888 w 1121416"/>
                  <a:gd name="connsiteY10" fmla="*/ 200025 h 207169"/>
                  <a:gd name="connsiteX11" fmla="*/ 676275 w 1121416"/>
                  <a:gd name="connsiteY11" fmla="*/ 197644 h 207169"/>
                  <a:gd name="connsiteX12" fmla="*/ 797719 w 1121416"/>
                  <a:gd name="connsiteY12" fmla="*/ 188119 h 207169"/>
                  <a:gd name="connsiteX13" fmla="*/ 866775 w 1121416"/>
                  <a:gd name="connsiteY13" fmla="*/ 173831 h 207169"/>
                  <a:gd name="connsiteX14" fmla="*/ 940594 w 1121416"/>
                  <a:gd name="connsiteY14" fmla="*/ 169069 h 207169"/>
                  <a:gd name="connsiteX15" fmla="*/ 971550 w 1121416"/>
                  <a:gd name="connsiteY15" fmla="*/ 166687 h 207169"/>
                  <a:gd name="connsiteX16" fmla="*/ 1052513 w 1121416"/>
                  <a:gd name="connsiteY16" fmla="*/ 142875 h 207169"/>
                  <a:gd name="connsiteX17" fmla="*/ 1116807 w 1121416"/>
                  <a:gd name="connsiteY17" fmla="*/ 95250 h 207169"/>
                  <a:gd name="connsiteX18" fmla="*/ 1114425 w 1121416"/>
                  <a:gd name="connsiteY18" fmla="*/ 85725 h 207169"/>
                  <a:gd name="connsiteX19" fmla="*/ 1054894 w 1121416"/>
                  <a:gd name="connsiteY19" fmla="*/ 61912 h 207169"/>
                  <a:gd name="connsiteX20" fmla="*/ 966788 w 1121416"/>
                  <a:gd name="connsiteY20" fmla="*/ 35719 h 207169"/>
                  <a:gd name="connsiteX21" fmla="*/ 857250 w 1121416"/>
                  <a:gd name="connsiteY21" fmla="*/ 21431 h 207169"/>
                  <a:gd name="connsiteX22" fmla="*/ 790575 w 1121416"/>
                  <a:gd name="connsiteY22" fmla="*/ 9525 h 207169"/>
                  <a:gd name="connsiteX23" fmla="*/ 702469 w 1121416"/>
                  <a:gd name="connsiteY23" fmla="*/ 7144 h 207169"/>
                  <a:gd name="connsiteX24" fmla="*/ 559594 w 1121416"/>
                  <a:gd name="connsiteY24" fmla="*/ 0 h 207169"/>
                  <a:gd name="connsiteX25" fmla="*/ 338138 w 1121416"/>
                  <a:gd name="connsiteY25" fmla="*/ 2381 h 207169"/>
                  <a:gd name="connsiteX26" fmla="*/ 295275 w 1121416"/>
                  <a:gd name="connsiteY26" fmla="*/ 7144 h 207169"/>
                  <a:gd name="connsiteX27" fmla="*/ 278607 w 1121416"/>
                  <a:gd name="connsiteY27" fmla="*/ 9525 h 207169"/>
                  <a:gd name="connsiteX28" fmla="*/ 269082 w 1121416"/>
                  <a:gd name="connsiteY28" fmla="*/ 11906 h 207169"/>
                  <a:gd name="connsiteX29" fmla="*/ 238125 w 1121416"/>
                  <a:gd name="connsiteY29" fmla="*/ 14287 h 207169"/>
                  <a:gd name="connsiteX30" fmla="*/ 216694 w 1121416"/>
                  <a:gd name="connsiteY30" fmla="*/ 21431 h 207169"/>
                  <a:gd name="connsiteX31" fmla="*/ 195263 w 1121416"/>
                  <a:gd name="connsiteY31" fmla="*/ 26194 h 207169"/>
                  <a:gd name="connsiteX32" fmla="*/ 183357 w 1121416"/>
                  <a:gd name="connsiteY32" fmla="*/ 28575 h 207169"/>
                  <a:gd name="connsiteX33" fmla="*/ 147638 w 1121416"/>
                  <a:gd name="connsiteY33" fmla="*/ 38100 h 207169"/>
                  <a:gd name="connsiteX34" fmla="*/ 128588 w 1121416"/>
                  <a:gd name="connsiteY34" fmla="*/ 45244 h 207169"/>
                  <a:gd name="connsiteX35" fmla="*/ 109538 w 1121416"/>
                  <a:gd name="connsiteY35" fmla="*/ 50006 h 207169"/>
                  <a:gd name="connsiteX36" fmla="*/ 97632 w 1121416"/>
                  <a:gd name="connsiteY36" fmla="*/ 54769 h 207169"/>
                  <a:gd name="connsiteX37" fmla="*/ 80963 w 1121416"/>
                  <a:gd name="connsiteY37" fmla="*/ 57150 h 207169"/>
                  <a:gd name="connsiteX38" fmla="*/ 54769 w 1121416"/>
                  <a:gd name="connsiteY38" fmla="*/ 61912 h 207169"/>
                  <a:gd name="connsiteX39" fmla="*/ 47625 w 1121416"/>
                  <a:gd name="connsiteY39" fmla="*/ 64294 h 207169"/>
                  <a:gd name="connsiteX40" fmla="*/ 23813 w 1121416"/>
                  <a:gd name="connsiteY40" fmla="*/ 71437 h 207169"/>
                  <a:gd name="connsiteX41" fmla="*/ 9525 w 1121416"/>
                  <a:gd name="connsiteY41" fmla="*/ 80962 h 207169"/>
                  <a:gd name="connsiteX42" fmla="*/ 0 w 1121416"/>
                  <a:gd name="connsiteY4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23813 w 1121416"/>
                  <a:gd name="connsiteY39" fmla="*/ 71437 h 207169"/>
                  <a:gd name="connsiteX40" fmla="*/ 9525 w 1121416"/>
                  <a:gd name="connsiteY40" fmla="*/ 80962 h 207169"/>
                  <a:gd name="connsiteX41" fmla="*/ 0 w 1121416"/>
                  <a:gd name="connsiteY4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47625 w 1121416"/>
                  <a:gd name="connsiteY38" fmla="*/ 64294 h 207169"/>
                  <a:gd name="connsiteX39" fmla="*/ 9525 w 1121416"/>
                  <a:gd name="connsiteY39" fmla="*/ 80962 h 207169"/>
                  <a:gd name="connsiteX40" fmla="*/ 0 w 1121416"/>
                  <a:gd name="connsiteY4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80963 w 1121416"/>
                  <a:gd name="connsiteY36" fmla="*/ 57150 h 207169"/>
                  <a:gd name="connsiteX37" fmla="*/ 54769 w 1121416"/>
                  <a:gd name="connsiteY37" fmla="*/ 61912 h 207169"/>
                  <a:gd name="connsiteX38" fmla="*/ 9525 w 1121416"/>
                  <a:gd name="connsiteY38" fmla="*/ 80962 h 207169"/>
                  <a:gd name="connsiteX39" fmla="*/ 0 w 1121416"/>
                  <a:gd name="connsiteY3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97632 w 1121416"/>
                  <a:gd name="connsiteY35" fmla="*/ 54769 h 207169"/>
                  <a:gd name="connsiteX36" fmla="*/ 54769 w 1121416"/>
                  <a:gd name="connsiteY36" fmla="*/ 61912 h 207169"/>
                  <a:gd name="connsiteX37" fmla="*/ 9525 w 1121416"/>
                  <a:gd name="connsiteY37" fmla="*/ 80962 h 207169"/>
                  <a:gd name="connsiteX38" fmla="*/ 0 w 1121416"/>
                  <a:gd name="connsiteY38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109538 w 1121416"/>
                  <a:gd name="connsiteY34" fmla="*/ 50006 h 207169"/>
                  <a:gd name="connsiteX35" fmla="*/ 54769 w 1121416"/>
                  <a:gd name="connsiteY35" fmla="*/ 61912 h 207169"/>
                  <a:gd name="connsiteX36" fmla="*/ 9525 w 1121416"/>
                  <a:gd name="connsiteY36" fmla="*/ 80962 h 207169"/>
                  <a:gd name="connsiteX37" fmla="*/ 0 w 1121416"/>
                  <a:gd name="connsiteY37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128588 w 1121416"/>
                  <a:gd name="connsiteY33" fmla="*/ 45244 h 207169"/>
                  <a:gd name="connsiteX34" fmla="*/ 54769 w 1121416"/>
                  <a:gd name="connsiteY34" fmla="*/ 61912 h 207169"/>
                  <a:gd name="connsiteX35" fmla="*/ 9525 w 1121416"/>
                  <a:gd name="connsiteY35" fmla="*/ 80962 h 207169"/>
                  <a:gd name="connsiteX36" fmla="*/ 0 w 1121416"/>
                  <a:gd name="connsiteY36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147638 w 1121416"/>
                  <a:gd name="connsiteY32" fmla="*/ 38100 h 207169"/>
                  <a:gd name="connsiteX33" fmla="*/ 54769 w 1121416"/>
                  <a:gd name="connsiteY33" fmla="*/ 61912 h 207169"/>
                  <a:gd name="connsiteX34" fmla="*/ 9525 w 1121416"/>
                  <a:gd name="connsiteY34" fmla="*/ 80962 h 207169"/>
                  <a:gd name="connsiteX35" fmla="*/ 0 w 1121416"/>
                  <a:gd name="connsiteY35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183357 w 1121416"/>
                  <a:gd name="connsiteY31" fmla="*/ 28575 h 207169"/>
                  <a:gd name="connsiteX32" fmla="*/ 54769 w 1121416"/>
                  <a:gd name="connsiteY32" fmla="*/ 61912 h 207169"/>
                  <a:gd name="connsiteX33" fmla="*/ 9525 w 1121416"/>
                  <a:gd name="connsiteY33" fmla="*/ 80962 h 207169"/>
                  <a:gd name="connsiteX34" fmla="*/ 0 w 1121416"/>
                  <a:gd name="connsiteY34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195263 w 1121416"/>
                  <a:gd name="connsiteY30" fmla="*/ 26194 h 207169"/>
                  <a:gd name="connsiteX31" fmla="*/ 54769 w 1121416"/>
                  <a:gd name="connsiteY31" fmla="*/ 61912 h 207169"/>
                  <a:gd name="connsiteX32" fmla="*/ 9525 w 1121416"/>
                  <a:gd name="connsiteY32" fmla="*/ 80962 h 207169"/>
                  <a:gd name="connsiteX33" fmla="*/ 0 w 1121416"/>
                  <a:gd name="connsiteY33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216694 w 1121416"/>
                  <a:gd name="connsiteY29" fmla="*/ 21431 h 207169"/>
                  <a:gd name="connsiteX30" fmla="*/ 54769 w 1121416"/>
                  <a:gd name="connsiteY30" fmla="*/ 61912 h 207169"/>
                  <a:gd name="connsiteX31" fmla="*/ 9525 w 1121416"/>
                  <a:gd name="connsiteY31" fmla="*/ 80962 h 207169"/>
                  <a:gd name="connsiteX32" fmla="*/ 0 w 1121416"/>
                  <a:gd name="connsiteY32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69082 w 1121416"/>
                  <a:gd name="connsiteY27" fmla="*/ 11906 h 207169"/>
                  <a:gd name="connsiteX28" fmla="*/ 238125 w 1121416"/>
                  <a:gd name="connsiteY28" fmla="*/ 14287 h 207169"/>
                  <a:gd name="connsiteX29" fmla="*/ 54769 w 1121416"/>
                  <a:gd name="connsiteY29" fmla="*/ 61912 h 207169"/>
                  <a:gd name="connsiteX30" fmla="*/ 9525 w 1121416"/>
                  <a:gd name="connsiteY30" fmla="*/ 80962 h 207169"/>
                  <a:gd name="connsiteX31" fmla="*/ 0 w 1121416"/>
                  <a:gd name="connsiteY31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95275 w 1121416"/>
                  <a:gd name="connsiteY25" fmla="*/ 7144 h 207169"/>
                  <a:gd name="connsiteX26" fmla="*/ 278607 w 1121416"/>
                  <a:gd name="connsiteY26" fmla="*/ 9525 h 207169"/>
                  <a:gd name="connsiteX27" fmla="*/ 238125 w 1121416"/>
                  <a:gd name="connsiteY27" fmla="*/ 14287 h 207169"/>
                  <a:gd name="connsiteX28" fmla="*/ 54769 w 1121416"/>
                  <a:gd name="connsiteY28" fmla="*/ 61912 h 207169"/>
                  <a:gd name="connsiteX29" fmla="*/ 9525 w 1121416"/>
                  <a:gd name="connsiteY29" fmla="*/ 80962 h 207169"/>
                  <a:gd name="connsiteX30" fmla="*/ 0 w 1121416"/>
                  <a:gd name="connsiteY30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38125 w 1121416"/>
                  <a:gd name="connsiteY5" fmla="*/ 178594 h 207169"/>
                  <a:gd name="connsiteX6" fmla="*/ 285750 w 1121416"/>
                  <a:gd name="connsiteY6" fmla="*/ 192881 h 207169"/>
                  <a:gd name="connsiteX7" fmla="*/ 457200 w 1121416"/>
                  <a:gd name="connsiteY7" fmla="*/ 207169 h 207169"/>
                  <a:gd name="connsiteX8" fmla="*/ 604838 w 1121416"/>
                  <a:gd name="connsiteY8" fmla="*/ 204787 h 207169"/>
                  <a:gd name="connsiteX9" fmla="*/ 623888 w 1121416"/>
                  <a:gd name="connsiteY9" fmla="*/ 200025 h 207169"/>
                  <a:gd name="connsiteX10" fmla="*/ 676275 w 1121416"/>
                  <a:gd name="connsiteY10" fmla="*/ 197644 h 207169"/>
                  <a:gd name="connsiteX11" fmla="*/ 797719 w 1121416"/>
                  <a:gd name="connsiteY11" fmla="*/ 188119 h 207169"/>
                  <a:gd name="connsiteX12" fmla="*/ 866775 w 1121416"/>
                  <a:gd name="connsiteY12" fmla="*/ 173831 h 207169"/>
                  <a:gd name="connsiteX13" fmla="*/ 940594 w 1121416"/>
                  <a:gd name="connsiteY13" fmla="*/ 169069 h 207169"/>
                  <a:gd name="connsiteX14" fmla="*/ 971550 w 1121416"/>
                  <a:gd name="connsiteY14" fmla="*/ 166687 h 207169"/>
                  <a:gd name="connsiteX15" fmla="*/ 1052513 w 1121416"/>
                  <a:gd name="connsiteY15" fmla="*/ 142875 h 207169"/>
                  <a:gd name="connsiteX16" fmla="*/ 1116807 w 1121416"/>
                  <a:gd name="connsiteY16" fmla="*/ 95250 h 207169"/>
                  <a:gd name="connsiteX17" fmla="*/ 1114425 w 1121416"/>
                  <a:gd name="connsiteY17" fmla="*/ 85725 h 207169"/>
                  <a:gd name="connsiteX18" fmla="*/ 1054894 w 1121416"/>
                  <a:gd name="connsiteY18" fmla="*/ 61912 h 207169"/>
                  <a:gd name="connsiteX19" fmla="*/ 966788 w 1121416"/>
                  <a:gd name="connsiteY19" fmla="*/ 35719 h 207169"/>
                  <a:gd name="connsiteX20" fmla="*/ 857250 w 1121416"/>
                  <a:gd name="connsiteY20" fmla="*/ 21431 h 207169"/>
                  <a:gd name="connsiteX21" fmla="*/ 790575 w 1121416"/>
                  <a:gd name="connsiteY21" fmla="*/ 9525 h 207169"/>
                  <a:gd name="connsiteX22" fmla="*/ 702469 w 1121416"/>
                  <a:gd name="connsiteY22" fmla="*/ 7144 h 207169"/>
                  <a:gd name="connsiteX23" fmla="*/ 559594 w 1121416"/>
                  <a:gd name="connsiteY23" fmla="*/ 0 h 207169"/>
                  <a:gd name="connsiteX24" fmla="*/ 338138 w 1121416"/>
                  <a:gd name="connsiteY24" fmla="*/ 2381 h 207169"/>
                  <a:gd name="connsiteX25" fmla="*/ 278607 w 1121416"/>
                  <a:gd name="connsiteY25" fmla="*/ 9525 h 207169"/>
                  <a:gd name="connsiteX26" fmla="*/ 238125 w 1121416"/>
                  <a:gd name="connsiteY26" fmla="*/ 14287 h 207169"/>
                  <a:gd name="connsiteX27" fmla="*/ 54769 w 1121416"/>
                  <a:gd name="connsiteY27" fmla="*/ 61912 h 207169"/>
                  <a:gd name="connsiteX28" fmla="*/ 9525 w 1121416"/>
                  <a:gd name="connsiteY28" fmla="*/ 80962 h 207169"/>
                  <a:gd name="connsiteX29" fmla="*/ 0 w 1121416"/>
                  <a:gd name="connsiteY29" fmla="*/ 104775 h 207169"/>
                  <a:gd name="connsiteX0" fmla="*/ 0 w 1121416"/>
                  <a:gd name="connsiteY0" fmla="*/ 104775 h 207169"/>
                  <a:gd name="connsiteX1" fmla="*/ 23813 w 1121416"/>
                  <a:gd name="connsiteY1" fmla="*/ 121444 h 207169"/>
                  <a:gd name="connsiteX2" fmla="*/ 28575 w 1121416"/>
                  <a:gd name="connsiteY2" fmla="*/ 128587 h 207169"/>
                  <a:gd name="connsiteX3" fmla="*/ 47625 w 1121416"/>
                  <a:gd name="connsiteY3" fmla="*/ 140494 h 207169"/>
                  <a:gd name="connsiteX4" fmla="*/ 104775 w 1121416"/>
                  <a:gd name="connsiteY4" fmla="*/ 150019 h 207169"/>
                  <a:gd name="connsiteX5" fmla="*/ 285750 w 1121416"/>
                  <a:gd name="connsiteY5" fmla="*/ 192881 h 207169"/>
                  <a:gd name="connsiteX6" fmla="*/ 457200 w 1121416"/>
                  <a:gd name="connsiteY6" fmla="*/ 207169 h 207169"/>
                  <a:gd name="connsiteX7" fmla="*/ 604838 w 1121416"/>
                  <a:gd name="connsiteY7" fmla="*/ 204787 h 207169"/>
                  <a:gd name="connsiteX8" fmla="*/ 623888 w 1121416"/>
                  <a:gd name="connsiteY8" fmla="*/ 200025 h 207169"/>
                  <a:gd name="connsiteX9" fmla="*/ 676275 w 1121416"/>
                  <a:gd name="connsiteY9" fmla="*/ 197644 h 207169"/>
                  <a:gd name="connsiteX10" fmla="*/ 797719 w 1121416"/>
                  <a:gd name="connsiteY10" fmla="*/ 188119 h 207169"/>
                  <a:gd name="connsiteX11" fmla="*/ 866775 w 1121416"/>
                  <a:gd name="connsiteY11" fmla="*/ 173831 h 207169"/>
                  <a:gd name="connsiteX12" fmla="*/ 940594 w 1121416"/>
                  <a:gd name="connsiteY12" fmla="*/ 169069 h 207169"/>
                  <a:gd name="connsiteX13" fmla="*/ 971550 w 1121416"/>
                  <a:gd name="connsiteY13" fmla="*/ 166687 h 207169"/>
                  <a:gd name="connsiteX14" fmla="*/ 1052513 w 1121416"/>
                  <a:gd name="connsiteY14" fmla="*/ 142875 h 207169"/>
                  <a:gd name="connsiteX15" fmla="*/ 1116807 w 1121416"/>
                  <a:gd name="connsiteY15" fmla="*/ 95250 h 207169"/>
                  <a:gd name="connsiteX16" fmla="*/ 1114425 w 1121416"/>
                  <a:gd name="connsiteY16" fmla="*/ 85725 h 207169"/>
                  <a:gd name="connsiteX17" fmla="*/ 1054894 w 1121416"/>
                  <a:gd name="connsiteY17" fmla="*/ 61912 h 207169"/>
                  <a:gd name="connsiteX18" fmla="*/ 966788 w 1121416"/>
                  <a:gd name="connsiteY18" fmla="*/ 35719 h 207169"/>
                  <a:gd name="connsiteX19" fmla="*/ 857250 w 1121416"/>
                  <a:gd name="connsiteY19" fmla="*/ 21431 h 207169"/>
                  <a:gd name="connsiteX20" fmla="*/ 790575 w 1121416"/>
                  <a:gd name="connsiteY20" fmla="*/ 9525 h 207169"/>
                  <a:gd name="connsiteX21" fmla="*/ 702469 w 1121416"/>
                  <a:gd name="connsiteY21" fmla="*/ 7144 h 207169"/>
                  <a:gd name="connsiteX22" fmla="*/ 559594 w 1121416"/>
                  <a:gd name="connsiteY22" fmla="*/ 0 h 207169"/>
                  <a:gd name="connsiteX23" fmla="*/ 338138 w 1121416"/>
                  <a:gd name="connsiteY23" fmla="*/ 2381 h 207169"/>
                  <a:gd name="connsiteX24" fmla="*/ 278607 w 1121416"/>
                  <a:gd name="connsiteY24" fmla="*/ 9525 h 207169"/>
                  <a:gd name="connsiteX25" fmla="*/ 238125 w 1121416"/>
                  <a:gd name="connsiteY25" fmla="*/ 14287 h 207169"/>
                  <a:gd name="connsiteX26" fmla="*/ 54769 w 1121416"/>
                  <a:gd name="connsiteY26" fmla="*/ 61912 h 207169"/>
                  <a:gd name="connsiteX27" fmla="*/ 9525 w 1121416"/>
                  <a:gd name="connsiteY27" fmla="*/ 80962 h 207169"/>
                  <a:gd name="connsiteX28" fmla="*/ 0 w 1121416"/>
                  <a:gd name="connsiteY28" fmla="*/ 104775 h 207169"/>
                  <a:gd name="connsiteX0" fmla="*/ 0 w 1129985"/>
                  <a:gd name="connsiteY0" fmla="*/ 104775 h 207169"/>
                  <a:gd name="connsiteX1" fmla="*/ 23813 w 1129985"/>
                  <a:gd name="connsiteY1" fmla="*/ 121444 h 207169"/>
                  <a:gd name="connsiteX2" fmla="*/ 28575 w 1129985"/>
                  <a:gd name="connsiteY2" fmla="*/ 128587 h 207169"/>
                  <a:gd name="connsiteX3" fmla="*/ 47625 w 1129985"/>
                  <a:gd name="connsiteY3" fmla="*/ 140494 h 207169"/>
                  <a:gd name="connsiteX4" fmla="*/ 104775 w 1129985"/>
                  <a:gd name="connsiteY4" fmla="*/ 150019 h 207169"/>
                  <a:gd name="connsiteX5" fmla="*/ 285750 w 1129985"/>
                  <a:gd name="connsiteY5" fmla="*/ 192881 h 207169"/>
                  <a:gd name="connsiteX6" fmla="*/ 457200 w 1129985"/>
                  <a:gd name="connsiteY6" fmla="*/ 207169 h 207169"/>
                  <a:gd name="connsiteX7" fmla="*/ 604838 w 1129985"/>
                  <a:gd name="connsiteY7" fmla="*/ 204787 h 207169"/>
                  <a:gd name="connsiteX8" fmla="*/ 623888 w 1129985"/>
                  <a:gd name="connsiteY8" fmla="*/ 200025 h 207169"/>
                  <a:gd name="connsiteX9" fmla="*/ 676275 w 1129985"/>
                  <a:gd name="connsiteY9" fmla="*/ 197644 h 207169"/>
                  <a:gd name="connsiteX10" fmla="*/ 797719 w 1129985"/>
                  <a:gd name="connsiteY10" fmla="*/ 188119 h 207169"/>
                  <a:gd name="connsiteX11" fmla="*/ 866775 w 1129985"/>
                  <a:gd name="connsiteY11" fmla="*/ 173831 h 207169"/>
                  <a:gd name="connsiteX12" fmla="*/ 940594 w 1129985"/>
                  <a:gd name="connsiteY12" fmla="*/ 169069 h 207169"/>
                  <a:gd name="connsiteX13" fmla="*/ 971550 w 1129985"/>
                  <a:gd name="connsiteY13" fmla="*/ 166687 h 207169"/>
                  <a:gd name="connsiteX14" fmla="*/ 1052513 w 1129985"/>
                  <a:gd name="connsiteY14" fmla="*/ 142875 h 207169"/>
                  <a:gd name="connsiteX15" fmla="*/ 1125625 w 1129985"/>
                  <a:gd name="connsiteY15" fmla="*/ 102808 h 207169"/>
                  <a:gd name="connsiteX16" fmla="*/ 1114425 w 1129985"/>
                  <a:gd name="connsiteY16" fmla="*/ 85725 h 207169"/>
                  <a:gd name="connsiteX17" fmla="*/ 1054894 w 1129985"/>
                  <a:gd name="connsiteY17" fmla="*/ 61912 h 207169"/>
                  <a:gd name="connsiteX18" fmla="*/ 966788 w 1129985"/>
                  <a:gd name="connsiteY18" fmla="*/ 35719 h 207169"/>
                  <a:gd name="connsiteX19" fmla="*/ 857250 w 1129985"/>
                  <a:gd name="connsiteY19" fmla="*/ 21431 h 207169"/>
                  <a:gd name="connsiteX20" fmla="*/ 790575 w 1129985"/>
                  <a:gd name="connsiteY20" fmla="*/ 9525 h 207169"/>
                  <a:gd name="connsiteX21" fmla="*/ 702469 w 1129985"/>
                  <a:gd name="connsiteY21" fmla="*/ 7144 h 207169"/>
                  <a:gd name="connsiteX22" fmla="*/ 559594 w 1129985"/>
                  <a:gd name="connsiteY22" fmla="*/ 0 h 207169"/>
                  <a:gd name="connsiteX23" fmla="*/ 338138 w 1129985"/>
                  <a:gd name="connsiteY23" fmla="*/ 2381 h 207169"/>
                  <a:gd name="connsiteX24" fmla="*/ 278607 w 1129985"/>
                  <a:gd name="connsiteY24" fmla="*/ 9525 h 207169"/>
                  <a:gd name="connsiteX25" fmla="*/ 238125 w 1129985"/>
                  <a:gd name="connsiteY25" fmla="*/ 14287 h 207169"/>
                  <a:gd name="connsiteX26" fmla="*/ 54769 w 1129985"/>
                  <a:gd name="connsiteY26" fmla="*/ 61912 h 207169"/>
                  <a:gd name="connsiteX27" fmla="*/ 9525 w 1129985"/>
                  <a:gd name="connsiteY27" fmla="*/ 80962 h 207169"/>
                  <a:gd name="connsiteX28" fmla="*/ 0 w 1129985"/>
                  <a:gd name="connsiteY28" fmla="*/ 104775 h 207169"/>
                  <a:gd name="connsiteX0" fmla="*/ 0 w 1128285"/>
                  <a:gd name="connsiteY0" fmla="*/ 104775 h 207169"/>
                  <a:gd name="connsiteX1" fmla="*/ 23813 w 1128285"/>
                  <a:gd name="connsiteY1" fmla="*/ 121444 h 207169"/>
                  <a:gd name="connsiteX2" fmla="*/ 28575 w 1128285"/>
                  <a:gd name="connsiteY2" fmla="*/ 128587 h 207169"/>
                  <a:gd name="connsiteX3" fmla="*/ 47625 w 1128285"/>
                  <a:gd name="connsiteY3" fmla="*/ 140494 h 207169"/>
                  <a:gd name="connsiteX4" fmla="*/ 104775 w 1128285"/>
                  <a:gd name="connsiteY4" fmla="*/ 150019 h 207169"/>
                  <a:gd name="connsiteX5" fmla="*/ 285750 w 1128285"/>
                  <a:gd name="connsiteY5" fmla="*/ 192881 h 207169"/>
                  <a:gd name="connsiteX6" fmla="*/ 457200 w 1128285"/>
                  <a:gd name="connsiteY6" fmla="*/ 207169 h 207169"/>
                  <a:gd name="connsiteX7" fmla="*/ 604838 w 1128285"/>
                  <a:gd name="connsiteY7" fmla="*/ 204787 h 207169"/>
                  <a:gd name="connsiteX8" fmla="*/ 623888 w 1128285"/>
                  <a:gd name="connsiteY8" fmla="*/ 200025 h 207169"/>
                  <a:gd name="connsiteX9" fmla="*/ 676275 w 1128285"/>
                  <a:gd name="connsiteY9" fmla="*/ 197644 h 207169"/>
                  <a:gd name="connsiteX10" fmla="*/ 797719 w 1128285"/>
                  <a:gd name="connsiteY10" fmla="*/ 188119 h 207169"/>
                  <a:gd name="connsiteX11" fmla="*/ 866775 w 1128285"/>
                  <a:gd name="connsiteY11" fmla="*/ 173831 h 207169"/>
                  <a:gd name="connsiteX12" fmla="*/ 940594 w 1128285"/>
                  <a:gd name="connsiteY12" fmla="*/ 169069 h 207169"/>
                  <a:gd name="connsiteX13" fmla="*/ 971550 w 1128285"/>
                  <a:gd name="connsiteY13" fmla="*/ 166687 h 207169"/>
                  <a:gd name="connsiteX14" fmla="*/ 1052513 w 1128285"/>
                  <a:gd name="connsiteY14" fmla="*/ 142875 h 207169"/>
                  <a:gd name="connsiteX15" fmla="*/ 1125625 w 1128285"/>
                  <a:gd name="connsiteY15" fmla="*/ 102808 h 207169"/>
                  <a:gd name="connsiteX16" fmla="*/ 1106866 w 1128285"/>
                  <a:gd name="connsiteY16" fmla="*/ 74387 h 207169"/>
                  <a:gd name="connsiteX17" fmla="*/ 1054894 w 1128285"/>
                  <a:gd name="connsiteY17" fmla="*/ 61912 h 207169"/>
                  <a:gd name="connsiteX18" fmla="*/ 966788 w 1128285"/>
                  <a:gd name="connsiteY18" fmla="*/ 35719 h 207169"/>
                  <a:gd name="connsiteX19" fmla="*/ 857250 w 1128285"/>
                  <a:gd name="connsiteY19" fmla="*/ 21431 h 207169"/>
                  <a:gd name="connsiteX20" fmla="*/ 790575 w 1128285"/>
                  <a:gd name="connsiteY20" fmla="*/ 9525 h 207169"/>
                  <a:gd name="connsiteX21" fmla="*/ 702469 w 1128285"/>
                  <a:gd name="connsiteY21" fmla="*/ 7144 h 207169"/>
                  <a:gd name="connsiteX22" fmla="*/ 559594 w 1128285"/>
                  <a:gd name="connsiteY22" fmla="*/ 0 h 207169"/>
                  <a:gd name="connsiteX23" fmla="*/ 338138 w 1128285"/>
                  <a:gd name="connsiteY23" fmla="*/ 2381 h 207169"/>
                  <a:gd name="connsiteX24" fmla="*/ 278607 w 1128285"/>
                  <a:gd name="connsiteY24" fmla="*/ 9525 h 207169"/>
                  <a:gd name="connsiteX25" fmla="*/ 238125 w 1128285"/>
                  <a:gd name="connsiteY25" fmla="*/ 14287 h 207169"/>
                  <a:gd name="connsiteX26" fmla="*/ 54769 w 1128285"/>
                  <a:gd name="connsiteY26" fmla="*/ 61912 h 207169"/>
                  <a:gd name="connsiteX27" fmla="*/ 9525 w 1128285"/>
                  <a:gd name="connsiteY27" fmla="*/ 80962 h 207169"/>
                  <a:gd name="connsiteX28" fmla="*/ 0 w 1128285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66788 w 1128511"/>
                  <a:gd name="connsiteY18" fmla="*/ 35719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7250 w 1128511"/>
                  <a:gd name="connsiteY19" fmla="*/ 21431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78607 w 1128511"/>
                  <a:gd name="connsiteY24" fmla="*/ 9525 h 207169"/>
                  <a:gd name="connsiteX25" fmla="*/ 238125 w 1128511"/>
                  <a:gd name="connsiteY25" fmla="*/ 14287 h 207169"/>
                  <a:gd name="connsiteX26" fmla="*/ 54769 w 1128511"/>
                  <a:gd name="connsiteY26" fmla="*/ 61912 h 207169"/>
                  <a:gd name="connsiteX27" fmla="*/ 9525 w 1128511"/>
                  <a:gd name="connsiteY27" fmla="*/ 80962 h 207169"/>
                  <a:gd name="connsiteX28" fmla="*/ 0 w 1128511"/>
                  <a:gd name="connsiteY28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38138 w 1128511"/>
                  <a:gd name="connsiteY23" fmla="*/ 238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702469 w 1128511"/>
                  <a:gd name="connsiteY21" fmla="*/ 7144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90575 w 1128511"/>
                  <a:gd name="connsiteY20" fmla="*/ 9525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8055 w 1128511"/>
                  <a:gd name="connsiteY20" fmla="*/ 448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38125 w 1128511"/>
                  <a:gd name="connsiteY24" fmla="*/ 1428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54769 w 1128511"/>
                  <a:gd name="connsiteY25" fmla="*/ 61912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28575 w 1128511"/>
                  <a:gd name="connsiteY2" fmla="*/ 128587 h 207169"/>
                  <a:gd name="connsiteX3" fmla="*/ 47625 w 1128511"/>
                  <a:gd name="connsiteY3" fmla="*/ 140494 h 207169"/>
                  <a:gd name="connsiteX4" fmla="*/ 104775 w 1128511"/>
                  <a:gd name="connsiteY4" fmla="*/ 150019 h 207169"/>
                  <a:gd name="connsiteX5" fmla="*/ 285750 w 1128511"/>
                  <a:gd name="connsiteY5" fmla="*/ 192881 h 207169"/>
                  <a:gd name="connsiteX6" fmla="*/ 457200 w 1128511"/>
                  <a:gd name="connsiteY6" fmla="*/ 207169 h 207169"/>
                  <a:gd name="connsiteX7" fmla="*/ 604838 w 1128511"/>
                  <a:gd name="connsiteY7" fmla="*/ 204787 h 207169"/>
                  <a:gd name="connsiteX8" fmla="*/ 623888 w 1128511"/>
                  <a:gd name="connsiteY8" fmla="*/ 200025 h 207169"/>
                  <a:gd name="connsiteX9" fmla="*/ 676275 w 1128511"/>
                  <a:gd name="connsiteY9" fmla="*/ 197644 h 207169"/>
                  <a:gd name="connsiteX10" fmla="*/ 797719 w 1128511"/>
                  <a:gd name="connsiteY10" fmla="*/ 188119 h 207169"/>
                  <a:gd name="connsiteX11" fmla="*/ 866775 w 1128511"/>
                  <a:gd name="connsiteY11" fmla="*/ 173831 h 207169"/>
                  <a:gd name="connsiteX12" fmla="*/ 940594 w 1128511"/>
                  <a:gd name="connsiteY12" fmla="*/ 169069 h 207169"/>
                  <a:gd name="connsiteX13" fmla="*/ 971550 w 1128511"/>
                  <a:gd name="connsiteY13" fmla="*/ 166687 h 207169"/>
                  <a:gd name="connsiteX14" fmla="*/ 1052513 w 1128511"/>
                  <a:gd name="connsiteY14" fmla="*/ 142875 h 207169"/>
                  <a:gd name="connsiteX15" fmla="*/ 1125625 w 1128511"/>
                  <a:gd name="connsiteY15" fmla="*/ 102808 h 207169"/>
                  <a:gd name="connsiteX16" fmla="*/ 1106866 w 1128511"/>
                  <a:gd name="connsiteY16" fmla="*/ 74387 h 207169"/>
                  <a:gd name="connsiteX17" fmla="*/ 1042296 w 1128511"/>
                  <a:gd name="connsiteY17" fmla="*/ 44275 h 207169"/>
                  <a:gd name="connsiteX18" fmla="*/ 941593 w 1128511"/>
                  <a:gd name="connsiteY18" fmla="*/ 25641 h 207169"/>
                  <a:gd name="connsiteX19" fmla="*/ 858510 w 1128511"/>
                  <a:gd name="connsiteY19" fmla="*/ 13873 h 207169"/>
                  <a:gd name="connsiteX20" fmla="*/ 783016 w 1128511"/>
                  <a:gd name="connsiteY20" fmla="*/ 3226 h 207169"/>
                  <a:gd name="connsiteX21" fmla="*/ 693651 w 1128511"/>
                  <a:gd name="connsiteY21" fmla="*/ 2105 h 207169"/>
                  <a:gd name="connsiteX22" fmla="*/ 559594 w 1128511"/>
                  <a:gd name="connsiteY22" fmla="*/ 0 h 207169"/>
                  <a:gd name="connsiteX23" fmla="*/ 348216 w 1128511"/>
                  <a:gd name="connsiteY23" fmla="*/ 4901 h 207169"/>
                  <a:gd name="connsiteX24" fmla="*/ 221748 w 1128511"/>
                  <a:gd name="connsiteY24" fmla="*/ 15547 h 207169"/>
                  <a:gd name="connsiteX25" fmla="*/ 63587 w 1128511"/>
                  <a:gd name="connsiteY25" fmla="*/ 53093 h 207169"/>
                  <a:gd name="connsiteX26" fmla="*/ 9525 w 1128511"/>
                  <a:gd name="connsiteY26" fmla="*/ 80962 h 207169"/>
                  <a:gd name="connsiteX27" fmla="*/ 0 w 1128511"/>
                  <a:gd name="connsiteY27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47625 w 1128511"/>
                  <a:gd name="connsiteY2" fmla="*/ 140494 h 207169"/>
                  <a:gd name="connsiteX3" fmla="*/ 104775 w 1128511"/>
                  <a:gd name="connsiteY3" fmla="*/ 150019 h 207169"/>
                  <a:gd name="connsiteX4" fmla="*/ 285750 w 1128511"/>
                  <a:gd name="connsiteY4" fmla="*/ 192881 h 207169"/>
                  <a:gd name="connsiteX5" fmla="*/ 457200 w 1128511"/>
                  <a:gd name="connsiteY5" fmla="*/ 207169 h 207169"/>
                  <a:gd name="connsiteX6" fmla="*/ 604838 w 1128511"/>
                  <a:gd name="connsiteY6" fmla="*/ 204787 h 207169"/>
                  <a:gd name="connsiteX7" fmla="*/ 623888 w 1128511"/>
                  <a:gd name="connsiteY7" fmla="*/ 200025 h 207169"/>
                  <a:gd name="connsiteX8" fmla="*/ 676275 w 1128511"/>
                  <a:gd name="connsiteY8" fmla="*/ 197644 h 207169"/>
                  <a:gd name="connsiteX9" fmla="*/ 797719 w 1128511"/>
                  <a:gd name="connsiteY9" fmla="*/ 188119 h 207169"/>
                  <a:gd name="connsiteX10" fmla="*/ 866775 w 1128511"/>
                  <a:gd name="connsiteY10" fmla="*/ 173831 h 207169"/>
                  <a:gd name="connsiteX11" fmla="*/ 940594 w 1128511"/>
                  <a:gd name="connsiteY11" fmla="*/ 169069 h 207169"/>
                  <a:gd name="connsiteX12" fmla="*/ 971550 w 1128511"/>
                  <a:gd name="connsiteY12" fmla="*/ 166687 h 207169"/>
                  <a:gd name="connsiteX13" fmla="*/ 1052513 w 1128511"/>
                  <a:gd name="connsiteY13" fmla="*/ 142875 h 207169"/>
                  <a:gd name="connsiteX14" fmla="*/ 1125625 w 1128511"/>
                  <a:gd name="connsiteY14" fmla="*/ 102808 h 207169"/>
                  <a:gd name="connsiteX15" fmla="*/ 1106866 w 1128511"/>
                  <a:gd name="connsiteY15" fmla="*/ 74387 h 207169"/>
                  <a:gd name="connsiteX16" fmla="*/ 1042296 w 1128511"/>
                  <a:gd name="connsiteY16" fmla="*/ 44275 h 207169"/>
                  <a:gd name="connsiteX17" fmla="*/ 941593 w 1128511"/>
                  <a:gd name="connsiteY17" fmla="*/ 25641 h 207169"/>
                  <a:gd name="connsiteX18" fmla="*/ 858510 w 1128511"/>
                  <a:gd name="connsiteY18" fmla="*/ 13873 h 207169"/>
                  <a:gd name="connsiteX19" fmla="*/ 783016 w 1128511"/>
                  <a:gd name="connsiteY19" fmla="*/ 3226 h 207169"/>
                  <a:gd name="connsiteX20" fmla="*/ 693651 w 1128511"/>
                  <a:gd name="connsiteY20" fmla="*/ 2105 h 207169"/>
                  <a:gd name="connsiteX21" fmla="*/ 559594 w 1128511"/>
                  <a:gd name="connsiteY21" fmla="*/ 0 h 207169"/>
                  <a:gd name="connsiteX22" fmla="*/ 348216 w 1128511"/>
                  <a:gd name="connsiteY22" fmla="*/ 4901 h 207169"/>
                  <a:gd name="connsiteX23" fmla="*/ 221748 w 1128511"/>
                  <a:gd name="connsiteY23" fmla="*/ 15547 h 207169"/>
                  <a:gd name="connsiteX24" fmla="*/ 63587 w 1128511"/>
                  <a:gd name="connsiteY24" fmla="*/ 53093 h 207169"/>
                  <a:gd name="connsiteX25" fmla="*/ 9525 w 1128511"/>
                  <a:gd name="connsiteY25" fmla="*/ 80962 h 207169"/>
                  <a:gd name="connsiteX26" fmla="*/ 0 w 1128511"/>
                  <a:gd name="connsiteY26" fmla="*/ 104775 h 207169"/>
                  <a:gd name="connsiteX0" fmla="*/ 0 w 1128511"/>
                  <a:gd name="connsiteY0" fmla="*/ 104775 h 207169"/>
                  <a:gd name="connsiteX1" fmla="*/ 23813 w 1128511"/>
                  <a:gd name="connsiteY1" fmla="*/ 121444 h 207169"/>
                  <a:gd name="connsiteX2" fmla="*/ 104775 w 1128511"/>
                  <a:gd name="connsiteY2" fmla="*/ 150019 h 207169"/>
                  <a:gd name="connsiteX3" fmla="*/ 285750 w 1128511"/>
                  <a:gd name="connsiteY3" fmla="*/ 192881 h 207169"/>
                  <a:gd name="connsiteX4" fmla="*/ 457200 w 1128511"/>
                  <a:gd name="connsiteY4" fmla="*/ 207169 h 207169"/>
                  <a:gd name="connsiteX5" fmla="*/ 604838 w 1128511"/>
                  <a:gd name="connsiteY5" fmla="*/ 204787 h 207169"/>
                  <a:gd name="connsiteX6" fmla="*/ 623888 w 1128511"/>
                  <a:gd name="connsiteY6" fmla="*/ 200025 h 207169"/>
                  <a:gd name="connsiteX7" fmla="*/ 676275 w 1128511"/>
                  <a:gd name="connsiteY7" fmla="*/ 197644 h 207169"/>
                  <a:gd name="connsiteX8" fmla="*/ 797719 w 1128511"/>
                  <a:gd name="connsiteY8" fmla="*/ 188119 h 207169"/>
                  <a:gd name="connsiteX9" fmla="*/ 866775 w 1128511"/>
                  <a:gd name="connsiteY9" fmla="*/ 173831 h 207169"/>
                  <a:gd name="connsiteX10" fmla="*/ 940594 w 1128511"/>
                  <a:gd name="connsiteY10" fmla="*/ 169069 h 207169"/>
                  <a:gd name="connsiteX11" fmla="*/ 971550 w 1128511"/>
                  <a:gd name="connsiteY11" fmla="*/ 166687 h 207169"/>
                  <a:gd name="connsiteX12" fmla="*/ 1052513 w 1128511"/>
                  <a:gd name="connsiteY12" fmla="*/ 142875 h 207169"/>
                  <a:gd name="connsiteX13" fmla="*/ 1125625 w 1128511"/>
                  <a:gd name="connsiteY13" fmla="*/ 102808 h 207169"/>
                  <a:gd name="connsiteX14" fmla="*/ 1106866 w 1128511"/>
                  <a:gd name="connsiteY14" fmla="*/ 74387 h 207169"/>
                  <a:gd name="connsiteX15" fmla="*/ 1042296 w 1128511"/>
                  <a:gd name="connsiteY15" fmla="*/ 44275 h 207169"/>
                  <a:gd name="connsiteX16" fmla="*/ 941593 w 1128511"/>
                  <a:gd name="connsiteY16" fmla="*/ 25641 h 207169"/>
                  <a:gd name="connsiteX17" fmla="*/ 858510 w 1128511"/>
                  <a:gd name="connsiteY17" fmla="*/ 13873 h 207169"/>
                  <a:gd name="connsiteX18" fmla="*/ 783016 w 1128511"/>
                  <a:gd name="connsiteY18" fmla="*/ 3226 h 207169"/>
                  <a:gd name="connsiteX19" fmla="*/ 693651 w 1128511"/>
                  <a:gd name="connsiteY19" fmla="*/ 2105 h 207169"/>
                  <a:gd name="connsiteX20" fmla="*/ 559594 w 1128511"/>
                  <a:gd name="connsiteY20" fmla="*/ 0 h 207169"/>
                  <a:gd name="connsiteX21" fmla="*/ 348216 w 1128511"/>
                  <a:gd name="connsiteY21" fmla="*/ 4901 h 207169"/>
                  <a:gd name="connsiteX22" fmla="*/ 221748 w 1128511"/>
                  <a:gd name="connsiteY22" fmla="*/ 15547 h 207169"/>
                  <a:gd name="connsiteX23" fmla="*/ 63587 w 1128511"/>
                  <a:gd name="connsiteY23" fmla="*/ 53093 h 207169"/>
                  <a:gd name="connsiteX24" fmla="*/ 9525 w 1128511"/>
                  <a:gd name="connsiteY24" fmla="*/ 80962 h 207169"/>
                  <a:gd name="connsiteX25" fmla="*/ 0 w 1128511"/>
                  <a:gd name="connsiteY25" fmla="*/ 104775 h 207169"/>
                  <a:gd name="connsiteX0" fmla="*/ 1574 w 1130085"/>
                  <a:gd name="connsiteY0" fmla="*/ 104775 h 207169"/>
                  <a:gd name="connsiteX1" fmla="*/ 46803 w 1130085"/>
                  <a:gd name="connsiteY1" fmla="*/ 135301 h 207169"/>
                  <a:gd name="connsiteX2" fmla="*/ 106349 w 1130085"/>
                  <a:gd name="connsiteY2" fmla="*/ 150019 h 207169"/>
                  <a:gd name="connsiteX3" fmla="*/ 287324 w 1130085"/>
                  <a:gd name="connsiteY3" fmla="*/ 192881 h 207169"/>
                  <a:gd name="connsiteX4" fmla="*/ 458774 w 1130085"/>
                  <a:gd name="connsiteY4" fmla="*/ 207169 h 207169"/>
                  <a:gd name="connsiteX5" fmla="*/ 606412 w 1130085"/>
                  <a:gd name="connsiteY5" fmla="*/ 204787 h 207169"/>
                  <a:gd name="connsiteX6" fmla="*/ 625462 w 1130085"/>
                  <a:gd name="connsiteY6" fmla="*/ 200025 h 207169"/>
                  <a:gd name="connsiteX7" fmla="*/ 677849 w 1130085"/>
                  <a:gd name="connsiteY7" fmla="*/ 197644 h 207169"/>
                  <a:gd name="connsiteX8" fmla="*/ 799293 w 1130085"/>
                  <a:gd name="connsiteY8" fmla="*/ 188119 h 207169"/>
                  <a:gd name="connsiteX9" fmla="*/ 868349 w 1130085"/>
                  <a:gd name="connsiteY9" fmla="*/ 173831 h 207169"/>
                  <a:gd name="connsiteX10" fmla="*/ 942168 w 1130085"/>
                  <a:gd name="connsiteY10" fmla="*/ 169069 h 207169"/>
                  <a:gd name="connsiteX11" fmla="*/ 973124 w 1130085"/>
                  <a:gd name="connsiteY11" fmla="*/ 166687 h 207169"/>
                  <a:gd name="connsiteX12" fmla="*/ 1054087 w 1130085"/>
                  <a:gd name="connsiteY12" fmla="*/ 142875 h 207169"/>
                  <a:gd name="connsiteX13" fmla="*/ 1127199 w 1130085"/>
                  <a:gd name="connsiteY13" fmla="*/ 102808 h 207169"/>
                  <a:gd name="connsiteX14" fmla="*/ 1108440 w 1130085"/>
                  <a:gd name="connsiteY14" fmla="*/ 74387 h 207169"/>
                  <a:gd name="connsiteX15" fmla="*/ 1043870 w 1130085"/>
                  <a:gd name="connsiteY15" fmla="*/ 44275 h 207169"/>
                  <a:gd name="connsiteX16" fmla="*/ 943167 w 1130085"/>
                  <a:gd name="connsiteY16" fmla="*/ 25641 h 207169"/>
                  <a:gd name="connsiteX17" fmla="*/ 860084 w 1130085"/>
                  <a:gd name="connsiteY17" fmla="*/ 13873 h 207169"/>
                  <a:gd name="connsiteX18" fmla="*/ 784590 w 1130085"/>
                  <a:gd name="connsiteY18" fmla="*/ 3226 h 207169"/>
                  <a:gd name="connsiteX19" fmla="*/ 695225 w 1130085"/>
                  <a:gd name="connsiteY19" fmla="*/ 2105 h 207169"/>
                  <a:gd name="connsiteX20" fmla="*/ 561168 w 1130085"/>
                  <a:gd name="connsiteY20" fmla="*/ 0 h 207169"/>
                  <a:gd name="connsiteX21" fmla="*/ 349790 w 1130085"/>
                  <a:gd name="connsiteY21" fmla="*/ 4901 h 207169"/>
                  <a:gd name="connsiteX22" fmla="*/ 223322 w 1130085"/>
                  <a:gd name="connsiteY22" fmla="*/ 15547 h 207169"/>
                  <a:gd name="connsiteX23" fmla="*/ 65161 w 1130085"/>
                  <a:gd name="connsiteY23" fmla="*/ 53093 h 207169"/>
                  <a:gd name="connsiteX24" fmla="*/ 11099 w 1130085"/>
                  <a:gd name="connsiteY24" fmla="*/ 80962 h 207169"/>
                  <a:gd name="connsiteX25" fmla="*/ 1574 w 1130085"/>
                  <a:gd name="connsiteY25" fmla="*/ 104775 h 207169"/>
                  <a:gd name="connsiteX0" fmla="*/ 2544 w 1131055"/>
                  <a:gd name="connsiteY0" fmla="*/ 104775 h 207169"/>
                  <a:gd name="connsiteX1" fmla="*/ 47773 w 1131055"/>
                  <a:gd name="connsiteY1" fmla="*/ 135301 h 207169"/>
                  <a:gd name="connsiteX2" fmla="*/ 107319 w 1131055"/>
                  <a:gd name="connsiteY2" fmla="*/ 150019 h 207169"/>
                  <a:gd name="connsiteX3" fmla="*/ 288294 w 1131055"/>
                  <a:gd name="connsiteY3" fmla="*/ 192881 h 207169"/>
                  <a:gd name="connsiteX4" fmla="*/ 459744 w 1131055"/>
                  <a:gd name="connsiteY4" fmla="*/ 207169 h 207169"/>
                  <a:gd name="connsiteX5" fmla="*/ 607382 w 1131055"/>
                  <a:gd name="connsiteY5" fmla="*/ 204787 h 207169"/>
                  <a:gd name="connsiteX6" fmla="*/ 626432 w 1131055"/>
                  <a:gd name="connsiteY6" fmla="*/ 200025 h 207169"/>
                  <a:gd name="connsiteX7" fmla="*/ 678819 w 1131055"/>
                  <a:gd name="connsiteY7" fmla="*/ 197644 h 207169"/>
                  <a:gd name="connsiteX8" fmla="*/ 800263 w 1131055"/>
                  <a:gd name="connsiteY8" fmla="*/ 188119 h 207169"/>
                  <a:gd name="connsiteX9" fmla="*/ 869319 w 1131055"/>
                  <a:gd name="connsiteY9" fmla="*/ 173831 h 207169"/>
                  <a:gd name="connsiteX10" fmla="*/ 943138 w 1131055"/>
                  <a:gd name="connsiteY10" fmla="*/ 169069 h 207169"/>
                  <a:gd name="connsiteX11" fmla="*/ 974094 w 1131055"/>
                  <a:gd name="connsiteY11" fmla="*/ 166687 h 207169"/>
                  <a:gd name="connsiteX12" fmla="*/ 1055057 w 1131055"/>
                  <a:gd name="connsiteY12" fmla="*/ 142875 h 207169"/>
                  <a:gd name="connsiteX13" fmla="*/ 1128169 w 1131055"/>
                  <a:gd name="connsiteY13" fmla="*/ 102808 h 207169"/>
                  <a:gd name="connsiteX14" fmla="*/ 1109410 w 1131055"/>
                  <a:gd name="connsiteY14" fmla="*/ 74387 h 207169"/>
                  <a:gd name="connsiteX15" fmla="*/ 1044840 w 1131055"/>
                  <a:gd name="connsiteY15" fmla="*/ 44275 h 207169"/>
                  <a:gd name="connsiteX16" fmla="*/ 944137 w 1131055"/>
                  <a:gd name="connsiteY16" fmla="*/ 25641 h 207169"/>
                  <a:gd name="connsiteX17" fmla="*/ 861054 w 1131055"/>
                  <a:gd name="connsiteY17" fmla="*/ 13873 h 207169"/>
                  <a:gd name="connsiteX18" fmla="*/ 785560 w 1131055"/>
                  <a:gd name="connsiteY18" fmla="*/ 3226 h 207169"/>
                  <a:gd name="connsiteX19" fmla="*/ 696195 w 1131055"/>
                  <a:gd name="connsiteY19" fmla="*/ 2105 h 207169"/>
                  <a:gd name="connsiteX20" fmla="*/ 562138 w 1131055"/>
                  <a:gd name="connsiteY20" fmla="*/ 0 h 207169"/>
                  <a:gd name="connsiteX21" fmla="*/ 350760 w 1131055"/>
                  <a:gd name="connsiteY21" fmla="*/ 4901 h 207169"/>
                  <a:gd name="connsiteX22" fmla="*/ 224292 w 1131055"/>
                  <a:gd name="connsiteY22" fmla="*/ 15547 h 207169"/>
                  <a:gd name="connsiteX23" fmla="*/ 66131 w 1131055"/>
                  <a:gd name="connsiteY23" fmla="*/ 53093 h 207169"/>
                  <a:gd name="connsiteX24" fmla="*/ 12069 w 1131055"/>
                  <a:gd name="connsiteY24" fmla="*/ 80962 h 207169"/>
                  <a:gd name="connsiteX25" fmla="*/ 2544 w 1131055"/>
                  <a:gd name="connsiteY25" fmla="*/ 104775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1104 w 1124840"/>
                  <a:gd name="connsiteY2" fmla="*/ 150019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09922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3888 w 1124840"/>
                  <a:gd name="connsiteY0" fmla="*/ 111074 h 207169"/>
                  <a:gd name="connsiteX1" fmla="*/ 41558 w 1124840"/>
                  <a:gd name="connsiteY1" fmla="*/ 135301 h 207169"/>
                  <a:gd name="connsiteX2" fmla="*/ 122520 w 1124840"/>
                  <a:gd name="connsiteY2" fmla="*/ 160097 h 207169"/>
                  <a:gd name="connsiteX3" fmla="*/ 282079 w 1124840"/>
                  <a:gd name="connsiteY3" fmla="*/ 192881 h 207169"/>
                  <a:gd name="connsiteX4" fmla="*/ 453529 w 1124840"/>
                  <a:gd name="connsiteY4" fmla="*/ 207169 h 207169"/>
                  <a:gd name="connsiteX5" fmla="*/ 601167 w 1124840"/>
                  <a:gd name="connsiteY5" fmla="*/ 204787 h 207169"/>
                  <a:gd name="connsiteX6" fmla="*/ 620217 w 1124840"/>
                  <a:gd name="connsiteY6" fmla="*/ 200025 h 207169"/>
                  <a:gd name="connsiteX7" fmla="*/ 672604 w 1124840"/>
                  <a:gd name="connsiteY7" fmla="*/ 197644 h 207169"/>
                  <a:gd name="connsiteX8" fmla="*/ 794048 w 1124840"/>
                  <a:gd name="connsiteY8" fmla="*/ 188119 h 207169"/>
                  <a:gd name="connsiteX9" fmla="*/ 863104 w 1124840"/>
                  <a:gd name="connsiteY9" fmla="*/ 173831 h 207169"/>
                  <a:gd name="connsiteX10" fmla="*/ 936923 w 1124840"/>
                  <a:gd name="connsiteY10" fmla="*/ 169069 h 207169"/>
                  <a:gd name="connsiteX11" fmla="*/ 967879 w 1124840"/>
                  <a:gd name="connsiteY11" fmla="*/ 166687 h 207169"/>
                  <a:gd name="connsiteX12" fmla="*/ 1048842 w 1124840"/>
                  <a:gd name="connsiteY12" fmla="*/ 142875 h 207169"/>
                  <a:gd name="connsiteX13" fmla="*/ 1121954 w 1124840"/>
                  <a:gd name="connsiteY13" fmla="*/ 102808 h 207169"/>
                  <a:gd name="connsiteX14" fmla="*/ 1103195 w 1124840"/>
                  <a:gd name="connsiteY14" fmla="*/ 74387 h 207169"/>
                  <a:gd name="connsiteX15" fmla="*/ 1038625 w 1124840"/>
                  <a:gd name="connsiteY15" fmla="*/ 44275 h 207169"/>
                  <a:gd name="connsiteX16" fmla="*/ 937922 w 1124840"/>
                  <a:gd name="connsiteY16" fmla="*/ 25641 h 207169"/>
                  <a:gd name="connsiteX17" fmla="*/ 854839 w 1124840"/>
                  <a:gd name="connsiteY17" fmla="*/ 13873 h 207169"/>
                  <a:gd name="connsiteX18" fmla="*/ 779345 w 1124840"/>
                  <a:gd name="connsiteY18" fmla="*/ 3226 h 207169"/>
                  <a:gd name="connsiteX19" fmla="*/ 689980 w 1124840"/>
                  <a:gd name="connsiteY19" fmla="*/ 2105 h 207169"/>
                  <a:gd name="connsiteX20" fmla="*/ 555923 w 1124840"/>
                  <a:gd name="connsiteY20" fmla="*/ 0 h 207169"/>
                  <a:gd name="connsiteX21" fmla="*/ 344545 w 1124840"/>
                  <a:gd name="connsiteY21" fmla="*/ 4901 h 207169"/>
                  <a:gd name="connsiteX22" fmla="*/ 218077 w 1124840"/>
                  <a:gd name="connsiteY22" fmla="*/ 15547 h 207169"/>
                  <a:gd name="connsiteX23" fmla="*/ 59916 w 1124840"/>
                  <a:gd name="connsiteY23" fmla="*/ 53093 h 207169"/>
                  <a:gd name="connsiteX24" fmla="*/ 5854 w 1124840"/>
                  <a:gd name="connsiteY24" fmla="*/ 80962 h 207169"/>
                  <a:gd name="connsiteX25" fmla="*/ 3888 w 1124840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83757 w 1126518"/>
                  <a:gd name="connsiteY3" fmla="*/ 192881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7169"/>
                  <a:gd name="connsiteX1" fmla="*/ 43236 w 1126518"/>
                  <a:gd name="connsiteY1" fmla="*/ 135301 h 207169"/>
                  <a:gd name="connsiteX2" fmla="*/ 124198 w 1126518"/>
                  <a:gd name="connsiteY2" fmla="*/ 160097 h 207169"/>
                  <a:gd name="connsiteX3" fmla="*/ 290056 w 1126518"/>
                  <a:gd name="connsiteY3" fmla="*/ 190362 h 207169"/>
                  <a:gd name="connsiteX4" fmla="*/ 455207 w 1126518"/>
                  <a:gd name="connsiteY4" fmla="*/ 207169 h 207169"/>
                  <a:gd name="connsiteX5" fmla="*/ 602845 w 1126518"/>
                  <a:gd name="connsiteY5" fmla="*/ 204787 h 207169"/>
                  <a:gd name="connsiteX6" fmla="*/ 621895 w 1126518"/>
                  <a:gd name="connsiteY6" fmla="*/ 200025 h 207169"/>
                  <a:gd name="connsiteX7" fmla="*/ 674282 w 1126518"/>
                  <a:gd name="connsiteY7" fmla="*/ 197644 h 207169"/>
                  <a:gd name="connsiteX8" fmla="*/ 795726 w 1126518"/>
                  <a:gd name="connsiteY8" fmla="*/ 188119 h 207169"/>
                  <a:gd name="connsiteX9" fmla="*/ 864782 w 1126518"/>
                  <a:gd name="connsiteY9" fmla="*/ 173831 h 207169"/>
                  <a:gd name="connsiteX10" fmla="*/ 938601 w 1126518"/>
                  <a:gd name="connsiteY10" fmla="*/ 169069 h 207169"/>
                  <a:gd name="connsiteX11" fmla="*/ 969557 w 1126518"/>
                  <a:gd name="connsiteY11" fmla="*/ 166687 h 207169"/>
                  <a:gd name="connsiteX12" fmla="*/ 1050520 w 1126518"/>
                  <a:gd name="connsiteY12" fmla="*/ 142875 h 207169"/>
                  <a:gd name="connsiteX13" fmla="*/ 1123632 w 1126518"/>
                  <a:gd name="connsiteY13" fmla="*/ 102808 h 207169"/>
                  <a:gd name="connsiteX14" fmla="*/ 1104873 w 1126518"/>
                  <a:gd name="connsiteY14" fmla="*/ 74387 h 207169"/>
                  <a:gd name="connsiteX15" fmla="*/ 1040303 w 1126518"/>
                  <a:gd name="connsiteY15" fmla="*/ 44275 h 207169"/>
                  <a:gd name="connsiteX16" fmla="*/ 939600 w 1126518"/>
                  <a:gd name="connsiteY16" fmla="*/ 25641 h 207169"/>
                  <a:gd name="connsiteX17" fmla="*/ 856517 w 1126518"/>
                  <a:gd name="connsiteY17" fmla="*/ 13873 h 207169"/>
                  <a:gd name="connsiteX18" fmla="*/ 781023 w 1126518"/>
                  <a:gd name="connsiteY18" fmla="*/ 3226 h 207169"/>
                  <a:gd name="connsiteX19" fmla="*/ 691658 w 1126518"/>
                  <a:gd name="connsiteY19" fmla="*/ 2105 h 207169"/>
                  <a:gd name="connsiteX20" fmla="*/ 557601 w 1126518"/>
                  <a:gd name="connsiteY20" fmla="*/ 0 h 207169"/>
                  <a:gd name="connsiteX21" fmla="*/ 346223 w 1126518"/>
                  <a:gd name="connsiteY21" fmla="*/ 4901 h 207169"/>
                  <a:gd name="connsiteX22" fmla="*/ 219755 w 1126518"/>
                  <a:gd name="connsiteY22" fmla="*/ 15547 h 207169"/>
                  <a:gd name="connsiteX23" fmla="*/ 61594 w 1126518"/>
                  <a:gd name="connsiteY23" fmla="*/ 53093 h 207169"/>
                  <a:gd name="connsiteX24" fmla="*/ 7532 w 1126518"/>
                  <a:gd name="connsiteY24" fmla="*/ 80962 h 207169"/>
                  <a:gd name="connsiteX25" fmla="*/ 5566 w 1126518"/>
                  <a:gd name="connsiteY25" fmla="*/ 111074 h 207169"/>
                  <a:gd name="connsiteX0" fmla="*/ 5566 w 1126518"/>
                  <a:gd name="connsiteY0" fmla="*/ 111074 h 209354"/>
                  <a:gd name="connsiteX1" fmla="*/ 43236 w 1126518"/>
                  <a:gd name="connsiteY1" fmla="*/ 135301 h 209354"/>
                  <a:gd name="connsiteX2" fmla="*/ 124198 w 1126518"/>
                  <a:gd name="connsiteY2" fmla="*/ 160097 h 209354"/>
                  <a:gd name="connsiteX3" fmla="*/ 290056 w 1126518"/>
                  <a:gd name="connsiteY3" fmla="*/ 190362 h 209354"/>
                  <a:gd name="connsiteX4" fmla="*/ 455207 w 1126518"/>
                  <a:gd name="connsiteY4" fmla="*/ 207169 h 209354"/>
                  <a:gd name="connsiteX5" fmla="*/ 602845 w 1126518"/>
                  <a:gd name="connsiteY5" fmla="*/ 204787 h 209354"/>
                  <a:gd name="connsiteX6" fmla="*/ 621895 w 1126518"/>
                  <a:gd name="connsiteY6" fmla="*/ 200025 h 209354"/>
                  <a:gd name="connsiteX7" fmla="*/ 674282 w 1126518"/>
                  <a:gd name="connsiteY7" fmla="*/ 197644 h 209354"/>
                  <a:gd name="connsiteX8" fmla="*/ 795726 w 1126518"/>
                  <a:gd name="connsiteY8" fmla="*/ 188119 h 209354"/>
                  <a:gd name="connsiteX9" fmla="*/ 864782 w 1126518"/>
                  <a:gd name="connsiteY9" fmla="*/ 173831 h 209354"/>
                  <a:gd name="connsiteX10" fmla="*/ 938601 w 1126518"/>
                  <a:gd name="connsiteY10" fmla="*/ 169069 h 209354"/>
                  <a:gd name="connsiteX11" fmla="*/ 969557 w 1126518"/>
                  <a:gd name="connsiteY11" fmla="*/ 166687 h 209354"/>
                  <a:gd name="connsiteX12" fmla="*/ 1050520 w 1126518"/>
                  <a:gd name="connsiteY12" fmla="*/ 142875 h 209354"/>
                  <a:gd name="connsiteX13" fmla="*/ 1123632 w 1126518"/>
                  <a:gd name="connsiteY13" fmla="*/ 102808 h 209354"/>
                  <a:gd name="connsiteX14" fmla="*/ 1104873 w 1126518"/>
                  <a:gd name="connsiteY14" fmla="*/ 74387 h 209354"/>
                  <a:gd name="connsiteX15" fmla="*/ 1040303 w 1126518"/>
                  <a:gd name="connsiteY15" fmla="*/ 44275 h 209354"/>
                  <a:gd name="connsiteX16" fmla="*/ 939600 w 1126518"/>
                  <a:gd name="connsiteY16" fmla="*/ 25641 h 209354"/>
                  <a:gd name="connsiteX17" fmla="*/ 856517 w 1126518"/>
                  <a:gd name="connsiteY17" fmla="*/ 13873 h 209354"/>
                  <a:gd name="connsiteX18" fmla="*/ 781023 w 1126518"/>
                  <a:gd name="connsiteY18" fmla="*/ 3226 h 209354"/>
                  <a:gd name="connsiteX19" fmla="*/ 691658 w 1126518"/>
                  <a:gd name="connsiteY19" fmla="*/ 2105 h 209354"/>
                  <a:gd name="connsiteX20" fmla="*/ 557601 w 1126518"/>
                  <a:gd name="connsiteY20" fmla="*/ 0 h 209354"/>
                  <a:gd name="connsiteX21" fmla="*/ 346223 w 1126518"/>
                  <a:gd name="connsiteY21" fmla="*/ 4901 h 209354"/>
                  <a:gd name="connsiteX22" fmla="*/ 219755 w 1126518"/>
                  <a:gd name="connsiteY22" fmla="*/ 15547 h 209354"/>
                  <a:gd name="connsiteX23" fmla="*/ 61594 w 1126518"/>
                  <a:gd name="connsiteY23" fmla="*/ 53093 h 209354"/>
                  <a:gd name="connsiteX24" fmla="*/ 7532 w 1126518"/>
                  <a:gd name="connsiteY24" fmla="*/ 80962 h 209354"/>
                  <a:gd name="connsiteX25" fmla="*/ 5566 w 1126518"/>
                  <a:gd name="connsiteY25" fmla="*/ 111074 h 209354"/>
                  <a:gd name="connsiteX0" fmla="*/ 5566 w 1126518"/>
                  <a:gd name="connsiteY0" fmla="*/ 111074 h 205690"/>
                  <a:gd name="connsiteX1" fmla="*/ 43236 w 1126518"/>
                  <a:gd name="connsiteY1" fmla="*/ 135301 h 205690"/>
                  <a:gd name="connsiteX2" fmla="*/ 124198 w 1126518"/>
                  <a:gd name="connsiteY2" fmla="*/ 160097 h 205690"/>
                  <a:gd name="connsiteX3" fmla="*/ 290056 w 1126518"/>
                  <a:gd name="connsiteY3" fmla="*/ 190362 h 205690"/>
                  <a:gd name="connsiteX4" fmla="*/ 438830 w 1126518"/>
                  <a:gd name="connsiteY4" fmla="*/ 202130 h 205690"/>
                  <a:gd name="connsiteX5" fmla="*/ 602845 w 1126518"/>
                  <a:gd name="connsiteY5" fmla="*/ 204787 h 205690"/>
                  <a:gd name="connsiteX6" fmla="*/ 621895 w 1126518"/>
                  <a:gd name="connsiteY6" fmla="*/ 200025 h 205690"/>
                  <a:gd name="connsiteX7" fmla="*/ 674282 w 1126518"/>
                  <a:gd name="connsiteY7" fmla="*/ 197644 h 205690"/>
                  <a:gd name="connsiteX8" fmla="*/ 795726 w 1126518"/>
                  <a:gd name="connsiteY8" fmla="*/ 188119 h 205690"/>
                  <a:gd name="connsiteX9" fmla="*/ 864782 w 1126518"/>
                  <a:gd name="connsiteY9" fmla="*/ 173831 h 205690"/>
                  <a:gd name="connsiteX10" fmla="*/ 938601 w 1126518"/>
                  <a:gd name="connsiteY10" fmla="*/ 169069 h 205690"/>
                  <a:gd name="connsiteX11" fmla="*/ 969557 w 1126518"/>
                  <a:gd name="connsiteY11" fmla="*/ 166687 h 205690"/>
                  <a:gd name="connsiteX12" fmla="*/ 1050520 w 1126518"/>
                  <a:gd name="connsiteY12" fmla="*/ 142875 h 205690"/>
                  <a:gd name="connsiteX13" fmla="*/ 1123632 w 1126518"/>
                  <a:gd name="connsiteY13" fmla="*/ 102808 h 205690"/>
                  <a:gd name="connsiteX14" fmla="*/ 1104873 w 1126518"/>
                  <a:gd name="connsiteY14" fmla="*/ 74387 h 205690"/>
                  <a:gd name="connsiteX15" fmla="*/ 1040303 w 1126518"/>
                  <a:gd name="connsiteY15" fmla="*/ 44275 h 205690"/>
                  <a:gd name="connsiteX16" fmla="*/ 939600 w 1126518"/>
                  <a:gd name="connsiteY16" fmla="*/ 25641 h 205690"/>
                  <a:gd name="connsiteX17" fmla="*/ 856517 w 1126518"/>
                  <a:gd name="connsiteY17" fmla="*/ 13873 h 205690"/>
                  <a:gd name="connsiteX18" fmla="*/ 781023 w 1126518"/>
                  <a:gd name="connsiteY18" fmla="*/ 3226 h 205690"/>
                  <a:gd name="connsiteX19" fmla="*/ 691658 w 1126518"/>
                  <a:gd name="connsiteY19" fmla="*/ 2105 h 205690"/>
                  <a:gd name="connsiteX20" fmla="*/ 557601 w 1126518"/>
                  <a:gd name="connsiteY20" fmla="*/ 0 h 205690"/>
                  <a:gd name="connsiteX21" fmla="*/ 346223 w 1126518"/>
                  <a:gd name="connsiteY21" fmla="*/ 4901 h 205690"/>
                  <a:gd name="connsiteX22" fmla="*/ 219755 w 1126518"/>
                  <a:gd name="connsiteY22" fmla="*/ 15547 h 205690"/>
                  <a:gd name="connsiteX23" fmla="*/ 61594 w 1126518"/>
                  <a:gd name="connsiteY23" fmla="*/ 53093 h 205690"/>
                  <a:gd name="connsiteX24" fmla="*/ 7532 w 1126518"/>
                  <a:gd name="connsiteY24" fmla="*/ 80962 h 205690"/>
                  <a:gd name="connsiteX25" fmla="*/ 5566 w 1126518"/>
                  <a:gd name="connsiteY25" fmla="*/ 111074 h 205690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864782 w 1126518"/>
                  <a:gd name="connsiteY8" fmla="*/ 173831 h 202601"/>
                  <a:gd name="connsiteX9" fmla="*/ 938601 w 1126518"/>
                  <a:gd name="connsiteY9" fmla="*/ 169069 h 202601"/>
                  <a:gd name="connsiteX10" fmla="*/ 969557 w 1126518"/>
                  <a:gd name="connsiteY10" fmla="*/ 166687 h 202601"/>
                  <a:gd name="connsiteX11" fmla="*/ 1050520 w 1126518"/>
                  <a:gd name="connsiteY11" fmla="*/ 142875 h 202601"/>
                  <a:gd name="connsiteX12" fmla="*/ 1123632 w 1126518"/>
                  <a:gd name="connsiteY12" fmla="*/ 102808 h 202601"/>
                  <a:gd name="connsiteX13" fmla="*/ 1104873 w 1126518"/>
                  <a:gd name="connsiteY13" fmla="*/ 74387 h 202601"/>
                  <a:gd name="connsiteX14" fmla="*/ 1040303 w 1126518"/>
                  <a:gd name="connsiteY14" fmla="*/ 44275 h 202601"/>
                  <a:gd name="connsiteX15" fmla="*/ 939600 w 1126518"/>
                  <a:gd name="connsiteY15" fmla="*/ 25641 h 202601"/>
                  <a:gd name="connsiteX16" fmla="*/ 856517 w 1126518"/>
                  <a:gd name="connsiteY16" fmla="*/ 13873 h 202601"/>
                  <a:gd name="connsiteX17" fmla="*/ 781023 w 1126518"/>
                  <a:gd name="connsiteY17" fmla="*/ 3226 h 202601"/>
                  <a:gd name="connsiteX18" fmla="*/ 691658 w 1126518"/>
                  <a:gd name="connsiteY18" fmla="*/ 2105 h 202601"/>
                  <a:gd name="connsiteX19" fmla="*/ 557601 w 1126518"/>
                  <a:gd name="connsiteY19" fmla="*/ 0 h 202601"/>
                  <a:gd name="connsiteX20" fmla="*/ 346223 w 1126518"/>
                  <a:gd name="connsiteY20" fmla="*/ 4901 h 202601"/>
                  <a:gd name="connsiteX21" fmla="*/ 219755 w 1126518"/>
                  <a:gd name="connsiteY21" fmla="*/ 15547 h 202601"/>
                  <a:gd name="connsiteX22" fmla="*/ 61594 w 1126518"/>
                  <a:gd name="connsiteY22" fmla="*/ 53093 h 202601"/>
                  <a:gd name="connsiteX23" fmla="*/ 7532 w 1126518"/>
                  <a:gd name="connsiteY23" fmla="*/ 80962 h 202601"/>
                  <a:gd name="connsiteX24" fmla="*/ 5566 w 1126518"/>
                  <a:gd name="connsiteY24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795726 w 1126518"/>
                  <a:gd name="connsiteY7" fmla="*/ 188119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38601 w 1126518"/>
                  <a:gd name="connsiteY8" fmla="*/ 169069 h 202601"/>
                  <a:gd name="connsiteX9" fmla="*/ 969557 w 1126518"/>
                  <a:gd name="connsiteY9" fmla="*/ 166687 h 202601"/>
                  <a:gd name="connsiteX10" fmla="*/ 1050520 w 1126518"/>
                  <a:gd name="connsiteY10" fmla="*/ 142875 h 202601"/>
                  <a:gd name="connsiteX11" fmla="*/ 1123632 w 1126518"/>
                  <a:gd name="connsiteY11" fmla="*/ 102808 h 202601"/>
                  <a:gd name="connsiteX12" fmla="*/ 1104873 w 1126518"/>
                  <a:gd name="connsiteY12" fmla="*/ 74387 h 202601"/>
                  <a:gd name="connsiteX13" fmla="*/ 1040303 w 1126518"/>
                  <a:gd name="connsiteY13" fmla="*/ 44275 h 202601"/>
                  <a:gd name="connsiteX14" fmla="*/ 939600 w 1126518"/>
                  <a:gd name="connsiteY14" fmla="*/ 25641 h 202601"/>
                  <a:gd name="connsiteX15" fmla="*/ 856517 w 1126518"/>
                  <a:gd name="connsiteY15" fmla="*/ 13873 h 202601"/>
                  <a:gd name="connsiteX16" fmla="*/ 781023 w 1126518"/>
                  <a:gd name="connsiteY16" fmla="*/ 3226 h 202601"/>
                  <a:gd name="connsiteX17" fmla="*/ 691658 w 1126518"/>
                  <a:gd name="connsiteY17" fmla="*/ 2105 h 202601"/>
                  <a:gd name="connsiteX18" fmla="*/ 557601 w 1126518"/>
                  <a:gd name="connsiteY18" fmla="*/ 0 h 202601"/>
                  <a:gd name="connsiteX19" fmla="*/ 346223 w 1126518"/>
                  <a:gd name="connsiteY19" fmla="*/ 4901 h 202601"/>
                  <a:gd name="connsiteX20" fmla="*/ 219755 w 1126518"/>
                  <a:gd name="connsiteY20" fmla="*/ 15547 h 202601"/>
                  <a:gd name="connsiteX21" fmla="*/ 61594 w 1126518"/>
                  <a:gd name="connsiteY21" fmla="*/ 53093 h 202601"/>
                  <a:gd name="connsiteX22" fmla="*/ 7532 w 1126518"/>
                  <a:gd name="connsiteY22" fmla="*/ 80962 h 202601"/>
                  <a:gd name="connsiteX23" fmla="*/ 5566 w 1126518"/>
                  <a:gd name="connsiteY23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08324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5883 w 1126518"/>
                  <a:gd name="connsiteY7" fmla="*/ 18811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17143 w 1126518"/>
                  <a:gd name="connsiteY7" fmla="*/ 191898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6518"/>
                  <a:gd name="connsiteY0" fmla="*/ 111074 h 202601"/>
                  <a:gd name="connsiteX1" fmla="*/ 43236 w 1126518"/>
                  <a:gd name="connsiteY1" fmla="*/ 135301 h 202601"/>
                  <a:gd name="connsiteX2" fmla="*/ 124198 w 1126518"/>
                  <a:gd name="connsiteY2" fmla="*/ 160097 h 202601"/>
                  <a:gd name="connsiteX3" fmla="*/ 290056 w 1126518"/>
                  <a:gd name="connsiteY3" fmla="*/ 190362 h 202601"/>
                  <a:gd name="connsiteX4" fmla="*/ 438830 w 1126518"/>
                  <a:gd name="connsiteY4" fmla="*/ 202130 h 202601"/>
                  <a:gd name="connsiteX5" fmla="*/ 621895 w 1126518"/>
                  <a:gd name="connsiteY5" fmla="*/ 200025 h 202601"/>
                  <a:gd name="connsiteX6" fmla="*/ 674282 w 1126518"/>
                  <a:gd name="connsiteY6" fmla="*/ 197644 h 202601"/>
                  <a:gd name="connsiteX7" fmla="*/ 829741 w 1126518"/>
                  <a:gd name="connsiteY7" fmla="*/ 186859 h 202601"/>
                  <a:gd name="connsiteX8" fmla="*/ 969557 w 1126518"/>
                  <a:gd name="connsiteY8" fmla="*/ 166687 h 202601"/>
                  <a:gd name="connsiteX9" fmla="*/ 1050520 w 1126518"/>
                  <a:gd name="connsiteY9" fmla="*/ 142875 h 202601"/>
                  <a:gd name="connsiteX10" fmla="*/ 1123632 w 1126518"/>
                  <a:gd name="connsiteY10" fmla="*/ 102808 h 202601"/>
                  <a:gd name="connsiteX11" fmla="*/ 1104873 w 1126518"/>
                  <a:gd name="connsiteY11" fmla="*/ 74387 h 202601"/>
                  <a:gd name="connsiteX12" fmla="*/ 1040303 w 1126518"/>
                  <a:gd name="connsiteY12" fmla="*/ 44275 h 202601"/>
                  <a:gd name="connsiteX13" fmla="*/ 939600 w 1126518"/>
                  <a:gd name="connsiteY13" fmla="*/ 25641 h 202601"/>
                  <a:gd name="connsiteX14" fmla="*/ 856517 w 1126518"/>
                  <a:gd name="connsiteY14" fmla="*/ 13873 h 202601"/>
                  <a:gd name="connsiteX15" fmla="*/ 781023 w 1126518"/>
                  <a:gd name="connsiteY15" fmla="*/ 3226 h 202601"/>
                  <a:gd name="connsiteX16" fmla="*/ 691658 w 1126518"/>
                  <a:gd name="connsiteY16" fmla="*/ 2105 h 202601"/>
                  <a:gd name="connsiteX17" fmla="*/ 557601 w 1126518"/>
                  <a:gd name="connsiteY17" fmla="*/ 0 h 202601"/>
                  <a:gd name="connsiteX18" fmla="*/ 346223 w 1126518"/>
                  <a:gd name="connsiteY18" fmla="*/ 4901 h 202601"/>
                  <a:gd name="connsiteX19" fmla="*/ 219755 w 1126518"/>
                  <a:gd name="connsiteY19" fmla="*/ 15547 h 202601"/>
                  <a:gd name="connsiteX20" fmla="*/ 61594 w 1126518"/>
                  <a:gd name="connsiteY20" fmla="*/ 53093 h 202601"/>
                  <a:gd name="connsiteX21" fmla="*/ 7532 w 1126518"/>
                  <a:gd name="connsiteY21" fmla="*/ 80962 h 202601"/>
                  <a:gd name="connsiteX22" fmla="*/ 5566 w 112651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939600 w 1125768"/>
                  <a:gd name="connsiteY13" fmla="*/ 25641 h 202601"/>
                  <a:gd name="connsiteX14" fmla="*/ 856517 w 1125768"/>
                  <a:gd name="connsiteY14" fmla="*/ 13873 h 202601"/>
                  <a:gd name="connsiteX15" fmla="*/ 781023 w 1125768"/>
                  <a:gd name="connsiteY15" fmla="*/ 3226 h 202601"/>
                  <a:gd name="connsiteX16" fmla="*/ 691658 w 1125768"/>
                  <a:gd name="connsiteY16" fmla="*/ 2105 h 202601"/>
                  <a:gd name="connsiteX17" fmla="*/ 557601 w 1125768"/>
                  <a:gd name="connsiteY17" fmla="*/ 0 h 202601"/>
                  <a:gd name="connsiteX18" fmla="*/ 346223 w 1125768"/>
                  <a:gd name="connsiteY18" fmla="*/ 4901 h 202601"/>
                  <a:gd name="connsiteX19" fmla="*/ 219755 w 1125768"/>
                  <a:gd name="connsiteY19" fmla="*/ 15547 h 202601"/>
                  <a:gd name="connsiteX20" fmla="*/ 61594 w 1125768"/>
                  <a:gd name="connsiteY20" fmla="*/ 53093 h 202601"/>
                  <a:gd name="connsiteX21" fmla="*/ 7532 w 1125768"/>
                  <a:gd name="connsiteY21" fmla="*/ 80962 h 202601"/>
                  <a:gd name="connsiteX22" fmla="*/ 5566 w 1125768"/>
                  <a:gd name="connsiteY22" fmla="*/ 111074 h 202601"/>
                  <a:gd name="connsiteX0" fmla="*/ 5566 w 1125768"/>
                  <a:gd name="connsiteY0" fmla="*/ 111074 h 202601"/>
                  <a:gd name="connsiteX1" fmla="*/ 43236 w 1125768"/>
                  <a:gd name="connsiteY1" fmla="*/ 135301 h 202601"/>
                  <a:gd name="connsiteX2" fmla="*/ 124198 w 1125768"/>
                  <a:gd name="connsiteY2" fmla="*/ 160097 h 202601"/>
                  <a:gd name="connsiteX3" fmla="*/ 290056 w 1125768"/>
                  <a:gd name="connsiteY3" fmla="*/ 190362 h 202601"/>
                  <a:gd name="connsiteX4" fmla="*/ 438830 w 1125768"/>
                  <a:gd name="connsiteY4" fmla="*/ 202130 h 202601"/>
                  <a:gd name="connsiteX5" fmla="*/ 621895 w 1125768"/>
                  <a:gd name="connsiteY5" fmla="*/ 200025 h 202601"/>
                  <a:gd name="connsiteX6" fmla="*/ 674282 w 1125768"/>
                  <a:gd name="connsiteY6" fmla="*/ 197644 h 202601"/>
                  <a:gd name="connsiteX7" fmla="*/ 829741 w 1125768"/>
                  <a:gd name="connsiteY7" fmla="*/ 186859 h 202601"/>
                  <a:gd name="connsiteX8" fmla="*/ 969557 w 1125768"/>
                  <a:gd name="connsiteY8" fmla="*/ 166687 h 202601"/>
                  <a:gd name="connsiteX9" fmla="*/ 1061858 w 1125768"/>
                  <a:gd name="connsiteY9" fmla="*/ 144135 h 202601"/>
                  <a:gd name="connsiteX10" fmla="*/ 1123632 w 1125768"/>
                  <a:gd name="connsiteY10" fmla="*/ 102808 h 202601"/>
                  <a:gd name="connsiteX11" fmla="*/ 1104873 w 1125768"/>
                  <a:gd name="connsiteY11" fmla="*/ 74387 h 202601"/>
                  <a:gd name="connsiteX12" fmla="*/ 1040303 w 1125768"/>
                  <a:gd name="connsiteY12" fmla="*/ 44275 h 202601"/>
                  <a:gd name="connsiteX13" fmla="*/ 856517 w 1125768"/>
                  <a:gd name="connsiteY13" fmla="*/ 13873 h 202601"/>
                  <a:gd name="connsiteX14" fmla="*/ 781023 w 1125768"/>
                  <a:gd name="connsiteY14" fmla="*/ 3226 h 202601"/>
                  <a:gd name="connsiteX15" fmla="*/ 691658 w 1125768"/>
                  <a:gd name="connsiteY15" fmla="*/ 2105 h 202601"/>
                  <a:gd name="connsiteX16" fmla="*/ 557601 w 1125768"/>
                  <a:gd name="connsiteY16" fmla="*/ 0 h 202601"/>
                  <a:gd name="connsiteX17" fmla="*/ 346223 w 1125768"/>
                  <a:gd name="connsiteY17" fmla="*/ 4901 h 202601"/>
                  <a:gd name="connsiteX18" fmla="*/ 219755 w 1125768"/>
                  <a:gd name="connsiteY18" fmla="*/ 15547 h 202601"/>
                  <a:gd name="connsiteX19" fmla="*/ 61594 w 1125768"/>
                  <a:gd name="connsiteY19" fmla="*/ 53093 h 202601"/>
                  <a:gd name="connsiteX20" fmla="*/ 7532 w 1125768"/>
                  <a:gd name="connsiteY20" fmla="*/ 80962 h 202601"/>
                  <a:gd name="connsiteX21" fmla="*/ 5566 w 112576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56517 w 1125998"/>
                  <a:gd name="connsiteY13" fmla="*/ 1387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5566 w 1125998"/>
                  <a:gd name="connsiteY0" fmla="*/ 111074 h 202601"/>
                  <a:gd name="connsiteX1" fmla="*/ 43236 w 1125998"/>
                  <a:gd name="connsiteY1" fmla="*/ 135301 h 202601"/>
                  <a:gd name="connsiteX2" fmla="*/ 124198 w 1125998"/>
                  <a:gd name="connsiteY2" fmla="*/ 160097 h 202601"/>
                  <a:gd name="connsiteX3" fmla="*/ 290056 w 1125998"/>
                  <a:gd name="connsiteY3" fmla="*/ 190362 h 202601"/>
                  <a:gd name="connsiteX4" fmla="*/ 438830 w 1125998"/>
                  <a:gd name="connsiteY4" fmla="*/ 202130 h 202601"/>
                  <a:gd name="connsiteX5" fmla="*/ 621895 w 1125998"/>
                  <a:gd name="connsiteY5" fmla="*/ 200025 h 202601"/>
                  <a:gd name="connsiteX6" fmla="*/ 674282 w 1125998"/>
                  <a:gd name="connsiteY6" fmla="*/ 197644 h 202601"/>
                  <a:gd name="connsiteX7" fmla="*/ 829741 w 1125998"/>
                  <a:gd name="connsiteY7" fmla="*/ 186859 h 202601"/>
                  <a:gd name="connsiteX8" fmla="*/ 969557 w 1125998"/>
                  <a:gd name="connsiteY8" fmla="*/ 166687 h 202601"/>
                  <a:gd name="connsiteX9" fmla="*/ 1061858 w 1125998"/>
                  <a:gd name="connsiteY9" fmla="*/ 144135 h 202601"/>
                  <a:gd name="connsiteX10" fmla="*/ 1123632 w 1125998"/>
                  <a:gd name="connsiteY10" fmla="*/ 102808 h 202601"/>
                  <a:gd name="connsiteX11" fmla="*/ 1104873 w 1125998"/>
                  <a:gd name="connsiteY11" fmla="*/ 74387 h 202601"/>
                  <a:gd name="connsiteX12" fmla="*/ 1027705 w 1125998"/>
                  <a:gd name="connsiteY12" fmla="*/ 40496 h 202601"/>
                  <a:gd name="connsiteX13" fmla="*/ 880453 w 1125998"/>
                  <a:gd name="connsiteY13" fmla="*/ 12613 h 202601"/>
                  <a:gd name="connsiteX14" fmla="*/ 781023 w 1125998"/>
                  <a:gd name="connsiteY14" fmla="*/ 3226 h 202601"/>
                  <a:gd name="connsiteX15" fmla="*/ 691658 w 1125998"/>
                  <a:gd name="connsiteY15" fmla="*/ 2105 h 202601"/>
                  <a:gd name="connsiteX16" fmla="*/ 557601 w 1125998"/>
                  <a:gd name="connsiteY16" fmla="*/ 0 h 202601"/>
                  <a:gd name="connsiteX17" fmla="*/ 346223 w 1125998"/>
                  <a:gd name="connsiteY17" fmla="*/ 4901 h 202601"/>
                  <a:gd name="connsiteX18" fmla="*/ 219755 w 1125998"/>
                  <a:gd name="connsiteY18" fmla="*/ 15547 h 202601"/>
                  <a:gd name="connsiteX19" fmla="*/ 61594 w 1125998"/>
                  <a:gd name="connsiteY19" fmla="*/ 53093 h 202601"/>
                  <a:gd name="connsiteX20" fmla="*/ 7532 w 1125998"/>
                  <a:gd name="connsiteY20" fmla="*/ 80962 h 202601"/>
                  <a:gd name="connsiteX21" fmla="*/ 5566 w 1125998"/>
                  <a:gd name="connsiteY21" fmla="*/ 111074 h 202601"/>
                  <a:gd name="connsiteX0" fmla="*/ 4635 w 1125067"/>
                  <a:gd name="connsiteY0" fmla="*/ 111074 h 202601"/>
                  <a:gd name="connsiteX1" fmla="*/ 67500 w 1125067"/>
                  <a:gd name="connsiteY1" fmla="*/ 145379 h 202601"/>
                  <a:gd name="connsiteX2" fmla="*/ 123267 w 1125067"/>
                  <a:gd name="connsiteY2" fmla="*/ 160097 h 202601"/>
                  <a:gd name="connsiteX3" fmla="*/ 289125 w 1125067"/>
                  <a:gd name="connsiteY3" fmla="*/ 190362 h 202601"/>
                  <a:gd name="connsiteX4" fmla="*/ 437899 w 1125067"/>
                  <a:gd name="connsiteY4" fmla="*/ 202130 h 202601"/>
                  <a:gd name="connsiteX5" fmla="*/ 620964 w 1125067"/>
                  <a:gd name="connsiteY5" fmla="*/ 200025 h 202601"/>
                  <a:gd name="connsiteX6" fmla="*/ 673351 w 1125067"/>
                  <a:gd name="connsiteY6" fmla="*/ 197644 h 202601"/>
                  <a:gd name="connsiteX7" fmla="*/ 828810 w 1125067"/>
                  <a:gd name="connsiteY7" fmla="*/ 186859 h 202601"/>
                  <a:gd name="connsiteX8" fmla="*/ 968626 w 1125067"/>
                  <a:gd name="connsiteY8" fmla="*/ 166687 h 202601"/>
                  <a:gd name="connsiteX9" fmla="*/ 1060927 w 1125067"/>
                  <a:gd name="connsiteY9" fmla="*/ 144135 h 202601"/>
                  <a:gd name="connsiteX10" fmla="*/ 1122701 w 1125067"/>
                  <a:gd name="connsiteY10" fmla="*/ 102808 h 202601"/>
                  <a:gd name="connsiteX11" fmla="*/ 1103942 w 1125067"/>
                  <a:gd name="connsiteY11" fmla="*/ 74387 h 202601"/>
                  <a:gd name="connsiteX12" fmla="*/ 1026774 w 1125067"/>
                  <a:gd name="connsiteY12" fmla="*/ 40496 h 202601"/>
                  <a:gd name="connsiteX13" fmla="*/ 879522 w 1125067"/>
                  <a:gd name="connsiteY13" fmla="*/ 12613 h 202601"/>
                  <a:gd name="connsiteX14" fmla="*/ 780092 w 1125067"/>
                  <a:gd name="connsiteY14" fmla="*/ 3226 h 202601"/>
                  <a:gd name="connsiteX15" fmla="*/ 690727 w 1125067"/>
                  <a:gd name="connsiteY15" fmla="*/ 2105 h 202601"/>
                  <a:gd name="connsiteX16" fmla="*/ 556670 w 1125067"/>
                  <a:gd name="connsiteY16" fmla="*/ 0 h 202601"/>
                  <a:gd name="connsiteX17" fmla="*/ 345292 w 1125067"/>
                  <a:gd name="connsiteY17" fmla="*/ 4901 h 202601"/>
                  <a:gd name="connsiteX18" fmla="*/ 218824 w 1125067"/>
                  <a:gd name="connsiteY18" fmla="*/ 15547 h 202601"/>
                  <a:gd name="connsiteX19" fmla="*/ 60663 w 1125067"/>
                  <a:gd name="connsiteY19" fmla="*/ 53093 h 202601"/>
                  <a:gd name="connsiteX20" fmla="*/ 6601 w 1125067"/>
                  <a:gd name="connsiteY20" fmla="*/ 80962 h 202601"/>
                  <a:gd name="connsiteX21" fmla="*/ 4635 w 1125067"/>
                  <a:gd name="connsiteY21" fmla="*/ 111074 h 202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25067" h="202601">
                    <a:moveTo>
                      <a:pt x="4635" y="111074"/>
                    </a:moveTo>
                    <a:cubicBezTo>
                      <a:pt x="14785" y="121810"/>
                      <a:pt x="47288" y="138367"/>
                      <a:pt x="67500" y="145379"/>
                    </a:cubicBezTo>
                    <a:cubicBezTo>
                      <a:pt x="91051" y="153549"/>
                      <a:pt x="86330" y="152600"/>
                      <a:pt x="123267" y="160097"/>
                    </a:cubicBezTo>
                    <a:cubicBezTo>
                      <a:pt x="160204" y="167594"/>
                      <a:pt x="236686" y="183356"/>
                      <a:pt x="289125" y="190362"/>
                    </a:cubicBezTo>
                    <a:cubicBezTo>
                      <a:pt x="341564" y="197368"/>
                      <a:pt x="388308" y="198207"/>
                      <a:pt x="437899" y="202130"/>
                    </a:cubicBezTo>
                    <a:cubicBezTo>
                      <a:pt x="493205" y="203740"/>
                      <a:pt x="581722" y="200773"/>
                      <a:pt x="620964" y="200025"/>
                    </a:cubicBezTo>
                    <a:cubicBezTo>
                      <a:pt x="660206" y="199277"/>
                      <a:pt x="655889" y="198438"/>
                      <a:pt x="673351" y="197644"/>
                    </a:cubicBezTo>
                    <a:cubicBezTo>
                      <a:pt x="718032" y="195729"/>
                      <a:pt x="770272" y="192553"/>
                      <a:pt x="828810" y="186859"/>
                    </a:cubicBezTo>
                    <a:cubicBezTo>
                      <a:pt x="887348" y="181165"/>
                      <a:pt x="928260" y="174858"/>
                      <a:pt x="968626" y="166687"/>
                    </a:cubicBezTo>
                    <a:cubicBezTo>
                      <a:pt x="1008992" y="158517"/>
                      <a:pt x="1035248" y="154782"/>
                      <a:pt x="1060927" y="144135"/>
                    </a:cubicBezTo>
                    <a:cubicBezTo>
                      <a:pt x="1086606" y="133489"/>
                      <a:pt x="1115532" y="114433"/>
                      <a:pt x="1122701" y="102808"/>
                    </a:cubicBezTo>
                    <a:cubicBezTo>
                      <a:pt x="1129870" y="91183"/>
                      <a:pt x="1119930" y="84772"/>
                      <a:pt x="1103942" y="74387"/>
                    </a:cubicBezTo>
                    <a:cubicBezTo>
                      <a:pt x="1087954" y="64002"/>
                      <a:pt x="1064177" y="50792"/>
                      <a:pt x="1026774" y="40496"/>
                    </a:cubicBezTo>
                    <a:cubicBezTo>
                      <a:pt x="989371" y="30200"/>
                      <a:pt x="922735" y="19454"/>
                      <a:pt x="879522" y="12613"/>
                    </a:cubicBezTo>
                    <a:cubicBezTo>
                      <a:pt x="836309" y="5772"/>
                      <a:pt x="811558" y="4977"/>
                      <a:pt x="780092" y="3226"/>
                    </a:cubicBezTo>
                    <a:cubicBezTo>
                      <a:pt x="748626" y="1475"/>
                      <a:pt x="727964" y="2643"/>
                      <a:pt x="690727" y="2105"/>
                    </a:cubicBezTo>
                    <a:cubicBezTo>
                      <a:pt x="653490" y="1567"/>
                      <a:pt x="604294" y="2506"/>
                      <a:pt x="556670" y="0"/>
                    </a:cubicBezTo>
                    <a:cubicBezTo>
                      <a:pt x="482851" y="794"/>
                      <a:pt x="401600" y="2310"/>
                      <a:pt x="345292" y="4901"/>
                    </a:cubicBezTo>
                    <a:cubicBezTo>
                      <a:pt x="288984" y="7492"/>
                      <a:pt x="271091" y="6885"/>
                      <a:pt x="218824" y="15547"/>
                    </a:cubicBezTo>
                    <a:cubicBezTo>
                      <a:pt x="183105" y="23881"/>
                      <a:pt x="101072" y="33372"/>
                      <a:pt x="60663" y="53093"/>
                    </a:cubicBezTo>
                    <a:cubicBezTo>
                      <a:pt x="27401" y="69326"/>
                      <a:pt x="15729" y="73818"/>
                      <a:pt x="6601" y="80962"/>
                    </a:cubicBezTo>
                    <a:cubicBezTo>
                      <a:pt x="3756" y="86654"/>
                      <a:pt x="-5515" y="100338"/>
                      <a:pt x="4635" y="111074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1038" name="Freeform: Shape 1037">
                <a:extLst>
                  <a:ext uri="{FF2B5EF4-FFF2-40B4-BE49-F238E27FC236}">
                    <a16:creationId xmlns:a16="http://schemas.microsoft.com/office/drawing/2014/main" id="{82A46FFA-FCBA-2A7D-7074-8F3C2F7CEB14}"/>
                  </a:ext>
                </a:extLst>
              </p:cNvPr>
              <p:cNvSpPr/>
              <p:nvPr/>
            </p:nvSpPr>
            <p:spPr>
              <a:xfrm>
                <a:off x="3395346" y="2639947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1039" name="Freeform: Shape 1038">
                <a:extLst>
                  <a:ext uri="{FF2B5EF4-FFF2-40B4-BE49-F238E27FC236}">
                    <a16:creationId xmlns:a16="http://schemas.microsoft.com/office/drawing/2014/main" id="{FCD6BE69-F320-0473-1960-5C6C5BF8524B}"/>
                  </a:ext>
                </a:extLst>
              </p:cNvPr>
              <p:cNvSpPr/>
              <p:nvPr/>
            </p:nvSpPr>
            <p:spPr>
              <a:xfrm>
                <a:off x="3395346" y="3242409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  <p:sp>
            <p:nvSpPr>
              <p:cNvPr id="1040" name="Freeform: Shape 1039">
                <a:extLst>
                  <a:ext uri="{FF2B5EF4-FFF2-40B4-BE49-F238E27FC236}">
                    <a16:creationId xmlns:a16="http://schemas.microsoft.com/office/drawing/2014/main" id="{CDB9F9FA-71B3-9ECD-E68D-08B7C263185A}"/>
                  </a:ext>
                </a:extLst>
              </p:cNvPr>
              <p:cNvSpPr/>
              <p:nvPr/>
            </p:nvSpPr>
            <p:spPr>
              <a:xfrm>
                <a:off x="3395346" y="2041850"/>
                <a:ext cx="1633885" cy="727612"/>
              </a:xfrm>
              <a:custGeom>
                <a:avLst/>
                <a:gdLst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71725 w 2864542"/>
                  <a:gd name="connsiteY83" fmla="*/ 144349 h 1280999"/>
                  <a:gd name="connsiteX84" fmla="*/ 2330450 w 2864542"/>
                  <a:gd name="connsiteY84" fmla="*/ 157049 h 1280999"/>
                  <a:gd name="connsiteX85" fmla="*/ 2289175 w 2864542"/>
                  <a:gd name="connsiteY85" fmla="*/ 166574 h 1280999"/>
                  <a:gd name="connsiteX86" fmla="*/ 2276475 w 2864542"/>
                  <a:gd name="connsiteY86" fmla="*/ 169749 h 1280999"/>
                  <a:gd name="connsiteX87" fmla="*/ 2254250 w 2864542"/>
                  <a:gd name="connsiteY87" fmla="*/ 176099 h 1280999"/>
                  <a:gd name="connsiteX88" fmla="*/ 2228850 w 2864542"/>
                  <a:gd name="connsiteY88" fmla="*/ 179274 h 1280999"/>
                  <a:gd name="connsiteX89" fmla="*/ 2184400 w 2864542"/>
                  <a:gd name="connsiteY89" fmla="*/ 188799 h 1280999"/>
                  <a:gd name="connsiteX90" fmla="*/ 2159000 w 2864542"/>
                  <a:gd name="connsiteY90" fmla="*/ 195149 h 1280999"/>
                  <a:gd name="connsiteX91" fmla="*/ 1965325 w 2864542"/>
                  <a:gd name="connsiteY91" fmla="*/ 204674 h 1280999"/>
                  <a:gd name="connsiteX92" fmla="*/ 1914525 w 2864542"/>
                  <a:gd name="connsiteY92" fmla="*/ 211024 h 1280999"/>
                  <a:gd name="connsiteX93" fmla="*/ 1803400 w 2864542"/>
                  <a:gd name="connsiteY93" fmla="*/ 226899 h 1280999"/>
                  <a:gd name="connsiteX94" fmla="*/ 1736725 w 2864542"/>
                  <a:gd name="connsiteY94" fmla="*/ 230074 h 1280999"/>
                  <a:gd name="connsiteX95" fmla="*/ 1682750 w 2864542"/>
                  <a:gd name="connsiteY95" fmla="*/ 233249 h 1280999"/>
                  <a:gd name="connsiteX96" fmla="*/ 1155700 w 2864542"/>
                  <a:gd name="connsiteY96" fmla="*/ 230074 h 1280999"/>
                  <a:gd name="connsiteX97" fmla="*/ 1082675 w 2864542"/>
                  <a:gd name="connsiteY97" fmla="*/ 220549 h 1280999"/>
                  <a:gd name="connsiteX98" fmla="*/ 1016000 w 2864542"/>
                  <a:gd name="connsiteY98" fmla="*/ 214199 h 1280999"/>
                  <a:gd name="connsiteX99" fmla="*/ 949325 w 2864542"/>
                  <a:gd name="connsiteY99" fmla="*/ 201499 h 1280999"/>
                  <a:gd name="connsiteX100" fmla="*/ 927100 w 2864542"/>
                  <a:gd name="connsiteY100" fmla="*/ 198324 h 1280999"/>
                  <a:gd name="connsiteX101" fmla="*/ 908050 w 2864542"/>
                  <a:gd name="connsiteY101" fmla="*/ 195149 h 1280999"/>
                  <a:gd name="connsiteX102" fmla="*/ 860425 w 2864542"/>
                  <a:gd name="connsiteY102" fmla="*/ 191974 h 1280999"/>
                  <a:gd name="connsiteX103" fmla="*/ 698500 w 2864542"/>
                  <a:gd name="connsiteY103" fmla="*/ 182449 h 1280999"/>
                  <a:gd name="connsiteX104" fmla="*/ 603250 w 2864542"/>
                  <a:gd name="connsiteY104" fmla="*/ 169749 h 1280999"/>
                  <a:gd name="connsiteX105" fmla="*/ 552450 w 2864542"/>
                  <a:gd name="connsiteY105" fmla="*/ 163399 h 1280999"/>
                  <a:gd name="connsiteX106" fmla="*/ 527050 w 2864542"/>
                  <a:gd name="connsiteY106" fmla="*/ 160224 h 1280999"/>
                  <a:gd name="connsiteX107" fmla="*/ 501650 w 2864542"/>
                  <a:gd name="connsiteY107" fmla="*/ 153874 h 1280999"/>
                  <a:gd name="connsiteX108" fmla="*/ 412750 w 2864542"/>
                  <a:gd name="connsiteY108" fmla="*/ 150699 h 1280999"/>
                  <a:gd name="connsiteX109" fmla="*/ 352425 w 2864542"/>
                  <a:gd name="connsiteY109" fmla="*/ 141174 h 1280999"/>
                  <a:gd name="connsiteX110" fmla="*/ 320675 w 2864542"/>
                  <a:gd name="connsiteY110" fmla="*/ 128474 h 1280999"/>
                  <a:gd name="connsiteX111" fmla="*/ 295275 w 2864542"/>
                  <a:gd name="connsiteY111" fmla="*/ 122124 h 1280999"/>
                  <a:gd name="connsiteX112" fmla="*/ 276225 w 2864542"/>
                  <a:gd name="connsiteY112" fmla="*/ 112599 h 1280999"/>
                  <a:gd name="connsiteX113" fmla="*/ 250825 w 2864542"/>
                  <a:gd name="connsiteY113" fmla="*/ 103074 h 1280999"/>
                  <a:gd name="connsiteX114" fmla="*/ 231775 w 2864542"/>
                  <a:gd name="connsiteY114" fmla="*/ 96724 h 1280999"/>
                  <a:gd name="connsiteX115" fmla="*/ 200025 w 2864542"/>
                  <a:gd name="connsiteY115" fmla="*/ 80849 h 1280999"/>
                  <a:gd name="connsiteX116" fmla="*/ 174625 w 2864542"/>
                  <a:gd name="connsiteY116" fmla="*/ 74499 h 1280999"/>
                  <a:gd name="connsiteX117" fmla="*/ 127000 w 2864542"/>
                  <a:gd name="connsiteY117" fmla="*/ 58624 h 1280999"/>
                  <a:gd name="connsiteX118" fmla="*/ 57150 w 2864542"/>
                  <a:gd name="connsiteY118" fmla="*/ 42749 h 1280999"/>
                  <a:gd name="connsiteX119" fmla="*/ 15875 w 2864542"/>
                  <a:gd name="connsiteY119" fmla="*/ 23699 h 1280999"/>
                  <a:gd name="connsiteX120" fmla="*/ 15875 w 2864542"/>
                  <a:gd name="connsiteY12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736725 w 2864542"/>
                  <a:gd name="connsiteY93" fmla="*/ 230074 h 1280999"/>
                  <a:gd name="connsiteX94" fmla="*/ 1682750 w 2864542"/>
                  <a:gd name="connsiteY94" fmla="*/ 233249 h 1280999"/>
                  <a:gd name="connsiteX95" fmla="*/ 1155700 w 2864542"/>
                  <a:gd name="connsiteY95" fmla="*/ 230074 h 1280999"/>
                  <a:gd name="connsiteX96" fmla="*/ 1082675 w 2864542"/>
                  <a:gd name="connsiteY96" fmla="*/ 220549 h 1280999"/>
                  <a:gd name="connsiteX97" fmla="*/ 1016000 w 2864542"/>
                  <a:gd name="connsiteY97" fmla="*/ 214199 h 1280999"/>
                  <a:gd name="connsiteX98" fmla="*/ 949325 w 2864542"/>
                  <a:gd name="connsiteY98" fmla="*/ 201499 h 1280999"/>
                  <a:gd name="connsiteX99" fmla="*/ 927100 w 2864542"/>
                  <a:gd name="connsiteY99" fmla="*/ 198324 h 1280999"/>
                  <a:gd name="connsiteX100" fmla="*/ 908050 w 2864542"/>
                  <a:gd name="connsiteY100" fmla="*/ 195149 h 1280999"/>
                  <a:gd name="connsiteX101" fmla="*/ 860425 w 2864542"/>
                  <a:gd name="connsiteY101" fmla="*/ 191974 h 1280999"/>
                  <a:gd name="connsiteX102" fmla="*/ 698500 w 2864542"/>
                  <a:gd name="connsiteY102" fmla="*/ 182449 h 1280999"/>
                  <a:gd name="connsiteX103" fmla="*/ 603250 w 2864542"/>
                  <a:gd name="connsiteY103" fmla="*/ 169749 h 1280999"/>
                  <a:gd name="connsiteX104" fmla="*/ 552450 w 2864542"/>
                  <a:gd name="connsiteY104" fmla="*/ 163399 h 1280999"/>
                  <a:gd name="connsiteX105" fmla="*/ 527050 w 2864542"/>
                  <a:gd name="connsiteY105" fmla="*/ 160224 h 1280999"/>
                  <a:gd name="connsiteX106" fmla="*/ 501650 w 2864542"/>
                  <a:gd name="connsiteY106" fmla="*/ 153874 h 1280999"/>
                  <a:gd name="connsiteX107" fmla="*/ 412750 w 2864542"/>
                  <a:gd name="connsiteY107" fmla="*/ 150699 h 1280999"/>
                  <a:gd name="connsiteX108" fmla="*/ 352425 w 2864542"/>
                  <a:gd name="connsiteY108" fmla="*/ 141174 h 1280999"/>
                  <a:gd name="connsiteX109" fmla="*/ 320675 w 2864542"/>
                  <a:gd name="connsiteY109" fmla="*/ 128474 h 1280999"/>
                  <a:gd name="connsiteX110" fmla="*/ 295275 w 2864542"/>
                  <a:gd name="connsiteY110" fmla="*/ 122124 h 1280999"/>
                  <a:gd name="connsiteX111" fmla="*/ 276225 w 2864542"/>
                  <a:gd name="connsiteY111" fmla="*/ 112599 h 1280999"/>
                  <a:gd name="connsiteX112" fmla="*/ 250825 w 2864542"/>
                  <a:gd name="connsiteY112" fmla="*/ 103074 h 1280999"/>
                  <a:gd name="connsiteX113" fmla="*/ 231775 w 2864542"/>
                  <a:gd name="connsiteY113" fmla="*/ 96724 h 1280999"/>
                  <a:gd name="connsiteX114" fmla="*/ 200025 w 2864542"/>
                  <a:gd name="connsiteY114" fmla="*/ 80849 h 1280999"/>
                  <a:gd name="connsiteX115" fmla="*/ 174625 w 2864542"/>
                  <a:gd name="connsiteY115" fmla="*/ 74499 h 1280999"/>
                  <a:gd name="connsiteX116" fmla="*/ 127000 w 2864542"/>
                  <a:gd name="connsiteY116" fmla="*/ 58624 h 1280999"/>
                  <a:gd name="connsiteX117" fmla="*/ 57150 w 2864542"/>
                  <a:gd name="connsiteY117" fmla="*/ 42749 h 1280999"/>
                  <a:gd name="connsiteX118" fmla="*/ 15875 w 2864542"/>
                  <a:gd name="connsiteY118" fmla="*/ 23699 h 1280999"/>
                  <a:gd name="connsiteX119" fmla="*/ 15875 w 2864542"/>
                  <a:gd name="connsiteY11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803400 w 2864542"/>
                  <a:gd name="connsiteY92" fmla="*/ 226899 h 1280999"/>
                  <a:gd name="connsiteX93" fmla="*/ 1682750 w 2864542"/>
                  <a:gd name="connsiteY93" fmla="*/ 233249 h 1280999"/>
                  <a:gd name="connsiteX94" fmla="*/ 1155700 w 2864542"/>
                  <a:gd name="connsiteY94" fmla="*/ 230074 h 1280999"/>
                  <a:gd name="connsiteX95" fmla="*/ 1082675 w 2864542"/>
                  <a:gd name="connsiteY95" fmla="*/ 220549 h 1280999"/>
                  <a:gd name="connsiteX96" fmla="*/ 1016000 w 2864542"/>
                  <a:gd name="connsiteY96" fmla="*/ 214199 h 1280999"/>
                  <a:gd name="connsiteX97" fmla="*/ 949325 w 2864542"/>
                  <a:gd name="connsiteY97" fmla="*/ 201499 h 1280999"/>
                  <a:gd name="connsiteX98" fmla="*/ 927100 w 2864542"/>
                  <a:gd name="connsiteY98" fmla="*/ 198324 h 1280999"/>
                  <a:gd name="connsiteX99" fmla="*/ 908050 w 2864542"/>
                  <a:gd name="connsiteY99" fmla="*/ 195149 h 1280999"/>
                  <a:gd name="connsiteX100" fmla="*/ 860425 w 2864542"/>
                  <a:gd name="connsiteY100" fmla="*/ 191974 h 1280999"/>
                  <a:gd name="connsiteX101" fmla="*/ 698500 w 2864542"/>
                  <a:gd name="connsiteY101" fmla="*/ 182449 h 1280999"/>
                  <a:gd name="connsiteX102" fmla="*/ 603250 w 2864542"/>
                  <a:gd name="connsiteY102" fmla="*/ 169749 h 1280999"/>
                  <a:gd name="connsiteX103" fmla="*/ 552450 w 2864542"/>
                  <a:gd name="connsiteY103" fmla="*/ 163399 h 1280999"/>
                  <a:gd name="connsiteX104" fmla="*/ 527050 w 2864542"/>
                  <a:gd name="connsiteY104" fmla="*/ 160224 h 1280999"/>
                  <a:gd name="connsiteX105" fmla="*/ 501650 w 2864542"/>
                  <a:gd name="connsiteY105" fmla="*/ 153874 h 1280999"/>
                  <a:gd name="connsiteX106" fmla="*/ 412750 w 2864542"/>
                  <a:gd name="connsiteY106" fmla="*/ 150699 h 1280999"/>
                  <a:gd name="connsiteX107" fmla="*/ 352425 w 2864542"/>
                  <a:gd name="connsiteY107" fmla="*/ 141174 h 1280999"/>
                  <a:gd name="connsiteX108" fmla="*/ 320675 w 2864542"/>
                  <a:gd name="connsiteY108" fmla="*/ 128474 h 1280999"/>
                  <a:gd name="connsiteX109" fmla="*/ 295275 w 2864542"/>
                  <a:gd name="connsiteY109" fmla="*/ 122124 h 1280999"/>
                  <a:gd name="connsiteX110" fmla="*/ 276225 w 2864542"/>
                  <a:gd name="connsiteY110" fmla="*/ 112599 h 1280999"/>
                  <a:gd name="connsiteX111" fmla="*/ 250825 w 2864542"/>
                  <a:gd name="connsiteY111" fmla="*/ 103074 h 1280999"/>
                  <a:gd name="connsiteX112" fmla="*/ 231775 w 2864542"/>
                  <a:gd name="connsiteY112" fmla="*/ 96724 h 1280999"/>
                  <a:gd name="connsiteX113" fmla="*/ 200025 w 2864542"/>
                  <a:gd name="connsiteY113" fmla="*/ 80849 h 1280999"/>
                  <a:gd name="connsiteX114" fmla="*/ 174625 w 2864542"/>
                  <a:gd name="connsiteY114" fmla="*/ 74499 h 1280999"/>
                  <a:gd name="connsiteX115" fmla="*/ 127000 w 2864542"/>
                  <a:gd name="connsiteY115" fmla="*/ 58624 h 1280999"/>
                  <a:gd name="connsiteX116" fmla="*/ 57150 w 2864542"/>
                  <a:gd name="connsiteY116" fmla="*/ 42749 h 1280999"/>
                  <a:gd name="connsiteX117" fmla="*/ 15875 w 2864542"/>
                  <a:gd name="connsiteY117" fmla="*/ 23699 h 1280999"/>
                  <a:gd name="connsiteX118" fmla="*/ 15875 w 2864542"/>
                  <a:gd name="connsiteY11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908050 w 2864542"/>
                  <a:gd name="connsiteY98" fmla="*/ 195149 h 1280999"/>
                  <a:gd name="connsiteX99" fmla="*/ 860425 w 2864542"/>
                  <a:gd name="connsiteY99" fmla="*/ 191974 h 1280999"/>
                  <a:gd name="connsiteX100" fmla="*/ 698500 w 2864542"/>
                  <a:gd name="connsiteY100" fmla="*/ 182449 h 1280999"/>
                  <a:gd name="connsiteX101" fmla="*/ 603250 w 2864542"/>
                  <a:gd name="connsiteY101" fmla="*/ 169749 h 1280999"/>
                  <a:gd name="connsiteX102" fmla="*/ 552450 w 2864542"/>
                  <a:gd name="connsiteY102" fmla="*/ 163399 h 1280999"/>
                  <a:gd name="connsiteX103" fmla="*/ 527050 w 2864542"/>
                  <a:gd name="connsiteY103" fmla="*/ 160224 h 1280999"/>
                  <a:gd name="connsiteX104" fmla="*/ 501650 w 2864542"/>
                  <a:gd name="connsiteY104" fmla="*/ 153874 h 1280999"/>
                  <a:gd name="connsiteX105" fmla="*/ 412750 w 2864542"/>
                  <a:gd name="connsiteY105" fmla="*/ 150699 h 1280999"/>
                  <a:gd name="connsiteX106" fmla="*/ 352425 w 2864542"/>
                  <a:gd name="connsiteY106" fmla="*/ 141174 h 1280999"/>
                  <a:gd name="connsiteX107" fmla="*/ 320675 w 2864542"/>
                  <a:gd name="connsiteY107" fmla="*/ 128474 h 1280999"/>
                  <a:gd name="connsiteX108" fmla="*/ 295275 w 2864542"/>
                  <a:gd name="connsiteY108" fmla="*/ 122124 h 1280999"/>
                  <a:gd name="connsiteX109" fmla="*/ 276225 w 2864542"/>
                  <a:gd name="connsiteY109" fmla="*/ 112599 h 1280999"/>
                  <a:gd name="connsiteX110" fmla="*/ 250825 w 2864542"/>
                  <a:gd name="connsiteY110" fmla="*/ 103074 h 1280999"/>
                  <a:gd name="connsiteX111" fmla="*/ 231775 w 2864542"/>
                  <a:gd name="connsiteY111" fmla="*/ 96724 h 1280999"/>
                  <a:gd name="connsiteX112" fmla="*/ 200025 w 2864542"/>
                  <a:gd name="connsiteY112" fmla="*/ 80849 h 1280999"/>
                  <a:gd name="connsiteX113" fmla="*/ 174625 w 2864542"/>
                  <a:gd name="connsiteY113" fmla="*/ 74499 h 1280999"/>
                  <a:gd name="connsiteX114" fmla="*/ 127000 w 2864542"/>
                  <a:gd name="connsiteY114" fmla="*/ 58624 h 1280999"/>
                  <a:gd name="connsiteX115" fmla="*/ 57150 w 2864542"/>
                  <a:gd name="connsiteY115" fmla="*/ 42749 h 1280999"/>
                  <a:gd name="connsiteX116" fmla="*/ 15875 w 2864542"/>
                  <a:gd name="connsiteY116" fmla="*/ 23699 h 1280999"/>
                  <a:gd name="connsiteX117" fmla="*/ 15875 w 2864542"/>
                  <a:gd name="connsiteY11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927100 w 2864542"/>
                  <a:gd name="connsiteY97" fmla="*/ 198324 h 1280999"/>
                  <a:gd name="connsiteX98" fmla="*/ 860425 w 2864542"/>
                  <a:gd name="connsiteY98" fmla="*/ 191974 h 1280999"/>
                  <a:gd name="connsiteX99" fmla="*/ 698500 w 2864542"/>
                  <a:gd name="connsiteY99" fmla="*/ 182449 h 1280999"/>
                  <a:gd name="connsiteX100" fmla="*/ 603250 w 2864542"/>
                  <a:gd name="connsiteY100" fmla="*/ 169749 h 1280999"/>
                  <a:gd name="connsiteX101" fmla="*/ 552450 w 2864542"/>
                  <a:gd name="connsiteY101" fmla="*/ 163399 h 1280999"/>
                  <a:gd name="connsiteX102" fmla="*/ 527050 w 2864542"/>
                  <a:gd name="connsiteY102" fmla="*/ 160224 h 1280999"/>
                  <a:gd name="connsiteX103" fmla="*/ 501650 w 2864542"/>
                  <a:gd name="connsiteY103" fmla="*/ 153874 h 1280999"/>
                  <a:gd name="connsiteX104" fmla="*/ 412750 w 2864542"/>
                  <a:gd name="connsiteY104" fmla="*/ 150699 h 1280999"/>
                  <a:gd name="connsiteX105" fmla="*/ 352425 w 2864542"/>
                  <a:gd name="connsiteY105" fmla="*/ 141174 h 1280999"/>
                  <a:gd name="connsiteX106" fmla="*/ 320675 w 2864542"/>
                  <a:gd name="connsiteY106" fmla="*/ 128474 h 1280999"/>
                  <a:gd name="connsiteX107" fmla="*/ 295275 w 2864542"/>
                  <a:gd name="connsiteY107" fmla="*/ 122124 h 1280999"/>
                  <a:gd name="connsiteX108" fmla="*/ 276225 w 2864542"/>
                  <a:gd name="connsiteY108" fmla="*/ 112599 h 1280999"/>
                  <a:gd name="connsiteX109" fmla="*/ 250825 w 2864542"/>
                  <a:gd name="connsiteY109" fmla="*/ 103074 h 1280999"/>
                  <a:gd name="connsiteX110" fmla="*/ 231775 w 2864542"/>
                  <a:gd name="connsiteY110" fmla="*/ 96724 h 1280999"/>
                  <a:gd name="connsiteX111" fmla="*/ 200025 w 2864542"/>
                  <a:gd name="connsiteY111" fmla="*/ 80849 h 1280999"/>
                  <a:gd name="connsiteX112" fmla="*/ 174625 w 2864542"/>
                  <a:gd name="connsiteY112" fmla="*/ 74499 h 1280999"/>
                  <a:gd name="connsiteX113" fmla="*/ 127000 w 2864542"/>
                  <a:gd name="connsiteY113" fmla="*/ 58624 h 1280999"/>
                  <a:gd name="connsiteX114" fmla="*/ 57150 w 2864542"/>
                  <a:gd name="connsiteY114" fmla="*/ 42749 h 1280999"/>
                  <a:gd name="connsiteX115" fmla="*/ 15875 w 2864542"/>
                  <a:gd name="connsiteY115" fmla="*/ 23699 h 1280999"/>
                  <a:gd name="connsiteX116" fmla="*/ 15875 w 2864542"/>
                  <a:gd name="connsiteY11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860425 w 2864542"/>
                  <a:gd name="connsiteY97" fmla="*/ 191974 h 1280999"/>
                  <a:gd name="connsiteX98" fmla="*/ 698500 w 2864542"/>
                  <a:gd name="connsiteY98" fmla="*/ 182449 h 1280999"/>
                  <a:gd name="connsiteX99" fmla="*/ 603250 w 2864542"/>
                  <a:gd name="connsiteY99" fmla="*/ 169749 h 1280999"/>
                  <a:gd name="connsiteX100" fmla="*/ 552450 w 2864542"/>
                  <a:gd name="connsiteY100" fmla="*/ 163399 h 1280999"/>
                  <a:gd name="connsiteX101" fmla="*/ 527050 w 2864542"/>
                  <a:gd name="connsiteY101" fmla="*/ 160224 h 1280999"/>
                  <a:gd name="connsiteX102" fmla="*/ 501650 w 2864542"/>
                  <a:gd name="connsiteY102" fmla="*/ 153874 h 1280999"/>
                  <a:gd name="connsiteX103" fmla="*/ 412750 w 2864542"/>
                  <a:gd name="connsiteY103" fmla="*/ 150699 h 1280999"/>
                  <a:gd name="connsiteX104" fmla="*/ 352425 w 2864542"/>
                  <a:gd name="connsiteY104" fmla="*/ 141174 h 1280999"/>
                  <a:gd name="connsiteX105" fmla="*/ 320675 w 2864542"/>
                  <a:gd name="connsiteY105" fmla="*/ 128474 h 1280999"/>
                  <a:gd name="connsiteX106" fmla="*/ 295275 w 2864542"/>
                  <a:gd name="connsiteY106" fmla="*/ 122124 h 1280999"/>
                  <a:gd name="connsiteX107" fmla="*/ 276225 w 2864542"/>
                  <a:gd name="connsiteY107" fmla="*/ 112599 h 1280999"/>
                  <a:gd name="connsiteX108" fmla="*/ 250825 w 2864542"/>
                  <a:gd name="connsiteY108" fmla="*/ 103074 h 1280999"/>
                  <a:gd name="connsiteX109" fmla="*/ 231775 w 2864542"/>
                  <a:gd name="connsiteY109" fmla="*/ 96724 h 1280999"/>
                  <a:gd name="connsiteX110" fmla="*/ 200025 w 2864542"/>
                  <a:gd name="connsiteY110" fmla="*/ 80849 h 1280999"/>
                  <a:gd name="connsiteX111" fmla="*/ 174625 w 2864542"/>
                  <a:gd name="connsiteY111" fmla="*/ 74499 h 1280999"/>
                  <a:gd name="connsiteX112" fmla="*/ 127000 w 2864542"/>
                  <a:gd name="connsiteY112" fmla="*/ 58624 h 1280999"/>
                  <a:gd name="connsiteX113" fmla="*/ 57150 w 2864542"/>
                  <a:gd name="connsiteY113" fmla="*/ 42749 h 1280999"/>
                  <a:gd name="connsiteX114" fmla="*/ 15875 w 2864542"/>
                  <a:gd name="connsiteY114" fmla="*/ 23699 h 1280999"/>
                  <a:gd name="connsiteX115" fmla="*/ 15875 w 2864542"/>
                  <a:gd name="connsiteY11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949325 w 2864542"/>
                  <a:gd name="connsiteY96" fmla="*/ 201499 h 1280999"/>
                  <a:gd name="connsiteX97" fmla="*/ 698500 w 2864542"/>
                  <a:gd name="connsiteY97" fmla="*/ 182449 h 1280999"/>
                  <a:gd name="connsiteX98" fmla="*/ 603250 w 2864542"/>
                  <a:gd name="connsiteY98" fmla="*/ 169749 h 1280999"/>
                  <a:gd name="connsiteX99" fmla="*/ 552450 w 2864542"/>
                  <a:gd name="connsiteY99" fmla="*/ 163399 h 1280999"/>
                  <a:gd name="connsiteX100" fmla="*/ 527050 w 2864542"/>
                  <a:gd name="connsiteY100" fmla="*/ 160224 h 1280999"/>
                  <a:gd name="connsiteX101" fmla="*/ 501650 w 2864542"/>
                  <a:gd name="connsiteY101" fmla="*/ 153874 h 1280999"/>
                  <a:gd name="connsiteX102" fmla="*/ 412750 w 2864542"/>
                  <a:gd name="connsiteY102" fmla="*/ 150699 h 1280999"/>
                  <a:gd name="connsiteX103" fmla="*/ 352425 w 2864542"/>
                  <a:gd name="connsiteY103" fmla="*/ 141174 h 1280999"/>
                  <a:gd name="connsiteX104" fmla="*/ 320675 w 2864542"/>
                  <a:gd name="connsiteY104" fmla="*/ 128474 h 1280999"/>
                  <a:gd name="connsiteX105" fmla="*/ 295275 w 2864542"/>
                  <a:gd name="connsiteY105" fmla="*/ 122124 h 1280999"/>
                  <a:gd name="connsiteX106" fmla="*/ 276225 w 2864542"/>
                  <a:gd name="connsiteY106" fmla="*/ 112599 h 1280999"/>
                  <a:gd name="connsiteX107" fmla="*/ 250825 w 2864542"/>
                  <a:gd name="connsiteY107" fmla="*/ 103074 h 1280999"/>
                  <a:gd name="connsiteX108" fmla="*/ 231775 w 2864542"/>
                  <a:gd name="connsiteY108" fmla="*/ 96724 h 1280999"/>
                  <a:gd name="connsiteX109" fmla="*/ 200025 w 2864542"/>
                  <a:gd name="connsiteY109" fmla="*/ 80849 h 1280999"/>
                  <a:gd name="connsiteX110" fmla="*/ 174625 w 2864542"/>
                  <a:gd name="connsiteY110" fmla="*/ 74499 h 1280999"/>
                  <a:gd name="connsiteX111" fmla="*/ 127000 w 2864542"/>
                  <a:gd name="connsiteY111" fmla="*/ 58624 h 1280999"/>
                  <a:gd name="connsiteX112" fmla="*/ 57150 w 2864542"/>
                  <a:gd name="connsiteY112" fmla="*/ 42749 h 1280999"/>
                  <a:gd name="connsiteX113" fmla="*/ 15875 w 2864542"/>
                  <a:gd name="connsiteY113" fmla="*/ 23699 h 1280999"/>
                  <a:gd name="connsiteX114" fmla="*/ 15875 w 2864542"/>
                  <a:gd name="connsiteY11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1016000 w 2864542"/>
                  <a:gd name="connsiteY95" fmla="*/ 214199 h 1280999"/>
                  <a:gd name="connsiteX96" fmla="*/ 698500 w 2864542"/>
                  <a:gd name="connsiteY96" fmla="*/ 182449 h 1280999"/>
                  <a:gd name="connsiteX97" fmla="*/ 603250 w 2864542"/>
                  <a:gd name="connsiteY97" fmla="*/ 169749 h 1280999"/>
                  <a:gd name="connsiteX98" fmla="*/ 552450 w 2864542"/>
                  <a:gd name="connsiteY98" fmla="*/ 163399 h 1280999"/>
                  <a:gd name="connsiteX99" fmla="*/ 527050 w 2864542"/>
                  <a:gd name="connsiteY99" fmla="*/ 160224 h 1280999"/>
                  <a:gd name="connsiteX100" fmla="*/ 501650 w 2864542"/>
                  <a:gd name="connsiteY100" fmla="*/ 153874 h 1280999"/>
                  <a:gd name="connsiteX101" fmla="*/ 412750 w 2864542"/>
                  <a:gd name="connsiteY101" fmla="*/ 150699 h 1280999"/>
                  <a:gd name="connsiteX102" fmla="*/ 352425 w 2864542"/>
                  <a:gd name="connsiteY102" fmla="*/ 141174 h 1280999"/>
                  <a:gd name="connsiteX103" fmla="*/ 320675 w 2864542"/>
                  <a:gd name="connsiteY103" fmla="*/ 128474 h 1280999"/>
                  <a:gd name="connsiteX104" fmla="*/ 295275 w 2864542"/>
                  <a:gd name="connsiteY104" fmla="*/ 122124 h 1280999"/>
                  <a:gd name="connsiteX105" fmla="*/ 276225 w 2864542"/>
                  <a:gd name="connsiteY105" fmla="*/ 112599 h 1280999"/>
                  <a:gd name="connsiteX106" fmla="*/ 250825 w 2864542"/>
                  <a:gd name="connsiteY106" fmla="*/ 103074 h 1280999"/>
                  <a:gd name="connsiteX107" fmla="*/ 231775 w 2864542"/>
                  <a:gd name="connsiteY107" fmla="*/ 96724 h 1280999"/>
                  <a:gd name="connsiteX108" fmla="*/ 200025 w 2864542"/>
                  <a:gd name="connsiteY108" fmla="*/ 80849 h 1280999"/>
                  <a:gd name="connsiteX109" fmla="*/ 174625 w 2864542"/>
                  <a:gd name="connsiteY109" fmla="*/ 74499 h 1280999"/>
                  <a:gd name="connsiteX110" fmla="*/ 127000 w 2864542"/>
                  <a:gd name="connsiteY110" fmla="*/ 58624 h 1280999"/>
                  <a:gd name="connsiteX111" fmla="*/ 57150 w 2864542"/>
                  <a:gd name="connsiteY111" fmla="*/ 42749 h 1280999"/>
                  <a:gd name="connsiteX112" fmla="*/ 15875 w 2864542"/>
                  <a:gd name="connsiteY112" fmla="*/ 23699 h 1280999"/>
                  <a:gd name="connsiteX113" fmla="*/ 15875 w 2864542"/>
                  <a:gd name="connsiteY11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98500 w 2864542"/>
                  <a:gd name="connsiteY95" fmla="*/ 182449 h 1280999"/>
                  <a:gd name="connsiteX96" fmla="*/ 603250 w 2864542"/>
                  <a:gd name="connsiteY96" fmla="*/ 169749 h 1280999"/>
                  <a:gd name="connsiteX97" fmla="*/ 552450 w 2864542"/>
                  <a:gd name="connsiteY97" fmla="*/ 163399 h 1280999"/>
                  <a:gd name="connsiteX98" fmla="*/ 527050 w 2864542"/>
                  <a:gd name="connsiteY98" fmla="*/ 160224 h 1280999"/>
                  <a:gd name="connsiteX99" fmla="*/ 501650 w 2864542"/>
                  <a:gd name="connsiteY99" fmla="*/ 153874 h 1280999"/>
                  <a:gd name="connsiteX100" fmla="*/ 412750 w 2864542"/>
                  <a:gd name="connsiteY100" fmla="*/ 150699 h 1280999"/>
                  <a:gd name="connsiteX101" fmla="*/ 352425 w 2864542"/>
                  <a:gd name="connsiteY101" fmla="*/ 141174 h 1280999"/>
                  <a:gd name="connsiteX102" fmla="*/ 320675 w 2864542"/>
                  <a:gd name="connsiteY102" fmla="*/ 128474 h 1280999"/>
                  <a:gd name="connsiteX103" fmla="*/ 295275 w 2864542"/>
                  <a:gd name="connsiteY103" fmla="*/ 122124 h 1280999"/>
                  <a:gd name="connsiteX104" fmla="*/ 276225 w 2864542"/>
                  <a:gd name="connsiteY104" fmla="*/ 112599 h 1280999"/>
                  <a:gd name="connsiteX105" fmla="*/ 250825 w 2864542"/>
                  <a:gd name="connsiteY105" fmla="*/ 103074 h 1280999"/>
                  <a:gd name="connsiteX106" fmla="*/ 231775 w 2864542"/>
                  <a:gd name="connsiteY106" fmla="*/ 96724 h 1280999"/>
                  <a:gd name="connsiteX107" fmla="*/ 200025 w 2864542"/>
                  <a:gd name="connsiteY107" fmla="*/ 80849 h 1280999"/>
                  <a:gd name="connsiteX108" fmla="*/ 174625 w 2864542"/>
                  <a:gd name="connsiteY108" fmla="*/ 74499 h 1280999"/>
                  <a:gd name="connsiteX109" fmla="*/ 127000 w 2864542"/>
                  <a:gd name="connsiteY109" fmla="*/ 58624 h 1280999"/>
                  <a:gd name="connsiteX110" fmla="*/ 57150 w 2864542"/>
                  <a:gd name="connsiteY110" fmla="*/ 42749 h 1280999"/>
                  <a:gd name="connsiteX111" fmla="*/ 15875 w 2864542"/>
                  <a:gd name="connsiteY111" fmla="*/ 23699 h 1280999"/>
                  <a:gd name="connsiteX112" fmla="*/ 15875 w 2864542"/>
                  <a:gd name="connsiteY11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27050 w 2864542"/>
                  <a:gd name="connsiteY97" fmla="*/ 160224 h 1280999"/>
                  <a:gd name="connsiteX98" fmla="*/ 501650 w 2864542"/>
                  <a:gd name="connsiteY98" fmla="*/ 153874 h 1280999"/>
                  <a:gd name="connsiteX99" fmla="*/ 412750 w 2864542"/>
                  <a:gd name="connsiteY99" fmla="*/ 150699 h 1280999"/>
                  <a:gd name="connsiteX100" fmla="*/ 352425 w 2864542"/>
                  <a:gd name="connsiteY100" fmla="*/ 141174 h 1280999"/>
                  <a:gd name="connsiteX101" fmla="*/ 320675 w 2864542"/>
                  <a:gd name="connsiteY101" fmla="*/ 128474 h 1280999"/>
                  <a:gd name="connsiteX102" fmla="*/ 295275 w 2864542"/>
                  <a:gd name="connsiteY102" fmla="*/ 122124 h 1280999"/>
                  <a:gd name="connsiteX103" fmla="*/ 276225 w 2864542"/>
                  <a:gd name="connsiteY103" fmla="*/ 112599 h 1280999"/>
                  <a:gd name="connsiteX104" fmla="*/ 250825 w 2864542"/>
                  <a:gd name="connsiteY104" fmla="*/ 103074 h 1280999"/>
                  <a:gd name="connsiteX105" fmla="*/ 231775 w 2864542"/>
                  <a:gd name="connsiteY105" fmla="*/ 96724 h 1280999"/>
                  <a:gd name="connsiteX106" fmla="*/ 200025 w 2864542"/>
                  <a:gd name="connsiteY106" fmla="*/ 80849 h 1280999"/>
                  <a:gd name="connsiteX107" fmla="*/ 174625 w 2864542"/>
                  <a:gd name="connsiteY107" fmla="*/ 74499 h 1280999"/>
                  <a:gd name="connsiteX108" fmla="*/ 127000 w 2864542"/>
                  <a:gd name="connsiteY108" fmla="*/ 58624 h 1280999"/>
                  <a:gd name="connsiteX109" fmla="*/ 57150 w 2864542"/>
                  <a:gd name="connsiteY109" fmla="*/ 42749 h 1280999"/>
                  <a:gd name="connsiteX110" fmla="*/ 15875 w 2864542"/>
                  <a:gd name="connsiteY110" fmla="*/ 23699 h 1280999"/>
                  <a:gd name="connsiteX111" fmla="*/ 15875 w 2864542"/>
                  <a:gd name="connsiteY11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501650 w 2864542"/>
                  <a:gd name="connsiteY97" fmla="*/ 153874 h 1280999"/>
                  <a:gd name="connsiteX98" fmla="*/ 412750 w 2864542"/>
                  <a:gd name="connsiteY98" fmla="*/ 150699 h 1280999"/>
                  <a:gd name="connsiteX99" fmla="*/ 352425 w 2864542"/>
                  <a:gd name="connsiteY99" fmla="*/ 141174 h 1280999"/>
                  <a:gd name="connsiteX100" fmla="*/ 320675 w 2864542"/>
                  <a:gd name="connsiteY100" fmla="*/ 128474 h 1280999"/>
                  <a:gd name="connsiteX101" fmla="*/ 295275 w 2864542"/>
                  <a:gd name="connsiteY101" fmla="*/ 122124 h 1280999"/>
                  <a:gd name="connsiteX102" fmla="*/ 276225 w 2864542"/>
                  <a:gd name="connsiteY102" fmla="*/ 112599 h 1280999"/>
                  <a:gd name="connsiteX103" fmla="*/ 250825 w 2864542"/>
                  <a:gd name="connsiteY103" fmla="*/ 103074 h 1280999"/>
                  <a:gd name="connsiteX104" fmla="*/ 231775 w 2864542"/>
                  <a:gd name="connsiteY104" fmla="*/ 96724 h 1280999"/>
                  <a:gd name="connsiteX105" fmla="*/ 200025 w 2864542"/>
                  <a:gd name="connsiteY105" fmla="*/ 80849 h 1280999"/>
                  <a:gd name="connsiteX106" fmla="*/ 174625 w 2864542"/>
                  <a:gd name="connsiteY106" fmla="*/ 74499 h 1280999"/>
                  <a:gd name="connsiteX107" fmla="*/ 127000 w 2864542"/>
                  <a:gd name="connsiteY107" fmla="*/ 58624 h 1280999"/>
                  <a:gd name="connsiteX108" fmla="*/ 57150 w 2864542"/>
                  <a:gd name="connsiteY108" fmla="*/ 42749 h 1280999"/>
                  <a:gd name="connsiteX109" fmla="*/ 15875 w 2864542"/>
                  <a:gd name="connsiteY109" fmla="*/ 23699 h 1280999"/>
                  <a:gd name="connsiteX110" fmla="*/ 15875 w 2864542"/>
                  <a:gd name="connsiteY11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95275 w 2864542"/>
                  <a:gd name="connsiteY100" fmla="*/ 122124 h 1280999"/>
                  <a:gd name="connsiteX101" fmla="*/ 276225 w 2864542"/>
                  <a:gd name="connsiteY101" fmla="*/ 112599 h 1280999"/>
                  <a:gd name="connsiteX102" fmla="*/ 250825 w 2864542"/>
                  <a:gd name="connsiteY102" fmla="*/ 103074 h 1280999"/>
                  <a:gd name="connsiteX103" fmla="*/ 231775 w 2864542"/>
                  <a:gd name="connsiteY103" fmla="*/ 96724 h 1280999"/>
                  <a:gd name="connsiteX104" fmla="*/ 200025 w 2864542"/>
                  <a:gd name="connsiteY104" fmla="*/ 80849 h 1280999"/>
                  <a:gd name="connsiteX105" fmla="*/ 174625 w 2864542"/>
                  <a:gd name="connsiteY105" fmla="*/ 74499 h 1280999"/>
                  <a:gd name="connsiteX106" fmla="*/ 127000 w 2864542"/>
                  <a:gd name="connsiteY106" fmla="*/ 58624 h 1280999"/>
                  <a:gd name="connsiteX107" fmla="*/ 57150 w 2864542"/>
                  <a:gd name="connsiteY107" fmla="*/ 42749 h 1280999"/>
                  <a:gd name="connsiteX108" fmla="*/ 15875 w 2864542"/>
                  <a:gd name="connsiteY108" fmla="*/ 23699 h 1280999"/>
                  <a:gd name="connsiteX109" fmla="*/ 15875 w 2864542"/>
                  <a:gd name="connsiteY10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31775 w 2864542"/>
                  <a:gd name="connsiteY102" fmla="*/ 96724 h 1280999"/>
                  <a:gd name="connsiteX103" fmla="*/ 200025 w 2864542"/>
                  <a:gd name="connsiteY103" fmla="*/ 80849 h 1280999"/>
                  <a:gd name="connsiteX104" fmla="*/ 174625 w 2864542"/>
                  <a:gd name="connsiteY104" fmla="*/ 74499 h 1280999"/>
                  <a:gd name="connsiteX105" fmla="*/ 127000 w 2864542"/>
                  <a:gd name="connsiteY105" fmla="*/ 58624 h 1280999"/>
                  <a:gd name="connsiteX106" fmla="*/ 57150 w 2864542"/>
                  <a:gd name="connsiteY106" fmla="*/ 42749 h 1280999"/>
                  <a:gd name="connsiteX107" fmla="*/ 15875 w 2864542"/>
                  <a:gd name="connsiteY107" fmla="*/ 23699 h 1280999"/>
                  <a:gd name="connsiteX108" fmla="*/ 15875 w 2864542"/>
                  <a:gd name="connsiteY10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74625 w 2864542"/>
                  <a:gd name="connsiteY103" fmla="*/ 74499 h 1280999"/>
                  <a:gd name="connsiteX104" fmla="*/ 127000 w 2864542"/>
                  <a:gd name="connsiteY104" fmla="*/ 58624 h 1280999"/>
                  <a:gd name="connsiteX105" fmla="*/ 57150 w 2864542"/>
                  <a:gd name="connsiteY105" fmla="*/ 42749 h 1280999"/>
                  <a:gd name="connsiteX106" fmla="*/ 15875 w 2864542"/>
                  <a:gd name="connsiteY106" fmla="*/ 23699 h 1280999"/>
                  <a:gd name="connsiteX107" fmla="*/ 15875 w 2864542"/>
                  <a:gd name="connsiteY10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127000 w 2864542"/>
                  <a:gd name="connsiteY103" fmla="*/ 58624 h 1280999"/>
                  <a:gd name="connsiteX104" fmla="*/ 57150 w 2864542"/>
                  <a:gd name="connsiteY104" fmla="*/ 42749 h 1280999"/>
                  <a:gd name="connsiteX105" fmla="*/ 15875 w 2864542"/>
                  <a:gd name="connsiteY105" fmla="*/ 23699 h 1280999"/>
                  <a:gd name="connsiteX106" fmla="*/ 15875 w 2864542"/>
                  <a:gd name="connsiteY10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50825 w 2864542"/>
                  <a:gd name="connsiteY101" fmla="*/ 103074 h 1280999"/>
                  <a:gd name="connsiteX102" fmla="*/ 200025 w 2864542"/>
                  <a:gd name="connsiteY102" fmla="*/ 80849 h 1280999"/>
                  <a:gd name="connsiteX103" fmla="*/ 57150 w 2864542"/>
                  <a:gd name="connsiteY103" fmla="*/ 42749 h 1280999"/>
                  <a:gd name="connsiteX104" fmla="*/ 15875 w 2864542"/>
                  <a:gd name="connsiteY104" fmla="*/ 23699 h 1280999"/>
                  <a:gd name="connsiteX105" fmla="*/ 15875 w 2864542"/>
                  <a:gd name="connsiteY10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200025 w 2864542"/>
                  <a:gd name="connsiteY101" fmla="*/ 80849 h 1280999"/>
                  <a:gd name="connsiteX102" fmla="*/ 57150 w 2864542"/>
                  <a:gd name="connsiteY102" fmla="*/ 42749 h 1280999"/>
                  <a:gd name="connsiteX103" fmla="*/ 15875 w 2864542"/>
                  <a:gd name="connsiteY103" fmla="*/ 23699 h 1280999"/>
                  <a:gd name="connsiteX104" fmla="*/ 15875 w 2864542"/>
                  <a:gd name="connsiteY10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276225 w 2864542"/>
                  <a:gd name="connsiteY100" fmla="*/ 112599 h 1280999"/>
                  <a:gd name="connsiteX101" fmla="*/ 57150 w 2864542"/>
                  <a:gd name="connsiteY101" fmla="*/ 42749 h 1280999"/>
                  <a:gd name="connsiteX102" fmla="*/ 15875 w 2864542"/>
                  <a:gd name="connsiteY102" fmla="*/ 23699 h 1280999"/>
                  <a:gd name="connsiteX103" fmla="*/ 15875 w 2864542"/>
                  <a:gd name="connsiteY10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320675 w 2864542"/>
                  <a:gd name="connsiteY99" fmla="*/ 128474 h 1280999"/>
                  <a:gd name="connsiteX100" fmla="*/ 57150 w 2864542"/>
                  <a:gd name="connsiteY100" fmla="*/ 42749 h 1280999"/>
                  <a:gd name="connsiteX101" fmla="*/ 15875 w 2864542"/>
                  <a:gd name="connsiteY101" fmla="*/ 23699 h 1280999"/>
                  <a:gd name="connsiteX102" fmla="*/ 15875 w 2864542"/>
                  <a:gd name="connsiteY10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571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352425 w 2864542"/>
                  <a:gd name="connsiteY98" fmla="*/ 141174 h 1280999"/>
                  <a:gd name="connsiteX99" fmla="*/ 69850 w 2864542"/>
                  <a:gd name="connsiteY99" fmla="*/ 42749 h 1280999"/>
                  <a:gd name="connsiteX100" fmla="*/ 15875 w 2864542"/>
                  <a:gd name="connsiteY100" fmla="*/ 23699 h 1280999"/>
                  <a:gd name="connsiteX101" fmla="*/ 15875 w 2864542"/>
                  <a:gd name="connsiteY10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03250 w 2864542"/>
                  <a:gd name="connsiteY95" fmla="*/ 169749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47700 w 2864542"/>
                  <a:gd name="connsiteY95" fmla="*/ 19832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552450 w 2864542"/>
                  <a:gd name="connsiteY96" fmla="*/ 163399 h 1280999"/>
                  <a:gd name="connsiteX97" fmla="*/ 412750 w 2864542"/>
                  <a:gd name="connsiteY97" fmla="*/ 150699 h 1280999"/>
                  <a:gd name="connsiteX98" fmla="*/ 69850 w 2864542"/>
                  <a:gd name="connsiteY98" fmla="*/ 42749 h 1280999"/>
                  <a:gd name="connsiteX99" fmla="*/ 15875 w 2864542"/>
                  <a:gd name="connsiteY99" fmla="*/ 23699 h 1280999"/>
                  <a:gd name="connsiteX100" fmla="*/ 15875 w 2864542"/>
                  <a:gd name="connsiteY10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412750 w 2864542"/>
                  <a:gd name="connsiteY96" fmla="*/ 150699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155700 w 2864542"/>
                  <a:gd name="connsiteY93" fmla="*/ 230074 h 1280999"/>
                  <a:gd name="connsiteX94" fmla="*/ 1082675 w 2864542"/>
                  <a:gd name="connsiteY94" fmla="*/ 22054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82675 w 2864542"/>
                  <a:gd name="connsiteY93" fmla="*/ 2205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65325 w 2864542"/>
                  <a:gd name="connsiteY90" fmla="*/ 204674 h 1280999"/>
                  <a:gd name="connsiteX91" fmla="*/ 1914525 w 2864542"/>
                  <a:gd name="connsiteY91" fmla="*/ 211024 h 1280999"/>
                  <a:gd name="connsiteX92" fmla="*/ 1682750 w 2864542"/>
                  <a:gd name="connsiteY92" fmla="*/ 233249 h 1280999"/>
                  <a:gd name="connsiteX93" fmla="*/ 1073150 w 2864542"/>
                  <a:gd name="connsiteY93" fmla="*/ 233249 h 1280999"/>
                  <a:gd name="connsiteX94" fmla="*/ 1057275 w 2864542"/>
                  <a:gd name="connsiteY94" fmla="*/ 226899 h 1280999"/>
                  <a:gd name="connsiteX95" fmla="*/ 679450 w 2864542"/>
                  <a:gd name="connsiteY95" fmla="*/ 191974 h 1280999"/>
                  <a:gd name="connsiteX96" fmla="*/ 387350 w 2864542"/>
                  <a:gd name="connsiteY96" fmla="*/ 141174 h 1280999"/>
                  <a:gd name="connsiteX97" fmla="*/ 69850 w 2864542"/>
                  <a:gd name="connsiteY97" fmla="*/ 42749 h 1280999"/>
                  <a:gd name="connsiteX98" fmla="*/ 15875 w 2864542"/>
                  <a:gd name="connsiteY98" fmla="*/ 23699 h 1280999"/>
                  <a:gd name="connsiteX99" fmla="*/ 15875 w 2864542"/>
                  <a:gd name="connsiteY9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914525 w 2864542"/>
                  <a:gd name="connsiteY90" fmla="*/ 211024 h 1280999"/>
                  <a:gd name="connsiteX91" fmla="*/ 1682750 w 2864542"/>
                  <a:gd name="connsiteY91" fmla="*/ 233249 h 1280999"/>
                  <a:gd name="connsiteX92" fmla="*/ 1073150 w 2864542"/>
                  <a:gd name="connsiteY92" fmla="*/ 233249 h 1280999"/>
                  <a:gd name="connsiteX93" fmla="*/ 1057275 w 2864542"/>
                  <a:gd name="connsiteY93" fmla="*/ 226899 h 1280999"/>
                  <a:gd name="connsiteX94" fmla="*/ 679450 w 2864542"/>
                  <a:gd name="connsiteY94" fmla="*/ 191974 h 1280999"/>
                  <a:gd name="connsiteX95" fmla="*/ 387350 w 2864542"/>
                  <a:gd name="connsiteY95" fmla="*/ 141174 h 1280999"/>
                  <a:gd name="connsiteX96" fmla="*/ 69850 w 2864542"/>
                  <a:gd name="connsiteY96" fmla="*/ 42749 h 1280999"/>
                  <a:gd name="connsiteX97" fmla="*/ 15875 w 2864542"/>
                  <a:gd name="connsiteY97" fmla="*/ 23699 h 1280999"/>
                  <a:gd name="connsiteX98" fmla="*/ 15875 w 2864542"/>
                  <a:gd name="connsiteY9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84400 w 2864542"/>
                  <a:gd name="connsiteY88" fmla="*/ 188799 h 1280999"/>
                  <a:gd name="connsiteX89" fmla="*/ 2159000 w 2864542"/>
                  <a:gd name="connsiteY89" fmla="*/ 195149 h 1280999"/>
                  <a:gd name="connsiteX90" fmla="*/ 1682750 w 2864542"/>
                  <a:gd name="connsiteY90" fmla="*/ 233249 h 1280999"/>
                  <a:gd name="connsiteX91" fmla="*/ 1073150 w 2864542"/>
                  <a:gd name="connsiteY91" fmla="*/ 233249 h 1280999"/>
                  <a:gd name="connsiteX92" fmla="*/ 1057275 w 2864542"/>
                  <a:gd name="connsiteY92" fmla="*/ 226899 h 1280999"/>
                  <a:gd name="connsiteX93" fmla="*/ 679450 w 2864542"/>
                  <a:gd name="connsiteY93" fmla="*/ 191974 h 1280999"/>
                  <a:gd name="connsiteX94" fmla="*/ 387350 w 2864542"/>
                  <a:gd name="connsiteY94" fmla="*/ 141174 h 1280999"/>
                  <a:gd name="connsiteX95" fmla="*/ 69850 w 2864542"/>
                  <a:gd name="connsiteY95" fmla="*/ 42749 h 1280999"/>
                  <a:gd name="connsiteX96" fmla="*/ 15875 w 2864542"/>
                  <a:gd name="connsiteY96" fmla="*/ 23699 h 1280999"/>
                  <a:gd name="connsiteX97" fmla="*/ 15875 w 2864542"/>
                  <a:gd name="connsiteY9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228850 w 2864542"/>
                  <a:gd name="connsiteY87" fmla="*/ 179274 h 1280999"/>
                  <a:gd name="connsiteX88" fmla="*/ 2159000 w 2864542"/>
                  <a:gd name="connsiteY88" fmla="*/ 195149 h 1280999"/>
                  <a:gd name="connsiteX89" fmla="*/ 1682750 w 2864542"/>
                  <a:gd name="connsiteY89" fmla="*/ 233249 h 1280999"/>
                  <a:gd name="connsiteX90" fmla="*/ 1073150 w 2864542"/>
                  <a:gd name="connsiteY90" fmla="*/ 233249 h 1280999"/>
                  <a:gd name="connsiteX91" fmla="*/ 1057275 w 2864542"/>
                  <a:gd name="connsiteY91" fmla="*/ 226899 h 1280999"/>
                  <a:gd name="connsiteX92" fmla="*/ 679450 w 2864542"/>
                  <a:gd name="connsiteY92" fmla="*/ 191974 h 1280999"/>
                  <a:gd name="connsiteX93" fmla="*/ 387350 w 2864542"/>
                  <a:gd name="connsiteY93" fmla="*/ 141174 h 1280999"/>
                  <a:gd name="connsiteX94" fmla="*/ 69850 w 2864542"/>
                  <a:gd name="connsiteY94" fmla="*/ 42749 h 1280999"/>
                  <a:gd name="connsiteX95" fmla="*/ 15875 w 2864542"/>
                  <a:gd name="connsiteY95" fmla="*/ 23699 h 1280999"/>
                  <a:gd name="connsiteX96" fmla="*/ 15875 w 2864542"/>
                  <a:gd name="connsiteY9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254250 w 2864542"/>
                  <a:gd name="connsiteY86" fmla="*/ 176099 h 1280999"/>
                  <a:gd name="connsiteX87" fmla="*/ 2159000 w 2864542"/>
                  <a:gd name="connsiteY87" fmla="*/ 195149 h 1280999"/>
                  <a:gd name="connsiteX88" fmla="*/ 1682750 w 2864542"/>
                  <a:gd name="connsiteY88" fmla="*/ 233249 h 1280999"/>
                  <a:gd name="connsiteX89" fmla="*/ 1073150 w 2864542"/>
                  <a:gd name="connsiteY89" fmla="*/ 233249 h 1280999"/>
                  <a:gd name="connsiteX90" fmla="*/ 1057275 w 2864542"/>
                  <a:gd name="connsiteY90" fmla="*/ 226899 h 1280999"/>
                  <a:gd name="connsiteX91" fmla="*/ 679450 w 2864542"/>
                  <a:gd name="connsiteY91" fmla="*/ 191974 h 1280999"/>
                  <a:gd name="connsiteX92" fmla="*/ 387350 w 2864542"/>
                  <a:gd name="connsiteY92" fmla="*/ 141174 h 1280999"/>
                  <a:gd name="connsiteX93" fmla="*/ 69850 w 2864542"/>
                  <a:gd name="connsiteY93" fmla="*/ 42749 h 1280999"/>
                  <a:gd name="connsiteX94" fmla="*/ 15875 w 2864542"/>
                  <a:gd name="connsiteY94" fmla="*/ 23699 h 1280999"/>
                  <a:gd name="connsiteX95" fmla="*/ 15875 w 2864542"/>
                  <a:gd name="connsiteY9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276475 w 2864542"/>
                  <a:gd name="connsiteY85" fmla="*/ 169749 h 1280999"/>
                  <a:gd name="connsiteX86" fmla="*/ 2159000 w 2864542"/>
                  <a:gd name="connsiteY86" fmla="*/ 195149 h 1280999"/>
                  <a:gd name="connsiteX87" fmla="*/ 1682750 w 2864542"/>
                  <a:gd name="connsiteY87" fmla="*/ 233249 h 1280999"/>
                  <a:gd name="connsiteX88" fmla="*/ 1073150 w 2864542"/>
                  <a:gd name="connsiteY88" fmla="*/ 233249 h 1280999"/>
                  <a:gd name="connsiteX89" fmla="*/ 1057275 w 2864542"/>
                  <a:gd name="connsiteY89" fmla="*/ 226899 h 1280999"/>
                  <a:gd name="connsiteX90" fmla="*/ 679450 w 2864542"/>
                  <a:gd name="connsiteY90" fmla="*/ 191974 h 1280999"/>
                  <a:gd name="connsiteX91" fmla="*/ 387350 w 2864542"/>
                  <a:gd name="connsiteY91" fmla="*/ 141174 h 1280999"/>
                  <a:gd name="connsiteX92" fmla="*/ 69850 w 2864542"/>
                  <a:gd name="connsiteY92" fmla="*/ 42749 h 1280999"/>
                  <a:gd name="connsiteX93" fmla="*/ 15875 w 2864542"/>
                  <a:gd name="connsiteY93" fmla="*/ 23699 h 1280999"/>
                  <a:gd name="connsiteX94" fmla="*/ 15875 w 2864542"/>
                  <a:gd name="connsiteY9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289175 w 2864542"/>
                  <a:gd name="connsiteY84" fmla="*/ 166574 h 1280999"/>
                  <a:gd name="connsiteX85" fmla="*/ 2159000 w 2864542"/>
                  <a:gd name="connsiteY85" fmla="*/ 195149 h 1280999"/>
                  <a:gd name="connsiteX86" fmla="*/ 1682750 w 2864542"/>
                  <a:gd name="connsiteY86" fmla="*/ 233249 h 1280999"/>
                  <a:gd name="connsiteX87" fmla="*/ 1073150 w 2864542"/>
                  <a:gd name="connsiteY87" fmla="*/ 233249 h 1280999"/>
                  <a:gd name="connsiteX88" fmla="*/ 1057275 w 2864542"/>
                  <a:gd name="connsiteY88" fmla="*/ 226899 h 1280999"/>
                  <a:gd name="connsiteX89" fmla="*/ 679450 w 2864542"/>
                  <a:gd name="connsiteY89" fmla="*/ 191974 h 1280999"/>
                  <a:gd name="connsiteX90" fmla="*/ 387350 w 2864542"/>
                  <a:gd name="connsiteY90" fmla="*/ 141174 h 1280999"/>
                  <a:gd name="connsiteX91" fmla="*/ 69850 w 2864542"/>
                  <a:gd name="connsiteY91" fmla="*/ 42749 h 1280999"/>
                  <a:gd name="connsiteX92" fmla="*/ 15875 w 2864542"/>
                  <a:gd name="connsiteY92" fmla="*/ 23699 h 1280999"/>
                  <a:gd name="connsiteX93" fmla="*/ 15875 w 2864542"/>
                  <a:gd name="connsiteY93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330450 w 2864542"/>
                  <a:gd name="connsiteY83" fmla="*/ 157049 h 1280999"/>
                  <a:gd name="connsiteX84" fmla="*/ 2159000 w 2864542"/>
                  <a:gd name="connsiteY84" fmla="*/ 195149 h 1280999"/>
                  <a:gd name="connsiteX85" fmla="*/ 1682750 w 2864542"/>
                  <a:gd name="connsiteY85" fmla="*/ 233249 h 1280999"/>
                  <a:gd name="connsiteX86" fmla="*/ 1073150 w 2864542"/>
                  <a:gd name="connsiteY86" fmla="*/ 233249 h 1280999"/>
                  <a:gd name="connsiteX87" fmla="*/ 1057275 w 2864542"/>
                  <a:gd name="connsiteY87" fmla="*/ 226899 h 1280999"/>
                  <a:gd name="connsiteX88" fmla="*/ 679450 w 2864542"/>
                  <a:gd name="connsiteY88" fmla="*/ 191974 h 1280999"/>
                  <a:gd name="connsiteX89" fmla="*/ 387350 w 2864542"/>
                  <a:gd name="connsiteY89" fmla="*/ 141174 h 1280999"/>
                  <a:gd name="connsiteX90" fmla="*/ 69850 w 2864542"/>
                  <a:gd name="connsiteY90" fmla="*/ 42749 h 1280999"/>
                  <a:gd name="connsiteX91" fmla="*/ 15875 w 2864542"/>
                  <a:gd name="connsiteY91" fmla="*/ 23699 h 1280999"/>
                  <a:gd name="connsiteX92" fmla="*/ 15875 w 2864542"/>
                  <a:gd name="connsiteY92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644775 w 2864542"/>
                  <a:gd name="connsiteY79" fmla="*/ 103074 h 1280999"/>
                  <a:gd name="connsiteX80" fmla="*/ 2593975 w 2864542"/>
                  <a:gd name="connsiteY80" fmla="*/ 115774 h 1280999"/>
                  <a:gd name="connsiteX81" fmla="*/ 2559050 w 2864542"/>
                  <a:gd name="connsiteY81" fmla="*/ 125299 h 1280999"/>
                  <a:gd name="connsiteX82" fmla="*/ 2533650 w 2864542"/>
                  <a:gd name="connsiteY82" fmla="*/ 128474 h 1280999"/>
                  <a:gd name="connsiteX83" fmla="*/ 2159000 w 2864542"/>
                  <a:gd name="connsiteY83" fmla="*/ 195149 h 1280999"/>
                  <a:gd name="connsiteX84" fmla="*/ 1682750 w 2864542"/>
                  <a:gd name="connsiteY84" fmla="*/ 233249 h 1280999"/>
                  <a:gd name="connsiteX85" fmla="*/ 1073150 w 2864542"/>
                  <a:gd name="connsiteY85" fmla="*/ 233249 h 1280999"/>
                  <a:gd name="connsiteX86" fmla="*/ 1057275 w 2864542"/>
                  <a:gd name="connsiteY86" fmla="*/ 226899 h 1280999"/>
                  <a:gd name="connsiteX87" fmla="*/ 679450 w 2864542"/>
                  <a:gd name="connsiteY87" fmla="*/ 191974 h 1280999"/>
                  <a:gd name="connsiteX88" fmla="*/ 387350 w 2864542"/>
                  <a:gd name="connsiteY88" fmla="*/ 141174 h 1280999"/>
                  <a:gd name="connsiteX89" fmla="*/ 69850 w 2864542"/>
                  <a:gd name="connsiteY89" fmla="*/ 42749 h 1280999"/>
                  <a:gd name="connsiteX90" fmla="*/ 15875 w 2864542"/>
                  <a:gd name="connsiteY90" fmla="*/ 23699 h 1280999"/>
                  <a:gd name="connsiteX91" fmla="*/ 15875 w 2864542"/>
                  <a:gd name="connsiteY91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93975 w 2864542"/>
                  <a:gd name="connsiteY79" fmla="*/ 115774 h 1280999"/>
                  <a:gd name="connsiteX80" fmla="*/ 2559050 w 2864542"/>
                  <a:gd name="connsiteY80" fmla="*/ 125299 h 1280999"/>
                  <a:gd name="connsiteX81" fmla="*/ 2533650 w 2864542"/>
                  <a:gd name="connsiteY81" fmla="*/ 128474 h 1280999"/>
                  <a:gd name="connsiteX82" fmla="*/ 2159000 w 2864542"/>
                  <a:gd name="connsiteY82" fmla="*/ 195149 h 1280999"/>
                  <a:gd name="connsiteX83" fmla="*/ 1682750 w 2864542"/>
                  <a:gd name="connsiteY83" fmla="*/ 233249 h 1280999"/>
                  <a:gd name="connsiteX84" fmla="*/ 1073150 w 2864542"/>
                  <a:gd name="connsiteY84" fmla="*/ 233249 h 1280999"/>
                  <a:gd name="connsiteX85" fmla="*/ 1057275 w 2864542"/>
                  <a:gd name="connsiteY85" fmla="*/ 226899 h 1280999"/>
                  <a:gd name="connsiteX86" fmla="*/ 679450 w 2864542"/>
                  <a:gd name="connsiteY86" fmla="*/ 191974 h 1280999"/>
                  <a:gd name="connsiteX87" fmla="*/ 387350 w 2864542"/>
                  <a:gd name="connsiteY87" fmla="*/ 141174 h 1280999"/>
                  <a:gd name="connsiteX88" fmla="*/ 69850 w 2864542"/>
                  <a:gd name="connsiteY88" fmla="*/ 42749 h 1280999"/>
                  <a:gd name="connsiteX89" fmla="*/ 15875 w 2864542"/>
                  <a:gd name="connsiteY89" fmla="*/ 23699 h 1280999"/>
                  <a:gd name="connsiteX90" fmla="*/ 15875 w 2864542"/>
                  <a:gd name="connsiteY90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667000 w 2864542"/>
                  <a:gd name="connsiteY78" fmla="*/ 90374 h 1280999"/>
                  <a:gd name="connsiteX79" fmla="*/ 2559050 w 2864542"/>
                  <a:gd name="connsiteY79" fmla="*/ 125299 h 1280999"/>
                  <a:gd name="connsiteX80" fmla="*/ 2533650 w 2864542"/>
                  <a:gd name="connsiteY80" fmla="*/ 128474 h 1280999"/>
                  <a:gd name="connsiteX81" fmla="*/ 2159000 w 2864542"/>
                  <a:gd name="connsiteY81" fmla="*/ 195149 h 1280999"/>
                  <a:gd name="connsiteX82" fmla="*/ 1682750 w 2864542"/>
                  <a:gd name="connsiteY82" fmla="*/ 233249 h 1280999"/>
                  <a:gd name="connsiteX83" fmla="*/ 1073150 w 2864542"/>
                  <a:gd name="connsiteY83" fmla="*/ 233249 h 1280999"/>
                  <a:gd name="connsiteX84" fmla="*/ 1057275 w 2864542"/>
                  <a:gd name="connsiteY84" fmla="*/ 226899 h 1280999"/>
                  <a:gd name="connsiteX85" fmla="*/ 679450 w 2864542"/>
                  <a:gd name="connsiteY85" fmla="*/ 191974 h 1280999"/>
                  <a:gd name="connsiteX86" fmla="*/ 387350 w 2864542"/>
                  <a:gd name="connsiteY86" fmla="*/ 141174 h 1280999"/>
                  <a:gd name="connsiteX87" fmla="*/ 69850 w 2864542"/>
                  <a:gd name="connsiteY87" fmla="*/ 42749 h 1280999"/>
                  <a:gd name="connsiteX88" fmla="*/ 15875 w 2864542"/>
                  <a:gd name="connsiteY88" fmla="*/ 23699 h 1280999"/>
                  <a:gd name="connsiteX89" fmla="*/ 15875 w 2864542"/>
                  <a:gd name="connsiteY89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689225 w 2864542"/>
                  <a:gd name="connsiteY77" fmla="*/ 77674 h 1280999"/>
                  <a:gd name="connsiteX78" fmla="*/ 2559050 w 2864542"/>
                  <a:gd name="connsiteY78" fmla="*/ 125299 h 1280999"/>
                  <a:gd name="connsiteX79" fmla="*/ 2533650 w 2864542"/>
                  <a:gd name="connsiteY79" fmla="*/ 128474 h 1280999"/>
                  <a:gd name="connsiteX80" fmla="*/ 2159000 w 2864542"/>
                  <a:gd name="connsiteY80" fmla="*/ 195149 h 1280999"/>
                  <a:gd name="connsiteX81" fmla="*/ 1682750 w 2864542"/>
                  <a:gd name="connsiteY81" fmla="*/ 233249 h 1280999"/>
                  <a:gd name="connsiteX82" fmla="*/ 1073150 w 2864542"/>
                  <a:gd name="connsiteY82" fmla="*/ 233249 h 1280999"/>
                  <a:gd name="connsiteX83" fmla="*/ 1057275 w 2864542"/>
                  <a:gd name="connsiteY83" fmla="*/ 226899 h 1280999"/>
                  <a:gd name="connsiteX84" fmla="*/ 679450 w 2864542"/>
                  <a:gd name="connsiteY84" fmla="*/ 191974 h 1280999"/>
                  <a:gd name="connsiteX85" fmla="*/ 387350 w 2864542"/>
                  <a:gd name="connsiteY85" fmla="*/ 141174 h 1280999"/>
                  <a:gd name="connsiteX86" fmla="*/ 69850 w 2864542"/>
                  <a:gd name="connsiteY86" fmla="*/ 42749 h 1280999"/>
                  <a:gd name="connsiteX87" fmla="*/ 15875 w 2864542"/>
                  <a:gd name="connsiteY87" fmla="*/ 23699 h 1280999"/>
                  <a:gd name="connsiteX88" fmla="*/ 15875 w 2864542"/>
                  <a:gd name="connsiteY88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46375 w 2864542"/>
                  <a:gd name="connsiteY75" fmla="*/ 55449 h 1280999"/>
                  <a:gd name="connsiteX76" fmla="*/ 2717800 w 2864542"/>
                  <a:gd name="connsiteY76" fmla="*/ 64974 h 1280999"/>
                  <a:gd name="connsiteX77" fmla="*/ 2559050 w 2864542"/>
                  <a:gd name="connsiteY77" fmla="*/ 125299 h 1280999"/>
                  <a:gd name="connsiteX78" fmla="*/ 2533650 w 2864542"/>
                  <a:gd name="connsiteY78" fmla="*/ 128474 h 1280999"/>
                  <a:gd name="connsiteX79" fmla="*/ 2159000 w 2864542"/>
                  <a:gd name="connsiteY79" fmla="*/ 195149 h 1280999"/>
                  <a:gd name="connsiteX80" fmla="*/ 1682750 w 2864542"/>
                  <a:gd name="connsiteY80" fmla="*/ 233249 h 1280999"/>
                  <a:gd name="connsiteX81" fmla="*/ 1073150 w 2864542"/>
                  <a:gd name="connsiteY81" fmla="*/ 233249 h 1280999"/>
                  <a:gd name="connsiteX82" fmla="*/ 1057275 w 2864542"/>
                  <a:gd name="connsiteY82" fmla="*/ 226899 h 1280999"/>
                  <a:gd name="connsiteX83" fmla="*/ 679450 w 2864542"/>
                  <a:gd name="connsiteY83" fmla="*/ 191974 h 1280999"/>
                  <a:gd name="connsiteX84" fmla="*/ 387350 w 2864542"/>
                  <a:gd name="connsiteY84" fmla="*/ 141174 h 1280999"/>
                  <a:gd name="connsiteX85" fmla="*/ 69850 w 2864542"/>
                  <a:gd name="connsiteY85" fmla="*/ 42749 h 1280999"/>
                  <a:gd name="connsiteX86" fmla="*/ 15875 w 2864542"/>
                  <a:gd name="connsiteY86" fmla="*/ 23699 h 1280999"/>
                  <a:gd name="connsiteX87" fmla="*/ 15875 w 2864542"/>
                  <a:gd name="connsiteY87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717800 w 2864542"/>
                  <a:gd name="connsiteY75" fmla="*/ 64974 h 1280999"/>
                  <a:gd name="connsiteX76" fmla="*/ 2559050 w 2864542"/>
                  <a:gd name="connsiteY76" fmla="*/ 125299 h 1280999"/>
                  <a:gd name="connsiteX77" fmla="*/ 2533650 w 2864542"/>
                  <a:gd name="connsiteY77" fmla="*/ 128474 h 1280999"/>
                  <a:gd name="connsiteX78" fmla="*/ 2159000 w 2864542"/>
                  <a:gd name="connsiteY78" fmla="*/ 195149 h 1280999"/>
                  <a:gd name="connsiteX79" fmla="*/ 1682750 w 2864542"/>
                  <a:gd name="connsiteY79" fmla="*/ 233249 h 1280999"/>
                  <a:gd name="connsiteX80" fmla="*/ 1073150 w 2864542"/>
                  <a:gd name="connsiteY80" fmla="*/ 233249 h 1280999"/>
                  <a:gd name="connsiteX81" fmla="*/ 1057275 w 2864542"/>
                  <a:gd name="connsiteY81" fmla="*/ 226899 h 1280999"/>
                  <a:gd name="connsiteX82" fmla="*/ 679450 w 2864542"/>
                  <a:gd name="connsiteY82" fmla="*/ 191974 h 1280999"/>
                  <a:gd name="connsiteX83" fmla="*/ 387350 w 2864542"/>
                  <a:gd name="connsiteY83" fmla="*/ 141174 h 1280999"/>
                  <a:gd name="connsiteX84" fmla="*/ 69850 w 2864542"/>
                  <a:gd name="connsiteY84" fmla="*/ 42749 h 1280999"/>
                  <a:gd name="connsiteX85" fmla="*/ 15875 w 2864542"/>
                  <a:gd name="connsiteY85" fmla="*/ 23699 h 1280999"/>
                  <a:gd name="connsiteX86" fmla="*/ 15875 w 2864542"/>
                  <a:gd name="connsiteY86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59075 w 2864542"/>
                  <a:gd name="connsiteY74" fmla="*/ 490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59050 w 2864542"/>
                  <a:gd name="connsiteY75" fmla="*/ 125299 h 1280999"/>
                  <a:gd name="connsiteX76" fmla="*/ 2533650 w 2864542"/>
                  <a:gd name="connsiteY76" fmla="*/ 128474 h 1280999"/>
                  <a:gd name="connsiteX77" fmla="*/ 2159000 w 2864542"/>
                  <a:gd name="connsiteY77" fmla="*/ 195149 h 1280999"/>
                  <a:gd name="connsiteX78" fmla="*/ 1682750 w 2864542"/>
                  <a:gd name="connsiteY78" fmla="*/ 233249 h 1280999"/>
                  <a:gd name="connsiteX79" fmla="*/ 1073150 w 2864542"/>
                  <a:gd name="connsiteY79" fmla="*/ 233249 h 1280999"/>
                  <a:gd name="connsiteX80" fmla="*/ 1057275 w 2864542"/>
                  <a:gd name="connsiteY80" fmla="*/ 226899 h 1280999"/>
                  <a:gd name="connsiteX81" fmla="*/ 679450 w 2864542"/>
                  <a:gd name="connsiteY81" fmla="*/ 191974 h 1280999"/>
                  <a:gd name="connsiteX82" fmla="*/ 387350 w 2864542"/>
                  <a:gd name="connsiteY82" fmla="*/ 141174 h 1280999"/>
                  <a:gd name="connsiteX83" fmla="*/ 69850 w 2864542"/>
                  <a:gd name="connsiteY83" fmla="*/ 42749 h 1280999"/>
                  <a:gd name="connsiteX84" fmla="*/ 15875 w 2864542"/>
                  <a:gd name="connsiteY84" fmla="*/ 23699 h 1280999"/>
                  <a:gd name="connsiteX85" fmla="*/ 15875 w 2864542"/>
                  <a:gd name="connsiteY85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43200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4649 h 1280999"/>
                  <a:gd name="connsiteX1" fmla="*/ 15875 w 2864542"/>
                  <a:gd name="connsiteY1" fmla="*/ 42749 h 1280999"/>
                  <a:gd name="connsiteX2" fmla="*/ 12700 w 2864542"/>
                  <a:gd name="connsiteY2" fmla="*/ 115774 h 1280999"/>
                  <a:gd name="connsiteX3" fmla="*/ 15875 w 2864542"/>
                  <a:gd name="connsiteY3" fmla="*/ 798399 h 1280999"/>
                  <a:gd name="connsiteX4" fmla="*/ 0 w 2864542"/>
                  <a:gd name="connsiteY4" fmla="*/ 938099 h 1280999"/>
                  <a:gd name="connsiteX5" fmla="*/ 3175 w 2864542"/>
                  <a:gd name="connsiteY5" fmla="*/ 1020649 h 1280999"/>
                  <a:gd name="connsiteX6" fmla="*/ 12700 w 2864542"/>
                  <a:gd name="connsiteY6" fmla="*/ 1039699 h 1280999"/>
                  <a:gd name="connsiteX7" fmla="*/ 28575 w 2864542"/>
                  <a:gd name="connsiteY7" fmla="*/ 1042874 h 1280999"/>
                  <a:gd name="connsiteX8" fmla="*/ 41275 w 2864542"/>
                  <a:gd name="connsiteY8" fmla="*/ 1052399 h 1280999"/>
                  <a:gd name="connsiteX9" fmla="*/ 60325 w 2864542"/>
                  <a:gd name="connsiteY9" fmla="*/ 1068274 h 1280999"/>
                  <a:gd name="connsiteX10" fmla="*/ 73025 w 2864542"/>
                  <a:gd name="connsiteY10" fmla="*/ 1074624 h 1280999"/>
                  <a:gd name="connsiteX11" fmla="*/ 104775 w 2864542"/>
                  <a:gd name="connsiteY11" fmla="*/ 1087324 h 1280999"/>
                  <a:gd name="connsiteX12" fmla="*/ 117475 w 2864542"/>
                  <a:gd name="connsiteY12" fmla="*/ 1090499 h 1280999"/>
                  <a:gd name="connsiteX13" fmla="*/ 133350 w 2864542"/>
                  <a:gd name="connsiteY13" fmla="*/ 1096849 h 1280999"/>
                  <a:gd name="connsiteX14" fmla="*/ 149225 w 2864542"/>
                  <a:gd name="connsiteY14" fmla="*/ 1100024 h 1280999"/>
                  <a:gd name="connsiteX15" fmla="*/ 184150 w 2864542"/>
                  <a:gd name="connsiteY15" fmla="*/ 1109549 h 1280999"/>
                  <a:gd name="connsiteX16" fmla="*/ 206375 w 2864542"/>
                  <a:gd name="connsiteY16" fmla="*/ 1119074 h 1280999"/>
                  <a:gd name="connsiteX17" fmla="*/ 219075 w 2864542"/>
                  <a:gd name="connsiteY17" fmla="*/ 1122249 h 1280999"/>
                  <a:gd name="connsiteX18" fmla="*/ 288925 w 2864542"/>
                  <a:gd name="connsiteY18" fmla="*/ 1157174 h 1280999"/>
                  <a:gd name="connsiteX19" fmla="*/ 301625 w 2864542"/>
                  <a:gd name="connsiteY19" fmla="*/ 1160349 h 1280999"/>
                  <a:gd name="connsiteX20" fmla="*/ 323850 w 2864542"/>
                  <a:gd name="connsiteY20" fmla="*/ 1166699 h 1280999"/>
                  <a:gd name="connsiteX21" fmla="*/ 355600 w 2864542"/>
                  <a:gd name="connsiteY21" fmla="*/ 1169874 h 1280999"/>
                  <a:gd name="connsiteX22" fmla="*/ 387350 w 2864542"/>
                  <a:gd name="connsiteY22" fmla="*/ 1176224 h 1280999"/>
                  <a:gd name="connsiteX23" fmla="*/ 406400 w 2864542"/>
                  <a:gd name="connsiteY23" fmla="*/ 1185749 h 1280999"/>
                  <a:gd name="connsiteX24" fmla="*/ 428625 w 2864542"/>
                  <a:gd name="connsiteY24" fmla="*/ 1188924 h 1280999"/>
                  <a:gd name="connsiteX25" fmla="*/ 542925 w 2864542"/>
                  <a:gd name="connsiteY25" fmla="*/ 1198449 h 1280999"/>
                  <a:gd name="connsiteX26" fmla="*/ 631825 w 2864542"/>
                  <a:gd name="connsiteY26" fmla="*/ 1211149 h 1280999"/>
                  <a:gd name="connsiteX27" fmla="*/ 654050 w 2864542"/>
                  <a:gd name="connsiteY27" fmla="*/ 1214324 h 1280999"/>
                  <a:gd name="connsiteX28" fmla="*/ 711200 w 2864542"/>
                  <a:gd name="connsiteY28" fmla="*/ 1223849 h 1280999"/>
                  <a:gd name="connsiteX29" fmla="*/ 758825 w 2864542"/>
                  <a:gd name="connsiteY29" fmla="*/ 1230199 h 1280999"/>
                  <a:gd name="connsiteX30" fmla="*/ 819150 w 2864542"/>
                  <a:gd name="connsiteY30" fmla="*/ 1233374 h 1280999"/>
                  <a:gd name="connsiteX31" fmla="*/ 904875 w 2864542"/>
                  <a:gd name="connsiteY31" fmla="*/ 1246074 h 1280999"/>
                  <a:gd name="connsiteX32" fmla="*/ 939800 w 2864542"/>
                  <a:gd name="connsiteY32" fmla="*/ 1252424 h 1280999"/>
                  <a:gd name="connsiteX33" fmla="*/ 1089025 w 2864542"/>
                  <a:gd name="connsiteY33" fmla="*/ 1258774 h 1280999"/>
                  <a:gd name="connsiteX34" fmla="*/ 1155700 w 2864542"/>
                  <a:gd name="connsiteY34" fmla="*/ 1265124 h 1280999"/>
                  <a:gd name="connsiteX35" fmla="*/ 1358900 w 2864542"/>
                  <a:gd name="connsiteY35" fmla="*/ 1274649 h 1280999"/>
                  <a:gd name="connsiteX36" fmla="*/ 1666875 w 2864542"/>
                  <a:gd name="connsiteY36" fmla="*/ 1280999 h 1280999"/>
                  <a:gd name="connsiteX37" fmla="*/ 1835150 w 2864542"/>
                  <a:gd name="connsiteY37" fmla="*/ 1277824 h 1280999"/>
                  <a:gd name="connsiteX38" fmla="*/ 1866900 w 2864542"/>
                  <a:gd name="connsiteY38" fmla="*/ 1271474 h 1280999"/>
                  <a:gd name="connsiteX39" fmla="*/ 1949450 w 2864542"/>
                  <a:gd name="connsiteY39" fmla="*/ 1255599 h 1280999"/>
                  <a:gd name="connsiteX40" fmla="*/ 1968500 w 2864542"/>
                  <a:gd name="connsiteY40" fmla="*/ 1252424 h 1280999"/>
                  <a:gd name="connsiteX41" fmla="*/ 2016125 w 2864542"/>
                  <a:gd name="connsiteY41" fmla="*/ 1242899 h 1280999"/>
                  <a:gd name="connsiteX42" fmla="*/ 2076450 w 2864542"/>
                  <a:gd name="connsiteY42" fmla="*/ 1236549 h 1280999"/>
                  <a:gd name="connsiteX43" fmla="*/ 2139950 w 2864542"/>
                  <a:gd name="connsiteY43" fmla="*/ 1227024 h 1280999"/>
                  <a:gd name="connsiteX44" fmla="*/ 2219325 w 2864542"/>
                  <a:gd name="connsiteY44" fmla="*/ 1214324 h 1280999"/>
                  <a:gd name="connsiteX45" fmla="*/ 2244725 w 2864542"/>
                  <a:gd name="connsiteY45" fmla="*/ 1207974 h 1280999"/>
                  <a:gd name="connsiteX46" fmla="*/ 2473325 w 2864542"/>
                  <a:gd name="connsiteY46" fmla="*/ 1204799 h 1280999"/>
                  <a:gd name="connsiteX47" fmla="*/ 2511425 w 2864542"/>
                  <a:gd name="connsiteY47" fmla="*/ 1198449 h 1280999"/>
                  <a:gd name="connsiteX48" fmla="*/ 2524125 w 2864542"/>
                  <a:gd name="connsiteY48" fmla="*/ 1195274 h 1280999"/>
                  <a:gd name="connsiteX49" fmla="*/ 2546350 w 2864542"/>
                  <a:gd name="connsiteY49" fmla="*/ 1192099 h 1280999"/>
                  <a:gd name="connsiteX50" fmla="*/ 2644775 w 2864542"/>
                  <a:gd name="connsiteY50" fmla="*/ 1160349 h 1280999"/>
                  <a:gd name="connsiteX51" fmla="*/ 2682875 w 2864542"/>
                  <a:gd name="connsiteY51" fmla="*/ 1147649 h 1280999"/>
                  <a:gd name="connsiteX52" fmla="*/ 2717800 w 2864542"/>
                  <a:gd name="connsiteY52" fmla="*/ 1138124 h 1280999"/>
                  <a:gd name="connsiteX53" fmla="*/ 2740025 w 2864542"/>
                  <a:gd name="connsiteY53" fmla="*/ 1125424 h 1280999"/>
                  <a:gd name="connsiteX54" fmla="*/ 2752725 w 2864542"/>
                  <a:gd name="connsiteY54" fmla="*/ 1122249 h 1280999"/>
                  <a:gd name="connsiteX55" fmla="*/ 2809875 w 2864542"/>
                  <a:gd name="connsiteY55" fmla="*/ 1084149 h 1280999"/>
                  <a:gd name="connsiteX56" fmla="*/ 2841625 w 2864542"/>
                  <a:gd name="connsiteY56" fmla="*/ 1055574 h 1280999"/>
                  <a:gd name="connsiteX57" fmla="*/ 2854325 w 2864542"/>
                  <a:gd name="connsiteY57" fmla="*/ 1042874 h 1280999"/>
                  <a:gd name="connsiteX58" fmla="*/ 2857500 w 2864542"/>
                  <a:gd name="connsiteY58" fmla="*/ 696799 h 1280999"/>
                  <a:gd name="connsiteX59" fmla="*/ 2851150 w 2864542"/>
                  <a:gd name="connsiteY59" fmla="*/ 645999 h 1280999"/>
                  <a:gd name="connsiteX60" fmla="*/ 2841625 w 2864542"/>
                  <a:gd name="connsiteY60" fmla="*/ 509474 h 1280999"/>
                  <a:gd name="connsiteX61" fmla="*/ 2838450 w 2864542"/>
                  <a:gd name="connsiteY61" fmla="*/ 480899 h 1280999"/>
                  <a:gd name="connsiteX62" fmla="*/ 2835275 w 2864542"/>
                  <a:gd name="connsiteY62" fmla="*/ 465024 h 1280999"/>
                  <a:gd name="connsiteX63" fmla="*/ 2841625 w 2864542"/>
                  <a:gd name="connsiteY63" fmla="*/ 388824 h 1280999"/>
                  <a:gd name="connsiteX64" fmla="*/ 2851150 w 2864542"/>
                  <a:gd name="connsiteY64" fmla="*/ 350724 h 1280999"/>
                  <a:gd name="connsiteX65" fmla="*/ 2854325 w 2864542"/>
                  <a:gd name="connsiteY65" fmla="*/ 338024 h 1280999"/>
                  <a:gd name="connsiteX66" fmla="*/ 2857500 w 2864542"/>
                  <a:gd name="connsiteY66" fmla="*/ 306274 h 1280999"/>
                  <a:gd name="connsiteX67" fmla="*/ 2860675 w 2864542"/>
                  <a:gd name="connsiteY67" fmla="*/ 290399 h 1280999"/>
                  <a:gd name="connsiteX68" fmla="*/ 2851150 w 2864542"/>
                  <a:gd name="connsiteY68" fmla="*/ 166574 h 1280999"/>
                  <a:gd name="connsiteX69" fmla="*/ 2841625 w 2864542"/>
                  <a:gd name="connsiteY69" fmla="*/ 128474 h 1280999"/>
                  <a:gd name="connsiteX70" fmla="*/ 2832100 w 2864542"/>
                  <a:gd name="connsiteY70" fmla="*/ 80849 h 1280999"/>
                  <a:gd name="connsiteX71" fmla="*/ 2828925 w 2864542"/>
                  <a:gd name="connsiteY71" fmla="*/ 1474 h 1280999"/>
                  <a:gd name="connsiteX72" fmla="*/ 2816225 w 2864542"/>
                  <a:gd name="connsiteY72" fmla="*/ 4649 h 1280999"/>
                  <a:gd name="connsiteX73" fmla="*/ 2787650 w 2864542"/>
                  <a:gd name="connsiteY73" fmla="*/ 17349 h 1280999"/>
                  <a:gd name="connsiteX74" fmla="*/ 2733675 w 2864542"/>
                  <a:gd name="connsiteY74" fmla="*/ 74499 h 1280999"/>
                  <a:gd name="connsiteX75" fmla="*/ 2533650 w 2864542"/>
                  <a:gd name="connsiteY75" fmla="*/ 128474 h 1280999"/>
                  <a:gd name="connsiteX76" fmla="*/ 2159000 w 2864542"/>
                  <a:gd name="connsiteY76" fmla="*/ 195149 h 1280999"/>
                  <a:gd name="connsiteX77" fmla="*/ 1682750 w 2864542"/>
                  <a:gd name="connsiteY77" fmla="*/ 233249 h 1280999"/>
                  <a:gd name="connsiteX78" fmla="*/ 1073150 w 2864542"/>
                  <a:gd name="connsiteY78" fmla="*/ 233249 h 1280999"/>
                  <a:gd name="connsiteX79" fmla="*/ 1057275 w 2864542"/>
                  <a:gd name="connsiteY79" fmla="*/ 226899 h 1280999"/>
                  <a:gd name="connsiteX80" fmla="*/ 679450 w 2864542"/>
                  <a:gd name="connsiteY80" fmla="*/ 191974 h 1280999"/>
                  <a:gd name="connsiteX81" fmla="*/ 387350 w 2864542"/>
                  <a:gd name="connsiteY81" fmla="*/ 141174 h 1280999"/>
                  <a:gd name="connsiteX82" fmla="*/ 69850 w 2864542"/>
                  <a:gd name="connsiteY82" fmla="*/ 42749 h 1280999"/>
                  <a:gd name="connsiteX83" fmla="*/ 15875 w 2864542"/>
                  <a:gd name="connsiteY83" fmla="*/ 23699 h 1280999"/>
                  <a:gd name="connsiteX84" fmla="*/ 15875 w 2864542"/>
                  <a:gd name="connsiteY84" fmla="*/ 4649 h 1280999"/>
                  <a:gd name="connsiteX0" fmla="*/ 15875 w 2864542"/>
                  <a:gd name="connsiteY0" fmla="*/ 7767 h 1284117"/>
                  <a:gd name="connsiteX1" fmla="*/ 15875 w 2864542"/>
                  <a:gd name="connsiteY1" fmla="*/ 45867 h 1284117"/>
                  <a:gd name="connsiteX2" fmla="*/ 12700 w 2864542"/>
                  <a:gd name="connsiteY2" fmla="*/ 118892 h 1284117"/>
                  <a:gd name="connsiteX3" fmla="*/ 15875 w 2864542"/>
                  <a:gd name="connsiteY3" fmla="*/ 801517 h 1284117"/>
                  <a:gd name="connsiteX4" fmla="*/ 0 w 2864542"/>
                  <a:gd name="connsiteY4" fmla="*/ 941217 h 1284117"/>
                  <a:gd name="connsiteX5" fmla="*/ 3175 w 2864542"/>
                  <a:gd name="connsiteY5" fmla="*/ 1023767 h 1284117"/>
                  <a:gd name="connsiteX6" fmla="*/ 12700 w 2864542"/>
                  <a:gd name="connsiteY6" fmla="*/ 1042817 h 1284117"/>
                  <a:gd name="connsiteX7" fmla="*/ 28575 w 2864542"/>
                  <a:gd name="connsiteY7" fmla="*/ 1045992 h 1284117"/>
                  <a:gd name="connsiteX8" fmla="*/ 41275 w 2864542"/>
                  <a:gd name="connsiteY8" fmla="*/ 1055517 h 1284117"/>
                  <a:gd name="connsiteX9" fmla="*/ 60325 w 2864542"/>
                  <a:gd name="connsiteY9" fmla="*/ 1071392 h 1284117"/>
                  <a:gd name="connsiteX10" fmla="*/ 73025 w 2864542"/>
                  <a:gd name="connsiteY10" fmla="*/ 1077742 h 1284117"/>
                  <a:gd name="connsiteX11" fmla="*/ 104775 w 2864542"/>
                  <a:gd name="connsiteY11" fmla="*/ 1090442 h 1284117"/>
                  <a:gd name="connsiteX12" fmla="*/ 117475 w 2864542"/>
                  <a:gd name="connsiteY12" fmla="*/ 1093617 h 1284117"/>
                  <a:gd name="connsiteX13" fmla="*/ 133350 w 2864542"/>
                  <a:gd name="connsiteY13" fmla="*/ 1099967 h 1284117"/>
                  <a:gd name="connsiteX14" fmla="*/ 149225 w 2864542"/>
                  <a:gd name="connsiteY14" fmla="*/ 1103142 h 1284117"/>
                  <a:gd name="connsiteX15" fmla="*/ 184150 w 2864542"/>
                  <a:gd name="connsiteY15" fmla="*/ 1112667 h 1284117"/>
                  <a:gd name="connsiteX16" fmla="*/ 206375 w 2864542"/>
                  <a:gd name="connsiteY16" fmla="*/ 1122192 h 1284117"/>
                  <a:gd name="connsiteX17" fmla="*/ 219075 w 2864542"/>
                  <a:gd name="connsiteY17" fmla="*/ 1125367 h 1284117"/>
                  <a:gd name="connsiteX18" fmla="*/ 288925 w 2864542"/>
                  <a:gd name="connsiteY18" fmla="*/ 1160292 h 1284117"/>
                  <a:gd name="connsiteX19" fmla="*/ 301625 w 2864542"/>
                  <a:gd name="connsiteY19" fmla="*/ 1163467 h 1284117"/>
                  <a:gd name="connsiteX20" fmla="*/ 323850 w 2864542"/>
                  <a:gd name="connsiteY20" fmla="*/ 1169817 h 1284117"/>
                  <a:gd name="connsiteX21" fmla="*/ 355600 w 2864542"/>
                  <a:gd name="connsiteY21" fmla="*/ 1172992 h 1284117"/>
                  <a:gd name="connsiteX22" fmla="*/ 387350 w 2864542"/>
                  <a:gd name="connsiteY22" fmla="*/ 1179342 h 1284117"/>
                  <a:gd name="connsiteX23" fmla="*/ 406400 w 2864542"/>
                  <a:gd name="connsiteY23" fmla="*/ 1188867 h 1284117"/>
                  <a:gd name="connsiteX24" fmla="*/ 428625 w 2864542"/>
                  <a:gd name="connsiteY24" fmla="*/ 1192042 h 1284117"/>
                  <a:gd name="connsiteX25" fmla="*/ 542925 w 2864542"/>
                  <a:gd name="connsiteY25" fmla="*/ 1201567 h 1284117"/>
                  <a:gd name="connsiteX26" fmla="*/ 631825 w 2864542"/>
                  <a:gd name="connsiteY26" fmla="*/ 1214267 h 1284117"/>
                  <a:gd name="connsiteX27" fmla="*/ 654050 w 2864542"/>
                  <a:gd name="connsiteY27" fmla="*/ 1217442 h 1284117"/>
                  <a:gd name="connsiteX28" fmla="*/ 711200 w 2864542"/>
                  <a:gd name="connsiteY28" fmla="*/ 1226967 h 1284117"/>
                  <a:gd name="connsiteX29" fmla="*/ 758825 w 2864542"/>
                  <a:gd name="connsiteY29" fmla="*/ 1233317 h 1284117"/>
                  <a:gd name="connsiteX30" fmla="*/ 819150 w 2864542"/>
                  <a:gd name="connsiteY30" fmla="*/ 1236492 h 1284117"/>
                  <a:gd name="connsiteX31" fmla="*/ 904875 w 2864542"/>
                  <a:gd name="connsiteY31" fmla="*/ 1249192 h 1284117"/>
                  <a:gd name="connsiteX32" fmla="*/ 939800 w 2864542"/>
                  <a:gd name="connsiteY32" fmla="*/ 1255542 h 1284117"/>
                  <a:gd name="connsiteX33" fmla="*/ 1089025 w 2864542"/>
                  <a:gd name="connsiteY33" fmla="*/ 1261892 h 1284117"/>
                  <a:gd name="connsiteX34" fmla="*/ 1155700 w 2864542"/>
                  <a:gd name="connsiteY34" fmla="*/ 1268242 h 1284117"/>
                  <a:gd name="connsiteX35" fmla="*/ 1358900 w 2864542"/>
                  <a:gd name="connsiteY35" fmla="*/ 1277767 h 1284117"/>
                  <a:gd name="connsiteX36" fmla="*/ 1666875 w 2864542"/>
                  <a:gd name="connsiteY36" fmla="*/ 1284117 h 1284117"/>
                  <a:gd name="connsiteX37" fmla="*/ 1835150 w 2864542"/>
                  <a:gd name="connsiteY37" fmla="*/ 1280942 h 1284117"/>
                  <a:gd name="connsiteX38" fmla="*/ 1866900 w 2864542"/>
                  <a:gd name="connsiteY38" fmla="*/ 1274592 h 1284117"/>
                  <a:gd name="connsiteX39" fmla="*/ 1949450 w 2864542"/>
                  <a:gd name="connsiteY39" fmla="*/ 1258717 h 1284117"/>
                  <a:gd name="connsiteX40" fmla="*/ 1968500 w 2864542"/>
                  <a:gd name="connsiteY40" fmla="*/ 1255542 h 1284117"/>
                  <a:gd name="connsiteX41" fmla="*/ 2016125 w 2864542"/>
                  <a:gd name="connsiteY41" fmla="*/ 1246017 h 1284117"/>
                  <a:gd name="connsiteX42" fmla="*/ 2076450 w 2864542"/>
                  <a:gd name="connsiteY42" fmla="*/ 1239667 h 1284117"/>
                  <a:gd name="connsiteX43" fmla="*/ 2139950 w 2864542"/>
                  <a:gd name="connsiteY43" fmla="*/ 1230142 h 1284117"/>
                  <a:gd name="connsiteX44" fmla="*/ 2219325 w 2864542"/>
                  <a:gd name="connsiteY44" fmla="*/ 1217442 h 1284117"/>
                  <a:gd name="connsiteX45" fmla="*/ 2244725 w 2864542"/>
                  <a:gd name="connsiteY45" fmla="*/ 1211092 h 1284117"/>
                  <a:gd name="connsiteX46" fmla="*/ 2473325 w 2864542"/>
                  <a:gd name="connsiteY46" fmla="*/ 1207917 h 1284117"/>
                  <a:gd name="connsiteX47" fmla="*/ 2511425 w 2864542"/>
                  <a:gd name="connsiteY47" fmla="*/ 1201567 h 1284117"/>
                  <a:gd name="connsiteX48" fmla="*/ 2524125 w 2864542"/>
                  <a:gd name="connsiteY48" fmla="*/ 1198392 h 1284117"/>
                  <a:gd name="connsiteX49" fmla="*/ 2546350 w 2864542"/>
                  <a:gd name="connsiteY49" fmla="*/ 1195217 h 1284117"/>
                  <a:gd name="connsiteX50" fmla="*/ 2644775 w 2864542"/>
                  <a:gd name="connsiteY50" fmla="*/ 1163467 h 1284117"/>
                  <a:gd name="connsiteX51" fmla="*/ 2682875 w 2864542"/>
                  <a:gd name="connsiteY51" fmla="*/ 1150767 h 1284117"/>
                  <a:gd name="connsiteX52" fmla="*/ 2717800 w 2864542"/>
                  <a:gd name="connsiteY52" fmla="*/ 1141242 h 1284117"/>
                  <a:gd name="connsiteX53" fmla="*/ 2740025 w 2864542"/>
                  <a:gd name="connsiteY53" fmla="*/ 1128542 h 1284117"/>
                  <a:gd name="connsiteX54" fmla="*/ 2752725 w 2864542"/>
                  <a:gd name="connsiteY54" fmla="*/ 1125367 h 1284117"/>
                  <a:gd name="connsiteX55" fmla="*/ 2809875 w 2864542"/>
                  <a:gd name="connsiteY55" fmla="*/ 1087267 h 1284117"/>
                  <a:gd name="connsiteX56" fmla="*/ 2841625 w 2864542"/>
                  <a:gd name="connsiteY56" fmla="*/ 1058692 h 1284117"/>
                  <a:gd name="connsiteX57" fmla="*/ 2854325 w 2864542"/>
                  <a:gd name="connsiteY57" fmla="*/ 1045992 h 1284117"/>
                  <a:gd name="connsiteX58" fmla="*/ 2857500 w 2864542"/>
                  <a:gd name="connsiteY58" fmla="*/ 699917 h 1284117"/>
                  <a:gd name="connsiteX59" fmla="*/ 2851150 w 2864542"/>
                  <a:gd name="connsiteY59" fmla="*/ 649117 h 1284117"/>
                  <a:gd name="connsiteX60" fmla="*/ 2841625 w 2864542"/>
                  <a:gd name="connsiteY60" fmla="*/ 512592 h 1284117"/>
                  <a:gd name="connsiteX61" fmla="*/ 2838450 w 2864542"/>
                  <a:gd name="connsiteY61" fmla="*/ 484017 h 1284117"/>
                  <a:gd name="connsiteX62" fmla="*/ 2835275 w 2864542"/>
                  <a:gd name="connsiteY62" fmla="*/ 468142 h 1284117"/>
                  <a:gd name="connsiteX63" fmla="*/ 2841625 w 2864542"/>
                  <a:gd name="connsiteY63" fmla="*/ 391942 h 1284117"/>
                  <a:gd name="connsiteX64" fmla="*/ 2851150 w 2864542"/>
                  <a:gd name="connsiteY64" fmla="*/ 353842 h 1284117"/>
                  <a:gd name="connsiteX65" fmla="*/ 2854325 w 2864542"/>
                  <a:gd name="connsiteY65" fmla="*/ 341142 h 1284117"/>
                  <a:gd name="connsiteX66" fmla="*/ 2857500 w 2864542"/>
                  <a:gd name="connsiteY66" fmla="*/ 309392 h 1284117"/>
                  <a:gd name="connsiteX67" fmla="*/ 2860675 w 2864542"/>
                  <a:gd name="connsiteY67" fmla="*/ 293517 h 1284117"/>
                  <a:gd name="connsiteX68" fmla="*/ 2851150 w 2864542"/>
                  <a:gd name="connsiteY68" fmla="*/ 169692 h 1284117"/>
                  <a:gd name="connsiteX69" fmla="*/ 2841625 w 2864542"/>
                  <a:gd name="connsiteY69" fmla="*/ 131592 h 1284117"/>
                  <a:gd name="connsiteX70" fmla="*/ 2832100 w 2864542"/>
                  <a:gd name="connsiteY70" fmla="*/ 83967 h 1284117"/>
                  <a:gd name="connsiteX71" fmla="*/ 2828925 w 2864542"/>
                  <a:gd name="connsiteY71" fmla="*/ 4592 h 1284117"/>
                  <a:gd name="connsiteX72" fmla="*/ 2816225 w 2864542"/>
                  <a:gd name="connsiteY72" fmla="*/ 7767 h 1284117"/>
                  <a:gd name="connsiteX73" fmla="*/ 2733675 w 2864542"/>
                  <a:gd name="connsiteY73" fmla="*/ 77617 h 1284117"/>
                  <a:gd name="connsiteX74" fmla="*/ 2533650 w 2864542"/>
                  <a:gd name="connsiteY74" fmla="*/ 131592 h 1284117"/>
                  <a:gd name="connsiteX75" fmla="*/ 2159000 w 2864542"/>
                  <a:gd name="connsiteY75" fmla="*/ 198267 h 1284117"/>
                  <a:gd name="connsiteX76" fmla="*/ 1682750 w 2864542"/>
                  <a:gd name="connsiteY76" fmla="*/ 236367 h 1284117"/>
                  <a:gd name="connsiteX77" fmla="*/ 1073150 w 2864542"/>
                  <a:gd name="connsiteY77" fmla="*/ 236367 h 1284117"/>
                  <a:gd name="connsiteX78" fmla="*/ 1057275 w 2864542"/>
                  <a:gd name="connsiteY78" fmla="*/ 230017 h 1284117"/>
                  <a:gd name="connsiteX79" fmla="*/ 679450 w 2864542"/>
                  <a:gd name="connsiteY79" fmla="*/ 195092 h 1284117"/>
                  <a:gd name="connsiteX80" fmla="*/ 387350 w 2864542"/>
                  <a:gd name="connsiteY80" fmla="*/ 144292 h 1284117"/>
                  <a:gd name="connsiteX81" fmla="*/ 69850 w 2864542"/>
                  <a:gd name="connsiteY81" fmla="*/ 45867 h 1284117"/>
                  <a:gd name="connsiteX82" fmla="*/ 15875 w 2864542"/>
                  <a:gd name="connsiteY82" fmla="*/ 26817 h 1284117"/>
                  <a:gd name="connsiteX83" fmla="*/ 15875 w 2864542"/>
                  <a:gd name="connsiteY83" fmla="*/ 7767 h 1284117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28925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41625 w 2864542"/>
                  <a:gd name="connsiteY69" fmla="*/ 127016 h 1279541"/>
                  <a:gd name="connsiteX70" fmla="*/ 2832100 w 2864542"/>
                  <a:gd name="connsiteY70" fmla="*/ 79391 h 1279541"/>
                  <a:gd name="connsiteX71" fmla="*/ 2838450 w 2864542"/>
                  <a:gd name="connsiteY71" fmla="*/ 16 h 1279541"/>
                  <a:gd name="connsiteX72" fmla="*/ 2733675 w 2864542"/>
                  <a:gd name="connsiteY72" fmla="*/ 73041 h 1279541"/>
                  <a:gd name="connsiteX73" fmla="*/ 2533650 w 2864542"/>
                  <a:gd name="connsiteY73" fmla="*/ 127016 h 1279541"/>
                  <a:gd name="connsiteX74" fmla="*/ 2159000 w 2864542"/>
                  <a:gd name="connsiteY74" fmla="*/ 193691 h 1279541"/>
                  <a:gd name="connsiteX75" fmla="*/ 1682750 w 2864542"/>
                  <a:gd name="connsiteY75" fmla="*/ 231791 h 1279541"/>
                  <a:gd name="connsiteX76" fmla="*/ 1073150 w 2864542"/>
                  <a:gd name="connsiteY76" fmla="*/ 231791 h 1279541"/>
                  <a:gd name="connsiteX77" fmla="*/ 1057275 w 2864542"/>
                  <a:gd name="connsiteY77" fmla="*/ 225441 h 1279541"/>
                  <a:gd name="connsiteX78" fmla="*/ 679450 w 2864542"/>
                  <a:gd name="connsiteY78" fmla="*/ 190516 h 1279541"/>
                  <a:gd name="connsiteX79" fmla="*/ 387350 w 2864542"/>
                  <a:gd name="connsiteY79" fmla="*/ 139716 h 1279541"/>
                  <a:gd name="connsiteX80" fmla="*/ 69850 w 2864542"/>
                  <a:gd name="connsiteY80" fmla="*/ 41291 h 1279541"/>
                  <a:gd name="connsiteX81" fmla="*/ 15875 w 2864542"/>
                  <a:gd name="connsiteY81" fmla="*/ 22241 h 1279541"/>
                  <a:gd name="connsiteX82" fmla="*/ 15875 w 2864542"/>
                  <a:gd name="connsiteY82" fmla="*/ 3191 h 1279541"/>
                  <a:gd name="connsiteX0" fmla="*/ 15875 w 2864542"/>
                  <a:gd name="connsiteY0" fmla="*/ 3191 h 1279541"/>
                  <a:gd name="connsiteX1" fmla="*/ 15875 w 2864542"/>
                  <a:gd name="connsiteY1" fmla="*/ 41291 h 1279541"/>
                  <a:gd name="connsiteX2" fmla="*/ 12700 w 2864542"/>
                  <a:gd name="connsiteY2" fmla="*/ 114316 h 1279541"/>
                  <a:gd name="connsiteX3" fmla="*/ 15875 w 2864542"/>
                  <a:gd name="connsiteY3" fmla="*/ 796941 h 1279541"/>
                  <a:gd name="connsiteX4" fmla="*/ 0 w 2864542"/>
                  <a:gd name="connsiteY4" fmla="*/ 936641 h 1279541"/>
                  <a:gd name="connsiteX5" fmla="*/ 3175 w 2864542"/>
                  <a:gd name="connsiteY5" fmla="*/ 1019191 h 1279541"/>
                  <a:gd name="connsiteX6" fmla="*/ 12700 w 2864542"/>
                  <a:gd name="connsiteY6" fmla="*/ 1038241 h 1279541"/>
                  <a:gd name="connsiteX7" fmla="*/ 28575 w 2864542"/>
                  <a:gd name="connsiteY7" fmla="*/ 1041416 h 1279541"/>
                  <a:gd name="connsiteX8" fmla="*/ 41275 w 2864542"/>
                  <a:gd name="connsiteY8" fmla="*/ 1050941 h 1279541"/>
                  <a:gd name="connsiteX9" fmla="*/ 60325 w 2864542"/>
                  <a:gd name="connsiteY9" fmla="*/ 1066816 h 1279541"/>
                  <a:gd name="connsiteX10" fmla="*/ 73025 w 2864542"/>
                  <a:gd name="connsiteY10" fmla="*/ 1073166 h 1279541"/>
                  <a:gd name="connsiteX11" fmla="*/ 104775 w 2864542"/>
                  <a:gd name="connsiteY11" fmla="*/ 1085866 h 1279541"/>
                  <a:gd name="connsiteX12" fmla="*/ 117475 w 2864542"/>
                  <a:gd name="connsiteY12" fmla="*/ 1089041 h 1279541"/>
                  <a:gd name="connsiteX13" fmla="*/ 133350 w 2864542"/>
                  <a:gd name="connsiteY13" fmla="*/ 1095391 h 1279541"/>
                  <a:gd name="connsiteX14" fmla="*/ 149225 w 2864542"/>
                  <a:gd name="connsiteY14" fmla="*/ 1098566 h 1279541"/>
                  <a:gd name="connsiteX15" fmla="*/ 184150 w 2864542"/>
                  <a:gd name="connsiteY15" fmla="*/ 1108091 h 1279541"/>
                  <a:gd name="connsiteX16" fmla="*/ 206375 w 2864542"/>
                  <a:gd name="connsiteY16" fmla="*/ 1117616 h 1279541"/>
                  <a:gd name="connsiteX17" fmla="*/ 219075 w 2864542"/>
                  <a:gd name="connsiteY17" fmla="*/ 1120791 h 1279541"/>
                  <a:gd name="connsiteX18" fmla="*/ 288925 w 2864542"/>
                  <a:gd name="connsiteY18" fmla="*/ 1155716 h 1279541"/>
                  <a:gd name="connsiteX19" fmla="*/ 301625 w 2864542"/>
                  <a:gd name="connsiteY19" fmla="*/ 1158891 h 1279541"/>
                  <a:gd name="connsiteX20" fmla="*/ 323850 w 2864542"/>
                  <a:gd name="connsiteY20" fmla="*/ 1165241 h 1279541"/>
                  <a:gd name="connsiteX21" fmla="*/ 355600 w 2864542"/>
                  <a:gd name="connsiteY21" fmla="*/ 1168416 h 1279541"/>
                  <a:gd name="connsiteX22" fmla="*/ 387350 w 2864542"/>
                  <a:gd name="connsiteY22" fmla="*/ 1174766 h 1279541"/>
                  <a:gd name="connsiteX23" fmla="*/ 406400 w 2864542"/>
                  <a:gd name="connsiteY23" fmla="*/ 1184291 h 1279541"/>
                  <a:gd name="connsiteX24" fmla="*/ 428625 w 2864542"/>
                  <a:gd name="connsiteY24" fmla="*/ 1187466 h 1279541"/>
                  <a:gd name="connsiteX25" fmla="*/ 542925 w 2864542"/>
                  <a:gd name="connsiteY25" fmla="*/ 1196991 h 1279541"/>
                  <a:gd name="connsiteX26" fmla="*/ 631825 w 2864542"/>
                  <a:gd name="connsiteY26" fmla="*/ 1209691 h 1279541"/>
                  <a:gd name="connsiteX27" fmla="*/ 654050 w 2864542"/>
                  <a:gd name="connsiteY27" fmla="*/ 1212866 h 1279541"/>
                  <a:gd name="connsiteX28" fmla="*/ 711200 w 2864542"/>
                  <a:gd name="connsiteY28" fmla="*/ 1222391 h 1279541"/>
                  <a:gd name="connsiteX29" fmla="*/ 758825 w 2864542"/>
                  <a:gd name="connsiteY29" fmla="*/ 1228741 h 1279541"/>
                  <a:gd name="connsiteX30" fmla="*/ 819150 w 2864542"/>
                  <a:gd name="connsiteY30" fmla="*/ 1231916 h 1279541"/>
                  <a:gd name="connsiteX31" fmla="*/ 904875 w 2864542"/>
                  <a:gd name="connsiteY31" fmla="*/ 1244616 h 1279541"/>
                  <a:gd name="connsiteX32" fmla="*/ 939800 w 2864542"/>
                  <a:gd name="connsiteY32" fmla="*/ 1250966 h 1279541"/>
                  <a:gd name="connsiteX33" fmla="*/ 1089025 w 2864542"/>
                  <a:gd name="connsiteY33" fmla="*/ 1257316 h 1279541"/>
                  <a:gd name="connsiteX34" fmla="*/ 1155700 w 2864542"/>
                  <a:gd name="connsiteY34" fmla="*/ 1263666 h 1279541"/>
                  <a:gd name="connsiteX35" fmla="*/ 1358900 w 2864542"/>
                  <a:gd name="connsiteY35" fmla="*/ 1273191 h 1279541"/>
                  <a:gd name="connsiteX36" fmla="*/ 1666875 w 2864542"/>
                  <a:gd name="connsiteY36" fmla="*/ 1279541 h 1279541"/>
                  <a:gd name="connsiteX37" fmla="*/ 1835150 w 2864542"/>
                  <a:gd name="connsiteY37" fmla="*/ 1276366 h 1279541"/>
                  <a:gd name="connsiteX38" fmla="*/ 1866900 w 2864542"/>
                  <a:gd name="connsiteY38" fmla="*/ 1270016 h 1279541"/>
                  <a:gd name="connsiteX39" fmla="*/ 1949450 w 2864542"/>
                  <a:gd name="connsiteY39" fmla="*/ 1254141 h 1279541"/>
                  <a:gd name="connsiteX40" fmla="*/ 1968500 w 2864542"/>
                  <a:gd name="connsiteY40" fmla="*/ 1250966 h 1279541"/>
                  <a:gd name="connsiteX41" fmla="*/ 2016125 w 2864542"/>
                  <a:gd name="connsiteY41" fmla="*/ 1241441 h 1279541"/>
                  <a:gd name="connsiteX42" fmla="*/ 2076450 w 2864542"/>
                  <a:gd name="connsiteY42" fmla="*/ 1235091 h 1279541"/>
                  <a:gd name="connsiteX43" fmla="*/ 2139950 w 2864542"/>
                  <a:gd name="connsiteY43" fmla="*/ 1225566 h 1279541"/>
                  <a:gd name="connsiteX44" fmla="*/ 2219325 w 2864542"/>
                  <a:gd name="connsiteY44" fmla="*/ 1212866 h 1279541"/>
                  <a:gd name="connsiteX45" fmla="*/ 2244725 w 2864542"/>
                  <a:gd name="connsiteY45" fmla="*/ 1206516 h 1279541"/>
                  <a:gd name="connsiteX46" fmla="*/ 2473325 w 2864542"/>
                  <a:gd name="connsiteY46" fmla="*/ 1203341 h 1279541"/>
                  <a:gd name="connsiteX47" fmla="*/ 2511425 w 2864542"/>
                  <a:gd name="connsiteY47" fmla="*/ 1196991 h 1279541"/>
                  <a:gd name="connsiteX48" fmla="*/ 2524125 w 2864542"/>
                  <a:gd name="connsiteY48" fmla="*/ 1193816 h 1279541"/>
                  <a:gd name="connsiteX49" fmla="*/ 2546350 w 2864542"/>
                  <a:gd name="connsiteY49" fmla="*/ 1190641 h 1279541"/>
                  <a:gd name="connsiteX50" fmla="*/ 2644775 w 2864542"/>
                  <a:gd name="connsiteY50" fmla="*/ 1158891 h 1279541"/>
                  <a:gd name="connsiteX51" fmla="*/ 2682875 w 2864542"/>
                  <a:gd name="connsiteY51" fmla="*/ 1146191 h 1279541"/>
                  <a:gd name="connsiteX52" fmla="*/ 2717800 w 2864542"/>
                  <a:gd name="connsiteY52" fmla="*/ 1136666 h 1279541"/>
                  <a:gd name="connsiteX53" fmla="*/ 2740025 w 2864542"/>
                  <a:gd name="connsiteY53" fmla="*/ 1123966 h 1279541"/>
                  <a:gd name="connsiteX54" fmla="*/ 2752725 w 2864542"/>
                  <a:gd name="connsiteY54" fmla="*/ 1120791 h 1279541"/>
                  <a:gd name="connsiteX55" fmla="*/ 2809875 w 2864542"/>
                  <a:gd name="connsiteY55" fmla="*/ 1082691 h 1279541"/>
                  <a:gd name="connsiteX56" fmla="*/ 2841625 w 2864542"/>
                  <a:gd name="connsiteY56" fmla="*/ 1054116 h 1279541"/>
                  <a:gd name="connsiteX57" fmla="*/ 2854325 w 2864542"/>
                  <a:gd name="connsiteY57" fmla="*/ 1041416 h 1279541"/>
                  <a:gd name="connsiteX58" fmla="*/ 2857500 w 2864542"/>
                  <a:gd name="connsiteY58" fmla="*/ 695341 h 1279541"/>
                  <a:gd name="connsiteX59" fmla="*/ 2851150 w 2864542"/>
                  <a:gd name="connsiteY59" fmla="*/ 644541 h 1279541"/>
                  <a:gd name="connsiteX60" fmla="*/ 2841625 w 2864542"/>
                  <a:gd name="connsiteY60" fmla="*/ 508016 h 1279541"/>
                  <a:gd name="connsiteX61" fmla="*/ 2838450 w 2864542"/>
                  <a:gd name="connsiteY61" fmla="*/ 479441 h 1279541"/>
                  <a:gd name="connsiteX62" fmla="*/ 2835275 w 2864542"/>
                  <a:gd name="connsiteY62" fmla="*/ 463566 h 1279541"/>
                  <a:gd name="connsiteX63" fmla="*/ 2841625 w 2864542"/>
                  <a:gd name="connsiteY63" fmla="*/ 387366 h 1279541"/>
                  <a:gd name="connsiteX64" fmla="*/ 2851150 w 2864542"/>
                  <a:gd name="connsiteY64" fmla="*/ 349266 h 1279541"/>
                  <a:gd name="connsiteX65" fmla="*/ 2854325 w 2864542"/>
                  <a:gd name="connsiteY65" fmla="*/ 336566 h 1279541"/>
                  <a:gd name="connsiteX66" fmla="*/ 2857500 w 2864542"/>
                  <a:gd name="connsiteY66" fmla="*/ 304816 h 1279541"/>
                  <a:gd name="connsiteX67" fmla="*/ 2860675 w 2864542"/>
                  <a:gd name="connsiteY67" fmla="*/ 288941 h 1279541"/>
                  <a:gd name="connsiteX68" fmla="*/ 2851150 w 2864542"/>
                  <a:gd name="connsiteY68" fmla="*/ 165116 h 1279541"/>
                  <a:gd name="connsiteX69" fmla="*/ 2832100 w 2864542"/>
                  <a:gd name="connsiteY69" fmla="*/ 79391 h 1279541"/>
                  <a:gd name="connsiteX70" fmla="*/ 2838450 w 2864542"/>
                  <a:gd name="connsiteY70" fmla="*/ 16 h 1279541"/>
                  <a:gd name="connsiteX71" fmla="*/ 2733675 w 2864542"/>
                  <a:gd name="connsiteY71" fmla="*/ 73041 h 1279541"/>
                  <a:gd name="connsiteX72" fmla="*/ 2533650 w 2864542"/>
                  <a:gd name="connsiteY72" fmla="*/ 127016 h 1279541"/>
                  <a:gd name="connsiteX73" fmla="*/ 2159000 w 2864542"/>
                  <a:gd name="connsiteY73" fmla="*/ 193691 h 1279541"/>
                  <a:gd name="connsiteX74" fmla="*/ 1682750 w 2864542"/>
                  <a:gd name="connsiteY74" fmla="*/ 231791 h 1279541"/>
                  <a:gd name="connsiteX75" fmla="*/ 1073150 w 2864542"/>
                  <a:gd name="connsiteY75" fmla="*/ 231791 h 1279541"/>
                  <a:gd name="connsiteX76" fmla="*/ 1057275 w 2864542"/>
                  <a:gd name="connsiteY76" fmla="*/ 225441 h 1279541"/>
                  <a:gd name="connsiteX77" fmla="*/ 679450 w 2864542"/>
                  <a:gd name="connsiteY77" fmla="*/ 190516 h 1279541"/>
                  <a:gd name="connsiteX78" fmla="*/ 387350 w 2864542"/>
                  <a:gd name="connsiteY78" fmla="*/ 139716 h 1279541"/>
                  <a:gd name="connsiteX79" fmla="*/ 69850 w 2864542"/>
                  <a:gd name="connsiteY79" fmla="*/ 41291 h 1279541"/>
                  <a:gd name="connsiteX80" fmla="*/ 15875 w 2864542"/>
                  <a:gd name="connsiteY80" fmla="*/ 22241 h 1279541"/>
                  <a:gd name="connsiteX81" fmla="*/ 15875 w 2864542"/>
                  <a:gd name="connsiteY81" fmla="*/ 3191 h 127954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60675 w 2864542"/>
                  <a:gd name="connsiteY67" fmla="*/ 291181 h 1281781"/>
                  <a:gd name="connsiteX68" fmla="*/ 2851150 w 2864542"/>
                  <a:gd name="connsiteY68" fmla="*/ 167356 h 1281781"/>
                  <a:gd name="connsiteX69" fmla="*/ 2838450 w 2864542"/>
                  <a:gd name="connsiteY69" fmla="*/ 2256 h 1281781"/>
                  <a:gd name="connsiteX70" fmla="*/ 2733675 w 2864542"/>
                  <a:gd name="connsiteY70" fmla="*/ 75281 h 1281781"/>
                  <a:gd name="connsiteX71" fmla="*/ 2533650 w 2864542"/>
                  <a:gd name="connsiteY71" fmla="*/ 129256 h 1281781"/>
                  <a:gd name="connsiteX72" fmla="*/ 2159000 w 2864542"/>
                  <a:gd name="connsiteY72" fmla="*/ 195931 h 1281781"/>
                  <a:gd name="connsiteX73" fmla="*/ 1682750 w 2864542"/>
                  <a:gd name="connsiteY73" fmla="*/ 234031 h 1281781"/>
                  <a:gd name="connsiteX74" fmla="*/ 1073150 w 2864542"/>
                  <a:gd name="connsiteY74" fmla="*/ 234031 h 1281781"/>
                  <a:gd name="connsiteX75" fmla="*/ 1057275 w 2864542"/>
                  <a:gd name="connsiteY75" fmla="*/ 227681 h 1281781"/>
                  <a:gd name="connsiteX76" fmla="*/ 679450 w 2864542"/>
                  <a:gd name="connsiteY76" fmla="*/ 192756 h 1281781"/>
                  <a:gd name="connsiteX77" fmla="*/ 387350 w 2864542"/>
                  <a:gd name="connsiteY77" fmla="*/ 141956 h 1281781"/>
                  <a:gd name="connsiteX78" fmla="*/ 69850 w 2864542"/>
                  <a:gd name="connsiteY78" fmla="*/ 43531 h 1281781"/>
                  <a:gd name="connsiteX79" fmla="*/ 15875 w 2864542"/>
                  <a:gd name="connsiteY79" fmla="*/ 24481 h 1281781"/>
                  <a:gd name="connsiteX80" fmla="*/ 15875 w 2864542"/>
                  <a:gd name="connsiteY8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4325 w 2864542"/>
                  <a:gd name="connsiteY65" fmla="*/ 338806 h 1281781"/>
                  <a:gd name="connsiteX66" fmla="*/ 2857500 w 2864542"/>
                  <a:gd name="connsiteY66" fmla="*/ 307056 h 1281781"/>
                  <a:gd name="connsiteX67" fmla="*/ 2851150 w 2864542"/>
                  <a:gd name="connsiteY67" fmla="*/ 167356 h 1281781"/>
                  <a:gd name="connsiteX68" fmla="*/ 2838450 w 2864542"/>
                  <a:gd name="connsiteY68" fmla="*/ 2256 h 1281781"/>
                  <a:gd name="connsiteX69" fmla="*/ 2733675 w 2864542"/>
                  <a:gd name="connsiteY69" fmla="*/ 75281 h 1281781"/>
                  <a:gd name="connsiteX70" fmla="*/ 2533650 w 2864542"/>
                  <a:gd name="connsiteY70" fmla="*/ 129256 h 1281781"/>
                  <a:gd name="connsiteX71" fmla="*/ 2159000 w 2864542"/>
                  <a:gd name="connsiteY71" fmla="*/ 195931 h 1281781"/>
                  <a:gd name="connsiteX72" fmla="*/ 1682750 w 2864542"/>
                  <a:gd name="connsiteY72" fmla="*/ 234031 h 1281781"/>
                  <a:gd name="connsiteX73" fmla="*/ 1073150 w 2864542"/>
                  <a:gd name="connsiteY73" fmla="*/ 234031 h 1281781"/>
                  <a:gd name="connsiteX74" fmla="*/ 1057275 w 2864542"/>
                  <a:gd name="connsiteY74" fmla="*/ 227681 h 1281781"/>
                  <a:gd name="connsiteX75" fmla="*/ 679450 w 2864542"/>
                  <a:gd name="connsiteY75" fmla="*/ 192756 h 1281781"/>
                  <a:gd name="connsiteX76" fmla="*/ 387350 w 2864542"/>
                  <a:gd name="connsiteY76" fmla="*/ 141956 h 1281781"/>
                  <a:gd name="connsiteX77" fmla="*/ 69850 w 2864542"/>
                  <a:gd name="connsiteY77" fmla="*/ 43531 h 1281781"/>
                  <a:gd name="connsiteX78" fmla="*/ 15875 w 2864542"/>
                  <a:gd name="connsiteY78" fmla="*/ 24481 h 1281781"/>
                  <a:gd name="connsiteX79" fmla="*/ 15875 w 2864542"/>
                  <a:gd name="connsiteY7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351506 h 1281781"/>
                  <a:gd name="connsiteX65" fmla="*/ 2857500 w 2864542"/>
                  <a:gd name="connsiteY65" fmla="*/ 307056 h 1281781"/>
                  <a:gd name="connsiteX66" fmla="*/ 2851150 w 2864542"/>
                  <a:gd name="connsiteY66" fmla="*/ 167356 h 1281781"/>
                  <a:gd name="connsiteX67" fmla="*/ 2838450 w 2864542"/>
                  <a:gd name="connsiteY67" fmla="*/ 2256 h 1281781"/>
                  <a:gd name="connsiteX68" fmla="*/ 2733675 w 2864542"/>
                  <a:gd name="connsiteY68" fmla="*/ 75281 h 1281781"/>
                  <a:gd name="connsiteX69" fmla="*/ 2533650 w 2864542"/>
                  <a:gd name="connsiteY69" fmla="*/ 129256 h 1281781"/>
                  <a:gd name="connsiteX70" fmla="*/ 2159000 w 2864542"/>
                  <a:gd name="connsiteY70" fmla="*/ 195931 h 1281781"/>
                  <a:gd name="connsiteX71" fmla="*/ 1682750 w 2864542"/>
                  <a:gd name="connsiteY71" fmla="*/ 234031 h 1281781"/>
                  <a:gd name="connsiteX72" fmla="*/ 1073150 w 2864542"/>
                  <a:gd name="connsiteY72" fmla="*/ 234031 h 1281781"/>
                  <a:gd name="connsiteX73" fmla="*/ 1057275 w 2864542"/>
                  <a:gd name="connsiteY73" fmla="*/ 227681 h 1281781"/>
                  <a:gd name="connsiteX74" fmla="*/ 679450 w 2864542"/>
                  <a:gd name="connsiteY74" fmla="*/ 192756 h 1281781"/>
                  <a:gd name="connsiteX75" fmla="*/ 387350 w 2864542"/>
                  <a:gd name="connsiteY75" fmla="*/ 141956 h 1281781"/>
                  <a:gd name="connsiteX76" fmla="*/ 69850 w 2864542"/>
                  <a:gd name="connsiteY76" fmla="*/ 43531 h 1281781"/>
                  <a:gd name="connsiteX77" fmla="*/ 15875 w 2864542"/>
                  <a:gd name="connsiteY77" fmla="*/ 24481 h 1281781"/>
                  <a:gd name="connsiteX78" fmla="*/ 15875 w 2864542"/>
                  <a:gd name="connsiteY7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7500 w 2864542"/>
                  <a:gd name="connsiteY64" fmla="*/ 307056 h 1281781"/>
                  <a:gd name="connsiteX65" fmla="*/ 2851150 w 2864542"/>
                  <a:gd name="connsiteY65" fmla="*/ 167356 h 1281781"/>
                  <a:gd name="connsiteX66" fmla="*/ 2838450 w 2864542"/>
                  <a:gd name="connsiteY66" fmla="*/ 2256 h 1281781"/>
                  <a:gd name="connsiteX67" fmla="*/ 2733675 w 2864542"/>
                  <a:gd name="connsiteY67" fmla="*/ 75281 h 1281781"/>
                  <a:gd name="connsiteX68" fmla="*/ 2533650 w 2864542"/>
                  <a:gd name="connsiteY68" fmla="*/ 129256 h 1281781"/>
                  <a:gd name="connsiteX69" fmla="*/ 2159000 w 2864542"/>
                  <a:gd name="connsiteY69" fmla="*/ 195931 h 1281781"/>
                  <a:gd name="connsiteX70" fmla="*/ 1682750 w 2864542"/>
                  <a:gd name="connsiteY70" fmla="*/ 234031 h 1281781"/>
                  <a:gd name="connsiteX71" fmla="*/ 1073150 w 2864542"/>
                  <a:gd name="connsiteY71" fmla="*/ 234031 h 1281781"/>
                  <a:gd name="connsiteX72" fmla="*/ 1057275 w 2864542"/>
                  <a:gd name="connsiteY72" fmla="*/ 227681 h 1281781"/>
                  <a:gd name="connsiteX73" fmla="*/ 679450 w 2864542"/>
                  <a:gd name="connsiteY73" fmla="*/ 192756 h 1281781"/>
                  <a:gd name="connsiteX74" fmla="*/ 387350 w 2864542"/>
                  <a:gd name="connsiteY74" fmla="*/ 141956 h 1281781"/>
                  <a:gd name="connsiteX75" fmla="*/ 69850 w 2864542"/>
                  <a:gd name="connsiteY75" fmla="*/ 43531 h 1281781"/>
                  <a:gd name="connsiteX76" fmla="*/ 15875 w 2864542"/>
                  <a:gd name="connsiteY76" fmla="*/ 24481 h 1281781"/>
                  <a:gd name="connsiteX77" fmla="*/ 15875 w 2864542"/>
                  <a:gd name="connsiteY7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8450 w 2864542"/>
                  <a:gd name="connsiteY61" fmla="*/ 481681 h 1281781"/>
                  <a:gd name="connsiteX62" fmla="*/ 2835275 w 2864542"/>
                  <a:gd name="connsiteY62" fmla="*/ 465806 h 1281781"/>
                  <a:gd name="connsiteX63" fmla="*/ 2841625 w 2864542"/>
                  <a:gd name="connsiteY63" fmla="*/ 389606 h 1281781"/>
                  <a:gd name="connsiteX64" fmla="*/ 2851150 w 2864542"/>
                  <a:gd name="connsiteY64" fmla="*/ 167356 h 1281781"/>
                  <a:gd name="connsiteX65" fmla="*/ 2838450 w 2864542"/>
                  <a:gd name="connsiteY65" fmla="*/ 2256 h 1281781"/>
                  <a:gd name="connsiteX66" fmla="*/ 2733675 w 2864542"/>
                  <a:gd name="connsiteY66" fmla="*/ 75281 h 1281781"/>
                  <a:gd name="connsiteX67" fmla="*/ 2533650 w 2864542"/>
                  <a:gd name="connsiteY67" fmla="*/ 129256 h 1281781"/>
                  <a:gd name="connsiteX68" fmla="*/ 2159000 w 2864542"/>
                  <a:gd name="connsiteY68" fmla="*/ 195931 h 1281781"/>
                  <a:gd name="connsiteX69" fmla="*/ 1682750 w 2864542"/>
                  <a:gd name="connsiteY69" fmla="*/ 234031 h 1281781"/>
                  <a:gd name="connsiteX70" fmla="*/ 1073150 w 2864542"/>
                  <a:gd name="connsiteY70" fmla="*/ 234031 h 1281781"/>
                  <a:gd name="connsiteX71" fmla="*/ 1057275 w 2864542"/>
                  <a:gd name="connsiteY71" fmla="*/ 227681 h 1281781"/>
                  <a:gd name="connsiteX72" fmla="*/ 679450 w 2864542"/>
                  <a:gd name="connsiteY72" fmla="*/ 192756 h 1281781"/>
                  <a:gd name="connsiteX73" fmla="*/ 387350 w 2864542"/>
                  <a:gd name="connsiteY73" fmla="*/ 141956 h 1281781"/>
                  <a:gd name="connsiteX74" fmla="*/ 69850 w 2864542"/>
                  <a:gd name="connsiteY74" fmla="*/ 43531 h 1281781"/>
                  <a:gd name="connsiteX75" fmla="*/ 15875 w 2864542"/>
                  <a:gd name="connsiteY75" fmla="*/ 24481 h 1281781"/>
                  <a:gd name="connsiteX76" fmla="*/ 15875 w 2864542"/>
                  <a:gd name="connsiteY7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510256 h 1281781"/>
                  <a:gd name="connsiteX61" fmla="*/ 2835275 w 2864542"/>
                  <a:gd name="connsiteY61" fmla="*/ 465806 h 1281781"/>
                  <a:gd name="connsiteX62" fmla="*/ 2841625 w 2864542"/>
                  <a:gd name="connsiteY62" fmla="*/ 389606 h 1281781"/>
                  <a:gd name="connsiteX63" fmla="*/ 2851150 w 2864542"/>
                  <a:gd name="connsiteY63" fmla="*/ 167356 h 1281781"/>
                  <a:gd name="connsiteX64" fmla="*/ 2838450 w 2864542"/>
                  <a:gd name="connsiteY64" fmla="*/ 2256 h 1281781"/>
                  <a:gd name="connsiteX65" fmla="*/ 2733675 w 2864542"/>
                  <a:gd name="connsiteY65" fmla="*/ 75281 h 1281781"/>
                  <a:gd name="connsiteX66" fmla="*/ 2533650 w 2864542"/>
                  <a:gd name="connsiteY66" fmla="*/ 129256 h 1281781"/>
                  <a:gd name="connsiteX67" fmla="*/ 2159000 w 2864542"/>
                  <a:gd name="connsiteY67" fmla="*/ 195931 h 1281781"/>
                  <a:gd name="connsiteX68" fmla="*/ 1682750 w 2864542"/>
                  <a:gd name="connsiteY68" fmla="*/ 234031 h 1281781"/>
                  <a:gd name="connsiteX69" fmla="*/ 1073150 w 2864542"/>
                  <a:gd name="connsiteY69" fmla="*/ 234031 h 1281781"/>
                  <a:gd name="connsiteX70" fmla="*/ 1057275 w 2864542"/>
                  <a:gd name="connsiteY70" fmla="*/ 227681 h 1281781"/>
                  <a:gd name="connsiteX71" fmla="*/ 679450 w 2864542"/>
                  <a:gd name="connsiteY71" fmla="*/ 192756 h 1281781"/>
                  <a:gd name="connsiteX72" fmla="*/ 387350 w 2864542"/>
                  <a:gd name="connsiteY72" fmla="*/ 141956 h 1281781"/>
                  <a:gd name="connsiteX73" fmla="*/ 69850 w 2864542"/>
                  <a:gd name="connsiteY73" fmla="*/ 43531 h 1281781"/>
                  <a:gd name="connsiteX74" fmla="*/ 15875 w 2864542"/>
                  <a:gd name="connsiteY74" fmla="*/ 24481 h 1281781"/>
                  <a:gd name="connsiteX75" fmla="*/ 15875 w 2864542"/>
                  <a:gd name="connsiteY7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35275 w 2864542"/>
                  <a:gd name="connsiteY60" fmla="*/ 4658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09875 w 2864542"/>
                  <a:gd name="connsiteY55" fmla="*/ 1084931 h 1281781"/>
                  <a:gd name="connsiteX56" fmla="*/ 2841625 w 2864542"/>
                  <a:gd name="connsiteY56" fmla="*/ 1056356 h 1281781"/>
                  <a:gd name="connsiteX57" fmla="*/ 2854325 w 2864542"/>
                  <a:gd name="connsiteY57" fmla="*/ 1043656 h 1281781"/>
                  <a:gd name="connsiteX58" fmla="*/ 2857500 w 2864542"/>
                  <a:gd name="connsiteY58" fmla="*/ 697581 h 1281781"/>
                  <a:gd name="connsiteX59" fmla="*/ 2851150 w 2864542"/>
                  <a:gd name="connsiteY59" fmla="*/ 646781 h 1281781"/>
                  <a:gd name="connsiteX60" fmla="*/ 2841625 w 2864542"/>
                  <a:gd name="connsiteY60" fmla="*/ 491206 h 1281781"/>
                  <a:gd name="connsiteX61" fmla="*/ 2841625 w 2864542"/>
                  <a:gd name="connsiteY61" fmla="*/ 389606 h 1281781"/>
                  <a:gd name="connsiteX62" fmla="*/ 2851150 w 2864542"/>
                  <a:gd name="connsiteY62" fmla="*/ 167356 h 1281781"/>
                  <a:gd name="connsiteX63" fmla="*/ 2838450 w 2864542"/>
                  <a:gd name="connsiteY63" fmla="*/ 2256 h 1281781"/>
                  <a:gd name="connsiteX64" fmla="*/ 2733675 w 2864542"/>
                  <a:gd name="connsiteY64" fmla="*/ 75281 h 1281781"/>
                  <a:gd name="connsiteX65" fmla="*/ 2533650 w 2864542"/>
                  <a:gd name="connsiteY65" fmla="*/ 129256 h 1281781"/>
                  <a:gd name="connsiteX66" fmla="*/ 2159000 w 2864542"/>
                  <a:gd name="connsiteY66" fmla="*/ 195931 h 1281781"/>
                  <a:gd name="connsiteX67" fmla="*/ 1682750 w 2864542"/>
                  <a:gd name="connsiteY67" fmla="*/ 234031 h 1281781"/>
                  <a:gd name="connsiteX68" fmla="*/ 1073150 w 2864542"/>
                  <a:gd name="connsiteY68" fmla="*/ 234031 h 1281781"/>
                  <a:gd name="connsiteX69" fmla="*/ 1057275 w 2864542"/>
                  <a:gd name="connsiteY69" fmla="*/ 227681 h 1281781"/>
                  <a:gd name="connsiteX70" fmla="*/ 679450 w 2864542"/>
                  <a:gd name="connsiteY70" fmla="*/ 192756 h 1281781"/>
                  <a:gd name="connsiteX71" fmla="*/ 387350 w 2864542"/>
                  <a:gd name="connsiteY71" fmla="*/ 141956 h 1281781"/>
                  <a:gd name="connsiteX72" fmla="*/ 69850 w 2864542"/>
                  <a:gd name="connsiteY72" fmla="*/ 43531 h 1281781"/>
                  <a:gd name="connsiteX73" fmla="*/ 15875 w 2864542"/>
                  <a:gd name="connsiteY73" fmla="*/ 24481 h 1281781"/>
                  <a:gd name="connsiteX74" fmla="*/ 15875 w 2864542"/>
                  <a:gd name="connsiteY7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41625 w 2864542"/>
                  <a:gd name="connsiteY55" fmla="*/ 1056356 h 1281781"/>
                  <a:gd name="connsiteX56" fmla="*/ 2854325 w 2864542"/>
                  <a:gd name="connsiteY56" fmla="*/ 1043656 h 1281781"/>
                  <a:gd name="connsiteX57" fmla="*/ 2857500 w 2864542"/>
                  <a:gd name="connsiteY57" fmla="*/ 697581 h 1281781"/>
                  <a:gd name="connsiteX58" fmla="*/ 2851150 w 2864542"/>
                  <a:gd name="connsiteY58" fmla="*/ 646781 h 1281781"/>
                  <a:gd name="connsiteX59" fmla="*/ 2841625 w 2864542"/>
                  <a:gd name="connsiteY59" fmla="*/ 491206 h 1281781"/>
                  <a:gd name="connsiteX60" fmla="*/ 2841625 w 2864542"/>
                  <a:gd name="connsiteY60" fmla="*/ 389606 h 1281781"/>
                  <a:gd name="connsiteX61" fmla="*/ 2851150 w 2864542"/>
                  <a:gd name="connsiteY61" fmla="*/ 167356 h 1281781"/>
                  <a:gd name="connsiteX62" fmla="*/ 2838450 w 2864542"/>
                  <a:gd name="connsiteY62" fmla="*/ 2256 h 1281781"/>
                  <a:gd name="connsiteX63" fmla="*/ 2733675 w 2864542"/>
                  <a:gd name="connsiteY63" fmla="*/ 75281 h 1281781"/>
                  <a:gd name="connsiteX64" fmla="*/ 2533650 w 2864542"/>
                  <a:gd name="connsiteY64" fmla="*/ 129256 h 1281781"/>
                  <a:gd name="connsiteX65" fmla="*/ 2159000 w 2864542"/>
                  <a:gd name="connsiteY65" fmla="*/ 195931 h 1281781"/>
                  <a:gd name="connsiteX66" fmla="*/ 1682750 w 2864542"/>
                  <a:gd name="connsiteY66" fmla="*/ 234031 h 1281781"/>
                  <a:gd name="connsiteX67" fmla="*/ 1073150 w 2864542"/>
                  <a:gd name="connsiteY67" fmla="*/ 234031 h 1281781"/>
                  <a:gd name="connsiteX68" fmla="*/ 1057275 w 2864542"/>
                  <a:gd name="connsiteY68" fmla="*/ 227681 h 1281781"/>
                  <a:gd name="connsiteX69" fmla="*/ 679450 w 2864542"/>
                  <a:gd name="connsiteY69" fmla="*/ 192756 h 1281781"/>
                  <a:gd name="connsiteX70" fmla="*/ 387350 w 2864542"/>
                  <a:gd name="connsiteY70" fmla="*/ 141956 h 1281781"/>
                  <a:gd name="connsiteX71" fmla="*/ 69850 w 2864542"/>
                  <a:gd name="connsiteY71" fmla="*/ 43531 h 1281781"/>
                  <a:gd name="connsiteX72" fmla="*/ 15875 w 2864542"/>
                  <a:gd name="connsiteY72" fmla="*/ 24481 h 1281781"/>
                  <a:gd name="connsiteX73" fmla="*/ 15875 w 2864542"/>
                  <a:gd name="connsiteY7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752725 w 2864542"/>
                  <a:gd name="connsiteY54" fmla="*/ 1123031 h 1281781"/>
                  <a:gd name="connsiteX55" fmla="*/ 2854325 w 2864542"/>
                  <a:gd name="connsiteY55" fmla="*/ 1043656 h 1281781"/>
                  <a:gd name="connsiteX56" fmla="*/ 2857500 w 2864542"/>
                  <a:gd name="connsiteY56" fmla="*/ 697581 h 1281781"/>
                  <a:gd name="connsiteX57" fmla="*/ 2851150 w 2864542"/>
                  <a:gd name="connsiteY57" fmla="*/ 646781 h 1281781"/>
                  <a:gd name="connsiteX58" fmla="*/ 2841625 w 2864542"/>
                  <a:gd name="connsiteY58" fmla="*/ 491206 h 1281781"/>
                  <a:gd name="connsiteX59" fmla="*/ 2841625 w 2864542"/>
                  <a:gd name="connsiteY59" fmla="*/ 389606 h 1281781"/>
                  <a:gd name="connsiteX60" fmla="*/ 2851150 w 2864542"/>
                  <a:gd name="connsiteY60" fmla="*/ 167356 h 1281781"/>
                  <a:gd name="connsiteX61" fmla="*/ 2838450 w 2864542"/>
                  <a:gd name="connsiteY61" fmla="*/ 2256 h 1281781"/>
                  <a:gd name="connsiteX62" fmla="*/ 2733675 w 2864542"/>
                  <a:gd name="connsiteY62" fmla="*/ 75281 h 1281781"/>
                  <a:gd name="connsiteX63" fmla="*/ 2533650 w 2864542"/>
                  <a:gd name="connsiteY63" fmla="*/ 129256 h 1281781"/>
                  <a:gd name="connsiteX64" fmla="*/ 2159000 w 2864542"/>
                  <a:gd name="connsiteY64" fmla="*/ 195931 h 1281781"/>
                  <a:gd name="connsiteX65" fmla="*/ 1682750 w 2864542"/>
                  <a:gd name="connsiteY65" fmla="*/ 234031 h 1281781"/>
                  <a:gd name="connsiteX66" fmla="*/ 1073150 w 2864542"/>
                  <a:gd name="connsiteY66" fmla="*/ 234031 h 1281781"/>
                  <a:gd name="connsiteX67" fmla="*/ 1057275 w 2864542"/>
                  <a:gd name="connsiteY67" fmla="*/ 227681 h 1281781"/>
                  <a:gd name="connsiteX68" fmla="*/ 679450 w 2864542"/>
                  <a:gd name="connsiteY68" fmla="*/ 192756 h 1281781"/>
                  <a:gd name="connsiteX69" fmla="*/ 387350 w 2864542"/>
                  <a:gd name="connsiteY69" fmla="*/ 141956 h 1281781"/>
                  <a:gd name="connsiteX70" fmla="*/ 69850 w 2864542"/>
                  <a:gd name="connsiteY70" fmla="*/ 43531 h 1281781"/>
                  <a:gd name="connsiteX71" fmla="*/ 15875 w 2864542"/>
                  <a:gd name="connsiteY71" fmla="*/ 24481 h 1281781"/>
                  <a:gd name="connsiteX72" fmla="*/ 15875 w 2864542"/>
                  <a:gd name="connsiteY7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17800 w 2864542"/>
                  <a:gd name="connsiteY52" fmla="*/ 1138906 h 1281781"/>
                  <a:gd name="connsiteX53" fmla="*/ 2740025 w 2864542"/>
                  <a:gd name="connsiteY53" fmla="*/ 1126206 h 1281781"/>
                  <a:gd name="connsiteX54" fmla="*/ 2854325 w 2864542"/>
                  <a:gd name="connsiteY54" fmla="*/ 1043656 h 1281781"/>
                  <a:gd name="connsiteX55" fmla="*/ 2857500 w 2864542"/>
                  <a:gd name="connsiteY55" fmla="*/ 697581 h 1281781"/>
                  <a:gd name="connsiteX56" fmla="*/ 2851150 w 2864542"/>
                  <a:gd name="connsiteY56" fmla="*/ 646781 h 1281781"/>
                  <a:gd name="connsiteX57" fmla="*/ 2841625 w 2864542"/>
                  <a:gd name="connsiteY57" fmla="*/ 491206 h 1281781"/>
                  <a:gd name="connsiteX58" fmla="*/ 2841625 w 2864542"/>
                  <a:gd name="connsiteY58" fmla="*/ 389606 h 1281781"/>
                  <a:gd name="connsiteX59" fmla="*/ 2851150 w 2864542"/>
                  <a:gd name="connsiteY59" fmla="*/ 167356 h 1281781"/>
                  <a:gd name="connsiteX60" fmla="*/ 2838450 w 2864542"/>
                  <a:gd name="connsiteY60" fmla="*/ 2256 h 1281781"/>
                  <a:gd name="connsiteX61" fmla="*/ 2733675 w 2864542"/>
                  <a:gd name="connsiteY61" fmla="*/ 75281 h 1281781"/>
                  <a:gd name="connsiteX62" fmla="*/ 2533650 w 2864542"/>
                  <a:gd name="connsiteY62" fmla="*/ 129256 h 1281781"/>
                  <a:gd name="connsiteX63" fmla="*/ 2159000 w 2864542"/>
                  <a:gd name="connsiteY63" fmla="*/ 195931 h 1281781"/>
                  <a:gd name="connsiteX64" fmla="*/ 1682750 w 2864542"/>
                  <a:gd name="connsiteY64" fmla="*/ 234031 h 1281781"/>
                  <a:gd name="connsiteX65" fmla="*/ 1073150 w 2864542"/>
                  <a:gd name="connsiteY65" fmla="*/ 234031 h 1281781"/>
                  <a:gd name="connsiteX66" fmla="*/ 1057275 w 2864542"/>
                  <a:gd name="connsiteY66" fmla="*/ 227681 h 1281781"/>
                  <a:gd name="connsiteX67" fmla="*/ 679450 w 2864542"/>
                  <a:gd name="connsiteY67" fmla="*/ 192756 h 1281781"/>
                  <a:gd name="connsiteX68" fmla="*/ 387350 w 2864542"/>
                  <a:gd name="connsiteY68" fmla="*/ 141956 h 1281781"/>
                  <a:gd name="connsiteX69" fmla="*/ 69850 w 2864542"/>
                  <a:gd name="connsiteY69" fmla="*/ 43531 h 1281781"/>
                  <a:gd name="connsiteX70" fmla="*/ 15875 w 2864542"/>
                  <a:gd name="connsiteY70" fmla="*/ 24481 h 1281781"/>
                  <a:gd name="connsiteX71" fmla="*/ 15875 w 2864542"/>
                  <a:gd name="connsiteY7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740025 w 2864542"/>
                  <a:gd name="connsiteY52" fmla="*/ 1126206 h 1281781"/>
                  <a:gd name="connsiteX53" fmla="*/ 2854325 w 2864542"/>
                  <a:gd name="connsiteY53" fmla="*/ 1043656 h 1281781"/>
                  <a:gd name="connsiteX54" fmla="*/ 2857500 w 2864542"/>
                  <a:gd name="connsiteY54" fmla="*/ 697581 h 1281781"/>
                  <a:gd name="connsiteX55" fmla="*/ 2851150 w 2864542"/>
                  <a:gd name="connsiteY55" fmla="*/ 646781 h 1281781"/>
                  <a:gd name="connsiteX56" fmla="*/ 2841625 w 2864542"/>
                  <a:gd name="connsiteY56" fmla="*/ 491206 h 1281781"/>
                  <a:gd name="connsiteX57" fmla="*/ 2841625 w 2864542"/>
                  <a:gd name="connsiteY57" fmla="*/ 389606 h 1281781"/>
                  <a:gd name="connsiteX58" fmla="*/ 2851150 w 2864542"/>
                  <a:gd name="connsiteY58" fmla="*/ 167356 h 1281781"/>
                  <a:gd name="connsiteX59" fmla="*/ 2838450 w 2864542"/>
                  <a:gd name="connsiteY59" fmla="*/ 2256 h 1281781"/>
                  <a:gd name="connsiteX60" fmla="*/ 2733675 w 2864542"/>
                  <a:gd name="connsiteY60" fmla="*/ 75281 h 1281781"/>
                  <a:gd name="connsiteX61" fmla="*/ 2533650 w 2864542"/>
                  <a:gd name="connsiteY61" fmla="*/ 129256 h 1281781"/>
                  <a:gd name="connsiteX62" fmla="*/ 2159000 w 2864542"/>
                  <a:gd name="connsiteY62" fmla="*/ 195931 h 1281781"/>
                  <a:gd name="connsiteX63" fmla="*/ 1682750 w 2864542"/>
                  <a:gd name="connsiteY63" fmla="*/ 234031 h 1281781"/>
                  <a:gd name="connsiteX64" fmla="*/ 1073150 w 2864542"/>
                  <a:gd name="connsiteY64" fmla="*/ 234031 h 1281781"/>
                  <a:gd name="connsiteX65" fmla="*/ 1057275 w 2864542"/>
                  <a:gd name="connsiteY65" fmla="*/ 227681 h 1281781"/>
                  <a:gd name="connsiteX66" fmla="*/ 679450 w 2864542"/>
                  <a:gd name="connsiteY66" fmla="*/ 192756 h 1281781"/>
                  <a:gd name="connsiteX67" fmla="*/ 387350 w 2864542"/>
                  <a:gd name="connsiteY67" fmla="*/ 141956 h 1281781"/>
                  <a:gd name="connsiteX68" fmla="*/ 69850 w 2864542"/>
                  <a:gd name="connsiteY68" fmla="*/ 43531 h 1281781"/>
                  <a:gd name="connsiteX69" fmla="*/ 15875 w 2864542"/>
                  <a:gd name="connsiteY69" fmla="*/ 24481 h 1281781"/>
                  <a:gd name="connsiteX70" fmla="*/ 15875 w 2864542"/>
                  <a:gd name="connsiteY7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44775 w 2864542"/>
                  <a:gd name="connsiteY50" fmla="*/ 1161131 h 1281781"/>
                  <a:gd name="connsiteX51" fmla="*/ 2682875 w 2864542"/>
                  <a:gd name="connsiteY51" fmla="*/ 1148431 h 1281781"/>
                  <a:gd name="connsiteX52" fmla="*/ 2854325 w 2864542"/>
                  <a:gd name="connsiteY52" fmla="*/ 1043656 h 1281781"/>
                  <a:gd name="connsiteX53" fmla="*/ 2857500 w 2864542"/>
                  <a:gd name="connsiteY53" fmla="*/ 697581 h 1281781"/>
                  <a:gd name="connsiteX54" fmla="*/ 2851150 w 2864542"/>
                  <a:gd name="connsiteY54" fmla="*/ 646781 h 1281781"/>
                  <a:gd name="connsiteX55" fmla="*/ 2841625 w 2864542"/>
                  <a:gd name="connsiteY55" fmla="*/ 491206 h 1281781"/>
                  <a:gd name="connsiteX56" fmla="*/ 2841625 w 2864542"/>
                  <a:gd name="connsiteY56" fmla="*/ 389606 h 1281781"/>
                  <a:gd name="connsiteX57" fmla="*/ 2851150 w 2864542"/>
                  <a:gd name="connsiteY57" fmla="*/ 167356 h 1281781"/>
                  <a:gd name="connsiteX58" fmla="*/ 2838450 w 2864542"/>
                  <a:gd name="connsiteY58" fmla="*/ 2256 h 1281781"/>
                  <a:gd name="connsiteX59" fmla="*/ 2733675 w 2864542"/>
                  <a:gd name="connsiteY59" fmla="*/ 75281 h 1281781"/>
                  <a:gd name="connsiteX60" fmla="*/ 2533650 w 2864542"/>
                  <a:gd name="connsiteY60" fmla="*/ 129256 h 1281781"/>
                  <a:gd name="connsiteX61" fmla="*/ 2159000 w 2864542"/>
                  <a:gd name="connsiteY61" fmla="*/ 195931 h 1281781"/>
                  <a:gd name="connsiteX62" fmla="*/ 1682750 w 2864542"/>
                  <a:gd name="connsiteY62" fmla="*/ 234031 h 1281781"/>
                  <a:gd name="connsiteX63" fmla="*/ 1073150 w 2864542"/>
                  <a:gd name="connsiteY63" fmla="*/ 234031 h 1281781"/>
                  <a:gd name="connsiteX64" fmla="*/ 1057275 w 2864542"/>
                  <a:gd name="connsiteY64" fmla="*/ 227681 h 1281781"/>
                  <a:gd name="connsiteX65" fmla="*/ 679450 w 2864542"/>
                  <a:gd name="connsiteY65" fmla="*/ 192756 h 1281781"/>
                  <a:gd name="connsiteX66" fmla="*/ 387350 w 2864542"/>
                  <a:gd name="connsiteY66" fmla="*/ 141956 h 1281781"/>
                  <a:gd name="connsiteX67" fmla="*/ 69850 w 2864542"/>
                  <a:gd name="connsiteY67" fmla="*/ 43531 h 1281781"/>
                  <a:gd name="connsiteX68" fmla="*/ 15875 w 2864542"/>
                  <a:gd name="connsiteY68" fmla="*/ 24481 h 1281781"/>
                  <a:gd name="connsiteX69" fmla="*/ 15875 w 2864542"/>
                  <a:gd name="connsiteY6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82875 w 2864542"/>
                  <a:gd name="connsiteY50" fmla="*/ 11484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24125 w 2864542"/>
                  <a:gd name="connsiteY48" fmla="*/ 1196056 h 1281781"/>
                  <a:gd name="connsiteX49" fmla="*/ 2546350 w 2864542"/>
                  <a:gd name="connsiteY49" fmla="*/ 1192881 h 1281781"/>
                  <a:gd name="connsiteX50" fmla="*/ 2679700 w 2864542"/>
                  <a:gd name="connsiteY50" fmla="*/ 1135731 h 1281781"/>
                  <a:gd name="connsiteX51" fmla="*/ 2854325 w 2864542"/>
                  <a:gd name="connsiteY51" fmla="*/ 1043656 h 1281781"/>
                  <a:gd name="connsiteX52" fmla="*/ 2857500 w 2864542"/>
                  <a:gd name="connsiteY52" fmla="*/ 697581 h 1281781"/>
                  <a:gd name="connsiteX53" fmla="*/ 2851150 w 2864542"/>
                  <a:gd name="connsiteY53" fmla="*/ 646781 h 1281781"/>
                  <a:gd name="connsiteX54" fmla="*/ 2841625 w 2864542"/>
                  <a:gd name="connsiteY54" fmla="*/ 491206 h 1281781"/>
                  <a:gd name="connsiteX55" fmla="*/ 2841625 w 2864542"/>
                  <a:gd name="connsiteY55" fmla="*/ 389606 h 1281781"/>
                  <a:gd name="connsiteX56" fmla="*/ 2851150 w 2864542"/>
                  <a:gd name="connsiteY56" fmla="*/ 167356 h 1281781"/>
                  <a:gd name="connsiteX57" fmla="*/ 2838450 w 2864542"/>
                  <a:gd name="connsiteY57" fmla="*/ 2256 h 1281781"/>
                  <a:gd name="connsiteX58" fmla="*/ 2733675 w 2864542"/>
                  <a:gd name="connsiteY58" fmla="*/ 75281 h 1281781"/>
                  <a:gd name="connsiteX59" fmla="*/ 2533650 w 2864542"/>
                  <a:gd name="connsiteY59" fmla="*/ 129256 h 1281781"/>
                  <a:gd name="connsiteX60" fmla="*/ 2159000 w 2864542"/>
                  <a:gd name="connsiteY60" fmla="*/ 195931 h 1281781"/>
                  <a:gd name="connsiteX61" fmla="*/ 1682750 w 2864542"/>
                  <a:gd name="connsiteY61" fmla="*/ 234031 h 1281781"/>
                  <a:gd name="connsiteX62" fmla="*/ 1073150 w 2864542"/>
                  <a:gd name="connsiteY62" fmla="*/ 234031 h 1281781"/>
                  <a:gd name="connsiteX63" fmla="*/ 1057275 w 2864542"/>
                  <a:gd name="connsiteY63" fmla="*/ 227681 h 1281781"/>
                  <a:gd name="connsiteX64" fmla="*/ 679450 w 2864542"/>
                  <a:gd name="connsiteY64" fmla="*/ 192756 h 1281781"/>
                  <a:gd name="connsiteX65" fmla="*/ 387350 w 2864542"/>
                  <a:gd name="connsiteY65" fmla="*/ 141956 h 1281781"/>
                  <a:gd name="connsiteX66" fmla="*/ 69850 w 2864542"/>
                  <a:gd name="connsiteY66" fmla="*/ 43531 h 1281781"/>
                  <a:gd name="connsiteX67" fmla="*/ 15875 w 2864542"/>
                  <a:gd name="connsiteY67" fmla="*/ 24481 h 1281781"/>
                  <a:gd name="connsiteX68" fmla="*/ 15875 w 2864542"/>
                  <a:gd name="connsiteY6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546350 w 2864542"/>
                  <a:gd name="connsiteY48" fmla="*/ 1192881 h 1281781"/>
                  <a:gd name="connsiteX49" fmla="*/ 2679700 w 2864542"/>
                  <a:gd name="connsiteY49" fmla="*/ 1135731 h 1281781"/>
                  <a:gd name="connsiteX50" fmla="*/ 2854325 w 2864542"/>
                  <a:gd name="connsiteY50" fmla="*/ 1043656 h 1281781"/>
                  <a:gd name="connsiteX51" fmla="*/ 2857500 w 2864542"/>
                  <a:gd name="connsiteY51" fmla="*/ 697581 h 1281781"/>
                  <a:gd name="connsiteX52" fmla="*/ 2851150 w 2864542"/>
                  <a:gd name="connsiteY52" fmla="*/ 646781 h 1281781"/>
                  <a:gd name="connsiteX53" fmla="*/ 2841625 w 2864542"/>
                  <a:gd name="connsiteY53" fmla="*/ 491206 h 1281781"/>
                  <a:gd name="connsiteX54" fmla="*/ 2841625 w 2864542"/>
                  <a:gd name="connsiteY54" fmla="*/ 389606 h 1281781"/>
                  <a:gd name="connsiteX55" fmla="*/ 2851150 w 2864542"/>
                  <a:gd name="connsiteY55" fmla="*/ 167356 h 1281781"/>
                  <a:gd name="connsiteX56" fmla="*/ 2838450 w 2864542"/>
                  <a:gd name="connsiteY56" fmla="*/ 2256 h 1281781"/>
                  <a:gd name="connsiteX57" fmla="*/ 2733675 w 2864542"/>
                  <a:gd name="connsiteY57" fmla="*/ 75281 h 1281781"/>
                  <a:gd name="connsiteX58" fmla="*/ 2533650 w 2864542"/>
                  <a:gd name="connsiteY58" fmla="*/ 129256 h 1281781"/>
                  <a:gd name="connsiteX59" fmla="*/ 2159000 w 2864542"/>
                  <a:gd name="connsiteY59" fmla="*/ 195931 h 1281781"/>
                  <a:gd name="connsiteX60" fmla="*/ 1682750 w 2864542"/>
                  <a:gd name="connsiteY60" fmla="*/ 234031 h 1281781"/>
                  <a:gd name="connsiteX61" fmla="*/ 1073150 w 2864542"/>
                  <a:gd name="connsiteY61" fmla="*/ 234031 h 1281781"/>
                  <a:gd name="connsiteX62" fmla="*/ 1057275 w 2864542"/>
                  <a:gd name="connsiteY62" fmla="*/ 227681 h 1281781"/>
                  <a:gd name="connsiteX63" fmla="*/ 679450 w 2864542"/>
                  <a:gd name="connsiteY63" fmla="*/ 192756 h 1281781"/>
                  <a:gd name="connsiteX64" fmla="*/ 387350 w 2864542"/>
                  <a:gd name="connsiteY64" fmla="*/ 141956 h 1281781"/>
                  <a:gd name="connsiteX65" fmla="*/ 69850 w 2864542"/>
                  <a:gd name="connsiteY65" fmla="*/ 43531 h 1281781"/>
                  <a:gd name="connsiteX66" fmla="*/ 15875 w 2864542"/>
                  <a:gd name="connsiteY66" fmla="*/ 24481 h 1281781"/>
                  <a:gd name="connsiteX67" fmla="*/ 15875 w 2864542"/>
                  <a:gd name="connsiteY6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511425 w 2864542"/>
                  <a:gd name="connsiteY47" fmla="*/ 1199231 h 1281781"/>
                  <a:gd name="connsiteX48" fmla="*/ 2679700 w 2864542"/>
                  <a:gd name="connsiteY48" fmla="*/ 1135731 h 1281781"/>
                  <a:gd name="connsiteX49" fmla="*/ 2854325 w 2864542"/>
                  <a:gd name="connsiteY49" fmla="*/ 1043656 h 1281781"/>
                  <a:gd name="connsiteX50" fmla="*/ 2857500 w 2864542"/>
                  <a:gd name="connsiteY50" fmla="*/ 697581 h 1281781"/>
                  <a:gd name="connsiteX51" fmla="*/ 2851150 w 2864542"/>
                  <a:gd name="connsiteY51" fmla="*/ 646781 h 1281781"/>
                  <a:gd name="connsiteX52" fmla="*/ 2841625 w 2864542"/>
                  <a:gd name="connsiteY52" fmla="*/ 491206 h 1281781"/>
                  <a:gd name="connsiteX53" fmla="*/ 2841625 w 2864542"/>
                  <a:gd name="connsiteY53" fmla="*/ 389606 h 1281781"/>
                  <a:gd name="connsiteX54" fmla="*/ 2851150 w 2864542"/>
                  <a:gd name="connsiteY54" fmla="*/ 167356 h 1281781"/>
                  <a:gd name="connsiteX55" fmla="*/ 2838450 w 2864542"/>
                  <a:gd name="connsiteY55" fmla="*/ 2256 h 1281781"/>
                  <a:gd name="connsiteX56" fmla="*/ 2733675 w 2864542"/>
                  <a:gd name="connsiteY56" fmla="*/ 75281 h 1281781"/>
                  <a:gd name="connsiteX57" fmla="*/ 2533650 w 2864542"/>
                  <a:gd name="connsiteY57" fmla="*/ 129256 h 1281781"/>
                  <a:gd name="connsiteX58" fmla="*/ 2159000 w 2864542"/>
                  <a:gd name="connsiteY58" fmla="*/ 195931 h 1281781"/>
                  <a:gd name="connsiteX59" fmla="*/ 1682750 w 2864542"/>
                  <a:gd name="connsiteY59" fmla="*/ 234031 h 1281781"/>
                  <a:gd name="connsiteX60" fmla="*/ 1073150 w 2864542"/>
                  <a:gd name="connsiteY60" fmla="*/ 234031 h 1281781"/>
                  <a:gd name="connsiteX61" fmla="*/ 1057275 w 2864542"/>
                  <a:gd name="connsiteY61" fmla="*/ 227681 h 1281781"/>
                  <a:gd name="connsiteX62" fmla="*/ 679450 w 2864542"/>
                  <a:gd name="connsiteY62" fmla="*/ 192756 h 1281781"/>
                  <a:gd name="connsiteX63" fmla="*/ 387350 w 2864542"/>
                  <a:gd name="connsiteY63" fmla="*/ 141956 h 1281781"/>
                  <a:gd name="connsiteX64" fmla="*/ 69850 w 2864542"/>
                  <a:gd name="connsiteY64" fmla="*/ 43531 h 1281781"/>
                  <a:gd name="connsiteX65" fmla="*/ 15875 w 2864542"/>
                  <a:gd name="connsiteY65" fmla="*/ 24481 h 1281781"/>
                  <a:gd name="connsiteX66" fmla="*/ 15875 w 2864542"/>
                  <a:gd name="connsiteY6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73325 w 2864542"/>
                  <a:gd name="connsiteY46" fmla="*/ 1205581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19325 w 2864542"/>
                  <a:gd name="connsiteY44" fmla="*/ 1215106 h 1281781"/>
                  <a:gd name="connsiteX45" fmla="*/ 2244725 w 2864542"/>
                  <a:gd name="connsiteY45" fmla="*/ 1208756 h 1281781"/>
                  <a:gd name="connsiteX46" fmla="*/ 2409825 w 2864542"/>
                  <a:gd name="connsiteY46" fmla="*/ 1196056 h 1281781"/>
                  <a:gd name="connsiteX47" fmla="*/ 2679700 w 2864542"/>
                  <a:gd name="connsiteY47" fmla="*/ 1135731 h 1281781"/>
                  <a:gd name="connsiteX48" fmla="*/ 2854325 w 2864542"/>
                  <a:gd name="connsiteY48" fmla="*/ 1043656 h 1281781"/>
                  <a:gd name="connsiteX49" fmla="*/ 2857500 w 2864542"/>
                  <a:gd name="connsiteY49" fmla="*/ 697581 h 1281781"/>
                  <a:gd name="connsiteX50" fmla="*/ 2851150 w 2864542"/>
                  <a:gd name="connsiteY50" fmla="*/ 646781 h 1281781"/>
                  <a:gd name="connsiteX51" fmla="*/ 2841625 w 2864542"/>
                  <a:gd name="connsiteY51" fmla="*/ 491206 h 1281781"/>
                  <a:gd name="connsiteX52" fmla="*/ 2841625 w 2864542"/>
                  <a:gd name="connsiteY52" fmla="*/ 389606 h 1281781"/>
                  <a:gd name="connsiteX53" fmla="*/ 2851150 w 2864542"/>
                  <a:gd name="connsiteY53" fmla="*/ 167356 h 1281781"/>
                  <a:gd name="connsiteX54" fmla="*/ 2838450 w 2864542"/>
                  <a:gd name="connsiteY54" fmla="*/ 2256 h 1281781"/>
                  <a:gd name="connsiteX55" fmla="*/ 2733675 w 2864542"/>
                  <a:gd name="connsiteY55" fmla="*/ 75281 h 1281781"/>
                  <a:gd name="connsiteX56" fmla="*/ 2533650 w 2864542"/>
                  <a:gd name="connsiteY56" fmla="*/ 129256 h 1281781"/>
                  <a:gd name="connsiteX57" fmla="*/ 2159000 w 2864542"/>
                  <a:gd name="connsiteY57" fmla="*/ 195931 h 1281781"/>
                  <a:gd name="connsiteX58" fmla="*/ 1682750 w 2864542"/>
                  <a:gd name="connsiteY58" fmla="*/ 234031 h 1281781"/>
                  <a:gd name="connsiteX59" fmla="*/ 1073150 w 2864542"/>
                  <a:gd name="connsiteY59" fmla="*/ 234031 h 1281781"/>
                  <a:gd name="connsiteX60" fmla="*/ 1057275 w 2864542"/>
                  <a:gd name="connsiteY60" fmla="*/ 227681 h 1281781"/>
                  <a:gd name="connsiteX61" fmla="*/ 679450 w 2864542"/>
                  <a:gd name="connsiteY61" fmla="*/ 192756 h 1281781"/>
                  <a:gd name="connsiteX62" fmla="*/ 387350 w 2864542"/>
                  <a:gd name="connsiteY62" fmla="*/ 141956 h 1281781"/>
                  <a:gd name="connsiteX63" fmla="*/ 69850 w 2864542"/>
                  <a:gd name="connsiteY63" fmla="*/ 43531 h 1281781"/>
                  <a:gd name="connsiteX64" fmla="*/ 15875 w 2864542"/>
                  <a:gd name="connsiteY64" fmla="*/ 24481 h 1281781"/>
                  <a:gd name="connsiteX65" fmla="*/ 15875 w 2864542"/>
                  <a:gd name="connsiteY6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076450 w 2864542"/>
                  <a:gd name="connsiteY42" fmla="*/ 1237331 h 1281781"/>
                  <a:gd name="connsiteX43" fmla="*/ 2139950 w 2864542"/>
                  <a:gd name="connsiteY43" fmla="*/ 1227806 h 1281781"/>
                  <a:gd name="connsiteX44" fmla="*/ 2244725 w 2864542"/>
                  <a:gd name="connsiteY44" fmla="*/ 1208756 h 1281781"/>
                  <a:gd name="connsiteX45" fmla="*/ 2409825 w 2864542"/>
                  <a:gd name="connsiteY45" fmla="*/ 1196056 h 1281781"/>
                  <a:gd name="connsiteX46" fmla="*/ 2679700 w 2864542"/>
                  <a:gd name="connsiteY46" fmla="*/ 1135731 h 1281781"/>
                  <a:gd name="connsiteX47" fmla="*/ 2854325 w 2864542"/>
                  <a:gd name="connsiteY47" fmla="*/ 1043656 h 1281781"/>
                  <a:gd name="connsiteX48" fmla="*/ 2857500 w 2864542"/>
                  <a:gd name="connsiteY48" fmla="*/ 697581 h 1281781"/>
                  <a:gd name="connsiteX49" fmla="*/ 2851150 w 2864542"/>
                  <a:gd name="connsiteY49" fmla="*/ 646781 h 1281781"/>
                  <a:gd name="connsiteX50" fmla="*/ 2841625 w 2864542"/>
                  <a:gd name="connsiteY50" fmla="*/ 491206 h 1281781"/>
                  <a:gd name="connsiteX51" fmla="*/ 2841625 w 2864542"/>
                  <a:gd name="connsiteY51" fmla="*/ 389606 h 1281781"/>
                  <a:gd name="connsiteX52" fmla="*/ 2851150 w 2864542"/>
                  <a:gd name="connsiteY52" fmla="*/ 167356 h 1281781"/>
                  <a:gd name="connsiteX53" fmla="*/ 2838450 w 2864542"/>
                  <a:gd name="connsiteY53" fmla="*/ 2256 h 1281781"/>
                  <a:gd name="connsiteX54" fmla="*/ 2733675 w 2864542"/>
                  <a:gd name="connsiteY54" fmla="*/ 75281 h 1281781"/>
                  <a:gd name="connsiteX55" fmla="*/ 2533650 w 2864542"/>
                  <a:gd name="connsiteY55" fmla="*/ 129256 h 1281781"/>
                  <a:gd name="connsiteX56" fmla="*/ 2159000 w 2864542"/>
                  <a:gd name="connsiteY56" fmla="*/ 195931 h 1281781"/>
                  <a:gd name="connsiteX57" fmla="*/ 1682750 w 2864542"/>
                  <a:gd name="connsiteY57" fmla="*/ 234031 h 1281781"/>
                  <a:gd name="connsiteX58" fmla="*/ 1073150 w 2864542"/>
                  <a:gd name="connsiteY58" fmla="*/ 234031 h 1281781"/>
                  <a:gd name="connsiteX59" fmla="*/ 1057275 w 2864542"/>
                  <a:gd name="connsiteY59" fmla="*/ 227681 h 1281781"/>
                  <a:gd name="connsiteX60" fmla="*/ 679450 w 2864542"/>
                  <a:gd name="connsiteY60" fmla="*/ 192756 h 1281781"/>
                  <a:gd name="connsiteX61" fmla="*/ 387350 w 2864542"/>
                  <a:gd name="connsiteY61" fmla="*/ 141956 h 1281781"/>
                  <a:gd name="connsiteX62" fmla="*/ 69850 w 2864542"/>
                  <a:gd name="connsiteY62" fmla="*/ 43531 h 1281781"/>
                  <a:gd name="connsiteX63" fmla="*/ 15875 w 2864542"/>
                  <a:gd name="connsiteY63" fmla="*/ 24481 h 1281781"/>
                  <a:gd name="connsiteX64" fmla="*/ 15875 w 2864542"/>
                  <a:gd name="connsiteY6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1968500 w 2864542"/>
                  <a:gd name="connsiteY40" fmla="*/ 1253206 h 1281781"/>
                  <a:gd name="connsiteX41" fmla="*/ 2016125 w 2864542"/>
                  <a:gd name="connsiteY41" fmla="*/ 1243681 h 1281781"/>
                  <a:gd name="connsiteX42" fmla="*/ 2139950 w 2864542"/>
                  <a:gd name="connsiteY42" fmla="*/ 1227806 h 1281781"/>
                  <a:gd name="connsiteX43" fmla="*/ 2244725 w 2864542"/>
                  <a:gd name="connsiteY43" fmla="*/ 1208756 h 1281781"/>
                  <a:gd name="connsiteX44" fmla="*/ 2409825 w 2864542"/>
                  <a:gd name="connsiteY44" fmla="*/ 1196056 h 1281781"/>
                  <a:gd name="connsiteX45" fmla="*/ 2679700 w 2864542"/>
                  <a:gd name="connsiteY45" fmla="*/ 1135731 h 1281781"/>
                  <a:gd name="connsiteX46" fmla="*/ 2854325 w 2864542"/>
                  <a:gd name="connsiteY46" fmla="*/ 1043656 h 1281781"/>
                  <a:gd name="connsiteX47" fmla="*/ 2857500 w 2864542"/>
                  <a:gd name="connsiteY47" fmla="*/ 697581 h 1281781"/>
                  <a:gd name="connsiteX48" fmla="*/ 2851150 w 2864542"/>
                  <a:gd name="connsiteY48" fmla="*/ 646781 h 1281781"/>
                  <a:gd name="connsiteX49" fmla="*/ 2841625 w 2864542"/>
                  <a:gd name="connsiteY49" fmla="*/ 491206 h 1281781"/>
                  <a:gd name="connsiteX50" fmla="*/ 2841625 w 2864542"/>
                  <a:gd name="connsiteY50" fmla="*/ 389606 h 1281781"/>
                  <a:gd name="connsiteX51" fmla="*/ 2851150 w 2864542"/>
                  <a:gd name="connsiteY51" fmla="*/ 167356 h 1281781"/>
                  <a:gd name="connsiteX52" fmla="*/ 2838450 w 2864542"/>
                  <a:gd name="connsiteY52" fmla="*/ 2256 h 1281781"/>
                  <a:gd name="connsiteX53" fmla="*/ 2733675 w 2864542"/>
                  <a:gd name="connsiteY53" fmla="*/ 75281 h 1281781"/>
                  <a:gd name="connsiteX54" fmla="*/ 2533650 w 2864542"/>
                  <a:gd name="connsiteY54" fmla="*/ 129256 h 1281781"/>
                  <a:gd name="connsiteX55" fmla="*/ 2159000 w 2864542"/>
                  <a:gd name="connsiteY55" fmla="*/ 195931 h 1281781"/>
                  <a:gd name="connsiteX56" fmla="*/ 1682750 w 2864542"/>
                  <a:gd name="connsiteY56" fmla="*/ 234031 h 1281781"/>
                  <a:gd name="connsiteX57" fmla="*/ 1073150 w 2864542"/>
                  <a:gd name="connsiteY57" fmla="*/ 234031 h 1281781"/>
                  <a:gd name="connsiteX58" fmla="*/ 1057275 w 2864542"/>
                  <a:gd name="connsiteY58" fmla="*/ 227681 h 1281781"/>
                  <a:gd name="connsiteX59" fmla="*/ 679450 w 2864542"/>
                  <a:gd name="connsiteY59" fmla="*/ 192756 h 1281781"/>
                  <a:gd name="connsiteX60" fmla="*/ 387350 w 2864542"/>
                  <a:gd name="connsiteY60" fmla="*/ 141956 h 1281781"/>
                  <a:gd name="connsiteX61" fmla="*/ 69850 w 2864542"/>
                  <a:gd name="connsiteY61" fmla="*/ 43531 h 1281781"/>
                  <a:gd name="connsiteX62" fmla="*/ 15875 w 2864542"/>
                  <a:gd name="connsiteY62" fmla="*/ 24481 h 1281781"/>
                  <a:gd name="connsiteX63" fmla="*/ 15875 w 2864542"/>
                  <a:gd name="connsiteY6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1949450 w 2864542"/>
                  <a:gd name="connsiteY39" fmla="*/ 1256381 h 1281781"/>
                  <a:gd name="connsiteX40" fmla="*/ 2016125 w 2864542"/>
                  <a:gd name="connsiteY40" fmla="*/ 1243681 h 1281781"/>
                  <a:gd name="connsiteX41" fmla="*/ 2139950 w 2864542"/>
                  <a:gd name="connsiteY41" fmla="*/ 1227806 h 1281781"/>
                  <a:gd name="connsiteX42" fmla="*/ 2244725 w 2864542"/>
                  <a:gd name="connsiteY42" fmla="*/ 1208756 h 1281781"/>
                  <a:gd name="connsiteX43" fmla="*/ 2409825 w 2864542"/>
                  <a:gd name="connsiteY43" fmla="*/ 1196056 h 1281781"/>
                  <a:gd name="connsiteX44" fmla="*/ 2679700 w 2864542"/>
                  <a:gd name="connsiteY44" fmla="*/ 1135731 h 1281781"/>
                  <a:gd name="connsiteX45" fmla="*/ 2854325 w 2864542"/>
                  <a:gd name="connsiteY45" fmla="*/ 1043656 h 1281781"/>
                  <a:gd name="connsiteX46" fmla="*/ 2857500 w 2864542"/>
                  <a:gd name="connsiteY46" fmla="*/ 697581 h 1281781"/>
                  <a:gd name="connsiteX47" fmla="*/ 2851150 w 2864542"/>
                  <a:gd name="connsiteY47" fmla="*/ 646781 h 1281781"/>
                  <a:gd name="connsiteX48" fmla="*/ 2841625 w 2864542"/>
                  <a:gd name="connsiteY48" fmla="*/ 491206 h 1281781"/>
                  <a:gd name="connsiteX49" fmla="*/ 2841625 w 2864542"/>
                  <a:gd name="connsiteY49" fmla="*/ 389606 h 1281781"/>
                  <a:gd name="connsiteX50" fmla="*/ 2851150 w 2864542"/>
                  <a:gd name="connsiteY50" fmla="*/ 167356 h 1281781"/>
                  <a:gd name="connsiteX51" fmla="*/ 2838450 w 2864542"/>
                  <a:gd name="connsiteY51" fmla="*/ 2256 h 1281781"/>
                  <a:gd name="connsiteX52" fmla="*/ 2733675 w 2864542"/>
                  <a:gd name="connsiteY52" fmla="*/ 75281 h 1281781"/>
                  <a:gd name="connsiteX53" fmla="*/ 2533650 w 2864542"/>
                  <a:gd name="connsiteY53" fmla="*/ 129256 h 1281781"/>
                  <a:gd name="connsiteX54" fmla="*/ 2159000 w 2864542"/>
                  <a:gd name="connsiteY54" fmla="*/ 195931 h 1281781"/>
                  <a:gd name="connsiteX55" fmla="*/ 1682750 w 2864542"/>
                  <a:gd name="connsiteY55" fmla="*/ 234031 h 1281781"/>
                  <a:gd name="connsiteX56" fmla="*/ 1073150 w 2864542"/>
                  <a:gd name="connsiteY56" fmla="*/ 234031 h 1281781"/>
                  <a:gd name="connsiteX57" fmla="*/ 1057275 w 2864542"/>
                  <a:gd name="connsiteY57" fmla="*/ 227681 h 1281781"/>
                  <a:gd name="connsiteX58" fmla="*/ 679450 w 2864542"/>
                  <a:gd name="connsiteY58" fmla="*/ 192756 h 1281781"/>
                  <a:gd name="connsiteX59" fmla="*/ 387350 w 2864542"/>
                  <a:gd name="connsiteY59" fmla="*/ 141956 h 1281781"/>
                  <a:gd name="connsiteX60" fmla="*/ 69850 w 2864542"/>
                  <a:gd name="connsiteY60" fmla="*/ 43531 h 1281781"/>
                  <a:gd name="connsiteX61" fmla="*/ 15875 w 2864542"/>
                  <a:gd name="connsiteY61" fmla="*/ 24481 h 1281781"/>
                  <a:gd name="connsiteX62" fmla="*/ 15875 w 2864542"/>
                  <a:gd name="connsiteY6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1866900 w 2864542"/>
                  <a:gd name="connsiteY38" fmla="*/ 1272256 h 1281781"/>
                  <a:gd name="connsiteX39" fmla="*/ 2016125 w 2864542"/>
                  <a:gd name="connsiteY39" fmla="*/ 1243681 h 1281781"/>
                  <a:gd name="connsiteX40" fmla="*/ 2139950 w 2864542"/>
                  <a:gd name="connsiteY40" fmla="*/ 1227806 h 1281781"/>
                  <a:gd name="connsiteX41" fmla="*/ 2244725 w 2864542"/>
                  <a:gd name="connsiteY41" fmla="*/ 1208756 h 1281781"/>
                  <a:gd name="connsiteX42" fmla="*/ 2409825 w 2864542"/>
                  <a:gd name="connsiteY42" fmla="*/ 1196056 h 1281781"/>
                  <a:gd name="connsiteX43" fmla="*/ 2679700 w 2864542"/>
                  <a:gd name="connsiteY43" fmla="*/ 1135731 h 1281781"/>
                  <a:gd name="connsiteX44" fmla="*/ 2854325 w 2864542"/>
                  <a:gd name="connsiteY44" fmla="*/ 1043656 h 1281781"/>
                  <a:gd name="connsiteX45" fmla="*/ 2857500 w 2864542"/>
                  <a:gd name="connsiteY45" fmla="*/ 697581 h 1281781"/>
                  <a:gd name="connsiteX46" fmla="*/ 2851150 w 2864542"/>
                  <a:gd name="connsiteY46" fmla="*/ 646781 h 1281781"/>
                  <a:gd name="connsiteX47" fmla="*/ 2841625 w 2864542"/>
                  <a:gd name="connsiteY47" fmla="*/ 491206 h 1281781"/>
                  <a:gd name="connsiteX48" fmla="*/ 2841625 w 2864542"/>
                  <a:gd name="connsiteY48" fmla="*/ 389606 h 1281781"/>
                  <a:gd name="connsiteX49" fmla="*/ 2851150 w 2864542"/>
                  <a:gd name="connsiteY49" fmla="*/ 167356 h 1281781"/>
                  <a:gd name="connsiteX50" fmla="*/ 2838450 w 2864542"/>
                  <a:gd name="connsiteY50" fmla="*/ 2256 h 1281781"/>
                  <a:gd name="connsiteX51" fmla="*/ 2733675 w 2864542"/>
                  <a:gd name="connsiteY51" fmla="*/ 75281 h 1281781"/>
                  <a:gd name="connsiteX52" fmla="*/ 2533650 w 2864542"/>
                  <a:gd name="connsiteY52" fmla="*/ 129256 h 1281781"/>
                  <a:gd name="connsiteX53" fmla="*/ 2159000 w 2864542"/>
                  <a:gd name="connsiteY53" fmla="*/ 195931 h 1281781"/>
                  <a:gd name="connsiteX54" fmla="*/ 1682750 w 2864542"/>
                  <a:gd name="connsiteY54" fmla="*/ 234031 h 1281781"/>
                  <a:gd name="connsiteX55" fmla="*/ 1073150 w 2864542"/>
                  <a:gd name="connsiteY55" fmla="*/ 234031 h 1281781"/>
                  <a:gd name="connsiteX56" fmla="*/ 1057275 w 2864542"/>
                  <a:gd name="connsiteY56" fmla="*/ 227681 h 1281781"/>
                  <a:gd name="connsiteX57" fmla="*/ 679450 w 2864542"/>
                  <a:gd name="connsiteY57" fmla="*/ 192756 h 1281781"/>
                  <a:gd name="connsiteX58" fmla="*/ 387350 w 2864542"/>
                  <a:gd name="connsiteY58" fmla="*/ 141956 h 1281781"/>
                  <a:gd name="connsiteX59" fmla="*/ 69850 w 2864542"/>
                  <a:gd name="connsiteY59" fmla="*/ 43531 h 1281781"/>
                  <a:gd name="connsiteX60" fmla="*/ 15875 w 2864542"/>
                  <a:gd name="connsiteY60" fmla="*/ 24481 h 1281781"/>
                  <a:gd name="connsiteX61" fmla="*/ 15875 w 2864542"/>
                  <a:gd name="connsiteY6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089025 w 2864542"/>
                  <a:gd name="connsiteY33" fmla="*/ 1259556 h 1281781"/>
                  <a:gd name="connsiteX34" fmla="*/ 1155700 w 2864542"/>
                  <a:gd name="connsiteY34" fmla="*/ 1265906 h 1281781"/>
                  <a:gd name="connsiteX35" fmla="*/ 1358900 w 2864542"/>
                  <a:gd name="connsiteY35" fmla="*/ 1275431 h 1281781"/>
                  <a:gd name="connsiteX36" fmla="*/ 1666875 w 2864542"/>
                  <a:gd name="connsiteY36" fmla="*/ 1281781 h 1281781"/>
                  <a:gd name="connsiteX37" fmla="*/ 1835150 w 2864542"/>
                  <a:gd name="connsiteY37" fmla="*/ 1278606 h 1281781"/>
                  <a:gd name="connsiteX38" fmla="*/ 2016125 w 2864542"/>
                  <a:gd name="connsiteY38" fmla="*/ 1243681 h 1281781"/>
                  <a:gd name="connsiteX39" fmla="*/ 2139950 w 2864542"/>
                  <a:gd name="connsiteY39" fmla="*/ 1227806 h 1281781"/>
                  <a:gd name="connsiteX40" fmla="*/ 2244725 w 2864542"/>
                  <a:gd name="connsiteY40" fmla="*/ 1208756 h 1281781"/>
                  <a:gd name="connsiteX41" fmla="*/ 2409825 w 2864542"/>
                  <a:gd name="connsiteY41" fmla="*/ 1196056 h 1281781"/>
                  <a:gd name="connsiteX42" fmla="*/ 2679700 w 2864542"/>
                  <a:gd name="connsiteY42" fmla="*/ 1135731 h 1281781"/>
                  <a:gd name="connsiteX43" fmla="*/ 2854325 w 2864542"/>
                  <a:gd name="connsiteY43" fmla="*/ 1043656 h 1281781"/>
                  <a:gd name="connsiteX44" fmla="*/ 2857500 w 2864542"/>
                  <a:gd name="connsiteY44" fmla="*/ 697581 h 1281781"/>
                  <a:gd name="connsiteX45" fmla="*/ 2851150 w 2864542"/>
                  <a:gd name="connsiteY45" fmla="*/ 646781 h 1281781"/>
                  <a:gd name="connsiteX46" fmla="*/ 2841625 w 2864542"/>
                  <a:gd name="connsiteY46" fmla="*/ 491206 h 1281781"/>
                  <a:gd name="connsiteX47" fmla="*/ 2841625 w 2864542"/>
                  <a:gd name="connsiteY47" fmla="*/ 389606 h 1281781"/>
                  <a:gd name="connsiteX48" fmla="*/ 2851150 w 2864542"/>
                  <a:gd name="connsiteY48" fmla="*/ 167356 h 1281781"/>
                  <a:gd name="connsiteX49" fmla="*/ 2838450 w 2864542"/>
                  <a:gd name="connsiteY49" fmla="*/ 2256 h 1281781"/>
                  <a:gd name="connsiteX50" fmla="*/ 2733675 w 2864542"/>
                  <a:gd name="connsiteY50" fmla="*/ 75281 h 1281781"/>
                  <a:gd name="connsiteX51" fmla="*/ 2533650 w 2864542"/>
                  <a:gd name="connsiteY51" fmla="*/ 129256 h 1281781"/>
                  <a:gd name="connsiteX52" fmla="*/ 2159000 w 2864542"/>
                  <a:gd name="connsiteY52" fmla="*/ 195931 h 1281781"/>
                  <a:gd name="connsiteX53" fmla="*/ 1682750 w 2864542"/>
                  <a:gd name="connsiteY53" fmla="*/ 234031 h 1281781"/>
                  <a:gd name="connsiteX54" fmla="*/ 1073150 w 2864542"/>
                  <a:gd name="connsiteY54" fmla="*/ 234031 h 1281781"/>
                  <a:gd name="connsiteX55" fmla="*/ 1057275 w 2864542"/>
                  <a:gd name="connsiteY55" fmla="*/ 227681 h 1281781"/>
                  <a:gd name="connsiteX56" fmla="*/ 679450 w 2864542"/>
                  <a:gd name="connsiteY56" fmla="*/ 192756 h 1281781"/>
                  <a:gd name="connsiteX57" fmla="*/ 387350 w 2864542"/>
                  <a:gd name="connsiteY57" fmla="*/ 141956 h 1281781"/>
                  <a:gd name="connsiteX58" fmla="*/ 69850 w 2864542"/>
                  <a:gd name="connsiteY58" fmla="*/ 43531 h 1281781"/>
                  <a:gd name="connsiteX59" fmla="*/ 15875 w 2864542"/>
                  <a:gd name="connsiteY59" fmla="*/ 24481 h 1281781"/>
                  <a:gd name="connsiteX60" fmla="*/ 15875 w 2864542"/>
                  <a:gd name="connsiteY6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04875 w 2864542"/>
                  <a:gd name="connsiteY31" fmla="*/ 1246856 h 1281781"/>
                  <a:gd name="connsiteX32" fmla="*/ 939800 w 2864542"/>
                  <a:gd name="connsiteY32" fmla="*/ 1253206 h 1281781"/>
                  <a:gd name="connsiteX33" fmla="*/ 1155700 w 2864542"/>
                  <a:gd name="connsiteY33" fmla="*/ 1265906 h 1281781"/>
                  <a:gd name="connsiteX34" fmla="*/ 1358900 w 2864542"/>
                  <a:gd name="connsiteY34" fmla="*/ 1275431 h 1281781"/>
                  <a:gd name="connsiteX35" fmla="*/ 1666875 w 2864542"/>
                  <a:gd name="connsiteY35" fmla="*/ 1281781 h 1281781"/>
                  <a:gd name="connsiteX36" fmla="*/ 1835150 w 2864542"/>
                  <a:gd name="connsiteY36" fmla="*/ 1278606 h 1281781"/>
                  <a:gd name="connsiteX37" fmla="*/ 2016125 w 2864542"/>
                  <a:gd name="connsiteY37" fmla="*/ 1243681 h 1281781"/>
                  <a:gd name="connsiteX38" fmla="*/ 2139950 w 2864542"/>
                  <a:gd name="connsiteY38" fmla="*/ 1227806 h 1281781"/>
                  <a:gd name="connsiteX39" fmla="*/ 2244725 w 2864542"/>
                  <a:gd name="connsiteY39" fmla="*/ 1208756 h 1281781"/>
                  <a:gd name="connsiteX40" fmla="*/ 2409825 w 2864542"/>
                  <a:gd name="connsiteY40" fmla="*/ 1196056 h 1281781"/>
                  <a:gd name="connsiteX41" fmla="*/ 2679700 w 2864542"/>
                  <a:gd name="connsiteY41" fmla="*/ 1135731 h 1281781"/>
                  <a:gd name="connsiteX42" fmla="*/ 2854325 w 2864542"/>
                  <a:gd name="connsiteY42" fmla="*/ 1043656 h 1281781"/>
                  <a:gd name="connsiteX43" fmla="*/ 2857500 w 2864542"/>
                  <a:gd name="connsiteY43" fmla="*/ 697581 h 1281781"/>
                  <a:gd name="connsiteX44" fmla="*/ 2851150 w 2864542"/>
                  <a:gd name="connsiteY44" fmla="*/ 646781 h 1281781"/>
                  <a:gd name="connsiteX45" fmla="*/ 2841625 w 2864542"/>
                  <a:gd name="connsiteY45" fmla="*/ 491206 h 1281781"/>
                  <a:gd name="connsiteX46" fmla="*/ 2841625 w 2864542"/>
                  <a:gd name="connsiteY46" fmla="*/ 389606 h 1281781"/>
                  <a:gd name="connsiteX47" fmla="*/ 2851150 w 2864542"/>
                  <a:gd name="connsiteY47" fmla="*/ 167356 h 1281781"/>
                  <a:gd name="connsiteX48" fmla="*/ 2838450 w 2864542"/>
                  <a:gd name="connsiteY48" fmla="*/ 2256 h 1281781"/>
                  <a:gd name="connsiteX49" fmla="*/ 2733675 w 2864542"/>
                  <a:gd name="connsiteY49" fmla="*/ 75281 h 1281781"/>
                  <a:gd name="connsiteX50" fmla="*/ 2533650 w 2864542"/>
                  <a:gd name="connsiteY50" fmla="*/ 129256 h 1281781"/>
                  <a:gd name="connsiteX51" fmla="*/ 2159000 w 2864542"/>
                  <a:gd name="connsiteY51" fmla="*/ 195931 h 1281781"/>
                  <a:gd name="connsiteX52" fmla="*/ 1682750 w 2864542"/>
                  <a:gd name="connsiteY52" fmla="*/ 234031 h 1281781"/>
                  <a:gd name="connsiteX53" fmla="*/ 1073150 w 2864542"/>
                  <a:gd name="connsiteY53" fmla="*/ 234031 h 1281781"/>
                  <a:gd name="connsiteX54" fmla="*/ 1057275 w 2864542"/>
                  <a:gd name="connsiteY54" fmla="*/ 227681 h 1281781"/>
                  <a:gd name="connsiteX55" fmla="*/ 679450 w 2864542"/>
                  <a:gd name="connsiteY55" fmla="*/ 192756 h 1281781"/>
                  <a:gd name="connsiteX56" fmla="*/ 387350 w 2864542"/>
                  <a:gd name="connsiteY56" fmla="*/ 141956 h 1281781"/>
                  <a:gd name="connsiteX57" fmla="*/ 69850 w 2864542"/>
                  <a:gd name="connsiteY57" fmla="*/ 43531 h 1281781"/>
                  <a:gd name="connsiteX58" fmla="*/ 15875 w 2864542"/>
                  <a:gd name="connsiteY58" fmla="*/ 24481 h 1281781"/>
                  <a:gd name="connsiteX59" fmla="*/ 15875 w 2864542"/>
                  <a:gd name="connsiteY5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758825 w 2864542"/>
                  <a:gd name="connsiteY29" fmla="*/ 1230981 h 1281781"/>
                  <a:gd name="connsiteX30" fmla="*/ 819150 w 2864542"/>
                  <a:gd name="connsiteY30" fmla="*/ 1234156 h 1281781"/>
                  <a:gd name="connsiteX31" fmla="*/ 939800 w 2864542"/>
                  <a:gd name="connsiteY31" fmla="*/ 1253206 h 1281781"/>
                  <a:gd name="connsiteX32" fmla="*/ 1155700 w 2864542"/>
                  <a:gd name="connsiteY32" fmla="*/ 1265906 h 1281781"/>
                  <a:gd name="connsiteX33" fmla="*/ 1358900 w 2864542"/>
                  <a:gd name="connsiteY33" fmla="*/ 1275431 h 1281781"/>
                  <a:gd name="connsiteX34" fmla="*/ 1666875 w 2864542"/>
                  <a:gd name="connsiteY34" fmla="*/ 1281781 h 1281781"/>
                  <a:gd name="connsiteX35" fmla="*/ 1835150 w 2864542"/>
                  <a:gd name="connsiteY35" fmla="*/ 1278606 h 1281781"/>
                  <a:gd name="connsiteX36" fmla="*/ 2016125 w 2864542"/>
                  <a:gd name="connsiteY36" fmla="*/ 1243681 h 1281781"/>
                  <a:gd name="connsiteX37" fmla="*/ 2139950 w 2864542"/>
                  <a:gd name="connsiteY37" fmla="*/ 1227806 h 1281781"/>
                  <a:gd name="connsiteX38" fmla="*/ 2244725 w 2864542"/>
                  <a:gd name="connsiteY38" fmla="*/ 1208756 h 1281781"/>
                  <a:gd name="connsiteX39" fmla="*/ 2409825 w 2864542"/>
                  <a:gd name="connsiteY39" fmla="*/ 1196056 h 1281781"/>
                  <a:gd name="connsiteX40" fmla="*/ 2679700 w 2864542"/>
                  <a:gd name="connsiteY40" fmla="*/ 1135731 h 1281781"/>
                  <a:gd name="connsiteX41" fmla="*/ 2854325 w 2864542"/>
                  <a:gd name="connsiteY41" fmla="*/ 1043656 h 1281781"/>
                  <a:gd name="connsiteX42" fmla="*/ 2857500 w 2864542"/>
                  <a:gd name="connsiteY42" fmla="*/ 697581 h 1281781"/>
                  <a:gd name="connsiteX43" fmla="*/ 2851150 w 2864542"/>
                  <a:gd name="connsiteY43" fmla="*/ 646781 h 1281781"/>
                  <a:gd name="connsiteX44" fmla="*/ 2841625 w 2864542"/>
                  <a:gd name="connsiteY44" fmla="*/ 491206 h 1281781"/>
                  <a:gd name="connsiteX45" fmla="*/ 2841625 w 2864542"/>
                  <a:gd name="connsiteY45" fmla="*/ 389606 h 1281781"/>
                  <a:gd name="connsiteX46" fmla="*/ 2851150 w 2864542"/>
                  <a:gd name="connsiteY46" fmla="*/ 167356 h 1281781"/>
                  <a:gd name="connsiteX47" fmla="*/ 2838450 w 2864542"/>
                  <a:gd name="connsiteY47" fmla="*/ 2256 h 1281781"/>
                  <a:gd name="connsiteX48" fmla="*/ 2733675 w 2864542"/>
                  <a:gd name="connsiteY48" fmla="*/ 75281 h 1281781"/>
                  <a:gd name="connsiteX49" fmla="*/ 2533650 w 2864542"/>
                  <a:gd name="connsiteY49" fmla="*/ 129256 h 1281781"/>
                  <a:gd name="connsiteX50" fmla="*/ 2159000 w 2864542"/>
                  <a:gd name="connsiteY50" fmla="*/ 195931 h 1281781"/>
                  <a:gd name="connsiteX51" fmla="*/ 1682750 w 2864542"/>
                  <a:gd name="connsiteY51" fmla="*/ 234031 h 1281781"/>
                  <a:gd name="connsiteX52" fmla="*/ 1073150 w 2864542"/>
                  <a:gd name="connsiteY52" fmla="*/ 234031 h 1281781"/>
                  <a:gd name="connsiteX53" fmla="*/ 1057275 w 2864542"/>
                  <a:gd name="connsiteY53" fmla="*/ 227681 h 1281781"/>
                  <a:gd name="connsiteX54" fmla="*/ 679450 w 2864542"/>
                  <a:gd name="connsiteY54" fmla="*/ 192756 h 1281781"/>
                  <a:gd name="connsiteX55" fmla="*/ 387350 w 2864542"/>
                  <a:gd name="connsiteY55" fmla="*/ 141956 h 1281781"/>
                  <a:gd name="connsiteX56" fmla="*/ 69850 w 2864542"/>
                  <a:gd name="connsiteY56" fmla="*/ 43531 h 1281781"/>
                  <a:gd name="connsiteX57" fmla="*/ 15875 w 2864542"/>
                  <a:gd name="connsiteY57" fmla="*/ 24481 h 1281781"/>
                  <a:gd name="connsiteX58" fmla="*/ 15875 w 2864542"/>
                  <a:gd name="connsiteY5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60325 w 2864542"/>
                  <a:gd name="connsiteY9" fmla="*/ 1069056 h 1281781"/>
                  <a:gd name="connsiteX10" fmla="*/ 73025 w 2864542"/>
                  <a:gd name="connsiteY10" fmla="*/ 1075406 h 1281781"/>
                  <a:gd name="connsiteX11" fmla="*/ 104775 w 2864542"/>
                  <a:gd name="connsiteY11" fmla="*/ 1088106 h 1281781"/>
                  <a:gd name="connsiteX12" fmla="*/ 117475 w 2864542"/>
                  <a:gd name="connsiteY12" fmla="*/ 1091281 h 1281781"/>
                  <a:gd name="connsiteX13" fmla="*/ 133350 w 2864542"/>
                  <a:gd name="connsiteY13" fmla="*/ 1097631 h 1281781"/>
                  <a:gd name="connsiteX14" fmla="*/ 149225 w 2864542"/>
                  <a:gd name="connsiteY14" fmla="*/ 1100806 h 1281781"/>
                  <a:gd name="connsiteX15" fmla="*/ 184150 w 2864542"/>
                  <a:gd name="connsiteY15" fmla="*/ 1110331 h 1281781"/>
                  <a:gd name="connsiteX16" fmla="*/ 206375 w 2864542"/>
                  <a:gd name="connsiteY16" fmla="*/ 1119856 h 1281781"/>
                  <a:gd name="connsiteX17" fmla="*/ 219075 w 2864542"/>
                  <a:gd name="connsiteY17" fmla="*/ 1123031 h 1281781"/>
                  <a:gd name="connsiteX18" fmla="*/ 288925 w 2864542"/>
                  <a:gd name="connsiteY18" fmla="*/ 1157956 h 1281781"/>
                  <a:gd name="connsiteX19" fmla="*/ 301625 w 2864542"/>
                  <a:gd name="connsiteY19" fmla="*/ 1161131 h 1281781"/>
                  <a:gd name="connsiteX20" fmla="*/ 323850 w 2864542"/>
                  <a:gd name="connsiteY20" fmla="*/ 1167481 h 1281781"/>
                  <a:gd name="connsiteX21" fmla="*/ 355600 w 2864542"/>
                  <a:gd name="connsiteY21" fmla="*/ 1170656 h 1281781"/>
                  <a:gd name="connsiteX22" fmla="*/ 387350 w 2864542"/>
                  <a:gd name="connsiteY22" fmla="*/ 1177006 h 1281781"/>
                  <a:gd name="connsiteX23" fmla="*/ 406400 w 2864542"/>
                  <a:gd name="connsiteY23" fmla="*/ 1186531 h 1281781"/>
                  <a:gd name="connsiteX24" fmla="*/ 428625 w 2864542"/>
                  <a:gd name="connsiteY24" fmla="*/ 1189706 h 1281781"/>
                  <a:gd name="connsiteX25" fmla="*/ 542925 w 2864542"/>
                  <a:gd name="connsiteY25" fmla="*/ 1199231 h 1281781"/>
                  <a:gd name="connsiteX26" fmla="*/ 631825 w 2864542"/>
                  <a:gd name="connsiteY26" fmla="*/ 1211931 h 1281781"/>
                  <a:gd name="connsiteX27" fmla="*/ 654050 w 2864542"/>
                  <a:gd name="connsiteY27" fmla="*/ 1215106 h 1281781"/>
                  <a:gd name="connsiteX28" fmla="*/ 711200 w 2864542"/>
                  <a:gd name="connsiteY28" fmla="*/ 1224631 h 1281781"/>
                  <a:gd name="connsiteX29" fmla="*/ 819150 w 2864542"/>
                  <a:gd name="connsiteY29" fmla="*/ 1234156 h 1281781"/>
                  <a:gd name="connsiteX30" fmla="*/ 939800 w 2864542"/>
                  <a:gd name="connsiteY30" fmla="*/ 1253206 h 1281781"/>
                  <a:gd name="connsiteX31" fmla="*/ 1155700 w 2864542"/>
                  <a:gd name="connsiteY31" fmla="*/ 1265906 h 1281781"/>
                  <a:gd name="connsiteX32" fmla="*/ 1358900 w 2864542"/>
                  <a:gd name="connsiteY32" fmla="*/ 1275431 h 1281781"/>
                  <a:gd name="connsiteX33" fmla="*/ 1666875 w 2864542"/>
                  <a:gd name="connsiteY33" fmla="*/ 1281781 h 1281781"/>
                  <a:gd name="connsiteX34" fmla="*/ 1835150 w 2864542"/>
                  <a:gd name="connsiteY34" fmla="*/ 1278606 h 1281781"/>
                  <a:gd name="connsiteX35" fmla="*/ 2016125 w 2864542"/>
                  <a:gd name="connsiteY35" fmla="*/ 1243681 h 1281781"/>
                  <a:gd name="connsiteX36" fmla="*/ 2139950 w 2864542"/>
                  <a:gd name="connsiteY36" fmla="*/ 1227806 h 1281781"/>
                  <a:gd name="connsiteX37" fmla="*/ 2244725 w 2864542"/>
                  <a:gd name="connsiteY37" fmla="*/ 1208756 h 1281781"/>
                  <a:gd name="connsiteX38" fmla="*/ 2409825 w 2864542"/>
                  <a:gd name="connsiteY38" fmla="*/ 1196056 h 1281781"/>
                  <a:gd name="connsiteX39" fmla="*/ 2679700 w 2864542"/>
                  <a:gd name="connsiteY39" fmla="*/ 1135731 h 1281781"/>
                  <a:gd name="connsiteX40" fmla="*/ 2854325 w 2864542"/>
                  <a:gd name="connsiteY40" fmla="*/ 1043656 h 1281781"/>
                  <a:gd name="connsiteX41" fmla="*/ 2857500 w 2864542"/>
                  <a:gd name="connsiteY41" fmla="*/ 697581 h 1281781"/>
                  <a:gd name="connsiteX42" fmla="*/ 2851150 w 2864542"/>
                  <a:gd name="connsiteY42" fmla="*/ 646781 h 1281781"/>
                  <a:gd name="connsiteX43" fmla="*/ 2841625 w 2864542"/>
                  <a:gd name="connsiteY43" fmla="*/ 491206 h 1281781"/>
                  <a:gd name="connsiteX44" fmla="*/ 2841625 w 2864542"/>
                  <a:gd name="connsiteY44" fmla="*/ 389606 h 1281781"/>
                  <a:gd name="connsiteX45" fmla="*/ 2851150 w 2864542"/>
                  <a:gd name="connsiteY45" fmla="*/ 167356 h 1281781"/>
                  <a:gd name="connsiteX46" fmla="*/ 2838450 w 2864542"/>
                  <a:gd name="connsiteY46" fmla="*/ 2256 h 1281781"/>
                  <a:gd name="connsiteX47" fmla="*/ 2733675 w 2864542"/>
                  <a:gd name="connsiteY47" fmla="*/ 75281 h 1281781"/>
                  <a:gd name="connsiteX48" fmla="*/ 2533650 w 2864542"/>
                  <a:gd name="connsiteY48" fmla="*/ 129256 h 1281781"/>
                  <a:gd name="connsiteX49" fmla="*/ 2159000 w 2864542"/>
                  <a:gd name="connsiteY49" fmla="*/ 195931 h 1281781"/>
                  <a:gd name="connsiteX50" fmla="*/ 1682750 w 2864542"/>
                  <a:gd name="connsiteY50" fmla="*/ 234031 h 1281781"/>
                  <a:gd name="connsiteX51" fmla="*/ 1073150 w 2864542"/>
                  <a:gd name="connsiteY51" fmla="*/ 234031 h 1281781"/>
                  <a:gd name="connsiteX52" fmla="*/ 1057275 w 2864542"/>
                  <a:gd name="connsiteY52" fmla="*/ 227681 h 1281781"/>
                  <a:gd name="connsiteX53" fmla="*/ 679450 w 2864542"/>
                  <a:gd name="connsiteY53" fmla="*/ 192756 h 1281781"/>
                  <a:gd name="connsiteX54" fmla="*/ 387350 w 2864542"/>
                  <a:gd name="connsiteY54" fmla="*/ 141956 h 1281781"/>
                  <a:gd name="connsiteX55" fmla="*/ 69850 w 2864542"/>
                  <a:gd name="connsiteY55" fmla="*/ 43531 h 1281781"/>
                  <a:gd name="connsiteX56" fmla="*/ 15875 w 2864542"/>
                  <a:gd name="connsiteY56" fmla="*/ 24481 h 1281781"/>
                  <a:gd name="connsiteX57" fmla="*/ 15875 w 2864542"/>
                  <a:gd name="connsiteY5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41275 w 2864542"/>
                  <a:gd name="connsiteY8" fmla="*/ 1053181 h 1281781"/>
                  <a:gd name="connsiteX9" fmla="*/ 73025 w 2864542"/>
                  <a:gd name="connsiteY9" fmla="*/ 1075406 h 1281781"/>
                  <a:gd name="connsiteX10" fmla="*/ 104775 w 2864542"/>
                  <a:gd name="connsiteY10" fmla="*/ 1088106 h 1281781"/>
                  <a:gd name="connsiteX11" fmla="*/ 117475 w 2864542"/>
                  <a:gd name="connsiteY11" fmla="*/ 1091281 h 1281781"/>
                  <a:gd name="connsiteX12" fmla="*/ 133350 w 2864542"/>
                  <a:gd name="connsiteY12" fmla="*/ 1097631 h 1281781"/>
                  <a:gd name="connsiteX13" fmla="*/ 149225 w 2864542"/>
                  <a:gd name="connsiteY13" fmla="*/ 1100806 h 1281781"/>
                  <a:gd name="connsiteX14" fmla="*/ 184150 w 2864542"/>
                  <a:gd name="connsiteY14" fmla="*/ 1110331 h 1281781"/>
                  <a:gd name="connsiteX15" fmla="*/ 206375 w 2864542"/>
                  <a:gd name="connsiteY15" fmla="*/ 1119856 h 1281781"/>
                  <a:gd name="connsiteX16" fmla="*/ 219075 w 2864542"/>
                  <a:gd name="connsiteY16" fmla="*/ 1123031 h 1281781"/>
                  <a:gd name="connsiteX17" fmla="*/ 288925 w 2864542"/>
                  <a:gd name="connsiteY17" fmla="*/ 1157956 h 1281781"/>
                  <a:gd name="connsiteX18" fmla="*/ 301625 w 2864542"/>
                  <a:gd name="connsiteY18" fmla="*/ 1161131 h 1281781"/>
                  <a:gd name="connsiteX19" fmla="*/ 323850 w 2864542"/>
                  <a:gd name="connsiteY19" fmla="*/ 1167481 h 1281781"/>
                  <a:gd name="connsiteX20" fmla="*/ 355600 w 2864542"/>
                  <a:gd name="connsiteY20" fmla="*/ 1170656 h 1281781"/>
                  <a:gd name="connsiteX21" fmla="*/ 387350 w 2864542"/>
                  <a:gd name="connsiteY21" fmla="*/ 1177006 h 1281781"/>
                  <a:gd name="connsiteX22" fmla="*/ 406400 w 2864542"/>
                  <a:gd name="connsiteY22" fmla="*/ 1186531 h 1281781"/>
                  <a:gd name="connsiteX23" fmla="*/ 428625 w 2864542"/>
                  <a:gd name="connsiteY23" fmla="*/ 1189706 h 1281781"/>
                  <a:gd name="connsiteX24" fmla="*/ 542925 w 2864542"/>
                  <a:gd name="connsiteY24" fmla="*/ 1199231 h 1281781"/>
                  <a:gd name="connsiteX25" fmla="*/ 631825 w 2864542"/>
                  <a:gd name="connsiteY25" fmla="*/ 1211931 h 1281781"/>
                  <a:gd name="connsiteX26" fmla="*/ 654050 w 2864542"/>
                  <a:gd name="connsiteY26" fmla="*/ 1215106 h 1281781"/>
                  <a:gd name="connsiteX27" fmla="*/ 711200 w 2864542"/>
                  <a:gd name="connsiteY27" fmla="*/ 1224631 h 1281781"/>
                  <a:gd name="connsiteX28" fmla="*/ 819150 w 2864542"/>
                  <a:gd name="connsiteY28" fmla="*/ 1234156 h 1281781"/>
                  <a:gd name="connsiteX29" fmla="*/ 939800 w 2864542"/>
                  <a:gd name="connsiteY29" fmla="*/ 1253206 h 1281781"/>
                  <a:gd name="connsiteX30" fmla="*/ 1155700 w 2864542"/>
                  <a:gd name="connsiteY30" fmla="*/ 1265906 h 1281781"/>
                  <a:gd name="connsiteX31" fmla="*/ 1358900 w 2864542"/>
                  <a:gd name="connsiteY31" fmla="*/ 1275431 h 1281781"/>
                  <a:gd name="connsiteX32" fmla="*/ 1666875 w 2864542"/>
                  <a:gd name="connsiteY32" fmla="*/ 1281781 h 1281781"/>
                  <a:gd name="connsiteX33" fmla="*/ 1835150 w 2864542"/>
                  <a:gd name="connsiteY33" fmla="*/ 1278606 h 1281781"/>
                  <a:gd name="connsiteX34" fmla="*/ 2016125 w 2864542"/>
                  <a:gd name="connsiteY34" fmla="*/ 1243681 h 1281781"/>
                  <a:gd name="connsiteX35" fmla="*/ 2139950 w 2864542"/>
                  <a:gd name="connsiteY35" fmla="*/ 1227806 h 1281781"/>
                  <a:gd name="connsiteX36" fmla="*/ 2244725 w 2864542"/>
                  <a:gd name="connsiteY36" fmla="*/ 1208756 h 1281781"/>
                  <a:gd name="connsiteX37" fmla="*/ 2409825 w 2864542"/>
                  <a:gd name="connsiteY37" fmla="*/ 1196056 h 1281781"/>
                  <a:gd name="connsiteX38" fmla="*/ 2679700 w 2864542"/>
                  <a:gd name="connsiteY38" fmla="*/ 1135731 h 1281781"/>
                  <a:gd name="connsiteX39" fmla="*/ 2854325 w 2864542"/>
                  <a:gd name="connsiteY39" fmla="*/ 1043656 h 1281781"/>
                  <a:gd name="connsiteX40" fmla="*/ 2857500 w 2864542"/>
                  <a:gd name="connsiteY40" fmla="*/ 697581 h 1281781"/>
                  <a:gd name="connsiteX41" fmla="*/ 2851150 w 2864542"/>
                  <a:gd name="connsiteY41" fmla="*/ 646781 h 1281781"/>
                  <a:gd name="connsiteX42" fmla="*/ 2841625 w 2864542"/>
                  <a:gd name="connsiteY42" fmla="*/ 491206 h 1281781"/>
                  <a:gd name="connsiteX43" fmla="*/ 2841625 w 2864542"/>
                  <a:gd name="connsiteY43" fmla="*/ 389606 h 1281781"/>
                  <a:gd name="connsiteX44" fmla="*/ 2851150 w 2864542"/>
                  <a:gd name="connsiteY44" fmla="*/ 167356 h 1281781"/>
                  <a:gd name="connsiteX45" fmla="*/ 2838450 w 2864542"/>
                  <a:gd name="connsiteY45" fmla="*/ 2256 h 1281781"/>
                  <a:gd name="connsiteX46" fmla="*/ 2733675 w 2864542"/>
                  <a:gd name="connsiteY46" fmla="*/ 75281 h 1281781"/>
                  <a:gd name="connsiteX47" fmla="*/ 2533650 w 2864542"/>
                  <a:gd name="connsiteY47" fmla="*/ 129256 h 1281781"/>
                  <a:gd name="connsiteX48" fmla="*/ 2159000 w 2864542"/>
                  <a:gd name="connsiteY48" fmla="*/ 195931 h 1281781"/>
                  <a:gd name="connsiteX49" fmla="*/ 1682750 w 2864542"/>
                  <a:gd name="connsiteY49" fmla="*/ 234031 h 1281781"/>
                  <a:gd name="connsiteX50" fmla="*/ 1073150 w 2864542"/>
                  <a:gd name="connsiteY50" fmla="*/ 234031 h 1281781"/>
                  <a:gd name="connsiteX51" fmla="*/ 1057275 w 2864542"/>
                  <a:gd name="connsiteY51" fmla="*/ 227681 h 1281781"/>
                  <a:gd name="connsiteX52" fmla="*/ 679450 w 2864542"/>
                  <a:gd name="connsiteY52" fmla="*/ 192756 h 1281781"/>
                  <a:gd name="connsiteX53" fmla="*/ 387350 w 2864542"/>
                  <a:gd name="connsiteY53" fmla="*/ 141956 h 1281781"/>
                  <a:gd name="connsiteX54" fmla="*/ 69850 w 2864542"/>
                  <a:gd name="connsiteY54" fmla="*/ 43531 h 1281781"/>
                  <a:gd name="connsiteX55" fmla="*/ 15875 w 2864542"/>
                  <a:gd name="connsiteY55" fmla="*/ 24481 h 1281781"/>
                  <a:gd name="connsiteX56" fmla="*/ 15875 w 2864542"/>
                  <a:gd name="connsiteY5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28575 w 2864542"/>
                  <a:gd name="connsiteY7" fmla="*/ 1043656 h 1281781"/>
                  <a:gd name="connsiteX8" fmla="*/ 73025 w 2864542"/>
                  <a:gd name="connsiteY8" fmla="*/ 1075406 h 1281781"/>
                  <a:gd name="connsiteX9" fmla="*/ 104775 w 2864542"/>
                  <a:gd name="connsiteY9" fmla="*/ 1088106 h 1281781"/>
                  <a:gd name="connsiteX10" fmla="*/ 117475 w 2864542"/>
                  <a:gd name="connsiteY10" fmla="*/ 1091281 h 1281781"/>
                  <a:gd name="connsiteX11" fmla="*/ 133350 w 2864542"/>
                  <a:gd name="connsiteY11" fmla="*/ 1097631 h 1281781"/>
                  <a:gd name="connsiteX12" fmla="*/ 149225 w 2864542"/>
                  <a:gd name="connsiteY12" fmla="*/ 1100806 h 1281781"/>
                  <a:gd name="connsiteX13" fmla="*/ 184150 w 2864542"/>
                  <a:gd name="connsiteY13" fmla="*/ 1110331 h 1281781"/>
                  <a:gd name="connsiteX14" fmla="*/ 206375 w 2864542"/>
                  <a:gd name="connsiteY14" fmla="*/ 1119856 h 1281781"/>
                  <a:gd name="connsiteX15" fmla="*/ 219075 w 2864542"/>
                  <a:gd name="connsiteY15" fmla="*/ 1123031 h 1281781"/>
                  <a:gd name="connsiteX16" fmla="*/ 288925 w 2864542"/>
                  <a:gd name="connsiteY16" fmla="*/ 1157956 h 1281781"/>
                  <a:gd name="connsiteX17" fmla="*/ 301625 w 2864542"/>
                  <a:gd name="connsiteY17" fmla="*/ 1161131 h 1281781"/>
                  <a:gd name="connsiteX18" fmla="*/ 323850 w 2864542"/>
                  <a:gd name="connsiteY18" fmla="*/ 1167481 h 1281781"/>
                  <a:gd name="connsiteX19" fmla="*/ 355600 w 2864542"/>
                  <a:gd name="connsiteY19" fmla="*/ 1170656 h 1281781"/>
                  <a:gd name="connsiteX20" fmla="*/ 387350 w 2864542"/>
                  <a:gd name="connsiteY20" fmla="*/ 1177006 h 1281781"/>
                  <a:gd name="connsiteX21" fmla="*/ 406400 w 2864542"/>
                  <a:gd name="connsiteY21" fmla="*/ 1186531 h 1281781"/>
                  <a:gd name="connsiteX22" fmla="*/ 428625 w 2864542"/>
                  <a:gd name="connsiteY22" fmla="*/ 1189706 h 1281781"/>
                  <a:gd name="connsiteX23" fmla="*/ 542925 w 2864542"/>
                  <a:gd name="connsiteY23" fmla="*/ 1199231 h 1281781"/>
                  <a:gd name="connsiteX24" fmla="*/ 631825 w 2864542"/>
                  <a:gd name="connsiteY24" fmla="*/ 1211931 h 1281781"/>
                  <a:gd name="connsiteX25" fmla="*/ 654050 w 2864542"/>
                  <a:gd name="connsiteY25" fmla="*/ 1215106 h 1281781"/>
                  <a:gd name="connsiteX26" fmla="*/ 711200 w 2864542"/>
                  <a:gd name="connsiteY26" fmla="*/ 1224631 h 1281781"/>
                  <a:gd name="connsiteX27" fmla="*/ 819150 w 2864542"/>
                  <a:gd name="connsiteY27" fmla="*/ 1234156 h 1281781"/>
                  <a:gd name="connsiteX28" fmla="*/ 939800 w 2864542"/>
                  <a:gd name="connsiteY28" fmla="*/ 1253206 h 1281781"/>
                  <a:gd name="connsiteX29" fmla="*/ 1155700 w 2864542"/>
                  <a:gd name="connsiteY29" fmla="*/ 1265906 h 1281781"/>
                  <a:gd name="connsiteX30" fmla="*/ 1358900 w 2864542"/>
                  <a:gd name="connsiteY30" fmla="*/ 1275431 h 1281781"/>
                  <a:gd name="connsiteX31" fmla="*/ 1666875 w 2864542"/>
                  <a:gd name="connsiteY31" fmla="*/ 1281781 h 1281781"/>
                  <a:gd name="connsiteX32" fmla="*/ 1835150 w 2864542"/>
                  <a:gd name="connsiteY32" fmla="*/ 1278606 h 1281781"/>
                  <a:gd name="connsiteX33" fmla="*/ 2016125 w 2864542"/>
                  <a:gd name="connsiteY33" fmla="*/ 1243681 h 1281781"/>
                  <a:gd name="connsiteX34" fmla="*/ 2139950 w 2864542"/>
                  <a:gd name="connsiteY34" fmla="*/ 1227806 h 1281781"/>
                  <a:gd name="connsiteX35" fmla="*/ 2244725 w 2864542"/>
                  <a:gd name="connsiteY35" fmla="*/ 1208756 h 1281781"/>
                  <a:gd name="connsiteX36" fmla="*/ 2409825 w 2864542"/>
                  <a:gd name="connsiteY36" fmla="*/ 1196056 h 1281781"/>
                  <a:gd name="connsiteX37" fmla="*/ 2679700 w 2864542"/>
                  <a:gd name="connsiteY37" fmla="*/ 1135731 h 1281781"/>
                  <a:gd name="connsiteX38" fmla="*/ 2854325 w 2864542"/>
                  <a:gd name="connsiteY38" fmla="*/ 1043656 h 1281781"/>
                  <a:gd name="connsiteX39" fmla="*/ 2857500 w 2864542"/>
                  <a:gd name="connsiteY39" fmla="*/ 697581 h 1281781"/>
                  <a:gd name="connsiteX40" fmla="*/ 2851150 w 2864542"/>
                  <a:gd name="connsiteY40" fmla="*/ 646781 h 1281781"/>
                  <a:gd name="connsiteX41" fmla="*/ 2841625 w 2864542"/>
                  <a:gd name="connsiteY41" fmla="*/ 491206 h 1281781"/>
                  <a:gd name="connsiteX42" fmla="*/ 2841625 w 2864542"/>
                  <a:gd name="connsiteY42" fmla="*/ 389606 h 1281781"/>
                  <a:gd name="connsiteX43" fmla="*/ 2851150 w 2864542"/>
                  <a:gd name="connsiteY43" fmla="*/ 167356 h 1281781"/>
                  <a:gd name="connsiteX44" fmla="*/ 2838450 w 2864542"/>
                  <a:gd name="connsiteY44" fmla="*/ 2256 h 1281781"/>
                  <a:gd name="connsiteX45" fmla="*/ 2733675 w 2864542"/>
                  <a:gd name="connsiteY45" fmla="*/ 75281 h 1281781"/>
                  <a:gd name="connsiteX46" fmla="*/ 2533650 w 2864542"/>
                  <a:gd name="connsiteY46" fmla="*/ 129256 h 1281781"/>
                  <a:gd name="connsiteX47" fmla="*/ 2159000 w 2864542"/>
                  <a:gd name="connsiteY47" fmla="*/ 195931 h 1281781"/>
                  <a:gd name="connsiteX48" fmla="*/ 1682750 w 2864542"/>
                  <a:gd name="connsiteY48" fmla="*/ 234031 h 1281781"/>
                  <a:gd name="connsiteX49" fmla="*/ 1073150 w 2864542"/>
                  <a:gd name="connsiteY49" fmla="*/ 234031 h 1281781"/>
                  <a:gd name="connsiteX50" fmla="*/ 1057275 w 2864542"/>
                  <a:gd name="connsiteY50" fmla="*/ 227681 h 1281781"/>
                  <a:gd name="connsiteX51" fmla="*/ 679450 w 2864542"/>
                  <a:gd name="connsiteY51" fmla="*/ 192756 h 1281781"/>
                  <a:gd name="connsiteX52" fmla="*/ 387350 w 2864542"/>
                  <a:gd name="connsiteY52" fmla="*/ 141956 h 1281781"/>
                  <a:gd name="connsiteX53" fmla="*/ 69850 w 2864542"/>
                  <a:gd name="connsiteY53" fmla="*/ 43531 h 1281781"/>
                  <a:gd name="connsiteX54" fmla="*/ 15875 w 2864542"/>
                  <a:gd name="connsiteY54" fmla="*/ 24481 h 1281781"/>
                  <a:gd name="connsiteX55" fmla="*/ 15875 w 2864542"/>
                  <a:gd name="connsiteY5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184150 w 2864542"/>
                  <a:gd name="connsiteY12" fmla="*/ 1110331 h 1281781"/>
                  <a:gd name="connsiteX13" fmla="*/ 206375 w 2864542"/>
                  <a:gd name="connsiteY13" fmla="*/ 1119856 h 1281781"/>
                  <a:gd name="connsiteX14" fmla="*/ 219075 w 2864542"/>
                  <a:gd name="connsiteY14" fmla="*/ 1123031 h 1281781"/>
                  <a:gd name="connsiteX15" fmla="*/ 288925 w 2864542"/>
                  <a:gd name="connsiteY15" fmla="*/ 1157956 h 1281781"/>
                  <a:gd name="connsiteX16" fmla="*/ 301625 w 2864542"/>
                  <a:gd name="connsiteY16" fmla="*/ 1161131 h 1281781"/>
                  <a:gd name="connsiteX17" fmla="*/ 323850 w 2864542"/>
                  <a:gd name="connsiteY17" fmla="*/ 1167481 h 1281781"/>
                  <a:gd name="connsiteX18" fmla="*/ 355600 w 2864542"/>
                  <a:gd name="connsiteY18" fmla="*/ 1170656 h 1281781"/>
                  <a:gd name="connsiteX19" fmla="*/ 387350 w 2864542"/>
                  <a:gd name="connsiteY19" fmla="*/ 1177006 h 1281781"/>
                  <a:gd name="connsiteX20" fmla="*/ 406400 w 2864542"/>
                  <a:gd name="connsiteY20" fmla="*/ 1186531 h 1281781"/>
                  <a:gd name="connsiteX21" fmla="*/ 428625 w 2864542"/>
                  <a:gd name="connsiteY21" fmla="*/ 1189706 h 1281781"/>
                  <a:gd name="connsiteX22" fmla="*/ 542925 w 2864542"/>
                  <a:gd name="connsiteY22" fmla="*/ 1199231 h 1281781"/>
                  <a:gd name="connsiteX23" fmla="*/ 631825 w 2864542"/>
                  <a:gd name="connsiteY23" fmla="*/ 1211931 h 1281781"/>
                  <a:gd name="connsiteX24" fmla="*/ 654050 w 2864542"/>
                  <a:gd name="connsiteY24" fmla="*/ 1215106 h 1281781"/>
                  <a:gd name="connsiteX25" fmla="*/ 711200 w 2864542"/>
                  <a:gd name="connsiteY25" fmla="*/ 1224631 h 1281781"/>
                  <a:gd name="connsiteX26" fmla="*/ 819150 w 2864542"/>
                  <a:gd name="connsiteY26" fmla="*/ 1234156 h 1281781"/>
                  <a:gd name="connsiteX27" fmla="*/ 939800 w 2864542"/>
                  <a:gd name="connsiteY27" fmla="*/ 1253206 h 1281781"/>
                  <a:gd name="connsiteX28" fmla="*/ 1155700 w 2864542"/>
                  <a:gd name="connsiteY28" fmla="*/ 1265906 h 1281781"/>
                  <a:gd name="connsiteX29" fmla="*/ 1358900 w 2864542"/>
                  <a:gd name="connsiteY29" fmla="*/ 1275431 h 1281781"/>
                  <a:gd name="connsiteX30" fmla="*/ 1666875 w 2864542"/>
                  <a:gd name="connsiteY30" fmla="*/ 1281781 h 1281781"/>
                  <a:gd name="connsiteX31" fmla="*/ 1835150 w 2864542"/>
                  <a:gd name="connsiteY31" fmla="*/ 1278606 h 1281781"/>
                  <a:gd name="connsiteX32" fmla="*/ 2016125 w 2864542"/>
                  <a:gd name="connsiteY32" fmla="*/ 1243681 h 1281781"/>
                  <a:gd name="connsiteX33" fmla="*/ 2139950 w 2864542"/>
                  <a:gd name="connsiteY33" fmla="*/ 1227806 h 1281781"/>
                  <a:gd name="connsiteX34" fmla="*/ 2244725 w 2864542"/>
                  <a:gd name="connsiteY34" fmla="*/ 1208756 h 1281781"/>
                  <a:gd name="connsiteX35" fmla="*/ 2409825 w 2864542"/>
                  <a:gd name="connsiteY35" fmla="*/ 1196056 h 1281781"/>
                  <a:gd name="connsiteX36" fmla="*/ 2679700 w 2864542"/>
                  <a:gd name="connsiteY36" fmla="*/ 1135731 h 1281781"/>
                  <a:gd name="connsiteX37" fmla="*/ 2854325 w 2864542"/>
                  <a:gd name="connsiteY37" fmla="*/ 1043656 h 1281781"/>
                  <a:gd name="connsiteX38" fmla="*/ 2857500 w 2864542"/>
                  <a:gd name="connsiteY38" fmla="*/ 697581 h 1281781"/>
                  <a:gd name="connsiteX39" fmla="*/ 2851150 w 2864542"/>
                  <a:gd name="connsiteY39" fmla="*/ 646781 h 1281781"/>
                  <a:gd name="connsiteX40" fmla="*/ 2841625 w 2864542"/>
                  <a:gd name="connsiteY40" fmla="*/ 491206 h 1281781"/>
                  <a:gd name="connsiteX41" fmla="*/ 2841625 w 2864542"/>
                  <a:gd name="connsiteY41" fmla="*/ 389606 h 1281781"/>
                  <a:gd name="connsiteX42" fmla="*/ 2851150 w 2864542"/>
                  <a:gd name="connsiteY42" fmla="*/ 167356 h 1281781"/>
                  <a:gd name="connsiteX43" fmla="*/ 2838450 w 2864542"/>
                  <a:gd name="connsiteY43" fmla="*/ 2256 h 1281781"/>
                  <a:gd name="connsiteX44" fmla="*/ 2733675 w 2864542"/>
                  <a:gd name="connsiteY44" fmla="*/ 75281 h 1281781"/>
                  <a:gd name="connsiteX45" fmla="*/ 2533650 w 2864542"/>
                  <a:gd name="connsiteY45" fmla="*/ 129256 h 1281781"/>
                  <a:gd name="connsiteX46" fmla="*/ 2159000 w 2864542"/>
                  <a:gd name="connsiteY46" fmla="*/ 195931 h 1281781"/>
                  <a:gd name="connsiteX47" fmla="*/ 1682750 w 2864542"/>
                  <a:gd name="connsiteY47" fmla="*/ 234031 h 1281781"/>
                  <a:gd name="connsiteX48" fmla="*/ 1073150 w 2864542"/>
                  <a:gd name="connsiteY48" fmla="*/ 234031 h 1281781"/>
                  <a:gd name="connsiteX49" fmla="*/ 1057275 w 2864542"/>
                  <a:gd name="connsiteY49" fmla="*/ 227681 h 1281781"/>
                  <a:gd name="connsiteX50" fmla="*/ 679450 w 2864542"/>
                  <a:gd name="connsiteY50" fmla="*/ 192756 h 1281781"/>
                  <a:gd name="connsiteX51" fmla="*/ 387350 w 2864542"/>
                  <a:gd name="connsiteY51" fmla="*/ 141956 h 1281781"/>
                  <a:gd name="connsiteX52" fmla="*/ 69850 w 2864542"/>
                  <a:gd name="connsiteY52" fmla="*/ 43531 h 1281781"/>
                  <a:gd name="connsiteX53" fmla="*/ 15875 w 2864542"/>
                  <a:gd name="connsiteY53" fmla="*/ 24481 h 1281781"/>
                  <a:gd name="connsiteX54" fmla="*/ 15875 w 2864542"/>
                  <a:gd name="connsiteY5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33350 w 2864542"/>
                  <a:gd name="connsiteY10" fmla="*/ 1097631 h 1281781"/>
                  <a:gd name="connsiteX11" fmla="*/ 149225 w 2864542"/>
                  <a:gd name="connsiteY11" fmla="*/ 1100806 h 1281781"/>
                  <a:gd name="connsiteX12" fmla="*/ 206375 w 2864542"/>
                  <a:gd name="connsiteY12" fmla="*/ 1119856 h 1281781"/>
                  <a:gd name="connsiteX13" fmla="*/ 219075 w 2864542"/>
                  <a:gd name="connsiteY13" fmla="*/ 1123031 h 1281781"/>
                  <a:gd name="connsiteX14" fmla="*/ 288925 w 2864542"/>
                  <a:gd name="connsiteY14" fmla="*/ 1157956 h 1281781"/>
                  <a:gd name="connsiteX15" fmla="*/ 301625 w 2864542"/>
                  <a:gd name="connsiteY15" fmla="*/ 1161131 h 1281781"/>
                  <a:gd name="connsiteX16" fmla="*/ 323850 w 2864542"/>
                  <a:gd name="connsiteY16" fmla="*/ 1167481 h 1281781"/>
                  <a:gd name="connsiteX17" fmla="*/ 355600 w 2864542"/>
                  <a:gd name="connsiteY17" fmla="*/ 1170656 h 1281781"/>
                  <a:gd name="connsiteX18" fmla="*/ 387350 w 2864542"/>
                  <a:gd name="connsiteY18" fmla="*/ 1177006 h 1281781"/>
                  <a:gd name="connsiteX19" fmla="*/ 406400 w 2864542"/>
                  <a:gd name="connsiteY19" fmla="*/ 1186531 h 1281781"/>
                  <a:gd name="connsiteX20" fmla="*/ 428625 w 2864542"/>
                  <a:gd name="connsiteY20" fmla="*/ 1189706 h 1281781"/>
                  <a:gd name="connsiteX21" fmla="*/ 542925 w 2864542"/>
                  <a:gd name="connsiteY21" fmla="*/ 1199231 h 1281781"/>
                  <a:gd name="connsiteX22" fmla="*/ 631825 w 2864542"/>
                  <a:gd name="connsiteY22" fmla="*/ 1211931 h 1281781"/>
                  <a:gd name="connsiteX23" fmla="*/ 654050 w 2864542"/>
                  <a:gd name="connsiteY23" fmla="*/ 1215106 h 1281781"/>
                  <a:gd name="connsiteX24" fmla="*/ 711200 w 2864542"/>
                  <a:gd name="connsiteY24" fmla="*/ 1224631 h 1281781"/>
                  <a:gd name="connsiteX25" fmla="*/ 819150 w 2864542"/>
                  <a:gd name="connsiteY25" fmla="*/ 1234156 h 1281781"/>
                  <a:gd name="connsiteX26" fmla="*/ 939800 w 2864542"/>
                  <a:gd name="connsiteY26" fmla="*/ 1253206 h 1281781"/>
                  <a:gd name="connsiteX27" fmla="*/ 1155700 w 2864542"/>
                  <a:gd name="connsiteY27" fmla="*/ 1265906 h 1281781"/>
                  <a:gd name="connsiteX28" fmla="*/ 1358900 w 2864542"/>
                  <a:gd name="connsiteY28" fmla="*/ 1275431 h 1281781"/>
                  <a:gd name="connsiteX29" fmla="*/ 1666875 w 2864542"/>
                  <a:gd name="connsiteY29" fmla="*/ 1281781 h 1281781"/>
                  <a:gd name="connsiteX30" fmla="*/ 1835150 w 2864542"/>
                  <a:gd name="connsiteY30" fmla="*/ 1278606 h 1281781"/>
                  <a:gd name="connsiteX31" fmla="*/ 2016125 w 2864542"/>
                  <a:gd name="connsiteY31" fmla="*/ 1243681 h 1281781"/>
                  <a:gd name="connsiteX32" fmla="*/ 2139950 w 2864542"/>
                  <a:gd name="connsiteY32" fmla="*/ 1227806 h 1281781"/>
                  <a:gd name="connsiteX33" fmla="*/ 2244725 w 2864542"/>
                  <a:gd name="connsiteY33" fmla="*/ 1208756 h 1281781"/>
                  <a:gd name="connsiteX34" fmla="*/ 2409825 w 2864542"/>
                  <a:gd name="connsiteY34" fmla="*/ 1196056 h 1281781"/>
                  <a:gd name="connsiteX35" fmla="*/ 2679700 w 2864542"/>
                  <a:gd name="connsiteY35" fmla="*/ 1135731 h 1281781"/>
                  <a:gd name="connsiteX36" fmla="*/ 2854325 w 2864542"/>
                  <a:gd name="connsiteY36" fmla="*/ 1043656 h 1281781"/>
                  <a:gd name="connsiteX37" fmla="*/ 2857500 w 2864542"/>
                  <a:gd name="connsiteY37" fmla="*/ 697581 h 1281781"/>
                  <a:gd name="connsiteX38" fmla="*/ 2851150 w 2864542"/>
                  <a:gd name="connsiteY38" fmla="*/ 646781 h 1281781"/>
                  <a:gd name="connsiteX39" fmla="*/ 2841625 w 2864542"/>
                  <a:gd name="connsiteY39" fmla="*/ 491206 h 1281781"/>
                  <a:gd name="connsiteX40" fmla="*/ 2841625 w 2864542"/>
                  <a:gd name="connsiteY40" fmla="*/ 389606 h 1281781"/>
                  <a:gd name="connsiteX41" fmla="*/ 2851150 w 2864542"/>
                  <a:gd name="connsiteY41" fmla="*/ 167356 h 1281781"/>
                  <a:gd name="connsiteX42" fmla="*/ 2838450 w 2864542"/>
                  <a:gd name="connsiteY42" fmla="*/ 2256 h 1281781"/>
                  <a:gd name="connsiteX43" fmla="*/ 2733675 w 2864542"/>
                  <a:gd name="connsiteY43" fmla="*/ 75281 h 1281781"/>
                  <a:gd name="connsiteX44" fmla="*/ 2533650 w 2864542"/>
                  <a:gd name="connsiteY44" fmla="*/ 129256 h 1281781"/>
                  <a:gd name="connsiteX45" fmla="*/ 2159000 w 2864542"/>
                  <a:gd name="connsiteY45" fmla="*/ 195931 h 1281781"/>
                  <a:gd name="connsiteX46" fmla="*/ 1682750 w 2864542"/>
                  <a:gd name="connsiteY46" fmla="*/ 234031 h 1281781"/>
                  <a:gd name="connsiteX47" fmla="*/ 1073150 w 2864542"/>
                  <a:gd name="connsiteY47" fmla="*/ 234031 h 1281781"/>
                  <a:gd name="connsiteX48" fmla="*/ 1057275 w 2864542"/>
                  <a:gd name="connsiteY48" fmla="*/ 227681 h 1281781"/>
                  <a:gd name="connsiteX49" fmla="*/ 679450 w 2864542"/>
                  <a:gd name="connsiteY49" fmla="*/ 192756 h 1281781"/>
                  <a:gd name="connsiteX50" fmla="*/ 387350 w 2864542"/>
                  <a:gd name="connsiteY50" fmla="*/ 141956 h 1281781"/>
                  <a:gd name="connsiteX51" fmla="*/ 69850 w 2864542"/>
                  <a:gd name="connsiteY51" fmla="*/ 43531 h 1281781"/>
                  <a:gd name="connsiteX52" fmla="*/ 15875 w 2864542"/>
                  <a:gd name="connsiteY52" fmla="*/ 24481 h 1281781"/>
                  <a:gd name="connsiteX53" fmla="*/ 15875 w 2864542"/>
                  <a:gd name="connsiteY5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149225 w 2864542"/>
                  <a:gd name="connsiteY10" fmla="*/ 1100806 h 1281781"/>
                  <a:gd name="connsiteX11" fmla="*/ 206375 w 2864542"/>
                  <a:gd name="connsiteY11" fmla="*/ 1119856 h 1281781"/>
                  <a:gd name="connsiteX12" fmla="*/ 219075 w 2864542"/>
                  <a:gd name="connsiteY12" fmla="*/ 1123031 h 1281781"/>
                  <a:gd name="connsiteX13" fmla="*/ 288925 w 2864542"/>
                  <a:gd name="connsiteY13" fmla="*/ 1157956 h 1281781"/>
                  <a:gd name="connsiteX14" fmla="*/ 301625 w 2864542"/>
                  <a:gd name="connsiteY14" fmla="*/ 1161131 h 1281781"/>
                  <a:gd name="connsiteX15" fmla="*/ 323850 w 2864542"/>
                  <a:gd name="connsiteY15" fmla="*/ 1167481 h 1281781"/>
                  <a:gd name="connsiteX16" fmla="*/ 355600 w 2864542"/>
                  <a:gd name="connsiteY16" fmla="*/ 1170656 h 1281781"/>
                  <a:gd name="connsiteX17" fmla="*/ 387350 w 2864542"/>
                  <a:gd name="connsiteY17" fmla="*/ 1177006 h 1281781"/>
                  <a:gd name="connsiteX18" fmla="*/ 406400 w 2864542"/>
                  <a:gd name="connsiteY18" fmla="*/ 1186531 h 1281781"/>
                  <a:gd name="connsiteX19" fmla="*/ 428625 w 2864542"/>
                  <a:gd name="connsiteY19" fmla="*/ 1189706 h 1281781"/>
                  <a:gd name="connsiteX20" fmla="*/ 542925 w 2864542"/>
                  <a:gd name="connsiteY20" fmla="*/ 1199231 h 1281781"/>
                  <a:gd name="connsiteX21" fmla="*/ 631825 w 2864542"/>
                  <a:gd name="connsiteY21" fmla="*/ 1211931 h 1281781"/>
                  <a:gd name="connsiteX22" fmla="*/ 654050 w 2864542"/>
                  <a:gd name="connsiteY22" fmla="*/ 1215106 h 1281781"/>
                  <a:gd name="connsiteX23" fmla="*/ 711200 w 2864542"/>
                  <a:gd name="connsiteY23" fmla="*/ 1224631 h 1281781"/>
                  <a:gd name="connsiteX24" fmla="*/ 819150 w 2864542"/>
                  <a:gd name="connsiteY24" fmla="*/ 1234156 h 1281781"/>
                  <a:gd name="connsiteX25" fmla="*/ 939800 w 2864542"/>
                  <a:gd name="connsiteY25" fmla="*/ 1253206 h 1281781"/>
                  <a:gd name="connsiteX26" fmla="*/ 1155700 w 2864542"/>
                  <a:gd name="connsiteY26" fmla="*/ 1265906 h 1281781"/>
                  <a:gd name="connsiteX27" fmla="*/ 1358900 w 2864542"/>
                  <a:gd name="connsiteY27" fmla="*/ 1275431 h 1281781"/>
                  <a:gd name="connsiteX28" fmla="*/ 1666875 w 2864542"/>
                  <a:gd name="connsiteY28" fmla="*/ 1281781 h 1281781"/>
                  <a:gd name="connsiteX29" fmla="*/ 1835150 w 2864542"/>
                  <a:gd name="connsiteY29" fmla="*/ 1278606 h 1281781"/>
                  <a:gd name="connsiteX30" fmla="*/ 2016125 w 2864542"/>
                  <a:gd name="connsiteY30" fmla="*/ 1243681 h 1281781"/>
                  <a:gd name="connsiteX31" fmla="*/ 2139950 w 2864542"/>
                  <a:gd name="connsiteY31" fmla="*/ 1227806 h 1281781"/>
                  <a:gd name="connsiteX32" fmla="*/ 2244725 w 2864542"/>
                  <a:gd name="connsiteY32" fmla="*/ 1208756 h 1281781"/>
                  <a:gd name="connsiteX33" fmla="*/ 2409825 w 2864542"/>
                  <a:gd name="connsiteY33" fmla="*/ 1196056 h 1281781"/>
                  <a:gd name="connsiteX34" fmla="*/ 2679700 w 2864542"/>
                  <a:gd name="connsiteY34" fmla="*/ 1135731 h 1281781"/>
                  <a:gd name="connsiteX35" fmla="*/ 2854325 w 2864542"/>
                  <a:gd name="connsiteY35" fmla="*/ 1043656 h 1281781"/>
                  <a:gd name="connsiteX36" fmla="*/ 2857500 w 2864542"/>
                  <a:gd name="connsiteY36" fmla="*/ 697581 h 1281781"/>
                  <a:gd name="connsiteX37" fmla="*/ 2851150 w 2864542"/>
                  <a:gd name="connsiteY37" fmla="*/ 646781 h 1281781"/>
                  <a:gd name="connsiteX38" fmla="*/ 2841625 w 2864542"/>
                  <a:gd name="connsiteY38" fmla="*/ 491206 h 1281781"/>
                  <a:gd name="connsiteX39" fmla="*/ 2841625 w 2864542"/>
                  <a:gd name="connsiteY39" fmla="*/ 389606 h 1281781"/>
                  <a:gd name="connsiteX40" fmla="*/ 2851150 w 2864542"/>
                  <a:gd name="connsiteY40" fmla="*/ 167356 h 1281781"/>
                  <a:gd name="connsiteX41" fmla="*/ 2838450 w 2864542"/>
                  <a:gd name="connsiteY41" fmla="*/ 2256 h 1281781"/>
                  <a:gd name="connsiteX42" fmla="*/ 2733675 w 2864542"/>
                  <a:gd name="connsiteY42" fmla="*/ 75281 h 1281781"/>
                  <a:gd name="connsiteX43" fmla="*/ 2533650 w 2864542"/>
                  <a:gd name="connsiteY43" fmla="*/ 129256 h 1281781"/>
                  <a:gd name="connsiteX44" fmla="*/ 2159000 w 2864542"/>
                  <a:gd name="connsiteY44" fmla="*/ 195931 h 1281781"/>
                  <a:gd name="connsiteX45" fmla="*/ 1682750 w 2864542"/>
                  <a:gd name="connsiteY45" fmla="*/ 234031 h 1281781"/>
                  <a:gd name="connsiteX46" fmla="*/ 1073150 w 2864542"/>
                  <a:gd name="connsiteY46" fmla="*/ 234031 h 1281781"/>
                  <a:gd name="connsiteX47" fmla="*/ 1057275 w 2864542"/>
                  <a:gd name="connsiteY47" fmla="*/ 227681 h 1281781"/>
                  <a:gd name="connsiteX48" fmla="*/ 679450 w 2864542"/>
                  <a:gd name="connsiteY48" fmla="*/ 192756 h 1281781"/>
                  <a:gd name="connsiteX49" fmla="*/ 387350 w 2864542"/>
                  <a:gd name="connsiteY49" fmla="*/ 141956 h 1281781"/>
                  <a:gd name="connsiteX50" fmla="*/ 69850 w 2864542"/>
                  <a:gd name="connsiteY50" fmla="*/ 43531 h 1281781"/>
                  <a:gd name="connsiteX51" fmla="*/ 15875 w 2864542"/>
                  <a:gd name="connsiteY51" fmla="*/ 24481 h 1281781"/>
                  <a:gd name="connsiteX52" fmla="*/ 15875 w 2864542"/>
                  <a:gd name="connsiteY5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117475 w 2864542"/>
                  <a:gd name="connsiteY9" fmla="*/ 1091281 h 1281781"/>
                  <a:gd name="connsiteX10" fmla="*/ 206375 w 2864542"/>
                  <a:gd name="connsiteY10" fmla="*/ 1119856 h 1281781"/>
                  <a:gd name="connsiteX11" fmla="*/ 219075 w 2864542"/>
                  <a:gd name="connsiteY11" fmla="*/ 1123031 h 1281781"/>
                  <a:gd name="connsiteX12" fmla="*/ 288925 w 2864542"/>
                  <a:gd name="connsiteY12" fmla="*/ 1157956 h 1281781"/>
                  <a:gd name="connsiteX13" fmla="*/ 301625 w 2864542"/>
                  <a:gd name="connsiteY13" fmla="*/ 1161131 h 1281781"/>
                  <a:gd name="connsiteX14" fmla="*/ 323850 w 2864542"/>
                  <a:gd name="connsiteY14" fmla="*/ 1167481 h 1281781"/>
                  <a:gd name="connsiteX15" fmla="*/ 355600 w 2864542"/>
                  <a:gd name="connsiteY15" fmla="*/ 1170656 h 1281781"/>
                  <a:gd name="connsiteX16" fmla="*/ 387350 w 2864542"/>
                  <a:gd name="connsiteY16" fmla="*/ 1177006 h 1281781"/>
                  <a:gd name="connsiteX17" fmla="*/ 406400 w 2864542"/>
                  <a:gd name="connsiteY17" fmla="*/ 1186531 h 1281781"/>
                  <a:gd name="connsiteX18" fmla="*/ 428625 w 2864542"/>
                  <a:gd name="connsiteY18" fmla="*/ 1189706 h 1281781"/>
                  <a:gd name="connsiteX19" fmla="*/ 542925 w 2864542"/>
                  <a:gd name="connsiteY19" fmla="*/ 1199231 h 1281781"/>
                  <a:gd name="connsiteX20" fmla="*/ 631825 w 2864542"/>
                  <a:gd name="connsiteY20" fmla="*/ 1211931 h 1281781"/>
                  <a:gd name="connsiteX21" fmla="*/ 654050 w 2864542"/>
                  <a:gd name="connsiteY21" fmla="*/ 1215106 h 1281781"/>
                  <a:gd name="connsiteX22" fmla="*/ 711200 w 2864542"/>
                  <a:gd name="connsiteY22" fmla="*/ 1224631 h 1281781"/>
                  <a:gd name="connsiteX23" fmla="*/ 819150 w 2864542"/>
                  <a:gd name="connsiteY23" fmla="*/ 1234156 h 1281781"/>
                  <a:gd name="connsiteX24" fmla="*/ 939800 w 2864542"/>
                  <a:gd name="connsiteY24" fmla="*/ 1253206 h 1281781"/>
                  <a:gd name="connsiteX25" fmla="*/ 1155700 w 2864542"/>
                  <a:gd name="connsiteY25" fmla="*/ 1265906 h 1281781"/>
                  <a:gd name="connsiteX26" fmla="*/ 1358900 w 2864542"/>
                  <a:gd name="connsiteY26" fmla="*/ 1275431 h 1281781"/>
                  <a:gd name="connsiteX27" fmla="*/ 1666875 w 2864542"/>
                  <a:gd name="connsiteY27" fmla="*/ 1281781 h 1281781"/>
                  <a:gd name="connsiteX28" fmla="*/ 1835150 w 2864542"/>
                  <a:gd name="connsiteY28" fmla="*/ 1278606 h 1281781"/>
                  <a:gd name="connsiteX29" fmla="*/ 2016125 w 2864542"/>
                  <a:gd name="connsiteY29" fmla="*/ 1243681 h 1281781"/>
                  <a:gd name="connsiteX30" fmla="*/ 2139950 w 2864542"/>
                  <a:gd name="connsiteY30" fmla="*/ 1227806 h 1281781"/>
                  <a:gd name="connsiteX31" fmla="*/ 2244725 w 2864542"/>
                  <a:gd name="connsiteY31" fmla="*/ 1208756 h 1281781"/>
                  <a:gd name="connsiteX32" fmla="*/ 2409825 w 2864542"/>
                  <a:gd name="connsiteY32" fmla="*/ 1196056 h 1281781"/>
                  <a:gd name="connsiteX33" fmla="*/ 2679700 w 2864542"/>
                  <a:gd name="connsiteY33" fmla="*/ 1135731 h 1281781"/>
                  <a:gd name="connsiteX34" fmla="*/ 2854325 w 2864542"/>
                  <a:gd name="connsiteY34" fmla="*/ 1043656 h 1281781"/>
                  <a:gd name="connsiteX35" fmla="*/ 2857500 w 2864542"/>
                  <a:gd name="connsiteY35" fmla="*/ 697581 h 1281781"/>
                  <a:gd name="connsiteX36" fmla="*/ 2851150 w 2864542"/>
                  <a:gd name="connsiteY36" fmla="*/ 646781 h 1281781"/>
                  <a:gd name="connsiteX37" fmla="*/ 2841625 w 2864542"/>
                  <a:gd name="connsiteY37" fmla="*/ 491206 h 1281781"/>
                  <a:gd name="connsiteX38" fmla="*/ 2841625 w 2864542"/>
                  <a:gd name="connsiteY38" fmla="*/ 389606 h 1281781"/>
                  <a:gd name="connsiteX39" fmla="*/ 2851150 w 2864542"/>
                  <a:gd name="connsiteY39" fmla="*/ 167356 h 1281781"/>
                  <a:gd name="connsiteX40" fmla="*/ 2838450 w 2864542"/>
                  <a:gd name="connsiteY40" fmla="*/ 2256 h 1281781"/>
                  <a:gd name="connsiteX41" fmla="*/ 2733675 w 2864542"/>
                  <a:gd name="connsiteY41" fmla="*/ 75281 h 1281781"/>
                  <a:gd name="connsiteX42" fmla="*/ 2533650 w 2864542"/>
                  <a:gd name="connsiteY42" fmla="*/ 129256 h 1281781"/>
                  <a:gd name="connsiteX43" fmla="*/ 2159000 w 2864542"/>
                  <a:gd name="connsiteY43" fmla="*/ 195931 h 1281781"/>
                  <a:gd name="connsiteX44" fmla="*/ 1682750 w 2864542"/>
                  <a:gd name="connsiteY44" fmla="*/ 234031 h 1281781"/>
                  <a:gd name="connsiteX45" fmla="*/ 1073150 w 2864542"/>
                  <a:gd name="connsiteY45" fmla="*/ 234031 h 1281781"/>
                  <a:gd name="connsiteX46" fmla="*/ 1057275 w 2864542"/>
                  <a:gd name="connsiteY46" fmla="*/ 227681 h 1281781"/>
                  <a:gd name="connsiteX47" fmla="*/ 679450 w 2864542"/>
                  <a:gd name="connsiteY47" fmla="*/ 192756 h 1281781"/>
                  <a:gd name="connsiteX48" fmla="*/ 387350 w 2864542"/>
                  <a:gd name="connsiteY48" fmla="*/ 141956 h 1281781"/>
                  <a:gd name="connsiteX49" fmla="*/ 69850 w 2864542"/>
                  <a:gd name="connsiteY49" fmla="*/ 43531 h 1281781"/>
                  <a:gd name="connsiteX50" fmla="*/ 15875 w 2864542"/>
                  <a:gd name="connsiteY50" fmla="*/ 24481 h 1281781"/>
                  <a:gd name="connsiteX51" fmla="*/ 15875 w 2864542"/>
                  <a:gd name="connsiteY5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19075 w 2864542"/>
                  <a:gd name="connsiteY10" fmla="*/ 1123031 h 1281781"/>
                  <a:gd name="connsiteX11" fmla="*/ 288925 w 2864542"/>
                  <a:gd name="connsiteY11" fmla="*/ 1157956 h 1281781"/>
                  <a:gd name="connsiteX12" fmla="*/ 301625 w 2864542"/>
                  <a:gd name="connsiteY12" fmla="*/ 1161131 h 1281781"/>
                  <a:gd name="connsiteX13" fmla="*/ 323850 w 2864542"/>
                  <a:gd name="connsiteY13" fmla="*/ 1167481 h 1281781"/>
                  <a:gd name="connsiteX14" fmla="*/ 355600 w 2864542"/>
                  <a:gd name="connsiteY14" fmla="*/ 1170656 h 1281781"/>
                  <a:gd name="connsiteX15" fmla="*/ 387350 w 2864542"/>
                  <a:gd name="connsiteY15" fmla="*/ 1177006 h 1281781"/>
                  <a:gd name="connsiteX16" fmla="*/ 406400 w 2864542"/>
                  <a:gd name="connsiteY16" fmla="*/ 1186531 h 1281781"/>
                  <a:gd name="connsiteX17" fmla="*/ 428625 w 2864542"/>
                  <a:gd name="connsiteY17" fmla="*/ 1189706 h 1281781"/>
                  <a:gd name="connsiteX18" fmla="*/ 542925 w 2864542"/>
                  <a:gd name="connsiteY18" fmla="*/ 1199231 h 1281781"/>
                  <a:gd name="connsiteX19" fmla="*/ 631825 w 2864542"/>
                  <a:gd name="connsiteY19" fmla="*/ 1211931 h 1281781"/>
                  <a:gd name="connsiteX20" fmla="*/ 654050 w 2864542"/>
                  <a:gd name="connsiteY20" fmla="*/ 1215106 h 1281781"/>
                  <a:gd name="connsiteX21" fmla="*/ 711200 w 2864542"/>
                  <a:gd name="connsiteY21" fmla="*/ 1224631 h 1281781"/>
                  <a:gd name="connsiteX22" fmla="*/ 819150 w 2864542"/>
                  <a:gd name="connsiteY22" fmla="*/ 1234156 h 1281781"/>
                  <a:gd name="connsiteX23" fmla="*/ 939800 w 2864542"/>
                  <a:gd name="connsiteY23" fmla="*/ 1253206 h 1281781"/>
                  <a:gd name="connsiteX24" fmla="*/ 1155700 w 2864542"/>
                  <a:gd name="connsiteY24" fmla="*/ 1265906 h 1281781"/>
                  <a:gd name="connsiteX25" fmla="*/ 1358900 w 2864542"/>
                  <a:gd name="connsiteY25" fmla="*/ 1275431 h 1281781"/>
                  <a:gd name="connsiteX26" fmla="*/ 1666875 w 2864542"/>
                  <a:gd name="connsiteY26" fmla="*/ 1281781 h 1281781"/>
                  <a:gd name="connsiteX27" fmla="*/ 1835150 w 2864542"/>
                  <a:gd name="connsiteY27" fmla="*/ 1278606 h 1281781"/>
                  <a:gd name="connsiteX28" fmla="*/ 2016125 w 2864542"/>
                  <a:gd name="connsiteY28" fmla="*/ 1243681 h 1281781"/>
                  <a:gd name="connsiteX29" fmla="*/ 2139950 w 2864542"/>
                  <a:gd name="connsiteY29" fmla="*/ 1227806 h 1281781"/>
                  <a:gd name="connsiteX30" fmla="*/ 2244725 w 2864542"/>
                  <a:gd name="connsiteY30" fmla="*/ 1208756 h 1281781"/>
                  <a:gd name="connsiteX31" fmla="*/ 2409825 w 2864542"/>
                  <a:gd name="connsiteY31" fmla="*/ 1196056 h 1281781"/>
                  <a:gd name="connsiteX32" fmla="*/ 2679700 w 2864542"/>
                  <a:gd name="connsiteY32" fmla="*/ 1135731 h 1281781"/>
                  <a:gd name="connsiteX33" fmla="*/ 2854325 w 2864542"/>
                  <a:gd name="connsiteY33" fmla="*/ 1043656 h 1281781"/>
                  <a:gd name="connsiteX34" fmla="*/ 2857500 w 2864542"/>
                  <a:gd name="connsiteY34" fmla="*/ 697581 h 1281781"/>
                  <a:gd name="connsiteX35" fmla="*/ 2851150 w 2864542"/>
                  <a:gd name="connsiteY35" fmla="*/ 646781 h 1281781"/>
                  <a:gd name="connsiteX36" fmla="*/ 2841625 w 2864542"/>
                  <a:gd name="connsiteY36" fmla="*/ 491206 h 1281781"/>
                  <a:gd name="connsiteX37" fmla="*/ 2841625 w 2864542"/>
                  <a:gd name="connsiteY37" fmla="*/ 389606 h 1281781"/>
                  <a:gd name="connsiteX38" fmla="*/ 2851150 w 2864542"/>
                  <a:gd name="connsiteY38" fmla="*/ 167356 h 1281781"/>
                  <a:gd name="connsiteX39" fmla="*/ 2838450 w 2864542"/>
                  <a:gd name="connsiteY39" fmla="*/ 2256 h 1281781"/>
                  <a:gd name="connsiteX40" fmla="*/ 2733675 w 2864542"/>
                  <a:gd name="connsiteY40" fmla="*/ 75281 h 1281781"/>
                  <a:gd name="connsiteX41" fmla="*/ 2533650 w 2864542"/>
                  <a:gd name="connsiteY41" fmla="*/ 129256 h 1281781"/>
                  <a:gd name="connsiteX42" fmla="*/ 2159000 w 2864542"/>
                  <a:gd name="connsiteY42" fmla="*/ 195931 h 1281781"/>
                  <a:gd name="connsiteX43" fmla="*/ 1682750 w 2864542"/>
                  <a:gd name="connsiteY43" fmla="*/ 234031 h 1281781"/>
                  <a:gd name="connsiteX44" fmla="*/ 1073150 w 2864542"/>
                  <a:gd name="connsiteY44" fmla="*/ 234031 h 1281781"/>
                  <a:gd name="connsiteX45" fmla="*/ 1057275 w 2864542"/>
                  <a:gd name="connsiteY45" fmla="*/ 227681 h 1281781"/>
                  <a:gd name="connsiteX46" fmla="*/ 679450 w 2864542"/>
                  <a:gd name="connsiteY46" fmla="*/ 192756 h 1281781"/>
                  <a:gd name="connsiteX47" fmla="*/ 387350 w 2864542"/>
                  <a:gd name="connsiteY47" fmla="*/ 141956 h 1281781"/>
                  <a:gd name="connsiteX48" fmla="*/ 69850 w 2864542"/>
                  <a:gd name="connsiteY48" fmla="*/ 43531 h 1281781"/>
                  <a:gd name="connsiteX49" fmla="*/ 15875 w 2864542"/>
                  <a:gd name="connsiteY49" fmla="*/ 24481 h 1281781"/>
                  <a:gd name="connsiteX50" fmla="*/ 15875 w 2864542"/>
                  <a:gd name="connsiteY5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23850 w 2864542"/>
                  <a:gd name="connsiteY12" fmla="*/ 1167481 h 1281781"/>
                  <a:gd name="connsiteX13" fmla="*/ 355600 w 2864542"/>
                  <a:gd name="connsiteY13" fmla="*/ 1170656 h 1281781"/>
                  <a:gd name="connsiteX14" fmla="*/ 387350 w 2864542"/>
                  <a:gd name="connsiteY14" fmla="*/ 1177006 h 1281781"/>
                  <a:gd name="connsiteX15" fmla="*/ 406400 w 2864542"/>
                  <a:gd name="connsiteY15" fmla="*/ 1186531 h 1281781"/>
                  <a:gd name="connsiteX16" fmla="*/ 428625 w 2864542"/>
                  <a:gd name="connsiteY16" fmla="*/ 1189706 h 1281781"/>
                  <a:gd name="connsiteX17" fmla="*/ 542925 w 2864542"/>
                  <a:gd name="connsiteY17" fmla="*/ 1199231 h 1281781"/>
                  <a:gd name="connsiteX18" fmla="*/ 631825 w 2864542"/>
                  <a:gd name="connsiteY18" fmla="*/ 1211931 h 1281781"/>
                  <a:gd name="connsiteX19" fmla="*/ 654050 w 2864542"/>
                  <a:gd name="connsiteY19" fmla="*/ 1215106 h 1281781"/>
                  <a:gd name="connsiteX20" fmla="*/ 711200 w 2864542"/>
                  <a:gd name="connsiteY20" fmla="*/ 1224631 h 1281781"/>
                  <a:gd name="connsiteX21" fmla="*/ 819150 w 2864542"/>
                  <a:gd name="connsiteY21" fmla="*/ 1234156 h 1281781"/>
                  <a:gd name="connsiteX22" fmla="*/ 939800 w 2864542"/>
                  <a:gd name="connsiteY22" fmla="*/ 1253206 h 1281781"/>
                  <a:gd name="connsiteX23" fmla="*/ 1155700 w 2864542"/>
                  <a:gd name="connsiteY23" fmla="*/ 1265906 h 1281781"/>
                  <a:gd name="connsiteX24" fmla="*/ 1358900 w 2864542"/>
                  <a:gd name="connsiteY24" fmla="*/ 1275431 h 1281781"/>
                  <a:gd name="connsiteX25" fmla="*/ 1666875 w 2864542"/>
                  <a:gd name="connsiteY25" fmla="*/ 1281781 h 1281781"/>
                  <a:gd name="connsiteX26" fmla="*/ 1835150 w 2864542"/>
                  <a:gd name="connsiteY26" fmla="*/ 1278606 h 1281781"/>
                  <a:gd name="connsiteX27" fmla="*/ 2016125 w 2864542"/>
                  <a:gd name="connsiteY27" fmla="*/ 1243681 h 1281781"/>
                  <a:gd name="connsiteX28" fmla="*/ 2139950 w 2864542"/>
                  <a:gd name="connsiteY28" fmla="*/ 1227806 h 1281781"/>
                  <a:gd name="connsiteX29" fmla="*/ 2244725 w 2864542"/>
                  <a:gd name="connsiteY29" fmla="*/ 1208756 h 1281781"/>
                  <a:gd name="connsiteX30" fmla="*/ 2409825 w 2864542"/>
                  <a:gd name="connsiteY30" fmla="*/ 1196056 h 1281781"/>
                  <a:gd name="connsiteX31" fmla="*/ 2679700 w 2864542"/>
                  <a:gd name="connsiteY31" fmla="*/ 1135731 h 1281781"/>
                  <a:gd name="connsiteX32" fmla="*/ 2854325 w 2864542"/>
                  <a:gd name="connsiteY32" fmla="*/ 1043656 h 1281781"/>
                  <a:gd name="connsiteX33" fmla="*/ 2857500 w 2864542"/>
                  <a:gd name="connsiteY33" fmla="*/ 697581 h 1281781"/>
                  <a:gd name="connsiteX34" fmla="*/ 2851150 w 2864542"/>
                  <a:gd name="connsiteY34" fmla="*/ 646781 h 1281781"/>
                  <a:gd name="connsiteX35" fmla="*/ 2841625 w 2864542"/>
                  <a:gd name="connsiteY35" fmla="*/ 491206 h 1281781"/>
                  <a:gd name="connsiteX36" fmla="*/ 2841625 w 2864542"/>
                  <a:gd name="connsiteY36" fmla="*/ 389606 h 1281781"/>
                  <a:gd name="connsiteX37" fmla="*/ 2851150 w 2864542"/>
                  <a:gd name="connsiteY37" fmla="*/ 167356 h 1281781"/>
                  <a:gd name="connsiteX38" fmla="*/ 2838450 w 2864542"/>
                  <a:gd name="connsiteY38" fmla="*/ 2256 h 1281781"/>
                  <a:gd name="connsiteX39" fmla="*/ 2733675 w 2864542"/>
                  <a:gd name="connsiteY39" fmla="*/ 75281 h 1281781"/>
                  <a:gd name="connsiteX40" fmla="*/ 2533650 w 2864542"/>
                  <a:gd name="connsiteY40" fmla="*/ 129256 h 1281781"/>
                  <a:gd name="connsiteX41" fmla="*/ 2159000 w 2864542"/>
                  <a:gd name="connsiteY41" fmla="*/ 195931 h 1281781"/>
                  <a:gd name="connsiteX42" fmla="*/ 1682750 w 2864542"/>
                  <a:gd name="connsiteY42" fmla="*/ 234031 h 1281781"/>
                  <a:gd name="connsiteX43" fmla="*/ 1073150 w 2864542"/>
                  <a:gd name="connsiteY43" fmla="*/ 234031 h 1281781"/>
                  <a:gd name="connsiteX44" fmla="*/ 1057275 w 2864542"/>
                  <a:gd name="connsiteY44" fmla="*/ 227681 h 1281781"/>
                  <a:gd name="connsiteX45" fmla="*/ 679450 w 2864542"/>
                  <a:gd name="connsiteY45" fmla="*/ 192756 h 1281781"/>
                  <a:gd name="connsiteX46" fmla="*/ 387350 w 2864542"/>
                  <a:gd name="connsiteY46" fmla="*/ 141956 h 1281781"/>
                  <a:gd name="connsiteX47" fmla="*/ 69850 w 2864542"/>
                  <a:gd name="connsiteY47" fmla="*/ 43531 h 1281781"/>
                  <a:gd name="connsiteX48" fmla="*/ 15875 w 2864542"/>
                  <a:gd name="connsiteY48" fmla="*/ 24481 h 1281781"/>
                  <a:gd name="connsiteX49" fmla="*/ 15875 w 2864542"/>
                  <a:gd name="connsiteY4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387350 w 2864542"/>
                  <a:gd name="connsiteY13" fmla="*/ 1177006 h 1281781"/>
                  <a:gd name="connsiteX14" fmla="*/ 406400 w 2864542"/>
                  <a:gd name="connsiteY14" fmla="*/ 1186531 h 1281781"/>
                  <a:gd name="connsiteX15" fmla="*/ 428625 w 2864542"/>
                  <a:gd name="connsiteY15" fmla="*/ 1189706 h 1281781"/>
                  <a:gd name="connsiteX16" fmla="*/ 542925 w 2864542"/>
                  <a:gd name="connsiteY16" fmla="*/ 1199231 h 1281781"/>
                  <a:gd name="connsiteX17" fmla="*/ 631825 w 2864542"/>
                  <a:gd name="connsiteY17" fmla="*/ 1211931 h 1281781"/>
                  <a:gd name="connsiteX18" fmla="*/ 654050 w 2864542"/>
                  <a:gd name="connsiteY18" fmla="*/ 1215106 h 1281781"/>
                  <a:gd name="connsiteX19" fmla="*/ 711200 w 2864542"/>
                  <a:gd name="connsiteY19" fmla="*/ 1224631 h 1281781"/>
                  <a:gd name="connsiteX20" fmla="*/ 819150 w 2864542"/>
                  <a:gd name="connsiteY20" fmla="*/ 1234156 h 1281781"/>
                  <a:gd name="connsiteX21" fmla="*/ 939800 w 2864542"/>
                  <a:gd name="connsiteY21" fmla="*/ 1253206 h 1281781"/>
                  <a:gd name="connsiteX22" fmla="*/ 1155700 w 2864542"/>
                  <a:gd name="connsiteY22" fmla="*/ 1265906 h 1281781"/>
                  <a:gd name="connsiteX23" fmla="*/ 1358900 w 2864542"/>
                  <a:gd name="connsiteY23" fmla="*/ 1275431 h 1281781"/>
                  <a:gd name="connsiteX24" fmla="*/ 1666875 w 2864542"/>
                  <a:gd name="connsiteY24" fmla="*/ 1281781 h 1281781"/>
                  <a:gd name="connsiteX25" fmla="*/ 1835150 w 2864542"/>
                  <a:gd name="connsiteY25" fmla="*/ 1278606 h 1281781"/>
                  <a:gd name="connsiteX26" fmla="*/ 2016125 w 2864542"/>
                  <a:gd name="connsiteY26" fmla="*/ 1243681 h 1281781"/>
                  <a:gd name="connsiteX27" fmla="*/ 2139950 w 2864542"/>
                  <a:gd name="connsiteY27" fmla="*/ 1227806 h 1281781"/>
                  <a:gd name="connsiteX28" fmla="*/ 2244725 w 2864542"/>
                  <a:gd name="connsiteY28" fmla="*/ 1208756 h 1281781"/>
                  <a:gd name="connsiteX29" fmla="*/ 2409825 w 2864542"/>
                  <a:gd name="connsiteY29" fmla="*/ 1196056 h 1281781"/>
                  <a:gd name="connsiteX30" fmla="*/ 2679700 w 2864542"/>
                  <a:gd name="connsiteY30" fmla="*/ 1135731 h 1281781"/>
                  <a:gd name="connsiteX31" fmla="*/ 2854325 w 2864542"/>
                  <a:gd name="connsiteY31" fmla="*/ 1043656 h 1281781"/>
                  <a:gd name="connsiteX32" fmla="*/ 2857500 w 2864542"/>
                  <a:gd name="connsiteY32" fmla="*/ 697581 h 1281781"/>
                  <a:gd name="connsiteX33" fmla="*/ 2851150 w 2864542"/>
                  <a:gd name="connsiteY33" fmla="*/ 646781 h 1281781"/>
                  <a:gd name="connsiteX34" fmla="*/ 2841625 w 2864542"/>
                  <a:gd name="connsiteY34" fmla="*/ 491206 h 1281781"/>
                  <a:gd name="connsiteX35" fmla="*/ 2841625 w 2864542"/>
                  <a:gd name="connsiteY35" fmla="*/ 389606 h 1281781"/>
                  <a:gd name="connsiteX36" fmla="*/ 2851150 w 2864542"/>
                  <a:gd name="connsiteY36" fmla="*/ 167356 h 1281781"/>
                  <a:gd name="connsiteX37" fmla="*/ 2838450 w 2864542"/>
                  <a:gd name="connsiteY37" fmla="*/ 2256 h 1281781"/>
                  <a:gd name="connsiteX38" fmla="*/ 2733675 w 2864542"/>
                  <a:gd name="connsiteY38" fmla="*/ 75281 h 1281781"/>
                  <a:gd name="connsiteX39" fmla="*/ 2533650 w 2864542"/>
                  <a:gd name="connsiteY39" fmla="*/ 129256 h 1281781"/>
                  <a:gd name="connsiteX40" fmla="*/ 2159000 w 2864542"/>
                  <a:gd name="connsiteY40" fmla="*/ 195931 h 1281781"/>
                  <a:gd name="connsiteX41" fmla="*/ 1682750 w 2864542"/>
                  <a:gd name="connsiteY41" fmla="*/ 234031 h 1281781"/>
                  <a:gd name="connsiteX42" fmla="*/ 1073150 w 2864542"/>
                  <a:gd name="connsiteY42" fmla="*/ 234031 h 1281781"/>
                  <a:gd name="connsiteX43" fmla="*/ 1057275 w 2864542"/>
                  <a:gd name="connsiteY43" fmla="*/ 227681 h 1281781"/>
                  <a:gd name="connsiteX44" fmla="*/ 679450 w 2864542"/>
                  <a:gd name="connsiteY44" fmla="*/ 192756 h 1281781"/>
                  <a:gd name="connsiteX45" fmla="*/ 387350 w 2864542"/>
                  <a:gd name="connsiteY45" fmla="*/ 141956 h 1281781"/>
                  <a:gd name="connsiteX46" fmla="*/ 69850 w 2864542"/>
                  <a:gd name="connsiteY46" fmla="*/ 43531 h 1281781"/>
                  <a:gd name="connsiteX47" fmla="*/ 15875 w 2864542"/>
                  <a:gd name="connsiteY47" fmla="*/ 24481 h 1281781"/>
                  <a:gd name="connsiteX48" fmla="*/ 15875 w 2864542"/>
                  <a:gd name="connsiteY4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428625 w 2864542"/>
                  <a:gd name="connsiteY14" fmla="*/ 1189706 h 1281781"/>
                  <a:gd name="connsiteX15" fmla="*/ 542925 w 2864542"/>
                  <a:gd name="connsiteY15" fmla="*/ 1199231 h 1281781"/>
                  <a:gd name="connsiteX16" fmla="*/ 631825 w 2864542"/>
                  <a:gd name="connsiteY16" fmla="*/ 1211931 h 1281781"/>
                  <a:gd name="connsiteX17" fmla="*/ 654050 w 2864542"/>
                  <a:gd name="connsiteY17" fmla="*/ 1215106 h 1281781"/>
                  <a:gd name="connsiteX18" fmla="*/ 711200 w 2864542"/>
                  <a:gd name="connsiteY18" fmla="*/ 1224631 h 1281781"/>
                  <a:gd name="connsiteX19" fmla="*/ 819150 w 2864542"/>
                  <a:gd name="connsiteY19" fmla="*/ 1234156 h 1281781"/>
                  <a:gd name="connsiteX20" fmla="*/ 939800 w 2864542"/>
                  <a:gd name="connsiteY20" fmla="*/ 1253206 h 1281781"/>
                  <a:gd name="connsiteX21" fmla="*/ 1155700 w 2864542"/>
                  <a:gd name="connsiteY21" fmla="*/ 1265906 h 1281781"/>
                  <a:gd name="connsiteX22" fmla="*/ 1358900 w 2864542"/>
                  <a:gd name="connsiteY22" fmla="*/ 1275431 h 1281781"/>
                  <a:gd name="connsiteX23" fmla="*/ 1666875 w 2864542"/>
                  <a:gd name="connsiteY23" fmla="*/ 1281781 h 1281781"/>
                  <a:gd name="connsiteX24" fmla="*/ 1835150 w 2864542"/>
                  <a:gd name="connsiteY24" fmla="*/ 1278606 h 1281781"/>
                  <a:gd name="connsiteX25" fmla="*/ 2016125 w 2864542"/>
                  <a:gd name="connsiteY25" fmla="*/ 1243681 h 1281781"/>
                  <a:gd name="connsiteX26" fmla="*/ 2139950 w 2864542"/>
                  <a:gd name="connsiteY26" fmla="*/ 1227806 h 1281781"/>
                  <a:gd name="connsiteX27" fmla="*/ 2244725 w 2864542"/>
                  <a:gd name="connsiteY27" fmla="*/ 1208756 h 1281781"/>
                  <a:gd name="connsiteX28" fmla="*/ 2409825 w 2864542"/>
                  <a:gd name="connsiteY28" fmla="*/ 1196056 h 1281781"/>
                  <a:gd name="connsiteX29" fmla="*/ 2679700 w 2864542"/>
                  <a:gd name="connsiteY29" fmla="*/ 1135731 h 1281781"/>
                  <a:gd name="connsiteX30" fmla="*/ 2854325 w 2864542"/>
                  <a:gd name="connsiteY30" fmla="*/ 1043656 h 1281781"/>
                  <a:gd name="connsiteX31" fmla="*/ 2857500 w 2864542"/>
                  <a:gd name="connsiteY31" fmla="*/ 697581 h 1281781"/>
                  <a:gd name="connsiteX32" fmla="*/ 2851150 w 2864542"/>
                  <a:gd name="connsiteY32" fmla="*/ 646781 h 1281781"/>
                  <a:gd name="connsiteX33" fmla="*/ 2841625 w 2864542"/>
                  <a:gd name="connsiteY33" fmla="*/ 491206 h 1281781"/>
                  <a:gd name="connsiteX34" fmla="*/ 2841625 w 2864542"/>
                  <a:gd name="connsiteY34" fmla="*/ 389606 h 1281781"/>
                  <a:gd name="connsiteX35" fmla="*/ 2851150 w 2864542"/>
                  <a:gd name="connsiteY35" fmla="*/ 167356 h 1281781"/>
                  <a:gd name="connsiteX36" fmla="*/ 2838450 w 2864542"/>
                  <a:gd name="connsiteY36" fmla="*/ 2256 h 1281781"/>
                  <a:gd name="connsiteX37" fmla="*/ 2733675 w 2864542"/>
                  <a:gd name="connsiteY37" fmla="*/ 75281 h 1281781"/>
                  <a:gd name="connsiteX38" fmla="*/ 2533650 w 2864542"/>
                  <a:gd name="connsiteY38" fmla="*/ 129256 h 1281781"/>
                  <a:gd name="connsiteX39" fmla="*/ 2159000 w 2864542"/>
                  <a:gd name="connsiteY39" fmla="*/ 195931 h 1281781"/>
                  <a:gd name="connsiteX40" fmla="*/ 1682750 w 2864542"/>
                  <a:gd name="connsiteY40" fmla="*/ 234031 h 1281781"/>
                  <a:gd name="connsiteX41" fmla="*/ 1073150 w 2864542"/>
                  <a:gd name="connsiteY41" fmla="*/ 234031 h 1281781"/>
                  <a:gd name="connsiteX42" fmla="*/ 1057275 w 2864542"/>
                  <a:gd name="connsiteY42" fmla="*/ 227681 h 1281781"/>
                  <a:gd name="connsiteX43" fmla="*/ 679450 w 2864542"/>
                  <a:gd name="connsiteY43" fmla="*/ 192756 h 1281781"/>
                  <a:gd name="connsiteX44" fmla="*/ 387350 w 2864542"/>
                  <a:gd name="connsiteY44" fmla="*/ 141956 h 1281781"/>
                  <a:gd name="connsiteX45" fmla="*/ 69850 w 2864542"/>
                  <a:gd name="connsiteY45" fmla="*/ 43531 h 1281781"/>
                  <a:gd name="connsiteX46" fmla="*/ 15875 w 2864542"/>
                  <a:gd name="connsiteY46" fmla="*/ 24481 h 1281781"/>
                  <a:gd name="connsiteX47" fmla="*/ 15875 w 2864542"/>
                  <a:gd name="connsiteY47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01625 w 2864542"/>
                  <a:gd name="connsiteY11" fmla="*/ 1161131 h 1281781"/>
                  <a:gd name="connsiteX12" fmla="*/ 355600 w 2864542"/>
                  <a:gd name="connsiteY12" fmla="*/ 1170656 h 1281781"/>
                  <a:gd name="connsiteX13" fmla="*/ 406400 w 2864542"/>
                  <a:gd name="connsiteY13" fmla="*/ 1186531 h 1281781"/>
                  <a:gd name="connsiteX14" fmla="*/ 542925 w 2864542"/>
                  <a:gd name="connsiteY14" fmla="*/ 1199231 h 1281781"/>
                  <a:gd name="connsiteX15" fmla="*/ 631825 w 2864542"/>
                  <a:gd name="connsiteY15" fmla="*/ 1211931 h 1281781"/>
                  <a:gd name="connsiteX16" fmla="*/ 654050 w 2864542"/>
                  <a:gd name="connsiteY16" fmla="*/ 1215106 h 1281781"/>
                  <a:gd name="connsiteX17" fmla="*/ 711200 w 2864542"/>
                  <a:gd name="connsiteY17" fmla="*/ 1224631 h 1281781"/>
                  <a:gd name="connsiteX18" fmla="*/ 819150 w 2864542"/>
                  <a:gd name="connsiteY18" fmla="*/ 1234156 h 1281781"/>
                  <a:gd name="connsiteX19" fmla="*/ 939800 w 2864542"/>
                  <a:gd name="connsiteY19" fmla="*/ 1253206 h 1281781"/>
                  <a:gd name="connsiteX20" fmla="*/ 1155700 w 2864542"/>
                  <a:gd name="connsiteY20" fmla="*/ 1265906 h 1281781"/>
                  <a:gd name="connsiteX21" fmla="*/ 1358900 w 2864542"/>
                  <a:gd name="connsiteY21" fmla="*/ 1275431 h 1281781"/>
                  <a:gd name="connsiteX22" fmla="*/ 1666875 w 2864542"/>
                  <a:gd name="connsiteY22" fmla="*/ 1281781 h 1281781"/>
                  <a:gd name="connsiteX23" fmla="*/ 1835150 w 2864542"/>
                  <a:gd name="connsiteY23" fmla="*/ 1278606 h 1281781"/>
                  <a:gd name="connsiteX24" fmla="*/ 2016125 w 2864542"/>
                  <a:gd name="connsiteY24" fmla="*/ 1243681 h 1281781"/>
                  <a:gd name="connsiteX25" fmla="*/ 2139950 w 2864542"/>
                  <a:gd name="connsiteY25" fmla="*/ 1227806 h 1281781"/>
                  <a:gd name="connsiteX26" fmla="*/ 2244725 w 2864542"/>
                  <a:gd name="connsiteY26" fmla="*/ 1208756 h 1281781"/>
                  <a:gd name="connsiteX27" fmla="*/ 2409825 w 2864542"/>
                  <a:gd name="connsiteY27" fmla="*/ 1196056 h 1281781"/>
                  <a:gd name="connsiteX28" fmla="*/ 2679700 w 2864542"/>
                  <a:gd name="connsiteY28" fmla="*/ 1135731 h 1281781"/>
                  <a:gd name="connsiteX29" fmla="*/ 2854325 w 2864542"/>
                  <a:gd name="connsiteY29" fmla="*/ 1043656 h 1281781"/>
                  <a:gd name="connsiteX30" fmla="*/ 2857500 w 2864542"/>
                  <a:gd name="connsiteY30" fmla="*/ 697581 h 1281781"/>
                  <a:gd name="connsiteX31" fmla="*/ 2851150 w 2864542"/>
                  <a:gd name="connsiteY31" fmla="*/ 646781 h 1281781"/>
                  <a:gd name="connsiteX32" fmla="*/ 2841625 w 2864542"/>
                  <a:gd name="connsiteY32" fmla="*/ 491206 h 1281781"/>
                  <a:gd name="connsiteX33" fmla="*/ 2841625 w 2864542"/>
                  <a:gd name="connsiteY33" fmla="*/ 389606 h 1281781"/>
                  <a:gd name="connsiteX34" fmla="*/ 2851150 w 2864542"/>
                  <a:gd name="connsiteY34" fmla="*/ 167356 h 1281781"/>
                  <a:gd name="connsiteX35" fmla="*/ 2838450 w 2864542"/>
                  <a:gd name="connsiteY35" fmla="*/ 2256 h 1281781"/>
                  <a:gd name="connsiteX36" fmla="*/ 2733675 w 2864542"/>
                  <a:gd name="connsiteY36" fmla="*/ 75281 h 1281781"/>
                  <a:gd name="connsiteX37" fmla="*/ 2533650 w 2864542"/>
                  <a:gd name="connsiteY37" fmla="*/ 129256 h 1281781"/>
                  <a:gd name="connsiteX38" fmla="*/ 2159000 w 2864542"/>
                  <a:gd name="connsiteY38" fmla="*/ 195931 h 1281781"/>
                  <a:gd name="connsiteX39" fmla="*/ 1682750 w 2864542"/>
                  <a:gd name="connsiteY39" fmla="*/ 234031 h 1281781"/>
                  <a:gd name="connsiteX40" fmla="*/ 1073150 w 2864542"/>
                  <a:gd name="connsiteY40" fmla="*/ 234031 h 1281781"/>
                  <a:gd name="connsiteX41" fmla="*/ 1057275 w 2864542"/>
                  <a:gd name="connsiteY41" fmla="*/ 227681 h 1281781"/>
                  <a:gd name="connsiteX42" fmla="*/ 679450 w 2864542"/>
                  <a:gd name="connsiteY42" fmla="*/ 192756 h 1281781"/>
                  <a:gd name="connsiteX43" fmla="*/ 387350 w 2864542"/>
                  <a:gd name="connsiteY43" fmla="*/ 141956 h 1281781"/>
                  <a:gd name="connsiteX44" fmla="*/ 69850 w 2864542"/>
                  <a:gd name="connsiteY44" fmla="*/ 43531 h 1281781"/>
                  <a:gd name="connsiteX45" fmla="*/ 15875 w 2864542"/>
                  <a:gd name="connsiteY45" fmla="*/ 24481 h 1281781"/>
                  <a:gd name="connsiteX46" fmla="*/ 15875 w 2864542"/>
                  <a:gd name="connsiteY46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104775 w 2864542"/>
                  <a:gd name="connsiteY8" fmla="*/ 1088106 h 1281781"/>
                  <a:gd name="connsiteX9" fmla="*/ 206375 w 2864542"/>
                  <a:gd name="connsiteY9" fmla="*/ 1119856 h 1281781"/>
                  <a:gd name="connsiteX10" fmla="*/ 288925 w 2864542"/>
                  <a:gd name="connsiteY10" fmla="*/ 1157956 h 1281781"/>
                  <a:gd name="connsiteX11" fmla="*/ 355600 w 2864542"/>
                  <a:gd name="connsiteY11" fmla="*/ 1170656 h 1281781"/>
                  <a:gd name="connsiteX12" fmla="*/ 406400 w 2864542"/>
                  <a:gd name="connsiteY12" fmla="*/ 1186531 h 1281781"/>
                  <a:gd name="connsiteX13" fmla="*/ 542925 w 2864542"/>
                  <a:gd name="connsiteY13" fmla="*/ 1199231 h 1281781"/>
                  <a:gd name="connsiteX14" fmla="*/ 631825 w 2864542"/>
                  <a:gd name="connsiteY14" fmla="*/ 1211931 h 1281781"/>
                  <a:gd name="connsiteX15" fmla="*/ 654050 w 2864542"/>
                  <a:gd name="connsiteY15" fmla="*/ 1215106 h 1281781"/>
                  <a:gd name="connsiteX16" fmla="*/ 711200 w 2864542"/>
                  <a:gd name="connsiteY16" fmla="*/ 1224631 h 1281781"/>
                  <a:gd name="connsiteX17" fmla="*/ 819150 w 2864542"/>
                  <a:gd name="connsiteY17" fmla="*/ 1234156 h 1281781"/>
                  <a:gd name="connsiteX18" fmla="*/ 939800 w 2864542"/>
                  <a:gd name="connsiteY18" fmla="*/ 1253206 h 1281781"/>
                  <a:gd name="connsiteX19" fmla="*/ 1155700 w 2864542"/>
                  <a:gd name="connsiteY19" fmla="*/ 1265906 h 1281781"/>
                  <a:gd name="connsiteX20" fmla="*/ 1358900 w 2864542"/>
                  <a:gd name="connsiteY20" fmla="*/ 1275431 h 1281781"/>
                  <a:gd name="connsiteX21" fmla="*/ 1666875 w 2864542"/>
                  <a:gd name="connsiteY21" fmla="*/ 1281781 h 1281781"/>
                  <a:gd name="connsiteX22" fmla="*/ 1835150 w 2864542"/>
                  <a:gd name="connsiteY22" fmla="*/ 1278606 h 1281781"/>
                  <a:gd name="connsiteX23" fmla="*/ 2016125 w 2864542"/>
                  <a:gd name="connsiteY23" fmla="*/ 1243681 h 1281781"/>
                  <a:gd name="connsiteX24" fmla="*/ 2139950 w 2864542"/>
                  <a:gd name="connsiteY24" fmla="*/ 1227806 h 1281781"/>
                  <a:gd name="connsiteX25" fmla="*/ 2244725 w 2864542"/>
                  <a:gd name="connsiteY25" fmla="*/ 1208756 h 1281781"/>
                  <a:gd name="connsiteX26" fmla="*/ 2409825 w 2864542"/>
                  <a:gd name="connsiteY26" fmla="*/ 1196056 h 1281781"/>
                  <a:gd name="connsiteX27" fmla="*/ 2679700 w 2864542"/>
                  <a:gd name="connsiteY27" fmla="*/ 1135731 h 1281781"/>
                  <a:gd name="connsiteX28" fmla="*/ 2854325 w 2864542"/>
                  <a:gd name="connsiteY28" fmla="*/ 1043656 h 1281781"/>
                  <a:gd name="connsiteX29" fmla="*/ 2857500 w 2864542"/>
                  <a:gd name="connsiteY29" fmla="*/ 697581 h 1281781"/>
                  <a:gd name="connsiteX30" fmla="*/ 2851150 w 2864542"/>
                  <a:gd name="connsiteY30" fmla="*/ 646781 h 1281781"/>
                  <a:gd name="connsiteX31" fmla="*/ 2841625 w 2864542"/>
                  <a:gd name="connsiteY31" fmla="*/ 491206 h 1281781"/>
                  <a:gd name="connsiteX32" fmla="*/ 2841625 w 2864542"/>
                  <a:gd name="connsiteY32" fmla="*/ 389606 h 1281781"/>
                  <a:gd name="connsiteX33" fmla="*/ 2851150 w 2864542"/>
                  <a:gd name="connsiteY33" fmla="*/ 167356 h 1281781"/>
                  <a:gd name="connsiteX34" fmla="*/ 2838450 w 2864542"/>
                  <a:gd name="connsiteY34" fmla="*/ 2256 h 1281781"/>
                  <a:gd name="connsiteX35" fmla="*/ 2733675 w 2864542"/>
                  <a:gd name="connsiteY35" fmla="*/ 75281 h 1281781"/>
                  <a:gd name="connsiteX36" fmla="*/ 2533650 w 2864542"/>
                  <a:gd name="connsiteY36" fmla="*/ 129256 h 1281781"/>
                  <a:gd name="connsiteX37" fmla="*/ 2159000 w 2864542"/>
                  <a:gd name="connsiteY37" fmla="*/ 195931 h 1281781"/>
                  <a:gd name="connsiteX38" fmla="*/ 1682750 w 2864542"/>
                  <a:gd name="connsiteY38" fmla="*/ 234031 h 1281781"/>
                  <a:gd name="connsiteX39" fmla="*/ 1073150 w 2864542"/>
                  <a:gd name="connsiteY39" fmla="*/ 234031 h 1281781"/>
                  <a:gd name="connsiteX40" fmla="*/ 1057275 w 2864542"/>
                  <a:gd name="connsiteY40" fmla="*/ 227681 h 1281781"/>
                  <a:gd name="connsiteX41" fmla="*/ 679450 w 2864542"/>
                  <a:gd name="connsiteY41" fmla="*/ 192756 h 1281781"/>
                  <a:gd name="connsiteX42" fmla="*/ 387350 w 2864542"/>
                  <a:gd name="connsiteY42" fmla="*/ 141956 h 1281781"/>
                  <a:gd name="connsiteX43" fmla="*/ 69850 w 2864542"/>
                  <a:gd name="connsiteY43" fmla="*/ 43531 h 1281781"/>
                  <a:gd name="connsiteX44" fmla="*/ 15875 w 2864542"/>
                  <a:gd name="connsiteY44" fmla="*/ 24481 h 1281781"/>
                  <a:gd name="connsiteX45" fmla="*/ 15875 w 2864542"/>
                  <a:gd name="connsiteY45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654050 w 2864542"/>
                  <a:gd name="connsiteY14" fmla="*/ 1215106 h 1281781"/>
                  <a:gd name="connsiteX15" fmla="*/ 711200 w 2864542"/>
                  <a:gd name="connsiteY15" fmla="*/ 1224631 h 1281781"/>
                  <a:gd name="connsiteX16" fmla="*/ 819150 w 2864542"/>
                  <a:gd name="connsiteY16" fmla="*/ 1234156 h 1281781"/>
                  <a:gd name="connsiteX17" fmla="*/ 939800 w 2864542"/>
                  <a:gd name="connsiteY17" fmla="*/ 1253206 h 1281781"/>
                  <a:gd name="connsiteX18" fmla="*/ 1155700 w 2864542"/>
                  <a:gd name="connsiteY18" fmla="*/ 1265906 h 1281781"/>
                  <a:gd name="connsiteX19" fmla="*/ 1358900 w 2864542"/>
                  <a:gd name="connsiteY19" fmla="*/ 1275431 h 1281781"/>
                  <a:gd name="connsiteX20" fmla="*/ 1666875 w 2864542"/>
                  <a:gd name="connsiteY20" fmla="*/ 1281781 h 1281781"/>
                  <a:gd name="connsiteX21" fmla="*/ 1835150 w 2864542"/>
                  <a:gd name="connsiteY21" fmla="*/ 1278606 h 1281781"/>
                  <a:gd name="connsiteX22" fmla="*/ 2016125 w 2864542"/>
                  <a:gd name="connsiteY22" fmla="*/ 1243681 h 1281781"/>
                  <a:gd name="connsiteX23" fmla="*/ 2139950 w 2864542"/>
                  <a:gd name="connsiteY23" fmla="*/ 1227806 h 1281781"/>
                  <a:gd name="connsiteX24" fmla="*/ 2244725 w 2864542"/>
                  <a:gd name="connsiteY24" fmla="*/ 1208756 h 1281781"/>
                  <a:gd name="connsiteX25" fmla="*/ 2409825 w 2864542"/>
                  <a:gd name="connsiteY25" fmla="*/ 1196056 h 1281781"/>
                  <a:gd name="connsiteX26" fmla="*/ 2679700 w 2864542"/>
                  <a:gd name="connsiteY26" fmla="*/ 1135731 h 1281781"/>
                  <a:gd name="connsiteX27" fmla="*/ 2854325 w 2864542"/>
                  <a:gd name="connsiteY27" fmla="*/ 1043656 h 1281781"/>
                  <a:gd name="connsiteX28" fmla="*/ 2857500 w 2864542"/>
                  <a:gd name="connsiteY28" fmla="*/ 697581 h 1281781"/>
                  <a:gd name="connsiteX29" fmla="*/ 2851150 w 2864542"/>
                  <a:gd name="connsiteY29" fmla="*/ 646781 h 1281781"/>
                  <a:gd name="connsiteX30" fmla="*/ 2841625 w 2864542"/>
                  <a:gd name="connsiteY30" fmla="*/ 491206 h 1281781"/>
                  <a:gd name="connsiteX31" fmla="*/ 2841625 w 2864542"/>
                  <a:gd name="connsiteY31" fmla="*/ 389606 h 1281781"/>
                  <a:gd name="connsiteX32" fmla="*/ 2851150 w 2864542"/>
                  <a:gd name="connsiteY32" fmla="*/ 167356 h 1281781"/>
                  <a:gd name="connsiteX33" fmla="*/ 2838450 w 2864542"/>
                  <a:gd name="connsiteY33" fmla="*/ 2256 h 1281781"/>
                  <a:gd name="connsiteX34" fmla="*/ 2733675 w 2864542"/>
                  <a:gd name="connsiteY34" fmla="*/ 75281 h 1281781"/>
                  <a:gd name="connsiteX35" fmla="*/ 2533650 w 2864542"/>
                  <a:gd name="connsiteY35" fmla="*/ 129256 h 1281781"/>
                  <a:gd name="connsiteX36" fmla="*/ 2159000 w 2864542"/>
                  <a:gd name="connsiteY36" fmla="*/ 195931 h 1281781"/>
                  <a:gd name="connsiteX37" fmla="*/ 1682750 w 2864542"/>
                  <a:gd name="connsiteY37" fmla="*/ 234031 h 1281781"/>
                  <a:gd name="connsiteX38" fmla="*/ 1073150 w 2864542"/>
                  <a:gd name="connsiteY38" fmla="*/ 234031 h 1281781"/>
                  <a:gd name="connsiteX39" fmla="*/ 1057275 w 2864542"/>
                  <a:gd name="connsiteY39" fmla="*/ 227681 h 1281781"/>
                  <a:gd name="connsiteX40" fmla="*/ 679450 w 2864542"/>
                  <a:gd name="connsiteY40" fmla="*/ 192756 h 1281781"/>
                  <a:gd name="connsiteX41" fmla="*/ 387350 w 2864542"/>
                  <a:gd name="connsiteY41" fmla="*/ 141956 h 1281781"/>
                  <a:gd name="connsiteX42" fmla="*/ 69850 w 2864542"/>
                  <a:gd name="connsiteY42" fmla="*/ 43531 h 1281781"/>
                  <a:gd name="connsiteX43" fmla="*/ 15875 w 2864542"/>
                  <a:gd name="connsiteY43" fmla="*/ 24481 h 1281781"/>
                  <a:gd name="connsiteX44" fmla="*/ 15875 w 2864542"/>
                  <a:gd name="connsiteY44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711200 w 2864542"/>
                  <a:gd name="connsiteY14" fmla="*/ 1224631 h 1281781"/>
                  <a:gd name="connsiteX15" fmla="*/ 819150 w 2864542"/>
                  <a:gd name="connsiteY15" fmla="*/ 1234156 h 1281781"/>
                  <a:gd name="connsiteX16" fmla="*/ 939800 w 2864542"/>
                  <a:gd name="connsiteY16" fmla="*/ 1253206 h 1281781"/>
                  <a:gd name="connsiteX17" fmla="*/ 1155700 w 2864542"/>
                  <a:gd name="connsiteY17" fmla="*/ 1265906 h 1281781"/>
                  <a:gd name="connsiteX18" fmla="*/ 1358900 w 2864542"/>
                  <a:gd name="connsiteY18" fmla="*/ 1275431 h 1281781"/>
                  <a:gd name="connsiteX19" fmla="*/ 1666875 w 2864542"/>
                  <a:gd name="connsiteY19" fmla="*/ 1281781 h 1281781"/>
                  <a:gd name="connsiteX20" fmla="*/ 1835150 w 2864542"/>
                  <a:gd name="connsiteY20" fmla="*/ 1278606 h 1281781"/>
                  <a:gd name="connsiteX21" fmla="*/ 2016125 w 2864542"/>
                  <a:gd name="connsiteY21" fmla="*/ 1243681 h 1281781"/>
                  <a:gd name="connsiteX22" fmla="*/ 2139950 w 2864542"/>
                  <a:gd name="connsiteY22" fmla="*/ 1227806 h 1281781"/>
                  <a:gd name="connsiteX23" fmla="*/ 2244725 w 2864542"/>
                  <a:gd name="connsiteY23" fmla="*/ 1208756 h 1281781"/>
                  <a:gd name="connsiteX24" fmla="*/ 2409825 w 2864542"/>
                  <a:gd name="connsiteY24" fmla="*/ 1196056 h 1281781"/>
                  <a:gd name="connsiteX25" fmla="*/ 2679700 w 2864542"/>
                  <a:gd name="connsiteY25" fmla="*/ 1135731 h 1281781"/>
                  <a:gd name="connsiteX26" fmla="*/ 2854325 w 2864542"/>
                  <a:gd name="connsiteY26" fmla="*/ 1043656 h 1281781"/>
                  <a:gd name="connsiteX27" fmla="*/ 2857500 w 2864542"/>
                  <a:gd name="connsiteY27" fmla="*/ 697581 h 1281781"/>
                  <a:gd name="connsiteX28" fmla="*/ 2851150 w 2864542"/>
                  <a:gd name="connsiteY28" fmla="*/ 646781 h 1281781"/>
                  <a:gd name="connsiteX29" fmla="*/ 2841625 w 2864542"/>
                  <a:gd name="connsiteY29" fmla="*/ 491206 h 1281781"/>
                  <a:gd name="connsiteX30" fmla="*/ 2841625 w 2864542"/>
                  <a:gd name="connsiteY30" fmla="*/ 389606 h 1281781"/>
                  <a:gd name="connsiteX31" fmla="*/ 2851150 w 2864542"/>
                  <a:gd name="connsiteY31" fmla="*/ 167356 h 1281781"/>
                  <a:gd name="connsiteX32" fmla="*/ 2838450 w 2864542"/>
                  <a:gd name="connsiteY32" fmla="*/ 2256 h 1281781"/>
                  <a:gd name="connsiteX33" fmla="*/ 2733675 w 2864542"/>
                  <a:gd name="connsiteY33" fmla="*/ 75281 h 1281781"/>
                  <a:gd name="connsiteX34" fmla="*/ 2533650 w 2864542"/>
                  <a:gd name="connsiteY34" fmla="*/ 129256 h 1281781"/>
                  <a:gd name="connsiteX35" fmla="*/ 2159000 w 2864542"/>
                  <a:gd name="connsiteY35" fmla="*/ 195931 h 1281781"/>
                  <a:gd name="connsiteX36" fmla="*/ 1682750 w 2864542"/>
                  <a:gd name="connsiteY36" fmla="*/ 234031 h 1281781"/>
                  <a:gd name="connsiteX37" fmla="*/ 1073150 w 2864542"/>
                  <a:gd name="connsiteY37" fmla="*/ 234031 h 1281781"/>
                  <a:gd name="connsiteX38" fmla="*/ 1057275 w 2864542"/>
                  <a:gd name="connsiteY38" fmla="*/ 227681 h 1281781"/>
                  <a:gd name="connsiteX39" fmla="*/ 679450 w 2864542"/>
                  <a:gd name="connsiteY39" fmla="*/ 192756 h 1281781"/>
                  <a:gd name="connsiteX40" fmla="*/ 387350 w 2864542"/>
                  <a:gd name="connsiteY40" fmla="*/ 141956 h 1281781"/>
                  <a:gd name="connsiteX41" fmla="*/ 69850 w 2864542"/>
                  <a:gd name="connsiteY41" fmla="*/ 43531 h 1281781"/>
                  <a:gd name="connsiteX42" fmla="*/ 15875 w 2864542"/>
                  <a:gd name="connsiteY42" fmla="*/ 24481 h 1281781"/>
                  <a:gd name="connsiteX43" fmla="*/ 15875 w 2864542"/>
                  <a:gd name="connsiteY43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631825 w 2864542"/>
                  <a:gd name="connsiteY13" fmla="*/ 1211931 h 1281781"/>
                  <a:gd name="connsiteX14" fmla="*/ 819150 w 2864542"/>
                  <a:gd name="connsiteY14" fmla="*/ 1234156 h 1281781"/>
                  <a:gd name="connsiteX15" fmla="*/ 939800 w 2864542"/>
                  <a:gd name="connsiteY15" fmla="*/ 1253206 h 1281781"/>
                  <a:gd name="connsiteX16" fmla="*/ 1155700 w 2864542"/>
                  <a:gd name="connsiteY16" fmla="*/ 1265906 h 1281781"/>
                  <a:gd name="connsiteX17" fmla="*/ 1358900 w 2864542"/>
                  <a:gd name="connsiteY17" fmla="*/ 1275431 h 1281781"/>
                  <a:gd name="connsiteX18" fmla="*/ 1666875 w 2864542"/>
                  <a:gd name="connsiteY18" fmla="*/ 1281781 h 1281781"/>
                  <a:gd name="connsiteX19" fmla="*/ 1835150 w 2864542"/>
                  <a:gd name="connsiteY19" fmla="*/ 1278606 h 1281781"/>
                  <a:gd name="connsiteX20" fmla="*/ 2016125 w 2864542"/>
                  <a:gd name="connsiteY20" fmla="*/ 1243681 h 1281781"/>
                  <a:gd name="connsiteX21" fmla="*/ 2139950 w 2864542"/>
                  <a:gd name="connsiteY21" fmla="*/ 1227806 h 1281781"/>
                  <a:gd name="connsiteX22" fmla="*/ 2244725 w 2864542"/>
                  <a:gd name="connsiteY22" fmla="*/ 1208756 h 1281781"/>
                  <a:gd name="connsiteX23" fmla="*/ 2409825 w 2864542"/>
                  <a:gd name="connsiteY23" fmla="*/ 1196056 h 1281781"/>
                  <a:gd name="connsiteX24" fmla="*/ 2679700 w 2864542"/>
                  <a:gd name="connsiteY24" fmla="*/ 1135731 h 1281781"/>
                  <a:gd name="connsiteX25" fmla="*/ 2854325 w 2864542"/>
                  <a:gd name="connsiteY25" fmla="*/ 1043656 h 1281781"/>
                  <a:gd name="connsiteX26" fmla="*/ 2857500 w 2864542"/>
                  <a:gd name="connsiteY26" fmla="*/ 697581 h 1281781"/>
                  <a:gd name="connsiteX27" fmla="*/ 2851150 w 2864542"/>
                  <a:gd name="connsiteY27" fmla="*/ 646781 h 1281781"/>
                  <a:gd name="connsiteX28" fmla="*/ 2841625 w 2864542"/>
                  <a:gd name="connsiteY28" fmla="*/ 491206 h 1281781"/>
                  <a:gd name="connsiteX29" fmla="*/ 2841625 w 2864542"/>
                  <a:gd name="connsiteY29" fmla="*/ 389606 h 1281781"/>
                  <a:gd name="connsiteX30" fmla="*/ 2851150 w 2864542"/>
                  <a:gd name="connsiteY30" fmla="*/ 167356 h 1281781"/>
                  <a:gd name="connsiteX31" fmla="*/ 2838450 w 2864542"/>
                  <a:gd name="connsiteY31" fmla="*/ 2256 h 1281781"/>
                  <a:gd name="connsiteX32" fmla="*/ 2733675 w 2864542"/>
                  <a:gd name="connsiteY32" fmla="*/ 75281 h 1281781"/>
                  <a:gd name="connsiteX33" fmla="*/ 2533650 w 2864542"/>
                  <a:gd name="connsiteY33" fmla="*/ 129256 h 1281781"/>
                  <a:gd name="connsiteX34" fmla="*/ 2159000 w 2864542"/>
                  <a:gd name="connsiteY34" fmla="*/ 195931 h 1281781"/>
                  <a:gd name="connsiteX35" fmla="*/ 1682750 w 2864542"/>
                  <a:gd name="connsiteY35" fmla="*/ 234031 h 1281781"/>
                  <a:gd name="connsiteX36" fmla="*/ 1073150 w 2864542"/>
                  <a:gd name="connsiteY36" fmla="*/ 234031 h 1281781"/>
                  <a:gd name="connsiteX37" fmla="*/ 1057275 w 2864542"/>
                  <a:gd name="connsiteY37" fmla="*/ 227681 h 1281781"/>
                  <a:gd name="connsiteX38" fmla="*/ 679450 w 2864542"/>
                  <a:gd name="connsiteY38" fmla="*/ 192756 h 1281781"/>
                  <a:gd name="connsiteX39" fmla="*/ 387350 w 2864542"/>
                  <a:gd name="connsiteY39" fmla="*/ 141956 h 1281781"/>
                  <a:gd name="connsiteX40" fmla="*/ 69850 w 2864542"/>
                  <a:gd name="connsiteY40" fmla="*/ 43531 h 1281781"/>
                  <a:gd name="connsiteX41" fmla="*/ 15875 w 2864542"/>
                  <a:gd name="connsiteY41" fmla="*/ 24481 h 1281781"/>
                  <a:gd name="connsiteX42" fmla="*/ 15875 w 2864542"/>
                  <a:gd name="connsiteY42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542925 w 2864542"/>
                  <a:gd name="connsiteY12" fmla="*/ 1199231 h 1281781"/>
                  <a:gd name="connsiteX13" fmla="*/ 819150 w 2864542"/>
                  <a:gd name="connsiteY13" fmla="*/ 1234156 h 1281781"/>
                  <a:gd name="connsiteX14" fmla="*/ 939800 w 2864542"/>
                  <a:gd name="connsiteY14" fmla="*/ 1253206 h 1281781"/>
                  <a:gd name="connsiteX15" fmla="*/ 1155700 w 2864542"/>
                  <a:gd name="connsiteY15" fmla="*/ 1265906 h 1281781"/>
                  <a:gd name="connsiteX16" fmla="*/ 1358900 w 2864542"/>
                  <a:gd name="connsiteY16" fmla="*/ 1275431 h 1281781"/>
                  <a:gd name="connsiteX17" fmla="*/ 1666875 w 2864542"/>
                  <a:gd name="connsiteY17" fmla="*/ 1281781 h 1281781"/>
                  <a:gd name="connsiteX18" fmla="*/ 1835150 w 2864542"/>
                  <a:gd name="connsiteY18" fmla="*/ 1278606 h 1281781"/>
                  <a:gd name="connsiteX19" fmla="*/ 2016125 w 2864542"/>
                  <a:gd name="connsiteY19" fmla="*/ 1243681 h 1281781"/>
                  <a:gd name="connsiteX20" fmla="*/ 2139950 w 2864542"/>
                  <a:gd name="connsiteY20" fmla="*/ 1227806 h 1281781"/>
                  <a:gd name="connsiteX21" fmla="*/ 2244725 w 2864542"/>
                  <a:gd name="connsiteY21" fmla="*/ 1208756 h 1281781"/>
                  <a:gd name="connsiteX22" fmla="*/ 2409825 w 2864542"/>
                  <a:gd name="connsiteY22" fmla="*/ 1196056 h 1281781"/>
                  <a:gd name="connsiteX23" fmla="*/ 2679700 w 2864542"/>
                  <a:gd name="connsiteY23" fmla="*/ 1135731 h 1281781"/>
                  <a:gd name="connsiteX24" fmla="*/ 2854325 w 2864542"/>
                  <a:gd name="connsiteY24" fmla="*/ 1043656 h 1281781"/>
                  <a:gd name="connsiteX25" fmla="*/ 2857500 w 2864542"/>
                  <a:gd name="connsiteY25" fmla="*/ 697581 h 1281781"/>
                  <a:gd name="connsiteX26" fmla="*/ 2851150 w 2864542"/>
                  <a:gd name="connsiteY26" fmla="*/ 646781 h 1281781"/>
                  <a:gd name="connsiteX27" fmla="*/ 2841625 w 2864542"/>
                  <a:gd name="connsiteY27" fmla="*/ 491206 h 1281781"/>
                  <a:gd name="connsiteX28" fmla="*/ 2841625 w 2864542"/>
                  <a:gd name="connsiteY28" fmla="*/ 389606 h 1281781"/>
                  <a:gd name="connsiteX29" fmla="*/ 2851150 w 2864542"/>
                  <a:gd name="connsiteY29" fmla="*/ 167356 h 1281781"/>
                  <a:gd name="connsiteX30" fmla="*/ 2838450 w 2864542"/>
                  <a:gd name="connsiteY30" fmla="*/ 2256 h 1281781"/>
                  <a:gd name="connsiteX31" fmla="*/ 2733675 w 2864542"/>
                  <a:gd name="connsiteY31" fmla="*/ 75281 h 1281781"/>
                  <a:gd name="connsiteX32" fmla="*/ 2533650 w 2864542"/>
                  <a:gd name="connsiteY32" fmla="*/ 129256 h 1281781"/>
                  <a:gd name="connsiteX33" fmla="*/ 2159000 w 2864542"/>
                  <a:gd name="connsiteY33" fmla="*/ 195931 h 1281781"/>
                  <a:gd name="connsiteX34" fmla="*/ 1682750 w 2864542"/>
                  <a:gd name="connsiteY34" fmla="*/ 234031 h 1281781"/>
                  <a:gd name="connsiteX35" fmla="*/ 1073150 w 2864542"/>
                  <a:gd name="connsiteY35" fmla="*/ 234031 h 1281781"/>
                  <a:gd name="connsiteX36" fmla="*/ 1057275 w 2864542"/>
                  <a:gd name="connsiteY36" fmla="*/ 227681 h 1281781"/>
                  <a:gd name="connsiteX37" fmla="*/ 679450 w 2864542"/>
                  <a:gd name="connsiteY37" fmla="*/ 192756 h 1281781"/>
                  <a:gd name="connsiteX38" fmla="*/ 387350 w 2864542"/>
                  <a:gd name="connsiteY38" fmla="*/ 141956 h 1281781"/>
                  <a:gd name="connsiteX39" fmla="*/ 69850 w 2864542"/>
                  <a:gd name="connsiteY39" fmla="*/ 43531 h 1281781"/>
                  <a:gd name="connsiteX40" fmla="*/ 15875 w 2864542"/>
                  <a:gd name="connsiteY40" fmla="*/ 24481 h 1281781"/>
                  <a:gd name="connsiteX41" fmla="*/ 15875 w 2864542"/>
                  <a:gd name="connsiteY41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288925 w 2864542"/>
                  <a:gd name="connsiteY9" fmla="*/ 1157956 h 1281781"/>
                  <a:gd name="connsiteX10" fmla="*/ 355600 w 2864542"/>
                  <a:gd name="connsiteY10" fmla="*/ 1170656 h 1281781"/>
                  <a:gd name="connsiteX11" fmla="*/ 406400 w 2864542"/>
                  <a:gd name="connsiteY11" fmla="*/ 1186531 h 1281781"/>
                  <a:gd name="connsiteX12" fmla="*/ 819150 w 2864542"/>
                  <a:gd name="connsiteY12" fmla="*/ 1234156 h 1281781"/>
                  <a:gd name="connsiteX13" fmla="*/ 939800 w 2864542"/>
                  <a:gd name="connsiteY13" fmla="*/ 1253206 h 1281781"/>
                  <a:gd name="connsiteX14" fmla="*/ 1155700 w 2864542"/>
                  <a:gd name="connsiteY14" fmla="*/ 1265906 h 1281781"/>
                  <a:gd name="connsiteX15" fmla="*/ 1358900 w 2864542"/>
                  <a:gd name="connsiteY15" fmla="*/ 1275431 h 1281781"/>
                  <a:gd name="connsiteX16" fmla="*/ 1666875 w 2864542"/>
                  <a:gd name="connsiteY16" fmla="*/ 1281781 h 1281781"/>
                  <a:gd name="connsiteX17" fmla="*/ 1835150 w 2864542"/>
                  <a:gd name="connsiteY17" fmla="*/ 1278606 h 1281781"/>
                  <a:gd name="connsiteX18" fmla="*/ 2016125 w 2864542"/>
                  <a:gd name="connsiteY18" fmla="*/ 1243681 h 1281781"/>
                  <a:gd name="connsiteX19" fmla="*/ 2139950 w 2864542"/>
                  <a:gd name="connsiteY19" fmla="*/ 1227806 h 1281781"/>
                  <a:gd name="connsiteX20" fmla="*/ 2244725 w 2864542"/>
                  <a:gd name="connsiteY20" fmla="*/ 1208756 h 1281781"/>
                  <a:gd name="connsiteX21" fmla="*/ 2409825 w 2864542"/>
                  <a:gd name="connsiteY21" fmla="*/ 1196056 h 1281781"/>
                  <a:gd name="connsiteX22" fmla="*/ 2679700 w 2864542"/>
                  <a:gd name="connsiteY22" fmla="*/ 1135731 h 1281781"/>
                  <a:gd name="connsiteX23" fmla="*/ 2854325 w 2864542"/>
                  <a:gd name="connsiteY23" fmla="*/ 1043656 h 1281781"/>
                  <a:gd name="connsiteX24" fmla="*/ 2857500 w 2864542"/>
                  <a:gd name="connsiteY24" fmla="*/ 697581 h 1281781"/>
                  <a:gd name="connsiteX25" fmla="*/ 2851150 w 2864542"/>
                  <a:gd name="connsiteY25" fmla="*/ 646781 h 1281781"/>
                  <a:gd name="connsiteX26" fmla="*/ 2841625 w 2864542"/>
                  <a:gd name="connsiteY26" fmla="*/ 491206 h 1281781"/>
                  <a:gd name="connsiteX27" fmla="*/ 2841625 w 2864542"/>
                  <a:gd name="connsiteY27" fmla="*/ 389606 h 1281781"/>
                  <a:gd name="connsiteX28" fmla="*/ 2851150 w 2864542"/>
                  <a:gd name="connsiteY28" fmla="*/ 167356 h 1281781"/>
                  <a:gd name="connsiteX29" fmla="*/ 2838450 w 2864542"/>
                  <a:gd name="connsiteY29" fmla="*/ 2256 h 1281781"/>
                  <a:gd name="connsiteX30" fmla="*/ 2733675 w 2864542"/>
                  <a:gd name="connsiteY30" fmla="*/ 75281 h 1281781"/>
                  <a:gd name="connsiteX31" fmla="*/ 2533650 w 2864542"/>
                  <a:gd name="connsiteY31" fmla="*/ 129256 h 1281781"/>
                  <a:gd name="connsiteX32" fmla="*/ 2159000 w 2864542"/>
                  <a:gd name="connsiteY32" fmla="*/ 195931 h 1281781"/>
                  <a:gd name="connsiteX33" fmla="*/ 1682750 w 2864542"/>
                  <a:gd name="connsiteY33" fmla="*/ 234031 h 1281781"/>
                  <a:gd name="connsiteX34" fmla="*/ 1073150 w 2864542"/>
                  <a:gd name="connsiteY34" fmla="*/ 234031 h 1281781"/>
                  <a:gd name="connsiteX35" fmla="*/ 1057275 w 2864542"/>
                  <a:gd name="connsiteY35" fmla="*/ 227681 h 1281781"/>
                  <a:gd name="connsiteX36" fmla="*/ 679450 w 2864542"/>
                  <a:gd name="connsiteY36" fmla="*/ 192756 h 1281781"/>
                  <a:gd name="connsiteX37" fmla="*/ 387350 w 2864542"/>
                  <a:gd name="connsiteY37" fmla="*/ 141956 h 1281781"/>
                  <a:gd name="connsiteX38" fmla="*/ 69850 w 2864542"/>
                  <a:gd name="connsiteY38" fmla="*/ 43531 h 1281781"/>
                  <a:gd name="connsiteX39" fmla="*/ 15875 w 2864542"/>
                  <a:gd name="connsiteY39" fmla="*/ 24481 h 1281781"/>
                  <a:gd name="connsiteX40" fmla="*/ 15875 w 2864542"/>
                  <a:gd name="connsiteY40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406400 w 2864542"/>
                  <a:gd name="connsiteY10" fmla="*/ 1186531 h 1281781"/>
                  <a:gd name="connsiteX11" fmla="*/ 819150 w 2864542"/>
                  <a:gd name="connsiteY11" fmla="*/ 1234156 h 1281781"/>
                  <a:gd name="connsiteX12" fmla="*/ 939800 w 2864542"/>
                  <a:gd name="connsiteY12" fmla="*/ 1253206 h 1281781"/>
                  <a:gd name="connsiteX13" fmla="*/ 1155700 w 2864542"/>
                  <a:gd name="connsiteY13" fmla="*/ 1265906 h 1281781"/>
                  <a:gd name="connsiteX14" fmla="*/ 1358900 w 2864542"/>
                  <a:gd name="connsiteY14" fmla="*/ 1275431 h 1281781"/>
                  <a:gd name="connsiteX15" fmla="*/ 1666875 w 2864542"/>
                  <a:gd name="connsiteY15" fmla="*/ 1281781 h 1281781"/>
                  <a:gd name="connsiteX16" fmla="*/ 1835150 w 2864542"/>
                  <a:gd name="connsiteY16" fmla="*/ 1278606 h 1281781"/>
                  <a:gd name="connsiteX17" fmla="*/ 2016125 w 2864542"/>
                  <a:gd name="connsiteY17" fmla="*/ 1243681 h 1281781"/>
                  <a:gd name="connsiteX18" fmla="*/ 2139950 w 2864542"/>
                  <a:gd name="connsiteY18" fmla="*/ 1227806 h 1281781"/>
                  <a:gd name="connsiteX19" fmla="*/ 2244725 w 2864542"/>
                  <a:gd name="connsiteY19" fmla="*/ 1208756 h 1281781"/>
                  <a:gd name="connsiteX20" fmla="*/ 2409825 w 2864542"/>
                  <a:gd name="connsiteY20" fmla="*/ 1196056 h 1281781"/>
                  <a:gd name="connsiteX21" fmla="*/ 2679700 w 2864542"/>
                  <a:gd name="connsiteY21" fmla="*/ 1135731 h 1281781"/>
                  <a:gd name="connsiteX22" fmla="*/ 2854325 w 2864542"/>
                  <a:gd name="connsiteY22" fmla="*/ 1043656 h 1281781"/>
                  <a:gd name="connsiteX23" fmla="*/ 2857500 w 2864542"/>
                  <a:gd name="connsiteY23" fmla="*/ 697581 h 1281781"/>
                  <a:gd name="connsiteX24" fmla="*/ 2851150 w 2864542"/>
                  <a:gd name="connsiteY24" fmla="*/ 646781 h 1281781"/>
                  <a:gd name="connsiteX25" fmla="*/ 2841625 w 2864542"/>
                  <a:gd name="connsiteY25" fmla="*/ 491206 h 1281781"/>
                  <a:gd name="connsiteX26" fmla="*/ 2841625 w 2864542"/>
                  <a:gd name="connsiteY26" fmla="*/ 389606 h 1281781"/>
                  <a:gd name="connsiteX27" fmla="*/ 2851150 w 2864542"/>
                  <a:gd name="connsiteY27" fmla="*/ 167356 h 1281781"/>
                  <a:gd name="connsiteX28" fmla="*/ 2838450 w 2864542"/>
                  <a:gd name="connsiteY28" fmla="*/ 2256 h 1281781"/>
                  <a:gd name="connsiteX29" fmla="*/ 2733675 w 2864542"/>
                  <a:gd name="connsiteY29" fmla="*/ 75281 h 1281781"/>
                  <a:gd name="connsiteX30" fmla="*/ 2533650 w 2864542"/>
                  <a:gd name="connsiteY30" fmla="*/ 129256 h 1281781"/>
                  <a:gd name="connsiteX31" fmla="*/ 2159000 w 2864542"/>
                  <a:gd name="connsiteY31" fmla="*/ 195931 h 1281781"/>
                  <a:gd name="connsiteX32" fmla="*/ 1682750 w 2864542"/>
                  <a:gd name="connsiteY32" fmla="*/ 234031 h 1281781"/>
                  <a:gd name="connsiteX33" fmla="*/ 1073150 w 2864542"/>
                  <a:gd name="connsiteY33" fmla="*/ 234031 h 1281781"/>
                  <a:gd name="connsiteX34" fmla="*/ 1057275 w 2864542"/>
                  <a:gd name="connsiteY34" fmla="*/ 227681 h 1281781"/>
                  <a:gd name="connsiteX35" fmla="*/ 679450 w 2864542"/>
                  <a:gd name="connsiteY35" fmla="*/ 192756 h 1281781"/>
                  <a:gd name="connsiteX36" fmla="*/ 387350 w 2864542"/>
                  <a:gd name="connsiteY36" fmla="*/ 141956 h 1281781"/>
                  <a:gd name="connsiteX37" fmla="*/ 69850 w 2864542"/>
                  <a:gd name="connsiteY37" fmla="*/ 43531 h 1281781"/>
                  <a:gd name="connsiteX38" fmla="*/ 15875 w 2864542"/>
                  <a:gd name="connsiteY38" fmla="*/ 24481 h 1281781"/>
                  <a:gd name="connsiteX39" fmla="*/ 15875 w 2864542"/>
                  <a:gd name="connsiteY39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73025 w 2864542"/>
                  <a:gd name="connsiteY7" fmla="*/ 10754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5875 w 2864542"/>
                  <a:gd name="connsiteY0" fmla="*/ 5431 h 1281781"/>
                  <a:gd name="connsiteX1" fmla="*/ 15875 w 2864542"/>
                  <a:gd name="connsiteY1" fmla="*/ 43531 h 1281781"/>
                  <a:gd name="connsiteX2" fmla="*/ 12700 w 2864542"/>
                  <a:gd name="connsiteY2" fmla="*/ 116556 h 1281781"/>
                  <a:gd name="connsiteX3" fmla="*/ 15875 w 2864542"/>
                  <a:gd name="connsiteY3" fmla="*/ 799181 h 1281781"/>
                  <a:gd name="connsiteX4" fmla="*/ 0 w 2864542"/>
                  <a:gd name="connsiteY4" fmla="*/ 938881 h 1281781"/>
                  <a:gd name="connsiteX5" fmla="*/ 3175 w 2864542"/>
                  <a:gd name="connsiteY5" fmla="*/ 1021431 h 1281781"/>
                  <a:gd name="connsiteX6" fmla="*/ 12700 w 2864542"/>
                  <a:gd name="connsiteY6" fmla="*/ 1040481 h 1281781"/>
                  <a:gd name="connsiteX7" fmla="*/ 98425 w 2864542"/>
                  <a:gd name="connsiteY7" fmla="*/ 1088106 h 1281781"/>
                  <a:gd name="connsiteX8" fmla="*/ 206375 w 2864542"/>
                  <a:gd name="connsiteY8" fmla="*/ 1119856 h 1281781"/>
                  <a:gd name="connsiteX9" fmla="*/ 355600 w 2864542"/>
                  <a:gd name="connsiteY9" fmla="*/ 1170656 h 1281781"/>
                  <a:gd name="connsiteX10" fmla="*/ 819150 w 2864542"/>
                  <a:gd name="connsiteY10" fmla="*/ 1234156 h 1281781"/>
                  <a:gd name="connsiteX11" fmla="*/ 939800 w 2864542"/>
                  <a:gd name="connsiteY11" fmla="*/ 1253206 h 1281781"/>
                  <a:gd name="connsiteX12" fmla="*/ 1155700 w 2864542"/>
                  <a:gd name="connsiteY12" fmla="*/ 1265906 h 1281781"/>
                  <a:gd name="connsiteX13" fmla="*/ 1358900 w 2864542"/>
                  <a:gd name="connsiteY13" fmla="*/ 1275431 h 1281781"/>
                  <a:gd name="connsiteX14" fmla="*/ 1666875 w 2864542"/>
                  <a:gd name="connsiteY14" fmla="*/ 1281781 h 1281781"/>
                  <a:gd name="connsiteX15" fmla="*/ 1835150 w 2864542"/>
                  <a:gd name="connsiteY15" fmla="*/ 1278606 h 1281781"/>
                  <a:gd name="connsiteX16" fmla="*/ 2016125 w 2864542"/>
                  <a:gd name="connsiteY16" fmla="*/ 1243681 h 1281781"/>
                  <a:gd name="connsiteX17" fmla="*/ 2139950 w 2864542"/>
                  <a:gd name="connsiteY17" fmla="*/ 1227806 h 1281781"/>
                  <a:gd name="connsiteX18" fmla="*/ 2244725 w 2864542"/>
                  <a:gd name="connsiteY18" fmla="*/ 1208756 h 1281781"/>
                  <a:gd name="connsiteX19" fmla="*/ 2409825 w 2864542"/>
                  <a:gd name="connsiteY19" fmla="*/ 1196056 h 1281781"/>
                  <a:gd name="connsiteX20" fmla="*/ 2679700 w 2864542"/>
                  <a:gd name="connsiteY20" fmla="*/ 1135731 h 1281781"/>
                  <a:gd name="connsiteX21" fmla="*/ 2854325 w 2864542"/>
                  <a:gd name="connsiteY21" fmla="*/ 1043656 h 1281781"/>
                  <a:gd name="connsiteX22" fmla="*/ 2857500 w 2864542"/>
                  <a:gd name="connsiteY22" fmla="*/ 697581 h 1281781"/>
                  <a:gd name="connsiteX23" fmla="*/ 2851150 w 2864542"/>
                  <a:gd name="connsiteY23" fmla="*/ 646781 h 1281781"/>
                  <a:gd name="connsiteX24" fmla="*/ 2841625 w 2864542"/>
                  <a:gd name="connsiteY24" fmla="*/ 491206 h 1281781"/>
                  <a:gd name="connsiteX25" fmla="*/ 2841625 w 2864542"/>
                  <a:gd name="connsiteY25" fmla="*/ 389606 h 1281781"/>
                  <a:gd name="connsiteX26" fmla="*/ 2851150 w 2864542"/>
                  <a:gd name="connsiteY26" fmla="*/ 167356 h 1281781"/>
                  <a:gd name="connsiteX27" fmla="*/ 2838450 w 2864542"/>
                  <a:gd name="connsiteY27" fmla="*/ 2256 h 1281781"/>
                  <a:gd name="connsiteX28" fmla="*/ 2733675 w 2864542"/>
                  <a:gd name="connsiteY28" fmla="*/ 75281 h 1281781"/>
                  <a:gd name="connsiteX29" fmla="*/ 2533650 w 2864542"/>
                  <a:gd name="connsiteY29" fmla="*/ 129256 h 1281781"/>
                  <a:gd name="connsiteX30" fmla="*/ 2159000 w 2864542"/>
                  <a:gd name="connsiteY30" fmla="*/ 195931 h 1281781"/>
                  <a:gd name="connsiteX31" fmla="*/ 1682750 w 2864542"/>
                  <a:gd name="connsiteY31" fmla="*/ 234031 h 1281781"/>
                  <a:gd name="connsiteX32" fmla="*/ 1073150 w 2864542"/>
                  <a:gd name="connsiteY32" fmla="*/ 234031 h 1281781"/>
                  <a:gd name="connsiteX33" fmla="*/ 1057275 w 2864542"/>
                  <a:gd name="connsiteY33" fmla="*/ 227681 h 1281781"/>
                  <a:gd name="connsiteX34" fmla="*/ 679450 w 2864542"/>
                  <a:gd name="connsiteY34" fmla="*/ 192756 h 1281781"/>
                  <a:gd name="connsiteX35" fmla="*/ 387350 w 2864542"/>
                  <a:gd name="connsiteY35" fmla="*/ 141956 h 1281781"/>
                  <a:gd name="connsiteX36" fmla="*/ 69850 w 2864542"/>
                  <a:gd name="connsiteY36" fmla="*/ 43531 h 1281781"/>
                  <a:gd name="connsiteX37" fmla="*/ 15875 w 2864542"/>
                  <a:gd name="connsiteY37" fmla="*/ 24481 h 1281781"/>
                  <a:gd name="connsiteX38" fmla="*/ 15875 w 2864542"/>
                  <a:gd name="connsiteY38" fmla="*/ 5431 h 1281781"/>
                  <a:gd name="connsiteX0" fmla="*/ 14174 w 2862841"/>
                  <a:gd name="connsiteY0" fmla="*/ 5431 h 1281781"/>
                  <a:gd name="connsiteX1" fmla="*/ 14174 w 2862841"/>
                  <a:gd name="connsiteY1" fmla="*/ 43531 h 1281781"/>
                  <a:gd name="connsiteX2" fmla="*/ 10999 w 2862841"/>
                  <a:gd name="connsiteY2" fmla="*/ 116556 h 1281781"/>
                  <a:gd name="connsiteX3" fmla="*/ 14174 w 2862841"/>
                  <a:gd name="connsiteY3" fmla="*/ 799181 h 1281781"/>
                  <a:gd name="connsiteX4" fmla="*/ 1474 w 2862841"/>
                  <a:gd name="connsiteY4" fmla="*/ 1021431 h 1281781"/>
                  <a:gd name="connsiteX5" fmla="*/ 10999 w 2862841"/>
                  <a:gd name="connsiteY5" fmla="*/ 1040481 h 1281781"/>
                  <a:gd name="connsiteX6" fmla="*/ 96724 w 2862841"/>
                  <a:gd name="connsiteY6" fmla="*/ 1088106 h 1281781"/>
                  <a:gd name="connsiteX7" fmla="*/ 204674 w 2862841"/>
                  <a:gd name="connsiteY7" fmla="*/ 1119856 h 1281781"/>
                  <a:gd name="connsiteX8" fmla="*/ 353899 w 2862841"/>
                  <a:gd name="connsiteY8" fmla="*/ 1170656 h 1281781"/>
                  <a:gd name="connsiteX9" fmla="*/ 817449 w 2862841"/>
                  <a:gd name="connsiteY9" fmla="*/ 1234156 h 1281781"/>
                  <a:gd name="connsiteX10" fmla="*/ 938099 w 2862841"/>
                  <a:gd name="connsiteY10" fmla="*/ 1253206 h 1281781"/>
                  <a:gd name="connsiteX11" fmla="*/ 1153999 w 2862841"/>
                  <a:gd name="connsiteY11" fmla="*/ 1265906 h 1281781"/>
                  <a:gd name="connsiteX12" fmla="*/ 1357199 w 2862841"/>
                  <a:gd name="connsiteY12" fmla="*/ 1275431 h 1281781"/>
                  <a:gd name="connsiteX13" fmla="*/ 1665174 w 2862841"/>
                  <a:gd name="connsiteY13" fmla="*/ 1281781 h 1281781"/>
                  <a:gd name="connsiteX14" fmla="*/ 1833449 w 2862841"/>
                  <a:gd name="connsiteY14" fmla="*/ 1278606 h 1281781"/>
                  <a:gd name="connsiteX15" fmla="*/ 2014424 w 2862841"/>
                  <a:gd name="connsiteY15" fmla="*/ 1243681 h 1281781"/>
                  <a:gd name="connsiteX16" fmla="*/ 2138249 w 2862841"/>
                  <a:gd name="connsiteY16" fmla="*/ 1227806 h 1281781"/>
                  <a:gd name="connsiteX17" fmla="*/ 2243024 w 2862841"/>
                  <a:gd name="connsiteY17" fmla="*/ 1208756 h 1281781"/>
                  <a:gd name="connsiteX18" fmla="*/ 2408124 w 2862841"/>
                  <a:gd name="connsiteY18" fmla="*/ 1196056 h 1281781"/>
                  <a:gd name="connsiteX19" fmla="*/ 2677999 w 2862841"/>
                  <a:gd name="connsiteY19" fmla="*/ 1135731 h 1281781"/>
                  <a:gd name="connsiteX20" fmla="*/ 2852624 w 2862841"/>
                  <a:gd name="connsiteY20" fmla="*/ 1043656 h 1281781"/>
                  <a:gd name="connsiteX21" fmla="*/ 2855799 w 2862841"/>
                  <a:gd name="connsiteY21" fmla="*/ 697581 h 1281781"/>
                  <a:gd name="connsiteX22" fmla="*/ 2849449 w 2862841"/>
                  <a:gd name="connsiteY22" fmla="*/ 646781 h 1281781"/>
                  <a:gd name="connsiteX23" fmla="*/ 2839924 w 2862841"/>
                  <a:gd name="connsiteY23" fmla="*/ 491206 h 1281781"/>
                  <a:gd name="connsiteX24" fmla="*/ 2839924 w 2862841"/>
                  <a:gd name="connsiteY24" fmla="*/ 389606 h 1281781"/>
                  <a:gd name="connsiteX25" fmla="*/ 2849449 w 2862841"/>
                  <a:gd name="connsiteY25" fmla="*/ 167356 h 1281781"/>
                  <a:gd name="connsiteX26" fmla="*/ 2836749 w 2862841"/>
                  <a:gd name="connsiteY26" fmla="*/ 2256 h 1281781"/>
                  <a:gd name="connsiteX27" fmla="*/ 2731974 w 2862841"/>
                  <a:gd name="connsiteY27" fmla="*/ 75281 h 1281781"/>
                  <a:gd name="connsiteX28" fmla="*/ 2531949 w 2862841"/>
                  <a:gd name="connsiteY28" fmla="*/ 129256 h 1281781"/>
                  <a:gd name="connsiteX29" fmla="*/ 2157299 w 2862841"/>
                  <a:gd name="connsiteY29" fmla="*/ 195931 h 1281781"/>
                  <a:gd name="connsiteX30" fmla="*/ 1681049 w 2862841"/>
                  <a:gd name="connsiteY30" fmla="*/ 234031 h 1281781"/>
                  <a:gd name="connsiteX31" fmla="*/ 1071449 w 2862841"/>
                  <a:gd name="connsiteY31" fmla="*/ 234031 h 1281781"/>
                  <a:gd name="connsiteX32" fmla="*/ 1055574 w 2862841"/>
                  <a:gd name="connsiteY32" fmla="*/ 227681 h 1281781"/>
                  <a:gd name="connsiteX33" fmla="*/ 677749 w 2862841"/>
                  <a:gd name="connsiteY33" fmla="*/ 192756 h 1281781"/>
                  <a:gd name="connsiteX34" fmla="*/ 385649 w 2862841"/>
                  <a:gd name="connsiteY34" fmla="*/ 141956 h 1281781"/>
                  <a:gd name="connsiteX35" fmla="*/ 68149 w 2862841"/>
                  <a:gd name="connsiteY35" fmla="*/ 43531 h 1281781"/>
                  <a:gd name="connsiteX36" fmla="*/ 14174 w 2862841"/>
                  <a:gd name="connsiteY36" fmla="*/ 24481 h 1281781"/>
                  <a:gd name="connsiteX37" fmla="*/ 14174 w 2862841"/>
                  <a:gd name="connsiteY37" fmla="*/ 5431 h 1281781"/>
                  <a:gd name="connsiteX0" fmla="*/ 13293 w 2861960"/>
                  <a:gd name="connsiteY0" fmla="*/ 5431 h 1281781"/>
                  <a:gd name="connsiteX1" fmla="*/ 13293 w 2861960"/>
                  <a:gd name="connsiteY1" fmla="*/ 43531 h 1281781"/>
                  <a:gd name="connsiteX2" fmla="*/ 10118 w 2861960"/>
                  <a:gd name="connsiteY2" fmla="*/ 116556 h 1281781"/>
                  <a:gd name="connsiteX3" fmla="*/ 13293 w 2861960"/>
                  <a:gd name="connsiteY3" fmla="*/ 799181 h 1281781"/>
                  <a:gd name="connsiteX4" fmla="*/ 593 w 2861960"/>
                  <a:gd name="connsiteY4" fmla="*/ 1021431 h 1281781"/>
                  <a:gd name="connsiteX5" fmla="*/ 35518 w 2861960"/>
                  <a:gd name="connsiteY5" fmla="*/ 1059531 h 1281781"/>
                  <a:gd name="connsiteX6" fmla="*/ 95843 w 2861960"/>
                  <a:gd name="connsiteY6" fmla="*/ 1088106 h 1281781"/>
                  <a:gd name="connsiteX7" fmla="*/ 203793 w 2861960"/>
                  <a:gd name="connsiteY7" fmla="*/ 1119856 h 1281781"/>
                  <a:gd name="connsiteX8" fmla="*/ 353018 w 2861960"/>
                  <a:gd name="connsiteY8" fmla="*/ 1170656 h 1281781"/>
                  <a:gd name="connsiteX9" fmla="*/ 816568 w 2861960"/>
                  <a:gd name="connsiteY9" fmla="*/ 1234156 h 1281781"/>
                  <a:gd name="connsiteX10" fmla="*/ 937218 w 2861960"/>
                  <a:gd name="connsiteY10" fmla="*/ 1253206 h 1281781"/>
                  <a:gd name="connsiteX11" fmla="*/ 1153118 w 2861960"/>
                  <a:gd name="connsiteY11" fmla="*/ 1265906 h 1281781"/>
                  <a:gd name="connsiteX12" fmla="*/ 1356318 w 2861960"/>
                  <a:gd name="connsiteY12" fmla="*/ 1275431 h 1281781"/>
                  <a:gd name="connsiteX13" fmla="*/ 1664293 w 2861960"/>
                  <a:gd name="connsiteY13" fmla="*/ 1281781 h 1281781"/>
                  <a:gd name="connsiteX14" fmla="*/ 1832568 w 2861960"/>
                  <a:gd name="connsiteY14" fmla="*/ 1278606 h 1281781"/>
                  <a:gd name="connsiteX15" fmla="*/ 2013543 w 2861960"/>
                  <a:gd name="connsiteY15" fmla="*/ 1243681 h 1281781"/>
                  <a:gd name="connsiteX16" fmla="*/ 2137368 w 2861960"/>
                  <a:gd name="connsiteY16" fmla="*/ 1227806 h 1281781"/>
                  <a:gd name="connsiteX17" fmla="*/ 2242143 w 2861960"/>
                  <a:gd name="connsiteY17" fmla="*/ 1208756 h 1281781"/>
                  <a:gd name="connsiteX18" fmla="*/ 2407243 w 2861960"/>
                  <a:gd name="connsiteY18" fmla="*/ 1196056 h 1281781"/>
                  <a:gd name="connsiteX19" fmla="*/ 2677118 w 2861960"/>
                  <a:gd name="connsiteY19" fmla="*/ 1135731 h 1281781"/>
                  <a:gd name="connsiteX20" fmla="*/ 2851743 w 2861960"/>
                  <a:gd name="connsiteY20" fmla="*/ 1043656 h 1281781"/>
                  <a:gd name="connsiteX21" fmla="*/ 2854918 w 2861960"/>
                  <a:gd name="connsiteY21" fmla="*/ 697581 h 1281781"/>
                  <a:gd name="connsiteX22" fmla="*/ 2848568 w 2861960"/>
                  <a:gd name="connsiteY22" fmla="*/ 646781 h 1281781"/>
                  <a:gd name="connsiteX23" fmla="*/ 2839043 w 2861960"/>
                  <a:gd name="connsiteY23" fmla="*/ 491206 h 1281781"/>
                  <a:gd name="connsiteX24" fmla="*/ 2839043 w 2861960"/>
                  <a:gd name="connsiteY24" fmla="*/ 389606 h 1281781"/>
                  <a:gd name="connsiteX25" fmla="*/ 2848568 w 2861960"/>
                  <a:gd name="connsiteY25" fmla="*/ 167356 h 1281781"/>
                  <a:gd name="connsiteX26" fmla="*/ 2835868 w 2861960"/>
                  <a:gd name="connsiteY26" fmla="*/ 2256 h 1281781"/>
                  <a:gd name="connsiteX27" fmla="*/ 2731093 w 2861960"/>
                  <a:gd name="connsiteY27" fmla="*/ 75281 h 1281781"/>
                  <a:gd name="connsiteX28" fmla="*/ 2531068 w 2861960"/>
                  <a:gd name="connsiteY28" fmla="*/ 129256 h 1281781"/>
                  <a:gd name="connsiteX29" fmla="*/ 2156418 w 2861960"/>
                  <a:gd name="connsiteY29" fmla="*/ 195931 h 1281781"/>
                  <a:gd name="connsiteX30" fmla="*/ 1680168 w 2861960"/>
                  <a:gd name="connsiteY30" fmla="*/ 234031 h 1281781"/>
                  <a:gd name="connsiteX31" fmla="*/ 1070568 w 2861960"/>
                  <a:gd name="connsiteY31" fmla="*/ 234031 h 1281781"/>
                  <a:gd name="connsiteX32" fmla="*/ 1054693 w 2861960"/>
                  <a:gd name="connsiteY32" fmla="*/ 227681 h 1281781"/>
                  <a:gd name="connsiteX33" fmla="*/ 676868 w 2861960"/>
                  <a:gd name="connsiteY33" fmla="*/ 192756 h 1281781"/>
                  <a:gd name="connsiteX34" fmla="*/ 384768 w 2861960"/>
                  <a:gd name="connsiteY34" fmla="*/ 141956 h 1281781"/>
                  <a:gd name="connsiteX35" fmla="*/ 67268 w 2861960"/>
                  <a:gd name="connsiteY35" fmla="*/ 43531 h 1281781"/>
                  <a:gd name="connsiteX36" fmla="*/ 13293 w 2861960"/>
                  <a:gd name="connsiteY36" fmla="*/ 24481 h 1281781"/>
                  <a:gd name="connsiteX37" fmla="*/ 13293 w 2861960"/>
                  <a:gd name="connsiteY37" fmla="*/ 5431 h 1281781"/>
                  <a:gd name="connsiteX0" fmla="*/ 16832 w 2865499"/>
                  <a:gd name="connsiteY0" fmla="*/ 5431 h 1281781"/>
                  <a:gd name="connsiteX1" fmla="*/ 16832 w 2865499"/>
                  <a:gd name="connsiteY1" fmla="*/ 43531 h 1281781"/>
                  <a:gd name="connsiteX2" fmla="*/ 13657 w 2865499"/>
                  <a:gd name="connsiteY2" fmla="*/ 116556 h 1281781"/>
                  <a:gd name="connsiteX3" fmla="*/ 16832 w 2865499"/>
                  <a:gd name="connsiteY3" fmla="*/ 799181 h 1281781"/>
                  <a:gd name="connsiteX4" fmla="*/ 4132 w 2865499"/>
                  <a:gd name="connsiteY4" fmla="*/ 1021431 h 1281781"/>
                  <a:gd name="connsiteX5" fmla="*/ 99382 w 2865499"/>
                  <a:gd name="connsiteY5" fmla="*/ 1088106 h 1281781"/>
                  <a:gd name="connsiteX6" fmla="*/ 207332 w 2865499"/>
                  <a:gd name="connsiteY6" fmla="*/ 1119856 h 1281781"/>
                  <a:gd name="connsiteX7" fmla="*/ 356557 w 2865499"/>
                  <a:gd name="connsiteY7" fmla="*/ 1170656 h 1281781"/>
                  <a:gd name="connsiteX8" fmla="*/ 820107 w 2865499"/>
                  <a:gd name="connsiteY8" fmla="*/ 1234156 h 1281781"/>
                  <a:gd name="connsiteX9" fmla="*/ 940757 w 2865499"/>
                  <a:gd name="connsiteY9" fmla="*/ 1253206 h 1281781"/>
                  <a:gd name="connsiteX10" fmla="*/ 1156657 w 2865499"/>
                  <a:gd name="connsiteY10" fmla="*/ 1265906 h 1281781"/>
                  <a:gd name="connsiteX11" fmla="*/ 1359857 w 2865499"/>
                  <a:gd name="connsiteY11" fmla="*/ 1275431 h 1281781"/>
                  <a:gd name="connsiteX12" fmla="*/ 1667832 w 2865499"/>
                  <a:gd name="connsiteY12" fmla="*/ 1281781 h 1281781"/>
                  <a:gd name="connsiteX13" fmla="*/ 1836107 w 2865499"/>
                  <a:gd name="connsiteY13" fmla="*/ 1278606 h 1281781"/>
                  <a:gd name="connsiteX14" fmla="*/ 2017082 w 2865499"/>
                  <a:gd name="connsiteY14" fmla="*/ 1243681 h 1281781"/>
                  <a:gd name="connsiteX15" fmla="*/ 2140907 w 2865499"/>
                  <a:gd name="connsiteY15" fmla="*/ 1227806 h 1281781"/>
                  <a:gd name="connsiteX16" fmla="*/ 2245682 w 2865499"/>
                  <a:gd name="connsiteY16" fmla="*/ 1208756 h 1281781"/>
                  <a:gd name="connsiteX17" fmla="*/ 2410782 w 2865499"/>
                  <a:gd name="connsiteY17" fmla="*/ 1196056 h 1281781"/>
                  <a:gd name="connsiteX18" fmla="*/ 2680657 w 2865499"/>
                  <a:gd name="connsiteY18" fmla="*/ 1135731 h 1281781"/>
                  <a:gd name="connsiteX19" fmla="*/ 2855282 w 2865499"/>
                  <a:gd name="connsiteY19" fmla="*/ 1043656 h 1281781"/>
                  <a:gd name="connsiteX20" fmla="*/ 2858457 w 2865499"/>
                  <a:gd name="connsiteY20" fmla="*/ 697581 h 1281781"/>
                  <a:gd name="connsiteX21" fmla="*/ 2852107 w 2865499"/>
                  <a:gd name="connsiteY21" fmla="*/ 646781 h 1281781"/>
                  <a:gd name="connsiteX22" fmla="*/ 2842582 w 2865499"/>
                  <a:gd name="connsiteY22" fmla="*/ 491206 h 1281781"/>
                  <a:gd name="connsiteX23" fmla="*/ 2842582 w 2865499"/>
                  <a:gd name="connsiteY23" fmla="*/ 389606 h 1281781"/>
                  <a:gd name="connsiteX24" fmla="*/ 2852107 w 2865499"/>
                  <a:gd name="connsiteY24" fmla="*/ 167356 h 1281781"/>
                  <a:gd name="connsiteX25" fmla="*/ 2839407 w 2865499"/>
                  <a:gd name="connsiteY25" fmla="*/ 2256 h 1281781"/>
                  <a:gd name="connsiteX26" fmla="*/ 2734632 w 2865499"/>
                  <a:gd name="connsiteY26" fmla="*/ 75281 h 1281781"/>
                  <a:gd name="connsiteX27" fmla="*/ 2534607 w 2865499"/>
                  <a:gd name="connsiteY27" fmla="*/ 129256 h 1281781"/>
                  <a:gd name="connsiteX28" fmla="*/ 2159957 w 2865499"/>
                  <a:gd name="connsiteY28" fmla="*/ 195931 h 1281781"/>
                  <a:gd name="connsiteX29" fmla="*/ 1683707 w 2865499"/>
                  <a:gd name="connsiteY29" fmla="*/ 234031 h 1281781"/>
                  <a:gd name="connsiteX30" fmla="*/ 1074107 w 2865499"/>
                  <a:gd name="connsiteY30" fmla="*/ 234031 h 1281781"/>
                  <a:gd name="connsiteX31" fmla="*/ 1058232 w 2865499"/>
                  <a:gd name="connsiteY31" fmla="*/ 227681 h 1281781"/>
                  <a:gd name="connsiteX32" fmla="*/ 680407 w 2865499"/>
                  <a:gd name="connsiteY32" fmla="*/ 192756 h 1281781"/>
                  <a:gd name="connsiteX33" fmla="*/ 388307 w 2865499"/>
                  <a:gd name="connsiteY33" fmla="*/ 141956 h 1281781"/>
                  <a:gd name="connsiteX34" fmla="*/ 70807 w 2865499"/>
                  <a:gd name="connsiteY34" fmla="*/ 43531 h 1281781"/>
                  <a:gd name="connsiteX35" fmla="*/ 16832 w 2865499"/>
                  <a:gd name="connsiteY35" fmla="*/ 24481 h 1281781"/>
                  <a:gd name="connsiteX36" fmla="*/ 16832 w 2865499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193675 w 2851842"/>
                  <a:gd name="connsiteY6" fmla="*/ 1119856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806450 w 2851842"/>
                  <a:gd name="connsiteY8" fmla="*/ 1234156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81781"/>
                  <a:gd name="connsiteX1" fmla="*/ 3175 w 2851842"/>
                  <a:gd name="connsiteY1" fmla="*/ 43531 h 1281781"/>
                  <a:gd name="connsiteX2" fmla="*/ 0 w 2851842"/>
                  <a:gd name="connsiteY2" fmla="*/ 116556 h 1281781"/>
                  <a:gd name="connsiteX3" fmla="*/ 3175 w 2851842"/>
                  <a:gd name="connsiteY3" fmla="*/ 799181 h 1281781"/>
                  <a:gd name="connsiteX4" fmla="*/ 9525 w 2851842"/>
                  <a:gd name="connsiteY4" fmla="*/ 1030956 h 1281781"/>
                  <a:gd name="connsiteX5" fmla="*/ 85725 w 2851842"/>
                  <a:gd name="connsiteY5" fmla="*/ 1088106 h 1281781"/>
                  <a:gd name="connsiteX6" fmla="*/ 203200 w 2851842"/>
                  <a:gd name="connsiteY6" fmla="*/ 1142081 h 1281781"/>
                  <a:gd name="connsiteX7" fmla="*/ 342900 w 2851842"/>
                  <a:gd name="connsiteY7" fmla="*/ 1170656 h 1281781"/>
                  <a:gd name="connsiteX8" fmla="*/ 695325 w 2851842"/>
                  <a:gd name="connsiteY8" fmla="*/ 1230981 h 1281781"/>
                  <a:gd name="connsiteX9" fmla="*/ 927100 w 2851842"/>
                  <a:gd name="connsiteY9" fmla="*/ 1253206 h 1281781"/>
                  <a:gd name="connsiteX10" fmla="*/ 1143000 w 2851842"/>
                  <a:gd name="connsiteY10" fmla="*/ 1265906 h 1281781"/>
                  <a:gd name="connsiteX11" fmla="*/ 1346200 w 2851842"/>
                  <a:gd name="connsiteY11" fmla="*/ 1275431 h 1281781"/>
                  <a:gd name="connsiteX12" fmla="*/ 1654175 w 2851842"/>
                  <a:gd name="connsiteY12" fmla="*/ 1281781 h 1281781"/>
                  <a:gd name="connsiteX13" fmla="*/ 1822450 w 2851842"/>
                  <a:gd name="connsiteY13" fmla="*/ 1278606 h 1281781"/>
                  <a:gd name="connsiteX14" fmla="*/ 2003425 w 2851842"/>
                  <a:gd name="connsiteY14" fmla="*/ 1243681 h 1281781"/>
                  <a:gd name="connsiteX15" fmla="*/ 2127250 w 2851842"/>
                  <a:gd name="connsiteY15" fmla="*/ 1227806 h 1281781"/>
                  <a:gd name="connsiteX16" fmla="*/ 2232025 w 2851842"/>
                  <a:gd name="connsiteY16" fmla="*/ 1208756 h 1281781"/>
                  <a:gd name="connsiteX17" fmla="*/ 2397125 w 2851842"/>
                  <a:gd name="connsiteY17" fmla="*/ 1196056 h 1281781"/>
                  <a:gd name="connsiteX18" fmla="*/ 2667000 w 2851842"/>
                  <a:gd name="connsiteY18" fmla="*/ 1135731 h 1281781"/>
                  <a:gd name="connsiteX19" fmla="*/ 2841625 w 2851842"/>
                  <a:gd name="connsiteY19" fmla="*/ 1043656 h 1281781"/>
                  <a:gd name="connsiteX20" fmla="*/ 2844800 w 2851842"/>
                  <a:gd name="connsiteY20" fmla="*/ 697581 h 1281781"/>
                  <a:gd name="connsiteX21" fmla="*/ 2838450 w 2851842"/>
                  <a:gd name="connsiteY21" fmla="*/ 646781 h 1281781"/>
                  <a:gd name="connsiteX22" fmla="*/ 2828925 w 2851842"/>
                  <a:gd name="connsiteY22" fmla="*/ 491206 h 1281781"/>
                  <a:gd name="connsiteX23" fmla="*/ 2828925 w 2851842"/>
                  <a:gd name="connsiteY23" fmla="*/ 389606 h 1281781"/>
                  <a:gd name="connsiteX24" fmla="*/ 2838450 w 2851842"/>
                  <a:gd name="connsiteY24" fmla="*/ 167356 h 1281781"/>
                  <a:gd name="connsiteX25" fmla="*/ 2825750 w 2851842"/>
                  <a:gd name="connsiteY25" fmla="*/ 2256 h 1281781"/>
                  <a:gd name="connsiteX26" fmla="*/ 2720975 w 2851842"/>
                  <a:gd name="connsiteY26" fmla="*/ 75281 h 1281781"/>
                  <a:gd name="connsiteX27" fmla="*/ 2520950 w 2851842"/>
                  <a:gd name="connsiteY27" fmla="*/ 129256 h 1281781"/>
                  <a:gd name="connsiteX28" fmla="*/ 2146300 w 2851842"/>
                  <a:gd name="connsiteY28" fmla="*/ 195931 h 1281781"/>
                  <a:gd name="connsiteX29" fmla="*/ 1670050 w 2851842"/>
                  <a:gd name="connsiteY29" fmla="*/ 234031 h 1281781"/>
                  <a:gd name="connsiteX30" fmla="*/ 1060450 w 2851842"/>
                  <a:gd name="connsiteY30" fmla="*/ 234031 h 1281781"/>
                  <a:gd name="connsiteX31" fmla="*/ 1044575 w 2851842"/>
                  <a:gd name="connsiteY31" fmla="*/ 227681 h 1281781"/>
                  <a:gd name="connsiteX32" fmla="*/ 666750 w 2851842"/>
                  <a:gd name="connsiteY32" fmla="*/ 192756 h 1281781"/>
                  <a:gd name="connsiteX33" fmla="*/ 374650 w 2851842"/>
                  <a:gd name="connsiteY33" fmla="*/ 141956 h 1281781"/>
                  <a:gd name="connsiteX34" fmla="*/ 57150 w 2851842"/>
                  <a:gd name="connsiteY34" fmla="*/ 43531 h 1281781"/>
                  <a:gd name="connsiteX35" fmla="*/ 3175 w 2851842"/>
                  <a:gd name="connsiteY35" fmla="*/ 24481 h 1281781"/>
                  <a:gd name="connsiteX36" fmla="*/ 3175 w 2851842"/>
                  <a:gd name="connsiteY36" fmla="*/ 5431 h 1281781"/>
                  <a:gd name="connsiteX0" fmla="*/ 3175 w 2851842"/>
                  <a:gd name="connsiteY0" fmla="*/ 5431 h 1278606"/>
                  <a:gd name="connsiteX1" fmla="*/ 3175 w 2851842"/>
                  <a:gd name="connsiteY1" fmla="*/ 43531 h 1278606"/>
                  <a:gd name="connsiteX2" fmla="*/ 0 w 2851842"/>
                  <a:gd name="connsiteY2" fmla="*/ 116556 h 1278606"/>
                  <a:gd name="connsiteX3" fmla="*/ 3175 w 2851842"/>
                  <a:gd name="connsiteY3" fmla="*/ 799181 h 1278606"/>
                  <a:gd name="connsiteX4" fmla="*/ 9525 w 2851842"/>
                  <a:gd name="connsiteY4" fmla="*/ 1030956 h 1278606"/>
                  <a:gd name="connsiteX5" fmla="*/ 85725 w 2851842"/>
                  <a:gd name="connsiteY5" fmla="*/ 1088106 h 1278606"/>
                  <a:gd name="connsiteX6" fmla="*/ 203200 w 2851842"/>
                  <a:gd name="connsiteY6" fmla="*/ 1142081 h 1278606"/>
                  <a:gd name="connsiteX7" fmla="*/ 342900 w 2851842"/>
                  <a:gd name="connsiteY7" fmla="*/ 1170656 h 1278606"/>
                  <a:gd name="connsiteX8" fmla="*/ 695325 w 2851842"/>
                  <a:gd name="connsiteY8" fmla="*/ 1230981 h 1278606"/>
                  <a:gd name="connsiteX9" fmla="*/ 927100 w 2851842"/>
                  <a:gd name="connsiteY9" fmla="*/ 1253206 h 1278606"/>
                  <a:gd name="connsiteX10" fmla="*/ 1143000 w 2851842"/>
                  <a:gd name="connsiteY10" fmla="*/ 1265906 h 1278606"/>
                  <a:gd name="connsiteX11" fmla="*/ 1346200 w 2851842"/>
                  <a:gd name="connsiteY11" fmla="*/ 1275431 h 1278606"/>
                  <a:gd name="connsiteX12" fmla="*/ 1822450 w 2851842"/>
                  <a:gd name="connsiteY12" fmla="*/ 1278606 h 1278606"/>
                  <a:gd name="connsiteX13" fmla="*/ 2003425 w 2851842"/>
                  <a:gd name="connsiteY13" fmla="*/ 1243681 h 1278606"/>
                  <a:gd name="connsiteX14" fmla="*/ 2127250 w 2851842"/>
                  <a:gd name="connsiteY14" fmla="*/ 1227806 h 1278606"/>
                  <a:gd name="connsiteX15" fmla="*/ 2232025 w 2851842"/>
                  <a:gd name="connsiteY15" fmla="*/ 1208756 h 1278606"/>
                  <a:gd name="connsiteX16" fmla="*/ 2397125 w 2851842"/>
                  <a:gd name="connsiteY16" fmla="*/ 1196056 h 1278606"/>
                  <a:gd name="connsiteX17" fmla="*/ 2667000 w 2851842"/>
                  <a:gd name="connsiteY17" fmla="*/ 1135731 h 1278606"/>
                  <a:gd name="connsiteX18" fmla="*/ 2841625 w 2851842"/>
                  <a:gd name="connsiteY18" fmla="*/ 1043656 h 1278606"/>
                  <a:gd name="connsiteX19" fmla="*/ 2844800 w 2851842"/>
                  <a:gd name="connsiteY19" fmla="*/ 697581 h 1278606"/>
                  <a:gd name="connsiteX20" fmla="*/ 2838450 w 2851842"/>
                  <a:gd name="connsiteY20" fmla="*/ 646781 h 1278606"/>
                  <a:gd name="connsiteX21" fmla="*/ 2828925 w 2851842"/>
                  <a:gd name="connsiteY21" fmla="*/ 491206 h 1278606"/>
                  <a:gd name="connsiteX22" fmla="*/ 2828925 w 2851842"/>
                  <a:gd name="connsiteY22" fmla="*/ 389606 h 1278606"/>
                  <a:gd name="connsiteX23" fmla="*/ 2838450 w 2851842"/>
                  <a:gd name="connsiteY23" fmla="*/ 167356 h 1278606"/>
                  <a:gd name="connsiteX24" fmla="*/ 2825750 w 2851842"/>
                  <a:gd name="connsiteY24" fmla="*/ 2256 h 1278606"/>
                  <a:gd name="connsiteX25" fmla="*/ 2720975 w 2851842"/>
                  <a:gd name="connsiteY25" fmla="*/ 75281 h 1278606"/>
                  <a:gd name="connsiteX26" fmla="*/ 2520950 w 2851842"/>
                  <a:gd name="connsiteY26" fmla="*/ 129256 h 1278606"/>
                  <a:gd name="connsiteX27" fmla="*/ 2146300 w 2851842"/>
                  <a:gd name="connsiteY27" fmla="*/ 195931 h 1278606"/>
                  <a:gd name="connsiteX28" fmla="*/ 1670050 w 2851842"/>
                  <a:gd name="connsiteY28" fmla="*/ 234031 h 1278606"/>
                  <a:gd name="connsiteX29" fmla="*/ 1060450 w 2851842"/>
                  <a:gd name="connsiteY29" fmla="*/ 234031 h 1278606"/>
                  <a:gd name="connsiteX30" fmla="*/ 1044575 w 2851842"/>
                  <a:gd name="connsiteY30" fmla="*/ 227681 h 1278606"/>
                  <a:gd name="connsiteX31" fmla="*/ 666750 w 2851842"/>
                  <a:gd name="connsiteY31" fmla="*/ 192756 h 1278606"/>
                  <a:gd name="connsiteX32" fmla="*/ 374650 w 2851842"/>
                  <a:gd name="connsiteY32" fmla="*/ 141956 h 1278606"/>
                  <a:gd name="connsiteX33" fmla="*/ 57150 w 2851842"/>
                  <a:gd name="connsiteY33" fmla="*/ 43531 h 1278606"/>
                  <a:gd name="connsiteX34" fmla="*/ 3175 w 2851842"/>
                  <a:gd name="connsiteY34" fmla="*/ 24481 h 1278606"/>
                  <a:gd name="connsiteX35" fmla="*/ 3175 w 2851842"/>
                  <a:gd name="connsiteY35" fmla="*/ 5431 h 1278606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232025 w 2851842"/>
                  <a:gd name="connsiteY15" fmla="*/ 1208756 h 1275431"/>
                  <a:gd name="connsiteX16" fmla="*/ 2397125 w 2851842"/>
                  <a:gd name="connsiteY16" fmla="*/ 1196056 h 1275431"/>
                  <a:gd name="connsiteX17" fmla="*/ 2667000 w 2851842"/>
                  <a:gd name="connsiteY17" fmla="*/ 1135731 h 1275431"/>
                  <a:gd name="connsiteX18" fmla="*/ 2841625 w 2851842"/>
                  <a:gd name="connsiteY18" fmla="*/ 1043656 h 1275431"/>
                  <a:gd name="connsiteX19" fmla="*/ 2844800 w 2851842"/>
                  <a:gd name="connsiteY19" fmla="*/ 697581 h 1275431"/>
                  <a:gd name="connsiteX20" fmla="*/ 2838450 w 2851842"/>
                  <a:gd name="connsiteY20" fmla="*/ 646781 h 1275431"/>
                  <a:gd name="connsiteX21" fmla="*/ 2828925 w 2851842"/>
                  <a:gd name="connsiteY21" fmla="*/ 491206 h 1275431"/>
                  <a:gd name="connsiteX22" fmla="*/ 2828925 w 2851842"/>
                  <a:gd name="connsiteY22" fmla="*/ 389606 h 1275431"/>
                  <a:gd name="connsiteX23" fmla="*/ 2838450 w 2851842"/>
                  <a:gd name="connsiteY23" fmla="*/ 167356 h 1275431"/>
                  <a:gd name="connsiteX24" fmla="*/ 2825750 w 2851842"/>
                  <a:gd name="connsiteY24" fmla="*/ 2256 h 1275431"/>
                  <a:gd name="connsiteX25" fmla="*/ 2720975 w 2851842"/>
                  <a:gd name="connsiteY25" fmla="*/ 75281 h 1275431"/>
                  <a:gd name="connsiteX26" fmla="*/ 2520950 w 2851842"/>
                  <a:gd name="connsiteY26" fmla="*/ 129256 h 1275431"/>
                  <a:gd name="connsiteX27" fmla="*/ 2146300 w 2851842"/>
                  <a:gd name="connsiteY27" fmla="*/ 195931 h 1275431"/>
                  <a:gd name="connsiteX28" fmla="*/ 1670050 w 2851842"/>
                  <a:gd name="connsiteY28" fmla="*/ 234031 h 1275431"/>
                  <a:gd name="connsiteX29" fmla="*/ 1060450 w 2851842"/>
                  <a:gd name="connsiteY29" fmla="*/ 234031 h 1275431"/>
                  <a:gd name="connsiteX30" fmla="*/ 1044575 w 2851842"/>
                  <a:gd name="connsiteY30" fmla="*/ 227681 h 1275431"/>
                  <a:gd name="connsiteX31" fmla="*/ 666750 w 2851842"/>
                  <a:gd name="connsiteY31" fmla="*/ 192756 h 1275431"/>
                  <a:gd name="connsiteX32" fmla="*/ 374650 w 2851842"/>
                  <a:gd name="connsiteY32" fmla="*/ 141956 h 1275431"/>
                  <a:gd name="connsiteX33" fmla="*/ 57150 w 2851842"/>
                  <a:gd name="connsiteY33" fmla="*/ 43531 h 1275431"/>
                  <a:gd name="connsiteX34" fmla="*/ 3175 w 2851842"/>
                  <a:gd name="connsiteY34" fmla="*/ 24481 h 1275431"/>
                  <a:gd name="connsiteX35" fmla="*/ 3175 w 2851842"/>
                  <a:gd name="connsiteY35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27250 w 2851842"/>
                  <a:gd name="connsiteY14" fmla="*/ 1227806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60450 w 2851842"/>
                  <a:gd name="connsiteY28" fmla="*/ 234031 h 1275431"/>
                  <a:gd name="connsiteX29" fmla="*/ 1044575 w 2851842"/>
                  <a:gd name="connsiteY29" fmla="*/ 227681 h 1275431"/>
                  <a:gd name="connsiteX30" fmla="*/ 666750 w 2851842"/>
                  <a:gd name="connsiteY30" fmla="*/ 192756 h 1275431"/>
                  <a:gd name="connsiteX31" fmla="*/ 374650 w 2851842"/>
                  <a:gd name="connsiteY31" fmla="*/ 141956 h 1275431"/>
                  <a:gd name="connsiteX32" fmla="*/ 57150 w 2851842"/>
                  <a:gd name="connsiteY32" fmla="*/ 43531 h 1275431"/>
                  <a:gd name="connsiteX33" fmla="*/ 3175 w 2851842"/>
                  <a:gd name="connsiteY33" fmla="*/ 24481 h 1275431"/>
                  <a:gd name="connsiteX34" fmla="*/ 3175 w 2851842"/>
                  <a:gd name="connsiteY34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24481 h 1275431"/>
                  <a:gd name="connsiteX33" fmla="*/ 3175 w 2851842"/>
                  <a:gd name="connsiteY33" fmla="*/ 5431 h 1275431"/>
                  <a:gd name="connsiteX0" fmla="*/ 3175 w 2851842"/>
                  <a:gd name="connsiteY0" fmla="*/ 5431 h 1275431"/>
                  <a:gd name="connsiteX1" fmla="*/ 3175 w 2851842"/>
                  <a:gd name="connsiteY1" fmla="*/ 43531 h 1275431"/>
                  <a:gd name="connsiteX2" fmla="*/ 0 w 2851842"/>
                  <a:gd name="connsiteY2" fmla="*/ 116556 h 1275431"/>
                  <a:gd name="connsiteX3" fmla="*/ 3175 w 2851842"/>
                  <a:gd name="connsiteY3" fmla="*/ 799181 h 1275431"/>
                  <a:gd name="connsiteX4" fmla="*/ 9525 w 2851842"/>
                  <a:gd name="connsiteY4" fmla="*/ 1030956 h 1275431"/>
                  <a:gd name="connsiteX5" fmla="*/ 85725 w 2851842"/>
                  <a:gd name="connsiteY5" fmla="*/ 1088106 h 1275431"/>
                  <a:gd name="connsiteX6" fmla="*/ 203200 w 2851842"/>
                  <a:gd name="connsiteY6" fmla="*/ 1142081 h 1275431"/>
                  <a:gd name="connsiteX7" fmla="*/ 342900 w 2851842"/>
                  <a:gd name="connsiteY7" fmla="*/ 1170656 h 1275431"/>
                  <a:gd name="connsiteX8" fmla="*/ 695325 w 2851842"/>
                  <a:gd name="connsiteY8" fmla="*/ 1230981 h 1275431"/>
                  <a:gd name="connsiteX9" fmla="*/ 927100 w 2851842"/>
                  <a:gd name="connsiteY9" fmla="*/ 1253206 h 1275431"/>
                  <a:gd name="connsiteX10" fmla="*/ 1143000 w 2851842"/>
                  <a:gd name="connsiteY10" fmla="*/ 1265906 h 1275431"/>
                  <a:gd name="connsiteX11" fmla="*/ 1346200 w 2851842"/>
                  <a:gd name="connsiteY11" fmla="*/ 1275431 h 1275431"/>
                  <a:gd name="connsiteX12" fmla="*/ 1752600 w 2851842"/>
                  <a:gd name="connsiteY12" fmla="*/ 1262731 h 1275431"/>
                  <a:gd name="connsiteX13" fmla="*/ 2003425 w 2851842"/>
                  <a:gd name="connsiteY13" fmla="*/ 1243681 h 1275431"/>
                  <a:gd name="connsiteX14" fmla="*/ 2162175 w 2851842"/>
                  <a:gd name="connsiteY14" fmla="*/ 1237331 h 1275431"/>
                  <a:gd name="connsiteX15" fmla="*/ 2397125 w 2851842"/>
                  <a:gd name="connsiteY15" fmla="*/ 1196056 h 1275431"/>
                  <a:gd name="connsiteX16" fmla="*/ 2667000 w 2851842"/>
                  <a:gd name="connsiteY16" fmla="*/ 1135731 h 1275431"/>
                  <a:gd name="connsiteX17" fmla="*/ 2841625 w 2851842"/>
                  <a:gd name="connsiteY17" fmla="*/ 1043656 h 1275431"/>
                  <a:gd name="connsiteX18" fmla="*/ 2844800 w 2851842"/>
                  <a:gd name="connsiteY18" fmla="*/ 697581 h 1275431"/>
                  <a:gd name="connsiteX19" fmla="*/ 2838450 w 2851842"/>
                  <a:gd name="connsiteY19" fmla="*/ 646781 h 1275431"/>
                  <a:gd name="connsiteX20" fmla="*/ 2828925 w 2851842"/>
                  <a:gd name="connsiteY20" fmla="*/ 491206 h 1275431"/>
                  <a:gd name="connsiteX21" fmla="*/ 2828925 w 2851842"/>
                  <a:gd name="connsiteY21" fmla="*/ 389606 h 1275431"/>
                  <a:gd name="connsiteX22" fmla="*/ 2838450 w 2851842"/>
                  <a:gd name="connsiteY22" fmla="*/ 167356 h 1275431"/>
                  <a:gd name="connsiteX23" fmla="*/ 2825750 w 2851842"/>
                  <a:gd name="connsiteY23" fmla="*/ 2256 h 1275431"/>
                  <a:gd name="connsiteX24" fmla="*/ 2720975 w 2851842"/>
                  <a:gd name="connsiteY24" fmla="*/ 75281 h 1275431"/>
                  <a:gd name="connsiteX25" fmla="*/ 2520950 w 2851842"/>
                  <a:gd name="connsiteY25" fmla="*/ 129256 h 1275431"/>
                  <a:gd name="connsiteX26" fmla="*/ 2146300 w 2851842"/>
                  <a:gd name="connsiteY26" fmla="*/ 195931 h 1275431"/>
                  <a:gd name="connsiteX27" fmla="*/ 1670050 w 2851842"/>
                  <a:gd name="connsiteY27" fmla="*/ 234031 h 1275431"/>
                  <a:gd name="connsiteX28" fmla="*/ 1044575 w 2851842"/>
                  <a:gd name="connsiteY28" fmla="*/ 227681 h 1275431"/>
                  <a:gd name="connsiteX29" fmla="*/ 666750 w 2851842"/>
                  <a:gd name="connsiteY29" fmla="*/ 192756 h 1275431"/>
                  <a:gd name="connsiteX30" fmla="*/ 374650 w 2851842"/>
                  <a:gd name="connsiteY30" fmla="*/ 141956 h 1275431"/>
                  <a:gd name="connsiteX31" fmla="*/ 57150 w 2851842"/>
                  <a:gd name="connsiteY31" fmla="*/ 43531 h 1275431"/>
                  <a:gd name="connsiteX32" fmla="*/ 3175 w 2851842"/>
                  <a:gd name="connsiteY32" fmla="*/ 5431 h 1275431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485775 h 1270000"/>
                  <a:gd name="connsiteX21" fmla="*/ 2828925 w 2851842"/>
                  <a:gd name="connsiteY21" fmla="*/ 384175 h 1270000"/>
                  <a:gd name="connsiteX22" fmla="*/ 2838450 w 2851842"/>
                  <a:gd name="connsiteY22" fmla="*/ 161925 h 1270000"/>
                  <a:gd name="connsiteX23" fmla="*/ 2825750 w 2851842"/>
                  <a:gd name="connsiteY23" fmla="*/ 19050 h 1270000"/>
                  <a:gd name="connsiteX24" fmla="*/ 2720975 w 2851842"/>
                  <a:gd name="connsiteY24" fmla="*/ 69850 h 1270000"/>
                  <a:gd name="connsiteX25" fmla="*/ 2520950 w 2851842"/>
                  <a:gd name="connsiteY25" fmla="*/ 123825 h 1270000"/>
                  <a:gd name="connsiteX26" fmla="*/ 2146300 w 2851842"/>
                  <a:gd name="connsiteY26" fmla="*/ 190500 h 1270000"/>
                  <a:gd name="connsiteX27" fmla="*/ 1670050 w 2851842"/>
                  <a:gd name="connsiteY27" fmla="*/ 228600 h 1270000"/>
                  <a:gd name="connsiteX28" fmla="*/ 1044575 w 2851842"/>
                  <a:gd name="connsiteY28" fmla="*/ 222250 h 1270000"/>
                  <a:gd name="connsiteX29" fmla="*/ 666750 w 2851842"/>
                  <a:gd name="connsiteY29" fmla="*/ 187325 h 1270000"/>
                  <a:gd name="connsiteX30" fmla="*/ 374650 w 2851842"/>
                  <a:gd name="connsiteY30" fmla="*/ 136525 h 1270000"/>
                  <a:gd name="connsiteX31" fmla="*/ 57150 w 2851842"/>
                  <a:gd name="connsiteY31" fmla="*/ 38100 h 1270000"/>
                  <a:gd name="connsiteX32" fmla="*/ 3175 w 2851842"/>
                  <a:gd name="connsiteY32" fmla="*/ 0 h 1270000"/>
                  <a:gd name="connsiteX0" fmla="*/ 3175 w 2851842"/>
                  <a:gd name="connsiteY0" fmla="*/ 0 h 1270000"/>
                  <a:gd name="connsiteX1" fmla="*/ 3175 w 2851842"/>
                  <a:gd name="connsiteY1" fmla="*/ 38100 h 1270000"/>
                  <a:gd name="connsiteX2" fmla="*/ 0 w 2851842"/>
                  <a:gd name="connsiteY2" fmla="*/ 111125 h 1270000"/>
                  <a:gd name="connsiteX3" fmla="*/ 3175 w 2851842"/>
                  <a:gd name="connsiteY3" fmla="*/ 793750 h 1270000"/>
                  <a:gd name="connsiteX4" fmla="*/ 9525 w 2851842"/>
                  <a:gd name="connsiteY4" fmla="*/ 1025525 h 1270000"/>
                  <a:gd name="connsiteX5" fmla="*/ 85725 w 2851842"/>
                  <a:gd name="connsiteY5" fmla="*/ 1082675 h 1270000"/>
                  <a:gd name="connsiteX6" fmla="*/ 203200 w 2851842"/>
                  <a:gd name="connsiteY6" fmla="*/ 1136650 h 1270000"/>
                  <a:gd name="connsiteX7" fmla="*/ 342900 w 2851842"/>
                  <a:gd name="connsiteY7" fmla="*/ 1165225 h 1270000"/>
                  <a:gd name="connsiteX8" fmla="*/ 695325 w 2851842"/>
                  <a:gd name="connsiteY8" fmla="*/ 1225550 h 1270000"/>
                  <a:gd name="connsiteX9" fmla="*/ 927100 w 2851842"/>
                  <a:gd name="connsiteY9" fmla="*/ 1247775 h 1270000"/>
                  <a:gd name="connsiteX10" fmla="*/ 1143000 w 2851842"/>
                  <a:gd name="connsiteY10" fmla="*/ 1260475 h 1270000"/>
                  <a:gd name="connsiteX11" fmla="*/ 1346200 w 2851842"/>
                  <a:gd name="connsiteY11" fmla="*/ 1270000 h 1270000"/>
                  <a:gd name="connsiteX12" fmla="*/ 1752600 w 2851842"/>
                  <a:gd name="connsiteY12" fmla="*/ 1257300 h 1270000"/>
                  <a:gd name="connsiteX13" fmla="*/ 2003425 w 2851842"/>
                  <a:gd name="connsiteY13" fmla="*/ 1238250 h 1270000"/>
                  <a:gd name="connsiteX14" fmla="*/ 2162175 w 2851842"/>
                  <a:gd name="connsiteY14" fmla="*/ 1231900 h 1270000"/>
                  <a:gd name="connsiteX15" fmla="*/ 2397125 w 2851842"/>
                  <a:gd name="connsiteY15" fmla="*/ 1190625 h 1270000"/>
                  <a:gd name="connsiteX16" fmla="*/ 2667000 w 2851842"/>
                  <a:gd name="connsiteY16" fmla="*/ 1130300 h 1270000"/>
                  <a:gd name="connsiteX17" fmla="*/ 2841625 w 2851842"/>
                  <a:gd name="connsiteY17" fmla="*/ 1038225 h 1270000"/>
                  <a:gd name="connsiteX18" fmla="*/ 2844800 w 2851842"/>
                  <a:gd name="connsiteY18" fmla="*/ 692150 h 1270000"/>
                  <a:gd name="connsiteX19" fmla="*/ 2838450 w 2851842"/>
                  <a:gd name="connsiteY19" fmla="*/ 641350 h 1270000"/>
                  <a:gd name="connsiteX20" fmla="*/ 2828925 w 2851842"/>
                  <a:gd name="connsiteY20" fmla="*/ 384175 h 1270000"/>
                  <a:gd name="connsiteX21" fmla="*/ 2838450 w 2851842"/>
                  <a:gd name="connsiteY21" fmla="*/ 161925 h 1270000"/>
                  <a:gd name="connsiteX22" fmla="*/ 2825750 w 2851842"/>
                  <a:gd name="connsiteY22" fmla="*/ 19050 h 1270000"/>
                  <a:gd name="connsiteX23" fmla="*/ 2720975 w 2851842"/>
                  <a:gd name="connsiteY23" fmla="*/ 69850 h 1270000"/>
                  <a:gd name="connsiteX24" fmla="*/ 2520950 w 2851842"/>
                  <a:gd name="connsiteY24" fmla="*/ 123825 h 1270000"/>
                  <a:gd name="connsiteX25" fmla="*/ 2146300 w 2851842"/>
                  <a:gd name="connsiteY25" fmla="*/ 190500 h 1270000"/>
                  <a:gd name="connsiteX26" fmla="*/ 1670050 w 2851842"/>
                  <a:gd name="connsiteY26" fmla="*/ 228600 h 1270000"/>
                  <a:gd name="connsiteX27" fmla="*/ 1044575 w 2851842"/>
                  <a:gd name="connsiteY27" fmla="*/ 222250 h 1270000"/>
                  <a:gd name="connsiteX28" fmla="*/ 666750 w 2851842"/>
                  <a:gd name="connsiteY28" fmla="*/ 187325 h 1270000"/>
                  <a:gd name="connsiteX29" fmla="*/ 374650 w 2851842"/>
                  <a:gd name="connsiteY29" fmla="*/ 136525 h 1270000"/>
                  <a:gd name="connsiteX30" fmla="*/ 57150 w 2851842"/>
                  <a:gd name="connsiteY30" fmla="*/ 38100 h 1270000"/>
                  <a:gd name="connsiteX31" fmla="*/ 3175 w 2851842"/>
                  <a:gd name="connsiteY31" fmla="*/ 0 h 127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851842" h="1270000">
                    <a:moveTo>
                      <a:pt x="3175" y="0"/>
                    </a:moveTo>
                    <a:cubicBezTo>
                      <a:pt x="3175" y="3175"/>
                      <a:pt x="5538" y="2656"/>
                      <a:pt x="3175" y="38100"/>
                    </a:cubicBezTo>
                    <a:cubicBezTo>
                      <a:pt x="1554" y="62411"/>
                      <a:pt x="1058" y="86783"/>
                      <a:pt x="0" y="111125"/>
                    </a:cubicBezTo>
                    <a:cubicBezTo>
                      <a:pt x="1058" y="338667"/>
                      <a:pt x="6689" y="566233"/>
                      <a:pt x="3175" y="793750"/>
                    </a:cubicBezTo>
                    <a:cubicBezTo>
                      <a:pt x="1588" y="944562"/>
                      <a:pt x="-4233" y="977371"/>
                      <a:pt x="9525" y="1025525"/>
                    </a:cubicBezTo>
                    <a:cubicBezTo>
                      <a:pt x="23283" y="1073679"/>
                      <a:pt x="53446" y="1064154"/>
                      <a:pt x="85725" y="1082675"/>
                    </a:cubicBezTo>
                    <a:cubicBezTo>
                      <a:pt x="118004" y="1101196"/>
                      <a:pt x="160338" y="1122892"/>
                      <a:pt x="203200" y="1136650"/>
                    </a:cubicBezTo>
                    <a:cubicBezTo>
                      <a:pt x="246062" y="1150408"/>
                      <a:pt x="260879" y="1150408"/>
                      <a:pt x="342900" y="1165225"/>
                    </a:cubicBezTo>
                    <a:cubicBezTo>
                      <a:pt x="424921" y="1180042"/>
                      <a:pt x="597958" y="1211792"/>
                      <a:pt x="695325" y="1225550"/>
                    </a:cubicBezTo>
                    <a:cubicBezTo>
                      <a:pt x="792692" y="1239308"/>
                      <a:pt x="852488" y="1241954"/>
                      <a:pt x="927100" y="1247775"/>
                    </a:cubicBezTo>
                    <a:cubicBezTo>
                      <a:pt x="1001713" y="1253596"/>
                      <a:pt x="1073150" y="1256771"/>
                      <a:pt x="1143000" y="1260475"/>
                    </a:cubicBezTo>
                    <a:cubicBezTo>
                      <a:pt x="1198731" y="1264762"/>
                      <a:pt x="1314141" y="1269116"/>
                      <a:pt x="1346200" y="1270000"/>
                    </a:cubicBezTo>
                    <a:lnTo>
                      <a:pt x="1752600" y="1257300"/>
                    </a:lnTo>
                    <a:cubicBezTo>
                      <a:pt x="1810808" y="1250950"/>
                      <a:pt x="1935163" y="1242483"/>
                      <a:pt x="2003425" y="1238250"/>
                    </a:cubicBezTo>
                    <a:cubicBezTo>
                      <a:pt x="2071687" y="1234017"/>
                      <a:pt x="2124075" y="1237721"/>
                      <a:pt x="2162175" y="1231900"/>
                    </a:cubicBezTo>
                    <a:lnTo>
                      <a:pt x="2397125" y="1190625"/>
                    </a:lnTo>
                    <a:cubicBezTo>
                      <a:pt x="2469621" y="1178454"/>
                      <a:pt x="2603500" y="1157287"/>
                      <a:pt x="2667000" y="1130300"/>
                    </a:cubicBezTo>
                    <a:lnTo>
                      <a:pt x="2841625" y="1038225"/>
                    </a:lnTo>
                    <a:cubicBezTo>
                      <a:pt x="2857067" y="891527"/>
                      <a:pt x="2852345" y="958738"/>
                      <a:pt x="2844800" y="692150"/>
                    </a:cubicBezTo>
                    <a:cubicBezTo>
                      <a:pt x="2844317" y="675092"/>
                      <a:pt x="2841096" y="692679"/>
                      <a:pt x="2838450" y="641350"/>
                    </a:cubicBezTo>
                    <a:cubicBezTo>
                      <a:pt x="2835804" y="590021"/>
                      <a:pt x="2828925" y="464079"/>
                      <a:pt x="2828925" y="384175"/>
                    </a:cubicBezTo>
                    <a:cubicBezTo>
                      <a:pt x="2828925" y="304271"/>
                      <a:pt x="2838979" y="222779"/>
                      <a:pt x="2838450" y="161925"/>
                    </a:cubicBezTo>
                    <a:cubicBezTo>
                      <a:pt x="2837921" y="101071"/>
                      <a:pt x="2845329" y="34396"/>
                      <a:pt x="2825750" y="19050"/>
                    </a:cubicBezTo>
                    <a:cubicBezTo>
                      <a:pt x="2806171" y="3704"/>
                      <a:pt x="2771775" y="52388"/>
                      <a:pt x="2720975" y="69850"/>
                    </a:cubicBezTo>
                    <a:cubicBezTo>
                      <a:pt x="2670175" y="87312"/>
                      <a:pt x="2618317" y="103717"/>
                      <a:pt x="2520950" y="123825"/>
                    </a:cubicBezTo>
                    <a:cubicBezTo>
                      <a:pt x="2423583" y="143933"/>
                      <a:pt x="2288117" y="173038"/>
                      <a:pt x="2146300" y="190500"/>
                    </a:cubicBezTo>
                    <a:cubicBezTo>
                      <a:pt x="2004483" y="207963"/>
                      <a:pt x="1851025" y="222250"/>
                      <a:pt x="1670050" y="228600"/>
                    </a:cubicBezTo>
                    <a:lnTo>
                      <a:pt x="1044575" y="222250"/>
                    </a:lnTo>
                    <a:cubicBezTo>
                      <a:pt x="978958" y="215371"/>
                      <a:pt x="778404" y="201613"/>
                      <a:pt x="666750" y="187325"/>
                    </a:cubicBezTo>
                    <a:cubicBezTo>
                      <a:pt x="555096" y="173038"/>
                      <a:pt x="476250" y="161396"/>
                      <a:pt x="374650" y="136525"/>
                    </a:cubicBezTo>
                    <a:cubicBezTo>
                      <a:pt x="198967" y="106892"/>
                      <a:pt x="123296" y="59267"/>
                      <a:pt x="57150" y="38100"/>
                    </a:cubicBezTo>
                    <a:cubicBezTo>
                      <a:pt x="-4763" y="15346"/>
                      <a:pt x="12171" y="0"/>
                      <a:pt x="3175" y="0"/>
                    </a:cubicBezTo>
                    <a:close/>
                  </a:path>
                </a:pathLst>
              </a:custGeom>
              <a:ln w="12700"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endParaRPr lang="da-DK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5350C2ED-6D03-E814-38F8-C7919FB712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991215"/>
              </p:ext>
            </p:extLst>
          </p:nvPr>
        </p:nvGraphicFramePr>
        <p:xfrm>
          <a:off x="2232741" y="5504716"/>
          <a:ext cx="8128000" cy="703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7" name="Rektangel 16">
            <a:extLst>
              <a:ext uri="{FF2B5EF4-FFF2-40B4-BE49-F238E27FC236}">
                <a16:creationId xmlns:a16="http://schemas.microsoft.com/office/drawing/2014/main" id="{1C471711-B5A4-758D-613C-D4E4FE2BBAD9}"/>
              </a:ext>
            </a:extLst>
          </p:cNvPr>
          <p:cNvSpPr/>
          <p:nvPr/>
        </p:nvSpPr>
        <p:spPr>
          <a:xfrm>
            <a:off x="10000034" y="5514445"/>
            <a:ext cx="544749" cy="685670"/>
          </a:xfrm>
          <a:prstGeom prst="rect">
            <a:avLst/>
          </a:prstGeom>
          <a:solidFill>
            <a:srgbClr val="339C9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/>
          </a:p>
        </p:txBody>
      </p:sp>
      <p:sp>
        <p:nvSpPr>
          <p:cNvPr id="18" name="Tekstfelt 9">
            <a:extLst>
              <a:ext uri="{FF2B5EF4-FFF2-40B4-BE49-F238E27FC236}">
                <a16:creationId xmlns:a16="http://schemas.microsoft.com/office/drawing/2014/main" id="{1F773F98-BBCE-8245-3B37-324F44C0E0F2}"/>
              </a:ext>
            </a:extLst>
          </p:cNvPr>
          <p:cNvSpPr txBox="1"/>
          <p:nvPr/>
        </p:nvSpPr>
        <p:spPr>
          <a:xfrm>
            <a:off x="464821" y="5812431"/>
            <a:ext cx="2142092" cy="215444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da-DK" sz="1400"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Fundamentet</a:t>
            </a:r>
            <a:endParaRPr lang="da-DK" sz="14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9" name="Freeform: Shape 157">
            <a:extLst>
              <a:ext uri="{FF2B5EF4-FFF2-40B4-BE49-F238E27FC236}">
                <a16:creationId xmlns:a16="http://schemas.microsoft.com/office/drawing/2014/main" id="{FFF7A4FB-9293-76D2-29F7-2AC2EA2E4A77}"/>
              </a:ext>
            </a:extLst>
          </p:cNvPr>
          <p:cNvSpPr/>
          <p:nvPr/>
        </p:nvSpPr>
        <p:spPr>
          <a:xfrm rot="11137881">
            <a:off x="1722182" y="5874715"/>
            <a:ext cx="382083" cy="216490"/>
          </a:xfrm>
          <a:custGeom>
            <a:avLst/>
            <a:gdLst>
              <a:gd name="connsiteX0" fmla="*/ 743273 w 743273"/>
              <a:gd name="connsiteY0" fmla="*/ 30315 h 211028"/>
              <a:gd name="connsiteX1" fmla="*/ 127659 w 743273"/>
              <a:gd name="connsiteY1" fmla="*/ 141554 h 211028"/>
              <a:gd name="connsiteX2" fmla="*/ 1618 w 743273"/>
              <a:gd name="connsiteY2" fmla="*/ 176975 h 211028"/>
              <a:gd name="connsiteX3" fmla="*/ 209441 w 743273"/>
              <a:gd name="connsiteY3" fmla="*/ 203105 h 211028"/>
              <a:gd name="connsiteX4" fmla="*/ 5339 w 743273"/>
              <a:gd name="connsiteY4" fmla="*/ 190856 h 211028"/>
              <a:gd name="connsiteX5" fmla="*/ 54546 w 743273"/>
              <a:gd name="connsiteY5" fmla="*/ 146266 h 211028"/>
              <a:gd name="connsiteX6" fmla="*/ 162457 w 743273"/>
              <a:gd name="connsiteY6" fmla="*/ 0 h 211028"/>
              <a:gd name="connsiteX0" fmla="*/ 285363 w 285363"/>
              <a:gd name="connsiteY0" fmla="*/ 109293 h 211028"/>
              <a:gd name="connsiteX1" fmla="*/ 127659 w 285363"/>
              <a:gd name="connsiteY1" fmla="*/ 141554 h 211028"/>
              <a:gd name="connsiteX2" fmla="*/ 1618 w 285363"/>
              <a:gd name="connsiteY2" fmla="*/ 176975 h 211028"/>
              <a:gd name="connsiteX3" fmla="*/ 209441 w 285363"/>
              <a:gd name="connsiteY3" fmla="*/ 203105 h 211028"/>
              <a:gd name="connsiteX4" fmla="*/ 5339 w 285363"/>
              <a:gd name="connsiteY4" fmla="*/ 190856 h 211028"/>
              <a:gd name="connsiteX5" fmla="*/ 54546 w 285363"/>
              <a:gd name="connsiteY5" fmla="*/ 146266 h 211028"/>
              <a:gd name="connsiteX6" fmla="*/ 162457 w 285363"/>
              <a:gd name="connsiteY6" fmla="*/ 0 h 211028"/>
              <a:gd name="connsiteX0" fmla="*/ 285363 w 285363"/>
              <a:gd name="connsiteY0" fmla="*/ 109293 h 211028"/>
              <a:gd name="connsiteX1" fmla="*/ 1618 w 285363"/>
              <a:gd name="connsiteY1" fmla="*/ 176975 h 211028"/>
              <a:gd name="connsiteX2" fmla="*/ 209441 w 285363"/>
              <a:gd name="connsiteY2" fmla="*/ 203105 h 211028"/>
              <a:gd name="connsiteX3" fmla="*/ 5339 w 285363"/>
              <a:gd name="connsiteY3" fmla="*/ 190856 h 211028"/>
              <a:gd name="connsiteX4" fmla="*/ 54546 w 285363"/>
              <a:gd name="connsiteY4" fmla="*/ 146266 h 211028"/>
              <a:gd name="connsiteX5" fmla="*/ 162457 w 285363"/>
              <a:gd name="connsiteY5" fmla="*/ 0 h 21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5363" h="211028">
                <a:moveTo>
                  <a:pt x="285363" y="109293"/>
                </a:moveTo>
                <a:cubicBezTo>
                  <a:pt x="226250" y="123393"/>
                  <a:pt x="14272" y="161340"/>
                  <a:pt x="1618" y="176975"/>
                </a:cubicBezTo>
                <a:cubicBezTo>
                  <a:pt x="-11036" y="192610"/>
                  <a:pt x="150920" y="177464"/>
                  <a:pt x="209441" y="203105"/>
                </a:cubicBezTo>
                <a:cubicBezTo>
                  <a:pt x="271868" y="230454"/>
                  <a:pt x="72097" y="177114"/>
                  <a:pt x="5339" y="190856"/>
                </a:cubicBezTo>
                <a:cubicBezTo>
                  <a:pt x="-18791" y="195821"/>
                  <a:pt x="46208" y="152927"/>
                  <a:pt x="54546" y="146266"/>
                </a:cubicBezTo>
                <a:cubicBezTo>
                  <a:pt x="104329" y="106483"/>
                  <a:pt x="131076" y="54350"/>
                  <a:pt x="162457" y="0"/>
                </a:cubicBezTo>
              </a:path>
            </a:pathLst>
          </a:custGeom>
          <a:noFill/>
          <a:ln w="19050" cap="rnd">
            <a:solidFill>
              <a:srgbClr val="005950"/>
            </a:solidFill>
            <a:prstDash val="solid"/>
            <a:miter/>
          </a:ln>
        </p:spPr>
        <p:txBody>
          <a:bodyPr rtlCol="0" anchor="ctr"/>
          <a:lstStyle/>
          <a:p>
            <a:endParaRPr lang="da-DK"/>
          </a:p>
        </p:txBody>
      </p:sp>
      <p:sp>
        <p:nvSpPr>
          <p:cNvPr id="111" name="Rektangel 110">
            <a:extLst>
              <a:ext uri="{FF2B5EF4-FFF2-40B4-BE49-F238E27FC236}">
                <a16:creationId xmlns:a16="http://schemas.microsoft.com/office/drawing/2014/main" id="{36E2C380-2D9D-7ACF-FF93-3DF4E12E6F70}"/>
              </a:ext>
            </a:extLst>
          </p:cNvPr>
          <p:cNvSpPr/>
          <p:nvPr/>
        </p:nvSpPr>
        <p:spPr>
          <a:xfrm rot="16200000">
            <a:off x="3333821" y="3990142"/>
            <a:ext cx="1602935" cy="338554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>
                <a:gd name="adj" fmla="val 8297582"/>
              </a:avLst>
            </a:prstTxWarp>
            <a:spAutoFit/>
          </a:bodyPr>
          <a:lstStyle/>
          <a:p>
            <a:pPr algn="ctr"/>
            <a:r>
              <a:rPr lang="da-DK" sz="1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Vidensdeling</a:t>
            </a:r>
          </a:p>
        </p:txBody>
      </p:sp>
      <p:sp>
        <p:nvSpPr>
          <p:cNvPr id="112" name="Rektangel 111">
            <a:extLst>
              <a:ext uri="{FF2B5EF4-FFF2-40B4-BE49-F238E27FC236}">
                <a16:creationId xmlns:a16="http://schemas.microsoft.com/office/drawing/2014/main" id="{9135472B-2225-D918-819F-2884074A6A59}"/>
              </a:ext>
            </a:extLst>
          </p:cNvPr>
          <p:cNvSpPr/>
          <p:nvPr/>
        </p:nvSpPr>
        <p:spPr>
          <a:xfrm rot="18721189">
            <a:off x="3886327" y="2465305"/>
            <a:ext cx="1602935" cy="338554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>
                <a:gd name="adj" fmla="val 8297582"/>
              </a:avLst>
            </a:prstTxWarp>
            <a:spAutoFit/>
          </a:bodyPr>
          <a:lstStyle/>
          <a:p>
            <a:pPr algn="ctr"/>
            <a:r>
              <a:rPr lang="da-DK" sz="1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Brugervenlighed</a:t>
            </a:r>
          </a:p>
        </p:txBody>
      </p:sp>
      <p:sp>
        <p:nvSpPr>
          <p:cNvPr id="113" name="Rektangel 112">
            <a:extLst>
              <a:ext uri="{FF2B5EF4-FFF2-40B4-BE49-F238E27FC236}">
                <a16:creationId xmlns:a16="http://schemas.microsoft.com/office/drawing/2014/main" id="{FC5848EA-EA31-494D-933A-8779AD3A4A20}"/>
              </a:ext>
            </a:extLst>
          </p:cNvPr>
          <p:cNvSpPr/>
          <p:nvPr/>
        </p:nvSpPr>
        <p:spPr>
          <a:xfrm>
            <a:off x="5363876" y="1802392"/>
            <a:ext cx="1871648" cy="309986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>
                <a:gd name="adj" fmla="val 8297582"/>
              </a:avLst>
            </a:prstTxWarp>
            <a:spAutoFit/>
          </a:bodyPr>
          <a:lstStyle/>
          <a:p>
            <a:pPr algn="ctr"/>
            <a:r>
              <a:rPr lang="da-DK" sz="1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Bred involvering</a:t>
            </a:r>
          </a:p>
        </p:txBody>
      </p:sp>
      <p:sp>
        <p:nvSpPr>
          <p:cNvPr id="1043" name="Rektangel 1042">
            <a:extLst>
              <a:ext uri="{FF2B5EF4-FFF2-40B4-BE49-F238E27FC236}">
                <a16:creationId xmlns:a16="http://schemas.microsoft.com/office/drawing/2014/main" id="{9CA322AB-A13C-E2F5-C310-F6F87BBF6092}"/>
              </a:ext>
            </a:extLst>
          </p:cNvPr>
          <p:cNvSpPr/>
          <p:nvPr/>
        </p:nvSpPr>
        <p:spPr>
          <a:xfrm rot="5400000">
            <a:off x="7461332" y="3974970"/>
            <a:ext cx="1735487" cy="338554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>
                <a:gd name="adj" fmla="val 8297582"/>
              </a:avLst>
            </a:prstTxWarp>
            <a:spAutoFit/>
          </a:bodyPr>
          <a:lstStyle/>
          <a:p>
            <a:pPr algn="ctr"/>
            <a:r>
              <a:rPr lang="da-DK" sz="160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Data færdigheder</a:t>
            </a:r>
          </a:p>
        </p:txBody>
      </p:sp>
      <p:sp>
        <p:nvSpPr>
          <p:cNvPr id="1045" name="Rektangel 1044">
            <a:extLst>
              <a:ext uri="{FF2B5EF4-FFF2-40B4-BE49-F238E27FC236}">
                <a16:creationId xmlns:a16="http://schemas.microsoft.com/office/drawing/2014/main" id="{AB0390AB-4BB9-44B3-3A64-A884DDF4E46A}"/>
              </a:ext>
            </a:extLst>
          </p:cNvPr>
          <p:cNvSpPr/>
          <p:nvPr/>
        </p:nvSpPr>
        <p:spPr>
          <a:xfrm rot="2701392">
            <a:off x="6982191" y="2462847"/>
            <a:ext cx="1602935" cy="338554"/>
          </a:xfrm>
          <a:prstGeom prst="rect">
            <a:avLst/>
          </a:prstGeom>
          <a:noFill/>
        </p:spPr>
        <p:txBody>
          <a:bodyPr wrap="none" lIns="91440" tIns="45720" rIns="91440" bIns="45720">
            <a:prstTxWarp prst="textArchUp">
              <a:avLst>
                <a:gd name="adj" fmla="val 8297582"/>
              </a:avLst>
            </a:prstTxWarp>
            <a:spAutoFit/>
          </a:bodyPr>
          <a:lstStyle/>
          <a:p>
            <a:pPr algn="ctr"/>
            <a:r>
              <a:rPr lang="da-DK" sz="160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Fælles sprog</a:t>
            </a:r>
          </a:p>
        </p:txBody>
      </p:sp>
      <p:sp>
        <p:nvSpPr>
          <p:cNvPr id="1046" name="Tekstfelt 9">
            <a:extLst>
              <a:ext uri="{FF2B5EF4-FFF2-40B4-BE49-F238E27FC236}">
                <a16:creationId xmlns:a16="http://schemas.microsoft.com/office/drawing/2014/main" id="{C6F8FA47-F521-FA2E-CC87-989C493FE062}"/>
              </a:ext>
            </a:extLst>
          </p:cNvPr>
          <p:cNvSpPr txBox="1"/>
          <p:nvPr/>
        </p:nvSpPr>
        <p:spPr>
          <a:xfrm>
            <a:off x="479924" y="2498474"/>
            <a:ext cx="2142092" cy="64633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da-DK" sz="1400"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Det er en fælles rejse, og slutdestinationen er uvis </a:t>
            </a:r>
            <a:endParaRPr lang="da-DK" sz="140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48" name="Freeform: Shape 157">
            <a:extLst>
              <a:ext uri="{FF2B5EF4-FFF2-40B4-BE49-F238E27FC236}">
                <a16:creationId xmlns:a16="http://schemas.microsoft.com/office/drawing/2014/main" id="{9FFDD465-38C0-1803-8842-2973796F41A3}"/>
              </a:ext>
            </a:extLst>
          </p:cNvPr>
          <p:cNvSpPr/>
          <p:nvPr/>
        </p:nvSpPr>
        <p:spPr>
          <a:xfrm rot="21268256" flipH="1">
            <a:off x="2691085" y="2555661"/>
            <a:ext cx="475099" cy="215896"/>
          </a:xfrm>
          <a:custGeom>
            <a:avLst/>
            <a:gdLst>
              <a:gd name="connsiteX0" fmla="*/ 743273 w 743273"/>
              <a:gd name="connsiteY0" fmla="*/ 30315 h 211028"/>
              <a:gd name="connsiteX1" fmla="*/ 127659 w 743273"/>
              <a:gd name="connsiteY1" fmla="*/ 141554 h 211028"/>
              <a:gd name="connsiteX2" fmla="*/ 1618 w 743273"/>
              <a:gd name="connsiteY2" fmla="*/ 176975 h 211028"/>
              <a:gd name="connsiteX3" fmla="*/ 209441 w 743273"/>
              <a:gd name="connsiteY3" fmla="*/ 203105 h 211028"/>
              <a:gd name="connsiteX4" fmla="*/ 5339 w 743273"/>
              <a:gd name="connsiteY4" fmla="*/ 190856 h 211028"/>
              <a:gd name="connsiteX5" fmla="*/ 54546 w 743273"/>
              <a:gd name="connsiteY5" fmla="*/ 146266 h 211028"/>
              <a:gd name="connsiteX6" fmla="*/ 162457 w 743273"/>
              <a:gd name="connsiteY6" fmla="*/ 0 h 211028"/>
              <a:gd name="connsiteX0" fmla="*/ 285363 w 285363"/>
              <a:gd name="connsiteY0" fmla="*/ 109293 h 211028"/>
              <a:gd name="connsiteX1" fmla="*/ 127659 w 285363"/>
              <a:gd name="connsiteY1" fmla="*/ 141554 h 211028"/>
              <a:gd name="connsiteX2" fmla="*/ 1618 w 285363"/>
              <a:gd name="connsiteY2" fmla="*/ 176975 h 211028"/>
              <a:gd name="connsiteX3" fmla="*/ 209441 w 285363"/>
              <a:gd name="connsiteY3" fmla="*/ 203105 h 211028"/>
              <a:gd name="connsiteX4" fmla="*/ 5339 w 285363"/>
              <a:gd name="connsiteY4" fmla="*/ 190856 h 211028"/>
              <a:gd name="connsiteX5" fmla="*/ 54546 w 285363"/>
              <a:gd name="connsiteY5" fmla="*/ 146266 h 211028"/>
              <a:gd name="connsiteX6" fmla="*/ 162457 w 285363"/>
              <a:gd name="connsiteY6" fmla="*/ 0 h 211028"/>
              <a:gd name="connsiteX0" fmla="*/ 285363 w 285363"/>
              <a:gd name="connsiteY0" fmla="*/ 109293 h 211028"/>
              <a:gd name="connsiteX1" fmla="*/ 1618 w 285363"/>
              <a:gd name="connsiteY1" fmla="*/ 176975 h 211028"/>
              <a:gd name="connsiteX2" fmla="*/ 209441 w 285363"/>
              <a:gd name="connsiteY2" fmla="*/ 203105 h 211028"/>
              <a:gd name="connsiteX3" fmla="*/ 5339 w 285363"/>
              <a:gd name="connsiteY3" fmla="*/ 190856 h 211028"/>
              <a:gd name="connsiteX4" fmla="*/ 54546 w 285363"/>
              <a:gd name="connsiteY4" fmla="*/ 146266 h 211028"/>
              <a:gd name="connsiteX5" fmla="*/ 162457 w 285363"/>
              <a:gd name="connsiteY5" fmla="*/ 0 h 21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5363" h="211028">
                <a:moveTo>
                  <a:pt x="285363" y="109293"/>
                </a:moveTo>
                <a:cubicBezTo>
                  <a:pt x="226250" y="123393"/>
                  <a:pt x="14272" y="161340"/>
                  <a:pt x="1618" y="176975"/>
                </a:cubicBezTo>
                <a:cubicBezTo>
                  <a:pt x="-11036" y="192610"/>
                  <a:pt x="150920" y="177464"/>
                  <a:pt x="209441" y="203105"/>
                </a:cubicBezTo>
                <a:cubicBezTo>
                  <a:pt x="271868" y="230454"/>
                  <a:pt x="72097" y="177114"/>
                  <a:pt x="5339" y="190856"/>
                </a:cubicBezTo>
                <a:cubicBezTo>
                  <a:pt x="-18791" y="195821"/>
                  <a:pt x="46208" y="152927"/>
                  <a:pt x="54546" y="146266"/>
                </a:cubicBezTo>
                <a:cubicBezTo>
                  <a:pt x="104329" y="106483"/>
                  <a:pt x="131076" y="54350"/>
                  <a:pt x="162457" y="0"/>
                </a:cubicBezTo>
              </a:path>
            </a:pathLst>
          </a:custGeom>
          <a:noFill/>
          <a:ln w="19050" cap="rnd">
            <a:solidFill>
              <a:srgbClr val="005950"/>
            </a:solidFill>
            <a:prstDash val="solid"/>
            <a:miter/>
          </a:ln>
        </p:spPr>
        <p:txBody>
          <a:bodyPr rtlCol="0" anchor="ctr"/>
          <a:lstStyle/>
          <a:p>
            <a:endParaRPr lang="da-DK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956666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FFE3472-9EBE-1C7F-D777-CECBA53FDC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:a16="http://schemas.microsoft.com/office/drawing/2014/main" id="{E7E6049D-E7CF-EA87-E5D8-25702A161B30}"/>
              </a:ext>
            </a:extLst>
          </p:cNvPr>
          <p:cNvSpPr/>
          <p:nvPr/>
        </p:nvSpPr>
        <p:spPr>
          <a:xfrm>
            <a:off x="1796854" y="4973934"/>
            <a:ext cx="4815998" cy="365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r>
              <a:rPr lang="da-DK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rioriterede målepunkter (næste side)</a:t>
            </a:r>
          </a:p>
        </p:txBody>
      </p: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B51E90A-7252-D62A-FA28-1AB9B68F93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9172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B51E90A-7252-D62A-FA28-1AB9B68F93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92805E7F-B89D-9A6A-7BB1-8CD9F698BE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 dirty="0"/>
              <a:t>Vejen mod vores første ESG-målepunkte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D0DFF767-430B-3EE5-3D3E-B0C4460490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7</a:t>
            </a:fld>
            <a:endParaRPr lang="da-DK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6C7B8AEC-FA85-586D-9A48-5FE2A4D890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8E0F96E6-6620-F321-8105-4B51ECBD854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a-DK" dirty="0"/>
              <a:t>Branchen har udvalgt målepunkterne gennem en grundig, metodisk proces 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E13DA68E-B02E-7CB7-9D2B-EBCAC48486FE}"/>
              </a:ext>
            </a:extLst>
          </p:cNvPr>
          <p:cNvSpPr/>
          <p:nvPr/>
        </p:nvSpPr>
        <p:spPr>
          <a:xfrm>
            <a:off x="-37278" y="1788606"/>
            <a:ext cx="11986382" cy="2844606"/>
          </a:xfrm>
          <a:custGeom>
            <a:avLst/>
            <a:gdLst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854110 w 11867103"/>
              <a:gd name="connsiteY4" fmla="*/ 50242 h 2964609"/>
              <a:gd name="connsiteX5" fmla="*/ 884255 w 11867103"/>
              <a:gd name="connsiteY5" fmla="*/ 60290 h 2964609"/>
              <a:gd name="connsiteX6" fmla="*/ 964642 w 11867103"/>
              <a:gd name="connsiteY6" fmla="*/ 70339 h 2964609"/>
              <a:gd name="connsiteX7" fmla="*/ 994787 w 11867103"/>
              <a:gd name="connsiteY7" fmla="*/ 80387 h 2964609"/>
              <a:gd name="connsiteX8" fmla="*/ 1356528 w 11867103"/>
              <a:gd name="connsiteY8" fmla="*/ 80387 h 2964609"/>
              <a:gd name="connsiteX9" fmla="*/ 1758462 w 11867103"/>
              <a:gd name="connsiteY9" fmla="*/ 40193 h 2964609"/>
              <a:gd name="connsiteX10" fmla="*/ 1889090 w 11867103"/>
              <a:gd name="connsiteY10" fmla="*/ 20097 h 2964609"/>
              <a:gd name="connsiteX11" fmla="*/ 2140299 w 11867103"/>
              <a:gd name="connsiteY11" fmla="*/ 40193 h 2964609"/>
              <a:gd name="connsiteX12" fmla="*/ 2200589 w 11867103"/>
              <a:gd name="connsiteY12" fmla="*/ 50242 h 2964609"/>
              <a:gd name="connsiteX13" fmla="*/ 4652387 w 11867103"/>
              <a:gd name="connsiteY13" fmla="*/ 60290 h 2964609"/>
              <a:gd name="connsiteX14" fmla="*/ 4692580 w 11867103"/>
              <a:gd name="connsiteY14" fmla="*/ 70339 h 2964609"/>
              <a:gd name="connsiteX15" fmla="*/ 4843306 w 11867103"/>
              <a:gd name="connsiteY15" fmla="*/ 90435 h 2964609"/>
              <a:gd name="connsiteX16" fmla="*/ 5677319 w 11867103"/>
              <a:gd name="connsiteY16" fmla="*/ 80387 h 2964609"/>
              <a:gd name="connsiteX17" fmla="*/ 6169688 w 11867103"/>
              <a:gd name="connsiteY17" fmla="*/ 110532 h 2964609"/>
              <a:gd name="connsiteX18" fmla="*/ 6420897 w 11867103"/>
              <a:gd name="connsiteY18" fmla="*/ 90435 h 2964609"/>
              <a:gd name="connsiteX19" fmla="*/ 6511332 w 11867103"/>
              <a:gd name="connsiteY19" fmla="*/ 30145 h 2964609"/>
              <a:gd name="connsiteX20" fmla="*/ 6571622 w 11867103"/>
              <a:gd name="connsiteY20" fmla="*/ 20097 h 2964609"/>
              <a:gd name="connsiteX21" fmla="*/ 6641961 w 11867103"/>
              <a:gd name="connsiteY21" fmla="*/ 0 h 2964609"/>
              <a:gd name="connsiteX22" fmla="*/ 7204668 w 11867103"/>
              <a:gd name="connsiteY22" fmla="*/ 10048 h 2964609"/>
              <a:gd name="connsiteX23" fmla="*/ 7285055 w 11867103"/>
              <a:gd name="connsiteY23" fmla="*/ 30145 h 2964609"/>
              <a:gd name="connsiteX24" fmla="*/ 7375490 w 11867103"/>
              <a:gd name="connsiteY24" fmla="*/ 40193 h 2964609"/>
              <a:gd name="connsiteX25" fmla="*/ 7928150 w 11867103"/>
              <a:gd name="connsiteY25" fmla="*/ 60290 h 2964609"/>
              <a:gd name="connsiteX26" fmla="*/ 8109020 w 11867103"/>
              <a:gd name="connsiteY26" fmla="*/ 80387 h 2964609"/>
              <a:gd name="connsiteX27" fmla="*/ 8219552 w 11867103"/>
              <a:gd name="connsiteY27" fmla="*/ 90435 h 2964609"/>
              <a:gd name="connsiteX28" fmla="*/ 8299939 w 11867103"/>
              <a:gd name="connsiteY28" fmla="*/ 100484 h 2964609"/>
              <a:gd name="connsiteX29" fmla="*/ 8521002 w 11867103"/>
              <a:gd name="connsiteY29" fmla="*/ 110532 h 2964609"/>
              <a:gd name="connsiteX30" fmla="*/ 9515789 w 11867103"/>
              <a:gd name="connsiteY30" fmla="*/ 100484 h 2964609"/>
              <a:gd name="connsiteX31" fmla="*/ 9606224 w 11867103"/>
              <a:gd name="connsiteY31" fmla="*/ 90435 h 2964609"/>
              <a:gd name="connsiteX32" fmla="*/ 9716756 w 11867103"/>
              <a:gd name="connsiteY32" fmla="*/ 80387 h 2964609"/>
              <a:gd name="connsiteX33" fmla="*/ 9797143 w 11867103"/>
              <a:gd name="connsiteY33" fmla="*/ 70339 h 2964609"/>
              <a:gd name="connsiteX34" fmla="*/ 9947868 w 11867103"/>
              <a:gd name="connsiteY34" fmla="*/ 60290 h 2964609"/>
              <a:gd name="connsiteX35" fmla="*/ 10791930 w 11867103"/>
              <a:gd name="connsiteY35" fmla="*/ 30145 h 2964609"/>
              <a:gd name="connsiteX36" fmla="*/ 11736475 w 11867103"/>
              <a:gd name="connsiteY36" fmla="*/ 50242 h 2964609"/>
              <a:gd name="connsiteX37" fmla="*/ 11766620 w 11867103"/>
              <a:gd name="connsiteY37" fmla="*/ 80387 h 2964609"/>
              <a:gd name="connsiteX38" fmla="*/ 11786717 w 11867103"/>
              <a:gd name="connsiteY38" fmla="*/ 120580 h 2964609"/>
              <a:gd name="connsiteX39" fmla="*/ 11806813 w 11867103"/>
              <a:gd name="connsiteY39" fmla="*/ 211015 h 2964609"/>
              <a:gd name="connsiteX40" fmla="*/ 11816862 w 11867103"/>
              <a:gd name="connsiteY40" fmla="*/ 251209 h 2964609"/>
              <a:gd name="connsiteX41" fmla="*/ 11826910 w 11867103"/>
              <a:gd name="connsiteY41" fmla="*/ 341644 h 2964609"/>
              <a:gd name="connsiteX42" fmla="*/ 11836958 w 11867103"/>
              <a:gd name="connsiteY42" fmla="*/ 422031 h 2964609"/>
              <a:gd name="connsiteX43" fmla="*/ 11826910 w 11867103"/>
              <a:gd name="connsiteY43" fmla="*/ 733530 h 2964609"/>
              <a:gd name="connsiteX44" fmla="*/ 11816862 w 11867103"/>
              <a:gd name="connsiteY44" fmla="*/ 793820 h 2964609"/>
              <a:gd name="connsiteX45" fmla="*/ 11806813 w 11867103"/>
              <a:gd name="connsiteY45" fmla="*/ 864158 h 2964609"/>
              <a:gd name="connsiteX46" fmla="*/ 11816862 w 11867103"/>
              <a:gd name="connsiteY46" fmla="*/ 2331218 h 2964609"/>
              <a:gd name="connsiteX47" fmla="*/ 11826910 w 11867103"/>
              <a:gd name="connsiteY47" fmla="*/ 2401556 h 2964609"/>
              <a:gd name="connsiteX48" fmla="*/ 11836958 w 11867103"/>
              <a:gd name="connsiteY48" fmla="*/ 2431701 h 2964609"/>
              <a:gd name="connsiteX49" fmla="*/ 11857055 w 11867103"/>
              <a:gd name="connsiteY49" fmla="*/ 2562330 h 2964609"/>
              <a:gd name="connsiteX50" fmla="*/ 11867103 w 11867103"/>
              <a:gd name="connsiteY50" fmla="*/ 2602523 h 2964609"/>
              <a:gd name="connsiteX51" fmla="*/ 11857055 w 11867103"/>
              <a:gd name="connsiteY51" fmla="*/ 2833635 h 2964609"/>
              <a:gd name="connsiteX52" fmla="*/ 11836958 w 11867103"/>
              <a:gd name="connsiteY52" fmla="*/ 2863780 h 2964609"/>
              <a:gd name="connsiteX53" fmla="*/ 11033090 w 11867103"/>
              <a:gd name="connsiteY53" fmla="*/ 2853732 h 2964609"/>
              <a:gd name="connsiteX54" fmla="*/ 10621108 w 11867103"/>
              <a:gd name="connsiteY54" fmla="*/ 2843684 h 2964609"/>
              <a:gd name="connsiteX55" fmla="*/ 10128739 w 11867103"/>
              <a:gd name="connsiteY55" fmla="*/ 2853732 h 2964609"/>
              <a:gd name="connsiteX56" fmla="*/ 10048352 w 11867103"/>
              <a:gd name="connsiteY56" fmla="*/ 2863780 h 2964609"/>
              <a:gd name="connsiteX57" fmla="*/ 9555982 w 11867103"/>
              <a:gd name="connsiteY57" fmla="*/ 2853732 h 2964609"/>
              <a:gd name="connsiteX58" fmla="*/ 9445451 w 11867103"/>
              <a:gd name="connsiteY58" fmla="*/ 2843684 h 2964609"/>
              <a:gd name="connsiteX59" fmla="*/ 9415306 w 11867103"/>
              <a:gd name="connsiteY59" fmla="*/ 2823587 h 2964609"/>
              <a:gd name="connsiteX60" fmla="*/ 9204290 w 11867103"/>
              <a:gd name="connsiteY60" fmla="*/ 2803490 h 2964609"/>
              <a:gd name="connsiteX61" fmla="*/ 9073662 w 11867103"/>
              <a:gd name="connsiteY61" fmla="*/ 2783393 h 2964609"/>
              <a:gd name="connsiteX62" fmla="*/ 8812404 w 11867103"/>
              <a:gd name="connsiteY62" fmla="*/ 2773345 h 2964609"/>
              <a:gd name="connsiteX63" fmla="*/ 8400422 w 11867103"/>
              <a:gd name="connsiteY63" fmla="*/ 2763297 h 2964609"/>
              <a:gd name="connsiteX64" fmla="*/ 8269793 w 11867103"/>
              <a:gd name="connsiteY64" fmla="*/ 2753248 h 2964609"/>
              <a:gd name="connsiteX65" fmla="*/ 7797521 w 11867103"/>
              <a:gd name="connsiteY65" fmla="*/ 2773345 h 2964609"/>
              <a:gd name="connsiteX66" fmla="*/ 7717134 w 11867103"/>
              <a:gd name="connsiteY66" fmla="*/ 2783393 h 2964609"/>
              <a:gd name="connsiteX67" fmla="*/ 7486022 w 11867103"/>
              <a:gd name="connsiteY67" fmla="*/ 2813539 h 2964609"/>
              <a:gd name="connsiteX68" fmla="*/ 7395587 w 11867103"/>
              <a:gd name="connsiteY68" fmla="*/ 2833635 h 2964609"/>
              <a:gd name="connsiteX69" fmla="*/ 7325248 w 11867103"/>
              <a:gd name="connsiteY69" fmla="*/ 2843684 h 2964609"/>
              <a:gd name="connsiteX70" fmla="*/ 6863024 w 11867103"/>
              <a:gd name="connsiteY70" fmla="*/ 2833635 h 2964609"/>
              <a:gd name="connsiteX71" fmla="*/ 6722347 w 11867103"/>
              <a:gd name="connsiteY71" fmla="*/ 2823587 h 2964609"/>
              <a:gd name="connsiteX72" fmla="*/ 4903596 w 11867103"/>
              <a:gd name="connsiteY72" fmla="*/ 2873829 h 2964609"/>
              <a:gd name="connsiteX73" fmla="*/ 4722725 w 11867103"/>
              <a:gd name="connsiteY73" fmla="*/ 2914022 h 2964609"/>
              <a:gd name="connsiteX74" fmla="*/ 4300695 w 11867103"/>
              <a:gd name="connsiteY74" fmla="*/ 2893925 h 2964609"/>
              <a:gd name="connsiteX75" fmla="*/ 4059534 w 11867103"/>
              <a:gd name="connsiteY75" fmla="*/ 2853732 h 2964609"/>
              <a:gd name="connsiteX76" fmla="*/ 3768132 w 11867103"/>
              <a:gd name="connsiteY76" fmla="*/ 2823587 h 2964609"/>
              <a:gd name="connsiteX77" fmla="*/ 3627455 w 11867103"/>
              <a:gd name="connsiteY77" fmla="*/ 2813539 h 2964609"/>
              <a:gd name="connsiteX78" fmla="*/ 3125037 w 11867103"/>
              <a:gd name="connsiteY78" fmla="*/ 2823587 h 2964609"/>
              <a:gd name="connsiteX79" fmla="*/ 3064747 w 11867103"/>
              <a:gd name="connsiteY79" fmla="*/ 2833635 h 2964609"/>
              <a:gd name="connsiteX80" fmla="*/ 2009670 w 11867103"/>
              <a:gd name="connsiteY80" fmla="*/ 2843684 h 2964609"/>
              <a:gd name="connsiteX81" fmla="*/ 1678075 w 11867103"/>
              <a:gd name="connsiteY81" fmla="*/ 2934119 h 2964609"/>
              <a:gd name="connsiteX82" fmla="*/ 1607736 w 11867103"/>
              <a:gd name="connsiteY82" fmla="*/ 2964264 h 2964609"/>
              <a:gd name="connsiteX83" fmla="*/ 1135464 w 11867103"/>
              <a:gd name="connsiteY83" fmla="*/ 2944167 h 2964609"/>
              <a:gd name="connsiteX84" fmla="*/ 944545 w 11867103"/>
              <a:gd name="connsiteY84" fmla="*/ 2914022 h 2964609"/>
              <a:gd name="connsiteX85" fmla="*/ 723481 w 11867103"/>
              <a:gd name="connsiteY85" fmla="*/ 2873829 h 2964609"/>
              <a:gd name="connsiteX86" fmla="*/ 643095 w 11867103"/>
              <a:gd name="connsiteY86" fmla="*/ 2863780 h 2964609"/>
              <a:gd name="connsiteX87" fmla="*/ 371789 w 11867103"/>
              <a:gd name="connsiteY87" fmla="*/ 2823587 h 2964609"/>
              <a:gd name="connsiteX88" fmla="*/ 0 w 11867103"/>
              <a:gd name="connsiteY88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854110 w 11867103"/>
              <a:gd name="connsiteY4" fmla="*/ 50242 h 2964609"/>
              <a:gd name="connsiteX5" fmla="*/ 884255 w 11867103"/>
              <a:gd name="connsiteY5" fmla="*/ 60290 h 2964609"/>
              <a:gd name="connsiteX6" fmla="*/ 964642 w 11867103"/>
              <a:gd name="connsiteY6" fmla="*/ 70339 h 2964609"/>
              <a:gd name="connsiteX7" fmla="*/ 1356528 w 11867103"/>
              <a:gd name="connsiteY7" fmla="*/ 80387 h 2964609"/>
              <a:gd name="connsiteX8" fmla="*/ 1758462 w 11867103"/>
              <a:gd name="connsiteY8" fmla="*/ 40193 h 2964609"/>
              <a:gd name="connsiteX9" fmla="*/ 1889090 w 11867103"/>
              <a:gd name="connsiteY9" fmla="*/ 20097 h 2964609"/>
              <a:gd name="connsiteX10" fmla="*/ 2140299 w 11867103"/>
              <a:gd name="connsiteY10" fmla="*/ 40193 h 2964609"/>
              <a:gd name="connsiteX11" fmla="*/ 2200589 w 11867103"/>
              <a:gd name="connsiteY11" fmla="*/ 50242 h 2964609"/>
              <a:gd name="connsiteX12" fmla="*/ 4652387 w 11867103"/>
              <a:gd name="connsiteY12" fmla="*/ 60290 h 2964609"/>
              <a:gd name="connsiteX13" fmla="*/ 4692580 w 11867103"/>
              <a:gd name="connsiteY13" fmla="*/ 70339 h 2964609"/>
              <a:gd name="connsiteX14" fmla="*/ 4843306 w 11867103"/>
              <a:gd name="connsiteY14" fmla="*/ 90435 h 2964609"/>
              <a:gd name="connsiteX15" fmla="*/ 5677319 w 11867103"/>
              <a:gd name="connsiteY15" fmla="*/ 80387 h 2964609"/>
              <a:gd name="connsiteX16" fmla="*/ 6169688 w 11867103"/>
              <a:gd name="connsiteY16" fmla="*/ 110532 h 2964609"/>
              <a:gd name="connsiteX17" fmla="*/ 6420897 w 11867103"/>
              <a:gd name="connsiteY17" fmla="*/ 90435 h 2964609"/>
              <a:gd name="connsiteX18" fmla="*/ 6511332 w 11867103"/>
              <a:gd name="connsiteY18" fmla="*/ 30145 h 2964609"/>
              <a:gd name="connsiteX19" fmla="*/ 6571622 w 11867103"/>
              <a:gd name="connsiteY19" fmla="*/ 20097 h 2964609"/>
              <a:gd name="connsiteX20" fmla="*/ 6641961 w 11867103"/>
              <a:gd name="connsiteY20" fmla="*/ 0 h 2964609"/>
              <a:gd name="connsiteX21" fmla="*/ 7204668 w 11867103"/>
              <a:gd name="connsiteY21" fmla="*/ 10048 h 2964609"/>
              <a:gd name="connsiteX22" fmla="*/ 7285055 w 11867103"/>
              <a:gd name="connsiteY22" fmla="*/ 30145 h 2964609"/>
              <a:gd name="connsiteX23" fmla="*/ 7375490 w 11867103"/>
              <a:gd name="connsiteY23" fmla="*/ 40193 h 2964609"/>
              <a:gd name="connsiteX24" fmla="*/ 7928150 w 11867103"/>
              <a:gd name="connsiteY24" fmla="*/ 60290 h 2964609"/>
              <a:gd name="connsiteX25" fmla="*/ 8109020 w 11867103"/>
              <a:gd name="connsiteY25" fmla="*/ 80387 h 2964609"/>
              <a:gd name="connsiteX26" fmla="*/ 8219552 w 11867103"/>
              <a:gd name="connsiteY26" fmla="*/ 90435 h 2964609"/>
              <a:gd name="connsiteX27" fmla="*/ 8299939 w 11867103"/>
              <a:gd name="connsiteY27" fmla="*/ 100484 h 2964609"/>
              <a:gd name="connsiteX28" fmla="*/ 8521002 w 11867103"/>
              <a:gd name="connsiteY28" fmla="*/ 110532 h 2964609"/>
              <a:gd name="connsiteX29" fmla="*/ 9515789 w 11867103"/>
              <a:gd name="connsiteY29" fmla="*/ 100484 h 2964609"/>
              <a:gd name="connsiteX30" fmla="*/ 9606224 w 11867103"/>
              <a:gd name="connsiteY30" fmla="*/ 90435 h 2964609"/>
              <a:gd name="connsiteX31" fmla="*/ 9716756 w 11867103"/>
              <a:gd name="connsiteY31" fmla="*/ 80387 h 2964609"/>
              <a:gd name="connsiteX32" fmla="*/ 9797143 w 11867103"/>
              <a:gd name="connsiteY32" fmla="*/ 70339 h 2964609"/>
              <a:gd name="connsiteX33" fmla="*/ 9947868 w 11867103"/>
              <a:gd name="connsiteY33" fmla="*/ 60290 h 2964609"/>
              <a:gd name="connsiteX34" fmla="*/ 10791930 w 11867103"/>
              <a:gd name="connsiteY34" fmla="*/ 30145 h 2964609"/>
              <a:gd name="connsiteX35" fmla="*/ 11736475 w 11867103"/>
              <a:gd name="connsiteY35" fmla="*/ 50242 h 2964609"/>
              <a:gd name="connsiteX36" fmla="*/ 11766620 w 11867103"/>
              <a:gd name="connsiteY36" fmla="*/ 80387 h 2964609"/>
              <a:gd name="connsiteX37" fmla="*/ 11786717 w 11867103"/>
              <a:gd name="connsiteY37" fmla="*/ 120580 h 2964609"/>
              <a:gd name="connsiteX38" fmla="*/ 11806813 w 11867103"/>
              <a:gd name="connsiteY38" fmla="*/ 211015 h 2964609"/>
              <a:gd name="connsiteX39" fmla="*/ 11816862 w 11867103"/>
              <a:gd name="connsiteY39" fmla="*/ 251209 h 2964609"/>
              <a:gd name="connsiteX40" fmla="*/ 11826910 w 11867103"/>
              <a:gd name="connsiteY40" fmla="*/ 341644 h 2964609"/>
              <a:gd name="connsiteX41" fmla="*/ 11836958 w 11867103"/>
              <a:gd name="connsiteY41" fmla="*/ 422031 h 2964609"/>
              <a:gd name="connsiteX42" fmla="*/ 11826910 w 11867103"/>
              <a:gd name="connsiteY42" fmla="*/ 733530 h 2964609"/>
              <a:gd name="connsiteX43" fmla="*/ 11816862 w 11867103"/>
              <a:gd name="connsiteY43" fmla="*/ 793820 h 2964609"/>
              <a:gd name="connsiteX44" fmla="*/ 11806813 w 11867103"/>
              <a:gd name="connsiteY44" fmla="*/ 864158 h 2964609"/>
              <a:gd name="connsiteX45" fmla="*/ 11816862 w 11867103"/>
              <a:gd name="connsiteY45" fmla="*/ 2331218 h 2964609"/>
              <a:gd name="connsiteX46" fmla="*/ 11826910 w 11867103"/>
              <a:gd name="connsiteY46" fmla="*/ 2401556 h 2964609"/>
              <a:gd name="connsiteX47" fmla="*/ 11836958 w 11867103"/>
              <a:gd name="connsiteY47" fmla="*/ 2431701 h 2964609"/>
              <a:gd name="connsiteX48" fmla="*/ 11857055 w 11867103"/>
              <a:gd name="connsiteY48" fmla="*/ 2562330 h 2964609"/>
              <a:gd name="connsiteX49" fmla="*/ 11867103 w 11867103"/>
              <a:gd name="connsiteY49" fmla="*/ 2602523 h 2964609"/>
              <a:gd name="connsiteX50" fmla="*/ 11857055 w 11867103"/>
              <a:gd name="connsiteY50" fmla="*/ 2833635 h 2964609"/>
              <a:gd name="connsiteX51" fmla="*/ 11836958 w 11867103"/>
              <a:gd name="connsiteY51" fmla="*/ 2863780 h 2964609"/>
              <a:gd name="connsiteX52" fmla="*/ 11033090 w 11867103"/>
              <a:gd name="connsiteY52" fmla="*/ 2853732 h 2964609"/>
              <a:gd name="connsiteX53" fmla="*/ 10621108 w 11867103"/>
              <a:gd name="connsiteY53" fmla="*/ 2843684 h 2964609"/>
              <a:gd name="connsiteX54" fmla="*/ 10128739 w 11867103"/>
              <a:gd name="connsiteY54" fmla="*/ 2853732 h 2964609"/>
              <a:gd name="connsiteX55" fmla="*/ 10048352 w 11867103"/>
              <a:gd name="connsiteY55" fmla="*/ 2863780 h 2964609"/>
              <a:gd name="connsiteX56" fmla="*/ 9555982 w 11867103"/>
              <a:gd name="connsiteY56" fmla="*/ 2853732 h 2964609"/>
              <a:gd name="connsiteX57" fmla="*/ 9445451 w 11867103"/>
              <a:gd name="connsiteY57" fmla="*/ 2843684 h 2964609"/>
              <a:gd name="connsiteX58" fmla="*/ 9415306 w 11867103"/>
              <a:gd name="connsiteY58" fmla="*/ 2823587 h 2964609"/>
              <a:gd name="connsiteX59" fmla="*/ 9204290 w 11867103"/>
              <a:gd name="connsiteY59" fmla="*/ 2803490 h 2964609"/>
              <a:gd name="connsiteX60" fmla="*/ 9073662 w 11867103"/>
              <a:gd name="connsiteY60" fmla="*/ 2783393 h 2964609"/>
              <a:gd name="connsiteX61" fmla="*/ 8812404 w 11867103"/>
              <a:gd name="connsiteY61" fmla="*/ 2773345 h 2964609"/>
              <a:gd name="connsiteX62" fmla="*/ 8400422 w 11867103"/>
              <a:gd name="connsiteY62" fmla="*/ 2763297 h 2964609"/>
              <a:gd name="connsiteX63" fmla="*/ 8269793 w 11867103"/>
              <a:gd name="connsiteY63" fmla="*/ 2753248 h 2964609"/>
              <a:gd name="connsiteX64" fmla="*/ 7797521 w 11867103"/>
              <a:gd name="connsiteY64" fmla="*/ 2773345 h 2964609"/>
              <a:gd name="connsiteX65" fmla="*/ 7717134 w 11867103"/>
              <a:gd name="connsiteY65" fmla="*/ 2783393 h 2964609"/>
              <a:gd name="connsiteX66" fmla="*/ 7486022 w 11867103"/>
              <a:gd name="connsiteY66" fmla="*/ 2813539 h 2964609"/>
              <a:gd name="connsiteX67" fmla="*/ 7395587 w 11867103"/>
              <a:gd name="connsiteY67" fmla="*/ 2833635 h 2964609"/>
              <a:gd name="connsiteX68" fmla="*/ 7325248 w 11867103"/>
              <a:gd name="connsiteY68" fmla="*/ 2843684 h 2964609"/>
              <a:gd name="connsiteX69" fmla="*/ 6863024 w 11867103"/>
              <a:gd name="connsiteY69" fmla="*/ 2833635 h 2964609"/>
              <a:gd name="connsiteX70" fmla="*/ 6722347 w 11867103"/>
              <a:gd name="connsiteY70" fmla="*/ 2823587 h 2964609"/>
              <a:gd name="connsiteX71" fmla="*/ 4903596 w 11867103"/>
              <a:gd name="connsiteY71" fmla="*/ 2873829 h 2964609"/>
              <a:gd name="connsiteX72" fmla="*/ 4722725 w 11867103"/>
              <a:gd name="connsiteY72" fmla="*/ 2914022 h 2964609"/>
              <a:gd name="connsiteX73" fmla="*/ 4300695 w 11867103"/>
              <a:gd name="connsiteY73" fmla="*/ 2893925 h 2964609"/>
              <a:gd name="connsiteX74" fmla="*/ 4059534 w 11867103"/>
              <a:gd name="connsiteY74" fmla="*/ 2853732 h 2964609"/>
              <a:gd name="connsiteX75" fmla="*/ 3768132 w 11867103"/>
              <a:gd name="connsiteY75" fmla="*/ 2823587 h 2964609"/>
              <a:gd name="connsiteX76" fmla="*/ 3627455 w 11867103"/>
              <a:gd name="connsiteY76" fmla="*/ 2813539 h 2964609"/>
              <a:gd name="connsiteX77" fmla="*/ 3125037 w 11867103"/>
              <a:gd name="connsiteY77" fmla="*/ 2823587 h 2964609"/>
              <a:gd name="connsiteX78" fmla="*/ 3064747 w 11867103"/>
              <a:gd name="connsiteY78" fmla="*/ 2833635 h 2964609"/>
              <a:gd name="connsiteX79" fmla="*/ 2009670 w 11867103"/>
              <a:gd name="connsiteY79" fmla="*/ 2843684 h 2964609"/>
              <a:gd name="connsiteX80" fmla="*/ 1678075 w 11867103"/>
              <a:gd name="connsiteY80" fmla="*/ 2934119 h 2964609"/>
              <a:gd name="connsiteX81" fmla="*/ 1607736 w 11867103"/>
              <a:gd name="connsiteY81" fmla="*/ 2964264 h 2964609"/>
              <a:gd name="connsiteX82" fmla="*/ 1135464 w 11867103"/>
              <a:gd name="connsiteY82" fmla="*/ 2944167 h 2964609"/>
              <a:gd name="connsiteX83" fmla="*/ 944545 w 11867103"/>
              <a:gd name="connsiteY83" fmla="*/ 2914022 h 2964609"/>
              <a:gd name="connsiteX84" fmla="*/ 723481 w 11867103"/>
              <a:gd name="connsiteY84" fmla="*/ 2873829 h 2964609"/>
              <a:gd name="connsiteX85" fmla="*/ 643095 w 11867103"/>
              <a:gd name="connsiteY85" fmla="*/ 2863780 h 2964609"/>
              <a:gd name="connsiteX86" fmla="*/ 371789 w 11867103"/>
              <a:gd name="connsiteY86" fmla="*/ 2823587 h 2964609"/>
              <a:gd name="connsiteX87" fmla="*/ 0 w 11867103"/>
              <a:gd name="connsiteY87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854110 w 11867103"/>
              <a:gd name="connsiteY4" fmla="*/ 50242 h 2964609"/>
              <a:gd name="connsiteX5" fmla="*/ 884255 w 11867103"/>
              <a:gd name="connsiteY5" fmla="*/ 60290 h 2964609"/>
              <a:gd name="connsiteX6" fmla="*/ 1356528 w 11867103"/>
              <a:gd name="connsiteY6" fmla="*/ 80387 h 2964609"/>
              <a:gd name="connsiteX7" fmla="*/ 1758462 w 11867103"/>
              <a:gd name="connsiteY7" fmla="*/ 40193 h 2964609"/>
              <a:gd name="connsiteX8" fmla="*/ 1889090 w 11867103"/>
              <a:gd name="connsiteY8" fmla="*/ 20097 h 2964609"/>
              <a:gd name="connsiteX9" fmla="*/ 2140299 w 11867103"/>
              <a:gd name="connsiteY9" fmla="*/ 40193 h 2964609"/>
              <a:gd name="connsiteX10" fmla="*/ 2200589 w 11867103"/>
              <a:gd name="connsiteY10" fmla="*/ 50242 h 2964609"/>
              <a:gd name="connsiteX11" fmla="*/ 4652387 w 11867103"/>
              <a:gd name="connsiteY11" fmla="*/ 60290 h 2964609"/>
              <a:gd name="connsiteX12" fmla="*/ 4692580 w 11867103"/>
              <a:gd name="connsiteY12" fmla="*/ 70339 h 2964609"/>
              <a:gd name="connsiteX13" fmla="*/ 4843306 w 11867103"/>
              <a:gd name="connsiteY13" fmla="*/ 90435 h 2964609"/>
              <a:gd name="connsiteX14" fmla="*/ 5677319 w 11867103"/>
              <a:gd name="connsiteY14" fmla="*/ 80387 h 2964609"/>
              <a:gd name="connsiteX15" fmla="*/ 6169688 w 11867103"/>
              <a:gd name="connsiteY15" fmla="*/ 110532 h 2964609"/>
              <a:gd name="connsiteX16" fmla="*/ 6420897 w 11867103"/>
              <a:gd name="connsiteY16" fmla="*/ 90435 h 2964609"/>
              <a:gd name="connsiteX17" fmla="*/ 6511332 w 11867103"/>
              <a:gd name="connsiteY17" fmla="*/ 30145 h 2964609"/>
              <a:gd name="connsiteX18" fmla="*/ 6571622 w 11867103"/>
              <a:gd name="connsiteY18" fmla="*/ 20097 h 2964609"/>
              <a:gd name="connsiteX19" fmla="*/ 6641961 w 11867103"/>
              <a:gd name="connsiteY19" fmla="*/ 0 h 2964609"/>
              <a:gd name="connsiteX20" fmla="*/ 7204668 w 11867103"/>
              <a:gd name="connsiteY20" fmla="*/ 10048 h 2964609"/>
              <a:gd name="connsiteX21" fmla="*/ 7285055 w 11867103"/>
              <a:gd name="connsiteY21" fmla="*/ 30145 h 2964609"/>
              <a:gd name="connsiteX22" fmla="*/ 7375490 w 11867103"/>
              <a:gd name="connsiteY22" fmla="*/ 40193 h 2964609"/>
              <a:gd name="connsiteX23" fmla="*/ 7928150 w 11867103"/>
              <a:gd name="connsiteY23" fmla="*/ 60290 h 2964609"/>
              <a:gd name="connsiteX24" fmla="*/ 8109020 w 11867103"/>
              <a:gd name="connsiteY24" fmla="*/ 80387 h 2964609"/>
              <a:gd name="connsiteX25" fmla="*/ 8219552 w 11867103"/>
              <a:gd name="connsiteY25" fmla="*/ 90435 h 2964609"/>
              <a:gd name="connsiteX26" fmla="*/ 8299939 w 11867103"/>
              <a:gd name="connsiteY26" fmla="*/ 100484 h 2964609"/>
              <a:gd name="connsiteX27" fmla="*/ 8521002 w 11867103"/>
              <a:gd name="connsiteY27" fmla="*/ 110532 h 2964609"/>
              <a:gd name="connsiteX28" fmla="*/ 9515789 w 11867103"/>
              <a:gd name="connsiteY28" fmla="*/ 100484 h 2964609"/>
              <a:gd name="connsiteX29" fmla="*/ 9606224 w 11867103"/>
              <a:gd name="connsiteY29" fmla="*/ 90435 h 2964609"/>
              <a:gd name="connsiteX30" fmla="*/ 9716756 w 11867103"/>
              <a:gd name="connsiteY30" fmla="*/ 80387 h 2964609"/>
              <a:gd name="connsiteX31" fmla="*/ 9797143 w 11867103"/>
              <a:gd name="connsiteY31" fmla="*/ 70339 h 2964609"/>
              <a:gd name="connsiteX32" fmla="*/ 9947868 w 11867103"/>
              <a:gd name="connsiteY32" fmla="*/ 60290 h 2964609"/>
              <a:gd name="connsiteX33" fmla="*/ 10791930 w 11867103"/>
              <a:gd name="connsiteY33" fmla="*/ 30145 h 2964609"/>
              <a:gd name="connsiteX34" fmla="*/ 11736475 w 11867103"/>
              <a:gd name="connsiteY34" fmla="*/ 50242 h 2964609"/>
              <a:gd name="connsiteX35" fmla="*/ 11766620 w 11867103"/>
              <a:gd name="connsiteY35" fmla="*/ 80387 h 2964609"/>
              <a:gd name="connsiteX36" fmla="*/ 11786717 w 11867103"/>
              <a:gd name="connsiteY36" fmla="*/ 120580 h 2964609"/>
              <a:gd name="connsiteX37" fmla="*/ 11806813 w 11867103"/>
              <a:gd name="connsiteY37" fmla="*/ 211015 h 2964609"/>
              <a:gd name="connsiteX38" fmla="*/ 11816862 w 11867103"/>
              <a:gd name="connsiteY38" fmla="*/ 251209 h 2964609"/>
              <a:gd name="connsiteX39" fmla="*/ 11826910 w 11867103"/>
              <a:gd name="connsiteY39" fmla="*/ 341644 h 2964609"/>
              <a:gd name="connsiteX40" fmla="*/ 11836958 w 11867103"/>
              <a:gd name="connsiteY40" fmla="*/ 422031 h 2964609"/>
              <a:gd name="connsiteX41" fmla="*/ 11826910 w 11867103"/>
              <a:gd name="connsiteY41" fmla="*/ 733530 h 2964609"/>
              <a:gd name="connsiteX42" fmla="*/ 11816862 w 11867103"/>
              <a:gd name="connsiteY42" fmla="*/ 793820 h 2964609"/>
              <a:gd name="connsiteX43" fmla="*/ 11806813 w 11867103"/>
              <a:gd name="connsiteY43" fmla="*/ 864158 h 2964609"/>
              <a:gd name="connsiteX44" fmla="*/ 11816862 w 11867103"/>
              <a:gd name="connsiteY44" fmla="*/ 2331218 h 2964609"/>
              <a:gd name="connsiteX45" fmla="*/ 11826910 w 11867103"/>
              <a:gd name="connsiteY45" fmla="*/ 2401556 h 2964609"/>
              <a:gd name="connsiteX46" fmla="*/ 11836958 w 11867103"/>
              <a:gd name="connsiteY46" fmla="*/ 2431701 h 2964609"/>
              <a:gd name="connsiteX47" fmla="*/ 11857055 w 11867103"/>
              <a:gd name="connsiteY47" fmla="*/ 2562330 h 2964609"/>
              <a:gd name="connsiteX48" fmla="*/ 11867103 w 11867103"/>
              <a:gd name="connsiteY48" fmla="*/ 2602523 h 2964609"/>
              <a:gd name="connsiteX49" fmla="*/ 11857055 w 11867103"/>
              <a:gd name="connsiteY49" fmla="*/ 2833635 h 2964609"/>
              <a:gd name="connsiteX50" fmla="*/ 11836958 w 11867103"/>
              <a:gd name="connsiteY50" fmla="*/ 2863780 h 2964609"/>
              <a:gd name="connsiteX51" fmla="*/ 11033090 w 11867103"/>
              <a:gd name="connsiteY51" fmla="*/ 2853732 h 2964609"/>
              <a:gd name="connsiteX52" fmla="*/ 10621108 w 11867103"/>
              <a:gd name="connsiteY52" fmla="*/ 2843684 h 2964609"/>
              <a:gd name="connsiteX53" fmla="*/ 10128739 w 11867103"/>
              <a:gd name="connsiteY53" fmla="*/ 2853732 h 2964609"/>
              <a:gd name="connsiteX54" fmla="*/ 10048352 w 11867103"/>
              <a:gd name="connsiteY54" fmla="*/ 2863780 h 2964609"/>
              <a:gd name="connsiteX55" fmla="*/ 9555982 w 11867103"/>
              <a:gd name="connsiteY55" fmla="*/ 2853732 h 2964609"/>
              <a:gd name="connsiteX56" fmla="*/ 9445451 w 11867103"/>
              <a:gd name="connsiteY56" fmla="*/ 2843684 h 2964609"/>
              <a:gd name="connsiteX57" fmla="*/ 9415306 w 11867103"/>
              <a:gd name="connsiteY57" fmla="*/ 2823587 h 2964609"/>
              <a:gd name="connsiteX58" fmla="*/ 9204290 w 11867103"/>
              <a:gd name="connsiteY58" fmla="*/ 2803490 h 2964609"/>
              <a:gd name="connsiteX59" fmla="*/ 9073662 w 11867103"/>
              <a:gd name="connsiteY59" fmla="*/ 2783393 h 2964609"/>
              <a:gd name="connsiteX60" fmla="*/ 8812404 w 11867103"/>
              <a:gd name="connsiteY60" fmla="*/ 2773345 h 2964609"/>
              <a:gd name="connsiteX61" fmla="*/ 8400422 w 11867103"/>
              <a:gd name="connsiteY61" fmla="*/ 2763297 h 2964609"/>
              <a:gd name="connsiteX62" fmla="*/ 8269793 w 11867103"/>
              <a:gd name="connsiteY62" fmla="*/ 2753248 h 2964609"/>
              <a:gd name="connsiteX63" fmla="*/ 7797521 w 11867103"/>
              <a:gd name="connsiteY63" fmla="*/ 2773345 h 2964609"/>
              <a:gd name="connsiteX64" fmla="*/ 7717134 w 11867103"/>
              <a:gd name="connsiteY64" fmla="*/ 2783393 h 2964609"/>
              <a:gd name="connsiteX65" fmla="*/ 7486022 w 11867103"/>
              <a:gd name="connsiteY65" fmla="*/ 2813539 h 2964609"/>
              <a:gd name="connsiteX66" fmla="*/ 7395587 w 11867103"/>
              <a:gd name="connsiteY66" fmla="*/ 2833635 h 2964609"/>
              <a:gd name="connsiteX67" fmla="*/ 7325248 w 11867103"/>
              <a:gd name="connsiteY67" fmla="*/ 2843684 h 2964609"/>
              <a:gd name="connsiteX68" fmla="*/ 6863024 w 11867103"/>
              <a:gd name="connsiteY68" fmla="*/ 2833635 h 2964609"/>
              <a:gd name="connsiteX69" fmla="*/ 6722347 w 11867103"/>
              <a:gd name="connsiteY69" fmla="*/ 2823587 h 2964609"/>
              <a:gd name="connsiteX70" fmla="*/ 4903596 w 11867103"/>
              <a:gd name="connsiteY70" fmla="*/ 2873829 h 2964609"/>
              <a:gd name="connsiteX71" fmla="*/ 4722725 w 11867103"/>
              <a:gd name="connsiteY71" fmla="*/ 2914022 h 2964609"/>
              <a:gd name="connsiteX72" fmla="*/ 4300695 w 11867103"/>
              <a:gd name="connsiteY72" fmla="*/ 2893925 h 2964609"/>
              <a:gd name="connsiteX73" fmla="*/ 4059534 w 11867103"/>
              <a:gd name="connsiteY73" fmla="*/ 2853732 h 2964609"/>
              <a:gd name="connsiteX74" fmla="*/ 3768132 w 11867103"/>
              <a:gd name="connsiteY74" fmla="*/ 2823587 h 2964609"/>
              <a:gd name="connsiteX75" fmla="*/ 3627455 w 11867103"/>
              <a:gd name="connsiteY75" fmla="*/ 2813539 h 2964609"/>
              <a:gd name="connsiteX76" fmla="*/ 3125037 w 11867103"/>
              <a:gd name="connsiteY76" fmla="*/ 2823587 h 2964609"/>
              <a:gd name="connsiteX77" fmla="*/ 3064747 w 11867103"/>
              <a:gd name="connsiteY77" fmla="*/ 2833635 h 2964609"/>
              <a:gd name="connsiteX78" fmla="*/ 2009670 w 11867103"/>
              <a:gd name="connsiteY78" fmla="*/ 2843684 h 2964609"/>
              <a:gd name="connsiteX79" fmla="*/ 1678075 w 11867103"/>
              <a:gd name="connsiteY79" fmla="*/ 2934119 h 2964609"/>
              <a:gd name="connsiteX80" fmla="*/ 1607736 w 11867103"/>
              <a:gd name="connsiteY80" fmla="*/ 2964264 h 2964609"/>
              <a:gd name="connsiteX81" fmla="*/ 1135464 w 11867103"/>
              <a:gd name="connsiteY81" fmla="*/ 2944167 h 2964609"/>
              <a:gd name="connsiteX82" fmla="*/ 944545 w 11867103"/>
              <a:gd name="connsiteY82" fmla="*/ 2914022 h 2964609"/>
              <a:gd name="connsiteX83" fmla="*/ 723481 w 11867103"/>
              <a:gd name="connsiteY83" fmla="*/ 2873829 h 2964609"/>
              <a:gd name="connsiteX84" fmla="*/ 643095 w 11867103"/>
              <a:gd name="connsiteY84" fmla="*/ 2863780 h 2964609"/>
              <a:gd name="connsiteX85" fmla="*/ 371789 w 11867103"/>
              <a:gd name="connsiteY85" fmla="*/ 2823587 h 2964609"/>
              <a:gd name="connsiteX86" fmla="*/ 0 w 11867103"/>
              <a:gd name="connsiteY86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854110 w 11867103"/>
              <a:gd name="connsiteY4" fmla="*/ 50242 h 2964609"/>
              <a:gd name="connsiteX5" fmla="*/ 1356528 w 11867103"/>
              <a:gd name="connsiteY5" fmla="*/ 80387 h 2964609"/>
              <a:gd name="connsiteX6" fmla="*/ 1758462 w 11867103"/>
              <a:gd name="connsiteY6" fmla="*/ 40193 h 2964609"/>
              <a:gd name="connsiteX7" fmla="*/ 1889090 w 11867103"/>
              <a:gd name="connsiteY7" fmla="*/ 20097 h 2964609"/>
              <a:gd name="connsiteX8" fmla="*/ 2140299 w 11867103"/>
              <a:gd name="connsiteY8" fmla="*/ 40193 h 2964609"/>
              <a:gd name="connsiteX9" fmla="*/ 2200589 w 11867103"/>
              <a:gd name="connsiteY9" fmla="*/ 50242 h 2964609"/>
              <a:gd name="connsiteX10" fmla="*/ 4652387 w 11867103"/>
              <a:gd name="connsiteY10" fmla="*/ 60290 h 2964609"/>
              <a:gd name="connsiteX11" fmla="*/ 4692580 w 11867103"/>
              <a:gd name="connsiteY11" fmla="*/ 70339 h 2964609"/>
              <a:gd name="connsiteX12" fmla="*/ 4843306 w 11867103"/>
              <a:gd name="connsiteY12" fmla="*/ 90435 h 2964609"/>
              <a:gd name="connsiteX13" fmla="*/ 5677319 w 11867103"/>
              <a:gd name="connsiteY13" fmla="*/ 80387 h 2964609"/>
              <a:gd name="connsiteX14" fmla="*/ 6169688 w 11867103"/>
              <a:gd name="connsiteY14" fmla="*/ 110532 h 2964609"/>
              <a:gd name="connsiteX15" fmla="*/ 6420897 w 11867103"/>
              <a:gd name="connsiteY15" fmla="*/ 90435 h 2964609"/>
              <a:gd name="connsiteX16" fmla="*/ 6511332 w 11867103"/>
              <a:gd name="connsiteY16" fmla="*/ 30145 h 2964609"/>
              <a:gd name="connsiteX17" fmla="*/ 6571622 w 11867103"/>
              <a:gd name="connsiteY17" fmla="*/ 20097 h 2964609"/>
              <a:gd name="connsiteX18" fmla="*/ 6641961 w 11867103"/>
              <a:gd name="connsiteY18" fmla="*/ 0 h 2964609"/>
              <a:gd name="connsiteX19" fmla="*/ 7204668 w 11867103"/>
              <a:gd name="connsiteY19" fmla="*/ 10048 h 2964609"/>
              <a:gd name="connsiteX20" fmla="*/ 7285055 w 11867103"/>
              <a:gd name="connsiteY20" fmla="*/ 30145 h 2964609"/>
              <a:gd name="connsiteX21" fmla="*/ 7375490 w 11867103"/>
              <a:gd name="connsiteY21" fmla="*/ 40193 h 2964609"/>
              <a:gd name="connsiteX22" fmla="*/ 7928150 w 11867103"/>
              <a:gd name="connsiteY22" fmla="*/ 60290 h 2964609"/>
              <a:gd name="connsiteX23" fmla="*/ 8109020 w 11867103"/>
              <a:gd name="connsiteY23" fmla="*/ 80387 h 2964609"/>
              <a:gd name="connsiteX24" fmla="*/ 8219552 w 11867103"/>
              <a:gd name="connsiteY24" fmla="*/ 90435 h 2964609"/>
              <a:gd name="connsiteX25" fmla="*/ 8299939 w 11867103"/>
              <a:gd name="connsiteY25" fmla="*/ 100484 h 2964609"/>
              <a:gd name="connsiteX26" fmla="*/ 8521002 w 11867103"/>
              <a:gd name="connsiteY26" fmla="*/ 110532 h 2964609"/>
              <a:gd name="connsiteX27" fmla="*/ 9515789 w 11867103"/>
              <a:gd name="connsiteY27" fmla="*/ 100484 h 2964609"/>
              <a:gd name="connsiteX28" fmla="*/ 9606224 w 11867103"/>
              <a:gd name="connsiteY28" fmla="*/ 90435 h 2964609"/>
              <a:gd name="connsiteX29" fmla="*/ 9716756 w 11867103"/>
              <a:gd name="connsiteY29" fmla="*/ 80387 h 2964609"/>
              <a:gd name="connsiteX30" fmla="*/ 9797143 w 11867103"/>
              <a:gd name="connsiteY30" fmla="*/ 70339 h 2964609"/>
              <a:gd name="connsiteX31" fmla="*/ 9947868 w 11867103"/>
              <a:gd name="connsiteY31" fmla="*/ 60290 h 2964609"/>
              <a:gd name="connsiteX32" fmla="*/ 10791930 w 11867103"/>
              <a:gd name="connsiteY32" fmla="*/ 30145 h 2964609"/>
              <a:gd name="connsiteX33" fmla="*/ 11736475 w 11867103"/>
              <a:gd name="connsiteY33" fmla="*/ 50242 h 2964609"/>
              <a:gd name="connsiteX34" fmla="*/ 11766620 w 11867103"/>
              <a:gd name="connsiteY34" fmla="*/ 80387 h 2964609"/>
              <a:gd name="connsiteX35" fmla="*/ 11786717 w 11867103"/>
              <a:gd name="connsiteY35" fmla="*/ 120580 h 2964609"/>
              <a:gd name="connsiteX36" fmla="*/ 11806813 w 11867103"/>
              <a:gd name="connsiteY36" fmla="*/ 211015 h 2964609"/>
              <a:gd name="connsiteX37" fmla="*/ 11816862 w 11867103"/>
              <a:gd name="connsiteY37" fmla="*/ 251209 h 2964609"/>
              <a:gd name="connsiteX38" fmla="*/ 11826910 w 11867103"/>
              <a:gd name="connsiteY38" fmla="*/ 341644 h 2964609"/>
              <a:gd name="connsiteX39" fmla="*/ 11836958 w 11867103"/>
              <a:gd name="connsiteY39" fmla="*/ 422031 h 2964609"/>
              <a:gd name="connsiteX40" fmla="*/ 11826910 w 11867103"/>
              <a:gd name="connsiteY40" fmla="*/ 733530 h 2964609"/>
              <a:gd name="connsiteX41" fmla="*/ 11816862 w 11867103"/>
              <a:gd name="connsiteY41" fmla="*/ 793820 h 2964609"/>
              <a:gd name="connsiteX42" fmla="*/ 11806813 w 11867103"/>
              <a:gd name="connsiteY42" fmla="*/ 864158 h 2964609"/>
              <a:gd name="connsiteX43" fmla="*/ 11816862 w 11867103"/>
              <a:gd name="connsiteY43" fmla="*/ 2331218 h 2964609"/>
              <a:gd name="connsiteX44" fmla="*/ 11826910 w 11867103"/>
              <a:gd name="connsiteY44" fmla="*/ 2401556 h 2964609"/>
              <a:gd name="connsiteX45" fmla="*/ 11836958 w 11867103"/>
              <a:gd name="connsiteY45" fmla="*/ 2431701 h 2964609"/>
              <a:gd name="connsiteX46" fmla="*/ 11857055 w 11867103"/>
              <a:gd name="connsiteY46" fmla="*/ 2562330 h 2964609"/>
              <a:gd name="connsiteX47" fmla="*/ 11867103 w 11867103"/>
              <a:gd name="connsiteY47" fmla="*/ 2602523 h 2964609"/>
              <a:gd name="connsiteX48" fmla="*/ 11857055 w 11867103"/>
              <a:gd name="connsiteY48" fmla="*/ 2833635 h 2964609"/>
              <a:gd name="connsiteX49" fmla="*/ 11836958 w 11867103"/>
              <a:gd name="connsiteY49" fmla="*/ 2863780 h 2964609"/>
              <a:gd name="connsiteX50" fmla="*/ 11033090 w 11867103"/>
              <a:gd name="connsiteY50" fmla="*/ 2853732 h 2964609"/>
              <a:gd name="connsiteX51" fmla="*/ 10621108 w 11867103"/>
              <a:gd name="connsiteY51" fmla="*/ 2843684 h 2964609"/>
              <a:gd name="connsiteX52" fmla="*/ 10128739 w 11867103"/>
              <a:gd name="connsiteY52" fmla="*/ 2853732 h 2964609"/>
              <a:gd name="connsiteX53" fmla="*/ 10048352 w 11867103"/>
              <a:gd name="connsiteY53" fmla="*/ 2863780 h 2964609"/>
              <a:gd name="connsiteX54" fmla="*/ 9555982 w 11867103"/>
              <a:gd name="connsiteY54" fmla="*/ 2853732 h 2964609"/>
              <a:gd name="connsiteX55" fmla="*/ 9445451 w 11867103"/>
              <a:gd name="connsiteY55" fmla="*/ 2843684 h 2964609"/>
              <a:gd name="connsiteX56" fmla="*/ 9415306 w 11867103"/>
              <a:gd name="connsiteY56" fmla="*/ 2823587 h 2964609"/>
              <a:gd name="connsiteX57" fmla="*/ 9204290 w 11867103"/>
              <a:gd name="connsiteY57" fmla="*/ 2803490 h 2964609"/>
              <a:gd name="connsiteX58" fmla="*/ 9073662 w 11867103"/>
              <a:gd name="connsiteY58" fmla="*/ 2783393 h 2964609"/>
              <a:gd name="connsiteX59" fmla="*/ 8812404 w 11867103"/>
              <a:gd name="connsiteY59" fmla="*/ 2773345 h 2964609"/>
              <a:gd name="connsiteX60" fmla="*/ 8400422 w 11867103"/>
              <a:gd name="connsiteY60" fmla="*/ 2763297 h 2964609"/>
              <a:gd name="connsiteX61" fmla="*/ 8269793 w 11867103"/>
              <a:gd name="connsiteY61" fmla="*/ 2753248 h 2964609"/>
              <a:gd name="connsiteX62" fmla="*/ 7797521 w 11867103"/>
              <a:gd name="connsiteY62" fmla="*/ 2773345 h 2964609"/>
              <a:gd name="connsiteX63" fmla="*/ 7717134 w 11867103"/>
              <a:gd name="connsiteY63" fmla="*/ 2783393 h 2964609"/>
              <a:gd name="connsiteX64" fmla="*/ 7486022 w 11867103"/>
              <a:gd name="connsiteY64" fmla="*/ 2813539 h 2964609"/>
              <a:gd name="connsiteX65" fmla="*/ 7395587 w 11867103"/>
              <a:gd name="connsiteY65" fmla="*/ 2833635 h 2964609"/>
              <a:gd name="connsiteX66" fmla="*/ 7325248 w 11867103"/>
              <a:gd name="connsiteY66" fmla="*/ 2843684 h 2964609"/>
              <a:gd name="connsiteX67" fmla="*/ 6863024 w 11867103"/>
              <a:gd name="connsiteY67" fmla="*/ 2833635 h 2964609"/>
              <a:gd name="connsiteX68" fmla="*/ 6722347 w 11867103"/>
              <a:gd name="connsiteY68" fmla="*/ 2823587 h 2964609"/>
              <a:gd name="connsiteX69" fmla="*/ 4903596 w 11867103"/>
              <a:gd name="connsiteY69" fmla="*/ 2873829 h 2964609"/>
              <a:gd name="connsiteX70" fmla="*/ 4722725 w 11867103"/>
              <a:gd name="connsiteY70" fmla="*/ 2914022 h 2964609"/>
              <a:gd name="connsiteX71" fmla="*/ 4300695 w 11867103"/>
              <a:gd name="connsiteY71" fmla="*/ 2893925 h 2964609"/>
              <a:gd name="connsiteX72" fmla="*/ 4059534 w 11867103"/>
              <a:gd name="connsiteY72" fmla="*/ 2853732 h 2964609"/>
              <a:gd name="connsiteX73" fmla="*/ 3768132 w 11867103"/>
              <a:gd name="connsiteY73" fmla="*/ 2823587 h 2964609"/>
              <a:gd name="connsiteX74" fmla="*/ 3627455 w 11867103"/>
              <a:gd name="connsiteY74" fmla="*/ 2813539 h 2964609"/>
              <a:gd name="connsiteX75" fmla="*/ 3125037 w 11867103"/>
              <a:gd name="connsiteY75" fmla="*/ 2823587 h 2964609"/>
              <a:gd name="connsiteX76" fmla="*/ 3064747 w 11867103"/>
              <a:gd name="connsiteY76" fmla="*/ 2833635 h 2964609"/>
              <a:gd name="connsiteX77" fmla="*/ 2009670 w 11867103"/>
              <a:gd name="connsiteY77" fmla="*/ 2843684 h 2964609"/>
              <a:gd name="connsiteX78" fmla="*/ 1678075 w 11867103"/>
              <a:gd name="connsiteY78" fmla="*/ 2934119 h 2964609"/>
              <a:gd name="connsiteX79" fmla="*/ 1607736 w 11867103"/>
              <a:gd name="connsiteY79" fmla="*/ 2964264 h 2964609"/>
              <a:gd name="connsiteX80" fmla="*/ 1135464 w 11867103"/>
              <a:gd name="connsiteY80" fmla="*/ 2944167 h 2964609"/>
              <a:gd name="connsiteX81" fmla="*/ 944545 w 11867103"/>
              <a:gd name="connsiteY81" fmla="*/ 2914022 h 2964609"/>
              <a:gd name="connsiteX82" fmla="*/ 723481 w 11867103"/>
              <a:gd name="connsiteY82" fmla="*/ 2873829 h 2964609"/>
              <a:gd name="connsiteX83" fmla="*/ 643095 w 11867103"/>
              <a:gd name="connsiteY83" fmla="*/ 2863780 h 2964609"/>
              <a:gd name="connsiteX84" fmla="*/ 371789 w 11867103"/>
              <a:gd name="connsiteY84" fmla="*/ 2823587 h 2964609"/>
              <a:gd name="connsiteX85" fmla="*/ 0 w 11867103"/>
              <a:gd name="connsiteY85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1356528 w 11867103"/>
              <a:gd name="connsiteY4" fmla="*/ 80387 h 2964609"/>
              <a:gd name="connsiteX5" fmla="*/ 1758462 w 11867103"/>
              <a:gd name="connsiteY5" fmla="*/ 40193 h 2964609"/>
              <a:gd name="connsiteX6" fmla="*/ 1889090 w 11867103"/>
              <a:gd name="connsiteY6" fmla="*/ 20097 h 2964609"/>
              <a:gd name="connsiteX7" fmla="*/ 2140299 w 11867103"/>
              <a:gd name="connsiteY7" fmla="*/ 40193 h 2964609"/>
              <a:gd name="connsiteX8" fmla="*/ 2200589 w 11867103"/>
              <a:gd name="connsiteY8" fmla="*/ 50242 h 2964609"/>
              <a:gd name="connsiteX9" fmla="*/ 4652387 w 11867103"/>
              <a:gd name="connsiteY9" fmla="*/ 60290 h 2964609"/>
              <a:gd name="connsiteX10" fmla="*/ 4692580 w 11867103"/>
              <a:gd name="connsiteY10" fmla="*/ 70339 h 2964609"/>
              <a:gd name="connsiteX11" fmla="*/ 4843306 w 11867103"/>
              <a:gd name="connsiteY11" fmla="*/ 90435 h 2964609"/>
              <a:gd name="connsiteX12" fmla="*/ 5677319 w 11867103"/>
              <a:gd name="connsiteY12" fmla="*/ 80387 h 2964609"/>
              <a:gd name="connsiteX13" fmla="*/ 6169688 w 11867103"/>
              <a:gd name="connsiteY13" fmla="*/ 110532 h 2964609"/>
              <a:gd name="connsiteX14" fmla="*/ 6420897 w 11867103"/>
              <a:gd name="connsiteY14" fmla="*/ 90435 h 2964609"/>
              <a:gd name="connsiteX15" fmla="*/ 6511332 w 11867103"/>
              <a:gd name="connsiteY15" fmla="*/ 30145 h 2964609"/>
              <a:gd name="connsiteX16" fmla="*/ 6571622 w 11867103"/>
              <a:gd name="connsiteY16" fmla="*/ 20097 h 2964609"/>
              <a:gd name="connsiteX17" fmla="*/ 6641961 w 11867103"/>
              <a:gd name="connsiteY17" fmla="*/ 0 h 2964609"/>
              <a:gd name="connsiteX18" fmla="*/ 7204668 w 11867103"/>
              <a:gd name="connsiteY18" fmla="*/ 10048 h 2964609"/>
              <a:gd name="connsiteX19" fmla="*/ 7285055 w 11867103"/>
              <a:gd name="connsiteY19" fmla="*/ 30145 h 2964609"/>
              <a:gd name="connsiteX20" fmla="*/ 7375490 w 11867103"/>
              <a:gd name="connsiteY20" fmla="*/ 40193 h 2964609"/>
              <a:gd name="connsiteX21" fmla="*/ 7928150 w 11867103"/>
              <a:gd name="connsiteY21" fmla="*/ 60290 h 2964609"/>
              <a:gd name="connsiteX22" fmla="*/ 8109020 w 11867103"/>
              <a:gd name="connsiteY22" fmla="*/ 80387 h 2964609"/>
              <a:gd name="connsiteX23" fmla="*/ 8219552 w 11867103"/>
              <a:gd name="connsiteY23" fmla="*/ 90435 h 2964609"/>
              <a:gd name="connsiteX24" fmla="*/ 8299939 w 11867103"/>
              <a:gd name="connsiteY24" fmla="*/ 100484 h 2964609"/>
              <a:gd name="connsiteX25" fmla="*/ 8521002 w 11867103"/>
              <a:gd name="connsiteY25" fmla="*/ 110532 h 2964609"/>
              <a:gd name="connsiteX26" fmla="*/ 9515789 w 11867103"/>
              <a:gd name="connsiteY26" fmla="*/ 100484 h 2964609"/>
              <a:gd name="connsiteX27" fmla="*/ 9606224 w 11867103"/>
              <a:gd name="connsiteY27" fmla="*/ 90435 h 2964609"/>
              <a:gd name="connsiteX28" fmla="*/ 9716756 w 11867103"/>
              <a:gd name="connsiteY28" fmla="*/ 80387 h 2964609"/>
              <a:gd name="connsiteX29" fmla="*/ 9797143 w 11867103"/>
              <a:gd name="connsiteY29" fmla="*/ 70339 h 2964609"/>
              <a:gd name="connsiteX30" fmla="*/ 9947868 w 11867103"/>
              <a:gd name="connsiteY30" fmla="*/ 60290 h 2964609"/>
              <a:gd name="connsiteX31" fmla="*/ 10791930 w 11867103"/>
              <a:gd name="connsiteY31" fmla="*/ 30145 h 2964609"/>
              <a:gd name="connsiteX32" fmla="*/ 11736475 w 11867103"/>
              <a:gd name="connsiteY32" fmla="*/ 50242 h 2964609"/>
              <a:gd name="connsiteX33" fmla="*/ 11766620 w 11867103"/>
              <a:gd name="connsiteY33" fmla="*/ 80387 h 2964609"/>
              <a:gd name="connsiteX34" fmla="*/ 11786717 w 11867103"/>
              <a:gd name="connsiteY34" fmla="*/ 120580 h 2964609"/>
              <a:gd name="connsiteX35" fmla="*/ 11806813 w 11867103"/>
              <a:gd name="connsiteY35" fmla="*/ 211015 h 2964609"/>
              <a:gd name="connsiteX36" fmla="*/ 11816862 w 11867103"/>
              <a:gd name="connsiteY36" fmla="*/ 251209 h 2964609"/>
              <a:gd name="connsiteX37" fmla="*/ 11826910 w 11867103"/>
              <a:gd name="connsiteY37" fmla="*/ 341644 h 2964609"/>
              <a:gd name="connsiteX38" fmla="*/ 11836958 w 11867103"/>
              <a:gd name="connsiteY38" fmla="*/ 422031 h 2964609"/>
              <a:gd name="connsiteX39" fmla="*/ 11826910 w 11867103"/>
              <a:gd name="connsiteY39" fmla="*/ 733530 h 2964609"/>
              <a:gd name="connsiteX40" fmla="*/ 11816862 w 11867103"/>
              <a:gd name="connsiteY40" fmla="*/ 793820 h 2964609"/>
              <a:gd name="connsiteX41" fmla="*/ 11806813 w 11867103"/>
              <a:gd name="connsiteY41" fmla="*/ 864158 h 2964609"/>
              <a:gd name="connsiteX42" fmla="*/ 11816862 w 11867103"/>
              <a:gd name="connsiteY42" fmla="*/ 2331218 h 2964609"/>
              <a:gd name="connsiteX43" fmla="*/ 11826910 w 11867103"/>
              <a:gd name="connsiteY43" fmla="*/ 2401556 h 2964609"/>
              <a:gd name="connsiteX44" fmla="*/ 11836958 w 11867103"/>
              <a:gd name="connsiteY44" fmla="*/ 2431701 h 2964609"/>
              <a:gd name="connsiteX45" fmla="*/ 11857055 w 11867103"/>
              <a:gd name="connsiteY45" fmla="*/ 2562330 h 2964609"/>
              <a:gd name="connsiteX46" fmla="*/ 11867103 w 11867103"/>
              <a:gd name="connsiteY46" fmla="*/ 2602523 h 2964609"/>
              <a:gd name="connsiteX47" fmla="*/ 11857055 w 11867103"/>
              <a:gd name="connsiteY47" fmla="*/ 2833635 h 2964609"/>
              <a:gd name="connsiteX48" fmla="*/ 11836958 w 11867103"/>
              <a:gd name="connsiteY48" fmla="*/ 2863780 h 2964609"/>
              <a:gd name="connsiteX49" fmla="*/ 11033090 w 11867103"/>
              <a:gd name="connsiteY49" fmla="*/ 2853732 h 2964609"/>
              <a:gd name="connsiteX50" fmla="*/ 10621108 w 11867103"/>
              <a:gd name="connsiteY50" fmla="*/ 2843684 h 2964609"/>
              <a:gd name="connsiteX51" fmla="*/ 10128739 w 11867103"/>
              <a:gd name="connsiteY51" fmla="*/ 2853732 h 2964609"/>
              <a:gd name="connsiteX52" fmla="*/ 10048352 w 11867103"/>
              <a:gd name="connsiteY52" fmla="*/ 2863780 h 2964609"/>
              <a:gd name="connsiteX53" fmla="*/ 9555982 w 11867103"/>
              <a:gd name="connsiteY53" fmla="*/ 2853732 h 2964609"/>
              <a:gd name="connsiteX54" fmla="*/ 9445451 w 11867103"/>
              <a:gd name="connsiteY54" fmla="*/ 2843684 h 2964609"/>
              <a:gd name="connsiteX55" fmla="*/ 9415306 w 11867103"/>
              <a:gd name="connsiteY55" fmla="*/ 2823587 h 2964609"/>
              <a:gd name="connsiteX56" fmla="*/ 9204290 w 11867103"/>
              <a:gd name="connsiteY56" fmla="*/ 2803490 h 2964609"/>
              <a:gd name="connsiteX57" fmla="*/ 9073662 w 11867103"/>
              <a:gd name="connsiteY57" fmla="*/ 2783393 h 2964609"/>
              <a:gd name="connsiteX58" fmla="*/ 8812404 w 11867103"/>
              <a:gd name="connsiteY58" fmla="*/ 2773345 h 2964609"/>
              <a:gd name="connsiteX59" fmla="*/ 8400422 w 11867103"/>
              <a:gd name="connsiteY59" fmla="*/ 2763297 h 2964609"/>
              <a:gd name="connsiteX60" fmla="*/ 8269793 w 11867103"/>
              <a:gd name="connsiteY60" fmla="*/ 2753248 h 2964609"/>
              <a:gd name="connsiteX61" fmla="*/ 7797521 w 11867103"/>
              <a:gd name="connsiteY61" fmla="*/ 2773345 h 2964609"/>
              <a:gd name="connsiteX62" fmla="*/ 7717134 w 11867103"/>
              <a:gd name="connsiteY62" fmla="*/ 2783393 h 2964609"/>
              <a:gd name="connsiteX63" fmla="*/ 7486022 w 11867103"/>
              <a:gd name="connsiteY63" fmla="*/ 2813539 h 2964609"/>
              <a:gd name="connsiteX64" fmla="*/ 7395587 w 11867103"/>
              <a:gd name="connsiteY64" fmla="*/ 2833635 h 2964609"/>
              <a:gd name="connsiteX65" fmla="*/ 7325248 w 11867103"/>
              <a:gd name="connsiteY65" fmla="*/ 2843684 h 2964609"/>
              <a:gd name="connsiteX66" fmla="*/ 6863024 w 11867103"/>
              <a:gd name="connsiteY66" fmla="*/ 2833635 h 2964609"/>
              <a:gd name="connsiteX67" fmla="*/ 6722347 w 11867103"/>
              <a:gd name="connsiteY67" fmla="*/ 2823587 h 2964609"/>
              <a:gd name="connsiteX68" fmla="*/ 4903596 w 11867103"/>
              <a:gd name="connsiteY68" fmla="*/ 2873829 h 2964609"/>
              <a:gd name="connsiteX69" fmla="*/ 4722725 w 11867103"/>
              <a:gd name="connsiteY69" fmla="*/ 2914022 h 2964609"/>
              <a:gd name="connsiteX70" fmla="*/ 4300695 w 11867103"/>
              <a:gd name="connsiteY70" fmla="*/ 2893925 h 2964609"/>
              <a:gd name="connsiteX71" fmla="*/ 4059534 w 11867103"/>
              <a:gd name="connsiteY71" fmla="*/ 2853732 h 2964609"/>
              <a:gd name="connsiteX72" fmla="*/ 3768132 w 11867103"/>
              <a:gd name="connsiteY72" fmla="*/ 2823587 h 2964609"/>
              <a:gd name="connsiteX73" fmla="*/ 3627455 w 11867103"/>
              <a:gd name="connsiteY73" fmla="*/ 2813539 h 2964609"/>
              <a:gd name="connsiteX74" fmla="*/ 3125037 w 11867103"/>
              <a:gd name="connsiteY74" fmla="*/ 2823587 h 2964609"/>
              <a:gd name="connsiteX75" fmla="*/ 3064747 w 11867103"/>
              <a:gd name="connsiteY75" fmla="*/ 2833635 h 2964609"/>
              <a:gd name="connsiteX76" fmla="*/ 2009670 w 11867103"/>
              <a:gd name="connsiteY76" fmla="*/ 2843684 h 2964609"/>
              <a:gd name="connsiteX77" fmla="*/ 1678075 w 11867103"/>
              <a:gd name="connsiteY77" fmla="*/ 2934119 h 2964609"/>
              <a:gd name="connsiteX78" fmla="*/ 1607736 w 11867103"/>
              <a:gd name="connsiteY78" fmla="*/ 2964264 h 2964609"/>
              <a:gd name="connsiteX79" fmla="*/ 1135464 w 11867103"/>
              <a:gd name="connsiteY79" fmla="*/ 2944167 h 2964609"/>
              <a:gd name="connsiteX80" fmla="*/ 944545 w 11867103"/>
              <a:gd name="connsiteY80" fmla="*/ 2914022 h 2964609"/>
              <a:gd name="connsiteX81" fmla="*/ 723481 w 11867103"/>
              <a:gd name="connsiteY81" fmla="*/ 2873829 h 2964609"/>
              <a:gd name="connsiteX82" fmla="*/ 643095 w 11867103"/>
              <a:gd name="connsiteY82" fmla="*/ 2863780 h 2964609"/>
              <a:gd name="connsiteX83" fmla="*/ 371789 w 11867103"/>
              <a:gd name="connsiteY83" fmla="*/ 2823587 h 2964609"/>
              <a:gd name="connsiteX84" fmla="*/ 0 w 11867103"/>
              <a:gd name="connsiteY84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1889090 w 11867103"/>
              <a:gd name="connsiteY5" fmla="*/ 20097 h 2964609"/>
              <a:gd name="connsiteX6" fmla="*/ 2140299 w 11867103"/>
              <a:gd name="connsiteY6" fmla="*/ 40193 h 2964609"/>
              <a:gd name="connsiteX7" fmla="*/ 2200589 w 11867103"/>
              <a:gd name="connsiteY7" fmla="*/ 50242 h 2964609"/>
              <a:gd name="connsiteX8" fmla="*/ 4652387 w 11867103"/>
              <a:gd name="connsiteY8" fmla="*/ 60290 h 2964609"/>
              <a:gd name="connsiteX9" fmla="*/ 4692580 w 11867103"/>
              <a:gd name="connsiteY9" fmla="*/ 70339 h 2964609"/>
              <a:gd name="connsiteX10" fmla="*/ 4843306 w 11867103"/>
              <a:gd name="connsiteY10" fmla="*/ 90435 h 2964609"/>
              <a:gd name="connsiteX11" fmla="*/ 5677319 w 11867103"/>
              <a:gd name="connsiteY11" fmla="*/ 80387 h 2964609"/>
              <a:gd name="connsiteX12" fmla="*/ 6169688 w 11867103"/>
              <a:gd name="connsiteY12" fmla="*/ 110532 h 2964609"/>
              <a:gd name="connsiteX13" fmla="*/ 6420897 w 11867103"/>
              <a:gd name="connsiteY13" fmla="*/ 90435 h 2964609"/>
              <a:gd name="connsiteX14" fmla="*/ 6511332 w 11867103"/>
              <a:gd name="connsiteY14" fmla="*/ 30145 h 2964609"/>
              <a:gd name="connsiteX15" fmla="*/ 6571622 w 11867103"/>
              <a:gd name="connsiteY15" fmla="*/ 20097 h 2964609"/>
              <a:gd name="connsiteX16" fmla="*/ 6641961 w 11867103"/>
              <a:gd name="connsiteY16" fmla="*/ 0 h 2964609"/>
              <a:gd name="connsiteX17" fmla="*/ 7204668 w 11867103"/>
              <a:gd name="connsiteY17" fmla="*/ 10048 h 2964609"/>
              <a:gd name="connsiteX18" fmla="*/ 7285055 w 11867103"/>
              <a:gd name="connsiteY18" fmla="*/ 30145 h 2964609"/>
              <a:gd name="connsiteX19" fmla="*/ 7375490 w 11867103"/>
              <a:gd name="connsiteY19" fmla="*/ 40193 h 2964609"/>
              <a:gd name="connsiteX20" fmla="*/ 7928150 w 11867103"/>
              <a:gd name="connsiteY20" fmla="*/ 60290 h 2964609"/>
              <a:gd name="connsiteX21" fmla="*/ 8109020 w 11867103"/>
              <a:gd name="connsiteY21" fmla="*/ 80387 h 2964609"/>
              <a:gd name="connsiteX22" fmla="*/ 8219552 w 11867103"/>
              <a:gd name="connsiteY22" fmla="*/ 90435 h 2964609"/>
              <a:gd name="connsiteX23" fmla="*/ 8299939 w 11867103"/>
              <a:gd name="connsiteY23" fmla="*/ 100484 h 2964609"/>
              <a:gd name="connsiteX24" fmla="*/ 8521002 w 11867103"/>
              <a:gd name="connsiteY24" fmla="*/ 110532 h 2964609"/>
              <a:gd name="connsiteX25" fmla="*/ 9515789 w 11867103"/>
              <a:gd name="connsiteY25" fmla="*/ 100484 h 2964609"/>
              <a:gd name="connsiteX26" fmla="*/ 9606224 w 11867103"/>
              <a:gd name="connsiteY26" fmla="*/ 90435 h 2964609"/>
              <a:gd name="connsiteX27" fmla="*/ 9716756 w 11867103"/>
              <a:gd name="connsiteY27" fmla="*/ 80387 h 2964609"/>
              <a:gd name="connsiteX28" fmla="*/ 9797143 w 11867103"/>
              <a:gd name="connsiteY28" fmla="*/ 70339 h 2964609"/>
              <a:gd name="connsiteX29" fmla="*/ 9947868 w 11867103"/>
              <a:gd name="connsiteY29" fmla="*/ 60290 h 2964609"/>
              <a:gd name="connsiteX30" fmla="*/ 10791930 w 11867103"/>
              <a:gd name="connsiteY30" fmla="*/ 30145 h 2964609"/>
              <a:gd name="connsiteX31" fmla="*/ 11736475 w 11867103"/>
              <a:gd name="connsiteY31" fmla="*/ 50242 h 2964609"/>
              <a:gd name="connsiteX32" fmla="*/ 11766620 w 11867103"/>
              <a:gd name="connsiteY32" fmla="*/ 80387 h 2964609"/>
              <a:gd name="connsiteX33" fmla="*/ 11786717 w 11867103"/>
              <a:gd name="connsiteY33" fmla="*/ 120580 h 2964609"/>
              <a:gd name="connsiteX34" fmla="*/ 11806813 w 11867103"/>
              <a:gd name="connsiteY34" fmla="*/ 211015 h 2964609"/>
              <a:gd name="connsiteX35" fmla="*/ 11816862 w 11867103"/>
              <a:gd name="connsiteY35" fmla="*/ 251209 h 2964609"/>
              <a:gd name="connsiteX36" fmla="*/ 11826910 w 11867103"/>
              <a:gd name="connsiteY36" fmla="*/ 341644 h 2964609"/>
              <a:gd name="connsiteX37" fmla="*/ 11836958 w 11867103"/>
              <a:gd name="connsiteY37" fmla="*/ 422031 h 2964609"/>
              <a:gd name="connsiteX38" fmla="*/ 11826910 w 11867103"/>
              <a:gd name="connsiteY38" fmla="*/ 733530 h 2964609"/>
              <a:gd name="connsiteX39" fmla="*/ 11816862 w 11867103"/>
              <a:gd name="connsiteY39" fmla="*/ 793820 h 2964609"/>
              <a:gd name="connsiteX40" fmla="*/ 11806813 w 11867103"/>
              <a:gd name="connsiteY40" fmla="*/ 864158 h 2964609"/>
              <a:gd name="connsiteX41" fmla="*/ 11816862 w 11867103"/>
              <a:gd name="connsiteY41" fmla="*/ 2331218 h 2964609"/>
              <a:gd name="connsiteX42" fmla="*/ 11826910 w 11867103"/>
              <a:gd name="connsiteY42" fmla="*/ 2401556 h 2964609"/>
              <a:gd name="connsiteX43" fmla="*/ 11836958 w 11867103"/>
              <a:gd name="connsiteY43" fmla="*/ 2431701 h 2964609"/>
              <a:gd name="connsiteX44" fmla="*/ 11857055 w 11867103"/>
              <a:gd name="connsiteY44" fmla="*/ 2562330 h 2964609"/>
              <a:gd name="connsiteX45" fmla="*/ 11867103 w 11867103"/>
              <a:gd name="connsiteY45" fmla="*/ 2602523 h 2964609"/>
              <a:gd name="connsiteX46" fmla="*/ 11857055 w 11867103"/>
              <a:gd name="connsiteY46" fmla="*/ 2833635 h 2964609"/>
              <a:gd name="connsiteX47" fmla="*/ 11836958 w 11867103"/>
              <a:gd name="connsiteY47" fmla="*/ 2863780 h 2964609"/>
              <a:gd name="connsiteX48" fmla="*/ 11033090 w 11867103"/>
              <a:gd name="connsiteY48" fmla="*/ 2853732 h 2964609"/>
              <a:gd name="connsiteX49" fmla="*/ 10621108 w 11867103"/>
              <a:gd name="connsiteY49" fmla="*/ 2843684 h 2964609"/>
              <a:gd name="connsiteX50" fmla="*/ 10128739 w 11867103"/>
              <a:gd name="connsiteY50" fmla="*/ 2853732 h 2964609"/>
              <a:gd name="connsiteX51" fmla="*/ 10048352 w 11867103"/>
              <a:gd name="connsiteY51" fmla="*/ 2863780 h 2964609"/>
              <a:gd name="connsiteX52" fmla="*/ 9555982 w 11867103"/>
              <a:gd name="connsiteY52" fmla="*/ 2853732 h 2964609"/>
              <a:gd name="connsiteX53" fmla="*/ 9445451 w 11867103"/>
              <a:gd name="connsiteY53" fmla="*/ 2843684 h 2964609"/>
              <a:gd name="connsiteX54" fmla="*/ 9415306 w 11867103"/>
              <a:gd name="connsiteY54" fmla="*/ 2823587 h 2964609"/>
              <a:gd name="connsiteX55" fmla="*/ 9204290 w 11867103"/>
              <a:gd name="connsiteY55" fmla="*/ 2803490 h 2964609"/>
              <a:gd name="connsiteX56" fmla="*/ 9073662 w 11867103"/>
              <a:gd name="connsiteY56" fmla="*/ 2783393 h 2964609"/>
              <a:gd name="connsiteX57" fmla="*/ 8812404 w 11867103"/>
              <a:gd name="connsiteY57" fmla="*/ 2773345 h 2964609"/>
              <a:gd name="connsiteX58" fmla="*/ 8400422 w 11867103"/>
              <a:gd name="connsiteY58" fmla="*/ 2763297 h 2964609"/>
              <a:gd name="connsiteX59" fmla="*/ 8269793 w 11867103"/>
              <a:gd name="connsiteY59" fmla="*/ 2753248 h 2964609"/>
              <a:gd name="connsiteX60" fmla="*/ 7797521 w 11867103"/>
              <a:gd name="connsiteY60" fmla="*/ 2773345 h 2964609"/>
              <a:gd name="connsiteX61" fmla="*/ 7717134 w 11867103"/>
              <a:gd name="connsiteY61" fmla="*/ 2783393 h 2964609"/>
              <a:gd name="connsiteX62" fmla="*/ 7486022 w 11867103"/>
              <a:gd name="connsiteY62" fmla="*/ 2813539 h 2964609"/>
              <a:gd name="connsiteX63" fmla="*/ 7395587 w 11867103"/>
              <a:gd name="connsiteY63" fmla="*/ 2833635 h 2964609"/>
              <a:gd name="connsiteX64" fmla="*/ 7325248 w 11867103"/>
              <a:gd name="connsiteY64" fmla="*/ 2843684 h 2964609"/>
              <a:gd name="connsiteX65" fmla="*/ 6863024 w 11867103"/>
              <a:gd name="connsiteY65" fmla="*/ 2833635 h 2964609"/>
              <a:gd name="connsiteX66" fmla="*/ 6722347 w 11867103"/>
              <a:gd name="connsiteY66" fmla="*/ 2823587 h 2964609"/>
              <a:gd name="connsiteX67" fmla="*/ 4903596 w 11867103"/>
              <a:gd name="connsiteY67" fmla="*/ 2873829 h 2964609"/>
              <a:gd name="connsiteX68" fmla="*/ 4722725 w 11867103"/>
              <a:gd name="connsiteY68" fmla="*/ 2914022 h 2964609"/>
              <a:gd name="connsiteX69" fmla="*/ 4300695 w 11867103"/>
              <a:gd name="connsiteY69" fmla="*/ 2893925 h 2964609"/>
              <a:gd name="connsiteX70" fmla="*/ 4059534 w 11867103"/>
              <a:gd name="connsiteY70" fmla="*/ 2853732 h 2964609"/>
              <a:gd name="connsiteX71" fmla="*/ 3768132 w 11867103"/>
              <a:gd name="connsiteY71" fmla="*/ 2823587 h 2964609"/>
              <a:gd name="connsiteX72" fmla="*/ 3627455 w 11867103"/>
              <a:gd name="connsiteY72" fmla="*/ 2813539 h 2964609"/>
              <a:gd name="connsiteX73" fmla="*/ 3125037 w 11867103"/>
              <a:gd name="connsiteY73" fmla="*/ 2823587 h 2964609"/>
              <a:gd name="connsiteX74" fmla="*/ 3064747 w 11867103"/>
              <a:gd name="connsiteY74" fmla="*/ 2833635 h 2964609"/>
              <a:gd name="connsiteX75" fmla="*/ 2009670 w 11867103"/>
              <a:gd name="connsiteY75" fmla="*/ 2843684 h 2964609"/>
              <a:gd name="connsiteX76" fmla="*/ 1678075 w 11867103"/>
              <a:gd name="connsiteY76" fmla="*/ 2934119 h 2964609"/>
              <a:gd name="connsiteX77" fmla="*/ 1607736 w 11867103"/>
              <a:gd name="connsiteY77" fmla="*/ 2964264 h 2964609"/>
              <a:gd name="connsiteX78" fmla="*/ 1135464 w 11867103"/>
              <a:gd name="connsiteY78" fmla="*/ 2944167 h 2964609"/>
              <a:gd name="connsiteX79" fmla="*/ 944545 w 11867103"/>
              <a:gd name="connsiteY79" fmla="*/ 2914022 h 2964609"/>
              <a:gd name="connsiteX80" fmla="*/ 723481 w 11867103"/>
              <a:gd name="connsiteY80" fmla="*/ 2873829 h 2964609"/>
              <a:gd name="connsiteX81" fmla="*/ 643095 w 11867103"/>
              <a:gd name="connsiteY81" fmla="*/ 2863780 h 2964609"/>
              <a:gd name="connsiteX82" fmla="*/ 371789 w 11867103"/>
              <a:gd name="connsiteY82" fmla="*/ 2823587 h 2964609"/>
              <a:gd name="connsiteX83" fmla="*/ 0 w 11867103"/>
              <a:gd name="connsiteY83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2140299 w 11867103"/>
              <a:gd name="connsiteY5" fmla="*/ 40193 h 2964609"/>
              <a:gd name="connsiteX6" fmla="*/ 2200589 w 11867103"/>
              <a:gd name="connsiteY6" fmla="*/ 50242 h 2964609"/>
              <a:gd name="connsiteX7" fmla="*/ 4652387 w 11867103"/>
              <a:gd name="connsiteY7" fmla="*/ 60290 h 2964609"/>
              <a:gd name="connsiteX8" fmla="*/ 4692580 w 11867103"/>
              <a:gd name="connsiteY8" fmla="*/ 70339 h 2964609"/>
              <a:gd name="connsiteX9" fmla="*/ 4843306 w 11867103"/>
              <a:gd name="connsiteY9" fmla="*/ 90435 h 2964609"/>
              <a:gd name="connsiteX10" fmla="*/ 5677319 w 11867103"/>
              <a:gd name="connsiteY10" fmla="*/ 80387 h 2964609"/>
              <a:gd name="connsiteX11" fmla="*/ 6169688 w 11867103"/>
              <a:gd name="connsiteY11" fmla="*/ 110532 h 2964609"/>
              <a:gd name="connsiteX12" fmla="*/ 6420897 w 11867103"/>
              <a:gd name="connsiteY12" fmla="*/ 90435 h 2964609"/>
              <a:gd name="connsiteX13" fmla="*/ 6511332 w 11867103"/>
              <a:gd name="connsiteY13" fmla="*/ 30145 h 2964609"/>
              <a:gd name="connsiteX14" fmla="*/ 6571622 w 11867103"/>
              <a:gd name="connsiteY14" fmla="*/ 20097 h 2964609"/>
              <a:gd name="connsiteX15" fmla="*/ 6641961 w 11867103"/>
              <a:gd name="connsiteY15" fmla="*/ 0 h 2964609"/>
              <a:gd name="connsiteX16" fmla="*/ 7204668 w 11867103"/>
              <a:gd name="connsiteY16" fmla="*/ 10048 h 2964609"/>
              <a:gd name="connsiteX17" fmla="*/ 7285055 w 11867103"/>
              <a:gd name="connsiteY17" fmla="*/ 30145 h 2964609"/>
              <a:gd name="connsiteX18" fmla="*/ 7375490 w 11867103"/>
              <a:gd name="connsiteY18" fmla="*/ 40193 h 2964609"/>
              <a:gd name="connsiteX19" fmla="*/ 7928150 w 11867103"/>
              <a:gd name="connsiteY19" fmla="*/ 60290 h 2964609"/>
              <a:gd name="connsiteX20" fmla="*/ 8109020 w 11867103"/>
              <a:gd name="connsiteY20" fmla="*/ 80387 h 2964609"/>
              <a:gd name="connsiteX21" fmla="*/ 8219552 w 11867103"/>
              <a:gd name="connsiteY21" fmla="*/ 90435 h 2964609"/>
              <a:gd name="connsiteX22" fmla="*/ 8299939 w 11867103"/>
              <a:gd name="connsiteY22" fmla="*/ 100484 h 2964609"/>
              <a:gd name="connsiteX23" fmla="*/ 8521002 w 11867103"/>
              <a:gd name="connsiteY23" fmla="*/ 110532 h 2964609"/>
              <a:gd name="connsiteX24" fmla="*/ 9515789 w 11867103"/>
              <a:gd name="connsiteY24" fmla="*/ 100484 h 2964609"/>
              <a:gd name="connsiteX25" fmla="*/ 9606224 w 11867103"/>
              <a:gd name="connsiteY25" fmla="*/ 90435 h 2964609"/>
              <a:gd name="connsiteX26" fmla="*/ 9716756 w 11867103"/>
              <a:gd name="connsiteY26" fmla="*/ 80387 h 2964609"/>
              <a:gd name="connsiteX27" fmla="*/ 9797143 w 11867103"/>
              <a:gd name="connsiteY27" fmla="*/ 70339 h 2964609"/>
              <a:gd name="connsiteX28" fmla="*/ 9947868 w 11867103"/>
              <a:gd name="connsiteY28" fmla="*/ 60290 h 2964609"/>
              <a:gd name="connsiteX29" fmla="*/ 10791930 w 11867103"/>
              <a:gd name="connsiteY29" fmla="*/ 30145 h 2964609"/>
              <a:gd name="connsiteX30" fmla="*/ 11736475 w 11867103"/>
              <a:gd name="connsiteY30" fmla="*/ 50242 h 2964609"/>
              <a:gd name="connsiteX31" fmla="*/ 11766620 w 11867103"/>
              <a:gd name="connsiteY31" fmla="*/ 80387 h 2964609"/>
              <a:gd name="connsiteX32" fmla="*/ 11786717 w 11867103"/>
              <a:gd name="connsiteY32" fmla="*/ 120580 h 2964609"/>
              <a:gd name="connsiteX33" fmla="*/ 11806813 w 11867103"/>
              <a:gd name="connsiteY33" fmla="*/ 211015 h 2964609"/>
              <a:gd name="connsiteX34" fmla="*/ 11816862 w 11867103"/>
              <a:gd name="connsiteY34" fmla="*/ 251209 h 2964609"/>
              <a:gd name="connsiteX35" fmla="*/ 11826910 w 11867103"/>
              <a:gd name="connsiteY35" fmla="*/ 341644 h 2964609"/>
              <a:gd name="connsiteX36" fmla="*/ 11836958 w 11867103"/>
              <a:gd name="connsiteY36" fmla="*/ 422031 h 2964609"/>
              <a:gd name="connsiteX37" fmla="*/ 11826910 w 11867103"/>
              <a:gd name="connsiteY37" fmla="*/ 733530 h 2964609"/>
              <a:gd name="connsiteX38" fmla="*/ 11816862 w 11867103"/>
              <a:gd name="connsiteY38" fmla="*/ 793820 h 2964609"/>
              <a:gd name="connsiteX39" fmla="*/ 11806813 w 11867103"/>
              <a:gd name="connsiteY39" fmla="*/ 864158 h 2964609"/>
              <a:gd name="connsiteX40" fmla="*/ 11816862 w 11867103"/>
              <a:gd name="connsiteY40" fmla="*/ 2331218 h 2964609"/>
              <a:gd name="connsiteX41" fmla="*/ 11826910 w 11867103"/>
              <a:gd name="connsiteY41" fmla="*/ 2401556 h 2964609"/>
              <a:gd name="connsiteX42" fmla="*/ 11836958 w 11867103"/>
              <a:gd name="connsiteY42" fmla="*/ 2431701 h 2964609"/>
              <a:gd name="connsiteX43" fmla="*/ 11857055 w 11867103"/>
              <a:gd name="connsiteY43" fmla="*/ 2562330 h 2964609"/>
              <a:gd name="connsiteX44" fmla="*/ 11867103 w 11867103"/>
              <a:gd name="connsiteY44" fmla="*/ 2602523 h 2964609"/>
              <a:gd name="connsiteX45" fmla="*/ 11857055 w 11867103"/>
              <a:gd name="connsiteY45" fmla="*/ 2833635 h 2964609"/>
              <a:gd name="connsiteX46" fmla="*/ 11836958 w 11867103"/>
              <a:gd name="connsiteY46" fmla="*/ 2863780 h 2964609"/>
              <a:gd name="connsiteX47" fmla="*/ 11033090 w 11867103"/>
              <a:gd name="connsiteY47" fmla="*/ 2853732 h 2964609"/>
              <a:gd name="connsiteX48" fmla="*/ 10621108 w 11867103"/>
              <a:gd name="connsiteY48" fmla="*/ 2843684 h 2964609"/>
              <a:gd name="connsiteX49" fmla="*/ 10128739 w 11867103"/>
              <a:gd name="connsiteY49" fmla="*/ 2853732 h 2964609"/>
              <a:gd name="connsiteX50" fmla="*/ 10048352 w 11867103"/>
              <a:gd name="connsiteY50" fmla="*/ 2863780 h 2964609"/>
              <a:gd name="connsiteX51" fmla="*/ 9555982 w 11867103"/>
              <a:gd name="connsiteY51" fmla="*/ 2853732 h 2964609"/>
              <a:gd name="connsiteX52" fmla="*/ 9445451 w 11867103"/>
              <a:gd name="connsiteY52" fmla="*/ 2843684 h 2964609"/>
              <a:gd name="connsiteX53" fmla="*/ 9415306 w 11867103"/>
              <a:gd name="connsiteY53" fmla="*/ 2823587 h 2964609"/>
              <a:gd name="connsiteX54" fmla="*/ 9204290 w 11867103"/>
              <a:gd name="connsiteY54" fmla="*/ 2803490 h 2964609"/>
              <a:gd name="connsiteX55" fmla="*/ 9073662 w 11867103"/>
              <a:gd name="connsiteY55" fmla="*/ 2783393 h 2964609"/>
              <a:gd name="connsiteX56" fmla="*/ 8812404 w 11867103"/>
              <a:gd name="connsiteY56" fmla="*/ 2773345 h 2964609"/>
              <a:gd name="connsiteX57" fmla="*/ 8400422 w 11867103"/>
              <a:gd name="connsiteY57" fmla="*/ 2763297 h 2964609"/>
              <a:gd name="connsiteX58" fmla="*/ 8269793 w 11867103"/>
              <a:gd name="connsiteY58" fmla="*/ 2753248 h 2964609"/>
              <a:gd name="connsiteX59" fmla="*/ 7797521 w 11867103"/>
              <a:gd name="connsiteY59" fmla="*/ 2773345 h 2964609"/>
              <a:gd name="connsiteX60" fmla="*/ 7717134 w 11867103"/>
              <a:gd name="connsiteY60" fmla="*/ 2783393 h 2964609"/>
              <a:gd name="connsiteX61" fmla="*/ 7486022 w 11867103"/>
              <a:gd name="connsiteY61" fmla="*/ 2813539 h 2964609"/>
              <a:gd name="connsiteX62" fmla="*/ 7395587 w 11867103"/>
              <a:gd name="connsiteY62" fmla="*/ 2833635 h 2964609"/>
              <a:gd name="connsiteX63" fmla="*/ 7325248 w 11867103"/>
              <a:gd name="connsiteY63" fmla="*/ 2843684 h 2964609"/>
              <a:gd name="connsiteX64" fmla="*/ 6863024 w 11867103"/>
              <a:gd name="connsiteY64" fmla="*/ 2833635 h 2964609"/>
              <a:gd name="connsiteX65" fmla="*/ 6722347 w 11867103"/>
              <a:gd name="connsiteY65" fmla="*/ 2823587 h 2964609"/>
              <a:gd name="connsiteX66" fmla="*/ 4903596 w 11867103"/>
              <a:gd name="connsiteY66" fmla="*/ 2873829 h 2964609"/>
              <a:gd name="connsiteX67" fmla="*/ 4722725 w 11867103"/>
              <a:gd name="connsiteY67" fmla="*/ 2914022 h 2964609"/>
              <a:gd name="connsiteX68" fmla="*/ 4300695 w 11867103"/>
              <a:gd name="connsiteY68" fmla="*/ 2893925 h 2964609"/>
              <a:gd name="connsiteX69" fmla="*/ 4059534 w 11867103"/>
              <a:gd name="connsiteY69" fmla="*/ 2853732 h 2964609"/>
              <a:gd name="connsiteX70" fmla="*/ 3768132 w 11867103"/>
              <a:gd name="connsiteY70" fmla="*/ 2823587 h 2964609"/>
              <a:gd name="connsiteX71" fmla="*/ 3627455 w 11867103"/>
              <a:gd name="connsiteY71" fmla="*/ 2813539 h 2964609"/>
              <a:gd name="connsiteX72" fmla="*/ 3125037 w 11867103"/>
              <a:gd name="connsiteY72" fmla="*/ 2823587 h 2964609"/>
              <a:gd name="connsiteX73" fmla="*/ 3064747 w 11867103"/>
              <a:gd name="connsiteY73" fmla="*/ 2833635 h 2964609"/>
              <a:gd name="connsiteX74" fmla="*/ 2009670 w 11867103"/>
              <a:gd name="connsiteY74" fmla="*/ 2843684 h 2964609"/>
              <a:gd name="connsiteX75" fmla="*/ 1678075 w 11867103"/>
              <a:gd name="connsiteY75" fmla="*/ 2934119 h 2964609"/>
              <a:gd name="connsiteX76" fmla="*/ 1607736 w 11867103"/>
              <a:gd name="connsiteY76" fmla="*/ 2964264 h 2964609"/>
              <a:gd name="connsiteX77" fmla="*/ 1135464 w 11867103"/>
              <a:gd name="connsiteY77" fmla="*/ 2944167 h 2964609"/>
              <a:gd name="connsiteX78" fmla="*/ 944545 w 11867103"/>
              <a:gd name="connsiteY78" fmla="*/ 2914022 h 2964609"/>
              <a:gd name="connsiteX79" fmla="*/ 723481 w 11867103"/>
              <a:gd name="connsiteY79" fmla="*/ 2873829 h 2964609"/>
              <a:gd name="connsiteX80" fmla="*/ 643095 w 11867103"/>
              <a:gd name="connsiteY80" fmla="*/ 2863780 h 2964609"/>
              <a:gd name="connsiteX81" fmla="*/ 371789 w 11867103"/>
              <a:gd name="connsiteY81" fmla="*/ 2823587 h 2964609"/>
              <a:gd name="connsiteX82" fmla="*/ 0 w 11867103"/>
              <a:gd name="connsiteY82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2140299 w 11867103"/>
              <a:gd name="connsiteY5" fmla="*/ 40193 h 2964609"/>
              <a:gd name="connsiteX6" fmla="*/ 4652387 w 11867103"/>
              <a:gd name="connsiteY6" fmla="*/ 60290 h 2964609"/>
              <a:gd name="connsiteX7" fmla="*/ 4692580 w 11867103"/>
              <a:gd name="connsiteY7" fmla="*/ 70339 h 2964609"/>
              <a:gd name="connsiteX8" fmla="*/ 4843306 w 11867103"/>
              <a:gd name="connsiteY8" fmla="*/ 90435 h 2964609"/>
              <a:gd name="connsiteX9" fmla="*/ 5677319 w 11867103"/>
              <a:gd name="connsiteY9" fmla="*/ 80387 h 2964609"/>
              <a:gd name="connsiteX10" fmla="*/ 6169688 w 11867103"/>
              <a:gd name="connsiteY10" fmla="*/ 110532 h 2964609"/>
              <a:gd name="connsiteX11" fmla="*/ 6420897 w 11867103"/>
              <a:gd name="connsiteY11" fmla="*/ 90435 h 2964609"/>
              <a:gd name="connsiteX12" fmla="*/ 6511332 w 11867103"/>
              <a:gd name="connsiteY12" fmla="*/ 30145 h 2964609"/>
              <a:gd name="connsiteX13" fmla="*/ 6571622 w 11867103"/>
              <a:gd name="connsiteY13" fmla="*/ 20097 h 2964609"/>
              <a:gd name="connsiteX14" fmla="*/ 6641961 w 11867103"/>
              <a:gd name="connsiteY14" fmla="*/ 0 h 2964609"/>
              <a:gd name="connsiteX15" fmla="*/ 7204668 w 11867103"/>
              <a:gd name="connsiteY15" fmla="*/ 10048 h 2964609"/>
              <a:gd name="connsiteX16" fmla="*/ 7285055 w 11867103"/>
              <a:gd name="connsiteY16" fmla="*/ 30145 h 2964609"/>
              <a:gd name="connsiteX17" fmla="*/ 7375490 w 11867103"/>
              <a:gd name="connsiteY17" fmla="*/ 40193 h 2964609"/>
              <a:gd name="connsiteX18" fmla="*/ 7928150 w 11867103"/>
              <a:gd name="connsiteY18" fmla="*/ 60290 h 2964609"/>
              <a:gd name="connsiteX19" fmla="*/ 8109020 w 11867103"/>
              <a:gd name="connsiteY19" fmla="*/ 80387 h 2964609"/>
              <a:gd name="connsiteX20" fmla="*/ 8219552 w 11867103"/>
              <a:gd name="connsiteY20" fmla="*/ 90435 h 2964609"/>
              <a:gd name="connsiteX21" fmla="*/ 8299939 w 11867103"/>
              <a:gd name="connsiteY21" fmla="*/ 100484 h 2964609"/>
              <a:gd name="connsiteX22" fmla="*/ 8521002 w 11867103"/>
              <a:gd name="connsiteY22" fmla="*/ 110532 h 2964609"/>
              <a:gd name="connsiteX23" fmla="*/ 9515789 w 11867103"/>
              <a:gd name="connsiteY23" fmla="*/ 100484 h 2964609"/>
              <a:gd name="connsiteX24" fmla="*/ 9606224 w 11867103"/>
              <a:gd name="connsiteY24" fmla="*/ 90435 h 2964609"/>
              <a:gd name="connsiteX25" fmla="*/ 9716756 w 11867103"/>
              <a:gd name="connsiteY25" fmla="*/ 80387 h 2964609"/>
              <a:gd name="connsiteX26" fmla="*/ 9797143 w 11867103"/>
              <a:gd name="connsiteY26" fmla="*/ 70339 h 2964609"/>
              <a:gd name="connsiteX27" fmla="*/ 9947868 w 11867103"/>
              <a:gd name="connsiteY27" fmla="*/ 60290 h 2964609"/>
              <a:gd name="connsiteX28" fmla="*/ 10791930 w 11867103"/>
              <a:gd name="connsiteY28" fmla="*/ 30145 h 2964609"/>
              <a:gd name="connsiteX29" fmla="*/ 11736475 w 11867103"/>
              <a:gd name="connsiteY29" fmla="*/ 50242 h 2964609"/>
              <a:gd name="connsiteX30" fmla="*/ 11766620 w 11867103"/>
              <a:gd name="connsiteY30" fmla="*/ 80387 h 2964609"/>
              <a:gd name="connsiteX31" fmla="*/ 11786717 w 11867103"/>
              <a:gd name="connsiteY31" fmla="*/ 120580 h 2964609"/>
              <a:gd name="connsiteX32" fmla="*/ 11806813 w 11867103"/>
              <a:gd name="connsiteY32" fmla="*/ 211015 h 2964609"/>
              <a:gd name="connsiteX33" fmla="*/ 11816862 w 11867103"/>
              <a:gd name="connsiteY33" fmla="*/ 251209 h 2964609"/>
              <a:gd name="connsiteX34" fmla="*/ 11826910 w 11867103"/>
              <a:gd name="connsiteY34" fmla="*/ 341644 h 2964609"/>
              <a:gd name="connsiteX35" fmla="*/ 11836958 w 11867103"/>
              <a:gd name="connsiteY35" fmla="*/ 422031 h 2964609"/>
              <a:gd name="connsiteX36" fmla="*/ 11826910 w 11867103"/>
              <a:gd name="connsiteY36" fmla="*/ 733530 h 2964609"/>
              <a:gd name="connsiteX37" fmla="*/ 11816862 w 11867103"/>
              <a:gd name="connsiteY37" fmla="*/ 793820 h 2964609"/>
              <a:gd name="connsiteX38" fmla="*/ 11806813 w 11867103"/>
              <a:gd name="connsiteY38" fmla="*/ 864158 h 2964609"/>
              <a:gd name="connsiteX39" fmla="*/ 11816862 w 11867103"/>
              <a:gd name="connsiteY39" fmla="*/ 2331218 h 2964609"/>
              <a:gd name="connsiteX40" fmla="*/ 11826910 w 11867103"/>
              <a:gd name="connsiteY40" fmla="*/ 2401556 h 2964609"/>
              <a:gd name="connsiteX41" fmla="*/ 11836958 w 11867103"/>
              <a:gd name="connsiteY41" fmla="*/ 2431701 h 2964609"/>
              <a:gd name="connsiteX42" fmla="*/ 11857055 w 11867103"/>
              <a:gd name="connsiteY42" fmla="*/ 2562330 h 2964609"/>
              <a:gd name="connsiteX43" fmla="*/ 11867103 w 11867103"/>
              <a:gd name="connsiteY43" fmla="*/ 2602523 h 2964609"/>
              <a:gd name="connsiteX44" fmla="*/ 11857055 w 11867103"/>
              <a:gd name="connsiteY44" fmla="*/ 2833635 h 2964609"/>
              <a:gd name="connsiteX45" fmla="*/ 11836958 w 11867103"/>
              <a:gd name="connsiteY45" fmla="*/ 2863780 h 2964609"/>
              <a:gd name="connsiteX46" fmla="*/ 11033090 w 11867103"/>
              <a:gd name="connsiteY46" fmla="*/ 2853732 h 2964609"/>
              <a:gd name="connsiteX47" fmla="*/ 10621108 w 11867103"/>
              <a:gd name="connsiteY47" fmla="*/ 2843684 h 2964609"/>
              <a:gd name="connsiteX48" fmla="*/ 10128739 w 11867103"/>
              <a:gd name="connsiteY48" fmla="*/ 2853732 h 2964609"/>
              <a:gd name="connsiteX49" fmla="*/ 10048352 w 11867103"/>
              <a:gd name="connsiteY49" fmla="*/ 2863780 h 2964609"/>
              <a:gd name="connsiteX50" fmla="*/ 9555982 w 11867103"/>
              <a:gd name="connsiteY50" fmla="*/ 2853732 h 2964609"/>
              <a:gd name="connsiteX51" fmla="*/ 9445451 w 11867103"/>
              <a:gd name="connsiteY51" fmla="*/ 2843684 h 2964609"/>
              <a:gd name="connsiteX52" fmla="*/ 9415306 w 11867103"/>
              <a:gd name="connsiteY52" fmla="*/ 2823587 h 2964609"/>
              <a:gd name="connsiteX53" fmla="*/ 9204290 w 11867103"/>
              <a:gd name="connsiteY53" fmla="*/ 2803490 h 2964609"/>
              <a:gd name="connsiteX54" fmla="*/ 9073662 w 11867103"/>
              <a:gd name="connsiteY54" fmla="*/ 2783393 h 2964609"/>
              <a:gd name="connsiteX55" fmla="*/ 8812404 w 11867103"/>
              <a:gd name="connsiteY55" fmla="*/ 2773345 h 2964609"/>
              <a:gd name="connsiteX56" fmla="*/ 8400422 w 11867103"/>
              <a:gd name="connsiteY56" fmla="*/ 2763297 h 2964609"/>
              <a:gd name="connsiteX57" fmla="*/ 8269793 w 11867103"/>
              <a:gd name="connsiteY57" fmla="*/ 2753248 h 2964609"/>
              <a:gd name="connsiteX58" fmla="*/ 7797521 w 11867103"/>
              <a:gd name="connsiteY58" fmla="*/ 2773345 h 2964609"/>
              <a:gd name="connsiteX59" fmla="*/ 7717134 w 11867103"/>
              <a:gd name="connsiteY59" fmla="*/ 2783393 h 2964609"/>
              <a:gd name="connsiteX60" fmla="*/ 7486022 w 11867103"/>
              <a:gd name="connsiteY60" fmla="*/ 2813539 h 2964609"/>
              <a:gd name="connsiteX61" fmla="*/ 7395587 w 11867103"/>
              <a:gd name="connsiteY61" fmla="*/ 2833635 h 2964609"/>
              <a:gd name="connsiteX62" fmla="*/ 7325248 w 11867103"/>
              <a:gd name="connsiteY62" fmla="*/ 2843684 h 2964609"/>
              <a:gd name="connsiteX63" fmla="*/ 6863024 w 11867103"/>
              <a:gd name="connsiteY63" fmla="*/ 2833635 h 2964609"/>
              <a:gd name="connsiteX64" fmla="*/ 6722347 w 11867103"/>
              <a:gd name="connsiteY64" fmla="*/ 2823587 h 2964609"/>
              <a:gd name="connsiteX65" fmla="*/ 4903596 w 11867103"/>
              <a:gd name="connsiteY65" fmla="*/ 2873829 h 2964609"/>
              <a:gd name="connsiteX66" fmla="*/ 4722725 w 11867103"/>
              <a:gd name="connsiteY66" fmla="*/ 2914022 h 2964609"/>
              <a:gd name="connsiteX67" fmla="*/ 4300695 w 11867103"/>
              <a:gd name="connsiteY67" fmla="*/ 2893925 h 2964609"/>
              <a:gd name="connsiteX68" fmla="*/ 4059534 w 11867103"/>
              <a:gd name="connsiteY68" fmla="*/ 2853732 h 2964609"/>
              <a:gd name="connsiteX69" fmla="*/ 3768132 w 11867103"/>
              <a:gd name="connsiteY69" fmla="*/ 2823587 h 2964609"/>
              <a:gd name="connsiteX70" fmla="*/ 3627455 w 11867103"/>
              <a:gd name="connsiteY70" fmla="*/ 2813539 h 2964609"/>
              <a:gd name="connsiteX71" fmla="*/ 3125037 w 11867103"/>
              <a:gd name="connsiteY71" fmla="*/ 2823587 h 2964609"/>
              <a:gd name="connsiteX72" fmla="*/ 3064747 w 11867103"/>
              <a:gd name="connsiteY72" fmla="*/ 2833635 h 2964609"/>
              <a:gd name="connsiteX73" fmla="*/ 2009670 w 11867103"/>
              <a:gd name="connsiteY73" fmla="*/ 2843684 h 2964609"/>
              <a:gd name="connsiteX74" fmla="*/ 1678075 w 11867103"/>
              <a:gd name="connsiteY74" fmla="*/ 2934119 h 2964609"/>
              <a:gd name="connsiteX75" fmla="*/ 1607736 w 11867103"/>
              <a:gd name="connsiteY75" fmla="*/ 2964264 h 2964609"/>
              <a:gd name="connsiteX76" fmla="*/ 1135464 w 11867103"/>
              <a:gd name="connsiteY76" fmla="*/ 2944167 h 2964609"/>
              <a:gd name="connsiteX77" fmla="*/ 944545 w 11867103"/>
              <a:gd name="connsiteY77" fmla="*/ 2914022 h 2964609"/>
              <a:gd name="connsiteX78" fmla="*/ 723481 w 11867103"/>
              <a:gd name="connsiteY78" fmla="*/ 2873829 h 2964609"/>
              <a:gd name="connsiteX79" fmla="*/ 643095 w 11867103"/>
              <a:gd name="connsiteY79" fmla="*/ 2863780 h 2964609"/>
              <a:gd name="connsiteX80" fmla="*/ 371789 w 11867103"/>
              <a:gd name="connsiteY80" fmla="*/ 2823587 h 2964609"/>
              <a:gd name="connsiteX81" fmla="*/ 0 w 11867103"/>
              <a:gd name="connsiteY81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2140299 w 11867103"/>
              <a:gd name="connsiteY5" fmla="*/ 40193 h 2964609"/>
              <a:gd name="connsiteX6" fmla="*/ 4652387 w 11867103"/>
              <a:gd name="connsiteY6" fmla="*/ 60290 h 2964609"/>
              <a:gd name="connsiteX7" fmla="*/ 4692580 w 11867103"/>
              <a:gd name="connsiteY7" fmla="*/ 70339 h 2964609"/>
              <a:gd name="connsiteX8" fmla="*/ 5677319 w 11867103"/>
              <a:gd name="connsiteY8" fmla="*/ 80387 h 2964609"/>
              <a:gd name="connsiteX9" fmla="*/ 6169688 w 11867103"/>
              <a:gd name="connsiteY9" fmla="*/ 110532 h 2964609"/>
              <a:gd name="connsiteX10" fmla="*/ 6420897 w 11867103"/>
              <a:gd name="connsiteY10" fmla="*/ 90435 h 2964609"/>
              <a:gd name="connsiteX11" fmla="*/ 6511332 w 11867103"/>
              <a:gd name="connsiteY11" fmla="*/ 30145 h 2964609"/>
              <a:gd name="connsiteX12" fmla="*/ 6571622 w 11867103"/>
              <a:gd name="connsiteY12" fmla="*/ 20097 h 2964609"/>
              <a:gd name="connsiteX13" fmla="*/ 6641961 w 11867103"/>
              <a:gd name="connsiteY13" fmla="*/ 0 h 2964609"/>
              <a:gd name="connsiteX14" fmla="*/ 7204668 w 11867103"/>
              <a:gd name="connsiteY14" fmla="*/ 10048 h 2964609"/>
              <a:gd name="connsiteX15" fmla="*/ 7285055 w 11867103"/>
              <a:gd name="connsiteY15" fmla="*/ 30145 h 2964609"/>
              <a:gd name="connsiteX16" fmla="*/ 7375490 w 11867103"/>
              <a:gd name="connsiteY16" fmla="*/ 40193 h 2964609"/>
              <a:gd name="connsiteX17" fmla="*/ 7928150 w 11867103"/>
              <a:gd name="connsiteY17" fmla="*/ 60290 h 2964609"/>
              <a:gd name="connsiteX18" fmla="*/ 8109020 w 11867103"/>
              <a:gd name="connsiteY18" fmla="*/ 80387 h 2964609"/>
              <a:gd name="connsiteX19" fmla="*/ 8219552 w 11867103"/>
              <a:gd name="connsiteY19" fmla="*/ 90435 h 2964609"/>
              <a:gd name="connsiteX20" fmla="*/ 8299939 w 11867103"/>
              <a:gd name="connsiteY20" fmla="*/ 100484 h 2964609"/>
              <a:gd name="connsiteX21" fmla="*/ 8521002 w 11867103"/>
              <a:gd name="connsiteY21" fmla="*/ 110532 h 2964609"/>
              <a:gd name="connsiteX22" fmla="*/ 9515789 w 11867103"/>
              <a:gd name="connsiteY22" fmla="*/ 100484 h 2964609"/>
              <a:gd name="connsiteX23" fmla="*/ 9606224 w 11867103"/>
              <a:gd name="connsiteY23" fmla="*/ 90435 h 2964609"/>
              <a:gd name="connsiteX24" fmla="*/ 9716756 w 11867103"/>
              <a:gd name="connsiteY24" fmla="*/ 80387 h 2964609"/>
              <a:gd name="connsiteX25" fmla="*/ 9797143 w 11867103"/>
              <a:gd name="connsiteY25" fmla="*/ 70339 h 2964609"/>
              <a:gd name="connsiteX26" fmla="*/ 9947868 w 11867103"/>
              <a:gd name="connsiteY26" fmla="*/ 60290 h 2964609"/>
              <a:gd name="connsiteX27" fmla="*/ 10791930 w 11867103"/>
              <a:gd name="connsiteY27" fmla="*/ 30145 h 2964609"/>
              <a:gd name="connsiteX28" fmla="*/ 11736475 w 11867103"/>
              <a:gd name="connsiteY28" fmla="*/ 50242 h 2964609"/>
              <a:gd name="connsiteX29" fmla="*/ 11766620 w 11867103"/>
              <a:gd name="connsiteY29" fmla="*/ 80387 h 2964609"/>
              <a:gd name="connsiteX30" fmla="*/ 11786717 w 11867103"/>
              <a:gd name="connsiteY30" fmla="*/ 120580 h 2964609"/>
              <a:gd name="connsiteX31" fmla="*/ 11806813 w 11867103"/>
              <a:gd name="connsiteY31" fmla="*/ 211015 h 2964609"/>
              <a:gd name="connsiteX32" fmla="*/ 11816862 w 11867103"/>
              <a:gd name="connsiteY32" fmla="*/ 251209 h 2964609"/>
              <a:gd name="connsiteX33" fmla="*/ 11826910 w 11867103"/>
              <a:gd name="connsiteY33" fmla="*/ 341644 h 2964609"/>
              <a:gd name="connsiteX34" fmla="*/ 11836958 w 11867103"/>
              <a:gd name="connsiteY34" fmla="*/ 422031 h 2964609"/>
              <a:gd name="connsiteX35" fmla="*/ 11826910 w 11867103"/>
              <a:gd name="connsiteY35" fmla="*/ 733530 h 2964609"/>
              <a:gd name="connsiteX36" fmla="*/ 11816862 w 11867103"/>
              <a:gd name="connsiteY36" fmla="*/ 793820 h 2964609"/>
              <a:gd name="connsiteX37" fmla="*/ 11806813 w 11867103"/>
              <a:gd name="connsiteY37" fmla="*/ 864158 h 2964609"/>
              <a:gd name="connsiteX38" fmla="*/ 11816862 w 11867103"/>
              <a:gd name="connsiteY38" fmla="*/ 2331218 h 2964609"/>
              <a:gd name="connsiteX39" fmla="*/ 11826910 w 11867103"/>
              <a:gd name="connsiteY39" fmla="*/ 2401556 h 2964609"/>
              <a:gd name="connsiteX40" fmla="*/ 11836958 w 11867103"/>
              <a:gd name="connsiteY40" fmla="*/ 2431701 h 2964609"/>
              <a:gd name="connsiteX41" fmla="*/ 11857055 w 11867103"/>
              <a:gd name="connsiteY41" fmla="*/ 2562330 h 2964609"/>
              <a:gd name="connsiteX42" fmla="*/ 11867103 w 11867103"/>
              <a:gd name="connsiteY42" fmla="*/ 2602523 h 2964609"/>
              <a:gd name="connsiteX43" fmla="*/ 11857055 w 11867103"/>
              <a:gd name="connsiteY43" fmla="*/ 2833635 h 2964609"/>
              <a:gd name="connsiteX44" fmla="*/ 11836958 w 11867103"/>
              <a:gd name="connsiteY44" fmla="*/ 2863780 h 2964609"/>
              <a:gd name="connsiteX45" fmla="*/ 11033090 w 11867103"/>
              <a:gd name="connsiteY45" fmla="*/ 2853732 h 2964609"/>
              <a:gd name="connsiteX46" fmla="*/ 10621108 w 11867103"/>
              <a:gd name="connsiteY46" fmla="*/ 2843684 h 2964609"/>
              <a:gd name="connsiteX47" fmla="*/ 10128739 w 11867103"/>
              <a:gd name="connsiteY47" fmla="*/ 2853732 h 2964609"/>
              <a:gd name="connsiteX48" fmla="*/ 10048352 w 11867103"/>
              <a:gd name="connsiteY48" fmla="*/ 2863780 h 2964609"/>
              <a:gd name="connsiteX49" fmla="*/ 9555982 w 11867103"/>
              <a:gd name="connsiteY49" fmla="*/ 2853732 h 2964609"/>
              <a:gd name="connsiteX50" fmla="*/ 9445451 w 11867103"/>
              <a:gd name="connsiteY50" fmla="*/ 2843684 h 2964609"/>
              <a:gd name="connsiteX51" fmla="*/ 9415306 w 11867103"/>
              <a:gd name="connsiteY51" fmla="*/ 2823587 h 2964609"/>
              <a:gd name="connsiteX52" fmla="*/ 9204290 w 11867103"/>
              <a:gd name="connsiteY52" fmla="*/ 2803490 h 2964609"/>
              <a:gd name="connsiteX53" fmla="*/ 9073662 w 11867103"/>
              <a:gd name="connsiteY53" fmla="*/ 2783393 h 2964609"/>
              <a:gd name="connsiteX54" fmla="*/ 8812404 w 11867103"/>
              <a:gd name="connsiteY54" fmla="*/ 2773345 h 2964609"/>
              <a:gd name="connsiteX55" fmla="*/ 8400422 w 11867103"/>
              <a:gd name="connsiteY55" fmla="*/ 2763297 h 2964609"/>
              <a:gd name="connsiteX56" fmla="*/ 8269793 w 11867103"/>
              <a:gd name="connsiteY56" fmla="*/ 2753248 h 2964609"/>
              <a:gd name="connsiteX57" fmla="*/ 7797521 w 11867103"/>
              <a:gd name="connsiteY57" fmla="*/ 2773345 h 2964609"/>
              <a:gd name="connsiteX58" fmla="*/ 7717134 w 11867103"/>
              <a:gd name="connsiteY58" fmla="*/ 2783393 h 2964609"/>
              <a:gd name="connsiteX59" fmla="*/ 7486022 w 11867103"/>
              <a:gd name="connsiteY59" fmla="*/ 2813539 h 2964609"/>
              <a:gd name="connsiteX60" fmla="*/ 7395587 w 11867103"/>
              <a:gd name="connsiteY60" fmla="*/ 2833635 h 2964609"/>
              <a:gd name="connsiteX61" fmla="*/ 7325248 w 11867103"/>
              <a:gd name="connsiteY61" fmla="*/ 2843684 h 2964609"/>
              <a:gd name="connsiteX62" fmla="*/ 6863024 w 11867103"/>
              <a:gd name="connsiteY62" fmla="*/ 2833635 h 2964609"/>
              <a:gd name="connsiteX63" fmla="*/ 6722347 w 11867103"/>
              <a:gd name="connsiteY63" fmla="*/ 2823587 h 2964609"/>
              <a:gd name="connsiteX64" fmla="*/ 4903596 w 11867103"/>
              <a:gd name="connsiteY64" fmla="*/ 2873829 h 2964609"/>
              <a:gd name="connsiteX65" fmla="*/ 4722725 w 11867103"/>
              <a:gd name="connsiteY65" fmla="*/ 2914022 h 2964609"/>
              <a:gd name="connsiteX66" fmla="*/ 4300695 w 11867103"/>
              <a:gd name="connsiteY66" fmla="*/ 2893925 h 2964609"/>
              <a:gd name="connsiteX67" fmla="*/ 4059534 w 11867103"/>
              <a:gd name="connsiteY67" fmla="*/ 2853732 h 2964609"/>
              <a:gd name="connsiteX68" fmla="*/ 3768132 w 11867103"/>
              <a:gd name="connsiteY68" fmla="*/ 2823587 h 2964609"/>
              <a:gd name="connsiteX69" fmla="*/ 3627455 w 11867103"/>
              <a:gd name="connsiteY69" fmla="*/ 2813539 h 2964609"/>
              <a:gd name="connsiteX70" fmla="*/ 3125037 w 11867103"/>
              <a:gd name="connsiteY70" fmla="*/ 2823587 h 2964609"/>
              <a:gd name="connsiteX71" fmla="*/ 3064747 w 11867103"/>
              <a:gd name="connsiteY71" fmla="*/ 2833635 h 2964609"/>
              <a:gd name="connsiteX72" fmla="*/ 2009670 w 11867103"/>
              <a:gd name="connsiteY72" fmla="*/ 2843684 h 2964609"/>
              <a:gd name="connsiteX73" fmla="*/ 1678075 w 11867103"/>
              <a:gd name="connsiteY73" fmla="*/ 2934119 h 2964609"/>
              <a:gd name="connsiteX74" fmla="*/ 1607736 w 11867103"/>
              <a:gd name="connsiteY74" fmla="*/ 2964264 h 2964609"/>
              <a:gd name="connsiteX75" fmla="*/ 1135464 w 11867103"/>
              <a:gd name="connsiteY75" fmla="*/ 2944167 h 2964609"/>
              <a:gd name="connsiteX76" fmla="*/ 944545 w 11867103"/>
              <a:gd name="connsiteY76" fmla="*/ 2914022 h 2964609"/>
              <a:gd name="connsiteX77" fmla="*/ 723481 w 11867103"/>
              <a:gd name="connsiteY77" fmla="*/ 2873829 h 2964609"/>
              <a:gd name="connsiteX78" fmla="*/ 643095 w 11867103"/>
              <a:gd name="connsiteY78" fmla="*/ 2863780 h 2964609"/>
              <a:gd name="connsiteX79" fmla="*/ 371789 w 11867103"/>
              <a:gd name="connsiteY79" fmla="*/ 2823587 h 2964609"/>
              <a:gd name="connsiteX80" fmla="*/ 0 w 11867103"/>
              <a:gd name="connsiteY80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2140299 w 11867103"/>
              <a:gd name="connsiteY5" fmla="*/ 40193 h 2964609"/>
              <a:gd name="connsiteX6" fmla="*/ 4652387 w 11867103"/>
              <a:gd name="connsiteY6" fmla="*/ 60290 h 2964609"/>
              <a:gd name="connsiteX7" fmla="*/ 4692580 w 11867103"/>
              <a:gd name="connsiteY7" fmla="*/ 70339 h 2964609"/>
              <a:gd name="connsiteX8" fmla="*/ 6169688 w 11867103"/>
              <a:gd name="connsiteY8" fmla="*/ 110532 h 2964609"/>
              <a:gd name="connsiteX9" fmla="*/ 6420897 w 11867103"/>
              <a:gd name="connsiteY9" fmla="*/ 90435 h 2964609"/>
              <a:gd name="connsiteX10" fmla="*/ 6511332 w 11867103"/>
              <a:gd name="connsiteY10" fmla="*/ 30145 h 2964609"/>
              <a:gd name="connsiteX11" fmla="*/ 6571622 w 11867103"/>
              <a:gd name="connsiteY11" fmla="*/ 20097 h 2964609"/>
              <a:gd name="connsiteX12" fmla="*/ 6641961 w 11867103"/>
              <a:gd name="connsiteY12" fmla="*/ 0 h 2964609"/>
              <a:gd name="connsiteX13" fmla="*/ 7204668 w 11867103"/>
              <a:gd name="connsiteY13" fmla="*/ 10048 h 2964609"/>
              <a:gd name="connsiteX14" fmla="*/ 7285055 w 11867103"/>
              <a:gd name="connsiteY14" fmla="*/ 30145 h 2964609"/>
              <a:gd name="connsiteX15" fmla="*/ 7375490 w 11867103"/>
              <a:gd name="connsiteY15" fmla="*/ 40193 h 2964609"/>
              <a:gd name="connsiteX16" fmla="*/ 7928150 w 11867103"/>
              <a:gd name="connsiteY16" fmla="*/ 60290 h 2964609"/>
              <a:gd name="connsiteX17" fmla="*/ 8109020 w 11867103"/>
              <a:gd name="connsiteY17" fmla="*/ 80387 h 2964609"/>
              <a:gd name="connsiteX18" fmla="*/ 8219552 w 11867103"/>
              <a:gd name="connsiteY18" fmla="*/ 90435 h 2964609"/>
              <a:gd name="connsiteX19" fmla="*/ 8299939 w 11867103"/>
              <a:gd name="connsiteY19" fmla="*/ 100484 h 2964609"/>
              <a:gd name="connsiteX20" fmla="*/ 8521002 w 11867103"/>
              <a:gd name="connsiteY20" fmla="*/ 110532 h 2964609"/>
              <a:gd name="connsiteX21" fmla="*/ 9515789 w 11867103"/>
              <a:gd name="connsiteY21" fmla="*/ 100484 h 2964609"/>
              <a:gd name="connsiteX22" fmla="*/ 9606224 w 11867103"/>
              <a:gd name="connsiteY22" fmla="*/ 90435 h 2964609"/>
              <a:gd name="connsiteX23" fmla="*/ 9716756 w 11867103"/>
              <a:gd name="connsiteY23" fmla="*/ 80387 h 2964609"/>
              <a:gd name="connsiteX24" fmla="*/ 9797143 w 11867103"/>
              <a:gd name="connsiteY24" fmla="*/ 70339 h 2964609"/>
              <a:gd name="connsiteX25" fmla="*/ 9947868 w 11867103"/>
              <a:gd name="connsiteY25" fmla="*/ 60290 h 2964609"/>
              <a:gd name="connsiteX26" fmla="*/ 10791930 w 11867103"/>
              <a:gd name="connsiteY26" fmla="*/ 30145 h 2964609"/>
              <a:gd name="connsiteX27" fmla="*/ 11736475 w 11867103"/>
              <a:gd name="connsiteY27" fmla="*/ 50242 h 2964609"/>
              <a:gd name="connsiteX28" fmla="*/ 11766620 w 11867103"/>
              <a:gd name="connsiteY28" fmla="*/ 80387 h 2964609"/>
              <a:gd name="connsiteX29" fmla="*/ 11786717 w 11867103"/>
              <a:gd name="connsiteY29" fmla="*/ 120580 h 2964609"/>
              <a:gd name="connsiteX30" fmla="*/ 11806813 w 11867103"/>
              <a:gd name="connsiteY30" fmla="*/ 211015 h 2964609"/>
              <a:gd name="connsiteX31" fmla="*/ 11816862 w 11867103"/>
              <a:gd name="connsiteY31" fmla="*/ 251209 h 2964609"/>
              <a:gd name="connsiteX32" fmla="*/ 11826910 w 11867103"/>
              <a:gd name="connsiteY32" fmla="*/ 341644 h 2964609"/>
              <a:gd name="connsiteX33" fmla="*/ 11836958 w 11867103"/>
              <a:gd name="connsiteY33" fmla="*/ 422031 h 2964609"/>
              <a:gd name="connsiteX34" fmla="*/ 11826910 w 11867103"/>
              <a:gd name="connsiteY34" fmla="*/ 733530 h 2964609"/>
              <a:gd name="connsiteX35" fmla="*/ 11816862 w 11867103"/>
              <a:gd name="connsiteY35" fmla="*/ 793820 h 2964609"/>
              <a:gd name="connsiteX36" fmla="*/ 11806813 w 11867103"/>
              <a:gd name="connsiteY36" fmla="*/ 864158 h 2964609"/>
              <a:gd name="connsiteX37" fmla="*/ 11816862 w 11867103"/>
              <a:gd name="connsiteY37" fmla="*/ 2331218 h 2964609"/>
              <a:gd name="connsiteX38" fmla="*/ 11826910 w 11867103"/>
              <a:gd name="connsiteY38" fmla="*/ 2401556 h 2964609"/>
              <a:gd name="connsiteX39" fmla="*/ 11836958 w 11867103"/>
              <a:gd name="connsiteY39" fmla="*/ 2431701 h 2964609"/>
              <a:gd name="connsiteX40" fmla="*/ 11857055 w 11867103"/>
              <a:gd name="connsiteY40" fmla="*/ 2562330 h 2964609"/>
              <a:gd name="connsiteX41" fmla="*/ 11867103 w 11867103"/>
              <a:gd name="connsiteY41" fmla="*/ 2602523 h 2964609"/>
              <a:gd name="connsiteX42" fmla="*/ 11857055 w 11867103"/>
              <a:gd name="connsiteY42" fmla="*/ 2833635 h 2964609"/>
              <a:gd name="connsiteX43" fmla="*/ 11836958 w 11867103"/>
              <a:gd name="connsiteY43" fmla="*/ 2863780 h 2964609"/>
              <a:gd name="connsiteX44" fmla="*/ 11033090 w 11867103"/>
              <a:gd name="connsiteY44" fmla="*/ 2853732 h 2964609"/>
              <a:gd name="connsiteX45" fmla="*/ 10621108 w 11867103"/>
              <a:gd name="connsiteY45" fmla="*/ 2843684 h 2964609"/>
              <a:gd name="connsiteX46" fmla="*/ 10128739 w 11867103"/>
              <a:gd name="connsiteY46" fmla="*/ 2853732 h 2964609"/>
              <a:gd name="connsiteX47" fmla="*/ 10048352 w 11867103"/>
              <a:gd name="connsiteY47" fmla="*/ 2863780 h 2964609"/>
              <a:gd name="connsiteX48" fmla="*/ 9555982 w 11867103"/>
              <a:gd name="connsiteY48" fmla="*/ 2853732 h 2964609"/>
              <a:gd name="connsiteX49" fmla="*/ 9445451 w 11867103"/>
              <a:gd name="connsiteY49" fmla="*/ 2843684 h 2964609"/>
              <a:gd name="connsiteX50" fmla="*/ 9415306 w 11867103"/>
              <a:gd name="connsiteY50" fmla="*/ 2823587 h 2964609"/>
              <a:gd name="connsiteX51" fmla="*/ 9204290 w 11867103"/>
              <a:gd name="connsiteY51" fmla="*/ 2803490 h 2964609"/>
              <a:gd name="connsiteX52" fmla="*/ 9073662 w 11867103"/>
              <a:gd name="connsiteY52" fmla="*/ 2783393 h 2964609"/>
              <a:gd name="connsiteX53" fmla="*/ 8812404 w 11867103"/>
              <a:gd name="connsiteY53" fmla="*/ 2773345 h 2964609"/>
              <a:gd name="connsiteX54" fmla="*/ 8400422 w 11867103"/>
              <a:gd name="connsiteY54" fmla="*/ 2763297 h 2964609"/>
              <a:gd name="connsiteX55" fmla="*/ 8269793 w 11867103"/>
              <a:gd name="connsiteY55" fmla="*/ 2753248 h 2964609"/>
              <a:gd name="connsiteX56" fmla="*/ 7797521 w 11867103"/>
              <a:gd name="connsiteY56" fmla="*/ 2773345 h 2964609"/>
              <a:gd name="connsiteX57" fmla="*/ 7717134 w 11867103"/>
              <a:gd name="connsiteY57" fmla="*/ 2783393 h 2964609"/>
              <a:gd name="connsiteX58" fmla="*/ 7486022 w 11867103"/>
              <a:gd name="connsiteY58" fmla="*/ 2813539 h 2964609"/>
              <a:gd name="connsiteX59" fmla="*/ 7395587 w 11867103"/>
              <a:gd name="connsiteY59" fmla="*/ 2833635 h 2964609"/>
              <a:gd name="connsiteX60" fmla="*/ 7325248 w 11867103"/>
              <a:gd name="connsiteY60" fmla="*/ 2843684 h 2964609"/>
              <a:gd name="connsiteX61" fmla="*/ 6863024 w 11867103"/>
              <a:gd name="connsiteY61" fmla="*/ 2833635 h 2964609"/>
              <a:gd name="connsiteX62" fmla="*/ 6722347 w 11867103"/>
              <a:gd name="connsiteY62" fmla="*/ 2823587 h 2964609"/>
              <a:gd name="connsiteX63" fmla="*/ 4903596 w 11867103"/>
              <a:gd name="connsiteY63" fmla="*/ 2873829 h 2964609"/>
              <a:gd name="connsiteX64" fmla="*/ 4722725 w 11867103"/>
              <a:gd name="connsiteY64" fmla="*/ 2914022 h 2964609"/>
              <a:gd name="connsiteX65" fmla="*/ 4300695 w 11867103"/>
              <a:gd name="connsiteY65" fmla="*/ 2893925 h 2964609"/>
              <a:gd name="connsiteX66" fmla="*/ 4059534 w 11867103"/>
              <a:gd name="connsiteY66" fmla="*/ 2853732 h 2964609"/>
              <a:gd name="connsiteX67" fmla="*/ 3768132 w 11867103"/>
              <a:gd name="connsiteY67" fmla="*/ 2823587 h 2964609"/>
              <a:gd name="connsiteX68" fmla="*/ 3627455 w 11867103"/>
              <a:gd name="connsiteY68" fmla="*/ 2813539 h 2964609"/>
              <a:gd name="connsiteX69" fmla="*/ 3125037 w 11867103"/>
              <a:gd name="connsiteY69" fmla="*/ 2823587 h 2964609"/>
              <a:gd name="connsiteX70" fmla="*/ 3064747 w 11867103"/>
              <a:gd name="connsiteY70" fmla="*/ 2833635 h 2964609"/>
              <a:gd name="connsiteX71" fmla="*/ 2009670 w 11867103"/>
              <a:gd name="connsiteY71" fmla="*/ 2843684 h 2964609"/>
              <a:gd name="connsiteX72" fmla="*/ 1678075 w 11867103"/>
              <a:gd name="connsiteY72" fmla="*/ 2934119 h 2964609"/>
              <a:gd name="connsiteX73" fmla="*/ 1607736 w 11867103"/>
              <a:gd name="connsiteY73" fmla="*/ 2964264 h 2964609"/>
              <a:gd name="connsiteX74" fmla="*/ 1135464 w 11867103"/>
              <a:gd name="connsiteY74" fmla="*/ 2944167 h 2964609"/>
              <a:gd name="connsiteX75" fmla="*/ 944545 w 11867103"/>
              <a:gd name="connsiteY75" fmla="*/ 2914022 h 2964609"/>
              <a:gd name="connsiteX76" fmla="*/ 723481 w 11867103"/>
              <a:gd name="connsiteY76" fmla="*/ 2873829 h 2964609"/>
              <a:gd name="connsiteX77" fmla="*/ 643095 w 11867103"/>
              <a:gd name="connsiteY77" fmla="*/ 2863780 h 2964609"/>
              <a:gd name="connsiteX78" fmla="*/ 371789 w 11867103"/>
              <a:gd name="connsiteY78" fmla="*/ 2823587 h 2964609"/>
              <a:gd name="connsiteX79" fmla="*/ 0 w 11867103"/>
              <a:gd name="connsiteY79" fmla="*/ 2813539 h 2964609"/>
              <a:gd name="connsiteX0" fmla="*/ 120580 w 11867103"/>
              <a:gd name="connsiteY0" fmla="*/ 51336 h 2965703"/>
              <a:gd name="connsiteX1" fmla="*/ 281354 w 11867103"/>
              <a:gd name="connsiteY1" fmla="*/ 41287 h 2965703"/>
              <a:gd name="connsiteX2" fmla="*/ 673240 w 11867103"/>
              <a:gd name="connsiteY2" fmla="*/ 31239 h 2965703"/>
              <a:gd name="connsiteX3" fmla="*/ 1356528 w 11867103"/>
              <a:gd name="connsiteY3" fmla="*/ 81481 h 2965703"/>
              <a:gd name="connsiteX4" fmla="*/ 1758462 w 11867103"/>
              <a:gd name="connsiteY4" fmla="*/ 41287 h 2965703"/>
              <a:gd name="connsiteX5" fmla="*/ 2140299 w 11867103"/>
              <a:gd name="connsiteY5" fmla="*/ 41287 h 2965703"/>
              <a:gd name="connsiteX6" fmla="*/ 4652387 w 11867103"/>
              <a:gd name="connsiteY6" fmla="*/ 61384 h 2965703"/>
              <a:gd name="connsiteX7" fmla="*/ 4692580 w 11867103"/>
              <a:gd name="connsiteY7" fmla="*/ 71433 h 2965703"/>
              <a:gd name="connsiteX8" fmla="*/ 6169688 w 11867103"/>
              <a:gd name="connsiteY8" fmla="*/ 111626 h 2965703"/>
              <a:gd name="connsiteX9" fmla="*/ 6420897 w 11867103"/>
              <a:gd name="connsiteY9" fmla="*/ 91529 h 2965703"/>
              <a:gd name="connsiteX10" fmla="*/ 6511332 w 11867103"/>
              <a:gd name="connsiteY10" fmla="*/ 31239 h 2965703"/>
              <a:gd name="connsiteX11" fmla="*/ 6641961 w 11867103"/>
              <a:gd name="connsiteY11" fmla="*/ 1094 h 2965703"/>
              <a:gd name="connsiteX12" fmla="*/ 7204668 w 11867103"/>
              <a:gd name="connsiteY12" fmla="*/ 11142 h 2965703"/>
              <a:gd name="connsiteX13" fmla="*/ 7285055 w 11867103"/>
              <a:gd name="connsiteY13" fmla="*/ 31239 h 2965703"/>
              <a:gd name="connsiteX14" fmla="*/ 7375490 w 11867103"/>
              <a:gd name="connsiteY14" fmla="*/ 41287 h 2965703"/>
              <a:gd name="connsiteX15" fmla="*/ 7928150 w 11867103"/>
              <a:gd name="connsiteY15" fmla="*/ 61384 h 2965703"/>
              <a:gd name="connsiteX16" fmla="*/ 8109020 w 11867103"/>
              <a:gd name="connsiteY16" fmla="*/ 81481 h 2965703"/>
              <a:gd name="connsiteX17" fmla="*/ 8219552 w 11867103"/>
              <a:gd name="connsiteY17" fmla="*/ 91529 h 2965703"/>
              <a:gd name="connsiteX18" fmla="*/ 8299939 w 11867103"/>
              <a:gd name="connsiteY18" fmla="*/ 101578 h 2965703"/>
              <a:gd name="connsiteX19" fmla="*/ 8521002 w 11867103"/>
              <a:gd name="connsiteY19" fmla="*/ 111626 h 2965703"/>
              <a:gd name="connsiteX20" fmla="*/ 9515789 w 11867103"/>
              <a:gd name="connsiteY20" fmla="*/ 101578 h 2965703"/>
              <a:gd name="connsiteX21" fmla="*/ 9606224 w 11867103"/>
              <a:gd name="connsiteY21" fmla="*/ 91529 h 2965703"/>
              <a:gd name="connsiteX22" fmla="*/ 9716756 w 11867103"/>
              <a:gd name="connsiteY22" fmla="*/ 81481 h 2965703"/>
              <a:gd name="connsiteX23" fmla="*/ 9797143 w 11867103"/>
              <a:gd name="connsiteY23" fmla="*/ 71433 h 2965703"/>
              <a:gd name="connsiteX24" fmla="*/ 9947868 w 11867103"/>
              <a:gd name="connsiteY24" fmla="*/ 61384 h 2965703"/>
              <a:gd name="connsiteX25" fmla="*/ 10791930 w 11867103"/>
              <a:gd name="connsiteY25" fmla="*/ 31239 h 2965703"/>
              <a:gd name="connsiteX26" fmla="*/ 11736475 w 11867103"/>
              <a:gd name="connsiteY26" fmla="*/ 51336 h 2965703"/>
              <a:gd name="connsiteX27" fmla="*/ 11766620 w 11867103"/>
              <a:gd name="connsiteY27" fmla="*/ 81481 h 2965703"/>
              <a:gd name="connsiteX28" fmla="*/ 11786717 w 11867103"/>
              <a:gd name="connsiteY28" fmla="*/ 121674 h 2965703"/>
              <a:gd name="connsiteX29" fmla="*/ 11806813 w 11867103"/>
              <a:gd name="connsiteY29" fmla="*/ 212109 h 2965703"/>
              <a:gd name="connsiteX30" fmla="*/ 11816862 w 11867103"/>
              <a:gd name="connsiteY30" fmla="*/ 252303 h 2965703"/>
              <a:gd name="connsiteX31" fmla="*/ 11826910 w 11867103"/>
              <a:gd name="connsiteY31" fmla="*/ 342738 h 2965703"/>
              <a:gd name="connsiteX32" fmla="*/ 11836958 w 11867103"/>
              <a:gd name="connsiteY32" fmla="*/ 423125 h 2965703"/>
              <a:gd name="connsiteX33" fmla="*/ 11826910 w 11867103"/>
              <a:gd name="connsiteY33" fmla="*/ 734624 h 2965703"/>
              <a:gd name="connsiteX34" fmla="*/ 11816862 w 11867103"/>
              <a:gd name="connsiteY34" fmla="*/ 794914 h 2965703"/>
              <a:gd name="connsiteX35" fmla="*/ 11806813 w 11867103"/>
              <a:gd name="connsiteY35" fmla="*/ 865252 h 2965703"/>
              <a:gd name="connsiteX36" fmla="*/ 11816862 w 11867103"/>
              <a:gd name="connsiteY36" fmla="*/ 2332312 h 2965703"/>
              <a:gd name="connsiteX37" fmla="*/ 11826910 w 11867103"/>
              <a:gd name="connsiteY37" fmla="*/ 2402650 h 2965703"/>
              <a:gd name="connsiteX38" fmla="*/ 11836958 w 11867103"/>
              <a:gd name="connsiteY38" fmla="*/ 2432795 h 2965703"/>
              <a:gd name="connsiteX39" fmla="*/ 11857055 w 11867103"/>
              <a:gd name="connsiteY39" fmla="*/ 2563424 h 2965703"/>
              <a:gd name="connsiteX40" fmla="*/ 11867103 w 11867103"/>
              <a:gd name="connsiteY40" fmla="*/ 2603617 h 2965703"/>
              <a:gd name="connsiteX41" fmla="*/ 11857055 w 11867103"/>
              <a:gd name="connsiteY41" fmla="*/ 2834729 h 2965703"/>
              <a:gd name="connsiteX42" fmla="*/ 11836958 w 11867103"/>
              <a:gd name="connsiteY42" fmla="*/ 2864874 h 2965703"/>
              <a:gd name="connsiteX43" fmla="*/ 11033090 w 11867103"/>
              <a:gd name="connsiteY43" fmla="*/ 2854826 h 2965703"/>
              <a:gd name="connsiteX44" fmla="*/ 10621108 w 11867103"/>
              <a:gd name="connsiteY44" fmla="*/ 2844778 h 2965703"/>
              <a:gd name="connsiteX45" fmla="*/ 10128739 w 11867103"/>
              <a:gd name="connsiteY45" fmla="*/ 2854826 h 2965703"/>
              <a:gd name="connsiteX46" fmla="*/ 10048352 w 11867103"/>
              <a:gd name="connsiteY46" fmla="*/ 2864874 h 2965703"/>
              <a:gd name="connsiteX47" fmla="*/ 9555982 w 11867103"/>
              <a:gd name="connsiteY47" fmla="*/ 2854826 h 2965703"/>
              <a:gd name="connsiteX48" fmla="*/ 9445451 w 11867103"/>
              <a:gd name="connsiteY48" fmla="*/ 2844778 h 2965703"/>
              <a:gd name="connsiteX49" fmla="*/ 9415306 w 11867103"/>
              <a:gd name="connsiteY49" fmla="*/ 2824681 h 2965703"/>
              <a:gd name="connsiteX50" fmla="*/ 9204290 w 11867103"/>
              <a:gd name="connsiteY50" fmla="*/ 2804584 h 2965703"/>
              <a:gd name="connsiteX51" fmla="*/ 9073662 w 11867103"/>
              <a:gd name="connsiteY51" fmla="*/ 2784487 h 2965703"/>
              <a:gd name="connsiteX52" fmla="*/ 8812404 w 11867103"/>
              <a:gd name="connsiteY52" fmla="*/ 2774439 h 2965703"/>
              <a:gd name="connsiteX53" fmla="*/ 8400422 w 11867103"/>
              <a:gd name="connsiteY53" fmla="*/ 2764391 h 2965703"/>
              <a:gd name="connsiteX54" fmla="*/ 8269793 w 11867103"/>
              <a:gd name="connsiteY54" fmla="*/ 2754342 h 2965703"/>
              <a:gd name="connsiteX55" fmla="*/ 7797521 w 11867103"/>
              <a:gd name="connsiteY55" fmla="*/ 2774439 h 2965703"/>
              <a:gd name="connsiteX56" fmla="*/ 7717134 w 11867103"/>
              <a:gd name="connsiteY56" fmla="*/ 2784487 h 2965703"/>
              <a:gd name="connsiteX57" fmla="*/ 7486022 w 11867103"/>
              <a:gd name="connsiteY57" fmla="*/ 2814633 h 2965703"/>
              <a:gd name="connsiteX58" fmla="*/ 7395587 w 11867103"/>
              <a:gd name="connsiteY58" fmla="*/ 2834729 h 2965703"/>
              <a:gd name="connsiteX59" fmla="*/ 7325248 w 11867103"/>
              <a:gd name="connsiteY59" fmla="*/ 2844778 h 2965703"/>
              <a:gd name="connsiteX60" fmla="*/ 6863024 w 11867103"/>
              <a:gd name="connsiteY60" fmla="*/ 2834729 h 2965703"/>
              <a:gd name="connsiteX61" fmla="*/ 6722347 w 11867103"/>
              <a:gd name="connsiteY61" fmla="*/ 2824681 h 2965703"/>
              <a:gd name="connsiteX62" fmla="*/ 4903596 w 11867103"/>
              <a:gd name="connsiteY62" fmla="*/ 2874923 h 2965703"/>
              <a:gd name="connsiteX63" fmla="*/ 4722725 w 11867103"/>
              <a:gd name="connsiteY63" fmla="*/ 2915116 h 2965703"/>
              <a:gd name="connsiteX64" fmla="*/ 4300695 w 11867103"/>
              <a:gd name="connsiteY64" fmla="*/ 2895019 h 2965703"/>
              <a:gd name="connsiteX65" fmla="*/ 4059534 w 11867103"/>
              <a:gd name="connsiteY65" fmla="*/ 2854826 h 2965703"/>
              <a:gd name="connsiteX66" fmla="*/ 3768132 w 11867103"/>
              <a:gd name="connsiteY66" fmla="*/ 2824681 h 2965703"/>
              <a:gd name="connsiteX67" fmla="*/ 3627455 w 11867103"/>
              <a:gd name="connsiteY67" fmla="*/ 2814633 h 2965703"/>
              <a:gd name="connsiteX68" fmla="*/ 3125037 w 11867103"/>
              <a:gd name="connsiteY68" fmla="*/ 2824681 h 2965703"/>
              <a:gd name="connsiteX69" fmla="*/ 3064747 w 11867103"/>
              <a:gd name="connsiteY69" fmla="*/ 2834729 h 2965703"/>
              <a:gd name="connsiteX70" fmla="*/ 2009670 w 11867103"/>
              <a:gd name="connsiteY70" fmla="*/ 2844778 h 2965703"/>
              <a:gd name="connsiteX71" fmla="*/ 1678075 w 11867103"/>
              <a:gd name="connsiteY71" fmla="*/ 2935213 h 2965703"/>
              <a:gd name="connsiteX72" fmla="*/ 1607736 w 11867103"/>
              <a:gd name="connsiteY72" fmla="*/ 2965358 h 2965703"/>
              <a:gd name="connsiteX73" fmla="*/ 1135464 w 11867103"/>
              <a:gd name="connsiteY73" fmla="*/ 2945261 h 2965703"/>
              <a:gd name="connsiteX74" fmla="*/ 944545 w 11867103"/>
              <a:gd name="connsiteY74" fmla="*/ 2915116 h 2965703"/>
              <a:gd name="connsiteX75" fmla="*/ 723481 w 11867103"/>
              <a:gd name="connsiteY75" fmla="*/ 2874923 h 2965703"/>
              <a:gd name="connsiteX76" fmla="*/ 643095 w 11867103"/>
              <a:gd name="connsiteY76" fmla="*/ 2864874 h 2965703"/>
              <a:gd name="connsiteX77" fmla="*/ 371789 w 11867103"/>
              <a:gd name="connsiteY77" fmla="*/ 2824681 h 2965703"/>
              <a:gd name="connsiteX78" fmla="*/ 0 w 11867103"/>
              <a:gd name="connsiteY78" fmla="*/ 2814633 h 2965703"/>
              <a:gd name="connsiteX0" fmla="*/ 120580 w 11867103"/>
              <a:gd name="connsiteY0" fmla="*/ 40194 h 2954561"/>
              <a:gd name="connsiteX1" fmla="*/ 281354 w 11867103"/>
              <a:gd name="connsiteY1" fmla="*/ 30145 h 2954561"/>
              <a:gd name="connsiteX2" fmla="*/ 673240 w 11867103"/>
              <a:gd name="connsiteY2" fmla="*/ 20097 h 2954561"/>
              <a:gd name="connsiteX3" fmla="*/ 1356528 w 11867103"/>
              <a:gd name="connsiteY3" fmla="*/ 70339 h 2954561"/>
              <a:gd name="connsiteX4" fmla="*/ 1758462 w 11867103"/>
              <a:gd name="connsiteY4" fmla="*/ 30145 h 2954561"/>
              <a:gd name="connsiteX5" fmla="*/ 2140299 w 11867103"/>
              <a:gd name="connsiteY5" fmla="*/ 30145 h 2954561"/>
              <a:gd name="connsiteX6" fmla="*/ 4652387 w 11867103"/>
              <a:gd name="connsiteY6" fmla="*/ 50242 h 2954561"/>
              <a:gd name="connsiteX7" fmla="*/ 4692580 w 11867103"/>
              <a:gd name="connsiteY7" fmla="*/ 60291 h 2954561"/>
              <a:gd name="connsiteX8" fmla="*/ 6169688 w 11867103"/>
              <a:gd name="connsiteY8" fmla="*/ 100484 h 2954561"/>
              <a:gd name="connsiteX9" fmla="*/ 6420897 w 11867103"/>
              <a:gd name="connsiteY9" fmla="*/ 80387 h 2954561"/>
              <a:gd name="connsiteX10" fmla="*/ 6511332 w 11867103"/>
              <a:gd name="connsiteY10" fmla="*/ 20097 h 2954561"/>
              <a:gd name="connsiteX11" fmla="*/ 7204668 w 11867103"/>
              <a:gd name="connsiteY11" fmla="*/ 0 h 2954561"/>
              <a:gd name="connsiteX12" fmla="*/ 7285055 w 11867103"/>
              <a:gd name="connsiteY12" fmla="*/ 20097 h 2954561"/>
              <a:gd name="connsiteX13" fmla="*/ 7375490 w 11867103"/>
              <a:gd name="connsiteY13" fmla="*/ 30145 h 2954561"/>
              <a:gd name="connsiteX14" fmla="*/ 7928150 w 11867103"/>
              <a:gd name="connsiteY14" fmla="*/ 50242 h 2954561"/>
              <a:gd name="connsiteX15" fmla="*/ 8109020 w 11867103"/>
              <a:gd name="connsiteY15" fmla="*/ 70339 h 2954561"/>
              <a:gd name="connsiteX16" fmla="*/ 8219552 w 11867103"/>
              <a:gd name="connsiteY16" fmla="*/ 80387 h 2954561"/>
              <a:gd name="connsiteX17" fmla="*/ 8299939 w 11867103"/>
              <a:gd name="connsiteY17" fmla="*/ 90436 h 2954561"/>
              <a:gd name="connsiteX18" fmla="*/ 8521002 w 11867103"/>
              <a:gd name="connsiteY18" fmla="*/ 100484 h 2954561"/>
              <a:gd name="connsiteX19" fmla="*/ 9515789 w 11867103"/>
              <a:gd name="connsiteY19" fmla="*/ 90436 h 2954561"/>
              <a:gd name="connsiteX20" fmla="*/ 9606224 w 11867103"/>
              <a:gd name="connsiteY20" fmla="*/ 80387 h 2954561"/>
              <a:gd name="connsiteX21" fmla="*/ 9716756 w 11867103"/>
              <a:gd name="connsiteY21" fmla="*/ 70339 h 2954561"/>
              <a:gd name="connsiteX22" fmla="*/ 9797143 w 11867103"/>
              <a:gd name="connsiteY22" fmla="*/ 60291 h 2954561"/>
              <a:gd name="connsiteX23" fmla="*/ 9947868 w 11867103"/>
              <a:gd name="connsiteY23" fmla="*/ 50242 h 2954561"/>
              <a:gd name="connsiteX24" fmla="*/ 10791930 w 11867103"/>
              <a:gd name="connsiteY24" fmla="*/ 20097 h 2954561"/>
              <a:gd name="connsiteX25" fmla="*/ 11736475 w 11867103"/>
              <a:gd name="connsiteY25" fmla="*/ 40194 h 2954561"/>
              <a:gd name="connsiteX26" fmla="*/ 11766620 w 11867103"/>
              <a:gd name="connsiteY26" fmla="*/ 70339 h 2954561"/>
              <a:gd name="connsiteX27" fmla="*/ 11786717 w 11867103"/>
              <a:gd name="connsiteY27" fmla="*/ 110532 h 2954561"/>
              <a:gd name="connsiteX28" fmla="*/ 11806813 w 11867103"/>
              <a:gd name="connsiteY28" fmla="*/ 200967 h 2954561"/>
              <a:gd name="connsiteX29" fmla="*/ 11816862 w 11867103"/>
              <a:gd name="connsiteY29" fmla="*/ 241161 h 2954561"/>
              <a:gd name="connsiteX30" fmla="*/ 11826910 w 11867103"/>
              <a:gd name="connsiteY30" fmla="*/ 331596 h 2954561"/>
              <a:gd name="connsiteX31" fmla="*/ 11836958 w 11867103"/>
              <a:gd name="connsiteY31" fmla="*/ 411983 h 2954561"/>
              <a:gd name="connsiteX32" fmla="*/ 11826910 w 11867103"/>
              <a:gd name="connsiteY32" fmla="*/ 723482 h 2954561"/>
              <a:gd name="connsiteX33" fmla="*/ 11816862 w 11867103"/>
              <a:gd name="connsiteY33" fmla="*/ 783772 h 2954561"/>
              <a:gd name="connsiteX34" fmla="*/ 11806813 w 11867103"/>
              <a:gd name="connsiteY34" fmla="*/ 854110 h 2954561"/>
              <a:gd name="connsiteX35" fmla="*/ 11816862 w 11867103"/>
              <a:gd name="connsiteY35" fmla="*/ 2321170 h 2954561"/>
              <a:gd name="connsiteX36" fmla="*/ 11826910 w 11867103"/>
              <a:gd name="connsiteY36" fmla="*/ 2391508 h 2954561"/>
              <a:gd name="connsiteX37" fmla="*/ 11836958 w 11867103"/>
              <a:gd name="connsiteY37" fmla="*/ 2421653 h 2954561"/>
              <a:gd name="connsiteX38" fmla="*/ 11857055 w 11867103"/>
              <a:gd name="connsiteY38" fmla="*/ 2552282 h 2954561"/>
              <a:gd name="connsiteX39" fmla="*/ 11867103 w 11867103"/>
              <a:gd name="connsiteY39" fmla="*/ 2592475 h 2954561"/>
              <a:gd name="connsiteX40" fmla="*/ 11857055 w 11867103"/>
              <a:gd name="connsiteY40" fmla="*/ 2823587 h 2954561"/>
              <a:gd name="connsiteX41" fmla="*/ 11836958 w 11867103"/>
              <a:gd name="connsiteY41" fmla="*/ 2853732 h 2954561"/>
              <a:gd name="connsiteX42" fmla="*/ 11033090 w 11867103"/>
              <a:gd name="connsiteY42" fmla="*/ 2843684 h 2954561"/>
              <a:gd name="connsiteX43" fmla="*/ 10621108 w 11867103"/>
              <a:gd name="connsiteY43" fmla="*/ 2833636 h 2954561"/>
              <a:gd name="connsiteX44" fmla="*/ 10128739 w 11867103"/>
              <a:gd name="connsiteY44" fmla="*/ 2843684 h 2954561"/>
              <a:gd name="connsiteX45" fmla="*/ 10048352 w 11867103"/>
              <a:gd name="connsiteY45" fmla="*/ 2853732 h 2954561"/>
              <a:gd name="connsiteX46" fmla="*/ 9555982 w 11867103"/>
              <a:gd name="connsiteY46" fmla="*/ 2843684 h 2954561"/>
              <a:gd name="connsiteX47" fmla="*/ 9445451 w 11867103"/>
              <a:gd name="connsiteY47" fmla="*/ 2833636 h 2954561"/>
              <a:gd name="connsiteX48" fmla="*/ 9415306 w 11867103"/>
              <a:gd name="connsiteY48" fmla="*/ 2813539 h 2954561"/>
              <a:gd name="connsiteX49" fmla="*/ 9204290 w 11867103"/>
              <a:gd name="connsiteY49" fmla="*/ 2793442 h 2954561"/>
              <a:gd name="connsiteX50" fmla="*/ 9073662 w 11867103"/>
              <a:gd name="connsiteY50" fmla="*/ 2773345 h 2954561"/>
              <a:gd name="connsiteX51" fmla="*/ 8812404 w 11867103"/>
              <a:gd name="connsiteY51" fmla="*/ 2763297 h 2954561"/>
              <a:gd name="connsiteX52" fmla="*/ 8400422 w 11867103"/>
              <a:gd name="connsiteY52" fmla="*/ 2753249 h 2954561"/>
              <a:gd name="connsiteX53" fmla="*/ 8269793 w 11867103"/>
              <a:gd name="connsiteY53" fmla="*/ 2743200 h 2954561"/>
              <a:gd name="connsiteX54" fmla="*/ 7797521 w 11867103"/>
              <a:gd name="connsiteY54" fmla="*/ 2763297 h 2954561"/>
              <a:gd name="connsiteX55" fmla="*/ 7717134 w 11867103"/>
              <a:gd name="connsiteY55" fmla="*/ 2773345 h 2954561"/>
              <a:gd name="connsiteX56" fmla="*/ 7486022 w 11867103"/>
              <a:gd name="connsiteY56" fmla="*/ 2803491 h 2954561"/>
              <a:gd name="connsiteX57" fmla="*/ 7395587 w 11867103"/>
              <a:gd name="connsiteY57" fmla="*/ 2823587 h 2954561"/>
              <a:gd name="connsiteX58" fmla="*/ 7325248 w 11867103"/>
              <a:gd name="connsiteY58" fmla="*/ 2833636 h 2954561"/>
              <a:gd name="connsiteX59" fmla="*/ 6863024 w 11867103"/>
              <a:gd name="connsiteY59" fmla="*/ 2823587 h 2954561"/>
              <a:gd name="connsiteX60" fmla="*/ 6722347 w 11867103"/>
              <a:gd name="connsiteY60" fmla="*/ 2813539 h 2954561"/>
              <a:gd name="connsiteX61" fmla="*/ 4903596 w 11867103"/>
              <a:gd name="connsiteY61" fmla="*/ 2863781 h 2954561"/>
              <a:gd name="connsiteX62" fmla="*/ 4722725 w 11867103"/>
              <a:gd name="connsiteY62" fmla="*/ 2903974 h 2954561"/>
              <a:gd name="connsiteX63" fmla="*/ 4300695 w 11867103"/>
              <a:gd name="connsiteY63" fmla="*/ 2883877 h 2954561"/>
              <a:gd name="connsiteX64" fmla="*/ 4059534 w 11867103"/>
              <a:gd name="connsiteY64" fmla="*/ 2843684 h 2954561"/>
              <a:gd name="connsiteX65" fmla="*/ 3768132 w 11867103"/>
              <a:gd name="connsiteY65" fmla="*/ 2813539 h 2954561"/>
              <a:gd name="connsiteX66" fmla="*/ 3627455 w 11867103"/>
              <a:gd name="connsiteY66" fmla="*/ 2803491 h 2954561"/>
              <a:gd name="connsiteX67" fmla="*/ 3125037 w 11867103"/>
              <a:gd name="connsiteY67" fmla="*/ 2813539 h 2954561"/>
              <a:gd name="connsiteX68" fmla="*/ 3064747 w 11867103"/>
              <a:gd name="connsiteY68" fmla="*/ 2823587 h 2954561"/>
              <a:gd name="connsiteX69" fmla="*/ 2009670 w 11867103"/>
              <a:gd name="connsiteY69" fmla="*/ 2833636 h 2954561"/>
              <a:gd name="connsiteX70" fmla="*/ 1678075 w 11867103"/>
              <a:gd name="connsiteY70" fmla="*/ 2924071 h 2954561"/>
              <a:gd name="connsiteX71" fmla="*/ 1607736 w 11867103"/>
              <a:gd name="connsiteY71" fmla="*/ 2954216 h 2954561"/>
              <a:gd name="connsiteX72" fmla="*/ 1135464 w 11867103"/>
              <a:gd name="connsiteY72" fmla="*/ 2934119 h 2954561"/>
              <a:gd name="connsiteX73" fmla="*/ 944545 w 11867103"/>
              <a:gd name="connsiteY73" fmla="*/ 2903974 h 2954561"/>
              <a:gd name="connsiteX74" fmla="*/ 723481 w 11867103"/>
              <a:gd name="connsiteY74" fmla="*/ 2863781 h 2954561"/>
              <a:gd name="connsiteX75" fmla="*/ 643095 w 11867103"/>
              <a:gd name="connsiteY75" fmla="*/ 2853732 h 2954561"/>
              <a:gd name="connsiteX76" fmla="*/ 371789 w 11867103"/>
              <a:gd name="connsiteY76" fmla="*/ 2813539 h 2954561"/>
              <a:gd name="connsiteX77" fmla="*/ 0 w 11867103"/>
              <a:gd name="connsiteY77" fmla="*/ 2803491 h 2954561"/>
              <a:gd name="connsiteX0" fmla="*/ 120580 w 11867103"/>
              <a:gd name="connsiteY0" fmla="*/ 42528 h 2956895"/>
              <a:gd name="connsiteX1" fmla="*/ 281354 w 11867103"/>
              <a:gd name="connsiteY1" fmla="*/ 32479 h 2956895"/>
              <a:gd name="connsiteX2" fmla="*/ 673240 w 11867103"/>
              <a:gd name="connsiteY2" fmla="*/ 22431 h 2956895"/>
              <a:gd name="connsiteX3" fmla="*/ 1356528 w 11867103"/>
              <a:gd name="connsiteY3" fmla="*/ 72673 h 2956895"/>
              <a:gd name="connsiteX4" fmla="*/ 1758462 w 11867103"/>
              <a:gd name="connsiteY4" fmla="*/ 32479 h 2956895"/>
              <a:gd name="connsiteX5" fmla="*/ 2140299 w 11867103"/>
              <a:gd name="connsiteY5" fmla="*/ 32479 h 2956895"/>
              <a:gd name="connsiteX6" fmla="*/ 4652387 w 11867103"/>
              <a:gd name="connsiteY6" fmla="*/ 52576 h 2956895"/>
              <a:gd name="connsiteX7" fmla="*/ 4692580 w 11867103"/>
              <a:gd name="connsiteY7" fmla="*/ 62625 h 2956895"/>
              <a:gd name="connsiteX8" fmla="*/ 6169688 w 11867103"/>
              <a:gd name="connsiteY8" fmla="*/ 102818 h 2956895"/>
              <a:gd name="connsiteX9" fmla="*/ 6420897 w 11867103"/>
              <a:gd name="connsiteY9" fmla="*/ 82721 h 2956895"/>
              <a:gd name="connsiteX10" fmla="*/ 7204668 w 11867103"/>
              <a:gd name="connsiteY10" fmla="*/ 2334 h 2956895"/>
              <a:gd name="connsiteX11" fmla="*/ 7285055 w 11867103"/>
              <a:gd name="connsiteY11" fmla="*/ 22431 h 2956895"/>
              <a:gd name="connsiteX12" fmla="*/ 7375490 w 11867103"/>
              <a:gd name="connsiteY12" fmla="*/ 32479 h 2956895"/>
              <a:gd name="connsiteX13" fmla="*/ 7928150 w 11867103"/>
              <a:gd name="connsiteY13" fmla="*/ 52576 h 2956895"/>
              <a:gd name="connsiteX14" fmla="*/ 8109020 w 11867103"/>
              <a:gd name="connsiteY14" fmla="*/ 72673 h 2956895"/>
              <a:gd name="connsiteX15" fmla="*/ 8219552 w 11867103"/>
              <a:gd name="connsiteY15" fmla="*/ 82721 h 2956895"/>
              <a:gd name="connsiteX16" fmla="*/ 8299939 w 11867103"/>
              <a:gd name="connsiteY16" fmla="*/ 92770 h 2956895"/>
              <a:gd name="connsiteX17" fmla="*/ 8521002 w 11867103"/>
              <a:gd name="connsiteY17" fmla="*/ 102818 h 2956895"/>
              <a:gd name="connsiteX18" fmla="*/ 9515789 w 11867103"/>
              <a:gd name="connsiteY18" fmla="*/ 92770 h 2956895"/>
              <a:gd name="connsiteX19" fmla="*/ 9606224 w 11867103"/>
              <a:gd name="connsiteY19" fmla="*/ 82721 h 2956895"/>
              <a:gd name="connsiteX20" fmla="*/ 9716756 w 11867103"/>
              <a:gd name="connsiteY20" fmla="*/ 72673 h 2956895"/>
              <a:gd name="connsiteX21" fmla="*/ 9797143 w 11867103"/>
              <a:gd name="connsiteY21" fmla="*/ 62625 h 2956895"/>
              <a:gd name="connsiteX22" fmla="*/ 9947868 w 11867103"/>
              <a:gd name="connsiteY22" fmla="*/ 52576 h 2956895"/>
              <a:gd name="connsiteX23" fmla="*/ 10791930 w 11867103"/>
              <a:gd name="connsiteY23" fmla="*/ 22431 h 2956895"/>
              <a:gd name="connsiteX24" fmla="*/ 11736475 w 11867103"/>
              <a:gd name="connsiteY24" fmla="*/ 42528 h 2956895"/>
              <a:gd name="connsiteX25" fmla="*/ 11766620 w 11867103"/>
              <a:gd name="connsiteY25" fmla="*/ 72673 h 2956895"/>
              <a:gd name="connsiteX26" fmla="*/ 11786717 w 11867103"/>
              <a:gd name="connsiteY26" fmla="*/ 112866 h 2956895"/>
              <a:gd name="connsiteX27" fmla="*/ 11806813 w 11867103"/>
              <a:gd name="connsiteY27" fmla="*/ 203301 h 2956895"/>
              <a:gd name="connsiteX28" fmla="*/ 11816862 w 11867103"/>
              <a:gd name="connsiteY28" fmla="*/ 243495 h 2956895"/>
              <a:gd name="connsiteX29" fmla="*/ 11826910 w 11867103"/>
              <a:gd name="connsiteY29" fmla="*/ 333930 h 2956895"/>
              <a:gd name="connsiteX30" fmla="*/ 11836958 w 11867103"/>
              <a:gd name="connsiteY30" fmla="*/ 414317 h 2956895"/>
              <a:gd name="connsiteX31" fmla="*/ 11826910 w 11867103"/>
              <a:gd name="connsiteY31" fmla="*/ 725816 h 2956895"/>
              <a:gd name="connsiteX32" fmla="*/ 11816862 w 11867103"/>
              <a:gd name="connsiteY32" fmla="*/ 786106 h 2956895"/>
              <a:gd name="connsiteX33" fmla="*/ 11806813 w 11867103"/>
              <a:gd name="connsiteY33" fmla="*/ 856444 h 2956895"/>
              <a:gd name="connsiteX34" fmla="*/ 11816862 w 11867103"/>
              <a:gd name="connsiteY34" fmla="*/ 2323504 h 2956895"/>
              <a:gd name="connsiteX35" fmla="*/ 11826910 w 11867103"/>
              <a:gd name="connsiteY35" fmla="*/ 2393842 h 2956895"/>
              <a:gd name="connsiteX36" fmla="*/ 11836958 w 11867103"/>
              <a:gd name="connsiteY36" fmla="*/ 2423987 h 2956895"/>
              <a:gd name="connsiteX37" fmla="*/ 11857055 w 11867103"/>
              <a:gd name="connsiteY37" fmla="*/ 2554616 h 2956895"/>
              <a:gd name="connsiteX38" fmla="*/ 11867103 w 11867103"/>
              <a:gd name="connsiteY38" fmla="*/ 2594809 h 2956895"/>
              <a:gd name="connsiteX39" fmla="*/ 11857055 w 11867103"/>
              <a:gd name="connsiteY39" fmla="*/ 2825921 h 2956895"/>
              <a:gd name="connsiteX40" fmla="*/ 11836958 w 11867103"/>
              <a:gd name="connsiteY40" fmla="*/ 2856066 h 2956895"/>
              <a:gd name="connsiteX41" fmla="*/ 11033090 w 11867103"/>
              <a:gd name="connsiteY41" fmla="*/ 2846018 h 2956895"/>
              <a:gd name="connsiteX42" fmla="*/ 10621108 w 11867103"/>
              <a:gd name="connsiteY42" fmla="*/ 2835970 h 2956895"/>
              <a:gd name="connsiteX43" fmla="*/ 10128739 w 11867103"/>
              <a:gd name="connsiteY43" fmla="*/ 2846018 h 2956895"/>
              <a:gd name="connsiteX44" fmla="*/ 10048352 w 11867103"/>
              <a:gd name="connsiteY44" fmla="*/ 2856066 h 2956895"/>
              <a:gd name="connsiteX45" fmla="*/ 9555982 w 11867103"/>
              <a:gd name="connsiteY45" fmla="*/ 2846018 h 2956895"/>
              <a:gd name="connsiteX46" fmla="*/ 9445451 w 11867103"/>
              <a:gd name="connsiteY46" fmla="*/ 2835970 h 2956895"/>
              <a:gd name="connsiteX47" fmla="*/ 9415306 w 11867103"/>
              <a:gd name="connsiteY47" fmla="*/ 2815873 h 2956895"/>
              <a:gd name="connsiteX48" fmla="*/ 9204290 w 11867103"/>
              <a:gd name="connsiteY48" fmla="*/ 2795776 h 2956895"/>
              <a:gd name="connsiteX49" fmla="*/ 9073662 w 11867103"/>
              <a:gd name="connsiteY49" fmla="*/ 2775679 h 2956895"/>
              <a:gd name="connsiteX50" fmla="*/ 8812404 w 11867103"/>
              <a:gd name="connsiteY50" fmla="*/ 2765631 h 2956895"/>
              <a:gd name="connsiteX51" fmla="*/ 8400422 w 11867103"/>
              <a:gd name="connsiteY51" fmla="*/ 2755583 h 2956895"/>
              <a:gd name="connsiteX52" fmla="*/ 8269793 w 11867103"/>
              <a:gd name="connsiteY52" fmla="*/ 2745534 h 2956895"/>
              <a:gd name="connsiteX53" fmla="*/ 7797521 w 11867103"/>
              <a:gd name="connsiteY53" fmla="*/ 2765631 h 2956895"/>
              <a:gd name="connsiteX54" fmla="*/ 7717134 w 11867103"/>
              <a:gd name="connsiteY54" fmla="*/ 2775679 h 2956895"/>
              <a:gd name="connsiteX55" fmla="*/ 7486022 w 11867103"/>
              <a:gd name="connsiteY55" fmla="*/ 2805825 h 2956895"/>
              <a:gd name="connsiteX56" fmla="*/ 7395587 w 11867103"/>
              <a:gd name="connsiteY56" fmla="*/ 2825921 h 2956895"/>
              <a:gd name="connsiteX57" fmla="*/ 7325248 w 11867103"/>
              <a:gd name="connsiteY57" fmla="*/ 2835970 h 2956895"/>
              <a:gd name="connsiteX58" fmla="*/ 6863024 w 11867103"/>
              <a:gd name="connsiteY58" fmla="*/ 2825921 h 2956895"/>
              <a:gd name="connsiteX59" fmla="*/ 6722347 w 11867103"/>
              <a:gd name="connsiteY59" fmla="*/ 2815873 h 2956895"/>
              <a:gd name="connsiteX60" fmla="*/ 4903596 w 11867103"/>
              <a:gd name="connsiteY60" fmla="*/ 2866115 h 2956895"/>
              <a:gd name="connsiteX61" fmla="*/ 4722725 w 11867103"/>
              <a:gd name="connsiteY61" fmla="*/ 2906308 h 2956895"/>
              <a:gd name="connsiteX62" fmla="*/ 4300695 w 11867103"/>
              <a:gd name="connsiteY62" fmla="*/ 2886211 h 2956895"/>
              <a:gd name="connsiteX63" fmla="*/ 4059534 w 11867103"/>
              <a:gd name="connsiteY63" fmla="*/ 2846018 h 2956895"/>
              <a:gd name="connsiteX64" fmla="*/ 3768132 w 11867103"/>
              <a:gd name="connsiteY64" fmla="*/ 2815873 h 2956895"/>
              <a:gd name="connsiteX65" fmla="*/ 3627455 w 11867103"/>
              <a:gd name="connsiteY65" fmla="*/ 2805825 h 2956895"/>
              <a:gd name="connsiteX66" fmla="*/ 3125037 w 11867103"/>
              <a:gd name="connsiteY66" fmla="*/ 2815873 h 2956895"/>
              <a:gd name="connsiteX67" fmla="*/ 3064747 w 11867103"/>
              <a:gd name="connsiteY67" fmla="*/ 2825921 h 2956895"/>
              <a:gd name="connsiteX68" fmla="*/ 2009670 w 11867103"/>
              <a:gd name="connsiteY68" fmla="*/ 2835970 h 2956895"/>
              <a:gd name="connsiteX69" fmla="*/ 1678075 w 11867103"/>
              <a:gd name="connsiteY69" fmla="*/ 2926405 h 2956895"/>
              <a:gd name="connsiteX70" fmla="*/ 1607736 w 11867103"/>
              <a:gd name="connsiteY70" fmla="*/ 2956550 h 2956895"/>
              <a:gd name="connsiteX71" fmla="*/ 1135464 w 11867103"/>
              <a:gd name="connsiteY71" fmla="*/ 2936453 h 2956895"/>
              <a:gd name="connsiteX72" fmla="*/ 944545 w 11867103"/>
              <a:gd name="connsiteY72" fmla="*/ 2906308 h 2956895"/>
              <a:gd name="connsiteX73" fmla="*/ 723481 w 11867103"/>
              <a:gd name="connsiteY73" fmla="*/ 2866115 h 2956895"/>
              <a:gd name="connsiteX74" fmla="*/ 643095 w 11867103"/>
              <a:gd name="connsiteY74" fmla="*/ 2856066 h 2956895"/>
              <a:gd name="connsiteX75" fmla="*/ 371789 w 11867103"/>
              <a:gd name="connsiteY75" fmla="*/ 2815873 h 2956895"/>
              <a:gd name="connsiteX76" fmla="*/ 0 w 11867103"/>
              <a:gd name="connsiteY76" fmla="*/ 2805825 h 2956895"/>
              <a:gd name="connsiteX0" fmla="*/ 120580 w 11867103"/>
              <a:gd name="connsiteY0" fmla="*/ 42528 h 2956895"/>
              <a:gd name="connsiteX1" fmla="*/ 281354 w 11867103"/>
              <a:gd name="connsiteY1" fmla="*/ 32479 h 2956895"/>
              <a:gd name="connsiteX2" fmla="*/ 673240 w 11867103"/>
              <a:gd name="connsiteY2" fmla="*/ 22431 h 2956895"/>
              <a:gd name="connsiteX3" fmla="*/ 1356528 w 11867103"/>
              <a:gd name="connsiteY3" fmla="*/ 72673 h 2956895"/>
              <a:gd name="connsiteX4" fmla="*/ 1758462 w 11867103"/>
              <a:gd name="connsiteY4" fmla="*/ 32479 h 2956895"/>
              <a:gd name="connsiteX5" fmla="*/ 2140299 w 11867103"/>
              <a:gd name="connsiteY5" fmla="*/ 32479 h 2956895"/>
              <a:gd name="connsiteX6" fmla="*/ 4652387 w 11867103"/>
              <a:gd name="connsiteY6" fmla="*/ 52576 h 2956895"/>
              <a:gd name="connsiteX7" fmla="*/ 4692580 w 11867103"/>
              <a:gd name="connsiteY7" fmla="*/ 62625 h 2956895"/>
              <a:gd name="connsiteX8" fmla="*/ 6420897 w 11867103"/>
              <a:gd name="connsiteY8" fmla="*/ 82721 h 2956895"/>
              <a:gd name="connsiteX9" fmla="*/ 7204668 w 11867103"/>
              <a:gd name="connsiteY9" fmla="*/ 2334 h 2956895"/>
              <a:gd name="connsiteX10" fmla="*/ 7285055 w 11867103"/>
              <a:gd name="connsiteY10" fmla="*/ 22431 h 2956895"/>
              <a:gd name="connsiteX11" fmla="*/ 7375490 w 11867103"/>
              <a:gd name="connsiteY11" fmla="*/ 32479 h 2956895"/>
              <a:gd name="connsiteX12" fmla="*/ 7928150 w 11867103"/>
              <a:gd name="connsiteY12" fmla="*/ 52576 h 2956895"/>
              <a:gd name="connsiteX13" fmla="*/ 8109020 w 11867103"/>
              <a:gd name="connsiteY13" fmla="*/ 72673 h 2956895"/>
              <a:gd name="connsiteX14" fmla="*/ 8219552 w 11867103"/>
              <a:gd name="connsiteY14" fmla="*/ 82721 h 2956895"/>
              <a:gd name="connsiteX15" fmla="*/ 8299939 w 11867103"/>
              <a:gd name="connsiteY15" fmla="*/ 92770 h 2956895"/>
              <a:gd name="connsiteX16" fmla="*/ 8521002 w 11867103"/>
              <a:gd name="connsiteY16" fmla="*/ 102818 h 2956895"/>
              <a:gd name="connsiteX17" fmla="*/ 9515789 w 11867103"/>
              <a:gd name="connsiteY17" fmla="*/ 92770 h 2956895"/>
              <a:gd name="connsiteX18" fmla="*/ 9606224 w 11867103"/>
              <a:gd name="connsiteY18" fmla="*/ 82721 h 2956895"/>
              <a:gd name="connsiteX19" fmla="*/ 9716756 w 11867103"/>
              <a:gd name="connsiteY19" fmla="*/ 72673 h 2956895"/>
              <a:gd name="connsiteX20" fmla="*/ 9797143 w 11867103"/>
              <a:gd name="connsiteY20" fmla="*/ 62625 h 2956895"/>
              <a:gd name="connsiteX21" fmla="*/ 9947868 w 11867103"/>
              <a:gd name="connsiteY21" fmla="*/ 52576 h 2956895"/>
              <a:gd name="connsiteX22" fmla="*/ 10791930 w 11867103"/>
              <a:gd name="connsiteY22" fmla="*/ 22431 h 2956895"/>
              <a:gd name="connsiteX23" fmla="*/ 11736475 w 11867103"/>
              <a:gd name="connsiteY23" fmla="*/ 42528 h 2956895"/>
              <a:gd name="connsiteX24" fmla="*/ 11766620 w 11867103"/>
              <a:gd name="connsiteY24" fmla="*/ 72673 h 2956895"/>
              <a:gd name="connsiteX25" fmla="*/ 11786717 w 11867103"/>
              <a:gd name="connsiteY25" fmla="*/ 112866 h 2956895"/>
              <a:gd name="connsiteX26" fmla="*/ 11806813 w 11867103"/>
              <a:gd name="connsiteY26" fmla="*/ 203301 h 2956895"/>
              <a:gd name="connsiteX27" fmla="*/ 11816862 w 11867103"/>
              <a:gd name="connsiteY27" fmla="*/ 243495 h 2956895"/>
              <a:gd name="connsiteX28" fmla="*/ 11826910 w 11867103"/>
              <a:gd name="connsiteY28" fmla="*/ 333930 h 2956895"/>
              <a:gd name="connsiteX29" fmla="*/ 11836958 w 11867103"/>
              <a:gd name="connsiteY29" fmla="*/ 414317 h 2956895"/>
              <a:gd name="connsiteX30" fmla="*/ 11826910 w 11867103"/>
              <a:gd name="connsiteY30" fmla="*/ 725816 h 2956895"/>
              <a:gd name="connsiteX31" fmla="*/ 11816862 w 11867103"/>
              <a:gd name="connsiteY31" fmla="*/ 786106 h 2956895"/>
              <a:gd name="connsiteX32" fmla="*/ 11806813 w 11867103"/>
              <a:gd name="connsiteY32" fmla="*/ 856444 h 2956895"/>
              <a:gd name="connsiteX33" fmla="*/ 11816862 w 11867103"/>
              <a:gd name="connsiteY33" fmla="*/ 2323504 h 2956895"/>
              <a:gd name="connsiteX34" fmla="*/ 11826910 w 11867103"/>
              <a:gd name="connsiteY34" fmla="*/ 2393842 h 2956895"/>
              <a:gd name="connsiteX35" fmla="*/ 11836958 w 11867103"/>
              <a:gd name="connsiteY35" fmla="*/ 2423987 h 2956895"/>
              <a:gd name="connsiteX36" fmla="*/ 11857055 w 11867103"/>
              <a:gd name="connsiteY36" fmla="*/ 2554616 h 2956895"/>
              <a:gd name="connsiteX37" fmla="*/ 11867103 w 11867103"/>
              <a:gd name="connsiteY37" fmla="*/ 2594809 h 2956895"/>
              <a:gd name="connsiteX38" fmla="*/ 11857055 w 11867103"/>
              <a:gd name="connsiteY38" fmla="*/ 2825921 h 2956895"/>
              <a:gd name="connsiteX39" fmla="*/ 11836958 w 11867103"/>
              <a:gd name="connsiteY39" fmla="*/ 2856066 h 2956895"/>
              <a:gd name="connsiteX40" fmla="*/ 11033090 w 11867103"/>
              <a:gd name="connsiteY40" fmla="*/ 2846018 h 2956895"/>
              <a:gd name="connsiteX41" fmla="*/ 10621108 w 11867103"/>
              <a:gd name="connsiteY41" fmla="*/ 2835970 h 2956895"/>
              <a:gd name="connsiteX42" fmla="*/ 10128739 w 11867103"/>
              <a:gd name="connsiteY42" fmla="*/ 2846018 h 2956895"/>
              <a:gd name="connsiteX43" fmla="*/ 10048352 w 11867103"/>
              <a:gd name="connsiteY43" fmla="*/ 2856066 h 2956895"/>
              <a:gd name="connsiteX44" fmla="*/ 9555982 w 11867103"/>
              <a:gd name="connsiteY44" fmla="*/ 2846018 h 2956895"/>
              <a:gd name="connsiteX45" fmla="*/ 9445451 w 11867103"/>
              <a:gd name="connsiteY45" fmla="*/ 2835970 h 2956895"/>
              <a:gd name="connsiteX46" fmla="*/ 9415306 w 11867103"/>
              <a:gd name="connsiteY46" fmla="*/ 2815873 h 2956895"/>
              <a:gd name="connsiteX47" fmla="*/ 9204290 w 11867103"/>
              <a:gd name="connsiteY47" fmla="*/ 2795776 h 2956895"/>
              <a:gd name="connsiteX48" fmla="*/ 9073662 w 11867103"/>
              <a:gd name="connsiteY48" fmla="*/ 2775679 h 2956895"/>
              <a:gd name="connsiteX49" fmla="*/ 8812404 w 11867103"/>
              <a:gd name="connsiteY49" fmla="*/ 2765631 h 2956895"/>
              <a:gd name="connsiteX50" fmla="*/ 8400422 w 11867103"/>
              <a:gd name="connsiteY50" fmla="*/ 2755583 h 2956895"/>
              <a:gd name="connsiteX51" fmla="*/ 8269793 w 11867103"/>
              <a:gd name="connsiteY51" fmla="*/ 2745534 h 2956895"/>
              <a:gd name="connsiteX52" fmla="*/ 7797521 w 11867103"/>
              <a:gd name="connsiteY52" fmla="*/ 2765631 h 2956895"/>
              <a:gd name="connsiteX53" fmla="*/ 7717134 w 11867103"/>
              <a:gd name="connsiteY53" fmla="*/ 2775679 h 2956895"/>
              <a:gd name="connsiteX54" fmla="*/ 7486022 w 11867103"/>
              <a:gd name="connsiteY54" fmla="*/ 2805825 h 2956895"/>
              <a:gd name="connsiteX55" fmla="*/ 7395587 w 11867103"/>
              <a:gd name="connsiteY55" fmla="*/ 2825921 h 2956895"/>
              <a:gd name="connsiteX56" fmla="*/ 7325248 w 11867103"/>
              <a:gd name="connsiteY56" fmla="*/ 2835970 h 2956895"/>
              <a:gd name="connsiteX57" fmla="*/ 6863024 w 11867103"/>
              <a:gd name="connsiteY57" fmla="*/ 2825921 h 2956895"/>
              <a:gd name="connsiteX58" fmla="*/ 6722347 w 11867103"/>
              <a:gd name="connsiteY58" fmla="*/ 2815873 h 2956895"/>
              <a:gd name="connsiteX59" fmla="*/ 4903596 w 11867103"/>
              <a:gd name="connsiteY59" fmla="*/ 2866115 h 2956895"/>
              <a:gd name="connsiteX60" fmla="*/ 4722725 w 11867103"/>
              <a:gd name="connsiteY60" fmla="*/ 2906308 h 2956895"/>
              <a:gd name="connsiteX61" fmla="*/ 4300695 w 11867103"/>
              <a:gd name="connsiteY61" fmla="*/ 2886211 h 2956895"/>
              <a:gd name="connsiteX62" fmla="*/ 4059534 w 11867103"/>
              <a:gd name="connsiteY62" fmla="*/ 2846018 h 2956895"/>
              <a:gd name="connsiteX63" fmla="*/ 3768132 w 11867103"/>
              <a:gd name="connsiteY63" fmla="*/ 2815873 h 2956895"/>
              <a:gd name="connsiteX64" fmla="*/ 3627455 w 11867103"/>
              <a:gd name="connsiteY64" fmla="*/ 2805825 h 2956895"/>
              <a:gd name="connsiteX65" fmla="*/ 3125037 w 11867103"/>
              <a:gd name="connsiteY65" fmla="*/ 2815873 h 2956895"/>
              <a:gd name="connsiteX66" fmla="*/ 3064747 w 11867103"/>
              <a:gd name="connsiteY66" fmla="*/ 2825921 h 2956895"/>
              <a:gd name="connsiteX67" fmla="*/ 2009670 w 11867103"/>
              <a:gd name="connsiteY67" fmla="*/ 2835970 h 2956895"/>
              <a:gd name="connsiteX68" fmla="*/ 1678075 w 11867103"/>
              <a:gd name="connsiteY68" fmla="*/ 2926405 h 2956895"/>
              <a:gd name="connsiteX69" fmla="*/ 1607736 w 11867103"/>
              <a:gd name="connsiteY69" fmla="*/ 2956550 h 2956895"/>
              <a:gd name="connsiteX70" fmla="*/ 1135464 w 11867103"/>
              <a:gd name="connsiteY70" fmla="*/ 2936453 h 2956895"/>
              <a:gd name="connsiteX71" fmla="*/ 944545 w 11867103"/>
              <a:gd name="connsiteY71" fmla="*/ 2906308 h 2956895"/>
              <a:gd name="connsiteX72" fmla="*/ 723481 w 11867103"/>
              <a:gd name="connsiteY72" fmla="*/ 2866115 h 2956895"/>
              <a:gd name="connsiteX73" fmla="*/ 643095 w 11867103"/>
              <a:gd name="connsiteY73" fmla="*/ 2856066 h 2956895"/>
              <a:gd name="connsiteX74" fmla="*/ 371789 w 11867103"/>
              <a:gd name="connsiteY74" fmla="*/ 2815873 h 2956895"/>
              <a:gd name="connsiteX75" fmla="*/ 0 w 11867103"/>
              <a:gd name="connsiteY75" fmla="*/ 2805825 h 2956895"/>
              <a:gd name="connsiteX0" fmla="*/ 120580 w 11867103"/>
              <a:gd name="connsiteY0" fmla="*/ 42790 h 2957157"/>
              <a:gd name="connsiteX1" fmla="*/ 281354 w 11867103"/>
              <a:gd name="connsiteY1" fmla="*/ 32741 h 2957157"/>
              <a:gd name="connsiteX2" fmla="*/ 673240 w 11867103"/>
              <a:gd name="connsiteY2" fmla="*/ 22693 h 2957157"/>
              <a:gd name="connsiteX3" fmla="*/ 1356528 w 11867103"/>
              <a:gd name="connsiteY3" fmla="*/ 72935 h 2957157"/>
              <a:gd name="connsiteX4" fmla="*/ 1758462 w 11867103"/>
              <a:gd name="connsiteY4" fmla="*/ 32741 h 2957157"/>
              <a:gd name="connsiteX5" fmla="*/ 2140299 w 11867103"/>
              <a:gd name="connsiteY5" fmla="*/ 32741 h 2957157"/>
              <a:gd name="connsiteX6" fmla="*/ 4652387 w 11867103"/>
              <a:gd name="connsiteY6" fmla="*/ 52838 h 2957157"/>
              <a:gd name="connsiteX7" fmla="*/ 4692580 w 11867103"/>
              <a:gd name="connsiteY7" fmla="*/ 62887 h 2957157"/>
              <a:gd name="connsiteX8" fmla="*/ 6420897 w 11867103"/>
              <a:gd name="connsiteY8" fmla="*/ 82983 h 2957157"/>
              <a:gd name="connsiteX9" fmla="*/ 7204668 w 11867103"/>
              <a:gd name="connsiteY9" fmla="*/ 2596 h 2957157"/>
              <a:gd name="connsiteX10" fmla="*/ 7285055 w 11867103"/>
              <a:gd name="connsiteY10" fmla="*/ 22693 h 2957157"/>
              <a:gd name="connsiteX11" fmla="*/ 7928150 w 11867103"/>
              <a:gd name="connsiteY11" fmla="*/ 52838 h 2957157"/>
              <a:gd name="connsiteX12" fmla="*/ 8109020 w 11867103"/>
              <a:gd name="connsiteY12" fmla="*/ 72935 h 2957157"/>
              <a:gd name="connsiteX13" fmla="*/ 8219552 w 11867103"/>
              <a:gd name="connsiteY13" fmla="*/ 82983 h 2957157"/>
              <a:gd name="connsiteX14" fmla="*/ 8299939 w 11867103"/>
              <a:gd name="connsiteY14" fmla="*/ 93032 h 2957157"/>
              <a:gd name="connsiteX15" fmla="*/ 8521002 w 11867103"/>
              <a:gd name="connsiteY15" fmla="*/ 103080 h 2957157"/>
              <a:gd name="connsiteX16" fmla="*/ 9515789 w 11867103"/>
              <a:gd name="connsiteY16" fmla="*/ 93032 h 2957157"/>
              <a:gd name="connsiteX17" fmla="*/ 9606224 w 11867103"/>
              <a:gd name="connsiteY17" fmla="*/ 82983 h 2957157"/>
              <a:gd name="connsiteX18" fmla="*/ 9716756 w 11867103"/>
              <a:gd name="connsiteY18" fmla="*/ 72935 h 2957157"/>
              <a:gd name="connsiteX19" fmla="*/ 9797143 w 11867103"/>
              <a:gd name="connsiteY19" fmla="*/ 62887 h 2957157"/>
              <a:gd name="connsiteX20" fmla="*/ 9947868 w 11867103"/>
              <a:gd name="connsiteY20" fmla="*/ 52838 h 2957157"/>
              <a:gd name="connsiteX21" fmla="*/ 10791930 w 11867103"/>
              <a:gd name="connsiteY21" fmla="*/ 22693 h 2957157"/>
              <a:gd name="connsiteX22" fmla="*/ 11736475 w 11867103"/>
              <a:gd name="connsiteY22" fmla="*/ 42790 h 2957157"/>
              <a:gd name="connsiteX23" fmla="*/ 11766620 w 11867103"/>
              <a:gd name="connsiteY23" fmla="*/ 72935 h 2957157"/>
              <a:gd name="connsiteX24" fmla="*/ 11786717 w 11867103"/>
              <a:gd name="connsiteY24" fmla="*/ 113128 h 2957157"/>
              <a:gd name="connsiteX25" fmla="*/ 11806813 w 11867103"/>
              <a:gd name="connsiteY25" fmla="*/ 203563 h 2957157"/>
              <a:gd name="connsiteX26" fmla="*/ 11816862 w 11867103"/>
              <a:gd name="connsiteY26" fmla="*/ 243757 h 2957157"/>
              <a:gd name="connsiteX27" fmla="*/ 11826910 w 11867103"/>
              <a:gd name="connsiteY27" fmla="*/ 334192 h 2957157"/>
              <a:gd name="connsiteX28" fmla="*/ 11836958 w 11867103"/>
              <a:gd name="connsiteY28" fmla="*/ 414579 h 2957157"/>
              <a:gd name="connsiteX29" fmla="*/ 11826910 w 11867103"/>
              <a:gd name="connsiteY29" fmla="*/ 726078 h 2957157"/>
              <a:gd name="connsiteX30" fmla="*/ 11816862 w 11867103"/>
              <a:gd name="connsiteY30" fmla="*/ 786368 h 2957157"/>
              <a:gd name="connsiteX31" fmla="*/ 11806813 w 11867103"/>
              <a:gd name="connsiteY31" fmla="*/ 856706 h 2957157"/>
              <a:gd name="connsiteX32" fmla="*/ 11816862 w 11867103"/>
              <a:gd name="connsiteY32" fmla="*/ 2323766 h 2957157"/>
              <a:gd name="connsiteX33" fmla="*/ 11826910 w 11867103"/>
              <a:gd name="connsiteY33" fmla="*/ 2394104 h 2957157"/>
              <a:gd name="connsiteX34" fmla="*/ 11836958 w 11867103"/>
              <a:gd name="connsiteY34" fmla="*/ 2424249 h 2957157"/>
              <a:gd name="connsiteX35" fmla="*/ 11857055 w 11867103"/>
              <a:gd name="connsiteY35" fmla="*/ 2554878 h 2957157"/>
              <a:gd name="connsiteX36" fmla="*/ 11867103 w 11867103"/>
              <a:gd name="connsiteY36" fmla="*/ 2595071 h 2957157"/>
              <a:gd name="connsiteX37" fmla="*/ 11857055 w 11867103"/>
              <a:gd name="connsiteY37" fmla="*/ 2826183 h 2957157"/>
              <a:gd name="connsiteX38" fmla="*/ 11836958 w 11867103"/>
              <a:gd name="connsiteY38" fmla="*/ 2856328 h 2957157"/>
              <a:gd name="connsiteX39" fmla="*/ 11033090 w 11867103"/>
              <a:gd name="connsiteY39" fmla="*/ 2846280 h 2957157"/>
              <a:gd name="connsiteX40" fmla="*/ 10621108 w 11867103"/>
              <a:gd name="connsiteY40" fmla="*/ 2836232 h 2957157"/>
              <a:gd name="connsiteX41" fmla="*/ 10128739 w 11867103"/>
              <a:gd name="connsiteY41" fmla="*/ 2846280 h 2957157"/>
              <a:gd name="connsiteX42" fmla="*/ 10048352 w 11867103"/>
              <a:gd name="connsiteY42" fmla="*/ 2856328 h 2957157"/>
              <a:gd name="connsiteX43" fmla="*/ 9555982 w 11867103"/>
              <a:gd name="connsiteY43" fmla="*/ 2846280 h 2957157"/>
              <a:gd name="connsiteX44" fmla="*/ 9445451 w 11867103"/>
              <a:gd name="connsiteY44" fmla="*/ 2836232 h 2957157"/>
              <a:gd name="connsiteX45" fmla="*/ 9415306 w 11867103"/>
              <a:gd name="connsiteY45" fmla="*/ 2816135 h 2957157"/>
              <a:gd name="connsiteX46" fmla="*/ 9204290 w 11867103"/>
              <a:gd name="connsiteY46" fmla="*/ 2796038 h 2957157"/>
              <a:gd name="connsiteX47" fmla="*/ 9073662 w 11867103"/>
              <a:gd name="connsiteY47" fmla="*/ 2775941 h 2957157"/>
              <a:gd name="connsiteX48" fmla="*/ 8812404 w 11867103"/>
              <a:gd name="connsiteY48" fmla="*/ 2765893 h 2957157"/>
              <a:gd name="connsiteX49" fmla="*/ 8400422 w 11867103"/>
              <a:gd name="connsiteY49" fmla="*/ 2755845 h 2957157"/>
              <a:gd name="connsiteX50" fmla="*/ 8269793 w 11867103"/>
              <a:gd name="connsiteY50" fmla="*/ 2745796 h 2957157"/>
              <a:gd name="connsiteX51" fmla="*/ 7797521 w 11867103"/>
              <a:gd name="connsiteY51" fmla="*/ 2765893 h 2957157"/>
              <a:gd name="connsiteX52" fmla="*/ 7717134 w 11867103"/>
              <a:gd name="connsiteY52" fmla="*/ 2775941 h 2957157"/>
              <a:gd name="connsiteX53" fmla="*/ 7486022 w 11867103"/>
              <a:gd name="connsiteY53" fmla="*/ 2806087 h 2957157"/>
              <a:gd name="connsiteX54" fmla="*/ 7395587 w 11867103"/>
              <a:gd name="connsiteY54" fmla="*/ 2826183 h 2957157"/>
              <a:gd name="connsiteX55" fmla="*/ 7325248 w 11867103"/>
              <a:gd name="connsiteY55" fmla="*/ 2836232 h 2957157"/>
              <a:gd name="connsiteX56" fmla="*/ 6863024 w 11867103"/>
              <a:gd name="connsiteY56" fmla="*/ 2826183 h 2957157"/>
              <a:gd name="connsiteX57" fmla="*/ 6722347 w 11867103"/>
              <a:gd name="connsiteY57" fmla="*/ 2816135 h 2957157"/>
              <a:gd name="connsiteX58" fmla="*/ 4903596 w 11867103"/>
              <a:gd name="connsiteY58" fmla="*/ 2866377 h 2957157"/>
              <a:gd name="connsiteX59" fmla="*/ 4722725 w 11867103"/>
              <a:gd name="connsiteY59" fmla="*/ 2906570 h 2957157"/>
              <a:gd name="connsiteX60" fmla="*/ 4300695 w 11867103"/>
              <a:gd name="connsiteY60" fmla="*/ 2886473 h 2957157"/>
              <a:gd name="connsiteX61" fmla="*/ 4059534 w 11867103"/>
              <a:gd name="connsiteY61" fmla="*/ 2846280 h 2957157"/>
              <a:gd name="connsiteX62" fmla="*/ 3768132 w 11867103"/>
              <a:gd name="connsiteY62" fmla="*/ 2816135 h 2957157"/>
              <a:gd name="connsiteX63" fmla="*/ 3627455 w 11867103"/>
              <a:gd name="connsiteY63" fmla="*/ 2806087 h 2957157"/>
              <a:gd name="connsiteX64" fmla="*/ 3125037 w 11867103"/>
              <a:gd name="connsiteY64" fmla="*/ 2816135 h 2957157"/>
              <a:gd name="connsiteX65" fmla="*/ 3064747 w 11867103"/>
              <a:gd name="connsiteY65" fmla="*/ 2826183 h 2957157"/>
              <a:gd name="connsiteX66" fmla="*/ 2009670 w 11867103"/>
              <a:gd name="connsiteY66" fmla="*/ 2836232 h 2957157"/>
              <a:gd name="connsiteX67" fmla="*/ 1678075 w 11867103"/>
              <a:gd name="connsiteY67" fmla="*/ 2926667 h 2957157"/>
              <a:gd name="connsiteX68" fmla="*/ 1607736 w 11867103"/>
              <a:gd name="connsiteY68" fmla="*/ 2956812 h 2957157"/>
              <a:gd name="connsiteX69" fmla="*/ 1135464 w 11867103"/>
              <a:gd name="connsiteY69" fmla="*/ 2936715 h 2957157"/>
              <a:gd name="connsiteX70" fmla="*/ 944545 w 11867103"/>
              <a:gd name="connsiteY70" fmla="*/ 2906570 h 2957157"/>
              <a:gd name="connsiteX71" fmla="*/ 723481 w 11867103"/>
              <a:gd name="connsiteY71" fmla="*/ 2866377 h 2957157"/>
              <a:gd name="connsiteX72" fmla="*/ 643095 w 11867103"/>
              <a:gd name="connsiteY72" fmla="*/ 2856328 h 2957157"/>
              <a:gd name="connsiteX73" fmla="*/ 371789 w 11867103"/>
              <a:gd name="connsiteY73" fmla="*/ 2816135 h 2957157"/>
              <a:gd name="connsiteX74" fmla="*/ 0 w 11867103"/>
              <a:gd name="connsiteY74" fmla="*/ 2806087 h 2957157"/>
              <a:gd name="connsiteX0" fmla="*/ 120580 w 11867103"/>
              <a:gd name="connsiteY0" fmla="*/ 40596 h 2954963"/>
              <a:gd name="connsiteX1" fmla="*/ 281354 w 11867103"/>
              <a:gd name="connsiteY1" fmla="*/ 30547 h 2954963"/>
              <a:gd name="connsiteX2" fmla="*/ 673240 w 11867103"/>
              <a:gd name="connsiteY2" fmla="*/ 20499 h 2954963"/>
              <a:gd name="connsiteX3" fmla="*/ 1356528 w 11867103"/>
              <a:gd name="connsiteY3" fmla="*/ 70741 h 2954963"/>
              <a:gd name="connsiteX4" fmla="*/ 1758462 w 11867103"/>
              <a:gd name="connsiteY4" fmla="*/ 30547 h 2954963"/>
              <a:gd name="connsiteX5" fmla="*/ 2140299 w 11867103"/>
              <a:gd name="connsiteY5" fmla="*/ 30547 h 2954963"/>
              <a:gd name="connsiteX6" fmla="*/ 4652387 w 11867103"/>
              <a:gd name="connsiteY6" fmla="*/ 50644 h 2954963"/>
              <a:gd name="connsiteX7" fmla="*/ 4692580 w 11867103"/>
              <a:gd name="connsiteY7" fmla="*/ 60693 h 2954963"/>
              <a:gd name="connsiteX8" fmla="*/ 6420897 w 11867103"/>
              <a:gd name="connsiteY8" fmla="*/ 80789 h 2954963"/>
              <a:gd name="connsiteX9" fmla="*/ 7204668 w 11867103"/>
              <a:gd name="connsiteY9" fmla="*/ 402 h 2954963"/>
              <a:gd name="connsiteX10" fmla="*/ 7928150 w 11867103"/>
              <a:gd name="connsiteY10" fmla="*/ 50644 h 2954963"/>
              <a:gd name="connsiteX11" fmla="*/ 8109020 w 11867103"/>
              <a:gd name="connsiteY11" fmla="*/ 70741 h 2954963"/>
              <a:gd name="connsiteX12" fmla="*/ 8219552 w 11867103"/>
              <a:gd name="connsiteY12" fmla="*/ 80789 h 2954963"/>
              <a:gd name="connsiteX13" fmla="*/ 8299939 w 11867103"/>
              <a:gd name="connsiteY13" fmla="*/ 90838 h 2954963"/>
              <a:gd name="connsiteX14" fmla="*/ 8521002 w 11867103"/>
              <a:gd name="connsiteY14" fmla="*/ 100886 h 2954963"/>
              <a:gd name="connsiteX15" fmla="*/ 9515789 w 11867103"/>
              <a:gd name="connsiteY15" fmla="*/ 90838 h 2954963"/>
              <a:gd name="connsiteX16" fmla="*/ 9606224 w 11867103"/>
              <a:gd name="connsiteY16" fmla="*/ 80789 h 2954963"/>
              <a:gd name="connsiteX17" fmla="*/ 9716756 w 11867103"/>
              <a:gd name="connsiteY17" fmla="*/ 70741 h 2954963"/>
              <a:gd name="connsiteX18" fmla="*/ 9797143 w 11867103"/>
              <a:gd name="connsiteY18" fmla="*/ 60693 h 2954963"/>
              <a:gd name="connsiteX19" fmla="*/ 9947868 w 11867103"/>
              <a:gd name="connsiteY19" fmla="*/ 50644 h 2954963"/>
              <a:gd name="connsiteX20" fmla="*/ 10791930 w 11867103"/>
              <a:gd name="connsiteY20" fmla="*/ 20499 h 2954963"/>
              <a:gd name="connsiteX21" fmla="*/ 11736475 w 11867103"/>
              <a:gd name="connsiteY21" fmla="*/ 40596 h 2954963"/>
              <a:gd name="connsiteX22" fmla="*/ 11766620 w 11867103"/>
              <a:gd name="connsiteY22" fmla="*/ 70741 h 2954963"/>
              <a:gd name="connsiteX23" fmla="*/ 11786717 w 11867103"/>
              <a:gd name="connsiteY23" fmla="*/ 110934 h 2954963"/>
              <a:gd name="connsiteX24" fmla="*/ 11806813 w 11867103"/>
              <a:gd name="connsiteY24" fmla="*/ 201369 h 2954963"/>
              <a:gd name="connsiteX25" fmla="*/ 11816862 w 11867103"/>
              <a:gd name="connsiteY25" fmla="*/ 241563 h 2954963"/>
              <a:gd name="connsiteX26" fmla="*/ 11826910 w 11867103"/>
              <a:gd name="connsiteY26" fmla="*/ 331998 h 2954963"/>
              <a:gd name="connsiteX27" fmla="*/ 11836958 w 11867103"/>
              <a:gd name="connsiteY27" fmla="*/ 412385 h 2954963"/>
              <a:gd name="connsiteX28" fmla="*/ 11826910 w 11867103"/>
              <a:gd name="connsiteY28" fmla="*/ 723884 h 2954963"/>
              <a:gd name="connsiteX29" fmla="*/ 11816862 w 11867103"/>
              <a:gd name="connsiteY29" fmla="*/ 784174 h 2954963"/>
              <a:gd name="connsiteX30" fmla="*/ 11806813 w 11867103"/>
              <a:gd name="connsiteY30" fmla="*/ 854512 h 2954963"/>
              <a:gd name="connsiteX31" fmla="*/ 11816862 w 11867103"/>
              <a:gd name="connsiteY31" fmla="*/ 2321572 h 2954963"/>
              <a:gd name="connsiteX32" fmla="*/ 11826910 w 11867103"/>
              <a:gd name="connsiteY32" fmla="*/ 2391910 h 2954963"/>
              <a:gd name="connsiteX33" fmla="*/ 11836958 w 11867103"/>
              <a:gd name="connsiteY33" fmla="*/ 2422055 h 2954963"/>
              <a:gd name="connsiteX34" fmla="*/ 11857055 w 11867103"/>
              <a:gd name="connsiteY34" fmla="*/ 2552684 h 2954963"/>
              <a:gd name="connsiteX35" fmla="*/ 11867103 w 11867103"/>
              <a:gd name="connsiteY35" fmla="*/ 2592877 h 2954963"/>
              <a:gd name="connsiteX36" fmla="*/ 11857055 w 11867103"/>
              <a:gd name="connsiteY36" fmla="*/ 2823989 h 2954963"/>
              <a:gd name="connsiteX37" fmla="*/ 11836958 w 11867103"/>
              <a:gd name="connsiteY37" fmla="*/ 2854134 h 2954963"/>
              <a:gd name="connsiteX38" fmla="*/ 11033090 w 11867103"/>
              <a:gd name="connsiteY38" fmla="*/ 2844086 h 2954963"/>
              <a:gd name="connsiteX39" fmla="*/ 10621108 w 11867103"/>
              <a:gd name="connsiteY39" fmla="*/ 2834038 h 2954963"/>
              <a:gd name="connsiteX40" fmla="*/ 10128739 w 11867103"/>
              <a:gd name="connsiteY40" fmla="*/ 2844086 h 2954963"/>
              <a:gd name="connsiteX41" fmla="*/ 10048352 w 11867103"/>
              <a:gd name="connsiteY41" fmla="*/ 2854134 h 2954963"/>
              <a:gd name="connsiteX42" fmla="*/ 9555982 w 11867103"/>
              <a:gd name="connsiteY42" fmla="*/ 2844086 h 2954963"/>
              <a:gd name="connsiteX43" fmla="*/ 9445451 w 11867103"/>
              <a:gd name="connsiteY43" fmla="*/ 2834038 h 2954963"/>
              <a:gd name="connsiteX44" fmla="*/ 9415306 w 11867103"/>
              <a:gd name="connsiteY44" fmla="*/ 2813941 h 2954963"/>
              <a:gd name="connsiteX45" fmla="*/ 9204290 w 11867103"/>
              <a:gd name="connsiteY45" fmla="*/ 2793844 h 2954963"/>
              <a:gd name="connsiteX46" fmla="*/ 9073662 w 11867103"/>
              <a:gd name="connsiteY46" fmla="*/ 2773747 h 2954963"/>
              <a:gd name="connsiteX47" fmla="*/ 8812404 w 11867103"/>
              <a:gd name="connsiteY47" fmla="*/ 2763699 h 2954963"/>
              <a:gd name="connsiteX48" fmla="*/ 8400422 w 11867103"/>
              <a:gd name="connsiteY48" fmla="*/ 2753651 h 2954963"/>
              <a:gd name="connsiteX49" fmla="*/ 8269793 w 11867103"/>
              <a:gd name="connsiteY49" fmla="*/ 2743602 h 2954963"/>
              <a:gd name="connsiteX50" fmla="*/ 7797521 w 11867103"/>
              <a:gd name="connsiteY50" fmla="*/ 2763699 h 2954963"/>
              <a:gd name="connsiteX51" fmla="*/ 7717134 w 11867103"/>
              <a:gd name="connsiteY51" fmla="*/ 2773747 h 2954963"/>
              <a:gd name="connsiteX52" fmla="*/ 7486022 w 11867103"/>
              <a:gd name="connsiteY52" fmla="*/ 2803893 h 2954963"/>
              <a:gd name="connsiteX53" fmla="*/ 7395587 w 11867103"/>
              <a:gd name="connsiteY53" fmla="*/ 2823989 h 2954963"/>
              <a:gd name="connsiteX54" fmla="*/ 7325248 w 11867103"/>
              <a:gd name="connsiteY54" fmla="*/ 2834038 h 2954963"/>
              <a:gd name="connsiteX55" fmla="*/ 6863024 w 11867103"/>
              <a:gd name="connsiteY55" fmla="*/ 2823989 h 2954963"/>
              <a:gd name="connsiteX56" fmla="*/ 6722347 w 11867103"/>
              <a:gd name="connsiteY56" fmla="*/ 2813941 h 2954963"/>
              <a:gd name="connsiteX57" fmla="*/ 4903596 w 11867103"/>
              <a:gd name="connsiteY57" fmla="*/ 2864183 h 2954963"/>
              <a:gd name="connsiteX58" fmla="*/ 4722725 w 11867103"/>
              <a:gd name="connsiteY58" fmla="*/ 2904376 h 2954963"/>
              <a:gd name="connsiteX59" fmla="*/ 4300695 w 11867103"/>
              <a:gd name="connsiteY59" fmla="*/ 2884279 h 2954963"/>
              <a:gd name="connsiteX60" fmla="*/ 4059534 w 11867103"/>
              <a:gd name="connsiteY60" fmla="*/ 2844086 h 2954963"/>
              <a:gd name="connsiteX61" fmla="*/ 3768132 w 11867103"/>
              <a:gd name="connsiteY61" fmla="*/ 2813941 h 2954963"/>
              <a:gd name="connsiteX62" fmla="*/ 3627455 w 11867103"/>
              <a:gd name="connsiteY62" fmla="*/ 2803893 h 2954963"/>
              <a:gd name="connsiteX63" fmla="*/ 3125037 w 11867103"/>
              <a:gd name="connsiteY63" fmla="*/ 2813941 h 2954963"/>
              <a:gd name="connsiteX64" fmla="*/ 3064747 w 11867103"/>
              <a:gd name="connsiteY64" fmla="*/ 2823989 h 2954963"/>
              <a:gd name="connsiteX65" fmla="*/ 2009670 w 11867103"/>
              <a:gd name="connsiteY65" fmla="*/ 2834038 h 2954963"/>
              <a:gd name="connsiteX66" fmla="*/ 1678075 w 11867103"/>
              <a:gd name="connsiteY66" fmla="*/ 2924473 h 2954963"/>
              <a:gd name="connsiteX67" fmla="*/ 1607736 w 11867103"/>
              <a:gd name="connsiteY67" fmla="*/ 2954618 h 2954963"/>
              <a:gd name="connsiteX68" fmla="*/ 1135464 w 11867103"/>
              <a:gd name="connsiteY68" fmla="*/ 2934521 h 2954963"/>
              <a:gd name="connsiteX69" fmla="*/ 944545 w 11867103"/>
              <a:gd name="connsiteY69" fmla="*/ 2904376 h 2954963"/>
              <a:gd name="connsiteX70" fmla="*/ 723481 w 11867103"/>
              <a:gd name="connsiteY70" fmla="*/ 2864183 h 2954963"/>
              <a:gd name="connsiteX71" fmla="*/ 643095 w 11867103"/>
              <a:gd name="connsiteY71" fmla="*/ 2854134 h 2954963"/>
              <a:gd name="connsiteX72" fmla="*/ 371789 w 11867103"/>
              <a:gd name="connsiteY72" fmla="*/ 2813941 h 2954963"/>
              <a:gd name="connsiteX73" fmla="*/ 0 w 11867103"/>
              <a:gd name="connsiteY73" fmla="*/ 2803893 h 2954963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109020 w 11867103"/>
              <a:gd name="connsiteY11" fmla="*/ 52092 h 2936314"/>
              <a:gd name="connsiteX12" fmla="*/ 8219552 w 11867103"/>
              <a:gd name="connsiteY12" fmla="*/ 62140 h 2936314"/>
              <a:gd name="connsiteX13" fmla="*/ 8299939 w 11867103"/>
              <a:gd name="connsiteY13" fmla="*/ 72189 h 2936314"/>
              <a:gd name="connsiteX14" fmla="*/ 8521002 w 11867103"/>
              <a:gd name="connsiteY14" fmla="*/ 82237 h 2936314"/>
              <a:gd name="connsiteX15" fmla="*/ 9515789 w 11867103"/>
              <a:gd name="connsiteY15" fmla="*/ 72189 h 2936314"/>
              <a:gd name="connsiteX16" fmla="*/ 9606224 w 11867103"/>
              <a:gd name="connsiteY16" fmla="*/ 62140 h 2936314"/>
              <a:gd name="connsiteX17" fmla="*/ 9716756 w 11867103"/>
              <a:gd name="connsiteY17" fmla="*/ 52092 h 2936314"/>
              <a:gd name="connsiteX18" fmla="*/ 9797143 w 11867103"/>
              <a:gd name="connsiteY18" fmla="*/ 42044 h 2936314"/>
              <a:gd name="connsiteX19" fmla="*/ 9947868 w 11867103"/>
              <a:gd name="connsiteY19" fmla="*/ 31995 h 2936314"/>
              <a:gd name="connsiteX20" fmla="*/ 10791930 w 11867103"/>
              <a:gd name="connsiteY20" fmla="*/ 1850 h 2936314"/>
              <a:gd name="connsiteX21" fmla="*/ 11736475 w 11867103"/>
              <a:gd name="connsiteY21" fmla="*/ 21947 h 2936314"/>
              <a:gd name="connsiteX22" fmla="*/ 11766620 w 11867103"/>
              <a:gd name="connsiteY22" fmla="*/ 52092 h 2936314"/>
              <a:gd name="connsiteX23" fmla="*/ 11786717 w 11867103"/>
              <a:gd name="connsiteY23" fmla="*/ 92285 h 2936314"/>
              <a:gd name="connsiteX24" fmla="*/ 11806813 w 11867103"/>
              <a:gd name="connsiteY24" fmla="*/ 182720 h 2936314"/>
              <a:gd name="connsiteX25" fmla="*/ 11816862 w 11867103"/>
              <a:gd name="connsiteY25" fmla="*/ 222914 h 2936314"/>
              <a:gd name="connsiteX26" fmla="*/ 11826910 w 11867103"/>
              <a:gd name="connsiteY26" fmla="*/ 313349 h 2936314"/>
              <a:gd name="connsiteX27" fmla="*/ 11836958 w 11867103"/>
              <a:gd name="connsiteY27" fmla="*/ 393736 h 2936314"/>
              <a:gd name="connsiteX28" fmla="*/ 11826910 w 11867103"/>
              <a:gd name="connsiteY28" fmla="*/ 705235 h 2936314"/>
              <a:gd name="connsiteX29" fmla="*/ 11816862 w 11867103"/>
              <a:gd name="connsiteY29" fmla="*/ 765525 h 2936314"/>
              <a:gd name="connsiteX30" fmla="*/ 11806813 w 11867103"/>
              <a:gd name="connsiteY30" fmla="*/ 835863 h 2936314"/>
              <a:gd name="connsiteX31" fmla="*/ 11816862 w 11867103"/>
              <a:gd name="connsiteY31" fmla="*/ 2302923 h 2936314"/>
              <a:gd name="connsiteX32" fmla="*/ 11826910 w 11867103"/>
              <a:gd name="connsiteY32" fmla="*/ 2373261 h 2936314"/>
              <a:gd name="connsiteX33" fmla="*/ 11836958 w 11867103"/>
              <a:gd name="connsiteY33" fmla="*/ 2403406 h 2936314"/>
              <a:gd name="connsiteX34" fmla="*/ 11857055 w 11867103"/>
              <a:gd name="connsiteY34" fmla="*/ 2534035 h 2936314"/>
              <a:gd name="connsiteX35" fmla="*/ 11867103 w 11867103"/>
              <a:gd name="connsiteY35" fmla="*/ 2574228 h 2936314"/>
              <a:gd name="connsiteX36" fmla="*/ 11857055 w 11867103"/>
              <a:gd name="connsiteY36" fmla="*/ 2805340 h 2936314"/>
              <a:gd name="connsiteX37" fmla="*/ 11836958 w 11867103"/>
              <a:gd name="connsiteY37" fmla="*/ 2835485 h 2936314"/>
              <a:gd name="connsiteX38" fmla="*/ 11033090 w 11867103"/>
              <a:gd name="connsiteY38" fmla="*/ 2825437 h 2936314"/>
              <a:gd name="connsiteX39" fmla="*/ 10621108 w 11867103"/>
              <a:gd name="connsiteY39" fmla="*/ 2815389 h 2936314"/>
              <a:gd name="connsiteX40" fmla="*/ 10128739 w 11867103"/>
              <a:gd name="connsiteY40" fmla="*/ 2825437 h 2936314"/>
              <a:gd name="connsiteX41" fmla="*/ 10048352 w 11867103"/>
              <a:gd name="connsiteY41" fmla="*/ 2835485 h 2936314"/>
              <a:gd name="connsiteX42" fmla="*/ 9555982 w 11867103"/>
              <a:gd name="connsiteY42" fmla="*/ 2825437 h 2936314"/>
              <a:gd name="connsiteX43" fmla="*/ 9445451 w 11867103"/>
              <a:gd name="connsiteY43" fmla="*/ 2815389 h 2936314"/>
              <a:gd name="connsiteX44" fmla="*/ 9415306 w 11867103"/>
              <a:gd name="connsiteY44" fmla="*/ 2795292 h 2936314"/>
              <a:gd name="connsiteX45" fmla="*/ 9204290 w 11867103"/>
              <a:gd name="connsiteY45" fmla="*/ 2775195 h 2936314"/>
              <a:gd name="connsiteX46" fmla="*/ 9073662 w 11867103"/>
              <a:gd name="connsiteY46" fmla="*/ 2755098 h 2936314"/>
              <a:gd name="connsiteX47" fmla="*/ 8812404 w 11867103"/>
              <a:gd name="connsiteY47" fmla="*/ 2745050 h 2936314"/>
              <a:gd name="connsiteX48" fmla="*/ 8400422 w 11867103"/>
              <a:gd name="connsiteY48" fmla="*/ 2735002 h 2936314"/>
              <a:gd name="connsiteX49" fmla="*/ 8269793 w 11867103"/>
              <a:gd name="connsiteY49" fmla="*/ 2724953 h 2936314"/>
              <a:gd name="connsiteX50" fmla="*/ 7797521 w 11867103"/>
              <a:gd name="connsiteY50" fmla="*/ 2745050 h 2936314"/>
              <a:gd name="connsiteX51" fmla="*/ 7717134 w 11867103"/>
              <a:gd name="connsiteY51" fmla="*/ 2755098 h 2936314"/>
              <a:gd name="connsiteX52" fmla="*/ 7486022 w 11867103"/>
              <a:gd name="connsiteY52" fmla="*/ 2785244 h 2936314"/>
              <a:gd name="connsiteX53" fmla="*/ 7395587 w 11867103"/>
              <a:gd name="connsiteY53" fmla="*/ 2805340 h 2936314"/>
              <a:gd name="connsiteX54" fmla="*/ 7325248 w 11867103"/>
              <a:gd name="connsiteY54" fmla="*/ 2815389 h 2936314"/>
              <a:gd name="connsiteX55" fmla="*/ 6863024 w 11867103"/>
              <a:gd name="connsiteY55" fmla="*/ 2805340 h 2936314"/>
              <a:gd name="connsiteX56" fmla="*/ 6722347 w 11867103"/>
              <a:gd name="connsiteY56" fmla="*/ 2795292 h 2936314"/>
              <a:gd name="connsiteX57" fmla="*/ 4903596 w 11867103"/>
              <a:gd name="connsiteY57" fmla="*/ 2845534 h 2936314"/>
              <a:gd name="connsiteX58" fmla="*/ 4722725 w 11867103"/>
              <a:gd name="connsiteY58" fmla="*/ 2885727 h 2936314"/>
              <a:gd name="connsiteX59" fmla="*/ 4300695 w 11867103"/>
              <a:gd name="connsiteY59" fmla="*/ 2865630 h 2936314"/>
              <a:gd name="connsiteX60" fmla="*/ 4059534 w 11867103"/>
              <a:gd name="connsiteY60" fmla="*/ 2825437 h 2936314"/>
              <a:gd name="connsiteX61" fmla="*/ 3768132 w 11867103"/>
              <a:gd name="connsiteY61" fmla="*/ 2795292 h 2936314"/>
              <a:gd name="connsiteX62" fmla="*/ 3627455 w 11867103"/>
              <a:gd name="connsiteY62" fmla="*/ 2785244 h 2936314"/>
              <a:gd name="connsiteX63" fmla="*/ 3125037 w 11867103"/>
              <a:gd name="connsiteY63" fmla="*/ 2795292 h 2936314"/>
              <a:gd name="connsiteX64" fmla="*/ 3064747 w 11867103"/>
              <a:gd name="connsiteY64" fmla="*/ 2805340 h 2936314"/>
              <a:gd name="connsiteX65" fmla="*/ 2009670 w 11867103"/>
              <a:gd name="connsiteY65" fmla="*/ 2815389 h 2936314"/>
              <a:gd name="connsiteX66" fmla="*/ 1678075 w 11867103"/>
              <a:gd name="connsiteY66" fmla="*/ 2905824 h 2936314"/>
              <a:gd name="connsiteX67" fmla="*/ 1607736 w 11867103"/>
              <a:gd name="connsiteY67" fmla="*/ 2935969 h 2936314"/>
              <a:gd name="connsiteX68" fmla="*/ 1135464 w 11867103"/>
              <a:gd name="connsiteY68" fmla="*/ 2915872 h 2936314"/>
              <a:gd name="connsiteX69" fmla="*/ 944545 w 11867103"/>
              <a:gd name="connsiteY69" fmla="*/ 2885727 h 2936314"/>
              <a:gd name="connsiteX70" fmla="*/ 723481 w 11867103"/>
              <a:gd name="connsiteY70" fmla="*/ 2845534 h 2936314"/>
              <a:gd name="connsiteX71" fmla="*/ 643095 w 11867103"/>
              <a:gd name="connsiteY71" fmla="*/ 2835485 h 2936314"/>
              <a:gd name="connsiteX72" fmla="*/ 371789 w 11867103"/>
              <a:gd name="connsiteY72" fmla="*/ 2795292 h 2936314"/>
              <a:gd name="connsiteX73" fmla="*/ 0 w 11867103"/>
              <a:gd name="connsiteY73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8299939 w 11867103"/>
              <a:gd name="connsiteY12" fmla="*/ 72189 h 2936314"/>
              <a:gd name="connsiteX13" fmla="*/ 8521002 w 11867103"/>
              <a:gd name="connsiteY13" fmla="*/ 82237 h 2936314"/>
              <a:gd name="connsiteX14" fmla="*/ 9515789 w 11867103"/>
              <a:gd name="connsiteY14" fmla="*/ 72189 h 2936314"/>
              <a:gd name="connsiteX15" fmla="*/ 9606224 w 11867103"/>
              <a:gd name="connsiteY15" fmla="*/ 62140 h 2936314"/>
              <a:gd name="connsiteX16" fmla="*/ 9716756 w 11867103"/>
              <a:gd name="connsiteY16" fmla="*/ 52092 h 2936314"/>
              <a:gd name="connsiteX17" fmla="*/ 9797143 w 11867103"/>
              <a:gd name="connsiteY17" fmla="*/ 42044 h 2936314"/>
              <a:gd name="connsiteX18" fmla="*/ 9947868 w 11867103"/>
              <a:gd name="connsiteY18" fmla="*/ 31995 h 2936314"/>
              <a:gd name="connsiteX19" fmla="*/ 10791930 w 11867103"/>
              <a:gd name="connsiteY19" fmla="*/ 1850 h 2936314"/>
              <a:gd name="connsiteX20" fmla="*/ 11736475 w 11867103"/>
              <a:gd name="connsiteY20" fmla="*/ 21947 h 2936314"/>
              <a:gd name="connsiteX21" fmla="*/ 11766620 w 11867103"/>
              <a:gd name="connsiteY21" fmla="*/ 52092 h 2936314"/>
              <a:gd name="connsiteX22" fmla="*/ 11786717 w 11867103"/>
              <a:gd name="connsiteY22" fmla="*/ 92285 h 2936314"/>
              <a:gd name="connsiteX23" fmla="*/ 11806813 w 11867103"/>
              <a:gd name="connsiteY23" fmla="*/ 182720 h 2936314"/>
              <a:gd name="connsiteX24" fmla="*/ 11816862 w 11867103"/>
              <a:gd name="connsiteY24" fmla="*/ 222914 h 2936314"/>
              <a:gd name="connsiteX25" fmla="*/ 11826910 w 11867103"/>
              <a:gd name="connsiteY25" fmla="*/ 313349 h 2936314"/>
              <a:gd name="connsiteX26" fmla="*/ 11836958 w 11867103"/>
              <a:gd name="connsiteY26" fmla="*/ 393736 h 2936314"/>
              <a:gd name="connsiteX27" fmla="*/ 11826910 w 11867103"/>
              <a:gd name="connsiteY27" fmla="*/ 705235 h 2936314"/>
              <a:gd name="connsiteX28" fmla="*/ 11816862 w 11867103"/>
              <a:gd name="connsiteY28" fmla="*/ 765525 h 2936314"/>
              <a:gd name="connsiteX29" fmla="*/ 11806813 w 11867103"/>
              <a:gd name="connsiteY29" fmla="*/ 835863 h 2936314"/>
              <a:gd name="connsiteX30" fmla="*/ 11816862 w 11867103"/>
              <a:gd name="connsiteY30" fmla="*/ 2302923 h 2936314"/>
              <a:gd name="connsiteX31" fmla="*/ 11826910 w 11867103"/>
              <a:gd name="connsiteY31" fmla="*/ 2373261 h 2936314"/>
              <a:gd name="connsiteX32" fmla="*/ 11836958 w 11867103"/>
              <a:gd name="connsiteY32" fmla="*/ 2403406 h 2936314"/>
              <a:gd name="connsiteX33" fmla="*/ 11857055 w 11867103"/>
              <a:gd name="connsiteY33" fmla="*/ 2534035 h 2936314"/>
              <a:gd name="connsiteX34" fmla="*/ 11867103 w 11867103"/>
              <a:gd name="connsiteY34" fmla="*/ 2574228 h 2936314"/>
              <a:gd name="connsiteX35" fmla="*/ 11857055 w 11867103"/>
              <a:gd name="connsiteY35" fmla="*/ 2805340 h 2936314"/>
              <a:gd name="connsiteX36" fmla="*/ 11836958 w 11867103"/>
              <a:gd name="connsiteY36" fmla="*/ 2835485 h 2936314"/>
              <a:gd name="connsiteX37" fmla="*/ 11033090 w 11867103"/>
              <a:gd name="connsiteY37" fmla="*/ 2825437 h 2936314"/>
              <a:gd name="connsiteX38" fmla="*/ 10621108 w 11867103"/>
              <a:gd name="connsiteY38" fmla="*/ 2815389 h 2936314"/>
              <a:gd name="connsiteX39" fmla="*/ 10128739 w 11867103"/>
              <a:gd name="connsiteY39" fmla="*/ 2825437 h 2936314"/>
              <a:gd name="connsiteX40" fmla="*/ 10048352 w 11867103"/>
              <a:gd name="connsiteY40" fmla="*/ 2835485 h 2936314"/>
              <a:gd name="connsiteX41" fmla="*/ 9555982 w 11867103"/>
              <a:gd name="connsiteY41" fmla="*/ 2825437 h 2936314"/>
              <a:gd name="connsiteX42" fmla="*/ 9445451 w 11867103"/>
              <a:gd name="connsiteY42" fmla="*/ 2815389 h 2936314"/>
              <a:gd name="connsiteX43" fmla="*/ 9415306 w 11867103"/>
              <a:gd name="connsiteY43" fmla="*/ 2795292 h 2936314"/>
              <a:gd name="connsiteX44" fmla="*/ 9204290 w 11867103"/>
              <a:gd name="connsiteY44" fmla="*/ 2775195 h 2936314"/>
              <a:gd name="connsiteX45" fmla="*/ 9073662 w 11867103"/>
              <a:gd name="connsiteY45" fmla="*/ 2755098 h 2936314"/>
              <a:gd name="connsiteX46" fmla="*/ 8812404 w 11867103"/>
              <a:gd name="connsiteY46" fmla="*/ 2745050 h 2936314"/>
              <a:gd name="connsiteX47" fmla="*/ 8400422 w 11867103"/>
              <a:gd name="connsiteY47" fmla="*/ 2735002 h 2936314"/>
              <a:gd name="connsiteX48" fmla="*/ 8269793 w 11867103"/>
              <a:gd name="connsiteY48" fmla="*/ 2724953 h 2936314"/>
              <a:gd name="connsiteX49" fmla="*/ 7797521 w 11867103"/>
              <a:gd name="connsiteY49" fmla="*/ 2745050 h 2936314"/>
              <a:gd name="connsiteX50" fmla="*/ 7717134 w 11867103"/>
              <a:gd name="connsiteY50" fmla="*/ 2755098 h 2936314"/>
              <a:gd name="connsiteX51" fmla="*/ 7486022 w 11867103"/>
              <a:gd name="connsiteY51" fmla="*/ 2785244 h 2936314"/>
              <a:gd name="connsiteX52" fmla="*/ 7395587 w 11867103"/>
              <a:gd name="connsiteY52" fmla="*/ 2805340 h 2936314"/>
              <a:gd name="connsiteX53" fmla="*/ 7325248 w 11867103"/>
              <a:gd name="connsiteY53" fmla="*/ 2815389 h 2936314"/>
              <a:gd name="connsiteX54" fmla="*/ 6863024 w 11867103"/>
              <a:gd name="connsiteY54" fmla="*/ 2805340 h 2936314"/>
              <a:gd name="connsiteX55" fmla="*/ 6722347 w 11867103"/>
              <a:gd name="connsiteY55" fmla="*/ 2795292 h 2936314"/>
              <a:gd name="connsiteX56" fmla="*/ 4903596 w 11867103"/>
              <a:gd name="connsiteY56" fmla="*/ 2845534 h 2936314"/>
              <a:gd name="connsiteX57" fmla="*/ 4722725 w 11867103"/>
              <a:gd name="connsiteY57" fmla="*/ 2885727 h 2936314"/>
              <a:gd name="connsiteX58" fmla="*/ 4300695 w 11867103"/>
              <a:gd name="connsiteY58" fmla="*/ 2865630 h 2936314"/>
              <a:gd name="connsiteX59" fmla="*/ 4059534 w 11867103"/>
              <a:gd name="connsiteY59" fmla="*/ 2825437 h 2936314"/>
              <a:gd name="connsiteX60" fmla="*/ 3768132 w 11867103"/>
              <a:gd name="connsiteY60" fmla="*/ 2795292 h 2936314"/>
              <a:gd name="connsiteX61" fmla="*/ 3627455 w 11867103"/>
              <a:gd name="connsiteY61" fmla="*/ 2785244 h 2936314"/>
              <a:gd name="connsiteX62" fmla="*/ 3125037 w 11867103"/>
              <a:gd name="connsiteY62" fmla="*/ 2795292 h 2936314"/>
              <a:gd name="connsiteX63" fmla="*/ 3064747 w 11867103"/>
              <a:gd name="connsiteY63" fmla="*/ 2805340 h 2936314"/>
              <a:gd name="connsiteX64" fmla="*/ 2009670 w 11867103"/>
              <a:gd name="connsiteY64" fmla="*/ 2815389 h 2936314"/>
              <a:gd name="connsiteX65" fmla="*/ 1678075 w 11867103"/>
              <a:gd name="connsiteY65" fmla="*/ 2905824 h 2936314"/>
              <a:gd name="connsiteX66" fmla="*/ 1607736 w 11867103"/>
              <a:gd name="connsiteY66" fmla="*/ 2935969 h 2936314"/>
              <a:gd name="connsiteX67" fmla="*/ 1135464 w 11867103"/>
              <a:gd name="connsiteY67" fmla="*/ 2915872 h 2936314"/>
              <a:gd name="connsiteX68" fmla="*/ 944545 w 11867103"/>
              <a:gd name="connsiteY68" fmla="*/ 2885727 h 2936314"/>
              <a:gd name="connsiteX69" fmla="*/ 723481 w 11867103"/>
              <a:gd name="connsiteY69" fmla="*/ 2845534 h 2936314"/>
              <a:gd name="connsiteX70" fmla="*/ 643095 w 11867103"/>
              <a:gd name="connsiteY70" fmla="*/ 2835485 h 2936314"/>
              <a:gd name="connsiteX71" fmla="*/ 371789 w 11867103"/>
              <a:gd name="connsiteY71" fmla="*/ 2795292 h 2936314"/>
              <a:gd name="connsiteX72" fmla="*/ 0 w 11867103"/>
              <a:gd name="connsiteY72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8521002 w 11867103"/>
              <a:gd name="connsiteY12" fmla="*/ 82237 h 2936314"/>
              <a:gd name="connsiteX13" fmla="*/ 9515789 w 11867103"/>
              <a:gd name="connsiteY13" fmla="*/ 72189 h 2936314"/>
              <a:gd name="connsiteX14" fmla="*/ 9606224 w 11867103"/>
              <a:gd name="connsiteY14" fmla="*/ 62140 h 2936314"/>
              <a:gd name="connsiteX15" fmla="*/ 9716756 w 11867103"/>
              <a:gd name="connsiteY15" fmla="*/ 52092 h 2936314"/>
              <a:gd name="connsiteX16" fmla="*/ 9797143 w 11867103"/>
              <a:gd name="connsiteY16" fmla="*/ 42044 h 2936314"/>
              <a:gd name="connsiteX17" fmla="*/ 9947868 w 11867103"/>
              <a:gd name="connsiteY17" fmla="*/ 31995 h 2936314"/>
              <a:gd name="connsiteX18" fmla="*/ 10791930 w 11867103"/>
              <a:gd name="connsiteY18" fmla="*/ 1850 h 2936314"/>
              <a:gd name="connsiteX19" fmla="*/ 11736475 w 11867103"/>
              <a:gd name="connsiteY19" fmla="*/ 21947 h 2936314"/>
              <a:gd name="connsiteX20" fmla="*/ 11766620 w 11867103"/>
              <a:gd name="connsiteY20" fmla="*/ 52092 h 2936314"/>
              <a:gd name="connsiteX21" fmla="*/ 11786717 w 11867103"/>
              <a:gd name="connsiteY21" fmla="*/ 92285 h 2936314"/>
              <a:gd name="connsiteX22" fmla="*/ 11806813 w 11867103"/>
              <a:gd name="connsiteY22" fmla="*/ 182720 h 2936314"/>
              <a:gd name="connsiteX23" fmla="*/ 11816862 w 11867103"/>
              <a:gd name="connsiteY23" fmla="*/ 222914 h 2936314"/>
              <a:gd name="connsiteX24" fmla="*/ 11826910 w 11867103"/>
              <a:gd name="connsiteY24" fmla="*/ 313349 h 2936314"/>
              <a:gd name="connsiteX25" fmla="*/ 11836958 w 11867103"/>
              <a:gd name="connsiteY25" fmla="*/ 393736 h 2936314"/>
              <a:gd name="connsiteX26" fmla="*/ 11826910 w 11867103"/>
              <a:gd name="connsiteY26" fmla="*/ 705235 h 2936314"/>
              <a:gd name="connsiteX27" fmla="*/ 11816862 w 11867103"/>
              <a:gd name="connsiteY27" fmla="*/ 765525 h 2936314"/>
              <a:gd name="connsiteX28" fmla="*/ 11806813 w 11867103"/>
              <a:gd name="connsiteY28" fmla="*/ 835863 h 2936314"/>
              <a:gd name="connsiteX29" fmla="*/ 11816862 w 11867103"/>
              <a:gd name="connsiteY29" fmla="*/ 2302923 h 2936314"/>
              <a:gd name="connsiteX30" fmla="*/ 11826910 w 11867103"/>
              <a:gd name="connsiteY30" fmla="*/ 2373261 h 2936314"/>
              <a:gd name="connsiteX31" fmla="*/ 11836958 w 11867103"/>
              <a:gd name="connsiteY31" fmla="*/ 2403406 h 2936314"/>
              <a:gd name="connsiteX32" fmla="*/ 11857055 w 11867103"/>
              <a:gd name="connsiteY32" fmla="*/ 2534035 h 2936314"/>
              <a:gd name="connsiteX33" fmla="*/ 11867103 w 11867103"/>
              <a:gd name="connsiteY33" fmla="*/ 2574228 h 2936314"/>
              <a:gd name="connsiteX34" fmla="*/ 11857055 w 11867103"/>
              <a:gd name="connsiteY34" fmla="*/ 2805340 h 2936314"/>
              <a:gd name="connsiteX35" fmla="*/ 11836958 w 11867103"/>
              <a:gd name="connsiteY35" fmla="*/ 2835485 h 2936314"/>
              <a:gd name="connsiteX36" fmla="*/ 11033090 w 11867103"/>
              <a:gd name="connsiteY36" fmla="*/ 2825437 h 2936314"/>
              <a:gd name="connsiteX37" fmla="*/ 10621108 w 11867103"/>
              <a:gd name="connsiteY37" fmla="*/ 2815389 h 2936314"/>
              <a:gd name="connsiteX38" fmla="*/ 10128739 w 11867103"/>
              <a:gd name="connsiteY38" fmla="*/ 2825437 h 2936314"/>
              <a:gd name="connsiteX39" fmla="*/ 10048352 w 11867103"/>
              <a:gd name="connsiteY39" fmla="*/ 2835485 h 2936314"/>
              <a:gd name="connsiteX40" fmla="*/ 9555982 w 11867103"/>
              <a:gd name="connsiteY40" fmla="*/ 2825437 h 2936314"/>
              <a:gd name="connsiteX41" fmla="*/ 9445451 w 11867103"/>
              <a:gd name="connsiteY41" fmla="*/ 2815389 h 2936314"/>
              <a:gd name="connsiteX42" fmla="*/ 9415306 w 11867103"/>
              <a:gd name="connsiteY42" fmla="*/ 2795292 h 2936314"/>
              <a:gd name="connsiteX43" fmla="*/ 9204290 w 11867103"/>
              <a:gd name="connsiteY43" fmla="*/ 2775195 h 2936314"/>
              <a:gd name="connsiteX44" fmla="*/ 9073662 w 11867103"/>
              <a:gd name="connsiteY44" fmla="*/ 2755098 h 2936314"/>
              <a:gd name="connsiteX45" fmla="*/ 8812404 w 11867103"/>
              <a:gd name="connsiteY45" fmla="*/ 2745050 h 2936314"/>
              <a:gd name="connsiteX46" fmla="*/ 8400422 w 11867103"/>
              <a:gd name="connsiteY46" fmla="*/ 2735002 h 2936314"/>
              <a:gd name="connsiteX47" fmla="*/ 8269793 w 11867103"/>
              <a:gd name="connsiteY47" fmla="*/ 2724953 h 2936314"/>
              <a:gd name="connsiteX48" fmla="*/ 7797521 w 11867103"/>
              <a:gd name="connsiteY48" fmla="*/ 2745050 h 2936314"/>
              <a:gd name="connsiteX49" fmla="*/ 7717134 w 11867103"/>
              <a:gd name="connsiteY49" fmla="*/ 2755098 h 2936314"/>
              <a:gd name="connsiteX50" fmla="*/ 7486022 w 11867103"/>
              <a:gd name="connsiteY50" fmla="*/ 2785244 h 2936314"/>
              <a:gd name="connsiteX51" fmla="*/ 7395587 w 11867103"/>
              <a:gd name="connsiteY51" fmla="*/ 2805340 h 2936314"/>
              <a:gd name="connsiteX52" fmla="*/ 7325248 w 11867103"/>
              <a:gd name="connsiteY52" fmla="*/ 2815389 h 2936314"/>
              <a:gd name="connsiteX53" fmla="*/ 6863024 w 11867103"/>
              <a:gd name="connsiteY53" fmla="*/ 2805340 h 2936314"/>
              <a:gd name="connsiteX54" fmla="*/ 6722347 w 11867103"/>
              <a:gd name="connsiteY54" fmla="*/ 2795292 h 2936314"/>
              <a:gd name="connsiteX55" fmla="*/ 4903596 w 11867103"/>
              <a:gd name="connsiteY55" fmla="*/ 2845534 h 2936314"/>
              <a:gd name="connsiteX56" fmla="*/ 4722725 w 11867103"/>
              <a:gd name="connsiteY56" fmla="*/ 2885727 h 2936314"/>
              <a:gd name="connsiteX57" fmla="*/ 4300695 w 11867103"/>
              <a:gd name="connsiteY57" fmla="*/ 2865630 h 2936314"/>
              <a:gd name="connsiteX58" fmla="*/ 4059534 w 11867103"/>
              <a:gd name="connsiteY58" fmla="*/ 2825437 h 2936314"/>
              <a:gd name="connsiteX59" fmla="*/ 3768132 w 11867103"/>
              <a:gd name="connsiteY59" fmla="*/ 2795292 h 2936314"/>
              <a:gd name="connsiteX60" fmla="*/ 3627455 w 11867103"/>
              <a:gd name="connsiteY60" fmla="*/ 2785244 h 2936314"/>
              <a:gd name="connsiteX61" fmla="*/ 3125037 w 11867103"/>
              <a:gd name="connsiteY61" fmla="*/ 2795292 h 2936314"/>
              <a:gd name="connsiteX62" fmla="*/ 3064747 w 11867103"/>
              <a:gd name="connsiteY62" fmla="*/ 2805340 h 2936314"/>
              <a:gd name="connsiteX63" fmla="*/ 2009670 w 11867103"/>
              <a:gd name="connsiteY63" fmla="*/ 2815389 h 2936314"/>
              <a:gd name="connsiteX64" fmla="*/ 1678075 w 11867103"/>
              <a:gd name="connsiteY64" fmla="*/ 2905824 h 2936314"/>
              <a:gd name="connsiteX65" fmla="*/ 1607736 w 11867103"/>
              <a:gd name="connsiteY65" fmla="*/ 2935969 h 2936314"/>
              <a:gd name="connsiteX66" fmla="*/ 1135464 w 11867103"/>
              <a:gd name="connsiteY66" fmla="*/ 2915872 h 2936314"/>
              <a:gd name="connsiteX67" fmla="*/ 944545 w 11867103"/>
              <a:gd name="connsiteY67" fmla="*/ 2885727 h 2936314"/>
              <a:gd name="connsiteX68" fmla="*/ 723481 w 11867103"/>
              <a:gd name="connsiteY68" fmla="*/ 2845534 h 2936314"/>
              <a:gd name="connsiteX69" fmla="*/ 643095 w 11867103"/>
              <a:gd name="connsiteY69" fmla="*/ 2835485 h 2936314"/>
              <a:gd name="connsiteX70" fmla="*/ 371789 w 11867103"/>
              <a:gd name="connsiteY70" fmla="*/ 2795292 h 2936314"/>
              <a:gd name="connsiteX71" fmla="*/ 0 w 11867103"/>
              <a:gd name="connsiteY71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515789 w 11867103"/>
              <a:gd name="connsiteY12" fmla="*/ 72189 h 2936314"/>
              <a:gd name="connsiteX13" fmla="*/ 9606224 w 11867103"/>
              <a:gd name="connsiteY13" fmla="*/ 62140 h 2936314"/>
              <a:gd name="connsiteX14" fmla="*/ 9716756 w 11867103"/>
              <a:gd name="connsiteY14" fmla="*/ 52092 h 2936314"/>
              <a:gd name="connsiteX15" fmla="*/ 9797143 w 11867103"/>
              <a:gd name="connsiteY15" fmla="*/ 42044 h 2936314"/>
              <a:gd name="connsiteX16" fmla="*/ 9947868 w 11867103"/>
              <a:gd name="connsiteY16" fmla="*/ 31995 h 2936314"/>
              <a:gd name="connsiteX17" fmla="*/ 10791930 w 11867103"/>
              <a:gd name="connsiteY17" fmla="*/ 1850 h 2936314"/>
              <a:gd name="connsiteX18" fmla="*/ 11736475 w 11867103"/>
              <a:gd name="connsiteY18" fmla="*/ 21947 h 2936314"/>
              <a:gd name="connsiteX19" fmla="*/ 11766620 w 11867103"/>
              <a:gd name="connsiteY19" fmla="*/ 52092 h 2936314"/>
              <a:gd name="connsiteX20" fmla="*/ 11786717 w 11867103"/>
              <a:gd name="connsiteY20" fmla="*/ 92285 h 2936314"/>
              <a:gd name="connsiteX21" fmla="*/ 11806813 w 11867103"/>
              <a:gd name="connsiteY21" fmla="*/ 182720 h 2936314"/>
              <a:gd name="connsiteX22" fmla="*/ 11816862 w 11867103"/>
              <a:gd name="connsiteY22" fmla="*/ 222914 h 2936314"/>
              <a:gd name="connsiteX23" fmla="*/ 11826910 w 11867103"/>
              <a:gd name="connsiteY23" fmla="*/ 313349 h 2936314"/>
              <a:gd name="connsiteX24" fmla="*/ 11836958 w 11867103"/>
              <a:gd name="connsiteY24" fmla="*/ 393736 h 2936314"/>
              <a:gd name="connsiteX25" fmla="*/ 11826910 w 11867103"/>
              <a:gd name="connsiteY25" fmla="*/ 705235 h 2936314"/>
              <a:gd name="connsiteX26" fmla="*/ 11816862 w 11867103"/>
              <a:gd name="connsiteY26" fmla="*/ 765525 h 2936314"/>
              <a:gd name="connsiteX27" fmla="*/ 11806813 w 11867103"/>
              <a:gd name="connsiteY27" fmla="*/ 835863 h 2936314"/>
              <a:gd name="connsiteX28" fmla="*/ 11816862 w 11867103"/>
              <a:gd name="connsiteY28" fmla="*/ 2302923 h 2936314"/>
              <a:gd name="connsiteX29" fmla="*/ 11826910 w 11867103"/>
              <a:gd name="connsiteY29" fmla="*/ 2373261 h 2936314"/>
              <a:gd name="connsiteX30" fmla="*/ 11836958 w 11867103"/>
              <a:gd name="connsiteY30" fmla="*/ 2403406 h 2936314"/>
              <a:gd name="connsiteX31" fmla="*/ 11857055 w 11867103"/>
              <a:gd name="connsiteY31" fmla="*/ 2534035 h 2936314"/>
              <a:gd name="connsiteX32" fmla="*/ 11867103 w 11867103"/>
              <a:gd name="connsiteY32" fmla="*/ 2574228 h 2936314"/>
              <a:gd name="connsiteX33" fmla="*/ 11857055 w 11867103"/>
              <a:gd name="connsiteY33" fmla="*/ 2805340 h 2936314"/>
              <a:gd name="connsiteX34" fmla="*/ 11836958 w 11867103"/>
              <a:gd name="connsiteY34" fmla="*/ 2835485 h 2936314"/>
              <a:gd name="connsiteX35" fmla="*/ 11033090 w 11867103"/>
              <a:gd name="connsiteY35" fmla="*/ 2825437 h 2936314"/>
              <a:gd name="connsiteX36" fmla="*/ 10621108 w 11867103"/>
              <a:gd name="connsiteY36" fmla="*/ 2815389 h 2936314"/>
              <a:gd name="connsiteX37" fmla="*/ 10128739 w 11867103"/>
              <a:gd name="connsiteY37" fmla="*/ 2825437 h 2936314"/>
              <a:gd name="connsiteX38" fmla="*/ 10048352 w 11867103"/>
              <a:gd name="connsiteY38" fmla="*/ 2835485 h 2936314"/>
              <a:gd name="connsiteX39" fmla="*/ 9555982 w 11867103"/>
              <a:gd name="connsiteY39" fmla="*/ 2825437 h 2936314"/>
              <a:gd name="connsiteX40" fmla="*/ 9445451 w 11867103"/>
              <a:gd name="connsiteY40" fmla="*/ 2815389 h 2936314"/>
              <a:gd name="connsiteX41" fmla="*/ 9415306 w 11867103"/>
              <a:gd name="connsiteY41" fmla="*/ 2795292 h 2936314"/>
              <a:gd name="connsiteX42" fmla="*/ 9204290 w 11867103"/>
              <a:gd name="connsiteY42" fmla="*/ 2775195 h 2936314"/>
              <a:gd name="connsiteX43" fmla="*/ 9073662 w 11867103"/>
              <a:gd name="connsiteY43" fmla="*/ 2755098 h 2936314"/>
              <a:gd name="connsiteX44" fmla="*/ 8812404 w 11867103"/>
              <a:gd name="connsiteY44" fmla="*/ 2745050 h 2936314"/>
              <a:gd name="connsiteX45" fmla="*/ 8400422 w 11867103"/>
              <a:gd name="connsiteY45" fmla="*/ 2735002 h 2936314"/>
              <a:gd name="connsiteX46" fmla="*/ 8269793 w 11867103"/>
              <a:gd name="connsiteY46" fmla="*/ 2724953 h 2936314"/>
              <a:gd name="connsiteX47" fmla="*/ 7797521 w 11867103"/>
              <a:gd name="connsiteY47" fmla="*/ 2745050 h 2936314"/>
              <a:gd name="connsiteX48" fmla="*/ 7717134 w 11867103"/>
              <a:gd name="connsiteY48" fmla="*/ 2755098 h 2936314"/>
              <a:gd name="connsiteX49" fmla="*/ 7486022 w 11867103"/>
              <a:gd name="connsiteY49" fmla="*/ 2785244 h 2936314"/>
              <a:gd name="connsiteX50" fmla="*/ 7395587 w 11867103"/>
              <a:gd name="connsiteY50" fmla="*/ 2805340 h 2936314"/>
              <a:gd name="connsiteX51" fmla="*/ 7325248 w 11867103"/>
              <a:gd name="connsiteY51" fmla="*/ 2815389 h 2936314"/>
              <a:gd name="connsiteX52" fmla="*/ 6863024 w 11867103"/>
              <a:gd name="connsiteY52" fmla="*/ 2805340 h 2936314"/>
              <a:gd name="connsiteX53" fmla="*/ 6722347 w 11867103"/>
              <a:gd name="connsiteY53" fmla="*/ 2795292 h 2936314"/>
              <a:gd name="connsiteX54" fmla="*/ 4903596 w 11867103"/>
              <a:gd name="connsiteY54" fmla="*/ 2845534 h 2936314"/>
              <a:gd name="connsiteX55" fmla="*/ 4722725 w 11867103"/>
              <a:gd name="connsiteY55" fmla="*/ 2885727 h 2936314"/>
              <a:gd name="connsiteX56" fmla="*/ 4300695 w 11867103"/>
              <a:gd name="connsiteY56" fmla="*/ 2865630 h 2936314"/>
              <a:gd name="connsiteX57" fmla="*/ 4059534 w 11867103"/>
              <a:gd name="connsiteY57" fmla="*/ 2825437 h 2936314"/>
              <a:gd name="connsiteX58" fmla="*/ 3768132 w 11867103"/>
              <a:gd name="connsiteY58" fmla="*/ 2795292 h 2936314"/>
              <a:gd name="connsiteX59" fmla="*/ 3627455 w 11867103"/>
              <a:gd name="connsiteY59" fmla="*/ 2785244 h 2936314"/>
              <a:gd name="connsiteX60" fmla="*/ 3125037 w 11867103"/>
              <a:gd name="connsiteY60" fmla="*/ 2795292 h 2936314"/>
              <a:gd name="connsiteX61" fmla="*/ 3064747 w 11867103"/>
              <a:gd name="connsiteY61" fmla="*/ 2805340 h 2936314"/>
              <a:gd name="connsiteX62" fmla="*/ 2009670 w 11867103"/>
              <a:gd name="connsiteY62" fmla="*/ 2815389 h 2936314"/>
              <a:gd name="connsiteX63" fmla="*/ 1678075 w 11867103"/>
              <a:gd name="connsiteY63" fmla="*/ 2905824 h 2936314"/>
              <a:gd name="connsiteX64" fmla="*/ 1607736 w 11867103"/>
              <a:gd name="connsiteY64" fmla="*/ 2935969 h 2936314"/>
              <a:gd name="connsiteX65" fmla="*/ 1135464 w 11867103"/>
              <a:gd name="connsiteY65" fmla="*/ 2915872 h 2936314"/>
              <a:gd name="connsiteX66" fmla="*/ 944545 w 11867103"/>
              <a:gd name="connsiteY66" fmla="*/ 2885727 h 2936314"/>
              <a:gd name="connsiteX67" fmla="*/ 723481 w 11867103"/>
              <a:gd name="connsiteY67" fmla="*/ 2845534 h 2936314"/>
              <a:gd name="connsiteX68" fmla="*/ 643095 w 11867103"/>
              <a:gd name="connsiteY68" fmla="*/ 2835485 h 2936314"/>
              <a:gd name="connsiteX69" fmla="*/ 371789 w 11867103"/>
              <a:gd name="connsiteY69" fmla="*/ 2795292 h 2936314"/>
              <a:gd name="connsiteX70" fmla="*/ 0 w 11867103"/>
              <a:gd name="connsiteY70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716756 w 11867103"/>
              <a:gd name="connsiteY13" fmla="*/ 52092 h 2936314"/>
              <a:gd name="connsiteX14" fmla="*/ 9797143 w 11867103"/>
              <a:gd name="connsiteY14" fmla="*/ 42044 h 2936314"/>
              <a:gd name="connsiteX15" fmla="*/ 9947868 w 11867103"/>
              <a:gd name="connsiteY15" fmla="*/ 31995 h 2936314"/>
              <a:gd name="connsiteX16" fmla="*/ 10791930 w 11867103"/>
              <a:gd name="connsiteY16" fmla="*/ 1850 h 2936314"/>
              <a:gd name="connsiteX17" fmla="*/ 11736475 w 11867103"/>
              <a:gd name="connsiteY17" fmla="*/ 21947 h 2936314"/>
              <a:gd name="connsiteX18" fmla="*/ 11766620 w 11867103"/>
              <a:gd name="connsiteY18" fmla="*/ 52092 h 2936314"/>
              <a:gd name="connsiteX19" fmla="*/ 11786717 w 11867103"/>
              <a:gd name="connsiteY19" fmla="*/ 92285 h 2936314"/>
              <a:gd name="connsiteX20" fmla="*/ 11806813 w 11867103"/>
              <a:gd name="connsiteY20" fmla="*/ 182720 h 2936314"/>
              <a:gd name="connsiteX21" fmla="*/ 11816862 w 11867103"/>
              <a:gd name="connsiteY21" fmla="*/ 222914 h 2936314"/>
              <a:gd name="connsiteX22" fmla="*/ 11826910 w 11867103"/>
              <a:gd name="connsiteY22" fmla="*/ 313349 h 2936314"/>
              <a:gd name="connsiteX23" fmla="*/ 11836958 w 11867103"/>
              <a:gd name="connsiteY23" fmla="*/ 393736 h 2936314"/>
              <a:gd name="connsiteX24" fmla="*/ 11826910 w 11867103"/>
              <a:gd name="connsiteY24" fmla="*/ 705235 h 2936314"/>
              <a:gd name="connsiteX25" fmla="*/ 11816862 w 11867103"/>
              <a:gd name="connsiteY25" fmla="*/ 765525 h 2936314"/>
              <a:gd name="connsiteX26" fmla="*/ 11806813 w 11867103"/>
              <a:gd name="connsiteY26" fmla="*/ 835863 h 2936314"/>
              <a:gd name="connsiteX27" fmla="*/ 11816862 w 11867103"/>
              <a:gd name="connsiteY27" fmla="*/ 2302923 h 2936314"/>
              <a:gd name="connsiteX28" fmla="*/ 11826910 w 11867103"/>
              <a:gd name="connsiteY28" fmla="*/ 2373261 h 2936314"/>
              <a:gd name="connsiteX29" fmla="*/ 11836958 w 11867103"/>
              <a:gd name="connsiteY29" fmla="*/ 2403406 h 2936314"/>
              <a:gd name="connsiteX30" fmla="*/ 11857055 w 11867103"/>
              <a:gd name="connsiteY30" fmla="*/ 2534035 h 2936314"/>
              <a:gd name="connsiteX31" fmla="*/ 11867103 w 11867103"/>
              <a:gd name="connsiteY31" fmla="*/ 2574228 h 2936314"/>
              <a:gd name="connsiteX32" fmla="*/ 11857055 w 11867103"/>
              <a:gd name="connsiteY32" fmla="*/ 2805340 h 2936314"/>
              <a:gd name="connsiteX33" fmla="*/ 11836958 w 11867103"/>
              <a:gd name="connsiteY33" fmla="*/ 2835485 h 2936314"/>
              <a:gd name="connsiteX34" fmla="*/ 11033090 w 11867103"/>
              <a:gd name="connsiteY34" fmla="*/ 2825437 h 2936314"/>
              <a:gd name="connsiteX35" fmla="*/ 10621108 w 11867103"/>
              <a:gd name="connsiteY35" fmla="*/ 2815389 h 2936314"/>
              <a:gd name="connsiteX36" fmla="*/ 10128739 w 11867103"/>
              <a:gd name="connsiteY36" fmla="*/ 2825437 h 2936314"/>
              <a:gd name="connsiteX37" fmla="*/ 10048352 w 11867103"/>
              <a:gd name="connsiteY37" fmla="*/ 2835485 h 2936314"/>
              <a:gd name="connsiteX38" fmla="*/ 9555982 w 11867103"/>
              <a:gd name="connsiteY38" fmla="*/ 2825437 h 2936314"/>
              <a:gd name="connsiteX39" fmla="*/ 9445451 w 11867103"/>
              <a:gd name="connsiteY39" fmla="*/ 2815389 h 2936314"/>
              <a:gd name="connsiteX40" fmla="*/ 9415306 w 11867103"/>
              <a:gd name="connsiteY40" fmla="*/ 2795292 h 2936314"/>
              <a:gd name="connsiteX41" fmla="*/ 9204290 w 11867103"/>
              <a:gd name="connsiteY41" fmla="*/ 2775195 h 2936314"/>
              <a:gd name="connsiteX42" fmla="*/ 9073662 w 11867103"/>
              <a:gd name="connsiteY42" fmla="*/ 2755098 h 2936314"/>
              <a:gd name="connsiteX43" fmla="*/ 8812404 w 11867103"/>
              <a:gd name="connsiteY43" fmla="*/ 2745050 h 2936314"/>
              <a:gd name="connsiteX44" fmla="*/ 8400422 w 11867103"/>
              <a:gd name="connsiteY44" fmla="*/ 2735002 h 2936314"/>
              <a:gd name="connsiteX45" fmla="*/ 8269793 w 11867103"/>
              <a:gd name="connsiteY45" fmla="*/ 2724953 h 2936314"/>
              <a:gd name="connsiteX46" fmla="*/ 7797521 w 11867103"/>
              <a:gd name="connsiteY46" fmla="*/ 2745050 h 2936314"/>
              <a:gd name="connsiteX47" fmla="*/ 7717134 w 11867103"/>
              <a:gd name="connsiteY47" fmla="*/ 2755098 h 2936314"/>
              <a:gd name="connsiteX48" fmla="*/ 7486022 w 11867103"/>
              <a:gd name="connsiteY48" fmla="*/ 2785244 h 2936314"/>
              <a:gd name="connsiteX49" fmla="*/ 7395587 w 11867103"/>
              <a:gd name="connsiteY49" fmla="*/ 2805340 h 2936314"/>
              <a:gd name="connsiteX50" fmla="*/ 7325248 w 11867103"/>
              <a:gd name="connsiteY50" fmla="*/ 2815389 h 2936314"/>
              <a:gd name="connsiteX51" fmla="*/ 6863024 w 11867103"/>
              <a:gd name="connsiteY51" fmla="*/ 2805340 h 2936314"/>
              <a:gd name="connsiteX52" fmla="*/ 6722347 w 11867103"/>
              <a:gd name="connsiteY52" fmla="*/ 2795292 h 2936314"/>
              <a:gd name="connsiteX53" fmla="*/ 4903596 w 11867103"/>
              <a:gd name="connsiteY53" fmla="*/ 2845534 h 2936314"/>
              <a:gd name="connsiteX54" fmla="*/ 4722725 w 11867103"/>
              <a:gd name="connsiteY54" fmla="*/ 2885727 h 2936314"/>
              <a:gd name="connsiteX55" fmla="*/ 4300695 w 11867103"/>
              <a:gd name="connsiteY55" fmla="*/ 2865630 h 2936314"/>
              <a:gd name="connsiteX56" fmla="*/ 4059534 w 11867103"/>
              <a:gd name="connsiteY56" fmla="*/ 2825437 h 2936314"/>
              <a:gd name="connsiteX57" fmla="*/ 3768132 w 11867103"/>
              <a:gd name="connsiteY57" fmla="*/ 2795292 h 2936314"/>
              <a:gd name="connsiteX58" fmla="*/ 3627455 w 11867103"/>
              <a:gd name="connsiteY58" fmla="*/ 2785244 h 2936314"/>
              <a:gd name="connsiteX59" fmla="*/ 3125037 w 11867103"/>
              <a:gd name="connsiteY59" fmla="*/ 2795292 h 2936314"/>
              <a:gd name="connsiteX60" fmla="*/ 3064747 w 11867103"/>
              <a:gd name="connsiteY60" fmla="*/ 2805340 h 2936314"/>
              <a:gd name="connsiteX61" fmla="*/ 2009670 w 11867103"/>
              <a:gd name="connsiteY61" fmla="*/ 2815389 h 2936314"/>
              <a:gd name="connsiteX62" fmla="*/ 1678075 w 11867103"/>
              <a:gd name="connsiteY62" fmla="*/ 2905824 h 2936314"/>
              <a:gd name="connsiteX63" fmla="*/ 1607736 w 11867103"/>
              <a:gd name="connsiteY63" fmla="*/ 2935969 h 2936314"/>
              <a:gd name="connsiteX64" fmla="*/ 1135464 w 11867103"/>
              <a:gd name="connsiteY64" fmla="*/ 2915872 h 2936314"/>
              <a:gd name="connsiteX65" fmla="*/ 944545 w 11867103"/>
              <a:gd name="connsiteY65" fmla="*/ 2885727 h 2936314"/>
              <a:gd name="connsiteX66" fmla="*/ 723481 w 11867103"/>
              <a:gd name="connsiteY66" fmla="*/ 2845534 h 2936314"/>
              <a:gd name="connsiteX67" fmla="*/ 643095 w 11867103"/>
              <a:gd name="connsiteY67" fmla="*/ 2835485 h 2936314"/>
              <a:gd name="connsiteX68" fmla="*/ 371789 w 11867103"/>
              <a:gd name="connsiteY68" fmla="*/ 2795292 h 2936314"/>
              <a:gd name="connsiteX69" fmla="*/ 0 w 11867103"/>
              <a:gd name="connsiteY69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797143 w 11867103"/>
              <a:gd name="connsiteY13" fmla="*/ 42044 h 2936314"/>
              <a:gd name="connsiteX14" fmla="*/ 9947868 w 11867103"/>
              <a:gd name="connsiteY14" fmla="*/ 31995 h 2936314"/>
              <a:gd name="connsiteX15" fmla="*/ 10791930 w 11867103"/>
              <a:gd name="connsiteY15" fmla="*/ 1850 h 2936314"/>
              <a:gd name="connsiteX16" fmla="*/ 11736475 w 11867103"/>
              <a:gd name="connsiteY16" fmla="*/ 21947 h 2936314"/>
              <a:gd name="connsiteX17" fmla="*/ 11766620 w 11867103"/>
              <a:gd name="connsiteY17" fmla="*/ 52092 h 2936314"/>
              <a:gd name="connsiteX18" fmla="*/ 11786717 w 11867103"/>
              <a:gd name="connsiteY18" fmla="*/ 92285 h 2936314"/>
              <a:gd name="connsiteX19" fmla="*/ 11806813 w 11867103"/>
              <a:gd name="connsiteY19" fmla="*/ 182720 h 2936314"/>
              <a:gd name="connsiteX20" fmla="*/ 11816862 w 11867103"/>
              <a:gd name="connsiteY20" fmla="*/ 222914 h 2936314"/>
              <a:gd name="connsiteX21" fmla="*/ 11826910 w 11867103"/>
              <a:gd name="connsiteY21" fmla="*/ 313349 h 2936314"/>
              <a:gd name="connsiteX22" fmla="*/ 11836958 w 11867103"/>
              <a:gd name="connsiteY22" fmla="*/ 393736 h 2936314"/>
              <a:gd name="connsiteX23" fmla="*/ 11826910 w 11867103"/>
              <a:gd name="connsiteY23" fmla="*/ 705235 h 2936314"/>
              <a:gd name="connsiteX24" fmla="*/ 11816862 w 11867103"/>
              <a:gd name="connsiteY24" fmla="*/ 765525 h 2936314"/>
              <a:gd name="connsiteX25" fmla="*/ 11806813 w 11867103"/>
              <a:gd name="connsiteY25" fmla="*/ 835863 h 2936314"/>
              <a:gd name="connsiteX26" fmla="*/ 11816862 w 11867103"/>
              <a:gd name="connsiteY26" fmla="*/ 2302923 h 2936314"/>
              <a:gd name="connsiteX27" fmla="*/ 11826910 w 11867103"/>
              <a:gd name="connsiteY27" fmla="*/ 2373261 h 2936314"/>
              <a:gd name="connsiteX28" fmla="*/ 11836958 w 11867103"/>
              <a:gd name="connsiteY28" fmla="*/ 2403406 h 2936314"/>
              <a:gd name="connsiteX29" fmla="*/ 11857055 w 11867103"/>
              <a:gd name="connsiteY29" fmla="*/ 2534035 h 2936314"/>
              <a:gd name="connsiteX30" fmla="*/ 11867103 w 11867103"/>
              <a:gd name="connsiteY30" fmla="*/ 2574228 h 2936314"/>
              <a:gd name="connsiteX31" fmla="*/ 11857055 w 11867103"/>
              <a:gd name="connsiteY31" fmla="*/ 2805340 h 2936314"/>
              <a:gd name="connsiteX32" fmla="*/ 11836958 w 11867103"/>
              <a:gd name="connsiteY32" fmla="*/ 2835485 h 2936314"/>
              <a:gd name="connsiteX33" fmla="*/ 11033090 w 11867103"/>
              <a:gd name="connsiteY33" fmla="*/ 2825437 h 2936314"/>
              <a:gd name="connsiteX34" fmla="*/ 10621108 w 11867103"/>
              <a:gd name="connsiteY34" fmla="*/ 2815389 h 2936314"/>
              <a:gd name="connsiteX35" fmla="*/ 10128739 w 11867103"/>
              <a:gd name="connsiteY35" fmla="*/ 2825437 h 2936314"/>
              <a:gd name="connsiteX36" fmla="*/ 10048352 w 11867103"/>
              <a:gd name="connsiteY36" fmla="*/ 2835485 h 2936314"/>
              <a:gd name="connsiteX37" fmla="*/ 9555982 w 11867103"/>
              <a:gd name="connsiteY37" fmla="*/ 2825437 h 2936314"/>
              <a:gd name="connsiteX38" fmla="*/ 9445451 w 11867103"/>
              <a:gd name="connsiteY38" fmla="*/ 2815389 h 2936314"/>
              <a:gd name="connsiteX39" fmla="*/ 9415306 w 11867103"/>
              <a:gd name="connsiteY39" fmla="*/ 2795292 h 2936314"/>
              <a:gd name="connsiteX40" fmla="*/ 9204290 w 11867103"/>
              <a:gd name="connsiteY40" fmla="*/ 2775195 h 2936314"/>
              <a:gd name="connsiteX41" fmla="*/ 9073662 w 11867103"/>
              <a:gd name="connsiteY41" fmla="*/ 2755098 h 2936314"/>
              <a:gd name="connsiteX42" fmla="*/ 8812404 w 11867103"/>
              <a:gd name="connsiteY42" fmla="*/ 2745050 h 2936314"/>
              <a:gd name="connsiteX43" fmla="*/ 8400422 w 11867103"/>
              <a:gd name="connsiteY43" fmla="*/ 2735002 h 2936314"/>
              <a:gd name="connsiteX44" fmla="*/ 8269793 w 11867103"/>
              <a:gd name="connsiteY44" fmla="*/ 2724953 h 2936314"/>
              <a:gd name="connsiteX45" fmla="*/ 7797521 w 11867103"/>
              <a:gd name="connsiteY45" fmla="*/ 2745050 h 2936314"/>
              <a:gd name="connsiteX46" fmla="*/ 7717134 w 11867103"/>
              <a:gd name="connsiteY46" fmla="*/ 2755098 h 2936314"/>
              <a:gd name="connsiteX47" fmla="*/ 7486022 w 11867103"/>
              <a:gd name="connsiteY47" fmla="*/ 2785244 h 2936314"/>
              <a:gd name="connsiteX48" fmla="*/ 7395587 w 11867103"/>
              <a:gd name="connsiteY48" fmla="*/ 2805340 h 2936314"/>
              <a:gd name="connsiteX49" fmla="*/ 7325248 w 11867103"/>
              <a:gd name="connsiteY49" fmla="*/ 2815389 h 2936314"/>
              <a:gd name="connsiteX50" fmla="*/ 6863024 w 11867103"/>
              <a:gd name="connsiteY50" fmla="*/ 2805340 h 2936314"/>
              <a:gd name="connsiteX51" fmla="*/ 6722347 w 11867103"/>
              <a:gd name="connsiteY51" fmla="*/ 2795292 h 2936314"/>
              <a:gd name="connsiteX52" fmla="*/ 4903596 w 11867103"/>
              <a:gd name="connsiteY52" fmla="*/ 2845534 h 2936314"/>
              <a:gd name="connsiteX53" fmla="*/ 4722725 w 11867103"/>
              <a:gd name="connsiteY53" fmla="*/ 2885727 h 2936314"/>
              <a:gd name="connsiteX54" fmla="*/ 4300695 w 11867103"/>
              <a:gd name="connsiteY54" fmla="*/ 2865630 h 2936314"/>
              <a:gd name="connsiteX55" fmla="*/ 4059534 w 11867103"/>
              <a:gd name="connsiteY55" fmla="*/ 2825437 h 2936314"/>
              <a:gd name="connsiteX56" fmla="*/ 3768132 w 11867103"/>
              <a:gd name="connsiteY56" fmla="*/ 2795292 h 2936314"/>
              <a:gd name="connsiteX57" fmla="*/ 3627455 w 11867103"/>
              <a:gd name="connsiteY57" fmla="*/ 2785244 h 2936314"/>
              <a:gd name="connsiteX58" fmla="*/ 3125037 w 11867103"/>
              <a:gd name="connsiteY58" fmla="*/ 2795292 h 2936314"/>
              <a:gd name="connsiteX59" fmla="*/ 3064747 w 11867103"/>
              <a:gd name="connsiteY59" fmla="*/ 2805340 h 2936314"/>
              <a:gd name="connsiteX60" fmla="*/ 2009670 w 11867103"/>
              <a:gd name="connsiteY60" fmla="*/ 2815389 h 2936314"/>
              <a:gd name="connsiteX61" fmla="*/ 1678075 w 11867103"/>
              <a:gd name="connsiteY61" fmla="*/ 2905824 h 2936314"/>
              <a:gd name="connsiteX62" fmla="*/ 1607736 w 11867103"/>
              <a:gd name="connsiteY62" fmla="*/ 2935969 h 2936314"/>
              <a:gd name="connsiteX63" fmla="*/ 1135464 w 11867103"/>
              <a:gd name="connsiteY63" fmla="*/ 2915872 h 2936314"/>
              <a:gd name="connsiteX64" fmla="*/ 944545 w 11867103"/>
              <a:gd name="connsiteY64" fmla="*/ 2885727 h 2936314"/>
              <a:gd name="connsiteX65" fmla="*/ 723481 w 11867103"/>
              <a:gd name="connsiteY65" fmla="*/ 2845534 h 2936314"/>
              <a:gd name="connsiteX66" fmla="*/ 643095 w 11867103"/>
              <a:gd name="connsiteY66" fmla="*/ 2835485 h 2936314"/>
              <a:gd name="connsiteX67" fmla="*/ 371789 w 11867103"/>
              <a:gd name="connsiteY67" fmla="*/ 2795292 h 2936314"/>
              <a:gd name="connsiteX68" fmla="*/ 0 w 11867103"/>
              <a:gd name="connsiteY68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16862 w 11867103"/>
              <a:gd name="connsiteY19" fmla="*/ 222914 h 2936314"/>
              <a:gd name="connsiteX20" fmla="*/ 11826910 w 11867103"/>
              <a:gd name="connsiteY20" fmla="*/ 313349 h 2936314"/>
              <a:gd name="connsiteX21" fmla="*/ 11836958 w 11867103"/>
              <a:gd name="connsiteY21" fmla="*/ 393736 h 2936314"/>
              <a:gd name="connsiteX22" fmla="*/ 11826910 w 11867103"/>
              <a:gd name="connsiteY22" fmla="*/ 705235 h 2936314"/>
              <a:gd name="connsiteX23" fmla="*/ 11816862 w 11867103"/>
              <a:gd name="connsiteY23" fmla="*/ 765525 h 2936314"/>
              <a:gd name="connsiteX24" fmla="*/ 11806813 w 11867103"/>
              <a:gd name="connsiteY24" fmla="*/ 835863 h 2936314"/>
              <a:gd name="connsiteX25" fmla="*/ 11816862 w 11867103"/>
              <a:gd name="connsiteY25" fmla="*/ 2302923 h 2936314"/>
              <a:gd name="connsiteX26" fmla="*/ 11826910 w 11867103"/>
              <a:gd name="connsiteY26" fmla="*/ 2373261 h 2936314"/>
              <a:gd name="connsiteX27" fmla="*/ 11836958 w 11867103"/>
              <a:gd name="connsiteY27" fmla="*/ 2403406 h 2936314"/>
              <a:gd name="connsiteX28" fmla="*/ 11857055 w 11867103"/>
              <a:gd name="connsiteY28" fmla="*/ 2534035 h 2936314"/>
              <a:gd name="connsiteX29" fmla="*/ 11867103 w 11867103"/>
              <a:gd name="connsiteY29" fmla="*/ 2574228 h 2936314"/>
              <a:gd name="connsiteX30" fmla="*/ 11857055 w 11867103"/>
              <a:gd name="connsiteY30" fmla="*/ 2805340 h 2936314"/>
              <a:gd name="connsiteX31" fmla="*/ 11836958 w 11867103"/>
              <a:gd name="connsiteY31" fmla="*/ 2835485 h 2936314"/>
              <a:gd name="connsiteX32" fmla="*/ 11033090 w 11867103"/>
              <a:gd name="connsiteY32" fmla="*/ 2825437 h 2936314"/>
              <a:gd name="connsiteX33" fmla="*/ 10621108 w 11867103"/>
              <a:gd name="connsiteY33" fmla="*/ 2815389 h 2936314"/>
              <a:gd name="connsiteX34" fmla="*/ 10128739 w 11867103"/>
              <a:gd name="connsiteY34" fmla="*/ 2825437 h 2936314"/>
              <a:gd name="connsiteX35" fmla="*/ 10048352 w 11867103"/>
              <a:gd name="connsiteY35" fmla="*/ 2835485 h 2936314"/>
              <a:gd name="connsiteX36" fmla="*/ 9555982 w 11867103"/>
              <a:gd name="connsiteY36" fmla="*/ 2825437 h 2936314"/>
              <a:gd name="connsiteX37" fmla="*/ 9445451 w 11867103"/>
              <a:gd name="connsiteY37" fmla="*/ 2815389 h 2936314"/>
              <a:gd name="connsiteX38" fmla="*/ 9415306 w 11867103"/>
              <a:gd name="connsiteY38" fmla="*/ 2795292 h 2936314"/>
              <a:gd name="connsiteX39" fmla="*/ 9204290 w 11867103"/>
              <a:gd name="connsiteY39" fmla="*/ 2775195 h 2936314"/>
              <a:gd name="connsiteX40" fmla="*/ 9073662 w 11867103"/>
              <a:gd name="connsiteY40" fmla="*/ 2755098 h 2936314"/>
              <a:gd name="connsiteX41" fmla="*/ 8812404 w 11867103"/>
              <a:gd name="connsiteY41" fmla="*/ 2745050 h 2936314"/>
              <a:gd name="connsiteX42" fmla="*/ 8400422 w 11867103"/>
              <a:gd name="connsiteY42" fmla="*/ 2735002 h 2936314"/>
              <a:gd name="connsiteX43" fmla="*/ 8269793 w 11867103"/>
              <a:gd name="connsiteY43" fmla="*/ 2724953 h 2936314"/>
              <a:gd name="connsiteX44" fmla="*/ 7797521 w 11867103"/>
              <a:gd name="connsiteY44" fmla="*/ 2745050 h 2936314"/>
              <a:gd name="connsiteX45" fmla="*/ 7717134 w 11867103"/>
              <a:gd name="connsiteY45" fmla="*/ 2755098 h 2936314"/>
              <a:gd name="connsiteX46" fmla="*/ 7486022 w 11867103"/>
              <a:gd name="connsiteY46" fmla="*/ 2785244 h 2936314"/>
              <a:gd name="connsiteX47" fmla="*/ 7395587 w 11867103"/>
              <a:gd name="connsiteY47" fmla="*/ 2805340 h 2936314"/>
              <a:gd name="connsiteX48" fmla="*/ 7325248 w 11867103"/>
              <a:gd name="connsiteY48" fmla="*/ 2815389 h 2936314"/>
              <a:gd name="connsiteX49" fmla="*/ 6863024 w 11867103"/>
              <a:gd name="connsiteY49" fmla="*/ 2805340 h 2936314"/>
              <a:gd name="connsiteX50" fmla="*/ 6722347 w 11867103"/>
              <a:gd name="connsiteY50" fmla="*/ 2795292 h 2936314"/>
              <a:gd name="connsiteX51" fmla="*/ 4903596 w 11867103"/>
              <a:gd name="connsiteY51" fmla="*/ 2845534 h 2936314"/>
              <a:gd name="connsiteX52" fmla="*/ 4722725 w 11867103"/>
              <a:gd name="connsiteY52" fmla="*/ 2885727 h 2936314"/>
              <a:gd name="connsiteX53" fmla="*/ 4300695 w 11867103"/>
              <a:gd name="connsiteY53" fmla="*/ 2865630 h 2936314"/>
              <a:gd name="connsiteX54" fmla="*/ 4059534 w 11867103"/>
              <a:gd name="connsiteY54" fmla="*/ 2825437 h 2936314"/>
              <a:gd name="connsiteX55" fmla="*/ 3768132 w 11867103"/>
              <a:gd name="connsiteY55" fmla="*/ 2795292 h 2936314"/>
              <a:gd name="connsiteX56" fmla="*/ 3627455 w 11867103"/>
              <a:gd name="connsiteY56" fmla="*/ 2785244 h 2936314"/>
              <a:gd name="connsiteX57" fmla="*/ 3125037 w 11867103"/>
              <a:gd name="connsiteY57" fmla="*/ 2795292 h 2936314"/>
              <a:gd name="connsiteX58" fmla="*/ 3064747 w 11867103"/>
              <a:gd name="connsiteY58" fmla="*/ 2805340 h 2936314"/>
              <a:gd name="connsiteX59" fmla="*/ 2009670 w 11867103"/>
              <a:gd name="connsiteY59" fmla="*/ 2815389 h 2936314"/>
              <a:gd name="connsiteX60" fmla="*/ 1678075 w 11867103"/>
              <a:gd name="connsiteY60" fmla="*/ 2905824 h 2936314"/>
              <a:gd name="connsiteX61" fmla="*/ 1607736 w 11867103"/>
              <a:gd name="connsiteY61" fmla="*/ 2935969 h 2936314"/>
              <a:gd name="connsiteX62" fmla="*/ 1135464 w 11867103"/>
              <a:gd name="connsiteY62" fmla="*/ 2915872 h 2936314"/>
              <a:gd name="connsiteX63" fmla="*/ 944545 w 11867103"/>
              <a:gd name="connsiteY63" fmla="*/ 2885727 h 2936314"/>
              <a:gd name="connsiteX64" fmla="*/ 723481 w 11867103"/>
              <a:gd name="connsiteY64" fmla="*/ 2845534 h 2936314"/>
              <a:gd name="connsiteX65" fmla="*/ 643095 w 11867103"/>
              <a:gd name="connsiteY65" fmla="*/ 2835485 h 2936314"/>
              <a:gd name="connsiteX66" fmla="*/ 371789 w 11867103"/>
              <a:gd name="connsiteY66" fmla="*/ 2795292 h 2936314"/>
              <a:gd name="connsiteX67" fmla="*/ 0 w 11867103"/>
              <a:gd name="connsiteY67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26910 w 11867103"/>
              <a:gd name="connsiteY19" fmla="*/ 313349 h 2936314"/>
              <a:gd name="connsiteX20" fmla="*/ 11836958 w 11867103"/>
              <a:gd name="connsiteY20" fmla="*/ 393736 h 2936314"/>
              <a:gd name="connsiteX21" fmla="*/ 11826910 w 11867103"/>
              <a:gd name="connsiteY21" fmla="*/ 705235 h 2936314"/>
              <a:gd name="connsiteX22" fmla="*/ 11816862 w 11867103"/>
              <a:gd name="connsiteY22" fmla="*/ 765525 h 2936314"/>
              <a:gd name="connsiteX23" fmla="*/ 11806813 w 11867103"/>
              <a:gd name="connsiteY23" fmla="*/ 835863 h 2936314"/>
              <a:gd name="connsiteX24" fmla="*/ 11816862 w 11867103"/>
              <a:gd name="connsiteY24" fmla="*/ 2302923 h 2936314"/>
              <a:gd name="connsiteX25" fmla="*/ 11826910 w 11867103"/>
              <a:gd name="connsiteY25" fmla="*/ 2373261 h 2936314"/>
              <a:gd name="connsiteX26" fmla="*/ 11836958 w 11867103"/>
              <a:gd name="connsiteY26" fmla="*/ 2403406 h 2936314"/>
              <a:gd name="connsiteX27" fmla="*/ 11857055 w 11867103"/>
              <a:gd name="connsiteY27" fmla="*/ 2534035 h 2936314"/>
              <a:gd name="connsiteX28" fmla="*/ 11867103 w 11867103"/>
              <a:gd name="connsiteY28" fmla="*/ 2574228 h 2936314"/>
              <a:gd name="connsiteX29" fmla="*/ 11857055 w 11867103"/>
              <a:gd name="connsiteY29" fmla="*/ 2805340 h 2936314"/>
              <a:gd name="connsiteX30" fmla="*/ 11836958 w 11867103"/>
              <a:gd name="connsiteY30" fmla="*/ 2835485 h 2936314"/>
              <a:gd name="connsiteX31" fmla="*/ 11033090 w 11867103"/>
              <a:gd name="connsiteY31" fmla="*/ 2825437 h 2936314"/>
              <a:gd name="connsiteX32" fmla="*/ 10621108 w 11867103"/>
              <a:gd name="connsiteY32" fmla="*/ 2815389 h 2936314"/>
              <a:gd name="connsiteX33" fmla="*/ 10128739 w 11867103"/>
              <a:gd name="connsiteY33" fmla="*/ 2825437 h 2936314"/>
              <a:gd name="connsiteX34" fmla="*/ 10048352 w 11867103"/>
              <a:gd name="connsiteY34" fmla="*/ 2835485 h 2936314"/>
              <a:gd name="connsiteX35" fmla="*/ 9555982 w 11867103"/>
              <a:gd name="connsiteY35" fmla="*/ 2825437 h 2936314"/>
              <a:gd name="connsiteX36" fmla="*/ 9445451 w 11867103"/>
              <a:gd name="connsiteY36" fmla="*/ 2815389 h 2936314"/>
              <a:gd name="connsiteX37" fmla="*/ 9415306 w 11867103"/>
              <a:gd name="connsiteY37" fmla="*/ 2795292 h 2936314"/>
              <a:gd name="connsiteX38" fmla="*/ 9204290 w 11867103"/>
              <a:gd name="connsiteY38" fmla="*/ 2775195 h 2936314"/>
              <a:gd name="connsiteX39" fmla="*/ 9073662 w 11867103"/>
              <a:gd name="connsiteY39" fmla="*/ 2755098 h 2936314"/>
              <a:gd name="connsiteX40" fmla="*/ 8812404 w 11867103"/>
              <a:gd name="connsiteY40" fmla="*/ 2745050 h 2936314"/>
              <a:gd name="connsiteX41" fmla="*/ 8400422 w 11867103"/>
              <a:gd name="connsiteY41" fmla="*/ 2735002 h 2936314"/>
              <a:gd name="connsiteX42" fmla="*/ 8269793 w 11867103"/>
              <a:gd name="connsiteY42" fmla="*/ 2724953 h 2936314"/>
              <a:gd name="connsiteX43" fmla="*/ 7797521 w 11867103"/>
              <a:gd name="connsiteY43" fmla="*/ 2745050 h 2936314"/>
              <a:gd name="connsiteX44" fmla="*/ 7717134 w 11867103"/>
              <a:gd name="connsiteY44" fmla="*/ 2755098 h 2936314"/>
              <a:gd name="connsiteX45" fmla="*/ 7486022 w 11867103"/>
              <a:gd name="connsiteY45" fmla="*/ 2785244 h 2936314"/>
              <a:gd name="connsiteX46" fmla="*/ 7395587 w 11867103"/>
              <a:gd name="connsiteY46" fmla="*/ 2805340 h 2936314"/>
              <a:gd name="connsiteX47" fmla="*/ 7325248 w 11867103"/>
              <a:gd name="connsiteY47" fmla="*/ 2815389 h 2936314"/>
              <a:gd name="connsiteX48" fmla="*/ 6863024 w 11867103"/>
              <a:gd name="connsiteY48" fmla="*/ 2805340 h 2936314"/>
              <a:gd name="connsiteX49" fmla="*/ 6722347 w 11867103"/>
              <a:gd name="connsiteY49" fmla="*/ 2795292 h 2936314"/>
              <a:gd name="connsiteX50" fmla="*/ 4903596 w 11867103"/>
              <a:gd name="connsiteY50" fmla="*/ 2845534 h 2936314"/>
              <a:gd name="connsiteX51" fmla="*/ 4722725 w 11867103"/>
              <a:gd name="connsiteY51" fmla="*/ 2885727 h 2936314"/>
              <a:gd name="connsiteX52" fmla="*/ 4300695 w 11867103"/>
              <a:gd name="connsiteY52" fmla="*/ 2865630 h 2936314"/>
              <a:gd name="connsiteX53" fmla="*/ 4059534 w 11867103"/>
              <a:gd name="connsiteY53" fmla="*/ 2825437 h 2936314"/>
              <a:gd name="connsiteX54" fmla="*/ 3768132 w 11867103"/>
              <a:gd name="connsiteY54" fmla="*/ 2795292 h 2936314"/>
              <a:gd name="connsiteX55" fmla="*/ 3627455 w 11867103"/>
              <a:gd name="connsiteY55" fmla="*/ 2785244 h 2936314"/>
              <a:gd name="connsiteX56" fmla="*/ 3125037 w 11867103"/>
              <a:gd name="connsiteY56" fmla="*/ 2795292 h 2936314"/>
              <a:gd name="connsiteX57" fmla="*/ 3064747 w 11867103"/>
              <a:gd name="connsiteY57" fmla="*/ 2805340 h 2936314"/>
              <a:gd name="connsiteX58" fmla="*/ 2009670 w 11867103"/>
              <a:gd name="connsiteY58" fmla="*/ 2815389 h 2936314"/>
              <a:gd name="connsiteX59" fmla="*/ 1678075 w 11867103"/>
              <a:gd name="connsiteY59" fmla="*/ 2905824 h 2936314"/>
              <a:gd name="connsiteX60" fmla="*/ 1607736 w 11867103"/>
              <a:gd name="connsiteY60" fmla="*/ 2935969 h 2936314"/>
              <a:gd name="connsiteX61" fmla="*/ 1135464 w 11867103"/>
              <a:gd name="connsiteY61" fmla="*/ 2915872 h 2936314"/>
              <a:gd name="connsiteX62" fmla="*/ 944545 w 11867103"/>
              <a:gd name="connsiteY62" fmla="*/ 2885727 h 2936314"/>
              <a:gd name="connsiteX63" fmla="*/ 723481 w 11867103"/>
              <a:gd name="connsiteY63" fmla="*/ 2845534 h 2936314"/>
              <a:gd name="connsiteX64" fmla="*/ 643095 w 11867103"/>
              <a:gd name="connsiteY64" fmla="*/ 2835485 h 2936314"/>
              <a:gd name="connsiteX65" fmla="*/ 371789 w 11867103"/>
              <a:gd name="connsiteY65" fmla="*/ 2795292 h 2936314"/>
              <a:gd name="connsiteX66" fmla="*/ 0 w 11867103"/>
              <a:gd name="connsiteY66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36958 w 11867103"/>
              <a:gd name="connsiteY19" fmla="*/ 393736 h 2936314"/>
              <a:gd name="connsiteX20" fmla="*/ 11826910 w 11867103"/>
              <a:gd name="connsiteY20" fmla="*/ 705235 h 2936314"/>
              <a:gd name="connsiteX21" fmla="*/ 11816862 w 11867103"/>
              <a:gd name="connsiteY21" fmla="*/ 765525 h 2936314"/>
              <a:gd name="connsiteX22" fmla="*/ 11806813 w 11867103"/>
              <a:gd name="connsiteY22" fmla="*/ 835863 h 2936314"/>
              <a:gd name="connsiteX23" fmla="*/ 11816862 w 11867103"/>
              <a:gd name="connsiteY23" fmla="*/ 2302923 h 2936314"/>
              <a:gd name="connsiteX24" fmla="*/ 11826910 w 11867103"/>
              <a:gd name="connsiteY24" fmla="*/ 2373261 h 2936314"/>
              <a:gd name="connsiteX25" fmla="*/ 11836958 w 11867103"/>
              <a:gd name="connsiteY25" fmla="*/ 2403406 h 2936314"/>
              <a:gd name="connsiteX26" fmla="*/ 11857055 w 11867103"/>
              <a:gd name="connsiteY26" fmla="*/ 2534035 h 2936314"/>
              <a:gd name="connsiteX27" fmla="*/ 11867103 w 11867103"/>
              <a:gd name="connsiteY27" fmla="*/ 2574228 h 2936314"/>
              <a:gd name="connsiteX28" fmla="*/ 11857055 w 11867103"/>
              <a:gd name="connsiteY28" fmla="*/ 2805340 h 2936314"/>
              <a:gd name="connsiteX29" fmla="*/ 11836958 w 11867103"/>
              <a:gd name="connsiteY29" fmla="*/ 2835485 h 2936314"/>
              <a:gd name="connsiteX30" fmla="*/ 11033090 w 11867103"/>
              <a:gd name="connsiteY30" fmla="*/ 2825437 h 2936314"/>
              <a:gd name="connsiteX31" fmla="*/ 10621108 w 11867103"/>
              <a:gd name="connsiteY31" fmla="*/ 2815389 h 2936314"/>
              <a:gd name="connsiteX32" fmla="*/ 10128739 w 11867103"/>
              <a:gd name="connsiteY32" fmla="*/ 2825437 h 2936314"/>
              <a:gd name="connsiteX33" fmla="*/ 10048352 w 11867103"/>
              <a:gd name="connsiteY33" fmla="*/ 2835485 h 2936314"/>
              <a:gd name="connsiteX34" fmla="*/ 9555982 w 11867103"/>
              <a:gd name="connsiteY34" fmla="*/ 2825437 h 2936314"/>
              <a:gd name="connsiteX35" fmla="*/ 9445451 w 11867103"/>
              <a:gd name="connsiteY35" fmla="*/ 2815389 h 2936314"/>
              <a:gd name="connsiteX36" fmla="*/ 9415306 w 11867103"/>
              <a:gd name="connsiteY36" fmla="*/ 2795292 h 2936314"/>
              <a:gd name="connsiteX37" fmla="*/ 9204290 w 11867103"/>
              <a:gd name="connsiteY37" fmla="*/ 2775195 h 2936314"/>
              <a:gd name="connsiteX38" fmla="*/ 9073662 w 11867103"/>
              <a:gd name="connsiteY38" fmla="*/ 2755098 h 2936314"/>
              <a:gd name="connsiteX39" fmla="*/ 8812404 w 11867103"/>
              <a:gd name="connsiteY39" fmla="*/ 2745050 h 2936314"/>
              <a:gd name="connsiteX40" fmla="*/ 8400422 w 11867103"/>
              <a:gd name="connsiteY40" fmla="*/ 2735002 h 2936314"/>
              <a:gd name="connsiteX41" fmla="*/ 8269793 w 11867103"/>
              <a:gd name="connsiteY41" fmla="*/ 2724953 h 2936314"/>
              <a:gd name="connsiteX42" fmla="*/ 7797521 w 11867103"/>
              <a:gd name="connsiteY42" fmla="*/ 2745050 h 2936314"/>
              <a:gd name="connsiteX43" fmla="*/ 7717134 w 11867103"/>
              <a:gd name="connsiteY43" fmla="*/ 2755098 h 2936314"/>
              <a:gd name="connsiteX44" fmla="*/ 7486022 w 11867103"/>
              <a:gd name="connsiteY44" fmla="*/ 2785244 h 2936314"/>
              <a:gd name="connsiteX45" fmla="*/ 7395587 w 11867103"/>
              <a:gd name="connsiteY45" fmla="*/ 2805340 h 2936314"/>
              <a:gd name="connsiteX46" fmla="*/ 7325248 w 11867103"/>
              <a:gd name="connsiteY46" fmla="*/ 2815389 h 2936314"/>
              <a:gd name="connsiteX47" fmla="*/ 6863024 w 11867103"/>
              <a:gd name="connsiteY47" fmla="*/ 2805340 h 2936314"/>
              <a:gd name="connsiteX48" fmla="*/ 6722347 w 11867103"/>
              <a:gd name="connsiteY48" fmla="*/ 2795292 h 2936314"/>
              <a:gd name="connsiteX49" fmla="*/ 4903596 w 11867103"/>
              <a:gd name="connsiteY49" fmla="*/ 2845534 h 2936314"/>
              <a:gd name="connsiteX50" fmla="*/ 4722725 w 11867103"/>
              <a:gd name="connsiteY50" fmla="*/ 2885727 h 2936314"/>
              <a:gd name="connsiteX51" fmla="*/ 4300695 w 11867103"/>
              <a:gd name="connsiteY51" fmla="*/ 2865630 h 2936314"/>
              <a:gd name="connsiteX52" fmla="*/ 4059534 w 11867103"/>
              <a:gd name="connsiteY52" fmla="*/ 2825437 h 2936314"/>
              <a:gd name="connsiteX53" fmla="*/ 3768132 w 11867103"/>
              <a:gd name="connsiteY53" fmla="*/ 2795292 h 2936314"/>
              <a:gd name="connsiteX54" fmla="*/ 3627455 w 11867103"/>
              <a:gd name="connsiteY54" fmla="*/ 2785244 h 2936314"/>
              <a:gd name="connsiteX55" fmla="*/ 3125037 w 11867103"/>
              <a:gd name="connsiteY55" fmla="*/ 2795292 h 2936314"/>
              <a:gd name="connsiteX56" fmla="*/ 3064747 w 11867103"/>
              <a:gd name="connsiteY56" fmla="*/ 2805340 h 2936314"/>
              <a:gd name="connsiteX57" fmla="*/ 2009670 w 11867103"/>
              <a:gd name="connsiteY57" fmla="*/ 2815389 h 2936314"/>
              <a:gd name="connsiteX58" fmla="*/ 1678075 w 11867103"/>
              <a:gd name="connsiteY58" fmla="*/ 2905824 h 2936314"/>
              <a:gd name="connsiteX59" fmla="*/ 1607736 w 11867103"/>
              <a:gd name="connsiteY59" fmla="*/ 2935969 h 2936314"/>
              <a:gd name="connsiteX60" fmla="*/ 1135464 w 11867103"/>
              <a:gd name="connsiteY60" fmla="*/ 2915872 h 2936314"/>
              <a:gd name="connsiteX61" fmla="*/ 944545 w 11867103"/>
              <a:gd name="connsiteY61" fmla="*/ 2885727 h 2936314"/>
              <a:gd name="connsiteX62" fmla="*/ 723481 w 11867103"/>
              <a:gd name="connsiteY62" fmla="*/ 2845534 h 2936314"/>
              <a:gd name="connsiteX63" fmla="*/ 643095 w 11867103"/>
              <a:gd name="connsiteY63" fmla="*/ 2835485 h 2936314"/>
              <a:gd name="connsiteX64" fmla="*/ 371789 w 11867103"/>
              <a:gd name="connsiteY64" fmla="*/ 2795292 h 2936314"/>
              <a:gd name="connsiteX65" fmla="*/ 0 w 11867103"/>
              <a:gd name="connsiteY65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26910 w 11867103"/>
              <a:gd name="connsiteY19" fmla="*/ 705235 h 2936314"/>
              <a:gd name="connsiteX20" fmla="*/ 11816862 w 11867103"/>
              <a:gd name="connsiteY20" fmla="*/ 765525 h 2936314"/>
              <a:gd name="connsiteX21" fmla="*/ 11806813 w 11867103"/>
              <a:gd name="connsiteY21" fmla="*/ 835863 h 2936314"/>
              <a:gd name="connsiteX22" fmla="*/ 11816862 w 11867103"/>
              <a:gd name="connsiteY22" fmla="*/ 2302923 h 2936314"/>
              <a:gd name="connsiteX23" fmla="*/ 11826910 w 11867103"/>
              <a:gd name="connsiteY23" fmla="*/ 2373261 h 2936314"/>
              <a:gd name="connsiteX24" fmla="*/ 11836958 w 11867103"/>
              <a:gd name="connsiteY24" fmla="*/ 2403406 h 2936314"/>
              <a:gd name="connsiteX25" fmla="*/ 11857055 w 11867103"/>
              <a:gd name="connsiteY25" fmla="*/ 2534035 h 2936314"/>
              <a:gd name="connsiteX26" fmla="*/ 11867103 w 11867103"/>
              <a:gd name="connsiteY26" fmla="*/ 2574228 h 2936314"/>
              <a:gd name="connsiteX27" fmla="*/ 11857055 w 11867103"/>
              <a:gd name="connsiteY27" fmla="*/ 2805340 h 2936314"/>
              <a:gd name="connsiteX28" fmla="*/ 11836958 w 11867103"/>
              <a:gd name="connsiteY28" fmla="*/ 2835485 h 2936314"/>
              <a:gd name="connsiteX29" fmla="*/ 11033090 w 11867103"/>
              <a:gd name="connsiteY29" fmla="*/ 2825437 h 2936314"/>
              <a:gd name="connsiteX30" fmla="*/ 10621108 w 11867103"/>
              <a:gd name="connsiteY30" fmla="*/ 2815389 h 2936314"/>
              <a:gd name="connsiteX31" fmla="*/ 10128739 w 11867103"/>
              <a:gd name="connsiteY31" fmla="*/ 2825437 h 2936314"/>
              <a:gd name="connsiteX32" fmla="*/ 10048352 w 11867103"/>
              <a:gd name="connsiteY32" fmla="*/ 2835485 h 2936314"/>
              <a:gd name="connsiteX33" fmla="*/ 9555982 w 11867103"/>
              <a:gd name="connsiteY33" fmla="*/ 2825437 h 2936314"/>
              <a:gd name="connsiteX34" fmla="*/ 9445451 w 11867103"/>
              <a:gd name="connsiteY34" fmla="*/ 2815389 h 2936314"/>
              <a:gd name="connsiteX35" fmla="*/ 9415306 w 11867103"/>
              <a:gd name="connsiteY35" fmla="*/ 2795292 h 2936314"/>
              <a:gd name="connsiteX36" fmla="*/ 9204290 w 11867103"/>
              <a:gd name="connsiteY36" fmla="*/ 2775195 h 2936314"/>
              <a:gd name="connsiteX37" fmla="*/ 9073662 w 11867103"/>
              <a:gd name="connsiteY37" fmla="*/ 2755098 h 2936314"/>
              <a:gd name="connsiteX38" fmla="*/ 8812404 w 11867103"/>
              <a:gd name="connsiteY38" fmla="*/ 2745050 h 2936314"/>
              <a:gd name="connsiteX39" fmla="*/ 8400422 w 11867103"/>
              <a:gd name="connsiteY39" fmla="*/ 2735002 h 2936314"/>
              <a:gd name="connsiteX40" fmla="*/ 8269793 w 11867103"/>
              <a:gd name="connsiteY40" fmla="*/ 2724953 h 2936314"/>
              <a:gd name="connsiteX41" fmla="*/ 7797521 w 11867103"/>
              <a:gd name="connsiteY41" fmla="*/ 2745050 h 2936314"/>
              <a:gd name="connsiteX42" fmla="*/ 7717134 w 11867103"/>
              <a:gd name="connsiteY42" fmla="*/ 2755098 h 2936314"/>
              <a:gd name="connsiteX43" fmla="*/ 7486022 w 11867103"/>
              <a:gd name="connsiteY43" fmla="*/ 2785244 h 2936314"/>
              <a:gd name="connsiteX44" fmla="*/ 7395587 w 11867103"/>
              <a:gd name="connsiteY44" fmla="*/ 2805340 h 2936314"/>
              <a:gd name="connsiteX45" fmla="*/ 7325248 w 11867103"/>
              <a:gd name="connsiteY45" fmla="*/ 2815389 h 2936314"/>
              <a:gd name="connsiteX46" fmla="*/ 6863024 w 11867103"/>
              <a:gd name="connsiteY46" fmla="*/ 2805340 h 2936314"/>
              <a:gd name="connsiteX47" fmla="*/ 6722347 w 11867103"/>
              <a:gd name="connsiteY47" fmla="*/ 2795292 h 2936314"/>
              <a:gd name="connsiteX48" fmla="*/ 4903596 w 11867103"/>
              <a:gd name="connsiteY48" fmla="*/ 2845534 h 2936314"/>
              <a:gd name="connsiteX49" fmla="*/ 4722725 w 11867103"/>
              <a:gd name="connsiteY49" fmla="*/ 2885727 h 2936314"/>
              <a:gd name="connsiteX50" fmla="*/ 4300695 w 11867103"/>
              <a:gd name="connsiteY50" fmla="*/ 2865630 h 2936314"/>
              <a:gd name="connsiteX51" fmla="*/ 4059534 w 11867103"/>
              <a:gd name="connsiteY51" fmla="*/ 2825437 h 2936314"/>
              <a:gd name="connsiteX52" fmla="*/ 3768132 w 11867103"/>
              <a:gd name="connsiteY52" fmla="*/ 2795292 h 2936314"/>
              <a:gd name="connsiteX53" fmla="*/ 3627455 w 11867103"/>
              <a:gd name="connsiteY53" fmla="*/ 2785244 h 2936314"/>
              <a:gd name="connsiteX54" fmla="*/ 3125037 w 11867103"/>
              <a:gd name="connsiteY54" fmla="*/ 2795292 h 2936314"/>
              <a:gd name="connsiteX55" fmla="*/ 3064747 w 11867103"/>
              <a:gd name="connsiteY55" fmla="*/ 2805340 h 2936314"/>
              <a:gd name="connsiteX56" fmla="*/ 2009670 w 11867103"/>
              <a:gd name="connsiteY56" fmla="*/ 2815389 h 2936314"/>
              <a:gd name="connsiteX57" fmla="*/ 1678075 w 11867103"/>
              <a:gd name="connsiteY57" fmla="*/ 2905824 h 2936314"/>
              <a:gd name="connsiteX58" fmla="*/ 1607736 w 11867103"/>
              <a:gd name="connsiteY58" fmla="*/ 2935969 h 2936314"/>
              <a:gd name="connsiteX59" fmla="*/ 1135464 w 11867103"/>
              <a:gd name="connsiteY59" fmla="*/ 2915872 h 2936314"/>
              <a:gd name="connsiteX60" fmla="*/ 944545 w 11867103"/>
              <a:gd name="connsiteY60" fmla="*/ 2885727 h 2936314"/>
              <a:gd name="connsiteX61" fmla="*/ 723481 w 11867103"/>
              <a:gd name="connsiteY61" fmla="*/ 2845534 h 2936314"/>
              <a:gd name="connsiteX62" fmla="*/ 643095 w 11867103"/>
              <a:gd name="connsiteY62" fmla="*/ 2835485 h 2936314"/>
              <a:gd name="connsiteX63" fmla="*/ 371789 w 11867103"/>
              <a:gd name="connsiteY63" fmla="*/ 2795292 h 2936314"/>
              <a:gd name="connsiteX64" fmla="*/ 0 w 11867103"/>
              <a:gd name="connsiteY64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26910 w 11867103"/>
              <a:gd name="connsiteY19" fmla="*/ 705235 h 2936314"/>
              <a:gd name="connsiteX20" fmla="*/ 11806813 w 11867103"/>
              <a:gd name="connsiteY20" fmla="*/ 835863 h 2936314"/>
              <a:gd name="connsiteX21" fmla="*/ 11816862 w 11867103"/>
              <a:gd name="connsiteY21" fmla="*/ 2302923 h 2936314"/>
              <a:gd name="connsiteX22" fmla="*/ 11826910 w 11867103"/>
              <a:gd name="connsiteY22" fmla="*/ 2373261 h 2936314"/>
              <a:gd name="connsiteX23" fmla="*/ 11836958 w 11867103"/>
              <a:gd name="connsiteY23" fmla="*/ 2403406 h 2936314"/>
              <a:gd name="connsiteX24" fmla="*/ 11857055 w 11867103"/>
              <a:gd name="connsiteY24" fmla="*/ 2534035 h 2936314"/>
              <a:gd name="connsiteX25" fmla="*/ 11867103 w 11867103"/>
              <a:gd name="connsiteY25" fmla="*/ 2574228 h 2936314"/>
              <a:gd name="connsiteX26" fmla="*/ 11857055 w 11867103"/>
              <a:gd name="connsiteY26" fmla="*/ 2805340 h 2936314"/>
              <a:gd name="connsiteX27" fmla="*/ 11836958 w 11867103"/>
              <a:gd name="connsiteY27" fmla="*/ 2835485 h 2936314"/>
              <a:gd name="connsiteX28" fmla="*/ 11033090 w 11867103"/>
              <a:gd name="connsiteY28" fmla="*/ 2825437 h 2936314"/>
              <a:gd name="connsiteX29" fmla="*/ 10621108 w 11867103"/>
              <a:gd name="connsiteY29" fmla="*/ 2815389 h 2936314"/>
              <a:gd name="connsiteX30" fmla="*/ 10128739 w 11867103"/>
              <a:gd name="connsiteY30" fmla="*/ 2825437 h 2936314"/>
              <a:gd name="connsiteX31" fmla="*/ 10048352 w 11867103"/>
              <a:gd name="connsiteY31" fmla="*/ 2835485 h 2936314"/>
              <a:gd name="connsiteX32" fmla="*/ 9555982 w 11867103"/>
              <a:gd name="connsiteY32" fmla="*/ 2825437 h 2936314"/>
              <a:gd name="connsiteX33" fmla="*/ 9445451 w 11867103"/>
              <a:gd name="connsiteY33" fmla="*/ 2815389 h 2936314"/>
              <a:gd name="connsiteX34" fmla="*/ 9415306 w 11867103"/>
              <a:gd name="connsiteY34" fmla="*/ 2795292 h 2936314"/>
              <a:gd name="connsiteX35" fmla="*/ 9204290 w 11867103"/>
              <a:gd name="connsiteY35" fmla="*/ 2775195 h 2936314"/>
              <a:gd name="connsiteX36" fmla="*/ 9073662 w 11867103"/>
              <a:gd name="connsiteY36" fmla="*/ 2755098 h 2936314"/>
              <a:gd name="connsiteX37" fmla="*/ 8812404 w 11867103"/>
              <a:gd name="connsiteY37" fmla="*/ 2745050 h 2936314"/>
              <a:gd name="connsiteX38" fmla="*/ 8400422 w 11867103"/>
              <a:gd name="connsiteY38" fmla="*/ 2735002 h 2936314"/>
              <a:gd name="connsiteX39" fmla="*/ 8269793 w 11867103"/>
              <a:gd name="connsiteY39" fmla="*/ 2724953 h 2936314"/>
              <a:gd name="connsiteX40" fmla="*/ 7797521 w 11867103"/>
              <a:gd name="connsiteY40" fmla="*/ 2745050 h 2936314"/>
              <a:gd name="connsiteX41" fmla="*/ 7717134 w 11867103"/>
              <a:gd name="connsiteY41" fmla="*/ 2755098 h 2936314"/>
              <a:gd name="connsiteX42" fmla="*/ 7486022 w 11867103"/>
              <a:gd name="connsiteY42" fmla="*/ 2785244 h 2936314"/>
              <a:gd name="connsiteX43" fmla="*/ 7395587 w 11867103"/>
              <a:gd name="connsiteY43" fmla="*/ 2805340 h 2936314"/>
              <a:gd name="connsiteX44" fmla="*/ 7325248 w 11867103"/>
              <a:gd name="connsiteY44" fmla="*/ 2815389 h 2936314"/>
              <a:gd name="connsiteX45" fmla="*/ 6863024 w 11867103"/>
              <a:gd name="connsiteY45" fmla="*/ 2805340 h 2936314"/>
              <a:gd name="connsiteX46" fmla="*/ 6722347 w 11867103"/>
              <a:gd name="connsiteY46" fmla="*/ 2795292 h 2936314"/>
              <a:gd name="connsiteX47" fmla="*/ 4903596 w 11867103"/>
              <a:gd name="connsiteY47" fmla="*/ 2845534 h 2936314"/>
              <a:gd name="connsiteX48" fmla="*/ 4722725 w 11867103"/>
              <a:gd name="connsiteY48" fmla="*/ 2885727 h 2936314"/>
              <a:gd name="connsiteX49" fmla="*/ 4300695 w 11867103"/>
              <a:gd name="connsiteY49" fmla="*/ 2865630 h 2936314"/>
              <a:gd name="connsiteX50" fmla="*/ 4059534 w 11867103"/>
              <a:gd name="connsiteY50" fmla="*/ 2825437 h 2936314"/>
              <a:gd name="connsiteX51" fmla="*/ 3768132 w 11867103"/>
              <a:gd name="connsiteY51" fmla="*/ 2795292 h 2936314"/>
              <a:gd name="connsiteX52" fmla="*/ 3627455 w 11867103"/>
              <a:gd name="connsiteY52" fmla="*/ 2785244 h 2936314"/>
              <a:gd name="connsiteX53" fmla="*/ 3125037 w 11867103"/>
              <a:gd name="connsiteY53" fmla="*/ 2795292 h 2936314"/>
              <a:gd name="connsiteX54" fmla="*/ 3064747 w 11867103"/>
              <a:gd name="connsiteY54" fmla="*/ 2805340 h 2936314"/>
              <a:gd name="connsiteX55" fmla="*/ 2009670 w 11867103"/>
              <a:gd name="connsiteY55" fmla="*/ 2815389 h 2936314"/>
              <a:gd name="connsiteX56" fmla="*/ 1678075 w 11867103"/>
              <a:gd name="connsiteY56" fmla="*/ 2905824 h 2936314"/>
              <a:gd name="connsiteX57" fmla="*/ 1607736 w 11867103"/>
              <a:gd name="connsiteY57" fmla="*/ 2935969 h 2936314"/>
              <a:gd name="connsiteX58" fmla="*/ 1135464 w 11867103"/>
              <a:gd name="connsiteY58" fmla="*/ 2915872 h 2936314"/>
              <a:gd name="connsiteX59" fmla="*/ 944545 w 11867103"/>
              <a:gd name="connsiteY59" fmla="*/ 2885727 h 2936314"/>
              <a:gd name="connsiteX60" fmla="*/ 723481 w 11867103"/>
              <a:gd name="connsiteY60" fmla="*/ 2845534 h 2936314"/>
              <a:gd name="connsiteX61" fmla="*/ 643095 w 11867103"/>
              <a:gd name="connsiteY61" fmla="*/ 2835485 h 2936314"/>
              <a:gd name="connsiteX62" fmla="*/ 371789 w 11867103"/>
              <a:gd name="connsiteY62" fmla="*/ 2795292 h 2936314"/>
              <a:gd name="connsiteX63" fmla="*/ 0 w 11867103"/>
              <a:gd name="connsiteY63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26910 w 11867103"/>
              <a:gd name="connsiteY19" fmla="*/ 705235 h 2936314"/>
              <a:gd name="connsiteX20" fmla="*/ 11816862 w 11867103"/>
              <a:gd name="connsiteY20" fmla="*/ 2302923 h 2936314"/>
              <a:gd name="connsiteX21" fmla="*/ 11826910 w 11867103"/>
              <a:gd name="connsiteY21" fmla="*/ 2373261 h 2936314"/>
              <a:gd name="connsiteX22" fmla="*/ 11836958 w 11867103"/>
              <a:gd name="connsiteY22" fmla="*/ 2403406 h 2936314"/>
              <a:gd name="connsiteX23" fmla="*/ 11857055 w 11867103"/>
              <a:gd name="connsiteY23" fmla="*/ 2534035 h 2936314"/>
              <a:gd name="connsiteX24" fmla="*/ 11867103 w 11867103"/>
              <a:gd name="connsiteY24" fmla="*/ 2574228 h 2936314"/>
              <a:gd name="connsiteX25" fmla="*/ 11857055 w 11867103"/>
              <a:gd name="connsiteY25" fmla="*/ 2805340 h 2936314"/>
              <a:gd name="connsiteX26" fmla="*/ 11836958 w 11867103"/>
              <a:gd name="connsiteY26" fmla="*/ 2835485 h 2936314"/>
              <a:gd name="connsiteX27" fmla="*/ 11033090 w 11867103"/>
              <a:gd name="connsiteY27" fmla="*/ 2825437 h 2936314"/>
              <a:gd name="connsiteX28" fmla="*/ 10621108 w 11867103"/>
              <a:gd name="connsiteY28" fmla="*/ 2815389 h 2936314"/>
              <a:gd name="connsiteX29" fmla="*/ 10128739 w 11867103"/>
              <a:gd name="connsiteY29" fmla="*/ 2825437 h 2936314"/>
              <a:gd name="connsiteX30" fmla="*/ 10048352 w 11867103"/>
              <a:gd name="connsiteY30" fmla="*/ 2835485 h 2936314"/>
              <a:gd name="connsiteX31" fmla="*/ 9555982 w 11867103"/>
              <a:gd name="connsiteY31" fmla="*/ 2825437 h 2936314"/>
              <a:gd name="connsiteX32" fmla="*/ 9445451 w 11867103"/>
              <a:gd name="connsiteY32" fmla="*/ 2815389 h 2936314"/>
              <a:gd name="connsiteX33" fmla="*/ 9415306 w 11867103"/>
              <a:gd name="connsiteY33" fmla="*/ 2795292 h 2936314"/>
              <a:gd name="connsiteX34" fmla="*/ 9204290 w 11867103"/>
              <a:gd name="connsiteY34" fmla="*/ 2775195 h 2936314"/>
              <a:gd name="connsiteX35" fmla="*/ 9073662 w 11867103"/>
              <a:gd name="connsiteY35" fmla="*/ 2755098 h 2936314"/>
              <a:gd name="connsiteX36" fmla="*/ 8812404 w 11867103"/>
              <a:gd name="connsiteY36" fmla="*/ 2745050 h 2936314"/>
              <a:gd name="connsiteX37" fmla="*/ 8400422 w 11867103"/>
              <a:gd name="connsiteY37" fmla="*/ 2735002 h 2936314"/>
              <a:gd name="connsiteX38" fmla="*/ 8269793 w 11867103"/>
              <a:gd name="connsiteY38" fmla="*/ 2724953 h 2936314"/>
              <a:gd name="connsiteX39" fmla="*/ 7797521 w 11867103"/>
              <a:gd name="connsiteY39" fmla="*/ 2745050 h 2936314"/>
              <a:gd name="connsiteX40" fmla="*/ 7717134 w 11867103"/>
              <a:gd name="connsiteY40" fmla="*/ 2755098 h 2936314"/>
              <a:gd name="connsiteX41" fmla="*/ 7486022 w 11867103"/>
              <a:gd name="connsiteY41" fmla="*/ 2785244 h 2936314"/>
              <a:gd name="connsiteX42" fmla="*/ 7395587 w 11867103"/>
              <a:gd name="connsiteY42" fmla="*/ 2805340 h 2936314"/>
              <a:gd name="connsiteX43" fmla="*/ 7325248 w 11867103"/>
              <a:gd name="connsiteY43" fmla="*/ 2815389 h 2936314"/>
              <a:gd name="connsiteX44" fmla="*/ 6863024 w 11867103"/>
              <a:gd name="connsiteY44" fmla="*/ 2805340 h 2936314"/>
              <a:gd name="connsiteX45" fmla="*/ 6722347 w 11867103"/>
              <a:gd name="connsiteY45" fmla="*/ 2795292 h 2936314"/>
              <a:gd name="connsiteX46" fmla="*/ 4903596 w 11867103"/>
              <a:gd name="connsiteY46" fmla="*/ 2845534 h 2936314"/>
              <a:gd name="connsiteX47" fmla="*/ 4722725 w 11867103"/>
              <a:gd name="connsiteY47" fmla="*/ 2885727 h 2936314"/>
              <a:gd name="connsiteX48" fmla="*/ 4300695 w 11867103"/>
              <a:gd name="connsiteY48" fmla="*/ 2865630 h 2936314"/>
              <a:gd name="connsiteX49" fmla="*/ 4059534 w 11867103"/>
              <a:gd name="connsiteY49" fmla="*/ 2825437 h 2936314"/>
              <a:gd name="connsiteX50" fmla="*/ 3768132 w 11867103"/>
              <a:gd name="connsiteY50" fmla="*/ 2795292 h 2936314"/>
              <a:gd name="connsiteX51" fmla="*/ 3627455 w 11867103"/>
              <a:gd name="connsiteY51" fmla="*/ 2785244 h 2936314"/>
              <a:gd name="connsiteX52" fmla="*/ 3125037 w 11867103"/>
              <a:gd name="connsiteY52" fmla="*/ 2795292 h 2936314"/>
              <a:gd name="connsiteX53" fmla="*/ 3064747 w 11867103"/>
              <a:gd name="connsiteY53" fmla="*/ 2805340 h 2936314"/>
              <a:gd name="connsiteX54" fmla="*/ 2009670 w 11867103"/>
              <a:gd name="connsiteY54" fmla="*/ 2815389 h 2936314"/>
              <a:gd name="connsiteX55" fmla="*/ 1678075 w 11867103"/>
              <a:gd name="connsiteY55" fmla="*/ 2905824 h 2936314"/>
              <a:gd name="connsiteX56" fmla="*/ 1607736 w 11867103"/>
              <a:gd name="connsiteY56" fmla="*/ 2935969 h 2936314"/>
              <a:gd name="connsiteX57" fmla="*/ 1135464 w 11867103"/>
              <a:gd name="connsiteY57" fmla="*/ 2915872 h 2936314"/>
              <a:gd name="connsiteX58" fmla="*/ 944545 w 11867103"/>
              <a:gd name="connsiteY58" fmla="*/ 2885727 h 2936314"/>
              <a:gd name="connsiteX59" fmla="*/ 723481 w 11867103"/>
              <a:gd name="connsiteY59" fmla="*/ 2845534 h 2936314"/>
              <a:gd name="connsiteX60" fmla="*/ 643095 w 11867103"/>
              <a:gd name="connsiteY60" fmla="*/ 2835485 h 2936314"/>
              <a:gd name="connsiteX61" fmla="*/ 371789 w 11867103"/>
              <a:gd name="connsiteY61" fmla="*/ 2795292 h 2936314"/>
              <a:gd name="connsiteX62" fmla="*/ 0 w 11867103"/>
              <a:gd name="connsiteY62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16862 w 11867103"/>
              <a:gd name="connsiteY19" fmla="*/ 2302923 h 2936314"/>
              <a:gd name="connsiteX20" fmla="*/ 11826910 w 11867103"/>
              <a:gd name="connsiteY20" fmla="*/ 2373261 h 2936314"/>
              <a:gd name="connsiteX21" fmla="*/ 11836958 w 11867103"/>
              <a:gd name="connsiteY21" fmla="*/ 2403406 h 2936314"/>
              <a:gd name="connsiteX22" fmla="*/ 11857055 w 11867103"/>
              <a:gd name="connsiteY22" fmla="*/ 2534035 h 2936314"/>
              <a:gd name="connsiteX23" fmla="*/ 11867103 w 11867103"/>
              <a:gd name="connsiteY23" fmla="*/ 2574228 h 2936314"/>
              <a:gd name="connsiteX24" fmla="*/ 11857055 w 11867103"/>
              <a:gd name="connsiteY24" fmla="*/ 2805340 h 2936314"/>
              <a:gd name="connsiteX25" fmla="*/ 11836958 w 11867103"/>
              <a:gd name="connsiteY25" fmla="*/ 2835485 h 2936314"/>
              <a:gd name="connsiteX26" fmla="*/ 11033090 w 11867103"/>
              <a:gd name="connsiteY26" fmla="*/ 2825437 h 2936314"/>
              <a:gd name="connsiteX27" fmla="*/ 10621108 w 11867103"/>
              <a:gd name="connsiteY27" fmla="*/ 2815389 h 2936314"/>
              <a:gd name="connsiteX28" fmla="*/ 10128739 w 11867103"/>
              <a:gd name="connsiteY28" fmla="*/ 2825437 h 2936314"/>
              <a:gd name="connsiteX29" fmla="*/ 10048352 w 11867103"/>
              <a:gd name="connsiteY29" fmla="*/ 2835485 h 2936314"/>
              <a:gd name="connsiteX30" fmla="*/ 9555982 w 11867103"/>
              <a:gd name="connsiteY30" fmla="*/ 2825437 h 2936314"/>
              <a:gd name="connsiteX31" fmla="*/ 9445451 w 11867103"/>
              <a:gd name="connsiteY31" fmla="*/ 2815389 h 2936314"/>
              <a:gd name="connsiteX32" fmla="*/ 9415306 w 11867103"/>
              <a:gd name="connsiteY32" fmla="*/ 2795292 h 2936314"/>
              <a:gd name="connsiteX33" fmla="*/ 9204290 w 11867103"/>
              <a:gd name="connsiteY33" fmla="*/ 2775195 h 2936314"/>
              <a:gd name="connsiteX34" fmla="*/ 9073662 w 11867103"/>
              <a:gd name="connsiteY34" fmla="*/ 2755098 h 2936314"/>
              <a:gd name="connsiteX35" fmla="*/ 8812404 w 11867103"/>
              <a:gd name="connsiteY35" fmla="*/ 2745050 h 2936314"/>
              <a:gd name="connsiteX36" fmla="*/ 8400422 w 11867103"/>
              <a:gd name="connsiteY36" fmla="*/ 2735002 h 2936314"/>
              <a:gd name="connsiteX37" fmla="*/ 8269793 w 11867103"/>
              <a:gd name="connsiteY37" fmla="*/ 2724953 h 2936314"/>
              <a:gd name="connsiteX38" fmla="*/ 7797521 w 11867103"/>
              <a:gd name="connsiteY38" fmla="*/ 2745050 h 2936314"/>
              <a:gd name="connsiteX39" fmla="*/ 7717134 w 11867103"/>
              <a:gd name="connsiteY39" fmla="*/ 2755098 h 2936314"/>
              <a:gd name="connsiteX40" fmla="*/ 7486022 w 11867103"/>
              <a:gd name="connsiteY40" fmla="*/ 2785244 h 2936314"/>
              <a:gd name="connsiteX41" fmla="*/ 7395587 w 11867103"/>
              <a:gd name="connsiteY41" fmla="*/ 2805340 h 2936314"/>
              <a:gd name="connsiteX42" fmla="*/ 7325248 w 11867103"/>
              <a:gd name="connsiteY42" fmla="*/ 2815389 h 2936314"/>
              <a:gd name="connsiteX43" fmla="*/ 6863024 w 11867103"/>
              <a:gd name="connsiteY43" fmla="*/ 2805340 h 2936314"/>
              <a:gd name="connsiteX44" fmla="*/ 6722347 w 11867103"/>
              <a:gd name="connsiteY44" fmla="*/ 2795292 h 2936314"/>
              <a:gd name="connsiteX45" fmla="*/ 4903596 w 11867103"/>
              <a:gd name="connsiteY45" fmla="*/ 2845534 h 2936314"/>
              <a:gd name="connsiteX46" fmla="*/ 4722725 w 11867103"/>
              <a:gd name="connsiteY46" fmla="*/ 2885727 h 2936314"/>
              <a:gd name="connsiteX47" fmla="*/ 4300695 w 11867103"/>
              <a:gd name="connsiteY47" fmla="*/ 2865630 h 2936314"/>
              <a:gd name="connsiteX48" fmla="*/ 4059534 w 11867103"/>
              <a:gd name="connsiteY48" fmla="*/ 2825437 h 2936314"/>
              <a:gd name="connsiteX49" fmla="*/ 3768132 w 11867103"/>
              <a:gd name="connsiteY49" fmla="*/ 2795292 h 2936314"/>
              <a:gd name="connsiteX50" fmla="*/ 3627455 w 11867103"/>
              <a:gd name="connsiteY50" fmla="*/ 2785244 h 2936314"/>
              <a:gd name="connsiteX51" fmla="*/ 3125037 w 11867103"/>
              <a:gd name="connsiteY51" fmla="*/ 2795292 h 2936314"/>
              <a:gd name="connsiteX52" fmla="*/ 3064747 w 11867103"/>
              <a:gd name="connsiteY52" fmla="*/ 2805340 h 2936314"/>
              <a:gd name="connsiteX53" fmla="*/ 2009670 w 11867103"/>
              <a:gd name="connsiteY53" fmla="*/ 2815389 h 2936314"/>
              <a:gd name="connsiteX54" fmla="*/ 1678075 w 11867103"/>
              <a:gd name="connsiteY54" fmla="*/ 2905824 h 2936314"/>
              <a:gd name="connsiteX55" fmla="*/ 1607736 w 11867103"/>
              <a:gd name="connsiteY55" fmla="*/ 2935969 h 2936314"/>
              <a:gd name="connsiteX56" fmla="*/ 1135464 w 11867103"/>
              <a:gd name="connsiteY56" fmla="*/ 2915872 h 2936314"/>
              <a:gd name="connsiteX57" fmla="*/ 944545 w 11867103"/>
              <a:gd name="connsiteY57" fmla="*/ 2885727 h 2936314"/>
              <a:gd name="connsiteX58" fmla="*/ 723481 w 11867103"/>
              <a:gd name="connsiteY58" fmla="*/ 2845534 h 2936314"/>
              <a:gd name="connsiteX59" fmla="*/ 643095 w 11867103"/>
              <a:gd name="connsiteY59" fmla="*/ 2835485 h 2936314"/>
              <a:gd name="connsiteX60" fmla="*/ 371789 w 11867103"/>
              <a:gd name="connsiteY60" fmla="*/ 2795292 h 2936314"/>
              <a:gd name="connsiteX61" fmla="*/ 0 w 11867103"/>
              <a:gd name="connsiteY61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16862 w 11867103"/>
              <a:gd name="connsiteY18" fmla="*/ 2302923 h 2936314"/>
              <a:gd name="connsiteX19" fmla="*/ 11826910 w 11867103"/>
              <a:gd name="connsiteY19" fmla="*/ 2373261 h 2936314"/>
              <a:gd name="connsiteX20" fmla="*/ 11836958 w 11867103"/>
              <a:gd name="connsiteY20" fmla="*/ 2403406 h 2936314"/>
              <a:gd name="connsiteX21" fmla="*/ 11857055 w 11867103"/>
              <a:gd name="connsiteY21" fmla="*/ 2534035 h 2936314"/>
              <a:gd name="connsiteX22" fmla="*/ 11867103 w 11867103"/>
              <a:gd name="connsiteY22" fmla="*/ 2574228 h 2936314"/>
              <a:gd name="connsiteX23" fmla="*/ 11857055 w 11867103"/>
              <a:gd name="connsiteY23" fmla="*/ 2805340 h 2936314"/>
              <a:gd name="connsiteX24" fmla="*/ 11836958 w 11867103"/>
              <a:gd name="connsiteY24" fmla="*/ 2835485 h 2936314"/>
              <a:gd name="connsiteX25" fmla="*/ 11033090 w 11867103"/>
              <a:gd name="connsiteY25" fmla="*/ 2825437 h 2936314"/>
              <a:gd name="connsiteX26" fmla="*/ 10621108 w 11867103"/>
              <a:gd name="connsiteY26" fmla="*/ 2815389 h 2936314"/>
              <a:gd name="connsiteX27" fmla="*/ 10128739 w 11867103"/>
              <a:gd name="connsiteY27" fmla="*/ 2825437 h 2936314"/>
              <a:gd name="connsiteX28" fmla="*/ 10048352 w 11867103"/>
              <a:gd name="connsiteY28" fmla="*/ 2835485 h 2936314"/>
              <a:gd name="connsiteX29" fmla="*/ 9555982 w 11867103"/>
              <a:gd name="connsiteY29" fmla="*/ 2825437 h 2936314"/>
              <a:gd name="connsiteX30" fmla="*/ 9445451 w 11867103"/>
              <a:gd name="connsiteY30" fmla="*/ 2815389 h 2936314"/>
              <a:gd name="connsiteX31" fmla="*/ 9415306 w 11867103"/>
              <a:gd name="connsiteY31" fmla="*/ 2795292 h 2936314"/>
              <a:gd name="connsiteX32" fmla="*/ 9204290 w 11867103"/>
              <a:gd name="connsiteY32" fmla="*/ 2775195 h 2936314"/>
              <a:gd name="connsiteX33" fmla="*/ 9073662 w 11867103"/>
              <a:gd name="connsiteY33" fmla="*/ 2755098 h 2936314"/>
              <a:gd name="connsiteX34" fmla="*/ 8812404 w 11867103"/>
              <a:gd name="connsiteY34" fmla="*/ 2745050 h 2936314"/>
              <a:gd name="connsiteX35" fmla="*/ 8400422 w 11867103"/>
              <a:gd name="connsiteY35" fmla="*/ 2735002 h 2936314"/>
              <a:gd name="connsiteX36" fmla="*/ 8269793 w 11867103"/>
              <a:gd name="connsiteY36" fmla="*/ 2724953 h 2936314"/>
              <a:gd name="connsiteX37" fmla="*/ 7797521 w 11867103"/>
              <a:gd name="connsiteY37" fmla="*/ 2745050 h 2936314"/>
              <a:gd name="connsiteX38" fmla="*/ 7717134 w 11867103"/>
              <a:gd name="connsiteY38" fmla="*/ 2755098 h 2936314"/>
              <a:gd name="connsiteX39" fmla="*/ 7486022 w 11867103"/>
              <a:gd name="connsiteY39" fmla="*/ 2785244 h 2936314"/>
              <a:gd name="connsiteX40" fmla="*/ 7395587 w 11867103"/>
              <a:gd name="connsiteY40" fmla="*/ 2805340 h 2936314"/>
              <a:gd name="connsiteX41" fmla="*/ 7325248 w 11867103"/>
              <a:gd name="connsiteY41" fmla="*/ 2815389 h 2936314"/>
              <a:gd name="connsiteX42" fmla="*/ 6863024 w 11867103"/>
              <a:gd name="connsiteY42" fmla="*/ 2805340 h 2936314"/>
              <a:gd name="connsiteX43" fmla="*/ 6722347 w 11867103"/>
              <a:gd name="connsiteY43" fmla="*/ 2795292 h 2936314"/>
              <a:gd name="connsiteX44" fmla="*/ 4903596 w 11867103"/>
              <a:gd name="connsiteY44" fmla="*/ 2845534 h 2936314"/>
              <a:gd name="connsiteX45" fmla="*/ 4722725 w 11867103"/>
              <a:gd name="connsiteY45" fmla="*/ 2885727 h 2936314"/>
              <a:gd name="connsiteX46" fmla="*/ 4300695 w 11867103"/>
              <a:gd name="connsiteY46" fmla="*/ 2865630 h 2936314"/>
              <a:gd name="connsiteX47" fmla="*/ 4059534 w 11867103"/>
              <a:gd name="connsiteY47" fmla="*/ 2825437 h 2936314"/>
              <a:gd name="connsiteX48" fmla="*/ 3768132 w 11867103"/>
              <a:gd name="connsiteY48" fmla="*/ 2795292 h 2936314"/>
              <a:gd name="connsiteX49" fmla="*/ 3627455 w 11867103"/>
              <a:gd name="connsiteY49" fmla="*/ 2785244 h 2936314"/>
              <a:gd name="connsiteX50" fmla="*/ 3125037 w 11867103"/>
              <a:gd name="connsiteY50" fmla="*/ 2795292 h 2936314"/>
              <a:gd name="connsiteX51" fmla="*/ 3064747 w 11867103"/>
              <a:gd name="connsiteY51" fmla="*/ 2805340 h 2936314"/>
              <a:gd name="connsiteX52" fmla="*/ 2009670 w 11867103"/>
              <a:gd name="connsiteY52" fmla="*/ 2815389 h 2936314"/>
              <a:gd name="connsiteX53" fmla="*/ 1678075 w 11867103"/>
              <a:gd name="connsiteY53" fmla="*/ 2905824 h 2936314"/>
              <a:gd name="connsiteX54" fmla="*/ 1607736 w 11867103"/>
              <a:gd name="connsiteY54" fmla="*/ 2935969 h 2936314"/>
              <a:gd name="connsiteX55" fmla="*/ 1135464 w 11867103"/>
              <a:gd name="connsiteY55" fmla="*/ 2915872 h 2936314"/>
              <a:gd name="connsiteX56" fmla="*/ 944545 w 11867103"/>
              <a:gd name="connsiteY56" fmla="*/ 2885727 h 2936314"/>
              <a:gd name="connsiteX57" fmla="*/ 723481 w 11867103"/>
              <a:gd name="connsiteY57" fmla="*/ 2845534 h 2936314"/>
              <a:gd name="connsiteX58" fmla="*/ 643095 w 11867103"/>
              <a:gd name="connsiteY58" fmla="*/ 2835485 h 2936314"/>
              <a:gd name="connsiteX59" fmla="*/ 371789 w 11867103"/>
              <a:gd name="connsiteY59" fmla="*/ 2795292 h 2936314"/>
              <a:gd name="connsiteX60" fmla="*/ 0 w 11867103"/>
              <a:gd name="connsiteY60" fmla="*/ 2785244 h 2936314"/>
              <a:gd name="connsiteX0" fmla="*/ 120580 w 11867103"/>
              <a:gd name="connsiteY0" fmla="*/ 146825 h 3061192"/>
              <a:gd name="connsiteX1" fmla="*/ 281354 w 11867103"/>
              <a:gd name="connsiteY1" fmla="*/ 136776 h 3061192"/>
              <a:gd name="connsiteX2" fmla="*/ 673240 w 11867103"/>
              <a:gd name="connsiteY2" fmla="*/ 126728 h 3061192"/>
              <a:gd name="connsiteX3" fmla="*/ 1356528 w 11867103"/>
              <a:gd name="connsiteY3" fmla="*/ 176970 h 3061192"/>
              <a:gd name="connsiteX4" fmla="*/ 1758462 w 11867103"/>
              <a:gd name="connsiteY4" fmla="*/ 136776 h 3061192"/>
              <a:gd name="connsiteX5" fmla="*/ 2140299 w 11867103"/>
              <a:gd name="connsiteY5" fmla="*/ 136776 h 3061192"/>
              <a:gd name="connsiteX6" fmla="*/ 4652387 w 11867103"/>
              <a:gd name="connsiteY6" fmla="*/ 156873 h 3061192"/>
              <a:gd name="connsiteX7" fmla="*/ 4692580 w 11867103"/>
              <a:gd name="connsiteY7" fmla="*/ 166922 h 3061192"/>
              <a:gd name="connsiteX8" fmla="*/ 6420897 w 11867103"/>
              <a:gd name="connsiteY8" fmla="*/ 187018 h 3061192"/>
              <a:gd name="connsiteX9" fmla="*/ 7184571 w 11867103"/>
              <a:gd name="connsiteY9" fmla="*/ 156873 h 3061192"/>
              <a:gd name="connsiteX10" fmla="*/ 7928150 w 11867103"/>
              <a:gd name="connsiteY10" fmla="*/ 156873 h 3061192"/>
              <a:gd name="connsiteX11" fmla="*/ 8219552 w 11867103"/>
              <a:gd name="connsiteY11" fmla="*/ 187018 h 3061192"/>
              <a:gd name="connsiteX12" fmla="*/ 9606224 w 11867103"/>
              <a:gd name="connsiteY12" fmla="*/ 187018 h 3061192"/>
              <a:gd name="connsiteX13" fmla="*/ 9947868 w 11867103"/>
              <a:gd name="connsiteY13" fmla="*/ 156873 h 3061192"/>
              <a:gd name="connsiteX14" fmla="*/ 10791930 w 11867103"/>
              <a:gd name="connsiteY14" fmla="*/ 126728 h 3061192"/>
              <a:gd name="connsiteX15" fmla="*/ 11736475 w 11867103"/>
              <a:gd name="connsiteY15" fmla="*/ 146825 h 3061192"/>
              <a:gd name="connsiteX16" fmla="*/ 11766620 w 11867103"/>
              <a:gd name="connsiteY16" fmla="*/ 176970 h 3061192"/>
              <a:gd name="connsiteX17" fmla="*/ 11816862 w 11867103"/>
              <a:gd name="connsiteY17" fmla="*/ 2427801 h 3061192"/>
              <a:gd name="connsiteX18" fmla="*/ 11826910 w 11867103"/>
              <a:gd name="connsiteY18" fmla="*/ 2498139 h 3061192"/>
              <a:gd name="connsiteX19" fmla="*/ 11836958 w 11867103"/>
              <a:gd name="connsiteY19" fmla="*/ 2528284 h 3061192"/>
              <a:gd name="connsiteX20" fmla="*/ 11857055 w 11867103"/>
              <a:gd name="connsiteY20" fmla="*/ 2658913 h 3061192"/>
              <a:gd name="connsiteX21" fmla="*/ 11867103 w 11867103"/>
              <a:gd name="connsiteY21" fmla="*/ 2699106 h 3061192"/>
              <a:gd name="connsiteX22" fmla="*/ 11857055 w 11867103"/>
              <a:gd name="connsiteY22" fmla="*/ 2930218 h 3061192"/>
              <a:gd name="connsiteX23" fmla="*/ 11836958 w 11867103"/>
              <a:gd name="connsiteY23" fmla="*/ 2960363 h 3061192"/>
              <a:gd name="connsiteX24" fmla="*/ 11033090 w 11867103"/>
              <a:gd name="connsiteY24" fmla="*/ 2950315 h 3061192"/>
              <a:gd name="connsiteX25" fmla="*/ 10621108 w 11867103"/>
              <a:gd name="connsiteY25" fmla="*/ 2940267 h 3061192"/>
              <a:gd name="connsiteX26" fmla="*/ 10128739 w 11867103"/>
              <a:gd name="connsiteY26" fmla="*/ 2950315 h 3061192"/>
              <a:gd name="connsiteX27" fmla="*/ 10048352 w 11867103"/>
              <a:gd name="connsiteY27" fmla="*/ 2960363 h 3061192"/>
              <a:gd name="connsiteX28" fmla="*/ 9555982 w 11867103"/>
              <a:gd name="connsiteY28" fmla="*/ 2950315 h 3061192"/>
              <a:gd name="connsiteX29" fmla="*/ 9445451 w 11867103"/>
              <a:gd name="connsiteY29" fmla="*/ 2940267 h 3061192"/>
              <a:gd name="connsiteX30" fmla="*/ 9415306 w 11867103"/>
              <a:gd name="connsiteY30" fmla="*/ 2920170 h 3061192"/>
              <a:gd name="connsiteX31" fmla="*/ 9204290 w 11867103"/>
              <a:gd name="connsiteY31" fmla="*/ 2900073 h 3061192"/>
              <a:gd name="connsiteX32" fmla="*/ 9073662 w 11867103"/>
              <a:gd name="connsiteY32" fmla="*/ 2879976 h 3061192"/>
              <a:gd name="connsiteX33" fmla="*/ 8812404 w 11867103"/>
              <a:gd name="connsiteY33" fmla="*/ 2869928 h 3061192"/>
              <a:gd name="connsiteX34" fmla="*/ 8400422 w 11867103"/>
              <a:gd name="connsiteY34" fmla="*/ 2859880 h 3061192"/>
              <a:gd name="connsiteX35" fmla="*/ 8269793 w 11867103"/>
              <a:gd name="connsiteY35" fmla="*/ 2849831 h 3061192"/>
              <a:gd name="connsiteX36" fmla="*/ 7797521 w 11867103"/>
              <a:gd name="connsiteY36" fmla="*/ 2869928 h 3061192"/>
              <a:gd name="connsiteX37" fmla="*/ 7717134 w 11867103"/>
              <a:gd name="connsiteY37" fmla="*/ 2879976 h 3061192"/>
              <a:gd name="connsiteX38" fmla="*/ 7486022 w 11867103"/>
              <a:gd name="connsiteY38" fmla="*/ 2910122 h 3061192"/>
              <a:gd name="connsiteX39" fmla="*/ 7395587 w 11867103"/>
              <a:gd name="connsiteY39" fmla="*/ 2930218 h 3061192"/>
              <a:gd name="connsiteX40" fmla="*/ 7325248 w 11867103"/>
              <a:gd name="connsiteY40" fmla="*/ 2940267 h 3061192"/>
              <a:gd name="connsiteX41" fmla="*/ 6863024 w 11867103"/>
              <a:gd name="connsiteY41" fmla="*/ 2930218 h 3061192"/>
              <a:gd name="connsiteX42" fmla="*/ 6722347 w 11867103"/>
              <a:gd name="connsiteY42" fmla="*/ 2920170 h 3061192"/>
              <a:gd name="connsiteX43" fmla="*/ 4903596 w 11867103"/>
              <a:gd name="connsiteY43" fmla="*/ 2970412 h 3061192"/>
              <a:gd name="connsiteX44" fmla="*/ 4722725 w 11867103"/>
              <a:gd name="connsiteY44" fmla="*/ 3010605 h 3061192"/>
              <a:gd name="connsiteX45" fmla="*/ 4300695 w 11867103"/>
              <a:gd name="connsiteY45" fmla="*/ 2990508 h 3061192"/>
              <a:gd name="connsiteX46" fmla="*/ 4059534 w 11867103"/>
              <a:gd name="connsiteY46" fmla="*/ 2950315 h 3061192"/>
              <a:gd name="connsiteX47" fmla="*/ 3768132 w 11867103"/>
              <a:gd name="connsiteY47" fmla="*/ 2920170 h 3061192"/>
              <a:gd name="connsiteX48" fmla="*/ 3627455 w 11867103"/>
              <a:gd name="connsiteY48" fmla="*/ 2910122 h 3061192"/>
              <a:gd name="connsiteX49" fmla="*/ 3125037 w 11867103"/>
              <a:gd name="connsiteY49" fmla="*/ 2920170 h 3061192"/>
              <a:gd name="connsiteX50" fmla="*/ 3064747 w 11867103"/>
              <a:gd name="connsiteY50" fmla="*/ 2930218 h 3061192"/>
              <a:gd name="connsiteX51" fmla="*/ 2009670 w 11867103"/>
              <a:gd name="connsiteY51" fmla="*/ 2940267 h 3061192"/>
              <a:gd name="connsiteX52" fmla="*/ 1678075 w 11867103"/>
              <a:gd name="connsiteY52" fmla="*/ 3030702 h 3061192"/>
              <a:gd name="connsiteX53" fmla="*/ 1607736 w 11867103"/>
              <a:gd name="connsiteY53" fmla="*/ 3060847 h 3061192"/>
              <a:gd name="connsiteX54" fmla="*/ 1135464 w 11867103"/>
              <a:gd name="connsiteY54" fmla="*/ 3040750 h 3061192"/>
              <a:gd name="connsiteX55" fmla="*/ 944545 w 11867103"/>
              <a:gd name="connsiteY55" fmla="*/ 3010605 h 3061192"/>
              <a:gd name="connsiteX56" fmla="*/ 723481 w 11867103"/>
              <a:gd name="connsiteY56" fmla="*/ 2970412 h 3061192"/>
              <a:gd name="connsiteX57" fmla="*/ 643095 w 11867103"/>
              <a:gd name="connsiteY57" fmla="*/ 2960363 h 3061192"/>
              <a:gd name="connsiteX58" fmla="*/ 371789 w 11867103"/>
              <a:gd name="connsiteY58" fmla="*/ 2920170 h 3061192"/>
              <a:gd name="connsiteX59" fmla="*/ 0 w 11867103"/>
              <a:gd name="connsiteY59" fmla="*/ 2910122 h 3061192"/>
              <a:gd name="connsiteX0" fmla="*/ 120580 w 11867103"/>
              <a:gd name="connsiteY0" fmla="*/ 58358 h 2972725"/>
              <a:gd name="connsiteX1" fmla="*/ 281354 w 11867103"/>
              <a:gd name="connsiteY1" fmla="*/ 48309 h 2972725"/>
              <a:gd name="connsiteX2" fmla="*/ 673240 w 11867103"/>
              <a:gd name="connsiteY2" fmla="*/ 38261 h 2972725"/>
              <a:gd name="connsiteX3" fmla="*/ 1356528 w 11867103"/>
              <a:gd name="connsiteY3" fmla="*/ 88503 h 2972725"/>
              <a:gd name="connsiteX4" fmla="*/ 1758462 w 11867103"/>
              <a:gd name="connsiteY4" fmla="*/ 48309 h 2972725"/>
              <a:gd name="connsiteX5" fmla="*/ 2140299 w 11867103"/>
              <a:gd name="connsiteY5" fmla="*/ 48309 h 2972725"/>
              <a:gd name="connsiteX6" fmla="*/ 4652387 w 11867103"/>
              <a:gd name="connsiteY6" fmla="*/ 68406 h 2972725"/>
              <a:gd name="connsiteX7" fmla="*/ 4692580 w 11867103"/>
              <a:gd name="connsiteY7" fmla="*/ 78455 h 2972725"/>
              <a:gd name="connsiteX8" fmla="*/ 6420897 w 11867103"/>
              <a:gd name="connsiteY8" fmla="*/ 98551 h 2972725"/>
              <a:gd name="connsiteX9" fmla="*/ 7184571 w 11867103"/>
              <a:gd name="connsiteY9" fmla="*/ 68406 h 2972725"/>
              <a:gd name="connsiteX10" fmla="*/ 7928150 w 11867103"/>
              <a:gd name="connsiteY10" fmla="*/ 68406 h 2972725"/>
              <a:gd name="connsiteX11" fmla="*/ 8219552 w 11867103"/>
              <a:gd name="connsiteY11" fmla="*/ 98551 h 2972725"/>
              <a:gd name="connsiteX12" fmla="*/ 9606224 w 11867103"/>
              <a:gd name="connsiteY12" fmla="*/ 98551 h 2972725"/>
              <a:gd name="connsiteX13" fmla="*/ 9947868 w 11867103"/>
              <a:gd name="connsiteY13" fmla="*/ 68406 h 2972725"/>
              <a:gd name="connsiteX14" fmla="*/ 10791930 w 11867103"/>
              <a:gd name="connsiteY14" fmla="*/ 38261 h 2972725"/>
              <a:gd name="connsiteX15" fmla="*/ 11736475 w 11867103"/>
              <a:gd name="connsiteY15" fmla="*/ 58358 h 2972725"/>
              <a:gd name="connsiteX16" fmla="*/ 11806813 w 11867103"/>
              <a:gd name="connsiteY16" fmla="*/ 771791 h 2972725"/>
              <a:gd name="connsiteX17" fmla="*/ 11816862 w 11867103"/>
              <a:gd name="connsiteY17" fmla="*/ 2339334 h 2972725"/>
              <a:gd name="connsiteX18" fmla="*/ 11826910 w 11867103"/>
              <a:gd name="connsiteY18" fmla="*/ 2409672 h 2972725"/>
              <a:gd name="connsiteX19" fmla="*/ 11836958 w 11867103"/>
              <a:gd name="connsiteY19" fmla="*/ 2439817 h 2972725"/>
              <a:gd name="connsiteX20" fmla="*/ 11857055 w 11867103"/>
              <a:gd name="connsiteY20" fmla="*/ 2570446 h 2972725"/>
              <a:gd name="connsiteX21" fmla="*/ 11867103 w 11867103"/>
              <a:gd name="connsiteY21" fmla="*/ 2610639 h 2972725"/>
              <a:gd name="connsiteX22" fmla="*/ 11857055 w 11867103"/>
              <a:gd name="connsiteY22" fmla="*/ 2841751 h 2972725"/>
              <a:gd name="connsiteX23" fmla="*/ 11836958 w 11867103"/>
              <a:gd name="connsiteY23" fmla="*/ 2871896 h 2972725"/>
              <a:gd name="connsiteX24" fmla="*/ 11033090 w 11867103"/>
              <a:gd name="connsiteY24" fmla="*/ 2861848 h 2972725"/>
              <a:gd name="connsiteX25" fmla="*/ 10621108 w 11867103"/>
              <a:gd name="connsiteY25" fmla="*/ 2851800 h 2972725"/>
              <a:gd name="connsiteX26" fmla="*/ 10128739 w 11867103"/>
              <a:gd name="connsiteY26" fmla="*/ 2861848 h 2972725"/>
              <a:gd name="connsiteX27" fmla="*/ 10048352 w 11867103"/>
              <a:gd name="connsiteY27" fmla="*/ 2871896 h 2972725"/>
              <a:gd name="connsiteX28" fmla="*/ 9555982 w 11867103"/>
              <a:gd name="connsiteY28" fmla="*/ 2861848 h 2972725"/>
              <a:gd name="connsiteX29" fmla="*/ 9445451 w 11867103"/>
              <a:gd name="connsiteY29" fmla="*/ 2851800 h 2972725"/>
              <a:gd name="connsiteX30" fmla="*/ 9415306 w 11867103"/>
              <a:gd name="connsiteY30" fmla="*/ 2831703 h 2972725"/>
              <a:gd name="connsiteX31" fmla="*/ 9204290 w 11867103"/>
              <a:gd name="connsiteY31" fmla="*/ 2811606 h 2972725"/>
              <a:gd name="connsiteX32" fmla="*/ 9073662 w 11867103"/>
              <a:gd name="connsiteY32" fmla="*/ 2791509 h 2972725"/>
              <a:gd name="connsiteX33" fmla="*/ 8812404 w 11867103"/>
              <a:gd name="connsiteY33" fmla="*/ 2781461 h 2972725"/>
              <a:gd name="connsiteX34" fmla="*/ 8400422 w 11867103"/>
              <a:gd name="connsiteY34" fmla="*/ 2771413 h 2972725"/>
              <a:gd name="connsiteX35" fmla="*/ 8269793 w 11867103"/>
              <a:gd name="connsiteY35" fmla="*/ 2761364 h 2972725"/>
              <a:gd name="connsiteX36" fmla="*/ 7797521 w 11867103"/>
              <a:gd name="connsiteY36" fmla="*/ 2781461 h 2972725"/>
              <a:gd name="connsiteX37" fmla="*/ 7717134 w 11867103"/>
              <a:gd name="connsiteY37" fmla="*/ 2791509 h 2972725"/>
              <a:gd name="connsiteX38" fmla="*/ 7486022 w 11867103"/>
              <a:gd name="connsiteY38" fmla="*/ 2821655 h 2972725"/>
              <a:gd name="connsiteX39" fmla="*/ 7395587 w 11867103"/>
              <a:gd name="connsiteY39" fmla="*/ 2841751 h 2972725"/>
              <a:gd name="connsiteX40" fmla="*/ 7325248 w 11867103"/>
              <a:gd name="connsiteY40" fmla="*/ 2851800 h 2972725"/>
              <a:gd name="connsiteX41" fmla="*/ 6863024 w 11867103"/>
              <a:gd name="connsiteY41" fmla="*/ 2841751 h 2972725"/>
              <a:gd name="connsiteX42" fmla="*/ 6722347 w 11867103"/>
              <a:gd name="connsiteY42" fmla="*/ 2831703 h 2972725"/>
              <a:gd name="connsiteX43" fmla="*/ 4903596 w 11867103"/>
              <a:gd name="connsiteY43" fmla="*/ 2881945 h 2972725"/>
              <a:gd name="connsiteX44" fmla="*/ 4722725 w 11867103"/>
              <a:gd name="connsiteY44" fmla="*/ 2922138 h 2972725"/>
              <a:gd name="connsiteX45" fmla="*/ 4300695 w 11867103"/>
              <a:gd name="connsiteY45" fmla="*/ 2902041 h 2972725"/>
              <a:gd name="connsiteX46" fmla="*/ 4059534 w 11867103"/>
              <a:gd name="connsiteY46" fmla="*/ 2861848 h 2972725"/>
              <a:gd name="connsiteX47" fmla="*/ 3768132 w 11867103"/>
              <a:gd name="connsiteY47" fmla="*/ 2831703 h 2972725"/>
              <a:gd name="connsiteX48" fmla="*/ 3627455 w 11867103"/>
              <a:gd name="connsiteY48" fmla="*/ 2821655 h 2972725"/>
              <a:gd name="connsiteX49" fmla="*/ 3125037 w 11867103"/>
              <a:gd name="connsiteY49" fmla="*/ 2831703 h 2972725"/>
              <a:gd name="connsiteX50" fmla="*/ 3064747 w 11867103"/>
              <a:gd name="connsiteY50" fmla="*/ 2841751 h 2972725"/>
              <a:gd name="connsiteX51" fmla="*/ 2009670 w 11867103"/>
              <a:gd name="connsiteY51" fmla="*/ 2851800 h 2972725"/>
              <a:gd name="connsiteX52" fmla="*/ 1678075 w 11867103"/>
              <a:gd name="connsiteY52" fmla="*/ 2942235 h 2972725"/>
              <a:gd name="connsiteX53" fmla="*/ 1607736 w 11867103"/>
              <a:gd name="connsiteY53" fmla="*/ 2972380 h 2972725"/>
              <a:gd name="connsiteX54" fmla="*/ 1135464 w 11867103"/>
              <a:gd name="connsiteY54" fmla="*/ 2952283 h 2972725"/>
              <a:gd name="connsiteX55" fmla="*/ 944545 w 11867103"/>
              <a:gd name="connsiteY55" fmla="*/ 2922138 h 2972725"/>
              <a:gd name="connsiteX56" fmla="*/ 723481 w 11867103"/>
              <a:gd name="connsiteY56" fmla="*/ 2881945 h 2972725"/>
              <a:gd name="connsiteX57" fmla="*/ 643095 w 11867103"/>
              <a:gd name="connsiteY57" fmla="*/ 2871896 h 2972725"/>
              <a:gd name="connsiteX58" fmla="*/ 371789 w 11867103"/>
              <a:gd name="connsiteY58" fmla="*/ 2831703 h 2972725"/>
              <a:gd name="connsiteX59" fmla="*/ 0 w 11867103"/>
              <a:gd name="connsiteY59" fmla="*/ 2821655 h 2972725"/>
              <a:gd name="connsiteX0" fmla="*/ 120580 w 11867103"/>
              <a:gd name="connsiteY0" fmla="*/ 91200 h 3005567"/>
              <a:gd name="connsiteX1" fmla="*/ 281354 w 11867103"/>
              <a:gd name="connsiteY1" fmla="*/ 81151 h 3005567"/>
              <a:gd name="connsiteX2" fmla="*/ 673240 w 11867103"/>
              <a:gd name="connsiteY2" fmla="*/ 71103 h 3005567"/>
              <a:gd name="connsiteX3" fmla="*/ 1356528 w 11867103"/>
              <a:gd name="connsiteY3" fmla="*/ 121345 h 3005567"/>
              <a:gd name="connsiteX4" fmla="*/ 1758462 w 11867103"/>
              <a:gd name="connsiteY4" fmla="*/ 81151 h 3005567"/>
              <a:gd name="connsiteX5" fmla="*/ 2140299 w 11867103"/>
              <a:gd name="connsiteY5" fmla="*/ 81151 h 3005567"/>
              <a:gd name="connsiteX6" fmla="*/ 4652387 w 11867103"/>
              <a:gd name="connsiteY6" fmla="*/ 101248 h 3005567"/>
              <a:gd name="connsiteX7" fmla="*/ 4692580 w 11867103"/>
              <a:gd name="connsiteY7" fmla="*/ 111297 h 3005567"/>
              <a:gd name="connsiteX8" fmla="*/ 6420897 w 11867103"/>
              <a:gd name="connsiteY8" fmla="*/ 131393 h 3005567"/>
              <a:gd name="connsiteX9" fmla="*/ 7184571 w 11867103"/>
              <a:gd name="connsiteY9" fmla="*/ 101248 h 3005567"/>
              <a:gd name="connsiteX10" fmla="*/ 7928150 w 11867103"/>
              <a:gd name="connsiteY10" fmla="*/ 101248 h 3005567"/>
              <a:gd name="connsiteX11" fmla="*/ 8219552 w 11867103"/>
              <a:gd name="connsiteY11" fmla="*/ 131393 h 3005567"/>
              <a:gd name="connsiteX12" fmla="*/ 9606224 w 11867103"/>
              <a:gd name="connsiteY12" fmla="*/ 131393 h 3005567"/>
              <a:gd name="connsiteX13" fmla="*/ 9947868 w 11867103"/>
              <a:gd name="connsiteY13" fmla="*/ 101248 h 3005567"/>
              <a:gd name="connsiteX14" fmla="*/ 10791930 w 11867103"/>
              <a:gd name="connsiteY14" fmla="*/ 71103 h 3005567"/>
              <a:gd name="connsiteX15" fmla="*/ 11736475 w 11867103"/>
              <a:gd name="connsiteY15" fmla="*/ 91200 h 3005567"/>
              <a:gd name="connsiteX16" fmla="*/ 11806813 w 11867103"/>
              <a:gd name="connsiteY16" fmla="*/ 804633 h 3005567"/>
              <a:gd name="connsiteX17" fmla="*/ 11816862 w 11867103"/>
              <a:gd name="connsiteY17" fmla="*/ 2372176 h 3005567"/>
              <a:gd name="connsiteX18" fmla="*/ 11826910 w 11867103"/>
              <a:gd name="connsiteY18" fmla="*/ 2442514 h 3005567"/>
              <a:gd name="connsiteX19" fmla="*/ 11836958 w 11867103"/>
              <a:gd name="connsiteY19" fmla="*/ 2472659 h 3005567"/>
              <a:gd name="connsiteX20" fmla="*/ 11857055 w 11867103"/>
              <a:gd name="connsiteY20" fmla="*/ 2603288 h 3005567"/>
              <a:gd name="connsiteX21" fmla="*/ 11867103 w 11867103"/>
              <a:gd name="connsiteY21" fmla="*/ 2643481 h 3005567"/>
              <a:gd name="connsiteX22" fmla="*/ 11857055 w 11867103"/>
              <a:gd name="connsiteY22" fmla="*/ 2874593 h 3005567"/>
              <a:gd name="connsiteX23" fmla="*/ 11836958 w 11867103"/>
              <a:gd name="connsiteY23" fmla="*/ 2904738 h 3005567"/>
              <a:gd name="connsiteX24" fmla="*/ 11033090 w 11867103"/>
              <a:gd name="connsiteY24" fmla="*/ 2894690 h 3005567"/>
              <a:gd name="connsiteX25" fmla="*/ 10621108 w 11867103"/>
              <a:gd name="connsiteY25" fmla="*/ 2884642 h 3005567"/>
              <a:gd name="connsiteX26" fmla="*/ 10128739 w 11867103"/>
              <a:gd name="connsiteY26" fmla="*/ 2894690 h 3005567"/>
              <a:gd name="connsiteX27" fmla="*/ 10048352 w 11867103"/>
              <a:gd name="connsiteY27" fmla="*/ 2904738 h 3005567"/>
              <a:gd name="connsiteX28" fmla="*/ 9555982 w 11867103"/>
              <a:gd name="connsiteY28" fmla="*/ 2894690 h 3005567"/>
              <a:gd name="connsiteX29" fmla="*/ 9445451 w 11867103"/>
              <a:gd name="connsiteY29" fmla="*/ 2884642 h 3005567"/>
              <a:gd name="connsiteX30" fmla="*/ 9415306 w 11867103"/>
              <a:gd name="connsiteY30" fmla="*/ 2864545 h 3005567"/>
              <a:gd name="connsiteX31" fmla="*/ 9204290 w 11867103"/>
              <a:gd name="connsiteY31" fmla="*/ 2844448 h 3005567"/>
              <a:gd name="connsiteX32" fmla="*/ 9073662 w 11867103"/>
              <a:gd name="connsiteY32" fmla="*/ 2824351 h 3005567"/>
              <a:gd name="connsiteX33" fmla="*/ 8812404 w 11867103"/>
              <a:gd name="connsiteY33" fmla="*/ 2814303 h 3005567"/>
              <a:gd name="connsiteX34" fmla="*/ 8400422 w 11867103"/>
              <a:gd name="connsiteY34" fmla="*/ 2804255 h 3005567"/>
              <a:gd name="connsiteX35" fmla="*/ 8269793 w 11867103"/>
              <a:gd name="connsiteY35" fmla="*/ 2794206 h 3005567"/>
              <a:gd name="connsiteX36" fmla="*/ 7797521 w 11867103"/>
              <a:gd name="connsiteY36" fmla="*/ 2814303 h 3005567"/>
              <a:gd name="connsiteX37" fmla="*/ 7717134 w 11867103"/>
              <a:gd name="connsiteY37" fmla="*/ 2824351 h 3005567"/>
              <a:gd name="connsiteX38" fmla="*/ 7486022 w 11867103"/>
              <a:gd name="connsiteY38" fmla="*/ 2854497 h 3005567"/>
              <a:gd name="connsiteX39" fmla="*/ 7395587 w 11867103"/>
              <a:gd name="connsiteY39" fmla="*/ 2874593 h 3005567"/>
              <a:gd name="connsiteX40" fmla="*/ 7325248 w 11867103"/>
              <a:gd name="connsiteY40" fmla="*/ 2884642 h 3005567"/>
              <a:gd name="connsiteX41" fmla="*/ 6863024 w 11867103"/>
              <a:gd name="connsiteY41" fmla="*/ 2874593 h 3005567"/>
              <a:gd name="connsiteX42" fmla="*/ 6722347 w 11867103"/>
              <a:gd name="connsiteY42" fmla="*/ 2864545 h 3005567"/>
              <a:gd name="connsiteX43" fmla="*/ 4903596 w 11867103"/>
              <a:gd name="connsiteY43" fmla="*/ 2914787 h 3005567"/>
              <a:gd name="connsiteX44" fmla="*/ 4722725 w 11867103"/>
              <a:gd name="connsiteY44" fmla="*/ 2954980 h 3005567"/>
              <a:gd name="connsiteX45" fmla="*/ 4300695 w 11867103"/>
              <a:gd name="connsiteY45" fmla="*/ 2934883 h 3005567"/>
              <a:gd name="connsiteX46" fmla="*/ 4059534 w 11867103"/>
              <a:gd name="connsiteY46" fmla="*/ 2894690 h 3005567"/>
              <a:gd name="connsiteX47" fmla="*/ 3768132 w 11867103"/>
              <a:gd name="connsiteY47" fmla="*/ 2864545 h 3005567"/>
              <a:gd name="connsiteX48" fmla="*/ 3627455 w 11867103"/>
              <a:gd name="connsiteY48" fmla="*/ 2854497 h 3005567"/>
              <a:gd name="connsiteX49" fmla="*/ 3125037 w 11867103"/>
              <a:gd name="connsiteY49" fmla="*/ 2864545 h 3005567"/>
              <a:gd name="connsiteX50" fmla="*/ 3064747 w 11867103"/>
              <a:gd name="connsiteY50" fmla="*/ 2874593 h 3005567"/>
              <a:gd name="connsiteX51" fmla="*/ 2009670 w 11867103"/>
              <a:gd name="connsiteY51" fmla="*/ 2884642 h 3005567"/>
              <a:gd name="connsiteX52" fmla="*/ 1678075 w 11867103"/>
              <a:gd name="connsiteY52" fmla="*/ 2975077 h 3005567"/>
              <a:gd name="connsiteX53" fmla="*/ 1607736 w 11867103"/>
              <a:gd name="connsiteY53" fmla="*/ 3005222 h 3005567"/>
              <a:gd name="connsiteX54" fmla="*/ 1135464 w 11867103"/>
              <a:gd name="connsiteY54" fmla="*/ 2985125 h 3005567"/>
              <a:gd name="connsiteX55" fmla="*/ 944545 w 11867103"/>
              <a:gd name="connsiteY55" fmla="*/ 2954980 h 3005567"/>
              <a:gd name="connsiteX56" fmla="*/ 723481 w 11867103"/>
              <a:gd name="connsiteY56" fmla="*/ 2914787 h 3005567"/>
              <a:gd name="connsiteX57" fmla="*/ 643095 w 11867103"/>
              <a:gd name="connsiteY57" fmla="*/ 2904738 h 3005567"/>
              <a:gd name="connsiteX58" fmla="*/ 371789 w 11867103"/>
              <a:gd name="connsiteY58" fmla="*/ 2864545 h 3005567"/>
              <a:gd name="connsiteX59" fmla="*/ 0 w 11867103"/>
              <a:gd name="connsiteY59" fmla="*/ 2854497 h 3005567"/>
              <a:gd name="connsiteX0" fmla="*/ 120580 w 11867103"/>
              <a:gd name="connsiteY0" fmla="*/ 55611 h 2969978"/>
              <a:gd name="connsiteX1" fmla="*/ 281354 w 11867103"/>
              <a:gd name="connsiteY1" fmla="*/ 45562 h 2969978"/>
              <a:gd name="connsiteX2" fmla="*/ 673240 w 11867103"/>
              <a:gd name="connsiteY2" fmla="*/ 35514 h 2969978"/>
              <a:gd name="connsiteX3" fmla="*/ 1356528 w 11867103"/>
              <a:gd name="connsiteY3" fmla="*/ 85756 h 2969978"/>
              <a:gd name="connsiteX4" fmla="*/ 1758462 w 11867103"/>
              <a:gd name="connsiteY4" fmla="*/ 45562 h 2969978"/>
              <a:gd name="connsiteX5" fmla="*/ 2140299 w 11867103"/>
              <a:gd name="connsiteY5" fmla="*/ 45562 h 2969978"/>
              <a:gd name="connsiteX6" fmla="*/ 4652387 w 11867103"/>
              <a:gd name="connsiteY6" fmla="*/ 65659 h 2969978"/>
              <a:gd name="connsiteX7" fmla="*/ 4692580 w 11867103"/>
              <a:gd name="connsiteY7" fmla="*/ 75708 h 2969978"/>
              <a:gd name="connsiteX8" fmla="*/ 6420897 w 11867103"/>
              <a:gd name="connsiteY8" fmla="*/ 95804 h 2969978"/>
              <a:gd name="connsiteX9" fmla="*/ 7184571 w 11867103"/>
              <a:gd name="connsiteY9" fmla="*/ 65659 h 2969978"/>
              <a:gd name="connsiteX10" fmla="*/ 7928150 w 11867103"/>
              <a:gd name="connsiteY10" fmla="*/ 65659 h 2969978"/>
              <a:gd name="connsiteX11" fmla="*/ 8219552 w 11867103"/>
              <a:gd name="connsiteY11" fmla="*/ 95804 h 2969978"/>
              <a:gd name="connsiteX12" fmla="*/ 9606224 w 11867103"/>
              <a:gd name="connsiteY12" fmla="*/ 95804 h 2969978"/>
              <a:gd name="connsiteX13" fmla="*/ 9947868 w 11867103"/>
              <a:gd name="connsiteY13" fmla="*/ 65659 h 2969978"/>
              <a:gd name="connsiteX14" fmla="*/ 10791930 w 11867103"/>
              <a:gd name="connsiteY14" fmla="*/ 35514 h 2969978"/>
              <a:gd name="connsiteX15" fmla="*/ 11736475 w 11867103"/>
              <a:gd name="connsiteY15" fmla="*/ 55611 h 2969978"/>
              <a:gd name="connsiteX16" fmla="*/ 11806813 w 11867103"/>
              <a:gd name="connsiteY16" fmla="*/ 769044 h 2969978"/>
              <a:gd name="connsiteX17" fmla="*/ 11816862 w 11867103"/>
              <a:gd name="connsiteY17" fmla="*/ 2336587 h 2969978"/>
              <a:gd name="connsiteX18" fmla="*/ 11826910 w 11867103"/>
              <a:gd name="connsiteY18" fmla="*/ 2406925 h 2969978"/>
              <a:gd name="connsiteX19" fmla="*/ 11836958 w 11867103"/>
              <a:gd name="connsiteY19" fmla="*/ 2437070 h 2969978"/>
              <a:gd name="connsiteX20" fmla="*/ 11857055 w 11867103"/>
              <a:gd name="connsiteY20" fmla="*/ 2567699 h 2969978"/>
              <a:gd name="connsiteX21" fmla="*/ 11867103 w 11867103"/>
              <a:gd name="connsiteY21" fmla="*/ 2607892 h 2969978"/>
              <a:gd name="connsiteX22" fmla="*/ 11857055 w 11867103"/>
              <a:gd name="connsiteY22" fmla="*/ 2839004 h 2969978"/>
              <a:gd name="connsiteX23" fmla="*/ 11836958 w 11867103"/>
              <a:gd name="connsiteY23" fmla="*/ 2869149 h 2969978"/>
              <a:gd name="connsiteX24" fmla="*/ 11033090 w 11867103"/>
              <a:gd name="connsiteY24" fmla="*/ 2859101 h 2969978"/>
              <a:gd name="connsiteX25" fmla="*/ 10621108 w 11867103"/>
              <a:gd name="connsiteY25" fmla="*/ 2849053 h 2969978"/>
              <a:gd name="connsiteX26" fmla="*/ 10128739 w 11867103"/>
              <a:gd name="connsiteY26" fmla="*/ 2859101 h 2969978"/>
              <a:gd name="connsiteX27" fmla="*/ 10048352 w 11867103"/>
              <a:gd name="connsiteY27" fmla="*/ 2869149 h 2969978"/>
              <a:gd name="connsiteX28" fmla="*/ 9555982 w 11867103"/>
              <a:gd name="connsiteY28" fmla="*/ 2859101 h 2969978"/>
              <a:gd name="connsiteX29" fmla="*/ 9445451 w 11867103"/>
              <a:gd name="connsiteY29" fmla="*/ 2849053 h 2969978"/>
              <a:gd name="connsiteX30" fmla="*/ 9415306 w 11867103"/>
              <a:gd name="connsiteY30" fmla="*/ 2828956 h 2969978"/>
              <a:gd name="connsiteX31" fmla="*/ 9204290 w 11867103"/>
              <a:gd name="connsiteY31" fmla="*/ 2808859 h 2969978"/>
              <a:gd name="connsiteX32" fmla="*/ 9073662 w 11867103"/>
              <a:gd name="connsiteY32" fmla="*/ 2788762 h 2969978"/>
              <a:gd name="connsiteX33" fmla="*/ 8812404 w 11867103"/>
              <a:gd name="connsiteY33" fmla="*/ 2778714 h 2969978"/>
              <a:gd name="connsiteX34" fmla="*/ 8400422 w 11867103"/>
              <a:gd name="connsiteY34" fmla="*/ 2768666 h 2969978"/>
              <a:gd name="connsiteX35" fmla="*/ 8269793 w 11867103"/>
              <a:gd name="connsiteY35" fmla="*/ 2758617 h 2969978"/>
              <a:gd name="connsiteX36" fmla="*/ 7797521 w 11867103"/>
              <a:gd name="connsiteY36" fmla="*/ 2778714 h 2969978"/>
              <a:gd name="connsiteX37" fmla="*/ 7717134 w 11867103"/>
              <a:gd name="connsiteY37" fmla="*/ 2788762 h 2969978"/>
              <a:gd name="connsiteX38" fmla="*/ 7486022 w 11867103"/>
              <a:gd name="connsiteY38" fmla="*/ 2818908 h 2969978"/>
              <a:gd name="connsiteX39" fmla="*/ 7395587 w 11867103"/>
              <a:gd name="connsiteY39" fmla="*/ 2839004 h 2969978"/>
              <a:gd name="connsiteX40" fmla="*/ 7325248 w 11867103"/>
              <a:gd name="connsiteY40" fmla="*/ 2849053 h 2969978"/>
              <a:gd name="connsiteX41" fmla="*/ 6863024 w 11867103"/>
              <a:gd name="connsiteY41" fmla="*/ 2839004 h 2969978"/>
              <a:gd name="connsiteX42" fmla="*/ 6722347 w 11867103"/>
              <a:gd name="connsiteY42" fmla="*/ 2828956 h 2969978"/>
              <a:gd name="connsiteX43" fmla="*/ 4903596 w 11867103"/>
              <a:gd name="connsiteY43" fmla="*/ 2879198 h 2969978"/>
              <a:gd name="connsiteX44" fmla="*/ 4722725 w 11867103"/>
              <a:gd name="connsiteY44" fmla="*/ 2919391 h 2969978"/>
              <a:gd name="connsiteX45" fmla="*/ 4300695 w 11867103"/>
              <a:gd name="connsiteY45" fmla="*/ 2899294 h 2969978"/>
              <a:gd name="connsiteX46" fmla="*/ 4059534 w 11867103"/>
              <a:gd name="connsiteY46" fmla="*/ 2859101 h 2969978"/>
              <a:gd name="connsiteX47" fmla="*/ 3768132 w 11867103"/>
              <a:gd name="connsiteY47" fmla="*/ 2828956 h 2969978"/>
              <a:gd name="connsiteX48" fmla="*/ 3627455 w 11867103"/>
              <a:gd name="connsiteY48" fmla="*/ 2818908 h 2969978"/>
              <a:gd name="connsiteX49" fmla="*/ 3125037 w 11867103"/>
              <a:gd name="connsiteY49" fmla="*/ 2828956 h 2969978"/>
              <a:gd name="connsiteX50" fmla="*/ 3064747 w 11867103"/>
              <a:gd name="connsiteY50" fmla="*/ 2839004 h 2969978"/>
              <a:gd name="connsiteX51" fmla="*/ 2009670 w 11867103"/>
              <a:gd name="connsiteY51" fmla="*/ 2849053 h 2969978"/>
              <a:gd name="connsiteX52" fmla="*/ 1678075 w 11867103"/>
              <a:gd name="connsiteY52" fmla="*/ 2939488 h 2969978"/>
              <a:gd name="connsiteX53" fmla="*/ 1607736 w 11867103"/>
              <a:gd name="connsiteY53" fmla="*/ 2969633 h 2969978"/>
              <a:gd name="connsiteX54" fmla="*/ 1135464 w 11867103"/>
              <a:gd name="connsiteY54" fmla="*/ 2949536 h 2969978"/>
              <a:gd name="connsiteX55" fmla="*/ 944545 w 11867103"/>
              <a:gd name="connsiteY55" fmla="*/ 2919391 h 2969978"/>
              <a:gd name="connsiteX56" fmla="*/ 723481 w 11867103"/>
              <a:gd name="connsiteY56" fmla="*/ 2879198 h 2969978"/>
              <a:gd name="connsiteX57" fmla="*/ 643095 w 11867103"/>
              <a:gd name="connsiteY57" fmla="*/ 2869149 h 2969978"/>
              <a:gd name="connsiteX58" fmla="*/ 371789 w 11867103"/>
              <a:gd name="connsiteY58" fmla="*/ 2828956 h 2969978"/>
              <a:gd name="connsiteX59" fmla="*/ 0 w 11867103"/>
              <a:gd name="connsiteY59" fmla="*/ 2818908 h 2969978"/>
              <a:gd name="connsiteX0" fmla="*/ 120580 w 11867103"/>
              <a:gd name="connsiteY0" fmla="*/ 55611 h 2969978"/>
              <a:gd name="connsiteX1" fmla="*/ 281354 w 11867103"/>
              <a:gd name="connsiteY1" fmla="*/ 45562 h 2969978"/>
              <a:gd name="connsiteX2" fmla="*/ 673240 w 11867103"/>
              <a:gd name="connsiteY2" fmla="*/ 35514 h 2969978"/>
              <a:gd name="connsiteX3" fmla="*/ 1356528 w 11867103"/>
              <a:gd name="connsiteY3" fmla="*/ 85756 h 2969978"/>
              <a:gd name="connsiteX4" fmla="*/ 1758462 w 11867103"/>
              <a:gd name="connsiteY4" fmla="*/ 45562 h 2969978"/>
              <a:gd name="connsiteX5" fmla="*/ 2140299 w 11867103"/>
              <a:gd name="connsiteY5" fmla="*/ 45562 h 2969978"/>
              <a:gd name="connsiteX6" fmla="*/ 4652387 w 11867103"/>
              <a:gd name="connsiteY6" fmla="*/ 65659 h 2969978"/>
              <a:gd name="connsiteX7" fmla="*/ 4692580 w 11867103"/>
              <a:gd name="connsiteY7" fmla="*/ 75708 h 2969978"/>
              <a:gd name="connsiteX8" fmla="*/ 6420897 w 11867103"/>
              <a:gd name="connsiteY8" fmla="*/ 95804 h 2969978"/>
              <a:gd name="connsiteX9" fmla="*/ 7184571 w 11867103"/>
              <a:gd name="connsiteY9" fmla="*/ 65659 h 2969978"/>
              <a:gd name="connsiteX10" fmla="*/ 7928150 w 11867103"/>
              <a:gd name="connsiteY10" fmla="*/ 65659 h 2969978"/>
              <a:gd name="connsiteX11" fmla="*/ 8219552 w 11867103"/>
              <a:gd name="connsiteY11" fmla="*/ 95804 h 2969978"/>
              <a:gd name="connsiteX12" fmla="*/ 9606224 w 11867103"/>
              <a:gd name="connsiteY12" fmla="*/ 95804 h 2969978"/>
              <a:gd name="connsiteX13" fmla="*/ 9947868 w 11867103"/>
              <a:gd name="connsiteY13" fmla="*/ 65659 h 2969978"/>
              <a:gd name="connsiteX14" fmla="*/ 10791930 w 11867103"/>
              <a:gd name="connsiteY14" fmla="*/ 35514 h 2969978"/>
              <a:gd name="connsiteX15" fmla="*/ 11736475 w 11867103"/>
              <a:gd name="connsiteY15" fmla="*/ 55611 h 2969978"/>
              <a:gd name="connsiteX16" fmla="*/ 11806813 w 11867103"/>
              <a:gd name="connsiteY16" fmla="*/ 769044 h 2969978"/>
              <a:gd name="connsiteX17" fmla="*/ 11816862 w 11867103"/>
              <a:gd name="connsiteY17" fmla="*/ 2336587 h 2969978"/>
              <a:gd name="connsiteX18" fmla="*/ 11826910 w 11867103"/>
              <a:gd name="connsiteY18" fmla="*/ 2406925 h 2969978"/>
              <a:gd name="connsiteX19" fmla="*/ 11857055 w 11867103"/>
              <a:gd name="connsiteY19" fmla="*/ 2567699 h 2969978"/>
              <a:gd name="connsiteX20" fmla="*/ 11867103 w 11867103"/>
              <a:gd name="connsiteY20" fmla="*/ 2607892 h 2969978"/>
              <a:gd name="connsiteX21" fmla="*/ 11857055 w 11867103"/>
              <a:gd name="connsiteY21" fmla="*/ 2839004 h 2969978"/>
              <a:gd name="connsiteX22" fmla="*/ 11836958 w 11867103"/>
              <a:gd name="connsiteY22" fmla="*/ 2869149 h 2969978"/>
              <a:gd name="connsiteX23" fmla="*/ 11033090 w 11867103"/>
              <a:gd name="connsiteY23" fmla="*/ 2859101 h 2969978"/>
              <a:gd name="connsiteX24" fmla="*/ 10621108 w 11867103"/>
              <a:gd name="connsiteY24" fmla="*/ 2849053 h 2969978"/>
              <a:gd name="connsiteX25" fmla="*/ 10128739 w 11867103"/>
              <a:gd name="connsiteY25" fmla="*/ 2859101 h 2969978"/>
              <a:gd name="connsiteX26" fmla="*/ 10048352 w 11867103"/>
              <a:gd name="connsiteY26" fmla="*/ 2869149 h 2969978"/>
              <a:gd name="connsiteX27" fmla="*/ 9555982 w 11867103"/>
              <a:gd name="connsiteY27" fmla="*/ 2859101 h 2969978"/>
              <a:gd name="connsiteX28" fmla="*/ 9445451 w 11867103"/>
              <a:gd name="connsiteY28" fmla="*/ 2849053 h 2969978"/>
              <a:gd name="connsiteX29" fmla="*/ 9415306 w 11867103"/>
              <a:gd name="connsiteY29" fmla="*/ 2828956 h 2969978"/>
              <a:gd name="connsiteX30" fmla="*/ 9204290 w 11867103"/>
              <a:gd name="connsiteY30" fmla="*/ 2808859 h 2969978"/>
              <a:gd name="connsiteX31" fmla="*/ 9073662 w 11867103"/>
              <a:gd name="connsiteY31" fmla="*/ 2788762 h 2969978"/>
              <a:gd name="connsiteX32" fmla="*/ 8812404 w 11867103"/>
              <a:gd name="connsiteY32" fmla="*/ 2778714 h 2969978"/>
              <a:gd name="connsiteX33" fmla="*/ 8400422 w 11867103"/>
              <a:gd name="connsiteY33" fmla="*/ 2768666 h 2969978"/>
              <a:gd name="connsiteX34" fmla="*/ 8269793 w 11867103"/>
              <a:gd name="connsiteY34" fmla="*/ 2758617 h 2969978"/>
              <a:gd name="connsiteX35" fmla="*/ 7797521 w 11867103"/>
              <a:gd name="connsiteY35" fmla="*/ 2778714 h 2969978"/>
              <a:gd name="connsiteX36" fmla="*/ 7717134 w 11867103"/>
              <a:gd name="connsiteY36" fmla="*/ 2788762 h 2969978"/>
              <a:gd name="connsiteX37" fmla="*/ 7486022 w 11867103"/>
              <a:gd name="connsiteY37" fmla="*/ 2818908 h 2969978"/>
              <a:gd name="connsiteX38" fmla="*/ 7395587 w 11867103"/>
              <a:gd name="connsiteY38" fmla="*/ 2839004 h 2969978"/>
              <a:gd name="connsiteX39" fmla="*/ 7325248 w 11867103"/>
              <a:gd name="connsiteY39" fmla="*/ 2849053 h 2969978"/>
              <a:gd name="connsiteX40" fmla="*/ 6863024 w 11867103"/>
              <a:gd name="connsiteY40" fmla="*/ 2839004 h 2969978"/>
              <a:gd name="connsiteX41" fmla="*/ 6722347 w 11867103"/>
              <a:gd name="connsiteY41" fmla="*/ 2828956 h 2969978"/>
              <a:gd name="connsiteX42" fmla="*/ 4903596 w 11867103"/>
              <a:gd name="connsiteY42" fmla="*/ 2879198 h 2969978"/>
              <a:gd name="connsiteX43" fmla="*/ 4722725 w 11867103"/>
              <a:gd name="connsiteY43" fmla="*/ 2919391 h 2969978"/>
              <a:gd name="connsiteX44" fmla="*/ 4300695 w 11867103"/>
              <a:gd name="connsiteY44" fmla="*/ 2899294 h 2969978"/>
              <a:gd name="connsiteX45" fmla="*/ 4059534 w 11867103"/>
              <a:gd name="connsiteY45" fmla="*/ 2859101 h 2969978"/>
              <a:gd name="connsiteX46" fmla="*/ 3768132 w 11867103"/>
              <a:gd name="connsiteY46" fmla="*/ 2828956 h 2969978"/>
              <a:gd name="connsiteX47" fmla="*/ 3627455 w 11867103"/>
              <a:gd name="connsiteY47" fmla="*/ 2818908 h 2969978"/>
              <a:gd name="connsiteX48" fmla="*/ 3125037 w 11867103"/>
              <a:gd name="connsiteY48" fmla="*/ 2828956 h 2969978"/>
              <a:gd name="connsiteX49" fmla="*/ 3064747 w 11867103"/>
              <a:gd name="connsiteY49" fmla="*/ 2839004 h 2969978"/>
              <a:gd name="connsiteX50" fmla="*/ 2009670 w 11867103"/>
              <a:gd name="connsiteY50" fmla="*/ 2849053 h 2969978"/>
              <a:gd name="connsiteX51" fmla="*/ 1678075 w 11867103"/>
              <a:gd name="connsiteY51" fmla="*/ 2939488 h 2969978"/>
              <a:gd name="connsiteX52" fmla="*/ 1607736 w 11867103"/>
              <a:gd name="connsiteY52" fmla="*/ 2969633 h 2969978"/>
              <a:gd name="connsiteX53" fmla="*/ 1135464 w 11867103"/>
              <a:gd name="connsiteY53" fmla="*/ 2949536 h 2969978"/>
              <a:gd name="connsiteX54" fmla="*/ 944545 w 11867103"/>
              <a:gd name="connsiteY54" fmla="*/ 2919391 h 2969978"/>
              <a:gd name="connsiteX55" fmla="*/ 723481 w 11867103"/>
              <a:gd name="connsiteY55" fmla="*/ 2879198 h 2969978"/>
              <a:gd name="connsiteX56" fmla="*/ 643095 w 11867103"/>
              <a:gd name="connsiteY56" fmla="*/ 2869149 h 2969978"/>
              <a:gd name="connsiteX57" fmla="*/ 371789 w 11867103"/>
              <a:gd name="connsiteY57" fmla="*/ 2828956 h 2969978"/>
              <a:gd name="connsiteX58" fmla="*/ 0 w 11867103"/>
              <a:gd name="connsiteY58" fmla="*/ 2818908 h 2969978"/>
              <a:gd name="connsiteX0" fmla="*/ 120580 w 11867103"/>
              <a:gd name="connsiteY0" fmla="*/ 55611 h 2969978"/>
              <a:gd name="connsiteX1" fmla="*/ 281354 w 11867103"/>
              <a:gd name="connsiteY1" fmla="*/ 45562 h 2969978"/>
              <a:gd name="connsiteX2" fmla="*/ 673240 w 11867103"/>
              <a:gd name="connsiteY2" fmla="*/ 35514 h 2969978"/>
              <a:gd name="connsiteX3" fmla="*/ 1356528 w 11867103"/>
              <a:gd name="connsiteY3" fmla="*/ 85756 h 2969978"/>
              <a:gd name="connsiteX4" fmla="*/ 1758462 w 11867103"/>
              <a:gd name="connsiteY4" fmla="*/ 45562 h 2969978"/>
              <a:gd name="connsiteX5" fmla="*/ 2140299 w 11867103"/>
              <a:gd name="connsiteY5" fmla="*/ 45562 h 2969978"/>
              <a:gd name="connsiteX6" fmla="*/ 4652387 w 11867103"/>
              <a:gd name="connsiteY6" fmla="*/ 65659 h 2969978"/>
              <a:gd name="connsiteX7" fmla="*/ 4692580 w 11867103"/>
              <a:gd name="connsiteY7" fmla="*/ 75708 h 2969978"/>
              <a:gd name="connsiteX8" fmla="*/ 6420897 w 11867103"/>
              <a:gd name="connsiteY8" fmla="*/ 95804 h 2969978"/>
              <a:gd name="connsiteX9" fmla="*/ 7184571 w 11867103"/>
              <a:gd name="connsiteY9" fmla="*/ 65659 h 2969978"/>
              <a:gd name="connsiteX10" fmla="*/ 7928150 w 11867103"/>
              <a:gd name="connsiteY10" fmla="*/ 65659 h 2969978"/>
              <a:gd name="connsiteX11" fmla="*/ 8219552 w 11867103"/>
              <a:gd name="connsiteY11" fmla="*/ 95804 h 2969978"/>
              <a:gd name="connsiteX12" fmla="*/ 9606224 w 11867103"/>
              <a:gd name="connsiteY12" fmla="*/ 95804 h 2969978"/>
              <a:gd name="connsiteX13" fmla="*/ 9947868 w 11867103"/>
              <a:gd name="connsiteY13" fmla="*/ 65659 h 2969978"/>
              <a:gd name="connsiteX14" fmla="*/ 10791930 w 11867103"/>
              <a:gd name="connsiteY14" fmla="*/ 35514 h 2969978"/>
              <a:gd name="connsiteX15" fmla="*/ 11736475 w 11867103"/>
              <a:gd name="connsiteY15" fmla="*/ 55611 h 2969978"/>
              <a:gd name="connsiteX16" fmla="*/ 11806813 w 11867103"/>
              <a:gd name="connsiteY16" fmla="*/ 769044 h 2969978"/>
              <a:gd name="connsiteX17" fmla="*/ 11816862 w 11867103"/>
              <a:gd name="connsiteY17" fmla="*/ 2336587 h 2969978"/>
              <a:gd name="connsiteX18" fmla="*/ 11857055 w 11867103"/>
              <a:gd name="connsiteY18" fmla="*/ 2567699 h 2969978"/>
              <a:gd name="connsiteX19" fmla="*/ 11867103 w 11867103"/>
              <a:gd name="connsiteY19" fmla="*/ 2607892 h 2969978"/>
              <a:gd name="connsiteX20" fmla="*/ 11857055 w 11867103"/>
              <a:gd name="connsiteY20" fmla="*/ 2839004 h 2969978"/>
              <a:gd name="connsiteX21" fmla="*/ 11836958 w 11867103"/>
              <a:gd name="connsiteY21" fmla="*/ 2869149 h 2969978"/>
              <a:gd name="connsiteX22" fmla="*/ 11033090 w 11867103"/>
              <a:gd name="connsiteY22" fmla="*/ 2859101 h 2969978"/>
              <a:gd name="connsiteX23" fmla="*/ 10621108 w 11867103"/>
              <a:gd name="connsiteY23" fmla="*/ 2849053 h 2969978"/>
              <a:gd name="connsiteX24" fmla="*/ 10128739 w 11867103"/>
              <a:gd name="connsiteY24" fmla="*/ 2859101 h 2969978"/>
              <a:gd name="connsiteX25" fmla="*/ 10048352 w 11867103"/>
              <a:gd name="connsiteY25" fmla="*/ 2869149 h 2969978"/>
              <a:gd name="connsiteX26" fmla="*/ 9555982 w 11867103"/>
              <a:gd name="connsiteY26" fmla="*/ 2859101 h 2969978"/>
              <a:gd name="connsiteX27" fmla="*/ 9445451 w 11867103"/>
              <a:gd name="connsiteY27" fmla="*/ 2849053 h 2969978"/>
              <a:gd name="connsiteX28" fmla="*/ 9415306 w 11867103"/>
              <a:gd name="connsiteY28" fmla="*/ 2828956 h 2969978"/>
              <a:gd name="connsiteX29" fmla="*/ 9204290 w 11867103"/>
              <a:gd name="connsiteY29" fmla="*/ 2808859 h 2969978"/>
              <a:gd name="connsiteX30" fmla="*/ 9073662 w 11867103"/>
              <a:gd name="connsiteY30" fmla="*/ 2788762 h 2969978"/>
              <a:gd name="connsiteX31" fmla="*/ 8812404 w 11867103"/>
              <a:gd name="connsiteY31" fmla="*/ 2778714 h 2969978"/>
              <a:gd name="connsiteX32" fmla="*/ 8400422 w 11867103"/>
              <a:gd name="connsiteY32" fmla="*/ 2768666 h 2969978"/>
              <a:gd name="connsiteX33" fmla="*/ 8269793 w 11867103"/>
              <a:gd name="connsiteY33" fmla="*/ 2758617 h 2969978"/>
              <a:gd name="connsiteX34" fmla="*/ 7797521 w 11867103"/>
              <a:gd name="connsiteY34" fmla="*/ 2778714 h 2969978"/>
              <a:gd name="connsiteX35" fmla="*/ 7717134 w 11867103"/>
              <a:gd name="connsiteY35" fmla="*/ 2788762 h 2969978"/>
              <a:gd name="connsiteX36" fmla="*/ 7486022 w 11867103"/>
              <a:gd name="connsiteY36" fmla="*/ 2818908 h 2969978"/>
              <a:gd name="connsiteX37" fmla="*/ 7395587 w 11867103"/>
              <a:gd name="connsiteY37" fmla="*/ 2839004 h 2969978"/>
              <a:gd name="connsiteX38" fmla="*/ 7325248 w 11867103"/>
              <a:gd name="connsiteY38" fmla="*/ 2849053 h 2969978"/>
              <a:gd name="connsiteX39" fmla="*/ 6863024 w 11867103"/>
              <a:gd name="connsiteY39" fmla="*/ 2839004 h 2969978"/>
              <a:gd name="connsiteX40" fmla="*/ 6722347 w 11867103"/>
              <a:gd name="connsiteY40" fmla="*/ 2828956 h 2969978"/>
              <a:gd name="connsiteX41" fmla="*/ 4903596 w 11867103"/>
              <a:gd name="connsiteY41" fmla="*/ 2879198 h 2969978"/>
              <a:gd name="connsiteX42" fmla="*/ 4722725 w 11867103"/>
              <a:gd name="connsiteY42" fmla="*/ 2919391 h 2969978"/>
              <a:gd name="connsiteX43" fmla="*/ 4300695 w 11867103"/>
              <a:gd name="connsiteY43" fmla="*/ 2899294 h 2969978"/>
              <a:gd name="connsiteX44" fmla="*/ 4059534 w 11867103"/>
              <a:gd name="connsiteY44" fmla="*/ 2859101 h 2969978"/>
              <a:gd name="connsiteX45" fmla="*/ 3768132 w 11867103"/>
              <a:gd name="connsiteY45" fmla="*/ 2828956 h 2969978"/>
              <a:gd name="connsiteX46" fmla="*/ 3627455 w 11867103"/>
              <a:gd name="connsiteY46" fmla="*/ 2818908 h 2969978"/>
              <a:gd name="connsiteX47" fmla="*/ 3125037 w 11867103"/>
              <a:gd name="connsiteY47" fmla="*/ 2828956 h 2969978"/>
              <a:gd name="connsiteX48" fmla="*/ 3064747 w 11867103"/>
              <a:gd name="connsiteY48" fmla="*/ 2839004 h 2969978"/>
              <a:gd name="connsiteX49" fmla="*/ 2009670 w 11867103"/>
              <a:gd name="connsiteY49" fmla="*/ 2849053 h 2969978"/>
              <a:gd name="connsiteX50" fmla="*/ 1678075 w 11867103"/>
              <a:gd name="connsiteY50" fmla="*/ 2939488 h 2969978"/>
              <a:gd name="connsiteX51" fmla="*/ 1607736 w 11867103"/>
              <a:gd name="connsiteY51" fmla="*/ 2969633 h 2969978"/>
              <a:gd name="connsiteX52" fmla="*/ 1135464 w 11867103"/>
              <a:gd name="connsiteY52" fmla="*/ 2949536 h 2969978"/>
              <a:gd name="connsiteX53" fmla="*/ 944545 w 11867103"/>
              <a:gd name="connsiteY53" fmla="*/ 2919391 h 2969978"/>
              <a:gd name="connsiteX54" fmla="*/ 723481 w 11867103"/>
              <a:gd name="connsiteY54" fmla="*/ 2879198 h 2969978"/>
              <a:gd name="connsiteX55" fmla="*/ 643095 w 11867103"/>
              <a:gd name="connsiteY55" fmla="*/ 2869149 h 2969978"/>
              <a:gd name="connsiteX56" fmla="*/ 371789 w 11867103"/>
              <a:gd name="connsiteY56" fmla="*/ 2828956 h 2969978"/>
              <a:gd name="connsiteX57" fmla="*/ 0 w 11867103"/>
              <a:gd name="connsiteY57" fmla="*/ 2818908 h 2969978"/>
              <a:gd name="connsiteX0" fmla="*/ 120580 w 11860922"/>
              <a:gd name="connsiteY0" fmla="*/ 55611 h 2969978"/>
              <a:gd name="connsiteX1" fmla="*/ 281354 w 11860922"/>
              <a:gd name="connsiteY1" fmla="*/ 45562 h 2969978"/>
              <a:gd name="connsiteX2" fmla="*/ 673240 w 11860922"/>
              <a:gd name="connsiteY2" fmla="*/ 35514 h 2969978"/>
              <a:gd name="connsiteX3" fmla="*/ 1356528 w 11860922"/>
              <a:gd name="connsiteY3" fmla="*/ 85756 h 2969978"/>
              <a:gd name="connsiteX4" fmla="*/ 1758462 w 11860922"/>
              <a:gd name="connsiteY4" fmla="*/ 45562 h 2969978"/>
              <a:gd name="connsiteX5" fmla="*/ 2140299 w 11860922"/>
              <a:gd name="connsiteY5" fmla="*/ 45562 h 2969978"/>
              <a:gd name="connsiteX6" fmla="*/ 4652387 w 11860922"/>
              <a:gd name="connsiteY6" fmla="*/ 65659 h 2969978"/>
              <a:gd name="connsiteX7" fmla="*/ 4692580 w 11860922"/>
              <a:gd name="connsiteY7" fmla="*/ 75708 h 2969978"/>
              <a:gd name="connsiteX8" fmla="*/ 6420897 w 11860922"/>
              <a:gd name="connsiteY8" fmla="*/ 95804 h 2969978"/>
              <a:gd name="connsiteX9" fmla="*/ 7184571 w 11860922"/>
              <a:gd name="connsiteY9" fmla="*/ 65659 h 2969978"/>
              <a:gd name="connsiteX10" fmla="*/ 7928150 w 11860922"/>
              <a:gd name="connsiteY10" fmla="*/ 65659 h 2969978"/>
              <a:gd name="connsiteX11" fmla="*/ 8219552 w 11860922"/>
              <a:gd name="connsiteY11" fmla="*/ 95804 h 2969978"/>
              <a:gd name="connsiteX12" fmla="*/ 9606224 w 11860922"/>
              <a:gd name="connsiteY12" fmla="*/ 95804 h 2969978"/>
              <a:gd name="connsiteX13" fmla="*/ 9947868 w 11860922"/>
              <a:gd name="connsiteY13" fmla="*/ 65659 h 2969978"/>
              <a:gd name="connsiteX14" fmla="*/ 10791930 w 11860922"/>
              <a:gd name="connsiteY14" fmla="*/ 35514 h 2969978"/>
              <a:gd name="connsiteX15" fmla="*/ 11736475 w 11860922"/>
              <a:gd name="connsiteY15" fmla="*/ 55611 h 2969978"/>
              <a:gd name="connsiteX16" fmla="*/ 11806813 w 11860922"/>
              <a:gd name="connsiteY16" fmla="*/ 769044 h 2969978"/>
              <a:gd name="connsiteX17" fmla="*/ 11816862 w 11860922"/>
              <a:gd name="connsiteY17" fmla="*/ 2336587 h 2969978"/>
              <a:gd name="connsiteX18" fmla="*/ 11857055 w 11860922"/>
              <a:gd name="connsiteY18" fmla="*/ 2567699 h 2969978"/>
              <a:gd name="connsiteX19" fmla="*/ 11857055 w 11860922"/>
              <a:gd name="connsiteY19" fmla="*/ 2839004 h 2969978"/>
              <a:gd name="connsiteX20" fmla="*/ 11836958 w 11860922"/>
              <a:gd name="connsiteY20" fmla="*/ 2869149 h 2969978"/>
              <a:gd name="connsiteX21" fmla="*/ 11033090 w 11860922"/>
              <a:gd name="connsiteY21" fmla="*/ 2859101 h 2969978"/>
              <a:gd name="connsiteX22" fmla="*/ 10621108 w 11860922"/>
              <a:gd name="connsiteY22" fmla="*/ 2849053 h 2969978"/>
              <a:gd name="connsiteX23" fmla="*/ 10128739 w 11860922"/>
              <a:gd name="connsiteY23" fmla="*/ 2859101 h 2969978"/>
              <a:gd name="connsiteX24" fmla="*/ 10048352 w 11860922"/>
              <a:gd name="connsiteY24" fmla="*/ 2869149 h 2969978"/>
              <a:gd name="connsiteX25" fmla="*/ 9555982 w 11860922"/>
              <a:gd name="connsiteY25" fmla="*/ 2859101 h 2969978"/>
              <a:gd name="connsiteX26" fmla="*/ 9445451 w 11860922"/>
              <a:gd name="connsiteY26" fmla="*/ 2849053 h 2969978"/>
              <a:gd name="connsiteX27" fmla="*/ 9415306 w 11860922"/>
              <a:gd name="connsiteY27" fmla="*/ 2828956 h 2969978"/>
              <a:gd name="connsiteX28" fmla="*/ 9204290 w 11860922"/>
              <a:gd name="connsiteY28" fmla="*/ 2808859 h 2969978"/>
              <a:gd name="connsiteX29" fmla="*/ 9073662 w 11860922"/>
              <a:gd name="connsiteY29" fmla="*/ 2788762 h 2969978"/>
              <a:gd name="connsiteX30" fmla="*/ 8812404 w 11860922"/>
              <a:gd name="connsiteY30" fmla="*/ 2778714 h 2969978"/>
              <a:gd name="connsiteX31" fmla="*/ 8400422 w 11860922"/>
              <a:gd name="connsiteY31" fmla="*/ 2768666 h 2969978"/>
              <a:gd name="connsiteX32" fmla="*/ 8269793 w 11860922"/>
              <a:gd name="connsiteY32" fmla="*/ 2758617 h 2969978"/>
              <a:gd name="connsiteX33" fmla="*/ 7797521 w 11860922"/>
              <a:gd name="connsiteY33" fmla="*/ 2778714 h 2969978"/>
              <a:gd name="connsiteX34" fmla="*/ 7717134 w 11860922"/>
              <a:gd name="connsiteY34" fmla="*/ 2788762 h 2969978"/>
              <a:gd name="connsiteX35" fmla="*/ 7486022 w 11860922"/>
              <a:gd name="connsiteY35" fmla="*/ 2818908 h 2969978"/>
              <a:gd name="connsiteX36" fmla="*/ 7395587 w 11860922"/>
              <a:gd name="connsiteY36" fmla="*/ 2839004 h 2969978"/>
              <a:gd name="connsiteX37" fmla="*/ 7325248 w 11860922"/>
              <a:gd name="connsiteY37" fmla="*/ 2849053 h 2969978"/>
              <a:gd name="connsiteX38" fmla="*/ 6863024 w 11860922"/>
              <a:gd name="connsiteY38" fmla="*/ 2839004 h 2969978"/>
              <a:gd name="connsiteX39" fmla="*/ 6722347 w 11860922"/>
              <a:gd name="connsiteY39" fmla="*/ 2828956 h 2969978"/>
              <a:gd name="connsiteX40" fmla="*/ 4903596 w 11860922"/>
              <a:gd name="connsiteY40" fmla="*/ 2879198 h 2969978"/>
              <a:gd name="connsiteX41" fmla="*/ 4722725 w 11860922"/>
              <a:gd name="connsiteY41" fmla="*/ 2919391 h 2969978"/>
              <a:gd name="connsiteX42" fmla="*/ 4300695 w 11860922"/>
              <a:gd name="connsiteY42" fmla="*/ 2899294 h 2969978"/>
              <a:gd name="connsiteX43" fmla="*/ 4059534 w 11860922"/>
              <a:gd name="connsiteY43" fmla="*/ 2859101 h 2969978"/>
              <a:gd name="connsiteX44" fmla="*/ 3768132 w 11860922"/>
              <a:gd name="connsiteY44" fmla="*/ 2828956 h 2969978"/>
              <a:gd name="connsiteX45" fmla="*/ 3627455 w 11860922"/>
              <a:gd name="connsiteY45" fmla="*/ 2818908 h 2969978"/>
              <a:gd name="connsiteX46" fmla="*/ 3125037 w 11860922"/>
              <a:gd name="connsiteY46" fmla="*/ 2828956 h 2969978"/>
              <a:gd name="connsiteX47" fmla="*/ 3064747 w 11860922"/>
              <a:gd name="connsiteY47" fmla="*/ 2839004 h 2969978"/>
              <a:gd name="connsiteX48" fmla="*/ 2009670 w 11860922"/>
              <a:gd name="connsiteY48" fmla="*/ 2849053 h 2969978"/>
              <a:gd name="connsiteX49" fmla="*/ 1678075 w 11860922"/>
              <a:gd name="connsiteY49" fmla="*/ 2939488 h 2969978"/>
              <a:gd name="connsiteX50" fmla="*/ 1607736 w 11860922"/>
              <a:gd name="connsiteY50" fmla="*/ 2969633 h 2969978"/>
              <a:gd name="connsiteX51" fmla="*/ 1135464 w 11860922"/>
              <a:gd name="connsiteY51" fmla="*/ 2949536 h 2969978"/>
              <a:gd name="connsiteX52" fmla="*/ 944545 w 11860922"/>
              <a:gd name="connsiteY52" fmla="*/ 2919391 h 2969978"/>
              <a:gd name="connsiteX53" fmla="*/ 723481 w 11860922"/>
              <a:gd name="connsiteY53" fmla="*/ 2879198 h 2969978"/>
              <a:gd name="connsiteX54" fmla="*/ 643095 w 11860922"/>
              <a:gd name="connsiteY54" fmla="*/ 2869149 h 2969978"/>
              <a:gd name="connsiteX55" fmla="*/ 371789 w 11860922"/>
              <a:gd name="connsiteY55" fmla="*/ 2828956 h 2969978"/>
              <a:gd name="connsiteX56" fmla="*/ 0 w 11860922"/>
              <a:gd name="connsiteY56" fmla="*/ 2818908 h 2969978"/>
              <a:gd name="connsiteX0" fmla="*/ 120580 w 11857648"/>
              <a:gd name="connsiteY0" fmla="*/ 55611 h 2969978"/>
              <a:gd name="connsiteX1" fmla="*/ 281354 w 11857648"/>
              <a:gd name="connsiteY1" fmla="*/ 45562 h 2969978"/>
              <a:gd name="connsiteX2" fmla="*/ 673240 w 11857648"/>
              <a:gd name="connsiteY2" fmla="*/ 35514 h 2969978"/>
              <a:gd name="connsiteX3" fmla="*/ 1356528 w 11857648"/>
              <a:gd name="connsiteY3" fmla="*/ 85756 h 2969978"/>
              <a:gd name="connsiteX4" fmla="*/ 1758462 w 11857648"/>
              <a:gd name="connsiteY4" fmla="*/ 45562 h 2969978"/>
              <a:gd name="connsiteX5" fmla="*/ 2140299 w 11857648"/>
              <a:gd name="connsiteY5" fmla="*/ 45562 h 2969978"/>
              <a:gd name="connsiteX6" fmla="*/ 4652387 w 11857648"/>
              <a:gd name="connsiteY6" fmla="*/ 65659 h 2969978"/>
              <a:gd name="connsiteX7" fmla="*/ 4692580 w 11857648"/>
              <a:gd name="connsiteY7" fmla="*/ 75708 h 2969978"/>
              <a:gd name="connsiteX8" fmla="*/ 6420897 w 11857648"/>
              <a:gd name="connsiteY8" fmla="*/ 95804 h 2969978"/>
              <a:gd name="connsiteX9" fmla="*/ 7184571 w 11857648"/>
              <a:gd name="connsiteY9" fmla="*/ 65659 h 2969978"/>
              <a:gd name="connsiteX10" fmla="*/ 7928150 w 11857648"/>
              <a:gd name="connsiteY10" fmla="*/ 65659 h 2969978"/>
              <a:gd name="connsiteX11" fmla="*/ 8219552 w 11857648"/>
              <a:gd name="connsiteY11" fmla="*/ 95804 h 2969978"/>
              <a:gd name="connsiteX12" fmla="*/ 9606224 w 11857648"/>
              <a:gd name="connsiteY12" fmla="*/ 95804 h 2969978"/>
              <a:gd name="connsiteX13" fmla="*/ 9947868 w 11857648"/>
              <a:gd name="connsiteY13" fmla="*/ 65659 h 2969978"/>
              <a:gd name="connsiteX14" fmla="*/ 10791930 w 11857648"/>
              <a:gd name="connsiteY14" fmla="*/ 35514 h 2969978"/>
              <a:gd name="connsiteX15" fmla="*/ 11736475 w 11857648"/>
              <a:gd name="connsiteY15" fmla="*/ 55611 h 2969978"/>
              <a:gd name="connsiteX16" fmla="*/ 11806813 w 11857648"/>
              <a:gd name="connsiteY16" fmla="*/ 769044 h 2969978"/>
              <a:gd name="connsiteX17" fmla="*/ 11816862 w 11857648"/>
              <a:gd name="connsiteY17" fmla="*/ 2336587 h 2969978"/>
              <a:gd name="connsiteX18" fmla="*/ 11857055 w 11857648"/>
              <a:gd name="connsiteY18" fmla="*/ 2839004 h 2969978"/>
              <a:gd name="connsiteX19" fmla="*/ 11836958 w 11857648"/>
              <a:gd name="connsiteY19" fmla="*/ 2869149 h 2969978"/>
              <a:gd name="connsiteX20" fmla="*/ 11033090 w 11857648"/>
              <a:gd name="connsiteY20" fmla="*/ 2859101 h 2969978"/>
              <a:gd name="connsiteX21" fmla="*/ 10621108 w 11857648"/>
              <a:gd name="connsiteY21" fmla="*/ 2849053 h 2969978"/>
              <a:gd name="connsiteX22" fmla="*/ 10128739 w 11857648"/>
              <a:gd name="connsiteY22" fmla="*/ 2859101 h 2969978"/>
              <a:gd name="connsiteX23" fmla="*/ 10048352 w 11857648"/>
              <a:gd name="connsiteY23" fmla="*/ 2869149 h 2969978"/>
              <a:gd name="connsiteX24" fmla="*/ 9555982 w 11857648"/>
              <a:gd name="connsiteY24" fmla="*/ 2859101 h 2969978"/>
              <a:gd name="connsiteX25" fmla="*/ 9445451 w 11857648"/>
              <a:gd name="connsiteY25" fmla="*/ 2849053 h 2969978"/>
              <a:gd name="connsiteX26" fmla="*/ 9415306 w 11857648"/>
              <a:gd name="connsiteY26" fmla="*/ 2828956 h 2969978"/>
              <a:gd name="connsiteX27" fmla="*/ 9204290 w 11857648"/>
              <a:gd name="connsiteY27" fmla="*/ 2808859 h 2969978"/>
              <a:gd name="connsiteX28" fmla="*/ 9073662 w 11857648"/>
              <a:gd name="connsiteY28" fmla="*/ 2788762 h 2969978"/>
              <a:gd name="connsiteX29" fmla="*/ 8812404 w 11857648"/>
              <a:gd name="connsiteY29" fmla="*/ 2778714 h 2969978"/>
              <a:gd name="connsiteX30" fmla="*/ 8400422 w 11857648"/>
              <a:gd name="connsiteY30" fmla="*/ 2768666 h 2969978"/>
              <a:gd name="connsiteX31" fmla="*/ 8269793 w 11857648"/>
              <a:gd name="connsiteY31" fmla="*/ 2758617 h 2969978"/>
              <a:gd name="connsiteX32" fmla="*/ 7797521 w 11857648"/>
              <a:gd name="connsiteY32" fmla="*/ 2778714 h 2969978"/>
              <a:gd name="connsiteX33" fmla="*/ 7717134 w 11857648"/>
              <a:gd name="connsiteY33" fmla="*/ 2788762 h 2969978"/>
              <a:gd name="connsiteX34" fmla="*/ 7486022 w 11857648"/>
              <a:gd name="connsiteY34" fmla="*/ 2818908 h 2969978"/>
              <a:gd name="connsiteX35" fmla="*/ 7395587 w 11857648"/>
              <a:gd name="connsiteY35" fmla="*/ 2839004 h 2969978"/>
              <a:gd name="connsiteX36" fmla="*/ 7325248 w 11857648"/>
              <a:gd name="connsiteY36" fmla="*/ 2849053 h 2969978"/>
              <a:gd name="connsiteX37" fmla="*/ 6863024 w 11857648"/>
              <a:gd name="connsiteY37" fmla="*/ 2839004 h 2969978"/>
              <a:gd name="connsiteX38" fmla="*/ 6722347 w 11857648"/>
              <a:gd name="connsiteY38" fmla="*/ 2828956 h 2969978"/>
              <a:gd name="connsiteX39" fmla="*/ 4903596 w 11857648"/>
              <a:gd name="connsiteY39" fmla="*/ 2879198 h 2969978"/>
              <a:gd name="connsiteX40" fmla="*/ 4722725 w 11857648"/>
              <a:gd name="connsiteY40" fmla="*/ 2919391 h 2969978"/>
              <a:gd name="connsiteX41" fmla="*/ 4300695 w 11857648"/>
              <a:gd name="connsiteY41" fmla="*/ 2899294 h 2969978"/>
              <a:gd name="connsiteX42" fmla="*/ 4059534 w 11857648"/>
              <a:gd name="connsiteY42" fmla="*/ 2859101 h 2969978"/>
              <a:gd name="connsiteX43" fmla="*/ 3768132 w 11857648"/>
              <a:gd name="connsiteY43" fmla="*/ 2828956 h 2969978"/>
              <a:gd name="connsiteX44" fmla="*/ 3627455 w 11857648"/>
              <a:gd name="connsiteY44" fmla="*/ 2818908 h 2969978"/>
              <a:gd name="connsiteX45" fmla="*/ 3125037 w 11857648"/>
              <a:gd name="connsiteY45" fmla="*/ 2828956 h 2969978"/>
              <a:gd name="connsiteX46" fmla="*/ 3064747 w 11857648"/>
              <a:gd name="connsiteY46" fmla="*/ 2839004 h 2969978"/>
              <a:gd name="connsiteX47" fmla="*/ 2009670 w 11857648"/>
              <a:gd name="connsiteY47" fmla="*/ 2849053 h 2969978"/>
              <a:gd name="connsiteX48" fmla="*/ 1678075 w 11857648"/>
              <a:gd name="connsiteY48" fmla="*/ 2939488 h 2969978"/>
              <a:gd name="connsiteX49" fmla="*/ 1607736 w 11857648"/>
              <a:gd name="connsiteY49" fmla="*/ 2969633 h 2969978"/>
              <a:gd name="connsiteX50" fmla="*/ 1135464 w 11857648"/>
              <a:gd name="connsiteY50" fmla="*/ 2949536 h 2969978"/>
              <a:gd name="connsiteX51" fmla="*/ 944545 w 11857648"/>
              <a:gd name="connsiteY51" fmla="*/ 2919391 h 2969978"/>
              <a:gd name="connsiteX52" fmla="*/ 723481 w 11857648"/>
              <a:gd name="connsiteY52" fmla="*/ 2879198 h 2969978"/>
              <a:gd name="connsiteX53" fmla="*/ 643095 w 11857648"/>
              <a:gd name="connsiteY53" fmla="*/ 2869149 h 2969978"/>
              <a:gd name="connsiteX54" fmla="*/ 371789 w 11857648"/>
              <a:gd name="connsiteY54" fmla="*/ 2828956 h 2969978"/>
              <a:gd name="connsiteX55" fmla="*/ 0 w 11857648"/>
              <a:gd name="connsiteY55" fmla="*/ 2818908 h 2969978"/>
              <a:gd name="connsiteX0" fmla="*/ 120580 w 11907678"/>
              <a:gd name="connsiteY0" fmla="*/ 55611 h 2969978"/>
              <a:gd name="connsiteX1" fmla="*/ 281354 w 11907678"/>
              <a:gd name="connsiteY1" fmla="*/ 45562 h 2969978"/>
              <a:gd name="connsiteX2" fmla="*/ 673240 w 11907678"/>
              <a:gd name="connsiteY2" fmla="*/ 35514 h 2969978"/>
              <a:gd name="connsiteX3" fmla="*/ 1356528 w 11907678"/>
              <a:gd name="connsiteY3" fmla="*/ 85756 h 2969978"/>
              <a:gd name="connsiteX4" fmla="*/ 1758462 w 11907678"/>
              <a:gd name="connsiteY4" fmla="*/ 45562 h 2969978"/>
              <a:gd name="connsiteX5" fmla="*/ 2140299 w 11907678"/>
              <a:gd name="connsiteY5" fmla="*/ 45562 h 2969978"/>
              <a:gd name="connsiteX6" fmla="*/ 4652387 w 11907678"/>
              <a:gd name="connsiteY6" fmla="*/ 65659 h 2969978"/>
              <a:gd name="connsiteX7" fmla="*/ 4692580 w 11907678"/>
              <a:gd name="connsiteY7" fmla="*/ 75708 h 2969978"/>
              <a:gd name="connsiteX8" fmla="*/ 6420897 w 11907678"/>
              <a:gd name="connsiteY8" fmla="*/ 95804 h 2969978"/>
              <a:gd name="connsiteX9" fmla="*/ 7184571 w 11907678"/>
              <a:gd name="connsiteY9" fmla="*/ 65659 h 2969978"/>
              <a:gd name="connsiteX10" fmla="*/ 7928150 w 11907678"/>
              <a:gd name="connsiteY10" fmla="*/ 65659 h 2969978"/>
              <a:gd name="connsiteX11" fmla="*/ 8219552 w 11907678"/>
              <a:gd name="connsiteY11" fmla="*/ 95804 h 2969978"/>
              <a:gd name="connsiteX12" fmla="*/ 9606224 w 11907678"/>
              <a:gd name="connsiteY12" fmla="*/ 95804 h 2969978"/>
              <a:gd name="connsiteX13" fmla="*/ 9947868 w 11907678"/>
              <a:gd name="connsiteY13" fmla="*/ 65659 h 2969978"/>
              <a:gd name="connsiteX14" fmla="*/ 10791930 w 11907678"/>
              <a:gd name="connsiteY14" fmla="*/ 35514 h 2969978"/>
              <a:gd name="connsiteX15" fmla="*/ 11736475 w 11907678"/>
              <a:gd name="connsiteY15" fmla="*/ 55611 h 2969978"/>
              <a:gd name="connsiteX16" fmla="*/ 11806813 w 11907678"/>
              <a:gd name="connsiteY16" fmla="*/ 769044 h 2969978"/>
              <a:gd name="connsiteX17" fmla="*/ 11816862 w 11907678"/>
              <a:gd name="connsiteY17" fmla="*/ 2336587 h 2969978"/>
              <a:gd name="connsiteX18" fmla="*/ 11857055 w 11907678"/>
              <a:gd name="connsiteY18" fmla="*/ 2839004 h 2969978"/>
              <a:gd name="connsiteX19" fmla="*/ 11033090 w 11907678"/>
              <a:gd name="connsiteY19" fmla="*/ 2859101 h 2969978"/>
              <a:gd name="connsiteX20" fmla="*/ 10621108 w 11907678"/>
              <a:gd name="connsiteY20" fmla="*/ 2849053 h 2969978"/>
              <a:gd name="connsiteX21" fmla="*/ 10128739 w 11907678"/>
              <a:gd name="connsiteY21" fmla="*/ 2859101 h 2969978"/>
              <a:gd name="connsiteX22" fmla="*/ 10048352 w 11907678"/>
              <a:gd name="connsiteY22" fmla="*/ 2869149 h 2969978"/>
              <a:gd name="connsiteX23" fmla="*/ 9555982 w 11907678"/>
              <a:gd name="connsiteY23" fmla="*/ 2859101 h 2969978"/>
              <a:gd name="connsiteX24" fmla="*/ 9445451 w 11907678"/>
              <a:gd name="connsiteY24" fmla="*/ 2849053 h 2969978"/>
              <a:gd name="connsiteX25" fmla="*/ 9415306 w 11907678"/>
              <a:gd name="connsiteY25" fmla="*/ 2828956 h 2969978"/>
              <a:gd name="connsiteX26" fmla="*/ 9204290 w 11907678"/>
              <a:gd name="connsiteY26" fmla="*/ 2808859 h 2969978"/>
              <a:gd name="connsiteX27" fmla="*/ 9073662 w 11907678"/>
              <a:gd name="connsiteY27" fmla="*/ 2788762 h 2969978"/>
              <a:gd name="connsiteX28" fmla="*/ 8812404 w 11907678"/>
              <a:gd name="connsiteY28" fmla="*/ 2778714 h 2969978"/>
              <a:gd name="connsiteX29" fmla="*/ 8400422 w 11907678"/>
              <a:gd name="connsiteY29" fmla="*/ 2768666 h 2969978"/>
              <a:gd name="connsiteX30" fmla="*/ 8269793 w 11907678"/>
              <a:gd name="connsiteY30" fmla="*/ 2758617 h 2969978"/>
              <a:gd name="connsiteX31" fmla="*/ 7797521 w 11907678"/>
              <a:gd name="connsiteY31" fmla="*/ 2778714 h 2969978"/>
              <a:gd name="connsiteX32" fmla="*/ 7717134 w 11907678"/>
              <a:gd name="connsiteY32" fmla="*/ 2788762 h 2969978"/>
              <a:gd name="connsiteX33" fmla="*/ 7486022 w 11907678"/>
              <a:gd name="connsiteY33" fmla="*/ 2818908 h 2969978"/>
              <a:gd name="connsiteX34" fmla="*/ 7395587 w 11907678"/>
              <a:gd name="connsiteY34" fmla="*/ 2839004 h 2969978"/>
              <a:gd name="connsiteX35" fmla="*/ 7325248 w 11907678"/>
              <a:gd name="connsiteY35" fmla="*/ 2849053 h 2969978"/>
              <a:gd name="connsiteX36" fmla="*/ 6863024 w 11907678"/>
              <a:gd name="connsiteY36" fmla="*/ 2839004 h 2969978"/>
              <a:gd name="connsiteX37" fmla="*/ 6722347 w 11907678"/>
              <a:gd name="connsiteY37" fmla="*/ 2828956 h 2969978"/>
              <a:gd name="connsiteX38" fmla="*/ 4903596 w 11907678"/>
              <a:gd name="connsiteY38" fmla="*/ 2879198 h 2969978"/>
              <a:gd name="connsiteX39" fmla="*/ 4722725 w 11907678"/>
              <a:gd name="connsiteY39" fmla="*/ 2919391 h 2969978"/>
              <a:gd name="connsiteX40" fmla="*/ 4300695 w 11907678"/>
              <a:gd name="connsiteY40" fmla="*/ 2899294 h 2969978"/>
              <a:gd name="connsiteX41" fmla="*/ 4059534 w 11907678"/>
              <a:gd name="connsiteY41" fmla="*/ 2859101 h 2969978"/>
              <a:gd name="connsiteX42" fmla="*/ 3768132 w 11907678"/>
              <a:gd name="connsiteY42" fmla="*/ 2828956 h 2969978"/>
              <a:gd name="connsiteX43" fmla="*/ 3627455 w 11907678"/>
              <a:gd name="connsiteY43" fmla="*/ 2818908 h 2969978"/>
              <a:gd name="connsiteX44" fmla="*/ 3125037 w 11907678"/>
              <a:gd name="connsiteY44" fmla="*/ 2828956 h 2969978"/>
              <a:gd name="connsiteX45" fmla="*/ 3064747 w 11907678"/>
              <a:gd name="connsiteY45" fmla="*/ 2839004 h 2969978"/>
              <a:gd name="connsiteX46" fmla="*/ 2009670 w 11907678"/>
              <a:gd name="connsiteY46" fmla="*/ 2849053 h 2969978"/>
              <a:gd name="connsiteX47" fmla="*/ 1678075 w 11907678"/>
              <a:gd name="connsiteY47" fmla="*/ 2939488 h 2969978"/>
              <a:gd name="connsiteX48" fmla="*/ 1607736 w 11907678"/>
              <a:gd name="connsiteY48" fmla="*/ 2969633 h 2969978"/>
              <a:gd name="connsiteX49" fmla="*/ 1135464 w 11907678"/>
              <a:gd name="connsiteY49" fmla="*/ 2949536 h 2969978"/>
              <a:gd name="connsiteX50" fmla="*/ 944545 w 11907678"/>
              <a:gd name="connsiteY50" fmla="*/ 2919391 h 2969978"/>
              <a:gd name="connsiteX51" fmla="*/ 723481 w 11907678"/>
              <a:gd name="connsiteY51" fmla="*/ 2879198 h 2969978"/>
              <a:gd name="connsiteX52" fmla="*/ 643095 w 11907678"/>
              <a:gd name="connsiteY52" fmla="*/ 2869149 h 2969978"/>
              <a:gd name="connsiteX53" fmla="*/ 371789 w 11907678"/>
              <a:gd name="connsiteY53" fmla="*/ 2828956 h 2969978"/>
              <a:gd name="connsiteX54" fmla="*/ 0 w 11907678"/>
              <a:gd name="connsiteY54" fmla="*/ 2818908 h 2969978"/>
              <a:gd name="connsiteX0" fmla="*/ 120580 w 11869655"/>
              <a:gd name="connsiteY0" fmla="*/ 55611 h 2969978"/>
              <a:gd name="connsiteX1" fmla="*/ 281354 w 11869655"/>
              <a:gd name="connsiteY1" fmla="*/ 45562 h 2969978"/>
              <a:gd name="connsiteX2" fmla="*/ 673240 w 11869655"/>
              <a:gd name="connsiteY2" fmla="*/ 35514 h 2969978"/>
              <a:gd name="connsiteX3" fmla="*/ 1356528 w 11869655"/>
              <a:gd name="connsiteY3" fmla="*/ 85756 h 2969978"/>
              <a:gd name="connsiteX4" fmla="*/ 1758462 w 11869655"/>
              <a:gd name="connsiteY4" fmla="*/ 45562 h 2969978"/>
              <a:gd name="connsiteX5" fmla="*/ 2140299 w 11869655"/>
              <a:gd name="connsiteY5" fmla="*/ 45562 h 2969978"/>
              <a:gd name="connsiteX6" fmla="*/ 4652387 w 11869655"/>
              <a:gd name="connsiteY6" fmla="*/ 65659 h 2969978"/>
              <a:gd name="connsiteX7" fmla="*/ 4692580 w 11869655"/>
              <a:gd name="connsiteY7" fmla="*/ 75708 h 2969978"/>
              <a:gd name="connsiteX8" fmla="*/ 6420897 w 11869655"/>
              <a:gd name="connsiteY8" fmla="*/ 95804 h 2969978"/>
              <a:gd name="connsiteX9" fmla="*/ 7184571 w 11869655"/>
              <a:gd name="connsiteY9" fmla="*/ 65659 h 2969978"/>
              <a:gd name="connsiteX10" fmla="*/ 7928150 w 11869655"/>
              <a:gd name="connsiteY10" fmla="*/ 65659 h 2969978"/>
              <a:gd name="connsiteX11" fmla="*/ 8219552 w 11869655"/>
              <a:gd name="connsiteY11" fmla="*/ 95804 h 2969978"/>
              <a:gd name="connsiteX12" fmla="*/ 9606224 w 11869655"/>
              <a:gd name="connsiteY12" fmla="*/ 95804 h 2969978"/>
              <a:gd name="connsiteX13" fmla="*/ 9947868 w 11869655"/>
              <a:gd name="connsiteY13" fmla="*/ 65659 h 2969978"/>
              <a:gd name="connsiteX14" fmla="*/ 10791930 w 11869655"/>
              <a:gd name="connsiteY14" fmla="*/ 35514 h 2969978"/>
              <a:gd name="connsiteX15" fmla="*/ 11736475 w 11869655"/>
              <a:gd name="connsiteY15" fmla="*/ 55611 h 2969978"/>
              <a:gd name="connsiteX16" fmla="*/ 11806813 w 11869655"/>
              <a:gd name="connsiteY16" fmla="*/ 769044 h 2969978"/>
              <a:gd name="connsiteX17" fmla="*/ 11816862 w 11869655"/>
              <a:gd name="connsiteY17" fmla="*/ 2336587 h 2969978"/>
              <a:gd name="connsiteX18" fmla="*/ 11806813 w 11869655"/>
              <a:gd name="connsiteY18" fmla="*/ 2828956 h 2969978"/>
              <a:gd name="connsiteX19" fmla="*/ 11033090 w 11869655"/>
              <a:gd name="connsiteY19" fmla="*/ 2859101 h 2969978"/>
              <a:gd name="connsiteX20" fmla="*/ 10621108 w 11869655"/>
              <a:gd name="connsiteY20" fmla="*/ 2849053 h 2969978"/>
              <a:gd name="connsiteX21" fmla="*/ 10128739 w 11869655"/>
              <a:gd name="connsiteY21" fmla="*/ 2859101 h 2969978"/>
              <a:gd name="connsiteX22" fmla="*/ 10048352 w 11869655"/>
              <a:gd name="connsiteY22" fmla="*/ 2869149 h 2969978"/>
              <a:gd name="connsiteX23" fmla="*/ 9555982 w 11869655"/>
              <a:gd name="connsiteY23" fmla="*/ 2859101 h 2969978"/>
              <a:gd name="connsiteX24" fmla="*/ 9445451 w 11869655"/>
              <a:gd name="connsiteY24" fmla="*/ 2849053 h 2969978"/>
              <a:gd name="connsiteX25" fmla="*/ 9415306 w 11869655"/>
              <a:gd name="connsiteY25" fmla="*/ 2828956 h 2969978"/>
              <a:gd name="connsiteX26" fmla="*/ 9204290 w 11869655"/>
              <a:gd name="connsiteY26" fmla="*/ 2808859 h 2969978"/>
              <a:gd name="connsiteX27" fmla="*/ 9073662 w 11869655"/>
              <a:gd name="connsiteY27" fmla="*/ 2788762 h 2969978"/>
              <a:gd name="connsiteX28" fmla="*/ 8812404 w 11869655"/>
              <a:gd name="connsiteY28" fmla="*/ 2778714 h 2969978"/>
              <a:gd name="connsiteX29" fmla="*/ 8400422 w 11869655"/>
              <a:gd name="connsiteY29" fmla="*/ 2768666 h 2969978"/>
              <a:gd name="connsiteX30" fmla="*/ 8269793 w 11869655"/>
              <a:gd name="connsiteY30" fmla="*/ 2758617 h 2969978"/>
              <a:gd name="connsiteX31" fmla="*/ 7797521 w 11869655"/>
              <a:gd name="connsiteY31" fmla="*/ 2778714 h 2969978"/>
              <a:gd name="connsiteX32" fmla="*/ 7717134 w 11869655"/>
              <a:gd name="connsiteY32" fmla="*/ 2788762 h 2969978"/>
              <a:gd name="connsiteX33" fmla="*/ 7486022 w 11869655"/>
              <a:gd name="connsiteY33" fmla="*/ 2818908 h 2969978"/>
              <a:gd name="connsiteX34" fmla="*/ 7395587 w 11869655"/>
              <a:gd name="connsiteY34" fmla="*/ 2839004 h 2969978"/>
              <a:gd name="connsiteX35" fmla="*/ 7325248 w 11869655"/>
              <a:gd name="connsiteY35" fmla="*/ 2849053 h 2969978"/>
              <a:gd name="connsiteX36" fmla="*/ 6863024 w 11869655"/>
              <a:gd name="connsiteY36" fmla="*/ 2839004 h 2969978"/>
              <a:gd name="connsiteX37" fmla="*/ 6722347 w 11869655"/>
              <a:gd name="connsiteY37" fmla="*/ 2828956 h 2969978"/>
              <a:gd name="connsiteX38" fmla="*/ 4903596 w 11869655"/>
              <a:gd name="connsiteY38" fmla="*/ 2879198 h 2969978"/>
              <a:gd name="connsiteX39" fmla="*/ 4722725 w 11869655"/>
              <a:gd name="connsiteY39" fmla="*/ 2919391 h 2969978"/>
              <a:gd name="connsiteX40" fmla="*/ 4300695 w 11869655"/>
              <a:gd name="connsiteY40" fmla="*/ 2899294 h 2969978"/>
              <a:gd name="connsiteX41" fmla="*/ 4059534 w 11869655"/>
              <a:gd name="connsiteY41" fmla="*/ 2859101 h 2969978"/>
              <a:gd name="connsiteX42" fmla="*/ 3768132 w 11869655"/>
              <a:gd name="connsiteY42" fmla="*/ 2828956 h 2969978"/>
              <a:gd name="connsiteX43" fmla="*/ 3627455 w 11869655"/>
              <a:gd name="connsiteY43" fmla="*/ 2818908 h 2969978"/>
              <a:gd name="connsiteX44" fmla="*/ 3125037 w 11869655"/>
              <a:gd name="connsiteY44" fmla="*/ 2828956 h 2969978"/>
              <a:gd name="connsiteX45" fmla="*/ 3064747 w 11869655"/>
              <a:gd name="connsiteY45" fmla="*/ 2839004 h 2969978"/>
              <a:gd name="connsiteX46" fmla="*/ 2009670 w 11869655"/>
              <a:gd name="connsiteY46" fmla="*/ 2849053 h 2969978"/>
              <a:gd name="connsiteX47" fmla="*/ 1678075 w 11869655"/>
              <a:gd name="connsiteY47" fmla="*/ 2939488 h 2969978"/>
              <a:gd name="connsiteX48" fmla="*/ 1607736 w 11869655"/>
              <a:gd name="connsiteY48" fmla="*/ 2969633 h 2969978"/>
              <a:gd name="connsiteX49" fmla="*/ 1135464 w 11869655"/>
              <a:gd name="connsiteY49" fmla="*/ 2949536 h 2969978"/>
              <a:gd name="connsiteX50" fmla="*/ 944545 w 11869655"/>
              <a:gd name="connsiteY50" fmla="*/ 2919391 h 2969978"/>
              <a:gd name="connsiteX51" fmla="*/ 723481 w 11869655"/>
              <a:gd name="connsiteY51" fmla="*/ 2879198 h 2969978"/>
              <a:gd name="connsiteX52" fmla="*/ 643095 w 11869655"/>
              <a:gd name="connsiteY52" fmla="*/ 2869149 h 2969978"/>
              <a:gd name="connsiteX53" fmla="*/ 371789 w 11869655"/>
              <a:gd name="connsiteY53" fmla="*/ 2828956 h 2969978"/>
              <a:gd name="connsiteX54" fmla="*/ 0 w 11869655"/>
              <a:gd name="connsiteY54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621108 w 11851944"/>
              <a:gd name="connsiteY20" fmla="*/ 2849053 h 2969978"/>
              <a:gd name="connsiteX21" fmla="*/ 10128739 w 11851944"/>
              <a:gd name="connsiteY21" fmla="*/ 2859101 h 2969978"/>
              <a:gd name="connsiteX22" fmla="*/ 10048352 w 11851944"/>
              <a:gd name="connsiteY22" fmla="*/ 2869149 h 2969978"/>
              <a:gd name="connsiteX23" fmla="*/ 9555982 w 11851944"/>
              <a:gd name="connsiteY23" fmla="*/ 2859101 h 2969978"/>
              <a:gd name="connsiteX24" fmla="*/ 9445451 w 11851944"/>
              <a:gd name="connsiteY24" fmla="*/ 2849053 h 2969978"/>
              <a:gd name="connsiteX25" fmla="*/ 9415306 w 11851944"/>
              <a:gd name="connsiteY25" fmla="*/ 2828956 h 2969978"/>
              <a:gd name="connsiteX26" fmla="*/ 9204290 w 11851944"/>
              <a:gd name="connsiteY26" fmla="*/ 2808859 h 2969978"/>
              <a:gd name="connsiteX27" fmla="*/ 9073662 w 11851944"/>
              <a:gd name="connsiteY27" fmla="*/ 2788762 h 2969978"/>
              <a:gd name="connsiteX28" fmla="*/ 8812404 w 11851944"/>
              <a:gd name="connsiteY28" fmla="*/ 2778714 h 2969978"/>
              <a:gd name="connsiteX29" fmla="*/ 8400422 w 11851944"/>
              <a:gd name="connsiteY29" fmla="*/ 2768666 h 2969978"/>
              <a:gd name="connsiteX30" fmla="*/ 8269793 w 11851944"/>
              <a:gd name="connsiteY30" fmla="*/ 2758617 h 2969978"/>
              <a:gd name="connsiteX31" fmla="*/ 7797521 w 11851944"/>
              <a:gd name="connsiteY31" fmla="*/ 2778714 h 2969978"/>
              <a:gd name="connsiteX32" fmla="*/ 7717134 w 11851944"/>
              <a:gd name="connsiteY32" fmla="*/ 2788762 h 2969978"/>
              <a:gd name="connsiteX33" fmla="*/ 7486022 w 11851944"/>
              <a:gd name="connsiteY33" fmla="*/ 2818908 h 2969978"/>
              <a:gd name="connsiteX34" fmla="*/ 7395587 w 11851944"/>
              <a:gd name="connsiteY34" fmla="*/ 2839004 h 2969978"/>
              <a:gd name="connsiteX35" fmla="*/ 7325248 w 11851944"/>
              <a:gd name="connsiteY35" fmla="*/ 2849053 h 2969978"/>
              <a:gd name="connsiteX36" fmla="*/ 6863024 w 11851944"/>
              <a:gd name="connsiteY36" fmla="*/ 2839004 h 2969978"/>
              <a:gd name="connsiteX37" fmla="*/ 6722347 w 11851944"/>
              <a:gd name="connsiteY37" fmla="*/ 2828956 h 2969978"/>
              <a:gd name="connsiteX38" fmla="*/ 4903596 w 11851944"/>
              <a:gd name="connsiteY38" fmla="*/ 2879198 h 2969978"/>
              <a:gd name="connsiteX39" fmla="*/ 4722725 w 11851944"/>
              <a:gd name="connsiteY39" fmla="*/ 2919391 h 2969978"/>
              <a:gd name="connsiteX40" fmla="*/ 4300695 w 11851944"/>
              <a:gd name="connsiteY40" fmla="*/ 2899294 h 2969978"/>
              <a:gd name="connsiteX41" fmla="*/ 4059534 w 11851944"/>
              <a:gd name="connsiteY41" fmla="*/ 2859101 h 2969978"/>
              <a:gd name="connsiteX42" fmla="*/ 3768132 w 11851944"/>
              <a:gd name="connsiteY42" fmla="*/ 2828956 h 2969978"/>
              <a:gd name="connsiteX43" fmla="*/ 3627455 w 11851944"/>
              <a:gd name="connsiteY43" fmla="*/ 2818908 h 2969978"/>
              <a:gd name="connsiteX44" fmla="*/ 3125037 w 11851944"/>
              <a:gd name="connsiteY44" fmla="*/ 2828956 h 2969978"/>
              <a:gd name="connsiteX45" fmla="*/ 3064747 w 11851944"/>
              <a:gd name="connsiteY45" fmla="*/ 2839004 h 2969978"/>
              <a:gd name="connsiteX46" fmla="*/ 2009670 w 11851944"/>
              <a:gd name="connsiteY46" fmla="*/ 2849053 h 2969978"/>
              <a:gd name="connsiteX47" fmla="*/ 1678075 w 11851944"/>
              <a:gd name="connsiteY47" fmla="*/ 2939488 h 2969978"/>
              <a:gd name="connsiteX48" fmla="*/ 1607736 w 11851944"/>
              <a:gd name="connsiteY48" fmla="*/ 2969633 h 2969978"/>
              <a:gd name="connsiteX49" fmla="*/ 1135464 w 11851944"/>
              <a:gd name="connsiteY49" fmla="*/ 2949536 h 2969978"/>
              <a:gd name="connsiteX50" fmla="*/ 944545 w 11851944"/>
              <a:gd name="connsiteY50" fmla="*/ 2919391 h 2969978"/>
              <a:gd name="connsiteX51" fmla="*/ 723481 w 11851944"/>
              <a:gd name="connsiteY51" fmla="*/ 2879198 h 2969978"/>
              <a:gd name="connsiteX52" fmla="*/ 643095 w 11851944"/>
              <a:gd name="connsiteY52" fmla="*/ 2869149 h 2969978"/>
              <a:gd name="connsiteX53" fmla="*/ 371789 w 11851944"/>
              <a:gd name="connsiteY53" fmla="*/ 2828956 h 2969978"/>
              <a:gd name="connsiteX54" fmla="*/ 0 w 11851944"/>
              <a:gd name="connsiteY54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10048352 w 11851944"/>
              <a:gd name="connsiteY21" fmla="*/ 2869149 h 2969978"/>
              <a:gd name="connsiteX22" fmla="*/ 9555982 w 11851944"/>
              <a:gd name="connsiteY22" fmla="*/ 2859101 h 2969978"/>
              <a:gd name="connsiteX23" fmla="*/ 9445451 w 11851944"/>
              <a:gd name="connsiteY23" fmla="*/ 2849053 h 2969978"/>
              <a:gd name="connsiteX24" fmla="*/ 9415306 w 11851944"/>
              <a:gd name="connsiteY24" fmla="*/ 2828956 h 2969978"/>
              <a:gd name="connsiteX25" fmla="*/ 9204290 w 11851944"/>
              <a:gd name="connsiteY25" fmla="*/ 2808859 h 2969978"/>
              <a:gd name="connsiteX26" fmla="*/ 9073662 w 11851944"/>
              <a:gd name="connsiteY26" fmla="*/ 2788762 h 2969978"/>
              <a:gd name="connsiteX27" fmla="*/ 8812404 w 11851944"/>
              <a:gd name="connsiteY27" fmla="*/ 2778714 h 2969978"/>
              <a:gd name="connsiteX28" fmla="*/ 8400422 w 11851944"/>
              <a:gd name="connsiteY28" fmla="*/ 2768666 h 2969978"/>
              <a:gd name="connsiteX29" fmla="*/ 8269793 w 11851944"/>
              <a:gd name="connsiteY29" fmla="*/ 2758617 h 2969978"/>
              <a:gd name="connsiteX30" fmla="*/ 7797521 w 11851944"/>
              <a:gd name="connsiteY30" fmla="*/ 2778714 h 2969978"/>
              <a:gd name="connsiteX31" fmla="*/ 7717134 w 11851944"/>
              <a:gd name="connsiteY31" fmla="*/ 2788762 h 2969978"/>
              <a:gd name="connsiteX32" fmla="*/ 7486022 w 11851944"/>
              <a:gd name="connsiteY32" fmla="*/ 2818908 h 2969978"/>
              <a:gd name="connsiteX33" fmla="*/ 7395587 w 11851944"/>
              <a:gd name="connsiteY33" fmla="*/ 2839004 h 2969978"/>
              <a:gd name="connsiteX34" fmla="*/ 7325248 w 11851944"/>
              <a:gd name="connsiteY34" fmla="*/ 2849053 h 2969978"/>
              <a:gd name="connsiteX35" fmla="*/ 6863024 w 11851944"/>
              <a:gd name="connsiteY35" fmla="*/ 2839004 h 2969978"/>
              <a:gd name="connsiteX36" fmla="*/ 6722347 w 11851944"/>
              <a:gd name="connsiteY36" fmla="*/ 2828956 h 2969978"/>
              <a:gd name="connsiteX37" fmla="*/ 4903596 w 11851944"/>
              <a:gd name="connsiteY37" fmla="*/ 2879198 h 2969978"/>
              <a:gd name="connsiteX38" fmla="*/ 4722725 w 11851944"/>
              <a:gd name="connsiteY38" fmla="*/ 2919391 h 2969978"/>
              <a:gd name="connsiteX39" fmla="*/ 4300695 w 11851944"/>
              <a:gd name="connsiteY39" fmla="*/ 2899294 h 2969978"/>
              <a:gd name="connsiteX40" fmla="*/ 4059534 w 11851944"/>
              <a:gd name="connsiteY40" fmla="*/ 2859101 h 2969978"/>
              <a:gd name="connsiteX41" fmla="*/ 3768132 w 11851944"/>
              <a:gd name="connsiteY41" fmla="*/ 2828956 h 2969978"/>
              <a:gd name="connsiteX42" fmla="*/ 3627455 w 11851944"/>
              <a:gd name="connsiteY42" fmla="*/ 2818908 h 2969978"/>
              <a:gd name="connsiteX43" fmla="*/ 3125037 w 11851944"/>
              <a:gd name="connsiteY43" fmla="*/ 2828956 h 2969978"/>
              <a:gd name="connsiteX44" fmla="*/ 3064747 w 11851944"/>
              <a:gd name="connsiteY44" fmla="*/ 2839004 h 2969978"/>
              <a:gd name="connsiteX45" fmla="*/ 2009670 w 11851944"/>
              <a:gd name="connsiteY45" fmla="*/ 2849053 h 2969978"/>
              <a:gd name="connsiteX46" fmla="*/ 1678075 w 11851944"/>
              <a:gd name="connsiteY46" fmla="*/ 2939488 h 2969978"/>
              <a:gd name="connsiteX47" fmla="*/ 1607736 w 11851944"/>
              <a:gd name="connsiteY47" fmla="*/ 2969633 h 2969978"/>
              <a:gd name="connsiteX48" fmla="*/ 1135464 w 11851944"/>
              <a:gd name="connsiteY48" fmla="*/ 2949536 h 2969978"/>
              <a:gd name="connsiteX49" fmla="*/ 944545 w 11851944"/>
              <a:gd name="connsiteY49" fmla="*/ 2919391 h 2969978"/>
              <a:gd name="connsiteX50" fmla="*/ 723481 w 11851944"/>
              <a:gd name="connsiteY50" fmla="*/ 2879198 h 2969978"/>
              <a:gd name="connsiteX51" fmla="*/ 643095 w 11851944"/>
              <a:gd name="connsiteY51" fmla="*/ 2869149 h 2969978"/>
              <a:gd name="connsiteX52" fmla="*/ 371789 w 11851944"/>
              <a:gd name="connsiteY52" fmla="*/ 2828956 h 2969978"/>
              <a:gd name="connsiteX53" fmla="*/ 0 w 11851944"/>
              <a:gd name="connsiteY53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10048352 w 11851944"/>
              <a:gd name="connsiteY21" fmla="*/ 2869149 h 2969978"/>
              <a:gd name="connsiteX22" fmla="*/ 9555982 w 11851944"/>
              <a:gd name="connsiteY22" fmla="*/ 2859101 h 2969978"/>
              <a:gd name="connsiteX23" fmla="*/ 9445451 w 11851944"/>
              <a:gd name="connsiteY23" fmla="*/ 2849053 h 2969978"/>
              <a:gd name="connsiteX24" fmla="*/ 9204290 w 11851944"/>
              <a:gd name="connsiteY24" fmla="*/ 2808859 h 2969978"/>
              <a:gd name="connsiteX25" fmla="*/ 9073662 w 11851944"/>
              <a:gd name="connsiteY25" fmla="*/ 2788762 h 2969978"/>
              <a:gd name="connsiteX26" fmla="*/ 8812404 w 11851944"/>
              <a:gd name="connsiteY26" fmla="*/ 2778714 h 2969978"/>
              <a:gd name="connsiteX27" fmla="*/ 8400422 w 11851944"/>
              <a:gd name="connsiteY27" fmla="*/ 2768666 h 2969978"/>
              <a:gd name="connsiteX28" fmla="*/ 8269793 w 11851944"/>
              <a:gd name="connsiteY28" fmla="*/ 2758617 h 2969978"/>
              <a:gd name="connsiteX29" fmla="*/ 7797521 w 11851944"/>
              <a:gd name="connsiteY29" fmla="*/ 2778714 h 2969978"/>
              <a:gd name="connsiteX30" fmla="*/ 7717134 w 11851944"/>
              <a:gd name="connsiteY30" fmla="*/ 2788762 h 2969978"/>
              <a:gd name="connsiteX31" fmla="*/ 7486022 w 11851944"/>
              <a:gd name="connsiteY31" fmla="*/ 2818908 h 2969978"/>
              <a:gd name="connsiteX32" fmla="*/ 7395587 w 11851944"/>
              <a:gd name="connsiteY32" fmla="*/ 2839004 h 2969978"/>
              <a:gd name="connsiteX33" fmla="*/ 7325248 w 11851944"/>
              <a:gd name="connsiteY33" fmla="*/ 2849053 h 2969978"/>
              <a:gd name="connsiteX34" fmla="*/ 6863024 w 11851944"/>
              <a:gd name="connsiteY34" fmla="*/ 2839004 h 2969978"/>
              <a:gd name="connsiteX35" fmla="*/ 6722347 w 11851944"/>
              <a:gd name="connsiteY35" fmla="*/ 2828956 h 2969978"/>
              <a:gd name="connsiteX36" fmla="*/ 4903596 w 11851944"/>
              <a:gd name="connsiteY36" fmla="*/ 2879198 h 2969978"/>
              <a:gd name="connsiteX37" fmla="*/ 4722725 w 11851944"/>
              <a:gd name="connsiteY37" fmla="*/ 2919391 h 2969978"/>
              <a:gd name="connsiteX38" fmla="*/ 4300695 w 11851944"/>
              <a:gd name="connsiteY38" fmla="*/ 2899294 h 2969978"/>
              <a:gd name="connsiteX39" fmla="*/ 4059534 w 11851944"/>
              <a:gd name="connsiteY39" fmla="*/ 2859101 h 2969978"/>
              <a:gd name="connsiteX40" fmla="*/ 3768132 w 11851944"/>
              <a:gd name="connsiteY40" fmla="*/ 2828956 h 2969978"/>
              <a:gd name="connsiteX41" fmla="*/ 3627455 w 11851944"/>
              <a:gd name="connsiteY41" fmla="*/ 2818908 h 2969978"/>
              <a:gd name="connsiteX42" fmla="*/ 3125037 w 11851944"/>
              <a:gd name="connsiteY42" fmla="*/ 2828956 h 2969978"/>
              <a:gd name="connsiteX43" fmla="*/ 3064747 w 11851944"/>
              <a:gd name="connsiteY43" fmla="*/ 2839004 h 2969978"/>
              <a:gd name="connsiteX44" fmla="*/ 2009670 w 11851944"/>
              <a:gd name="connsiteY44" fmla="*/ 2849053 h 2969978"/>
              <a:gd name="connsiteX45" fmla="*/ 1678075 w 11851944"/>
              <a:gd name="connsiteY45" fmla="*/ 2939488 h 2969978"/>
              <a:gd name="connsiteX46" fmla="*/ 1607736 w 11851944"/>
              <a:gd name="connsiteY46" fmla="*/ 2969633 h 2969978"/>
              <a:gd name="connsiteX47" fmla="*/ 1135464 w 11851944"/>
              <a:gd name="connsiteY47" fmla="*/ 2949536 h 2969978"/>
              <a:gd name="connsiteX48" fmla="*/ 944545 w 11851944"/>
              <a:gd name="connsiteY48" fmla="*/ 2919391 h 2969978"/>
              <a:gd name="connsiteX49" fmla="*/ 723481 w 11851944"/>
              <a:gd name="connsiteY49" fmla="*/ 2879198 h 2969978"/>
              <a:gd name="connsiteX50" fmla="*/ 643095 w 11851944"/>
              <a:gd name="connsiteY50" fmla="*/ 2869149 h 2969978"/>
              <a:gd name="connsiteX51" fmla="*/ 371789 w 11851944"/>
              <a:gd name="connsiteY51" fmla="*/ 2828956 h 2969978"/>
              <a:gd name="connsiteX52" fmla="*/ 0 w 11851944"/>
              <a:gd name="connsiteY52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10048352 w 11851944"/>
              <a:gd name="connsiteY21" fmla="*/ 2869149 h 2969978"/>
              <a:gd name="connsiteX22" fmla="*/ 9555982 w 11851944"/>
              <a:gd name="connsiteY22" fmla="*/ 2859101 h 2969978"/>
              <a:gd name="connsiteX23" fmla="*/ 9204290 w 11851944"/>
              <a:gd name="connsiteY23" fmla="*/ 2808859 h 2969978"/>
              <a:gd name="connsiteX24" fmla="*/ 9073662 w 11851944"/>
              <a:gd name="connsiteY24" fmla="*/ 2788762 h 2969978"/>
              <a:gd name="connsiteX25" fmla="*/ 8812404 w 11851944"/>
              <a:gd name="connsiteY25" fmla="*/ 2778714 h 2969978"/>
              <a:gd name="connsiteX26" fmla="*/ 8400422 w 11851944"/>
              <a:gd name="connsiteY26" fmla="*/ 2768666 h 2969978"/>
              <a:gd name="connsiteX27" fmla="*/ 8269793 w 11851944"/>
              <a:gd name="connsiteY27" fmla="*/ 2758617 h 2969978"/>
              <a:gd name="connsiteX28" fmla="*/ 7797521 w 11851944"/>
              <a:gd name="connsiteY28" fmla="*/ 2778714 h 2969978"/>
              <a:gd name="connsiteX29" fmla="*/ 7717134 w 11851944"/>
              <a:gd name="connsiteY29" fmla="*/ 2788762 h 2969978"/>
              <a:gd name="connsiteX30" fmla="*/ 7486022 w 11851944"/>
              <a:gd name="connsiteY30" fmla="*/ 2818908 h 2969978"/>
              <a:gd name="connsiteX31" fmla="*/ 7395587 w 11851944"/>
              <a:gd name="connsiteY31" fmla="*/ 2839004 h 2969978"/>
              <a:gd name="connsiteX32" fmla="*/ 7325248 w 11851944"/>
              <a:gd name="connsiteY32" fmla="*/ 2849053 h 2969978"/>
              <a:gd name="connsiteX33" fmla="*/ 6863024 w 11851944"/>
              <a:gd name="connsiteY33" fmla="*/ 2839004 h 2969978"/>
              <a:gd name="connsiteX34" fmla="*/ 6722347 w 11851944"/>
              <a:gd name="connsiteY34" fmla="*/ 2828956 h 2969978"/>
              <a:gd name="connsiteX35" fmla="*/ 4903596 w 11851944"/>
              <a:gd name="connsiteY35" fmla="*/ 2879198 h 2969978"/>
              <a:gd name="connsiteX36" fmla="*/ 4722725 w 11851944"/>
              <a:gd name="connsiteY36" fmla="*/ 2919391 h 2969978"/>
              <a:gd name="connsiteX37" fmla="*/ 4300695 w 11851944"/>
              <a:gd name="connsiteY37" fmla="*/ 2899294 h 2969978"/>
              <a:gd name="connsiteX38" fmla="*/ 4059534 w 11851944"/>
              <a:gd name="connsiteY38" fmla="*/ 2859101 h 2969978"/>
              <a:gd name="connsiteX39" fmla="*/ 3768132 w 11851944"/>
              <a:gd name="connsiteY39" fmla="*/ 2828956 h 2969978"/>
              <a:gd name="connsiteX40" fmla="*/ 3627455 w 11851944"/>
              <a:gd name="connsiteY40" fmla="*/ 2818908 h 2969978"/>
              <a:gd name="connsiteX41" fmla="*/ 3125037 w 11851944"/>
              <a:gd name="connsiteY41" fmla="*/ 2828956 h 2969978"/>
              <a:gd name="connsiteX42" fmla="*/ 3064747 w 11851944"/>
              <a:gd name="connsiteY42" fmla="*/ 2839004 h 2969978"/>
              <a:gd name="connsiteX43" fmla="*/ 2009670 w 11851944"/>
              <a:gd name="connsiteY43" fmla="*/ 2849053 h 2969978"/>
              <a:gd name="connsiteX44" fmla="*/ 1678075 w 11851944"/>
              <a:gd name="connsiteY44" fmla="*/ 2939488 h 2969978"/>
              <a:gd name="connsiteX45" fmla="*/ 1607736 w 11851944"/>
              <a:gd name="connsiteY45" fmla="*/ 2969633 h 2969978"/>
              <a:gd name="connsiteX46" fmla="*/ 1135464 w 11851944"/>
              <a:gd name="connsiteY46" fmla="*/ 2949536 h 2969978"/>
              <a:gd name="connsiteX47" fmla="*/ 944545 w 11851944"/>
              <a:gd name="connsiteY47" fmla="*/ 2919391 h 2969978"/>
              <a:gd name="connsiteX48" fmla="*/ 723481 w 11851944"/>
              <a:gd name="connsiteY48" fmla="*/ 2879198 h 2969978"/>
              <a:gd name="connsiteX49" fmla="*/ 643095 w 11851944"/>
              <a:gd name="connsiteY49" fmla="*/ 2869149 h 2969978"/>
              <a:gd name="connsiteX50" fmla="*/ 371789 w 11851944"/>
              <a:gd name="connsiteY50" fmla="*/ 2828956 h 2969978"/>
              <a:gd name="connsiteX51" fmla="*/ 0 w 11851944"/>
              <a:gd name="connsiteY51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8400422 w 11851944"/>
              <a:gd name="connsiteY25" fmla="*/ 2768666 h 2969978"/>
              <a:gd name="connsiteX26" fmla="*/ 8269793 w 11851944"/>
              <a:gd name="connsiteY26" fmla="*/ 2758617 h 2969978"/>
              <a:gd name="connsiteX27" fmla="*/ 7797521 w 11851944"/>
              <a:gd name="connsiteY27" fmla="*/ 2778714 h 2969978"/>
              <a:gd name="connsiteX28" fmla="*/ 7717134 w 11851944"/>
              <a:gd name="connsiteY28" fmla="*/ 2788762 h 2969978"/>
              <a:gd name="connsiteX29" fmla="*/ 7486022 w 11851944"/>
              <a:gd name="connsiteY29" fmla="*/ 2818908 h 2969978"/>
              <a:gd name="connsiteX30" fmla="*/ 7395587 w 11851944"/>
              <a:gd name="connsiteY30" fmla="*/ 2839004 h 2969978"/>
              <a:gd name="connsiteX31" fmla="*/ 7325248 w 11851944"/>
              <a:gd name="connsiteY31" fmla="*/ 2849053 h 2969978"/>
              <a:gd name="connsiteX32" fmla="*/ 6863024 w 11851944"/>
              <a:gd name="connsiteY32" fmla="*/ 2839004 h 2969978"/>
              <a:gd name="connsiteX33" fmla="*/ 6722347 w 11851944"/>
              <a:gd name="connsiteY33" fmla="*/ 2828956 h 2969978"/>
              <a:gd name="connsiteX34" fmla="*/ 4903596 w 11851944"/>
              <a:gd name="connsiteY34" fmla="*/ 2879198 h 2969978"/>
              <a:gd name="connsiteX35" fmla="*/ 4722725 w 11851944"/>
              <a:gd name="connsiteY35" fmla="*/ 2919391 h 2969978"/>
              <a:gd name="connsiteX36" fmla="*/ 4300695 w 11851944"/>
              <a:gd name="connsiteY36" fmla="*/ 2899294 h 2969978"/>
              <a:gd name="connsiteX37" fmla="*/ 4059534 w 11851944"/>
              <a:gd name="connsiteY37" fmla="*/ 2859101 h 2969978"/>
              <a:gd name="connsiteX38" fmla="*/ 3768132 w 11851944"/>
              <a:gd name="connsiteY38" fmla="*/ 2828956 h 2969978"/>
              <a:gd name="connsiteX39" fmla="*/ 3627455 w 11851944"/>
              <a:gd name="connsiteY39" fmla="*/ 2818908 h 2969978"/>
              <a:gd name="connsiteX40" fmla="*/ 3125037 w 11851944"/>
              <a:gd name="connsiteY40" fmla="*/ 2828956 h 2969978"/>
              <a:gd name="connsiteX41" fmla="*/ 3064747 w 11851944"/>
              <a:gd name="connsiteY41" fmla="*/ 2839004 h 2969978"/>
              <a:gd name="connsiteX42" fmla="*/ 2009670 w 11851944"/>
              <a:gd name="connsiteY42" fmla="*/ 2849053 h 2969978"/>
              <a:gd name="connsiteX43" fmla="*/ 1678075 w 11851944"/>
              <a:gd name="connsiteY43" fmla="*/ 2939488 h 2969978"/>
              <a:gd name="connsiteX44" fmla="*/ 1607736 w 11851944"/>
              <a:gd name="connsiteY44" fmla="*/ 2969633 h 2969978"/>
              <a:gd name="connsiteX45" fmla="*/ 1135464 w 11851944"/>
              <a:gd name="connsiteY45" fmla="*/ 2949536 h 2969978"/>
              <a:gd name="connsiteX46" fmla="*/ 944545 w 11851944"/>
              <a:gd name="connsiteY46" fmla="*/ 2919391 h 2969978"/>
              <a:gd name="connsiteX47" fmla="*/ 723481 w 11851944"/>
              <a:gd name="connsiteY47" fmla="*/ 2879198 h 2969978"/>
              <a:gd name="connsiteX48" fmla="*/ 643095 w 11851944"/>
              <a:gd name="connsiteY48" fmla="*/ 2869149 h 2969978"/>
              <a:gd name="connsiteX49" fmla="*/ 371789 w 11851944"/>
              <a:gd name="connsiteY49" fmla="*/ 2828956 h 2969978"/>
              <a:gd name="connsiteX50" fmla="*/ 0 w 11851944"/>
              <a:gd name="connsiteY50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8269793 w 11851944"/>
              <a:gd name="connsiteY25" fmla="*/ 2758617 h 2969978"/>
              <a:gd name="connsiteX26" fmla="*/ 7797521 w 11851944"/>
              <a:gd name="connsiteY26" fmla="*/ 2778714 h 2969978"/>
              <a:gd name="connsiteX27" fmla="*/ 7717134 w 11851944"/>
              <a:gd name="connsiteY27" fmla="*/ 2788762 h 2969978"/>
              <a:gd name="connsiteX28" fmla="*/ 7486022 w 11851944"/>
              <a:gd name="connsiteY28" fmla="*/ 2818908 h 2969978"/>
              <a:gd name="connsiteX29" fmla="*/ 7395587 w 11851944"/>
              <a:gd name="connsiteY29" fmla="*/ 2839004 h 2969978"/>
              <a:gd name="connsiteX30" fmla="*/ 7325248 w 11851944"/>
              <a:gd name="connsiteY30" fmla="*/ 2849053 h 2969978"/>
              <a:gd name="connsiteX31" fmla="*/ 6863024 w 11851944"/>
              <a:gd name="connsiteY31" fmla="*/ 2839004 h 2969978"/>
              <a:gd name="connsiteX32" fmla="*/ 6722347 w 11851944"/>
              <a:gd name="connsiteY32" fmla="*/ 2828956 h 2969978"/>
              <a:gd name="connsiteX33" fmla="*/ 4903596 w 11851944"/>
              <a:gd name="connsiteY33" fmla="*/ 2879198 h 2969978"/>
              <a:gd name="connsiteX34" fmla="*/ 4722725 w 11851944"/>
              <a:gd name="connsiteY34" fmla="*/ 2919391 h 2969978"/>
              <a:gd name="connsiteX35" fmla="*/ 4300695 w 11851944"/>
              <a:gd name="connsiteY35" fmla="*/ 2899294 h 2969978"/>
              <a:gd name="connsiteX36" fmla="*/ 4059534 w 11851944"/>
              <a:gd name="connsiteY36" fmla="*/ 2859101 h 2969978"/>
              <a:gd name="connsiteX37" fmla="*/ 3768132 w 11851944"/>
              <a:gd name="connsiteY37" fmla="*/ 2828956 h 2969978"/>
              <a:gd name="connsiteX38" fmla="*/ 3627455 w 11851944"/>
              <a:gd name="connsiteY38" fmla="*/ 2818908 h 2969978"/>
              <a:gd name="connsiteX39" fmla="*/ 3125037 w 11851944"/>
              <a:gd name="connsiteY39" fmla="*/ 2828956 h 2969978"/>
              <a:gd name="connsiteX40" fmla="*/ 3064747 w 11851944"/>
              <a:gd name="connsiteY40" fmla="*/ 2839004 h 2969978"/>
              <a:gd name="connsiteX41" fmla="*/ 2009670 w 11851944"/>
              <a:gd name="connsiteY41" fmla="*/ 2849053 h 2969978"/>
              <a:gd name="connsiteX42" fmla="*/ 1678075 w 11851944"/>
              <a:gd name="connsiteY42" fmla="*/ 2939488 h 2969978"/>
              <a:gd name="connsiteX43" fmla="*/ 1607736 w 11851944"/>
              <a:gd name="connsiteY43" fmla="*/ 2969633 h 2969978"/>
              <a:gd name="connsiteX44" fmla="*/ 1135464 w 11851944"/>
              <a:gd name="connsiteY44" fmla="*/ 2949536 h 2969978"/>
              <a:gd name="connsiteX45" fmla="*/ 944545 w 11851944"/>
              <a:gd name="connsiteY45" fmla="*/ 2919391 h 2969978"/>
              <a:gd name="connsiteX46" fmla="*/ 723481 w 11851944"/>
              <a:gd name="connsiteY46" fmla="*/ 2879198 h 2969978"/>
              <a:gd name="connsiteX47" fmla="*/ 643095 w 11851944"/>
              <a:gd name="connsiteY47" fmla="*/ 2869149 h 2969978"/>
              <a:gd name="connsiteX48" fmla="*/ 371789 w 11851944"/>
              <a:gd name="connsiteY48" fmla="*/ 2828956 h 2969978"/>
              <a:gd name="connsiteX49" fmla="*/ 0 w 11851944"/>
              <a:gd name="connsiteY49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7797521 w 11851944"/>
              <a:gd name="connsiteY25" fmla="*/ 2778714 h 2969978"/>
              <a:gd name="connsiteX26" fmla="*/ 7717134 w 11851944"/>
              <a:gd name="connsiteY26" fmla="*/ 2788762 h 2969978"/>
              <a:gd name="connsiteX27" fmla="*/ 7486022 w 11851944"/>
              <a:gd name="connsiteY27" fmla="*/ 2818908 h 2969978"/>
              <a:gd name="connsiteX28" fmla="*/ 7395587 w 11851944"/>
              <a:gd name="connsiteY28" fmla="*/ 2839004 h 2969978"/>
              <a:gd name="connsiteX29" fmla="*/ 7325248 w 11851944"/>
              <a:gd name="connsiteY29" fmla="*/ 2849053 h 2969978"/>
              <a:gd name="connsiteX30" fmla="*/ 6863024 w 11851944"/>
              <a:gd name="connsiteY30" fmla="*/ 2839004 h 2969978"/>
              <a:gd name="connsiteX31" fmla="*/ 6722347 w 11851944"/>
              <a:gd name="connsiteY31" fmla="*/ 2828956 h 2969978"/>
              <a:gd name="connsiteX32" fmla="*/ 4903596 w 11851944"/>
              <a:gd name="connsiteY32" fmla="*/ 2879198 h 2969978"/>
              <a:gd name="connsiteX33" fmla="*/ 4722725 w 11851944"/>
              <a:gd name="connsiteY33" fmla="*/ 2919391 h 2969978"/>
              <a:gd name="connsiteX34" fmla="*/ 4300695 w 11851944"/>
              <a:gd name="connsiteY34" fmla="*/ 2899294 h 2969978"/>
              <a:gd name="connsiteX35" fmla="*/ 4059534 w 11851944"/>
              <a:gd name="connsiteY35" fmla="*/ 2859101 h 2969978"/>
              <a:gd name="connsiteX36" fmla="*/ 3768132 w 11851944"/>
              <a:gd name="connsiteY36" fmla="*/ 2828956 h 2969978"/>
              <a:gd name="connsiteX37" fmla="*/ 3627455 w 11851944"/>
              <a:gd name="connsiteY37" fmla="*/ 2818908 h 2969978"/>
              <a:gd name="connsiteX38" fmla="*/ 3125037 w 11851944"/>
              <a:gd name="connsiteY38" fmla="*/ 2828956 h 2969978"/>
              <a:gd name="connsiteX39" fmla="*/ 3064747 w 11851944"/>
              <a:gd name="connsiteY39" fmla="*/ 2839004 h 2969978"/>
              <a:gd name="connsiteX40" fmla="*/ 2009670 w 11851944"/>
              <a:gd name="connsiteY40" fmla="*/ 2849053 h 2969978"/>
              <a:gd name="connsiteX41" fmla="*/ 1678075 w 11851944"/>
              <a:gd name="connsiteY41" fmla="*/ 2939488 h 2969978"/>
              <a:gd name="connsiteX42" fmla="*/ 1607736 w 11851944"/>
              <a:gd name="connsiteY42" fmla="*/ 2969633 h 2969978"/>
              <a:gd name="connsiteX43" fmla="*/ 1135464 w 11851944"/>
              <a:gd name="connsiteY43" fmla="*/ 2949536 h 2969978"/>
              <a:gd name="connsiteX44" fmla="*/ 944545 w 11851944"/>
              <a:gd name="connsiteY44" fmla="*/ 2919391 h 2969978"/>
              <a:gd name="connsiteX45" fmla="*/ 723481 w 11851944"/>
              <a:gd name="connsiteY45" fmla="*/ 2879198 h 2969978"/>
              <a:gd name="connsiteX46" fmla="*/ 643095 w 11851944"/>
              <a:gd name="connsiteY46" fmla="*/ 2869149 h 2969978"/>
              <a:gd name="connsiteX47" fmla="*/ 371789 w 11851944"/>
              <a:gd name="connsiteY47" fmla="*/ 2828956 h 2969978"/>
              <a:gd name="connsiteX48" fmla="*/ 0 w 11851944"/>
              <a:gd name="connsiteY48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7797521 w 11851944"/>
              <a:gd name="connsiteY25" fmla="*/ 2778714 h 2969978"/>
              <a:gd name="connsiteX26" fmla="*/ 7486022 w 11851944"/>
              <a:gd name="connsiteY26" fmla="*/ 2818908 h 2969978"/>
              <a:gd name="connsiteX27" fmla="*/ 7395587 w 11851944"/>
              <a:gd name="connsiteY27" fmla="*/ 2839004 h 2969978"/>
              <a:gd name="connsiteX28" fmla="*/ 7325248 w 11851944"/>
              <a:gd name="connsiteY28" fmla="*/ 2849053 h 2969978"/>
              <a:gd name="connsiteX29" fmla="*/ 6863024 w 11851944"/>
              <a:gd name="connsiteY29" fmla="*/ 2839004 h 2969978"/>
              <a:gd name="connsiteX30" fmla="*/ 6722347 w 11851944"/>
              <a:gd name="connsiteY30" fmla="*/ 2828956 h 2969978"/>
              <a:gd name="connsiteX31" fmla="*/ 4903596 w 11851944"/>
              <a:gd name="connsiteY31" fmla="*/ 2879198 h 2969978"/>
              <a:gd name="connsiteX32" fmla="*/ 4722725 w 11851944"/>
              <a:gd name="connsiteY32" fmla="*/ 2919391 h 2969978"/>
              <a:gd name="connsiteX33" fmla="*/ 4300695 w 11851944"/>
              <a:gd name="connsiteY33" fmla="*/ 2899294 h 2969978"/>
              <a:gd name="connsiteX34" fmla="*/ 4059534 w 11851944"/>
              <a:gd name="connsiteY34" fmla="*/ 2859101 h 2969978"/>
              <a:gd name="connsiteX35" fmla="*/ 3768132 w 11851944"/>
              <a:gd name="connsiteY35" fmla="*/ 2828956 h 2969978"/>
              <a:gd name="connsiteX36" fmla="*/ 3627455 w 11851944"/>
              <a:gd name="connsiteY36" fmla="*/ 2818908 h 2969978"/>
              <a:gd name="connsiteX37" fmla="*/ 3125037 w 11851944"/>
              <a:gd name="connsiteY37" fmla="*/ 2828956 h 2969978"/>
              <a:gd name="connsiteX38" fmla="*/ 3064747 w 11851944"/>
              <a:gd name="connsiteY38" fmla="*/ 2839004 h 2969978"/>
              <a:gd name="connsiteX39" fmla="*/ 2009670 w 11851944"/>
              <a:gd name="connsiteY39" fmla="*/ 2849053 h 2969978"/>
              <a:gd name="connsiteX40" fmla="*/ 1678075 w 11851944"/>
              <a:gd name="connsiteY40" fmla="*/ 2939488 h 2969978"/>
              <a:gd name="connsiteX41" fmla="*/ 1607736 w 11851944"/>
              <a:gd name="connsiteY41" fmla="*/ 2969633 h 2969978"/>
              <a:gd name="connsiteX42" fmla="*/ 1135464 w 11851944"/>
              <a:gd name="connsiteY42" fmla="*/ 2949536 h 2969978"/>
              <a:gd name="connsiteX43" fmla="*/ 944545 w 11851944"/>
              <a:gd name="connsiteY43" fmla="*/ 2919391 h 2969978"/>
              <a:gd name="connsiteX44" fmla="*/ 723481 w 11851944"/>
              <a:gd name="connsiteY44" fmla="*/ 2879198 h 2969978"/>
              <a:gd name="connsiteX45" fmla="*/ 643095 w 11851944"/>
              <a:gd name="connsiteY45" fmla="*/ 2869149 h 2969978"/>
              <a:gd name="connsiteX46" fmla="*/ 371789 w 11851944"/>
              <a:gd name="connsiteY46" fmla="*/ 2828956 h 2969978"/>
              <a:gd name="connsiteX47" fmla="*/ 0 w 11851944"/>
              <a:gd name="connsiteY47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7486022 w 11851944"/>
              <a:gd name="connsiteY25" fmla="*/ 2818908 h 2969978"/>
              <a:gd name="connsiteX26" fmla="*/ 7395587 w 11851944"/>
              <a:gd name="connsiteY26" fmla="*/ 2839004 h 2969978"/>
              <a:gd name="connsiteX27" fmla="*/ 7325248 w 11851944"/>
              <a:gd name="connsiteY27" fmla="*/ 2849053 h 2969978"/>
              <a:gd name="connsiteX28" fmla="*/ 6863024 w 11851944"/>
              <a:gd name="connsiteY28" fmla="*/ 2839004 h 2969978"/>
              <a:gd name="connsiteX29" fmla="*/ 6722347 w 11851944"/>
              <a:gd name="connsiteY29" fmla="*/ 2828956 h 2969978"/>
              <a:gd name="connsiteX30" fmla="*/ 4903596 w 11851944"/>
              <a:gd name="connsiteY30" fmla="*/ 2879198 h 2969978"/>
              <a:gd name="connsiteX31" fmla="*/ 4722725 w 11851944"/>
              <a:gd name="connsiteY31" fmla="*/ 2919391 h 2969978"/>
              <a:gd name="connsiteX32" fmla="*/ 4300695 w 11851944"/>
              <a:gd name="connsiteY32" fmla="*/ 2899294 h 2969978"/>
              <a:gd name="connsiteX33" fmla="*/ 4059534 w 11851944"/>
              <a:gd name="connsiteY33" fmla="*/ 2859101 h 2969978"/>
              <a:gd name="connsiteX34" fmla="*/ 3768132 w 11851944"/>
              <a:gd name="connsiteY34" fmla="*/ 2828956 h 2969978"/>
              <a:gd name="connsiteX35" fmla="*/ 3627455 w 11851944"/>
              <a:gd name="connsiteY35" fmla="*/ 2818908 h 2969978"/>
              <a:gd name="connsiteX36" fmla="*/ 3125037 w 11851944"/>
              <a:gd name="connsiteY36" fmla="*/ 2828956 h 2969978"/>
              <a:gd name="connsiteX37" fmla="*/ 3064747 w 11851944"/>
              <a:gd name="connsiteY37" fmla="*/ 2839004 h 2969978"/>
              <a:gd name="connsiteX38" fmla="*/ 2009670 w 11851944"/>
              <a:gd name="connsiteY38" fmla="*/ 2849053 h 2969978"/>
              <a:gd name="connsiteX39" fmla="*/ 1678075 w 11851944"/>
              <a:gd name="connsiteY39" fmla="*/ 2939488 h 2969978"/>
              <a:gd name="connsiteX40" fmla="*/ 1607736 w 11851944"/>
              <a:gd name="connsiteY40" fmla="*/ 2969633 h 2969978"/>
              <a:gd name="connsiteX41" fmla="*/ 1135464 w 11851944"/>
              <a:gd name="connsiteY41" fmla="*/ 2949536 h 2969978"/>
              <a:gd name="connsiteX42" fmla="*/ 944545 w 11851944"/>
              <a:gd name="connsiteY42" fmla="*/ 2919391 h 2969978"/>
              <a:gd name="connsiteX43" fmla="*/ 723481 w 11851944"/>
              <a:gd name="connsiteY43" fmla="*/ 2879198 h 2969978"/>
              <a:gd name="connsiteX44" fmla="*/ 643095 w 11851944"/>
              <a:gd name="connsiteY44" fmla="*/ 2869149 h 2969978"/>
              <a:gd name="connsiteX45" fmla="*/ 371789 w 11851944"/>
              <a:gd name="connsiteY45" fmla="*/ 2828956 h 2969978"/>
              <a:gd name="connsiteX46" fmla="*/ 0 w 11851944"/>
              <a:gd name="connsiteY46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7486022 w 11851944"/>
              <a:gd name="connsiteY24" fmla="*/ 2818908 h 2969978"/>
              <a:gd name="connsiteX25" fmla="*/ 7395587 w 11851944"/>
              <a:gd name="connsiteY25" fmla="*/ 2839004 h 2969978"/>
              <a:gd name="connsiteX26" fmla="*/ 7325248 w 11851944"/>
              <a:gd name="connsiteY26" fmla="*/ 2849053 h 2969978"/>
              <a:gd name="connsiteX27" fmla="*/ 6863024 w 11851944"/>
              <a:gd name="connsiteY27" fmla="*/ 2839004 h 2969978"/>
              <a:gd name="connsiteX28" fmla="*/ 6722347 w 11851944"/>
              <a:gd name="connsiteY28" fmla="*/ 2828956 h 2969978"/>
              <a:gd name="connsiteX29" fmla="*/ 4903596 w 11851944"/>
              <a:gd name="connsiteY29" fmla="*/ 2879198 h 2969978"/>
              <a:gd name="connsiteX30" fmla="*/ 4722725 w 11851944"/>
              <a:gd name="connsiteY30" fmla="*/ 2919391 h 2969978"/>
              <a:gd name="connsiteX31" fmla="*/ 4300695 w 11851944"/>
              <a:gd name="connsiteY31" fmla="*/ 2899294 h 2969978"/>
              <a:gd name="connsiteX32" fmla="*/ 4059534 w 11851944"/>
              <a:gd name="connsiteY32" fmla="*/ 2859101 h 2969978"/>
              <a:gd name="connsiteX33" fmla="*/ 3768132 w 11851944"/>
              <a:gd name="connsiteY33" fmla="*/ 2828956 h 2969978"/>
              <a:gd name="connsiteX34" fmla="*/ 3627455 w 11851944"/>
              <a:gd name="connsiteY34" fmla="*/ 2818908 h 2969978"/>
              <a:gd name="connsiteX35" fmla="*/ 3125037 w 11851944"/>
              <a:gd name="connsiteY35" fmla="*/ 2828956 h 2969978"/>
              <a:gd name="connsiteX36" fmla="*/ 3064747 w 11851944"/>
              <a:gd name="connsiteY36" fmla="*/ 2839004 h 2969978"/>
              <a:gd name="connsiteX37" fmla="*/ 2009670 w 11851944"/>
              <a:gd name="connsiteY37" fmla="*/ 2849053 h 2969978"/>
              <a:gd name="connsiteX38" fmla="*/ 1678075 w 11851944"/>
              <a:gd name="connsiteY38" fmla="*/ 2939488 h 2969978"/>
              <a:gd name="connsiteX39" fmla="*/ 1607736 w 11851944"/>
              <a:gd name="connsiteY39" fmla="*/ 2969633 h 2969978"/>
              <a:gd name="connsiteX40" fmla="*/ 1135464 w 11851944"/>
              <a:gd name="connsiteY40" fmla="*/ 2949536 h 2969978"/>
              <a:gd name="connsiteX41" fmla="*/ 944545 w 11851944"/>
              <a:gd name="connsiteY41" fmla="*/ 2919391 h 2969978"/>
              <a:gd name="connsiteX42" fmla="*/ 723481 w 11851944"/>
              <a:gd name="connsiteY42" fmla="*/ 2879198 h 2969978"/>
              <a:gd name="connsiteX43" fmla="*/ 643095 w 11851944"/>
              <a:gd name="connsiteY43" fmla="*/ 2869149 h 2969978"/>
              <a:gd name="connsiteX44" fmla="*/ 371789 w 11851944"/>
              <a:gd name="connsiteY44" fmla="*/ 2828956 h 2969978"/>
              <a:gd name="connsiteX45" fmla="*/ 0 w 11851944"/>
              <a:gd name="connsiteY45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7486022 w 11851944"/>
              <a:gd name="connsiteY24" fmla="*/ 2818908 h 2969978"/>
              <a:gd name="connsiteX25" fmla="*/ 7395587 w 11851944"/>
              <a:gd name="connsiteY25" fmla="*/ 2839004 h 2969978"/>
              <a:gd name="connsiteX26" fmla="*/ 6863024 w 11851944"/>
              <a:gd name="connsiteY26" fmla="*/ 2839004 h 2969978"/>
              <a:gd name="connsiteX27" fmla="*/ 6722347 w 11851944"/>
              <a:gd name="connsiteY27" fmla="*/ 2828956 h 2969978"/>
              <a:gd name="connsiteX28" fmla="*/ 4903596 w 11851944"/>
              <a:gd name="connsiteY28" fmla="*/ 2879198 h 2969978"/>
              <a:gd name="connsiteX29" fmla="*/ 4722725 w 11851944"/>
              <a:gd name="connsiteY29" fmla="*/ 2919391 h 2969978"/>
              <a:gd name="connsiteX30" fmla="*/ 4300695 w 11851944"/>
              <a:gd name="connsiteY30" fmla="*/ 2899294 h 2969978"/>
              <a:gd name="connsiteX31" fmla="*/ 4059534 w 11851944"/>
              <a:gd name="connsiteY31" fmla="*/ 2859101 h 2969978"/>
              <a:gd name="connsiteX32" fmla="*/ 3768132 w 11851944"/>
              <a:gd name="connsiteY32" fmla="*/ 2828956 h 2969978"/>
              <a:gd name="connsiteX33" fmla="*/ 3627455 w 11851944"/>
              <a:gd name="connsiteY33" fmla="*/ 2818908 h 2969978"/>
              <a:gd name="connsiteX34" fmla="*/ 3125037 w 11851944"/>
              <a:gd name="connsiteY34" fmla="*/ 2828956 h 2969978"/>
              <a:gd name="connsiteX35" fmla="*/ 3064747 w 11851944"/>
              <a:gd name="connsiteY35" fmla="*/ 2839004 h 2969978"/>
              <a:gd name="connsiteX36" fmla="*/ 2009670 w 11851944"/>
              <a:gd name="connsiteY36" fmla="*/ 2849053 h 2969978"/>
              <a:gd name="connsiteX37" fmla="*/ 1678075 w 11851944"/>
              <a:gd name="connsiteY37" fmla="*/ 2939488 h 2969978"/>
              <a:gd name="connsiteX38" fmla="*/ 1607736 w 11851944"/>
              <a:gd name="connsiteY38" fmla="*/ 2969633 h 2969978"/>
              <a:gd name="connsiteX39" fmla="*/ 1135464 w 11851944"/>
              <a:gd name="connsiteY39" fmla="*/ 2949536 h 2969978"/>
              <a:gd name="connsiteX40" fmla="*/ 944545 w 11851944"/>
              <a:gd name="connsiteY40" fmla="*/ 2919391 h 2969978"/>
              <a:gd name="connsiteX41" fmla="*/ 723481 w 11851944"/>
              <a:gd name="connsiteY41" fmla="*/ 2879198 h 2969978"/>
              <a:gd name="connsiteX42" fmla="*/ 643095 w 11851944"/>
              <a:gd name="connsiteY42" fmla="*/ 2869149 h 2969978"/>
              <a:gd name="connsiteX43" fmla="*/ 371789 w 11851944"/>
              <a:gd name="connsiteY43" fmla="*/ 2828956 h 2969978"/>
              <a:gd name="connsiteX44" fmla="*/ 0 w 11851944"/>
              <a:gd name="connsiteY44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7486022 w 11851944"/>
              <a:gd name="connsiteY24" fmla="*/ 2818908 h 2969978"/>
              <a:gd name="connsiteX25" fmla="*/ 6863024 w 11851944"/>
              <a:gd name="connsiteY25" fmla="*/ 2839004 h 2969978"/>
              <a:gd name="connsiteX26" fmla="*/ 6722347 w 11851944"/>
              <a:gd name="connsiteY26" fmla="*/ 2828956 h 2969978"/>
              <a:gd name="connsiteX27" fmla="*/ 4903596 w 11851944"/>
              <a:gd name="connsiteY27" fmla="*/ 2879198 h 2969978"/>
              <a:gd name="connsiteX28" fmla="*/ 4722725 w 11851944"/>
              <a:gd name="connsiteY28" fmla="*/ 2919391 h 2969978"/>
              <a:gd name="connsiteX29" fmla="*/ 4300695 w 11851944"/>
              <a:gd name="connsiteY29" fmla="*/ 2899294 h 2969978"/>
              <a:gd name="connsiteX30" fmla="*/ 4059534 w 11851944"/>
              <a:gd name="connsiteY30" fmla="*/ 2859101 h 2969978"/>
              <a:gd name="connsiteX31" fmla="*/ 3768132 w 11851944"/>
              <a:gd name="connsiteY31" fmla="*/ 2828956 h 2969978"/>
              <a:gd name="connsiteX32" fmla="*/ 3627455 w 11851944"/>
              <a:gd name="connsiteY32" fmla="*/ 2818908 h 2969978"/>
              <a:gd name="connsiteX33" fmla="*/ 3125037 w 11851944"/>
              <a:gd name="connsiteY33" fmla="*/ 2828956 h 2969978"/>
              <a:gd name="connsiteX34" fmla="*/ 3064747 w 11851944"/>
              <a:gd name="connsiteY34" fmla="*/ 2839004 h 2969978"/>
              <a:gd name="connsiteX35" fmla="*/ 2009670 w 11851944"/>
              <a:gd name="connsiteY35" fmla="*/ 2849053 h 2969978"/>
              <a:gd name="connsiteX36" fmla="*/ 1678075 w 11851944"/>
              <a:gd name="connsiteY36" fmla="*/ 2939488 h 2969978"/>
              <a:gd name="connsiteX37" fmla="*/ 1607736 w 11851944"/>
              <a:gd name="connsiteY37" fmla="*/ 2969633 h 2969978"/>
              <a:gd name="connsiteX38" fmla="*/ 1135464 w 11851944"/>
              <a:gd name="connsiteY38" fmla="*/ 2949536 h 2969978"/>
              <a:gd name="connsiteX39" fmla="*/ 944545 w 11851944"/>
              <a:gd name="connsiteY39" fmla="*/ 2919391 h 2969978"/>
              <a:gd name="connsiteX40" fmla="*/ 723481 w 11851944"/>
              <a:gd name="connsiteY40" fmla="*/ 2879198 h 2969978"/>
              <a:gd name="connsiteX41" fmla="*/ 643095 w 11851944"/>
              <a:gd name="connsiteY41" fmla="*/ 2869149 h 2969978"/>
              <a:gd name="connsiteX42" fmla="*/ 371789 w 11851944"/>
              <a:gd name="connsiteY42" fmla="*/ 2828956 h 2969978"/>
              <a:gd name="connsiteX43" fmla="*/ 0 w 11851944"/>
              <a:gd name="connsiteY43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722725 w 11851944"/>
              <a:gd name="connsiteY27" fmla="*/ 2919391 h 2969978"/>
              <a:gd name="connsiteX28" fmla="*/ 4300695 w 11851944"/>
              <a:gd name="connsiteY28" fmla="*/ 2899294 h 2969978"/>
              <a:gd name="connsiteX29" fmla="*/ 4059534 w 11851944"/>
              <a:gd name="connsiteY29" fmla="*/ 2859101 h 2969978"/>
              <a:gd name="connsiteX30" fmla="*/ 3768132 w 11851944"/>
              <a:gd name="connsiteY30" fmla="*/ 2828956 h 2969978"/>
              <a:gd name="connsiteX31" fmla="*/ 3627455 w 11851944"/>
              <a:gd name="connsiteY31" fmla="*/ 2818908 h 2969978"/>
              <a:gd name="connsiteX32" fmla="*/ 3125037 w 11851944"/>
              <a:gd name="connsiteY32" fmla="*/ 2828956 h 2969978"/>
              <a:gd name="connsiteX33" fmla="*/ 3064747 w 11851944"/>
              <a:gd name="connsiteY33" fmla="*/ 2839004 h 2969978"/>
              <a:gd name="connsiteX34" fmla="*/ 2009670 w 11851944"/>
              <a:gd name="connsiteY34" fmla="*/ 2849053 h 2969978"/>
              <a:gd name="connsiteX35" fmla="*/ 1678075 w 11851944"/>
              <a:gd name="connsiteY35" fmla="*/ 2939488 h 2969978"/>
              <a:gd name="connsiteX36" fmla="*/ 1607736 w 11851944"/>
              <a:gd name="connsiteY36" fmla="*/ 2969633 h 2969978"/>
              <a:gd name="connsiteX37" fmla="*/ 1135464 w 11851944"/>
              <a:gd name="connsiteY37" fmla="*/ 2949536 h 2969978"/>
              <a:gd name="connsiteX38" fmla="*/ 944545 w 11851944"/>
              <a:gd name="connsiteY38" fmla="*/ 2919391 h 2969978"/>
              <a:gd name="connsiteX39" fmla="*/ 723481 w 11851944"/>
              <a:gd name="connsiteY39" fmla="*/ 2879198 h 2969978"/>
              <a:gd name="connsiteX40" fmla="*/ 643095 w 11851944"/>
              <a:gd name="connsiteY40" fmla="*/ 2869149 h 2969978"/>
              <a:gd name="connsiteX41" fmla="*/ 371789 w 11851944"/>
              <a:gd name="connsiteY41" fmla="*/ 2828956 h 2969978"/>
              <a:gd name="connsiteX42" fmla="*/ 0 w 11851944"/>
              <a:gd name="connsiteY42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300695 w 11851944"/>
              <a:gd name="connsiteY27" fmla="*/ 2899294 h 2969978"/>
              <a:gd name="connsiteX28" fmla="*/ 4059534 w 11851944"/>
              <a:gd name="connsiteY28" fmla="*/ 2859101 h 2969978"/>
              <a:gd name="connsiteX29" fmla="*/ 3768132 w 11851944"/>
              <a:gd name="connsiteY29" fmla="*/ 2828956 h 2969978"/>
              <a:gd name="connsiteX30" fmla="*/ 3627455 w 11851944"/>
              <a:gd name="connsiteY30" fmla="*/ 2818908 h 2969978"/>
              <a:gd name="connsiteX31" fmla="*/ 3125037 w 11851944"/>
              <a:gd name="connsiteY31" fmla="*/ 2828956 h 2969978"/>
              <a:gd name="connsiteX32" fmla="*/ 3064747 w 11851944"/>
              <a:gd name="connsiteY32" fmla="*/ 2839004 h 2969978"/>
              <a:gd name="connsiteX33" fmla="*/ 2009670 w 11851944"/>
              <a:gd name="connsiteY33" fmla="*/ 2849053 h 2969978"/>
              <a:gd name="connsiteX34" fmla="*/ 1678075 w 11851944"/>
              <a:gd name="connsiteY34" fmla="*/ 2939488 h 2969978"/>
              <a:gd name="connsiteX35" fmla="*/ 1607736 w 11851944"/>
              <a:gd name="connsiteY35" fmla="*/ 2969633 h 2969978"/>
              <a:gd name="connsiteX36" fmla="*/ 1135464 w 11851944"/>
              <a:gd name="connsiteY36" fmla="*/ 2949536 h 2969978"/>
              <a:gd name="connsiteX37" fmla="*/ 944545 w 11851944"/>
              <a:gd name="connsiteY37" fmla="*/ 2919391 h 2969978"/>
              <a:gd name="connsiteX38" fmla="*/ 723481 w 11851944"/>
              <a:gd name="connsiteY38" fmla="*/ 2879198 h 2969978"/>
              <a:gd name="connsiteX39" fmla="*/ 643095 w 11851944"/>
              <a:gd name="connsiteY39" fmla="*/ 2869149 h 2969978"/>
              <a:gd name="connsiteX40" fmla="*/ 371789 w 11851944"/>
              <a:gd name="connsiteY40" fmla="*/ 2828956 h 2969978"/>
              <a:gd name="connsiteX41" fmla="*/ 0 w 11851944"/>
              <a:gd name="connsiteY41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059534 w 11851944"/>
              <a:gd name="connsiteY27" fmla="*/ 2859101 h 2969978"/>
              <a:gd name="connsiteX28" fmla="*/ 3768132 w 11851944"/>
              <a:gd name="connsiteY28" fmla="*/ 2828956 h 2969978"/>
              <a:gd name="connsiteX29" fmla="*/ 3627455 w 11851944"/>
              <a:gd name="connsiteY29" fmla="*/ 2818908 h 2969978"/>
              <a:gd name="connsiteX30" fmla="*/ 3125037 w 11851944"/>
              <a:gd name="connsiteY30" fmla="*/ 2828956 h 2969978"/>
              <a:gd name="connsiteX31" fmla="*/ 3064747 w 11851944"/>
              <a:gd name="connsiteY31" fmla="*/ 2839004 h 2969978"/>
              <a:gd name="connsiteX32" fmla="*/ 2009670 w 11851944"/>
              <a:gd name="connsiteY32" fmla="*/ 2849053 h 2969978"/>
              <a:gd name="connsiteX33" fmla="*/ 1678075 w 11851944"/>
              <a:gd name="connsiteY33" fmla="*/ 2939488 h 2969978"/>
              <a:gd name="connsiteX34" fmla="*/ 1607736 w 11851944"/>
              <a:gd name="connsiteY34" fmla="*/ 2969633 h 2969978"/>
              <a:gd name="connsiteX35" fmla="*/ 1135464 w 11851944"/>
              <a:gd name="connsiteY35" fmla="*/ 2949536 h 2969978"/>
              <a:gd name="connsiteX36" fmla="*/ 944545 w 11851944"/>
              <a:gd name="connsiteY36" fmla="*/ 2919391 h 2969978"/>
              <a:gd name="connsiteX37" fmla="*/ 723481 w 11851944"/>
              <a:gd name="connsiteY37" fmla="*/ 2879198 h 2969978"/>
              <a:gd name="connsiteX38" fmla="*/ 643095 w 11851944"/>
              <a:gd name="connsiteY38" fmla="*/ 2869149 h 2969978"/>
              <a:gd name="connsiteX39" fmla="*/ 371789 w 11851944"/>
              <a:gd name="connsiteY39" fmla="*/ 2828956 h 2969978"/>
              <a:gd name="connsiteX40" fmla="*/ 0 w 11851944"/>
              <a:gd name="connsiteY40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059534 w 11851944"/>
              <a:gd name="connsiteY27" fmla="*/ 2859101 h 2969978"/>
              <a:gd name="connsiteX28" fmla="*/ 3627455 w 11851944"/>
              <a:gd name="connsiteY28" fmla="*/ 2818908 h 2969978"/>
              <a:gd name="connsiteX29" fmla="*/ 3125037 w 11851944"/>
              <a:gd name="connsiteY29" fmla="*/ 2828956 h 2969978"/>
              <a:gd name="connsiteX30" fmla="*/ 3064747 w 11851944"/>
              <a:gd name="connsiteY30" fmla="*/ 2839004 h 2969978"/>
              <a:gd name="connsiteX31" fmla="*/ 2009670 w 11851944"/>
              <a:gd name="connsiteY31" fmla="*/ 2849053 h 2969978"/>
              <a:gd name="connsiteX32" fmla="*/ 1678075 w 11851944"/>
              <a:gd name="connsiteY32" fmla="*/ 2939488 h 2969978"/>
              <a:gd name="connsiteX33" fmla="*/ 1607736 w 11851944"/>
              <a:gd name="connsiteY33" fmla="*/ 2969633 h 2969978"/>
              <a:gd name="connsiteX34" fmla="*/ 1135464 w 11851944"/>
              <a:gd name="connsiteY34" fmla="*/ 2949536 h 2969978"/>
              <a:gd name="connsiteX35" fmla="*/ 944545 w 11851944"/>
              <a:gd name="connsiteY35" fmla="*/ 2919391 h 2969978"/>
              <a:gd name="connsiteX36" fmla="*/ 723481 w 11851944"/>
              <a:gd name="connsiteY36" fmla="*/ 2879198 h 2969978"/>
              <a:gd name="connsiteX37" fmla="*/ 643095 w 11851944"/>
              <a:gd name="connsiteY37" fmla="*/ 2869149 h 2969978"/>
              <a:gd name="connsiteX38" fmla="*/ 371789 w 11851944"/>
              <a:gd name="connsiteY38" fmla="*/ 2828956 h 2969978"/>
              <a:gd name="connsiteX39" fmla="*/ 0 w 11851944"/>
              <a:gd name="connsiteY39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059534 w 11851944"/>
              <a:gd name="connsiteY27" fmla="*/ 2859101 h 2969978"/>
              <a:gd name="connsiteX28" fmla="*/ 3125037 w 11851944"/>
              <a:gd name="connsiteY28" fmla="*/ 2828956 h 2969978"/>
              <a:gd name="connsiteX29" fmla="*/ 3064747 w 11851944"/>
              <a:gd name="connsiteY29" fmla="*/ 2839004 h 2969978"/>
              <a:gd name="connsiteX30" fmla="*/ 2009670 w 11851944"/>
              <a:gd name="connsiteY30" fmla="*/ 2849053 h 2969978"/>
              <a:gd name="connsiteX31" fmla="*/ 1678075 w 11851944"/>
              <a:gd name="connsiteY31" fmla="*/ 2939488 h 2969978"/>
              <a:gd name="connsiteX32" fmla="*/ 1607736 w 11851944"/>
              <a:gd name="connsiteY32" fmla="*/ 2969633 h 2969978"/>
              <a:gd name="connsiteX33" fmla="*/ 1135464 w 11851944"/>
              <a:gd name="connsiteY33" fmla="*/ 2949536 h 2969978"/>
              <a:gd name="connsiteX34" fmla="*/ 944545 w 11851944"/>
              <a:gd name="connsiteY34" fmla="*/ 2919391 h 2969978"/>
              <a:gd name="connsiteX35" fmla="*/ 723481 w 11851944"/>
              <a:gd name="connsiteY35" fmla="*/ 2879198 h 2969978"/>
              <a:gd name="connsiteX36" fmla="*/ 643095 w 11851944"/>
              <a:gd name="connsiteY36" fmla="*/ 2869149 h 2969978"/>
              <a:gd name="connsiteX37" fmla="*/ 371789 w 11851944"/>
              <a:gd name="connsiteY37" fmla="*/ 2828956 h 2969978"/>
              <a:gd name="connsiteX38" fmla="*/ 0 w 11851944"/>
              <a:gd name="connsiteY38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059534 w 11851944"/>
              <a:gd name="connsiteY27" fmla="*/ 2859101 h 2969978"/>
              <a:gd name="connsiteX28" fmla="*/ 3064747 w 11851944"/>
              <a:gd name="connsiteY28" fmla="*/ 2839004 h 2969978"/>
              <a:gd name="connsiteX29" fmla="*/ 2009670 w 11851944"/>
              <a:gd name="connsiteY29" fmla="*/ 2849053 h 2969978"/>
              <a:gd name="connsiteX30" fmla="*/ 1678075 w 11851944"/>
              <a:gd name="connsiteY30" fmla="*/ 2939488 h 2969978"/>
              <a:gd name="connsiteX31" fmla="*/ 1607736 w 11851944"/>
              <a:gd name="connsiteY31" fmla="*/ 2969633 h 2969978"/>
              <a:gd name="connsiteX32" fmla="*/ 1135464 w 11851944"/>
              <a:gd name="connsiteY32" fmla="*/ 2949536 h 2969978"/>
              <a:gd name="connsiteX33" fmla="*/ 944545 w 11851944"/>
              <a:gd name="connsiteY33" fmla="*/ 2919391 h 2969978"/>
              <a:gd name="connsiteX34" fmla="*/ 723481 w 11851944"/>
              <a:gd name="connsiteY34" fmla="*/ 2879198 h 2969978"/>
              <a:gd name="connsiteX35" fmla="*/ 643095 w 11851944"/>
              <a:gd name="connsiteY35" fmla="*/ 2869149 h 2969978"/>
              <a:gd name="connsiteX36" fmla="*/ 371789 w 11851944"/>
              <a:gd name="connsiteY36" fmla="*/ 2828956 h 2969978"/>
              <a:gd name="connsiteX37" fmla="*/ 0 w 11851944"/>
              <a:gd name="connsiteY37" fmla="*/ 2818908 h 2969978"/>
              <a:gd name="connsiteX0" fmla="*/ 120580 w 11851944"/>
              <a:gd name="connsiteY0" fmla="*/ 55611 h 2974631"/>
              <a:gd name="connsiteX1" fmla="*/ 281354 w 11851944"/>
              <a:gd name="connsiteY1" fmla="*/ 45562 h 2974631"/>
              <a:gd name="connsiteX2" fmla="*/ 673240 w 11851944"/>
              <a:gd name="connsiteY2" fmla="*/ 35514 h 2974631"/>
              <a:gd name="connsiteX3" fmla="*/ 1356528 w 11851944"/>
              <a:gd name="connsiteY3" fmla="*/ 85756 h 2974631"/>
              <a:gd name="connsiteX4" fmla="*/ 1758462 w 11851944"/>
              <a:gd name="connsiteY4" fmla="*/ 45562 h 2974631"/>
              <a:gd name="connsiteX5" fmla="*/ 2140299 w 11851944"/>
              <a:gd name="connsiteY5" fmla="*/ 45562 h 2974631"/>
              <a:gd name="connsiteX6" fmla="*/ 4652387 w 11851944"/>
              <a:gd name="connsiteY6" fmla="*/ 65659 h 2974631"/>
              <a:gd name="connsiteX7" fmla="*/ 4692580 w 11851944"/>
              <a:gd name="connsiteY7" fmla="*/ 75708 h 2974631"/>
              <a:gd name="connsiteX8" fmla="*/ 6420897 w 11851944"/>
              <a:gd name="connsiteY8" fmla="*/ 95804 h 2974631"/>
              <a:gd name="connsiteX9" fmla="*/ 7184571 w 11851944"/>
              <a:gd name="connsiteY9" fmla="*/ 65659 h 2974631"/>
              <a:gd name="connsiteX10" fmla="*/ 7928150 w 11851944"/>
              <a:gd name="connsiteY10" fmla="*/ 65659 h 2974631"/>
              <a:gd name="connsiteX11" fmla="*/ 8219552 w 11851944"/>
              <a:gd name="connsiteY11" fmla="*/ 95804 h 2974631"/>
              <a:gd name="connsiteX12" fmla="*/ 9606224 w 11851944"/>
              <a:gd name="connsiteY12" fmla="*/ 95804 h 2974631"/>
              <a:gd name="connsiteX13" fmla="*/ 9947868 w 11851944"/>
              <a:gd name="connsiteY13" fmla="*/ 65659 h 2974631"/>
              <a:gd name="connsiteX14" fmla="*/ 10791930 w 11851944"/>
              <a:gd name="connsiteY14" fmla="*/ 35514 h 2974631"/>
              <a:gd name="connsiteX15" fmla="*/ 11736475 w 11851944"/>
              <a:gd name="connsiteY15" fmla="*/ 55611 h 2974631"/>
              <a:gd name="connsiteX16" fmla="*/ 11806813 w 11851944"/>
              <a:gd name="connsiteY16" fmla="*/ 769044 h 2974631"/>
              <a:gd name="connsiteX17" fmla="*/ 11816862 w 11851944"/>
              <a:gd name="connsiteY17" fmla="*/ 2336587 h 2974631"/>
              <a:gd name="connsiteX18" fmla="*/ 11806813 w 11851944"/>
              <a:gd name="connsiteY18" fmla="*/ 2828956 h 2974631"/>
              <a:gd name="connsiteX19" fmla="*/ 11033090 w 11851944"/>
              <a:gd name="connsiteY19" fmla="*/ 2859101 h 2974631"/>
              <a:gd name="connsiteX20" fmla="*/ 10128739 w 11851944"/>
              <a:gd name="connsiteY20" fmla="*/ 2859101 h 2974631"/>
              <a:gd name="connsiteX21" fmla="*/ 9555982 w 11851944"/>
              <a:gd name="connsiteY21" fmla="*/ 2859101 h 2974631"/>
              <a:gd name="connsiteX22" fmla="*/ 9204290 w 11851944"/>
              <a:gd name="connsiteY22" fmla="*/ 2808859 h 2974631"/>
              <a:gd name="connsiteX23" fmla="*/ 7486022 w 11851944"/>
              <a:gd name="connsiteY23" fmla="*/ 2818908 h 2974631"/>
              <a:gd name="connsiteX24" fmla="*/ 6863024 w 11851944"/>
              <a:gd name="connsiteY24" fmla="*/ 2839004 h 2974631"/>
              <a:gd name="connsiteX25" fmla="*/ 6722347 w 11851944"/>
              <a:gd name="connsiteY25" fmla="*/ 2828956 h 2974631"/>
              <a:gd name="connsiteX26" fmla="*/ 4903596 w 11851944"/>
              <a:gd name="connsiteY26" fmla="*/ 2879198 h 2974631"/>
              <a:gd name="connsiteX27" fmla="*/ 4059534 w 11851944"/>
              <a:gd name="connsiteY27" fmla="*/ 2859101 h 2974631"/>
              <a:gd name="connsiteX28" fmla="*/ 3064747 w 11851944"/>
              <a:gd name="connsiteY28" fmla="*/ 2839004 h 2974631"/>
              <a:gd name="connsiteX29" fmla="*/ 2009670 w 11851944"/>
              <a:gd name="connsiteY29" fmla="*/ 2849053 h 2974631"/>
              <a:gd name="connsiteX30" fmla="*/ 1607736 w 11851944"/>
              <a:gd name="connsiteY30" fmla="*/ 2969633 h 2974631"/>
              <a:gd name="connsiteX31" fmla="*/ 1135464 w 11851944"/>
              <a:gd name="connsiteY31" fmla="*/ 2949536 h 2974631"/>
              <a:gd name="connsiteX32" fmla="*/ 944545 w 11851944"/>
              <a:gd name="connsiteY32" fmla="*/ 2919391 h 2974631"/>
              <a:gd name="connsiteX33" fmla="*/ 723481 w 11851944"/>
              <a:gd name="connsiteY33" fmla="*/ 2879198 h 2974631"/>
              <a:gd name="connsiteX34" fmla="*/ 643095 w 11851944"/>
              <a:gd name="connsiteY34" fmla="*/ 2869149 h 2974631"/>
              <a:gd name="connsiteX35" fmla="*/ 371789 w 11851944"/>
              <a:gd name="connsiteY35" fmla="*/ 2828956 h 2974631"/>
              <a:gd name="connsiteX36" fmla="*/ 0 w 11851944"/>
              <a:gd name="connsiteY36" fmla="*/ 2818908 h 2974631"/>
              <a:gd name="connsiteX0" fmla="*/ 120580 w 11851944"/>
              <a:gd name="connsiteY0" fmla="*/ 55611 h 2949536"/>
              <a:gd name="connsiteX1" fmla="*/ 281354 w 11851944"/>
              <a:gd name="connsiteY1" fmla="*/ 45562 h 2949536"/>
              <a:gd name="connsiteX2" fmla="*/ 673240 w 11851944"/>
              <a:gd name="connsiteY2" fmla="*/ 35514 h 2949536"/>
              <a:gd name="connsiteX3" fmla="*/ 1356528 w 11851944"/>
              <a:gd name="connsiteY3" fmla="*/ 85756 h 2949536"/>
              <a:gd name="connsiteX4" fmla="*/ 1758462 w 11851944"/>
              <a:gd name="connsiteY4" fmla="*/ 45562 h 2949536"/>
              <a:gd name="connsiteX5" fmla="*/ 2140299 w 11851944"/>
              <a:gd name="connsiteY5" fmla="*/ 45562 h 2949536"/>
              <a:gd name="connsiteX6" fmla="*/ 4652387 w 11851944"/>
              <a:gd name="connsiteY6" fmla="*/ 65659 h 2949536"/>
              <a:gd name="connsiteX7" fmla="*/ 4692580 w 11851944"/>
              <a:gd name="connsiteY7" fmla="*/ 75708 h 2949536"/>
              <a:gd name="connsiteX8" fmla="*/ 6420897 w 11851944"/>
              <a:gd name="connsiteY8" fmla="*/ 95804 h 2949536"/>
              <a:gd name="connsiteX9" fmla="*/ 7184571 w 11851944"/>
              <a:gd name="connsiteY9" fmla="*/ 65659 h 2949536"/>
              <a:gd name="connsiteX10" fmla="*/ 7928150 w 11851944"/>
              <a:gd name="connsiteY10" fmla="*/ 65659 h 2949536"/>
              <a:gd name="connsiteX11" fmla="*/ 8219552 w 11851944"/>
              <a:gd name="connsiteY11" fmla="*/ 95804 h 2949536"/>
              <a:gd name="connsiteX12" fmla="*/ 9606224 w 11851944"/>
              <a:gd name="connsiteY12" fmla="*/ 95804 h 2949536"/>
              <a:gd name="connsiteX13" fmla="*/ 9947868 w 11851944"/>
              <a:gd name="connsiteY13" fmla="*/ 65659 h 2949536"/>
              <a:gd name="connsiteX14" fmla="*/ 10791930 w 11851944"/>
              <a:gd name="connsiteY14" fmla="*/ 35514 h 2949536"/>
              <a:gd name="connsiteX15" fmla="*/ 11736475 w 11851944"/>
              <a:gd name="connsiteY15" fmla="*/ 55611 h 2949536"/>
              <a:gd name="connsiteX16" fmla="*/ 11806813 w 11851944"/>
              <a:gd name="connsiteY16" fmla="*/ 769044 h 2949536"/>
              <a:gd name="connsiteX17" fmla="*/ 11816862 w 11851944"/>
              <a:gd name="connsiteY17" fmla="*/ 2336587 h 2949536"/>
              <a:gd name="connsiteX18" fmla="*/ 11806813 w 11851944"/>
              <a:gd name="connsiteY18" fmla="*/ 2828956 h 2949536"/>
              <a:gd name="connsiteX19" fmla="*/ 11033090 w 11851944"/>
              <a:gd name="connsiteY19" fmla="*/ 2859101 h 2949536"/>
              <a:gd name="connsiteX20" fmla="*/ 10128739 w 11851944"/>
              <a:gd name="connsiteY20" fmla="*/ 2859101 h 2949536"/>
              <a:gd name="connsiteX21" fmla="*/ 9555982 w 11851944"/>
              <a:gd name="connsiteY21" fmla="*/ 2859101 h 2949536"/>
              <a:gd name="connsiteX22" fmla="*/ 9204290 w 11851944"/>
              <a:gd name="connsiteY22" fmla="*/ 2808859 h 2949536"/>
              <a:gd name="connsiteX23" fmla="*/ 7486022 w 11851944"/>
              <a:gd name="connsiteY23" fmla="*/ 2818908 h 2949536"/>
              <a:gd name="connsiteX24" fmla="*/ 6863024 w 11851944"/>
              <a:gd name="connsiteY24" fmla="*/ 2839004 h 2949536"/>
              <a:gd name="connsiteX25" fmla="*/ 6722347 w 11851944"/>
              <a:gd name="connsiteY25" fmla="*/ 2828956 h 2949536"/>
              <a:gd name="connsiteX26" fmla="*/ 4903596 w 11851944"/>
              <a:gd name="connsiteY26" fmla="*/ 2879198 h 2949536"/>
              <a:gd name="connsiteX27" fmla="*/ 4059534 w 11851944"/>
              <a:gd name="connsiteY27" fmla="*/ 2859101 h 2949536"/>
              <a:gd name="connsiteX28" fmla="*/ 3064747 w 11851944"/>
              <a:gd name="connsiteY28" fmla="*/ 2839004 h 2949536"/>
              <a:gd name="connsiteX29" fmla="*/ 2009670 w 11851944"/>
              <a:gd name="connsiteY29" fmla="*/ 2849053 h 2949536"/>
              <a:gd name="connsiteX30" fmla="*/ 1135464 w 11851944"/>
              <a:gd name="connsiteY30" fmla="*/ 2949536 h 2949536"/>
              <a:gd name="connsiteX31" fmla="*/ 944545 w 11851944"/>
              <a:gd name="connsiteY31" fmla="*/ 2919391 h 2949536"/>
              <a:gd name="connsiteX32" fmla="*/ 723481 w 11851944"/>
              <a:gd name="connsiteY32" fmla="*/ 2879198 h 2949536"/>
              <a:gd name="connsiteX33" fmla="*/ 643095 w 11851944"/>
              <a:gd name="connsiteY33" fmla="*/ 2869149 h 2949536"/>
              <a:gd name="connsiteX34" fmla="*/ 371789 w 11851944"/>
              <a:gd name="connsiteY34" fmla="*/ 2828956 h 2949536"/>
              <a:gd name="connsiteX35" fmla="*/ 0 w 11851944"/>
              <a:gd name="connsiteY35" fmla="*/ 2818908 h 2949536"/>
              <a:gd name="connsiteX0" fmla="*/ 120580 w 11851944"/>
              <a:gd name="connsiteY0" fmla="*/ 55611 h 2949840"/>
              <a:gd name="connsiteX1" fmla="*/ 281354 w 11851944"/>
              <a:gd name="connsiteY1" fmla="*/ 45562 h 2949840"/>
              <a:gd name="connsiteX2" fmla="*/ 673240 w 11851944"/>
              <a:gd name="connsiteY2" fmla="*/ 35514 h 2949840"/>
              <a:gd name="connsiteX3" fmla="*/ 1356528 w 11851944"/>
              <a:gd name="connsiteY3" fmla="*/ 85756 h 2949840"/>
              <a:gd name="connsiteX4" fmla="*/ 1758462 w 11851944"/>
              <a:gd name="connsiteY4" fmla="*/ 45562 h 2949840"/>
              <a:gd name="connsiteX5" fmla="*/ 2140299 w 11851944"/>
              <a:gd name="connsiteY5" fmla="*/ 45562 h 2949840"/>
              <a:gd name="connsiteX6" fmla="*/ 4652387 w 11851944"/>
              <a:gd name="connsiteY6" fmla="*/ 65659 h 2949840"/>
              <a:gd name="connsiteX7" fmla="*/ 4692580 w 11851944"/>
              <a:gd name="connsiteY7" fmla="*/ 75708 h 2949840"/>
              <a:gd name="connsiteX8" fmla="*/ 6420897 w 11851944"/>
              <a:gd name="connsiteY8" fmla="*/ 95804 h 2949840"/>
              <a:gd name="connsiteX9" fmla="*/ 7184571 w 11851944"/>
              <a:gd name="connsiteY9" fmla="*/ 65659 h 2949840"/>
              <a:gd name="connsiteX10" fmla="*/ 7928150 w 11851944"/>
              <a:gd name="connsiteY10" fmla="*/ 65659 h 2949840"/>
              <a:gd name="connsiteX11" fmla="*/ 8219552 w 11851944"/>
              <a:gd name="connsiteY11" fmla="*/ 95804 h 2949840"/>
              <a:gd name="connsiteX12" fmla="*/ 9606224 w 11851944"/>
              <a:gd name="connsiteY12" fmla="*/ 95804 h 2949840"/>
              <a:gd name="connsiteX13" fmla="*/ 9947868 w 11851944"/>
              <a:gd name="connsiteY13" fmla="*/ 65659 h 2949840"/>
              <a:gd name="connsiteX14" fmla="*/ 10791930 w 11851944"/>
              <a:gd name="connsiteY14" fmla="*/ 35514 h 2949840"/>
              <a:gd name="connsiteX15" fmla="*/ 11736475 w 11851944"/>
              <a:gd name="connsiteY15" fmla="*/ 55611 h 2949840"/>
              <a:gd name="connsiteX16" fmla="*/ 11806813 w 11851944"/>
              <a:gd name="connsiteY16" fmla="*/ 769044 h 2949840"/>
              <a:gd name="connsiteX17" fmla="*/ 11816862 w 11851944"/>
              <a:gd name="connsiteY17" fmla="*/ 2336587 h 2949840"/>
              <a:gd name="connsiteX18" fmla="*/ 11806813 w 11851944"/>
              <a:gd name="connsiteY18" fmla="*/ 2828956 h 2949840"/>
              <a:gd name="connsiteX19" fmla="*/ 11033090 w 11851944"/>
              <a:gd name="connsiteY19" fmla="*/ 2859101 h 2949840"/>
              <a:gd name="connsiteX20" fmla="*/ 10128739 w 11851944"/>
              <a:gd name="connsiteY20" fmla="*/ 2859101 h 2949840"/>
              <a:gd name="connsiteX21" fmla="*/ 9555982 w 11851944"/>
              <a:gd name="connsiteY21" fmla="*/ 2859101 h 2949840"/>
              <a:gd name="connsiteX22" fmla="*/ 9204290 w 11851944"/>
              <a:gd name="connsiteY22" fmla="*/ 2808859 h 2949840"/>
              <a:gd name="connsiteX23" fmla="*/ 7486022 w 11851944"/>
              <a:gd name="connsiteY23" fmla="*/ 2818908 h 2949840"/>
              <a:gd name="connsiteX24" fmla="*/ 6863024 w 11851944"/>
              <a:gd name="connsiteY24" fmla="*/ 2839004 h 2949840"/>
              <a:gd name="connsiteX25" fmla="*/ 6722347 w 11851944"/>
              <a:gd name="connsiteY25" fmla="*/ 2828956 h 2949840"/>
              <a:gd name="connsiteX26" fmla="*/ 4903596 w 11851944"/>
              <a:gd name="connsiteY26" fmla="*/ 2879198 h 2949840"/>
              <a:gd name="connsiteX27" fmla="*/ 4059534 w 11851944"/>
              <a:gd name="connsiteY27" fmla="*/ 2859101 h 2949840"/>
              <a:gd name="connsiteX28" fmla="*/ 3064747 w 11851944"/>
              <a:gd name="connsiteY28" fmla="*/ 2839004 h 2949840"/>
              <a:gd name="connsiteX29" fmla="*/ 2009670 w 11851944"/>
              <a:gd name="connsiteY29" fmla="*/ 2849053 h 2949840"/>
              <a:gd name="connsiteX30" fmla="*/ 1205803 w 11851944"/>
              <a:gd name="connsiteY30" fmla="*/ 2929437 h 2949840"/>
              <a:gd name="connsiteX31" fmla="*/ 1135464 w 11851944"/>
              <a:gd name="connsiteY31" fmla="*/ 2949536 h 2949840"/>
              <a:gd name="connsiteX32" fmla="*/ 944545 w 11851944"/>
              <a:gd name="connsiteY32" fmla="*/ 2919391 h 2949840"/>
              <a:gd name="connsiteX33" fmla="*/ 723481 w 11851944"/>
              <a:gd name="connsiteY33" fmla="*/ 2879198 h 2949840"/>
              <a:gd name="connsiteX34" fmla="*/ 643095 w 11851944"/>
              <a:gd name="connsiteY34" fmla="*/ 2869149 h 2949840"/>
              <a:gd name="connsiteX35" fmla="*/ 371789 w 11851944"/>
              <a:gd name="connsiteY35" fmla="*/ 2828956 h 2949840"/>
              <a:gd name="connsiteX36" fmla="*/ 0 w 11851944"/>
              <a:gd name="connsiteY36" fmla="*/ 2818908 h 2949840"/>
              <a:gd name="connsiteX0" fmla="*/ 120580 w 11851944"/>
              <a:gd name="connsiteY0" fmla="*/ 55611 h 2934038"/>
              <a:gd name="connsiteX1" fmla="*/ 281354 w 11851944"/>
              <a:gd name="connsiteY1" fmla="*/ 45562 h 2934038"/>
              <a:gd name="connsiteX2" fmla="*/ 673240 w 11851944"/>
              <a:gd name="connsiteY2" fmla="*/ 35514 h 2934038"/>
              <a:gd name="connsiteX3" fmla="*/ 1356528 w 11851944"/>
              <a:gd name="connsiteY3" fmla="*/ 85756 h 2934038"/>
              <a:gd name="connsiteX4" fmla="*/ 1758462 w 11851944"/>
              <a:gd name="connsiteY4" fmla="*/ 45562 h 2934038"/>
              <a:gd name="connsiteX5" fmla="*/ 2140299 w 11851944"/>
              <a:gd name="connsiteY5" fmla="*/ 45562 h 2934038"/>
              <a:gd name="connsiteX6" fmla="*/ 4652387 w 11851944"/>
              <a:gd name="connsiteY6" fmla="*/ 65659 h 2934038"/>
              <a:gd name="connsiteX7" fmla="*/ 4692580 w 11851944"/>
              <a:gd name="connsiteY7" fmla="*/ 75708 h 2934038"/>
              <a:gd name="connsiteX8" fmla="*/ 6420897 w 11851944"/>
              <a:gd name="connsiteY8" fmla="*/ 95804 h 2934038"/>
              <a:gd name="connsiteX9" fmla="*/ 7184571 w 11851944"/>
              <a:gd name="connsiteY9" fmla="*/ 65659 h 2934038"/>
              <a:gd name="connsiteX10" fmla="*/ 7928150 w 11851944"/>
              <a:gd name="connsiteY10" fmla="*/ 65659 h 2934038"/>
              <a:gd name="connsiteX11" fmla="*/ 8219552 w 11851944"/>
              <a:gd name="connsiteY11" fmla="*/ 95804 h 2934038"/>
              <a:gd name="connsiteX12" fmla="*/ 9606224 w 11851944"/>
              <a:gd name="connsiteY12" fmla="*/ 95804 h 2934038"/>
              <a:gd name="connsiteX13" fmla="*/ 9947868 w 11851944"/>
              <a:gd name="connsiteY13" fmla="*/ 65659 h 2934038"/>
              <a:gd name="connsiteX14" fmla="*/ 10791930 w 11851944"/>
              <a:gd name="connsiteY14" fmla="*/ 35514 h 2934038"/>
              <a:gd name="connsiteX15" fmla="*/ 11736475 w 11851944"/>
              <a:gd name="connsiteY15" fmla="*/ 55611 h 2934038"/>
              <a:gd name="connsiteX16" fmla="*/ 11806813 w 11851944"/>
              <a:gd name="connsiteY16" fmla="*/ 769044 h 2934038"/>
              <a:gd name="connsiteX17" fmla="*/ 11816862 w 11851944"/>
              <a:gd name="connsiteY17" fmla="*/ 2336587 h 2934038"/>
              <a:gd name="connsiteX18" fmla="*/ 11806813 w 11851944"/>
              <a:gd name="connsiteY18" fmla="*/ 2828956 h 2934038"/>
              <a:gd name="connsiteX19" fmla="*/ 11033090 w 11851944"/>
              <a:gd name="connsiteY19" fmla="*/ 2859101 h 2934038"/>
              <a:gd name="connsiteX20" fmla="*/ 10128739 w 11851944"/>
              <a:gd name="connsiteY20" fmla="*/ 2859101 h 2934038"/>
              <a:gd name="connsiteX21" fmla="*/ 9555982 w 11851944"/>
              <a:gd name="connsiteY21" fmla="*/ 2859101 h 2934038"/>
              <a:gd name="connsiteX22" fmla="*/ 9204290 w 11851944"/>
              <a:gd name="connsiteY22" fmla="*/ 2808859 h 2934038"/>
              <a:gd name="connsiteX23" fmla="*/ 7486022 w 11851944"/>
              <a:gd name="connsiteY23" fmla="*/ 2818908 h 2934038"/>
              <a:gd name="connsiteX24" fmla="*/ 6863024 w 11851944"/>
              <a:gd name="connsiteY24" fmla="*/ 2839004 h 2934038"/>
              <a:gd name="connsiteX25" fmla="*/ 6722347 w 11851944"/>
              <a:gd name="connsiteY25" fmla="*/ 2828956 h 2934038"/>
              <a:gd name="connsiteX26" fmla="*/ 4903596 w 11851944"/>
              <a:gd name="connsiteY26" fmla="*/ 2879198 h 2934038"/>
              <a:gd name="connsiteX27" fmla="*/ 4059534 w 11851944"/>
              <a:gd name="connsiteY27" fmla="*/ 2859101 h 2934038"/>
              <a:gd name="connsiteX28" fmla="*/ 3064747 w 11851944"/>
              <a:gd name="connsiteY28" fmla="*/ 2839004 h 2934038"/>
              <a:gd name="connsiteX29" fmla="*/ 2009670 w 11851944"/>
              <a:gd name="connsiteY29" fmla="*/ 2849053 h 2934038"/>
              <a:gd name="connsiteX30" fmla="*/ 1205803 w 11851944"/>
              <a:gd name="connsiteY30" fmla="*/ 2929437 h 2934038"/>
              <a:gd name="connsiteX31" fmla="*/ 944545 w 11851944"/>
              <a:gd name="connsiteY31" fmla="*/ 2919391 h 2934038"/>
              <a:gd name="connsiteX32" fmla="*/ 723481 w 11851944"/>
              <a:gd name="connsiteY32" fmla="*/ 2879198 h 2934038"/>
              <a:gd name="connsiteX33" fmla="*/ 643095 w 11851944"/>
              <a:gd name="connsiteY33" fmla="*/ 2869149 h 2934038"/>
              <a:gd name="connsiteX34" fmla="*/ 371789 w 11851944"/>
              <a:gd name="connsiteY34" fmla="*/ 2828956 h 2934038"/>
              <a:gd name="connsiteX35" fmla="*/ 0 w 11851944"/>
              <a:gd name="connsiteY35" fmla="*/ 2818908 h 2934038"/>
              <a:gd name="connsiteX0" fmla="*/ 120580 w 11851944"/>
              <a:gd name="connsiteY0" fmla="*/ 55611 h 2919923"/>
              <a:gd name="connsiteX1" fmla="*/ 281354 w 11851944"/>
              <a:gd name="connsiteY1" fmla="*/ 45562 h 2919923"/>
              <a:gd name="connsiteX2" fmla="*/ 673240 w 11851944"/>
              <a:gd name="connsiteY2" fmla="*/ 35514 h 2919923"/>
              <a:gd name="connsiteX3" fmla="*/ 1356528 w 11851944"/>
              <a:gd name="connsiteY3" fmla="*/ 85756 h 2919923"/>
              <a:gd name="connsiteX4" fmla="*/ 1758462 w 11851944"/>
              <a:gd name="connsiteY4" fmla="*/ 45562 h 2919923"/>
              <a:gd name="connsiteX5" fmla="*/ 2140299 w 11851944"/>
              <a:gd name="connsiteY5" fmla="*/ 45562 h 2919923"/>
              <a:gd name="connsiteX6" fmla="*/ 4652387 w 11851944"/>
              <a:gd name="connsiteY6" fmla="*/ 65659 h 2919923"/>
              <a:gd name="connsiteX7" fmla="*/ 4692580 w 11851944"/>
              <a:gd name="connsiteY7" fmla="*/ 75708 h 2919923"/>
              <a:gd name="connsiteX8" fmla="*/ 6420897 w 11851944"/>
              <a:gd name="connsiteY8" fmla="*/ 95804 h 2919923"/>
              <a:gd name="connsiteX9" fmla="*/ 7184571 w 11851944"/>
              <a:gd name="connsiteY9" fmla="*/ 65659 h 2919923"/>
              <a:gd name="connsiteX10" fmla="*/ 7928150 w 11851944"/>
              <a:gd name="connsiteY10" fmla="*/ 65659 h 2919923"/>
              <a:gd name="connsiteX11" fmla="*/ 8219552 w 11851944"/>
              <a:gd name="connsiteY11" fmla="*/ 95804 h 2919923"/>
              <a:gd name="connsiteX12" fmla="*/ 9606224 w 11851944"/>
              <a:gd name="connsiteY12" fmla="*/ 95804 h 2919923"/>
              <a:gd name="connsiteX13" fmla="*/ 9947868 w 11851944"/>
              <a:gd name="connsiteY13" fmla="*/ 65659 h 2919923"/>
              <a:gd name="connsiteX14" fmla="*/ 10791930 w 11851944"/>
              <a:gd name="connsiteY14" fmla="*/ 35514 h 2919923"/>
              <a:gd name="connsiteX15" fmla="*/ 11736475 w 11851944"/>
              <a:gd name="connsiteY15" fmla="*/ 55611 h 2919923"/>
              <a:gd name="connsiteX16" fmla="*/ 11806813 w 11851944"/>
              <a:gd name="connsiteY16" fmla="*/ 769044 h 2919923"/>
              <a:gd name="connsiteX17" fmla="*/ 11816862 w 11851944"/>
              <a:gd name="connsiteY17" fmla="*/ 2336587 h 2919923"/>
              <a:gd name="connsiteX18" fmla="*/ 11806813 w 11851944"/>
              <a:gd name="connsiteY18" fmla="*/ 2828956 h 2919923"/>
              <a:gd name="connsiteX19" fmla="*/ 11033090 w 11851944"/>
              <a:gd name="connsiteY19" fmla="*/ 2859101 h 2919923"/>
              <a:gd name="connsiteX20" fmla="*/ 10128739 w 11851944"/>
              <a:gd name="connsiteY20" fmla="*/ 2859101 h 2919923"/>
              <a:gd name="connsiteX21" fmla="*/ 9555982 w 11851944"/>
              <a:gd name="connsiteY21" fmla="*/ 2859101 h 2919923"/>
              <a:gd name="connsiteX22" fmla="*/ 9204290 w 11851944"/>
              <a:gd name="connsiteY22" fmla="*/ 2808859 h 2919923"/>
              <a:gd name="connsiteX23" fmla="*/ 7486022 w 11851944"/>
              <a:gd name="connsiteY23" fmla="*/ 2818908 h 2919923"/>
              <a:gd name="connsiteX24" fmla="*/ 6863024 w 11851944"/>
              <a:gd name="connsiteY24" fmla="*/ 2839004 h 2919923"/>
              <a:gd name="connsiteX25" fmla="*/ 6722347 w 11851944"/>
              <a:gd name="connsiteY25" fmla="*/ 2828956 h 2919923"/>
              <a:gd name="connsiteX26" fmla="*/ 4903596 w 11851944"/>
              <a:gd name="connsiteY26" fmla="*/ 2879198 h 2919923"/>
              <a:gd name="connsiteX27" fmla="*/ 4059534 w 11851944"/>
              <a:gd name="connsiteY27" fmla="*/ 2859101 h 2919923"/>
              <a:gd name="connsiteX28" fmla="*/ 3064747 w 11851944"/>
              <a:gd name="connsiteY28" fmla="*/ 2839004 h 2919923"/>
              <a:gd name="connsiteX29" fmla="*/ 2009670 w 11851944"/>
              <a:gd name="connsiteY29" fmla="*/ 2849053 h 2919923"/>
              <a:gd name="connsiteX30" fmla="*/ 944545 w 11851944"/>
              <a:gd name="connsiteY30" fmla="*/ 2919391 h 2919923"/>
              <a:gd name="connsiteX31" fmla="*/ 723481 w 11851944"/>
              <a:gd name="connsiteY31" fmla="*/ 2879198 h 2919923"/>
              <a:gd name="connsiteX32" fmla="*/ 643095 w 11851944"/>
              <a:gd name="connsiteY32" fmla="*/ 2869149 h 2919923"/>
              <a:gd name="connsiteX33" fmla="*/ 371789 w 11851944"/>
              <a:gd name="connsiteY33" fmla="*/ 2828956 h 2919923"/>
              <a:gd name="connsiteX34" fmla="*/ 0 w 11851944"/>
              <a:gd name="connsiteY34" fmla="*/ 2818908 h 2919923"/>
              <a:gd name="connsiteX0" fmla="*/ 120580 w 11851944"/>
              <a:gd name="connsiteY0" fmla="*/ 55611 h 2890922"/>
              <a:gd name="connsiteX1" fmla="*/ 281354 w 11851944"/>
              <a:gd name="connsiteY1" fmla="*/ 45562 h 2890922"/>
              <a:gd name="connsiteX2" fmla="*/ 673240 w 11851944"/>
              <a:gd name="connsiteY2" fmla="*/ 35514 h 2890922"/>
              <a:gd name="connsiteX3" fmla="*/ 1356528 w 11851944"/>
              <a:gd name="connsiteY3" fmla="*/ 85756 h 2890922"/>
              <a:gd name="connsiteX4" fmla="*/ 1758462 w 11851944"/>
              <a:gd name="connsiteY4" fmla="*/ 45562 h 2890922"/>
              <a:gd name="connsiteX5" fmla="*/ 2140299 w 11851944"/>
              <a:gd name="connsiteY5" fmla="*/ 45562 h 2890922"/>
              <a:gd name="connsiteX6" fmla="*/ 4652387 w 11851944"/>
              <a:gd name="connsiteY6" fmla="*/ 65659 h 2890922"/>
              <a:gd name="connsiteX7" fmla="*/ 4692580 w 11851944"/>
              <a:gd name="connsiteY7" fmla="*/ 75708 h 2890922"/>
              <a:gd name="connsiteX8" fmla="*/ 6420897 w 11851944"/>
              <a:gd name="connsiteY8" fmla="*/ 95804 h 2890922"/>
              <a:gd name="connsiteX9" fmla="*/ 7184571 w 11851944"/>
              <a:gd name="connsiteY9" fmla="*/ 65659 h 2890922"/>
              <a:gd name="connsiteX10" fmla="*/ 7928150 w 11851944"/>
              <a:gd name="connsiteY10" fmla="*/ 65659 h 2890922"/>
              <a:gd name="connsiteX11" fmla="*/ 8219552 w 11851944"/>
              <a:gd name="connsiteY11" fmla="*/ 95804 h 2890922"/>
              <a:gd name="connsiteX12" fmla="*/ 9606224 w 11851944"/>
              <a:gd name="connsiteY12" fmla="*/ 95804 h 2890922"/>
              <a:gd name="connsiteX13" fmla="*/ 9947868 w 11851944"/>
              <a:gd name="connsiteY13" fmla="*/ 65659 h 2890922"/>
              <a:gd name="connsiteX14" fmla="*/ 10791930 w 11851944"/>
              <a:gd name="connsiteY14" fmla="*/ 35514 h 2890922"/>
              <a:gd name="connsiteX15" fmla="*/ 11736475 w 11851944"/>
              <a:gd name="connsiteY15" fmla="*/ 55611 h 2890922"/>
              <a:gd name="connsiteX16" fmla="*/ 11806813 w 11851944"/>
              <a:gd name="connsiteY16" fmla="*/ 769044 h 2890922"/>
              <a:gd name="connsiteX17" fmla="*/ 11816862 w 11851944"/>
              <a:gd name="connsiteY17" fmla="*/ 2336587 h 2890922"/>
              <a:gd name="connsiteX18" fmla="*/ 11806813 w 11851944"/>
              <a:gd name="connsiteY18" fmla="*/ 2828956 h 2890922"/>
              <a:gd name="connsiteX19" fmla="*/ 11033090 w 11851944"/>
              <a:gd name="connsiteY19" fmla="*/ 2859101 h 2890922"/>
              <a:gd name="connsiteX20" fmla="*/ 10128739 w 11851944"/>
              <a:gd name="connsiteY20" fmla="*/ 2859101 h 2890922"/>
              <a:gd name="connsiteX21" fmla="*/ 9555982 w 11851944"/>
              <a:gd name="connsiteY21" fmla="*/ 2859101 h 2890922"/>
              <a:gd name="connsiteX22" fmla="*/ 9204290 w 11851944"/>
              <a:gd name="connsiteY22" fmla="*/ 2808859 h 2890922"/>
              <a:gd name="connsiteX23" fmla="*/ 7486022 w 11851944"/>
              <a:gd name="connsiteY23" fmla="*/ 2818908 h 2890922"/>
              <a:gd name="connsiteX24" fmla="*/ 6863024 w 11851944"/>
              <a:gd name="connsiteY24" fmla="*/ 2839004 h 2890922"/>
              <a:gd name="connsiteX25" fmla="*/ 6722347 w 11851944"/>
              <a:gd name="connsiteY25" fmla="*/ 2828956 h 2890922"/>
              <a:gd name="connsiteX26" fmla="*/ 4903596 w 11851944"/>
              <a:gd name="connsiteY26" fmla="*/ 2879198 h 2890922"/>
              <a:gd name="connsiteX27" fmla="*/ 4059534 w 11851944"/>
              <a:gd name="connsiteY27" fmla="*/ 2859101 h 2890922"/>
              <a:gd name="connsiteX28" fmla="*/ 3064747 w 11851944"/>
              <a:gd name="connsiteY28" fmla="*/ 2839004 h 2890922"/>
              <a:gd name="connsiteX29" fmla="*/ 2009670 w 11851944"/>
              <a:gd name="connsiteY29" fmla="*/ 2849053 h 2890922"/>
              <a:gd name="connsiteX30" fmla="*/ 723481 w 11851944"/>
              <a:gd name="connsiteY30" fmla="*/ 2879198 h 2890922"/>
              <a:gd name="connsiteX31" fmla="*/ 643095 w 11851944"/>
              <a:gd name="connsiteY31" fmla="*/ 2869149 h 2890922"/>
              <a:gd name="connsiteX32" fmla="*/ 371789 w 11851944"/>
              <a:gd name="connsiteY32" fmla="*/ 2828956 h 2890922"/>
              <a:gd name="connsiteX33" fmla="*/ 0 w 11851944"/>
              <a:gd name="connsiteY33" fmla="*/ 2818908 h 2890922"/>
              <a:gd name="connsiteX0" fmla="*/ 120580 w 11851944"/>
              <a:gd name="connsiteY0" fmla="*/ 55611 h 2890922"/>
              <a:gd name="connsiteX1" fmla="*/ 281354 w 11851944"/>
              <a:gd name="connsiteY1" fmla="*/ 45562 h 2890922"/>
              <a:gd name="connsiteX2" fmla="*/ 673240 w 11851944"/>
              <a:gd name="connsiteY2" fmla="*/ 35514 h 2890922"/>
              <a:gd name="connsiteX3" fmla="*/ 1356528 w 11851944"/>
              <a:gd name="connsiteY3" fmla="*/ 85756 h 2890922"/>
              <a:gd name="connsiteX4" fmla="*/ 1758462 w 11851944"/>
              <a:gd name="connsiteY4" fmla="*/ 45562 h 2890922"/>
              <a:gd name="connsiteX5" fmla="*/ 2140299 w 11851944"/>
              <a:gd name="connsiteY5" fmla="*/ 45562 h 2890922"/>
              <a:gd name="connsiteX6" fmla="*/ 4652387 w 11851944"/>
              <a:gd name="connsiteY6" fmla="*/ 65659 h 2890922"/>
              <a:gd name="connsiteX7" fmla="*/ 4692580 w 11851944"/>
              <a:gd name="connsiteY7" fmla="*/ 75708 h 2890922"/>
              <a:gd name="connsiteX8" fmla="*/ 6420897 w 11851944"/>
              <a:gd name="connsiteY8" fmla="*/ 95804 h 2890922"/>
              <a:gd name="connsiteX9" fmla="*/ 7184571 w 11851944"/>
              <a:gd name="connsiteY9" fmla="*/ 65659 h 2890922"/>
              <a:gd name="connsiteX10" fmla="*/ 7928150 w 11851944"/>
              <a:gd name="connsiteY10" fmla="*/ 65659 h 2890922"/>
              <a:gd name="connsiteX11" fmla="*/ 8219552 w 11851944"/>
              <a:gd name="connsiteY11" fmla="*/ 95804 h 2890922"/>
              <a:gd name="connsiteX12" fmla="*/ 9606224 w 11851944"/>
              <a:gd name="connsiteY12" fmla="*/ 95804 h 2890922"/>
              <a:gd name="connsiteX13" fmla="*/ 9947868 w 11851944"/>
              <a:gd name="connsiteY13" fmla="*/ 65659 h 2890922"/>
              <a:gd name="connsiteX14" fmla="*/ 10791930 w 11851944"/>
              <a:gd name="connsiteY14" fmla="*/ 35514 h 2890922"/>
              <a:gd name="connsiteX15" fmla="*/ 11736475 w 11851944"/>
              <a:gd name="connsiteY15" fmla="*/ 55611 h 2890922"/>
              <a:gd name="connsiteX16" fmla="*/ 11806813 w 11851944"/>
              <a:gd name="connsiteY16" fmla="*/ 769044 h 2890922"/>
              <a:gd name="connsiteX17" fmla="*/ 11816862 w 11851944"/>
              <a:gd name="connsiteY17" fmla="*/ 2336587 h 2890922"/>
              <a:gd name="connsiteX18" fmla="*/ 11806813 w 11851944"/>
              <a:gd name="connsiteY18" fmla="*/ 2828956 h 2890922"/>
              <a:gd name="connsiteX19" fmla="*/ 11033090 w 11851944"/>
              <a:gd name="connsiteY19" fmla="*/ 2859101 h 2890922"/>
              <a:gd name="connsiteX20" fmla="*/ 10128739 w 11851944"/>
              <a:gd name="connsiteY20" fmla="*/ 2859101 h 2890922"/>
              <a:gd name="connsiteX21" fmla="*/ 9555982 w 11851944"/>
              <a:gd name="connsiteY21" fmla="*/ 2859101 h 2890922"/>
              <a:gd name="connsiteX22" fmla="*/ 9204290 w 11851944"/>
              <a:gd name="connsiteY22" fmla="*/ 2808859 h 2890922"/>
              <a:gd name="connsiteX23" fmla="*/ 7486022 w 11851944"/>
              <a:gd name="connsiteY23" fmla="*/ 2818908 h 2890922"/>
              <a:gd name="connsiteX24" fmla="*/ 6863024 w 11851944"/>
              <a:gd name="connsiteY24" fmla="*/ 2839004 h 2890922"/>
              <a:gd name="connsiteX25" fmla="*/ 6722347 w 11851944"/>
              <a:gd name="connsiteY25" fmla="*/ 2828956 h 2890922"/>
              <a:gd name="connsiteX26" fmla="*/ 4903596 w 11851944"/>
              <a:gd name="connsiteY26" fmla="*/ 2879198 h 2890922"/>
              <a:gd name="connsiteX27" fmla="*/ 4059534 w 11851944"/>
              <a:gd name="connsiteY27" fmla="*/ 2859101 h 2890922"/>
              <a:gd name="connsiteX28" fmla="*/ 3064747 w 11851944"/>
              <a:gd name="connsiteY28" fmla="*/ 2839004 h 2890922"/>
              <a:gd name="connsiteX29" fmla="*/ 2009670 w 11851944"/>
              <a:gd name="connsiteY29" fmla="*/ 2849053 h 2890922"/>
              <a:gd name="connsiteX30" fmla="*/ 643095 w 11851944"/>
              <a:gd name="connsiteY30" fmla="*/ 2869149 h 2890922"/>
              <a:gd name="connsiteX31" fmla="*/ 371789 w 11851944"/>
              <a:gd name="connsiteY31" fmla="*/ 2828956 h 2890922"/>
              <a:gd name="connsiteX32" fmla="*/ 0 w 11851944"/>
              <a:gd name="connsiteY32" fmla="*/ 2818908 h 2890922"/>
              <a:gd name="connsiteX0" fmla="*/ 0 w 11731364"/>
              <a:gd name="connsiteY0" fmla="*/ 55611 h 2890922"/>
              <a:gd name="connsiteX1" fmla="*/ 160774 w 11731364"/>
              <a:gd name="connsiteY1" fmla="*/ 45562 h 2890922"/>
              <a:gd name="connsiteX2" fmla="*/ 552660 w 11731364"/>
              <a:gd name="connsiteY2" fmla="*/ 35514 h 2890922"/>
              <a:gd name="connsiteX3" fmla="*/ 1235948 w 11731364"/>
              <a:gd name="connsiteY3" fmla="*/ 85756 h 2890922"/>
              <a:gd name="connsiteX4" fmla="*/ 1637882 w 11731364"/>
              <a:gd name="connsiteY4" fmla="*/ 45562 h 2890922"/>
              <a:gd name="connsiteX5" fmla="*/ 2019719 w 11731364"/>
              <a:gd name="connsiteY5" fmla="*/ 45562 h 2890922"/>
              <a:gd name="connsiteX6" fmla="*/ 4531807 w 11731364"/>
              <a:gd name="connsiteY6" fmla="*/ 65659 h 2890922"/>
              <a:gd name="connsiteX7" fmla="*/ 4572000 w 11731364"/>
              <a:gd name="connsiteY7" fmla="*/ 75708 h 2890922"/>
              <a:gd name="connsiteX8" fmla="*/ 6300317 w 11731364"/>
              <a:gd name="connsiteY8" fmla="*/ 95804 h 2890922"/>
              <a:gd name="connsiteX9" fmla="*/ 7063991 w 11731364"/>
              <a:gd name="connsiteY9" fmla="*/ 65659 h 2890922"/>
              <a:gd name="connsiteX10" fmla="*/ 7807570 w 11731364"/>
              <a:gd name="connsiteY10" fmla="*/ 65659 h 2890922"/>
              <a:gd name="connsiteX11" fmla="*/ 8098972 w 11731364"/>
              <a:gd name="connsiteY11" fmla="*/ 95804 h 2890922"/>
              <a:gd name="connsiteX12" fmla="*/ 9485644 w 11731364"/>
              <a:gd name="connsiteY12" fmla="*/ 95804 h 2890922"/>
              <a:gd name="connsiteX13" fmla="*/ 9827288 w 11731364"/>
              <a:gd name="connsiteY13" fmla="*/ 65659 h 2890922"/>
              <a:gd name="connsiteX14" fmla="*/ 10671350 w 11731364"/>
              <a:gd name="connsiteY14" fmla="*/ 35514 h 2890922"/>
              <a:gd name="connsiteX15" fmla="*/ 11615895 w 11731364"/>
              <a:gd name="connsiteY15" fmla="*/ 55611 h 2890922"/>
              <a:gd name="connsiteX16" fmla="*/ 11686233 w 11731364"/>
              <a:gd name="connsiteY16" fmla="*/ 769044 h 2890922"/>
              <a:gd name="connsiteX17" fmla="*/ 11696282 w 11731364"/>
              <a:gd name="connsiteY17" fmla="*/ 2336587 h 2890922"/>
              <a:gd name="connsiteX18" fmla="*/ 11686233 w 11731364"/>
              <a:gd name="connsiteY18" fmla="*/ 2828956 h 2890922"/>
              <a:gd name="connsiteX19" fmla="*/ 10912510 w 11731364"/>
              <a:gd name="connsiteY19" fmla="*/ 2859101 h 2890922"/>
              <a:gd name="connsiteX20" fmla="*/ 10008159 w 11731364"/>
              <a:gd name="connsiteY20" fmla="*/ 2859101 h 2890922"/>
              <a:gd name="connsiteX21" fmla="*/ 9435402 w 11731364"/>
              <a:gd name="connsiteY21" fmla="*/ 2859101 h 2890922"/>
              <a:gd name="connsiteX22" fmla="*/ 9083710 w 11731364"/>
              <a:gd name="connsiteY22" fmla="*/ 2808859 h 2890922"/>
              <a:gd name="connsiteX23" fmla="*/ 7365442 w 11731364"/>
              <a:gd name="connsiteY23" fmla="*/ 2818908 h 2890922"/>
              <a:gd name="connsiteX24" fmla="*/ 6742444 w 11731364"/>
              <a:gd name="connsiteY24" fmla="*/ 2839004 h 2890922"/>
              <a:gd name="connsiteX25" fmla="*/ 6601767 w 11731364"/>
              <a:gd name="connsiteY25" fmla="*/ 2828956 h 2890922"/>
              <a:gd name="connsiteX26" fmla="*/ 4783016 w 11731364"/>
              <a:gd name="connsiteY26" fmla="*/ 2879198 h 2890922"/>
              <a:gd name="connsiteX27" fmla="*/ 3938954 w 11731364"/>
              <a:gd name="connsiteY27" fmla="*/ 2859101 h 2890922"/>
              <a:gd name="connsiteX28" fmla="*/ 2944167 w 11731364"/>
              <a:gd name="connsiteY28" fmla="*/ 2839004 h 2890922"/>
              <a:gd name="connsiteX29" fmla="*/ 1889090 w 11731364"/>
              <a:gd name="connsiteY29" fmla="*/ 2849053 h 2890922"/>
              <a:gd name="connsiteX30" fmla="*/ 522515 w 11731364"/>
              <a:gd name="connsiteY30" fmla="*/ 2869149 h 2890922"/>
              <a:gd name="connsiteX31" fmla="*/ 251209 w 11731364"/>
              <a:gd name="connsiteY31" fmla="*/ 2828956 h 2890922"/>
              <a:gd name="connsiteX32" fmla="*/ 10048 w 11731364"/>
              <a:gd name="connsiteY32" fmla="*/ 2839005 h 2890922"/>
              <a:gd name="connsiteX0" fmla="*/ 0 w 11731364"/>
              <a:gd name="connsiteY0" fmla="*/ 55611 h 2890922"/>
              <a:gd name="connsiteX1" fmla="*/ 160774 w 11731364"/>
              <a:gd name="connsiteY1" fmla="*/ 45562 h 2890922"/>
              <a:gd name="connsiteX2" fmla="*/ 552660 w 11731364"/>
              <a:gd name="connsiteY2" fmla="*/ 35514 h 2890922"/>
              <a:gd name="connsiteX3" fmla="*/ 1235948 w 11731364"/>
              <a:gd name="connsiteY3" fmla="*/ 85756 h 2890922"/>
              <a:gd name="connsiteX4" fmla="*/ 1637882 w 11731364"/>
              <a:gd name="connsiteY4" fmla="*/ 45562 h 2890922"/>
              <a:gd name="connsiteX5" fmla="*/ 2019719 w 11731364"/>
              <a:gd name="connsiteY5" fmla="*/ 45562 h 2890922"/>
              <a:gd name="connsiteX6" fmla="*/ 4531807 w 11731364"/>
              <a:gd name="connsiteY6" fmla="*/ 65659 h 2890922"/>
              <a:gd name="connsiteX7" fmla="*/ 4572000 w 11731364"/>
              <a:gd name="connsiteY7" fmla="*/ 75708 h 2890922"/>
              <a:gd name="connsiteX8" fmla="*/ 6300317 w 11731364"/>
              <a:gd name="connsiteY8" fmla="*/ 95804 h 2890922"/>
              <a:gd name="connsiteX9" fmla="*/ 7063991 w 11731364"/>
              <a:gd name="connsiteY9" fmla="*/ 65659 h 2890922"/>
              <a:gd name="connsiteX10" fmla="*/ 7807570 w 11731364"/>
              <a:gd name="connsiteY10" fmla="*/ 65659 h 2890922"/>
              <a:gd name="connsiteX11" fmla="*/ 8098972 w 11731364"/>
              <a:gd name="connsiteY11" fmla="*/ 95804 h 2890922"/>
              <a:gd name="connsiteX12" fmla="*/ 9485644 w 11731364"/>
              <a:gd name="connsiteY12" fmla="*/ 95804 h 2890922"/>
              <a:gd name="connsiteX13" fmla="*/ 9827288 w 11731364"/>
              <a:gd name="connsiteY13" fmla="*/ 65659 h 2890922"/>
              <a:gd name="connsiteX14" fmla="*/ 10671350 w 11731364"/>
              <a:gd name="connsiteY14" fmla="*/ 35514 h 2890922"/>
              <a:gd name="connsiteX15" fmla="*/ 11615895 w 11731364"/>
              <a:gd name="connsiteY15" fmla="*/ 55611 h 2890922"/>
              <a:gd name="connsiteX16" fmla="*/ 11686233 w 11731364"/>
              <a:gd name="connsiteY16" fmla="*/ 769044 h 2890922"/>
              <a:gd name="connsiteX17" fmla="*/ 11696282 w 11731364"/>
              <a:gd name="connsiteY17" fmla="*/ 2336587 h 2890922"/>
              <a:gd name="connsiteX18" fmla="*/ 11686233 w 11731364"/>
              <a:gd name="connsiteY18" fmla="*/ 2828956 h 2890922"/>
              <a:gd name="connsiteX19" fmla="*/ 10912510 w 11731364"/>
              <a:gd name="connsiteY19" fmla="*/ 2859101 h 2890922"/>
              <a:gd name="connsiteX20" fmla="*/ 10008159 w 11731364"/>
              <a:gd name="connsiteY20" fmla="*/ 2859101 h 2890922"/>
              <a:gd name="connsiteX21" fmla="*/ 9435402 w 11731364"/>
              <a:gd name="connsiteY21" fmla="*/ 2859101 h 2890922"/>
              <a:gd name="connsiteX22" fmla="*/ 7365442 w 11731364"/>
              <a:gd name="connsiteY22" fmla="*/ 2818908 h 2890922"/>
              <a:gd name="connsiteX23" fmla="*/ 6742444 w 11731364"/>
              <a:gd name="connsiteY23" fmla="*/ 2839004 h 2890922"/>
              <a:gd name="connsiteX24" fmla="*/ 6601767 w 11731364"/>
              <a:gd name="connsiteY24" fmla="*/ 2828956 h 2890922"/>
              <a:gd name="connsiteX25" fmla="*/ 4783016 w 11731364"/>
              <a:gd name="connsiteY25" fmla="*/ 2879198 h 2890922"/>
              <a:gd name="connsiteX26" fmla="*/ 3938954 w 11731364"/>
              <a:gd name="connsiteY26" fmla="*/ 2859101 h 2890922"/>
              <a:gd name="connsiteX27" fmla="*/ 2944167 w 11731364"/>
              <a:gd name="connsiteY27" fmla="*/ 2839004 h 2890922"/>
              <a:gd name="connsiteX28" fmla="*/ 1889090 w 11731364"/>
              <a:gd name="connsiteY28" fmla="*/ 2849053 h 2890922"/>
              <a:gd name="connsiteX29" fmla="*/ 522515 w 11731364"/>
              <a:gd name="connsiteY29" fmla="*/ 2869149 h 2890922"/>
              <a:gd name="connsiteX30" fmla="*/ 251209 w 11731364"/>
              <a:gd name="connsiteY30" fmla="*/ 2828956 h 2890922"/>
              <a:gd name="connsiteX31" fmla="*/ 10048 w 11731364"/>
              <a:gd name="connsiteY31" fmla="*/ 2839005 h 2890922"/>
              <a:gd name="connsiteX0" fmla="*/ 0 w 11731364"/>
              <a:gd name="connsiteY0" fmla="*/ 55611 h 2890922"/>
              <a:gd name="connsiteX1" fmla="*/ 160774 w 11731364"/>
              <a:gd name="connsiteY1" fmla="*/ 45562 h 2890922"/>
              <a:gd name="connsiteX2" fmla="*/ 552660 w 11731364"/>
              <a:gd name="connsiteY2" fmla="*/ 35514 h 2890922"/>
              <a:gd name="connsiteX3" fmla="*/ 1235948 w 11731364"/>
              <a:gd name="connsiteY3" fmla="*/ 85756 h 2890922"/>
              <a:gd name="connsiteX4" fmla="*/ 1637882 w 11731364"/>
              <a:gd name="connsiteY4" fmla="*/ 45562 h 2890922"/>
              <a:gd name="connsiteX5" fmla="*/ 2019719 w 11731364"/>
              <a:gd name="connsiteY5" fmla="*/ 45562 h 2890922"/>
              <a:gd name="connsiteX6" fmla="*/ 4531807 w 11731364"/>
              <a:gd name="connsiteY6" fmla="*/ 65659 h 2890922"/>
              <a:gd name="connsiteX7" fmla="*/ 4572000 w 11731364"/>
              <a:gd name="connsiteY7" fmla="*/ 75708 h 2890922"/>
              <a:gd name="connsiteX8" fmla="*/ 6300317 w 11731364"/>
              <a:gd name="connsiteY8" fmla="*/ 95804 h 2890922"/>
              <a:gd name="connsiteX9" fmla="*/ 7063991 w 11731364"/>
              <a:gd name="connsiteY9" fmla="*/ 65659 h 2890922"/>
              <a:gd name="connsiteX10" fmla="*/ 7807570 w 11731364"/>
              <a:gd name="connsiteY10" fmla="*/ 65659 h 2890922"/>
              <a:gd name="connsiteX11" fmla="*/ 8098972 w 11731364"/>
              <a:gd name="connsiteY11" fmla="*/ 95804 h 2890922"/>
              <a:gd name="connsiteX12" fmla="*/ 9485644 w 11731364"/>
              <a:gd name="connsiteY12" fmla="*/ 95804 h 2890922"/>
              <a:gd name="connsiteX13" fmla="*/ 9827288 w 11731364"/>
              <a:gd name="connsiteY13" fmla="*/ 65659 h 2890922"/>
              <a:gd name="connsiteX14" fmla="*/ 10671350 w 11731364"/>
              <a:gd name="connsiteY14" fmla="*/ 35514 h 2890922"/>
              <a:gd name="connsiteX15" fmla="*/ 11615895 w 11731364"/>
              <a:gd name="connsiteY15" fmla="*/ 55611 h 2890922"/>
              <a:gd name="connsiteX16" fmla="*/ 11686233 w 11731364"/>
              <a:gd name="connsiteY16" fmla="*/ 769044 h 2890922"/>
              <a:gd name="connsiteX17" fmla="*/ 11696282 w 11731364"/>
              <a:gd name="connsiteY17" fmla="*/ 2336587 h 2890922"/>
              <a:gd name="connsiteX18" fmla="*/ 11686233 w 11731364"/>
              <a:gd name="connsiteY18" fmla="*/ 2828956 h 2890922"/>
              <a:gd name="connsiteX19" fmla="*/ 10912510 w 11731364"/>
              <a:gd name="connsiteY19" fmla="*/ 2859101 h 2890922"/>
              <a:gd name="connsiteX20" fmla="*/ 10008159 w 11731364"/>
              <a:gd name="connsiteY20" fmla="*/ 2859101 h 2890922"/>
              <a:gd name="connsiteX21" fmla="*/ 9435402 w 11731364"/>
              <a:gd name="connsiteY21" fmla="*/ 2859101 h 2890922"/>
              <a:gd name="connsiteX22" fmla="*/ 7365442 w 11731364"/>
              <a:gd name="connsiteY22" fmla="*/ 2818908 h 2890922"/>
              <a:gd name="connsiteX23" fmla="*/ 6742444 w 11731364"/>
              <a:gd name="connsiteY23" fmla="*/ 2839004 h 2890922"/>
              <a:gd name="connsiteX24" fmla="*/ 6601767 w 11731364"/>
              <a:gd name="connsiteY24" fmla="*/ 2828956 h 2890922"/>
              <a:gd name="connsiteX25" fmla="*/ 4783016 w 11731364"/>
              <a:gd name="connsiteY25" fmla="*/ 2879198 h 2890922"/>
              <a:gd name="connsiteX26" fmla="*/ 3938954 w 11731364"/>
              <a:gd name="connsiteY26" fmla="*/ 2859101 h 2890922"/>
              <a:gd name="connsiteX27" fmla="*/ 2944167 w 11731364"/>
              <a:gd name="connsiteY27" fmla="*/ 2839004 h 2890922"/>
              <a:gd name="connsiteX28" fmla="*/ 1889090 w 11731364"/>
              <a:gd name="connsiteY28" fmla="*/ 2849053 h 2890922"/>
              <a:gd name="connsiteX29" fmla="*/ 522515 w 11731364"/>
              <a:gd name="connsiteY29" fmla="*/ 2869149 h 2890922"/>
              <a:gd name="connsiteX30" fmla="*/ 10048 w 11731364"/>
              <a:gd name="connsiteY30" fmla="*/ 2839005 h 2890922"/>
              <a:gd name="connsiteX0" fmla="*/ 0 w 11731364"/>
              <a:gd name="connsiteY0" fmla="*/ 55611 h 2890922"/>
              <a:gd name="connsiteX1" fmla="*/ 160774 w 11731364"/>
              <a:gd name="connsiteY1" fmla="*/ 45562 h 2890922"/>
              <a:gd name="connsiteX2" fmla="*/ 552660 w 11731364"/>
              <a:gd name="connsiteY2" fmla="*/ 35514 h 2890922"/>
              <a:gd name="connsiteX3" fmla="*/ 1637882 w 11731364"/>
              <a:gd name="connsiteY3" fmla="*/ 45562 h 2890922"/>
              <a:gd name="connsiteX4" fmla="*/ 2019719 w 11731364"/>
              <a:gd name="connsiteY4" fmla="*/ 45562 h 2890922"/>
              <a:gd name="connsiteX5" fmla="*/ 4531807 w 11731364"/>
              <a:gd name="connsiteY5" fmla="*/ 65659 h 2890922"/>
              <a:gd name="connsiteX6" fmla="*/ 4572000 w 11731364"/>
              <a:gd name="connsiteY6" fmla="*/ 75708 h 2890922"/>
              <a:gd name="connsiteX7" fmla="*/ 6300317 w 11731364"/>
              <a:gd name="connsiteY7" fmla="*/ 95804 h 2890922"/>
              <a:gd name="connsiteX8" fmla="*/ 7063991 w 11731364"/>
              <a:gd name="connsiteY8" fmla="*/ 65659 h 2890922"/>
              <a:gd name="connsiteX9" fmla="*/ 7807570 w 11731364"/>
              <a:gd name="connsiteY9" fmla="*/ 65659 h 2890922"/>
              <a:gd name="connsiteX10" fmla="*/ 8098972 w 11731364"/>
              <a:gd name="connsiteY10" fmla="*/ 95804 h 2890922"/>
              <a:gd name="connsiteX11" fmla="*/ 9485644 w 11731364"/>
              <a:gd name="connsiteY11" fmla="*/ 95804 h 2890922"/>
              <a:gd name="connsiteX12" fmla="*/ 9827288 w 11731364"/>
              <a:gd name="connsiteY12" fmla="*/ 65659 h 2890922"/>
              <a:gd name="connsiteX13" fmla="*/ 10671350 w 11731364"/>
              <a:gd name="connsiteY13" fmla="*/ 35514 h 2890922"/>
              <a:gd name="connsiteX14" fmla="*/ 11615895 w 11731364"/>
              <a:gd name="connsiteY14" fmla="*/ 55611 h 2890922"/>
              <a:gd name="connsiteX15" fmla="*/ 11686233 w 11731364"/>
              <a:gd name="connsiteY15" fmla="*/ 769044 h 2890922"/>
              <a:gd name="connsiteX16" fmla="*/ 11696282 w 11731364"/>
              <a:gd name="connsiteY16" fmla="*/ 2336587 h 2890922"/>
              <a:gd name="connsiteX17" fmla="*/ 11686233 w 11731364"/>
              <a:gd name="connsiteY17" fmla="*/ 2828956 h 2890922"/>
              <a:gd name="connsiteX18" fmla="*/ 10912510 w 11731364"/>
              <a:gd name="connsiteY18" fmla="*/ 2859101 h 2890922"/>
              <a:gd name="connsiteX19" fmla="*/ 10008159 w 11731364"/>
              <a:gd name="connsiteY19" fmla="*/ 2859101 h 2890922"/>
              <a:gd name="connsiteX20" fmla="*/ 9435402 w 11731364"/>
              <a:gd name="connsiteY20" fmla="*/ 2859101 h 2890922"/>
              <a:gd name="connsiteX21" fmla="*/ 7365442 w 11731364"/>
              <a:gd name="connsiteY21" fmla="*/ 2818908 h 2890922"/>
              <a:gd name="connsiteX22" fmla="*/ 6742444 w 11731364"/>
              <a:gd name="connsiteY22" fmla="*/ 2839004 h 2890922"/>
              <a:gd name="connsiteX23" fmla="*/ 6601767 w 11731364"/>
              <a:gd name="connsiteY23" fmla="*/ 2828956 h 2890922"/>
              <a:gd name="connsiteX24" fmla="*/ 4783016 w 11731364"/>
              <a:gd name="connsiteY24" fmla="*/ 2879198 h 2890922"/>
              <a:gd name="connsiteX25" fmla="*/ 3938954 w 11731364"/>
              <a:gd name="connsiteY25" fmla="*/ 2859101 h 2890922"/>
              <a:gd name="connsiteX26" fmla="*/ 2944167 w 11731364"/>
              <a:gd name="connsiteY26" fmla="*/ 2839004 h 2890922"/>
              <a:gd name="connsiteX27" fmla="*/ 1889090 w 11731364"/>
              <a:gd name="connsiteY27" fmla="*/ 2849053 h 2890922"/>
              <a:gd name="connsiteX28" fmla="*/ 522515 w 11731364"/>
              <a:gd name="connsiteY28" fmla="*/ 2869149 h 2890922"/>
              <a:gd name="connsiteX29" fmla="*/ 10048 w 11731364"/>
              <a:gd name="connsiteY29" fmla="*/ 2839005 h 2890922"/>
              <a:gd name="connsiteX0" fmla="*/ 0 w 11731364"/>
              <a:gd name="connsiteY0" fmla="*/ 55611 h 2890922"/>
              <a:gd name="connsiteX1" fmla="*/ 552660 w 11731364"/>
              <a:gd name="connsiteY1" fmla="*/ 35514 h 2890922"/>
              <a:gd name="connsiteX2" fmla="*/ 1637882 w 11731364"/>
              <a:gd name="connsiteY2" fmla="*/ 45562 h 2890922"/>
              <a:gd name="connsiteX3" fmla="*/ 2019719 w 11731364"/>
              <a:gd name="connsiteY3" fmla="*/ 45562 h 2890922"/>
              <a:gd name="connsiteX4" fmla="*/ 4531807 w 11731364"/>
              <a:gd name="connsiteY4" fmla="*/ 65659 h 2890922"/>
              <a:gd name="connsiteX5" fmla="*/ 4572000 w 11731364"/>
              <a:gd name="connsiteY5" fmla="*/ 75708 h 2890922"/>
              <a:gd name="connsiteX6" fmla="*/ 6300317 w 11731364"/>
              <a:gd name="connsiteY6" fmla="*/ 95804 h 2890922"/>
              <a:gd name="connsiteX7" fmla="*/ 7063991 w 11731364"/>
              <a:gd name="connsiteY7" fmla="*/ 65659 h 2890922"/>
              <a:gd name="connsiteX8" fmla="*/ 7807570 w 11731364"/>
              <a:gd name="connsiteY8" fmla="*/ 65659 h 2890922"/>
              <a:gd name="connsiteX9" fmla="*/ 8098972 w 11731364"/>
              <a:gd name="connsiteY9" fmla="*/ 95804 h 2890922"/>
              <a:gd name="connsiteX10" fmla="*/ 9485644 w 11731364"/>
              <a:gd name="connsiteY10" fmla="*/ 95804 h 2890922"/>
              <a:gd name="connsiteX11" fmla="*/ 9827288 w 11731364"/>
              <a:gd name="connsiteY11" fmla="*/ 65659 h 2890922"/>
              <a:gd name="connsiteX12" fmla="*/ 10671350 w 11731364"/>
              <a:gd name="connsiteY12" fmla="*/ 35514 h 2890922"/>
              <a:gd name="connsiteX13" fmla="*/ 11615895 w 11731364"/>
              <a:gd name="connsiteY13" fmla="*/ 55611 h 2890922"/>
              <a:gd name="connsiteX14" fmla="*/ 11686233 w 11731364"/>
              <a:gd name="connsiteY14" fmla="*/ 769044 h 2890922"/>
              <a:gd name="connsiteX15" fmla="*/ 11696282 w 11731364"/>
              <a:gd name="connsiteY15" fmla="*/ 2336587 h 2890922"/>
              <a:gd name="connsiteX16" fmla="*/ 11686233 w 11731364"/>
              <a:gd name="connsiteY16" fmla="*/ 2828956 h 2890922"/>
              <a:gd name="connsiteX17" fmla="*/ 10912510 w 11731364"/>
              <a:gd name="connsiteY17" fmla="*/ 2859101 h 2890922"/>
              <a:gd name="connsiteX18" fmla="*/ 10008159 w 11731364"/>
              <a:gd name="connsiteY18" fmla="*/ 2859101 h 2890922"/>
              <a:gd name="connsiteX19" fmla="*/ 9435402 w 11731364"/>
              <a:gd name="connsiteY19" fmla="*/ 2859101 h 2890922"/>
              <a:gd name="connsiteX20" fmla="*/ 7365442 w 11731364"/>
              <a:gd name="connsiteY20" fmla="*/ 2818908 h 2890922"/>
              <a:gd name="connsiteX21" fmla="*/ 6742444 w 11731364"/>
              <a:gd name="connsiteY21" fmla="*/ 2839004 h 2890922"/>
              <a:gd name="connsiteX22" fmla="*/ 6601767 w 11731364"/>
              <a:gd name="connsiteY22" fmla="*/ 2828956 h 2890922"/>
              <a:gd name="connsiteX23" fmla="*/ 4783016 w 11731364"/>
              <a:gd name="connsiteY23" fmla="*/ 2879198 h 2890922"/>
              <a:gd name="connsiteX24" fmla="*/ 3938954 w 11731364"/>
              <a:gd name="connsiteY24" fmla="*/ 2859101 h 2890922"/>
              <a:gd name="connsiteX25" fmla="*/ 2944167 w 11731364"/>
              <a:gd name="connsiteY25" fmla="*/ 2839004 h 2890922"/>
              <a:gd name="connsiteX26" fmla="*/ 1889090 w 11731364"/>
              <a:gd name="connsiteY26" fmla="*/ 2849053 h 2890922"/>
              <a:gd name="connsiteX27" fmla="*/ 522515 w 11731364"/>
              <a:gd name="connsiteY27" fmla="*/ 2869149 h 2890922"/>
              <a:gd name="connsiteX28" fmla="*/ 10048 w 11731364"/>
              <a:gd name="connsiteY28" fmla="*/ 2839005 h 2890922"/>
              <a:gd name="connsiteX0" fmla="*/ 0 w 11731364"/>
              <a:gd name="connsiteY0" fmla="*/ 55611 h 2890922"/>
              <a:gd name="connsiteX1" fmla="*/ 552660 w 11731364"/>
              <a:gd name="connsiteY1" fmla="*/ 35514 h 2890922"/>
              <a:gd name="connsiteX2" fmla="*/ 1637882 w 11731364"/>
              <a:gd name="connsiteY2" fmla="*/ 45562 h 2890922"/>
              <a:gd name="connsiteX3" fmla="*/ 2019719 w 11731364"/>
              <a:gd name="connsiteY3" fmla="*/ 45562 h 2890922"/>
              <a:gd name="connsiteX4" fmla="*/ 4531807 w 11731364"/>
              <a:gd name="connsiteY4" fmla="*/ 65659 h 2890922"/>
              <a:gd name="connsiteX5" fmla="*/ 6300317 w 11731364"/>
              <a:gd name="connsiteY5" fmla="*/ 95804 h 2890922"/>
              <a:gd name="connsiteX6" fmla="*/ 7063991 w 11731364"/>
              <a:gd name="connsiteY6" fmla="*/ 65659 h 2890922"/>
              <a:gd name="connsiteX7" fmla="*/ 7807570 w 11731364"/>
              <a:gd name="connsiteY7" fmla="*/ 65659 h 2890922"/>
              <a:gd name="connsiteX8" fmla="*/ 8098972 w 11731364"/>
              <a:gd name="connsiteY8" fmla="*/ 95804 h 2890922"/>
              <a:gd name="connsiteX9" fmla="*/ 9485644 w 11731364"/>
              <a:gd name="connsiteY9" fmla="*/ 95804 h 2890922"/>
              <a:gd name="connsiteX10" fmla="*/ 9827288 w 11731364"/>
              <a:gd name="connsiteY10" fmla="*/ 65659 h 2890922"/>
              <a:gd name="connsiteX11" fmla="*/ 10671350 w 11731364"/>
              <a:gd name="connsiteY11" fmla="*/ 35514 h 2890922"/>
              <a:gd name="connsiteX12" fmla="*/ 11615895 w 11731364"/>
              <a:gd name="connsiteY12" fmla="*/ 55611 h 2890922"/>
              <a:gd name="connsiteX13" fmla="*/ 11686233 w 11731364"/>
              <a:gd name="connsiteY13" fmla="*/ 769044 h 2890922"/>
              <a:gd name="connsiteX14" fmla="*/ 11696282 w 11731364"/>
              <a:gd name="connsiteY14" fmla="*/ 2336587 h 2890922"/>
              <a:gd name="connsiteX15" fmla="*/ 11686233 w 11731364"/>
              <a:gd name="connsiteY15" fmla="*/ 2828956 h 2890922"/>
              <a:gd name="connsiteX16" fmla="*/ 10912510 w 11731364"/>
              <a:gd name="connsiteY16" fmla="*/ 2859101 h 2890922"/>
              <a:gd name="connsiteX17" fmla="*/ 10008159 w 11731364"/>
              <a:gd name="connsiteY17" fmla="*/ 2859101 h 2890922"/>
              <a:gd name="connsiteX18" fmla="*/ 9435402 w 11731364"/>
              <a:gd name="connsiteY18" fmla="*/ 2859101 h 2890922"/>
              <a:gd name="connsiteX19" fmla="*/ 7365442 w 11731364"/>
              <a:gd name="connsiteY19" fmla="*/ 2818908 h 2890922"/>
              <a:gd name="connsiteX20" fmla="*/ 6742444 w 11731364"/>
              <a:gd name="connsiteY20" fmla="*/ 2839004 h 2890922"/>
              <a:gd name="connsiteX21" fmla="*/ 6601767 w 11731364"/>
              <a:gd name="connsiteY21" fmla="*/ 2828956 h 2890922"/>
              <a:gd name="connsiteX22" fmla="*/ 4783016 w 11731364"/>
              <a:gd name="connsiteY22" fmla="*/ 2879198 h 2890922"/>
              <a:gd name="connsiteX23" fmla="*/ 3938954 w 11731364"/>
              <a:gd name="connsiteY23" fmla="*/ 2859101 h 2890922"/>
              <a:gd name="connsiteX24" fmla="*/ 2944167 w 11731364"/>
              <a:gd name="connsiteY24" fmla="*/ 2839004 h 2890922"/>
              <a:gd name="connsiteX25" fmla="*/ 1889090 w 11731364"/>
              <a:gd name="connsiteY25" fmla="*/ 2849053 h 2890922"/>
              <a:gd name="connsiteX26" fmla="*/ 522515 w 11731364"/>
              <a:gd name="connsiteY26" fmla="*/ 2869149 h 2890922"/>
              <a:gd name="connsiteX27" fmla="*/ 10048 w 11731364"/>
              <a:gd name="connsiteY27" fmla="*/ 2839005 h 2890922"/>
              <a:gd name="connsiteX0" fmla="*/ 0 w 11731364"/>
              <a:gd name="connsiteY0" fmla="*/ 55611 h 2890922"/>
              <a:gd name="connsiteX1" fmla="*/ 552660 w 11731364"/>
              <a:gd name="connsiteY1" fmla="*/ 35514 h 2890922"/>
              <a:gd name="connsiteX2" fmla="*/ 1637882 w 11731364"/>
              <a:gd name="connsiteY2" fmla="*/ 45562 h 2890922"/>
              <a:gd name="connsiteX3" fmla="*/ 2019719 w 11731364"/>
              <a:gd name="connsiteY3" fmla="*/ 45562 h 2890922"/>
              <a:gd name="connsiteX4" fmla="*/ 4531807 w 11731364"/>
              <a:gd name="connsiteY4" fmla="*/ 65659 h 2890922"/>
              <a:gd name="connsiteX5" fmla="*/ 6300317 w 11731364"/>
              <a:gd name="connsiteY5" fmla="*/ 95804 h 2890922"/>
              <a:gd name="connsiteX6" fmla="*/ 7063991 w 11731364"/>
              <a:gd name="connsiteY6" fmla="*/ 65659 h 2890922"/>
              <a:gd name="connsiteX7" fmla="*/ 8098972 w 11731364"/>
              <a:gd name="connsiteY7" fmla="*/ 95804 h 2890922"/>
              <a:gd name="connsiteX8" fmla="*/ 9485644 w 11731364"/>
              <a:gd name="connsiteY8" fmla="*/ 95804 h 2890922"/>
              <a:gd name="connsiteX9" fmla="*/ 9827288 w 11731364"/>
              <a:gd name="connsiteY9" fmla="*/ 65659 h 2890922"/>
              <a:gd name="connsiteX10" fmla="*/ 10671350 w 11731364"/>
              <a:gd name="connsiteY10" fmla="*/ 35514 h 2890922"/>
              <a:gd name="connsiteX11" fmla="*/ 11615895 w 11731364"/>
              <a:gd name="connsiteY11" fmla="*/ 55611 h 2890922"/>
              <a:gd name="connsiteX12" fmla="*/ 11686233 w 11731364"/>
              <a:gd name="connsiteY12" fmla="*/ 769044 h 2890922"/>
              <a:gd name="connsiteX13" fmla="*/ 11696282 w 11731364"/>
              <a:gd name="connsiteY13" fmla="*/ 2336587 h 2890922"/>
              <a:gd name="connsiteX14" fmla="*/ 11686233 w 11731364"/>
              <a:gd name="connsiteY14" fmla="*/ 2828956 h 2890922"/>
              <a:gd name="connsiteX15" fmla="*/ 10912510 w 11731364"/>
              <a:gd name="connsiteY15" fmla="*/ 2859101 h 2890922"/>
              <a:gd name="connsiteX16" fmla="*/ 10008159 w 11731364"/>
              <a:gd name="connsiteY16" fmla="*/ 2859101 h 2890922"/>
              <a:gd name="connsiteX17" fmla="*/ 9435402 w 11731364"/>
              <a:gd name="connsiteY17" fmla="*/ 2859101 h 2890922"/>
              <a:gd name="connsiteX18" fmla="*/ 7365442 w 11731364"/>
              <a:gd name="connsiteY18" fmla="*/ 2818908 h 2890922"/>
              <a:gd name="connsiteX19" fmla="*/ 6742444 w 11731364"/>
              <a:gd name="connsiteY19" fmla="*/ 2839004 h 2890922"/>
              <a:gd name="connsiteX20" fmla="*/ 6601767 w 11731364"/>
              <a:gd name="connsiteY20" fmla="*/ 2828956 h 2890922"/>
              <a:gd name="connsiteX21" fmla="*/ 4783016 w 11731364"/>
              <a:gd name="connsiteY21" fmla="*/ 2879198 h 2890922"/>
              <a:gd name="connsiteX22" fmla="*/ 3938954 w 11731364"/>
              <a:gd name="connsiteY22" fmla="*/ 2859101 h 2890922"/>
              <a:gd name="connsiteX23" fmla="*/ 2944167 w 11731364"/>
              <a:gd name="connsiteY23" fmla="*/ 2839004 h 2890922"/>
              <a:gd name="connsiteX24" fmla="*/ 1889090 w 11731364"/>
              <a:gd name="connsiteY24" fmla="*/ 2849053 h 2890922"/>
              <a:gd name="connsiteX25" fmla="*/ 522515 w 11731364"/>
              <a:gd name="connsiteY25" fmla="*/ 2869149 h 2890922"/>
              <a:gd name="connsiteX26" fmla="*/ 10048 w 11731364"/>
              <a:gd name="connsiteY26" fmla="*/ 2839005 h 2890922"/>
              <a:gd name="connsiteX0" fmla="*/ 0 w 11731364"/>
              <a:gd name="connsiteY0" fmla="*/ 36371 h 2871682"/>
              <a:gd name="connsiteX1" fmla="*/ 552660 w 11731364"/>
              <a:gd name="connsiteY1" fmla="*/ 16274 h 2871682"/>
              <a:gd name="connsiteX2" fmla="*/ 1637882 w 11731364"/>
              <a:gd name="connsiteY2" fmla="*/ 26322 h 2871682"/>
              <a:gd name="connsiteX3" fmla="*/ 2019719 w 11731364"/>
              <a:gd name="connsiteY3" fmla="*/ 26322 h 2871682"/>
              <a:gd name="connsiteX4" fmla="*/ 4531807 w 11731364"/>
              <a:gd name="connsiteY4" fmla="*/ 46419 h 2871682"/>
              <a:gd name="connsiteX5" fmla="*/ 6300317 w 11731364"/>
              <a:gd name="connsiteY5" fmla="*/ 76564 h 2871682"/>
              <a:gd name="connsiteX6" fmla="*/ 7063991 w 11731364"/>
              <a:gd name="connsiteY6" fmla="*/ 46419 h 2871682"/>
              <a:gd name="connsiteX7" fmla="*/ 8098972 w 11731364"/>
              <a:gd name="connsiteY7" fmla="*/ 76564 h 2871682"/>
              <a:gd name="connsiteX8" fmla="*/ 9485644 w 11731364"/>
              <a:gd name="connsiteY8" fmla="*/ 76564 h 2871682"/>
              <a:gd name="connsiteX9" fmla="*/ 9827288 w 11731364"/>
              <a:gd name="connsiteY9" fmla="*/ 46419 h 2871682"/>
              <a:gd name="connsiteX10" fmla="*/ 10671350 w 11731364"/>
              <a:gd name="connsiteY10" fmla="*/ 16274 h 2871682"/>
              <a:gd name="connsiteX11" fmla="*/ 11615895 w 11731364"/>
              <a:gd name="connsiteY11" fmla="*/ 66517 h 2871682"/>
              <a:gd name="connsiteX12" fmla="*/ 11686233 w 11731364"/>
              <a:gd name="connsiteY12" fmla="*/ 749804 h 2871682"/>
              <a:gd name="connsiteX13" fmla="*/ 11696282 w 11731364"/>
              <a:gd name="connsiteY13" fmla="*/ 2317347 h 2871682"/>
              <a:gd name="connsiteX14" fmla="*/ 11686233 w 11731364"/>
              <a:gd name="connsiteY14" fmla="*/ 2809716 h 2871682"/>
              <a:gd name="connsiteX15" fmla="*/ 10912510 w 11731364"/>
              <a:gd name="connsiteY15" fmla="*/ 2839861 h 2871682"/>
              <a:gd name="connsiteX16" fmla="*/ 10008159 w 11731364"/>
              <a:gd name="connsiteY16" fmla="*/ 2839861 h 2871682"/>
              <a:gd name="connsiteX17" fmla="*/ 9435402 w 11731364"/>
              <a:gd name="connsiteY17" fmla="*/ 2839861 h 2871682"/>
              <a:gd name="connsiteX18" fmla="*/ 7365442 w 11731364"/>
              <a:gd name="connsiteY18" fmla="*/ 2799668 h 2871682"/>
              <a:gd name="connsiteX19" fmla="*/ 6742444 w 11731364"/>
              <a:gd name="connsiteY19" fmla="*/ 2819764 h 2871682"/>
              <a:gd name="connsiteX20" fmla="*/ 6601767 w 11731364"/>
              <a:gd name="connsiteY20" fmla="*/ 2809716 h 2871682"/>
              <a:gd name="connsiteX21" fmla="*/ 4783016 w 11731364"/>
              <a:gd name="connsiteY21" fmla="*/ 2859958 h 2871682"/>
              <a:gd name="connsiteX22" fmla="*/ 3938954 w 11731364"/>
              <a:gd name="connsiteY22" fmla="*/ 2839861 h 2871682"/>
              <a:gd name="connsiteX23" fmla="*/ 2944167 w 11731364"/>
              <a:gd name="connsiteY23" fmla="*/ 2819764 h 2871682"/>
              <a:gd name="connsiteX24" fmla="*/ 1889090 w 11731364"/>
              <a:gd name="connsiteY24" fmla="*/ 2829813 h 2871682"/>
              <a:gd name="connsiteX25" fmla="*/ 522515 w 11731364"/>
              <a:gd name="connsiteY25" fmla="*/ 2849909 h 2871682"/>
              <a:gd name="connsiteX26" fmla="*/ 10048 w 11731364"/>
              <a:gd name="connsiteY26" fmla="*/ 2819765 h 2871682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522515 w 11731364"/>
              <a:gd name="connsiteY25" fmla="*/ 2853113 h 2874886"/>
              <a:gd name="connsiteX26" fmla="*/ 10048 w 11731364"/>
              <a:gd name="connsiteY26" fmla="*/ 2822969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522515 w 11731364"/>
              <a:gd name="connsiteY25" fmla="*/ 2853113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1311934 w 11731364"/>
              <a:gd name="connsiteY25" fmla="*/ 2812919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72846 w 11731364"/>
              <a:gd name="connsiteY25" fmla="*/ 2772725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22882 w 11731364"/>
              <a:gd name="connsiteY25" fmla="*/ 2843063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12890 w 11731364"/>
              <a:gd name="connsiteY25" fmla="*/ 2812918 h 2874886"/>
              <a:gd name="connsiteX0" fmla="*/ 0 w 11795893"/>
              <a:gd name="connsiteY0" fmla="*/ 28410 h 2863721"/>
              <a:gd name="connsiteX1" fmla="*/ 552660 w 11795893"/>
              <a:gd name="connsiteY1" fmla="*/ 8313 h 2863721"/>
              <a:gd name="connsiteX2" fmla="*/ 1637882 w 11795893"/>
              <a:gd name="connsiteY2" fmla="*/ 18361 h 2863721"/>
              <a:gd name="connsiteX3" fmla="*/ 2019719 w 11795893"/>
              <a:gd name="connsiteY3" fmla="*/ 18361 h 2863721"/>
              <a:gd name="connsiteX4" fmla="*/ 4531807 w 11795893"/>
              <a:gd name="connsiteY4" fmla="*/ 38458 h 2863721"/>
              <a:gd name="connsiteX5" fmla="*/ 6300317 w 11795893"/>
              <a:gd name="connsiteY5" fmla="*/ 68603 h 2863721"/>
              <a:gd name="connsiteX6" fmla="*/ 7063991 w 11795893"/>
              <a:gd name="connsiteY6" fmla="*/ 38458 h 2863721"/>
              <a:gd name="connsiteX7" fmla="*/ 8098972 w 11795893"/>
              <a:gd name="connsiteY7" fmla="*/ 68603 h 2863721"/>
              <a:gd name="connsiteX8" fmla="*/ 9485644 w 11795893"/>
              <a:gd name="connsiteY8" fmla="*/ 68603 h 2863721"/>
              <a:gd name="connsiteX9" fmla="*/ 9827288 w 11795893"/>
              <a:gd name="connsiteY9" fmla="*/ 38458 h 2863721"/>
              <a:gd name="connsiteX10" fmla="*/ 10671350 w 11795893"/>
              <a:gd name="connsiteY10" fmla="*/ 8313 h 2863721"/>
              <a:gd name="connsiteX11" fmla="*/ 11615895 w 11795893"/>
              <a:gd name="connsiteY11" fmla="*/ 58556 h 2863721"/>
              <a:gd name="connsiteX12" fmla="*/ 11686233 w 11795893"/>
              <a:gd name="connsiteY12" fmla="*/ 741843 h 2863721"/>
              <a:gd name="connsiteX13" fmla="*/ 11696282 w 11795893"/>
              <a:gd name="connsiteY13" fmla="*/ 2309386 h 2863721"/>
              <a:gd name="connsiteX14" fmla="*/ 11686233 w 11795893"/>
              <a:gd name="connsiteY14" fmla="*/ 2801755 h 2863721"/>
              <a:gd name="connsiteX15" fmla="*/ 10912510 w 11795893"/>
              <a:gd name="connsiteY15" fmla="*/ 2831900 h 2863721"/>
              <a:gd name="connsiteX16" fmla="*/ 10008159 w 11795893"/>
              <a:gd name="connsiteY16" fmla="*/ 2831900 h 2863721"/>
              <a:gd name="connsiteX17" fmla="*/ 9435402 w 11795893"/>
              <a:gd name="connsiteY17" fmla="*/ 2831900 h 2863721"/>
              <a:gd name="connsiteX18" fmla="*/ 7365442 w 11795893"/>
              <a:gd name="connsiteY18" fmla="*/ 2791707 h 2863721"/>
              <a:gd name="connsiteX19" fmla="*/ 6742444 w 11795893"/>
              <a:gd name="connsiteY19" fmla="*/ 2811803 h 2863721"/>
              <a:gd name="connsiteX20" fmla="*/ 6601767 w 11795893"/>
              <a:gd name="connsiteY20" fmla="*/ 2801755 h 2863721"/>
              <a:gd name="connsiteX21" fmla="*/ 4783016 w 11795893"/>
              <a:gd name="connsiteY21" fmla="*/ 2851997 h 2863721"/>
              <a:gd name="connsiteX22" fmla="*/ 3938954 w 11795893"/>
              <a:gd name="connsiteY22" fmla="*/ 2831900 h 2863721"/>
              <a:gd name="connsiteX23" fmla="*/ 2944167 w 11795893"/>
              <a:gd name="connsiteY23" fmla="*/ 2811803 h 2863721"/>
              <a:gd name="connsiteX24" fmla="*/ 1889090 w 11795893"/>
              <a:gd name="connsiteY24" fmla="*/ 2821852 h 2863721"/>
              <a:gd name="connsiteX25" fmla="*/ 12890 w 11795893"/>
              <a:gd name="connsiteY25" fmla="*/ 2801753 h 2863721"/>
              <a:gd name="connsiteX0" fmla="*/ 0 w 11731364"/>
              <a:gd name="connsiteY0" fmla="*/ 152690 h 2988001"/>
              <a:gd name="connsiteX1" fmla="*/ 552660 w 11731364"/>
              <a:gd name="connsiteY1" fmla="*/ 132593 h 2988001"/>
              <a:gd name="connsiteX2" fmla="*/ 1637882 w 11731364"/>
              <a:gd name="connsiteY2" fmla="*/ 142641 h 2988001"/>
              <a:gd name="connsiteX3" fmla="*/ 2019719 w 11731364"/>
              <a:gd name="connsiteY3" fmla="*/ 142641 h 2988001"/>
              <a:gd name="connsiteX4" fmla="*/ 4531807 w 11731364"/>
              <a:gd name="connsiteY4" fmla="*/ 162738 h 2988001"/>
              <a:gd name="connsiteX5" fmla="*/ 6300317 w 11731364"/>
              <a:gd name="connsiteY5" fmla="*/ 192883 h 2988001"/>
              <a:gd name="connsiteX6" fmla="*/ 7063991 w 11731364"/>
              <a:gd name="connsiteY6" fmla="*/ 162738 h 2988001"/>
              <a:gd name="connsiteX7" fmla="*/ 8098972 w 11731364"/>
              <a:gd name="connsiteY7" fmla="*/ 192883 h 2988001"/>
              <a:gd name="connsiteX8" fmla="*/ 9485644 w 11731364"/>
              <a:gd name="connsiteY8" fmla="*/ 192883 h 2988001"/>
              <a:gd name="connsiteX9" fmla="*/ 9827288 w 11731364"/>
              <a:gd name="connsiteY9" fmla="*/ 162738 h 2988001"/>
              <a:gd name="connsiteX10" fmla="*/ 10671350 w 11731364"/>
              <a:gd name="connsiteY10" fmla="*/ 132593 h 2988001"/>
              <a:gd name="connsiteX11" fmla="*/ 11615895 w 11731364"/>
              <a:gd name="connsiteY11" fmla="*/ 182836 h 2988001"/>
              <a:gd name="connsiteX12" fmla="*/ 11696282 w 11731364"/>
              <a:gd name="connsiteY12" fmla="*/ 2433666 h 2988001"/>
              <a:gd name="connsiteX13" fmla="*/ 11686233 w 11731364"/>
              <a:gd name="connsiteY13" fmla="*/ 2926035 h 2988001"/>
              <a:gd name="connsiteX14" fmla="*/ 10912510 w 11731364"/>
              <a:gd name="connsiteY14" fmla="*/ 2956180 h 2988001"/>
              <a:gd name="connsiteX15" fmla="*/ 10008159 w 11731364"/>
              <a:gd name="connsiteY15" fmla="*/ 2956180 h 2988001"/>
              <a:gd name="connsiteX16" fmla="*/ 9435402 w 11731364"/>
              <a:gd name="connsiteY16" fmla="*/ 2956180 h 2988001"/>
              <a:gd name="connsiteX17" fmla="*/ 7365442 w 11731364"/>
              <a:gd name="connsiteY17" fmla="*/ 2915987 h 2988001"/>
              <a:gd name="connsiteX18" fmla="*/ 6742444 w 11731364"/>
              <a:gd name="connsiteY18" fmla="*/ 2936083 h 2988001"/>
              <a:gd name="connsiteX19" fmla="*/ 6601767 w 11731364"/>
              <a:gd name="connsiteY19" fmla="*/ 2926035 h 2988001"/>
              <a:gd name="connsiteX20" fmla="*/ 4783016 w 11731364"/>
              <a:gd name="connsiteY20" fmla="*/ 2976277 h 2988001"/>
              <a:gd name="connsiteX21" fmla="*/ 3938954 w 11731364"/>
              <a:gd name="connsiteY21" fmla="*/ 2956180 h 2988001"/>
              <a:gd name="connsiteX22" fmla="*/ 2944167 w 11731364"/>
              <a:gd name="connsiteY22" fmla="*/ 2936083 h 2988001"/>
              <a:gd name="connsiteX23" fmla="*/ 1889090 w 11731364"/>
              <a:gd name="connsiteY23" fmla="*/ 2946132 h 2988001"/>
              <a:gd name="connsiteX24" fmla="*/ 12890 w 11731364"/>
              <a:gd name="connsiteY24" fmla="*/ 2926033 h 2988001"/>
              <a:gd name="connsiteX0" fmla="*/ 0 w 11761041"/>
              <a:gd name="connsiteY0" fmla="*/ 189003 h 3175501"/>
              <a:gd name="connsiteX1" fmla="*/ 552660 w 11761041"/>
              <a:gd name="connsiteY1" fmla="*/ 168906 h 3175501"/>
              <a:gd name="connsiteX2" fmla="*/ 1637882 w 11761041"/>
              <a:gd name="connsiteY2" fmla="*/ 178954 h 3175501"/>
              <a:gd name="connsiteX3" fmla="*/ 2019719 w 11761041"/>
              <a:gd name="connsiteY3" fmla="*/ 178954 h 3175501"/>
              <a:gd name="connsiteX4" fmla="*/ 4531807 w 11761041"/>
              <a:gd name="connsiteY4" fmla="*/ 199051 h 3175501"/>
              <a:gd name="connsiteX5" fmla="*/ 6300317 w 11761041"/>
              <a:gd name="connsiteY5" fmla="*/ 229196 h 3175501"/>
              <a:gd name="connsiteX6" fmla="*/ 7063991 w 11761041"/>
              <a:gd name="connsiteY6" fmla="*/ 199051 h 3175501"/>
              <a:gd name="connsiteX7" fmla="*/ 8098972 w 11761041"/>
              <a:gd name="connsiteY7" fmla="*/ 229196 h 3175501"/>
              <a:gd name="connsiteX8" fmla="*/ 9485644 w 11761041"/>
              <a:gd name="connsiteY8" fmla="*/ 229196 h 3175501"/>
              <a:gd name="connsiteX9" fmla="*/ 9827288 w 11761041"/>
              <a:gd name="connsiteY9" fmla="*/ 199051 h 3175501"/>
              <a:gd name="connsiteX10" fmla="*/ 10671350 w 11761041"/>
              <a:gd name="connsiteY10" fmla="*/ 168906 h 3175501"/>
              <a:gd name="connsiteX11" fmla="*/ 11615895 w 11761041"/>
              <a:gd name="connsiteY11" fmla="*/ 219149 h 3175501"/>
              <a:gd name="connsiteX12" fmla="*/ 11686233 w 11761041"/>
              <a:gd name="connsiteY12" fmla="*/ 2962348 h 3175501"/>
              <a:gd name="connsiteX13" fmla="*/ 10912510 w 11761041"/>
              <a:gd name="connsiteY13" fmla="*/ 2992493 h 3175501"/>
              <a:gd name="connsiteX14" fmla="*/ 10008159 w 11761041"/>
              <a:gd name="connsiteY14" fmla="*/ 2992493 h 3175501"/>
              <a:gd name="connsiteX15" fmla="*/ 9435402 w 11761041"/>
              <a:gd name="connsiteY15" fmla="*/ 2992493 h 3175501"/>
              <a:gd name="connsiteX16" fmla="*/ 7365442 w 11761041"/>
              <a:gd name="connsiteY16" fmla="*/ 2952300 h 3175501"/>
              <a:gd name="connsiteX17" fmla="*/ 6742444 w 11761041"/>
              <a:gd name="connsiteY17" fmla="*/ 2972396 h 3175501"/>
              <a:gd name="connsiteX18" fmla="*/ 6601767 w 11761041"/>
              <a:gd name="connsiteY18" fmla="*/ 2962348 h 3175501"/>
              <a:gd name="connsiteX19" fmla="*/ 4783016 w 11761041"/>
              <a:gd name="connsiteY19" fmla="*/ 3012590 h 3175501"/>
              <a:gd name="connsiteX20" fmla="*/ 3938954 w 11761041"/>
              <a:gd name="connsiteY20" fmla="*/ 2992493 h 3175501"/>
              <a:gd name="connsiteX21" fmla="*/ 2944167 w 11761041"/>
              <a:gd name="connsiteY21" fmla="*/ 2972396 h 3175501"/>
              <a:gd name="connsiteX22" fmla="*/ 1889090 w 11761041"/>
              <a:gd name="connsiteY22" fmla="*/ 2982445 h 3175501"/>
              <a:gd name="connsiteX23" fmla="*/ 12890 w 11761041"/>
              <a:gd name="connsiteY23" fmla="*/ 2962346 h 3175501"/>
              <a:gd name="connsiteX0" fmla="*/ 0 w 11837985"/>
              <a:gd name="connsiteY0" fmla="*/ 32082 h 2997028"/>
              <a:gd name="connsiteX1" fmla="*/ 552660 w 11837985"/>
              <a:gd name="connsiteY1" fmla="*/ 11985 h 2997028"/>
              <a:gd name="connsiteX2" fmla="*/ 1637882 w 11837985"/>
              <a:gd name="connsiteY2" fmla="*/ 22033 h 2997028"/>
              <a:gd name="connsiteX3" fmla="*/ 2019719 w 11837985"/>
              <a:gd name="connsiteY3" fmla="*/ 22033 h 2997028"/>
              <a:gd name="connsiteX4" fmla="*/ 4531807 w 11837985"/>
              <a:gd name="connsiteY4" fmla="*/ 42130 h 2997028"/>
              <a:gd name="connsiteX5" fmla="*/ 6300317 w 11837985"/>
              <a:gd name="connsiteY5" fmla="*/ 72275 h 2997028"/>
              <a:gd name="connsiteX6" fmla="*/ 7063991 w 11837985"/>
              <a:gd name="connsiteY6" fmla="*/ 42130 h 2997028"/>
              <a:gd name="connsiteX7" fmla="*/ 8098972 w 11837985"/>
              <a:gd name="connsiteY7" fmla="*/ 72275 h 2997028"/>
              <a:gd name="connsiteX8" fmla="*/ 9485644 w 11837985"/>
              <a:gd name="connsiteY8" fmla="*/ 72275 h 2997028"/>
              <a:gd name="connsiteX9" fmla="*/ 9827288 w 11837985"/>
              <a:gd name="connsiteY9" fmla="*/ 42130 h 2997028"/>
              <a:gd name="connsiteX10" fmla="*/ 10671350 w 11837985"/>
              <a:gd name="connsiteY10" fmla="*/ 11985 h 2997028"/>
              <a:gd name="connsiteX11" fmla="*/ 11745799 w 11837985"/>
              <a:gd name="connsiteY11" fmla="*/ 353631 h 2997028"/>
              <a:gd name="connsiteX12" fmla="*/ 11686233 w 11837985"/>
              <a:gd name="connsiteY12" fmla="*/ 2805427 h 2997028"/>
              <a:gd name="connsiteX13" fmla="*/ 10912510 w 11837985"/>
              <a:gd name="connsiteY13" fmla="*/ 2835572 h 2997028"/>
              <a:gd name="connsiteX14" fmla="*/ 10008159 w 11837985"/>
              <a:gd name="connsiteY14" fmla="*/ 2835572 h 2997028"/>
              <a:gd name="connsiteX15" fmla="*/ 9435402 w 11837985"/>
              <a:gd name="connsiteY15" fmla="*/ 2835572 h 2997028"/>
              <a:gd name="connsiteX16" fmla="*/ 7365442 w 11837985"/>
              <a:gd name="connsiteY16" fmla="*/ 2795379 h 2997028"/>
              <a:gd name="connsiteX17" fmla="*/ 6742444 w 11837985"/>
              <a:gd name="connsiteY17" fmla="*/ 2815475 h 2997028"/>
              <a:gd name="connsiteX18" fmla="*/ 6601767 w 11837985"/>
              <a:gd name="connsiteY18" fmla="*/ 2805427 h 2997028"/>
              <a:gd name="connsiteX19" fmla="*/ 4783016 w 11837985"/>
              <a:gd name="connsiteY19" fmla="*/ 2855669 h 2997028"/>
              <a:gd name="connsiteX20" fmla="*/ 3938954 w 11837985"/>
              <a:gd name="connsiteY20" fmla="*/ 2835572 h 2997028"/>
              <a:gd name="connsiteX21" fmla="*/ 2944167 w 11837985"/>
              <a:gd name="connsiteY21" fmla="*/ 2815475 h 2997028"/>
              <a:gd name="connsiteX22" fmla="*/ 1889090 w 11837985"/>
              <a:gd name="connsiteY22" fmla="*/ 2825524 h 2997028"/>
              <a:gd name="connsiteX23" fmla="*/ 12890 w 11837985"/>
              <a:gd name="connsiteY23" fmla="*/ 2805425 h 2997028"/>
              <a:gd name="connsiteX0" fmla="*/ 0 w 11890507"/>
              <a:gd name="connsiteY0" fmla="*/ 20097 h 2985043"/>
              <a:gd name="connsiteX1" fmla="*/ 552660 w 11890507"/>
              <a:gd name="connsiteY1" fmla="*/ 0 h 2985043"/>
              <a:gd name="connsiteX2" fmla="*/ 1637882 w 11890507"/>
              <a:gd name="connsiteY2" fmla="*/ 10048 h 2985043"/>
              <a:gd name="connsiteX3" fmla="*/ 2019719 w 11890507"/>
              <a:gd name="connsiteY3" fmla="*/ 10048 h 2985043"/>
              <a:gd name="connsiteX4" fmla="*/ 4531807 w 11890507"/>
              <a:gd name="connsiteY4" fmla="*/ 30145 h 2985043"/>
              <a:gd name="connsiteX5" fmla="*/ 6300317 w 11890507"/>
              <a:gd name="connsiteY5" fmla="*/ 60290 h 2985043"/>
              <a:gd name="connsiteX6" fmla="*/ 7063991 w 11890507"/>
              <a:gd name="connsiteY6" fmla="*/ 30145 h 2985043"/>
              <a:gd name="connsiteX7" fmla="*/ 8098972 w 11890507"/>
              <a:gd name="connsiteY7" fmla="*/ 60290 h 2985043"/>
              <a:gd name="connsiteX8" fmla="*/ 9485644 w 11890507"/>
              <a:gd name="connsiteY8" fmla="*/ 60290 h 2985043"/>
              <a:gd name="connsiteX9" fmla="*/ 9827288 w 11890507"/>
              <a:gd name="connsiteY9" fmla="*/ 30145 h 2985043"/>
              <a:gd name="connsiteX10" fmla="*/ 10671350 w 11890507"/>
              <a:gd name="connsiteY10" fmla="*/ 0 h 2985043"/>
              <a:gd name="connsiteX11" fmla="*/ 11745799 w 11890507"/>
              <a:gd name="connsiteY11" fmla="*/ 341646 h 2985043"/>
              <a:gd name="connsiteX12" fmla="*/ 11686233 w 11890507"/>
              <a:gd name="connsiteY12" fmla="*/ 2793442 h 2985043"/>
              <a:gd name="connsiteX13" fmla="*/ 10912510 w 11890507"/>
              <a:gd name="connsiteY13" fmla="*/ 2823587 h 2985043"/>
              <a:gd name="connsiteX14" fmla="*/ 10008159 w 11890507"/>
              <a:gd name="connsiteY14" fmla="*/ 2823587 h 2985043"/>
              <a:gd name="connsiteX15" fmla="*/ 9435402 w 11890507"/>
              <a:gd name="connsiteY15" fmla="*/ 2823587 h 2985043"/>
              <a:gd name="connsiteX16" fmla="*/ 7365442 w 11890507"/>
              <a:gd name="connsiteY16" fmla="*/ 2783394 h 2985043"/>
              <a:gd name="connsiteX17" fmla="*/ 6742444 w 11890507"/>
              <a:gd name="connsiteY17" fmla="*/ 2803490 h 2985043"/>
              <a:gd name="connsiteX18" fmla="*/ 6601767 w 11890507"/>
              <a:gd name="connsiteY18" fmla="*/ 2793442 h 2985043"/>
              <a:gd name="connsiteX19" fmla="*/ 4783016 w 11890507"/>
              <a:gd name="connsiteY19" fmla="*/ 2843684 h 2985043"/>
              <a:gd name="connsiteX20" fmla="*/ 3938954 w 11890507"/>
              <a:gd name="connsiteY20" fmla="*/ 2823587 h 2985043"/>
              <a:gd name="connsiteX21" fmla="*/ 2944167 w 11890507"/>
              <a:gd name="connsiteY21" fmla="*/ 2803490 h 2985043"/>
              <a:gd name="connsiteX22" fmla="*/ 1889090 w 11890507"/>
              <a:gd name="connsiteY22" fmla="*/ 2813539 h 2985043"/>
              <a:gd name="connsiteX23" fmla="*/ 12890 w 11890507"/>
              <a:gd name="connsiteY23" fmla="*/ 2793440 h 2985043"/>
              <a:gd name="connsiteX0" fmla="*/ 0 w 11888066"/>
              <a:gd name="connsiteY0" fmla="*/ 24726 h 2863208"/>
              <a:gd name="connsiteX1" fmla="*/ 552660 w 11888066"/>
              <a:gd name="connsiteY1" fmla="*/ 4629 h 2863208"/>
              <a:gd name="connsiteX2" fmla="*/ 1637882 w 11888066"/>
              <a:gd name="connsiteY2" fmla="*/ 14677 h 2863208"/>
              <a:gd name="connsiteX3" fmla="*/ 2019719 w 11888066"/>
              <a:gd name="connsiteY3" fmla="*/ 14677 h 2863208"/>
              <a:gd name="connsiteX4" fmla="*/ 4531807 w 11888066"/>
              <a:gd name="connsiteY4" fmla="*/ 34774 h 2863208"/>
              <a:gd name="connsiteX5" fmla="*/ 6300317 w 11888066"/>
              <a:gd name="connsiteY5" fmla="*/ 64919 h 2863208"/>
              <a:gd name="connsiteX6" fmla="*/ 7063991 w 11888066"/>
              <a:gd name="connsiteY6" fmla="*/ 34774 h 2863208"/>
              <a:gd name="connsiteX7" fmla="*/ 8098972 w 11888066"/>
              <a:gd name="connsiteY7" fmla="*/ 64919 h 2863208"/>
              <a:gd name="connsiteX8" fmla="*/ 9485644 w 11888066"/>
              <a:gd name="connsiteY8" fmla="*/ 64919 h 2863208"/>
              <a:gd name="connsiteX9" fmla="*/ 9827288 w 11888066"/>
              <a:gd name="connsiteY9" fmla="*/ 34774 h 2863208"/>
              <a:gd name="connsiteX10" fmla="*/ 10671350 w 11888066"/>
              <a:gd name="connsiteY10" fmla="*/ 4629 h 2863208"/>
              <a:gd name="connsiteX11" fmla="*/ 11745799 w 11888066"/>
              <a:gd name="connsiteY11" fmla="*/ 346275 h 2863208"/>
              <a:gd name="connsiteX12" fmla="*/ 11786160 w 11888066"/>
              <a:gd name="connsiteY12" fmla="*/ 2587055 h 2863208"/>
              <a:gd name="connsiteX13" fmla="*/ 10912510 w 11888066"/>
              <a:gd name="connsiteY13" fmla="*/ 2828216 h 2863208"/>
              <a:gd name="connsiteX14" fmla="*/ 10008159 w 11888066"/>
              <a:gd name="connsiteY14" fmla="*/ 2828216 h 2863208"/>
              <a:gd name="connsiteX15" fmla="*/ 9435402 w 11888066"/>
              <a:gd name="connsiteY15" fmla="*/ 2828216 h 2863208"/>
              <a:gd name="connsiteX16" fmla="*/ 7365442 w 11888066"/>
              <a:gd name="connsiteY16" fmla="*/ 2788023 h 2863208"/>
              <a:gd name="connsiteX17" fmla="*/ 6742444 w 11888066"/>
              <a:gd name="connsiteY17" fmla="*/ 2808119 h 2863208"/>
              <a:gd name="connsiteX18" fmla="*/ 6601767 w 11888066"/>
              <a:gd name="connsiteY18" fmla="*/ 2798071 h 2863208"/>
              <a:gd name="connsiteX19" fmla="*/ 4783016 w 11888066"/>
              <a:gd name="connsiteY19" fmla="*/ 2848313 h 2863208"/>
              <a:gd name="connsiteX20" fmla="*/ 3938954 w 11888066"/>
              <a:gd name="connsiteY20" fmla="*/ 2828216 h 2863208"/>
              <a:gd name="connsiteX21" fmla="*/ 2944167 w 11888066"/>
              <a:gd name="connsiteY21" fmla="*/ 2808119 h 2863208"/>
              <a:gd name="connsiteX22" fmla="*/ 1889090 w 11888066"/>
              <a:gd name="connsiteY22" fmla="*/ 2818168 h 2863208"/>
              <a:gd name="connsiteX23" fmla="*/ 12890 w 11888066"/>
              <a:gd name="connsiteY23" fmla="*/ 2798069 h 2863208"/>
              <a:gd name="connsiteX0" fmla="*/ 0 w 11848891"/>
              <a:gd name="connsiteY0" fmla="*/ 24726 h 2849235"/>
              <a:gd name="connsiteX1" fmla="*/ 552660 w 11848891"/>
              <a:gd name="connsiteY1" fmla="*/ 4629 h 2849235"/>
              <a:gd name="connsiteX2" fmla="*/ 1637882 w 11848891"/>
              <a:gd name="connsiteY2" fmla="*/ 14677 h 2849235"/>
              <a:gd name="connsiteX3" fmla="*/ 2019719 w 11848891"/>
              <a:gd name="connsiteY3" fmla="*/ 14677 h 2849235"/>
              <a:gd name="connsiteX4" fmla="*/ 4531807 w 11848891"/>
              <a:gd name="connsiteY4" fmla="*/ 34774 h 2849235"/>
              <a:gd name="connsiteX5" fmla="*/ 6300317 w 11848891"/>
              <a:gd name="connsiteY5" fmla="*/ 64919 h 2849235"/>
              <a:gd name="connsiteX6" fmla="*/ 7063991 w 11848891"/>
              <a:gd name="connsiteY6" fmla="*/ 34774 h 2849235"/>
              <a:gd name="connsiteX7" fmla="*/ 8098972 w 11848891"/>
              <a:gd name="connsiteY7" fmla="*/ 64919 h 2849235"/>
              <a:gd name="connsiteX8" fmla="*/ 9485644 w 11848891"/>
              <a:gd name="connsiteY8" fmla="*/ 64919 h 2849235"/>
              <a:gd name="connsiteX9" fmla="*/ 9827288 w 11848891"/>
              <a:gd name="connsiteY9" fmla="*/ 34774 h 2849235"/>
              <a:gd name="connsiteX10" fmla="*/ 10671350 w 11848891"/>
              <a:gd name="connsiteY10" fmla="*/ 4629 h 2849235"/>
              <a:gd name="connsiteX11" fmla="*/ 11745799 w 11848891"/>
              <a:gd name="connsiteY11" fmla="*/ 346275 h 2849235"/>
              <a:gd name="connsiteX12" fmla="*/ 11786160 w 11848891"/>
              <a:gd name="connsiteY12" fmla="*/ 2587055 h 2849235"/>
              <a:gd name="connsiteX13" fmla="*/ 10912510 w 11848891"/>
              <a:gd name="connsiteY13" fmla="*/ 2828216 h 2849235"/>
              <a:gd name="connsiteX14" fmla="*/ 10008159 w 11848891"/>
              <a:gd name="connsiteY14" fmla="*/ 2828216 h 2849235"/>
              <a:gd name="connsiteX15" fmla="*/ 9435402 w 11848891"/>
              <a:gd name="connsiteY15" fmla="*/ 2828216 h 2849235"/>
              <a:gd name="connsiteX16" fmla="*/ 7365442 w 11848891"/>
              <a:gd name="connsiteY16" fmla="*/ 2788023 h 2849235"/>
              <a:gd name="connsiteX17" fmla="*/ 6742444 w 11848891"/>
              <a:gd name="connsiteY17" fmla="*/ 2808119 h 2849235"/>
              <a:gd name="connsiteX18" fmla="*/ 6601767 w 11848891"/>
              <a:gd name="connsiteY18" fmla="*/ 2798071 h 2849235"/>
              <a:gd name="connsiteX19" fmla="*/ 4783016 w 11848891"/>
              <a:gd name="connsiteY19" fmla="*/ 2848313 h 2849235"/>
              <a:gd name="connsiteX20" fmla="*/ 3938954 w 11848891"/>
              <a:gd name="connsiteY20" fmla="*/ 2828216 h 2849235"/>
              <a:gd name="connsiteX21" fmla="*/ 2944167 w 11848891"/>
              <a:gd name="connsiteY21" fmla="*/ 2808119 h 2849235"/>
              <a:gd name="connsiteX22" fmla="*/ 1889090 w 11848891"/>
              <a:gd name="connsiteY22" fmla="*/ 2818168 h 2849235"/>
              <a:gd name="connsiteX23" fmla="*/ 12890 w 11848891"/>
              <a:gd name="connsiteY23" fmla="*/ 2798069 h 2849235"/>
              <a:gd name="connsiteX0" fmla="*/ 0 w 11916572"/>
              <a:gd name="connsiteY0" fmla="*/ 24726 h 2849235"/>
              <a:gd name="connsiteX1" fmla="*/ 552660 w 11916572"/>
              <a:gd name="connsiteY1" fmla="*/ 4629 h 2849235"/>
              <a:gd name="connsiteX2" fmla="*/ 1637882 w 11916572"/>
              <a:gd name="connsiteY2" fmla="*/ 14677 h 2849235"/>
              <a:gd name="connsiteX3" fmla="*/ 2019719 w 11916572"/>
              <a:gd name="connsiteY3" fmla="*/ 14677 h 2849235"/>
              <a:gd name="connsiteX4" fmla="*/ 4531807 w 11916572"/>
              <a:gd name="connsiteY4" fmla="*/ 34774 h 2849235"/>
              <a:gd name="connsiteX5" fmla="*/ 6300317 w 11916572"/>
              <a:gd name="connsiteY5" fmla="*/ 64919 h 2849235"/>
              <a:gd name="connsiteX6" fmla="*/ 7063991 w 11916572"/>
              <a:gd name="connsiteY6" fmla="*/ 34774 h 2849235"/>
              <a:gd name="connsiteX7" fmla="*/ 8098972 w 11916572"/>
              <a:gd name="connsiteY7" fmla="*/ 64919 h 2849235"/>
              <a:gd name="connsiteX8" fmla="*/ 9485644 w 11916572"/>
              <a:gd name="connsiteY8" fmla="*/ 64919 h 2849235"/>
              <a:gd name="connsiteX9" fmla="*/ 9827288 w 11916572"/>
              <a:gd name="connsiteY9" fmla="*/ 34774 h 2849235"/>
              <a:gd name="connsiteX10" fmla="*/ 10671350 w 11916572"/>
              <a:gd name="connsiteY10" fmla="*/ 4629 h 2849235"/>
              <a:gd name="connsiteX11" fmla="*/ 11745799 w 11916572"/>
              <a:gd name="connsiteY11" fmla="*/ 346275 h 2849235"/>
              <a:gd name="connsiteX12" fmla="*/ 11786160 w 11916572"/>
              <a:gd name="connsiteY12" fmla="*/ 2587055 h 2849235"/>
              <a:gd name="connsiteX13" fmla="*/ 10912510 w 11916572"/>
              <a:gd name="connsiteY13" fmla="*/ 2828216 h 2849235"/>
              <a:gd name="connsiteX14" fmla="*/ 10008159 w 11916572"/>
              <a:gd name="connsiteY14" fmla="*/ 2828216 h 2849235"/>
              <a:gd name="connsiteX15" fmla="*/ 9435402 w 11916572"/>
              <a:gd name="connsiteY15" fmla="*/ 2828216 h 2849235"/>
              <a:gd name="connsiteX16" fmla="*/ 7365442 w 11916572"/>
              <a:gd name="connsiteY16" fmla="*/ 2788023 h 2849235"/>
              <a:gd name="connsiteX17" fmla="*/ 6742444 w 11916572"/>
              <a:gd name="connsiteY17" fmla="*/ 2808119 h 2849235"/>
              <a:gd name="connsiteX18" fmla="*/ 6601767 w 11916572"/>
              <a:gd name="connsiteY18" fmla="*/ 2798071 h 2849235"/>
              <a:gd name="connsiteX19" fmla="*/ 4783016 w 11916572"/>
              <a:gd name="connsiteY19" fmla="*/ 2848313 h 2849235"/>
              <a:gd name="connsiteX20" fmla="*/ 3938954 w 11916572"/>
              <a:gd name="connsiteY20" fmla="*/ 2828216 h 2849235"/>
              <a:gd name="connsiteX21" fmla="*/ 2944167 w 11916572"/>
              <a:gd name="connsiteY21" fmla="*/ 2808119 h 2849235"/>
              <a:gd name="connsiteX22" fmla="*/ 1889090 w 11916572"/>
              <a:gd name="connsiteY22" fmla="*/ 2818168 h 2849235"/>
              <a:gd name="connsiteX23" fmla="*/ 12890 w 11916572"/>
              <a:gd name="connsiteY23" fmla="*/ 2798069 h 2849235"/>
              <a:gd name="connsiteX0" fmla="*/ 0 w 11936930"/>
              <a:gd name="connsiteY0" fmla="*/ 24726 h 2849235"/>
              <a:gd name="connsiteX1" fmla="*/ 552660 w 11936930"/>
              <a:gd name="connsiteY1" fmla="*/ 4629 h 2849235"/>
              <a:gd name="connsiteX2" fmla="*/ 1637882 w 11936930"/>
              <a:gd name="connsiteY2" fmla="*/ 14677 h 2849235"/>
              <a:gd name="connsiteX3" fmla="*/ 2019719 w 11936930"/>
              <a:gd name="connsiteY3" fmla="*/ 14677 h 2849235"/>
              <a:gd name="connsiteX4" fmla="*/ 4531807 w 11936930"/>
              <a:gd name="connsiteY4" fmla="*/ 34774 h 2849235"/>
              <a:gd name="connsiteX5" fmla="*/ 6300317 w 11936930"/>
              <a:gd name="connsiteY5" fmla="*/ 64919 h 2849235"/>
              <a:gd name="connsiteX6" fmla="*/ 7063991 w 11936930"/>
              <a:gd name="connsiteY6" fmla="*/ 34774 h 2849235"/>
              <a:gd name="connsiteX7" fmla="*/ 8098972 w 11936930"/>
              <a:gd name="connsiteY7" fmla="*/ 64919 h 2849235"/>
              <a:gd name="connsiteX8" fmla="*/ 9485644 w 11936930"/>
              <a:gd name="connsiteY8" fmla="*/ 64919 h 2849235"/>
              <a:gd name="connsiteX9" fmla="*/ 9827288 w 11936930"/>
              <a:gd name="connsiteY9" fmla="*/ 34774 h 2849235"/>
              <a:gd name="connsiteX10" fmla="*/ 10311615 w 11936930"/>
              <a:gd name="connsiteY10" fmla="*/ 4629 h 2849235"/>
              <a:gd name="connsiteX11" fmla="*/ 11745799 w 11936930"/>
              <a:gd name="connsiteY11" fmla="*/ 346275 h 2849235"/>
              <a:gd name="connsiteX12" fmla="*/ 11786160 w 11936930"/>
              <a:gd name="connsiteY12" fmla="*/ 2587055 h 2849235"/>
              <a:gd name="connsiteX13" fmla="*/ 10912510 w 11936930"/>
              <a:gd name="connsiteY13" fmla="*/ 2828216 h 2849235"/>
              <a:gd name="connsiteX14" fmla="*/ 10008159 w 11936930"/>
              <a:gd name="connsiteY14" fmla="*/ 2828216 h 2849235"/>
              <a:gd name="connsiteX15" fmla="*/ 9435402 w 11936930"/>
              <a:gd name="connsiteY15" fmla="*/ 2828216 h 2849235"/>
              <a:gd name="connsiteX16" fmla="*/ 7365442 w 11936930"/>
              <a:gd name="connsiteY16" fmla="*/ 2788023 h 2849235"/>
              <a:gd name="connsiteX17" fmla="*/ 6742444 w 11936930"/>
              <a:gd name="connsiteY17" fmla="*/ 2808119 h 2849235"/>
              <a:gd name="connsiteX18" fmla="*/ 6601767 w 11936930"/>
              <a:gd name="connsiteY18" fmla="*/ 2798071 h 2849235"/>
              <a:gd name="connsiteX19" fmla="*/ 4783016 w 11936930"/>
              <a:gd name="connsiteY19" fmla="*/ 2848313 h 2849235"/>
              <a:gd name="connsiteX20" fmla="*/ 3938954 w 11936930"/>
              <a:gd name="connsiteY20" fmla="*/ 2828216 h 2849235"/>
              <a:gd name="connsiteX21" fmla="*/ 2944167 w 11936930"/>
              <a:gd name="connsiteY21" fmla="*/ 2808119 h 2849235"/>
              <a:gd name="connsiteX22" fmla="*/ 1889090 w 11936930"/>
              <a:gd name="connsiteY22" fmla="*/ 2818168 h 2849235"/>
              <a:gd name="connsiteX23" fmla="*/ 12890 w 11936930"/>
              <a:gd name="connsiteY23" fmla="*/ 2798069 h 2849235"/>
              <a:gd name="connsiteX0" fmla="*/ 0 w 11936930"/>
              <a:gd name="connsiteY0" fmla="*/ 24726 h 2849235"/>
              <a:gd name="connsiteX1" fmla="*/ 552660 w 11936930"/>
              <a:gd name="connsiteY1" fmla="*/ 4629 h 2849235"/>
              <a:gd name="connsiteX2" fmla="*/ 1637882 w 11936930"/>
              <a:gd name="connsiteY2" fmla="*/ 14677 h 2849235"/>
              <a:gd name="connsiteX3" fmla="*/ 2019719 w 11936930"/>
              <a:gd name="connsiteY3" fmla="*/ 14677 h 2849235"/>
              <a:gd name="connsiteX4" fmla="*/ 4531807 w 11936930"/>
              <a:gd name="connsiteY4" fmla="*/ 34774 h 2849235"/>
              <a:gd name="connsiteX5" fmla="*/ 6300317 w 11936930"/>
              <a:gd name="connsiteY5" fmla="*/ 64919 h 2849235"/>
              <a:gd name="connsiteX6" fmla="*/ 7063991 w 11936930"/>
              <a:gd name="connsiteY6" fmla="*/ 34774 h 2849235"/>
              <a:gd name="connsiteX7" fmla="*/ 8098972 w 11936930"/>
              <a:gd name="connsiteY7" fmla="*/ 64919 h 2849235"/>
              <a:gd name="connsiteX8" fmla="*/ 9485644 w 11936930"/>
              <a:gd name="connsiteY8" fmla="*/ 64919 h 2849235"/>
              <a:gd name="connsiteX9" fmla="*/ 10311615 w 11936930"/>
              <a:gd name="connsiteY9" fmla="*/ 4629 h 2849235"/>
              <a:gd name="connsiteX10" fmla="*/ 11745799 w 11936930"/>
              <a:gd name="connsiteY10" fmla="*/ 346275 h 2849235"/>
              <a:gd name="connsiteX11" fmla="*/ 11786160 w 11936930"/>
              <a:gd name="connsiteY11" fmla="*/ 2587055 h 2849235"/>
              <a:gd name="connsiteX12" fmla="*/ 10912510 w 11936930"/>
              <a:gd name="connsiteY12" fmla="*/ 2828216 h 2849235"/>
              <a:gd name="connsiteX13" fmla="*/ 10008159 w 11936930"/>
              <a:gd name="connsiteY13" fmla="*/ 2828216 h 2849235"/>
              <a:gd name="connsiteX14" fmla="*/ 9435402 w 11936930"/>
              <a:gd name="connsiteY14" fmla="*/ 2828216 h 2849235"/>
              <a:gd name="connsiteX15" fmla="*/ 7365442 w 11936930"/>
              <a:gd name="connsiteY15" fmla="*/ 2788023 h 2849235"/>
              <a:gd name="connsiteX16" fmla="*/ 6742444 w 11936930"/>
              <a:gd name="connsiteY16" fmla="*/ 2808119 h 2849235"/>
              <a:gd name="connsiteX17" fmla="*/ 6601767 w 11936930"/>
              <a:gd name="connsiteY17" fmla="*/ 2798071 h 2849235"/>
              <a:gd name="connsiteX18" fmla="*/ 4783016 w 11936930"/>
              <a:gd name="connsiteY18" fmla="*/ 2848313 h 2849235"/>
              <a:gd name="connsiteX19" fmla="*/ 3938954 w 11936930"/>
              <a:gd name="connsiteY19" fmla="*/ 2828216 h 2849235"/>
              <a:gd name="connsiteX20" fmla="*/ 2944167 w 11936930"/>
              <a:gd name="connsiteY20" fmla="*/ 2808119 h 2849235"/>
              <a:gd name="connsiteX21" fmla="*/ 1889090 w 11936930"/>
              <a:gd name="connsiteY21" fmla="*/ 2818168 h 2849235"/>
              <a:gd name="connsiteX22" fmla="*/ 12890 w 11936930"/>
              <a:gd name="connsiteY22" fmla="*/ 2798069 h 2849235"/>
              <a:gd name="connsiteX0" fmla="*/ 0 w 11936930"/>
              <a:gd name="connsiteY0" fmla="*/ 24726 h 2849235"/>
              <a:gd name="connsiteX1" fmla="*/ 552660 w 11936930"/>
              <a:gd name="connsiteY1" fmla="*/ 4629 h 2849235"/>
              <a:gd name="connsiteX2" fmla="*/ 1637882 w 11936930"/>
              <a:gd name="connsiteY2" fmla="*/ 14677 h 2849235"/>
              <a:gd name="connsiteX3" fmla="*/ 2019719 w 11936930"/>
              <a:gd name="connsiteY3" fmla="*/ 14677 h 2849235"/>
              <a:gd name="connsiteX4" fmla="*/ 4531807 w 11936930"/>
              <a:gd name="connsiteY4" fmla="*/ 34774 h 2849235"/>
              <a:gd name="connsiteX5" fmla="*/ 6300317 w 11936930"/>
              <a:gd name="connsiteY5" fmla="*/ 64919 h 2849235"/>
              <a:gd name="connsiteX6" fmla="*/ 7063991 w 11936930"/>
              <a:gd name="connsiteY6" fmla="*/ 34774 h 2849235"/>
              <a:gd name="connsiteX7" fmla="*/ 8098972 w 11936930"/>
              <a:gd name="connsiteY7" fmla="*/ 64919 h 2849235"/>
              <a:gd name="connsiteX8" fmla="*/ 8956033 w 11936930"/>
              <a:gd name="connsiteY8" fmla="*/ 64919 h 2849235"/>
              <a:gd name="connsiteX9" fmla="*/ 10311615 w 11936930"/>
              <a:gd name="connsiteY9" fmla="*/ 4629 h 2849235"/>
              <a:gd name="connsiteX10" fmla="*/ 11745799 w 11936930"/>
              <a:gd name="connsiteY10" fmla="*/ 346275 h 2849235"/>
              <a:gd name="connsiteX11" fmla="*/ 11786160 w 11936930"/>
              <a:gd name="connsiteY11" fmla="*/ 2587055 h 2849235"/>
              <a:gd name="connsiteX12" fmla="*/ 10912510 w 11936930"/>
              <a:gd name="connsiteY12" fmla="*/ 2828216 h 2849235"/>
              <a:gd name="connsiteX13" fmla="*/ 10008159 w 11936930"/>
              <a:gd name="connsiteY13" fmla="*/ 2828216 h 2849235"/>
              <a:gd name="connsiteX14" fmla="*/ 9435402 w 11936930"/>
              <a:gd name="connsiteY14" fmla="*/ 2828216 h 2849235"/>
              <a:gd name="connsiteX15" fmla="*/ 7365442 w 11936930"/>
              <a:gd name="connsiteY15" fmla="*/ 2788023 h 2849235"/>
              <a:gd name="connsiteX16" fmla="*/ 6742444 w 11936930"/>
              <a:gd name="connsiteY16" fmla="*/ 2808119 h 2849235"/>
              <a:gd name="connsiteX17" fmla="*/ 6601767 w 11936930"/>
              <a:gd name="connsiteY17" fmla="*/ 2798071 h 2849235"/>
              <a:gd name="connsiteX18" fmla="*/ 4783016 w 11936930"/>
              <a:gd name="connsiteY18" fmla="*/ 2848313 h 2849235"/>
              <a:gd name="connsiteX19" fmla="*/ 3938954 w 11936930"/>
              <a:gd name="connsiteY19" fmla="*/ 2828216 h 2849235"/>
              <a:gd name="connsiteX20" fmla="*/ 2944167 w 11936930"/>
              <a:gd name="connsiteY20" fmla="*/ 2808119 h 2849235"/>
              <a:gd name="connsiteX21" fmla="*/ 1889090 w 11936930"/>
              <a:gd name="connsiteY21" fmla="*/ 2818168 h 2849235"/>
              <a:gd name="connsiteX22" fmla="*/ 12890 w 11936930"/>
              <a:gd name="connsiteY22" fmla="*/ 2798069 h 2849235"/>
              <a:gd name="connsiteX0" fmla="*/ 0 w 11949661"/>
              <a:gd name="connsiteY0" fmla="*/ 24726 h 2849235"/>
              <a:gd name="connsiteX1" fmla="*/ 552660 w 11949661"/>
              <a:gd name="connsiteY1" fmla="*/ 4629 h 2849235"/>
              <a:gd name="connsiteX2" fmla="*/ 1637882 w 11949661"/>
              <a:gd name="connsiteY2" fmla="*/ 14677 h 2849235"/>
              <a:gd name="connsiteX3" fmla="*/ 2019719 w 11949661"/>
              <a:gd name="connsiteY3" fmla="*/ 14677 h 2849235"/>
              <a:gd name="connsiteX4" fmla="*/ 4531807 w 11949661"/>
              <a:gd name="connsiteY4" fmla="*/ 34774 h 2849235"/>
              <a:gd name="connsiteX5" fmla="*/ 6300317 w 11949661"/>
              <a:gd name="connsiteY5" fmla="*/ 64919 h 2849235"/>
              <a:gd name="connsiteX6" fmla="*/ 7063991 w 11949661"/>
              <a:gd name="connsiteY6" fmla="*/ 34774 h 2849235"/>
              <a:gd name="connsiteX7" fmla="*/ 8098972 w 11949661"/>
              <a:gd name="connsiteY7" fmla="*/ 64919 h 2849235"/>
              <a:gd name="connsiteX8" fmla="*/ 8956033 w 11949661"/>
              <a:gd name="connsiteY8" fmla="*/ 64919 h 2849235"/>
              <a:gd name="connsiteX9" fmla="*/ 10101769 w 11949661"/>
              <a:gd name="connsiteY9" fmla="*/ 4629 h 2849235"/>
              <a:gd name="connsiteX10" fmla="*/ 11745799 w 11949661"/>
              <a:gd name="connsiteY10" fmla="*/ 346275 h 2849235"/>
              <a:gd name="connsiteX11" fmla="*/ 11786160 w 11949661"/>
              <a:gd name="connsiteY11" fmla="*/ 2587055 h 2849235"/>
              <a:gd name="connsiteX12" fmla="*/ 10912510 w 11949661"/>
              <a:gd name="connsiteY12" fmla="*/ 2828216 h 2849235"/>
              <a:gd name="connsiteX13" fmla="*/ 10008159 w 11949661"/>
              <a:gd name="connsiteY13" fmla="*/ 2828216 h 2849235"/>
              <a:gd name="connsiteX14" fmla="*/ 9435402 w 11949661"/>
              <a:gd name="connsiteY14" fmla="*/ 2828216 h 2849235"/>
              <a:gd name="connsiteX15" fmla="*/ 7365442 w 11949661"/>
              <a:gd name="connsiteY15" fmla="*/ 2788023 h 2849235"/>
              <a:gd name="connsiteX16" fmla="*/ 6742444 w 11949661"/>
              <a:gd name="connsiteY16" fmla="*/ 2808119 h 2849235"/>
              <a:gd name="connsiteX17" fmla="*/ 6601767 w 11949661"/>
              <a:gd name="connsiteY17" fmla="*/ 2798071 h 2849235"/>
              <a:gd name="connsiteX18" fmla="*/ 4783016 w 11949661"/>
              <a:gd name="connsiteY18" fmla="*/ 2848313 h 2849235"/>
              <a:gd name="connsiteX19" fmla="*/ 3938954 w 11949661"/>
              <a:gd name="connsiteY19" fmla="*/ 2828216 h 2849235"/>
              <a:gd name="connsiteX20" fmla="*/ 2944167 w 11949661"/>
              <a:gd name="connsiteY20" fmla="*/ 2808119 h 2849235"/>
              <a:gd name="connsiteX21" fmla="*/ 1889090 w 11949661"/>
              <a:gd name="connsiteY21" fmla="*/ 2818168 h 2849235"/>
              <a:gd name="connsiteX22" fmla="*/ 12890 w 11949661"/>
              <a:gd name="connsiteY22" fmla="*/ 2798069 h 2849235"/>
              <a:gd name="connsiteX0" fmla="*/ 0 w 11981169"/>
              <a:gd name="connsiteY0" fmla="*/ 24726 h 2849235"/>
              <a:gd name="connsiteX1" fmla="*/ 552660 w 11981169"/>
              <a:gd name="connsiteY1" fmla="*/ 4629 h 2849235"/>
              <a:gd name="connsiteX2" fmla="*/ 1637882 w 11981169"/>
              <a:gd name="connsiteY2" fmla="*/ 14677 h 2849235"/>
              <a:gd name="connsiteX3" fmla="*/ 2019719 w 11981169"/>
              <a:gd name="connsiteY3" fmla="*/ 14677 h 2849235"/>
              <a:gd name="connsiteX4" fmla="*/ 4531807 w 11981169"/>
              <a:gd name="connsiteY4" fmla="*/ 34774 h 2849235"/>
              <a:gd name="connsiteX5" fmla="*/ 6300317 w 11981169"/>
              <a:gd name="connsiteY5" fmla="*/ 64919 h 2849235"/>
              <a:gd name="connsiteX6" fmla="*/ 7063991 w 11981169"/>
              <a:gd name="connsiteY6" fmla="*/ 34774 h 2849235"/>
              <a:gd name="connsiteX7" fmla="*/ 8098972 w 11981169"/>
              <a:gd name="connsiteY7" fmla="*/ 64919 h 2849235"/>
              <a:gd name="connsiteX8" fmla="*/ 8956033 w 11981169"/>
              <a:gd name="connsiteY8" fmla="*/ 64919 h 2849235"/>
              <a:gd name="connsiteX9" fmla="*/ 10101769 w 11981169"/>
              <a:gd name="connsiteY9" fmla="*/ 4629 h 2849235"/>
              <a:gd name="connsiteX10" fmla="*/ 11745799 w 11981169"/>
              <a:gd name="connsiteY10" fmla="*/ 346275 h 2849235"/>
              <a:gd name="connsiteX11" fmla="*/ 11786160 w 11981169"/>
              <a:gd name="connsiteY11" fmla="*/ 2587055 h 2849235"/>
              <a:gd name="connsiteX12" fmla="*/ 10008159 w 11981169"/>
              <a:gd name="connsiteY12" fmla="*/ 2828216 h 2849235"/>
              <a:gd name="connsiteX13" fmla="*/ 9435402 w 11981169"/>
              <a:gd name="connsiteY13" fmla="*/ 2828216 h 2849235"/>
              <a:gd name="connsiteX14" fmla="*/ 7365442 w 11981169"/>
              <a:gd name="connsiteY14" fmla="*/ 2788023 h 2849235"/>
              <a:gd name="connsiteX15" fmla="*/ 6742444 w 11981169"/>
              <a:gd name="connsiteY15" fmla="*/ 2808119 h 2849235"/>
              <a:gd name="connsiteX16" fmla="*/ 6601767 w 11981169"/>
              <a:gd name="connsiteY16" fmla="*/ 2798071 h 2849235"/>
              <a:gd name="connsiteX17" fmla="*/ 4783016 w 11981169"/>
              <a:gd name="connsiteY17" fmla="*/ 2848313 h 2849235"/>
              <a:gd name="connsiteX18" fmla="*/ 3938954 w 11981169"/>
              <a:gd name="connsiteY18" fmla="*/ 2828216 h 2849235"/>
              <a:gd name="connsiteX19" fmla="*/ 2944167 w 11981169"/>
              <a:gd name="connsiteY19" fmla="*/ 2808119 h 2849235"/>
              <a:gd name="connsiteX20" fmla="*/ 1889090 w 11981169"/>
              <a:gd name="connsiteY20" fmla="*/ 2818168 h 2849235"/>
              <a:gd name="connsiteX21" fmla="*/ 12890 w 11981169"/>
              <a:gd name="connsiteY21" fmla="*/ 2798069 h 2849235"/>
              <a:gd name="connsiteX0" fmla="*/ 0 w 11940760"/>
              <a:gd name="connsiteY0" fmla="*/ 24144 h 2848653"/>
              <a:gd name="connsiteX1" fmla="*/ 552660 w 11940760"/>
              <a:gd name="connsiteY1" fmla="*/ 4047 h 2848653"/>
              <a:gd name="connsiteX2" fmla="*/ 1637882 w 11940760"/>
              <a:gd name="connsiteY2" fmla="*/ 14095 h 2848653"/>
              <a:gd name="connsiteX3" fmla="*/ 2019719 w 11940760"/>
              <a:gd name="connsiteY3" fmla="*/ 14095 h 2848653"/>
              <a:gd name="connsiteX4" fmla="*/ 4531807 w 11940760"/>
              <a:gd name="connsiteY4" fmla="*/ 34192 h 2848653"/>
              <a:gd name="connsiteX5" fmla="*/ 6300317 w 11940760"/>
              <a:gd name="connsiteY5" fmla="*/ 64337 h 2848653"/>
              <a:gd name="connsiteX6" fmla="*/ 7063991 w 11940760"/>
              <a:gd name="connsiteY6" fmla="*/ 34192 h 2848653"/>
              <a:gd name="connsiteX7" fmla="*/ 8098972 w 11940760"/>
              <a:gd name="connsiteY7" fmla="*/ 64337 h 2848653"/>
              <a:gd name="connsiteX8" fmla="*/ 8956033 w 11940760"/>
              <a:gd name="connsiteY8" fmla="*/ 64337 h 2848653"/>
              <a:gd name="connsiteX9" fmla="*/ 10101769 w 11940760"/>
              <a:gd name="connsiteY9" fmla="*/ 4047 h 2848653"/>
              <a:gd name="connsiteX10" fmla="*/ 11745799 w 11940760"/>
              <a:gd name="connsiteY10" fmla="*/ 345693 h 2848653"/>
              <a:gd name="connsiteX11" fmla="*/ 11716211 w 11940760"/>
              <a:gd name="connsiteY11" fmla="*/ 2566377 h 2848653"/>
              <a:gd name="connsiteX12" fmla="*/ 10008159 w 11940760"/>
              <a:gd name="connsiteY12" fmla="*/ 2827634 h 2848653"/>
              <a:gd name="connsiteX13" fmla="*/ 9435402 w 11940760"/>
              <a:gd name="connsiteY13" fmla="*/ 2827634 h 2848653"/>
              <a:gd name="connsiteX14" fmla="*/ 7365442 w 11940760"/>
              <a:gd name="connsiteY14" fmla="*/ 2787441 h 2848653"/>
              <a:gd name="connsiteX15" fmla="*/ 6742444 w 11940760"/>
              <a:gd name="connsiteY15" fmla="*/ 2807537 h 2848653"/>
              <a:gd name="connsiteX16" fmla="*/ 6601767 w 11940760"/>
              <a:gd name="connsiteY16" fmla="*/ 2797489 h 2848653"/>
              <a:gd name="connsiteX17" fmla="*/ 4783016 w 11940760"/>
              <a:gd name="connsiteY17" fmla="*/ 2847731 h 2848653"/>
              <a:gd name="connsiteX18" fmla="*/ 3938954 w 11940760"/>
              <a:gd name="connsiteY18" fmla="*/ 2827634 h 2848653"/>
              <a:gd name="connsiteX19" fmla="*/ 2944167 w 11940760"/>
              <a:gd name="connsiteY19" fmla="*/ 2807537 h 2848653"/>
              <a:gd name="connsiteX20" fmla="*/ 1889090 w 11940760"/>
              <a:gd name="connsiteY20" fmla="*/ 2817586 h 2848653"/>
              <a:gd name="connsiteX21" fmla="*/ 12890 w 11940760"/>
              <a:gd name="connsiteY21" fmla="*/ 2797487 h 2848653"/>
              <a:gd name="connsiteX0" fmla="*/ 0 w 12001276"/>
              <a:gd name="connsiteY0" fmla="*/ 24144 h 2848653"/>
              <a:gd name="connsiteX1" fmla="*/ 552660 w 12001276"/>
              <a:gd name="connsiteY1" fmla="*/ 4047 h 2848653"/>
              <a:gd name="connsiteX2" fmla="*/ 1637882 w 12001276"/>
              <a:gd name="connsiteY2" fmla="*/ 14095 h 2848653"/>
              <a:gd name="connsiteX3" fmla="*/ 2019719 w 12001276"/>
              <a:gd name="connsiteY3" fmla="*/ 14095 h 2848653"/>
              <a:gd name="connsiteX4" fmla="*/ 4531807 w 12001276"/>
              <a:gd name="connsiteY4" fmla="*/ 34192 h 2848653"/>
              <a:gd name="connsiteX5" fmla="*/ 6300317 w 12001276"/>
              <a:gd name="connsiteY5" fmla="*/ 64337 h 2848653"/>
              <a:gd name="connsiteX6" fmla="*/ 7063991 w 12001276"/>
              <a:gd name="connsiteY6" fmla="*/ 34192 h 2848653"/>
              <a:gd name="connsiteX7" fmla="*/ 8098972 w 12001276"/>
              <a:gd name="connsiteY7" fmla="*/ 64337 h 2848653"/>
              <a:gd name="connsiteX8" fmla="*/ 8956033 w 12001276"/>
              <a:gd name="connsiteY8" fmla="*/ 64337 h 2848653"/>
              <a:gd name="connsiteX9" fmla="*/ 10101769 w 12001276"/>
              <a:gd name="connsiteY9" fmla="*/ 4047 h 2848653"/>
              <a:gd name="connsiteX10" fmla="*/ 11745799 w 12001276"/>
              <a:gd name="connsiteY10" fmla="*/ 345693 h 2848653"/>
              <a:gd name="connsiteX11" fmla="*/ 11716211 w 12001276"/>
              <a:gd name="connsiteY11" fmla="*/ 2566377 h 2848653"/>
              <a:gd name="connsiteX12" fmla="*/ 10008159 w 12001276"/>
              <a:gd name="connsiteY12" fmla="*/ 2827634 h 2848653"/>
              <a:gd name="connsiteX13" fmla="*/ 9435402 w 12001276"/>
              <a:gd name="connsiteY13" fmla="*/ 2827634 h 2848653"/>
              <a:gd name="connsiteX14" fmla="*/ 7365442 w 12001276"/>
              <a:gd name="connsiteY14" fmla="*/ 2787441 h 2848653"/>
              <a:gd name="connsiteX15" fmla="*/ 6742444 w 12001276"/>
              <a:gd name="connsiteY15" fmla="*/ 2807537 h 2848653"/>
              <a:gd name="connsiteX16" fmla="*/ 6601767 w 12001276"/>
              <a:gd name="connsiteY16" fmla="*/ 2797489 h 2848653"/>
              <a:gd name="connsiteX17" fmla="*/ 4783016 w 12001276"/>
              <a:gd name="connsiteY17" fmla="*/ 2847731 h 2848653"/>
              <a:gd name="connsiteX18" fmla="*/ 3938954 w 12001276"/>
              <a:gd name="connsiteY18" fmla="*/ 2827634 h 2848653"/>
              <a:gd name="connsiteX19" fmla="*/ 2944167 w 12001276"/>
              <a:gd name="connsiteY19" fmla="*/ 2807537 h 2848653"/>
              <a:gd name="connsiteX20" fmla="*/ 1889090 w 12001276"/>
              <a:gd name="connsiteY20" fmla="*/ 2817586 h 2848653"/>
              <a:gd name="connsiteX21" fmla="*/ 12890 w 12001276"/>
              <a:gd name="connsiteY21" fmla="*/ 2797487 h 2848653"/>
              <a:gd name="connsiteX0" fmla="*/ 0 w 11892644"/>
              <a:gd name="connsiteY0" fmla="*/ 20953 h 2845462"/>
              <a:gd name="connsiteX1" fmla="*/ 552660 w 11892644"/>
              <a:gd name="connsiteY1" fmla="*/ 856 h 2845462"/>
              <a:gd name="connsiteX2" fmla="*/ 1637882 w 11892644"/>
              <a:gd name="connsiteY2" fmla="*/ 10904 h 2845462"/>
              <a:gd name="connsiteX3" fmla="*/ 2019719 w 11892644"/>
              <a:gd name="connsiteY3" fmla="*/ 10904 h 2845462"/>
              <a:gd name="connsiteX4" fmla="*/ 4531807 w 11892644"/>
              <a:gd name="connsiteY4" fmla="*/ 31001 h 2845462"/>
              <a:gd name="connsiteX5" fmla="*/ 6300317 w 11892644"/>
              <a:gd name="connsiteY5" fmla="*/ 61146 h 2845462"/>
              <a:gd name="connsiteX6" fmla="*/ 7063991 w 11892644"/>
              <a:gd name="connsiteY6" fmla="*/ 31001 h 2845462"/>
              <a:gd name="connsiteX7" fmla="*/ 8098972 w 11892644"/>
              <a:gd name="connsiteY7" fmla="*/ 61146 h 2845462"/>
              <a:gd name="connsiteX8" fmla="*/ 8956033 w 11892644"/>
              <a:gd name="connsiteY8" fmla="*/ 61146 h 2845462"/>
              <a:gd name="connsiteX9" fmla="*/ 10101769 w 11892644"/>
              <a:gd name="connsiteY9" fmla="*/ 856 h 2845462"/>
              <a:gd name="connsiteX10" fmla="*/ 11655866 w 11892644"/>
              <a:gd name="connsiteY10" fmla="*/ 362598 h 2845462"/>
              <a:gd name="connsiteX11" fmla="*/ 11716211 w 11892644"/>
              <a:gd name="connsiteY11" fmla="*/ 2563186 h 2845462"/>
              <a:gd name="connsiteX12" fmla="*/ 10008159 w 11892644"/>
              <a:gd name="connsiteY12" fmla="*/ 2824443 h 2845462"/>
              <a:gd name="connsiteX13" fmla="*/ 9435402 w 11892644"/>
              <a:gd name="connsiteY13" fmla="*/ 2824443 h 2845462"/>
              <a:gd name="connsiteX14" fmla="*/ 7365442 w 11892644"/>
              <a:gd name="connsiteY14" fmla="*/ 2784250 h 2845462"/>
              <a:gd name="connsiteX15" fmla="*/ 6742444 w 11892644"/>
              <a:gd name="connsiteY15" fmla="*/ 2804346 h 2845462"/>
              <a:gd name="connsiteX16" fmla="*/ 6601767 w 11892644"/>
              <a:gd name="connsiteY16" fmla="*/ 2794298 h 2845462"/>
              <a:gd name="connsiteX17" fmla="*/ 4783016 w 11892644"/>
              <a:gd name="connsiteY17" fmla="*/ 2844540 h 2845462"/>
              <a:gd name="connsiteX18" fmla="*/ 3938954 w 11892644"/>
              <a:gd name="connsiteY18" fmla="*/ 2824443 h 2845462"/>
              <a:gd name="connsiteX19" fmla="*/ 2944167 w 11892644"/>
              <a:gd name="connsiteY19" fmla="*/ 2804346 h 2845462"/>
              <a:gd name="connsiteX20" fmla="*/ 1889090 w 11892644"/>
              <a:gd name="connsiteY20" fmla="*/ 2814395 h 2845462"/>
              <a:gd name="connsiteX21" fmla="*/ 12890 w 11892644"/>
              <a:gd name="connsiteY21" fmla="*/ 2794296 h 2845462"/>
              <a:gd name="connsiteX0" fmla="*/ 0 w 11834291"/>
              <a:gd name="connsiteY0" fmla="*/ 20767 h 2845276"/>
              <a:gd name="connsiteX1" fmla="*/ 552660 w 11834291"/>
              <a:gd name="connsiteY1" fmla="*/ 670 h 2845276"/>
              <a:gd name="connsiteX2" fmla="*/ 1637882 w 11834291"/>
              <a:gd name="connsiteY2" fmla="*/ 10718 h 2845276"/>
              <a:gd name="connsiteX3" fmla="*/ 2019719 w 11834291"/>
              <a:gd name="connsiteY3" fmla="*/ 10718 h 2845276"/>
              <a:gd name="connsiteX4" fmla="*/ 4531807 w 11834291"/>
              <a:gd name="connsiteY4" fmla="*/ 30815 h 2845276"/>
              <a:gd name="connsiteX5" fmla="*/ 6300317 w 11834291"/>
              <a:gd name="connsiteY5" fmla="*/ 60960 h 2845276"/>
              <a:gd name="connsiteX6" fmla="*/ 7063991 w 11834291"/>
              <a:gd name="connsiteY6" fmla="*/ 30815 h 2845276"/>
              <a:gd name="connsiteX7" fmla="*/ 8098972 w 11834291"/>
              <a:gd name="connsiteY7" fmla="*/ 60960 h 2845276"/>
              <a:gd name="connsiteX8" fmla="*/ 8956033 w 11834291"/>
              <a:gd name="connsiteY8" fmla="*/ 60960 h 2845276"/>
              <a:gd name="connsiteX9" fmla="*/ 10101769 w 11834291"/>
              <a:gd name="connsiteY9" fmla="*/ 670 h 2845276"/>
              <a:gd name="connsiteX10" fmla="*/ 11655866 w 11834291"/>
              <a:gd name="connsiteY10" fmla="*/ 362412 h 2845276"/>
              <a:gd name="connsiteX11" fmla="*/ 11616285 w 11834291"/>
              <a:gd name="connsiteY11" fmla="*/ 2552952 h 2845276"/>
              <a:gd name="connsiteX12" fmla="*/ 10008159 w 11834291"/>
              <a:gd name="connsiteY12" fmla="*/ 2824257 h 2845276"/>
              <a:gd name="connsiteX13" fmla="*/ 9435402 w 11834291"/>
              <a:gd name="connsiteY13" fmla="*/ 2824257 h 2845276"/>
              <a:gd name="connsiteX14" fmla="*/ 7365442 w 11834291"/>
              <a:gd name="connsiteY14" fmla="*/ 2784064 h 2845276"/>
              <a:gd name="connsiteX15" fmla="*/ 6742444 w 11834291"/>
              <a:gd name="connsiteY15" fmla="*/ 2804160 h 2845276"/>
              <a:gd name="connsiteX16" fmla="*/ 6601767 w 11834291"/>
              <a:gd name="connsiteY16" fmla="*/ 2794112 h 2845276"/>
              <a:gd name="connsiteX17" fmla="*/ 4783016 w 11834291"/>
              <a:gd name="connsiteY17" fmla="*/ 2844354 h 2845276"/>
              <a:gd name="connsiteX18" fmla="*/ 3938954 w 11834291"/>
              <a:gd name="connsiteY18" fmla="*/ 2824257 h 2845276"/>
              <a:gd name="connsiteX19" fmla="*/ 2944167 w 11834291"/>
              <a:gd name="connsiteY19" fmla="*/ 2804160 h 2845276"/>
              <a:gd name="connsiteX20" fmla="*/ 1889090 w 11834291"/>
              <a:gd name="connsiteY20" fmla="*/ 2814209 h 2845276"/>
              <a:gd name="connsiteX21" fmla="*/ 12890 w 11834291"/>
              <a:gd name="connsiteY21" fmla="*/ 2794110 h 2845276"/>
              <a:gd name="connsiteX0" fmla="*/ 0 w 11903126"/>
              <a:gd name="connsiteY0" fmla="*/ 20767 h 2845276"/>
              <a:gd name="connsiteX1" fmla="*/ 552660 w 11903126"/>
              <a:gd name="connsiteY1" fmla="*/ 670 h 2845276"/>
              <a:gd name="connsiteX2" fmla="*/ 1637882 w 11903126"/>
              <a:gd name="connsiteY2" fmla="*/ 10718 h 2845276"/>
              <a:gd name="connsiteX3" fmla="*/ 2019719 w 11903126"/>
              <a:gd name="connsiteY3" fmla="*/ 10718 h 2845276"/>
              <a:gd name="connsiteX4" fmla="*/ 4531807 w 11903126"/>
              <a:gd name="connsiteY4" fmla="*/ 30815 h 2845276"/>
              <a:gd name="connsiteX5" fmla="*/ 6300317 w 11903126"/>
              <a:gd name="connsiteY5" fmla="*/ 60960 h 2845276"/>
              <a:gd name="connsiteX6" fmla="*/ 7063991 w 11903126"/>
              <a:gd name="connsiteY6" fmla="*/ 30815 h 2845276"/>
              <a:gd name="connsiteX7" fmla="*/ 8098972 w 11903126"/>
              <a:gd name="connsiteY7" fmla="*/ 60960 h 2845276"/>
              <a:gd name="connsiteX8" fmla="*/ 8956033 w 11903126"/>
              <a:gd name="connsiteY8" fmla="*/ 60960 h 2845276"/>
              <a:gd name="connsiteX9" fmla="*/ 10101769 w 11903126"/>
              <a:gd name="connsiteY9" fmla="*/ 670 h 2845276"/>
              <a:gd name="connsiteX10" fmla="*/ 11655866 w 11903126"/>
              <a:gd name="connsiteY10" fmla="*/ 362412 h 2845276"/>
              <a:gd name="connsiteX11" fmla="*/ 11616285 w 11903126"/>
              <a:gd name="connsiteY11" fmla="*/ 2552952 h 2845276"/>
              <a:gd name="connsiteX12" fmla="*/ 10008159 w 11903126"/>
              <a:gd name="connsiteY12" fmla="*/ 2824257 h 2845276"/>
              <a:gd name="connsiteX13" fmla="*/ 9435402 w 11903126"/>
              <a:gd name="connsiteY13" fmla="*/ 2824257 h 2845276"/>
              <a:gd name="connsiteX14" fmla="*/ 7365442 w 11903126"/>
              <a:gd name="connsiteY14" fmla="*/ 2784064 h 2845276"/>
              <a:gd name="connsiteX15" fmla="*/ 6742444 w 11903126"/>
              <a:gd name="connsiteY15" fmla="*/ 2804160 h 2845276"/>
              <a:gd name="connsiteX16" fmla="*/ 6601767 w 11903126"/>
              <a:gd name="connsiteY16" fmla="*/ 2794112 h 2845276"/>
              <a:gd name="connsiteX17" fmla="*/ 4783016 w 11903126"/>
              <a:gd name="connsiteY17" fmla="*/ 2844354 h 2845276"/>
              <a:gd name="connsiteX18" fmla="*/ 3938954 w 11903126"/>
              <a:gd name="connsiteY18" fmla="*/ 2824257 h 2845276"/>
              <a:gd name="connsiteX19" fmla="*/ 2944167 w 11903126"/>
              <a:gd name="connsiteY19" fmla="*/ 2804160 h 2845276"/>
              <a:gd name="connsiteX20" fmla="*/ 1889090 w 11903126"/>
              <a:gd name="connsiteY20" fmla="*/ 2814209 h 2845276"/>
              <a:gd name="connsiteX21" fmla="*/ 12890 w 11903126"/>
              <a:gd name="connsiteY21" fmla="*/ 2794110 h 2845276"/>
              <a:gd name="connsiteX0" fmla="*/ 0 w 11949884"/>
              <a:gd name="connsiteY0" fmla="*/ 20097 h 2844606"/>
              <a:gd name="connsiteX1" fmla="*/ 552660 w 11949884"/>
              <a:gd name="connsiteY1" fmla="*/ 0 h 2844606"/>
              <a:gd name="connsiteX2" fmla="*/ 1637882 w 11949884"/>
              <a:gd name="connsiteY2" fmla="*/ 10048 h 2844606"/>
              <a:gd name="connsiteX3" fmla="*/ 2019719 w 11949884"/>
              <a:gd name="connsiteY3" fmla="*/ 10048 h 2844606"/>
              <a:gd name="connsiteX4" fmla="*/ 4531807 w 11949884"/>
              <a:gd name="connsiteY4" fmla="*/ 30145 h 2844606"/>
              <a:gd name="connsiteX5" fmla="*/ 6300317 w 11949884"/>
              <a:gd name="connsiteY5" fmla="*/ 60290 h 2844606"/>
              <a:gd name="connsiteX6" fmla="*/ 7063991 w 11949884"/>
              <a:gd name="connsiteY6" fmla="*/ 30145 h 2844606"/>
              <a:gd name="connsiteX7" fmla="*/ 8098972 w 11949884"/>
              <a:gd name="connsiteY7" fmla="*/ 60290 h 2844606"/>
              <a:gd name="connsiteX8" fmla="*/ 8956033 w 11949884"/>
              <a:gd name="connsiteY8" fmla="*/ 60290 h 2844606"/>
              <a:gd name="connsiteX9" fmla="*/ 10101769 w 11949884"/>
              <a:gd name="connsiteY9" fmla="*/ 0 h 2844606"/>
              <a:gd name="connsiteX10" fmla="*/ 11655866 w 11949884"/>
              <a:gd name="connsiteY10" fmla="*/ 361742 h 2844606"/>
              <a:gd name="connsiteX11" fmla="*/ 11616285 w 11949884"/>
              <a:gd name="connsiteY11" fmla="*/ 2552282 h 2844606"/>
              <a:gd name="connsiteX12" fmla="*/ 10008159 w 11949884"/>
              <a:gd name="connsiteY12" fmla="*/ 2823587 h 2844606"/>
              <a:gd name="connsiteX13" fmla="*/ 9435402 w 11949884"/>
              <a:gd name="connsiteY13" fmla="*/ 2823587 h 2844606"/>
              <a:gd name="connsiteX14" fmla="*/ 7365442 w 11949884"/>
              <a:gd name="connsiteY14" fmla="*/ 2783394 h 2844606"/>
              <a:gd name="connsiteX15" fmla="*/ 6742444 w 11949884"/>
              <a:gd name="connsiteY15" fmla="*/ 2803490 h 2844606"/>
              <a:gd name="connsiteX16" fmla="*/ 6601767 w 11949884"/>
              <a:gd name="connsiteY16" fmla="*/ 2793442 h 2844606"/>
              <a:gd name="connsiteX17" fmla="*/ 4783016 w 11949884"/>
              <a:gd name="connsiteY17" fmla="*/ 2843684 h 2844606"/>
              <a:gd name="connsiteX18" fmla="*/ 3938954 w 11949884"/>
              <a:gd name="connsiteY18" fmla="*/ 2823587 h 2844606"/>
              <a:gd name="connsiteX19" fmla="*/ 2944167 w 11949884"/>
              <a:gd name="connsiteY19" fmla="*/ 2803490 h 2844606"/>
              <a:gd name="connsiteX20" fmla="*/ 1889090 w 11949884"/>
              <a:gd name="connsiteY20" fmla="*/ 2813539 h 2844606"/>
              <a:gd name="connsiteX21" fmla="*/ 12890 w 11949884"/>
              <a:gd name="connsiteY21" fmla="*/ 2793440 h 2844606"/>
              <a:gd name="connsiteX0" fmla="*/ 0 w 11868023"/>
              <a:gd name="connsiteY0" fmla="*/ 20097 h 2844606"/>
              <a:gd name="connsiteX1" fmla="*/ 552660 w 11868023"/>
              <a:gd name="connsiteY1" fmla="*/ 0 h 2844606"/>
              <a:gd name="connsiteX2" fmla="*/ 1637882 w 11868023"/>
              <a:gd name="connsiteY2" fmla="*/ 10048 h 2844606"/>
              <a:gd name="connsiteX3" fmla="*/ 2019719 w 11868023"/>
              <a:gd name="connsiteY3" fmla="*/ 10048 h 2844606"/>
              <a:gd name="connsiteX4" fmla="*/ 4531807 w 11868023"/>
              <a:gd name="connsiteY4" fmla="*/ 30145 h 2844606"/>
              <a:gd name="connsiteX5" fmla="*/ 6300317 w 11868023"/>
              <a:gd name="connsiteY5" fmla="*/ 60290 h 2844606"/>
              <a:gd name="connsiteX6" fmla="*/ 7063991 w 11868023"/>
              <a:gd name="connsiteY6" fmla="*/ 30145 h 2844606"/>
              <a:gd name="connsiteX7" fmla="*/ 8098972 w 11868023"/>
              <a:gd name="connsiteY7" fmla="*/ 60290 h 2844606"/>
              <a:gd name="connsiteX8" fmla="*/ 8956033 w 11868023"/>
              <a:gd name="connsiteY8" fmla="*/ 60290 h 2844606"/>
              <a:gd name="connsiteX9" fmla="*/ 10101769 w 11868023"/>
              <a:gd name="connsiteY9" fmla="*/ 0 h 2844606"/>
              <a:gd name="connsiteX10" fmla="*/ 11625888 w 11868023"/>
              <a:gd name="connsiteY10" fmla="*/ 351694 h 2844606"/>
              <a:gd name="connsiteX11" fmla="*/ 11616285 w 11868023"/>
              <a:gd name="connsiteY11" fmla="*/ 2552282 h 2844606"/>
              <a:gd name="connsiteX12" fmla="*/ 10008159 w 11868023"/>
              <a:gd name="connsiteY12" fmla="*/ 2823587 h 2844606"/>
              <a:gd name="connsiteX13" fmla="*/ 9435402 w 11868023"/>
              <a:gd name="connsiteY13" fmla="*/ 2823587 h 2844606"/>
              <a:gd name="connsiteX14" fmla="*/ 7365442 w 11868023"/>
              <a:gd name="connsiteY14" fmla="*/ 2783394 h 2844606"/>
              <a:gd name="connsiteX15" fmla="*/ 6742444 w 11868023"/>
              <a:gd name="connsiteY15" fmla="*/ 2803490 h 2844606"/>
              <a:gd name="connsiteX16" fmla="*/ 6601767 w 11868023"/>
              <a:gd name="connsiteY16" fmla="*/ 2793442 h 2844606"/>
              <a:gd name="connsiteX17" fmla="*/ 4783016 w 11868023"/>
              <a:gd name="connsiteY17" fmla="*/ 2843684 h 2844606"/>
              <a:gd name="connsiteX18" fmla="*/ 3938954 w 11868023"/>
              <a:gd name="connsiteY18" fmla="*/ 2823587 h 2844606"/>
              <a:gd name="connsiteX19" fmla="*/ 2944167 w 11868023"/>
              <a:gd name="connsiteY19" fmla="*/ 2803490 h 2844606"/>
              <a:gd name="connsiteX20" fmla="*/ 1889090 w 11868023"/>
              <a:gd name="connsiteY20" fmla="*/ 2813539 h 2844606"/>
              <a:gd name="connsiteX21" fmla="*/ 12890 w 11868023"/>
              <a:gd name="connsiteY21" fmla="*/ 2793440 h 2844606"/>
              <a:gd name="connsiteX0" fmla="*/ 0 w 11911375"/>
              <a:gd name="connsiteY0" fmla="*/ 20097 h 2844606"/>
              <a:gd name="connsiteX1" fmla="*/ 552660 w 11911375"/>
              <a:gd name="connsiteY1" fmla="*/ 0 h 2844606"/>
              <a:gd name="connsiteX2" fmla="*/ 1637882 w 11911375"/>
              <a:gd name="connsiteY2" fmla="*/ 10048 h 2844606"/>
              <a:gd name="connsiteX3" fmla="*/ 2019719 w 11911375"/>
              <a:gd name="connsiteY3" fmla="*/ 10048 h 2844606"/>
              <a:gd name="connsiteX4" fmla="*/ 4531807 w 11911375"/>
              <a:gd name="connsiteY4" fmla="*/ 30145 h 2844606"/>
              <a:gd name="connsiteX5" fmla="*/ 6300317 w 11911375"/>
              <a:gd name="connsiteY5" fmla="*/ 60290 h 2844606"/>
              <a:gd name="connsiteX6" fmla="*/ 7063991 w 11911375"/>
              <a:gd name="connsiteY6" fmla="*/ 30145 h 2844606"/>
              <a:gd name="connsiteX7" fmla="*/ 8098972 w 11911375"/>
              <a:gd name="connsiteY7" fmla="*/ 60290 h 2844606"/>
              <a:gd name="connsiteX8" fmla="*/ 8956033 w 11911375"/>
              <a:gd name="connsiteY8" fmla="*/ 60290 h 2844606"/>
              <a:gd name="connsiteX9" fmla="*/ 10101769 w 11911375"/>
              <a:gd name="connsiteY9" fmla="*/ 0 h 2844606"/>
              <a:gd name="connsiteX10" fmla="*/ 11625888 w 11911375"/>
              <a:gd name="connsiteY10" fmla="*/ 351694 h 2844606"/>
              <a:gd name="connsiteX11" fmla="*/ 11616285 w 11911375"/>
              <a:gd name="connsiteY11" fmla="*/ 2552282 h 2844606"/>
              <a:gd name="connsiteX12" fmla="*/ 10008159 w 11911375"/>
              <a:gd name="connsiteY12" fmla="*/ 2823587 h 2844606"/>
              <a:gd name="connsiteX13" fmla="*/ 9435402 w 11911375"/>
              <a:gd name="connsiteY13" fmla="*/ 2823587 h 2844606"/>
              <a:gd name="connsiteX14" fmla="*/ 7365442 w 11911375"/>
              <a:gd name="connsiteY14" fmla="*/ 2783394 h 2844606"/>
              <a:gd name="connsiteX15" fmla="*/ 6742444 w 11911375"/>
              <a:gd name="connsiteY15" fmla="*/ 2803490 h 2844606"/>
              <a:gd name="connsiteX16" fmla="*/ 6601767 w 11911375"/>
              <a:gd name="connsiteY16" fmla="*/ 2793442 h 2844606"/>
              <a:gd name="connsiteX17" fmla="*/ 4783016 w 11911375"/>
              <a:gd name="connsiteY17" fmla="*/ 2843684 h 2844606"/>
              <a:gd name="connsiteX18" fmla="*/ 3938954 w 11911375"/>
              <a:gd name="connsiteY18" fmla="*/ 2823587 h 2844606"/>
              <a:gd name="connsiteX19" fmla="*/ 2944167 w 11911375"/>
              <a:gd name="connsiteY19" fmla="*/ 2803490 h 2844606"/>
              <a:gd name="connsiteX20" fmla="*/ 1889090 w 11911375"/>
              <a:gd name="connsiteY20" fmla="*/ 2813539 h 2844606"/>
              <a:gd name="connsiteX21" fmla="*/ 12890 w 11911375"/>
              <a:gd name="connsiteY21" fmla="*/ 2793440 h 2844606"/>
              <a:gd name="connsiteX0" fmla="*/ 0 w 11932818"/>
              <a:gd name="connsiteY0" fmla="*/ 20097 h 2844606"/>
              <a:gd name="connsiteX1" fmla="*/ 552660 w 11932818"/>
              <a:gd name="connsiteY1" fmla="*/ 0 h 2844606"/>
              <a:gd name="connsiteX2" fmla="*/ 1637882 w 11932818"/>
              <a:gd name="connsiteY2" fmla="*/ 10048 h 2844606"/>
              <a:gd name="connsiteX3" fmla="*/ 2019719 w 11932818"/>
              <a:gd name="connsiteY3" fmla="*/ 10048 h 2844606"/>
              <a:gd name="connsiteX4" fmla="*/ 4531807 w 11932818"/>
              <a:gd name="connsiteY4" fmla="*/ 30145 h 2844606"/>
              <a:gd name="connsiteX5" fmla="*/ 6300317 w 11932818"/>
              <a:gd name="connsiteY5" fmla="*/ 60290 h 2844606"/>
              <a:gd name="connsiteX6" fmla="*/ 7063991 w 11932818"/>
              <a:gd name="connsiteY6" fmla="*/ 30145 h 2844606"/>
              <a:gd name="connsiteX7" fmla="*/ 8098972 w 11932818"/>
              <a:gd name="connsiteY7" fmla="*/ 60290 h 2844606"/>
              <a:gd name="connsiteX8" fmla="*/ 8956033 w 11932818"/>
              <a:gd name="connsiteY8" fmla="*/ 60290 h 2844606"/>
              <a:gd name="connsiteX9" fmla="*/ 10101769 w 11932818"/>
              <a:gd name="connsiteY9" fmla="*/ 0 h 2844606"/>
              <a:gd name="connsiteX10" fmla="*/ 11625888 w 11932818"/>
              <a:gd name="connsiteY10" fmla="*/ 351694 h 2844606"/>
              <a:gd name="connsiteX11" fmla="*/ 11616285 w 11932818"/>
              <a:gd name="connsiteY11" fmla="*/ 2552282 h 2844606"/>
              <a:gd name="connsiteX12" fmla="*/ 10008159 w 11932818"/>
              <a:gd name="connsiteY12" fmla="*/ 2823587 h 2844606"/>
              <a:gd name="connsiteX13" fmla="*/ 9435402 w 11932818"/>
              <a:gd name="connsiteY13" fmla="*/ 2823587 h 2844606"/>
              <a:gd name="connsiteX14" fmla="*/ 7365442 w 11932818"/>
              <a:gd name="connsiteY14" fmla="*/ 2783394 h 2844606"/>
              <a:gd name="connsiteX15" fmla="*/ 6742444 w 11932818"/>
              <a:gd name="connsiteY15" fmla="*/ 2803490 h 2844606"/>
              <a:gd name="connsiteX16" fmla="*/ 6601767 w 11932818"/>
              <a:gd name="connsiteY16" fmla="*/ 2793442 h 2844606"/>
              <a:gd name="connsiteX17" fmla="*/ 4783016 w 11932818"/>
              <a:gd name="connsiteY17" fmla="*/ 2843684 h 2844606"/>
              <a:gd name="connsiteX18" fmla="*/ 3938954 w 11932818"/>
              <a:gd name="connsiteY18" fmla="*/ 2823587 h 2844606"/>
              <a:gd name="connsiteX19" fmla="*/ 2944167 w 11932818"/>
              <a:gd name="connsiteY19" fmla="*/ 2803490 h 2844606"/>
              <a:gd name="connsiteX20" fmla="*/ 1889090 w 11932818"/>
              <a:gd name="connsiteY20" fmla="*/ 2813539 h 2844606"/>
              <a:gd name="connsiteX21" fmla="*/ 12890 w 11932818"/>
              <a:gd name="connsiteY21" fmla="*/ 2793440 h 2844606"/>
              <a:gd name="connsiteX0" fmla="*/ 271276 w 11919928"/>
              <a:gd name="connsiteY0" fmla="*/ 20097 h 2844606"/>
              <a:gd name="connsiteX1" fmla="*/ 539770 w 11919928"/>
              <a:gd name="connsiteY1" fmla="*/ 0 h 2844606"/>
              <a:gd name="connsiteX2" fmla="*/ 1624992 w 11919928"/>
              <a:gd name="connsiteY2" fmla="*/ 10048 h 2844606"/>
              <a:gd name="connsiteX3" fmla="*/ 2006829 w 11919928"/>
              <a:gd name="connsiteY3" fmla="*/ 10048 h 2844606"/>
              <a:gd name="connsiteX4" fmla="*/ 4518917 w 11919928"/>
              <a:gd name="connsiteY4" fmla="*/ 30145 h 2844606"/>
              <a:gd name="connsiteX5" fmla="*/ 6287427 w 11919928"/>
              <a:gd name="connsiteY5" fmla="*/ 60290 h 2844606"/>
              <a:gd name="connsiteX6" fmla="*/ 7051101 w 11919928"/>
              <a:gd name="connsiteY6" fmla="*/ 30145 h 2844606"/>
              <a:gd name="connsiteX7" fmla="*/ 8086082 w 11919928"/>
              <a:gd name="connsiteY7" fmla="*/ 60290 h 2844606"/>
              <a:gd name="connsiteX8" fmla="*/ 8943143 w 11919928"/>
              <a:gd name="connsiteY8" fmla="*/ 60290 h 2844606"/>
              <a:gd name="connsiteX9" fmla="*/ 10088879 w 11919928"/>
              <a:gd name="connsiteY9" fmla="*/ 0 h 2844606"/>
              <a:gd name="connsiteX10" fmla="*/ 11612998 w 11919928"/>
              <a:gd name="connsiteY10" fmla="*/ 351694 h 2844606"/>
              <a:gd name="connsiteX11" fmla="*/ 11603395 w 11919928"/>
              <a:gd name="connsiteY11" fmla="*/ 2552282 h 2844606"/>
              <a:gd name="connsiteX12" fmla="*/ 9995269 w 11919928"/>
              <a:gd name="connsiteY12" fmla="*/ 2823587 h 2844606"/>
              <a:gd name="connsiteX13" fmla="*/ 9422512 w 11919928"/>
              <a:gd name="connsiteY13" fmla="*/ 2823587 h 2844606"/>
              <a:gd name="connsiteX14" fmla="*/ 7352552 w 11919928"/>
              <a:gd name="connsiteY14" fmla="*/ 2783394 h 2844606"/>
              <a:gd name="connsiteX15" fmla="*/ 6729554 w 11919928"/>
              <a:gd name="connsiteY15" fmla="*/ 2803490 h 2844606"/>
              <a:gd name="connsiteX16" fmla="*/ 6588877 w 11919928"/>
              <a:gd name="connsiteY16" fmla="*/ 2793442 h 2844606"/>
              <a:gd name="connsiteX17" fmla="*/ 4770126 w 11919928"/>
              <a:gd name="connsiteY17" fmla="*/ 2843684 h 2844606"/>
              <a:gd name="connsiteX18" fmla="*/ 3926064 w 11919928"/>
              <a:gd name="connsiteY18" fmla="*/ 2823587 h 2844606"/>
              <a:gd name="connsiteX19" fmla="*/ 2931277 w 11919928"/>
              <a:gd name="connsiteY19" fmla="*/ 2803490 h 2844606"/>
              <a:gd name="connsiteX20" fmla="*/ 1876200 w 11919928"/>
              <a:gd name="connsiteY20" fmla="*/ 2813539 h 2844606"/>
              <a:gd name="connsiteX21" fmla="*/ 0 w 11919928"/>
              <a:gd name="connsiteY21" fmla="*/ 2793440 h 284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919928" h="2844606">
                <a:moveTo>
                  <a:pt x="271276" y="20097"/>
                </a:moveTo>
                <a:cubicBezTo>
                  <a:pt x="386413" y="15910"/>
                  <a:pt x="266790" y="1675"/>
                  <a:pt x="539770" y="0"/>
                </a:cubicBezTo>
                <a:lnTo>
                  <a:pt x="1624992" y="10048"/>
                </a:lnTo>
                <a:lnTo>
                  <a:pt x="2006829" y="10048"/>
                </a:lnTo>
                <a:lnTo>
                  <a:pt x="4518917" y="30145"/>
                </a:lnTo>
                <a:lnTo>
                  <a:pt x="6287427" y="60290"/>
                </a:lnTo>
                <a:cubicBezTo>
                  <a:pt x="6709458" y="60290"/>
                  <a:pt x="6751325" y="30145"/>
                  <a:pt x="7051101" y="30145"/>
                </a:cubicBezTo>
                <a:cubicBezTo>
                  <a:pt x="7350877" y="30145"/>
                  <a:pt x="7770742" y="55266"/>
                  <a:pt x="8086082" y="60290"/>
                </a:cubicBezTo>
                <a:cubicBezTo>
                  <a:pt x="8401422" y="65314"/>
                  <a:pt x="8693609" y="61965"/>
                  <a:pt x="8943143" y="60290"/>
                </a:cubicBezTo>
                <a:lnTo>
                  <a:pt x="10088879" y="0"/>
                </a:lnTo>
                <a:cubicBezTo>
                  <a:pt x="10403727" y="6699"/>
                  <a:pt x="11120039" y="5268"/>
                  <a:pt x="11612998" y="351694"/>
                </a:cubicBezTo>
                <a:cubicBezTo>
                  <a:pt x="12051237" y="659666"/>
                  <a:pt x="11995145" y="2254026"/>
                  <a:pt x="11603395" y="2552282"/>
                </a:cubicBezTo>
                <a:cubicBezTo>
                  <a:pt x="11233847" y="2833635"/>
                  <a:pt x="10387062" y="2783394"/>
                  <a:pt x="9995269" y="2823587"/>
                </a:cubicBezTo>
                <a:cubicBezTo>
                  <a:pt x="9749084" y="2823587"/>
                  <a:pt x="9862965" y="2830286"/>
                  <a:pt x="9422512" y="2823587"/>
                </a:cubicBezTo>
                <a:lnTo>
                  <a:pt x="7352552" y="2783394"/>
                </a:lnTo>
                <a:cubicBezTo>
                  <a:pt x="6903726" y="2780045"/>
                  <a:pt x="6937220" y="2796791"/>
                  <a:pt x="6729554" y="2803490"/>
                </a:cubicBezTo>
                <a:cubicBezTo>
                  <a:pt x="6682568" y="2801924"/>
                  <a:pt x="6635879" y="2792478"/>
                  <a:pt x="6588877" y="2793442"/>
                </a:cubicBezTo>
                <a:lnTo>
                  <a:pt x="4770126" y="2843684"/>
                </a:lnTo>
                <a:cubicBezTo>
                  <a:pt x="4326324" y="2848708"/>
                  <a:pt x="4222490" y="2831961"/>
                  <a:pt x="3926064" y="2823587"/>
                </a:cubicBezTo>
                <a:lnTo>
                  <a:pt x="2931277" y="2803490"/>
                </a:lnTo>
                <a:lnTo>
                  <a:pt x="1876200" y="2813539"/>
                </a:lnTo>
                <a:lnTo>
                  <a:pt x="0" y="2793440"/>
                </a:lnTo>
              </a:path>
            </a:pathLst>
          </a:custGeom>
          <a:noFill/>
          <a:ln w="2000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31E488A-E6BC-DDA9-5D88-58CFD57B929A}"/>
              </a:ext>
            </a:extLst>
          </p:cNvPr>
          <p:cNvSpPr/>
          <p:nvPr/>
        </p:nvSpPr>
        <p:spPr>
          <a:xfrm>
            <a:off x="542925" y="2532105"/>
            <a:ext cx="3094524" cy="1539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r>
              <a:rPr lang="da-DK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agde grundlaget for, at målepunkterne lever op til krav fra både branchen og omverdenen, herunder forventelige regulatoriske krav fra EU, Danmark. Desuden skelede analysen til relevante certificeringsordninger og frivillige rapporteringsstandarder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973DD7D-DF72-78D6-2380-8D44202FC4BA}"/>
              </a:ext>
            </a:extLst>
          </p:cNvPr>
          <p:cNvSpPr/>
          <p:nvPr/>
        </p:nvSpPr>
        <p:spPr>
          <a:xfrm>
            <a:off x="4179491" y="2532105"/>
            <a:ext cx="2831184" cy="15399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r>
              <a:rPr lang="da-DK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av indsigt i interessenternes</a:t>
            </a:r>
          </a:p>
          <a:p>
            <a:pPr algn="l"/>
            <a:r>
              <a:rPr lang="da-DK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ehov og handlemuligheder samt identificerede nøgleaktører og </a:t>
            </a:r>
            <a:r>
              <a:rPr lang="da-DK" sz="12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ål-grupper</a:t>
            </a:r>
            <a:r>
              <a:rPr lang="da-DK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i den almene branche for arbejdet med en bæredygtigheds-standard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A3FAE63-CAB9-BD89-5F6F-353CC577B897}"/>
              </a:ext>
            </a:extLst>
          </p:cNvPr>
          <p:cNvSpPr/>
          <p:nvPr/>
        </p:nvSpPr>
        <p:spPr>
          <a:xfrm>
            <a:off x="7438752" y="2532105"/>
            <a:ext cx="3580086" cy="13547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r>
              <a:rPr lang="da-DK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elvom den almene sektor ikke er omfattet af CSRD, er det vigtigt at anvende samme metoder som andre. Dobbelt væsentligheds-analyser blev derfor udført for relevante boligorganisationer, og resultatet blev inddraget i udvælgelse af relevante ESG- målepunkter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672EEA0-FEFF-B195-1205-9CA10258B685}"/>
              </a:ext>
            </a:extLst>
          </p:cNvPr>
          <p:cNvSpPr/>
          <p:nvPr/>
        </p:nvSpPr>
        <p:spPr>
          <a:xfrm>
            <a:off x="6918165" y="5364007"/>
            <a:ext cx="4181383" cy="90979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r>
              <a:rPr lang="da-DK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De forrige analyser resulterede i en bruttoliste med 36 relevante og væsentlige ESG-målepunkter. Kriterierne for målepunkterne inkluderede ESG- relevans, lokal værdiskabelse og handlemulighed, samt om det er muligt at skaffe data for målepunkte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DABC94B-D11E-6A9F-6059-DF53B5AA6ABA}"/>
              </a:ext>
            </a:extLst>
          </p:cNvPr>
          <p:cNvSpPr/>
          <p:nvPr/>
        </p:nvSpPr>
        <p:spPr>
          <a:xfrm>
            <a:off x="1796855" y="5364006"/>
            <a:ext cx="3870872" cy="8117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r>
              <a:rPr lang="da-DK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fter workshops med en lang række centrale interessenter blev målepunkterne prioriteret, med henblik på at starte med det vigtigste og mest tilgængelige data for at komme godt i gang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61C3010-EEE3-6A2F-A23B-51AB9F6AB6F5}"/>
              </a:ext>
            </a:extLst>
          </p:cNvPr>
          <p:cNvSpPr/>
          <p:nvPr/>
        </p:nvSpPr>
        <p:spPr>
          <a:xfrm>
            <a:off x="7438752" y="2209631"/>
            <a:ext cx="3986486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obbelt væsentlighedsanalysern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CFF3C42-449A-AB70-BE4E-42A1D0C6DABE}"/>
              </a:ext>
            </a:extLst>
          </p:cNvPr>
          <p:cNvSpPr/>
          <p:nvPr/>
        </p:nvSpPr>
        <p:spPr>
          <a:xfrm>
            <a:off x="6918165" y="4973934"/>
            <a:ext cx="3899297" cy="365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l"/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ruttolisten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B817445-79DF-1C6A-C01E-DCF4490FE64C}"/>
              </a:ext>
            </a:extLst>
          </p:cNvPr>
          <p:cNvCxnSpPr>
            <a:stCxn id="12" idx="0"/>
          </p:cNvCxnSpPr>
          <p:nvPr/>
        </p:nvCxnSpPr>
        <p:spPr>
          <a:xfrm>
            <a:off x="416763" y="2105105"/>
            <a:ext cx="1380" cy="1749124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0033F14E-6F34-CFE1-0073-FB8E0F7B2042}"/>
              </a:ext>
            </a:extLst>
          </p:cNvPr>
          <p:cNvCxnSpPr/>
          <p:nvPr/>
        </p:nvCxnSpPr>
        <p:spPr>
          <a:xfrm>
            <a:off x="4061385" y="2105105"/>
            <a:ext cx="1380" cy="1749124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44E37C34-E5FB-73D3-249F-A7D84CA64FF3}"/>
              </a:ext>
            </a:extLst>
          </p:cNvPr>
          <p:cNvCxnSpPr/>
          <p:nvPr/>
        </p:nvCxnSpPr>
        <p:spPr>
          <a:xfrm>
            <a:off x="7309153" y="2105105"/>
            <a:ext cx="1380" cy="1749124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B38AB281-9C59-0EC3-45DD-9C6C92F53775}"/>
              </a:ext>
            </a:extLst>
          </p:cNvPr>
          <p:cNvCxnSpPr>
            <a:cxnSpLocks/>
          </p:cNvCxnSpPr>
          <p:nvPr/>
        </p:nvCxnSpPr>
        <p:spPr>
          <a:xfrm>
            <a:off x="1695531" y="4842972"/>
            <a:ext cx="0" cy="1430828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C842F98-74AF-7138-11A9-3657545C4912}"/>
              </a:ext>
            </a:extLst>
          </p:cNvPr>
          <p:cNvCxnSpPr>
            <a:cxnSpLocks/>
          </p:cNvCxnSpPr>
          <p:nvPr/>
        </p:nvCxnSpPr>
        <p:spPr>
          <a:xfrm>
            <a:off x="6783076" y="4842972"/>
            <a:ext cx="0" cy="1430828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310E1A65-017A-6E74-D053-54D85CA5D328}"/>
              </a:ext>
            </a:extLst>
          </p:cNvPr>
          <p:cNvSpPr/>
          <p:nvPr/>
        </p:nvSpPr>
        <p:spPr>
          <a:xfrm>
            <a:off x="-37278" y="1788606"/>
            <a:ext cx="11986382" cy="2844606"/>
          </a:xfrm>
          <a:custGeom>
            <a:avLst/>
            <a:gdLst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854110 w 11867103"/>
              <a:gd name="connsiteY4" fmla="*/ 50242 h 2964609"/>
              <a:gd name="connsiteX5" fmla="*/ 884255 w 11867103"/>
              <a:gd name="connsiteY5" fmla="*/ 60290 h 2964609"/>
              <a:gd name="connsiteX6" fmla="*/ 964642 w 11867103"/>
              <a:gd name="connsiteY6" fmla="*/ 70339 h 2964609"/>
              <a:gd name="connsiteX7" fmla="*/ 994787 w 11867103"/>
              <a:gd name="connsiteY7" fmla="*/ 80387 h 2964609"/>
              <a:gd name="connsiteX8" fmla="*/ 1356528 w 11867103"/>
              <a:gd name="connsiteY8" fmla="*/ 80387 h 2964609"/>
              <a:gd name="connsiteX9" fmla="*/ 1758462 w 11867103"/>
              <a:gd name="connsiteY9" fmla="*/ 40193 h 2964609"/>
              <a:gd name="connsiteX10" fmla="*/ 1889090 w 11867103"/>
              <a:gd name="connsiteY10" fmla="*/ 20097 h 2964609"/>
              <a:gd name="connsiteX11" fmla="*/ 2140299 w 11867103"/>
              <a:gd name="connsiteY11" fmla="*/ 40193 h 2964609"/>
              <a:gd name="connsiteX12" fmla="*/ 2200589 w 11867103"/>
              <a:gd name="connsiteY12" fmla="*/ 50242 h 2964609"/>
              <a:gd name="connsiteX13" fmla="*/ 4652387 w 11867103"/>
              <a:gd name="connsiteY13" fmla="*/ 60290 h 2964609"/>
              <a:gd name="connsiteX14" fmla="*/ 4692580 w 11867103"/>
              <a:gd name="connsiteY14" fmla="*/ 70339 h 2964609"/>
              <a:gd name="connsiteX15" fmla="*/ 4843306 w 11867103"/>
              <a:gd name="connsiteY15" fmla="*/ 90435 h 2964609"/>
              <a:gd name="connsiteX16" fmla="*/ 5677319 w 11867103"/>
              <a:gd name="connsiteY16" fmla="*/ 80387 h 2964609"/>
              <a:gd name="connsiteX17" fmla="*/ 6169688 w 11867103"/>
              <a:gd name="connsiteY17" fmla="*/ 110532 h 2964609"/>
              <a:gd name="connsiteX18" fmla="*/ 6420897 w 11867103"/>
              <a:gd name="connsiteY18" fmla="*/ 90435 h 2964609"/>
              <a:gd name="connsiteX19" fmla="*/ 6511332 w 11867103"/>
              <a:gd name="connsiteY19" fmla="*/ 30145 h 2964609"/>
              <a:gd name="connsiteX20" fmla="*/ 6571622 w 11867103"/>
              <a:gd name="connsiteY20" fmla="*/ 20097 h 2964609"/>
              <a:gd name="connsiteX21" fmla="*/ 6641961 w 11867103"/>
              <a:gd name="connsiteY21" fmla="*/ 0 h 2964609"/>
              <a:gd name="connsiteX22" fmla="*/ 7204668 w 11867103"/>
              <a:gd name="connsiteY22" fmla="*/ 10048 h 2964609"/>
              <a:gd name="connsiteX23" fmla="*/ 7285055 w 11867103"/>
              <a:gd name="connsiteY23" fmla="*/ 30145 h 2964609"/>
              <a:gd name="connsiteX24" fmla="*/ 7375490 w 11867103"/>
              <a:gd name="connsiteY24" fmla="*/ 40193 h 2964609"/>
              <a:gd name="connsiteX25" fmla="*/ 7928150 w 11867103"/>
              <a:gd name="connsiteY25" fmla="*/ 60290 h 2964609"/>
              <a:gd name="connsiteX26" fmla="*/ 8109020 w 11867103"/>
              <a:gd name="connsiteY26" fmla="*/ 80387 h 2964609"/>
              <a:gd name="connsiteX27" fmla="*/ 8219552 w 11867103"/>
              <a:gd name="connsiteY27" fmla="*/ 90435 h 2964609"/>
              <a:gd name="connsiteX28" fmla="*/ 8299939 w 11867103"/>
              <a:gd name="connsiteY28" fmla="*/ 100484 h 2964609"/>
              <a:gd name="connsiteX29" fmla="*/ 8521002 w 11867103"/>
              <a:gd name="connsiteY29" fmla="*/ 110532 h 2964609"/>
              <a:gd name="connsiteX30" fmla="*/ 9515789 w 11867103"/>
              <a:gd name="connsiteY30" fmla="*/ 100484 h 2964609"/>
              <a:gd name="connsiteX31" fmla="*/ 9606224 w 11867103"/>
              <a:gd name="connsiteY31" fmla="*/ 90435 h 2964609"/>
              <a:gd name="connsiteX32" fmla="*/ 9716756 w 11867103"/>
              <a:gd name="connsiteY32" fmla="*/ 80387 h 2964609"/>
              <a:gd name="connsiteX33" fmla="*/ 9797143 w 11867103"/>
              <a:gd name="connsiteY33" fmla="*/ 70339 h 2964609"/>
              <a:gd name="connsiteX34" fmla="*/ 9947868 w 11867103"/>
              <a:gd name="connsiteY34" fmla="*/ 60290 h 2964609"/>
              <a:gd name="connsiteX35" fmla="*/ 10791930 w 11867103"/>
              <a:gd name="connsiteY35" fmla="*/ 30145 h 2964609"/>
              <a:gd name="connsiteX36" fmla="*/ 11736475 w 11867103"/>
              <a:gd name="connsiteY36" fmla="*/ 50242 h 2964609"/>
              <a:gd name="connsiteX37" fmla="*/ 11766620 w 11867103"/>
              <a:gd name="connsiteY37" fmla="*/ 80387 h 2964609"/>
              <a:gd name="connsiteX38" fmla="*/ 11786717 w 11867103"/>
              <a:gd name="connsiteY38" fmla="*/ 120580 h 2964609"/>
              <a:gd name="connsiteX39" fmla="*/ 11806813 w 11867103"/>
              <a:gd name="connsiteY39" fmla="*/ 211015 h 2964609"/>
              <a:gd name="connsiteX40" fmla="*/ 11816862 w 11867103"/>
              <a:gd name="connsiteY40" fmla="*/ 251209 h 2964609"/>
              <a:gd name="connsiteX41" fmla="*/ 11826910 w 11867103"/>
              <a:gd name="connsiteY41" fmla="*/ 341644 h 2964609"/>
              <a:gd name="connsiteX42" fmla="*/ 11836958 w 11867103"/>
              <a:gd name="connsiteY42" fmla="*/ 422031 h 2964609"/>
              <a:gd name="connsiteX43" fmla="*/ 11826910 w 11867103"/>
              <a:gd name="connsiteY43" fmla="*/ 733530 h 2964609"/>
              <a:gd name="connsiteX44" fmla="*/ 11816862 w 11867103"/>
              <a:gd name="connsiteY44" fmla="*/ 793820 h 2964609"/>
              <a:gd name="connsiteX45" fmla="*/ 11806813 w 11867103"/>
              <a:gd name="connsiteY45" fmla="*/ 864158 h 2964609"/>
              <a:gd name="connsiteX46" fmla="*/ 11816862 w 11867103"/>
              <a:gd name="connsiteY46" fmla="*/ 2331218 h 2964609"/>
              <a:gd name="connsiteX47" fmla="*/ 11826910 w 11867103"/>
              <a:gd name="connsiteY47" fmla="*/ 2401556 h 2964609"/>
              <a:gd name="connsiteX48" fmla="*/ 11836958 w 11867103"/>
              <a:gd name="connsiteY48" fmla="*/ 2431701 h 2964609"/>
              <a:gd name="connsiteX49" fmla="*/ 11857055 w 11867103"/>
              <a:gd name="connsiteY49" fmla="*/ 2562330 h 2964609"/>
              <a:gd name="connsiteX50" fmla="*/ 11867103 w 11867103"/>
              <a:gd name="connsiteY50" fmla="*/ 2602523 h 2964609"/>
              <a:gd name="connsiteX51" fmla="*/ 11857055 w 11867103"/>
              <a:gd name="connsiteY51" fmla="*/ 2833635 h 2964609"/>
              <a:gd name="connsiteX52" fmla="*/ 11836958 w 11867103"/>
              <a:gd name="connsiteY52" fmla="*/ 2863780 h 2964609"/>
              <a:gd name="connsiteX53" fmla="*/ 11033090 w 11867103"/>
              <a:gd name="connsiteY53" fmla="*/ 2853732 h 2964609"/>
              <a:gd name="connsiteX54" fmla="*/ 10621108 w 11867103"/>
              <a:gd name="connsiteY54" fmla="*/ 2843684 h 2964609"/>
              <a:gd name="connsiteX55" fmla="*/ 10128739 w 11867103"/>
              <a:gd name="connsiteY55" fmla="*/ 2853732 h 2964609"/>
              <a:gd name="connsiteX56" fmla="*/ 10048352 w 11867103"/>
              <a:gd name="connsiteY56" fmla="*/ 2863780 h 2964609"/>
              <a:gd name="connsiteX57" fmla="*/ 9555982 w 11867103"/>
              <a:gd name="connsiteY57" fmla="*/ 2853732 h 2964609"/>
              <a:gd name="connsiteX58" fmla="*/ 9445451 w 11867103"/>
              <a:gd name="connsiteY58" fmla="*/ 2843684 h 2964609"/>
              <a:gd name="connsiteX59" fmla="*/ 9415306 w 11867103"/>
              <a:gd name="connsiteY59" fmla="*/ 2823587 h 2964609"/>
              <a:gd name="connsiteX60" fmla="*/ 9204290 w 11867103"/>
              <a:gd name="connsiteY60" fmla="*/ 2803490 h 2964609"/>
              <a:gd name="connsiteX61" fmla="*/ 9073662 w 11867103"/>
              <a:gd name="connsiteY61" fmla="*/ 2783393 h 2964609"/>
              <a:gd name="connsiteX62" fmla="*/ 8812404 w 11867103"/>
              <a:gd name="connsiteY62" fmla="*/ 2773345 h 2964609"/>
              <a:gd name="connsiteX63" fmla="*/ 8400422 w 11867103"/>
              <a:gd name="connsiteY63" fmla="*/ 2763297 h 2964609"/>
              <a:gd name="connsiteX64" fmla="*/ 8269793 w 11867103"/>
              <a:gd name="connsiteY64" fmla="*/ 2753248 h 2964609"/>
              <a:gd name="connsiteX65" fmla="*/ 7797521 w 11867103"/>
              <a:gd name="connsiteY65" fmla="*/ 2773345 h 2964609"/>
              <a:gd name="connsiteX66" fmla="*/ 7717134 w 11867103"/>
              <a:gd name="connsiteY66" fmla="*/ 2783393 h 2964609"/>
              <a:gd name="connsiteX67" fmla="*/ 7486022 w 11867103"/>
              <a:gd name="connsiteY67" fmla="*/ 2813539 h 2964609"/>
              <a:gd name="connsiteX68" fmla="*/ 7395587 w 11867103"/>
              <a:gd name="connsiteY68" fmla="*/ 2833635 h 2964609"/>
              <a:gd name="connsiteX69" fmla="*/ 7325248 w 11867103"/>
              <a:gd name="connsiteY69" fmla="*/ 2843684 h 2964609"/>
              <a:gd name="connsiteX70" fmla="*/ 6863024 w 11867103"/>
              <a:gd name="connsiteY70" fmla="*/ 2833635 h 2964609"/>
              <a:gd name="connsiteX71" fmla="*/ 6722347 w 11867103"/>
              <a:gd name="connsiteY71" fmla="*/ 2823587 h 2964609"/>
              <a:gd name="connsiteX72" fmla="*/ 4903596 w 11867103"/>
              <a:gd name="connsiteY72" fmla="*/ 2873829 h 2964609"/>
              <a:gd name="connsiteX73" fmla="*/ 4722725 w 11867103"/>
              <a:gd name="connsiteY73" fmla="*/ 2914022 h 2964609"/>
              <a:gd name="connsiteX74" fmla="*/ 4300695 w 11867103"/>
              <a:gd name="connsiteY74" fmla="*/ 2893925 h 2964609"/>
              <a:gd name="connsiteX75" fmla="*/ 4059534 w 11867103"/>
              <a:gd name="connsiteY75" fmla="*/ 2853732 h 2964609"/>
              <a:gd name="connsiteX76" fmla="*/ 3768132 w 11867103"/>
              <a:gd name="connsiteY76" fmla="*/ 2823587 h 2964609"/>
              <a:gd name="connsiteX77" fmla="*/ 3627455 w 11867103"/>
              <a:gd name="connsiteY77" fmla="*/ 2813539 h 2964609"/>
              <a:gd name="connsiteX78" fmla="*/ 3125037 w 11867103"/>
              <a:gd name="connsiteY78" fmla="*/ 2823587 h 2964609"/>
              <a:gd name="connsiteX79" fmla="*/ 3064747 w 11867103"/>
              <a:gd name="connsiteY79" fmla="*/ 2833635 h 2964609"/>
              <a:gd name="connsiteX80" fmla="*/ 2009670 w 11867103"/>
              <a:gd name="connsiteY80" fmla="*/ 2843684 h 2964609"/>
              <a:gd name="connsiteX81" fmla="*/ 1678075 w 11867103"/>
              <a:gd name="connsiteY81" fmla="*/ 2934119 h 2964609"/>
              <a:gd name="connsiteX82" fmla="*/ 1607736 w 11867103"/>
              <a:gd name="connsiteY82" fmla="*/ 2964264 h 2964609"/>
              <a:gd name="connsiteX83" fmla="*/ 1135464 w 11867103"/>
              <a:gd name="connsiteY83" fmla="*/ 2944167 h 2964609"/>
              <a:gd name="connsiteX84" fmla="*/ 944545 w 11867103"/>
              <a:gd name="connsiteY84" fmla="*/ 2914022 h 2964609"/>
              <a:gd name="connsiteX85" fmla="*/ 723481 w 11867103"/>
              <a:gd name="connsiteY85" fmla="*/ 2873829 h 2964609"/>
              <a:gd name="connsiteX86" fmla="*/ 643095 w 11867103"/>
              <a:gd name="connsiteY86" fmla="*/ 2863780 h 2964609"/>
              <a:gd name="connsiteX87" fmla="*/ 371789 w 11867103"/>
              <a:gd name="connsiteY87" fmla="*/ 2823587 h 2964609"/>
              <a:gd name="connsiteX88" fmla="*/ 0 w 11867103"/>
              <a:gd name="connsiteY88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854110 w 11867103"/>
              <a:gd name="connsiteY4" fmla="*/ 50242 h 2964609"/>
              <a:gd name="connsiteX5" fmla="*/ 884255 w 11867103"/>
              <a:gd name="connsiteY5" fmla="*/ 60290 h 2964609"/>
              <a:gd name="connsiteX6" fmla="*/ 964642 w 11867103"/>
              <a:gd name="connsiteY6" fmla="*/ 70339 h 2964609"/>
              <a:gd name="connsiteX7" fmla="*/ 1356528 w 11867103"/>
              <a:gd name="connsiteY7" fmla="*/ 80387 h 2964609"/>
              <a:gd name="connsiteX8" fmla="*/ 1758462 w 11867103"/>
              <a:gd name="connsiteY8" fmla="*/ 40193 h 2964609"/>
              <a:gd name="connsiteX9" fmla="*/ 1889090 w 11867103"/>
              <a:gd name="connsiteY9" fmla="*/ 20097 h 2964609"/>
              <a:gd name="connsiteX10" fmla="*/ 2140299 w 11867103"/>
              <a:gd name="connsiteY10" fmla="*/ 40193 h 2964609"/>
              <a:gd name="connsiteX11" fmla="*/ 2200589 w 11867103"/>
              <a:gd name="connsiteY11" fmla="*/ 50242 h 2964609"/>
              <a:gd name="connsiteX12" fmla="*/ 4652387 w 11867103"/>
              <a:gd name="connsiteY12" fmla="*/ 60290 h 2964609"/>
              <a:gd name="connsiteX13" fmla="*/ 4692580 w 11867103"/>
              <a:gd name="connsiteY13" fmla="*/ 70339 h 2964609"/>
              <a:gd name="connsiteX14" fmla="*/ 4843306 w 11867103"/>
              <a:gd name="connsiteY14" fmla="*/ 90435 h 2964609"/>
              <a:gd name="connsiteX15" fmla="*/ 5677319 w 11867103"/>
              <a:gd name="connsiteY15" fmla="*/ 80387 h 2964609"/>
              <a:gd name="connsiteX16" fmla="*/ 6169688 w 11867103"/>
              <a:gd name="connsiteY16" fmla="*/ 110532 h 2964609"/>
              <a:gd name="connsiteX17" fmla="*/ 6420897 w 11867103"/>
              <a:gd name="connsiteY17" fmla="*/ 90435 h 2964609"/>
              <a:gd name="connsiteX18" fmla="*/ 6511332 w 11867103"/>
              <a:gd name="connsiteY18" fmla="*/ 30145 h 2964609"/>
              <a:gd name="connsiteX19" fmla="*/ 6571622 w 11867103"/>
              <a:gd name="connsiteY19" fmla="*/ 20097 h 2964609"/>
              <a:gd name="connsiteX20" fmla="*/ 6641961 w 11867103"/>
              <a:gd name="connsiteY20" fmla="*/ 0 h 2964609"/>
              <a:gd name="connsiteX21" fmla="*/ 7204668 w 11867103"/>
              <a:gd name="connsiteY21" fmla="*/ 10048 h 2964609"/>
              <a:gd name="connsiteX22" fmla="*/ 7285055 w 11867103"/>
              <a:gd name="connsiteY22" fmla="*/ 30145 h 2964609"/>
              <a:gd name="connsiteX23" fmla="*/ 7375490 w 11867103"/>
              <a:gd name="connsiteY23" fmla="*/ 40193 h 2964609"/>
              <a:gd name="connsiteX24" fmla="*/ 7928150 w 11867103"/>
              <a:gd name="connsiteY24" fmla="*/ 60290 h 2964609"/>
              <a:gd name="connsiteX25" fmla="*/ 8109020 w 11867103"/>
              <a:gd name="connsiteY25" fmla="*/ 80387 h 2964609"/>
              <a:gd name="connsiteX26" fmla="*/ 8219552 w 11867103"/>
              <a:gd name="connsiteY26" fmla="*/ 90435 h 2964609"/>
              <a:gd name="connsiteX27" fmla="*/ 8299939 w 11867103"/>
              <a:gd name="connsiteY27" fmla="*/ 100484 h 2964609"/>
              <a:gd name="connsiteX28" fmla="*/ 8521002 w 11867103"/>
              <a:gd name="connsiteY28" fmla="*/ 110532 h 2964609"/>
              <a:gd name="connsiteX29" fmla="*/ 9515789 w 11867103"/>
              <a:gd name="connsiteY29" fmla="*/ 100484 h 2964609"/>
              <a:gd name="connsiteX30" fmla="*/ 9606224 w 11867103"/>
              <a:gd name="connsiteY30" fmla="*/ 90435 h 2964609"/>
              <a:gd name="connsiteX31" fmla="*/ 9716756 w 11867103"/>
              <a:gd name="connsiteY31" fmla="*/ 80387 h 2964609"/>
              <a:gd name="connsiteX32" fmla="*/ 9797143 w 11867103"/>
              <a:gd name="connsiteY32" fmla="*/ 70339 h 2964609"/>
              <a:gd name="connsiteX33" fmla="*/ 9947868 w 11867103"/>
              <a:gd name="connsiteY33" fmla="*/ 60290 h 2964609"/>
              <a:gd name="connsiteX34" fmla="*/ 10791930 w 11867103"/>
              <a:gd name="connsiteY34" fmla="*/ 30145 h 2964609"/>
              <a:gd name="connsiteX35" fmla="*/ 11736475 w 11867103"/>
              <a:gd name="connsiteY35" fmla="*/ 50242 h 2964609"/>
              <a:gd name="connsiteX36" fmla="*/ 11766620 w 11867103"/>
              <a:gd name="connsiteY36" fmla="*/ 80387 h 2964609"/>
              <a:gd name="connsiteX37" fmla="*/ 11786717 w 11867103"/>
              <a:gd name="connsiteY37" fmla="*/ 120580 h 2964609"/>
              <a:gd name="connsiteX38" fmla="*/ 11806813 w 11867103"/>
              <a:gd name="connsiteY38" fmla="*/ 211015 h 2964609"/>
              <a:gd name="connsiteX39" fmla="*/ 11816862 w 11867103"/>
              <a:gd name="connsiteY39" fmla="*/ 251209 h 2964609"/>
              <a:gd name="connsiteX40" fmla="*/ 11826910 w 11867103"/>
              <a:gd name="connsiteY40" fmla="*/ 341644 h 2964609"/>
              <a:gd name="connsiteX41" fmla="*/ 11836958 w 11867103"/>
              <a:gd name="connsiteY41" fmla="*/ 422031 h 2964609"/>
              <a:gd name="connsiteX42" fmla="*/ 11826910 w 11867103"/>
              <a:gd name="connsiteY42" fmla="*/ 733530 h 2964609"/>
              <a:gd name="connsiteX43" fmla="*/ 11816862 w 11867103"/>
              <a:gd name="connsiteY43" fmla="*/ 793820 h 2964609"/>
              <a:gd name="connsiteX44" fmla="*/ 11806813 w 11867103"/>
              <a:gd name="connsiteY44" fmla="*/ 864158 h 2964609"/>
              <a:gd name="connsiteX45" fmla="*/ 11816862 w 11867103"/>
              <a:gd name="connsiteY45" fmla="*/ 2331218 h 2964609"/>
              <a:gd name="connsiteX46" fmla="*/ 11826910 w 11867103"/>
              <a:gd name="connsiteY46" fmla="*/ 2401556 h 2964609"/>
              <a:gd name="connsiteX47" fmla="*/ 11836958 w 11867103"/>
              <a:gd name="connsiteY47" fmla="*/ 2431701 h 2964609"/>
              <a:gd name="connsiteX48" fmla="*/ 11857055 w 11867103"/>
              <a:gd name="connsiteY48" fmla="*/ 2562330 h 2964609"/>
              <a:gd name="connsiteX49" fmla="*/ 11867103 w 11867103"/>
              <a:gd name="connsiteY49" fmla="*/ 2602523 h 2964609"/>
              <a:gd name="connsiteX50" fmla="*/ 11857055 w 11867103"/>
              <a:gd name="connsiteY50" fmla="*/ 2833635 h 2964609"/>
              <a:gd name="connsiteX51" fmla="*/ 11836958 w 11867103"/>
              <a:gd name="connsiteY51" fmla="*/ 2863780 h 2964609"/>
              <a:gd name="connsiteX52" fmla="*/ 11033090 w 11867103"/>
              <a:gd name="connsiteY52" fmla="*/ 2853732 h 2964609"/>
              <a:gd name="connsiteX53" fmla="*/ 10621108 w 11867103"/>
              <a:gd name="connsiteY53" fmla="*/ 2843684 h 2964609"/>
              <a:gd name="connsiteX54" fmla="*/ 10128739 w 11867103"/>
              <a:gd name="connsiteY54" fmla="*/ 2853732 h 2964609"/>
              <a:gd name="connsiteX55" fmla="*/ 10048352 w 11867103"/>
              <a:gd name="connsiteY55" fmla="*/ 2863780 h 2964609"/>
              <a:gd name="connsiteX56" fmla="*/ 9555982 w 11867103"/>
              <a:gd name="connsiteY56" fmla="*/ 2853732 h 2964609"/>
              <a:gd name="connsiteX57" fmla="*/ 9445451 w 11867103"/>
              <a:gd name="connsiteY57" fmla="*/ 2843684 h 2964609"/>
              <a:gd name="connsiteX58" fmla="*/ 9415306 w 11867103"/>
              <a:gd name="connsiteY58" fmla="*/ 2823587 h 2964609"/>
              <a:gd name="connsiteX59" fmla="*/ 9204290 w 11867103"/>
              <a:gd name="connsiteY59" fmla="*/ 2803490 h 2964609"/>
              <a:gd name="connsiteX60" fmla="*/ 9073662 w 11867103"/>
              <a:gd name="connsiteY60" fmla="*/ 2783393 h 2964609"/>
              <a:gd name="connsiteX61" fmla="*/ 8812404 w 11867103"/>
              <a:gd name="connsiteY61" fmla="*/ 2773345 h 2964609"/>
              <a:gd name="connsiteX62" fmla="*/ 8400422 w 11867103"/>
              <a:gd name="connsiteY62" fmla="*/ 2763297 h 2964609"/>
              <a:gd name="connsiteX63" fmla="*/ 8269793 w 11867103"/>
              <a:gd name="connsiteY63" fmla="*/ 2753248 h 2964609"/>
              <a:gd name="connsiteX64" fmla="*/ 7797521 w 11867103"/>
              <a:gd name="connsiteY64" fmla="*/ 2773345 h 2964609"/>
              <a:gd name="connsiteX65" fmla="*/ 7717134 w 11867103"/>
              <a:gd name="connsiteY65" fmla="*/ 2783393 h 2964609"/>
              <a:gd name="connsiteX66" fmla="*/ 7486022 w 11867103"/>
              <a:gd name="connsiteY66" fmla="*/ 2813539 h 2964609"/>
              <a:gd name="connsiteX67" fmla="*/ 7395587 w 11867103"/>
              <a:gd name="connsiteY67" fmla="*/ 2833635 h 2964609"/>
              <a:gd name="connsiteX68" fmla="*/ 7325248 w 11867103"/>
              <a:gd name="connsiteY68" fmla="*/ 2843684 h 2964609"/>
              <a:gd name="connsiteX69" fmla="*/ 6863024 w 11867103"/>
              <a:gd name="connsiteY69" fmla="*/ 2833635 h 2964609"/>
              <a:gd name="connsiteX70" fmla="*/ 6722347 w 11867103"/>
              <a:gd name="connsiteY70" fmla="*/ 2823587 h 2964609"/>
              <a:gd name="connsiteX71" fmla="*/ 4903596 w 11867103"/>
              <a:gd name="connsiteY71" fmla="*/ 2873829 h 2964609"/>
              <a:gd name="connsiteX72" fmla="*/ 4722725 w 11867103"/>
              <a:gd name="connsiteY72" fmla="*/ 2914022 h 2964609"/>
              <a:gd name="connsiteX73" fmla="*/ 4300695 w 11867103"/>
              <a:gd name="connsiteY73" fmla="*/ 2893925 h 2964609"/>
              <a:gd name="connsiteX74" fmla="*/ 4059534 w 11867103"/>
              <a:gd name="connsiteY74" fmla="*/ 2853732 h 2964609"/>
              <a:gd name="connsiteX75" fmla="*/ 3768132 w 11867103"/>
              <a:gd name="connsiteY75" fmla="*/ 2823587 h 2964609"/>
              <a:gd name="connsiteX76" fmla="*/ 3627455 w 11867103"/>
              <a:gd name="connsiteY76" fmla="*/ 2813539 h 2964609"/>
              <a:gd name="connsiteX77" fmla="*/ 3125037 w 11867103"/>
              <a:gd name="connsiteY77" fmla="*/ 2823587 h 2964609"/>
              <a:gd name="connsiteX78" fmla="*/ 3064747 w 11867103"/>
              <a:gd name="connsiteY78" fmla="*/ 2833635 h 2964609"/>
              <a:gd name="connsiteX79" fmla="*/ 2009670 w 11867103"/>
              <a:gd name="connsiteY79" fmla="*/ 2843684 h 2964609"/>
              <a:gd name="connsiteX80" fmla="*/ 1678075 w 11867103"/>
              <a:gd name="connsiteY80" fmla="*/ 2934119 h 2964609"/>
              <a:gd name="connsiteX81" fmla="*/ 1607736 w 11867103"/>
              <a:gd name="connsiteY81" fmla="*/ 2964264 h 2964609"/>
              <a:gd name="connsiteX82" fmla="*/ 1135464 w 11867103"/>
              <a:gd name="connsiteY82" fmla="*/ 2944167 h 2964609"/>
              <a:gd name="connsiteX83" fmla="*/ 944545 w 11867103"/>
              <a:gd name="connsiteY83" fmla="*/ 2914022 h 2964609"/>
              <a:gd name="connsiteX84" fmla="*/ 723481 w 11867103"/>
              <a:gd name="connsiteY84" fmla="*/ 2873829 h 2964609"/>
              <a:gd name="connsiteX85" fmla="*/ 643095 w 11867103"/>
              <a:gd name="connsiteY85" fmla="*/ 2863780 h 2964609"/>
              <a:gd name="connsiteX86" fmla="*/ 371789 w 11867103"/>
              <a:gd name="connsiteY86" fmla="*/ 2823587 h 2964609"/>
              <a:gd name="connsiteX87" fmla="*/ 0 w 11867103"/>
              <a:gd name="connsiteY87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854110 w 11867103"/>
              <a:gd name="connsiteY4" fmla="*/ 50242 h 2964609"/>
              <a:gd name="connsiteX5" fmla="*/ 884255 w 11867103"/>
              <a:gd name="connsiteY5" fmla="*/ 60290 h 2964609"/>
              <a:gd name="connsiteX6" fmla="*/ 1356528 w 11867103"/>
              <a:gd name="connsiteY6" fmla="*/ 80387 h 2964609"/>
              <a:gd name="connsiteX7" fmla="*/ 1758462 w 11867103"/>
              <a:gd name="connsiteY7" fmla="*/ 40193 h 2964609"/>
              <a:gd name="connsiteX8" fmla="*/ 1889090 w 11867103"/>
              <a:gd name="connsiteY8" fmla="*/ 20097 h 2964609"/>
              <a:gd name="connsiteX9" fmla="*/ 2140299 w 11867103"/>
              <a:gd name="connsiteY9" fmla="*/ 40193 h 2964609"/>
              <a:gd name="connsiteX10" fmla="*/ 2200589 w 11867103"/>
              <a:gd name="connsiteY10" fmla="*/ 50242 h 2964609"/>
              <a:gd name="connsiteX11" fmla="*/ 4652387 w 11867103"/>
              <a:gd name="connsiteY11" fmla="*/ 60290 h 2964609"/>
              <a:gd name="connsiteX12" fmla="*/ 4692580 w 11867103"/>
              <a:gd name="connsiteY12" fmla="*/ 70339 h 2964609"/>
              <a:gd name="connsiteX13" fmla="*/ 4843306 w 11867103"/>
              <a:gd name="connsiteY13" fmla="*/ 90435 h 2964609"/>
              <a:gd name="connsiteX14" fmla="*/ 5677319 w 11867103"/>
              <a:gd name="connsiteY14" fmla="*/ 80387 h 2964609"/>
              <a:gd name="connsiteX15" fmla="*/ 6169688 w 11867103"/>
              <a:gd name="connsiteY15" fmla="*/ 110532 h 2964609"/>
              <a:gd name="connsiteX16" fmla="*/ 6420897 w 11867103"/>
              <a:gd name="connsiteY16" fmla="*/ 90435 h 2964609"/>
              <a:gd name="connsiteX17" fmla="*/ 6511332 w 11867103"/>
              <a:gd name="connsiteY17" fmla="*/ 30145 h 2964609"/>
              <a:gd name="connsiteX18" fmla="*/ 6571622 w 11867103"/>
              <a:gd name="connsiteY18" fmla="*/ 20097 h 2964609"/>
              <a:gd name="connsiteX19" fmla="*/ 6641961 w 11867103"/>
              <a:gd name="connsiteY19" fmla="*/ 0 h 2964609"/>
              <a:gd name="connsiteX20" fmla="*/ 7204668 w 11867103"/>
              <a:gd name="connsiteY20" fmla="*/ 10048 h 2964609"/>
              <a:gd name="connsiteX21" fmla="*/ 7285055 w 11867103"/>
              <a:gd name="connsiteY21" fmla="*/ 30145 h 2964609"/>
              <a:gd name="connsiteX22" fmla="*/ 7375490 w 11867103"/>
              <a:gd name="connsiteY22" fmla="*/ 40193 h 2964609"/>
              <a:gd name="connsiteX23" fmla="*/ 7928150 w 11867103"/>
              <a:gd name="connsiteY23" fmla="*/ 60290 h 2964609"/>
              <a:gd name="connsiteX24" fmla="*/ 8109020 w 11867103"/>
              <a:gd name="connsiteY24" fmla="*/ 80387 h 2964609"/>
              <a:gd name="connsiteX25" fmla="*/ 8219552 w 11867103"/>
              <a:gd name="connsiteY25" fmla="*/ 90435 h 2964609"/>
              <a:gd name="connsiteX26" fmla="*/ 8299939 w 11867103"/>
              <a:gd name="connsiteY26" fmla="*/ 100484 h 2964609"/>
              <a:gd name="connsiteX27" fmla="*/ 8521002 w 11867103"/>
              <a:gd name="connsiteY27" fmla="*/ 110532 h 2964609"/>
              <a:gd name="connsiteX28" fmla="*/ 9515789 w 11867103"/>
              <a:gd name="connsiteY28" fmla="*/ 100484 h 2964609"/>
              <a:gd name="connsiteX29" fmla="*/ 9606224 w 11867103"/>
              <a:gd name="connsiteY29" fmla="*/ 90435 h 2964609"/>
              <a:gd name="connsiteX30" fmla="*/ 9716756 w 11867103"/>
              <a:gd name="connsiteY30" fmla="*/ 80387 h 2964609"/>
              <a:gd name="connsiteX31" fmla="*/ 9797143 w 11867103"/>
              <a:gd name="connsiteY31" fmla="*/ 70339 h 2964609"/>
              <a:gd name="connsiteX32" fmla="*/ 9947868 w 11867103"/>
              <a:gd name="connsiteY32" fmla="*/ 60290 h 2964609"/>
              <a:gd name="connsiteX33" fmla="*/ 10791930 w 11867103"/>
              <a:gd name="connsiteY33" fmla="*/ 30145 h 2964609"/>
              <a:gd name="connsiteX34" fmla="*/ 11736475 w 11867103"/>
              <a:gd name="connsiteY34" fmla="*/ 50242 h 2964609"/>
              <a:gd name="connsiteX35" fmla="*/ 11766620 w 11867103"/>
              <a:gd name="connsiteY35" fmla="*/ 80387 h 2964609"/>
              <a:gd name="connsiteX36" fmla="*/ 11786717 w 11867103"/>
              <a:gd name="connsiteY36" fmla="*/ 120580 h 2964609"/>
              <a:gd name="connsiteX37" fmla="*/ 11806813 w 11867103"/>
              <a:gd name="connsiteY37" fmla="*/ 211015 h 2964609"/>
              <a:gd name="connsiteX38" fmla="*/ 11816862 w 11867103"/>
              <a:gd name="connsiteY38" fmla="*/ 251209 h 2964609"/>
              <a:gd name="connsiteX39" fmla="*/ 11826910 w 11867103"/>
              <a:gd name="connsiteY39" fmla="*/ 341644 h 2964609"/>
              <a:gd name="connsiteX40" fmla="*/ 11836958 w 11867103"/>
              <a:gd name="connsiteY40" fmla="*/ 422031 h 2964609"/>
              <a:gd name="connsiteX41" fmla="*/ 11826910 w 11867103"/>
              <a:gd name="connsiteY41" fmla="*/ 733530 h 2964609"/>
              <a:gd name="connsiteX42" fmla="*/ 11816862 w 11867103"/>
              <a:gd name="connsiteY42" fmla="*/ 793820 h 2964609"/>
              <a:gd name="connsiteX43" fmla="*/ 11806813 w 11867103"/>
              <a:gd name="connsiteY43" fmla="*/ 864158 h 2964609"/>
              <a:gd name="connsiteX44" fmla="*/ 11816862 w 11867103"/>
              <a:gd name="connsiteY44" fmla="*/ 2331218 h 2964609"/>
              <a:gd name="connsiteX45" fmla="*/ 11826910 w 11867103"/>
              <a:gd name="connsiteY45" fmla="*/ 2401556 h 2964609"/>
              <a:gd name="connsiteX46" fmla="*/ 11836958 w 11867103"/>
              <a:gd name="connsiteY46" fmla="*/ 2431701 h 2964609"/>
              <a:gd name="connsiteX47" fmla="*/ 11857055 w 11867103"/>
              <a:gd name="connsiteY47" fmla="*/ 2562330 h 2964609"/>
              <a:gd name="connsiteX48" fmla="*/ 11867103 w 11867103"/>
              <a:gd name="connsiteY48" fmla="*/ 2602523 h 2964609"/>
              <a:gd name="connsiteX49" fmla="*/ 11857055 w 11867103"/>
              <a:gd name="connsiteY49" fmla="*/ 2833635 h 2964609"/>
              <a:gd name="connsiteX50" fmla="*/ 11836958 w 11867103"/>
              <a:gd name="connsiteY50" fmla="*/ 2863780 h 2964609"/>
              <a:gd name="connsiteX51" fmla="*/ 11033090 w 11867103"/>
              <a:gd name="connsiteY51" fmla="*/ 2853732 h 2964609"/>
              <a:gd name="connsiteX52" fmla="*/ 10621108 w 11867103"/>
              <a:gd name="connsiteY52" fmla="*/ 2843684 h 2964609"/>
              <a:gd name="connsiteX53" fmla="*/ 10128739 w 11867103"/>
              <a:gd name="connsiteY53" fmla="*/ 2853732 h 2964609"/>
              <a:gd name="connsiteX54" fmla="*/ 10048352 w 11867103"/>
              <a:gd name="connsiteY54" fmla="*/ 2863780 h 2964609"/>
              <a:gd name="connsiteX55" fmla="*/ 9555982 w 11867103"/>
              <a:gd name="connsiteY55" fmla="*/ 2853732 h 2964609"/>
              <a:gd name="connsiteX56" fmla="*/ 9445451 w 11867103"/>
              <a:gd name="connsiteY56" fmla="*/ 2843684 h 2964609"/>
              <a:gd name="connsiteX57" fmla="*/ 9415306 w 11867103"/>
              <a:gd name="connsiteY57" fmla="*/ 2823587 h 2964609"/>
              <a:gd name="connsiteX58" fmla="*/ 9204290 w 11867103"/>
              <a:gd name="connsiteY58" fmla="*/ 2803490 h 2964609"/>
              <a:gd name="connsiteX59" fmla="*/ 9073662 w 11867103"/>
              <a:gd name="connsiteY59" fmla="*/ 2783393 h 2964609"/>
              <a:gd name="connsiteX60" fmla="*/ 8812404 w 11867103"/>
              <a:gd name="connsiteY60" fmla="*/ 2773345 h 2964609"/>
              <a:gd name="connsiteX61" fmla="*/ 8400422 w 11867103"/>
              <a:gd name="connsiteY61" fmla="*/ 2763297 h 2964609"/>
              <a:gd name="connsiteX62" fmla="*/ 8269793 w 11867103"/>
              <a:gd name="connsiteY62" fmla="*/ 2753248 h 2964609"/>
              <a:gd name="connsiteX63" fmla="*/ 7797521 w 11867103"/>
              <a:gd name="connsiteY63" fmla="*/ 2773345 h 2964609"/>
              <a:gd name="connsiteX64" fmla="*/ 7717134 w 11867103"/>
              <a:gd name="connsiteY64" fmla="*/ 2783393 h 2964609"/>
              <a:gd name="connsiteX65" fmla="*/ 7486022 w 11867103"/>
              <a:gd name="connsiteY65" fmla="*/ 2813539 h 2964609"/>
              <a:gd name="connsiteX66" fmla="*/ 7395587 w 11867103"/>
              <a:gd name="connsiteY66" fmla="*/ 2833635 h 2964609"/>
              <a:gd name="connsiteX67" fmla="*/ 7325248 w 11867103"/>
              <a:gd name="connsiteY67" fmla="*/ 2843684 h 2964609"/>
              <a:gd name="connsiteX68" fmla="*/ 6863024 w 11867103"/>
              <a:gd name="connsiteY68" fmla="*/ 2833635 h 2964609"/>
              <a:gd name="connsiteX69" fmla="*/ 6722347 w 11867103"/>
              <a:gd name="connsiteY69" fmla="*/ 2823587 h 2964609"/>
              <a:gd name="connsiteX70" fmla="*/ 4903596 w 11867103"/>
              <a:gd name="connsiteY70" fmla="*/ 2873829 h 2964609"/>
              <a:gd name="connsiteX71" fmla="*/ 4722725 w 11867103"/>
              <a:gd name="connsiteY71" fmla="*/ 2914022 h 2964609"/>
              <a:gd name="connsiteX72" fmla="*/ 4300695 w 11867103"/>
              <a:gd name="connsiteY72" fmla="*/ 2893925 h 2964609"/>
              <a:gd name="connsiteX73" fmla="*/ 4059534 w 11867103"/>
              <a:gd name="connsiteY73" fmla="*/ 2853732 h 2964609"/>
              <a:gd name="connsiteX74" fmla="*/ 3768132 w 11867103"/>
              <a:gd name="connsiteY74" fmla="*/ 2823587 h 2964609"/>
              <a:gd name="connsiteX75" fmla="*/ 3627455 w 11867103"/>
              <a:gd name="connsiteY75" fmla="*/ 2813539 h 2964609"/>
              <a:gd name="connsiteX76" fmla="*/ 3125037 w 11867103"/>
              <a:gd name="connsiteY76" fmla="*/ 2823587 h 2964609"/>
              <a:gd name="connsiteX77" fmla="*/ 3064747 w 11867103"/>
              <a:gd name="connsiteY77" fmla="*/ 2833635 h 2964609"/>
              <a:gd name="connsiteX78" fmla="*/ 2009670 w 11867103"/>
              <a:gd name="connsiteY78" fmla="*/ 2843684 h 2964609"/>
              <a:gd name="connsiteX79" fmla="*/ 1678075 w 11867103"/>
              <a:gd name="connsiteY79" fmla="*/ 2934119 h 2964609"/>
              <a:gd name="connsiteX80" fmla="*/ 1607736 w 11867103"/>
              <a:gd name="connsiteY80" fmla="*/ 2964264 h 2964609"/>
              <a:gd name="connsiteX81" fmla="*/ 1135464 w 11867103"/>
              <a:gd name="connsiteY81" fmla="*/ 2944167 h 2964609"/>
              <a:gd name="connsiteX82" fmla="*/ 944545 w 11867103"/>
              <a:gd name="connsiteY82" fmla="*/ 2914022 h 2964609"/>
              <a:gd name="connsiteX83" fmla="*/ 723481 w 11867103"/>
              <a:gd name="connsiteY83" fmla="*/ 2873829 h 2964609"/>
              <a:gd name="connsiteX84" fmla="*/ 643095 w 11867103"/>
              <a:gd name="connsiteY84" fmla="*/ 2863780 h 2964609"/>
              <a:gd name="connsiteX85" fmla="*/ 371789 w 11867103"/>
              <a:gd name="connsiteY85" fmla="*/ 2823587 h 2964609"/>
              <a:gd name="connsiteX86" fmla="*/ 0 w 11867103"/>
              <a:gd name="connsiteY86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854110 w 11867103"/>
              <a:gd name="connsiteY4" fmla="*/ 50242 h 2964609"/>
              <a:gd name="connsiteX5" fmla="*/ 1356528 w 11867103"/>
              <a:gd name="connsiteY5" fmla="*/ 80387 h 2964609"/>
              <a:gd name="connsiteX6" fmla="*/ 1758462 w 11867103"/>
              <a:gd name="connsiteY6" fmla="*/ 40193 h 2964609"/>
              <a:gd name="connsiteX7" fmla="*/ 1889090 w 11867103"/>
              <a:gd name="connsiteY7" fmla="*/ 20097 h 2964609"/>
              <a:gd name="connsiteX8" fmla="*/ 2140299 w 11867103"/>
              <a:gd name="connsiteY8" fmla="*/ 40193 h 2964609"/>
              <a:gd name="connsiteX9" fmla="*/ 2200589 w 11867103"/>
              <a:gd name="connsiteY9" fmla="*/ 50242 h 2964609"/>
              <a:gd name="connsiteX10" fmla="*/ 4652387 w 11867103"/>
              <a:gd name="connsiteY10" fmla="*/ 60290 h 2964609"/>
              <a:gd name="connsiteX11" fmla="*/ 4692580 w 11867103"/>
              <a:gd name="connsiteY11" fmla="*/ 70339 h 2964609"/>
              <a:gd name="connsiteX12" fmla="*/ 4843306 w 11867103"/>
              <a:gd name="connsiteY12" fmla="*/ 90435 h 2964609"/>
              <a:gd name="connsiteX13" fmla="*/ 5677319 w 11867103"/>
              <a:gd name="connsiteY13" fmla="*/ 80387 h 2964609"/>
              <a:gd name="connsiteX14" fmla="*/ 6169688 w 11867103"/>
              <a:gd name="connsiteY14" fmla="*/ 110532 h 2964609"/>
              <a:gd name="connsiteX15" fmla="*/ 6420897 w 11867103"/>
              <a:gd name="connsiteY15" fmla="*/ 90435 h 2964609"/>
              <a:gd name="connsiteX16" fmla="*/ 6511332 w 11867103"/>
              <a:gd name="connsiteY16" fmla="*/ 30145 h 2964609"/>
              <a:gd name="connsiteX17" fmla="*/ 6571622 w 11867103"/>
              <a:gd name="connsiteY17" fmla="*/ 20097 h 2964609"/>
              <a:gd name="connsiteX18" fmla="*/ 6641961 w 11867103"/>
              <a:gd name="connsiteY18" fmla="*/ 0 h 2964609"/>
              <a:gd name="connsiteX19" fmla="*/ 7204668 w 11867103"/>
              <a:gd name="connsiteY19" fmla="*/ 10048 h 2964609"/>
              <a:gd name="connsiteX20" fmla="*/ 7285055 w 11867103"/>
              <a:gd name="connsiteY20" fmla="*/ 30145 h 2964609"/>
              <a:gd name="connsiteX21" fmla="*/ 7375490 w 11867103"/>
              <a:gd name="connsiteY21" fmla="*/ 40193 h 2964609"/>
              <a:gd name="connsiteX22" fmla="*/ 7928150 w 11867103"/>
              <a:gd name="connsiteY22" fmla="*/ 60290 h 2964609"/>
              <a:gd name="connsiteX23" fmla="*/ 8109020 w 11867103"/>
              <a:gd name="connsiteY23" fmla="*/ 80387 h 2964609"/>
              <a:gd name="connsiteX24" fmla="*/ 8219552 w 11867103"/>
              <a:gd name="connsiteY24" fmla="*/ 90435 h 2964609"/>
              <a:gd name="connsiteX25" fmla="*/ 8299939 w 11867103"/>
              <a:gd name="connsiteY25" fmla="*/ 100484 h 2964609"/>
              <a:gd name="connsiteX26" fmla="*/ 8521002 w 11867103"/>
              <a:gd name="connsiteY26" fmla="*/ 110532 h 2964609"/>
              <a:gd name="connsiteX27" fmla="*/ 9515789 w 11867103"/>
              <a:gd name="connsiteY27" fmla="*/ 100484 h 2964609"/>
              <a:gd name="connsiteX28" fmla="*/ 9606224 w 11867103"/>
              <a:gd name="connsiteY28" fmla="*/ 90435 h 2964609"/>
              <a:gd name="connsiteX29" fmla="*/ 9716756 w 11867103"/>
              <a:gd name="connsiteY29" fmla="*/ 80387 h 2964609"/>
              <a:gd name="connsiteX30" fmla="*/ 9797143 w 11867103"/>
              <a:gd name="connsiteY30" fmla="*/ 70339 h 2964609"/>
              <a:gd name="connsiteX31" fmla="*/ 9947868 w 11867103"/>
              <a:gd name="connsiteY31" fmla="*/ 60290 h 2964609"/>
              <a:gd name="connsiteX32" fmla="*/ 10791930 w 11867103"/>
              <a:gd name="connsiteY32" fmla="*/ 30145 h 2964609"/>
              <a:gd name="connsiteX33" fmla="*/ 11736475 w 11867103"/>
              <a:gd name="connsiteY33" fmla="*/ 50242 h 2964609"/>
              <a:gd name="connsiteX34" fmla="*/ 11766620 w 11867103"/>
              <a:gd name="connsiteY34" fmla="*/ 80387 h 2964609"/>
              <a:gd name="connsiteX35" fmla="*/ 11786717 w 11867103"/>
              <a:gd name="connsiteY35" fmla="*/ 120580 h 2964609"/>
              <a:gd name="connsiteX36" fmla="*/ 11806813 w 11867103"/>
              <a:gd name="connsiteY36" fmla="*/ 211015 h 2964609"/>
              <a:gd name="connsiteX37" fmla="*/ 11816862 w 11867103"/>
              <a:gd name="connsiteY37" fmla="*/ 251209 h 2964609"/>
              <a:gd name="connsiteX38" fmla="*/ 11826910 w 11867103"/>
              <a:gd name="connsiteY38" fmla="*/ 341644 h 2964609"/>
              <a:gd name="connsiteX39" fmla="*/ 11836958 w 11867103"/>
              <a:gd name="connsiteY39" fmla="*/ 422031 h 2964609"/>
              <a:gd name="connsiteX40" fmla="*/ 11826910 w 11867103"/>
              <a:gd name="connsiteY40" fmla="*/ 733530 h 2964609"/>
              <a:gd name="connsiteX41" fmla="*/ 11816862 w 11867103"/>
              <a:gd name="connsiteY41" fmla="*/ 793820 h 2964609"/>
              <a:gd name="connsiteX42" fmla="*/ 11806813 w 11867103"/>
              <a:gd name="connsiteY42" fmla="*/ 864158 h 2964609"/>
              <a:gd name="connsiteX43" fmla="*/ 11816862 w 11867103"/>
              <a:gd name="connsiteY43" fmla="*/ 2331218 h 2964609"/>
              <a:gd name="connsiteX44" fmla="*/ 11826910 w 11867103"/>
              <a:gd name="connsiteY44" fmla="*/ 2401556 h 2964609"/>
              <a:gd name="connsiteX45" fmla="*/ 11836958 w 11867103"/>
              <a:gd name="connsiteY45" fmla="*/ 2431701 h 2964609"/>
              <a:gd name="connsiteX46" fmla="*/ 11857055 w 11867103"/>
              <a:gd name="connsiteY46" fmla="*/ 2562330 h 2964609"/>
              <a:gd name="connsiteX47" fmla="*/ 11867103 w 11867103"/>
              <a:gd name="connsiteY47" fmla="*/ 2602523 h 2964609"/>
              <a:gd name="connsiteX48" fmla="*/ 11857055 w 11867103"/>
              <a:gd name="connsiteY48" fmla="*/ 2833635 h 2964609"/>
              <a:gd name="connsiteX49" fmla="*/ 11836958 w 11867103"/>
              <a:gd name="connsiteY49" fmla="*/ 2863780 h 2964609"/>
              <a:gd name="connsiteX50" fmla="*/ 11033090 w 11867103"/>
              <a:gd name="connsiteY50" fmla="*/ 2853732 h 2964609"/>
              <a:gd name="connsiteX51" fmla="*/ 10621108 w 11867103"/>
              <a:gd name="connsiteY51" fmla="*/ 2843684 h 2964609"/>
              <a:gd name="connsiteX52" fmla="*/ 10128739 w 11867103"/>
              <a:gd name="connsiteY52" fmla="*/ 2853732 h 2964609"/>
              <a:gd name="connsiteX53" fmla="*/ 10048352 w 11867103"/>
              <a:gd name="connsiteY53" fmla="*/ 2863780 h 2964609"/>
              <a:gd name="connsiteX54" fmla="*/ 9555982 w 11867103"/>
              <a:gd name="connsiteY54" fmla="*/ 2853732 h 2964609"/>
              <a:gd name="connsiteX55" fmla="*/ 9445451 w 11867103"/>
              <a:gd name="connsiteY55" fmla="*/ 2843684 h 2964609"/>
              <a:gd name="connsiteX56" fmla="*/ 9415306 w 11867103"/>
              <a:gd name="connsiteY56" fmla="*/ 2823587 h 2964609"/>
              <a:gd name="connsiteX57" fmla="*/ 9204290 w 11867103"/>
              <a:gd name="connsiteY57" fmla="*/ 2803490 h 2964609"/>
              <a:gd name="connsiteX58" fmla="*/ 9073662 w 11867103"/>
              <a:gd name="connsiteY58" fmla="*/ 2783393 h 2964609"/>
              <a:gd name="connsiteX59" fmla="*/ 8812404 w 11867103"/>
              <a:gd name="connsiteY59" fmla="*/ 2773345 h 2964609"/>
              <a:gd name="connsiteX60" fmla="*/ 8400422 w 11867103"/>
              <a:gd name="connsiteY60" fmla="*/ 2763297 h 2964609"/>
              <a:gd name="connsiteX61" fmla="*/ 8269793 w 11867103"/>
              <a:gd name="connsiteY61" fmla="*/ 2753248 h 2964609"/>
              <a:gd name="connsiteX62" fmla="*/ 7797521 w 11867103"/>
              <a:gd name="connsiteY62" fmla="*/ 2773345 h 2964609"/>
              <a:gd name="connsiteX63" fmla="*/ 7717134 w 11867103"/>
              <a:gd name="connsiteY63" fmla="*/ 2783393 h 2964609"/>
              <a:gd name="connsiteX64" fmla="*/ 7486022 w 11867103"/>
              <a:gd name="connsiteY64" fmla="*/ 2813539 h 2964609"/>
              <a:gd name="connsiteX65" fmla="*/ 7395587 w 11867103"/>
              <a:gd name="connsiteY65" fmla="*/ 2833635 h 2964609"/>
              <a:gd name="connsiteX66" fmla="*/ 7325248 w 11867103"/>
              <a:gd name="connsiteY66" fmla="*/ 2843684 h 2964609"/>
              <a:gd name="connsiteX67" fmla="*/ 6863024 w 11867103"/>
              <a:gd name="connsiteY67" fmla="*/ 2833635 h 2964609"/>
              <a:gd name="connsiteX68" fmla="*/ 6722347 w 11867103"/>
              <a:gd name="connsiteY68" fmla="*/ 2823587 h 2964609"/>
              <a:gd name="connsiteX69" fmla="*/ 4903596 w 11867103"/>
              <a:gd name="connsiteY69" fmla="*/ 2873829 h 2964609"/>
              <a:gd name="connsiteX70" fmla="*/ 4722725 w 11867103"/>
              <a:gd name="connsiteY70" fmla="*/ 2914022 h 2964609"/>
              <a:gd name="connsiteX71" fmla="*/ 4300695 w 11867103"/>
              <a:gd name="connsiteY71" fmla="*/ 2893925 h 2964609"/>
              <a:gd name="connsiteX72" fmla="*/ 4059534 w 11867103"/>
              <a:gd name="connsiteY72" fmla="*/ 2853732 h 2964609"/>
              <a:gd name="connsiteX73" fmla="*/ 3768132 w 11867103"/>
              <a:gd name="connsiteY73" fmla="*/ 2823587 h 2964609"/>
              <a:gd name="connsiteX74" fmla="*/ 3627455 w 11867103"/>
              <a:gd name="connsiteY74" fmla="*/ 2813539 h 2964609"/>
              <a:gd name="connsiteX75" fmla="*/ 3125037 w 11867103"/>
              <a:gd name="connsiteY75" fmla="*/ 2823587 h 2964609"/>
              <a:gd name="connsiteX76" fmla="*/ 3064747 w 11867103"/>
              <a:gd name="connsiteY76" fmla="*/ 2833635 h 2964609"/>
              <a:gd name="connsiteX77" fmla="*/ 2009670 w 11867103"/>
              <a:gd name="connsiteY77" fmla="*/ 2843684 h 2964609"/>
              <a:gd name="connsiteX78" fmla="*/ 1678075 w 11867103"/>
              <a:gd name="connsiteY78" fmla="*/ 2934119 h 2964609"/>
              <a:gd name="connsiteX79" fmla="*/ 1607736 w 11867103"/>
              <a:gd name="connsiteY79" fmla="*/ 2964264 h 2964609"/>
              <a:gd name="connsiteX80" fmla="*/ 1135464 w 11867103"/>
              <a:gd name="connsiteY80" fmla="*/ 2944167 h 2964609"/>
              <a:gd name="connsiteX81" fmla="*/ 944545 w 11867103"/>
              <a:gd name="connsiteY81" fmla="*/ 2914022 h 2964609"/>
              <a:gd name="connsiteX82" fmla="*/ 723481 w 11867103"/>
              <a:gd name="connsiteY82" fmla="*/ 2873829 h 2964609"/>
              <a:gd name="connsiteX83" fmla="*/ 643095 w 11867103"/>
              <a:gd name="connsiteY83" fmla="*/ 2863780 h 2964609"/>
              <a:gd name="connsiteX84" fmla="*/ 371789 w 11867103"/>
              <a:gd name="connsiteY84" fmla="*/ 2823587 h 2964609"/>
              <a:gd name="connsiteX85" fmla="*/ 0 w 11867103"/>
              <a:gd name="connsiteY85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1356528 w 11867103"/>
              <a:gd name="connsiteY4" fmla="*/ 80387 h 2964609"/>
              <a:gd name="connsiteX5" fmla="*/ 1758462 w 11867103"/>
              <a:gd name="connsiteY5" fmla="*/ 40193 h 2964609"/>
              <a:gd name="connsiteX6" fmla="*/ 1889090 w 11867103"/>
              <a:gd name="connsiteY6" fmla="*/ 20097 h 2964609"/>
              <a:gd name="connsiteX7" fmla="*/ 2140299 w 11867103"/>
              <a:gd name="connsiteY7" fmla="*/ 40193 h 2964609"/>
              <a:gd name="connsiteX8" fmla="*/ 2200589 w 11867103"/>
              <a:gd name="connsiteY8" fmla="*/ 50242 h 2964609"/>
              <a:gd name="connsiteX9" fmla="*/ 4652387 w 11867103"/>
              <a:gd name="connsiteY9" fmla="*/ 60290 h 2964609"/>
              <a:gd name="connsiteX10" fmla="*/ 4692580 w 11867103"/>
              <a:gd name="connsiteY10" fmla="*/ 70339 h 2964609"/>
              <a:gd name="connsiteX11" fmla="*/ 4843306 w 11867103"/>
              <a:gd name="connsiteY11" fmla="*/ 90435 h 2964609"/>
              <a:gd name="connsiteX12" fmla="*/ 5677319 w 11867103"/>
              <a:gd name="connsiteY12" fmla="*/ 80387 h 2964609"/>
              <a:gd name="connsiteX13" fmla="*/ 6169688 w 11867103"/>
              <a:gd name="connsiteY13" fmla="*/ 110532 h 2964609"/>
              <a:gd name="connsiteX14" fmla="*/ 6420897 w 11867103"/>
              <a:gd name="connsiteY14" fmla="*/ 90435 h 2964609"/>
              <a:gd name="connsiteX15" fmla="*/ 6511332 w 11867103"/>
              <a:gd name="connsiteY15" fmla="*/ 30145 h 2964609"/>
              <a:gd name="connsiteX16" fmla="*/ 6571622 w 11867103"/>
              <a:gd name="connsiteY16" fmla="*/ 20097 h 2964609"/>
              <a:gd name="connsiteX17" fmla="*/ 6641961 w 11867103"/>
              <a:gd name="connsiteY17" fmla="*/ 0 h 2964609"/>
              <a:gd name="connsiteX18" fmla="*/ 7204668 w 11867103"/>
              <a:gd name="connsiteY18" fmla="*/ 10048 h 2964609"/>
              <a:gd name="connsiteX19" fmla="*/ 7285055 w 11867103"/>
              <a:gd name="connsiteY19" fmla="*/ 30145 h 2964609"/>
              <a:gd name="connsiteX20" fmla="*/ 7375490 w 11867103"/>
              <a:gd name="connsiteY20" fmla="*/ 40193 h 2964609"/>
              <a:gd name="connsiteX21" fmla="*/ 7928150 w 11867103"/>
              <a:gd name="connsiteY21" fmla="*/ 60290 h 2964609"/>
              <a:gd name="connsiteX22" fmla="*/ 8109020 w 11867103"/>
              <a:gd name="connsiteY22" fmla="*/ 80387 h 2964609"/>
              <a:gd name="connsiteX23" fmla="*/ 8219552 w 11867103"/>
              <a:gd name="connsiteY23" fmla="*/ 90435 h 2964609"/>
              <a:gd name="connsiteX24" fmla="*/ 8299939 w 11867103"/>
              <a:gd name="connsiteY24" fmla="*/ 100484 h 2964609"/>
              <a:gd name="connsiteX25" fmla="*/ 8521002 w 11867103"/>
              <a:gd name="connsiteY25" fmla="*/ 110532 h 2964609"/>
              <a:gd name="connsiteX26" fmla="*/ 9515789 w 11867103"/>
              <a:gd name="connsiteY26" fmla="*/ 100484 h 2964609"/>
              <a:gd name="connsiteX27" fmla="*/ 9606224 w 11867103"/>
              <a:gd name="connsiteY27" fmla="*/ 90435 h 2964609"/>
              <a:gd name="connsiteX28" fmla="*/ 9716756 w 11867103"/>
              <a:gd name="connsiteY28" fmla="*/ 80387 h 2964609"/>
              <a:gd name="connsiteX29" fmla="*/ 9797143 w 11867103"/>
              <a:gd name="connsiteY29" fmla="*/ 70339 h 2964609"/>
              <a:gd name="connsiteX30" fmla="*/ 9947868 w 11867103"/>
              <a:gd name="connsiteY30" fmla="*/ 60290 h 2964609"/>
              <a:gd name="connsiteX31" fmla="*/ 10791930 w 11867103"/>
              <a:gd name="connsiteY31" fmla="*/ 30145 h 2964609"/>
              <a:gd name="connsiteX32" fmla="*/ 11736475 w 11867103"/>
              <a:gd name="connsiteY32" fmla="*/ 50242 h 2964609"/>
              <a:gd name="connsiteX33" fmla="*/ 11766620 w 11867103"/>
              <a:gd name="connsiteY33" fmla="*/ 80387 h 2964609"/>
              <a:gd name="connsiteX34" fmla="*/ 11786717 w 11867103"/>
              <a:gd name="connsiteY34" fmla="*/ 120580 h 2964609"/>
              <a:gd name="connsiteX35" fmla="*/ 11806813 w 11867103"/>
              <a:gd name="connsiteY35" fmla="*/ 211015 h 2964609"/>
              <a:gd name="connsiteX36" fmla="*/ 11816862 w 11867103"/>
              <a:gd name="connsiteY36" fmla="*/ 251209 h 2964609"/>
              <a:gd name="connsiteX37" fmla="*/ 11826910 w 11867103"/>
              <a:gd name="connsiteY37" fmla="*/ 341644 h 2964609"/>
              <a:gd name="connsiteX38" fmla="*/ 11836958 w 11867103"/>
              <a:gd name="connsiteY38" fmla="*/ 422031 h 2964609"/>
              <a:gd name="connsiteX39" fmla="*/ 11826910 w 11867103"/>
              <a:gd name="connsiteY39" fmla="*/ 733530 h 2964609"/>
              <a:gd name="connsiteX40" fmla="*/ 11816862 w 11867103"/>
              <a:gd name="connsiteY40" fmla="*/ 793820 h 2964609"/>
              <a:gd name="connsiteX41" fmla="*/ 11806813 w 11867103"/>
              <a:gd name="connsiteY41" fmla="*/ 864158 h 2964609"/>
              <a:gd name="connsiteX42" fmla="*/ 11816862 w 11867103"/>
              <a:gd name="connsiteY42" fmla="*/ 2331218 h 2964609"/>
              <a:gd name="connsiteX43" fmla="*/ 11826910 w 11867103"/>
              <a:gd name="connsiteY43" fmla="*/ 2401556 h 2964609"/>
              <a:gd name="connsiteX44" fmla="*/ 11836958 w 11867103"/>
              <a:gd name="connsiteY44" fmla="*/ 2431701 h 2964609"/>
              <a:gd name="connsiteX45" fmla="*/ 11857055 w 11867103"/>
              <a:gd name="connsiteY45" fmla="*/ 2562330 h 2964609"/>
              <a:gd name="connsiteX46" fmla="*/ 11867103 w 11867103"/>
              <a:gd name="connsiteY46" fmla="*/ 2602523 h 2964609"/>
              <a:gd name="connsiteX47" fmla="*/ 11857055 w 11867103"/>
              <a:gd name="connsiteY47" fmla="*/ 2833635 h 2964609"/>
              <a:gd name="connsiteX48" fmla="*/ 11836958 w 11867103"/>
              <a:gd name="connsiteY48" fmla="*/ 2863780 h 2964609"/>
              <a:gd name="connsiteX49" fmla="*/ 11033090 w 11867103"/>
              <a:gd name="connsiteY49" fmla="*/ 2853732 h 2964609"/>
              <a:gd name="connsiteX50" fmla="*/ 10621108 w 11867103"/>
              <a:gd name="connsiteY50" fmla="*/ 2843684 h 2964609"/>
              <a:gd name="connsiteX51" fmla="*/ 10128739 w 11867103"/>
              <a:gd name="connsiteY51" fmla="*/ 2853732 h 2964609"/>
              <a:gd name="connsiteX52" fmla="*/ 10048352 w 11867103"/>
              <a:gd name="connsiteY52" fmla="*/ 2863780 h 2964609"/>
              <a:gd name="connsiteX53" fmla="*/ 9555982 w 11867103"/>
              <a:gd name="connsiteY53" fmla="*/ 2853732 h 2964609"/>
              <a:gd name="connsiteX54" fmla="*/ 9445451 w 11867103"/>
              <a:gd name="connsiteY54" fmla="*/ 2843684 h 2964609"/>
              <a:gd name="connsiteX55" fmla="*/ 9415306 w 11867103"/>
              <a:gd name="connsiteY55" fmla="*/ 2823587 h 2964609"/>
              <a:gd name="connsiteX56" fmla="*/ 9204290 w 11867103"/>
              <a:gd name="connsiteY56" fmla="*/ 2803490 h 2964609"/>
              <a:gd name="connsiteX57" fmla="*/ 9073662 w 11867103"/>
              <a:gd name="connsiteY57" fmla="*/ 2783393 h 2964609"/>
              <a:gd name="connsiteX58" fmla="*/ 8812404 w 11867103"/>
              <a:gd name="connsiteY58" fmla="*/ 2773345 h 2964609"/>
              <a:gd name="connsiteX59" fmla="*/ 8400422 w 11867103"/>
              <a:gd name="connsiteY59" fmla="*/ 2763297 h 2964609"/>
              <a:gd name="connsiteX60" fmla="*/ 8269793 w 11867103"/>
              <a:gd name="connsiteY60" fmla="*/ 2753248 h 2964609"/>
              <a:gd name="connsiteX61" fmla="*/ 7797521 w 11867103"/>
              <a:gd name="connsiteY61" fmla="*/ 2773345 h 2964609"/>
              <a:gd name="connsiteX62" fmla="*/ 7717134 w 11867103"/>
              <a:gd name="connsiteY62" fmla="*/ 2783393 h 2964609"/>
              <a:gd name="connsiteX63" fmla="*/ 7486022 w 11867103"/>
              <a:gd name="connsiteY63" fmla="*/ 2813539 h 2964609"/>
              <a:gd name="connsiteX64" fmla="*/ 7395587 w 11867103"/>
              <a:gd name="connsiteY64" fmla="*/ 2833635 h 2964609"/>
              <a:gd name="connsiteX65" fmla="*/ 7325248 w 11867103"/>
              <a:gd name="connsiteY65" fmla="*/ 2843684 h 2964609"/>
              <a:gd name="connsiteX66" fmla="*/ 6863024 w 11867103"/>
              <a:gd name="connsiteY66" fmla="*/ 2833635 h 2964609"/>
              <a:gd name="connsiteX67" fmla="*/ 6722347 w 11867103"/>
              <a:gd name="connsiteY67" fmla="*/ 2823587 h 2964609"/>
              <a:gd name="connsiteX68" fmla="*/ 4903596 w 11867103"/>
              <a:gd name="connsiteY68" fmla="*/ 2873829 h 2964609"/>
              <a:gd name="connsiteX69" fmla="*/ 4722725 w 11867103"/>
              <a:gd name="connsiteY69" fmla="*/ 2914022 h 2964609"/>
              <a:gd name="connsiteX70" fmla="*/ 4300695 w 11867103"/>
              <a:gd name="connsiteY70" fmla="*/ 2893925 h 2964609"/>
              <a:gd name="connsiteX71" fmla="*/ 4059534 w 11867103"/>
              <a:gd name="connsiteY71" fmla="*/ 2853732 h 2964609"/>
              <a:gd name="connsiteX72" fmla="*/ 3768132 w 11867103"/>
              <a:gd name="connsiteY72" fmla="*/ 2823587 h 2964609"/>
              <a:gd name="connsiteX73" fmla="*/ 3627455 w 11867103"/>
              <a:gd name="connsiteY73" fmla="*/ 2813539 h 2964609"/>
              <a:gd name="connsiteX74" fmla="*/ 3125037 w 11867103"/>
              <a:gd name="connsiteY74" fmla="*/ 2823587 h 2964609"/>
              <a:gd name="connsiteX75" fmla="*/ 3064747 w 11867103"/>
              <a:gd name="connsiteY75" fmla="*/ 2833635 h 2964609"/>
              <a:gd name="connsiteX76" fmla="*/ 2009670 w 11867103"/>
              <a:gd name="connsiteY76" fmla="*/ 2843684 h 2964609"/>
              <a:gd name="connsiteX77" fmla="*/ 1678075 w 11867103"/>
              <a:gd name="connsiteY77" fmla="*/ 2934119 h 2964609"/>
              <a:gd name="connsiteX78" fmla="*/ 1607736 w 11867103"/>
              <a:gd name="connsiteY78" fmla="*/ 2964264 h 2964609"/>
              <a:gd name="connsiteX79" fmla="*/ 1135464 w 11867103"/>
              <a:gd name="connsiteY79" fmla="*/ 2944167 h 2964609"/>
              <a:gd name="connsiteX80" fmla="*/ 944545 w 11867103"/>
              <a:gd name="connsiteY80" fmla="*/ 2914022 h 2964609"/>
              <a:gd name="connsiteX81" fmla="*/ 723481 w 11867103"/>
              <a:gd name="connsiteY81" fmla="*/ 2873829 h 2964609"/>
              <a:gd name="connsiteX82" fmla="*/ 643095 w 11867103"/>
              <a:gd name="connsiteY82" fmla="*/ 2863780 h 2964609"/>
              <a:gd name="connsiteX83" fmla="*/ 371789 w 11867103"/>
              <a:gd name="connsiteY83" fmla="*/ 2823587 h 2964609"/>
              <a:gd name="connsiteX84" fmla="*/ 0 w 11867103"/>
              <a:gd name="connsiteY84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1889090 w 11867103"/>
              <a:gd name="connsiteY5" fmla="*/ 20097 h 2964609"/>
              <a:gd name="connsiteX6" fmla="*/ 2140299 w 11867103"/>
              <a:gd name="connsiteY6" fmla="*/ 40193 h 2964609"/>
              <a:gd name="connsiteX7" fmla="*/ 2200589 w 11867103"/>
              <a:gd name="connsiteY7" fmla="*/ 50242 h 2964609"/>
              <a:gd name="connsiteX8" fmla="*/ 4652387 w 11867103"/>
              <a:gd name="connsiteY8" fmla="*/ 60290 h 2964609"/>
              <a:gd name="connsiteX9" fmla="*/ 4692580 w 11867103"/>
              <a:gd name="connsiteY9" fmla="*/ 70339 h 2964609"/>
              <a:gd name="connsiteX10" fmla="*/ 4843306 w 11867103"/>
              <a:gd name="connsiteY10" fmla="*/ 90435 h 2964609"/>
              <a:gd name="connsiteX11" fmla="*/ 5677319 w 11867103"/>
              <a:gd name="connsiteY11" fmla="*/ 80387 h 2964609"/>
              <a:gd name="connsiteX12" fmla="*/ 6169688 w 11867103"/>
              <a:gd name="connsiteY12" fmla="*/ 110532 h 2964609"/>
              <a:gd name="connsiteX13" fmla="*/ 6420897 w 11867103"/>
              <a:gd name="connsiteY13" fmla="*/ 90435 h 2964609"/>
              <a:gd name="connsiteX14" fmla="*/ 6511332 w 11867103"/>
              <a:gd name="connsiteY14" fmla="*/ 30145 h 2964609"/>
              <a:gd name="connsiteX15" fmla="*/ 6571622 w 11867103"/>
              <a:gd name="connsiteY15" fmla="*/ 20097 h 2964609"/>
              <a:gd name="connsiteX16" fmla="*/ 6641961 w 11867103"/>
              <a:gd name="connsiteY16" fmla="*/ 0 h 2964609"/>
              <a:gd name="connsiteX17" fmla="*/ 7204668 w 11867103"/>
              <a:gd name="connsiteY17" fmla="*/ 10048 h 2964609"/>
              <a:gd name="connsiteX18" fmla="*/ 7285055 w 11867103"/>
              <a:gd name="connsiteY18" fmla="*/ 30145 h 2964609"/>
              <a:gd name="connsiteX19" fmla="*/ 7375490 w 11867103"/>
              <a:gd name="connsiteY19" fmla="*/ 40193 h 2964609"/>
              <a:gd name="connsiteX20" fmla="*/ 7928150 w 11867103"/>
              <a:gd name="connsiteY20" fmla="*/ 60290 h 2964609"/>
              <a:gd name="connsiteX21" fmla="*/ 8109020 w 11867103"/>
              <a:gd name="connsiteY21" fmla="*/ 80387 h 2964609"/>
              <a:gd name="connsiteX22" fmla="*/ 8219552 w 11867103"/>
              <a:gd name="connsiteY22" fmla="*/ 90435 h 2964609"/>
              <a:gd name="connsiteX23" fmla="*/ 8299939 w 11867103"/>
              <a:gd name="connsiteY23" fmla="*/ 100484 h 2964609"/>
              <a:gd name="connsiteX24" fmla="*/ 8521002 w 11867103"/>
              <a:gd name="connsiteY24" fmla="*/ 110532 h 2964609"/>
              <a:gd name="connsiteX25" fmla="*/ 9515789 w 11867103"/>
              <a:gd name="connsiteY25" fmla="*/ 100484 h 2964609"/>
              <a:gd name="connsiteX26" fmla="*/ 9606224 w 11867103"/>
              <a:gd name="connsiteY26" fmla="*/ 90435 h 2964609"/>
              <a:gd name="connsiteX27" fmla="*/ 9716756 w 11867103"/>
              <a:gd name="connsiteY27" fmla="*/ 80387 h 2964609"/>
              <a:gd name="connsiteX28" fmla="*/ 9797143 w 11867103"/>
              <a:gd name="connsiteY28" fmla="*/ 70339 h 2964609"/>
              <a:gd name="connsiteX29" fmla="*/ 9947868 w 11867103"/>
              <a:gd name="connsiteY29" fmla="*/ 60290 h 2964609"/>
              <a:gd name="connsiteX30" fmla="*/ 10791930 w 11867103"/>
              <a:gd name="connsiteY30" fmla="*/ 30145 h 2964609"/>
              <a:gd name="connsiteX31" fmla="*/ 11736475 w 11867103"/>
              <a:gd name="connsiteY31" fmla="*/ 50242 h 2964609"/>
              <a:gd name="connsiteX32" fmla="*/ 11766620 w 11867103"/>
              <a:gd name="connsiteY32" fmla="*/ 80387 h 2964609"/>
              <a:gd name="connsiteX33" fmla="*/ 11786717 w 11867103"/>
              <a:gd name="connsiteY33" fmla="*/ 120580 h 2964609"/>
              <a:gd name="connsiteX34" fmla="*/ 11806813 w 11867103"/>
              <a:gd name="connsiteY34" fmla="*/ 211015 h 2964609"/>
              <a:gd name="connsiteX35" fmla="*/ 11816862 w 11867103"/>
              <a:gd name="connsiteY35" fmla="*/ 251209 h 2964609"/>
              <a:gd name="connsiteX36" fmla="*/ 11826910 w 11867103"/>
              <a:gd name="connsiteY36" fmla="*/ 341644 h 2964609"/>
              <a:gd name="connsiteX37" fmla="*/ 11836958 w 11867103"/>
              <a:gd name="connsiteY37" fmla="*/ 422031 h 2964609"/>
              <a:gd name="connsiteX38" fmla="*/ 11826910 w 11867103"/>
              <a:gd name="connsiteY38" fmla="*/ 733530 h 2964609"/>
              <a:gd name="connsiteX39" fmla="*/ 11816862 w 11867103"/>
              <a:gd name="connsiteY39" fmla="*/ 793820 h 2964609"/>
              <a:gd name="connsiteX40" fmla="*/ 11806813 w 11867103"/>
              <a:gd name="connsiteY40" fmla="*/ 864158 h 2964609"/>
              <a:gd name="connsiteX41" fmla="*/ 11816862 w 11867103"/>
              <a:gd name="connsiteY41" fmla="*/ 2331218 h 2964609"/>
              <a:gd name="connsiteX42" fmla="*/ 11826910 w 11867103"/>
              <a:gd name="connsiteY42" fmla="*/ 2401556 h 2964609"/>
              <a:gd name="connsiteX43" fmla="*/ 11836958 w 11867103"/>
              <a:gd name="connsiteY43" fmla="*/ 2431701 h 2964609"/>
              <a:gd name="connsiteX44" fmla="*/ 11857055 w 11867103"/>
              <a:gd name="connsiteY44" fmla="*/ 2562330 h 2964609"/>
              <a:gd name="connsiteX45" fmla="*/ 11867103 w 11867103"/>
              <a:gd name="connsiteY45" fmla="*/ 2602523 h 2964609"/>
              <a:gd name="connsiteX46" fmla="*/ 11857055 w 11867103"/>
              <a:gd name="connsiteY46" fmla="*/ 2833635 h 2964609"/>
              <a:gd name="connsiteX47" fmla="*/ 11836958 w 11867103"/>
              <a:gd name="connsiteY47" fmla="*/ 2863780 h 2964609"/>
              <a:gd name="connsiteX48" fmla="*/ 11033090 w 11867103"/>
              <a:gd name="connsiteY48" fmla="*/ 2853732 h 2964609"/>
              <a:gd name="connsiteX49" fmla="*/ 10621108 w 11867103"/>
              <a:gd name="connsiteY49" fmla="*/ 2843684 h 2964609"/>
              <a:gd name="connsiteX50" fmla="*/ 10128739 w 11867103"/>
              <a:gd name="connsiteY50" fmla="*/ 2853732 h 2964609"/>
              <a:gd name="connsiteX51" fmla="*/ 10048352 w 11867103"/>
              <a:gd name="connsiteY51" fmla="*/ 2863780 h 2964609"/>
              <a:gd name="connsiteX52" fmla="*/ 9555982 w 11867103"/>
              <a:gd name="connsiteY52" fmla="*/ 2853732 h 2964609"/>
              <a:gd name="connsiteX53" fmla="*/ 9445451 w 11867103"/>
              <a:gd name="connsiteY53" fmla="*/ 2843684 h 2964609"/>
              <a:gd name="connsiteX54" fmla="*/ 9415306 w 11867103"/>
              <a:gd name="connsiteY54" fmla="*/ 2823587 h 2964609"/>
              <a:gd name="connsiteX55" fmla="*/ 9204290 w 11867103"/>
              <a:gd name="connsiteY55" fmla="*/ 2803490 h 2964609"/>
              <a:gd name="connsiteX56" fmla="*/ 9073662 w 11867103"/>
              <a:gd name="connsiteY56" fmla="*/ 2783393 h 2964609"/>
              <a:gd name="connsiteX57" fmla="*/ 8812404 w 11867103"/>
              <a:gd name="connsiteY57" fmla="*/ 2773345 h 2964609"/>
              <a:gd name="connsiteX58" fmla="*/ 8400422 w 11867103"/>
              <a:gd name="connsiteY58" fmla="*/ 2763297 h 2964609"/>
              <a:gd name="connsiteX59" fmla="*/ 8269793 w 11867103"/>
              <a:gd name="connsiteY59" fmla="*/ 2753248 h 2964609"/>
              <a:gd name="connsiteX60" fmla="*/ 7797521 w 11867103"/>
              <a:gd name="connsiteY60" fmla="*/ 2773345 h 2964609"/>
              <a:gd name="connsiteX61" fmla="*/ 7717134 w 11867103"/>
              <a:gd name="connsiteY61" fmla="*/ 2783393 h 2964609"/>
              <a:gd name="connsiteX62" fmla="*/ 7486022 w 11867103"/>
              <a:gd name="connsiteY62" fmla="*/ 2813539 h 2964609"/>
              <a:gd name="connsiteX63" fmla="*/ 7395587 w 11867103"/>
              <a:gd name="connsiteY63" fmla="*/ 2833635 h 2964609"/>
              <a:gd name="connsiteX64" fmla="*/ 7325248 w 11867103"/>
              <a:gd name="connsiteY64" fmla="*/ 2843684 h 2964609"/>
              <a:gd name="connsiteX65" fmla="*/ 6863024 w 11867103"/>
              <a:gd name="connsiteY65" fmla="*/ 2833635 h 2964609"/>
              <a:gd name="connsiteX66" fmla="*/ 6722347 w 11867103"/>
              <a:gd name="connsiteY66" fmla="*/ 2823587 h 2964609"/>
              <a:gd name="connsiteX67" fmla="*/ 4903596 w 11867103"/>
              <a:gd name="connsiteY67" fmla="*/ 2873829 h 2964609"/>
              <a:gd name="connsiteX68" fmla="*/ 4722725 w 11867103"/>
              <a:gd name="connsiteY68" fmla="*/ 2914022 h 2964609"/>
              <a:gd name="connsiteX69" fmla="*/ 4300695 w 11867103"/>
              <a:gd name="connsiteY69" fmla="*/ 2893925 h 2964609"/>
              <a:gd name="connsiteX70" fmla="*/ 4059534 w 11867103"/>
              <a:gd name="connsiteY70" fmla="*/ 2853732 h 2964609"/>
              <a:gd name="connsiteX71" fmla="*/ 3768132 w 11867103"/>
              <a:gd name="connsiteY71" fmla="*/ 2823587 h 2964609"/>
              <a:gd name="connsiteX72" fmla="*/ 3627455 w 11867103"/>
              <a:gd name="connsiteY72" fmla="*/ 2813539 h 2964609"/>
              <a:gd name="connsiteX73" fmla="*/ 3125037 w 11867103"/>
              <a:gd name="connsiteY73" fmla="*/ 2823587 h 2964609"/>
              <a:gd name="connsiteX74" fmla="*/ 3064747 w 11867103"/>
              <a:gd name="connsiteY74" fmla="*/ 2833635 h 2964609"/>
              <a:gd name="connsiteX75" fmla="*/ 2009670 w 11867103"/>
              <a:gd name="connsiteY75" fmla="*/ 2843684 h 2964609"/>
              <a:gd name="connsiteX76" fmla="*/ 1678075 w 11867103"/>
              <a:gd name="connsiteY76" fmla="*/ 2934119 h 2964609"/>
              <a:gd name="connsiteX77" fmla="*/ 1607736 w 11867103"/>
              <a:gd name="connsiteY77" fmla="*/ 2964264 h 2964609"/>
              <a:gd name="connsiteX78" fmla="*/ 1135464 w 11867103"/>
              <a:gd name="connsiteY78" fmla="*/ 2944167 h 2964609"/>
              <a:gd name="connsiteX79" fmla="*/ 944545 w 11867103"/>
              <a:gd name="connsiteY79" fmla="*/ 2914022 h 2964609"/>
              <a:gd name="connsiteX80" fmla="*/ 723481 w 11867103"/>
              <a:gd name="connsiteY80" fmla="*/ 2873829 h 2964609"/>
              <a:gd name="connsiteX81" fmla="*/ 643095 w 11867103"/>
              <a:gd name="connsiteY81" fmla="*/ 2863780 h 2964609"/>
              <a:gd name="connsiteX82" fmla="*/ 371789 w 11867103"/>
              <a:gd name="connsiteY82" fmla="*/ 2823587 h 2964609"/>
              <a:gd name="connsiteX83" fmla="*/ 0 w 11867103"/>
              <a:gd name="connsiteY83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2140299 w 11867103"/>
              <a:gd name="connsiteY5" fmla="*/ 40193 h 2964609"/>
              <a:gd name="connsiteX6" fmla="*/ 2200589 w 11867103"/>
              <a:gd name="connsiteY6" fmla="*/ 50242 h 2964609"/>
              <a:gd name="connsiteX7" fmla="*/ 4652387 w 11867103"/>
              <a:gd name="connsiteY7" fmla="*/ 60290 h 2964609"/>
              <a:gd name="connsiteX8" fmla="*/ 4692580 w 11867103"/>
              <a:gd name="connsiteY8" fmla="*/ 70339 h 2964609"/>
              <a:gd name="connsiteX9" fmla="*/ 4843306 w 11867103"/>
              <a:gd name="connsiteY9" fmla="*/ 90435 h 2964609"/>
              <a:gd name="connsiteX10" fmla="*/ 5677319 w 11867103"/>
              <a:gd name="connsiteY10" fmla="*/ 80387 h 2964609"/>
              <a:gd name="connsiteX11" fmla="*/ 6169688 w 11867103"/>
              <a:gd name="connsiteY11" fmla="*/ 110532 h 2964609"/>
              <a:gd name="connsiteX12" fmla="*/ 6420897 w 11867103"/>
              <a:gd name="connsiteY12" fmla="*/ 90435 h 2964609"/>
              <a:gd name="connsiteX13" fmla="*/ 6511332 w 11867103"/>
              <a:gd name="connsiteY13" fmla="*/ 30145 h 2964609"/>
              <a:gd name="connsiteX14" fmla="*/ 6571622 w 11867103"/>
              <a:gd name="connsiteY14" fmla="*/ 20097 h 2964609"/>
              <a:gd name="connsiteX15" fmla="*/ 6641961 w 11867103"/>
              <a:gd name="connsiteY15" fmla="*/ 0 h 2964609"/>
              <a:gd name="connsiteX16" fmla="*/ 7204668 w 11867103"/>
              <a:gd name="connsiteY16" fmla="*/ 10048 h 2964609"/>
              <a:gd name="connsiteX17" fmla="*/ 7285055 w 11867103"/>
              <a:gd name="connsiteY17" fmla="*/ 30145 h 2964609"/>
              <a:gd name="connsiteX18" fmla="*/ 7375490 w 11867103"/>
              <a:gd name="connsiteY18" fmla="*/ 40193 h 2964609"/>
              <a:gd name="connsiteX19" fmla="*/ 7928150 w 11867103"/>
              <a:gd name="connsiteY19" fmla="*/ 60290 h 2964609"/>
              <a:gd name="connsiteX20" fmla="*/ 8109020 w 11867103"/>
              <a:gd name="connsiteY20" fmla="*/ 80387 h 2964609"/>
              <a:gd name="connsiteX21" fmla="*/ 8219552 w 11867103"/>
              <a:gd name="connsiteY21" fmla="*/ 90435 h 2964609"/>
              <a:gd name="connsiteX22" fmla="*/ 8299939 w 11867103"/>
              <a:gd name="connsiteY22" fmla="*/ 100484 h 2964609"/>
              <a:gd name="connsiteX23" fmla="*/ 8521002 w 11867103"/>
              <a:gd name="connsiteY23" fmla="*/ 110532 h 2964609"/>
              <a:gd name="connsiteX24" fmla="*/ 9515789 w 11867103"/>
              <a:gd name="connsiteY24" fmla="*/ 100484 h 2964609"/>
              <a:gd name="connsiteX25" fmla="*/ 9606224 w 11867103"/>
              <a:gd name="connsiteY25" fmla="*/ 90435 h 2964609"/>
              <a:gd name="connsiteX26" fmla="*/ 9716756 w 11867103"/>
              <a:gd name="connsiteY26" fmla="*/ 80387 h 2964609"/>
              <a:gd name="connsiteX27" fmla="*/ 9797143 w 11867103"/>
              <a:gd name="connsiteY27" fmla="*/ 70339 h 2964609"/>
              <a:gd name="connsiteX28" fmla="*/ 9947868 w 11867103"/>
              <a:gd name="connsiteY28" fmla="*/ 60290 h 2964609"/>
              <a:gd name="connsiteX29" fmla="*/ 10791930 w 11867103"/>
              <a:gd name="connsiteY29" fmla="*/ 30145 h 2964609"/>
              <a:gd name="connsiteX30" fmla="*/ 11736475 w 11867103"/>
              <a:gd name="connsiteY30" fmla="*/ 50242 h 2964609"/>
              <a:gd name="connsiteX31" fmla="*/ 11766620 w 11867103"/>
              <a:gd name="connsiteY31" fmla="*/ 80387 h 2964609"/>
              <a:gd name="connsiteX32" fmla="*/ 11786717 w 11867103"/>
              <a:gd name="connsiteY32" fmla="*/ 120580 h 2964609"/>
              <a:gd name="connsiteX33" fmla="*/ 11806813 w 11867103"/>
              <a:gd name="connsiteY33" fmla="*/ 211015 h 2964609"/>
              <a:gd name="connsiteX34" fmla="*/ 11816862 w 11867103"/>
              <a:gd name="connsiteY34" fmla="*/ 251209 h 2964609"/>
              <a:gd name="connsiteX35" fmla="*/ 11826910 w 11867103"/>
              <a:gd name="connsiteY35" fmla="*/ 341644 h 2964609"/>
              <a:gd name="connsiteX36" fmla="*/ 11836958 w 11867103"/>
              <a:gd name="connsiteY36" fmla="*/ 422031 h 2964609"/>
              <a:gd name="connsiteX37" fmla="*/ 11826910 w 11867103"/>
              <a:gd name="connsiteY37" fmla="*/ 733530 h 2964609"/>
              <a:gd name="connsiteX38" fmla="*/ 11816862 w 11867103"/>
              <a:gd name="connsiteY38" fmla="*/ 793820 h 2964609"/>
              <a:gd name="connsiteX39" fmla="*/ 11806813 w 11867103"/>
              <a:gd name="connsiteY39" fmla="*/ 864158 h 2964609"/>
              <a:gd name="connsiteX40" fmla="*/ 11816862 w 11867103"/>
              <a:gd name="connsiteY40" fmla="*/ 2331218 h 2964609"/>
              <a:gd name="connsiteX41" fmla="*/ 11826910 w 11867103"/>
              <a:gd name="connsiteY41" fmla="*/ 2401556 h 2964609"/>
              <a:gd name="connsiteX42" fmla="*/ 11836958 w 11867103"/>
              <a:gd name="connsiteY42" fmla="*/ 2431701 h 2964609"/>
              <a:gd name="connsiteX43" fmla="*/ 11857055 w 11867103"/>
              <a:gd name="connsiteY43" fmla="*/ 2562330 h 2964609"/>
              <a:gd name="connsiteX44" fmla="*/ 11867103 w 11867103"/>
              <a:gd name="connsiteY44" fmla="*/ 2602523 h 2964609"/>
              <a:gd name="connsiteX45" fmla="*/ 11857055 w 11867103"/>
              <a:gd name="connsiteY45" fmla="*/ 2833635 h 2964609"/>
              <a:gd name="connsiteX46" fmla="*/ 11836958 w 11867103"/>
              <a:gd name="connsiteY46" fmla="*/ 2863780 h 2964609"/>
              <a:gd name="connsiteX47" fmla="*/ 11033090 w 11867103"/>
              <a:gd name="connsiteY47" fmla="*/ 2853732 h 2964609"/>
              <a:gd name="connsiteX48" fmla="*/ 10621108 w 11867103"/>
              <a:gd name="connsiteY48" fmla="*/ 2843684 h 2964609"/>
              <a:gd name="connsiteX49" fmla="*/ 10128739 w 11867103"/>
              <a:gd name="connsiteY49" fmla="*/ 2853732 h 2964609"/>
              <a:gd name="connsiteX50" fmla="*/ 10048352 w 11867103"/>
              <a:gd name="connsiteY50" fmla="*/ 2863780 h 2964609"/>
              <a:gd name="connsiteX51" fmla="*/ 9555982 w 11867103"/>
              <a:gd name="connsiteY51" fmla="*/ 2853732 h 2964609"/>
              <a:gd name="connsiteX52" fmla="*/ 9445451 w 11867103"/>
              <a:gd name="connsiteY52" fmla="*/ 2843684 h 2964609"/>
              <a:gd name="connsiteX53" fmla="*/ 9415306 w 11867103"/>
              <a:gd name="connsiteY53" fmla="*/ 2823587 h 2964609"/>
              <a:gd name="connsiteX54" fmla="*/ 9204290 w 11867103"/>
              <a:gd name="connsiteY54" fmla="*/ 2803490 h 2964609"/>
              <a:gd name="connsiteX55" fmla="*/ 9073662 w 11867103"/>
              <a:gd name="connsiteY55" fmla="*/ 2783393 h 2964609"/>
              <a:gd name="connsiteX56" fmla="*/ 8812404 w 11867103"/>
              <a:gd name="connsiteY56" fmla="*/ 2773345 h 2964609"/>
              <a:gd name="connsiteX57" fmla="*/ 8400422 w 11867103"/>
              <a:gd name="connsiteY57" fmla="*/ 2763297 h 2964609"/>
              <a:gd name="connsiteX58" fmla="*/ 8269793 w 11867103"/>
              <a:gd name="connsiteY58" fmla="*/ 2753248 h 2964609"/>
              <a:gd name="connsiteX59" fmla="*/ 7797521 w 11867103"/>
              <a:gd name="connsiteY59" fmla="*/ 2773345 h 2964609"/>
              <a:gd name="connsiteX60" fmla="*/ 7717134 w 11867103"/>
              <a:gd name="connsiteY60" fmla="*/ 2783393 h 2964609"/>
              <a:gd name="connsiteX61" fmla="*/ 7486022 w 11867103"/>
              <a:gd name="connsiteY61" fmla="*/ 2813539 h 2964609"/>
              <a:gd name="connsiteX62" fmla="*/ 7395587 w 11867103"/>
              <a:gd name="connsiteY62" fmla="*/ 2833635 h 2964609"/>
              <a:gd name="connsiteX63" fmla="*/ 7325248 w 11867103"/>
              <a:gd name="connsiteY63" fmla="*/ 2843684 h 2964609"/>
              <a:gd name="connsiteX64" fmla="*/ 6863024 w 11867103"/>
              <a:gd name="connsiteY64" fmla="*/ 2833635 h 2964609"/>
              <a:gd name="connsiteX65" fmla="*/ 6722347 w 11867103"/>
              <a:gd name="connsiteY65" fmla="*/ 2823587 h 2964609"/>
              <a:gd name="connsiteX66" fmla="*/ 4903596 w 11867103"/>
              <a:gd name="connsiteY66" fmla="*/ 2873829 h 2964609"/>
              <a:gd name="connsiteX67" fmla="*/ 4722725 w 11867103"/>
              <a:gd name="connsiteY67" fmla="*/ 2914022 h 2964609"/>
              <a:gd name="connsiteX68" fmla="*/ 4300695 w 11867103"/>
              <a:gd name="connsiteY68" fmla="*/ 2893925 h 2964609"/>
              <a:gd name="connsiteX69" fmla="*/ 4059534 w 11867103"/>
              <a:gd name="connsiteY69" fmla="*/ 2853732 h 2964609"/>
              <a:gd name="connsiteX70" fmla="*/ 3768132 w 11867103"/>
              <a:gd name="connsiteY70" fmla="*/ 2823587 h 2964609"/>
              <a:gd name="connsiteX71" fmla="*/ 3627455 w 11867103"/>
              <a:gd name="connsiteY71" fmla="*/ 2813539 h 2964609"/>
              <a:gd name="connsiteX72" fmla="*/ 3125037 w 11867103"/>
              <a:gd name="connsiteY72" fmla="*/ 2823587 h 2964609"/>
              <a:gd name="connsiteX73" fmla="*/ 3064747 w 11867103"/>
              <a:gd name="connsiteY73" fmla="*/ 2833635 h 2964609"/>
              <a:gd name="connsiteX74" fmla="*/ 2009670 w 11867103"/>
              <a:gd name="connsiteY74" fmla="*/ 2843684 h 2964609"/>
              <a:gd name="connsiteX75" fmla="*/ 1678075 w 11867103"/>
              <a:gd name="connsiteY75" fmla="*/ 2934119 h 2964609"/>
              <a:gd name="connsiteX76" fmla="*/ 1607736 w 11867103"/>
              <a:gd name="connsiteY76" fmla="*/ 2964264 h 2964609"/>
              <a:gd name="connsiteX77" fmla="*/ 1135464 w 11867103"/>
              <a:gd name="connsiteY77" fmla="*/ 2944167 h 2964609"/>
              <a:gd name="connsiteX78" fmla="*/ 944545 w 11867103"/>
              <a:gd name="connsiteY78" fmla="*/ 2914022 h 2964609"/>
              <a:gd name="connsiteX79" fmla="*/ 723481 w 11867103"/>
              <a:gd name="connsiteY79" fmla="*/ 2873829 h 2964609"/>
              <a:gd name="connsiteX80" fmla="*/ 643095 w 11867103"/>
              <a:gd name="connsiteY80" fmla="*/ 2863780 h 2964609"/>
              <a:gd name="connsiteX81" fmla="*/ 371789 w 11867103"/>
              <a:gd name="connsiteY81" fmla="*/ 2823587 h 2964609"/>
              <a:gd name="connsiteX82" fmla="*/ 0 w 11867103"/>
              <a:gd name="connsiteY82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2140299 w 11867103"/>
              <a:gd name="connsiteY5" fmla="*/ 40193 h 2964609"/>
              <a:gd name="connsiteX6" fmla="*/ 4652387 w 11867103"/>
              <a:gd name="connsiteY6" fmla="*/ 60290 h 2964609"/>
              <a:gd name="connsiteX7" fmla="*/ 4692580 w 11867103"/>
              <a:gd name="connsiteY7" fmla="*/ 70339 h 2964609"/>
              <a:gd name="connsiteX8" fmla="*/ 4843306 w 11867103"/>
              <a:gd name="connsiteY8" fmla="*/ 90435 h 2964609"/>
              <a:gd name="connsiteX9" fmla="*/ 5677319 w 11867103"/>
              <a:gd name="connsiteY9" fmla="*/ 80387 h 2964609"/>
              <a:gd name="connsiteX10" fmla="*/ 6169688 w 11867103"/>
              <a:gd name="connsiteY10" fmla="*/ 110532 h 2964609"/>
              <a:gd name="connsiteX11" fmla="*/ 6420897 w 11867103"/>
              <a:gd name="connsiteY11" fmla="*/ 90435 h 2964609"/>
              <a:gd name="connsiteX12" fmla="*/ 6511332 w 11867103"/>
              <a:gd name="connsiteY12" fmla="*/ 30145 h 2964609"/>
              <a:gd name="connsiteX13" fmla="*/ 6571622 w 11867103"/>
              <a:gd name="connsiteY13" fmla="*/ 20097 h 2964609"/>
              <a:gd name="connsiteX14" fmla="*/ 6641961 w 11867103"/>
              <a:gd name="connsiteY14" fmla="*/ 0 h 2964609"/>
              <a:gd name="connsiteX15" fmla="*/ 7204668 w 11867103"/>
              <a:gd name="connsiteY15" fmla="*/ 10048 h 2964609"/>
              <a:gd name="connsiteX16" fmla="*/ 7285055 w 11867103"/>
              <a:gd name="connsiteY16" fmla="*/ 30145 h 2964609"/>
              <a:gd name="connsiteX17" fmla="*/ 7375490 w 11867103"/>
              <a:gd name="connsiteY17" fmla="*/ 40193 h 2964609"/>
              <a:gd name="connsiteX18" fmla="*/ 7928150 w 11867103"/>
              <a:gd name="connsiteY18" fmla="*/ 60290 h 2964609"/>
              <a:gd name="connsiteX19" fmla="*/ 8109020 w 11867103"/>
              <a:gd name="connsiteY19" fmla="*/ 80387 h 2964609"/>
              <a:gd name="connsiteX20" fmla="*/ 8219552 w 11867103"/>
              <a:gd name="connsiteY20" fmla="*/ 90435 h 2964609"/>
              <a:gd name="connsiteX21" fmla="*/ 8299939 w 11867103"/>
              <a:gd name="connsiteY21" fmla="*/ 100484 h 2964609"/>
              <a:gd name="connsiteX22" fmla="*/ 8521002 w 11867103"/>
              <a:gd name="connsiteY22" fmla="*/ 110532 h 2964609"/>
              <a:gd name="connsiteX23" fmla="*/ 9515789 w 11867103"/>
              <a:gd name="connsiteY23" fmla="*/ 100484 h 2964609"/>
              <a:gd name="connsiteX24" fmla="*/ 9606224 w 11867103"/>
              <a:gd name="connsiteY24" fmla="*/ 90435 h 2964609"/>
              <a:gd name="connsiteX25" fmla="*/ 9716756 w 11867103"/>
              <a:gd name="connsiteY25" fmla="*/ 80387 h 2964609"/>
              <a:gd name="connsiteX26" fmla="*/ 9797143 w 11867103"/>
              <a:gd name="connsiteY26" fmla="*/ 70339 h 2964609"/>
              <a:gd name="connsiteX27" fmla="*/ 9947868 w 11867103"/>
              <a:gd name="connsiteY27" fmla="*/ 60290 h 2964609"/>
              <a:gd name="connsiteX28" fmla="*/ 10791930 w 11867103"/>
              <a:gd name="connsiteY28" fmla="*/ 30145 h 2964609"/>
              <a:gd name="connsiteX29" fmla="*/ 11736475 w 11867103"/>
              <a:gd name="connsiteY29" fmla="*/ 50242 h 2964609"/>
              <a:gd name="connsiteX30" fmla="*/ 11766620 w 11867103"/>
              <a:gd name="connsiteY30" fmla="*/ 80387 h 2964609"/>
              <a:gd name="connsiteX31" fmla="*/ 11786717 w 11867103"/>
              <a:gd name="connsiteY31" fmla="*/ 120580 h 2964609"/>
              <a:gd name="connsiteX32" fmla="*/ 11806813 w 11867103"/>
              <a:gd name="connsiteY32" fmla="*/ 211015 h 2964609"/>
              <a:gd name="connsiteX33" fmla="*/ 11816862 w 11867103"/>
              <a:gd name="connsiteY33" fmla="*/ 251209 h 2964609"/>
              <a:gd name="connsiteX34" fmla="*/ 11826910 w 11867103"/>
              <a:gd name="connsiteY34" fmla="*/ 341644 h 2964609"/>
              <a:gd name="connsiteX35" fmla="*/ 11836958 w 11867103"/>
              <a:gd name="connsiteY35" fmla="*/ 422031 h 2964609"/>
              <a:gd name="connsiteX36" fmla="*/ 11826910 w 11867103"/>
              <a:gd name="connsiteY36" fmla="*/ 733530 h 2964609"/>
              <a:gd name="connsiteX37" fmla="*/ 11816862 w 11867103"/>
              <a:gd name="connsiteY37" fmla="*/ 793820 h 2964609"/>
              <a:gd name="connsiteX38" fmla="*/ 11806813 w 11867103"/>
              <a:gd name="connsiteY38" fmla="*/ 864158 h 2964609"/>
              <a:gd name="connsiteX39" fmla="*/ 11816862 w 11867103"/>
              <a:gd name="connsiteY39" fmla="*/ 2331218 h 2964609"/>
              <a:gd name="connsiteX40" fmla="*/ 11826910 w 11867103"/>
              <a:gd name="connsiteY40" fmla="*/ 2401556 h 2964609"/>
              <a:gd name="connsiteX41" fmla="*/ 11836958 w 11867103"/>
              <a:gd name="connsiteY41" fmla="*/ 2431701 h 2964609"/>
              <a:gd name="connsiteX42" fmla="*/ 11857055 w 11867103"/>
              <a:gd name="connsiteY42" fmla="*/ 2562330 h 2964609"/>
              <a:gd name="connsiteX43" fmla="*/ 11867103 w 11867103"/>
              <a:gd name="connsiteY43" fmla="*/ 2602523 h 2964609"/>
              <a:gd name="connsiteX44" fmla="*/ 11857055 w 11867103"/>
              <a:gd name="connsiteY44" fmla="*/ 2833635 h 2964609"/>
              <a:gd name="connsiteX45" fmla="*/ 11836958 w 11867103"/>
              <a:gd name="connsiteY45" fmla="*/ 2863780 h 2964609"/>
              <a:gd name="connsiteX46" fmla="*/ 11033090 w 11867103"/>
              <a:gd name="connsiteY46" fmla="*/ 2853732 h 2964609"/>
              <a:gd name="connsiteX47" fmla="*/ 10621108 w 11867103"/>
              <a:gd name="connsiteY47" fmla="*/ 2843684 h 2964609"/>
              <a:gd name="connsiteX48" fmla="*/ 10128739 w 11867103"/>
              <a:gd name="connsiteY48" fmla="*/ 2853732 h 2964609"/>
              <a:gd name="connsiteX49" fmla="*/ 10048352 w 11867103"/>
              <a:gd name="connsiteY49" fmla="*/ 2863780 h 2964609"/>
              <a:gd name="connsiteX50" fmla="*/ 9555982 w 11867103"/>
              <a:gd name="connsiteY50" fmla="*/ 2853732 h 2964609"/>
              <a:gd name="connsiteX51" fmla="*/ 9445451 w 11867103"/>
              <a:gd name="connsiteY51" fmla="*/ 2843684 h 2964609"/>
              <a:gd name="connsiteX52" fmla="*/ 9415306 w 11867103"/>
              <a:gd name="connsiteY52" fmla="*/ 2823587 h 2964609"/>
              <a:gd name="connsiteX53" fmla="*/ 9204290 w 11867103"/>
              <a:gd name="connsiteY53" fmla="*/ 2803490 h 2964609"/>
              <a:gd name="connsiteX54" fmla="*/ 9073662 w 11867103"/>
              <a:gd name="connsiteY54" fmla="*/ 2783393 h 2964609"/>
              <a:gd name="connsiteX55" fmla="*/ 8812404 w 11867103"/>
              <a:gd name="connsiteY55" fmla="*/ 2773345 h 2964609"/>
              <a:gd name="connsiteX56" fmla="*/ 8400422 w 11867103"/>
              <a:gd name="connsiteY56" fmla="*/ 2763297 h 2964609"/>
              <a:gd name="connsiteX57" fmla="*/ 8269793 w 11867103"/>
              <a:gd name="connsiteY57" fmla="*/ 2753248 h 2964609"/>
              <a:gd name="connsiteX58" fmla="*/ 7797521 w 11867103"/>
              <a:gd name="connsiteY58" fmla="*/ 2773345 h 2964609"/>
              <a:gd name="connsiteX59" fmla="*/ 7717134 w 11867103"/>
              <a:gd name="connsiteY59" fmla="*/ 2783393 h 2964609"/>
              <a:gd name="connsiteX60" fmla="*/ 7486022 w 11867103"/>
              <a:gd name="connsiteY60" fmla="*/ 2813539 h 2964609"/>
              <a:gd name="connsiteX61" fmla="*/ 7395587 w 11867103"/>
              <a:gd name="connsiteY61" fmla="*/ 2833635 h 2964609"/>
              <a:gd name="connsiteX62" fmla="*/ 7325248 w 11867103"/>
              <a:gd name="connsiteY62" fmla="*/ 2843684 h 2964609"/>
              <a:gd name="connsiteX63" fmla="*/ 6863024 w 11867103"/>
              <a:gd name="connsiteY63" fmla="*/ 2833635 h 2964609"/>
              <a:gd name="connsiteX64" fmla="*/ 6722347 w 11867103"/>
              <a:gd name="connsiteY64" fmla="*/ 2823587 h 2964609"/>
              <a:gd name="connsiteX65" fmla="*/ 4903596 w 11867103"/>
              <a:gd name="connsiteY65" fmla="*/ 2873829 h 2964609"/>
              <a:gd name="connsiteX66" fmla="*/ 4722725 w 11867103"/>
              <a:gd name="connsiteY66" fmla="*/ 2914022 h 2964609"/>
              <a:gd name="connsiteX67" fmla="*/ 4300695 w 11867103"/>
              <a:gd name="connsiteY67" fmla="*/ 2893925 h 2964609"/>
              <a:gd name="connsiteX68" fmla="*/ 4059534 w 11867103"/>
              <a:gd name="connsiteY68" fmla="*/ 2853732 h 2964609"/>
              <a:gd name="connsiteX69" fmla="*/ 3768132 w 11867103"/>
              <a:gd name="connsiteY69" fmla="*/ 2823587 h 2964609"/>
              <a:gd name="connsiteX70" fmla="*/ 3627455 w 11867103"/>
              <a:gd name="connsiteY70" fmla="*/ 2813539 h 2964609"/>
              <a:gd name="connsiteX71" fmla="*/ 3125037 w 11867103"/>
              <a:gd name="connsiteY71" fmla="*/ 2823587 h 2964609"/>
              <a:gd name="connsiteX72" fmla="*/ 3064747 w 11867103"/>
              <a:gd name="connsiteY72" fmla="*/ 2833635 h 2964609"/>
              <a:gd name="connsiteX73" fmla="*/ 2009670 w 11867103"/>
              <a:gd name="connsiteY73" fmla="*/ 2843684 h 2964609"/>
              <a:gd name="connsiteX74" fmla="*/ 1678075 w 11867103"/>
              <a:gd name="connsiteY74" fmla="*/ 2934119 h 2964609"/>
              <a:gd name="connsiteX75" fmla="*/ 1607736 w 11867103"/>
              <a:gd name="connsiteY75" fmla="*/ 2964264 h 2964609"/>
              <a:gd name="connsiteX76" fmla="*/ 1135464 w 11867103"/>
              <a:gd name="connsiteY76" fmla="*/ 2944167 h 2964609"/>
              <a:gd name="connsiteX77" fmla="*/ 944545 w 11867103"/>
              <a:gd name="connsiteY77" fmla="*/ 2914022 h 2964609"/>
              <a:gd name="connsiteX78" fmla="*/ 723481 w 11867103"/>
              <a:gd name="connsiteY78" fmla="*/ 2873829 h 2964609"/>
              <a:gd name="connsiteX79" fmla="*/ 643095 w 11867103"/>
              <a:gd name="connsiteY79" fmla="*/ 2863780 h 2964609"/>
              <a:gd name="connsiteX80" fmla="*/ 371789 w 11867103"/>
              <a:gd name="connsiteY80" fmla="*/ 2823587 h 2964609"/>
              <a:gd name="connsiteX81" fmla="*/ 0 w 11867103"/>
              <a:gd name="connsiteY81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2140299 w 11867103"/>
              <a:gd name="connsiteY5" fmla="*/ 40193 h 2964609"/>
              <a:gd name="connsiteX6" fmla="*/ 4652387 w 11867103"/>
              <a:gd name="connsiteY6" fmla="*/ 60290 h 2964609"/>
              <a:gd name="connsiteX7" fmla="*/ 4692580 w 11867103"/>
              <a:gd name="connsiteY7" fmla="*/ 70339 h 2964609"/>
              <a:gd name="connsiteX8" fmla="*/ 5677319 w 11867103"/>
              <a:gd name="connsiteY8" fmla="*/ 80387 h 2964609"/>
              <a:gd name="connsiteX9" fmla="*/ 6169688 w 11867103"/>
              <a:gd name="connsiteY9" fmla="*/ 110532 h 2964609"/>
              <a:gd name="connsiteX10" fmla="*/ 6420897 w 11867103"/>
              <a:gd name="connsiteY10" fmla="*/ 90435 h 2964609"/>
              <a:gd name="connsiteX11" fmla="*/ 6511332 w 11867103"/>
              <a:gd name="connsiteY11" fmla="*/ 30145 h 2964609"/>
              <a:gd name="connsiteX12" fmla="*/ 6571622 w 11867103"/>
              <a:gd name="connsiteY12" fmla="*/ 20097 h 2964609"/>
              <a:gd name="connsiteX13" fmla="*/ 6641961 w 11867103"/>
              <a:gd name="connsiteY13" fmla="*/ 0 h 2964609"/>
              <a:gd name="connsiteX14" fmla="*/ 7204668 w 11867103"/>
              <a:gd name="connsiteY14" fmla="*/ 10048 h 2964609"/>
              <a:gd name="connsiteX15" fmla="*/ 7285055 w 11867103"/>
              <a:gd name="connsiteY15" fmla="*/ 30145 h 2964609"/>
              <a:gd name="connsiteX16" fmla="*/ 7375490 w 11867103"/>
              <a:gd name="connsiteY16" fmla="*/ 40193 h 2964609"/>
              <a:gd name="connsiteX17" fmla="*/ 7928150 w 11867103"/>
              <a:gd name="connsiteY17" fmla="*/ 60290 h 2964609"/>
              <a:gd name="connsiteX18" fmla="*/ 8109020 w 11867103"/>
              <a:gd name="connsiteY18" fmla="*/ 80387 h 2964609"/>
              <a:gd name="connsiteX19" fmla="*/ 8219552 w 11867103"/>
              <a:gd name="connsiteY19" fmla="*/ 90435 h 2964609"/>
              <a:gd name="connsiteX20" fmla="*/ 8299939 w 11867103"/>
              <a:gd name="connsiteY20" fmla="*/ 100484 h 2964609"/>
              <a:gd name="connsiteX21" fmla="*/ 8521002 w 11867103"/>
              <a:gd name="connsiteY21" fmla="*/ 110532 h 2964609"/>
              <a:gd name="connsiteX22" fmla="*/ 9515789 w 11867103"/>
              <a:gd name="connsiteY22" fmla="*/ 100484 h 2964609"/>
              <a:gd name="connsiteX23" fmla="*/ 9606224 w 11867103"/>
              <a:gd name="connsiteY23" fmla="*/ 90435 h 2964609"/>
              <a:gd name="connsiteX24" fmla="*/ 9716756 w 11867103"/>
              <a:gd name="connsiteY24" fmla="*/ 80387 h 2964609"/>
              <a:gd name="connsiteX25" fmla="*/ 9797143 w 11867103"/>
              <a:gd name="connsiteY25" fmla="*/ 70339 h 2964609"/>
              <a:gd name="connsiteX26" fmla="*/ 9947868 w 11867103"/>
              <a:gd name="connsiteY26" fmla="*/ 60290 h 2964609"/>
              <a:gd name="connsiteX27" fmla="*/ 10791930 w 11867103"/>
              <a:gd name="connsiteY27" fmla="*/ 30145 h 2964609"/>
              <a:gd name="connsiteX28" fmla="*/ 11736475 w 11867103"/>
              <a:gd name="connsiteY28" fmla="*/ 50242 h 2964609"/>
              <a:gd name="connsiteX29" fmla="*/ 11766620 w 11867103"/>
              <a:gd name="connsiteY29" fmla="*/ 80387 h 2964609"/>
              <a:gd name="connsiteX30" fmla="*/ 11786717 w 11867103"/>
              <a:gd name="connsiteY30" fmla="*/ 120580 h 2964609"/>
              <a:gd name="connsiteX31" fmla="*/ 11806813 w 11867103"/>
              <a:gd name="connsiteY31" fmla="*/ 211015 h 2964609"/>
              <a:gd name="connsiteX32" fmla="*/ 11816862 w 11867103"/>
              <a:gd name="connsiteY32" fmla="*/ 251209 h 2964609"/>
              <a:gd name="connsiteX33" fmla="*/ 11826910 w 11867103"/>
              <a:gd name="connsiteY33" fmla="*/ 341644 h 2964609"/>
              <a:gd name="connsiteX34" fmla="*/ 11836958 w 11867103"/>
              <a:gd name="connsiteY34" fmla="*/ 422031 h 2964609"/>
              <a:gd name="connsiteX35" fmla="*/ 11826910 w 11867103"/>
              <a:gd name="connsiteY35" fmla="*/ 733530 h 2964609"/>
              <a:gd name="connsiteX36" fmla="*/ 11816862 w 11867103"/>
              <a:gd name="connsiteY36" fmla="*/ 793820 h 2964609"/>
              <a:gd name="connsiteX37" fmla="*/ 11806813 w 11867103"/>
              <a:gd name="connsiteY37" fmla="*/ 864158 h 2964609"/>
              <a:gd name="connsiteX38" fmla="*/ 11816862 w 11867103"/>
              <a:gd name="connsiteY38" fmla="*/ 2331218 h 2964609"/>
              <a:gd name="connsiteX39" fmla="*/ 11826910 w 11867103"/>
              <a:gd name="connsiteY39" fmla="*/ 2401556 h 2964609"/>
              <a:gd name="connsiteX40" fmla="*/ 11836958 w 11867103"/>
              <a:gd name="connsiteY40" fmla="*/ 2431701 h 2964609"/>
              <a:gd name="connsiteX41" fmla="*/ 11857055 w 11867103"/>
              <a:gd name="connsiteY41" fmla="*/ 2562330 h 2964609"/>
              <a:gd name="connsiteX42" fmla="*/ 11867103 w 11867103"/>
              <a:gd name="connsiteY42" fmla="*/ 2602523 h 2964609"/>
              <a:gd name="connsiteX43" fmla="*/ 11857055 w 11867103"/>
              <a:gd name="connsiteY43" fmla="*/ 2833635 h 2964609"/>
              <a:gd name="connsiteX44" fmla="*/ 11836958 w 11867103"/>
              <a:gd name="connsiteY44" fmla="*/ 2863780 h 2964609"/>
              <a:gd name="connsiteX45" fmla="*/ 11033090 w 11867103"/>
              <a:gd name="connsiteY45" fmla="*/ 2853732 h 2964609"/>
              <a:gd name="connsiteX46" fmla="*/ 10621108 w 11867103"/>
              <a:gd name="connsiteY46" fmla="*/ 2843684 h 2964609"/>
              <a:gd name="connsiteX47" fmla="*/ 10128739 w 11867103"/>
              <a:gd name="connsiteY47" fmla="*/ 2853732 h 2964609"/>
              <a:gd name="connsiteX48" fmla="*/ 10048352 w 11867103"/>
              <a:gd name="connsiteY48" fmla="*/ 2863780 h 2964609"/>
              <a:gd name="connsiteX49" fmla="*/ 9555982 w 11867103"/>
              <a:gd name="connsiteY49" fmla="*/ 2853732 h 2964609"/>
              <a:gd name="connsiteX50" fmla="*/ 9445451 w 11867103"/>
              <a:gd name="connsiteY50" fmla="*/ 2843684 h 2964609"/>
              <a:gd name="connsiteX51" fmla="*/ 9415306 w 11867103"/>
              <a:gd name="connsiteY51" fmla="*/ 2823587 h 2964609"/>
              <a:gd name="connsiteX52" fmla="*/ 9204290 w 11867103"/>
              <a:gd name="connsiteY52" fmla="*/ 2803490 h 2964609"/>
              <a:gd name="connsiteX53" fmla="*/ 9073662 w 11867103"/>
              <a:gd name="connsiteY53" fmla="*/ 2783393 h 2964609"/>
              <a:gd name="connsiteX54" fmla="*/ 8812404 w 11867103"/>
              <a:gd name="connsiteY54" fmla="*/ 2773345 h 2964609"/>
              <a:gd name="connsiteX55" fmla="*/ 8400422 w 11867103"/>
              <a:gd name="connsiteY55" fmla="*/ 2763297 h 2964609"/>
              <a:gd name="connsiteX56" fmla="*/ 8269793 w 11867103"/>
              <a:gd name="connsiteY56" fmla="*/ 2753248 h 2964609"/>
              <a:gd name="connsiteX57" fmla="*/ 7797521 w 11867103"/>
              <a:gd name="connsiteY57" fmla="*/ 2773345 h 2964609"/>
              <a:gd name="connsiteX58" fmla="*/ 7717134 w 11867103"/>
              <a:gd name="connsiteY58" fmla="*/ 2783393 h 2964609"/>
              <a:gd name="connsiteX59" fmla="*/ 7486022 w 11867103"/>
              <a:gd name="connsiteY59" fmla="*/ 2813539 h 2964609"/>
              <a:gd name="connsiteX60" fmla="*/ 7395587 w 11867103"/>
              <a:gd name="connsiteY60" fmla="*/ 2833635 h 2964609"/>
              <a:gd name="connsiteX61" fmla="*/ 7325248 w 11867103"/>
              <a:gd name="connsiteY61" fmla="*/ 2843684 h 2964609"/>
              <a:gd name="connsiteX62" fmla="*/ 6863024 w 11867103"/>
              <a:gd name="connsiteY62" fmla="*/ 2833635 h 2964609"/>
              <a:gd name="connsiteX63" fmla="*/ 6722347 w 11867103"/>
              <a:gd name="connsiteY63" fmla="*/ 2823587 h 2964609"/>
              <a:gd name="connsiteX64" fmla="*/ 4903596 w 11867103"/>
              <a:gd name="connsiteY64" fmla="*/ 2873829 h 2964609"/>
              <a:gd name="connsiteX65" fmla="*/ 4722725 w 11867103"/>
              <a:gd name="connsiteY65" fmla="*/ 2914022 h 2964609"/>
              <a:gd name="connsiteX66" fmla="*/ 4300695 w 11867103"/>
              <a:gd name="connsiteY66" fmla="*/ 2893925 h 2964609"/>
              <a:gd name="connsiteX67" fmla="*/ 4059534 w 11867103"/>
              <a:gd name="connsiteY67" fmla="*/ 2853732 h 2964609"/>
              <a:gd name="connsiteX68" fmla="*/ 3768132 w 11867103"/>
              <a:gd name="connsiteY68" fmla="*/ 2823587 h 2964609"/>
              <a:gd name="connsiteX69" fmla="*/ 3627455 w 11867103"/>
              <a:gd name="connsiteY69" fmla="*/ 2813539 h 2964609"/>
              <a:gd name="connsiteX70" fmla="*/ 3125037 w 11867103"/>
              <a:gd name="connsiteY70" fmla="*/ 2823587 h 2964609"/>
              <a:gd name="connsiteX71" fmla="*/ 3064747 w 11867103"/>
              <a:gd name="connsiteY71" fmla="*/ 2833635 h 2964609"/>
              <a:gd name="connsiteX72" fmla="*/ 2009670 w 11867103"/>
              <a:gd name="connsiteY72" fmla="*/ 2843684 h 2964609"/>
              <a:gd name="connsiteX73" fmla="*/ 1678075 w 11867103"/>
              <a:gd name="connsiteY73" fmla="*/ 2934119 h 2964609"/>
              <a:gd name="connsiteX74" fmla="*/ 1607736 w 11867103"/>
              <a:gd name="connsiteY74" fmla="*/ 2964264 h 2964609"/>
              <a:gd name="connsiteX75" fmla="*/ 1135464 w 11867103"/>
              <a:gd name="connsiteY75" fmla="*/ 2944167 h 2964609"/>
              <a:gd name="connsiteX76" fmla="*/ 944545 w 11867103"/>
              <a:gd name="connsiteY76" fmla="*/ 2914022 h 2964609"/>
              <a:gd name="connsiteX77" fmla="*/ 723481 w 11867103"/>
              <a:gd name="connsiteY77" fmla="*/ 2873829 h 2964609"/>
              <a:gd name="connsiteX78" fmla="*/ 643095 w 11867103"/>
              <a:gd name="connsiteY78" fmla="*/ 2863780 h 2964609"/>
              <a:gd name="connsiteX79" fmla="*/ 371789 w 11867103"/>
              <a:gd name="connsiteY79" fmla="*/ 2823587 h 2964609"/>
              <a:gd name="connsiteX80" fmla="*/ 0 w 11867103"/>
              <a:gd name="connsiteY80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2140299 w 11867103"/>
              <a:gd name="connsiteY5" fmla="*/ 40193 h 2964609"/>
              <a:gd name="connsiteX6" fmla="*/ 4652387 w 11867103"/>
              <a:gd name="connsiteY6" fmla="*/ 60290 h 2964609"/>
              <a:gd name="connsiteX7" fmla="*/ 4692580 w 11867103"/>
              <a:gd name="connsiteY7" fmla="*/ 70339 h 2964609"/>
              <a:gd name="connsiteX8" fmla="*/ 6169688 w 11867103"/>
              <a:gd name="connsiteY8" fmla="*/ 110532 h 2964609"/>
              <a:gd name="connsiteX9" fmla="*/ 6420897 w 11867103"/>
              <a:gd name="connsiteY9" fmla="*/ 90435 h 2964609"/>
              <a:gd name="connsiteX10" fmla="*/ 6511332 w 11867103"/>
              <a:gd name="connsiteY10" fmla="*/ 30145 h 2964609"/>
              <a:gd name="connsiteX11" fmla="*/ 6571622 w 11867103"/>
              <a:gd name="connsiteY11" fmla="*/ 20097 h 2964609"/>
              <a:gd name="connsiteX12" fmla="*/ 6641961 w 11867103"/>
              <a:gd name="connsiteY12" fmla="*/ 0 h 2964609"/>
              <a:gd name="connsiteX13" fmla="*/ 7204668 w 11867103"/>
              <a:gd name="connsiteY13" fmla="*/ 10048 h 2964609"/>
              <a:gd name="connsiteX14" fmla="*/ 7285055 w 11867103"/>
              <a:gd name="connsiteY14" fmla="*/ 30145 h 2964609"/>
              <a:gd name="connsiteX15" fmla="*/ 7375490 w 11867103"/>
              <a:gd name="connsiteY15" fmla="*/ 40193 h 2964609"/>
              <a:gd name="connsiteX16" fmla="*/ 7928150 w 11867103"/>
              <a:gd name="connsiteY16" fmla="*/ 60290 h 2964609"/>
              <a:gd name="connsiteX17" fmla="*/ 8109020 w 11867103"/>
              <a:gd name="connsiteY17" fmla="*/ 80387 h 2964609"/>
              <a:gd name="connsiteX18" fmla="*/ 8219552 w 11867103"/>
              <a:gd name="connsiteY18" fmla="*/ 90435 h 2964609"/>
              <a:gd name="connsiteX19" fmla="*/ 8299939 w 11867103"/>
              <a:gd name="connsiteY19" fmla="*/ 100484 h 2964609"/>
              <a:gd name="connsiteX20" fmla="*/ 8521002 w 11867103"/>
              <a:gd name="connsiteY20" fmla="*/ 110532 h 2964609"/>
              <a:gd name="connsiteX21" fmla="*/ 9515789 w 11867103"/>
              <a:gd name="connsiteY21" fmla="*/ 100484 h 2964609"/>
              <a:gd name="connsiteX22" fmla="*/ 9606224 w 11867103"/>
              <a:gd name="connsiteY22" fmla="*/ 90435 h 2964609"/>
              <a:gd name="connsiteX23" fmla="*/ 9716756 w 11867103"/>
              <a:gd name="connsiteY23" fmla="*/ 80387 h 2964609"/>
              <a:gd name="connsiteX24" fmla="*/ 9797143 w 11867103"/>
              <a:gd name="connsiteY24" fmla="*/ 70339 h 2964609"/>
              <a:gd name="connsiteX25" fmla="*/ 9947868 w 11867103"/>
              <a:gd name="connsiteY25" fmla="*/ 60290 h 2964609"/>
              <a:gd name="connsiteX26" fmla="*/ 10791930 w 11867103"/>
              <a:gd name="connsiteY26" fmla="*/ 30145 h 2964609"/>
              <a:gd name="connsiteX27" fmla="*/ 11736475 w 11867103"/>
              <a:gd name="connsiteY27" fmla="*/ 50242 h 2964609"/>
              <a:gd name="connsiteX28" fmla="*/ 11766620 w 11867103"/>
              <a:gd name="connsiteY28" fmla="*/ 80387 h 2964609"/>
              <a:gd name="connsiteX29" fmla="*/ 11786717 w 11867103"/>
              <a:gd name="connsiteY29" fmla="*/ 120580 h 2964609"/>
              <a:gd name="connsiteX30" fmla="*/ 11806813 w 11867103"/>
              <a:gd name="connsiteY30" fmla="*/ 211015 h 2964609"/>
              <a:gd name="connsiteX31" fmla="*/ 11816862 w 11867103"/>
              <a:gd name="connsiteY31" fmla="*/ 251209 h 2964609"/>
              <a:gd name="connsiteX32" fmla="*/ 11826910 w 11867103"/>
              <a:gd name="connsiteY32" fmla="*/ 341644 h 2964609"/>
              <a:gd name="connsiteX33" fmla="*/ 11836958 w 11867103"/>
              <a:gd name="connsiteY33" fmla="*/ 422031 h 2964609"/>
              <a:gd name="connsiteX34" fmla="*/ 11826910 w 11867103"/>
              <a:gd name="connsiteY34" fmla="*/ 733530 h 2964609"/>
              <a:gd name="connsiteX35" fmla="*/ 11816862 w 11867103"/>
              <a:gd name="connsiteY35" fmla="*/ 793820 h 2964609"/>
              <a:gd name="connsiteX36" fmla="*/ 11806813 w 11867103"/>
              <a:gd name="connsiteY36" fmla="*/ 864158 h 2964609"/>
              <a:gd name="connsiteX37" fmla="*/ 11816862 w 11867103"/>
              <a:gd name="connsiteY37" fmla="*/ 2331218 h 2964609"/>
              <a:gd name="connsiteX38" fmla="*/ 11826910 w 11867103"/>
              <a:gd name="connsiteY38" fmla="*/ 2401556 h 2964609"/>
              <a:gd name="connsiteX39" fmla="*/ 11836958 w 11867103"/>
              <a:gd name="connsiteY39" fmla="*/ 2431701 h 2964609"/>
              <a:gd name="connsiteX40" fmla="*/ 11857055 w 11867103"/>
              <a:gd name="connsiteY40" fmla="*/ 2562330 h 2964609"/>
              <a:gd name="connsiteX41" fmla="*/ 11867103 w 11867103"/>
              <a:gd name="connsiteY41" fmla="*/ 2602523 h 2964609"/>
              <a:gd name="connsiteX42" fmla="*/ 11857055 w 11867103"/>
              <a:gd name="connsiteY42" fmla="*/ 2833635 h 2964609"/>
              <a:gd name="connsiteX43" fmla="*/ 11836958 w 11867103"/>
              <a:gd name="connsiteY43" fmla="*/ 2863780 h 2964609"/>
              <a:gd name="connsiteX44" fmla="*/ 11033090 w 11867103"/>
              <a:gd name="connsiteY44" fmla="*/ 2853732 h 2964609"/>
              <a:gd name="connsiteX45" fmla="*/ 10621108 w 11867103"/>
              <a:gd name="connsiteY45" fmla="*/ 2843684 h 2964609"/>
              <a:gd name="connsiteX46" fmla="*/ 10128739 w 11867103"/>
              <a:gd name="connsiteY46" fmla="*/ 2853732 h 2964609"/>
              <a:gd name="connsiteX47" fmla="*/ 10048352 w 11867103"/>
              <a:gd name="connsiteY47" fmla="*/ 2863780 h 2964609"/>
              <a:gd name="connsiteX48" fmla="*/ 9555982 w 11867103"/>
              <a:gd name="connsiteY48" fmla="*/ 2853732 h 2964609"/>
              <a:gd name="connsiteX49" fmla="*/ 9445451 w 11867103"/>
              <a:gd name="connsiteY49" fmla="*/ 2843684 h 2964609"/>
              <a:gd name="connsiteX50" fmla="*/ 9415306 w 11867103"/>
              <a:gd name="connsiteY50" fmla="*/ 2823587 h 2964609"/>
              <a:gd name="connsiteX51" fmla="*/ 9204290 w 11867103"/>
              <a:gd name="connsiteY51" fmla="*/ 2803490 h 2964609"/>
              <a:gd name="connsiteX52" fmla="*/ 9073662 w 11867103"/>
              <a:gd name="connsiteY52" fmla="*/ 2783393 h 2964609"/>
              <a:gd name="connsiteX53" fmla="*/ 8812404 w 11867103"/>
              <a:gd name="connsiteY53" fmla="*/ 2773345 h 2964609"/>
              <a:gd name="connsiteX54" fmla="*/ 8400422 w 11867103"/>
              <a:gd name="connsiteY54" fmla="*/ 2763297 h 2964609"/>
              <a:gd name="connsiteX55" fmla="*/ 8269793 w 11867103"/>
              <a:gd name="connsiteY55" fmla="*/ 2753248 h 2964609"/>
              <a:gd name="connsiteX56" fmla="*/ 7797521 w 11867103"/>
              <a:gd name="connsiteY56" fmla="*/ 2773345 h 2964609"/>
              <a:gd name="connsiteX57" fmla="*/ 7717134 w 11867103"/>
              <a:gd name="connsiteY57" fmla="*/ 2783393 h 2964609"/>
              <a:gd name="connsiteX58" fmla="*/ 7486022 w 11867103"/>
              <a:gd name="connsiteY58" fmla="*/ 2813539 h 2964609"/>
              <a:gd name="connsiteX59" fmla="*/ 7395587 w 11867103"/>
              <a:gd name="connsiteY59" fmla="*/ 2833635 h 2964609"/>
              <a:gd name="connsiteX60" fmla="*/ 7325248 w 11867103"/>
              <a:gd name="connsiteY60" fmla="*/ 2843684 h 2964609"/>
              <a:gd name="connsiteX61" fmla="*/ 6863024 w 11867103"/>
              <a:gd name="connsiteY61" fmla="*/ 2833635 h 2964609"/>
              <a:gd name="connsiteX62" fmla="*/ 6722347 w 11867103"/>
              <a:gd name="connsiteY62" fmla="*/ 2823587 h 2964609"/>
              <a:gd name="connsiteX63" fmla="*/ 4903596 w 11867103"/>
              <a:gd name="connsiteY63" fmla="*/ 2873829 h 2964609"/>
              <a:gd name="connsiteX64" fmla="*/ 4722725 w 11867103"/>
              <a:gd name="connsiteY64" fmla="*/ 2914022 h 2964609"/>
              <a:gd name="connsiteX65" fmla="*/ 4300695 w 11867103"/>
              <a:gd name="connsiteY65" fmla="*/ 2893925 h 2964609"/>
              <a:gd name="connsiteX66" fmla="*/ 4059534 w 11867103"/>
              <a:gd name="connsiteY66" fmla="*/ 2853732 h 2964609"/>
              <a:gd name="connsiteX67" fmla="*/ 3768132 w 11867103"/>
              <a:gd name="connsiteY67" fmla="*/ 2823587 h 2964609"/>
              <a:gd name="connsiteX68" fmla="*/ 3627455 w 11867103"/>
              <a:gd name="connsiteY68" fmla="*/ 2813539 h 2964609"/>
              <a:gd name="connsiteX69" fmla="*/ 3125037 w 11867103"/>
              <a:gd name="connsiteY69" fmla="*/ 2823587 h 2964609"/>
              <a:gd name="connsiteX70" fmla="*/ 3064747 w 11867103"/>
              <a:gd name="connsiteY70" fmla="*/ 2833635 h 2964609"/>
              <a:gd name="connsiteX71" fmla="*/ 2009670 w 11867103"/>
              <a:gd name="connsiteY71" fmla="*/ 2843684 h 2964609"/>
              <a:gd name="connsiteX72" fmla="*/ 1678075 w 11867103"/>
              <a:gd name="connsiteY72" fmla="*/ 2934119 h 2964609"/>
              <a:gd name="connsiteX73" fmla="*/ 1607736 w 11867103"/>
              <a:gd name="connsiteY73" fmla="*/ 2964264 h 2964609"/>
              <a:gd name="connsiteX74" fmla="*/ 1135464 w 11867103"/>
              <a:gd name="connsiteY74" fmla="*/ 2944167 h 2964609"/>
              <a:gd name="connsiteX75" fmla="*/ 944545 w 11867103"/>
              <a:gd name="connsiteY75" fmla="*/ 2914022 h 2964609"/>
              <a:gd name="connsiteX76" fmla="*/ 723481 w 11867103"/>
              <a:gd name="connsiteY76" fmla="*/ 2873829 h 2964609"/>
              <a:gd name="connsiteX77" fmla="*/ 643095 w 11867103"/>
              <a:gd name="connsiteY77" fmla="*/ 2863780 h 2964609"/>
              <a:gd name="connsiteX78" fmla="*/ 371789 w 11867103"/>
              <a:gd name="connsiteY78" fmla="*/ 2823587 h 2964609"/>
              <a:gd name="connsiteX79" fmla="*/ 0 w 11867103"/>
              <a:gd name="connsiteY79" fmla="*/ 2813539 h 2964609"/>
              <a:gd name="connsiteX0" fmla="*/ 120580 w 11867103"/>
              <a:gd name="connsiteY0" fmla="*/ 51336 h 2965703"/>
              <a:gd name="connsiteX1" fmla="*/ 281354 w 11867103"/>
              <a:gd name="connsiteY1" fmla="*/ 41287 h 2965703"/>
              <a:gd name="connsiteX2" fmla="*/ 673240 w 11867103"/>
              <a:gd name="connsiteY2" fmla="*/ 31239 h 2965703"/>
              <a:gd name="connsiteX3" fmla="*/ 1356528 w 11867103"/>
              <a:gd name="connsiteY3" fmla="*/ 81481 h 2965703"/>
              <a:gd name="connsiteX4" fmla="*/ 1758462 w 11867103"/>
              <a:gd name="connsiteY4" fmla="*/ 41287 h 2965703"/>
              <a:gd name="connsiteX5" fmla="*/ 2140299 w 11867103"/>
              <a:gd name="connsiteY5" fmla="*/ 41287 h 2965703"/>
              <a:gd name="connsiteX6" fmla="*/ 4652387 w 11867103"/>
              <a:gd name="connsiteY6" fmla="*/ 61384 h 2965703"/>
              <a:gd name="connsiteX7" fmla="*/ 4692580 w 11867103"/>
              <a:gd name="connsiteY7" fmla="*/ 71433 h 2965703"/>
              <a:gd name="connsiteX8" fmla="*/ 6169688 w 11867103"/>
              <a:gd name="connsiteY8" fmla="*/ 111626 h 2965703"/>
              <a:gd name="connsiteX9" fmla="*/ 6420897 w 11867103"/>
              <a:gd name="connsiteY9" fmla="*/ 91529 h 2965703"/>
              <a:gd name="connsiteX10" fmla="*/ 6511332 w 11867103"/>
              <a:gd name="connsiteY10" fmla="*/ 31239 h 2965703"/>
              <a:gd name="connsiteX11" fmla="*/ 6641961 w 11867103"/>
              <a:gd name="connsiteY11" fmla="*/ 1094 h 2965703"/>
              <a:gd name="connsiteX12" fmla="*/ 7204668 w 11867103"/>
              <a:gd name="connsiteY12" fmla="*/ 11142 h 2965703"/>
              <a:gd name="connsiteX13" fmla="*/ 7285055 w 11867103"/>
              <a:gd name="connsiteY13" fmla="*/ 31239 h 2965703"/>
              <a:gd name="connsiteX14" fmla="*/ 7375490 w 11867103"/>
              <a:gd name="connsiteY14" fmla="*/ 41287 h 2965703"/>
              <a:gd name="connsiteX15" fmla="*/ 7928150 w 11867103"/>
              <a:gd name="connsiteY15" fmla="*/ 61384 h 2965703"/>
              <a:gd name="connsiteX16" fmla="*/ 8109020 w 11867103"/>
              <a:gd name="connsiteY16" fmla="*/ 81481 h 2965703"/>
              <a:gd name="connsiteX17" fmla="*/ 8219552 w 11867103"/>
              <a:gd name="connsiteY17" fmla="*/ 91529 h 2965703"/>
              <a:gd name="connsiteX18" fmla="*/ 8299939 w 11867103"/>
              <a:gd name="connsiteY18" fmla="*/ 101578 h 2965703"/>
              <a:gd name="connsiteX19" fmla="*/ 8521002 w 11867103"/>
              <a:gd name="connsiteY19" fmla="*/ 111626 h 2965703"/>
              <a:gd name="connsiteX20" fmla="*/ 9515789 w 11867103"/>
              <a:gd name="connsiteY20" fmla="*/ 101578 h 2965703"/>
              <a:gd name="connsiteX21" fmla="*/ 9606224 w 11867103"/>
              <a:gd name="connsiteY21" fmla="*/ 91529 h 2965703"/>
              <a:gd name="connsiteX22" fmla="*/ 9716756 w 11867103"/>
              <a:gd name="connsiteY22" fmla="*/ 81481 h 2965703"/>
              <a:gd name="connsiteX23" fmla="*/ 9797143 w 11867103"/>
              <a:gd name="connsiteY23" fmla="*/ 71433 h 2965703"/>
              <a:gd name="connsiteX24" fmla="*/ 9947868 w 11867103"/>
              <a:gd name="connsiteY24" fmla="*/ 61384 h 2965703"/>
              <a:gd name="connsiteX25" fmla="*/ 10791930 w 11867103"/>
              <a:gd name="connsiteY25" fmla="*/ 31239 h 2965703"/>
              <a:gd name="connsiteX26" fmla="*/ 11736475 w 11867103"/>
              <a:gd name="connsiteY26" fmla="*/ 51336 h 2965703"/>
              <a:gd name="connsiteX27" fmla="*/ 11766620 w 11867103"/>
              <a:gd name="connsiteY27" fmla="*/ 81481 h 2965703"/>
              <a:gd name="connsiteX28" fmla="*/ 11786717 w 11867103"/>
              <a:gd name="connsiteY28" fmla="*/ 121674 h 2965703"/>
              <a:gd name="connsiteX29" fmla="*/ 11806813 w 11867103"/>
              <a:gd name="connsiteY29" fmla="*/ 212109 h 2965703"/>
              <a:gd name="connsiteX30" fmla="*/ 11816862 w 11867103"/>
              <a:gd name="connsiteY30" fmla="*/ 252303 h 2965703"/>
              <a:gd name="connsiteX31" fmla="*/ 11826910 w 11867103"/>
              <a:gd name="connsiteY31" fmla="*/ 342738 h 2965703"/>
              <a:gd name="connsiteX32" fmla="*/ 11836958 w 11867103"/>
              <a:gd name="connsiteY32" fmla="*/ 423125 h 2965703"/>
              <a:gd name="connsiteX33" fmla="*/ 11826910 w 11867103"/>
              <a:gd name="connsiteY33" fmla="*/ 734624 h 2965703"/>
              <a:gd name="connsiteX34" fmla="*/ 11816862 w 11867103"/>
              <a:gd name="connsiteY34" fmla="*/ 794914 h 2965703"/>
              <a:gd name="connsiteX35" fmla="*/ 11806813 w 11867103"/>
              <a:gd name="connsiteY35" fmla="*/ 865252 h 2965703"/>
              <a:gd name="connsiteX36" fmla="*/ 11816862 w 11867103"/>
              <a:gd name="connsiteY36" fmla="*/ 2332312 h 2965703"/>
              <a:gd name="connsiteX37" fmla="*/ 11826910 w 11867103"/>
              <a:gd name="connsiteY37" fmla="*/ 2402650 h 2965703"/>
              <a:gd name="connsiteX38" fmla="*/ 11836958 w 11867103"/>
              <a:gd name="connsiteY38" fmla="*/ 2432795 h 2965703"/>
              <a:gd name="connsiteX39" fmla="*/ 11857055 w 11867103"/>
              <a:gd name="connsiteY39" fmla="*/ 2563424 h 2965703"/>
              <a:gd name="connsiteX40" fmla="*/ 11867103 w 11867103"/>
              <a:gd name="connsiteY40" fmla="*/ 2603617 h 2965703"/>
              <a:gd name="connsiteX41" fmla="*/ 11857055 w 11867103"/>
              <a:gd name="connsiteY41" fmla="*/ 2834729 h 2965703"/>
              <a:gd name="connsiteX42" fmla="*/ 11836958 w 11867103"/>
              <a:gd name="connsiteY42" fmla="*/ 2864874 h 2965703"/>
              <a:gd name="connsiteX43" fmla="*/ 11033090 w 11867103"/>
              <a:gd name="connsiteY43" fmla="*/ 2854826 h 2965703"/>
              <a:gd name="connsiteX44" fmla="*/ 10621108 w 11867103"/>
              <a:gd name="connsiteY44" fmla="*/ 2844778 h 2965703"/>
              <a:gd name="connsiteX45" fmla="*/ 10128739 w 11867103"/>
              <a:gd name="connsiteY45" fmla="*/ 2854826 h 2965703"/>
              <a:gd name="connsiteX46" fmla="*/ 10048352 w 11867103"/>
              <a:gd name="connsiteY46" fmla="*/ 2864874 h 2965703"/>
              <a:gd name="connsiteX47" fmla="*/ 9555982 w 11867103"/>
              <a:gd name="connsiteY47" fmla="*/ 2854826 h 2965703"/>
              <a:gd name="connsiteX48" fmla="*/ 9445451 w 11867103"/>
              <a:gd name="connsiteY48" fmla="*/ 2844778 h 2965703"/>
              <a:gd name="connsiteX49" fmla="*/ 9415306 w 11867103"/>
              <a:gd name="connsiteY49" fmla="*/ 2824681 h 2965703"/>
              <a:gd name="connsiteX50" fmla="*/ 9204290 w 11867103"/>
              <a:gd name="connsiteY50" fmla="*/ 2804584 h 2965703"/>
              <a:gd name="connsiteX51" fmla="*/ 9073662 w 11867103"/>
              <a:gd name="connsiteY51" fmla="*/ 2784487 h 2965703"/>
              <a:gd name="connsiteX52" fmla="*/ 8812404 w 11867103"/>
              <a:gd name="connsiteY52" fmla="*/ 2774439 h 2965703"/>
              <a:gd name="connsiteX53" fmla="*/ 8400422 w 11867103"/>
              <a:gd name="connsiteY53" fmla="*/ 2764391 h 2965703"/>
              <a:gd name="connsiteX54" fmla="*/ 8269793 w 11867103"/>
              <a:gd name="connsiteY54" fmla="*/ 2754342 h 2965703"/>
              <a:gd name="connsiteX55" fmla="*/ 7797521 w 11867103"/>
              <a:gd name="connsiteY55" fmla="*/ 2774439 h 2965703"/>
              <a:gd name="connsiteX56" fmla="*/ 7717134 w 11867103"/>
              <a:gd name="connsiteY56" fmla="*/ 2784487 h 2965703"/>
              <a:gd name="connsiteX57" fmla="*/ 7486022 w 11867103"/>
              <a:gd name="connsiteY57" fmla="*/ 2814633 h 2965703"/>
              <a:gd name="connsiteX58" fmla="*/ 7395587 w 11867103"/>
              <a:gd name="connsiteY58" fmla="*/ 2834729 h 2965703"/>
              <a:gd name="connsiteX59" fmla="*/ 7325248 w 11867103"/>
              <a:gd name="connsiteY59" fmla="*/ 2844778 h 2965703"/>
              <a:gd name="connsiteX60" fmla="*/ 6863024 w 11867103"/>
              <a:gd name="connsiteY60" fmla="*/ 2834729 h 2965703"/>
              <a:gd name="connsiteX61" fmla="*/ 6722347 w 11867103"/>
              <a:gd name="connsiteY61" fmla="*/ 2824681 h 2965703"/>
              <a:gd name="connsiteX62" fmla="*/ 4903596 w 11867103"/>
              <a:gd name="connsiteY62" fmla="*/ 2874923 h 2965703"/>
              <a:gd name="connsiteX63" fmla="*/ 4722725 w 11867103"/>
              <a:gd name="connsiteY63" fmla="*/ 2915116 h 2965703"/>
              <a:gd name="connsiteX64" fmla="*/ 4300695 w 11867103"/>
              <a:gd name="connsiteY64" fmla="*/ 2895019 h 2965703"/>
              <a:gd name="connsiteX65" fmla="*/ 4059534 w 11867103"/>
              <a:gd name="connsiteY65" fmla="*/ 2854826 h 2965703"/>
              <a:gd name="connsiteX66" fmla="*/ 3768132 w 11867103"/>
              <a:gd name="connsiteY66" fmla="*/ 2824681 h 2965703"/>
              <a:gd name="connsiteX67" fmla="*/ 3627455 w 11867103"/>
              <a:gd name="connsiteY67" fmla="*/ 2814633 h 2965703"/>
              <a:gd name="connsiteX68" fmla="*/ 3125037 w 11867103"/>
              <a:gd name="connsiteY68" fmla="*/ 2824681 h 2965703"/>
              <a:gd name="connsiteX69" fmla="*/ 3064747 w 11867103"/>
              <a:gd name="connsiteY69" fmla="*/ 2834729 h 2965703"/>
              <a:gd name="connsiteX70" fmla="*/ 2009670 w 11867103"/>
              <a:gd name="connsiteY70" fmla="*/ 2844778 h 2965703"/>
              <a:gd name="connsiteX71" fmla="*/ 1678075 w 11867103"/>
              <a:gd name="connsiteY71" fmla="*/ 2935213 h 2965703"/>
              <a:gd name="connsiteX72" fmla="*/ 1607736 w 11867103"/>
              <a:gd name="connsiteY72" fmla="*/ 2965358 h 2965703"/>
              <a:gd name="connsiteX73" fmla="*/ 1135464 w 11867103"/>
              <a:gd name="connsiteY73" fmla="*/ 2945261 h 2965703"/>
              <a:gd name="connsiteX74" fmla="*/ 944545 w 11867103"/>
              <a:gd name="connsiteY74" fmla="*/ 2915116 h 2965703"/>
              <a:gd name="connsiteX75" fmla="*/ 723481 w 11867103"/>
              <a:gd name="connsiteY75" fmla="*/ 2874923 h 2965703"/>
              <a:gd name="connsiteX76" fmla="*/ 643095 w 11867103"/>
              <a:gd name="connsiteY76" fmla="*/ 2864874 h 2965703"/>
              <a:gd name="connsiteX77" fmla="*/ 371789 w 11867103"/>
              <a:gd name="connsiteY77" fmla="*/ 2824681 h 2965703"/>
              <a:gd name="connsiteX78" fmla="*/ 0 w 11867103"/>
              <a:gd name="connsiteY78" fmla="*/ 2814633 h 2965703"/>
              <a:gd name="connsiteX0" fmla="*/ 120580 w 11867103"/>
              <a:gd name="connsiteY0" fmla="*/ 40194 h 2954561"/>
              <a:gd name="connsiteX1" fmla="*/ 281354 w 11867103"/>
              <a:gd name="connsiteY1" fmla="*/ 30145 h 2954561"/>
              <a:gd name="connsiteX2" fmla="*/ 673240 w 11867103"/>
              <a:gd name="connsiteY2" fmla="*/ 20097 h 2954561"/>
              <a:gd name="connsiteX3" fmla="*/ 1356528 w 11867103"/>
              <a:gd name="connsiteY3" fmla="*/ 70339 h 2954561"/>
              <a:gd name="connsiteX4" fmla="*/ 1758462 w 11867103"/>
              <a:gd name="connsiteY4" fmla="*/ 30145 h 2954561"/>
              <a:gd name="connsiteX5" fmla="*/ 2140299 w 11867103"/>
              <a:gd name="connsiteY5" fmla="*/ 30145 h 2954561"/>
              <a:gd name="connsiteX6" fmla="*/ 4652387 w 11867103"/>
              <a:gd name="connsiteY6" fmla="*/ 50242 h 2954561"/>
              <a:gd name="connsiteX7" fmla="*/ 4692580 w 11867103"/>
              <a:gd name="connsiteY7" fmla="*/ 60291 h 2954561"/>
              <a:gd name="connsiteX8" fmla="*/ 6169688 w 11867103"/>
              <a:gd name="connsiteY8" fmla="*/ 100484 h 2954561"/>
              <a:gd name="connsiteX9" fmla="*/ 6420897 w 11867103"/>
              <a:gd name="connsiteY9" fmla="*/ 80387 h 2954561"/>
              <a:gd name="connsiteX10" fmla="*/ 6511332 w 11867103"/>
              <a:gd name="connsiteY10" fmla="*/ 20097 h 2954561"/>
              <a:gd name="connsiteX11" fmla="*/ 7204668 w 11867103"/>
              <a:gd name="connsiteY11" fmla="*/ 0 h 2954561"/>
              <a:gd name="connsiteX12" fmla="*/ 7285055 w 11867103"/>
              <a:gd name="connsiteY12" fmla="*/ 20097 h 2954561"/>
              <a:gd name="connsiteX13" fmla="*/ 7375490 w 11867103"/>
              <a:gd name="connsiteY13" fmla="*/ 30145 h 2954561"/>
              <a:gd name="connsiteX14" fmla="*/ 7928150 w 11867103"/>
              <a:gd name="connsiteY14" fmla="*/ 50242 h 2954561"/>
              <a:gd name="connsiteX15" fmla="*/ 8109020 w 11867103"/>
              <a:gd name="connsiteY15" fmla="*/ 70339 h 2954561"/>
              <a:gd name="connsiteX16" fmla="*/ 8219552 w 11867103"/>
              <a:gd name="connsiteY16" fmla="*/ 80387 h 2954561"/>
              <a:gd name="connsiteX17" fmla="*/ 8299939 w 11867103"/>
              <a:gd name="connsiteY17" fmla="*/ 90436 h 2954561"/>
              <a:gd name="connsiteX18" fmla="*/ 8521002 w 11867103"/>
              <a:gd name="connsiteY18" fmla="*/ 100484 h 2954561"/>
              <a:gd name="connsiteX19" fmla="*/ 9515789 w 11867103"/>
              <a:gd name="connsiteY19" fmla="*/ 90436 h 2954561"/>
              <a:gd name="connsiteX20" fmla="*/ 9606224 w 11867103"/>
              <a:gd name="connsiteY20" fmla="*/ 80387 h 2954561"/>
              <a:gd name="connsiteX21" fmla="*/ 9716756 w 11867103"/>
              <a:gd name="connsiteY21" fmla="*/ 70339 h 2954561"/>
              <a:gd name="connsiteX22" fmla="*/ 9797143 w 11867103"/>
              <a:gd name="connsiteY22" fmla="*/ 60291 h 2954561"/>
              <a:gd name="connsiteX23" fmla="*/ 9947868 w 11867103"/>
              <a:gd name="connsiteY23" fmla="*/ 50242 h 2954561"/>
              <a:gd name="connsiteX24" fmla="*/ 10791930 w 11867103"/>
              <a:gd name="connsiteY24" fmla="*/ 20097 h 2954561"/>
              <a:gd name="connsiteX25" fmla="*/ 11736475 w 11867103"/>
              <a:gd name="connsiteY25" fmla="*/ 40194 h 2954561"/>
              <a:gd name="connsiteX26" fmla="*/ 11766620 w 11867103"/>
              <a:gd name="connsiteY26" fmla="*/ 70339 h 2954561"/>
              <a:gd name="connsiteX27" fmla="*/ 11786717 w 11867103"/>
              <a:gd name="connsiteY27" fmla="*/ 110532 h 2954561"/>
              <a:gd name="connsiteX28" fmla="*/ 11806813 w 11867103"/>
              <a:gd name="connsiteY28" fmla="*/ 200967 h 2954561"/>
              <a:gd name="connsiteX29" fmla="*/ 11816862 w 11867103"/>
              <a:gd name="connsiteY29" fmla="*/ 241161 h 2954561"/>
              <a:gd name="connsiteX30" fmla="*/ 11826910 w 11867103"/>
              <a:gd name="connsiteY30" fmla="*/ 331596 h 2954561"/>
              <a:gd name="connsiteX31" fmla="*/ 11836958 w 11867103"/>
              <a:gd name="connsiteY31" fmla="*/ 411983 h 2954561"/>
              <a:gd name="connsiteX32" fmla="*/ 11826910 w 11867103"/>
              <a:gd name="connsiteY32" fmla="*/ 723482 h 2954561"/>
              <a:gd name="connsiteX33" fmla="*/ 11816862 w 11867103"/>
              <a:gd name="connsiteY33" fmla="*/ 783772 h 2954561"/>
              <a:gd name="connsiteX34" fmla="*/ 11806813 w 11867103"/>
              <a:gd name="connsiteY34" fmla="*/ 854110 h 2954561"/>
              <a:gd name="connsiteX35" fmla="*/ 11816862 w 11867103"/>
              <a:gd name="connsiteY35" fmla="*/ 2321170 h 2954561"/>
              <a:gd name="connsiteX36" fmla="*/ 11826910 w 11867103"/>
              <a:gd name="connsiteY36" fmla="*/ 2391508 h 2954561"/>
              <a:gd name="connsiteX37" fmla="*/ 11836958 w 11867103"/>
              <a:gd name="connsiteY37" fmla="*/ 2421653 h 2954561"/>
              <a:gd name="connsiteX38" fmla="*/ 11857055 w 11867103"/>
              <a:gd name="connsiteY38" fmla="*/ 2552282 h 2954561"/>
              <a:gd name="connsiteX39" fmla="*/ 11867103 w 11867103"/>
              <a:gd name="connsiteY39" fmla="*/ 2592475 h 2954561"/>
              <a:gd name="connsiteX40" fmla="*/ 11857055 w 11867103"/>
              <a:gd name="connsiteY40" fmla="*/ 2823587 h 2954561"/>
              <a:gd name="connsiteX41" fmla="*/ 11836958 w 11867103"/>
              <a:gd name="connsiteY41" fmla="*/ 2853732 h 2954561"/>
              <a:gd name="connsiteX42" fmla="*/ 11033090 w 11867103"/>
              <a:gd name="connsiteY42" fmla="*/ 2843684 h 2954561"/>
              <a:gd name="connsiteX43" fmla="*/ 10621108 w 11867103"/>
              <a:gd name="connsiteY43" fmla="*/ 2833636 h 2954561"/>
              <a:gd name="connsiteX44" fmla="*/ 10128739 w 11867103"/>
              <a:gd name="connsiteY44" fmla="*/ 2843684 h 2954561"/>
              <a:gd name="connsiteX45" fmla="*/ 10048352 w 11867103"/>
              <a:gd name="connsiteY45" fmla="*/ 2853732 h 2954561"/>
              <a:gd name="connsiteX46" fmla="*/ 9555982 w 11867103"/>
              <a:gd name="connsiteY46" fmla="*/ 2843684 h 2954561"/>
              <a:gd name="connsiteX47" fmla="*/ 9445451 w 11867103"/>
              <a:gd name="connsiteY47" fmla="*/ 2833636 h 2954561"/>
              <a:gd name="connsiteX48" fmla="*/ 9415306 w 11867103"/>
              <a:gd name="connsiteY48" fmla="*/ 2813539 h 2954561"/>
              <a:gd name="connsiteX49" fmla="*/ 9204290 w 11867103"/>
              <a:gd name="connsiteY49" fmla="*/ 2793442 h 2954561"/>
              <a:gd name="connsiteX50" fmla="*/ 9073662 w 11867103"/>
              <a:gd name="connsiteY50" fmla="*/ 2773345 h 2954561"/>
              <a:gd name="connsiteX51" fmla="*/ 8812404 w 11867103"/>
              <a:gd name="connsiteY51" fmla="*/ 2763297 h 2954561"/>
              <a:gd name="connsiteX52" fmla="*/ 8400422 w 11867103"/>
              <a:gd name="connsiteY52" fmla="*/ 2753249 h 2954561"/>
              <a:gd name="connsiteX53" fmla="*/ 8269793 w 11867103"/>
              <a:gd name="connsiteY53" fmla="*/ 2743200 h 2954561"/>
              <a:gd name="connsiteX54" fmla="*/ 7797521 w 11867103"/>
              <a:gd name="connsiteY54" fmla="*/ 2763297 h 2954561"/>
              <a:gd name="connsiteX55" fmla="*/ 7717134 w 11867103"/>
              <a:gd name="connsiteY55" fmla="*/ 2773345 h 2954561"/>
              <a:gd name="connsiteX56" fmla="*/ 7486022 w 11867103"/>
              <a:gd name="connsiteY56" fmla="*/ 2803491 h 2954561"/>
              <a:gd name="connsiteX57" fmla="*/ 7395587 w 11867103"/>
              <a:gd name="connsiteY57" fmla="*/ 2823587 h 2954561"/>
              <a:gd name="connsiteX58" fmla="*/ 7325248 w 11867103"/>
              <a:gd name="connsiteY58" fmla="*/ 2833636 h 2954561"/>
              <a:gd name="connsiteX59" fmla="*/ 6863024 w 11867103"/>
              <a:gd name="connsiteY59" fmla="*/ 2823587 h 2954561"/>
              <a:gd name="connsiteX60" fmla="*/ 6722347 w 11867103"/>
              <a:gd name="connsiteY60" fmla="*/ 2813539 h 2954561"/>
              <a:gd name="connsiteX61" fmla="*/ 4903596 w 11867103"/>
              <a:gd name="connsiteY61" fmla="*/ 2863781 h 2954561"/>
              <a:gd name="connsiteX62" fmla="*/ 4722725 w 11867103"/>
              <a:gd name="connsiteY62" fmla="*/ 2903974 h 2954561"/>
              <a:gd name="connsiteX63" fmla="*/ 4300695 w 11867103"/>
              <a:gd name="connsiteY63" fmla="*/ 2883877 h 2954561"/>
              <a:gd name="connsiteX64" fmla="*/ 4059534 w 11867103"/>
              <a:gd name="connsiteY64" fmla="*/ 2843684 h 2954561"/>
              <a:gd name="connsiteX65" fmla="*/ 3768132 w 11867103"/>
              <a:gd name="connsiteY65" fmla="*/ 2813539 h 2954561"/>
              <a:gd name="connsiteX66" fmla="*/ 3627455 w 11867103"/>
              <a:gd name="connsiteY66" fmla="*/ 2803491 h 2954561"/>
              <a:gd name="connsiteX67" fmla="*/ 3125037 w 11867103"/>
              <a:gd name="connsiteY67" fmla="*/ 2813539 h 2954561"/>
              <a:gd name="connsiteX68" fmla="*/ 3064747 w 11867103"/>
              <a:gd name="connsiteY68" fmla="*/ 2823587 h 2954561"/>
              <a:gd name="connsiteX69" fmla="*/ 2009670 w 11867103"/>
              <a:gd name="connsiteY69" fmla="*/ 2833636 h 2954561"/>
              <a:gd name="connsiteX70" fmla="*/ 1678075 w 11867103"/>
              <a:gd name="connsiteY70" fmla="*/ 2924071 h 2954561"/>
              <a:gd name="connsiteX71" fmla="*/ 1607736 w 11867103"/>
              <a:gd name="connsiteY71" fmla="*/ 2954216 h 2954561"/>
              <a:gd name="connsiteX72" fmla="*/ 1135464 w 11867103"/>
              <a:gd name="connsiteY72" fmla="*/ 2934119 h 2954561"/>
              <a:gd name="connsiteX73" fmla="*/ 944545 w 11867103"/>
              <a:gd name="connsiteY73" fmla="*/ 2903974 h 2954561"/>
              <a:gd name="connsiteX74" fmla="*/ 723481 w 11867103"/>
              <a:gd name="connsiteY74" fmla="*/ 2863781 h 2954561"/>
              <a:gd name="connsiteX75" fmla="*/ 643095 w 11867103"/>
              <a:gd name="connsiteY75" fmla="*/ 2853732 h 2954561"/>
              <a:gd name="connsiteX76" fmla="*/ 371789 w 11867103"/>
              <a:gd name="connsiteY76" fmla="*/ 2813539 h 2954561"/>
              <a:gd name="connsiteX77" fmla="*/ 0 w 11867103"/>
              <a:gd name="connsiteY77" fmla="*/ 2803491 h 2954561"/>
              <a:gd name="connsiteX0" fmla="*/ 120580 w 11867103"/>
              <a:gd name="connsiteY0" fmla="*/ 42528 h 2956895"/>
              <a:gd name="connsiteX1" fmla="*/ 281354 w 11867103"/>
              <a:gd name="connsiteY1" fmla="*/ 32479 h 2956895"/>
              <a:gd name="connsiteX2" fmla="*/ 673240 w 11867103"/>
              <a:gd name="connsiteY2" fmla="*/ 22431 h 2956895"/>
              <a:gd name="connsiteX3" fmla="*/ 1356528 w 11867103"/>
              <a:gd name="connsiteY3" fmla="*/ 72673 h 2956895"/>
              <a:gd name="connsiteX4" fmla="*/ 1758462 w 11867103"/>
              <a:gd name="connsiteY4" fmla="*/ 32479 h 2956895"/>
              <a:gd name="connsiteX5" fmla="*/ 2140299 w 11867103"/>
              <a:gd name="connsiteY5" fmla="*/ 32479 h 2956895"/>
              <a:gd name="connsiteX6" fmla="*/ 4652387 w 11867103"/>
              <a:gd name="connsiteY6" fmla="*/ 52576 h 2956895"/>
              <a:gd name="connsiteX7" fmla="*/ 4692580 w 11867103"/>
              <a:gd name="connsiteY7" fmla="*/ 62625 h 2956895"/>
              <a:gd name="connsiteX8" fmla="*/ 6169688 w 11867103"/>
              <a:gd name="connsiteY8" fmla="*/ 102818 h 2956895"/>
              <a:gd name="connsiteX9" fmla="*/ 6420897 w 11867103"/>
              <a:gd name="connsiteY9" fmla="*/ 82721 h 2956895"/>
              <a:gd name="connsiteX10" fmla="*/ 7204668 w 11867103"/>
              <a:gd name="connsiteY10" fmla="*/ 2334 h 2956895"/>
              <a:gd name="connsiteX11" fmla="*/ 7285055 w 11867103"/>
              <a:gd name="connsiteY11" fmla="*/ 22431 h 2956895"/>
              <a:gd name="connsiteX12" fmla="*/ 7375490 w 11867103"/>
              <a:gd name="connsiteY12" fmla="*/ 32479 h 2956895"/>
              <a:gd name="connsiteX13" fmla="*/ 7928150 w 11867103"/>
              <a:gd name="connsiteY13" fmla="*/ 52576 h 2956895"/>
              <a:gd name="connsiteX14" fmla="*/ 8109020 w 11867103"/>
              <a:gd name="connsiteY14" fmla="*/ 72673 h 2956895"/>
              <a:gd name="connsiteX15" fmla="*/ 8219552 w 11867103"/>
              <a:gd name="connsiteY15" fmla="*/ 82721 h 2956895"/>
              <a:gd name="connsiteX16" fmla="*/ 8299939 w 11867103"/>
              <a:gd name="connsiteY16" fmla="*/ 92770 h 2956895"/>
              <a:gd name="connsiteX17" fmla="*/ 8521002 w 11867103"/>
              <a:gd name="connsiteY17" fmla="*/ 102818 h 2956895"/>
              <a:gd name="connsiteX18" fmla="*/ 9515789 w 11867103"/>
              <a:gd name="connsiteY18" fmla="*/ 92770 h 2956895"/>
              <a:gd name="connsiteX19" fmla="*/ 9606224 w 11867103"/>
              <a:gd name="connsiteY19" fmla="*/ 82721 h 2956895"/>
              <a:gd name="connsiteX20" fmla="*/ 9716756 w 11867103"/>
              <a:gd name="connsiteY20" fmla="*/ 72673 h 2956895"/>
              <a:gd name="connsiteX21" fmla="*/ 9797143 w 11867103"/>
              <a:gd name="connsiteY21" fmla="*/ 62625 h 2956895"/>
              <a:gd name="connsiteX22" fmla="*/ 9947868 w 11867103"/>
              <a:gd name="connsiteY22" fmla="*/ 52576 h 2956895"/>
              <a:gd name="connsiteX23" fmla="*/ 10791930 w 11867103"/>
              <a:gd name="connsiteY23" fmla="*/ 22431 h 2956895"/>
              <a:gd name="connsiteX24" fmla="*/ 11736475 w 11867103"/>
              <a:gd name="connsiteY24" fmla="*/ 42528 h 2956895"/>
              <a:gd name="connsiteX25" fmla="*/ 11766620 w 11867103"/>
              <a:gd name="connsiteY25" fmla="*/ 72673 h 2956895"/>
              <a:gd name="connsiteX26" fmla="*/ 11786717 w 11867103"/>
              <a:gd name="connsiteY26" fmla="*/ 112866 h 2956895"/>
              <a:gd name="connsiteX27" fmla="*/ 11806813 w 11867103"/>
              <a:gd name="connsiteY27" fmla="*/ 203301 h 2956895"/>
              <a:gd name="connsiteX28" fmla="*/ 11816862 w 11867103"/>
              <a:gd name="connsiteY28" fmla="*/ 243495 h 2956895"/>
              <a:gd name="connsiteX29" fmla="*/ 11826910 w 11867103"/>
              <a:gd name="connsiteY29" fmla="*/ 333930 h 2956895"/>
              <a:gd name="connsiteX30" fmla="*/ 11836958 w 11867103"/>
              <a:gd name="connsiteY30" fmla="*/ 414317 h 2956895"/>
              <a:gd name="connsiteX31" fmla="*/ 11826910 w 11867103"/>
              <a:gd name="connsiteY31" fmla="*/ 725816 h 2956895"/>
              <a:gd name="connsiteX32" fmla="*/ 11816862 w 11867103"/>
              <a:gd name="connsiteY32" fmla="*/ 786106 h 2956895"/>
              <a:gd name="connsiteX33" fmla="*/ 11806813 w 11867103"/>
              <a:gd name="connsiteY33" fmla="*/ 856444 h 2956895"/>
              <a:gd name="connsiteX34" fmla="*/ 11816862 w 11867103"/>
              <a:gd name="connsiteY34" fmla="*/ 2323504 h 2956895"/>
              <a:gd name="connsiteX35" fmla="*/ 11826910 w 11867103"/>
              <a:gd name="connsiteY35" fmla="*/ 2393842 h 2956895"/>
              <a:gd name="connsiteX36" fmla="*/ 11836958 w 11867103"/>
              <a:gd name="connsiteY36" fmla="*/ 2423987 h 2956895"/>
              <a:gd name="connsiteX37" fmla="*/ 11857055 w 11867103"/>
              <a:gd name="connsiteY37" fmla="*/ 2554616 h 2956895"/>
              <a:gd name="connsiteX38" fmla="*/ 11867103 w 11867103"/>
              <a:gd name="connsiteY38" fmla="*/ 2594809 h 2956895"/>
              <a:gd name="connsiteX39" fmla="*/ 11857055 w 11867103"/>
              <a:gd name="connsiteY39" fmla="*/ 2825921 h 2956895"/>
              <a:gd name="connsiteX40" fmla="*/ 11836958 w 11867103"/>
              <a:gd name="connsiteY40" fmla="*/ 2856066 h 2956895"/>
              <a:gd name="connsiteX41" fmla="*/ 11033090 w 11867103"/>
              <a:gd name="connsiteY41" fmla="*/ 2846018 h 2956895"/>
              <a:gd name="connsiteX42" fmla="*/ 10621108 w 11867103"/>
              <a:gd name="connsiteY42" fmla="*/ 2835970 h 2956895"/>
              <a:gd name="connsiteX43" fmla="*/ 10128739 w 11867103"/>
              <a:gd name="connsiteY43" fmla="*/ 2846018 h 2956895"/>
              <a:gd name="connsiteX44" fmla="*/ 10048352 w 11867103"/>
              <a:gd name="connsiteY44" fmla="*/ 2856066 h 2956895"/>
              <a:gd name="connsiteX45" fmla="*/ 9555982 w 11867103"/>
              <a:gd name="connsiteY45" fmla="*/ 2846018 h 2956895"/>
              <a:gd name="connsiteX46" fmla="*/ 9445451 w 11867103"/>
              <a:gd name="connsiteY46" fmla="*/ 2835970 h 2956895"/>
              <a:gd name="connsiteX47" fmla="*/ 9415306 w 11867103"/>
              <a:gd name="connsiteY47" fmla="*/ 2815873 h 2956895"/>
              <a:gd name="connsiteX48" fmla="*/ 9204290 w 11867103"/>
              <a:gd name="connsiteY48" fmla="*/ 2795776 h 2956895"/>
              <a:gd name="connsiteX49" fmla="*/ 9073662 w 11867103"/>
              <a:gd name="connsiteY49" fmla="*/ 2775679 h 2956895"/>
              <a:gd name="connsiteX50" fmla="*/ 8812404 w 11867103"/>
              <a:gd name="connsiteY50" fmla="*/ 2765631 h 2956895"/>
              <a:gd name="connsiteX51" fmla="*/ 8400422 w 11867103"/>
              <a:gd name="connsiteY51" fmla="*/ 2755583 h 2956895"/>
              <a:gd name="connsiteX52" fmla="*/ 8269793 w 11867103"/>
              <a:gd name="connsiteY52" fmla="*/ 2745534 h 2956895"/>
              <a:gd name="connsiteX53" fmla="*/ 7797521 w 11867103"/>
              <a:gd name="connsiteY53" fmla="*/ 2765631 h 2956895"/>
              <a:gd name="connsiteX54" fmla="*/ 7717134 w 11867103"/>
              <a:gd name="connsiteY54" fmla="*/ 2775679 h 2956895"/>
              <a:gd name="connsiteX55" fmla="*/ 7486022 w 11867103"/>
              <a:gd name="connsiteY55" fmla="*/ 2805825 h 2956895"/>
              <a:gd name="connsiteX56" fmla="*/ 7395587 w 11867103"/>
              <a:gd name="connsiteY56" fmla="*/ 2825921 h 2956895"/>
              <a:gd name="connsiteX57" fmla="*/ 7325248 w 11867103"/>
              <a:gd name="connsiteY57" fmla="*/ 2835970 h 2956895"/>
              <a:gd name="connsiteX58" fmla="*/ 6863024 w 11867103"/>
              <a:gd name="connsiteY58" fmla="*/ 2825921 h 2956895"/>
              <a:gd name="connsiteX59" fmla="*/ 6722347 w 11867103"/>
              <a:gd name="connsiteY59" fmla="*/ 2815873 h 2956895"/>
              <a:gd name="connsiteX60" fmla="*/ 4903596 w 11867103"/>
              <a:gd name="connsiteY60" fmla="*/ 2866115 h 2956895"/>
              <a:gd name="connsiteX61" fmla="*/ 4722725 w 11867103"/>
              <a:gd name="connsiteY61" fmla="*/ 2906308 h 2956895"/>
              <a:gd name="connsiteX62" fmla="*/ 4300695 w 11867103"/>
              <a:gd name="connsiteY62" fmla="*/ 2886211 h 2956895"/>
              <a:gd name="connsiteX63" fmla="*/ 4059534 w 11867103"/>
              <a:gd name="connsiteY63" fmla="*/ 2846018 h 2956895"/>
              <a:gd name="connsiteX64" fmla="*/ 3768132 w 11867103"/>
              <a:gd name="connsiteY64" fmla="*/ 2815873 h 2956895"/>
              <a:gd name="connsiteX65" fmla="*/ 3627455 w 11867103"/>
              <a:gd name="connsiteY65" fmla="*/ 2805825 h 2956895"/>
              <a:gd name="connsiteX66" fmla="*/ 3125037 w 11867103"/>
              <a:gd name="connsiteY66" fmla="*/ 2815873 h 2956895"/>
              <a:gd name="connsiteX67" fmla="*/ 3064747 w 11867103"/>
              <a:gd name="connsiteY67" fmla="*/ 2825921 h 2956895"/>
              <a:gd name="connsiteX68" fmla="*/ 2009670 w 11867103"/>
              <a:gd name="connsiteY68" fmla="*/ 2835970 h 2956895"/>
              <a:gd name="connsiteX69" fmla="*/ 1678075 w 11867103"/>
              <a:gd name="connsiteY69" fmla="*/ 2926405 h 2956895"/>
              <a:gd name="connsiteX70" fmla="*/ 1607736 w 11867103"/>
              <a:gd name="connsiteY70" fmla="*/ 2956550 h 2956895"/>
              <a:gd name="connsiteX71" fmla="*/ 1135464 w 11867103"/>
              <a:gd name="connsiteY71" fmla="*/ 2936453 h 2956895"/>
              <a:gd name="connsiteX72" fmla="*/ 944545 w 11867103"/>
              <a:gd name="connsiteY72" fmla="*/ 2906308 h 2956895"/>
              <a:gd name="connsiteX73" fmla="*/ 723481 w 11867103"/>
              <a:gd name="connsiteY73" fmla="*/ 2866115 h 2956895"/>
              <a:gd name="connsiteX74" fmla="*/ 643095 w 11867103"/>
              <a:gd name="connsiteY74" fmla="*/ 2856066 h 2956895"/>
              <a:gd name="connsiteX75" fmla="*/ 371789 w 11867103"/>
              <a:gd name="connsiteY75" fmla="*/ 2815873 h 2956895"/>
              <a:gd name="connsiteX76" fmla="*/ 0 w 11867103"/>
              <a:gd name="connsiteY76" fmla="*/ 2805825 h 2956895"/>
              <a:gd name="connsiteX0" fmla="*/ 120580 w 11867103"/>
              <a:gd name="connsiteY0" fmla="*/ 42528 h 2956895"/>
              <a:gd name="connsiteX1" fmla="*/ 281354 w 11867103"/>
              <a:gd name="connsiteY1" fmla="*/ 32479 h 2956895"/>
              <a:gd name="connsiteX2" fmla="*/ 673240 w 11867103"/>
              <a:gd name="connsiteY2" fmla="*/ 22431 h 2956895"/>
              <a:gd name="connsiteX3" fmla="*/ 1356528 w 11867103"/>
              <a:gd name="connsiteY3" fmla="*/ 72673 h 2956895"/>
              <a:gd name="connsiteX4" fmla="*/ 1758462 w 11867103"/>
              <a:gd name="connsiteY4" fmla="*/ 32479 h 2956895"/>
              <a:gd name="connsiteX5" fmla="*/ 2140299 w 11867103"/>
              <a:gd name="connsiteY5" fmla="*/ 32479 h 2956895"/>
              <a:gd name="connsiteX6" fmla="*/ 4652387 w 11867103"/>
              <a:gd name="connsiteY6" fmla="*/ 52576 h 2956895"/>
              <a:gd name="connsiteX7" fmla="*/ 4692580 w 11867103"/>
              <a:gd name="connsiteY7" fmla="*/ 62625 h 2956895"/>
              <a:gd name="connsiteX8" fmla="*/ 6420897 w 11867103"/>
              <a:gd name="connsiteY8" fmla="*/ 82721 h 2956895"/>
              <a:gd name="connsiteX9" fmla="*/ 7204668 w 11867103"/>
              <a:gd name="connsiteY9" fmla="*/ 2334 h 2956895"/>
              <a:gd name="connsiteX10" fmla="*/ 7285055 w 11867103"/>
              <a:gd name="connsiteY10" fmla="*/ 22431 h 2956895"/>
              <a:gd name="connsiteX11" fmla="*/ 7375490 w 11867103"/>
              <a:gd name="connsiteY11" fmla="*/ 32479 h 2956895"/>
              <a:gd name="connsiteX12" fmla="*/ 7928150 w 11867103"/>
              <a:gd name="connsiteY12" fmla="*/ 52576 h 2956895"/>
              <a:gd name="connsiteX13" fmla="*/ 8109020 w 11867103"/>
              <a:gd name="connsiteY13" fmla="*/ 72673 h 2956895"/>
              <a:gd name="connsiteX14" fmla="*/ 8219552 w 11867103"/>
              <a:gd name="connsiteY14" fmla="*/ 82721 h 2956895"/>
              <a:gd name="connsiteX15" fmla="*/ 8299939 w 11867103"/>
              <a:gd name="connsiteY15" fmla="*/ 92770 h 2956895"/>
              <a:gd name="connsiteX16" fmla="*/ 8521002 w 11867103"/>
              <a:gd name="connsiteY16" fmla="*/ 102818 h 2956895"/>
              <a:gd name="connsiteX17" fmla="*/ 9515789 w 11867103"/>
              <a:gd name="connsiteY17" fmla="*/ 92770 h 2956895"/>
              <a:gd name="connsiteX18" fmla="*/ 9606224 w 11867103"/>
              <a:gd name="connsiteY18" fmla="*/ 82721 h 2956895"/>
              <a:gd name="connsiteX19" fmla="*/ 9716756 w 11867103"/>
              <a:gd name="connsiteY19" fmla="*/ 72673 h 2956895"/>
              <a:gd name="connsiteX20" fmla="*/ 9797143 w 11867103"/>
              <a:gd name="connsiteY20" fmla="*/ 62625 h 2956895"/>
              <a:gd name="connsiteX21" fmla="*/ 9947868 w 11867103"/>
              <a:gd name="connsiteY21" fmla="*/ 52576 h 2956895"/>
              <a:gd name="connsiteX22" fmla="*/ 10791930 w 11867103"/>
              <a:gd name="connsiteY22" fmla="*/ 22431 h 2956895"/>
              <a:gd name="connsiteX23" fmla="*/ 11736475 w 11867103"/>
              <a:gd name="connsiteY23" fmla="*/ 42528 h 2956895"/>
              <a:gd name="connsiteX24" fmla="*/ 11766620 w 11867103"/>
              <a:gd name="connsiteY24" fmla="*/ 72673 h 2956895"/>
              <a:gd name="connsiteX25" fmla="*/ 11786717 w 11867103"/>
              <a:gd name="connsiteY25" fmla="*/ 112866 h 2956895"/>
              <a:gd name="connsiteX26" fmla="*/ 11806813 w 11867103"/>
              <a:gd name="connsiteY26" fmla="*/ 203301 h 2956895"/>
              <a:gd name="connsiteX27" fmla="*/ 11816862 w 11867103"/>
              <a:gd name="connsiteY27" fmla="*/ 243495 h 2956895"/>
              <a:gd name="connsiteX28" fmla="*/ 11826910 w 11867103"/>
              <a:gd name="connsiteY28" fmla="*/ 333930 h 2956895"/>
              <a:gd name="connsiteX29" fmla="*/ 11836958 w 11867103"/>
              <a:gd name="connsiteY29" fmla="*/ 414317 h 2956895"/>
              <a:gd name="connsiteX30" fmla="*/ 11826910 w 11867103"/>
              <a:gd name="connsiteY30" fmla="*/ 725816 h 2956895"/>
              <a:gd name="connsiteX31" fmla="*/ 11816862 w 11867103"/>
              <a:gd name="connsiteY31" fmla="*/ 786106 h 2956895"/>
              <a:gd name="connsiteX32" fmla="*/ 11806813 w 11867103"/>
              <a:gd name="connsiteY32" fmla="*/ 856444 h 2956895"/>
              <a:gd name="connsiteX33" fmla="*/ 11816862 w 11867103"/>
              <a:gd name="connsiteY33" fmla="*/ 2323504 h 2956895"/>
              <a:gd name="connsiteX34" fmla="*/ 11826910 w 11867103"/>
              <a:gd name="connsiteY34" fmla="*/ 2393842 h 2956895"/>
              <a:gd name="connsiteX35" fmla="*/ 11836958 w 11867103"/>
              <a:gd name="connsiteY35" fmla="*/ 2423987 h 2956895"/>
              <a:gd name="connsiteX36" fmla="*/ 11857055 w 11867103"/>
              <a:gd name="connsiteY36" fmla="*/ 2554616 h 2956895"/>
              <a:gd name="connsiteX37" fmla="*/ 11867103 w 11867103"/>
              <a:gd name="connsiteY37" fmla="*/ 2594809 h 2956895"/>
              <a:gd name="connsiteX38" fmla="*/ 11857055 w 11867103"/>
              <a:gd name="connsiteY38" fmla="*/ 2825921 h 2956895"/>
              <a:gd name="connsiteX39" fmla="*/ 11836958 w 11867103"/>
              <a:gd name="connsiteY39" fmla="*/ 2856066 h 2956895"/>
              <a:gd name="connsiteX40" fmla="*/ 11033090 w 11867103"/>
              <a:gd name="connsiteY40" fmla="*/ 2846018 h 2956895"/>
              <a:gd name="connsiteX41" fmla="*/ 10621108 w 11867103"/>
              <a:gd name="connsiteY41" fmla="*/ 2835970 h 2956895"/>
              <a:gd name="connsiteX42" fmla="*/ 10128739 w 11867103"/>
              <a:gd name="connsiteY42" fmla="*/ 2846018 h 2956895"/>
              <a:gd name="connsiteX43" fmla="*/ 10048352 w 11867103"/>
              <a:gd name="connsiteY43" fmla="*/ 2856066 h 2956895"/>
              <a:gd name="connsiteX44" fmla="*/ 9555982 w 11867103"/>
              <a:gd name="connsiteY44" fmla="*/ 2846018 h 2956895"/>
              <a:gd name="connsiteX45" fmla="*/ 9445451 w 11867103"/>
              <a:gd name="connsiteY45" fmla="*/ 2835970 h 2956895"/>
              <a:gd name="connsiteX46" fmla="*/ 9415306 w 11867103"/>
              <a:gd name="connsiteY46" fmla="*/ 2815873 h 2956895"/>
              <a:gd name="connsiteX47" fmla="*/ 9204290 w 11867103"/>
              <a:gd name="connsiteY47" fmla="*/ 2795776 h 2956895"/>
              <a:gd name="connsiteX48" fmla="*/ 9073662 w 11867103"/>
              <a:gd name="connsiteY48" fmla="*/ 2775679 h 2956895"/>
              <a:gd name="connsiteX49" fmla="*/ 8812404 w 11867103"/>
              <a:gd name="connsiteY49" fmla="*/ 2765631 h 2956895"/>
              <a:gd name="connsiteX50" fmla="*/ 8400422 w 11867103"/>
              <a:gd name="connsiteY50" fmla="*/ 2755583 h 2956895"/>
              <a:gd name="connsiteX51" fmla="*/ 8269793 w 11867103"/>
              <a:gd name="connsiteY51" fmla="*/ 2745534 h 2956895"/>
              <a:gd name="connsiteX52" fmla="*/ 7797521 w 11867103"/>
              <a:gd name="connsiteY52" fmla="*/ 2765631 h 2956895"/>
              <a:gd name="connsiteX53" fmla="*/ 7717134 w 11867103"/>
              <a:gd name="connsiteY53" fmla="*/ 2775679 h 2956895"/>
              <a:gd name="connsiteX54" fmla="*/ 7486022 w 11867103"/>
              <a:gd name="connsiteY54" fmla="*/ 2805825 h 2956895"/>
              <a:gd name="connsiteX55" fmla="*/ 7395587 w 11867103"/>
              <a:gd name="connsiteY55" fmla="*/ 2825921 h 2956895"/>
              <a:gd name="connsiteX56" fmla="*/ 7325248 w 11867103"/>
              <a:gd name="connsiteY56" fmla="*/ 2835970 h 2956895"/>
              <a:gd name="connsiteX57" fmla="*/ 6863024 w 11867103"/>
              <a:gd name="connsiteY57" fmla="*/ 2825921 h 2956895"/>
              <a:gd name="connsiteX58" fmla="*/ 6722347 w 11867103"/>
              <a:gd name="connsiteY58" fmla="*/ 2815873 h 2956895"/>
              <a:gd name="connsiteX59" fmla="*/ 4903596 w 11867103"/>
              <a:gd name="connsiteY59" fmla="*/ 2866115 h 2956895"/>
              <a:gd name="connsiteX60" fmla="*/ 4722725 w 11867103"/>
              <a:gd name="connsiteY60" fmla="*/ 2906308 h 2956895"/>
              <a:gd name="connsiteX61" fmla="*/ 4300695 w 11867103"/>
              <a:gd name="connsiteY61" fmla="*/ 2886211 h 2956895"/>
              <a:gd name="connsiteX62" fmla="*/ 4059534 w 11867103"/>
              <a:gd name="connsiteY62" fmla="*/ 2846018 h 2956895"/>
              <a:gd name="connsiteX63" fmla="*/ 3768132 w 11867103"/>
              <a:gd name="connsiteY63" fmla="*/ 2815873 h 2956895"/>
              <a:gd name="connsiteX64" fmla="*/ 3627455 w 11867103"/>
              <a:gd name="connsiteY64" fmla="*/ 2805825 h 2956895"/>
              <a:gd name="connsiteX65" fmla="*/ 3125037 w 11867103"/>
              <a:gd name="connsiteY65" fmla="*/ 2815873 h 2956895"/>
              <a:gd name="connsiteX66" fmla="*/ 3064747 w 11867103"/>
              <a:gd name="connsiteY66" fmla="*/ 2825921 h 2956895"/>
              <a:gd name="connsiteX67" fmla="*/ 2009670 w 11867103"/>
              <a:gd name="connsiteY67" fmla="*/ 2835970 h 2956895"/>
              <a:gd name="connsiteX68" fmla="*/ 1678075 w 11867103"/>
              <a:gd name="connsiteY68" fmla="*/ 2926405 h 2956895"/>
              <a:gd name="connsiteX69" fmla="*/ 1607736 w 11867103"/>
              <a:gd name="connsiteY69" fmla="*/ 2956550 h 2956895"/>
              <a:gd name="connsiteX70" fmla="*/ 1135464 w 11867103"/>
              <a:gd name="connsiteY70" fmla="*/ 2936453 h 2956895"/>
              <a:gd name="connsiteX71" fmla="*/ 944545 w 11867103"/>
              <a:gd name="connsiteY71" fmla="*/ 2906308 h 2956895"/>
              <a:gd name="connsiteX72" fmla="*/ 723481 w 11867103"/>
              <a:gd name="connsiteY72" fmla="*/ 2866115 h 2956895"/>
              <a:gd name="connsiteX73" fmla="*/ 643095 w 11867103"/>
              <a:gd name="connsiteY73" fmla="*/ 2856066 h 2956895"/>
              <a:gd name="connsiteX74" fmla="*/ 371789 w 11867103"/>
              <a:gd name="connsiteY74" fmla="*/ 2815873 h 2956895"/>
              <a:gd name="connsiteX75" fmla="*/ 0 w 11867103"/>
              <a:gd name="connsiteY75" fmla="*/ 2805825 h 2956895"/>
              <a:gd name="connsiteX0" fmla="*/ 120580 w 11867103"/>
              <a:gd name="connsiteY0" fmla="*/ 42790 h 2957157"/>
              <a:gd name="connsiteX1" fmla="*/ 281354 w 11867103"/>
              <a:gd name="connsiteY1" fmla="*/ 32741 h 2957157"/>
              <a:gd name="connsiteX2" fmla="*/ 673240 w 11867103"/>
              <a:gd name="connsiteY2" fmla="*/ 22693 h 2957157"/>
              <a:gd name="connsiteX3" fmla="*/ 1356528 w 11867103"/>
              <a:gd name="connsiteY3" fmla="*/ 72935 h 2957157"/>
              <a:gd name="connsiteX4" fmla="*/ 1758462 w 11867103"/>
              <a:gd name="connsiteY4" fmla="*/ 32741 h 2957157"/>
              <a:gd name="connsiteX5" fmla="*/ 2140299 w 11867103"/>
              <a:gd name="connsiteY5" fmla="*/ 32741 h 2957157"/>
              <a:gd name="connsiteX6" fmla="*/ 4652387 w 11867103"/>
              <a:gd name="connsiteY6" fmla="*/ 52838 h 2957157"/>
              <a:gd name="connsiteX7" fmla="*/ 4692580 w 11867103"/>
              <a:gd name="connsiteY7" fmla="*/ 62887 h 2957157"/>
              <a:gd name="connsiteX8" fmla="*/ 6420897 w 11867103"/>
              <a:gd name="connsiteY8" fmla="*/ 82983 h 2957157"/>
              <a:gd name="connsiteX9" fmla="*/ 7204668 w 11867103"/>
              <a:gd name="connsiteY9" fmla="*/ 2596 h 2957157"/>
              <a:gd name="connsiteX10" fmla="*/ 7285055 w 11867103"/>
              <a:gd name="connsiteY10" fmla="*/ 22693 h 2957157"/>
              <a:gd name="connsiteX11" fmla="*/ 7928150 w 11867103"/>
              <a:gd name="connsiteY11" fmla="*/ 52838 h 2957157"/>
              <a:gd name="connsiteX12" fmla="*/ 8109020 w 11867103"/>
              <a:gd name="connsiteY12" fmla="*/ 72935 h 2957157"/>
              <a:gd name="connsiteX13" fmla="*/ 8219552 w 11867103"/>
              <a:gd name="connsiteY13" fmla="*/ 82983 h 2957157"/>
              <a:gd name="connsiteX14" fmla="*/ 8299939 w 11867103"/>
              <a:gd name="connsiteY14" fmla="*/ 93032 h 2957157"/>
              <a:gd name="connsiteX15" fmla="*/ 8521002 w 11867103"/>
              <a:gd name="connsiteY15" fmla="*/ 103080 h 2957157"/>
              <a:gd name="connsiteX16" fmla="*/ 9515789 w 11867103"/>
              <a:gd name="connsiteY16" fmla="*/ 93032 h 2957157"/>
              <a:gd name="connsiteX17" fmla="*/ 9606224 w 11867103"/>
              <a:gd name="connsiteY17" fmla="*/ 82983 h 2957157"/>
              <a:gd name="connsiteX18" fmla="*/ 9716756 w 11867103"/>
              <a:gd name="connsiteY18" fmla="*/ 72935 h 2957157"/>
              <a:gd name="connsiteX19" fmla="*/ 9797143 w 11867103"/>
              <a:gd name="connsiteY19" fmla="*/ 62887 h 2957157"/>
              <a:gd name="connsiteX20" fmla="*/ 9947868 w 11867103"/>
              <a:gd name="connsiteY20" fmla="*/ 52838 h 2957157"/>
              <a:gd name="connsiteX21" fmla="*/ 10791930 w 11867103"/>
              <a:gd name="connsiteY21" fmla="*/ 22693 h 2957157"/>
              <a:gd name="connsiteX22" fmla="*/ 11736475 w 11867103"/>
              <a:gd name="connsiteY22" fmla="*/ 42790 h 2957157"/>
              <a:gd name="connsiteX23" fmla="*/ 11766620 w 11867103"/>
              <a:gd name="connsiteY23" fmla="*/ 72935 h 2957157"/>
              <a:gd name="connsiteX24" fmla="*/ 11786717 w 11867103"/>
              <a:gd name="connsiteY24" fmla="*/ 113128 h 2957157"/>
              <a:gd name="connsiteX25" fmla="*/ 11806813 w 11867103"/>
              <a:gd name="connsiteY25" fmla="*/ 203563 h 2957157"/>
              <a:gd name="connsiteX26" fmla="*/ 11816862 w 11867103"/>
              <a:gd name="connsiteY26" fmla="*/ 243757 h 2957157"/>
              <a:gd name="connsiteX27" fmla="*/ 11826910 w 11867103"/>
              <a:gd name="connsiteY27" fmla="*/ 334192 h 2957157"/>
              <a:gd name="connsiteX28" fmla="*/ 11836958 w 11867103"/>
              <a:gd name="connsiteY28" fmla="*/ 414579 h 2957157"/>
              <a:gd name="connsiteX29" fmla="*/ 11826910 w 11867103"/>
              <a:gd name="connsiteY29" fmla="*/ 726078 h 2957157"/>
              <a:gd name="connsiteX30" fmla="*/ 11816862 w 11867103"/>
              <a:gd name="connsiteY30" fmla="*/ 786368 h 2957157"/>
              <a:gd name="connsiteX31" fmla="*/ 11806813 w 11867103"/>
              <a:gd name="connsiteY31" fmla="*/ 856706 h 2957157"/>
              <a:gd name="connsiteX32" fmla="*/ 11816862 w 11867103"/>
              <a:gd name="connsiteY32" fmla="*/ 2323766 h 2957157"/>
              <a:gd name="connsiteX33" fmla="*/ 11826910 w 11867103"/>
              <a:gd name="connsiteY33" fmla="*/ 2394104 h 2957157"/>
              <a:gd name="connsiteX34" fmla="*/ 11836958 w 11867103"/>
              <a:gd name="connsiteY34" fmla="*/ 2424249 h 2957157"/>
              <a:gd name="connsiteX35" fmla="*/ 11857055 w 11867103"/>
              <a:gd name="connsiteY35" fmla="*/ 2554878 h 2957157"/>
              <a:gd name="connsiteX36" fmla="*/ 11867103 w 11867103"/>
              <a:gd name="connsiteY36" fmla="*/ 2595071 h 2957157"/>
              <a:gd name="connsiteX37" fmla="*/ 11857055 w 11867103"/>
              <a:gd name="connsiteY37" fmla="*/ 2826183 h 2957157"/>
              <a:gd name="connsiteX38" fmla="*/ 11836958 w 11867103"/>
              <a:gd name="connsiteY38" fmla="*/ 2856328 h 2957157"/>
              <a:gd name="connsiteX39" fmla="*/ 11033090 w 11867103"/>
              <a:gd name="connsiteY39" fmla="*/ 2846280 h 2957157"/>
              <a:gd name="connsiteX40" fmla="*/ 10621108 w 11867103"/>
              <a:gd name="connsiteY40" fmla="*/ 2836232 h 2957157"/>
              <a:gd name="connsiteX41" fmla="*/ 10128739 w 11867103"/>
              <a:gd name="connsiteY41" fmla="*/ 2846280 h 2957157"/>
              <a:gd name="connsiteX42" fmla="*/ 10048352 w 11867103"/>
              <a:gd name="connsiteY42" fmla="*/ 2856328 h 2957157"/>
              <a:gd name="connsiteX43" fmla="*/ 9555982 w 11867103"/>
              <a:gd name="connsiteY43" fmla="*/ 2846280 h 2957157"/>
              <a:gd name="connsiteX44" fmla="*/ 9445451 w 11867103"/>
              <a:gd name="connsiteY44" fmla="*/ 2836232 h 2957157"/>
              <a:gd name="connsiteX45" fmla="*/ 9415306 w 11867103"/>
              <a:gd name="connsiteY45" fmla="*/ 2816135 h 2957157"/>
              <a:gd name="connsiteX46" fmla="*/ 9204290 w 11867103"/>
              <a:gd name="connsiteY46" fmla="*/ 2796038 h 2957157"/>
              <a:gd name="connsiteX47" fmla="*/ 9073662 w 11867103"/>
              <a:gd name="connsiteY47" fmla="*/ 2775941 h 2957157"/>
              <a:gd name="connsiteX48" fmla="*/ 8812404 w 11867103"/>
              <a:gd name="connsiteY48" fmla="*/ 2765893 h 2957157"/>
              <a:gd name="connsiteX49" fmla="*/ 8400422 w 11867103"/>
              <a:gd name="connsiteY49" fmla="*/ 2755845 h 2957157"/>
              <a:gd name="connsiteX50" fmla="*/ 8269793 w 11867103"/>
              <a:gd name="connsiteY50" fmla="*/ 2745796 h 2957157"/>
              <a:gd name="connsiteX51" fmla="*/ 7797521 w 11867103"/>
              <a:gd name="connsiteY51" fmla="*/ 2765893 h 2957157"/>
              <a:gd name="connsiteX52" fmla="*/ 7717134 w 11867103"/>
              <a:gd name="connsiteY52" fmla="*/ 2775941 h 2957157"/>
              <a:gd name="connsiteX53" fmla="*/ 7486022 w 11867103"/>
              <a:gd name="connsiteY53" fmla="*/ 2806087 h 2957157"/>
              <a:gd name="connsiteX54" fmla="*/ 7395587 w 11867103"/>
              <a:gd name="connsiteY54" fmla="*/ 2826183 h 2957157"/>
              <a:gd name="connsiteX55" fmla="*/ 7325248 w 11867103"/>
              <a:gd name="connsiteY55" fmla="*/ 2836232 h 2957157"/>
              <a:gd name="connsiteX56" fmla="*/ 6863024 w 11867103"/>
              <a:gd name="connsiteY56" fmla="*/ 2826183 h 2957157"/>
              <a:gd name="connsiteX57" fmla="*/ 6722347 w 11867103"/>
              <a:gd name="connsiteY57" fmla="*/ 2816135 h 2957157"/>
              <a:gd name="connsiteX58" fmla="*/ 4903596 w 11867103"/>
              <a:gd name="connsiteY58" fmla="*/ 2866377 h 2957157"/>
              <a:gd name="connsiteX59" fmla="*/ 4722725 w 11867103"/>
              <a:gd name="connsiteY59" fmla="*/ 2906570 h 2957157"/>
              <a:gd name="connsiteX60" fmla="*/ 4300695 w 11867103"/>
              <a:gd name="connsiteY60" fmla="*/ 2886473 h 2957157"/>
              <a:gd name="connsiteX61" fmla="*/ 4059534 w 11867103"/>
              <a:gd name="connsiteY61" fmla="*/ 2846280 h 2957157"/>
              <a:gd name="connsiteX62" fmla="*/ 3768132 w 11867103"/>
              <a:gd name="connsiteY62" fmla="*/ 2816135 h 2957157"/>
              <a:gd name="connsiteX63" fmla="*/ 3627455 w 11867103"/>
              <a:gd name="connsiteY63" fmla="*/ 2806087 h 2957157"/>
              <a:gd name="connsiteX64" fmla="*/ 3125037 w 11867103"/>
              <a:gd name="connsiteY64" fmla="*/ 2816135 h 2957157"/>
              <a:gd name="connsiteX65" fmla="*/ 3064747 w 11867103"/>
              <a:gd name="connsiteY65" fmla="*/ 2826183 h 2957157"/>
              <a:gd name="connsiteX66" fmla="*/ 2009670 w 11867103"/>
              <a:gd name="connsiteY66" fmla="*/ 2836232 h 2957157"/>
              <a:gd name="connsiteX67" fmla="*/ 1678075 w 11867103"/>
              <a:gd name="connsiteY67" fmla="*/ 2926667 h 2957157"/>
              <a:gd name="connsiteX68" fmla="*/ 1607736 w 11867103"/>
              <a:gd name="connsiteY68" fmla="*/ 2956812 h 2957157"/>
              <a:gd name="connsiteX69" fmla="*/ 1135464 w 11867103"/>
              <a:gd name="connsiteY69" fmla="*/ 2936715 h 2957157"/>
              <a:gd name="connsiteX70" fmla="*/ 944545 w 11867103"/>
              <a:gd name="connsiteY70" fmla="*/ 2906570 h 2957157"/>
              <a:gd name="connsiteX71" fmla="*/ 723481 w 11867103"/>
              <a:gd name="connsiteY71" fmla="*/ 2866377 h 2957157"/>
              <a:gd name="connsiteX72" fmla="*/ 643095 w 11867103"/>
              <a:gd name="connsiteY72" fmla="*/ 2856328 h 2957157"/>
              <a:gd name="connsiteX73" fmla="*/ 371789 w 11867103"/>
              <a:gd name="connsiteY73" fmla="*/ 2816135 h 2957157"/>
              <a:gd name="connsiteX74" fmla="*/ 0 w 11867103"/>
              <a:gd name="connsiteY74" fmla="*/ 2806087 h 2957157"/>
              <a:gd name="connsiteX0" fmla="*/ 120580 w 11867103"/>
              <a:gd name="connsiteY0" fmla="*/ 40596 h 2954963"/>
              <a:gd name="connsiteX1" fmla="*/ 281354 w 11867103"/>
              <a:gd name="connsiteY1" fmla="*/ 30547 h 2954963"/>
              <a:gd name="connsiteX2" fmla="*/ 673240 w 11867103"/>
              <a:gd name="connsiteY2" fmla="*/ 20499 h 2954963"/>
              <a:gd name="connsiteX3" fmla="*/ 1356528 w 11867103"/>
              <a:gd name="connsiteY3" fmla="*/ 70741 h 2954963"/>
              <a:gd name="connsiteX4" fmla="*/ 1758462 w 11867103"/>
              <a:gd name="connsiteY4" fmla="*/ 30547 h 2954963"/>
              <a:gd name="connsiteX5" fmla="*/ 2140299 w 11867103"/>
              <a:gd name="connsiteY5" fmla="*/ 30547 h 2954963"/>
              <a:gd name="connsiteX6" fmla="*/ 4652387 w 11867103"/>
              <a:gd name="connsiteY6" fmla="*/ 50644 h 2954963"/>
              <a:gd name="connsiteX7" fmla="*/ 4692580 w 11867103"/>
              <a:gd name="connsiteY7" fmla="*/ 60693 h 2954963"/>
              <a:gd name="connsiteX8" fmla="*/ 6420897 w 11867103"/>
              <a:gd name="connsiteY8" fmla="*/ 80789 h 2954963"/>
              <a:gd name="connsiteX9" fmla="*/ 7204668 w 11867103"/>
              <a:gd name="connsiteY9" fmla="*/ 402 h 2954963"/>
              <a:gd name="connsiteX10" fmla="*/ 7928150 w 11867103"/>
              <a:gd name="connsiteY10" fmla="*/ 50644 h 2954963"/>
              <a:gd name="connsiteX11" fmla="*/ 8109020 w 11867103"/>
              <a:gd name="connsiteY11" fmla="*/ 70741 h 2954963"/>
              <a:gd name="connsiteX12" fmla="*/ 8219552 w 11867103"/>
              <a:gd name="connsiteY12" fmla="*/ 80789 h 2954963"/>
              <a:gd name="connsiteX13" fmla="*/ 8299939 w 11867103"/>
              <a:gd name="connsiteY13" fmla="*/ 90838 h 2954963"/>
              <a:gd name="connsiteX14" fmla="*/ 8521002 w 11867103"/>
              <a:gd name="connsiteY14" fmla="*/ 100886 h 2954963"/>
              <a:gd name="connsiteX15" fmla="*/ 9515789 w 11867103"/>
              <a:gd name="connsiteY15" fmla="*/ 90838 h 2954963"/>
              <a:gd name="connsiteX16" fmla="*/ 9606224 w 11867103"/>
              <a:gd name="connsiteY16" fmla="*/ 80789 h 2954963"/>
              <a:gd name="connsiteX17" fmla="*/ 9716756 w 11867103"/>
              <a:gd name="connsiteY17" fmla="*/ 70741 h 2954963"/>
              <a:gd name="connsiteX18" fmla="*/ 9797143 w 11867103"/>
              <a:gd name="connsiteY18" fmla="*/ 60693 h 2954963"/>
              <a:gd name="connsiteX19" fmla="*/ 9947868 w 11867103"/>
              <a:gd name="connsiteY19" fmla="*/ 50644 h 2954963"/>
              <a:gd name="connsiteX20" fmla="*/ 10791930 w 11867103"/>
              <a:gd name="connsiteY20" fmla="*/ 20499 h 2954963"/>
              <a:gd name="connsiteX21" fmla="*/ 11736475 w 11867103"/>
              <a:gd name="connsiteY21" fmla="*/ 40596 h 2954963"/>
              <a:gd name="connsiteX22" fmla="*/ 11766620 w 11867103"/>
              <a:gd name="connsiteY22" fmla="*/ 70741 h 2954963"/>
              <a:gd name="connsiteX23" fmla="*/ 11786717 w 11867103"/>
              <a:gd name="connsiteY23" fmla="*/ 110934 h 2954963"/>
              <a:gd name="connsiteX24" fmla="*/ 11806813 w 11867103"/>
              <a:gd name="connsiteY24" fmla="*/ 201369 h 2954963"/>
              <a:gd name="connsiteX25" fmla="*/ 11816862 w 11867103"/>
              <a:gd name="connsiteY25" fmla="*/ 241563 h 2954963"/>
              <a:gd name="connsiteX26" fmla="*/ 11826910 w 11867103"/>
              <a:gd name="connsiteY26" fmla="*/ 331998 h 2954963"/>
              <a:gd name="connsiteX27" fmla="*/ 11836958 w 11867103"/>
              <a:gd name="connsiteY27" fmla="*/ 412385 h 2954963"/>
              <a:gd name="connsiteX28" fmla="*/ 11826910 w 11867103"/>
              <a:gd name="connsiteY28" fmla="*/ 723884 h 2954963"/>
              <a:gd name="connsiteX29" fmla="*/ 11816862 w 11867103"/>
              <a:gd name="connsiteY29" fmla="*/ 784174 h 2954963"/>
              <a:gd name="connsiteX30" fmla="*/ 11806813 w 11867103"/>
              <a:gd name="connsiteY30" fmla="*/ 854512 h 2954963"/>
              <a:gd name="connsiteX31" fmla="*/ 11816862 w 11867103"/>
              <a:gd name="connsiteY31" fmla="*/ 2321572 h 2954963"/>
              <a:gd name="connsiteX32" fmla="*/ 11826910 w 11867103"/>
              <a:gd name="connsiteY32" fmla="*/ 2391910 h 2954963"/>
              <a:gd name="connsiteX33" fmla="*/ 11836958 w 11867103"/>
              <a:gd name="connsiteY33" fmla="*/ 2422055 h 2954963"/>
              <a:gd name="connsiteX34" fmla="*/ 11857055 w 11867103"/>
              <a:gd name="connsiteY34" fmla="*/ 2552684 h 2954963"/>
              <a:gd name="connsiteX35" fmla="*/ 11867103 w 11867103"/>
              <a:gd name="connsiteY35" fmla="*/ 2592877 h 2954963"/>
              <a:gd name="connsiteX36" fmla="*/ 11857055 w 11867103"/>
              <a:gd name="connsiteY36" fmla="*/ 2823989 h 2954963"/>
              <a:gd name="connsiteX37" fmla="*/ 11836958 w 11867103"/>
              <a:gd name="connsiteY37" fmla="*/ 2854134 h 2954963"/>
              <a:gd name="connsiteX38" fmla="*/ 11033090 w 11867103"/>
              <a:gd name="connsiteY38" fmla="*/ 2844086 h 2954963"/>
              <a:gd name="connsiteX39" fmla="*/ 10621108 w 11867103"/>
              <a:gd name="connsiteY39" fmla="*/ 2834038 h 2954963"/>
              <a:gd name="connsiteX40" fmla="*/ 10128739 w 11867103"/>
              <a:gd name="connsiteY40" fmla="*/ 2844086 h 2954963"/>
              <a:gd name="connsiteX41" fmla="*/ 10048352 w 11867103"/>
              <a:gd name="connsiteY41" fmla="*/ 2854134 h 2954963"/>
              <a:gd name="connsiteX42" fmla="*/ 9555982 w 11867103"/>
              <a:gd name="connsiteY42" fmla="*/ 2844086 h 2954963"/>
              <a:gd name="connsiteX43" fmla="*/ 9445451 w 11867103"/>
              <a:gd name="connsiteY43" fmla="*/ 2834038 h 2954963"/>
              <a:gd name="connsiteX44" fmla="*/ 9415306 w 11867103"/>
              <a:gd name="connsiteY44" fmla="*/ 2813941 h 2954963"/>
              <a:gd name="connsiteX45" fmla="*/ 9204290 w 11867103"/>
              <a:gd name="connsiteY45" fmla="*/ 2793844 h 2954963"/>
              <a:gd name="connsiteX46" fmla="*/ 9073662 w 11867103"/>
              <a:gd name="connsiteY46" fmla="*/ 2773747 h 2954963"/>
              <a:gd name="connsiteX47" fmla="*/ 8812404 w 11867103"/>
              <a:gd name="connsiteY47" fmla="*/ 2763699 h 2954963"/>
              <a:gd name="connsiteX48" fmla="*/ 8400422 w 11867103"/>
              <a:gd name="connsiteY48" fmla="*/ 2753651 h 2954963"/>
              <a:gd name="connsiteX49" fmla="*/ 8269793 w 11867103"/>
              <a:gd name="connsiteY49" fmla="*/ 2743602 h 2954963"/>
              <a:gd name="connsiteX50" fmla="*/ 7797521 w 11867103"/>
              <a:gd name="connsiteY50" fmla="*/ 2763699 h 2954963"/>
              <a:gd name="connsiteX51" fmla="*/ 7717134 w 11867103"/>
              <a:gd name="connsiteY51" fmla="*/ 2773747 h 2954963"/>
              <a:gd name="connsiteX52" fmla="*/ 7486022 w 11867103"/>
              <a:gd name="connsiteY52" fmla="*/ 2803893 h 2954963"/>
              <a:gd name="connsiteX53" fmla="*/ 7395587 w 11867103"/>
              <a:gd name="connsiteY53" fmla="*/ 2823989 h 2954963"/>
              <a:gd name="connsiteX54" fmla="*/ 7325248 w 11867103"/>
              <a:gd name="connsiteY54" fmla="*/ 2834038 h 2954963"/>
              <a:gd name="connsiteX55" fmla="*/ 6863024 w 11867103"/>
              <a:gd name="connsiteY55" fmla="*/ 2823989 h 2954963"/>
              <a:gd name="connsiteX56" fmla="*/ 6722347 w 11867103"/>
              <a:gd name="connsiteY56" fmla="*/ 2813941 h 2954963"/>
              <a:gd name="connsiteX57" fmla="*/ 4903596 w 11867103"/>
              <a:gd name="connsiteY57" fmla="*/ 2864183 h 2954963"/>
              <a:gd name="connsiteX58" fmla="*/ 4722725 w 11867103"/>
              <a:gd name="connsiteY58" fmla="*/ 2904376 h 2954963"/>
              <a:gd name="connsiteX59" fmla="*/ 4300695 w 11867103"/>
              <a:gd name="connsiteY59" fmla="*/ 2884279 h 2954963"/>
              <a:gd name="connsiteX60" fmla="*/ 4059534 w 11867103"/>
              <a:gd name="connsiteY60" fmla="*/ 2844086 h 2954963"/>
              <a:gd name="connsiteX61" fmla="*/ 3768132 w 11867103"/>
              <a:gd name="connsiteY61" fmla="*/ 2813941 h 2954963"/>
              <a:gd name="connsiteX62" fmla="*/ 3627455 w 11867103"/>
              <a:gd name="connsiteY62" fmla="*/ 2803893 h 2954963"/>
              <a:gd name="connsiteX63" fmla="*/ 3125037 w 11867103"/>
              <a:gd name="connsiteY63" fmla="*/ 2813941 h 2954963"/>
              <a:gd name="connsiteX64" fmla="*/ 3064747 w 11867103"/>
              <a:gd name="connsiteY64" fmla="*/ 2823989 h 2954963"/>
              <a:gd name="connsiteX65" fmla="*/ 2009670 w 11867103"/>
              <a:gd name="connsiteY65" fmla="*/ 2834038 h 2954963"/>
              <a:gd name="connsiteX66" fmla="*/ 1678075 w 11867103"/>
              <a:gd name="connsiteY66" fmla="*/ 2924473 h 2954963"/>
              <a:gd name="connsiteX67" fmla="*/ 1607736 w 11867103"/>
              <a:gd name="connsiteY67" fmla="*/ 2954618 h 2954963"/>
              <a:gd name="connsiteX68" fmla="*/ 1135464 w 11867103"/>
              <a:gd name="connsiteY68" fmla="*/ 2934521 h 2954963"/>
              <a:gd name="connsiteX69" fmla="*/ 944545 w 11867103"/>
              <a:gd name="connsiteY69" fmla="*/ 2904376 h 2954963"/>
              <a:gd name="connsiteX70" fmla="*/ 723481 w 11867103"/>
              <a:gd name="connsiteY70" fmla="*/ 2864183 h 2954963"/>
              <a:gd name="connsiteX71" fmla="*/ 643095 w 11867103"/>
              <a:gd name="connsiteY71" fmla="*/ 2854134 h 2954963"/>
              <a:gd name="connsiteX72" fmla="*/ 371789 w 11867103"/>
              <a:gd name="connsiteY72" fmla="*/ 2813941 h 2954963"/>
              <a:gd name="connsiteX73" fmla="*/ 0 w 11867103"/>
              <a:gd name="connsiteY73" fmla="*/ 2803893 h 2954963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109020 w 11867103"/>
              <a:gd name="connsiteY11" fmla="*/ 52092 h 2936314"/>
              <a:gd name="connsiteX12" fmla="*/ 8219552 w 11867103"/>
              <a:gd name="connsiteY12" fmla="*/ 62140 h 2936314"/>
              <a:gd name="connsiteX13" fmla="*/ 8299939 w 11867103"/>
              <a:gd name="connsiteY13" fmla="*/ 72189 h 2936314"/>
              <a:gd name="connsiteX14" fmla="*/ 8521002 w 11867103"/>
              <a:gd name="connsiteY14" fmla="*/ 82237 h 2936314"/>
              <a:gd name="connsiteX15" fmla="*/ 9515789 w 11867103"/>
              <a:gd name="connsiteY15" fmla="*/ 72189 h 2936314"/>
              <a:gd name="connsiteX16" fmla="*/ 9606224 w 11867103"/>
              <a:gd name="connsiteY16" fmla="*/ 62140 h 2936314"/>
              <a:gd name="connsiteX17" fmla="*/ 9716756 w 11867103"/>
              <a:gd name="connsiteY17" fmla="*/ 52092 h 2936314"/>
              <a:gd name="connsiteX18" fmla="*/ 9797143 w 11867103"/>
              <a:gd name="connsiteY18" fmla="*/ 42044 h 2936314"/>
              <a:gd name="connsiteX19" fmla="*/ 9947868 w 11867103"/>
              <a:gd name="connsiteY19" fmla="*/ 31995 h 2936314"/>
              <a:gd name="connsiteX20" fmla="*/ 10791930 w 11867103"/>
              <a:gd name="connsiteY20" fmla="*/ 1850 h 2936314"/>
              <a:gd name="connsiteX21" fmla="*/ 11736475 w 11867103"/>
              <a:gd name="connsiteY21" fmla="*/ 21947 h 2936314"/>
              <a:gd name="connsiteX22" fmla="*/ 11766620 w 11867103"/>
              <a:gd name="connsiteY22" fmla="*/ 52092 h 2936314"/>
              <a:gd name="connsiteX23" fmla="*/ 11786717 w 11867103"/>
              <a:gd name="connsiteY23" fmla="*/ 92285 h 2936314"/>
              <a:gd name="connsiteX24" fmla="*/ 11806813 w 11867103"/>
              <a:gd name="connsiteY24" fmla="*/ 182720 h 2936314"/>
              <a:gd name="connsiteX25" fmla="*/ 11816862 w 11867103"/>
              <a:gd name="connsiteY25" fmla="*/ 222914 h 2936314"/>
              <a:gd name="connsiteX26" fmla="*/ 11826910 w 11867103"/>
              <a:gd name="connsiteY26" fmla="*/ 313349 h 2936314"/>
              <a:gd name="connsiteX27" fmla="*/ 11836958 w 11867103"/>
              <a:gd name="connsiteY27" fmla="*/ 393736 h 2936314"/>
              <a:gd name="connsiteX28" fmla="*/ 11826910 w 11867103"/>
              <a:gd name="connsiteY28" fmla="*/ 705235 h 2936314"/>
              <a:gd name="connsiteX29" fmla="*/ 11816862 w 11867103"/>
              <a:gd name="connsiteY29" fmla="*/ 765525 h 2936314"/>
              <a:gd name="connsiteX30" fmla="*/ 11806813 w 11867103"/>
              <a:gd name="connsiteY30" fmla="*/ 835863 h 2936314"/>
              <a:gd name="connsiteX31" fmla="*/ 11816862 w 11867103"/>
              <a:gd name="connsiteY31" fmla="*/ 2302923 h 2936314"/>
              <a:gd name="connsiteX32" fmla="*/ 11826910 w 11867103"/>
              <a:gd name="connsiteY32" fmla="*/ 2373261 h 2936314"/>
              <a:gd name="connsiteX33" fmla="*/ 11836958 w 11867103"/>
              <a:gd name="connsiteY33" fmla="*/ 2403406 h 2936314"/>
              <a:gd name="connsiteX34" fmla="*/ 11857055 w 11867103"/>
              <a:gd name="connsiteY34" fmla="*/ 2534035 h 2936314"/>
              <a:gd name="connsiteX35" fmla="*/ 11867103 w 11867103"/>
              <a:gd name="connsiteY35" fmla="*/ 2574228 h 2936314"/>
              <a:gd name="connsiteX36" fmla="*/ 11857055 w 11867103"/>
              <a:gd name="connsiteY36" fmla="*/ 2805340 h 2936314"/>
              <a:gd name="connsiteX37" fmla="*/ 11836958 w 11867103"/>
              <a:gd name="connsiteY37" fmla="*/ 2835485 h 2936314"/>
              <a:gd name="connsiteX38" fmla="*/ 11033090 w 11867103"/>
              <a:gd name="connsiteY38" fmla="*/ 2825437 h 2936314"/>
              <a:gd name="connsiteX39" fmla="*/ 10621108 w 11867103"/>
              <a:gd name="connsiteY39" fmla="*/ 2815389 h 2936314"/>
              <a:gd name="connsiteX40" fmla="*/ 10128739 w 11867103"/>
              <a:gd name="connsiteY40" fmla="*/ 2825437 h 2936314"/>
              <a:gd name="connsiteX41" fmla="*/ 10048352 w 11867103"/>
              <a:gd name="connsiteY41" fmla="*/ 2835485 h 2936314"/>
              <a:gd name="connsiteX42" fmla="*/ 9555982 w 11867103"/>
              <a:gd name="connsiteY42" fmla="*/ 2825437 h 2936314"/>
              <a:gd name="connsiteX43" fmla="*/ 9445451 w 11867103"/>
              <a:gd name="connsiteY43" fmla="*/ 2815389 h 2936314"/>
              <a:gd name="connsiteX44" fmla="*/ 9415306 w 11867103"/>
              <a:gd name="connsiteY44" fmla="*/ 2795292 h 2936314"/>
              <a:gd name="connsiteX45" fmla="*/ 9204290 w 11867103"/>
              <a:gd name="connsiteY45" fmla="*/ 2775195 h 2936314"/>
              <a:gd name="connsiteX46" fmla="*/ 9073662 w 11867103"/>
              <a:gd name="connsiteY46" fmla="*/ 2755098 h 2936314"/>
              <a:gd name="connsiteX47" fmla="*/ 8812404 w 11867103"/>
              <a:gd name="connsiteY47" fmla="*/ 2745050 h 2936314"/>
              <a:gd name="connsiteX48" fmla="*/ 8400422 w 11867103"/>
              <a:gd name="connsiteY48" fmla="*/ 2735002 h 2936314"/>
              <a:gd name="connsiteX49" fmla="*/ 8269793 w 11867103"/>
              <a:gd name="connsiteY49" fmla="*/ 2724953 h 2936314"/>
              <a:gd name="connsiteX50" fmla="*/ 7797521 w 11867103"/>
              <a:gd name="connsiteY50" fmla="*/ 2745050 h 2936314"/>
              <a:gd name="connsiteX51" fmla="*/ 7717134 w 11867103"/>
              <a:gd name="connsiteY51" fmla="*/ 2755098 h 2936314"/>
              <a:gd name="connsiteX52" fmla="*/ 7486022 w 11867103"/>
              <a:gd name="connsiteY52" fmla="*/ 2785244 h 2936314"/>
              <a:gd name="connsiteX53" fmla="*/ 7395587 w 11867103"/>
              <a:gd name="connsiteY53" fmla="*/ 2805340 h 2936314"/>
              <a:gd name="connsiteX54" fmla="*/ 7325248 w 11867103"/>
              <a:gd name="connsiteY54" fmla="*/ 2815389 h 2936314"/>
              <a:gd name="connsiteX55" fmla="*/ 6863024 w 11867103"/>
              <a:gd name="connsiteY55" fmla="*/ 2805340 h 2936314"/>
              <a:gd name="connsiteX56" fmla="*/ 6722347 w 11867103"/>
              <a:gd name="connsiteY56" fmla="*/ 2795292 h 2936314"/>
              <a:gd name="connsiteX57" fmla="*/ 4903596 w 11867103"/>
              <a:gd name="connsiteY57" fmla="*/ 2845534 h 2936314"/>
              <a:gd name="connsiteX58" fmla="*/ 4722725 w 11867103"/>
              <a:gd name="connsiteY58" fmla="*/ 2885727 h 2936314"/>
              <a:gd name="connsiteX59" fmla="*/ 4300695 w 11867103"/>
              <a:gd name="connsiteY59" fmla="*/ 2865630 h 2936314"/>
              <a:gd name="connsiteX60" fmla="*/ 4059534 w 11867103"/>
              <a:gd name="connsiteY60" fmla="*/ 2825437 h 2936314"/>
              <a:gd name="connsiteX61" fmla="*/ 3768132 w 11867103"/>
              <a:gd name="connsiteY61" fmla="*/ 2795292 h 2936314"/>
              <a:gd name="connsiteX62" fmla="*/ 3627455 w 11867103"/>
              <a:gd name="connsiteY62" fmla="*/ 2785244 h 2936314"/>
              <a:gd name="connsiteX63" fmla="*/ 3125037 w 11867103"/>
              <a:gd name="connsiteY63" fmla="*/ 2795292 h 2936314"/>
              <a:gd name="connsiteX64" fmla="*/ 3064747 w 11867103"/>
              <a:gd name="connsiteY64" fmla="*/ 2805340 h 2936314"/>
              <a:gd name="connsiteX65" fmla="*/ 2009670 w 11867103"/>
              <a:gd name="connsiteY65" fmla="*/ 2815389 h 2936314"/>
              <a:gd name="connsiteX66" fmla="*/ 1678075 w 11867103"/>
              <a:gd name="connsiteY66" fmla="*/ 2905824 h 2936314"/>
              <a:gd name="connsiteX67" fmla="*/ 1607736 w 11867103"/>
              <a:gd name="connsiteY67" fmla="*/ 2935969 h 2936314"/>
              <a:gd name="connsiteX68" fmla="*/ 1135464 w 11867103"/>
              <a:gd name="connsiteY68" fmla="*/ 2915872 h 2936314"/>
              <a:gd name="connsiteX69" fmla="*/ 944545 w 11867103"/>
              <a:gd name="connsiteY69" fmla="*/ 2885727 h 2936314"/>
              <a:gd name="connsiteX70" fmla="*/ 723481 w 11867103"/>
              <a:gd name="connsiteY70" fmla="*/ 2845534 h 2936314"/>
              <a:gd name="connsiteX71" fmla="*/ 643095 w 11867103"/>
              <a:gd name="connsiteY71" fmla="*/ 2835485 h 2936314"/>
              <a:gd name="connsiteX72" fmla="*/ 371789 w 11867103"/>
              <a:gd name="connsiteY72" fmla="*/ 2795292 h 2936314"/>
              <a:gd name="connsiteX73" fmla="*/ 0 w 11867103"/>
              <a:gd name="connsiteY73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8299939 w 11867103"/>
              <a:gd name="connsiteY12" fmla="*/ 72189 h 2936314"/>
              <a:gd name="connsiteX13" fmla="*/ 8521002 w 11867103"/>
              <a:gd name="connsiteY13" fmla="*/ 82237 h 2936314"/>
              <a:gd name="connsiteX14" fmla="*/ 9515789 w 11867103"/>
              <a:gd name="connsiteY14" fmla="*/ 72189 h 2936314"/>
              <a:gd name="connsiteX15" fmla="*/ 9606224 w 11867103"/>
              <a:gd name="connsiteY15" fmla="*/ 62140 h 2936314"/>
              <a:gd name="connsiteX16" fmla="*/ 9716756 w 11867103"/>
              <a:gd name="connsiteY16" fmla="*/ 52092 h 2936314"/>
              <a:gd name="connsiteX17" fmla="*/ 9797143 w 11867103"/>
              <a:gd name="connsiteY17" fmla="*/ 42044 h 2936314"/>
              <a:gd name="connsiteX18" fmla="*/ 9947868 w 11867103"/>
              <a:gd name="connsiteY18" fmla="*/ 31995 h 2936314"/>
              <a:gd name="connsiteX19" fmla="*/ 10791930 w 11867103"/>
              <a:gd name="connsiteY19" fmla="*/ 1850 h 2936314"/>
              <a:gd name="connsiteX20" fmla="*/ 11736475 w 11867103"/>
              <a:gd name="connsiteY20" fmla="*/ 21947 h 2936314"/>
              <a:gd name="connsiteX21" fmla="*/ 11766620 w 11867103"/>
              <a:gd name="connsiteY21" fmla="*/ 52092 h 2936314"/>
              <a:gd name="connsiteX22" fmla="*/ 11786717 w 11867103"/>
              <a:gd name="connsiteY22" fmla="*/ 92285 h 2936314"/>
              <a:gd name="connsiteX23" fmla="*/ 11806813 w 11867103"/>
              <a:gd name="connsiteY23" fmla="*/ 182720 h 2936314"/>
              <a:gd name="connsiteX24" fmla="*/ 11816862 w 11867103"/>
              <a:gd name="connsiteY24" fmla="*/ 222914 h 2936314"/>
              <a:gd name="connsiteX25" fmla="*/ 11826910 w 11867103"/>
              <a:gd name="connsiteY25" fmla="*/ 313349 h 2936314"/>
              <a:gd name="connsiteX26" fmla="*/ 11836958 w 11867103"/>
              <a:gd name="connsiteY26" fmla="*/ 393736 h 2936314"/>
              <a:gd name="connsiteX27" fmla="*/ 11826910 w 11867103"/>
              <a:gd name="connsiteY27" fmla="*/ 705235 h 2936314"/>
              <a:gd name="connsiteX28" fmla="*/ 11816862 w 11867103"/>
              <a:gd name="connsiteY28" fmla="*/ 765525 h 2936314"/>
              <a:gd name="connsiteX29" fmla="*/ 11806813 w 11867103"/>
              <a:gd name="connsiteY29" fmla="*/ 835863 h 2936314"/>
              <a:gd name="connsiteX30" fmla="*/ 11816862 w 11867103"/>
              <a:gd name="connsiteY30" fmla="*/ 2302923 h 2936314"/>
              <a:gd name="connsiteX31" fmla="*/ 11826910 w 11867103"/>
              <a:gd name="connsiteY31" fmla="*/ 2373261 h 2936314"/>
              <a:gd name="connsiteX32" fmla="*/ 11836958 w 11867103"/>
              <a:gd name="connsiteY32" fmla="*/ 2403406 h 2936314"/>
              <a:gd name="connsiteX33" fmla="*/ 11857055 w 11867103"/>
              <a:gd name="connsiteY33" fmla="*/ 2534035 h 2936314"/>
              <a:gd name="connsiteX34" fmla="*/ 11867103 w 11867103"/>
              <a:gd name="connsiteY34" fmla="*/ 2574228 h 2936314"/>
              <a:gd name="connsiteX35" fmla="*/ 11857055 w 11867103"/>
              <a:gd name="connsiteY35" fmla="*/ 2805340 h 2936314"/>
              <a:gd name="connsiteX36" fmla="*/ 11836958 w 11867103"/>
              <a:gd name="connsiteY36" fmla="*/ 2835485 h 2936314"/>
              <a:gd name="connsiteX37" fmla="*/ 11033090 w 11867103"/>
              <a:gd name="connsiteY37" fmla="*/ 2825437 h 2936314"/>
              <a:gd name="connsiteX38" fmla="*/ 10621108 w 11867103"/>
              <a:gd name="connsiteY38" fmla="*/ 2815389 h 2936314"/>
              <a:gd name="connsiteX39" fmla="*/ 10128739 w 11867103"/>
              <a:gd name="connsiteY39" fmla="*/ 2825437 h 2936314"/>
              <a:gd name="connsiteX40" fmla="*/ 10048352 w 11867103"/>
              <a:gd name="connsiteY40" fmla="*/ 2835485 h 2936314"/>
              <a:gd name="connsiteX41" fmla="*/ 9555982 w 11867103"/>
              <a:gd name="connsiteY41" fmla="*/ 2825437 h 2936314"/>
              <a:gd name="connsiteX42" fmla="*/ 9445451 w 11867103"/>
              <a:gd name="connsiteY42" fmla="*/ 2815389 h 2936314"/>
              <a:gd name="connsiteX43" fmla="*/ 9415306 w 11867103"/>
              <a:gd name="connsiteY43" fmla="*/ 2795292 h 2936314"/>
              <a:gd name="connsiteX44" fmla="*/ 9204290 w 11867103"/>
              <a:gd name="connsiteY44" fmla="*/ 2775195 h 2936314"/>
              <a:gd name="connsiteX45" fmla="*/ 9073662 w 11867103"/>
              <a:gd name="connsiteY45" fmla="*/ 2755098 h 2936314"/>
              <a:gd name="connsiteX46" fmla="*/ 8812404 w 11867103"/>
              <a:gd name="connsiteY46" fmla="*/ 2745050 h 2936314"/>
              <a:gd name="connsiteX47" fmla="*/ 8400422 w 11867103"/>
              <a:gd name="connsiteY47" fmla="*/ 2735002 h 2936314"/>
              <a:gd name="connsiteX48" fmla="*/ 8269793 w 11867103"/>
              <a:gd name="connsiteY48" fmla="*/ 2724953 h 2936314"/>
              <a:gd name="connsiteX49" fmla="*/ 7797521 w 11867103"/>
              <a:gd name="connsiteY49" fmla="*/ 2745050 h 2936314"/>
              <a:gd name="connsiteX50" fmla="*/ 7717134 w 11867103"/>
              <a:gd name="connsiteY50" fmla="*/ 2755098 h 2936314"/>
              <a:gd name="connsiteX51" fmla="*/ 7486022 w 11867103"/>
              <a:gd name="connsiteY51" fmla="*/ 2785244 h 2936314"/>
              <a:gd name="connsiteX52" fmla="*/ 7395587 w 11867103"/>
              <a:gd name="connsiteY52" fmla="*/ 2805340 h 2936314"/>
              <a:gd name="connsiteX53" fmla="*/ 7325248 w 11867103"/>
              <a:gd name="connsiteY53" fmla="*/ 2815389 h 2936314"/>
              <a:gd name="connsiteX54" fmla="*/ 6863024 w 11867103"/>
              <a:gd name="connsiteY54" fmla="*/ 2805340 h 2936314"/>
              <a:gd name="connsiteX55" fmla="*/ 6722347 w 11867103"/>
              <a:gd name="connsiteY55" fmla="*/ 2795292 h 2936314"/>
              <a:gd name="connsiteX56" fmla="*/ 4903596 w 11867103"/>
              <a:gd name="connsiteY56" fmla="*/ 2845534 h 2936314"/>
              <a:gd name="connsiteX57" fmla="*/ 4722725 w 11867103"/>
              <a:gd name="connsiteY57" fmla="*/ 2885727 h 2936314"/>
              <a:gd name="connsiteX58" fmla="*/ 4300695 w 11867103"/>
              <a:gd name="connsiteY58" fmla="*/ 2865630 h 2936314"/>
              <a:gd name="connsiteX59" fmla="*/ 4059534 w 11867103"/>
              <a:gd name="connsiteY59" fmla="*/ 2825437 h 2936314"/>
              <a:gd name="connsiteX60" fmla="*/ 3768132 w 11867103"/>
              <a:gd name="connsiteY60" fmla="*/ 2795292 h 2936314"/>
              <a:gd name="connsiteX61" fmla="*/ 3627455 w 11867103"/>
              <a:gd name="connsiteY61" fmla="*/ 2785244 h 2936314"/>
              <a:gd name="connsiteX62" fmla="*/ 3125037 w 11867103"/>
              <a:gd name="connsiteY62" fmla="*/ 2795292 h 2936314"/>
              <a:gd name="connsiteX63" fmla="*/ 3064747 w 11867103"/>
              <a:gd name="connsiteY63" fmla="*/ 2805340 h 2936314"/>
              <a:gd name="connsiteX64" fmla="*/ 2009670 w 11867103"/>
              <a:gd name="connsiteY64" fmla="*/ 2815389 h 2936314"/>
              <a:gd name="connsiteX65" fmla="*/ 1678075 w 11867103"/>
              <a:gd name="connsiteY65" fmla="*/ 2905824 h 2936314"/>
              <a:gd name="connsiteX66" fmla="*/ 1607736 w 11867103"/>
              <a:gd name="connsiteY66" fmla="*/ 2935969 h 2936314"/>
              <a:gd name="connsiteX67" fmla="*/ 1135464 w 11867103"/>
              <a:gd name="connsiteY67" fmla="*/ 2915872 h 2936314"/>
              <a:gd name="connsiteX68" fmla="*/ 944545 w 11867103"/>
              <a:gd name="connsiteY68" fmla="*/ 2885727 h 2936314"/>
              <a:gd name="connsiteX69" fmla="*/ 723481 w 11867103"/>
              <a:gd name="connsiteY69" fmla="*/ 2845534 h 2936314"/>
              <a:gd name="connsiteX70" fmla="*/ 643095 w 11867103"/>
              <a:gd name="connsiteY70" fmla="*/ 2835485 h 2936314"/>
              <a:gd name="connsiteX71" fmla="*/ 371789 w 11867103"/>
              <a:gd name="connsiteY71" fmla="*/ 2795292 h 2936314"/>
              <a:gd name="connsiteX72" fmla="*/ 0 w 11867103"/>
              <a:gd name="connsiteY72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8521002 w 11867103"/>
              <a:gd name="connsiteY12" fmla="*/ 82237 h 2936314"/>
              <a:gd name="connsiteX13" fmla="*/ 9515789 w 11867103"/>
              <a:gd name="connsiteY13" fmla="*/ 72189 h 2936314"/>
              <a:gd name="connsiteX14" fmla="*/ 9606224 w 11867103"/>
              <a:gd name="connsiteY14" fmla="*/ 62140 h 2936314"/>
              <a:gd name="connsiteX15" fmla="*/ 9716756 w 11867103"/>
              <a:gd name="connsiteY15" fmla="*/ 52092 h 2936314"/>
              <a:gd name="connsiteX16" fmla="*/ 9797143 w 11867103"/>
              <a:gd name="connsiteY16" fmla="*/ 42044 h 2936314"/>
              <a:gd name="connsiteX17" fmla="*/ 9947868 w 11867103"/>
              <a:gd name="connsiteY17" fmla="*/ 31995 h 2936314"/>
              <a:gd name="connsiteX18" fmla="*/ 10791930 w 11867103"/>
              <a:gd name="connsiteY18" fmla="*/ 1850 h 2936314"/>
              <a:gd name="connsiteX19" fmla="*/ 11736475 w 11867103"/>
              <a:gd name="connsiteY19" fmla="*/ 21947 h 2936314"/>
              <a:gd name="connsiteX20" fmla="*/ 11766620 w 11867103"/>
              <a:gd name="connsiteY20" fmla="*/ 52092 h 2936314"/>
              <a:gd name="connsiteX21" fmla="*/ 11786717 w 11867103"/>
              <a:gd name="connsiteY21" fmla="*/ 92285 h 2936314"/>
              <a:gd name="connsiteX22" fmla="*/ 11806813 w 11867103"/>
              <a:gd name="connsiteY22" fmla="*/ 182720 h 2936314"/>
              <a:gd name="connsiteX23" fmla="*/ 11816862 w 11867103"/>
              <a:gd name="connsiteY23" fmla="*/ 222914 h 2936314"/>
              <a:gd name="connsiteX24" fmla="*/ 11826910 w 11867103"/>
              <a:gd name="connsiteY24" fmla="*/ 313349 h 2936314"/>
              <a:gd name="connsiteX25" fmla="*/ 11836958 w 11867103"/>
              <a:gd name="connsiteY25" fmla="*/ 393736 h 2936314"/>
              <a:gd name="connsiteX26" fmla="*/ 11826910 w 11867103"/>
              <a:gd name="connsiteY26" fmla="*/ 705235 h 2936314"/>
              <a:gd name="connsiteX27" fmla="*/ 11816862 w 11867103"/>
              <a:gd name="connsiteY27" fmla="*/ 765525 h 2936314"/>
              <a:gd name="connsiteX28" fmla="*/ 11806813 w 11867103"/>
              <a:gd name="connsiteY28" fmla="*/ 835863 h 2936314"/>
              <a:gd name="connsiteX29" fmla="*/ 11816862 w 11867103"/>
              <a:gd name="connsiteY29" fmla="*/ 2302923 h 2936314"/>
              <a:gd name="connsiteX30" fmla="*/ 11826910 w 11867103"/>
              <a:gd name="connsiteY30" fmla="*/ 2373261 h 2936314"/>
              <a:gd name="connsiteX31" fmla="*/ 11836958 w 11867103"/>
              <a:gd name="connsiteY31" fmla="*/ 2403406 h 2936314"/>
              <a:gd name="connsiteX32" fmla="*/ 11857055 w 11867103"/>
              <a:gd name="connsiteY32" fmla="*/ 2534035 h 2936314"/>
              <a:gd name="connsiteX33" fmla="*/ 11867103 w 11867103"/>
              <a:gd name="connsiteY33" fmla="*/ 2574228 h 2936314"/>
              <a:gd name="connsiteX34" fmla="*/ 11857055 w 11867103"/>
              <a:gd name="connsiteY34" fmla="*/ 2805340 h 2936314"/>
              <a:gd name="connsiteX35" fmla="*/ 11836958 w 11867103"/>
              <a:gd name="connsiteY35" fmla="*/ 2835485 h 2936314"/>
              <a:gd name="connsiteX36" fmla="*/ 11033090 w 11867103"/>
              <a:gd name="connsiteY36" fmla="*/ 2825437 h 2936314"/>
              <a:gd name="connsiteX37" fmla="*/ 10621108 w 11867103"/>
              <a:gd name="connsiteY37" fmla="*/ 2815389 h 2936314"/>
              <a:gd name="connsiteX38" fmla="*/ 10128739 w 11867103"/>
              <a:gd name="connsiteY38" fmla="*/ 2825437 h 2936314"/>
              <a:gd name="connsiteX39" fmla="*/ 10048352 w 11867103"/>
              <a:gd name="connsiteY39" fmla="*/ 2835485 h 2936314"/>
              <a:gd name="connsiteX40" fmla="*/ 9555982 w 11867103"/>
              <a:gd name="connsiteY40" fmla="*/ 2825437 h 2936314"/>
              <a:gd name="connsiteX41" fmla="*/ 9445451 w 11867103"/>
              <a:gd name="connsiteY41" fmla="*/ 2815389 h 2936314"/>
              <a:gd name="connsiteX42" fmla="*/ 9415306 w 11867103"/>
              <a:gd name="connsiteY42" fmla="*/ 2795292 h 2936314"/>
              <a:gd name="connsiteX43" fmla="*/ 9204290 w 11867103"/>
              <a:gd name="connsiteY43" fmla="*/ 2775195 h 2936314"/>
              <a:gd name="connsiteX44" fmla="*/ 9073662 w 11867103"/>
              <a:gd name="connsiteY44" fmla="*/ 2755098 h 2936314"/>
              <a:gd name="connsiteX45" fmla="*/ 8812404 w 11867103"/>
              <a:gd name="connsiteY45" fmla="*/ 2745050 h 2936314"/>
              <a:gd name="connsiteX46" fmla="*/ 8400422 w 11867103"/>
              <a:gd name="connsiteY46" fmla="*/ 2735002 h 2936314"/>
              <a:gd name="connsiteX47" fmla="*/ 8269793 w 11867103"/>
              <a:gd name="connsiteY47" fmla="*/ 2724953 h 2936314"/>
              <a:gd name="connsiteX48" fmla="*/ 7797521 w 11867103"/>
              <a:gd name="connsiteY48" fmla="*/ 2745050 h 2936314"/>
              <a:gd name="connsiteX49" fmla="*/ 7717134 w 11867103"/>
              <a:gd name="connsiteY49" fmla="*/ 2755098 h 2936314"/>
              <a:gd name="connsiteX50" fmla="*/ 7486022 w 11867103"/>
              <a:gd name="connsiteY50" fmla="*/ 2785244 h 2936314"/>
              <a:gd name="connsiteX51" fmla="*/ 7395587 w 11867103"/>
              <a:gd name="connsiteY51" fmla="*/ 2805340 h 2936314"/>
              <a:gd name="connsiteX52" fmla="*/ 7325248 w 11867103"/>
              <a:gd name="connsiteY52" fmla="*/ 2815389 h 2936314"/>
              <a:gd name="connsiteX53" fmla="*/ 6863024 w 11867103"/>
              <a:gd name="connsiteY53" fmla="*/ 2805340 h 2936314"/>
              <a:gd name="connsiteX54" fmla="*/ 6722347 w 11867103"/>
              <a:gd name="connsiteY54" fmla="*/ 2795292 h 2936314"/>
              <a:gd name="connsiteX55" fmla="*/ 4903596 w 11867103"/>
              <a:gd name="connsiteY55" fmla="*/ 2845534 h 2936314"/>
              <a:gd name="connsiteX56" fmla="*/ 4722725 w 11867103"/>
              <a:gd name="connsiteY56" fmla="*/ 2885727 h 2936314"/>
              <a:gd name="connsiteX57" fmla="*/ 4300695 w 11867103"/>
              <a:gd name="connsiteY57" fmla="*/ 2865630 h 2936314"/>
              <a:gd name="connsiteX58" fmla="*/ 4059534 w 11867103"/>
              <a:gd name="connsiteY58" fmla="*/ 2825437 h 2936314"/>
              <a:gd name="connsiteX59" fmla="*/ 3768132 w 11867103"/>
              <a:gd name="connsiteY59" fmla="*/ 2795292 h 2936314"/>
              <a:gd name="connsiteX60" fmla="*/ 3627455 w 11867103"/>
              <a:gd name="connsiteY60" fmla="*/ 2785244 h 2936314"/>
              <a:gd name="connsiteX61" fmla="*/ 3125037 w 11867103"/>
              <a:gd name="connsiteY61" fmla="*/ 2795292 h 2936314"/>
              <a:gd name="connsiteX62" fmla="*/ 3064747 w 11867103"/>
              <a:gd name="connsiteY62" fmla="*/ 2805340 h 2936314"/>
              <a:gd name="connsiteX63" fmla="*/ 2009670 w 11867103"/>
              <a:gd name="connsiteY63" fmla="*/ 2815389 h 2936314"/>
              <a:gd name="connsiteX64" fmla="*/ 1678075 w 11867103"/>
              <a:gd name="connsiteY64" fmla="*/ 2905824 h 2936314"/>
              <a:gd name="connsiteX65" fmla="*/ 1607736 w 11867103"/>
              <a:gd name="connsiteY65" fmla="*/ 2935969 h 2936314"/>
              <a:gd name="connsiteX66" fmla="*/ 1135464 w 11867103"/>
              <a:gd name="connsiteY66" fmla="*/ 2915872 h 2936314"/>
              <a:gd name="connsiteX67" fmla="*/ 944545 w 11867103"/>
              <a:gd name="connsiteY67" fmla="*/ 2885727 h 2936314"/>
              <a:gd name="connsiteX68" fmla="*/ 723481 w 11867103"/>
              <a:gd name="connsiteY68" fmla="*/ 2845534 h 2936314"/>
              <a:gd name="connsiteX69" fmla="*/ 643095 w 11867103"/>
              <a:gd name="connsiteY69" fmla="*/ 2835485 h 2936314"/>
              <a:gd name="connsiteX70" fmla="*/ 371789 w 11867103"/>
              <a:gd name="connsiteY70" fmla="*/ 2795292 h 2936314"/>
              <a:gd name="connsiteX71" fmla="*/ 0 w 11867103"/>
              <a:gd name="connsiteY71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515789 w 11867103"/>
              <a:gd name="connsiteY12" fmla="*/ 72189 h 2936314"/>
              <a:gd name="connsiteX13" fmla="*/ 9606224 w 11867103"/>
              <a:gd name="connsiteY13" fmla="*/ 62140 h 2936314"/>
              <a:gd name="connsiteX14" fmla="*/ 9716756 w 11867103"/>
              <a:gd name="connsiteY14" fmla="*/ 52092 h 2936314"/>
              <a:gd name="connsiteX15" fmla="*/ 9797143 w 11867103"/>
              <a:gd name="connsiteY15" fmla="*/ 42044 h 2936314"/>
              <a:gd name="connsiteX16" fmla="*/ 9947868 w 11867103"/>
              <a:gd name="connsiteY16" fmla="*/ 31995 h 2936314"/>
              <a:gd name="connsiteX17" fmla="*/ 10791930 w 11867103"/>
              <a:gd name="connsiteY17" fmla="*/ 1850 h 2936314"/>
              <a:gd name="connsiteX18" fmla="*/ 11736475 w 11867103"/>
              <a:gd name="connsiteY18" fmla="*/ 21947 h 2936314"/>
              <a:gd name="connsiteX19" fmla="*/ 11766620 w 11867103"/>
              <a:gd name="connsiteY19" fmla="*/ 52092 h 2936314"/>
              <a:gd name="connsiteX20" fmla="*/ 11786717 w 11867103"/>
              <a:gd name="connsiteY20" fmla="*/ 92285 h 2936314"/>
              <a:gd name="connsiteX21" fmla="*/ 11806813 w 11867103"/>
              <a:gd name="connsiteY21" fmla="*/ 182720 h 2936314"/>
              <a:gd name="connsiteX22" fmla="*/ 11816862 w 11867103"/>
              <a:gd name="connsiteY22" fmla="*/ 222914 h 2936314"/>
              <a:gd name="connsiteX23" fmla="*/ 11826910 w 11867103"/>
              <a:gd name="connsiteY23" fmla="*/ 313349 h 2936314"/>
              <a:gd name="connsiteX24" fmla="*/ 11836958 w 11867103"/>
              <a:gd name="connsiteY24" fmla="*/ 393736 h 2936314"/>
              <a:gd name="connsiteX25" fmla="*/ 11826910 w 11867103"/>
              <a:gd name="connsiteY25" fmla="*/ 705235 h 2936314"/>
              <a:gd name="connsiteX26" fmla="*/ 11816862 w 11867103"/>
              <a:gd name="connsiteY26" fmla="*/ 765525 h 2936314"/>
              <a:gd name="connsiteX27" fmla="*/ 11806813 w 11867103"/>
              <a:gd name="connsiteY27" fmla="*/ 835863 h 2936314"/>
              <a:gd name="connsiteX28" fmla="*/ 11816862 w 11867103"/>
              <a:gd name="connsiteY28" fmla="*/ 2302923 h 2936314"/>
              <a:gd name="connsiteX29" fmla="*/ 11826910 w 11867103"/>
              <a:gd name="connsiteY29" fmla="*/ 2373261 h 2936314"/>
              <a:gd name="connsiteX30" fmla="*/ 11836958 w 11867103"/>
              <a:gd name="connsiteY30" fmla="*/ 2403406 h 2936314"/>
              <a:gd name="connsiteX31" fmla="*/ 11857055 w 11867103"/>
              <a:gd name="connsiteY31" fmla="*/ 2534035 h 2936314"/>
              <a:gd name="connsiteX32" fmla="*/ 11867103 w 11867103"/>
              <a:gd name="connsiteY32" fmla="*/ 2574228 h 2936314"/>
              <a:gd name="connsiteX33" fmla="*/ 11857055 w 11867103"/>
              <a:gd name="connsiteY33" fmla="*/ 2805340 h 2936314"/>
              <a:gd name="connsiteX34" fmla="*/ 11836958 w 11867103"/>
              <a:gd name="connsiteY34" fmla="*/ 2835485 h 2936314"/>
              <a:gd name="connsiteX35" fmla="*/ 11033090 w 11867103"/>
              <a:gd name="connsiteY35" fmla="*/ 2825437 h 2936314"/>
              <a:gd name="connsiteX36" fmla="*/ 10621108 w 11867103"/>
              <a:gd name="connsiteY36" fmla="*/ 2815389 h 2936314"/>
              <a:gd name="connsiteX37" fmla="*/ 10128739 w 11867103"/>
              <a:gd name="connsiteY37" fmla="*/ 2825437 h 2936314"/>
              <a:gd name="connsiteX38" fmla="*/ 10048352 w 11867103"/>
              <a:gd name="connsiteY38" fmla="*/ 2835485 h 2936314"/>
              <a:gd name="connsiteX39" fmla="*/ 9555982 w 11867103"/>
              <a:gd name="connsiteY39" fmla="*/ 2825437 h 2936314"/>
              <a:gd name="connsiteX40" fmla="*/ 9445451 w 11867103"/>
              <a:gd name="connsiteY40" fmla="*/ 2815389 h 2936314"/>
              <a:gd name="connsiteX41" fmla="*/ 9415306 w 11867103"/>
              <a:gd name="connsiteY41" fmla="*/ 2795292 h 2936314"/>
              <a:gd name="connsiteX42" fmla="*/ 9204290 w 11867103"/>
              <a:gd name="connsiteY42" fmla="*/ 2775195 h 2936314"/>
              <a:gd name="connsiteX43" fmla="*/ 9073662 w 11867103"/>
              <a:gd name="connsiteY43" fmla="*/ 2755098 h 2936314"/>
              <a:gd name="connsiteX44" fmla="*/ 8812404 w 11867103"/>
              <a:gd name="connsiteY44" fmla="*/ 2745050 h 2936314"/>
              <a:gd name="connsiteX45" fmla="*/ 8400422 w 11867103"/>
              <a:gd name="connsiteY45" fmla="*/ 2735002 h 2936314"/>
              <a:gd name="connsiteX46" fmla="*/ 8269793 w 11867103"/>
              <a:gd name="connsiteY46" fmla="*/ 2724953 h 2936314"/>
              <a:gd name="connsiteX47" fmla="*/ 7797521 w 11867103"/>
              <a:gd name="connsiteY47" fmla="*/ 2745050 h 2936314"/>
              <a:gd name="connsiteX48" fmla="*/ 7717134 w 11867103"/>
              <a:gd name="connsiteY48" fmla="*/ 2755098 h 2936314"/>
              <a:gd name="connsiteX49" fmla="*/ 7486022 w 11867103"/>
              <a:gd name="connsiteY49" fmla="*/ 2785244 h 2936314"/>
              <a:gd name="connsiteX50" fmla="*/ 7395587 w 11867103"/>
              <a:gd name="connsiteY50" fmla="*/ 2805340 h 2936314"/>
              <a:gd name="connsiteX51" fmla="*/ 7325248 w 11867103"/>
              <a:gd name="connsiteY51" fmla="*/ 2815389 h 2936314"/>
              <a:gd name="connsiteX52" fmla="*/ 6863024 w 11867103"/>
              <a:gd name="connsiteY52" fmla="*/ 2805340 h 2936314"/>
              <a:gd name="connsiteX53" fmla="*/ 6722347 w 11867103"/>
              <a:gd name="connsiteY53" fmla="*/ 2795292 h 2936314"/>
              <a:gd name="connsiteX54" fmla="*/ 4903596 w 11867103"/>
              <a:gd name="connsiteY54" fmla="*/ 2845534 h 2936314"/>
              <a:gd name="connsiteX55" fmla="*/ 4722725 w 11867103"/>
              <a:gd name="connsiteY55" fmla="*/ 2885727 h 2936314"/>
              <a:gd name="connsiteX56" fmla="*/ 4300695 w 11867103"/>
              <a:gd name="connsiteY56" fmla="*/ 2865630 h 2936314"/>
              <a:gd name="connsiteX57" fmla="*/ 4059534 w 11867103"/>
              <a:gd name="connsiteY57" fmla="*/ 2825437 h 2936314"/>
              <a:gd name="connsiteX58" fmla="*/ 3768132 w 11867103"/>
              <a:gd name="connsiteY58" fmla="*/ 2795292 h 2936314"/>
              <a:gd name="connsiteX59" fmla="*/ 3627455 w 11867103"/>
              <a:gd name="connsiteY59" fmla="*/ 2785244 h 2936314"/>
              <a:gd name="connsiteX60" fmla="*/ 3125037 w 11867103"/>
              <a:gd name="connsiteY60" fmla="*/ 2795292 h 2936314"/>
              <a:gd name="connsiteX61" fmla="*/ 3064747 w 11867103"/>
              <a:gd name="connsiteY61" fmla="*/ 2805340 h 2936314"/>
              <a:gd name="connsiteX62" fmla="*/ 2009670 w 11867103"/>
              <a:gd name="connsiteY62" fmla="*/ 2815389 h 2936314"/>
              <a:gd name="connsiteX63" fmla="*/ 1678075 w 11867103"/>
              <a:gd name="connsiteY63" fmla="*/ 2905824 h 2936314"/>
              <a:gd name="connsiteX64" fmla="*/ 1607736 w 11867103"/>
              <a:gd name="connsiteY64" fmla="*/ 2935969 h 2936314"/>
              <a:gd name="connsiteX65" fmla="*/ 1135464 w 11867103"/>
              <a:gd name="connsiteY65" fmla="*/ 2915872 h 2936314"/>
              <a:gd name="connsiteX66" fmla="*/ 944545 w 11867103"/>
              <a:gd name="connsiteY66" fmla="*/ 2885727 h 2936314"/>
              <a:gd name="connsiteX67" fmla="*/ 723481 w 11867103"/>
              <a:gd name="connsiteY67" fmla="*/ 2845534 h 2936314"/>
              <a:gd name="connsiteX68" fmla="*/ 643095 w 11867103"/>
              <a:gd name="connsiteY68" fmla="*/ 2835485 h 2936314"/>
              <a:gd name="connsiteX69" fmla="*/ 371789 w 11867103"/>
              <a:gd name="connsiteY69" fmla="*/ 2795292 h 2936314"/>
              <a:gd name="connsiteX70" fmla="*/ 0 w 11867103"/>
              <a:gd name="connsiteY70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716756 w 11867103"/>
              <a:gd name="connsiteY13" fmla="*/ 52092 h 2936314"/>
              <a:gd name="connsiteX14" fmla="*/ 9797143 w 11867103"/>
              <a:gd name="connsiteY14" fmla="*/ 42044 h 2936314"/>
              <a:gd name="connsiteX15" fmla="*/ 9947868 w 11867103"/>
              <a:gd name="connsiteY15" fmla="*/ 31995 h 2936314"/>
              <a:gd name="connsiteX16" fmla="*/ 10791930 w 11867103"/>
              <a:gd name="connsiteY16" fmla="*/ 1850 h 2936314"/>
              <a:gd name="connsiteX17" fmla="*/ 11736475 w 11867103"/>
              <a:gd name="connsiteY17" fmla="*/ 21947 h 2936314"/>
              <a:gd name="connsiteX18" fmla="*/ 11766620 w 11867103"/>
              <a:gd name="connsiteY18" fmla="*/ 52092 h 2936314"/>
              <a:gd name="connsiteX19" fmla="*/ 11786717 w 11867103"/>
              <a:gd name="connsiteY19" fmla="*/ 92285 h 2936314"/>
              <a:gd name="connsiteX20" fmla="*/ 11806813 w 11867103"/>
              <a:gd name="connsiteY20" fmla="*/ 182720 h 2936314"/>
              <a:gd name="connsiteX21" fmla="*/ 11816862 w 11867103"/>
              <a:gd name="connsiteY21" fmla="*/ 222914 h 2936314"/>
              <a:gd name="connsiteX22" fmla="*/ 11826910 w 11867103"/>
              <a:gd name="connsiteY22" fmla="*/ 313349 h 2936314"/>
              <a:gd name="connsiteX23" fmla="*/ 11836958 w 11867103"/>
              <a:gd name="connsiteY23" fmla="*/ 393736 h 2936314"/>
              <a:gd name="connsiteX24" fmla="*/ 11826910 w 11867103"/>
              <a:gd name="connsiteY24" fmla="*/ 705235 h 2936314"/>
              <a:gd name="connsiteX25" fmla="*/ 11816862 w 11867103"/>
              <a:gd name="connsiteY25" fmla="*/ 765525 h 2936314"/>
              <a:gd name="connsiteX26" fmla="*/ 11806813 w 11867103"/>
              <a:gd name="connsiteY26" fmla="*/ 835863 h 2936314"/>
              <a:gd name="connsiteX27" fmla="*/ 11816862 w 11867103"/>
              <a:gd name="connsiteY27" fmla="*/ 2302923 h 2936314"/>
              <a:gd name="connsiteX28" fmla="*/ 11826910 w 11867103"/>
              <a:gd name="connsiteY28" fmla="*/ 2373261 h 2936314"/>
              <a:gd name="connsiteX29" fmla="*/ 11836958 w 11867103"/>
              <a:gd name="connsiteY29" fmla="*/ 2403406 h 2936314"/>
              <a:gd name="connsiteX30" fmla="*/ 11857055 w 11867103"/>
              <a:gd name="connsiteY30" fmla="*/ 2534035 h 2936314"/>
              <a:gd name="connsiteX31" fmla="*/ 11867103 w 11867103"/>
              <a:gd name="connsiteY31" fmla="*/ 2574228 h 2936314"/>
              <a:gd name="connsiteX32" fmla="*/ 11857055 w 11867103"/>
              <a:gd name="connsiteY32" fmla="*/ 2805340 h 2936314"/>
              <a:gd name="connsiteX33" fmla="*/ 11836958 w 11867103"/>
              <a:gd name="connsiteY33" fmla="*/ 2835485 h 2936314"/>
              <a:gd name="connsiteX34" fmla="*/ 11033090 w 11867103"/>
              <a:gd name="connsiteY34" fmla="*/ 2825437 h 2936314"/>
              <a:gd name="connsiteX35" fmla="*/ 10621108 w 11867103"/>
              <a:gd name="connsiteY35" fmla="*/ 2815389 h 2936314"/>
              <a:gd name="connsiteX36" fmla="*/ 10128739 w 11867103"/>
              <a:gd name="connsiteY36" fmla="*/ 2825437 h 2936314"/>
              <a:gd name="connsiteX37" fmla="*/ 10048352 w 11867103"/>
              <a:gd name="connsiteY37" fmla="*/ 2835485 h 2936314"/>
              <a:gd name="connsiteX38" fmla="*/ 9555982 w 11867103"/>
              <a:gd name="connsiteY38" fmla="*/ 2825437 h 2936314"/>
              <a:gd name="connsiteX39" fmla="*/ 9445451 w 11867103"/>
              <a:gd name="connsiteY39" fmla="*/ 2815389 h 2936314"/>
              <a:gd name="connsiteX40" fmla="*/ 9415306 w 11867103"/>
              <a:gd name="connsiteY40" fmla="*/ 2795292 h 2936314"/>
              <a:gd name="connsiteX41" fmla="*/ 9204290 w 11867103"/>
              <a:gd name="connsiteY41" fmla="*/ 2775195 h 2936314"/>
              <a:gd name="connsiteX42" fmla="*/ 9073662 w 11867103"/>
              <a:gd name="connsiteY42" fmla="*/ 2755098 h 2936314"/>
              <a:gd name="connsiteX43" fmla="*/ 8812404 w 11867103"/>
              <a:gd name="connsiteY43" fmla="*/ 2745050 h 2936314"/>
              <a:gd name="connsiteX44" fmla="*/ 8400422 w 11867103"/>
              <a:gd name="connsiteY44" fmla="*/ 2735002 h 2936314"/>
              <a:gd name="connsiteX45" fmla="*/ 8269793 w 11867103"/>
              <a:gd name="connsiteY45" fmla="*/ 2724953 h 2936314"/>
              <a:gd name="connsiteX46" fmla="*/ 7797521 w 11867103"/>
              <a:gd name="connsiteY46" fmla="*/ 2745050 h 2936314"/>
              <a:gd name="connsiteX47" fmla="*/ 7717134 w 11867103"/>
              <a:gd name="connsiteY47" fmla="*/ 2755098 h 2936314"/>
              <a:gd name="connsiteX48" fmla="*/ 7486022 w 11867103"/>
              <a:gd name="connsiteY48" fmla="*/ 2785244 h 2936314"/>
              <a:gd name="connsiteX49" fmla="*/ 7395587 w 11867103"/>
              <a:gd name="connsiteY49" fmla="*/ 2805340 h 2936314"/>
              <a:gd name="connsiteX50" fmla="*/ 7325248 w 11867103"/>
              <a:gd name="connsiteY50" fmla="*/ 2815389 h 2936314"/>
              <a:gd name="connsiteX51" fmla="*/ 6863024 w 11867103"/>
              <a:gd name="connsiteY51" fmla="*/ 2805340 h 2936314"/>
              <a:gd name="connsiteX52" fmla="*/ 6722347 w 11867103"/>
              <a:gd name="connsiteY52" fmla="*/ 2795292 h 2936314"/>
              <a:gd name="connsiteX53" fmla="*/ 4903596 w 11867103"/>
              <a:gd name="connsiteY53" fmla="*/ 2845534 h 2936314"/>
              <a:gd name="connsiteX54" fmla="*/ 4722725 w 11867103"/>
              <a:gd name="connsiteY54" fmla="*/ 2885727 h 2936314"/>
              <a:gd name="connsiteX55" fmla="*/ 4300695 w 11867103"/>
              <a:gd name="connsiteY55" fmla="*/ 2865630 h 2936314"/>
              <a:gd name="connsiteX56" fmla="*/ 4059534 w 11867103"/>
              <a:gd name="connsiteY56" fmla="*/ 2825437 h 2936314"/>
              <a:gd name="connsiteX57" fmla="*/ 3768132 w 11867103"/>
              <a:gd name="connsiteY57" fmla="*/ 2795292 h 2936314"/>
              <a:gd name="connsiteX58" fmla="*/ 3627455 w 11867103"/>
              <a:gd name="connsiteY58" fmla="*/ 2785244 h 2936314"/>
              <a:gd name="connsiteX59" fmla="*/ 3125037 w 11867103"/>
              <a:gd name="connsiteY59" fmla="*/ 2795292 h 2936314"/>
              <a:gd name="connsiteX60" fmla="*/ 3064747 w 11867103"/>
              <a:gd name="connsiteY60" fmla="*/ 2805340 h 2936314"/>
              <a:gd name="connsiteX61" fmla="*/ 2009670 w 11867103"/>
              <a:gd name="connsiteY61" fmla="*/ 2815389 h 2936314"/>
              <a:gd name="connsiteX62" fmla="*/ 1678075 w 11867103"/>
              <a:gd name="connsiteY62" fmla="*/ 2905824 h 2936314"/>
              <a:gd name="connsiteX63" fmla="*/ 1607736 w 11867103"/>
              <a:gd name="connsiteY63" fmla="*/ 2935969 h 2936314"/>
              <a:gd name="connsiteX64" fmla="*/ 1135464 w 11867103"/>
              <a:gd name="connsiteY64" fmla="*/ 2915872 h 2936314"/>
              <a:gd name="connsiteX65" fmla="*/ 944545 w 11867103"/>
              <a:gd name="connsiteY65" fmla="*/ 2885727 h 2936314"/>
              <a:gd name="connsiteX66" fmla="*/ 723481 w 11867103"/>
              <a:gd name="connsiteY66" fmla="*/ 2845534 h 2936314"/>
              <a:gd name="connsiteX67" fmla="*/ 643095 w 11867103"/>
              <a:gd name="connsiteY67" fmla="*/ 2835485 h 2936314"/>
              <a:gd name="connsiteX68" fmla="*/ 371789 w 11867103"/>
              <a:gd name="connsiteY68" fmla="*/ 2795292 h 2936314"/>
              <a:gd name="connsiteX69" fmla="*/ 0 w 11867103"/>
              <a:gd name="connsiteY69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797143 w 11867103"/>
              <a:gd name="connsiteY13" fmla="*/ 42044 h 2936314"/>
              <a:gd name="connsiteX14" fmla="*/ 9947868 w 11867103"/>
              <a:gd name="connsiteY14" fmla="*/ 31995 h 2936314"/>
              <a:gd name="connsiteX15" fmla="*/ 10791930 w 11867103"/>
              <a:gd name="connsiteY15" fmla="*/ 1850 h 2936314"/>
              <a:gd name="connsiteX16" fmla="*/ 11736475 w 11867103"/>
              <a:gd name="connsiteY16" fmla="*/ 21947 h 2936314"/>
              <a:gd name="connsiteX17" fmla="*/ 11766620 w 11867103"/>
              <a:gd name="connsiteY17" fmla="*/ 52092 h 2936314"/>
              <a:gd name="connsiteX18" fmla="*/ 11786717 w 11867103"/>
              <a:gd name="connsiteY18" fmla="*/ 92285 h 2936314"/>
              <a:gd name="connsiteX19" fmla="*/ 11806813 w 11867103"/>
              <a:gd name="connsiteY19" fmla="*/ 182720 h 2936314"/>
              <a:gd name="connsiteX20" fmla="*/ 11816862 w 11867103"/>
              <a:gd name="connsiteY20" fmla="*/ 222914 h 2936314"/>
              <a:gd name="connsiteX21" fmla="*/ 11826910 w 11867103"/>
              <a:gd name="connsiteY21" fmla="*/ 313349 h 2936314"/>
              <a:gd name="connsiteX22" fmla="*/ 11836958 w 11867103"/>
              <a:gd name="connsiteY22" fmla="*/ 393736 h 2936314"/>
              <a:gd name="connsiteX23" fmla="*/ 11826910 w 11867103"/>
              <a:gd name="connsiteY23" fmla="*/ 705235 h 2936314"/>
              <a:gd name="connsiteX24" fmla="*/ 11816862 w 11867103"/>
              <a:gd name="connsiteY24" fmla="*/ 765525 h 2936314"/>
              <a:gd name="connsiteX25" fmla="*/ 11806813 w 11867103"/>
              <a:gd name="connsiteY25" fmla="*/ 835863 h 2936314"/>
              <a:gd name="connsiteX26" fmla="*/ 11816862 w 11867103"/>
              <a:gd name="connsiteY26" fmla="*/ 2302923 h 2936314"/>
              <a:gd name="connsiteX27" fmla="*/ 11826910 w 11867103"/>
              <a:gd name="connsiteY27" fmla="*/ 2373261 h 2936314"/>
              <a:gd name="connsiteX28" fmla="*/ 11836958 w 11867103"/>
              <a:gd name="connsiteY28" fmla="*/ 2403406 h 2936314"/>
              <a:gd name="connsiteX29" fmla="*/ 11857055 w 11867103"/>
              <a:gd name="connsiteY29" fmla="*/ 2534035 h 2936314"/>
              <a:gd name="connsiteX30" fmla="*/ 11867103 w 11867103"/>
              <a:gd name="connsiteY30" fmla="*/ 2574228 h 2936314"/>
              <a:gd name="connsiteX31" fmla="*/ 11857055 w 11867103"/>
              <a:gd name="connsiteY31" fmla="*/ 2805340 h 2936314"/>
              <a:gd name="connsiteX32" fmla="*/ 11836958 w 11867103"/>
              <a:gd name="connsiteY32" fmla="*/ 2835485 h 2936314"/>
              <a:gd name="connsiteX33" fmla="*/ 11033090 w 11867103"/>
              <a:gd name="connsiteY33" fmla="*/ 2825437 h 2936314"/>
              <a:gd name="connsiteX34" fmla="*/ 10621108 w 11867103"/>
              <a:gd name="connsiteY34" fmla="*/ 2815389 h 2936314"/>
              <a:gd name="connsiteX35" fmla="*/ 10128739 w 11867103"/>
              <a:gd name="connsiteY35" fmla="*/ 2825437 h 2936314"/>
              <a:gd name="connsiteX36" fmla="*/ 10048352 w 11867103"/>
              <a:gd name="connsiteY36" fmla="*/ 2835485 h 2936314"/>
              <a:gd name="connsiteX37" fmla="*/ 9555982 w 11867103"/>
              <a:gd name="connsiteY37" fmla="*/ 2825437 h 2936314"/>
              <a:gd name="connsiteX38" fmla="*/ 9445451 w 11867103"/>
              <a:gd name="connsiteY38" fmla="*/ 2815389 h 2936314"/>
              <a:gd name="connsiteX39" fmla="*/ 9415306 w 11867103"/>
              <a:gd name="connsiteY39" fmla="*/ 2795292 h 2936314"/>
              <a:gd name="connsiteX40" fmla="*/ 9204290 w 11867103"/>
              <a:gd name="connsiteY40" fmla="*/ 2775195 h 2936314"/>
              <a:gd name="connsiteX41" fmla="*/ 9073662 w 11867103"/>
              <a:gd name="connsiteY41" fmla="*/ 2755098 h 2936314"/>
              <a:gd name="connsiteX42" fmla="*/ 8812404 w 11867103"/>
              <a:gd name="connsiteY42" fmla="*/ 2745050 h 2936314"/>
              <a:gd name="connsiteX43" fmla="*/ 8400422 w 11867103"/>
              <a:gd name="connsiteY43" fmla="*/ 2735002 h 2936314"/>
              <a:gd name="connsiteX44" fmla="*/ 8269793 w 11867103"/>
              <a:gd name="connsiteY44" fmla="*/ 2724953 h 2936314"/>
              <a:gd name="connsiteX45" fmla="*/ 7797521 w 11867103"/>
              <a:gd name="connsiteY45" fmla="*/ 2745050 h 2936314"/>
              <a:gd name="connsiteX46" fmla="*/ 7717134 w 11867103"/>
              <a:gd name="connsiteY46" fmla="*/ 2755098 h 2936314"/>
              <a:gd name="connsiteX47" fmla="*/ 7486022 w 11867103"/>
              <a:gd name="connsiteY47" fmla="*/ 2785244 h 2936314"/>
              <a:gd name="connsiteX48" fmla="*/ 7395587 w 11867103"/>
              <a:gd name="connsiteY48" fmla="*/ 2805340 h 2936314"/>
              <a:gd name="connsiteX49" fmla="*/ 7325248 w 11867103"/>
              <a:gd name="connsiteY49" fmla="*/ 2815389 h 2936314"/>
              <a:gd name="connsiteX50" fmla="*/ 6863024 w 11867103"/>
              <a:gd name="connsiteY50" fmla="*/ 2805340 h 2936314"/>
              <a:gd name="connsiteX51" fmla="*/ 6722347 w 11867103"/>
              <a:gd name="connsiteY51" fmla="*/ 2795292 h 2936314"/>
              <a:gd name="connsiteX52" fmla="*/ 4903596 w 11867103"/>
              <a:gd name="connsiteY52" fmla="*/ 2845534 h 2936314"/>
              <a:gd name="connsiteX53" fmla="*/ 4722725 w 11867103"/>
              <a:gd name="connsiteY53" fmla="*/ 2885727 h 2936314"/>
              <a:gd name="connsiteX54" fmla="*/ 4300695 w 11867103"/>
              <a:gd name="connsiteY54" fmla="*/ 2865630 h 2936314"/>
              <a:gd name="connsiteX55" fmla="*/ 4059534 w 11867103"/>
              <a:gd name="connsiteY55" fmla="*/ 2825437 h 2936314"/>
              <a:gd name="connsiteX56" fmla="*/ 3768132 w 11867103"/>
              <a:gd name="connsiteY56" fmla="*/ 2795292 h 2936314"/>
              <a:gd name="connsiteX57" fmla="*/ 3627455 w 11867103"/>
              <a:gd name="connsiteY57" fmla="*/ 2785244 h 2936314"/>
              <a:gd name="connsiteX58" fmla="*/ 3125037 w 11867103"/>
              <a:gd name="connsiteY58" fmla="*/ 2795292 h 2936314"/>
              <a:gd name="connsiteX59" fmla="*/ 3064747 w 11867103"/>
              <a:gd name="connsiteY59" fmla="*/ 2805340 h 2936314"/>
              <a:gd name="connsiteX60" fmla="*/ 2009670 w 11867103"/>
              <a:gd name="connsiteY60" fmla="*/ 2815389 h 2936314"/>
              <a:gd name="connsiteX61" fmla="*/ 1678075 w 11867103"/>
              <a:gd name="connsiteY61" fmla="*/ 2905824 h 2936314"/>
              <a:gd name="connsiteX62" fmla="*/ 1607736 w 11867103"/>
              <a:gd name="connsiteY62" fmla="*/ 2935969 h 2936314"/>
              <a:gd name="connsiteX63" fmla="*/ 1135464 w 11867103"/>
              <a:gd name="connsiteY63" fmla="*/ 2915872 h 2936314"/>
              <a:gd name="connsiteX64" fmla="*/ 944545 w 11867103"/>
              <a:gd name="connsiteY64" fmla="*/ 2885727 h 2936314"/>
              <a:gd name="connsiteX65" fmla="*/ 723481 w 11867103"/>
              <a:gd name="connsiteY65" fmla="*/ 2845534 h 2936314"/>
              <a:gd name="connsiteX66" fmla="*/ 643095 w 11867103"/>
              <a:gd name="connsiteY66" fmla="*/ 2835485 h 2936314"/>
              <a:gd name="connsiteX67" fmla="*/ 371789 w 11867103"/>
              <a:gd name="connsiteY67" fmla="*/ 2795292 h 2936314"/>
              <a:gd name="connsiteX68" fmla="*/ 0 w 11867103"/>
              <a:gd name="connsiteY68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16862 w 11867103"/>
              <a:gd name="connsiteY19" fmla="*/ 222914 h 2936314"/>
              <a:gd name="connsiteX20" fmla="*/ 11826910 w 11867103"/>
              <a:gd name="connsiteY20" fmla="*/ 313349 h 2936314"/>
              <a:gd name="connsiteX21" fmla="*/ 11836958 w 11867103"/>
              <a:gd name="connsiteY21" fmla="*/ 393736 h 2936314"/>
              <a:gd name="connsiteX22" fmla="*/ 11826910 w 11867103"/>
              <a:gd name="connsiteY22" fmla="*/ 705235 h 2936314"/>
              <a:gd name="connsiteX23" fmla="*/ 11816862 w 11867103"/>
              <a:gd name="connsiteY23" fmla="*/ 765525 h 2936314"/>
              <a:gd name="connsiteX24" fmla="*/ 11806813 w 11867103"/>
              <a:gd name="connsiteY24" fmla="*/ 835863 h 2936314"/>
              <a:gd name="connsiteX25" fmla="*/ 11816862 w 11867103"/>
              <a:gd name="connsiteY25" fmla="*/ 2302923 h 2936314"/>
              <a:gd name="connsiteX26" fmla="*/ 11826910 w 11867103"/>
              <a:gd name="connsiteY26" fmla="*/ 2373261 h 2936314"/>
              <a:gd name="connsiteX27" fmla="*/ 11836958 w 11867103"/>
              <a:gd name="connsiteY27" fmla="*/ 2403406 h 2936314"/>
              <a:gd name="connsiteX28" fmla="*/ 11857055 w 11867103"/>
              <a:gd name="connsiteY28" fmla="*/ 2534035 h 2936314"/>
              <a:gd name="connsiteX29" fmla="*/ 11867103 w 11867103"/>
              <a:gd name="connsiteY29" fmla="*/ 2574228 h 2936314"/>
              <a:gd name="connsiteX30" fmla="*/ 11857055 w 11867103"/>
              <a:gd name="connsiteY30" fmla="*/ 2805340 h 2936314"/>
              <a:gd name="connsiteX31" fmla="*/ 11836958 w 11867103"/>
              <a:gd name="connsiteY31" fmla="*/ 2835485 h 2936314"/>
              <a:gd name="connsiteX32" fmla="*/ 11033090 w 11867103"/>
              <a:gd name="connsiteY32" fmla="*/ 2825437 h 2936314"/>
              <a:gd name="connsiteX33" fmla="*/ 10621108 w 11867103"/>
              <a:gd name="connsiteY33" fmla="*/ 2815389 h 2936314"/>
              <a:gd name="connsiteX34" fmla="*/ 10128739 w 11867103"/>
              <a:gd name="connsiteY34" fmla="*/ 2825437 h 2936314"/>
              <a:gd name="connsiteX35" fmla="*/ 10048352 w 11867103"/>
              <a:gd name="connsiteY35" fmla="*/ 2835485 h 2936314"/>
              <a:gd name="connsiteX36" fmla="*/ 9555982 w 11867103"/>
              <a:gd name="connsiteY36" fmla="*/ 2825437 h 2936314"/>
              <a:gd name="connsiteX37" fmla="*/ 9445451 w 11867103"/>
              <a:gd name="connsiteY37" fmla="*/ 2815389 h 2936314"/>
              <a:gd name="connsiteX38" fmla="*/ 9415306 w 11867103"/>
              <a:gd name="connsiteY38" fmla="*/ 2795292 h 2936314"/>
              <a:gd name="connsiteX39" fmla="*/ 9204290 w 11867103"/>
              <a:gd name="connsiteY39" fmla="*/ 2775195 h 2936314"/>
              <a:gd name="connsiteX40" fmla="*/ 9073662 w 11867103"/>
              <a:gd name="connsiteY40" fmla="*/ 2755098 h 2936314"/>
              <a:gd name="connsiteX41" fmla="*/ 8812404 w 11867103"/>
              <a:gd name="connsiteY41" fmla="*/ 2745050 h 2936314"/>
              <a:gd name="connsiteX42" fmla="*/ 8400422 w 11867103"/>
              <a:gd name="connsiteY42" fmla="*/ 2735002 h 2936314"/>
              <a:gd name="connsiteX43" fmla="*/ 8269793 w 11867103"/>
              <a:gd name="connsiteY43" fmla="*/ 2724953 h 2936314"/>
              <a:gd name="connsiteX44" fmla="*/ 7797521 w 11867103"/>
              <a:gd name="connsiteY44" fmla="*/ 2745050 h 2936314"/>
              <a:gd name="connsiteX45" fmla="*/ 7717134 w 11867103"/>
              <a:gd name="connsiteY45" fmla="*/ 2755098 h 2936314"/>
              <a:gd name="connsiteX46" fmla="*/ 7486022 w 11867103"/>
              <a:gd name="connsiteY46" fmla="*/ 2785244 h 2936314"/>
              <a:gd name="connsiteX47" fmla="*/ 7395587 w 11867103"/>
              <a:gd name="connsiteY47" fmla="*/ 2805340 h 2936314"/>
              <a:gd name="connsiteX48" fmla="*/ 7325248 w 11867103"/>
              <a:gd name="connsiteY48" fmla="*/ 2815389 h 2936314"/>
              <a:gd name="connsiteX49" fmla="*/ 6863024 w 11867103"/>
              <a:gd name="connsiteY49" fmla="*/ 2805340 h 2936314"/>
              <a:gd name="connsiteX50" fmla="*/ 6722347 w 11867103"/>
              <a:gd name="connsiteY50" fmla="*/ 2795292 h 2936314"/>
              <a:gd name="connsiteX51" fmla="*/ 4903596 w 11867103"/>
              <a:gd name="connsiteY51" fmla="*/ 2845534 h 2936314"/>
              <a:gd name="connsiteX52" fmla="*/ 4722725 w 11867103"/>
              <a:gd name="connsiteY52" fmla="*/ 2885727 h 2936314"/>
              <a:gd name="connsiteX53" fmla="*/ 4300695 w 11867103"/>
              <a:gd name="connsiteY53" fmla="*/ 2865630 h 2936314"/>
              <a:gd name="connsiteX54" fmla="*/ 4059534 w 11867103"/>
              <a:gd name="connsiteY54" fmla="*/ 2825437 h 2936314"/>
              <a:gd name="connsiteX55" fmla="*/ 3768132 w 11867103"/>
              <a:gd name="connsiteY55" fmla="*/ 2795292 h 2936314"/>
              <a:gd name="connsiteX56" fmla="*/ 3627455 w 11867103"/>
              <a:gd name="connsiteY56" fmla="*/ 2785244 h 2936314"/>
              <a:gd name="connsiteX57" fmla="*/ 3125037 w 11867103"/>
              <a:gd name="connsiteY57" fmla="*/ 2795292 h 2936314"/>
              <a:gd name="connsiteX58" fmla="*/ 3064747 w 11867103"/>
              <a:gd name="connsiteY58" fmla="*/ 2805340 h 2936314"/>
              <a:gd name="connsiteX59" fmla="*/ 2009670 w 11867103"/>
              <a:gd name="connsiteY59" fmla="*/ 2815389 h 2936314"/>
              <a:gd name="connsiteX60" fmla="*/ 1678075 w 11867103"/>
              <a:gd name="connsiteY60" fmla="*/ 2905824 h 2936314"/>
              <a:gd name="connsiteX61" fmla="*/ 1607736 w 11867103"/>
              <a:gd name="connsiteY61" fmla="*/ 2935969 h 2936314"/>
              <a:gd name="connsiteX62" fmla="*/ 1135464 w 11867103"/>
              <a:gd name="connsiteY62" fmla="*/ 2915872 h 2936314"/>
              <a:gd name="connsiteX63" fmla="*/ 944545 w 11867103"/>
              <a:gd name="connsiteY63" fmla="*/ 2885727 h 2936314"/>
              <a:gd name="connsiteX64" fmla="*/ 723481 w 11867103"/>
              <a:gd name="connsiteY64" fmla="*/ 2845534 h 2936314"/>
              <a:gd name="connsiteX65" fmla="*/ 643095 w 11867103"/>
              <a:gd name="connsiteY65" fmla="*/ 2835485 h 2936314"/>
              <a:gd name="connsiteX66" fmla="*/ 371789 w 11867103"/>
              <a:gd name="connsiteY66" fmla="*/ 2795292 h 2936314"/>
              <a:gd name="connsiteX67" fmla="*/ 0 w 11867103"/>
              <a:gd name="connsiteY67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26910 w 11867103"/>
              <a:gd name="connsiteY19" fmla="*/ 313349 h 2936314"/>
              <a:gd name="connsiteX20" fmla="*/ 11836958 w 11867103"/>
              <a:gd name="connsiteY20" fmla="*/ 393736 h 2936314"/>
              <a:gd name="connsiteX21" fmla="*/ 11826910 w 11867103"/>
              <a:gd name="connsiteY21" fmla="*/ 705235 h 2936314"/>
              <a:gd name="connsiteX22" fmla="*/ 11816862 w 11867103"/>
              <a:gd name="connsiteY22" fmla="*/ 765525 h 2936314"/>
              <a:gd name="connsiteX23" fmla="*/ 11806813 w 11867103"/>
              <a:gd name="connsiteY23" fmla="*/ 835863 h 2936314"/>
              <a:gd name="connsiteX24" fmla="*/ 11816862 w 11867103"/>
              <a:gd name="connsiteY24" fmla="*/ 2302923 h 2936314"/>
              <a:gd name="connsiteX25" fmla="*/ 11826910 w 11867103"/>
              <a:gd name="connsiteY25" fmla="*/ 2373261 h 2936314"/>
              <a:gd name="connsiteX26" fmla="*/ 11836958 w 11867103"/>
              <a:gd name="connsiteY26" fmla="*/ 2403406 h 2936314"/>
              <a:gd name="connsiteX27" fmla="*/ 11857055 w 11867103"/>
              <a:gd name="connsiteY27" fmla="*/ 2534035 h 2936314"/>
              <a:gd name="connsiteX28" fmla="*/ 11867103 w 11867103"/>
              <a:gd name="connsiteY28" fmla="*/ 2574228 h 2936314"/>
              <a:gd name="connsiteX29" fmla="*/ 11857055 w 11867103"/>
              <a:gd name="connsiteY29" fmla="*/ 2805340 h 2936314"/>
              <a:gd name="connsiteX30" fmla="*/ 11836958 w 11867103"/>
              <a:gd name="connsiteY30" fmla="*/ 2835485 h 2936314"/>
              <a:gd name="connsiteX31" fmla="*/ 11033090 w 11867103"/>
              <a:gd name="connsiteY31" fmla="*/ 2825437 h 2936314"/>
              <a:gd name="connsiteX32" fmla="*/ 10621108 w 11867103"/>
              <a:gd name="connsiteY32" fmla="*/ 2815389 h 2936314"/>
              <a:gd name="connsiteX33" fmla="*/ 10128739 w 11867103"/>
              <a:gd name="connsiteY33" fmla="*/ 2825437 h 2936314"/>
              <a:gd name="connsiteX34" fmla="*/ 10048352 w 11867103"/>
              <a:gd name="connsiteY34" fmla="*/ 2835485 h 2936314"/>
              <a:gd name="connsiteX35" fmla="*/ 9555982 w 11867103"/>
              <a:gd name="connsiteY35" fmla="*/ 2825437 h 2936314"/>
              <a:gd name="connsiteX36" fmla="*/ 9445451 w 11867103"/>
              <a:gd name="connsiteY36" fmla="*/ 2815389 h 2936314"/>
              <a:gd name="connsiteX37" fmla="*/ 9415306 w 11867103"/>
              <a:gd name="connsiteY37" fmla="*/ 2795292 h 2936314"/>
              <a:gd name="connsiteX38" fmla="*/ 9204290 w 11867103"/>
              <a:gd name="connsiteY38" fmla="*/ 2775195 h 2936314"/>
              <a:gd name="connsiteX39" fmla="*/ 9073662 w 11867103"/>
              <a:gd name="connsiteY39" fmla="*/ 2755098 h 2936314"/>
              <a:gd name="connsiteX40" fmla="*/ 8812404 w 11867103"/>
              <a:gd name="connsiteY40" fmla="*/ 2745050 h 2936314"/>
              <a:gd name="connsiteX41" fmla="*/ 8400422 w 11867103"/>
              <a:gd name="connsiteY41" fmla="*/ 2735002 h 2936314"/>
              <a:gd name="connsiteX42" fmla="*/ 8269793 w 11867103"/>
              <a:gd name="connsiteY42" fmla="*/ 2724953 h 2936314"/>
              <a:gd name="connsiteX43" fmla="*/ 7797521 w 11867103"/>
              <a:gd name="connsiteY43" fmla="*/ 2745050 h 2936314"/>
              <a:gd name="connsiteX44" fmla="*/ 7717134 w 11867103"/>
              <a:gd name="connsiteY44" fmla="*/ 2755098 h 2936314"/>
              <a:gd name="connsiteX45" fmla="*/ 7486022 w 11867103"/>
              <a:gd name="connsiteY45" fmla="*/ 2785244 h 2936314"/>
              <a:gd name="connsiteX46" fmla="*/ 7395587 w 11867103"/>
              <a:gd name="connsiteY46" fmla="*/ 2805340 h 2936314"/>
              <a:gd name="connsiteX47" fmla="*/ 7325248 w 11867103"/>
              <a:gd name="connsiteY47" fmla="*/ 2815389 h 2936314"/>
              <a:gd name="connsiteX48" fmla="*/ 6863024 w 11867103"/>
              <a:gd name="connsiteY48" fmla="*/ 2805340 h 2936314"/>
              <a:gd name="connsiteX49" fmla="*/ 6722347 w 11867103"/>
              <a:gd name="connsiteY49" fmla="*/ 2795292 h 2936314"/>
              <a:gd name="connsiteX50" fmla="*/ 4903596 w 11867103"/>
              <a:gd name="connsiteY50" fmla="*/ 2845534 h 2936314"/>
              <a:gd name="connsiteX51" fmla="*/ 4722725 w 11867103"/>
              <a:gd name="connsiteY51" fmla="*/ 2885727 h 2936314"/>
              <a:gd name="connsiteX52" fmla="*/ 4300695 w 11867103"/>
              <a:gd name="connsiteY52" fmla="*/ 2865630 h 2936314"/>
              <a:gd name="connsiteX53" fmla="*/ 4059534 w 11867103"/>
              <a:gd name="connsiteY53" fmla="*/ 2825437 h 2936314"/>
              <a:gd name="connsiteX54" fmla="*/ 3768132 w 11867103"/>
              <a:gd name="connsiteY54" fmla="*/ 2795292 h 2936314"/>
              <a:gd name="connsiteX55" fmla="*/ 3627455 w 11867103"/>
              <a:gd name="connsiteY55" fmla="*/ 2785244 h 2936314"/>
              <a:gd name="connsiteX56" fmla="*/ 3125037 w 11867103"/>
              <a:gd name="connsiteY56" fmla="*/ 2795292 h 2936314"/>
              <a:gd name="connsiteX57" fmla="*/ 3064747 w 11867103"/>
              <a:gd name="connsiteY57" fmla="*/ 2805340 h 2936314"/>
              <a:gd name="connsiteX58" fmla="*/ 2009670 w 11867103"/>
              <a:gd name="connsiteY58" fmla="*/ 2815389 h 2936314"/>
              <a:gd name="connsiteX59" fmla="*/ 1678075 w 11867103"/>
              <a:gd name="connsiteY59" fmla="*/ 2905824 h 2936314"/>
              <a:gd name="connsiteX60" fmla="*/ 1607736 w 11867103"/>
              <a:gd name="connsiteY60" fmla="*/ 2935969 h 2936314"/>
              <a:gd name="connsiteX61" fmla="*/ 1135464 w 11867103"/>
              <a:gd name="connsiteY61" fmla="*/ 2915872 h 2936314"/>
              <a:gd name="connsiteX62" fmla="*/ 944545 w 11867103"/>
              <a:gd name="connsiteY62" fmla="*/ 2885727 h 2936314"/>
              <a:gd name="connsiteX63" fmla="*/ 723481 w 11867103"/>
              <a:gd name="connsiteY63" fmla="*/ 2845534 h 2936314"/>
              <a:gd name="connsiteX64" fmla="*/ 643095 w 11867103"/>
              <a:gd name="connsiteY64" fmla="*/ 2835485 h 2936314"/>
              <a:gd name="connsiteX65" fmla="*/ 371789 w 11867103"/>
              <a:gd name="connsiteY65" fmla="*/ 2795292 h 2936314"/>
              <a:gd name="connsiteX66" fmla="*/ 0 w 11867103"/>
              <a:gd name="connsiteY66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36958 w 11867103"/>
              <a:gd name="connsiteY19" fmla="*/ 393736 h 2936314"/>
              <a:gd name="connsiteX20" fmla="*/ 11826910 w 11867103"/>
              <a:gd name="connsiteY20" fmla="*/ 705235 h 2936314"/>
              <a:gd name="connsiteX21" fmla="*/ 11816862 w 11867103"/>
              <a:gd name="connsiteY21" fmla="*/ 765525 h 2936314"/>
              <a:gd name="connsiteX22" fmla="*/ 11806813 w 11867103"/>
              <a:gd name="connsiteY22" fmla="*/ 835863 h 2936314"/>
              <a:gd name="connsiteX23" fmla="*/ 11816862 w 11867103"/>
              <a:gd name="connsiteY23" fmla="*/ 2302923 h 2936314"/>
              <a:gd name="connsiteX24" fmla="*/ 11826910 w 11867103"/>
              <a:gd name="connsiteY24" fmla="*/ 2373261 h 2936314"/>
              <a:gd name="connsiteX25" fmla="*/ 11836958 w 11867103"/>
              <a:gd name="connsiteY25" fmla="*/ 2403406 h 2936314"/>
              <a:gd name="connsiteX26" fmla="*/ 11857055 w 11867103"/>
              <a:gd name="connsiteY26" fmla="*/ 2534035 h 2936314"/>
              <a:gd name="connsiteX27" fmla="*/ 11867103 w 11867103"/>
              <a:gd name="connsiteY27" fmla="*/ 2574228 h 2936314"/>
              <a:gd name="connsiteX28" fmla="*/ 11857055 w 11867103"/>
              <a:gd name="connsiteY28" fmla="*/ 2805340 h 2936314"/>
              <a:gd name="connsiteX29" fmla="*/ 11836958 w 11867103"/>
              <a:gd name="connsiteY29" fmla="*/ 2835485 h 2936314"/>
              <a:gd name="connsiteX30" fmla="*/ 11033090 w 11867103"/>
              <a:gd name="connsiteY30" fmla="*/ 2825437 h 2936314"/>
              <a:gd name="connsiteX31" fmla="*/ 10621108 w 11867103"/>
              <a:gd name="connsiteY31" fmla="*/ 2815389 h 2936314"/>
              <a:gd name="connsiteX32" fmla="*/ 10128739 w 11867103"/>
              <a:gd name="connsiteY32" fmla="*/ 2825437 h 2936314"/>
              <a:gd name="connsiteX33" fmla="*/ 10048352 w 11867103"/>
              <a:gd name="connsiteY33" fmla="*/ 2835485 h 2936314"/>
              <a:gd name="connsiteX34" fmla="*/ 9555982 w 11867103"/>
              <a:gd name="connsiteY34" fmla="*/ 2825437 h 2936314"/>
              <a:gd name="connsiteX35" fmla="*/ 9445451 w 11867103"/>
              <a:gd name="connsiteY35" fmla="*/ 2815389 h 2936314"/>
              <a:gd name="connsiteX36" fmla="*/ 9415306 w 11867103"/>
              <a:gd name="connsiteY36" fmla="*/ 2795292 h 2936314"/>
              <a:gd name="connsiteX37" fmla="*/ 9204290 w 11867103"/>
              <a:gd name="connsiteY37" fmla="*/ 2775195 h 2936314"/>
              <a:gd name="connsiteX38" fmla="*/ 9073662 w 11867103"/>
              <a:gd name="connsiteY38" fmla="*/ 2755098 h 2936314"/>
              <a:gd name="connsiteX39" fmla="*/ 8812404 w 11867103"/>
              <a:gd name="connsiteY39" fmla="*/ 2745050 h 2936314"/>
              <a:gd name="connsiteX40" fmla="*/ 8400422 w 11867103"/>
              <a:gd name="connsiteY40" fmla="*/ 2735002 h 2936314"/>
              <a:gd name="connsiteX41" fmla="*/ 8269793 w 11867103"/>
              <a:gd name="connsiteY41" fmla="*/ 2724953 h 2936314"/>
              <a:gd name="connsiteX42" fmla="*/ 7797521 w 11867103"/>
              <a:gd name="connsiteY42" fmla="*/ 2745050 h 2936314"/>
              <a:gd name="connsiteX43" fmla="*/ 7717134 w 11867103"/>
              <a:gd name="connsiteY43" fmla="*/ 2755098 h 2936314"/>
              <a:gd name="connsiteX44" fmla="*/ 7486022 w 11867103"/>
              <a:gd name="connsiteY44" fmla="*/ 2785244 h 2936314"/>
              <a:gd name="connsiteX45" fmla="*/ 7395587 w 11867103"/>
              <a:gd name="connsiteY45" fmla="*/ 2805340 h 2936314"/>
              <a:gd name="connsiteX46" fmla="*/ 7325248 w 11867103"/>
              <a:gd name="connsiteY46" fmla="*/ 2815389 h 2936314"/>
              <a:gd name="connsiteX47" fmla="*/ 6863024 w 11867103"/>
              <a:gd name="connsiteY47" fmla="*/ 2805340 h 2936314"/>
              <a:gd name="connsiteX48" fmla="*/ 6722347 w 11867103"/>
              <a:gd name="connsiteY48" fmla="*/ 2795292 h 2936314"/>
              <a:gd name="connsiteX49" fmla="*/ 4903596 w 11867103"/>
              <a:gd name="connsiteY49" fmla="*/ 2845534 h 2936314"/>
              <a:gd name="connsiteX50" fmla="*/ 4722725 w 11867103"/>
              <a:gd name="connsiteY50" fmla="*/ 2885727 h 2936314"/>
              <a:gd name="connsiteX51" fmla="*/ 4300695 w 11867103"/>
              <a:gd name="connsiteY51" fmla="*/ 2865630 h 2936314"/>
              <a:gd name="connsiteX52" fmla="*/ 4059534 w 11867103"/>
              <a:gd name="connsiteY52" fmla="*/ 2825437 h 2936314"/>
              <a:gd name="connsiteX53" fmla="*/ 3768132 w 11867103"/>
              <a:gd name="connsiteY53" fmla="*/ 2795292 h 2936314"/>
              <a:gd name="connsiteX54" fmla="*/ 3627455 w 11867103"/>
              <a:gd name="connsiteY54" fmla="*/ 2785244 h 2936314"/>
              <a:gd name="connsiteX55" fmla="*/ 3125037 w 11867103"/>
              <a:gd name="connsiteY55" fmla="*/ 2795292 h 2936314"/>
              <a:gd name="connsiteX56" fmla="*/ 3064747 w 11867103"/>
              <a:gd name="connsiteY56" fmla="*/ 2805340 h 2936314"/>
              <a:gd name="connsiteX57" fmla="*/ 2009670 w 11867103"/>
              <a:gd name="connsiteY57" fmla="*/ 2815389 h 2936314"/>
              <a:gd name="connsiteX58" fmla="*/ 1678075 w 11867103"/>
              <a:gd name="connsiteY58" fmla="*/ 2905824 h 2936314"/>
              <a:gd name="connsiteX59" fmla="*/ 1607736 w 11867103"/>
              <a:gd name="connsiteY59" fmla="*/ 2935969 h 2936314"/>
              <a:gd name="connsiteX60" fmla="*/ 1135464 w 11867103"/>
              <a:gd name="connsiteY60" fmla="*/ 2915872 h 2936314"/>
              <a:gd name="connsiteX61" fmla="*/ 944545 w 11867103"/>
              <a:gd name="connsiteY61" fmla="*/ 2885727 h 2936314"/>
              <a:gd name="connsiteX62" fmla="*/ 723481 w 11867103"/>
              <a:gd name="connsiteY62" fmla="*/ 2845534 h 2936314"/>
              <a:gd name="connsiteX63" fmla="*/ 643095 w 11867103"/>
              <a:gd name="connsiteY63" fmla="*/ 2835485 h 2936314"/>
              <a:gd name="connsiteX64" fmla="*/ 371789 w 11867103"/>
              <a:gd name="connsiteY64" fmla="*/ 2795292 h 2936314"/>
              <a:gd name="connsiteX65" fmla="*/ 0 w 11867103"/>
              <a:gd name="connsiteY65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26910 w 11867103"/>
              <a:gd name="connsiteY19" fmla="*/ 705235 h 2936314"/>
              <a:gd name="connsiteX20" fmla="*/ 11816862 w 11867103"/>
              <a:gd name="connsiteY20" fmla="*/ 765525 h 2936314"/>
              <a:gd name="connsiteX21" fmla="*/ 11806813 w 11867103"/>
              <a:gd name="connsiteY21" fmla="*/ 835863 h 2936314"/>
              <a:gd name="connsiteX22" fmla="*/ 11816862 w 11867103"/>
              <a:gd name="connsiteY22" fmla="*/ 2302923 h 2936314"/>
              <a:gd name="connsiteX23" fmla="*/ 11826910 w 11867103"/>
              <a:gd name="connsiteY23" fmla="*/ 2373261 h 2936314"/>
              <a:gd name="connsiteX24" fmla="*/ 11836958 w 11867103"/>
              <a:gd name="connsiteY24" fmla="*/ 2403406 h 2936314"/>
              <a:gd name="connsiteX25" fmla="*/ 11857055 w 11867103"/>
              <a:gd name="connsiteY25" fmla="*/ 2534035 h 2936314"/>
              <a:gd name="connsiteX26" fmla="*/ 11867103 w 11867103"/>
              <a:gd name="connsiteY26" fmla="*/ 2574228 h 2936314"/>
              <a:gd name="connsiteX27" fmla="*/ 11857055 w 11867103"/>
              <a:gd name="connsiteY27" fmla="*/ 2805340 h 2936314"/>
              <a:gd name="connsiteX28" fmla="*/ 11836958 w 11867103"/>
              <a:gd name="connsiteY28" fmla="*/ 2835485 h 2936314"/>
              <a:gd name="connsiteX29" fmla="*/ 11033090 w 11867103"/>
              <a:gd name="connsiteY29" fmla="*/ 2825437 h 2936314"/>
              <a:gd name="connsiteX30" fmla="*/ 10621108 w 11867103"/>
              <a:gd name="connsiteY30" fmla="*/ 2815389 h 2936314"/>
              <a:gd name="connsiteX31" fmla="*/ 10128739 w 11867103"/>
              <a:gd name="connsiteY31" fmla="*/ 2825437 h 2936314"/>
              <a:gd name="connsiteX32" fmla="*/ 10048352 w 11867103"/>
              <a:gd name="connsiteY32" fmla="*/ 2835485 h 2936314"/>
              <a:gd name="connsiteX33" fmla="*/ 9555982 w 11867103"/>
              <a:gd name="connsiteY33" fmla="*/ 2825437 h 2936314"/>
              <a:gd name="connsiteX34" fmla="*/ 9445451 w 11867103"/>
              <a:gd name="connsiteY34" fmla="*/ 2815389 h 2936314"/>
              <a:gd name="connsiteX35" fmla="*/ 9415306 w 11867103"/>
              <a:gd name="connsiteY35" fmla="*/ 2795292 h 2936314"/>
              <a:gd name="connsiteX36" fmla="*/ 9204290 w 11867103"/>
              <a:gd name="connsiteY36" fmla="*/ 2775195 h 2936314"/>
              <a:gd name="connsiteX37" fmla="*/ 9073662 w 11867103"/>
              <a:gd name="connsiteY37" fmla="*/ 2755098 h 2936314"/>
              <a:gd name="connsiteX38" fmla="*/ 8812404 w 11867103"/>
              <a:gd name="connsiteY38" fmla="*/ 2745050 h 2936314"/>
              <a:gd name="connsiteX39" fmla="*/ 8400422 w 11867103"/>
              <a:gd name="connsiteY39" fmla="*/ 2735002 h 2936314"/>
              <a:gd name="connsiteX40" fmla="*/ 8269793 w 11867103"/>
              <a:gd name="connsiteY40" fmla="*/ 2724953 h 2936314"/>
              <a:gd name="connsiteX41" fmla="*/ 7797521 w 11867103"/>
              <a:gd name="connsiteY41" fmla="*/ 2745050 h 2936314"/>
              <a:gd name="connsiteX42" fmla="*/ 7717134 w 11867103"/>
              <a:gd name="connsiteY42" fmla="*/ 2755098 h 2936314"/>
              <a:gd name="connsiteX43" fmla="*/ 7486022 w 11867103"/>
              <a:gd name="connsiteY43" fmla="*/ 2785244 h 2936314"/>
              <a:gd name="connsiteX44" fmla="*/ 7395587 w 11867103"/>
              <a:gd name="connsiteY44" fmla="*/ 2805340 h 2936314"/>
              <a:gd name="connsiteX45" fmla="*/ 7325248 w 11867103"/>
              <a:gd name="connsiteY45" fmla="*/ 2815389 h 2936314"/>
              <a:gd name="connsiteX46" fmla="*/ 6863024 w 11867103"/>
              <a:gd name="connsiteY46" fmla="*/ 2805340 h 2936314"/>
              <a:gd name="connsiteX47" fmla="*/ 6722347 w 11867103"/>
              <a:gd name="connsiteY47" fmla="*/ 2795292 h 2936314"/>
              <a:gd name="connsiteX48" fmla="*/ 4903596 w 11867103"/>
              <a:gd name="connsiteY48" fmla="*/ 2845534 h 2936314"/>
              <a:gd name="connsiteX49" fmla="*/ 4722725 w 11867103"/>
              <a:gd name="connsiteY49" fmla="*/ 2885727 h 2936314"/>
              <a:gd name="connsiteX50" fmla="*/ 4300695 w 11867103"/>
              <a:gd name="connsiteY50" fmla="*/ 2865630 h 2936314"/>
              <a:gd name="connsiteX51" fmla="*/ 4059534 w 11867103"/>
              <a:gd name="connsiteY51" fmla="*/ 2825437 h 2936314"/>
              <a:gd name="connsiteX52" fmla="*/ 3768132 w 11867103"/>
              <a:gd name="connsiteY52" fmla="*/ 2795292 h 2936314"/>
              <a:gd name="connsiteX53" fmla="*/ 3627455 w 11867103"/>
              <a:gd name="connsiteY53" fmla="*/ 2785244 h 2936314"/>
              <a:gd name="connsiteX54" fmla="*/ 3125037 w 11867103"/>
              <a:gd name="connsiteY54" fmla="*/ 2795292 h 2936314"/>
              <a:gd name="connsiteX55" fmla="*/ 3064747 w 11867103"/>
              <a:gd name="connsiteY55" fmla="*/ 2805340 h 2936314"/>
              <a:gd name="connsiteX56" fmla="*/ 2009670 w 11867103"/>
              <a:gd name="connsiteY56" fmla="*/ 2815389 h 2936314"/>
              <a:gd name="connsiteX57" fmla="*/ 1678075 w 11867103"/>
              <a:gd name="connsiteY57" fmla="*/ 2905824 h 2936314"/>
              <a:gd name="connsiteX58" fmla="*/ 1607736 w 11867103"/>
              <a:gd name="connsiteY58" fmla="*/ 2935969 h 2936314"/>
              <a:gd name="connsiteX59" fmla="*/ 1135464 w 11867103"/>
              <a:gd name="connsiteY59" fmla="*/ 2915872 h 2936314"/>
              <a:gd name="connsiteX60" fmla="*/ 944545 w 11867103"/>
              <a:gd name="connsiteY60" fmla="*/ 2885727 h 2936314"/>
              <a:gd name="connsiteX61" fmla="*/ 723481 w 11867103"/>
              <a:gd name="connsiteY61" fmla="*/ 2845534 h 2936314"/>
              <a:gd name="connsiteX62" fmla="*/ 643095 w 11867103"/>
              <a:gd name="connsiteY62" fmla="*/ 2835485 h 2936314"/>
              <a:gd name="connsiteX63" fmla="*/ 371789 w 11867103"/>
              <a:gd name="connsiteY63" fmla="*/ 2795292 h 2936314"/>
              <a:gd name="connsiteX64" fmla="*/ 0 w 11867103"/>
              <a:gd name="connsiteY64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26910 w 11867103"/>
              <a:gd name="connsiteY19" fmla="*/ 705235 h 2936314"/>
              <a:gd name="connsiteX20" fmla="*/ 11806813 w 11867103"/>
              <a:gd name="connsiteY20" fmla="*/ 835863 h 2936314"/>
              <a:gd name="connsiteX21" fmla="*/ 11816862 w 11867103"/>
              <a:gd name="connsiteY21" fmla="*/ 2302923 h 2936314"/>
              <a:gd name="connsiteX22" fmla="*/ 11826910 w 11867103"/>
              <a:gd name="connsiteY22" fmla="*/ 2373261 h 2936314"/>
              <a:gd name="connsiteX23" fmla="*/ 11836958 w 11867103"/>
              <a:gd name="connsiteY23" fmla="*/ 2403406 h 2936314"/>
              <a:gd name="connsiteX24" fmla="*/ 11857055 w 11867103"/>
              <a:gd name="connsiteY24" fmla="*/ 2534035 h 2936314"/>
              <a:gd name="connsiteX25" fmla="*/ 11867103 w 11867103"/>
              <a:gd name="connsiteY25" fmla="*/ 2574228 h 2936314"/>
              <a:gd name="connsiteX26" fmla="*/ 11857055 w 11867103"/>
              <a:gd name="connsiteY26" fmla="*/ 2805340 h 2936314"/>
              <a:gd name="connsiteX27" fmla="*/ 11836958 w 11867103"/>
              <a:gd name="connsiteY27" fmla="*/ 2835485 h 2936314"/>
              <a:gd name="connsiteX28" fmla="*/ 11033090 w 11867103"/>
              <a:gd name="connsiteY28" fmla="*/ 2825437 h 2936314"/>
              <a:gd name="connsiteX29" fmla="*/ 10621108 w 11867103"/>
              <a:gd name="connsiteY29" fmla="*/ 2815389 h 2936314"/>
              <a:gd name="connsiteX30" fmla="*/ 10128739 w 11867103"/>
              <a:gd name="connsiteY30" fmla="*/ 2825437 h 2936314"/>
              <a:gd name="connsiteX31" fmla="*/ 10048352 w 11867103"/>
              <a:gd name="connsiteY31" fmla="*/ 2835485 h 2936314"/>
              <a:gd name="connsiteX32" fmla="*/ 9555982 w 11867103"/>
              <a:gd name="connsiteY32" fmla="*/ 2825437 h 2936314"/>
              <a:gd name="connsiteX33" fmla="*/ 9445451 w 11867103"/>
              <a:gd name="connsiteY33" fmla="*/ 2815389 h 2936314"/>
              <a:gd name="connsiteX34" fmla="*/ 9415306 w 11867103"/>
              <a:gd name="connsiteY34" fmla="*/ 2795292 h 2936314"/>
              <a:gd name="connsiteX35" fmla="*/ 9204290 w 11867103"/>
              <a:gd name="connsiteY35" fmla="*/ 2775195 h 2936314"/>
              <a:gd name="connsiteX36" fmla="*/ 9073662 w 11867103"/>
              <a:gd name="connsiteY36" fmla="*/ 2755098 h 2936314"/>
              <a:gd name="connsiteX37" fmla="*/ 8812404 w 11867103"/>
              <a:gd name="connsiteY37" fmla="*/ 2745050 h 2936314"/>
              <a:gd name="connsiteX38" fmla="*/ 8400422 w 11867103"/>
              <a:gd name="connsiteY38" fmla="*/ 2735002 h 2936314"/>
              <a:gd name="connsiteX39" fmla="*/ 8269793 w 11867103"/>
              <a:gd name="connsiteY39" fmla="*/ 2724953 h 2936314"/>
              <a:gd name="connsiteX40" fmla="*/ 7797521 w 11867103"/>
              <a:gd name="connsiteY40" fmla="*/ 2745050 h 2936314"/>
              <a:gd name="connsiteX41" fmla="*/ 7717134 w 11867103"/>
              <a:gd name="connsiteY41" fmla="*/ 2755098 h 2936314"/>
              <a:gd name="connsiteX42" fmla="*/ 7486022 w 11867103"/>
              <a:gd name="connsiteY42" fmla="*/ 2785244 h 2936314"/>
              <a:gd name="connsiteX43" fmla="*/ 7395587 w 11867103"/>
              <a:gd name="connsiteY43" fmla="*/ 2805340 h 2936314"/>
              <a:gd name="connsiteX44" fmla="*/ 7325248 w 11867103"/>
              <a:gd name="connsiteY44" fmla="*/ 2815389 h 2936314"/>
              <a:gd name="connsiteX45" fmla="*/ 6863024 w 11867103"/>
              <a:gd name="connsiteY45" fmla="*/ 2805340 h 2936314"/>
              <a:gd name="connsiteX46" fmla="*/ 6722347 w 11867103"/>
              <a:gd name="connsiteY46" fmla="*/ 2795292 h 2936314"/>
              <a:gd name="connsiteX47" fmla="*/ 4903596 w 11867103"/>
              <a:gd name="connsiteY47" fmla="*/ 2845534 h 2936314"/>
              <a:gd name="connsiteX48" fmla="*/ 4722725 w 11867103"/>
              <a:gd name="connsiteY48" fmla="*/ 2885727 h 2936314"/>
              <a:gd name="connsiteX49" fmla="*/ 4300695 w 11867103"/>
              <a:gd name="connsiteY49" fmla="*/ 2865630 h 2936314"/>
              <a:gd name="connsiteX50" fmla="*/ 4059534 w 11867103"/>
              <a:gd name="connsiteY50" fmla="*/ 2825437 h 2936314"/>
              <a:gd name="connsiteX51" fmla="*/ 3768132 w 11867103"/>
              <a:gd name="connsiteY51" fmla="*/ 2795292 h 2936314"/>
              <a:gd name="connsiteX52" fmla="*/ 3627455 w 11867103"/>
              <a:gd name="connsiteY52" fmla="*/ 2785244 h 2936314"/>
              <a:gd name="connsiteX53" fmla="*/ 3125037 w 11867103"/>
              <a:gd name="connsiteY53" fmla="*/ 2795292 h 2936314"/>
              <a:gd name="connsiteX54" fmla="*/ 3064747 w 11867103"/>
              <a:gd name="connsiteY54" fmla="*/ 2805340 h 2936314"/>
              <a:gd name="connsiteX55" fmla="*/ 2009670 w 11867103"/>
              <a:gd name="connsiteY55" fmla="*/ 2815389 h 2936314"/>
              <a:gd name="connsiteX56" fmla="*/ 1678075 w 11867103"/>
              <a:gd name="connsiteY56" fmla="*/ 2905824 h 2936314"/>
              <a:gd name="connsiteX57" fmla="*/ 1607736 w 11867103"/>
              <a:gd name="connsiteY57" fmla="*/ 2935969 h 2936314"/>
              <a:gd name="connsiteX58" fmla="*/ 1135464 w 11867103"/>
              <a:gd name="connsiteY58" fmla="*/ 2915872 h 2936314"/>
              <a:gd name="connsiteX59" fmla="*/ 944545 w 11867103"/>
              <a:gd name="connsiteY59" fmla="*/ 2885727 h 2936314"/>
              <a:gd name="connsiteX60" fmla="*/ 723481 w 11867103"/>
              <a:gd name="connsiteY60" fmla="*/ 2845534 h 2936314"/>
              <a:gd name="connsiteX61" fmla="*/ 643095 w 11867103"/>
              <a:gd name="connsiteY61" fmla="*/ 2835485 h 2936314"/>
              <a:gd name="connsiteX62" fmla="*/ 371789 w 11867103"/>
              <a:gd name="connsiteY62" fmla="*/ 2795292 h 2936314"/>
              <a:gd name="connsiteX63" fmla="*/ 0 w 11867103"/>
              <a:gd name="connsiteY63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26910 w 11867103"/>
              <a:gd name="connsiteY19" fmla="*/ 705235 h 2936314"/>
              <a:gd name="connsiteX20" fmla="*/ 11816862 w 11867103"/>
              <a:gd name="connsiteY20" fmla="*/ 2302923 h 2936314"/>
              <a:gd name="connsiteX21" fmla="*/ 11826910 w 11867103"/>
              <a:gd name="connsiteY21" fmla="*/ 2373261 h 2936314"/>
              <a:gd name="connsiteX22" fmla="*/ 11836958 w 11867103"/>
              <a:gd name="connsiteY22" fmla="*/ 2403406 h 2936314"/>
              <a:gd name="connsiteX23" fmla="*/ 11857055 w 11867103"/>
              <a:gd name="connsiteY23" fmla="*/ 2534035 h 2936314"/>
              <a:gd name="connsiteX24" fmla="*/ 11867103 w 11867103"/>
              <a:gd name="connsiteY24" fmla="*/ 2574228 h 2936314"/>
              <a:gd name="connsiteX25" fmla="*/ 11857055 w 11867103"/>
              <a:gd name="connsiteY25" fmla="*/ 2805340 h 2936314"/>
              <a:gd name="connsiteX26" fmla="*/ 11836958 w 11867103"/>
              <a:gd name="connsiteY26" fmla="*/ 2835485 h 2936314"/>
              <a:gd name="connsiteX27" fmla="*/ 11033090 w 11867103"/>
              <a:gd name="connsiteY27" fmla="*/ 2825437 h 2936314"/>
              <a:gd name="connsiteX28" fmla="*/ 10621108 w 11867103"/>
              <a:gd name="connsiteY28" fmla="*/ 2815389 h 2936314"/>
              <a:gd name="connsiteX29" fmla="*/ 10128739 w 11867103"/>
              <a:gd name="connsiteY29" fmla="*/ 2825437 h 2936314"/>
              <a:gd name="connsiteX30" fmla="*/ 10048352 w 11867103"/>
              <a:gd name="connsiteY30" fmla="*/ 2835485 h 2936314"/>
              <a:gd name="connsiteX31" fmla="*/ 9555982 w 11867103"/>
              <a:gd name="connsiteY31" fmla="*/ 2825437 h 2936314"/>
              <a:gd name="connsiteX32" fmla="*/ 9445451 w 11867103"/>
              <a:gd name="connsiteY32" fmla="*/ 2815389 h 2936314"/>
              <a:gd name="connsiteX33" fmla="*/ 9415306 w 11867103"/>
              <a:gd name="connsiteY33" fmla="*/ 2795292 h 2936314"/>
              <a:gd name="connsiteX34" fmla="*/ 9204290 w 11867103"/>
              <a:gd name="connsiteY34" fmla="*/ 2775195 h 2936314"/>
              <a:gd name="connsiteX35" fmla="*/ 9073662 w 11867103"/>
              <a:gd name="connsiteY35" fmla="*/ 2755098 h 2936314"/>
              <a:gd name="connsiteX36" fmla="*/ 8812404 w 11867103"/>
              <a:gd name="connsiteY36" fmla="*/ 2745050 h 2936314"/>
              <a:gd name="connsiteX37" fmla="*/ 8400422 w 11867103"/>
              <a:gd name="connsiteY37" fmla="*/ 2735002 h 2936314"/>
              <a:gd name="connsiteX38" fmla="*/ 8269793 w 11867103"/>
              <a:gd name="connsiteY38" fmla="*/ 2724953 h 2936314"/>
              <a:gd name="connsiteX39" fmla="*/ 7797521 w 11867103"/>
              <a:gd name="connsiteY39" fmla="*/ 2745050 h 2936314"/>
              <a:gd name="connsiteX40" fmla="*/ 7717134 w 11867103"/>
              <a:gd name="connsiteY40" fmla="*/ 2755098 h 2936314"/>
              <a:gd name="connsiteX41" fmla="*/ 7486022 w 11867103"/>
              <a:gd name="connsiteY41" fmla="*/ 2785244 h 2936314"/>
              <a:gd name="connsiteX42" fmla="*/ 7395587 w 11867103"/>
              <a:gd name="connsiteY42" fmla="*/ 2805340 h 2936314"/>
              <a:gd name="connsiteX43" fmla="*/ 7325248 w 11867103"/>
              <a:gd name="connsiteY43" fmla="*/ 2815389 h 2936314"/>
              <a:gd name="connsiteX44" fmla="*/ 6863024 w 11867103"/>
              <a:gd name="connsiteY44" fmla="*/ 2805340 h 2936314"/>
              <a:gd name="connsiteX45" fmla="*/ 6722347 w 11867103"/>
              <a:gd name="connsiteY45" fmla="*/ 2795292 h 2936314"/>
              <a:gd name="connsiteX46" fmla="*/ 4903596 w 11867103"/>
              <a:gd name="connsiteY46" fmla="*/ 2845534 h 2936314"/>
              <a:gd name="connsiteX47" fmla="*/ 4722725 w 11867103"/>
              <a:gd name="connsiteY47" fmla="*/ 2885727 h 2936314"/>
              <a:gd name="connsiteX48" fmla="*/ 4300695 w 11867103"/>
              <a:gd name="connsiteY48" fmla="*/ 2865630 h 2936314"/>
              <a:gd name="connsiteX49" fmla="*/ 4059534 w 11867103"/>
              <a:gd name="connsiteY49" fmla="*/ 2825437 h 2936314"/>
              <a:gd name="connsiteX50" fmla="*/ 3768132 w 11867103"/>
              <a:gd name="connsiteY50" fmla="*/ 2795292 h 2936314"/>
              <a:gd name="connsiteX51" fmla="*/ 3627455 w 11867103"/>
              <a:gd name="connsiteY51" fmla="*/ 2785244 h 2936314"/>
              <a:gd name="connsiteX52" fmla="*/ 3125037 w 11867103"/>
              <a:gd name="connsiteY52" fmla="*/ 2795292 h 2936314"/>
              <a:gd name="connsiteX53" fmla="*/ 3064747 w 11867103"/>
              <a:gd name="connsiteY53" fmla="*/ 2805340 h 2936314"/>
              <a:gd name="connsiteX54" fmla="*/ 2009670 w 11867103"/>
              <a:gd name="connsiteY54" fmla="*/ 2815389 h 2936314"/>
              <a:gd name="connsiteX55" fmla="*/ 1678075 w 11867103"/>
              <a:gd name="connsiteY55" fmla="*/ 2905824 h 2936314"/>
              <a:gd name="connsiteX56" fmla="*/ 1607736 w 11867103"/>
              <a:gd name="connsiteY56" fmla="*/ 2935969 h 2936314"/>
              <a:gd name="connsiteX57" fmla="*/ 1135464 w 11867103"/>
              <a:gd name="connsiteY57" fmla="*/ 2915872 h 2936314"/>
              <a:gd name="connsiteX58" fmla="*/ 944545 w 11867103"/>
              <a:gd name="connsiteY58" fmla="*/ 2885727 h 2936314"/>
              <a:gd name="connsiteX59" fmla="*/ 723481 w 11867103"/>
              <a:gd name="connsiteY59" fmla="*/ 2845534 h 2936314"/>
              <a:gd name="connsiteX60" fmla="*/ 643095 w 11867103"/>
              <a:gd name="connsiteY60" fmla="*/ 2835485 h 2936314"/>
              <a:gd name="connsiteX61" fmla="*/ 371789 w 11867103"/>
              <a:gd name="connsiteY61" fmla="*/ 2795292 h 2936314"/>
              <a:gd name="connsiteX62" fmla="*/ 0 w 11867103"/>
              <a:gd name="connsiteY62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16862 w 11867103"/>
              <a:gd name="connsiteY19" fmla="*/ 2302923 h 2936314"/>
              <a:gd name="connsiteX20" fmla="*/ 11826910 w 11867103"/>
              <a:gd name="connsiteY20" fmla="*/ 2373261 h 2936314"/>
              <a:gd name="connsiteX21" fmla="*/ 11836958 w 11867103"/>
              <a:gd name="connsiteY21" fmla="*/ 2403406 h 2936314"/>
              <a:gd name="connsiteX22" fmla="*/ 11857055 w 11867103"/>
              <a:gd name="connsiteY22" fmla="*/ 2534035 h 2936314"/>
              <a:gd name="connsiteX23" fmla="*/ 11867103 w 11867103"/>
              <a:gd name="connsiteY23" fmla="*/ 2574228 h 2936314"/>
              <a:gd name="connsiteX24" fmla="*/ 11857055 w 11867103"/>
              <a:gd name="connsiteY24" fmla="*/ 2805340 h 2936314"/>
              <a:gd name="connsiteX25" fmla="*/ 11836958 w 11867103"/>
              <a:gd name="connsiteY25" fmla="*/ 2835485 h 2936314"/>
              <a:gd name="connsiteX26" fmla="*/ 11033090 w 11867103"/>
              <a:gd name="connsiteY26" fmla="*/ 2825437 h 2936314"/>
              <a:gd name="connsiteX27" fmla="*/ 10621108 w 11867103"/>
              <a:gd name="connsiteY27" fmla="*/ 2815389 h 2936314"/>
              <a:gd name="connsiteX28" fmla="*/ 10128739 w 11867103"/>
              <a:gd name="connsiteY28" fmla="*/ 2825437 h 2936314"/>
              <a:gd name="connsiteX29" fmla="*/ 10048352 w 11867103"/>
              <a:gd name="connsiteY29" fmla="*/ 2835485 h 2936314"/>
              <a:gd name="connsiteX30" fmla="*/ 9555982 w 11867103"/>
              <a:gd name="connsiteY30" fmla="*/ 2825437 h 2936314"/>
              <a:gd name="connsiteX31" fmla="*/ 9445451 w 11867103"/>
              <a:gd name="connsiteY31" fmla="*/ 2815389 h 2936314"/>
              <a:gd name="connsiteX32" fmla="*/ 9415306 w 11867103"/>
              <a:gd name="connsiteY32" fmla="*/ 2795292 h 2936314"/>
              <a:gd name="connsiteX33" fmla="*/ 9204290 w 11867103"/>
              <a:gd name="connsiteY33" fmla="*/ 2775195 h 2936314"/>
              <a:gd name="connsiteX34" fmla="*/ 9073662 w 11867103"/>
              <a:gd name="connsiteY34" fmla="*/ 2755098 h 2936314"/>
              <a:gd name="connsiteX35" fmla="*/ 8812404 w 11867103"/>
              <a:gd name="connsiteY35" fmla="*/ 2745050 h 2936314"/>
              <a:gd name="connsiteX36" fmla="*/ 8400422 w 11867103"/>
              <a:gd name="connsiteY36" fmla="*/ 2735002 h 2936314"/>
              <a:gd name="connsiteX37" fmla="*/ 8269793 w 11867103"/>
              <a:gd name="connsiteY37" fmla="*/ 2724953 h 2936314"/>
              <a:gd name="connsiteX38" fmla="*/ 7797521 w 11867103"/>
              <a:gd name="connsiteY38" fmla="*/ 2745050 h 2936314"/>
              <a:gd name="connsiteX39" fmla="*/ 7717134 w 11867103"/>
              <a:gd name="connsiteY39" fmla="*/ 2755098 h 2936314"/>
              <a:gd name="connsiteX40" fmla="*/ 7486022 w 11867103"/>
              <a:gd name="connsiteY40" fmla="*/ 2785244 h 2936314"/>
              <a:gd name="connsiteX41" fmla="*/ 7395587 w 11867103"/>
              <a:gd name="connsiteY41" fmla="*/ 2805340 h 2936314"/>
              <a:gd name="connsiteX42" fmla="*/ 7325248 w 11867103"/>
              <a:gd name="connsiteY42" fmla="*/ 2815389 h 2936314"/>
              <a:gd name="connsiteX43" fmla="*/ 6863024 w 11867103"/>
              <a:gd name="connsiteY43" fmla="*/ 2805340 h 2936314"/>
              <a:gd name="connsiteX44" fmla="*/ 6722347 w 11867103"/>
              <a:gd name="connsiteY44" fmla="*/ 2795292 h 2936314"/>
              <a:gd name="connsiteX45" fmla="*/ 4903596 w 11867103"/>
              <a:gd name="connsiteY45" fmla="*/ 2845534 h 2936314"/>
              <a:gd name="connsiteX46" fmla="*/ 4722725 w 11867103"/>
              <a:gd name="connsiteY46" fmla="*/ 2885727 h 2936314"/>
              <a:gd name="connsiteX47" fmla="*/ 4300695 w 11867103"/>
              <a:gd name="connsiteY47" fmla="*/ 2865630 h 2936314"/>
              <a:gd name="connsiteX48" fmla="*/ 4059534 w 11867103"/>
              <a:gd name="connsiteY48" fmla="*/ 2825437 h 2936314"/>
              <a:gd name="connsiteX49" fmla="*/ 3768132 w 11867103"/>
              <a:gd name="connsiteY49" fmla="*/ 2795292 h 2936314"/>
              <a:gd name="connsiteX50" fmla="*/ 3627455 w 11867103"/>
              <a:gd name="connsiteY50" fmla="*/ 2785244 h 2936314"/>
              <a:gd name="connsiteX51" fmla="*/ 3125037 w 11867103"/>
              <a:gd name="connsiteY51" fmla="*/ 2795292 h 2936314"/>
              <a:gd name="connsiteX52" fmla="*/ 3064747 w 11867103"/>
              <a:gd name="connsiteY52" fmla="*/ 2805340 h 2936314"/>
              <a:gd name="connsiteX53" fmla="*/ 2009670 w 11867103"/>
              <a:gd name="connsiteY53" fmla="*/ 2815389 h 2936314"/>
              <a:gd name="connsiteX54" fmla="*/ 1678075 w 11867103"/>
              <a:gd name="connsiteY54" fmla="*/ 2905824 h 2936314"/>
              <a:gd name="connsiteX55" fmla="*/ 1607736 w 11867103"/>
              <a:gd name="connsiteY55" fmla="*/ 2935969 h 2936314"/>
              <a:gd name="connsiteX56" fmla="*/ 1135464 w 11867103"/>
              <a:gd name="connsiteY56" fmla="*/ 2915872 h 2936314"/>
              <a:gd name="connsiteX57" fmla="*/ 944545 w 11867103"/>
              <a:gd name="connsiteY57" fmla="*/ 2885727 h 2936314"/>
              <a:gd name="connsiteX58" fmla="*/ 723481 w 11867103"/>
              <a:gd name="connsiteY58" fmla="*/ 2845534 h 2936314"/>
              <a:gd name="connsiteX59" fmla="*/ 643095 w 11867103"/>
              <a:gd name="connsiteY59" fmla="*/ 2835485 h 2936314"/>
              <a:gd name="connsiteX60" fmla="*/ 371789 w 11867103"/>
              <a:gd name="connsiteY60" fmla="*/ 2795292 h 2936314"/>
              <a:gd name="connsiteX61" fmla="*/ 0 w 11867103"/>
              <a:gd name="connsiteY61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16862 w 11867103"/>
              <a:gd name="connsiteY18" fmla="*/ 2302923 h 2936314"/>
              <a:gd name="connsiteX19" fmla="*/ 11826910 w 11867103"/>
              <a:gd name="connsiteY19" fmla="*/ 2373261 h 2936314"/>
              <a:gd name="connsiteX20" fmla="*/ 11836958 w 11867103"/>
              <a:gd name="connsiteY20" fmla="*/ 2403406 h 2936314"/>
              <a:gd name="connsiteX21" fmla="*/ 11857055 w 11867103"/>
              <a:gd name="connsiteY21" fmla="*/ 2534035 h 2936314"/>
              <a:gd name="connsiteX22" fmla="*/ 11867103 w 11867103"/>
              <a:gd name="connsiteY22" fmla="*/ 2574228 h 2936314"/>
              <a:gd name="connsiteX23" fmla="*/ 11857055 w 11867103"/>
              <a:gd name="connsiteY23" fmla="*/ 2805340 h 2936314"/>
              <a:gd name="connsiteX24" fmla="*/ 11836958 w 11867103"/>
              <a:gd name="connsiteY24" fmla="*/ 2835485 h 2936314"/>
              <a:gd name="connsiteX25" fmla="*/ 11033090 w 11867103"/>
              <a:gd name="connsiteY25" fmla="*/ 2825437 h 2936314"/>
              <a:gd name="connsiteX26" fmla="*/ 10621108 w 11867103"/>
              <a:gd name="connsiteY26" fmla="*/ 2815389 h 2936314"/>
              <a:gd name="connsiteX27" fmla="*/ 10128739 w 11867103"/>
              <a:gd name="connsiteY27" fmla="*/ 2825437 h 2936314"/>
              <a:gd name="connsiteX28" fmla="*/ 10048352 w 11867103"/>
              <a:gd name="connsiteY28" fmla="*/ 2835485 h 2936314"/>
              <a:gd name="connsiteX29" fmla="*/ 9555982 w 11867103"/>
              <a:gd name="connsiteY29" fmla="*/ 2825437 h 2936314"/>
              <a:gd name="connsiteX30" fmla="*/ 9445451 w 11867103"/>
              <a:gd name="connsiteY30" fmla="*/ 2815389 h 2936314"/>
              <a:gd name="connsiteX31" fmla="*/ 9415306 w 11867103"/>
              <a:gd name="connsiteY31" fmla="*/ 2795292 h 2936314"/>
              <a:gd name="connsiteX32" fmla="*/ 9204290 w 11867103"/>
              <a:gd name="connsiteY32" fmla="*/ 2775195 h 2936314"/>
              <a:gd name="connsiteX33" fmla="*/ 9073662 w 11867103"/>
              <a:gd name="connsiteY33" fmla="*/ 2755098 h 2936314"/>
              <a:gd name="connsiteX34" fmla="*/ 8812404 w 11867103"/>
              <a:gd name="connsiteY34" fmla="*/ 2745050 h 2936314"/>
              <a:gd name="connsiteX35" fmla="*/ 8400422 w 11867103"/>
              <a:gd name="connsiteY35" fmla="*/ 2735002 h 2936314"/>
              <a:gd name="connsiteX36" fmla="*/ 8269793 w 11867103"/>
              <a:gd name="connsiteY36" fmla="*/ 2724953 h 2936314"/>
              <a:gd name="connsiteX37" fmla="*/ 7797521 w 11867103"/>
              <a:gd name="connsiteY37" fmla="*/ 2745050 h 2936314"/>
              <a:gd name="connsiteX38" fmla="*/ 7717134 w 11867103"/>
              <a:gd name="connsiteY38" fmla="*/ 2755098 h 2936314"/>
              <a:gd name="connsiteX39" fmla="*/ 7486022 w 11867103"/>
              <a:gd name="connsiteY39" fmla="*/ 2785244 h 2936314"/>
              <a:gd name="connsiteX40" fmla="*/ 7395587 w 11867103"/>
              <a:gd name="connsiteY40" fmla="*/ 2805340 h 2936314"/>
              <a:gd name="connsiteX41" fmla="*/ 7325248 w 11867103"/>
              <a:gd name="connsiteY41" fmla="*/ 2815389 h 2936314"/>
              <a:gd name="connsiteX42" fmla="*/ 6863024 w 11867103"/>
              <a:gd name="connsiteY42" fmla="*/ 2805340 h 2936314"/>
              <a:gd name="connsiteX43" fmla="*/ 6722347 w 11867103"/>
              <a:gd name="connsiteY43" fmla="*/ 2795292 h 2936314"/>
              <a:gd name="connsiteX44" fmla="*/ 4903596 w 11867103"/>
              <a:gd name="connsiteY44" fmla="*/ 2845534 h 2936314"/>
              <a:gd name="connsiteX45" fmla="*/ 4722725 w 11867103"/>
              <a:gd name="connsiteY45" fmla="*/ 2885727 h 2936314"/>
              <a:gd name="connsiteX46" fmla="*/ 4300695 w 11867103"/>
              <a:gd name="connsiteY46" fmla="*/ 2865630 h 2936314"/>
              <a:gd name="connsiteX47" fmla="*/ 4059534 w 11867103"/>
              <a:gd name="connsiteY47" fmla="*/ 2825437 h 2936314"/>
              <a:gd name="connsiteX48" fmla="*/ 3768132 w 11867103"/>
              <a:gd name="connsiteY48" fmla="*/ 2795292 h 2936314"/>
              <a:gd name="connsiteX49" fmla="*/ 3627455 w 11867103"/>
              <a:gd name="connsiteY49" fmla="*/ 2785244 h 2936314"/>
              <a:gd name="connsiteX50" fmla="*/ 3125037 w 11867103"/>
              <a:gd name="connsiteY50" fmla="*/ 2795292 h 2936314"/>
              <a:gd name="connsiteX51" fmla="*/ 3064747 w 11867103"/>
              <a:gd name="connsiteY51" fmla="*/ 2805340 h 2936314"/>
              <a:gd name="connsiteX52" fmla="*/ 2009670 w 11867103"/>
              <a:gd name="connsiteY52" fmla="*/ 2815389 h 2936314"/>
              <a:gd name="connsiteX53" fmla="*/ 1678075 w 11867103"/>
              <a:gd name="connsiteY53" fmla="*/ 2905824 h 2936314"/>
              <a:gd name="connsiteX54" fmla="*/ 1607736 w 11867103"/>
              <a:gd name="connsiteY54" fmla="*/ 2935969 h 2936314"/>
              <a:gd name="connsiteX55" fmla="*/ 1135464 w 11867103"/>
              <a:gd name="connsiteY55" fmla="*/ 2915872 h 2936314"/>
              <a:gd name="connsiteX56" fmla="*/ 944545 w 11867103"/>
              <a:gd name="connsiteY56" fmla="*/ 2885727 h 2936314"/>
              <a:gd name="connsiteX57" fmla="*/ 723481 w 11867103"/>
              <a:gd name="connsiteY57" fmla="*/ 2845534 h 2936314"/>
              <a:gd name="connsiteX58" fmla="*/ 643095 w 11867103"/>
              <a:gd name="connsiteY58" fmla="*/ 2835485 h 2936314"/>
              <a:gd name="connsiteX59" fmla="*/ 371789 w 11867103"/>
              <a:gd name="connsiteY59" fmla="*/ 2795292 h 2936314"/>
              <a:gd name="connsiteX60" fmla="*/ 0 w 11867103"/>
              <a:gd name="connsiteY60" fmla="*/ 2785244 h 2936314"/>
              <a:gd name="connsiteX0" fmla="*/ 120580 w 11867103"/>
              <a:gd name="connsiteY0" fmla="*/ 146825 h 3061192"/>
              <a:gd name="connsiteX1" fmla="*/ 281354 w 11867103"/>
              <a:gd name="connsiteY1" fmla="*/ 136776 h 3061192"/>
              <a:gd name="connsiteX2" fmla="*/ 673240 w 11867103"/>
              <a:gd name="connsiteY2" fmla="*/ 126728 h 3061192"/>
              <a:gd name="connsiteX3" fmla="*/ 1356528 w 11867103"/>
              <a:gd name="connsiteY3" fmla="*/ 176970 h 3061192"/>
              <a:gd name="connsiteX4" fmla="*/ 1758462 w 11867103"/>
              <a:gd name="connsiteY4" fmla="*/ 136776 h 3061192"/>
              <a:gd name="connsiteX5" fmla="*/ 2140299 w 11867103"/>
              <a:gd name="connsiteY5" fmla="*/ 136776 h 3061192"/>
              <a:gd name="connsiteX6" fmla="*/ 4652387 w 11867103"/>
              <a:gd name="connsiteY6" fmla="*/ 156873 h 3061192"/>
              <a:gd name="connsiteX7" fmla="*/ 4692580 w 11867103"/>
              <a:gd name="connsiteY7" fmla="*/ 166922 h 3061192"/>
              <a:gd name="connsiteX8" fmla="*/ 6420897 w 11867103"/>
              <a:gd name="connsiteY8" fmla="*/ 187018 h 3061192"/>
              <a:gd name="connsiteX9" fmla="*/ 7184571 w 11867103"/>
              <a:gd name="connsiteY9" fmla="*/ 156873 h 3061192"/>
              <a:gd name="connsiteX10" fmla="*/ 7928150 w 11867103"/>
              <a:gd name="connsiteY10" fmla="*/ 156873 h 3061192"/>
              <a:gd name="connsiteX11" fmla="*/ 8219552 w 11867103"/>
              <a:gd name="connsiteY11" fmla="*/ 187018 h 3061192"/>
              <a:gd name="connsiteX12" fmla="*/ 9606224 w 11867103"/>
              <a:gd name="connsiteY12" fmla="*/ 187018 h 3061192"/>
              <a:gd name="connsiteX13" fmla="*/ 9947868 w 11867103"/>
              <a:gd name="connsiteY13" fmla="*/ 156873 h 3061192"/>
              <a:gd name="connsiteX14" fmla="*/ 10791930 w 11867103"/>
              <a:gd name="connsiteY14" fmla="*/ 126728 h 3061192"/>
              <a:gd name="connsiteX15" fmla="*/ 11736475 w 11867103"/>
              <a:gd name="connsiteY15" fmla="*/ 146825 h 3061192"/>
              <a:gd name="connsiteX16" fmla="*/ 11766620 w 11867103"/>
              <a:gd name="connsiteY16" fmla="*/ 176970 h 3061192"/>
              <a:gd name="connsiteX17" fmla="*/ 11816862 w 11867103"/>
              <a:gd name="connsiteY17" fmla="*/ 2427801 h 3061192"/>
              <a:gd name="connsiteX18" fmla="*/ 11826910 w 11867103"/>
              <a:gd name="connsiteY18" fmla="*/ 2498139 h 3061192"/>
              <a:gd name="connsiteX19" fmla="*/ 11836958 w 11867103"/>
              <a:gd name="connsiteY19" fmla="*/ 2528284 h 3061192"/>
              <a:gd name="connsiteX20" fmla="*/ 11857055 w 11867103"/>
              <a:gd name="connsiteY20" fmla="*/ 2658913 h 3061192"/>
              <a:gd name="connsiteX21" fmla="*/ 11867103 w 11867103"/>
              <a:gd name="connsiteY21" fmla="*/ 2699106 h 3061192"/>
              <a:gd name="connsiteX22" fmla="*/ 11857055 w 11867103"/>
              <a:gd name="connsiteY22" fmla="*/ 2930218 h 3061192"/>
              <a:gd name="connsiteX23" fmla="*/ 11836958 w 11867103"/>
              <a:gd name="connsiteY23" fmla="*/ 2960363 h 3061192"/>
              <a:gd name="connsiteX24" fmla="*/ 11033090 w 11867103"/>
              <a:gd name="connsiteY24" fmla="*/ 2950315 h 3061192"/>
              <a:gd name="connsiteX25" fmla="*/ 10621108 w 11867103"/>
              <a:gd name="connsiteY25" fmla="*/ 2940267 h 3061192"/>
              <a:gd name="connsiteX26" fmla="*/ 10128739 w 11867103"/>
              <a:gd name="connsiteY26" fmla="*/ 2950315 h 3061192"/>
              <a:gd name="connsiteX27" fmla="*/ 10048352 w 11867103"/>
              <a:gd name="connsiteY27" fmla="*/ 2960363 h 3061192"/>
              <a:gd name="connsiteX28" fmla="*/ 9555982 w 11867103"/>
              <a:gd name="connsiteY28" fmla="*/ 2950315 h 3061192"/>
              <a:gd name="connsiteX29" fmla="*/ 9445451 w 11867103"/>
              <a:gd name="connsiteY29" fmla="*/ 2940267 h 3061192"/>
              <a:gd name="connsiteX30" fmla="*/ 9415306 w 11867103"/>
              <a:gd name="connsiteY30" fmla="*/ 2920170 h 3061192"/>
              <a:gd name="connsiteX31" fmla="*/ 9204290 w 11867103"/>
              <a:gd name="connsiteY31" fmla="*/ 2900073 h 3061192"/>
              <a:gd name="connsiteX32" fmla="*/ 9073662 w 11867103"/>
              <a:gd name="connsiteY32" fmla="*/ 2879976 h 3061192"/>
              <a:gd name="connsiteX33" fmla="*/ 8812404 w 11867103"/>
              <a:gd name="connsiteY33" fmla="*/ 2869928 h 3061192"/>
              <a:gd name="connsiteX34" fmla="*/ 8400422 w 11867103"/>
              <a:gd name="connsiteY34" fmla="*/ 2859880 h 3061192"/>
              <a:gd name="connsiteX35" fmla="*/ 8269793 w 11867103"/>
              <a:gd name="connsiteY35" fmla="*/ 2849831 h 3061192"/>
              <a:gd name="connsiteX36" fmla="*/ 7797521 w 11867103"/>
              <a:gd name="connsiteY36" fmla="*/ 2869928 h 3061192"/>
              <a:gd name="connsiteX37" fmla="*/ 7717134 w 11867103"/>
              <a:gd name="connsiteY37" fmla="*/ 2879976 h 3061192"/>
              <a:gd name="connsiteX38" fmla="*/ 7486022 w 11867103"/>
              <a:gd name="connsiteY38" fmla="*/ 2910122 h 3061192"/>
              <a:gd name="connsiteX39" fmla="*/ 7395587 w 11867103"/>
              <a:gd name="connsiteY39" fmla="*/ 2930218 h 3061192"/>
              <a:gd name="connsiteX40" fmla="*/ 7325248 w 11867103"/>
              <a:gd name="connsiteY40" fmla="*/ 2940267 h 3061192"/>
              <a:gd name="connsiteX41" fmla="*/ 6863024 w 11867103"/>
              <a:gd name="connsiteY41" fmla="*/ 2930218 h 3061192"/>
              <a:gd name="connsiteX42" fmla="*/ 6722347 w 11867103"/>
              <a:gd name="connsiteY42" fmla="*/ 2920170 h 3061192"/>
              <a:gd name="connsiteX43" fmla="*/ 4903596 w 11867103"/>
              <a:gd name="connsiteY43" fmla="*/ 2970412 h 3061192"/>
              <a:gd name="connsiteX44" fmla="*/ 4722725 w 11867103"/>
              <a:gd name="connsiteY44" fmla="*/ 3010605 h 3061192"/>
              <a:gd name="connsiteX45" fmla="*/ 4300695 w 11867103"/>
              <a:gd name="connsiteY45" fmla="*/ 2990508 h 3061192"/>
              <a:gd name="connsiteX46" fmla="*/ 4059534 w 11867103"/>
              <a:gd name="connsiteY46" fmla="*/ 2950315 h 3061192"/>
              <a:gd name="connsiteX47" fmla="*/ 3768132 w 11867103"/>
              <a:gd name="connsiteY47" fmla="*/ 2920170 h 3061192"/>
              <a:gd name="connsiteX48" fmla="*/ 3627455 w 11867103"/>
              <a:gd name="connsiteY48" fmla="*/ 2910122 h 3061192"/>
              <a:gd name="connsiteX49" fmla="*/ 3125037 w 11867103"/>
              <a:gd name="connsiteY49" fmla="*/ 2920170 h 3061192"/>
              <a:gd name="connsiteX50" fmla="*/ 3064747 w 11867103"/>
              <a:gd name="connsiteY50" fmla="*/ 2930218 h 3061192"/>
              <a:gd name="connsiteX51" fmla="*/ 2009670 w 11867103"/>
              <a:gd name="connsiteY51" fmla="*/ 2940267 h 3061192"/>
              <a:gd name="connsiteX52" fmla="*/ 1678075 w 11867103"/>
              <a:gd name="connsiteY52" fmla="*/ 3030702 h 3061192"/>
              <a:gd name="connsiteX53" fmla="*/ 1607736 w 11867103"/>
              <a:gd name="connsiteY53" fmla="*/ 3060847 h 3061192"/>
              <a:gd name="connsiteX54" fmla="*/ 1135464 w 11867103"/>
              <a:gd name="connsiteY54" fmla="*/ 3040750 h 3061192"/>
              <a:gd name="connsiteX55" fmla="*/ 944545 w 11867103"/>
              <a:gd name="connsiteY55" fmla="*/ 3010605 h 3061192"/>
              <a:gd name="connsiteX56" fmla="*/ 723481 w 11867103"/>
              <a:gd name="connsiteY56" fmla="*/ 2970412 h 3061192"/>
              <a:gd name="connsiteX57" fmla="*/ 643095 w 11867103"/>
              <a:gd name="connsiteY57" fmla="*/ 2960363 h 3061192"/>
              <a:gd name="connsiteX58" fmla="*/ 371789 w 11867103"/>
              <a:gd name="connsiteY58" fmla="*/ 2920170 h 3061192"/>
              <a:gd name="connsiteX59" fmla="*/ 0 w 11867103"/>
              <a:gd name="connsiteY59" fmla="*/ 2910122 h 3061192"/>
              <a:gd name="connsiteX0" fmla="*/ 120580 w 11867103"/>
              <a:gd name="connsiteY0" fmla="*/ 58358 h 2972725"/>
              <a:gd name="connsiteX1" fmla="*/ 281354 w 11867103"/>
              <a:gd name="connsiteY1" fmla="*/ 48309 h 2972725"/>
              <a:gd name="connsiteX2" fmla="*/ 673240 w 11867103"/>
              <a:gd name="connsiteY2" fmla="*/ 38261 h 2972725"/>
              <a:gd name="connsiteX3" fmla="*/ 1356528 w 11867103"/>
              <a:gd name="connsiteY3" fmla="*/ 88503 h 2972725"/>
              <a:gd name="connsiteX4" fmla="*/ 1758462 w 11867103"/>
              <a:gd name="connsiteY4" fmla="*/ 48309 h 2972725"/>
              <a:gd name="connsiteX5" fmla="*/ 2140299 w 11867103"/>
              <a:gd name="connsiteY5" fmla="*/ 48309 h 2972725"/>
              <a:gd name="connsiteX6" fmla="*/ 4652387 w 11867103"/>
              <a:gd name="connsiteY6" fmla="*/ 68406 h 2972725"/>
              <a:gd name="connsiteX7" fmla="*/ 4692580 w 11867103"/>
              <a:gd name="connsiteY7" fmla="*/ 78455 h 2972725"/>
              <a:gd name="connsiteX8" fmla="*/ 6420897 w 11867103"/>
              <a:gd name="connsiteY8" fmla="*/ 98551 h 2972725"/>
              <a:gd name="connsiteX9" fmla="*/ 7184571 w 11867103"/>
              <a:gd name="connsiteY9" fmla="*/ 68406 h 2972725"/>
              <a:gd name="connsiteX10" fmla="*/ 7928150 w 11867103"/>
              <a:gd name="connsiteY10" fmla="*/ 68406 h 2972725"/>
              <a:gd name="connsiteX11" fmla="*/ 8219552 w 11867103"/>
              <a:gd name="connsiteY11" fmla="*/ 98551 h 2972725"/>
              <a:gd name="connsiteX12" fmla="*/ 9606224 w 11867103"/>
              <a:gd name="connsiteY12" fmla="*/ 98551 h 2972725"/>
              <a:gd name="connsiteX13" fmla="*/ 9947868 w 11867103"/>
              <a:gd name="connsiteY13" fmla="*/ 68406 h 2972725"/>
              <a:gd name="connsiteX14" fmla="*/ 10791930 w 11867103"/>
              <a:gd name="connsiteY14" fmla="*/ 38261 h 2972725"/>
              <a:gd name="connsiteX15" fmla="*/ 11736475 w 11867103"/>
              <a:gd name="connsiteY15" fmla="*/ 58358 h 2972725"/>
              <a:gd name="connsiteX16" fmla="*/ 11806813 w 11867103"/>
              <a:gd name="connsiteY16" fmla="*/ 771791 h 2972725"/>
              <a:gd name="connsiteX17" fmla="*/ 11816862 w 11867103"/>
              <a:gd name="connsiteY17" fmla="*/ 2339334 h 2972725"/>
              <a:gd name="connsiteX18" fmla="*/ 11826910 w 11867103"/>
              <a:gd name="connsiteY18" fmla="*/ 2409672 h 2972725"/>
              <a:gd name="connsiteX19" fmla="*/ 11836958 w 11867103"/>
              <a:gd name="connsiteY19" fmla="*/ 2439817 h 2972725"/>
              <a:gd name="connsiteX20" fmla="*/ 11857055 w 11867103"/>
              <a:gd name="connsiteY20" fmla="*/ 2570446 h 2972725"/>
              <a:gd name="connsiteX21" fmla="*/ 11867103 w 11867103"/>
              <a:gd name="connsiteY21" fmla="*/ 2610639 h 2972725"/>
              <a:gd name="connsiteX22" fmla="*/ 11857055 w 11867103"/>
              <a:gd name="connsiteY22" fmla="*/ 2841751 h 2972725"/>
              <a:gd name="connsiteX23" fmla="*/ 11836958 w 11867103"/>
              <a:gd name="connsiteY23" fmla="*/ 2871896 h 2972725"/>
              <a:gd name="connsiteX24" fmla="*/ 11033090 w 11867103"/>
              <a:gd name="connsiteY24" fmla="*/ 2861848 h 2972725"/>
              <a:gd name="connsiteX25" fmla="*/ 10621108 w 11867103"/>
              <a:gd name="connsiteY25" fmla="*/ 2851800 h 2972725"/>
              <a:gd name="connsiteX26" fmla="*/ 10128739 w 11867103"/>
              <a:gd name="connsiteY26" fmla="*/ 2861848 h 2972725"/>
              <a:gd name="connsiteX27" fmla="*/ 10048352 w 11867103"/>
              <a:gd name="connsiteY27" fmla="*/ 2871896 h 2972725"/>
              <a:gd name="connsiteX28" fmla="*/ 9555982 w 11867103"/>
              <a:gd name="connsiteY28" fmla="*/ 2861848 h 2972725"/>
              <a:gd name="connsiteX29" fmla="*/ 9445451 w 11867103"/>
              <a:gd name="connsiteY29" fmla="*/ 2851800 h 2972725"/>
              <a:gd name="connsiteX30" fmla="*/ 9415306 w 11867103"/>
              <a:gd name="connsiteY30" fmla="*/ 2831703 h 2972725"/>
              <a:gd name="connsiteX31" fmla="*/ 9204290 w 11867103"/>
              <a:gd name="connsiteY31" fmla="*/ 2811606 h 2972725"/>
              <a:gd name="connsiteX32" fmla="*/ 9073662 w 11867103"/>
              <a:gd name="connsiteY32" fmla="*/ 2791509 h 2972725"/>
              <a:gd name="connsiteX33" fmla="*/ 8812404 w 11867103"/>
              <a:gd name="connsiteY33" fmla="*/ 2781461 h 2972725"/>
              <a:gd name="connsiteX34" fmla="*/ 8400422 w 11867103"/>
              <a:gd name="connsiteY34" fmla="*/ 2771413 h 2972725"/>
              <a:gd name="connsiteX35" fmla="*/ 8269793 w 11867103"/>
              <a:gd name="connsiteY35" fmla="*/ 2761364 h 2972725"/>
              <a:gd name="connsiteX36" fmla="*/ 7797521 w 11867103"/>
              <a:gd name="connsiteY36" fmla="*/ 2781461 h 2972725"/>
              <a:gd name="connsiteX37" fmla="*/ 7717134 w 11867103"/>
              <a:gd name="connsiteY37" fmla="*/ 2791509 h 2972725"/>
              <a:gd name="connsiteX38" fmla="*/ 7486022 w 11867103"/>
              <a:gd name="connsiteY38" fmla="*/ 2821655 h 2972725"/>
              <a:gd name="connsiteX39" fmla="*/ 7395587 w 11867103"/>
              <a:gd name="connsiteY39" fmla="*/ 2841751 h 2972725"/>
              <a:gd name="connsiteX40" fmla="*/ 7325248 w 11867103"/>
              <a:gd name="connsiteY40" fmla="*/ 2851800 h 2972725"/>
              <a:gd name="connsiteX41" fmla="*/ 6863024 w 11867103"/>
              <a:gd name="connsiteY41" fmla="*/ 2841751 h 2972725"/>
              <a:gd name="connsiteX42" fmla="*/ 6722347 w 11867103"/>
              <a:gd name="connsiteY42" fmla="*/ 2831703 h 2972725"/>
              <a:gd name="connsiteX43" fmla="*/ 4903596 w 11867103"/>
              <a:gd name="connsiteY43" fmla="*/ 2881945 h 2972725"/>
              <a:gd name="connsiteX44" fmla="*/ 4722725 w 11867103"/>
              <a:gd name="connsiteY44" fmla="*/ 2922138 h 2972725"/>
              <a:gd name="connsiteX45" fmla="*/ 4300695 w 11867103"/>
              <a:gd name="connsiteY45" fmla="*/ 2902041 h 2972725"/>
              <a:gd name="connsiteX46" fmla="*/ 4059534 w 11867103"/>
              <a:gd name="connsiteY46" fmla="*/ 2861848 h 2972725"/>
              <a:gd name="connsiteX47" fmla="*/ 3768132 w 11867103"/>
              <a:gd name="connsiteY47" fmla="*/ 2831703 h 2972725"/>
              <a:gd name="connsiteX48" fmla="*/ 3627455 w 11867103"/>
              <a:gd name="connsiteY48" fmla="*/ 2821655 h 2972725"/>
              <a:gd name="connsiteX49" fmla="*/ 3125037 w 11867103"/>
              <a:gd name="connsiteY49" fmla="*/ 2831703 h 2972725"/>
              <a:gd name="connsiteX50" fmla="*/ 3064747 w 11867103"/>
              <a:gd name="connsiteY50" fmla="*/ 2841751 h 2972725"/>
              <a:gd name="connsiteX51" fmla="*/ 2009670 w 11867103"/>
              <a:gd name="connsiteY51" fmla="*/ 2851800 h 2972725"/>
              <a:gd name="connsiteX52" fmla="*/ 1678075 w 11867103"/>
              <a:gd name="connsiteY52" fmla="*/ 2942235 h 2972725"/>
              <a:gd name="connsiteX53" fmla="*/ 1607736 w 11867103"/>
              <a:gd name="connsiteY53" fmla="*/ 2972380 h 2972725"/>
              <a:gd name="connsiteX54" fmla="*/ 1135464 w 11867103"/>
              <a:gd name="connsiteY54" fmla="*/ 2952283 h 2972725"/>
              <a:gd name="connsiteX55" fmla="*/ 944545 w 11867103"/>
              <a:gd name="connsiteY55" fmla="*/ 2922138 h 2972725"/>
              <a:gd name="connsiteX56" fmla="*/ 723481 w 11867103"/>
              <a:gd name="connsiteY56" fmla="*/ 2881945 h 2972725"/>
              <a:gd name="connsiteX57" fmla="*/ 643095 w 11867103"/>
              <a:gd name="connsiteY57" fmla="*/ 2871896 h 2972725"/>
              <a:gd name="connsiteX58" fmla="*/ 371789 w 11867103"/>
              <a:gd name="connsiteY58" fmla="*/ 2831703 h 2972725"/>
              <a:gd name="connsiteX59" fmla="*/ 0 w 11867103"/>
              <a:gd name="connsiteY59" fmla="*/ 2821655 h 2972725"/>
              <a:gd name="connsiteX0" fmla="*/ 120580 w 11867103"/>
              <a:gd name="connsiteY0" fmla="*/ 91200 h 3005567"/>
              <a:gd name="connsiteX1" fmla="*/ 281354 w 11867103"/>
              <a:gd name="connsiteY1" fmla="*/ 81151 h 3005567"/>
              <a:gd name="connsiteX2" fmla="*/ 673240 w 11867103"/>
              <a:gd name="connsiteY2" fmla="*/ 71103 h 3005567"/>
              <a:gd name="connsiteX3" fmla="*/ 1356528 w 11867103"/>
              <a:gd name="connsiteY3" fmla="*/ 121345 h 3005567"/>
              <a:gd name="connsiteX4" fmla="*/ 1758462 w 11867103"/>
              <a:gd name="connsiteY4" fmla="*/ 81151 h 3005567"/>
              <a:gd name="connsiteX5" fmla="*/ 2140299 w 11867103"/>
              <a:gd name="connsiteY5" fmla="*/ 81151 h 3005567"/>
              <a:gd name="connsiteX6" fmla="*/ 4652387 w 11867103"/>
              <a:gd name="connsiteY6" fmla="*/ 101248 h 3005567"/>
              <a:gd name="connsiteX7" fmla="*/ 4692580 w 11867103"/>
              <a:gd name="connsiteY7" fmla="*/ 111297 h 3005567"/>
              <a:gd name="connsiteX8" fmla="*/ 6420897 w 11867103"/>
              <a:gd name="connsiteY8" fmla="*/ 131393 h 3005567"/>
              <a:gd name="connsiteX9" fmla="*/ 7184571 w 11867103"/>
              <a:gd name="connsiteY9" fmla="*/ 101248 h 3005567"/>
              <a:gd name="connsiteX10" fmla="*/ 7928150 w 11867103"/>
              <a:gd name="connsiteY10" fmla="*/ 101248 h 3005567"/>
              <a:gd name="connsiteX11" fmla="*/ 8219552 w 11867103"/>
              <a:gd name="connsiteY11" fmla="*/ 131393 h 3005567"/>
              <a:gd name="connsiteX12" fmla="*/ 9606224 w 11867103"/>
              <a:gd name="connsiteY12" fmla="*/ 131393 h 3005567"/>
              <a:gd name="connsiteX13" fmla="*/ 9947868 w 11867103"/>
              <a:gd name="connsiteY13" fmla="*/ 101248 h 3005567"/>
              <a:gd name="connsiteX14" fmla="*/ 10791930 w 11867103"/>
              <a:gd name="connsiteY14" fmla="*/ 71103 h 3005567"/>
              <a:gd name="connsiteX15" fmla="*/ 11736475 w 11867103"/>
              <a:gd name="connsiteY15" fmla="*/ 91200 h 3005567"/>
              <a:gd name="connsiteX16" fmla="*/ 11806813 w 11867103"/>
              <a:gd name="connsiteY16" fmla="*/ 804633 h 3005567"/>
              <a:gd name="connsiteX17" fmla="*/ 11816862 w 11867103"/>
              <a:gd name="connsiteY17" fmla="*/ 2372176 h 3005567"/>
              <a:gd name="connsiteX18" fmla="*/ 11826910 w 11867103"/>
              <a:gd name="connsiteY18" fmla="*/ 2442514 h 3005567"/>
              <a:gd name="connsiteX19" fmla="*/ 11836958 w 11867103"/>
              <a:gd name="connsiteY19" fmla="*/ 2472659 h 3005567"/>
              <a:gd name="connsiteX20" fmla="*/ 11857055 w 11867103"/>
              <a:gd name="connsiteY20" fmla="*/ 2603288 h 3005567"/>
              <a:gd name="connsiteX21" fmla="*/ 11867103 w 11867103"/>
              <a:gd name="connsiteY21" fmla="*/ 2643481 h 3005567"/>
              <a:gd name="connsiteX22" fmla="*/ 11857055 w 11867103"/>
              <a:gd name="connsiteY22" fmla="*/ 2874593 h 3005567"/>
              <a:gd name="connsiteX23" fmla="*/ 11836958 w 11867103"/>
              <a:gd name="connsiteY23" fmla="*/ 2904738 h 3005567"/>
              <a:gd name="connsiteX24" fmla="*/ 11033090 w 11867103"/>
              <a:gd name="connsiteY24" fmla="*/ 2894690 h 3005567"/>
              <a:gd name="connsiteX25" fmla="*/ 10621108 w 11867103"/>
              <a:gd name="connsiteY25" fmla="*/ 2884642 h 3005567"/>
              <a:gd name="connsiteX26" fmla="*/ 10128739 w 11867103"/>
              <a:gd name="connsiteY26" fmla="*/ 2894690 h 3005567"/>
              <a:gd name="connsiteX27" fmla="*/ 10048352 w 11867103"/>
              <a:gd name="connsiteY27" fmla="*/ 2904738 h 3005567"/>
              <a:gd name="connsiteX28" fmla="*/ 9555982 w 11867103"/>
              <a:gd name="connsiteY28" fmla="*/ 2894690 h 3005567"/>
              <a:gd name="connsiteX29" fmla="*/ 9445451 w 11867103"/>
              <a:gd name="connsiteY29" fmla="*/ 2884642 h 3005567"/>
              <a:gd name="connsiteX30" fmla="*/ 9415306 w 11867103"/>
              <a:gd name="connsiteY30" fmla="*/ 2864545 h 3005567"/>
              <a:gd name="connsiteX31" fmla="*/ 9204290 w 11867103"/>
              <a:gd name="connsiteY31" fmla="*/ 2844448 h 3005567"/>
              <a:gd name="connsiteX32" fmla="*/ 9073662 w 11867103"/>
              <a:gd name="connsiteY32" fmla="*/ 2824351 h 3005567"/>
              <a:gd name="connsiteX33" fmla="*/ 8812404 w 11867103"/>
              <a:gd name="connsiteY33" fmla="*/ 2814303 h 3005567"/>
              <a:gd name="connsiteX34" fmla="*/ 8400422 w 11867103"/>
              <a:gd name="connsiteY34" fmla="*/ 2804255 h 3005567"/>
              <a:gd name="connsiteX35" fmla="*/ 8269793 w 11867103"/>
              <a:gd name="connsiteY35" fmla="*/ 2794206 h 3005567"/>
              <a:gd name="connsiteX36" fmla="*/ 7797521 w 11867103"/>
              <a:gd name="connsiteY36" fmla="*/ 2814303 h 3005567"/>
              <a:gd name="connsiteX37" fmla="*/ 7717134 w 11867103"/>
              <a:gd name="connsiteY37" fmla="*/ 2824351 h 3005567"/>
              <a:gd name="connsiteX38" fmla="*/ 7486022 w 11867103"/>
              <a:gd name="connsiteY38" fmla="*/ 2854497 h 3005567"/>
              <a:gd name="connsiteX39" fmla="*/ 7395587 w 11867103"/>
              <a:gd name="connsiteY39" fmla="*/ 2874593 h 3005567"/>
              <a:gd name="connsiteX40" fmla="*/ 7325248 w 11867103"/>
              <a:gd name="connsiteY40" fmla="*/ 2884642 h 3005567"/>
              <a:gd name="connsiteX41" fmla="*/ 6863024 w 11867103"/>
              <a:gd name="connsiteY41" fmla="*/ 2874593 h 3005567"/>
              <a:gd name="connsiteX42" fmla="*/ 6722347 w 11867103"/>
              <a:gd name="connsiteY42" fmla="*/ 2864545 h 3005567"/>
              <a:gd name="connsiteX43" fmla="*/ 4903596 w 11867103"/>
              <a:gd name="connsiteY43" fmla="*/ 2914787 h 3005567"/>
              <a:gd name="connsiteX44" fmla="*/ 4722725 w 11867103"/>
              <a:gd name="connsiteY44" fmla="*/ 2954980 h 3005567"/>
              <a:gd name="connsiteX45" fmla="*/ 4300695 w 11867103"/>
              <a:gd name="connsiteY45" fmla="*/ 2934883 h 3005567"/>
              <a:gd name="connsiteX46" fmla="*/ 4059534 w 11867103"/>
              <a:gd name="connsiteY46" fmla="*/ 2894690 h 3005567"/>
              <a:gd name="connsiteX47" fmla="*/ 3768132 w 11867103"/>
              <a:gd name="connsiteY47" fmla="*/ 2864545 h 3005567"/>
              <a:gd name="connsiteX48" fmla="*/ 3627455 w 11867103"/>
              <a:gd name="connsiteY48" fmla="*/ 2854497 h 3005567"/>
              <a:gd name="connsiteX49" fmla="*/ 3125037 w 11867103"/>
              <a:gd name="connsiteY49" fmla="*/ 2864545 h 3005567"/>
              <a:gd name="connsiteX50" fmla="*/ 3064747 w 11867103"/>
              <a:gd name="connsiteY50" fmla="*/ 2874593 h 3005567"/>
              <a:gd name="connsiteX51" fmla="*/ 2009670 w 11867103"/>
              <a:gd name="connsiteY51" fmla="*/ 2884642 h 3005567"/>
              <a:gd name="connsiteX52" fmla="*/ 1678075 w 11867103"/>
              <a:gd name="connsiteY52" fmla="*/ 2975077 h 3005567"/>
              <a:gd name="connsiteX53" fmla="*/ 1607736 w 11867103"/>
              <a:gd name="connsiteY53" fmla="*/ 3005222 h 3005567"/>
              <a:gd name="connsiteX54" fmla="*/ 1135464 w 11867103"/>
              <a:gd name="connsiteY54" fmla="*/ 2985125 h 3005567"/>
              <a:gd name="connsiteX55" fmla="*/ 944545 w 11867103"/>
              <a:gd name="connsiteY55" fmla="*/ 2954980 h 3005567"/>
              <a:gd name="connsiteX56" fmla="*/ 723481 w 11867103"/>
              <a:gd name="connsiteY56" fmla="*/ 2914787 h 3005567"/>
              <a:gd name="connsiteX57" fmla="*/ 643095 w 11867103"/>
              <a:gd name="connsiteY57" fmla="*/ 2904738 h 3005567"/>
              <a:gd name="connsiteX58" fmla="*/ 371789 w 11867103"/>
              <a:gd name="connsiteY58" fmla="*/ 2864545 h 3005567"/>
              <a:gd name="connsiteX59" fmla="*/ 0 w 11867103"/>
              <a:gd name="connsiteY59" fmla="*/ 2854497 h 3005567"/>
              <a:gd name="connsiteX0" fmla="*/ 120580 w 11867103"/>
              <a:gd name="connsiteY0" fmla="*/ 55611 h 2969978"/>
              <a:gd name="connsiteX1" fmla="*/ 281354 w 11867103"/>
              <a:gd name="connsiteY1" fmla="*/ 45562 h 2969978"/>
              <a:gd name="connsiteX2" fmla="*/ 673240 w 11867103"/>
              <a:gd name="connsiteY2" fmla="*/ 35514 h 2969978"/>
              <a:gd name="connsiteX3" fmla="*/ 1356528 w 11867103"/>
              <a:gd name="connsiteY3" fmla="*/ 85756 h 2969978"/>
              <a:gd name="connsiteX4" fmla="*/ 1758462 w 11867103"/>
              <a:gd name="connsiteY4" fmla="*/ 45562 h 2969978"/>
              <a:gd name="connsiteX5" fmla="*/ 2140299 w 11867103"/>
              <a:gd name="connsiteY5" fmla="*/ 45562 h 2969978"/>
              <a:gd name="connsiteX6" fmla="*/ 4652387 w 11867103"/>
              <a:gd name="connsiteY6" fmla="*/ 65659 h 2969978"/>
              <a:gd name="connsiteX7" fmla="*/ 4692580 w 11867103"/>
              <a:gd name="connsiteY7" fmla="*/ 75708 h 2969978"/>
              <a:gd name="connsiteX8" fmla="*/ 6420897 w 11867103"/>
              <a:gd name="connsiteY8" fmla="*/ 95804 h 2969978"/>
              <a:gd name="connsiteX9" fmla="*/ 7184571 w 11867103"/>
              <a:gd name="connsiteY9" fmla="*/ 65659 h 2969978"/>
              <a:gd name="connsiteX10" fmla="*/ 7928150 w 11867103"/>
              <a:gd name="connsiteY10" fmla="*/ 65659 h 2969978"/>
              <a:gd name="connsiteX11" fmla="*/ 8219552 w 11867103"/>
              <a:gd name="connsiteY11" fmla="*/ 95804 h 2969978"/>
              <a:gd name="connsiteX12" fmla="*/ 9606224 w 11867103"/>
              <a:gd name="connsiteY12" fmla="*/ 95804 h 2969978"/>
              <a:gd name="connsiteX13" fmla="*/ 9947868 w 11867103"/>
              <a:gd name="connsiteY13" fmla="*/ 65659 h 2969978"/>
              <a:gd name="connsiteX14" fmla="*/ 10791930 w 11867103"/>
              <a:gd name="connsiteY14" fmla="*/ 35514 h 2969978"/>
              <a:gd name="connsiteX15" fmla="*/ 11736475 w 11867103"/>
              <a:gd name="connsiteY15" fmla="*/ 55611 h 2969978"/>
              <a:gd name="connsiteX16" fmla="*/ 11806813 w 11867103"/>
              <a:gd name="connsiteY16" fmla="*/ 769044 h 2969978"/>
              <a:gd name="connsiteX17" fmla="*/ 11816862 w 11867103"/>
              <a:gd name="connsiteY17" fmla="*/ 2336587 h 2969978"/>
              <a:gd name="connsiteX18" fmla="*/ 11826910 w 11867103"/>
              <a:gd name="connsiteY18" fmla="*/ 2406925 h 2969978"/>
              <a:gd name="connsiteX19" fmla="*/ 11836958 w 11867103"/>
              <a:gd name="connsiteY19" fmla="*/ 2437070 h 2969978"/>
              <a:gd name="connsiteX20" fmla="*/ 11857055 w 11867103"/>
              <a:gd name="connsiteY20" fmla="*/ 2567699 h 2969978"/>
              <a:gd name="connsiteX21" fmla="*/ 11867103 w 11867103"/>
              <a:gd name="connsiteY21" fmla="*/ 2607892 h 2969978"/>
              <a:gd name="connsiteX22" fmla="*/ 11857055 w 11867103"/>
              <a:gd name="connsiteY22" fmla="*/ 2839004 h 2969978"/>
              <a:gd name="connsiteX23" fmla="*/ 11836958 w 11867103"/>
              <a:gd name="connsiteY23" fmla="*/ 2869149 h 2969978"/>
              <a:gd name="connsiteX24" fmla="*/ 11033090 w 11867103"/>
              <a:gd name="connsiteY24" fmla="*/ 2859101 h 2969978"/>
              <a:gd name="connsiteX25" fmla="*/ 10621108 w 11867103"/>
              <a:gd name="connsiteY25" fmla="*/ 2849053 h 2969978"/>
              <a:gd name="connsiteX26" fmla="*/ 10128739 w 11867103"/>
              <a:gd name="connsiteY26" fmla="*/ 2859101 h 2969978"/>
              <a:gd name="connsiteX27" fmla="*/ 10048352 w 11867103"/>
              <a:gd name="connsiteY27" fmla="*/ 2869149 h 2969978"/>
              <a:gd name="connsiteX28" fmla="*/ 9555982 w 11867103"/>
              <a:gd name="connsiteY28" fmla="*/ 2859101 h 2969978"/>
              <a:gd name="connsiteX29" fmla="*/ 9445451 w 11867103"/>
              <a:gd name="connsiteY29" fmla="*/ 2849053 h 2969978"/>
              <a:gd name="connsiteX30" fmla="*/ 9415306 w 11867103"/>
              <a:gd name="connsiteY30" fmla="*/ 2828956 h 2969978"/>
              <a:gd name="connsiteX31" fmla="*/ 9204290 w 11867103"/>
              <a:gd name="connsiteY31" fmla="*/ 2808859 h 2969978"/>
              <a:gd name="connsiteX32" fmla="*/ 9073662 w 11867103"/>
              <a:gd name="connsiteY32" fmla="*/ 2788762 h 2969978"/>
              <a:gd name="connsiteX33" fmla="*/ 8812404 w 11867103"/>
              <a:gd name="connsiteY33" fmla="*/ 2778714 h 2969978"/>
              <a:gd name="connsiteX34" fmla="*/ 8400422 w 11867103"/>
              <a:gd name="connsiteY34" fmla="*/ 2768666 h 2969978"/>
              <a:gd name="connsiteX35" fmla="*/ 8269793 w 11867103"/>
              <a:gd name="connsiteY35" fmla="*/ 2758617 h 2969978"/>
              <a:gd name="connsiteX36" fmla="*/ 7797521 w 11867103"/>
              <a:gd name="connsiteY36" fmla="*/ 2778714 h 2969978"/>
              <a:gd name="connsiteX37" fmla="*/ 7717134 w 11867103"/>
              <a:gd name="connsiteY37" fmla="*/ 2788762 h 2969978"/>
              <a:gd name="connsiteX38" fmla="*/ 7486022 w 11867103"/>
              <a:gd name="connsiteY38" fmla="*/ 2818908 h 2969978"/>
              <a:gd name="connsiteX39" fmla="*/ 7395587 w 11867103"/>
              <a:gd name="connsiteY39" fmla="*/ 2839004 h 2969978"/>
              <a:gd name="connsiteX40" fmla="*/ 7325248 w 11867103"/>
              <a:gd name="connsiteY40" fmla="*/ 2849053 h 2969978"/>
              <a:gd name="connsiteX41" fmla="*/ 6863024 w 11867103"/>
              <a:gd name="connsiteY41" fmla="*/ 2839004 h 2969978"/>
              <a:gd name="connsiteX42" fmla="*/ 6722347 w 11867103"/>
              <a:gd name="connsiteY42" fmla="*/ 2828956 h 2969978"/>
              <a:gd name="connsiteX43" fmla="*/ 4903596 w 11867103"/>
              <a:gd name="connsiteY43" fmla="*/ 2879198 h 2969978"/>
              <a:gd name="connsiteX44" fmla="*/ 4722725 w 11867103"/>
              <a:gd name="connsiteY44" fmla="*/ 2919391 h 2969978"/>
              <a:gd name="connsiteX45" fmla="*/ 4300695 w 11867103"/>
              <a:gd name="connsiteY45" fmla="*/ 2899294 h 2969978"/>
              <a:gd name="connsiteX46" fmla="*/ 4059534 w 11867103"/>
              <a:gd name="connsiteY46" fmla="*/ 2859101 h 2969978"/>
              <a:gd name="connsiteX47" fmla="*/ 3768132 w 11867103"/>
              <a:gd name="connsiteY47" fmla="*/ 2828956 h 2969978"/>
              <a:gd name="connsiteX48" fmla="*/ 3627455 w 11867103"/>
              <a:gd name="connsiteY48" fmla="*/ 2818908 h 2969978"/>
              <a:gd name="connsiteX49" fmla="*/ 3125037 w 11867103"/>
              <a:gd name="connsiteY49" fmla="*/ 2828956 h 2969978"/>
              <a:gd name="connsiteX50" fmla="*/ 3064747 w 11867103"/>
              <a:gd name="connsiteY50" fmla="*/ 2839004 h 2969978"/>
              <a:gd name="connsiteX51" fmla="*/ 2009670 w 11867103"/>
              <a:gd name="connsiteY51" fmla="*/ 2849053 h 2969978"/>
              <a:gd name="connsiteX52" fmla="*/ 1678075 w 11867103"/>
              <a:gd name="connsiteY52" fmla="*/ 2939488 h 2969978"/>
              <a:gd name="connsiteX53" fmla="*/ 1607736 w 11867103"/>
              <a:gd name="connsiteY53" fmla="*/ 2969633 h 2969978"/>
              <a:gd name="connsiteX54" fmla="*/ 1135464 w 11867103"/>
              <a:gd name="connsiteY54" fmla="*/ 2949536 h 2969978"/>
              <a:gd name="connsiteX55" fmla="*/ 944545 w 11867103"/>
              <a:gd name="connsiteY55" fmla="*/ 2919391 h 2969978"/>
              <a:gd name="connsiteX56" fmla="*/ 723481 w 11867103"/>
              <a:gd name="connsiteY56" fmla="*/ 2879198 h 2969978"/>
              <a:gd name="connsiteX57" fmla="*/ 643095 w 11867103"/>
              <a:gd name="connsiteY57" fmla="*/ 2869149 h 2969978"/>
              <a:gd name="connsiteX58" fmla="*/ 371789 w 11867103"/>
              <a:gd name="connsiteY58" fmla="*/ 2828956 h 2969978"/>
              <a:gd name="connsiteX59" fmla="*/ 0 w 11867103"/>
              <a:gd name="connsiteY59" fmla="*/ 2818908 h 2969978"/>
              <a:gd name="connsiteX0" fmla="*/ 120580 w 11867103"/>
              <a:gd name="connsiteY0" fmla="*/ 55611 h 2969978"/>
              <a:gd name="connsiteX1" fmla="*/ 281354 w 11867103"/>
              <a:gd name="connsiteY1" fmla="*/ 45562 h 2969978"/>
              <a:gd name="connsiteX2" fmla="*/ 673240 w 11867103"/>
              <a:gd name="connsiteY2" fmla="*/ 35514 h 2969978"/>
              <a:gd name="connsiteX3" fmla="*/ 1356528 w 11867103"/>
              <a:gd name="connsiteY3" fmla="*/ 85756 h 2969978"/>
              <a:gd name="connsiteX4" fmla="*/ 1758462 w 11867103"/>
              <a:gd name="connsiteY4" fmla="*/ 45562 h 2969978"/>
              <a:gd name="connsiteX5" fmla="*/ 2140299 w 11867103"/>
              <a:gd name="connsiteY5" fmla="*/ 45562 h 2969978"/>
              <a:gd name="connsiteX6" fmla="*/ 4652387 w 11867103"/>
              <a:gd name="connsiteY6" fmla="*/ 65659 h 2969978"/>
              <a:gd name="connsiteX7" fmla="*/ 4692580 w 11867103"/>
              <a:gd name="connsiteY7" fmla="*/ 75708 h 2969978"/>
              <a:gd name="connsiteX8" fmla="*/ 6420897 w 11867103"/>
              <a:gd name="connsiteY8" fmla="*/ 95804 h 2969978"/>
              <a:gd name="connsiteX9" fmla="*/ 7184571 w 11867103"/>
              <a:gd name="connsiteY9" fmla="*/ 65659 h 2969978"/>
              <a:gd name="connsiteX10" fmla="*/ 7928150 w 11867103"/>
              <a:gd name="connsiteY10" fmla="*/ 65659 h 2969978"/>
              <a:gd name="connsiteX11" fmla="*/ 8219552 w 11867103"/>
              <a:gd name="connsiteY11" fmla="*/ 95804 h 2969978"/>
              <a:gd name="connsiteX12" fmla="*/ 9606224 w 11867103"/>
              <a:gd name="connsiteY12" fmla="*/ 95804 h 2969978"/>
              <a:gd name="connsiteX13" fmla="*/ 9947868 w 11867103"/>
              <a:gd name="connsiteY13" fmla="*/ 65659 h 2969978"/>
              <a:gd name="connsiteX14" fmla="*/ 10791930 w 11867103"/>
              <a:gd name="connsiteY14" fmla="*/ 35514 h 2969978"/>
              <a:gd name="connsiteX15" fmla="*/ 11736475 w 11867103"/>
              <a:gd name="connsiteY15" fmla="*/ 55611 h 2969978"/>
              <a:gd name="connsiteX16" fmla="*/ 11806813 w 11867103"/>
              <a:gd name="connsiteY16" fmla="*/ 769044 h 2969978"/>
              <a:gd name="connsiteX17" fmla="*/ 11816862 w 11867103"/>
              <a:gd name="connsiteY17" fmla="*/ 2336587 h 2969978"/>
              <a:gd name="connsiteX18" fmla="*/ 11826910 w 11867103"/>
              <a:gd name="connsiteY18" fmla="*/ 2406925 h 2969978"/>
              <a:gd name="connsiteX19" fmla="*/ 11857055 w 11867103"/>
              <a:gd name="connsiteY19" fmla="*/ 2567699 h 2969978"/>
              <a:gd name="connsiteX20" fmla="*/ 11867103 w 11867103"/>
              <a:gd name="connsiteY20" fmla="*/ 2607892 h 2969978"/>
              <a:gd name="connsiteX21" fmla="*/ 11857055 w 11867103"/>
              <a:gd name="connsiteY21" fmla="*/ 2839004 h 2969978"/>
              <a:gd name="connsiteX22" fmla="*/ 11836958 w 11867103"/>
              <a:gd name="connsiteY22" fmla="*/ 2869149 h 2969978"/>
              <a:gd name="connsiteX23" fmla="*/ 11033090 w 11867103"/>
              <a:gd name="connsiteY23" fmla="*/ 2859101 h 2969978"/>
              <a:gd name="connsiteX24" fmla="*/ 10621108 w 11867103"/>
              <a:gd name="connsiteY24" fmla="*/ 2849053 h 2969978"/>
              <a:gd name="connsiteX25" fmla="*/ 10128739 w 11867103"/>
              <a:gd name="connsiteY25" fmla="*/ 2859101 h 2969978"/>
              <a:gd name="connsiteX26" fmla="*/ 10048352 w 11867103"/>
              <a:gd name="connsiteY26" fmla="*/ 2869149 h 2969978"/>
              <a:gd name="connsiteX27" fmla="*/ 9555982 w 11867103"/>
              <a:gd name="connsiteY27" fmla="*/ 2859101 h 2969978"/>
              <a:gd name="connsiteX28" fmla="*/ 9445451 w 11867103"/>
              <a:gd name="connsiteY28" fmla="*/ 2849053 h 2969978"/>
              <a:gd name="connsiteX29" fmla="*/ 9415306 w 11867103"/>
              <a:gd name="connsiteY29" fmla="*/ 2828956 h 2969978"/>
              <a:gd name="connsiteX30" fmla="*/ 9204290 w 11867103"/>
              <a:gd name="connsiteY30" fmla="*/ 2808859 h 2969978"/>
              <a:gd name="connsiteX31" fmla="*/ 9073662 w 11867103"/>
              <a:gd name="connsiteY31" fmla="*/ 2788762 h 2969978"/>
              <a:gd name="connsiteX32" fmla="*/ 8812404 w 11867103"/>
              <a:gd name="connsiteY32" fmla="*/ 2778714 h 2969978"/>
              <a:gd name="connsiteX33" fmla="*/ 8400422 w 11867103"/>
              <a:gd name="connsiteY33" fmla="*/ 2768666 h 2969978"/>
              <a:gd name="connsiteX34" fmla="*/ 8269793 w 11867103"/>
              <a:gd name="connsiteY34" fmla="*/ 2758617 h 2969978"/>
              <a:gd name="connsiteX35" fmla="*/ 7797521 w 11867103"/>
              <a:gd name="connsiteY35" fmla="*/ 2778714 h 2969978"/>
              <a:gd name="connsiteX36" fmla="*/ 7717134 w 11867103"/>
              <a:gd name="connsiteY36" fmla="*/ 2788762 h 2969978"/>
              <a:gd name="connsiteX37" fmla="*/ 7486022 w 11867103"/>
              <a:gd name="connsiteY37" fmla="*/ 2818908 h 2969978"/>
              <a:gd name="connsiteX38" fmla="*/ 7395587 w 11867103"/>
              <a:gd name="connsiteY38" fmla="*/ 2839004 h 2969978"/>
              <a:gd name="connsiteX39" fmla="*/ 7325248 w 11867103"/>
              <a:gd name="connsiteY39" fmla="*/ 2849053 h 2969978"/>
              <a:gd name="connsiteX40" fmla="*/ 6863024 w 11867103"/>
              <a:gd name="connsiteY40" fmla="*/ 2839004 h 2969978"/>
              <a:gd name="connsiteX41" fmla="*/ 6722347 w 11867103"/>
              <a:gd name="connsiteY41" fmla="*/ 2828956 h 2969978"/>
              <a:gd name="connsiteX42" fmla="*/ 4903596 w 11867103"/>
              <a:gd name="connsiteY42" fmla="*/ 2879198 h 2969978"/>
              <a:gd name="connsiteX43" fmla="*/ 4722725 w 11867103"/>
              <a:gd name="connsiteY43" fmla="*/ 2919391 h 2969978"/>
              <a:gd name="connsiteX44" fmla="*/ 4300695 w 11867103"/>
              <a:gd name="connsiteY44" fmla="*/ 2899294 h 2969978"/>
              <a:gd name="connsiteX45" fmla="*/ 4059534 w 11867103"/>
              <a:gd name="connsiteY45" fmla="*/ 2859101 h 2969978"/>
              <a:gd name="connsiteX46" fmla="*/ 3768132 w 11867103"/>
              <a:gd name="connsiteY46" fmla="*/ 2828956 h 2969978"/>
              <a:gd name="connsiteX47" fmla="*/ 3627455 w 11867103"/>
              <a:gd name="connsiteY47" fmla="*/ 2818908 h 2969978"/>
              <a:gd name="connsiteX48" fmla="*/ 3125037 w 11867103"/>
              <a:gd name="connsiteY48" fmla="*/ 2828956 h 2969978"/>
              <a:gd name="connsiteX49" fmla="*/ 3064747 w 11867103"/>
              <a:gd name="connsiteY49" fmla="*/ 2839004 h 2969978"/>
              <a:gd name="connsiteX50" fmla="*/ 2009670 w 11867103"/>
              <a:gd name="connsiteY50" fmla="*/ 2849053 h 2969978"/>
              <a:gd name="connsiteX51" fmla="*/ 1678075 w 11867103"/>
              <a:gd name="connsiteY51" fmla="*/ 2939488 h 2969978"/>
              <a:gd name="connsiteX52" fmla="*/ 1607736 w 11867103"/>
              <a:gd name="connsiteY52" fmla="*/ 2969633 h 2969978"/>
              <a:gd name="connsiteX53" fmla="*/ 1135464 w 11867103"/>
              <a:gd name="connsiteY53" fmla="*/ 2949536 h 2969978"/>
              <a:gd name="connsiteX54" fmla="*/ 944545 w 11867103"/>
              <a:gd name="connsiteY54" fmla="*/ 2919391 h 2969978"/>
              <a:gd name="connsiteX55" fmla="*/ 723481 w 11867103"/>
              <a:gd name="connsiteY55" fmla="*/ 2879198 h 2969978"/>
              <a:gd name="connsiteX56" fmla="*/ 643095 w 11867103"/>
              <a:gd name="connsiteY56" fmla="*/ 2869149 h 2969978"/>
              <a:gd name="connsiteX57" fmla="*/ 371789 w 11867103"/>
              <a:gd name="connsiteY57" fmla="*/ 2828956 h 2969978"/>
              <a:gd name="connsiteX58" fmla="*/ 0 w 11867103"/>
              <a:gd name="connsiteY58" fmla="*/ 2818908 h 2969978"/>
              <a:gd name="connsiteX0" fmla="*/ 120580 w 11867103"/>
              <a:gd name="connsiteY0" fmla="*/ 55611 h 2969978"/>
              <a:gd name="connsiteX1" fmla="*/ 281354 w 11867103"/>
              <a:gd name="connsiteY1" fmla="*/ 45562 h 2969978"/>
              <a:gd name="connsiteX2" fmla="*/ 673240 w 11867103"/>
              <a:gd name="connsiteY2" fmla="*/ 35514 h 2969978"/>
              <a:gd name="connsiteX3" fmla="*/ 1356528 w 11867103"/>
              <a:gd name="connsiteY3" fmla="*/ 85756 h 2969978"/>
              <a:gd name="connsiteX4" fmla="*/ 1758462 w 11867103"/>
              <a:gd name="connsiteY4" fmla="*/ 45562 h 2969978"/>
              <a:gd name="connsiteX5" fmla="*/ 2140299 w 11867103"/>
              <a:gd name="connsiteY5" fmla="*/ 45562 h 2969978"/>
              <a:gd name="connsiteX6" fmla="*/ 4652387 w 11867103"/>
              <a:gd name="connsiteY6" fmla="*/ 65659 h 2969978"/>
              <a:gd name="connsiteX7" fmla="*/ 4692580 w 11867103"/>
              <a:gd name="connsiteY7" fmla="*/ 75708 h 2969978"/>
              <a:gd name="connsiteX8" fmla="*/ 6420897 w 11867103"/>
              <a:gd name="connsiteY8" fmla="*/ 95804 h 2969978"/>
              <a:gd name="connsiteX9" fmla="*/ 7184571 w 11867103"/>
              <a:gd name="connsiteY9" fmla="*/ 65659 h 2969978"/>
              <a:gd name="connsiteX10" fmla="*/ 7928150 w 11867103"/>
              <a:gd name="connsiteY10" fmla="*/ 65659 h 2969978"/>
              <a:gd name="connsiteX11" fmla="*/ 8219552 w 11867103"/>
              <a:gd name="connsiteY11" fmla="*/ 95804 h 2969978"/>
              <a:gd name="connsiteX12" fmla="*/ 9606224 w 11867103"/>
              <a:gd name="connsiteY12" fmla="*/ 95804 h 2969978"/>
              <a:gd name="connsiteX13" fmla="*/ 9947868 w 11867103"/>
              <a:gd name="connsiteY13" fmla="*/ 65659 h 2969978"/>
              <a:gd name="connsiteX14" fmla="*/ 10791930 w 11867103"/>
              <a:gd name="connsiteY14" fmla="*/ 35514 h 2969978"/>
              <a:gd name="connsiteX15" fmla="*/ 11736475 w 11867103"/>
              <a:gd name="connsiteY15" fmla="*/ 55611 h 2969978"/>
              <a:gd name="connsiteX16" fmla="*/ 11806813 w 11867103"/>
              <a:gd name="connsiteY16" fmla="*/ 769044 h 2969978"/>
              <a:gd name="connsiteX17" fmla="*/ 11816862 w 11867103"/>
              <a:gd name="connsiteY17" fmla="*/ 2336587 h 2969978"/>
              <a:gd name="connsiteX18" fmla="*/ 11857055 w 11867103"/>
              <a:gd name="connsiteY18" fmla="*/ 2567699 h 2969978"/>
              <a:gd name="connsiteX19" fmla="*/ 11867103 w 11867103"/>
              <a:gd name="connsiteY19" fmla="*/ 2607892 h 2969978"/>
              <a:gd name="connsiteX20" fmla="*/ 11857055 w 11867103"/>
              <a:gd name="connsiteY20" fmla="*/ 2839004 h 2969978"/>
              <a:gd name="connsiteX21" fmla="*/ 11836958 w 11867103"/>
              <a:gd name="connsiteY21" fmla="*/ 2869149 h 2969978"/>
              <a:gd name="connsiteX22" fmla="*/ 11033090 w 11867103"/>
              <a:gd name="connsiteY22" fmla="*/ 2859101 h 2969978"/>
              <a:gd name="connsiteX23" fmla="*/ 10621108 w 11867103"/>
              <a:gd name="connsiteY23" fmla="*/ 2849053 h 2969978"/>
              <a:gd name="connsiteX24" fmla="*/ 10128739 w 11867103"/>
              <a:gd name="connsiteY24" fmla="*/ 2859101 h 2969978"/>
              <a:gd name="connsiteX25" fmla="*/ 10048352 w 11867103"/>
              <a:gd name="connsiteY25" fmla="*/ 2869149 h 2969978"/>
              <a:gd name="connsiteX26" fmla="*/ 9555982 w 11867103"/>
              <a:gd name="connsiteY26" fmla="*/ 2859101 h 2969978"/>
              <a:gd name="connsiteX27" fmla="*/ 9445451 w 11867103"/>
              <a:gd name="connsiteY27" fmla="*/ 2849053 h 2969978"/>
              <a:gd name="connsiteX28" fmla="*/ 9415306 w 11867103"/>
              <a:gd name="connsiteY28" fmla="*/ 2828956 h 2969978"/>
              <a:gd name="connsiteX29" fmla="*/ 9204290 w 11867103"/>
              <a:gd name="connsiteY29" fmla="*/ 2808859 h 2969978"/>
              <a:gd name="connsiteX30" fmla="*/ 9073662 w 11867103"/>
              <a:gd name="connsiteY30" fmla="*/ 2788762 h 2969978"/>
              <a:gd name="connsiteX31" fmla="*/ 8812404 w 11867103"/>
              <a:gd name="connsiteY31" fmla="*/ 2778714 h 2969978"/>
              <a:gd name="connsiteX32" fmla="*/ 8400422 w 11867103"/>
              <a:gd name="connsiteY32" fmla="*/ 2768666 h 2969978"/>
              <a:gd name="connsiteX33" fmla="*/ 8269793 w 11867103"/>
              <a:gd name="connsiteY33" fmla="*/ 2758617 h 2969978"/>
              <a:gd name="connsiteX34" fmla="*/ 7797521 w 11867103"/>
              <a:gd name="connsiteY34" fmla="*/ 2778714 h 2969978"/>
              <a:gd name="connsiteX35" fmla="*/ 7717134 w 11867103"/>
              <a:gd name="connsiteY35" fmla="*/ 2788762 h 2969978"/>
              <a:gd name="connsiteX36" fmla="*/ 7486022 w 11867103"/>
              <a:gd name="connsiteY36" fmla="*/ 2818908 h 2969978"/>
              <a:gd name="connsiteX37" fmla="*/ 7395587 w 11867103"/>
              <a:gd name="connsiteY37" fmla="*/ 2839004 h 2969978"/>
              <a:gd name="connsiteX38" fmla="*/ 7325248 w 11867103"/>
              <a:gd name="connsiteY38" fmla="*/ 2849053 h 2969978"/>
              <a:gd name="connsiteX39" fmla="*/ 6863024 w 11867103"/>
              <a:gd name="connsiteY39" fmla="*/ 2839004 h 2969978"/>
              <a:gd name="connsiteX40" fmla="*/ 6722347 w 11867103"/>
              <a:gd name="connsiteY40" fmla="*/ 2828956 h 2969978"/>
              <a:gd name="connsiteX41" fmla="*/ 4903596 w 11867103"/>
              <a:gd name="connsiteY41" fmla="*/ 2879198 h 2969978"/>
              <a:gd name="connsiteX42" fmla="*/ 4722725 w 11867103"/>
              <a:gd name="connsiteY42" fmla="*/ 2919391 h 2969978"/>
              <a:gd name="connsiteX43" fmla="*/ 4300695 w 11867103"/>
              <a:gd name="connsiteY43" fmla="*/ 2899294 h 2969978"/>
              <a:gd name="connsiteX44" fmla="*/ 4059534 w 11867103"/>
              <a:gd name="connsiteY44" fmla="*/ 2859101 h 2969978"/>
              <a:gd name="connsiteX45" fmla="*/ 3768132 w 11867103"/>
              <a:gd name="connsiteY45" fmla="*/ 2828956 h 2969978"/>
              <a:gd name="connsiteX46" fmla="*/ 3627455 w 11867103"/>
              <a:gd name="connsiteY46" fmla="*/ 2818908 h 2969978"/>
              <a:gd name="connsiteX47" fmla="*/ 3125037 w 11867103"/>
              <a:gd name="connsiteY47" fmla="*/ 2828956 h 2969978"/>
              <a:gd name="connsiteX48" fmla="*/ 3064747 w 11867103"/>
              <a:gd name="connsiteY48" fmla="*/ 2839004 h 2969978"/>
              <a:gd name="connsiteX49" fmla="*/ 2009670 w 11867103"/>
              <a:gd name="connsiteY49" fmla="*/ 2849053 h 2969978"/>
              <a:gd name="connsiteX50" fmla="*/ 1678075 w 11867103"/>
              <a:gd name="connsiteY50" fmla="*/ 2939488 h 2969978"/>
              <a:gd name="connsiteX51" fmla="*/ 1607736 w 11867103"/>
              <a:gd name="connsiteY51" fmla="*/ 2969633 h 2969978"/>
              <a:gd name="connsiteX52" fmla="*/ 1135464 w 11867103"/>
              <a:gd name="connsiteY52" fmla="*/ 2949536 h 2969978"/>
              <a:gd name="connsiteX53" fmla="*/ 944545 w 11867103"/>
              <a:gd name="connsiteY53" fmla="*/ 2919391 h 2969978"/>
              <a:gd name="connsiteX54" fmla="*/ 723481 w 11867103"/>
              <a:gd name="connsiteY54" fmla="*/ 2879198 h 2969978"/>
              <a:gd name="connsiteX55" fmla="*/ 643095 w 11867103"/>
              <a:gd name="connsiteY55" fmla="*/ 2869149 h 2969978"/>
              <a:gd name="connsiteX56" fmla="*/ 371789 w 11867103"/>
              <a:gd name="connsiteY56" fmla="*/ 2828956 h 2969978"/>
              <a:gd name="connsiteX57" fmla="*/ 0 w 11867103"/>
              <a:gd name="connsiteY57" fmla="*/ 2818908 h 2969978"/>
              <a:gd name="connsiteX0" fmla="*/ 120580 w 11860922"/>
              <a:gd name="connsiteY0" fmla="*/ 55611 h 2969978"/>
              <a:gd name="connsiteX1" fmla="*/ 281354 w 11860922"/>
              <a:gd name="connsiteY1" fmla="*/ 45562 h 2969978"/>
              <a:gd name="connsiteX2" fmla="*/ 673240 w 11860922"/>
              <a:gd name="connsiteY2" fmla="*/ 35514 h 2969978"/>
              <a:gd name="connsiteX3" fmla="*/ 1356528 w 11860922"/>
              <a:gd name="connsiteY3" fmla="*/ 85756 h 2969978"/>
              <a:gd name="connsiteX4" fmla="*/ 1758462 w 11860922"/>
              <a:gd name="connsiteY4" fmla="*/ 45562 h 2969978"/>
              <a:gd name="connsiteX5" fmla="*/ 2140299 w 11860922"/>
              <a:gd name="connsiteY5" fmla="*/ 45562 h 2969978"/>
              <a:gd name="connsiteX6" fmla="*/ 4652387 w 11860922"/>
              <a:gd name="connsiteY6" fmla="*/ 65659 h 2969978"/>
              <a:gd name="connsiteX7" fmla="*/ 4692580 w 11860922"/>
              <a:gd name="connsiteY7" fmla="*/ 75708 h 2969978"/>
              <a:gd name="connsiteX8" fmla="*/ 6420897 w 11860922"/>
              <a:gd name="connsiteY8" fmla="*/ 95804 h 2969978"/>
              <a:gd name="connsiteX9" fmla="*/ 7184571 w 11860922"/>
              <a:gd name="connsiteY9" fmla="*/ 65659 h 2969978"/>
              <a:gd name="connsiteX10" fmla="*/ 7928150 w 11860922"/>
              <a:gd name="connsiteY10" fmla="*/ 65659 h 2969978"/>
              <a:gd name="connsiteX11" fmla="*/ 8219552 w 11860922"/>
              <a:gd name="connsiteY11" fmla="*/ 95804 h 2969978"/>
              <a:gd name="connsiteX12" fmla="*/ 9606224 w 11860922"/>
              <a:gd name="connsiteY12" fmla="*/ 95804 h 2969978"/>
              <a:gd name="connsiteX13" fmla="*/ 9947868 w 11860922"/>
              <a:gd name="connsiteY13" fmla="*/ 65659 h 2969978"/>
              <a:gd name="connsiteX14" fmla="*/ 10791930 w 11860922"/>
              <a:gd name="connsiteY14" fmla="*/ 35514 h 2969978"/>
              <a:gd name="connsiteX15" fmla="*/ 11736475 w 11860922"/>
              <a:gd name="connsiteY15" fmla="*/ 55611 h 2969978"/>
              <a:gd name="connsiteX16" fmla="*/ 11806813 w 11860922"/>
              <a:gd name="connsiteY16" fmla="*/ 769044 h 2969978"/>
              <a:gd name="connsiteX17" fmla="*/ 11816862 w 11860922"/>
              <a:gd name="connsiteY17" fmla="*/ 2336587 h 2969978"/>
              <a:gd name="connsiteX18" fmla="*/ 11857055 w 11860922"/>
              <a:gd name="connsiteY18" fmla="*/ 2567699 h 2969978"/>
              <a:gd name="connsiteX19" fmla="*/ 11857055 w 11860922"/>
              <a:gd name="connsiteY19" fmla="*/ 2839004 h 2969978"/>
              <a:gd name="connsiteX20" fmla="*/ 11836958 w 11860922"/>
              <a:gd name="connsiteY20" fmla="*/ 2869149 h 2969978"/>
              <a:gd name="connsiteX21" fmla="*/ 11033090 w 11860922"/>
              <a:gd name="connsiteY21" fmla="*/ 2859101 h 2969978"/>
              <a:gd name="connsiteX22" fmla="*/ 10621108 w 11860922"/>
              <a:gd name="connsiteY22" fmla="*/ 2849053 h 2969978"/>
              <a:gd name="connsiteX23" fmla="*/ 10128739 w 11860922"/>
              <a:gd name="connsiteY23" fmla="*/ 2859101 h 2969978"/>
              <a:gd name="connsiteX24" fmla="*/ 10048352 w 11860922"/>
              <a:gd name="connsiteY24" fmla="*/ 2869149 h 2969978"/>
              <a:gd name="connsiteX25" fmla="*/ 9555982 w 11860922"/>
              <a:gd name="connsiteY25" fmla="*/ 2859101 h 2969978"/>
              <a:gd name="connsiteX26" fmla="*/ 9445451 w 11860922"/>
              <a:gd name="connsiteY26" fmla="*/ 2849053 h 2969978"/>
              <a:gd name="connsiteX27" fmla="*/ 9415306 w 11860922"/>
              <a:gd name="connsiteY27" fmla="*/ 2828956 h 2969978"/>
              <a:gd name="connsiteX28" fmla="*/ 9204290 w 11860922"/>
              <a:gd name="connsiteY28" fmla="*/ 2808859 h 2969978"/>
              <a:gd name="connsiteX29" fmla="*/ 9073662 w 11860922"/>
              <a:gd name="connsiteY29" fmla="*/ 2788762 h 2969978"/>
              <a:gd name="connsiteX30" fmla="*/ 8812404 w 11860922"/>
              <a:gd name="connsiteY30" fmla="*/ 2778714 h 2969978"/>
              <a:gd name="connsiteX31" fmla="*/ 8400422 w 11860922"/>
              <a:gd name="connsiteY31" fmla="*/ 2768666 h 2969978"/>
              <a:gd name="connsiteX32" fmla="*/ 8269793 w 11860922"/>
              <a:gd name="connsiteY32" fmla="*/ 2758617 h 2969978"/>
              <a:gd name="connsiteX33" fmla="*/ 7797521 w 11860922"/>
              <a:gd name="connsiteY33" fmla="*/ 2778714 h 2969978"/>
              <a:gd name="connsiteX34" fmla="*/ 7717134 w 11860922"/>
              <a:gd name="connsiteY34" fmla="*/ 2788762 h 2969978"/>
              <a:gd name="connsiteX35" fmla="*/ 7486022 w 11860922"/>
              <a:gd name="connsiteY35" fmla="*/ 2818908 h 2969978"/>
              <a:gd name="connsiteX36" fmla="*/ 7395587 w 11860922"/>
              <a:gd name="connsiteY36" fmla="*/ 2839004 h 2969978"/>
              <a:gd name="connsiteX37" fmla="*/ 7325248 w 11860922"/>
              <a:gd name="connsiteY37" fmla="*/ 2849053 h 2969978"/>
              <a:gd name="connsiteX38" fmla="*/ 6863024 w 11860922"/>
              <a:gd name="connsiteY38" fmla="*/ 2839004 h 2969978"/>
              <a:gd name="connsiteX39" fmla="*/ 6722347 w 11860922"/>
              <a:gd name="connsiteY39" fmla="*/ 2828956 h 2969978"/>
              <a:gd name="connsiteX40" fmla="*/ 4903596 w 11860922"/>
              <a:gd name="connsiteY40" fmla="*/ 2879198 h 2969978"/>
              <a:gd name="connsiteX41" fmla="*/ 4722725 w 11860922"/>
              <a:gd name="connsiteY41" fmla="*/ 2919391 h 2969978"/>
              <a:gd name="connsiteX42" fmla="*/ 4300695 w 11860922"/>
              <a:gd name="connsiteY42" fmla="*/ 2899294 h 2969978"/>
              <a:gd name="connsiteX43" fmla="*/ 4059534 w 11860922"/>
              <a:gd name="connsiteY43" fmla="*/ 2859101 h 2969978"/>
              <a:gd name="connsiteX44" fmla="*/ 3768132 w 11860922"/>
              <a:gd name="connsiteY44" fmla="*/ 2828956 h 2969978"/>
              <a:gd name="connsiteX45" fmla="*/ 3627455 w 11860922"/>
              <a:gd name="connsiteY45" fmla="*/ 2818908 h 2969978"/>
              <a:gd name="connsiteX46" fmla="*/ 3125037 w 11860922"/>
              <a:gd name="connsiteY46" fmla="*/ 2828956 h 2969978"/>
              <a:gd name="connsiteX47" fmla="*/ 3064747 w 11860922"/>
              <a:gd name="connsiteY47" fmla="*/ 2839004 h 2969978"/>
              <a:gd name="connsiteX48" fmla="*/ 2009670 w 11860922"/>
              <a:gd name="connsiteY48" fmla="*/ 2849053 h 2969978"/>
              <a:gd name="connsiteX49" fmla="*/ 1678075 w 11860922"/>
              <a:gd name="connsiteY49" fmla="*/ 2939488 h 2969978"/>
              <a:gd name="connsiteX50" fmla="*/ 1607736 w 11860922"/>
              <a:gd name="connsiteY50" fmla="*/ 2969633 h 2969978"/>
              <a:gd name="connsiteX51" fmla="*/ 1135464 w 11860922"/>
              <a:gd name="connsiteY51" fmla="*/ 2949536 h 2969978"/>
              <a:gd name="connsiteX52" fmla="*/ 944545 w 11860922"/>
              <a:gd name="connsiteY52" fmla="*/ 2919391 h 2969978"/>
              <a:gd name="connsiteX53" fmla="*/ 723481 w 11860922"/>
              <a:gd name="connsiteY53" fmla="*/ 2879198 h 2969978"/>
              <a:gd name="connsiteX54" fmla="*/ 643095 w 11860922"/>
              <a:gd name="connsiteY54" fmla="*/ 2869149 h 2969978"/>
              <a:gd name="connsiteX55" fmla="*/ 371789 w 11860922"/>
              <a:gd name="connsiteY55" fmla="*/ 2828956 h 2969978"/>
              <a:gd name="connsiteX56" fmla="*/ 0 w 11860922"/>
              <a:gd name="connsiteY56" fmla="*/ 2818908 h 2969978"/>
              <a:gd name="connsiteX0" fmla="*/ 120580 w 11857648"/>
              <a:gd name="connsiteY0" fmla="*/ 55611 h 2969978"/>
              <a:gd name="connsiteX1" fmla="*/ 281354 w 11857648"/>
              <a:gd name="connsiteY1" fmla="*/ 45562 h 2969978"/>
              <a:gd name="connsiteX2" fmla="*/ 673240 w 11857648"/>
              <a:gd name="connsiteY2" fmla="*/ 35514 h 2969978"/>
              <a:gd name="connsiteX3" fmla="*/ 1356528 w 11857648"/>
              <a:gd name="connsiteY3" fmla="*/ 85756 h 2969978"/>
              <a:gd name="connsiteX4" fmla="*/ 1758462 w 11857648"/>
              <a:gd name="connsiteY4" fmla="*/ 45562 h 2969978"/>
              <a:gd name="connsiteX5" fmla="*/ 2140299 w 11857648"/>
              <a:gd name="connsiteY5" fmla="*/ 45562 h 2969978"/>
              <a:gd name="connsiteX6" fmla="*/ 4652387 w 11857648"/>
              <a:gd name="connsiteY6" fmla="*/ 65659 h 2969978"/>
              <a:gd name="connsiteX7" fmla="*/ 4692580 w 11857648"/>
              <a:gd name="connsiteY7" fmla="*/ 75708 h 2969978"/>
              <a:gd name="connsiteX8" fmla="*/ 6420897 w 11857648"/>
              <a:gd name="connsiteY8" fmla="*/ 95804 h 2969978"/>
              <a:gd name="connsiteX9" fmla="*/ 7184571 w 11857648"/>
              <a:gd name="connsiteY9" fmla="*/ 65659 h 2969978"/>
              <a:gd name="connsiteX10" fmla="*/ 7928150 w 11857648"/>
              <a:gd name="connsiteY10" fmla="*/ 65659 h 2969978"/>
              <a:gd name="connsiteX11" fmla="*/ 8219552 w 11857648"/>
              <a:gd name="connsiteY11" fmla="*/ 95804 h 2969978"/>
              <a:gd name="connsiteX12" fmla="*/ 9606224 w 11857648"/>
              <a:gd name="connsiteY12" fmla="*/ 95804 h 2969978"/>
              <a:gd name="connsiteX13" fmla="*/ 9947868 w 11857648"/>
              <a:gd name="connsiteY13" fmla="*/ 65659 h 2969978"/>
              <a:gd name="connsiteX14" fmla="*/ 10791930 w 11857648"/>
              <a:gd name="connsiteY14" fmla="*/ 35514 h 2969978"/>
              <a:gd name="connsiteX15" fmla="*/ 11736475 w 11857648"/>
              <a:gd name="connsiteY15" fmla="*/ 55611 h 2969978"/>
              <a:gd name="connsiteX16" fmla="*/ 11806813 w 11857648"/>
              <a:gd name="connsiteY16" fmla="*/ 769044 h 2969978"/>
              <a:gd name="connsiteX17" fmla="*/ 11816862 w 11857648"/>
              <a:gd name="connsiteY17" fmla="*/ 2336587 h 2969978"/>
              <a:gd name="connsiteX18" fmla="*/ 11857055 w 11857648"/>
              <a:gd name="connsiteY18" fmla="*/ 2839004 h 2969978"/>
              <a:gd name="connsiteX19" fmla="*/ 11836958 w 11857648"/>
              <a:gd name="connsiteY19" fmla="*/ 2869149 h 2969978"/>
              <a:gd name="connsiteX20" fmla="*/ 11033090 w 11857648"/>
              <a:gd name="connsiteY20" fmla="*/ 2859101 h 2969978"/>
              <a:gd name="connsiteX21" fmla="*/ 10621108 w 11857648"/>
              <a:gd name="connsiteY21" fmla="*/ 2849053 h 2969978"/>
              <a:gd name="connsiteX22" fmla="*/ 10128739 w 11857648"/>
              <a:gd name="connsiteY22" fmla="*/ 2859101 h 2969978"/>
              <a:gd name="connsiteX23" fmla="*/ 10048352 w 11857648"/>
              <a:gd name="connsiteY23" fmla="*/ 2869149 h 2969978"/>
              <a:gd name="connsiteX24" fmla="*/ 9555982 w 11857648"/>
              <a:gd name="connsiteY24" fmla="*/ 2859101 h 2969978"/>
              <a:gd name="connsiteX25" fmla="*/ 9445451 w 11857648"/>
              <a:gd name="connsiteY25" fmla="*/ 2849053 h 2969978"/>
              <a:gd name="connsiteX26" fmla="*/ 9415306 w 11857648"/>
              <a:gd name="connsiteY26" fmla="*/ 2828956 h 2969978"/>
              <a:gd name="connsiteX27" fmla="*/ 9204290 w 11857648"/>
              <a:gd name="connsiteY27" fmla="*/ 2808859 h 2969978"/>
              <a:gd name="connsiteX28" fmla="*/ 9073662 w 11857648"/>
              <a:gd name="connsiteY28" fmla="*/ 2788762 h 2969978"/>
              <a:gd name="connsiteX29" fmla="*/ 8812404 w 11857648"/>
              <a:gd name="connsiteY29" fmla="*/ 2778714 h 2969978"/>
              <a:gd name="connsiteX30" fmla="*/ 8400422 w 11857648"/>
              <a:gd name="connsiteY30" fmla="*/ 2768666 h 2969978"/>
              <a:gd name="connsiteX31" fmla="*/ 8269793 w 11857648"/>
              <a:gd name="connsiteY31" fmla="*/ 2758617 h 2969978"/>
              <a:gd name="connsiteX32" fmla="*/ 7797521 w 11857648"/>
              <a:gd name="connsiteY32" fmla="*/ 2778714 h 2969978"/>
              <a:gd name="connsiteX33" fmla="*/ 7717134 w 11857648"/>
              <a:gd name="connsiteY33" fmla="*/ 2788762 h 2969978"/>
              <a:gd name="connsiteX34" fmla="*/ 7486022 w 11857648"/>
              <a:gd name="connsiteY34" fmla="*/ 2818908 h 2969978"/>
              <a:gd name="connsiteX35" fmla="*/ 7395587 w 11857648"/>
              <a:gd name="connsiteY35" fmla="*/ 2839004 h 2969978"/>
              <a:gd name="connsiteX36" fmla="*/ 7325248 w 11857648"/>
              <a:gd name="connsiteY36" fmla="*/ 2849053 h 2969978"/>
              <a:gd name="connsiteX37" fmla="*/ 6863024 w 11857648"/>
              <a:gd name="connsiteY37" fmla="*/ 2839004 h 2969978"/>
              <a:gd name="connsiteX38" fmla="*/ 6722347 w 11857648"/>
              <a:gd name="connsiteY38" fmla="*/ 2828956 h 2969978"/>
              <a:gd name="connsiteX39" fmla="*/ 4903596 w 11857648"/>
              <a:gd name="connsiteY39" fmla="*/ 2879198 h 2969978"/>
              <a:gd name="connsiteX40" fmla="*/ 4722725 w 11857648"/>
              <a:gd name="connsiteY40" fmla="*/ 2919391 h 2969978"/>
              <a:gd name="connsiteX41" fmla="*/ 4300695 w 11857648"/>
              <a:gd name="connsiteY41" fmla="*/ 2899294 h 2969978"/>
              <a:gd name="connsiteX42" fmla="*/ 4059534 w 11857648"/>
              <a:gd name="connsiteY42" fmla="*/ 2859101 h 2969978"/>
              <a:gd name="connsiteX43" fmla="*/ 3768132 w 11857648"/>
              <a:gd name="connsiteY43" fmla="*/ 2828956 h 2969978"/>
              <a:gd name="connsiteX44" fmla="*/ 3627455 w 11857648"/>
              <a:gd name="connsiteY44" fmla="*/ 2818908 h 2969978"/>
              <a:gd name="connsiteX45" fmla="*/ 3125037 w 11857648"/>
              <a:gd name="connsiteY45" fmla="*/ 2828956 h 2969978"/>
              <a:gd name="connsiteX46" fmla="*/ 3064747 w 11857648"/>
              <a:gd name="connsiteY46" fmla="*/ 2839004 h 2969978"/>
              <a:gd name="connsiteX47" fmla="*/ 2009670 w 11857648"/>
              <a:gd name="connsiteY47" fmla="*/ 2849053 h 2969978"/>
              <a:gd name="connsiteX48" fmla="*/ 1678075 w 11857648"/>
              <a:gd name="connsiteY48" fmla="*/ 2939488 h 2969978"/>
              <a:gd name="connsiteX49" fmla="*/ 1607736 w 11857648"/>
              <a:gd name="connsiteY49" fmla="*/ 2969633 h 2969978"/>
              <a:gd name="connsiteX50" fmla="*/ 1135464 w 11857648"/>
              <a:gd name="connsiteY50" fmla="*/ 2949536 h 2969978"/>
              <a:gd name="connsiteX51" fmla="*/ 944545 w 11857648"/>
              <a:gd name="connsiteY51" fmla="*/ 2919391 h 2969978"/>
              <a:gd name="connsiteX52" fmla="*/ 723481 w 11857648"/>
              <a:gd name="connsiteY52" fmla="*/ 2879198 h 2969978"/>
              <a:gd name="connsiteX53" fmla="*/ 643095 w 11857648"/>
              <a:gd name="connsiteY53" fmla="*/ 2869149 h 2969978"/>
              <a:gd name="connsiteX54" fmla="*/ 371789 w 11857648"/>
              <a:gd name="connsiteY54" fmla="*/ 2828956 h 2969978"/>
              <a:gd name="connsiteX55" fmla="*/ 0 w 11857648"/>
              <a:gd name="connsiteY55" fmla="*/ 2818908 h 2969978"/>
              <a:gd name="connsiteX0" fmla="*/ 120580 w 11907678"/>
              <a:gd name="connsiteY0" fmla="*/ 55611 h 2969978"/>
              <a:gd name="connsiteX1" fmla="*/ 281354 w 11907678"/>
              <a:gd name="connsiteY1" fmla="*/ 45562 h 2969978"/>
              <a:gd name="connsiteX2" fmla="*/ 673240 w 11907678"/>
              <a:gd name="connsiteY2" fmla="*/ 35514 h 2969978"/>
              <a:gd name="connsiteX3" fmla="*/ 1356528 w 11907678"/>
              <a:gd name="connsiteY3" fmla="*/ 85756 h 2969978"/>
              <a:gd name="connsiteX4" fmla="*/ 1758462 w 11907678"/>
              <a:gd name="connsiteY4" fmla="*/ 45562 h 2969978"/>
              <a:gd name="connsiteX5" fmla="*/ 2140299 w 11907678"/>
              <a:gd name="connsiteY5" fmla="*/ 45562 h 2969978"/>
              <a:gd name="connsiteX6" fmla="*/ 4652387 w 11907678"/>
              <a:gd name="connsiteY6" fmla="*/ 65659 h 2969978"/>
              <a:gd name="connsiteX7" fmla="*/ 4692580 w 11907678"/>
              <a:gd name="connsiteY7" fmla="*/ 75708 h 2969978"/>
              <a:gd name="connsiteX8" fmla="*/ 6420897 w 11907678"/>
              <a:gd name="connsiteY8" fmla="*/ 95804 h 2969978"/>
              <a:gd name="connsiteX9" fmla="*/ 7184571 w 11907678"/>
              <a:gd name="connsiteY9" fmla="*/ 65659 h 2969978"/>
              <a:gd name="connsiteX10" fmla="*/ 7928150 w 11907678"/>
              <a:gd name="connsiteY10" fmla="*/ 65659 h 2969978"/>
              <a:gd name="connsiteX11" fmla="*/ 8219552 w 11907678"/>
              <a:gd name="connsiteY11" fmla="*/ 95804 h 2969978"/>
              <a:gd name="connsiteX12" fmla="*/ 9606224 w 11907678"/>
              <a:gd name="connsiteY12" fmla="*/ 95804 h 2969978"/>
              <a:gd name="connsiteX13" fmla="*/ 9947868 w 11907678"/>
              <a:gd name="connsiteY13" fmla="*/ 65659 h 2969978"/>
              <a:gd name="connsiteX14" fmla="*/ 10791930 w 11907678"/>
              <a:gd name="connsiteY14" fmla="*/ 35514 h 2969978"/>
              <a:gd name="connsiteX15" fmla="*/ 11736475 w 11907678"/>
              <a:gd name="connsiteY15" fmla="*/ 55611 h 2969978"/>
              <a:gd name="connsiteX16" fmla="*/ 11806813 w 11907678"/>
              <a:gd name="connsiteY16" fmla="*/ 769044 h 2969978"/>
              <a:gd name="connsiteX17" fmla="*/ 11816862 w 11907678"/>
              <a:gd name="connsiteY17" fmla="*/ 2336587 h 2969978"/>
              <a:gd name="connsiteX18" fmla="*/ 11857055 w 11907678"/>
              <a:gd name="connsiteY18" fmla="*/ 2839004 h 2969978"/>
              <a:gd name="connsiteX19" fmla="*/ 11033090 w 11907678"/>
              <a:gd name="connsiteY19" fmla="*/ 2859101 h 2969978"/>
              <a:gd name="connsiteX20" fmla="*/ 10621108 w 11907678"/>
              <a:gd name="connsiteY20" fmla="*/ 2849053 h 2969978"/>
              <a:gd name="connsiteX21" fmla="*/ 10128739 w 11907678"/>
              <a:gd name="connsiteY21" fmla="*/ 2859101 h 2969978"/>
              <a:gd name="connsiteX22" fmla="*/ 10048352 w 11907678"/>
              <a:gd name="connsiteY22" fmla="*/ 2869149 h 2969978"/>
              <a:gd name="connsiteX23" fmla="*/ 9555982 w 11907678"/>
              <a:gd name="connsiteY23" fmla="*/ 2859101 h 2969978"/>
              <a:gd name="connsiteX24" fmla="*/ 9445451 w 11907678"/>
              <a:gd name="connsiteY24" fmla="*/ 2849053 h 2969978"/>
              <a:gd name="connsiteX25" fmla="*/ 9415306 w 11907678"/>
              <a:gd name="connsiteY25" fmla="*/ 2828956 h 2969978"/>
              <a:gd name="connsiteX26" fmla="*/ 9204290 w 11907678"/>
              <a:gd name="connsiteY26" fmla="*/ 2808859 h 2969978"/>
              <a:gd name="connsiteX27" fmla="*/ 9073662 w 11907678"/>
              <a:gd name="connsiteY27" fmla="*/ 2788762 h 2969978"/>
              <a:gd name="connsiteX28" fmla="*/ 8812404 w 11907678"/>
              <a:gd name="connsiteY28" fmla="*/ 2778714 h 2969978"/>
              <a:gd name="connsiteX29" fmla="*/ 8400422 w 11907678"/>
              <a:gd name="connsiteY29" fmla="*/ 2768666 h 2969978"/>
              <a:gd name="connsiteX30" fmla="*/ 8269793 w 11907678"/>
              <a:gd name="connsiteY30" fmla="*/ 2758617 h 2969978"/>
              <a:gd name="connsiteX31" fmla="*/ 7797521 w 11907678"/>
              <a:gd name="connsiteY31" fmla="*/ 2778714 h 2969978"/>
              <a:gd name="connsiteX32" fmla="*/ 7717134 w 11907678"/>
              <a:gd name="connsiteY32" fmla="*/ 2788762 h 2969978"/>
              <a:gd name="connsiteX33" fmla="*/ 7486022 w 11907678"/>
              <a:gd name="connsiteY33" fmla="*/ 2818908 h 2969978"/>
              <a:gd name="connsiteX34" fmla="*/ 7395587 w 11907678"/>
              <a:gd name="connsiteY34" fmla="*/ 2839004 h 2969978"/>
              <a:gd name="connsiteX35" fmla="*/ 7325248 w 11907678"/>
              <a:gd name="connsiteY35" fmla="*/ 2849053 h 2969978"/>
              <a:gd name="connsiteX36" fmla="*/ 6863024 w 11907678"/>
              <a:gd name="connsiteY36" fmla="*/ 2839004 h 2969978"/>
              <a:gd name="connsiteX37" fmla="*/ 6722347 w 11907678"/>
              <a:gd name="connsiteY37" fmla="*/ 2828956 h 2969978"/>
              <a:gd name="connsiteX38" fmla="*/ 4903596 w 11907678"/>
              <a:gd name="connsiteY38" fmla="*/ 2879198 h 2969978"/>
              <a:gd name="connsiteX39" fmla="*/ 4722725 w 11907678"/>
              <a:gd name="connsiteY39" fmla="*/ 2919391 h 2969978"/>
              <a:gd name="connsiteX40" fmla="*/ 4300695 w 11907678"/>
              <a:gd name="connsiteY40" fmla="*/ 2899294 h 2969978"/>
              <a:gd name="connsiteX41" fmla="*/ 4059534 w 11907678"/>
              <a:gd name="connsiteY41" fmla="*/ 2859101 h 2969978"/>
              <a:gd name="connsiteX42" fmla="*/ 3768132 w 11907678"/>
              <a:gd name="connsiteY42" fmla="*/ 2828956 h 2969978"/>
              <a:gd name="connsiteX43" fmla="*/ 3627455 w 11907678"/>
              <a:gd name="connsiteY43" fmla="*/ 2818908 h 2969978"/>
              <a:gd name="connsiteX44" fmla="*/ 3125037 w 11907678"/>
              <a:gd name="connsiteY44" fmla="*/ 2828956 h 2969978"/>
              <a:gd name="connsiteX45" fmla="*/ 3064747 w 11907678"/>
              <a:gd name="connsiteY45" fmla="*/ 2839004 h 2969978"/>
              <a:gd name="connsiteX46" fmla="*/ 2009670 w 11907678"/>
              <a:gd name="connsiteY46" fmla="*/ 2849053 h 2969978"/>
              <a:gd name="connsiteX47" fmla="*/ 1678075 w 11907678"/>
              <a:gd name="connsiteY47" fmla="*/ 2939488 h 2969978"/>
              <a:gd name="connsiteX48" fmla="*/ 1607736 w 11907678"/>
              <a:gd name="connsiteY48" fmla="*/ 2969633 h 2969978"/>
              <a:gd name="connsiteX49" fmla="*/ 1135464 w 11907678"/>
              <a:gd name="connsiteY49" fmla="*/ 2949536 h 2969978"/>
              <a:gd name="connsiteX50" fmla="*/ 944545 w 11907678"/>
              <a:gd name="connsiteY50" fmla="*/ 2919391 h 2969978"/>
              <a:gd name="connsiteX51" fmla="*/ 723481 w 11907678"/>
              <a:gd name="connsiteY51" fmla="*/ 2879198 h 2969978"/>
              <a:gd name="connsiteX52" fmla="*/ 643095 w 11907678"/>
              <a:gd name="connsiteY52" fmla="*/ 2869149 h 2969978"/>
              <a:gd name="connsiteX53" fmla="*/ 371789 w 11907678"/>
              <a:gd name="connsiteY53" fmla="*/ 2828956 h 2969978"/>
              <a:gd name="connsiteX54" fmla="*/ 0 w 11907678"/>
              <a:gd name="connsiteY54" fmla="*/ 2818908 h 2969978"/>
              <a:gd name="connsiteX0" fmla="*/ 120580 w 11869655"/>
              <a:gd name="connsiteY0" fmla="*/ 55611 h 2969978"/>
              <a:gd name="connsiteX1" fmla="*/ 281354 w 11869655"/>
              <a:gd name="connsiteY1" fmla="*/ 45562 h 2969978"/>
              <a:gd name="connsiteX2" fmla="*/ 673240 w 11869655"/>
              <a:gd name="connsiteY2" fmla="*/ 35514 h 2969978"/>
              <a:gd name="connsiteX3" fmla="*/ 1356528 w 11869655"/>
              <a:gd name="connsiteY3" fmla="*/ 85756 h 2969978"/>
              <a:gd name="connsiteX4" fmla="*/ 1758462 w 11869655"/>
              <a:gd name="connsiteY4" fmla="*/ 45562 h 2969978"/>
              <a:gd name="connsiteX5" fmla="*/ 2140299 w 11869655"/>
              <a:gd name="connsiteY5" fmla="*/ 45562 h 2969978"/>
              <a:gd name="connsiteX6" fmla="*/ 4652387 w 11869655"/>
              <a:gd name="connsiteY6" fmla="*/ 65659 h 2969978"/>
              <a:gd name="connsiteX7" fmla="*/ 4692580 w 11869655"/>
              <a:gd name="connsiteY7" fmla="*/ 75708 h 2969978"/>
              <a:gd name="connsiteX8" fmla="*/ 6420897 w 11869655"/>
              <a:gd name="connsiteY8" fmla="*/ 95804 h 2969978"/>
              <a:gd name="connsiteX9" fmla="*/ 7184571 w 11869655"/>
              <a:gd name="connsiteY9" fmla="*/ 65659 h 2969978"/>
              <a:gd name="connsiteX10" fmla="*/ 7928150 w 11869655"/>
              <a:gd name="connsiteY10" fmla="*/ 65659 h 2969978"/>
              <a:gd name="connsiteX11" fmla="*/ 8219552 w 11869655"/>
              <a:gd name="connsiteY11" fmla="*/ 95804 h 2969978"/>
              <a:gd name="connsiteX12" fmla="*/ 9606224 w 11869655"/>
              <a:gd name="connsiteY12" fmla="*/ 95804 h 2969978"/>
              <a:gd name="connsiteX13" fmla="*/ 9947868 w 11869655"/>
              <a:gd name="connsiteY13" fmla="*/ 65659 h 2969978"/>
              <a:gd name="connsiteX14" fmla="*/ 10791930 w 11869655"/>
              <a:gd name="connsiteY14" fmla="*/ 35514 h 2969978"/>
              <a:gd name="connsiteX15" fmla="*/ 11736475 w 11869655"/>
              <a:gd name="connsiteY15" fmla="*/ 55611 h 2969978"/>
              <a:gd name="connsiteX16" fmla="*/ 11806813 w 11869655"/>
              <a:gd name="connsiteY16" fmla="*/ 769044 h 2969978"/>
              <a:gd name="connsiteX17" fmla="*/ 11816862 w 11869655"/>
              <a:gd name="connsiteY17" fmla="*/ 2336587 h 2969978"/>
              <a:gd name="connsiteX18" fmla="*/ 11806813 w 11869655"/>
              <a:gd name="connsiteY18" fmla="*/ 2828956 h 2969978"/>
              <a:gd name="connsiteX19" fmla="*/ 11033090 w 11869655"/>
              <a:gd name="connsiteY19" fmla="*/ 2859101 h 2969978"/>
              <a:gd name="connsiteX20" fmla="*/ 10621108 w 11869655"/>
              <a:gd name="connsiteY20" fmla="*/ 2849053 h 2969978"/>
              <a:gd name="connsiteX21" fmla="*/ 10128739 w 11869655"/>
              <a:gd name="connsiteY21" fmla="*/ 2859101 h 2969978"/>
              <a:gd name="connsiteX22" fmla="*/ 10048352 w 11869655"/>
              <a:gd name="connsiteY22" fmla="*/ 2869149 h 2969978"/>
              <a:gd name="connsiteX23" fmla="*/ 9555982 w 11869655"/>
              <a:gd name="connsiteY23" fmla="*/ 2859101 h 2969978"/>
              <a:gd name="connsiteX24" fmla="*/ 9445451 w 11869655"/>
              <a:gd name="connsiteY24" fmla="*/ 2849053 h 2969978"/>
              <a:gd name="connsiteX25" fmla="*/ 9415306 w 11869655"/>
              <a:gd name="connsiteY25" fmla="*/ 2828956 h 2969978"/>
              <a:gd name="connsiteX26" fmla="*/ 9204290 w 11869655"/>
              <a:gd name="connsiteY26" fmla="*/ 2808859 h 2969978"/>
              <a:gd name="connsiteX27" fmla="*/ 9073662 w 11869655"/>
              <a:gd name="connsiteY27" fmla="*/ 2788762 h 2969978"/>
              <a:gd name="connsiteX28" fmla="*/ 8812404 w 11869655"/>
              <a:gd name="connsiteY28" fmla="*/ 2778714 h 2969978"/>
              <a:gd name="connsiteX29" fmla="*/ 8400422 w 11869655"/>
              <a:gd name="connsiteY29" fmla="*/ 2768666 h 2969978"/>
              <a:gd name="connsiteX30" fmla="*/ 8269793 w 11869655"/>
              <a:gd name="connsiteY30" fmla="*/ 2758617 h 2969978"/>
              <a:gd name="connsiteX31" fmla="*/ 7797521 w 11869655"/>
              <a:gd name="connsiteY31" fmla="*/ 2778714 h 2969978"/>
              <a:gd name="connsiteX32" fmla="*/ 7717134 w 11869655"/>
              <a:gd name="connsiteY32" fmla="*/ 2788762 h 2969978"/>
              <a:gd name="connsiteX33" fmla="*/ 7486022 w 11869655"/>
              <a:gd name="connsiteY33" fmla="*/ 2818908 h 2969978"/>
              <a:gd name="connsiteX34" fmla="*/ 7395587 w 11869655"/>
              <a:gd name="connsiteY34" fmla="*/ 2839004 h 2969978"/>
              <a:gd name="connsiteX35" fmla="*/ 7325248 w 11869655"/>
              <a:gd name="connsiteY35" fmla="*/ 2849053 h 2969978"/>
              <a:gd name="connsiteX36" fmla="*/ 6863024 w 11869655"/>
              <a:gd name="connsiteY36" fmla="*/ 2839004 h 2969978"/>
              <a:gd name="connsiteX37" fmla="*/ 6722347 w 11869655"/>
              <a:gd name="connsiteY37" fmla="*/ 2828956 h 2969978"/>
              <a:gd name="connsiteX38" fmla="*/ 4903596 w 11869655"/>
              <a:gd name="connsiteY38" fmla="*/ 2879198 h 2969978"/>
              <a:gd name="connsiteX39" fmla="*/ 4722725 w 11869655"/>
              <a:gd name="connsiteY39" fmla="*/ 2919391 h 2969978"/>
              <a:gd name="connsiteX40" fmla="*/ 4300695 w 11869655"/>
              <a:gd name="connsiteY40" fmla="*/ 2899294 h 2969978"/>
              <a:gd name="connsiteX41" fmla="*/ 4059534 w 11869655"/>
              <a:gd name="connsiteY41" fmla="*/ 2859101 h 2969978"/>
              <a:gd name="connsiteX42" fmla="*/ 3768132 w 11869655"/>
              <a:gd name="connsiteY42" fmla="*/ 2828956 h 2969978"/>
              <a:gd name="connsiteX43" fmla="*/ 3627455 w 11869655"/>
              <a:gd name="connsiteY43" fmla="*/ 2818908 h 2969978"/>
              <a:gd name="connsiteX44" fmla="*/ 3125037 w 11869655"/>
              <a:gd name="connsiteY44" fmla="*/ 2828956 h 2969978"/>
              <a:gd name="connsiteX45" fmla="*/ 3064747 w 11869655"/>
              <a:gd name="connsiteY45" fmla="*/ 2839004 h 2969978"/>
              <a:gd name="connsiteX46" fmla="*/ 2009670 w 11869655"/>
              <a:gd name="connsiteY46" fmla="*/ 2849053 h 2969978"/>
              <a:gd name="connsiteX47" fmla="*/ 1678075 w 11869655"/>
              <a:gd name="connsiteY47" fmla="*/ 2939488 h 2969978"/>
              <a:gd name="connsiteX48" fmla="*/ 1607736 w 11869655"/>
              <a:gd name="connsiteY48" fmla="*/ 2969633 h 2969978"/>
              <a:gd name="connsiteX49" fmla="*/ 1135464 w 11869655"/>
              <a:gd name="connsiteY49" fmla="*/ 2949536 h 2969978"/>
              <a:gd name="connsiteX50" fmla="*/ 944545 w 11869655"/>
              <a:gd name="connsiteY50" fmla="*/ 2919391 h 2969978"/>
              <a:gd name="connsiteX51" fmla="*/ 723481 w 11869655"/>
              <a:gd name="connsiteY51" fmla="*/ 2879198 h 2969978"/>
              <a:gd name="connsiteX52" fmla="*/ 643095 w 11869655"/>
              <a:gd name="connsiteY52" fmla="*/ 2869149 h 2969978"/>
              <a:gd name="connsiteX53" fmla="*/ 371789 w 11869655"/>
              <a:gd name="connsiteY53" fmla="*/ 2828956 h 2969978"/>
              <a:gd name="connsiteX54" fmla="*/ 0 w 11869655"/>
              <a:gd name="connsiteY54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621108 w 11851944"/>
              <a:gd name="connsiteY20" fmla="*/ 2849053 h 2969978"/>
              <a:gd name="connsiteX21" fmla="*/ 10128739 w 11851944"/>
              <a:gd name="connsiteY21" fmla="*/ 2859101 h 2969978"/>
              <a:gd name="connsiteX22" fmla="*/ 10048352 w 11851944"/>
              <a:gd name="connsiteY22" fmla="*/ 2869149 h 2969978"/>
              <a:gd name="connsiteX23" fmla="*/ 9555982 w 11851944"/>
              <a:gd name="connsiteY23" fmla="*/ 2859101 h 2969978"/>
              <a:gd name="connsiteX24" fmla="*/ 9445451 w 11851944"/>
              <a:gd name="connsiteY24" fmla="*/ 2849053 h 2969978"/>
              <a:gd name="connsiteX25" fmla="*/ 9415306 w 11851944"/>
              <a:gd name="connsiteY25" fmla="*/ 2828956 h 2969978"/>
              <a:gd name="connsiteX26" fmla="*/ 9204290 w 11851944"/>
              <a:gd name="connsiteY26" fmla="*/ 2808859 h 2969978"/>
              <a:gd name="connsiteX27" fmla="*/ 9073662 w 11851944"/>
              <a:gd name="connsiteY27" fmla="*/ 2788762 h 2969978"/>
              <a:gd name="connsiteX28" fmla="*/ 8812404 w 11851944"/>
              <a:gd name="connsiteY28" fmla="*/ 2778714 h 2969978"/>
              <a:gd name="connsiteX29" fmla="*/ 8400422 w 11851944"/>
              <a:gd name="connsiteY29" fmla="*/ 2768666 h 2969978"/>
              <a:gd name="connsiteX30" fmla="*/ 8269793 w 11851944"/>
              <a:gd name="connsiteY30" fmla="*/ 2758617 h 2969978"/>
              <a:gd name="connsiteX31" fmla="*/ 7797521 w 11851944"/>
              <a:gd name="connsiteY31" fmla="*/ 2778714 h 2969978"/>
              <a:gd name="connsiteX32" fmla="*/ 7717134 w 11851944"/>
              <a:gd name="connsiteY32" fmla="*/ 2788762 h 2969978"/>
              <a:gd name="connsiteX33" fmla="*/ 7486022 w 11851944"/>
              <a:gd name="connsiteY33" fmla="*/ 2818908 h 2969978"/>
              <a:gd name="connsiteX34" fmla="*/ 7395587 w 11851944"/>
              <a:gd name="connsiteY34" fmla="*/ 2839004 h 2969978"/>
              <a:gd name="connsiteX35" fmla="*/ 7325248 w 11851944"/>
              <a:gd name="connsiteY35" fmla="*/ 2849053 h 2969978"/>
              <a:gd name="connsiteX36" fmla="*/ 6863024 w 11851944"/>
              <a:gd name="connsiteY36" fmla="*/ 2839004 h 2969978"/>
              <a:gd name="connsiteX37" fmla="*/ 6722347 w 11851944"/>
              <a:gd name="connsiteY37" fmla="*/ 2828956 h 2969978"/>
              <a:gd name="connsiteX38" fmla="*/ 4903596 w 11851944"/>
              <a:gd name="connsiteY38" fmla="*/ 2879198 h 2969978"/>
              <a:gd name="connsiteX39" fmla="*/ 4722725 w 11851944"/>
              <a:gd name="connsiteY39" fmla="*/ 2919391 h 2969978"/>
              <a:gd name="connsiteX40" fmla="*/ 4300695 w 11851944"/>
              <a:gd name="connsiteY40" fmla="*/ 2899294 h 2969978"/>
              <a:gd name="connsiteX41" fmla="*/ 4059534 w 11851944"/>
              <a:gd name="connsiteY41" fmla="*/ 2859101 h 2969978"/>
              <a:gd name="connsiteX42" fmla="*/ 3768132 w 11851944"/>
              <a:gd name="connsiteY42" fmla="*/ 2828956 h 2969978"/>
              <a:gd name="connsiteX43" fmla="*/ 3627455 w 11851944"/>
              <a:gd name="connsiteY43" fmla="*/ 2818908 h 2969978"/>
              <a:gd name="connsiteX44" fmla="*/ 3125037 w 11851944"/>
              <a:gd name="connsiteY44" fmla="*/ 2828956 h 2969978"/>
              <a:gd name="connsiteX45" fmla="*/ 3064747 w 11851944"/>
              <a:gd name="connsiteY45" fmla="*/ 2839004 h 2969978"/>
              <a:gd name="connsiteX46" fmla="*/ 2009670 w 11851944"/>
              <a:gd name="connsiteY46" fmla="*/ 2849053 h 2969978"/>
              <a:gd name="connsiteX47" fmla="*/ 1678075 w 11851944"/>
              <a:gd name="connsiteY47" fmla="*/ 2939488 h 2969978"/>
              <a:gd name="connsiteX48" fmla="*/ 1607736 w 11851944"/>
              <a:gd name="connsiteY48" fmla="*/ 2969633 h 2969978"/>
              <a:gd name="connsiteX49" fmla="*/ 1135464 w 11851944"/>
              <a:gd name="connsiteY49" fmla="*/ 2949536 h 2969978"/>
              <a:gd name="connsiteX50" fmla="*/ 944545 w 11851944"/>
              <a:gd name="connsiteY50" fmla="*/ 2919391 h 2969978"/>
              <a:gd name="connsiteX51" fmla="*/ 723481 w 11851944"/>
              <a:gd name="connsiteY51" fmla="*/ 2879198 h 2969978"/>
              <a:gd name="connsiteX52" fmla="*/ 643095 w 11851944"/>
              <a:gd name="connsiteY52" fmla="*/ 2869149 h 2969978"/>
              <a:gd name="connsiteX53" fmla="*/ 371789 w 11851944"/>
              <a:gd name="connsiteY53" fmla="*/ 2828956 h 2969978"/>
              <a:gd name="connsiteX54" fmla="*/ 0 w 11851944"/>
              <a:gd name="connsiteY54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10048352 w 11851944"/>
              <a:gd name="connsiteY21" fmla="*/ 2869149 h 2969978"/>
              <a:gd name="connsiteX22" fmla="*/ 9555982 w 11851944"/>
              <a:gd name="connsiteY22" fmla="*/ 2859101 h 2969978"/>
              <a:gd name="connsiteX23" fmla="*/ 9445451 w 11851944"/>
              <a:gd name="connsiteY23" fmla="*/ 2849053 h 2969978"/>
              <a:gd name="connsiteX24" fmla="*/ 9415306 w 11851944"/>
              <a:gd name="connsiteY24" fmla="*/ 2828956 h 2969978"/>
              <a:gd name="connsiteX25" fmla="*/ 9204290 w 11851944"/>
              <a:gd name="connsiteY25" fmla="*/ 2808859 h 2969978"/>
              <a:gd name="connsiteX26" fmla="*/ 9073662 w 11851944"/>
              <a:gd name="connsiteY26" fmla="*/ 2788762 h 2969978"/>
              <a:gd name="connsiteX27" fmla="*/ 8812404 w 11851944"/>
              <a:gd name="connsiteY27" fmla="*/ 2778714 h 2969978"/>
              <a:gd name="connsiteX28" fmla="*/ 8400422 w 11851944"/>
              <a:gd name="connsiteY28" fmla="*/ 2768666 h 2969978"/>
              <a:gd name="connsiteX29" fmla="*/ 8269793 w 11851944"/>
              <a:gd name="connsiteY29" fmla="*/ 2758617 h 2969978"/>
              <a:gd name="connsiteX30" fmla="*/ 7797521 w 11851944"/>
              <a:gd name="connsiteY30" fmla="*/ 2778714 h 2969978"/>
              <a:gd name="connsiteX31" fmla="*/ 7717134 w 11851944"/>
              <a:gd name="connsiteY31" fmla="*/ 2788762 h 2969978"/>
              <a:gd name="connsiteX32" fmla="*/ 7486022 w 11851944"/>
              <a:gd name="connsiteY32" fmla="*/ 2818908 h 2969978"/>
              <a:gd name="connsiteX33" fmla="*/ 7395587 w 11851944"/>
              <a:gd name="connsiteY33" fmla="*/ 2839004 h 2969978"/>
              <a:gd name="connsiteX34" fmla="*/ 7325248 w 11851944"/>
              <a:gd name="connsiteY34" fmla="*/ 2849053 h 2969978"/>
              <a:gd name="connsiteX35" fmla="*/ 6863024 w 11851944"/>
              <a:gd name="connsiteY35" fmla="*/ 2839004 h 2969978"/>
              <a:gd name="connsiteX36" fmla="*/ 6722347 w 11851944"/>
              <a:gd name="connsiteY36" fmla="*/ 2828956 h 2969978"/>
              <a:gd name="connsiteX37" fmla="*/ 4903596 w 11851944"/>
              <a:gd name="connsiteY37" fmla="*/ 2879198 h 2969978"/>
              <a:gd name="connsiteX38" fmla="*/ 4722725 w 11851944"/>
              <a:gd name="connsiteY38" fmla="*/ 2919391 h 2969978"/>
              <a:gd name="connsiteX39" fmla="*/ 4300695 w 11851944"/>
              <a:gd name="connsiteY39" fmla="*/ 2899294 h 2969978"/>
              <a:gd name="connsiteX40" fmla="*/ 4059534 w 11851944"/>
              <a:gd name="connsiteY40" fmla="*/ 2859101 h 2969978"/>
              <a:gd name="connsiteX41" fmla="*/ 3768132 w 11851944"/>
              <a:gd name="connsiteY41" fmla="*/ 2828956 h 2969978"/>
              <a:gd name="connsiteX42" fmla="*/ 3627455 w 11851944"/>
              <a:gd name="connsiteY42" fmla="*/ 2818908 h 2969978"/>
              <a:gd name="connsiteX43" fmla="*/ 3125037 w 11851944"/>
              <a:gd name="connsiteY43" fmla="*/ 2828956 h 2969978"/>
              <a:gd name="connsiteX44" fmla="*/ 3064747 w 11851944"/>
              <a:gd name="connsiteY44" fmla="*/ 2839004 h 2969978"/>
              <a:gd name="connsiteX45" fmla="*/ 2009670 w 11851944"/>
              <a:gd name="connsiteY45" fmla="*/ 2849053 h 2969978"/>
              <a:gd name="connsiteX46" fmla="*/ 1678075 w 11851944"/>
              <a:gd name="connsiteY46" fmla="*/ 2939488 h 2969978"/>
              <a:gd name="connsiteX47" fmla="*/ 1607736 w 11851944"/>
              <a:gd name="connsiteY47" fmla="*/ 2969633 h 2969978"/>
              <a:gd name="connsiteX48" fmla="*/ 1135464 w 11851944"/>
              <a:gd name="connsiteY48" fmla="*/ 2949536 h 2969978"/>
              <a:gd name="connsiteX49" fmla="*/ 944545 w 11851944"/>
              <a:gd name="connsiteY49" fmla="*/ 2919391 h 2969978"/>
              <a:gd name="connsiteX50" fmla="*/ 723481 w 11851944"/>
              <a:gd name="connsiteY50" fmla="*/ 2879198 h 2969978"/>
              <a:gd name="connsiteX51" fmla="*/ 643095 w 11851944"/>
              <a:gd name="connsiteY51" fmla="*/ 2869149 h 2969978"/>
              <a:gd name="connsiteX52" fmla="*/ 371789 w 11851944"/>
              <a:gd name="connsiteY52" fmla="*/ 2828956 h 2969978"/>
              <a:gd name="connsiteX53" fmla="*/ 0 w 11851944"/>
              <a:gd name="connsiteY53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10048352 w 11851944"/>
              <a:gd name="connsiteY21" fmla="*/ 2869149 h 2969978"/>
              <a:gd name="connsiteX22" fmla="*/ 9555982 w 11851944"/>
              <a:gd name="connsiteY22" fmla="*/ 2859101 h 2969978"/>
              <a:gd name="connsiteX23" fmla="*/ 9445451 w 11851944"/>
              <a:gd name="connsiteY23" fmla="*/ 2849053 h 2969978"/>
              <a:gd name="connsiteX24" fmla="*/ 9204290 w 11851944"/>
              <a:gd name="connsiteY24" fmla="*/ 2808859 h 2969978"/>
              <a:gd name="connsiteX25" fmla="*/ 9073662 w 11851944"/>
              <a:gd name="connsiteY25" fmla="*/ 2788762 h 2969978"/>
              <a:gd name="connsiteX26" fmla="*/ 8812404 w 11851944"/>
              <a:gd name="connsiteY26" fmla="*/ 2778714 h 2969978"/>
              <a:gd name="connsiteX27" fmla="*/ 8400422 w 11851944"/>
              <a:gd name="connsiteY27" fmla="*/ 2768666 h 2969978"/>
              <a:gd name="connsiteX28" fmla="*/ 8269793 w 11851944"/>
              <a:gd name="connsiteY28" fmla="*/ 2758617 h 2969978"/>
              <a:gd name="connsiteX29" fmla="*/ 7797521 w 11851944"/>
              <a:gd name="connsiteY29" fmla="*/ 2778714 h 2969978"/>
              <a:gd name="connsiteX30" fmla="*/ 7717134 w 11851944"/>
              <a:gd name="connsiteY30" fmla="*/ 2788762 h 2969978"/>
              <a:gd name="connsiteX31" fmla="*/ 7486022 w 11851944"/>
              <a:gd name="connsiteY31" fmla="*/ 2818908 h 2969978"/>
              <a:gd name="connsiteX32" fmla="*/ 7395587 w 11851944"/>
              <a:gd name="connsiteY32" fmla="*/ 2839004 h 2969978"/>
              <a:gd name="connsiteX33" fmla="*/ 7325248 w 11851944"/>
              <a:gd name="connsiteY33" fmla="*/ 2849053 h 2969978"/>
              <a:gd name="connsiteX34" fmla="*/ 6863024 w 11851944"/>
              <a:gd name="connsiteY34" fmla="*/ 2839004 h 2969978"/>
              <a:gd name="connsiteX35" fmla="*/ 6722347 w 11851944"/>
              <a:gd name="connsiteY35" fmla="*/ 2828956 h 2969978"/>
              <a:gd name="connsiteX36" fmla="*/ 4903596 w 11851944"/>
              <a:gd name="connsiteY36" fmla="*/ 2879198 h 2969978"/>
              <a:gd name="connsiteX37" fmla="*/ 4722725 w 11851944"/>
              <a:gd name="connsiteY37" fmla="*/ 2919391 h 2969978"/>
              <a:gd name="connsiteX38" fmla="*/ 4300695 w 11851944"/>
              <a:gd name="connsiteY38" fmla="*/ 2899294 h 2969978"/>
              <a:gd name="connsiteX39" fmla="*/ 4059534 w 11851944"/>
              <a:gd name="connsiteY39" fmla="*/ 2859101 h 2969978"/>
              <a:gd name="connsiteX40" fmla="*/ 3768132 w 11851944"/>
              <a:gd name="connsiteY40" fmla="*/ 2828956 h 2969978"/>
              <a:gd name="connsiteX41" fmla="*/ 3627455 w 11851944"/>
              <a:gd name="connsiteY41" fmla="*/ 2818908 h 2969978"/>
              <a:gd name="connsiteX42" fmla="*/ 3125037 w 11851944"/>
              <a:gd name="connsiteY42" fmla="*/ 2828956 h 2969978"/>
              <a:gd name="connsiteX43" fmla="*/ 3064747 w 11851944"/>
              <a:gd name="connsiteY43" fmla="*/ 2839004 h 2969978"/>
              <a:gd name="connsiteX44" fmla="*/ 2009670 w 11851944"/>
              <a:gd name="connsiteY44" fmla="*/ 2849053 h 2969978"/>
              <a:gd name="connsiteX45" fmla="*/ 1678075 w 11851944"/>
              <a:gd name="connsiteY45" fmla="*/ 2939488 h 2969978"/>
              <a:gd name="connsiteX46" fmla="*/ 1607736 w 11851944"/>
              <a:gd name="connsiteY46" fmla="*/ 2969633 h 2969978"/>
              <a:gd name="connsiteX47" fmla="*/ 1135464 w 11851944"/>
              <a:gd name="connsiteY47" fmla="*/ 2949536 h 2969978"/>
              <a:gd name="connsiteX48" fmla="*/ 944545 w 11851944"/>
              <a:gd name="connsiteY48" fmla="*/ 2919391 h 2969978"/>
              <a:gd name="connsiteX49" fmla="*/ 723481 w 11851944"/>
              <a:gd name="connsiteY49" fmla="*/ 2879198 h 2969978"/>
              <a:gd name="connsiteX50" fmla="*/ 643095 w 11851944"/>
              <a:gd name="connsiteY50" fmla="*/ 2869149 h 2969978"/>
              <a:gd name="connsiteX51" fmla="*/ 371789 w 11851944"/>
              <a:gd name="connsiteY51" fmla="*/ 2828956 h 2969978"/>
              <a:gd name="connsiteX52" fmla="*/ 0 w 11851944"/>
              <a:gd name="connsiteY52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10048352 w 11851944"/>
              <a:gd name="connsiteY21" fmla="*/ 2869149 h 2969978"/>
              <a:gd name="connsiteX22" fmla="*/ 9555982 w 11851944"/>
              <a:gd name="connsiteY22" fmla="*/ 2859101 h 2969978"/>
              <a:gd name="connsiteX23" fmla="*/ 9204290 w 11851944"/>
              <a:gd name="connsiteY23" fmla="*/ 2808859 h 2969978"/>
              <a:gd name="connsiteX24" fmla="*/ 9073662 w 11851944"/>
              <a:gd name="connsiteY24" fmla="*/ 2788762 h 2969978"/>
              <a:gd name="connsiteX25" fmla="*/ 8812404 w 11851944"/>
              <a:gd name="connsiteY25" fmla="*/ 2778714 h 2969978"/>
              <a:gd name="connsiteX26" fmla="*/ 8400422 w 11851944"/>
              <a:gd name="connsiteY26" fmla="*/ 2768666 h 2969978"/>
              <a:gd name="connsiteX27" fmla="*/ 8269793 w 11851944"/>
              <a:gd name="connsiteY27" fmla="*/ 2758617 h 2969978"/>
              <a:gd name="connsiteX28" fmla="*/ 7797521 w 11851944"/>
              <a:gd name="connsiteY28" fmla="*/ 2778714 h 2969978"/>
              <a:gd name="connsiteX29" fmla="*/ 7717134 w 11851944"/>
              <a:gd name="connsiteY29" fmla="*/ 2788762 h 2969978"/>
              <a:gd name="connsiteX30" fmla="*/ 7486022 w 11851944"/>
              <a:gd name="connsiteY30" fmla="*/ 2818908 h 2969978"/>
              <a:gd name="connsiteX31" fmla="*/ 7395587 w 11851944"/>
              <a:gd name="connsiteY31" fmla="*/ 2839004 h 2969978"/>
              <a:gd name="connsiteX32" fmla="*/ 7325248 w 11851944"/>
              <a:gd name="connsiteY32" fmla="*/ 2849053 h 2969978"/>
              <a:gd name="connsiteX33" fmla="*/ 6863024 w 11851944"/>
              <a:gd name="connsiteY33" fmla="*/ 2839004 h 2969978"/>
              <a:gd name="connsiteX34" fmla="*/ 6722347 w 11851944"/>
              <a:gd name="connsiteY34" fmla="*/ 2828956 h 2969978"/>
              <a:gd name="connsiteX35" fmla="*/ 4903596 w 11851944"/>
              <a:gd name="connsiteY35" fmla="*/ 2879198 h 2969978"/>
              <a:gd name="connsiteX36" fmla="*/ 4722725 w 11851944"/>
              <a:gd name="connsiteY36" fmla="*/ 2919391 h 2969978"/>
              <a:gd name="connsiteX37" fmla="*/ 4300695 w 11851944"/>
              <a:gd name="connsiteY37" fmla="*/ 2899294 h 2969978"/>
              <a:gd name="connsiteX38" fmla="*/ 4059534 w 11851944"/>
              <a:gd name="connsiteY38" fmla="*/ 2859101 h 2969978"/>
              <a:gd name="connsiteX39" fmla="*/ 3768132 w 11851944"/>
              <a:gd name="connsiteY39" fmla="*/ 2828956 h 2969978"/>
              <a:gd name="connsiteX40" fmla="*/ 3627455 w 11851944"/>
              <a:gd name="connsiteY40" fmla="*/ 2818908 h 2969978"/>
              <a:gd name="connsiteX41" fmla="*/ 3125037 w 11851944"/>
              <a:gd name="connsiteY41" fmla="*/ 2828956 h 2969978"/>
              <a:gd name="connsiteX42" fmla="*/ 3064747 w 11851944"/>
              <a:gd name="connsiteY42" fmla="*/ 2839004 h 2969978"/>
              <a:gd name="connsiteX43" fmla="*/ 2009670 w 11851944"/>
              <a:gd name="connsiteY43" fmla="*/ 2849053 h 2969978"/>
              <a:gd name="connsiteX44" fmla="*/ 1678075 w 11851944"/>
              <a:gd name="connsiteY44" fmla="*/ 2939488 h 2969978"/>
              <a:gd name="connsiteX45" fmla="*/ 1607736 w 11851944"/>
              <a:gd name="connsiteY45" fmla="*/ 2969633 h 2969978"/>
              <a:gd name="connsiteX46" fmla="*/ 1135464 w 11851944"/>
              <a:gd name="connsiteY46" fmla="*/ 2949536 h 2969978"/>
              <a:gd name="connsiteX47" fmla="*/ 944545 w 11851944"/>
              <a:gd name="connsiteY47" fmla="*/ 2919391 h 2969978"/>
              <a:gd name="connsiteX48" fmla="*/ 723481 w 11851944"/>
              <a:gd name="connsiteY48" fmla="*/ 2879198 h 2969978"/>
              <a:gd name="connsiteX49" fmla="*/ 643095 w 11851944"/>
              <a:gd name="connsiteY49" fmla="*/ 2869149 h 2969978"/>
              <a:gd name="connsiteX50" fmla="*/ 371789 w 11851944"/>
              <a:gd name="connsiteY50" fmla="*/ 2828956 h 2969978"/>
              <a:gd name="connsiteX51" fmla="*/ 0 w 11851944"/>
              <a:gd name="connsiteY51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8400422 w 11851944"/>
              <a:gd name="connsiteY25" fmla="*/ 2768666 h 2969978"/>
              <a:gd name="connsiteX26" fmla="*/ 8269793 w 11851944"/>
              <a:gd name="connsiteY26" fmla="*/ 2758617 h 2969978"/>
              <a:gd name="connsiteX27" fmla="*/ 7797521 w 11851944"/>
              <a:gd name="connsiteY27" fmla="*/ 2778714 h 2969978"/>
              <a:gd name="connsiteX28" fmla="*/ 7717134 w 11851944"/>
              <a:gd name="connsiteY28" fmla="*/ 2788762 h 2969978"/>
              <a:gd name="connsiteX29" fmla="*/ 7486022 w 11851944"/>
              <a:gd name="connsiteY29" fmla="*/ 2818908 h 2969978"/>
              <a:gd name="connsiteX30" fmla="*/ 7395587 w 11851944"/>
              <a:gd name="connsiteY30" fmla="*/ 2839004 h 2969978"/>
              <a:gd name="connsiteX31" fmla="*/ 7325248 w 11851944"/>
              <a:gd name="connsiteY31" fmla="*/ 2849053 h 2969978"/>
              <a:gd name="connsiteX32" fmla="*/ 6863024 w 11851944"/>
              <a:gd name="connsiteY32" fmla="*/ 2839004 h 2969978"/>
              <a:gd name="connsiteX33" fmla="*/ 6722347 w 11851944"/>
              <a:gd name="connsiteY33" fmla="*/ 2828956 h 2969978"/>
              <a:gd name="connsiteX34" fmla="*/ 4903596 w 11851944"/>
              <a:gd name="connsiteY34" fmla="*/ 2879198 h 2969978"/>
              <a:gd name="connsiteX35" fmla="*/ 4722725 w 11851944"/>
              <a:gd name="connsiteY35" fmla="*/ 2919391 h 2969978"/>
              <a:gd name="connsiteX36" fmla="*/ 4300695 w 11851944"/>
              <a:gd name="connsiteY36" fmla="*/ 2899294 h 2969978"/>
              <a:gd name="connsiteX37" fmla="*/ 4059534 w 11851944"/>
              <a:gd name="connsiteY37" fmla="*/ 2859101 h 2969978"/>
              <a:gd name="connsiteX38" fmla="*/ 3768132 w 11851944"/>
              <a:gd name="connsiteY38" fmla="*/ 2828956 h 2969978"/>
              <a:gd name="connsiteX39" fmla="*/ 3627455 w 11851944"/>
              <a:gd name="connsiteY39" fmla="*/ 2818908 h 2969978"/>
              <a:gd name="connsiteX40" fmla="*/ 3125037 w 11851944"/>
              <a:gd name="connsiteY40" fmla="*/ 2828956 h 2969978"/>
              <a:gd name="connsiteX41" fmla="*/ 3064747 w 11851944"/>
              <a:gd name="connsiteY41" fmla="*/ 2839004 h 2969978"/>
              <a:gd name="connsiteX42" fmla="*/ 2009670 w 11851944"/>
              <a:gd name="connsiteY42" fmla="*/ 2849053 h 2969978"/>
              <a:gd name="connsiteX43" fmla="*/ 1678075 w 11851944"/>
              <a:gd name="connsiteY43" fmla="*/ 2939488 h 2969978"/>
              <a:gd name="connsiteX44" fmla="*/ 1607736 w 11851944"/>
              <a:gd name="connsiteY44" fmla="*/ 2969633 h 2969978"/>
              <a:gd name="connsiteX45" fmla="*/ 1135464 w 11851944"/>
              <a:gd name="connsiteY45" fmla="*/ 2949536 h 2969978"/>
              <a:gd name="connsiteX46" fmla="*/ 944545 w 11851944"/>
              <a:gd name="connsiteY46" fmla="*/ 2919391 h 2969978"/>
              <a:gd name="connsiteX47" fmla="*/ 723481 w 11851944"/>
              <a:gd name="connsiteY47" fmla="*/ 2879198 h 2969978"/>
              <a:gd name="connsiteX48" fmla="*/ 643095 w 11851944"/>
              <a:gd name="connsiteY48" fmla="*/ 2869149 h 2969978"/>
              <a:gd name="connsiteX49" fmla="*/ 371789 w 11851944"/>
              <a:gd name="connsiteY49" fmla="*/ 2828956 h 2969978"/>
              <a:gd name="connsiteX50" fmla="*/ 0 w 11851944"/>
              <a:gd name="connsiteY50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8269793 w 11851944"/>
              <a:gd name="connsiteY25" fmla="*/ 2758617 h 2969978"/>
              <a:gd name="connsiteX26" fmla="*/ 7797521 w 11851944"/>
              <a:gd name="connsiteY26" fmla="*/ 2778714 h 2969978"/>
              <a:gd name="connsiteX27" fmla="*/ 7717134 w 11851944"/>
              <a:gd name="connsiteY27" fmla="*/ 2788762 h 2969978"/>
              <a:gd name="connsiteX28" fmla="*/ 7486022 w 11851944"/>
              <a:gd name="connsiteY28" fmla="*/ 2818908 h 2969978"/>
              <a:gd name="connsiteX29" fmla="*/ 7395587 w 11851944"/>
              <a:gd name="connsiteY29" fmla="*/ 2839004 h 2969978"/>
              <a:gd name="connsiteX30" fmla="*/ 7325248 w 11851944"/>
              <a:gd name="connsiteY30" fmla="*/ 2849053 h 2969978"/>
              <a:gd name="connsiteX31" fmla="*/ 6863024 w 11851944"/>
              <a:gd name="connsiteY31" fmla="*/ 2839004 h 2969978"/>
              <a:gd name="connsiteX32" fmla="*/ 6722347 w 11851944"/>
              <a:gd name="connsiteY32" fmla="*/ 2828956 h 2969978"/>
              <a:gd name="connsiteX33" fmla="*/ 4903596 w 11851944"/>
              <a:gd name="connsiteY33" fmla="*/ 2879198 h 2969978"/>
              <a:gd name="connsiteX34" fmla="*/ 4722725 w 11851944"/>
              <a:gd name="connsiteY34" fmla="*/ 2919391 h 2969978"/>
              <a:gd name="connsiteX35" fmla="*/ 4300695 w 11851944"/>
              <a:gd name="connsiteY35" fmla="*/ 2899294 h 2969978"/>
              <a:gd name="connsiteX36" fmla="*/ 4059534 w 11851944"/>
              <a:gd name="connsiteY36" fmla="*/ 2859101 h 2969978"/>
              <a:gd name="connsiteX37" fmla="*/ 3768132 w 11851944"/>
              <a:gd name="connsiteY37" fmla="*/ 2828956 h 2969978"/>
              <a:gd name="connsiteX38" fmla="*/ 3627455 w 11851944"/>
              <a:gd name="connsiteY38" fmla="*/ 2818908 h 2969978"/>
              <a:gd name="connsiteX39" fmla="*/ 3125037 w 11851944"/>
              <a:gd name="connsiteY39" fmla="*/ 2828956 h 2969978"/>
              <a:gd name="connsiteX40" fmla="*/ 3064747 w 11851944"/>
              <a:gd name="connsiteY40" fmla="*/ 2839004 h 2969978"/>
              <a:gd name="connsiteX41" fmla="*/ 2009670 w 11851944"/>
              <a:gd name="connsiteY41" fmla="*/ 2849053 h 2969978"/>
              <a:gd name="connsiteX42" fmla="*/ 1678075 w 11851944"/>
              <a:gd name="connsiteY42" fmla="*/ 2939488 h 2969978"/>
              <a:gd name="connsiteX43" fmla="*/ 1607736 w 11851944"/>
              <a:gd name="connsiteY43" fmla="*/ 2969633 h 2969978"/>
              <a:gd name="connsiteX44" fmla="*/ 1135464 w 11851944"/>
              <a:gd name="connsiteY44" fmla="*/ 2949536 h 2969978"/>
              <a:gd name="connsiteX45" fmla="*/ 944545 w 11851944"/>
              <a:gd name="connsiteY45" fmla="*/ 2919391 h 2969978"/>
              <a:gd name="connsiteX46" fmla="*/ 723481 w 11851944"/>
              <a:gd name="connsiteY46" fmla="*/ 2879198 h 2969978"/>
              <a:gd name="connsiteX47" fmla="*/ 643095 w 11851944"/>
              <a:gd name="connsiteY47" fmla="*/ 2869149 h 2969978"/>
              <a:gd name="connsiteX48" fmla="*/ 371789 w 11851944"/>
              <a:gd name="connsiteY48" fmla="*/ 2828956 h 2969978"/>
              <a:gd name="connsiteX49" fmla="*/ 0 w 11851944"/>
              <a:gd name="connsiteY49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7797521 w 11851944"/>
              <a:gd name="connsiteY25" fmla="*/ 2778714 h 2969978"/>
              <a:gd name="connsiteX26" fmla="*/ 7717134 w 11851944"/>
              <a:gd name="connsiteY26" fmla="*/ 2788762 h 2969978"/>
              <a:gd name="connsiteX27" fmla="*/ 7486022 w 11851944"/>
              <a:gd name="connsiteY27" fmla="*/ 2818908 h 2969978"/>
              <a:gd name="connsiteX28" fmla="*/ 7395587 w 11851944"/>
              <a:gd name="connsiteY28" fmla="*/ 2839004 h 2969978"/>
              <a:gd name="connsiteX29" fmla="*/ 7325248 w 11851944"/>
              <a:gd name="connsiteY29" fmla="*/ 2849053 h 2969978"/>
              <a:gd name="connsiteX30" fmla="*/ 6863024 w 11851944"/>
              <a:gd name="connsiteY30" fmla="*/ 2839004 h 2969978"/>
              <a:gd name="connsiteX31" fmla="*/ 6722347 w 11851944"/>
              <a:gd name="connsiteY31" fmla="*/ 2828956 h 2969978"/>
              <a:gd name="connsiteX32" fmla="*/ 4903596 w 11851944"/>
              <a:gd name="connsiteY32" fmla="*/ 2879198 h 2969978"/>
              <a:gd name="connsiteX33" fmla="*/ 4722725 w 11851944"/>
              <a:gd name="connsiteY33" fmla="*/ 2919391 h 2969978"/>
              <a:gd name="connsiteX34" fmla="*/ 4300695 w 11851944"/>
              <a:gd name="connsiteY34" fmla="*/ 2899294 h 2969978"/>
              <a:gd name="connsiteX35" fmla="*/ 4059534 w 11851944"/>
              <a:gd name="connsiteY35" fmla="*/ 2859101 h 2969978"/>
              <a:gd name="connsiteX36" fmla="*/ 3768132 w 11851944"/>
              <a:gd name="connsiteY36" fmla="*/ 2828956 h 2969978"/>
              <a:gd name="connsiteX37" fmla="*/ 3627455 w 11851944"/>
              <a:gd name="connsiteY37" fmla="*/ 2818908 h 2969978"/>
              <a:gd name="connsiteX38" fmla="*/ 3125037 w 11851944"/>
              <a:gd name="connsiteY38" fmla="*/ 2828956 h 2969978"/>
              <a:gd name="connsiteX39" fmla="*/ 3064747 w 11851944"/>
              <a:gd name="connsiteY39" fmla="*/ 2839004 h 2969978"/>
              <a:gd name="connsiteX40" fmla="*/ 2009670 w 11851944"/>
              <a:gd name="connsiteY40" fmla="*/ 2849053 h 2969978"/>
              <a:gd name="connsiteX41" fmla="*/ 1678075 w 11851944"/>
              <a:gd name="connsiteY41" fmla="*/ 2939488 h 2969978"/>
              <a:gd name="connsiteX42" fmla="*/ 1607736 w 11851944"/>
              <a:gd name="connsiteY42" fmla="*/ 2969633 h 2969978"/>
              <a:gd name="connsiteX43" fmla="*/ 1135464 w 11851944"/>
              <a:gd name="connsiteY43" fmla="*/ 2949536 h 2969978"/>
              <a:gd name="connsiteX44" fmla="*/ 944545 w 11851944"/>
              <a:gd name="connsiteY44" fmla="*/ 2919391 h 2969978"/>
              <a:gd name="connsiteX45" fmla="*/ 723481 w 11851944"/>
              <a:gd name="connsiteY45" fmla="*/ 2879198 h 2969978"/>
              <a:gd name="connsiteX46" fmla="*/ 643095 w 11851944"/>
              <a:gd name="connsiteY46" fmla="*/ 2869149 h 2969978"/>
              <a:gd name="connsiteX47" fmla="*/ 371789 w 11851944"/>
              <a:gd name="connsiteY47" fmla="*/ 2828956 h 2969978"/>
              <a:gd name="connsiteX48" fmla="*/ 0 w 11851944"/>
              <a:gd name="connsiteY48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7797521 w 11851944"/>
              <a:gd name="connsiteY25" fmla="*/ 2778714 h 2969978"/>
              <a:gd name="connsiteX26" fmla="*/ 7486022 w 11851944"/>
              <a:gd name="connsiteY26" fmla="*/ 2818908 h 2969978"/>
              <a:gd name="connsiteX27" fmla="*/ 7395587 w 11851944"/>
              <a:gd name="connsiteY27" fmla="*/ 2839004 h 2969978"/>
              <a:gd name="connsiteX28" fmla="*/ 7325248 w 11851944"/>
              <a:gd name="connsiteY28" fmla="*/ 2849053 h 2969978"/>
              <a:gd name="connsiteX29" fmla="*/ 6863024 w 11851944"/>
              <a:gd name="connsiteY29" fmla="*/ 2839004 h 2969978"/>
              <a:gd name="connsiteX30" fmla="*/ 6722347 w 11851944"/>
              <a:gd name="connsiteY30" fmla="*/ 2828956 h 2969978"/>
              <a:gd name="connsiteX31" fmla="*/ 4903596 w 11851944"/>
              <a:gd name="connsiteY31" fmla="*/ 2879198 h 2969978"/>
              <a:gd name="connsiteX32" fmla="*/ 4722725 w 11851944"/>
              <a:gd name="connsiteY32" fmla="*/ 2919391 h 2969978"/>
              <a:gd name="connsiteX33" fmla="*/ 4300695 w 11851944"/>
              <a:gd name="connsiteY33" fmla="*/ 2899294 h 2969978"/>
              <a:gd name="connsiteX34" fmla="*/ 4059534 w 11851944"/>
              <a:gd name="connsiteY34" fmla="*/ 2859101 h 2969978"/>
              <a:gd name="connsiteX35" fmla="*/ 3768132 w 11851944"/>
              <a:gd name="connsiteY35" fmla="*/ 2828956 h 2969978"/>
              <a:gd name="connsiteX36" fmla="*/ 3627455 w 11851944"/>
              <a:gd name="connsiteY36" fmla="*/ 2818908 h 2969978"/>
              <a:gd name="connsiteX37" fmla="*/ 3125037 w 11851944"/>
              <a:gd name="connsiteY37" fmla="*/ 2828956 h 2969978"/>
              <a:gd name="connsiteX38" fmla="*/ 3064747 w 11851944"/>
              <a:gd name="connsiteY38" fmla="*/ 2839004 h 2969978"/>
              <a:gd name="connsiteX39" fmla="*/ 2009670 w 11851944"/>
              <a:gd name="connsiteY39" fmla="*/ 2849053 h 2969978"/>
              <a:gd name="connsiteX40" fmla="*/ 1678075 w 11851944"/>
              <a:gd name="connsiteY40" fmla="*/ 2939488 h 2969978"/>
              <a:gd name="connsiteX41" fmla="*/ 1607736 w 11851944"/>
              <a:gd name="connsiteY41" fmla="*/ 2969633 h 2969978"/>
              <a:gd name="connsiteX42" fmla="*/ 1135464 w 11851944"/>
              <a:gd name="connsiteY42" fmla="*/ 2949536 h 2969978"/>
              <a:gd name="connsiteX43" fmla="*/ 944545 w 11851944"/>
              <a:gd name="connsiteY43" fmla="*/ 2919391 h 2969978"/>
              <a:gd name="connsiteX44" fmla="*/ 723481 w 11851944"/>
              <a:gd name="connsiteY44" fmla="*/ 2879198 h 2969978"/>
              <a:gd name="connsiteX45" fmla="*/ 643095 w 11851944"/>
              <a:gd name="connsiteY45" fmla="*/ 2869149 h 2969978"/>
              <a:gd name="connsiteX46" fmla="*/ 371789 w 11851944"/>
              <a:gd name="connsiteY46" fmla="*/ 2828956 h 2969978"/>
              <a:gd name="connsiteX47" fmla="*/ 0 w 11851944"/>
              <a:gd name="connsiteY47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7486022 w 11851944"/>
              <a:gd name="connsiteY25" fmla="*/ 2818908 h 2969978"/>
              <a:gd name="connsiteX26" fmla="*/ 7395587 w 11851944"/>
              <a:gd name="connsiteY26" fmla="*/ 2839004 h 2969978"/>
              <a:gd name="connsiteX27" fmla="*/ 7325248 w 11851944"/>
              <a:gd name="connsiteY27" fmla="*/ 2849053 h 2969978"/>
              <a:gd name="connsiteX28" fmla="*/ 6863024 w 11851944"/>
              <a:gd name="connsiteY28" fmla="*/ 2839004 h 2969978"/>
              <a:gd name="connsiteX29" fmla="*/ 6722347 w 11851944"/>
              <a:gd name="connsiteY29" fmla="*/ 2828956 h 2969978"/>
              <a:gd name="connsiteX30" fmla="*/ 4903596 w 11851944"/>
              <a:gd name="connsiteY30" fmla="*/ 2879198 h 2969978"/>
              <a:gd name="connsiteX31" fmla="*/ 4722725 w 11851944"/>
              <a:gd name="connsiteY31" fmla="*/ 2919391 h 2969978"/>
              <a:gd name="connsiteX32" fmla="*/ 4300695 w 11851944"/>
              <a:gd name="connsiteY32" fmla="*/ 2899294 h 2969978"/>
              <a:gd name="connsiteX33" fmla="*/ 4059534 w 11851944"/>
              <a:gd name="connsiteY33" fmla="*/ 2859101 h 2969978"/>
              <a:gd name="connsiteX34" fmla="*/ 3768132 w 11851944"/>
              <a:gd name="connsiteY34" fmla="*/ 2828956 h 2969978"/>
              <a:gd name="connsiteX35" fmla="*/ 3627455 w 11851944"/>
              <a:gd name="connsiteY35" fmla="*/ 2818908 h 2969978"/>
              <a:gd name="connsiteX36" fmla="*/ 3125037 w 11851944"/>
              <a:gd name="connsiteY36" fmla="*/ 2828956 h 2969978"/>
              <a:gd name="connsiteX37" fmla="*/ 3064747 w 11851944"/>
              <a:gd name="connsiteY37" fmla="*/ 2839004 h 2969978"/>
              <a:gd name="connsiteX38" fmla="*/ 2009670 w 11851944"/>
              <a:gd name="connsiteY38" fmla="*/ 2849053 h 2969978"/>
              <a:gd name="connsiteX39" fmla="*/ 1678075 w 11851944"/>
              <a:gd name="connsiteY39" fmla="*/ 2939488 h 2969978"/>
              <a:gd name="connsiteX40" fmla="*/ 1607736 w 11851944"/>
              <a:gd name="connsiteY40" fmla="*/ 2969633 h 2969978"/>
              <a:gd name="connsiteX41" fmla="*/ 1135464 w 11851944"/>
              <a:gd name="connsiteY41" fmla="*/ 2949536 h 2969978"/>
              <a:gd name="connsiteX42" fmla="*/ 944545 w 11851944"/>
              <a:gd name="connsiteY42" fmla="*/ 2919391 h 2969978"/>
              <a:gd name="connsiteX43" fmla="*/ 723481 w 11851944"/>
              <a:gd name="connsiteY43" fmla="*/ 2879198 h 2969978"/>
              <a:gd name="connsiteX44" fmla="*/ 643095 w 11851944"/>
              <a:gd name="connsiteY44" fmla="*/ 2869149 h 2969978"/>
              <a:gd name="connsiteX45" fmla="*/ 371789 w 11851944"/>
              <a:gd name="connsiteY45" fmla="*/ 2828956 h 2969978"/>
              <a:gd name="connsiteX46" fmla="*/ 0 w 11851944"/>
              <a:gd name="connsiteY46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7486022 w 11851944"/>
              <a:gd name="connsiteY24" fmla="*/ 2818908 h 2969978"/>
              <a:gd name="connsiteX25" fmla="*/ 7395587 w 11851944"/>
              <a:gd name="connsiteY25" fmla="*/ 2839004 h 2969978"/>
              <a:gd name="connsiteX26" fmla="*/ 7325248 w 11851944"/>
              <a:gd name="connsiteY26" fmla="*/ 2849053 h 2969978"/>
              <a:gd name="connsiteX27" fmla="*/ 6863024 w 11851944"/>
              <a:gd name="connsiteY27" fmla="*/ 2839004 h 2969978"/>
              <a:gd name="connsiteX28" fmla="*/ 6722347 w 11851944"/>
              <a:gd name="connsiteY28" fmla="*/ 2828956 h 2969978"/>
              <a:gd name="connsiteX29" fmla="*/ 4903596 w 11851944"/>
              <a:gd name="connsiteY29" fmla="*/ 2879198 h 2969978"/>
              <a:gd name="connsiteX30" fmla="*/ 4722725 w 11851944"/>
              <a:gd name="connsiteY30" fmla="*/ 2919391 h 2969978"/>
              <a:gd name="connsiteX31" fmla="*/ 4300695 w 11851944"/>
              <a:gd name="connsiteY31" fmla="*/ 2899294 h 2969978"/>
              <a:gd name="connsiteX32" fmla="*/ 4059534 w 11851944"/>
              <a:gd name="connsiteY32" fmla="*/ 2859101 h 2969978"/>
              <a:gd name="connsiteX33" fmla="*/ 3768132 w 11851944"/>
              <a:gd name="connsiteY33" fmla="*/ 2828956 h 2969978"/>
              <a:gd name="connsiteX34" fmla="*/ 3627455 w 11851944"/>
              <a:gd name="connsiteY34" fmla="*/ 2818908 h 2969978"/>
              <a:gd name="connsiteX35" fmla="*/ 3125037 w 11851944"/>
              <a:gd name="connsiteY35" fmla="*/ 2828956 h 2969978"/>
              <a:gd name="connsiteX36" fmla="*/ 3064747 w 11851944"/>
              <a:gd name="connsiteY36" fmla="*/ 2839004 h 2969978"/>
              <a:gd name="connsiteX37" fmla="*/ 2009670 w 11851944"/>
              <a:gd name="connsiteY37" fmla="*/ 2849053 h 2969978"/>
              <a:gd name="connsiteX38" fmla="*/ 1678075 w 11851944"/>
              <a:gd name="connsiteY38" fmla="*/ 2939488 h 2969978"/>
              <a:gd name="connsiteX39" fmla="*/ 1607736 w 11851944"/>
              <a:gd name="connsiteY39" fmla="*/ 2969633 h 2969978"/>
              <a:gd name="connsiteX40" fmla="*/ 1135464 w 11851944"/>
              <a:gd name="connsiteY40" fmla="*/ 2949536 h 2969978"/>
              <a:gd name="connsiteX41" fmla="*/ 944545 w 11851944"/>
              <a:gd name="connsiteY41" fmla="*/ 2919391 h 2969978"/>
              <a:gd name="connsiteX42" fmla="*/ 723481 w 11851944"/>
              <a:gd name="connsiteY42" fmla="*/ 2879198 h 2969978"/>
              <a:gd name="connsiteX43" fmla="*/ 643095 w 11851944"/>
              <a:gd name="connsiteY43" fmla="*/ 2869149 h 2969978"/>
              <a:gd name="connsiteX44" fmla="*/ 371789 w 11851944"/>
              <a:gd name="connsiteY44" fmla="*/ 2828956 h 2969978"/>
              <a:gd name="connsiteX45" fmla="*/ 0 w 11851944"/>
              <a:gd name="connsiteY45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7486022 w 11851944"/>
              <a:gd name="connsiteY24" fmla="*/ 2818908 h 2969978"/>
              <a:gd name="connsiteX25" fmla="*/ 7395587 w 11851944"/>
              <a:gd name="connsiteY25" fmla="*/ 2839004 h 2969978"/>
              <a:gd name="connsiteX26" fmla="*/ 6863024 w 11851944"/>
              <a:gd name="connsiteY26" fmla="*/ 2839004 h 2969978"/>
              <a:gd name="connsiteX27" fmla="*/ 6722347 w 11851944"/>
              <a:gd name="connsiteY27" fmla="*/ 2828956 h 2969978"/>
              <a:gd name="connsiteX28" fmla="*/ 4903596 w 11851944"/>
              <a:gd name="connsiteY28" fmla="*/ 2879198 h 2969978"/>
              <a:gd name="connsiteX29" fmla="*/ 4722725 w 11851944"/>
              <a:gd name="connsiteY29" fmla="*/ 2919391 h 2969978"/>
              <a:gd name="connsiteX30" fmla="*/ 4300695 w 11851944"/>
              <a:gd name="connsiteY30" fmla="*/ 2899294 h 2969978"/>
              <a:gd name="connsiteX31" fmla="*/ 4059534 w 11851944"/>
              <a:gd name="connsiteY31" fmla="*/ 2859101 h 2969978"/>
              <a:gd name="connsiteX32" fmla="*/ 3768132 w 11851944"/>
              <a:gd name="connsiteY32" fmla="*/ 2828956 h 2969978"/>
              <a:gd name="connsiteX33" fmla="*/ 3627455 w 11851944"/>
              <a:gd name="connsiteY33" fmla="*/ 2818908 h 2969978"/>
              <a:gd name="connsiteX34" fmla="*/ 3125037 w 11851944"/>
              <a:gd name="connsiteY34" fmla="*/ 2828956 h 2969978"/>
              <a:gd name="connsiteX35" fmla="*/ 3064747 w 11851944"/>
              <a:gd name="connsiteY35" fmla="*/ 2839004 h 2969978"/>
              <a:gd name="connsiteX36" fmla="*/ 2009670 w 11851944"/>
              <a:gd name="connsiteY36" fmla="*/ 2849053 h 2969978"/>
              <a:gd name="connsiteX37" fmla="*/ 1678075 w 11851944"/>
              <a:gd name="connsiteY37" fmla="*/ 2939488 h 2969978"/>
              <a:gd name="connsiteX38" fmla="*/ 1607736 w 11851944"/>
              <a:gd name="connsiteY38" fmla="*/ 2969633 h 2969978"/>
              <a:gd name="connsiteX39" fmla="*/ 1135464 w 11851944"/>
              <a:gd name="connsiteY39" fmla="*/ 2949536 h 2969978"/>
              <a:gd name="connsiteX40" fmla="*/ 944545 w 11851944"/>
              <a:gd name="connsiteY40" fmla="*/ 2919391 h 2969978"/>
              <a:gd name="connsiteX41" fmla="*/ 723481 w 11851944"/>
              <a:gd name="connsiteY41" fmla="*/ 2879198 h 2969978"/>
              <a:gd name="connsiteX42" fmla="*/ 643095 w 11851944"/>
              <a:gd name="connsiteY42" fmla="*/ 2869149 h 2969978"/>
              <a:gd name="connsiteX43" fmla="*/ 371789 w 11851944"/>
              <a:gd name="connsiteY43" fmla="*/ 2828956 h 2969978"/>
              <a:gd name="connsiteX44" fmla="*/ 0 w 11851944"/>
              <a:gd name="connsiteY44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7486022 w 11851944"/>
              <a:gd name="connsiteY24" fmla="*/ 2818908 h 2969978"/>
              <a:gd name="connsiteX25" fmla="*/ 6863024 w 11851944"/>
              <a:gd name="connsiteY25" fmla="*/ 2839004 h 2969978"/>
              <a:gd name="connsiteX26" fmla="*/ 6722347 w 11851944"/>
              <a:gd name="connsiteY26" fmla="*/ 2828956 h 2969978"/>
              <a:gd name="connsiteX27" fmla="*/ 4903596 w 11851944"/>
              <a:gd name="connsiteY27" fmla="*/ 2879198 h 2969978"/>
              <a:gd name="connsiteX28" fmla="*/ 4722725 w 11851944"/>
              <a:gd name="connsiteY28" fmla="*/ 2919391 h 2969978"/>
              <a:gd name="connsiteX29" fmla="*/ 4300695 w 11851944"/>
              <a:gd name="connsiteY29" fmla="*/ 2899294 h 2969978"/>
              <a:gd name="connsiteX30" fmla="*/ 4059534 w 11851944"/>
              <a:gd name="connsiteY30" fmla="*/ 2859101 h 2969978"/>
              <a:gd name="connsiteX31" fmla="*/ 3768132 w 11851944"/>
              <a:gd name="connsiteY31" fmla="*/ 2828956 h 2969978"/>
              <a:gd name="connsiteX32" fmla="*/ 3627455 w 11851944"/>
              <a:gd name="connsiteY32" fmla="*/ 2818908 h 2969978"/>
              <a:gd name="connsiteX33" fmla="*/ 3125037 w 11851944"/>
              <a:gd name="connsiteY33" fmla="*/ 2828956 h 2969978"/>
              <a:gd name="connsiteX34" fmla="*/ 3064747 w 11851944"/>
              <a:gd name="connsiteY34" fmla="*/ 2839004 h 2969978"/>
              <a:gd name="connsiteX35" fmla="*/ 2009670 w 11851944"/>
              <a:gd name="connsiteY35" fmla="*/ 2849053 h 2969978"/>
              <a:gd name="connsiteX36" fmla="*/ 1678075 w 11851944"/>
              <a:gd name="connsiteY36" fmla="*/ 2939488 h 2969978"/>
              <a:gd name="connsiteX37" fmla="*/ 1607736 w 11851944"/>
              <a:gd name="connsiteY37" fmla="*/ 2969633 h 2969978"/>
              <a:gd name="connsiteX38" fmla="*/ 1135464 w 11851944"/>
              <a:gd name="connsiteY38" fmla="*/ 2949536 h 2969978"/>
              <a:gd name="connsiteX39" fmla="*/ 944545 w 11851944"/>
              <a:gd name="connsiteY39" fmla="*/ 2919391 h 2969978"/>
              <a:gd name="connsiteX40" fmla="*/ 723481 w 11851944"/>
              <a:gd name="connsiteY40" fmla="*/ 2879198 h 2969978"/>
              <a:gd name="connsiteX41" fmla="*/ 643095 w 11851944"/>
              <a:gd name="connsiteY41" fmla="*/ 2869149 h 2969978"/>
              <a:gd name="connsiteX42" fmla="*/ 371789 w 11851944"/>
              <a:gd name="connsiteY42" fmla="*/ 2828956 h 2969978"/>
              <a:gd name="connsiteX43" fmla="*/ 0 w 11851944"/>
              <a:gd name="connsiteY43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722725 w 11851944"/>
              <a:gd name="connsiteY27" fmla="*/ 2919391 h 2969978"/>
              <a:gd name="connsiteX28" fmla="*/ 4300695 w 11851944"/>
              <a:gd name="connsiteY28" fmla="*/ 2899294 h 2969978"/>
              <a:gd name="connsiteX29" fmla="*/ 4059534 w 11851944"/>
              <a:gd name="connsiteY29" fmla="*/ 2859101 h 2969978"/>
              <a:gd name="connsiteX30" fmla="*/ 3768132 w 11851944"/>
              <a:gd name="connsiteY30" fmla="*/ 2828956 h 2969978"/>
              <a:gd name="connsiteX31" fmla="*/ 3627455 w 11851944"/>
              <a:gd name="connsiteY31" fmla="*/ 2818908 h 2969978"/>
              <a:gd name="connsiteX32" fmla="*/ 3125037 w 11851944"/>
              <a:gd name="connsiteY32" fmla="*/ 2828956 h 2969978"/>
              <a:gd name="connsiteX33" fmla="*/ 3064747 w 11851944"/>
              <a:gd name="connsiteY33" fmla="*/ 2839004 h 2969978"/>
              <a:gd name="connsiteX34" fmla="*/ 2009670 w 11851944"/>
              <a:gd name="connsiteY34" fmla="*/ 2849053 h 2969978"/>
              <a:gd name="connsiteX35" fmla="*/ 1678075 w 11851944"/>
              <a:gd name="connsiteY35" fmla="*/ 2939488 h 2969978"/>
              <a:gd name="connsiteX36" fmla="*/ 1607736 w 11851944"/>
              <a:gd name="connsiteY36" fmla="*/ 2969633 h 2969978"/>
              <a:gd name="connsiteX37" fmla="*/ 1135464 w 11851944"/>
              <a:gd name="connsiteY37" fmla="*/ 2949536 h 2969978"/>
              <a:gd name="connsiteX38" fmla="*/ 944545 w 11851944"/>
              <a:gd name="connsiteY38" fmla="*/ 2919391 h 2969978"/>
              <a:gd name="connsiteX39" fmla="*/ 723481 w 11851944"/>
              <a:gd name="connsiteY39" fmla="*/ 2879198 h 2969978"/>
              <a:gd name="connsiteX40" fmla="*/ 643095 w 11851944"/>
              <a:gd name="connsiteY40" fmla="*/ 2869149 h 2969978"/>
              <a:gd name="connsiteX41" fmla="*/ 371789 w 11851944"/>
              <a:gd name="connsiteY41" fmla="*/ 2828956 h 2969978"/>
              <a:gd name="connsiteX42" fmla="*/ 0 w 11851944"/>
              <a:gd name="connsiteY42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300695 w 11851944"/>
              <a:gd name="connsiteY27" fmla="*/ 2899294 h 2969978"/>
              <a:gd name="connsiteX28" fmla="*/ 4059534 w 11851944"/>
              <a:gd name="connsiteY28" fmla="*/ 2859101 h 2969978"/>
              <a:gd name="connsiteX29" fmla="*/ 3768132 w 11851944"/>
              <a:gd name="connsiteY29" fmla="*/ 2828956 h 2969978"/>
              <a:gd name="connsiteX30" fmla="*/ 3627455 w 11851944"/>
              <a:gd name="connsiteY30" fmla="*/ 2818908 h 2969978"/>
              <a:gd name="connsiteX31" fmla="*/ 3125037 w 11851944"/>
              <a:gd name="connsiteY31" fmla="*/ 2828956 h 2969978"/>
              <a:gd name="connsiteX32" fmla="*/ 3064747 w 11851944"/>
              <a:gd name="connsiteY32" fmla="*/ 2839004 h 2969978"/>
              <a:gd name="connsiteX33" fmla="*/ 2009670 w 11851944"/>
              <a:gd name="connsiteY33" fmla="*/ 2849053 h 2969978"/>
              <a:gd name="connsiteX34" fmla="*/ 1678075 w 11851944"/>
              <a:gd name="connsiteY34" fmla="*/ 2939488 h 2969978"/>
              <a:gd name="connsiteX35" fmla="*/ 1607736 w 11851944"/>
              <a:gd name="connsiteY35" fmla="*/ 2969633 h 2969978"/>
              <a:gd name="connsiteX36" fmla="*/ 1135464 w 11851944"/>
              <a:gd name="connsiteY36" fmla="*/ 2949536 h 2969978"/>
              <a:gd name="connsiteX37" fmla="*/ 944545 w 11851944"/>
              <a:gd name="connsiteY37" fmla="*/ 2919391 h 2969978"/>
              <a:gd name="connsiteX38" fmla="*/ 723481 w 11851944"/>
              <a:gd name="connsiteY38" fmla="*/ 2879198 h 2969978"/>
              <a:gd name="connsiteX39" fmla="*/ 643095 w 11851944"/>
              <a:gd name="connsiteY39" fmla="*/ 2869149 h 2969978"/>
              <a:gd name="connsiteX40" fmla="*/ 371789 w 11851944"/>
              <a:gd name="connsiteY40" fmla="*/ 2828956 h 2969978"/>
              <a:gd name="connsiteX41" fmla="*/ 0 w 11851944"/>
              <a:gd name="connsiteY41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059534 w 11851944"/>
              <a:gd name="connsiteY27" fmla="*/ 2859101 h 2969978"/>
              <a:gd name="connsiteX28" fmla="*/ 3768132 w 11851944"/>
              <a:gd name="connsiteY28" fmla="*/ 2828956 h 2969978"/>
              <a:gd name="connsiteX29" fmla="*/ 3627455 w 11851944"/>
              <a:gd name="connsiteY29" fmla="*/ 2818908 h 2969978"/>
              <a:gd name="connsiteX30" fmla="*/ 3125037 w 11851944"/>
              <a:gd name="connsiteY30" fmla="*/ 2828956 h 2969978"/>
              <a:gd name="connsiteX31" fmla="*/ 3064747 w 11851944"/>
              <a:gd name="connsiteY31" fmla="*/ 2839004 h 2969978"/>
              <a:gd name="connsiteX32" fmla="*/ 2009670 w 11851944"/>
              <a:gd name="connsiteY32" fmla="*/ 2849053 h 2969978"/>
              <a:gd name="connsiteX33" fmla="*/ 1678075 w 11851944"/>
              <a:gd name="connsiteY33" fmla="*/ 2939488 h 2969978"/>
              <a:gd name="connsiteX34" fmla="*/ 1607736 w 11851944"/>
              <a:gd name="connsiteY34" fmla="*/ 2969633 h 2969978"/>
              <a:gd name="connsiteX35" fmla="*/ 1135464 w 11851944"/>
              <a:gd name="connsiteY35" fmla="*/ 2949536 h 2969978"/>
              <a:gd name="connsiteX36" fmla="*/ 944545 w 11851944"/>
              <a:gd name="connsiteY36" fmla="*/ 2919391 h 2969978"/>
              <a:gd name="connsiteX37" fmla="*/ 723481 w 11851944"/>
              <a:gd name="connsiteY37" fmla="*/ 2879198 h 2969978"/>
              <a:gd name="connsiteX38" fmla="*/ 643095 w 11851944"/>
              <a:gd name="connsiteY38" fmla="*/ 2869149 h 2969978"/>
              <a:gd name="connsiteX39" fmla="*/ 371789 w 11851944"/>
              <a:gd name="connsiteY39" fmla="*/ 2828956 h 2969978"/>
              <a:gd name="connsiteX40" fmla="*/ 0 w 11851944"/>
              <a:gd name="connsiteY40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059534 w 11851944"/>
              <a:gd name="connsiteY27" fmla="*/ 2859101 h 2969978"/>
              <a:gd name="connsiteX28" fmla="*/ 3627455 w 11851944"/>
              <a:gd name="connsiteY28" fmla="*/ 2818908 h 2969978"/>
              <a:gd name="connsiteX29" fmla="*/ 3125037 w 11851944"/>
              <a:gd name="connsiteY29" fmla="*/ 2828956 h 2969978"/>
              <a:gd name="connsiteX30" fmla="*/ 3064747 w 11851944"/>
              <a:gd name="connsiteY30" fmla="*/ 2839004 h 2969978"/>
              <a:gd name="connsiteX31" fmla="*/ 2009670 w 11851944"/>
              <a:gd name="connsiteY31" fmla="*/ 2849053 h 2969978"/>
              <a:gd name="connsiteX32" fmla="*/ 1678075 w 11851944"/>
              <a:gd name="connsiteY32" fmla="*/ 2939488 h 2969978"/>
              <a:gd name="connsiteX33" fmla="*/ 1607736 w 11851944"/>
              <a:gd name="connsiteY33" fmla="*/ 2969633 h 2969978"/>
              <a:gd name="connsiteX34" fmla="*/ 1135464 w 11851944"/>
              <a:gd name="connsiteY34" fmla="*/ 2949536 h 2969978"/>
              <a:gd name="connsiteX35" fmla="*/ 944545 w 11851944"/>
              <a:gd name="connsiteY35" fmla="*/ 2919391 h 2969978"/>
              <a:gd name="connsiteX36" fmla="*/ 723481 w 11851944"/>
              <a:gd name="connsiteY36" fmla="*/ 2879198 h 2969978"/>
              <a:gd name="connsiteX37" fmla="*/ 643095 w 11851944"/>
              <a:gd name="connsiteY37" fmla="*/ 2869149 h 2969978"/>
              <a:gd name="connsiteX38" fmla="*/ 371789 w 11851944"/>
              <a:gd name="connsiteY38" fmla="*/ 2828956 h 2969978"/>
              <a:gd name="connsiteX39" fmla="*/ 0 w 11851944"/>
              <a:gd name="connsiteY39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059534 w 11851944"/>
              <a:gd name="connsiteY27" fmla="*/ 2859101 h 2969978"/>
              <a:gd name="connsiteX28" fmla="*/ 3125037 w 11851944"/>
              <a:gd name="connsiteY28" fmla="*/ 2828956 h 2969978"/>
              <a:gd name="connsiteX29" fmla="*/ 3064747 w 11851944"/>
              <a:gd name="connsiteY29" fmla="*/ 2839004 h 2969978"/>
              <a:gd name="connsiteX30" fmla="*/ 2009670 w 11851944"/>
              <a:gd name="connsiteY30" fmla="*/ 2849053 h 2969978"/>
              <a:gd name="connsiteX31" fmla="*/ 1678075 w 11851944"/>
              <a:gd name="connsiteY31" fmla="*/ 2939488 h 2969978"/>
              <a:gd name="connsiteX32" fmla="*/ 1607736 w 11851944"/>
              <a:gd name="connsiteY32" fmla="*/ 2969633 h 2969978"/>
              <a:gd name="connsiteX33" fmla="*/ 1135464 w 11851944"/>
              <a:gd name="connsiteY33" fmla="*/ 2949536 h 2969978"/>
              <a:gd name="connsiteX34" fmla="*/ 944545 w 11851944"/>
              <a:gd name="connsiteY34" fmla="*/ 2919391 h 2969978"/>
              <a:gd name="connsiteX35" fmla="*/ 723481 w 11851944"/>
              <a:gd name="connsiteY35" fmla="*/ 2879198 h 2969978"/>
              <a:gd name="connsiteX36" fmla="*/ 643095 w 11851944"/>
              <a:gd name="connsiteY36" fmla="*/ 2869149 h 2969978"/>
              <a:gd name="connsiteX37" fmla="*/ 371789 w 11851944"/>
              <a:gd name="connsiteY37" fmla="*/ 2828956 h 2969978"/>
              <a:gd name="connsiteX38" fmla="*/ 0 w 11851944"/>
              <a:gd name="connsiteY38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059534 w 11851944"/>
              <a:gd name="connsiteY27" fmla="*/ 2859101 h 2969978"/>
              <a:gd name="connsiteX28" fmla="*/ 3064747 w 11851944"/>
              <a:gd name="connsiteY28" fmla="*/ 2839004 h 2969978"/>
              <a:gd name="connsiteX29" fmla="*/ 2009670 w 11851944"/>
              <a:gd name="connsiteY29" fmla="*/ 2849053 h 2969978"/>
              <a:gd name="connsiteX30" fmla="*/ 1678075 w 11851944"/>
              <a:gd name="connsiteY30" fmla="*/ 2939488 h 2969978"/>
              <a:gd name="connsiteX31" fmla="*/ 1607736 w 11851944"/>
              <a:gd name="connsiteY31" fmla="*/ 2969633 h 2969978"/>
              <a:gd name="connsiteX32" fmla="*/ 1135464 w 11851944"/>
              <a:gd name="connsiteY32" fmla="*/ 2949536 h 2969978"/>
              <a:gd name="connsiteX33" fmla="*/ 944545 w 11851944"/>
              <a:gd name="connsiteY33" fmla="*/ 2919391 h 2969978"/>
              <a:gd name="connsiteX34" fmla="*/ 723481 w 11851944"/>
              <a:gd name="connsiteY34" fmla="*/ 2879198 h 2969978"/>
              <a:gd name="connsiteX35" fmla="*/ 643095 w 11851944"/>
              <a:gd name="connsiteY35" fmla="*/ 2869149 h 2969978"/>
              <a:gd name="connsiteX36" fmla="*/ 371789 w 11851944"/>
              <a:gd name="connsiteY36" fmla="*/ 2828956 h 2969978"/>
              <a:gd name="connsiteX37" fmla="*/ 0 w 11851944"/>
              <a:gd name="connsiteY37" fmla="*/ 2818908 h 2969978"/>
              <a:gd name="connsiteX0" fmla="*/ 120580 w 11851944"/>
              <a:gd name="connsiteY0" fmla="*/ 55611 h 2974631"/>
              <a:gd name="connsiteX1" fmla="*/ 281354 w 11851944"/>
              <a:gd name="connsiteY1" fmla="*/ 45562 h 2974631"/>
              <a:gd name="connsiteX2" fmla="*/ 673240 w 11851944"/>
              <a:gd name="connsiteY2" fmla="*/ 35514 h 2974631"/>
              <a:gd name="connsiteX3" fmla="*/ 1356528 w 11851944"/>
              <a:gd name="connsiteY3" fmla="*/ 85756 h 2974631"/>
              <a:gd name="connsiteX4" fmla="*/ 1758462 w 11851944"/>
              <a:gd name="connsiteY4" fmla="*/ 45562 h 2974631"/>
              <a:gd name="connsiteX5" fmla="*/ 2140299 w 11851944"/>
              <a:gd name="connsiteY5" fmla="*/ 45562 h 2974631"/>
              <a:gd name="connsiteX6" fmla="*/ 4652387 w 11851944"/>
              <a:gd name="connsiteY6" fmla="*/ 65659 h 2974631"/>
              <a:gd name="connsiteX7" fmla="*/ 4692580 w 11851944"/>
              <a:gd name="connsiteY7" fmla="*/ 75708 h 2974631"/>
              <a:gd name="connsiteX8" fmla="*/ 6420897 w 11851944"/>
              <a:gd name="connsiteY8" fmla="*/ 95804 h 2974631"/>
              <a:gd name="connsiteX9" fmla="*/ 7184571 w 11851944"/>
              <a:gd name="connsiteY9" fmla="*/ 65659 h 2974631"/>
              <a:gd name="connsiteX10" fmla="*/ 7928150 w 11851944"/>
              <a:gd name="connsiteY10" fmla="*/ 65659 h 2974631"/>
              <a:gd name="connsiteX11" fmla="*/ 8219552 w 11851944"/>
              <a:gd name="connsiteY11" fmla="*/ 95804 h 2974631"/>
              <a:gd name="connsiteX12" fmla="*/ 9606224 w 11851944"/>
              <a:gd name="connsiteY12" fmla="*/ 95804 h 2974631"/>
              <a:gd name="connsiteX13" fmla="*/ 9947868 w 11851944"/>
              <a:gd name="connsiteY13" fmla="*/ 65659 h 2974631"/>
              <a:gd name="connsiteX14" fmla="*/ 10791930 w 11851944"/>
              <a:gd name="connsiteY14" fmla="*/ 35514 h 2974631"/>
              <a:gd name="connsiteX15" fmla="*/ 11736475 w 11851944"/>
              <a:gd name="connsiteY15" fmla="*/ 55611 h 2974631"/>
              <a:gd name="connsiteX16" fmla="*/ 11806813 w 11851944"/>
              <a:gd name="connsiteY16" fmla="*/ 769044 h 2974631"/>
              <a:gd name="connsiteX17" fmla="*/ 11816862 w 11851944"/>
              <a:gd name="connsiteY17" fmla="*/ 2336587 h 2974631"/>
              <a:gd name="connsiteX18" fmla="*/ 11806813 w 11851944"/>
              <a:gd name="connsiteY18" fmla="*/ 2828956 h 2974631"/>
              <a:gd name="connsiteX19" fmla="*/ 11033090 w 11851944"/>
              <a:gd name="connsiteY19" fmla="*/ 2859101 h 2974631"/>
              <a:gd name="connsiteX20" fmla="*/ 10128739 w 11851944"/>
              <a:gd name="connsiteY20" fmla="*/ 2859101 h 2974631"/>
              <a:gd name="connsiteX21" fmla="*/ 9555982 w 11851944"/>
              <a:gd name="connsiteY21" fmla="*/ 2859101 h 2974631"/>
              <a:gd name="connsiteX22" fmla="*/ 9204290 w 11851944"/>
              <a:gd name="connsiteY22" fmla="*/ 2808859 h 2974631"/>
              <a:gd name="connsiteX23" fmla="*/ 7486022 w 11851944"/>
              <a:gd name="connsiteY23" fmla="*/ 2818908 h 2974631"/>
              <a:gd name="connsiteX24" fmla="*/ 6863024 w 11851944"/>
              <a:gd name="connsiteY24" fmla="*/ 2839004 h 2974631"/>
              <a:gd name="connsiteX25" fmla="*/ 6722347 w 11851944"/>
              <a:gd name="connsiteY25" fmla="*/ 2828956 h 2974631"/>
              <a:gd name="connsiteX26" fmla="*/ 4903596 w 11851944"/>
              <a:gd name="connsiteY26" fmla="*/ 2879198 h 2974631"/>
              <a:gd name="connsiteX27" fmla="*/ 4059534 w 11851944"/>
              <a:gd name="connsiteY27" fmla="*/ 2859101 h 2974631"/>
              <a:gd name="connsiteX28" fmla="*/ 3064747 w 11851944"/>
              <a:gd name="connsiteY28" fmla="*/ 2839004 h 2974631"/>
              <a:gd name="connsiteX29" fmla="*/ 2009670 w 11851944"/>
              <a:gd name="connsiteY29" fmla="*/ 2849053 h 2974631"/>
              <a:gd name="connsiteX30" fmla="*/ 1607736 w 11851944"/>
              <a:gd name="connsiteY30" fmla="*/ 2969633 h 2974631"/>
              <a:gd name="connsiteX31" fmla="*/ 1135464 w 11851944"/>
              <a:gd name="connsiteY31" fmla="*/ 2949536 h 2974631"/>
              <a:gd name="connsiteX32" fmla="*/ 944545 w 11851944"/>
              <a:gd name="connsiteY32" fmla="*/ 2919391 h 2974631"/>
              <a:gd name="connsiteX33" fmla="*/ 723481 w 11851944"/>
              <a:gd name="connsiteY33" fmla="*/ 2879198 h 2974631"/>
              <a:gd name="connsiteX34" fmla="*/ 643095 w 11851944"/>
              <a:gd name="connsiteY34" fmla="*/ 2869149 h 2974631"/>
              <a:gd name="connsiteX35" fmla="*/ 371789 w 11851944"/>
              <a:gd name="connsiteY35" fmla="*/ 2828956 h 2974631"/>
              <a:gd name="connsiteX36" fmla="*/ 0 w 11851944"/>
              <a:gd name="connsiteY36" fmla="*/ 2818908 h 2974631"/>
              <a:gd name="connsiteX0" fmla="*/ 120580 w 11851944"/>
              <a:gd name="connsiteY0" fmla="*/ 55611 h 2949536"/>
              <a:gd name="connsiteX1" fmla="*/ 281354 w 11851944"/>
              <a:gd name="connsiteY1" fmla="*/ 45562 h 2949536"/>
              <a:gd name="connsiteX2" fmla="*/ 673240 w 11851944"/>
              <a:gd name="connsiteY2" fmla="*/ 35514 h 2949536"/>
              <a:gd name="connsiteX3" fmla="*/ 1356528 w 11851944"/>
              <a:gd name="connsiteY3" fmla="*/ 85756 h 2949536"/>
              <a:gd name="connsiteX4" fmla="*/ 1758462 w 11851944"/>
              <a:gd name="connsiteY4" fmla="*/ 45562 h 2949536"/>
              <a:gd name="connsiteX5" fmla="*/ 2140299 w 11851944"/>
              <a:gd name="connsiteY5" fmla="*/ 45562 h 2949536"/>
              <a:gd name="connsiteX6" fmla="*/ 4652387 w 11851944"/>
              <a:gd name="connsiteY6" fmla="*/ 65659 h 2949536"/>
              <a:gd name="connsiteX7" fmla="*/ 4692580 w 11851944"/>
              <a:gd name="connsiteY7" fmla="*/ 75708 h 2949536"/>
              <a:gd name="connsiteX8" fmla="*/ 6420897 w 11851944"/>
              <a:gd name="connsiteY8" fmla="*/ 95804 h 2949536"/>
              <a:gd name="connsiteX9" fmla="*/ 7184571 w 11851944"/>
              <a:gd name="connsiteY9" fmla="*/ 65659 h 2949536"/>
              <a:gd name="connsiteX10" fmla="*/ 7928150 w 11851944"/>
              <a:gd name="connsiteY10" fmla="*/ 65659 h 2949536"/>
              <a:gd name="connsiteX11" fmla="*/ 8219552 w 11851944"/>
              <a:gd name="connsiteY11" fmla="*/ 95804 h 2949536"/>
              <a:gd name="connsiteX12" fmla="*/ 9606224 w 11851944"/>
              <a:gd name="connsiteY12" fmla="*/ 95804 h 2949536"/>
              <a:gd name="connsiteX13" fmla="*/ 9947868 w 11851944"/>
              <a:gd name="connsiteY13" fmla="*/ 65659 h 2949536"/>
              <a:gd name="connsiteX14" fmla="*/ 10791930 w 11851944"/>
              <a:gd name="connsiteY14" fmla="*/ 35514 h 2949536"/>
              <a:gd name="connsiteX15" fmla="*/ 11736475 w 11851944"/>
              <a:gd name="connsiteY15" fmla="*/ 55611 h 2949536"/>
              <a:gd name="connsiteX16" fmla="*/ 11806813 w 11851944"/>
              <a:gd name="connsiteY16" fmla="*/ 769044 h 2949536"/>
              <a:gd name="connsiteX17" fmla="*/ 11816862 w 11851944"/>
              <a:gd name="connsiteY17" fmla="*/ 2336587 h 2949536"/>
              <a:gd name="connsiteX18" fmla="*/ 11806813 w 11851944"/>
              <a:gd name="connsiteY18" fmla="*/ 2828956 h 2949536"/>
              <a:gd name="connsiteX19" fmla="*/ 11033090 w 11851944"/>
              <a:gd name="connsiteY19" fmla="*/ 2859101 h 2949536"/>
              <a:gd name="connsiteX20" fmla="*/ 10128739 w 11851944"/>
              <a:gd name="connsiteY20" fmla="*/ 2859101 h 2949536"/>
              <a:gd name="connsiteX21" fmla="*/ 9555982 w 11851944"/>
              <a:gd name="connsiteY21" fmla="*/ 2859101 h 2949536"/>
              <a:gd name="connsiteX22" fmla="*/ 9204290 w 11851944"/>
              <a:gd name="connsiteY22" fmla="*/ 2808859 h 2949536"/>
              <a:gd name="connsiteX23" fmla="*/ 7486022 w 11851944"/>
              <a:gd name="connsiteY23" fmla="*/ 2818908 h 2949536"/>
              <a:gd name="connsiteX24" fmla="*/ 6863024 w 11851944"/>
              <a:gd name="connsiteY24" fmla="*/ 2839004 h 2949536"/>
              <a:gd name="connsiteX25" fmla="*/ 6722347 w 11851944"/>
              <a:gd name="connsiteY25" fmla="*/ 2828956 h 2949536"/>
              <a:gd name="connsiteX26" fmla="*/ 4903596 w 11851944"/>
              <a:gd name="connsiteY26" fmla="*/ 2879198 h 2949536"/>
              <a:gd name="connsiteX27" fmla="*/ 4059534 w 11851944"/>
              <a:gd name="connsiteY27" fmla="*/ 2859101 h 2949536"/>
              <a:gd name="connsiteX28" fmla="*/ 3064747 w 11851944"/>
              <a:gd name="connsiteY28" fmla="*/ 2839004 h 2949536"/>
              <a:gd name="connsiteX29" fmla="*/ 2009670 w 11851944"/>
              <a:gd name="connsiteY29" fmla="*/ 2849053 h 2949536"/>
              <a:gd name="connsiteX30" fmla="*/ 1135464 w 11851944"/>
              <a:gd name="connsiteY30" fmla="*/ 2949536 h 2949536"/>
              <a:gd name="connsiteX31" fmla="*/ 944545 w 11851944"/>
              <a:gd name="connsiteY31" fmla="*/ 2919391 h 2949536"/>
              <a:gd name="connsiteX32" fmla="*/ 723481 w 11851944"/>
              <a:gd name="connsiteY32" fmla="*/ 2879198 h 2949536"/>
              <a:gd name="connsiteX33" fmla="*/ 643095 w 11851944"/>
              <a:gd name="connsiteY33" fmla="*/ 2869149 h 2949536"/>
              <a:gd name="connsiteX34" fmla="*/ 371789 w 11851944"/>
              <a:gd name="connsiteY34" fmla="*/ 2828956 h 2949536"/>
              <a:gd name="connsiteX35" fmla="*/ 0 w 11851944"/>
              <a:gd name="connsiteY35" fmla="*/ 2818908 h 2949536"/>
              <a:gd name="connsiteX0" fmla="*/ 120580 w 11851944"/>
              <a:gd name="connsiteY0" fmla="*/ 55611 h 2949840"/>
              <a:gd name="connsiteX1" fmla="*/ 281354 w 11851944"/>
              <a:gd name="connsiteY1" fmla="*/ 45562 h 2949840"/>
              <a:gd name="connsiteX2" fmla="*/ 673240 w 11851944"/>
              <a:gd name="connsiteY2" fmla="*/ 35514 h 2949840"/>
              <a:gd name="connsiteX3" fmla="*/ 1356528 w 11851944"/>
              <a:gd name="connsiteY3" fmla="*/ 85756 h 2949840"/>
              <a:gd name="connsiteX4" fmla="*/ 1758462 w 11851944"/>
              <a:gd name="connsiteY4" fmla="*/ 45562 h 2949840"/>
              <a:gd name="connsiteX5" fmla="*/ 2140299 w 11851944"/>
              <a:gd name="connsiteY5" fmla="*/ 45562 h 2949840"/>
              <a:gd name="connsiteX6" fmla="*/ 4652387 w 11851944"/>
              <a:gd name="connsiteY6" fmla="*/ 65659 h 2949840"/>
              <a:gd name="connsiteX7" fmla="*/ 4692580 w 11851944"/>
              <a:gd name="connsiteY7" fmla="*/ 75708 h 2949840"/>
              <a:gd name="connsiteX8" fmla="*/ 6420897 w 11851944"/>
              <a:gd name="connsiteY8" fmla="*/ 95804 h 2949840"/>
              <a:gd name="connsiteX9" fmla="*/ 7184571 w 11851944"/>
              <a:gd name="connsiteY9" fmla="*/ 65659 h 2949840"/>
              <a:gd name="connsiteX10" fmla="*/ 7928150 w 11851944"/>
              <a:gd name="connsiteY10" fmla="*/ 65659 h 2949840"/>
              <a:gd name="connsiteX11" fmla="*/ 8219552 w 11851944"/>
              <a:gd name="connsiteY11" fmla="*/ 95804 h 2949840"/>
              <a:gd name="connsiteX12" fmla="*/ 9606224 w 11851944"/>
              <a:gd name="connsiteY12" fmla="*/ 95804 h 2949840"/>
              <a:gd name="connsiteX13" fmla="*/ 9947868 w 11851944"/>
              <a:gd name="connsiteY13" fmla="*/ 65659 h 2949840"/>
              <a:gd name="connsiteX14" fmla="*/ 10791930 w 11851944"/>
              <a:gd name="connsiteY14" fmla="*/ 35514 h 2949840"/>
              <a:gd name="connsiteX15" fmla="*/ 11736475 w 11851944"/>
              <a:gd name="connsiteY15" fmla="*/ 55611 h 2949840"/>
              <a:gd name="connsiteX16" fmla="*/ 11806813 w 11851944"/>
              <a:gd name="connsiteY16" fmla="*/ 769044 h 2949840"/>
              <a:gd name="connsiteX17" fmla="*/ 11816862 w 11851944"/>
              <a:gd name="connsiteY17" fmla="*/ 2336587 h 2949840"/>
              <a:gd name="connsiteX18" fmla="*/ 11806813 w 11851944"/>
              <a:gd name="connsiteY18" fmla="*/ 2828956 h 2949840"/>
              <a:gd name="connsiteX19" fmla="*/ 11033090 w 11851944"/>
              <a:gd name="connsiteY19" fmla="*/ 2859101 h 2949840"/>
              <a:gd name="connsiteX20" fmla="*/ 10128739 w 11851944"/>
              <a:gd name="connsiteY20" fmla="*/ 2859101 h 2949840"/>
              <a:gd name="connsiteX21" fmla="*/ 9555982 w 11851944"/>
              <a:gd name="connsiteY21" fmla="*/ 2859101 h 2949840"/>
              <a:gd name="connsiteX22" fmla="*/ 9204290 w 11851944"/>
              <a:gd name="connsiteY22" fmla="*/ 2808859 h 2949840"/>
              <a:gd name="connsiteX23" fmla="*/ 7486022 w 11851944"/>
              <a:gd name="connsiteY23" fmla="*/ 2818908 h 2949840"/>
              <a:gd name="connsiteX24" fmla="*/ 6863024 w 11851944"/>
              <a:gd name="connsiteY24" fmla="*/ 2839004 h 2949840"/>
              <a:gd name="connsiteX25" fmla="*/ 6722347 w 11851944"/>
              <a:gd name="connsiteY25" fmla="*/ 2828956 h 2949840"/>
              <a:gd name="connsiteX26" fmla="*/ 4903596 w 11851944"/>
              <a:gd name="connsiteY26" fmla="*/ 2879198 h 2949840"/>
              <a:gd name="connsiteX27" fmla="*/ 4059534 w 11851944"/>
              <a:gd name="connsiteY27" fmla="*/ 2859101 h 2949840"/>
              <a:gd name="connsiteX28" fmla="*/ 3064747 w 11851944"/>
              <a:gd name="connsiteY28" fmla="*/ 2839004 h 2949840"/>
              <a:gd name="connsiteX29" fmla="*/ 2009670 w 11851944"/>
              <a:gd name="connsiteY29" fmla="*/ 2849053 h 2949840"/>
              <a:gd name="connsiteX30" fmla="*/ 1205803 w 11851944"/>
              <a:gd name="connsiteY30" fmla="*/ 2929437 h 2949840"/>
              <a:gd name="connsiteX31" fmla="*/ 1135464 w 11851944"/>
              <a:gd name="connsiteY31" fmla="*/ 2949536 h 2949840"/>
              <a:gd name="connsiteX32" fmla="*/ 944545 w 11851944"/>
              <a:gd name="connsiteY32" fmla="*/ 2919391 h 2949840"/>
              <a:gd name="connsiteX33" fmla="*/ 723481 w 11851944"/>
              <a:gd name="connsiteY33" fmla="*/ 2879198 h 2949840"/>
              <a:gd name="connsiteX34" fmla="*/ 643095 w 11851944"/>
              <a:gd name="connsiteY34" fmla="*/ 2869149 h 2949840"/>
              <a:gd name="connsiteX35" fmla="*/ 371789 w 11851944"/>
              <a:gd name="connsiteY35" fmla="*/ 2828956 h 2949840"/>
              <a:gd name="connsiteX36" fmla="*/ 0 w 11851944"/>
              <a:gd name="connsiteY36" fmla="*/ 2818908 h 2949840"/>
              <a:gd name="connsiteX0" fmla="*/ 120580 w 11851944"/>
              <a:gd name="connsiteY0" fmla="*/ 55611 h 2934038"/>
              <a:gd name="connsiteX1" fmla="*/ 281354 w 11851944"/>
              <a:gd name="connsiteY1" fmla="*/ 45562 h 2934038"/>
              <a:gd name="connsiteX2" fmla="*/ 673240 w 11851944"/>
              <a:gd name="connsiteY2" fmla="*/ 35514 h 2934038"/>
              <a:gd name="connsiteX3" fmla="*/ 1356528 w 11851944"/>
              <a:gd name="connsiteY3" fmla="*/ 85756 h 2934038"/>
              <a:gd name="connsiteX4" fmla="*/ 1758462 w 11851944"/>
              <a:gd name="connsiteY4" fmla="*/ 45562 h 2934038"/>
              <a:gd name="connsiteX5" fmla="*/ 2140299 w 11851944"/>
              <a:gd name="connsiteY5" fmla="*/ 45562 h 2934038"/>
              <a:gd name="connsiteX6" fmla="*/ 4652387 w 11851944"/>
              <a:gd name="connsiteY6" fmla="*/ 65659 h 2934038"/>
              <a:gd name="connsiteX7" fmla="*/ 4692580 w 11851944"/>
              <a:gd name="connsiteY7" fmla="*/ 75708 h 2934038"/>
              <a:gd name="connsiteX8" fmla="*/ 6420897 w 11851944"/>
              <a:gd name="connsiteY8" fmla="*/ 95804 h 2934038"/>
              <a:gd name="connsiteX9" fmla="*/ 7184571 w 11851944"/>
              <a:gd name="connsiteY9" fmla="*/ 65659 h 2934038"/>
              <a:gd name="connsiteX10" fmla="*/ 7928150 w 11851944"/>
              <a:gd name="connsiteY10" fmla="*/ 65659 h 2934038"/>
              <a:gd name="connsiteX11" fmla="*/ 8219552 w 11851944"/>
              <a:gd name="connsiteY11" fmla="*/ 95804 h 2934038"/>
              <a:gd name="connsiteX12" fmla="*/ 9606224 w 11851944"/>
              <a:gd name="connsiteY12" fmla="*/ 95804 h 2934038"/>
              <a:gd name="connsiteX13" fmla="*/ 9947868 w 11851944"/>
              <a:gd name="connsiteY13" fmla="*/ 65659 h 2934038"/>
              <a:gd name="connsiteX14" fmla="*/ 10791930 w 11851944"/>
              <a:gd name="connsiteY14" fmla="*/ 35514 h 2934038"/>
              <a:gd name="connsiteX15" fmla="*/ 11736475 w 11851944"/>
              <a:gd name="connsiteY15" fmla="*/ 55611 h 2934038"/>
              <a:gd name="connsiteX16" fmla="*/ 11806813 w 11851944"/>
              <a:gd name="connsiteY16" fmla="*/ 769044 h 2934038"/>
              <a:gd name="connsiteX17" fmla="*/ 11816862 w 11851944"/>
              <a:gd name="connsiteY17" fmla="*/ 2336587 h 2934038"/>
              <a:gd name="connsiteX18" fmla="*/ 11806813 w 11851944"/>
              <a:gd name="connsiteY18" fmla="*/ 2828956 h 2934038"/>
              <a:gd name="connsiteX19" fmla="*/ 11033090 w 11851944"/>
              <a:gd name="connsiteY19" fmla="*/ 2859101 h 2934038"/>
              <a:gd name="connsiteX20" fmla="*/ 10128739 w 11851944"/>
              <a:gd name="connsiteY20" fmla="*/ 2859101 h 2934038"/>
              <a:gd name="connsiteX21" fmla="*/ 9555982 w 11851944"/>
              <a:gd name="connsiteY21" fmla="*/ 2859101 h 2934038"/>
              <a:gd name="connsiteX22" fmla="*/ 9204290 w 11851944"/>
              <a:gd name="connsiteY22" fmla="*/ 2808859 h 2934038"/>
              <a:gd name="connsiteX23" fmla="*/ 7486022 w 11851944"/>
              <a:gd name="connsiteY23" fmla="*/ 2818908 h 2934038"/>
              <a:gd name="connsiteX24" fmla="*/ 6863024 w 11851944"/>
              <a:gd name="connsiteY24" fmla="*/ 2839004 h 2934038"/>
              <a:gd name="connsiteX25" fmla="*/ 6722347 w 11851944"/>
              <a:gd name="connsiteY25" fmla="*/ 2828956 h 2934038"/>
              <a:gd name="connsiteX26" fmla="*/ 4903596 w 11851944"/>
              <a:gd name="connsiteY26" fmla="*/ 2879198 h 2934038"/>
              <a:gd name="connsiteX27" fmla="*/ 4059534 w 11851944"/>
              <a:gd name="connsiteY27" fmla="*/ 2859101 h 2934038"/>
              <a:gd name="connsiteX28" fmla="*/ 3064747 w 11851944"/>
              <a:gd name="connsiteY28" fmla="*/ 2839004 h 2934038"/>
              <a:gd name="connsiteX29" fmla="*/ 2009670 w 11851944"/>
              <a:gd name="connsiteY29" fmla="*/ 2849053 h 2934038"/>
              <a:gd name="connsiteX30" fmla="*/ 1205803 w 11851944"/>
              <a:gd name="connsiteY30" fmla="*/ 2929437 h 2934038"/>
              <a:gd name="connsiteX31" fmla="*/ 944545 w 11851944"/>
              <a:gd name="connsiteY31" fmla="*/ 2919391 h 2934038"/>
              <a:gd name="connsiteX32" fmla="*/ 723481 w 11851944"/>
              <a:gd name="connsiteY32" fmla="*/ 2879198 h 2934038"/>
              <a:gd name="connsiteX33" fmla="*/ 643095 w 11851944"/>
              <a:gd name="connsiteY33" fmla="*/ 2869149 h 2934038"/>
              <a:gd name="connsiteX34" fmla="*/ 371789 w 11851944"/>
              <a:gd name="connsiteY34" fmla="*/ 2828956 h 2934038"/>
              <a:gd name="connsiteX35" fmla="*/ 0 w 11851944"/>
              <a:gd name="connsiteY35" fmla="*/ 2818908 h 2934038"/>
              <a:gd name="connsiteX0" fmla="*/ 120580 w 11851944"/>
              <a:gd name="connsiteY0" fmla="*/ 55611 h 2919923"/>
              <a:gd name="connsiteX1" fmla="*/ 281354 w 11851944"/>
              <a:gd name="connsiteY1" fmla="*/ 45562 h 2919923"/>
              <a:gd name="connsiteX2" fmla="*/ 673240 w 11851944"/>
              <a:gd name="connsiteY2" fmla="*/ 35514 h 2919923"/>
              <a:gd name="connsiteX3" fmla="*/ 1356528 w 11851944"/>
              <a:gd name="connsiteY3" fmla="*/ 85756 h 2919923"/>
              <a:gd name="connsiteX4" fmla="*/ 1758462 w 11851944"/>
              <a:gd name="connsiteY4" fmla="*/ 45562 h 2919923"/>
              <a:gd name="connsiteX5" fmla="*/ 2140299 w 11851944"/>
              <a:gd name="connsiteY5" fmla="*/ 45562 h 2919923"/>
              <a:gd name="connsiteX6" fmla="*/ 4652387 w 11851944"/>
              <a:gd name="connsiteY6" fmla="*/ 65659 h 2919923"/>
              <a:gd name="connsiteX7" fmla="*/ 4692580 w 11851944"/>
              <a:gd name="connsiteY7" fmla="*/ 75708 h 2919923"/>
              <a:gd name="connsiteX8" fmla="*/ 6420897 w 11851944"/>
              <a:gd name="connsiteY8" fmla="*/ 95804 h 2919923"/>
              <a:gd name="connsiteX9" fmla="*/ 7184571 w 11851944"/>
              <a:gd name="connsiteY9" fmla="*/ 65659 h 2919923"/>
              <a:gd name="connsiteX10" fmla="*/ 7928150 w 11851944"/>
              <a:gd name="connsiteY10" fmla="*/ 65659 h 2919923"/>
              <a:gd name="connsiteX11" fmla="*/ 8219552 w 11851944"/>
              <a:gd name="connsiteY11" fmla="*/ 95804 h 2919923"/>
              <a:gd name="connsiteX12" fmla="*/ 9606224 w 11851944"/>
              <a:gd name="connsiteY12" fmla="*/ 95804 h 2919923"/>
              <a:gd name="connsiteX13" fmla="*/ 9947868 w 11851944"/>
              <a:gd name="connsiteY13" fmla="*/ 65659 h 2919923"/>
              <a:gd name="connsiteX14" fmla="*/ 10791930 w 11851944"/>
              <a:gd name="connsiteY14" fmla="*/ 35514 h 2919923"/>
              <a:gd name="connsiteX15" fmla="*/ 11736475 w 11851944"/>
              <a:gd name="connsiteY15" fmla="*/ 55611 h 2919923"/>
              <a:gd name="connsiteX16" fmla="*/ 11806813 w 11851944"/>
              <a:gd name="connsiteY16" fmla="*/ 769044 h 2919923"/>
              <a:gd name="connsiteX17" fmla="*/ 11816862 w 11851944"/>
              <a:gd name="connsiteY17" fmla="*/ 2336587 h 2919923"/>
              <a:gd name="connsiteX18" fmla="*/ 11806813 w 11851944"/>
              <a:gd name="connsiteY18" fmla="*/ 2828956 h 2919923"/>
              <a:gd name="connsiteX19" fmla="*/ 11033090 w 11851944"/>
              <a:gd name="connsiteY19" fmla="*/ 2859101 h 2919923"/>
              <a:gd name="connsiteX20" fmla="*/ 10128739 w 11851944"/>
              <a:gd name="connsiteY20" fmla="*/ 2859101 h 2919923"/>
              <a:gd name="connsiteX21" fmla="*/ 9555982 w 11851944"/>
              <a:gd name="connsiteY21" fmla="*/ 2859101 h 2919923"/>
              <a:gd name="connsiteX22" fmla="*/ 9204290 w 11851944"/>
              <a:gd name="connsiteY22" fmla="*/ 2808859 h 2919923"/>
              <a:gd name="connsiteX23" fmla="*/ 7486022 w 11851944"/>
              <a:gd name="connsiteY23" fmla="*/ 2818908 h 2919923"/>
              <a:gd name="connsiteX24" fmla="*/ 6863024 w 11851944"/>
              <a:gd name="connsiteY24" fmla="*/ 2839004 h 2919923"/>
              <a:gd name="connsiteX25" fmla="*/ 6722347 w 11851944"/>
              <a:gd name="connsiteY25" fmla="*/ 2828956 h 2919923"/>
              <a:gd name="connsiteX26" fmla="*/ 4903596 w 11851944"/>
              <a:gd name="connsiteY26" fmla="*/ 2879198 h 2919923"/>
              <a:gd name="connsiteX27" fmla="*/ 4059534 w 11851944"/>
              <a:gd name="connsiteY27" fmla="*/ 2859101 h 2919923"/>
              <a:gd name="connsiteX28" fmla="*/ 3064747 w 11851944"/>
              <a:gd name="connsiteY28" fmla="*/ 2839004 h 2919923"/>
              <a:gd name="connsiteX29" fmla="*/ 2009670 w 11851944"/>
              <a:gd name="connsiteY29" fmla="*/ 2849053 h 2919923"/>
              <a:gd name="connsiteX30" fmla="*/ 944545 w 11851944"/>
              <a:gd name="connsiteY30" fmla="*/ 2919391 h 2919923"/>
              <a:gd name="connsiteX31" fmla="*/ 723481 w 11851944"/>
              <a:gd name="connsiteY31" fmla="*/ 2879198 h 2919923"/>
              <a:gd name="connsiteX32" fmla="*/ 643095 w 11851944"/>
              <a:gd name="connsiteY32" fmla="*/ 2869149 h 2919923"/>
              <a:gd name="connsiteX33" fmla="*/ 371789 w 11851944"/>
              <a:gd name="connsiteY33" fmla="*/ 2828956 h 2919923"/>
              <a:gd name="connsiteX34" fmla="*/ 0 w 11851944"/>
              <a:gd name="connsiteY34" fmla="*/ 2818908 h 2919923"/>
              <a:gd name="connsiteX0" fmla="*/ 120580 w 11851944"/>
              <a:gd name="connsiteY0" fmla="*/ 55611 h 2890922"/>
              <a:gd name="connsiteX1" fmla="*/ 281354 w 11851944"/>
              <a:gd name="connsiteY1" fmla="*/ 45562 h 2890922"/>
              <a:gd name="connsiteX2" fmla="*/ 673240 w 11851944"/>
              <a:gd name="connsiteY2" fmla="*/ 35514 h 2890922"/>
              <a:gd name="connsiteX3" fmla="*/ 1356528 w 11851944"/>
              <a:gd name="connsiteY3" fmla="*/ 85756 h 2890922"/>
              <a:gd name="connsiteX4" fmla="*/ 1758462 w 11851944"/>
              <a:gd name="connsiteY4" fmla="*/ 45562 h 2890922"/>
              <a:gd name="connsiteX5" fmla="*/ 2140299 w 11851944"/>
              <a:gd name="connsiteY5" fmla="*/ 45562 h 2890922"/>
              <a:gd name="connsiteX6" fmla="*/ 4652387 w 11851944"/>
              <a:gd name="connsiteY6" fmla="*/ 65659 h 2890922"/>
              <a:gd name="connsiteX7" fmla="*/ 4692580 w 11851944"/>
              <a:gd name="connsiteY7" fmla="*/ 75708 h 2890922"/>
              <a:gd name="connsiteX8" fmla="*/ 6420897 w 11851944"/>
              <a:gd name="connsiteY8" fmla="*/ 95804 h 2890922"/>
              <a:gd name="connsiteX9" fmla="*/ 7184571 w 11851944"/>
              <a:gd name="connsiteY9" fmla="*/ 65659 h 2890922"/>
              <a:gd name="connsiteX10" fmla="*/ 7928150 w 11851944"/>
              <a:gd name="connsiteY10" fmla="*/ 65659 h 2890922"/>
              <a:gd name="connsiteX11" fmla="*/ 8219552 w 11851944"/>
              <a:gd name="connsiteY11" fmla="*/ 95804 h 2890922"/>
              <a:gd name="connsiteX12" fmla="*/ 9606224 w 11851944"/>
              <a:gd name="connsiteY12" fmla="*/ 95804 h 2890922"/>
              <a:gd name="connsiteX13" fmla="*/ 9947868 w 11851944"/>
              <a:gd name="connsiteY13" fmla="*/ 65659 h 2890922"/>
              <a:gd name="connsiteX14" fmla="*/ 10791930 w 11851944"/>
              <a:gd name="connsiteY14" fmla="*/ 35514 h 2890922"/>
              <a:gd name="connsiteX15" fmla="*/ 11736475 w 11851944"/>
              <a:gd name="connsiteY15" fmla="*/ 55611 h 2890922"/>
              <a:gd name="connsiteX16" fmla="*/ 11806813 w 11851944"/>
              <a:gd name="connsiteY16" fmla="*/ 769044 h 2890922"/>
              <a:gd name="connsiteX17" fmla="*/ 11816862 w 11851944"/>
              <a:gd name="connsiteY17" fmla="*/ 2336587 h 2890922"/>
              <a:gd name="connsiteX18" fmla="*/ 11806813 w 11851944"/>
              <a:gd name="connsiteY18" fmla="*/ 2828956 h 2890922"/>
              <a:gd name="connsiteX19" fmla="*/ 11033090 w 11851944"/>
              <a:gd name="connsiteY19" fmla="*/ 2859101 h 2890922"/>
              <a:gd name="connsiteX20" fmla="*/ 10128739 w 11851944"/>
              <a:gd name="connsiteY20" fmla="*/ 2859101 h 2890922"/>
              <a:gd name="connsiteX21" fmla="*/ 9555982 w 11851944"/>
              <a:gd name="connsiteY21" fmla="*/ 2859101 h 2890922"/>
              <a:gd name="connsiteX22" fmla="*/ 9204290 w 11851944"/>
              <a:gd name="connsiteY22" fmla="*/ 2808859 h 2890922"/>
              <a:gd name="connsiteX23" fmla="*/ 7486022 w 11851944"/>
              <a:gd name="connsiteY23" fmla="*/ 2818908 h 2890922"/>
              <a:gd name="connsiteX24" fmla="*/ 6863024 w 11851944"/>
              <a:gd name="connsiteY24" fmla="*/ 2839004 h 2890922"/>
              <a:gd name="connsiteX25" fmla="*/ 6722347 w 11851944"/>
              <a:gd name="connsiteY25" fmla="*/ 2828956 h 2890922"/>
              <a:gd name="connsiteX26" fmla="*/ 4903596 w 11851944"/>
              <a:gd name="connsiteY26" fmla="*/ 2879198 h 2890922"/>
              <a:gd name="connsiteX27" fmla="*/ 4059534 w 11851944"/>
              <a:gd name="connsiteY27" fmla="*/ 2859101 h 2890922"/>
              <a:gd name="connsiteX28" fmla="*/ 3064747 w 11851944"/>
              <a:gd name="connsiteY28" fmla="*/ 2839004 h 2890922"/>
              <a:gd name="connsiteX29" fmla="*/ 2009670 w 11851944"/>
              <a:gd name="connsiteY29" fmla="*/ 2849053 h 2890922"/>
              <a:gd name="connsiteX30" fmla="*/ 723481 w 11851944"/>
              <a:gd name="connsiteY30" fmla="*/ 2879198 h 2890922"/>
              <a:gd name="connsiteX31" fmla="*/ 643095 w 11851944"/>
              <a:gd name="connsiteY31" fmla="*/ 2869149 h 2890922"/>
              <a:gd name="connsiteX32" fmla="*/ 371789 w 11851944"/>
              <a:gd name="connsiteY32" fmla="*/ 2828956 h 2890922"/>
              <a:gd name="connsiteX33" fmla="*/ 0 w 11851944"/>
              <a:gd name="connsiteY33" fmla="*/ 2818908 h 2890922"/>
              <a:gd name="connsiteX0" fmla="*/ 120580 w 11851944"/>
              <a:gd name="connsiteY0" fmla="*/ 55611 h 2890922"/>
              <a:gd name="connsiteX1" fmla="*/ 281354 w 11851944"/>
              <a:gd name="connsiteY1" fmla="*/ 45562 h 2890922"/>
              <a:gd name="connsiteX2" fmla="*/ 673240 w 11851944"/>
              <a:gd name="connsiteY2" fmla="*/ 35514 h 2890922"/>
              <a:gd name="connsiteX3" fmla="*/ 1356528 w 11851944"/>
              <a:gd name="connsiteY3" fmla="*/ 85756 h 2890922"/>
              <a:gd name="connsiteX4" fmla="*/ 1758462 w 11851944"/>
              <a:gd name="connsiteY4" fmla="*/ 45562 h 2890922"/>
              <a:gd name="connsiteX5" fmla="*/ 2140299 w 11851944"/>
              <a:gd name="connsiteY5" fmla="*/ 45562 h 2890922"/>
              <a:gd name="connsiteX6" fmla="*/ 4652387 w 11851944"/>
              <a:gd name="connsiteY6" fmla="*/ 65659 h 2890922"/>
              <a:gd name="connsiteX7" fmla="*/ 4692580 w 11851944"/>
              <a:gd name="connsiteY7" fmla="*/ 75708 h 2890922"/>
              <a:gd name="connsiteX8" fmla="*/ 6420897 w 11851944"/>
              <a:gd name="connsiteY8" fmla="*/ 95804 h 2890922"/>
              <a:gd name="connsiteX9" fmla="*/ 7184571 w 11851944"/>
              <a:gd name="connsiteY9" fmla="*/ 65659 h 2890922"/>
              <a:gd name="connsiteX10" fmla="*/ 7928150 w 11851944"/>
              <a:gd name="connsiteY10" fmla="*/ 65659 h 2890922"/>
              <a:gd name="connsiteX11" fmla="*/ 8219552 w 11851944"/>
              <a:gd name="connsiteY11" fmla="*/ 95804 h 2890922"/>
              <a:gd name="connsiteX12" fmla="*/ 9606224 w 11851944"/>
              <a:gd name="connsiteY12" fmla="*/ 95804 h 2890922"/>
              <a:gd name="connsiteX13" fmla="*/ 9947868 w 11851944"/>
              <a:gd name="connsiteY13" fmla="*/ 65659 h 2890922"/>
              <a:gd name="connsiteX14" fmla="*/ 10791930 w 11851944"/>
              <a:gd name="connsiteY14" fmla="*/ 35514 h 2890922"/>
              <a:gd name="connsiteX15" fmla="*/ 11736475 w 11851944"/>
              <a:gd name="connsiteY15" fmla="*/ 55611 h 2890922"/>
              <a:gd name="connsiteX16" fmla="*/ 11806813 w 11851944"/>
              <a:gd name="connsiteY16" fmla="*/ 769044 h 2890922"/>
              <a:gd name="connsiteX17" fmla="*/ 11816862 w 11851944"/>
              <a:gd name="connsiteY17" fmla="*/ 2336587 h 2890922"/>
              <a:gd name="connsiteX18" fmla="*/ 11806813 w 11851944"/>
              <a:gd name="connsiteY18" fmla="*/ 2828956 h 2890922"/>
              <a:gd name="connsiteX19" fmla="*/ 11033090 w 11851944"/>
              <a:gd name="connsiteY19" fmla="*/ 2859101 h 2890922"/>
              <a:gd name="connsiteX20" fmla="*/ 10128739 w 11851944"/>
              <a:gd name="connsiteY20" fmla="*/ 2859101 h 2890922"/>
              <a:gd name="connsiteX21" fmla="*/ 9555982 w 11851944"/>
              <a:gd name="connsiteY21" fmla="*/ 2859101 h 2890922"/>
              <a:gd name="connsiteX22" fmla="*/ 9204290 w 11851944"/>
              <a:gd name="connsiteY22" fmla="*/ 2808859 h 2890922"/>
              <a:gd name="connsiteX23" fmla="*/ 7486022 w 11851944"/>
              <a:gd name="connsiteY23" fmla="*/ 2818908 h 2890922"/>
              <a:gd name="connsiteX24" fmla="*/ 6863024 w 11851944"/>
              <a:gd name="connsiteY24" fmla="*/ 2839004 h 2890922"/>
              <a:gd name="connsiteX25" fmla="*/ 6722347 w 11851944"/>
              <a:gd name="connsiteY25" fmla="*/ 2828956 h 2890922"/>
              <a:gd name="connsiteX26" fmla="*/ 4903596 w 11851944"/>
              <a:gd name="connsiteY26" fmla="*/ 2879198 h 2890922"/>
              <a:gd name="connsiteX27" fmla="*/ 4059534 w 11851944"/>
              <a:gd name="connsiteY27" fmla="*/ 2859101 h 2890922"/>
              <a:gd name="connsiteX28" fmla="*/ 3064747 w 11851944"/>
              <a:gd name="connsiteY28" fmla="*/ 2839004 h 2890922"/>
              <a:gd name="connsiteX29" fmla="*/ 2009670 w 11851944"/>
              <a:gd name="connsiteY29" fmla="*/ 2849053 h 2890922"/>
              <a:gd name="connsiteX30" fmla="*/ 643095 w 11851944"/>
              <a:gd name="connsiteY30" fmla="*/ 2869149 h 2890922"/>
              <a:gd name="connsiteX31" fmla="*/ 371789 w 11851944"/>
              <a:gd name="connsiteY31" fmla="*/ 2828956 h 2890922"/>
              <a:gd name="connsiteX32" fmla="*/ 0 w 11851944"/>
              <a:gd name="connsiteY32" fmla="*/ 2818908 h 2890922"/>
              <a:gd name="connsiteX0" fmla="*/ 0 w 11731364"/>
              <a:gd name="connsiteY0" fmla="*/ 55611 h 2890922"/>
              <a:gd name="connsiteX1" fmla="*/ 160774 w 11731364"/>
              <a:gd name="connsiteY1" fmla="*/ 45562 h 2890922"/>
              <a:gd name="connsiteX2" fmla="*/ 552660 w 11731364"/>
              <a:gd name="connsiteY2" fmla="*/ 35514 h 2890922"/>
              <a:gd name="connsiteX3" fmla="*/ 1235948 w 11731364"/>
              <a:gd name="connsiteY3" fmla="*/ 85756 h 2890922"/>
              <a:gd name="connsiteX4" fmla="*/ 1637882 w 11731364"/>
              <a:gd name="connsiteY4" fmla="*/ 45562 h 2890922"/>
              <a:gd name="connsiteX5" fmla="*/ 2019719 w 11731364"/>
              <a:gd name="connsiteY5" fmla="*/ 45562 h 2890922"/>
              <a:gd name="connsiteX6" fmla="*/ 4531807 w 11731364"/>
              <a:gd name="connsiteY6" fmla="*/ 65659 h 2890922"/>
              <a:gd name="connsiteX7" fmla="*/ 4572000 w 11731364"/>
              <a:gd name="connsiteY7" fmla="*/ 75708 h 2890922"/>
              <a:gd name="connsiteX8" fmla="*/ 6300317 w 11731364"/>
              <a:gd name="connsiteY8" fmla="*/ 95804 h 2890922"/>
              <a:gd name="connsiteX9" fmla="*/ 7063991 w 11731364"/>
              <a:gd name="connsiteY9" fmla="*/ 65659 h 2890922"/>
              <a:gd name="connsiteX10" fmla="*/ 7807570 w 11731364"/>
              <a:gd name="connsiteY10" fmla="*/ 65659 h 2890922"/>
              <a:gd name="connsiteX11" fmla="*/ 8098972 w 11731364"/>
              <a:gd name="connsiteY11" fmla="*/ 95804 h 2890922"/>
              <a:gd name="connsiteX12" fmla="*/ 9485644 w 11731364"/>
              <a:gd name="connsiteY12" fmla="*/ 95804 h 2890922"/>
              <a:gd name="connsiteX13" fmla="*/ 9827288 w 11731364"/>
              <a:gd name="connsiteY13" fmla="*/ 65659 h 2890922"/>
              <a:gd name="connsiteX14" fmla="*/ 10671350 w 11731364"/>
              <a:gd name="connsiteY14" fmla="*/ 35514 h 2890922"/>
              <a:gd name="connsiteX15" fmla="*/ 11615895 w 11731364"/>
              <a:gd name="connsiteY15" fmla="*/ 55611 h 2890922"/>
              <a:gd name="connsiteX16" fmla="*/ 11686233 w 11731364"/>
              <a:gd name="connsiteY16" fmla="*/ 769044 h 2890922"/>
              <a:gd name="connsiteX17" fmla="*/ 11696282 w 11731364"/>
              <a:gd name="connsiteY17" fmla="*/ 2336587 h 2890922"/>
              <a:gd name="connsiteX18" fmla="*/ 11686233 w 11731364"/>
              <a:gd name="connsiteY18" fmla="*/ 2828956 h 2890922"/>
              <a:gd name="connsiteX19" fmla="*/ 10912510 w 11731364"/>
              <a:gd name="connsiteY19" fmla="*/ 2859101 h 2890922"/>
              <a:gd name="connsiteX20" fmla="*/ 10008159 w 11731364"/>
              <a:gd name="connsiteY20" fmla="*/ 2859101 h 2890922"/>
              <a:gd name="connsiteX21" fmla="*/ 9435402 w 11731364"/>
              <a:gd name="connsiteY21" fmla="*/ 2859101 h 2890922"/>
              <a:gd name="connsiteX22" fmla="*/ 9083710 w 11731364"/>
              <a:gd name="connsiteY22" fmla="*/ 2808859 h 2890922"/>
              <a:gd name="connsiteX23" fmla="*/ 7365442 w 11731364"/>
              <a:gd name="connsiteY23" fmla="*/ 2818908 h 2890922"/>
              <a:gd name="connsiteX24" fmla="*/ 6742444 w 11731364"/>
              <a:gd name="connsiteY24" fmla="*/ 2839004 h 2890922"/>
              <a:gd name="connsiteX25" fmla="*/ 6601767 w 11731364"/>
              <a:gd name="connsiteY25" fmla="*/ 2828956 h 2890922"/>
              <a:gd name="connsiteX26" fmla="*/ 4783016 w 11731364"/>
              <a:gd name="connsiteY26" fmla="*/ 2879198 h 2890922"/>
              <a:gd name="connsiteX27" fmla="*/ 3938954 w 11731364"/>
              <a:gd name="connsiteY27" fmla="*/ 2859101 h 2890922"/>
              <a:gd name="connsiteX28" fmla="*/ 2944167 w 11731364"/>
              <a:gd name="connsiteY28" fmla="*/ 2839004 h 2890922"/>
              <a:gd name="connsiteX29" fmla="*/ 1889090 w 11731364"/>
              <a:gd name="connsiteY29" fmla="*/ 2849053 h 2890922"/>
              <a:gd name="connsiteX30" fmla="*/ 522515 w 11731364"/>
              <a:gd name="connsiteY30" fmla="*/ 2869149 h 2890922"/>
              <a:gd name="connsiteX31" fmla="*/ 251209 w 11731364"/>
              <a:gd name="connsiteY31" fmla="*/ 2828956 h 2890922"/>
              <a:gd name="connsiteX32" fmla="*/ 10048 w 11731364"/>
              <a:gd name="connsiteY32" fmla="*/ 2839005 h 2890922"/>
              <a:gd name="connsiteX0" fmla="*/ 0 w 11731364"/>
              <a:gd name="connsiteY0" fmla="*/ 55611 h 2890922"/>
              <a:gd name="connsiteX1" fmla="*/ 160774 w 11731364"/>
              <a:gd name="connsiteY1" fmla="*/ 45562 h 2890922"/>
              <a:gd name="connsiteX2" fmla="*/ 552660 w 11731364"/>
              <a:gd name="connsiteY2" fmla="*/ 35514 h 2890922"/>
              <a:gd name="connsiteX3" fmla="*/ 1235948 w 11731364"/>
              <a:gd name="connsiteY3" fmla="*/ 85756 h 2890922"/>
              <a:gd name="connsiteX4" fmla="*/ 1637882 w 11731364"/>
              <a:gd name="connsiteY4" fmla="*/ 45562 h 2890922"/>
              <a:gd name="connsiteX5" fmla="*/ 2019719 w 11731364"/>
              <a:gd name="connsiteY5" fmla="*/ 45562 h 2890922"/>
              <a:gd name="connsiteX6" fmla="*/ 4531807 w 11731364"/>
              <a:gd name="connsiteY6" fmla="*/ 65659 h 2890922"/>
              <a:gd name="connsiteX7" fmla="*/ 4572000 w 11731364"/>
              <a:gd name="connsiteY7" fmla="*/ 75708 h 2890922"/>
              <a:gd name="connsiteX8" fmla="*/ 6300317 w 11731364"/>
              <a:gd name="connsiteY8" fmla="*/ 95804 h 2890922"/>
              <a:gd name="connsiteX9" fmla="*/ 7063991 w 11731364"/>
              <a:gd name="connsiteY9" fmla="*/ 65659 h 2890922"/>
              <a:gd name="connsiteX10" fmla="*/ 7807570 w 11731364"/>
              <a:gd name="connsiteY10" fmla="*/ 65659 h 2890922"/>
              <a:gd name="connsiteX11" fmla="*/ 8098972 w 11731364"/>
              <a:gd name="connsiteY11" fmla="*/ 95804 h 2890922"/>
              <a:gd name="connsiteX12" fmla="*/ 9485644 w 11731364"/>
              <a:gd name="connsiteY12" fmla="*/ 95804 h 2890922"/>
              <a:gd name="connsiteX13" fmla="*/ 9827288 w 11731364"/>
              <a:gd name="connsiteY13" fmla="*/ 65659 h 2890922"/>
              <a:gd name="connsiteX14" fmla="*/ 10671350 w 11731364"/>
              <a:gd name="connsiteY14" fmla="*/ 35514 h 2890922"/>
              <a:gd name="connsiteX15" fmla="*/ 11615895 w 11731364"/>
              <a:gd name="connsiteY15" fmla="*/ 55611 h 2890922"/>
              <a:gd name="connsiteX16" fmla="*/ 11686233 w 11731364"/>
              <a:gd name="connsiteY16" fmla="*/ 769044 h 2890922"/>
              <a:gd name="connsiteX17" fmla="*/ 11696282 w 11731364"/>
              <a:gd name="connsiteY17" fmla="*/ 2336587 h 2890922"/>
              <a:gd name="connsiteX18" fmla="*/ 11686233 w 11731364"/>
              <a:gd name="connsiteY18" fmla="*/ 2828956 h 2890922"/>
              <a:gd name="connsiteX19" fmla="*/ 10912510 w 11731364"/>
              <a:gd name="connsiteY19" fmla="*/ 2859101 h 2890922"/>
              <a:gd name="connsiteX20" fmla="*/ 10008159 w 11731364"/>
              <a:gd name="connsiteY20" fmla="*/ 2859101 h 2890922"/>
              <a:gd name="connsiteX21" fmla="*/ 9435402 w 11731364"/>
              <a:gd name="connsiteY21" fmla="*/ 2859101 h 2890922"/>
              <a:gd name="connsiteX22" fmla="*/ 7365442 w 11731364"/>
              <a:gd name="connsiteY22" fmla="*/ 2818908 h 2890922"/>
              <a:gd name="connsiteX23" fmla="*/ 6742444 w 11731364"/>
              <a:gd name="connsiteY23" fmla="*/ 2839004 h 2890922"/>
              <a:gd name="connsiteX24" fmla="*/ 6601767 w 11731364"/>
              <a:gd name="connsiteY24" fmla="*/ 2828956 h 2890922"/>
              <a:gd name="connsiteX25" fmla="*/ 4783016 w 11731364"/>
              <a:gd name="connsiteY25" fmla="*/ 2879198 h 2890922"/>
              <a:gd name="connsiteX26" fmla="*/ 3938954 w 11731364"/>
              <a:gd name="connsiteY26" fmla="*/ 2859101 h 2890922"/>
              <a:gd name="connsiteX27" fmla="*/ 2944167 w 11731364"/>
              <a:gd name="connsiteY27" fmla="*/ 2839004 h 2890922"/>
              <a:gd name="connsiteX28" fmla="*/ 1889090 w 11731364"/>
              <a:gd name="connsiteY28" fmla="*/ 2849053 h 2890922"/>
              <a:gd name="connsiteX29" fmla="*/ 522515 w 11731364"/>
              <a:gd name="connsiteY29" fmla="*/ 2869149 h 2890922"/>
              <a:gd name="connsiteX30" fmla="*/ 251209 w 11731364"/>
              <a:gd name="connsiteY30" fmla="*/ 2828956 h 2890922"/>
              <a:gd name="connsiteX31" fmla="*/ 10048 w 11731364"/>
              <a:gd name="connsiteY31" fmla="*/ 2839005 h 2890922"/>
              <a:gd name="connsiteX0" fmla="*/ 0 w 11731364"/>
              <a:gd name="connsiteY0" fmla="*/ 55611 h 2890922"/>
              <a:gd name="connsiteX1" fmla="*/ 160774 w 11731364"/>
              <a:gd name="connsiteY1" fmla="*/ 45562 h 2890922"/>
              <a:gd name="connsiteX2" fmla="*/ 552660 w 11731364"/>
              <a:gd name="connsiteY2" fmla="*/ 35514 h 2890922"/>
              <a:gd name="connsiteX3" fmla="*/ 1235948 w 11731364"/>
              <a:gd name="connsiteY3" fmla="*/ 85756 h 2890922"/>
              <a:gd name="connsiteX4" fmla="*/ 1637882 w 11731364"/>
              <a:gd name="connsiteY4" fmla="*/ 45562 h 2890922"/>
              <a:gd name="connsiteX5" fmla="*/ 2019719 w 11731364"/>
              <a:gd name="connsiteY5" fmla="*/ 45562 h 2890922"/>
              <a:gd name="connsiteX6" fmla="*/ 4531807 w 11731364"/>
              <a:gd name="connsiteY6" fmla="*/ 65659 h 2890922"/>
              <a:gd name="connsiteX7" fmla="*/ 4572000 w 11731364"/>
              <a:gd name="connsiteY7" fmla="*/ 75708 h 2890922"/>
              <a:gd name="connsiteX8" fmla="*/ 6300317 w 11731364"/>
              <a:gd name="connsiteY8" fmla="*/ 95804 h 2890922"/>
              <a:gd name="connsiteX9" fmla="*/ 7063991 w 11731364"/>
              <a:gd name="connsiteY9" fmla="*/ 65659 h 2890922"/>
              <a:gd name="connsiteX10" fmla="*/ 7807570 w 11731364"/>
              <a:gd name="connsiteY10" fmla="*/ 65659 h 2890922"/>
              <a:gd name="connsiteX11" fmla="*/ 8098972 w 11731364"/>
              <a:gd name="connsiteY11" fmla="*/ 95804 h 2890922"/>
              <a:gd name="connsiteX12" fmla="*/ 9485644 w 11731364"/>
              <a:gd name="connsiteY12" fmla="*/ 95804 h 2890922"/>
              <a:gd name="connsiteX13" fmla="*/ 9827288 w 11731364"/>
              <a:gd name="connsiteY13" fmla="*/ 65659 h 2890922"/>
              <a:gd name="connsiteX14" fmla="*/ 10671350 w 11731364"/>
              <a:gd name="connsiteY14" fmla="*/ 35514 h 2890922"/>
              <a:gd name="connsiteX15" fmla="*/ 11615895 w 11731364"/>
              <a:gd name="connsiteY15" fmla="*/ 55611 h 2890922"/>
              <a:gd name="connsiteX16" fmla="*/ 11686233 w 11731364"/>
              <a:gd name="connsiteY16" fmla="*/ 769044 h 2890922"/>
              <a:gd name="connsiteX17" fmla="*/ 11696282 w 11731364"/>
              <a:gd name="connsiteY17" fmla="*/ 2336587 h 2890922"/>
              <a:gd name="connsiteX18" fmla="*/ 11686233 w 11731364"/>
              <a:gd name="connsiteY18" fmla="*/ 2828956 h 2890922"/>
              <a:gd name="connsiteX19" fmla="*/ 10912510 w 11731364"/>
              <a:gd name="connsiteY19" fmla="*/ 2859101 h 2890922"/>
              <a:gd name="connsiteX20" fmla="*/ 10008159 w 11731364"/>
              <a:gd name="connsiteY20" fmla="*/ 2859101 h 2890922"/>
              <a:gd name="connsiteX21" fmla="*/ 9435402 w 11731364"/>
              <a:gd name="connsiteY21" fmla="*/ 2859101 h 2890922"/>
              <a:gd name="connsiteX22" fmla="*/ 7365442 w 11731364"/>
              <a:gd name="connsiteY22" fmla="*/ 2818908 h 2890922"/>
              <a:gd name="connsiteX23" fmla="*/ 6742444 w 11731364"/>
              <a:gd name="connsiteY23" fmla="*/ 2839004 h 2890922"/>
              <a:gd name="connsiteX24" fmla="*/ 6601767 w 11731364"/>
              <a:gd name="connsiteY24" fmla="*/ 2828956 h 2890922"/>
              <a:gd name="connsiteX25" fmla="*/ 4783016 w 11731364"/>
              <a:gd name="connsiteY25" fmla="*/ 2879198 h 2890922"/>
              <a:gd name="connsiteX26" fmla="*/ 3938954 w 11731364"/>
              <a:gd name="connsiteY26" fmla="*/ 2859101 h 2890922"/>
              <a:gd name="connsiteX27" fmla="*/ 2944167 w 11731364"/>
              <a:gd name="connsiteY27" fmla="*/ 2839004 h 2890922"/>
              <a:gd name="connsiteX28" fmla="*/ 1889090 w 11731364"/>
              <a:gd name="connsiteY28" fmla="*/ 2849053 h 2890922"/>
              <a:gd name="connsiteX29" fmla="*/ 522515 w 11731364"/>
              <a:gd name="connsiteY29" fmla="*/ 2869149 h 2890922"/>
              <a:gd name="connsiteX30" fmla="*/ 10048 w 11731364"/>
              <a:gd name="connsiteY30" fmla="*/ 2839005 h 2890922"/>
              <a:gd name="connsiteX0" fmla="*/ 0 w 11731364"/>
              <a:gd name="connsiteY0" fmla="*/ 55611 h 2890922"/>
              <a:gd name="connsiteX1" fmla="*/ 160774 w 11731364"/>
              <a:gd name="connsiteY1" fmla="*/ 45562 h 2890922"/>
              <a:gd name="connsiteX2" fmla="*/ 552660 w 11731364"/>
              <a:gd name="connsiteY2" fmla="*/ 35514 h 2890922"/>
              <a:gd name="connsiteX3" fmla="*/ 1637882 w 11731364"/>
              <a:gd name="connsiteY3" fmla="*/ 45562 h 2890922"/>
              <a:gd name="connsiteX4" fmla="*/ 2019719 w 11731364"/>
              <a:gd name="connsiteY4" fmla="*/ 45562 h 2890922"/>
              <a:gd name="connsiteX5" fmla="*/ 4531807 w 11731364"/>
              <a:gd name="connsiteY5" fmla="*/ 65659 h 2890922"/>
              <a:gd name="connsiteX6" fmla="*/ 4572000 w 11731364"/>
              <a:gd name="connsiteY6" fmla="*/ 75708 h 2890922"/>
              <a:gd name="connsiteX7" fmla="*/ 6300317 w 11731364"/>
              <a:gd name="connsiteY7" fmla="*/ 95804 h 2890922"/>
              <a:gd name="connsiteX8" fmla="*/ 7063991 w 11731364"/>
              <a:gd name="connsiteY8" fmla="*/ 65659 h 2890922"/>
              <a:gd name="connsiteX9" fmla="*/ 7807570 w 11731364"/>
              <a:gd name="connsiteY9" fmla="*/ 65659 h 2890922"/>
              <a:gd name="connsiteX10" fmla="*/ 8098972 w 11731364"/>
              <a:gd name="connsiteY10" fmla="*/ 95804 h 2890922"/>
              <a:gd name="connsiteX11" fmla="*/ 9485644 w 11731364"/>
              <a:gd name="connsiteY11" fmla="*/ 95804 h 2890922"/>
              <a:gd name="connsiteX12" fmla="*/ 9827288 w 11731364"/>
              <a:gd name="connsiteY12" fmla="*/ 65659 h 2890922"/>
              <a:gd name="connsiteX13" fmla="*/ 10671350 w 11731364"/>
              <a:gd name="connsiteY13" fmla="*/ 35514 h 2890922"/>
              <a:gd name="connsiteX14" fmla="*/ 11615895 w 11731364"/>
              <a:gd name="connsiteY14" fmla="*/ 55611 h 2890922"/>
              <a:gd name="connsiteX15" fmla="*/ 11686233 w 11731364"/>
              <a:gd name="connsiteY15" fmla="*/ 769044 h 2890922"/>
              <a:gd name="connsiteX16" fmla="*/ 11696282 w 11731364"/>
              <a:gd name="connsiteY16" fmla="*/ 2336587 h 2890922"/>
              <a:gd name="connsiteX17" fmla="*/ 11686233 w 11731364"/>
              <a:gd name="connsiteY17" fmla="*/ 2828956 h 2890922"/>
              <a:gd name="connsiteX18" fmla="*/ 10912510 w 11731364"/>
              <a:gd name="connsiteY18" fmla="*/ 2859101 h 2890922"/>
              <a:gd name="connsiteX19" fmla="*/ 10008159 w 11731364"/>
              <a:gd name="connsiteY19" fmla="*/ 2859101 h 2890922"/>
              <a:gd name="connsiteX20" fmla="*/ 9435402 w 11731364"/>
              <a:gd name="connsiteY20" fmla="*/ 2859101 h 2890922"/>
              <a:gd name="connsiteX21" fmla="*/ 7365442 w 11731364"/>
              <a:gd name="connsiteY21" fmla="*/ 2818908 h 2890922"/>
              <a:gd name="connsiteX22" fmla="*/ 6742444 w 11731364"/>
              <a:gd name="connsiteY22" fmla="*/ 2839004 h 2890922"/>
              <a:gd name="connsiteX23" fmla="*/ 6601767 w 11731364"/>
              <a:gd name="connsiteY23" fmla="*/ 2828956 h 2890922"/>
              <a:gd name="connsiteX24" fmla="*/ 4783016 w 11731364"/>
              <a:gd name="connsiteY24" fmla="*/ 2879198 h 2890922"/>
              <a:gd name="connsiteX25" fmla="*/ 3938954 w 11731364"/>
              <a:gd name="connsiteY25" fmla="*/ 2859101 h 2890922"/>
              <a:gd name="connsiteX26" fmla="*/ 2944167 w 11731364"/>
              <a:gd name="connsiteY26" fmla="*/ 2839004 h 2890922"/>
              <a:gd name="connsiteX27" fmla="*/ 1889090 w 11731364"/>
              <a:gd name="connsiteY27" fmla="*/ 2849053 h 2890922"/>
              <a:gd name="connsiteX28" fmla="*/ 522515 w 11731364"/>
              <a:gd name="connsiteY28" fmla="*/ 2869149 h 2890922"/>
              <a:gd name="connsiteX29" fmla="*/ 10048 w 11731364"/>
              <a:gd name="connsiteY29" fmla="*/ 2839005 h 2890922"/>
              <a:gd name="connsiteX0" fmla="*/ 0 w 11731364"/>
              <a:gd name="connsiteY0" fmla="*/ 55611 h 2890922"/>
              <a:gd name="connsiteX1" fmla="*/ 552660 w 11731364"/>
              <a:gd name="connsiteY1" fmla="*/ 35514 h 2890922"/>
              <a:gd name="connsiteX2" fmla="*/ 1637882 w 11731364"/>
              <a:gd name="connsiteY2" fmla="*/ 45562 h 2890922"/>
              <a:gd name="connsiteX3" fmla="*/ 2019719 w 11731364"/>
              <a:gd name="connsiteY3" fmla="*/ 45562 h 2890922"/>
              <a:gd name="connsiteX4" fmla="*/ 4531807 w 11731364"/>
              <a:gd name="connsiteY4" fmla="*/ 65659 h 2890922"/>
              <a:gd name="connsiteX5" fmla="*/ 4572000 w 11731364"/>
              <a:gd name="connsiteY5" fmla="*/ 75708 h 2890922"/>
              <a:gd name="connsiteX6" fmla="*/ 6300317 w 11731364"/>
              <a:gd name="connsiteY6" fmla="*/ 95804 h 2890922"/>
              <a:gd name="connsiteX7" fmla="*/ 7063991 w 11731364"/>
              <a:gd name="connsiteY7" fmla="*/ 65659 h 2890922"/>
              <a:gd name="connsiteX8" fmla="*/ 7807570 w 11731364"/>
              <a:gd name="connsiteY8" fmla="*/ 65659 h 2890922"/>
              <a:gd name="connsiteX9" fmla="*/ 8098972 w 11731364"/>
              <a:gd name="connsiteY9" fmla="*/ 95804 h 2890922"/>
              <a:gd name="connsiteX10" fmla="*/ 9485644 w 11731364"/>
              <a:gd name="connsiteY10" fmla="*/ 95804 h 2890922"/>
              <a:gd name="connsiteX11" fmla="*/ 9827288 w 11731364"/>
              <a:gd name="connsiteY11" fmla="*/ 65659 h 2890922"/>
              <a:gd name="connsiteX12" fmla="*/ 10671350 w 11731364"/>
              <a:gd name="connsiteY12" fmla="*/ 35514 h 2890922"/>
              <a:gd name="connsiteX13" fmla="*/ 11615895 w 11731364"/>
              <a:gd name="connsiteY13" fmla="*/ 55611 h 2890922"/>
              <a:gd name="connsiteX14" fmla="*/ 11686233 w 11731364"/>
              <a:gd name="connsiteY14" fmla="*/ 769044 h 2890922"/>
              <a:gd name="connsiteX15" fmla="*/ 11696282 w 11731364"/>
              <a:gd name="connsiteY15" fmla="*/ 2336587 h 2890922"/>
              <a:gd name="connsiteX16" fmla="*/ 11686233 w 11731364"/>
              <a:gd name="connsiteY16" fmla="*/ 2828956 h 2890922"/>
              <a:gd name="connsiteX17" fmla="*/ 10912510 w 11731364"/>
              <a:gd name="connsiteY17" fmla="*/ 2859101 h 2890922"/>
              <a:gd name="connsiteX18" fmla="*/ 10008159 w 11731364"/>
              <a:gd name="connsiteY18" fmla="*/ 2859101 h 2890922"/>
              <a:gd name="connsiteX19" fmla="*/ 9435402 w 11731364"/>
              <a:gd name="connsiteY19" fmla="*/ 2859101 h 2890922"/>
              <a:gd name="connsiteX20" fmla="*/ 7365442 w 11731364"/>
              <a:gd name="connsiteY20" fmla="*/ 2818908 h 2890922"/>
              <a:gd name="connsiteX21" fmla="*/ 6742444 w 11731364"/>
              <a:gd name="connsiteY21" fmla="*/ 2839004 h 2890922"/>
              <a:gd name="connsiteX22" fmla="*/ 6601767 w 11731364"/>
              <a:gd name="connsiteY22" fmla="*/ 2828956 h 2890922"/>
              <a:gd name="connsiteX23" fmla="*/ 4783016 w 11731364"/>
              <a:gd name="connsiteY23" fmla="*/ 2879198 h 2890922"/>
              <a:gd name="connsiteX24" fmla="*/ 3938954 w 11731364"/>
              <a:gd name="connsiteY24" fmla="*/ 2859101 h 2890922"/>
              <a:gd name="connsiteX25" fmla="*/ 2944167 w 11731364"/>
              <a:gd name="connsiteY25" fmla="*/ 2839004 h 2890922"/>
              <a:gd name="connsiteX26" fmla="*/ 1889090 w 11731364"/>
              <a:gd name="connsiteY26" fmla="*/ 2849053 h 2890922"/>
              <a:gd name="connsiteX27" fmla="*/ 522515 w 11731364"/>
              <a:gd name="connsiteY27" fmla="*/ 2869149 h 2890922"/>
              <a:gd name="connsiteX28" fmla="*/ 10048 w 11731364"/>
              <a:gd name="connsiteY28" fmla="*/ 2839005 h 2890922"/>
              <a:gd name="connsiteX0" fmla="*/ 0 w 11731364"/>
              <a:gd name="connsiteY0" fmla="*/ 55611 h 2890922"/>
              <a:gd name="connsiteX1" fmla="*/ 552660 w 11731364"/>
              <a:gd name="connsiteY1" fmla="*/ 35514 h 2890922"/>
              <a:gd name="connsiteX2" fmla="*/ 1637882 w 11731364"/>
              <a:gd name="connsiteY2" fmla="*/ 45562 h 2890922"/>
              <a:gd name="connsiteX3" fmla="*/ 2019719 w 11731364"/>
              <a:gd name="connsiteY3" fmla="*/ 45562 h 2890922"/>
              <a:gd name="connsiteX4" fmla="*/ 4531807 w 11731364"/>
              <a:gd name="connsiteY4" fmla="*/ 65659 h 2890922"/>
              <a:gd name="connsiteX5" fmla="*/ 6300317 w 11731364"/>
              <a:gd name="connsiteY5" fmla="*/ 95804 h 2890922"/>
              <a:gd name="connsiteX6" fmla="*/ 7063991 w 11731364"/>
              <a:gd name="connsiteY6" fmla="*/ 65659 h 2890922"/>
              <a:gd name="connsiteX7" fmla="*/ 7807570 w 11731364"/>
              <a:gd name="connsiteY7" fmla="*/ 65659 h 2890922"/>
              <a:gd name="connsiteX8" fmla="*/ 8098972 w 11731364"/>
              <a:gd name="connsiteY8" fmla="*/ 95804 h 2890922"/>
              <a:gd name="connsiteX9" fmla="*/ 9485644 w 11731364"/>
              <a:gd name="connsiteY9" fmla="*/ 95804 h 2890922"/>
              <a:gd name="connsiteX10" fmla="*/ 9827288 w 11731364"/>
              <a:gd name="connsiteY10" fmla="*/ 65659 h 2890922"/>
              <a:gd name="connsiteX11" fmla="*/ 10671350 w 11731364"/>
              <a:gd name="connsiteY11" fmla="*/ 35514 h 2890922"/>
              <a:gd name="connsiteX12" fmla="*/ 11615895 w 11731364"/>
              <a:gd name="connsiteY12" fmla="*/ 55611 h 2890922"/>
              <a:gd name="connsiteX13" fmla="*/ 11686233 w 11731364"/>
              <a:gd name="connsiteY13" fmla="*/ 769044 h 2890922"/>
              <a:gd name="connsiteX14" fmla="*/ 11696282 w 11731364"/>
              <a:gd name="connsiteY14" fmla="*/ 2336587 h 2890922"/>
              <a:gd name="connsiteX15" fmla="*/ 11686233 w 11731364"/>
              <a:gd name="connsiteY15" fmla="*/ 2828956 h 2890922"/>
              <a:gd name="connsiteX16" fmla="*/ 10912510 w 11731364"/>
              <a:gd name="connsiteY16" fmla="*/ 2859101 h 2890922"/>
              <a:gd name="connsiteX17" fmla="*/ 10008159 w 11731364"/>
              <a:gd name="connsiteY17" fmla="*/ 2859101 h 2890922"/>
              <a:gd name="connsiteX18" fmla="*/ 9435402 w 11731364"/>
              <a:gd name="connsiteY18" fmla="*/ 2859101 h 2890922"/>
              <a:gd name="connsiteX19" fmla="*/ 7365442 w 11731364"/>
              <a:gd name="connsiteY19" fmla="*/ 2818908 h 2890922"/>
              <a:gd name="connsiteX20" fmla="*/ 6742444 w 11731364"/>
              <a:gd name="connsiteY20" fmla="*/ 2839004 h 2890922"/>
              <a:gd name="connsiteX21" fmla="*/ 6601767 w 11731364"/>
              <a:gd name="connsiteY21" fmla="*/ 2828956 h 2890922"/>
              <a:gd name="connsiteX22" fmla="*/ 4783016 w 11731364"/>
              <a:gd name="connsiteY22" fmla="*/ 2879198 h 2890922"/>
              <a:gd name="connsiteX23" fmla="*/ 3938954 w 11731364"/>
              <a:gd name="connsiteY23" fmla="*/ 2859101 h 2890922"/>
              <a:gd name="connsiteX24" fmla="*/ 2944167 w 11731364"/>
              <a:gd name="connsiteY24" fmla="*/ 2839004 h 2890922"/>
              <a:gd name="connsiteX25" fmla="*/ 1889090 w 11731364"/>
              <a:gd name="connsiteY25" fmla="*/ 2849053 h 2890922"/>
              <a:gd name="connsiteX26" fmla="*/ 522515 w 11731364"/>
              <a:gd name="connsiteY26" fmla="*/ 2869149 h 2890922"/>
              <a:gd name="connsiteX27" fmla="*/ 10048 w 11731364"/>
              <a:gd name="connsiteY27" fmla="*/ 2839005 h 2890922"/>
              <a:gd name="connsiteX0" fmla="*/ 0 w 11731364"/>
              <a:gd name="connsiteY0" fmla="*/ 55611 h 2890922"/>
              <a:gd name="connsiteX1" fmla="*/ 552660 w 11731364"/>
              <a:gd name="connsiteY1" fmla="*/ 35514 h 2890922"/>
              <a:gd name="connsiteX2" fmla="*/ 1637882 w 11731364"/>
              <a:gd name="connsiteY2" fmla="*/ 45562 h 2890922"/>
              <a:gd name="connsiteX3" fmla="*/ 2019719 w 11731364"/>
              <a:gd name="connsiteY3" fmla="*/ 45562 h 2890922"/>
              <a:gd name="connsiteX4" fmla="*/ 4531807 w 11731364"/>
              <a:gd name="connsiteY4" fmla="*/ 65659 h 2890922"/>
              <a:gd name="connsiteX5" fmla="*/ 6300317 w 11731364"/>
              <a:gd name="connsiteY5" fmla="*/ 95804 h 2890922"/>
              <a:gd name="connsiteX6" fmla="*/ 7063991 w 11731364"/>
              <a:gd name="connsiteY6" fmla="*/ 65659 h 2890922"/>
              <a:gd name="connsiteX7" fmla="*/ 8098972 w 11731364"/>
              <a:gd name="connsiteY7" fmla="*/ 95804 h 2890922"/>
              <a:gd name="connsiteX8" fmla="*/ 9485644 w 11731364"/>
              <a:gd name="connsiteY8" fmla="*/ 95804 h 2890922"/>
              <a:gd name="connsiteX9" fmla="*/ 9827288 w 11731364"/>
              <a:gd name="connsiteY9" fmla="*/ 65659 h 2890922"/>
              <a:gd name="connsiteX10" fmla="*/ 10671350 w 11731364"/>
              <a:gd name="connsiteY10" fmla="*/ 35514 h 2890922"/>
              <a:gd name="connsiteX11" fmla="*/ 11615895 w 11731364"/>
              <a:gd name="connsiteY11" fmla="*/ 55611 h 2890922"/>
              <a:gd name="connsiteX12" fmla="*/ 11686233 w 11731364"/>
              <a:gd name="connsiteY12" fmla="*/ 769044 h 2890922"/>
              <a:gd name="connsiteX13" fmla="*/ 11696282 w 11731364"/>
              <a:gd name="connsiteY13" fmla="*/ 2336587 h 2890922"/>
              <a:gd name="connsiteX14" fmla="*/ 11686233 w 11731364"/>
              <a:gd name="connsiteY14" fmla="*/ 2828956 h 2890922"/>
              <a:gd name="connsiteX15" fmla="*/ 10912510 w 11731364"/>
              <a:gd name="connsiteY15" fmla="*/ 2859101 h 2890922"/>
              <a:gd name="connsiteX16" fmla="*/ 10008159 w 11731364"/>
              <a:gd name="connsiteY16" fmla="*/ 2859101 h 2890922"/>
              <a:gd name="connsiteX17" fmla="*/ 9435402 w 11731364"/>
              <a:gd name="connsiteY17" fmla="*/ 2859101 h 2890922"/>
              <a:gd name="connsiteX18" fmla="*/ 7365442 w 11731364"/>
              <a:gd name="connsiteY18" fmla="*/ 2818908 h 2890922"/>
              <a:gd name="connsiteX19" fmla="*/ 6742444 w 11731364"/>
              <a:gd name="connsiteY19" fmla="*/ 2839004 h 2890922"/>
              <a:gd name="connsiteX20" fmla="*/ 6601767 w 11731364"/>
              <a:gd name="connsiteY20" fmla="*/ 2828956 h 2890922"/>
              <a:gd name="connsiteX21" fmla="*/ 4783016 w 11731364"/>
              <a:gd name="connsiteY21" fmla="*/ 2879198 h 2890922"/>
              <a:gd name="connsiteX22" fmla="*/ 3938954 w 11731364"/>
              <a:gd name="connsiteY22" fmla="*/ 2859101 h 2890922"/>
              <a:gd name="connsiteX23" fmla="*/ 2944167 w 11731364"/>
              <a:gd name="connsiteY23" fmla="*/ 2839004 h 2890922"/>
              <a:gd name="connsiteX24" fmla="*/ 1889090 w 11731364"/>
              <a:gd name="connsiteY24" fmla="*/ 2849053 h 2890922"/>
              <a:gd name="connsiteX25" fmla="*/ 522515 w 11731364"/>
              <a:gd name="connsiteY25" fmla="*/ 2869149 h 2890922"/>
              <a:gd name="connsiteX26" fmla="*/ 10048 w 11731364"/>
              <a:gd name="connsiteY26" fmla="*/ 2839005 h 2890922"/>
              <a:gd name="connsiteX0" fmla="*/ 0 w 11731364"/>
              <a:gd name="connsiteY0" fmla="*/ 36371 h 2871682"/>
              <a:gd name="connsiteX1" fmla="*/ 552660 w 11731364"/>
              <a:gd name="connsiteY1" fmla="*/ 16274 h 2871682"/>
              <a:gd name="connsiteX2" fmla="*/ 1637882 w 11731364"/>
              <a:gd name="connsiteY2" fmla="*/ 26322 h 2871682"/>
              <a:gd name="connsiteX3" fmla="*/ 2019719 w 11731364"/>
              <a:gd name="connsiteY3" fmla="*/ 26322 h 2871682"/>
              <a:gd name="connsiteX4" fmla="*/ 4531807 w 11731364"/>
              <a:gd name="connsiteY4" fmla="*/ 46419 h 2871682"/>
              <a:gd name="connsiteX5" fmla="*/ 6300317 w 11731364"/>
              <a:gd name="connsiteY5" fmla="*/ 76564 h 2871682"/>
              <a:gd name="connsiteX6" fmla="*/ 7063991 w 11731364"/>
              <a:gd name="connsiteY6" fmla="*/ 46419 h 2871682"/>
              <a:gd name="connsiteX7" fmla="*/ 8098972 w 11731364"/>
              <a:gd name="connsiteY7" fmla="*/ 76564 h 2871682"/>
              <a:gd name="connsiteX8" fmla="*/ 9485644 w 11731364"/>
              <a:gd name="connsiteY8" fmla="*/ 76564 h 2871682"/>
              <a:gd name="connsiteX9" fmla="*/ 9827288 w 11731364"/>
              <a:gd name="connsiteY9" fmla="*/ 46419 h 2871682"/>
              <a:gd name="connsiteX10" fmla="*/ 10671350 w 11731364"/>
              <a:gd name="connsiteY10" fmla="*/ 16274 h 2871682"/>
              <a:gd name="connsiteX11" fmla="*/ 11615895 w 11731364"/>
              <a:gd name="connsiteY11" fmla="*/ 66517 h 2871682"/>
              <a:gd name="connsiteX12" fmla="*/ 11686233 w 11731364"/>
              <a:gd name="connsiteY12" fmla="*/ 749804 h 2871682"/>
              <a:gd name="connsiteX13" fmla="*/ 11696282 w 11731364"/>
              <a:gd name="connsiteY13" fmla="*/ 2317347 h 2871682"/>
              <a:gd name="connsiteX14" fmla="*/ 11686233 w 11731364"/>
              <a:gd name="connsiteY14" fmla="*/ 2809716 h 2871682"/>
              <a:gd name="connsiteX15" fmla="*/ 10912510 w 11731364"/>
              <a:gd name="connsiteY15" fmla="*/ 2839861 h 2871682"/>
              <a:gd name="connsiteX16" fmla="*/ 10008159 w 11731364"/>
              <a:gd name="connsiteY16" fmla="*/ 2839861 h 2871682"/>
              <a:gd name="connsiteX17" fmla="*/ 9435402 w 11731364"/>
              <a:gd name="connsiteY17" fmla="*/ 2839861 h 2871682"/>
              <a:gd name="connsiteX18" fmla="*/ 7365442 w 11731364"/>
              <a:gd name="connsiteY18" fmla="*/ 2799668 h 2871682"/>
              <a:gd name="connsiteX19" fmla="*/ 6742444 w 11731364"/>
              <a:gd name="connsiteY19" fmla="*/ 2819764 h 2871682"/>
              <a:gd name="connsiteX20" fmla="*/ 6601767 w 11731364"/>
              <a:gd name="connsiteY20" fmla="*/ 2809716 h 2871682"/>
              <a:gd name="connsiteX21" fmla="*/ 4783016 w 11731364"/>
              <a:gd name="connsiteY21" fmla="*/ 2859958 h 2871682"/>
              <a:gd name="connsiteX22" fmla="*/ 3938954 w 11731364"/>
              <a:gd name="connsiteY22" fmla="*/ 2839861 h 2871682"/>
              <a:gd name="connsiteX23" fmla="*/ 2944167 w 11731364"/>
              <a:gd name="connsiteY23" fmla="*/ 2819764 h 2871682"/>
              <a:gd name="connsiteX24" fmla="*/ 1889090 w 11731364"/>
              <a:gd name="connsiteY24" fmla="*/ 2829813 h 2871682"/>
              <a:gd name="connsiteX25" fmla="*/ 522515 w 11731364"/>
              <a:gd name="connsiteY25" fmla="*/ 2849909 h 2871682"/>
              <a:gd name="connsiteX26" fmla="*/ 10048 w 11731364"/>
              <a:gd name="connsiteY26" fmla="*/ 2819765 h 2871682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522515 w 11731364"/>
              <a:gd name="connsiteY25" fmla="*/ 2853113 h 2874886"/>
              <a:gd name="connsiteX26" fmla="*/ 10048 w 11731364"/>
              <a:gd name="connsiteY26" fmla="*/ 2822969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522515 w 11731364"/>
              <a:gd name="connsiteY25" fmla="*/ 2853113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1311934 w 11731364"/>
              <a:gd name="connsiteY25" fmla="*/ 2812919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72846 w 11731364"/>
              <a:gd name="connsiteY25" fmla="*/ 2772725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22882 w 11731364"/>
              <a:gd name="connsiteY25" fmla="*/ 2843063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12890 w 11731364"/>
              <a:gd name="connsiteY25" fmla="*/ 2812918 h 2874886"/>
              <a:gd name="connsiteX0" fmla="*/ 0 w 11795893"/>
              <a:gd name="connsiteY0" fmla="*/ 28410 h 2863721"/>
              <a:gd name="connsiteX1" fmla="*/ 552660 w 11795893"/>
              <a:gd name="connsiteY1" fmla="*/ 8313 h 2863721"/>
              <a:gd name="connsiteX2" fmla="*/ 1637882 w 11795893"/>
              <a:gd name="connsiteY2" fmla="*/ 18361 h 2863721"/>
              <a:gd name="connsiteX3" fmla="*/ 2019719 w 11795893"/>
              <a:gd name="connsiteY3" fmla="*/ 18361 h 2863721"/>
              <a:gd name="connsiteX4" fmla="*/ 4531807 w 11795893"/>
              <a:gd name="connsiteY4" fmla="*/ 38458 h 2863721"/>
              <a:gd name="connsiteX5" fmla="*/ 6300317 w 11795893"/>
              <a:gd name="connsiteY5" fmla="*/ 68603 h 2863721"/>
              <a:gd name="connsiteX6" fmla="*/ 7063991 w 11795893"/>
              <a:gd name="connsiteY6" fmla="*/ 38458 h 2863721"/>
              <a:gd name="connsiteX7" fmla="*/ 8098972 w 11795893"/>
              <a:gd name="connsiteY7" fmla="*/ 68603 h 2863721"/>
              <a:gd name="connsiteX8" fmla="*/ 9485644 w 11795893"/>
              <a:gd name="connsiteY8" fmla="*/ 68603 h 2863721"/>
              <a:gd name="connsiteX9" fmla="*/ 9827288 w 11795893"/>
              <a:gd name="connsiteY9" fmla="*/ 38458 h 2863721"/>
              <a:gd name="connsiteX10" fmla="*/ 10671350 w 11795893"/>
              <a:gd name="connsiteY10" fmla="*/ 8313 h 2863721"/>
              <a:gd name="connsiteX11" fmla="*/ 11615895 w 11795893"/>
              <a:gd name="connsiteY11" fmla="*/ 58556 h 2863721"/>
              <a:gd name="connsiteX12" fmla="*/ 11686233 w 11795893"/>
              <a:gd name="connsiteY12" fmla="*/ 741843 h 2863721"/>
              <a:gd name="connsiteX13" fmla="*/ 11696282 w 11795893"/>
              <a:gd name="connsiteY13" fmla="*/ 2309386 h 2863721"/>
              <a:gd name="connsiteX14" fmla="*/ 11686233 w 11795893"/>
              <a:gd name="connsiteY14" fmla="*/ 2801755 h 2863721"/>
              <a:gd name="connsiteX15" fmla="*/ 10912510 w 11795893"/>
              <a:gd name="connsiteY15" fmla="*/ 2831900 h 2863721"/>
              <a:gd name="connsiteX16" fmla="*/ 10008159 w 11795893"/>
              <a:gd name="connsiteY16" fmla="*/ 2831900 h 2863721"/>
              <a:gd name="connsiteX17" fmla="*/ 9435402 w 11795893"/>
              <a:gd name="connsiteY17" fmla="*/ 2831900 h 2863721"/>
              <a:gd name="connsiteX18" fmla="*/ 7365442 w 11795893"/>
              <a:gd name="connsiteY18" fmla="*/ 2791707 h 2863721"/>
              <a:gd name="connsiteX19" fmla="*/ 6742444 w 11795893"/>
              <a:gd name="connsiteY19" fmla="*/ 2811803 h 2863721"/>
              <a:gd name="connsiteX20" fmla="*/ 6601767 w 11795893"/>
              <a:gd name="connsiteY20" fmla="*/ 2801755 h 2863721"/>
              <a:gd name="connsiteX21" fmla="*/ 4783016 w 11795893"/>
              <a:gd name="connsiteY21" fmla="*/ 2851997 h 2863721"/>
              <a:gd name="connsiteX22" fmla="*/ 3938954 w 11795893"/>
              <a:gd name="connsiteY22" fmla="*/ 2831900 h 2863721"/>
              <a:gd name="connsiteX23" fmla="*/ 2944167 w 11795893"/>
              <a:gd name="connsiteY23" fmla="*/ 2811803 h 2863721"/>
              <a:gd name="connsiteX24" fmla="*/ 1889090 w 11795893"/>
              <a:gd name="connsiteY24" fmla="*/ 2821852 h 2863721"/>
              <a:gd name="connsiteX25" fmla="*/ 12890 w 11795893"/>
              <a:gd name="connsiteY25" fmla="*/ 2801753 h 2863721"/>
              <a:gd name="connsiteX0" fmla="*/ 0 w 11731364"/>
              <a:gd name="connsiteY0" fmla="*/ 152690 h 2988001"/>
              <a:gd name="connsiteX1" fmla="*/ 552660 w 11731364"/>
              <a:gd name="connsiteY1" fmla="*/ 132593 h 2988001"/>
              <a:gd name="connsiteX2" fmla="*/ 1637882 w 11731364"/>
              <a:gd name="connsiteY2" fmla="*/ 142641 h 2988001"/>
              <a:gd name="connsiteX3" fmla="*/ 2019719 w 11731364"/>
              <a:gd name="connsiteY3" fmla="*/ 142641 h 2988001"/>
              <a:gd name="connsiteX4" fmla="*/ 4531807 w 11731364"/>
              <a:gd name="connsiteY4" fmla="*/ 162738 h 2988001"/>
              <a:gd name="connsiteX5" fmla="*/ 6300317 w 11731364"/>
              <a:gd name="connsiteY5" fmla="*/ 192883 h 2988001"/>
              <a:gd name="connsiteX6" fmla="*/ 7063991 w 11731364"/>
              <a:gd name="connsiteY6" fmla="*/ 162738 h 2988001"/>
              <a:gd name="connsiteX7" fmla="*/ 8098972 w 11731364"/>
              <a:gd name="connsiteY7" fmla="*/ 192883 h 2988001"/>
              <a:gd name="connsiteX8" fmla="*/ 9485644 w 11731364"/>
              <a:gd name="connsiteY8" fmla="*/ 192883 h 2988001"/>
              <a:gd name="connsiteX9" fmla="*/ 9827288 w 11731364"/>
              <a:gd name="connsiteY9" fmla="*/ 162738 h 2988001"/>
              <a:gd name="connsiteX10" fmla="*/ 10671350 w 11731364"/>
              <a:gd name="connsiteY10" fmla="*/ 132593 h 2988001"/>
              <a:gd name="connsiteX11" fmla="*/ 11615895 w 11731364"/>
              <a:gd name="connsiteY11" fmla="*/ 182836 h 2988001"/>
              <a:gd name="connsiteX12" fmla="*/ 11696282 w 11731364"/>
              <a:gd name="connsiteY12" fmla="*/ 2433666 h 2988001"/>
              <a:gd name="connsiteX13" fmla="*/ 11686233 w 11731364"/>
              <a:gd name="connsiteY13" fmla="*/ 2926035 h 2988001"/>
              <a:gd name="connsiteX14" fmla="*/ 10912510 w 11731364"/>
              <a:gd name="connsiteY14" fmla="*/ 2956180 h 2988001"/>
              <a:gd name="connsiteX15" fmla="*/ 10008159 w 11731364"/>
              <a:gd name="connsiteY15" fmla="*/ 2956180 h 2988001"/>
              <a:gd name="connsiteX16" fmla="*/ 9435402 w 11731364"/>
              <a:gd name="connsiteY16" fmla="*/ 2956180 h 2988001"/>
              <a:gd name="connsiteX17" fmla="*/ 7365442 w 11731364"/>
              <a:gd name="connsiteY17" fmla="*/ 2915987 h 2988001"/>
              <a:gd name="connsiteX18" fmla="*/ 6742444 w 11731364"/>
              <a:gd name="connsiteY18" fmla="*/ 2936083 h 2988001"/>
              <a:gd name="connsiteX19" fmla="*/ 6601767 w 11731364"/>
              <a:gd name="connsiteY19" fmla="*/ 2926035 h 2988001"/>
              <a:gd name="connsiteX20" fmla="*/ 4783016 w 11731364"/>
              <a:gd name="connsiteY20" fmla="*/ 2976277 h 2988001"/>
              <a:gd name="connsiteX21" fmla="*/ 3938954 w 11731364"/>
              <a:gd name="connsiteY21" fmla="*/ 2956180 h 2988001"/>
              <a:gd name="connsiteX22" fmla="*/ 2944167 w 11731364"/>
              <a:gd name="connsiteY22" fmla="*/ 2936083 h 2988001"/>
              <a:gd name="connsiteX23" fmla="*/ 1889090 w 11731364"/>
              <a:gd name="connsiteY23" fmla="*/ 2946132 h 2988001"/>
              <a:gd name="connsiteX24" fmla="*/ 12890 w 11731364"/>
              <a:gd name="connsiteY24" fmla="*/ 2926033 h 2988001"/>
              <a:gd name="connsiteX0" fmla="*/ 0 w 11761041"/>
              <a:gd name="connsiteY0" fmla="*/ 189003 h 3175501"/>
              <a:gd name="connsiteX1" fmla="*/ 552660 w 11761041"/>
              <a:gd name="connsiteY1" fmla="*/ 168906 h 3175501"/>
              <a:gd name="connsiteX2" fmla="*/ 1637882 w 11761041"/>
              <a:gd name="connsiteY2" fmla="*/ 178954 h 3175501"/>
              <a:gd name="connsiteX3" fmla="*/ 2019719 w 11761041"/>
              <a:gd name="connsiteY3" fmla="*/ 178954 h 3175501"/>
              <a:gd name="connsiteX4" fmla="*/ 4531807 w 11761041"/>
              <a:gd name="connsiteY4" fmla="*/ 199051 h 3175501"/>
              <a:gd name="connsiteX5" fmla="*/ 6300317 w 11761041"/>
              <a:gd name="connsiteY5" fmla="*/ 229196 h 3175501"/>
              <a:gd name="connsiteX6" fmla="*/ 7063991 w 11761041"/>
              <a:gd name="connsiteY6" fmla="*/ 199051 h 3175501"/>
              <a:gd name="connsiteX7" fmla="*/ 8098972 w 11761041"/>
              <a:gd name="connsiteY7" fmla="*/ 229196 h 3175501"/>
              <a:gd name="connsiteX8" fmla="*/ 9485644 w 11761041"/>
              <a:gd name="connsiteY8" fmla="*/ 229196 h 3175501"/>
              <a:gd name="connsiteX9" fmla="*/ 9827288 w 11761041"/>
              <a:gd name="connsiteY9" fmla="*/ 199051 h 3175501"/>
              <a:gd name="connsiteX10" fmla="*/ 10671350 w 11761041"/>
              <a:gd name="connsiteY10" fmla="*/ 168906 h 3175501"/>
              <a:gd name="connsiteX11" fmla="*/ 11615895 w 11761041"/>
              <a:gd name="connsiteY11" fmla="*/ 219149 h 3175501"/>
              <a:gd name="connsiteX12" fmla="*/ 11686233 w 11761041"/>
              <a:gd name="connsiteY12" fmla="*/ 2962348 h 3175501"/>
              <a:gd name="connsiteX13" fmla="*/ 10912510 w 11761041"/>
              <a:gd name="connsiteY13" fmla="*/ 2992493 h 3175501"/>
              <a:gd name="connsiteX14" fmla="*/ 10008159 w 11761041"/>
              <a:gd name="connsiteY14" fmla="*/ 2992493 h 3175501"/>
              <a:gd name="connsiteX15" fmla="*/ 9435402 w 11761041"/>
              <a:gd name="connsiteY15" fmla="*/ 2992493 h 3175501"/>
              <a:gd name="connsiteX16" fmla="*/ 7365442 w 11761041"/>
              <a:gd name="connsiteY16" fmla="*/ 2952300 h 3175501"/>
              <a:gd name="connsiteX17" fmla="*/ 6742444 w 11761041"/>
              <a:gd name="connsiteY17" fmla="*/ 2972396 h 3175501"/>
              <a:gd name="connsiteX18" fmla="*/ 6601767 w 11761041"/>
              <a:gd name="connsiteY18" fmla="*/ 2962348 h 3175501"/>
              <a:gd name="connsiteX19" fmla="*/ 4783016 w 11761041"/>
              <a:gd name="connsiteY19" fmla="*/ 3012590 h 3175501"/>
              <a:gd name="connsiteX20" fmla="*/ 3938954 w 11761041"/>
              <a:gd name="connsiteY20" fmla="*/ 2992493 h 3175501"/>
              <a:gd name="connsiteX21" fmla="*/ 2944167 w 11761041"/>
              <a:gd name="connsiteY21" fmla="*/ 2972396 h 3175501"/>
              <a:gd name="connsiteX22" fmla="*/ 1889090 w 11761041"/>
              <a:gd name="connsiteY22" fmla="*/ 2982445 h 3175501"/>
              <a:gd name="connsiteX23" fmla="*/ 12890 w 11761041"/>
              <a:gd name="connsiteY23" fmla="*/ 2962346 h 3175501"/>
              <a:gd name="connsiteX0" fmla="*/ 0 w 11837985"/>
              <a:gd name="connsiteY0" fmla="*/ 32082 h 2997028"/>
              <a:gd name="connsiteX1" fmla="*/ 552660 w 11837985"/>
              <a:gd name="connsiteY1" fmla="*/ 11985 h 2997028"/>
              <a:gd name="connsiteX2" fmla="*/ 1637882 w 11837985"/>
              <a:gd name="connsiteY2" fmla="*/ 22033 h 2997028"/>
              <a:gd name="connsiteX3" fmla="*/ 2019719 w 11837985"/>
              <a:gd name="connsiteY3" fmla="*/ 22033 h 2997028"/>
              <a:gd name="connsiteX4" fmla="*/ 4531807 w 11837985"/>
              <a:gd name="connsiteY4" fmla="*/ 42130 h 2997028"/>
              <a:gd name="connsiteX5" fmla="*/ 6300317 w 11837985"/>
              <a:gd name="connsiteY5" fmla="*/ 72275 h 2997028"/>
              <a:gd name="connsiteX6" fmla="*/ 7063991 w 11837985"/>
              <a:gd name="connsiteY6" fmla="*/ 42130 h 2997028"/>
              <a:gd name="connsiteX7" fmla="*/ 8098972 w 11837985"/>
              <a:gd name="connsiteY7" fmla="*/ 72275 h 2997028"/>
              <a:gd name="connsiteX8" fmla="*/ 9485644 w 11837985"/>
              <a:gd name="connsiteY8" fmla="*/ 72275 h 2997028"/>
              <a:gd name="connsiteX9" fmla="*/ 9827288 w 11837985"/>
              <a:gd name="connsiteY9" fmla="*/ 42130 h 2997028"/>
              <a:gd name="connsiteX10" fmla="*/ 10671350 w 11837985"/>
              <a:gd name="connsiteY10" fmla="*/ 11985 h 2997028"/>
              <a:gd name="connsiteX11" fmla="*/ 11745799 w 11837985"/>
              <a:gd name="connsiteY11" fmla="*/ 353631 h 2997028"/>
              <a:gd name="connsiteX12" fmla="*/ 11686233 w 11837985"/>
              <a:gd name="connsiteY12" fmla="*/ 2805427 h 2997028"/>
              <a:gd name="connsiteX13" fmla="*/ 10912510 w 11837985"/>
              <a:gd name="connsiteY13" fmla="*/ 2835572 h 2997028"/>
              <a:gd name="connsiteX14" fmla="*/ 10008159 w 11837985"/>
              <a:gd name="connsiteY14" fmla="*/ 2835572 h 2997028"/>
              <a:gd name="connsiteX15" fmla="*/ 9435402 w 11837985"/>
              <a:gd name="connsiteY15" fmla="*/ 2835572 h 2997028"/>
              <a:gd name="connsiteX16" fmla="*/ 7365442 w 11837985"/>
              <a:gd name="connsiteY16" fmla="*/ 2795379 h 2997028"/>
              <a:gd name="connsiteX17" fmla="*/ 6742444 w 11837985"/>
              <a:gd name="connsiteY17" fmla="*/ 2815475 h 2997028"/>
              <a:gd name="connsiteX18" fmla="*/ 6601767 w 11837985"/>
              <a:gd name="connsiteY18" fmla="*/ 2805427 h 2997028"/>
              <a:gd name="connsiteX19" fmla="*/ 4783016 w 11837985"/>
              <a:gd name="connsiteY19" fmla="*/ 2855669 h 2997028"/>
              <a:gd name="connsiteX20" fmla="*/ 3938954 w 11837985"/>
              <a:gd name="connsiteY20" fmla="*/ 2835572 h 2997028"/>
              <a:gd name="connsiteX21" fmla="*/ 2944167 w 11837985"/>
              <a:gd name="connsiteY21" fmla="*/ 2815475 h 2997028"/>
              <a:gd name="connsiteX22" fmla="*/ 1889090 w 11837985"/>
              <a:gd name="connsiteY22" fmla="*/ 2825524 h 2997028"/>
              <a:gd name="connsiteX23" fmla="*/ 12890 w 11837985"/>
              <a:gd name="connsiteY23" fmla="*/ 2805425 h 2997028"/>
              <a:gd name="connsiteX0" fmla="*/ 0 w 11890507"/>
              <a:gd name="connsiteY0" fmla="*/ 20097 h 2985043"/>
              <a:gd name="connsiteX1" fmla="*/ 552660 w 11890507"/>
              <a:gd name="connsiteY1" fmla="*/ 0 h 2985043"/>
              <a:gd name="connsiteX2" fmla="*/ 1637882 w 11890507"/>
              <a:gd name="connsiteY2" fmla="*/ 10048 h 2985043"/>
              <a:gd name="connsiteX3" fmla="*/ 2019719 w 11890507"/>
              <a:gd name="connsiteY3" fmla="*/ 10048 h 2985043"/>
              <a:gd name="connsiteX4" fmla="*/ 4531807 w 11890507"/>
              <a:gd name="connsiteY4" fmla="*/ 30145 h 2985043"/>
              <a:gd name="connsiteX5" fmla="*/ 6300317 w 11890507"/>
              <a:gd name="connsiteY5" fmla="*/ 60290 h 2985043"/>
              <a:gd name="connsiteX6" fmla="*/ 7063991 w 11890507"/>
              <a:gd name="connsiteY6" fmla="*/ 30145 h 2985043"/>
              <a:gd name="connsiteX7" fmla="*/ 8098972 w 11890507"/>
              <a:gd name="connsiteY7" fmla="*/ 60290 h 2985043"/>
              <a:gd name="connsiteX8" fmla="*/ 9485644 w 11890507"/>
              <a:gd name="connsiteY8" fmla="*/ 60290 h 2985043"/>
              <a:gd name="connsiteX9" fmla="*/ 9827288 w 11890507"/>
              <a:gd name="connsiteY9" fmla="*/ 30145 h 2985043"/>
              <a:gd name="connsiteX10" fmla="*/ 10671350 w 11890507"/>
              <a:gd name="connsiteY10" fmla="*/ 0 h 2985043"/>
              <a:gd name="connsiteX11" fmla="*/ 11745799 w 11890507"/>
              <a:gd name="connsiteY11" fmla="*/ 341646 h 2985043"/>
              <a:gd name="connsiteX12" fmla="*/ 11686233 w 11890507"/>
              <a:gd name="connsiteY12" fmla="*/ 2793442 h 2985043"/>
              <a:gd name="connsiteX13" fmla="*/ 10912510 w 11890507"/>
              <a:gd name="connsiteY13" fmla="*/ 2823587 h 2985043"/>
              <a:gd name="connsiteX14" fmla="*/ 10008159 w 11890507"/>
              <a:gd name="connsiteY14" fmla="*/ 2823587 h 2985043"/>
              <a:gd name="connsiteX15" fmla="*/ 9435402 w 11890507"/>
              <a:gd name="connsiteY15" fmla="*/ 2823587 h 2985043"/>
              <a:gd name="connsiteX16" fmla="*/ 7365442 w 11890507"/>
              <a:gd name="connsiteY16" fmla="*/ 2783394 h 2985043"/>
              <a:gd name="connsiteX17" fmla="*/ 6742444 w 11890507"/>
              <a:gd name="connsiteY17" fmla="*/ 2803490 h 2985043"/>
              <a:gd name="connsiteX18" fmla="*/ 6601767 w 11890507"/>
              <a:gd name="connsiteY18" fmla="*/ 2793442 h 2985043"/>
              <a:gd name="connsiteX19" fmla="*/ 4783016 w 11890507"/>
              <a:gd name="connsiteY19" fmla="*/ 2843684 h 2985043"/>
              <a:gd name="connsiteX20" fmla="*/ 3938954 w 11890507"/>
              <a:gd name="connsiteY20" fmla="*/ 2823587 h 2985043"/>
              <a:gd name="connsiteX21" fmla="*/ 2944167 w 11890507"/>
              <a:gd name="connsiteY21" fmla="*/ 2803490 h 2985043"/>
              <a:gd name="connsiteX22" fmla="*/ 1889090 w 11890507"/>
              <a:gd name="connsiteY22" fmla="*/ 2813539 h 2985043"/>
              <a:gd name="connsiteX23" fmla="*/ 12890 w 11890507"/>
              <a:gd name="connsiteY23" fmla="*/ 2793440 h 2985043"/>
              <a:gd name="connsiteX0" fmla="*/ 0 w 11888066"/>
              <a:gd name="connsiteY0" fmla="*/ 24726 h 2863208"/>
              <a:gd name="connsiteX1" fmla="*/ 552660 w 11888066"/>
              <a:gd name="connsiteY1" fmla="*/ 4629 h 2863208"/>
              <a:gd name="connsiteX2" fmla="*/ 1637882 w 11888066"/>
              <a:gd name="connsiteY2" fmla="*/ 14677 h 2863208"/>
              <a:gd name="connsiteX3" fmla="*/ 2019719 w 11888066"/>
              <a:gd name="connsiteY3" fmla="*/ 14677 h 2863208"/>
              <a:gd name="connsiteX4" fmla="*/ 4531807 w 11888066"/>
              <a:gd name="connsiteY4" fmla="*/ 34774 h 2863208"/>
              <a:gd name="connsiteX5" fmla="*/ 6300317 w 11888066"/>
              <a:gd name="connsiteY5" fmla="*/ 64919 h 2863208"/>
              <a:gd name="connsiteX6" fmla="*/ 7063991 w 11888066"/>
              <a:gd name="connsiteY6" fmla="*/ 34774 h 2863208"/>
              <a:gd name="connsiteX7" fmla="*/ 8098972 w 11888066"/>
              <a:gd name="connsiteY7" fmla="*/ 64919 h 2863208"/>
              <a:gd name="connsiteX8" fmla="*/ 9485644 w 11888066"/>
              <a:gd name="connsiteY8" fmla="*/ 64919 h 2863208"/>
              <a:gd name="connsiteX9" fmla="*/ 9827288 w 11888066"/>
              <a:gd name="connsiteY9" fmla="*/ 34774 h 2863208"/>
              <a:gd name="connsiteX10" fmla="*/ 10671350 w 11888066"/>
              <a:gd name="connsiteY10" fmla="*/ 4629 h 2863208"/>
              <a:gd name="connsiteX11" fmla="*/ 11745799 w 11888066"/>
              <a:gd name="connsiteY11" fmla="*/ 346275 h 2863208"/>
              <a:gd name="connsiteX12" fmla="*/ 11786160 w 11888066"/>
              <a:gd name="connsiteY12" fmla="*/ 2587055 h 2863208"/>
              <a:gd name="connsiteX13" fmla="*/ 10912510 w 11888066"/>
              <a:gd name="connsiteY13" fmla="*/ 2828216 h 2863208"/>
              <a:gd name="connsiteX14" fmla="*/ 10008159 w 11888066"/>
              <a:gd name="connsiteY14" fmla="*/ 2828216 h 2863208"/>
              <a:gd name="connsiteX15" fmla="*/ 9435402 w 11888066"/>
              <a:gd name="connsiteY15" fmla="*/ 2828216 h 2863208"/>
              <a:gd name="connsiteX16" fmla="*/ 7365442 w 11888066"/>
              <a:gd name="connsiteY16" fmla="*/ 2788023 h 2863208"/>
              <a:gd name="connsiteX17" fmla="*/ 6742444 w 11888066"/>
              <a:gd name="connsiteY17" fmla="*/ 2808119 h 2863208"/>
              <a:gd name="connsiteX18" fmla="*/ 6601767 w 11888066"/>
              <a:gd name="connsiteY18" fmla="*/ 2798071 h 2863208"/>
              <a:gd name="connsiteX19" fmla="*/ 4783016 w 11888066"/>
              <a:gd name="connsiteY19" fmla="*/ 2848313 h 2863208"/>
              <a:gd name="connsiteX20" fmla="*/ 3938954 w 11888066"/>
              <a:gd name="connsiteY20" fmla="*/ 2828216 h 2863208"/>
              <a:gd name="connsiteX21" fmla="*/ 2944167 w 11888066"/>
              <a:gd name="connsiteY21" fmla="*/ 2808119 h 2863208"/>
              <a:gd name="connsiteX22" fmla="*/ 1889090 w 11888066"/>
              <a:gd name="connsiteY22" fmla="*/ 2818168 h 2863208"/>
              <a:gd name="connsiteX23" fmla="*/ 12890 w 11888066"/>
              <a:gd name="connsiteY23" fmla="*/ 2798069 h 2863208"/>
              <a:gd name="connsiteX0" fmla="*/ 0 w 11848891"/>
              <a:gd name="connsiteY0" fmla="*/ 24726 h 2849235"/>
              <a:gd name="connsiteX1" fmla="*/ 552660 w 11848891"/>
              <a:gd name="connsiteY1" fmla="*/ 4629 h 2849235"/>
              <a:gd name="connsiteX2" fmla="*/ 1637882 w 11848891"/>
              <a:gd name="connsiteY2" fmla="*/ 14677 h 2849235"/>
              <a:gd name="connsiteX3" fmla="*/ 2019719 w 11848891"/>
              <a:gd name="connsiteY3" fmla="*/ 14677 h 2849235"/>
              <a:gd name="connsiteX4" fmla="*/ 4531807 w 11848891"/>
              <a:gd name="connsiteY4" fmla="*/ 34774 h 2849235"/>
              <a:gd name="connsiteX5" fmla="*/ 6300317 w 11848891"/>
              <a:gd name="connsiteY5" fmla="*/ 64919 h 2849235"/>
              <a:gd name="connsiteX6" fmla="*/ 7063991 w 11848891"/>
              <a:gd name="connsiteY6" fmla="*/ 34774 h 2849235"/>
              <a:gd name="connsiteX7" fmla="*/ 8098972 w 11848891"/>
              <a:gd name="connsiteY7" fmla="*/ 64919 h 2849235"/>
              <a:gd name="connsiteX8" fmla="*/ 9485644 w 11848891"/>
              <a:gd name="connsiteY8" fmla="*/ 64919 h 2849235"/>
              <a:gd name="connsiteX9" fmla="*/ 9827288 w 11848891"/>
              <a:gd name="connsiteY9" fmla="*/ 34774 h 2849235"/>
              <a:gd name="connsiteX10" fmla="*/ 10671350 w 11848891"/>
              <a:gd name="connsiteY10" fmla="*/ 4629 h 2849235"/>
              <a:gd name="connsiteX11" fmla="*/ 11745799 w 11848891"/>
              <a:gd name="connsiteY11" fmla="*/ 346275 h 2849235"/>
              <a:gd name="connsiteX12" fmla="*/ 11786160 w 11848891"/>
              <a:gd name="connsiteY12" fmla="*/ 2587055 h 2849235"/>
              <a:gd name="connsiteX13" fmla="*/ 10912510 w 11848891"/>
              <a:gd name="connsiteY13" fmla="*/ 2828216 h 2849235"/>
              <a:gd name="connsiteX14" fmla="*/ 10008159 w 11848891"/>
              <a:gd name="connsiteY14" fmla="*/ 2828216 h 2849235"/>
              <a:gd name="connsiteX15" fmla="*/ 9435402 w 11848891"/>
              <a:gd name="connsiteY15" fmla="*/ 2828216 h 2849235"/>
              <a:gd name="connsiteX16" fmla="*/ 7365442 w 11848891"/>
              <a:gd name="connsiteY16" fmla="*/ 2788023 h 2849235"/>
              <a:gd name="connsiteX17" fmla="*/ 6742444 w 11848891"/>
              <a:gd name="connsiteY17" fmla="*/ 2808119 h 2849235"/>
              <a:gd name="connsiteX18" fmla="*/ 6601767 w 11848891"/>
              <a:gd name="connsiteY18" fmla="*/ 2798071 h 2849235"/>
              <a:gd name="connsiteX19" fmla="*/ 4783016 w 11848891"/>
              <a:gd name="connsiteY19" fmla="*/ 2848313 h 2849235"/>
              <a:gd name="connsiteX20" fmla="*/ 3938954 w 11848891"/>
              <a:gd name="connsiteY20" fmla="*/ 2828216 h 2849235"/>
              <a:gd name="connsiteX21" fmla="*/ 2944167 w 11848891"/>
              <a:gd name="connsiteY21" fmla="*/ 2808119 h 2849235"/>
              <a:gd name="connsiteX22" fmla="*/ 1889090 w 11848891"/>
              <a:gd name="connsiteY22" fmla="*/ 2818168 h 2849235"/>
              <a:gd name="connsiteX23" fmla="*/ 12890 w 11848891"/>
              <a:gd name="connsiteY23" fmla="*/ 2798069 h 2849235"/>
              <a:gd name="connsiteX0" fmla="*/ 0 w 11916572"/>
              <a:gd name="connsiteY0" fmla="*/ 24726 h 2849235"/>
              <a:gd name="connsiteX1" fmla="*/ 552660 w 11916572"/>
              <a:gd name="connsiteY1" fmla="*/ 4629 h 2849235"/>
              <a:gd name="connsiteX2" fmla="*/ 1637882 w 11916572"/>
              <a:gd name="connsiteY2" fmla="*/ 14677 h 2849235"/>
              <a:gd name="connsiteX3" fmla="*/ 2019719 w 11916572"/>
              <a:gd name="connsiteY3" fmla="*/ 14677 h 2849235"/>
              <a:gd name="connsiteX4" fmla="*/ 4531807 w 11916572"/>
              <a:gd name="connsiteY4" fmla="*/ 34774 h 2849235"/>
              <a:gd name="connsiteX5" fmla="*/ 6300317 w 11916572"/>
              <a:gd name="connsiteY5" fmla="*/ 64919 h 2849235"/>
              <a:gd name="connsiteX6" fmla="*/ 7063991 w 11916572"/>
              <a:gd name="connsiteY6" fmla="*/ 34774 h 2849235"/>
              <a:gd name="connsiteX7" fmla="*/ 8098972 w 11916572"/>
              <a:gd name="connsiteY7" fmla="*/ 64919 h 2849235"/>
              <a:gd name="connsiteX8" fmla="*/ 9485644 w 11916572"/>
              <a:gd name="connsiteY8" fmla="*/ 64919 h 2849235"/>
              <a:gd name="connsiteX9" fmla="*/ 9827288 w 11916572"/>
              <a:gd name="connsiteY9" fmla="*/ 34774 h 2849235"/>
              <a:gd name="connsiteX10" fmla="*/ 10671350 w 11916572"/>
              <a:gd name="connsiteY10" fmla="*/ 4629 h 2849235"/>
              <a:gd name="connsiteX11" fmla="*/ 11745799 w 11916572"/>
              <a:gd name="connsiteY11" fmla="*/ 346275 h 2849235"/>
              <a:gd name="connsiteX12" fmla="*/ 11786160 w 11916572"/>
              <a:gd name="connsiteY12" fmla="*/ 2587055 h 2849235"/>
              <a:gd name="connsiteX13" fmla="*/ 10912510 w 11916572"/>
              <a:gd name="connsiteY13" fmla="*/ 2828216 h 2849235"/>
              <a:gd name="connsiteX14" fmla="*/ 10008159 w 11916572"/>
              <a:gd name="connsiteY14" fmla="*/ 2828216 h 2849235"/>
              <a:gd name="connsiteX15" fmla="*/ 9435402 w 11916572"/>
              <a:gd name="connsiteY15" fmla="*/ 2828216 h 2849235"/>
              <a:gd name="connsiteX16" fmla="*/ 7365442 w 11916572"/>
              <a:gd name="connsiteY16" fmla="*/ 2788023 h 2849235"/>
              <a:gd name="connsiteX17" fmla="*/ 6742444 w 11916572"/>
              <a:gd name="connsiteY17" fmla="*/ 2808119 h 2849235"/>
              <a:gd name="connsiteX18" fmla="*/ 6601767 w 11916572"/>
              <a:gd name="connsiteY18" fmla="*/ 2798071 h 2849235"/>
              <a:gd name="connsiteX19" fmla="*/ 4783016 w 11916572"/>
              <a:gd name="connsiteY19" fmla="*/ 2848313 h 2849235"/>
              <a:gd name="connsiteX20" fmla="*/ 3938954 w 11916572"/>
              <a:gd name="connsiteY20" fmla="*/ 2828216 h 2849235"/>
              <a:gd name="connsiteX21" fmla="*/ 2944167 w 11916572"/>
              <a:gd name="connsiteY21" fmla="*/ 2808119 h 2849235"/>
              <a:gd name="connsiteX22" fmla="*/ 1889090 w 11916572"/>
              <a:gd name="connsiteY22" fmla="*/ 2818168 h 2849235"/>
              <a:gd name="connsiteX23" fmla="*/ 12890 w 11916572"/>
              <a:gd name="connsiteY23" fmla="*/ 2798069 h 2849235"/>
              <a:gd name="connsiteX0" fmla="*/ 0 w 11936930"/>
              <a:gd name="connsiteY0" fmla="*/ 24726 h 2849235"/>
              <a:gd name="connsiteX1" fmla="*/ 552660 w 11936930"/>
              <a:gd name="connsiteY1" fmla="*/ 4629 h 2849235"/>
              <a:gd name="connsiteX2" fmla="*/ 1637882 w 11936930"/>
              <a:gd name="connsiteY2" fmla="*/ 14677 h 2849235"/>
              <a:gd name="connsiteX3" fmla="*/ 2019719 w 11936930"/>
              <a:gd name="connsiteY3" fmla="*/ 14677 h 2849235"/>
              <a:gd name="connsiteX4" fmla="*/ 4531807 w 11936930"/>
              <a:gd name="connsiteY4" fmla="*/ 34774 h 2849235"/>
              <a:gd name="connsiteX5" fmla="*/ 6300317 w 11936930"/>
              <a:gd name="connsiteY5" fmla="*/ 64919 h 2849235"/>
              <a:gd name="connsiteX6" fmla="*/ 7063991 w 11936930"/>
              <a:gd name="connsiteY6" fmla="*/ 34774 h 2849235"/>
              <a:gd name="connsiteX7" fmla="*/ 8098972 w 11936930"/>
              <a:gd name="connsiteY7" fmla="*/ 64919 h 2849235"/>
              <a:gd name="connsiteX8" fmla="*/ 9485644 w 11936930"/>
              <a:gd name="connsiteY8" fmla="*/ 64919 h 2849235"/>
              <a:gd name="connsiteX9" fmla="*/ 9827288 w 11936930"/>
              <a:gd name="connsiteY9" fmla="*/ 34774 h 2849235"/>
              <a:gd name="connsiteX10" fmla="*/ 10311615 w 11936930"/>
              <a:gd name="connsiteY10" fmla="*/ 4629 h 2849235"/>
              <a:gd name="connsiteX11" fmla="*/ 11745799 w 11936930"/>
              <a:gd name="connsiteY11" fmla="*/ 346275 h 2849235"/>
              <a:gd name="connsiteX12" fmla="*/ 11786160 w 11936930"/>
              <a:gd name="connsiteY12" fmla="*/ 2587055 h 2849235"/>
              <a:gd name="connsiteX13" fmla="*/ 10912510 w 11936930"/>
              <a:gd name="connsiteY13" fmla="*/ 2828216 h 2849235"/>
              <a:gd name="connsiteX14" fmla="*/ 10008159 w 11936930"/>
              <a:gd name="connsiteY14" fmla="*/ 2828216 h 2849235"/>
              <a:gd name="connsiteX15" fmla="*/ 9435402 w 11936930"/>
              <a:gd name="connsiteY15" fmla="*/ 2828216 h 2849235"/>
              <a:gd name="connsiteX16" fmla="*/ 7365442 w 11936930"/>
              <a:gd name="connsiteY16" fmla="*/ 2788023 h 2849235"/>
              <a:gd name="connsiteX17" fmla="*/ 6742444 w 11936930"/>
              <a:gd name="connsiteY17" fmla="*/ 2808119 h 2849235"/>
              <a:gd name="connsiteX18" fmla="*/ 6601767 w 11936930"/>
              <a:gd name="connsiteY18" fmla="*/ 2798071 h 2849235"/>
              <a:gd name="connsiteX19" fmla="*/ 4783016 w 11936930"/>
              <a:gd name="connsiteY19" fmla="*/ 2848313 h 2849235"/>
              <a:gd name="connsiteX20" fmla="*/ 3938954 w 11936930"/>
              <a:gd name="connsiteY20" fmla="*/ 2828216 h 2849235"/>
              <a:gd name="connsiteX21" fmla="*/ 2944167 w 11936930"/>
              <a:gd name="connsiteY21" fmla="*/ 2808119 h 2849235"/>
              <a:gd name="connsiteX22" fmla="*/ 1889090 w 11936930"/>
              <a:gd name="connsiteY22" fmla="*/ 2818168 h 2849235"/>
              <a:gd name="connsiteX23" fmla="*/ 12890 w 11936930"/>
              <a:gd name="connsiteY23" fmla="*/ 2798069 h 2849235"/>
              <a:gd name="connsiteX0" fmla="*/ 0 w 11936930"/>
              <a:gd name="connsiteY0" fmla="*/ 24726 h 2849235"/>
              <a:gd name="connsiteX1" fmla="*/ 552660 w 11936930"/>
              <a:gd name="connsiteY1" fmla="*/ 4629 h 2849235"/>
              <a:gd name="connsiteX2" fmla="*/ 1637882 w 11936930"/>
              <a:gd name="connsiteY2" fmla="*/ 14677 h 2849235"/>
              <a:gd name="connsiteX3" fmla="*/ 2019719 w 11936930"/>
              <a:gd name="connsiteY3" fmla="*/ 14677 h 2849235"/>
              <a:gd name="connsiteX4" fmla="*/ 4531807 w 11936930"/>
              <a:gd name="connsiteY4" fmla="*/ 34774 h 2849235"/>
              <a:gd name="connsiteX5" fmla="*/ 6300317 w 11936930"/>
              <a:gd name="connsiteY5" fmla="*/ 64919 h 2849235"/>
              <a:gd name="connsiteX6" fmla="*/ 7063991 w 11936930"/>
              <a:gd name="connsiteY6" fmla="*/ 34774 h 2849235"/>
              <a:gd name="connsiteX7" fmla="*/ 8098972 w 11936930"/>
              <a:gd name="connsiteY7" fmla="*/ 64919 h 2849235"/>
              <a:gd name="connsiteX8" fmla="*/ 9485644 w 11936930"/>
              <a:gd name="connsiteY8" fmla="*/ 64919 h 2849235"/>
              <a:gd name="connsiteX9" fmla="*/ 10311615 w 11936930"/>
              <a:gd name="connsiteY9" fmla="*/ 4629 h 2849235"/>
              <a:gd name="connsiteX10" fmla="*/ 11745799 w 11936930"/>
              <a:gd name="connsiteY10" fmla="*/ 346275 h 2849235"/>
              <a:gd name="connsiteX11" fmla="*/ 11786160 w 11936930"/>
              <a:gd name="connsiteY11" fmla="*/ 2587055 h 2849235"/>
              <a:gd name="connsiteX12" fmla="*/ 10912510 w 11936930"/>
              <a:gd name="connsiteY12" fmla="*/ 2828216 h 2849235"/>
              <a:gd name="connsiteX13" fmla="*/ 10008159 w 11936930"/>
              <a:gd name="connsiteY13" fmla="*/ 2828216 h 2849235"/>
              <a:gd name="connsiteX14" fmla="*/ 9435402 w 11936930"/>
              <a:gd name="connsiteY14" fmla="*/ 2828216 h 2849235"/>
              <a:gd name="connsiteX15" fmla="*/ 7365442 w 11936930"/>
              <a:gd name="connsiteY15" fmla="*/ 2788023 h 2849235"/>
              <a:gd name="connsiteX16" fmla="*/ 6742444 w 11936930"/>
              <a:gd name="connsiteY16" fmla="*/ 2808119 h 2849235"/>
              <a:gd name="connsiteX17" fmla="*/ 6601767 w 11936930"/>
              <a:gd name="connsiteY17" fmla="*/ 2798071 h 2849235"/>
              <a:gd name="connsiteX18" fmla="*/ 4783016 w 11936930"/>
              <a:gd name="connsiteY18" fmla="*/ 2848313 h 2849235"/>
              <a:gd name="connsiteX19" fmla="*/ 3938954 w 11936930"/>
              <a:gd name="connsiteY19" fmla="*/ 2828216 h 2849235"/>
              <a:gd name="connsiteX20" fmla="*/ 2944167 w 11936930"/>
              <a:gd name="connsiteY20" fmla="*/ 2808119 h 2849235"/>
              <a:gd name="connsiteX21" fmla="*/ 1889090 w 11936930"/>
              <a:gd name="connsiteY21" fmla="*/ 2818168 h 2849235"/>
              <a:gd name="connsiteX22" fmla="*/ 12890 w 11936930"/>
              <a:gd name="connsiteY22" fmla="*/ 2798069 h 2849235"/>
              <a:gd name="connsiteX0" fmla="*/ 0 w 11936930"/>
              <a:gd name="connsiteY0" fmla="*/ 24726 h 2849235"/>
              <a:gd name="connsiteX1" fmla="*/ 552660 w 11936930"/>
              <a:gd name="connsiteY1" fmla="*/ 4629 h 2849235"/>
              <a:gd name="connsiteX2" fmla="*/ 1637882 w 11936930"/>
              <a:gd name="connsiteY2" fmla="*/ 14677 h 2849235"/>
              <a:gd name="connsiteX3" fmla="*/ 2019719 w 11936930"/>
              <a:gd name="connsiteY3" fmla="*/ 14677 h 2849235"/>
              <a:gd name="connsiteX4" fmla="*/ 4531807 w 11936930"/>
              <a:gd name="connsiteY4" fmla="*/ 34774 h 2849235"/>
              <a:gd name="connsiteX5" fmla="*/ 6300317 w 11936930"/>
              <a:gd name="connsiteY5" fmla="*/ 64919 h 2849235"/>
              <a:gd name="connsiteX6" fmla="*/ 7063991 w 11936930"/>
              <a:gd name="connsiteY6" fmla="*/ 34774 h 2849235"/>
              <a:gd name="connsiteX7" fmla="*/ 8098972 w 11936930"/>
              <a:gd name="connsiteY7" fmla="*/ 64919 h 2849235"/>
              <a:gd name="connsiteX8" fmla="*/ 8956033 w 11936930"/>
              <a:gd name="connsiteY8" fmla="*/ 64919 h 2849235"/>
              <a:gd name="connsiteX9" fmla="*/ 10311615 w 11936930"/>
              <a:gd name="connsiteY9" fmla="*/ 4629 h 2849235"/>
              <a:gd name="connsiteX10" fmla="*/ 11745799 w 11936930"/>
              <a:gd name="connsiteY10" fmla="*/ 346275 h 2849235"/>
              <a:gd name="connsiteX11" fmla="*/ 11786160 w 11936930"/>
              <a:gd name="connsiteY11" fmla="*/ 2587055 h 2849235"/>
              <a:gd name="connsiteX12" fmla="*/ 10912510 w 11936930"/>
              <a:gd name="connsiteY12" fmla="*/ 2828216 h 2849235"/>
              <a:gd name="connsiteX13" fmla="*/ 10008159 w 11936930"/>
              <a:gd name="connsiteY13" fmla="*/ 2828216 h 2849235"/>
              <a:gd name="connsiteX14" fmla="*/ 9435402 w 11936930"/>
              <a:gd name="connsiteY14" fmla="*/ 2828216 h 2849235"/>
              <a:gd name="connsiteX15" fmla="*/ 7365442 w 11936930"/>
              <a:gd name="connsiteY15" fmla="*/ 2788023 h 2849235"/>
              <a:gd name="connsiteX16" fmla="*/ 6742444 w 11936930"/>
              <a:gd name="connsiteY16" fmla="*/ 2808119 h 2849235"/>
              <a:gd name="connsiteX17" fmla="*/ 6601767 w 11936930"/>
              <a:gd name="connsiteY17" fmla="*/ 2798071 h 2849235"/>
              <a:gd name="connsiteX18" fmla="*/ 4783016 w 11936930"/>
              <a:gd name="connsiteY18" fmla="*/ 2848313 h 2849235"/>
              <a:gd name="connsiteX19" fmla="*/ 3938954 w 11936930"/>
              <a:gd name="connsiteY19" fmla="*/ 2828216 h 2849235"/>
              <a:gd name="connsiteX20" fmla="*/ 2944167 w 11936930"/>
              <a:gd name="connsiteY20" fmla="*/ 2808119 h 2849235"/>
              <a:gd name="connsiteX21" fmla="*/ 1889090 w 11936930"/>
              <a:gd name="connsiteY21" fmla="*/ 2818168 h 2849235"/>
              <a:gd name="connsiteX22" fmla="*/ 12890 w 11936930"/>
              <a:gd name="connsiteY22" fmla="*/ 2798069 h 2849235"/>
              <a:gd name="connsiteX0" fmla="*/ 0 w 11949661"/>
              <a:gd name="connsiteY0" fmla="*/ 24726 h 2849235"/>
              <a:gd name="connsiteX1" fmla="*/ 552660 w 11949661"/>
              <a:gd name="connsiteY1" fmla="*/ 4629 h 2849235"/>
              <a:gd name="connsiteX2" fmla="*/ 1637882 w 11949661"/>
              <a:gd name="connsiteY2" fmla="*/ 14677 h 2849235"/>
              <a:gd name="connsiteX3" fmla="*/ 2019719 w 11949661"/>
              <a:gd name="connsiteY3" fmla="*/ 14677 h 2849235"/>
              <a:gd name="connsiteX4" fmla="*/ 4531807 w 11949661"/>
              <a:gd name="connsiteY4" fmla="*/ 34774 h 2849235"/>
              <a:gd name="connsiteX5" fmla="*/ 6300317 w 11949661"/>
              <a:gd name="connsiteY5" fmla="*/ 64919 h 2849235"/>
              <a:gd name="connsiteX6" fmla="*/ 7063991 w 11949661"/>
              <a:gd name="connsiteY6" fmla="*/ 34774 h 2849235"/>
              <a:gd name="connsiteX7" fmla="*/ 8098972 w 11949661"/>
              <a:gd name="connsiteY7" fmla="*/ 64919 h 2849235"/>
              <a:gd name="connsiteX8" fmla="*/ 8956033 w 11949661"/>
              <a:gd name="connsiteY8" fmla="*/ 64919 h 2849235"/>
              <a:gd name="connsiteX9" fmla="*/ 10101769 w 11949661"/>
              <a:gd name="connsiteY9" fmla="*/ 4629 h 2849235"/>
              <a:gd name="connsiteX10" fmla="*/ 11745799 w 11949661"/>
              <a:gd name="connsiteY10" fmla="*/ 346275 h 2849235"/>
              <a:gd name="connsiteX11" fmla="*/ 11786160 w 11949661"/>
              <a:gd name="connsiteY11" fmla="*/ 2587055 h 2849235"/>
              <a:gd name="connsiteX12" fmla="*/ 10912510 w 11949661"/>
              <a:gd name="connsiteY12" fmla="*/ 2828216 h 2849235"/>
              <a:gd name="connsiteX13" fmla="*/ 10008159 w 11949661"/>
              <a:gd name="connsiteY13" fmla="*/ 2828216 h 2849235"/>
              <a:gd name="connsiteX14" fmla="*/ 9435402 w 11949661"/>
              <a:gd name="connsiteY14" fmla="*/ 2828216 h 2849235"/>
              <a:gd name="connsiteX15" fmla="*/ 7365442 w 11949661"/>
              <a:gd name="connsiteY15" fmla="*/ 2788023 h 2849235"/>
              <a:gd name="connsiteX16" fmla="*/ 6742444 w 11949661"/>
              <a:gd name="connsiteY16" fmla="*/ 2808119 h 2849235"/>
              <a:gd name="connsiteX17" fmla="*/ 6601767 w 11949661"/>
              <a:gd name="connsiteY17" fmla="*/ 2798071 h 2849235"/>
              <a:gd name="connsiteX18" fmla="*/ 4783016 w 11949661"/>
              <a:gd name="connsiteY18" fmla="*/ 2848313 h 2849235"/>
              <a:gd name="connsiteX19" fmla="*/ 3938954 w 11949661"/>
              <a:gd name="connsiteY19" fmla="*/ 2828216 h 2849235"/>
              <a:gd name="connsiteX20" fmla="*/ 2944167 w 11949661"/>
              <a:gd name="connsiteY20" fmla="*/ 2808119 h 2849235"/>
              <a:gd name="connsiteX21" fmla="*/ 1889090 w 11949661"/>
              <a:gd name="connsiteY21" fmla="*/ 2818168 h 2849235"/>
              <a:gd name="connsiteX22" fmla="*/ 12890 w 11949661"/>
              <a:gd name="connsiteY22" fmla="*/ 2798069 h 2849235"/>
              <a:gd name="connsiteX0" fmla="*/ 0 w 11981169"/>
              <a:gd name="connsiteY0" fmla="*/ 24726 h 2849235"/>
              <a:gd name="connsiteX1" fmla="*/ 552660 w 11981169"/>
              <a:gd name="connsiteY1" fmla="*/ 4629 h 2849235"/>
              <a:gd name="connsiteX2" fmla="*/ 1637882 w 11981169"/>
              <a:gd name="connsiteY2" fmla="*/ 14677 h 2849235"/>
              <a:gd name="connsiteX3" fmla="*/ 2019719 w 11981169"/>
              <a:gd name="connsiteY3" fmla="*/ 14677 h 2849235"/>
              <a:gd name="connsiteX4" fmla="*/ 4531807 w 11981169"/>
              <a:gd name="connsiteY4" fmla="*/ 34774 h 2849235"/>
              <a:gd name="connsiteX5" fmla="*/ 6300317 w 11981169"/>
              <a:gd name="connsiteY5" fmla="*/ 64919 h 2849235"/>
              <a:gd name="connsiteX6" fmla="*/ 7063991 w 11981169"/>
              <a:gd name="connsiteY6" fmla="*/ 34774 h 2849235"/>
              <a:gd name="connsiteX7" fmla="*/ 8098972 w 11981169"/>
              <a:gd name="connsiteY7" fmla="*/ 64919 h 2849235"/>
              <a:gd name="connsiteX8" fmla="*/ 8956033 w 11981169"/>
              <a:gd name="connsiteY8" fmla="*/ 64919 h 2849235"/>
              <a:gd name="connsiteX9" fmla="*/ 10101769 w 11981169"/>
              <a:gd name="connsiteY9" fmla="*/ 4629 h 2849235"/>
              <a:gd name="connsiteX10" fmla="*/ 11745799 w 11981169"/>
              <a:gd name="connsiteY10" fmla="*/ 346275 h 2849235"/>
              <a:gd name="connsiteX11" fmla="*/ 11786160 w 11981169"/>
              <a:gd name="connsiteY11" fmla="*/ 2587055 h 2849235"/>
              <a:gd name="connsiteX12" fmla="*/ 10008159 w 11981169"/>
              <a:gd name="connsiteY12" fmla="*/ 2828216 h 2849235"/>
              <a:gd name="connsiteX13" fmla="*/ 9435402 w 11981169"/>
              <a:gd name="connsiteY13" fmla="*/ 2828216 h 2849235"/>
              <a:gd name="connsiteX14" fmla="*/ 7365442 w 11981169"/>
              <a:gd name="connsiteY14" fmla="*/ 2788023 h 2849235"/>
              <a:gd name="connsiteX15" fmla="*/ 6742444 w 11981169"/>
              <a:gd name="connsiteY15" fmla="*/ 2808119 h 2849235"/>
              <a:gd name="connsiteX16" fmla="*/ 6601767 w 11981169"/>
              <a:gd name="connsiteY16" fmla="*/ 2798071 h 2849235"/>
              <a:gd name="connsiteX17" fmla="*/ 4783016 w 11981169"/>
              <a:gd name="connsiteY17" fmla="*/ 2848313 h 2849235"/>
              <a:gd name="connsiteX18" fmla="*/ 3938954 w 11981169"/>
              <a:gd name="connsiteY18" fmla="*/ 2828216 h 2849235"/>
              <a:gd name="connsiteX19" fmla="*/ 2944167 w 11981169"/>
              <a:gd name="connsiteY19" fmla="*/ 2808119 h 2849235"/>
              <a:gd name="connsiteX20" fmla="*/ 1889090 w 11981169"/>
              <a:gd name="connsiteY20" fmla="*/ 2818168 h 2849235"/>
              <a:gd name="connsiteX21" fmla="*/ 12890 w 11981169"/>
              <a:gd name="connsiteY21" fmla="*/ 2798069 h 2849235"/>
              <a:gd name="connsiteX0" fmla="*/ 0 w 11940760"/>
              <a:gd name="connsiteY0" fmla="*/ 24144 h 2848653"/>
              <a:gd name="connsiteX1" fmla="*/ 552660 w 11940760"/>
              <a:gd name="connsiteY1" fmla="*/ 4047 h 2848653"/>
              <a:gd name="connsiteX2" fmla="*/ 1637882 w 11940760"/>
              <a:gd name="connsiteY2" fmla="*/ 14095 h 2848653"/>
              <a:gd name="connsiteX3" fmla="*/ 2019719 w 11940760"/>
              <a:gd name="connsiteY3" fmla="*/ 14095 h 2848653"/>
              <a:gd name="connsiteX4" fmla="*/ 4531807 w 11940760"/>
              <a:gd name="connsiteY4" fmla="*/ 34192 h 2848653"/>
              <a:gd name="connsiteX5" fmla="*/ 6300317 w 11940760"/>
              <a:gd name="connsiteY5" fmla="*/ 64337 h 2848653"/>
              <a:gd name="connsiteX6" fmla="*/ 7063991 w 11940760"/>
              <a:gd name="connsiteY6" fmla="*/ 34192 h 2848653"/>
              <a:gd name="connsiteX7" fmla="*/ 8098972 w 11940760"/>
              <a:gd name="connsiteY7" fmla="*/ 64337 h 2848653"/>
              <a:gd name="connsiteX8" fmla="*/ 8956033 w 11940760"/>
              <a:gd name="connsiteY8" fmla="*/ 64337 h 2848653"/>
              <a:gd name="connsiteX9" fmla="*/ 10101769 w 11940760"/>
              <a:gd name="connsiteY9" fmla="*/ 4047 h 2848653"/>
              <a:gd name="connsiteX10" fmla="*/ 11745799 w 11940760"/>
              <a:gd name="connsiteY10" fmla="*/ 345693 h 2848653"/>
              <a:gd name="connsiteX11" fmla="*/ 11716211 w 11940760"/>
              <a:gd name="connsiteY11" fmla="*/ 2566377 h 2848653"/>
              <a:gd name="connsiteX12" fmla="*/ 10008159 w 11940760"/>
              <a:gd name="connsiteY12" fmla="*/ 2827634 h 2848653"/>
              <a:gd name="connsiteX13" fmla="*/ 9435402 w 11940760"/>
              <a:gd name="connsiteY13" fmla="*/ 2827634 h 2848653"/>
              <a:gd name="connsiteX14" fmla="*/ 7365442 w 11940760"/>
              <a:gd name="connsiteY14" fmla="*/ 2787441 h 2848653"/>
              <a:gd name="connsiteX15" fmla="*/ 6742444 w 11940760"/>
              <a:gd name="connsiteY15" fmla="*/ 2807537 h 2848653"/>
              <a:gd name="connsiteX16" fmla="*/ 6601767 w 11940760"/>
              <a:gd name="connsiteY16" fmla="*/ 2797489 h 2848653"/>
              <a:gd name="connsiteX17" fmla="*/ 4783016 w 11940760"/>
              <a:gd name="connsiteY17" fmla="*/ 2847731 h 2848653"/>
              <a:gd name="connsiteX18" fmla="*/ 3938954 w 11940760"/>
              <a:gd name="connsiteY18" fmla="*/ 2827634 h 2848653"/>
              <a:gd name="connsiteX19" fmla="*/ 2944167 w 11940760"/>
              <a:gd name="connsiteY19" fmla="*/ 2807537 h 2848653"/>
              <a:gd name="connsiteX20" fmla="*/ 1889090 w 11940760"/>
              <a:gd name="connsiteY20" fmla="*/ 2817586 h 2848653"/>
              <a:gd name="connsiteX21" fmla="*/ 12890 w 11940760"/>
              <a:gd name="connsiteY21" fmla="*/ 2797487 h 2848653"/>
              <a:gd name="connsiteX0" fmla="*/ 0 w 12001276"/>
              <a:gd name="connsiteY0" fmla="*/ 24144 h 2848653"/>
              <a:gd name="connsiteX1" fmla="*/ 552660 w 12001276"/>
              <a:gd name="connsiteY1" fmla="*/ 4047 h 2848653"/>
              <a:gd name="connsiteX2" fmla="*/ 1637882 w 12001276"/>
              <a:gd name="connsiteY2" fmla="*/ 14095 h 2848653"/>
              <a:gd name="connsiteX3" fmla="*/ 2019719 w 12001276"/>
              <a:gd name="connsiteY3" fmla="*/ 14095 h 2848653"/>
              <a:gd name="connsiteX4" fmla="*/ 4531807 w 12001276"/>
              <a:gd name="connsiteY4" fmla="*/ 34192 h 2848653"/>
              <a:gd name="connsiteX5" fmla="*/ 6300317 w 12001276"/>
              <a:gd name="connsiteY5" fmla="*/ 64337 h 2848653"/>
              <a:gd name="connsiteX6" fmla="*/ 7063991 w 12001276"/>
              <a:gd name="connsiteY6" fmla="*/ 34192 h 2848653"/>
              <a:gd name="connsiteX7" fmla="*/ 8098972 w 12001276"/>
              <a:gd name="connsiteY7" fmla="*/ 64337 h 2848653"/>
              <a:gd name="connsiteX8" fmla="*/ 8956033 w 12001276"/>
              <a:gd name="connsiteY8" fmla="*/ 64337 h 2848653"/>
              <a:gd name="connsiteX9" fmla="*/ 10101769 w 12001276"/>
              <a:gd name="connsiteY9" fmla="*/ 4047 h 2848653"/>
              <a:gd name="connsiteX10" fmla="*/ 11745799 w 12001276"/>
              <a:gd name="connsiteY10" fmla="*/ 345693 h 2848653"/>
              <a:gd name="connsiteX11" fmla="*/ 11716211 w 12001276"/>
              <a:gd name="connsiteY11" fmla="*/ 2566377 h 2848653"/>
              <a:gd name="connsiteX12" fmla="*/ 10008159 w 12001276"/>
              <a:gd name="connsiteY12" fmla="*/ 2827634 h 2848653"/>
              <a:gd name="connsiteX13" fmla="*/ 9435402 w 12001276"/>
              <a:gd name="connsiteY13" fmla="*/ 2827634 h 2848653"/>
              <a:gd name="connsiteX14" fmla="*/ 7365442 w 12001276"/>
              <a:gd name="connsiteY14" fmla="*/ 2787441 h 2848653"/>
              <a:gd name="connsiteX15" fmla="*/ 6742444 w 12001276"/>
              <a:gd name="connsiteY15" fmla="*/ 2807537 h 2848653"/>
              <a:gd name="connsiteX16" fmla="*/ 6601767 w 12001276"/>
              <a:gd name="connsiteY16" fmla="*/ 2797489 h 2848653"/>
              <a:gd name="connsiteX17" fmla="*/ 4783016 w 12001276"/>
              <a:gd name="connsiteY17" fmla="*/ 2847731 h 2848653"/>
              <a:gd name="connsiteX18" fmla="*/ 3938954 w 12001276"/>
              <a:gd name="connsiteY18" fmla="*/ 2827634 h 2848653"/>
              <a:gd name="connsiteX19" fmla="*/ 2944167 w 12001276"/>
              <a:gd name="connsiteY19" fmla="*/ 2807537 h 2848653"/>
              <a:gd name="connsiteX20" fmla="*/ 1889090 w 12001276"/>
              <a:gd name="connsiteY20" fmla="*/ 2817586 h 2848653"/>
              <a:gd name="connsiteX21" fmla="*/ 12890 w 12001276"/>
              <a:gd name="connsiteY21" fmla="*/ 2797487 h 2848653"/>
              <a:gd name="connsiteX0" fmla="*/ 0 w 11892644"/>
              <a:gd name="connsiteY0" fmla="*/ 20953 h 2845462"/>
              <a:gd name="connsiteX1" fmla="*/ 552660 w 11892644"/>
              <a:gd name="connsiteY1" fmla="*/ 856 h 2845462"/>
              <a:gd name="connsiteX2" fmla="*/ 1637882 w 11892644"/>
              <a:gd name="connsiteY2" fmla="*/ 10904 h 2845462"/>
              <a:gd name="connsiteX3" fmla="*/ 2019719 w 11892644"/>
              <a:gd name="connsiteY3" fmla="*/ 10904 h 2845462"/>
              <a:gd name="connsiteX4" fmla="*/ 4531807 w 11892644"/>
              <a:gd name="connsiteY4" fmla="*/ 31001 h 2845462"/>
              <a:gd name="connsiteX5" fmla="*/ 6300317 w 11892644"/>
              <a:gd name="connsiteY5" fmla="*/ 61146 h 2845462"/>
              <a:gd name="connsiteX6" fmla="*/ 7063991 w 11892644"/>
              <a:gd name="connsiteY6" fmla="*/ 31001 h 2845462"/>
              <a:gd name="connsiteX7" fmla="*/ 8098972 w 11892644"/>
              <a:gd name="connsiteY7" fmla="*/ 61146 h 2845462"/>
              <a:gd name="connsiteX8" fmla="*/ 8956033 w 11892644"/>
              <a:gd name="connsiteY8" fmla="*/ 61146 h 2845462"/>
              <a:gd name="connsiteX9" fmla="*/ 10101769 w 11892644"/>
              <a:gd name="connsiteY9" fmla="*/ 856 h 2845462"/>
              <a:gd name="connsiteX10" fmla="*/ 11655866 w 11892644"/>
              <a:gd name="connsiteY10" fmla="*/ 362598 h 2845462"/>
              <a:gd name="connsiteX11" fmla="*/ 11716211 w 11892644"/>
              <a:gd name="connsiteY11" fmla="*/ 2563186 h 2845462"/>
              <a:gd name="connsiteX12" fmla="*/ 10008159 w 11892644"/>
              <a:gd name="connsiteY12" fmla="*/ 2824443 h 2845462"/>
              <a:gd name="connsiteX13" fmla="*/ 9435402 w 11892644"/>
              <a:gd name="connsiteY13" fmla="*/ 2824443 h 2845462"/>
              <a:gd name="connsiteX14" fmla="*/ 7365442 w 11892644"/>
              <a:gd name="connsiteY14" fmla="*/ 2784250 h 2845462"/>
              <a:gd name="connsiteX15" fmla="*/ 6742444 w 11892644"/>
              <a:gd name="connsiteY15" fmla="*/ 2804346 h 2845462"/>
              <a:gd name="connsiteX16" fmla="*/ 6601767 w 11892644"/>
              <a:gd name="connsiteY16" fmla="*/ 2794298 h 2845462"/>
              <a:gd name="connsiteX17" fmla="*/ 4783016 w 11892644"/>
              <a:gd name="connsiteY17" fmla="*/ 2844540 h 2845462"/>
              <a:gd name="connsiteX18" fmla="*/ 3938954 w 11892644"/>
              <a:gd name="connsiteY18" fmla="*/ 2824443 h 2845462"/>
              <a:gd name="connsiteX19" fmla="*/ 2944167 w 11892644"/>
              <a:gd name="connsiteY19" fmla="*/ 2804346 h 2845462"/>
              <a:gd name="connsiteX20" fmla="*/ 1889090 w 11892644"/>
              <a:gd name="connsiteY20" fmla="*/ 2814395 h 2845462"/>
              <a:gd name="connsiteX21" fmla="*/ 12890 w 11892644"/>
              <a:gd name="connsiteY21" fmla="*/ 2794296 h 2845462"/>
              <a:gd name="connsiteX0" fmla="*/ 0 w 11834291"/>
              <a:gd name="connsiteY0" fmla="*/ 20767 h 2845276"/>
              <a:gd name="connsiteX1" fmla="*/ 552660 w 11834291"/>
              <a:gd name="connsiteY1" fmla="*/ 670 h 2845276"/>
              <a:gd name="connsiteX2" fmla="*/ 1637882 w 11834291"/>
              <a:gd name="connsiteY2" fmla="*/ 10718 h 2845276"/>
              <a:gd name="connsiteX3" fmla="*/ 2019719 w 11834291"/>
              <a:gd name="connsiteY3" fmla="*/ 10718 h 2845276"/>
              <a:gd name="connsiteX4" fmla="*/ 4531807 w 11834291"/>
              <a:gd name="connsiteY4" fmla="*/ 30815 h 2845276"/>
              <a:gd name="connsiteX5" fmla="*/ 6300317 w 11834291"/>
              <a:gd name="connsiteY5" fmla="*/ 60960 h 2845276"/>
              <a:gd name="connsiteX6" fmla="*/ 7063991 w 11834291"/>
              <a:gd name="connsiteY6" fmla="*/ 30815 h 2845276"/>
              <a:gd name="connsiteX7" fmla="*/ 8098972 w 11834291"/>
              <a:gd name="connsiteY7" fmla="*/ 60960 h 2845276"/>
              <a:gd name="connsiteX8" fmla="*/ 8956033 w 11834291"/>
              <a:gd name="connsiteY8" fmla="*/ 60960 h 2845276"/>
              <a:gd name="connsiteX9" fmla="*/ 10101769 w 11834291"/>
              <a:gd name="connsiteY9" fmla="*/ 670 h 2845276"/>
              <a:gd name="connsiteX10" fmla="*/ 11655866 w 11834291"/>
              <a:gd name="connsiteY10" fmla="*/ 362412 h 2845276"/>
              <a:gd name="connsiteX11" fmla="*/ 11616285 w 11834291"/>
              <a:gd name="connsiteY11" fmla="*/ 2552952 h 2845276"/>
              <a:gd name="connsiteX12" fmla="*/ 10008159 w 11834291"/>
              <a:gd name="connsiteY12" fmla="*/ 2824257 h 2845276"/>
              <a:gd name="connsiteX13" fmla="*/ 9435402 w 11834291"/>
              <a:gd name="connsiteY13" fmla="*/ 2824257 h 2845276"/>
              <a:gd name="connsiteX14" fmla="*/ 7365442 w 11834291"/>
              <a:gd name="connsiteY14" fmla="*/ 2784064 h 2845276"/>
              <a:gd name="connsiteX15" fmla="*/ 6742444 w 11834291"/>
              <a:gd name="connsiteY15" fmla="*/ 2804160 h 2845276"/>
              <a:gd name="connsiteX16" fmla="*/ 6601767 w 11834291"/>
              <a:gd name="connsiteY16" fmla="*/ 2794112 h 2845276"/>
              <a:gd name="connsiteX17" fmla="*/ 4783016 w 11834291"/>
              <a:gd name="connsiteY17" fmla="*/ 2844354 h 2845276"/>
              <a:gd name="connsiteX18" fmla="*/ 3938954 w 11834291"/>
              <a:gd name="connsiteY18" fmla="*/ 2824257 h 2845276"/>
              <a:gd name="connsiteX19" fmla="*/ 2944167 w 11834291"/>
              <a:gd name="connsiteY19" fmla="*/ 2804160 h 2845276"/>
              <a:gd name="connsiteX20" fmla="*/ 1889090 w 11834291"/>
              <a:gd name="connsiteY20" fmla="*/ 2814209 h 2845276"/>
              <a:gd name="connsiteX21" fmla="*/ 12890 w 11834291"/>
              <a:gd name="connsiteY21" fmla="*/ 2794110 h 2845276"/>
              <a:gd name="connsiteX0" fmla="*/ 0 w 11903126"/>
              <a:gd name="connsiteY0" fmla="*/ 20767 h 2845276"/>
              <a:gd name="connsiteX1" fmla="*/ 552660 w 11903126"/>
              <a:gd name="connsiteY1" fmla="*/ 670 h 2845276"/>
              <a:gd name="connsiteX2" fmla="*/ 1637882 w 11903126"/>
              <a:gd name="connsiteY2" fmla="*/ 10718 h 2845276"/>
              <a:gd name="connsiteX3" fmla="*/ 2019719 w 11903126"/>
              <a:gd name="connsiteY3" fmla="*/ 10718 h 2845276"/>
              <a:gd name="connsiteX4" fmla="*/ 4531807 w 11903126"/>
              <a:gd name="connsiteY4" fmla="*/ 30815 h 2845276"/>
              <a:gd name="connsiteX5" fmla="*/ 6300317 w 11903126"/>
              <a:gd name="connsiteY5" fmla="*/ 60960 h 2845276"/>
              <a:gd name="connsiteX6" fmla="*/ 7063991 w 11903126"/>
              <a:gd name="connsiteY6" fmla="*/ 30815 h 2845276"/>
              <a:gd name="connsiteX7" fmla="*/ 8098972 w 11903126"/>
              <a:gd name="connsiteY7" fmla="*/ 60960 h 2845276"/>
              <a:gd name="connsiteX8" fmla="*/ 8956033 w 11903126"/>
              <a:gd name="connsiteY8" fmla="*/ 60960 h 2845276"/>
              <a:gd name="connsiteX9" fmla="*/ 10101769 w 11903126"/>
              <a:gd name="connsiteY9" fmla="*/ 670 h 2845276"/>
              <a:gd name="connsiteX10" fmla="*/ 11655866 w 11903126"/>
              <a:gd name="connsiteY10" fmla="*/ 362412 h 2845276"/>
              <a:gd name="connsiteX11" fmla="*/ 11616285 w 11903126"/>
              <a:gd name="connsiteY11" fmla="*/ 2552952 h 2845276"/>
              <a:gd name="connsiteX12" fmla="*/ 10008159 w 11903126"/>
              <a:gd name="connsiteY12" fmla="*/ 2824257 h 2845276"/>
              <a:gd name="connsiteX13" fmla="*/ 9435402 w 11903126"/>
              <a:gd name="connsiteY13" fmla="*/ 2824257 h 2845276"/>
              <a:gd name="connsiteX14" fmla="*/ 7365442 w 11903126"/>
              <a:gd name="connsiteY14" fmla="*/ 2784064 h 2845276"/>
              <a:gd name="connsiteX15" fmla="*/ 6742444 w 11903126"/>
              <a:gd name="connsiteY15" fmla="*/ 2804160 h 2845276"/>
              <a:gd name="connsiteX16" fmla="*/ 6601767 w 11903126"/>
              <a:gd name="connsiteY16" fmla="*/ 2794112 h 2845276"/>
              <a:gd name="connsiteX17" fmla="*/ 4783016 w 11903126"/>
              <a:gd name="connsiteY17" fmla="*/ 2844354 h 2845276"/>
              <a:gd name="connsiteX18" fmla="*/ 3938954 w 11903126"/>
              <a:gd name="connsiteY18" fmla="*/ 2824257 h 2845276"/>
              <a:gd name="connsiteX19" fmla="*/ 2944167 w 11903126"/>
              <a:gd name="connsiteY19" fmla="*/ 2804160 h 2845276"/>
              <a:gd name="connsiteX20" fmla="*/ 1889090 w 11903126"/>
              <a:gd name="connsiteY20" fmla="*/ 2814209 h 2845276"/>
              <a:gd name="connsiteX21" fmla="*/ 12890 w 11903126"/>
              <a:gd name="connsiteY21" fmla="*/ 2794110 h 2845276"/>
              <a:gd name="connsiteX0" fmla="*/ 0 w 11949884"/>
              <a:gd name="connsiteY0" fmla="*/ 20097 h 2844606"/>
              <a:gd name="connsiteX1" fmla="*/ 552660 w 11949884"/>
              <a:gd name="connsiteY1" fmla="*/ 0 h 2844606"/>
              <a:gd name="connsiteX2" fmla="*/ 1637882 w 11949884"/>
              <a:gd name="connsiteY2" fmla="*/ 10048 h 2844606"/>
              <a:gd name="connsiteX3" fmla="*/ 2019719 w 11949884"/>
              <a:gd name="connsiteY3" fmla="*/ 10048 h 2844606"/>
              <a:gd name="connsiteX4" fmla="*/ 4531807 w 11949884"/>
              <a:gd name="connsiteY4" fmla="*/ 30145 h 2844606"/>
              <a:gd name="connsiteX5" fmla="*/ 6300317 w 11949884"/>
              <a:gd name="connsiteY5" fmla="*/ 60290 h 2844606"/>
              <a:gd name="connsiteX6" fmla="*/ 7063991 w 11949884"/>
              <a:gd name="connsiteY6" fmla="*/ 30145 h 2844606"/>
              <a:gd name="connsiteX7" fmla="*/ 8098972 w 11949884"/>
              <a:gd name="connsiteY7" fmla="*/ 60290 h 2844606"/>
              <a:gd name="connsiteX8" fmla="*/ 8956033 w 11949884"/>
              <a:gd name="connsiteY8" fmla="*/ 60290 h 2844606"/>
              <a:gd name="connsiteX9" fmla="*/ 10101769 w 11949884"/>
              <a:gd name="connsiteY9" fmla="*/ 0 h 2844606"/>
              <a:gd name="connsiteX10" fmla="*/ 11655866 w 11949884"/>
              <a:gd name="connsiteY10" fmla="*/ 361742 h 2844606"/>
              <a:gd name="connsiteX11" fmla="*/ 11616285 w 11949884"/>
              <a:gd name="connsiteY11" fmla="*/ 2552282 h 2844606"/>
              <a:gd name="connsiteX12" fmla="*/ 10008159 w 11949884"/>
              <a:gd name="connsiteY12" fmla="*/ 2823587 h 2844606"/>
              <a:gd name="connsiteX13" fmla="*/ 9435402 w 11949884"/>
              <a:gd name="connsiteY13" fmla="*/ 2823587 h 2844606"/>
              <a:gd name="connsiteX14" fmla="*/ 7365442 w 11949884"/>
              <a:gd name="connsiteY14" fmla="*/ 2783394 h 2844606"/>
              <a:gd name="connsiteX15" fmla="*/ 6742444 w 11949884"/>
              <a:gd name="connsiteY15" fmla="*/ 2803490 h 2844606"/>
              <a:gd name="connsiteX16" fmla="*/ 6601767 w 11949884"/>
              <a:gd name="connsiteY16" fmla="*/ 2793442 h 2844606"/>
              <a:gd name="connsiteX17" fmla="*/ 4783016 w 11949884"/>
              <a:gd name="connsiteY17" fmla="*/ 2843684 h 2844606"/>
              <a:gd name="connsiteX18" fmla="*/ 3938954 w 11949884"/>
              <a:gd name="connsiteY18" fmla="*/ 2823587 h 2844606"/>
              <a:gd name="connsiteX19" fmla="*/ 2944167 w 11949884"/>
              <a:gd name="connsiteY19" fmla="*/ 2803490 h 2844606"/>
              <a:gd name="connsiteX20" fmla="*/ 1889090 w 11949884"/>
              <a:gd name="connsiteY20" fmla="*/ 2813539 h 2844606"/>
              <a:gd name="connsiteX21" fmla="*/ 12890 w 11949884"/>
              <a:gd name="connsiteY21" fmla="*/ 2793440 h 2844606"/>
              <a:gd name="connsiteX0" fmla="*/ 0 w 11868023"/>
              <a:gd name="connsiteY0" fmla="*/ 20097 h 2844606"/>
              <a:gd name="connsiteX1" fmla="*/ 552660 w 11868023"/>
              <a:gd name="connsiteY1" fmla="*/ 0 h 2844606"/>
              <a:gd name="connsiteX2" fmla="*/ 1637882 w 11868023"/>
              <a:gd name="connsiteY2" fmla="*/ 10048 h 2844606"/>
              <a:gd name="connsiteX3" fmla="*/ 2019719 w 11868023"/>
              <a:gd name="connsiteY3" fmla="*/ 10048 h 2844606"/>
              <a:gd name="connsiteX4" fmla="*/ 4531807 w 11868023"/>
              <a:gd name="connsiteY4" fmla="*/ 30145 h 2844606"/>
              <a:gd name="connsiteX5" fmla="*/ 6300317 w 11868023"/>
              <a:gd name="connsiteY5" fmla="*/ 60290 h 2844606"/>
              <a:gd name="connsiteX6" fmla="*/ 7063991 w 11868023"/>
              <a:gd name="connsiteY6" fmla="*/ 30145 h 2844606"/>
              <a:gd name="connsiteX7" fmla="*/ 8098972 w 11868023"/>
              <a:gd name="connsiteY7" fmla="*/ 60290 h 2844606"/>
              <a:gd name="connsiteX8" fmla="*/ 8956033 w 11868023"/>
              <a:gd name="connsiteY8" fmla="*/ 60290 h 2844606"/>
              <a:gd name="connsiteX9" fmla="*/ 10101769 w 11868023"/>
              <a:gd name="connsiteY9" fmla="*/ 0 h 2844606"/>
              <a:gd name="connsiteX10" fmla="*/ 11625888 w 11868023"/>
              <a:gd name="connsiteY10" fmla="*/ 351694 h 2844606"/>
              <a:gd name="connsiteX11" fmla="*/ 11616285 w 11868023"/>
              <a:gd name="connsiteY11" fmla="*/ 2552282 h 2844606"/>
              <a:gd name="connsiteX12" fmla="*/ 10008159 w 11868023"/>
              <a:gd name="connsiteY12" fmla="*/ 2823587 h 2844606"/>
              <a:gd name="connsiteX13" fmla="*/ 9435402 w 11868023"/>
              <a:gd name="connsiteY13" fmla="*/ 2823587 h 2844606"/>
              <a:gd name="connsiteX14" fmla="*/ 7365442 w 11868023"/>
              <a:gd name="connsiteY14" fmla="*/ 2783394 h 2844606"/>
              <a:gd name="connsiteX15" fmla="*/ 6742444 w 11868023"/>
              <a:gd name="connsiteY15" fmla="*/ 2803490 h 2844606"/>
              <a:gd name="connsiteX16" fmla="*/ 6601767 w 11868023"/>
              <a:gd name="connsiteY16" fmla="*/ 2793442 h 2844606"/>
              <a:gd name="connsiteX17" fmla="*/ 4783016 w 11868023"/>
              <a:gd name="connsiteY17" fmla="*/ 2843684 h 2844606"/>
              <a:gd name="connsiteX18" fmla="*/ 3938954 w 11868023"/>
              <a:gd name="connsiteY18" fmla="*/ 2823587 h 2844606"/>
              <a:gd name="connsiteX19" fmla="*/ 2944167 w 11868023"/>
              <a:gd name="connsiteY19" fmla="*/ 2803490 h 2844606"/>
              <a:gd name="connsiteX20" fmla="*/ 1889090 w 11868023"/>
              <a:gd name="connsiteY20" fmla="*/ 2813539 h 2844606"/>
              <a:gd name="connsiteX21" fmla="*/ 12890 w 11868023"/>
              <a:gd name="connsiteY21" fmla="*/ 2793440 h 2844606"/>
              <a:gd name="connsiteX0" fmla="*/ 0 w 11911375"/>
              <a:gd name="connsiteY0" fmla="*/ 20097 h 2844606"/>
              <a:gd name="connsiteX1" fmla="*/ 552660 w 11911375"/>
              <a:gd name="connsiteY1" fmla="*/ 0 h 2844606"/>
              <a:gd name="connsiteX2" fmla="*/ 1637882 w 11911375"/>
              <a:gd name="connsiteY2" fmla="*/ 10048 h 2844606"/>
              <a:gd name="connsiteX3" fmla="*/ 2019719 w 11911375"/>
              <a:gd name="connsiteY3" fmla="*/ 10048 h 2844606"/>
              <a:gd name="connsiteX4" fmla="*/ 4531807 w 11911375"/>
              <a:gd name="connsiteY4" fmla="*/ 30145 h 2844606"/>
              <a:gd name="connsiteX5" fmla="*/ 6300317 w 11911375"/>
              <a:gd name="connsiteY5" fmla="*/ 60290 h 2844606"/>
              <a:gd name="connsiteX6" fmla="*/ 7063991 w 11911375"/>
              <a:gd name="connsiteY6" fmla="*/ 30145 h 2844606"/>
              <a:gd name="connsiteX7" fmla="*/ 8098972 w 11911375"/>
              <a:gd name="connsiteY7" fmla="*/ 60290 h 2844606"/>
              <a:gd name="connsiteX8" fmla="*/ 8956033 w 11911375"/>
              <a:gd name="connsiteY8" fmla="*/ 60290 h 2844606"/>
              <a:gd name="connsiteX9" fmla="*/ 10101769 w 11911375"/>
              <a:gd name="connsiteY9" fmla="*/ 0 h 2844606"/>
              <a:gd name="connsiteX10" fmla="*/ 11625888 w 11911375"/>
              <a:gd name="connsiteY10" fmla="*/ 351694 h 2844606"/>
              <a:gd name="connsiteX11" fmla="*/ 11616285 w 11911375"/>
              <a:gd name="connsiteY11" fmla="*/ 2552282 h 2844606"/>
              <a:gd name="connsiteX12" fmla="*/ 10008159 w 11911375"/>
              <a:gd name="connsiteY12" fmla="*/ 2823587 h 2844606"/>
              <a:gd name="connsiteX13" fmla="*/ 9435402 w 11911375"/>
              <a:gd name="connsiteY13" fmla="*/ 2823587 h 2844606"/>
              <a:gd name="connsiteX14" fmla="*/ 7365442 w 11911375"/>
              <a:gd name="connsiteY14" fmla="*/ 2783394 h 2844606"/>
              <a:gd name="connsiteX15" fmla="*/ 6742444 w 11911375"/>
              <a:gd name="connsiteY15" fmla="*/ 2803490 h 2844606"/>
              <a:gd name="connsiteX16" fmla="*/ 6601767 w 11911375"/>
              <a:gd name="connsiteY16" fmla="*/ 2793442 h 2844606"/>
              <a:gd name="connsiteX17" fmla="*/ 4783016 w 11911375"/>
              <a:gd name="connsiteY17" fmla="*/ 2843684 h 2844606"/>
              <a:gd name="connsiteX18" fmla="*/ 3938954 w 11911375"/>
              <a:gd name="connsiteY18" fmla="*/ 2823587 h 2844606"/>
              <a:gd name="connsiteX19" fmla="*/ 2944167 w 11911375"/>
              <a:gd name="connsiteY19" fmla="*/ 2803490 h 2844606"/>
              <a:gd name="connsiteX20" fmla="*/ 1889090 w 11911375"/>
              <a:gd name="connsiteY20" fmla="*/ 2813539 h 2844606"/>
              <a:gd name="connsiteX21" fmla="*/ 12890 w 11911375"/>
              <a:gd name="connsiteY21" fmla="*/ 2793440 h 2844606"/>
              <a:gd name="connsiteX0" fmla="*/ 0 w 11932818"/>
              <a:gd name="connsiteY0" fmla="*/ 20097 h 2844606"/>
              <a:gd name="connsiteX1" fmla="*/ 552660 w 11932818"/>
              <a:gd name="connsiteY1" fmla="*/ 0 h 2844606"/>
              <a:gd name="connsiteX2" fmla="*/ 1637882 w 11932818"/>
              <a:gd name="connsiteY2" fmla="*/ 10048 h 2844606"/>
              <a:gd name="connsiteX3" fmla="*/ 2019719 w 11932818"/>
              <a:gd name="connsiteY3" fmla="*/ 10048 h 2844606"/>
              <a:gd name="connsiteX4" fmla="*/ 4531807 w 11932818"/>
              <a:gd name="connsiteY4" fmla="*/ 30145 h 2844606"/>
              <a:gd name="connsiteX5" fmla="*/ 6300317 w 11932818"/>
              <a:gd name="connsiteY5" fmla="*/ 60290 h 2844606"/>
              <a:gd name="connsiteX6" fmla="*/ 7063991 w 11932818"/>
              <a:gd name="connsiteY6" fmla="*/ 30145 h 2844606"/>
              <a:gd name="connsiteX7" fmla="*/ 8098972 w 11932818"/>
              <a:gd name="connsiteY7" fmla="*/ 60290 h 2844606"/>
              <a:gd name="connsiteX8" fmla="*/ 8956033 w 11932818"/>
              <a:gd name="connsiteY8" fmla="*/ 60290 h 2844606"/>
              <a:gd name="connsiteX9" fmla="*/ 10101769 w 11932818"/>
              <a:gd name="connsiteY9" fmla="*/ 0 h 2844606"/>
              <a:gd name="connsiteX10" fmla="*/ 11625888 w 11932818"/>
              <a:gd name="connsiteY10" fmla="*/ 351694 h 2844606"/>
              <a:gd name="connsiteX11" fmla="*/ 11616285 w 11932818"/>
              <a:gd name="connsiteY11" fmla="*/ 2552282 h 2844606"/>
              <a:gd name="connsiteX12" fmla="*/ 10008159 w 11932818"/>
              <a:gd name="connsiteY12" fmla="*/ 2823587 h 2844606"/>
              <a:gd name="connsiteX13" fmla="*/ 9435402 w 11932818"/>
              <a:gd name="connsiteY13" fmla="*/ 2823587 h 2844606"/>
              <a:gd name="connsiteX14" fmla="*/ 7365442 w 11932818"/>
              <a:gd name="connsiteY14" fmla="*/ 2783394 h 2844606"/>
              <a:gd name="connsiteX15" fmla="*/ 6742444 w 11932818"/>
              <a:gd name="connsiteY15" fmla="*/ 2803490 h 2844606"/>
              <a:gd name="connsiteX16" fmla="*/ 6601767 w 11932818"/>
              <a:gd name="connsiteY16" fmla="*/ 2793442 h 2844606"/>
              <a:gd name="connsiteX17" fmla="*/ 4783016 w 11932818"/>
              <a:gd name="connsiteY17" fmla="*/ 2843684 h 2844606"/>
              <a:gd name="connsiteX18" fmla="*/ 3938954 w 11932818"/>
              <a:gd name="connsiteY18" fmla="*/ 2823587 h 2844606"/>
              <a:gd name="connsiteX19" fmla="*/ 2944167 w 11932818"/>
              <a:gd name="connsiteY19" fmla="*/ 2803490 h 2844606"/>
              <a:gd name="connsiteX20" fmla="*/ 1889090 w 11932818"/>
              <a:gd name="connsiteY20" fmla="*/ 2813539 h 2844606"/>
              <a:gd name="connsiteX21" fmla="*/ 12890 w 11932818"/>
              <a:gd name="connsiteY21" fmla="*/ 2793440 h 2844606"/>
              <a:gd name="connsiteX0" fmla="*/ 290220 w 11919928"/>
              <a:gd name="connsiteY0" fmla="*/ 10572 h 2844606"/>
              <a:gd name="connsiteX1" fmla="*/ 539770 w 11919928"/>
              <a:gd name="connsiteY1" fmla="*/ 0 h 2844606"/>
              <a:gd name="connsiteX2" fmla="*/ 1624992 w 11919928"/>
              <a:gd name="connsiteY2" fmla="*/ 10048 h 2844606"/>
              <a:gd name="connsiteX3" fmla="*/ 2006829 w 11919928"/>
              <a:gd name="connsiteY3" fmla="*/ 10048 h 2844606"/>
              <a:gd name="connsiteX4" fmla="*/ 4518917 w 11919928"/>
              <a:gd name="connsiteY4" fmla="*/ 30145 h 2844606"/>
              <a:gd name="connsiteX5" fmla="*/ 6287427 w 11919928"/>
              <a:gd name="connsiteY5" fmla="*/ 60290 h 2844606"/>
              <a:gd name="connsiteX6" fmla="*/ 7051101 w 11919928"/>
              <a:gd name="connsiteY6" fmla="*/ 30145 h 2844606"/>
              <a:gd name="connsiteX7" fmla="*/ 8086082 w 11919928"/>
              <a:gd name="connsiteY7" fmla="*/ 60290 h 2844606"/>
              <a:gd name="connsiteX8" fmla="*/ 8943143 w 11919928"/>
              <a:gd name="connsiteY8" fmla="*/ 60290 h 2844606"/>
              <a:gd name="connsiteX9" fmla="*/ 10088879 w 11919928"/>
              <a:gd name="connsiteY9" fmla="*/ 0 h 2844606"/>
              <a:gd name="connsiteX10" fmla="*/ 11612998 w 11919928"/>
              <a:gd name="connsiteY10" fmla="*/ 351694 h 2844606"/>
              <a:gd name="connsiteX11" fmla="*/ 11603395 w 11919928"/>
              <a:gd name="connsiteY11" fmla="*/ 2552282 h 2844606"/>
              <a:gd name="connsiteX12" fmla="*/ 9995269 w 11919928"/>
              <a:gd name="connsiteY12" fmla="*/ 2823587 h 2844606"/>
              <a:gd name="connsiteX13" fmla="*/ 9422512 w 11919928"/>
              <a:gd name="connsiteY13" fmla="*/ 2823587 h 2844606"/>
              <a:gd name="connsiteX14" fmla="*/ 7352552 w 11919928"/>
              <a:gd name="connsiteY14" fmla="*/ 2783394 h 2844606"/>
              <a:gd name="connsiteX15" fmla="*/ 6729554 w 11919928"/>
              <a:gd name="connsiteY15" fmla="*/ 2803490 h 2844606"/>
              <a:gd name="connsiteX16" fmla="*/ 6588877 w 11919928"/>
              <a:gd name="connsiteY16" fmla="*/ 2793442 h 2844606"/>
              <a:gd name="connsiteX17" fmla="*/ 4770126 w 11919928"/>
              <a:gd name="connsiteY17" fmla="*/ 2843684 h 2844606"/>
              <a:gd name="connsiteX18" fmla="*/ 3926064 w 11919928"/>
              <a:gd name="connsiteY18" fmla="*/ 2823587 h 2844606"/>
              <a:gd name="connsiteX19" fmla="*/ 2931277 w 11919928"/>
              <a:gd name="connsiteY19" fmla="*/ 2803490 h 2844606"/>
              <a:gd name="connsiteX20" fmla="*/ 1876200 w 11919928"/>
              <a:gd name="connsiteY20" fmla="*/ 2813539 h 2844606"/>
              <a:gd name="connsiteX21" fmla="*/ 0 w 11919928"/>
              <a:gd name="connsiteY21" fmla="*/ 2793440 h 2844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919928" h="2844606">
                <a:moveTo>
                  <a:pt x="290220" y="10572"/>
                </a:moveTo>
                <a:cubicBezTo>
                  <a:pt x="405357" y="6385"/>
                  <a:pt x="266790" y="1675"/>
                  <a:pt x="539770" y="0"/>
                </a:cubicBezTo>
                <a:lnTo>
                  <a:pt x="1624992" y="10048"/>
                </a:lnTo>
                <a:lnTo>
                  <a:pt x="2006829" y="10048"/>
                </a:lnTo>
                <a:lnTo>
                  <a:pt x="4518917" y="30145"/>
                </a:lnTo>
                <a:lnTo>
                  <a:pt x="6287427" y="60290"/>
                </a:lnTo>
                <a:cubicBezTo>
                  <a:pt x="6709458" y="60290"/>
                  <a:pt x="6751325" y="30145"/>
                  <a:pt x="7051101" y="30145"/>
                </a:cubicBezTo>
                <a:cubicBezTo>
                  <a:pt x="7350877" y="30145"/>
                  <a:pt x="7770742" y="55266"/>
                  <a:pt x="8086082" y="60290"/>
                </a:cubicBezTo>
                <a:cubicBezTo>
                  <a:pt x="8401422" y="65314"/>
                  <a:pt x="8693609" y="61965"/>
                  <a:pt x="8943143" y="60290"/>
                </a:cubicBezTo>
                <a:lnTo>
                  <a:pt x="10088879" y="0"/>
                </a:lnTo>
                <a:cubicBezTo>
                  <a:pt x="10403727" y="6699"/>
                  <a:pt x="11120039" y="5268"/>
                  <a:pt x="11612998" y="351694"/>
                </a:cubicBezTo>
                <a:cubicBezTo>
                  <a:pt x="12051237" y="659666"/>
                  <a:pt x="11995145" y="2254026"/>
                  <a:pt x="11603395" y="2552282"/>
                </a:cubicBezTo>
                <a:cubicBezTo>
                  <a:pt x="11233847" y="2833635"/>
                  <a:pt x="10387062" y="2783394"/>
                  <a:pt x="9995269" y="2823587"/>
                </a:cubicBezTo>
                <a:cubicBezTo>
                  <a:pt x="9749084" y="2823587"/>
                  <a:pt x="9862965" y="2830286"/>
                  <a:pt x="9422512" y="2823587"/>
                </a:cubicBezTo>
                <a:lnTo>
                  <a:pt x="7352552" y="2783394"/>
                </a:lnTo>
                <a:cubicBezTo>
                  <a:pt x="6903726" y="2780045"/>
                  <a:pt x="6937220" y="2796791"/>
                  <a:pt x="6729554" y="2803490"/>
                </a:cubicBezTo>
                <a:cubicBezTo>
                  <a:pt x="6682568" y="2801924"/>
                  <a:pt x="6635879" y="2792478"/>
                  <a:pt x="6588877" y="2793442"/>
                </a:cubicBezTo>
                <a:lnTo>
                  <a:pt x="4770126" y="2843684"/>
                </a:lnTo>
                <a:cubicBezTo>
                  <a:pt x="4326324" y="2848708"/>
                  <a:pt x="4222490" y="2831961"/>
                  <a:pt x="3926064" y="2823587"/>
                </a:cubicBezTo>
                <a:lnTo>
                  <a:pt x="2931277" y="2803490"/>
                </a:lnTo>
                <a:lnTo>
                  <a:pt x="1876200" y="2813539"/>
                </a:lnTo>
                <a:lnTo>
                  <a:pt x="0" y="2793440"/>
                </a:lnTo>
              </a:path>
            </a:pathLst>
          </a:custGeom>
          <a:noFill/>
          <a:ln w="190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EDEE898F-584C-073B-759C-D8792F78422A}"/>
              </a:ext>
            </a:extLst>
          </p:cNvPr>
          <p:cNvGrpSpPr/>
          <p:nvPr/>
        </p:nvGrpSpPr>
        <p:grpSpPr>
          <a:xfrm rot="10800000">
            <a:off x="6571521" y="4328236"/>
            <a:ext cx="424644" cy="514736"/>
            <a:chOff x="352424" y="3433220"/>
            <a:chExt cx="1582577" cy="1918336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C2F921E-7888-7A17-E12F-9F9D7381F20D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277B8CEF-EF6E-2232-94C6-FB4FADD7CF21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23A49D7-4FE0-1D2B-D546-A626269DE5F5}"/>
              </a:ext>
            </a:extLst>
          </p:cNvPr>
          <p:cNvGrpSpPr/>
          <p:nvPr/>
        </p:nvGrpSpPr>
        <p:grpSpPr>
          <a:xfrm rot="10800000">
            <a:off x="1485356" y="4328237"/>
            <a:ext cx="424644" cy="514736"/>
            <a:chOff x="352424" y="3433220"/>
            <a:chExt cx="1582577" cy="1918336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2E860C2-8979-BF48-00DB-D1CB888A4365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899F9BBA-3A8A-7365-AD70-9ACD3862CE19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7579750-31B6-74B5-E19F-FC2076EF143C}"/>
              </a:ext>
            </a:extLst>
          </p:cNvPr>
          <p:cNvGrpSpPr/>
          <p:nvPr/>
        </p:nvGrpSpPr>
        <p:grpSpPr>
          <a:xfrm rot="10800000">
            <a:off x="206588" y="1590675"/>
            <a:ext cx="424644" cy="514736"/>
            <a:chOff x="352424" y="3433220"/>
            <a:chExt cx="1582577" cy="1918336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9F371D5-C3F8-EE38-2CB4-1006EFFC5CC6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BB1CB87F-F912-57E2-183E-C139E263C701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596798A-2035-806B-95C6-B61AE20BCCF6}"/>
              </a:ext>
            </a:extLst>
          </p:cNvPr>
          <p:cNvGrpSpPr/>
          <p:nvPr/>
        </p:nvGrpSpPr>
        <p:grpSpPr>
          <a:xfrm rot="10800000">
            <a:off x="3849830" y="1590675"/>
            <a:ext cx="424644" cy="514736"/>
            <a:chOff x="352424" y="3433220"/>
            <a:chExt cx="1582577" cy="1918336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E8F5A7FF-4786-EF49-03BE-1EC90197775A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7457FE74-AD92-6765-0EE2-2FF1A80E5A7C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4CDACDA-697D-6B2E-5312-C1009014E1F0}"/>
              </a:ext>
            </a:extLst>
          </p:cNvPr>
          <p:cNvGrpSpPr/>
          <p:nvPr/>
        </p:nvGrpSpPr>
        <p:grpSpPr>
          <a:xfrm rot="10800000">
            <a:off x="7097598" y="1590675"/>
            <a:ext cx="424644" cy="514736"/>
            <a:chOff x="352424" y="3433220"/>
            <a:chExt cx="1582577" cy="1918336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BC99AE6-30D2-AE84-51AE-891043FA955D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68D6208-BFA5-910B-D6C2-94FF39D95BBD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3F055757-BEA7-CF0D-2BB3-E47BCF0B86E8}"/>
              </a:ext>
            </a:extLst>
          </p:cNvPr>
          <p:cNvSpPr/>
          <p:nvPr/>
        </p:nvSpPr>
        <p:spPr>
          <a:xfrm>
            <a:off x="542925" y="2209631"/>
            <a:ext cx="2651760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r>
              <a:rPr lang="da-DK" sz="1400" b="1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oranalysen</a:t>
            </a:r>
            <a:endParaRPr lang="da-DK" sz="1400" b="1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BECF22D-88A8-0DED-EBC6-6062A469304B}"/>
              </a:ext>
            </a:extLst>
          </p:cNvPr>
          <p:cNvSpPr/>
          <p:nvPr/>
        </p:nvSpPr>
        <p:spPr>
          <a:xfrm>
            <a:off x="4179491" y="2209631"/>
            <a:ext cx="2405887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teressentanalysen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0B9794B4-5605-C9E7-A14C-C5F4BAEEE9D0}"/>
              </a:ext>
            </a:extLst>
          </p:cNvPr>
          <p:cNvGrpSpPr/>
          <p:nvPr/>
        </p:nvGrpSpPr>
        <p:grpSpPr>
          <a:xfrm>
            <a:off x="279613" y="4842972"/>
            <a:ext cx="669011" cy="878140"/>
            <a:chOff x="9475842" y="2213929"/>
            <a:chExt cx="1007606" cy="1162067"/>
          </a:xfrm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CC019571-8140-0F1A-1FB0-A40961E10031}"/>
                </a:ext>
              </a:extLst>
            </p:cNvPr>
            <p:cNvSpPr/>
            <p:nvPr/>
          </p:nvSpPr>
          <p:spPr>
            <a:xfrm>
              <a:off x="9476383" y="2213929"/>
              <a:ext cx="755165" cy="1161525"/>
            </a:xfrm>
            <a:custGeom>
              <a:avLst/>
              <a:gdLst>
                <a:gd name="connsiteX0" fmla="*/ 716629 w 755165"/>
                <a:gd name="connsiteY0" fmla="*/ 859731 h 1161525"/>
                <a:gd name="connsiteX1" fmla="*/ 678228 w 755165"/>
                <a:gd name="connsiteY1" fmla="*/ 715864 h 1161525"/>
                <a:gd name="connsiteX2" fmla="*/ 651726 w 755165"/>
                <a:gd name="connsiteY2" fmla="*/ 729386 h 1161525"/>
                <a:gd name="connsiteX3" fmla="*/ 653349 w 755165"/>
                <a:gd name="connsiteY3" fmla="*/ 609857 h 1161525"/>
                <a:gd name="connsiteX4" fmla="*/ 671197 w 755165"/>
                <a:gd name="connsiteY4" fmla="*/ 561180 h 1161525"/>
                <a:gd name="connsiteX5" fmla="*/ 601968 w 755165"/>
                <a:gd name="connsiteY5" fmla="*/ 395680 h 1161525"/>
                <a:gd name="connsiteX6" fmla="*/ 612244 w 755165"/>
                <a:gd name="connsiteY6" fmla="*/ 381077 h 1161525"/>
                <a:gd name="connsiteX7" fmla="*/ 547882 w 755165"/>
                <a:gd name="connsiteY7" fmla="*/ 255599 h 1161525"/>
                <a:gd name="connsiteX8" fmla="*/ 515972 w 755165"/>
                <a:gd name="connsiteY8" fmla="*/ 116060 h 1161525"/>
                <a:gd name="connsiteX9" fmla="*/ 504074 w 755165"/>
                <a:gd name="connsiteY9" fmla="*/ 44126 h 1161525"/>
                <a:gd name="connsiteX10" fmla="*/ 400771 w 755165"/>
                <a:gd name="connsiteY10" fmla="*/ 112815 h 1161525"/>
                <a:gd name="connsiteX11" fmla="*/ 270426 w 755165"/>
                <a:gd name="connsiteY11" fmla="*/ 280479 h 1161525"/>
                <a:gd name="connsiteX12" fmla="*/ 94108 w 755165"/>
                <a:gd name="connsiteY12" fmla="*/ 432999 h 1161525"/>
                <a:gd name="connsiteX13" fmla="*/ 207146 w 755165"/>
                <a:gd name="connsiteY13" fmla="*/ 553609 h 1161525"/>
                <a:gd name="connsiteX14" fmla="*/ 212554 w 755165"/>
                <a:gd name="connsiteY14" fmla="*/ 588764 h 1161525"/>
                <a:gd name="connsiteX15" fmla="*/ 157388 w 755165"/>
                <a:gd name="connsiteY15" fmla="*/ 597959 h 1161525"/>
                <a:gd name="connsiteX16" fmla="*/ 117905 w 755165"/>
                <a:gd name="connsiteY16" fmla="*/ 684495 h 1161525"/>
                <a:gd name="connsiteX17" fmla="*/ 133049 w 755165"/>
                <a:gd name="connsiteY17" fmla="*/ 748856 h 1161525"/>
                <a:gd name="connsiteX18" fmla="*/ 69229 w 755165"/>
                <a:gd name="connsiteY18" fmla="*/ 785093 h 1161525"/>
                <a:gd name="connsiteX19" fmla="*/ 56789 w 755165"/>
                <a:gd name="connsiteY19" fmla="*/ 847291 h 1161525"/>
                <a:gd name="connsiteX20" fmla="*/ 81128 w 755165"/>
                <a:gd name="connsiteY20" fmla="*/ 894886 h 1161525"/>
                <a:gd name="connsiteX21" fmla="*/ 81128 w 755165"/>
                <a:gd name="connsiteY21" fmla="*/ 894886 h 1161525"/>
                <a:gd name="connsiteX22" fmla="*/ 0 w 755165"/>
                <a:gd name="connsiteY22" fmla="*/ 1029558 h 1161525"/>
                <a:gd name="connsiteX23" fmla="*/ 76260 w 755165"/>
                <a:gd name="connsiteY23" fmla="*/ 1161526 h 1161525"/>
                <a:gd name="connsiteX24" fmla="*/ 228239 w 755165"/>
                <a:gd name="connsiteY24" fmla="*/ 1161526 h 1161525"/>
                <a:gd name="connsiteX25" fmla="*/ 304499 w 755165"/>
                <a:gd name="connsiteY25" fmla="*/ 1029558 h 1161525"/>
                <a:gd name="connsiteX26" fmla="*/ 303958 w 755165"/>
                <a:gd name="connsiteY26" fmla="*/ 1019282 h 1161525"/>
                <a:gd name="connsiteX27" fmla="*/ 304499 w 755165"/>
                <a:gd name="connsiteY27" fmla="*/ 1019282 h 1161525"/>
                <a:gd name="connsiteX28" fmla="*/ 409425 w 755165"/>
                <a:gd name="connsiteY28" fmla="*/ 935450 h 1161525"/>
                <a:gd name="connsiteX29" fmla="*/ 452693 w 755165"/>
                <a:gd name="connsiteY29" fmla="*/ 1032803 h 1161525"/>
                <a:gd name="connsiteX30" fmla="*/ 608999 w 755165"/>
                <a:gd name="connsiteY30" fmla="*/ 967901 h 1161525"/>
                <a:gd name="connsiteX31" fmla="*/ 644695 w 755165"/>
                <a:gd name="connsiteY31" fmla="*/ 1101492 h 1161525"/>
                <a:gd name="connsiteX32" fmla="*/ 669574 w 755165"/>
                <a:gd name="connsiteY32" fmla="*/ 1101492 h 1161525"/>
                <a:gd name="connsiteX33" fmla="*/ 748538 w 755165"/>
                <a:gd name="connsiteY33" fmla="*/ 924092 h 1161525"/>
                <a:gd name="connsiteX34" fmla="*/ 716629 w 755165"/>
                <a:gd name="connsiteY34" fmla="*/ 859731 h 116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55165" h="1161525">
                  <a:moveTo>
                    <a:pt x="716629" y="859731"/>
                  </a:moveTo>
                  <a:cubicBezTo>
                    <a:pt x="790725" y="749938"/>
                    <a:pt x="746916" y="689903"/>
                    <a:pt x="678228" y="715864"/>
                  </a:cubicBezTo>
                  <a:lnTo>
                    <a:pt x="651726" y="729386"/>
                  </a:lnTo>
                  <a:cubicBezTo>
                    <a:pt x="726904" y="620674"/>
                    <a:pt x="714465" y="569293"/>
                    <a:pt x="653349" y="609857"/>
                  </a:cubicBezTo>
                  <a:lnTo>
                    <a:pt x="671197" y="561180"/>
                  </a:lnTo>
                  <a:cubicBezTo>
                    <a:pt x="687422" y="468695"/>
                    <a:pt x="662543" y="408660"/>
                    <a:pt x="601968" y="395680"/>
                  </a:cubicBezTo>
                  <a:lnTo>
                    <a:pt x="612244" y="381077"/>
                  </a:lnTo>
                  <a:cubicBezTo>
                    <a:pt x="643614" y="305358"/>
                    <a:pt x="629010" y="229098"/>
                    <a:pt x="547882" y="255599"/>
                  </a:cubicBezTo>
                  <a:cubicBezTo>
                    <a:pt x="586283" y="190697"/>
                    <a:pt x="578170" y="108488"/>
                    <a:pt x="515972" y="116060"/>
                  </a:cubicBezTo>
                  <a:cubicBezTo>
                    <a:pt x="564649" y="54402"/>
                    <a:pt x="534902" y="11675"/>
                    <a:pt x="504074" y="44126"/>
                  </a:cubicBezTo>
                  <a:cubicBezTo>
                    <a:pt x="509482" y="-32675"/>
                    <a:pt x="455397" y="-8877"/>
                    <a:pt x="400771" y="112815"/>
                  </a:cubicBezTo>
                  <a:cubicBezTo>
                    <a:pt x="361289" y="91180"/>
                    <a:pt x="295846" y="178257"/>
                    <a:pt x="270426" y="280479"/>
                  </a:cubicBezTo>
                  <a:cubicBezTo>
                    <a:pt x="209309" y="243701"/>
                    <a:pt x="108711" y="314552"/>
                    <a:pt x="94108" y="432999"/>
                  </a:cubicBezTo>
                  <a:cubicBezTo>
                    <a:pt x="87077" y="519535"/>
                    <a:pt x="136835" y="574702"/>
                    <a:pt x="207146" y="553609"/>
                  </a:cubicBezTo>
                  <a:lnTo>
                    <a:pt x="212554" y="588764"/>
                  </a:lnTo>
                  <a:cubicBezTo>
                    <a:pt x="191461" y="581192"/>
                    <a:pt x="172531" y="583356"/>
                    <a:pt x="157388" y="597959"/>
                  </a:cubicBezTo>
                  <a:cubicBezTo>
                    <a:pt x="141162" y="613102"/>
                    <a:pt x="128722" y="622297"/>
                    <a:pt x="117905" y="684495"/>
                  </a:cubicBezTo>
                  <a:lnTo>
                    <a:pt x="133049" y="748856"/>
                  </a:lnTo>
                  <a:cubicBezTo>
                    <a:pt x="108170" y="749938"/>
                    <a:pt x="86536" y="760214"/>
                    <a:pt x="69229" y="785093"/>
                  </a:cubicBezTo>
                  <a:cubicBezTo>
                    <a:pt x="56789" y="804564"/>
                    <a:pt x="52462" y="825116"/>
                    <a:pt x="56789" y="847291"/>
                  </a:cubicBezTo>
                  <a:cubicBezTo>
                    <a:pt x="58412" y="866221"/>
                    <a:pt x="67065" y="881906"/>
                    <a:pt x="81128" y="894886"/>
                  </a:cubicBezTo>
                  <a:lnTo>
                    <a:pt x="81128" y="894886"/>
                  </a:lnTo>
                  <a:cubicBezTo>
                    <a:pt x="32992" y="920306"/>
                    <a:pt x="0" y="971146"/>
                    <a:pt x="0" y="1029558"/>
                  </a:cubicBezTo>
                  <a:cubicBezTo>
                    <a:pt x="0" y="1085807"/>
                    <a:pt x="30828" y="1135024"/>
                    <a:pt x="76260" y="1161526"/>
                  </a:cubicBezTo>
                  <a:lnTo>
                    <a:pt x="228239" y="1161526"/>
                  </a:lnTo>
                  <a:cubicBezTo>
                    <a:pt x="273671" y="1135024"/>
                    <a:pt x="304499" y="1085807"/>
                    <a:pt x="304499" y="1029558"/>
                  </a:cubicBezTo>
                  <a:cubicBezTo>
                    <a:pt x="304499" y="1026313"/>
                    <a:pt x="304499" y="1022527"/>
                    <a:pt x="303958" y="1019282"/>
                  </a:cubicBezTo>
                  <a:lnTo>
                    <a:pt x="304499" y="1019282"/>
                  </a:lnTo>
                  <a:cubicBezTo>
                    <a:pt x="354258" y="1045243"/>
                    <a:pt x="384545" y="1000352"/>
                    <a:pt x="409425" y="935450"/>
                  </a:cubicBezTo>
                  <a:lnTo>
                    <a:pt x="452693" y="1032803"/>
                  </a:lnTo>
                  <a:cubicBezTo>
                    <a:pt x="553832" y="1096083"/>
                    <a:pt x="608999" y="967901"/>
                    <a:pt x="608999" y="967901"/>
                  </a:cubicBezTo>
                  <a:cubicBezTo>
                    <a:pt x="608999" y="967901"/>
                    <a:pt x="591691" y="1074449"/>
                    <a:pt x="644695" y="1101492"/>
                  </a:cubicBezTo>
                  <a:cubicBezTo>
                    <a:pt x="651726" y="1104737"/>
                    <a:pt x="660380" y="1100951"/>
                    <a:pt x="669574" y="1101492"/>
                  </a:cubicBezTo>
                  <a:cubicBezTo>
                    <a:pt x="733395" y="1091215"/>
                    <a:pt x="755570" y="990076"/>
                    <a:pt x="748538" y="924092"/>
                  </a:cubicBezTo>
                  <a:cubicBezTo>
                    <a:pt x="743671" y="879202"/>
                    <a:pt x="716629" y="859731"/>
                    <a:pt x="716629" y="859731"/>
                  </a:cubicBezTo>
                  <a:close/>
                </a:path>
              </a:pathLst>
            </a:custGeom>
            <a:solidFill>
              <a:srgbClr val="88BCAD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1" name="Freeform: Shape 1390">
              <a:extLst>
                <a:ext uri="{FF2B5EF4-FFF2-40B4-BE49-F238E27FC236}">
                  <a16:creationId xmlns:a16="http://schemas.microsoft.com/office/drawing/2014/main" id="{AF8805EF-F679-8D5C-E081-09DDAACB01CA}"/>
                </a:ext>
              </a:extLst>
            </p:cNvPr>
            <p:cNvSpPr/>
            <p:nvPr/>
          </p:nvSpPr>
          <p:spPr>
            <a:xfrm>
              <a:off x="10270381" y="2777273"/>
              <a:ext cx="212910" cy="408343"/>
            </a:xfrm>
            <a:custGeom>
              <a:avLst/>
              <a:gdLst>
                <a:gd name="connsiteX0" fmla="*/ 106520 w 212910"/>
                <a:gd name="connsiteY0" fmla="*/ 408343 h 408343"/>
                <a:gd name="connsiteX1" fmla="*/ 180076 w 212910"/>
                <a:gd name="connsiteY1" fmla="*/ 334787 h 408343"/>
                <a:gd name="connsiteX2" fmla="*/ 202792 w 212910"/>
                <a:gd name="connsiteY2" fmla="*/ 208228 h 408343"/>
                <a:gd name="connsiteX3" fmla="*/ 107061 w 212910"/>
                <a:gd name="connsiteY3" fmla="*/ 0 h 408343"/>
                <a:gd name="connsiteX4" fmla="*/ 105979 w 212910"/>
                <a:gd name="connsiteY4" fmla="*/ 0 h 408343"/>
                <a:gd name="connsiteX5" fmla="*/ 10249 w 212910"/>
                <a:gd name="connsiteY5" fmla="*/ 208228 h 408343"/>
                <a:gd name="connsiteX6" fmla="*/ 32964 w 212910"/>
                <a:gd name="connsiteY6" fmla="*/ 334787 h 408343"/>
                <a:gd name="connsiteX7" fmla="*/ 71906 w 212910"/>
                <a:gd name="connsiteY7" fmla="*/ 373728 h 408343"/>
                <a:gd name="connsiteX8" fmla="*/ 106520 w 212910"/>
                <a:gd name="connsiteY8" fmla="*/ 408343 h 408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2910" h="408343">
                  <a:moveTo>
                    <a:pt x="106520" y="408343"/>
                  </a:moveTo>
                  <a:lnTo>
                    <a:pt x="180076" y="334787"/>
                  </a:lnTo>
                  <a:cubicBezTo>
                    <a:pt x="213068" y="301795"/>
                    <a:pt x="222262" y="250955"/>
                    <a:pt x="202792" y="208228"/>
                  </a:cubicBezTo>
                  <a:lnTo>
                    <a:pt x="107061" y="0"/>
                  </a:lnTo>
                  <a:lnTo>
                    <a:pt x="105979" y="0"/>
                  </a:lnTo>
                  <a:lnTo>
                    <a:pt x="10249" y="208228"/>
                  </a:lnTo>
                  <a:cubicBezTo>
                    <a:pt x="-9222" y="250955"/>
                    <a:pt x="-569" y="301254"/>
                    <a:pt x="32964" y="334787"/>
                  </a:cubicBezTo>
                  <a:lnTo>
                    <a:pt x="71906" y="373728"/>
                  </a:lnTo>
                  <a:lnTo>
                    <a:pt x="106520" y="408343"/>
                  </a:lnTo>
                  <a:close/>
                </a:path>
              </a:pathLst>
            </a:custGeom>
            <a:solidFill>
              <a:srgbClr val="88BCAC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2" name="Freeform: Shape 1391">
              <a:extLst>
                <a:ext uri="{FF2B5EF4-FFF2-40B4-BE49-F238E27FC236}">
                  <a16:creationId xmlns:a16="http://schemas.microsoft.com/office/drawing/2014/main" id="{704BC3CF-48CA-5908-52C8-FF15EE093CF6}"/>
                </a:ext>
              </a:extLst>
            </p:cNvPr>
            <p:cNvSpPr/>
            <p:nvPr/>
          </p:nvSpPr>
          <p:spPr>
            <a:xfrm>
              <a:off x="9852816" y="2752394"/>
              <a:ext cx="150897" cy="623602"/>
            </a:xfrm>
            <a:custGeom>
              <a:avLst/>
              <a:gdLst>
                <a:gd name="connsiteX0" fmla="*/ 0 w 150897"/>
                <a:gd name="connsiteY0" fmla="*/ 76260 h 623602"/>
                <a:gd name="connsiteX1" fmla="*/ 0 w 150897"/>
                <a:gd name="connsiteY1" fmla="*/ 623602 h 623602"/>
                <a:gd name="connsiteX2" fmla="*/ 74096 w 150897"/>
                <a:gd name="connsiteY2" fmla="*/ 623602 h 623602"/>
                <a:gd name="connsiteX3" fmla="*/ 74096 w 150897"/>
                <a:gd name="connsiteY3" fmla="*/ 289356 h 623602"/>
                <a:gd name="connsiteX4" fmla="*/ 150898 w 150897"/>
                <a:gd name="connsiteY4" fmla="*/ 40023 h 623602"/>
                <a:gd name="connsiteX5" fmla="*/ 126559 w 150897"/>
                <a:gd name="connsiteY5" fmla="*/ 40023 h 623602"/>
                <a:gd name="connsiteX6" fmla="*/ 73556 w 150897"/>
                <a:gd name="connsiteY6" fmla="*/ 204983 h 623602"/>
                <a:gd name="connsiteX7" fmla="*/ 70311 w 150897"/>
                <a:gd name="connsiteY7" fmla="*/ 0 h 623602"/>
                <a:gd name="connsiteX8" fmla="*/ 48677 w 150897"/>
                <a:gd name="connsiteY8" fmla="*/ 0 h 623602"/>
                <a:gd name="connsiteX9" fmla="*/ 0 w 150897"/>
                <a:gd name="connsiteY9" fmla="*/ 76260 h 623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0897" h="623602">
                  <a:moveTo>
                    <a:pt x="0" y="76260"/>
                  </a:moveTo>
                  <a:lnTo>
                    <a:pt x="0" y="623602"/>
                  </a:lnTo>
                  <a:lnTo>
                    <a:pt x="74096" y="623602"/>
                  </a:lnTo>
                  <a:lnTo>
                    <a:pt x="74096" y="289356"/>
                  </a:lnTo>
                  <a:lnTo>
                    <a:pt x="150898" y="40023"/>
                  </a:lnTo>
                  <a:lnTo>
                    <a:pt x="126559" y="40023"/>
                  </a:lnTo>
                  <a:lnTo>
                    <a:pt x="73556" y="204983"/>
                  </a:lnTo>
                  <a:lnTo>
                    <a:pt x="70311" y="0"/>
                  </a:lnTo>
                  <a:lnTo>
                    <a:pt x="48677" y="0"/>
                  </a:lnTo>
                  <a:cubicBezTo>
                    <a:pt x="49758" y="0"/>
                    <a:pt x="44350" y="63821"/>
                    <a:pt x="0" y="76260"/>
                  </a:cubicBezTo>
                  <a:close/>
                </a:path>
              </a:pathLst>
            </a:custGeom>
            <a:solidFill>
              <a:srgbClr val="CADBCF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3" name="Freeform: Shape 1392">
              <a:extLst>
                <a:ext uri="{FF2B5EF4-FFF2-40B4-BE49-F238E27FC236}">
                  <a16:creationId xmlns:a16="http://schemas.microsoft.com/office/drawing/2014/main" id="{61DA3EB1-215E-630B-BFE0-038368FFC03B}"/>
                </a:ext>
              </a:extLst>
            </p:cNvPr>
            <p:cNvSpPr/>
            <p:nvPr/>
          </p:nvSpPr>
          <p:spPr>
            <a:xfrm>
              <a:off x="10375279" y="2894097"/>
              <a:ext cx="2704" cy="392658"/>
            </a:xfrm>
            <a:custGeom>
              <a:avLst/>
              <a:gdLst>
                <a:gd name="connsiteX0" fmla="*/ 0 w 2704"/>
                <a:gd name="connsiteY0" fmla="*/ 0 h 392658"/>
                <a:gd name="connsiteX1" fmla="*/ 1623 w 2704"/>
                <a:gd name="connsiteY1" fmla="*/ 17848 h 392658"/>
                <a:gd name="connsiteX2" fmla="*/ 541 w 2704"/>
                <a:gd name="connsiteY2" fmla="*/ 35696 h 392658"/>
                <a:gd name="connsiteX3" fmla="*/ 2164 w 2704"/>
                <a:gd name="connsiteY3" fmla="*/ 53544 h 392658"/>
                <a:gd name="connsiteX4" fmla="*/ 1081 w 2704"/>
                <a:gd name="connsiteY4" fmla="*/ 71392 h 392658"/>
                <a:gd name="connsiteX5" fmla="*/ 1081 w 2704"/>
                <a:gd name="connsiteY5" fmla="*/ 89241 h 392658"/>
                <a:gd name="connsiteX6" fmla="*/ 541 w 2704"/>
                <a:gd name="connsiteY6" fmla="*/ 107089 h 392658"/>
                <a:gd name="connsiteX7" fmla="*/ 2704 w 2704"/>
                <a:gd name="connsiteY7" fmla="*/ 124937 h 392658"/>
                <a:gd name="connsiteX8" fmla="*/ 2164 w 2704"/>
                <a:gd name="connsiteY8" fmla="*/ 142785 h 392658"/>
                <a:gd name="connsiteX9" fmla="*/ 1623 w 2704"/>
                <a:gd name="connsiteY9" fmla="*/ 160633 h 392658"/>
                <a:gd name="connsiteX10" fmla="*/ 1081 w 2704"/>
                <a:gd name="connsiteY10" fmla="*/ 178481 h 392658"/>
                <a:gd name="connsiteX11" fmla="*/ 2704 w 2704"/>
                <a:gd name="connsiteY11" fmla="*/ 196329 h 392658"/>
                <a:gd name="connsiteX12" fmla="*/ 2704 w 2704"/>
                <a:gd name="connsiteY12" fmla="*/ 214177 h 392658"/>
                <a:gd name="connsiteX13" fmla="*/ 1623 w 2704"/>
                <a:gd name="connsiteY13" fmla="*/ 232026 h 392658"/>
                <a:gd name="connsiteX14" fmla="*/ 1623 w 2704"/>
                <a:gd name="connsiteY14" fmla="*/ 249874 h 392658"/>
                <a:gd name="connsiteX15" fmla="*/ 2704 w 2704"/>
                <a:gd name="connsiteY15" fmla="*/ 267722 h 392658"/>
                <a:gd name="connsiteX16" fmla="*/ 2164 w 2704"/>
                <a:gd name="connsiteY16" fmla="*/ 285570 h 392658"/>
                <a:gd name="connsiteX17" fmla="*/ 1623 w 2704"/>
                <a:gd name="connsiteY17" fmla="*/ 303418 h 392658"/>
                <a:gd name="connsiteX18" fmla="*/ 541 w 2704"/>
                <a:gd name="connsiteY18" fmla="*/ 321266 h 392658"/>
                <a:gd name="connsiteX19" fmla="*/ 0 w 2704"/>
                <a:gd name="connsiteY19" fmla="*/ 339114 h 392658"/>
                <a:gd name="connsiteX20" fmla="*/ 541 w 2704"/>
                <a:gd name="connsiteY20" fmla="*/ 356962 h 392658"/>
                <a:gd name="connsiteX21" fmla="*/ 0 w 2704"/>
                <a:gd name="connsiteY21" fmla="*/ 374811 h 392658"/>
                <a:gd name="connsiteX22" fmla="*/ 1081 w 2704"/>
                <a:gd name="connsiteY22" fmla="*/ 392659 h 392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04" h="392658">
                  <a:moveTo>
                    <a:pt x="0" y="0"/>
                  </a:moveTo>
                  <a:cubicBezTo>
                    <a:pt x="0" y="9195"/>
                    <a:pt x="1623" y="9195"/>
                    <a:pt x="1623" y="17848"/>
                  </a:cubicBezTo>
                  <a:cubicBezTo>
                    <a:pt x="1623" y="27043"/>
                    <a:pt x="541" y="27043"/>
                    <a:pt x="541" y="35696"/>
                  </a:cubicBezTo>
                  <a:cubicBezTo>
                    <a:pt x="541" y="44891"/>
                    <a:pt x="2164" y="44891"/>
                    <a:pt x="2164" y="53544"/>
                  </a:cubicBezTo>
                  <a:cubicBezTo>
                    <a:pt x="2164" y="62739"/>
                    <a:pt x="1081" y="62739"/>
                    <a:pt x="1081" y="71392"/>
                  </a:cubicBezTo>
                  <a:cubicBezTo>
                    <a:pt x="1081" y="80587"/>
                    <a:pt x="1081" y="80587"/>
                    <a:pt x="1081" y="89241"/>
                  </a:cubicBezTo>
                  <a:cubicBezTo>
                    <a:pt x="1081" y="98435"/>
                    <a:pt x="541" y="98435"/>
                    <a:pt x="541" y="107089"/>
                  </a:cubicBezTo>
                  <a:cubicBezTo>
                    <a:pt x="541" y="116283"/>
                    <a:pt x="2704" y="116283"/>
                    <a:pt x="2704" y="124937"/>
                  </a:cubicBezTo>
                  <a:cubicBezTo>
                    <a:pt x="2704" y="134132"/>
                    <a:pt x="2164" y="134132"/>
                    <a:pt x="2164" y="142785"/>
                  </a:cubicBezTo>
                  <a:cubicBezTo>
                    <a:pt x="2164" y="151980"/>
                    <a:pt x="1623" y="151980"/>
                    <a:pt x="1623" y="160633"/>
                  </a:cubicBezTo>
                  <a:cubicBezTo>
                    <a:pt x="1623" y="169828"/>
                    <a:pt x="1081" y="169828"/>
                    <a:pt x="1081" y="178481"/>
                  </a:cubicBezTo>
                  <a:cubicBezTo>
                    <a:pt x="1081" y="187676"/>
                    <a:pt x="2704" y="187676"/>
                    <a:pt x="2704" y="196329"/>
                  </a:cubicBezTo>
                  <a:cubicBezTo>
                    <a:pt x="2704" y="205524"/>
                    <a:pt x="2704" y="205524"/>
                    <a:pt x="2704" y="214177"/>
                  </a:cubicBezTo>
                  <a:cubicBezTo>
                    <a:pt x="2704" y="223372"/>
                    <a:pt x="1623" y="223372"/>
                    <a:pt x="1623" y="232026"/>
                  </a:cubicBezTo>
                  <a:cubicBezTo>
                    <a:pt x="1623" y="241220"/>
                    <a:pt x="1623" y="241220"/>
                    <a:pt x="1623" y="249874"/>
                  </a:cubicBezTo>
                  <a:cubicBezTo>
                    <a:pt x="1623" y="259068"/>
                    <a:pt x="2704" y="259068"/>
                    <a:pt x="2704" y="267722"/>
                  </a:cubicBezTo>
                  <a:cubicBezTo>
                    <a:pt x="2704" y="276916"/>
                    <a:pt x="2164" y="276916"/>
                    <a:pt x="2164" y="285570"/>
                  </a:cubicBezTo>
                  <a:cubicBezTo>
                    <a:pt x="2164" y="294764"/>
                    <a:pt x="1623" y="294764"/>
                    <a:pt x="1623" y="303418"/>
                  </a:cubicBezTo>
                  <a:cubicBezTo>
                    <a:pt x="1623" y="312613"/>
                    <a:pt x="541" y="312613"/>
                    <a:pt x="541" y="321266"/>
                  </a:cubicBezTo>
                  <a:cubicBezTo>
                    <a:pt x="541" y="330461"/>
                    <a:pt x="0" y="330461"/>
                    <a:pt x="0" y="339114"/>
                  </a:cubicBezTo>
                  <a:cubicBezTo>
                    <a:pt x="0" y="348309"/>
                    <a:pt x="541" y="348309"/>
                    <a:pt x="541" y="356962"/>
                  </a:cubicBezTo>
                  <a:cubicBezTo>
                    <a:pt x="541" y="366157"/>
                    <a:pt x="0" y="366157"/>
                    <a:pt x="0" y="374811"/>
                  </a:cubicBezTo>
                  <a:cubicBezTo>
                    <a:pt x="0" y="383464"/>
                    <a:pt x="1081" y="384005"/>
                    <a:pt x="1081" y="392659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4" name="Freeform: Shape 1393">
              <a:extLst>
                <a:ext uri="{FF2B5EF4-FFF2-40B4-BE49-F238E27FC236}">
                  <a16:creationId xmlns:a16="http://schemas.microsoft.com/office/drawing/2014/main" id="{ECF7B651-3413-EA73-72C5-A04EA8B42D5E}"/>
                </a:ext>
              </a:extLst>
            </p:cNvPr>
            <p:cNvSpPr/>
            <p:nvPr/>
          </p:nvSpPr>
          <p:spPr>
            <a:xfrm>
              <a:off x="10331470" y="2962785"/>
              <a:ext cx="45972" cy="44890"/>
            </a:xfrm>
            <a:custGeom>
              <a:avLst/>
              <a:gdLst>
                <a:gd name="connsiteX0" fmla="*/ 0 w 45972"/>
                <a:gd name="connsiteY0" fmla="*/ 0 h 44890"/>
                <a:gd name="connsiteX1" fmla="*/ 11358 w 45972"/>
                <a:gd name="connsiteY1" fmla="*/ 11358 h 44890"/>
                <a:gd name="connsiteX2" fmla="*/ 23256 w 45972"/>
                <a:gd name="connsiteY2" fmla="*/ 22175 h 44890"/>
                <a:gd name="connsiteX3" fmla="*/ 34073 w 45972"/>
                <a:gd name="connsiteY3" fmla="*/ 34074 h 44890"/>
                <a:gd name="connsiteX4" fmla="*/ 45972 w 45972"/>
                <a:gd name="connsiteY4" fmla="*/ 44891 h 4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972" h="44890">
                  <a:moveTo>
                    <a:pt x="0" y="0"/>
                  </a:moveTo>
                  <a:cubicBezTo>
                    <a:pt x="5409" y="5409"/>
                    <a:pt x="5409" y="5409"/>
                    <a:pt x="11358" y="11358"/>
                  </a:cubicBezTo>
                  <a:cubicBezTo>
                    <a:pt x="16766" y="16767"/>
                    <a:pt x="17307" y="16767"/>
                    <a:pt x="23256" y="22175"/>
                  </a:cubicBezTo>
                  <a:cubicBezTo>
                    <a:pt x="28665" y="27584"/>
                    <a:pt x="28665" y="28124"/>
                    <a:pt x="34073" y="34074"/>
                  </a:cubicBezTo>
                  <a:cubicBezTo>
                    <a:pt x="39482" y="39482"/>
                    <a:pt x="40564" y="38941"/>
                    <a:pt x="45972" y="44891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5" name="Freeform: Shape 1394">
              <a:extLst>
                <a:ext uri="{FF2B5EF4-FFF2-40B4-BE49-F238E27FC236}">
                  <a16:creationId xmlns:a16="http://schemas.microsoft.com/office/drawing/2014/main" id="{BA568429-F2F3-CB92-459F-7E686EFCCC1D}"/>
                </a:ext>
              </a:extLst>
            </p:cNvPr>
            <p:cNvSpPr/>
            <p:nvPr/>
          </p:nvSpPr>
          <p:spPr>
            <a:xfrm>
              <a:off x="10376360" y="3026065"/>
              <a:ext cx="39482" cy="39482"/>
            </a:xfrm>
            <a:custGeom>
              <a:avLst/>
              <a:gdLst>
                <a:gd name="connsiteX0" fmla="*/ 39482 w 39482"/>
                <a:gd name="connsiteY0" fmla="*/ 0 h 39482"/>
                <a:gd name="connsiteX1" fmla="*/ 25961 w 39482"/>
                <a:gd name="connsiteY1" fmla="*/ 12440 h 39482"/>
                <a:gd name="connsiteX2" fmla="*/ 13521 w 39482"/>
                <a:gd name="connsiteY2" fmla="*/ 26502 h 39482"/>
                <a:gd name="connsiteX3" fmla="*/ 0 w 39482"/>
                <a:gd name="connsiteY3" fmla="*/ 39482 h 39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482" h="39482">
                  <a:moveTo>
                    <a:pt x="39482" y="0"/>
                  </a:moveTo>
                  <a:cubicBezTo>
                    <a:pt x="32992" y="6490"/>
                    <a:pt x="32451" y="5949"/>
                    <a:pt x="25961" y="12440"/>
                  </a:cubicBezTo>
                  <a:cubicBezTo>
                    <a:pt x="19471" y="18930"/>
                    <a:pt x="20012" y="20012"/>
                    <a:pt x="13521" y="26502"/>
                  </a:cubicBezTo>
                  <a:cubicBezTo>
                    <a:pt x="7031" y="32992"/>
                    <a:pt x="6491" y="32451"/>
                    <a:pt x="0" y="39482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6" name="Freeform: Shape 1395">
              <a:extLst>
                <a:ext uri="{FF2B5EF4-FFF2-40B4-BE49-F238E27FC236}">
                  <a16:creationId xmlns:a16="http://schemas.microsoft.com/office/drawing/2014/main" id="{38078893-F1E8-B912-32EB-215DA2CB280B}"/>
                </a:ext>
              </a:extLst>
            </p:cNvPr>
            <p:cNvSpPr/>
            <p:nvPr/>
          </p:nvSpPr>
          <p:spPr>
            <a:xfrm>
              <a:off x="10335796" y="3061220"/>
              <a:ext cx="39482" cy="41645"/>
            </a:xfrm>
            <a:custGeom>
              <a:avLst/>
              <a:gdLst>
                <a:gd name="connsiteX0" fmla="*/ 0 w 39482"/>
                <a:gd name="connsiteY0" fmla="*/ 0 h 41645"/>
                <a:gd name="connsiteX1" fmla="*/ 12981 w 39482"/>
                <a:gd name="connsiteY1" fmla="*/ 14062 h 41645"/>
                <a:gd name="connsiteX2" fmla="*/ 27584 w 39482"/>
                <a:gd name="connsiteY2" fmla="*/ 26502 h 41645"/>
                <a:gd name="connsiteX3" fmla="*/ 39482 w 39482"/>
                <a:gd name="connsiteY3" fmla="*/ 41646 h 41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482" h="41645">
                  <a:moveTo>
                    <a:pt x="0" y="0"/>
                  </a:moveTo>
                  <a:cubicBezTo>
                    <a:pt x="6491" y="6490"/>
                    <a:pt x="6491" y="7031"/>
                    <a:pt x="12981" y="14062"/>
                  </a:cubicBezTo>
                  <a:cubicBezTo>
                    <a:pt x="19471" y="20552"/>
                    <a:pt x="21093" y="19471"/>
                    <a:pt x="27584" y="26502"/>
                  </a:cubicBezTo>
                  <a:cubicBezTo>
                    <a:pt x="34074" y="32992"/>
                    <a:pt x="32992" y="34615"/>
                    <a:pt x="39482" y="41646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8" name="Freeform: Shape 1397">
              <a:extLst>
                <a:ext uri="{FF2B5EF4-FFF2-40B4-BE49-F238E27FC236}">
                  <a16:creationId xmlns:a16="http://schemas.microsoft.com/office/drawing/2014/main" id="{61ADE1E3-0103-F12B-9A42-585C24428582}"/>
                </a:ext>
              </a:extLst>
            </p:cNvPr>
            <p:cNvSpPr/>
            <p:nvPr/>
          </p:nvSpPr>
          <p:spPr>
            <a:xfrm>
              <a:off x="10269812" y="2775967"/>
              <a:ext cx="213636" cy="409648"/>
            </a:xfrm>
            <a:custGeom>
              <a:avLst/>
              <a:gdLst>
                <a:gd name="connsiteX0" fmla="*/ 107630 w 213636"/>
                <a:gd name="connsiteY0" fmla="*/ 409649 h 409648"/>
                <a:gd name="connsiteX1" fmla="*/ 119528 w 213636"/>
                <a:gd name="connsiteY1" fmla="*/ 397209 h 409648"/>
                <a:gd name="connsiteX2" fmla="*/ 132509 w 213636"/>
                <a:gd name="connsiteY2" fmla="*/ 385310 h 409648"/>
                <a:gd name="connsiteX3" fmla="*/ 144407 w 213636"/>
                <a:gd name="connsiteY3" fmla="*/ 372871 h 409648"/>
                <a:gd name="connsiteX4" fmla="*/ 156306 w 213636"/>
                <a:gd name="connsiteY4" fmla="*/ 360431 h 409648"/>
                <a:gd name="connsiteX5" fmla="*/ 168205 w 213636"/>
                <a:gd name="connsiteY5" fmla="*/ 347992 h 409648"/>
                <a:gd name="connsiteX6" fmla="*/ 180104 w 213636"/>
                <a:gd name="connsiteY6" fmla="*/ 335011 h 409648"/>
                <a:gd name="connsiteX7" fmla="*/ 191462 w 213636"/>
                <a:gd name="connsiteY7" fmla="*/ 322031 h 409648"/>
                <a:gd name="connsiteX8" fmla="*/ 201197 w 213636"/>
                <a:gd name="connsiteY8" fmla="*/ 307969 h 409648"/>
                <a:gd name="connsiteX9" fmla="*/ 206605 w 213636"/>
                <a:gd name="connsiteY9" fmla="*/ 291743 h 409648"/>
                <a:gd name="connsiteX10" fmla="*/ 210932 w 213636"/>
                <a:gd name="connsiteY10" fmla="*/ 275518 h 409648"/>
                <a:gd name="connsiteX11" fmla="*/ 213636 w 213636"/>
                <a:gd name="connsiteY11" fmla="*/ 258751 h 409648"/>
                <a:gd name="connsiteX12" fmla="*/ 212014 w 213636"/>
                <a:gd name="connsiteY12" fmla="*/ 241985 h 409648"/>
                <a:gd name="connsiteX13" fmla="*/ 208228 w 213636"/>
                <a:gd name="connsiteY13" fmla="*/ 225218 h 409648"/>
                <a:gd name="connsiteX14" fmla="*/ 203901 w 213636"/>
                <a:gd name="connsiteY14" fmla="*/ 208452 h 409648"/>
                <a:gd name="connsiteX15" fmla="*/ 195788 w 213636"/>
                <a:gd name="connsiteY15" fmla="*/ 192767 h 409648"/>
                <a:gd name="connsiteX16" fmla="*/ 187675 w 213636"/>
                <a:gd name="connsiteY16" fmla="*/ 177083 h 409648"/>
                <a:gd name="connsiteX17" fmla="*/ 180104 w 213636"/>
                <a:gd name="connsiteY17" fmla="*/ 161398 h 409648"/>
                <a:gd name="connsiteX18" fmla="*/ 174695 w 213636"/>
                <a:gd name="connsiteY18" fmla="*/ 144631 h 409648"/>
                <a:gd name="connsiteX19" fmla="*/ 166583 w 213636"/>
                <a:gd name="connsiteY19" fmla="*/ 128947 h 409648"/>
                <a:gd name="connsiteX20" fmla="*/ 160092 w 213636"/>
                <a:gd name="connsiteY20" fmla="*/ 112721 h 409648"/>
                <a:gd name="connsiteX21" fmla="*/ 152520 w 213636"/>
                <a:gd name="connsiteY21" fmla="*/ 96496 h 409648"/>
                <a:gd name="connsiteX22" fmla="*/ 143866 w 213636"/>
                <a:gd name="connsiteY22" fmla="*/ 81352 h 409648"/>
                <a:gd name="connsiteX23" fmla="*/ 138458 w 213636"/>
                <a:gd name="connsiteY23" fmla="*/ 64585 h 409648"/>
                <a:gd name="connsiteX24" fmla="*/ 129264 w 213636"/>
                <a:gd name="connsiteY24" fmla="*/ 49442 h 409648"/>
                <a:gd name="connsiteX25" fmla="*/ 123855 w 213636"/>
                <a:gd name="connsiteY25" fmla="*/ 32675 h 409648"/>
                <a:gd name="connsiteX26" fmla="*/ 116283 w 213636"/>
                <a:gd name="connsiteY26" fmla="*/ 16450 h 409648"/>
                <a:gd name="connsiteX27" fmla="*/ 109252 w 213636"/>
                <a:gd name="connsiteY27" fmla="*/ 224 h 409648"/>
                <a:gd name="connsiteX28" fmla="*/ 107089 w 213636"/>
                <a:gd name="connsiteY28" fmla="*/ 765 h 409648"/>
                <a:gd name="connsiteX29" fmla="*/ 99517 w 213636"/>
                <a:gd name="connsiteY29" fmla="*/ 16450 h 409648"/>
                <a:gd name="connsiteX30" fmla="*/ 92486 w 213636"/>
                <a:gd name="connsiteY30" fmla="*/ 32675 h 409648"/>
                <a:gd name="connsiteX31" fmla="*/ 84373 w 213636"/>
                <a:gd name="connsiteY31" fmla="*/ 48360 h 409648"/>
                <a:gd name="connsiteX32" fmla="*/ 77342 w 213636"/>
                <a:gd name="connsiteY32" fmla="*/ 64585 h 409648"/>
                <a:gd name="connsiteX33" fmla="*/ 70851 w 213636"/>
                <a:gd name="connsiteY33" fmla="*/ 80811 h 409648"/>
                <a:gd name="connsiteX34" fmla="*/ 64361 w 213636"/>
                <a:gd name="connsiteY34" fmla="*/ 97037 h 409648"/>
                <a:gd name="connsiteX35" fmla="*/ 56789 w 213636"/>
                <a:gd name="connsiteY35" fmla="*/ 112721 h 409648"/>
                <a:gd name="connsiteX36" fmla="*/ 49758 w 213636"/>
                <a:gd name="connsiteY36" fmla="*/ 128947 h 409648"/>
                <a:gd name="connsiteX37" fmla="*/ 42727 w 213636"/>
                <a:gd name="connsiteY37" fmla="*/ 145172 h 409648"/>
                <a:gd name="connsiteX38" fmla="*/ 34615 w 213636"/>
                <a:gd name="connsiteY38" fmla="*/ 160857 h 409648"/>
                <a:gd name="connsiteX39" fmla="*/ 27043 w 213636"/>
                <a:gd name="connsiteY39" fmla="*/ 177083 h 409648"/>
                <a:gd name="connsiteX40" fmla="*/ 19471 w 213636"/>
                <a:gd name="connsiteY40" fmla="*/ 193308 h 409648"/>
                <a:gd name="connsiteX41" fmla="*/ 10817 w 213636"/>
                <a:gd name="connsiteY41" fmla="*/ 208993 h 409648"/>
                <a:gd name="connsiteX42" fmla="*/ 5949 w 213636"/>
                <a:gd name="connsiteY42" fmla="*/ 225218 h 409648"/>
                <a:gd name="connsiteX43" fmla="*/ 2164 w 213636"/>
                <a:gd name="connsiteY43" fmla="*/ 241985 h 409648"/>
                <a:gd name="connsiteX44" fmla="*/ 0 w 213636"/>
                <a:gd name="connsiteY44" fmla="*/ 259292 h 409648"/>
                <a:gd name="connsiteX45" fmla="*/ 3786 w 213636"/>
                <a:gd name="connsiteY45" fmla="*/ 276058 h 409648"/>
                <a:gd name="connsiteX46" fmla="*/ 8113 w 213636"/>
                <a:gd name="connsiteY46" fmla="*/ 292284 h 409648"/>
                <a:gd name="connsiteX47" fmla="*/ 12981 w 213636"/>
                <a:gd name="connsiteY47" fmla="*/ 309051 h 409648"/>
                <a:gd name="connsiteX48" fmla="*/ 22716 w 213636"/>
                <a:gd name="connsiteY48" fmla="*/ 323113 h 409648"/>
                <a:gd name="connsiteX49" fmla="*/ 33533 w 213636"/>
                <a:gd name="connsiteY49" fmla="*/ 336634 h 409648"/>
                <a:gd name="connsiteX50" fmla="*/ 46513 w 213636"/>
                <a:gd name="connsiteY50" fmla="*/ 349614 h 409648"/>
                <a:gd name="connsiteX51" fmla="*/ 59494 w 213636"/>
                <a:gd name="connsiteY51" fmla="*/ 362595 h 409648"/>
                <a:gd name="connsiteX52" fmla="*/ 72474 w 213636"/>
                <a:gd name="connsiteY52" fmla="*/ 375575 h 409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13636" h="409648">
                  <a:moveTo>
                    <a:pt x="107630" y="409649"/>
                  </a:moveTo>
                  <a:cubicBezTo>
                    <a:pt x="113579" y="403700"/>
                    <a:pt x="113579" y="403159"/>
                    <a:pt x="119528" y="397209"/>
                  </a:cubicBezTo>
                  <a:cubicBezTo>
                    <a:pt x="125477" y="391260"/>
                    <a:pt x="126019" y="391801"/>
                    <a:pt x="132509" y="385310"/>
                  </a:cubicBezTo>
                  <a:cubicBezTo>
                    <a:pt x="138458" y="379361"/>
                    <a:pt x="138458" y="378820"/>
                    <a:pt x="144407" y="372871"/>
                  </a:cubicBezTo>
                  <a:cubicBezTo>
                    <a:pt x="150357" y="366921"/>
                    <a:pt x="150357" y="366381"/>
                    <a:pt x="156306" y="360431"/>
                  </a:cubicBezTo>
                  <a:cubicBezTo>
                    <a:pt x="162256" y="354482"/>
                    <a:pt x="162256" y="353941"/>
                    <a:pt x="168205" y="347992"/>
                  </a:cubicBezTo>
                  <a:cubicBezTo>
                    <a:pt x="174154" y="342042"/>
                    <a:pt x="173613" y="341502"/>
                    <a:pt x="180104" y="335011"/>
                  </a:cubicBezTo>
                  <a:cubicBezTo>
                    <a:pt x="184430" y="330685"/>
                    <a:pt x="188217" y="326899"/>
                    <a:pt x="191462" y="322031"/>
                  </a:cubicBezTo>
                  <a:cubicBezTo>
                    <a:pt x="194707" y="317163"/>
                    <a:pt x="198492" y="312836"/>
                    <a:pt x="201197" y="307969"/>
                  </a:cubicBezTo>
                  <a:cubicBezTo>
                    <a:pt x="203901" y="303101"/>
                    <a:pt x="204983" y="297152"/>
                    <a:pt x="206605" y="291743"/>
                  </a:cubicBezTo>
                  <a:cubicBezTo>
                    <a:pt x="208228" y="286335"/>
                    <a:pt x="209851" y="280926"/>
                    <a:pt x="210932" y="275518"/>
                  </a:cubicBezTo>
                  <a:cubicBezTo>
                    <a:pt x="212014" y="270109"/>
                    <a:pt x="213636" y="264160"/>
                    <a:pt x="213636" y="258751"/>
                  </a:cubicBezTo>
                  <a:cubicBezTo>
                    <a:pt x="213636" y="253343"/>
                    <a:pt x="213096" y="247393"/>
                    <a:pt x="212014" y="241985"/>
                  </a:cubicBezTo>
                  <a:cubicBezTo>
                    <a:pt x="211473" y="236576"/>
                    <a:pt x="209851" y="231168"/>
                    <a:pt x="208228" y="225218"/>
                  </a:cubicBezTo>
                  <a:cubicBezTo>
                    <a:pt x="206605" y="219810"/>
                    <a:pt x="206064" y="213860"/>
                    <a:pt x="203901" y="208452"/>
                  </a:cubicBezTo>
                  <a:cubicBezTo>
                    <a:pt x="200115" y="200339"/>
                    <a:pt x="199034" y="200880"/>
                    <a:pt x="195788" y="192767"/>
                  </a:cubicBezTo>
                  <a:cubicBezTo>
                    <a:pt x="192002" y="184655"/>
                    <a:pt x="191462" y="185195"/>
                    <a:pt x="187675" y="177083"/>
                  </a:cubicBezTo>
                  <a:cubicBezTo>
                    <a:pt x="183890" y="168970"/>
                    <a:pt x="183890" y="168970"/>
                    <a:pt x="180104" y="161398"/>
                  </a:cubicBezTo>
                  <a:cubicBezTo>
                    <a:pt x="176318" y="153285"/>
                    <a:pt x="177940" y="152744"/>
                    <a:pt x="174695" y="144631"/>
                  </a:cubicBezTo>
                  <a:cubicBezTo>
                    <a:pt x="170909" y="136519"/>
                    <a:pt x="170368" y="137059"/>
                    <a:pt x="166583" y="128947"/>
                  </a:cubicBezTo>
                  <a:cubicBezTo>
                    <a:pt x="162796" y="120834"/>
                    <a:pt x="163878" y="120293"/>
                    <a:pt x="160092" y="112721"/>
                  </a:cubicBezTo>
                  <a:cubicBezTo>
                    <a:pt x="156306" y="104608"/>
                    <a:pt x="156306" y="104608"/>
                    <a:pt x="152520" y="96496"/>
                  </a:cubicBezTo>
                  <a:cubicBezTo>
                    <a:pt x="148734" y="88383"/>
                    <a:pt x="147653" y="88924"/>
                    <a:pt x="143866" y="81352"/>
                  </a:cubicBezTo>
                  <a:cubicBezTo>
                    <a:pt x="140081" y="73239"/>
                    <a:pt x="141703" y="72698"/>
                    <a:pt x="138458" y="64585"/>
                  </a:cubicBezTo>
                  <a:cubicBezTo>
                    <a:pt x="134672" y="56473"/>
                    <a:pt x="133049" y="57554"/>
                    <a:pt x="129264" y="49442"/>
                  </a:cubicBezTo>
                  <a:cubicBezTo>
                    <a:pt x="125477" y="41329"/>
                    <a:pt x="127100" y="40788"/>
                    <a:pt x="123855" y="32675"/>
                  </a:cubicBezTo>
                  <a:cubicBezTo>
                    <a:pt x="120069" y="24562"/>
                    <a:pt x="120069" y="24562"/>
                    <a:pt x="116283" y="16450"/>
                  </a:cubicBezTo>
                  <a:cubicBezTo>
                    <a:pt x="112497" y="8337"/>
                    <a:pt x="113038" y="8337"/>
                    <a:pt x="109252" y="224"/>
                  </a:cubicBezTo>
                  <a:cubicBezTo>
                    <a:pt x="109252" y="-317"/>
                    <a:pt x="107089" y="224"/>
                    <a:pt x="107089" y="765"/>
                  </a:cubicBezTo>
                  <a:cubicBezTo>
                    <a:pt x="102762" y="8337"/>
                    <a:pt x="103303" y="8878"/>
                    <a:pt x="99517" y="16450"/>
                  </a:cubicBezTo>
                  <a:cubicBezTo>
                    <a:pt x="95730" y="24562"/>
                    <a:pt x="96272" y="24562"/>
                    <a:pt x="92486" y="32675"/>
                  </a:cubicBezTo>
                  <a:cubicBezTo>
                    <a:pt x="88700" y="40788"/>
                    <a:pt x="88159" y="40247"/>
                    <a:pt x="84373" y="48360"/>
                  </a:cubicBezTo>
                  <a:cubicBezTo>
                    <a:pt x="80587" y="56473"/>
                    <a:pt x="80587" y="56473"/>
                    <a:pt x="77342" y="64585"/>
                  </a:cubicBezTo>
                  <a:cubicBezTo>
                    <a:pt x="73556" y="72698"/>
                    <a:pt x="74096" y="72698"/>
                    <a:pt x="70851" y="80811"/>
                  </a:cubicBezTo>
                  <a:cubicBezTo>
                    <a:pt x="67066" y="88924"/>
                    <a:pt x="68147" y="89465"/>
                    <a:pt x="64361" y="97037"/>
                  </a:cubicBezTo>
                  <a:cubicBezTo>
                    <a:pt x="60575" y="105149"/>
                    <a:pt x="60034" y="104608"/>
                    <a:pt x="56789" y="112721"/>
                  </a:cubicBezTo>
                  <a:cubicBezTo>
                    <a:pt x="53004" y="120834"/>
                    <a:pt x="53544" y="120834"/>
                    <a:pt x="49758" y="128947"/>
                  </a:cubicBezTo>
                  <a:cubicBezTo>
                    <a:pt x="45972" y="137059"/>
                    <a:pt x="46513" y="137059"/>
                    <a:pt x="42727" y="145172"/>
                  </a:cubicBezTo>
                  <a:cubicBezTo>
                    <a:pt x="38941" y="153285"/>
                    <a:pt x="38400" y="152744"/>
                    <a:pt x="34615" y="160857"/>
                  </a:cubicBezTo>
                  <a:cubicBezTo>
                    <a:pt x="30828" y="168970"/>
                    <a:pt x="30828" y="168970"/>
                    <a:pt x="27043" y="177083"/>
                  </a:cubicBezTo>
                  <a:cubicBezTo>
                    <a:pt x="23257" y="185195"/>
                    <a:pt x="23257" y="185195"/>
                    <a:pt x="19471" y="193308"/>
                  </a:cubicBezTo>
                  <a:cubicBezTo>
                    <a:pt x="15685" y="201421"/>
                    <a:pt x="14603" y="200880"/>
                    <a:pt x="10817" y="208993"/>
                  </a:cubicBezTo>
                  <a:cubicBezTo>
                    <a:pt x="8653" y="214401"/>
                    <a:pt x="7572" y="219810"/>
                    <a:pt x="5949" y="225218"/>
                  </a:cubicBezTo>
                  <a:cubicBezTo>
                    <a:pt x="4327" y="230627"/>
                    <a:pt x="3245" y="236576"/>
                    <a:pt x="2164" y="241985"/>
                  </a:cubicBezTo>
                  <a:cubicBezTo>
                    <a:pt x="1623" y="247393"/>
                    <a:pt x="0" y="253343"/>
                    <a:pt x="0" y="259292"/>
                  </a:cubicBezTo>
                  <a:cubicBezTo>
                    <a:pt x="0" y="265241"/>
                    <a:pt x="2704" y="270650"/>
                    <a:pt x="3786" y="276058"/>
                  </a:cubicBezTo>
                  <a:cubicBezTo>
                    <a:pt x="4868" y="281467"/>
                    <a:pt x="6490" y="286875"/>
                    <a:pt x="8113" y="292284"/>
                  </a:cubicBezTo>
                  <a:cubicBezTo>
                    <a:pt x="9736" y="297692"/>
                    <a:pt x="10276" y="303642"/>
                    <a:pt x="12981" y="309051"/>
                  </a:cubicBezTo>
                  <a:cubicBezTo>
                    <a:pt x="15685" y="313918"/>
                    <a:pt x="19471" y="318786"/>
                    <a:pt x="22716" y="323113"/>
                  </a:cubicBezTo>
                  <a:cubicBezTo>
                    <a:pt x="25961" y="327439"/>
                    <a:pt x="29206" y="332307"/>
                    <a:pt x="33533" y="336634"/>
                  </a:cubicBezTo>
                  <a:cubicBezTo>
                    <a:pt x="40023" y="343124"/>
                    <a:pt x="40023" y="343124"/>
                    <a:pt x="46513" y="349614"/>
                  </a:cubicBezTo>
                  <a:cubicBezTo>
                    <a:pt x="53004" y="356104"/>
                    <a:pt x="53004" y="356104"/>
                    <a:pt x="59494" y="362595"/>
                  </a:cubicBezTo>
                  <a:cubicBezTo>
                    <a:pt x="65984" y="369085"/>
                    <a:pt x="65984" y="369085"/>
                    <a:pt x="72474" y="375575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99" name="Freeform: Shape 1398">
              <a:extLst>
                <a:ext uri="{FF2B5EF4-FFF2-40B4-BE49-F238E27FC236}">
                  <a16:creationId xmlns:a16="http://schemas.microsoft.com/office/drawing/2014/main" id="{4D2D9990-15CF-2D6A-435F-C72EC56628FA}"/>
                </a:ext>
              </a:extLst>
            </p:cNvPr>
            <p:cNvSpPr/>
            <p:nvPr/>
          </p:nvSpPr>
          <p:spPr>
            <a:xfrm>
              <a:off x="10076187" y="2468988"/>
              <a:ext cx="155850" cy="851783"/>
            </a:xfrm>
            <a:custGeom>
              <a:avLst/>
              <a:gdLst>
                <a:gd name="connsiteX0" fmla="*/ 0 w 155850"/>
                <a:gd name="connsiteY0" fmla="*/ 0 h 851783"/>
                <a:gd name="connsiteX1" fmla="*/ 13521 w 155850"/>
                <a:gd name="connsiteY1" fmla="*/ 12440 h 851783"/>
                <a:gd name="connsiteX2" fmla="*/ 23257 w 155850"/>
                <a:gd name="connsiteY2" fmla="*/ 27583 h 851783"/>
                <a:gd name="connsiteX3" fmla="*/ 27584 w 155850"/>
                <a:gd name="connsiteY3" fmla="*/ 45432 h 851783"/>
                <a:gd name="connsiteX4" fmla="*/ 30288 w 155850"/>
                <a:gd name="connsiteY4" fmla="*/ 63820 h 851783"/>
                <a:gd name="connsiteX5" fmla="*/ 28125 w 155850"/>
                <a:gd name="connsiteY5" fmla="*/ 82210 h 851783"/>
                <a:gd name="connsiteX6" fmla="*/ 22716 w 155850"/>
                <a:gd name="connsiteY6" fmla="*/ 100058 h 851783"/>
                <a:gd name="connsiteX7" fmla="*/ 16767 w 155850"/>
                <a:gd name="connsiteY7" fmla="*/ 117365 h 851783"/>
                <a:gd name="connsiteX8" fmla="*/ 11899 w 155850"/>
                <a:gd name="connsiteY8" fmla="*/ 130345 h 851783"/>
                <a:gd name="connsiteX9" fmla="*/ 3246 w 155850"/>
                <a:gd name="connsiteY9" fmla="*/ 141162 h 851783"/>
                <a:gd name="connsiteX10" fmla="*/ 5950 w 155850"/>
                <a:gd name="connsiteY10" fmla="*/ 140621 h 851783"/>
                <a:gd name="connsiteX11" fmla="*/ 23257 w 155850"/>
                <a:gd name="connsiteY11" fmla="*/ 146571 h 851783"/>
                <a:gd name="connsiteX12" fmla="*/ 38942 w 155850"/>
                <a:gd name="connsiteY12" fmla="*/ 155765 h 851783"/>
                <a:gd name="connsiteX13" fmla="*/ 51922 w 155850"/>
                <a:gd name="connsiteY13" fmla="*/ 169287 h 851783"/>
                <a:gd name="connsiteX14" fmla="*/ 61657 w 155850"/>
                <a:gd name="connsiteY14" fmla="*/ 184971 h 851783"/>
                <a:gd name="connsiteX15" fmla="*/ 68148 w 155850"/>
                <a:gd name="connsiteY15" fmla="*/ 202279 h 851783"/>
                <a:gd name="connsiteX16" fmla="*/ 71393 w 155850"/>
                <a:gd name="connsiteY16" fmla="*/ 220127 h 851783"/>
                <a:gd name="connsiteX17" fmla="*/ 75179 w 155850"/>
                <a:gd name="connsiteY17" fmla="*/ 237975 h 851783"/>
                <a:gd name="connsiteX18" fmla="*/ 78424 w 155850"/>
                <a:gd name="connsiteY18" fmla="*/ 256364 h 851783"/>
                <a:gd name="connsiteX19" fmla="*/ 75719 w 155850"/>
                <a:gd name="connsiteY19" fmla="*/ 274753 h 851783"/>
                <a:gd name="connsiteX20" fmla="*/ 75719 w 155850"/>
                <a:gd name="connsiteY20" fmla="*/ 291519 h 851783"/>
                <a:gd name="connsiteX21" fmla="*/ 72474 w 155850"/>
                <a:gd name="connsiteY21" fmla="*/ 308286 h 851783"/>
                <a:gd name="connsiteX22" fmla="*/ 67066 w 155850"/>
                <a:gd name="connsiteY22" fmla="*/ 323970 h 851783"/>
                <a:gd name="connsiteX23" fmla="*/ 61117 w 155850"/>
                <a:gd name="connsiteY23" fmla="*/ 339655 h 851783"/>
                <a:gd name="connsiteX24" fmla="*/ 53544 w 155850"/>
                <a:gd name="connsiteY24" fmla="*/ 353717 h 851783"/>
                <a:gd name="connsiteX25" fmla="*/ 67066 w 155850"/>
                <a:gd name="connsiteY25" fmla="*/ 346686 h 851783"/>
                <a:gd name="connsiteX26" fmla="*/ 82210 w 155850"/>
                <a:gd name="connsiteY26" fmla="*/ 342900 h 851783"/>
                <a:gd name="connsiteX27" fmla="*/ 96813 w 155850"/>
                <a:gd name="connsiteY27" fmla="*/ 345604 h 851783"/>
                <a:gd name="connsiteX28" fmla="*/ 104925 w 155850"/>
                <a:gd name="connsiteY28" fmla="*/ 360748 h 851783"/>
                <a:gd name="connsiteX29" fmla="*/ 102221 w 155850"/>
                <a:gd name="connsiteY29" fmla="*/ 378596 h 851783"/>
                <a:gd name="connsiteX30" fmla="*/ 97895 w 155850"/>
                <a:gd name="connsiteY30" fmla="*/ 395904 h 851783"/>
                <a:gd name="connsiteX31" fmla="*/ 90323 w 155850"/>
                <a:gd name="connsiteY31" fmla="*/ 412129 h 851783"/>
                <a:gd name="connsiteX32" fmla="*/ 82210 w 155850"/>
                <a:gd name="connsiteY32" fmla="*/ 427814 h 851783"/>
                <a:gd name="connsiteX33" fmla="*/ 74638 w 155850"/>
                <a:gd name="connsiteY33" fmla="*/ 444039 h 851783"/>
                <a:gd name="connsiteX34" fmla="*/ 64361 w 155850"/>
                <a:gd name="connsiteY34" fmla="*/ 458642 h 851783"/>
                <a:gd name="connsiteX35" fmla="*/ 55167 w 155850"/>
                <a:gd name="connsiteY35" fmla="*/ 473786 h 851783"/>
                <a:gd name="connsiteX36" fmla="*/ 50299 w 155850"/>
                <a:gd name="connsiteY36" fmla="*/ 477572 h 851783"/>
                <a:gd name="connsiteX37" fmla="*/ 65984 w 155850"/>
                <a:gd name="connsiteY37" fmla="*/ 467296 h 851783"/>
                <a:gd name="connsiteX38" fmla="*/ 83291 w 155850"/>
                <a:gd name="connsiteY38" fmla="*/ 460265 h 851783"/>
                <a:gd name="connsiteX39" fmla="*/ 101680 w 155850"/>
                <a:gd name="connsiteY39" fmla="*/ 457560 h 851783"/>
                <a:gd name="connsiteX40" fmla="*/ 120069 w 155850"/>
                <a:gd name="connsiteY40" fmla="*/ 458102 h 851783"/>
                <a:gd name="connsiteX41" fmla="*/ 136836 w 155850"/>
                <a:gd name="connsiteY41" fmla="*/ 465673 h 851783"/>
                <a:gd name="connsiteX42" fmla="*/ 147112 w 155850"/>
                <a:gd name="connsiteY42" fmla="*/ 478654 h 851783"/>
                <a:gd name="connsiteX43" fmla="*/ 153061 w 155850"/>
                <a:gd name="connsiteY43" fmla="*/ 494339 h 851783"/>
                <a:gd name="connsiteX44" fmla="*/ 155766 w 155850"/>
                <a:gd name="connsiteY44" fmla="*/ 511646 h 851783"/>
                <a:gd name="connsiteX45" fmla="*/ 153061 w 155850"/>
                <a:gd name="connsiteY45" fmla="*/ 528953 h 851783"/>
                <a:gd name="connsiteX46" fmla="*/ 148194 w 155850"/>
                <a:gd name="connsiteY46" fmla="*/ 545720 h 851783"/>
                <a:gd name="connsiteX47" fmla="*/ 141704 w 155850"/>
                <a:gd name="connsiteY47" fmla="*/ 561945 h 851783"/>
                <a:gd name="connsiteX48" fmla="*/ 134672 w 155850"/>
                <a:gd name="connsiteY48" fmla="*/ 577630 h 851783"/>
                <a:gd name="connsiteX49" fmla="*/ 127100 w 155850"/>
                <a:gd name="connsiteY49" fmla="*/ 593314 h 851783"/>
                <a:gd name="connsiteX50" fmla="*/ 117906 w 155850"/>
                <a:gd name="connsiteY50" fmla="*/ 607376 h 851783"/>
                <a:gd name="connsiteX51" fmla="*/ 128723 w 155850"/>
                <a:gd name="connsiteY51" fmla="*/ 620357 h 851783"/>
                <a:gd name="connsiteX52" fmla="*/ 138459 w 155850"/>
                <a:gd name="connsiteY52" fmla="*/ 634960 h 851783"/>
                <a:gd name="connsiteX53" fmla="*/ 145489 w 155850"/>
                <a:gd name="connsiteY53" fmla="*/ 651186 h 851783"/>
                <a:gd name="connsiteX54" fmla="*/ 148194 w 155850"/>
                <a:gd name="connsiteY54" fmla="*/ 668493 h 851783"/>
                <a:gd name="connsiteX55" fmla="*/ 149816 w 155850"/>
                <a:gd name="connsiteY55" fmla="*/ 685800 h 851783"/>
                <a:gd name="connsiteX56" fmla="*/ 151438 w 155850"/>
                <a:gd name="connsiteY56" fmla="*/ 703107 h 851783"/>
                <a:gd name="connsiteX57" fmla="*/ 148734 w 155850"/>
                <a:gd name="connsiteY57" fmla="*/ 720415 h 851783"/>
                <a:gd name="connsiteX58" fmla="*/ 147653 w 155850"/>
                <a:gd name="connsiteY58" fmla="*/ 737722 h 851783"/>
                <a:gd name="connsiteX59" fmla="*/ 142785 w 155850"/>
                <a:gd name="connsiteY59" fmla="*/ 754488 h 851783"/>
                <a:gd name="connsiteX60" fmla="*/ 140081 w 155850"/>
                <a:gd name="connsiteY60" fmla="*/ 771796 h 851783"/>
                <a:gd name="connsiteX61" fmla="*/ 132509 w 155850"/>
                <a:gd name="connsiteY61" fmla="*/ 788021 h 851783"/>
                <a:gd name="connsiteX62" fmla="*/ 125478 w 155850"/>
                <a:gd name="connsiteY62" fmla="*/ 804247 h 851783"/>
                <a:gd name="connsiteX63" fmla="*/ 115742 w 155850"/>
                <a:gd name="connsiteY63" fmla="*/ 818850 h 851783"/>
                <a:gd name="connsiteX64" fmla="*/ 102762 w 155850"/>
                <a:gd name="connsiteY64" fmla="*/ 831289 h 851783"/>
                <a:gd name="connsiteX65" fmla="*/ 89782 w 155850"/>
                <a:gd name="connsiteY65" fmla="*/ 842647 h 851783"/>
                <a:gd name="connsiteX66" fmla="*/ 74638 w 155850"/>
                <a:gd name="connsiteY66" fmla="*/ 850760 h 851783"/>
                <a:gd name="connsiteX67" fmla="*/ 57331 w 155850"/>
                <a:gd name="connsiteY67" fmla="*/ 850760 h 851783"/>
                <a:gd name="connsiteX68" fmla="*/ 40564 w 155850"/>
                <a:gd name="connsiteY68" fmla="*/ 845351 h 851783"/>
                <a:gd name="connsiteX69" fmla="*/ 28665 w 155850"/>
                <a:gd name="connsiteY69" fmla="*/ 832371 h 851783"/>
                <a:gd name="connsiteX70" fmla="*/ 19471 w 155850"/>
                <a:gd name="connsiteY70" fmla="*/ 817227 h 851783"/>
                <a:gd name="connsiteX71" fmla="*/ 12981 w 155850"/>
                <a:gd name="connsiteY71" fmla="*/ 801001 h 851783"/>
                <a:gd name="connsiteX72" fmla="*/ 9195 w 155850"/>
                <a:gd name="connsiteY72" fmla="*/ 783694 h 851783"/>
                <a:gd name="connsiteX73" fmla="*/ 5409 w 155850"/>
                <a:gd name="connsiteY73" fmla="*/ 766387 h 851783"/>
                <a:gd name="connsiteX74" fmla="*/ 6491 w 155850"/>
                <a:gd name="connsiteY74" fmla="*/ 748539 h 851783"/>
                <a:gd name="connsiteX75" fmla="*/ 8113 w 155850"/>
                <a:gd name="connsiteY75" fmla="*/ 731232 h 851783"/>
                <a:gd name="connsiteX76" fmla="*/ 8654 w 155850"/>
                <a:gd name="connsiteY76" fmla="*/ 713384 h 851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155850" h="851783">
                  <a:moveTo>
                    <a:pt x="0" y="0"/>
                  </a:moveTo>
                  <a:cubicBezTo>
                    <a:pt x="5409" y="2163"/>
                    <a:pt x="9736" y="7572"/>
                    <a:pt x="13521" y="12440"/>
                  </a:cubicBezTo>
                  <a:cubicBezTo>
                    <a:pt x="17308" y="16766"/>
                    <a:pt x="20553" y="21634"/>
                    <a:pt x="23257" y="27583"/>
                  </a:cubicBezTo>
                  <a:cubicBezTo>
                    <a:pt x="25420" y="32992"/>
                    <a:pt x="26502" y="38941"/>
                    <a:pt x="27584" y="45432"/>
                  </a:cubicBezTo>
                  <a:cubicBezTo>
                    <a:pt x="28665" y="51381"/>
                    <a:pt x="30288" y="57330"/>
                    <a:pt x="30288" y="63820"/>
                  </a:cubicBezTo>
                  <a:cubicBezTo>
                    <a:pt x="30288" y="69770"/>
                    <a:pt x="29206" y="75719"/>
                    <a:pt x="28125" y="82210"/>
                  </a:cubicBezTo>
                  <a:cubicBezTo>
                    <a:pt x="27043" y="88159"/>
                    <a:pt x="24338" y="93567"/>
                    <a:pt x="22716" y="100058"/>
                  </a:cubicBezTo>
                  <a:cubicBezTo>
                    <a:pt x="21093" y="106007"/>
                    <a:pt x="19471" y="111415"/>
                    <a:pt x="16767" y="117365"/>
                  </a:cubicBezTo>
                  <a:cubicBezTo>
                    <a:pt x="15144" y="121692"/>
                    <a:pt x="14063" y="126559"/>
                    <a:pt x="11899" y="130345"/>
                  </a:cubicBezTo>
                  <a:cubicBezTo>
                    <a:pt x="9736" y="134672"/>
                    <a:pt x="5409" y="137376"/>
                    <a:pt x="3246" y="141162"/>
                  </a:cubicBezTo>
                  <a:cubicBezTo>
                    <a:pt x="3786" y="141162"/>
                    <a:pt x="5409" y="140621"/>
                    <a:pt x="5950" y="140621"/>
                  </a:cubicBezTo>
                  <a:cubicBezTo>
                    <a:pt x="11899" y="141162"/>
                    <a:pt x="17848" y="143867"/>
                    <a:pt x="23257" y="146571"/>
                  </a:cubicBezTo>
                  <a:cubicBezTo>
                    <a:pt x="28665" y="148734"/>
                    <a:pt x="34615" y="151438"/>
                    <a:pt x="38942" y="155765"/>
                  </a:cubicBezTo>
                  <a:cubicBezTo>
                    <a:pt x="43268" y="159551"/>
                    <a:pt x="48136" y="163878"/>
                    <a:pt x="51922" y="169287"/>
                  </a:cubicBezTo>
                  <a:cubicBezTo>
                    <a:pt x="55167" y="174154"/>
                    <a:pt x="58953" y="179563"/>
                    <a:pt x="61657" y="184971"/>
                  </a:cubicBezTo>
                  <a:cubicBezTo>
                    <a:pt x="64361" y="190380"/>
                    <a:pt x="65984" y="196329"/>
                    <a:pt x="68148" y="202279"/>
                  </a:cubicBezTo>
                  <a:cubicBezTo>
                    <a:pt x="70311" y="207687"/>
                    <a:pt x="70311" y="214177"/>
                    <a:pt x="71393" y="220127"/>
                  </a:cubicBezTo>
                  <a:cubicBezTo>
                    <a:pt x="72474" y="226076"/>
                    <a:pt x="74638" y="232025"/>
                    <a:pt x="75179" y="237975"/>
                  </a:cubicBezTo>
                  <a:cubicBezTo>
                    <a:pt x="75719" y="243924"/>
                    <a:pt x="78424" y="249874"/>
                    <a:pt x="78424" y="256364"/>
                  </a:cubicBezTo>
                  <a:cubicBezTo>
                    <a:pt x="78424" y="262313"/>
                    <a:pt x="76261" y="268263"/>
                    <a:pt x="75719" y="274753"/>
                  </a:cubicBezTo>
                  <a:cubicBezTo>
                    <a:pt x="75179" y="280161"/>
                    <a:pt x="76801" y="286111"/>
                    <a:pt x="75719" y="291519"/>
                  </a:cubicBezTo>
                  <a:cubicBezTo>
                    <a:pt x="74638" y="296928"/>
                    <a:pt x="73556" y="302877"/>
                    <a:pt x="72474" y="308286"/>
                  </a:cubicBezTo>
                  <a:cubicBezTo>
                    <a:pt x="71393" y="313694"/>
                    <a:pt x="68689" y="319103"/>
                    <a:pt x="67066" y="323970"/>
                  </a:cubicBezTo>
                  <a:cubicBezTo>
                    <a:pt x="65444" y="329379"/>
                    <a:pt x="63280" y="334787"/>
                    <a:pt x="61117" y="339655"/>
                  </a:cubicBezTo>
                  <a:cubicBezTo>
                    <a:pt x="58953" y="345063"/>
                    <a:pt x="56789" y="348849"/>
                    <a:pt x="53544" y="353717"/>
                  </a:cubicBezTo>
                  <a:cubicBezTo>
                    <a:pt x="58412" y="350472"/>
                    <a:pt x="62198" y="348849"/>
                    <a:pt x="67066" y="346686"/>
                  </a:cubicBezTo>
                  <a:cubicBezTo>
                    <a:pt x="72474" y="343982"/>
                    <a:pt x="77883" y="343441"/>
                    <a:pt x="82210" y="342900"/>
                  </a:cubicBezTo>
                  <a:cubicBezTo>
                    <a:pt x="88159" y="341818"/>
                    <a:pt x="93027" y="342900"/>
                    <a:pt x="96813" y="345604"/>
                  </a:cubicBezTo>
                  <a:cubicBezTo>
                    <a:pt x="101140" y="348849"/>
                    <a:pt x="104385" y="353717"/>
                    <a:pt x="104925" y="360748"/>
                  </a:cubicBezTo>
                  <a:cubicBezTo>
                    <a:pt x="105466" y="365616"/>
                    <a:pt x="103303" y="371565"/>
                    <a:pt x="102221" y="378596"/>
                  </a:cubicBezTo>
                  <a:cubicBezTo>
                    <a:pt x="101140" y="384005"/>
                    <a:pt x="100058" y="389954"/>
                    <a:pt x="97895" y="395904"/>
                  </a:cubicBezTo>
                  <a:cubicBezTo>
                    <a:pt x="96272" y="401312"/>
                    <a:pt x="93027" y="406180"/>
                    <a:pt x="90323" y="412129"/>
                  </a:cubicBezTo>
                  <a:cubicBezTo>
                    <a:pt x="88159" y="417538"/>
                    <a:pt x="84914" y="422405"/>
                    <a:pt x="82210" y="427814"/>
                  </a:cubicBezTo>
                  <a:cubicBezTo>
                    <a:pt x="79506" y="432681"/>
                    <a:pt x="77883" y="438631"/>
                    <a:pt x="74638" y="444039"/>
                  </a:cubicBezTo>
                  <a:cubicBezTo>
                    <a:pt x="71393" y="448907"/>
                    <a:pt x="67606" y="453775"/>
                    <a:pt x="64361" y="458642"/>
                  </a:cubicBezTo>
                  <a:cubicBezTo>
                    <a:pt x="61117" y="463510"/>
                    <a:pt x="58953" y="468919"/>
                    <a:pt x="55167" y="473786"/>
                  </a:cubicBezTo>
                  <a:cubicBezTo>
                    <a:pt x="54085" y="475409"/>
                    <a:pt x="51381" y="475950"/>
                    <a:pt x="50299" y="477572"/>
                  </a:cubicBezTo>
                  <a:cubicBezTo>
                    <a:pt x="55708" y="473786"/>
                    <a:pt x="60576" y="470000"/>
                    <a:pt x="65984" y="467296"/>
                  </a:cubicBezTo>
                  <a:cubicBezTo>
                    <a:pt x="71934" y="464051"/>
                    <a:pt x="77883" y="461888"/>
                    <a:pt x="83291" y="460265"/>
                  </a:cubicBezTo>
                  <a:cubicBezTo>
                    <a:pt x="89782" y="458102"/>
                    <a:pt x="95731" y="458102"/>
                    <a:pt x="101680" y="457560"/>
                  </a:cubicBezTo>
                  <a:cubicBezTo>
                    <a:pt x="108170" y="457020"/>
                    <a:pt x="114120" y="457020"/>
                    <a:pt x="120069" y="458102"/>
                  </a:cubicBezTo>
                  <a:cubicBezTo>
                    <a:pt x="126559" y="459183"/>
                    <a:pt x="131968" y="461888"/>
                    <a:pt x="136836" y="465673"/>
                  </a:cubicBezTo>
                  <a:cubicBezTo>
                    <a:pt x="141704" y="469459"/>
                    <a:pt x="144408" y="473786"/>
                    <a:pt x="147112" y="478654"/>
                  </a:cubicBezTo>
                  <a:cubicBezTo>
                    <a:pt x="149816" y="483522"/>
                    <a:pt x="151980" y="488389"/>
                    <a:pt x="153061" y="494339"/>
                  </a:cubicBezTo>
                  <a:cubicBezTo>
                    <a:pt x="154143" y="499747"/>
                    <a:pt x="156306" y="505696"/>
                    <a:pt x="155766" y="511646"/>
                  </a:cubicBezTo>
                  <a:cubicBezTo>
                    <a:pt x="155766" y="517054"/>
                    <a:pt x="154143" y="523004"/>
                    <a:pt x="153061" y="528953"/>
                  </a:cubicBezTo>
                  <a:cubicBezTo>
                    <a:pt x="151980" y="534361"/>
                    <a:pt x="149816" y="539770"/>
                    <a:pt x="148194" y="545720"/>
                  </a:cubicBezTo>
                  <a:cubicBezTo>
                    <a:pt x="146571" y="551128"/>
                    <a:pt x="143867" y="555996"/>
                    <a:pt x="141704" y="561945"/>
                  </a:cubicBezTo>
                  <a:cubicBezTo>
                    <a:pt x="139540" y="567354"/>
                    <a:pt x="137376" y="572221"/>
                    <a:pt x="134672" y="577630"/>
                  </a:cubicBezTo>
                  <a:cubicBezTo>
                    <a:pt x="131968" y="582497"/>
                    <a:pt x="130346" y="588447"/>
                    <a:pt x="127100" y="593314"/>
                  </a:cubicBezTo>
                  <a:cubicBezTo>
                    <a:pt x="123855" y="598182"/>
                    <a:pt x="121692" y="602509"/>
                    <a:pt x="117906" y="607376"/>
                  </a:cubicBezTo>
                  <a:cubicBezTo>
                    <a:pt x="122233" y="610622"/>
                    <a:pt x="124937" y="614949"/>
                    <a:pt x="128723" y="620357"/>
                  </a:cubicBezTo>
                  <a:cubicBezTo>
                    <a:pt x="131968" y="624684"/>
                    <a:pt x="135754" y="629552"/>
                    <a:pt x="138459" y="634960"/>
                  </a:cubicBezTo>
                  <a:cubicBezTo>
                    <a:pt x="140621" y="639828"/>
                    <a:pt x="143867" y="645236"/>
                    <a:pt x="145489" y="651186"/>
                  </a:cubicBezTo>
                  <a:cubicBezTo>
                    <a:pt x="147112" y="656594"/>
                    <a:pt x="147653" y="662543"/>
                    <a:pt x="148194" y="668493"/>
                  </a:cubicBezTo>
                  <a:cubicBezTo>
                    <a:pt x="149276" y="673901"/>
                    <a:pt x="149276" y="679851"/>
                    <a:pt x="149816" y="685800"/>
                  </a:cubicBezTo>
                  <a:cubicBezTo>
                    <a:pt x="150357" y="691208"/>
                    <a:pt x="151438" y="697158"/>
                    <a:pt x="151438" y="703107"/>
                  </a:cubicBezTo>
                  <a:cubicBezTo>
                    <a:pt x="151438" y="709057"/>
                    <a:pt x="149276" y="714465"/>
                    <a:pt x="148734" y="720415"/>
                  </a:cubicBezTo>
                  <a:cubicBezTo>
                    <a:pt x="148194" y="726364"/>
                    <a:pt x="148734" y="732313"/>
                    <a:pt x="147653" y="737722"/>
                  </a:cubicBezTo>
                  <a:cubicBezTo>
                    <a:pt x="146571" y="743671"/>
                    <a:pt x="143867" y="749080"/>
                    <a:pt x="142785" y="754488"/>
                  </a:cubicBezTo>
                  <a:cubicBezTo>
                    <a:pt x="141163" y="760437"/>
                    <a:pt x="141704" y="766387"/>
                    <a:pt x="140081" y="771796"/>
                  </a:cubicBezTo>
                  <a:cubicBezTo>
                    <a:pt x="137917" y="777745"/>
                    <a:pt x="134672" y="782613"/>
                    <a:pt x="132509" y="788021"/>
                  </a:cubicBezTo>
                  <a:cubicBezTo>
                    <a:pt x="130346" y="793430"/>
                    <a:pt x="128182" y="799379"/>
                    <a:pt x="125478" y="804247"/>
                  </a:cubicBezTo>
                  <a:cubicBezTo>
                    <a:pt x="122233" y="809655"/>
                    <a:pt x="118987" y="814523"/>
                    <a:pt x="115742" y="818850"/>
                  </a:cubicBezTo>
                  <a:cubicBezTo>
                    <a:pt x="111957" y="823717"/>
                    <a:pt x="107089" y="826962"/>
                    <a:pt x="102762" y="831289"/>
                  </a:cubicBezTo>
                  <a:cubicBezTo>
                    <a:pt x="98435" y="835616"/>
                    <a:pt x="94108" y="839402"/>
                    <a:pt x="89782" y="842647"/>
                  </a:cubicBezTo>
                  <a:cubicBezTo>
                    <a:pt x="84373" y="845892"/>
                    <a:pt x="79506" y="849678"/>
                    <a:pt x="74638" y="850760"/>
                  </a:cubicBezTo>
                  <a:cubicBezTo>
                    <a:pt x="68689" y="852382"/>
                    <a:pt x="62739" y="851842"/>
                    <a:pt x="57331" y="850760"/>
                  </a:cubicBezTo>
                  <a:cubicBezTo>
                    <a:pt x="51381" y="849678"/>
                    <a:pt x="45432" y="848597"/>
                    <a:pt x="40564" y="845351"/>
                  </a:cubicBezTo>
                  <a:cubicBezTo>
                    <a:pt x="35697" y="842106"/>
                    <a:pt x="32451" y="837238"/>
                    <a:pt x="28665" y="832371"/>
                  </a:cubicBezTo>
                  <a:cubicBezTo>
                    <a:pt x="25420" y="828044"/>
                    <a:pt x="22175" y="823176"/>
                    <a:pt x="19471" y="817227"/>
                  </a:cubicBezTo>
                  <a:cubicBezTo>
                    <a:pt x="17308" y="812359"/>
                    <a:pt x="14603" y="806951"/>
                    <a:pt x="12981" y="801001"/>
                  </a:cubicBezTo>
                  <a:cubicBezTo>
                    <a:pt x="11358" y="795593"/>
                    <a:pt x="10276" y="789644"/>
                    <a:pt x="9195" y="783694"/>
                  </a:cubicBezTo>
                  <a:cubicBezTo>
                    <a:pt x="8113" y="778286"/>
                    <a:pt x="5950" y="772336"/>
                    <a:pt x="5409" y="766387"/>
                  </a:cubicBezTo>
                  <a:cubicBezTo>
                    <a:pt x="4868" y="760437"/>
                    <a:pt x="6491" y="754488"/>
                    <a:pt x="6491" y="748539"/>
                  </a:cubicBezTo>
                  <a:cubicBezTo>
                    <a:pt x="6491" y="742589"/>
                    <a:pt x="7572" y="737181"/>
                    <a:pt x="8113" y="731232"/>
                  </a:cubicBezTo>
                  <a:cubicBezTo>
                    <a:pt x="8654" y="725282"/>
                    <a:pt x="7572" y="719333"/>
                    <a:pt x="8654" y="713384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0" name="Freeform: Shape 1399">
              <a:extLst>
                <a:ext uri="{FF2B5EF4-FFF2-40B4-BE49-F238E27FC236}">
                  <a16:creationId xmlns:a16="http://schemas.microsoft.com/office/drawing/2014/main" id="{CF00975A-09E8-16DB-3BE2-C9F2E09BE439}"/>
                </a:ext>
              </a:extLst>
            </p:cNvPr>
            <p:cNvSpPr/>
            <p:nvPr/>
          </p:nvSpPr>
          <p:spPr>
            <a:xfrm>
              <a:off x="9923127" y="2329989"/>
              <a:ext cx="125477" cy="119528"/>
            </a:xfrm>
            <a:custGeom>
              <a:avLst/>
              <a:gdLst>
                <a:gd name="connsiteX0" fmla="*/ 0 w 125477"/>
                <a:gd name="connsiteY0" fmla="*/ 72474 h 119528"/>
                <a:gd name="connsiteX1" fmla="*/ 8653 w 125477"/>
                <a:gd name="connsiteY1" fmla="*/ 54626 h 119528"/>
                <a:gd name="connsiteX2" fmla="*/ 18930 w 125477"/>
                <a:gd name="connsiteY2" fmla="*/ 38401 h 119528"/>
                <a:gd name="connsiteX3" fmla="*/ 32451 w 125477"/>
                <a:gd name="connsiteY3" fmla="*/ 24338 h 119528"/>
                <a:gd name="connsiteX4" fmla="*/ 47054 w 125477"/>
                <a:gd name="connsiteY4" fmla="*/ 11899 h 119528"/>
                <a:gd name="connsiteX5" fmla="*/ 64361 w 125477"/>
                <a:gd name="connsiteY5" fmla="*/ 3245 h 119528"/>
                <a:gd name="connsiteX6" fmla="*/ 79505 w 125477"/>
                <a:gd name="connsiteY6" fmla="*/ 0 h 119528"/>
                <a:gd name="connsiteX7" fmla="*/ 94649 w 125477"/>
                <a:gd name="connsiteY7" fmla="*/ 2704 h 119528"/>
                <a:gd name="connsiteX8" fmla="*/ 109793 w 125477"/>
                <a:gd name="connsiteY8" fmla="*/ 13521 h 119528"/>
                <a:gd name="connsiteX9" fmla="*/ 118987 w 125477"/>
                <a:gd name="connsiteY9" fmla="*/ 29747 h 119528"/>
                <a:gd name="connsiteX10" fmla="*/ 122232 w 125477"/>
                <a:gd name="connsiteY10" fmla="*/ 47595 h 119528"/>
                <a:gd name="connsiteX11" fmla="*/ 125477 w 125477"/>
                <a:gd name="connsiteY11" fmla="*/ 65984 h 119528"/>
                <a:gd name="connsiteX12" fmla="*/ 123314 w 125477"/>
                <a:gd name="connsiteY12" fmla="*/ 84373 h 119528"/>
                <a:gd name="connsiteX13" fmla="*/ 117905 w 125477"/>
                <a:gd name="connsiteY13" fmla="*/ 102221 h 119528"/>
                <a:gd name="connsiteX14" fmla="*/ 111956 w 125477"/>
                <a:gd name="connsiteY14" fmla="*/ 119528 h 11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5477" h="119528">
                  <a:moveTo>
                    <a:pt x="0" y="72474"/>
                  </a:moveTo>
                  <a:cubicBezTo>
                    <a:pt x="2704" y="66525"/>
                    <a:pt x="5409" y="60575"/>
                    <a:pt x="8653" y="54626"/>
                  </a:cubicBezTo>
                  <a:cubicBezTo>
                    <a:pt x="11898" y="48677"/>
                    <a:pt x="15143" y="43268"/>
                    <a:pt x="18930" y="38401"/>
                  </a:cubicBezTo>
                  <a:cubicBezTo>
                    <a:pt x="23256" y="32992"/>
                    <a:pt x="28124" y="28665"/>
                    <a:pt x="32451" y="24338"/>
                  </a:cubicBezTo>
                  <a:cubicBezTo>
                    <a:pt x="37319" y="19471"/>
                    <a:pt x="41645" y="15144"/>
                    <a:pt x="47054" y="11899"/>
                  </a:cubicBezTo>
                  <a:cubicBezTo>
                    <a:pt x="57871" y="5949"/>
                    <a:pt x="54626" y="7572"/>
                    <a:pt x="64361" y="3245"/>
                  </a:cubicBezTo>
                  <a:cubicBezTo>
                    <a:pt x="69229" y="1623"/>
                    <a:pt x="74637" y="0"/>
                    <a:pt x="79505" y="0"/>
                  </a:cubicBezTo>
                  <a:cubicBezTo>
                    <a:pt x="84913" y="0"/>
                    <a:pt x="89781" y="1082"/>
                    <a:pt x="94649" y="2704"/>
                  </a:cubicBezTo>
                  <a:cubicBezTo>
                    <a:pt x="100058" y="4868"/>
                    <a:pt x="105466" y="8654"/>
                    <a:pt x="109793" y="13521"/>
                  </a:cubicBezTo>
                  <a:cubicBezTo>
                    <a:pt x="113579" y="17848"/>
                    <a:pt x="116283" y="23798"/>
                    <a:pt x="118987" y="29747"/>
                  </a:cubicBezTo>
                  <a:cubicBezTo>
                    <a:pt x="121151" y="35155"/>
                    <a:pt x="121692" y="41105"/>
                    <a:pt x="122232" y="47595"/>
                  </a:cubicBezTo>
                  <a:cubicBezTo>
                    <a:pt x="123314" y="53544"/>
                    <a:pt x="125477" y="59494"/>
                    <a:pt x="125477" y="65984"/>
                  </a:cubicBezTo>
                  <a:cubicBezTo>
                    <a:pt x="125477" y="71933"/>
                    <a:pt x="124396" y="77883"/>
                    <a:pt x="123314" y="84373"/>
                  </a:cubicBezTo>
                  <a:cubicBezTo>
                    <a:pt x="122232" y="90322"/>
                    <a:pt x="119528" y="95731"/>
                    <a:pt x="117905" y="102221"/>
                  </a:cubicBezTo>
                  <a:cubicBezTo>
                    <a:pt x="116283" y="108170"/>
                    <a:pt x="114120" y="113579"/>
                    <a:pt x="111956" y="119528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1" name="Freeform: Shape 1400">
              <a:extLst>
                <a:ext uri="{FF2B5EF4-FFF2-40B4-BE49-F238E27FC236}">
                  <a16:creationId xmlns:a16="http://schemas.microsoft.com/office/drawing/2014/main" id="{2CD86295-0138-724C-F743-B2E027F17E14}"/>
                </a:ext>
              </a:extLst>
            </p:cNvPr>
            <p:cNvSpPr/>
            <p:nvPr/>
          </p:nvSpPr>
          <p:spPr>
            <a:xfrm>
              <a:off x="9475842" y="2215825"/>
              <a:ext cx="542686" cy="1135832"/>
            </a:xfrm>
            <a:custGeom>
              <a:avLst/>
              <a:gdLst>
                <a:gd name="connsiteX0" fmla="*/ 47595 w 542686"/>
                <a:gd name="connsiteY0" fmla="*/ 1135833 h 1135832"/>
                <a:gd name="connsiteX1" fmla="*/ 36237 w 542686"/>
                <a:gd name="connsiteY1" fmla="*/ 1122311 h 1135832"/>
                <a:gd name="connsiteX2" fmla="*/ 25961 w 542686"/>
                <a:gd name="connsiteY2" fmla="*/ 1108249 h 1135832"/>
                <a:gd name="connsiteX3" fmla="*/ 16767 w 542686"/>
                <a:gd name="connsiteY3" fmla="*/ 1093646 h 1135832"/>
                <a:gd name="connsiteX4" fmla="*/ 8654 w 542686"/>
                <a:gd name="connsiteY4" fmla="*/ 1077961 h 1135832"/>
                <a:gd name="connsiteX5" fmla="*/ 4327 w 542686"/>
                <a:gd name="connsiteY5" fmla="*/ 1061195 h 1135832"/>
                <a:gd name="connsiteX6" fmla="*/ 1082 w 542686"/>
                <a:gd name="connsiteY6" fmla="*/ 1043888 h 1135832"/>
                <a:gd name="connsiteX7" fmla="*/ 0 w 542686"/>
                <a:gd name="connsiteY7" fmla="*/ 1026580 h 1135832"/>
                <a:gd name="connsiteX8" fmla="*/ 2164 w 542686"/>
                <a:gd name="connsiteY8" fmla="*/ 1008191 h 1135832"/>
                <a:gd name="connsiteX9" fmla="*/ 3786 w 542686"/>
                <a:gd name="connsiteY9" fmla="*/ 989803 h 1135832"/>
                <a:gd name="connsiteX10" fmla="*/ 9195 w 542686"/>
                <a:gd name="connsiteY10" fmla="*/ 971955 h 1135832"/>
                <a:gd name="connsiteX11" fmla="*/ 18389 w 542686"/>
                <a:gd name="connsiteY11" fmla="*/ 955729 h 1135832"/>
                <a:gd name="connsiteX12" fmla="*/ 27043 w 542686"/>
                <a:gd name="connsiteY12" fmla="*/ 939503 h 1135832"/>
                <a:gd name="connsiteX13" fmla="*/ 38942 w 542686"/>
                <a:gd name="connsiteY13" fmla="*/ 925441 h 1135832"/>
                <a:gd name="connsiteX14" fmla="*/ 52463 w 542686"/>
                <a:gd name="connsiteY14" fmla="*/ 913002 h 1135832"/>
                <a:gd name="connsiteX15" fmla="*/ 67066 w 542686"/>
                <a:gd name="connsiteY15" fmla="*/ 901644 h 1135832"/>
                <a:gd name="connsiteX16" fmla="*/ 83291 w 542686"/>
                <a:gd name="connsiteY16" fmla="*/ 892449 h 1135832"/>
                <a:gd name="connsiteX17" fmla="*/ 70311 w 542686"/>
                <a:gd name="connsiteY17" fmla="*/ 880010 h 1135832"/>
                <a:gd name="connsiteX18" fmla="*/ 61657 w 542686"/>
                <a:gd name="connsiteY18" fmla="*/ 864866 h 1135832"/>
                <a:gd name="connsiteX19" fmla="*/ 57872 w 542686"/>
                <a:gd name="connsiteY19" fmla="*/ 847559 h 1135832"/>
                <a:gd name="connsiteX20" fmla="*/ 54627 w 542686"/>
                <a:gd name="connsiteY20" fmla="*/ 830251 h 1135832"/>
                <a:gd name="connsiteX21" fmla="*/ 58412 w 542686"/>
                <a:gd name="connsiteY21" fmla="*/ 812403 h 1135832"/>
                <a:gd name="connsiteX22" fmla="*/ 62198 w 542686"/>
                <a:gd name="connsiteY22" fmla="*/ 794555 h 1135832"/>
                <a:gd name="connsiteX23" fmla="*/ 73015 w 542686"/>
                <a:gd name="connsiteY23" fmla="*/ 779952 h 1135832"/>
                <a:gd name="connsiteX24" fmla="*/ 84373 w 542686"/>
                <a:gd name="connsiteY24" fmla="*/ 765349 h 1135832"/>
                <a:gd name="connsiteX25" fmla="*/ 100058 w 542686"/>
                <a:gd name="connsiteY25" fmla="*/ 756155 h 1135832"/>
                <a:gd name="connsiteX26" fmla="*/ 116825 w 542686"/>
                <a:gd name="connsiteY26" fmla="*/ 749664 h 1135832"/>
                <a:gd name="connsiteX27" fmla="*/ 135213 w 542686"/>
                <a:gd name="connsiteY27" fmla="*/ 746419 h 1135832"/>
                <a:gd name="connsiteX28" fmla="*/ 128723 w 542686"/>
                <a:gd name="connsiteY28" fmla="*/ 731276 h 1135832"/>
                <a:gd name="connsiteX29" fmla="*/ 122233 w 542686"/>
                <a:gd name="connsiteY29" fmla="*/ 716672 h 1135832"/>
                <a:gd name="connsiteX30" fmla="*/ 121151 w 542686"/>
                <a:gd name="connsiteY30" fmla="*/ 700988 h 1135832"/>
                <a:gd name="connsiteX31" fmla="*/ 119529 w 542686"/>
                <a:gd name="connsiteY31" fmla="*/ 685303 h 1135832"/>
                <a:gd name="connsiteX32" fmla="*/ 121692 w 542686"/>
                <a:gd name="connsiteY32" fmla="*/ 667996 h 1135832"/>
                <a:gd name="connsiteX33" fmla="*/ 124937 w 542686"/>
                <a:gd name="connsiteY33" fmla="*/ 651229 h 1135832"/>
                <a:gd name="connsiteX34" fmla="*/ 128182 w 542686"/>
                <a:gd name="connsiteY34" fmla="*/ 633922 h 1135832"/>
                <a:gd name="connsiteX35" fmla="*/ 138459 w 542686"/>
                <a:gd name="connsiteY35" fmla="*/ 619860 h 1135832"/>
                <a:gd name="connsiteX36" fmla="*/ 148734 w 542686"/>
                <a:gd name="connsiteY36" fmla="*/ 606339 h 1135832"/>
                <a:gd name="connsiteX37" fmla="*/ 160633 w 542686"/>
                <a:gd name="connsiteY37" fmla="*/ 593899 h 1135832"/>
                <a:gd name="connsiteX38" fmla="*/ 176318 w 542686"/>
                <a:gd name="connsiteY38" fmla="*/ 586327 h 1135832"/>
                <a:gd name="connsiteX39" fmla="*/ 193625 w 542686"/>
                <a:gd name="connsiteY39" fmla="*/ 584705 h 1135832"/>
                <a:gd name="connsiteX40" fmla="*/ 213096 w 542686"/>
                <a:gd name="connsiteY40" fmla="*/ 588491 h 1135832"/>
                <a:gd name="connsiteX41" fmla="*/ 209851 w 542686"/>
                <a:gd name="connsiteY41" fmla="*/ 570643 h 1135832"/>
                <a:gd name="connsiteX42" fmla="*/ 208228 w 542686"/>
                <a:gd name="connsiteY42" fmla="*/ 551713 h 1135832"/>
                <a:gd name="connsiteX43" fmla="*/ 188217 w 542686"/>
                <a:gd name="connsiteY43" fmla="*/ 557662 h 1135832"/>
                <a:gd name="connsiteX44" fmla="*/ 168205 w 542686"/>
                <a:gd name="connsiteY44" fmla="*/ 556580 h 1135832"/>
                <a:gd name="connsiteX45" fmla="*/ 149276 w 542686"/>
                <a:gd name="connsiteY45" fmla="*/ 550631 h 1135832"/>
                <a:gd name="connsiteX46" fmla="*/ 132509 w 542686"/>
                <a:gd name="connsiteY46" fmla="*/ 543059 h 1135832"/>
                <a:gd name="connsiteX47" fmla="*/ 119529 w 542686"/>
                <a:gd name="connsiteY47" fmla="*/ 530079 h 1135832"/>
                <a:gd name="connsiteX48" fmla="*/ 108170 w 542686"/>
                <a:gd name="connsiteY48" fmla="*/ 515476 h 1135832"/>
                <a:gd name="connsiteX49" fmla="*/ 101140 w 542686"/>
                <a:gd name="connsiteY49" fmla="*/ 498168 h 1135832"/>
                <a:gd name="connsiteX50" fmla="*/ 95731 w 542686"/>
                <a:gd name="connsiteY50" fmla="*/ 480861 h 1135832"/>
                <a:gd name="connsiteX51" fmla="*/ 94108 w 542686"/>
                <a:gd name="connsiteY51" fmla="*/ 462472 h 1135832"/>
                <a:gd name="connsiteX52" fmla="*/ 94108 w 542686"/>
                <a:gd name="connsiteY52" fmla="*/ 444083 h 1135832"/>
                <a:gd name="connsiteX53" fmla="*/ 95190 w 542686"/>
                <a:gd name="connsiteY53" fmla="*/ 425694 h 1135832"/>
                <a:gd name="connsiteX54" fmla="*/ 98435 w 542686"/>
                <a:gd name="connsiteY54" fmla="*/ 407846 h 1135832"/>
                <a:gd name="connsiteX55" fmla="*/ 103844 w 542686"/>
                <a:gd name="connsiteY55" fmla="*/ 390539 h 1135832"/>
                <a:gd name="connsiteX56" fmla="*/ 108712 w 542686"/>
                <a:gd name="connsiteY56" fmla="*/ 372691 h 1135832"/>
                <a:gd name="connsiteX57" fmla="*/ 116283 w 542686"/>
                <a:gd name="connsiteY57" fmla="*/ 355924 h 1135832"/>
                <a:gd name="connsiteX58" fmla="*/ 126019 w 542686"/>
                <a:gd name="connsiteY58" fmla="*/ 340240 h 1135832"/>
                <a:gd name="connsiteX59" fmla="*/ 137376 w 542686"/>
                <a:gd name="connsiteY59" fmla="*/ 325637 h 1135832"/>
                <a:gd name="connsiteX60" fmla="*/ 149816 w 542686"/>
                <a:gd name="connsiteY60" fmla="*/ 312115 h 1135832"/>
                <a:gd name="connsiteX61" fmla="*/ 163878 w 542686"/>
                <a:gd name="connsiteY61" fmla="*/ 300217 h 1135832"/>
                <a:gd name="connsiteX62" fmla="*/ 177940 w 542686"/>
                <a:gd name="connsiteY62" fmla="*/ 288318 h 1135832"/>
                <a:gd name="connsiteX63" fmla="*/ 193625 w 542686"/>
                <a:gd name="connsiteY63" fmla="*/ 279123 h 1135832"/>
                <a:gd name="connsiteX64" fmla="*/ 210932 w 542686"/>
                <a:gd name="connsiteY64" fmla="*/ 272092 h 1135832"/>
                <a:gd name="connsiteX65" fmla="*/ 229321 w 542686"/>
                <a:gd name="connsiteY65" fmla="*/ 271010 h 1135832"/>
                <a:gd name="connsiteX66" fmla="*/ 247710 w 542686"/>
                <a:gd name="connsiteY66" fmla="*/ 270470 h 1135832"/>
                <a:gd name="connsiteX67" fmla="*/ 265559 w 542686"/>
                <a:gd name="connsiteY67" fmla="*/ 275337 h 1135832"/>
                <a:gd name="connsiteX68" fmla="*/ 274212 w 542686"/>
                <a:gd name="connsiteY68" fmla="*/ 280746 h 1135832"/>
                <a:gd name="connsiteX69" fmla="*/ 275294 w 542686"/>
                <a:gd name="connsiteY69" fmla="*/ 264520 h 1135832"/>
                <a:gd name="connsiteX70" fmla="*/ 281243 w 542686"/>
                <a:gd name="connsiteY70" fmla="*/ 249376 h 1135832"/>
                <a:gd name="connsiteX71" fmla="*/ 285570 w 542686"/>
                <a:gd name="connsiteY71" fmla="*/ 233692 h 1135832"/>
                <a:gd name="connsiteX72" fmla="*/ 290438 w 542686"/>
                <a:gd name="connsiteY72" fmla="*/ 218007 h 1135832"/>
                <a:gd name="connsiteX73" fmla="*/ 299091 w 542686"/>
                <a:gd name="connsiteY73" fmla="*/ 203945 h 1135832"/>
                <a:gd name="connsiteX74" fmla="*/ 307204 w 542686"/>
                <a:gd name="connsiteY74" fmla="*/ 187719 h 1135832"/>
                <a:gd name="connsiteX75" fmla="*/ 315858 w 542686"/>
                <a:gd name="connsiteY75" fmla="*/ 171494 h 1135832"/>
                <a:gd name="connsiteX76" fmla="*/ 325052 w 542686"/>
                <a:gd name="connsiteY76" fmla="*/ 155809 h 1135832"/>
                <a:gd name="connsiteX77" fmla="*/ 337492 w 542686"/>
                <a:gd name="connsiteY77" fmla="*/ 142829 h 1135832"/>
                <a:gd name="connsiteX78" fmla="*/ 349931 w 542686"/>
                <a:gd name="connsiteY78" fmla="*/ 129848 h 1135832"/>
                <a:gd name="connsiteX79" fmla="*/ 363453 w 542686"/>
                <a:gd name="connsiteY79" fmla="*/ 117950 h 1135832"/>
                <a:gd name="connsiteX80" fmla="*/ 379678 w 542686"/>
                <a:gd name="connsiteY80" fmla="*/ 109296 h 1135832"/>
                <a:gd name="connsiteX81" fmla="*/ 397526 w 542686"/>
                <a:gd name="connsiteY81" fmla="*/ 111459 h 1135832"/>
                <a:gd name="connsiteX82" fmla="*/ 402394 w 542686"/>
                <a:gd name="connsiteY82" fmla="*/ 113623 h 1135832"/>
                <a:gd name="connsiteX83" fmla="*/ 411589 w 542686"/>
                <a:gd name="connsiteY83" fmla="*/ 91989 h 1135832"/>
                <a:gd name="connsiteX84" fmla="*/ 418619 w 542686"/>
                <a:gd name="connsiteY84" fmla="*/ 74681 h 1135832"/>
                <a:gd name="connsiteX85" fmla="*/ 428896 w 542686"/>
                <a:gd name="connsiteY85" fmla="*/ 58997 h 1135832"/>
                <a:gd name="connsiteX86" fmla="*/ 439172 w 542686"/>
                <a:gd name="connsiteY86" fmla="*/ 43853 h 1135832"/>
                <a:gd name="connsiteX87" fmla="*/ 449989 w 542686"/>
                <a:gd name="connsiteY87" fmla="*/ 28709 h 1135832"/>
                <a:gd name="connsiteX88" fmla="*/ 462428 w 542686"/>
                <a:gd name="connsiteY88" fmla="*/ 15188 h 1135832"/>
                <a:gd name="connsiteX89" fmla="*/ 477032 w 542686"/>
                <a:gd name="connsiteY89" fmla="*/ 3289 h 1135832"/>
                <a:gd name="connsiteX90" fmla="*/ 495421 w 542686"/>
                <a:gd name="connsiteY90" fmla="*/ 1125 h 1135832"/>
                <a:gd name="connsiteX91" fmla="*/ 504074 w 542686"/>
                <a:gd name="connsiteY91" fmla="*/ 20596 h 1135832"/>
                <a:gd name="connsiteX92" fmla="*/ 505156 w 542686"/>
                <a:gd name="connsiteY92" fmla="*/ 42230 h 1135832"/>
                <a:gd name="connsiteX93" fmla="*/ 517055 w 542686"/>
                <a:gd name="connsiteY93" fmla="*/ 33036 h 1135832"/>
                <a:gd name="connsiteX94" fmla="*/ 531658 w 542686"/>
                <a:gd name="connsiteY94" fmla="*/ 33577 h 1135832"/>
                <a:gd name="connsiteX95" fmla="*/ 541393 w 542686"/>
                <a:gd name="connsiteY95" fmla="*/ 44394 h 1135832"/>
                <a:gd name="connsiteX96" fmla="*/ 542475 w 542686"/>
                <a:gd name="connsiteY96" fmla="*/ 60078 h 1135832"/>
                <a:gd name="connsiteX97" fmla="*/ 538148 w 542686"/>
                <a:gd name="connsiteY97" fmla="*/ 75222 h 1135832"/>
                <a:gd name="connsiteX98" fmla="*/ 534362 w 542686"/>
                <a:gd name="connsiteY98" fmla="*/ 90366 h 1135832"/>
                <a:gd name="connsiteX99" fmla="*/ 525168 w 542686"/>
                <a:gd name="connsiteY99" fmla="*/ 106051 h 1135832"/>
                <a:gd name="connsiteX100" fmla="*/ 512187 w 542686"/>
                <a:gd name="connsiteY100" fmla="*/ 118490 h 1135832"/>
                <a:gd name="connsiteX101" fmla="*/ 494339 w 542686"/>
                <a:gd name="connsiteY101" fmla="*/ 126062 h 113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542686" h="1135832">
                  <a:moveTo>
                    <a:pt x="47595" y="1135833"/>
                  </a:moveTo>
                  <a:cubicBezTo>
                    <a:pt x="43268" y="1132047"/>
                    <a:pt x="40023" y="1126638"/>
                    <a:pt x="36237" y="1122311"/>
                  </a:cubicBezTo>
                  <a:cubicBezTo>
                    <a:pt x="32451" y="1117985"/>
                    <a:pt x="29206" y="1113117"/>
                    <a:pt x="25961" y="1108249"/>
                  </a:cubicBezTo>
                  <a:cubicBezTo>
                    <a:pt x="22716" y="1103381"/>
                    <a:pt x="19471" y="1098514"/>
                    <a:pt x="16767" y="1093646"/>
                  </a:cubicBezTo>
                  <a:cubicBezTo>
                    <a:pt x="14063" y="1088238"/>
                    <a:pt x="10817" y="1083370"/>
                    <a:pt x="8654" y="1077961"/>
                  </a:cubicBezTo>
                  <a:cubicBezTo>
                    <a:pt x="6491" y="1072553"/>
                    <a:pt x="5409" y="1066604"/>
                    <a:pt x="4327" y="1061195"/>
                  </a:cubicBezTo>
                  <a:cubicBezTo>
                    <a:pt x="3246" y="1055787"/>
                    <a:pt x="1623" y="1049837"/>
                    <a:pt x="1082" y="1043888"/>
                  </a:cubicBezTo>
                  <a:cubicBezTo>
                    <a:pt x="541" y="1037938"/>
                    <a:pt x="0" y="1032530"/>
                    <a:pt x="0" y="1026580"/>
                  </a:cubicBezTo>
                  <a:cubicBezTo>
                    <a:pt x="0" y="1020090"/>
                    <a:pt x="1082" y="1014141"/>
                    <a:pt x="2164" y="1008191"/>
                  </a:cubicBezTo>
                  <a:cubicBezTo>
                    <a:pt x="2704" y="1002242"/>
                    <a:pt x="2704" y="995752"/>
                    <a:pt x="3786" y="989803"/>
                  </a:cubicBezTo>
                  <a:cubicBezTo>
                    <a:pt x="5409" y="983853"/>
                    <a:pt x="7031" y="977904"/>
                    <a:pt x="9195" y="971955"/>
                  </a:cubicBezTo>
                  <a:cubicBezTo>
                    <a:pt x="11358" y="966005"/>
                    <a:pt x="15144" y="961138"/>
                    <a:pt x="18389" y="955729"/>
                  </a:cubicBezTo>
                  <a:cubicBezTo>
                    <a:pt x="21093" y="950320"/>
                    <a:pt x="23257" y="944371"/>
                    <a:pt x="27043" y="939503"/>
                  </a:cubicBezTo>
                  <a:cubicBezTo>
                    <a:pt x="30829" y="934636"/>
                    <a:pt x="34615" y="929768"/>
                    <a:pt x="38942" y="925441"/>
                  </a:cubicBezTo>
                  <a:cubicBezTo>
                    <a:pt x="43268" y="921114"/>
                    <a:pt x="47595" y="916788"/>
                    <a:pt x="52463" y="913002"/>
                  </a:cubicBezTo>
                  <a:cubicBezTo>
                    <a:pt x="57331" y="909216"/>
                    <a:pt x="61657" y="904889"/>
                    <a:pt x="67066" y="901644"/>
                  </a:cubicBezTo>
                  <a:cubicBezTo>
                    <a:pt x="71934" y="898399"/>
                    <a:pt x="77883" y="895154"/>
                    <a:pt x="83291" y="892449"/>
                  </a:cubicBezTo>
                  <a:cubicBezTo>
                    <a:pt x="78965" y="888663"/>
                    <a:pt x="74097" y="884877"/>
                    <a:pt x="70311" y="880010"/>
                  </a:cubicBezTo>
                  <a:cubicBezTo>
                    <a:pt x="67066" y="875142"/>
                    <a:pt x="63821" y="869733"/>
                    <a:pt x="61657" y="864866"/>
                  </a:cubicBezTo>
                  <a:cubicBezTo>
                    <a:pt x="59494" y="859457"/>
                    <a:pt x="58953" y="853508"/>
                    <a:pt x="57872" y="847559"/>
                  </a:cubicBezTo>
                  <a:cubicBezTo>
                    <a:pt x="56789" y="842150"/>
                    <a:pt x="54627" y="836201"/>
                    <a:pt x="54627" y="830251"/>
                  </a:cubicBezTo>
                  <a:cubicBezTo>
                    <a:pt x="54627" y="824302"/>
                    <a:pt x="57331" y="818353"/>
                    <a:pt x="58412" y="812403"/>
                  </a:cubicBezTo>
                  <a:cubicBezTo>
                    <a:pt x="59494" y="806454"/>
                    <a:pt x="59494" y="799963"/>
                    <a:pt x="62198" y="794555"/>
                  </a:cubicBezTo>
                  <a:cubicBezTo>
                    <a:pt x="64902" y="789146"/>
                    <a:pt x="69770" y="784820"/>
                    <a:pt x="73015" y="779952"/>
                  </a:cubicBezTo>
                  <a:cubicBezTo>
                    <a:pt x="76801" y="775084"/>
                    <a:pt x="79506" y="769135"/>
                    <a:pt x="84373" y="765349"/>
                  </a:cubicBezTo>
                  <a:cubicBezTo>
                    <a:pt x="89241" y="761563"/>
                    <a:pt x="95190" y="759400"/>
                    <a:pt x="100058" y="756155"/>
                  </a:cubicBezTo>
                  <a:cubicBezTo>
                    <a:pt x="105466" y="753450"/>
                    <a:pt x="110875" y="751287"/>
                    <a:pt x="116825" y="749664"/>
                  </a:cubicBezTo>
                  <a:cubicBezTo>
                    <a:pt x="122774" y="748042"/>
                    <a:pt x="129264" y="746419"/>
                    <a:pt x="135213" y="746419"/>
                  </a:cubicBezTo>
                  <a:cubicBezTo>
                    <a:pt x="132509" y="742093"/>
                    <a:pt x="130346" y="736143"/>
                    <a:pt x="128723" y="731276"/>
                  </a:cubicBezTo>
                  <a:cubicBezTo>
                    <a:pt x="127100" y="726408"/>
                    <a:pt x="123314" y="722081"/>
                    <a:pt x="122233" y="716672"/>
                  </a:cubicBezTo>
                  <a:cubicBezTo>
                    <a:pt x="121151" y="711805"/>
                    <a:pt x="121692" y="705855"/>
                    <a:pt x="121151" y="700988"/>
                  </a:cubicBezTo>
                  <a:cubicBezTo>
                    <a:pt x="120610" y="696120"/>
                    <a:pt x="119529" y="690712"/>
                    <a:pt x="119529" y="685303"/>
                  </a:cubicBezTo>
                  <a:cubicBezTo>
                    <a:pt x="119529" y="679354"/>
                    <a:pt x="121151" y="673945"/>
                    <a:pt x="121692" y="667996"/>
                  </a:cubicBezTo>
                  <a:cubicBezTo>
                    <a:pt x="122233" y="662046"/>
                    <a:pt x="123855" y="656638"/>
                    <a:pt x="124937" y="651229"/>
                  </a:cubicBezTo>
                  <a:cubicBezTo>
                    <a:pt x="126559" y="645280"/>
                    <a:pt x="126019" y="639331"/>
                    <a:pt x="128182" y="633922"/>
                  </a:cubicBezTo>
                  <a:cubicBezTo>
                    <a:pt x="130346" y="628514"/>
                    <a:pt x="135213" y="624728"/>
                    <a:pt x="138459" y="619860"/>
                  </a:cubicBezTo>
                  <a:cubicBezTo>
                    <a:pt x="141704" y="614992"/>
                    <a:pt x="144408" y="610125"/>
                    <a:pt x="148734" y="606339"/>
                  </a:cubicBezTo>
                  <a:cubicBezTo>
                    <a:pt x="153061" y="602012"/>
                    <a:pt x="156306" y="597144"/>
                    <a:pt x="160633" y="593899"/>
                  </a:cubicBezTo>
                  <a:cubicBezTo>
                    <a:pt x="165501" y="590654"/>
                    <a:pt x="170910" y="587950"/>
                    <a:pt x="176318" y="586327"/>
                  </a:cubicBezTo>
                  <a:cubicBezTo>
                    <a:pt x="181727" y="584705"/>
                    <a:pt x="187676" y="584705"/>
                    <a:pt x="193625" y="584705"/>
                  </a:cubicBezTo>
                  <a:cubicBezTo>
                    <a:pt x="200115" y="584705"/>
                    <a:pt x="206606" y="586327"/>
                    <a:pt x="213096" y="588491"/>
                  </a:cubicBezTo>
                  <a:cubicBezTo>
                    <a:pt x="211474" y="582541"/>
                    <a:pt x="210932" y="577133"/>
                    <a:pt x="209851" y="570643"/>
                  </a:cubicBezTo>
                  <a:cubicBezTo>
                    <a:pt x="208769" y="564693"/>
                    <a:pt x="208769" y="558203"/>
                    <a:pt x="208228" y="551713"/>
                  </a:cubicBezTo>
                  <a:cubicBezTo>
                    <a:pt x="201738" y="553876"/>
                    <a:pt x="194707" y="556580"/>
                    <a:pt x="188217" y="557662"/>
                  </a:cubicBezTo>
                  <a:cubicBezTo>
                    <a:pt x="181185" y="558203"/>
                    <a:pt x="174695" y="557662"/>
                    <a:pt x="168205" y="556580"/>
                  </a:cubicBezTo>
                  <a:cubicBezTo>
                    <a:pt x="161715" y="555499"/>
                    <a:pt x="155225" y="553335"/>
                    <a:pt x="149276" y="550631"/>
                  </a:cubicBezTo>
                  <a:cubicBezTo>
                    <a:pt x="143326" y="548468"/>
                    <a:pt x="137376" y="546304"/>
                    <a:pt x="132509" y="543059"/>
                  </a:cubicBezTo>
                  <a:cubicBezTo>
                    <a:pt x="127642" y="539814"/>
                    <a:pt x="123855" y="534405"/>
                    <a:pt x="119529" y="530079"/>
                  </a:cubicBezTo>
                  <a:cubicBezTo>
                    <a:pt x="115742" y="525752"/>
                    <a:pt x="111416" y="520884"/>
                    <a:pt x="108170" y="515476"/>
                  </a:cubicBezTo>
                  <a:cubicBezTo>
                    <a:pt x="105466" y="510067"/>
                    <a:pt x="103303" y="504118"/>
                    <a:pt x="101140" y="498168"/>
                  </a:cubicBezTo>
                  <a:cubicBezTo>
                    <a:pt x="98976" y="492760"/>
                    <a:pt x="96813" y="486810"/>
                    <a:pt x="95731" y="480861"/>
                  </a:cubicBezTo>
                  <a:cubicBezTo>
                    <a:pt x="94649" y="474912"/>
                    <a:pt x="94649" y="468962"/>
                    <a:pt x="94108" y="462472"/>
                  </a:cubicBezTo>
                  <a:cubicBezTo>
                    <a:pt x="93568" y="456523"/>
                    <a:pt x="93568" y="450573"/>
                    <a:pt x="94108" y="444083"/>
                  </a:cubicBezTo>
                  <a:cubicBezTo>
                    <a:pt x="94108" y="438134"/>
                    <a:pt x="94108" y="432184"/>
                    <a:pt x="95190" y="425694"/>
                  </a:cubicBezTo>
                  <a:cubicBezTo>
                    <a:pt x="95731" y="419745"/>
                    <a:pt x="96813" y="413795"/>
                    <a:pt x="98435" y="407846"/>
                  </a:cubicBezTo>
                  <a:cubicBezTo>
                    <a:pt x="99517" y="401897"/>
                    <a:pt x="101680" y="396488"/>
                    <a:pt x="103844" y="390539"/>
                  </a:cubicBezTo>
                  <a:cubicBezTo>
                    <a:pt x="105466" y="384589"/>
                    <a:pt x="106007" y="378640"/>
                    <a:pt x="108712" y="372691"/>
                  </a:cubicBezTo>
                  <a:cubicBezTo>
                    <a:pt x="110875" y="366741"/>
                    <a:pt x="113038" y="361333"/>
                    <a:pt x="116283" y="355924"/>
                  </a:cubicBezTo>
                  <a:cubicBezTo>
                    <a:pt x="118987" y="350516"/>
                    <a:pt x="122774" y="345107"/>
                    <a:pt x="126019" y="340240"/>
                  </a:cubicBezTo>
                  <a:cubicBezTo>
                    <a:pt x="129264" y="334831"/>
                    <a:pt x="133591" y="330504"/>
                    <a:pt x="137376" y="325637"/>
                  </a:cubicBezTo>
                  <a:cubicBezTo>
                    <a:pt x="141163" y="320769"/>
                    <a:pt x="145489" y="316442"/>
                    <a:pt x="149816" y="312115"/>
                  </a:cubicBezTo>
                  <a:cubicBezTo>
                    <a:pt x="154143" y="307789"/>
                    <a:pt x="159011" y="304002"/>
                    <a:pt x="163878" y="300217"/>
                  </a:cubicBezTo>
                  <a:cubicBezTo>
                    <a:pt x="168746" y="296431"/>
                    <a:pt x="173073" y="291563"/>
                    <a:pt x="177940" y="288318"/>
                  </a:cubicBezTo>
                  <a:cubicBezTo>
                    <a:pt x="183349" y="285073"/>
                    <a:pt x="188217" y="281287"/>
                    <a:pt x="193625" y="279123"/>
                  </a:cubicBezTo>
                  <a:cubicBezTo>
                    <a:pt x="199574" y="276419"/>
                    <a:pt x="204983" y="273715"/>
                    <a:pt x="210932" y="272092"/>
                  </a:cubicBezTo>
                  <a:cubicBezTo>
                    <a:pt x="216882" y="270470"/>
                    <a:pt x="223372" y="271010"/>
                    <a:pt x="229321" y="271010"/>
                  </a:cubicBezTo>
                  <a:cubicBezTo>
                    <a:pt x="235271" y="270470"/>
                    <a:pt x="241761" y="269388"/>
                    <a:pt x="247710" y="270470"/>
                  </a:cubicBezTo>
                  <a:cubicBezTo>
                    <a:pt x="253660" y="271551"/>
                    <a:pt x="259609" y="273174"/>
                    <a:pt x="265559" y="275337"/>
                  </a:cubicBezTo>
                  <a:cubicBezTo>
                    <a:pt x="268804" y="276419"/>
                    <a:pt x="271508" y="279123"/>
                    <a:pt x="274212" y="280746"/>
                  </a:cubicBezTo>
                  <a:cubicBezTo>
                    <a:pt x="274753" y="275878"/>
                    <a:pt x="274212" y="269929"/>
                    <a:pt x="275294" y="264520"/>
                  </a:cubicBezTo>
                  <a:cubicBezTo>
                    <a:pt x="276376" y="259653"/>
                    <a:pt x="279621" y="254785"/>
                    <a:pt x="281243" y="249376"/>
                  </a:cubicBezTo>
                  <a:cubicBezTo>
                    <a:pt x="282866" y="244509"/>
                    <a:pt x="283947" y="239100"/>
                    <a:pt x="285570" y="233692"/>
                  </a:cubicBezTo>
                  <a:cubicBezTo>
                    <a:pt x="287193" y="228824"/>
                    <a:pt x="288274" y="223416"/>
                    <a:pt x="290438" y="218007"/>
                  </a:cubicBezTo>
                  <a:cubicBezTo>
                    <a:pt x="292601" y="213139"/>
                    <a:pt x="296387" y="208813"/>
                    <a:pt x="299091" y="203945"/>
                  </a:cubicBezTo>
                  <a:cubicBezTo>
                    <a:pt x="301796" y="198536"/>
                    <a:pt x="303959" y="193128"/>
                    <a:pt x="307204" y="187719"/>
                  </a:cubicBezTo>
                  <a:cubicBezTo>
                    <a:pt x="309908" y="182311"/>
                    <a:pt x="312613" y="176902"/>
                    <a:pt x="315858" y="171494"/>
                  </a:cubicBezTo>
                  <a:cubicBezTo>
                    <a:pt x="319103" y="166085"/>
                    <a:pt x="321807" y="160677"/>
                    <a:pt x="325052" y="155809"/>
                  </a:cubicBezTo>
                  <a:cubicBezTo>
                    <a:pt x="328838" y="150941"/>
                    <a:pt x="333706" y="147155"/>
                    <a:pt x="337492" y="142829"/>
                  </a:cubicBezTo>
                  <a:cubicBezTo>
                    <a:pt x="341819" y="137961"/>
                    <a:pt x="345604" y="133634"/>
                    <a:pt x="349931" y="129848"/>
                  </a:cubicBezTo>
                  <a:cubicBezTo>
                    <a:pt x="354799" y="125521"/>
                    <a:pt x="358585" y="120654"/>
                    <a:pt x="363453" y="117950"/>
                  </a:cubicBezTo>
                  <a:cubicBezTo>
                    <a:pt x="368861" y="114163"/>
                    <a:pt x="374270" y="110378"/>
                    <a:pt x="379678" y="109296"/>
                  </a:cubicBezTo>
                  <a:cubicBezTo>
                    <a:pt x="386168" y="107673"/>
                    <a:pt x="392118" y="108755"/>
                    <a:pt x="397526" y="111459"/>
                  </a:cubicBezTo>
                  <a:cubicBezTo>
                    <a:pt x="398608" y="112000"/>
                    <a:pt x="401312" y="113082"/>
                    <a:pt x="402394" y="113623"/>
                  </a:cubicBezTo>
                  <a:cubicBezTo>
                    <a:pt x="405098" y="106592"/>
                    <a:pt x="407802" y="99020"/>
                    <a:pt x="411589" y="91989"/>
                  </a:cubicBezTo>
                  <a:cubicBezTo>
                    <a:pt x="414293" y="86039"/>
                    <a:pt x="415915" y="80090"/>
                    <a:pt x="418619" y="74681"/>
                  </a:cubicBezTo>
                  <a:cubicBezTo>
                    <a:pt x="421864" y="69273"/>
                    <a:pt x="425651" y="64405"/>
                    <a:pt x="428896" y="58997"/>
                  </a:cubicBezTo>
                  <a:cubicBezTo>
                    <a:pt x="432141" y="53588"/>
                    <a:pt x="435927" y="48721"/>
                    <a:pt x="439172" y="43853"/>
                  </a:cubicBezTo>
                  <a:cubicBezTo>
                    <a:pt x="442958" y="38444"/>
                    <a:pt x="446203" y="33577"/>
                    <a:pt x="449989" y="28709"/>
                  </a:cubicBezTo>
                  <a:cubicBezTo>
                    <a:pt x="454315" y="23841"/>
                    <a:pt x="458102" y="18974"/>
                    <a:pt x="462428" y="15188"/>
                  </a:cubicBezTo>
                  <a:cubicBezTo>
                    <a:pt x="467837" y="10320"/>
                    <a:pt x="472164" y="5993"/>
                    <a:pt x="477032" y="3289"/>
                  </a:cubicBezTo>
                  <a:cubicBezTo>
                    <a:pt x="484062" y="44"/>
                    <a:pt x="490553" y="-1038"/>
                    <a:pt x="495421" y="1125"/>
                  </a:cubicBezTo>
                  <a:cubicBezTo>
                    <a:pt x="500829" y="3830"/>
                    <a:pt x="502992" y="11402"/>
                    <a:pt x="504074" y="20596"/>
                  </a:cubicBezTo>
                  <a:cubicBezTo>
                    <a:pt x="505156" y="26546"/>
                    <a:pt x="506238" y="34117"/>
                    <a:pt x="505156" y="42230"/>
                  </a:cubicBezTo>
                  <a:cubicBezTo>
                    <a:pt x="509483" y="38444"/>
                    <a:pt x="513268" y="34658"/>
                    <a:pt x="517055" y="33036"/>
                  </a:cubicBezTo>
                  <a:cubicBezTo>
                    <a:pt x="522463" y="30331"/>
                    <a:pt x="527330" y="31413"/>
                    <a:pt x="531658" y="33577"/>
                  </a:cubicBezTo>
                  <a:cubicBezTo>
                    <a:pt x="535985" y="35740"/>
                    <a:pt x="539770" y="38985"/>
                    <a:pt x="541393" y="44394"/>
                  </a:cubicBezTo>
                  <a:cubicBezTo>
                    <a:pt x="542475" y="48721"/>
                    <a:pt x="543015" y="54129"/>
                    <a:pt x="542475" y="60078"/>
                  </a:cubicBezTo>
                  <a:cubicBezTo>
                    <a:pt x="541934" y="64946"/>
                    <a:pt x="539770" y="69814"/>
                    <a:pt x="538148" y="75222"/>
                  </a:cubicBezTo>
                  <a:cubicBezTo>
                    <a:pt x="536525" y="80090"/>
                    <a:pt x="536525" y="85498"/>
                    <a:pt x="534362" y="90366"/>
                  </a:cubicBezTo>
                  <a:cubicBezTo>
                    <a:pt x="531658" y="95775"/>
                    <a:pt x="528413" y="101183"/>
                    <a:pt x="525168" y="106051"/>
                  </a:cubicBezTo>
                  <a:cubicBezTo>
                    <a:pt x="521381" y="111459"/>
                    <a:pt x="516513" y="115245"/>
                    <a:pt x="512187" y="118490"/>
                  </a:cubicBezTo>
                  <a:cubicBezTo>
                    <a:pt x="506238" y="120113"/>
                    <a:pt x="499747" y="121736"/>
                    <a:pt x="494339" y="126062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2" name="Freeform: Shape 1401">
              <a:extLst>
                <a:ext uri="{FF2B5EF4-FFF2-40B4-BE49-F238E27FC236}">
                  <a16:creationId xmlns:a16="http://schemas.microsoft.com/office/drawing/2014/main" id="{D59AD117-6389-2DDD-0D72-439B86E13D30}"/>
                </a:ext>
              </a:extLst>
            </p:cNvPr>
            <p:cNvSpPr/>
            <p:nvPr/>
          </p:nvSpPr>
          <p:spPr>
            <a:xfrm>
              <a:off x="9728420" y="3241324"/>
              <a:ext cx="49758" cy="111415"/>
            </a:xfrm>
            <a:custGeom>
              <a:avLst/>
              <a:gdLst>
                <a:gd name="connsiteX0" fmla="*/ 49758 w 49758"/>
                <a:gd name="connsiteY0" fmla="*/ 0 h 111415"/>
                <a:gd name="connsiteX1" fmla="*/ 48677 w 49758"/>
                <a:gd name="connsiteY1" fmla="*/ 17848 h 111415"/>
                <a:gd name="connsiteX2" fmla="*/ 44890 w 49758"/>
                <a:gd name="connsiteY2" fmla="*/ 35696 h 111415"/>
                <a:gd name="connsiteX3" fmla="*/ 38941 w 49758"/>
                <a:gd name="connsiteY3" fmla="*/ 52463 h 111415"/>
                <a:gd name="connsiteX4" fmla="*/ 32992 w 49758"/>
                <a:gd name="connsiteY4" fmla="*/ 69229 h 111415"/>
                <a:gd name="connsiteX5" fmla="*/ 22716 w 49758"/>
                <a:gd name="connsiteY5" fmla="*/ 83832 h 111415"/>
                <a:gd name="connsiteX6" fmla="*/ 12981 w 49758"/>
                <a:gd name="connsiteY6" fmla="*/ 98976 h 111415"/>
                <a:gd name="connsiteX7" fmla="*/ 0 w 49758"/>
                <a:gd name="connsiteY7" fmla="*/ 111416 h 111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758" h="111415">
                  <a:moveTo>
                    <a:pt x="49758" y="0"/>
                  </a:moveTo>
                  <a:cubicBezTo>
                    <a:pt x="49758" y="5950"/>
                    <a:pt x="49217" y="11899"/>
                    <a:pt x="48677" y="17848"/>
                  </a:cubicBezTo>
                  <a:cubicBezTo>
                    <a:pt x="48136" y="23798"/>
                    <a:pt x="46513" y="29747"/>
                    <a:pt x="44890" y="35696"/>
                  </a:cubicBezTo>
                  <a:cubicBezTo>
                    <a:pt x="43268" y="41646"/>
                    <a:pt x="41105" y="47054"/>
                    <a:pt x="38941" y="52463"/>
                  </a:cubicBezTo>
                  <a:cubicBezTo>
                    <a:pt x="36778" y="57871"/>
                    <a:pt x="35696" y="64361"/>
                    <a:pt x="32992" y="69229"/>
                  </a:cubicBezTo>
                  <a:cubicBezTo>
                    <a:pt x="30288" y="74637"/>
                    <a:pt x="25960" y="78965"/>
                    <a:pt x="22716" y="83832"/>
                  </a:cubicBezTo>
                  <a:cubicBezTo>
                    <a:pt x="19471" y="88700"/>
                    <a:pt x="16766" y="94108"/>
                    <a:pt x="12981" y="98976"/>
                  </a:cubicBezTo>
                  <a:cubicBezTo>
                    <a:pt x="9194" y="103303"/>
                    <a:pt x="4326" y="107630"/>
                    <a:pt x="0" y="111416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3" name="Freeform: Shape 1402">
              <a:extLst>
                <a:ext uri="{FF2B5EF4-FFF2-40B4-BE49-F238E27FC236}">
                  <a16:creationId xmlns:a16="http://schemas.microsoft.com/office/drawing/2014/main" id="{DCF1B531-F454-6429-F637-EF88F3BACA51}"/>
                </a:ext>
              </a:extLst>
            </p:cNvPr>
            <p:cNvSpPr/>
            <p:nvPr/>
          </p:nvSpPr>
          <p:spPr>
            <a:xfrm>
              <a:off x="9852275" y="2829736"/>
              <a:ext cx="2162" cy="339114"/>
            </a:xfrm>
            <a:custGeom>
              <a:avLst/>
              <a:gdLst>
                <a:gd name="connsiteX0" fmla="*/ 541 w 2162"/>
                <a:gd name="connsiteY0" fmla="*/ 0 h 339114"/>
                <a:gd name="connsiteX1" fmla="*/ 0 w 2162"/>
                <a:gd name="connsiteY1" fmla="*/ 17848 h 339114"/>
                <a:gd name="connsiteX2" fmla="*/ 0 w 2162"/>
                <a:gd name="connsiteY2" fmla="*/ 35696 h 339114"/>
                <a:gd name="connsiteX3" fmla="*/ 1622 w 2162"/>
                <a:gd name="connsiteY3" fmla="*/ 53544 h 339114"/>
                <a:gd name="connsiteX4" fmla="*/ 2163 w 2162"/>
                <a:gd name="connsiteY4" fmla="*/ 71392 h 339114"/>
                <a:gd name="connsiteX5" fmla="*/ 541 w 2162"/>
                <a:gd name="connsiteY5" fmla="*/ 89241 h 339114"/>
                <a:gd name="connsiteX6" fmla="*/ 0 w 2162"/>
                <a:gd name="connsiteY6" fmla="*/ 107089 h 339114"/>
                <a:gd name="connsiteX7" fmla="*/ 0 w 2162"/>
                <a:gd name="connsiteY7" fmla="*/ 124937 h 339114"/>
                <a:gd name="connsiteX8" fmla="*/ 0 w 2162"/>
                <a:gd name="connsiteY8" fmla="*/ 142785 h 339114"/>
                <a:gd name="connsiteX9" fmla="*/ 0 w 2162"/>
                <a:gd name="connsiteY9" fmla="*/ 160633 h 339114"/>
                <a:gd name="connsiteX10" fmla="*/ 1622 w 2162"/>
                <a:gd name="connsiteY10" fmla="*/ 178481 h 339114"/>
                <a:gd name="connsiteX11" fmla="*/ 1081 w 2162"/>
                <a:gd name="connsiteY11" fmla="*/ 196329 h 339114"/>
                <a:gd name="connsiteX12" fmla="*/ 2163 w 2162"/>
                <a:gd name="connsiteY12" fmla="*/ 214177 h 339114"/>
                <a:gd name="connsiteX13" fmla="*/ 2163 w 2162"/>
                <a:gd name="connsiteY13" fmla="*/ 232025 h 339114"/>
                <a:gd name="connsiteX14" fmla="*/ 1622 w 2162"/>
                <a:gd name="connsiteY14" fmla="*/ 249874 h 339114"/>
                <a:gd name="connsiteX15" fmla="*/ 2163 w 2162"/>
                <a:gd name="connsiteY15" fmla="*/ 267722 h 339114"/>
                <a:gd name="connsiteX16" fmla="*/ 1622 w 2162"/>
                <a:gd name="connsiteY16" fmla="*/ 285570 h 339114"/>
                <a:gd name="connsiteX17" fmla="*/ 1081 w 2162"/>
                <a:gd name="connsiteY17" fmla="*/ 303418 h 339114"/>
                <a:gd name="connsiteX18" fmla="*/ 1081 w 2162"/>
                <a:gd name="connsiteY18" fmla="*/ 321266 h 339114"/>
                <a:gd name="connsiteX19" fmla="*/ 2163 w 2162"/>
                <a:gd name="connsiteY19" fmla="*/ 339114 h 339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62" h="339114">
                  <a:moveTo>
                    <a:pt x="541" y="0"/>
                  </a:moveTo>
                  <a:cubicBezTo>
                    <a:pt x="541" y="8653"/>
                    <a:pt x="0" y="8653"/>
                    <a:pt x="0" y="17848"/>
                  </a:cubicBezTo>
                  <a:cubicBezTo>
                    <a:pt x="0" y="26502"/>
                    <a:pt x="0" y="26502"/>
                    <a:pt x="0" y="35696"/>
                  </a:cubicBezTo>
                  <a:cubicBezTo>
                    <a:pt x="0" y="44350"/>
                    <a:pt x="1622" y="44350"/>
                    <a:pt x="1622" y="53544"/>
                  </a:cubicBezTo>
                  <a:cubicBezTo>
                    <a:pt x="1622" y="62198"/>
                    <a:pt x="2163" y="62198"/>
                    <a:pt x="2163" y="71392"/>
                  </a:cubicBezTo>
                  <a:cubicBezTo>
                    <a:pt x="2163" y="80046"/>
                    <a:pt x="541" y="80046"/>
                    <a:pt x="541" y="89241"/>
                  </a:cubicBezTo>
                  <a:cubicBezTo>
                    <a:pt x="541" y="97894"/>
                    <a:pt x="0" y="97894"/>
                    <a:pt x="0" y="107089"/>
                  </a:cubicBezTo>
                  <a:cubicBezTo>
                    <a:pt x="0" y="115742"/>
                    <a:pt x="0" y="115742"/>
                    <a:pt x="0" y="124937"/>
                  </a:cubicBezTo>
                  <a:cubicBezTo>
                    <a:pt x="0" y="133590"/>
                    <a:pt x="0" y="133590"/>
                    <a:pt x="0" y="142785"/>
                  </a:cubicBezTo>
                  <a:cubicBezTo>
                    <a:pt x="0" y="151438"/>
                    <a:pt x="0" y="151438"/>
                    <a:pt x="0" y="160633"/>
                  </a:cubicBezTo>
                  <a:cubicBezTo>
                    <a:pt x="0" y="169287"/>
                    <a:pt x="1622" y="169287"/>
                    <a:pt x="1622" y="178481"/>
                  </a:cubicBezTo>
                  <a:cubicBezTo>
                    <a:pt x="1622" y="187135"/>
                    <a:pt x="1081" y="187135"/>
                    <a:pt x="1081" y="196329"/>
                  </a:cubicBezTo>
                  <a:cubicBezTo>
                    <a:pt x="1081" y="204983"/>
                    <a:pt x="2163" y="204983"/>
                    <a:pt x="2163" y="214177"/>
                  </a:cubicBezTo>
                  <a:cubicBezTo>
                    <a:pt x="2163" y="223372"/>
                    <a:pt x="2163" y="222831"/>
                    <a:pt x="2163" y="232025"/>
                  </a:cubicBezTo>
                  <a:cubicBezTo>
                    <a:pt x="2163" y="240679"/>
                    <a:pt x="1622" y="240679"/>
                    <a:pt x="1622" y="249874"/>
                  </a:cubicBezTo>
                  <a:cubicBezTo>
                    <a:pt x="1622" y="258527"/>
                    <a:pt x="2163" y="258527"/>
                    <a:pt x="2163" y="267722"/>
                  </a:cubicBezTo>
                  <a:cubicBezTo>
                    <a:pt x="2163" y="276375"/>
                    <a:pt x="1622" y="276375"/>
                    <a:pt x="1622" y="285570"/>
                  </a:cubicBezTo>
                  <a:cubicBezTo>
                    <a:pt x="1622" y="294223"/>
                    <a:pt x="1081" y="294223"/>
                    <a:pt x="1081" y="303418"/>
                  </a:cubicBezTo>
                  <a:cubicBezTo>
                    <a:pt x="1081" y="312072"/>
                    <a:pt x="1081" y="312072"/>
                    <a:pt x="1081" y="321266"/>
                  </a:cubicBezTo>
                  <a:cubicBezTo>
                    <a:pt x="1081" y="329920"/>
                    <a:pt x="2163" y="329920"/>
                    <a:pt x="2163" y="339114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4" name="Freeform: Shape 1403">
              <a:extLst>
                <a:ext uri="{FF2B5EF4-FFF2-40B4-BE49-F238E27FC236}">
                  <a16:creationId xmlns:a16="http://schemas.microsoft.com/office/drawing/2014/main" id="{9F2C3CEA-CE7C-68D0-CF1B-0005C9D846B1}"/>
                </a:ext>
              </a:extLst>
            </p:cNvPr>
            <p:cNvSpPr/>
            <p:nvPr/>
          </p:nvSpPr>
          <p:spPr>
            <a:xfrm>
              <a:off x="9925831" y="3065006"/>
              <a:ext cx="2704" cy="207686"/>
            </a:xfrm>
            <a:custGeom>
              <a:avLst/>
              <a:gdLst>
                <a:gd name="connsiteX0" fmla="*/ 1081 w 2704"/>
                <a:gd name="connsiteY0" fmla="*/ 0 h 207686"/>
                <a:gd name="connsiteX1" fmla="*/ 541 w 2704"/>
                <a:gd name="connsiteY1" fmla="*/ 17307 h 207686"/>
                <a:gd name="connsiteX2" fmla="*/ 2704 w 2704"/>
                <a:gd name="connsiteY2" fmla="*/ 34614 h 207686"/>
                <a:gd name="connsiteX3" fmla="*/ 0 w 2704"/>
                <a:gd name="connsiteY3" fmla="*/ 51922 h 207686"/>
                <a:gd name="connsiteX4" fmla="*/ 1081 w 2704"/>
                <a:gd name="connsiteY4" fmla="*/ 69229 h 207686"/>
                <a:gd name="connsiteX5" fmla="*/ 541 w 2704"/>
                <a:gd name="connsiteY5" fmla="*/ 86536 h 207686"/>
                <a:gd name="connsiteX6" fmla="*/ 2164 w 2704"/>
                <a:gd name="connsiteY6" fmla="*/ 103844 h 207686"/>
                <a:gd name="connsiteX7" fmla="*/ 1081 w 2704"/>
                <a:gd name="connsiteY7" fmla="*/ 121151 h 207686"/>
                <a:gd name="connsiteX8" fmla="*/ 1622 w 2704"/>
                <a:gd name="connsiteY8" fmla="*/ 138458 h 207686"/>
                <a:gd name="connsiteX9" fmla="*/ 2164 w 2704"/>
                <a:gd name="connsiteY9" fmla="*/ 155765 h 207686"/>
                <a:gd name="connsiteX10" fmla="*/ 2164 w 2704"/>
                <a:gd name="connsiteY10" fmla="*/ 173073 h 207686"/>
                <a:gd name="connsiteX11" fmla="*/ 2164 w 2704"/>
                <a:gd name="connsiteY11" fmla="*/ 190380 h 207686"/>
                <a:gd name="connsiteX12" fmla="*/ 2704 w 2704"/>
                <a:gd name="connsiteY12" fmla="*/ 207687 h 207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04" h="207686">
                  <a:moveTo>
                    <a:pt x="1081" y="0"/>
                  </a:moveTo>
                  <a:cubicBezTo>
                    <a:pt x="1081" y="8653"/>
                    <a:pt x="541" y="8653"/>
                    <a:pt x="541" y="17307"/>
                  </a:cubicBezTo>
                  <a:cubicBezTo>
                    <a:pt x="541" y="25961"/>
                    <a:pt x="2704" y="25961"/>
                    <a:pt x="2704" y="34614"/>
                  </a:cubicBezTo>
                  <a:cubicBezTo>
                    <a:pt x="2704" y="43268"/>
                    <a:pt x="0" y="43268"/>
                    <a:pt x="0" y="51922"/>
                  </a:cubicBezTo>
                  <a:cubicBezTo>
                    <a:pt x="0" y="60575"/>
                    <a:pt x="1081" y="60575"/>
                    <a:pt x="1081" y="69229"/>
                  </a:cubicBezTo>
                  <a:cubicBezTo>
                    <a:pt x="1081" y="77882"/>
                    <a:pt x="541" y="77882"/>
                    <a:pt x="541" y="86536"/>
                  </a:cubicBezTo>
                  <a:cubicBezTo>
                    <a:pt x="541" y="95190"/>
                    <a:pt x="2164" y="95190"/>
                    <a:pt x="2164" y="103844"/>
                  </a:cubicBezTo>
                  <a:cubicBezTo>
                    <a:pt x="2164" y="112497"/>
                    <a:pt x="1081" y="112497"/>
                    <a:pt x="1081" y="121151"/>
                  </a:cubicBezTo>
                  <a:cubicBezTo>
                    <a:pt x="1081" y="129804"/>
                    <a:pt x="1622" y="129804"/>
                    <a:pt x="1622" y="138458"/>
                  </a:cubicBezTo>
                  <a:cubicBezTo>
                    <a:pt x="1622" y="147112"/>
                    <a:pt x="2164" y="147112"/>
                    <a:pt x="2164" y="155765"/>
                  </a:cubicBezTo>
                  <a:cubicBezTo>
                    <a:pt x="2164" y="164419"/>
                    <a:pt x="2164" y="164419"/>
                    <a:pt x="2164" y="173073"/>
                  </a:cubicBezTo>
                  <a:cubicBezTo>
                    <a:pt x="2164" y="181726"/>
                    <a:pt x="2164" y="181726"/>
                    <a:pt x="2164" y="190380"/>
                  </a:cubicBezTo>
                  <a:cubicBezTo>
                    <a:pt x="2164" y="199033"/>
                    <a:pt x="2704" y="199033"/>
                    <a:pt x="2704" y="207687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5" name="Freeform: Shape 1404">
              <a:extLst>
                <a:ext uri="{FF2B5EF4-FFF2-40B4-BE49-F238E27FC236}">
                  <a16:creationId xmlns:a16="http://schemas.microsoft.com/office/drawing/2014/main" id="{60DDA597-88BE-088F-8A94-6D3B5E59BA70}"/>
                </a:ext>
              </a:extLst>
            </p:cNvPr>
            <p:cNvSpPr/>
            <p:nvPr/>
          </p:nvSpPr>
          <p:spPr>
            <a:xfrm>
              <a:off x="9926372" y="2779977"/>
              <a:ext cx="2163" cy="191461"/>
            </a:xfrm>
            <a:custGeom>
              <a:avLst/>
              <a:gdLst>
                <a:gd name="connsiteX0" fmla="*/ 2164 w 2163"/>
                <a:gd name="connsiteY0" fmla="*/ 0 h 191461"/>
                <a:gd name="connsiteX1" fmla="*/ 0 w 2163"/>
                <a:gd name="connsiteY1" fmla="*/ 17307 h 191461"/>
                <a:gd name="connsiteX2" fmla="*/ 1081 w 2163"/>
                <a:gd name="connsiteY2" fmla="*/ 34615 h 191461"/>
                <a:gd name="connsiteX3" fmla="*/ 0 w 2163"/>
                <a:gd name="connsiteY3" fmla="*/ 51922 h 191461"/>
                <a:gd name="connsiteX4" fmla="*/ 2164 w 2163"/>
                <a:gd name="connsiteY4" fmla="*/ 69229 h 191461"/>
                <a:gd name="connsiteX5" fmla="*/ 0 w 2163"/>
                <a:gd name="connsiteY5" fmla="*/ 86536 h 191461"/>
                <a:gd name="connsiteX6" fmla="*/ 0 w 2163"/>
                <a:gd name="connsiteY6" fmla="*/ 103844 h 191461"/>
                <a:gd name="connsiteX7" fmla="*/ 541 w 2163"/>
                <a:gd name="connsiteY7" fmla="*/ 121151 h 191461"/>
                <a:gd name="connsiteX8" fmla="*/ 1081 w 2163"/>
                <a:gd name="connsiteY8" fmla="*/ 138458 h 191461"/>
                <a:gd name="connsiteX9" fmla="*/ 1081 w 2163"/>
                <a:gd name="connsiteY9" fmla="*/ 155765 h 191461"/>
                <a:gd name="connsiteX10" fmla="*/ 0 w 2163"/>
                <a:gd name="connsiteY10" fmla="*/ 173613 h 191461"/>
                <a:gd name="connsiteX11" fmla="*/ 541 w 2163"/>
                <a:gd name="connsiteY11" fmla="*/ 191462 h 191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3" h="191461">
                  <a:moveTo>
                    <a:pt x="2164" y="0"/>
                  </a:moveTo>
                  <a:cubicBezTo>
                    <a:pt x="2164" y="8653"/>
                    <a:pt x="0" y="8653"/>
                    <a:pt x="0" y="17307"/>
                  </a:cubicBezTo>
                  <a:cubicBezTo>
                    <a:pt x="0" y="25961"/>
                    <a:pt x="1081" y="25961"/>
                    <a:pt x="1081" y="34615"/>
                  </a:cubicBezTo>
                  <a:cubicBezTo>
                    <a:pt x="1081" y="43268"/>
                    <a:pt x="0" y="43268"/>
                    <a:pt x="0" y="51922"/>
                  </a:cubicBezTo>
                  <a:cubicBezTo>
                    <a:pt x="0" y="60575"/>
                    <a:pt x="2164" y="60575"/>
                    <a:pt x="2164" y="69229"/>
                  </a:cubicBezTo>
                  <a:cubicBezTo>
                    <a:pt x="2164" y="77883"/>
                    <a:pt x="0" y="77883"/>
                    <a:pt x="0" y="86536"/>
                  </a:cubicBezTo>
                  <a:cubicBezTo>
                    <a:pt x="0" y="95190"/>
                    <a:pt x="0" y="95190"/>
                    <a:pt x="0" y="103844"/>
                  </a:cubicBezTo>
                  <a:cubicBezTo>
                    <a:pt x="0" y="112497"/>
                    <a:pt x="541" y="112497"/>
                    <a:pt x="541" y="121151"/>
                  </a:cubicBezTo>
                  <a:cubicBezTo>
                    <a:pt x="541" y="129804"/>
                    <a:pt x="1081" y="129804"/>
                    <a:pt x="1081" y="138458"/>
                  </a:cubicBezTo>
                  <a:cubicBezTo>
                    <a:pt x="1081" y="147112"/>
                    <a:pt x="1081" y="147112"/>
                    <a:pt x="1081" y="155765"/>
                  </a:cubicBezTo>
                  <a:cubicBezTo>
                    <a:pt x="1081" y="164419"/>
                    <a:pt x="0" y="164419"/>
                    <a:pt x="0" y="173613"/>
                  </a:cubicBezTo>
                  <a:cubicBezTo>
                    <a:pt x="0" y="182808"/>
                    <a:pt x="541" y="182267"/>
                    <a:pt x="541" y="191462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6" name="Freeform: Shape 1405">
              <a:extLst>
                <a:ext uri="{FF2B5EF4-FFF2-40B4-BE49-F238E27FC236}">
                  <a16:creationId xmlns:a16="http://schemas.microsoft.com/office/drawing/2014/main" id="{E3AF948C-9832-8A7E-A14C-E7D9AF7DB8BA}"/>
                </a:ext>
              </a:extLst>
            </p:cNvPr>
            <p:cNvSpPr/>
            <p:nvPr/>
          </p:nvSpPr>
          <p:spPr>
            <a:xfrm>
              <a:off x="9927453" y="2794039"/>
              <a:ext cx="52463" cy="167664"/>
            </a:xfrm>
            <a:custGeom>
              <a:avLst/>
              <a:gdLst>
                <a:gd name="connsiteX0" fmla="*/ 52463 w 52463"/>
                <a:gd name="connsiteY0" fmla="*/ 0 h 167664"/>
                <a:gd name="connsiteX1" fmla="*/ 47055 w 52463"/>
                <a:gd name="connsiteY1" fmla="*/ 16767 h 167664"/>
                <a:gd name="connsiteX2" fmla="*/ 40564 w 52463"/>
                <a:gd name="connsiteY2" fmla="*/ 32992 h 167664"/>
                <a:gd name="connsiteX3" fmla="*/ 37860 w 52463"/>
                <a:gd name="connsiteY3" fmla="*/ 50299 h 167664"/>
                <a:gd name="connsiteX4" fmla="*/ 32451 w 52463"/>
                <a:gd name="connsiteY4" fmla="*/ 67066 h 167664"/>
                <a:gd name="connsiteX5" fmla="*/ 25420 w 52463"/>
                <a:gd name="connsiteY5" fmla="*/ 83291 h 167664"/>
                <a:gd name="connsiteX6" fmla="*/ 20012 w 52463"/>
                <a:gd name="connsiteY6" fmla="*/ 100058 h 167664"/>
                <a:gd name="connsiteX7" fmla="*/ 16226 w 52463"/>
                <a:gd name="connsiteY7" fmla="*/ 117365 h 167664"/>
                <a:gd name="connsiteX8" fmla="*/ 11358 w 52463"/>
                <a:gd name="connsiteY8" fmla="*/ 134132 h 167664"/>
                <a:gd name="connsiteX9" fmla="*/ 3786 w 52463"/>
                <a:gd name="connsiteY9" fmla="*/ 150357 h 167664"/>
                <a:gd name="connsiteX10" fmla="*/ 0 w 52463"/>
                <a:gd name="connsiteY10" fmla="*/ 167664 h 167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463" h="167664">
                  <a:moveTo>
                    <a:pt x="52463" y="0"/>
                  </a:moveTo>
                  <a:cubicBezTo>
                    <a:pt x="49759" y="8654"/>
                    <a:pt x="49759" y="8654"/>
                    <a:pt x="47055" y="16767"/>
                  </a:cubicBezTo>
                  <a:cubicBezTo>
                    <a:pt x="44350" y="25420"/>
                    <a:pt x="43268" y="24879"/>
                    <a:pt x="40564" y="32992"/>
                  </a:cubicBezTo>
                  <a:cubicBezTo>
                    <a:pt x="37860" y="41646"/>
                    <a:pt x="40023" y="42187"/>
                    <a:pt x="37860" y="50299"/>
                  </a:cubicBezTo>
                  <a:cubicBezTo>
                    <a:pt x="35155" y="58953"/>
                    <a:pt x="35155" y="58412"/>
                    <a:pt x="32451" y="67066"/>
                  </a:cubicBezTo>
                  <a:cubicBezTo>
                    <a:pt x="29747" y="75719"/>
                    <a:pt x="27584" y="74638"/>
                    <a:pt x="25420" y="83291"/>
                  </a:cubicBezTo>
                  <a:cubicBezTo>
                    <a:pt x="22716" y="91945"/>
                    <a:pt x="22716" y="91945"/>
                    <a:pt x="20012" y="100058"/>
                  </a:cubicBezTo>
                  <a:cubicBezTo>
                    <a:pt x="17308" y="108711"/>
                    <a:pt x="18930" y="109252"/>
                    <a:pt x="16226" y="117365"/>
                  </a:cubicBezTo>
                  <a:cubicBezTo>
                    <a:pt x="13521" y="126019"/>
                    <a:pt x="14063" y="126019"/>
                    <a:pt x="11358" y="134132"/>
                  </a:cubicBezTo>
                  <a:cubicBezTo>
                    <a:pt x="8654" y="142785"/>
                    <a:pt x="6491" y="141703"/>
                    <a:pt x="3786" y="150357"/>
                  </a:cubicBezTo>
                  <a:cubicBezTo>
                    <a:pt x="1082" y="159011"/>
                    <a:pt x="2704" y="159551"/>
                    <a:pt x="0" y="167664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407" name="Freeform: Shape 1406">
              <a:extLst>
                <a:ext uri="{FF2B5EF4-FFF2-40B4-BE49-F238E27FC236}">
                  <a16:creationId xmlns:a16="http://schemas.microsoft.com/office/drawing/2014/main" id="{AFA2E46A-AE7E-08D4-28C7-65C98AD14376}"/>
                </a:ext>
              </a:extLst>
            </p:cNvPr>
            <p:cNvSpPr/>
            <p:nvPr/>
          </p:nvSpPr>
          <p:spPr>
            <a:xfrm>
              <a:off x="9926912" y="2823786"/>
              <a:ext cx="65442" cy="220667"/>
            </a:xfrm>
            <a:custGeom>
              <a:avLst/>
              <a:gdLst>
                <a:gd name="connsiteX0" fmla="*/ 65443 w 65442"/>
                <a:gd name="connsiteY0" fmla="*/ 0 h 220667"/>
                <a:gd name="connsiteX1" fmla="*/ 61657 w 65442"/>
                <a:gd name="connsiteY1" fmla="*/ 17307 h 220667"/>
                <a:gd name="connsiteX2" fmla="*/ 56789 w 65442"/>
                <a:gd name="connsiteY2" fmla="*/ 34615 h 220667"/>
                <a:gd name="connsiteX3" fmla="*/ 49759 w 65442"/>
                <a:gd name="connsiteY3" fmla="*/ 50840 h 220667"/>
                <a:gd name="connsiteX4" fmla="*/ 44891 w 65442"/>
                <a:gd name="connsiteY4" fmla="*/ 67606 h 220667"/>
                <a:gd name="connsiteX5" fmla="*/ 39482 w 65442"/>
                <a:gd name="connsiteY5" fmla="*/ 84373 h 220667"/>
                <a:gd name="connsiteX6" fmla="*/ 36778 w 65442"/>
                <a:gd name="connsiteY6" fmla="*/ 102221 h 220667"/>
                <a:gd name="connsiteX7" fmla="*/ 30829 w 65442"/>
                <a:gd name="connsiteY7" fmla="*/ 118987 h 220667"/>
                <a:gd name="connsiteX8" fmla="*/ 26502 w 65442"/>
                <a:gd name="connsiteY8" fmla="*/ 136295 h 220667"/>
                <a:gd name="connsiteX9" fmla="*/ 20553 w 65442"/>
                <a:gd name="connsiteY9" fmla="*/ 153061 h 220667"/>
                <a:gd name="connsiteX10" fmla="*/ 15144 w 65442"/>
                <a:gd name="connsiteY10" fmla="*/ 169828 h 220667"/>
                <a:gd name="connsiteX11" fmla="*/ 9736 w 65442"/>
                <a:gd name="connsiteY11" fmla="*/ 186594 h 220667"/>
                <a:gd name="connsiteX12" fmla="*/ 5409 w 65442"/>
                <a:gd name="connsiteY12" fmla="*/ 203901 h 220667"/>
                <a:gd name="connsiteX13" fmla="*/ 0 w 65442"/>
                <a:gd name="connsiteY13" fmla="*/ 220668 h 220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442" h="220667">
                  <a:moveTo>
                    <a:pt x="65443" y="0"/>
                  </a:moveTo>
                  <a:cubicBezTo>
                    <a:pt x="62739" y="8654"/>
                    <a:pt x="64361" y="8654"/>
                    <a:pt x="61657" y="17307"/>
                  </a:cubicBezTo>
                  <a:cubicBezTo>
                    <a:pt x="58953" y="25961"/>
                    <a:pt x="59494" y="25961"/>
                    <a:pt x="56789" y="34615"/>
                  </a:cubicBezTo>
                  <a:cubicBezTo>
                    <a:pt x="54085" y="43268"/>
                    <a:pt x="52463" y="42727"/>
                    <a:pt x="49759" y="50840"/>
                  </a:cubicBezTo>
                  <a:cubicBezTo>
                    <a:pt x="47055" y="59494"/>
                    <a:pt x="47055" y="59494"/>
                    <a:pt x="44891" y="67606"/>
                  </a:cubicBezTo>
                  <a:cubicBezTo>
                    <a:pt x="42187" y="76260"/>
                    <a:pt x="41646" y="75719"/>
                    <a:pt x="39482" y="84373"/>
                  </a:cubicBezTo>
                  <a:cubicBezTo>
                    <a:pt x="36778" y="93027"/>
                    <a:pt x="38942" y="93568"/>
                    <a:pt x="36778" y="102221"/>
                  </a:cubicBezTo>
                  <a:cubicBezTo>
                    <a:pt x="34074" y="110875"/>
                    <a:pt x="33533" y="110334"/>
                    <a:pt x="30829" y="118987"/>
                  </a:cubicBezTo>
                  <a:cubicBezTo>
                    <a:pt x="28125" y="127641"/>
                    <a:pt x="28665" y="127641"/>
                    <a:pt x="26502" y="136295"/>
                  </a:cubicBezTo>
                  <a:cubicBezTo>
                    <a:pt x="23798" y="144949"/>
                    <a:pt x="23257" y="144407"/>
                    <a:pt x="20553" y="153061"/>
                  </a:cubicBezTo>
                  <a:cubicBezTo>
                    <a:pt x="17848" y="161715"/>
                    <a:pt x="17848" y="161715"/>
                    <a:pt x="15144" y="169828"/>
                  </a:cubicBezTo>
                  <a:cubicBezTo>
                    <a:pt x="12440" y="178481"/>
                    <a:pt x="12440" y="178481"/>
                    <a:pt x="9736" y="186594"/>
                  </a:cubicBezTo>
                  <a:cubicBezTo>
                    <a:pt x="7031" y="195248"/>
                    <a:pt x="7572" y="195248"/>
                    <a:pt x="5409" y="203901"/>
                  </a:cubicBezTo>
                  <a:cubicBezTo>
                    <a:pt x="2704" y="212555"/>
                    <a:pt x="2704" y="212555"/>
                    <a:pt x="0" y="220668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0" name="Freeform: Shape 1279">
              <a:extLst>
                <a:ext uri="{FF2B5EF4-FFF2-40B4-BE49-F238E27FC236}">
                  <a16:creationId xmlns:a16="http://schemas.microsoft.com/office/drawing/2014/main" id="{2B3C2E1B-382C-3079-6A21-EB73047945A3}"/>
                </a:ext>
              </a:extLst>
            </p:cNvPr>
            <p:cNvSpPr/>
            <p:nvPr/>
          </p:nvSpPr>
          <p:spPr>
            <a:xfrm>
              <a:off x="9818742" y="2752394"/>
              <a:ext cx="83832" cy="84372"/>
            </a:xfrm>
            <a:custGeom>
              <a:avLst/>
              <a:gdLst>
                <a:gd name="connsiteX0" fmla="*/ 83832 w 83832"/>
                <a:gd name="connsiteY0" fmla="*/ 0 h 84372"/>
                <a:gd name="connsiteX1" fmla="*/ 81128 w 83832"/>
                <a:gd name="connsiteY1" fmla="*/ 18389 h 84372"/>
                <a:gd name="connsiteX2" fmla="*/ 75179 w 83832"/>
                <a:gd name="connsiteY2" fmla="*/ 36237 h 84372"/>
                <a:gd name="connsiteX3" fmla="*/ 65443 w 83832"/>
                <a:gd name="connsiteY3" fmla="*/ 52463 h 84372"/>
                <a:gd name="connsiteX4" fmla="*/ 53004 w 83832"/>
                <a:gd name="connsiteY4" fmla="*/ 66525 h 84372"/>
                <a:gd name="connsiteX5" fmla="*/ 36778 w 83832"/>
                <a:gd name="connsiteY5" fmla="*/ 76260 h 84372"/>
                <a:gd name="connsiteX6" fmla="*/ 18389 w 83832"/>
                <a:gd name="connsiteY6" fmla="*/ 81128 h 84372"/>
                <a:gd name="connsiteX7" fmla="*/ 0 w 83832"/>
                <a:gd name="connsiteY7" fmla="*/ 84373 h 84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832" h="84372">
                  <a:moveTo>
                    <a:pt x="83832" y="0"/>
                  </a:moveTo>
                  <a:cubicBezTo>
                    <a:pt x="83832" y="6490"/>
                    <a:pt x="82210" y="12440"/>
                    <a:pt x="81128" y="18389"/>
                  </a:cubicBezTo>
                  <a:cubicBezTo>
                    <a:pt x="79506" y="24338"/>
                    <a:pt x="77883" y="30288"/>
                    <a:pt x="75179" y="36237"/>
                  </a:cubicBezTo>
                  <a:cubicBezTo>
                    <a:pt x="72474" y="41645"/>
                    <a:pt x="69770" y="47595"/>
                    <a:pt x="65443" y="52463"/>
                  </a:cubicBezTo>
                  <a:cubicBezTo>
                    <a:pt x="61657" y="57330"/>
                    <a:pt x="57872" y="62739"/>
                    <a:pt x="53004" y="66525"/>
                  </a:cubicBezTo>
                  <a:cubicBezTo>
                    <a:pt x="48136" y="70311"/>
                    <a:pt x="42187" y="73556"/>
                    <a:pt x="36778" y="76260"/>
                  </a:cubicBezTo>
                  <a:cubicBezTo>
                    <a:pt x="31370" y="78964"/>
                    <a:pt x="24879" y="80046"/>
                    <a:pt x="18389" y="81128"/>
                  </a:cubicBezTo>
                  <a:cubicBezTo>
                    <a:pt x="12440" y="82750"/>
                    <a:pt x="6491" y="84373"/>
                    <a:pt x="0" y="84373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1" name="Freeform: Shape 1280">
              <a:extLst>
                <a:ext uri="{FF2B5EF4-FFF2-40B4-BE49-F238E27FC236}">
                  <a16:creationId xmlns:a16="http://schemas.microsoft.com/office/drawing/2014/main" id="{734C65C6-7699-AF88-DBBE-055EBDFCA3D0}"/>
                </a:ext>
              </a:extLst>
            </p:cNvPr>
            <p:cNvSpPr/>
            <p:nvPr/>
          </p:nvSpPr>
          <p:spPr>
            <a:xfrm>
              <a:off x="9864714" y="2701013"/>
              <a:ext cx="103302" cy="51380"/>
            </a:xfrm>
            <a:custGeom>
              <a:avLst/>
              <a:gdLst>
                <a:gd name="connsiteX0" fmla="*/ 103303 w 103302"/>
                <a:gd name="connsiteY0" fmla="*/ 0 h 51380"/>
                <a:gd name="connsiteX1" fmla="*/ 99517 w 103302"/>
                <a:gd name="connsiteY1" fmla="*/ 15685 h 51380"/>
                <a:gd name="connsiteX2" fmla="*/ 91404 w 103302"/>
                <a:gd name="connsiteY2" fmla="*/ 29206 h 51380"/>
                <a:gd name="connsiteX3" fmla="*/ 81668 w 103302"/>
                <a:gd name="connsiteY3" fmla="*/ 42187 h 51380"/>
                <a:gd name="connsiteX4" fmla="*/ 67066 w 103302"/>
                <a:gd name="connsiteY4" fmla="*/ 49218 h 51380"/>
                <a:gd name="connsiteX5" fmla="*/ 50840 w 103302"/>
                <a:gd name="connsiteY5" fmla="*/ 51381 h 51380"/>
                <a:gd name="connsiteX6" fmla="*/ 34615 w 103302"/>
                <a:gd name="connsiteY6" fmla="*/ 48677 h 51380"/>
                <a:gd name="connsiteX7" fmla="*/ 19471 w 103302"/>
                <a:gd name="connsiteY7" fmla="*/ 42187 h 51380"/>
                <a:gd name="connsiteX8" fmla="*/ 9195 w 103302"/>
                <a:gd name="connsiteY8" fmla="*/ 29747 h 51380"/>
                <a:gd name="connsiteX9" fmla="*/ 1623 w 103302"/>
                <a:gd name="connsiteY9" fmla="*/ 15685 h 51380"/>
                <a:gd name="connsiteX10" fmla="*/ 0 w 103302"/>
                <a:gd name="connsiteY10" fmla="*/ 0 h 51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3302" h="51380">
                  <a:moveTo>
                    <a:pt x="103303" y="0"/>
                  </a:moveTo>
                  <a:cubicBezTo>
                    <a:pt x="103303" y="5409"/>
                    <a:pt x="101140" y="10817"/>
                    <a:pt x="99517" y="15685"/>
                  </a:cubicBezTo>
                  <a:cubicBezTo>
                    <a:pt x="97894" y="21093"/>
                    <a:pt x="94649" y="24879"/>
                    <a:pt x="91404" y="29206"/>
                  </a:cubicBezTo>
                  <a:cubicBezTo>
                    <a:pt x="88159" y="33533"/>
                    <a:pt x="85996" y="38941"/>
                    <a:pt x="81668" y="42187"/>
                  </a:cubicBezTo>
                  <a:cubicBezTo>
                    <a:pt x="77342" y="45432"/>
                    <a:pt x="71934" y="47595"/>
                    <a:pt x="67066" y="49218"/>
                  </a:cubicBezTo>
                  <a:cubicBezTo>
                    <a:pt x="62198" y="50840"/>
                    <a:pt x="56789" y="51381"/>
                    <a:pt x="50840" y="51381"/>
                  </a:cubicBezTo>
                  <a:cubicBezTo>
                    <a:pt x="45432" y="51381"/>
                    <a:pt x="40023" y="50299"/>
                    <a:pt x="34615" y="48677"/>
                  </a:cubicBezTo>
                  <a:cubicBezTo>
                    <a:pt x="29206" y="47054"/>
                    <a:pt x="23798" y="45432"/>
                    <a:pt x="19471" y="42187"/>
                  </a:cubicBezTo>
                  <a:cubicBezTo>
                    <a:pt x="15144" y="38941"/>
                    <a:pt x="12440" y="34074"/>
                    <a:pt x="9195" y="29747"/>
                  </a:cubicBezTo>
                  <a:cubicBezTo>
                    <a:pt x="5949" y="25420"/>
                    <a:pt x="3245" y="21093"/>
                    <a:pt x="1623" y="15685"/>
                  </a:cubicBezTo>
                  <a:cubicBezTo>
                    <a:pt x="0" y="10817"/>
                    <a:pt x="0" y="5409"/>
                    <a:pt x="0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2" name="Freeform: Shape 1281">
              <a:extLst>
                <a:ext uri="{FF2B5EF4-FFF2-40B4-BE49-F238E27FC236}">
                  <a16:creationId xmlns:a16="http://schemas.microsoft.com/office/drawing/2014/main" id="{76ABD865-58CA-D01F-6E45-580056018E41}"/>
                </a:ext>
              </a:extLst>
            </p:cNvPr>
            <p:cNvSpPr/>
            <p:nvPr/>
          </p:nvSpPr>
          <p:spPr>
            <a:xfrm>
              <a:off x="9966395" y="2762670"/>
              <a:ext cx="62738" cy="30828"/>
            </a:xfrm>
            <a:custGeom>
              <a:avLst/>
              <a:gdLst>
                <a:gd name="connsiteX0" fmla="*/ 62739 w 62738"/>
                <a:gd name="connsiteY0" fmla="*/ 0 h 30828"/>
                <a:gd name="connsiteX1" fmla="*/ 59494 w 62738"/>
                <a:gd name="connsiteY1" fmla="*/ 15685 h 30828"/>
                <a:gd name="connsiteX2" fmla="*/ 48136 w 62738"/>
                <a:gd name="connsiteY2" fmla="*/ 27584 h 30828"/>
                <a:gd name="connsiteX3" fmla="*/ 31910 w 62738"/>
                <a:gd name="connsiteY3" fmla="*/ 30829 h 30828"/>
                <a:gd name="connsiteX4" fmla="*/ 16226 w 62738"/>
                <a:gd name="connsiteY4" fmla="*/ 27043 h 30828"/>
                <a:gd name="connsiteX5" fmla="*/ 3245 w 62738"/>
                <a:gd name="connsiteY5" fmla="*/ 16226 h 30828"/>
                <a:gd name="connsiteX6" fmla="*/ 0 w 62738"/>
                <a:gd name="connsiteY6" fmla="*/ 0 h 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738" h="30828">
                  <a:moveTo>
                    <a:pt x="62739" y="0"/>
                  </a:moveTo>
                  <a:cubicBezTo>
                    <a:pt x="62739" y="5949"/>
                    <a:pt x="62198" y="10817"/>
                    <a:pt x="59494" y="15685"/>
                  </a:cubicBezTo>
                  <a:cubicBezTo>
                    <a:pt x="56789" y="20552"/>
                    <a:pt x="53003" y="24879"/>
                    <a:pt x="48136" y="27584"/>
                  </a:cubicBezTo>
                  <a:cubicBezTo>
                    <a:pt x="43268" y="30288"/>
                    <a:pt x="37860" y="30829"/>
                    <a:pt x="31910" y="30829"/>
                  </a:cubicBezTo>
                  <a:cubicBezTo>
                    <a:pt x="25960" y="30829"/>
                    <a:pt x="21093" y="29747"/>
                    <a:pt x="16226" y="27043"/>
                  </a:cubicBezTo>
                  <a:cubicBezTo>
                    <a:pt x="11358" y="24338"/>
                    <a:pt x="5949" y="21093"/>
                    <a:pt x="3245" y="16226"/>
                  </a:cubicBezTo>
                  <a:cubicBezTo>
                    <a:pt x="541" y="11358"/>
                    <a:pt x="0" y="5409"/>
                    <a:pt x="0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</p:grpSp>
      <p:grpSp>
        <p:nvGrpSpPr>
          <p:cNvPr id="1315" name="Group 1314">
            <a:extLst>
              <a:ext uri="{FF2B5EF4-FFF2-40B4-BE49-F238E27FC236}">
                <a16:creationId xmlns:a16="http://schemas.microsoft.com/office/drawing/2014/main" id="{D6D7DB69-6D4B-A51B-427D-B79AB91855DF}"/>
              </a:ext>
            </a:extLst>
          </p:cNvPr>
          <p:cNvGrpSpPr/>
          <p:nvPr/>
        </p:nvGrpSpPr>
        <p:grpSpPr>
          <a:xfrm>
            <a:off x="10444016" y="3937153"/>
            <a:ext cx="278514" cy="580911"/>
            <a:chOff x="6489723" y="5343074"/>
            <a:chExt cx="122249" cy="381840"/>
          </a:xfrm>
        </p:grpSpPr>
        <p:sp>
          <p:nvSpPr>
            <p:cNvPr id="1304" name="Freeform: Shape 1303">
              <a:extLst>
                <a:ext uri="{FF2B5EF4-FFF2-40B4-BE49-F238E27FC236}">
                  <a16:creationId xmlns:a16="http://schemas.microsoft.com/office/drawing/2014/main" id="{6AF7C796-C370-D33F-F5A3-E671DF09854A}"/>
                </a:ext>
              </a:extLst>
            </p:cNvPr>
            <p:cNvSpPr/>
            <p:nvPr/>
          </p:nvSpPr>
          <p:spPr>
            <a:xfrm>
              <a:off x="6537335" y="5381474"/>
              <a:ext cx="43268" cy="43268"/>
            </a:xfrm>
            <a:custGeom>
              <a:avLst/>
              <a:gdLst>
                <a:gd name="connsiteX0" fmla="*/ 43268 w 43268"/>
                <a:gd name="connsiteY0" fmla="*/ 21634 h 43268"/>
                <a:gd name="connsiteX1" fmla="*/ 21634 w 43268"/>
                <a:gd name="connsiteY1" fmla="*/ 43268 h 43268"/>
                <a:gd name="connsiteX2" fmla="*/ 0 w 43268"/>
                <a:gd name="connsiteY2" fmla="*/ 21634 h 43268"/>
                <a:gd name="connsiteX3" fmla="*/ 21634 w 43268"/>
                <a:gd name="connsiteY3" fmla="*/ 0 h 43268"/>
                <a:gd name="connsiteX4" fmla="*/ 43268 w 43268"/>
                <a:gd name="connsiteY4" fmla="*/ 21634 h 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68" h="43268">
                  <a:moveTo>
                    <a:pt x="43268" y="21634"/>
                  </a:moveTo>
                  <a:cubicBezTo>
                    <a:pt x="43268" y="33582"/>
                    <a:pt x="33582" y="43268"/>
                    <a:pt x="21634" y="43268"/>
                  </a:cubicBezTo>
                  <a:cubicBezTo>
                    <a:pt x="9686" y="43268"/>
                    <a:pt x="0" y="33582"/>
                    <a:pt x="0" y="21634"/>
                  </a:cubicBezTo>
                  <a:cubicBezTo>
                    <a:pt x="0" y="9686"/>
                    <a:pt x="9686" y="0"/>
                    <a:pt x="21634" y="0"/>
                  </a:cubicBezTo>
                  <a:cubicBezTo>
                    <a:pt x="33582" y="0"/>
                    <a:pt x="43268" y="9686"/>
                    <a:pt x="43268" y="21634"/>
                  </a:cubicBezTo>
                  <a:close/>
                </a:path>
              </a:pathLst>
            </a:custGeom>
            <a:solidFill>
              <a:srgbClr val="E1EBE5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05" name="Freeform: Shape 1304">
              <a:extLst>
                <a:ext uri="{FF2B5EF4-FFF2-40B4-BE49-F238E27FC236}">
                  <a16:creationId xmlns:a16="http://schemas.microsoft.com/office/drawing/2014/main" id="{1E629A7C-3810-8E88-8C77-7C904CB95F29}"/>
                </a:ext>
              </a:extLst>
            </p:cNvPr>
            <p:cNvSpPr/>
            <p:nvPr/>
          </p:nvSpPr>
          <p:spPr>
            <a:xfrm>
              <a:off x="6497853" y="5343074"/>
              <a:ext cx="113037" cy="122232"/>
            </a:xfrm>
            <a:custGeom>
              <a:avLst/>
              <a:gdLst>
                <a:gd name="connsiteX0" fmla="*/ 98435 w 113037"/>
                <a:gd name="connsiteY0" fmla="*/ 61116 h 122232"/>
                <a:gd name="connsiteX1" fmla="*/ 113037 w 113037"/>
                <a:gd name="connsiteY1" fmla="*/ 41105 h 122232"/>
                <a:gd name="connsiteX2" fmla="*/ 91945 w 113037"/>
                <a:gd name="connsiteY2" fmla="*/ 20552 h 122232"/>
                <a:gd name="connsiteX3" fmla="*/ 77341 w 113037"/>
                <a:gd name="connsiteY3" fmla="*/ 26502 h 122232"/>
                <a:gd name="connsiteX4" fmla="*/ 77882 w 113037"/>
                <a:gd name="connsiteY4" fmla="*/ 21093 h 122232"/>
                <a:gd name="connsiteX5" fmla="*/ 56789 w 113037"/>
                <a:gd name="connsiteY5" fmla="*/ 0 h 122232"/>
                <a:gd name="connsiteX6" fmla="*/ 35696 w 113037"/>
                <a:gd name="connsiteY6" fmla="*/ 21093 h 122232"/>
                <a:gd name="connsiteX7" fmla="*/ 36237 w 113037"/>
                <a:gd name="connsiteY7" fmla="*/ 25961 h 122232"/>
                <a:gd name="connsiteX8" fmla="*/ 21634 w 113037"/>
                <a:gd name="connsiteY8" fmla="*/ 20011 h 122232"/>
                <a:gd name="connsiteX9" fmla="*/ 541 w 113037"/>
                <a:gd name="connsiteY9" fmla="*/ 41105 h 122232"/>
                <a:gd name="connsiteX10" fmla="*/ 15684 w 113037"/>
                <a:gd name="connsiteY10" fmla="*/ 61116 h 122232"/>
                <a:gd name="connsiteX11" fmla="*/ 0 w 113037"/>
                <a:gd name="connsiteY11" fmla="*/ 81128 h 122232"/>
                <a:gd name="connsiteX12" fmla="*/ 21093 w 113037"/>
                <a:gd name="connsiteY12" fmla="*/ 102221 h 122232"/>
                <a:gd name="connsiteX13" fmla="*/ 35696 w 113037"/>
                <a:gd name="connsiteY13" fmla="*/ 96272 h 122232"/>
                <a:gd name="connsiteX14" fmla="*/ 35155 w 113037"/>
                <a:gd name="connsiteY14" fmla="*/ 101139 h 122232"/>
                <a:gd name="connsiteX15" fmla="*/ 56248 w 113037"/>
                <a:gd name="connsiteY15" fmla="*/ 122232 h 122232"/>
                <a:gd name="connsiteX16" fmla="*/ 77341 w 113037"/>
                <a:gd name="connsiteY16" fmla="*/ 101139 h 122232"/>
                <a:gd name="connsiteX17" fmla="*/ 76801 w 113037"/>
                <a:gd name="connsiteY17" fmla="*/ 95730 h 122232"/>
                <a:gd name="connsiteX18" fmla="*/ 91403 w 113037"/>
                <a:gd name="connsiteY18" fmla="*/ 101680 h 122232"/>
                <a:gd name="connsiteX19" fmla="*/ 112497 w 113037"/>
                <a:gd name="connsiteY19" fmla="*/ 80587 h 122232"/>
                <a:gd name="connsiteX20" fmla="*/ 98435 w 113037"/>
                <a:gd name="connsiteY20" fmla="*/ 61116 h 122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3037" h="122232">
                  <a:moveTo>
                    <a:pt x="98435" y="61116"/>
                  </a:moveTo>
                  <a:cubicBezTo>
                    <a:pt x="107088" y="58412"/>
                    <a:pt x="113037" y="50840"/>
                    <a:pt x="113037" y="41105"/>
                  </a:cubicBezTo>
                  <a:cubicBezTo>
                    <a:pt x="113037" y="29747"/>
                    <a:pt x="103843" y="20552"/>
                    <a:pt x="91945" y="20552"/>
                  </a:cubicBezTo>
                  <a:cubicBezTo>
                    <a:pt x="86536" y="20552"/>
                    <a:pt x="81128" y="22716"/>
                    <a:pt x="77341" y="26502"/>
                  </a:cubicBezTo>
                  <a:cubicBezTo>
                    <a:pt x="77882" y="24879"/>
                    <a:pt x="77882" y="23257"/>
                    <a:pt x="77882" y="21093"/>
                  </a:cubicBezTo>
                  <a:cubicBezTo>
                    <a:pt x="77882" y="9735"/>
                    <a:pt x="68688" y="0"/>
                    <a:pt x="56789" y="0"/>
                  </a:cubicBezTo>
                  <a:cubicBezTo>
                    <a:pt x="45431" y="0"/>
                    <a:pt x="35696" y="9194"/>
                    <a:pt x="35696" y="21093"/>
                  </a:cubicBezTo>
                  <a:cubicBezTo>
                    <a:pt x="35696" y="22716"/>
                    <a:pt x="35696" y="24338"/>
                    <a:pt x="36237" y="25961"/>
                  </a:cubicBezTo>
                  <a:cubicBezTo>
                    <a:pt x="32451" y="22175"/>
                    <a:pt x="27583" y="20011"/>
                    <a:pt x="21634" y="20011"/>
                  </a:cubicBezTo>
                  <a:cubicBezTo>
                    <a:pt x="10276" y="20011"/>
                    <a:pt x="541" y="29206"/>
                    <a:pt x="541" y="41105"/>
                  </a:cubicBezTo>
                  <a:cubicBezTo>
                    <a:pt x="541" y="50840"/>
                    <a:pt x="7031" y="58953"/>
                    <a:pt x="15684" y="61116"/>
                  </a:cubicBezTo>
                  <a:cubicBezTo>
                    <a:pt x="7031" y="63279"/>
                    <a:pt x="0" y="71392"/>
                    <a:pt x="0" y="81128"/>
                  </a:cubicBezTo>
                  <a:cubicBezTo>
                    <a:pt x="0" y="92486"/>
                    <a:pt x="9194" y="102221"/>
                    <a:pt x="21093" y="102221"/>
                  </a:cubicBezTo>
                  <a:cubicBezTo>
                    <a:pt x="26501" y="102221"/>
                    <a:pt x="31910" y="100058"/>
                    <a:pt x="35696" y="96272"/>
                  </a:cubicBezTo>
                  <a:cubicBezTo>
                    <a:pt x="35155" y="97894"/>
                    <a:pt x="35155" y="99517"/>
                    <a:pt x="35155" y="101139"/>
                  </a:cubicBezTo>
                  <a:cubicBezTo>
                    <a:pt x="35155" y="112497"/>
                    <a:pt x="44350" y="122232"/>
                    <a:pt x="56248" y="122232"/>
                  </a:cubicBezTo>
                  <a:cubicBezTo>
                    <a:pt x="67606" y="122232"/>
                    <a:pt x="77341" y="113038"/>
                    <a:pt x="77341" y="101139"/>
                  </a:cubicBezTo>
                  <a:cubicBezTo>
                    <a:pt x="77341" y="99517"/>
                    <a:pt x="77341" y="97353"/>
                    <a:pt x="76801" y="95730"/>
                  </a:cubicBezTo>
                  <a:cubicBezTo>
                    <a:pt x="80586" y="99517"/>
                    <a:pt x="85454" y="101680"/>
                    <a:pt x="91403" y="101680"/>
                  </a:cubicBezTo>
                  <a:cubicBezTo>
                    <a:pt x="102762" y="101680"/>
                    <a:pt x="112497" y="92486"/>
                    <a:pt x="112497" y="80587"/>
                  </a:cubicBezTo>
                  <a:cubicBezTo>
                    <a:pt x="113037" y="71933"/>
                    <a:pt x="107088" y="63820"/>
                    <a:pt x="98435" y="61116"/>
                  </a:cubicBezTo>
                  <a:close/>
                </a:path>
              </a:pathLst>
            </a:custGeom>
            <a:solidFill>
              <a:srgbClr val="FACCD0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5C83BCFC-1455-7F86-3B57-0639D50DD83D}"/>
                </a:ext>
              </a:extLst>
            </p:cNvPr>
            <p:cNvSpPr/>
            <p:nvPr/>
          </p:nvSpPr>
          <p:spPr>
            <a:xfrm>
              <a:off x="6537335" y="5381474"/>
              <a:ext cx="43268" cy="43268"/>
            </a:xfrm>
            <a:custGeom>
              <a:avLst/>
              <a:gdLst>
                <a:gd name="connsiteX0" fmla="*/ 43268 w 43268"/>
                <a:gd name="connsiteY0" fmla="*/ 21634 h 43268"/>
                <a:gd name="connsiteX1" fmla="*/ 21634 w 43268"/>
                <a:gd name="connsiteY1" fmla="*/ 43268 h 43268"/>
                <a:gd name="connsiteX2" fmla="*/ 0 w 43268"/>
                <a:gd name="connsiteY2" fmla="*/ 21634 h 43268"/>
                <a:gd name="connsiteX3" fmla="*/ 21634 w 43268"/>
                <a:gd name="connsiteY3" fmla="*/ 0 h 43268"/>
                <a:gd name="connsiteX4" fmla="*/ 43268 w 43268"/>
                <a:gd name="connsiteY4" fmla="*/ 21634 h 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268" h="43268">
                  <a:moveTo>
                    <a:pt x="43268" y="21634"/>
                  </a:moveTo>
                  <a:cubicBezTo>
                    <a:pt x="43268" y="33582"/>
                    <a:pt x="33582" y="43268"/>
                    <a:pt x="21634" y="43268"/>
                  </a:cubicBezTo>
                  <a:cubicBezTo>
                    <a:pt x="9686" y="43268"/>
                    <a:pt x="0" y="33582"/>
                    <a:pt x="0" y="21634"/>
                  </a:cubicBezTo>
                  <a:cubicBezTo>
                    <a:pt x="0" y="9686"/>
                    <a:pt x="9686" y="0"/>
                    <a:pt x="21634" y="0"/>
                  </a:cubicBezTo>
                  <a:cubicBezTo>
                    <a:pt x="33582" y="0"/>
                    <a:pt x="43268" y="9686"/>
                    <a:pt x="43268" y="21634"/>
                  </a:cubicBezTo>
                  <a:close/>
                </a:path>
              </a:pathLst>
            </a:custGeom>
            <a:solidFill>
              <a:srgbClr val="FEF5F6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07" name="Freeform: Shape 1306">
              <a:extLst>
                <a:ext uri="{FF2B5EF4-FFF2-40B4-BE49-F238E27FC236}">
                  <a16:creationId xmlns:a16="http://schemas.microsoft.com/office/drawing/2014/main" id="{6E779459-765B-B685-89D3-7A859FE01570}"/>
                </a:ext>
              </a:extLst>
            </p:cNvPr>
            <p:cNvSpPr/>
            <p:nvPr/>
          </p:nvSpPr>
          <p:spPr>
            <a:xfrm>
              <a:off x="6547423" y="5550648"/>
              <a:ext cx="53918" cy="53844"/>
            </a:xfrm>
            <a:custGeom>
              <a:avLst/>
              <a:gdLst>
                <a:gd name="connsiteX0" fmla="*/ 187 w 53918"/>
                <a:gd name="connsiteY0" fmla="*/ 53657 h 53844"/>
                <a:gd name="connsiteX1" fmla="*/ 12627 w 53918"/>
                <a:gd name="connsiteY1" fmla="*/ 12552 h 53844"/>
                <a:gd name="connsiteX2" fmla="*/ 53732 w 53918"/>
                <a:gd name="connsiteY2" fmla="*/ 113 h 53844"/>
                <a:gd name="connsiteX3" fmla="*/ 41292 w 53918"/>
                <a:gd name="connsiteY3" fmla="*/ 41218 h 53844"/>
                <a:gd name="connsiteX4" fmla="*/ 187 w 53918"/>
                <a:gd name="connsiteY4" fmla="*/ 53657 h 5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8" h="53844">
                  <a:moveTo>
                    <a:pt x="187" y="53657"/>
                  </a:moveTo>
                  <a:cubicBezTo>
                    <a:pt x="187" y="53657"/>
                    <a:pt x="-2517" y="27156"/>
                    <a:pt x="12627" y="12552"/>
                  </a:cubicBezTo>
                  <a:cubicBezTo>
                    <a:pt x="27771" y="-2050"/>
                    <a:pt x="53732" y="113"/>
                    <a:pt x="53732" y="113"/>
                  </a:cubicBezTo>
                  <a:cubicBezTo>
                    <a:pt x="53732" y="113"/>
                    <a:pt x="56436" y="26614"/>
                    <a:pt x="41292" y="41218"/>
                  </a:cubicBezTo>
                  <a:cubicBezTo>
                    <a:pt x="26689" y="56361"/>
                    <a:pt x="187" y="53657"/>
                    <a:pt x="187" y="53657"/>
                  </a:cubicBezTo>
                  <a:close/>
                </a:path>
              </a:pathLst>
            </a:custGeom>
            <a:solidFill>
              <a:srgbClr val="4BA38A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08" name="Freeform: Shape 1307">
              <a:extLst>
                <a:ext uri="{FF2B5EF4-FFF2-40B4-BE49-F238E27FC236}">
                  <a16:creationId xmlns:a16="http://schemas.microsoft.com/office/drawing/2014/main" id="{18A70D4E-1963-BB6D-AF74-DAF65318278A}"/>
                </a:ext>
              </a:extLst>
            </p:cNvPr>
            <p:cNvSpPr/>
            <p:nvPr/>
          </p:nvSpPr>
          <p:spPr>
            <a:xfrm>
              <a:off x="6492257" y="5622507"/>
              <a:ext cx="53918" cy="53844"/>
            </a:xfrm>
            <a:custGeom>
              <a:avLst/>
              <a:gdLst>
                <a:gd name="connsiteX0" fmla="*/ 187 w 53918"/>
                <a:gd name="connsiteY0" fmla="*/ 187 h 53844"/>
                <a:gd name="connsiteX1" fmla="*/ 12626 w 53918"/>
                <a:gd name="connsiteY1" fmla="*/ 41292 h 53844"/>
                <a:gd name="connsiteX2" fmla="*/ 53731 w 53918"/>
                <a:gd name="connsiteY2" fmla="*/ 53732 h 53844"/>
                <a:gd name="connsiteX3" fmla="*/ 41292 w 53918"/>
                <a:gd name="connsiteY3" fmla="*/ 12627 h 53844"/>
                <a:gd name="connsiteX4" fmla="*/ 187 w 53918"/>
                <a:gd name="connsiteY4" fmla="*/ 187 h 53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918" h="53844">
                  <a:moveTo>
                    <a:pt x="187" y="187"/>
                  </a:moveTo>
                  <a:cubicBezTo>
                    <a:pt x="187" y="187"/>
                    <a:pt x="-2517" y="26689"/>
                    <a:pt x="12626" y="41292"/>
                  </a:cubicBezTo>
                  <a:cubicBezTo>
                    <a:pt x="27230" y="55895"/>
                    <a:pt x="53731" y="53732"/>
                    <a:pt x="53731" y="53732"/>
                  </a:cubicBezTo>
                  <a:cubicBezTo>
                    <a:pt x="53731" y="53732"/>
                    <a:pt x="56435" y="27230"/>
                    <a:pt x="41292" y="12627"/>
                  </a:cubicBezTo>
                  <a:cubicBezTo>
                    <a:pt x="26688" y="-2517"/>
                    <a:pt x="187" y="187"/>
                    <a:pt x="187" y="187"/>
                  </a:cubicBezTo>
                  <a:close/>
                </a:path>
              </a:pathLst>
            </a:custGeom>
            <a:solidFill>
              <a:srgbClr val="4BA38A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09" name="Freeform: Shape 1308">
              <a:extLst>
                <a:ext uri="{FF2B5EF4-FFF2-40B4-BE49-F238E27FC236}">
                  <a16:creationId xmlns:a16="http://schemas.microsoft.com/office/drawing/2014/main" id="{F7D1F80E-3B36-43E9-3604-D63888F98E2C}"/>
                </a:ext>
              </a:extLst>
            </p:cNvPr>
            <p:cNvSpPr/>
            <p:nvPr/>
          </p:nvSpPr>
          <p:spPr>
            <a:xfrm>
              <a:off x="6545988" y="5465306"/>
              <a:ext cx="3245" cy="259608"/>
            </a:xfrm>
            <a:custGeom>
              <a:avLst/>
              <a:gdLst>
                <a:gd name="connsiteX0" fmla="*/ 541 w 3245"/>
                <a:gd name="connsiteY0" fmla="*/ 0 h 259608"/>
                <a:gd name="connsiteX1" fmla="*/ 1623 w 3245"/>
                <a:gd name="connsiteY1" fmla="*/ 17307 h 259608"/>
                <a:gd name="connsiteX2" fmla="*/ 541 w 3245"/>
                <a:gd name="connsiteY2" fmla="*/ 34615 h 259608"/>
                <a:gd name="connsiteX3" fmla="*/ 541 w 3245"/>
                <a:gd name="connsiteY3" fmla="*/ 51922 h 259608"/>
                <a:gd name="connsiteX4" fmla="*/ 2164 w 3245"/>
                <a:gd name="connsiteY4" fmla="*/ 69229 h 259608"/>
                <a:gd name="connsiteX5" fmla="*/ 2164 w 3245"/>
                <a:gd name="connsiteY5" fmla="*/ 86536 h 259608"/>
                <a:gd name="connsiteX6" fmla="*/ 0 w 3245"/>
                <a:gd name="connsiteY6" fmla="*/ 103843 h 259608"/>
                <a:gd name="connsiteX7" fmla="*/ 1623 w 3245"/>
                <a:gd name="connsiteY7" fmla="*/ 121151 h 259608"/>
                <a:gd name="connsiteX8" fmla="*/ 541 w 3245"/>
                <a:gd name="connsiteY8" fmla="*/ 138458 h 259608"/>
                <a:gd name="connsiteX9" fmla="*/ 1623 w 3245"/>
                <a:gd name="connsiteY9" fmla="*/ 155766 h 259608"/>
                <a:gd name="connsiteX10" fmla="*/ 1623 w 3245"/>
                <a:gd name="connsiteY10" fmla="*/ 173073 h 259608"/>
                <a:gd name="connsiteX11" fmla="*/ 1082 w 3245"/>
                <a:gd name="connsiteY11" fmla="*/ 190380 h 259608"/>
                <a:gd name="connsiteX12" fmla="*/ 1623 w 3245"/>
                <a:gd name="connsiteY12" fmla="*/ 207687 h 259608"/>
                <a:gd name="connsiteX13" fmla="*/ 3246 w 3245"/>
                <a:gd name="connsiteY13" fmla="*/ 224994 h 259608"/>
                <a:gd name="connsiteX14" fmla="*/ 2704 w 3245"/>
                <a:gd name="connsiteY14" fmla="*/ 242302 h 259608"/>
                <a:gd name="connsiteX15" fmla="*/ 2164 w 3245"/>
                <a:gd name="connsiteY15" fmla="*/ 259609 h 2596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245" h="259608">
                  <a:moveTo>
                    <a:pt x="541" y="0"/>
                  </a:moveTo>
                  <a:cubicBezTo>
                    <a:pt x="541" y="8653"/>
                    <a:pt x="1623" y="8653"/>
                    <a:pt x="1623" y="17307"/>
                  </a:cubicBezTo>
                  <a:cubicBezTo>
                    <a:pt x="1623" y="25961"/>
                    <a:pt x="541" y="25961"/>
                    <a:pt x="541" y="34615"/>
                  </a:cubicBezTo>
                  <a:cubicBezTo>
                    <a:pt x="541" y="43268"/>
                    <a:pt x="541" y="43268"/>
                    <a:pt x="541" y="51922"/>
                  </a:cubicBezTo>
                  <a:cubicBezTo>
                    <a:pt x="541" y="60575"/>
                    <a:pt x="2164" y="60575"/>
                    <a:pt x="2164" y="69229"/>
                  </a:cubicBezTo>
                  <a:cubicBezTo>
                    <a:pt x="2164" y="77883"/>
                    <a:pt x="2164" y="77883"/>
                    <a:pt x="2164" y="86536"/>
                  </a:cubicBezTo>
                  <a:cubicBezTo>
                    <a:pt x="2164" y="95190"/>
                    <a:pt x="0" y="95190"/>
                    <a:pt x="0" y="103843"/>
                  </a:cubicBezTo>
                  <a:cubicBezTo>
                    <a:pt x="0" y="112497"/>
                    <a:pt x="1623" y="112497"/>
                    <a:pt x="1623" y="121151"/>
                  </a:cubicBezTo>
                  <a:cubicBezTo>
                    <a:pt x="1623" y="129804"/>
                    <a:pt x="541" y="129804"/>
                    <a:pt x="541" y="138458"/>
                  </a:cubicBezTo>
                  <a:cubicBezTo>
                    <a:pt x="541" y="147111"/>
                    <a:pt x="1623" y="147111"/>
                    <a:pt x="1623" y="155766"/>
                  </a:cubicBezTo>
                  <a:cubicBezTo>
                    <a:pt x="1623" y="164419"/>
                    <a:pt x="1623" y="164419"/>
                    <a:pt x="1623" y="173073"/>
                  </a:cubicBezTo>
                  <a:cubicBezTo>
                    <a:pt x="1623" y="181726"/>
                    <a:pt x="1082" y="181726"/>
                    <a:pt x="1082" y="190380"/>
                  </a:cubicBezTo>
                  <a:cubicBezTo>
                    <a:pt x="1082" y="199034"/>
                    <a:pt x="1623" y="199034"/>
                    <a:pt x="1623" y="207687"/>
                  </a:cubicBezTo>
                  <a:cubicBezTo>
                    <a:pt x="1623" y="216341"/>
                    <a:pt x="3246" y="216341"/>
                    <a:pt x="3246" y="224994"/>
                  </a:cubicBezTo>
                  <a:cubicBezTo>
                    <a:pt x="3246" y="233648"/>
                    <a:pt x="2704" y="233648"/>
                    <a:pt x="2704" y="242302"/>
                  </a:cubicBezTo>
                  <a:cubicBezTo>
                    <a:pt x="2704" y="250955"/>
                    <a:pt x="2164" y="250955"/>
                    <a:pt x="2164" y="259609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11" name="Freeform: Shape 1310">
              <a:extLst>
                <a:ext uri="{FF2B5EF4-FFF2-40B4-BE49-F238E27FC236}">
                  <a16:creationId xmlns:a16="http://schemas.microsoft.com/office/drawing/2014/main" id="{AFF5B5DD-3C85-876F-1B4D-9462BA7145A6}"/>
                </a:ext>
              </a:extLst>
            </p:cNvPr>
            <p:cNvSpPr/>
            <p:nvPr/>
          </p:nvSpPr>
          <p:spPr>
            <a:xfrm>
              <a:off x="6497853" y="5344696"/>
              <a:ext cx="114119" cy="122232"/>
            </a:xfrm>
            <a:custGeom>
              <a:avLst/>
              <a:gdLst>
                <a:gd name="connsiteX0" fmla="*/ 98435 w 114119"/>
                <a:gd name="connsiteY0" fmla="*/ 59494 h 122232"/>
                <a:gd name="connsiteX1" fmla="*/ 108170 w 114119"/>
                <a:gd name="connsiteY1" fmla="*/ 51922 h 122232"/>
                <a:gd name="connsiteX2" fmla="*/ 114120 w 114119"/>
                <a:gd name="connsiteY2" fmla="*/ 40023 h 122232"/>
                <a:gd name="connsiteX3" fmla="*/ 106548 w 114119"/>
                <a:gd name="connsiteY3" fmla="*/ 25961 h 122232"/>
                <a:gd name="connsiteX4" fmla="*/ 92486 w 114119"/>
                <a:gd name="connsiteY4" fmla="*/ 18930 h 122232"/>
                <a:gd name="connsiteX5" fmla="*/ 77341 w 114119"/>
                <a:gd name="connsiteY5" fmla="*/ 24338 h 122232"/>
                <a:gd name="connsiteX6" fmla="*/ 77882 w 114119"/>
                <a:gd name="connsiteY6" fmla="*/ 20012 h 122232"/>
                <a:gd name="connsiteX7" fmla="*/ 72474 w 114119"/>
                <a:gd name="connsiteY7" fmla="*/ 4867 h 122232"/>
                <a:gd name="connsiteX8" fmla="*/ 57330 w 114119"/>
                <a:gd name="connsiteY8" fmla="*/ 0 h 122232"/>
                <a:gd name="connsiteX9" fmla="*/ 42186 w 114119"/>
                <a:gd name="connsiteY9" fmla="*/ 5409 h 122232"/>
                <a:gd name="connsiteX10" fmla="*/ 36237 w 114119"/>
                <a:gd name="connsiteY10" fmla="*/ 20552 h 122232"/>
                <a:gd name="connsiteX11" fmla="*/ 37318 w 114119"/>
                <a:gd name="connsiteY11" fmla="*/ 24879 h 122232"/>
                <a:gd name="connsiteX12" fmla="*/ 22175 w 114119"/>
                <a:gd name="connsiteY12" fmla="*/ 20552 h 122232"/>
                <a:gd name="connsiteX13" fmla="*/ 7571 w 114119"/>
                <a:gd name="connsiteY13" fmla="*/ 25961 h 122232"/>
                <a:gd name="connsiteX14" fmla="*/ 0 w 114119"/>
                <a:gd name="connsiteY14" fmla="*/ 40564 h 122232"/>
                <a:gd name="connsiteX15" fmla="*/ 5949 w 114119"/>
                <a:gd name="connsiteY15" fmla="*/ 53003 h 122232"/>
                <a:gd name="connsiteX16" fmla="*/ 15143 w 114119"/>
                <a:gd name="connsiteY16" fmla="*/ 61116 h 122232"/>
                <a:gd name="connsiteX17" fmla="*/ 4326 w 114119"/>
                <a:gd name="connsiteY17" fmla="*/ 68147 h 122232"/>
                <a:gd name="connsiteX18" fmla="*/ 1081 w 114119"/>
                <a:gd name="connsiteY18" fmla="*/ 81668 h 122232"/>
                <a:gd name="connsiteX19" fmla="*/ 7031 w 114119"/>
                <a:gd name="connsiteY19" fmla="*/ 96272 h 122232"/>
                <a:gd name="connsiteX20" fmla="*/ 21634 w 114119"/>
                <a:gd name="connsiteY20" fmla="*/ 102762 h 122232"/>
                <a:gd name="connsiteX21" fmla="*/ 35696 w 114119"/>
                <a:gd name="connsiteY21" fmla="*/ 96272 h 122232"/>
                <a:gd name="connsiteX22" fmla="*/ 34614 w 114119"/>
                <a:gd name="connsiteY22" fmla="*/ 101680 h 122232"/>
                <a:gd name="connsiteX23" fmla="*/ 40564 w 114119"/>
                <a:gd name="connsiteY23" fmla="*/ 117365 h 122232"/>
                <a:gd name="connsiteX24" fmla="*/ 56248 w 114119"/>
                <a:gd name="connsiteY24" fmla="*/ 122232 h 122232"/>
                <a:gd name="connsiteX25" fmla="*/ 70311 w 114119"/>
                <a:gd name="connsiteY25" fmla="*/ 115742 h 122232"/>
                <a:gd name="connsiteX26" fmla="*/ 77341 w 114119"/>
                <a:gd name="connsiteY26" fmla="*/ 101680 h 122232"/>
                <a:gd name="connsiteX27" fmla="*/ 76801 w 114119"/>
                <a:gd name="connsiteY27" fmla="*/ 96272 h 122232"/>
                <a:gd name="connsiteX28" fmla="*/ 91403 w 114119"/>
                <a:gd name="connsiteY28" fmla="*/ 101680 h 122232"/>
                <a:gd name="connsiteX29" fmla="*/ 105466 w 114119"/>
                <a:gd name="connsiteY29" fmla="*/ 95190 h 122232"/>
                <a:gd name="connsiteX30" fmla="*/ 111415 w 114119"/>
                <a:gd name="connsiteY30" fmla="*/ 81128 h 122232"/>
                <a:gd name="connsiteX31" fmla="*/ 98435 w 114119"/>
                <a:gd name="connsiteY31" fmla="*/ 59494 h 122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14119" h="122232">
                  <a:moveTo>
                    <a:pt x="98435" y="59494"/>
                  </a:moveTo>
                  <a:cubicBezTo>
                    <a:pt x="102762" y="58412"/>
                    <a:pt x="105466" y="55167"/>
                    <a:pt x="108170" y="51922"/>
                  </a:cubicBezTo>
                  <a:cubicBezTo>
                    <a:pt x="110875" y="48677"/>
                    <a:pt x="114120" y="44891"/>
                    <a:pt x="114120" y="40023"/>
                  </a:cubicBezTo>
                  <a:cubicBezTo>
                    <a:pt x="114120" y="34074"/>
                    <a:pt x="110333" y="29747"/>
                    <a:pt x="106548" y="25961"/>
                  </a:cubicBezTo>
                  <a:cubicBezTo>
                    <a:pt x="102762" y="22175"/>
                    <a:pt x="97894" y="18930"/>
                    <a:pt x="92486" y="18930"/>
                  </a:cubicBezTo>
                  <a:cubicBezTo>
                    <a:pt x="87077" y="18930"/>
                    <a:pt x="81128" y="20552"/>
                    <a:pt x="77341" y="24338"/>
                  </a:cubicBezTo>
                  <a:cubicBezTo>
                    <a:pt x="77882" y="22716"/>
                    <a:pt x="77882" y="21634"/>
                    <a:pt x="77882" y="20012"/>
                  </a:cubicBezTo>
                  <a:cubicBezTo>
                    <a:pt x="77882" y="14062"/>
                    <a:pt x="76260" y="8653"/>
                    <a:pt x="72474" y="4867"/>
                  </a:cubicBezTo>
                  <a:cubicBezTo>
                    <a:pt x="68688" y="1082"/>
                    <a:pt x="63279" y="0"/>
                    <a:pt x="57330" y="0"/>
                  </a:cubicBezTo>
                  <a:cubicBezTo>
                    <a:pt x="51381" y="0"/>
                    <a:pt x="45972" y="1622"/>
                    <a:pt x="42186" y="5409"/>
                  </a:cubicBezTo>
                  <a:cubicBezTo>
                    <a:pt x="38400" y="9195"/>
                    <a:pt x="36237" y="14603"/>
                    <a:pt x="36237" y="20552"/>
                  </a:cubicBezTo>
                  <a:cubicBezTo>
                    <a:pt x="36237" y="22175"/>
                    <a:pt x="37318" y="23257"/>
                    <a:pt x="37318" y="24879"/>
                  </a:cubicBezTo>
                  <a:cubicBezTo>
                    <a:pt x="33533" y="21093"/>
                    <a:pt x="28124" y="20552"/>
                    <a:pt x="22175" y="20552"/>
                  </a:cubicBezTo>
                  <a:cubicBezTo>
                    <a:pt x="16226" y="20552"/>
                    <a:pt x="11358" y="22175"/>
                    <a:pt x="7571" y="25961"/>
                  </a:cubicBezTo>
                  <a:cubicBezTo>
                    <a:pt x="3786" y="29747"/>
                    <a:pt x="0" y="34614"/>
                    <a:pt x="0" y="40564"/>
                  </a:cubicBezTo>
                  <a:cubicBezTo>
                    <a:pt x="0" y="45431"/>
                    <a:pt x="3245" y="49217"/>
                    <a:pt x="5949" y="53003"/>
                  </a:cubicBezTo>
                  <a:cubicBezTo>
                    <a:pt x="8653" y="56789"/>
                    <a:pt x="10817" y="59494"/>
                    <a:pt x="15143" y="61116"/>
                  </a:cubicBezTo>
                  <a:cubicBezTo>
                    <a:pt x="10817" y="62198"/>
                    <a:pt x="7031" y="64361"/>
                    <a:pt x="4326" y="68147"/>
                  </a:cubicBezTo>
                  <a:cubicBezTo>
                    <a:pt x="1622" y="71392"/>
                    <a:pt x="1081" y="76801"/>
                    <a:pt x="1081" y="81668"/>
                  </a:cubicBezTo>
                  <a:cubicBezTo>
                    <a:pt x="1081" y="87618"/>
                    <a:pt x="3245" y="92486"/>
                    <a:pt x="7031" y="96272"/>
                  </a:cubicBezTo>
                  <a:cubicBezTo>
                    <a:pt x="10817" y="100058"/>
                    <a:pt x="16226" y="102762"/>
                    <a:pt x="21634" y="102762"/>
                  </a:cubicBezTo>
                  <a:cubicBezTo>
                    <a:pt x="27043" y="102762"/>
                    <a:pt x="31910" y="100058"/>
                    <a:pt x="35696" y="96272"/>
                  </a:cubicBezTo>
                  <a:cubicBezTo>
                    <a:pt x="35155" y="97894"/>
                    <a:pt x="34614" y="100058"/>
                    <a:pt x="34614" y="101680"/>
                  </a:cubicBezTo>
                  <a:cubicBezTo>
                    <a:pt x="34614" y="107629"/>
                    <a:pt x="36778" y="113579"/>
                    <a:pt x="40564" y="117365"/>
                  </a:cubicBezTo>
                  <a:cubicBezTo>
                    <a:pt x="44350" y="121151"/>
                    <a:pt x="50299" y="122232"/>
                    <a:pt x="56248" y="122232"/>
                  </a:cubicBezTo>
                  <a:cubicBezTo>
                    <a:pt x="62198" y="122232"/>
                    <a:pt x="66524" y="119528"/>
                    <a:pt x="70311" y="115742"/>
                  </a:cubicBezTo>
                  <a:cubicBezTo>
                    <a:pt x="74096" y="111956"/>
                    <a:pt x="77341" y="107629"/>
                    <a:pt x="77341" y="101680"/>
                  </a:cubicBezTo>
                  <a:cubicBezTo>
                    <a:pt x="77341" y="100058"/>
                    <a:pt x="77341" y="97894"/>
                    <a:pt x="76801" y="96272"/>
                  </a:cubicBezTo>
                  <a:cubicBezTo>
                    <a:pt x="80586" y="100058"/>
                    <a:pt x="85454" y="101680"/>
                    <a:pt x="91403" y="101680"/>
                  </a:cubicBezTo>
                  <a:cubicBezTo>
                    <a:pt x="97353" y="101680"/>
                    <a:pt x="101680" y="98976"/>
                    <a:pt x="105466" y="95190"/>
                  </a:cubicBezTo>
                  <a:cubicBezTo>
                    <a:pt x="109252" y="91404"/>
                    <a:pt x="111415" y="87077"/>
                    <a:pt x="111415" y="81128"/>
                  </a:cubicBezTo>
                  <a:cubicBezTo>
                    <a:pt x="111956" y="70311"/>
                    <a:pt x="107088" y="62198"/>
                    <a:pt x="98435" y="59494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12" name="Freeform: Shape 1311">
              <a:extLst>
                <a:ext uri="{FF2B5EF4-FFF2-40B4-BE49-F238E27FC236}">
                  <a16:creationId xmlns:a16="http://schemas.microsoft.com/office/drawing/2014/main" id="{37C122DF-F5EB-DF63-8D66-7569D4830B3C}"/>
                </a:ext>
              </a:extLst>
            </p:cNvPr>
            <p:cNvSpPr/>
            <p:nvPr/>
          </p:nvSpPr>
          <p:spPr>
            <a:xfrm>
              <a:off x="6537875" y="5381474"/>
              <a:ext cx="42727" cy="43268"/>
            </a:xfrm>
            <a:custGeom>
              <a:avLst/>
              <a:gdLst>
                <a:gd name="connsiteX0" fmla="*/ 42727 w 42727"/>
                <a:gd name="connsiteY0" fmla="*/ 21634 h 43268"/>
                <a:gd name="connsiteX1" fmla="*/ 36237 w 42727"/>
                <a:gd name="connsiteY1" fmla="*/ 6490 h 43268"/>
                <a:gd name="connsiteX2" fmla="*/ 21093 w 42727"/>
                <a:gd name="connsiteY2" fmla="*/ 0 h 43268"/>
                <a:gd name="connsiteX3" fmla="*/ 5409 w 42727"/>
                <a:gd name="connsiteY3" fmla="*/ 6490 h 43268"/>
                <a:gd name="connsiteX4" fmla="*/ 0 w 42727"/>
                <a:gd name="connsiteY4" fmla="*/ 22175 h 43268"/>
                <a:gd name="connsiteX5" fmla="*/ 5409 w 42727"/>
                <a:gd name="connsiteY5" fmla="*/ 37319 h 43268"/>
                <a:gd name="connsiteX6" fmla="*/ 20553 w 42727"/>
                <a:gd name="connsiteY6" fmla="*/ 43268 h 43268"/>
                <a:gd name="connsiteX7" fmla="*/ 35155 w 42727"/>
                <a:gd name="connsiteY7" fmla="*/ 36778 h 43268"/>
                <a:gd name="connsiteX8" fmla="*/ 42727 w 42727"/>
                <a:gd name="connsiteY8" fmla="*/ 21634 h 43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727" h="43268">
                  <a:moveTo>
                    <a:pt x="42727" y="21634"/>
                  </a:moveTo>
                  <a:cubicBezTo>
                    <a:pt x="42727" y="15685"/>
                    <a:pt x="40564" y="10276"/>
                    <a:pt x="36237" y="6490"/>
                  </a:cubicBezTo>
                  <a:cubicBezTo>
                    <a:pt x="32451" y="2704"/>
                    <a:pt x="27043" y="0"/>
                    <a:pt x="21093" y="0"/>
                  </a:cubicBezTo>
                  <a:cubicBezTo>
                    <a:pt x="15144" y="0"/>
                    <a:pt x="9736" y="2164"/>
                    <a:pt x="5409" y="6490"/>
                  </a:cubicBezTo>
                  <a:cubicBezTo>
                    <a:pt x="1623" y="10276"/>
                    <a:pt x="0" y="16226"/>
                    <a:pt x="0" y="22175"/>
                  </a:cubicBezTo>
                  <a:cubicBezTo>
                    <a:pt x="0" y="28124"/>
                    <a:pt x="1623" y="33533"/>
                    <a:pt x="5409" y="37319"/>
                  </a:cubicBezTo>
                  <a:cubicBezTo>
                    <a:pt x="9195" y="41105"/>
                    <a:pt x="14603" y="43268"/>
                    <a:pt x="20553" y="43268"/>
                  </a:cubicBezTo>
                  <a:cubicBezTo>
                    <a:pt x="26502" y="43268"/>
                    <a:pt x="31370" y="40564"/>
                    <a:pt x="35155" y="36778"/>
                  </a:cubicBezTo>
                  <a:cubicBezTo>
                    <a:pt x="40023" y="32451"/>
                    <a:pt x="42727" y="27583"/>
                    <a:pt x="42727" y="21634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13" name="Freeform: Shape 1312">
              <a:extLst>
                <a:ext uri="{FF2B5EF4-FFF2-40B4-BE49-F238E27FC236}">
                  <a16:creationId xmlns:a16="http://schemas.microsoft.com/office/drawing/2014/main" id="{5A341A19-DC0A-1E54-A8F0-E9502523C016}"/>
                </a:ext>
              </a:extLst>
            </p:cNvPr>
            <p:cNvSpPr/>
            <p:nvPr/>
          </p:nvSpPr>
          <p:spPr>
            <a:xfrm>
              <a:off x="6545154" y="5548491"/>
              <a:ext cx="58496" cy="58084"/>
            </a:xfrm>
            <a:custGeom>
              <a:avLst/>
              <a:gdLst>
                <a:gd name="connsiteX0" fmla="*/ 2997 w 58496"/>
                <a:gd name="connsiteY0" fmla="*/ 55273 h 58084"/>
                <a:gd name="connsiteX1" fmla="*/ 2456 w 58496"/>
                <a:gd name="connsiteY1" fmla="*/ 41211 h 58084"/>
                <a:gd name="connsiteX2" fmla="*/ 6783 w 58496"/>
                <a:gd name="connsiteY2" fmla="*/ 27149 h 58084"/>
                <a:gd name="connsiteX3" fmla="*/ 14355 w 58496"/>
                <a:gd name="connsiteY3" fmla="*/ 14169 h 58084"/>
                <a:gd name="connsiteX4" fmla="*/ 27335 w 58496"/>
                <a:gd name="connsiteY4" fmla="*/ 7137 h 58084"/>
                <a:gd name="connsiteX5" fmla="*/ 41397 w 58496"/>
                <a:gd name="connsiteY5" fmla="*/ 1729 h 58084"/>
                <a:gd name="connsiteX6" fmla="*/ 55460 w 58496"/>
                <a:gd name="connsiteY6" fmla="*/ 2811 h 58084"/>
                <a:gd name="connsiteX7" fmla="*/ 56541 w 58496"/>
                <a:gd name="connsiteY7" fmla="*/ 16873 h 58084"/>
                <a:gd name="connsiteX8" fmla="*/ 52756 w 58496"/>
                <a:gd name="connsiteY8" fmla="*/ 31476 h 58084"/>
                <a:gd name="connsiteX9" fmla="*/ 43020 w 58496"/>
                <a:gd name="connsiteY9" fmla="*/ 42834 h 58084"/>
                <a:gd name="connsiteX10" fmla="*/ 31122 w 58496"/>
                <a:gd name="connsiteY10" fmla="*/ 50947 h 58084"/>
                <a:gd name="connsiteX11" fmla="*/ 17059 w 58496"/>
                <a:gd name="connsiteY11" fmla="*/ 56355 h 58084"/>
                <a:gd name="connsiteX12" fmla="*/ 2997 w 58496"/>
                <a:gd name="connsiteY12" fmla="*/ 55273 h 58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496" h="58084">
                  <a:moveTo>
                    <a:pt x="2997" y="55273"/>
                  </a:moveTo>
                  <a:cubicBezTo>
                    <a:pt x="-2412" y="49865"/>
                    <a:pt x="833" y="49865"/>
                    <a:pt x="2456" y="41211"/>
                  </a:cubicBezTo>
                  <a:cubicBezTo>
                    <a:pt x="2997" y="36884"/>
                    <a:pt x="5161" y="32017"/>
                    <a:pt x="6783" y="27149"/>
                  </a:cubicBezTo>
                  <a:cubicBezTo>
                    <a:pt x="8406" y="22822"/>
                    <a:pt x="10569" y="17954"/>
                    <a:pt x="14355" y="14169"/>
                  </a:cubicBezTo>
                  <a:cubicBezTo>
                    <a:pt x="18141" y="10383"/>
                    <a:pt x="23009" y="8760"/>
                    <a:pt x="27335" y="7137"/>
                  </a:cubicBezTo>
                  <a:cubicBezTo>
                    <a:pt x="32203" y="4974"/>
                    <a:pt x="37071" y="2270"/>
                    <a:pt x="41397" y="1729"/>
                  </a:cubicBezTo>
                  <a:cubicBezTo>
                    <a:pt x="49510" y="647"/>
                    <a:pt x="50592" y="-2057"/>
                    <a:pt x="55460" y="2811"/>
                  </a:cubicBezTo>
                  <a:cubicBezTo>
                    <a:pt x="60869" y="8219"/>
                    <a:pt x="57623" y="8760"/>
                    <a:pt x="56541" y="16873"/>
                  </a:cubicBezTo>
                  <a:cubicBezTo>
                    <a:pt x="56001" y="21200"/>
                    <a:pt x="54919" y="26609"/>
                    <a:pt x="52756" y="31476"/>
                  </a:cubicBezTo>
                  <a:cubicBezTo>
                    <a:pt x="51133" y="35803"/>
                    <a:pt x="46806" y="39048"/>
                    <a:pt x="43020" y="42834"/>
                  </a:cubicBezTo>
                  <a:cubicBezTo>
                    <a:pt x="39234" y="46620"/>
                    <a:pt x="35448" y="48783"/>
                    <a:pt x="31122" y="50947"/>
                  </a:cubicBezTo>
                  <a:cubicBezTo>
                    <a:pt x="26254" y="53110"/>
                    <a:pt x="21927" y="55814"/>
                    <a:pt x="17059" y="56355"/>
                  </a:cubicBezTo>
                  <a:cubicBezTo>
                    <a:pt x="8946" y="57437"/>
                    <a:pt x="8406" y="60141"/>
                    <a:pt x="2997" y="55273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14" name="Freeform: Shape 1313">
              <a:extLst>
                <a:ext uri="{FF2B5EF4-FFF2-40B4-BE49-F238E27FC236}">
                  <a16:creationId xmlns:a16="http://schemas.microsoft.com/office/drawing/2014/main" id="{13B10CD9-AD9B-D9B5-E65E-C99B3672B1A9}"/>
                </a:ext>
              </a:extLst>
            </p:cNvPr>
            <p:cNvSpPr/>
            <p:nvPr/>
          </p:nvSpPr>
          <p:spPr>
            <a:xfrm>
              <a:off x="6489723" y="5621110"/>
              <a:ext cx="58503" cy="57634"/>
            </a:xfrm>
            <a:custGeom>
              <a:avLst/>
              <a:gdLst>
                <a:gd name="connsiteX0" fmla="*/ 3261 w 58503"/>
                <a:gd name="connsiteY0" fmla="*/ 2125 h 57634"/>
                <a:gd name="connsiteX1" fmla="*/ 1639 w 58503"/>
                <a:gd name="connsiteY1" fmla="*/ 16188 h 57634"/>
                <a:gd name="connsiteX2" fmla="*/ 5966 w 58503"/>
                <a:gd name="connsiteY2" fmla="*/ 30791 h 57634"/>
                <a:gd name="connsiteX3" fmla="*/ 14619 w 58503"/>
                <a:gd name="connsiteY3" fmla="*/ 42689 h 57634"/>
                <a:gd name="connsiteX4" fmla="*/ 27600 w 58503"/>
                <a:gd name="connsiteY4" fmla="*/ 49720 h 57634"/>
                <a:gd name="connsiteX5" fmla="*/ 41662 w 58503"/>
                <a:gd name="connsiteY5" fmla="*/ 54588 h 57634"/>
                <a:gd name="connsiteX6" fmla="*/ 56264 w 58503"/>
                <a:gd name="connsiteY6" fmla="*/ 55129 h 57634"/>
                <a:gd name="connsiteX7" fmla="*/ 54642 w 58503"/>
                <a:gd name="connsiteY7" fmla="*/ 40526 h 57634"/>
                <a:gd name="connsiteX8" fmla="*/ 51938 w 58503"/>
                <a:gd name="connsiteY8" fmla="*/ 26463 h 57634"/>
                <a:gd name="connsiteX9" fmla="*/ 43825 w 58503"/>
                <a:gd name="connsiteY9" fmla="*/ 14565 h 57634"/>
                <a:gd name="connsiteX10" fmla="*/ 32468 w 58503"/>
                <a:gd name="connsiteY10" fmla="*/ 4829 h 57634"/>
                <a:gd name="connsiteX11" fmla="*/ 17864 w 58503"/>
                <a:gd name="connsiteY11" fmla="*/ 3207 h 57634"/>
                <a:gd name="connsiteX12" fmla="*/ 3261 w 58503"/>
                <a:gd name="connsiteY12" fmla="*/ 2125 h 57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503" h="57634">
                  <a:moveTo>
                    <a:pt x="3261" y="2125"/>
                  </a:moveTo>
                  <a:cubicBezTo>
                    <a:pt x="-2147" y="7534"/>
                    <a:pt x="557" y="8075"/>
                    <a:pt x="1639" y="16188"/>
                  </a:cubicBezTo>
                  <a:cubicBezTo>
                    <a:pt x="2179" y="20514"/>
                    <a:pt x="3802" y="25923"/>
                    <a:pt x="5966" y="30791"/>
                  </a:cubicBezTo>
                  <a:cubicBezTo>
                    <a:pt x="7588" y="35118"/>
                    <a:pt x="10833" y="39444"/>
                    <a:pt x="14619" y="42689"/>
                  </a:cubicBezTo>
                  <a:cubicBezTo>
                    <a:pt x="18405" y="46475"/>
                    <a:pt x="23273" y="47557"/>
                    <a:pt x="27600" y="49720"/>
                  </a:cubicBezTo>
                  <a:cubicBezTo>
                    <a:pt x="32468" y="51884"/>
                    <a:pt x="36794" y="54047"/>
                    <a:pt x="41662" y="54588"/>
                  </a:cubicBezTo>
                  <a:cubicBezTo>
                    <a:pt x="49775" y="55670"/>
                    <a:pt x="51397" y="60537"/>
                    <a:pt x="56264" y="55129"/>
                  </a:cubicBezTo>
                  <a:cubicBezTo>
                    <a:pt x="61673" y="49720"/>
                    <a:pt x="55724" y="48639"/>
                    <a:pt x="54642" y="40526"/>
                  </a:cubicBezTo>
                  <a:cubicBezTo>
                    <a:pt x="54102" y="36199"/>
                    <a:pt x="53560" y="31331"/>
                    <a:pt x="51938" y="26463"/>
                  </a:cubicBezTo>
                  <a:cubicBezTo>
                    <a:pt x="50315" y="22137"/>
                    <a:pt x="47070" y="18351"/>
                    <a:pt x="43825" y="14565"/>
                  </a:cubicBezTo>
                  <a:cubicBezTo>
                    <a:pt x="40039" y="10779"/>
                    <a:pt x="36794" y="6993"/>
                    <a:pt x="32468" y="4829"/>
                  </a:cubicBezTo>
                  <a:cubicBezTo>
                    <a:pt x="27600" y="2667"/>
                    <a:pt x="22191" y="3748"/>
                    <a:pt x="17864" y="3207"/>
                  </a:cubicBezTo>
                  <a:cubicBezTo>
                    <a:pt x="9211" y="2125"/>
                    <a:pt x="8670" y="-2742"/>
                    <a:pt x="3261" y="2125"/>
                  </a:cubicBezTo>
                  <a:close/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grpSp>
        <p:nvGrpSpPr>
          <p:cNvPr id="1316" name="Group 1315">
            <a:extLst>
              <a:ext uri="{FF2B5EF4-FFF2-40B4-BE49-F238E27FC236}">
                <a16:creationId xmlns:a16="http://schemas.microsoft.com/office/drawing/2014/main" id="{83D63469-74A1-2781-E4DF-37F007222383}"/>
              </a:ext>
            </a:extLst>
          </p:cNvPr>
          <p:cNvGrpSpPr/>
          <p:nvPr/>
        </p:nvGrpSpPr>
        <p:grpSpPr>
          <a:xfrm flipH="1">
            <a:off x="10869105" y="168957"/>
            <a:ext cx="1229583" cy="651173"/>
            <a:chOff x="6025689" y="-1575994"/>
            <a:chExt cx="2933039" cy="1810770"/>
          </a:xfrm>
        </p:grpSpPr>
        <p:sp>
          <p:nvSpPr>
            <p:cNvPr id="1317" name="Freeform: Shape 1316">
              <a:extLst>
                <a:ext uri="{FF2B5EF4-FFF2-40B4-BE49-F238E27FC236}">
                  <a16:creationId xmlns:a16="http://schemas.microsoft.com/office/drawing/2014/main" id="{EB17786E-1D0E-2016-2BCA-0200D4CE4C98}"/>
                </a:ext>
              </a:extLst>
            </p:cNvPr>
            <p:cNvSpPr/>
            <p:nvPr/>
          </p:nvSpPr>
          <p:spPr>
            <a:xfrm>
              <a:off x="6974343" y="-1081656"/>
              <a:ext cx="1110909" cy="1084407"/>
            </a:xfrm>
            <a:custGeom>
              <a:avLst/>
              <a:gdLst>
                <a:gd name="connsiteX0" fmla="*/ 1110910 w 1110909"/>
                <a:gd name="connsiteY0" fmla="*/ 555455 h 1084407"/>
                <a:gd name="connsiteX1" fmla="*/ 555455 w 1110909"/>
                <a:gd name="connsiteY1" fmla="*/ 0 h 1084407"/>
                <a:gd name="connsiteX2" fmla="*/ 0 w 1110909"/>
                <a:gd name="connsiteY2" fmla="*/ 555455 h 1084407"/>
                <a:gd name="connsiteX3" fmla="*/ 189298 w 1110909"/>
                <a:gd name="connsiteY3" fmla="*/ 972992 h 1084407"/>
                <a:gd name="connsiteX4" fmla="*/ 614948 w 1110909"/>
                <a:gd name="connsiteY4" fmla="*/ 971911 h 1084407"/>
                <a:gd name="connsiteX5" fmla="*/ 725823 w 1110909"/>
                <a:gd name="connsiteY5" fmla="*/ 1084408 h 1084407"/>
                <a:gd name="connsiteX6" fmla="*/ 1110910 w 1110909"/>
                <a:gd name="connsiteY6" fmla="*/ 555455 h 10844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110909" h="1084407">
                  <a:moveTo>
                    <a:pt x="1110910" y="555455"/>
                  </a:moveTo>
                  <a:cubicBezTo>
                    <a:pt x="1110910" y="248792"/>
                    <a:pt x="862118" y="0"/>
                    <a:pt x="555455" y="0"/>
                  </a:cubicBezTo>
                  <a:cubicBezTo>
                    <a:pt x="248792" y="0"/>
                    <a:pt x="0" y="248792"/>
                    <a:pt x="0" y="555455"/>
                  </a:cubicBezTo>
                  <a:cubicBezTo>
                    <a:pt x="0" y="722037"/>
                    <a:pt x="73015" y="871312"/>
                    <a:pt x="189298" y="972992"/>
                  </a:cubicBezTo>
                  <a:lnTo>
                    <a:pt x="614948" y="971911"/>
                  </a:lnTo>
                  <a:cubicBezTo>
                    <a:pt x="614948" y="971911"/>
                    <a:pt x="709057" y="1067100"/>
                    <a:pt x="725823" y="1084408"/>
                  </a:cubicBezTo>
                  <a:cubicBezTo>
                    <a:pt x="949195" y="1011934"/>
                    <a:pt x="1110910" y="802624"/>
                    <a:pt x="1110910" y="555455"/>
                  </a:cubicBezTo>
                  <a:close/>
                </a:path>
              </a:pathLst>
            </a:custGeom>
            <a:solidFill>
              <a:srgbClr val="FEF5F6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18" name="Freeform: Shape 1317">
              <a:extLst>
                <a:ext uri="{FF2B5EF4-FFF2-40B4-BE49-F238E27FC236}">
                  <a16:creationId xmlns:a16="http://schemas.microsoft.com/office/drawing/2014/main" id="{D4A52D10-B99D-2386-4F31-BF689E8EB88A}"/>
                </a:ext>
              </a:extLst>
            </p:cNvPr>
            <p:cNvSpPr/>
            <p:nvPr/>
          </p:nvSpPr>
          <p:spPr>
            <a:xfrm>
              <a:off x="7345367" y="-558111"/>
              <a:ext cx="1607094" cy="791266"/>
            </a:xfrm>
            <a:custGeom>
              <a:avLst/>
              <a:gdLst>
                <a:gd name="connsiteX0" fmla="*/ 1281278 w 1607094"/>
                <a:gd name="connsiteY0" fmla="*/ 424028 h 791266"/>
                <a:gd name="connsiteX1" fmla="*/ 1144983 w 1607094"/>
                <a:gd name="connsiteY1" fmla="*/ 372647 h 791266"/>
                <a:gd name="connsiteX2" fmla="*/ 1144983 w 1607094"/>
                <a:gd name="connsiteY2" fmla="*/ 372647 h 791266"/>
                <a:gd name="connsiteX3" fmla="*/ 802624 w 1607094"/>
                <a:gd name="connsiteY3" fmla="*/ 0 h 791266"/>
                <a:gd name="connsiteX4" fmla="*/ 562486 w 1607094"/>
                <a:gd name="connsiteY4" fmla="*/ 116283 h 791266"/>
                <a:gd name="connsiteX5" fmla="*/ 366698 w 1607094"/>
                <a:gd name="connsiteY5" fmla="*/ 23798 h 791266"/>
                <a:gd name="connsiteX6" fmla="*/ 0 w 1607094"/>
                <a:gd name="connsiteY6" fmla="*/ 393740 h 791266"/>
                <a:gd name="connsiteX7" fmla="*/ 194166 w 1607094"/>
                <a:gd name="connsiteY7" fmla="*/ 791266 h 791266"/>
                <a:gd name="connsiteX8" fmla="*/ 222831 w 1607094"/>
                <a:gd name="connsiteY8" fmla="*/ 790184 h 791266"/>
                <a:gd name="connsiteX9" fmla="*/ 777204 w 1607094"/>
                <a:gd name="connsiteY9" fmla="*/ 790184 h 791266"/>
                <a:gd name="connsiteX10" fmla="*/ 802624 w 1607094"/>
                <a:gd name="connsiteY10" fmla="*/ 791266 h 791266"/>
                <a:gd name="connsiteX11" fmla="*/ 828044 w 1607094"/>
                <a:gd name="connsiteY11" fmla="*/ 790184 h 791266"/>
                <a:gd name="connsiteX12" fmla="*/ 1606330 w 1607094"/>
                <a:gd name="connsiteY12" fmla="*/ 790184 h 791266"/>
                <a:gd name="connsiteX13" fmla="*/ 1281278 w 1607094"/>
                <a:gd name="connsiteY13" fmla="*/ 424028 h 791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07094" h="791266">
                  <a:moveTo>
                    <a:pt x="1281278" y="424028"/>
                  </a:moveTo>
                  <a:cubicBezTo>
                    <a:pt x="1277492" y="386168"/>
                    <a:pt x="1214212" y="328297"/>
                    <a:pt x="1144983" y="372647"/>
                  </a:cubicBezTo>
                  <a:lnTo>
                    <a:pt x="1144983" y="372647"/>
                  </a:lnTo>
                  <a:cubicBezTo>
                    <a:pt x="1134707" y="164960"/>
                    <a:pt x="983269" y="0"/>
                    <a:pt x="802624" y="0"/>
                  </a:cubicBezTo>
                  <a:cubicBezTo>
                    <a:pt x="709057" y="0"/>
                    <a:pt x="624143" y="44350"/>
                    <a:pt x="562486" y="116283"/>
                  </a:cubicBezTo>
                  <a:cubicBezTo>
                    <a:pt x="497043" y="55167"/>
                    <a:pt x="427814" y="27043"/>
                    <a:pt x="366698" y="23798"/>
                  </a:cubicBezTo>
                  <a:cubicBezTo>
                    <a:pt x="163337" y="9195"/>
                    <a:pt x="0" y="189298"/>
                    <a:pt x="0" y="393740"/>
                  </a:cubicBezTo>
                  <a:cubicBezTo>
                    <a:pt x="0" y="449448"/>
                    <a:pt x="10817" y="791266"/>
                    <a:pt x="194166" y="791266"/>
                  </a:cubicBezTo>
                  <a:cubicBezTo>
                    <a:pt x="203360" y="791266"/>
                    <a:pt x="213096" y="790725"/>
                    <a:pt x="222831" y="790184"/>
                  </a:cubicBezTo>
                  <a:lnTo>
                    <a:pt x="777204" y="790184"/>
                  </a:lnTo>
                  <a:cubicBezTo>
                    <a:pt x="785317" y="790725"/>
                    <a:pt x="793971" y="791266"/>
                    <a:pt x="802624" y="791266"/>
                  </a:cubicBezTo>
                  <a:cubicBezTo>
                    <a:pt x="811278" y="791266"/>
                    <a:pt x="819390" y="790725"/>
                    <a:pt x="828044" y="790184"/>
                  </a:cubicBezTo>
                  <a:lnTo>
                    <a:pt x="1606330" y="790184"/>
                  </a:lnTo>
                  <a:cubicBezTo>
                    <a:pt x="1614443" y="699862"/>
                    <a:pt x="1561439" y="471082"/>
                    <a:pt x="1281278" y="424028"/>
                  </a:cubicBezTo>
                  <a:close/>
                </a:path>
              </a:pathLst>
            </a:custGeom>
            <a:solidFill>
              <a:srgbClr val="E1EBE5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19" name="Freeform: Shape 1318">
              <a:extLst>
                <a:ext uri="{FF2B5EF4-FFF2-40B4-BE49-F238E27FC236}">
                  <a16:creationId xmlns:a16="http://schemas.microsoft.com/office/drawing/2014/main" id="{5838A546-E016-4831-181B-ED81E733FFC1}"/>
                </a:ext>
              </a:extLst>
            </p:cNvPr>
            <p:cNvSpPr/>
            <p:nvPr/>
          </p:nvSpPr>
          <p:spPr>
            <a:xfrm>
              <a:off x="8030626" y="230991"/>
              <a:ext cx="928102" cy="3785"/>
            </a:xfrm>
            <a:custGeom>
              <a:avLst/>
              <a:gdLst>
                <a:gd name="connsiteX0" fmla="*/ 0 w 928102"/>
                <a:gd name="connsiteY0" fmla="*/ 0 h 3785"/>
                <a:gd name="connsiteX1" fmla="*/ 17848 w 928102"/>
                <a:gd name="connsiteY1" fmla="*/ 0 h 3785"/>
                <a:gd name="connsiteX2" fmla="*/ 35697 w 928102"/>
                <a:gd name="connsiteY2" fmla="*/ 1082 h 3785"/>
                <a:gd name="connsiteX3" fmla="*/ 53544 w 928102"/>
                <a:gd name="connsiteY3" fmla="*/ 1082 h 3785"/>
                <a:gd name="connsiteX4" fmla="*/ 71393 w 928102"/>
                <a:gd name="connsiteY4" fmla="*/ 1082 h 3785"/>
                <a:gd name="connsiteX5" fmla="*/ 89241 w 928102"/>
                <a:gd name="connsiteY5" fmla="*/ 541 h 3785"/>
                <a:gd name="connsiteX6" fmla="*/ 107089 w 928102"/>
                <a:gd name="connsiteY6" fmla="*/ 0 h 3785"/>
                <a:gd name="connsiteX7" fmla="*/ 124937 w 928102"/>
                <a:gd name="connsiteY7" fmla="*/ 2163 h 3785"/>
                <a:gd name="connsiteX8" fmla="*/ 142785 w 928102"/>
                <a:gd name="connsiteY8" fmla="*/ 1622 h 3785"/>
                <a:gd name="connsiteX9" fmla="*/ 160633 w 928102"/>
                <a:gd name="connsiteY9" fmla="*/ 0 h 3785"/>
                <a:gd name="connsiteX10" fmla="*/ 178481 w 928102"/>
                <a:gd name="connsiteY10" fmla="*/ 1622 h 3785"/>
                <a:gd name="connsiteX11" fmla="*/ 196329 w 928102"/>
                <a:gd name="connsiteY11" fmla="*/ 1622 h 3785"/>
                <a:gd name="connsiteX12" fmla="*/ 214178 w 928102"/>
                <a:gd name="connsiteY12" fmla="*/ 1622 h 3785"/>
                <a:gd name="connsiteX13" fmla="*/ 232026 w 928102"/>
                <a:gd name="connsiteY13" fmla="*/ 2704 h 3785"/>
                <a:gd name="connsiteX14" fmla="*/ 249874 w 928102"/>
                <a:gd name="connsiteY14" fmla="*/ 2704 h 3785"/>
                <a:gd name="connsiteX15" fmla="*/ 267722 w 928102"/>
                <a:gd name="connsiteY15" fmla="*/ 541 h 3785"/>
                <a:gd name="connsiteX16" fmla="*/ 285570 w 928102"/>
                <a:gd name="connsiteY16" fmla="*/ 1622 h 3785"/>
                <a:gd name="connsiteX17" fmla="*/ 303418 w 928102"/>
                <a:gd name="connsiteY17" fmla="*/ 541 h 3785"/>
                <a:gd name="connsiteX18" fmla="*/ 321266 w 928102"/>
                <a:gd name="connsiteY18" fmla="*/ 2163 h 3785"/>
                <a:gd name="connsiteX19" fmla="*/ 339114 w 928102"/>
                <a:gd name="connsiteY19" fmla="*/ 2704 h 3785"/>
                <a:gd name="connsiteX20" fmla="*/ 356962 w 928102"/>
                <a:gd name="connsiteY20" fmla="*/ 3245 h 3785"/>
                <a:gd name="connsiteX21" fmla="*/ 374811 w 928102"/>
                <a:gd name="connsiteY21" fmla="*/ 1082 h 3785"/>
                <a:gd name="connsiteX22" fmla="*/ 392659 w 928102"/>
                <a:gd name="connsiteY22" fmla="*/ 2163 h 3785"/>
                <a:gd name="connsiteX23" fmla="*/ 410507 w 928102"/>
                <a:gd name="connsiteY23" fmla="*/ 1622 h 3785"/>
                <a:gd name="connsiteX24" fmla="*/ 428355 w 928102"/>
                <a:gd name="connsiteY24" fmla="*/ 3245 h 3785"/>
                <a:gd name="connsiteX25" fmla="*/ 446203 w 928102"/>
                <a:gd name="connsiteY25" fmla="*/ 1082 h 3785"/>
                <a:gd name="connsiteX26" fmla="*/ 464051 w 928102"/>
                <a:gd name="connsiteY26" fmla="*/ 3245 h 3785"/>
                <a:gd name="connsiteX27" fmla="*/ 481899 w 928102"/>
                <a:gd name="connsiteY27" fmla="*/ 2704 h 3785"/>
                <a:gd name="connsiteX28" fmla="*/ 499747 w 928102"/>
                <a:gd name="connsiteY28" fmla="*/ 3786 h 3785"/>
                <a:gd name="connsiteX29" fmla="*/ 517596 w 928102"/>
                <a:gd name="connsiteY29" fmla="*/ 2704 h 3785"/>
                <a:gd name="connsiteX30" fmla="*/ 535443 w 928102"/>
                <a:gd name="connsiteY30" fmla="*/ 1622 h 3785"/>
                <a:gd name="connsiteX31" fmla="*/ 553292 w 928102"/>
                <a:gd name="connsiteY31" fmla="*/ 3786 h 3785"/>
                <a:gd name="connsiteX32" fmla="*/ 571140 w 928102"/>
                <a:gd name="connsiteY32" fmla="*/ 2163 h 3785"/>
                <a:gd name="connsiteX33" fmla="*/ 588988 w 928102"/>
                <a:gd name="connsiteY33" fmla="*/ 1622 h 3785"/>
                <a:gd name="connsiteX34" fmla="*/ 606836 w 928102"/>
                <a:gd name="connsiteY34" fmla="*/ 2704 h 3785"/>
                <a:gd name="connsiteX35" fmla="*/ 624684 w 928102"/>
                <a:gd name="connsiteY35" fmla="*/ 1622 h 3785"/>
                <a:gd name="connsiteX36" fmla="*/ 642532 w 928102"/>
                <a:gd name="connsiteY36" fmla="*/ 3245 h 3785"/>
                <a:gd name="connsiteX37" fmla="*/ 660381 w 928102"/>
                <a:gd name="connsiteY37" fmla="*/ 2163 h 3785"/>
                <a:gd name="connsiteX38" fmla="*/ 678228 w 928102"/>
                <a:gd name="connsiteY38" fmla="*/ 2163 h 3785"/>
                <a:gd name="connsiteX39" fmla="*/ 696077 w 928102"/>
                <a:gd name="connsiteY39" fmla="*/ 2163 h 3785"/>
                <a:gd name="connsiteX40" fmla="*/ 713924 w 928102"/>
                <a:gd name="connsiteY40" fmla="*/ 2704 h 3785"/>
                <a:gd name="connsiteX41" fmla="*/ 731773 w 928102"/>
                <a:gd name="connsiteY41" fmla="*/ 2704 h 3785"/>
                <a:gd name="connsiteX42" fmla="*/ 749621 w 928102"/>
                <a:gd name="connsiteY42" fmla="*/ 1082 h 3785"/>
                <a:gd name="connsiteX43" fmla="*/ 767469 w 928102"/>
                <a:gd name="connsiteY43" fmla="*/ 1082 h 3785"/>
                <a:gd name="connsiteX44" fmla="*/ 785317 w 928102"/>
                <a:gd name="connsiteY44" fmla="*/ 1082 h 3785"/>
                <a:gd name="connsiteX45" fmla="*/ 803165 w 928102"/>
                <a:gd name="connsiteY45" fmla="*/ 1622 h 3785"/>
                <a:gd name="connsiteX46" fmla="*/ 821013 w 928102"/>
                <a:gd name="connsiteY46" fmla="*/ 2163 h 3785"/>
                <a:gd name="connsiteX47" fmla="*/ 838862 w 928102"/>
                <a:gd name="connsiteY47" fmla="*/ 1082 h 3785"/>
                <a:gd name="connsiteX48" fmla="*/ 856709 w 928102"/>
                <a:gd name="connsiteY48" fmla="*/ 3245 h 3785"/>
                <a:gd name="connsiteX49" fmla="*/ 874558 w 928102"/>
                <a:gd name="connsiteY49" fmla="*/ 1622 h 3785"/>
                <a:gd name="connsiteX50" fmla="*/ 892405 w 928102"/>
                <a:gd name="connsiteY50" fmla="*/ 2163 h 3785"/>
                <a:gd name="connsiteX51" fmla="*/ 910254 w 928102"/>
                <a:gd name="connsiteY51" fmla="*/ 1622 h 3785"/>
                <a:gd name="connsiteX52" fmla="*/ 928102 w 928102"/>
                <a:gd name="connsiteY52" fmla="*/ 2163 h 37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928102" h="3785">
                  <a:moveTo>
                    <a:pt x="0" y="0"/>
                  </a:moveTo>
                  <a:cubicBezTo>
                    <a:pt x="8654" y="0"/>
                    <a:pt x="8654" y="0"/>
                    <a:pt x="17848" y="0"/>
                  </a:cubicBezTo>
                  <a:cubicBezTo>
                    <a:pt x="26502" y="0"/>
                    <a:pt x="26502" y="1082"/>
                    <a:pt x="35697" y="1082"/>
                  </a:cubicBezTo>
                  <a:cubicBezTo>
                    <a:pt x="44350" y="1082"/>
                    <a:pt x="44350" y="1082"/>
                    <a:pt x="53544" y="1082"/>
                  </a:cubicBezTo>
                  <a:cubicBezTo>
                    <a:pt x="62198" y="1082"/>
                    <a:pt x="62198" y="1082"/>
                    <a:pt x="71393" y="1082"/>
                  </a:cubicBezTo>
                  <a:cubicBezTo>
                    <a:pt x="80046" y="1082"/>
                    <a:pt x="80046" y="541"/>
                    <a:pt x="89241" y="541"/>
                  </a:cubicBezTo>
                  <a:cubicBezTo>
                    <a:pt x="97895" y="541"/>
                    <a:pt x="97895" y="0"/>
                    <a:pt x="107089" y="0"/>
                  </a:cubicBezTo>
                  <a:cubicBezTo>
                    <a:pt x="115742" y="0"/>
                    <a:pt x="115742" y="2163"/>
                    <a:pt x="124937" y="2163"/>
                  </a:cubicBezTo>
                  <a:cubicBezTo>
                    <a:pt x="133591" y="2163"/>
                    <a:pt x="133591" y="1622"/>
                    <a:pt x="142785" y="1622"/>
                  </a:cubicBezTo>
                  <a:cubicBezTo>
                    <a:pt x="151438" y="1622"/>
                    <a:pt x="151438" y="0"/>
                    <a:pt x="160633" y="0"/>
                  </a:cubicBezTo>
                  <a:cubicBezTo>
                    <a:pt x="169287" y="0"/>
                    <a:pt x="169287" y="1622"/>
                    <a:pt x="178481" y="1622"/>
                  </a:cubicBezTo>
                  <a:cubicBezTo>
                    <a:pt x="187135" y="1622"/>
                    <a:pt x="187135" y="1622"/>
                    <a:pt x="196329" y="1622"/>
                  </a:cubicBezTo>
                  <a:cubicBezTo>
                    <a:pt x="204983" y="1622"/>
                    <a:pt x="204983" y="1622"/>
                    <a:pt x="214178" y="1622"/>
                  </a:cubicBezTo>
                  <a:cubicBezTo>
                    <a:pt x="222831" y="1622"/>
                    <a:pt x="222831" y="2704"/>
                    <a:pt x="232026" y="2704"/>
                  </a:cubicBezTo>
                  <a:cubicBezTo>
                    <a:pt x="240679" y="2704"/>
                    <a:pt x="240679" y="2704"/>
                    <a:pt x="249874" y="2704"/>
                  </a:cubicBezTo>
                  <a:cubicBezTo>
                    <a:pt x="258527" y="2704"/>
                    <a:pt x="258527" y="541"/>
                    <a:pt x="267722" y="541"/>
                  </a:cubicBezTo>
                  <a:cubicBezTo>
                    <a:pt x="276376" y="541"/>
                    <a:pt x="276376" y="1622"/>
                    <a:pt x="285570" y="1622"/>
                  </a:cubicBezTo>
                  <a:cubicBezTo>
                    <a:pt x="294224" y="1622"/>
                    <a:pt x="294224" y="541"/>
                    <a:pt x="303418" y="541"/>
                  </a:cubicBezTo>
                  <a:cubicBezTo>
                    <a:pt x="312072" y="541"/>
                    <a:pt x="312072" y="2163"/>
                    <a:pt x="321266" y="2163"/>
                  </a:cubicBezTo>
                  <a:cubicBezTo>
                    <a:pt x="329920" y="2163"/>
                    <a:pt x="329920" y="2704"/>
                    <a:pt x="339114" y="2704"/>
                  </a:cubicBezTo>
                  <a:cubicBezTo>
                    <a:pt x="347768" y="2704"/>
                    <a:pt x="347768" y="3245"/>
                    <a:pt x="356962" y="3245"/>
                  </a:cubicBezTo>
                  <a:cubicBezTo>
                    <a:pt x="365616" y="3245"/>
                    <a:pt x="365616" y="1082"/>
                    <a:pt x="374811" y="1082"/>
                  </a:cubicBezTo>
                  <a:cubicBezTo>
                    <a:pt x="383464" y="1082"/>
                    <a:pt x="383464" y="2163"/>
                    <a:pt x="392659" y="2163"/>
                  </a:cubicBezTo>
                  <a:cubicBezTo>
                    <a:pt x="401312" y="2163"/>
                    <a:pt x="401312" y="1622"/>
                    <a:pt x="410507" y="1622"/>
                  </a:cubicBezTo>
                  <a:cubicBezTo>
                    <a:pt x="419160" y="1622"/>
                    <a:pt x="419160" y="3245"/>
                    <a:pt x="428355" y="3245"/>
                  </a:cubicBezTo>
                  <a:cubicBezTo>
                    <a:pt x="437008" y="3245"/>
                    <a:pt x="437008" y="1082"/>
                    <a:pt x="446203" y="1082"/>
                  </a:cubicBezTo>
                  <a:cubicBezTo>
                    <a:pt x="454857" y="1082"/>
                    <a:pt x="454857" y="3245"/>
                    <a:pt x="464051" y="3245"/>
                  </a:cubicBezTo>
                  <a:cubicBezTo>
                    <a:pt x="472705" y="3245"/>
                    <a:pt x="472705" y="2704"/>
                    <a:pt x="481899" y="2704"/>
                  </a:cubicBezTo>
                  <a:cubicBezTo>
                    <a:pt x="490553" y="2704"/>
                    <a:pt x="490553" y="3786"/>
                    <a:pt x="499747" y="3786"/>
                  </a:cubicBezTo>
                  <a:cubicBezTo>
                    <a:pt x="508401" y="3786"/>
                    <a:pt x="508401" y="2704"/>
                    <a:pt x="517596" y="2704"/>
                  </a:cubicBezTo>
                  <a:cubicBezTo>
                    <a:pt x="526249" y="2704"/>
                    <a:pt x="526249" y="1622"/>
                    <a:pt x="535443" y="1622"/>
                  </a:cubicBezTo>
                  <a:cubicBezTo>
                    <a:pt x="544097" y="1622"/>
                    <a:pt x="544097" y="3786"/>
                    <a:pt x="553292" y="3786"/>
                  </a:cubicBezTo>
                  <a:cubicBezTo>
                    <a:pt x="561945" y="3786"/>
                    <a:pt x="561945" y="2163"/>
                    <a:pt x="571140" y="2163"/>
                  </a:cubicBezTo>
                  <a:cubicBezTo>
                    <a:pt x="579794" y="2163"/>
                    <a:pt x="579794" y="1622"/>
                    <a:pt x="588988" y="1622"/>
                  </a:cubicBezTo>
                  <a:cubicBezTo>
                    <a:pt x="597641" y="1622"/>
                    <a:pt x="597641" y="2704"/>
                    <a:pt x="606836" y="2704"/>
                  </a:cubicBezTo>
                  <a:cubicBezTo>
                    <a:pt x="616030" y="2704"/>
                    <a:pt x="615490" y="1622"/>
                    <a:pt x="624684" y="1622"/>
                  </a:cubicBezTo>
                  <a:cubicBezTo>
                    <a:pt x="633338" y="1622"/>
                    <a:pt x="633338" y="3245"/>
                    <a:pt x="642532" y="3245"/>
                  </a:cubicBezTo>
                  <a:cubicBezTo>
                    <a:pt x="651186" y="3245"/>
                    <a:pt x="651186" y="2163"/>
                    <a:pt x="660381" y="2163"/>
                  </a:cubicBezTo>
                  <a:cubicBezTo>
                    <a:pt x="669034" y="2163"/>
                    <a:pt x="669034" y="2163"/>
                    <a:pt x="678228" y="2163"/>
                  </a:cubicBezTo>
                  <a:cubicBezTo>
                    <a:pt x="686882" y="2163"/>
                    <a:pt x="686882" y="2163"/>
                    <a:pt x="696077" y="2163"/>
                  </a:cubicBezTo>
                  <a:cubicBezTo>
                    <a:pt x="704730" y="2163"/>
                    <a:pt x="704730" y="2704"/>
                    <a:pt x="713924" y="2704"/>
                  </a:cubicBezTo>
                  <a:cubicBezTo>
                    <a:pt x="722578" y="2704"/>
                    <a:pt x="722578" y="2704"/>
                    <a:pt x="731773" y="2704"/>
                  </a:cubicBezTo>
                  <a:cubicBezTo>
                    <a:pt x="740426" y="2704"/>
                    <a:pt x="740426" y="1082"/>
                    <a:pt x="749621" y="1082"/>
                  </a:cubicBezTo>
                  <a:cubicBezTo>
                    <a:pt x="758275" y="1082"/>
                    <a:pt x="758275" y="1082"/>
                    <a:pt x="767469" y="1082"/>
                  </a:cubicBezTo>
                  <a:cubicBezTo>
                    <a:pt x="776122" y="1082"/>
                    <a:pt x="776122" y="1082"/>
                    <a:pt x="785317" y="1082"/>
                  </a:cubicBezTo>
                  <a:cubicBezTo>
                    <a:pt x="793971" y="1082"/>
                    <a:pt x="793971" y="1622"/>
                    <a:pt x="803165" y="1622"/>
                  </a:cubicBezTo>
                  <a:cubicBezTo>
                    <a:pt x="811819" y="1622"/>
                    <a:pt x="811819" y="2163"/>
                    <a:pt x="821013" y="2163"/>
                  </a:cubicBezTo>
                  <a:cubicBezTo>
                    <a:pt x="829667" y="2163"/>
                    <a:pt x="829667" y="1082"/>
                    <a:pt x="838862" y="1082"/>
                  </a:cubicBezTo>
                  <a:cubicBezTo>
                    <a:pt x="847515" y="1082"/>
                    <a:pt x="847515" y="3245"/>
                    <a:pt x="856709" y="3245"/>
                  </a:cubicBezTo>
                  <a:cubicBezTo>
                    <a:pt x="865363" y="3245"/>
                    <a:pt x="865363" y="1622"/>
                    <a:pt x="874558" y="1622"/>
                  </a:cubicBezTo>
                  <a:cubicBezTo>
                    <a:pt x="883211" y="1622"/>
                    <a:pt x="883211" y="2163"/>
                    <a:pt x="892405" y="2163"/>
                  </a:cubicBezTo>
                  <a:cubicBezTo>
                    <a:pt x="901060" y="2163"/>
                    <a:pt x="901060" y="1622"/>
                    <a:pt x="910254" y="1622"/>
                  </a:cubicBezTo>
                  <a:cubicBezTo>
                    <a:pt x="919448" y="1622"/>
                    <a:pt x="918907" y="2163"/>
                    <a:pt x="928102" y="2163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0" name="Freeform: Shape 1319">
              <a:extLst>
                <a:ext uri="{FF2B5EF4-FFF2-40B4-BE49-F238E27FC236}">
                  <a16:creationId xmlns:a16="http://schemas.microsoft.com/office/drawing/2014/main" id="{088EB0A1-0E91-A2C0-7BE1-82FD247AB225}"/>
                </a:ext>
              </a:extLst>
            </p:cNvPr>
            <p:cNvSpPr/>
            <p:nvPr/>
          </p:nvSpPr>
          <p:spPr>
            <a:xfrm>
              <a:off x="7344740" y="-534965"/>
              <a:ext cx="547969" cy="377083"/>
            </a:xfrm>
            <a:custGeom>
              <a:avLst/>
              <a:gdLst>
                <a:gd name="connsiteX0" fmla="*/ 547969 w 547969"/>
                <a:gd name="connsiteY0" fmla="*/ 79616 h 377083"/>
                <a:gd name="connsiteX1" fmla="*/ 535530 w 547969"/>
                <a:gd name="connsiteY1" fmla="*/ 67176 h 377083"/>
                <a:gd name="connsiteX2" fmla="*/ 520386 w 547969"/>
                <a:gd name="connsiteY2" fmla="*/ 57981 h 377083"/>
                <a:gd name="connsiteX3" fmla="*/ 506865 w 547969"/>
                <a:gd name="connsiteY3" fmla="*/ 47164 h 377083"/>
                <a:gd name="connsiteX4" fmla="*/ 491180 w 547969"/>
                <a:gd name="connsiteY4" fmla="*/ 40133 h 377083"/>
                <a:gd name="connsiteX5" fmla="*/ 476577 w 547969"/>
                <a:gd name="connsiteY5" fmla="*/ 30398 h 377083"/>
                <a:gd name="connsiteX6" fmla="*/ 460352 w 547969"/>
                <a:gd name="connsiteY6" fmla="*/ 24449 h 377083"/>
                <a:gd name="connsiteX7" fmla="*/ 444667 w 547969"/>
                <a:gd name="connsiteY7" fmla="*/ 16877 h 377083"/>
                <a:gd name="connsiteX8" fmla="*/ 427360 w 547969"/>
                <a:gd name="connsiteY8" fmla="*/ 13632 h 377083"/>
                <a:gd name="connsiteX9" fmla="*/ 410593 w 547969"/>
                <a:gd name="connsiteY9" fmla="*/ 9305 h 377083"/>
                <a:gd name="connsiteX10" fmla="*/ 393826 w 547969"/>
                <a:gd name="connsiteY10" fmla="*/ 3356 h 377083"/>
                <a:gd name="connsiteX11" fmla="*/ 376519 w 547969"/>
                <a:gd name="connsiteY11" fmla="*/ 1192 h 377083"/>
                <a:gd name="connsiteX12" fmla="*/ 359212 w 547969"/>
                <a:gd name="connsiteY12" fmla="*/ 110 h 377083"/>
                <a:gd name="connsiteX13" fmla="*/ 341905 w 547969"/>
                <a:gd name="connsiteY13" fmla="*/ 1192 h 377083"/>
                <a:gd name="connsiteX14" fmla="*/ 324057 w 547969"/>
                <a:gd name="connsiteY14" fmla="*/ 1192 h 377083"/>
                <a:gd name="connsiteX15" fmla="*/ 306749 w 547969"/>
                <a:gd name="connsiteY15" fmla="*/ 2815 h 377083"/>
                <a:gd name="connsiteX16" fmla="*/ 289442 w 547969"/>
                <a:gd name="connsiteY16" fmla="*/ 4978 h 377083"/>
                <a:gd name="connsiteX17" fmla="*/ 272135 w 547969"/>
                <a:gd name="connsiteY17" fmla="*/ 7682 h 377083"/>
                <a:gd name="connsiteX18" fmla="*/ 255369 w 547969"/>
                <a:gd name="connsiteY18" fmla="*/ 13632 h 377083"/>
                <a:gd name="connsiteX19" fmla="*/ 238062 w 547969"/>
                <a:gd name="connsiteY19" fmla="*/ 17958 h 377083"/>
                <a:gd name="connsiteX20" fmla="*/ 221836 w 547969"/>
                <a:gd name="connsiteY20" fmla="*/ 24990 h 377083"/>
                <a:gd name="connsiteX21" fmla="*/ 206151 w 547969"/>
                <a:gd name="connsiteY21" fmla="*/ 32561 h 377083"/>
                <a:gd name="connsiteX22" fmla="*/ 189385 w 547969"/>
                <a:gd name="connsiteY22" fmla="*/ 39052 h 377083"/>
                <a:gd name="connsiteX23" fmla="*/ 174241 w 547969"/>
                <a:gd name="connsiteY23" fmla="*/ 48246 h 377083"/>
                <a:gd name="connsiteX24" fmla="*/ 159638 w 547969"/>
                <a:gd name="connsiteY24" fmla="*/ 58522 h 377083"/>
                <a:gd name="connsiteX25" fmla="*/ 146117 w 547969"/>
                <a:gd name="connsiteY25" fmla="*/ 69880 h 377083"/>
                <a:gd name="connsiteX26" fmla="*/ 133136 w 547969"/>
                <a:gd name="connsiteY26" fmla="*/ 81779 h 377083"/>
                <a:gd name="connsiteX27" fmla="*/ 119615 w 547969"/>
                <a:gd name="connsiteY27" fmla="*/ 92596 h 377083"/>
                <a:gd name="connsiteX28" fmla="*/ 107716 w 547969"/>
                <a:gd name="connsiteY28" fmla="*/ 105576 h 377083"/>
                <a:gd name="connsiteX29" fmla="*/ 95817 w 547969"/>
                <a:gd name="connsiteY29" fmla="*/ 118557 h 377083"/>
                <a:gd name="connsiteX30" fmla="*/ 83378 w 547969"/>
                <a:gd name="connsiteY30" fmla="*/ 130996 h 377083"/>
                <a:gd name="connsiteX31" fmla="*/ 72561 w 547969"/>
                <a:gd name="connsiteY31" fmla="*/ 145059 h 377083"/>
                <a:gd name="connsiteX32" fmla="*/ 63907 w 547969"/>
                <a:gd name="connsiteY32" fmla="*/ 160203 h 377083"/>
                <a:gd name="connsiteX33" fmla="*/ 54172 w 547969"/>
                <a:gd name="connsiteY33" fmla="*/ 174805 h 377083"/>
                <a:gd name="connsiteX34" fmla="*/ 46059 w 547969"/>
                <a:gd name="connsiteY34" fmla="*/ 190490 h 377083"/>
                <a:gd name="connsiteX35" fmla="*/ 38487 w 547969"/>
                <a:gd name="connsiteY35" fmla="*/ 206175 h 377083"/>
                <a:gd name="connsiteX36" fmla="*/ 31456 w 547969"/>
                <a:gd name="connsiteY36" fmla="*/ 222400 h 377083"/>
                <a:gd name="connsiteX37" fmla="*/ 23884 w 547969"/>
                <a:gd name="connsiteY37" fmla="*/ 238626 h 377083"/>
                <a:gd name="connsiteX38" fmla="*/ 20098 w 547969"/>
                <a:gd name="connsiteY38" fmla="*/ 255933 h 377083"/>
                <a:gd name="connsiteX39" fmla="*/ 14690 w 547969"/>
                <a:gd name="connsiteY39" fmla="*/ 272700 h 377083"/>
                <a:gd name="connsiteX40" fmla="*/ 11445 w 547969"/>
                <a:gd name="connsiteY40" fmla="*/ 290007 h 377083"/>
                <a:gd name="connsiteX41" fmla="*/ 7117 w 547969"/>
                <a:gd name="connsiteY41" fmla="*/ 307314 h 377083"/>
                <a:gd name="connsiteX42" fmla="*/ 4955 w 547969"/>
                <a:gd name="connsiteY42" fmla="*/ 324621 h 377083"/>
                <a:gd name="connsiteX43" fmla="*/ 2791 w 547969"/>
                <a:gd name="connsiteY43" fmla="*/ 341929 h 377083"/>
                <a:gd name="connsiteX44" fmla="*/ 87 w 547969"/>
                <a:gd name="connsiteY44" fmla="*/ 359236 h 377083"/>
                <a:gd name="connsiteX45" fmla="*/ 1709 w 547969"/>
                <a:gd name="connsiteY45" fmla="*/ 377084 h 377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547969" h="377083">
                  <a:moveTo>
                    <a:pt x="547969" y="79616"/>
                  </a:moveTo>
                  <a:cubicBezTo>
                    <a:pt x="543643" y="75830"/>
                    <a:pt x="540398" y="70962"/>
                    <a:pt x="535530" y="67176"/>
                  </a:cubicBezTo>
                  <a:cubicBezTo>
                    <a:pt x="531203" y="63390"/>
                    <a:pt x="525254" y="61227"/>
                    <a:pt x="520386" y="57981"/>
                  </a:cubicBezTo>
                  <a:cubicBezTo>
                    <a:pt x="515518" y="54736"/>
                    <a:pt x="511732" y="49869"/>
                    <a:pt x="506865" y="47164"/>
                  </a:cubicBezTo>
                  <a:cubicBezTo>
                    <a:pt x="501997" y="43919"/>
                    <a:pt x="496048" y="42838"/>
                    <a:pt x="491180" y="40133"/>
                  </a:cubicBezTo>
                  <a:cubicBezTo>
                    <a:pt x="486313" y="37429"/>
                    <a:pt x="481986" y="32561"/>
                    <a:pt x="476577" y="30398"/>
                  </a:cubicBezTo>
                  <a:cubicBezTo>
                    <a:pt x="471169" y="27694"/>
                    <a:pt x="465219" y="26612"/>
                    <a:pt x="460352" y="24449"/>
                  </a:cubicBezTo>
                  <a:cubicBezTo>
                    <a:pt x="454943" y="22285"/>
                    <a:pt x="450075" y="18499"/>
                    <a:pt x="444667" y="16877"/>
                  </a:cubicBezTo>
                  <a:cubicBezTo>
                    <a:pt x="439258" y="14713"/>
                    <a:pt x="432768" y="15254"/>
                    <a:pt x="427360" y="13632"/>
                  </a:cubicBezTo>
                  <a:cubicBezTo>
                    <a:pt x="421951" y="12009"/>
                    <a:pt x="416002" y="10927"/>
                    <a:pt x="410593" y="9305"/>
                  </a:cubicBezTo>
                  <a:cubicBezTo>
                    <a:pt x="405185" y="8223"/>
                    <a:pt x="399776" y="4437"/>
                    <a:pt x="393826" y="3356"/>
                  </a:cubicBezTo>
                  <a:cubicBezTo>
                    <a:pt x="387877" y="2274"/>
                    <a:pt x="382469" y="1733"/>
                    <a:pt x="376519" y="1192"/>
                  </a:cubicBezTo>
                  <a:cubicBezTo>
                    <a:pt x="370570" y="651"/>
                    <a:pt x="365162" y="110"/>
                    <a:pt x="359212" y="110"/>
                  </a:cubicBezTo>
                  <a:cubicBezTo>
                    <a:pt x="353263" y="-430"/>
                    <a:pt x="347854" y="1192"/>
                    <a:pt x="341905" y="1192"/>
                  </a:cubicBezTo>
                  <a:cubicBezTo>
                    <a:pt x="335956" y="1192"/>
                    <a:pt x="330006" y="1192"/>
                    <a:pt x="324057" y="1192"/>
                  </a:cubicBezTo>
                  <a:cubicBezTo>
                    <a:pt x="318107" y="1733"/>
                    <a:pt x="312158" y="2274"/>
                    <a:pt x="306749" y="2815"/>
                  </a:cubicBezTo>
                  <a:cubicBezTo>
                    <a:pt x="300800" y="3356"/>
                    <a:pt x="294851" y="3896"/>
                    <a:pt x="289442" y="4978"/>
                  </a:cubicBezTo>
                  <a:cubicBezTo>
                    <a:pt x="283493" y="6060"/>
                    <a:pt x="277543" y="6060"/>
                    <a:pt x="272135" y="7682"/>
                  </a:cubicBezTo>
                  <a:cubicBezTo>
                    <a:pt x="266186" y="8764"/>
                    <a:pt x="260777" y="12009"/>
                    <a:pt x="255369" y="13632"/>
                  </a:cubicBezTo>
                  <a:cubicBezTo>
                    <a:pt x="249960" y="15254"/>
                    <a:pt x="244011" y="16336"/>
                    <a:pt x="238062" y="17958"/>
                  </a:cubicBezTo>
                  <a:cubicBezTo>
                    <a:pt x="232653" y="20122"/>
                    <a:pt x="227245" y="22826"/>
                    <a:pt x="221836" y="24990"/>
                  </a:cubicBezTo>
                  <a:cubicBezTo>
                    <a:pt x="216427" y="27153"/>
                    <a:pt x="211019" y="29857"/>
                    <a:pt x="206151" y="32561"/>
                  </a:cubicBezTo>
                  <a:cubicBezTo>
                    <a:pt x="200743" y="35266"/>
                    <a:pt x="194793" y="36347"/>
                    <a:pt x="189385" y="39052"/>
                  </a:cubicBezTo>
                  <a:cubicBezTo>
                    <a:pt x="184517" y="41756"/>
                    <a:pt x="179109" y="45001"/>
                    <a:pt x="174241" y="48246"/>
                  </a:cubicBezTo>
                  <a:cubicBezTo>
                    <a:pt x="169373" y="51491"/>
                    <a:pt x="164506" y="54736"/>
                    <a:pt x="159638" y="58522"/>
                  </a:cubicBezTo>
                  <a:cubicBezTo>
                    <a:pt x="154770" y="61767"/>
                    <a:pt x="150985" y="66635"/>
                    <a:pt x="146117" y="69880"/>
                  </a:cubicBezTo>
                  <a:cubicBezTo>
                    <a:pt x="141249" y="73666"/>
                    <a:pt x="137463" y="77452"/>
                    <a:pt x="133136" y="81779"/>
                  </a:cubicBezTo>
                  <a:cubicBezTo>
                    <a:pt x="128809" y="85565"/>
                    <a:pt x="123401" y="88810"/>
                    <a:pt x="119615" y="92596"/>
                  </a:cubicBezTo>
                  <a:cubicBezTo>
                    <a:pt x="115288" y="96923"/>
                    <a:pt x="112043" y="101250"/>
                    <a:pt x="107716" y="105576"/>
                  </a:cubicBezTo>
                  <a:cubicBezTo>
                    <a:pt x="103930" y="109903"/>
                    <a:pt x="99604" y="114230"/>
                    <a:pt x="95817" y="118557"/>
                  </a:cubicBezTo>
                  <a:cubicBezTo>
                    <a:pt x="92032" y="122884"/>
                    <a:pt x="87164" y="126670"/>
                    <a:pt x="83378" y="130996"/>
                  </a:cubicBezTo>
                  <a:cubicBezTo>
                    <a:pt x="79592" y="135864"/>
                    <a:pt x="75806" y="140191"/>
                    <a:pt x="72561" y="145059"/>
                  </a:cubicBezTo>
                  <a:cubicBezTo>
                    <a:pt x="69315" y="149926"/>
                    <a:pt x="67153" y="155335"/>
                    <a:pt x="63907" y="160203"/>
                  </a:cubicBezTo>
                  <a:cubicBezTo>
                    <a:pt x="60662" y="165070"/>
                    <a:pt x="56876" y="169938"/>
                    <a:pt x="54172" y="174805"/>
                  </a:cubicBezTo>
                  <a:cubicBezTo>
                    <a:pt x="51468" y="179673"/>
                    <a:pt x="48763" y="185082"/>
                    <a:pt x="46059" y="190490"/>
                  </a:cubicBezTo>
                  <a:cubicBezTo>
                    <a:pt x="43355" y="195899"/>
                    <a:pt x="41191" y="201307"/>
                    <a:pt x="38487" y="206175"/>
                  </a:cubicBezTo>
                  <a:cubicBezTo>
                    <a:pt x="35783" y="211583"/>
                    <a:pt x="33619" y="216992"/>
                    <a:pt x="31456" y="222400"/>
                  </a:cubicBezTo>
                  <a:cubicBezTo>
                    <a:pt x="29293" y="227809"/>
                    <a:pt x="26047" y="232677"/>
                    <a:pt x="23884" y="238626"/>
                  </a:cubicBezTo>
                  <a:cubicBezTo>
                    <a:pt x="21721" y="244035"/>
                    <a:pt x="21721" y="250525"/>
                    <a:pt x="20098" y="255933"/>
                  </a:cubicBezTo>
                  <a:cubicBezTo>
                    <a:pt x="18476" y="261342"/>
                    <a:pt x="16312" y="266750"/>
                    <a:pt x="14690" y="272700"/>
                  </a:cubicBezTo>
                  <a:cubicBezTo>
                    <a:pt x="13067" y="278108"/>
                    <a:pt x="12526" y="284058"/>
                    <a:pt x="11445" y="290007"/>
                  </a:cubicBezTo>
                  <a:cubicBezTo>
                    <a:pt x="10363" y="295956"/>
                    <a:pt x="8200" y="301365"/>
                    <a:pt x="7117" y="307314"/>
                  </a:cubicBezTo>
                  <a:cubicBezTo>
                    <a:pt x="6036" y="313264"/>
                    <a:pt x="6036" y="319213"/>
                    <a:pt x="4955" y="324621"/>
                  </a:cubicBezTo>
                  <a:cubicBezTo>
                    <a:pt x="4413" y="330571"/>
                    <a:pt x="3332" y="335979"/>
                    <a:pt x="2791" y="341929"/>
                  </a:cubicBezTo>
                  <a:cubicBezTo>
                    <a:pt x="2250" y="347878"/>
                    <a:pt x="628" y="353287"/>
                    <a:pt x="87" y="359236"/>
                  </a:cubicBezTo>
                  <a:cubicBezTo>
                    <a:pt x="-454" y="365185"/>
                    <a:pt x="1709" y="371135"/>
                    <a:pt x="1709" y="377084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1" name="Freeform: Shape 1320">
              <a:extLst>
                <a:ext uri="{FF2B5EF4-FFF2-40B4-BE49-F238E27FC236}">
                  <a16:creationId xmlns:a16="http://schemas.microsoft.com/office/drawing/2014/main" id="{CD04005A-134E-F27E-AB99-DF67FBDA4F53}"/>
                </a:ext>
              </a:extLst>
            </p:cNvPr>
            <p:cNvSpPr/>
            <p:nvPr/>
          </p:nvSpPr>
          <p:spPr>
            <a:xfrm>
              <a:off x="7804550" y="-555948"/>
              <a:ext cx="685910" cy="382382"/>
            </a:xfrm>
            <a:custGeom>
              <a:avLst/>
              <a:gdLst>
                <a:gd name="connsiteX0" fmla="*/ 684718 w 685910"/>
                <a:gd name="connsiteY0" fmla="*/ 369402 h 382382"/>
                <a:gd name="connsiteX1" fmla="*/ 685800 w 685910"/>
                <a:gd name="connsiteY1" fmla="*/ 351554 h 382382"/>
                <a:gd name="connsiteX2" fmla="*/ 682555 w 685910"/>
                <a:gd name="connsiteY2" fmla="*/ 333705 h 382382"/>
                <a:gd name="connsiteX3" fmla="*/ 682014 w 685910"/>
                <a:gd name="connsiteY3" fmla="*/ 315857 h 382382"/>
                <a:gd name="connsiteX4" fmla="*/ 676605 w 685910"/>
                <a:gd name="connsiteY4" fmla="*/ 298550 h 382382"/>
                <a:gd name="connsiteX5" fmla="*/ 672820 w 685910"/>
                <a:gd name="connsiteY5" fmla="*/ 281243 h 382382"/>
                <a:gd name="connsiteX6" fmla="*/ 669574 w 685910"/>
                <a:gd name="connsiteY6" fmla="*/ 263395 h 382382"/>
                <a:gd name="connsiteX7" fmla="*/ 664707 w 685910"/>
                <a:gd name="connsiteY7" fmla="*/ 246088 h 382382"/>
                <a:gd name="connsiteX8" fmla="*/ 658216 w 685910"/>
                <a:gd name="connsiteY8" fmla="*/ 229321 h 382382"/>
                <a:gd name="connsiteX9" fmla="*/ 651186 w 685910"/>
                <a:gd name="connsiteY9" fmla="*/ 213096 h 382382"/>
                <a:gd name="connsiteX10" fmla="*/ 644695 w 685910"/>
                <a:gd name="connsiteY10" fmla="*/ 196329 h 382382"/>
                <a:gd name="connsiteX11" fmla="*/ 635501 w 685910"/>
                <a:gd name="connsiteY11" fmla="*/ 180644 h 382382"/>
                <a:gd name="connsiteX12" fmla="*/ 626306 w 685910"/>
                <a:gd name="connsiteY12" fmla="*/ 164960 h 382382"/>
                <a:gd name="connsiteX13" fmla="*/ 616030 w 685910"/>
                <a:gd name="connsiteY13" fmla="*/ 150357 h 382382"/>
                <a:gd name="connsiteX14" fmla="*/ 605754 w 685910"/>
                <a:gd name="connsiteY14" fmla="*/ 135754 h 382382"/>
                <a:gd name="connsiteX15" fmla="*/ 593855 w 685910"/>
                <a:gd name="connsiteY15" fmla="*/ 122232 h 382382"/>
                <a:gd name="connsiteX16" fmla="*/ 581956 w 685910"/>
                <a:gd name="connsiteY16" fmla="*/ 108711 h 382382"/>
                <a:gd name="connsiteX17" fmla="*/ 568976 w 685910"/>
                <a:gd name="connsiteY17" fmla="*/ 96272 h 382382"/>
                <a:gd name="connsiteX18" fmla="*/ 555995 w 685910"/>
                <a:gd name="connsiteY18" fmla="*/ 83832 h 382382"/>
                <a:gd name="connsiteX19" fmla="*/ 541933 w 685910"/>
                <a:gd name="connsiteY19" fmla="*/ 72474 h 382382"/>
                <a:gd name="connsiteX20" fmla="*/ 527871 w 685910"/>
                <a:gd name="connsiteY20" fmla="*/ 61116 h 382382"/>
                <a:gd name="connsiteX21" fmla="*/ 513268 w 685910"/>
                <a:gd name="connsiteY21" fmla="*/ 50840 h 382382"/>
                <a:gd name="connsiteX22" fmla="*/ 497584 w 685910"/>
                <a:gd name="connsiteY22" fmla="*/ 42186 h 382382"/>
                <a:gd name="connsiteX23" fmla="*/ 482440 w 685910"/>
                <a:gd name="connsiteY23" fmla="*/ 32451 h 382382"/>
                <a:gd name="connsiteX24" fmla="*/ 465133 w 685910"/>
                <a:gd name="connsiteY24" fmla="*/ 27043 h 382382"/>
                <a:gd name="connsiteX25" fmla="*/ 448907 w 685910"/>
                <a:gd name="connsiteY25" fmla="*/ 18389 h 382382"/>
                <a:gd name="connsiteX26" fmla="*/ 431599 w 685910"/>
                <a:gd name="connsiteY26" fmla="*/ 12980 h 382382"/>
                <a:gd name="connsiteX27" fmla="*/ 414292 w 685910"/>
                <a:gd name="connsiteY27" fmla="*/ 8113 h 382382"/>
                <a:gd name="connsiteX28" fmla="*/ 396444 w 685910"/>
                <a:gd name="connsiteY28" fmla="*/ 5409 h 382382"/>
                <a:gd name="connsiteX29" fmla="*/ 378596 w 685910"/>
                <a:gd name="connsiteY29" fmla="*/ 3786 h 382382"/>
                <a:gd name="connsiteX30" fmla="*/ 360748 w 685910"/>
                <a:gd name="connsiteY30" fmla="*/ 1082 h 382382"/>
                <a:gd name="connsiteX31" fmla="*/ 342900 w 685910"/>
                <a:gd name="connsiteY31" fmla="*/ 0 h 382382"/>
                <a:gd name="connsiteX32" fmla="*/ 325052 w 685910"/>
                <a:gd name="connsiteY32" fmla="*/ 2163 h 382382"/>
                <a:gd name="connsiteX33" fmla="*/ 307203 w 685910"/>
                <a:gd name="connsiteY33" fmla="*/ 3786 h 382382"/>
                <a:gd name="connsiteX34" fmla="*/ 289356 w 685910"/>
                <a:gd name="connsiteY34" fmla="*/ 4327 h 382382"/>
                <a:gd name="connsiteX35" fmla="*/ 272048 w 685910"/>
                <a:gd name="connsiteY35" fmla="*/ 8653 h 382382"/>
                <a:gd name="connsiteX36" fmla="*/ 255282 w 685910"/>
                <a:gd name="connsiteY36" fmla="*/ 14603 h 382382"/>
                <a:gd name="connsiteX37" fmla="*/ 237975 w 685910"/>
                <a:gd name="connsiteY37" fmla="*/ 18930 h 382382"/>
                <a:gd name="connsiteX38" fmla="*/ 221209 w 685910"/>
                <a:gd name="connsiteY38" fmla="*/ 24338 h 382382"/>
                <a:gd name="connsiteX39" fmla="*/ 204983 w 685910"/>
                <a:gd name="connsiteY39" fmla="*/ 31910 h 382382"/>
                <a:gd name="connsiteX40" fmla="*/ 189839 w 685910"/>
                <a:gd name="connsiteY40" fmla="*/ 41105 h 382382"/>
                <a:gd name="connsiteX41" fmla="*/ 175236 w 685910"/>
                <a:gd name="connsiteY41" fmla="*/ 51381 h 382382"/>
                <a:gd name="connsiteX42" fmla="*/ 159011 w 685910"/>
                <a:gd name="connsiteY42" fmla="*/ 59494 h 382382"/>
                <a:gd name="connsiteX43" fmla="*/ 144948 w 685910"/>
                <a:gd name="connsiteY43" fmla="*/ 70311 h 382382"/>
                <a:gd name="connsiteX44" fmla="*/ 130886 w 685910"/>
                <a:gd name="connsiteY44" fmla="*/ 81128 h 382382"/>
                <a:gd name="connsiteX45" fmla="*/ 117905 w 685910"/>
                <a:gd name="connsiteY45" fmla="*/ 93567 h 382382"/>
                <a:gd name="connsiteX46" fmla="*/ 105466 w 685910"/>
                <a:gd name="connsiteY46" fmla="*/ 106007 h 382382"/>
                <a:gd name="connsiteX47" fmla="*/ 95190 w 685910"/>
                <a:gd name="connsiteY47" fmla="*/ 120610 h 382382"/>
                <a:gd name="connsiteX48" fmla="*/ 82750 w 685910"/>
                <a:gd name="connsiteY48" fmla="*/ 133590 h 382382"/>
                <a:gd name="connsiteX49" fmla="*/ 72474 w 685910"/>
                <a:gd name="connsiteY49" fmla="*/ 148193 h 382382"/>
                <a:gd name="connsiteX50" fmla="*/ 62739 w 685910"/>
                <a:gd name="connsiteY50" fmla="*/ 163337 h 382382"/>
                <a:gd name="connsiteX51" fmla="*/ 52462 w 685910"/>
                <a:gd name="connsiteY51" fmla="*/ 177940 h 382382"/>
                <a:gd name="connsiteX52" fmla="*/ 45972 w 685910"/>
                <a:gd name="connsiteY52" fmla="*/ 194707 h 382382"/>
                <a:gd name="connsiteX53" fmla="*/ 37860 w 685910"/>
                <a:gd name="connsiteY53" fmla="*/ 210391 h 382382"/>
                <a:gd name="connsiteX54" fmla="*/ 30828 w 685910"/>
                <a:gd name="connsiteY54" fmla="*/ 226617 h 382382"/>
                <a:gd name="connsiteX55" fmla="*/ 23256 w 685910"/>
                <a:gd name="connsiteY55" fmla="*/ 242842 h 382382"/>
                <a:gd name="connsiteX56" fmla="*/ 17307 w 685910"/>
                <a:gd name="connsiteY56" fmla="*/ 259609 h 382382"/>
                <a:gd name="connsiteX57" fmla="*/ 11898 w 685910"/>
                <a:gd name="connsiteY57" fmla="*/ 276375 h 382382"/>
                <a:gd name="connsiteX58" fmla="*/ 9735 w 685910"/>
                <a:gd name="connsiteY58" fmla="*/ 294223 h 382382"/>
                <a:gd name="connsiteX59" fmla="*/ 6490 w 685910"/>
                <a:gd name="connsiteY59" fmla="*/ 311530 h 382382"/>
                <a:gd name="connsiteX60" fmla="*/ 4326 w 685910"/>
                <a:gd name="connsiteY60" fmla="*/ 328838 h 382382"/>
                <a:gd name="connsiteX61" fmla="*/ 2704 w 685910"/>
                <a:gd name="connsiteY61" fmla="*/ 346686 h 382382"/>
                <a:gd name="connsiteX62" fmla="*/ 1081 w 685910"/>
                <a:gd name="connsiteY62" fmla="*/ 364534 h 382382"/>
                <a:gd name="connsiteX63" fmla="*/ 0 w 685910"/>
                <a:gd name="connsiteY63" fmla="*/ 382382 h 3823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685910" h="382382">
                  <a:moveTo>
                    <a:pt x="684718" y="369402"/>
                  </a:moveTo>
                  <a:cubicBezTo>
                    <a:pt x="684718" y="363452"/>
                    <a:pt x="686341" y="357503"/>
                    <a:pt x="685800" y="351554"/>
                  </a:cubicBezTo>
                  <a:cubicBezTo>
                    <a:pt x="685259" y="345604"/>
                    <a:pt x="683095" y="339655"/>
                    <a:pt x="682555" y="333705"/>
                  </a:cubicBezTo>
                  <a:cubicBezTo>
                    <a:pt x="682014" y="327756"/>
                    <a:pt x="683095" y="321266"/>
                    <a:pt x="682014" y="315857"/>
                  </a:cubicBezTo>
                  <a:cubicBezTo>
                    <a:pt x="680933" y="309908"/>
                    <a:pt x="677687" y="304499"/>
                    <a:pt x="676605" y="298550"/>
                  </a:cubicBezTo>
                  <a:cubicBezTo>
                    <a:pt x="675524" y="292601"/>
                    <a:pt x="674442" y="286651"/>
                    <a:pt x="672820" y="281243"/>
                  </a:cubicBezTo>
                  <a:cubicBezTo>
                    <a:pt x="671197" y="275294"/>
                    <a:pt x="671197" y="269344"/>
                    <a:pt x="669574" y="263395"/>
                  </a:cubicBezTo>
                  <a:cubicBezTo>
                    <a:pt x="667952" y="257445"/>
                    <a:pt x="666329" y="251496"/>
                    <a:pt x="664707" y="246088"/>
                  </a:cubicBezTo>
                  <a:cubicBezTo>
                    <a:pt x="662543" y="240138"/>
                    <a:pt x="660380" y="234730"/>
                    <a:pt x="658216" y="229321"/>
                  </a:cubicBezTo>
                  <a:cubicBezTo>
                    <a:pt x="656053" y="223913"/>
                    <a:pt x="653349" y="218504"/>
                    <a:pt x="651186" y="213096"/>
                  </a:cubicBezTo>
                  <a:cubicBezTo>
                    <a:pt x="648481" y="207687"/>
                    <a:pt x="647399" y="201738"/>
                    <a:pt x="644695" y="196329"/>
                  </a:cubicBezTo>
                  <a:cubicBezTo>
                    <a:pt x="641991" y="190921"/>
                    <a:pt x="638205" y="186053"/>
                    <a:pt x="635501" y="180644"/>
                  </a:cubicBezTo>
                  <a:cubicBezTo>
                    <a:pt x="632797" y="175236"/>
                    <a:pt x="629552" y="170368"/>
                    <a:pt x="626306" y="164960"/>
                  </a:cubicBezTo>
                  <a:cubicBezTo>
                    <a:pt x="623061" y="160092"/>
                    <a:pt x="619275" y="155224"/>
                    <a:pt x="616030" y="150357"/>
                  </a:cubicBezTo>
                  <a:cubicBezTo>
                    <a:pt x="612785" y="145489"/>
                    <a:pt x="609540" y="140081"/>
                    <a:pt x="605754" y="135754"/>
                  </a:cubicBezTo>
                  <a:cubicBezTo>
                    <a:pt x="601968" y="130886"/>
                    <a:pt x="597641" y="126559"/>
                    <a:pt x="593855" y="122232"/>
                  </a:cubicBezTo>
                  <a:cubicBezTo>
                    <a:pt x="590069" y="117365"/>
                    <a:pt x="586283" y="113038"/>
                    <a:pt x="581956" y="108711"/>
                  </a:cubicBezTo>
                  <a:cubicBezTo>
                    <a:pt x="577629" y="104384"/>
                    <a:pt x="573303" y="100598"/>
                    <a:pt x="568976" y="96272"/>
                  </a:cubicBezTo>
                  <a:cubicBezTo>
                    <a:pt x="564649" y="91945"/>
                    <a:pt x="560322" y="87618"/>
                    <a:pt x="555995" y="83832"/>
                  </a:cubicBezTo>
                  <a:cubicBezTo>
                    <a:pt x="551669" y="80046"/>
                    <a:pt x="546801" y="76260"/>
                    <a:pt x="541933" y="72474"/>
                  </a:cubicBezTo>
                  <a:cubicBezTo>
                    <a:pt x="537065" y="68688"/>
                    <a:pt x="532739" y="64902"/>
                    <a:pt x="527871" y="61116"/>
                  </a:cubicBezTo>
                  <a:cubicBezTo>
                    <a:pt x="523003" y="57871"/>
                    <a:pt x="518136" y="54085"/>
                    <a:pt x="513268" y="50840"/>
                  </a:cubicBezTo>
                  <a:cubicBezTo>
                    <a:pt x="508401" y="47595"/>
                    <a:pt x="502992" y="44891"/>
                    <a:pt x="497584" y="42186"/>
                  </a:cubicBezTo>
                  <a:cubicBezTo>
                    <a:pt x="492175" y="39482"/>
                    <a:pt x="487848" y="35155"/>
                    <a:pt x="482440" y="32451"/>
                  </a:cubicBezTo>
                  <a:cubicBezTo>
                    <a:pt x="477031" y="29747"/>
                    <a:pt x="470541" y="29206"/>
                    <a:pt x="465133" y="27043"/>
                  </a:cubicBezTo>
                  <a:cubicBezTo>
                    <a:pt x="459724" y="24879"/>
                    <a:pt x="454856" y="20552"/>
                    <a:pt x="448907" y="18389"/>
                  </a:cubicBezTo>
                  <a:cubicBezTo>
                    <a:pt x="443498" y="16226"/>
                    <a:pt x="437549" y="14603"/>
                    <a:pt x="431599" y="12980"/>
                  </a:cubicBezTo>
                  <a:cubicBezTo>
                    <a:pt x="425650" y="11358"/>
                    <a:pt x="420242" y="9194"/>
                    <a:pt x="414292" y="8113"/>
                  </a:cubicBezTo>
                  <a:cubicBezTo>
                    <a:pt x="408343" y="6490"/>
                    <a:pt x="402394" y="6490"/>
                    <a:pt x="396444" y="5409"/>
                  </a:cubicBezTo>
                  <a:cubicBezTo>
                    <a:pt x="390495" y="4327"/>
                    <a:pt x="384545" y="4327"/>
                    <a:pt x="378596" y="3786"/>
                  </a:cubicBezTo>
                  <a:cubicBezTo>
                    <a:pt x="372647" y="3245"/>
                    <a:pt x="366697" y="1082"/>
                    <a:pt x="360748" y="1082"/>
                  </a:cubicBezTo>
                  <a:cubicBezTo>
                    <a:pt x="354799" y="541"/>
                    <a:pt x="348849" y="0"/>
                    <a:pt x="342900" y="0"/>
                  </a:cubicBezTo>
                  <a:cubicBezTo>
                    <a:pt x="336950" y="0"/>
                    <a:pt x="331001" y="1622"/>
                    <a:pt x="325052" y="2163"/>
                  </a:cubicBezTo>
                  <a:cubicBezTo>
                    <a:pt x="319103" y="2704"/>
                    <a:pt x="313153" y="3245"/>
                    <a:pt x="307203" y="3786"/>
                  </a:cubicBezTo>
                  <a:cubicBezTo>
                    <a:pt x="301254" y="4327"/>
                    <a:pt x="295305" y="3245"/>
                    <a:pt x="289356" y="4327"/>
                  </a:cubicBezTo>
                  <a:cubicBezTo>
                    <a:pt x="283406" y="5409"/>
                    <a:pt x="277998" y="7031"/>
                    <a:pt x="272048" y="8653"/>
                  </a:cubicBezTo>
                  <a:cubicBezTo>
                    <a:pt x="266099" y="9735"/>
                    <a:pt x="260690" y="12980"/>
                    <a:pt x="255282" y="14603"/>
                  </a:cubicBezTo>
                  <a:cubicBezTo>
                    <a:pt x="249333" y="16226"/>
                    <a:pt x="243383" y="16766"/>
                    <a:pt x="237975" y="18930"/>
                  </a:cubicBezTo>
                  <a:cubicBezTo>
                    <a:pt x="232566" y="21093"/>
                    <a:pt x="226617" y="22175"/>
                    <a:pt x="221209" y="24338"/>
                  </a:cubicBezTo>
                  <a:cubicBezTo>
                    <a:pt x="215800" y="26502"/>
                    <a:pt x="210391" y="29206"/>
                    <a:pt x="204983" y="31910"/>
                  </a:cubicBezTo>
                  <a:cubicBezTo>
                    <a:pt x="199574" y="34614"/>
                    <a:pt x="194707" y="38400"/>
                    <a:pt x="189839" y="41105"/>
                  </a:cubicBezTo>
                  <a:cubicBezTo>
                    <a:pt x="184430" y="43809"/>
                    <a:pt x="180103" y="48136"/>
                    <a:pt x="175236" y="51381"/>
                  </a:cubicBezTo>
                  <a:cubicBezTo>
                    <a:pt x="170368" y="54626"/>
                    <a:pt x="163878" y="55708"/>
                    <a:pt x="159011" y="59494"/>
                  </a:cubicBezTo>
                  <a:cubicBezTo>
                    <a:pt x="154143" y="62739"/>
                    <a:pt x="149816" y="67066"/>
                    <a:pt x="144948" y="70311"/>
                  </a:cubicBezTo>
                  <a:cubicBezTo>
                    <a:pt x="140081" y="74097"/>
                    <a:pt x="135213" y="77342"/>
                    <a:pt x="130886" y="81128"/>
                  </a:cubicBezTo>
                  <a:cubicBezTo>
                    <a:pt x="126559" y="84914"/>
                    <a:pt x="122232" y="89241"/>
                    <a:pt x="117905" y="93567"/>
                  </a:cubicBezTo>
                  <a:cubicBezTo>
                    <a:pt x="113579" y="97894"/>
                    <a:pt x="109252" y="101680"/>
                    <a:pt x="105466" y="106007"/>
                  </a:cubicBezTo>
                  <a:cubicBezTo>
                    <a:pt x="101680" y="110334"/>
                    <a:pt x="98975" y="116283"/>
                    <a:pt x="95190" y="120610"/>
                  </a:cubicBezTo>
                  <a:cubicBezTo>
                    <a:pt x="91404" y="124937"/>
                    <a:pt x="86536" y="128723"/>
                    <a:pt x="82750" y="133590"/>
                  </a:cubicBezTo>
                  <a:cubicBezTo>
                    <a:pt x="78964" y="138458"/>
                    <a:pt x="75719" y="143326"/>
                    <a:pt x="72474" y="148193"/>
                  </a:cubicBezTo>
                  <a:cubicBezTo>
                    <a:pt x="69229" y="153061"/>
                    <a:pt x="65984" y="157929"/>
                    <a:pt x="62739" y="163337"/>
                  </a:cubicBezTo>
                  <a:cubicBezTo>
                    <a:pt x="59494" y="168205"/>
                    <a:pt x="55167" y="172532"/>
                    <a:pt x="52462" y="177940"/>
                  </a:cubicBezTo>
                  <a:cubicBezTo>
                    <a:pt x="49758" y="182808"/>
                    <a:pt x="48677" y="189298"/>
                    <a:pt x="45972" y="194707"/>
                  </a:cubicBezTo>
                  <a:cubicBezTo>
                    <a:pt x="43268" y="200115"/>
                    <a:pt x="40023" y="204983"/>
                    <a:pt x="37860" y="210391"/>
                  </a:cubicBezTo>
                  <a:cubicBezTo>
                    <a:pt x="35155" y="215800"/>
                    <a:pt x="33533" y="221208"/>
                    <a:pt x="30828" y="226617"/>
                  </a:cubicBezTo>
                  <a:cubicBezTo>
                    <a:pt x="28665" y="232025"/>
                    <a:pt x="25420" y="237434"/>
                    <a:pt x="23256" y="242842"/>
                  </a:cubicBezTo>
                  <a:cubicBezTo>
                    <a:pt x="21093" y="248251"/>
                    <a:pt x="18930" y="254200"/>
                    <a:pt x="17307" y="259609"/>
                  </a:cubicBezTo>
                  <a:cubicBezTo>
                    <a:pt x="15685" y="265017"/>
                    <a:pt x="13521" y="270967"/>
                    <a:pt x="11898" y="276375"/>
                  </a:cubicBezTo>
                  <a:cubicBezTo>
                    <a:pt x="10276" y="282325"/>
                    <a:pt x="10817" y="288274"/>
                    <a:pt x="9735" y="294223"/>
                  </a:cubicBezTo>
                  <a:cubicBezTo>
                    <a:pt x="8653" y="300173"/>
                    <a:pt x="7572" y="305581"/>
                    <a:pt x="6490" y="311530"/>
                  </a:cubicBezTo>
                  <a:cubicBezTo>
                    <a:pt x="5409" y="317480"/>
                    <a:pt x="4868" y="323429"/>
                    <a:pt x="4326" y="328838"/>
                  </a:cubicBezTo>
                  <a:cubicBezTo>
                    <a:pt x="3786" y="334787"/>
                    <a:pt x="3245" y="340737"/>
                    <a:pt x="2704" y="346686"/>
                  </a:cubicBezTo>
                  <a:cubicBezTo>
                    <a:pt x="2164" y="352635"/>
                    <a:pt x="1081" y="358585"/>
                    <a:pt x="1081" y="364534"/>
                  </a:cubicBezTo>
                  <a:cubicBezTo>
                    <a:pt x="1081" y="370483"/>
                    <a:pt x="0" y="376433"/>
                    <a:pt x="0" y="382382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2" name="Freeform: Shape 1321">
              <a:extLst>
                <a:ext uri="{FF2B5EF4-FFF2-40B4-BE49-F238E27FC236}">
                  <a16:creationId xmlns:a16="http://schemas.microsoft.com/office/drawing/2014/main" id="{850EB3A1-943A-45C5-3634-EA56A6EA9465}"/>
                </a:ext>
              </a:extLst>
            </p:cNvPr>
            <p:cNvSpPr/>
            <p:nvPr/>
          </p:nvSpPr>
          <p:spPr>
            <a:xfrm>
              <a:off x="8450868" y="-202231"/>
              <a:ext cx="176317" cy="90863"/>
            </a:xfrm>
            <a:custGeom>
              <a:avLst/>
              <a:gdLst>
                <a:gd name="connsiteX0" fmla="*/ 176318 w 176317"/>
                <a:gd name="connsiteY0" fmla="*/ 68688 h 90863"/>
                <a:gd name="connsiteX1" fmla="*/ 171450 w 176317"/>
                <a:gd name="connsiteY1" fmla="*/ 52463 h 90863"/>
                <a:gd name="connsiteX2" fmla="*/ 162796 w 176317"/>
                <a:gd name="connsiteY2" fmla="*/ 37860 h 90863"/>
                <a:gd name="connsiteX3" fmla="*/ 151438 w 176317"/>
                <a:gd name="connsiteY3" fmla="*/ 25420 h 90863"/>
                <a:gd name="connsiteX4" fmla="*/ 138458 w 176317"/>
                <a:gd name="connsiteY4" fmla="*/ 14603 h 90863"/>
                <a:gd name="connsiteX5" fmla="*/ 122773 w 176317"/>
                <a:gd name="connsiteY5" fmla="*/ 8113 h 90863"/>
                <a:gd name="connsiteX6" fmla="*/ 107088 w 176317"/>
                <a:gd name="connsiteY6" fmla="*/ 2704 h 90863"/>
                <a:gd name="connsiteX7" fmla="*/ 90322 w 176317"/>
                <a:gd name="connsiteY7" fmla="*/ 0 h 90863"/>
                <a:gd name="connsiteX8" fmla="*/ 72474 w 176317"/>
                <a:gd name="connsiteY8" fmla="*/ 1622 h 90863"/>
                <a:gd name="connsiteX9" fmla="*/ 55707 w 176317"/>
                <a:gd name="connsiteY9" fmla="*/ 8654 h 90863"/>
                <a:gd name="connsiteX10" fmla="*/ 40564 w 176317"/>
                <a:gd name="connsiteY10" fmla="*/ 17307 h 90863"/>
                <a:gd name="connsiteX11" fmla="*/ 25420 w 176317"/>
                <a:gd name="connsiteY11" fmla="*/ 27043 h 90863"/>
                <a:gd name="connsiteX12" fmla="*/ 15685 w 176317"/>
                <a:gd name="connsiteY12" fmla="*/ 41645 h 90863"/>
                <a:gd name="connsiteX13" fmla="*/ 5949 w 176317"/>
                <a:gd name="connsiteY13" fmla="*/ 56249 h 90863"/>
                <a:gd name="connsiteX14" fmla="*/ 2704 w 176317"/>
                <a:gd name="connsiteY14" fmla="*/ 73556 h 90863"/>
                <a:gd name="connsiteX15" fmla="*/ 0 w 176317"/>
                <a:gd name="connsiteY15" fmla="*/ 90863 h 90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6317" h="90863">
                  <a:moveTo>
                    <a:pt x="176318" y="68688"/>
                  </a:moveTo>
                  <a:cubicBezTo>
                    <a:pt x="174695" y="63280"/>
                    <a:pt x="173613" y="57871"/>
                    <a:pt x="171450" y="52463"/>
                  </a:cubicBezTo>
                  <a:cubicBezTo>
                    <a:pt x="168745" y="47595"/>
                    <a:pt x="166041" y="42727"/>
                    <a:pt x="162796" y="37860"/>
                  </a:cubicBezTo>
                  <a:cubicBezTo>
                    <a:pt x="159551" y="33533"/>
                    <a:pt x="155765" y="29206"/>
                    <a:pt x="151438" y="25420"/>
                  </a:cubicBezTo>
                  <a:cubicBezTo>
                    <a:pt x="147111" y="21634"/>
                    <a:pt x="143326" y="17848"/>
                    <a:pt x="138458" y="14603"/>
                  </a:cubicBezTo>
                  <a:cubicBezTo>
                    <a:pt x="133590" y="11358"/>
                    <a:pt x="128182" y="9735"/>
                    <a:pt x="122773" y="8113"/>
                  </a:cubicBezTo>
                  <a:cubicBezTo>
                    <a:pt x="117365" y="5949"/>
                    <a:pt x="112497" y="3786"/>
                    <a:pt x="107088" y="2704"/>
                  </a:cubicBezTo>
                  <a:cubicBezTo>
                    <a:pt x="101680" y="1622"/>
                    <a:pt x="96271" y="0"/>
                    <a:pt x="90322" y="0"/>
                  </a:cubicBezTo>
                  <a:cubicBezTo>
                    <a:pt x="84373" y="0"/>
                    <a:pt x="78424" y="541"/>
                    <a:pt x="72474" y="1622"/>
                  </a:cubicBezTo>
                  <a:cubicBezTo>
                    <a:pt x="66524" y="2704"/>
                    <a:pt x="61657" y="6490"/>
                    <a:pt x="55707" y="8654"/>
                  </a:cubicBezTo>
                  <a:cubicBezTo>
                    <a:pt x="50299" y="10817"/>
                    <a:pt x="45432" y="14062"/>
                    <a:pt x="40564" y="17307"/>
                  </a:cubicBezTo>
                  <a:cubicBezTo>
                    <a:pt x="35696" y="20552"/>
                    <a:pt x="29747" y="22716"/>
                    <a:pt x="25420" y="27043"/>
                  </a:cubicBezTo>
                  <a:cubicBezTo>
                    <a:pt x="21093" y="31369"/>
                    <a:pt x="18930" y="36778"/>
                    <a:pt x="15685" y="41645"/>
                  </a:cubicBezTo>
                  <a:cubicBezTo>
                    <a:pt x="12439" y="46513"/>
                    <a:pt x="8113" y="50840"/>
                    <a:pt x="5949" y="56249"/>
                  </a:cubicBezTo>
                  <a:cubicBezTo>
                    <a:pt x="3786" y="61657"/>
                    <a:pt x="3786" y="68147"/>
                    <a:pt x="2704" y="73556"/>
                  </a:cubicBezTo>
                  <a:cubicBezTo>
                    <a:pt x="1622" y="79505"/>
                    <a:pt x="0" y="84914"/>
                    <a:pt x="0" y="90863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3" name="Freeform: Shape 1322">
              <a:extLst>
                <a:ext uri="{FF2B5EF4-FFF2-40B4-BE49-F238E27FC236}">
                  <a16:creationId xmlns:a16="http://schemas.microsoft.com/office/drawing/2014/main" id="{519EF472-92FB-4499-2F68-9A2FDA3103AD}"/>
                </a:ext>
              </a:extLst>
            </p:cNvPr>
            <p:cNvSpPr/>
            <p:nvPr/>
          </p:nvSpPr>
          <p:spPr>
            <a:xfrm>
              <a:off x="8591490" y="-134194"/>
              <a:ext cx="361829" cy="360317"/>
            </a:xfrm>
            <a:custGeom>
              <a:avLst/>
              <a:gdLst>
                <a:gd name="connsiteX0" fmla="*/ 361830 w 361829"/>
                <a:gd name="connsiteY0" fmla="*/ 360318 h 360317"/>
                <a:gd name="connsiteX1" fmla="*/ 360748 w 361829"/>
                <a:gd name="connsiteY1" fmla="*/ 342469 h 360317"/>
                <a:gd name="connsiteX2" fmla="*/ 359126 w 361829"/>
                <a:gd name="connsiteY2" fmla="*/ 324621 h 360317"/>
                <a:gd name="connsiteX3" fmla="*/ 356421 w 361829"/>
                <a:gd name="connsiteY3" fmla="*/ 307314 h 360317"/>
                <a:gd name="connsiteX4" fmla="*/ 354799 w 361829"/>
                <a:gd name="connsiteY4" fmla="*/ 289466 h 360317"/>
                <a:gd name="connsiteX5" fmla="*/ 349390 w 361829"/>
                <a:gd name="connsiteY5" fmla="*/ 272700 h 360317"/>
                <a:gd name="connsiteX6" fmla="*/ 345604 w 361829"/>
                <a:gd name="connsiteY6" fmla="*/ 255392 h 360317"/>
                <a:gd name="connsiteX7" fmla="*/ 340196 w 361829"/>
                <a:gd name="connsiteY7" fmla="*/ 238626 h 360317"/>
                <a:gd name="connsiteX8" fmla="*/ 333705 w 361829"/>
                <a:gd name="connsiteY8" fmla="*/ 221860 h 360317"/>
                <a:gd name="connsiteX9" fmla="*/ 326133 w 361829"/>
                <a:gd name="connsiteY9" fmla="*/ 205634 h 360317"/>
                <a:gd name="connsiteX10" fmla="*/ 318562 w 361829"/>
                <a:gd name="connsiteY10" fmla="*/ 189949 h 360317"/>
                <a:gd name="connsiteX11" fmla="*/ 309367 w 361829"/>
                <a:gd name="connsiteY11" fmla="*/ 174805 h 360317"/>
                <a:gd name="connsiteX12" fmla="*/ 300173 w 361829"/>
                <a:gd name="connsiteY12" fmla="*/ 159662 h 360317"/>
                <a:gd name="connsiteX13" fmla="*/ 288815 w 361829"/>
                <a:gd name="connsiteY13" fmla="*/ 146140 h 360317"/>
                <a:gd name="connsiteX14" fmla="*/ 278539 w 361829"/>
                <a:gd name="connsiteY14" fmla="*/ 131537 h 360317"/>
                <a:gd name="connsiteX15" fmla="*/ 267181 w 361829"/>
                <a:gd name="connsiteY15" fmla="*/ 117475 h 360317"/>
                <a:gd name="connsiteX16" fmla="*/ 255282 w 361829"/>
                <a:gd name="connsiteY16" fmla="*/ 104495 h 360317"/>
                <a:gd name="connsiteX17" fmla="*/ 240679 w 361829"/>
                <a:gd name="connsiteY17" fmla="*/ 94219 h 360317"/>
                <a:gd name="connsiteX18" fmla="*/ 227698 w 361829"/>
                <a:gd name="connsiteY18" fmla="*/ 82320 h 360317"/>
                <a:gd name="connsiteX19" fmla="*/ 214177 w 361829"/>
                <a:gd name="connsiteY19" fmla="*/ 70962 h 360317"/>
                <a:gd name="connsiteX20" fmla="*/ 200115 w 361829"/>
                <a:gd name="connsiteY20" fmla="*/ 60145 h 360317"/>
                <a:gd name="connsiteX21" fmla="*/ 184971 w 361829"/>
                <a:gd name="connsiteY21" fmla="*/ 51491 h 360317"/>
                <a:gd name="connsiteX22" fmla="*/ 170368 w 361829"/>
                <a:gd name="connsiteY22" fmla="*/ 41756 h 360317"/>
                <a:gd name="connsiteX23" fmla="*/ 153602 w 361829"/>
                <a:gd name="connsiteY23" fmla="*/ 35806 h 360317"/>
                <a:gd name="connsiteX24" fmla="*/ 137917 w 361829"/>
                <a:gd name="connsiteY24" fmla="*/ 27694 h 360317"/>
                <a:gd name="connsiteX25" fmla="*/ 122232 w 361829"/>
                <a:gd name="connsiteY25" fmla="*/ 19581 h 360317"/>
                <a:gd name="connsiteX26" fmla="*/ 104925 w 361829"/>
                <a:gd name="connsiteY26" fmla="*/ 15795 h 360317"/>
                <a:gd name="connsiteX27" fmla="*/ 88158 w 361829"/>
                <a:gd name="connsiteY27" fmla="*/ 10927 h 360317"/>
                <a:gd name="connsiteX28" fmla="*/ 70851 w 361829"/>
                <a:gd name="connsiteY28" fmla="*/ 8223 h 360317"/>
                <a:gd name="connsiteX29" fmla="*/ 53544 w 361829"/>
                <a:gd name="connsiteY29" fmla="*/ 2815 h 360317"/>
                <a:gd name="connsiteX30" fmla="*/ 35696 w 361829"/>
                <a:gd name="connsiteY30" fmla="*/ 651 h 360317"/>
                <a:gd name="connsiteX31" fmla="*/ 17848 w 361829"/>
                <a:gd name="connsiteY31" fmla="*/ 110 h 360317"/>
                <a:gd name="connsiteX32" fmla="*/ 0 w 361829"/>
                <a:gd name="connsiteY32" fmla="*/ 1192 h 3603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361829" h="360317">
                  <a:moveTo>
                    <a:pt x="361830" y="360318"/>
                  </a:moveTo>
                  <a:cubicBezTo>
                    <a:pt x="361830" y="354368"/>
                    <a:pt x="361289" y="348419"/>
                    <a:pt x="360748" y="342469"/>
                  </a:cubicBezTo>
                  <a:cubicBezTo>
                    <a:pt x="360207" y="336520"/>
                    <a:pt x="359666" y="330571"/>
                    <a:pt x="359126" y="324621"/>
                  </a:cubicBezTo>
                  <a:cubicBezTo>
                    <a:pt x="358584" y="318672"/>
                    <a:pt x="357503" y="312723"/>
                    <a:pt x="356421" y="307314"/>
                  </a:cubicBezTo>
                  <a:cubicBezTo>
                    <a:pt x="355339" y="301365"/>
                    <a:pt x="355880" y="295415"/>
                    <a:pt x="354799" y="289466"/>
                  </a:cubicBezTo>
                  <a:cubicBezTo>
                    <a:pt x="353717" y="283517"/>
                    <a:pt x="351013" y="278108"/>
                    <a:pt x="349390" y="272700"/>
                  </a:cubicBezTo>
                  <a:cubicBezTo>
                    <a:pt x="347767" y="266750"/>
                    <a:pt x="347227" y="260801"/>
                    <a:pt x="345604" y="255392"/>
                  </a:cubicBezTo>
                  <a:cubicBezTo>
                    <a:pt x="343982" y="249984"/>
                    <a:pt x="342359" y="244034"/>
                    <a:pt x="340196" y="238626"/>
                  </a:cubicBezTo>
                  <a:cubicBezTo>
                    <a:pt x="338032" y="233217"/>
                    <a:pt x="335869" y="227268"/>
                    <a:pt x="333705" y="221860"/>
                  </a:cubicBezTo>
                  <a:cubicBezTo>
                    <a:pt x="331542" y="216451"/>
                    <a:pt x="328837" y="211043"/>
                    <a:pt x="326133" y="205634"/>
                  </a:cubicBezTo>
                  <a:cubicBezTo>
                    <a:pt x="323429" y="200226"/>
                    <a:pt x="321266" y="194817"/>
                    <a:pt x="318562" y="189949"/>
                  </a:cubicBezTo>
                  <a:cubicBezTo>
                    <a:pt x="315858" y="184541"/>
                    <a:pt x="312071" y="179673"/>
                    <a:pt x="309367" y="174805"/>
                  </a:cubicBezTo>
                  <a:cubicBezTo>
                    <a:pt x="306122" y="169938"/>
                    <a:pt x="303418" y="164529"/>
                    <a:pt x="300173" y="159662"/>
                  </a:cubicBezTo>
                  <a:cubicBezTo>
                    <a:pt x="296928" y="154794"/>
                    <a:pt x="292601" y="150467"/>
                    <a:pt x="288815" y="146140"/>
                  </a:cubicBezTo>
                  <a:cubicBezTo>
                    <a:pt x="285029" y="141273"/>
                    <a:pt x="282324" y="135864"/>
                    <a:pt x="278539" y="131537"/>
                  </a:cubicBezTo>
                  <a:cubicBezTo>
                    <a:pt x="274752" y="127211"/>
                    <a:pt x="271507" y="121802"/>
                    <a:pt x="267181" y="117475"/>
                  </a:cubicBezTo>
                  <a:cubicBezTo>
                    <a:pt x="263395" y="113148"/>
                    <a:pt x="259609" y="108281"/>
                    <a:pt x="255282" y="104495"/>
                  </a:cubicBezTo>
                  <a:cubicBezTo>
                    <a:pt x="250955" y="100168"/>
                    <a:pt x="245005" y="98004"/>
                    <a:pt x="240679" y="94219"/>
                  </a:cubicBezTo>
                  <a:cubicBezTo>
                    <a:pt x="236352" y="90433"/>
                    <a:pt x="232026" y="86106"/>
                    <a:pt x="227698" y="82320"/>
                  </a:cubicBezTo>
                  <a:cubicBezTo>
                    <a:pt x="223371" y="78534"/>
                    <a:pt x="218504" y="74748"/>
                    <a:pt x="214177" y="70962"/>
                  </a:cubicBezTo>
                  <a:cubicBezTo>
                    <a:pt x="209309" y="67176"/>
                    <a:pt x="204983" y="63390"/>
                    <a:pt x="200115" y="60145"/>
                  </a:cubicBezTo>
                  <a:cubicBezTo>
                    <a:pt x="195247" y="56900"/>
                    <a:pt x="189839" y="54196"/>
                    <a:pt x="184971" y="51491"/>
                  </a:cubicBezTo>
                  <a:cubicBezTo>
                    <a:pt x="180103" y="48246"/>
                    <a:pt x="175236" y="44460"/>
                    <a:pt x="170368" y="41756"/>
                  </a:cubicBezTo>
                  <a:cubicBezTo>
                    <a:pt x="164960" y="39052"/>
                    <a:pt x="159011" y="37970"/>
                    <a:pt x="153602" y="35806"/>
                  </a:cubicBezTo>
                  <a:cubicBezTo>
                    <a:pt x="148194" y="33102"/>
                    <a:pt x="143326" y="29857"/>
                    <a:pt x="137917" y="27694"/>
                  </a:cubicBezTo>
                  <a:cubicBezTo>
                    <a:pt x="132509" y="25530"/>
                    <a:pt x="127641" y="21744"/>
                    <a:pt x="122232" y="19581"/>
                  </a:cubicBezTo>
                  <a:cubicBezTo>
                    <a:pt x="116824" y="17418"/>
                    <a:pt x="110334" y="17418"/>
                    <a:pt x="104925" y="15795"/>
                  </a:cubicBezTo>
                  <a:cubicBezTo>
                    <a:pt x="99517" y="14172"/>
                    <a:pt x="93567" y="12009"/>
                    <a:pt x="88158" y="10927"/>
                  </a:cubicBezTo>
                  <a:cubicBezTo>
                    <a:pt x="82209" y="9305"/>
                    <a:pt x="76260" y="9305"/>
                    <a:pt x="70851" y="8223"/>
                  </a:cubicBezTo>
                  <a:cubicBezTo>
                    <a:pt x="64902" y="7141"/>
                    <a:pt x="59494" y="3896"/>
                    <a:pt x="53544" y="2815"/>
                  </a:cubicBezTo>
                  <a:cubicBezTo>
                    <a:pt x="47595" y="1733"/>
                    <a:pt x="41645" y="1192"/>
                    <a:pt x="35696" y="651"/>
                  </a:cubicBezTo>
                  <a:cubicBezTo>
                    <a:pt x="29747" y="110"/>
                    <a:pt x="23798" y="110"/>
                    <a:pt x="17848" y="110"/>
                  </a:cubicBezTo>
                  <a:cubicBezTo>
                    <a:pt x="11898" y="-430"/>
                    <a:pt x="5949" y="1192"/>
                    <a:pt x="0" y="1192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4" name="Freeform: Shape 1323">
              <a:extLst>
                <a:ext uri="{FF2B5EF4-FFF2-40B4-BE49-F238E27FC236}">
                  <a16:creationId xmlns:a16="http://schemas.microsoft.com/office/drawing/2014/main" id="{3EE7CD7B-850D-109E-8A6D-6FF8B1E9F060}"/>
                </a:ext>
              </a:extLst>
            </p:cNvPr>
            <p:cNvSpPr/>
            <p:nvPr/>
          </p:nvSpPr>
          <p:spPr>
            <a:xfrm>
              <a:off x="6978129" y="-1081766"/>
              <a:ext cx="1113613" cy="896301"/>
            </a:xfrm>
            <a:custGeom>
              <a:avLst/>
              <a:gdLst>
                <a:gd name="connsiteX0" fmla="*/ 112497 w 1113613"/>
                <a:gd name="connsiteY0" fmla="*/ 896302 h 896301"/>
                <a:gd name="connsiteX1" fmla="*/ 101140 w 1113613"/>
                <a:gd name="connsiteY1" fmla="*/ 882240 h 896301"/>
                <a:gd name="connsiteX2" fmla="*/ 90323 w 1113613"/>
                <a:gd name="connsiteY2" fmla="*/ 867637 h 896301"/>
                <a:gd name="connsiteX3" fmla="*/ 81128 w 1113613"/>
                <a:gd name="connsiteY3" fmla="*/ 851952 h 896301"/>
                <a:gd name="connsiteX4" fmla="*/ 73556 w 1113613"/>
                <a:gd name="connsiteY4" fmla="*/ 835726 h 896301"/>
                <a:gd name="connsiteX5" fmla="*/ 64902 w 1113613"/>
                <a:gd name="connsiteY5" fmla="*/ 820042 h 896301"/>
                <a:gd name="connsiteX6" fmla="*/ 55708 w 1113613"/>
                <a:gd name="connsiteY6" fmla="*/ 804357 h 896301"/>
                <a:gd name="connsiteX7" fmla="*/ 48677 w 1113613"/>
                <a:gd name="connsiteY7" fmla="*/ 787591 h 896301"/>
                <a:gd name="connsiteX8" fmla="*/ 42727 w 1113613"/>
                <a:gd name="connsiteY8" fmla="*/ 770283 h 896301"/>
                <a:gd name="connsiteX9" fmla="*/ 34074 w 1113613"/>
                <a:gd name="connsiteY9" fmla="*/ 754058 h 896301"/>
                <a:gd name="connsiteX10" fmla="*/ 28125 w 1113613"/>
                <a:gd name="connsiteY10" fmla="*/ 736751 h 896301"/>
                <a:gd name="connsiteX11" fmla="*/ 22716 w 1113613"/>
                <a:gd name="connsiteY11" fmla="*/ 719443 h 896301"/>
                <a:gd name="connsiteX12" fmla="*/ 19471 w 1113613"/>
                <a:gd name="connsiteY12" fmla="*/ 701595 h 896301"/>
                <a:gd name="connsiteX13" fmla="*/ 13521 w 1113613"/>
                <a:gd name="connsiteY13" fmla="*/ 684288 h 896301"/>
                <a:gd name="connsiteX14" fmla="*/ 9736 w 1113613"/>
                <a:gd name="connsiteY14" fmla="*/ 666440 h 896301"/>
                <a:gd name="connsiteX15" fmla="*/ 6491 w 1113613"/>
                <a:gd name="connsiteY15" fmla="*/ 648592 h 896301"/>
                <a:gd name="connsiteX16" fmla="*/ 4327 w 1113613"/>
                <a:gd name="connsiteY16" fmla="*/ 630744 h 896301"/>
                <a:gd name="connsiteX17" fmla="*/ 2704 w 1113613"/>
                <a:gd name="connsiteY17" fmla="*/ 612895 h 896301"/>
                <a:gd name="connsiteX18" fmla="*/ 1082 w 1113613"/>
                <a:gd name="connsiteY18" fmla="*/ 595047 h 896301"/>
                <a:gd name="connsiteX19" fmla="*/ 1623 w 1113613"/>
                <a:gd name="connsiteY19" fmla="*/ 576658 h 896301"/>
                <a:gd name="connsiteX20" fmla="*/ 0 w 1113613"/>
                <a:gd name="connsiteY20" fmla="*/ 558810 h 896301"/>
                <a:gd name="connsiteX21" fmla="*/ 1082 w 1113613"/>
                <a:gd name="connsiteY21" fmla="*/ 541503 h 896301"/>
                <a:gd name="connsiteX22" fmla="*/ 2164 w 1113613"/>
                <a:gd name="connsiteY22" fmla="*/ 524196 h 896301"/>
                <a:gd name="connsiteX23" fmla="*/ 4327 w 1113613"/>
                <a:gd name="connsiteY23" fmla="*/ 506889 h 896301"/>
                <a:gd name="connsiteX24" fmla="*/ 3786 w 1113613"/>
                <a:gd name="connsiteY24" fmla="*/ 489040 h 896301"/>
                <a:gd name="connsiteX25" fmla="*/ 7031 w 1113613"/>
                <a:gd name="connsiteY25" fmla="*/ 471733 h 896301"/>
                <a:gd name="connsiteX26" fmla="*/ 9195 w 1113613"/>
                <a:gd name="connsiteY26" fmla="*/ 454426 h 896301"/>
                <a:gd name="connsiteX27" fmla="*/ 12440 w 1113613"/>
                <a:gd name="connsiteY27" fmla="*/ 437119 h 896301"/>
                <a:gd name="connsiteX28" fmla="*/ 16226 w 1113613"/>
                <a:gd name="connsiteY28" fmla="*/ 419811 h 896301"/>
                <a:gd name="connsiteX29" fmla="*/ 21093 w 1113613"/>
                <a:gd name="connsiteY29" fmla="*/ 403045 h 896301"/>
                <a:gd name="connsiteX30" fmla="*/ 28125 w 1113613"/>
                <a:gd name="connsiteY30" fmla="*/ 386819 h 896301"/>
                <a:gd name="connsiteX31" fmla="*/ 32992 w 1113613"/>
                <a:gd name="connsiteY31" fmla="*/ 370053 h 896301"/>
                <a:gd name="connsiteX32" fmla="*/ 40023 w 1113613"/>
                <a:gd name="connsiteY32" fmla="*/ 353827 h 896301"/>
                <a:gd name="connsiteX33" fmla="*/ 45432 w 1113613"/>
                <a:gd name="connsiteY33" fmla="*/ 337061 h 896301"/>
                <a:gd name="connsiteX34" fmla="*/ 53004 w 1113613"/>
                <a:gd name="connsiteY34" fmla="*/ 321376 h 896301"/>
                <a:gd name="connsiteX35" fmla="*/ 61117 w 1113613"/>
                <a:gd name="connsiteY35" fmla="*/ 305692 h 896301"/>
                <a:gd name="connsiteX36" fmla="*/ 69229 w 1113613"/>
                <a:gd name="connsiteY36" fmla="*/ 290007 h 896301"/>
                <a:gd name="connsiteX37" fmla="*/ 77342 w 1113613"/>
                <a:gd name="connsiteY37" fmla="*/ 274322 h 896301"/>
                <a:gd name="connsiteX38" fmla="*/ 87077 w 1113613"/>
                <a:gd name="connsiteY38" fmla="*/ 259719 h 896301"/>
                <a:gd name="connsiteX39" fmla="*/ 96813 w 1113613"/>
                <a:gd name="connsiteY39" fmla="*/ 245116 h 896301"/>
                <a:gd name="connsiteX40" fmla="*/ 107630 w 1113613"/>
                <a:gd name="connsiteY40" fmla="*/ 231054 h 896301"/>
                <a:gd name="connsiteX41" fmla="*/ 116824 w 1113613"/>
                <a:gd name="connsiteY41" fmla="*/ 216451 h 896301"/>
                <a:gd name="connsiteX42" fmla="*/ 127100 w 1113613"/>
                <a:gd name="connsiteY42" fmla="*/ 202389 h 896301"/>
                <a:gd name="connsiteX43" fmla="*/ 138458 w 1113613"/>
                <a:gd name="connsiteY43" fmla="*/ 189409 h 896301"/>
                <a:gd name="connsiteX44" fmla="*/ 150357 w 1113613"/>
                <a:gd name="connsiteY44" fmla="*/ 176428 h 896301"/>
                <a:gd name="connsiteX45" fmla="*/ 163878 w 1113613"/>
                <a:gd name="connsiteY45" fmla="*/ 165070 h 896301"/>
                <a:gd name="connsiteX46" fmla="*/ 175236 w 1113613"/>
                <a:gd name="connsiteY46" fmla="*/ 151549 h 896301"/>
                <a:gd name="connsiteX47" fmla="*/ 189298 w 1113613"/>
                <a:gd name="connsiteY47" fmla="*/ 140732 h 896301"/>
                <a:gd name="connsiteX48" fmla="*/ 202819 w 1113613"/>
                <a:gd name="connsiteY48" fmla="*/ 129374 h 896301"/>
                <a:gd name="connsiteX49" fmla="*/ 216881 w 1113613"/>
                <a:gd name="connsiteY49" fmla="*/ 119098 h 896301"/>
                <a:gd name="connsiteX50" fmla="*/ 229321 w 1113613"/>
                <a:gd name="connsiteY50" fmla="*/ 106658 h 896301"/>
                <a:gd name="connsiteX51" fmla="*/ 243924 w 1113613"/>
                <a:gd name="connsiteY51" fmla="*/ 96923 h 896301"/>
                <a:gd name="connsiteX52" fmla="*/ 258527 w 1113613"/>
                <a:gd name="connsiteY52" fmla="*/ 87188 h 896301"/>
                <a:gd name="connsiteX53" fmla="*/ 273130 w 1113613"/>
                <a:gd name="connsiteY53" fmla="*/ 77452 h 896301"/>
                <a:gd name="connsiteX54" fmla="*/ 289356 w 1113613"/>
                <a:gd name="connsiteY54" fmla="*/ 70962 h 896301"/>
                <a:gd name="connsiteX55" fmla="*/ 303959 w 1113613"/>
                <a:gd name="connsiteY55" fmla="*/ 60686 h 896301"/>
                <a:gd name="connsiteX56" fmla="*/ 320185 w 1113613"/>
                <a:gd name="connsiteY56" fmla="*/ 53655 h 896301"/>
                <a:gd name="connsiteX57" fmla="*/ 336410 w 1113613"/>
                <a:gd name="connsiteY57" fmla="*/ 47164 h 896301"/>
                <a:gd name="connsiteX58" fmla="*/ 352636 w 1113613"/>
                <a:gd name="connsiteY58" fmla="*/ 40674 h 896301"/>
                <a:gd name="connsiteX59" fmla="*/ 368861 w 1113613"/>
                <a:gd name="connsiteY59" fmla="*/ 34184 h 896301"/>
                <a:gd name="connsiteX60" fmla="*/ 385087 w 1113613"/>
                <a:gd name="connsiteY60" fmla="*/ 26612 h 896301"/>
                <a:gd name="connsiteX61" fmla="*/ 402394 w 1113613"/>
                <a:gd name="connsiteY61" fmla="*/ 22826 h 896301"/>
                <a:gd name="connsiteX62" fmla="*/ 419160 w 1113613"/>
                <a:gd name="connsiteY62" fmla="*/ 16877 h 896301"/>
                <a:gd name="connsiteX63" fmla="*/ 436468 w 1113613"/>
                <a:gd name="connsiteY63" fmla="*/ 12550 h 896301"/>
                <a:gd name="connsiteX64" fmla="*/ 453775 w 1113613"/>
                <a:gd name="connsiteY64" fmla="*/ 9305 h 896301"/>
                <a:gd name="connsiteX65" fmla="*/ 471082 w 1113613"/>
                <a:gd name="connsiteY65" fmla="*/ 5519 h 896301"/>
                <a:gd name="connsiteX66" fmla="*/ 488930 w 1113613"/>
                <a:gd name="connsiteY66" fmla="*/ 4437 h 896301"/>
                <a:gd name="connsiteX67" fmla="*/ 506237 w 1113613"/>
                <a:gd name="connsiteY67" fmla="*/ 2274 h 896301"/>
                <a:gd name="connsiteX68" fmla="*/ 523545 w 1113613"/>
                <a:gd name="connsiteY68" fmla="*/ 651 h 896301"/>
                <a:gd name="connsiteX69" fmla="*/ 541393 w 1113613"/>
                <a:gd name="connsiteY69" fmla="*/ 651 h 896301"/>
                <a:gd name="connsiteX70" fmla="*/ 558700 w 1113613"/>
                <a:gd name="connsiteY70" fmla="*/ 110 h 896301"/>
                <a:gd name="connsiteX71" fmla="*/ 576007 w 1113613"/>
                <a:gd name="connsiteY71" fmla="*/ 1192 h 896301"/>
                <a:gd name="connsiteX72" fmla="*/ 593856 w 1113613"/>
                <a:gd name="connsiteY72" fmla="*/ 110 h 896301"/>
                <a:gd name="connsiteX73" fmla="*/ 611163 w 1113613"/>
                <a:gd name="connsiteY73" fmla="*/ 3356 h 896301"/>
                <a:gd name="connsiteX74" fmla="*/ 629011 w 1113613"/>
                <a:gd name="connsiteY74" fmla="*/ 3356 h 896301"/>
                <a:gd name="connsiteX75" fmla="*/ 646318 w 1113613"/>
                <a:gd name="connsiteY75" fmla="*/ 6601 h 896301"/>
                <a:gd name="connsiteX76" fmla="*/ 663626 w 1113613"/>
                <a:gd name="connsiteY76" fmla="*/ 9846 h 896301"/>
                <a:gd name="connsiteX77" fmla="*/ 680933 w 1113613"/>
                <a:gd name="connsiteY77" fmla="*/ 13091 h 896301"/>
                <a:gd name="connsiteX78" fmla="*/ 698240 w 1113613"/>
                <a:gd name="connsiteY78" fmla="*/ 16877 h 896301"/>
                <a:gd name="connsiteX79" fmla="*/ 715547 w 1113613"/>
                <a:gd name="connsiteY79" fmla="*/ 20663 h 896301"/>
                <a:gd name="connsiteX80" fmla="*/ 731773 w 1113613"/>
                <a:gd name="connsiteY80" fmla="*/ 27694 h 896301"/>
                <a:gd name="connsiteX81" fmla="*/ 749080 w 1113613"/>
                <a:gd name="connsiteY81" fmla="*/ 31480 h 896301"/>
                <a:gd name="connsiteX82" fmla="*/ 765846 w 1113613"/>
                <a:gd name="connsiteY82" fmla="*/ 36888 h 896301"/>
                <a:gd name="connsiteX83" fmla="*/ 782072 w 1113613"/>
                <a:gd name="connsiteY83" fmla="*/ 44460 h 896301"/>
                <a:gd name="connsiteX84" fmla="*/ 797756 w 1113613"/>
                <a:gd name="connsiteY84" fmla="*/ 52573 h 896301"/>
                <a:gd name="connsiteX85" fmla="*/ 812900 w 1113613"/>
                <a:gd name="connsiteY85" fmla="*/ 61227 h 896301"/>
                <a:gd name="connsiteX86" fmla="*/ 829126 w 1113613"/>
                <a:gd name="connsiteY86" fmla="*/ 67717 h 896301"/>
                <a:gd name="connsiteX87" fmla="*/ 844811 w 1113613"/>
                <a:gd name="connsiteY87" fmla="*/ 75830 h 896301"/>
                <a:gd name="connsiteX88" fmla="*/ 859414 w 1113613"/>
                <a:gd name="connsiteY88" fmla="*/ 85024 h 896301"/>
                <a:gd name="connsiteX89" fmla="*/ 872935 w 1113613"/>
                <a:gd name="connsiteY89" fmla="*/ 96382 h 896301"/>
                <a:gd name="connsiteX90" fmla="*/ 888079 w 1113613"/>
                <a:gd name="connsiteY90" fmla="*/ 105576 h 896301"/>
                <a:gd name="connsiteX91" fmla="*/ 902682 w 1113613"/>
                <a:gd name="connsiteY91" fmla="*/ 115312 h 896301"/>
                <a:gd name="connsiteX92" fmla="*/ 915662 w 1113613"/>
                <a:gd name="connsiteY92" fmla="*/ 127211 h 896301"/>
                <a:gd name="connsiteX93" fmla="*/ 929184 w 1113613"/>
                <a:gd name="connsiteY93" fmla="*/ 138568 h 896301"/>
                <a:gd name="connsiteX94" fmla="*/ 941623 w 1113613"/>
                <a:gd name="connsiteY94" fmla="*/ 151008 h 896301"/>
                <a:gd name="connsiteX95" fmla="*/ 955144 w 1113613"/>
                <a:gd name="connsiteY95" fmla="*/ 162366 h 896301"/>
                <a:gd name="connsiteX96" fmla="*/ 967584 w 1113613"/>
                <a:gd name="connsiteY96" fmla="*/ 174806 h 896301"/>
                <a:gd name="connsiteX97" fmla="*/ 977860 w 1113613"/>
                <a:gd name="connsiteY97" fmla="*/ 189409 h 896301"/>
                <a:gd name="connsiteX98" fmla="*/ 989218 w 1113613"/>
                <a:gd name="connsiteY98" fmla="*/ 202389 h 896301"/>
                <a:gd name="connsiteX99" fmla="*/ 1001116 w 1113613"/>
                <a:gd name="connsiteY99" fmla="*/ 215369 h 896301"/>
                <a:gd name="connsiteX100" fmla="*/ 1011393 w 1113613"/>
                <a:gd name="connsiteY100" fmla="*/ 229431 h 896301"/>
                <a:gd name="connsiteX101" fmla="*/ 1022210 w 1113613"/>
                <a:gd name="connsiteY101" fmla="*/ 243494 h 896301"/>
                <a:gd name="connsiteX102" fmla="*/ 1030323 w 1113613"/>
                <a:gd name="connsiteY102" fmla="*/ 259178 h 896301"/>
                <a:gd name="connsiteX103" fmla="*/ 1040599 w 1113613"/>
                <a:gd name="connsiteY103" fmla="*/ 273241 h 896301"/>
                <a:gd name="connsiteX104" fmla="*/ 1048712 w 1113613"/>
                <a:gd name="connsiteY104" fmla="*/ 288925 h 896301"/>
                <a:gd name="connsiteX105" fmla="*/ 1056284 w 1113613"/>
                <a:gd name="connsiteY105" fmla="*/ 304610 h 896301"/>
                <a:gd name="connsiteX106" fmla="*/ 1065478 w 1113613"/>
                <a:gd name="connsiteY106" fmla="*/ 319754 h 896301"/>
                <a:gd name="connsiteX107" fmla="*/ 1072509 w 1113613"/>
                <a:gd name="connsiteY107" fmla="*/ 335979 h 896301"/>
                <a:gd name="connsiteX108" fmla="*/ 1079540 w 1113613"/>
                <a:gd name="connsiteY108" fmla="*/ 352205 h 896301"/>
                <a:gd name="connsiteX109" fmla="*/ 1084949 w 1113613"/>
                <a:gd name="connsiteY109" fmla="*/ 368971 h 896301"/>
                <a:gd name="connsiteX110" fmla="*/ 1090898 w 1113613"/>
                <a:gd name="connsiteY110" fmla="*/ 385738 h 896301"/>
                <a:gd name="connsiteX111" fmla="*/ 1096307 w 1113613"/>
                <a:gd name="connsiteY111" fmla="*/ 402504 h 896301"/>
                <a:gd name="connsiteX112" fmla="*/ 1101174 w 1113613"/>
                <a:gd name="connsiteY112" fmla="*/ 419270 h 896301"/>
                <a:gd name="connsiteX113" fmla="*/ 1104420 w 1113613"/>
                <a:gd name="connsiteY113" fmla="*/ 436578 h 896301"/>
                <a:gd name="connsiteX114" fmla="*/ 1108205 w 1113613"/>
                <a:gd name="connsiteY114" fmla="*/ 453885 h 896301"/>
                <a:gd name="connsiteX115" fmla="*/ 1113614 w 1113613"/>
                <a:gd name="connsiteY115" fmla="*/ 470651 h 8963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</a:cxnLst>
              <a:rect l="l" t="t" r="r" b="b"/>
              <a:pathLst>
                <a:path w="1113613" h="896301">
                  <a:moveTo>
                    <a:pt x="112497" y="896302"/>
                  </a:moveTo>
                  <a:cubicBezTo>
                    <a:pt x="108711" y="891434"/>
                    <a:pt x="104385" y="887107"/>
                    <a:pt x="101140" y="882240"/>
                  </a:cubicBezTo>
                  <a:cubicBezTo>
                    <a:pt x="97894" y="877372"/>
                    <a:pt x="93568" y="872504"/>
                    <a:pt x="90323" y="867637"/>
                  </a:cubicBezTo>
                  <a:cubicBezTo>
                    <a:pt x="87077" y="862769"/>
                    <a:pt x="84373" y="857360"/>
                    <a:pt x="81128" y="851952"/>
                  </a:cubicBezTo>
                  <a:cubicBezTo>
                    <a:pt x="77883" y="846543"/>
                    <a:pt x="76260" y="840594"/>
                    <a:pt x="73556" y="835726"/>
                  </a:cubicBezTo>
                  <a:cubicBezTo>
                    <a:pt x="70311" y="830318"/>
                    <a:pt x="67606" y="825450"/>
                    <a:pt x="64902" y="820042"/>
                  </a:cubicBezTo>
                  <a:cubicBezTo>
                    <a:pt x="62198" y="814633"/>
                    <a:pt x="57872" y="809766"/>
                    <a:pt x="55708" y="804357"/>
                  </a:cubicBezTo>
                  <a:cubicBezTo>
                    <a:pt x="53004" y="798948"/>
                    <a:pt x="50840" y="792999"/>
                    <a:pt x="48677" y="787591"/>
                  </a:cubicBezTo>
                  <a:cubicBezTo>
                    <a:pt x="45972" y="782182"/>
                    <a:pt x="44891" y="776233"/>
                    <a:pt x="42727" y="770283"/>
                  </a:cubicBezTo>
                  <a:cubicBezTo>
                    <a:pt x="40564" y="764875"/>
                    <a:pt x="36237" y="760007"/>
                    <a:pt x="34074" y="754058"/>
                  </a:cubicBezTo>
                  <a:cubicBezTo>
                    <a:pt x="31910" y="748649"/>
                    <a:pt x="30288" y="742700"/>
                    <a:pt x="28125" y="736751"/>
                  </a:cubicBezTo>
                  <a:cubicBezTo>
                    <a:pt x="25961" y="730801"/>
                    <a:pt x="24338" y="725393"/>
                    <a:pt x="22716" y="719443"/>
                  </a:cubicBezTo>
                  <a:cubicBezTo>
                    <a:pt x="21093" y="713494"/>
                    <a:pt x="21093" y="707544"/>
                    <a:pt x="19471" y="701595"/>
                  </a:cubicBezTo>
                  <a:cubicBezTo>
                    <a:pt x="17848" y="695646"/>
                    <a:pt x="15144" y="690237"/>
                    <a:pt x="13521" y="684288"/>
                  </a:cubicBezTo>
                  <a:cubicBezTo>
                    <a:pt x="11899" y="678338"/>
                    <a:pt x="10817" y="672389"/>
                    <a:pt x="9736" y="666440"/>
                  </a:cubicBezTo>
                  <a:cubicBezTo>
                    <a:pt x="8653" y="660490"/>
                    <a:pt x="7572" y="654541"/>
                    <a:pt x="6491" y="648592"/>
                  </a:cubicBezTo>
                  <a:cubicBezTo>
                    <a:pt x="5409" y="642642"/>
                    <a:pt x="4868" y="636693"/>
                    <a:pt x="4327" y="630744"/>
                  </a:cubicBezTo>
                  <a:cubicBezTo>
                    <a:pt x="3786" y="624794"/>
                    <a:pt x="3245" y="618845"/>
                    <a:pt x="2704" y="612895"/>
                  </a:cubicBezTo>
                  <a:cubicBezTo>
                    <a:pt x="2164" y="606946"/>
                    <a:pt x="1082" y="600997"/>
                    <a:pt x="1082" y="595047"/>
                  </a:cubicBezTo>
                  <a:cubicBezTo>
                    <a:pt x="541" y="589098"/>
                    <a:pt x="1623" y="583149"/>
                    <a:pt x="1623" y="576658"/>
                  </a:cubicBezTo>
                  <a:cubicBezTo>
                    <a:pt x="1623" y="570709"/>
                    <a:pt x="0" y="564760"/>
                    <a:pt x="0" y="558810"/>
                  </a:cubicBezTo>
                  <a:cubicBezTo>
                    <a:pt x="0" y="552861"/>
                    <a:pt x="541" y="546912"/>
                    <a:pt x="1082" y="541503"/>
                  </a:cubicBezTo>
                  <a:cubicBezTo>
                    <a:pt x="1082" y="535554"/>
                    <a:pt x="1623" y="529604"/>
                    <a:pt x="2164" y="524196"/>
                  </a:cubicBezTo>
                  <a:cubicBezTo>
                    <a:pt x="2704" y="518246"/>
                    <a:pt x="3786" y="512838"/>
                    <a:pt x="4327" y="506889"/>
                  </a:cubicBezTo>
                  <a:cubicBezTo>
                    <a:pt x="4868" y="500939"/>
                    <a:pt x="3245" y="494990"/>
                    <a:pt x="3786" y="489040"/>
                  </a:cubicBezTo>
                  <a:cubicBezTo>
                    <a:pt x="4327" y="483091"/>
                    <a:pt x="5949" y="477682"/>
                    <a:pt x="7031" y="471733"/>
                  </a:cubicBezTo>
                  <a:cubicBezTo>
                    <a:pt x="8113" y="465784"/>
                    <a:pt x="8113" y="459834"/>
                    <a:pt x="9195" y="454426"/>
                  </a:cubicBezTo>
                  <a:cubicBezTo>
                    <a:pt x="10276" y="448476"/>
                    <a:pt x="11358" y="443068"/>
                    <a:pt x="12440" y="437119"/>
                  </a:cubicBezTo>
                  <a:cubicBezTo>
                    <a:pt x="13521" y="431169"/>
                    <a:pt x="14603" y="425761"/>
                    <a:pt x="16226" y="419811"/>
                  </a:cubicBezTo>
                  <a:cubicBezTo>
                    <a:pt x="17848" y="413862"/>
                    <a:pt x="19471" y="408453"/>
                    <a:pt x="21093" y="403045"/>
                  </a:cubicBezTo>
                  <a:cubicBezTo>
                    <a:pt x="22716" y="397636"/>
                    <a:pt x="25961" y="392228"/>
                    <a:pt x="28125" y="386819"/>
                  </a:cubicBezTo>
                  <a:cubicBezTo>
                    <a:pt x="29747" y="381411"/>
                    <a:pt x="30829" y="375461"/>
                    <a:pt x="32992" y="370053"/>
                  </a:cubicBezTo>
                  <a:cubicBezTo>
                    <a:pt x="35155" y="364644"/>
                    <a:pt x="37860" y="359236"/>
                    <a:pt x="40023" y="353827"/>
                  </a:cubicBezTo>
                  <a:cubicBezTo>
                    <a:pt x="42187" y="348419"/>
                    <a:pt x="43268" y="342470"/>
                    <a:pt x="45432" y="337061"/>
                  </a:cubicBezTo>
                  <a:cubicBezTo>
                    <a:pt x="47595" y="331653"/>
                    <a:pt x="50299" y="326244"/>
                    <a:pt x="53004" y="321376"/>
                  </a:cubicBezTo>
                  <a:cubicBezTo>
                    <a:pt x="55708" y="315968"/>
                    <a:pt x="58412" y="311100"/>
                    <a:pt x="61117" y="305692"/>
                  </a:cubicBezTo>
                  <a:cubicBezTo>
                    <a:pt x="63821" y="300283"/>
                    <a:pt x="66525" y="295415"/>
                    <a:pt x="69229" y="290007"/>
                  </a:cubicBezTo>
                  <a:cubicBezTo>
                    <a:pt x="71934" y="285139"/>
                    <a:pt x="74638" y="279190"/>
                    <a:pt x="77342" y="274322"/>
                  </a:cubicBezTo>
                  <a:cubicBezTo>
                    <a:pt x="80587" y="269455"/>
                    <a:pt x="83832" y="264587"/>
                    <a:pt x="87077" y="259719"/>
                  </a:cubicBezTo>
                  <a:cubicBezTo>
                    <a:pt x="90323" y="254852"/>
                    <a:pt x="93568" y="249984"/>
                    <a:pt x="96813" y="245116"/>
                  </a:cubicBezTo>
                  <a:cubicBezTo>
                    <a:pt x="100058" y="240249"/>
                    <a:pt x="104385" y="235922"/>
                    <a:pt x="107630" y="231054"/>
                  </a:cubicBezTo>
                  <a:cubicBezTo>
                    <a:pt x="110875" y="226186"/>
                    <a:pt x="113579" y="220778"/>
                    <a:pt x="116824" y="216451"/>
                  </a:cubicBezTo>
                  <a:cubicBezTo>
                    <a:pt x="120610" y="211583"/>
                    <a:pt x="123314" y="206716"/>
                    <a:pt x="127100" y="202389"/>
                  </a:cubicBezTo>
                  <a:cubicBezTo>
                    <a:pt x="130887" y="198062"/>
                    <a:pt x="134672" y="193735"/>
                    <a:pt x="138458" y="189409"/>
                  </a:cubicBezTo>
                  <a:cubicBezTo>
                    <a:pt x="142244" y="185082"/>
                    <a:pt x="146030" y="180755"/>
                    <a:pt x="150357" y="176428"/>
                  </a:cubicBezTo>
                  <a:cubicBezTo>
                    <a:pt x="154143" y="172101"/>
                    <a:pt x="159551" y="168856"/>
                    <a:pt x="163878" y="165070"/>
                  </a:cubicBezTo>
                  <a:cubicBezTo>
                    <a:pt x="168205" y="161284"/>
                    <a:pt x="170909" y="155335"/>
                    <a:pt x="175236" y="151549"/>
                  </a:cubicBezTo>
                  <a:cubicBezTo>
                    <a:pt x="179563" y="147763"/>
                    <a:pt x="184972" y="144518"/>
                    <a:pt x="189298" y="140732"/>
                  </a:cubicBezTo>
                  <a:cubicBezTo>
                    <a:pt x="193625" y="136946"/>
                    <a:pt x="197952" y="133160"/>
                    <a:pt x="202819" y="129374"/>
                  </a:cubicBezTo>
                  <a:cubicBezTo>
                    <a:pt x="207146" y="125588"/>
                    <a:pt x="212555" y="122884"/>
                    <a:pt x="216881" y="119098"/>
                  </a:cubicBezTo>
                  <a:cubicBezTo>
                    <a:pt x="221749" y="115312"/>
                    <a:pt x="224994" y="109903"/>
                    <a:pt x="229321" y="106658"/>
                  </a:cubicBezTo>
                  <a:cubicBezTo>
                    <a:pt x="234189" y="103413"/>
                    <a:pt x="239057" y="100168"/>
                    <a:pt x="243924" y="96923"/>
                  </a:cubicBezTo>
                  <a:cubicBezTo>
                    <a:pt x="248792" y="93678"/>
                    <a:pt x="253660" y="90433"/>
                    <a:pt x="258527" y="87188"/>
                  </a:cubicBezTo>
                  <a:cubicBezTo>
                    <a:pt x="263395" y="83942"/>
                    <a:pt x="268262" y="80697"/>
                    <a:pt x="273130" y="77452"/>
                  </a:cubicBezTo>
                  <a:cubicBezTo>
                    <a:pt x="277998" y="74207"/>
                    <a:pt x="284488" y="73666"/>
                    <a:pt x="289356" y="70962"/>
                  </a:cubicBezTo>
                  <a:cubicBezTo>
                    <a:pt x="294224" y="68258"/>
                    <a:pt x="298551" y="63390"/>
                    <a:pt x="303959" y="60686"/>
                  </a:cubicBezTo>
                  <a:cubicBezTo>
                    <a:pt x="309368" y="57982"/>
                    <a:pt x="314776" y="56359"/>
                    <a:pt x="320185" y="53655"/>
                  </a:cubicBezTo>
                  <a:cubicBezTo>
                    <a:pt x="325593" y="50950"/>
                    <a:pt x="331002" y="49328"/>
                    <a:pt x="336410" y="47164"/>
                  </a:cubicBezTo>
                  <a:cubicBezTo>
                    <a:pt x="341819" y="45001"/>
                    <a:pt x="347227" y="42838"/>
                    <a:pt x="352636" y="40674"/>
                  </a:cubicBezTo>
                  <a:cubicBezTo>
                    <a:pt x="358044" y="38511"/>
                    <a:pt x="363453" y="35807"/>
                    <a:pt x="368861" y="34184"/>
                  </a:cubicBezTo>
                  <a:cubicBezTo>
                    <a:pt x="374270" y="32021"/>
                    <a:pt x="379137" y="28776"/>
                    <a:pt x="385087" y="26612"/>
                  </a:cubicBezTo>
                  <a:cubicBezTo>
                    <a:pt x="390495" y="24990"/>
                    <a:pt x="396985" y="24449"/>
                    <a:pt x="402394" y="22826"/>
                  </a:cubicBezTo>
                  <a:cubicBezTo>
                    <a:pt x="407802" y="21204"/>
                    <a:pt x="413211" y="18499"/>
                    <a:pt x="419160" y="16877"/>
                  </a:cubicBezTo>
                  <a:cubicBezTo>
                    <a:pt x="424569" y="15254"/>
                    <a:pt x="430518" y="14173"/>
                    <a:pt x="436468" y="12550"/>
                  </a:cubicBezTo>
                  <a:cubicBezTo>
                    <a:pt x="442417" y="11468"/>
                    <a:pt x="447826" y="10387"/>
                    <a:pt x="453775" y="9305"/>
                  </a:cubicBezTo>
                  <a:cubicBezTo>
                    <a:pt x="459724" y="8223"/>
                    <a:pt x="465133" y="6601"/>
                    <a:pt x="471082" y="5519"/>
                  </a:cubicBezTo>
                  <a:cubicBezTo>
                    <a:pt x="477032" y="4437"/>
                    <a:pt x="482981" y="5519"/>
                    <a:pt x="488930" y="4437"/>
                  </a:cubicBezTo>
                  <a:cubicBezTo>
                    <a:pt x="494879" y="3896"/>
                    <a:pt x="500288" y="2815"/>
                    <a:pt x="506237" y="2274"/>
                  </a:cubicBezTo>
                  <a:cubicBezTo>
                    <a:pt x="512187" y="1733"/>
                    <a:pt x="517596" y="651"/>
                    <a:pt x="523545" y="651"/>
                  </a:cubicBezTo>
                  <a:cubicBezTo>
                    <a:pt x="529494" y="110"/>
                    <a:pt x="535443" y="651"/>
                    <a:pt x="541393" y="651"/>
                  </a:cubicBezTo>
                  <a:cubicBezTo>
                    <a:pt x="547342" y="651"/>
                    <a:pt x="553292" y="110"/>
                    <a:pt x="558700" y="110"/>
                  </a:cubicBezTo>
                  <a:cubicBezTo>
                    <a:pt x="564649" y="110"/>
                    <a:pt x="570599" y="1192"/>
                    <a:pt x="576007" y="1192"/>
                  </a:cubicBezTo>
                  <a:cubicBezTo>
                    <a:pt x="581956" y="1192"/>
                    <a:pt x="587906" y="-430"/>
                    <a:pt x="593856" y="110"/>
                  </a:cubicBezTo>
                  <a:cubicBezTo>
                    <a:pt x="599805" y="651"/>
                    <a:pt x="605213" y="2815"/>
                    <a:pt x="611163" y="3356"/>
                  </a:cubicBezTo>
                  <a:cubicBezTo>
                    <a:pt x="617112" y="3896"/>
                    <a:pt x="623062" y="2815"/>
                    <a:pt x="629011" y="3356"/>
                  </a:cubicBezTo>
                  <a:cubicBezTo>
                    <a:pt x="634960" y="3896"/>
                    <a:pt x="640369" y="6060"/>
                    <a:pt x="646318" y="6601"/>
                  </a:cubicBezTo>
                  <a:cubicBezTo>
                    <a:pt x="652267" y="7682"/>
                    <a:pt x="657676" y="8764"/>
                    <a:pt x="663626" y="9846"/>
                  </a:cubicBezTo>
                  <a:cubicBezTo>
                    <a:pt x="669575" y="10927"/>
                    <a:pt x="674983" y="12009"/>
                    <a:pt x="680933" y="13091"/>
                  </a:cubicBezTo>
                  <a:cubicBezTo>
                    <a:pt x="686882" y="14173"/>
                    <a:pt x="692290" y="15254"/>
                    <a:pt x="698240" y="16877"/>
                  </a:cubicBezTo>
                  <a:cubicBezTo>
                    <a:pt x="704189" y="18499"/>
                    <a:pt x="709598" y="19040"/>
                    <a:pt x="715547" y="20663"/>
                  </a:cubicBezTo>
                  <a:cubicBezTo>
                    <a:pt x="720956" y="22285"/>
                    <a:pt x="726364" y="26071"/>
                    <a:pt x="731773" y="27694"/>
                  </a:cubicBezTo>
                  <a:cubicBezTo>
                    <a:pt x="737181" y="29316"/>
                    <a:pt x="743671" y="29857"/>
                    <a:pt x="749080" y="31480"/>
                  </a:cubicBezTo>
                  <a:cubicBezTo>
                    <a:pt x="754488" y="33643"/>
                    <a:pt x="760437" y="34725"/>
                    <a:pt x="765846" y="36888"/>
                  </a:cubicBezTo>
                  <a:cubicBezTo>
                    <a:pt x="771254" y="39052"/>
                    <a:pt x="776663" y="41756"/>
                    <a:pt x="782072" y="44460"/>
                  </a:cubicBezTo>
                  <a:cubicBezTo>
                    <a:pt x="787480" y="46624"/>
                    <a:pt x="792348" y="49869"/>
                    <a:pt x="797756" y="52573"/>
                  </a:cubicBezTo>
                  <a:cubicBezTo>
                    <a:pt x="803165" y="55277"/>
                    <a:pt x="808033" y="58522"/>
                    <a:pt x="812900" y="61227"/>
                  </a:cubicBezTo>
                  <a:cubicBezTo>
                    <a:pt x="818309" y="63931"/>
                    <a:pt x="824258" y="65013"/>
                    <a:pt x="829126" y="67717"/>
                  </a:cubicBezTo>
                  <a:cubicBezTo>
                    <a:pt x="833994" y="70421"/>
                    <a:pt x="839402" y="73125"/>
                    <a:pt x="844811" y="75830"/>
                  </a:cubicBezTo>
                  <a:cubicBezTo>
                    <a:pt x="849678" y="79075"/>
                    <a:pt x="854546" y="82320"/>
                    <a:pt x="859414" y="85024"/>
                  </a:cubicBezTo>
                  <a:cubicBezTo>
                    <a:pt x="864281" y="88269"/>
                    <a:pt x="868067" y="93137"/>
                    <a:pt x="872935" y="96382"/>
                  </a:cubicBezTo>
                  <a:cubicBezTo>
                    <a:pt x="877803" y="99627"/>
                    <a:pt x="883211" y="102331"/>
                    <a:pt x="888079" y="105576"/>
                  </a:cubicBezTo>
                  <a:cubicBezTo>
                    <a:pt x="892946" y="108822"/>
                    <a:pt x="898355" y="111526"/>
                    <a:pt x="902682" y="115312"/>
                  </a:cubicBezTo>
                  <a:cubicBezTo>
                    <a:pt x="907550" y="119098"/>
                    <a:pt x="911335" y="123425"/>
                    <a:pt x="915662" y="127211"/>
                  </a:cubicBezTo>
                  <a:cubicBezTo>
                    <a:pt x="919989" y="130996"/>
                    <a:pt x="924857" y="134242"/>
                    <a:pt x="929184" y="138568"/>
                  </a:cubicBezTo>
                  <a:cubicBezTo>
                    <a:pt x="933510" y="142354"/>
                    <a:pt x="937296" y="147222"/>
                    <a:pt x="941623" y="151008"/>
                  </a:cubicBezTo>
                  <a:cubicBezTo>
                    <a:pt x="945950" y="154794"/>
                    <a:pt x="950818" y="158039"/>
                    <a:pt x="955144" y="162366"/>
                  </a:cubicBezTo>
                  <a:cubicBezTo>
                    <a:pt x="959471" y="166693"/>
                    <a:pt x="963257" y="170479"/>
                    <a:pt x="967584" y="174806"/>
                  </a:cubicBezTo>
                  <a:cubicBezTo>
                    <a:pt x="971370" y="179132"/>
                    <a:pt x="974074" y="184541"/>
                    <a:pt x="977860" y="189409"/>
                  </a:cubicBezTo>
                  <a:cubicBezTo>
                    <a:pt x="981646" y="193735"/>
                    <a:pt x="985432" y="198062"/>
                    <a:pt x="989218" y="202389"/>
                  </a:cubicBezTo>
                  <a:cubicBezTo>
                    <a:pt x="993004" y="206716"/>
                    <a:pt x="997872" y="210502"/>
                    <a:pt x="1001116" y="215369"/>
                  </a:cubicBezTo>
                  <a:cubicBezTo>
                    <a:pt x="1004903" y="220237"/>
                    <a:pt x="1008148" y="224564"/>
                    <a:pt x="1011393" y="229431"/>
                  </a:cubicBezTo>
                  <a:cubicBezTo>
                    <a:pt x="1014638" y="234299"/>
                    <a:pt x="1018965" y="238626"/>
                    <a:pt x="1022210" y="243494"/>
                  </a:cubicBezTo>
                  <a:cubicBezTo>
                    <a:pt x="1025455" y="248361"/>
                    <a:pt x="1027078" y="254311"/>
                    <a:pt x="1030323" y="259178"/>
                  </a:cubicBezTo>
                  <a:cubicBezTo>
                    <a:pt x="1033568" y="264046"/>
                    <a:pt x="1037895" y="268373"/>
                    <a:pt x="1040599" y="273241"/>
                  </a:cubicBezTo>
                  <a:cubicBezTo>
                    <a:pt x="1043844" y="278108"/>
                    <a:pt x="1046007" y="283517"/>
                    <a:pt x="1048712" y="288925"/>
                  </a:cubicBezTo>
                  <a:cubicBezTo>
                    <a:pt x="1051416" y="293793"/>
                    <a:pt x="1053580" y="299742"/>
                    <a:pt x="1056284" y="304610"/>
                  </a:cubicBezTo>
                  <a:cubicBezTo>
                    <a:pt x="1058988" y="310018"/>
                    <a:pt x="1062774" y="314345"/>
                    <a:pt x="1065478" y="319754"/>
                  </a:cubicBezTo>
                  <a:cubicBezTo>
                    <a:pt x="1068182" y="325162"/>
                    <a:pt x="1070346" y="330571"/>
                    <a:pt x="1072509" y="335979"/>
                  </a:cubicBezTo>
                  <a:cubicBezTo>
                    <a:pt x="1074673" y="341388"/>
                    <a:pt x="1077377" y="346796"/>
                    <a:pt x="1079540" y="352205"/>
                  </a:cubicBezTo>
                  <a:cubicBezTo>
                    <a:pt x="1081704" y="357613"/>
                    <a:pt x="1082786" y="363563"/>
                    <a:pt x="1084949" y="368971"/>
                  </a:cubicBezTo>
                  <a:cubicBezTo>
                    <a:pt x="1087112" y="374380"/>
                    <a:pt x="1089276" y="379788"/>
                    <a:pt x="1090898" y="385738"/>
                  </a:cubicBezTo>
                  <a:cubicBezTo>
                    <a:pt x="1092521" y="391146"/>
                    <a:pt x="1094684" y="397096"/>
                    <a:pt x="1096307" y="402504"/>
                  </a:cubicBezTo>
                  <a:cubicBezTo>
                    <a:pt x="1097929" y="407913"/>
                    <a:pt x="1100093" y="413862"/>
                    <a:pt x="1101174" y="419270"/>
                  </a:cubicBezTo>
                  <a:cubicBezTo>
                    <a:pt x="1102797" y="424679"/>
                    <a:pt x="1102797" y="430628"/>
                    <a:pt x="1104420" y="436578"/>
                  </a:cubicBezTo>
                  <a:cubicBezTo>
                    <a:pt x="1105501" y="442527"/>
                    <a:pt x="1107124" y="447936"/>
                    <a:pt x="1108205" y="453885"/>
                  </a:cubicBezTo>
                  <a:cubicBezTo>
                    <a:pt x="1109287" y="459834"/>
                    <a:pt x="1112533" y="465243"/>
                    <a:pt x="1113614" y="470651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5" name="Freeform: Shape 1324">
              <a:extLst>
                <a:ext uri="{FF2B5EF4-FFF2-40B4-BE49-F238E27FC236}">
                  <a16:creationId xmlns:a16="http://schemas.microsoft.com/office/drawing/2014/main" id="{055F4E72-C832-5EF9-CEB7-EB4B39A68DFA}"/>
                </a:ext>
              </a:extLst>
            </p:cNvPr>
            <p:cNvSpPr/>
            <p:nvPr/>
          </p:nvSpPr>
          <p:spPr>
            <a:xfrm>
              <a:off x="6814251" y="-290931"/>
              <a:ext cx="93566" cy="37318"/>
            </a:xfrm>
            <a:custGeom>
              <a:avLst/>
              <a:gdLst>
                <a:gd name="connsiteX0" fmla="*/ 93567 w 93566"/>
                <a:gd name="connsiteY0" fmla="*/ 0 h 37318"/>
                <a:gd name="connsiteX1" fmla="*/ 78424 w 93566"/>
                <a:gd name="connsiteY1" fmla="*/ 7031 h 37318"/>
                <a:gd name="connsiteX2" fmla="*/ 62739 w 93566"/>
                <a:gd name="connsiteY2" fmla="*/ 12440 h 37318"/>
                <a:gd name="connsiteX3" fmla="*/ 47054 w 93566"/>
                <a:gd name="connsiteY3" fmla="*/ 18930 h 37318"/>
                <a:gd name="connsiteX4" fmla="*/ 30828 w 93566"/>
                <a:gd name="connsiteY4" fmla="*/ 23797 h 37318"/>
                <a:gd name="connsiteX5" fmla="*/ 15143 w 93566"/>
                <a:gd name="connsiteY5" fmla="*/ 29747 h 37318"/>
                <a:gd name="connsiteX6" fmla="*/ 0 w 93566"/>
                <a:gd name="connsiteY6" fmla="*/ 37319 h 37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566" h="37318">
                  <a:moveTo>
                    <a:pt x="93567" y="0"/>
                  </a:moveTo>
                  <a:cubicBezTo>
                    <a:pt x="85995" y="3245"/>
                    <a:pt x="85995" y="3786"/>
                    <a:pt x="78424" y="7031"/>
                  </a:cubicBezTo>
                  <a:cubicBezTo>
                    <a:pt x="70851" y="10276"/>
                    <a:pt x="70311" y="9735"/>
                    <a:pt x="62739" y="12440"/>
                  </a:cubicBezTo>
                  <a:cubicBezTo>
                    <a:pt x="55167" y="15685"/>
                    <a:pt x="55167" y="15685"/>
                    <a:pt x="47054" y="18930"/>
                  </a:cubicBezTo>
                  <a:cubicBezTo>
                    <a:pt x="39482" y="22175"/>
                    <a:pt x="38941" y="21093"/>
                    <a:pt x="30828" y="23797"/>
                  </a:cubicBezTo>
                  <a:cubicBezTo>
                    <a:pt x="23256" y="27043"/>
                    <a:pt x="23256" y="27043"/>
                    <a:pt x="15143" y="29747"/>
                  </a:cubicBezTo>
                  <a:cubicBezTo>
                    <a:pt x="7571" y="32992"/>
                    <a:pt x="8113" y="34074"/>
                    <a:pt x="0" y="37319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6" name="Freeform: Shape 1325">
              <a:extLst>
                <a:ext uri="{FF2B5EF4-FFF2-40B4-BE49-F238E27FC236}">
                  <a16:creationId xmlns:a16="http://schemas.microsoft.com/office/drawing/2014/main" id="{24DB9B2E-9C6D-4C0F-2075-9FF99A648D5B}"/>
                </a:ext>
              </a:extLst>
            </p:cNvPr>
            <p:cNvSpPr/>
            <p:nvPr/>
          </p:nvSpPr>
          <p:spPr>
            <a:xfrm>
              <a:off x="6478923" y="-450569"/>
              <a:ext cx="392658" cy="12096"/>
            </a:xfrm>
            <a:custGeom>
              <a:avLst/>
              <a:gdLst>
                <a:gd name="connsiteX0" fmla="*/ 392658 w 392658"/>
                <a:gd name="connsiteY0" fmla="*/ 88 h 12096"/>
                <a:gd name="connsiteX1" fmla="*/ 374810 w 392658"/>
                <a:gd name="connsiteY1" fmla="*/ 1169 h 12096"/>
                <a:gd name="connsiteX2" fmla="*/ 356962 w 392658"/>
                <a:gd name="connsiteY2" fmla="*/ 88 h 12096"/>
                <a:gd name="connsiteX3" fmla="*/ 339114 w 392658"/>
                <a:gd name="connsiteY3" fmla="*/ 2792 h 12096"/>
                <a:gd name="connsiteX4" fmla="*/ 321265 w 392658"/>
                <a:gd name="connsiteY4" fmla="*/ 2792 h 12096"/>
                <a:gd name="connsiteX5" fmla="*/ 303418 w 392658"/>
                <a:gd name="connsiteY5" fmla="*/ 2792 h 12096"/>
                <a:gd name="connsiteX6" fmla="*/ 285569 w 392658"/>
                <a:gd name="connsiteY6" fmla="*/ 1710 h 12096"/>
                <a:gd name="connsiteX7" fmla="*/ 267722 w 392658"/>
                <a:gd name="connsiteY7" fmla="*/ 2251 h 12096"/>
                <a:gd name="connsiteX8" fmla="*/ 249873 w 392658"/>
                <a:gd name="connsiteY8" fmla="*/ 4955 h 12096"/>
                <a:gd name="connsiteX9" fmla="*/ 232025 w 392658"/>
                <a:gd name="connsiteY9" fmla="*/ 3873 h 12096"/>
                <a:gd name="connsiteX10" fmla="*/ 214177 w 392658"/>
                <a:gd name="connsiteY10" fmla="*/ 4414 h 12096"/>
                <a:gd name="connsiteX11" fmla="*/ 196329 w 392658"/>
                <a:gd name="connsiteY11" fmla="*/ 6037 h 12096"/>
                <a:gd name="connsiteX12" fmla="*/ 178481 w 392658"/>
                <a:gd name="connsiteY12" fmla="*/ 7659 h 12096"/>
                <a:gd name="connsiteX13" fmla="*/ 160633 w 392658"/>
                <a:gd name="connsiteY13" fmla="*/ 7659 h 12096"/>
                <a:gd name="connsiteX14" fmla="*/ 142784 w 392658"/>
                <a:gd name="connsiteY14" fmla="*/ 6037 h 12096"/>
                <a:gd name="connsiteX15" fmla="*/ 124937 w 392658"/>
                <a:gd name="connsiteY15" fmla="*/ 8200 h 12096"/>
                <a:gd name="connsiteX16" fmla="*/ 107088 w 392658"/>
                <a:gd name="connsiteY16" fmla="*/ 9282 h 12096"/>
                <a:gd name="connsiteX17" fmla="*/ 89241 w 392658"/>
                <a:gd name="connsiteY17" fmla="*/ 8200 h 12096"/>
                <a:gd name="connsiteX18" fmla="*/ 71392 w 392658"/>
                <a:gd name="connsiteY18" fmla="*/ 9823 h 12096"/>
                <a:gd name="connsiteX19" fmla="*/ 53544 w 392658"/>
                <a:gd name="connsiteY19" fmla="*/ 10364 h 12096"/>
                <a:gd name="connsiteX20" fmla="*/ 35696 w 392658"/>
                <a:gd name="connsiteY20" fmla="*/ 9282 h 12096"/>
                <a:gd name="connsiteX21" fmla="*/ 17848 w 392658"/>
                <a:gd name="connsiteY21" fmla="*/ 11986 h 12096"/>
                <a:gd name="connsiteX22" fmla="*/ 0 w 392658"/>
                <a:gd name="connsiteY22" fmla="*/ 10905 h 12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92658" h="12096">
                  <a:moveTo>
                    <a:pt x="392658" y="88"/>
                  </a:moveTo>
                  <a:cubicBezTo>
                    <a:pt x="383463" y="628"/>
                    <a:pt x="384005" y="628"/>
                    <a:pt x="374810" y="1169"/>
                  </a:cubicBezTo>
                  <a:cubicBezTo>
                    <a:pt x="365616" y="1710"/>
                    <a:pt x="365616" y="-453"/>
                    <a:pt x="356962" y="88"/>
                  </a:cubicBezTo>
                  <a:cubicBezTo>
                    <a:pt x="347767" y="628"/>
                    <a:pt x="348308" y="2251"/>
                    <a:pt x="339114" y="2792"/>
                  </a:cubicBezTo>
                  <a:cubicBezTo>
                    <a:pt x="329920" y="3333"/>
                    <a:pt x="329920" y="2792"/>
                    <a:pt x="321265" y="2792"/>
                  </a:cubicBezTo>
                  <a:cubicBezTo>
                    <a:pt x="312071" y="3333"/>
                    <a:pt x="312071" y="2792"/>
                    <a:pt x="303418" y="2792"/>
                  </a:cubicBezTo>
                  <a:cubicBezTo>
                    <a:pt x="294223" y="3333"/>
                    <a:pt x="294223" y="1169"/>
                    <a:pt x="285569" y="1710"/>
                  </a:cubicBezTo>
                  <a:cubicBezTo>
                    <a:pt x="276375" y="2251"/>
                    <a:pt x="276375" y="2251"/>
                    <a:pt x="267722" y="2251"/>
                  </a:cubicBezTo>
                  <a:cubicBezTo>
                    <a:pt x="258527" y="2792"/>
                    <a:pt x="259067" y="4414"/>
                    <a:pt x="249873" y="4955"/>
                  </a:cubicBezTo>
                  <a:cubicBezTo>
                    <a:pt x="240679" y="5496"/>
                    <a:pt x="240679" y="3333"/>
                    <a:pt x="232025" y="3873"/>
                  </a:cubicBezTo>
                  <a:cubicBezTo>
                    <a:pt x="222831" y="4414"/>
                    <a:pt x="222831" y="4414"/>
                    <a:pt x="214177" y="4414"/>
                  </a:cubicBezTo>
                  <a:cubicBezTo>
                    <a:pt x="204982" y="4955"/>
                    <a:pt x="205524" y="5496"/>
                    <a:pt x="196329" y="6037"/>
                  </a:cubicBezTo>
                  <a:cubicBezTo>
                    <a:pt x="187135" y="6578"/>
                    <a:pt x="187675" y="7119"/>
                    <a:pt x="178481" y="7659"/>
                  </a:cubicBezTo>
                  <a:cubicBezTo>
                    <a:pt x="169286" y="8200"/>
                    <a:pt x="169286" y="7659"/>
                    <a:pt x="160633" y="7659"/>
                  </a:cubicBezTo>
                  <a:cubicBezTo>
                    <a:pt x="151438" y="8200"/>
                    <a:pt x="151438" y="6037"/>
                    <a:pt x="142784" y="6037"/>
                  </a:cubicBezTo>
                  <a:cubicBezTo>
                    <a:pt x="133590" y="6578"/>
                    <a:pt x="134131" y="8200"/>
                    <a:pt x="124937" y="8200"/>
                  </a:cubicBezTo>
                  <a:cubicBezTo>
                    <a:pt x="115742" y="8200"/>
                    <a:pt x="115742" y="9282"/>
                    <a:pt x="107088" y="9282"/>
                  </a:cubicBezTo>
                  <a:cubicBezTo>
                    <a:pt x="97894" y="9823"/>
                    <a:pt x="97894" y="7659"/>
                    <a:pt x="89241" y="8200"/>
                  </a:cubicBezTo>
                  <a:cubicBezTo>
                    <a:pt x="80046" y="8741"/>
                    <a:pt x="80586" y="9823"/>
                    <a:pt x="71392" y="9823"/>
                  </a:cubicBezTo>
                  <a:cubicBezTo>
                    <a:pt x="62198" y="10364"/>
                    <a:pt x="62198" y="9823"/>
                    <a:pt x="53544" y="10364"/>
                  </a:cubicBezTo>
                  <a:cubicBezTo>
                    <a:pt x="44350" y="10905"/>
                    <a:pt x="44350" y="8741"/>
                    <a:pt x="35696" y="9282"/>
                  </a:cubicBezTo>
                  <a:cubicBezTo>
                    <a:pt x="26501" y="9823"/>
                    <a:pt x="27043" y="11445"/>
                    <a:pt x="17848" y="11986"/>
                  </a:cubicBezTo>
                  <a:cubicBezTo>
                    <a:pt x="8653" y="12527"/>
                    <a:pt x="8653" y="10905"/>
                    <a:pt x="0" y="10905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7" name="Freeform: Shape 1326">
              <a:extLst>
                <a:ext uri="{FF2B5EF4-FFF2-40B4-BE49-F238E27FC236}">
                  <a16:creationId xmlns:a16="http://schemas.microsoft.com/office/drawing/2014/main" id="{F057AF16-C451-DEBD-25AE-00EC1248842F}"/>
                </a:ext>
              </a:extLst>
            </p:cNvPr>
            <p:cNvSpPr/>
            <p:nvPr/>
          </p:nvSpPr>
          <p:spPr>
            <a:xfrm>
              <a:off x="6113848" y="-681966"/>
              <a:ext cx="764764" cy="37318"/>
            </a:xfrm>
            <a:custGeom>
              <a:avLst/>
              <a:gdLst>
                <a:gd name="connsiteX0" fmla="*/ 764764 w 764764"/>
                <a:gd name="connsiteY0" fmla="*/ 36778 h 37318"/>
                <a:gd name="connsiteX1" fmla="*/ 747457 w 764764"/>
                <a:gd name="connsiteY1" fmla="*/ 37319 h 37318"/>
                <a:gd name="connsiteX2" fmla="*/ 730150 w 764764"/>
                <a:gd name="connsiteY2" fmla="*/ 36778 h 37318"/>
                <a:gd name="connsiteX3" fmla="*/ 712843 w 764764"/>
                <a:gd name="connsiteY3" fmla="*/ 35696 h 37318"/>
                <a:gd name="connsiteX4" fmla="*/ 695536 w 764764"/>
                <a:gd name="connsiteY4" fmla="*/ 34074 h 37318"/>
                <a:gd name="connsiteX5" fmla="*/ 678228 w 764764"/>
                <a:gd name="connsiteY5" fmla="*/ 33533 h 37318"/>
                <a:gd name="connsiteX6" fmla="*/ 660921 w 764764"/>
                <a:gd name="connsiteY6" fmla="*/ 31910 h 37318"/>
                <a:gd name="connsiteX7" fmla="*/ 643614 w 764764"/>
                <a:gd name="connsiteY7" fmla="*/ 31910 h 37318"/>
                <a:gd name="connsiteX8" fmla="*/ 626306 w 764764"/>
                <a:gd name="connsiteY8" fmla="*/ 30288 h 37318"/>
                <a:gd name="connsiteX9" fmla="*/ 608999 w 764764"/>
                <a:gd name="connsiteY9" fmla="*/ 28665 h 37318"/>
                <a:gd name="connsiteX10" fmla="*/ 591151 w 764764"/>
                <a:gd name="connsiteY10" fmla="*/ 29747 h 37318"/>
                <a:gd name="connsiteX11" fmla="*/ 573844 w 764764"/>
                <a:gd name="connsiteY11" fmla="*/ 28665 h 37318"/>
                <a:gd name="connsiteX12" fmla="*/ 556536 w 764764"/>
                <a:gd name="connsiteY12" fmla="*/ 27583 h 37318"/>
                <a:gd name="connsiteX13" fmla="*/ 539229 w 764764"/>
                <a:gd name="connsiteY13" fmla="*/ 26502 h 37318"/>
                <a:gd name="connsiteX14" fmla="*/ 521922 w 764764"/>
                <a:gd name="connsiteY14" fmla="*/ 24879 h 37318"/>
                <a:gd name="connsiteX15" fmla="*/ 504615 w 764764"/>
                <a:gd name="connsiteY15" fmla="*/ 23257 h 37318"/>
                <a:gd name="connsiteX16" fmla="*/ 487308 w 764764"/>
                <a:gd name="connsiteY16" fmla="*/ 23797 h 37318"/>
                <a:gd name="connsiteX17" fmla="*/ 470000 w 764764"/>
                <a:gd name="connsiteY17" fmla="*/ 22175 h 37318"/>
                <a:gd name="connsiteX18" fmla="*/ 452152 w 764764"/>
                <a:gd name="connsiteY18" fmla="*/ 23257 h 37318"/>
                <a:gd name="connsiteX19" fmla="*/ 434845 w 764764"/>
                <a:gd name="connsiteY19" fmla="*/ 21093 h 37318"/>
                <a:gd name="connsiteX20" fmla="*/ 417538 w 764764"/>
                <a:gd name="connsiteY20" fmla="*/ 20552 h 37318"/>
                <a:gd name="connsiteX21" fmla="*/ 400231 w 764764"/>
                <a:gd name="connsiteY21" fmla="*/ 20012 h 37318"/>
                <a:gd name="connsiteX22" fmla="*/ 382923 w 764764"/>
                <a:gd name="connsiteY22" fmla="*/ 18930 h 37318"/>
                <a:gd name="connsiteX23" fmla="*/ 365616 w 764764"/>
                <a:gd name="connsiteY23" fmla="*/ 17307 h 37318"/>
                <a:gd name="connsiteX24" fmla="*/ 348308 w 764764"/>
                <a:gd name="connsiteY24" fmla="*/ 17307 h 37318"/>
                <a:gd name="connsiteX25" fmla="*/ 331001 w 764764"/>
                <a:gd name="connsiteY25" fmla="*/ 15144 h 37318"/>
                <a:gd name="connsiteX26" fmla="*/ 313694 w 764764"/>
                <a:gd name="connsiteY26" fmla="*/ 15144 h 37318"/>
                <a:gd name="connsiteX27" fmla="*/ 296387 w 764764"/>
                <a:gd name="connsiteY27" fmla="*/ 12440 h 37318"/>
                <a:gd name="connsiteX28" fmla="*/ 279080 w 764764"/>
                <a:gd name="connsiteY28" fmla="*/ 12440 h 37318"/>
                <a:gd name="connsiteX29" fmla="*/ 261772 w 764764"/>
                <a:gd name="connsiteY29" fmla="*/ 12440 h 37318"/>
                <a:gd name="connsiteX30" fmla="*/ 244465 w 764764"/>
                <a:gd name="connsiteY30" fmla="*/ 12440 h 37318"/>
                <a:gd name="connsiteX31" fmla="*/ 227158 w 764764"/>
                <a:gd name="connsiteY31" fmla="*/ 10817 h 37318"/>
                <a:gd name="connsiteX32" fmla="*/ 209850 w 764764"/>
                <a:gd name="connsiteY32" fmla="*/ 8654 h 37318"/>
                <a:gd name="connsiteX33" fmla="*/ 192543 w 764764"/>
                <a:gd name="connsiteY33" fmla="*/ 7572 h 37318"/>
                <a:gd name="connsiteX34" fmla="*/ 174695 w 764764"/>
                <a:gd name="connsiteY34" fmla="*/ 8654 h 37318"/>
                <a:gd name="connsiteX35" fmla="*/ 157388 w 764764"/>
                <a:gd name="connsiteY35" fmla="*/ 8654 h 37318"/>
                <a:gd name="connsiteX36" fmla="*/ 140080 w 764764"/>
                <a:gd name="connsiteY36" fmla="*/ 5409 h 37318"/>
                <a:gd name="connsiteX37" fmla="*/ 122773 w 764764"/>
                <a:gd name="connsiteY37" fmla="*/ 4868 h 37318"/>
                <a:gd name="connsiteX38" fmla="*/ 104925 w 764764"/>
                <a:gd name="connsiteY38" fmla="*/ 5409 h 37318"/>
                <a:gd name="connsiteX39" fmla="*/ 87618 w 764764"/>
                <a:gd name="connsiteY39" fmla="*/ 3786 h 37318"/>
                <a:gd name="connsiteX40" fmla="*/ 69770 w 764764"/>
                <a:gd name="connsiteY40" fmla="*/ 4868 h 37318"/>
                <a:gd name="connsiteX41" fmla="*/ 52463 w 764764"/>
                <a:gd name="connsiteY41" fmla="*/ 3786 h 37318"/>
                <a:gd name="connsiteX42" fmla="*/ 35155 w 764764"/>
                <a:gd name="connsiteY42" fmla="*/ 1082 h 37318"/>
                <a:gd name="connsiteX43" fmla="*/ 17307 w 764764"/>
                <a:gd name="connsiteY43" fmla="*/ 1623 h 37318"/>
                <a:gd name="connsiteX44" fmla="*/ 0 w 764764"/>
                <a:gd name="connsiteY44" fmla="*/ 0 h 37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764764" h="37318">
                  <a:moveTo>
                    <a:pt x="764764" y="36778"/>
                  </a:moveTo>
                  <a:cubicBezTo>
                    <a:pt x="756111" y="36237"/>
                    <a:pt x="756111" y="37319"/>
                    <a:pt x="747457" y="37319"/>
                  </a:cubicBezTo>
                  <a:cubicBezTo>
                    <a:pt x="738804" y="36778"/>
                    <a:pt x="738804" y="37319"/>
                    <a:pt x="730150" y="36778"/>
                  </a:cubicBezTo>
                  <a:cubicBezTo>
                    <a:pt x="721496" y="36237"/>
                    <a:pt x="721496" y="35696"/>
                    <a:pt x="712843" y="35696"/>
                  </a:cubicBezTo>
                  <a:cubicBezTo>
                    <a:pt x="704189" y="35155"/>
                    <a:pt x="704189" y="34614"/>
                    <a:pt x="695536" y="34074"/>
                  </a:cubicBezTo>
                  <a:cubicBezTo>
                    <a:pt x="686882" y="33533"/>
                    <a:pt x="686882" y="33533"/>
                    <a:pt x="678228" y="33533"/>
                  </a:cubicBezTo>
                  <a:cubicBezTo>
                    <a:pt x="669574" y="32992"/>
                    <a:pt x="669574" y="32451"/>
                    <a:pt x="660921" y="31910"/>
                  </a:cubicBezTo>
                  <a:cubicBezTo>
                    <a:pt x="652267" y="31370"/>
                    <a:pt x="652267" y="32451"/>
                    <a:pt x="643614" y="31910"/>
                  </a:cubicBezTo>
                  <a:cubicBezTo>
                    <a:pt x="634960" y="31370"/>
                    <a:pt x="634960" y="30829"/>
                    <a:pt x="626306" y="30288"/>
                  </a:cubicBezTo>
                  <a:cubicBezTo>
                    <a:pt x="617653" y="29747"/>
                    <a:pt x="617653" y="29206"/>
                    <a:pt x="608999" y="28665"/>
                  </a:cubicBezTo>
                  <a:cubicBezTo>
                    <a:pt x="600346" y="28124"/>
                    <a:pt x="600346" y="30288"/>
                    <a:pt x="591151" y="29747"/>
                  </a:cubicBezTo>
                  <a:cubicBezTo>
                    <a:pt x="582497" y="29206"/>
                    <a:pt x="582497" y="29206"/>
                    <a:pt x="573844" y="28665"/>
                  </a:cubicBezTo>
                  <a:cubicBezTo>
                    <a:pt x="565190" y="28124"/>
                    <a:pt x="565190" y="28124"/>
                    <a:pt x="556536" y="27583"/>
                  </a:cubicBezTo>
                  <a:cubicBezTo>
                    <a:pt x="547883" y="27043"/>
                    <a:pt x="547883" y="27043"/>
                    <a:pt x="539229" y="26502"/>
                  </a:cubicBezTo>
                  <a:cubicBezTo>
                    <a:pt x="530576" y="25961"/>
                    <a:pt x="530576" y="25420"/>
                    <a:pt x="521922" y="24879"/>
                  </a:cubicBezTo>
                  <a:cubicBezTo>
                    <a:pt x="513268" y="24338"/>
                    <a:pt x="513268" y="23797"/>
                    <a:pt x="504615" y="23257"/>
                  </a:cubicBezTo>
                  <a:cubicBezTo>
                    <a:pt x="495961" y="22716"/>
                    <a:pt x="495961" y="23797"/>
                    <a:pt x="487308" y="23797"/>
                  </a:cubicBezTo>
                  <a:cubicBezTo>
                    <a:pt x="478654" y="23257"/>
                    <a:pt x="478654" y="22716"/>
                    <a:pt x="470000" y="22175"/>
                  </a:cubicBezTo>
                  <a:cubicBezTo>
                    <a:pt x="461346" y="21634"/>
                    <a:pt x="461346" y="23797"/>
                    <a:pt x="452152" y="23257"/>
                  </a:cubicBezTo>
                  <a:cubicBezTo>
                    <a:pt x="443499" y="22716"/>
                    <a:pt x="443499" y="21634"/>
                    <a:pt x="434845" y="21093"/>
                  </a:cubicBezTo>
                  <a:cubicBezTo>
                    <a:pt x="426191" y="20552"/>
                    <a:pt x="426191" y="21093"/>
                    <a:pt x="417538" y="20552"/>
                  </a:cubicBezTo>
                  <a:cubicBezTo>
                    <a:pt x="408884" y="20012"/>
                    <a:pt x="408884" y="20552"/>
                    <a:pt x="400231" y="20012"/>
                  </a:cubicBezTo>
                  <a:cubicBezTo>
                    <a:pt x="391576" y="19471"/>
                    <a:pt x="391576" y="18930"/>
                    <a:pt x="382923" y="18930"/>
                  </a:cubicBezTo>
                  <a:cubicBezTo>
                    <a:pt x="374269" y="18389"/>
                    <a:pt x="374269" y="17848"/>
                    <a:pt x="365616" y="17307"/>
                  </a:cubicBezTo>
                  <a:cubicBezTo>
                    <a:pt x="356963" y="16766"/>
                    <a:pt x="356963" y="17848"/>
                    <a:pt x="348308" y="17307"/>
                  </a:cubicBezTo>
                  <a:cubicBezTo>
                    <a:pt x="339655" y="16766"/>
                    <a:pt x="339655" y="15685"/>
                    <a:pt x="331001" y="15144"/>
                  </a:cubicBezTo>
                  <a:cubicBezTo>
                    <a:pt x="322348" y="14603"/>
                    <a:pt x="322348" y="15685"/>
                    <a:pt x="313694" y="15144"/>
                  </a:cubicBezTo>
                  <a:cubicBezTo>
                    <a:pt x="305040" y="14603"/>
                    <a:pt x="305040" y="12980"/>
                    <a:pt x="296387" y="12440"/>
                  </a:cubicBezTo>
                  <a:cubicBezTo>
                    <a:pt x="287733" y="11899"/>
                    <a:pt x="287733" y="12980"/>
                    <a:pt x="279080" y="12440"/>
                  </a:cubicBezTo>
                  <a:cubicBezTo>
                    <a:pt x="270426" y="11899"/>
                    <a:pt x="270426" y="12980"/>
                    <a:pt x="261772" y="12440"/>
                  </a:cubicBezTo>
                  <a:cubicBezTo>
                    <a:pt x="253119" y="11899"/>
                    <a:pt x="253119" y="12980"/>
                    <a:pt x="244465" y="12440"/>
                  </a:cubicBezTo>
                  <a:cubicBezTo>
                    <a:pt x="235812" y="11899"/>
                    <a:pt x="235812" y="11358"/>
                    <a:pt x="227158" y="10817"/>
                  </a:cubicBezTo>
                  <a:cubicBezTo>
                    <a:pt x="218504" y="10276"/>
                    <a:pt x="218504" y="9195"/>
                    <a:pt x="209850" y="8654"/>
                  </a:cubicBezTo>
                  <a:cubicBezTo>
                    <a:pt x="201197" y="8113"/>
                    <a:pt x="201197" y="7572"/>
                    <a:pt x="192543" y="7572"/>
                  </a:cubicBezTo>
                  <a:cubicBezTo>
                    <a:pt x="183890" y="7031"/>
                    <a:pt x="183890" y="9195"/>
                    <a:pt x="174695" y="8654"/>
                  </a:cubicBezTo>
                  <a:cubicBezTo>
                    <a:pt x="166042" y="8113"/>
                    <a:pt x="166042" y="8654"/>
                    <a:pt x="157388" y="8654"/>
                  </a:cubicBezTo>
                  <a:cubicBezTo>
                    <a:pt x="148735" y="8113"/>
                    <a:pt x="148735" y="5949"/>
                    <a:pt x="140080" y="5409"/>
                  </a:cubicBezTo>
                  <a:cubicBezTo>
                    <a:pt x="131427" y="4868"/>
                    <a:pt x="131427" y="5409"/>
                    <a:pt x="122773" y="4868"/>
                  </a:cubicBezTo>
                  <a:cubicBezTo>
                    <a:pt x="114120" y="4327"/>
                    <a:pt x="114120" y="5949"/>
                    <a:pt x="104925" y="5409"/>
                  </a:cubicBezTo>
                  <a:cubicBezTo>
                    <a:pt x="96272" y="4868"/>
                    <a:pt x="96272" y="3786"/>
                    <a:pt x="87618" y="3786"/>
                  </a:cubicBezTo>
                  <a:cubicBezTo>
                    <a:pt x="78965" y="3245"/>
                    <a:pt x="78965" y="5409"/>
                    <a:pt x="69770" y="4868"/>
                  </a:cubicBezTo>
                  <a:cubicBezTo>
                    <a:pt x="61116" y="4327"/>
                    <a:pt x="61116" y="4327"/>
                    <a:pt x="52463" y="3786"/>
                  </a:cubicBezTo>
                  <a:cubicBezTo>
                    <a:pt x="43809" y="3245"/>
                    <a:pt x="43809" y="1623"/>
                    <a:pt x="35155" y="1082"/>
                  </a:cubicBezTo>
                  <a:cubicBezTo>
                    <a:pt x="26502" y="541"/>
                    <a:pt x="26502" y="1623"/>
                    <a:pt x="17307" y="1623"/>
                  </a:cubicBezTo>
                  <a:cubicBezTo>
                    <a:pt x="8654" y="1082"/>
                    <a:pt x="8654" y="541"/>
                    <a:pt x="0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8" name="Freeform: Shape 1327">
              <a:extLst>
                <a:ext uri="{FF2B5EF4-FFF2-40B4-BE49-F238E27FC236}">
                  <a16:creationId xmlns:a16="http://schemas.microsoft.com/office/drawing/2014/main" id="{DE86DDC4-9A0E-C4DD-041C-2BBDD867B0BA}"/>
                </a:ext>
              </a:extLst>
            </p:cNvPr>
            <p:cNvSpPr/>
            <p:nvPr/>
          </p:nvSpPr>
          <p:spPr>
            <a:xfrm>
              <a:off x="6025689" y="-991334"/>
              <a:ext cx="905385" cy="184430"/>
            </a:xfrm>
            <a:custGeom>
              <a:avLst/>
              <a:gdLst>
                <a:gd name="connsiteX0" fmla="*/ 905386 w 905385"/>
                <a:gd name="connsiteY0" fmla="*/ 184430 h 184430"/>
                <a:gd name="connsiteX1" fmla="*/ 888078 w 905385"/>
                <a:gd name="connsiteY1" fmla="*/ 180104 h 184430"/>
                <a:gd name="connsiteX2" fmla="*/ 870771 w 905385"/>
                <a:gd name="connsiteY2" fmla="*/ 175777 h 184430"/>
                <a:gd name="connsiteX3" fmla="*/ 853464 w 905385"/>
                <a:gd name="connsiteY3" fmla="*/ 172532 h 184430"/>
                <a:gd name="connsiteX4" fmla="*/ 835616 w 905385"/>
                <a:gd name="connsiteY4" fmla="*/ 169828 h 184430"/>
                <a:gd name="connsiteX5" fmla="*/ 818309 w 905385"/>
                <a:gd name="connsiteY5" fmla="*/ 164960 h 184430"/>
                <a:gd name="connsiteX6" fmla="*/ 801001 w 905385"/>
                <a:gd name="connsiteY6" fmla="*/ 161715 h 184430"/>
                <a:gd name="connsiteX7" fmla="*/ 783694 w 905385"/>
                <a:gd name="connsiteY7" fmla="*/ 158470 h 184430"/>
                <a:gd name="connsiteX8" fmla="*/ 766387 w 905385"/>
                <a:gd name="connsiteY8" fmla="*/ 154684 h 184430"/>
                <a:gd name="connsiteX9" fmla="*/ 748539 w 905385"/>
                <a:gd name="connsiteY9" fmla="*/ 151979 h 184430"/>
                <a:gd name="connsiteX10" fmla="*/ 731231 w 905385"/>
                <a:gd name="connsiteY10" fmla="*/ 148734 h 184430"/>
                <a:gd name="connsiteX11" fmla="*/ 713924 w 905385"/>
                <a:gd name="connsiteY11" fmla="*/ 143867 h 184430"/>
                <a:gd name="connsiteX12" fmla="*/ 696076 w 905385"/>
                <a:gd name="connsiteY12" fmla="*/ 141703 h 184430"/>
                <a:gd name="connsiteX13" fmla="*/ 678769 w 905385"/>
                <a:gd name="connsiteY13" fmla="*/ 136836 h 184430"/>
                <a:gd name="connsiteX14" fmla="*/ 660921 w 905385"/>
                <a:gd name="connsiteY14" fmla="*/ 134131 h 184430"/>
                <a:gd name="connsiteX15" fmla="*/ 643614 w 905385"/>
                <a:gd name="connsiteY15" fmla="*/ 131427 h 184430"/>
                <a:gd name="connsiteX16" fmla="*/ 626307 w 905385"/>
                <a:gd name="connsiteY16" fmla="*/ 128182 h 184430"/>
                <a:gd name="connsiteX17" fmla="*/ 608999 w 905385"/>
                <a:gd name="connsiteY17" fmla="*/ 124396 h 184430"/>
                <a:gd name="connsiteX18" fmla="*/ 592233 w 905385"/>
                <a:gd name="connsiteY18" fmla="*/ 118987 h 184430"/>
                <a:gd name="connsiteX19" fmla="*/ 574384 w 905385"/>
                <a:gd name="connsiteY19" fmla="*/ 116824 h 184430"/>
                <a:gd name="connsiteX20" fmla="*/ 557077 w 905385"/>
                <a:gd name="connsiteY20" fmla="*/ 112497 h 184430"/>
                <a:gd name="connsiteX21" fmla="*/ 539770 w 905385"/>
                <a:gd name="connsiteY21" fmla="*/ 108711 h 184430"/>
                <a:gd name="connsiteX22" fmla="*/ 522463 w 905385"/>
                <a:gd name="connsiteY22" fmla="*/ 106007 h 184430"/>
                <a:gd name="connsiteX23" fmla="*/ 505156 w 905385"/>
                <a:gd name="connsiteY23" fmla="*/ 101139 h 184430"/>
                <a:gd name="connsiteX24" fmla="*/ 487848 w 905385"/>
                <a:gd name="connsiteY24" fmla="*/ 97353 h 184430"/>
                <a:gd name="connsiteX25" fmla="*/ 470541 w 905385"/>
                <a:gd name="connsiteY25" fmla="*/ 94649 h 184430"/>
                <a:gd name="connsiteX26" fmla="*/ 453234 w 905385"/>
                <a:gd name="connsiteY26" fmla="*/ 90863 h 184430"/>
                <a:gd name="connsiteX27" fmla="*/ 435386 w 905385"/>
                <a:gd name="connsiteY27" fmla="*/ 88700 h 184430"/>
                <a:gd name="connsiteX28" fmla="*/ 418079 w 905385"/>
                <a:gd name="connsiteY28" fmla="*/ 85455 h 184430"/>
                <a:gd name="connsiteX29" fmla="*/ 400771 w 905385"/>
                <a:gd name="connsiteY29" fmla="*/ 81669 h 184430"/>
                <a:gd name="connsiteX30" fmla="*/ 383464 w 905385"/>
                <a:gd name="connsiteY30" fmla="*/ 77342 h 184430"/>
                <a:gd name="connsiteX31" fmla="*/ 366156 w 905385"/>
                <a:gd name="connsiteY31" fmla="*/ 73556 h 184430"/>
                <a:gd name="connsiteX32" fmla="*/ 348309 w 905385"/>
                <a:gd name="connsiteY32" fmla="*/ 70852 h 184430"/>
                <a:gd name="connsiteX33" fmla="*/ 331001 w 905385"/>
                <a:gd name="connsiteY33" fmla="*/ 67606 h 184430"/>
                <a:gd name="connsiteX34" fmla="*/ 314235 w 905385"/>
                <a:gd name="connsiteY34" fmla="*/ 61657 h 184430"/>
                <a:gd name="connsiteX35" fmla="*/ 296387 w 905385"/>
                <a:gd name="connsiteY35" fmla="*/ 59494 h 184430"/>
                <a:gd name="connsiteX36" fmla="*/ 279079 w 905385"/>
                <a:gd name="connsiteY36" fmla="*/ 56789 h 184430"/>
                <a:gd name="connsiteX37" fmla="*/ 261772 w 905385"/>
                <a:gd name="connsiteY37" fmla="*/ 51922 h 184430"/>
                <a:gd name="connsiteX38" fmla="*/ 243924 w 905385"/>
                <a:gd name="connsiteY38" fmla="*/ 50299 h 184430"/>
                <a:gd name="connsiteX39" fmla="*/ 227158 w 905385"/>
                <a:gd name="connsiteY39" fmla="*/ 44891 h 184430"/>
                <a:gd name="connsiteX40" fmla="*/ 209851 w 905385"/>
                <a:gd name="connsiteY40" fmla="*/ 41105 h 184430"/>
                <a:gd name="connsiteX41" fmla="*/ 192002 w 905385"/>
                <a:gd name="connsiteY41" fmla="*/ 39482 h 184430"/>
                <a:gd name="connsiteX42" fmla="*/ 174695 w 905385"/>
                <a:gd name="connsiteY42" fmla="*/ 34074 h 184430"/>
                <a:gd name="connsiteX43" fmla="*/ 156847 w 905385"/>
                <a:gd name="connsiteY43" fmla="*/ 32451 h 184430"/>
                <a:gd name="connsiteX44" fmla="*/ 139540 w 905385"/>
                <a:gd name="connsiteY44" fmla="*/ 27583 h 184430"/>
                <a:gd name="connsiteX45" fmla="*/ 121692 w 905385"/>
                <a:gd name="connsiteY45" fmla="*/ 24879 h 184430"/>
                <a:gd name="connsiteX46" fmla="*/ 104384 w 905385"/>
                <a:gd name="connsiteY46" fmla="*/ 20552 h 184430"/>
                <a:gd name="connsiteX47" fmla="*/ 87077 w 905385"/>
                <a:gd name="connsiteY47" fmla="*/ 17307 h 184430"/>
                <a:gd name="connsiteX48" fmla="*/ 69229 w 905385"/>
                <a:gd name="connsiteY48" fmla="*/ 14603 h 184430"/>
                <a:gd name="connsiteX49" fmla="*/ 51922 w 905385"/>
                <a:gd name="connsiteY49" fmla="*/ 11899 h 184430"/>
                <a:gd name="connsiteX50" fmla="*/ 34615 w 905385"/>
                <a:gd name="connsiteY50" fmla="*/ 8113 h 184430"/>
                <a:gd name="connsiteX51" fmla="*/ 17307 w 905385"/>
                <a:gd name="connsiteY51" fmla="*/ 3786 h 184430"/>
                <a:gd name="connsiteX52" fmla="*/ 0 w 905385"/>
                <a:gd name="connsiteY52" fmla="*/ 0 h 1844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905385" h="184430">
                  <a:moveTo>
                    <a:pt x="905386" y="184430"/>
                  </a:moveTo>
                  <a:cubicBezTo>
                    <a:pt x="896732" y="182808"/>
                    <a:pt x="896732" y="181726"/>
                    <a:pt x="888078" y="180104"/>
                  </a:cubicBezTo>
                  <a:cubicBezTo>
                    <a:pt x="879425" y="178481"/>
                    <a:pt x="879425" y="177399"/>
                    <a:pt x="870771" y="175777"/>
                  </a:cubicBezTo>
                  <a:cubicBezTo>
                    <a:pt x="862118" y="174154"/>
                    <a:pt x="862118" y="174154"/>
                    <a:pt x="853464" y="172532"/>
                  </a:cubicBezTo>
                  <a:cubicBezTo>
                    <a:pt x="844810" y="170909"/>
                    <a:pt x="844810" y="171991"/>
                    <a:pt x="835616" y="169828"/>
                  </a:cubicBezTo>
                  <a:cubicBezTo>
                    <a:pt x="826962" y="168205"/>
                    <a:pt x="826962" y="167123"/>
                    <a:pt x="818309" y="164960"/>
                  </a:cubicBezTo>
                  <a:cubicBezTo>
                    <a:pt x="809655" y="163337"/>
                    <a:pt x="809655" y="163337"/>
                    <a:pt x="801001" y="161715"/>
                  </a:cubicBezTo>
                  <a:cubicBezTo>
                    <a:pt x="792348" y="160092"/>
                    <a:pt x="792348" y="160092"/>
                    <a:pt x="783694" y="158470"/>
                  </a:cubicBezTo>
                  <a:cubicBezTo>
                    <a:pt x="775041" y="156847"/>
                    <a:pt x="775041" y="156306"/>
                    <a:pt x="766387" y="154684"/>
                  </a:cubicBezTo>
                  <a:cubicBezTo>
                    <a:pt x="757733" y="153061"/>
                    <a:pt x="757733" y="154143"/>
                    <a:pt x="748539" y="151979"/>
                  </a:cubicBezTo>
                  <a:cubicBezTo>
                    <a:pt x="739885" y="150357"/>
                    <a:pt x="739885" y="150357"/>
                    <a:pt x="731231" y="148734"/>
                  </a:cubicBezTo>
                  <a:cubicBezTo>
                    <a:pt x="722578" y="147112"/>
                    <a:pt x="722578" y="145489"/>
                    <a:pt x="713924" y="143867"/>
                  </a:cubicBezTo>
                  <a:cubicBezTo>
                    <a:pt x="705271" y="142244"/>
                    <a:pt x="704730" y="143867"/>
                    <a:pt x="696076" y="141703"/>
                  </a:cubicBezTo>
                  <a:cubicBezTo>
                    <a:pt x="687422" y="140081"/>
                    <a:pt x="687422" y="138458"/>
                    <a:pt x="678769" y="136836"/>
                  </a:cubicBezTo>
                  <a:cubicBezTo>
                    <a:pt x="670115" y="135213"/>
                    <a:pt x="670115" y="136295"/>
                    <a:pt x="660921" y="134131"/>
                  </a:cubicBezTo>
                  <a:cubicBezTo>
                    <a:pt x="652267" y="132509"/>
                    <a:pt x="652267" y="133050"/>
                    <a:pt x="643614" y="131427"/>
                  </a:cubicBezTo>
                  <a:cubicBezTo>
                    <a:pt x="634960" y="129804"/>
                    <a:pt x="634960" y="129804"/>
                    <a:pt x="626307" y="128182"/>
                  </a:cubicBezTo>
                  <a:cubicBezTo>
                    <a:pt x="617652" y="126559"/>
                    <a:pt x="617652" y="126559"/>
                    <a:pt x="608999" y="124396"/>
                  </a:cubicBezTo>
                  <a:cubicBezTo>
                    <a:pt x="600345" y="122773"/>
                    <a:pt x="600886" y="120610"/>
                    <a:pt x="592233" y="118987"/>
                  </a:cubicBezTo>
                  <a:cubicBezTo>
                    <a:pt x="583579" y="117365"/>
                    <a:pt x="583038" y="118447"/>
                    <a:pt x="574384" y="116824"/>
                  </a:cubicBezTo>
                  <a:cubicBezTo>
                    <a:pt x="565731" y="115201"/>
                    <a:pt x="565731" y="114661"/>
                    <a:pt x="557077" y="112497"/>
                  </a:cubicBezTo>
                  <a:cubicBezTo>
                    <a:pt x="548424" y="110334"/>
                    <a:pt x="548424" y="110875"/>
                    <a:pt x="539770" y="108711"/>
                  </a:cubicBezTo>
                  <a:cubicBezTo>
                    <a:pt x="531116" y="107089"/>
                    <a:pt x="531116" y="107630"/>
                    <a:pt x="522463" y="106007"/>
                  </a:cubicBezTo>
                  <a:cubicBezTo>
                    <a:pt x="513809" y="104384"/>
                    <a:pt x="513809" y="102762"/>
                    <a:pt x="505156" y="101139"/>
                  </a:cubicBezTo>
                  <a:cubicBezTo>
                    <a:pt x="496502" y="99517"/>
                    <a:pt x="496502" y="98976"/>
                    <a:pt x="487848" y="97353"/>
                  </a:cubicBezTo>
                  <a:cubicBezTo>
                    <a:pt x="479195" y="95731"/>
                    <a:pt x="479195" y="96272"/>
                    <a:pt x="470541" y="94649"/>
                  </a:cubicBezTo>
                  <a:cubicBezTo>
                    <a:pt x="461888" y="93026"/>
                    <a:pt x="461888" y="92486"/>
                    <a:pt x="453234" y="90863"/>
                  </a:cubicBezTo>
                  <a:cubicBezTo>
                    <a:pt x="444580" y="89241"/>
                    <a:pt x="444039" y="90322"/>
                    <a:pt x="435386" y="88700"/>
                  </a:cubicBezTo>
                  <a:cubicBezTo>
                    <a:pt x="426732" y="87077"/>
                    <a:pt x="426732" y="87077"/>
                    <a:pt x="418079" y="85455"/>
                  </a:cubicBezTo>
                  <a:cubicBezTo>
                    <a:pt x="409425" y="83832"/>
                    <a:pt x="409425" y="83291"/>
                    <a:pt x="400771" y="81669"/>
                  </a:cubicBezTo>
                  <a:cubicBezTo>
                    <a:pt x="392118" y="80046"/>
                    <a:pt x="392118" y="78964"/>
                    <a:pt x="383464" y="77342"/>
                  </a:cubicBezTo>
                  <a:cubicBezTo>
                    <a:pt x="374811" y="75719"/>
                    <a:pt x="374811" y="75719"/>
                    <a:pt x="366156" y="73556"/>
                  </a:cubicBezTo>
                  <a:cubicBezTo>
                    <a:pt x="357503" y="71933"/>
                    <a:pt x="357503" y="72474"/>
                    <a:pt x="348309" y="70852"/>
                  </a:cubicBezTo>
                  <a:cubicBezTo>
                    <a:pt x="339655" y="69229"/>
                    <a:pt x="339655" y="69770"/>
                    <a:pt x="331001" y="67606"/>
                  </a:cubicBezTo>
                  <a:cubicBezTo>
                    <a:pt x="322348" y="65984"/>
                    <a:pt x="322888" y="63280"/>
                    <a:pt x="314235" y="61657"/>
                  </a:cubicBezTo>
                  <a:cubicBezTo>
                    <a:pt x="305581" y="60035"/>
                    <a:pt x="305041" y="61657"/>
                    <a:pt x="296387" y="59494"/>
                  </a:cubicBezTo>
                  <a:cubicBezTo>
                    <a:pt x="287733" y="57871"/>
                    <a:pt x="287733" y="58412"/>
                    <a:pt x="279079" y="56789"/>
                  </a:cubicBezTo>
                  <a:cubicBezTo>
                    <a:pt x="270426" y="55167"/>
                    <a:pt x="270426" y="53544"/>
                    <a:pt x="261772" y="51922"/>
                  </a:cubicBezTo>
                  <a:cubicBezTo>
                    <a:pt x="253119" y="50299"/>
                    <a:pt x="252578" y="51922"/>
                    <a:pt x="243924" y="50299"/>
                  </a:cubicBezTo>
                  <a:cubicBezTo>
                    <a:pt x="235271" y="48677"/>
                    <a:pt x="235811" y="46513"/>
                    <a:pt x="227158" y="44891"/>
                  </a:cubicBezTo>
                  <a:cubicBezTo>
                    <a:pt x="218504" y="43268"/>
                    <a:pt x="218504" y="42727"/>
                    <a:pt x="209851" y="41105"/>
                  </a:cubicBezTo>
                  <a:cubicBezTo>
                    <a:pt x="201197" y="39482"/>
                    <a:pt x="200656" y="41105"/>
                    <a:pt x="192002" y="39482"/>
                  </a:cubicBezTo>
                  <a:cubicBezTo>
                    <a:pt x="183349" y="37860"/>
                    <a:pt x="183890" y="35696"/>
                    <a:pt x="174695" y="34074"/>
                  </a:cubicBezTo>
                  <a:cubicBezTo>
                    <a:pt x="166042" y="32451"/>
                    <a:pt x="165501" y="34074"/>
                    <a:pt x="156847" y="32451"/>
                  </a:cubicBezTo>
                  <a:cubicBezTo>
                    <a:pt x="148194" y="30829"/>
                    <a:pt x="148194" y="29206"/>
                    <a:pt x="139540" y="27583"/>
                  </a:cubicBezTo>
                  <a:cubicBezTo>
                    <a:pt x="130886" y="25961"/>
                    <a:pt x="130886" y="26502"/>
                    <a:pt x="121692" y="24879"/>
                  </a:cubicBezTo>
                  <a:cubicBezTo>
                    <a:pt x="112497" y="23257"/>
                    <a:pt x="113038" y="22175"/>
                    <a:pt x="104384" y="20552"/>
                  </a:cubicBezTo>
                  <a:cubicBezTo>
                    <a:pt x="95731" y="18930"/>
                    <a:pt x="95731" y="18930"/>
                    <a:pt x="87077" y="17307"/>
                  </a:cubicBezTo>
                  <a:cubicBezTo>
                    <a:pt x="78424" y="15685"/>
                    <a:pt x="78424" y="16226"/>
                    <a:pt x="69229" y="14603"/>
                  </a:cubicBezTo>
                  <a:cubicBezTo>
                    <a:pt x="60575" y="12980"/>
                    <a:pt x="60575" y="13521"/>
                    <a:pt x="51922" y="11899"/>
                  </a:cubicBezTo>
                  <a:cubicBezTo>
                    <a:pt x="43268" y="10276"/>
                    <a:pt x="43268" y="10276"/>
                    <a:pt x="34615" y="8113"/>
                  </a:cubicBezTo>
                  <a:cubicBezTo>
                    <a:pt x="25961" y="6490"/>
                    <a:pt x="25961" y="5409"/>
                    <a:pt x="17307" y="3786"/>
                  </a:cubicBezTo>
                  <a:cubicBezTo>
                    <a:pt x="8653" y="2163"/>
                    <a:pt x="8653" y="1623"/>
                    <a:pt x="0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29" name="Freeform: Shape 1328">
              <a:extLst>
                <a:ext uri="{FF2B5EF4-FFF2-40B4-BE49-F238E27FC236}">
                  <a16:creationId xmlns:a16="http://schemas.microsoft.com/office/drawing/2014/main" id="{3C6E4608-A6B8-DD02-1F23-D25F00563198}"/>
                </a:ext>
              </a:extLst>
            </p:cNvPr>
            <p:cNvSpPr/>
            <p:nvPr/>
          </p:nvSpPr>
          <p:spPr>
            <a:xfrm>
              <a:off x="6132777" y="-1575994"/>
              <a:ext cx="908089" cy="604672"/>
            </a:xfrm>
            <a:custGeom>
              <a:avLst/>
              <a:gdLst>
                <a:gd name="connsiteX0" fmla="*/ 908090 w 908089"/>
                <a:gd name="connsiteY0" fmla="*/ 604672 h 604672"/>
                <a:gd name="connsiteX1" fmla="*/ 892406 w 908089"/>
                <a:gd name="connsiteY1" fmla="*/ 596559 h 604672"/>
                <a:gd name="connsiteX2" fmla="*/ 877802 w 908089"/>
                <a:gd name="connsiteY2" fmla="*/ 586824 h 604672"/>
                <a:gd name="connsiteX3" fmla="*/ 864281 w 908089"/>
                <a:gd name="connsiteY3" fmla="*/ 575466 h 604672"/>
                <a:gd name="connsiteX4" fmla="*/ 849678 w 908089"/>
                <a:gd name="connsiteY4" fmla="*/ 566272 h 604672"/>
                <a:gd name="connsiteX5" fmla="*/ 835075 w 908089"/>
                <a:gd name="connsiteY5" fmla="*/ 557077 h 604672"/>
                <a:gd name="connsiteX6" fmla="*/ 821013 w 908089"/>
                <a:gd name="connsiteY6" fmla="*/ 546260 h 604672"/>
                <a:gd name="connsiteX7" fmla="*/ 805328 w 908089"/>
                <a:gd name="connsiteY7" fmla="*/ 538148 h 604672"/>
                <a:gd name="connsiteX8" fmla="*/ 791266 w 908089"/>
                <a:gd name="connsiteY8" fmla="*/ 527871 h 604672"/>
                <a:gd name="connsiteX9" fmla="*/ 776123 w 908089"/>
                <a:gd name="connsiteY9" fmla="*/ 518677 h 604672"/>
                <a:gd name="connsiteX10" fmla="*/ 760979 w 908089"/>
                <a:gd name="connsiteY10" fmla="*/ 509482 h 604672"/>
                <a:gd name="connsiteX11" fmla="*/ 746376 w 908089"/>
                <a:gd name="connsiteY11" fmla="*/ 499747 h 604672"/>
                <a:gd name="connsiteX12" fmla="*/ 732313 w 908089"/>
                <a:gd name="connsiteY12" fmla="*/ 488930 h 604672"/>
                <a:gd name="connsiteX13" fmla="*/ 717710 w 908089"/>
                <a:gd name="connsiteY13" fmla="*/ 479195 h 604672"/>
                <a:gd name="connsiteX14" fmla="*/ 703108 w 908089"/>
                <a:gd name="connsiteY14" fmla="*/ 469459 h 604672"/>
                <a:gd name="connsiteX15" fmla="*/ 689045 w 908089"/>
                <a:gd name="connsiteY15" fmla="*/ 458642 h 604672"/>
                <a:gd name="connsiteX16" fmla="*/ 673902 w 908089"/>
                <a:gd name="connsiteY16" fmla="*/ 449448 h 604672"/>
                <a:gd name="connsiteX17" fmla="*/ 659298 w 908089"/>
                <a:gd name="connsiteY17" fmla="*/ 439712 h 604672"/>
                <a:gd name="connsiteX18" fmla="*/ 644695 w 908089"/>
                <a:gd name="connsiteY18" fmla="*/ 429977 h 604672"/>
                <a:gd name="connsiteX19" fmla="*/ 629551 w 908089"/>
                <a:gd name="connsiteY19" fmla="*/ 421324 h 604672"/>
                <a:gd name="connsiteX20" fmla="*/ 616030 w 908089"/>
                <a:gd name="connsiteY20" fmla="*/ 409966 h 604672"/>
                <a:gd name="connsiteX21" fmla="*/ 600887 w 908089"/>
                <a:gd name="connsiteY21" fmla="*/ 400771 h 604672"/>
                <a:gd name="connsiteX22" fmla="*/ 585742 w 908089"/>
                <a:gd name="connsiteY22" fmla="*/ 391577 h 604672"/>
                <a:gd name="connsiteX23" fmla="*/ 570599 w 908089"/>
                <a:gd name="connsiteY23" fmla="*/ 382382 h 604672"/>
                <a:gd name="connsiteX24" fmla="*/ 555996 w 908089"/>
                <a:gd name="connsiteY24" fmla="*/ 372647 h 604672"/>
                <a:gd name="connsiteX25" fmla="*/ 541934 w 908089"/>
                <a:gd name="connsiteY25" fmla="*/ 361830 h 604672"/>
                <a:gd name="connsiteX26" fmla="*/ 527331 w 908089"/>
                <a:gd name="connsiteY26" fmla="*/ 352094 h 604672"/>
                <a:gd name="connsiteX27" fmla="*/ 512187 w 908089"/>
                <a:gd name="connsiteY27" fmla="*/ 342900 h 604672"/>
                <a:gd name="connsiteX28" fmla="*/ 497584 w 908089"/>
                <a:gd name="connsiteY28" fmla="*/ 333165 h 604672"/>
                <a:gd name="connsiteX29" fmla="*/ 483521 w 908089"/>
                <a:gd name="connsiteY29" fmla="*/ 322348 h 604672"/>
                <a:gd name="connsiteX30" fmla="*/ 469459 w 908089"/>
                <a:gd name="connsiteY30" fmla="*/ 312071 h 604672"/>
                <a:gd name="connsiteX31" fmla="*/ 454316 w 908089"/>
                <a:gd name="connsiteY31" fmla="*/ 302877 h 604672"/>
                <a:gd name="connsiteX32" fmla="*/ 440253 w 908089"/>
                <a:gd name="connsiteY32" fmla="*/ 292601 h 604672"/>
                <a:gd name="connsiteX33" fmla="*/ 425650 w 908089"/>
                <a:gd name="connsiteY33" fmla="*/ 282865 h 604672"/>
                <a:gd name="connsiteX34" fmla="*/ 410506 w 908089"/>
                <a:gd name="connsiteY34" fmla="*/ 273671 h 604672"/>
                <a:gd name="connsiteX35" fmla="*/ 394822 w 908089"/>
                <a:gd name="connsiteY35" fmla="*/ 265558 h 604672"/>
                <a:gd name="connsiteX36" fmla="*/ 380219 w 908089"/>
                <a:gd name="connsiteY36" fmla="*/ 255823 h 604672"/>
                <a:gd name="connsiteX37" fmla="*/ 366157 w 908089"/>
                <a:gd name="connsiteY37" fmla="*/ 245006 h 604672"/>
                <a:gd name="connsiteX38" fmla="*/ 352095 w 908089"/>
                <a:gd name="connsiteY38" fmla="*/ 234730 h 604672"/>
                <a:gd name="connsiteX39" fmla="*/ 336410 w 908089"/>
                <a:gd name="connsiteY39" fmla="*/ 226617 h 604672"/>
                <a:gd name="connsiteX40" fmla="*/ 322348 w 908089"/>
                <a:gd name="connsiteY40" fmla="*/ 215800 h 604672"/>
                <a:gd name="connsiteX41" fmla="*/ 306663 w 908089"/>
                <a:gd name="connsiteY41" fmla="*/ 207146 h 604672"/>
                <a:gd name="connsiteX42" fmla="*/ 293142 w 908089"/>
                <a:gd name="connsiteY42" fmla="*/ 195788 h 604672"/>
                <a:gd name="connsiteX43" fmla="*/ 277457 w 908089"/>
                <a:gd name="connsiteY43" fmla="*/ 187676 h 604672"/>
                <a:gd name="connsiteX44" fmla="*/ 262313 w 908089"/>
                <a:gd name="connsiteY44" fmla="*/ 178481 h 604672"/>
                <a:gd name="connsiteX45" fmla="*/ 248792 w 908089"/>
                <a:gd name="connsiteY45" fmla="*/ 167123 h 604672"/>
                <a:gd name="connsiteX46" fmla="*/ 233648 w 908089"/>
                <a:gd name="connsiteY46" fmla="*/ 157929 h 604672"/>
                <a:gd name="connsiteX47" fmla="*/ 219586 w 908089"/>
                <a:gd name="connsiteY47" fmla="*/ 147112 h 604672"/>
                <a:gd name="connsiteX48" fmla="*/ 204983 w 908089"/>
                <a:gd name="connsiteY48" fmla="*/ 136836 h 604672"/>
                <a:gd name="connsiteX49" fmla="*/ 189298 w 908089"/>
                <a:gd name="connsiteY49" fmla="*/ 128723 h 604672"/>
                <a:gd name="connsiteX50" fmla="*/ 175236 w 908089"/>
                <a:gd name="connsiteY50" fmla="*/ 118447 h 604672"/>
                <a:gd name="connsiteX51" fmla="*/ 160633 w 908089"/>
                <a:gd name="connsiteY51" fmla="*/ 108170 h 604672"/>
                <a:gd name="connsiteX52" fmla="*/ 145489 w 908089"/>
                <a:gd name="connsiteY52" fmla="*/ 99517 h 604672"/>
                <a:gd name="connsiteX53" fmla="*/ 131968 w 908089"/>
                <a:gd name="connsiteY53" fmla="*/ 88159 h 604672"/>
                <a:gd name="connsiteX54" fmla="*/ 117365 w 908089"/>
                <a:gd name="connsiteY54" fmla="*/ 78424 h 604672"/>
                <a:gd name="connsiteX55" fmla="*/ 101680 w 908089"/>
                <a:gd name="connsiteY55" fmla="*/ 69770 h 604672"/>
                <a:gd name="connsiteX56" fmla="*/ 87077 w 908089"/>
                <a:gd name="connsiteY56" fmla="*/ 60035 h 604672"/>
                <a:gd name="connsiteX57" fmla="*/ 72474 w 908089"/>
                <a:gd name="connsiteY57" fmla="*/ 50299 h 604672"/>
                <a:gd name="connsiteX58" fmla="*/ 57871 w 908089"/>
                <a:gd name="connsiteY58" fmla="*/ 40564 h 604672"/>
                <a:gd name="connsiteX59" fmla="*/ 42727 w 908089"/>
                <a:gd name="connsiteY59" fmla="*/ 31369 h 604672"/>
                <a:gd name="connsiteX60" fmla="*/ 29206 w 908089"/>
                <a:gd name="connsiteY60" fmla="*/ 20012 h 604672"/>
                <a:gd name="connsiteX61" fmla="*/ 14603 w 908089"/>
                <a:gd name="connsiteY61" fmla="*/ 9735 h 604672"/>
                <a:gd name="connsiteX62" fmla="*/ 0 w 908089"/>
                <a:gd name="connsiteY62" fmla="*/ 0 h 6046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908089" h="604672">
                  <a:moveTo>
                    <a:pt x="908090" y="604672"/>
                  </a:moveTo>
                  <a:cubicBezTo>
                    <a:pt x="900519" y="599805"/>
                    <a:pt x="899436" y="601427"/>
                    <a:pt x="892406" y="596559"/>
                  </a:cubicBezTo>
                  <a:cubicBezTo>
                    <a:pt x="884834" y="591692"/>
                    <a:pt x="885374" y="591692"/>
                    <a:pt x="877802" y="586824"/>
                  </a:cubicBezTo>
                  <a:cubicBezTo>
                    <a:pt x="870230" y="581956"/>
                    <a:pt x="871312" y="580334"/>
                    <a:pt x="864281" y="575466"/>
                  </a:cubicBezTo>
                  <a:cubicBezTo>
                    <a:pt x="856709" y="570599"/>
                    <a:pt x="856709" y="571139"/>
                    <a:pt x="849678" y="566272"/>
                  </a:cubicBezTo>
                  <a:cubicBezTo>
                    <a:pt x="842106" y="561404"/>
                    <a:pt x="842106" y="561945"/>
                    <a:pt x="835075" y="557077"/>
                  </a:cubicBezTo>
                  <a:cubicBezTo>
                    <a:pt x="827504" y="552210"/>
                    <a:pt x="828585" y="551128"/>
                    <a:pt x="821013" y="546260"/>
                  </a:cubicBezTo>
                  <a:cubicBezTo>
                    <a:pt x="813441" y="541393"/>
                    <a:pt x="812900" y="543015"/>
                    <a:pt x="805328" y="538148"/>
                  </a:cubicBezTo>
                  <a:cubicBezTo>
                    <a:pt x="797757" y="533280"/>
                    <a:pt x="798297" y="532739"/>
                    <a:pt x="791266" y="527871"/>
                  </a:cubicBezTo>
                  <a:cubicBezTo>
                    <a:pt x="783694" y="523004"/>
                    <a:pt x="783694" y="523544"/>
                    <a:pt x="776123" y="518677"/>
                  </a:cubicBezTo>
                  <a:cubicBezTo>
                    <a:pt x="768551" y="513809"/>
                    <a:pt x="768551" y="514350"/>
                    <a:pt x="760979" y="509482"/>
                  </a:cubicBezTo>
                  <a:cubicBezTo>
                    <a:pt x="753406" y="504615"/>
                    <a:pt x="753406" y="504615"/>
                    <a:pt x="746376" y="499747"/>
                  </a:cubicBezTo>
                  <a:cubicBezTo>
                    <a:pt x="738804" y="494879"/>
                    <a:pt x="739885" y="493798"/>
                    <a:pt x="732313" y="488930"/>
                  </a:cubicBezTo>
                  <a:cubicBezTo>
                    <a:pt x="724742" y="484062"/>
                    <a:pt x="724742" y="484062"/>
                    <a:pt x="717710" y="479195"/>
                  </a:cubicBezTo>
                  <a:cubicBezTo>
                    <a:pt x="710138" y="474327"/>
                    <a:pt x="710138" y="474327"/>
                    <a:pt x="703108" y="469459"/>
                  </a:cubicBezTo>
                  <a:cubicBezTo>
                    <a:pt x="695536" y="464592"/>
                    <a:pt x="696617" y="463510"/>
                    <a:pt x="689045" y="458642"/>
                  </a:cubicBezTo>
                  <a:cubicBezTo>
                    <a:pt x="681474" y="453775"/>
                    <a:pt x="681474" y="454316"/>
                    <a:pt x="673902" y="449448"/>
                  </a:cubicBezTo>
                  <a:cubicBezTo>
                    <a:pt x="666329" y="444580"/>
                    <a:pt x="666329" y="444580"/>
                    <a:pt x="659298" y="439712"/>
                  </a:cubicBezTo>
                  <a:cubicBezTo>
                    <a:pt x="651727" y="434845"/>
                    <a:pt x="652267" y="434845"/>
                    <a:pt x="644695" y="429977"/>
                  </a:cubicBezTo>
                  <a:cubicBezTo>
                    <a:pt x="637123" y="425109"/>
                    <a:pt x="636583" y="426191"/>
                    <a:pt x="629551" y="421324"/>
                  </a:cubicBezTo>
                  <a:cubicBezTo>
                    <a:pt x="621980" y="416456"/>
                    <a:pt x="623061" y="414833"/>
                    <a:pt x="616030" y="409966"/>
                  </a:cubicBezTo>
                  <a:cubicBezTo>
                    <a:pt x="608459" y="405098"/>
                    <a:pt x="608459" y="405639"/>
                    <a:pt x="600887" y="400771"/>
                  </a:cubicBezTo>
                  <a:cubicBezTo>
                    <a:pt x="593314" y="395904"/>
                    <a:pt x="593314" y="396444"/>
                    <a:pt x="585742" y="391577"/>
                  </a:cubicBezTo>
                  <a:cubicBezTo>
                    <a:pt x="578170" y="386709"/>
                    <a:pt x="578170" y="387250"/>
                    <a:pt x="570599" y="382382"/>
                  </a:cubicBezTo>
                  <a:cubicBezTo>
                    <a:pt x="563027" y="377515"/>
                    <a:pt x="563027" y="377515"/>
                    <a:pt x="555996" y="372647"/>
                  </a:cubicBezTo>
                  <a:cubicBezTo>
                    <a:pt x="548424" y="367779"/>
                    <a:pt x="549506" y="366697"/>
                    <a:pt x="541934" y="361830"/>
                  </a:cubicBezTo>
                  <a:cubicBezTo>
                    <a:pt x="534361" y="356962"/>
                    <a:pt x="534361" y="356962"/>
                    <a:pt x="527331" y="352094"/>
                  </a:cubicBezTo>
                  <a:cubicBezTo>
                    <a:pt x="519759" y="347227"/>
                    <a:pt x="519759" y="347768"/>
                    <a:pt x="512187" y="342900"/>
                  </a:cubicBezTo>
                  <a:cubicBezTo>
                    <a:pt x="504615" y="338032"/>
                    <a:pt x="505155" y="338032"/>
                    <a:pt x="497584" y="333165"/>
                  </a:cubicBezTo>
                  <a:cubicBezTo>
                    <a:pt x="490012" y="328297"/>
                    <a:pt x="491093" y="327215"/>
                    <a:pt x="483521" y="322348"/>
                  </a:cubicBezTo>
                  <a:cubicBezTo>
                    <a:pt x="475950" y="317480"/>
                    <a:pt x="476491" y="316939"/>
                    <a:pt x="469459" y="312071"/>
                  </a:cubicBezTo>
                  <a:cubicBezTo>
                    <a:pt x="461887" y="307204"/>
                    <a:pt x="461887" y="307745"/>
                    <a:pt x="454316" y="302877"/>
                  </a:cubicBezTo>
                  <a:cubicBezTo>
                    <a:pt x="446744" y="298009"/>
                    <a:pt x="447284" y="297469"/>
                    <a:pt x="440253" y="292601"/>
                  </a:cubicBezTo>
                  <a:cubicBezTo>
                    <a:pt x="432682" y="287733"/>
                    <a:pt x="432682" y="287733"/>
                    <a:pt x="425650" y="282865"/>
                  </a:cubicBezTo>
                  <a:cubicBezTo>
                    <a:pt x="418078" y="277998"/>
                    <a:pt x="418078" y="278539"/>
                    <a:pt x="410506" y="273671"/>
                  </a:cubicBezTo>
                  <a:cubicBezTo>
                    <a:pt x="402935" y="268803"/>
                    <a:pt x="402394" y="270426"/>
                    <a:pt x="394822" y="265558"/>
                  </a:cubicBezTo>
                  <a:cubicBezTo>
                    <a:pt x="387250" y="260691"/>
                    <a:pt x="387791" y="260691"/>
                    <a:pt x="380219" y="255823"/>
                  </a:cubicBezTo>
                  <a:cubicBezTo>
                    <a:pt x="372647" y="250955"/>
                    <a:pt x="373729" y="249874"/>
                    <a:pt x="366157" y="245006"/>
                  </a:cubicBezTo>
                  <a:cubicBezTo>
                    <a:pt x="358585" y="240138"/>
                    <a:pt x="359125" y="239597"/>
                    <a:pt x="352095" y="234730"/>
                  </a:cubicBezTo>
                  <a:cubicBezTo>
                    <a:pt x="344523" y="229862"/>
                    <a:pt x="343982" y="231485"/>
                    <a:pt x="336410" y="226617"/>
                  </a:cubicBezTo>
                  <a:cubicBezTo>
                    <a:pt x="328838" y="221749"/>
                    <a:pt x="329920" y="220667"/>
                    <a:pt x="322348" y="215800"/>
                  </a:cubicBezTo>
                  <a:cubicBezTo>
                    <a:pt x="314776" y="210932"/>
                    <a:pt x="314235" y="212014"/>
                    <a:pt x="306663" y="207146"/>
                  </a:cubicBezTo>
                  <a:cubicBezTo>
                    <a:pt x="299091" y="202279"/>
                    <a:pt x="300714" y="200656"/>
                    <a:pt x="293142" y="195788"/>
                  </a:cubicBezTo>
                  <a:cubicBezTo>
                    <a:pt x="285570" y="190921"/>
                    <a:pt x="285029" y="192543"/>
                    <a:pt x="277457" y="187676"/>
                  </a:cubicBezTo>
                  <a:cubicBezTo>
                    <a:pt x="269885" y="182808"/>
                    <a:pt x="269885" y="183349"/>
                    <a:pt x="262313" y="178481"/>
                  </a:cubicBezTo>
                  <a:cubicBezTo>
                    <a:pt x="254741" y="173613"/>
                    <a:pt x="255823" y="171991"/>
                    <a:pt x="248792" y="167123"/>
                  </a:cubicBezTo>
                  <a:cubicBezTo>
                    <a:pt x="241220" y="162256"/>
                    <a:pt x="241220" y="162796"/>
                    <a:pt x="233648" y="157929"/>
                  </a:cubicBezTo>
                  <a:cubicBezTo>
                    <a:pt x="226076" y="153061"/>
                    <a:pt x="227158" y="151979"/>
                    <a:pt x="219586" y="147112"/>
                  </a:cubicBezTo>
                  <a:cubicBezTo>
                    <a:pt x="212014" y="142244"/>
                    <a:pt x="212555" y="141703"/>
                    <a:pt x="204983" y="136836"/>
                  </a:cubicBezTo>
                  <a:cubicBezTo>
                    <a:pt x="197411" y="131968"/>
                    <a:pt x="196329" y="133590"/>
                    <a:pt x="189298" y="128723"/>
                  </a:cubicBezTo>
                  <a:cubicBezTo>
                    <a:pt x="181726" y="123855"/>
                    <a:pt x="182267" y="123314"/>
                    <a:pt x="175236" y="118447"/>
                  </a:cubicBezTo>
                  <a:cubicBezTo>
                    <a:pt x="167664" y="113579"/>
                    <a:pt x="168205" y="113038"/>
                    <a:pt x="160633" y="108170"/>
                  </a:cubicBezTo>
                  <a:cubicBezTo>
                    <a:pt x="153061" y="103303"/>
                    <a:pt x="152520" y="104384"/>
                    <a:pt x="145489" y="99517"/>
                  </a:cubicBezTo>
                  <a:cubicBezTo>
                    <a:pt x="137918" y="94649"/>
                    <a:pt x="138999" y="93027"/>
                    <a:pt x="131968" y="88159"/>
                  </a:cubicBezTo>
                  <a:cubicBezTo>
                    <a:pt x="124396" y="83291"/>
                    <a:pt x="124396" y="83291"/>
                    <a:pt x="117365" y="78424"/>
                  </a:cubicBezTo>
                  <a:cubicBezTo>
                    <a:pt x="109793" y="73556"/>
                    <a:pt x="109252" y="74638"/>
                    <a:pt x="101680" y="69770"/>
                  </a:cubicBezTo>
                  <a:cubicBezTo>
                    <a:pt x="94108" y="64902"/>
                    <a:pt x="94649" y="64902"/>
                    <a:pt x="87077" y="60035"/>
                  </a:cubicBezTo>
                  <a:cubicBezTo>
                    <a:pt x="79505" y="55167"/>
                    <a:pt x="80046" y="55167"/>
                    <a:pt x="72474" y="50299"/>
                  </a:cubicBezTo>
                  <a:cubicBezTo>
                    <a:pt x="64902" y="45432"/>
                    <a:pt x="64902" y="45432"/>
                    <a:pt x="57871" y="40564"/>
                  </a:cubicBezTo>
                  <a:cubicBezTo>
                    <a:pt x="50299" y="35696"/>
                    <a:pt x="50299" y="36237"/>
                    <a:pt x="42727" y="31369"/>
                  </a:cubicBezTo>
                  <a:cubicBezTo>
                    <a:pt x="35155" y="26502"/>
                    <a:pt x="36237" y="24879"/>
                    <a:pt x="29206" y="20012"/>
                  </a:cubicBezTo>
                  <a:cubicBezTo>
                    <a:pt x="21634" y="15144"/>
                    <a:pt x="22175" y="14603"/>
                    <a:pt x="14603" y="9735"/>
                  </a:cubicBezTo>
                  <a:cubicBezTo>
                    <a:pt x="7031" y="4868"/>
                    <a:pt x="7572" y="4868"/>
                    <a:pt x="0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30" name="Freeform: Shape 1329">
              <a:extLst>
                <a:ext uri="{FF2B5EF4-FFF2-40B4-BE49-F238E27FC236}">
                  <a16:creationId xmlns:a16="http://schemas.microsoft.com/office/drawing/2014/main" id="{603C8173-3BCF-CF60-9C18-82CB1D12EEAE}"/>
                </a:ext>
              </a:extLst>
            </p:cNvPr>
            <p:cNvSpPr/>
            <p:nvPr/>
          </p:nvSpPr>
          <p:spPr>
            <a:xfrm>
              <a:off x="6825068" y="-1565718"/>
              <a:ext cx="341818" cy="486225"/>
            </a:xfrm>
            <a:custGeom>
              <a:avLst/>
              <a:gdLst>
                <a:gd name="connsiteX0" fmla="*/ 341818 w 341818"/>
                <a:gd name="connsiteY0" fmla="*/ 486226 h 486225"/>
                <a:gd name="connsiteX1" fmla="*/ 331542 w 341818"/>
                <a:gd name="connsiteY1" fmla="*/ 472164 h 486225"/>
                <a:gd name="connsiteX2" fmla="*/ 321265 w 341818"/>
                <a:gd name="connsiteY2" fmla="*/ 458101 h 486225"/>
                <a:gd name="connsiteX3" fmla="*/ 312071 w 341818"/>
                <a:gd name="connsiteY3" fmla="*/ 442958 h 486225"/>
                <a:gd name="connsiteX4" fmla="*/ 301795 w 341818"/>
                <a:gd name="connsiteY4" fmla="*/ 428895 h 486225"/>
                <a:gd name="connsiteX5" fmla="*/ 291519 w 341818"/>
                <a:gd name="connsiteY5" fmla="*/ 414833 h 486225"/>
                <a:gd name="connsiteX6" fmla="*/ 280161 w 341818"/>
                <a:gd name="connsiteY6" fmla="*/ 401312 h 486225"/>
                <a:gd name="connsiteX7" fmla="*/ 269885 w 341818"/>
                <a:gd name="connsiteY7" fmla="*/ 386709 h 486225"/>
                <a:gd name="connsiteX8" fmla="*/ 259609 w 341818"/>
                <a:gd name="connsiteY8" fmla="*/ 372647 h 486225"/>
                <a:gd name="connsiteX9" fmla="*/ 249333 w 341818"/>
                <a:gd name="connsiteY9" fmla="*/ 358585 h 486225"/>
                <a:gd name="connsiteX10" fmla="*/ 239597 w 341818"/>
                <a:gd name="connsiteY10" fmla="*/ 343982 h 486225"/>
                <a:gd name="connsiteX11" fmla="*/ 229321 w 341818"/>
                <a:gd name="connsiteY11" fmla="*/ 329920 h 486225"/>
                <a:gd name="connsiteX12" fmla="*/ 219586 w 341818"/>
                <a:gd name="connsiteY12" fmla="*/ 315317 h 486225"/>
                <a:gd name="connsiteX13" fmla="*/ 210932 w 341818"/>
                <a:gd name="connsiteY13" fmla="*/ 300173 h 486225"/>
                <a:gd name="connsiteX14" fmla="*/ 199033 w 341818"/>
                <a:gd name="connsiteY14" fmla="*/ 287192 h 486225"/>
                <a:gd name="connsiteX15" fmla="*/ 189298 w 341818"/>
                <a:gd name="connsiteY15" fmla="*/ 272589 h 486225"/>
                <a:gd name="connsiteX16" fmla="*/ 179022 w 341818"/>
                <a:gd name="connsiteY16" fmla="*/ 258527 h 486225"/>
                <a:gd name="connsiteX17" fmla="*/ 170368 w 341818"/>
                <a:gd name="connsiteY17" fmla="*/ 243383 h 486225"/>
                <a:gd name="connsiteX18" fmla="*/ 159010 w 341818"/>
                <a:gd name="connsiteY18" fmla="*/ 229862 h 486225"/>
                <a:gd name="connsiteX19" fmla="*/ 148734 w 341818"/>
                <a:gd name="connsiteY19" fmla="*/ 215800 h 486225"/>
                <a:gd name="connsiteX20" fmla="*/ 140080 w 341818"/>
                <a:gd name="connsiteY20" fmla="*/ 200656 h 486225"/>
                <a:gd name="connsiteX21" fmla="*/ 130345 w 341818"/>
                <a:gd name="connsiteY21" fmla="*/ 186053 h 486225"/>
                <a:gd name="connsiteX22" fmla="*/ 120610 w 341818"/>
                <a:gd name="connsiteY22" fmla="*/ 171450 h 486225"/>
                <a:gd name="connsiteX23" fmla="*/ 109252 w 341818"/>
                <a:gd name="connsiteY23" fmla="*/ 157929 h 486225"/>
                <a:gd name="connsiteX24" fmla="*/ 100058 w 341818"/>
                <a:gd name="connsiteY24" fmla="*/ 143326 h 486225"/>
                <a:gd name="connsiteX25" fmla="*/ 90322 w 341818"/>
                <a:gd name="connsiteY25" fmla="*/ 128723 h 486225"/>
                <a:gd name="connsiteX26" fmla="*/ 80046 w 341818"/>
                <a:gd name="connsiteY26" fmla="*/ 114661 h 486225"/>
                <a:gd name="connsiteX27" fmla="*/ 69229 w 341818"/>
                <a:gd name="connsiteY27" fmla="*/ 101139 h 486225"/>
                <a:gd name="connsiteX28" fmla="*/ 58952 w 341818"/>
                <a:gd name="connsiteY28" fmla="*/ 87077 h 486225"/>
                <a:gd name="connsiteX29" fmla="*/ 49758 w 341818"/>
                <a:gd name="connsiteY29" fmla="*/ 71933 h 486225"/>
                <a:gd name="connsiteX30" fmla="*/ 38400 w 341818"/>
                <a:gd name="connsiteY30" fmla="*/ 58412 h 486225"/>
                <a:gd name="connsiteX31" fmla="*/ 28665 w 341818"/>
                <a:gd name="connsiteY31" fmla="*/ 43809 h 486225"/>
                <a:gd name="connsiteX32" fmla="*/ 20011 w 341818"/>
                <a:gd name="connsiteY32" fmla="*/ 28665 h 486225"/>
                <a:gd name="connsiteX33" fmla="*/ 8113 w 341818"/>
                <a:gd name="connsiteY33" fmla="*/ 15685 h 486225"/>
                <a:gd name="connsiteX34" fmla="*/ 0 w 341818"/>
                <a:gd name="connsiteY34" fmla="*/ 0 h 486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341818" h="486225">
                  <a:moveTo>
                    <a:pt x="341818" y="486226"/>
                  </a:moveTo>
                  <a:cubicBezTo>
                    <a:pt x="336950" y="479195"/>
                    <a:pt x="336410" y="479195"/>
                    <a:pt x="331542" y="472164"/>
                  </a:cubicBezTo>
                  <a:cubicBezTo>
                    <a:pt x="326674" y="465133"/>
                    <a:pt x="326133" y="465133"/>
                    <a:pt x="321265" y="458101"/>
                  </a:cubicBezTo>
                  <a:cubicBezTo>
                    <a:pt x="316398" y="451070"/>
                    <a:pt x="317480" y="449989"/>
                    <a:pt x="312071" y="442958"/>
                  </a:cubicBezTo>
                  <a:cubicBezTo>
                    <a:pt x="307203" y="435927"/>
                    <a:pt x="306663" y="435927"/>
                    <a:pt x="301795" y="428895"/>
                  </a:cubicBezTo>
                  <a:cubicBezTo>
                    <a:pt x="296927" y="421864"/>
                    <a:pt x="296386" y="421864"/>
                    <a:pt x="291519" y="414833"/>
                  </a:cubicBezTo>
                  <a:cubicBezTo>
                    <a:pt x="286651" y="407802"/>
                    <a:pt x="285029" y="408884"/>
                    <a:pt x="280161" y="401312"/>
                  </a:cubicBezTo>
                  <a:cubicBezTo>
                    <a:pt x="275293" y="394281"/>
                    <a:pt x="275293" y="394281"/>
                    <a:pt x="269885" y="386709"/>
                  </a:cubicBezTo>
                  <a:cubicBezTo>
                    <a:pt x="265017" y="379678"/>
                    <a:pt x="265017" y="379678"/>
                    <a:pt x="259609" y="372647"/>
                  </a:cubicBezTo>
                  <a:cubicBezTo>
                    <a:pt x="254741" y="365616"/>
                    <a:pt x="254741" y="365616"/>
                    <a:pt x="249333" y="358585"/>
                  </a:cubicBezTo>
                  <a:cubicBezTo>
                    <a:pt x="244465" y="351554"/>
                    <a:pt x="245005" y="351013"/>
                    <a:pt x="239597" y="343982"/>
                  </a:cubicBezTo>
                  <a:cubicBezTo>
                    <a:pt x="234729" y="336951"/>
                    <a:pt x="234729" y="336951"/>
                    <a:pt x="229321" y="329920"/>
                  </a:cubicBezTo>
                  <a:cubicBezTo>
                    <a:pt x="224453" y="322888"/>
                    <a:pt x="224453" y="322888"/>
                    <a:pt x="219586" y="315317"/>
                  </a:cubicBezTo>
                  <a:cubicBezTo>
                    <a:pt x="214718" y="308286"/>
                    <a:pt x="216341" y="307204"/>
                    <a:pt x="210932" y="300173"/>
                  </a:cubicBezTo>
                  <a:cubicBezTo>
                    <a:pt x="206064" y="293142"/>
                    <a:pt x="203901" y="294223"/>
                    <a:pt x="199033" y="287192"/>
                  </a:cubicBezTo>
                  <a:cubicBezTo>
                    <a:pt x="194165" y="280161"/>
                    <a:pt x="194165" y="280161"/>
                    <a:pt x="189298" y="272589"/>
                  </a:cubicBezTo>
                  <a:cubicBezTo>
                    <a:pt x="184430" y="265558"/>
                    <a:pt x="184430" y="265558"/>
                    <a:pt x="179022" y="258527"/>
                  </a:cubicBezTo>
                  <a:cubicBezTo>
                    <a:pt x="174154" y="251496"/>
                    <a:pt x="175235" y="250414"/>
                    <a:pt x="170368" y="243383"/>
                  </a:cubicBezTo>
                  <a:cubicBezTo>
                    <a:pt x="165501" y="236352"/>
                    <a:pt x="164418" y="236893"/>
                    <a:pt x="159010" y="229862"/>
                  </a:cubicBezTo>
                  <a:cubicBezTo>
                    <a:pt x="154143" y="222831"/>
                    <a:pt x="153601" y="222831"/>
                    <a:pt x="148734" y="215800"/>
                  </a:cubicBezTo>
                  <a:cubicBezTo>
                    <a:pt x="143866" y="208769"/>
                    <a:pt x="144948" y="207687"/>
                    <a:pt x="140080" y="200656"/>
                  </a:cubicBezTo>
                  <a:cubicBezTo>
                    <a:pt x="135213" y="193625"/>
                    <a:pt x="135213" y="193625"/>
                    <a:pt x="130345" y="186053"/>
                  </a:cubicBezTo>
                  <a:cubicBezTo>
                    <a:pt x="125477" y="179022"/>
                    <a:pt x="126018" y="178481"/>
                    <a:pt x="120610" y="171450"/>
                  </a:cubicBezTo>
                  <a:cubicBezTo>
                    <a:pt x="115742" y="164419"/>
                    <a:pt x="114660" y="164960"/>
                    <a:pt x="109252" y="157929"/>
                  </a:cubicBezTo>
                  <a:cubicBezTo>
                    <a:pt x="104384" y="150898"/>
                    <a:pt x="104925" y="150357"/>
                    <a:pt x="100058" y="143326"/>
                  </a:cubicBezTo>
                  <a:cubicBezTo>
                    <a:pt x="95190" y="136295"/>
                    <a:pt x="95190" y="135754"/>
                    <a:pt x="90322" y="128723"/>
                  </a:cubicBezTo>
                  <a:cubicBezTo>
                    <a:pt x="85454" y="121692"/>
                    <a:pt x="84913" y="121692"/>
                    <a:pt x="80046" y="114661"/>
                  </a:cubicBezTo>
                  <a:cubicBezTo>
                    <a:pt x="75178" y="107630"/>
                    <a:pt x="74096" y="108170"/>
                    <a:pt x="69229" y="101139"/>
                  </a:cubicBezTo>
                  <a:cubicBezTo>
                    <a:pt x="64361" y="94108"/>
                    <a:pt x="64361" y="94108"/>
                    <a:pt x="58952" y="87077"/>
                  </a:cubicBezTo>
                  <a:cubicBezTo>
                    <a:pt x="54085" y="80046"/>
                    <a:pt x="54626" y="79505"/>
                    <a:pt x="49758" y="71933"/>
                  </a:cubicBezTo>
                  <a:cubicBezTo>
                    <a:pt x="44890" y="64902"/>
                    <a:pt x="43809" y="65443"/>
                    <a:pt x="38400" y="58412"/>
                  </a:cubicBezTo>
                  <a:cubicBezTo>
                    <a:pt x="33533" y="51381"/>
                    <a:pt x="34073" y="50840"/>
                    <a:pt x="28665" y="43809"/>
                  </a:cubicBezTo>
                  <a:cubicBezTo>
                    <a:pt x="23797" y="36778"/>
                    <a:pt x="24879" y="35696"/>
                    <a:pt x="20011" y="28665"/>
                  </a:cubicBezTo>
                  <a:cubicBezTo>
                    <a:pt x="15143" y="21634"/>
                    <a:pt x="12980" y="22716"/>
                    <a:pt x="8113" y="15685"/>
                  </a:cubicBezTo>
                  <a:cubicBezTo>
                    <a:pt x="3245" y="8654"/>
                    <a:pt x="4867" y="7031"/>
                    <a:pt x="0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31" name="Freeform: Shape 1330">
              <a:extLst>
                <a:ext uri="{FF2B5EF4-FFF2-40B4-BE49-F238E27FC236}">
                  <a16:creationId xmlns:a16="http://schemas.microsoft.com/office/drawing/2014/main" id="{4D3910EE-BA1D-6F3D-9369-DD260DADBCCF}"/>
                </a:ext>
              </a:extLst>
            </p:cNvPr>
            <p:cNvSpPr/>
            <p:nvPr/>
          </p:nvSpPr>
          <p:spPr>
            <a:xfrm>
              <a:off x="7164182" y="-1535431"/>
              <a:ext cx="137917" cy="383463"/>
            </a:xfrm>
            <a:custGeom>
              <a:avLst/>
              <a:gdLst>
                <a:gd name="connsiteX0" fmla="*/ 137917 w 137917"/>
                <a:gd name="connsiteY0" fmla="*/ 383464 h 383463"/>
                <a:gd name="connsiteX1" fmla="*/ 131968 w 137917"/>
                <a:gd name="connsiteY1" fmla="*/ 366697 h 383463"/>
                <a:gd name="connsiteX2" fmla="*/ 126019 w 137917"/>
                <a:gd name="connsiteY2" fmla="*/ 349931 h 383463"/>
                <a:gd name="connsiteX3" fmla="*/ 118447 w 137917"/>
                <a:gd name="connsiteY3" fmla="*/ 333706 h 383463"/>
                <a:gd name="connsiteX4" fmla="*/ 112497 w 137917"/>
                <a:gd name="connsiteY4" fmla="*/ 316939 h 383463"/>
                <a:gd name="connsiteX5" fmla="*/ 107630 w 137917"/>
                <a:gd name="connsiteY5" fmla="*/ 299632 h 383463"/>
                <a:gd name="connsiteX6" fmla="*/ 100598 w 137917"/>
                <a:gd name="connsiteY6" fmla="*/ 283406 h 383463"/>
                <a:gd name="connsiteX7" fmla="*/ 95190 w 137917"/>
                <a:gd name="connsiteY7" fmla="*/ 266640 h 383463"/>
                <a:gd name="connsiteX8" fmla="*/ 90863 w 137917"/>
                <a:gd name="connsiteY8" fmla="*/ 249333 h 383463"/>
                <a:gd name="connsiteX9" fmla="*/ 84373 w 137917"/>
                <a:gd name="connsiteY9" fmla="*/ 233107 h 383463"/>
                <a:gd name="connsiteX10" fmla="*/ 78424 w 137917"/>
                <a:gd name="connsiteY10" fmla="*/ 216341 h 383463"/>
                <a:gd name="connsiteX11" fmla="*/ 73556 w 137917"/>
                <a:gd name="connsiteY11" fmla="*/ 199574 h 383463"/>
                <a:gd name="connsiteX12" fmla="*/ 67066 w 137917"/>
                <a:gd name="connsiteY12" fmla="*/ 183349 h 383463"/>
                <a:gd name="connsiteX13" fmla="*/ 61117 w 137917"/>
                <a:gd name="connsiteY13" fmla="*/ 166582 h 383463"/>
                <a:gd name="connsiteX14" fmla="*/ 55167 w 137917"/>
                <a:gd name="connsiteY14" fmla="*/ 149816 h 383463"/>
                <a:gd name="connsiteX15" fmla="*/ 49758 w 137917"/>
                <a:gd name="connsiteY15" fmla="*/ 133050 h 383463"/>
                <a:gd name="connsiteX16" fmla="*/ 42727 w 137917"/>
                <a:gd name="connsiteY16" fmla="*/ 116824 h 383463"/>
                <a:gd name="connsiteX17" fmla="*/ 36237 w 137917"/>
                <a:gd name="connsiteY17" fmla="*/ 100058 h 383463"/>
                <a:gd name="connsiteX18" fmla="*/ 31910 w 137917"/>
                <a:gd name="connsiteY18" fmla="*/ 82750 h 383463"/>
                <a:gd name="connsiteX19" fmla="*/ 25420 w 137917"/>
                <a:gd name="connsiteY19" fmla="*/ 65984 h 383463"/>
                <a:gd name="connsiteX20" fmla="*/ 18930 w 137917"/>
                <a:gd name="connsiteY20" fmla="*/ 49758 h 383463"/>
                <a:gd name="connsiteX21" fmla="*/ 12981 w 137917"/>
                <a:gd name="connsiteY21" fmla="*/ 32992 h 383463"/>
                <a:gd name="connsiteX22" fmla="*/ 6490 w 137917"/>
                <a:gd name="connsiteY22" fmla="*/ 16226 h 383463"/>
                <a:gd name="connsiteX23" fmla="*/ 0 w 137917"/>
                <a:gd name="connsiteY23" fmla="*/ 0 h 383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37917" h="383463">
                  <a:moveTo>
                    <a:pt x="137917" y="383464"/>
                  </a:moveTo>
                  <a:cubicBezTo>
                    <a:pt x="135213" y="375351"/>
                    <a:pt x="134672" y="375351"/>
                    <a:pt x="131968" y="366697"/>
                  </a:cubicBezTo>
                  <a:cubicBezTo>
                    <a:pt x="129264" y="358585"/>
                    <a:pt x="128723" y="358585"/>
                    <a:pt x="126019" y="349931"/>
                  </a:cubicBezTo>
                  <a:cubicBezTo>
                    <a:pt x="123314" y="341818"/>
                    <a:pt x="121151" y="342359"/>
                    <a:pt x="118447" y="333706"/>
                  </a:cubicBezTo>
                  <a:cubicBezTo>
                    <a:pt x="115742" y="325593"/>
                    <a:pt x="115202" y="325593"/>
                    <a:pt x="112497" y="316939"/>
                  </a:cubicBezTo>
                  <a:cubicBezTo>
                    <a:pt x="109793" y="308826"/>
                    <a:pt x="110875" y="308286"/>
                    <a:pt x="107630" y="299632"/>
                  </a:cubicBezTo>
                  <a:cubicBezTo>
                    <a:pt x="104925" y="291519"/>
                    <a:pt x="103303" y="291519"/>
                    <a:pt x="100598" y="283406"/>
                  </a:cubicBezTo>
                  <a:cubicBezTo>
                    <a:pt x="97894" y="275294"/>
                    <a:pt x="97894" y="274753"/>
                    <a:pt x="95190" y="266640"/>
                  </a:cubicBezTo>
                  <a:cubicBezTo>
                    <a:pt x="92486" y="258527"/>
                    <a:pt x="93568" y="257986"/>
                    <a:pt x="90863" y="249333"/>
                  </a:cubicBezTo>
                  <a:cubicBezTo>
                    <a:pt x="88159" y="241220"/>
                    <a:pt x="87077" y="241220"/>
                    <a:pt x="84373" y="233107"/>
                  </a:cubicBezTo>
                  <a:cubicBezTo>
                    <a:pt x="81668" y="224994"/>
                    <a:pt x="81128" y="224994"/>
                    <a:pt x="78424" y="216341"/>
                  </a:cubicBezTo>
                  <a:cubicBezTo>
                    <a:pt x="75719" y="208228"/>
                    <a:pt x="76260" y="207687"/>
                    <a:pt x="73556" y="199574"/>
                  </a:cubicBezTo>
                  <a:cubicBezTo>
                    <a:pt x="70851" y="191462"/>
                    <a:pt x="69770" y="191462"/>
                    <a:pt x="67066" y="183349"/>
                  </a:cubicBezTo>
                  <a:cubicBezTo>
                    <a:pt x="64361" y="175236"/>
                    <a:pt x="63821" y="175236"/>
                    <a:pt x="61117" y="166582"/>
                  </a:cubicBezTo>
                  <a:cubicBezTo>
                    <a:pt x="58412" y="158470"/>
                    <a:pt x="57871" y="158470"/>
                    <a:pt x="55167" y="149816"/>
                  </a:cubicBezTo>
                  <a:cubicBezTo>
                    <a:pt x="52462" y="141703"/>
                    <a:pt x="52462" y="141162"/>
                    <a:pt x="49758" y="133050"/>
                  </a:cubicBezTo>
                  <a:cubicBezTo>
                    <a:pt x="47054" y="124937"/>
                    <a:pt x="45972" y="124937"/>
                    <a:pt x="42727" y="116824"/>
                  </a:cubicBezTo>
                  <a:cubicBezTo>
                    <a:pt x="39482" y="108711"/>
                    <a:pt x="39482" y="108711"/>
                    <a:pt x="36237" y="100058"/>
                  </a:cubicBezTo>
                  <a:cubicBezTo>
                    <a:pt x="33533" y="91945"/>
                    <a:pt x="35155" y="90863"/>
                    <a:pt x="31910" y="82750"/>
                  </a:cubicBezTo>
                  <a:cubicBezTo>
                    <a:pt x="29206" y="74638"/>
                    <a:pt x="28665" y="74638"/>
                    <a:pt x="25420" y="65984"/>
                  </a:cubicBezTo>
                  <a:cubicBezTo>
                    <a:pt x="22716" y="57871"/>
                    <a:pt x="21634" y="57871"/>
                    <a:pt x="18930" y="49758"/>
                  </a:cubicBezTo>
                  <a:cubicBezTo>
                    <a:pt x="16226" y="41646"/>
                    <a:pt x="15685" y="41646"/>
                    <a:pt x="12981" y="32992"/>
                  </a:cubicBezTo>
                  <a:cubicBezTo>
                    <a:pt x="10276" y="24879"/>
                    <a:pt x="9736" y="24879"/>
                    <a:pt x="6490" y="16226"/>
                  </a:cubicBezTo>
                  <a:cubicBezTo>
                    <a:pt x="3786" y="8113"/>
                    <a:pt x="2704" y="8113"/>
                    <a:pt x="0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32" name="Freeform: Shape 1331">
              <a:extLst>
                <a:ext uri="{FF2B5EF4-FFF2-40B4-BE49-F238E27FC236}">
                  <a16:creationId xmlns:a16="http://schemas.microsoft.com/office/drawing/2014/main" id="{482747C8-337E-AF24-1391-55E201155B27}"/>
                </a:ext>
              </a:extLst>
            </p:cNvPr>
            <p:cNvSpPr/>
            <p:nvPr/>
          </p:nvSpPr>
          <p:spPr>
            <a:xfrm>
              <a:off x="7460569" y="-1461875"/>
              <a:ext cx="43268" cy="273130"/>
            </a:xfrm>
            <a:custGeom>
              <a:avLst/>
              <a:gdLst>
                <a:gd name="connsiteX0" fmla="*/ 43268 w 43268"/>
                <a:gd name="connsiteY0" fmla="*/ 273130 h 273130"/>
                <a:gd name="connsiteX1" fmla="*/ 41645 w 43268"/>
                <a:gd name="connsiteY1" fmla="*/ 255823 h 273130"/>
                <a:gd name="connsiteX2" fmla="*/ 40023 w 43268"/>
                <a:gd name="connsiteY2" fmla="*/ 238516 h 273130"/>
                <a:gd name="connsiteX3" fmla="*/ 36237 w 43268"/>
                <a:gd name="connsiteY3" fmla="*/ 221749 h 273130"/>
                <a:gd name="connsiteX4" fmla="*/ 34073 w 43268"/>
                <a:gd name="connsiteY4" fmla="*/ 204442 h 273130"/>
                <a:gd name="connsiteX5" fmla="*/ 30288 w 43268"/>
                <a:gd name="connsiteY5" fmla="*/ 187676 h 273130"/>
                <a:gd name="connsiteX6" fmla="*/ 27043 w 43268"/>
                <a:gd name="connsiteY6" fmla="*/ 170368 h 273130"/>
                <a:gd name="connsiteX7" fmla="*/ 27043 w 43268"/>
                <a:gd name="connsiteY7" fmla="*/ 153061 h 273130"/>
                <a:gd name="connsiteX8" fmla="*/ 23256 w 43268"/>
                <a:gd name="connsiteY8" fmla="*/ 136295 h 273130"/>
                <a:gd name="connsiteX9" fmla="*/ 21634 w 43268"/>
                <a:gd name="connsiteY9" fmla="*/ 118987 h 273130"/>
                <a:gd name="connsiteX10" fmla="*/ 16766 w 43268"/>
                <a:gd name="connsiteY10" fmla="*/ 102221 h 273130"/>
                <a:gd name="connsiteX11" fmla="*/ 13521 w 43268"/>
                <a:gd name="connsiteY11" fmla="*/ 85455 h 273130"/>
                <a:gd name="connsiteX12" fmla="*/ 11898 w 43268"/>
                <a:gd name="connsiteY12" fmla="*/ 68147 h 273130"/>
                <a:gd name="connsiteX13" fmla="*/ 10276 w 43268"/>
                <a:gd name="connsiteY13" fmla="*/ 50840 h 273130"/>
                <a:gd name="connsiteX14" fmla="*/ 6490 w 43268"/>
                <a:gd name="connsiteY14" fmla="*/ 34074 h 273130"/>
                <a:gd name="connsiteX15" fmla="*/ 4867 w 43268"/>
                <a:gd name="connsiteY15" fmla="*/ 16766 h 273130"/>
                <a:gd name="connsiteX16" fmla="*/ 0 w 43268"/>
                <a:gd name="connsiteY16" fmla="*/ 0 h 2731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3268" h="273130">
                  <a:moveTo>
                    <a:pt x="43268" y="273130"/>
                  </a:moveTo>
                  <a:cubicBezTo>
                    <a:pt x="42186" y="264477"/>
                    <a:pt x="42727" y="264477"/>
                    <a:pt x="41645" y="255823"/>
                  </a:cubicBezTo>
                  <a:cubicBezTo>
                    <a:pt x="40564" y="247169"/>
                    <a:pt x="41105" y="247169"/>
                    <a:pt x="40023" y="238516"/>
                  </a:cubicBezTo>
                  <a:cubicBezTo>
                    <a:pt x="38941" y="229862"/>
                    <a:pt x="37318" y="230403"/>
                    <a:pt x="36237" y="221749"/>
                  </a:cubicBezTo>
                  <a:cubicBezTo>
                    <a:pt x="35155" y="213096"/>
                    <a:pt x="35155" y="213096"/>
                    <a:pt x="34073" y="204442"/>
                  </a:cubicBezTo>
                  <a:cubicBezTo>
                    <a:pt x="32992" y="195788"/>
                    <a:pt x="31910" y="195788"/>
                    <a:pt x="30288" y="187676"/>
                  </a:cubicBezTo>
                  <a:cubicBezTo>
                    <a:pt x="29205" y="179022"/>
                    <a:pt x="28665" y="179022"/>
                    <a:pt x="27043" y="170368"/>
                  </a:cubicBezTo>
                  <a:cubicBezTo>
                    <a:pt x="25960" y="161715"/>
                    <a:pt x="28124" y="161174"/>
                    <a:pt x="27043" y="153061"/>
                  </a:cubicBezTo>
                  <a:cubicBezTo>
                    <a:pt x="25960" y="144407"/>
                    <a:pt x="24879" y="144407"/>
                    <a:pt x="23256" y="136295"/>
                  </a:cubicBezTo>
                  <a:cubicBezTo>
                    <a:pt x="22175" y="127641"/>
                    <a:pt x="22716" y="127641"/>
                    <a:pt x="21634" y="118987"/>
                  </a:cubicBezTo>
                  <a:cubicBezTo>
                    <a:pt x="20552" y="110334"/>
                    <a:pt x="18388" y="110875"/>
                    <a:pt x="16766" y="102221"/>
                  </a:cubicBezTo>
                  <a:cubicBezTo>
                    <a:pt x="15684" y="93567"/>
                    <a:pt x="15143" y="93567"/>
                    <a:pt x="13521" y="85455"/>
                  </a:cubicBezTo>
                  <a:cubicBezTo>
                    <a:pt x="12439" y="76801"/>
                    <a:pt x="12980" y="76801"/>
                    <a:pt x="11898" y="68147"/>
                  </a:cubicBezTo>
                  <a:cubicBezTo>
                    <a:pt x="10817" y="59494"/>
                    <a:pt x="11898" y="59494"/>
                    <a:pt x="10276" y="50840"/>
                  </a:cubicBezTo>
                  <a:cubicBezTo>
                    <a:pt x="9194" y="42186"/>
                    <a:pt x="8113" y="42186"/>
                    <a:pt x="6490" y="34074"/>
                  </a:cubicBezTo>
                  <a:cubicBezTo>
                    <a:pt x="5409" y="25420"/>
                    <a:pt x="5949" y="25420"/>
                    <a:pt x="4867" y="16766"/>
                  </a:cubicBezTo>
                  <a:cubicBezTo>
                    <a:pt x="3786" y="8113"/>
                    <a:pt x="1622" y="8654"/>
                    <a:pt x="0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33" name="Freeform: Shape 1332">
              <a:extLst>
                <a:ext uri="{FF2B5EF4-FFF2-40B4-BE49-F238E27FC236}">
                  <a16:creationId xmlns:a16="http://schemas.microsoft.com/office/drawing/2014/main" id="{2F9D2E06-501F-B1E1-5F58-8225D8EC85D3}"/>
                </a:ext>
              </a:extLst>
            </p:cNvPr>
            <p:cNvSpPr/>
            <p:nvPr/>
          </p:nvSpPr>
          <p:spPr>
            <a:xfrm>
              <a:off x="7686644" y="-1345051"/>
              <a:ext cx="20552" cy="171449"/>
            </a:xfrm>
            <a:custGeom>
              <a:avLst/>
              <a:gdLst>
                <a:gd name="connsiteX0" fmla="*/ 0 w 20552"/>
                <a:gd name="connsiteY0" fmla="*/ 171450 h 171449"/>
                <a:gd name="connsiteX1" fmla="*/ 3786 w 20552"/>
                <a:gd name="connsiteY1" fmla="*/ 154684 h 171449"/>
                <a:gd name="connsiteX2" fmla="*/ 4327 w 20552"/>
                <a:gd name="connsiteY2" fmla="*/ 137376 h 171449"/>
                <a:gd name="connsiteX3" fmla="*/ 8113 w 20552"/>
                <a:gd name="connsiteY3" fmla="*/ 120610 h 171449"/>
                <a:gd name="connsiteX4" fmla="*/ 9195 w 20552"/>
                <a:gd name="connsiteY4" fmla="*/ 103303 h 171449"/>
                <a:gd name="connsiteX5" fmla="*/ 9736 w 20552"/>
                <a:gd name="connsiteY5" fmla="*/ 85995 h 171449"/>
                <a:gd name="connsiteX6" fmla="*/ 12981 w 20552"/>
                <a:gd name="connsiteY6" fmla="*/ 69229 h 171449"/>
                <a:gd name="connsiteX7" fmla="*/ 14062 w 20552"/>
                <a:gd name="connsiteY7" fmla="*/ 51922 h 171449"/>
                <a:gd name="connsiteX8" fmla="*/ 16766 w 20552"/>
                <a:gd name="connsiteY8" fmla="*/ 34614 h 171449"/>
                <a:gd name="connsiteX9" fmla="*/ 18930 w 20552"/>
                <a:gd name="connsiteY9" fmla="*/ 17307 h 171449"/>
                <a:gd name="connsiteX10" fmla="*/ 20553 w 20552"/>
                <a:gd name="connsiteY10" fmla="*/ 0 h 1714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0552" h="171449">
                  <a:moveTo>
                    <a:pt x="0" y="171450"/>
                  </a:moveTo>
                  <a:cubicBezTo>
                    <a:pt x="1082" y="162796"/>
                    <a:pt x="2704" y="163337"/>
                    <a:pt x="3786" y="154684"/>
                  </a:cubicBezTo>
                  <a:cubicBezTo>
                    <a:pt x="4868" y="146030"/>
                    <a:pt x="3245" y="146030"/>
                    <a:pt x="4327" y="137376"/>
                  </a:cubicBezTo>
                  <a:cubicBezTo>
                    <a:pt x="5409" y="128723"/>
                    <a:pt x="7031" y="128723"/>
                    <a:pt x="8113" y="120610"/>
                  </a:cubicBezTo>
                  <a:cubicBezTo>
                    <a:pt x="9195" y="112497"/>
                    <a:pt x="8113" y="111956"/>
                    <a:pt x="9195" y="103303"/>
                  </a:cubicBezTo>
                  <a:cubicBezTo>
                    <a:pt x="10276" y="94649"/>
                    <a:pt x="9195" y="94649"/>
                    <a:pt x="9736" y="85995"/>
                  </a:cubicBezTo>
                  <a:cubicBezTo>
                    <a:pt x="10817" y="77342"/>
                    <a:pt x="11899" y="77342"/>
                    <a:pt x="12981" y="69229"/>
                  </a:cubicBezTo>
                  <a:cubicBezTo>
                    <a:pt x="14062" y="60575"/>
                    <a:pt x="12981" y="60575"/>
                    <a:pt x="14062" y="51922"/>
                  </a:cubicBezTo>
                  <a:cubicBezTo>
                    <a:pt x="15144" y="43268"/>
                    <a:pt x="15685" y="43268"/>
                    <a:pt x="16766" y="34614"/>
                  </a:cubicBezTo>
                  <a:cubicBezTo>
                    <a:pt x="17848" y="25961"/>
                    <a:pt x="17848" y="25961"/>
                    <a:pt x="18930" y="17307"/>
                  </a:cubicBezTo>
                  <a:cubicBezTo>
                    <a:pt x="20012" y="8654"/>
                    <a:pt x="19471" y="8654"/>
                    <a:pt x="20553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34" name="Freeform: Shape 1333">
              <a:extLst>
                <a:ext uri="{FF2B5EF4-FFF2-40B4-BE49-F238E27FC236}">
                  <a16:creationId xmlns:a16="http://schemas.microsoft.com/office/drawing/2014/main" id="{2316EE5F-6A5D-98A6-673B-2D5F12AD659F}"/>
                </a:ext>
              </a:extLst>
            </p:cNvPr>
            <p:cNvSpPr/>
            <p:nvPr/>
          </p:nvSpPr>
          <p:spPr>
            <a:xfrm>
              <a:off x="7857013" y="-1182795"/>
              <a:ext cx="60575" cy="75178"/>
            </a:xfrm>
            <a:custGeom>
              <a:avLst/>
              <a:gdLst>
                <a:gd name="connsiteX0" fmla="*/ 0 w 60575"/>
                <a:gd name="connsiteY0" fmla="*/ 75178 h 75178"/>
                <a:gd name="connsiteX1" fmla="*/ 11899 w 60575"/>
                <a:gd name="connsiteY1" fmla="*/ 60034 h 75178"/>
                <a:gd name="connsiteX2" fmla="*/ 25420 w 60575"/>
                <a:gd name="connsiteY2" fmla="*/ 45972 h 75178"/>
                <a:gd name="connsiteX3" fmla="*/ 37860 w 60575"/>
                <a:gd name="connsiteY3" fmla="*/ 31369 h 75178"/>
                <a:gd name="connsiteX4" fmla="*/ 49217 w 60575"/>
                <a:gd name="connsiteY4" fmla="*/ 15685 h 75178"/>
                <a:gd name="connsiteX5" fmla="*/ 60576 w 60575"/>
                <a:gd name="connsiteY5" fmla="*/ 0 h 75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575" h="75178">
                  <a:moveTo>
                    <a:pt x="0" y="75178"/>
                  </a:moveTo>
                  <a:cubicBezTo>
                    <a:pt x="5949" y="67606"/>
                    <a:pt x="5949" y="67606"/>
                    <a:pt x="11899" y="60034"/>
                  </a:cubicBezTo>
                  <a:cubicBezTo>
                    <a:pt x="17848" y="52463"/>
                    <a:pt x="19471" y="53544"/>
                    <a:pt x="25420" y="45972"/>
                  </a:cubicBezTo>
                  <a:cubicBezTo>
                    <a:pt x="31370" y="38400"/>
                    <a:pt x="31910" y="38941"/>
                    <a:pt x="37860" y="31369"/>
                  </a:cubicBezTo>
                  <a:cubicBezTo>
                    <a:pt x="43809" y="23797"/>
                    <a:pt x="43268" y="23257"/>
                    <a:pt x="49217" y="15685"/>
                  </a:cubicBezTo>
                  <a:cubicBezTo>
                    <a:pt x="55167" y="8113"/>
                    <a:pt x="54626" y="7572"/>
                    <a:pt x="60576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36" name="Freeform: Shape 1335">
              <a:extLst>
                <a:ext uri="{FF2B5EF4-FFF2-40B4-BE49-F238E27FC236}">
                  <a16:creationId xmlns:a16="http://schemas.microsoft.com/office/drawing/2014/main" id="{D3943689-2D56-C0EF-B78A-8F40E7390BD4}"/>
                </a:ext>
              </a:extLst>
            </p:cNvPr>
            <p:cNvSpPr/>
            <p:nvPr/>
          </p:nvSpPr>
          <p:spPr>
            <a:xfrm>
              <a:off x="7976000" y="-1058399"/>
              <a:ext cx="39482" cy="35155"/>
            </a:xfrm>
            <a:custGeom>
              <a:avLst/>
              <a:gdLst>
                <a:gd name="connsiteX0" fmla="*/ 0 w 39482"/>
                <a:gd name="connsiteY0" fmla="*/ 35155 h 35155"/>
                <a:gd name="connsiteX1" fmla="*/ 12440 w 39482"/>
                <a:gd name="connsiteY1" fmla="*/ 22716 h 35155"/>
                <a:gd name="connsiteX2" fmla="*/ 26502 w 39482"/>
                <a:gd name="connsiteY2" fmla="*/ 11899 h 35155"/>
                <a:gd name="connsiteX3" fmla="*/ 39482 w 39482"/>
                <a:gd name="connsiteY3" fmla="*/ 0 h 351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482" h="35155">
                  <a:moveTo>
                    <a:pt x="0" y="35155"/>
                  </a:moveTo>
                  <a:cubicBezTo>
                    <a:pt x="6491" y="29747"/>
                    <a:pt x="5949" y="28665"/>
                    <a:pt x="12440" y="22716"/>
                  </a:cubicBezTo>
                  <a:cubicBezTo>
                    <a:pt x="18930" y="17307"/>
                    <a:pt x="19471" y="17848"/>
                    <a:pt x="26502" y="11899"/>
                  </a:cubicBezTo>
                  <a:cubicBezTo>
                    <a:pt x="32992" y="6490"/>
                    <a:pt x="32451" y="5409"/>
                    <a:pt x="39482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  <p:sp>
          <p:nvSpPr>
            <p:cNvPr id="1340" name="Freeform: Shape 1339">
              <a:extLst>
                <a:ext uri="{FF2B5EF4-FFF2-40B4-BE49-F238E27FC236}">
                  <a16:creationId xmlns:a16="http://schemas.microsoft.com/office/drawing/2014/main" id="{394AD053-22C2-CD79-A460-8FFE38D4135B}"/>
                </a:ext>
              </a:extLst>
            </p:cNvPr>
            <p:cNvSpPr/>
            <p:nvPr/>
          </p:nvSpPr>
          <p:spPr>
            <a:xfrm>
              <a:off x="8059832" y="-931840"/>
              <a:ext cx="12980" cy="5408"/>
            </a:xfrm>
            <a:custGeom>
              <a:avLst/>
              <a:gdLst>
                <a:gd name="connsiteX0" fmla="*/ 0 w 12980"/>
                <a:gd name="connsiteY0" fmla="*/ 5409 h 5408"/>
                <a:gd name="connsiteX1" fmla="*/ 12981 w 12980"/>
                <a:gd name="connsiteY1" fmla="*/ 0 h 5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2980" h="5408">
                  <a:moveTo>
                    <a:pt x="0" y="5409"/>
                  </a:moveTo>
                  <a:cubicBezTo>
                    <a:pt x="6491" y="2163"/>
                    <a:pt x="7031" y="3245"/>
                    <a:pt x="12981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e-DE"/>
            </a:p>
          </p:txBody>
        </p:sp>
      </p:grpSp>
      <p:sp>
        <p:nvSpPr>
          <p:cNvPr id="2" name="Freeform: Shape 152">
            <a:extLst>
              <a:ext uri="{FF2B5EF4-FFF2-40B4-BE49-F238E27FC236}">
                <a16:creationId xmlns:a16="http://schemas.microsoft.com/office/drawing/2014/main" id="{024CD68D-CC63-5837-A553-49BAFC9F2E24}"/>
              </a:ext>
            </a:extLst>
          </p:cNvPr>
          <p:cNvSpPr/>
          <p:nvPr/>
        </p:nvSpPr>
        <p:spPr>
          <a:xfrm rot="645858">
            <a:off x="5910249" y="1775502"/>
            <a:ext cx="91326" cy="160700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  <a:highlight>
                <a:srgbClr val="F2F6F6"/>
              </a:highlight>
            </a:endParaRPr>
          </a:p>
        </p:txBody>
      </p:sp>
      <p:sp>
        <p:nvSpPr>
          <p:cNvPr id="4" name="Freeform: Shape 152">
            <a:extLst>
              <a:ext uri="{FF2B5EF4-FFF2-40B4-BE49-F238E27FC236}">
                <a16:creationId xmlns:a16="http://schemas.microsoft.com/office/drawing/2014/main" id="{79897807-ADB5-F14B-DE1C-FA4E803232BA}"/>
              </a:ext>
            </a:extLst>
          </p:cNvPr>
          <p:cNvSpPr/>
          <p:nvPr/>
        </p:nvSpPr>
        <p:spPr>
          <a:xfrm rot="645858">
            <a:off x="9747750" y="1741597"/>
            <a:ext cx="91326" cy="160700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  <a:highlight>
                <a:srgbClr val="F2F6F6"/>
              </a:highlight>
            </a:endParaRPr>
          </a:p>
        </p:txBody>
      </p:sp>
      <p:sp>
        <p:nvSpPr>
          <p:cNvPr id="5" name="Freeform: Shape 152">
            <a:extLst>
              <a:ext uri="{FF2B5EF4-FFF2-40B4-BE49-F238E27FC236}">
                <a16:creationId xmlns:a16="http://schemas.microsoft.com/office/drawing/2014/main" id="{2EF1C6D4-28FF-6191-3FB4-8E9DA7615D46}"/>
              </a:ext>
            </a:extLst>
          </p:cNvPr>
          <p:cNvSpPr/>
          <p:nvPr/>
        </p:nvSpPr>
        <p:spPr>
          <a:xfrm rot="5595269">
            <a:off x="11903441" y="3147321"/>
            <a:ext cx="91326" cy="160700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  <a:highlight>
                <a:srgbClr val="F2F6F6"/>
              </a:highlight>
            </a:endParaRPr>
          </a:p>
        </p:txBody>
      </p:sp>
      <p:sp>
        <p:nvSpPr>
          <p:cNvPr id="7" name="Freeform: Shape 152">
            <a:extLst>
              <a:ext uri="{FF2B5EF4-FFF2-40B4-BE49-F238E27FC236}">
                <a16:creationId xmlns:a16="http://schemas.microsoft.com/office/drawing/2014/main" id="{492ADC1A-01B2-D401-9F87-0F9682C6F47A}"/>
              </a:ext>
            </a:extLst>
          </p:cNvPr>
          <p:cNvSpPr/>
          <p:nvPr/>
        </p:nvSpPr>
        <p:spPr>
          <a:xfrm rot="11732108">
            <a:off x="8844553" y="4519521"/>
            <a:ext cx="91326" cy="160700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  <a:highlight>
                <a:srgbClr val="F2F6F6"/>
              </a:highlight>
            </a:endParaRPr>
          </a:p>
        </p:txBody>
      </p:sp>
      <p:sp>
        <p:nvSpPr>
          <p:cNvPr id="17" name="Freeform: Shape 152">
            <a:extLst>
              <a:ext uri="{FF2B5EF4-FFF2-40B4-BE49-F238E27FC236}">
                <a16:creationId xmlns:a16="http://schemas.microsoft.com/office/drawing/2014/main" id="{B393DB63-8C24-B9C3-1168-39FA70653399}"/>
              </a:ext>
            </a:extLst>
          </p:cNvPr>
          <p:cNvSpPr/>
          <p:nvPr/>
        </p:nvSpPr>
        <p:spPr>
          <a:xfrm rot="11732108">
            <a:off x="3293974" y="4501669"/>
            <a:ext cx="91326" cy="160700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  <a:highlight>
                <a:srgbClr val="F2F6F6"/>
              </a:highlight>
            </a:endParaRPr>
          </a:p>
        </p:txBody>
      </p:sp>
      <p:sp>
        <p:nvSpPr>
          <p:cNvPr id="40" name="Freeform: Shape 152">
            <a:extLst>
              <a:ext uri="{FF2B5EF4-FFF2-40B4-BE49-F238E27FC236}">
                <a16:creationId xmlns:a16="http://schemas.microsoft.com/office/drawing/2014/main" id="{3F8595CB-A1FE-5EFC-8E9B-F2AF1E0287FF}"/>
              </a:ext>
            </a:extLst>
          </p:cNvPr>
          <p:cNvSpPr/>
          <p:nvPr/>
        </p:nvSpPr>
        <p:spPr>
          <a:xfrm rot="11732108">
            <a:off x="436615" y="4501669"/>
            <a:ext cx="91326" cy="160700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  <a:highlight>
                <a:srgbClr val="F2F6F6"/>
              </a:highlight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32418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792D5C-0B74-B47C-9190-3275672709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94B9933-0B32-9D7C-BDC2-7EE6851B67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8438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4B9933-0B32-9D7C-BDC2-7EE6851B67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: Top Corners Rounded 40">
            <a:extLst>
              <a:ext uri="{FF2B5EF4-FFF2-40B4-BE49-F238E27FC236}">
                <a16:creationId xmlns:a16="http://schemas.microsoft.com/office/drawing/2014/main" id="{752028EF-AE7A-3582-ECE8-BBF4163A991E}"/>
              </a:ext>
            </a:extLst>
          </p:cNvPr>
          <p:cNvSpPr/>
          <p:nvPr/>
        </p:nvSpPr>
        <p:spPr>
          <a:xfrm rot="16200000">
            <a:off x="8177391" y="-768723"/>
            <a:ext cx="1655214" cy="6374003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/>
          </a:p>
        </p:txBody>
      </p:sp>
      <p:sp>
        <p:nvSpPr>
          <p:cNvPr id="42" name="Rectangle: Top Corners Rounded 41">
            <a:extLst>
              <a:ext uri="{FF2B5EF4-FFF2-40B4-BE49-F238E27FC236}">
                <a16:creationId xmlns:a16="http://schemas.microsoft.com/office/drawing/2014/main" id="{639ABB80-4C7C-87C1-DB36-7AE712229BEB}"/>
              </a:ext>
            </a:extLst>
          </p:cNvPr>
          <p:cNvSpPr/>
          <p:nvPr/>
        </p:nvSpPr>
        <p:spPr>
          <a:xfrm rot="16200000">
            <a:off x="8177391" y="973016"/>
            <a:ext cx="1655214" cy="6374003"/>
          </a:xfrm>
          <a:custGeom>
            <a:avLst/>
            <a:gdLst>
              <a:gd name="connsiteX0" fmla="*/ 275875 w 1655214"/>
              <a:gd name="connsiteY0" fmla="*/ 0 h 6374003"/>
              <a:gd name="connsiteX1" fmla="*/ 1379339 w 1655214"/>
              <a:gd name="connsiteY1" fmla="*/ 0 h 6374003"/>
              <a:gd name="connsiteX2" fmla="*/ 1655214 w 1655214"/>
              <a:gd name="connsiteY2" fmla="*/ 275875 h 6374003"/>
              <a:gd name="connsiteX3" fmla="*/ 1655214 w 1655214"/>
              <a:gd name="connsiteY3" fmla="*/ 6374003 h 6374003"/>
              <a:gd name="connsiteX4" fmla="*/ 1655214 w 1655214"/>
              <a:gd name="connsiteY4" fmla="*/ 6374003 h 6374003"/>
              <a:gd name="connsiteX5" fmla="*/ 0 w 1655214"/>
              <a:gd name="connsiteY5" fmla="*/ 6374003 h 6374003"/>
              <a:gd name="connsiteX6" fmla="*/ 0 w 1655214"/>
              <a:gd name="connsiteY6" fmla="*/ 6374003 h 6374003"/>
              <a:gd name="connsiteX7" fmla="*/ 0 w 1655214"/>
              <a:gd name="connsiteY7" fmla="*/ 275875 h 6374003"/>
              <a:gd name="connsiteX8" fmla="*/ 275875 w 1655214"/>
              <a:gd name="connsiteY8" fmla="*/ 0 h 6374003"/>
              <a:gd name="connsiteX0" fmla="*/ 0 w 1655214"/>
              <a:gd name="connsiteY0" fmla="*/ 6374003 h 6465443"/>
              <a:gd name="connsiteX1" fmla="*/ 0 w 1655214"/>
              <a:gd name="connsiteY1" fmla="*/ 275875 h 6465443"/>
              <a:gd name="connsiteX2" fmla="*/ 275875 w 1655214"/>
              <a:gd name="connsiteY2" fmla="*/ 0 h 6465443"/>
              <a:gd name="connsiteX3" fmla="*/ 1379339 w 1655214"/>
              <a:gd name="connsiteY3" fmla="*/ 0 h 6465443"/>
              <a:gd name="connsiteX4" fmla="*/ 1655214 w 1655214"/>
              <a:gd name="connsiteY4" fmla="*/ 275875 h 6465443"/>
              <a:gd name="connsiteX5" fmla="*/ 1655214 w 1655214"/>
              <a:gd name="connsiteY5" fmla="*/ 6374003 h 6465443"/>
              <a:gd name="connsiteX6" fmla="*/ 1655214 w 1655214"/>
              <a:gd name="connsiteY6" fmla="*/ 6374003 h 6465443"/>
              <a:gd name="connsiteX7" fmla="*/ 0 w 1655214"/>
              <a:gd name="connsiteY7" fmla="*/ 6374003 h 6465443"/>
              <a:gd name="connsiteX8" fmla="*/ 91440 w 1655214"/>
              <a:gd name="connsiteY8" fmla="*/ 6465443 h 646544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  <a:gd name="connsiteX7" fmla="*/ 0 w 1655214"/>
              <a:gd name="connsiteY7" fmla="*/ 6374003 h 6374003"/>
              <a:gd name="connsiteX0" fmla="*/ 0 w 1655214"/>
              <a:gd name="connsiteY0" fmla="*/ 6374003 h 6374003"/>
              <a:gd name="connsiteX1" fmla="*/ 0 w 1655214"/>
              <a:gd name="connsiteY1" fmla="*/ 275875 h 6374003"/>
              <a:gd name="connsiteX2" fmla="*/ 275875 w 1655214"/>
              <a:gd name="connsiteY2" fmla="*/ 0 h 6374003"/>
              <a:gd name="connsiteX3" fmla="*/ 1379339 w 1655214"/>
              <a:gd name="connsiteY3" fmla="*/ 0 h 6374003"/>
              <a:gd name="connsiteX4" fmla="*/ 1655214 w 1655214"/>
              <a:gd name="connsiteY4" fmla="*/ 275875 h 6374003"/>
              <a:gd name="connsiteX5" fmla="*/ 1655214 w 1655214"/>
              <a:gd name="connsiteY5" fmla="*/ 6374003 h 6374003"/>
              <a:gd name="connsiteX6" fmla="*/ 1655214 w 1655214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55214" h="6374003">
                <a:moveTo>
                  <a:pt x="0" y="6374003"/>
                </a:moveTo>
                <a:lnTo>
                  <a:pt x="0" y="275875"/>
                </a:lnTo>
                <a:cubicBezTo>
                  <a:pt x="0" y="123513"/>
                  <a:pt x="123513" y="0"/>
                  <a:pt x="275875" y="0"/>
                </a:cubicBezTo>
                <a:lnTo>
                  <a:pt x="1379339" y="0"/>
                </a:lnTo>
                <a:cubicBezTo>
                  <a:pt x="1531701" y="0"/>
                  <a:pt x="1655214" y="123513"/>
                  <a:pt x="1655214" y="275875"/>
                </a:cubicBezTo>
                <a:lnTo>
                  <a:pt x="1655214" y="6374003"/>
                </a:lnTo>
                <a:lnTo>
                  <a:pt x="1655214" y="6374003"/>
                </a:lnTo>
              </a:path>
            </a:pathLst>
          </a:custGeom>
          <a:noFill/>
          <a:ln w="12700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/>
          </a:p>
        </p:txBody>
      </p:sp>
      <p:sp>
        <p:nvSpPr>
          <p:cNvPr id="43" name="Rectangle: Top Corners Rounded 42">
            <a:extLst>
              <a:ext uri="{FF2B5EF4-FFF2-40B4-BE49-F238E27FC236}">
                <a16:creationId xmlns:a16="http://schemas.microsoft.com/office/drawing/2014/main" id="{D5DD6612-AE4D-22A6-F085-1B54BFA46645}"/>
              </a:ext>
            </a:extLst>
          </p:cNvPr>
          <p:cNvSpPr/>
          <p:nvPr/>
        </p:nvSpPr>
        <p:spPr>
          <a:xfrm rot="16200000">
            <a:off x="8405174" y="2486972"/>
            <a:ext cx="1199647" cy="6374003"/>
          </a:xfrm>
          <a:custGeom>
            <a:avLst/>
            <a:gdLst>
              <a:gd name="connsiteX0" fmla="*/ 199945 w 1199647"/>
              <a:gd name="connsiteY0" fmla="*/ 0 h 6374003"/>
              <a:gd name="connsiteX1" fmla="*/ 999702 w 1199647"/>
              <a:gd name="connsiteY1" fmla="*/ 0 h 6374003"/>
              <a:gd name="connsiteX2" fmla="*/ 1199647 w 1199647"/>
              <a:gd name="connsiteY2" fmla="*/ 199945 h 6374003"/>
              <a:gd name="connsiteX3" fmla="*/ 1199647 w 1199647"/>
              <a:gd name="connsiteY3" fmla="*/ 6374003 h 6374003"/>
              <a:gd name="connsiteX4" fmla="*/ 1199647 w 1199647"/>
              <a:gd name="connsiteY4" fmla="*/ 6374003 h 6374003"/>
              <a:gd name="connsiteX5" fmla="*/ 0 w 1199647"/>
              <a:gd name="connsiteY5" fmla="*/ 6374003 h 6374003"/>
              <a:gd name="connsiteX6" fmla="*/ 0 w 1199647"/>
              <a:gd name="connsiteY6" fmla="*/ 6374003 h 6374003"/>
              <a:gd name="connsiteX7" fmla="*/ 0 w 1199647"/>
              <a:gd name="connsiteY7" fmla="*/ 199945 h 6374003"/>
              <a:gd name="connsiteX8" fmla="*/ 199945 w 1199647"/>
              <a:gd name="connsiteY8" fmla="*/ 0 h 6374003"/>
              <a:gd name="connsiteX0" fmla="*/ 0 w 1199647"/>
              <a:gd name="connsiteY0" fmla="*/ 6374003 h 6465443"/>
              <a:gd name="connsiteX1" fmla="*/ 0 w 1199647"/>
              <a:gd name="connsiteY1" fmla="*/ 199945 h 6465443"/>
              <a:gd name="connsiteX2" fmla="*/ 199945 w 1199647"/>
              <a:gd name="connsiteY2" fmla="*/ 0 h 6465443"/>
              <a:gd name="connsiteX3" fmla="*/ 999702 w 1199647"/>
              <a:gd name="connsiteY3" fmla="*/ 0 h 6465443"/>
              <a:gd name="connsiteX4" fmla="*/ 1199647 w 1199647"/>
              <a:gd name="connsiteY4" fmla="*/ 199945 h 6465443"/>
              <a:gd name="connsiteX5" fmla="*/ 1199647 w 1199647"/>
              <a:gd name="connsiteY5" fmla="*/ 6374003 h 6465443"/>
              <a:gd name="connsiteX6" fmla="*/ 1199647 w 1199647"/>
              <a:gd name="connsiteY6" fmla="*/ 6374003 h 6465443"/>
              <a:gd name="connsiteX7" fmla="*/ 0 w 1199647"/>
              <a:gd name="connsiteY7" fmla="*/ 6374003 h 6465443"/>
              <a:gd name="connsiteX8" fmla="*/ 91440 w 1199647"/>
              <a:gd name="connsiteY8" fmla="*/ 6465443 h 6465443"/>
              <a:gd name="connsiteX0" fmla="*/ 0 w 1199647"/>
              <a:gd name="connsiteY0" fmla="*/ 6374003 h 6374003"/>
              <a:gd name="connsiteX1" fmla="*/ 0 w 1199647"/>
              <a:gd name="connsiteY1" fmla="*/ 199945 h 6374003"/>
              <a:gd name="connsiteX2" fmla="*/ 199945 w 1199647"/>
              <a:gd name="connsiteY2" fmla="*/ 0 h 6374003"/>
              <a:gd name="connsiteX3" fmla="*/ 999702 w 1199647"/>
              <a:gd name="connsiteY3" fmla="*/ 0 h 6374003"/>
              <a:gd name="connsiteX4" fmla="*/ 1199647 w 1199647"/>
              <a:gd name="connsiteY4" fmla="*/ 199945 h 6374003"/>
              <a:gd name="connsiteX5" fmla="*/ 1199647 w 1199647"/>
              <a:gd name="connsiteY5" fmla="*/ 6374003 h 6374003"/>
              <a:gd name="connsiteX6" fmla="*/ 1199647 w 1199647"/>
              <a:gd name="connsiteY6" fmla="*/ 6374003 h 6374003"/>
              <a:gd name="connsiteX7" fmla="*/ 0 w 1199647"/>
              <a:gd name="connsiteY7" fmla="*/ 6374003 h 6374003"/>
              <a:gd name="connsiteX0" fmla="*/ 0 w 1199647"/>
              <a:gd name="connsiteY0" fmla="*/ 6374003 h 6374003"/>
              <a:gd name="connsiteX1" fmla="*/ 0 w 1199647"/>
              <a:gd name="connsiteY1" fmla="*/ 199945 h 6374003"/>
              <a:gd name="connsiteX2" fmla="*/ 199945 w 1199647"/>
              <a:gd name="connsiteY2" fmla="*/ 0 h 6374003"/>
              <a:gd name="connsiteX3" fmla="*/ 999702 w 1199647"/>
              <a:gd name="connsiteY3" fmla="*/ 0 h 6374003"/>
              <a:gd name="connsiteX4" fmla="*/ 1199647 w 1199647"/>
              <a:gd name="connsiteY4" fmla="*/ 199945 h 6374003"/>
              <a:gd name="connsiteX5" fmla="*/ 1199647 w 1199647"/>
              <a:gd name="connsiteY5" fmla="*/ 6374003 h 6374003"/>
              <a:gd name="connsiteX6" fmla="*/ 1199647 w 1199647"/>
              <a:gd name="connsiteY6" fmla="*/ 6374003 h 6374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9647" h="6374003">
                <a:moveTo>
                  <a:pt x="0" y="6374003"/>
                </a:moveTo>
                <a:lnTo>
                  <a:pt x="0" y="199945"/>
                </a:lnTo>
                <a:cubicBezTo>
                  <a:pt x="0" y="89518"/>
                  <a:pt x="89518" y="0"/>
                  <a:pt x="199945" y="0"/>
                </a:cubicBezTo>
                <a:lnTo>
                  <a:pt x="999702" y="0"/>
                </a:lnTo>
                <a:cubicBezTo>
                  <a:pt x="1110129" y="0"/>
                  <a:pt x="1199647" y="89518"/>
                  <a:pt x="1199647" y="199945"/>
                </a:cubicBezTo>
                <a:lnTo>
                  <a:pt x="1199647" y="6374003"/>
                </a:lnTo>
                <a:lnTo>
                  <a:pt x="1199647" y="6374003"/>
                </a:lnTo>
              </a:path>
            </a:pathLst>
          </a:cu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400"/>
          </a:p>
        </p:txBody>
      </p:sp>
      <p:sp>
        <p:nvSpPr>
          <p:cNvPr id="437" name="Freeform: Shape 436">
            <a:extLst>
              <a:ext uri="{FF2B5EF4-FFF2-40B4-BE49-F238E27FC236}">
                <a16:creationId xmlns:a16="http://schemas.microsoft.com/office/drawing/2014/main" id="{10334AA0-5486-B192-7984-1298CE44BA14}"/>
              </a:ext>
            </a:extLst>
          </p:cNvPr>
          <p:cNvSpPr/>
          <p:nvPr/>
        </p:nvSpPr>
        <p:spPr>
          <a:xfrm>
            <a:off x="0" y="1594423"/>
            <a:ext cx="5278343" cy="2746919"/>
          </a:xfrm>
          <a:custGeom>
            <a:avLst/>
            <a:gdLst>
              <a:gd name="connsiteX0" fmla="*/ 0 w 5278343"/>
              <a:gd name="connsiteY0" fmla="*/ 0 h 2746919"/>
              <a:gd name="connsiteX1" fmla="*/ 4465467 w 5278343"/>
              <a:gd name="connsiteY1" fmla="*/ 0 h 2746919"/>
              <a:gd name="connsiteX2" fmla="*/ 5278343 w 5278343"/>
              <a:gd name="connsiteY2" fmla="*/ 2341564 h 2746919"/>
              <a:gd name="connsiteX3" fmla="*/ 5137624 w 5278343"/>
              <a:gd name="connsiteY3" fmla="*/ 2746919 h 2746919"/>
              <a:gd name="connsiteX4" fmla="*/ 0 w 5278343"/>
              <a:gd name="connsiteY4" fmla="*/ 2746919 h 2746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78343" h="2746919">
                <a:moveTo>
                  <a:pt x="0" y="0"/>
                </a:moveTo>
                <a:lnTo>
                  <a:pt x="4465467" y="0"/>
                </a:lnTo>
                <a:lnTo>
                  <a:pt x="5278343" y="2341564"/>
                </a:lnTo>
                <a:lnTo>
                  <a:pt x="5137624" y="2746919"/>
                </a:lnTo>
                <a:lnTo>
                  <a:pt x="0" y="274691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a-DK" sz="1400"/>
          </a:p>
        </p:txBody>
      </p:sp>
      <p:sp>
        <p:nvSpPr>
          <p:cNvPr id="439" name="Freeform: Shape 438">
            <a:extLst>
              <a:ext uri="{FF2B5EF4-FFF2-40B4-BE49-F238E27FC236}">
                <a16:creationId xmlns:a16="http://schemas.microsoft.com/office/drawing/2014/main" id="{19CDDFA0-581A-E905-0439-9DC663415850}"/>
              </a:ext>
            </a:extLst>
          </p:cNvPr>
          <p:cNvSpPr/>
          <p:nvPr/>
        </p:nvSpPr>
        <p:spPr>
          <a:xfrm>
            <a:off x="-2540" y="4464762"/>
            <a:ext cx="5089667" cy="1809038"/>
          </a:xfrm>
          <a:custGeom>
            <a:avLst/>
            <a:gdLst>
              <a:gd name="connsiteX0" fmla="*/ 0 w 5089667"/>
              <a:gd name="connsiteY0" fmla="*/ 0 h 1809038"/>
              <a:gd name="connsiteX1" fmla="*/ 5089667 w 5089667"/>
              <a:gd name="connsiteY1" fmla="*/ 0 h 1809038"/>
              <a:gd name="connsiteX2" fmla="*/ 4461657 w 5089667"/>
              <a:gd name="connsiteY2" fmla="*/ 1809038 h 1809038"/>
              <a:gd name="connsiteX3" fmla="*/ 0 w 5089667"/>
              <a:gd name="connsiteY3" fmla="*/ 1809038 h 1809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089667" h="1809038">
                <a:moveTo>
                  <a:pt x="0" y="0"/>
                </a:moveTo>
                <a:lnTo>
                  <a:pt x="5089667" y="0"/>
                </a:lnTo>
                <a:lnTo>
                  <a:pt x="4461657" y="1809038"/>
                </a:lnTo>
                <a:lnTo>
                  <a:pt x="0" y="1809038"/>
                </a:lnTo>
                <a:close/>
              </a:path>
            </a:pathLst>
          </a:custGeom>
          <a:solidFill>
            <a:srgbClr val="B5CEB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>
              <a:spcAft>
                <a:spcPts val="300"/>
              </a:spcAft>
            </a:pPr>
            <a:endParaRPr lang="da-DK" sz="140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4CBDCAD-517F-68F9-F15E-D74673BF0B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 dirty="0"/>
              <a:t>De 14 første ESG-målepunkter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D0FF6A0B-C17D-5E34-5D0E-806156F0006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8</a:t>
            </a:fld>
            <a:endParaRPr lang="da-DK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0FB8E883-DDE4-6397-793F-3E1A6430FC8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8D80FCD-C9EC-C908-1073-ABC0E590398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364" y="955675"/>
            <a:ext cx="11471274" cy="446088"/>
          </a:xfrm>
        </p:spPr>
        <p:txBody>
          <a:bodyPr tIns="0"/>
          <a:lstStyle/>
          <a:p>
            <a:r>
              <a:rPr lang="da-DK" sz="2300"/>
              <a:t>Dækker ESG bredt og er en god start på et datagrundlag for alle boligorganisatione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EADEC06-E7B4-FD0F-B9FD-B9341B8A1A86}"/>
              </a:ext>
            </a:extLst>
          </p:cNvPr>
          <p:cNvSpPr/>
          <p:nvPr/>
        </p:nvSpPr>
        <p:spPr>
          <a:xfrm>
            <a:off x="1787437" y="1706381"/>
            <a:ext cx="1090414" cy="202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a-DK" sz="9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SG-relevan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0847CF2-5FBA-81F9-791E-12A286BCBC8D}"/>
              </a:ext>
            </a:extLst>
          </p:cNvPr>
          <p:cNvSpPr/>
          <p:nvPr/>
        </p:nvSpPr>
        <p:spPr>
          <a:xfrm>
            <a:off x="2750877" y="3747506"/>
            <a:ext cx="2076002" cy="26172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r>
              <a:rPr lang="da-DK" sz="9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okal meningsfuldhed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7D545F1-B9B9-BAD7-2E83-A7FD69D7E9CE}"/>
              </a:ext>
            </a:extLst>
          </p:cNvPr>
          <p:cNvSpPr/>
          <p:nvPr/>
        </p:nvSpPr>
        <p:spPr>
          <a:xfrm>
            <a:off x="629967" y="3775600"/>
            <a:ext cx="2166411" cy="2055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r>
              <a:rPr lang="da-DK" sz="900" dirty="0" err="1">
                <a:solidFill>
                  <a:schemeClr val="tx1"/>
                </a:solidFill>
                <a:latin typeface="Verdana"/>
                <a:ea typeface="Verdana"/>
              </a:rPr>
              <a:t>Operationaliserbarhed</a:t>
            </a:r>
            <a:endParaRPr lang="da-DK" sz="9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B116240-C2D0-940C-814C-50A93C57E4EF}"/>
              </a:ext>
            </a:extLst>
          </p:cNvPr>
          <p:cNvSpPr txBox="1"/>
          <p:nvPr/>
        </p:nvSpPr>
        <p:spPr>
          <a:xfrm>
            <a:off x="352425" y="4559249"/>
            <a:ext cx="4334467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da-DK" sz="1200">
                <a:latin typeface="Verdana" panose="020B0604030504040204" pitchFamily="34" charset="0"/>
                <a:ea typeface="Verdana" panose="020B0604030504040204" pitchFamily="34" charset="0"/>
              </a:rPr>
              <a:t>Dækker de mest relevante ESG-områder ud fra dobbeltvæsentlighed, lovkrav og initiativer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D9B5FAD-2E24-D782-50F0-3570C1FC6CD4}"/>
              </a:ext>
            </a:extLst>
          </p:cNvPr>
          <p:cNvSpPr txBox="1"/>
          <p:nvPr/>
        </p:nvSpPr>
        <p:spPr>
          <a:xfrm>
            <a:off x="352425" y="5047601"/>
            <a:ext cx="4334467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da-DK" sz="1200">
                <a:latin typeface="Verdana" panose="020B0604030504040204" pitchFamily="34" charset="0"/>
                <a:ea typeface="Verdana" panose="020B0604030504040204" pitchFamily="34" charset="0"/>
              </a:rPr>
              <a:t>Data kan hurtigt indsamles og omsættes til handling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68F6C89-5015-7B4D-E023-9F9A7ED3F94E}"/>
              </a:ext>
            </a:extLst>
          </p:cNvPr>
          <p:cNvSpPr txBox="1"/>
          <p:nvPr/>
        </p:nvSpPr>
        <p:spPr>
          <a:xfrm>
            <a:off x="352425" y="5351287"/>
            <a:ext cx="4229623" cy="18466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da-DK" sz="1200" dirty="0">
                <a:latin typeface="Verdana" panose="020B0604030504040204" pitchFamily="34" charset="0"/>
                <a:ea typeface="Verdana" panose="020B0604030504040204" pitchFamily="34" charset="0"/>
              </a:rPr>
              <a:t>Efterspørges af boligorganisationer og interessente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3903251-2CC2-E75A-226E-E050FCE3F13D}"/>
              </a:ext>
            </a:extLst>
          </p:cNvPr>
          <p:cNvSpPr txBox="1"/>
          <p:nvPr/>
        </p:nvSpPr>
        <p:spPr>
          <a:xfrm>
            <a:off x="352426" y="5654972"/>
            <a:ext cx="4078898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1450" indent="-171450">
              <a:buClr>
                <a:schemeClr val="tx1"/>
              </a:buClr>
              <a:buFont typeface="Wingdings" panose="05000000000000000000" pitchFamily="2" charset="2"/>
              <a:buChar char="ü"/>
            </a:pPr>
            <a:r>
              <a:rPr lang="da-DK" sz="1200">
                <a:latin typeface="Verdana" panose="020B0604030504040204" pitchFamily="34" charset="0"/>
                <a:ea typeface="Verdana" panose="020B0604030504040204" pitchFamily="34" charset="0"/>
              </a:rPr>
              <a:t>Data leveres af Landsbyggefonden, så boligorganisationerne ikke selv skal indsamle de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19BDDA5-45D9-AABB-01A8-7376220A1E3B}"/>
              </a:ext>
            </a:extLst>
          </p:cNvPr>
          <p:cNvSpPr/>
          <p:nvPr/>
        </p:nvSpPr>
        <p:spPr>
          <a:xfrm>
            <a:off x="7178763" y="1683348"/>
            <a:ext cx="1565639" cy="419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limaaftryk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F5B208C-90FC-D771-09A3-3A9EABD940E0}"/>
              </a:ext>
            </a:extLst>
          </p:cNvPr>
          <p:cNvSpPr/>
          <p:nvPr/>
        </p:nvSpPr>
        <p:spPr>
          <a:xfrm>
            <a:off x="7178763" y="2209449"/>
            <a:ext cx="1565639" cy="419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ergiforbrug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77CADF71-BCBB-A080-83A8-271DB3B4621A}"/>
              </a:ext>
            </a:extLst>
          </p:cNvPr>
          <p:cNvSpPr/>
          <p:nvPr/>
        </p:nvSpPr>
        <p:spPr>
          <a:xfrm>
            <a:off x="7178763" y="2733511"/>
            <a:ext cx="1565639" cy="419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nergimærker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0EBC578-F2F3-13D9-4AFE-500FD47067EA}"/>
              </a:ext>
            </a:extLst>
          </p:cNvPr>
          <p:cNvSpPr/>
          <p:nvPr/>
        </p:nvSpPr>
        <p:spPr>
          <a:xfrm>
            <a:off x="7178763" y="3426107"/>
            <a:ext cx="1565639" cy="419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ociale klausuler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74466832-6F44-AC9C-8241-FC68EEEA9DED}"/>
              </a:ext>
            </a:extLst>
          </p:cNvPr>
          <p:cNvSpPr/>
          <p:nvPr/>
        </p:nvSpPr>
        <p:spPr>
          <a:xfrm>
            <a:off x="7178763" y="3947405"/>
            <a:ext cx="1565639" cy="419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menboligers betalbarhed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29AF8897-630A-D3A2-D15D-7D74A01F2348}"/>
              </a:ext>
            </a:extLst>
          </p:cNvPr>
          <p:cNvSpPr/>
          <p:nvPr/>
        </p:nvSpPr>
        <p:spPr>
          <a:xfrm>
            <a:off x="7178763" y="4473211"/>
            <a:ext cx="1565639" cy="419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del af almene boliger i området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077AE812-77A8-1171-ADF6-1F1B32BC1DFB}"/>
              </a:ext>
            </a:extLst>
          </p:cNvPr>
          <p:cNvSpPr/>
          <p:nvPr/>
        </p:nvSpPr>
        <p:spPr>
          <a:xfrm>
            <a:off x="7178763" y="5202095"/>
            <a:ext cx="1565639" cy="419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od økonomistyring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695E50B-F7F2-12BD-DA0C-4184536C7FFE}"/>
              </a:ext>
            </a:extLst>
          </p:cNvPr>
          <p:cNvSpPr/>
          <p:nvPr/>
        </p:nvSpPr>
        <p:spPr>
          <a:xfrm>
            <a:off x="7178763" y="5726157"/>
            <a:ext cx="1565639" cy="419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olitikker og praksi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7C4000E0-C0E4-5658-8204-7BC7EEA7E985}"/>
              </a:ext>
            </a:extLst>
          </p:cNvPr>
          <p:cNvSpPr/>
          <p:nvPr/>
        </p:nvSpPr>
        <p:spPr>
          <a:xfrm>
            <a:off x="10025168" y="5202095"/>
            <a:ext cx="1806831" cy="419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ltagelse i beboerdemokratiet</a:t>
            </a: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4A81E8CE-EF10-A19E-2652-A1C5CC011BA0}"/>
              </a:ext>
            </a:extLst>
          </p:cNvPr>
          <p:cNvSpPr/>
          <p:nvPr/>
        </p:nvSpPr>
        <p:spPr>
          <a:xfrm>
            <a:off x="10025168" y="5726157"/>
            <a:ext cx="1806831" cy="419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beretninger via whistleblowerordning</a:t>
            </a: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0F382F1-C78C-0797-A7BF-5864F8E3B905}"/>
              </a:ext>
            </a:extLst>
          </p:cNvPr>
          <p:cNvSpPr/>
          <p:nvPr/>
        </p:nvSpPr>
        <p:spPr>
          <a:xfrm>
            <a:off x="10025168" y="3426107"/>
            <a:ext cx="1565639" cy="419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d- og udflytninger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F9422BED-CC0F-2BD1-1854-19014CA0D4A3}"/>
              </a:ext>
            </a:extLst>
          </p:cNvPr>
          <p:cNvSpPr/>
          <p:nvPr/>
        </p:nvSpPr>
        <p:spPr>
          <a:xfrm>
            <a:off x="10025168" y="3950169"/>
            <a:ext cx="1565639" cy="419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ivskvalitet og sundhed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FABCE13-9861-27AA-FF8B-95D63B3F5F5B}"/>
              </a:ext>
            </a:extLst>
          </p:cNvPr>
          <p:cNvSpPr/>
          <p:nvPr/>
        </p:nvSpPr>
        <p:spPr>
          <a:xfrm>
            <a:off x="10025168" y="1684368"/>
            <a:ext cx="1565639" cy="419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årbarhed for klimaændringer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56A4F47B-F323-0485-7692-9C732BD86181}"/>
              </a:ext>
            </a:extLst>
          </p:cNvPr>
          <p:cNvSpPr/>
          <p:nvPr/>
        </p:nvSpPr>
        <p:spPr>
          <a:xfrm>
            <a:off x="10025168" y="2209449"/>
            <a:ext cx="1565639" cy="4196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iodiversitet på grunden</a:t>
            </a:r>
          </a:p>
        </p:txBody>
      </p:sp>
      <p:pic>
        <p:nvPicPr>
          <p:cNvPr id="66" name="Graphic 65">
            <a:extLst>
              <a:ext uri="{FF2B5EF4-FFF2-40B4-BE49-F238E27FC236}">
                <a16:creationId xmlns:a16="http://schemas.microsoft.com/office/drawing/2014/main" id="{7F4AD286-AE4A-F15D-8C9D-0A8228A8F14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39508" y="2208430"/>
            <a:ext cx="421735" cy="421735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5333B27A-D772-D39A-954C-FAAC12ACE2F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638109" y="2709875"/>
            <a:ext cx="421735" cy="421735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D43204AD-FFAF-9AE8-70AA-D15197441A4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491236" y="1681856"/>
            <a:ext cx="421735" cy="421735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864DC5CB-8A24-C872-B9DA-A96A4952296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501382" y="2208430"/>
            <a:ext cx="421735" cy="421735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A52313CF-7570-B1CB-E088-88957AB628F0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639508" y="1682329"/>
            <a:ext cx="421735" cy="421735"/>
          </a:xfrm>
          <a:prstGeom prst="rect">
            <a:avLst/>
          </a:prstGeom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8176A930-C736-F5B1-1FEB-EFD083AE4EB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638109" y="3434376"/>
            <a:ext cx="421735" cy="421735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F3694544-2FC0-D3C3-6D76-87F3C072173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639508" y="3946386"/>
            <a:ext cx="421735" cy="421735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FECD8D02-53A0-F93F-C364-D0388EEDDEFE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491235" y="3410010"/>
            <a:ext cx="421735" cy="421735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FE419535-1DCA-8200-7A71-22884226C21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9501382" y="3946386"/>
            <a:ext cx="421735" cy="421735"/>
          </a:xfrm>
          <a:prstGeom prst="rect">
            <a:avLst/>
          </a:prstGeom>
        </p:spPr>
      </p:pic>
      <p:pic>
        <p:nvPicPr>
          <p:cNvPr id="75" name="Graphic 74">
            <a:extLst>
              <a:ext uri="{FF2B5EF4-FFF2-40B4-BE49-F238E27FC236}">
                <a16:creationId xmlns:a16="http://schemas.microsoft.com/office/drawing/2014/main" id="{CF33424A-6A11-4D5D-81BE-21D02312A591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6639509" y="4473468"/>
            <a:ext cx="421735" cy="421735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A87E5428-A889-9DC5-3F2F-84A08B71FB8B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6639508" y="5770392"/>
            <a:ext cx="421735" cy="421735"/>
          </a:xfrm>
          <a:prstGeom prst="rect">
            <a:avLst/>
          </a:prstGeom>
        </p:spPr>
      </p:pic>
      <p:pic>
        <p:nvPicPr>
          <p:cNvPr id="77" name="Graphic 76">
            <a:extLst>
              <a:ext uri="{FF2B5EF4-FFF2-40B4-BE49-F238E27FC236}">
                <a16:creationId xmlns:a16="http://schemas.microsoft.com/office/drawing/2014/main" id="{FEB30652-2D02-B298-7933-DD2D0642F30E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489837" y="5181574"/>
            <a:ext cx="421735" cy="421735"/>
          </a:xfrm>
          <a:prstGeom prst="rect">
            <a:avLst/>
          </a:prstGeom>
        </p:spPr>
      </p:pic>
      <p:pic>
        <p:nvPicPr>
          <p:cNvPr id="78" name="Graphic 77">
            <a:extLst>
              <a:ext uri="{FF2B5EF4-FFF2-40B4-BE49-F238E27FC236}">
                <a16:creationId xmlns:a16="http://schemas.microsoft.com/office/drawing/2014/main" id="{E577F142-BAB4-E85A-6C1D-93C33E95B60A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9501382" y="5717489"/>
            <a:ext cx="421735" cy="421735"/>
          </a:xfrm>
          <a:prstGeom prst="rect">
            <a:avLst/>
          </a:prstGeom>
        </p:spPr>
      </p:pic>
      <p:pic>
        <p:nvPicPr>
          <p:cNvPr id="79" name="Graphic 78">
            <a:extLst>
              <a:ext uri="{FF2B5EF4-FFF2-40B4-BE49-F238E27FC236}">
                <a16:creationId xmlns:a16="http://schemas.microsoft.com/office/drawing/2014/main" id="{75B49A71-6152-640C-44C6-AE2235736F3A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6639508" y="5174852"/>
            <a:ext cx="421735" cy="421735"/>
          </a:xfrm>
          <a:prstGeom prst="rect">
            <a:avLst/>
          </a:prstGeom>
        </p:spPr>
      </p:pic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96A29B3-53A3-16D7-AA24-E1A8FCD5A47C}"/>
              </a:ext>
            </a:extLst>
          </p:cNvPr>
          <p:cNvSpPr/>
          <p:nvPr/>
        </p:nvSpPr>
        <p:spPr>
          <a:xfrm>
            <a:off x="4406900" y="1701603"/>
            <a:ext cx="680227" cy="2757479"/>
          </a:xfrm>
          <a:custGeom>
            <a:avLst/>
            <a:gdLst>
              <a:gd name="connsiteX0" fmla="*/ 0 w 787400"/>
              <a:gd name="connsiteY0" fmla="*/ 0 h 2559050"/>
              <a:gd name="connsiteX1" fmla="*/ 787400 w 787400"/>
              <a:gd name="connsiteY1" fmla="*/ 2241550 h 2559050"/>
              <a:gd name="connsiteX2" fmla="*/ 673100 w 787400"/>
              <a:gd name="connsiteY2" fmla="*/ 2559050 h 2559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87400" h="2559050">
                <a:moveTo>
                  <a:pt x="0" y="0"/>
                </a:moveTo>
                <a:lnTo>
                  <a:pt x="787400" y="2241550"/>
                </a:lnTo>
                <a:lnTo>
                  <a:pt x="673100" y="2559050"/>
                </a:lnTo>
              </a:path>
            </a:pathLst>
          </a:custGeom>
          <a:noFill/>
          <a:ln w="15875"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2EE71B7B-B48E-18B7-19FB-F09993A2DB37}"/>
              </a:ext>
            </a:extLst>
          </p:cNvPr>
          <p:cNvSpPr/>
          <p:nvPr/>
        </p:nvSpPr>
        <p:spPr>
          <a:xfrm>
            <a:off x="-6350" y="4508500"/>
            <a:ext cx="4974590" cy="1657350"/>
          </a:xfrm>
          <a:custGeom>
            <a:avLst/>
            <a:gdLst>
              <a:gd name="connsiteX0" fmla="*/ 4997450 w 4997450"/>
              <a:gd name="connsiteY0" fmla="*/ 0 h 1657350"/>
              <a:gd name="connsiteX1" fmla="*/ 4419600 w 4997450"/>
              <a:gd name="connsiteY1" fmla="*/ 1657350 h 1657350"/>
              <a:gd name="connsiteX2" fmla="*/ 0 w 4997450"/>
              <a:gd name="connsiteY2" fmla="*/ 1657350 h 1657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97450" h="1657350">
                <a:moveTo>
                  <a:pt x="4997450" y="0"/>
                </a:moveTo>
                <a:lnTo>
                  <a:pt x="4419600" y="1657350"/>
                </a:lnTo>
                <a:lnTo>
                  <a:pt x="0" y="1657350"/>
                </a:lnTo>
              </a:path>
            </a:pathLst>
          </a:custGeom>
          <a:noFill/>
          <a:ln w="15875">
            <a:solidFill>
              <a:schemeClr val="accent1">
                <a:lumMod val="90000"/>
                <a:lumOff val="10000"/>
              </a:schemeClr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grpSp>
        <p:nvGrpSpPr>
          <p:cNvPr id="332" name="Group 331">
            <a:extLst>
              <a:ext uri="{FF2B5EF4-FFF2-40B4-BE49-F238E27FC236}">
                <a16:creationId xmlns:a16="http://schemas.microsoft.com/office/drawing/2014/main" id="{CFD47613-640B-6C83-1986-5CF32779961F}"/>
              </a:ext>
            </a:extLst>
          </p:cNvPr>
          <p:cNvGrpSpPr/>
          <p:nvPr/>
        </p:nvGrpSpPr>
        <p:grpSpPr>
          <a:xfrm>
            <a:off x="5323368" y="3583515"/>
            <a:ext cx="1152495" cy="1153004"/>
            <a:chOff x="3092692" y="-1631033"/>
            <a:chExt cx="2192906" cy="2193874"/>
          </a:xfrm>
        </p:grpSpPr>
        <p:sp>
          <p:nvSpPr>
            <p:cNvPr id="327" name="Freeform: Shape 326">
              <a:extLst>
                <a:ext uri="{FF2B5EF4-FFF2-40B4-BE49-F238E27FC236}">
                  <a16:creationId xmlns:a16="http://schemas.microsoft.com/office/drawing/2014/main" id="{F61A62FA-2110-C667-0721-8977A22329FF}"/>
                </a:ext>
              </a:extLst>
            </p:cNvPr>
            <p:cNvSpPr/>
            <p:nvPr/>
          </p:nvSpPr>
          <p:spPr>
            <a:xfrm>
              <a:off x="3092692" y="-1575001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ln w="12700">
              <a:solidFill>
                <a:schemeClr val="accent6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328" name="Freeform: Shape 327">
              <a:extLst>
                <a:ext uri="{FF2B5EF4-FFF2-40B4-BE49-F238E27FC236}">
                  <a16:creationId xmlns:a16="http://schemas.microsoft.com/office/drawing/2014/main" id="{D203D021-B45A-9933-2713-DD054550465A}"/>
                </a:ext>
              </a:extLst>
            </p:cNvPr>
            <p:cNvSpPr/>
            <p:nvPr/>
          </p:nvSpPr>
          <p:spPr>
            <a:xfrm>
              <a:off x="3132550" y="-1631033"/>
              <a:ext cx="2153048" cy="2137842"/>
            </a:xfrm>
            <a:custGeom>
              <a:avLst/>
              <a:gdLst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944902 w 4469152"/>
                <a:gd name="connsiteY150" fmla="*/ 476250 h 4496940"/>
                <a:gd name="connsiteX151" fmla="*/ 1087777 w 4469152"/>
                <a:gd name="connsiteY151" fmla="*/ 409575 h 4496940"/>
                <a:gd name="connsiteX152" fmla="*/ 1202077 w 4469152"/>
                <a:gd name="connsiteY152" fmla="*/ 314325 h 4496940"/>
                <a:gd name="connsiteX153" fmla="*/ 1268752 w 4469152"/>
                <a:gd name="connsiteY153" fmla="*/ 285750 h 4496940"/>
                <a:gd name="connsiteX154" fmla="*/ 1411627 w 4469152"/>
                <a:gd name="connsiteY154" fmla="*/ 190500 h 4496940"/>
                <a:gd name="connsiteX155" fmla="*/ 1449727 w 4469152"/>
                <a:gd name="connsiteY155" fmla="*/ 161925 h 4496940"/>
                <a:gd name="connsiteX156" fmla="*/ 1525927 w 4469152"/>
                <a:gd name="connsiteY156" fmla="*/ 152400 h 4496940"/>
                <a:gd name="connsiteX157" fmla="*/ 1583077 w 4469152"/>
                <a:gd name="connsiteY157" fmla="*/ 142875 h 4496940"/>
                <a:gd name="connsiteX158" fmla="*/ 1716427 w 4469152"/>
                <a:gd name="connsiteY158" fmla="*/ 123825 h 4496940"/>
                <a:gd name="connsiteX159" fmla="*/ 1811677 w 4469152"/>
                <a:gd name="connsiteY159" fmla="*/ 114300 h 4496940"/>
                <a:gd name="connsiteX160" fmla="*/ 1859302 w 4469152"/>
                <a:gd name="connsiteY160" fmla="*/ 104775 h 4496940"/>
                <a:gd name="connsiteX161" fmla="*/ 1916452 w 4469152"/>
                <a:gd name="connsiteY161" fmla="*/ 95250 h 4496940"/>
                <a:gd name="connsiteX162" fmla="*/ 2030752 w 4469152"/>
                <a:gd name="connsiteY162" fmla="*/ 66675 h 4496940"/>
                <a:gd name="connsiteX163" fmla="*/ 2097427 w 4469152"/>
                <a:gd name="connsiteY163" fmla="*/ 47625 h 4496940"/>
                <a:gd name="connsiteX164" fmla="*/ 2164102 w 4469152"/>
                <a:gd name="connsiteY164" fmla="*/ 38100 h 4496940"/>
                <a:gd name="connsiteX165" fmla="*/ 2392702 w 4469152"/>
                <a:gd name="connsiteY165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087777 w 4469152"/>
                <a:gd name="connsiteY150" fmla="*/ 409575 h 4496940"/>
                <a:gd name="connsiteX151" fmla="*/ 1202077 w 4469152"/>
                <a:gd name="connsiteY151" fmla="*/ 314325 h 4496940"/>
                <a:gd name="connsiteX152" fmla="*/ 1268752 w 4469152"/>
                <a:gd name="connsiteY152" fmla="*/ 285750 h 4496940"/>
                <a:gd name="connsiteX153" fmla="*/ 1411627 w 4469152"/>
                <a:gd name="connsiteY153" fmla="*/ 190500 h 4496940"/>
                <a:gd name="connsiteX154" fmla="*/ 1449727 w 4469152"/>
                <a:gd name="connsiteY154" fmla="*/ 161925 h 4496940"/>
                <a:gd name="connsiteX155" fmla="*/ 1525927 w 4469152"/>
                <a:gd name="connsiteY155" fmla="*/ 152400 h 4496940"/>
                <a:gd name="connsiteX156" fmla="*/ 1583077 w 4469152"/>
                <a:gd name="connsiteY156" fmla="*/ 142875 h 4496940"/>
                <a:gd name="connsiteX157" fmla="*/ 1716427 w 4469152"/>
                <a:gd name="connsiteY157" fmla="*/ 123825 h 4496940"/>
                <a:gd name="connsiteX158" fmla="*/ 1811677 w 4469152"/>
                <a:gd name="connsiteY158" fmla="*/ 114300 h 4496940"/>
                <a:gd name="connsiteX159" fmla="*/ 1859302 w 4469152"/>
                <a:gd name="connsiteY159" fmla="*/ 104775 h 4496940"/>
                <a:gd name="connsiteX160" fmla="*/ 1916452 w 4469152"/>
                <a:gd name="connsiteY160" fmla="*/ 95250 h 4496940"/>
                <a:gd name="connsiteX161" fmla="*/ 2030752 w 4469152"/>
                <a:gd name="connsiteY161" fmla="*/ 66675 h 4496940"/>
                <a:gd name="connsiteX162" fmla="*/ 2097427 w 4469152"/>
                <a:gd name="connsiteY162" fmla="*/ 47625 h 4496940"/>
                <a:gd name="connsiteX163" fmla="*/ 2164102 w 4469152"/>
                <a:gd name="connsiteY163" fmla="*/ 38100 h 4496940"/>
                <a:gd name="connsiteX164" fmla="*/ 2392702 w 4469152"/>
                <a:gd name="connsiteY164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02077 w 4469152"/>
                <a:gd name="connsiteY150" fmla="*/ 314325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268752 w 4469152"/>
                <a:gd name="connsiteY150" fmla="*/ 285750 h 4496940"/>
                <a:gd name="connsiteX151" fmla="*/ 1411627 w 4469152"/>
                <a:gd name="connsiteY151" fmla="*/ 190500 h 4496940"/>
                <a:gd name="connsiteX152" fmla="*/ 1449727 w 4469152"/>
                <a:gd name="connsiteY152" fmla="*/ 161925 h 4496940"/>
                <a:gd name="connsiteX153" fmla="*/ 1525927 w 4469152"/>
                <a:gd name="connsiteY153" fmla="*/ 152400 h 4496940"/>
                <a:gd name="connsiteX154" fmla="*/ 1583077 w 4469152"/>
                <a:gd name="connsiteY154" fmla="*/ 142875 h 4496940"/>
                <a:gd name="connsiteX155" fmla="*/ 1716427 w 4469152"/>
                <a:gd name="connsiteY155" fmla="*/ 123825 h 4496940"/>
                <a:gd name="connsiteX156" fmla="*/ 1811677 w 4469152"/>
                <a:gd name="connsiteY156" fmla="*/ 114300 h 4496940"/>
                <a:gd name="connsiteX157" fmla="*/ 1859302 w 4469152"/>
                <a:gd name="connsiteY157" fmla="*/ 104775 h 4496940"/>
                <a:gd name="connsiteX158" fmla="*/ 1916452 w 4469152"/>
                <a:gd name="connsiteY158" fmla="*/ 95250 h 4496940"/>
                <a:gd name="connsiteX159" fmla="*/ 2030752 w 4469152"/>
                <a:gd name="connsiteY159" fmla="*/ 66675 h 4496940"/>
                <a:gd name="connsiteX160" fmla="*/ 2097427 w 4469152"/>
                <a:gd name="connsiteY160" fmla="*/ 47625 h 4496940"/>
                <a:gd name="connsiteX161" fmla="*/ 2164102 w 4469152"/>
                <a:gd name="connsiteY161" fmla="*/ 38100 h 4496940"/>
                <a:gd name="connsiteX162" fmla="*/ 2392702 w 4469152"/>
                <a:gd name="connsiteY162" fmla="*/ 28575 h 4496940"/>
                <a:gd name="connsiteX0" fmla="*/ 2297452 w 4469152"/>
                <a:gd name="connsiteY0" fmla="*/ 0 h 4496940"/>
                <a:gd name="connsiteX1" fmla="*/ 2421277 w 4469152"/>
                <a:gd name="connsiteY1" fmla="*/ 28575 h 4496940"/>
                <a:gd name="connsiteX2" fmla="*/ 2497477 w 4469152"/>
                <a:gd name="connsiteY2" fmla="*/ 47625 h 4496940"/>
                <a:gd name="connsiteX3" fmla="*/ 2754652 w 4469152"/>
                <a:gd name="connsiteY3" fmla="*/ 66675 h 4496940"/>
                <a:gd name="connsiteX4" fmla="*/ 2830852 w 4469152"/>
                <a:gd name="connsiteY4" fmla="*/ 76200 h 4496940"/>
                <a:gd name="connsiteX5" fmla="*/ 2916577 w 4469152"/>
                <a:gd name="connsiteY5" fmla="*/ 85725 h 4496940"/>
                <a:gd name="connsiteX6" fmla="*/ 2973727 w 4469152"/>
                <a:gd name="connsiteY6" fmla="*/ 114300 h 4496940"/>
                <a:gd name="connsiteX7" fmla="*/ 3011827 w 4469152"/>
                <a:gd name="connsiteY7" fmla="*/ 123825 h 4496940"/>
                <a:gd name="connsiteX8" fmla="*/ 3135652 w 4469152"/>
                <a:gd name="connsiteY8" fmla="*/ 171450 h 4496940"/>
                <a:gd name="connsiteX9" fmla="*/ 3173752 w 4469152"/>
                <a:gd name="connsiteY9" fmla="*/ 190500 h 4496940"/>
                <a:gd name="connsiteX10" fmla="*/ 3240427 w 4469152"/>
                <a:gd name="connsiteY10" fmla="*/ 228600 h 4496940"/>
                <a:gd name="connsiteX11" fmla="*/ 3269002 w 4469152"/>
                <a:gd name="connsiteY11" fmla="*/ 238125 h 4496940"/>
                <a:gd name="connsiteX12" fmla="*/ 3297577 w 4469152"/>
                <a:gd name="connsiteY12" fmla="*/ 257175 h 4496940"/>
                <a:gd name="connsiteX13" fmla="*/ 3326152 w 4469152"/>
                <a:gd name="connsiteY13" fmla="*/ 266700 h 4496940"/>
                <a:gd name="connsiteX14" fmla="*/ 3354727 w 4469152"/>
                <a:gd name="connsiteY14" fmla="*/ 285750 h 4496940"/>
                <a:gd name="connsiteX15" fmla="*/ 3421402 w 4469152"/>
                <a:gd name="connsiteY15" fmla="*/ 323850 h 4496940"/>
                <a:gd name="connsiteX16" fmla="*/ 3469027 w 4469152"/>
                <a:gd name="connsiteY16" fmla="*/ 361950 h 4496940"/>
                <a:gd name="connsiteX17" fmla="*/ 3516652 w 4469152"/>
                <a:gd name="connsiteY17" fmla="*/ 390525 h 4496940"/>
                <a:gd name="connsiteX18" fmla="*/ 3545227 w 4469152"/>
                <a:gd name="connsiteY18" fmla="*/ 419100 h 4496940"/>
                <a:gd name="connsiteX19" fmla="*/ 3602377 w 4469152"/>
                <a:gd name="connsiteY19" fmla="*/ 457200 h 4496940"/>
                <a:gd name="connsiteX20" fmla="*/ 3630952 w 4469152"/>
                <a:gd name="connsiteY20" fmla="*/ 485775 h 4496940"/>
                <a:gd name="connsiteX21" fmla="*/ 3678577 w 4469152"/>
                <a:gd name="connsiteY21" fmla="*/ 504825 h 4496940"/>
                <a:gd name="connsiteX22" fmla="*/ 3745252 w 4469152"/>
                <a:gd name="connsiteY22" fmla="*/ 542925 h 4496940"/>
                <a:gd name="connsiteX23" fmla="*/ 3811927 w 4469152"/>
                <a:gd name="connsiteY23" fmla="*/ 581025 h 4496940"/>
                <a:gd name="connsiteX24" fmla="*/ 3840502 w 4469152"/>
                <a:gd name="connsiteY24" fmla="*/ 600075 h 4496940"/>
                <a:gd name="connsiteX25" fmla="*/ 3869077 w 4469152"/>
                <a:gd name="connsiteY25" fmla="*/ 628650 h 4496940"/>
                <a:gd name="connsiteX26" fmla="*/ 3907177 w 4469152"/>
                <a:gd name="connsiteY26" fmla="*/ 647700 h 4496940"/>
                <a:gd name="connsiteX27" fmla="*/ 3935752 w 4469152"/>
                <a:gd name="connsiteY27" fmla="*/ 676275 h 4496940"/>
                <a:gd name="connsiteX28" fmla="*/ 3992902 w 4469152"/>
                <a:gd name="connsiteY28" fmla="*/ 714375 h 4496940"/>
                <a:gd name="connsiteX29" fmla="*/ 4050052 w 4469152"/>
                <a:gd name="connsiteY29" fmla="*/ 790575 h 4496940"/>
                <a:gd name="connsiteX30" fmla="*/ 4078627 w 4469152"/>
                <a:gd name="connsiteY30" fmla="*/ 838200 h 4496940"/>
                <a:gd name="connsiteX31" fmla="*/ 4107202 w 4469152"/>
                <a:gd name="connsiteY31" fmla="*/ 876300 h 4496940"/>
                <a:gd name="connsiteX32" fmla="*/ 4116727 w 4469152"/>
                <a:gd name="connsiteY32" fmla="*/ 904875 h 4496940"/>
                <a:gd name="connsiteX33" fmla="*/ 4135777 w 4469152"/>
                <a:gd name="connsiteY33" fmla="*/ 933450 h 4496940"/>
                <a:gd name="connsiteX34" fmla="*/ 4164352 w 4469152"/>
                <a:gd name="connsiteY34" fmla="*/ 990600 h 4496940"/>
                <a:gd name="connsiteX35" fmla="*/ 4173877 w 4469152"/>
                <a:gd name="connsiteY35" fmla="*/ 1019175 h 4496940"/>
                <a:gd name="connsiteX36" fmla="*/ 4192927 w 4469152"/>
                <a:gd name="connsiteY36" fmla="*/ 1057275 h 4496940"/>
                <a:gd name="connsiteX37" fmla="*/ 4202452 w 4469152"/>
                <a:gd name="connsiteY37" fmla="*/ 1085850 h 4496940"/>
                <a:gd name="connsiteX38" fmla="*/ 4250077 w 4469152"/>
                <a:gd name="connsiteY38" fmla="*/ 1143000 h 4496940"/>
                <a:gd name="connsiteX39" fmla="*/ 4259602 w 4469152"/>
                <a:gd name="connsiteY39" fmla="*/ 1190625 h 4496940"/>
                <a:gd name="connsiteX40" fmla="*/ 4307227 w 4469152"/>
                <a:gd name="connsiteY40" fmla="*/ 1266825 h 4496940"/>
                <a:gd name="connsiteX41" fmla="*/ 4345327 w 4469152"/>
                <a:gd name="connsiteY41" fmla="*/ 1362075 h 4496940"/>
                <a:gd name="connsiteX42" fmla="*/ 4373902 w 4469152"/>
                <a:gd name="connsiteY42" fmla="*/ 1428750 h 4496940"/>
                <a:gd name="connsiteX43" fmla="*/ 4392952 w 4469152"/>
                <a:gd name="connsiteY43" fmla="*/ 1552575 h 4496940"/>
                <a:gd name="connsiteX44" fmla="*/ 4402477 w 4469152"/>
                <a:gd name="connsiteY44" fmla="*/ 1590675 h 4496940"/>
                <a:gd name="connsiteX45" fmla="*/ 4431052 w 4469152"/>
                <a:gd name="connsiteY45" fmla="*/ 1685925 h 4496940"/>
                <a:gd name="connsiteX46" fmla="*/ 4440577 w 4469152"/>
                <a:gd name="connsiteY46" fmla="*/ 1762125 h 4496940"/>
                <a:gd name="connsiteX47" fmla="*/ 4459627 w 4469152"/>
                <a:gd name="connsiteY47" fmla="*/ 1828800 h 4496940"/>
                <a:gd name="connsiteX48" fmla="*/ 4469152 w 4469152"/>
                <a:gd name="connsiteY48" fmla="*/ 1933575 h 4496940"/>
                <a:gd name="connsiteX49" fmla="*/ 4440577 w 4469152"/>
                <a:gd name="connsiteY49" fmla="*/ 2876550 h 4496940"/>
                <a:gd name="connsiteX50" fmla="*/ 4383427 w 4469152"/>
                <a:gd name="connsiteY50" fmla="*/ 2990850 h 4496940"/>
                <a:gd name="connsiteX51" fmla="*/ 4354852 w 4469152"/>
                <a:gd name="connsiteY51" fmla="*/ 3057525 h 4496940"/>
                <a:gd name="connsiteX52" fmla="*/ 4335802 w 4469152"/>
                <a:gd name="connsiteY52" fmla="*/ 3095625 h 4496940"/>
                <a:gd name="connsiteX53" fmla="*/ 4278652 w 4469152"/>
                <a:gd name="connsiteY53" fmla="*/ 3248025 h 4496940"/>
                <a:gd name="connsiteX54" fmla="*/ 4259602 w 4469152"/>
                <a:gd name="connsiteY54" fmla="*/ 3276600 h 4496940"/>
                <a:gd name="connsiteX55" fmla="*/ 4221502 w 4469152"/>
                <a:gd name="connsiteY55" fmla="*/ 3333750 h 4496940"/>
                <a:gd name="connsiteX56" fmla="*/ 4211977 w 4469152"/>
                <a:gd name="connsiteY56" fmla="*/ 3362325 h 4496940"/>
                <a:gd name="connsiteX57" fmla="*/ 4183402 w 4469152"/>
                <a:gd name="connsiteY57" fmla="*/ 3400425 h 4496940"/>
                <a:gd name="connsiteX58" fmla="*/ 4164352 w 4469152"/>
                <a:gd name="connsiteY58" fmla="*/ 3429000 h 4496940"/>
                <a:gd name="connsiteX59" fmla="*/ 4088152 w 4469152"/>
                <a:gd name="connsiteY59" fmla="*/ 3495675 h 4496940"/>
                <a:gd name="connsiteX60" fmla="*/ 4059577 w 4469152"/>
                <a:gd name="connsiteY60" fmla="*/ 3533775 h 4496940"/>
                <a:gd name="connsiteX61" fmla="*/ 4002427 w 4469152"/>
                <a:gd name="connsiteY61" fmla="*/ 3600450 h 4496940"/>
                <a:gd name="connsiteX62" fmla="*/ 3983377 w 4469152"/>
                <a:gd name="connsiteY62" fmla="*/ 3629025 h 4496940"/>
                <a:gd name="connsiteX63" fmla="*/ 3954802 w 4469152"/>
                <a:gd name="connsiteY63" fmla="*/ 3648075 h 4496940"/>
                <a:gd name="connsiteX64" fmla="*/ 3907177 w 4469152"/>
                <a:gd name="connsiteY64" fmla="*/ 3686175 h 4496940"/>
                <a:gd name="connsiteX65" fmla="*/ 3869077 w 4469152"/>
                <a:gd name="connsiteY65" fmla="*/ 3724275 h 4496940"/>
                <a:gd name="connsiteX66" fmla="*/ 3792877 w 4469152"/>
                <a:gd name="connsiteY66" fmla="*/ 3781425 h 4496940"/>
                <a:gd name="connsiteX67" fmla="*/ 3783352 w 4469152"/>
                <a:gd name="connsiteY67" fmla="*/ 3810000 h 4496940"/>
                <a:gd name="connsiteX68" fmla="*/ 3745252 w 4469152"/>
                <a:gd name="connsiteY68" fmla="*/ 3819525 h 4496940"/>
                <a:gd name="connsiteX69" fmla="*/ 3678577 w 4469152"/>
                <a:gd name="connsiteY69" fmla="*/ 3848100 h 4496940"/>
                <a:gd name="connsiteX70" fmla="*/ 3659527 w 4469152"/>
                <a:gd name="connsiteY70" fmla="*/ 3971925 h 4496940"/>
                <a:gd name="connsiteX71" fmla="*/ 3630952 w 4469152"/>
                <a:gd name="connsiteY71" fmla="*/ 4010025 h 4496940"/>
                <a:gd name="connsiteX72" fmla="*/ 3621427 w 4469152"/>
                <a:gd name="connsiteY72" fmla="*/ 4038600 h 4496940"/>
                <a:gd name="connsiteX73" fmla="*/ 3554752 w 4469152"/>
                <a:gd name="connsiteY73" fmla="*/ 4095750 h 4496940"/>
                <a:gd name="connsiteX74" fmla="*/ 3516652 w 4469152"/>
                <a:gd name="connsiteY74" fmla="*/ 4114800 h 4496940"/>
                <a:gd name="connsiteX75" fmla="*/ 3497602 w 4469152"/>
                <a:gd name="connsiteY75" fmla="*/ 4143375 h 4496940"/>
                <a:gd name="connsiteX76" fmla="*/ 3383302 w 4469152"/>
                <a:gd name="connsiteY76" fmla="*/ 4210050 h 4496940"/>
                <a:gd name="connsiteX77" fmla="*/ 3335677 w 4469152"/>
                <a:gd name="connsiteY77" fmla="*/ 4238625 h 4496940"/>
                <a:gd name="connsiteX78" fmla="*/ 3288052 w 4469152"/>
                <a:gd name="connsiteY78" fmla="*/ 4248150 h 4496940"/>
                <a:gd name="connsiteX79" fmla="*/ 3240427 w 4469152"/>
                <a:gd name="connsiteY79" fmla="*/ 4267200 h 4496940"/>
                <a:gd name="connsiteX80" fmla="*/ 3068977 w 4469152"/>
                <a:gd name="connsiteY80" fmla="*/ 4286250 h 4496940"/>
                <a:gd name="connsiteX81" fmla="*/ 2935627 w 4469152"/>
                <a:gd name="connsiteY81" fmla="*/ 4333875 h 4496940"/>
                <a:gd name="connsiteX82" fmla="*/ 2811802 w 4469152"/>
                <a:gd name="connsiteY82" fmla="*/ 4371975 h 4496940"/>
                <a:gd name="connsiteX83" fmla="*/ 2745127 w 4469152"/>
                <a:gd name="connsiteY83" fmla="*/ 4410075 h 4496940"/>
                <a:gd name="connsiteX84" fmla="*/ 2697502 w 4469152"/>
                <a:gd name="connsiteY84" fmla="*/ 4429125 h 4496940"/>
                <a:gd name="connsiteX85" fmla="*/ 2640352 w 4469152"/>
                <a:gd name="connsiteY85" fmla="*/ 4457700 h 4496940"/>
                <a:gd name="connsiteX86" fmla="*/ 2583202 w 4469152"/>
                <a:gd name="connsiteY86" fmla="*/ 4467225 h 4496940"/>
                <a:gd name="connsiteX87" fmla="*/ 2545102 w 4469152"/>
                <a:gd name="connsiteY87" fmla="*/ 4486275 h 4496940"/>
                <a:gd name="connsiteX88" fmla="*/ 2306977 w 4469152"/>
                <a:gd name="connsiteY88" fmla="*/ 4476750 h 4496940"/>
                <a:gd name="connsiteX89" fmla="*/ 2202202 w 4469152"/>
                <a:gd name="connsiteY89" fmla="*/ 4457700 h 4496940"/>
                <a:gd name="connsiteX90" fmla="*/ 2126002 w 4469152"/>
                <a:gd name="connsiteY90" fmla="*/ 4429125 h 4496940"/>
                <a:gd name="connsiteX91" fmla="*/ 1935502 w 4469152"/>
                <a:gd name="connsiteY91" fmla="*/ 4400550 h 4496940"/>
                <a:gd name="connsiteX92" fmla="*/ 1821202 w 4469152"/>
                <a:gd name="connsiteY92" fmla="*/ 4371975 h 4496940"/>
                <a:gd name="connsiteX93" fmla="*/ 1754527 w 4469152"/>
                <a:gd name="connsiteY93" fmla="*/ 4352925 h 4496940"/>
                <a:gd name="connsiteX94" fmla="*/ 1687852 w 4469152"/>
                <a:gd name="connsiteY94" fmla="*/ 4343400 h 4496940"/>
                <a:gd name="connsiteX95" fmla="*/ 1573552 w 4469152"/>
                <a:gd name="connsiteY95" fmla="*/ 4305300 h 4496940"/>
                <a:gd name="connsiteX96" fmla="*/ 1402102 w 4469152"/>
                <a:gd name="connsiteY96" fmla="*/ 4276725 h 4496940"/>
                <a:gd name="connsiteX97" fmla="*/ 1287802 w 4469152"/>
                <a:gd name="connsiteY97" fmla="*/ 4229100 h 4496940"/>
                <a:gd name="connsiteX98" fmla="*/ 1221127 w 4469152"/>
                <a:gd name="connsiteY98" fmla="*/ 4200525 h 4496940"/>
                <a:gd name="connsiteX99" fmla="*/ 1144927 w 4469152"/>
                <a:gd name="connsiteY99" fmla="*/ 4171950 h 4496940"/>
                <a:gd name="connsiteX100" fmla="*/ 1087777 w 4469152"/>
                <a:gd name="connsiteY100" fmla="*/ 4143375 h 4496940"/>
                <a:gd name="connsiteX101" fmla="*/ 1030627 w 4469152"/>
                <a:gd name="connsiteY101" fmla="*/ 4124325 h 4496940"/>
                <a:gd name="connsiteX102" fmla="*/ 925852 w 4469152"/>
                <a:gd name="connsiteY102" fmla="*/ 4067175 h 4496940"/>
                <a:gd name="connsiteX103" fmla="*/ 830602 w 4469152"/>
                <a:gd name="connsiteY103" fmla="*/ 3981450 h 4496940"/>
                <a:gd name="connsiteX104" fmla="*/ 763927 w 4469152"/>
                <a:gd name="connsiteY104" fmla="*/ 3914775 h 4496940"/>
                <a:gd name="connsiteX105" fmla="*/ 725827 w 4469152"/>
                <a:gd name="connsiteY105" fmla="*/ 3876675 h 4496940"/>
                <a:gd name="connsiteX106" fmla="*/ 697252 w 4469152"/>
                <a:gd name="connsiteY106" fmla="*/ 3838575 h 4496940"/>
                <a:gd name="connsiteX107" fmla="*/ 640102 w 4469152"/>
                <a:gd name="connsiteY107" fmla="*/ 3781425 h 4496940"/>
                <a:gd name="connsiteX108" fmla="*/ 611527 w 4469152"/>
                <a:gd name="connsiteY108" fmla="*/ 3733800 h 4496940"/>
                <a:gd name="connsiteX109" fmla="*/ 554377 w 4469152"/>
                <a:gd name="connsiteY109" fmla="*/ 3657600 h 4496940"/>
                <a:gd name="connsiteX110" fmla="*/ 525802 w 4469152"/>
                <a:gd name="connsiteY110" fmla="*/ 3609975 h 4496940"/>
                <a:gd name="connsiteX111" fmla="*/ 497227 w 4469152"/>
                <a:gd name="connsiteY111" fmla="*/ 3552825 h 4496940"/>
                <a:gd name="connsiteX112" fmla="*/ 440077 w 4469152"/>
                <a:gd name="connsiteY112" fmla="*/ 3495675 h 4496940"/>
                <a:gd name="connsiteX113" fmla="*/ 411502 w 4469152"/>
                <a:gd name="connsiteY113" fmla="*/ 3448050 h 4496940"/>
                <a:gd name="connsiteX114" fmla="*/ 278152 w 4469152"/>
                <a:gd name="connsiteY114" fmla="*/ 3257550 h 4496940"/>
                <a:gd name="connsiteX115" fmla="*/ 249577 w 4469152"/>
                <a:gd name="connsiteY115" fmla="*/ 3200400 h 4496940"/>
                <a:gd name="connsiteX116" fmla="*/ 240052 w 4469152"/>
                <a:gd name="connsiteY116" fmla="*/ 3162300 h 4496940"/>
                <a:gd name="connsiteX117" fmla="*/ 221002 w 4469152"/>
                <a:gd name="connsiteY117" fmla="*/ 3105150 h 4496940"/>
                <a:gd name="connsiteX118" fmla="*/ 173377 w 4469152"/>
                <a:gd name="connsiteY118" fmla="*/ 3019425 h 4496940"/>
                <a:gd name="connsiteX119" fmla="*/ 144802 w 4469152"/>
                <a:gd name="connsiteY119" fmla="*/ 2924175 h 4496940"/>
                <a:gd name="connsiteX120" fmla="*/ 68602 w 4469152"/>
                <a:gd name="connsiteY120" fmla="*/ 2724150 h 4496940"/>
                <a:gd name="connsiteX121" fmla="*/ 49552 w 4469152"/>
                <a:gd name="connsiteY121" fmla="*/ 2638425 h 4496940"/>
                <a:gd name="connsiteX122" fmla="*/ 40027 w 4469152"/>
                <a:gd name="connsiteY122" fmla="*/ 2562225 h 4496940"/>
                <a:gd name="connsiteX123" fmla="*/ 30502 w 4469152"/>
                <a:gd name="connsiteY123" fmla="*/ 2514600 h 4496940"/>
                <a:gd name="connsiteX124" fmla="*/ 11452 w 4469152"/>
                <a:gd name="connsiteY124" fmla="*/ 2400300 h 4496940"/>
                <a:gd name="connsiteX125" fmla="*/ 20977 w 4469152"/>
                <a:gd name="connsiteY125" fmla="*/ 1905000 h 4496940"/>
                <a:gd name="connsiteX126" fmla="*/ 30502 w 4469152"/>
                <a:gd name="connsiteY126" fmla="*/ 1838325 h 4496940"/>
                <a:gd name="connsiteX127" fmla="*/ 49552 w 4469152"/>
                <a:gd name="connsiteY127" fmla="*/ 1781175 h 4496940"/>
                <a:gd name="connsiteX128" fmla="*/ 59077 w 4469152"/>
                <a:gd name="connsiteY128" fmla="*/ 1743075 h 4496940"/>
                <a:gd name="connsiteX129" fmla="*/ 78127 w 4469152"/>
                <a:gd name="connsiteY129" fmla="*/ 1685925 h 4496940"/>
                <a:gd name="connsiteX130" fmla="*/ 87652 w 4469152"/>
                <a:gd name="connsiteY130" fmla="*/ 1638300 h 4496940"/>
                <a:gd name="connsiteX131" fmla="*/ 106702 w 4469152"/>
                <a:gd name="connsiteY131" fmla="*/ 1590675 h 4496940"/>
                <a:gd name="connsiteX132" fmla="*/ 135277 w 4469152"/>
                <a:gd name="connsiteY132" fmla="*/ 1504950 h 4496940"/>
                <a:gd name="connsiteX133" fmla="*/ 154327 w 4469152"/>
                <a:gd name="connsiteY133" fmla="*/ 1419225 h 4496940"/>
                <a:gd name="connsiteX134" fmla="*/ 230527 w 4469152"/>
                <a:gd name="connsiteY134" fmla="*/ 1276350 h 4496940"/>
                <a:gd name="connsiteX135" fmla="*/ 240052 w 4469152"/>
                <a:gd name="connsiteY135" fmla="*/ 1247775 h 4496940"/>
                <a:gd name="connsiteX136" fmla="*/ 268627 w 4469152"/>
                <a:gd name="connsiteY136" fmla="*/ 1200150 h 4496940"/>
                <a:gd name="connsiteX137" fmla="*/ 287677 w 4469152"/>
                <a:gd name="connsiteY137" fmla="*/ 1152525 h 4496940"/>
                <a:gd name="connsiteX138" fmla="*/ 316252 w 4469152"/>
                <a:gd name="connsiteY138" fmla="*/ 1114425 h 4496940"/>
                <a:gd name="connsiteX139" fmla="*/ 363877 w 4469152"/>
                <a:gd name="connsiteY139" fmla="*/ 1038225 h 4496940"/>
                <a:gd name="connsiteX140" fmla="*/ 382927 w 4469152"/>
                <a:gd name="connsiteY140" fmla="*/ 1009650 h 4496940"/>
                <a:gd name="connsiteX141" fmla="*/ 440077 w 4469152"/>
                <a:gd name="connsiteY141" fmla="*/ 904875 h 4496940"/>
                <a:gd name="connsiteX142" fmla="*/ 478177 w 4469152"/>
                <a:gd name="connsiteY142" fmla="*/ 857250 h 4496940"/>
                <a:gd name="connsiteX143" fmla="*/ 497227 w 4469152"/>
                <a:gd name="connsiteY143" fmla="*/ 828675 h 4496940"/>
                <a:gd name="connsiteX144" fmla="*/ 535327 w 4469152"/>
                <a:gd name="connsiteY144" fmla="*/ 800100 h 4496940"/>
                <a:gd name="connsiteX145" fmla="*/ 602002 w 4469152"/>
                <a:gd name="connsiteY145" fmla="*/ 733425 h 4496940"/>
                <a:gd name="connsiteX146" fmla="*/ 668677 w 4469152"/>
                <a:gd name="connsiteY146" fmla="*/ 676275 h 4496940"/>
                <a:gd name="connsiteX147" fmla="*/ 697252 w 4469152"/>
                <a:gd name="connsiteY147" fmla="*/ 657225 h 4496940"/>
                <a:gd name="connsiteX148" fmla="*/ 840127 w 4469152"/>
                <a:gd name="connsiteY148" fmla="*/ 533400 h 4496940"/>
                <a:gd name="connsiteX149" fmla="*/ 887752 w 4469152"/>
                <a:gd name="connsiteY149" fmla="*/ 504825 h 4496940"/>
                <a:gd name="connsiteX150" fmla="*/ 1167152 w 4469152"/>
                <a:gd name="connsiteY150" fmla="*/ 311150 h 4496940"/>
                <a:gd name="connsiteX151" fmla="*/ 1268752 w 4469152"/>
                <a:gd name="connsiteY151" fmla="*/ 285750 h 4496940"/>
                <a:gd name="connsiteX152" fmla="*/ 1411627 w 4469152"/>
                <a:gd name="connsiteY152" fmla="*/ 190500 h 4496940"/>
                <a:gd name="connsiteX153" fmla="*/ 1449727 w 4469152"/>
                <a:gd name="connsiteY153" fmla="*/ 161925 h 4496940"/>
                <a:gd name="connsiteX154" fmla="*/ 1525927 w 4469152"/>
                <a:gd name="connsiteY154" fmla="*/ 152400 h 4496940"/>
                <a:gd name="connsiteX155" fmla="*/ 1583077 w 4469152"/>
                <a:gd name="connsiteY155" fmla="*/ 142875 h 4496940"/>
                <a:gd name="connsiteX156" fmla="*/ 1716427 w 4469152"/>
                <a:gd name="connsiteY156" fmla="*/ 123825 h 4496940"/>
                <a:gd name="connsiteX157" fmla="*/ 1811677 w 4469152"/>
                <a:gd name="connsiteY157" fmla="*/ 114300 h 4496940"/>
                <a:gd name="connsiteX158" fmla="*/ 1859302 w 4469152"/>
                <a:gd name="connsiteY158" fmla="*/ 104775 h 4496940"/>
                <a:gd name="connsiteX159" fmla="*/ 1916452 w 4469152"/>
                <a:gd name="connsiteY159" fmla="*/ 95250 h 4496940"/>
                <a:gd name="connsiteX160" fmla="*/ 2030752 w 4469152"/>
                <a:gd name="connsiteY160" fmla="*/ 66675 h 4496940"/>
                <a:gd name="connsiteX161" fmla="*/ 2097427 w 4469152"/>
                <a:gd name="connsiteY161" fmla="*/ 47625 h 4496940"/>
                <a:gd name="connsiteX162" fmla="*/ 2164102 w 4469152"/>
                <a:gd name="connsiteY162" fmla="*/ 38100 h 4496940"/>
                <a:gd name="connsiteX163" fmla="*/ 2392702 w 44691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40577 w 4519952"/>
                <a:gd name="connsiteY46" fmla="*/ 1762125 h 4496940"/>
                <a:gd name="connsiteX47" fmla="*/ 4459627 w 4519952"/>
                <a:gd name="connsiteY47" fmla="*/ 1828800 h 4496940"/>
                <a:gd name="connsiteX48" fmla="*/ 4519952 w 4519952"/>
                <a:gd name="connsiteY48" fmla="*/ 2181225 h 4496940"/>
                <a:gd name="connsiteX49" fmla="*/ 4440577 w 4519952"/>
                <a:gd name="connsiteY49" fmla="*/ 2876550 h 4496940"/>
                <a:gd name="connsiteX50" fmla="*/ 4383427 w 4519952"/>
                <a:gd name="connsiteY50" fmla="*/ 2990850 h 4496940"/>
                <a:gd name="connsiteX51" fmla="*/ 4354852 w 4519952"/>
                <a:gd name="connsiteY51" fmla="*/ 3057525 h 4496940"/>
                <a:gd name="connsiteX52" fmla="*/ 4335802 w 4519952"/>
                <a:gd name="connsiteY52" fmla="*/ 3095625 h 4496940"/>
                <a:gd name="connsiteX53" fmla="*/ 4278652 w 4519952"/>
                <a:gd name="connsiteY53" fmla="*/ 3248025 h 4496940"/>
                <a:gd name="connsiteX54" fmla="*/ 4259602 w 4519952"/>
                <a:gd name="connsiteY54" fmla="*/ 3276600 h 4496940"/>
                <a:gd name="connsiteX55" fmla="*/ 4221502 w 4519952"/>
                <a:gd name="connsiteY55" fmla="*/ 3333750 h 4496940"/>
                <a:gd name="connsiteX56" fmla="*/ 4211977 w 4519952"/>
                <a:gd name="connsiteY56" fmla="*/ 3362325 h 4496940"/>
                <a:gd name="connsiteX57" fmla="*/ 4183402 w 4519952"/>
                <a:gd name="connsiteY57" fmla="*/ 3400425 h 4496940"/>
                <a:gd name="connsiteX58" fmla="*/ 4164352 w 4519952"/>
                <a:gd name="connsiteY58" fmla="*/ 3429000 h 4496940"/>
                <a:gd name="connsiteX59" fmla="*/ 4088152 w 4519952"/>
                <a:gd name="connsiteY59" fmla="*/ 3495675 h 4496940"/>
                <a:gd name="connsiteX60" fmla="*/ 4059577 w 4519952"/>
                <a:gd name="connsiteY60" fmla="*/ 3533775 h 4496940"/>
                <a:gd name="connsiteX61" fmla="*/ 4002427 w 4519952"/>
                <a:gd name="connsiteY61" fmla="*/ 3600450 h 4496940"/>
                <a:gd name="connsiteX62" fmla="*/ 3983377 w 4519952"/>
                <a:gd name="connsiteY62" fmla="*/ 3629025 h 4496940"/>
                <a:gd name="connsiteX63" fmla="*/ 3954802 w 4519952"/>
                <a:gd name="connsiteY63" fmla="*/ 3648075 h 4496940"/>
                <a:gd name="connsiteX64" fmla="*/ 3907177 w 4519952"/>
                <a:gd name="connsiteY64" fmla="*/ 3686175 h 4496940"/>
                <a:gd name="connsiteX65" fmla="*/ 3869077 w 4519952"/>
                <a:gd name="connsiteY65" fmla="*/ 3724275 h 4496940"/>
                <a:gd name="connsiteX66" fmla="*/ 3792877 w 4519952"/>
                <a:gd name="connsiteY66" fmla="*/ 3781425 h 4496940"/>
                <a:gd name="connsiteX67" fmla="*/ 3783352 w 4519952"/>
                <a:gd name="connsiteY67" fmla="*/ 3810000 h 4496940"/>
                <a:gd name="connsiteX68" fmla="*/ 3745252 w 4519952"/>
                <a:gd name="connsiteY68" fmla="*/ 3819525 h 4496940"/>
                <a:gd name="connsiteX69" fmla="*/ 3678577 w 4519952"/>
                <a:gd name="connsiteY69" fmla="*/ 3848100 h 4496940"/>
                <a:gd name="connsiteX70" fmla="*/ 3659527 w 4519952"/>
                <a:gd name="connsiteY70" fmla="*/ 3971925 h 4496940"/>
                <a:gd name="connsiteX71" fmla="*/ 3630952 w 4519952"/>
                <a:gd name="connsiteY71" fmla="*/ 4010025 h 4496940"/>
                <a:gd name="connsiteX72" fmla="*/ 3621427 w 4519952"/>
                <a:gd name="connsiteY72" fmla="*/ 4038600 h 4496940"/>
                <a:gd name="connsiteX73" fmla="*/ 3554752 w 4519952"/>
                <a:gd name="connsiteY73" fmla="*/ 4095750 h 4496940"/>
                <a:gd name="connsiteX74" fmla="*/ 3516652 w 4519952"/>
                <a:gd name="connsiteY74" fmla="*/ 4114800 h 4496940"/>
                <a:gd name="connsiteX75" fmla="*/ 3497602 w 4519952"/>
                <a:gd name="connsiteY75" fmla="*/ 4143375 h 4496940"/>
                <a:gd name="connsiteX76" fmla="*/ 3383302 w 4519952"/>
                <a:gd name="connsiteY76" fmla="*/ 4210050 h 4496940"/>
                <a:gd name="connsiteX77" fmla="*/ 3335677 w 4519952"/>
                <a:gd name="connsiteY77" fmla="*/ 4238625 h 4496940"/>
                <a:gd name="connsiteX78" fmla="*/ 3288052 w 4519952"/>
                <a:gd name="connsiteY78" fmla="*/ 4248150 h 4496940"/>
                <a:gd name="connsiteX79" fmla="*/ 3240427 w 4519952"/>
                <a:gd name="connsiteY79" fmla="*/ 4267200 h 4496940"/>
                <a:gd name="connsiteX80" fmla="*/ 3068977 w 4519952"/>
                <a:gd name="connsiteY80" fmla="*/ 4286250 h 4496940"/>
                <a:gd name="connsiteX81" fmla="*/ 2935627 w 4519952"/>
                <a:gd name="connsiteY81" fmla="*/ 4333875 h 4496940"/>
                <a:gd name="connsiteX82" fmla="*/ 2811802 w 4519952"/>
                <a:gd name="connsiteY82" fmla="*/ 4371975 h 4496940"/>
                <a:gd name="connsiteX83" fmla="*/ 2745127 w 4519952"/>
                <a:gd name="connsiteY83" fmla="*/ 4410075 h 4496940"/>
                <a:gd name="connsiteX84" fmla="*/ 2697502 w 4519952"/>
                <a:gd name="connsiteY84" fmla="*/ 4429125 h 4496940"/>
                <a:gd name="connsiteX85" fmla="*/ 2640352 w 4519952"/>
                <a:gd name="connsiteY85" fmla="*/ 4457700 h 4496940"/>
                <a:gd name="connsiteX86" fmla="*/ 2583202 w 4519952"/>
                <a:gd name="connsiteY86" fmla="*/ 4467225 h 4496940"/>
                <a:gd name="connsiteX87" fmla="*/ 2545102 w 4519952"/>
                <a:gd name="connsiteY87" fmla="*/ 4486275 h 4496940"/>
                <a:gd name="connsiteX88" fmla="*/ 2306977 w 4519952"/>
                <a:gd name="connsiteY88" fmla="*/ 4476750 h 4496940"/>
                <a:gd name="connsiteX89" fmla="*/ 2202202 w 4519952"/>
                <a:gd name="connsiteY89" fmla="*/ 4457700 h 4496940"/>
                <a:gd name="connsiteX90" fmla="*/ 2126002 w 4519952"/>
                <a:gd name="connsiteY90" fmla="*/ 4429125 h 4496940"/>
                <a:gd name="connsiteX91" fmla="*/ 1935502 w 4519952"/>
                <a:gd name="connsiteY91" fmla="*/ 4400550 h 4496940"/>
                <a:gd name="connsiteX92" fmla="*/ 1821202 w 4519952"/>
                <a:gd name="connsiteY92" fmla="*/ 4371975 h 4496940"/>
                <a:gd name="connsiteX93" fmla="*/ 1754527 w 4519952"/>
                <a:gd name="connsiteY93" fmla="*/ 4352925 h 4496940"/>
                <a:gd name="connsiteX94" fmla="*/ 1687852 w 4519952"/>
                <a:gd name="connsiteY94" fmla="*/ 4343400 h 4496940"/>
                <a:gd name="connsiteX95" fmla="*/ 1573552 w 4519952"/>
                <a:gd name="connsiteY95" fmla="*/ 4305300 h 4496940"/>
                <a:gd name="connsiteX96" fmla="*/ 1402102 w 4519952"/>
                <a:gd name="connsiteY96" fmla="*/ 4276725 h 4496940"/>
                <a:gd name="connsiteX97" fmla="*/ 1287802 w 4519952"/>
                <a:gd name="connsiteY97" fmla="*/ 4229100 h 4496940"/>
                <a:gd name="connsiteX98" fmla="*/ 1221127 w 4519952"/>
                <a:gd name="connsiteY98" fmla="*/ 4200525 h 4496940"/>
                <a:gd name="connsiteX99" fmla="*/ 1144927 w 4519952"/>
                <a:gd name="connsiteY99" fmla="*/ 4171950 h 4496940"/>
                <a:gd name="connsiteX100" fmla="*/ 1087777 w 4519952"/>
                <a:gd name="connsiteY100" fmla="*/ 4143375 h 4496940"/>
                <a:gd name="connsiteX101" fmla="*/ 1030627 w 4519952"/>
                <a:gd name="connsiteY101" fmla="*/ 4124325 h 4496940"/>
                <a:gd name="connsiteX102" fmla="*/ 925852 w 4519952"/>
                <a:gd name="connsiteY102" fmla="*/ 4067175 h 4496940"/>
                <a:gd name="connsiteX103" fmla="*/ 830602 w 4519952"/>
                <a:gd name="connsiteY103" fmla="*/ 3981450 h 4496940"/>
                <a:gd name="connsiteX104" fmla="*/ 763927 w 4519952"/>
                <a:gd name="connsiteY104" fmla="*/ 3914775 h 4496940"/>
                <a:gd name="connsiteX105" fmla="*/ 725827 w 4519952"/>
                <a:gd name="connsiteY105" fmla="*/ 3876675 h 4496940"/>
                <a:gd name="connsiteX106" fmla="*/ 697252 w 4519952"/>
                <a:gd name="connsiteY106" fmla="*/ 3838575 h 4496940"/>
                <a:gd name="connsiteX107" fmla="*/ 640102 w 4519952"/>
                <a:gd name="connsiteY107" fmla="*/ 3781425 h 4496940"/>
                <a:gd name="connsiteX108" fmla="*/ 611527 w 4519952"/>
                <a:gd name="connsiteY108" fmla="*/ 3733800 h 4496940"/>
                <a:gd name="connsiteX109" fmla="*/ 554377 w 4519952"/>
                <a:gd name="connsiteY109" fmla="*/ 3657600 h 4496940"/>
                <a:gd name="connsiteX110" fmla="*/ 525802 w 4519952"/>
                <a:gd name="connsiteY110" fmla="*/ 3609975 h 4496940"/>
                <a:gd name="connsiteX111" fmla="*/ 497227 w 4519952"/>
                <a:gd name="connsiteY111" fmla="*/ 3552825 h 4496940"/>
                <a:gd name="connsiteX112" fmla="*/ 440077 w 4519952"/>
                <a:gd name="connsiteY112" fmla="*/ 3495675 h 4496940"/>
                <a:gd name="connsiteX113" fmla="*/ 411502 w 4519952"/>
                <a:gd name="connsiteY113" fmla="*/ 3448050 h 4496940"/>
                <a:gd name="connsiteX114" fmla="*/ 278152 w 4519952"/>
                <a:gd name="connsiteY114" fmla="*/ 3257550 h 4496940"/>
                <a:gd name="connsiteX115" fmla="*/ 249577 w 4519952"/>
                <a:gd name="connsiteY115" fmla="*/ 3200400 h 4496940"/>
                <a:gd name="connsiteX116" fmla="*/ 240052 w 4519952"/>
                <a:gd name="connsiteY116" fmla="*/ 3162300 h 4496940"/>
                <a:gd name="connsiteX117" fmla="*/ 221002 w 4519952"/>
                <a:gd name="connsiteY117" fmla="*/ 3105150 h 4496940"/>
                <a:gd name="connsiteX118" fmla="*/ 173377 w 4519952"/>
                <a:gd name="connsiteY118" fmla="*/ 3019425 h 4496940"/>
                <a:gd name="connsiteX119" fmla="*/ 144802 w 4519952"/>
                <a:gd name="connsiteY119" fmla="*/ 2924175 h 4496940"/>
                <a:gd name="connsiteX120" fmla="*/ 68602 w 4519952"/>
                <a:gd name="connsiteY120" fmla="*/ 2724150 h 4496940"/>
                <a:gd name="connsiteX121" fmla="*/ 49552 w 4519952"/>
                <a:gd name="connsiteY121" fmla="*/ 2638425 h 4496940"/>
                <a:gd name="connsiteX122" fmla="*/ 40027 w 4519952"/>
                <a:gd name="connsiteY122" fmla="*/ 2562225 h 4496940"/>
                <a:gd name="connsiteX123" fmla="*/ 30502 w 4519952"/>
                <a:gd name="connsiteY123" fmla="*/ 2514600 h 4496940"/>
                <a:gd name="connsiteX124" fmla="*/ 11452 w 4519952"/>
                <a:gd name="connsiteY124" fmla="*/ 2400300 h 4496940"/>
                <a:gd name="connsiteX125" fmla="*/ 20977 w 4519952"/>
                <a:gd name="connsiteY125" fmla="*/ 1905000 h 4496940"/>
                <a:gd name="connsiteX126" fmla="*/ 30502 w 4519952"/>
                <a:gd name="connsiteY126" fmla="*/ 1838325 h 4496940"/>
                <a:gd name="connsiteX127" fmla="*/ 49552 w 4519952"/>
                <a:gd name="connsiteY127" fmla="*/ 1781175 h 4496940"/>
                <a:gd name="connsiteX128" fmla="*/ 59077 w 4519952"/>
                <a:gd name="connsiteY128" fmla="*/ 1743075 h 4496940"/>
                <a:gd name="connsiteX129" fmla="*/ 78127 w 4519952"/>
                <a:gd name="connsiteY129" fmla="*/ 1685925 h 4496940"/>
                <a:gd name="connsiteX130" fmla="*/ 87652 w 4519952"/>
                <a:gd name="connsiteY130" fmla="*/ 1638300 h 4496940"/>
                <a:gd name="connsiteX131" fmla="*/ 106702 w 4519952"/>
                <a:gd name="connsiteY131" fmla="*/ 1590675 h 4496940"/>
                <a:gd name="connsiteX132" fmla="*/ 135277 w 4519952"/>
                <a:gd name="connsiteY132" fmla="*/ 1504950 h 4496940"/>
                <a:gd name="connsiteX133" fmla="*/ 154327 w 4519952"/>
                <a:gd name="connsiteY133" fmla="*/ 1419225 h 4496940"/>
                <a:gd name="connsiteX134" fmla="*/ 230527 w 4519952"/>
                <a:gd name="connsiteY134" fmla="*/ 1276350 h 4496940"/>
                <a:gd name="connsiteX135" fmla="*/ 240052 w 4519952"/>
                <a:gd name="connsiteY135" fmla="*/ 1247775 h 4496940"/>
                <a:gd name="connsiteX136" fmla="*/ 268627 w 4519952"/>
                <a:gd name="connsiteY136" fmla="*/ 1200150 h 4496940"/>
                <a:gd name="connsiteX137" fmla="*/ 287677 w 4519952"/>
                <a:gd name="connsiteY137" fmla="*/ 1152525 h 4496940"/>
                <a:gd name="connsiteX138" fmla="*/ 316252 w 4519952"/>
                <a:gd name="connsiteY138" fmla="*/ 1114425 h 4496940"/>
                <a:gd name="connsiteX139" fmla="*/ 363877 w 4519952"/>
                <a:gd name="connsiteY139" fmla="*/ 1038225 h 4496940"/>
                <a:gd name="connsiteX140" fmla="*/ 382927 w 4519952"/>
                <a:gd name="connsiteY140" fmla="*/ 1009650 h 4496940"/>
                <a:gd name="connsiteX141" fmla="*/ 440077 w 4519952"/>
                <a:gd name="connsiteY141" fmla="*/ 904875 h 4496940"/>
                <a:gd name="connsiteX142" fmla="*/ 478177 w 4519952"/>
                <a:gd name="connsiteY142" fmla="*/ 857250 h 4496940"/>
                <a:gd name="connsiteX143" fmla="*/ 497227 w 4519952"/>
                <a:gd name="connsiteY143" fmla="*/ 828675 h 4496940"/>
                <a:gd name="connsiteX144" fmla="*/ 535327 w 4519952"/>
                <a:gd name="connsiteY144" fmla="*/ 800100 h 4496940"/>
                <a:gd name="connsiteX145" fmla="*/ 602002 w 4519952"/>
                <a:gd name="connsiteY145" fmla="*/ 733425 h 4496940"/>
                <a:gd name="connsiteX146" fmla="*/ 668677 w 4519952"/>
                <a:gd name="connsiteY146" fmla="*/ 676275 h 4496940"/>
                <a:gd name="connsiteX147" fmla="*/ 697252 w 4519952"/>
                <a:gd name="connsiteY147" fmla="*/ 657225 h 4496940"/>
                <a:gd name="connsiteX148" fmla="*/ 840127 w 4519952"/>
                <a:gd name="connsiteY148" fmla="*/ 533400 h 4496940"/>
                <a:gd name="connsiteX149" fmla="*/ 887752 w 4519952"/>
                <a:gd name="connsiteY149" fmla="*/ 504825 h 4496940"/>
                <a:gd name="connsiteX150" fmla="*/ 1167152 w 4519952"/>
                <a:gd name="connsiteY150" fmla="*/ 311150 h 4496940"/>
                <a:gd name="connsiteX151" fmla="*/ 1268752 w 4519952"/>
                <a:gd name="connsiteY151" fmla="*/ 285750 h 4496940"/>
                <a:gd name="connsiteX152" fmla="*/ 1411627 w 4519952"/>
                <a:gd name="connsiteY152" fmla="*/ 190500 h 4496940"/>
                <a:gd name="connsiteX153" fmla="*/ 1449727 w 4519952"/>
                <a:gd name="connsiteY153" fmla="*/ 161925 h 4496940"/>
                <a:gd name="connsiteX154" fmla="*/ 1525927 w 4519952"/>
                <a:gd name="connsiteY154" fmla="*/ 152400 h 4496940"/>
                <a:gd name="connsiteX155" fmla="*/ 1583077 w 4519952"/>
                <a:gd name="connsiteY155" fmla="*/ 142875 h 4496940"/>
                <a:gd name="connsiteX156" fmla="*/ 1716427 w 4519952"/>
                <a:gd name="connsiteY156" fmla="*/ 123825 h 4496940"/>
                <a:gd name="connsiteX157" fmla="*/ 1811677 w 4519952"/>
                <a:gd name="connsiteY157" fmla="*/ 114300 h 4496940"/>
                <a:gd name="connsiteX158" fmla="*/ 1859302 w 4519952"/>
                <a:gd name="connsiteY158" fmla="*/ 104775 h 4496940"/>
                <a:gd name="connsiteX159" fmla="*/ 1916452 w 4519952"/>
                <a:gd name="connsiteY159" fmla="*/ 95250 h 4496940"/>
                <a:gd name="connsiteX160" fmla="*/ 2030752 w 4519952"/>
                <a:gd name="connsiteY160" fmla="*/ 66675 h 4496940"/>
                <a:gd name="connsiteX161" fmla="*/ 2097427 w 4519952"/>
                <a:gd name="connsiteY161" fmla="*/ 47625 h 4496940"/>
                <a:gd name="connsiteX162" fmla="*/ 2164102 w 4519952"/>
                <a:gd name="connsiteY162" fmla="*/ 38100 h 4496940"/>
                <a:gd name="connsiteX163" fmla="*/ 2392702 w 4519952"/>
                <a:gd name="connsiteY163" fmla="*/ 28575 h 4496940"/>
                <a:gd name="connsiteX0" fmla="*/ 2297452 w 4519952"/>
                <a:gd name="connsiteY0" fmla="*/ 0 h 4496940"/>
                <a:gd name="connsiteX1" fmla="*/ 2421277 w 4519952"/>
                <a:gd name="connsiteY1" fmla="*/ 28575 h 4496940"/>
                <a:gd name="connsiteX2" fmla="*/ 2497477 w 4519952"/>
                <a:gd name="connsiteY2" fmla="*/ 47625 h 4496940"/>
                <a:gd name="connsiteX3" fmla="*/ 2754652 w 4519952"/>
                <a:gd name="connsiteY3" fmla="*/ 66675 h 4496940"/>
                <a:gd name="connsiteX4" fmla="*/ 2830852 w 4519952"/>
                <a:gd name="connsiteY4" fmla="*/ 76200 h 4496940"/>
                <a:gd name="connsiteX5" fmla="*/ 2916577 w 4519952"/>
                <a:gd name="connsiteY5" fmla="*/ 85725 h 4496940"/>
                <a:gd name="connsiteX6" fmla="*/ 2973727 w 4519952"/>
                <a:gd name="connsiteY6" fmla="*/ 114300 h 4496940"/>
                <a:gd name="connsiteX7" fmla="*/ 3011827 w 4519952"/>
                <a:gd name="connsiteY7" fmla="*/ 123825 h 4496940"/>
                <a:gd name="connsiteX8" fmla="*/ 3135652 w 4519952"/>
                <a:gd name="connsiteY8" fmla="*/ 171450 h 4496940"/>
                <a:gd name="connsiteX9" fmla="*/ 3173752 w 4519952"/>
                <a:gd name="connsiteY9" fmla="*/ 190500 h 4496940"/>
                <a:gd name="connsiteX10" fmla="*/ 3240427 w 4519952"/>
                <a:gd name="connsiteY10" fmla="*/ 228600 h 4496940"/>
                <a:gd name="connsiteX11" fmla="*/ 3269002 w 4519952"/>
                <a:gd name="connsiteY11" fmla="*/ 238125 h 4496940"/>
                <a:gd name="connsiteX12" fmla="*/ 3297577 w 4519952"/>
                <a:gd name="connsiteY12" fmla="*/ 257175 h 4496940"/>
                <a:gd name="connsiteX13" fmla="*/ 3326152 w 4519952"/>
                <a:gd name="connsiteY13" fmla="*/ 266700 h 4496940"/>
                <a:gd name="connsiteX14" fmla="*/ 3354727 w 4519952"/>
                <a:gd name="connsiteY14" fmla="*/ 285750 h 4496940"/>
                <a:gd name="connsiteX15" fmla="*/ 3421402 w 4519952"/>
                <a:gd name="connsiteY15" fmla="*/ 323850 h 4496940"/>
                <a:gd name="connsiteX16" fmla="*/ 3469027 w 4519952"/>
                <a:gd name="connsiteY16" fmla="*/ 361950 h 4496940"/>
                <a:gd name="connsiteX17" fmla="*/ 3516652 w 4519952"/>
                <a:gd name="connsiteY17" fmla="*/ 390525 h 4496940"/>
                <a:gd name="connsiteX18" fmla="*/ 3545227 w 4519952"/>
                <a:gd name="connsiteY18" fmla="*/ 419100 h 4496940"/>
                <a:gd name="connsiteX19" fmla="*/ 3602377 w 4519952"/>
                <a:gd name="connsiteY19" fmla="*/ 457200 h 4496940"/>
                <a:gd name="connsiteX20" fmla="*/ 3630952 w 4519952"/>
                <a:gd name="connsiteY20" fmla="*/ 485775 h 4496940"/>
                <a:gd name="connsiteX21" fmla="*/ 3678577 w 4519952"/>
                <a:gd name="connsiteY21" fmla="*/ 504825 h 4496940"/>
                <a:gd name="connsiteX22" fmla="*/ 3745252 w 4519952"/>
                <a:gd name="connsiteY22" fmla="*/ 542925 h 4496940"/>
                <a:gd name="connsiteX23" fmla="*/ 3811927 w 4519952"/>
                <a:gd name="connsiteY23" fmla="*/ 581025 h 4496940"/>
                <a:gd name="connsiteX24" fmla="*/ 3840502 w 4519952"/>
                <a:gd name="connsiteY24" fmla="*/ 600075 h 4496940"/>
                <a:gd name="connsiteX25" fmla="*/ 3869077 w 4519952"/>
                <a:gd name="connsiteY25" fmla="*/ 628650 h 4496940"/>
                <a:gd name="connsiteX26" fmla="*/ 3907177 w 4519952"/>
                <a:gd name="connsiteY26" fmla="*/ 647700 h 4496940"/>
                <a:gd name="connsiteX27" fmla="*/ 3935752 w 4519952"/>
                <a:gd name="connsiteY27" fmla="*/ 676275 h 4496940"/>
                <a:gd name="connsiteX28" fmla="*/ 3992902 w 4519952"/>
                <a:gd name="connsiteY28" fmla="*/ 714375 h 4496940"/>
                <a:gd name="connsiteX29" fmla="*/ 4050052 w 4519952"/>
                <a:gd name="connsiteY29" fmla="*/ 790575 h 4496940"/>
                <a:gd name="connsiteX30" fmla="*/ 4078627 w 4519952"/>
                <a:gd name="connsiteY30" fmla="*/ 838200 h 4496940"/>
                <a:gd name="connsiteX31" fmla="*/ 4107202 w 4519952"/>
                <a:gd name="connsiteY31" fmla="*/ 876300 h 4496940"/>
                <a:gd name="connsiteX32" fmla="*/ 4116727 w 4519952"/>
                <a:gd name="connsiteY32" fmla="*/ 904875 h 4496940"/>
                <a:gd name="connsiteX33" fmla="*/ 4135777 w 4519952"/>
                <a:gd name="connsiteY33" fmla="*/ 933450 h 4496940"/>
                <a:gd name="connsiteX34" fmla="*/ 4164352 w 4519952"/>
                <a:gd name="connsiteY34" fmla="*/ 990600 h 4496940"/>
                <a:gd name="connsiteX35" fmla="*/ 4173877 w 4519952"/>
                <a:gd name="connsiteY35" fmla="*/ 1019175 h 4496940"/>
                <a:gd name="connsiteX36" fmla="*/ 4192927 w 4519952"/>
                <a:gd name="connsiteY36" fmla="*/ 1057275 h 4496940"/>
                <a:gd name="connsiteX37" fmla="*/ 4202452 w 4519952"/>
                <a:gd name="connsiteY37" fmla="*/ 1085850 h 4496940"/>
                <a:gd name="connsiteX38" fmla="*/ 4250077 w 4519952"/>
                <a:gd name="connsiteY38" fmla="*/ 1143000 h 4496940"/>
                <a:gd name="connsiteX39" fmla="*/ 4259602 w 4519952"/>
                <a:gd name="connsiteY39" fmla="*/ 1190625 h 4496940"/>
                <a:gd name="connsiteX40" fmla="*/ 4307227 w 4519952"/>
                <a:gd name="connsiteY40" fmla="*/ 1266825 h 4496940"/>
                <a:gd name="connsiteX41" fmla="*/ 4345327 w 4519952"/>
                <a:gd name="connsiteY41" fmla="*/ 1362075 h 4496940"/>
                <a:gd name="connsiteX42" fmla="*/ 4373902 w 4519952"/>
                <a:gd name="connsiteY42" fmla="*/ 1428750 h 4496940"/>
                <a:gd name="connsiteX43" fmla="*/ 4392952 w 4519952"/>
                <a:gd name="connsiteY43" fmla="*/ 1552575 h 4496940"/>
                <a:gd name="connsiteX44" fmla="*/ 4402477 w 4519952"/>
                <a:gd name="connsiteY44" fmla="*/ 1590675 h 4496940"/>
                <a:gd name="connsiteX45" fmla="*/ 4431052 w 4519952"/>
                <a:gd name="connsiteY45" fmla="*/ 1685925 h 4496940"/>
                <a:gd name="connsiteX46" fmla="*/ 4459627 w 4519952"/>
                <a:gd name="connsiteY46" fmla="*/ 1828800 h 4496940"/>
                <a:gd name="connsiteX47" fmla="*/ 4519952 w 4519952"/>
                <a:gd name="connsiteY47" fmla="*/ 2181225 h 4496940"/>
                <a:gd name="connsiteX48" fmla="*/ 4440577 w 4519952"/>
                <a:gd name="connsiteY48" fmla="*/ 2876550 h 4496940"/>
                <a:gd name="connsiteX49" fmla="*/ 4383427 w 4519952"/>
                <a:gd name="connsiteY49" fmla="*/ 2990850 h 4496940"/>
                <a:gd name="connsiteX50" fmla="*/ 4354852 w 4519952"/>
                <a:gd name="connsiteY50" fmla="*/ 3057525 h 4496940"/>
                <a:gd name="connsiteX51" fmla="*/ 4335802 w 4519952"/>
                <a:gd name="connsiteY51" fmla="*/ 3095625 h 4496940"/>
                <a:gd name="connsiteX52" fmla="*/ 4278652 w 4519952"/>
                <a:gd name="connsiteY52" fmla="*/ 3248025 h 4496940"/>
                <a:gd name="connsiteX53" fmla="*/ 4259602 w 4519952"/>
                <a:gd name="connsiteY53" fmla="*/ 3276600 h 4496940"/>
                <a:gd name="connsiteX54" fmla="*/ 4221502 w 4519952"/>
                <a:gd name="connsiteY54" fmla="*/ 3333750 h 4496940"/>
                <a:gd name="connsiteX55" fmla="*/ 4211977 w 4519952"/>
                <a:gd name="connsiteY55" fmla="*/ 3362325 h 4496940"/>
                <a:gd name="connsiteX56" fmla="*/ 4183402 w 4519952"/>
                <a:gd name="connsiteY56" fmla="*/ 3400425 h 4496940"/>
                <a:gd name="connsiteX57" fmla="*/ 4164352 w 4519952"/>
                <a:gd name="connsiteY57" fmla="*/ 3429000 h 4496940"/>
                <a:gd name="connsiteX58" fmla="*/ 4088152 w 4519952"/>
                <a:gd name="connsiteY58" fmla="*/ 3495675 h 4496940"/>
                <a:gd name="connsiteX59" fmla="*/ 4059577 w 4519952"/>
                <a:gd name="connsiteY59" fmla="*/ 3533775 h 4496940"/>
                <a:gd name="connsiteX60" fmla="*/ 4002427 w 4519952"/>
                <a:gd name="connsiteY60" fmla="*/ 3600450 h 4496940"/>
                <a:gd name="connsiteX61" fmla="*/ 3983377 w 4519952"/>
                <a:gd name="connsiteY61" fmla="*/ 3629025 h 4496940"/>
                <a:gd name="connsiteX62" fmla="*/ 3954802 w 4519952"/>
                <a:gd name="connsiteY62" fmla="*/ 3648075 h 4496940"/>
                <a:gd name="connsiteX63" fmla="*/ 3907177 w 4519952"/>
                <a:gd name="connsiteY63" fmla="*/ 3686175 h 4496940"/>
                <a:gd name="connsiteX64" fmla="*/ 3869077 w 4519952"/>
                <a:gd name="connsiteY64" fmla="*/ 3724275 h 4496940"/>
                <a:gd name="connsiteX65" fmla="*/ 3792877 w 4519952"/>
                <a:gd name="connsiteY65" fmla="*/ 3781425 h 4496940"/>
                <a:gd name="connsiteX66" fmla="*/ 3783352 w 4519952"/>
                <a:gd name="connsiteY66" fmla="*/ 3810000 h 4496940"/>
                <a:gd name="connsiteX67" fmla="*/ 3745252 w 4519952"/>
                <a:gd name="connsiteY67" fmla="*/ 3819525 h 4496940"/>
                <a:gd name="connsiteX68" fmla="*/ 3678577 w 4519952"/>
                <a:gd name="connsiteY68" fmla="*/ 3848100 h 4496940"/>
                <a:gd name="connsiteX69" fmla="*/ 3659527 w 4519952"/>
                <a:gd name="connsiteY69" fmla="*/ 3971925 h 4496940"/>
                <a:gd name="connsiteX70" fmla="*/ 3630952 w 4519952"/>
                <a:gd name="connsiteY70" fmla="*/ 4010025 h 4496940"/>
                <a:gd name="connsiteX71" fmla="*/ 3621427 w 4519952"/>
                <a:gd name="connsiteY71" fmla="*/ 4038600 h 4496940"/>
                <a:gd name="connsiteX72" fmla="*/ 3554752 w 4519952"/>
                <a:gd name="connsiteY72" fmla="*/ 4095750 h 4496940"/>
                <a:gd name="connsiteX73" fmla="*/ 3516652 w 4519952"/>
                <a:gd name="connsiteY73" fmla="*/ 4114800 h 4496940"/>
                <a:gd name="connsiteX74" fmla="*/ 3497602 w 4519952"/>
                <a:gd name="connsiteY74" fmla="*/ 4143375 h 4496940"/>
                <a:gd name="connsiteX75" fmla="*/ 3383302 w 4519952"/>
                <a:gd name="connsiteY75" fmla="*/ 4210050 h 4496940"/>
                <a:gd name="connsiteX76" fmla="*/ 3335677 w 4519952"/>
                <a:gd name="connsiteY76" fmla="*/ 4238625 h 4496940"/>
                <a:gd name="connsiteX77" fmla="*/ 3288052 w 4519952"/>
                <a:gd name="connsiteY77" fmla="*/ 4248150 h 4496940"/>
                <a:gd name="connsiteX78" fmla="*/ 3240427 w 4519952"/>
                <a:gd name="connsiteY78" fmla="*/ 4267200 h 4496940"/>
                <a:gd name="connsiteX79" fmla="*/ 3068977 w 4519952"/>
                <a:gd name="connsiteY79" fmla="*/ 4286250 h 4496940"/>
                <a:gd name="connsiteX80" fmla="*/ 2935627 w 4519952"/>
                <a:gd name="connsiteY80" fmla="*/ 4333875 h 4496940"/>
                <a:gd name="connsiteX81" fmla="*/ 2811802 w 4519952"/>
                <a:gd name="connsiteY81" fmla="*/ 4371975 h 4496940"/>
                <a:gd name="connsiteX82" fmla="*/ 2745127 w 4519952"/>
                <a:gd name="connsiteY82" fmla="*/ 4410075 h 4496940"/>
                <a:gd name="connsiteX83" fmla="*/ 2697502 w 4519952"/>
                <a:gd name="connsiteY83" fmla="*/ 4429125 h 4496940"/>
                <a:gd name="connsiteX84" fmla="*/ 2640352 w 4519952"/>
                <a:gd name="connsiteY84" fmla="*/ 4457700 h 4496940"/>
                <a:gd name="connsiteX85" fmla="*/ 2583202 w 4519952"/>
                <a:gd name="connsiteY85" fmla="*/ 4467225 h 4496940"/>
                <a:gd name="connsiteX86" fmla="*/ 2545102 w 4519952"/>
                <a:gd name="connsiteY86" fmla="*/ 4486275 h 4496940"/>
                <a:gd name="connsiteX87" fmla="*/ 2306977 w 4519952"/>
                <a:gd name="connsiteY87" fmla="*/ 4476750 h 4496940"/>
                <a:gd name="connsiteX88" fmla="*/ 2202202 w 4519952"/>
                <a:gd name="connsiteY88" fmla="*/ 4457700 h 4496940"/>
                <a:gd name="connsiteX89" fmla="*/ 2126002 w 4519952"/>
                <a:gd name="connsiteY89" fmla="*/ 4429125 h 4496940"/>
                <a:gd name="connsiteX90" fmla="*/ 1935502 w 4519952"/>
                <a:gd name="connsiteY90" fmla="*/ 4400550 h 4496940"/>
                <a:gd name="connsiteX91" fmla="*/ 1821202 w 4519952"/>
                <a:gd name="connsiteY91" fmla="*/ 4371975 h 4496940"/>
                <a:gd name="connsiteX92" fmla="*/ 1754527 w 4519952"/>
                <a:gd name="connsiteY92" fmla="*/ 4352925 h 4496940"/>
                <a:gd name="connsiteX93" fmla="*/ 1687852 w 4519952"/>
                <a:gd name="connsiteY93" fmla="*/ 4343400 h 4496940"/>
                <a:gd name="connsiteX94" fmla="*/ 1573552 w 4519952"/>
                <a:gd name="connsiteY94" fmla="*/ 4305300 h 4496940"/>
                <a:gd name="connsiteX95" fmla="*/ 1402102 w 4519952"/>
                <a:gd name="connsiteY95" fmla="*/ 4276725 h 4496940"/>
                <a:gd name="connsiteX96" fmla="*/ 1287802 w 4519952"/>
                <a:gd name="connsiteY96" fmla="*/ 4229100 h 4496940"/>
                <a:gd name="connsiteX97" fmla="*/ 1221127 w 4519952"/>
                <a:gd name="connsiteY97" fmla="*/ 4200525 h 4496940"/>
                <a:gd name="connsiteX98" fmla="*/ 1144927 w 4519952"/>
                <a:gd name="connsiteY98" fmla="*/ 4171950 h 4496940"/>
                <a:gd name="connsiteX99" fmla="*/ 1087777 w 4519952"/>
                <a:gd name="connsiteY99" fmla="*/ 4143375 h 4496940"/>
                <a:gd name="connsiteX100" fmla="*/ 1030627 w 4519952"/>
                <a:gd name="connsiteY100" fmla="*/ 4124325 h 4496940"/>
                <a:gd name="connsiteX101" fmla="*/ 925852 w 4519952"/>
                <a:gd name="connsiteY101" fmla="*/ 4067175 h 4496940"/>
                <a:gd name="connsiteX102" fmla="*/ 830602 w 4519952"/>
                <a:gd name="connsiteY102" fmla="*/ 3981450 h 4496940"/>
                <a:gd name="connsiteX103" fmla="*/ 763927 w 4519952"/>
                <a:gd name="connsiteY103" fmla="*/ 3914775 h 4496940"/>
                <a:gd name="connsiteX104" fmla="*/ 725827 w 4519952"/>
                <a:gd name="connsiteY104" fmla="*/ 3876675 h 4496940"/>
                <a:gd name="connsiteX105" fmla="*/ 697252 w 4519952"/>
                <a:gd name="connsiteY105" fmla="*/ 3838575 h 4496940"/>
                <a:gd name="connsiteX106" fmla="*/ 640102 w 4519952"/>
                <a:gd name="connsiteY106" fmla="*/ 3781425 h 4496940"/>
                <a:gd name="connsiteX107" fmla="*/ 611527 w 4519952"/>
                <a:gd name="connsiteY107" fmla="*/ 3733800 h 4496940"/>
                <a:gd name="connsiteX108" fmla="*/ 554377 w 4519952"/>
                <a:gd name="connsiteY108" fmla="*/ 3657600 h 4496940"/>
                <a:gd name="connsiteX109" fmla="*/ 525802 w 4519952"/>
                <a:gd name="connsiteY109" fmla="*/ 3609975 h 4496940"/>
                <a:gd name="connsiteX110" fmla="*/ 497227 w 4519952"/>
                <a:gd name="connsiteY110" fmla="*/ 3552825 h 4496940"/>
                <a:gd name="connsiteX111" fmla="*/ 440077 w 4519952"/>
                <a:gd name="connsiteY111" fmla="*/ 3495675 h 4496940"/>
                <a:gd name="connsiteX112" fmla="*/ 411502 w 4519952"/>
                <a:gd name="connsiteY112" fmla="*/ 3448050 h 4496940"/>
                <a:gd name="connsiteX113" fmla="*/ 278152 w 4519952"/>
                <a:gd name="connsiteY113" fmla="*/ 3257550 h 4496940"/>
                <a:gd name="connsiteX114" fmla="*/ 249577 w 4519952"/>
                <a:gd name="connsiteY114" fmla="*/ 3200400 h 4496940"/>
                <a:gd name="connsiteX115" fmla="*/ 240052 w 4519952"/>
                <a:gd name="connsiteY115" fmla="*/ 3162300 h 4496940"/>
                <a:gd name="connsiteX116" fmla="*/ 221002 w 4519952"/>
                <a:gd name="connsiteY116" fmla="*/ 3105150 h 4496940"/>
                <a:gd name="connsiteX117" fmla="*/ 173377 w 4519952"/>
                <a:gd name="connsiteY117" fmla="*/ 3019425 h 4496940"/>
                <a:gd name="connsiteX118" fmla="*/ 144802 w 4519952"/>
                <a:gd name="connsiteY118" fmla="*/ 2924175 h 4496940"/>
                <a:gd name="connsiteX119" fmla="*/ 68602 w 4519952"/>
                <a:gd name="connsiteY119" fmla="*/ 2724150 h 4496940"/>
                <a:gd name="connsiteX120" fmla="*/ 49552 w 4519952"/>
                <a:gd name="connsiteY120" fmla="*/ 2638425 h 4496940"/>
                <a:gd name="connsiteX121" fmla="*/ 40027 w 4519952"/>
                <a:gd name="connsiteY121" fmla="*/ 2562225 h 4496940"/>
                <a:gd name="connsiteX122" fmla="*/ 30502 w 4519952"/>
                <a:gd name="connsiteY122" fmla="*/ 2514600 h 4496940"/>
                <a:gd name="connsiteX123" fmla="*/ 11452 w 4519952"/>
                <a:gd name="connsiteY123" fmla="*/ 2400300 h 4496940"/>
                <a:gd name="connsiteX124" fmla="*/ 20977 w 4519952"/>
                <a:gd name="connsiteY124" fmla="*/ 1905000 h 4496940"/>
                <a:gd name="connsiteX125" fmla="*/ 30502 w 4519952"/>
                <a:gd name="connsiteY125" fmla="*/ 1838325 h 4496940"/>
                <a:gd name="connsiteX126" fmla="*/ 49552 w 4519952"/>
                <a:gd name="connsiteY126" fmla="*/ 1781175 h 4496940"/>
                <a:gd name="connsiteX127" fmla="*/ 59077 w 4519952"/>
                <a:gd name="connsiteY127" fmla="*/ 1743075 h 4496940"/>
                <a:gd name="connsiteX128" fmla="*/ 78127 w 4519952"/>
                <a:gd name="connsiteY128" fmla="*/ 1685925 h 4496940"/>
                <a:gd name="connsiteX129" fmla="*/ 87652 w 4519952"/>
                <a:gd name="connsiteY129" fmla="*/ 1638300 h 4496940"/>
                <a:gd name="connsiteX130" fmla="*/ 106702 w 4519952"/>
                <a:gd name="connsiteY130" fmla="*/ 1590675 h 4496940"/>
                <a:gd name="connsiteX131" fmla="*/ 135277 w 4519952"/>
                <a:gd name="connsiteY131" fmla="*/ 1504950 h 4496940"/>
                <a:gd name="connsiteX132" fmla="*/ 154327 w 4519952"/>
                <a:gd name="connsiteY132" fmla="*/ 1419225 h 4496940"/>
                <a:gd name="connsiteX133" fmla="*/ 230527 w 4519952"/>
                <a:gd name="connsiteY133" fmla="*/ 1276350 h 4496940"/>
                <a:gd name="connsiteX134" fmla="*/ 240052 w 4519952"/>
                <a:gd name="connsiteY134" fmla="*/ 1247775 h 4496940"/>
                <a:gd name="connsiteX135" fmla="*/ 268627 w 4519952"/>
                <a:gd name="connsiteY135" fmla="*/ 1200150 h 4496940"/>
                <a:gd name="connsiteX136" fmla="*/ 287677 w 4519952"/>
                <a:gd name="connsiteY136" fmla="*/ 1152525 h 4496940"/>
                <a:gd name="connsiteX137" fmla="*/ 316252 w 4519952"/>
                <a:gd name="connsiteY137" fmla="*/ 1114425 h 4496940"/>
                <a:gd name="connsiteX138" fmla="*/ 363877 w 4519952"/>
                <a:gd name="connsiteY138" fmla="*/ 1038225 h 4496940"/>
                <a:gd name="connsiteX139" fmla="*/ 382927 w 4519952"/>
                <a:gd name="connsiteY139" fmla="*/ 1009650 h 4496940"/>
                <a:gd name="connsiteX140" fmla="*/ 440077 w 4519952"/>
                <a:gd name="connsiteY140" fmla="*/ 904875 h 4496940"/>
                <a:gd name="connsiteX141" fmla="*/ 478177 w 4519952"/>
                <a:gd name="connsiteY141" fmla="*/ 857250 h 4496940"/>
                <a:gd name="connsiteX142" fmla="*/ 497227 w 4519952"/>
                <a:gd name="connsiteY142" fmla="*/ 828675 h 4496940"/>
                <a:gd name="connsiteX143" fmla="*/ 535327 w 4519952"/>
                <a:gd name="connsiteY143" fmla="*/ 800100 h 4496940"/>
                <a:gd name="connsiteX144" fmla="*/ 602002 w 4519952"/>
                <a:gd name="connsiteY144" fmla="*/ 733425 h 4496940"/>
                <a:gd name="connsiteX145" fmla="*/ 668677 w 4519952"/>
                <a:gd name="connsiteY145" fmla="*/ 676275 h 4496940"/>
                <a:gd name="connsiteX146" fmla="*/ 697252 w 4519952"/>
                <a:gd name="connsiteY146" fmla="*/ 657225 h 4496940"/>
                <a:gd name="connsiteX147" fmla="*/ 840127 w 4519952"/>
                <a:gd name="connsiteY147" fmla="*/ 533400 h 4496940"/>
                <a:gd name="connsiteX148" fmla="*/ 887752 w 4519952"/>
                <a:gd name="connsiteY148" fmla="*/ 504825 h 4496940"/>
                <a:gd name="connsiteX149" fmla="*/ 1167152 w 4519952"/>
                <a:gd name="connsiteY149" fmla="*/ 311150 h 4496940"/>
                <a:gd name="connsiteX150" fmla="*/ 1268752 w 4519952"/>
                <a:gd name="connsiteY150" fmla="*/ 285750 h 4496940"/>
                <a:gd name="connsiteX151" fmla="*/ 1411627 w 4519952"/>
                <a:gd name="connsiteY151" fmla="*/ 190500 h 4496940"/>
                <a:gd name="connsiteX152" fmla="*/ 1449727 w 4519952"/>
                <a:gd name="connsiteY152" fmla="*/ 161925 h 4496940"/>
                <a:gd name="connsiteX153" fmla="*/ 1525927 w 4519952"/>
                <a:gd name="connsiteY153" fmla="*/ 152400 h 4496940"/>
                <a:gd name="connsiteX154" fmla="*/ 1583077 w 4519952"/>
                <a:gd name="connsiteY154" fmla="*/ 142875 h 4496940"/>
                <a:gd name="connsiteX155" fmla="*/ 1716427 w 4519952"/>
                <a:gd name="connsiteY155" fmla="*/ 123825 h 4496940"/>
                <a:gd name="connsiteX156" fmla="*/ 1811677 w 4519952"/>
                <a:gd name="connsiteY156" fmla="*/ 114300 h 4496940"/>
                <a:gd name="connsiteX157" fmla="*/ 1859302 w 4519952"/>
                <a:gd name="connsiteY157" fmla="*/ 104775 h 4496940"/>
                <a:gd name="connsiteX158" fmla="*/ 1916452 w 4519952"/>
                <a:gd name="connsiteY158" fmla="*/ 95250 h 4496940"/>
                <a:gd name="connsiteX159" fmla="*/ 2030752 w 4519952"/>
                <a:gd name="connsiteY159" fmla="*/ 66675 h 4496940"/>
                <a:gd name="connsiteX160" fmla="*/ 2097427 w 4519952"/>
                <a:gd name="connsiteY160" fmla="*/ 47625 h 4496940"/>
                <a:gd name="connsiteX161" fmla="*/ 2164102 w 4519952"/>
                <a:gd name="connsiteY161" fmla="*/ 38100 h 4496940"/>
                <a:gd name="connsiteX162" fmla="*/ 2392702 w 4519952"/>
                <a:gd name="connsiteY162" fmla="*/ 28575 h 4496940"/>
                <a:gd name="connsiteX0" fmla="*/ 2297452 w 4519983"/>
                <a:gd name="connsiteY0" fmla="*/ 0 h 4496940"/>
                <a:gd name="connsiteX1" fmla="*/ 2421277 w 4519983"/>
                <a:gd name="connsiteY1" fmla="*/ 28575 h 4496940"/>
                <a:gd name="connsiteX2" fmla="*/ 2497477 w 4519983"/>
                <a:gd name="connsiteY2" fmla="*/ 47625 h 4496940"/>
                <a:gd name="connsiteX3" fmla="*/ 2754652 w 4519983"/>
                <a:gd name="connsiteY3" fmla="*/ 66675 h 4496940"/>
                <a:gd name="connsiteX4" fmla="*/ 2830852 w 4519983"/>
                <a:gd name="connsiteY4" fmla="*/ 76200 h 4496940"/>
                <a:gd name="connsiteX5" fmla="*/ 2916577 w 4519983"/>
                <a:gd name="connsiteY5" fmla="*/ 85725 h 4496940"/>
                <a:gd name="connsiteX6" fmla="*/ 2973727 w 4519983"/>
                <a:gd name="connsiteY6" fmla="*/ 114300 h 4496940"/>
                <a:gd name="connsiteX7" fmla="*/ 3011827 w 4519983"/>
                <a:gd name="connsiteY7" fmla="*/ 123825 h 4496940"/>
                <a:gd name="connsiteX8" fmla="*/ 3135652 w 4519983"/>
                <a:gd name="connsiteY8" fmla="*/ 171450 h 4496940"/>
                <a:gd name="connsiteX9" fmla="*/ 3173752 w 4519983"/>
                <a:gd name="connsiteY9" fmla="*/ 190500 h 4496940"/>
                <a:gd name="connsiteX10" fmla="*/ 3240427 w 4519983"/>
                <a:gd name="connsiteY10" fmla="*/ 228600 h 4496940"/>
                <a:gd name="connsiteX11" fmla="*/ 3269002 w 4519983"/>
                <a:gd name="connsiteY11" fmla="*/ 238125 h 4496940"/>
                <a:gd name="connsiteX12" fmla="*/ 3297577 w 4519983"/>
                <a:gd name="connsiteY12" fmla="*/ 257175 h 4496940"/>
                <a:gd name="connsiteX13" fmla="*/ 3326152 w 4519983"/>
                <a:gd name="connsiteY13" fmla="*/ 266700 h 4496940"/>
                <a:gd name="connsiteX14" fmla="*/ 3354727 w 4519983"/>
                <a:gd name="connsiteY14" fmla="*/ 285750 h 4496940"/>
                <a:gd name="connsiteX15" fmla="*/ 3421402 w 4519983"/>
                <a:gd name="connsiteY15" fmla="*/ 323850 h 4496940"/>
                <a:gd name="connsiteX16" fmla="*/ 3469027 w 4519983"/>
                <a:gd name="connsiteY16" fmla="*/ 361950 h 4496940"/>
                <a:gd name="connsiteX17" fmla="*/ 3516652 w 4519983"/>
                <a:gd name="connsiteY17" fmla="*/ 390525 h 4496940"/>
                <a:gd name="connsiteX18" fmla="*/ 3545227 w 4519983"/>
                <a:gd name="connsiteY18" fmla="*/ 419100 h 4496940"/>
                <a:gd name="connsiteX19" fmla="*/ 3602377 w 4519983"/>
                <a:gd name="connsiteY19" fmla="*/ 457200 h 4496940"/>
                <a:gd name="connsiteX20" fmla="*/ 3630952 w 4519983"/>
                <a:gd name="connsiteY20" fmla="*/ 485775 h 4496940"/>
                <a:gd name="connsiteX21" fmla="*/ 3678577 w 4519983"/>
                <a:gd name="connsiteY21" fmla="*/ 504825 h 4496940"/>
                <a:gd name="connsiteX22" fmla="*/ 3745252 w 4519983"/>
                <a:gd name="connsiteY22" fmla="*/ 542925 h 4496940"/>
                <a:gd name="connsiteX23" fmla="*/ 3811927 w 4519983"/>
                <a:gd name="connsiteY23" fmla="*/ 581025 h 4496940"/>
                <a:gd name="connsiteX24" fmla="*/ 3840502 w 4519983"/>
                <a:gd name="connsiteY24" fmla="*/ 600075 h 4496940"/>
                <a:gd name="connsiteX25" fmla="*/ 3869077 w 4519983"/>
                <a:gd name="connsiteY25" fmla="*/ 628650 h 4496940"/>
                <a:gd name="connsiteX26" fmla="*/ 3907177 w 4519983"/>
                <a:gd name="connsiteY26" fmla="*/ 647700 h 4496940"/>
                <a:gd name="connsiteX27" fmla="*/ 3935752 w 4519983"/>
                <a:gd name="connsiteY27" fmla="*/ 676275 h 4496940"/>
                <a:gd name="connsiteX28" fmla="*/ 3992902 w 4519983"/>
                <a:gd name="connsiteY28" fmla="*/ 714375 h 4496940"/>
                <a:gd name="connsiteX29" fmla="*/ 4050052 w 4519983"/>
                <a:gd name="connsiteY29" fmla="*/ 790575 h 4496940"/>
                <a:gd name="connsiteX30" fmla="*/ 4078627 w 4519983"/>
                <a:gd name="connsiteY30" fmla="*/ 838200 h 4496940"/>
                <a:gd name="connsiteX31" fmla="*/ 4107202 w 4519983"/>
                <a:gd name="connsiteY31" fmla="*/ 876300 h 4496940"/>
                <a:gd name="connsiteX32" fmla="*/ 4116727 w 4519983"/>
                <a:gd name="connsiteY32" fmla="*/ 904875 h 4496940"/>
                <a:gd name="connsiteX33" fmla="*/ 4135777 w 4519983"/>
                <a:gd name="connsiteY33" fmla="*/ 933450 h 4496940"/>
                <a:gd name="connsiteX34" fmla="*/ 4164352 w 4519983"/>
                <a:gd name="connsiteY34" fmla="*/ 990600 h 4496940"/>
                <a:gd name="connsiteX35" fmla="*/ 4173877 w 4519983"/>
                <a:gd name="connsiteY35" fmla="*/ 1019175 h 4496940"/>
                <a:gd name="connsiteX36" fmla="*/ 4192927 w 4519983"/>
                <a:gd name="connsiteY36" fmla="*/ 1057275 h 4496940"/>
                <a:gd name="connsiteX37" fmla="*/ 4202452 w 4519983"/>
                <a:gd name="connsiteY37" fmla="*/ 1085850 h 4496940"/>
                <a:gd name="connsiteX38" fmla="*/ 4250077 w 4519983"/>
                <a:gd name="connsiteY38" fmla="*/ 1143000 h 4496940"/>
                <a:gd name="connsiteX39" fmla="*/ 4259602 w 4519983"/>
                <a:gd name="connsiteY39" fmla="*/ 1190625 h 4496940"/>
                <a:gd name="connsiteX40" fmla="*/ 4307227 w 4519983"/>
                <a:gd name="connsiteY40" fmla="*/ 1266825 h 4496940"/>
                <a:gd name="connsiteX41" fmla="*/ 4345327 w 4519983"/>
                <a:gd name="connsiteY41" fmla="*/ 1362075 h 4496940"/>
                <a:gd name="connsiteX42" fmla="*/ 4373902 w 4519983"/>
                <a:gd name="connsiteY42" fmla="*/ 1428750 h 4496940"/>
                <a:gd name="connsiteX43" fmla="*/ 4392952 w 4519983"/>
                <a:gd name="connsiteY43" fmla="*/ 1552575 h 4496940"/>
                <a:gd name="connsiteX44" fmla="*/ 4402477 w 4519983"/>
                <a:gd name="connsiteY44" fmla="*/ 1590675 h 4496940"/>
                <a:gd name="connsiteX45" fmla="*/ 4431052 w 4519983"/>
                <a:gd name="connsiteY45" fmla="*/ 1685925 h 4496940"/>
                <a:gd name="connsiteX46" fmla="*/ 4519952 w 4519983"/>
                <a:gd name="connsiteY46" fmla="*/ 2181225 h 4496940"/>
                <a:gd name="connsiteX47" fmla="*/ 4440577 w 4519983"/>
                <a:gd name="connsiteY47" fmla="*/ 2876550 h 4496940"/>
                <a:gd name="connsiteX48" fmla="*/ 4383427 w 4519983"/>
                <a:gd name="connsiteY48" fmla="*/ 2990850 h 4496940"/>
                <a:gd name="connsiteX49" fmla="*/ 4354852 w 4519983"/>
                <a:gd name="connsiteY49" fmla="*/ 3057525 h 4496940"/>
                <a:gd name="connsiteX50" fmla="*/ 4335802 w 4519983"/>
                <a:gd name="connsiteY50" fmla="*/ 3095625 h 4496940"/>
                <a:gd name="connsiteX51" fmla="*/ 4278652 w 4519983"/>
                <a:gd name="connsiteY51" fmla="*/ 3248025 h 4496940"/>
                <a:gd name="connsiteX52" fmla="*/ 4259602 w 4519983"/>
                <a:gd name="connsiteY52" fmla="*/ 3276600 h 4496940"/>
                <a:gd name="connsiteX53" fmla="*/ 4221502 w 4519983"/>
                <a:gd name="connsiteY53" fmla="*/ 3333750 h 4496940"/>
                <a:gd name="connsiteX54" fmla="*/ 4211977 w 4519983"/>
                <a:gd name="connsiteY54" fmla="*/ 3362325 h 4496940"/>
                <a:gd name="connsiteX55" fmla="*/ 4183402 w 4519983"/>
                <a:gd name="connsiteY55" fmla="*/ 3400425 h 4496940"/>
                <a:gd name="connsiteX56" fmla="*/ 4164352 w 4519983"/>
                <a:gd name="connsiteY56" fmla="*/ 3429000 h 4496940"/>
                <a:gd name="connsiteX57" fmla="*/ 4088152 w 4519983"/>
                <a:gd name="connsiteY57" fmla="*/ 3495675 h 4496940"/>
                <a:gd name="connsiteX58" fmla="*/ 4059577 w 4519983"/>
                <a:gd name="connsiteY58" fmla="*/ 3533775 h 4496940"/>
                <a:gd name="connsiteX59" fmla="*/ 4002427 w 4519983"/>
                <a:gd name="connsiteY59" fmla="*/ 3600450 h 4496940"/>
                <a:gd name="connsiteX60" fmla="*/ 3983377 w 4519983"/>
                <a:gd name="connsiteY60" fmla="*/ 3629025 h 4496940"/>
                <a:gd name="connsiteX61" fmla="*/ 3954802 w 4519983"/>
                <a:gd name="connsiteY61" fmla="*/ 3648075 h 4496940"/>
                <a:gd name="connsiteX62" fmla="*/ 3907177 w 4519983"/>
                <a:gd name="connsiteY62" fmla="*/ 3686175 h 4496940"/>
                <a:gd name="connsiteX63" fmla="*/ 3869077 w 4519983"/>
                <a:gd name="connsiteY63" fmla="*/ 3724275 h 4496940"/>
                <a:gd name="connsiteX64" fmla="*/ 3792877 w 4519983"/>
                <a:gd name="connsiteY64" fmla="*/ 3781425 h 4496940"/>
                <a:gd name="connsiteX65" fmla="*/ 3783352 w 4519983"/>
                <a:gd name="connsiteY65" fmla="*/ 3810000 h 4496940"/>
                <a:gd name="connsiteX66" fmla="*/ 3745252 w 4519983"/>
                <a:gd name="connsiteY66" fmla="*/ 3819525 h 4496940"/>
                <a:gd name="connsiteX67" fmla="*/ 3678577 w 4519983"/>
                <a:gd name="connsiteY67" fmla="*/ 3848100 h 4496940"/>
                <a:gd name="connsiteX68" fmla="*/ 3659527 w 4519983"/>
                <a:gd name="connsiteY68" fmla="*/ 3971925 h 4496940"/>
                <a:gd name="connsiteX69" fmla="*/ 3630952 w 4519983"/>
                <a:gd name="connsiteY69" fmla="*/ 4010025 h 4496940"/>
                <a:gd name="connsiteX70" fmla="*/ 3621427 w 4519983"/>
                <a:gd name="connsiteY70" fmla="*/ 4038600 h 4496940"/>
                <a:gd name="connsiteX71" fmla="*/ 3554752 w 4519983"/>
                <a:gd name="connsiteY71" fmla="*/ 4095750 h 4496940"/>
                <a:gd name="connsiteX72" fmla="*/ 3516652 w 4519983"/>
                <a:gd name="connsiteY72" fmla="*/ 4114800 h 4496940"/>
                <a:gd name="connsiteX73" fmla="*/ 3497602 w 4519983"/>
                <a:gd name="connsiteY73" fmla="*/ 4143375 h 4496940"/>
                <a:gd name="connsiteX74" fmla="*/ 3383302 w 4519983"/>
                <a:gd name="connsiteY74" fmla="*/ 4210050 h 4496940"/>
                <a:gd name="connsiteX75" fmla="*/ 3335677 w 4519983"/>
                <a:gd name="connsiteY75" fmla="*/ 4238625 h 4496940"/>
                <a:gd name="connsiteX76" fmla="*/ 3288052 w 4519983"/>
                <a:gd name="connsiteY76" fmla="*/ 4248150 h 4496940"/>
                <a:gd name="connsiteX77" fmla="*/ 3240427 w 4519983"/>
                <a:gd name="connsiteY77" fmla="*/ 4267200 h 4496940"/>
                <a:gd name="connsiteX78" fmla="*/ 3068977 w 4519983"/>
                <a:gd name="connsiteY78" fmla="*/ 4286250 h 4496940"/>
                <a:gd name="connsiteX79" fmla="*/ 2935627 w 4519983"/>
                <a:gd name="connsiteY79" fmla="*/ 4333875 h 4496940"/>
                <a:gd name="connsiteX80" fmla="*/ 2811802 w 4519983"/>
                <a:gd name="connsiteY80" fmla="*/ 4371975 h 4496940"/>
                <a:gd name="connsiteX81" fmla="*/ 2745127 w 4519983"/>
                <a:gd name="connsiteY81" fmla="*/ 4410075 h 4496940"/>
                <a:gd name="connsiteX82" fmla="*/ 2697502 w 4519983"/>
                <a:gd name="connsiteY82" fmla="*/ 4429125 h 4496940"/>
                <a:gd name="connsiteX83" fmla="*/ 2640352 w 4519983"/>
                <a:gd name="connsiteY83" fmla="*/ 4457700 h 4496940"/>
                <a:gd name="connsiteX84" fmla="*/ 2583202 w 4519983"/>
                <a:gd name="connsiteY84" fmla="*/ 4467225 h 4496940"/>
                <a:gd name="connsiteX85" fmla="*/ 2545102 w 4519983"/>
                <a:gd name="connsiteY85" fmla="*/ 4486275 h 4496940"/>
                <a:gd name="connsiteX86" fmla="*/ 2306977 w 4519983"/>
                <a:gd name="connsiteY86" fmla="*/ 4476750 h 4496940"/>
                <a:gd name="connsiteX87" fmla="*/ 2202202 w 4519983"/>
                <a:gd name="connsiteY87" fmla="*/ 4457700 h 4496940"/>
                <a:gd name="connsiteX88" fmla="*/ 2126002 w 4519983"/>
                <a:gd name="connsiteY88" fmla="*/ 4429125 h 4496940"/>
                <a:gd name="connsiteX89" fmla="*/ 1935502 w 4519983"/>
                <a:gd name="connsiteY89" fmla="*/ 4400550 h 4496940"/>
                <a:gd name="connsiteX90" fmla="*/ 1821202 w 4519983"/>
                <a:gd name="connsiteY90" fmla="*/ 4371975 h 4496940"/>
                <a:gd name="connsiteX91" fmla="*/ 1754527 w 4519983"/>
                <a:gd name="connsiteY91" fmla="*/ 4352925 h 4496940"/>
                <a:gd name="connsiteX92" fmla="*/ 1687852 w 4519983"/>
                <a:gd name="connsiteY92" fmla="*/ 4343400 h 4496940"/>
                <a:gd name="connsiteX93" fmla="*/ 1573552 w 4519983"/>
                <a:gd name="connsiteY93" fmla="*/ 4305300 h 4496940"/>
                <a:gd name="connsiteX94" fmla="*/ 1402102 w 4519983"/>
                <a:gd name="connsiteY94" fmla="*/ 4276725 h 4496940"/>
                <a:gd name="connsiteX95" fmla="*/ 1287802 w 4519983"/>
                <a:gd name="connsiteY95" fmla="*/ 4229100 h 4496940"/>
                <a:gd name="connsiteX96" fmla="*/ 1221127 w 4519983"/>
                <a:gd name="connsiteY96" fmla="*/ 4200525 h 4496940"/>
                <a:gd name="connsiteX97" fmla="*/ 1144927 w 4519983"/>
                <a:gd name="connsiteY97" fmla="*/ 4171950 h 4496940"/>
                <a:gd name="connsiteX98" fmla="*/ 1087777 w 4519983"/>
                <a:gd name="connsiteY98" fmla="*/ 4143375 h 4496940"/>
                <a:gd name="connsiteX99" fmla="*/ 1030627 w 4519983"/>
                <a:gd name="connsiteY99" fmla="*/ 4124325 h 4496940"/>
                <a:gd name="connsiteX100" fmla="*/ 925852 w 4519983"/>
                <a:gd name="connsiteY100" fmla="*/ 4067175 h 4496940"/>
                <a:gd name="connsiteX101" fmla="*/ 830602 w 4519983"/>
                <a:gd name="connsiteY101" fmla="*/ 3981450 h 4496940"/>
                <a:gd name="connsiteX102" fmla="*/ 763927 w 4519983"/>
                <a:gd name="connsiteY102" fmla="*/ 3914775 h 4496940"/>
                <a:gd name="connsiteX103" fmla="*/ 725827 w 4519983"/>
                <a:gd name="connsiteY103" fmla="*/ 3876675 h 4496940"/>
                <a:gd name="connsiteX104" fmla="*/ 697252 w 4519983"/>
                <a:gd name="connsiteY104" fmla="*/ 3838575 h 4496940"/>
                <a:gd name="connsiteX105" fmla="*/ 640102 w 4519983"/>
                <a:gd name="connsiteY105" fmla="*/ 3781425 h 4496940"/>
                <a:gd name="connsiteX106" fmla="*/ 611527 w 4519983"/>
                <a:gd name="connsiteY106" fmla="*/ 3733800 h 4496940"/>
                <a:gd name="connsiteX107" fmla="*/ 554377 w 4519983"/>
                <a:gd name="connsiteY107" fmla="*/ 3657600 h 4496940"/>
                <a:gd name="connsiteX108" fmla="*/ 525802 w 4519983"/>
                <a:gd name="connsiteY108" fmla="*/ 3609975 h 4496940"/>
                <a:gd name="connsiteX109" fmla="*/ 497227 w 4519983"/>
                <a:gd name="connsiteY109" fmla="*/ 3552825 h 4496940"/>
                <a:gd name="connsiteX110" fmla="*/ 440077 w 4519983"/>
                <a:gd name="connsiteY110" fmla="*/ 3495675 h 4496940"/>
                <a:gd name="connsiteX111" fmla="*/ 411502 w 4519983"/>
                <a:gd name="connsiteY111" fmla="*/ 3448050 h 4496940"/>
                <a:gd name="connsiteX112" fmla="*/ 278152 w 4519983"/>
                <a:gd name="connsiteY112" fmla="*/ 3257550 h 4496940"/>
                <a:gd name="connsiteX113" fmla="*/ 249577 w 4519983"/>
                <a:gd name="connsiteY113" fmla="*/ 3200400 h 4496940"/>
                <a:gd name="connsiteX114" fmla="*/ 240052 w 4519983"/>
                <a:gd name="connsiteY114" fmla="*/ 3162300 h 4496940"/>
                <a:gd name="connsiteX115" fmla="*/ 221002 w 4519983"/>
                <a:gd name="connsiteY115" fmla="*/ 3105150 h 4496940"/>
                <a:gd name="connsiteX116" fmla="*/ 173377 w 4519983"/>
                <a:gd name="connsiteY116" fmla="*/ 3019425 h 4496940"/>
                <a:gd name="connsiteX117" fmla="*/ 144802 w 4519983"/>
                <a:gd name="connsiteY117" fmla="*/ 2924175 h 4496940"/>
                <a:gd name="connsiteX118" fmla="*/ 68602 w 4519983"/>
                <a:gd name="connsiteY118" fmla="*/ 2724150 h 4496940"/>
                <a:gd name="connsiteX119" fmla="*/ 49552 w 4519983"/>
                <a:gd name="connsiteY119" fmla="*/ 2638425 h 4496940"/>
                <a:gd name="connsiteX120" fmla="*/ 40027 w 4519983"/>
                <a:gd name="connsiteY120" fmla="*/ 2562225 h 4496940"/>
                <a:gd name="connsiteX121" fmla="*/ 30502 w 4519983"/>
                <a:gd name="connsiteY121" fmla="*/ 2514600 h 4496940"/>
                <a:gd name="connsiteX122" fmla="*/ 11452 w 4519983"/>
                <a:gd name="connsiteY122" fmla="*/ 2400300 h 4496940"/>
                <a:gd name="connsiteX123" fmla="*/ 20977 w 4519983"/>
                <a:gd name="connsiteY123" fmla="*/ 1905000 h 4496940"/>
                <a:gd name="connsiteX124" fmla="*/ 30502 w 4519983"/>
                <a:gd name="connsiteY124" fmla="*/ 1838325 h 4496940"/>
                <a:gd name="connsiteX125" fmla="*/ 49552 w 4519983"/>
                <a:gd name="connsiteY125" fmla="*/ 1781175 h 4496940"/>
                <a:gd name="connsiteX126" fmla="*/ 59077 w 4519983"/>
                <a:gd name="connsiteY126" fmla="*/ 1743075 h 4496940"/>
                <a:gd name="connsiteX127" fmla="*/ 78127 w 4519983"/>
                <a:gd name="connsiteY127" fmla="*/ 1685925 h 4496940"/>
                <a:gd name="connsiteX128" fmla="*/ 87652 w 4519983"/>
                <a:gd name="connsiteY128" fmla="*/ 1638300 h 4496940"/>
                <a:gd name="connsiteX129" fmla="*/ 106702 w 4519983"/>
                <a:gd name="connsiteY129" fmla="*/ 1590675 h 4496940"/>
                <a:gd name="connsiteX130" fmla="*/ 135277 w 4519983"/>
                <a:gd name="connsiteY130" fmla="*/ 1504950 h 4496940"/>
                <a:gd name="connsiteX131" fmla="*/ 154327 w 4519983"/>
                <a:gd name="connsiteY131" fmla="*/ 1419225 h 4496940"/>
                <a:gd name="connsiteX132" fmla="*/ 230527 w 4519983"/>
                <a:gd name="connsiteY132" fmla="*/ 1276350 h 4496940"/>
                <a:gd name="connsiteX133" fmla="*/ 240052 w 4519983"/>
                <a:gd name="connsiteY133" fmla="*/ 1247775 h 4496940"/>
                <a:gd name="connsiteX134" fmla="*/ 268627 w 4519983"/>
                <a:gd name="connsiteY134" fmla="*/ 1200150 h 4496940"/>
                <a:gd name="connsiteX135" fmla="*/ 287677 w 4519983"/>
                <a:gd name="connsiteY135" fmla="*/ 1152525 h 4496940"/>
                <a:gd name="connsiteX136" fmla="*/ 316252 w 4519983"/>
                <a:gd name="connsiteY136" fmla="*/ 1114425 h 4496940"/>
                <a:gd name="connsiteX137" fmla="*/ 363877 w 4519983"/>
                <a:gd name="connsiteY137" fmla="*/ 1038225 h 4496940"/>
                <a:gd name="connsiteX138" fmla="*/ 382927 w 4519983"/>
                <a:gd name="connsiteY138" fmla="*/ 1009650 h 4496940"/>
                <a:gd name="connsiteX139" fmla="*/ 440077 w 4519983"/>
                <a:gd name="connsiteY139" fmla="*/ 904875 h 4496940"/>
                <a:gd name="connsiteX140" fmla="*/ 478177 w 4519983"/>
                <a:gd name="connsiteY140" fmla="*/ 857250 h 4496940"/>
                <a:gd name="connsiteX141" fmla="*/ 497227 w 4519983"/>
                <a:gd name="connsiteY141" fmla="*/ 828675 h 4496940"/>
                <a:gd name="connsiteX142" fmla="*/ 535327 w 4519983"/>
                <a:gd name="connsiteY142" fmla="*/ 800100 h 4496940"/>
                <a:gd name="connsiteX143" fmla="*/ 602002 w 4519983"/>
                <a:gd name="connsiteY143" fmla="*/ 733425 h 4496940"/>
                <a:gd name="connsiteX144" fmla="*/ 668677 w 4519983"/>
                <a:gd name="connsiteY144" fmla="*/ 676275 h 4496940"/>
                <a:gd name="connsiteX145" fmla="*/ 697252 w 4519983"/>
                <a:gd name="connsiteY145" fmla="*/ 657225 h 4496940"/>
                <a:gd name="connsiteX146" fmla="*/ 840127 w 4519983"/>
                <a:gd name="connsiteY146" fmla="*/ 533400 h 4496940"/>
                <a:gd name="connsiteX147" fmla="*/ 887752 w 4519983"/>
                <a:gd name="connsiteY147" fmla="*/ 504825 h 4496940"/>
                <a:gd name="connsiteX148" fmla="*/ 1167152 w 4519983"/>
                <a:gd name="connsiteY148" fmla="*/ 311150 h 4496940"/>
                <a:gd name="connsiteX149" fmla="*/ 1268752 w 4519983"/>
                <a:gd name="connsiteY149" fmla="*/ 285750 h 4496940"/>
                <a:gd name="connsiteX150" fmla="*/ 1411627 w 4519983"/>
                <a:gd name="connsiteY150" fmla="*/ 190500 h 4496940"/>
                <a:gd name="connsiteX151" fmla="*/ 1449727 w 4519983"/>
                <a:gd name="connsiteY151" fmla="*/ 161925 h 4496940"/>
                <a:gd name="connsiteX152" fmla="*/ 1525927 w 4519983"/>
                <a:gd name="connsiteY152" fmla="*/ 152400 h 4496940"/>
                <a:gd name="connsiteX153" fmla="*/ 1583077 w 4519983"/>
                <a:gd name="connsiteY153" fmla="*/ 142875 h 4496940"/>
                <a:gd name="connsiteX154" fmla="*/ 1716427 w 4519983"/>
                <a:gd name="connsiteY154" fmla="*/ 123825 h 4496940"/>
                <a:gd name="connsiteX155" fmla="*/ 1811677 w 4519983"/>
                <a:gd name="connsiteY155" fmla="*/ 114300 h 4496940"/>
                <a:gd name="connsiteX156" fmla="*/ 1859302 w 4519983"/>
                <a:gd name="connsiteY156" fmla="*/ 104775 h 4496940"/>
                <a:gd name="connsiteX157" fmla="*/ 1916452 w 4519983"/>
                <a:gd name="connsiteY157" fmla="*/ 95250 h 4496940"/>
                <a:gd name="connsiteX158" fmla="*/ 2030752 w 4519983"/>
                <a:gd name="connsiteY158" fmla="*/ 66675 h 4496940"/>
                <a:gd name="connsiteX159" fmla="*/ 2097427 w 4519983"/>
                <a:gd name="connsiteY159" fmla="*/ 47625 h 4496940"/>
                <a:gd name="connsiteX160" fmla="*/ 2164102 w 4519983"/>
                <a:gd name="connsiteY160" fmla="*/ 38100 h 4496940"/>
                <a:gd name="connsiteX161" fmla="*/ 2392702 w 4519983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335802 w 4519987"/>
                <a:gd name="connsiteY50" fmla="*/ 3095625 h 4496940"/>
                <a:gd name="connsiteX51" fmla="*/ 4278652 w 4519987"/>
                <a:gd name="connsiteY51" fmla="*/ 3248025 h 4496940"/>
                <a:gd name="connsiteX52" fmla="*/ 4259602 w 4519987"/>
                <a:gd name="connsiteY52" fmla="*/ 3276600 h 4496940"/>
                <a:gd name="connsiteX53" fmla="*/ 4221502 w 4519987"/>
                <a:gd name="connsiteY53" fmla="*/ 3333750 h 4496940"/>
                <a:gd name="connsiteX54" fmla="*/ 4211977 w 4519987"/>
                <a:gd name="connsiteY54" fmla="*/ 3362325 h 4496940"/>
                <a:gd name="connsiteX55" fmla="*/ 4183402 w 4519987"/>
                <a:gd name="connsiteY55" fmla="*/ 3400425 h 4496940"/>
                <a:gd name="connsiteX56" fmla="*/ 4164352 w 4519987"/>
                <a:gd name="connsiteY56" fmla="*/ 3429000 h 4496940"/>
                <a:gd name="connsiteX57" fmla="*/ 4088152 w 4519987"/>
                <a:gd name="connsiteY57" fmla="*/ 3495675 h 4496940"/>
                <a:gd name="connsiteX58" fmla="*/ 4059577 w 4519987"/>
                <a:gd name="connsiteY58" fmla="*/ 3533775 h 4496940"/>
                <a:gd name="connsiteX59" fmla="*/ 4002427 w 4519987"/>
                <a:gd name="connsiteY59" fmla="*/ 3600450 h 4496940"/>
                <a:gd name="connsiteX60" fmla="*/ 3983377 w 4519987"/>
                <a:gd name="connsiteY60" fmla="*/ 3629025 h 4496940"/>
                <a:gd name="connsiteX61" fmla="*/ 3954802 w 4519987"/>
                <a:gd name="connsiteY61" fmla="*/ 3648075 h 4496940"/>
                <a:gd name="connsiteX62" fmla="*/ 3907177 w 4519987"/>
                <a:gd name="connsiteY62" fmla="*/ 3686175 h 4496940"/>
                <a:gd name="connsiteX63" fmla="*/ 3869077 w 4519987"/>
                <a:gd name="connsiteY63" fmla="*/ 3724275 h 4496940"/>
                <a:gd name="connsiteX64" fmla="*/ 3792877 w 4519987"/>
                <a:gd name="connsiteY64" fmla="*/ 3781425 h 4496940"/>
                <a:gd name="connsiteX65" fmla="*/ 3783352 w 4519987"/>
                <a:gd name="connsiteY65" fmla="*/ 3810000 h 4496940"/>
                <a:gd name="connsiteX66" fmla="*/ 3745252 w 4519987"/>
                <a:gd name="connsiteY66" fmla="*/ 3819525 h 4496940"/>
                <a:gd name="connsiteX67" fmla="*/ 3678577 w 4519987"/>
                <a:gd name="connsiteY67" fmla="*/ 3848100 h 4496940"/>
                <a:gd name="connsiteX68" fmla="*/ 3659527 w 4519987"/>
                <a:gd name="connsiteY68" fmla="*/ 3971925 h 4496940"/>
                <a:gd name="connsiteX69" fmla="*/ 3630952 w 4519987"/>
                <a:gd name="connsiteY69" fmla="*/ 4010025 h 4496940"/>
                <a:gd name="connsiteX70" fmla="*/ 3621427 w 4519987"/>
                <a:gd name="connsiteY70" fmla="*/ 4038600 h 4496940"/>
                <a:gd name="connsiteX71" fmla="*/ 3554752 w 4519987"/>
                <a:gd name="connsiteY71" fmla="*/ 4095750 h 4496940"/>
                <a:gd name="connsiteX72" fmla="*/ 3516652 w 4519987"/>
                <a:gd name="connsiteY72" fmla="*/ 4114800 h 4496940"/>
                <a:gd name="connsiteX73" fmla="*/ 3497602 w 4519987"/>
                <a:gd name="connsiteY73" fmla="*/ 4143375 h 4496940"/>
                <a:gd name="connsiteX74" fmla="*/ 3383302 w 4519987"/>
                <a:gd name="connsiteY74" fmla="*/ 4210050 h 4496940"/>
                <a:gd name="connsiteX75" fmla="*/ 3335677 w 4519987"/>
                <a:gd name="connsiteY75" fmla="*/ 4238625 h 4496940"/>
                <a:gd name="connsiteX76" fmla="*/ 3288052 w 4519987"/>
                <a:gd name="connsiteY76" fmla="*/ 4248150 h 4496940"/>
                <a:gd name="connsiteX77" fmla="*/ 3240427 w 4519987"/>
                <a:gd name="connsiteY77" fmla="*/ 4267200 h 4496940"/>
                <a:gd name="connsiteX78" fmla="*/ 3068977 w 4519987"/>
                <a:gd name="connsiteY78" fmla="*/ 4286250 h 4496940"/>
                <a:gd name="connsiteX79" fmla="*/ 2935627 w 4519987"/>
                <a:gd name="connsiteY79" fmla="*/ 4333875 h 4496940"/>
                <a:gd name="connsiteX80" fmla="*/ 2811802 w 4519987"/>
                <a:gd name="connsiteY80" fmla="*/ 4371975 h 4496940"/>
                <a:gd name="connsiteX81" fmla="*/ 2745127 w 4519987"/>
                <a:gd name="connsiteY81" fmla="*/ 4410075 h 4496940"/>
                <a:gd name="connsiteX82" fmla="*/ 2697502 w 4519987"/>
                <a:gd name="connsiteY82" fmla="*/ 4429125 h 4496940"/>
                <a:gd name="connsiteX83" fmla="*/ 2640352 w 4519987"/>
                <a:gd name="connsiteY83" fmla="*/ 4457700 h 4496940"/>
                <a:gd name="connsiteX84" fmla="*/ 2583202 w 4519987"/>
                <a:gd name="connsiteY84" fmla="*/ 4467225 h 4496940"/>
                <a:gd name="connsiteX85" fmla="*/ 2545102 w 4519987"/>
                <a:gd name="connsiteY85" fmla="*/ 4486275 h 4496940"/>
                <a:gd name="connsiteX86" fmla="*/ 2306977 w 4519987"/>
                <a:gd name="connsiteY86" fmla="*/ 4476750 h 4496940"/>
                <a:gd name="connsiteX87" fmla="*/ 2202202 w 4519987"/>
                <a:gd name="connsiteY87" fmla="*/ 4457700 h 4496940"/>
                <a:gd name="connsiteX88" fmla="*/ 2126002 w 4519987"/>
                <a:gd name="connsiteY88" fmla="*/ 4429125 h 4496940"/>
                <a:gd name="connsiteX89" fmla="*/ 1935502 w 4519987"/>
                <a:gd name="connsiteY89" fmla="*/ 4400550 h 4496940"/>
                <a:gd name="connsiteX90" fmla="*/ 1821202 w 4519987"/>
                <a:gd name="connsiteY90" fmla="*/ 4371975 h 4496940"/>
                <a:gd name="connsiteX91" fmla="*/ 1754527 w 4519987"/>
                <a:gd name="connsiteY91" fmla="*/ 4352925 h 4496940"/>
                <a:gd name="connsiteX92" fmla="*/ 1687852 w 4519987"/>
                <a:gd name="connsiteY92" fmla="*/ 4343400 h 4496940"/>
                <a:gd name="connsiteX93" fmla="*/ 1573552 w 4519987"/>
                <a:gd name="connsiteY93" fmla="*/ 4305300 h 4496940"/>
                <a:gd name="connsiteX94" fmla="*/ 1402102 w 4519987"/>
                <a:gd name="connsiteY94" fmla="*/ 4276725 h 4496940"/>
                <a:gd name="connsiteX95" fmla="*/ 1287802 w 4519987"/>
                <a:gd name="connsiteY95" fmla="*/ 4229100 h 4496940"/>
                <a:gd name="connsiteX96" fmla="*/ 1221127 w 4519987"/>
                <a:gd name="connsiteY96" fmla="*/ 4200525 h 4496940"/>
                <a:gd name="connsiteX97" fmla="*/ 1144927 w 4519987"/>
                <a:gd name="connsiteY97" fmla="*/ 4171950 h 4496940"/>
                <a:gd name="connsiteX98" fmla="*/ 1087777 w 4519987"/>
                <a:gd name="connsiteY98" fmla="*/ 4143375 h 4496940"/>
                <a:gd name="connsiteX99" fmla="*/ 1030627 w 4519987"/>
                <a:gd name="connsiteY99" fmla="*/ 4124325 h 4496940"/>
                <a:gd name="connsiteX100" fmla="*/ 925852 w 4519987"/>
                <a:gd name="connsiteY100" fmla="*/ 4067175 h 4496940"/>
                <a:gd name="connsiteX101" fmla="*/ 830602 w 4519987"/>
                <a:gd name="connsiteY101" fmla="*/ 3981450 h 4496940"/>
                <a:gd name="connsiteX102" fmla="*/ 763927 w 4519987"/>
                <a:gd name="connsiteY102" fmla="*/ 3914775 h 4496940"/>
                <a:gd name="connsiteX103" fmla="*/ 725827 w 4519987"/>
                <a:gd name="connsiteY103" fmla="*/ 3876675 h 4496940"/>
                <a:gd name="connsiteX104" fmla="*/ 697252 w 4519987"/>
                <a:gd name="connsiteY104" fmla="*/ 3838575 h 4496940"/>
                <a:gd name="connsiteX105" fmla="*/ 640102 w 4519987"/>
                <a:gd name="connsiteY105" fmla="*/ 3781425 h 4496940"/>
                <a:gd name="connsiteX106" fmla="*/ 611527 w 4519987"/>
                <a:gd name="connsiteY106" fmla="*/ 3733800 h 4496940"/>
                <a:gd name="connsiteX107" fmla="*/ 554377 w 4519987"/>
                <a:gd name="connsiteY107" fmla="*/ 3657600 h 4496940"/>
                <a:gd name="connsiteX108" fmla="*/ 525802 w 4519987"/>
                <a:gd name="connsiteY108" fmla="*/ 3609975 h 4496940"/>
                <a:gd name="connsiteX109" fmla="*/ 497227 w 4519987"/>
                <a:gd name="connsiteY109" fmla="*/ 3552825 h 4496940"/>
                <a:gd name="connsiteX110" fmla="*/ 440077 w 4519987"/>
                <a:gd name="connsiteY110" fmla="*/ 3495675 h 4496940"/>
                <a:gd name="connsiteX111" fmla="*/ 411502 w 4519987"/>
                <a:gd name="connsiteY111" fmla="*/ 3448050 h 4496940"/>
                <a:gd name="connsiteX112" fmla="*/ 278152 w 4519987"/>
                <a:gd name="connsiteY112" fmla="*/ 3257550 h 4496940"/>
                <a:gd name="connsiteX113" fmla="*/ 249577 w 4519987"/>
                <a:gd name="connsiteY113" fmla="*/ 3200400 h 4496940"/>
                <a:gd name="connsiteX114" fmla="*/ 240052 w 4519987"/>
                <a:gd name="connsiteY114" fmla="*/ 3162300 h 4496940"/>
                <a:gd name="connsiteX115" fmla="*/ 221002 w 4519987"/>
                <a:gd name="connsiteY115" fmla="*/ 3105150 h 4496940"/>
                <a:gd name="connsiteX116" fmla="*/ 173377 w 4519987"/>
                <a:gd name="connsiteY116" fmla="*/ 3019425 h 4496940"/>
                <a:gd name="connsiteX117" fmla="*/ 144802 w 4519987"/>
                <a:gd name="connsiteY117" fmla="*/ 2924175 h 4496940"/>
                <a:gd name="connsiteX118" fmla="*/ 68602 w 4519987"/>
                <a:gd name="connsiteY118" fmla="*/ 2724150 h 4496940"/>
                <a:gd name="connsiteX119" fmla="*/ 49552 w 4519987"/>
                <a:gd name="connsiteY119" fmla="*/ 2638425 h 4496940"/>
                <a:gd name="connsiteX120" fmla="*/ 40027 w 4519987"/>
                <a:gd name="connsiteY120" fmla="*/ 2562225 h 4496940"/>
                <a:gd name="connsiteX121" fmla="*/ 30502 w 4519987"/>
                <a:gd name="connsiteY121" fmla="*/ 2514600 h 4496940"/>
                <a:gd name="connsiteX122" fmla="*/ 11452 w 4519987"/>
                <a:gd name="connsiteY122" fmla="*/ 2400300 h 4496940"/>
                <a:gd name="connsiteX123" fmla="*/ 20977 w 4519987"/>
                <a:gd name="connsiteY123" fmla="*/ 1905000 h 4496940"/>
                <a:gd name="connsiteX124" fmla="*/ 30502 w 4519987"/>
                <a:gd name="connsiteY124" fmla="*/ 1838325 h 4496940"/>
                <a:gd name="connsiteX125" fmla="*/ 49552 w 4519987"/>
                <a:gd name="connsiteY125" fmla="*/ 1781175 h 4496940"/>
                <a:gd name="connsiteX126" fmla="*/ 59077 w 4519987"/>
                <a:gd name="connsiteY126" fmla="*/ 1743075 h 4496940"/>
                <a:gd name="connsiteX127" fmla="*/ 78127 w 4519987"/>
                <a:gd name="connsiteY127" fmla="*/ 1685925 h 4496940"/>
                <a:gd name="connsiteX128" fmla="*/ 87652 w 4519987"/>
                <a:gd name="connsiteY128" fmla="*/ 1638300 h 4496940"/>
                <a:gd name="connsiteX129" fmla="*/ 106702 w 4519987"/>
                <a:gd name="connsiteY129" fmla="*/ 1590675 h 4496940"/>
                <a:gd name="connsiteX130" fmla="*/ 135277 w 4519987"/>
                <a:gd name="connsiteY130" fmla="*/ 1504950 h 4496940"/>
                <a:gd name="connsiteX131" fmla="*/ 154327 w 4519987"/>
                <a:gd name="connsiteY131" fmla="*/ 1419225 h 4496940"/>
                <a:gd name="connsiteX132" fmla="*/ 230527 w 4519987"/>
                <a:gd name="connsiteY132" fmla="*/ 1276350 h 4496940"/>
                <a:gd name="connsiteX133" fmla="*/ 240052 w 4519987"/>
                <a:gd name="connsiteY133" fmla="*/ 1247775 h 4496940"/>
                <a:gd name="connsiteX134" fmla="*/ 268627 w 4519987"/>
                <a:gd name="connsiteY134" fmla="*/ 1200150 h 4496940"/>
                <a:gd name="connsiteX135" fmla="*/ 287677 w 4519987"/>
                <a:gd name="connsiteY135" fmla="*/ 1152525 h 4496940"/>
                <a:gd name="connsiteX136" fmla="*/ 316252 w 4519987"/>
                <a:gd name="connsiteY136" fmla="*/ 1114425 h 4496940"/>
                <a:gd name="connsiteX137" fmla="*/ 363877 w 4519987"/>
                <a:gd name="connsiteY137" fmla="*/ 1038225 h 4496940"/>
                <a:gd name="connsiteX138" fmla="*/ 382927 w 4519987"/>
                <a:gd name="connsiteY138" fmla="*/ 1009650 h 4496940"/>
                <a:gd name="connsiteX139" fmla="*/ 440077 w 4519987"/>
                <a:gd name="connsiteY139" fmla="*/ 904875 h 4496940"/>
                <a:gd name="connsiteX140" fmla="*/ 478177 w 4519987"/>
                <a:gd name="connsiteY140" fmla="*/ 857250 h 4496940"/>
                <a:gd name="connsiteX141" fmla="*/ 497227 w 4519987"/>
                <a:gd name="connsiteY141" fmla="*/ 828675 h 4496940"/>
                <a:gd name="connsiteX142" fmla="*/ 535327 w 4519987"/>
                <a:gd name="connsiteY142" fmla="*/ 800100 h 4496940"/>
                <a:gd name="connsiteX143" fmla="*/ 602002 w 4519987"/>
                <a:gd name="connsiteY143" fmla="*/ 733425 h 4496940"/>
                <a:gd name="connsiteX144" fmla="*/ 668677 w 4519987"/>
                <a:gd name="connsiteY144" fmla="*/ 676275 h 4496940"/>
                <a:gd name="connsiteX145" fmla="*/ 697252 w 4519987"/>
                <a:gd name="connsiteY145" fmla="*/ 657225 h 4496940"/>
                <a:gd name="connsiteX146" fmla="*/ 840127 w 4519987"/>
                <a:gd name="connsiteY146" fmla="*/ 533400 h 4496940"/>
                <a:gd name="connsiteX147" fmla="*/ 887752 w 4519987"/>
                <a:gd name="connsiteY147" fmla="*/ 504825 h 4496940"/>
                <a:gd name="connsiteX148" fmla="*/ 1167152 w 4519987"/>
                <a:gd name="connsiteY148" fmla="*/ 311150 h 4496940"/>
                <a:gd name="connsiteX149" fmla="*/ 1268752 w 4519987"/>
                <a:gd name="connsiteY149" fmla="*/ 285750 h 4496940"/>
                <a:gd name="connsiteX150" fmla="*/ 1411627 w 4519987"/>
                <a:gd name="connsiteY150" fmla="*/ 190500 h 4496940"/>
                <a:gd name="connsiteX151" fmla="*/ 1449727 w 4519987"/>
                <a:gd name="connsiteY151" fmla="*/ 161925 h 4496940"/>
                <a:gd name="connsiteX152" fmla="*/ 1525927 w 4519987"/>
                <a:gd name="connsiteY152" fmla="*/ 152400 h 4496940"/>
                <a:gd name="connsiteX153" fmla="*/ 1583077 w 4519987"/>
                <a:gd name="connsiteY153" fmla="*/ 142875 h 4496940"/>
                <a:gd name="connsiteX154" fmla="*/ 1716427 w 4519987"/>
                <a:gd name="connsiteY154" fmla="*/ 123825 h 4496940"/>
                <a:gd name="connsiteX155" fmla="*/ 1811677 w 4519987"/>
                <a:gd name="connsiteY155" fmla="*/ 114300 h 4496940"/>
                <a:gd name="connsiteX156" fmla="*/ 1859302 w 4519987"/>
                <a:gd name="connsiteY156" fmla="*/ 104775 h 4496940"/>
                <a:gd name="connsiteX157" fmla="*/ 1916452 w 4519987"/>
                <a:gd name="connsiteY157" fmla="*/ 95250 h 4496940"/>
                <a:gd name="connsiteX158" fmla="*/ 2030752 w 4519987"/>
                <a:gd name="connsiteY158" fmla="*/ 66675 h 4496940"/>
                <a:gd name="connsiteX159" fmla="*/ 2097427 w 4519987"/>
                <a:gd name="connsiteY159" fmla="*/ 47625 h 4496940"/>
                <a:gd name="connsiteX160" fmla="*/ 2164102 w 4519987"/>
                <a:gd name="connsiteY160" fmla="*/ 38100 h 4496940"/>
                <a:gd name="connsiteX161" fmla="*/ 2392702 w 4519987"/>
                <a:gd name="connsiteY16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354852 w 4519987"/>
                <a:gd name="connsiteY49" fmla="*/ 3057525 h 4496940"/>
                <a:gd name="connsiteX50" fmla="*/ 4278652 w 4519987"/>
                <a:gd name="connsiteY50" fmla="*/ 3248025 h 4496940"/>
                <a:gd name="connsiteX51" fmla="*/ 4259602 w 4519987"/>
                <a:gd name="connsiteY51" fmla="*/ 3276600 h 4496940"/>
                <a:gd name="connsiteX52" fmla="*/ 4221502 w 4519987"/>
                <a:gd name="connsiteY52" fmla="*/ 3333750 h 4496940"/>
                <a:gd name="connsiteX53" fmla="*/ 4211977 w 4519987"/>
                <a:gd name="connsiteY53" fmla="*/ 3362325 h 4496940"/>
                <a:gd name="connsiteX54" fmla="*/ 4183402 w 4519987"/>
                <a:gd name="connsiteY54" fmla="*/ 3400425 h 4496940"/>
                <a:gd name="connsiteX55" fmla="*/ 4164352 w 4519987"/>
                <a:gd name="connsiteY55" fmla="*/ 3429000 h 4496940"/>
                <a:gd name="connsiteX56" fmla="*/ 4088152 w 4519987"/>
                <a:gd name="connsiteY56" fmla="*/ 3495675 h 4496940"/>
                <a:gd name="connsiteX57" fmla="*/ 4059577 w 4519987"/>
                <a:gd name="connsiteY57" fmla="*/ 3533775 h 4496940"/>
                <a:gd name="connsiteX58" fmla="*/ 4002427 w 4519987"/>
                <a:gd name="connsiteY58" fmla="*/ 3600450 h 4496940"/>
                <a:gd name="connsiteX59" fmla="*/ 3983377 w 4519987"/>
                <a:gd name="connsiteY59" fmla="*/ 3629025 h 4496940"/>
                <a:gd name="connsiteX60" fmla="*/ 3954802 w 4519987"/>
                <a:gd name="connsiteY60" fmla="*/ 3648075 h 4496940"/>
                <a:gd name="connsiteX61" fmla="*/ 3907177 w 4519987"/>
                <a:gd name="connsiteY61" fmla="*/ 3686175 h 4496940"/>
                <a:gd name="connsiteX62" fmla="*/ 3869077 w 4519987"/>
                <a:gd name="connsiteY62" fmla="*/ 3724275 h 4496940"/>
                <a:gd name="connsiteX63" fmla="*/ 3792877 w 4519987"/>
                <a:gd name="connsiteY63" fmla="*/ 3781425 h 4496940"/>
                <a:gd name="connsiteX64" fmla="*/ 3783352 w 4519987"/>
                <a:gd name="connsiteY64" fmla="*/ 3810000 h 4496940"/>
                <a:gd name="connsiteX65" fmla="*/ 3745252 w 4519987"/>
                <a:gd name="connsiteY65" fmla="*/ 3819525 h 4496940"/>
                <a:gd name="connsiteX66" fmla="*/ 3678577 w 4519987"/>
                <a:gd name="connsiteY66" fmla="*/ 3848100 h 4496940"/>
                <a:gd name="connsiteX67" fmla="*/ 3659527 w 4519987"/>
                <a:gd name="connsiteY67" fmla="*/ 3971925 h 4496940"/>
                <a:gd name="connsiteX68" fmla="*/ 3630952 w 4519987"/>
                <a:gd name="connsiteY68" fmla="*/ 4010025 h 4496940"/>
                <a:gd name="connsiteX69" fmla="*/ 3621427 w 4519987"/>
                <a:gd name="connsiteY69" fmla="*/ 4038600 h 4496940"/>
                <a:gd name="connsiteX70" fmla="*/ 3554752 w 4519987"/>
                <a:gd name="connsiteY70" fmla="*/ 4095750 h 4496940"/>
                <a:gd name="connsiteX71" fmla="*/ 3516652 w 4519987"/>
                <a:gd name="connsiteY71" fmla="*/ 4114800 h 4496940"/>
                <a:gd name="connsiteX72" fmla="*/ 3497602 w 4519987"/>
                <a:gd name="connsiteY72" fmla="*/ 4143375 h 4496940"/>
                <a:gd name="connsiteX73" fmla="*/ 3383302 w 4519987"/>
                <a:gd name="connsiteY73" fmla="*/ 4210050 h 4496940"/>
                <a:gd name="connsiteX74" fmla="*/ 3335677 w 4519987"/>
                <a:gd name="connsiteY74" fmla="*/ 4238625 h 4496940"/>
                <a:gd name="connsiteX75" fmla="*/ 3288052 w 4519987"/>
                <a:gd name="connsiteY75" fmla="*/ 4248150 h 4496940"/>
                <a:gd name="connsiteX76" fmla="*/ 3240427 w 4519987"/>
                <a:gd name="connsiteY76" fmla="*/ 4267200 h 4496940"/>
                <a:gd name="connsiteX77" fmla="*/ 3068977 w 4519987"/>
                <a:gd name="connsiteY77" fmla="*/ 4286250 h 4496940"/>
                <a:gd name="connsiteX78" fmla="*/ 2935627 w 4519987"/>
                <a:gd name="connsiteY78" fmla="*/ 4333875 h 4496940"/>
                <a:gd name="connsiteX79" fmla="*/ 2811802 w 4519987"/>
                <a:gd name="connsiteY79" fmla="*/ 4371975 h 4496940"/>
                <a:gd name="connsiteX80" fmla="*/ 2745127 w 4519987"/>
                <a:gd name="connsiteY80" fmla="*/ 4410075 h 4496940"/>
                <a:gd name="connsiteX81" fmla="*/ 2697502 w 4519987"/>
                <a:gd name="connsiteY81" fmla="*/ 4429125 h 4496940"/>
                <a:gd name="connsiteX82" fmla="*/ 2640352 w 4519987"/>
                <a:gd name="connsiteY82" fmla="*/ 4457700 h 4496940"/>
                <a:gd name="connsiteX83" fmla="*/ 2583202 w 4519987"/>
                <a:gd name="connsiteY83" fmla="*/ 4467225 h 4496940"/>
                <a:gd name="connsiteX84" fmla="*/ 2545102 w 4519987"/>
                <a:gd name="connsiteY84" fmla="*/ 4486275 h 4496940"/>
                <a:gd name="connsiteX85" fmla="*/ 2306977 w 4519987"/>
                <a:gd name="connsiteY85" fmla="*/ 4476750 h 4496940"/>
                <a:gd name="connsiteX86" fmla="*/ 2202202 w 4519987"/>
                <a:gd name="connsiteY86" fmla="*/ 4457700 h 4496940"/>
                <a:gd name="connsiteX87" fmla="*/ 2126002 w 4519987"/>
                <a:gd name="connsiteY87" fmla="*/ 4429125 h 4496940"/>
                <a:gd name="connsiteX88" fmla="*/ 1935502 w 4519987"/>
                <a:gd name="connsiteY88" fmla="*/ 4400550 h 4496940"/>
                <a:gd name="connsiteX89" fmla="*/ 1821202 w 4519987"/>
                <a:gd name="connsiteY89" fmla="*/ 4371975 h 4496940"/>
                <a:gd name="connsiteX90" fmla="*/ 1754527 w 4519987"/>
                <a:gd name="connsiteY90" fmla="*/ 4352925 h 4496940"/>
                <a:gd name="connsiteX91" fmla="*/ 1687852 w 4519987"/>
                <a:gd name="connsiteY91" fmla="*/ 4343400 h 4496940"/>
                <a:gd name="connsiteX92" fmla="*/ 1573552 w 4519987"/>
                <a:gd name="connsiteY92" fmla="*/ 4305300 h 4496940"/>
                <a:gd name="connsiteX93" fmla="*/ 1402102 w 4519987"/>
                <a:gd name="connsiteY93" fmla="*/ 4276725 h 4496940"/>
                <a:gd name="connsiteX94" fmla="*/ 1287802 w 4519987"/>
                <a:gd name="connsiteY94" fmla="*/ 4229100 h 4496940"/>
                <a:gd name="connsiteX95" fmla="*/ 1221127 w 4519987"/>
                <a:gd name="connsiteY95" fmla="*/ 4200525 h 4496940"/>
                <a:gd name="connsiteX96" fmla="*/ 1144927 w 4519987"/>
                <a:gd name="connsiteY96" fmla="*/ 4171950 h 4496940"/>
                <a:gd name="connsiteX97" fmla="*/ 1087777 w 4519987"/>
                <a:gd name="connsiteY97" fmla="*/ 4143375 h 4496940"/>
                <a:gd name="connsiteX98" fmla="*/ 1030627 w 4519987"/>
                <a:gd name="connsiteY98" fmla="*/ 4124325 h 4496940"/>
                <a:gd name="connsiteX99" fmla="*/ 925852 w 4519987"/>
                <a:gd name="connsiteY99" fmla="*/ 4067175 h 4496940"/>
                <a:gd name="connsiteX100" fmla="*/ 830602 w 4519987"/>
                <a:gd name="connsiteY100" fmla="*/ 3981450 h 4496940"/>
                <a:gd name="connsiteX101" fmla="*/ 763927 w 4519987"/>
                <a:gd name="connsiteY101" fmla="*/ 3914775 h 4496940"/>
                <a:gd name="connsiteX102" fmla="*/ 725827 w 4519987"/>
                <a:gd name="connsiteY102" fmla="*/ 3876675 h 4496940"/>
                <a:gd name="connsiteX103" fmla="*/ 697252 w 4519987"/>
                <a:gd name="connsiteY103" fmla="*/ 3838575 h 4496940"/>
                <a:gd name="connsiteX104" fmla="*/ 640102 w 4519987"/>
                <a:gd name="connsiteY104" fmla="*/ 3781425 h 4496940"/>
                <a:gd name="connsiteX105" fmla="*/ 611527 w 4519987"/>
                <a:gd name="connsiteY105" fmla="*/ 3733800 h 4496940"/>
                <a:gd name="connsiteX106" fmla="*/ 554377 w 4519987"/>
                <a:gd name="connsiteY106" fmla="*/ 3657600 h 4496940"/>
                <a:gd name="connsiteX107" fmla="*/ 525802 w 4519987"/>
                <a:gd name="connsiteY107" fmla="*/ 3609975 h 4496940"/>
                <a:gd name="connsiteX108" fmla="*/ 497227 w 4519987"/>
                <a:gd name="connsiteY108" fmla="*/ 3552825 h 4496940"/>
                <a:gd name="connsiteX109" fmla="*/ 440077 w 4519987"/>
                <a:gd name="connsiteY109" fmla="*/ 3495675 h 4496940"/>
                <a:gd name="connsiteX110" fmla="*/ 411502 w 4519987"/>
                <a:gd name="connsiteY110" fmla="*/ 3448050 h 4496940"/>
                <a:gd name="connsiteX111" fmla="*/ 278152 w 4519987"/>
                <a:gd name="connsiteY111" fmla="*/ 3257550 h 4496940"/>
                <a:gd name="connsiteX112" fmla="*/ 249577 w 4519987"/>
                <a:gd name="connsiteY112" fmla="*/ 3200400 h 4496940"/>
                <a:gd name="connsiteX113" fmla="*/ 240052 w 4519987"/>
                <a:gd name="connsiteY113" fmla="*/ 3162300 h 4496940"/>
                <a:gd name="connsiteX114" fmla="*/ 221002 w 4519987"/>
                <a:gd name="connsiteY114" fmla="*/ 3105150 h 4496940"/>
                <a:gd name="connsiteX115" fmla="*/ 173377 w 4519987"/>
                <a:gd name="connsiteY115" fmla="*/ 3019425 h 4496940"/>
                <a:gd name="connsiteX116" fmla="*/ 144802 w 4519987"/>
                <a:gd name="connsiteY116" fmla="*/ 2924175 h 4496940"/>
                <a:gd name="connsiteX117" fmla="*/ 68602 w 4519987"/>
                <a:gd name="connsiteY117" fmla="*/ 2724150 h 4496940"/>
                <a:gd name="connsiteX118" fmla="*/ 49552 w 4519987"/>
                <a:gd name="connsiteY118" fmla="*/ 2638425 h 4496940"/>
                <a:gd name="connsiteX119" fmla="*/ 40027 w 4519987"/>
                <a:gd name="connsiteY119" fmla="*/ 2562225 h 4496940"/>
                <a:gd name="connsiteX120" fmla="*/ 30502 w 4519987"/>
                <a:gd name="connsiteY120" fmla="*/ 2514600 h 4496940"/>
                <a:gd name="connsiteX121" fmla="*/ 11452 w 4519987"/>
                <a:gd name="connsiteY121" fmla="*/ 2400300 h 4496940"/>
                <a:gd name="connsiteX122" fmla="*/ 20977 w 4519987"/>
                <a:gd name="connsiteY122" fmla="*/ 1905000 h 4496940"/>
                <a:gd name="connsiteX123" fmla="*/ 30502 w 4519987"/>
                <a:gd name="connsiteY123" fmla="*/ 1838325 h 4496940"/>
                <a:gd name="connsiteX124" fmla="*/ 49552 w 4519987"/>
                <a:gd name="connsiteY124" fmla="*/ 1781175 h 4496940"/>
                <a:gd name="connsiteX125" fmla="*/ 59077 w 4519987"/>
                <a:gd name="connsiteY125" fmla="*/ 1743075 h 4496940"/>
                <a:gd name="connsiteX126" fmla="*/ 78127 w 4519987"/>
                <a:gd name="connsiteY126" fmla="*/ 1685925 h 4496940"/>
                <a:gd name="connsiteX127" fmla="*/ 87652 w 4519987"/>
                <a:gd name="connsiteY127" fmla="*/ 1638300 h 4496940"/>
                <a:gd name="connsiteX128" fmla="*/ 106702 w 4519987"/>
                <a:gd name="connsiteY128" fmla="*/ 1590675 h 4496940"/>
                <a:gd name="connsiteX129" fmla="*/ 135277 w 4519987"/>
                <a:gd name="connsiteY129" fmla="*/ 1504950 h 4496940"/>
                <a:gd name="connsiteX130" fmla="*/ 154327 w 4519987"/>
                <a:gd name="connsiteY130" fmla="*/ 1419225 h 4496940"/>
                <a:gd name="connsiteX131" fmla="*/ 230527 w 4519987"/>
                <a:gd name="connsiteY131" fmla="*/ 1276350 h 4496940"/>
                <a:gd name="connsiteX132" fmla="*/ 240052 w 4519987"/>
                <a:gd name="connsiteY132" fmla="*/ 1247775 h 4496940"/>
                <a:gd name="connsiteX133" fmla="*/ 268627 w 4519987"/>
                <a:gd name="connsiteY133" fmla="*/ 1200150 h 4496940"/>
                <a:gd name="connsiteX134" fmla="*/ 287677 w 4519987"/>
                <a:gd name="connsiteY134" fmla="*/ 1152525 h 4496940"/>
                <a:gd name="connsiteX135" fmla="*/ 316252 w 4519987"/>
                <a:gd name="connsiteY135" fmla="*/ 1114425 h 4496940"/>
                <a:gd name="connsiteX136" fmla="*/ 363877 w 4519987"/>
                <a:gd name="connsiteY136" fmla="*/ 1038225 h 4496940"/>
                <a:gd name="connsiteX137" fmla="*/ 382927 w 4519987"/>
                <a:gd name="connsiteY137" fmla="*/ 1009650 h 4496940"/>
                <a:gd name="connsiteX138" fmla="*/ 440077 w 4519987"/>
                <a:gd name="connsiteY138" fmla="*/ 904875 h 4496940"/>
                <a:gd name="connsiteX139" fmla="*/ 478177 w 4519987"/>
                <a:gd name="connsiteY139" fmla="*/ 857250 h 4496940"/>
                <a:gd name="connsiteX140" fmla="*/ 497227 w 4519987"/>
                <a:gd name="connsiteY140" fmla="*/ 828675 h 4496940"/>
                <a:gd name="connsiteX141" fmla="*/ 535327 w 4519987"/>
                <a:gd name="connsiteY141" fmla="*/ 800100 h 4496940"/>
                <a:gd name="connsiteX142" fmla="*/ 602002 w 4519987"/>
                <a:gd name="connsiteY142" fmla="*/ 733425 h 4496940"/>
                <a:gd name="connsiteX143" fmla="*/ 668677 w 4519987"/>
                <a:gd name="connsiteY143" fmla="*/ 676275 h 4496940"/>
                <a:gd name="connsiteX144" fmla="*/ 697252 w 4519987"/>
                <a:gd name="connsiteY144" fmla="*/ 657225 h 4496940"/>
                <a:gd name="connsiteX145" fmla="*/ 840127 w 4519987"/>
                <a:gd name="connsiteY145" fmla="*/ 533400 h 4496940"/>
                <a:gd name="connsiteX146" fmla="*/ 887752 w 4519987"/>
                <a:gd name="connsiteY146" fmla="*/ 504825 h 4496940"/>
                <a:gd name="connsiteX147" fmla="*/ 1167152 w 4519987"/>
                <a:gd name="connsiteY147" fmla="*/ 311150 h 4496940"/>
                <a:gd name="connsiteX148" fmla="*/ 1268752 w 4519987"/>
                <a:gd name="connsiteY148" fmla="*/ 285750 h 4496940"/>
                <a:gd name="connsiteX149" fmla="*/ 1411627 w 4519987"/>
                <a:gd name="connsiteY149" fmla="*/ 190500 h 4496940"/>
                <a:gd name="connsiteX150" fmla="*/ 1449727 w 4519987"/>
                <a:gd name="connsiteY150" fmla="*/ 161925 h 4496940"/>
                <a:gd name="connsiteX151" fmla="*/ 1525927 w 4519987"/>
                <a:gd name="connsiteY151" fmla="*/ 152400 h 4496940"/>
                <a:gd name="connsiteX152" fmla="*/ 1583077 w 4519987"/>
                <a:gd name="connsiteY152" fmla="*/ 142875 h 4496940"/>
                <a:gd name="connsiteX153" fmla="*/ 1716427 w 4519987"/>
                <a:gd name="connsiteY153" fmla="*/ 123825 h 4496940"/>
                <a:gd name="connsiteX154" fmla="*/ 1811677 w 4519987"/>
                <a:gd name="connsiteY154" fmla="*/ 114300 h 4496940"/>
                <a:gd name="connsiteX155" fmla="*/ 1859302 w 4519987"/>
                <a:gd name="connsiteY155" fmla="*/ 104775 h 4496940"/>
                <a:gd name="connsiteX156" fmla="*/ 1916452 w 4519987"/>
                <a:gd name="connsiteY156" fmla="*/ 95250 h 4496940"/>
                <a:gd name="connsiteX157" fmla="*/ 2030752 w 4519987"/>
                <a:gd name="connsiteY157" fmla="*/ 66675 h 4496940"/>
                <a:gd name="connsiteX158" fmla="*/ 2097427 w 4519987"/>
                <a:gd name="connsiteY158" fmla="*/ 47625 h 4496940"/>
                <a:gd name="connsiteX159" fmla="*/ 2164102 w 4519987"/>
                <a:gd name="connsiteY159" fmla="*/ 38100 h 4496940"/>
                <a:gd name="connsiteX160" fmla="*/ 2392702 w 4519987"/>
                <a:gd name="connsiteY16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3992902 w 4519987"/>
                <a:gd name="connsiteY28" fmla="*/ 714375 h 4496940"/>
                <a:gd name="connsiteX29" fmla="*/ 4050052 w 4519987"/>
                <a:gd name="connsiteY29" fmla="*/ 790575 h 4496940"/>
                <a:gd name="connsiteX30" fmla="*/ 4078627 w 4519987"/>
                <a:gd name="connsiteY30" fmla="*/ 838200 h 4496940"/>
                <a:gd name="connsiteX31" fmla="*/ 4107202 w 4519987"/>
                <a:gd name="connsiteY31" fmla="*/ 876300 h 4496940"/>
                <a:gd name="connsiteX32" fmla="*/ 4116727 w 4519987"/>
                <a:gd name="connsiteY32" fmla="*/ 904875 h 4496940"/>
                <a:gd name="connsiteX33" fmla="*/ 4135777 w 4519987"/>
                <a:gd name="connsiteY33" fmla="*/ 933450 h 4496940"/>
                <a:gd name="connsiteX34" fmla="*/ 4164352 w 4519987"/>
                <a:gd name="connsiteY34" fmla="*/ 990600 h 4496940"/>
                <a:gd name="connsiteX35" fmla="*/ 4173877 w 4519987"/>
                <a:gd name="connsiteY35" fmla="*/ 1019175 h 4496940"/>
                <a:gd name="connsiteX36" fmla="*/ 4192927 w 4519987"/>
                <a:gd name="connsiteY36" fmla="*/ 1057275 h 4496940"/>
                <a:gd name="connsiteX37" fmla="*/ 4202452 w 4519987"/>
                <a:gd name="connsiteY37" fmla="*/ 1085850 h 4496940"/>
                <a:gd name="connsiteX38" fmla="*/ 4250077 w 4519987"/>
                <a:gd name="connsiteY38" fmla="*/ 1143000 h 4496940"/>
                <a:gd name="connsiteX39" fmla="*/ 4259602 w 4519987"/>
                <a:gd name="connsiteY39" fmla="*/ 1190625 h 4496940"/>
                <a:gd name="connsiteX40" fmla="*/ 4307227 w 4519987"/>
                <a:gd name="connsiteY40" fmla="*/ 1266825 h 4496940"/>
                <a:gd name="connsiteX41" fmla="*/ 4345327 w 4519987"/>
                <a:gd name="connsiteY41" fmla="*/ 1362075 h 4496940"/>
                <a:gd name="connsiteX42" fmla="*/ 4373902 w 4519987"/>
                <a:gd name="connsiteY42" fmla="*/ 1428750 h 4496940"/>
                <a:gd name="connsiteX43" fmla="*/ 4392952 w 4519987"/>
                <a:gd name="connsiteY43" fmla="*/ 1552575 h 4496940"/>
                <a:gd name="connsiteX44" fmla="*/ 4402477 w 4519987"/>
                <a:gd name="connsiteY44" fmla="*/ 1590675 h 4496940"/>
                <a:gd name="connsiteX45" fmla="*/ 4431052 w 4519987"/>
                <a:gd name="connsiteY45" fmla="*/ 1685925 h 4496940"/>
                <a:gd name="connsiteX46" fmla="*/ 4519952 w 4519987"/>
                <a:gd name="connsiteY46" fmla="*/ 2181225 h 4496940"/>
                <a:gd name="connsiteX47" fmla="*/ 4446927 w 4519987"/>
                <a:gd name="connsiteY47" fmla="*/ 2768600 h 4496940"/>
                <a:gd name="connsiteX48" fmla="*/ 4383427 w 4519987"/>
                <a:gd name="connsiteY48" fmla="*/ 2990850 h 4496940"/>
                <a:gd name="connsiteX49" fmla="*/ 4278652 w 4519987"/>
                <a:gd name="connsiteY49" fmla="*/ 3248025 h 4496940"/>
                <a:gd name="connsiteX50" fmla="*/ 4259602 w 4519987"/>
                <a:gd name="connsiteY50" fmla="*/ 3276600 h 4496940"/>
                <a:gd name="connsiteX51" fmla="*/ 4221502 w 4519987"/>
                <a:gd name="connsiteY51" fmla="*/ 3333750 h 4496940"/>
                <a:gd name="connsiteX52" fmla="*/ 4211977 w 4519987"/>
                <a:gd name="connsiteY52" fmla="*/ 3362325 h 4496940"/>
                <a:gd name="connsiteX53" fmla="*/ 4183402 w 4519987"/>
                <a:gd name="connsiteY53" fmla="*/ 3400425 h 4496940"/>
                <a:gd name="connsiteX54" fmla="*/ 4164352 w 4519987"/>
                <a:gd name="connsiteY54" fmla="*/ 3429000 h 4496940"/>
                <a:gd name="connsiteX55" fmla="*/ 4088152 w 4519987"/>
                <a:gd name="connsiteY55" fmla="*/ 3495675 h 4496940"/>
                <a:gd name="connsiteX56" fmla="*/ 4059577 w 4519987"/>
                <a:gd name="connsiteY56" fmla="*/ 3533775 h 4496940"/>
                <a:gd name="connsiteX57" fmla="*/ 4002427 w 4519987"/>
                <a:gd name="connsiteY57" fmla="*/ 3600450 h 4496940"/>
                <a:gd name="connsiteX58" fmla="*/ 3983377 w 4519987"/>
                <a:gd name="connsiteY58" fmla="*/ 3629025 h 4496940"/>
                <a:gd name="connsiteX59" fmla="*/ 3954802 w 4519987"/>
                <a:gd name="connsiteY59" fmla="*/ 3648075 h 4496940"/>
                <a:gd name="connsiteX60" fmla="*/ 3907177 w 4519987"/>
                <a:gd name="connsiteY60" fmla="*/ 3686175 h 4496940"/>
                <a:gd name="connsiteX61" fmla="*/ 3869077 w 4519987"/>
                <a:gd name="connsiteY61" fmla="*/ 3724275 h 4496940"/>
                <a:gd name="connsiteX62" fmla="*/ 3792877 w 4519987"/>
                <a:gd name="connsiteY62" fmla="*/ 3781425 h 4496940"/>
                <a:gd name="connsiteX63" fmla="*/ 3783352 w 4519987"/>
                <a:gd name="connsiteY63" fmla="*/ 3810000 h 4496940"/>
                <a:gd name="connsiteX64" fmla="*/ 3745252 w 4519987"/>
                <a:gd name="connsiteY64" fmla="*/ 3819525 h 4496940"/>
                <a:gd name="connsiteX65" fmla="*/ 3678577 w 4519987"/>
                <a:gd name="connsiteY65" fmla="*/ 3848100 h 4496940"/>
                <a:gd name="connsiteX66" fmla="*/ 3659527 w 4519987"/>
                <a:gd name="connsiteY66" fmla="*/ 3971925 h 4496940"/>
                <a:gd name="connsiteX67" fmla="*/ 3630952 w 4519987"/>
                <a:gd name="connsiteY67" fmla="*/ 4010025 h 4496940"/>
                <a:gd name="connsiteX68" fmla="*/ 3621427 w 4519987"/>
                <a:gd name="connsiteY68" fmla="*/ 4038600 h 4496940"/>
                <a:gd name="connsiteX69" fmla="*/ 3554752 w 4519987"/>
                <a:gd name="connsiteY69" fmla="*/ 4095750 h 4496940"/>
                <a:gd name="connsiteX70" fmla="*/ 3516652 w 4519987"/>
                <a:gd name="connsiteY70" fmla="*/ 4114800 h 4496940"/>
                <a:gd name="connsiteX71" fmla="*/ 3497602 w 4519987"/>
                <a:gd name="connsiteY71" fmla="*/ 4143375 h 4496940"/>
                <a:gd name="connsiteX72" fmla="*/ 3383302 w 4519987"/>
                <a:gd name="connsiteY72" fmla="*/ 4210050 h 4496940"/>
                <a:gd name="connsiteX73" fmla="*/ 3335677 w 4519987"/>
                <a:gd name="connsiteY73" fmla="*/ 4238625 h 4496940"/>
                <a:gd name="connsiteX74" fmla="*/ 3288052 w 4519987"/>
                <a:gd name="connsiteY74" fmla="*/ 4248150 h 4496940"/>
                <a:gd name="connsiteX75" fmla="*/ 3240427 w 4519987"/>
                <a:gd name="connsiteY75" fmla="*/ 4267200 h 4496940"/>
                <a:gd name="connsiteX76" fmla="*/ 3068977 w 4519987"/>
                <a:gd name="connsiteY76" fmla="*/ 4286250 h 4496940"/>
                <a:gd name="connsiteX77" fmla="*/ 2935627 w 4519987"/>
                <a:gd name="connsiteY77" fmla="*/ 4333875 h 4496940"/>
                <a:gd name="connsiteX78" fmla="*/ 2811802 w 4519987"/>
                <a:gd name="connsiteY78" fmla="*/ 4371975 h 4496940"/>
                <a:gd name="connsiteX79" fmla="*/ 2745127 w 4519987"/>
                <a:gd name="connsiteY79" fmla="*/ 4410075 h 4496940"/>
                <a:gd name="connsiteX80" fmla="*/ 2697502 w 4519987"/>
                <a:gd name="connsiteY80" fmla="*/ 4429125 h 4496940"/>
                <a:gd name="connsiteX81" fmla="*/ 2640352 w 4519987"/>
                <a:gd name="connsiteY81" fmla="*/ 4457700 h 4496940"/>
                <a:gd name="connsiteX82" fmla="*/ 2583202 w 4519987"/>
                <a:gd name="connsiteY82" fmla="*/ 4467225 h 4496940"/>
                <a:gd name="connsiteX83" fmla="*/ 2545102 w 4519987"/>
                <a:gd name="connsiteY83" fmla="*/ 4486275 h 4496940"/>
                <a:gd name="connsiteX84" fmla="*/ 2306977 w 4519987"/>
                <a:gd name="connsiteY84" fmla="*/ 4476750 h 4496940"/>
                <a:gd name="connsiteX85" fmla="*/ 2202202 w 4519987"/>
                <a:gd name="connsiteY85" fmla="*/ 4457700 h 4496940"/>
                <a:gd name="connsiteX86" fmla="*/ 2126002 w 4519987"/>
                <a:gd name="connsiteY86" fmla="*/ 4429125 h 4496940"/>
                <a:gd name="connsiteX87" fmla="*/ 1935502 w 4519987"/>
                <a:gd name="connsiteY87" fmla="*/ 4400550 h 4496940"/>
                <a:gd name="connsiteX88" fmla="*/ 1821202 w 4519987"/>
                <a:gd name="connsiteY88" fmla="*/ 4371975 h 4496940"/>
                <a:gd name="connsiteX89" fmla="*/ 1754527 w 4519987"/>
                <a:gd name="connsiteY89" fmla="*/ 4352925 h 4496940"/>
                <a:gd name="connsiteX90" fmla="*/ 1687852 w 4519987"/>
                <a:gd name="connsiteY90" fmla="*/ 4343400 h 4496940"/>
                <a:gd name="connsiteX91" fmla="*/ 1573552 w 4519987"/>
                <a:gd name="connsiteY91" fmla="*/ 4305300 h 4496940"/>
                <a:gd name="connsiteX92" fmla="*/ 1402102 w 4519987"/>
                <a:gd name="connsiteY92" fmla="*/ 4276725 h 4496940"/>
                <a:gd name="connsiteX93" fmla="*/ 1287802 w 4519987"/>
                <a:gd name="connsiteY93" fmla="*/ 4229100 h 4496940"/>
                <a:gd name="connsiteX94" fmla="*/ 1221127 w 4519987"/>
                <a:gd name="connsiteY94" fmla="*/ 4200525 h 4496940"/>
                <a:gd name="connsiteX95" fmla="*/ 1144927 w 4519987"/>
                <a:gd name="connsiteY95" fmla="*/ 4171950 h 4496940"/>
                <a:gd name="connsiteX96" fmla="*/ 1087777 w 4519987"/>
                <a:gd name="connsiteY96" fmla="*/ 4143375 h 4496940"/>
                <a:gd name="connsiteX97" fmla="*/ 1030627 w 4519987"/>
                <a:gd name="connsiteY97" fmla="*/ 4124325 h 4496940"/>
                <a:gd name="connsiteX98" fmla="*/ 925852 w 4519987"/>
                <a:gd name="connsiteY98" fmla="*/ 4067175 h 4496940"/>
                <a:gd name="connsiteX99" fmla="*/ 830602 w 4519987"/>
                <a:gd name="connsiteY99" fmla="*/ 3981450 h 4496940"/>
                <a:gd name="connsiteX100" fmla="*/ 763927 w 4519987"/>
                <a:gd name="connsiteY100" fmla="*/ 3914775 h 4496940"/>
                <a:gd name="connsiteX101" fmla="*/ 725827 w 4519987"/>
                <a:gd name="connsiteY101" fmla="*/ 3876675 h 4496940"/>
                <a:gd name="connsiteX102" fmla="*/ 697252 w 4519987"/>
                <a:gd name="connsiteY102" fmla="*/ 3838575 h 4496940"/>
                <a:gd name="connsiteX103" fmla="*/ 640102 w 4519987"/>
                <a:gd name="connsiteY103" fmla="*/ 3781425 h 4496940"/>
                <a:gd name="connsiteX104" fmla="*/ 611527 w 4519987"/>
                <a:gd name="connsiteY104" fmla="*/ 3733800 h 4496940"/>
                <a:gd name="connsiteX105" fmla="*/ 554377 w 4519987"/>
                <a:gd name="connsiteY105" fmla="*/ 3657600 h 4496940"/>
                <a:gd name="connsiteX106" fmla="*/ 525802 w 4519987"/>
                <a:gd name="connsiteY106" fmla="*/ 3609975 h 4496940"/>
                <a:gd name="connsiteX107" fmla="*/ 497227 w 4519987"/>
                <a:gd name="connsiteY107" fmla="*/ 3552825 h 4496940"/>
                <a:gd name="connsiteX108" fmla="*/ 440077 w 4519987"/>
                <a:gd name="connsiteY108" fmla="*/ 3495675 h 4496940"/>
                <a:gd name="connsiteX109" fmla="*/ 411502 w 4519987"/>
                <a:gd name="connsiteY109" fmla="*/ 3448050 h 4496940"/>
                <a:gd name="connsiteX110" fmla="*/ 278152 w 4519987"/>
                <a:gd name="connsiteY110" fmla="*/ 3257550 h 4496940"/>
                <a:gd name="connsiteX111" fmla="*/ 249577 w 4519987"/>
                <a:gd name="connsiteY111" fmla="*/ 3200400 h 4496940"/>
                <a:gd name="connsiteX112" fmla="*/ 240052 w 4519987"/>
                <a:gd name="connsiteY112" fmla="*/ 3162300 h 4496940"/>
                <a:gd name="connsiteX113" fmla="*/ 221002 w 4519987"/>
                <a:gd name="connsiteY113" fmla="*/ 3105150 h 4496940"/>
                <a:gd name="connsiteX114" fmla="*/ 173377 w 4519987"/>
                <a:gd name="connsiteY114" fmla="*/ 3019425 h 4496940"/>
                <a:gd name="connsiteX115" fmla="*/ 144802 w 4519987"/>
                <a:gd name="connsiteY115" fmla="*/ 2924175 h 4496940"/>
                <a:gd name="connsiteX116" fmla="*/ 68602 w 4519987"/>
                <a:gd name="connsiteY116" fmla="*/ 2724150 h 4496940"/>
                <a:gd name="connsiteX117" fmla="*/ 49552 w 4519987"/>
                <a:gd name="connsiteY117" fmla="*/ 2638425 h 4496940"/>
                <a:gd name="connsiteX118" fmla="*/ 40027 w 4519987"/>
                <a:gd name="connsiteY118" fmla="*/ 2562225 h 4496940"/>
                <a:gd name="connsiteX119" fmla="*/ 30502 w 4519987"/>
                <a:gd name="connsiteY119" fmla="*/ 2514600 h 4496940"/>
                <a:gd name="connsiteX120" fmla="*/ 11452 w 4519987"/>
                <a:gd name="connsiteY120" fmla="*/ 2400300 h 4496940"/>
                <a:gd name="connsiteX121" fmla="*/ 20977 w 4519987"/>
                <a:gd name="connsiteY121" fmla="*/ 1905000 h 4496940"/>
                <a:gd name="connsiteX122" fmla="*/ 30502 w 4519987"/>
                <a:gd name="connsiteY122" fmla="*/ 1838325 h 4496940"/>
                <a:gd name="connsiteX123" fmla="*/ 49552 w 4519987"/>
                <a:gd name="connsiteY123" fmla="*/ 1781175 h 4496940"/>
                <a:gd name="connsiteX124" fmla="*/ 59077 w 4519987"/>
                <a:gd name="connsiteY124" fmla="*/ 1743075 h 4496940"/>
                <a:gd name="connsiteX125" fmla="*/ 78127 w 4519987"/>
                <a:gd name="connsiteY125" fmla="*/ 1685925 h 4496940"/>
                <a:gd name="connsiteX126" fmla="*/ 87652 w 4519987"/>
                <a:gd name="connsiteY126" fmla="*/ 1638300 h 4496940"/>
                <a:gd name="connsiteX127" fmla="*/ 106702 w 4519987"/>
                <a:gd name="connsiteY127" fmla="*/ 1590675 h 4496940"/>
                <a:gd name="connsiteX128" fmla="*/ 135277 w 4519987"/>
                <a:gd name="connsiteY128" fmla="*/ 1504950 h 4496940"/>
                <a:gd name="connsiteX129" fmla="*/ 154327 w 4519987"/>
                <a:gd name="connsiteY129" fmla="*/ 1419225 h 4496940"/>
                <a:gd name="connsiteX130" fmla="*/ 230527 w 4519987"/>
                <a:gd name="connsiteY130" fmla="*/ 1276350 h 4496940"/>
                <a:gd name="connsiteX131" fmla="*/ 240052 w 4519987"/>
                <a:gd name="connsiteY131" fmla="*/ 1247775 h 4496940"/>
                <a:gd name="connsiteX132" fmla="*/ 268627 w 4519987"/>
                <a:gd name="connsiteY132" fmla="*/ 1200150 h 4496940"/>
                <a:gd name="connsiteX133" fmla="*/ 287677 w 4519987"/>
                <a:gd name="connsiteY133" fmla="*/ 1152525 h 4496940"/>
                <a:gd name="connsiteX134" fmla="*/ 316252 w 4519987"/>
                <a:gd name="connsiteY134" fmla="*/ 1114425 h 4496940"/>
                <a:gd name="connsiteX135" fmla="*/ 363877 w 4519987"/>
                <a:gd name="connsiteY135" fmla="*/ 1038225 h 4496940"/>
                <a:gd name="connsiteX136" fmla="*/ 382927 w 4519987"/>
                <a:gd name="connsiteY136" fmla="*/ 1009650 h 4496940"/>
                <a:gd name="connsiteX137" fmla="*/ 440077 w 4519987"/>
                <a:gd name="connsiteY137" fmla="*/ 904875 h 4496940"/>
                <a:gd name="connsiteX138" fmla="*/ 478177 w 4519987"/>
                <a:gd name="connsiteY138" fmla="*/ 857250 h 4496940"/>
                <a:gd name="connsiteX139" fmla="*/ 497227 w 4519987"/>
                <a:gd name="connsiteY139" fmla="*/ 828675 h 4496940"/>
                <a:gd name="connsiteX140" fmla="*/ 535327 w 4519987"/>
                <a:gd name="connsiteY140" fmla="*/ 800100 h 4496940"/>
                <a:gd name="connsiteX141" fmla="*/ 602002 w 4519987"/>
                <a:gd name="connsiteY141" fmla="*/ 733425 h 4496940"/>
                <a:gd name="connsiteX142" fmla="*/ 668677 w 4519987"/>
                <a:gd name="connsiteY142" fmla="*/ 676275 h 4496940"/>
                <a:gd name="connsiteX143" fmla="*/ 697252 w 4519987"/>
                <a:gd name="connsiteY143" fmla="*/ 657225 h 4496940"/>
                <a:gd name="connsiteX144" fmla="*/ 840127 w 4519987"/>
                <a:gd name="connsiteY144" fmla="*/ 533400 h 4496940"/>
                <a:gd name="connsiteX145" fmla="*/ 887752 w 4519987"/>
                <a:gd name="connsiteY145" fmla="*/ 504825 h 4496940"/>
                <a:gd name="connsiteX146" fmla="*/ 1167152 w 4519987"/>
                <a:gd name="connsiteY146" fmla="*/ 311150 h 4496940"/>
                <a:gd name="connsiteX147" fmla="*/ 1268752 w 4519987"/>
                <a:gd name="connsiteY147" fmla="*/ 285750 h 4496940"/>
                <a:gd name="connsiteX148" fmla="*/ 1411627 w 4519987"/>
                <a:gd name="connsiteY148" fmla="*/ 190500 h 4496940"/>
                <a:gd name="connsiteX149" fmla="*/ 1449727 w 4519987"/>
                <a:gd name="connsiteY149" fmla="*/ 161925 h 4496940"/>
                <a:gd name="connsiteX150" fmla="*/ 1525927 w 4519987"/>
                <a:gd name="connsiteY150" fmla="*/ 152400 h 4496940"/>
                <a:gd name="connsiteX151" fmla="*/ 1583077 w 4519987"/>
                <a:gd name="connsiteY151" fmla="*/ 142875 h 4496940"/>
                <a:gd name="connsiteX152" fmla="*/ 1716427 w 4519987"/>
                <a:gd name="connsiteY152" fmla="*/ 123825 h 4496940"/>
                <a:gd name="connsiteX153" fmla="*/ 1811677 w 4519987"/>
                <a:gd name="connsiteY153" fmla="*/ 114300 h 4496940"/>
                <a:gd name="connsiteX154" fmla="*/ 1859302 w 4519987"/>
                <a:gd name="connsiteY154" fmla="*/ 104775 h 4496940"/>
                <a:gd name="connsiteX155" fmla="*/ 1916452 w 4519987"/>
                <a:gd name="connsiteY155" fmla="*/ 95250 h 4496940"/>
                <a:gd name="connsiteX156" fmla="*/ 2030752 w 4519987"/>
                <a:gd name="connsiteY156" fmla="*/ 66675 h 4496940"/>
                <a:gd name="connsiteX157" fmla="*/ 2097427 w 4519987"/>
                <a:gd name="connsiteY157" fmla="*/ 47625 h 4496940"/>
                <a:gd name="connsiteX158" fmla="*/ 2164102 w 4519987"/>
                <a:gd name="connsiteY158" fmla="*/ 38100 h 4496940"/>
                <a:gd name="connsiteX159" fmla="*/ 2392702 w 4519987"/>
                <a:gd name="connsiteY15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50052 w 4519987"/>
                <a:gd name="connsiteY28" fmla="*/ 790575 h 4496940"/>
                <a:gd name="connsiteX29" fmla="*/ 4078627 w 4519987"/>
                <a:gd name="connsiteY29" fmla="*/ 838200 h 4496940"/>
                <a:gd name="connsiteX30" fmla="*/ 4107202 w 4519987"/>
                <a:gd name="connsiteY30" fmla="*/ 876300 h 4496940"/>
                <a:gd name="connsiteX31" fmla="*/ 4116727 w 4519987"/>
                <a:gd name="connsiteY31" fmla="*/ 904875 h 4496940"/>
                <a:gd name="connsiteX32" fmla="*/ 4135777 w 4519987"/>
                <a:gd name="connsiteY32" fmla="*/ 933450 h 4496940"/>
                <a:gd name="connsiteX33" fmla="*/ 4164352 w 4519987"/>
                <a:gd name="connsiteY33" fmla="*/ 990600 h 4496940"/>
                <a:gd name="connsiteX34" fmla="*/ 4173877 w 4519987"/>
                <a:gd name="connsiteY34" fmla="*/ 1019175 h 4496940"/>
                <a:gd name="connsiteX35" fmla="*/ 4192927 w 4519987"/>
                <a:gd name="connsiteY35" fmla="*/ 1057275 h 4496940"/>
                <a:gd name="connsiteX36" fmla="*/ 4202452 w 4519987"/>
                <a:gd name="connsiteY36" fmla="*/ 1085850 h 4496940"/>
                <a:gd name="connsiteX37" fmla="*/ 4250077 w 4519987"/>
                <a:gd name="connsiteY37" fmla="*/ 1143000 h 4496940"/>
                <a:gd name="connsiteX38" fmla="*/ 4259602 w 4519987"/>
                <a:gd name="connsiteY38" fmla="*/ 1190625 h 4496940"/>
                <a:gd name="connsiteX39" fmla="*/ 4307227 w 4519987"/>
                <a:gd name="connsiteY39" fmla="*/ 1266825 h 4496940"/>
                <a:gd name="connsiteX40" fmla="*/ 4345327 w 4519987"/>
                <a:gd name="connsiteY40" fmla="*/ 1362075 h 4496940"/>
                <a:gd name="connsiteX41" fmla="*/ 4373902 w 4519987"/>
                <a:gd name="connsiteY41" fmla="*/ 1428750 h 4496940"/>
                <a:gd name="connsiteX42" fmla="*/ 4392952 w 4519987"/>
                <a:gd name="connsiteY42" fmla="*/ 1552575 h 4496940"/>
                <a:gd name="connsiteX43" fmla="*/ 4402477 w 4519987"/>
                <a:gd name="connsiteY43" fmla="*/ 1590675 h 4496940"/>
                <a:gd name="connsiteX44" fmla="*/ 4431052 w 4519987"/>
                <a:gd name="connsiteY44" fmla="*/ 1685925 h 4496940"/>
                <a:gd name="connsiteX45" fmla="*/ 4519952 w 4519987"/>
                <a:gd name="connsiteY45" fmla="*/ 2181225 h 4496940"/>
                <a:gd name="connsiteX46" fmla="*/ 4446927 w 4519987"/>
                <a:gd name="connsiteY46" fmla="*/ 2768600 h 4496940"/>
                <a:gd name="connsiteX47" fmla="*/ 4383427 w 4519987"/>
                <a:gd name="connsiteY47" fmla="*/ 2990850 h 4496940"/>
                <a:gd name="connsiteX48" fmla="*/ 4278652 w 4519987"/>
                <a:gd name="connsiteY48" fmla="*/ 3248025 h 4496940"/>
                <a:gd name="connsiteX49" fmla="*/ 4259602 w 4519987"/>
                <a:gd name="connsiteY49" fmla="*/ 3276600 h 4496940"/>
                <a:gd name="connsiteX50" fmla="*/ 4221502 w 4519987"/>
                <a:gd name="connsiteY50" fmla="*/ 3333750 h 4496940"/>
                <a:gd name="connsiteX51" fmla="*/ 4211977 w 4519987"/>
                <a:gd name="connsiteY51" fmla="*/ 3362325 h 4496940"/>
                <a:gd name="connsiteX52" fmla="*/ 4183402 w 4519987"/>
                <a:gd name="connsiteY52" fmla="*/ 3400425 h 4496940"/>
                <a:gd name="connsiteX53" fmla="*/ 4164352 w 4519987"/>
                <a:gd name="connsiteY53" fmla="*/ 3429000 h 4496940"/>
                <a:gd name="connsiteX54" fmla="*/ 4088152 w 4519987"/>
                <a:gd name="connsiteY54" fmla="*/ 3495675 h 4496940"/>
                <a:gd name="connsiteX55" fmla="*/ 4059577 w 4519987"/>
                <a:gd name="connsiteY55" fmla="*/ 3533775 h 4496940"/>
                <a:gd name="connsiteX56" fmla="*/ 4002427 w 4519987"/>
                <a:gd name="connsiteY56" fmla="*/ 3600450 h 4496940"/>
                <a:gd name="connsiteX57" fmla="*/ 3983377 w 4519987"/>
                <a:gd name="connsiteY57" fmla="*/ 3629025 h 4496940"/>
                <a:gd name="connsiteX58" fmla="*/ 3954802 w 4519987"/>
                <a:gd name="connsiteY58" fmla="*/ 3648075 h 4496940"/>
                <a:gd name="connsiteX59" fmla="*/ 3907177 w 4519987"/>
                <a:gd name="connsiteY59" fmla="*/ 3686175 h 4496940"/>
                <a:gd name="connsiteX60" fmla="*/ 3869077 w 4519987"/>
                <a:gd name="connsiteY60" fmla="*/ 3724275 h 4496940"/>
                <a:gd name="connsiteX61" fmla="*/ 3792877 w 4519987"/>
                <a:gd name="connsiteY61" fmla="*/ 3781425 h 4496940"/>
                <a:gd name="connsiteX62" fmla="*/ 3783352 w 4519987"/>
                <a:gd name="connsiteY62" fmla="*/ 3810000 h 4496940"/>
                <a:gd name="connsiteX63" fmla="*/ 3745252 w 4519987"/>
                <a:gd name="connsiteY63" fmla="*/ 3819525 h 4496940"/>
                <a:gd name="connsiteX64" fmla="*/ 3678577 w 4519987"/>
                <a:gd name="connsiteY64" fmla="*/ 3848100 h 4496940"/>
                <a:gd name="connsiteX65" fmla="*/ 3659527 w 4519987"/>
                <a:gd name="connsiteY65" fmla="*/ 3971925 h 4496940"/>
                <a:gd name="connsiteX66" fmla="*/ 3630952 w 4519987"/>
                <a:gd name="connsiteY66" fmla="*/ 4010025 h 4496940"/>
                <a:gd name="connsiteX67" fmla="*/ 3621427 w 4519987"/>
                <a:gd name="connsiteY67" fmla="*/ 4038600 h 4496940"/>
                <a:gd name="connsiteX68" fmla="*/ 3554752 w 4519987"/>
                <a:gd name="connsiteY68" fmla="*/ 4095750 h 4496940"/>
                <a:gd name="connsiteX69" fmla="*/ 3516652 w 4519987"/>
                <a:gd name="connsiteY69" fmla="*/ 4114800 h 4496940"/>
                <a:gd name="connsiteX70" fmla="*/ 3497602 w 4519987"/>
                <a:gd name="connsiteY70" fmla="*/ 4143375 h 4496940"/>
                <a:gd name="connsiteX71" fmla="*/ 3383302 w 4519987"/>
                <a:gd name="connsiteY71" fmla="*/ 4210050 h 4496940"/>
                <a:gd name="connsiteX72" fmla="*/ 3335677 w 4519987"/>
                <a:gd name="connsiteY72" fmla="*/ 4238625 h 4496940"/>
                <a:gd name="connsiteX73" fmla="*/ 3288052 w 4519987"/>
                <a:gd name="connsiteY73" fmla="*/ 4248150 h 4496940"/>
                <a:gd name="connsiteX74" fmla="*/ 3240427 w 4519987"/>
                <a:gd name="connsiteY74" fmla="*/ 4267200 h 4496940"/>
                <a:gd name="connsiteX75" fmla="*/ 3068977 w 4519987"/>
                <a:gd name="connsiteY75" fmla="*/ 4286250 h 4496940"/>
                <a:gd name="connsiteX76" fmla="*/ 2935627 w 4519987"/>
                <a:gd name="connsiteY76" fmla="*/ 4333875 h 4496940"/>
                <a:gd name="connsiteX77" fmla="*/ 2811802 w 4519987"/>
                <a:gd name="connsiteY77" fmla="*/ 4371975 h 4496940"/>
                <a:gd name="connsiteX78" fmla="*/ 2745127 w 4519987"/>
                <a:gd name="connsiteY78" fmla="*/ 4410075 h 4496940"/>
                <a:gd name="connsiteX79" fmla="*/ 2697502 w 4519987"/>
                <a:gd name="connsiteY79" fmla="*/ 4429125 h 4496940"/>
                <a:gd name="connsiteX80" fmla="*/ 2640352 w 4519987"/>
                <a:gd name="connsiteY80" fmla="*/ 4457700 h 4496940"/>
                <a:gd name="connsiteX81" fmla="*/ 2583202 w 4519987"/>
                <a:gd name="connsiteY81" fmla="*/ 4467225 h 4496940"/>
                <a:gd name="connsiteX82" fmla="*/ 2545102 w 4519987"/>
                <a:gd name="connsiteY82" fmla="*/ 4486275 h 4496940"/>
                <a:gd name="connsiteX83" fmla="*/ 2306977 w 4519987"/>
                <a:gd name="connsiteY83" fmla="*/ 4476750 h 4496940"/>
                <a:gd name="connsiteX84" fmla="*/ 2202202 w 4519987"/>
                <a:gd name="connsiteY84" fmla="*/ 4457700 h 4496940"/>
                <a:gd name="connsiteX85" fmla="*/ 2126002 w 4519987"/>
                <a:gd name="connsiteY85" fmla="*/ 4429125 h 4496940"/>
                <a:gd name="connsiteX86" fmla="*/ 1935502 w 4519987"/>
                <a:gd name="connsiteY86" fmla="*/ 4400550 h 4496940"/>
                <a:gd name="connsiteX87" fmla="*/ 1821202 w 4519987"/>
                <a:gd name="connsiteY87" fmla="*/ 4371975 h 4496940"/>
                <a:gd name="connsiteX88" fmla="*/ 1754527 w 4519987"/>
                <a:gd name="connsiteY88" fmla="*/ 4352925 h 4496940"/>
                <a:gd name="connsiteX89" fmla="*/ 1687852 w 4519987"/>
                <a:gd name="connsiteY89" fmla="*/ 4343400 h 4496940"/>
                <a:gd name="connsiteX90" fmla="*/ 1573552 w 4519987"/>
                <a:gd name="connsiteY90" fmla="*/ 4305300 h 4496940"/>
                <a:gd name="connsiteX91" fmla="*/ 1402102 w 4519987"/>
                <a:gd name="connsiteY91" fmla="*/ 4276725 h 4496940"/>
                <a:gd name="connsiteX92" fmla="*/ 1287802 w 4519987"/>
                <a:gd name="connsiteY92" fmla="*/ 4229100 h 4496940"/>
                <a:gd name="connsiteX93" fmla="*/ 1221127 w 4519987"/>
                <a:gd name="connsiteY93" fmla="*/ 4200525 h 4496940"/>
                <a:gd name="connsiteX94" fmla="*/ 1144927 w 4519987"/>
                <a:gd name="connsiteY94" fmla="*/ 4171950 h 4496940"/>
                <a:gd name="connsiteX95" fmla="*/ 1087777 w 4519987"/>
                <a:gd name="connsiteY95" fmla="*/ 4143375 h 4496940"/>
                <a:gd name="connsiteX96" fmla="*/ 1030627 w 4519987"/>
                <a:gd name="connsiteY96" fmla="*/ 4124325 h 4496940"/>
                <a:gd name="connsiteX97" fmla="*/ 925852 w 4519987"/>
                <a:gd name="connsiteY97" fmla="*/ 4067175 h 4496940"/>
                <a:gd name="connsiteX98" fmla="*/ 830602 w 4519987"/>
                <a:gd name="connsiteY98" fmla="*/ 3981450 h 4496940"/>
                <a:gd name="connsiteX99" fmla="*/ 763927 w 4519987"/>
                <a:gd name="connsiteY99" fmla="*/ 3914775 h 4496940"/>
                <a:gd name="connsiteX100" fmla="*/ 725827 w 4519987"/>
                <a:gd name="connsiteY100" fmla="*/ 3876675 h 4496940"/>
                <a:gd name="connsiteX101" fmla="*/ 697252 w 4519987"/>
                <a:gd name="connsiteY101" fmla="*/ 3838575 h 4496940"/>
                <a:gd name="connsiteX102" fmla="*/ 640102 w 4519987"/>
                <a:gd name="connsiteY102" fmla="*/ 3781425 h 4496940"/>
                <a:gd name="connsiteX103" fmla="*/ 611527 w 4519987"/>
                <a:gd name="connsiteY103" fmla="*/ 3733800 h 4496940"/>
                <a:gd name="connsiteX104" fmla="*/ 554377 w 4519987"/>
                <a:gd name="connsiteY104" fmla="*/ 3657600 h 4496940"/>
                <a:gd name="connsiteX105" fmla="*/ 525802 w 4519987"/>
                <a:gd name="connsiteY105" fmla="*/ 3609975 h 4496940"/>
                <a:gd name="connsiteX106" fmla="*/ 497227 w 4519987"/>
                <a:gd name="connsiteY106" fmla="*/ 3552825 h 4496940"/>
                <a:gd name="connsiteX107" fmla="*/ 440077 w 4519987"/>
                <a:gd name="connsiteY107" fmla="*/ 3495675 h 4496940"/>
                <a:gd name="connsiteX108" fmla="*/ 411502 w 4519987"/>
                <a:gd name="connsiteY108" fmla="*/ 3448050 h 4496940"/>
                <a:gd name="connsiteX109" fmla="*/ 278152 w 4519987"/>
                <a:gd name="connsiteY109" fmla="*/ 3257550 h 4496940"/>
                <a:gd name="connsiteX110" fmla="*/ 249577 w 4519987"/>
                <a:gd name="connsiteY110" fmla="*/ 3200400 h 4496940"/>
                <a:gd name="connsiteX111" fmla="*/ 240052 w 4519987"/>
                <a:gd name="connsiteY111" fmla="*/ 3162300 h 4496940"/>
                <a:gd name="connsiteX112" fmla="*/ 221002 w 4519987"/>
                <a:gd name="connsiteY112" fmla="*/ 3105150 h 4496940"/>
                <a:gd name="connsiteX113" fmla="*/ 173377 w 4519987"/>
                <a:gd name="connsiteY113" fmla="*/ 3019425 h 4496940"/>
                <a:gd name="connsiteX114" fmla="*/ 144802 w 4519987"/>
                <a:gd name="connsiteY114" fmla="*/ 2924175 h 4496940"/>
                <a:gd name="connsiteX115" fmla="*/ 68602 w 4519987"/>
                <a:gd name="connsiteY115" fmla="*/ 2724150 h 4496940"/>
                <a:gd name="connsiteX116" fmla="*/ 49552 w 4519987"/>
                <a:gd name="connsiteY116" fmla="*/ 2638425 h 4496940"/>
                <a:gd name="connsiteX117" fmla="*/ 40027 w 4519987"/>
                <a:gd name="connsiteY117" fmla="*/ 2562225 h 4496940"/>
                <a:gd name="connsiteX118" fmla="*/ 30502 w 4519987"/>
                <a:gd name="connsiteY118" fmla="*/ 2514600 h 4496940"/>
                <a:gd name="connsiteX119" fmla="*/ 11452 w 4519987"/>
                <a:gd name="connsiteY119" fmla="*/ 2400300 h 4496940"/>
                <a:gd name="connsiteX120" fmla="*/ 20977 w 4519987"/>
                <a:gd name="connsiteY120" fmla="*/ 1905000 h 4496940"/>
                <a:gd name="connsiteX121" fmla="*/ 30502 w 4519987"/>
                <a:gd name="connsiteY121" fmla="*/ 1838325 h 4496940"/>
                <a:gd name="connsiteX122" fmla="*/ 49552 w 4519987"/>
                <a:gd name="connsiteY122" fmla="*/ 1781175 h 4496940"/>
                <a:gd name="connsiteX123" fmla="*/ 59077 w 4519987"/>
                <a:gd name="connsiteY123" fmla="*/ 1743075 h 4496940"/>
                <a:gd name="connsiteX124" fmla="*/ 78127 w 4519987"/>
                <a:gd name="connsiteY124" fmla="*/ 1685925 h 4496940"/>
                <a:gd name="connsiteX125" fmla="*/ 87652 w 4519987"/>
                <a:gd name="connsiteY125" fmla="*/ 1638300 h 4496940"/>
                <a:gd name="connsiteX126" fmla="*/ 106702 w 4519987"/>
                <a:gd name="connsiteY126" fmla="*/ 1590675 h 4496940"/>
                <a:gd name="connsiteX127" fmla="*/ 135277 w 4519987"/>
                <a:gd name="connsiteY127" fmla="*/ 1504950 h 4496940"/>
                <a:gd name="connsiteX128" fmla="*/ 154327 w 4519987"/>
                <a:gd name="connsiteY128" fmla="*/ 1419225 h 4496940"/>
                <a:gd name="connsiteX129" fmla="*/ 230527 w 4519987"/>
                <a:gd name="connsiteY129" fmla="*/ 1276350 h 4496940"/>
                <a:gd name="connsiteX130" fmla="*/ 240052 w 4519987"/>
                <a:gd name="connsiteY130" fmla="*/ 1247775 h 4496940"/>
                <a:gd name="connsiteX131" fmla="*/ 268627 w 4519987"/>
                <a:gd name="connsiteY131" fmla="*/ 1200150 h 4496940"/>
                <a:gd name="connsiteX132" fmla="*/ 287677 w 4519987"/>
                <a:gd name="connsiteY132" fmla="*/ 1152525 h 4496940"/>
                <a:gd name="connsiteX133" fmla="*/ 316252 w 4519987"/>
                <a:gd name="connsiteY133" fmla="*/ 1114425 h 4496940"/>
                <a:gd name="connsiteX134" fmla="*/ 363877 w 4519987"/>
                <a:gd name="connsiteY134" fmla="*/ 1038225 h 4496940"/>
                <a:gd name="connsiteX135" fmla="*/ 382927 w 4519987"/>
                <a:gd name="connsiteY135" fmla="*/ 1009650 h 4496940"/>
                <a:gd name="connsiteX136" fmla="*/ 440077 w 4519987"/>
                <a:gd name="connsiteY136" fmla="*/ 904875 h 4496940"/>
                <a:gd name="connsiteX137" fmla="*/ 478177 w 4519987"/>
                <a:gd name="connsiteY137" fmla="*/ 857250 h 4496940"/>
                <a:gd name="connsiteX138" fmla="*/ 497227 w 4519987"/>
                <a:gd name="connsiteY138" fmla="*/ 828675 h 4496940"/>
                <a:gd name="connsiteX139" fmla="*/ 535327 w 4519987"/>
                <a:gd name="connsiteY139" fmla="*/ 800100 h 4496940"/>
                <a:gd name="connsiteX140" fmla="*/ 602002 w 4519987"/>
                <a:gd name="connsiteY140" fmla="*/ 733425 h 4496940"/>
                <a:gd name="connsiteX141" fmla="*/ 668677 w 4519987"/>
                <a:gd name="connsiteY141" fmla="*/ 676275 h 4496940"/>
                <a:gd name="connsiteX142" fmla="*/ 697252 w 4519987"/>
                <a:gd name="connsiteY142" fmla="*/ 657225 h 4496940"/>
                <a:gd name="connsiteX143" fmla="*/ 840127 w 4519987"/>
                <a:gd name="connsiteY143" fmla="*/ 533400 h 4496940"/>
                <a:gd name="connsiteX144" fmla="*/ 887752 w 4519987"/>
                <a:gd name="connsiteY144" fmla="*/ 504825 h 4496940"/>
                <a:gd name="connsiteX145" fmla="*/ 1167152 w 4519987"/>
                <a:gd name="connsiteY145" fmla="*/ 311150 h 4496940"/>
                <a:gd name="connsiteX146" fmla="*/ 1268752 w 4519987"/>
                <a:gd name="connsiteY146" fmla="*/ 285750 h 4496940"/>
                <a:gd name="connsiteX147" fmla="*/ 1411627 w 4519987"/>
                <a:gd name="connsiteY147" fmla="*/ 190500 h 4496940"/>
                <a:gd name="connsiteX148" fmla="*/ 1449727 w 4519987"/>
                <a:gd name="connsiteY148" fmla="*/ 161925 h 4496940"/>
                <a:gd name="connsiteX149" fmla="*/ 1525927 w 4519987"/>
                <a:gd name="connsiteY149" fmla="*/ 152400 h 4496940"/>
                <a:gd name="connsiteX150" fmla="*/ 1583077 w 4519987"/>
                <a:gd name="connsiteY150" fmla="*/ 142875 h 4496940"/>
                <a:gd name="connsiteX151" fmla="*/ 1716427 w 4519987"/>
                <a:gd name="connsiteY151" fmla="*/ 123825 h 4496940"/>
                <a:gd name="connsiteX152" fmla="*/ 1811677 w 4519987"/>
                <a:gd name="connsiteY152" fmla="*/ 114300 h 4496940"/>
                <a:gd name="connsiteX153" fmla="*/ 1859302 w 4519987"/>
                <a:gd name="connsiteY153" fmla="*/ 104775 h 4496940"/>
                <a:gd name="connsiteX154" fmla="*/ 1916452 w 4519987"/>
                <a:gd name="connsiteY154" fmla="*/ 95250 h 4496940"/>
                <a:gd name="connsiteX155" fmla="*/ 2030752 w 4519987"/>
                <a:gd name="connsiteY155" fmla="*/ 66675 h 4496940"/>
                <a:gd name="connsiteX156" fmla="*/ 2097427 w 4519987"/>
                <a:gd name="connsiteY156" fmla="*/ 47625 h 4496940"/>
                <a:gd name="connsiteX157" fmla="*/ 2164102 w 4519987"/>
                <a:gd name="connsiteY157" fmla="*/ 38100 h 4496940"/>
                <a:gd name="connsiteX158" fmla="*/ 2392702 w 4519987"/>
                <a:gd name="connsiteY15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16727 w 4519987"/>
                <a:gd name="connsiteY30" fmla="*/ 904875 h 4496940"/>
                <a:gd name="connsiteX31" fmla="*/ 4135777 w 4519987"/>
                <a:gd name="connsiteY31" fmla="*/ 933450 h 4496940"/>
                <a:gd name="connsiteX32" fmla="*/ 4164352 w 4519987"/>
                <a:gd name="connsiteY32" fmla="*/ 990600 h 4496940"/>
                <a:gd name="connsiteX33" fmla="*/ 4173877 w 4519987"/>
                <a:gd name="connsiteY33" fmla="*/ 1019175 h 4496940"/>
                <a:gd name="connsiteX34" fmla="*/ 4192927 w 4519987"/>
                <a:gd name="connsiteY34" fmla="*/ 1057275 h 4496940"/>
                <a:gd name="connsiteX35" fmla="*/ 4202452 w 4519987"/>
                <a:gd name="connsiteY35" fmla="*/ 1085850 h 4496940"/>
                <a:gd name="connsiteX36" fmla="*/ 4250077 w 4519987"/>
                <a:gd name="connsiteY36" fmla="*/ 1143000 h 4496940"/>
                <a:gd name="connsiteX37" fmla="*/ 4259602 w 4519987"/>
                <a:gd name="connsiteY37" fmla="*/ 1190625 h 4496940"/>
                <a:gd name="connsiteX38" fmla="*/ 4307227 w 4519987"/>
                <a:gd name="connsiteY38" fmla="*/ 1266825 h 4496940"/>
                <a:gd name="connsiteX39" fmla="*/ 4345327 w 4519987"/>
                <a:gd name="connsiteY39" fmla="*/ 1362075 h 4496940"/>
                <a:gd name="connsiteX40" fmla="*/ 4373902 w 4519987"/>
                <a:gd name="connsiteY40" fmla="*/ 1428750 h 4496940"/>
                <a:gd name="connsiteX41" fmla="*/ 4392952 w 4519987"/>
                <a:gd name="connsiteY41" fmla="*/ 1552575 h 4496940"/>
                <a:gd name="connsiteX42" fmla="*/ 4402477 w 4519987"/>
                <a:gd name="connsiteY42" fmla="*/ 1590675 h 4496940"/>
                <a:gd name="connsiteX43" fmla="*/ 4431052 w 4519987"/>
                <a:gd name="connsiteY43" fmla="*/ 1685925 h 4496940"/>
                <a:gd name="connsiteX44" fmla="*/ 4519952 w 4519987"/>
                <a:gd name="connsiteY44" fmla="*/ 2181225 h 4496940"/>
                <a:gd name="connsiteX45" fmla="*/ 4446927 w 4519987"/>
                <a:gd name="connsiteY45" fmla="*/ 2768600 h 4496940"/>
                <a:gd name="connsiteX46" fmla="*/ 4383427 w 4519987"/>
                <a:gd name="connsiteY46" fmla="*/ 2990850 h 4496940"/>
                <a:gd name="connsiteX47" fmla="*/ 4278652 w 4519987"/>
                <a:gd name="connsiteY47" fmla="*/ 3248025 h 4496940"/>
                <a:gd name="connsiteX48" fmla="*/ 4259602 w 4519987"/>
                <a:gd name="connsiteY48" fmla="*/ 3276600 h 4496940"/>
                <a:gd name="connsiteX49" fmla="*/ 4221502 w 4519987"/>
                <a:gd name="connsiteY49" fmla="*/ 3333750 h 4496940"/>
                <a:gd name="connsiteX50" fmla="*/ 4211977 w 4519987"/>
                <a:gd name="connsiteY50" fmla="*/ 3362325 h 4496940"/>
                <a:gd name="connsiteX51" fmla="*/ 4183402 w 4519987"/>
                <a:gd name="connsiteY51" fmla="*/ 3400425 h 4496940"/>
                <a:gd name="connsiteX52" fmla="*/ 4164352 w 4519987"/>
                <a:gd name="connsiteY52" fmla="*/ 3429000 h 4496940"/>
                <a:gd name="connsiteX53" fmla="*/ 4088152 w 4519987"/>
                <a:gd name="connsiteY53" fmla="*/ 3495675 h 4496940"/>
                <a:gd name="connsiteX54" fmla="*/ 4059577 w 4519987"/>
                <a:gd name="connsiteY54" fmla="*/ 3533775 h 4496940"/>
                <a:gd name="connsiteX55" fmla="*/ 4002427 w 4519987"/>
                <a:gd name="connsiteY55" fmla="*/ 3600450 h 4496940"/>
                <a:gd name="connsiteX56" fmla="*/ 3983377 w 4519987"/>
                <a:gd name="connsiteY56" fmla="*/ 3629025 h 4496940"/>
                <a:gd name="connsiteX57" fmla="*/ 3954802 w 4519987"/>
                <a:gd name="connsiteY57" fmla="*/ 3648075 h 4496940"/>
                <a:gd name="connsiteX58" fmla="*/ 3907177 w 4519987"/>
                <a:gd name="connsiteY58" fmla="*/ 3686175 h 4496940"/>
                <a:gd name="connsiteX59" fmla="*/ 3869077 w 4519987"/>
                <a:gd name="connsiteY59" fmla="*/ 3724275 h 4496940"/>
                <a:gd name="connsiteX60" fmla="*/ 3792877 w 4519987"/>
                <a:gd name="connsiteY60" fmla="*/ 3781425 h 4496940"/>
                <a:gd name="connsiteX61" fmla="*/ 3783352 w 4519987"/>
                <a:gd name="connsiteY61" fmla="*/ 3810000 h 4496940"/>
                <a:gd name="connsiteX62" fmla="*/ 3745252 w 4519987"/>
                <a:gd name="connsiteY62" fmla="*/ 3819525 h 4496940"/>
                <a:gd name="connsiteX63" fmla="*/ 3678577 w 4519987"/>
                <a:gd name="connsiteY63" fmla="*/ 3848100 h 4496940"/>
                <a:gd name="connsiteX64" fmla="*/ 3659527 w 4519987"/>
                <a:gd name="connsiteY64" fmla="*/ 3971925 h 4496940"/>
                <a:gd name="connsiteX65" fmla="*/ 3630952 w 4519987"/>
                <a:gd name="connsiteY65" fmla="*/ 4010025 h 4496940"/>
                <a:gd name="connsiteX66" fmla="*/ 3621427 w 4519987"/>
                <a:gd name="connsiteY66" fmla="*/ 4038600 h 4496940"/>
                <a:gd name="connsiteX67" fmla="*/ 3554752 w 4519987"/>
                <a:gd name="connsiteY67" fmla="*/ 4095750 h 4496940"/>
                <a:gd name="connsiteX68" fmla="*/ 3516652 w 4519987"/>
                <a:gd name="connsiteY68" fmla="*/ 4114800 h 4496940"/>
                <a:gd name="connsiteX69" fmla="*/ 3497602 w 4519987"/>
                <a:gd name="connsiteY69" fmla="*/ 4143375 h 4496940"/>
                <a:gd name="connsiteX70" fmla="*/ 3383302 w 4519987"/>
                <a:gd name="connsiteY70" fmla="*/ 4210050 h 4496940"/>
                <a:gd name="connsiteX71" fmla="*/ 3335677 w 4519987"/>
                <a:gd name="connsiteY71" fmla="*/ 4238625 h 4496940"/>
                <a:gd name="connsiteX72" fmla="*/ 3288052 w 4519987"/>
                <a:gd name="connsiteY72" fmla="*/ 4248150 h 4496940"/>
                <a:gd name="connsiteX73" fmla="*/ 3240427 w 4519987"/>
                <a:gd name="connsiteY73" fmla="*/ 4267200 h 4496940"/>
                <a:gd name="connsiteX74" fmla="*/ 3068977 w 4519987"/>
                <a:gd name="connsiteY74" fmla="*/ 4286250 h 4496940"/>
                <a:gd name="connsiteX75" fmla="*/ 2935627 w 4519987"/>
                <a:gd name="connsiteY75" fmla="*/ 4333875 h 4496940"/>
                <a:gd name="connsiteX76" fmla="*/ 2811802 w 4519987"/>
                <a:gd name="connsiteY76" fmla="*/ 4371975 h 4496940"/>
                <a:gd name="connsiteX77" fmla="*/ 2745127 w 4519987"/>
                <a:gd name="connsiteY77" fmla="*/ 4410075 h 4496940"/>
                <a:gd name="connsiteX78" fmla="*/ 2697502 w 4519987"/>
                <a:gd name="connsiteY78" fmla="*/ 4429125 h 4496940"/>
                <a:gd name="connsiteX79" fmla="*/ 2640352 w 4519987"/>
                <a:gd name="connsiteY79" fmla="*/ 4457700 h 4496940"/>
                <a:gd name="connsiteX80" fmla="*/ 2583202 w 4519987"/>
                <a:gd name="connsiteY80" fmla="*/ 4467225 h 4496940"/>
                <a:gd name="connsiteX81" fmla="*/ 2545102 w 4519987"/>
                <a:gd name="connsiteY81" fmla="*/ 4486275 h 4496940"/>
                <a:gd name="connsiteX82" fmla="*/ 2306977 w 4519987"/>
                <a:gd name="connsiteY82" fmla="*/ 4476750 h 4496940"/>
                <a:gd name="connsiteX83" fmla="*/ 2202202 w 4519987"/>
                <a:gd name="connsiteY83" fmla="*/ 4457700 h 4496940"/>
                <a:gd name="connsiteX84" fmla="*/ 2126002 w 4519987"/>
                <a:gd name="connsiteY84" fmla="*/ 4429125 h 4496940"/>
                <a:gd name="connsiteX85" fmla="*/ 1935502 w 4519987"/>
                <a:gd name="connsiteY85" fmla="*/ 4400550 h 4496940"/>
                <a:gd name="connsiteX86" fmla="*/ 1821202 w 4519987"/>
                <a:gd name="connsiteY86" fmla="*/ 4371975 h 4496940"/>
                <a:gd name="connsiteX87" fmla="*/ 1754527 w 4519987"/>
                <a:gd name="connsiteY87" fmla="*/ 4352925 h 4496940"/>
                <a:gd name="connsiteX88" fmla="*/ 1687852 w 4519987"/>
                <a:gd name="connsiteY88" fmla="*/ 4343400 h 4496940"/>
                <a:gd name="connsiteX89" fmla="*/ 1573552 w 4519987"/>
                <a:gd name="connsiteY89" fmla="*/ 4305300 h 4496940"/>
                <a:gd name="connsiteX90" fmla="*/ 1402102 w 4519987"/>
                <a:gd name="connsiteY90" fmla="*/ 4276725 h 4496940"/>
                <a:gd name="connsiteX91" fmla="*/ 1287802 w 4519987"/>
                <a:gd name="connsiteY91" fmla="*/ 4229100 h 4496940"/>
                <a:gd name="connsiteX92" fmla="*/ 1221127 w 4519987"/>
                <a:gd name="connsiteY92" fmla="*/ 4200525 h 4496940"/>
                <a:gd name="connsiteX93" fmla="*/ 1144927 w 4519987"/>
                <a:gd name="connsiteY93" fmla="*/ 4171950 h 4496940"/>
                <a:gd name="connsiteX94" fmla="*/ 1087777 w 4519987"/>
                <a:gd name="connsiteY94" fmla="*/ 4143375 h 4496940"/>
                <a:gd name="connsiteX95" fmla="*/ 1030627 w 4519987"/>
                <a:gd name="connsiteY95" fmla="*/ 4124325 h 4496940"/>
                <a:gd name="connsiteX96" fmla="*/ 925852 w 4519987"/>
                <a:gd name="connsiteY96" fmla="*/ 4067175 h 4496940"/>
                <a:gd name="connsiteX97" fmla="*/ 830602 w 4519987"/>
                <a:gd name="connsiteY97" fmla="*/ 3981450 h 4496940"/>
                <a:gd name="connsiteX98" fmla="*/ 763927 w 4519987"/>
                <a:gd name="connsiteY98" fmla="*/ 3914775 h 4496940"/>
                <a:gd name="connsiteX99" fmla="*/ 725827 w 4519987"/>
                <a:gd name="connsiteY99" fmla="*/ 3876675 h 4496940"/>
                <a:gd name="connsiteX100" fmla="*/ 697252 w 4519987"/>
                <a:gd name="connsiteY100" fmla="*/ 3838575 h 4496940"/>
                <a:gd name="connsiteX101" fmla="*/ 640102 w 4519987"/>
                <a:gd name="connsiteY101" fmla="*/ 3781425 h 4496940"/>
                <a:gd name="connsiteX102" fmla="*/ 611527 w 4519987"/>
                <a:gd name="connsiteY102" fmla="*/ 3733800 h 4496940"/>
                <a:gd name="connsiteX103" fmla="*/ 554377 w 4519987"/>
                <a:gd name="connsiteY103" fmla="*/ 3657600 h 4496940"/>
                <a:gd name="connsiteX104" fmla="*/ 525802 w 4519987"/>
                <a:gd name="connsiteY104" fmla="*/ 3609975 h 4496940"/>
                <a:gd name="connsiteX105" fmla="*/ 497227 w 4519987"/>
                <a:gd name="connsiteY105" fmla="*/ 3552825 h 4496940"/>
                <a:gd name="connsiteX106" fmla="*/ 440077 w 4519987"/>
                <a:gd name="connsiteY106" fmla="*/ 3495675 h 4496940"/>
                <a:gd name="connsiteX107" fmla="*/ 411502 w 4519987"/>
                <a:gd name="connsiteY107" fmla="*/ 3448050 h 4496940"/>
                <a:gd name="connsiteX108" fmla="*/ 278152 w 4519987"/>
                <a:gd name="connsiteY108" fmla="*/ 3257550 h 4496940"/>
                <a:gd name="connsiteX109" fmla="*/ 249577 w 4519987"/>
                <a:gd name="connsiteY109" fmla="*/ 3200400 h 4496940"/>
                <a:gd name="connsiteX110" fmla="*/ 240052 w 4519987"/>
                <a:gd name="connsiteY110" fmla="*/ 3162300 h 4496940"/>
                <a:gd name="connsiteX111" fmla="*/ 221002 w 4519987"/>
                <a:gd name="connsiteY111" fmla="*/ 3105150 h 4496940"/>
                <a:gd name="connsiteX112" fmla="*/ 173377 w 4519987"/>
                <a:gd name="connsiteY112" fmla="*/ 3019425 h 4496940"/>
                <a:gd name="connsiteX113" fmla="*/ 144802 w 4519987"/>
                <a:gd name="connsiteY113" fmla="*/ 2924175 h 4496940"/>
                <a:gd name="connsiteX114" fmla="*/ 68602 w 4519987"/>
                <a:gd name="connsiteY114" fmla="*/ 2724150 h 4496940"/>
                <a:gd name="connsiteX115" fmla="*/ 49552 w 4519987"/>
                <a:gd name="connsiteY115" fmla="*/ 2638425 h 4496940"/>
                <a:gd name="connsiteX116" fmla="*/ 40027 w 4519987"/>
                <a:gd name="connsiteY116" fmla="*/ 2562225 h 4496940"/>
                <a:gd name="connsiteX117" fmla="*/ 30502 w 4519987"/>
                <a:gd name="connsiteY117" fmla="*/ 2514600 h 4496940"/>
                <a:gd name="connsiteX118" fmla="*/ 11452 w 4519987"/>
                <a:gd name="connsiteY118" fmla="*/ 2400300 h 4496940"/>
                <a:gd name="connsiteX119" fmla="*/ 20977 w 4519987"/>
                <a:gd name="connsiteY119" fmla="*/ 1905000 h 4496940"/>
                <a:gd name="connsiteX120" fmla="*/ 30502 w 4519987"/>
                <a:gd name="connsiteY120" fmla="*/ 1838325 h 4496940"/>
                <a:gd name="connsiteX121" fmla="*/ 49552 w 4519987"/>
                <a:gd name="connsiteY121" fmla="*/ 1781175 h 4496940"/>
                <a:gd name="connsiteX122" fmla="*/ 59077 w 4519987"/>
                <a:gd name="connsiteY122" fmla="*/ 1743075 h 4496940"/>
                <a:gd name="connsiteX123" fmla="*/ 78127 w 4519987"/>
                <a:gd name="connsiteY123" fmla="*/ 1685925 h 4496940"/>
                <a:gd name="connsiteX124" fmla="*/ 87652 w 4519987"/>
                <a:gd name="connsiteY124" fmla="*/ 1638300 h 4496940"/>
                <a:gd name="connsiteX125" fmla="*/ 106702 w 4519987"/>
                <a:gd name="connsiteY125" fmla="*/ 1590675 h 4496940"/>
                <a:gd name="connsiteX126" fmla="*/ 135277 w 4519987"/>
                <a:gd name="connsiteY126" fmla="*/ 1504950 h 4496940"/>
                <a:gd name="connsiteX127" fmla="*/ 154327 w 4519987"/>
                <a:gd name="connsiteY127" fmla="*/ 1419225 h 4496940"/>
                <a:gd name="connsiteX128" fmla="*/ 230527 w 4519987"/>
                <a:gd name="connsiteY128" fmla="*/ 1276350 h 4496940"/>
                <a:gd name="connsiteX129" fmla="*/ 240052 w 4519987"/>
                <a:gd name="connsiteY129" fmla="*/ 1247775 h 4496940"/>
                <a:gd name="connsiteX130" fmla="*/ 268627 w 4519987"/>
                <a:gd name="connsiteY130" fmla="*/ 1200150 h 4496940"/>
                <a:gd name="connsiteX131" fmla="*/ 287677 w 4519987"/>
                <a:gd name="connsiteY131" fmla="*/ 1152525 h 4496940"/>
                <a:gd name="connsiteX132" fmla="*/ 316252 w 4519987"/>
                <a:gd name="connsiteY132" fmla="*/ 1114425 h 4496940"/>
                <a:gd name="connsiteX133" fmla="*/ 363877 w 4519987"/>
                <a:gd name="connsiteY133" fmla="*/ 1038225 h 4496940"/>
                <a:gd name="connsiteX134" fmla="*/ 382927 w 4519987"/>
                <a:gd name="connsiteY134" fmla="*/ 1009650 h 4496940"/>
                <a:gd name="connsiteX135" fmla="*/ 440077 w 4519987"/>
                <a:gd name="connsiteY135" fmla="*/ 904875 h 4496940"/>
                <a:gd name="connsiteX136" fmla="*/ 478177 w 4519987"/>
                <a:gd name="connsiteY136" fmla="*/ 857250 h 4496940"/>
                <a:gd name="connsiteX137" fmla="*/ 497227 w 4519987"/>
                <a:gd name="connsiteY137" fmla="*/ 828675 h 4496940"/>
                <a:gd name="connsiteX138" fmla="*/ 535327 w 4519987"/>
                <a:gd name="connsiteY138" fmla="*/ 800100 h 4496940"/>
                <a:gd name="connsiteX139" fmla="*/ 602002 w 4519987"/>
                <a:gd name="connsiteY139" fmla="*/ 733425 h 4496940"/>
                <a:gd name="connsiteX140" fmla="*/ 668677 w 4519987"/>
                <a:gd name="connsiteY140" fmla="*/ 676275 h 4496940"/>
                <a:gd name="connsiteX141" fmla="*/ 697252 w 4519987"/>
                <a:gd name="connsiteY141" fmla="*/ 657225 h 4496940"/>
                <a:gd name="connsiteX142" fmla="*/ 840127 w 4519987"/>
                <a:gd name="connsiteY142" fmla="*/ 533400 h 4496940"/>
                <a:gd name="connsiteX143" fmla="*/ 887752 w 4519987"/>
                <a:gd name="connsiteY143" fmla="*/ 504825 h 4496940"/>
                <a:gd name="connsiteX144" fmla="*/ 1167152 w 4519987"/>
                <a:gd name="connsiteY144" fmla="*/ 311150 h 4496940"/>
                <a:gd name="connsiteX145" fmla="*/ 1268752 w 4519987"/>
                <a:gd name="connsiteY145" fmla="*/ 285750 h 4496940"/>
                <a:gd name="connsiteX146" fmla="*/ 1411627 w 4519987"/>
                <a:gd name="connsiteY146" fmla="*/ 190500 h 4496940"/>
                <a:gd name="connsiteX147" fmla="*/ 1449727 w 4519987"/>
                <a:gd name="connsiteY147" fmla="*/ 161925 h 4496940"/>
                <a:gd name="connsiteX148" fmla="*/ 1525927 w 4519987"/>
                <a:gd name="connsiteY148" fmla="*/ 152400 h 4496940"/>
                <a:gd name="connsiteX149" fmla="*/ 1583077 w 4519987"/>
                <a:gd name="connsiteY149" fmla="*/ 142875 h 4496940"/>
                <a:gd name="connsiteX150" fmla="*/ 1716427 w 4519987"/>
                <a:gd name="connsiteY150" fmla="*/ 123825 h 4496940"/>
                <a:gd name="connsiteX151" fmla="*/ 1811677 w 4519987"/>
                <a:gd name="connsiteY151" fmla="*/ 114300 h 4496940"/>
                <a:gd name="connsiteX152" fmla="*/ 1859302 w 4519987"/>
                <a:gd name="connsiteY152" fmla="*/ 104775 h 4496940"/>
                <a:gd name="connsiteX153" fmla="*/ 1916452 w 4519987"/>
                <a:gd name="connsiteY153" fmla="*/ 95250 h 4496940"/>
                <a:gd name="connsiteX154" fmla="*/ 2030752 w 4519987"/>
                <a:gd name="connsiteY154" fmla="*/ 66675 h 4496940"/>
                <a:gd name="connsiteX155" fmla="*/ 2097427 w 4519987"/>
                <a:gd name="connsiteY155" fmla="*/ 47625 h 4496940"/>
                <a:gd name="connsiteX156" fmla="*/ 2164102 w 4519987"/>
                <a:gd name="connsiteY156" fmla="*/ 38100 h 4496940"/>
                <a:gd name="connsiteX157" fmla="*/ 2392702 w 4519987"/>
                <a:gd name="connsiteY15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07202 w 4519987"/>
                <a:gd name="connsiteY29" fmla="*/ 876300 h 4496940"/>
                <a:gd name="connsiteX30" fmla="*/ 4135777 w 4519987"/>
                <a:gd name="connsiteY30" fmla="*/ 933450 h 4496940"/>
                <a:gd name="connsiteX31" fmla="*/ 4164352 w 4519987"/>
                <a:gd name="connsiteY31" fmla="*/ 990600 h 4496940"/>
                <a:gd name="connsiteX32" fmla="*/ 4173877 w 4519987"/>
                <a:gd name="connsiteY32" fmla="*/ 1019175 h 4496940"/>
                <a:gd name="connsiteX33" fmla="*/ 4192927 w 4519987"/>
                <a:gd name="connsiteY33" fmla="*/ 1057275 h 4496940"/>
                <a:gd name="connsiteX34" fmla="*/ 4202452 w 4519987"/>
                <a:gd name="connsiteY34" fmla="*/ 1085850 h 4496940"/>
                <a:gd name="connsiteX35" fmla="*/ 4250077 w 4519987"/>
                <a:gd name="connsiteY35" fmla="*/ 1143000 h 4496940"/>
                <a:gd name="connsiteX36" fmla="*/ 4259602 w 4519987"/>
                <a:gd name="connsiteY36" fmla="*/ 1190625 h 4496940"/>
                <a:gd name="connsiteX37" fmla="*/ 4307227 w 4519987"/>
                <a:gd name="connsiteY37" fmla="*/ 1266825 h 4496940"/>
                <a:gd name="connsiteX38" fmla="*/ 4345327 w 4519987"/>
                <a:gd name="connsiteY38" fmla="*/ 1362075 h 4496940"/>
                <a:gd name="connsiteX39" fmla="*/ 4373902 w 4519987"/>
                <a:gd name="connsiteY39" fmla="*/ 1428750 h 4496940"/>
                <a:gd name="connsiteX40" fmla="*/ 4392952 w 4519987"/>
                <a:gd name="connsiteY40" fmla="*/ 1552575 h 4496940"/>
                <a:gd name="connsiteX41" fmla="*/ 4402477 w 4519987"/>
                <a:gd name="connsiteY41" fmla="*/ 1590675 h 4496940"/>
                <a:gd name="connsiteX42" fmla="*/ 4431052 w 4519987"/>
                <a:gd name="connsiteY42" fmla="*/ 1685925 h 4496940"/>
                <a:gd name="connsiteX43" fmla="*/ 4519952 w 4519987"/>
                <a:gd name="connsiteY43" fmla="*/ 2181225 h 4496940"/>
                <a:gd name="connsiteX44" fmla="*/ 4446927 w 4519987"/>
                <a:gd name="connsiteY44" fmla="*/ 2768600 h 4496940"/>
                <a:gd name="connsiteX45" fmla="*/ 4383427 w 4519987"/>
                <a:gd name="connsiteY45" fmla="*/ 2990850 h 4496940"/>
                <a:gd name="connsiteX46" fmla="*/ 4278652 w 4519987"/>
                <a:gd name="connsiteY46" fmla="*/ 3248025 h 4496940"/>
                <a:gd name="connsiteX47" fmla="*/ 4259602 w 4519987"/>
                <a:gd name="connsiteY47" fmla="*/ 3276600 h 4496940"/>
                <a:gd name="connsiteX48" fmla="*/ 4221502 w 4519987"/>
                <a:gd name="connsiteY48" fmla="*/ 3333750 h 4496940"/>
                <a:gd name="connsiteX49" fmla="*/ 4211977 w 4519987"/>
                <a:gd name="connsiteY49" fmla="*/ 3362325 h 4496940"/>
                <a:gd name="connsiteX50" fmla="*/ 4183402 w 4519987"/>
                <a:gd name="connsiteY50" fmla="*/ 3400425 h 4496940"/>
                <a:gd name="connsiteX51" fmla="*/ 4164352 w 4519987"/>
                <a:gd name="connsiteY51" fmla="*/ 3429000 h 4496940"/>
                <a:gd name="connsiteX52" fmla="*/ 4088152 w 4519987"/>
                <a:gd name="connsiteY52" fmla="*/ 3495675 h 4496940"/>
                <a:gd name="connsiteX53" fmla="*/ 4059577 w 4519987"/>
                <a:gd name="connsiteY53" fmla="*/ 3533775 h 4496940"/>
                <a:gd name="connsiteX54" fmla="*/ 4002427 w 4519987"/>
                <a:gd name="connsiteY54" fmla="*/ 3600450 h 4496940"/>
                <a:gd name="connsiteX55" fmla="*/ 3983377 w 4519987"/>
                <a:gd name="connsiteY55" fmla="*/ 3629025 h 4496940"/>
                <a:gd name="connsiteX56" fmla="*/ 3954802 w 4519987"/>
                <a:gd name="connsiteY56" fmla="*/ 3648075 h 4496940"/>
                <a:gd name="connsiteX57" fmla="*/ 3907177 w 4519987"/>
                <a:gd name="connsiteY57" fmla="*/ 3686175 h 4496940"/>
                <a:gd name="connsiteX58" fmla="*/ 3869077 w 4519987"/>
                <a:gd name="connsiteY58" fmla="*/ 3724275 h 4496940"/>
                <a:gd name="connsiteX59" fmla="*/ 3792877 w 4519987"/>
                <a:gd name="connsiteY59" fmla="*/ 3781425 h 4496940"/>
                <a:gd name="connsiteX60" fmla="*/ 3783352 w 4519987"/>
                <a:gd name="connsiteY60" fmla="*/ 3810000 h 4496940"/>
                <a:gd name="connsiteX61" fmla="*/ 3745252 w 4519987"/>
                <a:gd name="connsiteY61" fmla="*/ 3819525 h 4496940"/>
                <a:gd name="connsiteX62" fmla="*/ 3678577 w 4519987"/>
                <a:gd name="connsiteY62" fmla="*/ 3848100 h 4496940"/>
                <a:gd name="connsiteX63" fmla="*/ 3659527 w 4519987"/>
                <a:gd name="connsiteY63" fmla="*/ 3971925 h 4496940"/>
                <a:gd name="connsiteX64" fmla="*/ 3630952 w 4519987"/>
                <a:gd name="connsiteY64" fmla="*/ 4010025 h 4496940"/>
                <a:gd name="connsiteX65" fmla="*/ 3621427 w 4519987"/>
                <a:gd name="connsiteY65" fmla="*/ 4038600 h 4496940"/>
                <a:gd name="connsiteX66" fmla="*/ 3554752 w 4519987"/>
                <a:gd name="connsiteY66" fmla="*/ 4095750 h 4496940"/>
                <a:gd name="connsiteX67" fmla="*/ 3516652 w 4519987"/>
                <a:gd name="connsiteY67" fmla="*/ 4114800 h 4496940"/>
                <a:gd name="connsiteX68" fmla="*/ 3497602 w 4519987"/>
                <a:gd name="connsiteY68" fmla="*/ 4143375 h 4496940"/>
                <a:gd name="connsiteX69" fmla="*/ 3383302 w 4519987"/>
                <a:gd name="connsiteY69" fmla="*/ 4210050 h 4496940"/>
                <a:gd name="connsiteX70" fmla="*/ 3335677 w 4519987"/>
                <a:gd name="connsiteY70" fmla="*/ 4238625 h 4496940"/>
                <a:gd name="connsiteX71" fmla="*/ 3288052 w 4519987"/>
                <a:gd name="connsiteY71" fmla="*/ 4248150 h 4496940"/>
                <a:gd name="connsiteX72" fmla="*/ 3240427 w 4519987"/>
                <a:gd name="connsiteY72" fmla="*/ 4267200 h 4496940"/>
                <a:gd name="connsiteX73" fmla="*/ 3068977 w 4519987"/>
                <a:gd name="connsiteY73" fmla="*/ 4286250 h 4496940"/>
                <a:gd name="connsiteX74" fmla="*/ 2935627 w 4519987"/>
                <a:gd name="connsiteY74" fmla="*/ 4333875 h 4496940"/>
                <a:gd name="connsiteX75" fmla="*/ 2811802 w 4519987"/>
                <a:gd name="connsiteY75" fmla="*/ 4371975 h 4496940"/>
                <a:gd name="connsiteX76" fmla="*/ 2745127 w 4519987"/>
                <a:gd name="connsiteY76" fmla="*/ 4410075 h 4496940"/>
                <a:gd name="connsiteX77" fmla="*/ 2697502 w 4519987"/>
                <a:gd name="connsiteY77" fmla="*/ 4429125 h 4496940"/>
                <a:gd name="connsiteX78" fmla="*/ 2640352 w 4519987"/>
                <a:gd name="connsiteY78" fmla="*/ 4457700 h 4496940"/>
                <a:gd name="connsiteX79" fmla="*/ 2583202 w 4519987"/>
                <a:gd name="connsiteY79" fmla="*/ 4467225 h 4496940"/>
                <a:gd name="connsiteX80" fmla="*/ 2545102 w 4519987"/>
                <a:gd name="connsiteY80" fmla="*/ 4486275 h 4496940"/>
                <a:gd name="connsiteX81" fmla="*/ 2306977 w 4519987"/>
                <a:gd name="connsiteY81" fmla="*/ 4476750 h 4496940"/>
                <a:gd name="connsiteX82" fmla="*/ 2202202 w 4519987"/>
                <a:gd name="connsiteY82" fmla="*/ 4457700 h 4496940"/>
                <a:gd name="connsiteX83" fmla="*/ 2126002 w 4519987"/>
                <a:gd name="connsiteY83" fmla="*/ 4429125 h 4496940"/>
                <a:gd name="connsiteX84" fmla="*/ 1935502 w 4519987"/>
                <a:gd name="connsiteY84" fmla="*/ 4400550 h 4496940"/>
                <a:gd name="connsiteX85" fmla="*/ 1821202 w 4519987"/>
                <a:gd name="connsiteY85" fmla="*/ 4371975 h 4496940"/>
                <a:gd name="connsiteX86" fmla="*/ 1754527 w 4519987"/>
                <a:gd name="connsiteY86" fmla="*/ 4352925 h 4496940"/>
                <a:gd name="connsiteX87" fmla="*/ 1687852 w 4519987"/>
                <a:gd name="connsiteY87" fmla="*/ 4343400 h 4496940"/>
                <a:gd name="connsiteX88" fmla="*/ 1573552 w 4519987"/>
                <a:gd name="connsiteY88" fmla="*/ 4305300 h 4496940"/>
                <a:gd name="connsiteX89" fmla="*/ 1402102 w 4519987"/>
                <a:gd name="connsiteY89" fmla="*/ 4276725 h 4496940"/>
                <a:gd name="connsiteX90" fmla="*/ 1287802 w 4519987"/>
                <a:gd name="connsiteY90" fmla="*/ 4229100 h 4496940"/>
                <a:gd name="connsiteX91" fmla="*/ 1221127 w 4519987"/>
                <a:gd name="connsiteY91" fmla="*/ 4200525 h 4496940"/>
                <a:gd name="connsiteX92" fmla="*/ 1144927 w 4519987"/>
                <a:gd name="connsiteY92" fmla="*/ 4171950 h 4496940"/>
                <a:gd name="connsiteX93" fmla="*/ 1087777 w 4519987"/>
                <a:gd name="connsiteY93" fmla="*/ 4143375 h 4496940"/>
                <a:gd name="connsiteX94" fmla="*/ 1030627 w 4519987"/>
                <a:gd name="connsiteY94" fmla="*/ 4124325 h 4496940"/>
                <a:gd name="connsiteX95" fmla="*/ 925852 w 4519987"/>
                <a:gd name="connsiteY95" fmla="*/ 4067175 h 4496940"/>
                <a:gd name="connsiteX96" fmla="*/ 830602 w 4519987"/>
                <a:gd name="connsiteY96" fmla="*/ 3981450 h 4496940"/>
                <a:gd name="connsiteX97" fmla="*/ 763927 w 4519987"/>
                <a:gd name="connsiteY97" fmla="*/ 3914775 h 4496940"/>
                <a:gd name="connsiteX98" fmla="*/ 725827 w 4519987"/>
                <a:gd name="connsiteY98" fmla="*/ 3876675 h 4496940"/>
                <a:gd name="connsiteX99" fmla="*/ 697252 w 4519987"/>
                <a:gd name="connsiteY99" fmla="*/ 3838575 h 4496940"/>
                <a:gd name="connsiteX100" fmla="*/ 640102 w 4519987"/>
                <a:gd name="connsiteY100" fmla="*/ 3781425 h 4496940"/>
                <a:gd name="connsiteX101" fmla="*/ 611527 w 4519987"/>
                <a:gd name="connsiteY101" fmla="*/ 3733800 h 4496940"/>
                <a:gd name="connsiteX102" fmla="*/ 554377 w 4519987"/>
                <a:gd name="connsiteY102" fmla="*/ 3657600 h 4496940"/>
                <a:gd name="connsiteX103" fmla="*/ 525802 w 4519987"/>
                <a:gd name="connsiteY103" fmla="*/ 3609975 h 4496940"/>
                <a:gd name="connsiteX104" fmla="*/ 497227 w 4519987"/>
                <a:gd name="connsiteY104" fmla="*/ 3552825 h 4496940"/>
                <a:gd name="connsiteX105" fmla="*/ 440077 w 4519987"/>
                <a:gd name="connsiteY105" fmla="*/ 3495675 h 4496940"/>
                <a:gd name="connsiteX106" fmla="*/ 411502 w 4519987"/>
                <a:gd name="connsiteY106" fmla="*/ 3448050 h 4496940"/>
                <a:gd name="connsiteX107" fmla="*/ 278152 w 4519987"/>
                <a:gd name="connsiteY107" fmla="*/ 3257550 h 4496940"/>
                <a:gd name="connsiteX108" fmla="*/ 249577 w 4519987"/>
                <a:gd name="connsiteY108" fmla="*/ 3200400 h 4496940"/>
                <a:gd name="connsiteX109" fmla="*/ 240052 w 4519987"/>
                <a:gd name="connsiteY109" fmla="*/ 3162300 h 4496940"/>
                <a:gd name="connsiteX110" fmla="*/ 221002 w 4519987"/>
                <a:gd name="connsiteY110" fmla="*/ 3105150 h 4496940"/>
                <a:gd name="connsiteX111" fmla="*/ 173377 w 4519987"/>
                <a:gd name="connsiteY111" fmla="*/ 3019425 h 4496940"/>
                <a:gd name="connsiteX112" fmla="*/ 144802 w 4519987"/>
                <a:gd name="connsiteY112" fmla="*/ 2924175 h 4496940"/>
                <a:gd name="connsiteX113" fmla="*/ 68602 w 4519987"/>
                <a:gd name="connsiteY113" fmla="*/ 2724150 h 4496940"/>
                <a:gd name="connsiteX114" fmla="*/ 49552 w 4519987"/>
                <a:gd name="connsiteY114" fmla="*/ 2638425 h 4496940"/>
                <a:gd name="connsiteX115" fmla="*/ 40027 w 4519987"/>
                <a:gd name="connsiteY115" fmla="*/ 2562225 h 4496940"/>
                <a:gd name="connsiteX116" fmla="*/ 30502 w 4519987"/>
                <a:gd name="connsiteY116" fmla="*/ 2514600 h 4496940"/>
                <a:gd name="connsiteX117" fmla="*/ 11452 w 4519987"/>
                <a:gd name="connsiteY117" fmla="*/ 2400300 h 4496940"/>
                <a:gd name="connsiteX118" fmla="*/ 20977 w 4519987"/>
                <a:gd name="connsiteY118" fmla="*/ 1905000 h 4496940"/>
                <a:gd name="connsiteX119" fmla="*/ 30502 w 4519987"/>
                <a:gd name="connsiteY119" fmla="*/ 1838325 h 4496940"/>
                <a:gd name="connsiteX120" fmla="*/ 49552 w 4519987"/>
                <a:gd name="connsiteY120" fmla="*/ 1781175 h 4496940"/>
                <a:gd name="connsiteX121" fmla="*/ 59077 w 4519987"/>
                <a:gd name="connsiteY121" fmla="*/ 1743075 h 4496940"/>
                <a:gd name="connsiteX122" fmla="*/ 78127 w 4519987"/>
                <a:gd name="connsiteY122" fmla="*/ 1685925 h 4496940"/>
                <a:gd name="connsiteX123" fmla="*/ 87652 w 4519987"/>
                <a:gd name="connsiteY123" fmla="*/ 1638300 h 4496940"/>
                <a:gd name="connsiteX124" fmla="*/ 106702 w 4519987"/>
                <a:gd name="connsiteY124" fmla="*/ 1590675 h 4496940"/>
                <a:gd name="connsiteX125" fmla="*/ 135277 w 4519987"/>
                <a:gd name="connsiteY125" fmla="*/ 1504950 h 4496940"/>
                <a:gd name="connsiteX126" fmla="*/ 154327 w 4519987"/>
                <a:gd name="connsiteY126" fmla="*/ 1419225 h 4496940"/>
                <a:gd name="connsiteX127" fmla="*/ 230527 w 4519987"/>
                <a:gd name="connsiteY127" fmla="*/ 1276350 h 4496940"/>
                <a:gd name="connsiteX128" fmla="*/ 240052 w 4519987"/>
                <a:gd name="connsiteY128" fmla="*/ 1247775 h 4496940"/>
                <a:gd name="connsiteX129" fmla="*/ 268627 w 4519987"/>
                <a:gd name="connsiteY129" fmla="*/ 1200150 h 4496940"/>
                <a:gd name="connsiteX130" fmla="*/ 287677 w 4519987"/>
                <a:gd name="connsiteY130" fmla="*/ 1152525 h 4496940"/>
                <a:gd name="connsiteX131" fmla="*/ 316252 w 4519987"/>
                <a:gd name="connsiteY131" fmla="*/ 1114425 h 4496940"/>
                <a:gd name="connsiteX132" fmla="*/ 363877 w 4519987"/>
                <a:gd name="connsiteY132" fmla="*/ 1038225 h 4496940"/>
                <a:gd name="connsiteX133" fmla="*/ 382927 w 4519987"/>
                <a:gd name="connsiteY133" fmla="*/ 1009650 h 4496940"/>
                <a:gd name="connsiteX134" fmla="*/ 440077 w 4519987"/>
                <a:gd name="connsiteY134" fmla="*/ 904875 h 4496940"/>
                <a:gd name="connsiteX135" fmla="*/ 478177 w 4519987"/>
                <a:gd name="connsiteY135" fmla="*/ 857250 h 4496940"/>
                <a:gd name="connsiteX136" fmla="*/ 497227 w 4519987"/>
                <a:gd name="connsiteY136" fmla="*/ 828675 h 4496940"/>
                <a:gd name="connsiteX137" fmla="*/ 535327 w 4519987"/>
                <a:gd name="connsiteY137" fmla="*/ 800100 h 4496940"/>
                <a:gd name="connsiteX138" fmla="*/ 602002 w 4519987"/>
                <a:gd name="connsiteY138" fmla="*/ 733425 h 4496940"/>
                <a:gd name="connsiteX139" fmla="*/ 668677 w 4519987"/>
                <a:gd name="connsiteY139" fmla="*/ 676275 h 4496940"/>
                <a:gd name="connsiteX140" fmla="*/ 697252 w 4519987"/>
                <a:gd name="connsiteY140" fmla="*/ 657225 h 4496940"/>
                <a:gd name="connsiteX141" fmla="*/ 840127 w 4519987"/>
                <a:gd name="connsiteY141" fmla="*/ 533400 h 4496940"/>
                <a:gd name="connsiteX142" fmla="*/ 887752 w 4519987"/>
                <a:gd name="connsiteY142" fmla="*/ 504825 h 4496940"/>
                <a:gd name="connsiteX143" fmla="*/ 1167152 w 4519987"/>
                <a:gd name="connsiteY143" fmla="*/ 311150 h 4496940"/>
                <a:gd name="connsiteX144" fmla="*/ 1268752 w 4519987"/>
                <a:gd name="connsiteY144" fmla="*/ 285750 h 4496940"/>
                <a:gd name="connsiteX145" fmla="*/ 1411627 w 4519987"/>
                <a:gd name="connsiteY145" fmla="*/ 190500 h 4496940"/>
                <a:gd name="connsiteX146" fmla="*/ 1449727 w 4519987"/>
                <a:gd name="connsiteY146" fmla="*/ 161925 h 4496940"/>
                <a:gd name="connsiteX147" fmla="*/ 1525927 w 4519987"/>
                <a:gd name="connsiteY147" fmla="*/ 152400 h 4496940"/>
                <a:gd name="connsiteX148" fmla="*/ 1583077 w 4519987"/>
                <a:gd name="connsiteY148" fmla="*/ 142875 h 4496940"/>
                <a:gd name="connsiteX149" fmla="*/ 1716427 w 4519987"/>
                <a:gd name="connsiteY149" fmla="*/ 123825 h 4496940"/>
                <a:gd name="connsiteX150" fmla="*/ 1811677 w 4519987"/>
                <a:gd name="connsiteY150" fmla="*/ 114300 h 4496940"/>
                <a:gd name="connsiteX151" fmla="*/ 1859302 w 4519987"/>
                <a:gd name="connsiteY151" fmla="*/ 104775 h 4496940"/>
                <a:gd name="connsiteX152" fmla="*/ 1916452 w 4519987"/>
                <a:gd name="connsiteY152" fmla="*/ 95250 h 4496940"/>
                <a:gd name="connsiteX153" fmla="*/ 2030752 w 4519987"/>
                <a:gd name="connsiteY153" fmla="*/ 66675 h 4496940"/>
                <a:gd name="connsiteX154" fmla="*/ 2097427 w 4519987"/>
                <a:gd name="connsiteY154" fmla="*/ 47625 h 4496940"/>
                <a:gd name="connsiteX155" fmla="*/ 2164102 w 4519987"/>
                <a:gd name="connsiteY155" fmla="*/ 38100 h 4496940"/>
                <a:gd name="connsiteX156" fmla="*/ 2392702 w 4519987"/>
                <a:gd name="connsiteY15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869077 w 4519987"/>
                <a:gd name="connsiteY25" fmla="*/ 628650 h 4496940"/>
                <a:gd name="connsiteX26" fmla="*/ 3907177 w 4519987"/>
                <a:gd name="connsiteY26" fmla="*/ 647700 h 4496940"/>
                <a:gd name="connsiteX27" fmla="*/ 3935752 w 4519987"/>
                <a:gd name="connsiteY27" fmla="*/ 676275 h 4496940"/>
                <a:gd name="connsiteX28" fmla="*/ 4078627 w 4519987"/>
                <a:gd name="connsiteY28" fmla="*/ 838200 h 4496940"/>
                <a:gd name="connsiteX29" fmla="*/ 4135777 w 4519987"/>
                <a:gd name="connsiteY29" fmla="*/ 933450 h 4496940"/>
                <a:gd name="connsiteX30" fmla="*/ 4164352 w 4519987"/>
                <a:gd name="connsiteY30" fmla="*/ 990600 h 4496940"/>
                <a:gd name="connsiteX31" fmla="*/ 4173877 w 4519987"/>
                <a:gd name="connsiteY31" fmla="*/ 1019175 h 4496940"/>
                <a:gd name="connsiteX32" fmla="*/ 4192927 w 4519987"/>
                <a:gd name="connsiteY32" fmla="*/ 1057275 h 4496940"/>
                <a:gd name="connsiteX33" fmla="*/ 4202452 w 4519987"/>
                <a:gd name="connsiteY33" fmla="*/ 1085850 h 4496940"/>
                <a:gd name="connsiteX34" fmla="*/ 4250077 w 4519987"/>
                <a:gd name="connsiteY34" fmla="*/ 1143000 h 4496940"/>
                <a:gd name="connsiteX35" fmla="*/ 4259602 w 4519987"/>
                <a:gd name="connsiteY35" fmla="*/ 1190625 h 4496940"/>
                <a:gd name="connsiteX36" fmla="*/ 4307227 w 4519987"/>
                <a:gd name="connsiteY36" fmla="*/ 1266825 h 4496940"/>
                <a:gd name="connsiteX37" fmla="*/ 4345327 w 4519987"/>
                <a:gd name="connsiteY37" fmla="*/ 1362075 h 4496940"/>
                <a:gd name="connsiteX38" fmla="*/ 4373902 w 4519987"/>
                <a:gd name="connsiteY38" fmla="*/ 1428750 h 4496940"/>
                <a:gd name="connsiteX39" fmla="*/ 4392952 w 4519987"/>
                <a:gd name="connsiteY39" fmla="*/ 1552575 h 4496940"/>
                <a:gd name="connsiteX40" fmla="*/ 4402477 w 4519987"/>
                <a:gd name="connsiteY40" fmla="*/ 1590675 h 4496940"/>
                <a:gd name="connsiteX41" fmla="*/ 4431052 w 4519987"/>
                <a:gd name="connsiteY41" fmla="*/ 1685925 h 4496940"/>
                <a:gd name="connsiteX42" fmla="*/ 4519952 w 4519987"/>
                <a:gd name="connsiteY42" fmla="*/ 2181225 h 4496940"/>
                <a:gd name="connsiteX43" fmla="*/ 4446927 w 4519987"/>
                <a:gd name="connsiteY43" fmla="*/ 2768600 h 4496940"/>
                <a:gd name="connsiteX44" fmla="*/ 4383427 w 4519987"/>
                <a:gd name="connsiteY44" fmla="*/ 2990850 h 4496940"/>
                <a:gd name="connsiteX45" fmla="*/ 4278652 w 4519987"/>
                <a:gd name="connsiteY45" fmla="*/ 3248025 h 4496940"/>
                <a:gd name="connsiteX46" fmla="*/ 4259602 w 4519987"/>
                <a:gd name="connsiteY46" fmla="*/ 3276600 h 4496940"/>
                <a:gd name="connsiteX47" fmla="*/ 4221502 w 4519987"/>
                <a:gd name="connsiteY47" fmla="*/ 3333750 h 4496940"/>
                <a:gd name="connsiteX48" fmla="*/ 4211977 w 4519987"/>
                <a:gd name="connsiteY48" fmla="*/ 3362325 h 4496940"/>
                <a:gd name="connsiteX49" fmla="*/ 4183402 w 4519987"/>
                <a:gd name="connsiteY49" fmla="*/ 3400425 h 4496940"/>
                <a:gd name="connsiteX50" fmla="*/ 4164352 w 4519987"/>
                <a:gd name="connsiteY50" fmla="*/ 3429000 h 4496940"/>
                <a:gd name="connsiteX51" fmla="*/ 4088152 w 4519987"/>
                <a:gd name="connsiteY51" fmla="*/ 3495675 h 4496940"/>
                <a:gd name="connsiteX52" fmla="*/ 4059577 w 4519987"/>
                <a:gd name="connsiteY52" fmla="*/ 3533775 h 4496940"/>
                <a:gd name="connsiteX53" fmla="*/ 4002427 w 4519987"/>
                <a:gd name="connsiteY53" fmla="*/ 3600450 h 4496940"/>
                <a:gd name="connsiteX54" fmla="*/ 3983377 w 4519987"/>
                <a:gd name="connsiteY54" fmla="*/ 3629025 h 4496940"/>
                <a:gd name="connsiteX55" fmla="*/ 3954802 w 4519987"/>
                <a:gd name="connsiteY55" fmla="*/ 3648075 h 4496940"/>
                <a:gd name="connsiteX56" fmla="*/ 3907177 w 4519987"/>
                <a:gd name="connsiteY56" fmla="*/ 3686175 h 4496940"/>
                <a:gd name="connsiteX57" fmla="*/ 3869077 w 4519987"/>
                <a:gd name="connsiteY57" fmla="*/ 3724275 h 4496940"/>
                <a:gd name="connsiteX58" fmla="*/ 3792877 w 4519987"/>
                <a:gd name="connsiteY58" fmla="*/ 3781425 h 4496940"/>
                <a:gd name="connsiteX59" fmla="*/ 3783352 w 4519987"/>
                <a:gd name="connsiteY59" fmla="*/ 3810000 h 4496940"/>
                <a:gd name="connsiteX60" fmla="*/ 3745252 w 4519987"/>
                <a:gd name="connsiteY60" fmla="*/ 3819525 h 4496940"/>
                <a:gd name="connsiteX61" fmla="*/ 3678577 w 4519987"/>
                <a:gd name="connsiteY61" fmla="*/ 3848100 h 4496940"/>
                <a:gd name="connsiteX62" fmla="*/ 3659527 w 4519987"/>
                <a:gd name="connsiteY62" fmla="*/ 3971925 h 4496940"/>
                <a:gd name="connsiteX63" fmla="*/ 3630952 w 4519987"/>
                <a:gd name="connsiteY63" fmla="*/ 4010025 h 4496940"/>
                <a:gd name="connsiteX64" fmla="*/ 3621427 w 4519987"/>
                <a:gd name="connsiteY64" fmla="*/ 4038600 h 4496940"/>
                <a:gd name="connsiteX65" fmla="*/ 3554752 w 4519987"/>
                <a:gd name="connsiteY65" fmla="*/ 4095750 h 4496940"/>
                <a:gd name="connsiteX66" fmla="*/ 3516652 w 4519987"/>
                <a:gd name="connsiteY66" fmla="*/ 4114800 h 4496940"/>
                <a:gd name="connsiteX67" fmla="*/ 3497602 w 4519987"/>
                <a:gd name="connsiteY67" fmla="*/ 4143375 h 4496940"/>
                <a:gd name="connsiteX68" fmla="*/ 3383302 w 4519987"/>
                <a:gd name="connsiteY68" fmla="*/ 4210050 h 4496940"/>
                <a:gd name="connsiteX69" fmla="*/ 3335677 w 4519987"/>
                <a:gd name="connsiteY69" fmla="*/ 4238625 h 4496940"/>
                <a:gd name="connsiteX70" fmla="*/ 3288052 w 4519987"/>
                <a:gd name="connsiteY70" fmla="*/ 4248150 h 4496940"/>
                <a:gd name="connsiteX71" fmla="*/ 3240427 w 4519987"/>
                <a:gd name="connsiteY71" fmla="*/ 4267200 h 4496940"/>
                <a:gd name="connsiteX72" fmla="*/ 3068977 w 4519987"/>
                <a:gd name="connsiteY72" fmla="*/ 4286250 h 4496940"/>
                <a:gd name="connsiteX73" fmla="*/ 2935627 w 4519987"/>
                <a:gd name="connsiteY73" fmla="*/ 4333875 h 4496940"/>
                <a:gd name="connsiteX74" fmla="*/ 2811802 w 4519987"/>
                <a:gd name="connsiteY74" fmla="*/ 4371975 h 4496940"/>
                <a:gd name="connsiteX75" fmla="*/ 2745127 w 4519987"/>
                <a:gd name="connsiteY75" fmla="*/ 4410075 h 4496940"/>
                <a:gd name="connsiteX76" fmla="*/ 2697502 w 4519987"/>
                <a:gd name="connsiteY76" fmla="*/ 4429125 h 4496940"/>
                <a:gd name="connsiteX77" fmla="*/ 2640352 w 4519987"/>
                <a:gd name="connsiteY77" fmla="*/ 4457700 h 4496940"/>
                <a:gd name="connsiteX78" fmla="*/ 2583202 w 4519987"/>
                <a:gd name="connsiteY78" fmla="*/ 4467225 h 4496940"/>
                <a:gd name="connsiteX79" fmla="*/ 2545102 w 4519987"/>
                <a:gd name="connsiteY79" fmla="*/ 4486275 h 4496940"/>
                <a:gd name="connsiteX80" fmla="*/ 2306977 w 4519987"/>
                <a:gd name="connsiteY80" fmla="*/ 4476750 h 4496940"/>
                <a:gd name="connsiteX81" fmla="*/ 2202202 w 4519987"/>
                <a:gd name="connsiteY81" fmla="*/ 4457700 h 4496940"/>
                <a:gd name="connsiteX82" fmla="*/ 2126002 w 4519987"/>
                <a:gd name="connsiteY82" fmla="*/ 4429125 h 4496940"/>
                <a:gd name="connsiteX83" fmla="*/ 1935502 w 4519987"/>
                <a:gd name="connsiteY83" fmla="*/ 4400550 h 4496940"/>
                <a:gd name="connsiteX84" fmla="*/ 1821202 w 4519987"/>
                <a:gd name="connsiteY84" fmla="*/ 4371975 h 4496940"/>
                <a:gd name="connsiteX85" fmla="*/ 1754527 w 4519987"/>
                <a:gd name="connsiteY85" fmla="*/ 4352925 h 4496940"/>
                <a:gd name="connsiteX86" fmla="*/ 1687852 w 4519987"/>
                <a:gd name="connsiteY86" fmla="*/ 4343400 h 4496940"/>
                <a:gd name="connsiteX87" fmla="*/ 1573552 w 4519987"/>
                <a:gd name="connsiteY87" fmla="*/ 4305300 h 4496940"/>
                <a:gd name="connsiteX88" fmla="*/ 1402102 w 4519987"/>
                <a:gd name="connsiteY88" fmla="*/ 4276725 h 4496940"/>
                <a:gd name="connsiteX89" fmla="*/ 1287802 w 4519987"/>
                <a:gd name="connsiteY89" fmla="*/ 4229100 h 4496940"/>
                <a:gd name="connsiteX90" fmla="*/ 1221127 w 4519987"/>
                <a:gd name="connsiteY90" fmla="*/ 4200525 h 4496940"/>
                <a:gd name="connsiteX91" fmla="*/ 1144927 w 4519987"/>
                <a:gd name="connsiteY91" fmla="*/ 4171950 h 4496940"/>
                <a:gd name="connsiteX92" fmla="*/ 1087777 w 4519987"/>
                <a:gd name="connsiteY92" fmla="*/ 4143375 h 4496940"/>
                <a:gd name="connsiteX93" fmla="*/ 1030627 w 4519987"/>
                <a:gd name="connsiteY93" fmla="*/ 4124325 h 4496940"/>
                <a:gd name="connsiteX94" fmla="*/ 925852 w 4519987"/>
                <a:gd name="connsiteY94" fmla="*/ 4067175 h 4496940"/>
                <a:gd name="connsiteX95" fmla="*/ 830602 w 4519987"/>
                <a:gd name="connsiteY95" fmla="*/ 3981450 h 4496940"/>
                <a:gd name="connsiteX96" fmla="*/ 763927 w 4519987"/>
                <a:gd name="connsiteY96" fmla="*/ 3914775 h 4496940"/>
                <a:gd name="connsiteX97" fmla="*/ 725827 w 4519987"/>
                <a:gd name="connsiteY97" fmla="*/ 3876675 h 4496940"/>
                <a:gd name="connsiteX98" fmla="*/ 697252 w 4519987"/>
                <a:gd name="connsiteY98" fmla="*/ 3838575 h 4496940"/>
                <a:gd name="connsiteX99" fmla="*/ 640102 w 4519987"/>
                <a:gd name="connsiteY99" fmla="*/ 3781425 h 4496940"/>
                <a:gd name="connsiteX100" fmla="*/ 611527 w 4519987"/>
                <a:gd name="connsiteY100" fmla="*/ 3733800 h 4496940"/>
                <a:gd name="connsiteX101" fmla="*/ 554377 w 4519987"/>
                <a:gd name="connsiteY101" fmla="*/ 3657600 h 4496940"/>
                <a:gd name="connsiteX102" fmla="*/ 525802 w 4519987"/>
                <a:gd name="connsiteY102" fmla="*/ 3609975 h 4496940"/>
                <a:gd name="connsiteX103" fmla="*/ 497227 w 4519987"/>
                <a:gd name="connsiteY103" fmla="*/ 3552825 h 4496940"/>
                <a:gd name="connsiteX104" fmla="*/ 440077 w 4519987"/>
                <a:gd name="connsiteY104" fmla="*/ 3495675 h 4496940"/>
                <a:gd name="connsiteX105" fmla="*/ 411502 w 4519987"/>
                <a:gd name="connsiteY105" fmla="*/ 3448050 h 4496940"/>
                <a:gd name="connsiteX106" fmla="*/ 278152 w 4519987"/>
                <a:gd name="connsiteY106" fmla="*/ 3257550 h 4496940"/>
                <a:gd name="connsiteX107" fmla="*/ 249577 w 4519987"/>
                <a:gd name="connsiteY107" fmla="*/ 3200400 h 4496940"/>
                <a:gd name="connsiteX108" fmla="*/ 240052 w 4519987"/>
                <a:gd name="connsiteY108" fmla="*/ 3162300 h 4496940"/>
                <a:gd name="connsiteX109" fmla="*/ 221002 w 4519987"/>
                <a:gd name="connsiteY109" fmla="*/ 3105150 h 4496940"/>
                <a:gd name="connsiteX110" fmla="*/ 173377 w 4519987"/>
                <a:gd name="connsiteY110" fmla="*/ 3019425 h 4496940"/>
                <a:gd name="connsiteX111" fmla="*/ 144802 w 4519987"/>
                <a:gd name="connsiteY111" fmla="*/ 2924175 h 4496940"/>
                <a:gd name="connsiteX112" fmla="*/ 68602 w 4519987"/>
                <a:gd name="connsiteY112" fmla="*/ 2724150 h 4496940"/>
                <a:gd name="connsiteX113" fmla="*/ 49552 w 4519987"/>
                <a:gd name="connsiteY113" fmla="*/ 2638425 h 4496940"/>
                <a:gd name="connsiteX114" fmla="*/ 40027 w 4519987"/>
                <a:gd name="connsiteY114" fmla="*/ 2562225 h 4496940"/>
                <a:gd name="connsiteX115" fmla="*/ 30502 w 4519987"/>
                <a:gd name="connsiteY115" fmla="*/ 2514600 h 4496940"/>
                <a:gd name="connsiteX116" fmla="*/ 11452 w 4519987"/>
                <a:gd name="connsiteY116" fmla="*/ 2400300 h 4496940"/>
                <a:gd name="connsiteX117" fmla="*/ 20977 w 4519987"/>
                <a:gd name="connsiteY117" fmla="*/ 1905000 h 4496940"/>
                <a:gd name="connsiteX118" fmla="*/ 30502 w 4519987"/>
                <a:gd name="connsiteY118" fmla="*/ 1838325 h 4496940"/>
                <a:gd name="connsiteX119" fmla="*/ 49552 w 4519987"/>
                <a:gd name="connsiteY119" fmla="*/ 1781175 h 4496940"/>
                <a:gd name="connsiteX120" fmla="*/ 59077 w 4519987"/>
                <a:gd name="connsiteY120" fmla="*/ 1743075 h 4496940"/>
                <a:gd name="connsiteX121" fmla="*/ 78127 w 4519987"/>
                <a:gd name="connsiteY121" fmla="*/ 1685925 h 4496940"/>
                <a:gd name="connsiteX122" fmla="*/ 87652 w 4519987"/>
                <a:gd name="connsiteY122" fmla="*/ 1638300 h 4496940"/>
                <a:gd name="connsiteX123" fmla="*/ 106702 w 4519987"/>
                <a:gd name="connsiteY123" fmla="*/ 1590675 h 4496940"/>
                <a:gd name="connsiteX124" fmla="*/ 135277 w 4519987"/>
                <a:gd name="connsiteY124" fmla="*/ 1504950 h 4496940"/>
                <a:gd name="connsiteX125" fmla="*/ 154327 w 4519987"/>
                <a:gd name="connsiteY125" fmla="*/ 1419225 h 4496940"/>
                <a:gd name="connsiteX126" fmla="*/ 230527 w 4519987"/>
                <a:gd name="connsiteY126" fmla="*/ 1276350 h 4496940"/>
                <a:gd name="connsiteX127" fmla="*/ 240052 w 4519987"/>
                <a:gd name="connsiteY127" fmla="*/ 1247775 h 4496940"/>
                <a:gd name="connsiteX128" fmla="*/ 268627 w 4519987"/>
                <a:gd name="connsiteY128" fmla="*/ 1200150 h 4496940"/>
                <a:gd name="connsiteX129" fmla="*/ 287677 w 4519987"/>
                <a:gd name="connsiteY129" fmla="*/ 1152525 h 4496940"/>
                <a:gd name="connsiteX130" fmla="*/ 316252 w 4519987"/>
                <a:gd name="connsiteY130" fmla="*/ 1114425 h 4496940"/>
                <a:gd name="connsiteX131" fmla="*/ 363877 w 4519987"/>
                <a:gd name="connsiteY131" fmla="*/ 1038225 h 4496940"/>
                <a:gd name="connsiteX132" fmla="*/ 382927 w 4519987"/>
                <a:gd name="connsiteY132" fmla="*/ 1009650 h 4496940"/>
                <a:gd name="connsiteX133" fmla="*/ 440077 w 4519987"/>
                <a:gd name="connsiteY133" fmla="*/ 904875 h 4496940"/>
                <a:gd name="connsiteX134" fmla="*/ 478177 w 4519987"/>
                <a:gd name="connsiteY134" fmla="*/ 857250 h 4496940"/>
                <a:gd name="connsiteX135" fmla="*/ 497227 w 4519987"/>
                <a:gd name="connsiteY135" fmla="*/ 828675 h 4496940"/>
                <a:gd name="connsiteX136" fmla="*/ 535327 w 4519987"/>
                <a:gd name="connsiteY136" fmla="*/ 800100 h 4496940"/>
                <a:gd name="connsiteX137" fmla="*/ 602002 w 4519987"/>
                <a:gd name="connsiteY137" fmla="*/ 733425 h 4496940"/>
                <a:gd name="connsiteX138" fmla="*/ 668677 w 4519987"/>
                <a:gd name="connsiteY138" fmla="*/ 676275 h 4496940"/>
                <a:gd name="connsiteX139" fmla="*/ 697252 w 4519987"/>
                <a:gd name="connsiteY139" fmla="*/ 657225 h 4496940"/>
                <a:gd name="connsiteX140" fmla="*/ 840127 w 4519987"/>
                <a:gd name="connsiteY140" fmla="*/ 533400 h 4496940"/>
                <a:gd name="connsiteX141" fmla="*/ 887752 w 4519987"/>
                <a:gd name="connsiteY141" fmla="*/ 504825 h 4496940"/>
                <a:gd name="connsiteX142" fmla="*/ 1167152 w 4519987"/>
                <a:gd name="connsiteY142" fmla="*/ 311150 h 4496940"/>
                <a:gd name="connsiteX143" fmla="*/ 1268752 w 4519987"/>
                <a:gd name="connsiteY143" fmla="*/ 285750 h 4496940"/>
                <a:gd name="connsiteX144" fmla="*/ 1411627 w 4519987"/>
                <a:gd name="connsiteY144" fmla="*/ 190500 h 4496940"/>
                <a:gd name="connsiteX145" fmla="*/ 1449727 w 4519987"/>
                <a:gd name="connsiteY145" fmla="*/ 161925 h 4496940"/>
                <a:gd name="connsiteX146" fmla="*/ 1525927 w 4519987"/>
                <a:gd name="connsiteY146" fmla="*/ 152400 h 4496940"/>
                <a:gd name="connsiteX147" fmla="*/ 1583077 w 4519987"/>
                <a:gd name="connsiteY147" fmla="*/ 142875 h 4496940"/>
                <a:gd name="connsiteX148" fmla="*/ 1716427 w 4519987"/>
                <a:gd name="connsiteY148" fmla="*/ 123825 h 4496940"/>
                <a:gd name="connsiteX149" fmla="*/ 1811677 w 4519987"/>
                <a:gd name="connsiteY149" fmla="*/ 114300 h 4496940"/>
                <a:gd name="connsiteX150" fmla="*/ 1859302 w 4519987"/>
                <a:gd name="connsiteY150" fmla="*/ 104775 h 4496940"/>
                <a:gd name="connsiteX151" fmla="*/ 1916452 w 4519987"/>
                <a:gd name="connsiteY151" fmla="*/ 95250 h 4496940"/>
                <a:gd name="connsiteX152" fmla="*/ 2030752 w 4519987"/>
                <a:gd name="connsiteY152" fmla="*/ 66675 h 4496940"/>
                <a:gd name="connsiteX153" fmla="*/ 2097427 w 4519987"/>
                <a:gd name="connsiteY153" fmla="*/ 47625 h 4496940"/>
                <a:gd name="connsiteX154" fmla="*/ 2164102 w 4519987"/>
                <a:gd name="connsiteY154" fmla="*/ 38100 h 4496940"/>
                <a:gd name="connsiteX155" fmla="*/ 2392702 w 4519987"/>
                <a:gd name="connsiteY15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840502 w 4519987"/>
                <a:gd name="connsiteY24" fmla="*/ 600075 h 4496940"/>
                <a:gd name="connsiteX25" fmla="*/ 3907177 w 4519987"/>
                <a:gd name="connsiteY25" fmla="*/ 647700 h 4496940"/>
                <a:gd name="connsiteX26" fmla="*/ 3935752 w 4519987"/>
                <a:gd name="connsiteY26" fmla="*/ 676275 h 4496940"/>
                <a:gd name="connsiteX27" fmla="*/ 4078627 w 4519987"/>
                <a:gd name="connsiteY27" fmla="*/ 838200 h 4496940"/>
                <a:gd name="connsiteX28" fmla="*/ 4135777 w 4519987"/>
                <a:gd name="connsiteY28" fmla="*/ 933450 h 4496940"/>
                <a:gd name="connsiteX29" fmla="*/ 4164352 w 4519987"/>
                <a:gd name="connsiteY29" fmla="*/ 990600 h 4496940"/>
                <a:gd name="connsiteX30" fmla="*/ 4173877 w 4519987"/>
                <a:gd name="connsiteY30" fmla="*/ 1019175 h 4496940"/>
                <a:gd name="connsiteX31" fmla="*/ 4192927 w 4519987"/>
                <a:gd name="connsiteY31" fmla="*/ 1057275 h 4496940"/>
                <a:gd name="connsiteX32" fmla="*/ 4202452 w 4519987"/>
                <a:gd name="connsiteY32" fmla="*/ 1085850 h 4496940"/>
                <a:gd name="connsiteX33" fmla="*/ 4250077 w 4519987"/>
                <a:gd name="connsiteY33" fmla="*/ 1143000 h 4496940"/>
                <a:gd name="connsiteX34" fmla="*/ 4259602 w 4519987"/>
                <a:gd name="connsiteY34" fmla="*/ 1190625 h 4496940"/>
                <a:gd name="connsiteX35" fmla="*/ 4307227 w 4519987"/>
                <a:gd name="connsiteY35" fmla="*/ 1266825 h 4496940"/>
                <a:gd name="connsiteX36" fmla="*/ 4345327 w 4519987"/>
                <a:gd name="connsiteY36" fmla="*/ 1362075 h 4496940"/>
                <a:gd name="connsiteX37" fmla="*/ 4373902 w 4519987"/>
                <a:gd name="connsiteY37" fmla="*/ 1428750 h 4496940"/>
                <a:gd name="connsiteX38" fmla="*/ 4392952 w 4519987"/>
                <a:gd name="connsiteY38" fmla="*/ 1552575 h 4496940"/>
                <a:gd name="connsiteX39" fmla="*/ 4402477 w 4519987"/>
                <a:gd name="connsiteY39" fmla="*/ 1590675 h 4496940"/>
                <a:gd name="connsiteX40" fmla="*/ 4431052 w 4519987"/>
                <a:gd name="connsiteY40" fmla="*/ 1685925 h 4496940"/>
                <a:gd name="connsiteX41" fmla="*/ 4519952 w 4519987"/>
                <a:gd name="connsiteY41" fmla="*/ 2181225 h 4496940"/>
                <a:gd name="connsiteX42" fmla="*/ 4446927 w 4519987"/>
                <a:gd name="connsiteY42" fmla="*/ 2768600 h 4496940"/>
                <a:gd name="connsiteX43" fmla="*/ 4383427 w 4519987"/>
                <a:gd name="connsiteY43" fmla="*/ 2990850 h 4496940"/>
                <a:gd name="connsiteX44" fmla="*/ 4278652 w 4519987"/>
                <a:gd name="connsiteY44" fmla="*/ 3248025 h 4496940"/>
                <a:gd name="connsiteX45" fmla="*/ 4259602 w 4519987"/>
                <a:gd name="connsiteY45" fmla="*/ 3276600 h 4496940"/>
                <a:gd name="connsiteX46" fmla="*/ 4221502 w 4519987"/>
                <a:gd name="connsiteY46" fmla="*/ 3333750 h 4496940"/>
                <a:gd name="connsiteX47" fmla="*/ 4211977 w 4519987"/>
                <a:gd name="connsiteY47" fmla="*/ 3362325 h 4496940"/>
                <a:gd name="connsiteX48" fmla="*/ 4183402 w 4519987"/>
                <a:gd name="connsiteY48" fmla="*/ 3400425 h 4496940"/>
                <a:gd name="connsiteX49" fmla="*/ 4164352 w 4519987"/>
                <a:gd name="connsiteY49" fmla="*/ 3429000 h 4496940"/>
                <a:gd name="connsiteX50" fmla="*/ 4088152 w 4519987"/>
                <a:gd name="connsiteY50" fmla="*/ 3495675 h 4496940"/>
                <a:gd name="connsiteX51" fmla="*/ 4059577 w 4519987"/>
                <a:gd name="connsiteY51" fmla="*/ 3533775 h 4496940"/>
                <a:gd name="connsiteX52" fmla="*/ 4002427 w 4519987"/>
                <a:gd name="connsiteY52" fmla="*/ 3600450 h 4496940"/>
                <a:gd name="connsiteX53" fmla="*/ 3983377 w 4519987"/>
                <a:gd name="connsiteY53" fmla="*/ 3629025 h 4496940"/>
                <a:gd name="connsiteX54" fmla="*/ 3954802 w 4519987"/>
                <a:gd name="connsiteY54" fmla="*/ 3648075 h 4496940"/>
                <a:gd name="connsiteX55" fmla="*/ 3907177 w 4519987"/>
                <a:gd name="connsiteY55" fmla="*/ 3686175 h 4496940"/>
                <a:gd name="connsiteX56" fmla="*/ 3869077 w 4519987"/>
                <a:gd name="connsiteY56" fmla="*/ 3724275 h 4496940"/>
                <a:gd name="connsiteX57" fmla="*/ 3792877 w 4519987"/>
                <a:gd name="connsiteY57" fmla="*/ 3781425 h 4496940"/>
                <a:gd name="connsiteX58" fmla="*/ 3783352 w 4519987"/>
                <a:gd name="connsiteY58" fmla="*/ 3810000 h 4496940"/>
                <a:gd name="connsiteX59" fmla="*/ 3745252 w 4519987"/>
                <a:gd name="connsiteY59" fmla="*/ 3819525 h 4496940"/>
                <a:gd name="connsiteX60" fmla="*/ 3678577 w 4519987"/>
                <a:gd name="connsiteY60" fmla="*/ 3848100 h 4496940"/>
                <a:gd name="connsiteX61" fmla="*/ 3659527 w 4519987"/>
                <a:gd name="connsiteY61" fmla="*/ 3971925 h 4496940"/>
                <a:gd name="connsiteX62" fmla="*/ 3630952 w 4519987"/>
                <a:gd name="connsiteY62" fmla="*/ 4010025 h 4496940"/>
                <a:gd name="connsiteX63" fmla="*/ 3621427 w 4519987"/>
                <a:gd name="connsiteY63" fmla="*/ 4038600 h 4496940"/>
                <a:gd name="connsiteX64" fmla="*/ 3554752 w 4519987"/>
                <a:gd name="connsiteY64" fmla="*/ 4095750 h 4496940"/>
                <a:gd name="connsiteX65" fmla="*/ 3516652 w 4519987"/>
                <a:gd name="connsiteY65" fmla="*/ 4114800 h 4496940"/>
                <a:gd name="connsiteX66" fmla="*/ 3497602 w 4519987"/>
                <a:gd name="connsiteY66" fmla="*/ 4143375 h 4496940"/>
                <a:gd name="connsiteX67" fmla="*/ 3383302 w 4519987"/>
                <a:gd name="connsiteY67" fmla="*/ 4210050 h 4496940"/>
                <a:gd name="connsiteX68" fmla="*/ 3335677 w 4519987"/>
                <a:gd name="connsiteY68" fmla="*/ 4238625 h 4496940"/>
                <a:gd name="connsiteX69" fmla="*/ 3288052 w 4519987"/>
                <a:gd name="connsiteY69" fmla="*/ 4248150 h 4496940"/>
                <a:gd name="connsiteX70" fmla="*/ 3240427 w 4519987"/>
                <a:gd name="connsiteY70" fmla="*/ 4267200 h 4496940"/>
                <a:gd name="connsiteX71" fmla="*/ 3068977 w 4519987"/>
                <a:gd name="connsiteY71" fmla="*/ 4286250 h 4496940"/>
                <a:gd name="connsiteX72" fmla="*/ 2935627 w 4519987"/>
                <a:gd name="connsiteY72" fmla="*/ 4333875 h 4496940"/>
                <a:gd name="connsiteX73" fmla="*/ 2811802 w 4519987"/>
                <a:gd name="connsiteY73" fmla="*/ 4371975 h 4496940"/>
                <a:gd name="connsiteX74" fmla="*/ 2745127 w 4519987"/>
                <a:gd name="connsiteY74" fmla="*/ 4410075 h 4496940"/>
                <a:gd name="connsiteX75" fmla="*/ 2697502 w 4519987"/>
                <a:gd name="connsiteY75" fmla="*/ 4429125 h 4496940"/>
                <a:gd name="connsiteX76" fmla="*/ 2640352 w 4519987"/>
                <a:gd name="connsiteY76" fmla="*/ 4457700 h 4496940"/>
                <a:gd name="connsiteX77" fmla="*/ 2583202 w 4519987"/>
                <a:gd name="connsiteY77" fmla="*/ 4467225 h 4496940"/>
                <a:gd name="connsiteX78" fmla="*/ 2545102 w 4519987"/>
                <a:gd name="connsiteY78" fmla="*/ 4486275 h 4496940"/>
                <a:gd name="connsiteX79" fmla="*/ 2306977 w 4519987"/>
                <a:gd name="connsiteY79" fmla="*/ 4476750 h 4496940"/>
                <a:gd name="connsiteX80" fmla="*/ 2202202 w 4519987"/>
                <a:gd name="connsiteY80" fmla="*/ 4457700 h 4496940"/>
                <a:gd name="connsiteX81" fmla="*/ 2126002 w 4519987"/>
                <a:gd name="connsiteY81" fmla="*/ 4429125 h 4496940"/>
                <a:gd name="connsiteX82" fmla="*/ 1935502 w 4519987"/>
                <a:gd name="connsiteY82" fmla="*/ 4400550 h 4496940"/>
                <a:gd name="connsiteX83" fmla="*/ 1821202 w 4519987"/>
                <a:gd name="connsiteY83" fmla="*/ 4371975 h 4496940"/>
                <a:gd name="connsiteX84" fmla="*/ 1754527 w 4519987"/>
                <a:gd name="connsiteY84" fmla="*/ 4352925 h 4496940"/>
                <a:gd name="connsiteX85" fmla="*/ 1687852 w 4519987"/>
                <a:gd name="connsiteY85" fmla="*/ 4343400 h 4496940"/>
                <a:gd name="connsiteX86" fmla="*/ 1573552 w 4519987"/>
                <a:gd name="connsiteY86" fmla="*/ 4305300 h 4496940"/>
                <a:gd name="connsiteX87" fmla="*/ 1402102 w 4519987"/>
                <a:gd name="connsiteY87" fmla="*/ 4276725 h 4496940"/>
                <a:gd name="connsiteX88" fmla="*/ 1287802 w 4519987"/>
                <a:gd name="connsiteY88" fmla="*/ 4229100 h 4496940"/>
                <a:gd name="connsiteX89" fmla="*/ 1221127 w 4519987"/>
                <a:gd name="connsiteY89" fmla="*/ 4200525 h 4496940"/>
                <a:gd name="connsiteX90" fmla="*/ 1144927 w 4519987"/>
                <a:gd name="connsiteY90" fmla="*/ 4171950 h 4496940"/>
                <a:gd name="connsiteX91" fmla="*/ 1087777 w 4519987"/>
                <a:gd name="connsiteY91" fmla="*/ 4143375 h 4496940"/>
                <a:gd name="connsiteX92" fmla="*/ 1030627 w 4519987"/>
                <a:gd name="connsiteY92" fmla="*/ 4124325 h 4496940"/>
                <a:gd name="connsiteX93" fmla="*/ 925852 w 4519987"/>
                <a:gd name="connsiteY93" fmla="*/ 4067175 h 4496940"/>
                <a:gd name="connsiteX94" fmla="*/ 830602 w 4519987"/>
                <a:gd name="connsiteY94" fmla="*/ 3981450 h 4496940"/>
                <a:gd name="connsiteX95" fmla="*/ 763927 w 4519987"/>
                <a:gd name="connsiteY95" fmla="*/ 3914775 h 4496940"/>
                <a:gd name="connsiteX96" fmla="*/ 725827 w 4519987"/>
                <a:gd name="connsiteY96" fmla="*/ 3876675 h 4496940"/>
                <a:gd name="connsiteX97" fmla="*/ 697252 w 4519987"/>
                <a:gd name="connsiteY97" fmla="*/ 3838575 h 4496940"/>
                <a:gd name="connsiteX98" fmla="*/ 640102 w 4519987"/>
                <a:gd name="connsiteY98" fmla="*/ 3781425 h 4496940"/>
                <a:gd name="connsiteX99" fmla="*/ 611527 w 4519987"/>
                <a:gd name="connsiteY99" fmla="*/ 3733800 h 4496940"/>
                <a:gd name="connsiteX100" fmla="*/ 554377 w 4519987"/>
                <a:gd name="connsiteY100" fmla="*/ 3657600 h 4496940"/>
                <a:gd name="connsiteX101" fmla="*/ 525802 w 4519987"/>
                <a:gd name="connsiteY101" fmla="*/ 3609975 h 4496940"/>
                <a:gd name="connsiteX102" fmla="*/ 497227 w 4519987"/>
                <a:gd name="connsiteY102" fmla="*/ 3552825 h 4496940"/>
                <a:gd name="connsiteX103" fmla="*/ 440077 w 4519987"/>
                <a:gd name="connsiteY103" fmla="*/ 3495675 h 4496940"/>
                <a:gd name="connsiteX104" fmla="*/ 411502 w 4519987"/>
                <a:gd name="connsiteY104" fmla="*/ 3448050 h 4496940"/>
                <a:gd name="connsiteX105" fmla="*/ 278152 w 4519987"/>
                <a:gd name="connsiteY105" fmla="*/ 3257550 h 4496940"/>
                <a:gd name="connsiteX106" fmla="*/ 249577 w 4519987"/>
                <a:gd name="connsiteY106" fmla="*/ 3200400 h 4496940"/>
                <a:gd name="connsiteX107" fmla="*/ 240052 w 4519987"/>
                <a:gd name="connsiteY107" fmla="*/ 3162300 h 4496940"/>
                <a:gd name="connsiteX108" fmla="*/ 221002 w 4519987"/>
                <a:gd name="connsiteY108" fmla="*/ 3105150 h 4496940"/>
                <a:gd name="connsiteX109" fmla="*/ 173377 w 4519987"/>
                <a:gd name="connsiteY109" fmla="*/ 3019425 h 4496940"/>
                <a:gd name="connsiteX110" fmla="*/ 144802 w 4519987"/>
                <a:gd name="connsiteY110" fmla="*/ 2924175 h 4496940"/>
                <a:gd name="connsiteX111" fmla="*/ 68602 w 4519987"/>
                <a:gd name="connsiteY111" fmla="*/ 2724150 h 4496940"/>
                <a:gd name="connsiteX112" fmla="*/ 49552 w 4519987"/>
                <a:gd name="connsiteY112" fmla="*/ 2638425 h 4496940"/>
                <a:gd name="connsiteX113" fmla="*/ 40027 w 4519987"/>
                <a:gd name="connsiteY113" fmla="*/ 2562225 h 4496940"/>
                <a:gd name="connsiteX114" fmla="*/ 30502 w 4519987"/>
                <a:gd name="connsiteY114" fmla="*/ 2514600 h 4496940"/>
                <a:gd name="connsiteX115" fmla="*/ 11452 w 4519987"/>
                <a:gd name="connsiteY115" fmla="*/ 2400300 h 4496940"/>
                <a:gd name="connsiteX116" fmla="*/ 20977 w 4519987"/>
                <a:gd name="connsiteY116" fmla="*/ 1905000 h 4496940"/>
                <a:gd name="connsiteX117" fmla="*/ 30502 w 4519987"/>
                <a:gd name="connsiteY117" fmla="*/ 1838325 h 4496940"/>
                <a:gd name="connsiteX118" fmla="*/ 49552 w 4519987"/>
                <a:gd name="connsiteY118" fmla="*/ 1781175 h 4496940"/>
                <a:gd name="connsiteX119" fmla="*/ 59077 w 4519987"/>
                <a:gd name="connsiteY119" fmla="*/ 1743075 h 4496940"/>
                <a:gd name="connsiteX120" fmla="*/ 78127 w 4519987"/>
                <a:gd name="connsiteY120" fmla="*/ 1685925 h 4496940"/>
                <a:gd name="connsiteX121" fmla="*/ 87652 w 4519987"/>
                <a:gd name="connsiteY121" fmla="*/ 1638300 h 4496940"/>
                <a:gd name="connsiteX122" fmla="*/ 106702 w 4519987"/>
                <a:gd name="connsiteY122" fmla="*/ 1590675 h 4496940"/>
                <a:gd name="connsiteX123" fmla="*/ 135277 w 4519987"/>
                <a:gd name="connsiteY123" fmla="*/ 1504950 h 4496940"/>
                <a:gd name="connsiteX124" fmla="*/ 154327 w 4519987"/>
                <a:gd name="connsiteY124" fmla="*/ 1419225 h 4496940"/>
                <a:gd name="connsiteX125" fmla="*/ 230527 w 4519987"/>
                <a:gd name="connsiteY125" fmla="*/ 1276350 h 4496940"/>
                <a:gd name="connsiteX126" fmla="*/ 240052 w 4519987"/>
                <a:gd name="connsiteY126" fmla="*/ 1247775 h 4496940"/>
                <a:gd name="connsiteX127" fmla="*/ 268627 w 4519987"/>
                <a:gd name="connsiteY127" fmla="*/ 1200150 h 4496940"/>
                <a:gd name="connsiteX128" fmla="*/ 287677 w 4519987"/>
                <a:gd name="connsiteY128" fmla="*/ 1152525 h 4496940"/>
                <a:gd name="connsiteX129" fmla="*/ 316252 w 4519987"/>
                <a:gd name="connsiteY129" fmla="*/ 1114425 h 4496940"/>
                <a:gd name="connsiteX130" fmla="*/ 363877 w 4519987"/>
                <a:gd name="connsiteY130" fmla="*/ 1038225 h 4496940"/>
                <a:gd name="connsiteX131" fmla="*/ 382927 w 4519987"/>
                <a:gd name="connsiteY131" fmla="*/ 1009650 h 4496940"/>
                <a:gd name="connsiteX132" fmla="*/ 440077 w 4519987"/>
                <a:gd name="connsiteY132" fmla="*/ 904875 h 4496940"/>
                <a:gd name="connsiteX133" fmla="*/ 478177 w 4519987"/>
                <a:gd name="connsiteY133" fmla="*/ 857250 h 4496940"/>
                <a:gd name="connsiteX134" fmla="*/ 497227 w 4519987"/>
                <a:gd name="connsiteY134" fmla="*/ 828675 h 4496940"/>
                <a:gd name="connsiteX135" fmla="*/ 535327 w 4519987"/>
                <a:gd name="connsiteY135" fmla="*/ 800100 h 4496940"/>
                <a:gd name="connsiteX136" fmla="*/ 602002 w 4519987"/>
                <a:gd name="connsiteY136" fmla="*/ 733425 h 4496940"/>
                <a:gd name="connsiteX137" fmla="*/ 668677 w 4519987"/>
                <a:gd name="connsiteY137" fmla="*/ 676275 h 4496940"/>
                <a:gd name="connsiteX138" fmla="*/ 697252 w 4519987"/>
                <a:gd name="connsiteY138" fmla="*/ 657225 h 4496940"/>
                <a:gd name="connsiteX139" fmla="*/ 840127 w 4519987"/>
                <a:gd name="connsiteY139" fmla="*/ 533400 h 4496940"/>
                <a:gd name="connsiteX140" fmla="*/ 887752 w 4519987"/>
                <a:gd name="connsiteY140" fmla="*/ 504825 h 4496940"/>
                <a:gd name="connsiteX141" fmla="*/ 1167152 w 4519987"/>
                <a:gd name="connsiteY141" fmla="*/ 311150 h 4496940"/>
                <a:gd name="connsiteX142" fmla="*/ 1268752 w 4519987"/>
                <a:gd name="connsiteY142" fmla="*/ 285750 h 4496940"/>
                <a:gd name="connsiteX143" fmla="*/ 1411627 w 4519987"/>
                <a:gd name="connsiteY143" fmla="*/ 190500 h 4496940"/>
                <a:gd name="connsiteX144" fmla="*/ 1449727 w 4519987"/>
                <a:gd name="connsiteY144" fmla="*/ 161925 h 4496940"/>
                <a:gd name="connsiteX145" fmla="*/ 1525927 w 4519987"/>
                <a:gd name="connsiteY145" fmla="*/ 152400 h 4496940"/>
                <a:gd name="connsiteX146" fmla="*/ 1583077 w 4519987"/>
                <a:gd name="connsiteY146" fmla="*/ 142875 h 4496940"/>
                <a:gd name="connsiteX147" fmla="*/ 1716427 w 4519987"/>
                <a:gd name="connsiteY147" fmla="*/ 123825 h 4496940"/>
                <a:gd name="connsiteX148" fmla="*/ 1811677 w 4519987"/>
                <a:gd name="connsiteY148" fmla="*/ 114300 h 4496940"/>
                <a:gd name="connsiteX149" fmla="*/ 1859302 w 4519987"/>
                <a:gd name="connsiteY149" fmla="*/ 104775 h 4496940"/>
                <a:gd name="connsiteX150" fmla="*/ 1916452 w 4519987"/>
                <a:gd name="connsiteY150" fmla="*/ 95250 h 4496940"/>
                <a:gd name="connsiteX151" fmla="*/ 2030752 w 4519987"/>
                <a:gd name="connsiteY151" fmla="*/ 66675 h 4496940"/>
                <a:gd name="connsiteX152" fmla="*/ 2097427 w 4519987"/>
                <a:gd name="connsiteY152" fmla="*/ 47625 h 4496940"/>
                <a:gd name="connsiteX153" fmla="*/ 2164102 w 4519987"/>
                <a:gd name="connsiteY153" fmla="*/ 38100 h 4496940"/>
                <a:gd name="connsiteX154" fmla="*/ 2392702 w 4519987"/>
                <a:gd name="connsiteY15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545227 w 4519987"/>
                <a:gd name="connsiteY18" fmla="*/ 419100 h 4496940"/>
                <a:gd name="connsiteX19" fmla="*/ 3602377 w 4519987"/>
                <a:gd name="connsiteY19" fmla="*/ 457200 h 4496940"/>
                <a:gd name="connsiteX20" fmla="*/ 3630952 w 4519987"/>
                <a:gd name="connsiteY20" fmla="*/ 485775 h 4496940"/>
                <a:gd name="connsiteX21" fmla="*/ 3678577 w 4519987"/>
                <a:gd name="connsiteY21" fmla="*/ 504825 h 4496940"/>
                <a:gd name="connsiteX22" fmla="*/ 3745252 w 4519987"/>
                <a:gd name="connsiteY22" fmla="*/ 542925 h 4496940"/>
                <a:gd name="connsiteX23" fmla="*/ 3811927 w 4519987"/>
                <a:gd name="connsiteY23" fmla="*/ 581025 h 4496940"/>
                <a:gd name="connsiteX24" fmla="*/ 3907177 w 4519987"/>
                <a:gd name="connsiteY24" fmla="*/ 647700 h 4496940"/>
                <a:gd name="connsiteX25" fmla="*/ 3935752 w 4519987"/>
                <a:gd name="connsiteY25" fmla="*/ 676275 h 4496940"/>
                <a:gd name="connsiteX26" fmla="*/ 4078627 w 4519987"/>
                <a:gd name="connsiteY26" fmla="*/ 838200 h 4496940"/>
                <a:gd name="connsiteX27" fmla="*/ 4135777 w 4519987"/>
                <a:gd name="connsiteY27" fmla="*/ 933450 h 4496940"/>
                <a:gd name="connsiteX28" fmla="*/ 4164352 w 4519987"/>
                <a:gd name="connsiteY28" fmla="*/ 990600 h 4496940"/>
                <a:gd name="connsiteX29" fmla="*/ 4173877 w 4519987"/>
                <a:gd name="connsiteY29" fmla="*/ 1019175 h 4496940"/>
                <a:gd name="connsiteX30" fmla="*/ 4192927 w 4519987"/>
                <a:gd name="connsiteY30" fmla="*/ 1057275 h 4496940"/>
                <a:gd name="connsiteX31" fmla="*/ 4202452 w 4519987"/>
                <a:gd name="connsiteY31" fmla="*/ 1085850 h 4496940"/>
                <a:gd name="connsiteX32" fmla="*/ 4250077 w 4519987"/>
                <a:gd name="connsiteY32" fmla="*/ 1143000 h 4496940"/>
                <a:gd name="connsiteX33" fmla="*/ 4259602 w 4519987"/>
                <a:gd name="connsiteY33" fmla="*/ 1190625 h 4496940"/>
                <a:gd name="connsiteX34" fmla="*/ 4307227 w 4519987"/>
                <a:gd name="connsiteY34" fmla="*/ 1266825 h 4496940"/>
                <a:gd name="connsiteX35" fmla="*/ 4345327 w 4519987"/>
                <a:gd name="connsiteY35" fmla="*/ 1362075 h 4496940"/>
                <a:gd name="connsiteX36" fmla="*/ 4373902 w 4519987"/>
                <a:gd name="connsiteY36" fmla="*/ 1428750 h 4496940"/>
                <a:gd name="connsiteX37" fmla="*/ 4392952 w 4519987"/>
                <a:gd name="connsiteY37" fmla="*/ 1552575 h 4496940"/>
                <a:gd name="connsiteX38" fmla="*/ 4402477 w 4519987"/>
                <a:gd name="connsiteY38" fmla="*/ 1590675 h 4496940"/>
                <a:gd name="connsiteX39" fmla="*/ 4431052 w 4519987"/>
                <a:gd name="connsiteY39" fmla="*/ 1685925 h 4496940"/>
                <a:gd name="connsiteX40" fmla="*/ 4519952 w 4519987"/>
                <a:gd name="connsiteY40" fmla="*/ 2181225 h 4496940"/>
                <a:gd name="connsiteX41" fmla="*/ 4446927 w 4519987"/>
                <a:gd name="connsiteY41" fmla="*/ 2768600 h 4496940"/>
                <a:gd name="connsiteX42" fmla="*/ 4383427 w 4519987"/>
                <a:gd name="connsiteY42" fmla="*/ 2990850 h 4496940"/>
                <a:gd name="connsiteX43" fmla="*/ 4278652 w 4519987"/>
                <a:gd name="connsiteY43" fmla="*/ 3248025 h 4496940"/>
                <a:gd name="connsiteX44" fmla="*/ 4259602 w 4519987"/>
                <a:gd name="connsiteY44" fmla="*/ 3276600 h 4496940"/>
                <a:gd name="connsiteX45" fmla="*/ 4221502 w 4519987"/>
                <a:gd name="connsiteY45" fmla="*/ 3333750 h 4496940"/>
                <a:gd name="connsiteX46" fmla="*/ 4211977 w 4519987"/>
                <a:gd name="connsiteY46" fmla="*/ 3362325 h 4496940"/>
                <a:gd name="connsiteX47" fmla="*/ 4183402 w 4519987"/>
                <a:gd name="connsiteY47" fmla="*/ 3400425 h 4496940"/>
                <a:gd name="connsiteX48" fmla="*/ 4164352 w 4519987"/>
                <a:gd name="connsiteY48" fmla="*/ 3429000 h 4496940"/>
                <a:gd name="connsiteX49" fmla="*/ 4088152 w 4519987"/>
                <a:gd name="connsiteY49" fmla="*/ 3495675 h 4496940"/>
                <a:gd name="connsiteX50" fmla="*/ 4059577 w 4519987"/>
                <a:gd name="connsiteY50" fmla="*/ 3533775 h 4496940"/>
                <a:gd name="connsiteX51" fmla="*/ 4002427 w 4519987"/>
                <a:gd name="connsiteY51" fmla="*/ 3600450 h 4496940"/>
                <a:gd name="connsiteX52" fmla="*/ 3983377 w 4519987"/>
                <a:gd name="connsiteY52" fmla="*/ 3629025 h 4496940"/>
                <a:gd name="connsiteX53" fmla="*/ 3954802 w 4519987"/>
                <a:gd name="connsiteY53" fmla="*/ 3648075 h 4496940"/>
                <a:gd name="connsiteX54" fmla="*/ 3907177 w 4519987"/>
                <a:gd name="connsiteY54" fmla="*/ 3686175 h 4496940"/>
                <a:gd name="connsiteX55" fmla="*/ 3869077 w 4519987"/>
                <a:gd name="connsiteY55" fmla="*/ 3724275 h 4496940"/>
                <a:gd name="connsiteX56" fmla="*/ 3792877 w 4519987"/>
                <a:gd name="connsiteY56" fmla="*/ 3781425 h 4496940"/>
                <a:gd name="connsiteX57" fmla="*/ 3783352 w 4519987"/>
                <a:gd name="connsiteY57" fmla="*/ 3810000 h 4496940"/>
                <a:gd name="connsiteX58" fmla="*/ 3745252 w 4519987"/>
                <a:gd name="connsiteY58" fmla="*/ 3819525 h 4496940"/>
                <a:gd name="connsiteX59" fmla="*/ 3678577 w 4519987"/>
                <a:gd name="connsiteY59" fmla="*/ 3848100 h 4496940"/>
                <a:gd name="connsiteX60" fmla="*/ 3659527 w 4519987"/>
                <a:gd name="connsiteY60" fmla="*/ 3971925 h 4496940"/>
                <a:gd name="connsiteX61" fmla="*/ 3630952 w 4519987"/>
                <a:gd name="connsiteY61" fmla="*/ 4010025 h 4496940"/>
                <a:gd name="connsiteX62" fmla="*/ 3621427 w 4519987"/>
                <a:gd name="connsiteY62" fmla="*/ 4038600 h 4496940"/>
                <a:gd name="connsiteX63" fmla="*/ 3554752 w 4519987"/>
                <a:gd name="connsiteY63" fmla="*/ 4095750 h 4496940"/>
                <a:gd name="connsiteX64" fmla="*/ 3516652 w 4519987"/>
                <a:gd name="connsiteY64" fmla="*/ 4114800 h 4496940"/>
                <a:gd name="connsiteX65" fmla="*/ 3497602 w 4519987"/>
                <a:gd name="connsiteY65" fmla="*/ 4143375 h 4496940"/>
                <a:gd name="connsiteX66" fmla="*/ 3383302 w 4519987"/>
                <a:gd name="connsiteY66" fmla="*/ 4210050 h 4496940"/>
                <a:gd name="connsiteX67" fmla="*/ 3335677 w 4519987"/>
                <a:gd name="connsiteY67" fmla="*/ 4238625 h 4496940"/>
                <a:gd name="connsiteX68" fmla="*/ 3288052 w 4519987"/>
                <a:gd name="connsiteY68" fmla="*/ 4248150 h 4496940"/>
                <a:gd name="connsiteX69" fmla="*/ 3240427 w 4519987"/>
                <a:gd name="connsiteY69" fmla="*/ 4267200 h 4496940"/>
                <a:gd name="connsiteX70" fmla="*/ 3068977 w 4519987"/>
                <a:gd name="connsiteY70" fmla="*/ 4286250 h 4496940"/>
                <a:gd name="connsiteX71" fmla="*/ 2935627 w 4519987"/>
                <a:gd name="connsiteY71" fmla="*/ 4333875 h 4496940"/>
                <a:gd name="connsiteX72" fmla="*/ 2811802 w 4519987"/>
                <a:gd name="connsiteY72" fmla="*/ 4371975 h 4496940"/>
                <a:gd name="connsiteX73" fmla="*/ 2745127 w 4519987"/>
                <a:gd name="connsiteY73" fmla="*/ 4410075 h 4496940"/>
                <a:gd name="connsiteX74" fmla="*/ 2697502 w 4519987"/>
                <a:gd name="connsiteY74" fmla="*/ 4429125 h 4496940"/>
                <a:gd name="connsiteX75" fmla="*/ 2640352 w 4519987"/>
                <a:gd name="connsiteY75" fmla="*/ 4457700 h 4496940"/>
                <a:gd name="connsiteX76" fmla="*/ 2583202 w 4519987"/>
                <a:gd name="connsiteY76" fmla="*/ 4467225 h 4496940"/>
                <a:gd name="connsiteX77" fmla="*/ 2545102 w 4519987"/>
                <a:gd name="connsiteY77" fmla="*/ 4486275 h 4496940"/>
                <a:gd name="connsiteX78" fmla="*/ 2306977 w 4519987"/>
                <a:gd name="connsiteY78" fmla="*/ 4476750 h 4496940"/>
                <a:gd name="connsiteX79" fmla="*/ 2202202 w 4519987"/>
                <a:gd name="connsiteY79" fmla="*/ 4457700 h 4496940"/>
                <a:gd name="connsiteX80" fmla="*/ 2126002 w 4519987"/>
                <a:gd name="connsiteY80" fmla="*/ 4429125 h 4496940"/>
                <a:gd name="connsiteX81" fmla="*/ 1935502 w 4519987"/>
                <a:gd name="connsiteY81" fmla="*/ 4400550 h 4496940"/>
                <a:gd name="connsiteX82" fmla="*/ 1821202 w 4519987"/>
                <a:gd name="connsiteY82" fmla="*/ 4371975 h 4496940"/>
                <a:gd name="connsiteX83" fmla="*/ 1754527 w 4519987"/>
                <a:gd name="connsiteY83" fmla="*/ 4352925 h 4496940"/>
                <a:gd name="connsiteX84" fmla="*/ 1687852 w 4519987"/>
                <a:gd name="connsiteY84" fmla="*/ 4343400 h 4496940"/>
                <a:gd name="connsiteX85" fmla="*/ 1573552 w 4519987"/>
                <a:gd name="connsiteY85" fmla="*/ 4305300 h 4496940"/>
                <a:gd name="connsiteX86" fmla="*/ 1402102 w 4519987"/>
                <a:gd name="connsiteY86" fmla="*/ 4276725 h 4496940"/>
                <a:gd name="connsiteX87" fmla="*/ 1287802 w 4519987"/>
                <a:gd name="connsiteY87" fmla="*/ 4229100 h 4496940"/>
                <a:gd name="connsiteX88" fmla="*/ 1221127 w 4519987"/>
                <a:gd name="connsiteY88" fmla="*/ 4200525 h 4496940"/>
                <a:gd name="connsiteX89" fmla="*/ 1144927 w 4519987"/>
                <a:gd name="connsiteY89" fmla="*/ 4171950 h 4496940"/>
                <a:gd name="connsiteX90" fmla="*/ 1087777 w 4519987"/>
                <a:gd name="connsiteY90" fmla="*/ 4143375 h 4496940"/>
                <a:gd name="connsiteX91" fmla="*/ 1030627 w 4519987"/>
                <a:gd name="connsiteY91" fmla="*/ 4124325 h 4496940"/>
                <a:gd name="connsiteX92" fmla="*/ 925852 w 4519987"/>
                <a:gd name="connsiteY92" fmla="*/ 4067175 h 4496940"/>
                <a:gd name="connsiteX93" fmla="*/ 830602 w 4519987"/>
                <a:gd name="connsiteY93" fmla="*/ 3981450 h 4496940"/>
                <a:gd name="connsiteX94" fmla="*/ 763927 w 4519987"/>
                <a:gd name="connsiteY94" fmla="*/ 3914775 h 4496940"/>
                <a:gd name="connsiteX95" fmla="*/ 725827 w 4519987"/>
                <a:gd name="connsiteY95" fmla="*/ 3876675 h 4496940"/>
                <a:gd name="connsiteX96" fmla="*/ 697252 w 4519987"/>
                <a:gd name="connsiteY96" fmla="*/ 3838575 h 4496940"/>
                <a:gd name="connsiteX97" fmla="*/ 640102 w 4519987"/>
                <a:gd name="connsiteY97" fmla="*/ 3781425 h 4496940"/>
                <a:gd name="connsiteX98" fmla="*/ 611527 w 4519987"/>
                <a:gd name="connsiteY98" fmla="*/ 3733800 h 4496940"/>
                <a:gd name="connsiteX99" fmla="*/ 554377 w 4519987"/>
                <a:gd name="connsiteY99" fmla="*/ 3657600 h 4496940"/>
                <a:gd name="connsiteX100" fmla="*/ 525802 w 4519987"/>
                <a:gd name="connsiteY100" fmla="*/ 3609975 h 4496940"/>
                <a:gd name="connsiteX101" fmla="*/ 497227 w 4519987"/>
                <a:gd name="connsiteY101" fmla="*/ 3552825 h 4496940"/>
                <a:gd name="connsiteX102" fmla="*/ 440077 w 4519987"/>
                <a:gd name="connsiteY102" fmla="*/ 3495675 h 4496940"/>
                <a:gd name="connsiteX103" fmla="*/ 411502 w 4519987"/>
                <a:gd name="connsiteY103" fmla="*/ 3448050 h 4496940"/>
                <a:gd name="connsiteX104" fmla="*/ 278152 w 4519987"/>
                <a:gd name="connsiteY104" fmla="*/ 3257550 h 4496940"/>
                <a:gd name="connsiteX105" fmla="*/ 249577 w 4519987"/>
                <a:gd name="connsiteY105" fmla="*/ 3200400 h 4496940"/>
                <a:gd name="connsiteX106" fmla="*/ 240052 w 4519987"/>
                <a:gd name="connsiteY106" fmla="*/ 3162300 h 4496940"/>
                <a:gd name="connsiteX107" fmla="*/ 221002 w 4519987"/>
                <a:gd name="connsiteY107" fmla="*/ 3105150 h 4496940"/>
                <a:gd name="connsiteX108" fmla="*/ 173377 w 4519987"/>
                <a:gd name="connsiteY108" fmla="*/ 3019425 h 4496940"/>
                <a:gd name="connsiteX109" fmla="*/ 144802 w 4519987"/>
                <a:gd name="connsiteY109" fmla="*/ 2924175 h 4496940"/>
                <a:gd name="connsiteX110" fmla="*/ 68602 w 4519987"/>
                <a:gd name="connsiteY110" fmla="*/ 2724150 h 4496940"/>
                <a:gd name="connsiteX111" fmla="*/ 49552 w 4519987"/>
                <a:gd name="connsiteY111" fmla="*/ 2638425 h 4496940"/>
                <a:gd name="connsiteX112" fmla="*/ 40027 w 4519987"/>
                <a:gd name="connsiteY112" fmla="*/ 2562225 h 4496940"/>
                <a:gd name="connsiteX113" fmla="*/ 30502 w 4519987"/>
                <a:gd name="connsiteY113" fmla="*/ 2514600 h 4496940"/>
                <a:gd name="connsiteX114" fmla="*/ 11452 w 4519987"/>
                <a:gd name="connsiteY114" fmla="*/ 2400300 h 4496940"/>
                <a:gd name="connsiteX115" fmla="*/ 20977 w 4519987"/>
                <a:gd name="connsiteY115" fmla="*/ 1905000 h 4496940"/>
                <a:gd name="connsiteX116" fmla="*/ 30502 w 4519987"/>
                <a:gd name="connsiteY116" fmla="*/ 1838325 h 4496940"/>
                <a:gd name="connsiteX117" fmla="*/ 49552 w 4519987"/>
                <a:gd name="connsiteY117" fmla="*/ 1781175 h 4496940"/>
                <a:gd name="connsiteX118" fmla="*/ 59077 w 4519987"/>
                <a:gd name="connsiteY118" fmla="*/ 1743075 h 4496940"/>
                <a:gd name="connsiteX119" fmla="*/ 78127 w 4519987"/>
                <a:gd name="connsiteY119" fmla="*/ 1685925 h 4496940"/>
                <a:gd name="connsiteX120" fmla="*/ 87652 w 4519987"/>
                <a:gd name="connsiteY120" fmla="*/ 1638300 h 4496940"/>
                <a:gd name="connsiteX121" fmla="*/ 106702 w 4519987"/>
                <a:gd name="connsiteY121" fmla="*/ 1590675 h 4496940"/>
                <a:gd name="connsiteX122" fmla="*/ 135277 w 4519987"/>
                <a:gd name="connsiteY122" fmla="*/ 1504950 h 4496940"/>
                <a:gd name="connsiteX123" fmla="*/ 154327 w 4519987"/>
                <a:gd name="connsiteY123" fmla="*/ 1419225 h 4496940"/>
                <a:gd name="connsiteX124" fmla="*/ 230527 w 4519987"/>
                <a:gd name="connsiteY124" fmla="*/ 1276350 h 4496940"/>
                <a:gd name="connsiteX125" fmla="*/ 240052 w 4519987"/>
                <a:gd name="connsiteY125" fmla="*/ 1247775 h 4496940"/>
                <a:gd name="connsiteX126" fmla="*/ 268627 w 4519987"/>
                <a:gd name="connsiteY126" fmla="*/ 1200150 h 4496940"/>
                <a:gd name="connsiteX127" fmla="*/ 287677 w 4519987"/>
                <a:gd name="connsiteY127" fmla="*/ 1152525 h 4496940"/>
                <a:gd name="connsiteX128" fmla="*/ 316252 w 4519987"/>
                <a:gd name="connsiteY128" fmla="*/ 1114425 h 4496940"/>
                <a:gd name="connsiteX129" fmla="*/ 363877 w 4519987"/>
                <a:gd name="connsiteY129" fmla="*/ 1038225 h 4496940"/>
                <a:gd name="connsiteX130" fmla="*/ 382927 w 4519987"/>
                <a:gd name="connsiteY130" fmla="*/ 1009650 h 4496940"/>
                <a:gd name="connsiteX131" fmla="*/ 440077 w 4519987"/>
                <a:gd name="connsiteY131" fmla="*/ 904875 h 4496940"/>
                <a:gd name="connsiteX132" fmla="*/ 478177 w 4519987"/>
                <a:gd name="connsiteY132" fmla="*/ 857250 h 4496940"/>
                <a:gd name="connsiteX133" fmla="*/ 497227 w 4519987"/>
                <a:gd name="connsiteY133" fmla="*/ 828675 h 4496940"/>
                <a:gd name="connsiteX134" fmla="*/ 535327 w 4519987"/>
                <a:gd name="connsiteY134" fmla="*/ 800100 h 4496940"/>
                <a:gd name="connsiteX135" fmla="*/ 602002 w 4519987"/>
                <a:gd name="connsiteY135" fmla="*/ 733425 h 4496940"/>
                <a:gd name="connsiteX136" fmla="*/ 668677 w 4519987"/>
                <a:gd name="connsiteY136" fmla="*/ 676275 h 4496940"/>
                <a:gd name="connsiteX137" fmla="*/ 697252 w 4519987"/>
                <a:gd name="connsiteY137" fmla="*/ 657225 h 4496940"/>
                <a:gd name="connsiteX138" fmla="*/ 840127 w 4519987"/>
                <a:gd name="connsiteY138" fmla="*/ 533400 h 4496940"/>
                <a:gd name="connsiteX139" fmla="*/ 887752 w 4519987"/>
                <a:gd name="connsiteY139" fmla="*/ 504825 h 4496940"/>
                <a:gd name="connsiteX140" fmla="*/ 1167152 w 4519987"/>
                <a:gd name="connsiteY140" fmla="*/ 311150 h 4496940"/>
                <a:gd name="connsiteX141" fmla="*/ 1268752 w 4519987"/>
                <a:gd name="connsiteY141" fmla="*/ 285750 h 4496940"/>
                <a:gd name="connsiteX142" fmla="*/ 1411627 w 4519987"/>
                <a:gd name="connsiteY142" fmla="*/ 190500 h 4496940"/>
                <a:gd name="connsiteX143" fmla="*/ 1449727 w 4519987"/>
                <a:gd name="connsiteY143" fmla="*/ 161925 h 4496940"/>
                <a:gd name="connsiteX144" fmla="*/ 1525927 w 4519987"/>
                <a:gd name="connsiteY144" fmla="*/ 152400 h 4496940"/>
                <a:gd name="connsiteX145" fmla="*/ 1583077 w 4519987"/>
                <a:gd name="connsiteY145" fmla="*/ 142875 h 4496940"/>
                <a:gd name="connsiteX146" fmla="*/ 1716427 w 4519987"/>
                <a:gd name="connsiteY146" fmla="*/ 123825 h 4496940"/>
                <a:gd name="connsiteX147" fmla="*/ 1811677 w 4519987"/>
                <a:gd name="connsiteY147" fmla="*/ 114300 h 4496940"/>
                <a:gd name="connsiteX148" fmla="*/ 1859302 w 4519987"/>
                <a:gd name="connsiteY148" fmla="*/ 104775 h 4496940"/>
                <a:gd name="connsiteX149" fmla="*/ 1916452 w 4519987"/>
                <a:gd name="connsiteY149" fmla="*/ 95250 h 4496940"/>
                <a:gd name="connsiteX150" fmla="*/ 2030752 w 4519987"/>
                <a:gd name="connsiteY150" fmla="*/ 66675 h 4496940"/>
                <a:gd name="connsiteX151" fmla="*/ 2097427 w 4519987"/>
                <a:gd name="connsiteY151" fmla="*/ 47625 h 4496940"/>
                <a:gd name="connsiteX152" fmla="*/ 2164102 w 4519987"/>
                <a:gd name="connsiteY152" fmla="*/ 38100 h 4496940"/>
                <a:gd name="connsiteX153" fmla="*/ 2392702 w 4519987"/>
                <a:gd name="connsiteY15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678577 w 4519987"/>
                <a:gd name="connsiteY20" fmla="*/ 504825 h 4496940"/>
                <a:gd name="connsiteX21" fmla="*/ 3745252 w 4519987"/>
                <a:gd name="connsiteY21" fmla="*/ 542925 h 4496940"/>
                <a:gd name="connsiteX22" fmla="*/ 3811927 w 4519987"/>
                <a:gd name="connsiteY22" fmla="*/ 581025 h 4496940"/>
                <a:gd name="connsiteX23" fmla="*/ 3907177 w 4519987"/>
                <a:gd name="connsiteY23" fmla="*/ 647700 h 4496940"/>
                <a:gd name="connsiteX24" fmla="*/ 3935752 w 4519987"/>
                <a:gd name="connsiteY24" fmla="*/ 676275 h 4496940"/>
                <a:gd name="connsiteX25" fmla="*/ 4078627 w 4519987"/>
                <a:gd name="connsiteY25" fmla="*/ 838200 h 4496940"/>
                <a:gd name="connsiteX26" fmla="*/ 4135777 w 4519987"/>
                <a:gd name="connsiteY26" fmla="*/ 933450 h 4496940"/>
                <a:gd name="connsiteX27" fmla="*/ 4164352 w 4519987"/>
                <a:gd name="connsiteY27" fmla="*/ 990600 h 4496940"/>
                <a:gd name="connsiteX28" fmla="*/ 4173877 w 4519987"/>
                <a:gd name="connsiteY28" fmla="*/ 1019175 h 4496940"/>
                <a:gd name="connsiteX29" fmla="*/ 4192927 w 4519987"/>
                <a:gd name="connsiteY29" fmla="*/ 1057275 h 4496940"/>
                <a:gd name="connsiteX30" fmla="*/ 4202452 w 4519987"/>
                <a:gd name="connsiteY30" fmla="*/ 1085850 h 4496940"/>
                <a:gd name="connsiteX31" fmla="*/ 4250077 w 4519987"/>
                <a:gd name="connsiteY31" fmla="*/ 1143000 h 4496940"/>
                <a:gd name="connsiteX32" fmla="*/ 4259602 w 4519987"/>
                <a:gd name="connsiteY32" fmla="*/ 1190625 h 4496940"/>
                <a:gd name="connsiteX33" fmla="*/ 4307227 w 4519987"/>
                <a:gd name="connsiteY33" fmla="*/ 1266825 h 4496940"/>
                <a:gd name="connsiteX34" fmla="*/ 4345327 w 4519987"/>
                <a:gd name="connsiteY34" fmla="*/ 1362075 h 4496940"/>
                <a:gd name="connsiteX35" fmla="*/ 4373902 w 4519987"/>
                <a:gd name="connsiteY35" fmla="*/ 1428750 h 4496940"/>
                <a:gd name="connsiteX36" fmla="*/ 4392952 w 4519987"/>
                <a:gd name="connsiteY36" fmla="*/ 1552575 h 4496940"/>
                <a:gd name="connsiteX37" fmla="*/ 4402477 w 4519987"/>
                <a:gd name="connsiteY37" fmla="*/ 1590675 h 4496940"/>
                <a:gd name="connsiteX38" fmla="*/ 4431052 w 4519987"/>
                <a:gd name="connsiteY38" fmla="*/ 1685925 h 4496940"/>
                <a:gd name="connsiteX39" fmla="*/ 4519952 w 4519987"/>
                <a:gd name="connsiteY39" fmla="*/ 2181225 h 4496940"/>
                <a:gd name="connsiteX40" fmla="*/ 4446927 w 4519987"/>
                <a:gd name="connsiteY40" fmla="*/ 2768600 h 4496940"/>
                <a:gd name="connsiteX41" fmla="*/ 4383427 w 4519987"/>
                <a:gd name="connsiteY41" fmla="*/ 2990850 h 4496940"/>
                <a:gd name="connsiteX42" fmla="*/ 4278652 w 4519987"/>
                <a:gd name="connsiteY42" fmla="*/ 3248025 h 4496940"/>
                <a:gd name="connsiteX43" fmla="*/ 4259602 w 4519987"/>
                <a:gd name="connsiteY43" fmla="*/ 3276600 h 4496940"/>
                <a:gd name="connsiteX44" fmla="*/ 4221502 w 4519987"/>
                <a:gd name="connsiteY44" fmla="*/ 3333750 h 4496940"/>
                <a:gd name="connsiteX45" fmla="*/ 4211977 w 4519987"/>
                <a:gd name="connsiteY45" fmla="*/ 3362325 h 4496940"/>
                <a:gd name="connsiteX46" fmla="*/ 4183402 w 4519987"/>
                <a:gd name="connsiteY46" fmla="*/ 3400425 h 4496940"/>
                <a:gd name="connsiteX47" fmla="*/ 4164352 w 4519987"/>
                <a:gd name="connsiteY47" fmla="*/ 3429000 h 4496940"/>
                <a:gd name="connsiteX48" fmla="*/ 4088152 w 4519987"/>
                <a:gd name="connsiteY48" fmla="*/ 3495675 h 4496940"/>
                <a:gd name="connsiteX49" fmla="*/ 4059577 w 4519987"/>
                <a:gd name="connsiteY49" fmla="*/ 3533775 h 4496940"/>
                <a:gd name="connsiteX50" fmla="*/ 4002427 w 4519987"/>
                <a:gd name="connsiteY50" fmla="*/ 3600450 h 4496940"/>
                <a:gd name="connsiteX51" fmla="*/ 3983377 w 4519987"/>
                <a:gd name="connsiteY51" fmla="*/ 3629025 h 4496940"/>
                <a:gd name="connsiteX52" fmla="*/ 3954802 w 4519987"/>
                <a:gd name="connsiteY52" fmla="*/ 3648075 h 4496940"/>
                <a:gd name="connsiteX53" fmla="*/ 3907177 w 4519987"/>
                <a:gd name="connsiteY53" fmla="*/ 3686175 h 4496940"/>
                <a:gd name="connsiteX54" fmla="*/ 3869077 w 4519987"/>
                <a:gd name="connsiteY54" fmla="*/ 3724275 h 4496940"/>
                <a:gd name="connsiteX55" fmla="*/ 3792877 w 4519987"/>
                <a:gd name="connsiteY55" fmla="*/ 3781425 h 4496940"/>
                <a:gd name="connsiteX56" fmla="*/ 3783352 w 4519987"/>
                <a:gd name="connsiteY56" fmla="*/ 3810000 h 4496940"/>
                <a:gd name="connsiteX57" fmla="*/ 3745252 w 4519987"/>
                <a:gd name="connsiteY57" fmla="*/ 3819525 h 4496940"/>
                <a:gd name="connsiteX58" fmla="*/ 3678577 w 4519987"/>
                <a:gd name="connsiteY58" fmla="*/ 3848100 h 4496940"/>
                <a:gd name="connsiteX59" fmla="*/ 3659527 w 4519987"/>
                <a:gd name="connsiteY59" fmla="*/ 3971925 h 4496940"/>
                <a:gd name="connsiteX60" fmla="*/ 3630952 w 4519987"/>
                <a:gd name="connsiteY60" fmla="*/ 4010025 h 4496940"/>
                <a:gd name="connsiteX61" fmla="*/ 3621427 w 4519987"/>
                <a:gd name="connsiteY61" fmla="*/ 4038600 h 4496940"/>
                <a:gd name="connsiteX62" fmla="*/ 3554752 w 4519987"/>
                <a:gd name="connsiteY62" fmla="*/ 4095750 h 4496940"/>
                <a:gd name="connsiteX63" fmla="*/ 3516652 w 4519987"/>
                <a:gd name="connsiteY63" fmla="*/ 4114800 h 4496940"/>
                <a:gd name="connsiteX64" fmla="*/ 3497602 w 4519987"/>
                <a:gd name="connsiteY64" fmla="*/ 4143375 h 4496940"/>
                <a:gd name="connsiteX65" fmla="*/ 3383302 w 4519987"/>
                <a:gd name="connsiteY65" fmla="*/ 4210050 h 4496940"/>
                <a:gd name="connsiteX66" fmla="*/ 3335677 w 4519987"/>
                <a:gd name="connsiteY66" fmla="*/ 4238625 h 4496940"/>
                <a:gd name="connsiteX67" fmla="*/ 3288052 w 4519987"/>
                <a:gd name="connsiteY67" fmla="*/ 4248150 h 4496940"/>
                <a:gd name="connsiteX68" fmla="*/ 3240427 w 4519987"/>
                <a:gd name="connsiteY68" fmla="*/ 4267200 h 4496940"/>
                <a:gd name="connsiteX69" fmla="*/ 3068977 w 4519987"/>
                <a:gd name="connsiteY69" fmla="*/ 4286250 h 4496940"/>
                <a:gd name="connsiteX70" fmla="*/ 2935627 w 4519987"/>
                <a:gd name="connsiteY70" fmla="*/ 4333875 h 4496940"/>
                <a:gd name="connsiteX71" fmla="*/ 2811802 w 4519987"/>
                <a:gd name="connsiteY71" fmla="*/ 4371975 h 4496940"/>
                <a:gd name="connsiteX72" fmla="*/ 2745127 w 4519987"/>
                <a:gd name="connsiteY72" fmla="*/ 4410075 h 4496940"/>
                <a:gd name="connsiteX73" fmla="*/ 2697502 w 4519987"/>
                <a:gd name="connsiteY73" fmla="*/ 4429125 h 4496940"/>
                <a:gd name="connsiteX74" fmla="*/ 2640352 w 4519987"/>
                <a:gd name="connsiteY74" fmla="*/ 4457700 h 4496940"/>
                <a:gd name="connsiteX75" fmla="*/ 2583202 w 4519987"/>
                <a:gd name="connsiteY75" fmla="*/ 4467225 h 4496940"/>
                <a:gd name="connsiteX76" fmla="*/ 2545102 w 4519987"/>
                <a:gd name="connsiteY76" fmla="*/ 4486275 h 4496940"/>
                <a:gd name="connsiteX77" fmla="*/ 2306977 w 4519987"/>
                <a:gd name="connsiteY77" fmla="*/ 4476750 h 4496940"/>
                <a:gd name="connsiteX78" fmla="*/ 2202202 w 4519987"/>
                <a:gd name="connsiteY78" fmla="*/ 4457700 h 4496940"/>
                <a:gd name="connsiteX79" fmla="*/ 2126002 w 4519987"/>
                <a:gd name="connsiteY79" fmla="*/ 4429125 h 4496940"/>
                <a:gd name="connsiteX80" fmla="*/ 1935502 w 4519987"/>
                <a:gd name="connsiteY80" fmla="*/ 4400550 h 4496940"/>
                <a:gd name="connsiteX81" fmla="*/ 1821202 w 4519987"/>
                <a:gd name="connsiteY81" fmla="*/ 4371975 h 4496940"/>
                <a:gd name="connsiteX82" fmla="*/ 1754527 w 4519987"/>
                <a:gd name="connsiteY82" fmla="*/ 4352925 h 4496940"/>
                <a:gd name="connsiteX83" fmla="*/ 1687852 w 4519987"/>
                <a:gd name="connsiteY83" fmla="*/ 4343400 h 4496940"/>
                <a:gd name="connsiteX84" fmla="*/ 1573552 w 4519987"/>
                <a:gd name="connsiteY84" fmla="*/ 4305300 h 4496940"/>
                <a:gd name="connsiteX85" fmla="*/ 1402102 w 4519987"/>
                <a:gd name="connsiteY85" fmla="*/ 4276725 h 4496940"/>
                <a:gd name="connsiteX86" fmla="*/ 1287802 w 4519987"/>
                <a:gd name="connsiteY86" fmla="*/ 4229100 h 4496940"/>
                <a:gd name="connsiteX87" fmla="*/ 1221127 w 4519987"/>
                <a:gd name="connsiteY87" fmla="*/ 4200525 h 4496940"/>
                <a:gd name="connsiteX88" fmla="*/ 1144927 w 4519987"/>
                <a:gd name="connsiteY88" fmla="*/ 4171950 h 4496940"/>
                <a:gd name="connsiteX89" fmla="*/ 1087777 w 4519987"/>
                <a:gd name="connsiteY89" fmla="*/ 4143375 h 4496940"/>
                <a:gd name="connsiteX90" fmla="*/ 1030627 w 4519987"/>
                <a:gd name="connsiteY90" fmla="*/ 4124325 h 4496940"/>
                <a:gd name="connsiteX91" fmla="*/ 925852 w 4519987"/>
                <a:gd name="connsiteY91" fmla="*/ 4067175 h 4496940"/>
                <a:gd name="connsiteX92" fmla="*/ 830602 w 4519987"/>
                <a:gd name="connsiteY92" fmla="*/ 3981450 h 4496940"/>
                <a:gd name="connsiteX93" fmla="*/ 763927 w 4519987"/>
                <a:gd name="connsiteY93" fmla="*/ 3914775 h 4496940"/>
                <a:gd name="connsiteX94" fmla="*/ 725827 w 4519987"/>
                <a:gd name="connsiteY94" fmla="*/ 3876675 h 4496940"/>
                <a:gd name="connsiteX95" fmla="*/ 697252 w 4519987"/>
                <a:gd name="connsiteY95" fmla="*/ 3838575 h 4496940"/>
                <a:gd name="connsiteX96" fmla="*/ 640102 w 4519987"/>
                <a:gd name="connsiteY96" fmla="*/ 3781425 h 4496940"/>
                <a:gd name="connsiteX97" fmla="*/ 611527 w 4519987"/>
                <a:gd name="connsiteY97" fmla="*/ 3733800 h 4496940"/>
                <a:gd name="connsiteX98" fmla="*/ 554377 w 4519987"/>
                <a:gd name="connsiteY98" fmla="*/ 3657600 h 4496940"/>
                <a:gd name="connsiteX99" fmla="*/ 525802 w 4519987"/>
                <a:gd name="connsiteY99" fmla="*/ 3609975 h 4496940"/>
                <a:gd name="connsiteX100" fmla="*/ 497227 w 4519987"/>
                <a:gd name="connsiteY100" fmla="*/ 3552825 h 4496940"/>
                <a:gd name="connsiteX101" fmla="*/ 440077 w 4519987"/>
                <a:gd name="connsiteY101" fmla="*/ 3495675 h 4496940"/>
                <a:gd name="connsiteX102" fmla="*/ 411502 w 4519987"/>
                <a:gd name="connsiteY102" fmla="*/ 3448050 h 4496940"/>
                <a:gd name="connsiteX103" fmla="*/ 278152 w 4519987"/>
                <a:gd name="connsiteY103" fmla="*/ 3257550 h 4496940"/>
                <a:gd name="connsiteX104" fmla="*/ 249577 w 4519987"/>
                <a:gd name="connsiteY104" fmla="*/ 3200400 h 4496940"/>
                <a:gd name="connsiteX105" fmla="*/ 240052 w 4519987"/>
                <a:gd name="connsiteY105" fmla="*/ 3162300 h 4496940"/>
                <a:gd name="connsiteX106" fmla="*/ 221002 w 4519987"/>
                <a:gd name="connsiteY106" fmla="*/ 3105150 h 4496940"/>
                <a:gd name="connsiteX107" fmla="*/ 173377 w 4519987"/>
                <a:gd name="connsiteY107" fmla="*/ 3019425 h 4496940"/>
                <a:gd name="connsiteX108" fmla="*/ 144802 w 4519987"/>
                <a:gd name="connsiteY108" fmla="*/ 2924175 h 4496940"/>
                <a:gd name="connsiteX109" fmla="*/ 68602 w 4519987"/>
                <a:gd name="connsiteY109" fmla="*/ 2724150 h 4496940"/>
                <a:gd name="connsiteX110" fmla="*/ 49552 w 4519987"/>
                <a:gd name="connsiteY110" fmla="*/ 2638425 h 4496940"/>
                <a:gd name="connsiteX111" fmla="*/ 40027 w 4519987"/>
                <a:gd name="connsiteY111" fmla="*/ 2562225 h 4496940"/>
                <a:gd name="connsiteX112" fmla="*/ 30502 w 4519987"/>
                <a:gd name="connsiteY112" fmla="*/ 2514600 h 4496940"/>
                <a:gd name="connsiteX113" fmla="*/ 11452 w 4519987"/>
                <a:gd name="connsiteY113" fmla="*/ 2400300 h 4496940"/>
                <a:gd name="connsiteX114" fmla="*/ 20977 w 4519987"/>
                <a:gd name="connsiteY114" fmla="*/ 1905000 h 4496940"/>
                <a:gd name="connsiteX115" fmla="*/ 30502 w 4519987"/>
                <a:gd name="connsiteY115" fmla="*/ 1838325 h 4496940"/>
                <a:gd name="connsiteX116" fmla="*/ 49552 w 4519987"/>
                <a:gd name="connsiteY116" fmla="*/ 1781175 h 4496940"/>
                <a:gd name="connsiteX117" fmla="*/ 59077 w 4519987"/>
                <a:gd name="connsiteY117" fmla="*/ 1743075 h 4496940"/>
                <a:gd name="connsiteX118" fmla="*/ 78127 w 4519987"/>
                <a:gd name="connsiteY118" fmla="*/ 1685925 h 4496940"/>
                <a:gd name="connsiteX119" fmla="*/ 87652 w 4519987"/>
                <a:gd name="connsiteY119" fmla="*/ 1638300 h 4496940"/>
                <a:gd name="connsiteX120" fmla="*/ 106702 w 4519987"/>
                <a:gd name="connsiteY120" fmla="*/ 1590675 h 4496940"/>
                <a:gd name="connsiteX121" fmla="*/ 135277 w 4519987"/>
                <a:gd name="connsiteY121" fmla="*/ 1504950 h 4496940"/>
                <a:gd name="connsiteX122" fmla="*/ 154327 w 4519987"/>
                <a:gd name="connsiteY122" fmla="*/ 1419225 h 4496940"/>
                <a:gd name="connsiteX123" fmla="*/ 230527 w 4519987"/>
                <a:gd name="connsiteY123" fmla="*/ 1276350 h 4496940"/>
                <a:gd name="connsiteX124" fmla="*/ 240052 w 4519987"/>
                <a:gd name="connsiteY124" fmla="*/ 1247775 h 4496940"/>
                <a:gd name="connsiteX125" fmla="*/ 268627 w 4519987"/>
                <a:gd name="connsiteY125" fmla="*/ 1200150 h 4496940"/>
                <a:gd name="connsiteX126" fmla="*/ 287677 w 4519987"/>
                <a:gd name="connsiteY126" fmla="*/ 1152525 h 4496940"/>
                <a:gd name="connsiteX127" fmla="*/ 316252 w 4519987"/>
                <a:gd name="connsiteY127" fmla="*/ 1114425 h 4496940"/>
                <a:gd name="connsiteX128" fmla="*/ 363877 w 4519987"/>
                <a:gd name="connsiteY128" fmla="*/ 1038225 h 4496940"/>
                <a:gd name="connsiteX129" fmla="*/ 382927 w 4519987"/>
                <a:gd name="connsiteY129" fmla="*/ 1009650 h 4496940"/>
                <a:gd name="connsiteX130" fmla="*/ 440077 w 4519987"/>
                <a:gd name="connsiteY130" fmla="*/ 904875 h 4496940"/>
                <a:gd name="connsiteX131" fmla="*/ 478177 w 4519987"/>
                <a:gd name="connsiteY131" fmla="*/ 857250 h 4496940"/>
                <a:gd name="connsiteX132" fmla="*/ 497227 w 4519987"/>
                <a:gd name="connsiteY132" fmla="*/ 828675 h 4496940"/>
                <a:gd name="connsiteX133" fmla="*/ 535327 w 4519987"/>
                <a:gd name="connsiteY133" fmla="*/ 800100 h 4496940"/>
                <a:gd name="connsiteX134" fmla="*/ 602002 w 4519987"/>
                <a:gd name="connsiteY134" fmla="*/ 733425 h 4496940"/>
                <a:gd name="connsiteX135" fmla="*/ 668677 w 4519987"/>
                <a:gd name="connsiteY135" fmla="*/ 676275 h 4496940"/>
                <a:gd name="connsiteX136" fmla="*/ 697252 w 4519987"/>
                <a:gd name="connsiteY136" fmla="*/ 657225 h 4496940"/>
                <a:gd name="connsiteX137" fmla="*/ 840127 w 4519987"/>
                <a:gd name="connsiteY137" fmla="*/ 533400 h 4496940"/>
                <a:gd name="connsiteX138" fmla="*/ 887752 w 4519987"/>
                <a:gd name="connsiteY138" fmla="*/ 504825 h 4496940"/>
                <a:gd name="connsiteX139" fmla="*/ 1167152 w 4519987"/>
                <a:gd name="connsiteY139" fmla="*/ 311150 h 4496940"/>
                <a:gd name="connsiteX140" fmla="*/ 1268752 w 4519987"/>
                <a:gd name="connsiteY140" fmla="*/ 285750 h 4496940"/>
                <a:gd name="connsiteX141" fmla="*/ 1411627 w 4519987"/>
                <a:gd name="connsiteY141" fmla="*/ 190500 h 4496940"/>
                <a:gd name="connsiteX142" fmla="*/ 1449727 w 4519987"/>
                <a:gd name="connsiteY142" fmla="*/ 161925 h 4496940"/>
                <a:gd name="connsiteX143" fmla="*/ 1525927 w 4519987"/>
                <a:gd name="connsiteY143" fmla="*/ 152400 h 4496940"/>
                <a:gd name="connsiteX144" fmla="*/ 1583077 w 4519987"/>
                <a:gd name="connsiteY144" fmla="*/ 142875 h 4496940"/>
                <a:gd name="connsiteX145" fmla="*/ 1716427 w 4519987"/>
                <a:gd name="connsiteY145" fmla="*/ 123825 h 4496940"/>
                <a:gd name="connsiteX146" fmla="*/ 1811677 w 4519987"/>
                <a:gd name="connsiteY146" fmla="*/ 114300 h 4496940"/>
                <a:gd name="connsiteX147" fmla="*/ 1859302 w 4519987"/>
                <a:gd name="connsiteY147" fmla="*/ 104775 h 4496940"/>
                <a:gd name="connsiteX148" fmla="*/ 1916452 w 4519987"/>
                <a:gd name="connsiteY148" fmla="*/ 95250 h 4496940"/>
                <a:gd name="connsiteX149" fmla="*/ 2030752 w 4519987"/>
                <a:gd name="connsiteY149" fmla="*/ 66675 h 4496940"/>
                <a:gd name="connsiteX150" fmla="*/ 2097427 w 4519987"/>
                <a:gd name="connsiteY150" fmla="*/ 47625 h 4496940"/>
                <a:gd name="connsiteX151" fmla="*/ 2164102 w 4519987"/>
                <a:gd name="connsiteY151" fmla="*/ 38100 h 4496940"/>
                <a:gd name="connsiteX152" fmla="*/ 2392702 w 4519987"/>
                <a:gd name="connsiteY15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02377 w 4519987"/>
                <a:gd name="connsiteY18" fmla="*/ 457200 h 4496940"/>
                <a:gd name="connsiteX19" fmla="*/ 3630952 w 4519987"/>
                <a:gd name="connsiteY19" fmla="*/ 485775 h 4496940"/>
                <a:gd name="connsiteX20" fmla="*/ 3745252 w 4519987"/>
                <a:gd name="connsiteY20" fmla="*/ 542925 h 4496940"/>
                <a:gd name="connsiteX21" fmla="*/ 3811927 w 4519987"/>
                <a:gd name="connsiteY21" fmla="*/ 581025 h 4496940"/>
                <a:gd name="connsiteX22" fmla="*/ 3907177 w 4519987"/>
                <a:gd name="connsiteY22" fmla="*/ 647700 h 4496940"/>
                <a:gd name="connsiteX23" fmla="*/ 3935752 w 4519987"/>
                <a:gd name="connsiteY23" fmla="*/ 676275 h 4496940"/>
                <a:gd name="connsiteX24" fmla="*/ 4078627 w 4519987"/>
                <a:gd name="connsiteY24" fmla="*/ 838200 h 4496940"/>
                <a:gd name="connsiteX25" fmla="*/ 4135777 w 4519987"/>
                <a:gd name="connsiteY25" fmla="*/ 933450 h 4496940"/>
                <a:gd name="connsiteX26" fmla="*/ 4164352 w 4519987"/>
                <a:gd name="connsiteY26" fmla="*/ 990600 h 4496940"/>
                <a:gd name="connsiteX27" fmla="*/ 4173877 w 4519987"/>
                <a:gd name="connsiteY27" fmla="*/ 1019175 h 4496940"/>
                <a:gd name="connsiteX28" fmla="*/ 4192927 w 4519987"/>
                <a:gd name="connsiteY28" fmla="*/ 1057275 h 4496940"/>
                <a:gd name="connsiteX29" fmla="*/ 4202452 w 4519987"/>
                <a:gd name="connsiteY29" fmla="*/ 1085850 h 4496940"/>
                <a:gd name="connsiteX30" fmla="*/ 4250077 w 4519987"/>
                <a:gd name="connsiteY30" fmla="*/ 1143000 h 4496940"/>
                <a:gd name="connsiteX31" fmla="*/ 4259602 w 4519987"/>
                <a:gd name="connsiteY31" fmla="*/ 1190625 h 4496940"/>
                <a:gd name="connsiteX32" fmla="*/ 4307227 w 4519987"/>
                <a:gd name="connsiteY32" fmla="*/ 1266825 h 4496940"/>
                <a:gd name="connsiteX33" fmla="*/ 4345327 w 4519987"/>
                <a:gd name="connsiteY33" fmla="*/ 1362075 h 4496940"/>
                <a:gd name="connsiteX34" fmla="*/ 4373902 w 4519987"/>
                <a:gd name="connsiteY34" fmla="*/ 1428750 h 4496940"/>
                <a:gd name="connsiteX35" fmla="*/ 4392952 w 4519987"/>
                <a:gd name="connsiteY35" fmla="*/ 1552575 h 4496940"/>
                <a:gd name="connsiteX36" fmla="*/ 4402477 w 4519987"/>
                <a:gd name="connsiteY36" fmla="*/ 1590675 h 4496940"/>
                <a:gd name="connsiteX37" fmla="*/ 4431052 w 4519987"/>
                <a:gd name="connsiteY37" fmla="*/ 1685925 h 4496940"/>
                <a:gd name="connsiteX38" fmla="*/ 4519952 w 4519987"/>
                <a:gd name="connsiteY38" fmla="*/ 2181225 h 4496940"/>
                <a:gd name="connsiteX39" fmla="*/ 4446927 w 4519987"/>
                <a:gd name="connsiteY39" fmla="*/ 2768600 h 4496940"/>
                <a:gd name="connsiteX40" fmla="*/ 4383427 w 4519987"/>
                <a:gd name="connsiteY40" fmla="*/ 2990850 h 4496940"/>
                <a:gd name="connsiteX41" fmla="*/ 4278652 w 4519987"/>
                <a:gd name="connsiteY41" fmla="*/ 3248025 h 4496940"/>
                <a:gd name="connsiteX42" fmla="*/ 4259602 w 4519987"/>
                <a:gd name="connsiteY42" fmla="*/ 3276600 h 4496940"/>
                <a:gd name="connsiteX43" fmla="*/ 4221502 w 4519987"/>
                <a:gd name="connsiteY43" fmla="*/ 3333750 h 4496940"/>
                <a:gd name="connsiteX44" fmla="*/ 4211977 w 4519987"/>
                <a:gd name="connsiteY44" fmla="*/ 3362325 h 4496940"/>
                <a:gd name="connsiteX45" fmla="*/ 4183402 w 4519987"/>
                <a:gd name="connsiteY45" fmla="*/ 3400425 h 4496940"/>
                <a:gd name="connsiteX46" fmla="*/ 4164352 w 4519987"/>
                <a:gd name="connsiteY46" fmla="*/ 3429000 h 4496940"/>
                <a:gd name="connsiteX47" fmla="*/ 4088152 w 4519987"/>
                <a:gd name="connsiteY47" fmla="*/ 3495675 h 4496940"/>
                <a:gd name="connsiteX48" fmla="*/ 4059577 w 4519987"/>
                <a:gd name="connsiteY48" fmla="*/ 3533775 h 4496940"/>
                <a:gd name="connsiteX49" fmla="*/ 4002427 w 4519987"/>
                <a:gd name="connsiteY49" fmla="*/ 3600450 h 4496940"/>
                <a:gd name="connsiteX50" fmla="*/ 3983377 w 4519987"/>
                <a:gd name="connsiteY50" fmla="*/ 3629025 h 4496940"/>
                <a:gd name="connsiteX51" fmla="*/ 3954802 w 4519987"/>
                <a:gd name="connsiteY51" fmla="*/ 3648075 h 4496940"/>
                <a:gd name="connsiteX52" fmla="*/ 3907177 w 4519987"/>
                <a:gd name="connsiteY52" fmla="*/ 3686175 h 4496940"/>
                <a:gd name="connsiteX53" fmla="*/ 3869077 w 4519987"/>
                <a:gd name="connsiteY53" fmla="*/ 3724275 h 4496940"/>
                <a:gd name="connsiteX54" fmla="*/ 3792877 w 4519987"/>
                <a:gd name="connsiteY54" fmla="*/ 3781425 h 4496940"/>
                <a:gd name="connsiteX55" fmla="*/ 3783352 w 4519987"/>
                <a:gd name="connsiteY55" fmla="*/ 3810000 h 4496940"/>
                <a:gd name="connsiteX56" fmla="*/ 3745252 w 4519987"/>
                <a:gd name="connsiteY56" fmla="*/ 3819525 h 4496940"/>
                <a:gd name="connsiteX57" fmla="*/ 3678577 w 4519987"/>
                <a:gd name="connsiteY57" fmla="*/ 3848100 h 4496940"/>
                <a:gd name="connsiteX58" fmla="*/ 3659527 w 4519987"/>
                <a:gd name="connsiteY58" fmla="*/ 3971925 h 4496940"/>
                <a:gd name="connsiteX59" fmla="*/ 3630952 w 4519987"/>
                <a:gd name="connsiteY59" fmla="*/ 4010025 h 4496940"/>
                <a:gd name="connsiteX60" fmla="*/ 3621427 w 4519987"/>
                <a:gd name="connsiteY60" fmla="*/ 4038600 h 4496940"/>
                <a:gd name="connsiteX61" fmla="*/ 3554752 w 4519987"/>
                <a:gd name="connsiteY61" fmla="*/ 4095750 h 4496940"/>
                <a:gd name="connsiteX62" fmla="*/ 3516652 w 4519987"/>
                <a:gd name="connsiteY62" fmla="*/ 4114800 h 4496940"/>
                <a:gd name="connsiteX63" fmla="*/ 3497602 w 4519987"/>
                <a:gd name="connsiteY63" fmla="*/ 4143375 h 4496940"/>
                <a:gd name="connsiteX64" fmla="*/ 3383302 w 4519987"/>
                <a:gd name="connsiteY64" fmla="*/ 4210050 h 4496940"/>
                <a:gd name="connsiteX65" fmla="*/ 3335677 w 4519987"/>
                <a:gd name="connsiteY65" fmla="*/ 4238625 h 4496940"/>
                <a:gd name="connsiteX66" fmla="*/ 3288052 w 4519987"/>
                <a:gd name="connsiteY66" fmla="*/ 4248150 h 4496940"/>
                <a:gd name="connsiteX67" fmla="*/ 3240427 w 4519987"/>
                <a:gd name="connsiteY67" fmla="*/ 4267200 h 4496940"/>
                <a:gd name="connsiteX68" fmla="*/ 3068977 w 4519987"/>
                <a:gd name="connsiteY68" fmla="*/ 4286250 h 4496940"/>
                <a:gd name="connsiteX69" fmla="*/ 2935627 w 4519987"/>
                <a:gd name="connsiteY69" fmla="*/ 4333875 h 4496940"/>
                <a:gd name="connsiteX70" fmla="*/ 2811802 w 4519987"/>
                <a:gd name="connsiteY70" fmla="*/ 4371975 h 4496940"/>
                <a:gd name="connsiteX71" fmla="*/ 2745127 w 4519987"/>
                <a:gd name="connsiteY71" fmla="*/ 4410075 h 4496940"/>
                <a:gd name="connsiteX72" fmla="*/ 2697502 w 4519987"/>
                <a:gd name="connsiteY72" fmla="*/ 4429125 h 4496940"/>
                <a:gd name="connsiteX73" fmla="*/ 2640352 w 4519987"/>
                <a:gd name="connsiteY73" fmla="*/ 4457700 h 4496940"/>
                <a:gd name="connsiteX74" fmla="*/ 2583202 w 4519987"/>
                <a:gd name="connsiteY74" fmla="*/ 4467225 h 4496940"/>
                <a:gd name="connsiteX75" fmla="*/ 2545102 w 4519987"/>
                <a:gd name="connsiteY75" fmla="*/ 4486275 h 4496940"/>
                <a:gd name="connsiteX76" fmla="*/ 2306977 w 4519987"/>
                <a:gd name="connsiteY76" fmla="*/ 4476750 h 4496940"/>
                <a:gd name="connsiteX77" fmla="*/ 2202202 w 4519987"/>
                <a:gd name="connsiteY77" fmla="*/ 4457700 h 4496940"/>
                <a:gd name="connsiteX78" fmla="*/ 2126002 w 4519987"/>
                <a:gd name="connsiteY78" fmla="*/ 4429125 h 4496940"/>
                <a:gd name="connsiteX79" fmla="*/ 1935502 w 4519987"/>
                <a:gd name="connsiteY79" fmla="*/ 4400550 h 4496940"/>
                <a:gd name="connsiteX80" fmla="*/ 1821202 w 4519987"/>
                <a:gd name="connsiteY80" fmla="*/ 4371975 h 4496940"/>
                <a:gd name="connsiteX81" fmla="*/ 1754527 w 4519987"/>
                <a:gd name="connsiteY81" fmla="*/ 4352925 h 4496940"/>
                <a:gd name="connsiteX82" fmla="*/ 1687852 w 4519987"/>
                <a:gd name="connsiteY82" fmla="*/ 4343400 h 4496940"/>
                <a:gd name="connsiteX83" fmla="*/ 1573552 w 4519987"/>
                <a:gd name="connsiteY83" fmla="*/ 4305300 h 4496940"/>
                <a:gd name="connsiteX84" fmla="*/ 1402102 w 4519987"/>
                <a:gd name="connsiteY84" fmla="*/ 4276725 h 4496940"/>
                <a:gd name="connsiteX85" fmla="*/ 1287802 w 4519987"/>
                <a:gd name="connsiteY85" fmla="*/ 4229100 h 4496940"/>
                <a:gd name="connsiteX86" fmla="*/ 1221127 w 4519987"/>
                <a:gd name="connsiteY86" fmla="*/ 4200525 h 4496940"/>
                <a:gd name="connsiteX87" fmla="*/ 1144927 w 4519987"/>
                <a:gd name="connsiteY87" fmla="*/ 4171950 h 4496940"/>
                <a:gd name="connsiteX88" fmla="*/ 1087777 w 4519987"/>
                <a:gd name="connsiteY88" fmla="*/ 4143375 h 4496940"/>
                <a:gd name="connsiteX89" fmla="*/ 1030627 w 4519987"/>
                <a:gd name="connsiteY89" fmla="*/ 4124325 h 4496940"/>
                <a:gd name="connsiteX90" fmla="*/ 925852 w 4519987"/>
                <a:gd name="connsiteY90" fmla="*/ 4067175 h 4496940"/>
                <a:gd name="connsiteX91" fmla="*/ 830602 w 4519987"/>
                <a:gd name="connsiteY91" fmla="*/ 3981450 h 4496940"/>
                <a:gd name="connsiteX92" fmla="*/ 763927 w 4519987"/>
                <a:gd name="connsiteY92" fmla="*/ 3914775 h 4496940"/>
                <a:gd name="connsiteX93" fmla="*/ 725827 w 4519987"/>
                <a:gd name="connsiteY93" fmla="*/ 3876675 h 4496940"/>
                <a:gd name="connsiteX94" fmla="*/ 697252 w 4519987"/>
                <a:gd name="connsiteY94" fmla="*/ 3838575 h 4496940"/>
                <a:gd name="connsiteX95" fmla="*/ 640102 w 4519987"/>
                <a:gd name="connsiteY95" fmla="*/ 3781425 h 4496940"/>
                <a:gd name="connsiteX96" fmla="*/ 611527 w 4519987"/>
                <a:gd name="connsiteY96" fmla="*/ 3733800 h 4496940"/>
                <a:gd name="connsiteX97" fmla="*/ 554377 w 4519987"/>
                <a:gd name="connsiteY97" fmla="*/ 3657600 h 4496940"/>
                <a:gd name="connsiteX98" fmla="*/ 525802 w 4519987"/>
                <a:gd name="connsiteY98" fmla="*/ 3609975 h 4496940"/>
                <a:gd name="connsiteX99" fmla="*/ 497227 w 4519987"/>
                <a:gd name="connsiteY99" fmla="*/ 3552825 h 4496940"/>
                <a:gd name="connsiteX100" fmla="*/ 440077 w 4519987"/>
                <a:gd name="connsiteY100" fmla="*/ 3495675 h 4496940"/>
                <a:gd name="connsiteX101" fmla="*/ 411502 w 4519987"/>
                <a:gd name="connsiteY101" fmla="*/ 3448050 h 4496940"/>
                <a:gd name="connsiteX102" fmla="*/ 278152 w 4519987"/>
                <a:gd name="connsiteY102" fmla="*/ 3257550 h 4496940"/>
                <a:gd name="connsiteX103" fmla="*/ 249577 w 4519987"/>
                <a:gd name="connsiteY103" fmla="*/ 3200400 h 4496940"/>
                <a:gd name="connsiteX104" fmla="*/ 240052 w 4519987"/>
                <a:gd name="connsiteY104" fmla="*/ 3162300 h 4496940"/>
                <a:gd name="connsiteX105" fmla="*/ 221002 w 4519987"/>
                <a:gd name="connsiteY105" fmla="*/ 3105150 h 4496940"/>
                <a:gd name="connsiteX106" fmla="*/ 173377 w 4519987"/>
                <a:gd name="connsiteY106" fmla="*/ 3019425 h 4496940"/>
                <a:gd name="connsiteX107" fmla="*/ 144802 w 4519987"/>
                <a:gd name="connsiteY107" fmla="*/ 2924175 h 4496940"/>
                <a:gd name="connsiteX108" fmla="*/ 68602 w 4519987"/>
                <a:gd name="connsiteY108" fmla="*/ 2724150 h 4496940"/>
                <a:gd name="connsiteX109" fmla="*/ 49552 w 4519987"/>
                <a:gd name="connsiteY109" fmla="*/ 2638425 h 4496940"/>
                <a:gd name="connsiteX110" fmla="*/ 40027 w 4519987"/>
                <a:gd name="connsiteY110" fmla="*/ 2562225 h 4496940"/>
                <a:gd name="connsiteX111" fmla="*/ 30502 w 4519987"/>
                <a:gd name="connsiteY111" fmla="*/ 2514600 h 4496940"/>
                <a:gd name="connsiteX112" fmla="*/ 11452 w 4519987"/>
                <a:gd name="connsiteY112" fmla="*/ 2400300 h 4496940"/>
                <a:gd name="connsiteX113" fmla="*/ 20977 w 4519987"/>
                <a:gd name="connsiteY113" fmla="*/ 1905000 h 4496940"/>
                <a:gd name="connsiteX114" fmla="*/ 30502 w 4519987"/>
                <a:gd name="connsiteY114" fmla="*/ 1838325 h 4496940"/>
                <a:gd name="connsiteX115" fmla="*/ 49552 w 4519987"/>
                <a:gd name="connsiteY115" fmla="*/ 1781175 h 4496940"/>
                <a:gd name="connsiteX116" fmla="*/ 59077 w 4519987"/>
                <a:gd name="connsiteY116" fmla="*/ 1743075 h 4496940"/>
                <a:gd name="connsiteX117" fmla="*/ 78127 w 4519987"/>
                <a:gd name="connsiteY117" fmla="*/ 1685925 h 4496940"/>
                <a:gd name="connsiteX118" fmla="*/ 87652 w 4519987"/>
                <a:gd name="connsiteY118" fmla="*/ 1638300 h 4496940"/>
                <a:gd name="connsiteX119" fmla="*/ 106702 w 4519987"/>
                <a:gd name="connsiteY119" fmla="*/ 1590675 h 4496940"/>
                <a:gd name="connsiteX120" fmla="*/ 135277 w 4519987"/>
                <a:gd name="connsiteY120" fmla="*/ 1504950 h 4496940"/>
                <a:gd name="connsiteX121" fmla="*/ 154327 w 4519987"/>
                <a:gd name="connsiteY121" fmla="*/ 1419225 h 4496940"/>
                <a:gd name="connsiteX122" fmla="*/ 230527 w 4519987"/>
                <a:gd name="connsiteY122" fmla="*/ 1276350 h 4496940"/>
                <a:gd name="connsiteX123" fmla="*/ 240052 w 4519987"/>
                <a:gd name="connsiteY123" fmla="*/ 1247775 h 4496940"/>
                <a:gd name="connsiteX124" fmla="*/ 268627 w 4519987"/>
                <a:gd name="connsiteY124" fmla="*/ 1200150 h 4496940"/>
                <a:gd name="connsiteX125" fmla="*/ 287677 w 4519987"/>
                <a:gd name="connsiteY125" fmla="*/ 1152525 h 4496940"/>
                <a:gd name="connsiteX126" fmla="*/ 316252 w 4519987"/>
                <a:gd name="connsiteY126" fmla="*/ 1114425 h 4496940"/>
                <a:gd name="connsiteX127" fmla="*/ 363877 w 4519987"/>
                <a:gd name="connsiteY127" fmla="*/ 1038225 h 4496940"/>
                <a:gd name="connsiteX128" fmla="*/ 382927 w 4519987"/>
                <a:gd name="connsiteY128" fmla="*/ 1009650 h 4496940"/>
                <a:gd name="connsiteX129" fmla="*/ 440077 w 4519987"/>
                <a:gd name="connsiteY129" fmla="*/ 904875 h 4496940"/>
                <a:gd name="connsiteX130" fmla="*/ 478177 w 4519987"/>
                <a:gd name="connsiteY130" fmla="*/ 857250 h 4496940"/>
                <a:gd name="connsiteX131" fmla="*/ 497227 w 4519987"/>
                <a:gd name="connsiteY131" fmla="*/ 828675 h 4496940"/>
                <a:gd name="connsiteX132" fmla="*/ 535327 w 4519987"/>
                <a:gd name="connsiteY132" fmla="*/ 800100 h 4496940"/>
                <a:gd name="connsiteX133" fmla="*/ 602002 w 4519987"/>
                <a:gd name="connsiteY133" fmla="*/ 733425 h 4496940"/>
                <a:gd name="connsiteX134" fmla="*/ 668677 w 4519987"/>
                <a:gd name="connsiteY134" fmla="*/ 676275 h 4496940"/>
                <a:gd name="connsiteX135" fmla="*/ 697252 w 4519987"/>
                <a:gd name="connsiteY135" fmla="*/ 657225 h 4496940"/>
                <a:gd name="connsiteX136" fmla="*/ 840127 w 4519987"/>
                <a:gd name="connsiteY136" fmla="*/ 533400 h 4496940"/>
                <a:gd name="connsiteX137" fmla="*/ 887752 w 4519987"/>
                <a:gd name="connsiteY137" fmla="*/ 504825 h 4496940"/>
                <a:gd name="connsiteX138" fmla="*/ 1167152 w 4519987"/>
                <a:gd name="connsiteY138" fmla="*/ 311150 h 4496940"/>
                <a:gd name="connsiteX139" fmla="*/ 1268752 w 4519987"/>
                <a:gd name="connsiteY139" fmla="*/ 285750 h 4496940"/>
                <a:gd name="connsiteX140" fmla="*/ 1411627 w 4519987"/>
                <a:gd name="connsiteY140" fmla="*/ 190500 h 4496940"/>
                <a:gd name="connsiteX141" fmla="*/ 1449727 w 4519987"/>
                <a:gd name="connsiteY141" fmla="*/ 161925 h 4496940"/>
                <a:gd name="connsiteX142" fmla="*/ 1525927 w 4519987"/>
                <a:gd name="connsiteY142" fmla="*/ 152400 h 4496940"/>
                <a:gd name="connsiteX143" fmla="*/ 1583077 w 4519987"/>
                <a:gd name="connsiteY143" fmla="*/ 142875 h 4496940"/>
                <a:gd name="connsiteX144" fmla="*/ 1716427 w 4519987"/>
                <a:gd name="connsiteY144" fmla="*/ 123825 h 4496940"/>
                <a:gd name="connsiteX145" fmla="*/ 1811677 w 4519987"/>
                <a:gd name="connsiteY145" fmla="*/ 114300 h 4496940"/>
                <a:gd name="connsiteX146" fmla="*/ 1859302 w 4519987"/>
                <a:gd name="connsiteY146" fmla="*/ 104775 h 4496940"/>
                <a:gd name="connsiteX147" fmla="*/ 1916452 w 4519987"/>
                <a:gd name="connsiteY147" fmla="*/ 95250 h 4496940"/>
                <a:gd name="connsiteX148" fmla="*/ 2030752 w 4519987"/>
                <a:gd name="connsiteY148" fmla="*/ 66675 h 4496940"/>
                <a:gd name="connsiteX149" fmla="*/ 2097427 w 4519987"/>
                <a:gd name="connsiteY149" fmla="*/ 47625 h 4496940"/>
                <a:gd name="connsiteX150" fmla="*/ 2164102 w 4519987"/>
                <a:gd name="connsiteY150" fmla="*/ 38100 h 4496940"/>
                <a:gd name="connsiteX151" fmla="*/ 2392702 w 4519987"/>
                <a:gd name="connsiteY15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3935752 w 4519987"/>
                <a:gd name="connsiteY22" fmla="*/ 676275 h 4496940"/>
                <a:gd name="connsiteX23" fmla="*/ 4078627 w 4519987"/>
                <a:gd name="connsiteY23" fmla="*/ 838200 h 4496940"/>
                <a:gd name="connsiteX24" fmla="*/ 4135777 w 4519987"/>
                <a:gd name="connsiteY24" fmla="*/ 933450 h 4496940"/>
                <a:gd name="connsiteX25" fmla="*/ 4164352 w 4519987"/>
                <a:gd name="connsiteY25" fmla="*/ 990600 h 4496940"/>
                <a:gd name="connsiteX26" fmla="*/ 4173877 w 4519987"/>
                <a:gd name="connsiteY26" fmla="*/ 1019175 h 4496940"/>
                <a:gd name="connsiteX27" fmla="*/ 4192927 w 4519987"/>
                <a:gd name="connsiteY27" fmla="*/ 1057275 h 4496940"/>
                <a:gd name="connsiteX28" fmla="*/ 4202452 w 4519987"/>
                <a:gd name="connsiteY28" fmla="*/ 1085850 h 4496940"/>
                <a:gd name="connsiteX29" fmla="*/ 4250077 w 4519987"/>
                <a:gd name="connsiteY29" fmla="*/ 1143000 h 4496940"/>
                <a:gd name="connsiteX30" fmla="*/ 4259602 w 4519987"/>
                <a:gd name="connsiteY30" fmla="*/ 1190625 h 4496940"/>
                <a:gd name="connsiteX31" fmla="*/ 4307227 w 4519987"/>
                <a:gd name="connsiteY31" fmla="*/ 1266825 h 4496940"/>
                <a:gd name="connsiteX32" fmla="*/ 4345327 w 4519987"/>
                <a:gd name="connsiteY32" fmla="*/ 1362075 h 4496940"/>
                <a:gd name="connsiteX33" fmla="*/ 4373902 w 4519987"/>
                <a:gd name="connsiteY33" fmla="*/ 1428750 h 4496940"/>
                <a:gd name="connsiteX34" fmla="*/ 4392952 w 4519987"/>
                <a:gd name="connsiteY34" fmla="*/ 1552575 h 4496940"/>
                <a:gd name="connsiteX35" fmla="*/ 4402477 w 4519987"/>
                <a:gd name="connsiteY35" fmla="*/ 1590675 h 4496940"/>
                <a:gd name="connsiteX36" fmla="*/ 4431052 w 4519987"/>
                <a:gd name="connsiteY36" fmla="*/ 1685925 h 4496940"/>
                <a:gd name="connsiteX37" fmla="*/ 4519952 w 4519987"/>
                <a:gd name="connsiteY37" fmla="*/ 2181225 h 4496940"/>
                <a:gd name="connsiteX38" fmla="*/ 4446927 w 4519987"/>
                <a:gd name="connsiteY38" fmla="*/ 2768600 h 4496940"/>
                <a:gd name="connsiteX39" fmla="*/ 4383427 w 4519987"/>
                <a:gd name="connsiteY39" fmla="*/ 2990850 h 4496940"/>
                <a:gd name="connsiteX40" fmla="*/ 4278652 w 4519987"/>
                <a:gd name="connsiteY40" fmla="*/ 3248025 h 4496940"/>
                <a:gd name="connsiteX41" fmla="*/ 4259602 w 4519987"/>
                <a:gd name="connsiteY41" fmla="*/ 3276600 h 4496940"/>
                <a:gd name="connsiteX42" fmla="*/ 4221502 w 4519987"/>
                <a:gd name="connsiteY42" fmla="*/ 3333750 h 4496940"/>
                <a:gd name="connsiteX43" fmla="*/ 4211977 w 4519987"/>
                <a:gd name="connsiteY43" fmla="*/ 3362325 h 4496940"/>
                <a:gd name="connsiteX44" fmla="*/ 4183402 w 4519987"/>
                <a:gd name="connsiteY44" fmla="*/ 3400425 h 4496940"/>
                <a:gd name="connsiteX45" fmla="*/ 4164352 w 4519987"/>
                <a:gd name="connsiteY45" fmla="*/ 3429000 h 4496940"/>
                <a:gd name="connsiteX46" fmla="*/ 4088152 w 4519987"/>
                <a:gd name="connsiteY46" fmla="*/ 3495675 h 4496940"/>
                <a:gd name="connsiteX47" fmla="*/ 4059577 w 4519987"/>
                <a:gd name="connsiteY47" fmla="*/ 3533775 h 4496940"/>
                <a:gd name="connsiteX48" fmla="*/ 4002427 w 4519987"/>
                <a:gd name="connsiteY48" fmla="*/ 3600450 h 4496940"/>
                <a:gd name="connsiteX49" fmla="*/ 3983377 w 4519987"/>
                <a:gd name="connsiteY49" fmla="*/ 3629025 h 4496940"/>
                <a:gd name="connsiteX50" fmla="*/ 3954802 w 4519987"/>
                <a:gd name="connsiteY50" fmla="*/ 3648075 h 4496940"/>
                <a:gd name="connsiteX51" fmla="*/ 3907177 w 4519987"/>
                <a:gd name="connsiteY51" fmla="*/ 3686175 h 4496940"/>
                <a:gd name="connsiteX52" fmla="*/ 3869077 w 4519987"/>
                <a:gd name="connsiteY52" fmla="*/ 3724275 h 4496940"/>
                <a:gd name="connsiteX53" fmla="*/ 3792877 w 4519987"/>
                <a:gd name="connsiteY53" fmla="*/ 3781425 h 4496940"/>
                <a:gd name="connsiteX54" fmla="*/ 3783352 w 4519987"/>
                <a:gd name="connsiteY54" fmla="*/ 3810000 h 4496940"/>
                <a:gd name="connsiteX55" fmla="*/ 3745252 w 4519987"/>
                <a:gd name="connsiteY55" fmla="*/ 3819525 h 4496940"/>
                <a:gd name="connsiteX56" fmla="*/ 3678577 w 4519987"/>
                <a:gd name="connsiteY56" fmla="*/ 3848100 h 4496940"/>
                <a:gd name="connsiteX57" fmla="*/ 3659527 w 4519987"/>
                <a:gd name="connsiteY57" fmla="*/ 3971925 h 4496940"/>
                <a:gd name="connsiteX58" fmla="*/ 3630952 w 4519987"/>
                <a:gd name="connsiteY58" fmla="*/ 4010025 h 4496940"/>
                <a:gd name="connsiteX59" fmla="*/ 3621427 w 4519987"/>
                <a:gd name="connsiteY59" fmla="*/ 4038600 h 4496940"/>
                <a:gd name="connsiteX60" fmla="*/ 3554752 w 4519987"/>
                <a:gd name="connsiteY60" fmla="*/ 4095750 h 4496940"/>
                <a:gd name="connsiteX61" fmla="*/ 3516652 w 4519987"/>
                <a:gd name="connsiteY61" fmla="*/ 4114800 h 4496940"/>
                <a:gd name="connsiteX62" fmla="*/ 3497602 w 4519987"/>
                <a:gd name="connsiteY62" fmla="*/ 4143375 h 4496940"/>
                <a:gd name="connsiteX63" fmla="*/ 3383302 w 4519987"/>
                <a:gd name="connsiteY63" fmla="*/ 4210050 h 4496940"/>
                <a:gd name="connsiteX64" fmla="*/ 3335677 w 4519987"/>
                <a:gd name="connsiteY64" fmla="*/ 4238625 h 4496940"/>
                <a:gd name="connsiteX65" fmla="*/ 3288052 w 4519987"/>
                <a:gd name="connsiteY65" fmla="*/ 4248150 h 4496940"/>
                <a:gd name="connsiteX66" fmla="*/ 3240427 w 4519987"/>
                <a:gd name="connsiteY66" fmla="*/ 4267200 h 4496940"/>
                <a:gd name="connsiteX67" fmla="*/ 3068977 w 4519987"/>
                <a:gd name="connsiteY67" fmla="*/ 4286250 h 4496940"/>
                <a:gd name="connsiteX68" fmla="*/ 2935627 w 4519987"/>
                <a:gd name="connsiteY68" fmla="*/ 4333875 h 4496940"/>
                <a:gd name="connsiteX69" fmla="*/ 2811802 w 4519987"/>
                <a:gd name="connsiteY69" fmla="*/ 4371975 h 4496940"/>
                <a:gd name="connsiteX70" fmla="*/ 2745127 w 4519987"/>
                <a:gd name="connsiteY70" fmla="*/ 4410075 h 4496940"/>
                <a:gd name="connsiteX71" fmla="*/ 2697502 w 4519987"/>
                <a:gd name="connsiteY71" fmla="*/ 4429125 h 4496940"/>
                <a:gd name="connsiteX72" fmla="*/ 2640352 w 4519987"/>
                <a:gd name="connsiteY72" fmla="*/ 4457700 h 4496940"/>
                <a:gd name="connsiteX73" fmla="*/ 2583202 w 4519987"/>
                <a:gd name="connsiteY73" fmla="*/ 4467225 h 4496940"/>
                <a:gd name="connsiteX74" fmla="*/ 2545102 w 4519987"/>
                <a:gd name="connsiteY74" fmla="*/ 4486275 h 4496940"/>
                <a:gd name="connsiteX75" fmla="*/ 2306977 w 4519987"/>
                <a:gd name="connsiteY75" fmla="*/ 4476750 h 4496940"/>
                <a:gd name="connsiteX76" fmla="*/ 2202202 w 4519987"/>
                <a:gd name="connsiteY76" fmla="*/ 4457700 h 4496940"/>
                <a:gd name="connsiteX77" fmla="*/ 2126002 w 4519987"/>
                <a:gd name="connsiteY77" fmla="*/ 4429125 h 4496940"/>
                <a:gd name="connsiteX78" fmla="*/ 1935502 w 4519987"/>
                <a:gd name="connsiteY78" fmla="*/ 4400550 h 4496940"/>
                <a:gd name="connsiteX79" fmla="*/ 1821202 w 4519987"/>
                <a:gd name="connsiteY79" fmla="*/ 4371975 h 4496940"/>
                <a:gd name="connsiteX80" fmla="*/ 1754527 w 4519987"/>
                <a:gd name="connsiteY80" fmla="*/ 4352925 h 4496940"/>
                <a:gd name="connsiteX81" fmla="*/ 1687852 w 4519987"/>
                <a:gd name="connsiteY81" fmla="*/ 4343400 h 4496940"/>
                <a:gd name="connsiteX82" fmla="*/ 1573552 w 4519987"/>
                <a:gd name="connsiteY82" fmla="*/ 4305300 h 4496940"/>
                <a:gd name="connsiteX83" fmla="*/ 1402102 w 4519987"/>
                <a:gd name="connsiteY83" fmla="*/ 4276725 h 4496940"/>
                <a:gd name="connsiteX84" fmla="*/ 1287802 w 4519987"/>
                <a:gd name="connsiteY84" fmla="*/ 4229100 h 4496940"/>
                <a:gd name="connsiteX85" fmla="*/ 1221127 w 4519987"/>
                <a:gd name="connsiteY85" fmla="*/ 4200525 h 4496940"/>
                <a:gd name="connsiteX86" fmla="*/ 1144927 w 4519987"/>
                <a:gd name="connsiteY86" fmla="*/ 4171950 h 4496940"/>
                <a:gd name="connsiteX87" fmla="*/ 1087777 w 4519987"/>
                <a:gd name="connsiteY87" fmla="*/ 4143375 h 4496940"/>
                <a:gd name="connsiteX88" fmla="*/ 1030627 w 4519987"/>
                <a:gd name="connsiteY88" fmla="*/ 4124325 h 4496940"/>
                <a:gd name="connsiteX89" fmla="*/ 925852 w 4519987"/>
                <a:gd name="connsiteY89" fmla="*/ 4067175 h 4496940"/>
                <a:gd name="connsiteX90" fmla="*/ 830602 w 4519987"/>
                <a:gd name="connsiteY90" fmla="*/ 3981450 h 4496940"/>
                <a:gd name="connsiteX91" fmla="*/ 763927 w 4519987"/>
                <a:gd name="connsiteY91" fmla="*/ 3914775 h 4496940"/>
                <a:gd name="connsiteX92" fmla="*/ 725827 w 4519987"/>
                <a:gd name="connsiteY92" fmla="*/ 3876675 h 4496940"/>
                <a:gd name="connsiteX93" fmla="*/ 697252 w 4519987"/>
                <a:gd name="connsiteY93" fmla="*/ 3838575 h 4496940"/>
                <a:gd name="connsiteX94" fmla="*/ 640102 w 4519987"/>
                <a:gd name="connsiteY94" fmla="*/ 3781425 h 4496940"/>
                <a:gd name="connsiteX95" fmla="*/ 611527 w 4519987"/>
                <a:gd name="connsiteY95" fmla="*/ 3733800 h 4496940"/>
                <a:gd name="connsiteX96" fmla="*/ 554377 w 4519987"/>
                <a:gd name="connsiteY96" fmla="*/ 3657600 h 4496940"/>
                <a:gd name="connsiteX97" fmla="*/ 525802 w 4519987"/>
                <a:gd name="connsiteY97" fmla="*/ 3609975 h 4496940"/>
                <a:gd name="connsiteX98" fmla="*/ 497227 w 4519987"/>
                <a:gd name="connsiteY98" fmla="*/ 3552825 h 4496940"/>
                <a:gd name="connsiteX99" fmla="*/ 440077 w 4519987"/>
                <a:gd name="connsiteY99" fmla="*/ 3495675 h 4496940"/>
                <a:gd name="connsiteX100" fmla="*/ 411502 w 4519987"/>
                <a:gd name="connsiteY100" fmla="*/ 3448050 h 4496940"/>
                <a:gd name="connsiteX101" fmla="*/ 278152 w 4519987"/>
                <a:gd name="connsiteY101" fmla="*/ 3257550 h 4496940"/>
                <a:gd name="connsiteX102" fmla="*/ 249577 w 4519987"/>
                <a:gd name="connsiteY102" fmla="*/ 3200400 h 4496940"/>
                <a:gd name="connsiteX103" fmla="*/ 240052 w 4519987"/>
                <a:gd name="connsiteY103" fmla="*/ 3162300 h 4496940"/>
                <a:gd name="connsiteX104" fmla="*/ 221002 w 4519987"/>
                <a:gd name="connsiteY104" fmla="*/ 3105150 h 4496940"/>
                <a:gd name="connsiteX105" fmla="*/ 173377 w 4519987"/>
                <a:gd name="connsiteY105" fmla="*/ 3019425 h 4496940"/>
                <a:gd name="connsiteX106" fmla="*/ 144802 w 4519987"/>
                <a:gd name="connsiteY106" fmla="*/ 2924175 h 4496940"/>
                <a:gd name="connsiteX107" fmla="*/ 68602 w 4519987"/>
                <a:gd name="connsiteY107" fmla="*/ 2724150 h 4496940"/>
                <a:gd name="connsiteX108" fmla="*/ 49552 w 4519987"/>
                <a:gd name="connsiteY108" fmla="*/ 2638425 h 4496940"/>
                <a:gd name="connsiteX109" fmla="*/ 40027 w 4519987"/>
                <a:gd name="connsiteY109" fmla="*/ 2562225 h 4496940"/>
                <a:gd name="connsiteX110" fmla="*/ 30502 w 4519987"/>
                <a:gd name="connsiteY110" fmla="*/ 2514600 h 4496940"/>
                <a:gd name="connsiteX111" fmla="*/ 11452 w 4519987"/>
                <a:gd name="connsiteY111" fmla="*/ 2400300 h 4496940"/>
                <a:gd name="connsiteX112" fmla="*/ 20977 w 4519987"/>
                <a:gd name="connsiteY112" fmla="*/ 1905000 h 4496940"/>
                <a:gd name="connsiteX113" fmla="*/ 30502 w 4519987"/>
                <a:gd name="connsiteY113" fmla="*/ 1838325 h 4496940"/>
                <a:gd name="connsiteX114" fmla="*/ 49552 w 4519987"/>
                <a:gd name="connsiteY114" fmla="*/ 1781175 h 4496940"/>
                <a:gd name="connsiteX115" fmla="*/ 59077 w 4519987"/>
                <a:gd name="connsiteY115" fmla="*/ 1743075 h 4496940"/>
                <a:gd name="connsiteX116" fmla="*/ 78127 w 4519987"/>
                <a:gd name="connsiteY116" fmla="*/ 1685925 h 4496940"/>
                <a:gd name="connsiteX117" fmla="*/ 87652 w 4519987"/>
                <a:gd name="connsiteY117" fmla="*/ 1638300 h 4496940"/>
                <a:gd name="connsiteX118" fmla="*/ 106702 w 4519987"/>
                <a:gd name="connsiteY118" fmla="*/ 1590675 h 4496940"/>
                <a:gd name="connsiteX119" fmla="*/ 135277 w 4519987"/>
                <a:gd name="connsiteY119" fmla="*/ 1504950 h 4496940"/>
                <a:gd name="connsiteX120" fmla="*/ 154327 w 4519987"/>
                <a:gd name="connsiteY120" fmla="*/ 1419225 h 4496940"/>
                <a:gd name="connsiteX121" fmla="*/ 230527 w 4519987"/>
                <a:gd name="connsiteY121" fmla="*/ 1276350 h 4496940"/>
                <a:gd name="connsiteX122" fmla="*/ 240052 w 4519987"/>
                <a:gd name="connsiteY122" fmla="*/ 1247775 h 4496940"/>
                <a:gd name="connsiteX123" fmla="*/ 268627 w 4519987"/>
                <a:gd name="connsiteY123" fmla="*/ 1200150 h 4496940"/>
                <a:gd name="connsiteX124" fmla="*/ 287677 w 4519987"/>
                <a:gd name="connsiteY124" fmla="*/ 1152525 h 4496940"/>
                <a:gd name="connsiteX125" fmla="*/ 316252 w 4519987"/>
                <a:gd name="connsiteY125" fmla="*/ 1114425 h 4496940"/>
                <a:gd name="connsiteX126" fmla="*/ 363877 w 4519987"/>
                <a:gd name="connsiteY126" fmla="*/ 1038225 h 4496940"/>
                <a:gd name="connsiteX127" fmla="*/ 382927 w 4519987"/>
                <a:gd name="connsiteY127" fmla="*/ 1009650 h 4496940"/>
                <a:gd name="connsiteX128" fmla="*/ 440077 w 4519987"/>
                <a:gd name="connsiteY128" fmla="*/ 904875 h 4496940"/>
                <a:gd name="connsiteX129" fmla="*/ 478177 w 4519987"/>
                <a:gd name="connsiteY129" fmla="*/ 857250 h 4496940"/>
                <a:gd name="connsiteX130" fmla="*/ 497227 w 4519987"/>
                <a:gd name="connsiteY130" fmla="*/ 828675 h 4496940"/>
                <a:gd name="connsiteX131" fmla="*/ 535327 w 4519987"/>
                <a:gd name="connsiteY131" fmla="*/ 800100 h 4496940"/>
                <a:gd name="connsiteX132" fmla="*/ 602002 w 4519987"/>
                <a:gd name="connsiteY132" fmla="*/ 733425 h 4496940"/>
                <a:gd name="connsiteX133" fmla="*/ 668677 w 4519987"/>
                <a:gd name="connsiteY133" fmla="*/ 676275 h 4496940"/>
                <a:gd name="connsiteX134" fmla="*/ 697252 w 4519987"/>
                <a:gd name="connsiteY134" fmla="*/ 657225 h 4496940"/>
                <a:gd name="connsiteX135" fmla="*/ 840127 w 4519987"/>
                <a:gd name="connsiteY135" fmla="*/ 533400 h 4496940"/>
                <a:gd name="connsiteX136" fmla="*/ 887752 w 4519987"/>
                <a:gd name="connsiteY136" fmla="*/ 504825 h 4496940"/>
                <a:gd name="connsiteX137" fmla="*/ 1167152 w 4519987"/>
                <a:gd name="connsiteY137" fmla="*/ 311150 h 4496940"/>
                <a:gd name="connsiteX138" fmla="*/ 1268752 w 4519987"/>
                <a:gd name="connsiteY138" fmla="*/ 285750 h 4496940"/>
                <a:gd name="connsiteX139" fmla="*/ 1411627 w 4519987"/>
                <a:gd name="connsiteY139" fmla="*/ 190500 h 4496940"/>
                <a:gd name="connsiteX140" fmla="*/ 1449727 w 4519987"/>
                <a:gd name="connsiteY140" fmla="*/ 161925 h 4496940"/>
                <a:gd name="connsiteX141" fmla="*/ 1525927 w 4519987"/>
                <a:gd name="connsiteY141" fmla="*/ 152400 h 4496940"/>
                <a:gd name="connsiteX142" fmla="*/ 1583077 w 4519987"/>
                <a:gd name="connsiteY142" fmla="*/ 142875 h 4496940"/>
                <a:gd name="connsiteX143" fmla="*/ 1716427 w 4519987"/>
                <a:gd name="connsiteY143" fmla="*/ 123825 h 4496940"/>
                <a:gd name="connsiteX144" fmla="*/ 1811677 w 4519987"/>
                <a:gd name="connsiteY144" fmla="*/ 114300 h 4496940"/>
                <a:gd name="connsiteX145" fmla="*/ 1859302 w 4519987"/>
                <a:gd name="connsiteY145" fmla="*/ 104775 h 4496940"/>
                <a:gd name="connsiteX146" fmla="*/ 1916452 w 4519987"/>
                <a:gd name="connsiteY146" fmla="*/ 95250 h 4496940"/>
                <a:gd name="connsiteX147" fmla="*/ 2030752 w 4519987"/>
                <a:gd name="connsiteY147" fmla="*/ 66675 h 4496940"/>
                <a:gd name="connsiteX148" fmla="*/ 2097427 w 4519987"/>
                <a:gd name="connsiteY148" fmla="*/ 47625 h 4496940"/>
                <a:gd name="connsiteX149" fmla="*/ 2164102 w 4519987"/>
                <a:gd name="connsiteY149" fmla="*/ 38100 h 4496940"/>
                <a:gd name="connsiteX150" fmla="*/ 2392702 w 4519987"/>
                <a:gd name="connsiteY15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3907177 w 4519987"/>
                <a:gd name="connsiteY21" fmla="*/ 647700 h 4496940"/>
                <a:gd name="connsiteX22" fmla="*/ 4078627 w 4519987"/>
                <a:gd name="connsiteY22" fmla="*/ 838200 h 4496940"/>
                <a:gd name="connsiteX23" fmla="*/ 4135777 w 4519987"/>
                <a:gd name="connsiteY23" fmla="*/ 933450 h 4496940"/>
                <a:gd name="connsiteX24" fmla="*/ 4164352 w 4519987"/>
                <a:gd name="connsiteY24" fmla="*/ 990600 h 4496940"/>
                <a:gd name="connsiteX25" fmla="*/ 4173877 w 4519987"/>
                <a:gd name="connsiteY25" fmla="*/ 1019175 h 4496940"/>
                <a:gd name="connsiteX26" fmla="*/ 4192927 w 4519987"/>
                <a:gd name="connsiteY26" fmla="*/ 1057275 h 4496940"/>
                <a:gd name="connsiteX27" fmla="*/ 4202452 w 4519987"/>
                <a:gd name="connsiteY27" fmla="*/ 1085850 h 4496940"/>
                <a:gd name="connsiteX28" fmla="*/ 4250077 w 4519987"/>
                <a:gd name="connsiteY28" fmla="*/ 1143000 h 4496940"/>
                <a:gd name="connsiteX29" fmla="*/ 4259602 w 4519987"/>
                <a:gd name="connsiteY29" fmla="*/ 1190625 h 4496940"/>
                <a:gd name="connsiteX30" fmla="*/ 4307227 w 4519987"/>
                <a:gd name="connsiteY30" fmla="*/ 1266825 h 4496940"/>
                <a:gd name="connsiteX31" fmla="*/ 4345327 w 4519987"/>
                <a:gd name="connsiteY31" fmla="*/ 1362075 h 4496940"/>
                <a:gd name="connsiteX32" fmla="*/ 4373902 w 4519987"/>
                <a:gd name="connsiteY32" fmla="*/ 1428750 h 4496940"/>
                <a:gd name="connsiteX33" fmla="*/ 4392952 w 4519987"/>
                <a:gd name="connsiteY33" fmla="*/ 1552575 h 4496940"/>
                <a:gd name="connsiteX34" fmla="*/ 4402477 w 4519987"/>
                <a:gd name="connsiteY34" fmla="*/ 1590675 h 4496940"/>
                <a:gd name="connsiteX35" fmla="*/ 4431052 w 4519987"/>
                <a:gd name="connsiteY35" fmla="*/ 1685925 h 4496940"/>
                <a:gd name="connsiteX36" fmla="*/ 4519952 w 4519987"/>
                <a:gd name="connsiteY36" fmla="*/ 2181225 h 4496940"/>
                <a:gd name="connsiteX37" fmla="*/ 4446927 w 4519987"/>
                <a:gd name="connsiteY37" fmla="*/ 2768600 h 4496940"/>
                <a:gd name="connsiteX38" fmla="*/ 4383427 w 4519987"/>
                <a:gd name="connsiteY38" fmla="*/ 2990850 h 4496940"/>
                <a:gd name="connsiteX39" fmla="*/ 4278652 w 4519987"/>
                <a:gd name="connsiteY39" fmla="*/ 3248025 h 4496940"/>
                <a:gd name="connsiteX40" fmla="*/ 4259602 w 4519987"/>
                <a:gd name="connsiteY40" fmla="*/ 3276600 h 4496940"/>
                <a:gd name="connsiteX41" fmla="*/ 4221502 w 4519987"/>
                <a:gd name="connsiteY41" fmla="*/ 3333750 h 4496940"/>
                <a:gd name="connsiteX42" fmla="*/ 4211977 w 4519987"/>
                <a:gd name="connsiteY42" fmla="*/ 3362325 h 4496940"/>
                <a:gd name="connsiteX43" fmla="*/ 4183402 w 4519987"/>
                <a:gd name="connsiteY43" fmla="*/ 3400425 h 4496940"/>
                <a:gd name="connsiteX44" fmla="*/ 4164352 w 4519987"/>
                <a:gd name="connsiteY44" fmla="*/ 3429000 h 4496940"/>
                <a:gd name="connsiteX45" fmla="*/ 4088152 w 4519987"/>
                <a:gd name="connsiteY45" fmla="*/ 3495675 h 4496940"/>
                <a:gd name="connsiteX46" fmla="*/ 4059577 w 4519987"/>
                <a:gd name="connsiteY46" fmla="*/ 3533775 h 4496940"/>
                <a:gd name="connsiteX47" fmla="*/ 4002427 w 4519987"/>
                <a:gd name="connsiteY47" fmla="*/ 3600450 h 4496940"/>
                <a:gd name="connsiteX48" fmla="*/ 3983377 w 4519987"/>
                <a:gd name="connsiteY48" fmla="*/ 3629025 h 4496940"/>
                <a:gd name="connsiteX49" fmla="*/ 3954802 w 4519987"/>
                <a:gd name="connsiteY49" fmla="*/ 3648075 h 4496940"/>
                <a:gd name="connsiteX50" fmla="*/ 3907177 w 4519987"/>
                <a:gd name="connsiteY50" fmla="*/ 3686175 h 4496940"/>
                <a:gd name="connsiteX51" fmla="*/ 3869077 w 4519987"/>
                <a:gd name="connsiteY51" fmla="*/ 3724275 h 4496940"/>
                <a:gd name="connsiteX52" fmla="*/ 3792877 w 4519987"/>
                <a:gd name="connsiteY52" fmla="*/ 3781425 h 4496940"/>
                <a:gd name="connsiteX53" fmla="*/ 3783352 w 4519987"/>
                <a:gd name="connsiteY53" fmla="*/ 3810000 h 4496940"/>
                <a:gd name="connsiteX54" fmla="*/ 3745252 w 4519987"/>
                <a:gd name="connsiteY54" fmla="*/ 3819525 h 4496940"/>
                <a:gd name="connsiteX55" fmla="*/ 3678577 w 4519987"/>
                <a:gd name="connsiteY55" fmla="*/ 3848100 h 4496940"/>
                <a:gd name="connsiteX56" fmla="*/ 3659527 w 4519987"/>
                <a:gd name="connsiteY56" fmla="*/ 3971925 h 4496940"/>
                <a:gd name="connsiteX57" fmla="*/ 3630952 w 4519987"/>
                <a:gd name="connsiteY57" fmla="*/ 4010025 h 4496940"/>
                <a:gd name="connsiteX58" fmla="*/ 3621427 w 4519987"/>
                <a:gd name="connsiteY58" fmla="*/ 4038600 h 4496940"/>
                <a:gd name="connsiteX59" fmla="*/ 3554752 w 4519987"/>
                <a:gd name="connsiteY59" fmla="*/ 4095750 h 4496940"/>
                <a:gd name="connsiteX60" fmla="*/ 3516652 w 4519987"/>
                <a:gd name="connsiteY60" fmla="*/ 4114800 h 4496940"/>
                <a:gd name="connsiteX61" fmla="*/ 3497602 w 4519987"/>
                <a:gd name="connsiteY61" fmla="*/ 4143375 h 4496940"/>
                <a:gd name="connsiteX62" fmla="*/ 3383302 w 4519987"/>
                <a:gd name="connsiteY62" fmla="*/ 4210050 h 4496940"/>
                <a:gd name="connsiteX63" fmla="*/ 3335677 w 4519987"/>
                <a:gd name="connsiteY63" fmla="*/ 4238625 h 4496940"/>
                <a:gd name="connsiteX64" fmla="*/ 3288052 w 4519987"/>
                <a:gd name="connsiteY64" fmla="*/ 4248150 h 4496940"/>
                <a:gd name="connsiteX65" fmla="*/ 3240427 w 4519987"/>
                <a:gd name="connsiteY65" fmla="*/ 4267200 h 4496940"/>
                <a:gd name="connsiteX66" fmla="*/ 3068977 w 4519987"/>
                <a:gd name="connsiteY66" fmla="*/ 4286250 h 4496940"/>
                <a:gd name="connsiteX67" fmla="*/ 2935627 w 4519987"/>
                <a:gd name="connsiteY67" fmla="*/ 4333875 h 4496940"/>
                <a:gd name="connsiteX68" fmla="*/ 2811802 w 4519987"/>
                <a:gd name="connsiteY68" fmla="*/ 4371975 h 4496940"/>
                <a:gd name="connsiteX69" fmla="*/ 2745127 w 4519987"/>
                <a:gd name="connsiteY69" fmla="*/ 4410075 h 4496940"/>
                <a:gd name="connsiteX70" fmla="*/ 2697502 w 4519987"/>
                <a:gd name="connsiteY70" fmla="*/ 4429125 h 4496940"/>
                <a:gd name="connsiteX71" fmla="*/ 2640352 w 4519987"/>
                <a:gd name="connsiteY71" fmla="*/ 4457700 h 4496940"/>
                <a:gd name="connsiteX72" fmla="*/ 2583202 w 4519987"/>
                <a:gd name="connsiteY72" fmla="*/ 4467225 h 4496940"/>
                <a:gd name="connsiteX73" fmla="*/ 2545102 w 4519987"/>
                <a:gd name="connsiteY73" fmla="*/ 4486275 h 4496940"/>
                <a:gd name="connsiteX74" fmla="*/ 2306977 w 4519987"/>
                <a:gd name="connsiteY74" fmla="*/ 4476750 h 4496940"/>
                <a:gd name="connsiteX75" fmla="*/ 2202202 w 4519987"/>
                <a:gd name="connsiteY75" fmla="*/ 4457700 h 4496940"/>
                <a:gd name="connsiteX76" fmla="*/ 2126002 w 4519987"/>
                <a:gd name="connsiteY76" fmla="*/ 4429125 h 4496940"/>
                <a:gd name="connsiteX77" fmla="*/ 1935502 w 4519987"/>
                <a:gd name="connsiteY77" fmla="*/ 4400550 h 4496940"/>
                <a:gd name="connsiteX78" fmla="*/ 1821202 w 4519987"/>
                <a:gd name="connsiteY78" fmla="*/ 4371975 h 4496940"/>
                <a:gd name="connsiteX79" fmla="*/ 1754527 w 4519987"/>
                <a:gd name="connsiteY79" fmla="*/ 4352925 h 4496940"/>
                <a:gd name="connsiteX80" fmla="*/ 1687852 w 4519987"/>
                <a:gd name="connsiteY80" fmla="*/ 4343400 h 4496940"/>
                <a:gd name="connsiteX81" fmla="*/ 1573552 w 4519987"/>
                <a:gd name="connsiteY81" fmla="*/ 4305300 h 4496940"/>
                <a:gd name="connsiteX82" fmla="*/ 1402102 w 4519987"/>
                <a:gd name="connsiteY82" fmla="*/ 4276725 h 4496940"/>
                <a:gd name="connsiteX83" fmla="*/ 1287802 w 4519987"/>
                <a:gd name="connsiteY83" fmla="*/ 4229100 h 4496940"/>
                <a:gd name="connsiteX84" fmla="*/ 1221127 w 4519987"/>
                <a:gd name="connsiteY84" fmla="*/ 4200525 h 4496940"/>
                <a:gd name="connsiteX85" fmla="*/ 1144927 w 4519987"/>
                <a:gd name="connsiteY85" fmla="*/ 4171950 h 4496940"/>
                <a:gd name="connsiteX86" fmla="*/ 1087777 w 4519987"/>
                <a:gd name="connsiteY86" fmla="*/ 4143375 h 4496940"/>
                <a:gd name="connsiteX87" fmla="*/ 1030627 w 4519987"/>
                <a:gd name="connsiteY87" fmla="*/ 4124325 h 4496940"/>
                <a:gd name="connsiteX88" fmla="*/ 925852 w 4519987"/>
                <a:gd name="connsiteY88" fmla="*/ 4067175 h 4496940"/>
                <a:gd name="connsiteX89" fmla="*/ 830602 w 4519987"/>
                <a:gd name="connsiteY89" fmla="*/ 3981450 h 4496940"/>
                <a:gd name="connsiteX90" fmla="*/ 763927 w 4519987"/>
                <a:gd name="connsiteY90" fmla="*/ 3914775 h 4496940"/>
                <a:gd name="connsiteX91" fmla="*/ 725827 w 4519987"/>
                <a:gd name="connsiteY91" fmla="*/ 3876675 h 4496940"/>
                <a:gd name="connsiteX92" fmla="*/ 697252 w 4519987"/>
                <a:gd name="connsiteY92" fmla="*/ 3838575 h 4496940"/>
                <a:gd name="connsiteX93" fmla="*/ 640102 w 4519987"/>
                <a:gd name="connsiteY93" fmla="*/ 3781425 h 4496940"/>
                <a:gd name="connsiteX94" fmla="*/ 611527 w 4519987"/>
                <a:gd name="connsiteY94" fmla="*/ 3733800 h 4496940"/>
                <a:gd name="connsiteX95" fmla="*/ 554377 w 4519987"/>
                <a:gd name="connsiteY95" fmla="*/ 3657600 h 4496940"/>
                <a:gd name="connsiteX96" fmla="*/ 525802 w 4519987"/>
                <a:gd name="connsiteY96" fmla="*/ 3609975 h 4496940"/>
                <a:gd name="connsiteX97" fmla="*/ 497227 w 4519987"/>
                <a:gd name="connsiteY97" fmla="*/ 3552825 h 4496940"/>
                <a:gd name="connsiteX98" fmla="*/ 440077 w 4519987"/>
                <a:gd name="connsiteY98" fmla="*/ 3495675 h 4496940"/>
                <a:gd name="connsiteX99" fmla="*/ 411502 w 4519987"/>
                <a:gd name="connsiteY99" fmla="*/ 3448050 h 4496940"/>
                <a:gd name="connsiteX100" fmla="*/ 278152 w 4519987"/>
                <a:gd name="connsiteY100" fmla="*/ 3257550 h 4496940"/>
                <a:gd name="connsiteX101" fmla="*/ 249577 w 4519987"/>
                <a:gd name="connsiteY101" fmla="*/ 3200400 h 4496940"/>
                <a:gd name="connsiteX102" fmla="*/ 240052 w 4519987"/>
                <a:gd name="connsiteY102" fmla="*/ 3162300 h 4496940"/>
                <a:gd name="connsiteX103" fmla="*/ 221002 w 4519987"/>
                <a:gd name="connsiteY103" fmla="*/ 3105150 h 4496940"/>
                <a:gd name="connsiteX104" fmla="*/ 173377 w 4519987"/>
                <a:gd name="connsiteY104" fmla="*/ 3019425 h 4496940"/>
                <a:gd name="connsiteX105" fmla="*/ 144802 w 4519987"/>
                <a:gd name="connsiteY105" fmla="*/ 2924175 h 4496940"/>
                <a:gd name="connsiteX106" fmla="*/ 68602 w 4519987"/>
                <a:gd name="connsiteY106" fmla="*/ 2724150 h 4496940"/>
                <a:gd name="connsiteX107" fmla="*/ 49552 w 4519987"/>
                <a:gd name="connsiteY107" fmla="*/ 2638425 h 4496940"/>
                <a:gd name="connsiteX108" fmla="*/ 40027 w 4519987"/>
                <a:gd name="connsiteY108" fmla="*/ 2562225 h 4496940"/>
                <a:gd name="connsiteX109" fmla="*/ 30502 w 4519987"/>
                <a:gd name="connsiteY109" fmla="*/ 2514600 h 4496940"/>
                <a:gd name="connsiteX110" fmla="*/ 11452 w 4519987"/>
                <a:gd name="connsiteY110" fmla="*/ 2400300 h 4496940"/>
                <a:gd name="connsiteX111" fmla="*/ 20977 w 4519987"/>
                <a:gd name="connsiteY111" fmla="*/ 1905000 h 4496940"/>
                <a:gd name="connsiteX112" fmla="*/ 30502 w 4519987"/>
                <a:gd name="connsiteY112" fmla="*/ 1838325 h 4496940"/>
                <a:gd name="connsiteX113" fmla="*/ 49552 w 4519987"/>
                <a:gd name="connsiteY113" fmla="*/ 1781175 h 4496940"/>
                <a:gd name="connsiteX114" fmla="*/ 59077 w 4519987"/>
                <a:gd name="connsiteY114" fmla="*/ 1743075 h 4496940"/>
                <a:gd name="connsiteX115" fmla="*/ 78127 w 4519987"/>
                <a:gd name="connsiteY115" fmla="*/ 1685925 h 4496940"/>
                <a:gd name="connsiteX116" fmla="*/ 87652 w 4519987"/>
                <a:gd name="connsiteY116" fmla="*/ 1638300 h 4496940"/>
                <a:gd name="connsiteX117" fmla="*/ 106702 w 4519987"/>
                <a:gd name="connsiteY117" fmla="*/ 1590675 h 4496940"/>
                <a:gd name="connsiteX118" fmla="*/ 135277 w 4519987"/>
                <a:gd name="connsiteY118" fmla="*/ 1504950 h 4496940"/>
                <a:gd name="connsiteX119" fmla="*/ 154327 w 4519987"/>
                <a:gd name="connsiteY119" fmla="*/ 1419225 h 4496940"/>
                <a:gd name="connsiteX120" fmla="*/ 230527 w 4519987"/>
                <a:gd name="connsiteY120" fmla="*/ 1276350 h 4496940"/>
                <a:gd name="connsiteX121" fmla="*/ 240052 w 4519987"/>
                <a:gd name="connsiteY121" fmla="*/ 1247775 h 4496940"/>
                <a:gd name="connsiteX122" fmla="*/ 268627 w 4519987"/>
                <a:gd name="connsiteY122" fmla="*/ 1200150 h 4496940"/>
                <a:gd name="connsiteX123" fmla="*/ 287677 w 4519987"/>
                <a:gd name="connsiteY123" fmla="*/ 1152525 h 4496940"/>
                <a:gd name="connsiteX124" fmla="*/ 316252 w 4519987"/>
                <a:gd name="connsiteY124" fmla="*/ 1114425 h 4496940"/>
                <a:gd name="connsiteX125" fmla="*/ 363877 w 4519987"/>
                <a:gd name="connsiteY125" fmla="*/ 1038225 h 4496940"/>
                <a:gd name="connsiteX126" fmla="*/ 382927 w 4519987"/>
                <a:gd name="connsiteY126" fmla="*/ 1009650 h 4496940"/>
                <a:gd name="connsiteX127" fmla="*/ 440077 w 4519987"/>
                <a:gd name="connsiteY127" fmla="*/ 904875 h 4496940"/>
                <a:gd name="connsiteX128" fmla="*/ 478177 w 4519987"/>
                <a:gd name="connsiteY128" fmla="*/ 857250 h 4496940"/>
                <a:gd name="connsiteX129" fmla="*/ 497227 w 4519987"/>
                <a:gd name="connsiteY129" fmla="*/ 828675 h 4496940"/>
                <a:gd name="connsiteX130" fmla="*/ 535327 w 4519987"/>
                <a:gd name="connsiteY130" fmla="*/ 800100 h 4496940"/>
                <a:gd name="connsiteX131" fmla="*/ 602002 w 4519987"/>
                <a:gd name="connsiteY131" fmla="*/ 733425 h 4496940"/>
                <a:gd name="connsiteX132" fmla="*/ 668677 w 4519987"/>
                <a:gd name="connsiteY132" fmla="*/ 676275 h 4496940"/>
                <a:gd name="connsiteX133" fmla="*/ 697252 w 4519987"/>
                <a:gd name="connsiteY133" fmla="*/ 657225 h 4496940"/>
                <a:gd name="connsiteX134" fmla="*/ 840127 w 4519987"/>
                <a:gd name="connsiteY134" fmla="*/ 533400 h 4496940"/>
                <a:gd name="connsiteX135" fmla="*/ 887752 w 4519987"/>
                <a:gd name="connsiteY135" fmla="*/ 504825 h 4496940"/>
                <a:gd name="connsiteX136" fmla="*/ 1167152 w 4519987"/>
                <a:gd name="connsiteY136" fmla="*/ 311150 h 4496940"/>
                <a:gd name="connsiteX137" fmla="*/ 1268752 w 4519987"/>
                <a:gd name="connsiteY137" fmla="*/ 285750 h 4496940"/>
                <a:gd name="connsiteX138" fmla="*/ 1411627 w 4519987"/>
                <a:gd name="connsiteY138" fmla="*/ 190500 h 4496940"/>
                <a:gd name="connsiteX139" fmla="*/ 1449727 w 4519987"/>
                <a:gd name="connsiteY139" fmla="*/ 161925 h 4496940"/>
                <a:gd name="connsiteX140" fmla="*/ 1525927 w 4519987"/>
                <a:gd name="connsiteY140" fmla="*/ 152400 h 4496940"/>
                <a:gd name="connsiteX141" fmla="*/ 1583077 w 4519987"/>
                <a:gd name="connsiteY141" fmla="*/ 142875 h 4496940"/>
                <a:gd name="connsiteX142" fmla="*/ 1716427 w 4519987"/>
                <a:gd name="connsiteY142" fmla="*/ 123825 h 4496940"/>
                <a:gd name="connsiteX143" fmla="*/ 1811677 w 4519987"/>
                <a:gd name="connsiteY143" fmla="*/ 114300 h 4496940"/>
                <a:gd name="connsiteX144" fmla="*/ 1859302 w 4519987"/>
                <a:gd name="connsiteY144" fmla="*/ 104775 h 4496940"/>
                <a:gd name="connsiteX145" fmla="*/ 1916452 w 4519987"/>
                <a:gd name="connsiteY145" fmla="*/ 95250 h 4496940"/>
                <a:gd name="connsiteX146" fmla="*/ 2030752 w 4519987"/>
                <a:gd name="connsiteY146" fmla="*/ 66675 h 4496940"/>
                <a:gd name="connsiteX147" fmla="*/ 2097427 w 4519987"/>
                <a:gd name="connsiteY147" fmla="*/ 47625 h 4496940"/>
                <a:gd name="connsiteX148" fmla="*/ 2164102 w 4519987"/>
                <a:gd name="connsiteY148" fmla="*/ 38100 h 4496940"/>
                <a:gd name="connsiteX149" fmla="*/ 2392702 w 4519987"/>
                <a:gd name="connsiteY14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78627 w 4519987"/>
                <a:gd name="connsiteY21" fmla="*/ 838200 h 4496940"/>
                <a:gd name="connsiteX22" fmla="*/ 4135777 w 4519987"/>
                <a:gd name="connsiteY22" fmla="*/ 933450 h 4496940"/>
                <a:gd name="connsiteX23" fmla="*/ 4164352 w 4519987"/>
                <a:gd name="connsiteY23" fmla="*/ 990600 h 4496940"/>
                <a:gd name="connsiteX24" fmla="*/ 4173877 w 4519987"/>
                <a:gd name="connsiteY24" fmla="*/ 1019175 h 4496940"/>
                <a:gd name="connsiteX25" fmla="*/ 4192927 w 4519987"/>
                <a:gd name="connsiteY25" fmla="*/ 1057275 h 4496940"/>
                <a:gd name="connsiteX26" fmla="*/ 4202452 w 4519987"/>
                <a:gd name="connsiteY26" fmla="*/ 1085850 h 4496940"/>
                <a:gd name="connsiteX27" fmla="*/ 4250077 w 4519987"/>
                <a:gd name="connsiteY27" fmla="*/ 1143000 h 4496940"/>
                <a:gd name="connsiteX28" fmla="*/ 4259602 w 4519987"/>
                <a:gd name="connsiteY28" fmla="*/ 1190625 h 4496940"/>
                <a:gd name="connsiteX29" fmla="*/ 4307227 w 4519987"/>
                <a:gd name="connsiteY29" fmla="*/ 1266825 h 4496940"/>
                <a:gd name="connsiteX30" fmla="*/ 4345327 w 4519987"/>
                <a:gd name="connsiteY30" fmla="*/ 1362075 h 4496940"/>
                <a:gd name="connsiteX31" fmla="*/ 4373902 w 4519987"/>
                <a:gd name="connsiteY31" fmla="*/ 1428750 h 4496940"/>
                <a:gd name="connsiteX32" fmla="*/ 4392952 w 4519987"/>
                <a:gd name="connsiteY32" fmla="*/ 1552575 h 4496940"/>
                <a:gd name="connsiteX33" fmla="*/ 4402477 w 4519987"/>
                <a:gd name="connsiteY33" fmla="*/ 1590675 h 4496940"/>
                <a:gd name="connsiteX34" fmla="*/ 4431052 w 4519987"/>
                <a:gd name="connsiteY34" fmla="*/ 1685925 h 4496940"/>
                <a:gd name="connsiteX35" fmla="*/ 4519952 w 4519987"/>
                <a:gd name="connsiteY35" fmla="*/ 2181225 h 4496940"/>
                <a:gd name="connsiteX36" fmla="*/ 4446927 w 4519987"/>
                <a:gd name="connsiteY36" fmla="*/ 2768600 h 4496940"/>
                <a:gd name="connsiteX37" fmla="*/ 4383427 w 4519987"/>
                <a:gd name="connsiteY37" fmla="*/ 2990850 h 4496940"/>
                <a:gd name="connsiteX38" fmla="*/ 4278652 w 4519987"/>
                <a:gd name="connsiteY38" fmla="*/ 3248025 h 4496940"/>
                <a:gd name="connsiteX39" fmla="*/ 4259602 w 4519987"/>
                <a:gd name="connsiteY39" fmla="*/ 3276600 h 4496940"/>
                <a:gd name="connsiteX40" fmla="*/ 4221502 w 4519987"/>
                <a:gd name="connsiteY40" fmla="*/ 3333750 h 4496940"/>
                <a:gd name="connsiteX41" fmla="*/ 4211977 w 4519987"/>
                <a:gd name="connsiteY41" fmla="*/ 3362325 h 4496940"/>
                <a:gd name="connsiteX42" fmla="*/ 4183402 w 4519987"/>
                <a:gd name="connsiteY42" fmla="*/ 3400425 h 4496940"/>
                <a:gd name="connsiteX43" fmla="*/ 4164352 w 4519987"/>
                <a:gd name="connsiteY43" fmla="*/ 3429000 h 4496940"/>
                <a:gd name="connsiteX44" fmla="*/ 4088152 w 4519987"/>
                <a:gd name="connsiteY44" fmla="*/ 3495675 h 4496940"/>
                <a:gd name="connsiteX45" fmla="*/ 4059577 w 4519987"/>
                <a:gd name="connsiteY45" fmla="*/ 3533775 h 4496940"/>
                <a:gd name="connsiteX46" fmla="*/ 4002427 w 4519987"/>
                <a:gd name="connsiteY46" fmla="*/ 3600450 h 4496940"/>
                <a:gd name="connsiteX47" fmla="*/ 3983377 w 4519987"/>
                <a:gd name="connsiteY47" fmla="*/ 3629025 h 4496940"/>
                <a:gd name="connsiteX48" fmla="*/ 3954802 w 4519987"/>
                <a:gd name="connsiteY48" fmla="*/ 3648075 h 4496940"/>
                <a:gd name="connsiteX49" fmla="*/ 3907177 w 4519987"/>
                <a:gd name="connsiteY49" fmla="*/ 3686175 h 4496940"/>
                <a:gd name="connsiteX50" fmla="*/ 3869077 w 4519987"/>
                <a:gd name="connsiteY50" fmla="*/ 3724275 h 4496940"/>
                <a:gd name="connsiteX51" fmla="*/ 3792877 w 4519987"/>
                <a:gd name="connsiteY51" fmla="*/ 3781425 h 4496940"/>
                <a:gd name="connsiteX52" fmla="*/ 3783352 w 4519987"/>
                <a:gd name="connsiteY52" fmla="*/ 3810000 h 4496940"/>
                <a:gd name="connsiteX53" fmla="*/ 3745252 w 4519987"/>
                <a:gd name="connsiteY53" fmla="*/ 3819525 h 4496940"/>
                <a:gd name="connsiteX54" fmla="*/ 3678577 w 4519987"/>
                <a:gd name="connsiteY54" fmla="*/ 3848100 h 4496940"/>
                <a:gd name="connsiteX55" fmla="*/ 3659527 w 4519987"/>
                <a:gd name="connsiteY55" fmla="*/ 3971925 h 4496940"/>
                <a:gd name="connsiteX56" fmla="*/ 3630952 w 4519987"/>
                <a:gd name="connsiteY56" fmla="*/ 4010025 h 4496940"/>
                <a:gd name="connsiteX57" fmla="*/ 3621427 w 4519987"/>
                <a:gd name="connsiteY57" fmla="*/ 4038600 h 4496940"/>
                <a:gd name="connsiteX58" fmla="*/ 3554752 w 4519987"/>
                <a:gd name="connsiteY58" fmla="*/ 4095750 h 4496940"/>
                <a:gd name="connsiteX59" fmla="*/ 3516652 w 4519987"/>
                <a:gd name="connsiteY59" fmla="*/ 4114800 h 4496940"/>
                <a:gd name="connsiteX60" fmla="*/ 3497602 w 4519987"/>
                <a:gd name="connsiteY60" fmla="*/ 4143375 h 4496940"/>
                <a:gd name="connsiteX61" fmla="*/ 3383302 w 4519987"/>
                <a:gd name="connsiteY61" fmla="*/ 4210050 h 4496940"/>
                <a:gd name="connsiteX62" fmla="*/ 3335677 w 4519987"/>
                <a:gd name="connsiteY62" fmla="*/ 4238625 h 4496940"/>
                <a:gd name="connsiteX63" fmla="*/ 3288052 w 4519987"/>
                <a:gd name="connsiteY63" fmla="*/ 4248150 h 4496940"/>
                <a:gd name="connsiteX64" fmla="*/ 3240427 w 4519987"/>
                <a:gd name="connsiteY64" fmla="*/ 4267200 h 4496940"/>
                <a:gd name="connsiteX65" fmla="*/ 3068977 w 4519987"/>
                <a:gd name="connsiteY65" fmla="*/ 4286250 h 4496940"/>
                <a:gd name="connsiteX66" fmla="*/ 2935627 w 4519987"/>
                <a:gd name="connsiteY66" fmla="*/ 4333875 h 4496940"/>
                <a:gd name="connsiteX67" fmla="*/ 2811802 w 4519987"/>
                <a:gd name="connsiteY67" fmla="*/ 4371975 h 4496940"/>
                <a:gd name="connsiteX68" fmla="*/ 2745127 w 4519987"/>
                <a:gd name="connsiteY68" fmla="*/ 4410075 h 4496940"/>
                <a:gd name="connsiteX69" fmla="*/ 2697502 w 4519987"/>
                <a:gd name="connsiteY69" fmla="*/ 4429125 h 4496940"/>
                <a:gd name="connsiteX70" fmla="*/ 2640352 w 4519987"/>
                <a:gd name="connsiteY70" fmla="*/ 4457700 h 4496940"/>
                <a:gd name="connsiteX71" fmla="*/ 2583202 w 4519987"/>
                <a:gd name="connsiteY71" fmla="*/ 4467225 h 4496940"/>
                <a:gd name="connsiteX72" fmla="*/ 2545102 w 4519987"/>
                <a:gd name="connsiteY72" fmla="*/ 4486275 h 4496940"/>
                <a:gd name="connsiteX73" fmla="*/ 2306977 w 4519987"/>
                <a:gd name="connsiteY73" fmla="*/ 4476750 h 4496940"/>
                <a:gd name="connsiteX74" fmla="*/ 2202202 w 4519987"/>
                <a:gd name="connsiteY74" fmla="*/ 4457700 h 4496940"/>
                <a:gd name="connsiteX75" fmla="*/ 2126002 w 4519987"/>
                <a:gd name="connsiteY75" fmla="*/ 4429125 h 4496940"/>
                <a:gd name="connsiteX76" fmla="*/ 1935502 w 4519987"/>
                <a:gd name="connsiteY76" fmla="*/ 4400550 h 4496940"/>
                <a:gd name="connsiteX77" fmla="*/ 1821202 w 4519987"/>
                <a:gd name="connsiteY77" fmla="*/ 4371975 h 4496940"/>
                <a:gd name="connsiteX78" fmla="*/ 1754527 w 4519987"/>
                <a:gd name="connsiteY78" fmla="*/ 4352925 h 4496940"/>
                <a:gd name="connsiteX79" fmla="*/ 1687852 w 4519987"/>
                <a:gd name="connsiteY79" fmla="*/ 4343400 h 4496940"/>
                <a:gd name="connsiteX80" fmla="*/ 1573552 w 4519987"/>
                <a:gd name="connsiteY80" fmla="*/ 4305300 h 4496940"/>
                <a:gd name="connsiteX81" fmla="*/ 1402102 w 4519987"/>
                <a:gd name="connsiteY81" fmla="*/ 4276725 h 4496940"/>
                <a:gd name="connsiteX82" fmla="*/ 1287802 w 4519987"/>
                <a:gd name="connsiteY82" fmla="*/ 4229100 h 4496940"/>
                <a:gd name="connsiteX83" fmla="*/ 1221127 w 4519987"/>
                <a:gd name="connsiteY83" fmla="*/ 4200525 h 4496940"/>
                <a:gd name="connsiteX84" fmla="*/ 1144927 w 4519987"/>
                <a:gd name="connsiteY84" fmla="*/ 4171950 h 4496940"/>
                <a:gd name="connsiteX85" fmla="*/ 1087777 w 4519987"/>
                <a:gd name="connsiteY85" fmla="*/ 4143375 h 4496940"/>
                <a:gd name="connsiteX86" fmla="*/ 1030627 w 4519987"/>
                <a:gd name="connsiteY86" fmla="*/ 4124325 h 4496940"/>
                <a:gd name="connsiteX87" fmla="*/ 925852 w 4519987"/>
                <a:gd name="connsiteY87" fmla="*/ 4067175 h 4496940"/>
                <a:gd name="connsiteX88" fmla="*/ 830602 w 4519987"/>
                <a:gd name="connsiteY88" fmla="*/ 3981450 h 4496940"/>
                <a:gd name="connsiteX89" fmla="*/ 763927 w 4519987"/>
                <a:gd name="connsiteY89" fmla="*/ 3914775 h 4496940"/>
                <a:gd name="connsiteX90" fmla="*/ 725827 w 4519987"/>
                <a:gd name="connsiteY90" fmla="*/ 3876675 h 4496940"/>
                <a:gd name="connsiteX91" fmla="*/ 697252 w 4519987"/>
                <a:gd name="connsiteY91" fmla="*/ 3838575 h 4496940"/>
                <a:gd name="connsiteX92" fmla="*/ 640102 w 4519987"/>
                <a:gd name="connsiteY92" fmla="*/ 3781425 h 4496940"/>
                <a:gd name="connsiteX93" fmla="*/ 611527 w 4519987"/>
                <a:gd name="connsiteY93" fmla="*/ 3733800 h 4496940"/>
                <a:gd name="connsiteX94" fmla="*/ 554377 w 4519987"/>
                <a:gd name="connsiteY94" fmla="*/ 3657600 h 4496940"/>
                <a:gd name="connsiteX95" fmla="*/ 525802 w 4519987"/>
                <a:gd name="connsiteY95" fmla="*/ 3609975 h 4496940"/>
                <a:gd name="connsiteX96" fmla="*/ 497227 w 4519987"/>
                <a:gd name="connsiteY96" fmla="*/ 3552825 h 4496940"/>
                <a:gd name="connsiteX97" fmla="*/ 440077 w 4519987"/>
                <a:gd name="connsiteY97" fmla="*/ 3495675 h 4496940"/>
                <a:gd name="connsiteX98" fmla="*/ 411502 w 4519987"/>
                <a:gd name="connsiteY98" fmla="*/ 3448050 h 4496940"/>
                <a:gd name="connsiteX99" fmla="*/ 278152 w 4519987"/>
                <a:gd name="connsiteY99" fmla="*/ 3257550 h 4496940"/>
                <a:gd name="connsiteX100" fmla="*/ 249577 w 4519987"/>
                <a:gd name="connsiteY100" fmla="*/ 3200400 h 4496940"/>
                <a:gd name="connsiteX101" fmla="*/ 240052 w 4519987"/>
                <a:gd name="connsiteY101" fmla="*/ 3162300 h 4496940"/>
                <a:gd name="connsiteX102" fmla="*/ 221002 w 4519987"/>
                <a:gd name="connsiteY102" fmla="*/ 3105150 h 4496940"/>
                <a:gd name="connsiteX103" fmla="*/ 173377 w 4519987"/>
                <a:gd name="connsiteY103" fmla="*/ 3019425 h 4496940"/>
                <a:gd name="connsiteX104" fmla="*/ 144802 w 4519987"/>
                <a:gd name="connsiteY104" fmla="*/ 2924175 h 4496940"/>
                <a:gd name="connsiteX105" fmla="*/ 68602 w 4519987"/>
                <a:gd name="connsiteY105" fmla="*/ 2724150 h 4496940"/>
                <a:gd name="connsiteX106" fmla="*/ 49552 w 4519987"/>
                <a:gd name="connsiteY106" fmla="*/ 2638425 h 4496940"/>
                <a:gd name="connsiteX107" fmla="*/ 40027 w 4519987"/>
                <a:gd name="connsiteY107" fmla="*/ 2562225 h 4496940"/>
                <a:gd name="connsiteX108" fmla="*/ 30502 w 4519987"/>
                <a:gd name="connsiteY108" fmla="*/ 2514600 h 4496940"/>
                <a:gd name="connsiteX109" fmla="*/ 11452 w 4519987"/>
                <a:gd name="connsiteY109" fmla="*/ 2400300 h 4496940"/>
                <a:gd name="connsiteX110" fmla="*/ 20977 w 4519987"/>
                <a:gd name="connsiteY110" fmla="*/ 1905000 h 4496940"/>
                <a:gd name="connsiteX111" fmla="*/ 30502 w 4519987"/>
                <a:gd name="connsiteY111" fmla="*/ 1838325 h 4496940"/>
                <a:gd name="connsiteX112" fmla="*/ 49552 w 4519987"/>
                <a:gd name="connsiteY112" fmla="*/ 1781175 h 4496940"/>
                <a:gd name="connsiteX113" fmla="*/ 59077 w 4519987"/>
                <a:gd name="connsiteY113" fmla="*/ 1743075 h 4496940"/>
                <a:gd name="connsiteX114" fmla="*/ 78127 w 4519987"/>
                <a:gd name="connsiteY114" fmla="*/ 1685925 h 4496940"/>
                <a:gd name="connsiteX115" fmla="*/ 87652 w 4519987"/>
                <a:gd name="connsiteY115" fmla="*/ 1638300 h 4496940"/>
                <a:gd name="connsiteX116" fmla="*/ 106702 w 4519987"/>
                <a:gd name="connsiteY116" fmla="*/ 1590675 h 4496940"/>
                <a:gd name="connsiteX117" fmla="*/ 135277 w 4519987"/>
                <a:gd name="connsiteY117" fmla="*/ 1504950 h 4496940"/>
                <a:gd name="connsiteX118" fmla="*/ 154327 w 4519987"/>
                <a:gd name="connsiteY118" fmla="*/ 1419225 h 4496940"/>
                <a:gd name="connsiteX119" fmla="*/ 230527 w 4519987"/>
                <a:gd name="connsiteY119" fmla="*/ 1276350 h 4496940"/>
                <a:gd name="connsiteX120" fmla="*/ 240052 w 4519987"/>
                <a:gd name="connsiteY120" fmla="*/ 1247775 h 4496940"/>
                <a:gd name="connsiteX121" fmla="*/ 268627 w 4519987"/>
                <a:gd name="connsiteY121" fmla="*/ 1200150 h 4496940"/>
                <a:gd name="connsiteX122" fmla="*/ 287677 w 4519987"/>
                <a:gd name="connsiteY122" fmla="*/ 1152525 h 4496940"/>
                <a:gd name="connsiteX123" fmla="*/ 316252 w 4519987"/>
                <a:gd name="connsiteY123" fmla="*/ 1114425 h 4496940"/>
                <a:gd name="connsiteX124" fmla="*/ 363877 w 4519987"/>
                <a:gd name="connsiteY124" fmla="*/ 1038225 h 4496940"/>
                <a:gd name="connsiteX125" fmla="*/ 382927 w 4519987"/>
                <a:gd name="connsiteY125" fmla="*/ 1009650 h 4496940"/>
                <a:gd name="connsiteX126" fmla="*/ 440077 w 4519987"/>
                <a:gd name="connsiteY126" fmla="*/ 904875 h 4496940"/>
                <a:gd name="connsiteX127" fmla="*/ 478177 w 4519987"/>
                <a:gd name="connsiteY127" fmla="*/ 857250 h 4496940"/>
                <a:gd name="connsiteX128" fmla="*/ 497227 w 4519987"/>
                <a:gd name="connsiteY128" fmla="*/ 828675 h 4496940"/>
                <a:gd name="connsiteX129" fmla="*/ 535327 w 4519987"/>
                <a:gd name="connsiteY129" fmla="*/ 800100 h 4496940"/>
                <a:gd name="connsiteX130" fmla="*/ 602002 w 4519987"/>
                <a:gd name="connsiteY130" fmla="*/ 733425 h 4496940"/>
                <a:gd name="connsiteX131" fmla="*/ 668677 w 4519987"/>
                <a:gd name="connsiteY131" fmla="*/ 676275 h 4496940"/>
                <a:gd name="connsiteX132" fmla="*/ 697252 w 4519987"/>
                <a:gd name="connsiteY132" fmla="*/ 657225 h 4496940"/>
                <a:gd name="connsiteX133" fmla="*/ 840127 w 4519987"/>
                <a:gd name="connsiteY133" fmla="*/ 533400 h 4496940"/>
                <a:gd name="connsiteX134" fmla="*/ 887752 w 4519987"/>
                <a:gd name="connsiteY134" fmla="*/ 504825 h 4496940"/>
                <a:gd name="connsiteX135" fmla="*/ 1167152 w 4519987"/>
                <a:gd name="connsiteY135" fmla="*/ 311150 h 4496940"/>
                <a:gd name="connsiteX136" fmla="*/ 1268752 w 4519987"/>
                <a:gd name="connsiteY136" fmla="*/ 285750 h 4496940"/>
                <a:gd name="connsiteX137" fmla="*/ 1411627 w 4519987"/>
                <a:gd name="connsiteY137" fmla="*/ 190500 h 4496940"/>
                <a:gd name="connsiteX138" fmla="*/ 1449727 w 4519987"/>
                <a:gd name="connsiteY138" fmla="*/ 161925 h 4496940"/>
                <a:gd name="connsiteX139" fmla="*/ 1525927 w 4519987"/>
                <a:gd name="connsiteY139" fmla="*/ 152400 h 4496940"/>
                <a:gd name="connsiteX140" fmla="*/ 1583077 w 4519987"/>
                <a:gd name="connsiteY140" fmla="*/ 142875 h 4496940"/>
                <a:gd name="connsiteX141" fmla="*/ 1716427 w 4519987"/>
                <a:gd name="connsiteY141" fmla="*/ 123825 h 4496940"/>
                <a:gd name="connsiteX142" fmla="*/ 1811677 w 4519987"/>
                <a:gd name="connsiteY142" fmla="*/ 114300 h 4496940"/>
                <a:gd name="connsiteX143" fmla="*/ 1859302 w 4519987"/>
                <a:gd name="connsiteY143" fmla="*/ 104775 h 4496940"/>
                <a:gd name="connsiteX144" fmla="*/ 1916452 w 4519987"/>
                <a:gd name="connsiteY144" fmla="*/ 95250 h 4496940"/>
                <a:gd name="connsiteX145" fmla="*/ 2030752 w 4519987"/>
                <a:gd name="connsiteY145" fmla="*/ 66675 h 4496940"/>
                <a:gd name="connsiteX146" fmla="*/ 2097427 w 4519987"/>
                <a:gd name="connsiteY146" fmla="*/ 47625 h 4496940"/>
                <a:gd name="connsiteX147" fmla="*/ 2164102 w 4519987"/>
                <a:gd name="connsiteY147" fmla="*/ 38100 h 4496940"/>
                <a:gd name="connsiteX148" fmla="*/ 2392702 w 4519987"/>
                <a:gd name="connsiteY14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135777 w 4519987"/>
                <a:gd name="connsiteY21" fmla="*/ 9334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192927 w 4519987"/>
                <a:gd name="connsiteY24" fmla="*/ 1057275 h 4496940"/>
                <a:gd name="connsiteX25" fmla="*/ 4202452 w 4519987"/>
                <a:gd name="connsiteY25" fmla="*/ 1085850 h 4496940"/>
                <a:gd name="connsiteX26" fmla="*/ 4250077 w 4519987"/>
                <a:gd name="connsiteY26" fmla="*/ 1143000 h 4496940"/>
                <a:gd name="connsiteX27" fmla="*/ 4259602 w 4519987"/>
                <a:gd name="connsiteY27" fmla="*/ 1190625 h 4496940"/>
                <a:gd name="connsiteX28" fmla="*/ 4307227 w 4519987"/>
                <a:gd name="connsiteY28" fmla="*/ 1266825 h 4496940"/>
                <a:gd name="connsiteX29" fmla="*/ 4345327 w 4519987"/>
                <a:gd name="connsiteY29" fmla="*/ 1362075 h 4496940"/>
                <a:gd name="connsiteX30" fmla="*/ 4373902 w 4519987"/>
                <a:gd name="connsiteY30" fmla="*/ 1428750 h 4496940"/>
                <a:gd name="connsiteX31" fmla="*/ 4392952 w 4519987"/>
                <a:gd name="connsiteY31" fmla="*/ 1552575 h 4496940"/>
                <a:gd name="connsiteX32" fmla="*/ 4402477 w 4519987"/>
                <a:gd name="connsiteY32" fmla="*/ 1590675 h 4496940"/>
                <a:gd name="connsiteX33" fmla="*/ 4431052 w 4519987"/>
                <a:gd name="connsiteY33" fmla="*/ 1685925 h 4496940"/>
                <a:gd name="connsiteX34" fmla="*/ 4519952 w 4519987"/>
                <a:gd name="connsiteY34" fmla="*/ 2181225 h 4496940"/>
                <a:gd name="connsiteX35" fmla="*/ 4446927 w 4519987"/>
                <a:gd name="connsiteY35" fmla="*/ 2768600 h 4496940"/>
                <a:gd name="connsiteX36" fmla="*/ 4383427 w 4519987"/>
                <a:gd name="connsiteY36" fmla="*/ 2990850 h 4496940"/>
                <a:gd name="connsiteX37" fmla="*/ 4278652 w 4519987"/>
                <a:gd name="connsiteY37" fmla="*/ 3248025 h 4496940"/>
                <a:gd name="connsiteX38" fmla="*/ 4259602 w 4519987"/>
                <a:gd name="connsiteY38" fmla="*/ 3276600 h 4496940"/>
                <a:gd name="connsiteX39" fmla="*/ 4221502 w 4519987"/>
                <a:gd name="connsiteY39" fmla="*/ 3333750 h 4496940"/>
                <a:gd name="connsiteX40" fmla="*/ 4211977 w 4519987"/>
                <a:gd name="connsiteY40" fmla="*/ 3362325 h 4496940"/>
                <a:gd name="connsiteX41" fmla="*/ 4183402 w 4519987"/>
                <a:gd name="connsiteY41" fmla="*/ 3400425 h 4496940"/>
                <a:gd name="connsiteX42" fmla="*/ 4164352 w 4519987"/>
                <a:gd name="connsiteY42" fmla="*/ 3429000 h 4496940"/>
                <a:gd name="connsiteX43" fmla="*/ 4088152 w 4519987"/>
                <a:gd name="connsiteY43" fmla="*/ 3495675 h 4496940"/>
                <a:gd name="connsiteX44" fmla="*/ 4059577 w 4519987"/>
                <a:gd name="connsiteY44" fmla="*/ 3533775 h 4496940"/>
                <a:gd name="connsiteX45" fmla="*/ 4002427 w 4519987"/>
                <a:gd name="connsiteY45" fmla="*/ 3600450 h 4496940"/>
                <a:gd name="connsiteX46" fmla="*/ 3983377 w 4519987"/>
                <a:gd name="connsiteY46" fmla="*/ 3629025 h 4496940"/>
                <a:gd name="connsiteX47" fmla="*/ 3954802 w 4519987"/>
                <a:gd name="connsiteY47" fmla="*/ 3648075 h 4496940"/>
                <a:gd name="connsiteX48" fmla="*/ 3907177 w 4519987"/>
                <a:gd name="connsiteY48" fmla="*/ 3686175 h 4496940"/>
                <a:gd name="connsiteX49" fmla="*/ 3869077 w 4519987"/>
                <a:gd name="connsiteY49" fmla="*/ 3724275 h 4496940"/>
                <a:gd name="connsiteX50" fmla="*/ 3792877 w 4519987"/>
                <a:gd name="connsiteY50" fmla="*/ 3781425 h 4496940"/>
                <a:gd name="connsiteX51" fmla="*/ 3783352 w 4519987"/>
                <a:gd name="connsiteY51" fmla="*/ 3810000 h 4496940"/>
                <a:gd name="connsiteX52" fmla="*/ 3745252 w 4519987"/>
                <a:gd name="connsiteY52" fmla="*/ 3819525 h 4496940"/>
                <a:gd name="connsiteX53" fmla="*/ 3678577 w 4519987"/>
                <a:gd name="connsiteY53" fmla="*/ 3848100 h 4496940"/>
                <a:gd name="connsiteX54" fmla="*/ 3659527 w 4519987"/>
                <a:gd name="connsiteY54" fmla="*/ 3971925 h 4496940"/>
                <a:gd name="connsiteX55" fmla="*/ 3630952 w 4519987"/>
                <a:gd name="connsiteY55" fmla="*/ 4010025 h 4496940"/>
                <a:gd name="connsiteX56" fmla="*/ 3621427 w 4519987"/>
                <a:gd name="connsiteY56" fmla="*/ 4038600 h 4496940"/>
                <a:gd name="connsiteX57" fmla="*/ 3554752 w 4519987"/>
                <a:gd name="connsiteY57" fmla="*/ 4095750 h 4496940"/>
                <a:gd name="connsiteX58" fmla="*/ 3516652 w 4519987"/>
                <a:gd name="connsiteY58" fmla="*/ 4114800 h 4496940"/>
                <a:gd name="connsiteX59" fmla="*/ 3497602 w 4519987"/>
                <a:gd name="connsiteY59" fmla="*/ 4143375 h 4496940"/>
                <a:gd name="connsiteX60" fmla="*/ 3383302 w 4519987"/>
                <a:gd name="connsiteY60" fmla="*/ 4210050 h 4496940"/>
                <a:gd name="connsiteX61" fmla="*/ 3335677 w 4519987"/>
                <a:gd name="connsiteY61" fmla="*/ 4238625 h 4496940"/>
                <a:gd name="connsiteX62" fmla="*/ 3288052 w 4519987"/>
                <a:gd name="connsiteY62" fmla="*/ 4248150 h 4496940"/>
                <a:gd name="connsiteX63" fmla="*/ 3240427 w 4519987"/>
                <a:gd name="connsiteY63" fmla="*/ 4267200 h 4496940"/>
                <a:gd name="connsiteX64" fmla="*/ 3068977 w 4519987"/>
                <a:gd name="connsiteY64" fmla="*/ 4286250 h 4496940"/>
                <a:gd name="connsiteX65" fmla="*/ 2935627 w 4519987"/>
                <a:gd name="connsiteY65" fmla="*/ 4333875 h 4496940"/>
                <a:gd name="connsiteX66" fmla="*/ 2811802 w 4519987"/>
                <a:gd name="connsiteY66" fmla="*/ 4371975 h 4496940"/>
                <a:gd name="connsiteX67" fmla="*/ 2745127 w 4519987"/>
                <a:gd name="connsiteY67" fmla="*/ 4410075 h 4496940"/>
                <a:gd name="connsiteX68" fmla="*/ 2697502 w 4519987"/>
                <a:gd name="connsiteY68" fmla="*/ 4429125 h 4496940"/>
                <a:gd name="connsiteX69" fmla="*/ 2640352 w 4519987"/>
                <a:gd name="connsiteY69" fmla="*/ 4457700 h 4496940"/>
                <a:gd name="connsiteX70" fmla="*/ 2583202 w 4519987"/>
                <a:gd name="connsiteY70" fmla="*/ 4467225 h 4496940"/>
                <a:gd name="connsiteX71" fmla="*/ 2545102 w 4519987"/>
                <a:gd name="connsiteY71" fmla="*/ 4486275 h 4496940"/>
                <a:gd name="connsiteX72" fmla="*/ 2306977 w 4519987"/>
                <a:gd name="connsiteY72" fmla="*/ 4476750 h 4496940"/>
                <a:gd name="connsiteX73" fmla="*/ 2202202 w 4519987"/>
                <a:gd name="connsiteY73" fmla="*/ 4457700 h 4496940"/>
                <a:gd name="connsiteX74" fmla="*/ 2126002 w 4519987"/>
                <a:gd name="connsiteY74" fmla="*/ 4429125 h 4496940"/>
                <a:gd name="connsiteX75" fmla="*/ 1935502 w 4519987"/>
                <a:gd name="connsiteY75" fmla="*/ 4400550 h 4496940"/>
                <a:gd name="connsiteX76" fmla="*/ 1821202 w 4519987"/>
                <a:gd name="connsiteY76" fmla="*/ 4371975 h 4496940"/>
                <a:gd name="connsiteX77" fmla="*/ 1754527 w 4519987"/>
                <a:gd name="connsiteY77" fmla="*/ 4352925 h 4496940"/>
                <a:gd name="connsiteX78" fmla="*/ 1687852 w 4519987"/>
                <a:gd name="connsiteY78" fmla="*/ 4343400 h 4496940"/>
                <a:gd name="connsiteX79" fmla="*/ 1573552 w 4519987"/>
                <a:gd name="connsiteY79" fmla="*/ 4305300 h 4496940"/>
                <a:gd name="connsiteX80" fmla="*/ 1402102 w 4519987"/>
                <a:gd name="connsiteY80" fmla="*/ 4276725 h 4496940"/>
                <a:gd name="connsiteX81" fmla="*/ 1287802 w 4519987"/>
                <a:gd name="connsiteY81" fmla="*/ 4229100 h 4496940"/>
                <a:gd name="connsiteX82" fmla="*/ 1221127 w 4519987"/>
                <a:gd name="connsiteY82" fmla="*/ 4200525 h 4496940"/>
                <a:gd name="connsiteX83" fmla="*/ 1144927 w 4519987"/>
                <a:gd name="connsiteY83" fmla="*/ 4171950 h 4496940"/>
                <a:gd name="connsiteX84" fmla="*/ 1087777 w 4519987"/>
                <a:gd name="connsiteY84" fmla="*/ 4143375 h 4496940"/>
                <a:gd name="connsiteX85" fmla="*/ 1030627 w 4519987"/>
                <a:gd name="connsiteY85" fmla="*/ 4124325 h 4496940"/>
                <a:gd name="connsiteX86" fmla="*/ 925852 w 4519987"/>
                <a:gd name="connsiteY86" fmla="*/ 4067175 h 4496940"/>
                <a:gd name="connsiteX87" fmla="*/ 830602 w 4519987"/>
                <a:gd name="connsiteY87" fmla="*/ 3981450 h 4496940"/>
                <a:gd name="connsiteX88" fmla="*/ 763927 w 4519987"/>
                <a:gd name="connsiteY88" fmla="*/ 3914775 h 4496940"/>
                <a:gd name="connsiteX89" fmla="*/ 725827 w 4519987"/>
                <a:gd name="connsiteY89" fmla="*/ 3876675 h 4496940"/>
                <a:gd name="connsiteX90" fmla="*/ 697252 w 4519987"/>
                <a:gd name="connsiteY90" fmla="*/ 3838575 h 4496940"/>
                <a:gd name="connsiteX91" fmla="*/ 640102 w 4519987"/>
                <a:gd name="connsiteY91" fmla="*/ 3781425 h 4496940"/>
                <a:gd name="connsiteX92" fmla="*/ 611527 w 4519987"/>
                <a:gd name="connsiteY92" fmla="*/ 3733800 h 4496940"/>
                <a:gd name="connsiteX93" fmla="*/ 554377 w 4519987"/>
                <a:gd name="connsiteY93" fmla="*/ 3657600 h 4496940"/>
                <a:gd name="connsiteX94" fmla="*/ 525802 w 4519987"/>
                <a:gd name="connsiteY94" fmla="*/ 3609975 h 4496940"/>
                <a:gd name="connsiteX95" fmla="*/ 497227 w 4519987"/>
                <a:gd name="connsiteY95" fmla="*/ 3552825 h 4496940"/>
                <a:gd name="connsiteX96" fmla="*/ 440077 w 4519987"/>
                <a:gd name="connsiteY96" fmla="*/ 3495675 h 4496940"/>
                <a:gd name="connsiteX97" fmla="*/ 411502 w 4519987"/>
                <a:gd name="connsiteY97" fmla="*/ 3448050 h 4496940"/>
                <a:gd name="connsiteX98" fmla="*/ 278152 w 4519987"/>
                <a:gd name="connsiteY98" fmla="*/ 3257550 h 4496940"/>
                <a:gd name="connsiteX99" fmla="*/ 249577 w 4519987"/>
                <a:gd name="connsiteY99" fmla="*/ 3200400 h 4496940"/>
                <a:gd name="connsiteX100" fmla="*/ 240052 w 4519987"/>
                <a:gd name="connsiteY100" fmla="*/ 3162300 h 4496940"/>
                <a:gd name="connsiteX101" fmla="*/ 221002 w 4519987"/>
                <a:gd name="connsiteY101" fmla="*/ 3105150 h 4496940"/>
                <a:gd name="connsiteX102" fmla="*/ 173377 w 4519987"/>
                <a:gd name="connsiteY102" fmla="*/ 3019425 h 4496940"/>
                <a:gd name="connsiteX103" fmla="*/ 144802 w 4519987"/>
                <a:gd name="connsiteY103" fmla="*/ 2924175 h 4496940"/>
                <a:gd name="connsiteX104" fmla="*/ 68602 w 4519987"/>
                <a:gd name="connsiteY104" fmla="*/ 2724150 h 4496940"/>
                <a:gd name="connsiteX105" fmla="*/ 49552 w 4519987"/>
                <a:gd name="connsiteY105" fmla="*/ 2638425 h 4496940"/>
                <a:gd name="connsiteX106" fmla="*/ 40027 w 4519987"/>
                <a:gd name="connsiteY106" fmla="*/ 2562225 h 4496940"/>
                <a:gd name="connsiteX107" fmla="*/ 30502 w 4519987"/>
                <a:gd name="connsiteY107" fmla="*/ 2514600 h 4496940"/>
                <a:gd name="connsiteX108" fmla="*/ 11452 w 4519987"/>
                <a:gd name="connsiteY108" fmla="*/ 2400300 h 4496940"/>
                <a:gd name="connsiteX109" fmla="*/ 20977 w 4519987"/>
                <a:gd name="connsiteY109" fmla="*/ 1905000 h 4496940"/>
                <a:gd name="connsiteX110" fmla="*/ 30502 w 4519987"/>
                <a:gd name="connsiteY110" fmla="*/ 1838325 h 4496940"/>
                <a:gd name="connsiteX111" fmla="*/ 49552 w 4519987"/>
                <a:gd name="connsiteY111" fmla="*/ 1781175 h 4496940"/>
                <a:gd name="connsiteX112" fmla="*/ 59077 w 4519987"/>
                <a:gd name="connsiteY112" fmla="*/ 1743075 h 4496940"/>
                <a:gd name="connsiteX113" fmla="*/ 78127 w 4519987"/>
                <a:gd name="connsiteY113" fmla="*/ 1685925 h 4496940"/>
                <a:gd name="connsiteX114" fmla="*/ 87652 w 4519987"/>
                <a:gd name="connsiteY114" fmla="*/ 1638300 h 4496940"/>
                <a:gd name="connsiteX115" fmla="*/ 106702 w 4519987"/>
                <a:gd name="connsiteY115" fmla="*/ 1590675 h 4496940"/>
                <a:gd name="connsiteX116" fmla="*/ 135277 w 4519987"/>
                <a:gd name="connsiteY116" fmla="*/ 1504950 h 4496940"/>
                <a:gd name="connsiteX117" fmla="*/ 154327 w 4519987"/>
                <a:gd name="connsiteY117" fmla="*/ 1419225 h 4496940"/>
                <a:gd name="connsiteX118" fmla="*/ 230527 w 4519987"/>
                <a:gd name="connsiteY118" fmla="*/ 1276350 h 4496940"/>
                <a:gd name="connsiteX119" fmla="*/ 240052 w 4519987"/>
                <a:gd name="connsiteY119" fmla="*/ 1247775 h 4496940"/>
                <a:gd name="connsiteX120" fmla="*/ 268627 w 4519987"/>
                <a:gd name="connsiteY120" fmla="*/ 1200150 h 4496940"/>
                <a:gd name="connsiteX121" fmla="*/ 287677 w 4519987"/>
                <a:gd name="connsiteY121" fmla="*/ 1152525 h 4496940"/>
                <a:gd name="connsiteX122" fmla="*/ 316252 w 4519987"/>
                <a:gd name="connsiteY122" fmla="*/ 1114425 h 4496940"/>
                <a:gd name="connsiteX123" fmla="*/ 363877 w 4519987"/>
                <a:gd name="connsiteY123" fmla="*/ 1038225 h 4496940"/>
                <a:gd name="connsiteX124" fmla="*/ 382927 w 4519987"/>
                <a:gd name="connsiteY124" fmla="*/ 1009650 h 4496940"/>
                <a:gd name="connsiteX125" fmla="*/ 440077 w 4519987"/>
                <a:gd name="connsiteY125" fmla="*/ 904875 h 4496940"/>
                <a:gd name="connsiteX126" fmla="*/ 478177 w 4519987"/>
                <a:gd name="connsiteY126" fmla="*/ 857250 h 4496940"/>
                <a:gd name="connsiteX127" fmla="*/ 497227 w 4519987"/>
                <a:gd name="connsiteY127" fmla="*/ 828675 h 4496940"/>
                <a:gd name="connsiteX128" fmla="*/ 535327 w 4519987"/>
                <a:gd name="connsiteY128" fmla="*/ 800100 h 4496940"/>
                <a:gd name="connsiteX129" fmla="*/ 602002 w 4519987"/>
                <a:gd name="connsiteY129" fmla="*/ 733425 h 4496940"/>
                <a:gd name="connsiteX130" fmla="*/ 668677 w 4519987"/>
                <a:gd name="connsiteY130" fmla="*/ 676275 h 4496940"/>
                <a:gd name="connsiteX131" fmla="*/ 697252 w 4519987"/>
                <a:gd name="connsiteY131" fmla="*/ 657225 h 4496940"/>
                <a:gd name="connsiteX132" fmla="*/ 840127 w 4519987"/>
                <a:gd name="connsiteY132" fmla="*/ 533400 h 4496940"/>
                <a:gd name="connsiteX133" fmla="*/ 887752 w 4519987"/>
                <a:gd name="connsiteY133" fmla="*/ 504825 h 4496940"/>
                <a:gd name="connsiteX134" fmla="*/ 1167152 w 4519987"/>
                <a:gd name="connsiteY134" fmla="*/ 311150 h 4496940"/>
                <a:gd name="connsiteX135" fmla="*/ 1268752 w 4519987"/>
                <a:gd name="connsiteY135" fmla="*/ 285750 h 4496940"/>
                <a:gd name="connsiteX136" fmla="*/ 1411627 w 4519987"/>
                <a:gd name="connsiteY136" fmla="*/ 190500 h 4496940"/>
                <a:gd name="connsiteX137" fmla="*/ 1449727 w 4519987"/>
                <a:gd name="connsiteY137" fmla="*/ 161925 h 4496940"/>
                <a:gd name="connsiteX138" fmla="*/ 1525927 w 4519987"/>
                <a:gd name="connsiteY138" fmla="*/ 152400 h 4496940"/>
                <a:gd name="connsiteX139" fmla="*/ 1583077 w 4519987"/>
                <a:gd name="connsiteY139" fmla="*/ 142875 h 4496940"/>
                <a:gd name="connsiteX140" fmla="*/ 1716427 w 4519987"/>
                <a:gd name="connsiteY140" fmla="*/ 123825 h 4496940"/>
                <a:gd name="connsiteX141" fmla="*/ 1811677 w 4519987"/>
                <a:gd name="connsiteY141" fmla="*/ 114300 h 4496940"/>
                <a:gd name="connsiteX142" fmla="*/ 1859302 w 4519987"/>
                <a:gd name="connsiteY142" fmla="*/ 104775 h 4496940"/>
                <a:gd name="connsiteX143" fmla="*/ 1916452 w 4519987"/>
                <a:gd name="connsiteY143" fmla="*/ 95250 h 4496940"/>
                <a:gd name="connsiteX144" fmla="*/ 2030752 w 4519987"/>
                <a:gd name="connsiteY144" fmla="*/ 66675 h 4496940"/>
                <a:gd name="connsiteX145" fmla="*/ 2097427 w 4519987"/>
                <a:gd name="connsiteY145" fmla="*/ 47625 h 4496940"/>
                <a:gd name="connsiteX146" fmla="*/ 2164102 w 4519987"/>
                <a:gd name="connsiteY146" fmla="*/ 38100 h 4496940"/>
                <a:gd name="connsiteX147" fmla="*/ 2392702 w 4519987"/>
                <a:gd name="connsiteY14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02452 w 4519987"/>
                <a:gd name="connsiteY24" fmla="*/ 1085850 h 4496940"/>
                <a:gd name="connsiteX25" fmla="*/ 4250077 w 4519987"/>
                <a:gd name="connsiteY25" fmla="*/ 1143000 h 4496940"/>
                <a:gd name="connsiteX26" fmla="*/ 4259602 w 4519987"/>
                <a:gd name="connsiteY26" fmla="*/ 1190625 h 4496940"/>
                <a:gd name="connsiteX27" fmla="*/ 4307227 w 4519987"/>
                <a:gd name="connsiteY27" fmla="*/ 1266825 h 4496940"/>
                <a:gd name="connsiteX28" fmla="*/ 4345327 w 4519987"/>
                <a:gd name="connsiteY28" fmla="*/ 1362075 h 4496940"/>
                <a:gd name="connsiteX29" fmla="*/ 4373902 w 4519987"/>
                <a:gd name="connsiteY29" fmla="*/ 1428750 h 4496940"/>
                <a:gd name="connsiteX30" fmla="*/ 4392952 w 4519987"/>
                <a:gd name="connsiteY30" fmla="*/ 1552575 h 4496940"/>
                <a:gd name="connsiteX31" fmla="*/ 4402477 w 4519987"/>
                <a:gd name="connsiteY31" fmla="*/ 1590675 h 4496940"/>
                <a:gd name="connsiteX32" fmla="*/ 4431052 w 4519987"/>
                <a:gd name="connsiteY32" fmla="*/ 1685925 h 4496940"/>
                <a:gd name="connsiteX33" fmla="*/ 4519952 w 4519987"/>
                <a:gd name="connsiteY33" fmla="*/ 2181225 h 4496940"/>
                <a:gd name="connsiteX34" fmla="*/ 4446927 w 4519987"/>
                <a:gd name="connsiteY34" fmla="*/ 2768600 h 4496940"/>
                <a:gd name="connsiteX35" fmla="*/ 4383427 w 4519987"/>
                <a:gd name="connsiteY35" fmla="*/ 2990850 h 4496940"/>
                <a:gd name="connsiteX36" fmla="*/ 4278652 w 4519987"/>
                <a:gd name="connsiteY36" fmla="*/ 3248025 h 4496940"/>
                <a:gd name="connsiteX37" fmla="*/ 4259602 w 4519987"/>
                <a:gd name="connsiteY37" fmla="*/ 3276600 h 4496940"/>
                <a:gd name="connsiteX38" fmla="*/ 4221502 w 4519987"/>
                <a:gd name="connsiteY38" fmla="*/ 3333750 h 4496940"/>
                <a:gd name="connsiteX39" fmla="*/ 4211977 w 4519987"/>
                <a:gd name="connsiteY39" fmla="*/ 3362325 h 4496940"/>
                <a:gd name="connsiteX40" fmla="*/ 4183402 w 4519987"/>
                <a:gd name="connsiteY40" fmla="*/ 3400425 h 4496940"/>
                <a:gd name="connsiteX41" fmla="*/ 4164352 w 4519987"/>
                <a:gd name="connsiteY41" fmla="*/ 3429000 h 4496940"/>
                <a:gd name="connsiteX42" fmla="*/ 4088152 w 4519987"/>
                <a:gd name="connsiteY42" fmla="*/ 3495675 h 4496940"/>
                <a:gd name="connsiteX43" fmla="*/ 4059577 w 4519987"/>
                <a:gd name="connsiteY43" fmla="*/ 3533775 h 4496940"/>
                <a:gd name="connsiteX44" fmla="*/ 4002427 w 4519987"/>
                <a:gd name="connsiteY44" fmla="*/ 3600450 h 4496940"/>
                <a:gd name="connsiteX45" fmla="*/ 3983377 w 4519987"/>
                <a:gd name="connsiteY45" fmla="*/ 3629025 h 4496940"/>
                <a:gd name="connsiteX46" fmla="*/ 3954802 w 4519987"/>
                <a:gd name="connsiteY46" fmla="*/ 3648075 h 4496940"/>
                <a:gd name="connsiteX47" fmla="*/ 3907177 w 4519987"/>
                <a:gd name="connsiteY47" fmla="*/ 3686175 h 4496940"/>
                <a:gd name="connsiteX48" fmla="*/ 3869077 w 4519987"/>
                <a:gd name="connsiteY48" fmla="*/ 3724275 h 4496940"/>
                <a:gd name="connsiteX49" fmla="*/ 3792877 w 4519987"/>
                <a:gd name="connsiteY49" fmla="*/ 3781425 h 4496940"/>
                <a:gd name="connsiteX50" fmla="*/ 3783352 w 4519987"/>
                <a:gd name="connsiteY50" fmla="*/ 3810000 h 4496940"/>
                <a:gd name="connsiteX51" fmla="*/ 3745252 w 4519987"/>
                <a:gd name="connsiteY51" fmla="*/ 3819525 h 4496940"/>
                <a:gd name="connsiteX52" fmla="*/ 3678577 w 4519987"/>
                <a:gd name="connsiteY52" fmla="*/ 3848100 h 4496940"/>
                <a:gd name="connsiteX53" fmla="*/ 3659527 w 4519987"/>
                <a:gd name="connsiteY53" fmla="*/ 3971925 h 4496940"/>
                <a:gd name="connsiteX54" fmla="*/ 3630952 w 4519987"/>
                <a:gd name="connsiteY54" fmla="*/ 4010025 h 4496940"/>
                <a:gd name="connsiteX55" fmla="*/ 3621427 w 4519987"/>
                <a:gd name="connsiteY55" fmla="*/ 4038600 h 4496940"/>
                <a:gd name="connsiteX56" fmla="*/ 3554752 w 4519987"/>
                <a:gd name="connsiteY56" fmla="*/ 4095750 h 4496940"/>
                <a:gd name="connsiteX57" fmla="*/ 3516652 w 4519987"/>
                <a:gd name="connsiteY57" fmla="*/ 4114800 h 4496940"/>
                <a:gd name="connsiteX58" fmla="*/ 3497602 w 4519987"/>
                <a:gd name="connsiteY58" fmla="*/ 4143375 h 4496940"/>
                <a:gd name="connsiteX59" fmla="*/ 3383302 w 4519987"/>
                <a:gd name="connsiteY59" fmla="*/ 4210050 h 4496940"/>
                <a:gd name="connsiteX60" fmla="*/ 3335677 w 4519987"/>
                <a:gd name="connsiteY60" fmla="*/ 4238625 h 4496940"/>
                <a:gd name="connsiteX61" fmla="*/ 3288052 w 4519987"/>
                <a:gd name="connsiteY61" fmla="*/ 4248150 h 4496940"/>
                <a:gd name="connsiteX62" fmla="*/ 3240427 w 4519987"/>
                <a:gd name="connsiteY62" fmla="*/ 4267200 h 4496940"/>
                <a:gd name="connsiteX63" fmla="*/ 3068977 w 4519987"/>
                <a:gd name="connsiteY63" fmla="*/ 4286250 h 4496940"/>
                <a:gd name="connsiteX64" fmla="*/ 2935627 w 4519987"/>
                <a:gd name="connsiteY64" fmla="*/ 4333875 h 4496940"/>
                <a:gd name="connsiteX65" fmla="*/ 2811802 w 4519987"/>
                <a:gd name="connsiteY65" fmla="*/ 4371975 h 4496940"/>
                <a:gd name="connsiteX66" fmla="*/ 2745127 w 4519987"/>
                <a:gd name="connsiteY66" fmla="*/ 4410075 h 4496940"/>
                <a:gd name="connsiteX67" fmla="*/ 2697502 w 4519987"/>
                <a:gd name="connsiteY67" fmla="*/ 4429125 h 4496940"/>
                <a:gd name="connsiteX68" fmla="*/ 2640352 w 4519987"/>
                <a:gd name="connsiteY68" fmla="*/ 4457700 h 4496940"/>
                <a:gd name="connsiteX69" fmla="*/ 2583202 w 4519987"/>
                <a:gd name="connsiteY69" fmla="*/ 4467225 h 4496940"/>
                <a:gd name="connsiteX70" fmla="*/ 2545102 w 4519987"/>
                <a:gd name="connsiteY70" fmla="*/ 4486275 h 4496940"/>
                <a:gd name="connsiteX71" fmla="*/ 2306977 w 4519987"/>
                <a:gd name="connsiteY71" fmla="*/ 4476750 h 4496940"/>
                <a:gd name="connsiteX72" fmla="*/ 2202202 w 4519987"/>
                <a:gd name="connsiteY72" fmla="*/ 4457700 h 4496940"/>
                <a:gd name="connsiteX73" fmla="*/ 2126002 w 4519987"/>
                <a:gd name="connsiteY73" fmla="*/ 4429125 h 4496940"/>
                <a:gd name="connsiteX74" fmla="*/ 1935502 w 4519987"/>
                <a:gd name="connsiteY74" fmla="*/ 4400550 h 4496940"/>
                <a:gd name="connsiteX75" fmla="*/ 1821202 w 4519987"/>
                <a:gd name="connsiteY75" fmla="*/ 4371975 h 4496940"/>
                <a:gd name="connsiteX76" fmla="*/ 1754527 w 4519987"/>
                <a:gd name="connsiteY76" fmla="*/ 4352925 h 4496940"/>
                <a:gd name="connsiteX77" fmla="*/ 1687852 w 4519987"/>
                <a:gd name="connsiteY77" fmla="*/ 4343400 h 4496940"/>
                <a:gd name="connsiteX78" fmla="*/ 1573552 w 4519987"/>
                <a:gd name="connsiteY78" fmla="*/ 4305300 h 4496940"/>
                <a:gd name="connsiteX79" fmla="*/ 1402102 w 4519987"/>
                <a:gd name="connsiteY79" fmla="*/ 4276725 h 4496940"/>
                <a:gd name="connsiteX80" fmla="*/ 1287802 w 4519987"/>
                <a:gd name="connsiteY80" fmla="*/ 4229100 h 4496940"/>
                <a:gd name="connsiteX81" fmla="*/ 1221127 w 4519987"/>
                <a:gd name="connsiteY81" fmla="*/ 4200525 h 4496940"/>
                <a:gd name="connsiteX82" fmla="*/ 1144927 w 4519987"/>
                <a:gd name="connsiteY82" fmla="*/ 4171950 h 4496940"/>
                <a:gd name="connsiteX83" fmla="*/ 1087777 w 4519987"/>
                <a:gd name="connsiteY83" fmla="*/ 4143375 h 4496940"/>
                <a:gd name="connsiteX84" fmla="*/ 1030627 w 4519987"/>
                <a:gd name="connsiteY84" fmla="*/ 4124325 h 4496940"/>
                <a:gd name="connsiteX85" fmla="*/ 925852 w 4519987"/>
                <a:gd name="connsiteY85" fmla="*/ 4067175 h 4496940"/>
                <a:gd name="connsiteX86" fmla="*/ 830602 w 4519987"/>
                <a:gd name="connsiteY86" fmla="*/ 3981450 h 4496940"/>
                <a:gd name="connsiteX87" fmla="*/ 763927 w 4519987"/>
                <a:gd name="connsiteY87" fmla="*/ 3914775 h 4496940"/>
                <a:gd name="connsiteX88" fmla="*/ 725827 w 4519987"/>
                <a:gd name="connsiteY88" fmla="*/ 3876675 h 4496940"/>
                <a:gd name="connsiteX89" fmla="*/ 697252 w 4519987"/>
                <a:gd name="connsiteY89" fmla="*/ 3838575 h 4496940"/>
                <a:gd name="connsiteX90" fmla="*/ 640102 w 4519987"/>
                <a:gd name="connsiteY90" fmla="*/ 3781425 h 4496940"/>
                <a:gd name="connsiteX91" fmla="*/ 611527 w 4519987"/>
                <a:gd name="connsiteY91" fmla="*/ 3733800 h 4496940"/>
                <a:gd name="connsiteX92" fmla="*/ 554377 w 4519987"/>
                <a:gd name="connsiteY92" fmla="*/ 3657600 h 4496940"/>
                <a:gd name="connsiteX93" fmla="*/ 525802 w 4519987"/>
                <a:gd name="connsiteY93" fmla="*/ 3609975 h 4496940"/>
                <a:gd name="connsiteX94" fmla="*/ 497227 w 4519987"/>
                <a:gd name="connsiteY94" fmla="*/ 3552825 h 4496940"/>
                <a:gd name="connsiteX95" fmla="*/ 440077 w 4519987"/>
                <a:gd name="connsiteY95" fmla="*/ 3495675 h 4496940"/>
                <a:gd name="connsiteX96" fmla="*/ 411502 w 4519987"/>
                <a:gd name="connsiteY96" fmla="*/ 3448050 h 4496940"/>
                <a:gd name="connsiteX97" fmla="*/ 278152 w 4519987"/>
                <a:gd name="connsiteY97" fmla="*/ 3257550 h 4496940"/>
                <a:gd name="connsiteX98" fmla="*/ 249577 w 4519987"/>
                <a:gd name="connsiteY98" fmla="*/ 3200400 h 4496940"/>
                <a:gd name="connsiteX99" fmla="*/ 240052 w 4519987"/>
                <a:gd name="connsiteY99" fmla="*/ 3162300 h 4496940"/>
                <a:gd name="connsiteX100" fmla="*/ 221002 w 4519987"/>
                <a:gd name="connsiteY100" fmla="*/ 3105150 h 4496940"/>
                <a:gd name="connsiteX101" fmla="*/ 173377 w 4519987"/>
                <a:gd name="connsiteY101" fmla="*/ 3019425 h 4496940"/>
                <a:gd name="connsiteX102" fmla="*/ 144802 w 4519987"/>
                <a:gd name="connsiteY102" fmla="*/ 2924175 h 4496940"/>
                <a:gd name="connsiteX103" fmla="*/ 68602 w 4519987"/>
                <a:gd name="connsiteY103" fmla="*/ 2724150 h 4496940"/>
                <a:gd name="connsiteX104" fmla="*/ 49552 w 4519987"/>
                <a:gd name="connsiteY104" fmla="*/ 2638425 h 4496940"/>
                <a:gd name="connsiteX105" fmla="*/ 40027 w 4519987"/>
                <a:gd name="connsiteY105" fmla="*/ 2562225 h 4496940"/>
                <a:gd name="connsiteX106" fmla="*/ 30502 w 4519987"/>
                <a:gd name="connsiteY106" fmla="*/ 2514600 h 4496940"/>
                <a:gd name="connsiteX107" fmla="*/ 11452 w 4519987"/>
                <a:gd name="connsiteY107" fmla="*/ 2400300 h 4496940"/>
                <a:gd name="connsiteX108" fmla="*/ 20977 w 4519987"/>
                <a:gd name="connsiteY108" fmla="*/ 1905000 h 4496940"/>
                <a:gd name="connsiteX109" fmla="*/ 30502 w 4519987"/>
                <a:gd name="connsiteY109" fmla="*/ 1838325 h 4496940"/>
                <a:gd name="connsiteX110" fmla="*/ 49552 w 4519987"/>
                <a:gd name="connsiteY110" fmla="*/ 1781175 h 4496940"/>
                <a:gd name="connsiteX111" fmla="*/ 59077 w 4519987"/>
                <a:gd name="connsiteY111" fmla="*/ 1743075 h 4496940"/>
                <a:gd name="connsiteX112" fmla="*/ 78127 w 4519987"/>
                <a:gd name="connsiteY112" fmla="*/ 1685925 h 4496940"/>
                <a:gd name="connsiteX113" fmla="*/ 87652 w 4519987"/>
                <a:gd name="connsiteY113" fmla="*/ 1638300 h 4496940"/>
                <a:gd name="connsiteX114" fmla="*/ 106702 w 4519987"/>
                <a:gd name="connsiteY114" fmla="*/ 1590675 h 4496940"/>
                <a:gd name="connsiteX115" fmla="*/ 135277 w 4519987"/>
                <a:gd name="connsiteY115" fmla="*/ 1504950 h 4496940"/>
                <a:gd name="connsiteX116" fmla="*/ 154327 w 4519987"/>
                <a:gd name="connsiteY116" fmla="*/ 1419225 h 4496940"/>
                <a:gd name="connsiteX117" fmla="*/ 230527 w 4519987"/>
                <a:gd name="connsiteY117" fmla="*/ 1276350 h 4496940"/>
                <a:gd name="connsiteX118" fmla="*/ 240052 w 4519987"/>
                <a:gd name="connsiteY118" fmla="*/ 1247775 h 4496940"/>
                <a:gd name="connsiteX119" fmla="*/ 268627 w 4519987"/>
                <a:gd name="connsiteY119" fmla="*/ 1200150 h 4496940"/>
                <a:gd name="connsiteX120" fmla="*/ 287677 w 4519987"/>
                <a:gd name="connsiteY120" fmla="*/ 1152525 h 4496940"/>
                <a:gd name="connsiteX121" fmla="*/ 316252 w 4519987"/>
                <a:gd name="connsiteY121" fmla="*/ 1114425 h 4496940"/>
                <a:gd name="connsiteX122" fmla="*/ 363877 w 4519987"/>
                <a:gd name="connsiteY122" fmla="*/ 1038225 h 4496940"/>
                <a:gd name="connsiteX123" fmla="*/ 382927 w 4519987"/>
                <a:gd name="connsiteY123" fmla="*/ 1009650 h 4496940"/>
                <a:gd name="connsiteX124" fmla="*/ 440077 w 4519987"/>
                <a:gd name="connsiteY124" fmla="*/ 904875 h 4496940"/>
                <a:gd name="connsiteX125" fmla="*/ 478177 w 4519987"/>
                <a:gd name="connsiteY125" fmla="*/ 857250 h 4496940"/>
                <a:gd name="connsiteX126" fmla="*/ 497227 w 4519987"/>
                <a:gd name="connsiteY126" fmla="*/ 828675 h 4496940"/>
                <a:gd name="connsiteX127" fmla="*/ 535327 w 4519987"/>
                <a:gd name="connsiteY127" fmla="*/ 800100 h 4496940"/>
                <a:gd name="connsiteX128" fmla="*/ 602002 w 4519987"/>
                <a:gd name="connsiteY128" fmla="*/ 733425 h 4496940"/>
                <a:gd name="connsiteX129" fmla="*/ 668677 w 4519987"/>
                <a:gd name="connsiteY129" fmla="*/ 676275 h 4496940"/>
                <a:gd name="connsiteX130" fmla="*/ 697252 w 4519987"/>
                <a:gd name="connsiteY130" fmla="*/ 657225 h 4496940"/>
                <a:gd name="connsiteX131" fmla="*/ 840127 w 4519987"/>
                <a:gd name="connsiteY131" fmla="*/ 533400 h 4496940"/>
                <a:gd name="connsiteX132" fmla="*/ 887752 w 4519987"/>
                <a:gd name="connsiteY132" fmla="*/ 504825 h 4496940"/>
                <a:gd name="connsiteX133" fmla="*/ 1167152 w 4519987"/>
                <a:gd name="connsiteY133" fmla="*/ 311150 h 4496940"/>
                <a:gd name="connsiteX134" fmla="*/ 1268752 w 4519987"/>
                <a:gd name="connsiteY134" fmla="*/ 285750 h 4496940"/>
                <a:gd name="connsiteX135" fmla="*/ 1411627 w 4519987"/>
                <a:gd name="connsiteY135" fmla="*/ 190500 h 4496940"/>
                <a:gd name="connsiteX136" fmla="*/ 1449727 w 4519987"/>
                <a:gd name="connsiteY136" fmla="*/ 161925 h 4496940"/>
                <a:gd name="connsiteX137" fmla="*/ 1525927 w 4519987"/>
                <a:gd name="connsiteY137" fmla="*/ 152400 h 4496940"/>
                <a:gd name="connsiteX138" fmla="*/ 1583077 w 4519987"/>
                <a:gd name="connsiteY138" fmla="*/ 142875 h 4496940"/>
                <a:gd name="connsiteX139" fmla="*/ 1716427 w 4519987"/>
                <a:gd name="connsiteY139" fmla="*/ 123825 h 4496940"/>
                <a:gd name="connsiteX140" fmla="*/ 1811677 w 4519987"/>
                <a:gd name="connsiteY140" fmla="*/ 114300 h 4496940"/>
                <a:gd name="connsiteX141" fmla="*/ 1859302 w 4519987"/>
                <a:gd name="connsiteY141" fmla="*/ 104775 h 4496940"/>
                <a:gd name="connsiteX142" fmla="*/ 1916452 w 4519987"/>
                <a:gd name="connsiteY142" fmla="*/ 95250 h 4496940"/>
                <a:gd name="connsiteX143" fmla="*/ 2030752 w 4519987"/>
                <a:gd name="connsiteY143" fmla="*/ 66675 h 4496940"/>
                <a:gd name="connsiteX144" fmla="*/ 2097427 w 4519987"/>
                <a:gd name="connsiteY144" fmla="*/ 47625 h 4496940"/>
                <a:gd name="connsiteX145" fmla="*/ 2164102 w 4519987"/>
                <a:gd name="connsiteY145" fmla="*/ 38100 h 4496940"/>
                <a:gd name="connsiteX146" fmla="*/ 2392702 w 4519987"/>
                <a:gd name="connsiteY14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173877 w 4519987"/>
                <a:gd name="connsiteY23" fmla="*/ 1019175 h 4496940"/>
                <a:gd name="connsiteX24" fmla="*/ 4250077 w 4519987"/>
                <a:gd name="connsiteY24" fmla="*/ 1143000 h 4496940"/>
                <a:gd name="connsiteX25" fmla="*/ 4259602 w 4519987"/>
                <a:gd name="connsiteY25" fmla="*/ 1190625 h 4496940"/>
                <a:gd name="connsiteX26" fmla="*/ 4307227 w 4519987"/>
                <a:gd name="connsiteY26" fmla="*/ 1266825 h 4496940"/>
                <a:gd name="connsiteX27" fmla="*/ 4345327 w 4519987"/>
                <a:gd name="connsiteY27" fmla="*/ 1362075 h 4496940"/>
                <a:gd name="connsiteX28" fmla="*/ 4373902 w 4519987"/>
                <a:gd name="connsiteY28" fmla="*/ 1428750 h 4496940"/>
                <a:gd name="connsiteX29" fmla="*/ 4392952 w 4519987"/>
                <a:gd name="connsiteY29" fmla="*/ 1552575 h 4496940"/>
                <a:gd name="connsiteX30" fmla="*/ 4402477 w 4519987"/>
                <a:gd name="connsiteY30" fmla="*/ 1590675 h 4496940"/>
                <a:gd name="connsiteX31" fmla="*/ 4431052 w 4519987"/>
                <a:gd name="connsiteY31" fmla="*/ 1685925 h 4496940"/>
                <a:gd name="connsiteX32" fmla="*/ 4519952 w 4519987"/>
                <a:gd name="connsiteY32" fmla="*/ 2181225 h 4496940"/>
                <a:gd name="connsiteX33" fmla="*/ 4446927 w 4519987"/>
                <a:gd name="connsiteY33" fmla="*/ 2768600 h 4496940"/>
                <a:gd name="connsiteX34" fmla="*/ 4383427 w 4519987"/>
                <a:gd name="connsiteY34" fmla="*/ 2990850 h 4496940"/>
                <a:gd name="connsiteX35" fmla="*/ 4278652 w 4519987"/>
                <a:gd name="connsiteY35" fmla="*/ 3248025 h 4496940"/>
                <a:gd name="connsiteX36" fmla="*/ 4259602 w 4519987"/>
                <a:gd name="connsiteY36" fmla="*/ 3276600 h 4496940"/>
                <a:gd name="connsiteX37" fmla="*/ 4221502 w 4519987"/>
                <a:gd name="connsiteY37" fmla="*/ 3333750 h 4496940"/>
                <a:gd name="connsiteX38" fmla="*/ 4211977 w 4519987"/>
                <a:gd name="connsiteY38" fmla="*/ 3362325 h 4496940"/>
                <a:gd name="connsiteX39" fmla="*/ 4183402 w 4519987"/>
                <a:gd name="connsiteY39" fmla="*/ 3400425 h 4496940"/>
                <a:gd name="connsiteX40" fmla="*/ 4164352 w 4519987"/>
                <a:gd name="connsiteY40" fmla="*/ 3429000 h 4496940"/>
                <a:gd name="connsiteX41" fmla="*/ 4088152 w 4519987"/>
                <a:gd name="connsiteY41" fmla="*/ 3495675 h 4496940"/>
                <a:gd name="connsiteX42" fmla="*/ 4059577 w 4519987"/>
                <a:gd name="connsiteY42" fmla="*/ 3533775 h 4496940"/>
                <a:gd name="connsiteX43" fmla="*/ 4002427 w 4519987"/>
                <a:gd name="connsiteY43" fmla="*/ 3600450 h 4496940"/>
                <a:gd name="connsiteX44" fmla="*/ 3983377 w 4519987"/>
                <a:gd name="connsiteY44" fmla="*/ 3629025 h 4496940"/>
                <a:gd name="connsiteX45" fmla="*/ 3954802 w 4519987"/>
                <a:gd name="connsiteY45" fmla="*/ 3648075 h 4496940"/>
                <a:gd name="connsiteX46" fmla="*/ 3907177 w 4519987"/>
                <a:gd name="connsiteY46" fmla="*/ 3686175 h 4496940"/>
                <a:gd name="connsiteX47" fmla="*/ 3869077 w 4519987"/>
                <a:gd name="connsiteY47" fmla="*/ 3724275 h 4496940"/>
                <a:gd name="connsiteX48" fmla="*/ 3792877 w 4519987"/>
                <a:gd name="connsiteY48" fmla="*/ 3781425 h 4496940"/>
                <a:gd name="connsiteX49" fmla="*/ 3783352 w 4519987"/>
                <a:gd name="connsiteY49" fmla="*/ 3810000 h 4496940"/>
                <a:gd name="connsiteX50" fmla="*/ 3745252 w 4519987"/>
                <a:gd name="connsiteY50" fmla="*/ 3819525 h 4496940"/>
                <a:gd name="connsiteX51" fmla="*/ 3678577 w 4519987"/>
                <a:gd name="connsiteY51" fmla="*/ 3848100 h 4496940"/>
                <a:gd name="connsiteX52" fmla="*/ 3659527 w 4519987"/>
                <a:gd name="connsiteY52" fmla="*/ 3971925 h 4496940"/>
                <a:gd name="connsiteX53" fmla="*/ 3630952 w 4519987"/>
                <a:gd name="connsiteY53" fmla="*/ 4010025 h 4496940"/>
                <a:gd name="connsiteX54" fmla="*/ 3621427 w 4519987"/>
                <a:gd name="connsiteY54" fmla="*/ 4038600 h 4496940"/>
                <a:gd name="connsiteX55" fmla="*/ 3554752 w 4519987"/>
                <a:gd name="connsiteY55" fmla="*/ 4095750 h 4496940"/>
                <a:gd name="connsiteX56" fmla="*/ 3516652 w 4519987"/>
                <a:gd name="connsiteY56" fmla="*/ 4114800 h 4496940"/>
                <a:gd name="connsiteX57" fmla="*/ 3497602 w 4519987"/>
                <a:gd name="connsiteY57" fmla="*/ 4143375 h 4496940"/>
                <a:gd name="connsiteX58" fmla="*/ 3383302 w 4519987"/>
                <a:gd name="connsiteY58" fmla="*/ 4210050 h 4496940"/>
                <a:gd name="connsiteX59" fmla="*/ 3335677 w 4519987"/>
                <a:gd name="connsiteY59" fmla="*/ 4238625 h 4496940"/>
                <a:gd name="connsiteX60" fmla="*/ 3288052 w 4519987"/>
                <a:gd name="connsiteY60" fmla="*/ 4248150 h 4496940"/>
                <a:gd name="connsiteX61" fmla="*/ 3240427 w 4519987"/>
                <a:gd name="connsiteY61" fmla="*/ 4267200 h 4496940"/>
                <a:gd name="connsiteX62" fmla="*/ 3068977 w 4519987"/>
                <a:gd name="connsiteY62" fmla="*/ 4286250 h 4496940"/>
                <a:gd name="connsiteX63" fmla="*/ 2935627 w 4519987"/>
                <a:gd name="connsiteY63" fmla="*/ 4333875 h 4496940"/>
                <a:gd name="connsiteX64" fmla="*/ 2811802 w 4519987"/>
                <a:gd name="connsiteY64" fmla="*/ 4371975 h 4496940"/>
                <a:gd name="connsiteX65" fmla="*/ 2745127 w 4519987"/>
                <a:gd name="connsiteY65" fmla="*/ 4410075 h 4496940"/>
                <a:gd name="connsiteX66" fmla="*/ 2697502 w 4519987"/>
                <a:gd name="connsiteY66" fmla="*/ 4429125 h 4496940"/>
                <a:gd name="connsiteX67" fmla="*/ 2640352 w 4519987"/>
                <a:gd name="connsiteY67" fmla="*/ 4457700 h 4496940"/>
                <a:gd name="connsiteX68" fmla="*/ 2583202 w 4519987"/>
                <a:gd name="connsiteY68" fmla="*/ 4467225 h 4496940"/>
                <a:gd name="connsiteX69" fmla="*/ 2545102 w 4519987"/>
                <a:gd name="connsiteY69" fmla="*/ 4486275 h 4496940"/>
                <a:gd name="connsiteX70" fmla="*/ 2306977 w 4519987"/>
                <a:gd name="connsiteY70" fmla="*/ 4476750 h 4496940"/>
                <a:gd name="connsiteX71" fmla="*/ 2202202 w 4519987"/>
                <a:gd name="connsiteY71" fmla="*/ 4457700 h 4496940"/>
                <a:gd name="connsiteX72" fmla="*/ 2126002 w 4519987"/>
                <a:gd name="connsiteY72" fmla="*/ 4429125 h 4496940"/>
                <a:gd name="connsiteX73" fmla="*/ 1935502 w 4519987"/>
                <a:gd name="connsiteY73" fmla="*/ 4400550 h 4496940"/>
                <a:gd name="connsiteX74" fmla="*/ 1821202 w 4519987"/>
                <a:gd name="connsiteY74" fmla="*/ 4371975 h 4496940"/>
                <a:gd name="connsiteX75" fmla="*/ 1754527 w 4519987"/>
                <a:gd name="connsiteY75" fmla="*/ 4352925 h 4496940"/>
                <a:gd name="connsiteX76" fmla="*/ 1687852 w 4519987"/>
                <a:gd name="connsiteY76" fmla="*/ 4343400 h 4496940"/>
                <a:gd name="connsiteX77" fmla="*/ 1573552 w 4519987"/>
                <a:gd name="connsiteY77" fmla="*/ 4305300 h 4496940"/>
                <a:gd name="connsiteX78" fmla="*/ 1402102 w 4519987"/>
                <a:gd name="connsiteY78" fmla="*/ 4276725 h 4496940"/>
                <a:gd name="connsiteX79" fmla="*/ 1287802 w 4519987"/>
                <a:gd name="connsiteY79" fmla="*/ 4229100 h 4496940"/>
                <a:gd name="connsiteX80" fmla="*/ 1221127 w 4519987"/>
                <a:gd name="connsiteY80" fmla="*/ 4200525 h 4496940"/>
                <a:gd name="connsiteX81" fmla="*/ 1144927 w 4519987"/>
                <a:gd name="connsiteY81" fmla="*/ 4171950 h 4496940"/>
                <a:gd name="connsiteX82" fmla="*/ 1087777 w 4519987"/>
                <a:gd name="connsiteY82" fmla="*/ 4143375 h 4496940"/>
                <a:gd name="connsiteX83" fmla="*/ 1030627 w 4519987"/>
                <a:gd name="connsiteY83" fmla="*/ 4124325 h 4496940"/>
                <a:gd name="connsiteX84" fmla="*/ 925852 w 4519987"/>
                <a:gd name="connsiteY84" fmla="*/ 4067175 h 4496940"/>
                <a:gd name="connsiteX85" fmla="*/ 830602 w 4519987"/>
                <a:gd name="connsiteY85" fmla="*/ 3981450 h 4496940"/>
                <a:gd name="connsiteX86" fmla="*/ 763927 w 4519987"/>
                <a:gd name="connsiteY86" fmla="*/ 3914775 h 4496940"/>
                <a:gd name="connsiteX87" fmla="*/ 725827 w 4519987"/>
                <a:gd name="connsiteY87" fmla="*/ 3876675 h 4496940"/>
                <a:gd name="connsiteX88" fmla="*/ 697252 w 4519987"/>
                <a:gd name="connsiteY88" fmla="*/ 3838575 h 4496940"/>
                <a:gd name="connsiteX89" fmla="*/ 640102 w 4519987"/>
                <a:gd name="connsiteY89" fmla="*/ 3781425 h 4496940"/>
                <a:gd name="connsiteX90" fmla="*/ 611527 w 4519987"/>
                <a:gd name="connsiteY90" fmla="*/ 3733800 h 4496940"/>
                <a:gd name="connsiteX91" fmla="*/ 554377 w 4519987"/>
                <a:gd name="connsiteY91" fmla="*/ 3657600 h 4496940"/>
                <a:gd name="connsiteX92" fmla="*/ 525802 w 4519987"/>
                <a:gd name="connsiteY92" fmla="*/ 3609975 h 4496940"/>
                <a:gd name="connsiteX93" fmla="*/ 497227 w 4519987"/>
                <a:gd name="connsiteY93" fmla="*/ 3552825 h 4496940"/>
                <a:gd name="connsiteX94" fmla="*/ 440077 w 4519987"/>
                <a:gd name="connsiteY94" fmla="*/ 3495675 h 4496940"/>
                <a:gd name="connsiteX95" fmla="*/ 411502 w 4519987"/>
                <a:gd name="connsiteY95" fmla="*/ 3448050 h 4496940"/>
                <a:gd name="connsiteX96" fmla="*/ 278152 w 4519987"/>
                <a:gd name="connsiteY96" fmla="*/ 3257550 h 4496940"/>
                <a:gd name="connsiteX97" fmla="*/ 249577 w 4519987"/>
                <a:gd name="connsiteY97" fmla="*/ 3200400 h 4496940"/>
                <a:gd name="connsiteX98" fmla="*/ 240052 w 4519987"/>
                <a:gd name="connsiteY98" fmla="*/ 3162300 h 4496940"/>
                <a:gd name="connsiteX99" fmla="*/ 221002 w 4519987"/>
                <a:gd name="connsiteY99" fmla="*/ 3105150 h 4496940"/>
                <a:gd name="connsiteX100" fmla="*/ 173377 w 4519987"/>
                <a:gd name="connsiteY100" fmla="*/ 3019425 h 4496940"/>
                <a:gd name="connsiteX101" fmla="*/ 144802 w 4519987"/>
                <a:gd name="connsiteY101" fmla="*/ 2924175 h 4496940"/>
                <a:gd name="connsiteX102" fmla="*/ 68602 w 4519987"/>
                <a:gd name="connsiteY102" fmla="*/ 2724150 h 4496940"/>
                <a:gd name="connsiteX103" fmla="*/ 49552 w 4519987"/>
                <a:gd name="connsiteY103" fmla="*/ 2638425 h 4496940"/>
                <a:gd name="connsiteX104" fmla="*/ 40027 w 4519987"/>
                <a:gd name="connsiteY104" fmla="*/ 2562225 h 4496940"/>
                <a:gd name="connsiteX105" fmla="*/ 30502 w 4519987"/>
                <a:gd name="connsiteY105" fmla="*/ 2514600 h 4496940"/>
                <a:gd name="connsiteX106" fmla="*/ 11452 w 4519987"/>
                <a:gd name="connsiteY106" fmla="*/ 2400300 h 4496940"/>
                <a:gd name="connsiteX107" fmla="*/ 20977 w 4519987"/>
                <a:gd name="connsiteY107" fmla="*/ 1905000 h 4496940"/>
                <a:gd name="connsiteX108" fmla="*/ 30502 w 4519987"/>
                <a:gd name="connsiteY108" fmla="*/ 1838325 h 4496940"/>
                <a:gd name="connsiteX109" fmla="*/ 49552 w 4519987"/>
                <a:gd name="connsiteY109" fmla="*/ 1781175 h 4496940"/>
                <a:gd name="connsiteX110" fmla="*/ 59077 w 4519987"/>
                <a:gd name="connsiteY110" fmla="*/ 1743075 h 4496940"/>
                <a:gd name="connsiteX111" fmla="*/ 78127 w 4519987"/>
                <a:gd name="connsiteY111" fmla="*/ 1685925 h 4496940"/>
                <a:gd name="connsiteX112" fmla="*/ 87652 w 4519987"/>
                <a:gd name="connsiteY112" fmla="*/ 1638300 h 4496940"/>
                <a:gd name="connsiteX113" fmla="*/ 106702 w 4519987"/>
                <a:gd name="connsiteY113" fmla="*/ 1590675 h 4496940"/>
                <a:gd name="connsiteX114" fmla="*/ 135277 w 4519987"/>
                <a:gd name="connsiteY114" fmla="*/ 1504950 h 4496940"/>
                <a:gd name="connsiteX115" fmla="*/ 154327 w 4519987"/>
                <a:gd name="connsiteY115" fmla="*/ 1419225 h 4496940"/>
                <a:gd name="connsiteX116" fmla="*/ 230527 w 4519987"/>
                <a:gd name="connsiteY116" fmla="*/ 1276350 h 4496940"/>
                <a:gd name="connsiteX117" fmla="*/ 240052 w 4519987"/>
                <a:gd name="connsiteY117" fmla="*/ 1247775 h 4496940"/>
                <a:gd name="connsiteX118" fmla="*/ 268627 w 4519987"/>
                <a:gd name="connsiteY118" fmla="*/ 1200150 h 4496940"/>
                <a:gd name="connsiteX119" fmla="*/ 287677 w 4519987"/>
                <a:gd name="connsiteY119" fmla="*/ 1152525 h 4496940"/>
                <a:gd name="connsiteX120" fmla="*/ 316252 w 4519987"/>
                <a:gd name="connsiteY120" fmla="*/ 1114425 h 4496940"/>
                <a:gd name="connsiteX121" fmla="*/ 363877 w 4519987"/>
                <a:gd name="connsiteY121" fmla="*/ 1038225 h 4496940"/>
                <a:gd name="connsiteX122" fmla="*/ 382927 w 4519987"/>
                <a:gd name="connsiteY122" fmla="*/ 1009650 h 4496940"/>
                <a:gd name="connsiteX123" fmla="*/ 440077 w 4519987"/>
                <a:gd name="connsiteY123" fmla="*/ 904875 h 4496940"/>
                <a:gd name="connsiteX124" fmla="*/ 478177 w 4519987"/>
                <a:gd name="connsiteY124" fmla="*/ 857250 h 4496940"/>
                <a:gd name="connsiteX125" fmla="*/ 497227 w 4519987"/>
                <a:gd name="connsiteY125" fmla="*/ 828675 h 4496940"/>
                <a:gd name="connsiteX126" fmla="*/ 535327 w 4519987"/>
                <a:gd name="connsiteY126" fmla="*/ 800100 h 4496940"/>
                <a:gd name="connsiteX127" fmla="*/ 602002 w 4519987"/>
                <a:gd name="connsiteY127" fmla="*/ 733425 h 4496940"/>
                <a:gd name="connsiteX128" fmla="*/ 668677 w 4519987"/>
                <a:gd name="connsiteY128" fmla="*/ 676275 h 4496940"/>
                <a:gd name="connsiteX129" fmla="*/ 697252 w 4519987"/>
                <a:gd name="connsiteY129" fmla="*/ 657225 h 4496940"/>
                <a:gd name="connsiteX130" fmla="*/ 840127 w 4519987"/>
                <a:gd name="connsiteY130" fmla="*/ 533400 h 4496940"/>
                <a:gd name="connsiteX131" fmla="*/ 887752 w 4519987"/>
                <a:gd name="connsiteY131" fmla="*/ 504825 h 4496940"/>
                <a:gd name="connsiteX132" fmla="*/ 1167152 w 4519987"/>
                <a:gd name="connsiteY132" fmla="*/ 311150 h 4496940"/>
                <a:gd name="connsiteX133" fmla="*/ 1268752 w 4519987"/>
                <a:gd name="connsiteY133" fmla="*/ 285750 h 4496940"/>
                <a:gd name="connsiteX134" fmla="*/ 1411627 w 4519987"/>
                <a:gd name="connsiteY134" fmla="*/ 190500 h 4496940"/>
                <a:gd name="connsiteX135" fmla="*/ 1449727 w 4519987"/>
                <a:gd name="connsiteY135" fmla="*/ 161925 h 4496940"/>
                <a:gd name="connsiteX136" fmla="*/ 1525927 w 4519987"/>
                <a:gd name="connsiteY136" fmla="*/ 152400 h 4496940"/>
                <a:gd name="connsiteX137" fmla="*/ 1583077 w 4519987"/>
                <a:gd name="connsiteY137" fmla="*/ 142875 h 4496940"/>
                <a:gd name="connsiteX138" fmla="*/ 1716427 w 4519987"/>
                <a:gd name="connsiteY138" fmla="*/ 123825 h 4496940"/>
                <a:gd name="connsiteX139" fmla="*/ 1811677 w 4519987"/>
                <a:gd name="connsiteY139" fmla="*/ 114300 h 4496940"/>
                <a:gd name="connsiteX140" fmla="*/ 1859302 w 4519987"/>
                <a:gd name="connsiteY140" fmla="*/ 104775 h 4496940"/>
                <a:gd name="connsiteX141" fmla="*/ 1916452 w 4519987"/>
                <a:gd name="connsiteY141" fmla="*/ 95250 h 4496940"/>
                <a:gd name="connsiteX142" fmla="*/ 2030752 w 4519987"/>
                <a:gd name="connsiteY142" fmla="*/ 66675 h 4496940"/>
                <a:gd name="connsiteX143" fmla="*/ 2097427 w 4519987"/>
                <a:gd name="connsiteY143" fmla="*/ 47625 h 4496940"/>
                <a:gd name="connsiteX144" fmla="*/ 2164102 w 4519987"/>
                <a:gd name="connsiteY144" fmla="*/ 38100 h 4496940"/>
                <a:gd name="connsiteX145" fmla="*/ 2392702 w 4519987"/>
                <a:gd name="connsiteY14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259602 w 4519987"/>
                <a:gd name="connsiteY24" fmla="*/ 1190625 h 4496940"/>
                <a:gd name="connsiteX25" fmla="*/ 4307227 w 4519987"/>
                <a:gd name="connsiteY25" fmla="*/ 1266825 h 4496940"/>
                <a:gd name="connsiteX26" fmla="*/ 4345327 w 4519987"/>
                <a:gd name="connsiteY26" fmla="*/ 1362075 h 4496940"/>
                <a:gd name="connsiteX27" fmla="*/ 4373902 w 4519987"/>
                <a:gd name="connsiteY27" fmla="*/ 1428750 h 4496940"/>
                <a:gd name="connsiteX28" fmla="*/ 4392952 w 4519987"/>
                <a:gd name="connsiteY28" fmla="*/ 1552575 h 4496940"/>
                <a:gd name="connsiteX29" fmla="*/ 4402477 w 4519987"/>
                <a:gd name="connsiteY29" fmla="*/ 1590675 h 4496940"/>
                <a:gd name="connsiteX30" fmla="*/ 4431052 w 4519987"/>
                <a:gd name="connsiteY30" fmla="*/ 1685925 h 4496940"/>
                <a:gd name="connsiteX31" fmla="*/ 4519952 w 4519987"/>
                <a:gd name="connsiteY31" fmla="*/ 2181225 h 4496940"/>
                <a:gd name="connsiteX32" fmla="*/ 4446927 w 4519987"/>
                <a:gd name="connsiteY32" fmla="*/ 2768600 h 4496940"/>
                <a:gd name="connsiteX33" fmla="*/ 4383427 w 4519987"/>
                <a:gd name="connsiteY33" fmla="*/ 2990850 h 4496940"/>
                <a:gd name="connsiteX34" fmla="*/ 4278652 w 4519987"/>
                <a:gd name="connsiteY34" fmla="*/ 3248025 h 4496940"/>
                <a:gd name="connsiteX35" fmla="*/ 4259602 w 4519987"/>
                <a:gd name="connsiteY35" fmla="*/ 3276600 h 4496940"/>
                <a:gd name="connsiteX36" fmla="*/ 4221502 w 4519987"/>
                <a:gd name="connsiteY36" fmla="*/ 3333750 h 4496940"/>
                <a:gd name="connsiteX37" fmla="*/ 4211977 w 4519987"/>
                <a:gd name="connsiteY37" fmla="*/ 3362325 h 4496940"/>
                <a:gd name="connsiteX38" fmla="*/ 4183402 w 4519987"/>
                <a:gd name="connsiteY38" fmla="*/ 3400425 h 4496940"/>
                <a:gd name="connsiteX39" fmla="*/ 4164352 w 4519987"/>
                <a:gd name="connsiteY39" fmla="*/ 3429000 h 4496940"/>
                <a:gd name="connsiteX40" fmla="*/ 4088152 w 4519987"/>
                <a:gd name="connsiteY40" fmla="*/ 3495675 h 4496940"/>
                <a:gd name="connsiteX41" fmla="*/ 4059577 w 4519987"/>
                <a:gd name="connsiteY41" fmla="*/ 3533775 h 4496940"/>
                <a:gd name="connsiteX42" fmla="*/ 4002427 w 4519987"/>
                <a:gd name="connsiteY42" fmla="*/ 3600450 h 4496940"/>
                <a:gd name="connsiteX43" fmla="*/ 3983377 w 4519987"/>
                <a:gd name="connsiteY43" fmla="*/ 3629025 h 4496940"/>
                <a:gd name="connsiteX44" fmla="*/ 3954802 w 4519987"/>
                <a:gd name="connsiteY44" fmla="*/ 3648075 h 4496940"/>
                <a:gd name="connsiteX45" fmla="*/ 3907177 w 4519987"/>
                <a:gd name="connsiteY45" fmla="*/ 3686175 h 4496940"/>
                <a:gd name="connsiteX46" fmla="*/ 3869077 w 4519987"/>
                <a:gd name="connsiteY46" fmla="*/ 3724275 h 4496940"/>
                <a:gd name="connsiteX47" fmla="*/ 3792877 w 4519987"/>
                <a:gd name="connsiteY47" fmla="*/ 3781425 h 4496940"/>
                <a:gd name="connsiteX48" fmla="*/ 3783352 w 4519987"/>
                <a:gd name="connsiteY48" fmla="*/ 3810000 h 4496940"/>
                <a:gd name="connsiteX49" fmla="*/ 3745252 w 4519987"/>
                <a:gd name="connsiteY49" fmla="*/ 3819525 h 4496940"/>
                <a:gd name="connsiteX50" fmla="*/ 3678577 w 4519987"/>
                <a:gd name="connsiteY50" fmla="*/ 3848100 h 4496940"/>
                <a:gd name="connsiteX51" fmla="*/ 3659527 w 4519987"/>
                <a:gd name="connsiteY51" fmla="*/ 3971925 h 4496940"/>
                <a:gd name="connsiteX52" fmla="*/ 3630952 w 4519987"/>
                <a:gd name="connsiteY52" fmla="*/ 4010025 h 4496940"/>
                <a:gd name="connsiteX53" fmla="*/ 3621427 w 4519987"/>
                <a:gd name="connsiteY53" fmla="*/ 4038600 h 4496940"/>
                <a:gd name="connsiteX54" fmla="*/ 3554752 w 4519987"/>
                <a:gd name="connsiteY54" fmla="*/ 4095750 h 4496940"/>
                <a:gd name="connsiteX55" fmla="*/ 3516652 w 4519987"/>
                <a:gd name="connsiteY55" fmla="*/ 4114800 h 4496940"/>
                <a:gd name="connsiteX56" fmla="*/ 3497602 w 4519987"/>
                <a:gd name="connsiteY56" fmla="*/ 4143375 h 4496940"/>
                <a:gd name="connsiteX57" fmla="*/ 3383302 w 4519987"/>
                <a:gd name="connsiteY57" fmla="*/ 4210050 h 4496940"/>
                <a:gd name="connsiteX58" fmla="*/ 3335677 w 4519987"/>
                <a:gd name="connsiteY58" fmla="*/ 4238625 h 4496940"/>
                <a:gd name="connsiteX59" fmla="*/ 3288052 w 4519987"/>
                <a:gd name="connsiteY59" fmla="*/ 4248150 h 4496940"/>
                <a:gd name="connsiteX60" fmla="*/ 3240427 w 4519987"/>
                <a:gd name="connsiteY60" fmla="*/ 4267200 h 4496940"/>
                <a:gd name="connsiteX61" fmla="*/ 3068977 w 4519987"/>
                <a:gd name="connsiteY61" fmla="*/ 4286250 h 4496940"/>
                <a:gd name="connsiteX62" fmla="*/ 2935627 w 4519987"/>
                <a:gd name="connsiteY62" fmla="*/ 4333875 h 4496940"/>
                <a:gd name="connsiteX63" fmla="*/ 2811802 w 4519987"/>
                <a:gd name="connsiteY63" fmla="*/ 4371975 h 4496940"/>
                <a:gd name="connsiteX64" fmla="*/ 2745127 w 4519987"/>
                <a:gd name="connsiteY64" fmla="*/ 4410075 h 4496940"/>
                <a:gd name="connsiteX65" fmla="*/ 2697502 w 4519987"/>
                <a:gd name="connsiteY65" fmla="*/ 4429125 h 4496940"/>
                <a:gd name="connsiteX66" fmla="*/ 2640352 w 4519987"/>
                <a:gd name="connsiteY66" fmla="*/ 4457700 h 4496940"/>
                <a:gd name="connsiteX67" fmla="*/ 2583202 w 4519987"/>
                <a:gd name="connsiteY67" fmla="*/ 4467225 h 4496940"/>
                <a:gd name="connsiteX68" fmla="*/ 2545102 w 4519987"/>
                <a:gd name="connsiteY68" fmla="*/ 4486275 h 4496940"/>
                <a:gd name="connsiteX69" fmla="*/ 2306977 w 4519987"/>
                <a:gd name="connsiteY69" fmla="*/ 4476750 h 4496940"/>
                <a:gd name="connsiteX70" fmla="*/ 2202202 w 4519987"/>
                <a:gd name="connsiteY70" fmla="*/ 4457700 h 4496940"/>
                <a:gd name="connsiteX71" fmla="*/ 2126002 w 4519987"/>
                <a:gd name="connsiteY71" fmla="*/ 4429125 h 4496940"/>
                <a:gd name="connsiteX72" fmla="*/ 1935502 w 4519987"/>
                <a:gd name="connsiteY72" fmla="*/ 4400550 h 4496940"/>
                <a:gd name="connsiteX73" fmla="*/ 1821202 w 4519987"/>
                <a:gd name="connsiteY73" fmla="*/ 4371975 h 4496940"/>
                <a:gd name="connsiteX74" fmla="*/ 1754527 w 4519987"/>
                <a:gd name="connsiteY74" fmla="*/ 4352925 h 4496940"/>
                <a:gd name="connsiteX75" fmla="*/ 1687852 w 4519987"/>
                <a:gd name="connsiteY75" fmla="*/ 4343400 h 4496940"/>
                <a:gd name="connsiteX76" fmla="*/ 1573552 w 4519987"/>
                <a:gd name="connsiteY76" fmla="*/ 4305300 h 4496940"/>
                <a:gd name="connsiteX77" fmla="*/ 1402102 w 4519987"/>
                <a:gd name="connsiteY77" fmla="*/ 4276725 h 4496940"/>
                <a:gd name="connsiteX78" fmla="*/ 1287802 w 4519987"/>
                <a:gd name="connsiteY78" fmla="*/ 4229100 h 4496940"/>
                <a:gd name="connsiteX79" fmla="*/ 1221127 w 4519987"/>
                <a:gd name="connsiteY79" fmla="*/ 4200525 h 4496940"/>
                <a:gd name="connsiteX80" fmla="*/ 1144927 w 4519987"/>
                <a:gd name="connsiteY80" fmla="*/ 4171950 h 4496940"/>
                <a:gd name="connsiteX81" fmla="*/ 1087777 w 4519987"/>
                <a:gd name="connsiteY81" fmla="*/ 4143375 h 4496940"/>
                <a:gd name="connsiteX82" fmla="*/ 1030627 w 4519987"/>
                <a:gd name="connsiteY82" fmla="*/ 4124325 h 4496940"/>
                <a:gd name="connsiteX83" fmla="*/ 925852 w 4519987"/>
                <a:gd name="connsiteY83" fmla="*/ 4067175 h 4496940"/>
                <a:gd name="connsiteX84" fmla="*/ 830602 w 4519987"/>
                <a:gd name="connsiteY84" fmla="*/ 3981450 h 4496940"/>
                <a:gd name="connsiteX85" fmla="*/ 763927 w 4519987"/>
                <a:gd name="connsiteY85" fmla="*/ 3914775 h 4496940"/>
                <a:gd name="connsiteX86" fmla="*/ 725827 w 4519987"/>
                <a:gd name="connsiteY86" fmla="*/ 3876675 h 4496940"/>
                <a:gd name="connsiteX87" fmla="*/ 697252 w 4519987"/>
                <a:gd name="connsiteY87" fmla="*/ 3838575 h 4496940"/>
                <a:gd name="connsiteX88" fmla="*/ 640102 w 4519987"/>
                <a:gd name="connsiteY88" fmla="*/ 3781425 h 4496940"/>
                <a:gd name="connsiteX89" fmla="*/ 611527 w 4519987"/>
                <a:gd name="connsiteY89" fmla="*/ 3733800 h 4496940"/>
                <a:gd name="connsiteX90" fmla="*/ 554377 w 4519987"/>
                <a:gd name="connsiteY90" fmla="*/ 3657600 h 4496940"/>
                <a:gd name="connsiteX91" fmla="*/ 525802 w 4519987"/>
                <a:gd name="connsiteY91" fmla="*/ 3609975 h 4496940"/>
                <a:gd name="connsiteX92" fmla="*/ 497227 w 4519987"/>
                <a:gd name="connsiteY92" fmla="*/ 3552825 h 4496940"/>
                <a:gd name="connsiteX93" fmla="*/ 440077 w 4519987"/>
                <a:gd name="connsiteY93" fmla="*/ 3495675 h 4496940"/>
                <a:gd name="connsiteX94" fmla="*/ 411502 w 4519987"/>
                <a:gd name="connsiteY94" fmla="*/ 3448050 h 4496940"/>
                <a:gd name="connsiteX95" fmla="*/ 278152 w 4519987"/>
                <a:gd name="connsiteY95" fmla="*/ 3257550 h 4496940"/>
                <a:gd name="connsiteX96" fmla="*/ 249577 w 4519987"/>
                <a:gd name="connsiteY96" fmla="*/ 3200400 h 4496940"/>
                <a:gd name="connsiteX97" fmla="*/ 240052 w 4519987"/>
                <a:gd name="connsiteY97" fmla="*/ 3162300 h 4496940"/>
                <a:gd name="connsiteX98" fmla="*/ 221002 w 4519987"/>
                <a:gd name="connsiteY98" fmla="*/ 3105150 h 4496940"/>
                <a:gd name="connsiteX99" fmla="*/ 173377 w 4519987"/>
                <a:gd name="connsiteY99" fmla="*/ 3019425 h 4496940"/>
                <a:gd name="connsiteX100" fmla="*/ 144802 w 4519987"/>
                <a:gd name="connsiteY100" fmla="*/ 2924175 h 4496940"/>
                <a:gd name="connsiteX101" fmla="*/ 68602 w 4519987"/>
                <a:gd name="connsiteY101" fmla="*/ 2724150 h 4496940"/>
                <a:gd name="connsiteX102" fmla="*/ 49552 w 4519987"/>
                <a:gd name="connsiteY102" fmla="*/ 2638425 h 4496940"/>
                <a:gd name="connsiteX103" fmla="*/ 40027 w 4519987"/>
                <a:gd name="connsiteY103" fmla="*/ 2562225 h 4496940"/>
                <a:gd name="connsiteX104" fmla="*/ 30502 w 4519987"/>
                <a:gd name="connsiteY104" fmla="*/ 2514600 h 4496940"/>
                <a:gd name="connsiteX105" fmla="*/ 11452 w 4519987"/>
                <a:gd name="connsiteY105" fmla="*/ 2400300 h 4496940"/>
                <a:gd name="connsiteX106" fmla="*/ 20977 w 4519987"/>
                <a:gd name="connsiteY106" fmla="*/ 1905000 h 4496940"/>
                <a:gd name="connsiteX107" fmla="*/ 30502 w 4519987"/>
                <a:gd name="connsiteY107" fmla="*/ 1838325 h 4496940"/>
                <a:gd name="connsiteX108" fmla="*/ 49552 w 4519987"/>
                <a:gd name="connsiteY108" fmla="*/ 1781175 h 4496940"/>
                <a:gd name="connsiteX109" fmla="*/ 59077 w 4519987"/>
                <a:gd name="connsiteY109" fmla="*/ 1743075 h 4496940"/>
                <a:gd name="connsiteX110" fmla="*/ 78127 w 4519987"/>
                <a:gd name="connsiteY110" fmla="*/ 1685925 h 4496940"/>
                <a:gd name="connsiteX111" fmla="*/ 87652 w 4519987"/>
                <a:gd name="connsiteY111" fmla="*/ 1638300 h 4496940"/>
                <a:gd name="connsiteX112" fmla="*/ 106702 w 4519987"/>
                <a:gd name="connsiteY112" fmla="*/ 1590675 h 4496940"/>
                <a:gd name="connsiteX113" fmla="*/ 135277 w 4519987"/>
                <a:gd name="connsiteY113" fmla="*/ 1504950 h 4496940"/>
                <a:gd name="connsiteX114" fmla="*/ 154327 w 4519987"/>
                <a:gd name="connsiteY114" fmla="*/ 1419225 h 4496940"/>
                <a:gd name="connsiteX115" fmla="*/ 230527 w 4519987"/>
                <a:gd name="connsiteY115" fmla="*/ 1276350 h 4496940"/>
                <a:gd name="connsiteX116" fmla="*/ 240052 w 4519987"/>
                <a:gd name="connsiteY116" fmla="*/ 1247775 h 4496940"/>
                <a:gd name="connsiteX117" fmla="*/ 268627 w 4519987"/>
                <a:gd name="connsiteY117" fmla="*/ 1200150 h 4496940"/>
                <a:gd name="connsiteX118" fmla="*/ 287677 w 4519987"/>
                <a:gd name="connsiteY118" fmla="*/ 1152525 h 4496940"/>
                <a:gd name="connsiteX119" fmla="*/ 316252 w 4519987"/>
                <a:gd name="connsiteY119" fmla="*/ 1114425 h 4496940"/>
                <a:gd name="connsiteX120" fmla="*/ 363877 w 4519987"/>
                <a:gd name="connsiteY120" fmla="*/ 1038225 h 4496940"/>
                <a:gd name="connsiteX121" fmla="*/ 382927 w 4519987"/>
                <a:gd name="connsiteY121" fmla="*/ 1009650 h 4496940"/>
                <a:gd name="connsiteX122" fmla="*/ 440077 w 4519987"/>
                <a:gd name="connsiteY122" fmla="*/ 904875 h 4496940"/>
                <a:gd name="connsiteX123" fmla="*/ 478177 w 4519987"/>
                <a:gd name="connsiteY123" fmla="*/ 857250 h 4496940"/>
                <a:gd name="connsiteX124" fmla="*/ 497227 w 4519987"/>
                <a:gd name="connsiteY124" fmla="*/ 828675 h 4496940"/>
                <a:gd name="connsiteX125" fmla="*/ 535327 w 4519987"/>
                <a:gd name="connsiteY125" fmla="*/ 800100 h 4496940"/>
                <a:gd name="connsiteX126" fmla="*/ 602002 w 4519987"/>
                <a:gd name="connsiteY126" fmla="*/ 733425 h 4496940"/>
                <a:gd name="connsiteX127" fmla="*/ 668677 w 4519987"/>
                <a:gd name="connsiteY127" fmla="*/ 676275 h 4496940"/>
                <a:gd name="connsiteX128" fmla="*/ 697252 w 4519987"/>
                <a:gd name="connsiteY128" fmla="*/ 657225 h 4496940"/>
                <a:gd name="connsiteX129" fmla="*/ 840127 w 4519987"/>
                <a:gd name="connsiteY129" fmla="*/ 533400 h 4496940"/>
                <a:gd name="connsiteX130" fmla="*/ 887752 w 4519987"/>
                <a:gd name="connsiteY130" fmla="*/ 504825 h 4496940"/>
                <a:gd name="connsiteX131" fmla="*/ 1167152 w 4519987"/>
                <a:gd name="connsiteY131" fmla="*/ 311150 h 4496940"/>
                <a:gd name="connsiteX132" fmla="*/ 1268752 w 4519987"/>
                <a:gd name="connsiteY132" fmla="*/ 285750 h 4496940"/>
                <a:gd name="connsiteX133" fmla="*/ 1411627 w 4519987"/>
                <a:gd name="connsiteY133" fmla="*/ 190500 h 4496940"/>
                <a:gd name="connsiteX134" fmla="*/ 1449727 w 4519987"/>
                <a:gd name="connsiteY134" fmla="*/ 161925 h 4496940"/>
                <a:gd name="connsiteX135" fmla="*/ 1525927 w 4519987"/>
                <a:gd name="connsiteY135" fmla="*/ 152400 h 4496940"/>
                <a:gd name="connsiteX136" fmla="*/ 1583077 w 4519987"/>
                <a:gd name="connsiteY136" fmla="*/ 142875 h 4496940"/>
                <a:gd name="connsiteX137" fmla="*/ 1716427 w 4519987"/>
                <a:gd name="connsiteY137" fmla="*/ 123825 h 4496940"/>
                <a:gd name="connsiteX138" fmla="*/ 1811677 w 4519987"/>
                <a:gd name="connsiteY138" fmla="*/ 114300 h 4496940"/>
                <a:gd name="connsiteX139" fmla="*/ 1859302 w 4519987"/>
                <a:gd name="connsiteY139" fmla="*/ 104775 h 4496940"/>
                <a:gd name="connsiteX140" fmla="*/ 1916452 w 4519987"/>
                <a:gd name="connsiteY140" fmla="*/ 95250 h 4496940"/>
                <a:gd name="connsiteX141" fmla="*/ 2030752 w 4519987"/>
                <a:gd name="connsiteY141" fmla="*/ 66675 h 4496940"/>
                <a:gd name="connsiteX142" fmla="*/ 2097427 w 4519987"/>
                <a:gd name="connsiteY142" fmla="*/ 47625 h 4496940"/>
                <a:gd name="connsiteX143" fmla="*/ 2164102 w 4519987"/>
                <a:gd name="connsiteY143" fmla="*/ 38100 h 4496940"/>
                <a:gd name="connsiteX144" fmla="*/ 2392702 w 4519987"/>
                <a:gd name="connsiteY14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73902 w 4519987"/>
                <a:gd name="connsiteY26" fmla="*/ 1428750 h 4496940"/>
                <a:gd name="connsiteX27" fmla="*/ 4392952 w 4519987"/>
                <a:gd name="connsiteY27" fmla="*/ 1552575 h 4496940"/>
                <a:gd name="connsiteX28" fmla="*/ 4402477 w 4519987"/>
                <a:gd name="connsiteY28" fmla="*/ 1590675 h 4496940"/>
                <a:gd name="connsiteX29" fmla="*/ 4431052 w 4519987"/>
                <a:gd name="connsiteY29" fmla="*/ 1685925 h 4496940"/>
                <a:gd name="connsiteX30" fmla="*/ 4519952 w 4519987"/>
                <a:gd name="connsiteY30" fmla="*/ 2181225 h 4496940"/>
                <a:gd name="connsiteX31" fmla="*/ 4446927 w 4519987"/>
                <a:gd name="connsiteY31" fmla="*/ 2768600 h 4496940"/>
                <a:gd name="connsiteX32" fmla="*/ 4383427 w 4519987"/>
                <a:gd name="connsiteY32" fmla="*/ 2990850 h 4496940"/>
                <a:gd name="connsiteX33" fmla="*/ 4278652 w 4519987"/>
                <a:gd name="connsiteY33" fmla="*/ 3248025 h 4496940"/>
                <a:gd name="connsiteX34" fmla="*/ 4259602 w 4519987"/>
                <a:gd name="connsiteY34" fmla="*/ 3276600 h 4496940"/>
                <a:gd name="connsiteX35" fmla="*/ 4221502 w 4519987"/>
                <a:gd name="connsiteY35" fmla="*/ 3333750 h 4496940"/>
                <a:gd name="connsiteX36" fmla="*/ 4211977 w 4519987"/>
                <a:gd name="connsiteY36" fmla="*/ 3362325 h 4496940"/>
                <a:gd name="connsiteX37" fmla="*/ 4183402 w 4519987"/>
                <a:gd name="connsiteY37" fmla="*/ 3400425 h 4496940"/>
                <a:gd name="connsiteX38" fmla="*/ 4164352 w 4519987"/>
                <a:gd name="connsiteY38" fmla="*/ 3429000 h 4496940"/>
                <a:gd name="connsiteX39" fmla="*/ 4088152 w 4519987"/>
                <a:gd name="connsiteY39" fmla="*/ 3495675 h 4496940"/>
                <a:gd name="connsiteX40" fmla="*/ 4059577 w 4519987"/>
                <a:gd name="connsiteY40" fmla="*/ 3533775 h 4496940"/>
                <a:gd name="connsiteX41" fmla="*/ 4002427 w 4519987"/>
                <a:gd name="connsiteY41" fmla="*/ 3600450 h 4496940"/>
                <a:gd name="connsiteX42" fmla="*/ 3983377 w 4519987"/>
                <a:gd name="connsiteY42" fmla="*/ 3629025 h 4496940"/>
                <a:gd name="connsiteX43" fmla="*/ 3954802 w 4519987"/>
                <a:gd name="connsiteY43" fmla="*/ 3648075 h 4496940"/>
                <a:gd name="connsiteX44" fmla="*/ 3907177 w 4519987"/>
                <a:gd name="connsiteY44" fmla="*/ 3686175 h 4496940"/>
                <a:gd name="connsiteX45" fmla="*/ 3869077 w 4519987"/>
                <a:gd name="connsiteY45" fmla="*/ 3724275 h 4496940"/>
                <a:gd name="connsiteX46" fmla="*/ 3792877 w 4519987"/>
                <a:gd name="connsiteY46" fmla="*/ 3781425 h 4496940"/>
                <a:gd name="connsiteX47" fmla="*/ 3783352 w 4519987"/>
                <a:gd name="connsiteY47" fmla="*/ 3810000 h 4496940"/>
                <a:gd name="connsiteX48" fmla="*/ 3745252 w 4519987"/>
                <a:gd name="connsiteY48" fmla="*/ 3819525 h 4496940"/>
                <a:gd name="connsiteX49" fmla="*/ 3678577 w 4519987"/>
                <a:gd name="connsiteY49" fmla="*/ 3848100 h 4496940"/>
                <a:gd name="connsiteX50" fmla="*/ 3659527 w 4519987"/>
                <a:gd name="connsiteY50" fmla="*/ 3971925 h 4496940"/>
                <a:gd name="connsiteX51" fmla="*/ 3630952 w 4519987"/>
                <a:gd name="connsiteY51" fmla="*/ 4010025 h 4496940"/>
                <a:gd name="connsiteX52" fmla="*/ 3621427 w 4519987"/>
                <a:gd name="connsiteY52" fmla="*/ 4038600 h 4496940"/>
                <a:gd name="connsiteX53" fmla="*/ 3554752 w 4519987"/>
                <a:gd name="connsiteY53" fmla="*/ 4095750 h 4496940"/>
                <a:gd name="connsiteX54" fmla="*/ 3516652 w 4519987"/>
                <a:gd name="connsiteY54" fmla="*/ 4114800 h 4496940"/>
                <a:gd name="connsiteX55" fmla="*/ 3497602 w 4519987"/>
                <a:gd name="connsiteY55" fmla="*/ 4143375 h 4496940"/>
                <a:gd name="connsiteX56" fmla="*/ 3383302 w 4519987"/>
                <a:gd name="connsiteY56" fmla="*/ 4210050 h 4496940"/>
                <a:gd name="connsiteX57" fmla="*/ 3335677 w 4519987"/>
                <a:gd name="connsiteY57" fmla="*/ 4238625 h 4496940"/>
                <a:gd name="connsiteX58" fmla="*/ 3288052 w 4519987"/>
                <a:gd name="connsiteY58" fmla="*/ 4248150 h 4496940"/>
                <a:gd name="connsiteX59" fmla="*/ 3240427 w 4519987"/>
                <a:gd name="connsiteY59" fmla="*/ 4267200 h 4496940"/>
                <a:gd name="connsiteX60" fmla="*/ 3068977 w 4519987"/>
                <a:gd name="connsiteY60" fmla="*/ 4286250 h 4496940"/>
                <a:gd name="connsiteX61" fmla="*/ 2935627 w 4519987"/>
                <a:gd name="connsiteY61" fmla="*/ 4333875 h 4496940"/>
                <a:gd name="connsiteX62" fmla="*/ 2811802 w 4519987"/>
                <a:gd name="connsiteY62" fmla="*/ 4371975 h 4496940"/>
                <a:gd name="connsiteX63" fmla="*/ 2745127 w 4519987"/>
                <a:gd name="connsiteY63" fmla="*/ 4410075 h 4496940"/>
                <a:gd name="connsiteX64" fmla="*/ 2697502 w 4519987"/>
                <a:gd name="connsiteY64" fmla="*/ 4429125 h 4496940"/>
                <a:gd name="connsiteX65" fmla="*/ 2640352 w 4519987"/>
                <a:gd name="connsiteY65" fmla="*/ 4457700 h 4496940"/>
                <a:gd name="connsiteX66" fmla="*/ 2583202 w 4519987"/>
                <a:gd name="connsiteY66" fmla="*/ 4467225 h 4496940"/>
                <a:gd name="connsiteX67" fmla="*/ 2545102 w 4519987"/>
                <a:gd name="connsiteY67" fmla="*/ 4486275 h 4496940"/>
                <a:gd name="connsiteX68" fmla="*/ 2306977 w 4519987"/>
                <a:gd name="connsiteY68" fmla="*/ 4476750 h 4496940"/>
                <a:gd name="connsiteX69" fmla="*/ 2202202 w 4519987"/>
                <a:gd name="connsiteY69" fmla="*/ 4457700 h 4496940"/>
                <a:gd name="connsiteX70" fmla="*/ 2126002 w 4519987"/>
                <a:gd name="connsiteY70" fmla="*/ 4429125 h 4496940"/>
                <a:gd name="connsiteX71" fmla="*/ 1935502 w 4519987"/>
                <a:gd name="connsiteY71" fmla="*/ 4400550 h 4496940"/>
                <a:gd name="connsiteX72" fmla="*/ 1821202 w 4519987"/>
                <a:gd name="connsiteY72" fmla="*/ 4371975 h 4496940"/>
                <a:gd name="connsiteX73" fmla="*/ 1754527 w 4519987"/>
                <a:gd name="connsiteY73" fmla="*/ 4352925 h 4496940"/>
                <a:gd name="connsiteX74" fmla="*/ 1687852 w 4519987"/>
                <a:gd name="connsiteY74" fmla="*/ 4343400 h 4496940"/>
                <a:gd name="connsiteX75" fmla="*/ 1573552 w 4519987"/>
                <a:gd name="connsiteY75" fmla="*/ 4305300 h 4496940"/>
                <a:gd name="connsiteX76" fmla="*/ 1402102 w 4519987"/>
                <a:gd name="connsiteY76" fmla="*/ 4276725 h 4496940"/>
                <a:gd name="connsiteX77" fmla="*/ 1287802 w 4519987"/>
                <a:gd name="connsiteY77" fmla="*/ 4229100 h 4496940"/>
                <a:gd name="connsiteX78" fmla="*/ 1221127 w 4519987"/>
                <a:gd name="connsiteY78" fmla="*/ 4200525 h 4496940"/>
                <a:gd name="connsiteX79" fmla="*/ 1144927 w 4519987"/>
                <a:gd name="connsiteY79" fmla="*/ 4171950 h 4496940"/>
                <a:gd name="connsiteX80" fmla="*/ 1087777 w 4519987"/>
                <a:gd name="connsiteY80" fmla="*/ 4143375 h 4496940"/>
                <a:gd name="connsiteX81" fmla="*/ 1030627 w 4519987"/>
                <a:gd name="connsiteY81" fmla="*/ 4124325 h 4496940"/>
                <a:gd name="connsiteX82" fmla="*/ 925852 w 4519987"/>
                <a:gd name="connsiteY82" fmla="*/ 4067175 h 4496940"/>
                <a:gd name="connsiteX83" fmla="*/ 830602 w 4519987"/>
                <a:gd name="connsiteY83" fmla="*/ 3981450 h 4496940"/>
                <a:gd name="connsiteX84" fmla="*/ 763927 w 4519987"/>
                <a:gd name="connsiteY84" fmla="*/ 3914775 h 4496940"/>
                <a:gd name="connsiteX85" fmla="*/ 725827 w 4519987"/>
                <a:gd name="connsiteY85" fmla="*/ 3876675 h 4496940"/>
                <a:gd name="connsiteX86" fmla="*/ 697252 w 4519987"/>
                <a:gd name="connsiteY86" fmla="*/ 3838575 h 4496940"/>
                <a:gd name="connsiteX87" fmla="*/ 640102 w 4519987"/>
                <a:gd name="connsiteY87" fmla="*/ 3781425 h 4496940"/>
                <a:gd name="connsiteX88" fmla="*/ 611527 w 4519987"/>
                <a:gd name="connsiteY88" fmla="*/ 3733800 h 4496940"/>
                <a:gd name="connsiteX89" fmla="*/ 554377 w 4519987"/>
                <a:gd name="connsiteY89" fmla="*/ 3657600 h 4496940"/>
                <a:gd name="connsiteX90" fmla="*/ 525802 w 4519987"/>
                <a:gd name="connsiteY90" fmla="*/ 3609975 h 4496940"/>
                <a:gd name="connsiteX91" fmla="*/ 497227 w 4519987"/>
                <a:gd name="connsiteY91" fmla="*/ 3552825 h 4496940"/>
                <a:gd name="connsiteX92" fmla="*/ 440077 w 4519987"/>
                <a:gd name="connsiteY92" fmla="*/ 3495675 h 4496940"/>
                <a:gd name="connsiteX93" fmla="*/ 411502 w 4519987"/>
                <a:gd name="connsiteY93" fmla="*/ 3448050 h 4496940"/>
                <a:gd name="connsiteX94" fmla="*/ 278152 w 4519987"/>
                <a:gd name="connsiteY94" fmla="*/ 3257550 h 4496940"/>
                <a:gd name="connsiteX95" fmla="*/ 249577 w 4519987"/>
                <a:gd name="connsiteY95" fmla="*/ 3200400 h 4496940"/>
                <a:gd name="connsiteX96" fmla="*/ 240052 w 4519987"/>
                <a:gd name="connsiteY96" fmla="*/ 3162300 h 4496940"/>
                <a:gd name="connsiteX97" fmla="*/ 221002 w 4519987"/>
                <a:gd name="connsiteY97" fmla="*/ 3105150 h 4496940"/>
                <a:gd name="connsiteX98" fmla="*/ 173377 w 4519987"/>
                <a:gd name="connsiteY98" fmla="*/ 3019425 h 4496940"/>
                <a:gd name="connsiteX99" fmla="*/ 144802 w 4519987"/>
                <a:gd name="connsiteY99" fmla="*/ 2924175 h 4496940"/>
                <a:gd name="connsiteX100" fmla="*/ 68602 w 4519987"/>
                <a:gd name="connsiteY100" fmla="*/ 2724150 h 4496940"/>
                <a:gd name="connsiteX101" fmla="*/ 49552 w 4519987"/>
                <a:gd name="connsiteY101" fmla="*/ 2638425 h 4496940"/>
                <a:gd name="connsiteX102" fmla="*/ 40027 w 4519987"/>
                <a:gd name="connsiteY102" fmla="*/ 2562225 h 4496940"/>
                <a:gd name="connsiteX103" fmla="*/ 30502 w 4519987"/>
                <a:gd name="connsiteY103" fmla="*/ 2514600 h 4496940"/>
                <a:gd name="connsiteX104" fmla="*/ 11452 w 4519987"/>
                <a:gd name="connsiteY104" fmla="*/ 2400300 h 4496940"/>
                <a:gd name="connsiteX105" fmla="*/ 20977 w 4519987"/>
                <a:gd name="connsiteY105" fmla="*/ 1905000 h 4496940"/>
                <a:gd name="connsiteX106" fmla="*/ 30502 w 4519987"/>
                <a:gd name="connsiteY106" fmla="*/ 1838325 h 4496940"/>
                <a:gd name="connsiteX107" fmla="*/ 49552 w 4519987"/>
                <a:gd name="connsiteY107" fmla="*/ 1781175 h 4496940"/>
                <a:gd name="connsiteX108" fmla="*/ 59077 w 4519987"/>
                <a:gd name="connsiteY108" fmla="*/ 1743075 h 4496940"/>
                <a:gd name="connsiteX109" fmla="*/ 78127 w 4519987"/>
                <a:gd name="connsiteY109" fmla="*/ 1685925 h 4496940"/>
                <a:gd name="connsiteX110" fmla="*/ 87652 w 4519987"/>
                <a:gd name="connsiteY110" fmla="*/ 1638300 h 4496940"/>
                <a:gd name="connsiteX111" fmla="*/ 106702 w 4519987"/>
                <a:gd name="connsiteY111" fmla="*/ 1590675 h 4496940"/>
                <a:gd name="connsiteX112" fmla="*/ 135277 w 4519987"/>
                <a:gd name="connsiteY112" fmla="*/ 1504950 h 4496940"/>
                <a:gd name="connsiteX113" fmla="*/ 154327 w 4519987"/>
                <a:gd name="connsiteY113" fmla="*/ 1419225 h 4496940"/>
                <a:gd name="connsiteX114" fmla="*/ 230527 w 4519987"/>
                <a:gd name="connsiteY114" fmla="*/ 1276350 h 4496940"/>
                <a:gd name="connsiteX115" fmla="*/ 240052 w 4519987"/>
                <a:gd name="connsiteY115" fmla="*/ 1247775 h 4496940"/>
                <a:gd name="connsiteX116" fmla="*/ 268627 w 4519987"/>
                <a:gd name="connsiteY116" fmla="*/ 1200150 h 4496940"/>
                <a:gd name="connsiteX117" fmla="*/ 287677 w 4519987"/>
                <a:gd name="connsiteY117" fmla="*/ 1152525 h 4496940"/>
                <a:gd name="connsiteX118" fmla="*/ 316252 w 4519987"/>
                <a:gd name="connsiteY118" fmla="*/ 1114425 h 4496940"/>
                <a:gd name="connsiteX119" fmla="*/ 363877 w 4519987"/>
                <a:gd name="connsiteY119" fmla="*/ 1038225 h 4496940"/>
                <a:gd name="connsiteX120" fmla="*/ 382927 w 4519987"/>
                <a:gd name="connsiteY120" fmla="*/ 1009650 h 4496940"/>
                <a:gd name="connsiteX121" fmla="*/ 440077 w 4519987"/>
                <a:gd name="connsiteY121" fmla="*/ 904875 h 4496940"/>
                <a:gd name="connsiteX122" fmla="*/ 478177 w 4519987"/>
                <a:gd name="connsiteY122" fmla="*/ 857250 h 4496940"/>
                <a:gd name="connsiteX123" fmla="*/ 497227 w 4519987"/>
                <a:gd name="connsiteY123" fmla="*/ 828675 h 4496940"/>
                <a:gd name="connsiteX124" fmla="*/ 535327 w 4519987"/>
                <a:gd name="connsiteY124" fmla="*/ 800100 h 4496940"/>
                <a:gd name="connsiteX125" fmla="*/ 602002 w 4519987"/>
                <a:gd name="connsiteY125" fmla="*/ 733425 h 4496940"/>
                <a:gd name="connsiteX126" fmla="*/ 668677 w 4519987"/>
                <a:gd name="connsiteY126" fmla="*/ 676275 h 4496940"/>
                <a:gd name="connsiteX127" fmla="*/ 697252 w 4519987"/>
                <a:gd name="connsiteY127" fmla="*/ 657225 h 4496940"/>
                <a:gd name="connsiteX128" fmla="*/ 840127 w 4519987"/>
                <a:gd name="connsiteY128" fmla="*/ 533400 h 4496940"/>
                <a:gd name="connsiteX129" fmla="*/ 887752 w 4519987"/>
                <a:gd name="connsiteY129" fmla="*/ 504825 h 4496940"/>
                <a:gd name="connsiteX130" fmla="*/ 1167152 w 4519987"/>
                <a:gd name="connsiteY130" fmla="*/ 311150 h 4496940"/>
                <a:gd name="connsiteX131" fmla="*/ 1268752 w 4519987"/>
                <a:gd name="connsiteY131" fmla="*/ 285750 h 4496940"/>
                <a:gd name="connsiteX132" fmla="*/ 1411627 w 4519987"/>
                <a:gd name="connsiteY132" fmla="*/ 190500 h 4496940"/>
                <a:gd name="connsiteX133" fmla="*/ 1449727 w 4519987"/>
                <a:gd name="connsiteY133" fmla="*/ 161925 h 4496940"/>
                <a:gd name="connsiteX134" fmla="*/ 1525927 w 4519987"/>
                <a:gd name="connsiteY134" fmla="*/ 152400 h 4496940"/>
                <a:gd name="connsiteX135" fmla="*/ 1583077 w 4519987"/>
                <a:gd name="connsiteY135" fmla="*/ 142875 h 4496940"/>
                <a:gd name="connsiteX136" fmla="*/ 1716427 w 4519987"/>
                <a:gd name="connsiteY136" fmla="*/ 123825 h 4496940"/>
                <a:gd name="connsiteX137" fmla="*/ 1811677 w 4519987"/>
                <a:gd name="connsiteY137" fmla="*/ 114300 h 4496940"/>
                <a:gd name="connsiteX138" fmla="*/ 1859302 w 4519987"/>
                <a:gd name="connsiteY138" fmla="*/ 104775 h 4496940"/>
                <a:gd name="connsiteX139" fmla="*/ 1916452 w 4519987"/>
                <a:gd name="connsiteY139" fmla="*/ 95250 h 4496940"/>
                <a:gd name="connsiteX140" fmla="*/ 2030752 w 4519987"/>
                <a:gd name="connsiteY140" fmla="*/ 66675 h 4496940"/>
                <a:gd name="connsiteX141" fmla="*/ 2097427 w 4519987"/>
                <a:gd name="connsiteY141" fmla="*/ 47625 h 4496940"/>
                <a:gd name="connsiteX142" fmla="*/ 2164102 w 4519987"/>
                <a:gd name="connsiteY142" fmla="*/ 38100 h 4496940"/>
                <a:gd name="connsiteX143" fmla="*/ 2392702 w 4519987"/>
                <a:gd name="connsiteY14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02477 w 4519987"/>
                <a:gd name="connsiteY27" fmla="*/ 1590675 h 4496940"/>
                <a:gd name="connsiteX28" fmla="*/ 4431052 w 4519987"/>
                <a:gd name="connsiteY28" fmla="*/ 1685925 h 4496940"/>
                <a:gd name="connsiteX29" fmla="*/ 4519952 w 4519987"/>
                <a:gd name="connsiteY29" fmla="*/ 2181225 h 4496940"/>
                <a:gd name="connsiteX30" fmla="*/ 4446927 w 4519987"/>
                <a:gd name="connsiteY30" fmla="*/ 2768600 h 4496940"/>
                <a:gd name="connsiteX31" fmla="*/ 4383427 w 4519987"/>
                <a:gd name="connsiteY31" fmla="*/ 2990850 h 4496940"/>
                <a:gd name="connsiteX32" fmla="*/ 4278652 w 4519987"/>
                <a:gd name="connsiteY32" fmla="*/ 3248025 h 4496940"/>
                <a:gd name="connsiteX33" fmla="*/ 4259602 w 4519987"/>
                <a:gd name="connsiteY33" fmla="*/ 3276600 h 4496940"/>
                <a:gd name="connsiteX34" fmla="*/ 4221502 w 4519987"/>
                <a:gd name="connsiteY34" fmla="*/ 3333750 h 4496940"/>
                <a:gd name="connsiteX35" fmla="*/ 4211977 w 4519987"/>
                <a:gd name="connsiteY35" fmla="*/ 3362325 h 4496940"/>
                <a:gd name="connsiteX36" fmla="*/ 4183402 w 4519987"/>
                <a:gd name="connsiteY36" fmla="*/ 3400425 h 4496940"/>
                <a:gd name="connsiteX37" fmla="*/ 4164352 w 4519987"/>
                <a:gd name="connsiteY37" fmla="*/ 3429000 h 4496940"/>
                <a:gd name="connsiteX38" fmla="*/ 4088152 w 4519987"/>
                <a:gd name="connsiteY38" fmla="*/ 3495675 h 4496940"/>
                <a:gd name="connsiteX39" fmla="*/ 4059577 w 4519987"/>
                <a:gd name="connsiteY39" fmla="*/ 3533775 h 4496940"/>
                <a:gd name="connsiteX40" fmla="*/ 4002427 w 4519987"/>
                <a:gd name="connsiteY40" fmla="*/ 3600450 h 4496940"/>
                <a:gd name="connsiteX41" fmla="*/ 3983377 w 4519987"/>
                <a:gd name="connsiteY41" fmla="*/ 3629025 h 4496940"/>
                <a:gd name="connsiteX42" fmla="*/ 3954802 w 4519987"/>
                <a:gd name="connsiteY42" fmla="*/ 3648075 h 4496940"/>
                <a:gd name="connsiteX43" fmla="*/ 3907177 w 4519987"/>
                <a:gd name="connsiteY43" fmla="*/ 3686175 h 4496940"/>
                <a:gd name="connsiteX44" fmla="*/ 3869077 w 4519987"/>
                <a:gd name="connsiteY44" fmla="*/ 3724275 h 4496940"/>
                <a:gd name="connsiteX45" fmla="*/ 3792877 w 4519987"/>
                <a:gd name="connsiteY45" fmla="*/ 3781425 h 4496940"/>
                <a:gd name="connsiteX46" fmla="*/ 3783352 w 4519987"/>
                <a:gd name="connsiteY46" fmla="*/ 3810000 h 4496940"/>
                <a:gd name="connsiteX47" fmla="*/ 3745252 w 4519987"/>
                <a:gd name="connsiteY47" fmla="*/ 3819525 h 4496940"/>
                <a:gd name="connsiteX48" fmla="*/ 3678577 w 4519987"/>
                <a:gd name="connsiteY48" fmla="*/ 3848100 h 4496940"/>
                <a:gd name="connsiteX49" fmla="*/ 3659527 w 4519987"/>
                <a:gd name="connsiteY49" fmla="*/ 3971925 h 4496940"/>
                <a:gd name="connsiteX50" fmla="*/ 3630952 w 4519987"/>
                <a:gd name="connsiteY50" fmla="*/ 4010025 h 4496940"/>
                <a:gd name="connsiteX51" fmla="*/ 3621427 w 4519987"/>
                <a:gd name="connsiteY51" fmla="*/ 4038600 h 4496940"/>
                <a:gd name="connsiteX52" fmla="*/ 3554752 w 4519987"/>
                <a:gd name="connsiteY52" fmla="*/ 4095750 h 4496940"/>
                <a:gd name="connsiteX53" fmla="*/ 3516652 w 4519987"/>
                <a:gd name="connsiteY53" fmla="*/ 4114800 h 4496940"/>
                <a:gd name="connsiteX54" fmla="*/ 3497602 w 4519987"/>
                <a:gd name="connsiteY54" fmla="*/ 4143375 h 4496940"/>
                <a:gd name="connsiteX55" fmla="*/ 3383302 w 4519987"/>
                <a:gd name="connsiteY55" fmla="*/ 4210050 h 4496940"/>
                <a:gd name="connsiteX56" fmla="*/ 3335677 w 4519987"/>
                <a:gd name="connsiteY56" fmla="*/ 4238625 h 4496940"/>
                <a:gd name="connsiteX57" fmla="*/ 3288052 w 4519987"/>
                <a:gd name="connsiteY57" fmla="*/ 4248150 h 4496940"/>
                <a:gd name="connsiteX58" fmla="*/ 3240427 w 4519987"/>
                <a:gd name="connsiteY58" fmla="*/ 4267200 h 4496940"/>
                <a:gd name="connsiteX59" fmla="*/ 3068977 w 4519987"/>
                <a:gd name="connsiteY59" fmla="*/ 4286250 h 4496940"/>
                <a:gd name="connsiteX60" fmla="*/ 2935627 w 4519987"/>
                <a:gd name="connsiteY60" fmla="*/ 4333875 h 4496940"/>
                <a:gd name="connsiteX61" fmla="*/ 2811802 w 4519987"/>
                <a:gd name="connsiteY61" fmla="*/ 4371975 h 4496940"/>
                <a:gd name="connsiteX62" fmla="*/ 2745127 w 4519987"/>
                <a:gd name="connsiteY62" fmla="*/ 4410075 h 4496940"/>
                <a:gd name="connsiteX63" fmla="*/ 2697502 w 4519987"/>
                <a:gd name="connsiteY63" fmla="*/ 4429125 h 4496940"/>
                <a:gd name="connsiteX64" fmla="*/ 2640352 w 4519987"/>
                <a:gd name="connsiteY64" fmla="*/ 4457700 h 4496940"/>
                <a:gd name="connsiteX65" fmla="*/ 2583202 w 4519987"/>
                <a:gd name="connsiteY65" fmla="*/ 4467225 h 4496940"/>
                <a:gd name="connsiteX66" fmla="*/ 2545102 w 4519987"/>
                <a:gd name="connsiteY66" fmla="*/ 4486275 h 4496940"/>
                <a:gd name="connsiteX67" fmla="*/ 2306977 w 4519987"/>
                <a:gd name="connsiteY67" fmla="*/ 4476750 h 4496940"/>
                <a:gd name="connsiteX68" fmla="*/ 2202202 w 4519987"/>
                <a:gd name="connsiteY68" fmla="*/ 4457700 h 4496940"/>
                <a:gd name="connsiteX69" fmla="*/ 2126002 w 4519987"/>
                <a:gd name="connsiteY69" fmla="*/ 4429125 h 4496940"/>
                <a:gd name="connsiteX70" fmla="*/ 1935502 w 4519987"/>
                <a:gd name="connsiteY70" fmla="*/ 4400550 h 4496940"/>
                <a:gd name="connsiteX71" fmla="*/ 1821202 w 4519987"/>
                <a:gd name="connsiteY71" fmla="*/ 4371975 h 4496940"/>
                <a:gd name="connsiteX72" fmla="*/ 1754527 w 4519987"/>
                <a:gd name="connsiteY72" fmla="*/ 4352925 h 4496940"/>
                <a:gd name="connsiteX73" fmla="*/ 1687852 w 4519987"/>
                <a:gd name="connsiteY73" fmla="*/ 4343400 h 4496940"/>
                <a:gd name="connsiteX74" fmla="*/ 1573552 w 4519987"/>
                <a:gd name="connsiteY74" fmla="*/ 4305300 h 4496940"/>
                <a:gd name="connsiteX75" fmla="*/ 1402102 w 4519987"/>
                <a:gd name="connsiteY75" fmla="*/ 4276725 h 4496940"/>
                <a:gd name="connsiteX76" fmla="*/ 1287802 w 4519987"/>
                <a:gd name="connsiteY76" fmla="*/ 4229100 h 4496940"/>
                <a:gd name="connsiteX77" fmla="*/ 1221127 w 4519987"/>
                <a:gd name="connsiteY77" fmla="*/ 4200525 h 4496940"/>
                <a:gd name="connsiteX78" fmla="*/ 1144927 w 4519987"/>
                <a:gd name="connsiteY78" fmla="*/ 4171950 h 4496940"/>
                <a:gd name="connsiteX79" fmla="*/ 1087777 w 4519987"/>
                <a:gd name="connsiteY79" fmla="*/ 4143375 h 4496940"/>
                <a:gd name="connsiteX80" fmla="*/ 1030627 w 4519987"/>
                <a:gd name="connsiteY80" fmla="*/ 4124325 h 4496940"/>
                <a:gd name="connsiteX81" fmla="*/ 925852 w 4519987"/>
                <a:gd name="connsiteY81" fmla="*/ 4067175 h 4496940"/>
                <a:gd name="connsiteX82" fmla="*/ 830602 w 4519987"/>
                <a:gd name="connsiteY82" fmla="*/ 3981450 h 4496940"/>
                <a:gd name="connsiteX83" fmla="*/ 763927 w 4519987"/>
                <a:gd name="connsiteY83" fmla="*/ 3914775 h 4496940"/>
                <a:gd name="connsiteX84" fmla="*/ 725827 w 4519987"/>
                <a:gd name="connsiteY84" fmla="*/ 3876675 h 4496940"/>
                <a:gd name="connsiteX85" fmla="*/ 697252 w 4519987"/>
                <a:gd name="connsiteY85" fmla="*/ 3838575 h 4496940"/>
                <a:gd name="connsiteX86" fmla="*/ 640102 w 4519987"/>
                <a:gd name="connsiteY86" fmla="*/ 3781425 h 4496940"/>
                <a:gd name="connsiteX87" fmla="*/ 611527 w 4519987"/>
                <a:gd name="connsiteY87" fmla="*/ 3733800 h 4496940"/>
                <a:gd name="connsiteX88" fmla="*/ 554377 w 4519987"/>
                <a:gd name="connsiteY88" fmla="*/ 3657600 h 4496940"/>
                <a:gd name="connsiteX89" fmla="*/ 525802 w 4519987"/>
                <a:gd name="connsiteY89" fmla="*/ 3609975 h 4496940"/>
                <a:gd name="connsiteX90" fmla="*/ 497227 w 4519987"/>
                <a:gd name="connsiteY90" fmla="*/ 3552825 h 4496940"/>
                <a:gd name="connsiteX91" fmla="*/ 440077 w 4519987"/>
                <a:gd name="connsiteY91" fmla="*/ 3495675 h 4496940"/>
                <a:gd name="connsiteX92" fmla="*/ 411502 w 4519987"/>
                <a:gd name="connsiteY92" fmla="*/ 3448050 h 4496940"/>
                <a:gd name="connsiteX93" fmla="*/ 278152 w 4519987"/>
                <a:gd name="connsiteY93" fmla="*/ 3257550 h 4496940"/>
                <a:gd name="connsiteX94" fmla="*/ 249577 w 4519987"/>
                <a:gd name="connsiteY94" fmla="*/ 3200400 h 4496940"/>
                <a:gd name="connsiteX95" fmla="*/ 240052 w 4519987"/>
                <a:gd name="connsiteY95" fmla="*/ 3162300 h 4496940"/>
                <a:gd name="connsiteX96" fmla="*/ 221002 w 4519987"/>
                <a:gd name="connsiteY96" fmla="*/ 3105150 h 4496940"/>
                <a:gd name="connsiteX97" fmla="*/ 173377 w 4519987"/>
                <a:gd name="connsiteY97" fmla="*/ 3019425 h 4496940"/>
                <a:gd name="connsiteX98" fmla="*/ 144802 w 4519987"/>
                <a:gd name="connsiteY98" fmla="*/ 2924175 h 4496940"/>
                <a:gd name="connsiteX99" fmla="*/ 68602 w 4519987"/>
                <a:gd name="connsiteY99" fmla="*/ 2724150 h 4496940"/>
                <a:gd name="connsiteX100" fmla="*/ 49552 w 4519987"/>
                <a:gd name="connsiteY100" fmla="*/ 2638425 h 4496940"/>
                <a:gd name="connsiteX101" fmla="*/ 40027 w 4519987"/>
                <a:gd name="connsiteY101" fmla="*/ 2562225 h 4496940"/>
                <a:gd name="connsiteX102" fmla="*/ 30502 w 4519987"/>
                <a:gd name="connsiteY102" fmla="*/ 2514600 h 4496940"/>
                <a:gd name="connsiteX103" fmla="*/ 11452 w 4519987"/>
                <a:gd name="connsiteY103" fmla="*/ 2400300 h 4496940"/>
                <a:gd name="connsiteX104" fmla="*/ 20977 w 4519987"/>
                <a:gd name="connsiteY104" fmla="*/ 1905000 h 4496940"/>
                <a:gd name="connsiteX105" fmla="*/ 30502 w 4519987"/>
                <a:gd name="connsiteY105" fmla="*/ 1838325 h 4496940"/>
                <a:gd name="connsiteX106" fmla="*/ 49552 w 4519987"/>
                <a:gd name="connsiteY106" fmla="*/ 1781175 h 4496940"/>
                <a:gd name="connsiteX107" fmla="*/ 59077 w 4519987"/>
                <a:gd name="connsiteY107" fmla="*/ 1743075 h 4496940"/>
                <a:gd name="connsiteX108" fmla="*/ 78127 w 4519987"/>
                <a:gd name="connsiteY108" fmla="*/ 1685925 h 4496940"/>
                <a:gd name="connsiteX109" fmla="*/ 87652 w 4519987"/>
                <a:gd name="connsiteY109" fmla="*/ 1638300 h 4496940"/>
                <a:gd name="connsiteX110" fmla="*/ 106702 w 4519987"/>
                <a:gd name="connsiteY110" fmla="*/ 1590675 h 4496940"/>
                <a:gd name="connsiteX111" fmla="*/ 135277 w 4519987"/>
                <a:gd name="connsiteY111" fmla="*/ 1504950 h 4496940"/>
                <a:gd name="connsiteX112" fmla="*/ 154327 w 4519987"/>
                <a:gd name="connsiteY112" fmla="*/ 1419225 h 4496940"/>
                <a:gd name="connsiteX113" fmla="*/ 230527 w 4519987"/>
                <a:gd name="connsiteY113" fmla="*/ 1276350 h 4496940"/>
                <a:gd name="connsiteX114" fmla="*/ 240052 w 4519987"/>
                <a:gd name="connsiteY114" fmla="*/ 1247775 h 4496940"/>
                <a:gd name="connsiteX115" fmla="*/ 268627 w 4519987"/>
                <a:gd name="connsiteY115" fmla="*/ 1200150 h 4496940"/>
                <a:gd name="connsiteX116" fmla="*/ 287677 w 4519987"/>
                <a:gd name="connsiteY116" fmla="*/ 1152525 h 4496940"/>
                <a:gd name="connsiteX117" fmla="*/ 316252 w 4519987"/>
                <a:gd name="connsiteY117" fmla="*/ 1114425 h 4496940"/>
                <a:gd name="connsiteX118" fmla="*/ 363877 w 4519987"/>
                <a:gd name="connsiteY118" fmla="*/ 1038225 h 4496940"/>
                <a:gd name="connsiteX119" fmla="*/ 382927 w 4519987"/>
                <a:gd name="connsiteY119" fmla="*/ 1009650 h 4496940"/>
                <a:gd name="connsiteX120" fmla="*/ 440077 w 4519987"/>
                <a:gd name="connsiteY120" fmla="*/ 904875 h 4496940"/>
                <a:gd name="connsiteX121" fmla="*/ 478177 w 4519987"/>
                <a:gd name="connsiteY121" fmla="*/ 857250 h 4496940"/>
                <a:gd name="connsiteX122" fmla="*/ 497227 w 4519987"/>
                <a:gd name="connsiteY122" fmla="*/ 828675 h 4496940"/>
                <a:gd name="connsiteX123" fmla="*/ 535327 w 4519987"/>
                <a:gd name="connsiteY123" fmla="*/ 800100 h 4496940"/>
                <a:gd name="connsiteX124" fmla="*/ 602002 w 4519987"/>
                <a:gd name="connsiteY124" fmla="*/ 733425 h 4496940"/>
                <a:gd name="connsiteX125" fmla="*/ 668677 w 4519987"/>
                <a:gd name="connsiteY125" fmla="*/ 676275 h 4496940"/>
                <a:gd name="connsiteX126" fmla="*/ 697252 w 4519987"/>
                <a:gd name="connsiteY126" fmla="*/ 657225 h 4496940"/>
                <a:gd name="connsiteX127" fmla="*/ 840127 w 4519987"/>
                <a:gd name="connsiteY127" fmla="*/ 533400 h 4496940"/>
                <a:gd name="connsiteX128" fmla="*/ 887752 w 4519987"/>
                <a:gd name="connsiteY128" fmla="*/ 504825 h 4496940"/>
                <a:gd name="connsiteX129" fmla="*/ 1167152 w 4519987"/>
                <a:gd name="connsiteY129" fmla="*/ 311150 h 4496940"/>
                <a:gd name="connsiteX130" fmla="*/ 1268752 w 4519987"/>
                <a:gd name="connsiteY130" fmla="*/ 285750 h 4496940"/>
                <a:gd name="connsiteX131" fmla="*/ 1411627 w 4519987"/>
                <a:gd name="connsiteY131" fmla="*/ 190500 h 4496940"/>
                <a:gd name="connsiteX132" fmla="*/ 1449727 w 4519987"/>
                <a:gd name="connsiteY132" fmla="*/ 161925 h 4496940"/>
                <a:gd name="connsiteX133" fmla="*/ 1525927 w 4519987"/>
                <a:gd name="connsiteY133" fmla="*/ 152400 h 4496940"/>
                <a:gd name="connsiteX134" fmla="*/ 1583077 w 4519987"/>
                <a:gd name="connsiteY134" fmla="*/ 142875 h 4496940"/>
                <a:gd name="connsiteX135" fmla="*/ 1716427 w 4519987"/>
                <a:gd name="connsiteY135" fmla="*/ 123825 h 4496940"/>
                <a:gd name="connsiteX136" fmla="*/ 1811677 w 4519987"/>
                <a:gd name="connsiteY136" fmla="*/ 114300 h 4496940"/>
                <a:gd name="connsiteX137" fmla="*/ 1859302 w 4519987"/>
                <a:gd name="connsiteY137" fmla="*/ 104775 h 4496940"/>
                <a:gd name="connsiteX138" fmla="*/ 1916452 w 4519987"/>
                <a:gd name="connsiteY138" fmla="*/ 95250 h 4496940"/>
                <a:gd name="connsiteX139" fmla="*/ 2030752 w 4519987"/>
                <a:gd name="connsiteY139" fmla="*/ 66675 h 4496940"/>
                <a:gd name="connsiteX140" fmla="*/ 2097427 w 4519987"/>
                <a:gd name="connsiteY140" fmla="*/ 47625 h 4496940"/>
                <a:gd name="connsiteX141" fmla="*/ 2164102 w 4519987"/>
                <a:gd name="connsiteY141" fmla="*/ 38100 h 4496940"/>
                <a:gd name="connsiteX142" fmla="*/ 2392702 w 4519987"/>
                <a:gd name="connsiteY14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164352 w 4519987"/>
                <a:gd name="connsiteY36" fmla="*/ 3429000 h 4496940"/>
                <a:gd name="connsiteX37" fmla="*/ 4088152 w 4519987"/>
                <a:gd name="connsiteY37" fmla="*/ 3495675 h 4496940"/>
                <a:gd name="connsiteX38" fmla="*/ 4059577 w 4519987"/>
                <a:gd name="connsiteY38" fmla="*/ 3533775 h 4496940"/>
                <a:gd name="connsiteX39" fmla="*/ 4002427 w 4519987"/>
                <a:gd name="connsiteY39" fmla="*/ 3600450 h 4496940"/>
                <a:gd name="connsiteX40" fmla="*/ 3983377 w 4519987"/>
                <a:gd name="connsiteY40" fmla="*/ 3629025 h 4496940"/>
                <a:gd name="connsiteX41" fmla="*/ 3954802 w 4519987"/>
                <a:gd name="connsiteY41" fmla="*/ 3648075 h 4496940"/>
                <a:gd name="connsiteX42" fmla="*/ 3907177 w 4519987"/>
                <a:gd name="connsiteY42" fmla="*/ 3686175 h 4496940"/>
                <a:gd name="connsiteX43" fmla="*/ 3869077 w 4519987"/>
                <a:gd name="connsiteY43" fmla="*/ 3724275 h 4496940"/>
                <a:gd name="connsiteX44" fmla="*/ 3792877 w 4519987"/>
                <a:gd name="connsiteY44" fmla="*/ 3781425 h 4496940"/>
                <a:gd name="connsiteX45" fmla="*/ 3783352 w 4519987"/>
                <a:gd name="connsiteY45" fmla="*/ 3810000 h 4496940"/>
                <a:gd name="connsiteX46" fmla="*/ 3745252 w 4519987"/>
                <a:gd name="connsiteY46" fmla="*/ 3819525 h 4496940"/>
                <a:gd name="connsiteX47" fmla="*/ 3678577 w 4519987"/>
                <a:gd name="connsiteY47" fmla="*/ 3848100 h 4496940"/>
                <a:gd name="connsiteX48" fmla="*/ 3659527 w 4519987"/>
                <a:gd name="connsiteY48" fmla="*/ 3971925 h 4496940"/>
                <a:gd name="connsiteX49" fmla="*/ 3630952 w 4519987"/>
                <a:gd name="connsiteY49" fmla="*/ 4010025 h 4496940"/>
                <a:gd name="connsiteX50" fmla="*/ 3621427 w 4519987"/>
                <a:gd name="connsiteY50" fmla="*/ 4038600 h 4496940"/>
                <a:gd name="connsiteX51" fmla="*/ 3554752 w 4519987"/>
                <a:gd name="connsiteY51" fmla="*/ 4095750 h 4496940"/>
                <a:gd name="connsiteX52" fmla="*/ 3516652 w 4519987"/>
                <a:gd name="connsiteY52" fmla="*/ 4114800 h 4496940"/>
                <a:gd name="connsiteX53" fmla="*/ 3497602 w 4519987"/>
                <a:gd name="connsiteY53" fmla="*/ 4143375 h 4496940"/>
                <a:gd name="connsiteX54" fmla="*/ 3383302 w 4519987"/>
                <a:gd name="connsiteY54" fmla="*/ 4210050 h 4496940"/>
                <a:gd name="connsiteX55" fmla="*/ 3335677 w 4519987"/>
                <a:gd name="connsiteY55" fmla="*/ 4238625 h 4496940"/>
                <a:gd name="connsiteX56" fmla="*/ 3288052 w 4519987"/>
                <a:gd name="connsiteY56" fmla="*/ 4248150 h 4496940"/>
                <a:gd name="connsiteX57" fmla="*/ 3240427 w 4519987"/>
                <a:gd name="connsiteY57" fmla="*/ 4267200 h 4496940"/>
                <a:gd name="connsiteX58" fmla="*/ 3068977 w 4519987"/>
                <a:gd name="connsiteY58" fmla="*/ 4286250 h 4496940"/>
                <a:gd name="connsiteX59" fmla="*/ 2935627 w 4519987"/>
                <a:gd name="connsiteY59" fmla="*/ 4333875 h 4496940"/>
                <a:gd name="connsiteX60" fmla="*/ 2811802 w 4519987"/>
                <a:gd name="connsiteY60" fmla="*/ 4371975 h 4496940"/>
                <a:gd name="connsiteX61" fmla="*/ 2745127 w 4519987"/>
                <a:gd name="connsiteY61" fmla="*/ 4410075 h 4496940"/>
                <a:gd name="connsiteX62" fmla="*/ 2697502 w 4519987"/>
                <a:gd name="connsiteY62" fmla="*/ 4429125 h 4496940"/>
                <a:gd name="connsiteX63" fmla="*/ 2640352 w 4519987"/>
                <a:gd name="connsiteY63" fmla="*/ 4457700 h 4496940"/>
                <a:gd name="connsiteX64" fmla="*/ 2583202 w 4519987"/>
                <a:gd name="connsiteY64" fmla="*/ 4467225 h 4496940"/>
                <a:gd name="connsiteX65" fmla="*/ 2545102 w 4519987"/>
                <a:gd name="connsiteY65" fmla="*/ 4486275 h 4496940"/>
                <a:gd name="connsiteX66" fmla="*/ 2306977 w 4519987"/>
                <a:gd name="connsiteY66" fmla="*/ 4476750 h 4496940"/>
                <a:gd name="connsiteX67" fmla="*/ 2202202 w 4519987"/>
                <a:gd name="connsiteY67" fmla="*/ 4457700 h 4496940"/>
                <a:gd name="connsiteX68" fmla="*/ 2126002 w 4519987"/>
                <a:gd name="connsiteY68" fmla="*/ 4429125 h 4496940"/>
                <a:gd name="connsiteX69" fmla="*/ 1935502 w 4519987"/>
                <a:gd name="connsiteY69" fmla="*/ 4400550 h 4496940"/>
                <a:gd name="connsiteX70" fmla="*/ 1821202 w 4519987"/>
                <a:gd name="connsiteY70" fmla="*/ 4371975 h 4496940"/>
                <a:gd name="connsiteX71" fmla="*/ 1754527 w 4519987"/>
                <a:gd name="connsiteY71" fmla="*/ 4352925 h 4496940"/>
                <a:gd name="connsiteX72" fmla="*/ 1687852 w 4519987"/>
                <a:gd name="connsiteY72" fmla="*/ 4343400 h 4496940"/>
                <a:gd name="connsiteX73" fmla="*/ 1573552 w 4519987"/>
                <a:gd name="connsiteY73" fmla="*/ 4305300 h 4496940"/>
                <a:gd name="connsiteX74" fmla="*/ 1402102 w 4519987"/>
                <a:gd name="connsiteY74" fmla="*/ 4276725 h 4496940"/>
                <a:gd name="connsiteX75" fmla="*/ 1287802 w 4519987"/>
                <a:gd name="connsiteY75" fmla="*/ 4229100 h 4496940"/>
                <a:gd name="connsiteX76" fmla="*/ 1221127 w 4519987"/>
                <a:gd name="connsiteY76" fmla="*/ 4200525 h 4496940"/>
                <a:gd name="connsiteX77" fmla="*/ 1144927 w 4519987"/>
                <a:gd name="connsiteY77" fmla="*/ 4171950 h 4496940"/>
                <a:gd name="connsiteX78" fmla="*/ 1087777 w 4519987"/>
                <a:gd name="connsiteY78" fmla="*/ 4143375 h 4496940"/>
                <a:gd name="connsiteX79" fmla="*/ 1030627 w 4519987"/>
                <a:gd name="connsiteY79" fmla="*/ 4124325 h 4496940"/>
                <a:gd name="connsiteX80" fmla="*/ 925852 w 4519987"/>
                <a:gd name="connsiteY80" fmla="*/ 4067175 h 4496940"/>
                <a:gd name="connsiteX81" fmla="*/ 830602 w 4519987"/>
                <a:gd name="connsiteY81" fmla="*/ 3981450 h 4496940"/>
                <a:gd name="connsiteX82" fmla="*/ 763927 w 4519987"/>
                <a:gd name="connsiteY82" fmla="*/ 3914775 h 4496940"/>
                <a:gd name="connsiteX83" fmla="*/ 725827 w 4519987"/>
                <a:gd name="connsiteY83" fmla="*/ 3876675 h 4496940"/>
                <a:gd name="connsiteX84" fmla="*/ 697252 w 4519987"/>
                <a:gd name="connsiteY84" fmla="*/ 3838575 h 4496940"/>
                <a:gd name="connsiteX85" fmla="*/ 640102 w 4519987"/>
                <a:gd name="connsiteY85" fmla="*/ 3781425 h 4496940"/>
                <a:gd name="connsiteX86" fmla="*/ 611527 w 4519987"/>
                <a:gd name="connsiteY86" fmla="*/ 3733800 h 4496940"/>
                <a:gd name="connsiteX87" fmla="*/ 554377 w 4519987"/>
                <a:gd name="connsiteY87" fmla="*/ 3657600 h 4496940"/>
                <a:gd name="connsiteX88" fmla="*/ 525802 w 4519987"/>
                <a:gd name="connsiteY88" fmla="*/ 3609975 h 4496940"/>
                <a:gd name="connsiteX89" fmla="*/ 497227 w 4519987"/>
                <a:gd name="connsiteY89" fmla="*/ 3552825 h 4496940"/>
                <a:gd name="connsiteX90" fmla="*/ 440077 w 4519987"/>
                <a:gd name="connsiteY90" fmla="*/ 3495675 h 4496940"/>
                <a:gd name="connsiteX91" fmla="*/ 411502 w 4519987"/>
                <a:gd name="connsiteY91" fmla="*/ 3448050 h 4496940"/>
                <a:gd name="connsiteX92" fmla="*/ 278152 w 4519987"/>
                <a:gd name="connsiteY92" fmla="*/ 3257550 h 4496940"/>
                <a:gd name="connsiteX93" fmla="*/ 249577 w 4519987"/>
                <a:gd name="connsiteY93" fmla="*/ 3200400 h 4496940"/>
                <a:gd name="connsiteX94" fmla="*/ 240052 w 4519987"/>
                <a:gd name="connsiteY94" fmla="*/ 3162300 h 4496940"/>
                <a:gd name="connsiteX95" fmla="*/ 221002 w 4519987"/>
                <a:gd name="connsiteY95" fmla="*/ 3105150 h 4496940"/>
                <a:gd name="connsiteX96" fmla="*/ 173377 w 4519987"/>
                <a:gd name="connsiteY96" fmla="*/ 3019425 h 4496940"/>
                <a:gd name="connsiteX97" fmla="*/ 144802 w 4519987"/>
                <a:gd name="connsiteY97" fmla="*/ 2924175 h 4496940"/>
                <a:gd name="connsiteX98" fmla="*/ 68602 w 4519987"/>
                <a:gd name="connsiteY98" fmla="*/ 2724150 h 4496940"/>
                <a:gd name="connsiteX99" fmla="*/ 49552 w 4519987"/>
                <a:gd name="connsiteY99" fmla="*/ 2638425 h 4496940"/>
                <a:gd name="connsiteX100" fmla="*/ 40027 w 4519987"/>
                <a:gd name="connsiteY100" fmla="*/ 2562225 h 4496940"/>
                <a:gd name="connsiteX101" fmla="*/ 30502 w 4519987"/>
                <a:gd name="connsiteY101" fmla="*/ 2514600 h 4496940"/>
                <a:gd name="connsiteX102" fmla="*/ 11452 w 4519987"/>
                <a:gd name="connsiteY102" fmla="*/ 2400300 h 4496940"/>
                <a:gd name="connsiteX103" fmla="*/ 20977 w 4519987"/>
                <a:gd name="connsiteY103" fmla="*/ 1905000 h 4496940"/>
                <a:gd name="connsiteX104" fmla="*/ 30502 w 4519987"/>
                <a:gd name="connsiteY104" fmla="*/ 1838325 h 4496940"/>
                <a:gd name="connsiteX105" fmla="*/ 49552 w 4519987"/>
                <a:gd name="connsiteY105" fmla="*/ 1781175 h 4496940"/>
                <a:gd name="connsiteX106" fmla="*/ 59077 w 4519987"/>
                <a:gd name="connsiteY106" fmla="*/ 1743075 h 4496940"/>
                <a:gd name="connsiteX107" fmla="*/ 78127 w 4519987"/>
                <a:gd name="connsiteY107" fmla="*/ 1685925 h 4496940"/>
                <a:gd name="connsiteX108" fmla="*/ 87652 w 4519987"/>
                <a:gd name="connsiteY108" fmla="*/ 1638300 h 4496940"/>
                <a:gd name="connsiteX109" fmla="*/ 106702 w 4519987"/>
                <a:gd name="connsiteY109" fmla="*/ 1590675 h 4496940"/>
                <a:gd name="connsiteX110" fmla="*/ 135277 w 4519987"/>
                <a:gd name="connsiteY110" fmla="*/ 1504950 h 4496940"/>
                <a:gd name="connsiteX111" fmla="*/ 154327 w 4519987"/>
                <a:gd name="connsiteY111" fmla="*/ 1419225 h 4496940"/>
                <a:gd name="connsiteX112" fmla="*/ 230527 w 4519987"/>
                <a:gd name="connsiteY112" fmla="*/ 1276350 h 4496940"/>
                <a:gd name="connsiteX113" fmla="*/ 240052 w 4519987"/>
                <a:gd name="connsiteY113" fmla="*/ 1247775 h 4496940"/>
                <a:gd name="connsiteX114" fmla="*/ 268627 w 4519987"/>
                <a:gd name="connsiteY114" fmla="*/ 1200150 h 4496940"/>
                <a:gd name="connsiteX115" fmla="*/ 287677 w 4519987"/>
                <a:gd name="connsiteY115" fmla="*/ 1152525 h 4496940"/>
                <a:gd name="connsiteX116" fmla="*/ 316252 w 4519987"/>
                <a:gd name="connsiteY116" fmla="*/ 1114425 h 4496940"/>
                <a:gd name="connsiteX117" fmla="*/ 363877 w 4519987"/>
                <a:gd name="connsiteY117" fmla="*/ 1038225 h 4496940"/>
                <a:gd name="connsiteX118" fmla="*/ 382927 w 4519987"/>
                <a:gd name="connsiteY118" fmla="*/ 1009650 h 4496940"/>
                <a:gd name="connsiteX119" fmla="*/ 440077 w 4519987"/>
                <a:gd name="connsiteY119" fmla="*/ 904875 h 4496940"/>
                <a:gd name="connsiteX120" fmla="*/ 478177 w 4519987"/>
                <a:gd name="connsiteY120" fmla="*/ 857250 h 4496940"/>
                <a:gd name="connsiteX121" fmla="*/ 497227 w 4519987"/>
                <a:gd name="connsiteY121" fmla="*/ 828675 h 4496940"/>
                <a:gd name="connsiteX122" fmla="*/ 535327 w 4519987"/>
                <a:gd name="connsiteY122" fmla="*/ 800100 h 4496940"/>
                <a:gd name="connsiteX123" fmla="*/ 602002 w 4519987"/>
                <a:gd name="connsiteY123" fmla="*/ 733425 h 4496940"/>
                <a:gd name="connsiteX124" fmla="*/ 668677 w 4519987"/>
                <a:gd name="connsiteY124" fmla="*/ 676275 h 4496940"/>
                <a:gd name="connsiteX125" fmla="*/ 697252 w 4519987"/>
                <a:gd name="connsiteY125" fmla="*/ 657225 h 4496940"/>
                <a:gd name="connsiteX126" fmla="*/ 840127 w 4519987"/>
                <a:gd name="connsiteY126" fmla="*/ 533400 h 4496940"/>
                <a:gd name="connsiteX127" fmla="*/ 887752 w 4519987"/>
                <a:gd name="connsiteY127" fmla="*/ 504825 h 4496940"/>
                <a:gd name="connsiteX128" fmla="*/ 1167152 w 4519987"/>
                <a:gd name="connsiteY128" fmla="*/ 311150 h 4496940"/>
                <a:gd name="connsiteX129" fmla="*/ 1268752 w 4519987"/>
                <a:gd name="connsiteY129" fmla="*/ 285750 h 4496940"/>
                <a:gd name="connsiteX130" fmla="*/ 1411627 w 4519987"/>
                <a:gd name="connsiteY130" fmla="*/ 190500 h 4496940"/>
                <a:gd name="connsiteX131" fmla="*/ 1449727 w 4519987"/>
                <a:gd name="connsiteY131" fmla="*/ 161925 h 4496940"/>
                <a:gd name="connsiteX132" fmla="*/ 1525927 w 4519987"/>
                <a:gd name="connsiteY132" fmla="*/ 152400 h 4496940"/>
                <a:gd name="connsiteX133" fmla="*/ 1583077 w 4519987"/>
                <a:gd name="connsiteY133" fmla="*/ 142875 h 4496940"/>
                <a:gd name="connsiteX134" fmla="*/ 1716427 w 4519987"/>
                <a:gd name="connsiteY134" fmla="*/ 123825 h 4496940"/>
                <a:gd name="connsiteX135" fmla="*/ 1811677 w 4519987"/>
                <a:gd name="connsiteY135" fmla="*/ 114300 h 4496940"/>
                <a:gd name="connsiteX136" fmla="*/ 1859302 w 4519987"/>
                <a:gd name="connsiteY136" fmla="*/ 104775 h 4496940"/>
                <a:gd name="connsiteX137" fmla="*/ 1916452 w 4519987"/>
                <a:gd name="connsiteY137" fmla="*/ 95250 h 4496940"/>
                <a:gd name="connsiteX138" fmla="*/ 2030752 w 4519987"/>
                <a:gd name="connsiteY138" fmla="*/ 66675 h 4496940"/>
                <a:gd name="connsiteX139" fmla="*/ 2097427 w 4519987"/>
                <a:gd name="connsiteY139" fmla="*/ 47625 h 4496940"/>
                <a:gd name="connsiteX140" fmla="*/ 2164102 w 4519987"/>
                <a:gd name="connsiteY140" fmla="*/ 38100 h 4496940"/>
                <a:gd name="connsiteX141" fmla="*/ 2392702 w 4519987"/>
                <a:gd name="connsiteY14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211977 w 4519987"/>
                <a:gd name="connsiteY34" fmla="*/ 3362325 h 4496940"/>
                <a:gd name="connsiteX35" fmla="*/ 4183402 w 4519987"/>
                <a:gd name="connsiteY35" fmla="*/ 3400425 h 4496940"/>
                <a:gd name="connsiteX36" fmla="*/ 4088152 w 4519987"/>
                <a:gd name="connsiteY36" fmla="*/ 3495675 h 4496940"/>
                <a:gd name="connsiteX37" fmla="*/ 4059577 w 4519987"/>
                <a:gd name="connsiteY37" fmla="*/ 3533775 h 4496940"/>
                <a:gd name="connsiteX38" fmla="*/ 4002427 w 4519987"/>
                <a:gd name="connsiteY38" fmla="*/ 3600450 h 4496940"/>
                <a:gd name="connsiteX39" fmla="*/ 3983377 w 4519987"/>
                <a:gd name="connsiteY39" fmla="*/ 3629025 h 4496940"/>
                <a:gd name="connsiteX40" fmla="*/ 3954802 w 4519987"/>
                <a:gd name="connsiteY40" fmla="*/ 3648075 h 4496940"/>
                <a:gd name="connsiteX41" fmla="*/ 3907177 w 4519987"/>
                <a:gd name="connsiteY41" fmla="*/ 3686175 h 4496940"/>
                <a:gd name="connsiteX42" fmla="*/ 3869077 w 4519987"/>
                <a:gd name="connsiteY42" fmla="*/ 3724275 h 4496940"/>
                <a:gd name="connsiteX43" fmla="*/ 3792877 w 4519987"/>
                <a:gd name="connsiteY43" fmla="*/ 3781425 h 4496940"/>
                <a:gd name="connsiteX44" fmla="*/ 3783352 w 4519987"/>
                <a:gd name="connsiteY44" fmla="*/ 3810000 h 4496940"/>
                <a:gd name="connsiteX45" fmla="*/ 3745252 w 4519987"/>
                <a:gd name="connsiteY45" fmla="*/ 3819525 h 4496940"/>
                <a:gd name="connsiteX46" fmla="*/ 3678577 w 4519987"/>
                <a:gd name="connsiteY46" fmla="*/ 3848100 h 4496940"/>
                <a:gd name="connsiteX47" fmla="*/ 3659527 w 4519987"/>
                <a:gd name="connsiteY47" fmla="*/ 3971925 h 4496940"/>
                <a:gd name="connsiteX48" fmla="*/ 3630952 w 4519987"/>
                <a:gd name="connsiteY48" fmla="*/ 4010025 h 4496940"/>
                <a:gd name="connsiteX49" fmla="*/ 3621427 w 4519987"/>
                <a:gd name="connsiteY49" fmla="*/ 4038600 h 4496940"/>
                <a:gd name="connsiteX50" fmla="*/ 3554752 w 4519987"/>
                <a:gd name="connsiteY50" fmla="*/ 4095750 h 4496940"/>
                <a:gd name="connsiteX51" fmla="*/ 3516652 w 4519987"/>
                <a:gd name="connsiteY51" fmla="*/ 4114800 h 4496940"/>
                <a:gd name="connsiteX52" fmla="*/ 3497602 w 4519987"/>
                <a:gd name="connsiteY52" fmla="*/ 4143375 h 4496940"/>
                <a:gd name="connsiteX53" fmla="*/ 3383302 w 4519987"/>
                <a:gd name="connsiteY53" fmla="*/ 4210050 h 4496940"/>
                <a:gd name="connsiteX54" fmla="*/ 3335677 w 4519987"/>
                <a:gd name="connsiteY54" fmla="*/ 4238625 h 4496940"/>
                <a:gd name="connsiteX55" fmla="*/ 3288052 w 4519987"/>
                <a:gd name="connsiteY55" fmla="*/ 4248150 h 4496940"/>
                <a:gd name="connsiteX56" fmla="*/ 3240427 w 4519987"/>
                <a:gd name="connsiteY56" fmla="*/ 4267200 h 4496940"/>
                <a:gd name="connsiteX57" fmla="*/ 3068977 w 4519987"/>
                <a:gd name="connsiteY57" fmla="*/ 4286250 h 4496940"/>
                <a:gd name="connsiteX58" fmla="*/ 2935627 w 4519987"/>
                <a:gd name="connsiteY58" fmla="*/ 4333875 h 4496940"/>
                <a:gd name="connsiteX59" fmla="*/ 2811802 w 4519987"/>
                <a:gd name="connsiteY59" fmla="*/ 4371975 h 4496940"/>
                <a:gd name="connsiteX60" fmla="*/ 2745127 w 4519987"/>
                <a:gd name="connsiteY60" fmla="*/ 4410075 h 4496940"/>
                <a:gd name="connsiteX61" fmla="*/ 2697502 w 4519987"/>
                <a:gd name="connsiteY61" fmla="*/ 4429125 h 4496940"/>
                <a:gd name="connsiteX62" fmla="*/ 2640352 w 4519987"/>
                <a:gd name="connsiteY62" fmla="*/ 4457700 h 4496940"/>
                <a:gd name="connsiteX63" fmla="*/ 2583202 w 4519987"/>
                <a:gd name="connsiteY63" fmla="*/ 4467225 h 4496940"/>
                <a:gd name="connsiteX64" fmla="*/ 2545102 w 4519987"/>
                <a:gd name="connsiteY64" fmla="*/ 4486275 h 4496940"/>
                <a:gd name="connsiteX65" fmla="*/ 2306977 w 4519987"/>
                <a:gd name="connsiteY65" fmla="*/ 4476750 h 4496940"/>
                <a:gd name="connsiteX66" fmla="*/ 2202202 w 4519987"/>
                <a:gd name="connsiteY66" fmla="*/ 4457700 h 4496940"/>
                <a:gd name="connsiteX67" fmla="*/ 2126002 w 4519987"/>
                <a:gd name="connsiteY67" fmla="*/ 4429125 h 4496940"/>
                <a:gd name="connsiteX68" fmla="*/ 1935502 w 4519987"/>
                <a:gd name="connsiteY68" fmla="*/ 4400550 h 4496940"/>
                <a:gd name="connsiteX69" fmla="*/ 1821202 w 4519987"/>
                <a:gd name="connsiteY69" fmla="*/ 4371975 h 4496940"/>
                <a:gd name="connsiteX70" fmla="*/ 1754527 w 4519987"/>
                <a:gd name="connsiteY70" fmla="*/ 4352925 h 4496940"/>
                <a:gd name="connsiteX71" fmla="*/ 1687852 w 4519987"/>
                <a:gd name="connsiteY71" fmla="*/ 4343400 h 4496940"/>
                <a:gd name="connsiteX72" fmla="*/ 1573552 w 4519987"/>
                <a:gd name="connsiteY72" fmla="*/ 4305300 h 4496940"/>
                <a:gd name="connsiteX73" fmla="*/ 1402102 w 4519987"/>
                <a:gd name="connsiteY73" fmla="*/ 4276725 h 4496940"/>
                <a:gd name="connsiteX74" fmla="*/ 1287802 w 4519987"/>
                <a:gd name="connsiteY74" fmla="*/ 4229100 h 4496940"/>
                <a:gd name="connsiteX75" fmla="*/ 1221127 w 4519987"/>
                <a:gd name="connsiteY75" fmla="*/ 4200525 h 4496940"/>
                <a:gd name="connsiteX76" fmla="*/ 1144927 w 4519987"/>
                <a:gd name="connsiteY76" fmla="*/ 4171950 h 4496940"/>
                <a:gd name="connsiteX77" fmla="*/ 1087777 w 4519987"/>
                <a:gd name="connsiteY77" fmla="*/ 4143375 h 4496940"/>
                <a:gd name="connsiteX78" fmla="*/ 1030627 w 4519987"/>
                <a:gd name="connsiteY78" fmla="*/ 4124325 h 4496940"/>
                <a:gd name="connsiteX79" fmla="*/ 925852 w 4519987"/>
                <a:gd name="connsiteY79" fmla="*/ 4067175 h 4496940"/>
                <a:gd name="connsiteX80" fmla="*/ 830602 w 4519987"/>
                <a:gd name="connsiteY80" fmla="*/ 3981450 h 4496940"/>
                <a:gd name="connsiteX81" fmla="*/ 763927 w 4519987"/>
                <a:gd name="connsiteY81" fmla="*/ 3914775 h 4496940"/>
                <a:gd name="connsiteX82" fmla="*/ 725827 w 4519987"/>
                <a:gd name="connsiteY82" fmla="*/ 3876675 h 4496940"/>
                <a:gd name="connsiteX83" fmla="*/ 697252 w 4519987"/>
                <a:gd name="connsiteY83" fmla="*/ 3838575 h 4496940"/>
                <a:gd name="connsiteX84" fmla="*/ 640102 w 4519987"/>
                <a:gd name="connsiteY84" fmla="*/ 3781425 h 4496940"/>
                <a:gd name="connsiteX85" fmla="*/ 611527 w 4519987"/>
                <a:gd name="connsiteY85" fmla="*/ 3733800 h 4496940"/>
                <a:gd name="connsiteX86" fmla="*/ 554377 w 4519987"/>
                <a:gd name="connsiteY86" fmla="*/ 3657600 h 4496940"/>
                <a:gd name="connsiteX87" fmla="*/ 525802 w 4519987"/>
                <a:gd name="connsiteY87" fmla="*/ 3609975 h 4496940"/>
                <a:gd name="connsiteX88" fmla="*/ 497227 w 4519987"/>
                <a:gd name="connsiteY88" fmla="*/ 3552825 h 4496940"/>
                <a:gd name="connsiteX89" fmla="*/ 440077 w 4519987"/>
                <a:gd name="connsiteY89" fmla="*/ 3495675 h 4496940"/>
                <a:gd name="connsiteX90" fmla="*/ 411502 w 4519987"/>
                <a:gd name="connsiteY90" fmla="*/ 3448050 h 4496940"/>
                <a:gd name="connsiteX91" fmla="*/ 278152 w 4519987"/>
                <a:gd name="connsiteY91" fmla="*/ 3257550 h 4496940"/>
                <a:gd name="connsiteX92" fmla="*/ 249577 w 4519987"/>
                <a:gd name="connsiteY92" fmla="*/ 3200400 h 4496940"/>
                <a:gd name="connsiteX93" fmla="*/ 240052 w 4519987"/>
                <a:gd name="connsiteY93" fmla="*/ 3162300 h 4496940"/>
                <a:gd name="connsiteX94" fmla="*/ 221002 w 4519987"/>
                <a:gd name="connsiteY94" fmla="*/ 3105150 h 4496940"/>
                <a:gd name="connsiteX95" fmla="*/ 173377 w 4519987"/>
                <a:gd name="connsiteY95" fmla="*/ 3019425 h 4496940"/>
                <a:gd name="connsiteX96" fmla="*/ 144802 w 4519987"/>
                <a:gd name="connsiteY96" fmla="*/ 2924175 h 4496940"/>
                <a:gd name="connsiteX97" fmla="*/ 68602 w 4519987"/>
                <a:gd name="connsiteY97" fmla="*/ 2724150 h 4496940"/>
                <a:gd name="connsiteX98" fmla="*/ 49552 w 4519987"/>
                <a:gd name="connsiteY98" fmla="*/ 2638425 h 4496940"/>
                <a:gd name="connsiteX99" fmla="*/ 40027 w 4519987"/>
                <a:gd name="connsiteY99" fmla="*/ 2562225 h 4496940"/>
                <a:gd name="connsiteX100" fmla="*/ 30502 w 4519987"/>
                <a:gd name="connsiteY100" fmla="*/ 2514600 h 4496940"/>
                <a:gd name="connsiteX101" fmla="*/ 11452 w 4519987"/>
                <a:gd name="connsiteY101" fmla="*/ 2400300 h 4496940"/>
                <a:gd name="connsiteX102" fmla="*/ 20977 w 4519987"/>
                <a:gd name="connsiteY102" fmla="*/ 1905000 h 4496940"/>
                <a:gd name="connsiteX103" fmla="*/ 30502 w 4519987"/>
                <a:gd name="connsiteY103" fmla="*/ 1838325 h 4496940"/>
                <a:gd name="connsiteX104" fmla="*/ 49552 w 4519987"/>
                <a:gd name="connsiteY104" fmla="*/ 1781175 h 4496940"/>
                <a:gd name="connsiteX105" fmla="*/ 59077 w 4519987"/>
                <a:gd name="connsiteY105" fmla="*/ 1743075 h 4496940"/>
                <a:gd name="connsiteX106" fmla="*/ 78127 w 4519987"/>
                <a:gd name="connsiteY106" fmla="*/ 1685925 h 4496940"/>
                <a:gd name="connsiteX107" fmla="*/ 87652 w 4519987"/>
                <a:gd name="connsiteY107" fmla="*/ 1638300 h 4496940"/>
                <a:gd name="connsiteX108" fmla="*/ 106702 w 4519987"/>
                <a:gd name="connsiteY108" fmla="*/ 1590675 h 4496940"/>
                <a:gd name="connsiteX109" fmla="*/ 135277 w 4519987"/>
                <a:gd name="connsiteY109" fmla="*/ 1504950 h 4496940"/>
                <a:gd name="connsiteX110" fmla="*/ 154327 w 4519987"/>
                <a:gd name="connsiteY110" fmla="*/ 1419225 h 4496940"/>
                <a:gd name="connsiteX111" fmla="*/ 230527 w 4519987"/>
                <a:gd name="connsiteY111" fmla="*/ 1276350 h 4496940"/>
                <a:gd name="connsiteX112" fmla="*/ 240052 w 4519987"/>
                <a:gd name="connsiteY112" fmla="*/ 1247775 h 4496940"/>
                <a:gd name="connsiteX113" fmla="*/ 268627 w 4519987"/>
                <a:gd name="connsiteY113" fmla="*/ 1200150 h 4496940"/>
                <a:gd name="connsiteX114" fmla="*/ 287677 w 4519987"/>
                <a:gd name="connsiteY114" fmla="*/ 1152525 h 4496940"/>
                <a:gd name="connsiteX115" fmla="*/ 316252 w 4519987"/>
                <a:gd name="connsiteY115" fmla="*/ 1114425 h 4496940"/>
                <a:gd name="connsiteX116" fmla="*/ 363877 w 4519987"/>
                <a:gd name="connsiteY116" fmla="*/ 1038225 h 4496940"/>
                <a:gd name="connsiteX117" fmla="*/ 382927 w 4519987"/>
                <a:gd name="connsiteY117" fmla="*/ 1009650 h 4496940"/>
                <a:gd name="connsiteX118" fmla="*/ 440077 w 4519987"/>
                <a:gd name="connsiteY118" fmla="*/ 904875 h 4496940"/>
                <a:gd name="connsiteX119" fmla="*/ 478177 w 4519987"/>
                <a:gd name="connsiteY119" fmla="*/ 857250 h 4496940"/>
                <a:gd name="connsiteX120" fmla="*/ 497227 w 4519987"/>
                <a:gd name="connsiteY120" fmla="*/ 828675 h 4496940"/>
                <a:gd name="connsiteX121" fmla="*/ 535327 w 4519987"/>
                <a:gd name="connsiteY121" fmla="*/ 800100 h 4496940"/>
                <a:gd name="connsiteX122" fmla="*/ 602002 w 4519987"/>
                <a:gd name="connsiteY122" fmla="*/ 733425 h 4496940"/>
                <a:gd name="connsiteX123" fmla="*/ 668677 w 4519987"/>
                <a:gd name="connsiteY123" fmla="*/ 676275 h 4496940"/>
                <a:gd name="connsiteX124" fmla="*/ 697252 w 4519987"/>
                <a:gd name="connsiteY124" fmla="*/ 657225 h 4496940"/>
                <a:gd name="connsiteX125" fmla="*/ 840127 w 4519987"/>
                <a:gd name="connsiteY125" fmla="*/ 533400 h 4496940"/>
                <a:gd name="connsiteX126" fmla="*/ 887752 w 4519987"/>
                <a:gd name="connsiteY126" fmla="*/ 504825 h 4496940"/>
                <a:gd name="connsiteX127" fmla="*/ 1167152 w 4519987"/>
                <a:gd name="connsiteY127" fmla="*/ 311150 h 4496940"/>
                <a:gd name="connsiteX128" fmla="*/ 1268752 w 4519987"/>
                <a:gd name="connsiteY128" fmla="*/ 285750 h 4496940"/>
                <a:gd name="connsiteX129" fmla="*/ 1411627 w 4519987"/>
                <a:gd name="connsiteY129" fmla="*/ 190500 h 4496940"/>
                <a:gd name="connsiteX130" fmla="*/ 1449727 w 4519987"/>
                <a:gd name="connsiteY130" fmla="*/ 161925 h 4496940"/>
                <a:gd name="connsiteX131" fmla="*/ 1525927 w 4519987"/>
                <a:gd name="connsiteY131" fmla="*/ 152400 h 4496940"/>
                <a:gd name="connsiteX132" fmla="*/ 1583077 w 4519987"/>
                <a:gd name="connsiteY132" fmla="*/ 142875 h 4496940"/>
                <a:gd name="connsiteX133" fmla="*/ 1716427 w 4519987"/>
                <a:gd name="connsiteY133" fmla="*/ 123825 h 4496940"/>
                <a:gd name="connsiteX134" fmla="*/ 1811677 w 4519987"/>
                <a:gd name="connsiteY134" fmla="*/ 114300 h 4496940"/>
                <a:gd name="connsiteX135" fmla="*/ 1859302 w 4519987"/>
                <a:gd name="connsiteY135" fmla="*/ 104775 h 4496940"/>
                <a:gd name="connsiteX136" fmla="*/ 1916452 w 4519987"/>
                <a:gd name="connsiteY136" fmla="*/ 95250 h 4496940"/>
                <a:gd name="connsiteX137" fmla="*/ 2030752 w 4519987"/>
                <a:gd name="connsiteY137" fmla="*/ 66675 h 4496940"/>
                <a:gd name="connsiteX138" fmla="*/ 2097427 w 4519987"/>
                <a:gd name="connsiteY138" fmla="*/ 47625 h 4496940"/>
                <a:gd name="connsiteX139" fmla="*/ 2164102 w 4519987"/>
                <a:gd name="connsiteY139" fmla="*/ 38100 h 4496940"/>
                <a:gd name="connsiteX140" fmla="*/ 2392702 w 4519987"/>
                <a:gd name="connsiteY14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221502 w 4519987"/>
                <a:gd name="connsiteY33" fmla="*/ 3333750 h 4496940"/>
                <a:gd name="connsiteX34" fmla="*/ 4183402 w 4519987"/>
                <a:gd name="connsiteY34" fmla="*/ 3400425 h 4496940"/>
                <a:gd name="connsiteX35" fmla="*/ 4088152 w 4519987"/>
                <a:gd name="connsiteY35" fmla="*/ 3495675 h 4496940"/>
                <a:gd name="connsiteX36" fmla="*/ 4059577 w 4519987"/>
                <a:gd name="connsiteY36" fmla="*/ 3533775 h 4496940"/>
                <a:gd name="connsiteX37" fmla="*/ 4002427 w 4519987"/>
                <a:gd name="connsiteY37" fmla="*/ 3600450 h 4496940"/>
                <a:gd name="connsiteX38" fmla="*/ 3983377 w 4519987"/>
                <a:gd name="connsiteY38" fmla="*/ 3629025 h 4496940"/>
                <a:gd name="connsiteX39" fmla="*/ 3954802 w 4519987"/>
                <a:gd name="connsiteY39" fmla="*/ 3648075 h 4496940"/>
                <a:gd name="connsiteX40" fmla="*/ 3907177 w 4519987"/>
                <a:gd name="connsiteY40" fmla="*/ 3686175 h 4496940"/>
                <a:gd name="connsiteX41" fmla="*/ 3869077 w 4519987"/>
                <a:gd name="connsiteY41" fmla="*/ 3724275 h 4496940"/>
                <a:gd name="connsiteX42" fmla="*/ 3792877 w 4519987"/>
                <a:gd name="connsiteY42" fmla="*/ 3781425 h 4496940"/>
                <a:gd name="connsiteX43" fmla="*/ 3783352 w 4519987"/>
                <a:gd name="connsiteY43" fmla="*/ 3810000 h 4496940"/>
                <a:gd name="connsiteX44" fmla="*/ 3745252 w 4519987"/>
                <a:gd name="connsiteY44" fmla="*/ 3819525 h 4496940"/>
                <a:gd name="connsiteX45" fmla="*/ 3678577 w 4519987"/>
                <a:gd name="connsiteY45" fmla="*/ 3848100 h 4496940"/>
                <a:gd name="connsiteX46" fmla="*/ 3659527 w 4519987"/>
                <a:gd name="connsiteY46" fmla="*/ 3971925 h 4496940"/>
                <a:gd name="connsiteX47" fmla="*/ 3630952 w 4519987"/>
                <a:gd name="connsiteY47" fmla="*/ 4010025 h 4496940"/>
                <a:gd name="connsiteX48" fmla="*/ 3621427 w 4519987"/>
                <a:gd name="connsiteY48" fmla="*/ 4038600 h 4496940"/>
                <a:gd name="connsiteX49" fmla="*/ 3554752 w 4519987"/>
                <a:gd name="connsiteY49" fmla="*/ 4095750 h 4496940"/>
                <a:gd name="connsiteX50" fmla="*/ 3516652 w 4519987"/>
                <a:gd name="connsiteY50" fmla="*/ 4114800 h 4496940"/>
                <a:gd name="connsiteX51" fmla="*/ 3497602 w 4519987"/>
                <a:gd name="connsiteY51" fmla="*/ 4143375 h 4496940"/>
                <a:gd name="connsiteX52" fmla="*/ 3383302 w 4519987"/>
                <a:gd name="connsiteY52" fmla="*/ 4210050 h 4496940"/>
                <a:gd name="connsiteX53" fmla="*/ 3335677 w 4519987"/>
                <a:gd name="connsiteY53" fmla="*/ 4238625 h 4496940"/>
                <a:gd name="connsiteX54" fmla="*/ 3288052 w 4519987"/>
                <a:gd name="connsiteY54" fmla="*/ 4248150 h 4496940"/>
                <a:gd name="connsiteX55" fmla="*/ 3240427 w 4519987"/>
                <a:gd name="connsiteY55" fmla="*/ 4267200 h 4496940"/>
                <a:gd name="connsiteX56" fmla="*/ 3068977 w 4519987"/>
                <a:gd name="connsiteY56" fmla="*/ 4286250 h 4496940"/>
                <a:gd name="connsiteX57" fmla="*/ 2935627 w 4519987"/>
                <a:gd name="connsiteY57" fmla="*/ 4333875 h 4496940"/>
                <a:gd name="connsiteX58" fmla="*/ 2811802 w 4519987"/>
                <a:gd name="connsiteY58" fmla="*/ 4371975 h 4496940"/>
                <a:gd name="connsiteX59" fmla="*/ 2745127 w 4519987"/>
                <a:gd name="connsiteY59" fmla="*/ 4410075 h 4496940"/>
                <a:gd name="connsiteX60" fmla="*/ 2697502 w 4519987"/>
                <a:gd name="connsiteY60" fmla="*/ 4429125 h 4496940"/>
                <a:gd name="connsiteX61" fmla="*/ 2640352 w 4519987"/>
                <a:gd name="connsiteY61" fmla="*/ 4457700 h 4496940"/>
                <a:gd name="connsiteX62" fmla="*/ 2583202 w 4519987"/>
                <a:gd name="connsiteY62" fmla="*/ 4467225 h 4496940"/>
                <a:gd name="connsiteX63" fmla="*/ 2545102 w 4519987"/>
                <a:gd name="connsiteY63" fmla="*/ 4486275 h 4496940"/>
                <a:gd name="connsiteX64" fmla="*/ 2306977 w 4519987"/>
                <a:gd name="connsiteY64" fmla="*/ 4476750 h 4496940"/>
                <a:gd name="connsiteX65" fmla="*/ 2202202 w 4519987"/>
                <a:gd name="connsiteY65" fmla="*/ 4457700 h 4496940"/>
                <a:gd name="connsiteX66" fmla="*/ 2126002 w 4519987"/>
                <a:gd name="connsiteY66" fmla="*/ 4429125 h 4496940"/>
                <a:gd name="connsiteX67" fmla="*/ 1935502 w 4519987"/>
                <a:gd name="connsiteY67" fmla="*/ 4400550 h 4496940"/>
                <a:gd name="connsiteX68" fmla="*/ 1821202 w 4519987"/>
                <a:gd name="connsiteY68" fmla="*/ 4371975 h 4496940"/>
                <a:gd name="connsiteX69" fmla="*/ 1754527 w 4519987"/>
                <a:gd name="connsiteY69" fmla="*/ 4352925 h 4496940"/>
                <a:gd name="connsiteX70" fmla="*/ 1687852 w 4519987"/>
                <a:gd name="connsiteY70" fmla="*/ 4343400 h 4496940"/>
                <a:gd name="connsiteX71" fmla="*/ 1573552 w 4519987"/>
                <a:gd name="connsiteY71" fmla="*/ 4305300 h 4496940"/>
                <a:gd name="connsiteX72" fmla="*/ 1402102 w 4519987"/>
                <a:gd name="connsiteY72" fmla="*/ 4276725 h 4496940"/>
                <a:gd name="connsiteX73" fmla="*/ 1287802 w 4519987"/>
                <a:gd name="connsiteY73" fmla="*/ 4229100 h 4496940"/>
                <a:gd name="connsiteX74" fmla="*/ 1221127 w 4519987"/>
                <a:gd name="connsiteY74" fmla="*/ 4200525 h 4496940"/>
                <a:gd name="connsiteX75" fmla="*/ 1144927 w 4519987"/>
                <a:gd name="connsiteY75" fmla="*/ 4171950 h 4496940"/>
                <a:gd name="connsiteX76" fmla="*/ 1087777 w 4519987"/>
                <a:gd name="connsiteY76" fmla="*/ 4143375 h 4496940"/>
                <a:gd name="connsiteX77" fmla="*/ 1030627 w 4519987"/>
                <a:gd name="connsiteY77" fmla="*/ 4124325 h 4496940"/>
                <a:gd name="connsiteX78" fmla="*/ 925852 w 4519987"/>
                <a:gd name="connsiteY78" fmla="*/ 4067175 h 4496940"/>
                <a:gd name="connsiteX79" fmla="*/ 830602 w 4519987"/>
                <a:gd name="connsiteY79" fmla="*/ 3981450 h 4496940"/>
                <a:gd name="connsiteX80" fmla="*/ 763927 w 4519987"/>
                <a:gd name="connsiteY80" fmla="*/ 3914775 h 4496940"/>
                <a:gd name="connsiteX81" fmla="*/ 725827 w 4519987"/>
                <a:gd name="connsiteY81" fmla="*/ 3876675 h 4496940"/>
                <a:gd name="connsiteX82" fmla="*/ 697252 w 4519987"/>
                <a:gd name="connsiteY82" fmla="*/ 3838575 h 4496940"/>
                <a:gd name="connsiteX83" fmla="*/ 640102 w 4519987"/>
                <a:gd name="connsiteY83" fmla="*/ 3781425 h 4496940"/>
                <a:gd name="connsiteX84" fmla="*/ 611527 w 4519987"/>
                <a:gd name="connsiteY84" fmla="*/ 3733800 h 4496940"/>
                <a:gd name="connsiteX85" fmla="*/ 554377 w 4519987"/>
                <a:gd name="connsiteY85" fmla="*/ 3657600 h 4496940"/>
                <a:gd name="connsiteX86" fmla="*/ 525802 w 4519987"/>
                <a:gd name="connsiteY86" fmla="*/ 3609975 h 4496940"/>
                <a:gd name="connsiteX87" fmla="*/ 497227 w 4519987"/>
                <a:gd name="connsiteY87" fmla="*/ 3552825 h 4496940"/>
                <a:gd name="connsiteX88" fmla="*/ 440077 w 4519987"/>
                <a:gd name="connsiteY88" fmla="*/ 3495675 h 4496940"/>
                <a:gd name="connsiteX89" fmla="*/ 411502 w 4519987"/>
                <a:gd name="connsiteY89" fmla="*/ 3448050 h 4496940"/>
                <a:gd name="connsiteX90" fmla="*/ 278152 w 4519987"/>
                <a:gd name="connsiteY90" fmla="*/ 3257550 h 4496940"/>
                <a:gd name="connsiteX91" fmla="*/ 249577 w 4519987"/>
                <a:gd name="connsiteY91" fmla="*/ 3200400 h 4496940"/>
                <a:gd name="connsiteX92" fmla="*/ 240052 w 4519987"/>
                <a:gd name="connsiteY92" fmla="*/ 3162300 h 4496940"/>
                <a:gd name="connsiteX93" fmla="*/ 221002 w 4519987"/>
                <a:gd name="connsiteY93" fmla="*/ 3105150 h 4496940"/>
                <a:gd name="connsiteX94" fmla="*/ 173377 w 4519987"/>
                <a:gd name="connsiteY94" fmla="*/ 3019425 h 4496940"/>
                <a:gd name="connsiteX95" fmla="*/ 144802 w 4519987"/>
                <a:gd name="connsiteY95" fmla="*/ 2924175 h 4496940"/>
                <a:gd name="connsiteX96" fmla="*/ 68602 w 4519987"/>
                <a:gd name="connsiteY96" fmla="*/ 2724150 h 4496940"/>
                <a:gd name="connsiteX97" fmla="*/ 49552 w 4519987"/>
                <a:gd name="connsiteY97" fmla="*/ 2638425 h 4496940"/>
                <a:gd name="connsiteX98" fmla="*/ 40027 w 4519987"/>
                <a:gd name="connsiteY98" fmla="*/ 2562225 h 4496940"/>
                <a:gd name="connsiteX99" fmla="*/ 30502 w 4519987"/>
                <a:gd name="connsiteY99" fmla="*/ 2514600 h 4496940"/>
                <a:gd name="connsiteX100" fmla="*/ 11452 w 4519987"/>
                <a:gd name="connsiteY100" fmla="*/ 2400300 h 4496940"/>
                <a:gd name="connsiteX101" fmla="*/ 20977 w 4519987"/>
                <a:gd name="connsiteY101" fmla="*/ 1905000 h 4496940"/>
                <a:gd name="connsiteX102" fmla="*/ 30502 w 4519987"/>
                <a:gd name="connsiteY102" fmla="*/ 1838325 h 4496940"/>
                <a:gd name="connsiteX103" fmla="*/ 49552 w 4519987"/>
                <a:gd name="connsiteY103" fmla="*/ 1781175 h 4496940"/>
                <a:gd name="connsiteX104" fmla="*/ 59077 w 4519987"/>
                <a:gd name="connsiteY104" fmla="*/ 1743075 h 4496940"/>
                <a:gd name="connsiteX105" fmla="*/ 78127 w 4519987"/>
                <a:gd name="connsiteY105" fmla="*/ 1685925 h 4496940"/>
                <a:gd name="connsiteX106" fmla="*/ 87652 w 4519987"/>
                <a:gd name="connsiteY106" fmla="*/ 1638300 h 4496940"/>
                <a:gd name="connsiteX107" fmla="*/ 106702 w 4519987"/>
                <a:gd name="connsiteY107" fmla="*/ 1590675 h 4496940"/>
                <a:gd name="connsiteX108" fmla="*/ 135277 w 4519987"/>
                <a:gd name="connsiteY108" fmla="*/ 1504950 h 4496940"/>
                <a:gd name="connsiteX109" fmla="*/ 154327 w 4519987"/>
                <a:gd name="connsiteY109" fmla="*/ 1419225 h 4496940"/>
                <a:gd name="connsiteX110" fmla="*/ 230527 w 4519987"/>
                <a:gd name="connsiteY110" fmla="*/ 1276350 h 4496940"/>
                <a:gd name="connsiteX111" fmla="*/ 240052 w 4519987"/>
                <a:gd name="connsiteY111" fmla="*/ 1247775 h 4496940"/>
                <a:gd name="connsiteX112" fmla="*/ 268627 w 4519987"/>
                <a:gd name="connsiteY112" fmla="*/ 1200150 h 4496940"/>
                <a:gd name="connsiteX113" fmla="*/ 287677 w 4519987"/>
                <a:gd name="connsiteY113" fmla="*/ 1152525 h 4496940"/>
                <a:gd name="connsiteX114" fmla="*/ 316252 w 4519987"/>
                <a:gd name="connsiteY114" fmla="*/ 1114425 h 4496940"/>
                <a:gd name="connsiteX115" fmla="*/ 363877 w 4519987"/>
                <a:gd name="connsiteY115" fmla="*/ 1038225 h 4496940"/>
                <a:gd name="connsiteX116" fmla="*/ 382927 w 4519987"/>
                <a:gd name="connsiteY116" fmla="*/ 1009650 h 4496940"/>
                <a:gd name="connsiteX117" fmla="*/ 440077 w 4519987"/>
                <a:gd name="connsiteY117" fmla="*/ 904875 h 4496940"/>
                <a:gd name="connsiteX118" fmla="*/ 478177 w 4519987"/>
                <a:gd name="connsiteY118" fmla="*/ 857250 h 4496940"/>
                <a:gd name="connsiteX119" fmla="*/ 497227 w 4519987"/>
                <a:gd name="connsiteY119" fmla="*/ 828675 h 4496940"/>
                <a:gd name="connsiteX120" fmla="*/ 535327 w 4519987"/>
                <a:gd name="connsiteY120" fmla="*/ 800100 h 4496940"/>
                <a:gd name="connsiteX121" fmla="*/ 602002 w 4519987"/>
                <a:gd name="connsiteY121" fmla="*/ 733425 h 4496940"/>
                <a:gd name="connsiteX122" fmla="*/ 668677 w 4519987"/>
                <a:gd name="connsiteY122" fmla="*/ 676275 h 4496940"/>
                <a:gd name="connsiteX123" fmla="*/ 697252 w 4519987"/>
                <a:gd name="connsiteY123" fmla="*/ 657225 h 4496940"/>
                <a:gd name="connsiteX124" fmla="*/ 840127 w 4519987"/>
                <a:gd name="connsiteY124" fmla="*/ 533400 h 4496940"/>
                <a:gd name="connsiteX125" fmla="*/ 887752 w 4519987"/>
                <a:gd name="connsiteY125" fmla="*/ 504825 h 4496940"/>
                <a:gd name="connsiteX126" fmla="*/ 1167152 w 4519987"/>
                <a:gd name="connsiteY126" fmla="*/ 311150 h 4496940"/>
                <a:gd name="connsiteX127" fmla="*/ 1268752 w 4519987"/>
                <a:gd name="connsiteY127" fmla="*/ 285750 h 4496940"/>
                <a:gd name="connsiteX128" fmla="*/ 1411627 w 4519987"/>
                <a:gd name="connsiteY128" fmla="*/ 190500 h 4496940"/>
                <a:gd name="connsiteX129" fmla="*/ 1449727 w 4519987"/>
                <a:gd name="connsiteY129" fmla="*/ 161925 h 4496940"/>
                <a:gd name="connsiteX130" fmla="*/ 1525927 w 4519987"/>
                <a:gd name="connsiteY130" fmla="*/ 152400 h 4496940"/>
                <a:gd name="connsiteX131" fmla="*/ 1583077 w 4519987"/>
                <a:gd name="connsiteY131" fmla="*/ 142875 h 4496940"/>
                <a:gd name="connsiteX132" fmla="*/ 1716427 w 4519987"/>
                <a:gd name="connsiteY132" fmla="*/ 123825 h 4496940"/>
                <a:gd name="connsiteX133" fmla="*/ 1811677 w 4519987"/>
                <a:gd name="connsiteY133" fmla="*/ 114300 h 4496940"/>
                <a:gd name="connsiteX134" fmla="*/ 1859302 w 4519987"/>
                <a:gd name="connsiteY134" fmla="*/ 104775 h 4496940"/>
                <a:gd name="connsiteX135" fmla="*/ 1916452 w 4519987"/>
                <a:gd name="connsiteY135" fmla="*/ 95250 h 4496940"/>
                <a:gd name="connsiteX136" fmla="*/ 2030752 w 4519987"/>
                <a:gd name="connsiteY136" fmla="*/ 66675 h 4496940"/>
                <a:gd name="connsiteX137" fmla="*/ 2097427 w 4519987"/>
                <a:gd name="connsiteY137" fmla="*/ 47625 h 4496940"/>
                <a:gd name="connsiteX138" fmla="*/ 2164102 w 4519987"/>
                <a:gd name="connsiteY138" fmla="*/ 38100 h 4496940"/>
                <a:gd name="connsiteX139" fmla="*/ 2392702 w 4519987"/>
                <a:gd name="connsiteY13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83377 w 4519987"/>
                <a:gd name="connsiteY37" fmla="*/ 3629025 h 4496940"/>
                <a:gd name="connsiteX38" fmla="*/ 3954802 w 4519987"/>
                <a:gd name="connsiteY38" fmla="*/ 3648075 h 4496940"/>
                <a:gd name="connsiteX39" fmla="*/ 3907177 w 4519987"/>
                <a:gd name="connsiteY39" fmla="*/ 3686175 h 4496940"/>
                <a:gd name="connsiteX40" fmla="*/ 3869077 w 4519987"/>
                <a:gd name="connsiteY40" fmla="*/ 3724275 h 4496940"/>
                <a:gd name="connsiteX41" fmla="*/ 3792877 w 4519987"/>
                <a:gd name="connsiteY41" fmla="*/ 3781425 h 4496940"/>
                <a:gd name="connsiteX42" fmla="*/ 3783352 w 4519987"/>
                <a:gd name="connsiteY42" fmla="*/ 3810000 h 4496940"/>
                <a:gd name="connsiteX43" fmla="*/ 3745252 w 4519987"/>
                <a:gd name="connsiteY43" fmla="*/ 3819525 h 4496940"/>
                <a:gd name="connsiteX44" fmla="*/ 3678577 w 4519987"/>
                <a:gd name="connsiteY44" fmla="*/ 3848100 h 4496940"/>
                <a:gd name="connsiteX45" fmla="*/ 3659527 w 4519987"/>
                <a:gd name="connsiteY45" fmla="*/ 3971925 h 4496940"/>
                <a:gd name="connsiteX46" fmla="*/ 3630952 w 4519987"/>
                <a:gd name="connsiteY46" fmla="*/ 4010025 h 4496940"/>
                <a:gd name="connsiteX47" fmla="*/ 3621427 w 4519987"/>
                <a:gd name="connsiteY47" fmla="*/ 4038600 h 4496940"/>
                <a:gd name="connsiteX48" fmla="*/ 3554752 w 4519987"/>
                <a:gd name="connsiteY48" fmla="*/ 4095750 h 4496940"/>
                <a:gd name="connsiteX49" fmla="*/ 3516652 w 4519987"/>
                <a:gd name="connsiteY49" fmla="*/ 4114800 h 4496940"/>
                <a:gd name="connsiteX50" fmla="*/ 3497602 w 4519987"/>
                <a:gd name="connsiteY50" fmla="*/ 4143375 h 4496940"/>
                <a:gd name="connsiteX51" fmla="*/ 3383302 w 4519987"/>
                <a:gd name="connsiteY51" fmla="*/ 4210050 h 4496940"/>
                <a:gd name="connsiteX52" fmla="*/ 3335677 w 4519987"/>
                <a:gd name="connsiteY52" fmla="*/ 4238625 h 4496940"/>
                <a:gd name="connsiteX53" fmla="*/ 3288052 w 4519987"/>
                <a:gd name="connsiteY53" fmla="*/ 4248150 h 4496940"/>
                <a:gd name="connsiteX54" fmla="*/ 3240427 w 4519987"/>
                <a:gd name="connsiteY54" fmla="*/ 4267200 h 4496940"/>
                <a:gd name="connsiteX55" fmla="*/ 3068977 w 4519987"/>
                <a:gd name="connsiteY55" fmla="*/ 4286250 h 4496940"/>
                <a:gd name="connsiteX56" fmla="*/ 2935627 w 4519987"/>
                <a:gd name="connsiteY56" fmla="*/ 4333875 h 4496940"/>
                <a:gd name="connsiteX57" fmla="*/ 2811802 w 4519987"/>
                <a:gd name="connsiteY57" fmla="*/ 4371975 h 4496940"/>
                <a:gd name="connsiteX58" fmla="*/ 2745127 w 4519987"/>
                <a:gd name="connsiteY58" fmla="*/ 4410075 h 4496940"/>
                <a:gd name="connsiteX59" fmla="*/ 2697502 w 4519987"/>
                <a:gd name="connsiteY59" fmla="*/ 4429125 h 4496940"/>
                <a:gd name="connsiteX60" fmla="*/ 2640352 w 4519987"/>
                <a:gd name="connsiteY60" fmla="*/ 4457700 h 4496940"/>
                <a:gd name="connsiteX61" fmla="*/ 2583202 w 4519987"/>
                <a:gd name="connsiteY61" fmla="*/ 4467225 h 4496940"/>
                <a:gd name="connsiteX62" fmla="*/ 2545102 w 4519987"/>
                <a:gd name="connsiteY62" fmla="*/ 4486275 h 4496940"/>
                <a:gd name="connsiteX63" fmla="*/ 2306977 w 4519987"/>
                <a:gd name="connsiteY63" fmla="*/ 4476750 h 4496940"/>
                <a:gd name="connsiteX64" fmla="*/ 2202202 w 4519987"/>
                <a:gd name="connsiteY64" fmla="*/ 4457700 h 4496940"/>
                <a:gd name="connsiteX65" fmla="*/ 2126002 w 4519987"/>
                <a:gd name="connsiteY65" fmla="*/ 4429125 h 4496940"/>
                <a:gd name="connsiteX66" fmla="*/ 1935502 w 4519987"/>
                <a:gd name="connsiteY66" fmla="*/ 4400550 h 4496940"/>
                <a:gd name="connsiteX67" fmla="*/ 1821202 w 4519987"/>
                <a:gd name="connsiteY67" fmla="*/ 4371975 h 4496940"/>
                <a:gd name="connsiteX68" fmla="*/ 1754527 w 4519987"/>
                <a:gd name="connsiteY68" fmla="*/ 4352925 h 4496940"/>
                <a:gd name="connsiteX69" fmla="*/ 1687852 w 4519987"/>
                <a:gd name="connsiteY69" fmla="*/ 4343400 h 4496940"/>
                <a:gd name="connsiteX70" fmla="*/ 1573552 w 4519987"/>
                <a:gd name="connsiteY70" fmla="*/ 4305300 h 4496940"/>
                <a:gd name="connsiteX71" fmla="*/ 1402102 w 4519987"/>
                <a:gd name="connsiteY71" fmla="*/ 4276725 h 4496940"/>
                <a:gd name="connsiteX72" fmla="*/ 1287802 w 4519987"/>
                <a:gd name="connsiteY72" fmla="*/ 4229100 h 4496940"/>
                <a:gd name="connsiteX73" fmla="*/ 1221127 w 4519987"/>
                <a:gd name="connsiteY73" fmla="*/ 4200525 h 4496940"/>
                <a:gd name="connsiteX74" fmla="*/ 1144927 w 4519987"/>
                <a:gd name="connsiteY74" fmla="*/ 4171950 h 4496940"/>
                <a:gd name="connsiteX75" fmla="*/ 1087777 w 4519987"/>
                <a:gd name="connsiteY75" fmla="*/ 4143375 h 4496940"/>
                <a:gd name="connsiteX76" fmla="*/ 1030627 w 4519987"/>
                <a:gd name="connsiteY76" fmla="*/ 4124325 h 4496940"/>
                <a:gd name="connsiteX77" fmla="*/ 925852 w 4519987"/>
                <a:gd name="connsiteY77" fmla="*/ 4067175 h 4496940"/>
                <a:gd name="connsiteX78" fmla="*/ 830602 w 4519987"/>
                <a:gd name="connsiteY78" fmla="*/ 3981450 h 4496940"/>
                <a:gd name="connsiteX79" fmla="*/ 763927 w 4519987"/>
                <a:gd name="connsiteY79" fmla="*/ 3914775 h 4496940"/>
                <a:gd name="connsiteX80" fmla="*/ 725827 w 4519987"/>
                <a:gd name="connsiteY80" fmla="*/ 3876675 h 4496940"/>
                <a:gd name="connsiteX81" fmla="*/ 697252 w 4519987"/>
                <a:gd name="connsiteY81" fmla="*/ 3838575 h 4496940"/>
                <a:gd name="connsiteX82" fmla="*/ 640102 w 4519987"/>
                <a:gd name="connsiteY82" fmla="*/ 3781425 h 4496940"/>
                <a:gd name="connsiteX83" fmla="*/ 611527 w 4519987"/>
                <a:gd name="connsiteY83" fmla="*/ 3733800 h 4496940"/>
                <a:gd name="connsiteX84" fmla="*/ 554377 w 4519987"/>
                <a:gd name="connsiteY84" fmla="*/ 3657600 h 4496940"/>
                <a:gd name="connsiteX85" fmla="*/ 525802 w 4519987"/>
                <a:gd name="connsiteY85" fmla="*/ 3609975 h 4496940"/>
                <a:gd name="connsiteX86" fmla="*/ 497227 w 4519987"/>
                <a:gd name="connsiteY86" fmla="*/ 3552825 h 4496940"/>
                <a:gd name="connsiteX87" fmla="*/ 440077 w 4519987"/>
                <a:gd name="connsiteY87" fmla="*/ 3495675 h 4496940"/>
                <a:gd name="connsiteX88" fmla="*/ 411502 w 4519987"/>
                <a:gd name="connsiteY88" fmla="*/ 3448050 h 4496940"/>
                <a:gd name="connsiteX89" fmla="*/ 278152 w 4519987"/>
                <a:gd name="connsiteY89" fmla="*/ 3257550 h 4496940"/>
                <a:gd name="connsiteX90" fmla="*/ 249577 w 4519987"/>
                <a:gd name="connsiteY90" fmla="*/ 3200400 h 4496940"/>
                <a:gd name="connsiteX91" fmla="*/ 240052 w 4519987"/>
                <a:gd name="connsiteY91" fmla="*/ 3162300 h 4496940"/>
                <a:gd name="connsiteX92" fmla="*/ 221002 w 4519987"/>
                <a:gd name="connsiteY92" fmla="*/ 3105150 h 4496940"/>
                <a:gd name="connsiteX93" fmla="*/ 173377 w 4519987"/>
                <a:gd name="connsiteY93" fmla="*/ 3019425 h 4496940"/>
                <a:gd name="connsiteX94" fmla="*/ 144802 w 4519987"/>
                <a:gd name="connsiteY94" fmla="*/ 2924175 h 4496940"/>
                <a:gd name="connsiteX95" fmla="*/ 68602 w 4519987"/>
                <a:gd name="connsiteY95" fmla="*/ 2724150 h 4496940"/>
                <a:gd name="connsiteX96" fmla="*/ 49552 w 4519987"/>
                <a:gd name="connsiteY96" fmla="*/ 2638425 h 4496940"/>
                <a:gd name="connsiteX97" fmla="*/ 40027 w 4519987"/>
                <a:gd name="connsiteY97" fmla="*/ 2562225 h 4496940"/>
                <a:gd name="connsiteX98" fmla="*/ 30502 w 4519987"/>
                <a:gd name="connsiteY98" fmla="*/ 2514600 h 4496940"/>
                <a:gd name="connsiteX99" fmla="*/ 11452 w 4519987"/>
                <a:gd name="connsiteY99" fmla="*/ 2400300 h 4496940"/>
                <a:gd name="connsiteX100" fmla="*/ 20977 w 4519987"/>
                <a:gd name="connsiteY100" fmla="*/ 1905000 h 4496940"/>
                <a:gd name="connsiteX101" fmla="*/ 30502 w 4519987"/>
                <a:gd name="connsiteY101" fmla="*/ 1838325 h 4496940"/>
                <a:gd name="connsiteX102" fmla="*/ 49552 w 4519987"/>
                <a:gd name="connsiteY102" fmla="*/ 1781175 h 4496940"/>
                <a:gd name="connsiteX103" fmla="*/ 59077 w 4519987"/>
                <a:gd name="connsiteY103" fmla="*/ 1743075 h 4496940"/>
                <a:gd name="connsiteX104" fmla="*/ 78127 w 4519987"/>
                <a:gd name="connsiteY104" fmla="*/ 1685925 h 4496940"/>
                <a:gd name="connsiteX105" fmla="*/ 87652 w 4519987"/>
                <a:gd name="connsiteY105" fmla="*/ 1638300 h 4496940"/>
                <a:gd name="connsiteX106" fmla="*/ 106702 w 4519987"/>
                <a:gd name="connsiteY106" fmla="*/ 1590675 h 4496940"/>
                <a:gd name="connsiteX107" fmla="*/ 135277 w 4519987"/>
                <a:gd name="connsiteY107" fmla="*/ 1504950 h 4496940"/>
                <a:gd name="connsiteX108" fmla="*/ 154327 w 4519987"/>
                <a:gd name="connsiteY108" fmla="*/ 1419225 h 4496940"/>
                <a:gd name="connsiteX109" fmla="*/ 230527 w 4519987"/>
                <a:gd name="connsiteY109" fmla="*/ 1276350 h 4496940"/>
                <a:gd name="connsiteX110" fmla="*/ 240052 w 4519987"/>
                <a:gd name="connsiteY110" fmla="*/ 1247775 h 4496940"/>
                <a:gd name="connsiteX111" fmla="*/ 268627 w 4519987"/>
                <a:gd name="connsiteY111" fmla="*/ 1200150 h 4496940"/>
                <a:gd name="connsiteX112" fmla="*/ 287677 w 4519987"/>
                <a:gd name="connsiteY112" fmla="*/ 1152525 h 4496940"/>
                <a:gd name="connsiteX113" fmla="*/ 316252 w 4519987"/>
                <a:gd name="connsiteY113" fmla="*/ 1114425 h 4496940"/>
                <a:gd name="connsiteX114" fmla="*/ 363877 w 4519987"/>
                <a:gd name="connsiteY114" fmla="*/ 1038225 h 4496940"/>
                <a:gd name="connsiteX115" fmla="*/ 382927 w 4519987"/>
                <a:gd name="connsiteY115" fmla="*/ 1009650 h 4496940"/>
                <a:gd name="connsiteX116" fmla="*/ 440077 w 4519987"/>
                <a:gd name="connsiteY116" fmla="*/ 904875 h 4496940"/>
                <a:gd name="connsiteX117" fmla="*/ 478177 w 4519987"/>
                <a:gd name="connsiteY117" fmla="*/ 857250 h 4496940"/>
                <a:gd name="connsiteX118" fmla="*/ 497227 w 4519987"/>
                <a:gd name="connsiteY118" fmla="*/ 828675 h 4496940"/>
                <a:gd name="connsiteX119" fmla="*/ 535327 w 4519987"/>
                <a:gd name="connsiteY119" fmla="*/ 800100 h 4496940"/>
                <a:gd name="connsiteX120" fmla="*/ 602002 w 4519987"/>
                <a:gd name="connsiteY120" fmla="*/ 733425 h 4496940"/>
                <a:gd name="connsiteX121" fmla="*/ 668677 w 4519987"/>
                <a:gd name="connsiteY121" fmla="*/ 676275 h 4496940"/>
                <a:gd name="connsiteX122" fmla="*/ 697252 w 4519987"/>
                <a:gd name="connsiteY122" fmla="*/ 657225 h 4496940"/>
                <a:gd name="connsiteX123" fmla="*/ 840127 w 4519987"/>
                <a:gd name="connsiteY123" fmla="*/ 533400 h 4496940"/>
                <a:gd name="connsiteX124" fmla="*/ 887752 w 4519987"/>
                <a:gd name="connsiteY124" fmla="*/ 504825 h 4496940"/>
                <a:gd name="connsiteX125" fmla="*/ 1167152 w 4519987"/>
                <a:gd name="connsiteY125" fmla="*/ 311150 h 4496940"/>
                <a:gd name="connsiteX126" fmla="*/ 1268752 w 4519987"/>
                <a:gd name="connsiteY126" fmla="*/ 285750 h 4496940"/>
                <a:gd name="connsiteX127" fmla="*/ 1411627 w 4519987"/>
                <a:gd name="connsiteY127" fmla="*/ 190500 h 4496940"/>
                <a:gd name="connsiteX128" fmla="*/ 1449727 w 4519987"/>
                <a:gd name="connsiteY128" fmla="*/ 161925 h 4496940"/>
                <a:gd name="connsiteX129" fmla="*/ 1525927 w 4519987"/>
                <a:gd name="connsiteY129" fmla="*/ 152400 h 4496940"/>
                <a:gd name="connsiteX130" fmla="*/ 1583077 w 4519987"/>
                <a:gd name="connsiteY130" fmla="*/ 142875 h 4496940"/>
                <a:gd name="connsiteX131" fmla="*/ 1716427 w 4519987"/>
                <a:gd name="connsiteY131" fmla="*/ 123825 h 4496940"/>
                <a:gd name="connsiteX132" fmla="*/ 1811677 w 4519987"/>
                <a:gd name="connsiteY132" fmla="*/ 114300 h 4496940"/>
                <a:gd name="connsiteX133" fmla="*/ 1859302 w 4519987"/>
                <a:gd name="connsiteY133" fmla="*/ 104775 h 4496940"/>
                <a:gd name="connsiteX134" fmla="*/ 1916452 w 4519987"/>
                <a:gd name="connsiteY134" fmla="*/ 95250 h 4496940"/>
                <a:gd name="connsiteX135" fmla="*/ 2030752 w 4519987"/>
                <a:gd name="connsiteY135" fmla="*/ 66675 h 4496940"/>
                <a:gd name="connsiteX136" fmla="*/ 2097427 w 4519987"/>
                <a:gd name="connsiteY136" fmla="*/ 47625 h 4496940"/>
                <a:gd name="connsiteX137" fmla="*/ 2164102 w 4519987"/>
                <a:gd name="connsiteY137" fmla="*/ 38100 h 4496940"/>
                <a:gd name="connsiteX138" fmla="*/ 2392702 w 4519987"/>
                <a:gd name="connsiteY13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869077 w 4519987"/>
                <a:gd name="connsiteY39" fmla="*/ 3724275 h 4496940"/>
                <a:gd name="connsiteX40" fmla="*/ 3792877 w 4519987"/>
                <a:gd name="connsiteY40" fmla="*/ 3781425 h 4496940"/>
                <a:gd name="connsiteX41" fmla="*/ 3783352 w 4519987"/>
                <a:gd name="connsiteY41" fmla="*/ 3810000 h 4496940"/>
                <a:gd name="connsiteX42" fmla="*/ 3745252 w 4519987"/>
                <a:gd name="connsiteY42" fmla="*/ 3819525 h 4496940"/>
                <a:gd name="connsiteX43" fmla="*/ 3678577 w 4519987"/>
                <a:gd name="connsiteY43" fmla="*/ 3848100 h 4496940"/>
                <a:gd name="connsiteX44" fmla="*/ 3659527 w 4519987"/>
                <a:gd name="connsiteY44" fmla="*/ 3971925 h 4496940"/>
                <a:gd name="connsiteX45" fmla="*/ 3630952 w 4519987"/>
                <a:gd name="connsiteY45" fmla="*/ 4010025 h 4496940"/>
                <a:gd name="connsiteX46" fmla="*/ 3621427 w 4519987"/>
                <a:gd name="connsiteY46" fmla="*/ 4038600 h 4496940"/>
                <a:gd name="connsiteX47" fmla="*/ 3554752 w 4519987"/>
                <a:gd name="connsiteY47" fmla="*/ 4095750 h 4496940"/>
                <a:gd name="connsiteX48" fmla="*/ 3516652 w 4519987"/>
                <a:gd name="connsiteY48" fmla="*/ 4114800 h 4496940"/>
                <a:gd name="connsiteX49" fmla="*/ 3497602 w 4519987"/>
                <a:gd name="connsiteY49" fmla="*/ 4143375 h 4496940"/>
                <a:gd name="connsiteX50" fmla="*/ 3383302 w 4519987"/>
                <a:gd name="connsiteY50" fmla="*/ 4210050 h 4496940"/>
                <a:gd name="connsiteX51" fmla="*/ 3335677 w 4519987"/>
                <a:gd name="connsiteY51" fmla="*/ 4238625 h 4496940"/>
                <a:gd name="connsiteX52" fmla="*/ 3288052 w 4519987"/>
                <a:gd name="connsiteY52" fmla="*/ 4248150 h 4496940"/>
                <a:gd name="connsiteX53" fmla="*/ 3240427 w 4519987"/>
                <a:gd name="connsiteY53" fmla="*/ 4267200 h 4496940"/>
                <a:gd name="connsiteX54" fmla="*/ 3068977 w 4519987"/>
                <a:gd name="connsiteY54" fmla="*/ 4286250 h 4496940"/>
                <a:gd name="connsiteX55" fmla="*/ 2935627 w 4519987"/>
                <a:gd name="connsiteY55" fmla="*/ 4333875 h 4496940"/>
                <a:gd name="connsiteX56" fmla="*/ 2811802 w 4519987"/>
                <a:gd name="connsiteY56" fmla="*/ 4371975 h 4496940"/>
                <a:gd name="connsiteX57" fmla="*/ 2745127 w 4519987"/>
                <a:gd name="connsiteY57" fmla="*/ 4410075 h 4496940"/>
                <a:gd name="connsiteX58" fmla="*/ 2697502 w 4519987"/>
                <a:gd name="connsiteY58" fmla="*/ 4429125 h 4496940"/>
                <a:gd name="connsiteX59" fmla="*/ 2640352 w 4519987"/>
                <a:gd name="connsiteY59" fmla="*/ 4457700 h 4496940"/>
                <a:gd name="connsiteX60" fmla="*/ 2583202 w 4519987"/>
                <a:gd name="connsiteY60" fmla="*/ 4467225 h 4496940"/>
                <a:gd name="connsiteX61" fmla="*/ 2545102 w 4519987"/>
                <a:gd name="connsiteY61" fmla="*/ 4486275 h 4496940"/>
                <a:gd name="connsiteX62" fmla="*/ 2306977 w 4519987"/>
                <a:gd name="connsiteY62" fmla="*/ 4476750 h 4496940"/>
                <a:gd name="connsiteX63" fmla="*/ 2202202 w 4519987"/>
                <a:gd name="connsiteY63" fmla="*/ 4457700 h 4496940"/>
                <a:gd name="connsiteX64" fmla="*/ 2126002 w 4519987"/>
                <a:gd name="connsiteY64" fmla="*/ 4429125 h 4496940"/>
                <a:gd name="connsiteX65" fmla="*/ 1935502 w 4519987"/>
                <a:gd name="connsiteY65" fmla="*/ 4400550 h 4496940"/>
                <a:gd name="connsiteX66" fmla="*/ 1821202 w 4519987"/>
                <a:gd name="connsiteY66" fmla="*/ 4371975 h 4496940"/>
                <a:gd name="connsiteX67" fmla="*/ 1754527 w 4519987"/>
                <a:gd name="connsiteY67" fmla="*/ 4352925 h 4496940"/>
                <a:gd name="connsiteX68" fmla="*/ 1687852 w 4519987"/>
                <a:gd name="connsiteY68" fmla="*/ 4343400 h 4496940"/>
                <a:gd name="connsiteX69" fmla="*/ 1573552 w 4519987"/>
                <a:gd name="connsiteY69" fmla="*/ 4305300 h 4496940"/>
                <a:gd name="connsiteX70" fmla="*/ 1402102 w 4519987"/>
                <a:gd name="connsiteY70" fmla="*/ 4276725 h 4496940"/>
                <a:gd name="connsiteX71" fmla="*/ 1287802 w 4519987"/>
                <a:gd name="connsiteY71" fmla="*/ 4229100 h 4496940"/>
                <a:gd name="connsiteX72" fmla="*/ 1221127 w 4519987"/>
                <a:gd name="connsiteY72" fmla="*/ 4200525 h 4496940"/>
                <a:gd name="connsiteX73" fmla="*/ 1144927 w 4519987"/>
                <a:gd name="connsiteY73" fmla="*/ 4171950 h 4496940"/>
                <a:gd name="connsiteX74" fmla="*/ 1087777 w 4519987"/>
                <a:gd name="connsiteY74" fmla="*/ 4143375 h 4496940"/>
                <a:gd name="connsiteX75" fmla="*/ 1030627 w 4519987"/>
                <a:gd name="connsiteY75" fmla="*/ 4124325 h 4496940"/>
                <a:gd name="connsiteX76" fmla="*/ 925852 w 4519987"/>
                <a:gd name="connsiteY76" fmla="*/ 4067175 h 4496940"/>
                <a:gd name="connsiteX77" fmla="*/ 830602 w 4519987"/>
                <a:gd name="connsiteY77" fmla="*/ 3981450 h 4496940"/>
                <a:gd name="connsiteX78" fmla="*/ 763927 w 4519987"/>
                <a:gd name="connsiteY78" fmla="*/ 3914775 h 4496940"/>
                <a:gd name="connsiteX79" fmla="*/ 725827 w 4519987"/>
                <a:gd name="connsiteY79" fmla="*/ 3876675 h 4496940"/>
                <a:gd name="connsiteX80" fmla="*/ 697252 w 4519987"/>
                <a:gd name="connsiteY80" fmla="*/ 3838575 h 4496940"/>
                <a:gd name="connsiteX81" fmla="*/ 640102 w 4519987"/>
                <a:gd name="connsiteY81" fmla="*/ 3781425 h 4496940"/>
                <a:gd name="connsiteX82" fmla="*/ 611527 w 4519987"/>
                <a:gd name="connsiteY82" fmla="*/ 3733800 h 4496940"/>
                <a:gd name="connsiteX83" fmla="*/ 554377 w 4519987"/>
                <a:gd name="connsiteY83" fmla="*/ 3657600 h 4496940"/>
                <a:gd name="connsiteX84" fmla="*/ 525802 w 4519987"/>
                <a:gd name="connsiteY84" fmla="*/ 3609975 h 4496940"/>
                <a:gd name="connsiteX85" fmla="*/ 497227 w 4519987"/>
                <a:gd name="connsiteY85" fmla="*/ 3552825 h 4496940"/>
                <a:gd name="connsiteX86" fmla="*/ 440077 w 4519987"/>
                <a:gd name="connsiteY86" fmla="*/ 3495675 h 4496940"/>
                <a:gd name="connsiteX87" fmla="*/ 411502 w 4519987"/>
                <a:gd name="connsiteY87" fmla="*/ 3448050 h 4496940"/>
                <a:gd name="connsiteX88" fmla="*/ 278152 w 4519987"/>
                <a:gd name="connsiteY88" fmla="*/ 3257550 h 4496940"/>
                <a:gd name="connsiteX89" fmla="*/ 249577 w 4519987"/>
                <a:gd name="connsiteY89" fmla="*/ 3200400 h 4496940"/>
                <a:gd name="connsiteX90" fmla="*/ 240052 w 4519987"/>
                <a:gd name="connsiteY90" fmla="*/ 3162300 h 4496940"/>
                <a:gd name="connsiteX91" fmla="*/ 221002 w 4519987"/>
                <a:gd name="connsiteY91" fmla="*/ 3105150 h 4496940"/>
                <a:gd name="connsiteX92" fmla="*/ 173377 w 4519987"/>
                <a:gd name="connsiteY92" fmla="*/ 3019425 h 4496940"/>
                <a:gd name="connsiteX93" fmla="*/ 144802 w 4519987"/>
                <a:gd name="connsiteY93" fmla="*/ 2924175 h 4496940"/>
                <a:gd name="connsiteX94" fmla="*/ 68602 w 4519987"/>
                <a:gd name="connsiteY94" fmla="*/ 2724150 h 4496940"/>
                <a:gd name="connsiteX95" fmla="*/ 49552 w 4519987"/>
                <a:gd name="connsiteY95" fmla="*/ 2638425 h 4496940"/>
                <a:gd name="connsiteX96" fmla="*/ 40027 w 4519987"/>
                <a:gd name="connsiteY96" fmla="*/ 2562225 h 4496940"/>
                <a:gd name="connsiteX97" fmla="*/ 30502 w 4519987"/>
                <a:gd name="connsiteY97" fmla="*/ 2514600 h 4496940"/>
                <a:gd name="connsiteX98" fmla="*/ 11452 w 4519987"/>
                <a:gd name="connsiteY98" fmla="*/ 2400300 h 4496940"/>
                <a:gd name="connsiteX99" fmla="*/ 20977 w 4519987"/>
                <a:gd name="connsiteY99" fmla="*/ 1905000 h 4496940"/>
                <a:gd name="connsiteX100" fmla="*/ 30502 w 4519987"/>
                <a:gd name="connsiteY100" fmla="*/ 1838325 h 4496940"/>
                <a:gd name="connsiteX101" fmla="*/ 49552 w 4519987"/>
                <a:gd name="connsiteY101" fmla="*/ 1781175 h 4496940"/>
                <a:gd name="connsiteX102" fmla="*/ 59077 w 4519987"/>
                <a:gd name="connsiteY102" fmla="*/ 1743075 h 4496940"/>
                <a:gd name="connsiteX103" fmla="*/ 78127 w 4519987"/>
                <a:gd name="connsiteY103" fmla="*/ 1685925 h 4496940"/>
                <a:gd name="connsiteX104" fmla="*/ 87652 w 4519987"/>
                <a:gd name="connsiteY104" fmla="*/ 1638300 h 4496940"/>
                <a:gd name="connsiteX105" fmla="*/ 106702 w 4519987"/>
                <a:gd name="connsiteY105" fmla="*/ 1590675 h 4496940"/>
                <a:gd name="connsiteX106" fmla="*/ 135277 w 4519987"/>
                <a:gd name="connsiteY106" fmla="*/ 1504950 h 4496940"/>
                <a:gd name="connsiteX107" fmla="*/ 154327 w 4519987"/>
                <a:gd name="connsiteY107" fmla="*/ 1419225 h 4496940"/>
                <a:gd name="connsiteX108" fmla="*/ 230527 w 4519987"/>
                <a:gd name="connsiteY108" fmla="*/ 1276350 h 4496940"/>
                <a:gd name="connsiteX109" fmla="*/ 240052 w 4519987"/>
                <a:gd name="connsiteY109" fmla="*/ 1247775 h 4496940"/>
                <a:gd name="connsiteX110" fmla="*/ 268627 w 4519987"/>
                <a:gd name="connsiteY110" fmla="*/ 1200150 h 4496940"/>
                <a:gd name="connsiteX111" fmla="*/ 287677 w 4519987"/>
                <a:gd name="connsiteY111" fmla="*/ 1152525 h 4496940"/>
                <a:gd name="connsiteX112" fmla="*/ 316252 w 4519987"/>
                <a:gd name="connsiteY112" fmla="*/ 1114425 h 4496940"/>
                <a:gd name="connsiteX113" fmla="*/ 363877 w 4519987"/>
                <a:gd name="connsiteY113" fmla="*/ 1038225 h 4496940"/>
                <a:gd name="connsiteX114" fmla="*/ 382927 w 4519987"/>
                <a:gd name="connsiteY114" fmla="*/ 1009650 h 4496940"/>
                <a:gd name="connsiteX115" fmla="*/ 440077 w 4519987"/>
                <a:gd name="connsiteY115" fmla="*/ 904875 h 4496940"/>
                <a:gd name="connsiteX116" fmla="*/ 478177 w 4519987"/>
                <a:gd name="connsiteY116" fmla="*/ 857250 h 4496940"/>
                <a:gd name="connsiteX117" fmla="*/ 497227 w 4519987"/>
                <a:gd name="connsiteY117" fmla="*/ 828675 h 4496940"/>
                <a:gd name="connsiteX118" fmla="*/ 535327 w 4519987"/>
                <a:gd name="connsiteY118" fmla="*/ 800100 h 4496940"/>
                <a:gd name="connsiteX119" fmla="*/ 602002 w 4519987"/>
                <a:gd name="connsiteY119" fmla="*/ 733425 h 4496940"/>
                <a:gd name="connsiteX120" fmla="*/ 668677 w 4519987"/>
                <a:gd name="connsiteY120" fmla="*/ 676275 h 4496940"/>
                <a:gd name="connsiteX121" fmla="*/ 697252 w 4519987"/>
                <a:gd name="connsiteY121" fmla="*/ 657225 h 4496940"/>
                <a:gd name="connsiteX122" fmla="*/ 840127 w 4519987"/>
                <a:gd name="connsiteY122" fmla="*/ 533400 h 4496940"/>
                <a:gd name="connsiteX123" fmla="*/ 887752 w 4519987"/>
                <a:gd name="connsiteY123" fmla="*/ 504825 h 4496940"/>
                <a:gd name="connsiteX124" fmla="*/ 1167152 w 4519987"/>
                <a:gd name="connsiteY124" fmla="*/ 311150 h 4496940"/>
                <a:gd name="connsiteX125" fmla="*/ 1268752 w 4519987"/>
                <a:gd name="connsiteY125" fmla="*/ 285750 h 4496940"/>
                <a:gd name="connsiteX126" fmla="*/ 1411627 w 4519987"/>
                <a:gd name="connsiteY126" fmla="*/ 190500 h 4496940"/>
                <a:gd name="connsiteX127" fmla="*/ 1449727 w 4519987"/>
                <a:gd name="connsiteY127" fmla="*/ 161925 h 4496940"/>
                <a:gd name="connsiteX128" fmla="*/ 1525927 w 4519987"/>
                <a:gd name="connsiteY128" fmla="*/ 152400 h 4496940"/>
                <a:gd name="connsiteX129" fmla="*/ 1583077 w 4519987"/>
                <a:gd name="connsiteY129" fmla="*/ 142875 h 4496940"/>
                <a:gd name="connsiteX130" fmla="*/ 1716427 w 4519987"/>
                <a:gd name="connsiteY130" fmla="*/ 123825 h 4496940"/>
                <a:gd name="connsiteX131" fmla="*/ 1811677 w 4519987"/>
                <a:gd name="connsiteY131" fmla="*/ 114300 h 4496940"/>
                <a:gd name="connsiteX132" fmla="*/ 1859302 w 4519987"/>
                <a:gd name="connsiteY132" fmla="*/ 104775 h 4496940"/>
                <a:gd name="connsiteX133" fmla="*/ 1916452 w 4519987"/>
                <a:gd name="connsiteY133" fmla="*/ 95250 h 4496940"/>
                <a:gd name="connsiteX134" fmla="*/ 2030752 w 4519987"/>
                <a:gd name="connsiteY134" fmla="*/ 66675 h 4496940"/>
                <a:gd name="connsiteX135" fmla="*/ 2097427 w 4519987"/>
                <a:gd name="connsiteY135" fmla="*/ 47625 h 4496940"/>
                <a:gd name="connsiteX136" fmla="*/ 2164102 w 4519987"/>
                <a:gd name="connsiteY136" fmla="*/ 38100 h 4496940"/>
                <a:gd name="connsiteX137" fmla="*/ 2392702 w 4519987"/>
                <a:gd name="connsiteY13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745252 w 4519987"/>
                <a:gd name="connsiteY41" fmla="*/ 3819525 h 4496940"/>
                <a:gd name="connsiteX42" fmla="*/ 3678577 w 4519987"/>
                <a:gd name="connsiteY42" fmla="*/ 3848100 h 4496940"/>
                <a:gd name="connsiteX43" fmla="*/ 3659527 w 4519987"/>
                <a:gd name="connsiteY43" fmla="*/ 3971925 h 4496940"/>
                <a:gd name="connsiteX44" fmla="*/ 3630952 w 4519987"/>
                <a:gd name="connsiteY44" fmla="*/ 4010025 h 4496940"/>
                <a:gd name="connsiteX45" fmla="*/ 3621427 w 4519987"/>
                <a:gd name="connsiteY45" fmla="*/ 4038600 h 4496940"/>
                <a:gd name="connsiteX46" fmla="*/ 3554752 w 4519987"/>
                <a:gd name="connsiteY46" fmla="*/ 4095750 h 4496940"/>
                <a:gd name="connsiteX47" fmla="*/ 3516652 w 4519987"/>
                <a:gd name="connsiteY47" fmla="*/ 4114800 h 4496940"/>
                <a:gd name="connsiteX48" fmla="*/ 3497602 w 4519987"/>
                <a:gd name="connsiteY48" fmla="*/ 4143375 h 4496940"/>
                <a:gd name="connsiteX49" fmla="*/ 3383302 w 4519987"/>
                <a:gd name="connsiteY49" fmla="*/ 4210050 h 4496940"/>
                <a:gd name="connsiteX50" fmla="*/ 3335677 w 4519987"/>
                <a:gd name="connsiteY50" fmla="*/ 4238625 h 4496940"/>
                <a:gd name="connsiteX51" fmla="*/ 3288052 w 4519987"/>
                <a:gd name="connsiteY51" fmla="*/ 4248150 h 4496940"/>
                <a:gd name="connsiteX52" fmla="*/ 3240427 w 4519987"/>
                <a:gd name="connsiteY52" fmla="*/ 4267200 h 4496940"/>
                <a:gd name="connsiteX53" fmla="*/ 3068977 w 4519987"/>
                <a:gd name="connsiteY53" fmla="*/ 4286250 h 4496940"/>
                <a:gd name="connsiteX54" fmla="*/ 2935627 w 4519987"/>
                <a:gd name="connsiteY54" fmla="*/ 4333875 h 4496940"/>
                <a:gd name="connsiteX55" fmla="*/ 2811802 w 4519987"/>
                <a:gd name="connsiteY55" fmla="*/ 4371975 h 4496940"/>
                <a:gd name="connsiteX56" fmla="*/ 2745127 w 4519987"/>
                <a:gd name="connsiteY56" fmla="*/ 4410075 h 4496940"/>
                <a:gd name="connsiteX57" fmla="*/ 2697502 w 4519987"/>
                <a:gd name="connsiteY57" fmla="*/ 4429125 h 4496940"/>
                <a:gd name="connsiteX58" fmla="*/ 2640352 w 4519987"/>
                <a:gd name="connsiteY58" fmla="*/ 4457700 h 4496940"/>
                <a:gd name="connsiteX59" fmla="*/ 2583202 w 4519987"/>
                <a:gd name="connsiteY59" fmla="*/ 4467225 h 4496940"/>
                <a:gd name="connsiteX60" fmla="*/ 2545102 w 4519987"/>
                <a:gd name="connsiteY60" fmla="*/ 4486275 h 4496940"/>
                <a:gd name="connsiteX61" fmla="*/ 2306977 w 4519987"/>
                <a:gd name="connsiteY61" fmla="*/ 4476750 h 4496940"/>
                <a:gd name="connsiteX62" fmla="*/ 2202202 w 4519987"/>
                <a:gd name="connsiteY62" fmla="*/ 4457700 h 4496940"/>
                <a:gd name="connsiteX63" fmla="*/ 2126002 w 4519987"/>
                <a:gd name="connsiteY63" fmla="*/ 4429125 h 4496940"/>
                <a:gd name="connsiteX64" fmla="*/ 1935502 w 4519987"/>
                <a:gd name="connsiteY64" fmla="*/ 4400550 h 4496940"/>
                <a:gd name="connsiteX65" fmla="*/ 1821202 w 4519987"/>
                <a:gd name="connsiteY65" fmla="*/ 4371975 h 4496940"/>
                <a:gd name="connsiteX66" fmla="*/ 1754527 w 4519987"/>
                <a:gd name="connsiteY66" fmla="*/ 4352925 h 4496940"/>
                <a:gd name="connsiteX67" fmla="*/ 1687852 w 4519987"/>
                <a:gd name="connsiteY67" fmla="*/ 4343400 h 4496940"/>
                <a:gd name="connsiteX68" fmla="*/ 1573552 w 4519987"/>
                <a:gd name="connsiteY68" fmla="*/ 4305300 h 4496940"/>
                <a:gd name="connsiteX69" fmla="*/ 1402102 w 4519987"/>
                <a:gd name="connsiteY69" fmla="*/ 4276725 h 4496940"/>
                <a:gd name="connsiteX70" fmla="*/ 1287802 w 4519987"/>
                <a:gd name="connsiteY70" fmla="*/ 4229100 h 4496940"/>
                <a:gd name="connsiteX71" fmla="*/ 1221127 w 4519987"/>
                <a:gd name="connsiteY71" fmla="*/ 4200525 h 4496940"/>
                <a:gd name="connsiteX72" fmla="*/ 1144927 w 4519987"/>
                <a:gd name="connsiteY72" fmla="*/ 4171950 h 4496940"/>
                <a:gd name="connsiteX73" fmla="*/ 1087777 w 4519987"/>
                <a:gd name="connsiteY73" fmla="*/ 4143375 h 4496940"/>
                <a:gd name="connsiteX74" fmla="*/ 1030627 w 4519987"/>
                <a:gd name="connsiteY74" fmla="*/ 4124325 h 4496940"/>
                <a:gd name="connsiteX75" fmla="*/ 925852 w 4519987"/>
                <a:gd name="connsiteY75" fmla="*/ 4067175 h 4496940"/>
                <a:gd name="connsiteX76" fmla="*/ 830602 w 4519987"/>
                <a:gd name="connsiteY76" fmla="*/ 3981450 h 4496940"/>
                <a:gd name="connsiteX77" fmla="*/ 763927 w 4519987"/>
                <a:gd name="connsiteY77" fmla="*/ 3914775 h 4496940"/>
                <a:gd name="connsiteX78" fmla="*/ 725827 w 4519987"/>
                <a:gd name="connsiteY78" fmla="*/ 3876675 h 4496940"/>
                <a:gd name="connsiteX79" fmla="*/ 697252 w 4519987"/>
                <a:gd name="connsiteY79" fmla="*/ 3838575 h 4496940"/>
                <a:gd name="connsiteX80" fmla="*/ 640102 w 4519987"/>
                <a:gd name="connsiteY80" fmla="*/ 3781425 h 4496940"/>
                <a:gd name="connsiteX81" fmla="*/ 611527 w 4519987"/>
                <a:gd name="connsiteY81" fmla="*/ 3733800 h 4496940"/>
                <a:gd name="connsiteX82" fmla="*/ 554377 w 4519987"/>
                <a:gd name="connsiteY82" fmla="*/ 3657600 h 4496940"/>
                <a:gd name="connsiteX83" fmla="*/ 525802 w 4519987"/>
                <a:gd name="connsiteY83" fmla="*/ 3609975 h 4496940"/>
                <a:gd name="connsiteX84" fmla="*/ 497227 w 4519987"/>
                <a:gd name="connsiteY84" fmla="*/ 3552825 h 4496940"/>
                <a:gd name="connsiteX85" fmla="*/ 440077 w 4519987"/>
                <a:gd name="connsiteY85" fmla="*/ 3495675 h 4496940"/>
                <a:gd name="connsiteX86" fmla="*/ 411502 w 4519987"/>
                <a:gd name="connsiteY86" fmla="*/ 3448050 h 4496940"/>
                <a:gd name="connsiteX87" fmla="*/ 278152 w 4519987"/>
                <a:gd name="connsiteY87" fmla="*/ 3257550 h 4496940"/>
                <a:gd name="connsiteX88" fmla="*/ 249577 w 4519987"/>
                <a:gd name="connsiteY88" fmla="*/ 3200400 h 4496940"/>
                <a:gd name="connsiteX89" fmla="*/ 240052 w 4519987"/>
                <a:gd name="connsiteY89" fmla="*/ 3162300 h 4496940"/>
                <a:gd name="connsiteX90" fmla="*/ 221002 w 4519987"/>
                <a:gd name="connsiteY90" fmla="*/ 3105150 h 4496940"/>
                <a:gd name="connsiteX91" fmla="*/ 173377 w 4519987"/>
                <a:gd name="connsiteY91" fmla="*/ 3019425 h 4496940"/>
                <a:gd name="connsiteX92" fmla="*/ 144802 w 4519987"/>
                <a:gd name="connsiteY92" fmla="*/ 2924175 h 4496940"/>
                <a:gd name="connsiteX93" fmla="*/ 68602 w 4519987"/>
                <a:gd name="connsiteY93" fmla="*/ 2724150 h 4496940"/>
                <a:gd name="connsiteX94" fmla="*/ 49552 w 4519987"/>
                <a:gd name="connsiteY94" fmla="*/ 2638425 h 4496940"/>
                <a:gd name="connsiteX95" fmla="*/ 40027 w 4519987"/>
                <a:gd name="connsiteY95" fmla="*/ 2562225 h 4496940"/>
                <a:gd name="connsiteX96" fmla="*/ 30502 w 4519987"/>
                <a:gd name="connsiteY96" fmla="*/ 2514600 h 4496940"/>
                <a:gd name="connsiteX97" fmla="*/ 11452 w 4519987"/>
                <a:gd name="connsiteY97" fmla="*/ 2400300 h 4496940"/>
                <a:gd name="connsiteX98" fmla="*/ 20977 w 4519987"/>
                <a:gd name="connsiteY98" fmla="*/ 1905000 h 4496940"/>
                <a:gd name="connsiteX99" fmla="*/ 30502 w 4519987"/>
                <a:gd name="connsiteY99" fmla="*/ 1838325 h 4496940"/>
                <a:gd name="connsiteX100" fmla="*/ 49552 w 4519987"/>
                <a:gd name="connsiteY100" fmla="*/ 1781175 h 4496940"/>
                <a:gd name="connsiteX101" fmla="*/ 59077 w 4519987"/>
                <a:gd name="connsiteY101" fmla="*/ 1743075 h 4496940"/>
                <a:gd name="connsiteX102" fmla="*/ 78127 w 4519987"/>
                <a:gd name="connsiteY102" fmla="*/ 1685925 h 4496940"/>
                <a:gd name="connsiteX103" fmla="*/ 87652 w 4519987"/>
                <a:gd name="connsiteY103" fmla="*/ 1638300 h 4496940"/>
                <a:gd name="connsiteX104" fmla="*/ 106702 w 4519987"/>
                <a:gd name="connsiteY104" fmla="*/ 1590675 h 4496940"/>
                <a:gd name="connsiteX105" fmla="*/ 135277 w 4519987"/>
                <a:gd name="connsiteY105" fmla="*/ 1504950 h 4496940"/>
                <a:gd name="connsiteX106" fmla="*/ 154327 w 4519987"/>
                <a:gd name="connsiteY106" fmla="*/ 1419225 h 4496940"/>
                <a:gd name="connsiteX107" fmla="*/ 230527 w 4519987"/>
                <a:gd name="connsiteY107" fmla="*/ 1276350 h 4496940"/>
                <a:gd name="connsiteX108" fmla="*/ 240052 w 4519987"/>
                <a:gd name="connsiteY108" fmla="*/ 1247775 h 4496940"/>
                <a:gd name="connsiteX109" fmla="*/ 268627 w 4519987"/>
                <a:gd name="connsiteY109" fmla="*/ 1200150 h 4496940"/>
                <a:gd name="connsiteX110" fmla="*/ 287677 w 4519987"/>
                <a:gd name="connsiteY110" fmla="*/ 1152525 h 4496940"/>
                <a:gd name="connsiteX111" fmla="*/ 316252 w 4519987"/>
                <a:gd name="connsiteY111" fmla="*/ 1114425 h 4496940"/>
                <a:gd name="connsiteX112" fmla="*/ 363877 w 4519987"/>
                <a:gd name="connsiteY112" fmla="*/ 1038225 h 4496940"/>
                <a:gd name="connsiteX113" fmla="*/ 382927 w 4519987"/>
                <a:gd name="connsiteY113" fmla="*/ 1009650 h 4496940"/>
                <a:gd name="connsiteX114" fmla="*/ 440077 w 4519987"/>
                <a:gd name="connsiteY114" fmla="*/ 904875 h 4496940"/>
                <a:gd name="connsiteX115" fmla="*/ 478177 w 4519987"/>
                <a:gd name="connsiteY115" fmla="*/ 857250 h 4496940"/>
                <a:gd name="connsiteX116" fmla="*/ 497227 w 4519987"/>
                <a:gd name="connsiteY116" fmla="*/ 828675 h 4496940"/>
                <a:gd name="connsiteX117" fmla="*/ 535327 w 4519987"/>
                <a:gd name="connsiteY117" fmla="*/ 800100 h 4496940"/>
                <a:gd name="connsiteX118" fmla="*/ 602002 w 4519987"/>
                <a:gd name="connsiteY118" fmla="*/ 733425 h 4496940"/>
                <a:gd name="connsiteX119" fmla="*/ 668677 w 4519987"/>
                <a:gd name="connsiteY119" fmla="*/ 676275 h 4496940"/>
                <a:gd name="connsiteX120" fmla="*/ 697252 w 4519987"/>
                <a:gd name="connsiteY120" fmla="*/ 657225 h 4496940"/>
                <a:gd name="connsiteX121" fmla="*/ 840127 w 4519987"/>
                <a:gd name="connsiteY121" fmla="*/ 533400 h 4496940"/>
                <a:gd name="connsiteX122" fmla="*/ 887752 w 4519987"/>
                <a:gd name="connsiteY122" fmla="*/ 504825 h 4496940"/>
                <a:gd name="connsiteX123" fmla="*/ 1167152 w 4519987"/>
                <a:gd name="connsiteY123" fmla="*/ 311150 h 4496940"/>
                <a:gd name="connsiteX124" fmla="*/ 1268752 w 4519987"/>
                <a:gd name="connsiteY124" fmla="*/ 285750 h 4496940"/>
                <a:gd name="connsiteX125" fmla="*/ 1411627 w 4519987"/>
                <a:gd name="connsiteY125" fmla="*/ 190500 h 4496940"/>
                <a:gd name="connsiteX126" fmla="*/ 1449727 w 4519987"/>
                <a:gd name="connsiteY126" fmla="*/ 161925 h 4496940"/>
                <a:gd name="connsiteX127" fmla="*/ 1525927 w 4519987"/>
                <a:gd name="connsiteY127" fmla="*/ 152400 h 4496940"/>
                <a:gd name="connsiteX128" fmla="*/ 1583077 w 4519987"/>
                <a:gd name="connsiteY128" fmla="*/ 142875 h 4496940"/>
                <a:gd name="connsiteX129" fmla="*/ 1716427 w 4519987"/>
                <a:gd name="connsiteY129" fmla="*/ 123825 h 4496940"/>
                <a:gd name="connsiteX130" fmla="*/ 1811677 w 4519987"/>
                <a:gd name="connsiteY130" fmla="*/ 114300 h 4496940"/>
                <a:gd name="connsiteX131" fmla="*/ 1859302 w 4519987"/>
                <a:gd name="connsiteY131" fmla="*/ 104775 h 4496940"/>
                <a:gd name="connsiteX132" fmla="*/ 1916452 w 4519987"/>
                <a:gd name="connsiteY132" fmla="*/ 95250 h 4496940"/>
                <a:gd name="connsiteX133" fmla="*/ 2030752 w 4519987"/>
                <a:gd name="connsiteY133" fmla="*/ 66675 h 4496940"/>
                <a:gd name="connsiteX134" fmla="*/ 2097427 w 4519987"/>
                <a:gd name="connsiteY134" fmla="*/ 47625 h 4496940"/>
                <a:gd name="connsiteX135" fmla="*/ 2164102 w 4519987"/>
                <a:gd name="connsiteY135" fmla="*/ 38100 h 4496940"/>
                <a:gd name="connsiteX136" fmla="*/ 2392702 w 4519987"/>
                <a:gd name="connsiteY13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783352 w 4519987"/>
                <a:gd name="connsiteY40" fmla="*/ 3810000 h 4496940"/>
                <a:gd name="connsiteX41" fmla="*/ 3678577 w 4519987"/>
                <a:gd name="connsiteY41" fmla="*/ 3848100 h 4496940"/>
                <a:gd name="connsiteX42" fmla="*/ 3659527 w 4519987"/>
                <a:gd name="connsiteY42" fmla="*/ 3971925 h 4496940"/>
                <a:gd name="connsiteX43" fmla="*/ 3630952 w 4519987"/>
                <a:gd name="connsiteY43" fmla="*/ 4010025 h 4496940"/>
                <a:gd name="connsiteX44" fmla="*/ 3621427 w 4519987"/>
                <a:gd name="connsiteY44" fmla="*/ 4038600 h 4496940"/>
                <a:gd name="connsiteX45" fmla="*/ 3554752 w 4519987"/>
                <a:gd name="connsiteY45" fmla="*/ 4095750 h 4496940"/>
                <a:gd name="connsiteX46" fmla="*/ 3516652 w 4519987"/>
                <a:gd name="connsiteY46" fmla="*/ 4114800 h 4496940"/>
                <a:gd name="connsiteX47" fmla="*/ 3497602 w 4519987"/>
                <a:gd name="connsiteY47" fmla="*/ 4143375 h 4496940"/>
                <a:gd name="connsiteX48" fmla="*/ 3383302 w 4519987"/>
                <a:gd name="connsiteY48" fmla="*/ 4210050 h 4496940"/>
                <a:gd name="connsiteX49" fmla="*/ 3335677 w 4519987"/>
                <a:gd name="connsiteY49" fmla="*/ 4238625 h 4496940"/>
                <a:gd name="connsiteX50" fmla="*/ 3288052 w 4519987"/>
                <a:gd name="connsiteY50" fmla="*/ 4248150 h 4496940"/>
                <a:gd name="connsiteX51" fmla="*/ 3240427 w 4519987"/>
                <a:gd name="connsiteY51" fmla="*/ 4267200 h 4496940"/>
                <a:gd name="connsiteX52" fmla="*/ 3068977 w 4519987"/>
                <a:gd name="connsiteY52" fmla="*/ 4286250 h 4496940"/>
                <a:gd name="connsiteX53" fmla="*/ 2935627 w 4519987"/>
                <a:gd name="connsiteY53" fmla="*/ 4333875 h 4496940"/>
                <a:gd name="connsiteX54" fmla="*/ 2811802 w 4519987"/>
                <a:gd name="connsiteY54" fmla="*/ 4371975 h 4496940"/>
                <a:gd name="connsiteX55" fmla="*/ 2745127 w 4519987"/>
                <a:gd name="connsiteY55" fmla="*/ 4410075 h 4496940"/>
                <a:gd name="connsiteX56" fmla="*/ 2697502 w 4519987"/>
                <a:gd name="connsiteY56" fmla="*/ 4429125 h 4496940"/>
                <a:gd name="connsiteX57" fmla="*/ 2640352 w 4519987"/>
                <a:gd name="connsiteY57" fmla="*/ 4457700 h 4496940"/>
                <a:gd name="connsiteX58" fmla="*/ 2583202 w 4519987"/>
                <a:gd name="connsiteY58" fmla="*/ 4467225 h 4496940"/>
                <a:gd name="connsiteX59" fmla="*/ 2545102 w 4519987"/>
                <a:gd name="connsiteY59" fmla="*/ 4486275 h 4496940"/>
                <a:gd name="connsiteX60" fmla="*/ 2306977 w 4519987"/>
                <a:gd name="connsiteY60" fmla="*/ 4476750 h 4496940"/>
                <a:gd name="connsiteX61" fmla="*/ 2202202 w 4519987"/>
                <a:gd name="connsiteY61" fmla="*/ 4457700 h 4496940"/>
                <a:gd name="connsiteX62" fmla="*/ 2126002 w 4519987"/>
                <a:gd name="connsiteY62" fmla="*/ 4429125 h 4496940"/>
                <a:gd name="connsiteX63" fmla="*/ 1935502 w 4519987"/>
                <a:gd name="connsiteY63" fmla="*/ 4400550 h 4496940"/>
                <a:gd name="connsiteX64" fmla="*/ 1821202 w 4519987"/>
                <a:gd name="connsiteY64" fmla="*/ 4371975 h 4496940"/>
                <a:gd name="connsiteX65" fmla="*/ 1754527 w 4519987"/>
                <a:gd name="connsiteY65" fmla="*/ 4352925 h 4496940"/>
                <a:gd name="connsiteX66" fmla="*/ 1687852 w 4519987"/>
                <a:gd name="connsiteY66" fmla="*/ 4343400 h 4496940"/>
                <a:gd name="connsiteX67" fmla="*/ 1573552 w 4519987"/>
                <a:gd name="connsiteY67" fmla="*/ 4305300 h 4496940"/>
                <a:gd name="connsiteX68" fmla="*/ 1402102 w 4519987"/>
                <a:gd name="connsiteY68" fmla="*/ 4276725 h 4496940"/>
                <a:gd name="connsiteX69" fmla="*/ 1287802 w 4519987"/>
                <a:gd name="connsiteY69" fmla="*/ 4229100 h 4496940"/>
                <a:gd name="connsiteX70" fmla="*/ 1221127 w 4519987"/>
                <a:gd name="connsiteY70" fmla="*/ 4200525 h 4496940"/>
                <a:gd name="connsiteX71" fmla="*/ 1144927 w 4519987"/>
                <a:gd name="connsiteY71" fmla="*/ 4171950 h 4496940"/>
                <a:gd name="connsiteX72" fmla="*/ 1087777 w 4519987"/>
                <a:gd name="connsiteY72" fmla="*/ 4143375 h 4496940"/>
                <a:gd name="connsiteX73" fmla="*/ 1030627 w 4519987"/>
                <a:gd name="connsiteY73" fmla="*/ 4124325 h 4496940"/>
                <a:gd name="connsiteX74" fmla="*/ 925852 w 4519987"/>
                <a:gd name="connsiteY74" fmla="*/ 4067175 h 4496940"/>
                <a:gd name="connsiteX75" fmla="*/ 830602 w 4519987"/>
                <a:gd name="connsiteY75" fmla="*/ 3981450 h 4496940"/>
                <a:gd name="connsiteX76" fmla="*/ 763927 w 4519987"/>
                <a:gd name="connsiteY76" fmla="*/ 3914775 h 4496940"/>
                <a:gd name="connsiteX77" fmla="*/ 725827 w 4519987"/>
                <a:gd name="connsiteY77" fmla="*/ 3876675 h 4496940"/>
                <a:gd name="connsiteX78" fmla="*/ 697252 w 4519987"/>
                <a:gd name="connsiteY78" fmla="*/ 3838575 h 4496940"/>
                <a:gd name="connsiteX79" fmla="*/ 640102 w 4519987"/>
                <a:gd name="connsiteY79" fmla="*/ 3781425 h 4496940"/>
                <a:gd name="connsiteX80" fmla="*/ 611527 w 4519987"/>
                <a:gd name="connsiteY80" fmla="*/ 3733800 h 4496940"/>
                <a:gd name="connsiteX81" fmla="*/ 554377 w 4519987"/>
                <a:gd name="connsiteY81" fmla="*/ 3657600 h 4496940"/>
                <a:gd name="connsiteX82" fmla="*/ 525802 w 4519987"/>
                <a:gd name="connsiteY82" fmla="*/ 3609975 h 4496940"/>
                <a:gd name="connsiteX83" fmla="*/ 497227 w 4519987"/>
                <a:gd name="connsiteY83" fmla="*/ 3552825 h 4496940"/>
                <a:gd name="connsiteX84" fmla="*/ 440077 w 4519987"/>
                <a:gd name="connsiteY84" fmla="*/ 3495675 h 4496940"/>
                <a:gd name="connsiteX85" fmla="*/ 411502 w 4519987"/>
                <a:gd name="connsiteY85" fmla="*/ 3448050 h 4496940"/>
                <a:gd name="connsiteX86" fmla="*/ 278152 w 4519987"/>
                <a:gd name="connsiteY86" fmla="*/ 3257550 h 4496940"/>
                <a:gd name="connsiteX87" fmla="*/ 249577 w 4519987"/>
                <a:gd name="connsiteY87" fmla="*/ 3200400 h 4496940"/>
                <a:gd name="connsiteX88" fmla="*/ 240052 w 4519987"/>
                <a:gd name="connsiteY88" fmla="*/ 3162300 h 4496940"/>
                <a:gd name="connsiteX89" fmla="*/ 221002 w 4519987"/>
                <a:gd name="connsiteY89" fmla="*/ 3105150 h 4496940"/>
                <a:gd name="connsiteX90" fmla="*/ 173377 w 4519987"/>
                <a:gd name="connsiteY90" fmla="*/ 3019425 h 4496940"/>
                <a:gd name="connsiteX91" fmla="*/ 144802 w 4519987"/>
                <a:gd name="connsiteY91" fmla="*/ 2924175 h 4496940"/>
                <a:gd name="connsiteX92" fmla="*/ 68602 w 4519987"/>
                <a:gd name="connsiteY92" fmla="*/ 2724150 h 4496940"/>
                <a:gd name="connsiteX93" fmla="*/ 49552 w 4519987"/>
                <a:gd name="connsiteY93" fmla="*/ 2638425 h 4496940"/>
                <a:gd name="connsiteX94" fmla="*/ 40027 w 4519987"/>
                <a:gd name="connsiteY94" fmla="*/ 2562225 h 4496940"/>
                <a:gd name="connsiteX95" fmla="*/ 30502 w 4519987"/>
                <a:gd name="connsiteY95" fmla="*/ 2514600 h 4496940"/>
                <a:gd name="connsiteX96" fmla="*/ 11452 w 4519987"/>
                <a:gd name="connsiteY96" fmla="*/ 2400300 h 4496940"/>
                <a:gd name="connsiteX97" fmla="*/ 20977 w 4519987"/>
                <a:gd name="connsiteY97" fmla="*/ 1905000 h 4496940"/>
                <a:gd name="connsiteX98" fmla="*/ 30502 w 4519987"/>
                <a:gd name="connsiteY98" fmla="*/ 1838325 h 4496940"/>
                <a:gd name="connsiteX99" fmla="*/ 49552 w 4519987"/>
                <a:gd name="connsiteY99" fmla="*/ 1781175 h 4496940"/>
                <a:gd name="connsiteX100" fmla="*/ 59077 w 4519987"/>
                <a:gd name="connsiteY100" fmla="*/ 1743075 h 4496940"/>
                <a:gd name="connsiteX101" fmla="*/ 78127 w 4519987"/>
                <a:gd name="connsiteY101" fmla="*/ 1685925 h 4496940"/>
                <a:gd name="connsiteX102" fmla="*/ 87652 w 4519987"/>
                <a:gd name="connsiteY102" fmla="*/ 1638300 h 4496940"/>
                <a:gd name="connsiteX103" fmla="*/ 106702 w 4519987"/>
                <a:gd name="connsiteY103" fmla="*/ 1590675 h 4496940"/>
                <a:gd name="connsiteX104" fmla="*/ 135277 w 4519987"/>
                <a:gd name="connsiteY104" fmla="*/ 1504950 h 4496940"/>
                <a:gd name="connsiteX105" fmla="*/ 154327 w 4519987"/>
                <a:gd name="connsiteY105" fmla="*/ 1419225 h 4496940"/>
                <a:gd name="connsiteX106" fmla="*/ 230527 w 4519987"/>
                <a:gd name="connsiteY106" fmla="*/ 1276350 h 4496940"/>
                <a:gd name="connsiteX107" fmla="*/ 240052 w 4519987"/>
                <a:gd name="connsiteY107" fmla="*/ 1247775 h 4496940"/>
                <a:gd name="connsiteX108" fmla="*/ 268627 w 4519987"/>
                <a:gd name="connsiteY108" fmla="*/ 1200150 h 4496940"/>
                <a:gd name="connsiteX109" fmla="*/ 287677 w 4519987"/>
                <a:gd name="connsiteY109" fmla="*/ 1152525 h 4496940"/>
                <a:gd name="connsiteX110" fmla="*/ 316252 w 4519987"/>
                <a:gd name="connsiteY110" fmla="*/ 1114425 h 4496940"/>
                <a:gd name="connsiteX111" fmla="*/ 363877 w 4519987"/>
                <a:gd name="connsiteY111" fmla="*/ 1038225 h 4496940"/>
                <a:gd name="connsiteX112" fmla="*/ 382927 w 4519987"/>
                <a:gd name="connsiteY112" fmla="*/ 1009650 h 4496940"/>
                <a:gd name="connsiteX113" fmla="*/ 440077 w 4519987"/>
                <a:gd name="connsiteY113" fmla="*/ 904875 h 4496940"/>
                <a:gd name="connsiteX114" fmla="*/ 478177 w 4519987"/>
                <a:gd name="connsiteY114" fmla="*/ 857250 h 4496940"/>
                <a:gd name="connsiteX115" fmla="*/ 497227 w 4519987"/>
                <a:gd name="connsiteY115" fmla="*/ 828675 h 4496940"/>
                <a:gd name="connsiteX116" fmla="*/ 535327 w 4519987"/>
                <a:gd name="connsiteY116" fmla="*/ 800100 h 4496940"/>
                <a:gd name="connsiteX117" fmla="*/ 602002 w 4519987"/>
                <a:gd name="connsiteY117" fmla="*/ 733425 h 4496940"/>
                <a:gd name="connsiteX118" fmla="*/ 668677 w 4519987"/>
                <a:gd name="connsiteY118" fmla="*/ 676275 h 4496940"/>
                <a:gd name="connsiteX119" fmla="*/ 697252 w 4519987"/>
                <a:gd name="connsiteY119" fmla="*/ 657225 h 4496940"/>
                <a:gd name="connsiteX120" fmla="*/ 840127 w 4519987"/>
                <a:gd name="connsiteY120" fmla="*/ 533400 h 4496940"/>
                <a:gd name="connsiteX121" fmla="*/ 887752 w 4519987"/>
                <a:gd name="connsiteY121" fmla="*/ 504825 h 4496940"/>
                <a:gd name="connsiteX122" fmla="*/ 1167152 w 4519987"/>
                <a:gd name="connsiteY122" fmla="*/ 311150 h 4496940"/>
                <a:gd name="connsiteX123" fmla="*/ 1268752 w 4519987"/>
                <a:gd name="connsiteY123" fmla="*/ 285750 h 4496940"/>
                <a:gd name="connsiteX124" fmla="*/ 1411627 w 4519987"/>
                <a:gd name="connsiteY124" fmla="*/ 190500 h 4496940"/>
                <a:gd name="connsiteX125" fmla="*/ 1449727 w 4519987"/>
                <a:gd name="connsiteY125" fmla="*/ 161925 h 4496940"/>
                <a:gd name="connsiteX126" fmla="*/ 1525927 w 4519987"/>
                <a:gd name="connsiteY126" fmla="*/ 152400 h 4496940"/>
                <a:gd name="connsiteX127" fmla="*/ 1583077 w 4519987"/>
                <a:gd name="connsiteY127" fmla="*/ 142875 h 4496940"/>
                <a:gd name="connsiteX128" fmla="*/ 1716427 w 4519987"/>
                <a:gd name="connsiteY128" fmla="*/ 123825 h 4496940"/>
                <a:gd name="connsiteX129" fmla="*/ 1811677 w 4519987"/>
                <a:gd name="connsiteY129" fmla="*/ 114300 h 4496940"/>
                <a:gd name="connsiteX130" fmla="*/ 1859302 w 4519987"/>
                <a:gd name="connsiteY130" fmla="*/ 104775 h 4496940"/>
                <a:gd name="connsiteX131" fmla="*/ 1916452 w 4519987"/>
                <a:gd name="connsiteY131" fmla="*/ 95250 h 4496940"/>
                <a:gd name="connsiteX132" fmla="*/ 2030752 w 4519987"/>
                <a:gd name="connsiteY132" fmla="*/ 66675 h 4496940"/>
                <a:gd name="connsiteX133" fmla="*/ 2097427 w 4519987"/>
                <a:gd name="connsiteY133" fmla="*/ 47625 h 4496940"/>
                <a:gd name="connsiteX134" fmla="*/ 2164102 w 4519987"/>
                <a:gd name="connsiteY134" fmla="*/ 38100 h 4496940"/>
                <a:gd name="connsiteX135" fmla="*/ 2392702 w 4519987"/>
                <a:gd name="connsiteY13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78577 w 4519987"/>
                <a:gd name="connsiteY40" fmla="*/ 3848100 h 4496940"/>
                <a:gd name="connsiteX41" fmla="*/ 3659527 w 4519987"/>
                <a:gd name="connsiteY41" fmla="*/ 3971925 h 4496940"/>
                <a:gd name="connsiteX42" fmla="*/ 3630952 w 4519987"/>
                <a:gd name="connsiteY42" fmla="*/ 4010025 h 4496940"/>
                <a:gd name="connsiteX43" fmla="*/ 3621427 w 4519987"/>
                <a:gd name="connsiteY43" fmla="*/ 4038600 h 4496940"/>
                <a:gd name="connsiteX44" fmla="*/ 3554752 w 4519987"/>
                <a:gd name="connsiteY44" fmla="*/ 4095750 h 4496940"/>
                <a:gd name="connsiteX45" fmla="*/ 3516652 w 4519987"/>
                <a:gd name="connsiteY45" fmla="*/ 4114800 h 4496940"/>
                <a:gd name="connsiteX46" fmla="*/ 3497602 w 4519987"/>
                <a:gd name="connsiteY46" fmla="*/ 4143375 h 4496940"/>
                <a:gd name="connsiteX47" fmla="*/ 3383302 w 4519987"/>
                <a:gd name="connsiteY47" fmla="*/ 4210050 h 4496940"/>
                <a:gd name="connsiteX48" fmla="*/ 3335677 w 4519987"/>
                <a:gd name="connsiteY48" fmla="*/ 4238625 h 4496940"/>
                <a:gd name="connsiteX49" fmla="*/ 3288052 w 4519987"/>
                <a:gd name="connsiteY49" fmla="*/ 4248150 h 4496940"/>
                <a:gd name="connsiteX50" fmla="*/ 3240427 w 4519987"/>
                <a:gd name="connsiteY50" fmla="*/ 4267200 h 4496940"/>
                <a:gd name="connsiteX51" fmla="*/ 3068977 w 4519987"/>
                <a:gd name="connsiteY51" fmla="*/ 4286250 h 4496940"/>
                <a:gd name="connsiteX52" fmla="*/ 2935627 w 4519987"/>
                <a:gd name="connsiteY52" fmla="*/ 4333875 h 4496940"/>
                <a:gd name="connsiteX53" fmla="*/ 2811802 w 4519987"/>
                <a:gd name="connsiteY53" fmla="*/ 4371975 h 4496940"/>
                <a:gd name="connsiteX54" fmla="*/ 2745127 w 4519987"/>
                <a:gd name="connsiteY54" fmla="*/ 4410075 h 4496940"/>
                <a:gd name="connsiteX55" fmla="*/ 2697502 w 4519987"/>
                <a:gd name="connsiteY55" fmla="*/ 4429125 h 4496940"/>
                <a:gd name="connsiteX56" fmla="*/ 2640352 w 4519987"/>
                <a:gd name="connsiteY56" fmla="*/ 4457700 h 4496940"/>
                <a:gd name="connsiteX57" fmla="*/ 2583202 w 4519987"/>
                <a:gd name="connsiteY57" fmla="*/ 4467225 h 4496940"/>
                <a:gd name="connsiteX58" fmla="*/ 2545102 w 4519987"/>
                <a:gd name="connsiteY58" fmla="*/ 4486275 h 4496940"/>
                <a:gd name="connsiteX59" fmla="*/ 2306977 w 4519987"/>
                <a:gd name="connsiteY59" fmla="*/ 4476750 h 4496940"/>
                <a:gd name="connsiteX60" fmla="*/ 2202202 w 4519987"/>
                <a:gd name="connsiteY60" fmla="*/ 4457700 h 4496940"/>
                <a:gd name="connsiteX61" fmla="*/ 2126002 w 4519987"/>
                <a:gd name="connsiteY61" fmla="*/ 4429125 h 4496940"/>
                <a:gd name="connsiteX62" fmla="*/ 1935502 w 4519987"/>
                <a:gd name="connsiteY62" fmla="*/ 4400550 h 4496940"/>
                <a:gd name="connsiteX63" fmla="*/ 1821202 w 4519987"/>
                <a:gd name="connsiteY63" fmla="*/ 4371975 h 4496940"/>
                <a:gd name="connsiteX64" fmla="*/ 1754527 w 4519987"/>
                <a:gd name="connsiteY64" fmla="*/ 4352925 h 4496940"/>
                <a:gd name="connsiteX65" fmla="*/ 1687852 w 4519987"/>
                <a:gd name="connsiteY65" fmla="*/ 4343400 h 4496940"/>
                <a:gd name="connsiteX66" fmla="*/ 1573552 w 4519987"/>
                <a:gd name="connsiteY66" fmla="*/ 4305300 h 4496940"/>
                <a:gd name="connsiteX67" fmla="*/ 1402102 w 4519987"/>
                <a:gd name="connsiteY67" fmla="*/ 4276725 h 4496940"/>
                <a:gd name="connsiteX68" fmla="*/ 1287802 w 4519987"/>
                <a:gd name="connsiteY68" fmla="*/ 4229100 h 4496940"/>
                <a:gd name="connsiteX69" fmla="*/ 1221127 w 4519987"/>
                <a:gd name="connsiteY69" fmla="*/ 4200525 h 4496940"/>
                <a:gd name="connsiteX70" fmla="*/ 1144927 w 4519987"/>
                <a:gd name="connsiteY70" fmla="*/ 4171950 h 4496940"/>
                <a:gd name="connsiteX71" fmla="*/ 1087777 w 4519987"/>
                <a:gd name="connsiteY71" fmla="*/ 4143375 h 4496940"/>
                <a:gd name="connsiteX72" fmla="*/ 1030627 w 4519987"/>
                <a:gd name="connsiteY72" fmla="*/ 4124325 h 4496940"/>
                <a:gd name="connsiteX73" fmla="*/ 925852 w 4519987"/>
                <a:gd name="connsiteY73" fmla="*/ 4067175 h 4496940"/>
                <a:gd name="connsiteX74" fmla="*/ 830602 w 4519987"/>
                <a:gd name="connsiteY74" fmla="*/ 3981450 h 4496940"/>
                <a:gd name="connsiteX75" fmla="*/ 763927 w 4519987"/>
                <a:gd name="connsiteY75" fmla="*/ 3914775 h 4496940"/>
                <a:gd name="connsiteX76" fmla="*/ 725827 w 4519987"/>
                <a:gd name="connsiteY76" fmla="*/ 3876675 h 4496940"/>
                <a:gd name="connsiteX77" fmla="*/ 697252 w 4519987"/>
                <a:gd name="connsiteY77" fmla="*/ 3838575 h 4496940"/>
                <a:gd name="connsiteX78" fmla="*/ 640102 w 4519987"/>
                <a:gd name="connsiteY78" fmla="*/ 3781425 h 4496940"/>
                <a:gd name="connsiteX79" fmla="*/ 611527 w 4519987"/>
                <a:gd name="connsiteY79" fmla="*/ 3733800 h 4496940"/>
                <a:gd name="connsiteX80" fmla="*/ 554377 w 4519987"/>
                <a:gd name="connsiteY80" fmla="*/ 3657600 h 4496940"/>
                <a:gd name="connsiteX81" fmla="*/ 525802 w 4519987"/>
                <a:gd name="connsiteY81" fmla="*/ 3609975 h 4496940"/>
                <a:gd name="connsiteX82" fmla="*/ 497227 w 4519987"/>
                <a:gd name="connsiteY82" fmla="*/ 3552825 h 4496940"/>
                <a:gd name="connsiteX83" fmla="*/ 440077 w 4519987"/>
                <a:gd name="connsiteY83" fmla="*/ 3495675 h 4496940"/>
                <a:gd name="connsiteX84" fmla="*/ 411502 w 4519987"/>
                <a:gd name="connsiteY84" fmla="*/ 3448050 h 4496940"/>
                <a:gd name="connsiteX85" fmla="*/ 278152 w 4519987"/>
                <a:gd name="connsiteY85" fmla="*/ 3257550 h 4496940"/>
                <a:gd name="connsiteX86" fmla="*/ 249577 w 4519987"/>
                <a:gd name="connsiteY86" fmla="*/ 3200400 h 4496940"/>
                <a:gd name="connsiteX87" fmla="*/ 240052 w 4519987"/>
                <a:gd name="connsiteY87" fmla="*/ 3162300 h 4496940"/>
                <a:gd name="connsiteX88" fmla="*/ 221002 w 4519987"/>
                <a:gd name="connsiteY88" fmla="*/ 3105150 h 4496940"/>
                <a:gd name="connsiteX89" fmla="*/ 173377 w 4519987"/>
                <a:gd name="connsiteY89" fmla="*/ 3019425 h 4496940"/>
                <a:gd name="connsiteX90" fmla="*/ 144802 w 4519987"/>
                <a:gd name="connsiteY90" fmla="*/ 2924175 h 4496940"/>
                <a:gd name="connsiteX91" fmla="*/ 68602 w 4519987"/>
                <a:gd name="connsiteY91" fmla="*/ 2724150 h 4496940"/>
                <a:gd name="connsiteX92" fmla="*/ 49552 w 4519987"/>
                <a:gd name="connsiteY92" fmla="*/ 2638425 h 4496940"/>
                <a:gd name="connsiteX93" fmla="*/ 40027 w 4519987"/>
                <a:gd name="connsiteY93" fmla="*/ 2562225 h 4496940"/>
                <a:gd name="connsiteX94" fmla="*/ 30502 w 4519987"/>
                <a:gd name="connsiteY94" fmla="*/ 2514600 h 4496940"/>
                <a:gd name="connsiteX95" fmla="*/ 11452 w 4519987"/>
                <a:gd name="connsiteY95" fmla="*/ 2400300 h 4496940"/>
                <a:gd name="connsiteX96" fmla="*/ 20977 w 4519987"/>
                <a:gd name="connsiteY96" fmla="*/ 1905000 h 4496940"/>
                <a:gd name="connsiteX97" fmla="*/ 30502 w 4519987"/>
                <a:gd name="connsiteY97" fmla="*/ 1838325 h 4496940"/>
                <a:gd name="connsiteX98" fmla="*/ 49552 w 4519987"/>
                <a:gd name="connsiteY98" fmla="*/ 1781175 h 4496940"/>
                <a:gd name="connsiteX99" fmla="*/ 59077 w 4519987"/>
                <a:gd name="connsiteY99" fmla="*/ 1743075 h 4496940"/>
                <a:gd name="connsiteX100" fmla="*/ 78127 w 4519987"/>
                <a:gd name="connsiteY100" fmla="*/ 1685925 h 4496940"/>
                <a:gd name="connsiteX101" fmla="*/ 87652 w 4519987"/>
                <a:gd name="connsiteY101" fmla="*/ 1638300 h 4496940"/>
                <a:gd name="connsiteX102" fmla="*/ 106702 w 4519987"/>
                <a:gd name="connsiteY102" fmla="*/ 1590675 h 4496940"/>
                <a:gd name="connsiteX103" fmla="*/ 135277 w 4519987"/>
                <a:gd name="connsiteY103" fmla="*/ 1504950 h 4496940"/>
                <a:gd name="connsiteX104" fmla="*/ 154327 w 4519987"/>
                <a:gd name="connsiteY104" fmla="*/ 1419225 h 4496940"/>
                <a:gd name="connsiteX105" fmla="*/ 230527 w 4519987"/>
                <a:gd name="connsiteY105" fmla="*/ 1276350 h 4496940"/>
                <a:gd name="connsiteX106" fmla="*/ 240052 w 4519987"/>
                <a:gd name="connsiteY106" fmla="*/ 1247775 h 4496940"/>
                <a:gd name="connsiteX107" fmla="*/ 268627 w 4519987"/>
                <a:gd name="connsiteY107" fmla="*/ 1200150 h 4496940"/>
                <a:gd name="connsiteX108" fmla="*/ 287677 w 4519987"/>
                <a:gd name="connsiteY108" fmla="*/ 1152525 h 4496940"/>
                <a:gd name="connsiteX109" fmla="*/ 316252 w 4519987"/>
                <a:gd name="connsiteY109" fmla="*/ 1114425 h 4496940"/>
                <a:gd name="connsiteX110" fmla="*/ 363877 w 4519987"/>
                <a:gd name="connsiteY110" fmla="*/ 1038225 h 4496940"/>
                <a:gd name="connsiteX111" fmla="*/ 382927 w 4519987"/>
                <a:gd name="connsiteY111" fmla="*/ 1009650 h 4496940"/>
                <a:gd name="connsiteX112" fmla="*/ 440077 w 4519987"/>
                <a:gd name="connsiteY112" fmla="*/ 904875 h 4496940"/>
                <a:gd name="connsiteX113" fmla="*/ 478177 w 4519987"/>
                <a:gd name="connsiteY113" fmla="*/ 857250 h 4496940"/>
                <a:gd name="connsiteX114" fmla="*/ 497227 w 4519987"/>
                <a:gd name="connsiteY114" fmla="*/ 828675 h 4496940"/>
                <a:gd name="connsiteX115" fmla="*/ 535327 w 4519987"/>
                <a:gd name="connsiteY115" fmla="*/ 800100 h 4496940"/>
                <a:gd name="connsiteX116" fmla="*/ 602002 w 4519987"/>
                <a:gd name="connsiteY116" fmla="*/ 733425 h 4496940"/>
                <a:gd name="connsiteX117" fmla="*/ 668677 w 4519987"/>
                <a:gd name="connsiteY117" fmla="*/ 676275 h 4496940"/>
                <a:gd name="connsiteX118" fmla="*/ 697252 w 4519987"/>
                <a:gd name="connsiteY118" fmla="*/ 657225 h 4496940"/>
                <a:gd name="connsiteX119" fmla="*/ 840127 w 4519987"/>
                <a:gd name="connsiteY119" fmla="*/ 533400 h 4496940"/>
                <a:gd name="connsiteX120" fmla="*/ 887752 w 4519987"/>
                <a:gd name="connsiteY120" fmla="*/ 504825 h 4496940"/>
                <a:gd name="connsiteX121" fmla="*/ 1167152 w 4519987"/>
                <a:gd name="connsiteY121" fmla="*/ 311150 h 4496940"/>
                <a:gd name="connsiteX122" fmla="*/ 1268752 w 4519987"/>
                <a:gd name="connsiteY122" fmla="*/ 285750 h 4496940"/>
                <a:gd name="connsiteX123" fmla="*/ 1411627 w 4519987"/>
                <a:gd name="connsiteY123" fmla="*/ 190500 h 4496940"/>
                <a:gd name="connsiteX124" fmla="*/ 1449727 w 4519987"/>
                <a:gd name="connsiteY124" fmla="*/ 161925 h 4496940"/>
                <a:gd name="connsiteX125" fmla="*/ 1525927 w 4519987"/>
                <a:gd name="connsiteY125" fmla="*/ 152400 h 4496940"/>
                <a:gd name="connsiteX126" fmla="*/ 1583077 w 4519987"/>
                <a:gd name="connsiteY126" fmla="*/ 142875 h 4496940"/>
                <a:gd name="connsiteX127" fmla="*/ 1716427 w 4519987"/>
                <a:gd name="connsiteY127" fmla="*/ 123825 h 4496940"/>
                <a:gd name="connsiteX128" fmla="*/ 1811677 w 4519987"/>
                <a:gd name="connsiteY128" fmla="*/ 114300 h 4496940"/>
                <a:gd name="connsiteX129" fmla="*/ 1859302 w 4519987"/>
                <a:gd name="connsiteY129" fmla="*/ 104775 h 4496940"/>
                <a:gd name="connsiteX130" fmla="*/ 1916452 w 4519987"/>
                <a:gd name="connsiteY130" fmla="*/ 95250 h 4496940"/>
                <a:gd name="connsiteX131" fmla="*/ 2030752 w 4519987"/>
                <a:gd name="connsiteY131" fmla="*/ 66675 h 4496940"/>
                <a:gd name="connsiteX132" fmla="*/ 2097427 w 4519987"/>
                <a:gd name="connsiteY132" fmla="*/ 47625 h 4496940"/>
                <a:gd name="connsiteX133" fmla="*/ 2164102 w 4519987"/>
                <a:gd name="connsiteY133" fmla="*/ 38100 h 4496940"/>
                <a:gd name="connsiteX134" fmla="*/ 2392702 w 4519987"/>
                <a:gd name="connsiteY13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792877 w 4519987"/>
                <a:gd name="connsiteY39" fmla="*/ 3781425 h 4496940"/>
                <a:gd name="connsiteX40" fmla="*/ 3659527 w 4519987"/>
                <a:gd name="connsiteY40" fmla="*/ 3971925 h 4496940"/>
                <a:gd name="connsiteX41" fmla="*/ 3630952 w 4519987"/>
                <a:gd name="connsiteY41" fmla="*/ 4010025 h 4496940"/>
                <a:gd name="connsiteX42" fmla="*/ 3621427 w 4519987"/>
                <a:gd name="connsiteY42" fmla="*/ 4038600 h 4496940"/>
                <a:gd name="connsiteX43" fmla="*/ 3554752 w 4519987"/>
                <a:gd name="connsiteY43" fmla="*/ 4095750 h 4496940"/>
                <a:gd name="connsiteX44" fmla="*/ 3516652 w 4519987"/>
                <a:gd name="connsiteY44" fmla="*/ 4114800 h 4496940"/>
                <a:gd name="connsiteX45" fmla="*/ 3497602 w 4519987"/>
                <a:gd name="connsiteY45" fmla="*/ 4143375 h 4496940"/>
                <a:gd name="connsiteX46" fmla="*/ 3383302 w 4519987"/>
                <a:gd name="connsiteY46" fmla="*/ 4210050 h 4496940"/>
                <a:gd name="connsiteX47" fmla="*/ 3335677 w 4519987"/>
                <a:gd name="connsiteY47" fmla="*/ 4238625 h 4496940"/>
                <a:gd name="connsiteX48" fmla="*/ 3288052 w 4519987"/>
                <a:gd name="connsiteY48" fmla="*/ 4248150 h 4496940"/>
                <a:gd name="connsiteX49" fmla="*/ 3240427 w 4519987"/>
                <a:gd name="connsiteY49" fmla="*/ 4267200 h 4496940"/>
                <a:gd name="connsiteX50" fmla="*/ 3068977 w 4519987"/>
                <a:gd name="connsiteY50" fmla="*/ 4286250 h 4496940"/>
                <a:gd name="connsiteX51" fmla="*/ 2935627 w 4519987"/>
                <a:gd name="connsiteY51" fmla="*/ 4333875 h 4496940"/>
                <a:gd name="connsiteX52" fmla="*/ 2811802 w 4519987"/>
                <a:gd name="connsiteY52" fmla="*/ 4371975 h 4496940"/>
                <a:gd name="connsiteX53" fmla="*/ 2745127 w 4519987"/>
                <a:gd name="connsiteY53" fmla="*/ 4410075 h 4496940"/>
                <a:gd name="connsiteX54" fmla="*/ 2697502 w 4519987"/>
                <a:gd name="connsiteY54" fmla="*/ 4429125 h 4496940"/>
                <a:gd name="connsiteX55" fmla="*/ 2640352 w 4519987"/>
                <a:gd name="connsiteY55" fmla="*/ 4457700 h 4496940"/>
                <a:gd name="connsiteX56" fmla="*/ 2583202 w 4519987"/>
                <a:gd name="connsiteY56" fmla="*/ 4467225 h 4496940"/>
                <a:gd name="connsiteX57" fmla="*/ 2545102 w 4519987"/>
                <a:gd name="connsiteY57" fmla="*/ 4486275 h 4496940"/>
                <a:gd name="connsiteX58" fmla="*/ 2306977 w 4519987"/>
                <a:gd name="connsiteY58" fmla="*/ 4476750 h 4496940"/>
                <a:gd name="connsiteX59" fmla="*/ 2202202 w 4519987"/>
                <a:gd name="connsiteY59" fmla="*/ 4457700 h 4496940"/>
                <a:gd name="connsiteX60" fmla="*/ 2126002 w 4519987"/>
                <a:gd name="connsiteY60" fmla="*/ 4429125 h 4496940"/>
                <a:gd name="connsiteX61" fmla="*/ 1935502 w 4519987"/>
                <a:gd name="connsiteY61" fmla="*/ 4400550 h 4496940"/>
                <a:gd name="connsiteX62" fmla="*/ 1821202 w 4519987"/>
                <a:gd name="connsiteY62" fmla="*/ 4371975 h 4496940"/>
                <a:gd name="connsiteX63" fmla="*/ 1754527 w 4519987"/>
                <a:gd name="connsiteY63" fmla="*/ 4352925 h 4496940"/>
                <a:gd name="connsiteX64" fmla="*/ 1687852 w 4519987"/>
                <a:gd name="connsiteY64" fmla="*/ 4343400 h 4496940"/>
                <a:gd name="connsiteX65" fmla="*/ 1573552 w 4519987"/>
                <a:gd name="connsiteY65" fmla="*/ 4305300 h 4496940"/>
                <a:gd name="connsiteX66" fmla="*/ 1402102 w 4519987"/>
                <a:gd name="connsiteY66" fmla="*/ 4276725 h 4496940"/>
                <a:gd name="connsiteX67" fmla="*/ 1287802 w 4519987"/>
                <a:gd name="connsiteY67" fmla="*/ 4229100 h 4496940"/>
                <a:gd name="connsiteX68" fmla="*/ 1221127 w 4519987"/>
                <a:gd name="connsiteY68" fmla="*/ 4200525 h 4496940"/>
                <a:gd name="connsiteX69" fmla="*/ 1144927 w 4519987"/>
                <a:gd name="connsiteY69" fmla="*/ 4171950 h 4496940"/>
                <a:gd name="connsiteX70" fmla="*/ 1087777 w 4519987"/>
                <a:gd name="connsiteY70" fmla="*/ 4143375 h 4496940"/>
                <a:gd name="connsiteX71" fmla="*/ 1030627 w 4519987"/>
                <a:gd name="connsiteY71" fmla="*/ 4124325 h 4496940"/>
                <a:gd name="connsiteX72" fmla="*/ 925852 w 4519987"/>
                <a:gd name="connsiteY72" fmla="*/ 4067175 h 4496940"/>
                <a:gd name="connsiteX73" fmla="*/ 830602 w 4519987"/>
                <a:gd name="connsiteY73" fmla="*/ 3981450 h 4496940"/>
                <a:gd name="connsiteX74" fmla="*/ 763927 w 4519987"/>
                <a:gd name="connsiteY74" fmla="*/ 3914775 h 4496940"/>
                <a:gd name="connsiteX75" fmla="*/ 725827 w 4519987"/>
                <a:gd name="connsiteY75" fmla="*/ 3876675 h 4496940"/>
                <a:gd name="connsiteX76" fmla="*/ 697252 w 4519987"/>
                <a:gd name="connsiteY76" fmla="*/ 3838575 h 4496940"/>
                <a:gd name="connsiteX77" fmla="*/ 640102 w 4519987"/>
                <a:gd name="connsiteY77" fmla="*/ 3781425 h 4496940"/>
                <a:gd name="connsiteX78" fmla="*/ 611527 w 4519987"/>
                <a:gd name="connsiteY78" fmla="*/ 3733800 h 4496940"/>
                <a:gd name="connsiteX79" fmla="*/ 554377 w 4519987"/>
                <a:gd name="connsiteY79" fmla="*/ 3657600 h 4496940"/>
                <a:gd name="connsiteX80" fmla="*/ 525802 w 4519987"/>
                <a:gd name="connsiteY80" fmla="*/ 3609975 h 4496940"/>
                <a:gd name="connsiteX81" fmla="*/ 497227 w 4519987"/>
                <a:gd name="connsiteY81" fmla="*/ 3552825 h 4496940"/>
                <a:gd name="connsiteX82" fmla="*/ 440077 w 4519987"/>
                <a:gd name="connsiteY82" fmla="*/ 3495675 h 4496940"/>
                <a:gd name="connsiteX83" fmla="*/ 411502 w 4519987"/>
                <a:gd name="connsiteY83" fmla="*/ 3448050 h 4496940"/>
                <a:gd name="connsiteX84" fmla="*/ 278152 w 4519987"/>
                <a:gd name="connsiteY84" fmla="*/ 3257550 h 4496940"/>
                <a:gd name="connsiteX85" fmla="*/ 249577 w 4519987"/>
                <a:gd name="connsiteY85" fmla="*/ 3200400 h 4496940"/>
                <a:gd name="connsiteX86" fmla="*/ 240052 w 4519987"/>
                <a:gd name="connsiteY86" fmla="*/ 3162300 h 4496940"/>
                <a:gd name="connsiteX87" fmla="*/ 221002 w 4519987"/>
                <a:gd name="connsiteY87" fmla="*/ 3105150 h 4496940"/>
                <a:gd name="connsiteX88" fmla="*/ 173377 w 4519987"/>
                <a:gd name="connsiteY88" fmla="*/ 3019425 h 4496940"/>
                <a:gd name="connsiteX89" fmla="*/ 144802 w 4519987"/>
                <a:gd name="connsiteY89" fmla="*/ 2924175 h 4496940"/>
                <a:gd name="connsiteX90" fmla="*/ 68602 w 4519987"/>
                <a:gd name="connsiteY90" fmla="*/ 2724150 h 4496940"/>
                <a:gd name="connsiteX91" fmla="*/ 49552 w 4519987"/>
                <a:gd name="connsiteY91" fmla="*/ 2638425 h 4496940"/>
                <a:gd name="connsiteX92" fmla="*/ 40027 w 4519987"/>
                <a:gd name="connsiteY92" fmla="*/ 2562225 h 4496940"/>
                <a:gd name="connsiteX93" fmla="*/ 30502 w 4519987"/>
                <a:gd name="connsiteY93" fmla="*/ 2514600 h 4496940"/>
                <a:gd name="connsiteX94" fmla="*/ 11452 w 4519987"/>
                <a:gd name="connsiteY94" fmla="*/ 2400300 h 4496940"/>
                <a:gd name="connsiteX95" fmla="*/ 20977 w 4519987"/>
                <a:gd name="connsiteY95" fmla="*/ 1905000 h 4496940"/>
                <a:gd name="connsiteX96" fmla="*/ 30502 w 4519987"/>
                <a:gd name="connsiteY96" fmla="*/ 1838325 h 4496940"/>
                <a:gd name="connsiteX97" fmla="*/ 49552 w 4519987"/>
                <a:gd name="connsiteY97" fmla="*/ 1781175 h 4496940"/>
                <a:gd name="connsiteX98" fmla="*/ 59077 w 4519987"/>
                <a:gd name="connsiteY98" fmla="*/ 1743075 h 4496940"/>
                <a:gd name="connsiteX99" fmla="*/ 78127 w 4519987"/>
                <a:gd name="connsiteY99" fmla="*/ 1685925 h 4496940"/>
                <a:gd name="connsiteX100" fmla="*/ 87652 w 4519987"/>
                <a:gd name="connsiteY100" fmla="*/ 1638300 h 4496940"/>
                <a:gd name="connsiteX101" fmla="*/ 106702 w 4519987"/>
                <a:gd name="connsiteY101" fmla="*/ 1590675 h 4496940"/>
                <a:gd name="connsiteX102" fmla="*/ 135277 w 4519987"/>
                <a:gd name="connsiteY102" fmla="*/ 1504950 h 4496940"/>
                <a:gd name="connsiteX103" fmla="*/ 154327 w 4519987"/>
                <a:gd name="connsiteY103" fmla="*/ 1419225 h 4496940"/>
                <a:gd name="connsiteX104" fmla="*/ 230527 w 4519987"/>
                <a:gd name="connsiteY104" fmla="*/ 1276350 h 4496940"/>
                <a:gd name="connsiteX105" fmla="*/ 240052 w 4519987"/>
                <a:gd name="connsiteY105" fmla="*/ 1247775 h 4496940"/>
                <a:gd name="connsiteX106" fmla="*/ 268627 w 4519987"/>
                <a:gd name="connsiteY106" fmla="*/ 1200150 h 4496940"/>
                <a:gd name="connsiteX107" fmla="*/ 287677 w 4519987"/>
                <a:gd name="connsiteY107" fmla="*/ 1152525 h 4496940"/>
                <a:gd name="connsiteX108" fmla="*/ 316252 w 4519987"/>
                <a:gd name="connsiteY108" fmla="*/ 1114425 h 4496940"/>
                <a:gd name="connsiteX109" fmla="*/ 363877 w 4519987"/>
                <a:gd name="connsiteY109" fmla="*/ 1038225 h 4496940"/>
                <a:gd name="connsiteX110" fmla="*/ 382927 w 4519987"/>
                <a:gd name="connsiteY110" fmla="*/ 1009650 h 4496940"/>
                <a:gd name="connsiteX111" fmla="*/ 440077 w 4519987"/>
                <a:gd name="connsiteY111" fmla="*/ 904875 h 4496940"/>
                <a:gd name="connsiteX112" fmla="*/ 478177 w 4519987"/>
                <a:gd name="connsiteY112" fmla="*/ 857250 h 4496940"/>
                <a:gd name="connsiteX113" fmla="*/ 497227 w 4519987"/>
                <a:gd name="connsiteY113" fmla="*/ 828675 h 4496940"/>
                <a:gd name="connsiteX114" fmla="*/ 535327 w 4519987"/>
                <a:gd name="connsiteY114" fmla="*/ 800100 h 4496940"/>
                <a:gd name="connsiteX115" fmla="*/ 602002 w 4519987"/>
                <a:gd name="connsiteY115" fmla="*/ 733425 h 4496940"/>
                <a:gd name="connsiteX116" fmla="*/ 668677 w 4519987"/>
                <a:gd name="connsiteY116" fmla="*/ 676275 h 4496940"/>
                <a:gd name="connsiteX117" fmla="*/ 697252 w 4519987"/>
                <a:gd name="connsiteY117" fmla="*/ 657225 h 4496940"/>
                <a:gd name="connsiteX118" fmla="*/ 840127 w 4519987"/>
                <a:gd name="connsiteY118" fmla="*/ 533400 h 4496940"/>
                <a:gd name="connsiteX119" fmla="*/ 887752 w 4519987"/>
                <a:gd name="connsiteY119" fmla="*/ 504825 h 4496940"/>
                <a:gd name="connsiteX120" fmla="*/ 1167152 w 4519987"/>
                <a:gd name="connsiteY120" fmla="*/ 311150 h 4496940"/>
                <a:gd name="connsiteX121" fmla="*/ 1268752 w 4519987"/>
                <a:gd name="connsiteY121" fmla="*/ 285750 h 4496940"/>
                <a:gd name="connsiteX122" fmla="*/ 1411627 w 4519987"/>
                <a:gd name="connsiteY122" fmla="*/ 190500 h 4496940"/>
                <a:gd name="connsiteX123" fmla="*/ 1449727 w 4519987"/>
                <a:gd name="connsiteY123" fmla="*/ 161925 h 4496940"/>
                <a:gd name="connsiteX124" fmla="*/ 1525927 w 4519987"/>
                <a:gd name="connsiteY124" fmla="*/ 152400 h 4496940"/>
                <a:gd name="connsiteX125" fmla="*/ 1583077 w 4519987"/>
                <a:gd name="connsiteY125" fmla="*/ 142875 h 4496940"/>
                <a:gd name="connsiteX126" fmla="*/ 1716427 w 4519987"/>
                <a:gd name="connsiteY126" fmla="*/ 123825 h 4496940"/>
                <a:gd name="connsiteX127" fmla="*/ 1811677 w 4519987"/>
                <a:gd name="connsiteY127" fmla="*/ 114300 h 4496940"/>
                <a:gd name="connsiteX128" fmla="*/ 1859302 w 4519987"/>
                <a:gd name="connsiteY128" fmla="*/ 104775 h 4496940"/>
                <a:gd name="connsiteX129" fmla="*/ 1916452 w 4519987"/>
                <a:gd name="connsiteY129" fmla="*/ 95250 h 4496940"/>
                <a:gd name="connsiteX130" fmla="*/ 2030752 w 4519987"/>
                <a:gd name="connsiteY130" fmla="*/ 66675 h 4496940"/>
                <a:gd name="connsiteX131" fmla="*/ 2097427 w 4519987"/>
                <a:gd name="connsiteY131" fmla="*/ 47625 h 4496940"/>
                <a:gd name="connsiteX132" fmla="*/ 2164102 w 4519987"/>
                <a:gd name="connsiteY132" fmla="*/ 38100 h 4496940"/>
                <a:gd name="connsiteX133" fmla="*/ 2392702 w 4519987"/>
                <a:gd name="connsiteY13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907177 w 4519987"/>
                <a:gd name="connsiteY38" fmla="*/ 3686175 h 4496940"/>
                <a:gd name="connsiteX39" fmla="*/ 3659527 w 4519987"/>
                <a:gd name="connsiteY39" fmla="*/ 3971925 h 4496940"/>
                <a:gd name="connsiteX40" fmla="*/ 3630952 w 4519987"/>
                <a:gd name="connsiteY40" fmla="*/ 4010025 h 4496940"/>
                <a:gd name="connsiteX41" fmla="*/ 3621427 w 4519987"/>
                <a:gd name="connsiteY41" fmla="*/ 4038600 h 4496940"/>
                <a:gd name="connsiteX42" fmla="*/ 3554752 w 4519987"/>
                <a:gd name="connsiteY42" fmla="*/ 4095750 h 4496940"/>
                <a:gd name="connsiteX43" fmla="*/ 3516652 w 4519987"/>
                <a:gd name="connsiteY43" fmla="*/ 4114800 h 4496940"/>
                <a:gd name="connsiteX44" fmla="*/ 3497602 w 4519987"/>
                <a:gd name="connsiteY44" fmla="*/ 4143375 h 4496940"/>
                <a:gd name="connsiteX45" fmla="*/ 3383302 w 4519987"/>
                <a:gd name="connsiteY45" fmla="*/ 4210050 h 4496940"/>
                <a:gd name="connsiteX46" fmla="*/ 3335677 w 4519987"/>
                <a:gd name="connsiteY46" fmla="*/ 4238625 h 4496940"/>
                <a:gd name="connsiteX47" fmla="*/ 3288052 w 4519987"/>
                <a:gd name="connsiteY47" fmla="*/ 4248150 h 4496940"/>
                <a:gd name="connsiteX48" fmla="*/ 3240427 w 4519987"/>
                <a:gd name="connsiteY48" fmla="*/ 4267200 h 4496940"/>
                <a:gd name="connsiteX49" fmla="*/ 3068977 w 4519987"/>
                <a:gd name="connsiteY49" fmla="*/ 4286250 h 4496940"/>
                <a:gd name="connsiteX50" fmla="*/ 2935627 w 4519987"/>
                <a:gd name="connsiteY50" fmla="*/ 4333875 h 4496940"/>
                <a:gd name="connsiteX51" fmla="*/ 2811802 w 4519987"/>
                <a:gd name="connsiteY51" fmla="*/ 4371975 h 4496940"/>
                <a:gd name="connsiteX52" fmla="*/ 2745127 w 4519987"/>
                <a:gd name="connsiteY52" fmla="*/ 4410075 h 4496940"/>
                <a:gd name="connsiteX53" fmla="*/ 2697502 w 4519987"/>
                <a:gd name="connsiteY53" fmla="*/ 4429125 h 4496940"/>
                <a:gd name="connsiteX54" fmla="*/ 2640352 w 4519987"/>
                <a:gd name="connsiteY54" fmla="*/ 4457700 h 4496940"/>
                <a:gd name="connsiteX55" fmla="*/ 2583202 w 4519987"/>
                <a:gd name="connsiteY55" fmla="*/ 4467225 h 4496940"/>
                <a:gd name="connsiteX56" fmla="*/ 2545102 w 4519987"/>
                <a:gd name="connsiteY56" fmla="*/ 4486275 h 4496940"/>
                <a:gd name="connsiteX57" fmla="*/ 2306977 w 4519987"/>
                <a:gd name="connsiteY57" fmla="*/ 4476750 h 4496940"/>
                <a:gd name="connsiteX58" fmla="*/ 2202202 w 4519987"/>
                <a:gd name="connsiteY58" fmla="*/ 4457700 h 4496940"/>
                <a:gd name="connsiteX59" fmla="*/ 2126002 w 4519987"/>
                <a:gd name="connsiteY59" fmla="*/ 4429125 h 4496940"/>
                <a:gd name="connsiteX60" fmla="*/ 1935502 w 4519987"/>
                <a:gd name="connsiteY60" fmla="*/ 4400550 h 4496940"/>
                <a:gd name="connsiteX61" fmla="*/ 1821202 w 4519987"/>
                <a:gd name="connsiteY61" fmla="*/ 4371975 h 4496940"/>
                <a:gd name="connsiteX62" fmla="*/ 1754527 w 4519987"/>
                <a:gd name="connsiteY62" fmla="*/ 4352925 h 4496940"/>
                <a:gd name="connsiteX63" fmla="*/ 1687852 w 4519987"/>
                <a:gd name="connsiteY63" fmla="*/ 4343400 h 4496940"/>
                <a:gd name="connsiteX64" fmla="*/ 1573552 w 4519987"/>
                <a:gd name="connsiteY64" fmla="*/ 4305300 h 4496940"/>
                <a:gd name="connsiteX65" fmla="*/ 1402102 w 4519987"/>
                <a:gd name="connsiteY65" fmla="*/ 4276725 h 4496940"/>
                <a:gd name="connsiteX66" fmla="*/ 1287802 w 4519987"/>
                <a:gd name="connsiteY66" fmla="*/ 4229100 h 4496940"/>
                <a:gd name="connsiteX67" fmla="*/ 1221127 w 4519987"/>
                <a:gd name="connsiteY67" fmla="*/ 4200525 h 4496940"/>
                <a:gd name="connsiteX68" fmla="*/ 1144927 w 4519987"/>
                <a:gd name="connsiteY68" fmla="*/ 4171950 h 4496940"/>
                <a:gd name="connsiteX69" fmla="*/ 1087777 w 4519987"/>
                <a:gd name="connsiteY69" fmla="*/ 4143375 h 4496940"/>
                <a:gd name="connsiteX70" fmla="*/ 1030627 w 4519987"/>
                <a:gd name="connsiteY70" fmla="*/ 4124325 h 4496940"/>
                <a:gd name="connsiteX71" fmla="*/ 925852 w 4519987"/>
                <a:gd name="connsiteY71" fmla="*/ 4067175 h 4496940"/>
                <a:gd name="connsiteX72" fmla="*/ 830602 w 4519987"/>
                <a:gd name="connsiteY72" fmla="*/ 3981450 h 4496940"/>
                <a:gd name="connsiteX73" fmla="*/ 763927 w 4519987"/>
                <a:gd name="connsiteY73" fmla="*/ 3914775 h 4496940"/>
                <a:gd name="connsiteX74" fmla="*/ 725827 w 4519987"/>
                <a:gd name="connsiteY74" fmla="*/ 3876675 h 4496940"/>
                <a:gd name="connsiteX75" fmla="*/ 697252 w 4519987"/>
                <a:gd name="connsiteY75" fmla="*/ 3838575 h 4496940"/>
                <a:gd name="connsiteX76" fmla="*/ 640102 w 4519987"/>
                <a:gd name="connsiteY76" fmla="*/ 3781425 h 4496940"/>
                <a:gd name="connsiteX77" fmla="*/ 611527 w 4519987"/>
                <a:gd name="connsiteY77" fmla="*/ 3733800 h 4496940"/>
                <a:gd name="connsiteX78" fmla="*/ 554377 w 4519987"/>
                <a:gd name="connsiteY78" fmla="*/ 3657600 h 4496940"/>
                <a:gd name="connsiteX79" fmla="*/ 525802 w 4519987"/>
                <a:gd name="connsiteY79" fmla="*/ 3609975 h 4496940"/>
                <a:gd name="connsiteX80" fmla="*/ 497227 w 4519987"/>
                <a:gd name="connsiteY80" fmla="*/ 3552825 h 4496940"/>
                <a:gd name="connsiteX81" fmla="*/ 440077 w 4519987"/>
                <a:gd name="connsiteY81" fmla="*/ 3495675 h 4496940"/>
                <a:gd name="connsiteX82" fmla="*/ 411502 w 4519987"/>
                <a:gd name="connsiteY82" fmla="*/ 3448050 h 4496940"/>
                <a:gd name="connsiteX83" fmla="*/ 278152 w 4519987"/>
                <a:gd name="connsiteY83" fmla="*/ 3257550 h 4496940"/>
                <a:gd name="connsiteX84" fmla="*/ 249577 w 4519987"/>
                <a:gd name="connsiteY84" fmla="*/ 3200400 h 4496940"/>
                <a:gd name="connsiteX85" fmla="*/ 240052 w 4519987"/>
                <a:gd name="connsiteY85" fmla="*/ 3162300 h 4496940"/>
                <a:gd name="connsiteX86" fmla="*/ 221002 w 4519987"/>
                <a:gd name="connsiteY86" fmla="*/ 3105150 h 4496940"/>
                <a:gd name="connsiteX87" fmla="*/ 173377 w 4519987"/>
                <a:gd name="connsiteY87" fmla="*/ 3019425 h 4496940"/>
                <a:gd name="connsiteX88" fmla="*/ 144802 w 4519987"/>
                <a:gd name="connsiteY88" fmla="*/ 2924175 h 4496940"/>
                <a:gd name="connsiteX89" fmla="*/ 68602 w 4519987"/>
                <a:gd name="connsiteY89" fmla="*/ 2724150 h 4496940"/>
                <a:gd name="connsiteX90" fmla="*/ 49552 w 4519987"/>
                <a:gd name="connsiteY90" fmla="*/ 2638425 h 4496940"/>
                <a:gd name="connsiteX91" fmla="*/ 40027 w 4519987"/>
                <a:gd name="connsiteY91" fmla="*/ 2562225 h 4496940"/>
                <a:gd name="connsiteX92" fmla="*/ 30502 w 4519987"/>
                <a:gd name="connsiteY92" fmla="*/ 2514600 h 4496940"/>
                <a:gd name="connsiteX93" fmla="*/ 11452 w 4519987"/>
                <a:gd name="connsiteY93" fmla="*/ 2400300 h 4496940"/>
                <a:gd name="connsiteX94" fmla="*/ 20977 w 4519987"/>
                <a:gd name="connsiteY94" fmla="*/ 1905000 h 4496940"/>
                <a:gd name="connsiteX95" fmla="*/ 30502 w 4519987"/>
                <a:gd name="connsiteY95" fmla="*/ 1838325 h 4496940"/>
                <a:gd name="connsiteX96" fmla="*/ 49552 w 4519987"/>
                <a:gd name="connsiteY96" fmla="*/ 1781175 h 4496940"/>
                <a:gd name="connsiteX97" fmla="*/ 59077 w 4519987"/>
                <a:gd name="connsiteY97" fmla="*/ 1743075 h 4496940"/>
                <a:gd name="connsiteX98" fmla="*/ 78127 w 4519987"/>
                <a:gd name="connsiteY98" fmla="*/ 1685925 h 4496940"/>
                <a:gd name="connsiteX99" fmla="*/ 87652 w 4519987"/>
                <a:gd name="connsiteY99" fmla="*/ 1638300 h 4496940"/>
                <a:gd name="connsiteX100" fmla="*/ 106702 w 4519987"/>
                <a:gd name="connsiteY100" fmla="*/ 1590675 h 4496940"/>
                <a:gd name="connsiteX101" fmla="*/ 135277 w 4519987"/>
                <a:gd name="connsiteY101" fmla="*/ 1504950 h 4496940"/>
                <a:gd name="connsiteX102" fmla="*/ 154327 w 4519987"/>
                <a:gd name="connsiteY102" fmla="*/ 1419225 h 4496940"/>
                <a:gd name="connsiteX103" fmla="*/ 230527 w 4519987"/>
                <a:gd name="connsiteY103" fmla="*/ 1276350 h 4496940"/>
                <a:gd name="connsiteX104" fmla="*/ 240052 w 4519987"/>
                <a:gd name="connsiteY104" fmla="*/ 1247775 h 4496940"/>
                <a:gd name="connsiteX105" fmla="*/ 268627 w 4519987"/>
                <a:gd name="connsiteY105" fmla="*/ 1200150 h 4496940"/>
                <a:gd name="connsiteX106" fmla="*/ 287677 w 4519987"/>
                <a:gd name="connsiteY106" fmla="*/ 1152525 h 4496940"/>
                <a:gd name="connsiteX107" fmla="*/ 316252 w 4519987"/>
                <a:gd name="connsiteY107" fmla="*/ 1114425 h 4496940"/>
                <a:gd name="connsiteX108" fmla="*/ 363877 w 4519987"/>
                <a:gd name="connsiteY108" fmla="*/ 1038225 h 4496940"/>
                <a:gd name="connsiteX109" fmla="*/ 382927 w 4519987"/>
                <a:gd name="connsiteY109" fmla="*/ 1009650 h 4496940"/>
                <a:gd name="connsiteX110" fmla="*/ 440077 w 4519987"/>
                <a:gd name="connsiteY110" fmla="*/ 904875 h 4496940"/>
                <a:gd name="connsiteX111" fmla="*/ 478177 w 4519987"/>
                <a:gd name="connsiteY111" fmla="*/ 857250 h 4496940"/>
                <a:gd name="connsiteX112" fmla="*/ 497227 w 4519987"/>
                <a:gd name="connsiteY112" fmla="*/ 828675 h 4496940"/>
                <a:gd name="connsiteX113" fmla="*/ 535327 w 4519987"/>
                <a:gd name="connsiteY113" fmla="*/ 800100 h 4496940"/>
                <a:gd name="connsiteX114" fmla="*/ 602002 w 4519987"/>
                <a:gd name="connsiteY114" fmla="*/ 733425 h 4496940"/>
                <a:gd name="connsiteX115" fmla="*/ 668677 w 4519987"/>
                <a:gd name="connsiteY115" fmla="*/ 676275 h 4496940"/>
                <a:gd name="connsiteX116" fmla="*/ 697252 w 4519987"/>
                <a:gd name="connsiteY116" fmla="*/ 657225 h 4496940"/>
                <a:gd name="connsiteX117" fmla="*/ 840127 w 4519987"/>
                <a:gd name="connsiteY117" fmla="*/ 533400 h 4496940"/>
                <a:gd name="connsiteX118" fmla="*/ 887752 w 4519987"/>
                <a:gd name="connsiteY118" fmla="*/ 504825 h 4496940"/>
                <a:gd name="connsiteX119" fmla="*/ 1167152 w 4519987"/>
                <a:gd name="connsiteY119" fmla="*/ 311150 h 4496940"/>
                <a:gd name="connsiteX120" fmla="*/ 1268752 w 4519987"/>
                <a:gd name="connsiteY120" fmla="*/ 285750 h 4496940"/>
                <a:gd name="connsiteX121" fmla="*/ 1411627 w 4519987"/>
                <a:gd name="connsiteY121" fmla="*/ 190500 h 4496940"/>
                <a:gd name="connsiteX122" fmla="*/ 1449727 w 4519987"/>
                <a:gd name="connsiteY122" fmla="*/ 161925 h 4496940"/>
                <a:gd name="connsiteX123" fmla="*/ 1525927 w 4519987"/>
                <a:gd name="connsiteY123" fmla="*/ 152400 h 4496940"/>
                <a:gd name="connsiteX124" fmla="*/ 1583077 w 4519987"/>
                <a:gd name="connsiteY124" fmla="*/ 142875 h 4496940"/>
                <a:gd name="connsiteX125" fmla="*/ 1716427 w 4519987"/>
                <a:gd name="connsiteY125" fmla="*/ 123825 h 4496940"/>
                <a:gd name="connsiteX126" fmla="*/ 1811677 w 4519987"/>
                <a:gd name="connsiteY126" fmla="*/ 114300 h 4496940"/>
                <a:gd name="connsiteX127" fmla="*/ 1859302 w 4519987"/>
                <a:gd name="connsiteY127" fmla="*/ 104775 h 4496940"/>
                <a:gd name="connsiteX128" fmla="*/ 1916452 w 4519987"/>
                <a:gd name="connsiteY128" fmla="*/ 95250 h 4496940"/>
                <a:gd name="connsiteX129" fmla="*/ 2030752 w 4519987"/>
                <a:gd name="connsiteY129" fmla="*/ 66675 h 4496940"/>
                <a:gd name="connsiteX130" fmla="*/ 2097427 w 4519987"/>
                <a:gd name="connsiteY130" fmla="*/ 47625 h 4496940"/>
                <a:gd name="connsiteX131" fmla="*/ 2164102 w 4519987"/>
                <a:gd name="connsiteY131" fmla="*/ 38100 h 4496940"/>
                <a:gd name="connsiteX132" fmla="*/ 2392702 w 4519987"/>
                <a:gd name="connsiteY13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259602 w 4519987"/>
                <a:gd name="connsiteY32" fmla="*/ 3276600 h 4496940"/>
                <a:gd name="connsiteX33" fmla="*/ 4183402 w 4519987"/>
                <a:gd name="connsiteY33" fmla="*/ 3400425 h 4496940"/>
                <a:gd name="connsiteX34" fmla="*/ 4088152 w 4519987"/>
                <a:gd name="connsiteY34" fmla="*/ 3495675 h 4496940"/>
                <a:gd name="connsiteX35" fmla="*/ 4059577 w 4519987"/>
                <a:gd name="connsiteY35" fmla="*/ 3533775 h 4496940"/>
                <a:gd name="connsiteX36" fmla="*/ 4002427 w 4519987"/>
                <a:gd name="connsiteY36" fmla="*/ 3600450 h 4496940"/>
                <a:gd name="connsiteX37" fmla="*/ 3954802 w 4519987"/>
                <a:gd name="connsiteY37" fmla="*/ 3648075 h 4496940"/>
                <a:gd name="connsiteX38" fmla="*/ 3659527 w 4519987"/>
                <a:gd name="connsiteY38" fmla="*/ 3971925 h 4496940"/>
                <a:gd name="connsiteX39" fmla="*/ 3630952 w 4519987"/>
                <a:gd name="connsiteY39" fmla="*/ 4010025 h 4496940"/>
                <a:gd name="connsiteX40" fmla="*/ 3621427 w 4519987"/>
                <a:gd name="connsiteY40" fmla="*/ 4038600 h 4496940"/>
                <a:gd name="connsiteX41" fmla="*/ 3554752 w 4519987"/>
                <a:gd name="connsiteY41" fmla="*/ 4095750 h 4496940"/>
                <a:gd name="connsiteX42" fmla="*/ 3516652 w 4519987"/>
                <a:gd name="connsiteY42" fmla="*/ 4114800 h 4496940"/>
                <a:gd name="connsiteX43" fmla="*/ 3497602 w 4519987"/>
                <a:gd name="connsiteY43" fmla="*/ 4143375 h 4496940"/>
                <a:gd name="connsiteX44" fmla="*/ 3383302 w 4519987"/>
                <a:gd name="connsiteY44" fmla="*/ 4210050 h 4496940"/>
                <a:gd name="connsiteX45" fmla="*/ 3335677 w 4519987"/>
                <a:gd name="connsiteY45" fmla="*/ 4238625 h 4496940"/>
                <a:gd name="connsiteX46" fmla="*/ 3288052 w 4519987"/>
                <a:gd name="connsiteY46" fmla="*/ 4248150 h 4496940"/>
                <a:gd name="connsiteX47" fmla="*/ 3240427 w 4519987"/>
                <a:gd name="connsiteY47" fmla="*/ 4267200 h 4496940"/>
                <a:gd name="connsiteX48" fmla="*/ 3068977 w 4519987"/>
                <a:gd name="connsiteY48" fmla="*/ 4286250 h 4496940"/>
                <a:gd name="connsiteX49" fmla="*/ 2935627 w 4519987"/>
                <a:gd name="connsiteY49" fmla="*/ 4333875 h 4496940"/>
                <a:gd name="connsiteX50" fmla="*/ 2811802 w 4519987"/>
                <a:gd name="connsiteY50" fmla="*/ 4371975 h 4496940"/>
                <a:gd name="connsiteX51" fmla="*/ 2745127 w 4519987"/>
                <a:gd name="connsiteY51" fmla="*/ 4410075 h 4496940"/>
                <a:gd name="connsiteX52" fmla="*/ 2697502 w 4519987"/>
                <a:gd name="connsiteY52" fmla="*/ 4429125 h 4496940"/>
                <a:gd name="connsiteX53" fmla="*/ 2640352 w 4519987"/>
                <a:gd name="connsiteY53" fmla="*/ 4457700 h 4496940"/>
                <a:gd name="connsiteX54" fmla="*/ 2583202 w 4519987"/>
                <a:gd name="connsiteY54" fmla="*/ 4467225 h 4496940"/>
                <a:gd name="connsiteX55" fmla="*/ 2545102 w 4519987"/>
                <a:gd name="connsiteY55" fmla="*/ 4486275 h 4496940"/>
                <a:gd name="connsiteX56" fmla="*/ 2306977 w 4519987"/>
                <a:gd name="connsiteY56" fmla="*/ 4476750 h 4496940"/>
                <a:gd name="connsiteX57" fmla="*/ 2202202 w 4519987"/>
                <a:gd name="connsiteY57" fmla="*/ 4457700 h 4496940"/>
                <a:gd name="connsiteX58" fmla="*/ 2126002 w 4519987"/>
                <a:gd name="connsiteY58" fmla="*/ 4429125 h 4496940"/>
                <a:gd name="connsiteX59" fmla="*/ 1935502 w 4519987"/>
                <a:gd name="connsiteY59" fmla="*/ 4400550 h 4496940"/>
                <a:gd name="connsiteX60" fmla="*/ 1821202 w 4519987"/>
                <a:gd name="connsiteY60" fmla="*/ 4371975 h 4496940"/>
                <a:gd name="connsiteX61" fmla="*/ 1754527 w 4519987"/>
                <a:gd name="connsiteY61" fmla="*/ 4352925 h 4496940"/>
                <a:gd name="connsiteX62" fmla="*/ 1687852 w 4519987"/>
                <a:gd name="connsiteY62" fmla="*/ 4343400 h 4496940"/>
                <a:gd name="connsiteX63" fmla="*/ 1573552 w 4519987"/>
                <a:gd name="connsiteY63" fmla="*/ 4305300 h 4496940"/>
                <a:gd name="connsiteX64" fmla="*/ 1402102 w 4519987"/>
                <a:gd name="connsiteY64" fmla="*/ 4276725 h 4496940"/>
                <a:gd name="connsiteX65" fmla="*/ 1287802 w 4519987"/>
                <a:gd name="connsiteY65" fmla="*/ 4229100 h 4496940"/>
                <a:gd name="connsiteX66" fmla="*/ 1221127 w 4519987"/>
                <a:gd name="connsiteY66" fmla="*/ 4200525 h 4496940"/>
                <a:gd name="connsiteX67" fmla="*/ 1144927 w 4519987"/>
                <a:gd name="connsiteY67" fmla="*/ 4171950 h 4496940"/>
                <a:gd name="connsiteX68" fmla="*/ 1087777 w 4519987"/>
                <a:gd name="connsiteY68" fmla="*/ 4143375 h 4496940"/>
                <a:gd name="connsiteX69" fmla="*/ 1030627 w 4519987"/>
                <a:gd name="connsiteY69" fmla="*/ 4124325 h 4496940"/>
                <a:gd name="connsiteX70" fmla="*/ 925852 w 4519987"/>
                <a:gd name="connsiteY70" fmla="*/ 4067175 h 4496940"/>
                <a:gd name="connsiteX71" fmla="*/ 830602 w 4519987"/>
                <a:gd name="connsiteY71" fmla="*/ 3981450 h 4496940"/>
                <a:gd name="connsiteX72" fmla="*/ 763927 w 4519987"/>
                <a:gd name="connsiteY72" fmla="*/ 3914775 h 4496940"/>
                <a:gd name="connsiteX73" fmla="*/ 725827 w 4519987"/>
                <a:gd name="connsiteY73" fmla="*/ 3876675 h 4496940"/>
                <a:gd name="connsiteX74" fmla="*/ 697252 w 4519987"/>
                <a:gd name="connsiteY74" fmla="*/ 3838575 h 4496940"/>
                <a:gd name="connsiteX75" fmla="*/ 640102 w 4519987"/>
                <a:gd name="connsiteY75" fmla="*/ 3781425 h 4496940"/>
                <a:gd name="connsiteX76" fmla="*/ 611527 w 4519987"/>
                <a:gd name="connsiteY76" fmla="*/ 3733800 h 4496940"/>
                <a:gd name="connsiteX77" fmla="*/ 554377 w 4519987"/>
                <a:gd name="connsiteY77" fmla="*/ 3657600 h 4496940"/>
                <a:gd name="connsiteX78" fmla="*/ 525802 w 4519987"/>
                <a:gd name="connsiteY78" fmla="*/ 3609975 h 4496940"/>
                <a:gd name="connsiteX79" fmla="*/ 497227 w 4519987"/>
                <a:gd name="connsiteY79" fmla="*/ 3552825 h 4496940"/>
                <a:gd name="connsiteX80" fmla="*/ 440077 w 4519987"/>
                <a:gd name="connsiteY80" fmla="*/ 3495675 h 4496940"/>
                <a:gd name="connsiteX81" fmla="*/ 411502 w 4519987"/>
                <a:gd name="connsiteY81" fmla="*/ 3448050 h 4496940"/>
                <a:gd name="connsiteX82" fmla="*/ 278152 w 4519987"/>
                <a:gd name="connsiteY82" fmla="*/ 3257550 h 4496940"/>
                <a:gd name="connsiteX83" fmla="*/ 249577 w 4519987"/>
                <a:gd name="connsiteY83" fmla="*/ 3200400 h 4496940"/>
                <a:gd name="connsiteX84" fmla="*/ 240052 w 4519987"/>
                <a:gd name="connsiteY84" fmla="*/ 3162300 h 4496940"/>
                <a:gd name="connsiteX85" fmla="*/ 221002 w 4519987"/>
                <a:gd name="connsiteY85" fmla="*/ 3105150 h 4496940"/>
                <a:gd name="connsiteX86" fmla="*/ 173377 w 4519987"/>
                <a:gd name="connsiteY86" fmla="*/ 3019425 h 4496940"/>
                <a:gd name="connsiteX87" fmla="*/ 144802 w 4519987"/>
                <a:gd name="connsiteY87" fmla="*/ 2924175 h 4496940"/>
                <a:gd name="connsiteX88" fmla="*/ 68602 w 4519987"/>
                <a:gd name="connsiteY88" fmla="*/ 2724150 h 4496940"/>
                <a:gd name="connsiteX89" fmla="*/ 49552 w 4519987"/>
                <a:gd name="connsiteY89" fmla="*/ 2638425 h 4496940"/>
                <a:gd name="connsiteX90" fmla="*/ 40027 w 4519987"/>
                <a:gd name="connsiteY90" fmla="*/ 2562225 h 4496940"/>
                <a:gd name="connsiteX91" fmla="*/ 30502 w 4519987"/>
                <a:gd name="connsiteY91" fmla="*/ 2514600 h 4496940"/>
                <a:gd name="connsiteX92" fmla="*/ 11452 w 4519987"/>
                <a:gd name="connsiteY92" fmla="*/ 2400300 h 4496940"/>
                <a:gd name="connsiteX93" fmla="*/ 20977 w 4519987"/>
                <a:gd name="connsiteY93" fmla="*/ 1905000 h 4496940"/>
                <a:gd name="connsiteX94" fmla="*/ 30502 w 4519987"/>
                <a:gd name="connsiteY94" fmla="*/ 1838325 h 4496940"/>
                <a:gd name="connsiteX95" fmla="*/ 49552 w 4519987"/>
                <a:gd name="connsiteY95" fmla="*/ 1781175 h 4496940"/>
                <a:gd name="connsiteX96" fmla="*/ 59077 w 4519987"/>
                <a:gd name="connsiteY96" fmla="*/ 1743075 h 4496940"/>
                <a:gd name="connsiteX97" fmla="*/ 78127 w 4519987"/>
                <a:gd name="connsiteY97" fmla="*/ 1685925 h 4496940"/>
                <a:gd name="connsiteX98" fmla="*/ 87652 w 4519987"/>
                <a:gd name="connsiteY98" fmla="*/ 1638300 h 4496940"/>
                <a:gd name="connsiteX99" fmla="*/ 106702 w 4519987"/>
                <a:gd name="connsiteY99" fmla="*/ 1590675 h 4496940"/>
                <a:gd name="connsiteX100" fmla="*/ 135277 w 4519987"/>
                <a:gd name="connsiteY100" fmla="*/ 1504950 h 4496940"/>
                <a:gd name="connsiteX101" fmla="*/ 154327 w 4519987"/>
                <a:gd name="connsiteY101" fmla="*/ 1419225 h 4496940"/>
                <a:gd name="connsiteX102" fmla="*/ 230527 w 4519987"/>
                <a:gd name="connsiteY102" fmla="*/ 1276350 h 4496940"/>
                <a:gd name="connsiteX103" fmla="*/ 240052 w 4519987"/>
                <a:gd name="connsiteY103" fmla="*/ 1247775 h 4496940"/>
                <a:gd name="connsiteX104" fmla="*/ 268627 w 4519987"/>
                <a:gd name="connsiteY104" fmla="*/ 1200150 h 4496940"/>
                <a:gd name="connsiteX105" fmla="*/ 287677 w 4519987"/>
                <a:gd name="connsiteY105" fmla="*/ 1152525 h 4496940"/>
                <a:gd name="connsiteX106" fmla="*/ 316252 w 4519987"/>
                <a:gd name="connsiteY106" fmla="*/ 1114425 h 4496940"/>
                <a:gd name="connsiteX107" fmla="*/ 363877 w 4519987"/>
                <a:gd name="connsiteY107" fmla="*/ 1038225 h 4496940"/>
                <a:gd name="connsiteX108" fmla="*/ 382927 w 4519987"/>
                <a:gd name="connsiteY108" fmla="*/ 1009650 h 4496940"/>
                <a:gd name="connsiteX109" fmla="*/ 440077 w 4519987"/>
                <a:gd name="connsiteY109" fmla="*/ 904875 h 4496940"/>
                <a:gd name="connsiteX110" fmla="*/ 478177 w 4519987"/>
                <a:gd name="connsiteY110" fmla="*/ 857250 h 4496940"/>
                <a:gd name="connsiteX111" fmla="*/ 497227 w 4519987"/>
                <a:gd name="connsiteY111" fmla="*/ 828675 h 4496940"/>
                <a:gd name="connsiteX112" fmla="*/ 535327 w 4519987"/>
                <a:gd name="connsiteY112" fmla="*/ 800100 h 4496940"/>
                <a:gd name="connsiteX113" fmla="*/ 602002 w 4519987"/>
                <a:gd name="connsiteY113" fmla="*/ 733425 h 4496940"/>
                <a:gd name="connsiteX114" fmla="*/ 668677 w 4519987"/>
                <a:gd name="connsiteY114" fmla="*/ 676275 h 4496940"/>
                <a:gd name="connsiteX115" fmla="*/ 697252 w 4519987"/>
                <a:gd name="connsiteY115" fmla="*/ 657225 h 4496940"/>
                <a:gd name="connsiteX116" fmla="*/ 840127 w 4519987"/>
                <a:gd name="connsiteY116" fmla="*/ 533400 h 4496940"/>
                <a:gd name="connsiteX117" fmla="*/ 887752 w 4519987"/>
                <a:gd name="connsiteY117" fmla="*/ 504825 h 4496940"/>
                <a:gd name="connsiteX118" fmla="*/ 1167152 w 4519987"/>
                <a:gd name="connsiteY118" fmla="*/ 311150 h 4496940"/>
                <a:gd name="connsiteX119" fmla="*/ 1268752 w 4519987"/>
                <a:gd name="connsiteY119" fmla="*/ 285750 h 4496940"/>
                <a:gd name="connsiteX120" fmla="*/ 1411627 w 4519987"/>
                <a:gd name="connsiteY120" fmla="*/ 190500 h 4496940"/>
                <a:gd name="connsiteX121" fmla="*/ 1449727 w 4519987"/>
                <a:gd name="connsiteY121" fmla="*/ 161925 h 4496940"/>
                <a:gd name="connsiteX122" fmla="*/ 1525927 w 4519987"/>
                <a:gd name="connsiteY122" fmla="*/ 152400 h 4496940"/>
                <a:gd name="connsiteX123" fmla="*/ 1583077 w 4519987"/>
                <a:gd name="connsiteY123" fmla="*/ 142875 h 4496940"/>
                <a:gd name="connsiteX124" fmla="*/ 1716427 w 4519987"/>
                <a:gd name="connsiteY124" fmla="*/ 123825 h 4496940"/>
                <a:gd name="connsiteX125" fmla="*/ 1811677 w 4519987"/>
                <a:gd name="connsiteY125" fmla="*/ 114300 h 4496940"/>
                <a:gd name="connsiteX126" fmla="*/ 1859302 w 4519987"/>
                <a:gd name="connsiteY126" fmla="*/ 104775 h 4496940"/>
                <a:gd name="connsiteX127" fmla="*/ 1916452 w 4519987"/>
                <a:gd name="connsiteY127" fmla="*/ 95250 h 4496940"/>
                <a:gd name="connsiteX128" fmla="*/ 2030752 w 4519987"/>
                <a:gd name="connsiteY128" fmla="*/ 66675 h 4496940"/>
                <a:gd name="connsiteX129" fmla="*/ 2097427 w 4519987"/>
                <a:gd name="connsiteY129" fmla="*/ 47625 h 4496940"/>
                <a:gd name="connsiteX130" fmla="*/ 2164102 w 4519987"/>
                <a:gd name="connsiteY130" fmla="*/ 38100 h 4496940"/>
                <a:gd name="connsiteX131" fmla="*/ 2392702 w 4519987"/>
                <a:gd name="connsiteY13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88152 w 4519987"/>
                <a:gd name="connsiteY33" fmla="*/ 3495675 h 4496940"/>
                <a:gd name="connsiteX34" fmla="*/ 4059577 w 4519987"/>
                <a:gd name="connsiteY34" fmla="*/ 3533775 h 4496940"/>
                <a:gd name="connsiteX35" fmla="*/ 4002427 w 4519987"/>
                <a:gd name="connsiteY35" fmla="*/ 3600450 h 4496940"/>
                <a:gd name="connsiteX36" fmla="*/ 3954802 w 4519987"/>
                <a:gd name="connsiteY36" fmla="*/ 3648075 h 4496940"/>
                <a:gd name="connsiteX37" fmla="*/ 3659527 w 4519987"/>
                <a:gd name="connsiteY37" fmla="*/ 3971925 h 4496940"/>
                <a:gd name="connsiteX38" fmla="*/ 3630952 w 4519987"/>
                <a:gd name="connsiteY38" fmla="*/ 4010025 h 4496940"/>
                <a:gd name="connsiteX39" fmla="*/ 3621427 w 4519987"/>
                <a:gd name="connsiteY39" fmla="*/ 4038600 h 4496940"/>
                <a:gd name="connsiteX40" fmla="*/ 3554752 w 4519987"/>
                <a:gd name="connsiteY40" fmla="*/ 4095750 h 4496940"/>
                <a:gd name="connsiteX41" fmla="*/ 3516652 w 4519987"/>
                <a:gd name="connsiteY41" fmla="*/ 4114800 h 4496940"/>
                <a:gd name="connsiteX42" fmla="*/ 3497602 w 4519987"/>
                <a:gd name="connsiteY42" fmla="*/ 4143375 h 4496940"/>
                <a:gd name="connsiteX43" fmla="*/ 3383302 w 4519987"/>
                <a:gd name="connsiteY43" fmla="*/ 4210050 h 4496940"/>
                <a:gd name="connsiteX44" fmla="*/ 3335677 w 4519987"/>
                <a:gd name="connsiteY44" fmla="*/ 4238625 h 4496940"/>
                <a:gd name="connsiteX45" fmla="*/ 3288052 w 4519987"/>
                <a:gd name="connsiteY45" fmla="*/ 4248150 h 4496940"/>
                <a:gd name="connsiteX46" fmla="*/ 3240427 w 4519987"/>
                <a:gd name="connsiteY46" fmla="*/ 4267200 h 4496940"/>
                <a:gd name="connsiteX47" fmla="*/ 3068977 w 4519987"/>
                <a:gd name="connsiteY47" fmla="*/ 4286250 h 4496940"/>
                <a:gd name="connsiteX48" fmla="*/ 2935627 w 4519987"/>
                <a:gd name="connsiteY48" fmla="*/ 4333875 h 4496940"/>
                <a:gd name="connsiteX49" fmla="*/ 2811802 w 4519987"/>
                <a:gd name="connsiteY49" fmla="*/ 4371975 h 4496940"/>
                <a:gd name="connsiteX50" fmla="*/ 2745127 w 4519987"/>
                <a:gd name="connsiteY50" fmla="*/ 4410075 h 4496940"/>
                <a:gd name="connsiteX51" fmla="*/ 2697502 w 4519987"/>
                <a:gd name="connsiteY51" fmla="*/ 4429125 h 4496940"/>
                <a:gd name="connsiteX52" fmla="*/ 2640352 w 4519987"/>
                <a:gd name="connsiteY52" fmla="*/ 4457700 h 4496940"/>
                <a:gd name="connsiteX53" fmla="*/ 2583202 w 4519987"/>
                <a:gd name="connsiteY53" fmla="*/ 4467225 h 4496940"/>
                <a:gd name="connsiteX54" fmla="*/ 2545102 w 4519987"/>
                <a:gd name="connsiteY54" fmla="*/ 4486275 h 4496940"/>
                <a:gd name="connsiteX55" fmla="*/ 2306977 w 4519987"/>
                <a:gd name="connsiteY55" fmla="*/ 4476750 h 4496940"/>
                <a:gd name="connsiteX56" fmla="*/ 2202202 w 4519987"/>
                <a:gd name="connsiteY56" fmla="*/ 4457700 h 4496940"/>
                <a:gd name="connsiteX57" fmla="*/ 2126002 w 4519987"/>
                <a:gd name="connsiteY57" fmla="*/ 4429125 h 4496940"/>
                <a:gd name="connsiteX58" fmla="*/ 1935502 w 4519987"/>
                <a:gd name="connsiteY58" fmla="*/ 4400550 h 4496940"/>
                <a:gd name="connsiteX59" fmla="*/ 1821202 w 4519987"/>
                <a:gd name="connsiteY59" fmla="*/ 4371975 h 4496940"/>
                <a:gd name="connsiteX60" fmla="*/ 1754527 w 4519987"/>
                <a:gd name="connsiteY60" fmla="*/ 4352925 h 4496940"/>
                <a:gd name="connsiteX61" fmla="*/ 1687852 w 4519987"/>
                <a:gd name="connsiteY61" fmla="*/ 4343400 h 4496940"/>
                <a:gd name="connsiteX62" fmla="*/ 1573552 w 4519987"/>
                <a:gd name="connsiteY62" fmla="*/ 4305300 h 4496940"/>
                <a:gd name="connsiteX63" fmla="*/ 1402102 w 4519987"/>
                <a:gd name="connsiteY63" fmla="*/ 4276725 h 4496940"/>
                <a:gd name="connsiteX64" fmla="*/ 1287802 w 4519987"/>
                <a:gd name="connsiteY64" fmla="*/ 4229100 h 4496940"/>
                <a:gd name="connsiteX65" fmla="*/ 1221127 w 4519987"/>
                <a:gd name="connsiteY65" fmla="*/ 4200525 h 4496940"/>
                <a:gd name="connsiteX66" fmla="*/ 1144927 w 4519987"/>
                <a:gd name="connsiteY66" fmla="*/ 4171950 h 4496940"/>
                <a:gd name="connsiteX67" fmla="*/ 1087777 w 4519987"/>
                <a:gd name="connsiteY67" fmla="*/ 4143375 h 4496940"/>
                <a:gd name="connsiteX68" fmla="*/ 1030627 w 4519987"/>
                <a:gd name="connsiteY68" fmla="*/ 4124325 h 4496940"/>
                <a:gd name="connsiteX69" fmla="*/ 925852 w 4519987"/>
                <a:gd name="connsiteY69" fmla="*/ 4067175 h 4496940"/>
                <a:gd name="connsiteX70" fmla="*/ 830602 w 4519987"/>
                <a:gd name="connsiteY70" fmla="*/ 3981450 h 4496940"/>
                <a:gd name="connsiteX71" fmla="*/ 763927 w 4519987"/>
                <a:gd name="connsiteY71" fmla="*/ 3914775 h 4496940"/>
                <a:gd name="connsiteX72" fmla="*/ 725827 w 4519987"/>
                <a:gd name="connsiteY72" fmla="*/ 3876675 h 4496940"/>
                <a:gd name="connsiteX73" fmla="*/ 697252 w 4519987"/>
                <a:gd name="connsiteY73" fmla="*/ 3838575 h 4496940"/>
                <a:gd name="connsiteX74" fmla="*/ 640102 w 4519987"/>
                <a:gd name="connsiteY74" fmla="*/ 3781425 h 4496940"/>
                <a:gd name="connsiteX75" fmla="*/ 611527 w 4519987"/>
                <a:gd name="connsiteY75" fmla="*/ 3733800 h 4496940"/>
                <a:gd name="connsiteX76" fmla="*/ 554377 w 4519987"/>
                <a:gd name="connsiteY76" fmla="*/ 3657600 h 4496940"/>
                <a:gd name="connsiteX77" fmla="*/ 525802 w 4519987"/>
                <a:gd name="connsiteY77" fmla="*/ 3609975 h 4496940"/>
                <a:gd name="connsiteX78" fmla="*/ 497227 w 4519987"/>
                <a:gd name="connsiteY78" fmla="*/ 3552825 h 4496940"/>
                <a:gd name="connsiteX79" fmla="*/ 440077 w 4519987"/>
                <a:gd name="connsiteY79" fmla="*/ 3495675 h 4496940"/>
                <a:gd name="connsiteX80" fmla="*/ 411502 w 4519987"/>
                <a:gd name="connsiteY80" fmla="*/ 3448050 h 4496940"/>
                <a:gd name="connsiteX81" fmla="*/ 278152 w 4519987"/>
                <a:gd name="connsiteY81" fmla="*/ 3257550 h 4496940"/>
                <a:gd name="connsiteX82" fmla="*/ 249577 w 4519987"/>
                <a:gd name="connsiteY82" fmla="*/ 3200400 h 4496940"/>
                <a:gd name="connsiteX83" fmla="*/ 240052 w 4519987"/>
                <a:gd name="connsiteY83" fmla="*/ 3162300 h 4496940"/>
                <a:gd name="connsiteX84" fmla="*/ 221002 w 4519987"/>
                <a:gd name="connsiteY84" fmla="*/ 3105150 h 4496940"/>
                <a:gd name="connsiteX85" fmla="*/ 173377 w 4519987"/>
                <a:gd name="connsiteY85" fmla="*/ 3019425 h 4496940"/>
                <a:gd name="connsiteX86" fmla="*/ 144802 w 4519987"/>
                <a:gd name="connsiteY86" fmla="*/ 2924175 h 4496940"/>
                <a:gd name="connsiteX87" fmla="*/ 68602 w 4519987"/>
                <a:gd name="connsiteY87" fmla="*/ 2724150 h 4496940"/>
                <a:gd name="connsiteX88" fmla="*/ 49552 w 4519987"/>
                <a:gd name="connsiteY88" fmla="*/ 2638425 h 4496940"/>
                <a:gd name="connsiteX89" fmla="*/ 40027 w 4519987"/>
                <a:gd name="connsiteY89" fmla="*/ 2562225 h 4496940"/>
                <a:gd name="connsiteX90" fmla="*/ 30502 w 4519987"/>
                <a:gd name="connsiteY90" fmla="*/ 2514600 h 4496940"/>
                <a:gd name="connsiteX91" fmla="*/ 11452 w 4519987"/>
                <a:gd name="connsiteY91" fmla="*/ 2400300 h 4496940"/>
                <a:gd name="connsiteX92" fmla="*/ 20977 w 4519987"/>
                <a:gd name="connsiteY92" fmla="*/ 1905000 h 4496940"/>
                <a:gd name="connsiteX93" fmla="*/ 30502 w 4519987"/>
                <a:gd name="connsiteY93" fmla="*/ 1838325 h 4496940"/>
                <a:gd name="connsiteX94" fmla="*/ 49552 w 4519987"/>
                <a:gd name="connsiteY94" fmla="*/ 1781175 h 4496940"/>
                <a:gd name="connsiteX95" fmla="*/ 59077 w 4519987"/>
                <a:gd name="connsiteY95" fmla="*/ 1743075 h 4496940"/>
                <a:gd name="connsiteX96" fmla="*/ 78127 w 4519987"/>
                <a:gd name="connsiteY96" fmla="*/ 1685925 h 4496940"/>
                <a:gd name="connsiteX97" fmla="*/ 87652 w 4519987"/>
                <a:gd name="connsiteY97" fmla="*/ 1638300 h 4496940"/>
                <a:gd name="connsiteX98" fmla="*/ 106702 w 4519987"/>
                <a:gd name="connsiteY98" fmla="*/ 1590675 h 4496940"/>
                <a:gd name="connsiteX99" fmla="*/ 135277 w 4519987"/>
                <a:gd name="connsiteY99" fmla="*/ 1504950 h 4496940"/>
                <a:gd name="connsiteX100" fmla="*/ 154327 w 4519987"/>
                <a:gd name="connsiteY100" fmla="*/ 1419225 h 4496940"/>
                <a:gd name="connsiteX101" fmla="*/ 230527 w 4519987"/>
                <a:gd name="connsiteY101" fmla="*/ 1276350 h 4496940"/>
                <a:gd name="connsiteX102" fmla="*/ 240052 w 4519987"/>
                <a:gd name="connsiteY102" fmla="*/ 1247775 h 4496940"/>
                <a:gd name="connsiteX103" fmla="*/ 268627 w 4519987"/>
                <a:gd name="connsiteY103" fmla="*/ 1200150 h 4496940"/>
                <a:gd name="connsiteX104" fmla="*/ 287677 w 4519987"/>
                <a:gd name="connsiteY104" fmla="*/ 1152525 h 4496940"/>
                <a:gd name="connsiteX105" fmla="*/ 316252 w 4519987"/>
                <a:gd name="connsiteY105" fmla="*/ 1114425 h 4496940"/>
                <a:gd name="connsiteX106" fmla="*/ 363877 w 4519987"/>
                <a:gd name="connsiteY106" fmla="*/ 1038225 h 4496940"/>
                <a:gd name="connsiteX107" fmla="*/ 382927 w 4519987"/>
                <a:gd name="connsiteY107" fmla="*/ 1009650 h 4496940"/>
                <a:gd name="connsiteX108" fmla="*/ 440077 w 4519987"/>
                <a:gd name="connsiteY108" fmla="*/ 904875 h 4496940"/>
                <a:gd name="connsiteX109" fmla="*/ 478177 w 4519987"/>
                <a:gd name="connsiteY109" fmla="*/ 857250 h 4496940"/>
                <a:gd name="connsiteX110" fmla="*/ 497227 w 4519987"/>
                <a:gd name="connsiteY110" fmla="*/ 828675 h 4496940"/>
                <a:gd name="connsiteX111" fmla="*/ 535327 w 4519987"/>
                <a:gd name="connsiteY111" fmla="*/ 800100 h 4496940"/>
                <a:gd name="connsiteX112" fmla="*/ 602002 w 4519987"/>
                <a:gd name="connsiteY112" fmla="*/ 733425 h 4496940"/>
                <a:gd name="connsiteX113" fmla="*/ 668677 w 4519987"/>
                <a:gd name="connsiteY113" fmla="*/ 676275 h 4496940"/>
                <a:gd name="connsiteX114" fmla="*/ 697252 w 4519987"/>
                <a:gd name="connsiteY114" fmla="*/ 657225 h 4496940"/>
                <a:gd name="connsiteX115" fmla="*/ 840127 w 4519987"/>
                <a:gd name="connsiteY115" fmla="*/ 533400 h 4496940"/>
                <a:gd name="connsiteX116" fmla="*/ 887752 w 4519987"/>
                <a:gd name="connsiteY116" fmla="*/ 504825 h 4496940"/>
                <a:gd name="connsiteX117" fmla="*/ 1167152 w 4519987"/>
                <a:gd name="connsiteY117" fmla="*/ 311150 h 4496940"/>
                <a:gd name="connsiteX118" fmla="*/ 1268752 w 4519987"/>
                <a:gd name="connsiteY118" fmla="*/ 285750 h 4496940"/>
                <a:gd name="connsiteX119" fmla="*/ 1411627 w 4519987"/>
                <a:gd name="connsiteY119" fmla="*/ 190500 h 4496940"/>
                <a:gd name="connsiteX120" fmla="*/ 1449727 w 4519987"/>
                <a:gd name="connsiteY120" fmla="*/ 161925 h 4496940"/>
                <a:gd name="connsiteX121" fmla="*/ 1525927 w 4519987"/>
                <a:gd name="connsiteY121" fmla="*/ 152400 h 4496940"/>
                <a:gd name="connsiteX122" fmla="*/ 1583077 w 4519987"/>
                <a:gd name="connsiteY122" fmla="*/ 142875 h 4496940"/>
                <a:gd name="connsiteX123" fmla="*/ 1716427 w 4519987"/>
                <a:gd name="connsiteY123" fmla="*/ 123825 h 4496940"/>
                <a:gd name="connsiteX124" fmla="*/ 1811677 w 4519987"/>
                <a:gd name="connsiteY124" fmla="*/ 114300 h 4496940"/>
                <a:gd name="connsiteX125" fmla="*/ 1859302 w 4519987"/>
                <a:gd name="connsiteY125" fmla="*/ 104775 h 4496940"/>
                <a:gd name="connsiteX126" fmla="*/ 1916452 w 4519987"/>
                <a:gd name="connsiteY126" fmla="*/ 95250 h 4496940"/>
                <a:gd name="connsiteX127" fmla="*/ 2030752 w 4519987"/>
                <a:gd name="connsiteY127" fmla="*/ 66675 h 4496940"/>
                <a:gd name="connsiteX128" fmla="*/ 2097427 w 4519987"/>
                <a:gd name="connsiteY128" fmla="*/ 47625 h 4496940"/>
                <a:gd name="connsiteX129" fmla="*/ 2164102 w 4519987"/>
                <a:gd name="connsiteY129" fmla="*/ 38100 h 4496940"/>
                <a:gd name="connsiteX130" fmla="*/ 2392702 w 4519987"/>
                <a:gd name="connsiteY130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4002427 w 4519987"/>
                <a:gd name="connsiteY34" fmla="*/ 3600450 h 4496940"/>
                <a:gd name="connsiteX35" fmla="*/ 3954802 w 4519987"/>
                <a:gd name="connsiteY35" fmla="*/ 3648075 h 4496940"/>
                <a:gd name="connsiteX36" fmla="*/ 3659527 w 4519987"/>
                <a:gd name="connsiteY36" fmla="*/ 3971925 h 4496940"/>
                <a:gd name="connsiteX37" fmla="*/ 3630952 w 4519987"/>
                <a:gd name="connsiteY37" fmla="*/ 4010025 h 4496940"/>
                <a:gd name="connsiteX38" fmla="*/ 3621427 w 4519987"/>
                <a:gd name="connsiteY38" fmla="*/ 4038600 h 4496940"/>
                <a:gd name="connsiteX39" fmla="*/ 3554752 w 4519987"/>
                <a:gd name="connsiteY39" fmla="*/ 4095750 h 4496940"/>
                <a:gd name="connsiteX40" fmla="*/ 3516652 w 4519987"/>
                <a:gd name="connsiteY40" fmla="*/ 4114800 h 4496940"/>
                <a:gd name="connsiteX41" fmla="*/ 3497602 w 4519987"/>
                <a:gd name="connsiteY41" fmla="*/ 4143375 h 4496940"/>
                <a:gd name="connsiteX42" fmla="*/ 3383302 w 4519987"/>
                <a:gd name="connsiteY42" fmla="*/ 4210050 h 4496940"/>
                <a:gd name="connsiteX43" fmla="*/ 3335677 w 4519987"/>
                <a:gd name="connsiteY43" fmla="*/ 4238625 h 4496940"/>
                <a:gd name="connsiteX44" fmla="*/ 3288052 w 4519987"/>
                <a:gd name="connsiteY44" fmla="*/ 4248150 h 4496940"/>
                <a:gd name="connsiteX45" fmla="*/ 3240427 w 4519987"/>
                <a:gd name="connsiteY45" fmla="*/ 4267200 h 4496940"/>
                <a:gd name="connsiteX46" fmla="*/ 3068977 w 4519987"/>
                <a:gd name="connsiteY46" fmla="*/ 4286250 h 4496940"/>
                <a:gd name="connsiteX47" fmla="*/ 2935627 w 4519987"/>
                <a:gd name="connsiteY47" fmla="*/ 4333875 h 4496940"/>
                <a:gd name="connsiteX48" fmla="*/ 2811802 w 4519987"/>
                <a:gd name="connsiteY48" fmla="*/ 4371975 h 4496940"/>
                <a:gd name="connsiteX49" fmla="*/ 2745127 w 4519987"/>
                <a:gd name="connsiteY49" fmla="*/ 4410075 h 4496940"/>
                <a:gd name="connsiteX50" fmla="*/ 2697502 w 4519987"/>
                <a:gd name="connsiteY50" fmla="*/ 4429125 h 4496940"/>
                <a:gd name="connsiteX51" fmla="*/ 2640352 w 4519987"/>
                <a:gd name="connsiteY51" fmla="*/ 4457700 h 4496940"/>
                <a:gd name="connsiteX52" fmla="*/ 2583202 w 4519987"/>
                <a:gd name="connsiteY52" fmla="*/ 4467225 h 4496940"/>
                <a:gd name="connsiteX53" fmla="*/ 2545102 w 4519987"/>
                <a:gd name="connsiteY53" fmla="*/ 4486275 h 4496940"/>
                <a:gd name="connsiteX54" fmla="*/ 2306977 w 4519987"/>
                <a:gd name="connsiteY54" fmla="*/ 4476750 h 4496940"/>
                <a:gd name="connsiteX55" fmla="*/ 2202202 w 4519987"/>
                <a:gd name="connsiteY55" fmla="*/ 4457700 h 4496940"/>
                <a:gd name="connsiteX56" fmla="*/ 2126002 w 4519987"/>
                <a:gd name="connsiteY56" fmla="*/ 4429125 h 4496940"/>
                <a:gd name="connsiteX57" fmla="*/ 1935502 w 4519987"/>
                <a:gd name="connsiteY57" fmla="*/ 4400550 h 4496940"/>
                <a:gd name="connsiteX58" fmla="*/ 1821202 w 4519987"/>
                <a:gd name="connsiteY58" fmla="*/ 4371975 h 4496940"/>
                <a:gd name="connsiteX59" fmla="*/ 1754527 w 4519987"/>
                <a:gd name="connsiteY59" fmla="*/ 4352925 h 4496940"/>
                <a:gd name="connsiteX60" fmla="*/ 1687852 w 4519987"/>
                <a:gd name="connsiteY60" fmla="*/ 4343400 h 4496940"/>
                <a:gd name="connsiteX61" fmla="*/ 1573552 w 4519987"/>
                <a:gd name="connsiteY61" fmla="*/ 4305300 h 4496940"/>
                <a:gd name="connsiteX62" fmla="*/ 1402102 w 4519987"/>
                <a:gd name="connsiteY62" fmla="*/ 4276725 h 4496940"/>
                <a:gd name="connsiteX63" fmla="*/ 1287802 w 4519987"/>
                <a:gd name="connsiteY63" fmla="*/ 4229100 h 4496940"/>
                <a:gd name="connsiteX64" fmla="*/ 1221127 w 4519987"/>
                <a:gd name="connsiteY64" fmla="*/ 4200525 h 4496940"/>
                <a:gd name="connsiteX65" fmla="*/ 1144927 w 4519987"/>
                <a:gd name="connsiteY65" fmla="*/ 4171950 h 4496940"/>
                <a:gd name="connsiteX66" fmla="*/ 1087777 w 4519987"/>
                <a:gd name="connsiteY66" fmla="*/ 4143375 h 4496940"/>
                <a:gd name="connsiteX67" fmla="*/ 1030627 w 4519987"/>
                <a:gd name="connsiteY67" fmla="*/ 4124325 h 4496940"/>
                <a:gd name="connsiteX68" fmla="*/ 925852 w 4519987"/>
                <a:gd name="connsiteY68" fmla="*/ 4067175 h 4496940"/>
                <a:gd name="connsiteX69" fmla="*/ 830602 w 4519987"/>
                <a:gd name="connsiteY69" fmla="*/ 3981450 h 4496940"/>
                <a:gd name="connsiteX70" fmla="*/ 763927 w 4519987"/>
                <a:gd name="connsiteY70" fmla="*/ 3914775 h 4496940"/>
                <a:gd name="connsiteX71" fmla="*/ 725827 w 4519987"/>
                <a:gd name="connsiteY71" fmla="*/ 3876675 h 4496940"/>
                <a:gd name="connsiteX72" fmla="*/ 697252 w 4519987"/>
                <a:gd name="connsiteY72" fmla="*/ 3838575 h 4496940"/>
                <a:gd name="connsiteX73" fmla="*/ 640102 w 4519987"/>
                <a:gd name="connsiteY73" fmla="*/ 3781425 h 4496940"/>
                <a:gd name="connsiteX74" fmla="*/ 611527 w 4519987"/>
                <a:gd name="connsiteY74" fmla="*/ 3733800 h 4496940"/>
                <a:gd name="connsiteX75" fmla="*/ 554377 w 4519987"/>
                <a:gd name="connsiteY75" fmla="*/ 3657600 h 4496940"/>
                <a:gd name="connsiteX76" fmla="*/ 525802 w 4519987"/>
                <a:gd name="connsiteY76" fmla="*/ 3609975 h 4496940"/>
                <a:gd name="connsiteX77" fmla="*/ 497227 w 4519987"/>
                <a:gd name="connsiteY77" fmla="*/ 3552825 h 4496940"/>
                <a:gd name="connsiteX78" fmla="*/ 440077 w 4519987"/>
                <a:gd name="connsiteY78" fmla="*/ 3495675 h 4496940"/>
                <a:gd name="connsiteX79" fmla="*/ 411502 w 4519987"/>
                <a:gd name="connsiteY79" fmla="*/ 3448050 h 4496940"/>
                <a:gd name="connsiteX80" fmla="*/ 278152 w 4519987"/>
                <a:gd name="connsiteY80" fmla="*/ 3257550 h 4496940"/>
                <a:gd name="connsiteX81" fmla="*/ 249577 w 4519987"/>
                <a:gd name="connsiteY81" fmla="*/ 3200400 h 4496940"/>
                <a:gd name="connsiteX82" fmla="*/ 240052 w 4519987"/>
                <a:gd name="connsiteY82" fmla="*/ 3162300 h 4496940"/>
                <a:gd name="connsiteX83" fmla="*/ 221002 w 4519987"/>
                <a:gd name="connsiteY83" fmla="*/ 3105150 h 4496940"/>
                <a:gd name="connsiteX84" fmla="*/ 173377 w 4519987"/>
                <a:gd name="connsiteY84" fmla="*/ 3019425 h 4496940"/>
                <a:gd name="connsiteX85" fmla="*/ 144802 w 4519987"/>
                <a:gd name="connsiteY85" fmla="*/ 2924175 h 4496940"/>
                <a:gd name="connsiteX86" fmla="*/ 68602 w 4519987"/>
                <a:gd name="connsiteY86" fmla="*/ 2724150 h 4496940"/>
                <a:gd name="connsiteX87" fmla="*/ 49552 w 4519987"/>
                <a:gd name="connsiteY87" fmla="*/ 2638425 h 4496940"/>
                <a:gd name="connsiteX88" fmla="*/ 40027 w 4519987"/>
                <a:gd name="connsiteY88" fmla="*/ 2562225 h 4496940"/>
                <a:gd name="connsiteX89" fmla="*/ 30502 w 4519987"/>
                <a:gd name="connsiteY89" fmla="*/ 2514600 h 4496940"/>
                <a:gd name="connsiteX90" fmla="*/ 11452 w 4519987"/>
                <a:gd name="connsiteY90" fmla="*/ 2400300 h 4496940"/>
                <a:gd name="connsiteX91" fmla="*/ 20977 w 4519987"/>
                <a:gd name="connsiteY91" fmla="*/ 1905000 h 4496940"/>
                <a:gd name="connsiteX92" fmla="*/ 30502 w 4519987"/>
                <a:gd name="connsiteY92" fmla="*/ 1838325 h 4496940"/>
                <a:gd name="connsiteX93" fmla="*/ 49552 w 4519987"/>
                <a:gd name="connsiteY93" fmla="*/ 1781175 h 4496940"/>
                <a:gd name="connsiteX94" fmla="*/ 59077 w 4519987"/>
                <a:gd name="connsiteY94" fmla="*/ 1743075 h 4496940"/>
                <a:gd name="connsiteX95" fmla="*/ 78127 w 4519987"/>
                <a:gd name="connsiteY95" fmla="*/ 1685925 h 4496940"/>
                <a:gd name="connsiteX96" fmla="*/ 87652 w 4519987"/>
                <a:gd name="connsiteY96" fmla="*/ 1638300 h 4496940"/>
                <a:gd name="connsiteX97" fmla="*/ 106702 w 4519987"/>
                <a:gd name="connsiteY97" fmla="*/ 1590675 h 4496940"/>
                <a:gd name="connsiteX98" fmla="*/ 135277 w 4519987"/>
                <a:gd name="connsiteY98" fmla="*/ 1504950 h 4496940"/>
                <a:gd name="connsiteX99" fmla="*/ 154327 w 4519987"/>
                <a:gd name="connsiteY99" fmla="*/ 1419225 h 4496940"/>
                <a:gd name="connsiteX100" fmla="*/ 230527 w 4519987"/>
                <a:gd name="connsiteY100" fmla="*/ 1276350 h 4496940"/>
                <a:gd name="connsiteX101" fmla="*/ 240052 w 4519987"/>
                <a:gd name="connsiteY101" fmla="*/ 1247775 h 4496940"/>
                <a:gd name="connsiteX102" fmla="*/ 268627 w 4519987"/>
                <a:gd name="connsiteY102" fmla="*/ 1200150 h 4496940"/>
                <a:gd name="connsiteX103" fmla="*/ 287677 w 4519987"/>
                <a:gd name="connsiteY103" fmla="*/ 1152525 h 4496940"/>
                <a:gd name="connsiteX104" fmla="*/ 316252 w 4519987"/>
                <a:gd name="connsiteY104" fmla="*/ 1114425 h 4496940"/>
                <a:gd name="connsiteX105" fmla="*/ 363877 w 4519987"/>
                <a:gd name="connsiteY105" fmla="*/ 1038225 h 4496940"/>
                <a:gd name="connsiteX106" fmla="*/ 382927 w 4519987"/>
                <a:gd name="connsiteY106" fmla="*/ 1009650 h 4496940"/>
                <a:gd name="connsiteX107" fmla="*/ 440077 w 4519987"/>
                <a:gd name="connsiteY107" fmla="*/ 904875 h 4496940"/>
                <a:gd name="connsiteX108" fmla="*/ 478177 w 4519987"/>
                <a:gd name="connsiteY108" fmla="*/ 857250 h 4496940"/>
                <a:gd name="connsiteX109" fmla="*/ 497227 w 4519987"/>
                <a:gd name="connsiteY109" fmla="*/ 828675 h 4496940"/>
                <a:gd name="connsiteX110" fmla="*/ 535327 w 4519987"/>
                <a:gd name="connsiteY110" fmla="*/ 800100 h 4496940"/>
                <a:gd name="connsiteX111" fmla="*/ 602002 w 4519987"/>
                <a:gd name="connsiteY111" fmla="*/ 733425 h 4496940"/>
                <a:gd name="connsiteX112" fmla="*/ 668677 w 4519987"/>
                <a:gd name="connsiteY112" fmla="*/ 676275 h 4496940"/>
                <a:gd name="connsiteX113" fmla="*/ 697252 w 4519987"/>
                <a:gd name="connsiteY113" fmla="*/ 657225 h 4496940"/>
                <a:gd name="connsiteX114" fmla="*/ 840127 w 4519987"/>
                <a:gd name="connsiteY114" fmla="*/ 533400 h 4496940"/>
                <a:gd name="connsiteX115" fmla="*/ 887752 w 4519987"/>
                <a:gd name="connsiteY115" fmla="*/ 504825 h 4496940"/>
                <a:gd name="connsiteX116" fmla="*/ 1167152 w 4519987"/>
                <a:gd name="connsiteY116" fmla="*/ 311150 h 4496940"/>
                <a:gd name="connsiteX117" fmla="*/ 1268752 w 4519987"/>
                <a:gd name="connsiteY117" fmla="*/ 285750 h 4496940"/>
                <a:gd name="connsiteX118" fmla="*/ 1411627 w 4519987"/>
                <a:gd name="connsiteY118" fmla="*/ 190500 h 4496940"/>
                <a:gd name="connsiteX119" fmla="*/ 1449727 w 4519987"/>
                <a:gd name="connsiteY119" fmla="*/ 161925 h 4496940"/>
                <a:gd name="connsiteX120" fmla="*/ 1525927 w 4519987"/>
                <a:gd name="connsiteY120" fmla="*/ 152400 h 4496940"/>
                <a:gd name="connsiteX121" fmla="*/ 1583077 w 4519987"/>
                <a:gd name="connsiteY121" fmla="*/ 142875 h 4496940"/>
                <a:gd name="connsiteX122" fmla="*/ 1716427 w 4519987"/>
                <a:gd name="connsiteY122" fmla="*/ 123825 h 4496940"/>
                <a:gd name="connsiteX123" fmla="*/ 1811677 w 4519987"/>
                <a:gd name="connsiteY123" fmla="*/ 114300 h 4496940"/>
                <a:gd name="connsiteX124" fmla="*/ 1859302 w 4519987"/>
                <a:gd name="connsiteY124" fmla="*/ 104775 h 4496940"/>
                <a:gd name="connsiteX125" fmla="*/ 1916452 w 4519987"/>
                <a:gd name="connsiteY125" fmla="*/ 95250 h 4496940"/>
                <a:gd name="connsiteX126" fmla="*/ 2030752 w 4519987"/>
                <a:gd name="connsiteY126" fmla="*/ 66675 h 4496940"/>
                <a:gd name="connsiteX127" fmla="*/ 2097427 w 4519987"/>
                <a:gd name="connsiteY127" fmla="*/ 47625 h 4496940"/>
                <a:gd name="connsiteX128" fmla="*/ 2164102 w 4519987"/>
                <a:gd name="connsiteY128" fmla="*/ 38100 h 4496940"/>
                <a:gd name="connsiteX129" fmla="*/ 2392702 w 4519987"/>
                <a:gd name="connsiteY129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497602 w 4519987"/>
                <a:gd name="connsiteY40" fmla="*/ 4143375 h 4496940"/>
                <a:gd name="connsiteX41" fmla="*/ 3383302 w 4519987"/>
                <a:gd name="connsiteY41" fmla="*/ 4210050 h 4496940"/>
                <a:gd name="connsiteX42" fmla="*/ 3335677 w 4519987"/>
                <a:gd name="connsiteY42" fmla="*/ 4238625 h 4496940"/>
                <a:gd name="connsiteX43" fmla="*/ 3288052 w 4519987"/>
                <a:gd name="connsiteY43" fmla="*/ 4248150 h 4496940"/>
                <a:gd name="connsiteX44" fmla="*/ 3240427 w 4519987"/>
                <a:gd name="connsiteY44" fmla="*/ 4267200 h 4496940"/>
                <a:gd name="connsiteX45" fmla="*/ 3068977 w 4519987"/>
                <a:gd name="connsiteY45" fmla="*/ 4286250 h 4496940"/>
                <a:gd name="connsiteX46" fmla="*/ 2935627 w 4519987"/>
                <a:gd name="connsiteY46" fmla="*/ 4333875 h 4496940"/>
                <a:gd name="connsiteX47" fmla="*/ 2811802 w 4519987"/>
                <a:gd name="connsiteY47" fmla="*/ 4371975 h 4496940"/>
                <a:gd name="connsiteX48" fmla="*/ 2745127 w 4519987"/>
                <a:gd name="connsiteY48" fmla="*/ 4410075 h 4496940"/>
                <a:gd name="connsiteX49" fmla="*/ 2697502 w 4519987"/>
                <a:gd name="connsiteY49" fmla="*/ 4429125 h 4496940"/>
                <a:gd name="connsiteX50" fmla="*/ 2640352 w 4519987"/>
                <a:gd name="connsiteY50" fmla="*/ 4457700 h 4496940"/>
                <a:gd name="connsiteX51" fmla="*/ 2583202 w 4519987"/>
                <a:gd name="connsiteY51" fmla="*/ 4467225 h 4496940"/>
                <a:gd name="connsiteX52" fmla="*/ 2545102 w 4519987"/>
                <a:gd name="connsiteY52" fmla="*/ 4486275 h 4496940"/>
                <a:gd name="connsiteX53" fmla="*/ 2306977 w 4519987"/>
                <a:gd name="connsiteY53" fmla="*/ 4476750 h 4496940"/>
                <a:gd name="connsiteX54" fmla="*/ 2202202 w 4519987"/>
                <a:gd name="connsiteY54" fmla="*/ 4457700 h 4496940"/>
                <a:gd name="connsiteX55" fmla="*/ 2126002 w 4519987"/>
                <a:gd name="connsiteY55" fmla="*/ 4429125 h 4496940"/>
                <a:gd name="connsiteX56" fmla="*/ 1935502 w 4519987"/>
                <a:gd name="connsiteY56" fmla="*/ 4400550 h 4496940"/>
                <a:gd name="connsiteX57" fmla="*/ 1821202 w 4519987"/>
                <a:gd name="connsiteY57" fmla="*/ 4371975 h 4496940"/>
                <a:gd name="connsiteX58" fmla="*/ 1754527 w 4519987"/>
                <a:gd name="connsiteY58" fmla="*/ 4352925 h 4496940"/>
                <a:gd name="connsiteX59" fmla="*/ 1687852 w 4519987"/>
                <a:gd name="connsiteY59" fmla="*/ 4343400 h 4496940"/>
                <a:gd name="connsiteX60" fmla="*/ 1573552 w 4519987"/>
                <a:gd name="connsiteY60" fmla="*/ 4305300 h 4496940"/>
                <a:gd name="connsiteX61" fmla="*/ 1402102 w 4519987"/>
                <a:gd name="connsiteY61" fmla="*/ 4276725 h 4496940"/>
                <a:gd name="connsiteX62" fmla="*/ 1287802 w 4519987"/>
                <a:gd name="connsiteY62" fmla="*/ 4229100 h 4496940"/>
                <a:gd name="connsiteX63" fmla="*/ 1221127 w 4519987"/>
                <a:gd name="connsiteY63" fmla="*/ 4200525 h 4496940"/>
                <a:gd name="connsiteX64" fmla="*/ 1144927 w 4519987"/>
                <a:gd name="connsiteY64" fmla="*/ 4171950 h 4496940"/>
                <a:gd name="connsiteX65" fmla="*/ 1087777 w 4519987"/>
                <a:gd name="connsiteY65" fmla="*/ 4143375 h 4496940"/>
                <a:gd name="connsiteX66" fmla="*/ 1030627 w 4519987"/>
                <a:gd name="connsiteY66" fmla="*/ 4124325 h 4496940"/>
                <a:gd name="connsiteX67" fmla="*/ 925852 w 4519987"/>
                <a:gd name="connsiteY67" fmla="*/ 4067175 h 4496940"/>
                <a:gd name="connsiteX68" fmla="*/ 830602 w 4519987"/>
                <a:gd name="connsiteY68" fmla="*/ 3981450 h 4496940"/>
                <a:gd name="connsiteX69" fmla="*/ 763927 w 4519987"/>
                <a:gd name="connsiteY69" fmla="*/ 3914775 h 4496940"/>
                <a:gd name="connsiteX70" fmla="*/ 725827 w 4519987"/>
                <a:gd name="connsiteY70" fmla="*/ 3876675 h 4496940"/>
                <a:gd name="connsiteX71" fmla="*/ 697252 w 4519987"/>
                <a:gd name="connsiteY71" fmla="*/ 3838575 h 4496940"/>
                <a:gd name="connsiteX72" fmla="*/ 640102 w 4519987"/>
                <a:gd name="connsiteY72" fmla="*/ 3781425 h 4496940"/>
                <a:gd name="connsiteX73" fmla="*/ 611527 w 4519987"/>
                <a:gd name="connsiteY73" fmla="*/ 3733800 h 4496940"/>
                <a:gd name="connsiteX74" fmla="*/ 554377 w 4519987"/>
                <a:gd name="connsiteY74" fmla="*/ 3657600 h 4496940"/>
                <a:gd name="connsiteX75" fmla="*/ 525802 w 4519987"/>
                <a:gd name="connsiteY75" fmla="*/ 3609975 h 4496940"/>
                <a:gd name="connsiteX76" fmla="*/ 497227 w 4519987"/>
                <a:gd name="connsiteY76" fmla="*/ 3552825 h 4496940"/>
                <a:gd name="connsiteX77" fmla="*/ 440077 w 4519987"/>
                <a:gd name="connsiteY77" fmla="*/ 3495675 h 4496940"/>
                <a:gd name="connsiteX78" fmla="*/ 411502 w 4519987"/>
                <a:gd name="connsiteY78" fmla="*/ 3448050 h 4496940"/>
                <a:gd name="connsiteX79" fmla="*/ 278152 w 4519987"/>
                <a:gd name="connsiteY79" fmla="*/ 3257550 h 4496940"/>
                <a:gd name="connsiteX80" fmla="*/ 249577 w 4519987"/>
                <a:gd name="connsiteY80" fmla="*/ 3200400 h 4496940"/>
                <a:gd name="connsiteX81" fmla="*/ 240052 w 4519987"/>
                <a:gd name="connsiteY81" fmla="*/ 3162300 h 4496940"/>
                <a:gd name="connsiteX82" fmla="*/ 221002 w 4519987"/>
                <a:gd name="connsiteY82" fmla="*/ 3105150 h 4496940"/>
                <a:gd name="connsiteX83" fmla="*/ 173377 w 4519987"/>
                <a:gd name="connsiteY83" fmla="*/ 3019425 h 4496940"/>
                <a:gd name="connsiteX84" fmla="*/ 144802 w 4519987"/>
                <a:gd name="connsiteY84" fmla="*/ 2924175 h 4496940"/>
                <a:gd name="connsiteX85" fmla="*/ 68602 w 4519987"/>
                <a:gd name="connsiteY85" fmla="*/ 2724150 h 4496940"/>
                <a:gd name="connsiteX86" fmla="*/ 49552 w 4519987"/>
                <a:gd name="connsiteY86" fmla="*/ 2638425 h 4496940"/>
                <a:gd name="connsiteX87" fmla="*/ 40027 w 4519987"/>
                <a:gd name="connsiteY87" fmla="*/ 2562225 h 4496940"/>
                <a:gd name="connsiteX88" fmla="*/ 30502 w 4519987"/>
                <a:gd name="connsiteY88" fmla="*/ 2514600 h 4496940"/>
                <a:gd name="connsiteX89" fmla="*/ 11452 w 4519987"/>
                <a:gd name="connsiteY89" fmla="*/ 2400300 h 4496940"/>
                <a:gd name="connsiteX90" fmla="*/ 20977 w 4519987"/>
                <a:gd name="connsiteY90" fmla="*/ 1905000 h 4496940"/>
                <a:gd name="connsiteX91" fmla="*/ 30502 w 4519987"/>
                <a:gd name="connsiteY91" fmla="*/ 1838325 h 4496940"/>
                <a:gd name="connsiteX92" fmla="*/ 49552 w 4519987"/>
                <a:gd name="connsiteY92" fmla="*/ 1781175 h 4496940"/>
                <a:gd name="connsiteX93" fmla="*/ 59077 w 4519987"/>
                <a:gd name="connsiteY93" fmla="*/ 1743075 h 4496940"/>
                <a:gd name="connsiteX94" fmla="*/ 78127 w 4519987"/>
                <a:gd name="connsiteY94" fmla="*/ 1685925 h 4496940"/>
                <a:gd name="connsiteX95" fmla="*/ 87652 w 4519987"/>
                <a:gd name="connsiteY95" fmla="*/ 1638300 h 4496940"/>
                <a:gd name="connsiteX96" fmla="*/ 106702 w 4519987"/>
                <a:gd name="connsiteY96" fmla="*/ 1590675 h 4496940"/>
                <a:gd name="connsiteX97" fmla="*/ 135277 w 4519987"/>
                <a:gd name="connsiteY97" fmla="*/ 1504950 h 4496940"/>
                <a:gd name="connsiteX98" fmla="*/ 154327 w 4519987"/>
                <a:gd name="connsiteY98" fmla="*/ 1419225 h 4496940"/>
                <a:gd name="connsiteX99" fmla="*/ 230527 w 4519987"/>
                <a:gd name="connsiteY99" fmla="*/ 1276350 h 4496940"/>
                <a:gd name="connsiteX100" fmla="*/ 240052 w 4519987"/>
                <a:gd name="connsiteY100" fmla="*/ 1247775 h 4496940"/>
                <a:gd name="connsiteX101" fmla="*/ 268627 w 4519987"/>
                <a:gd name="connsiteY101" fmla="*/ 1200150 h 4496940"/>
                <a:gd name="connsiteX102" fmla="*/ 287677 w 4519987"/>
                <a:gd name="connsiteY102" fmla="*/ 1152525 h 4496940"/>
                <a:gd name="connsiteX103" fmla="*/ 316252 w 4519987"/>
                <a:gd name="connsiteY103" fmla="*/ 1114425 h 4496940"/>
                <a:gd name="connsiteX104" fmla="*/ 363877 w 4519987"/>
                <a:gd name="connsiteY104" fmla="*/ 1038225 h 4496940"/>
                <a:gd name="connsiteX105" fmla="*/ 382927 w 4519987"/>
                <a:gd name="connsiteY105" fmla="*/ 1009650 h 4496940"/>
                <a:gd name="connsiteX106" fmla="*/ 440077 w 4519987"/>
                <a:gd name="connsiteY106" fmla="*/ 904875 h 4496940"/>
                <a:gd name="connsiteX107" fmla="*/ 478177 w 4519987"/>
                <a:gd name="connsiteY107" fmla="*/ 857250 h 4496940"/>
                <a:gd name="connsiteX108" fmla="*/ 497227 w 4519987"/>
                <a:gd name="connsiteY108" fmla="*/ 828675 h 4496940"/>
                <a:gd name="connsiteX109" fmla="*/ 535327 w 4519987"/>
                <a:gd name="connsiteY109" fmla="*/ 800100 h 4496940"/>
                <a:gd name="connsiteX110" fmla="*/ 602002 w 4519987"/>
                <a:gd name="connsiteY110" fmla="*/ 733425 h 4496940"/>
                <a:gd name="connsiteX111" fmla="*/ 668677 w 4519987"/>
                <a:gd name="connsiteY111" fmla="*/ 676275 h 4496940"/>
                <a:gd name="connsiteX112" fmla="*/ 697252 w 4519987"/>
                <a:gd name="connsiteY112" fmla="*/ 657225 h 4496940"/>
                <a:gd name="connsiteX113" fmla="*/ 840127 w 4519987"/>
                <a:gd name="connsiteY113" fmla="*/ 533400 h 4496940"/>
                <a:gd name="connsiteX114" fmla="*/ 887752 w 4519987"/>
                <a:gd name="connsiteY114" fmla="*/ 504825 h 4496940"/>
                <a:gd name="connsiteX115" fmla="*/ 1167152 w 4519987"/>
                <a:gd name="connsiteY115" fmla="*/ 311150 h 4496940"/>
                <a:gd name="connsiteX116" fmla="*/ 1268752 w 4519987"/>
                <a:gd name="connsiteY116" fmla="*/ 285750 h 4496940"/>
                <a:gd name="connsiteX117" fmla="*/ 1411627 w 4519987"/>
                <a:gd name="connsiteY117" fmla="*/ 190500 h 4496940"/>
                <a:gd name="connsiteX118" fmla="*/ 1449727 w 4519987"/>
                <a:gd name="connsiteY118" fmla="*/ 161925 h 4496940"/>
                <a:gd name="connsiteX119" fmla="*/ 1525927 w 4519987"/>
                <a:gd name="connsiteY119" fmla="*/ 152400 h 4496940"/>
                <a:gd name="connsiteX120" fmla="*/ 1583077 w 4519987"/>
                <a:gd name="connsiteY120" fmla="*/ 142875 h 4496940"/>
                <a:gd name="connsiteX121" fmla="*/ 1716427 w 4519987"/>
                <a:gd name="connsiteY121" fmla="*/ 123825 h 4496940"/>
                <a:gd name="connsiteX122" fmla="*/ 1811677 w 4519987"/>
                <a:gd name="connsiteY122" fmla="*/ 114300 h 4496940"/>
                <a:gd name="connsiteX123" fmla="*/ 1859302 w 4519987"/>
                <a:gd name="connsiteY123" fmla="*/ 104775 h 4496940"/>
                <a:gd name="connsiteX124" fmla="*/ 1916452 w 4519987"/>
                <a:gd name="connsiteY124" fmla="*/ 95250 h 4496940"/>
                <a:gd name="connsiteX125" fmla="*/ 2030752 w 4519987"/>
                <a:gd name="connsiteY125" fmla="*/ 66675 h 4496940"/>
                <a:gd name="connsiteX126" fmla="*/ 2097427 w 4519987"/>
                <a:gd name="connsiteY126" fmla="*/ 47625 h 4496940"/>
                <a:gd name="connsiteX127" fmla="*/ 2164102 w 4519987"/>
                <a:gd name="connsiteY127" fmla="*/ 38100 h 4496940"/>
                <a:gd name="connsiteX128" fmla="*/ 2392702 w 4519987"/>
                <a:gd name="connsiteY128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516652 w 4519987"/>
                <a:gd name="connsiteY39" fmla="*/ 4114800 h 4496940"/>
                <a:gd name="connsiteX40" fmla="*/ 3383302 w 4519987"/>
                <a:gd name="connsiteY40" fmla="*/ 4210050 h 4496940"/>
                <a:gd name="connsiteX41" fmla="*/ 3335677 w 4519987"/>
                <a:gd name="connsiteY41" fmla="*/ 4238625 h 4496940"/>
                <a:gd name="connsiteX42" fmla="*/ 3288052 w 4519987"/>
                <a:gd name="connsiteY42" fmla="*/ 4248150 h 4496940"/>
                <a:gd name="connsiteX43" fmla="*/ 3240427 w 4519987"/>
                <a:gd name="connsiteY43" fmla="*/ 4267200 h 4496940"/>
                <a:gd name="connsiteX44" fmla="*/ 3068977 w 4519987"/>
                <a:gd name="connsiteY44" fmla="*/ 4286250 h 4496940"/>
                <a:gd name="connsiteX45" fmla="*/ 2935627 w 4519987"/>
                <a:gd name="connsiteY45" fmla="*/ 4333875 h 4496940"/>
                <a:gd name="connsiteX46" fmla="*/ 2811802 w 4519987"/>
                <a:gd name="connsiteY46" fmla="*/ 4371975 h 4496940"/>
                <a:gd name="connsiteX47" fmla="*/ 2745127 w 4519987"/>
                <a:gd name="connsiteY47" fmla="*/ 4410075 h 4496940"/>
                <a:gd name="connsiteX48" fmla="*/ 2697502 w 4519987"/>
                <a:gd name="connsiteY48" fmla="*/ 4429125 h 4496940"/>
                <a:gd name="connsiteX49" fmla="*/ 2640352 w 4519987"/>
                <a:gd name="connsiteY49" fmla="*/ 4457700 h 4496940"/>
                <a:gd name="connsiteX50" fmla="*/ 2583202 w 4519987"/>
                <a:gd name="connsiteY50" fmla="*/ 4467225 h 4496940"/>
                <a:gd name="connsiteX51" fmla="*/ 2545102 w 4519987"/>
                <a:gd name="connsiteY51" fmla="*/ 4486275 h 4496940"/>
                <a:gd name="connsiteX52" fmla="*/ 2306977 w 4519987"/>
                <a:gd name="connsiteY52" fmla="*/ 4476750 h 4496940"/>
                <a:gd name="connsiteX53" fmla="*/ 2202202 w 4519987"/>
                <a:gd name="connsiteY53" fmla="*/ 4457700 h 4496940"/>
                <a:gd name="connsiteX54" fmla="*/ 2126002 w 4519987"/>
                <a:gd name="connsiteY54" fmla="*/ 4429125 h 4496940"/>
                <a:gd name="connsiteX55" fmla="*/ 1935502 w 4519987"/>
                <a:gd name="connsiteY55" fmla="*/ 4400550 h 4496940"/>
                <a:gd name="connsiteX56" fmla="*/ 1821202 w 4519987"/>
                <a:gd name="connsiteY56" fmla="*/ 4371975 h 4496940"/>
                <a:gd name="connsiteX57" fmla="*/ 1754527 w 4519987"/>
                <a:gd name="connsiteY57" fmla="*/ 4352925 h 4496940"/>
                <a:gd name="connsiteX58" fmla="*/ 1687852 w 4519987"/>
                <a:gd name="connsiteY58" fmla="*/ 4343400 h 4496940"/>
                <a:gd name="connsiteX59" fmla="*/ 1573552 w 4519987"/>
                <a:gd name="connsiteY59" fmla="*/ 4305300 h 4496940"/>
                <a:gd name="connsiteX60" fmla="*/ 1402102 w 4519987"/>
                <a:gd name="connsiteY60" fmla="*/ 4276725 h 4496940"/>
                <a:gd name="connsiteX61" fmla="*/ 1287802 w 4519987"/>
                <a:gd name="connsiteY61" fmla="*/ 4229100 h 4496940"/>
                <a:gd name="connsiteX62" fmla="*/ 1221127 w 4519987"/>
                <a:gd name="connsiteY62" fmla="*/ 4200525 h 4496940"/>
                <a:gd name="connsiteX63" fmla="*/ 1144927 w 4519987"/>
                <a:gd name="connsiteY63" fmla="*/ 4171950 h 4496940"/>
                <a:gd name="connsiteX64" fmla="*/ 1087777 w 4519987"/>
                <a:gd name="connsiteY64" fmla="*/ 4143375 h 4496940"/>
                <a:gd name="connsiteX65" fmla="*/ 1030627 w 4519987"/>
                <a:gd name="connsiteY65" fmla="*/ 4124325 h 4496940"/>
                <a:gd name="connsiteX66" fmla="*/ 925852 w 4519987"/>
                <a:gd name="connsiteY66" fmla="*/ 4067175 h 4496940"/>
                <a:gd name="connsiteX67" fmla="*/ 830602 w 4519987"/>
                <a:gd name="connsiteY67" fmla="*/ 3981450 h 4496940"/>
                <a:gd name="connsiteX68" fmla="*/ 763927 w 4519987"/>
                <a:gd name="connsiteY68" fmla="*/ 3914775 h 4496940"/>
                <a:gd name="connsiteX69" fmla="*/ 725827 w 4519987"/>
                <a:gd name="connsiteY69" fmla="*/ 3876675 h 4496940"/>
                <a:gd name="connsiteX70" fmla="*/ 697252 w 4519987"/>
                <a:gd name="connsiteY70" fmla="*/ 3838575 h 4496940"/>
                <a:gd name="connsiteX71" fmla="*/ 640102 w 4519987"/>
                <a:gd name="connsiteY71" fmla="*/ 3781425 h 4496940"/>
                <a:gd name="connsiteX72" fmla="*/ 611527 w 4519987"/>
                <a:gd name="connsiteY72" fmla="*/ 3733800 h 4496940"/>
                <a:gd name="connsiteX73" fmla="*/ 554377 w 4519987"/>
                <a:gd name="connsiteY73" fmla="*/ 3657600 h 4496940"/>
                <a:gd name="connsiteX74" fmla="*/ 525802 w 4519987"/>
                <a:gd name="connsiteY74" fmla="*/ 3609975 h 4496940"/>
                <a:gd name="connsiteX75" fmla="*/ 497227 w 4519987"/>
                <a:gd name="connsiteY75" fmla="*/ 3552825 h 4496940"/>
                <a:gd name="connsiteX76" fmla="*/ 440077 w 4519987"/>
                <a:gd name="connsiteY76" fmla="*/ 3495675 h 4496940"/>
                <a:gd name="connsiteX77" fmla="*/ 411502 w 4519987"/>
                <a:gd name="connsiteY77" fmla="*/ 3448050 h 4496940"/>
                <a:gd name="connsiteX78" fmla="*/ 278152 w 4519987"/>
                <a:gd name="connsiteY78" fmla="*/ 3257550 h 4496940"/>
                <a:gd name="connsiteX79" fmla="*/ 249577 w 4519987"/>
                <a:gd name="connsiteY79" fmla="*/ 3200400 h 4496940"/>
                <a:gd name="connsiteX80" fmla="*/ 240052 w 4519987"/>
                <a:gd name="connsiteY80" fmla="*/ 3162300 h 4496940"/>
                <a:gd name="connsiteX81" fmla="*/ 221002 w 4519987"/>
                <a:gd name="connsiteY81" fmla="*/ 3105150 h 4496940"/>
                <a:gd name="connsiteX82" fmla="*/ 173377 w 4519987"/>
                <a:gd name="connsiteY82" fmla="*/ 3019425 h 4496940"/>
                <a:gd name="connsiteX83" fmla="*/ 144802 w 4519987"/>
                <a:gd name="connsiteY83" fmla="*/ 2924175 h 4496940"/>
                <a:gd name="connsiteX84" fmla="*/ 68602 w 4519987"/>
                <a:gd name="connsiteY84" fmla="*/ 2724150 h 4496940"/>
                <a:gd name="connsiteX85" fmla="*/ 49552 w 4519987"/>
                <a:gd name="connsiteY85" fmla="*/ 2638425 h 4496940"/>
                <a:gd name="connsiteX86" fmla="*/ 40027 w 4519987"/>
                <a:gd name="connsiteY86" fmla="*/ 2562225 h 4496940"/>
                <a:gd name="connsiteX87" fmla="*/ 30502 w 4519987"/>
                <a:gd name="connsiteY87" fmla="*/ 2514600 h 4496940"/>
                <a:gd name="connsiteX88" fmla="*/ 11452 w 4519987"/>
                <a:gd name="connsiteY88" fmla="*/ 2400300 h 4496940"/>
                <a:gd name="connsiteX89" fmla="*/ 20977 w 4519987"/>
                <a:gd name="connsiteY89" fmla="*/ 1905000 h 4496940"/>
                <a:gd name="connsiteX90" fmla="*/ 30502 w 4519987"/>
                <a:gd name="connsiteY90" fmla="*/ 1838325 h 4496940"/>
                <a:gd name="connsiteX91" fmla="*/ 49552 w 4519987"/>
                <a:gd name="connsiteY91" fmla="*/ 1781175 h 4496940"/>
                <a:gd name="connsiteX92" fmla="*/ 59077 w 4519987"/>
                <a:gd name="connsiteY92" fmla="*/ 1743075 h 4496940"/>
                <a:gd name="connsiteX93" fmla="*/ 78127 w 4519987"/>
                <a:gd name="connsiteY93" fmla="*/ 1685925 h 4496940"/>
                <a:gd name="connsiteX94" fmla="*/ 87652 w 4519987"/>
                <a:gd name="connsiteY94" fmla="*/ 1638300 h 4496940"/>
                <a:gd name="connsiteX95" fmla="*/ 106702 w 4519987"/>
                <a:gd name="connsiteY95" fmla="*/ 1590675 h 4496940"/>
                <a:gd name="connsiteX96" fmla="*/ 135277 w 4519987"/>
                <a:gd name="connsiteY96" fmla="*/ 1504950 h 4496940"/>
                <a:gd name="connsiteX97" fmla="*/ 154327 w 4519987"/>
                <a:gd name="connsiteY97" fmla="*/ 1419225 h 4496940"/>
                <a:gd name="connsiteX98" fmla="*/ 230527 w 4519987"/>
                <a:gd name="connsiteY98" fmla="*/ 1276350 h 4496940"/>
                <a:gd name="connsiteX99" fmla="*/ 240052 w 4519987"/>
                <a:gd name="connsiteY99" fmla="*/ 1247775 h 4496940"/>
                <a:gd name="connsiteX100" fmla="*/ 268627 w 4519987"/>
                <a:gd name="connsiteY100" fmla="*/ 1200150 h 4496940"/>
                <a:gd name="connsiteX101" fmla="*/ 287677 w 4519987"/>
                <a:gd name="connsiteY101" fmla="*/ 1152525 h 4496940"/>
                <a:gd name="connsiteX102" fmla="*/ 316252 w 4519987"/>
                <a:gd name="connsiteY102" fmla="*/ 1114425 h 4496940"/>
                <a:gd name="connsiteX103" fmla="*/ 363877 w 4519987"/>
                <a:gd name="connsiteY103" fmla="*/ 1038225 h 4496940"/>
                <a:gd name="connsiteX104" fmla="*/ 382927 w 4519987"/>
                <a:gd name="connsiteY104" fmla="*/ 1009650 h 4496940"/>
                <a:gd name="connsiteX105" fmla="*/ 440077 w 4519987"/>
                <a:gd name="connsiteY105" fmla="*/ 904875 h 4496940"/>
                <a:gd name="connsiteX106" fmla="*/ 478177 w 4519987"/>
                <a:gd name="connsiteY106" fmla="*/ 857250 h 4496940"/>
                <a:gd name="connsiteX107" fmla="*/ 497227 w 4519987"/>
                <a:gd name="connsiteY107" fmla="*/ 828675 h 4496940"/>
                <a:gd name="connsiteX108" fmla="*/ 535327 w 4519987"/>
                <a:gd name="connsiteY108" fmla="*/ 800100 h 4496940"/>
                <a:gd name="connsiteX109" fmla="*/ 602002 w 4519987"/>
                <a:gd name="connsiteY109" fmla="*/ 733425 h 4496940"/>
                <a:gd name="connsiteX110" fmla="*/ 668677 w 4519987"/>
                <a:gd name="connsiteY110" fmla="*/ 676275 h 4496940"/>
                <a:gd name="connsiteX111" fmla="*/ 697252 w 4519987"/>
                <a:gd name="connsiteY111" fmla="*/ 657225 h 4496940"/>
                <a:gd name="connsiteX112" fmla="*/ 840127 w 4519987"/>
                <a:gd name="connsiteY112" fmla="*/ 533400 h 4496940"/>
                <a:gd name="connsiteX113" fmla="*/ 887752 w 4519987"/>
                <a:gd name="connsiteY113" fmla="*/ 504825 h 4496940"/>
                <a:gd name="connsiteX114" fmla="*/ 1167152 w 4519987"/>
                <a:gd name="connsiteY114" fmla="*/ 311150 h 4496940"/>
                <a:gd name="connsiteX115" fmla="*/ 1268752 w 4519987"/>
                <a:gd name="connsiteY115" fmla="*/ 285750 h 4496940"/>
                <a:gd name="connsiteX116" fmla="*/ 1411627 w 4519987"/>
                <a:gd name="connsiteY116" fmla="*/ 190500 h 4496940"/>
                <a:gd name="connsiteX117" fmla="*/ 1449727 w 4519987"/>
                <a:gd name="connsiteY117" fmla="*/ 161925 h 4496940"/>
                <a:gd name="connsiteX118" fmla="*/ 1525927 w 4519987"/>
                <a:gd name="connsiteY118" fmla="*/ 152400 h 4496940"/>
                <a:gd name="connsiteX119" fmla="*/ 1583077 w 4519987"/>
                <a:gd name="connsiteY119" fmla="*/ 142875 h 4496940"/>
                <a:gd name="connsiteX120" fmla="*/ 1716427 w 4519987"/>
                <a:gd name="connsiteY120" fmla="*/ 123825 h 4496940"/>
                <a:gd name="connsiteX121" fmla="*/ 1811677 w 4519987"/>
                <a:gd name="connsiteY121" fmla="*/ 114300 h 4496940"/>
                <a:gd name="connsiteX122" fmla="*/ 1859302 w 4519987"/>
                <a:gd name="connsiteY122" fmla="*/ 104775 h 4496940"/>
                <a:gd name="connsiteX123" fmla="*/ 1916452 w 4519987"/>
                <a:gd name="connsiteY123" fmla="*/ 95250 h 4496940"/>
                <a:gd name="connsiteX124" fmla="*/ 2030752 w 4519987"/>
                <a:gd name="connsiteY124" fmla="*/ 66675 h 4496940"/>
                <a:gd name="connsiteX125" fmla="*/ 2097427 w 4519987"/>
                <a:gd name="connsiteY125" fmla="*/ 47625 h 4496940"/>
                <a:gd name="connsiteX126" fmla="*/ 2164102 w 4519987"/>
                <a:gd name="connsiteY126" fmla="*/ 38100 h 4496940"/>
                <a:gd name="connsiteX127" fmla="*/ 2392702 w 4519987"/>
                <a:gd name="connsiteY127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621427 w 4519987"/>
                <a:gd name="connsiteY37" fmla="*/ 4038600 h 4496940"/>
                <a:gd name="connsiteX38" fmla="*/ 3554752 w 4519987"/>
                <a:gd name="connsiteY38" fmla="*/ 4095750 h 4496940"/>
                <a:gd name="connsiteX39" fmla="*/ 3383302 w 4519987"/>
                <a:gd name="connsiteY39" fmla="*/ 4210050 h 4496940"/>
                <a:gd name="connsiteX40" fmla="*/ 3335677 w 4519987"/>
                <a:gd name="connsiteY40" fmla="*/ 4238625 h 4496940"/>
                <a:gd name="connsiteX41" fmla="*/ 3288052 w 4519987"/>
                <a:gd name="connsiteY41" fmla="*/ 4248150 h 4496940"/>
                <a:gd name="connsiteX42" fmla="*/ 3240427 w 4519987"/>
                <a:gd name="connsiteY42" fmla="*/ 4267200 h 4496940"/>
                <a:gd name="connsiteX43" fmla="*/ 3068977 w 4519987"/>
                <a:gd name="connsiteY43" fmla="*/ 4286250 h 4496940"/>
                <a:gd name="connsiteX44" fmla="*/ 2935627 w 4519987"/>
                <a:gd name="connsiteY44" fmla="*/ 4333875 h 4496940"/>
                <a:gd name="connsiteX45" fmla="*/ 2811802 w 4519987"/>
                <a:gd name="connsiteY45" fmla="*/ 4371975 h 4496940"/>
                <a:gd name="connsiteX46" fmla="*/ 2745127 w 4519987"/>
                <a:gd name="connsiteY46" fmla="*/ 4410075 h 4496940"/>
                <a:gd name="connsiteX47" fmla="*/ 2697502 w 4519987"/>
                <a:gd name="connsiteY47" fmla="*/ 4429125 h 4496940"/>
                <a:gd name="connsiteX48" fmla="*/ 2640352 w 4519987"/>
                <a:gd name="connsiteY48" fmla="*/ 4457700 h 4496940"/>
                <a:gd name="connsiteX49" fmla="*/ 2583202 w 4519987"/>
                <a:gd name="connsiteY49" fmla="*/ 4467225 h 4496940"/>
                <a:gd name="connsiteX50" fmla="*/ 2545102 w 4519987"/>
                <a:gd name="connsiteY50" fmla="*/ 4486275 h 4496940"/>
                <a:gd name="connsiteX51" fmla="*/ 2306977 w 4519987"/>
                <a:gd name="connsiteY51" fmla="*/ 4476750 h 4496940"/>
                <a:gd name="connsiteX52" fmla="*/ 2202202 w 4519987"/>
                <a:gd name="connsiteY52" fmla="*/ 4457700 h 4496940"/>
                <a:gd name="connsiteX53" fmla="*/ 2126002 w 4519987"/>
                <a:gd name="connsiteY53" fmla="*/ 4429125 h 4496940"/>
                <a:gd name="connsiteX54" fmla="*/ 1935502 w 4519987"/>
                <a:gd name="connsiteY54" fmla="*/ 4400550 h 4496940"/>
                <a:gd name="connsiteX55" fmla="*/ 1821202 w 4519987"/>
                <a:gd name="connsiteY55" fmla="*/ 4371975 h 4496940"/>
                <a:gd name="connsiteX56" fmla="*/ 1754527 w 4519987"/>
                <a:gd name="connsiteY56" fmla="*/ 4352925 h 4496940"/>
                <a:gd name="connsiteX57" fmla="*/ 1687852 w 4519987"/>
                <a:gd name="connsiteY57" fmla="*/ 4343400 h 4496940"/>
                <a:gd name="connsiteX58" fmla="*/ 1573552 w 4519987"/>
                <a:gd name="connsiteY58" fmla="*/ 4305300 h 4496940"/>
                <a:gd name="connsiteX59" fmla="*/ 1402102 w 4519987"/>
                <a:gd name="connsiteY59" fmla="*/ 4276725 h 4496940"/>
                <a:gd name="connsiteX60" fmla="*/ 1287802 w 4519987"/>
                <a:gd name="connsiteY60" fmla="*/ 4229100 h 4496940"/>
                <a:gd name="connsiteX61" fmla="*/ 1221127 w 4519987"/>
                <a:gd name="connsiteY61" fmla="*/ 4200525 h 4496940"/>
                <a:gd name="connsiteX62" fmla="*/ 1144927 w 4519987"/>
                <a:gd name="connsiteY62" fmla="*/ 4171950 h 4496940"/>
                <a:gd name="connsiteX63" fmla="*/ 1087777 w 4519987"/>
                <a:gd name="connsiteY63" fmla="*/ 4143375 h 4496940"/>
                <a:gd name="connsiteX64" fmla="*/ 1030627 w 4519987"/>
                <a:gd name="connsiteY64" fmla="*/ 4124325 h 4496940"/>
                <a:gd name="connsiteX65" fmla="*/ 925852 w 4519987"/>
                <a:gd name="connsiteY65" fmla="*/ 4067175 h 4496940"/>
                <a:gd name="connsiteX66" fmla="*/ 830602 w 4519987"/>
                <a:gd name="connsiteY66" fmla="*/ 3981450 h 4496940"/>
                <a:gd name="connsiteX67" fmla="*/ 763927 w 4519987"/>
                <a:gd name="connsiteY67" fmla="*/ 3914775 h 4496940"/>
                <a:gd name="connsiteX68" fmla="*/ 725827 w 4519987"/>
                <a:gd name="connsiteY68" fmla="*/ 3876675 h 4496940"/>
                <a:gd name="connsiteX69" fmla="*/ 697252 w 4519987"/>
                <a:gd name="connsiteY69" fmla="*/ 3838575 h 4496940"/>
                <a:gd name="connsiteX70" fmla="*/ 640102 w 4519987"/>
                <a:gd name="connsiteY70" fmla="*/ 3781425 h 4496940"/>
                <a:gd name="connsiteX71" fmla="*/ 611527 w 4519987"/>
                <a:gd name="connsiteY71" fmla="*/ 3733800 h 4496940"/>
                <a:gd name="connsiteX72" fmla="*/ 554377 w 4519987"/>
                <a:gd name="connsiteY72" fmla="*/ 3657600 h 4496940"/>
                <a:gd name="connsiteX73" fmla="*/ 525802 w 4519987"/>
                <a:gd name="connsiteY73" fmla="*/ 3609975 h 4496940"/>
                <a:gd name="connsiteX74" fmla="*/ 497227 w 4519987"/>
                <a:gd name="connsiteY74" fmla="*/ 3552825 h 4496940"/>
                <a:gd name="connsiteX75" fmla="*/ 440077 w 4519987"/>
                <a:gd name="connsiteY75" fmla="*/ 3495675 h 4496940"/>
                <a:gd name="connsiteX76" fmla="*/ 411502 w 4519987"/>
                <a:gd name="connsiteY76" fmla="*/ 3448050 h 4496940"/>
                <a:gd name="connsiteX77" fmla="*/ 278152 w 4519987"/>
                <a:gd name="connsiteY77" fmla="*/ 3257550 h 4496940"/>
                <a:gd name="connsiteX78" fmla="*/ 249577 w 4519987"/>
                <a:gd name="connsiteY78" fmla="*/ 3200400 h 4496940"/>
                <a:gd name="connsiteX79" fmla="*/ 240052 w 4519987"/>
                <a:gd name="connsiteY79" fmla="*/ 3162300 h 4496940"/>
                <a:gd name="connsiteX80" fmla="*/ 221002 w 4519987"/>
                <a:gd name="connsiteY80" fmla="*/ 3105150 h 4496940"/>
                <a:gd name="connsiteX81" fmla="*/ 173377 w 4519987"/>
                <a:gd name="connsiteY81" fmla="*/ 3019425 h 4496940"/>
                <a:gd name="connsiteX82" fmla="*/ 144802 w 4519987"/>
                <a:gd name="connsiteY82" fmla="*/ 2924175 h 4496940"/>
                <a:gd name="connsiteX83" fmla="*/ 68602 w 4519987"/>
                <a:gd name="connsiteY83" fmla="*/ 2724150 h 4496940"/>
                <a:gd name="connsiteX84" fmla="*/ 49552 w 4519987"/>
                <a:gd name="connsiteY84" fmla="*/ 2638425 h 4496940"/>
                <a:gd name="connsiteX85" fmla="*/ 40027 w 4519987"/>
                <a:gd name="connsiteY85" fmla="*/ 2562225 h 4496940"/>
                <a:gd name="connsiteX86" fmla="*/ 30502 w 4519987"/>
                <a:gd name="connsiteY86" fmla="*/ 2514600 h 4496940"/>
                <a:gd name="connsiteX87" fmla="*/ 11452 w 4519987"/>
                <a:gd name="connsiteY87" fmla="*/ 2400300 h 4496940"/>
                <a:gd name="connsiteX88" fmla="*/ 20977 w 4519987"/>
                <a:gd name="connsiteY88" fmla="*/ 1905000 h 4496940"/>
                <a:gd name="connsiteX89" fmla="*/ 30502 w 4519987"/>
                <a:gd name="connsiteY89" fmla="*/ 1838325 h 4496940"/>
                <a:gd name="connsiteX90" fmla="*/ 49552 w 4519987"/>
                <a:gd name="connsiteY90" fmla="*/ 1781175 h 4496940"/>
                <a:gd name="connsiteX91" fmla="*/ 59077 w 4519987"/>
                <a:gd name="connsiteY91" fmla="*/ 1743075 h 4496940"/>
                <a:gd name="connsiteX92" fmla="*/ 78127 w 4519987"/>
                <a:gd name="connsiteY92" fmla="*/ 1685925 h 4496940"/>
                <a:gd name="connsiteX93" fmla="*/ 87652 w 4519987"/>
                <a:gd name="connsiteY93" fmla="*/ 1638300 h 4496940"/>
                <a:gd name="connsiteX94" fmla="*/ 106702 w 4519987"/>
                <a:gd name="connsiteY94" fmla="*/ 1590675 h 4496940"/>
                <a:gd name="connsiteX95" fmla="*/ 135277 w 4519987"/>
                <a:gd name="connsiteY95" fmla="*/ 1504950 h 4496940"/>
                <a:gd name="connsiteX96" fmla="*/ 154327 w 4519987"/>
                <a:gd name="connsiteY96" fmla="*/ 1419225 h 4496940"/>
                <a:gd name="connsiteX97" fmla="*/ 230527 w 4519987"/>
                <a:gd name="connsiteY97" fmla="*/ 1276350 h 4496940"/>
                <a:gd name="connsiteX98" fmla="*/ 240052 w 4519987"/>
                <a:gd name="connsiteY98" fmla="*/ 1247775 h 4496940"/>
                <a:gd name="connsiteX99" fmla="*/ 268627 w 4519987"/>
                <a:gd name="connsiteY99" fmla="*/ 1200150 h 4496940"/>
                <a:gd name="connsiteX100" fmla="*/ 287677 w 4519987"/>
                <a:gd name="connsiteY100" fmla="*/ 1152525 h 4496940"/>
                <a:gd name="connsiteX101" fmla="*/ 316252 w 4519987"/>
                <a:gd name="connsiteY101" fmla="*/ 1114425 h 4496940"/>
                <a:gd name="connsiteX102" fmla="*/ 363877 w 4519987"/>
                <a:gd name="connsiteY102" fmla="*/ 1038225 h 4496940"/>
                <a:gd name="connsiteX103" fmla="*/ 382927 w 4519987"/>
                <a:gd name="connsiteY103" fmla="*/ 1009650 h 4496940"/>
                <a:gd name="connsiteX104" fmla="*/ 440077 w 4519987"/>
                <a:gd name="connsiteY104" fmla="*/ 904875 h 4496940"/>
                <a:gd name="connsiteX105" fmla="*/ 478177 w 4519987"/>
                <a:gd name="connsiteY105" fmla="*/ 857250 h 4496940"/>
                <a:gd name="connsiteX106" fmla="*/ 497227 w 4519987"/>
                <a:gd name="connsiteY106" fmla="*/ 828675 h 4496940"/>
                <a:gd name="connsiteX107" fmla="*/ 535327 w 4519987"/>
                <a:gd name="connsiteY107" fmla="*/ 800100 h 4496940"/>
                <a:gd name="connsiteX108" fmla="*/ 602002 w 4519987"/>
                <a:gd name="connsiteY108" fmla="*/ 733425 h 4496940"/>
                <a:gd name="connsiteX109" fmla="*/ 668677 w 4519987"/>
                <a:gd name="connsiteY109" fmla="*/ 676275 h 4496940"/>
                <a:gd name="connsiteX110" fmla="*/ 697252 w 4519987"/>
                <a:gd name="connsiteY110" fmla="*/ 657225 h 4496940"/>
                <a:gd name="connsiteX111" fmla="*/ 840127 w 4519987"/>
                <a:gd name="connsiteY111" fmla="*/ 533400 h 4496940"/>
                <a:gd name="connsiteX112" fmla="*/ 887752 w 4519987"/>
                <a:gd name="connsiteY112" fmla="*/ 504825 h 4496940"/>
                <a:gd name="connsiteX113" fmla="*/ 1167152 w 4519987"/>
                <a:gd name="connsiteY113" fmla="*/ 311150 h 4496940"/>
                <a:gd name="connsiteX114" fmla="*/ 1268752 w 4519987"/>
                <a:gd name="connsiteY114" fmla="*/ 285750 h 4496940"/>
                <a:gd name="connsiteX115" fmla="*/ 1411627 w 4519987"/>
                <a:gd name="connsiteY115" fmla="*/ 190500 h 4496940"/>
                <a:gd name="connsiteX116" fmla="*/ 1449727 w 4519987"/>
                <a:gd name="connsiteY116" fmla="*/ 161925 h 4496940"/>
                <a:gd name="connsiteX117" fmla="*/ 1525927 w 4519987"/>
                <a:gd name="connsiteY117" fmla="*/ 152400 h 4496940"/>
                <a:gd name="connsiteX118" fmla="*/ 1583077 w 4519987"/>
                <a:gd name="connsiteY118" fmla="*/ 142875 h 4496940"/>
                <a:gd name="connsiteX119" fmla="*/ 1716427 w 4519987"/>
                <a:gd name="connsiteY119" fmla="*/ 123825 h 4496940"/>
                <a:gd name="connsiteX120" fmla="*/ 1811677 w 4519987"/>
                <a:gd name="connsiteY120" fmla="*/ 114300 h 4496940"/>
                <a:gd name="connsiteX121" fmla="*/ 1859302 w 4519987"/>
                <a:gd name="connsiteY121" fmla="*/ 104775 h 4496940"/>
                <a:gd name="connsiteX122" fmla="*/ 1916452 w 4519987"/>
                <a:gd name="connsiteY122" fmla="*/ 95250 h 4496940"/>
                <a:gd name="connsiteX123" fmla="*/ 2030752 w 4519987"/>
                <a:gd name="connsiteY123" fmla="*/ 66675 h 4496940"/>
                <a:gd name="connsiteX124" fmla="*/ 2097427 w 4519987"/>
                <a:gd name="connsiteY124" fmla="*/ 47625 h 4496940"/>
                <a:gd name="connsiteX125" fmla="*/ 2164102 w 4519987"/>
                <a:gd name="connsiteY125" fmla="*/ 38100 h 4496940"/>
                <a:gd name="connsiteX126" fmla="*/ 2392702 w 4519987"/>
                <a:gd name="connsiteY126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630952 w 4519987"/>
                <a:gd name="connsiteY36" fmla="*/ 4010025 h 4496940"/>
                <a:gd name="connsiteX37" fmla="*/ 3554752 w 4519987"/>
                <a:gd name="connsiteY37" fmla="*/ 4095750 h 4496940"/>
                <a:gd name="connsiteX38" fmla="*/ 3383302 w 4519987"/>
                <a:gd name="connsiteY38" fmla="*/ 4210050 h 4496940"/>
                <a:gd name="connsiteX39" fmla="*/ 3335677 w 4519987"/>
                <a:gd name="connsiteY39" fmla="*/ 4238625 h 4496940"/>
                <a:gd name="connsiteX40" fmla="*/ 3288052 w 4519987"/>
                <a:gd name="connsiteY40" fmla="*/ 4248150 h 4496940"/>
                <a:gd name="connsiteX41" fmla="*/ 3240427 w 4519987"/>
                <a:gd name="connsiteY41" fmla="*/ 4267200 h 4496940"/>
                <a:gd name="connsiteX42" fmla="*/ 3068977 w 4519987"/>
                <a:gd name="connsiteY42" fmla="*/ 4286250 h 4496940"/>
                <a:gd name="connsiteX43" fmla="*/ 2935627 w 4519987"/>
                <a:gd name="connsiteY43" fmla="*/ 4333875 h 4496940"/>
                <a:gd name="connsiteX44" fmla="*/ 2811802 w 4519987"/>
                <a:gd name="connsiteY44" fmla="*/ 4371975 h 4496940"/>
                <a:gd name="connsiteX45" fmla="*/ 2745127 w 4519987"/>
                <a:gd name="connsiteY45" fmla="*/ 4410075 h 4496940"/>
                <a:gd name="connsiteX46" fmla="*/ 2697502 w 4519987"/>
                <a:gd name="connsiteY46" fmla="*/ 4429125 h 4496940"/>
                <a:gd name="connsiteX47" fmla="*/ 2640352 w 4519987"/>
                <a:gd name="connsiteY47" fmla="*/ 4457700 h 4496940"/>
                <a:gd name="connsiteX48" fmla="*/ 2583202 w 4519987"/>
                <a:gd name="connsiteY48" fmla="*/ 4467225 h 4496940"/>
                <a:gd name="connsiteX49" fmla="*/ 2545102 w 4519987"/>
                <a:gd name="connsiteY49" fmla="*/ 4486275 h 4496940"/>
                <a:gd name="connsiteX50" fmla="*/ 2306977 w 4519987"/>
                <a:gd name="connsiteY50" fmla="*/ 4476750 h 4496940"/>
                <a:gd name="connsiteX51" fmla="*/ 2202202 w 4519987"/>
                <a:gd name="connsiteY51" fmla="*/ 4457700 h 4496940"/>
                <a:gd name="connsiteX52" fmla="*/ 2126002 w 4519987"/>
                <a:gd name="connsiteY52" fmla="*/ 4429125 h 4496940"/>
                <a:gd name="connsiteX53" fmla="*/ 1935502 w 4519987"/>
                <a:gd name="connsiteY53" fmla="*/ 4400550 h 4496940"/>
                <a:gd name="connsiteX54" fmla="*/ 1821202 w 4519987"/>
                <a:gd name="connsiteY54" fmla="*/ 4371975 h 4496940"/>
                <a:gd name="connsiteX55" fmla="*/ 1754527 w 4519987"/>
                <a:gd name="connsiteY55" fmla="*/ 4352925 h 4496940"/>
                <a:gd name="connsiteX56" fmla="*/ 1687852 w 4519987"/>
                <a:gd name="connsiteY56" fmla="*/ 4343400 h 4496940"/>
                <a:gd name="connsiteX57" fmla="*/ 1573552 w 4519987"/>
                <a:gd name="connsiteY57" fmla="*/ 4305300 h 4496940"/>
                <a:gd name="connsiteX58" fmla="*/ 1402102 w 4519987"/>
                <a:gd name="connsiteY58" fmla="*/ 4276725 h 4496940"/>
                <a:gd name="connsiteX59" fmla="*/ 1287802 w 4519987"/>
                <a:gd name="connsiteY59" fmla="*/ 4229100 h 4496940"/>
                <a:gd name="connsiteX60" fmla="*/ 1221127 w 4519987"/>
                <a:gd name="connsiteY60" fmla="*/ 4200525 h 4496940"/>
                <a:gd name="connsiteX61" fmla="*/ 1144927 w 4519987"/>
                <a:gd name="connsiteY61" fmla="*/ 4171950 h 4496940"/>
                <a:gd name="connsiteX62" fmla="*/ 1087777 w 4519987"/>
                <a:gd name="connsiteY62" fmla="*/ 4143375 h 4496940"/>
                <a:gd name="connsiteX63" fmla="*/ 1030627 w 4519987"/>
                <a:gd name="connsiteY63" fmla="*/ 4124325 h 4496940"/>
                <a:gd name="connsiteX64" fmla="*/ 925852 w 4519987"/>
                <a:gd name="connsiteY64" fmla="*/ 4067175 h 4496940"/>
                <a:gd name="connsiteX65" fmla="*/ 830602 w 4519987"/>
                <a:gd name="connsiteY65" fmla="*/ 3981450 h 4496940"/>
                <a:gd name="connsiteX66" fmla="*/ 763927 w 4519987"/>
                <a:gd name="connsiteY66" fmla="*/ 3914775 h 4496940"/>
                <a:gd name="connsiteX67" fmla="*/ 725827 w 4519987"/>
                <a:gd name="connsiteY67" fmla="*/ 3876675 h 4496940"/>
                <a:gd name="connsiteX68" fmla="*/ 697252 w 4519987"/>
                <a:gd name="connsiteY68" fmla="*/ 3838575 h 4496940"/>
                <a:gd name="connsiteX69" fmla="*/ 640102 w 4519987"/>
                <a:gd name="connsiteY69" fmla="*/ 3781425 h 4496940"/>
                <a:gd name="connsiteX70" fmla="*/ 611527 w 4519987"/>
                <a:gd name="connsiteY70" fmla="*/ 3733800 h 4496940"/>
                <a:gd name="connsiteX71" fmla="*/ 554377 w 4519987"/>
                <a:gd name="connsiteY71" fmla="*/ 3657600 h 4496940"/>
                <a:gd name="connsiteX72" fmla="*/ 525802 w 4519987"/>
                <a:gd name="connsiteY72" fmla="*/ 3609975 h 4496940"/>
                <a:gd name="connsiteX73" fmla="*/ 497227 w 4519987"/>
                <a:gd name="connsiteY73" fmla="*/ 3552825 h 4496940"/>
                <a:gd name="connsiteX74" fmla="*/ 440077 w 4519987"/>
                <a:gd name="connsiteY74" fmla="*/ 3495675 h 4496940"/>
                <a:gd name="connsiteX75" fmla="*/ 411502 w 4519987"/>
                <a:gd name="connsiteY75" fmla="*/ 3448050 h 4496940"/>
                <a:gd name="connsiteX76" fmla="*/ 278152 w 4519987"/>
                <a:gd name="connsiteY76" fmla="*/ 3257550 h 4496940"/>
                <a:gd name="connsiteX77" fmla="*/ 249577 w 4519987"/>
                <a:gd name="connsiteY77" fmla="*/ 3200400 h 4496940"/>
                <a:gd name="connsiteX78" fmla="*/ 240052 w 4519987"/>
                <a:gd name="connsiteY78" fmla="*/ 3162300 h 4496940"/>
                <a:gd name="connsiteX79" fmla="*/ 221002 w 4519987"/>
                <a:gd name="connsiteY79" fmla="*/ 3105150 h 4496940"/>
                <a:gd name="connsiteX80" fmla="*/ 173377 w 4519987"/>
                <a:gd name="connsiteY80" fmla="*/ 3019425 h 4496940"/>
                <a:gd name="connsiteX81" fmla="*/ 144802 w 4519987"/>
                <a:gd name="connsiteY81" fmla="*/ 2924175 h 4496940"/>
                <a:gd name="connsiteX82" fmla="*/ 68602 w 4519987"/>
                <a:gd name="connsiteY82" fmla="*/ 2724150 h 4496940"/>
                <a:gd name="connsiteX83" fmla="*/ 49552 w 4519987"/>
                <a:gd name="connsiteY83" fmla="*/ 2638425 h 4496940"/>
                <a:gd name="connsiteX84" fmla="*/ 40027 w 4519987"/>
                <a:gd name="connsiteY84" fmla="*/ 2562225 h 4496940"/>
                <a:gd name="connsiteX85" fmla="*/ 30502 w 4519987"/>
                <a:gd name="connsiteY85" fmla="*/ 2514600 h 4496940"/>
                <a:gd name="connsiteX86" fmla="*/ 11452 w 4519987"/>
                <a:gd name="connsiteY86" fmla="*/ 2400300 h 4496940"/>
                <a:gd name="connsiteX87" fmla="*/ 20977 w 4519987"/>
                <a:gd name="connsiteY87" fmla="*/ 1905000 h 4496940"/>
                <a:gd name="connsiteX88" fmla="*/ 30502 w 4519987"/>
                <a:gd name="connsiteY88" fmla="*/ 1838325 h 4496940"/>
                <a:gd name="connsiteX89" fmla="*/ 49552 w 4519987"/>
                <a:gd name="connsiteY89" fmla="*/ 1781175 h 4496940"/>
                <a:gd name="connsiteX90" fmla="*/ 59077 w 4519987"/>
                <a:gd name="connsiteY90" fmla="*/ 1743075 h 4496940"/>
                <a:gd name="connsiteX91" fmla="*/ 78127 w 4519987"/>
                <a:gd name="connsiteY91" fmla="*/ 1685925 h 4496940"/>
                <a:gd name="connsiteX92" fmla="*/ 87652 w 4519987"/>
                <a:gd name="connsiteY92" fmla="*/ 1638300 h 4496940"/>
                <a:gd name="connsiteX93" fmla="*/ 106702 w 4519987"/>
                <a:gd name="connsiteY93" fmla="*/ 1590675 h 4496940"/>
                <a:gd name="connsiteX94" fmla="*/ 135277 w 4519987"/>
                <a:gd name="connsiteY94" fmla="*/ 1504950 h 4496940"/>
                <a:gd name="connsiteX95" fmla="*/ 154327 w 4519987"/>
                <a:gd name="connsiteY95" fmla="*/ 1419225 h 4496940"/>
                <a:gd name="connsiteX96" fmla="*/ 230527 w 4519987"/>
                <a:gd name="connsiteY96" fmla="*/ 1276350 h 4496940"/>
                <a:gd name="connsiteX97" fmla="*/ 240052 w 4519987"/>
                <a:gd name="connsiteY97" fmla="*/ 1247775 h 4496940"/>
                <a:gd name="connsiteX98" fmla="*/ 268627 w 4519987"/>
                <a:gd name="connsiteY98" fmla="*/ 1200150 h 4496940"/>
                <a:gd name="connsiteX99" fmla="*/ 287677 w 4519987"/>
                <a:gd name="connsiteY99" fmla="*/ 1152525 h 4496940"/>
                <a:gd name="connsiteX100" fmla="*/ 316252 w 4519987"/>
                <a:gd name="connsiteY100" fmla="*/ 1114425 h 4496940"/>
                <a:gd name="connsiteX101" fmla="*/ 363877 w 4519987"/>
                <a:gd name="connsiteY101" fmla="*/ 1038225 h 4496940"/>
                <a:gd name="connsiteX102" fmla="*/ 382927 w 4519987"/>
                <a:gd name="connsiteY102" fmla="*/ 1009650 h 4496940"/>
                <a:gd name="connsiteX103" fmla="*/ 440077 w 4519987"/>
                <a:gd name="connsiteY103" fmla="*/ 904875 h 4496940"/>
                <a:gd name="connsiteX104" fmla="*/ 478177 w 4519987"/>
                <a:gd name="connsiteY104" fmla="*/ 857250 h 4496940"/>
                <a:gd name="connsiteX105" fmla="*/ 497227 w 4519987"/>
                <a:gd name="connsiteY105" fmla="*/ 828675 h 4496940"/>
                <a:gd name="connsiteX106" fmla="*/ 535327 w 4519987"/>
                <a:gd name="connsiteY106" fmla="*/ 800100 h 4496940"/>
                <a:gd name="connsiteX107" fmla="*/ 602002 w 4519987"/>
                <a:gd name="connsiteY107" fmla="*/ 733425 h 4496940"/>
                <a:gd name="connsiteX108" fmla="*/ 668677 w 4519987"/>
                <a:gd name="connsiteY108" fmla="*/ 676275 h 4496940"/>
                <a:gd name="connsiteX109" fmla="*/ 697252 w 4519987"/>
                <a:gd name="connsiteY109" fmla="*/ 657225 h 4496940"/>
                <a:gd name="connsiteX110" fmla="*/ 840127 w 4519987"/>
                <a:gd name="connsiteY110" fmla="*/ 533400 h 4496940"/>
                <a:gd name="connsiteX111" fmla="*/ 887752 w 4519987"/>
                <a:gd name="connsiteY111" fmla="*/ 504825 h 4496940"/>
                <a:gd name="connsiteX112" fmla="*/ 1167152 w 4519987"/>
                <a:gd name="connsiteY112" fmla="*/ 311150 h 4496940"/>
                <a:gd name="connsiteX113" fmla="*/ 1268752 w 4519987"/>
                <a:gd name="connsiteY113" fmla="*/ 285750 h 4496940"/>
                <a:gd name="connsiteX114" fmla="*/ 1411627 w 4519987"/>
                <a:gd name="connsiteY114" fmla="*/ 190500 h 4496940"/>
                <a:gd name="connsiteX115" fmla="*/ 1449727 w 4519987"/>
                <a:gd name="connsiteY115" fmla="*/ 161925 h 4496940"/>
                <a:gd name="connsiteX116" fmla="*/ 1525927 w 4519987"/>
                <a:gd name="connsiteY116" fmla="*/ 152400 h 4496940"/>
                <a:gd name="connsiteX117" fmla="*/ 1583077 w 4519987"/>
                <a:gd name="connsiteY117" fmla="*/ 142875 h 4496940"/>
                <a:gd name="connsiteX118" fmla="*/ 1716427 w 4519987"/>
                <a:gd name="connsiteY118" fmla="*/ 123825 h 4496940"/>
                <a:gd name="connsiteX119" fmla="*/ 1811677 w 4519987"/>
                <a:gd name="connsiteY119" fmla="*/ 114300 h 4496940"/>
                <a:gd name="connsiteX120" fmla="*/ 1859302 w 4519987"/>
                <a:gd name="connsiteY120" fmla="*/ 104775 h 4496940"/>
                <a:gd name="connsiteX121" fmla="*/ 1916452 w 4519987"/>
                <a:gd name="connsiteY121" fmla="*/ 95250 h 4496940"/>
                <a:gd name="connsiteX122" fmla="*/ 2030752 w 4519987"/>
                <a:gd name="connsiteY122" fmla="*/ 66675 h 4496940"/>
                <a:gd name="connsiteX123" fmla="*/ 2097427 w 4519987"/>
                <a:gd name="connsiteY123" fmla="*/ 47625 h 4496940"/>
                <a:gd name="connsiteX124" fmla="*/ 2164102 w 4519987"/>
                <a:gd name="connsiteY124" fmla="*/ 38100 h 4496940"/>
                <a:gd name="connsiteX125" fmla="*/ 2392702 w 4519987"/>
                <a:gd name="connsiteY125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54752 w 4519987"/>
                <a:gd name="connsiteY36" fmla="*/ 40957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83302 w 4519987"/>
                <a:gd name="connsiteY37" fmla="*/ 4210050 h 4496940"/>
                <a:gd name="connsiteX38" fmla="*/ 3335677 w 4519987"/>
                <a:gd name="connsiteY38" fmla="*/ 4238625 h 4496940"/>
                <a:gd name="connsiteX39" fmla="*/ 3288052 w 4519987"/>
                <a:gd name="connsiteY39" fmla="*/ 4248150 h 4496940"/>
                <a:gd name="connsiteX40" fmla="*/ 3240427 w 4519987"/>
                <a:gd name="connsiteY40" fmla="*/ 4267200 h 4496940"/>
                <a:gd name="connsiteX41" fmla="*/ 3068977 w 4519987"/>
                <a:gd name="connsiteY41" fmla="*/ 4286250 h 4496940"/>
                <a:gd name="connsiteX42" fmla="*/ 2935627 w 4519987"/>
                <a:gd name="connsiteY42" fmla="*/ 4333875 h 4496940"/>
                <a:gd name="connsiteX43" fmla="*/ 2811802 w 4519987"/>
                <a:gd name="connsiteY43" fmla="*/ 4371975 h 4496940"/>
                <a:gd name="connsiteX44" fmla="*/ 2745127 w 4519987"/>
                <a:gd name="connsiteY44" fmla="*/ 4410075 h 4496940"/>
                <a:gd name="connsiteX45" fmla="*/ 2697502 w 4519987"/>
                <a:gd name="connsiteY45" fmla="*/ 4429125 h 4496940"/>
                <a:gd name="connsiteX46" fmla="*/ 2640352 w 4519987"/>
                <a:gd name="connsiteY46" fmla="*/ 4457700 h 4496940"/>
                <a:gd name="connsiteX47" fmla="*/ 2583202 w 4519987"/>
                <a:gd name="connsiteY47" fmla="*/ 4467225 h 4496940"/>
                <a:gd name="connsiteX48" fmla="*/ 2545102 w 4519987"/>
                <a:gd name="connsiteY48" fmla="*/ 4486275 h 4496940"/>
                <a:gd name="connsiteX49" fmla="*/ 2306977 w 4519987"/>
                <a:gd name="connsiteY49" fmla="*/ 4476750 h 4496940"/>
                <a:gd name="connsiteX50" fmla="*/ 2202202 w 4519987"/>
                <a:gd name="connsiteY50" fmla="*/ 4457700 h 4496940"/>
                <a:gd name="connsiteX51" fmla="*/ 2126002 w 4519987"/>
                <a:gd name="connsiteY51" fmla="*/ 4429125 h 4496940"/>
                <a:gd name="connsiteX52" fmla="*/ 1935502 w 4519987"/>
                <a:gd name="connsiteY52" fmla="*/ 4400550 h 4496940"/>
                <a:gd name="connsiteX53" fmla="*/ 1821202 w 4519987"/>
                <a:gd name="connsiteY53" fmla="*/ 4371975 h 4496940"/>
                <a:gd name="connsiteX54" fmla="*/ 1754527 w 4519987"/>
                <a:gd name="connsiteY54" fmla="*/ 4352925 h 4496940"/>
                <a:gd name="connsiteX55" fmla="*/ 1687852 w 4519987"/>
                <a:gd name="connsiteY55" fmla="*/ 4343400 h 4496940"/>
                <a:gd name="connsiteX56" fmla="*/ 1573552 w 4519987"/>
                <a:gd name="connsiteY56" fmla="*/ 4305300 h 4496940"/>
                <a:gd name="connsiteX57" fmla="*/ 1402102 w 4519987"/>
                <a:gd name="connsiteY57" fmla="*/ 4276725 h 4496940"/>
                <a:gd name="connsiteX58" fmla="*/ 1287802 w 4519987"/>
                <a:gd name="connsiteY58" fmla="*/ 4229100 h 4496940"/>
                <a:gd name="connsiteX59" fmla="*/ 1221127 w 4519987"/>
                <a:gd name="connsiteY59" fmla="*/ 4200525 h 4496940"/>
                <a:gd name="connsiteX60" fmla="*/ 1144927 w 4519987"/>
                <a:gd name="connsiteY60" fmla="*/ 4171950 h 4496940"/>
                <a:gd name="connsiteX61" fmla="*/ 1087777 w 4519987"/>
                <a:gd name="connsiteY61" fmla="*/ 4143375 h 4496940"/>
                <a:gd name="connsiteX62" fmla="*/ 1030627 w 4519987"/>
                <a:gd name="connsiteY62" fmla="*/ 4124325 h 4496940"/>
                <a:gd name="connsiteX63" fmla="*/ 925852 w 4519987"/>
                <a:gd name="connsiteY63" fmla="*/ 4067175 h 4496940"/>
                <a:gd name="connsiteX64" fmla="*/ 830602 w 4519987"/>
                <a:gd name="connsiteY64" fmla="*/ 3981450 h 4496940"/>
                <a:gd name="connsiteX65" fmla="*/ 763927 w 4519987"/>
                <a:gd name="connsiteY65" fmla="*/ 3914775 h 4496940"/>
                <a:gd name="connsiteX66" fmla="*/ 725827 w 4519987"/>
                <a:gd name="connsiteY66" fmla="*/ 3876675 h 4496940"/>
                <a:gd name="connsiteX67" fmla="*/ 697252 w 4519987"/>
                <a:gd name="connsiteY67" fmla="*/ 3838575 h 4496940"/>
                <a:gd name="connsiteX68" fmla="*/ 640102 w 4519987"/>
                <a:gd name="connsiteY68" fmla="*/ 3781425 h 4496940"/>
                <a:gd name="connsiteX69" fmla="*/ 611527 w 4519987"/>
                <a:gd name="connsiteY69" fmla="*/ 3733800 h 4496940"/>
                <a:gd name="connsiteX70" fmla="*/ 554377 w 4519987"/>
                <a:gd name="connsiteY70" fmla="*/ 3657600 h 4496940"/>
                <a:gd name="connsiteX71" fmla="*/ 525802 w 4519987"/>
                <a:gd name="connsiteY71" fmla="*/ 3609975 h 4496940"/>
                <a:gd name="connsiteX72" fmla="*/ 497227 w 4519987"/>
                <a:gd name="connsiteY72" fmla="*/ 3552825 h 4496940"/>
                <a:gd name="connsiteX73" fmla="*/ 440077 w 4519987"/>
                <a:gd name="connsiteY73" fmla="*/ 3495675 h 4496940"/>
                <a:gd name="connsiteX74" fmla="*/ 411502 w 4519987"/>
                <a:gd name="connsiteY74" fmla="*/ 3448050 h 4496940"/>
                <a:gd name="connsiteX75" fmla="*/ 278152 w 4519987"/>
                <a:gd name="connsiteY75" fmla="*/ 3257550 h 4496940"/>
                <a:gd name="connsiteX76" fmla="*/ 249577 w 4519987"/>
                <a:gd name="connsiteY76" fmla="*/ 3200400 h 4496940"/>
                <a:gd name="connsiteX77" fmla="*/ 240052 w 4519987"/>
                <a:gd name="connsiteY77" fmla="*/ 3162300 h 4496940"/>
                <a:gd name="connsiteX78" fmla="*/ 221002 w 4519987"/>
                <a:gd name="connsiteY78" fmla="*/ 3105150 h 4496940"/>
                <a:gd name="connsiteX79" fmla="*/ 173377 w 4519987"/>
                <a:gd name="connsiteY79" fmla="*/ 3019425 h 4496940"/>
                <a:gd name="connsiteX80" fmla="*/ 144802 w 4519987"/>
                <a:gd name="connsiteY80" fmla="*/ 2924175 h 4496940"/>
                <a:gd name="connsiteX81" fmla="*/ 68602 w 4519987"/>
                <a:gd name="connsiteY81" fmla="*/ 2724150 h 4496940"/>
                <a:gd name="connsiteX82" fmla="*/ 49552 w 4519987"/>
                <a:gd name="connsiteY82" fmla="*/ 2638425 h 4496940"/>
                <a:gd name="connsiteX83" fmla="*/ 40027 w 4519987"/>
                <a:gd name="connsiteY83" fmla="*/ 2562225 h 4496940"/>
                <a:gd name="connsiteX84" fmla="*/ 30502 w 4519987"/>
                <a:gd name="connsiteY84" fmla="*/ 2514600 h 4496940"/>
                <a:gd name="connsiteX85" fmla="*/ 11452 w 4519987"/>
                <a:gd name="connsiteY85" fmla="*/ 2400300 h 4496940"/>
                <a:gd name="connsiteX86" fmla="*/ 20977 w 4519987"/>
                <a:gd name="connsiteY86" fmla="*/ 1905000 h 4496940"/>
                <a:gd name="connsiteX87" fmla="*/ 30502 w 4519987"/>
                <a:gd name="connsiteY87" fmla="*/ 1838325 h 4496940"/>
                <a:gd name="connsiteX88" fmla="*/ 49552 w 4519987"/>
                <a:gd name="connsiteY88" fmla="*/ 1781175 h 4496940"/>
                <a:gd name="connsiteX89" fmla="*/ 59077 w 4519987"/>
                <a:gd name="connsiteY89" fmla="*/ 1743075 h 4496940"/>
                <a:gd name="connsiteX90" fmla="*/ 78127 w 4519987"/>
                <a:gd name="connsiteY90" fmla="*/ 1685925 h 4496940"/>
                <a:gd name="connsiteX91" fmla="*/ 87652 w 4519987"/>
                <a:gd name="connsiteY91" fmla="*/ 1638300 h 4496940"/>
                <a:gd name="connsiteX92" fmla="*/ 106702 w 4519987"/>
                <a:gd name="connsiteY92" fmla="*/ 1590675 h 4496940"/>
                <a:gd name="connsiteX93" fmla="*/ 135277 w 4519987"/>
                <a:gd name="connsiteY93" fmla="*/ 1504950 h 4496940"/>
                <a:gd name="connsiteX94" fmla="*/ 154327 w 4519987"/>
                <a:gd name="connsiteY94" fmla="*/ 1419225 h 4496940"/>
                <a:gd name="connsiteX95" fmla="*/ 230527 w 4519987"/>
                <a:gd name="connsiteY95" fmla="*/ 1276350 h 4496940"/>
                <a:gd name="connsiteX96" fmla="*/ 240052 w 4519987"/>
                <a:gd name="connsiteY96" fmla="*/ 1247775 h 4496940"/>
                <a:gd name="connsiteX97" fmla="*/ 268627 w 4519987"/>
                <a:gd name="connsiteY97" fmla="*/ 1200150 h 4496940"/>
                <a:gd name="connsiteX98" fmla="*/ 287677 w 4519987"/>
                <a:gd name="connsiteY98" fmla="*/ 1152525 h 4496940"/>
                <a:gd name="connsiteX99" fmla="*/ 316252 w 4519987"/>
                <a:gd name="connsiteY99" fmla="*/ 1114425 h 4496940"/>
                <a:gd name="connsiteX100" fmla="*/ 363877 w 4519987"/>
                <a:gd name="connsiteY100" fmla="*/ 1038225 h 4496940"/>
                <a:gd name="connsiteX101" fmla="*/ 382927 w 4519987"/>
                <a:gd name="connsiteY101" fmla="*/ 1009650 h 4496940"/>
                <a:gd name="connsiteX102" fmla="*/ 440077 w 4519987"/>
                <a:gd name="connsiteY102" fmla="*/ 904875 h 4496940"/>
                <a:gd name="connsiteX103" fmla="*/ 478177 w 4519987"/>
                <a:gd name="connsiteY103" fmla="*/ 857250 h 4496940"/>
                <a:gd name="connsiteX104" fmla="*/ 497227 w 4519987"/>
                <a:gd name="connsiteY104" fmla="*/ 828675 h 4496940"/>
                <a:gd name="connsiteX105" fmla="*/ 535327 w 4519987"/>
                <a:gd name="connsiteY105" fmla="*/ 800100 h 4496940"/>
                <a:gd name="connsiteX106" fmla="*/ 602002 w 4519987"/>
                <a:gd name="connsiteY106" fmla="*/ 733425 h 4496940"/>
                <a:gd name="connsiteX107" fmla="*/ 668677 w 4519987"/>
                <a:gd name="connsiteY107" fmla="*/ 676275 h 4496940"/>
                <a:gd name="connsiteX108" fmla="*/ 697252 w 4519987"/>
                <a:gd name="connsiteY108" fmla="*/ 657225 h 4496940"/>
                <a:gd name="connsiteX109" fmla="*/ 840127 w 4519987"/>
                <a:gd name="connsiteY109" fmla="*/ 533400 h 4496940"/>
                <a:gd name="connsiteX110" fmla="*/ 887752 w 4519987"/>
                <a:gd name="connsiteY110" fmla="*/ 504825 h 4496940"/>
                <a:gd name="connsiteX111" fmla="*/ 1167152 w 4519987"/>
                <a:gd name="connsiteY111" fmla="*/ 311150 h 4496940"/>
                <a:gd name="connsiteX112" fmla="*/ 1268752 w 4519987"/>
                <a:gd name="connsiteY112" fmla="*/ 285750 h 4496940"/>
                <a:gd name="connsiteX113" fmla="*/ 1411627 w 4519987"/>
                <a:gd name="connsiteY113" fmla="*/ 190500 h 4496940"/>
                <a:gd name="connsiteX114" fmla="*/ 1449727 w 4519987"/>
                <a:gd name="connsiteY114" fmla="*/ 161925 h 4496940"/>
                <a:gd name="connsiteX115" fmla="*/ 1525927 w 4519987"/>
                <a:gd name="connsiteY115" fmla="*/ 152400 h 4496940"/>
                <a:gd name="connsiteX116" fmla="*/ 1583077 w 4519987"/>
                <a:gd name="connsiteY116" fmla="*/ 142875 h 4496940"/>
                <a:gd name="connsiteX117" fmla="*/ 1716427 w 4519987"/>
                <a:gd name="connsiteY117" fmla="*/ 123825 h 4496940"/>
                <a:gd name="connsiteX118" fmla="*/ 1811677 w 4519987"/>
                <a:gd name="connsiteY118" fmla="*/ 114300 h 4496940"/>
                <a:gd name="connsiteX119" fmla="*/ 1859302 w 4519987"/>
                <a:gd name="connsiteY119" fmla="*/ 104775 h 4496940"/>
                <a:gd name="connsiteX120" fmla="*/ 1916452 w 4519987"/>
                <a:gd name="connsiteY120" fmla="*/ 95250 h 4496940"/>
                <a:gd name="connsiteX121" fmla="*/ 2030752 w 4519987"/>
                <a:gd name="connsiteY121" fmla="*/ 66675 h 4496940"/>
                <a:gd name="connsiteX122" fmla="*/ 2097427 w 4519987"/>
                <a:gd name="connsiteY122" fmla="*/ 47625 h 4496940"/>
                <a:gd name="connsiteX123" fmla="*/ 2164102 w 4519987"/>
                <a:gd name="connsiteY123" fmla="*/ 38100 h 4496940"/>
                <a:gd name="connsiteX124" fmla="*/ 2392702 w 4519987"/>
                <a:gd name="connsiteY124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88052 w 4519987"/>
                <a:gd name="connsiteY38" fmla="*/ 4248150 h 4496940"/>
                <a:gd name="connsiteX39" fmla="*/ 3240427 w 4519987"/>
                <a:gd name="connsiteY39" fmla="*/ 4267200 h 4496940"/>
                <a:gd name="connsiteX40" fmla="*/ 3068977 w 4519987"/>
                <a:gd name="connsiteY40" fmla="*/ 4286250 h 4496940"/>
                <a:gd name="connsiteX41" fmla="*/ 2935627 w 4519987"/>
                <a:gd name="connsiteY41" fmla="*/ 4333875 h 4496940"/>
                <a:gd name="connsiteX42" fmla="*/ 2811802 w 4519987"/>
                <a:gd name="connsiteY42" fmla="*/ 4371975 h 4496940"/>
                <a:gd name="connsiteX43" fmla="*/ 2745127 w 4519987"/>
                <a:gd name="connsiteY43" fmla="*/ 4410075 h 4496940"/>
                <a:gd name="connsiteX44" fmla="*/ 2697502 w 4519987"/>
                <a:gd name="connsiteY44" fmla="*/ 4429125 h 4496940"/>
                <a:gd name="connsiteX45" fmla="*/ 2640352 w 4519987"/>
                <a:gd name="connsiteY45" fmla="*/ 4457700 h 4496940"/>
                <a:gd name="connsiteX46" fmla="*/ 2583202 w 4519987"/>
                <a:gd name="connsiteY46" fmla="*/ 4467225 h 4496940"/>
                <a:gd name="connsiteX47" fmla="*/ 2545102 w 4519987"/>
                <a:gd name="connsiteY47" fmla="*/ 4486275 h 4496940"/>
                <a:gd name="connsiteX48" fmla="*/ 2306977 w 4519987"/>
                <a:gd name="connsiteY48" fmla="*/ 4476750 h 4496940"/>
                <a:gd name="connsiteX49" fmla="*/ 2202202 w 4519987"/>
                <a:gd name="connsiteY49" fmla="*/ 4457700 h 4496940"/>
                <a:gd name="connsiteX50" fmla="*/ 2126002 w 4519987"/>
                <a:gd name="connsiteY50" fmla="*/ 4429125 h 4496940"/>
                <a:gd name="connsiteX51" fmla="*/ 1935502 w 4519987"/>
                <a:gd name="connsiteY51" fmla="*/ 4400550 h 4496940"/>
                <a:gd name="connsiteX52" fmla="*/ 1821202 w 4519987"/>
                <a:gd name="connsiteY52" fmla="*/ 4371975 h 4496940"/>
                <a:gd name="connsiteX53" fmla="*/ 1754527 w 4519987"/>
                <a:gd name="connsiteY53" fmla="*/ 4352925 h 4496940"/>
                <a:gd name="connsiteX54" fmla="*/ 1687852 w 4519987"/>
                <a:gd name="connsiteY54" fmla="*/ 4343400 h 4496940"/>
                <a:gd name="connsiteX55" fmla="*/ 1573552 w 4519987"/>
                <a:gd name="connsiteY55" fmla="*/ 4305300 h 4496940"/>
                <a:gd name="connsiteX56" fmla="*/ 1402102 w 4519987"/>
                <a:gd name="connsiteY56" fmla="*/ 4276725 h 4496940"/>
                <a:gd name="connsiteX57" fmla="*/ 1287802 w 4519987"/>
                <a:gd name="connsiteY57" fmla="*/ 4229100 h 4496940"/>
                <a:gd name="connsiteX58" fmla="*/ 1221127 w 4519987"/>
                <a:gd name="connsiteY58" fmla="*/ 4200525 h 4496940"/>
                <a:gd name="connsiteX59" fmla="*/ 1144927 w 4519987"/>
                <a:gd name="connsiteY59" fmla="*/ 4171950 h 4496940"/>
                <a:gd name="connsiteX60" fmla="*/ 1087777 w 4519987"/>
                <a:gd name="connsiteY60" fmla="*/ 4143375 h 4496940"/>
                <a:gd name="connsiteX61" fmla="*/ 1030627 w 4519987"/>
                <a:gd name="connsiteY61" fmla="*/ 4124325 h 4496940"/>
                <a:gd name="connsiteX62" fmla="*/ 925852 w 4519987"/>
                <a:gd name="connsiteY62" fmla="*/ 4067175 h 4496940"/>
                <a:gd name="connsiteX63" fmla="*/ 830602 w 4519987"/>
                <a:gd name="connsiteY63" fmla="*/ 3981450 h 4496940"/>
                <a:gd name="connsiteX64" fmla="*/ 763927 w 4519987"/>
                <a:gd name="connsiteY64" fmla="*/ 3914775 h 4496940"/>
                <a:gd name="connsiteX65" fmla="*/ 725827 w 4519987"/>
                <a:gd name="connsiteY65" fmla="*/ 3876675 h 4496940"/>
                <a:gd name="connsiteX66" fmla="*/ 697252 w 4519987"/>
                <a:gd name="connsiteY66" fmla="*/ 3838575 h 4496940"/>
                <a:gd name="connsiteX67" fmla="*/ 640102 w 4519987"/>
                <a:gd name="connsiteY67" fmla="*/ 3781425 h 4496940"/>
                <a:gd name="connsiteX68" fmla="*/ 611527 w 4519987"/>
                <a:gd name="connsiteY68" fmla="*/ 3733800 h 4496940"/>
                <a:gd name="connsiteX69" fmla="*/ 554377 w 4519987"/>
                <a:gd name="connsiteY69" fmla="*/ 3657600 h 4496940"/>
                <a:gd name="connsiteX70" fmla="*/ 525802 w 4519987"/>
                <a:gd name="connsiteY70" fmla="*/ 3609975 h 4496940"/>
                <a:gd name="connsiteX71" fmla="*/ 497227 w 4519987"/>
                <a:gd name="connsiteY71" fmla="*/ 3552825 h 4496940"/>
                <a:gd name="connsiteX72" fmla="*/ 440077 w 4519987"/>
                <a:gd name="connsiteY72" fmla="*/ 3495675 h 4496940"/>
                <a:gd name="connsiteX73" fmla="*/ 411502 w 4519987"/>
                <a:gd name="connsiteY73" fmla="*/ 3448050 h 4496940"/>
                <a:gd name="connsiteX74" fmla="*/ 278152 w 4519987"/>
                <a:gd name="connsiteY74" fmla="*/ 3257550 h 4496940"/>
                <a:gd name="connsiteX75" fmla="*/ 249577 w 4519987"/>
                <a:gd name="connsiteY75" fmla="*/ 3200400 h 4496940"/>
                <a:gd name="connsiteX76" fmla="*/ 240052 w 4519987"/>
                <a:gd name="connsiteY76" fmla="*/ 3162300 h 4496940"/>
                <a:gd name="connsiteX77" fmla="*/ 221002 w 4519987"/>
                <a:gd name="connsiteY77" fmla="*/ 3105150 h 4496940"/>
                <a:gd name="connsiteX78" fmla="*/ 173377 w 4519987"/>
                <a:gd name="connsiteY78" fmla="*/ 3019425 h 4496940"/>
                <a:gd name="connsiteX79" fmla="*/ 144802 w 4519987"/>
                <a:gd name="connsiteY79" fmla="*/ 2924175 h 4496940"/>
                <a:gd name="connsiteX80" fmla="*/ 68602 w 4519987"/>
                <a:gd name="connsiteY80" fmla="*/ 2724150 h 4496940"/>
                <a:gd name="connsiteX81" fmla="*/ 49552 w 4519987"/>
                <a:gd name="connsiteY81" fmla="*/ 2638425 h 4496940"/>
                <a:gd name="connsiteX82" fmla="*/ 40027 w 4519987"/>
                <a:gd name="connsiteY82" fmla="*/ 2562225 h 4496940"/>
                <a:gd name="connsiteX83" fmla="*/ 30502 w 4519987"/>
                <a:gd name="connsiteY83" fmla="*/ 2514600 h 4496940"/>
                <a:gd name="connsiteX84" fmla="*/ 11452 w 4519987"/>
                <a:gd name="connsiteY84" fmla="*/ 2400300 h 4496940"/>
                <a:gd name="connsiteX85" fmla="*/ 20977 w 4519987"/>
                <a:gd name="connsiteY85" fmla="*/ 1905000 h 4496940"/>
                <a:gd name="connsiteX86" fmla="*/ 30502 w 4519987"/>
                <a:gd name="connsiteY86" fmla="*/ 1838325 h 4496940"/>
                <a:gd name="connsiteX87" fmla="*/ 49552 w 4519987"/>
                <a:gd name="connsiteY87" fmla="*/ 1781175 h 4496940"/>
                <a:gd name="connsiteX88" fmla="*/ 59077 w 4519987"/>
                <a:gd name="connsiteY88" fmla="*/ 1743075 h 4496940"/>
                <a:gd name="connsiteX89" fmla="*/ 78127 w 4519987"/>
                <a:gd name="connsiteY89" fmla="*/ 1685925 h 4496940"/>
                <a:gd name="connsiteX90" fmla="*/ 87652 w 4519987"/>
                <a:gd name="connsiteY90" fmla="*/ 1638300 h 4496940"/>
                <a:gd name="connsiteX91" fmla="*/ 106702 w 4519987"/>
                <a:gd name="connsiteY91" fmla="*/ 1590675 h 4496940"/>
                <a:gd name="connsiteX92" fmla="*/ 135277 w 4519987"/>
                <a:gd name="connsiteY92" fmla="*/ 1504950 h 4496940"/>
                <a:gd name="connsiteX93" fmla="*/ 154327 w 4519987"/>
                <a:gd name="connsiteY93" fmla="*/ 1419225 h 4496940"/>
                <a:gd name="connsiteX94" fmla="*/ 230527 w 4519987"/>
                <a:gd name="connsiteY94" fmla="*/ 1276350 h 4496940"/>
                <a:gd name="connsiteX95" fmla="*/ 240052 w 4519987"/>
                <a:gd name="connsiteY95" fmla="*/ 1247775 h 4496940"/>
                <a:gd name="connsiteX96" fmla="*/ 268627 w 4519987"/>
                <a:gd name="connsiteY96" fmla="*/ 1200150 h 4496940"/>
                <a:gd name="connsiteX97" fmla="*/ 287677 w 4519987"/>
                <a:gd name="connsiteY97" fmla="*/ 1152525 h 4496940"/>
                <a:gd name="connsiteX98" fmla="*/ 316252 w 4519987"/>
                <a:gd name="connsiteY98" fmla="*/ 1114425 h 4496940"/>
                <a:gd name="connsiteX99" fmla="*/ 363877 w 4519987"/>
                <a:gd name="connsiteY99" fmla="*/ 1038225 h 4496940"/>
                <a:gd name="connsiteX100" fmla="*/ 382927 w 4519987"/>
                <a:gd name="connsiteY100" fmla="*/ 1009650 h 4496940"/>
                <a:gd name="connsiteX101" fmla="*/ 440077 w 4519987"/>
                <a:gd name="connsiteY101" fmla="*/ 904875 h 4496940"/>
                <a:gd name="connsiteX102" fmla="*/ 478177 w 4519987"/>
                <a:gd name="connsiteY102" fmla="*/ 857250 h 4496940"/>
                <a:gd name="connsiteX103" fmla="*/ 497227 w 4519987"/>
                <a:gd name="connsiteY103" fmla="*/ 828675 h 4496940"/>
                <a:gd name="connsiteX104" fmla="*/ 535327 w 4519987"/>
                <a:gd name="connsiteY104" fmla="*/ 800100 h 4496940"/>
                <a:gd name="connsiteX105" fmla="*/ 602002 w 4519987"/>
                <a:gd name="connsiteY105" fmla="*/ 733425 h 4496940"/>
                <a:gd name="connsiteX106" fmla="*/ 668677 w 4519987"/>
                <a:gd name="connsiteY106" fmla="*/ 676275 h 4496940"/>
                <a:gd name="connsiteX107" fmla="*/ 697252 w 4519987"/>
                <a:gd name="connsiteY107" fmla="*/ 657225 h 4496940"/>
                <a:gd name="connsiteX108" fmla="*/ 840127 w 4519987"/>
                <a:gd name="connsiteY108" fmla="*/ 533400 h 4496940"/>
                <a:gd name="connsiteX109" fmla="*/ 887752 w 4519987"/>
                <a:gd name="connsiteY109" fmla="*/ 504825 h 4496940"/>
                <a:gd name="connsiteX110" fmla="*/ 1167152 w 4519987"/>
                <a:gd name="connsiteY110" fmla="*/ 311150 h 4496940"/>
                <a:gd name="connsiteX111" fmla="*/ 1268752 w 4519987"/>
                <a:gd name="connsiteY111" fmla="*/ 285750 h 4496940"/>
                <a:gd name="connsiteX112" fmla="*/ 1411627 w 4519987"/>
                <a:gd name="connsiteY112" fmla="*/ 190500 h 4496940"/>
                <a:gd name="connsiteX113" fmla="*/ 1449727 w 4519987"/>
                <a:gd name="connsiteY113" fmla="*/ 161925 h 4496940"/>
                <a:gd name="connsiteX114" fmla="*/ 1525927 w 4519987"/>
                <a:gd name="connsiteY114" fmla="*/ 152400 h 4496940"/>
                <a:gd name="connsiteX115" fmla="*/ 1583077 w 4519987"/>
                <a:gd name="connsiteY115" fmla="*/ 142875 h 4496940"/>
                <a:gd name="connsiteX116" fmla="*/ 1716427 w 4519987"/>
                <a:gd name="connsiteY116" fmla="*/ 123825 h 4496940"/>
                <a:gd name="connsiteX117" fmla="*/ 1811677 w 4519987"/>
                <a:gd name="connsiteY117" fmla="*/ 114300 h 4496940"/>
                <a:gd name="connsiteX118" fmla="*/ 1859302 w 4519987"/>
                <a:gd name="connsiteY118" fmla="*/ 104775 h 4496940"/>
                <a:gd name="connsiteX119" fmla="*/ 1916452 w 4519987"/>
                <a:gd name="connsiteY119" fmla="*/ 95250 h 4496940"/>
                <a:gd name="connsiteX120" fmla="*/ 2030752 w 4519987"/>
                <a:gd name="connsiteY120" fmla="*/ 66675 h 4496940"/>
                <a:gd name="connsiteX121" fmla="*/ 2097427 w 4519987"/>
                <a:gd name="connsiteY121" fmla="*/ 47625 h 4496940"/>
                <a:gd name="connsiteX122" fmla="*/ 2164102 w 4519987"/>
                <a:gd name="connsiteY122" fmla="*/ 38100 h 4496940"/>
                <a:gd name="connsiteX123" fmla="*/ 2392702 w 4519987"/>
                <a:gd name="connsiteY123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335677 w 4519987"/>
                <a:gd name="connsiteY37" fmla="*/ 4238625 h 4496940"/>
                <a:gd name="connsiteX38" fmla="*/ 3240427 w 4519987"/>
                <a:gd name="connsiteY38" fmla="*/ 4267200 h 4496940"/>
                <a:gd name="connsiteX39" fmla="*/ 3068977 w 4519987"/>
                <a:gd name="connsiteY39" fmla="*/ 4286250 h 4496940"/>
                <a:gd name="connsiteX40" fmla="*/ 2935627 w 4519987"/>
                <a:gd name="connsiteY40" fmla="*/ 4333875 h 4496940"/>
                <a:gd name="connsiteX41" fmla="*/ 2811802 w 4519987"/>
                <a:gd name="connsiteY41" fmla="*/ 4371975 h 4496940"/>
                <a:gd name="connsiteX42" fmla="*/ 2745127 w 4519987"/>
                <a:gd name="connsiteY42" fmla="*/ 4410075 h 4496940"/>
                <a:gd name="connsiteX43" fmla="*/ 2697502 w 4519987"/>
                <a:gd name="connsiteY43" fmla="*/ 4429125 h 4496940"/>
                <a:gd name="connsiteX44" fmla="*/ 2640352 w 4519987"/>
                <a:gd name="connsiteY44" fmla="*/ 4457700 h 4496940"/>
                <a:gd name="connsiteX45" fmla="*/ 2583202 w 4519987"/>
                <a:gd name="connsiteY45" fmla="*/ 4467225 h 4496940"/>
                <a:gd name="connsiteX46" fmla="*/ 2545102 w 4519987"/>
                <a:gd name="connsiteY46" fmla="*/ 4486275 h 4496940"/>
                <a:gd name="connsiteX47" fmla="*/ 2306977 w 4519987"/>
                <a:gd name="connsiteY47" fmla="*/ 4476750 h 4496940"/>
                <a:gd name="connsiteX48" fmla="*/ 2202202 w 4519987"/>
                <a:gd name="connsiteY48" fmla="*/ 4457700 h 4496940"/>
                <a:gd name="connsiteX49" fmla="*/ 2126002 w 4519987"/>
                <a:gd name="connsiteY49" fmla="*/ 4429125 h 4496940"/>
                <a:gd name="connsiteX50" fmla="*/ 1935502 w 4519987"/>
                <a:gd name="connsiteY50" fmla="*/ 4400550 h 4496940"/>
                <a:gd name="connsiteX51" fmla="*/ 1821202 w 4519987"/>
                <a:gd name="connsiteY51" fmla="*/ 4371975 h 4496940"/>
                <a:gd name="connsiteX52" fmla="*/ 1754527 w 4519987"/>
                <a:gd name="connsiteY52" fmla="*/ 4352925 h 4496940"/>
                <a:gd name="connsiteX53" fmla="*/ 1687852 w 4519987"/>
                <a:gd name="connsiteY53" fmla="*/ 4343400 h 4496940"/>
                <a:gd name="connsiteX54" fmla="*/ 1573552 w 4519987"/>
                <a:gd name="connsiteY54" fmla="*/ 4305300 h 4496940"/>
                <a:gd name="connsiteX55" fmla="*/ 1402102 w 4519987"/>
                <a:gd name="connsiteY55" fmla="*/ 4276725 h 4496940"/>
                <a:gd name="connsiteX56" fmla="*/ 1287802 w 4519987"/>
                <a:gd name="connsiteY56" fmla="*/ 4229100 h 4496940"/>
                <a:gd name="connsiteX57" fmla="*/ 1221127 w 4519987"/>
                <a:gd name="connsiteY57" fmla="*/ 4200525 h 4496940"/>
                <a:gd name="connsiteX58" fmla="*/ 1144927 w 4519987"/>
                <a:gd name="connsiteY58" fmla="*/ 4171950 h 4496940"/>
                <a:gd name="connsiteX59" fmla="*/ 1087777 w 4519987"/>
                <a:gd name="connsiteY59" fmla="*/ 4143375 h 4496940"/>
                <a:gd name="connsiteX60" fmla="*/ 1030627 w 4519987"/>
                <a:gd name="connsiteY60" fmla="*/ 4124325 h 4496940"/>
                <a:gd name="connsiteX61" fmla="*/ 925852 w 4519987"/>
                <a:gd name="connsiteY61" fmla="*/ 4067175 h 4496940"/>
                <a:gd name="connsiteX62" fmla="*/ 830602 w 4519987"/>
                <a:gd name="connsiteY62" fmla="*/ 3981450 h 4496940"/>
                <a:gd name="connsiteX63" fmla="*/ 763927 w 4519987"/>
                <a:gd name="connsiteY63" fmla="*/ 3914775 h 4496940"/>
                <a:gd name="connsiteX64" fmla="*/ 725827 w 4519987"/>
                <a:gd name="connsiteY64" fmla="*/ 3876675 h 4496940"/>
                <a:gd name="connsiteX65" fmla="*/ 697252 w 4519987"/>
                <a:gd name="connsiteY65" fmla="*/ 3838575 h 4496940"/>
                <a:gd name="connsiteX66" fmla="*/ 640102 w 4519987"/>
                <a:gd name="connsiteY66" fmla="*/ 3781425 h 4496940"/>
                <a:gd name="connsiteX67" fmla="*/ 611527 w 4519987"/>
                <a:gd name="connsiteY67" fmla="*/ 3733800 h 4496940"/>
                <a:gd name="connsiteX68" fmla="*/ 554377 w 4519987"/>
                <a:gd name="connsiteY68" fmla="*/ 3657600 h 4496940"/>
                <a:gd name="connsiteX69" fmla="*/ 525802 w 4519987"/>
                <a:gd name="connsiteY69" fmla="*/ 3609975 h 4496940"/>
                <a:gd name="connsiteX70" fmla="*/ 497227 w 4519987"/>
                <a:gd name="connsiteY70" fmla="*/ 3552825 h 4496940"/>
                <a:gd name="connsiteX71" fmla="*/ 440077 w 4519987"/>
                <a:gd name="connsiteY71" fmla="*/ 3495675 h 4496940"/>
                <a:gd name="connsiteX72" fmla="*/ 411502 w 4519987"/>
                <a:gd name="connsiteY72" fmla="*/ 3448050 h 4496940"/>
                <a:gd name="connsiteX73" fmla="*/ 278152 w 4519987"/>
                <a:gd name="connsiteY73" fmla="*/ 3257550 h 4496940"/>
                <a:gd name="connsiteX74" fmla="*/ 249577 w 4519987"/>
                <a:gd name="connsiteY74" fmla="*/ 3200400 h 4496940"/>
                <a:gd name="connsiteX75" fmla="*/ 240052 w 4519987"/>
                <a:gd name="connsiteY75" fmla="*/ 3162300 h 4496940"/>
                <a:gd name="connsiteX76" fmla="*/ 221002 w 4519987"/>
                <a:gd name="connsiteY76" fmla="*/ 3105150 h 4496940"/>
                <a:gd name="connsiteX77" fmla="*/ 173377 w 4519987"/>
                <a:gd name="connsiteY77" fmla="*/ 3019425 h 4496940"/>
                <a:gd name="connsiteX78" fmla="*/ 144802 w 4519987"/>
                <a:gd name="connsiteY78" fmla="*/ 2924175 h 4496940"/>
                <a:gd name="connsiteX79" fmla="*/ 68602 w 4519987"/>
                <a:gd name="connsiteY79" fmla="*/ 2724150 h 4496940"/>
                <a:gd name="connsiteX80" fmla="*/ 49552 w 4519987"/>
                <a:gd name="connsiteY80" fmla="*/ 2638425 h 4496940"/>
                <a:gd name="connsiteX81" fmla="*/ 40027 w 4519987"/>
                <a:gd name="connsiteY81" fmla="*/ 2562225 h 4496940"/>
                <a:gd name="connsiteX82" fmla="*/ 30502 w 4519987"/>
                <a:gd name="connsiteY82" fmla="*/ 2514600 h 4496940"/>
                <a:gd name="connsiteX83" fmla="*/ 11452 w 4519987"/>
                <a:gd name="connsiteY83" fmla="*/ 2400300 h 4496940"/>
                <a:gd name="connsiteX84" fmla="*/ 20977 w 4519987"/>
                <a:gd name="connsiteY84" fmla="*/ 1905000 h 4496940"/>
                <a:gd name="connsiteX85" fmla="*/ 30502 w 4519987"/>
                <a:gd name="connsiteY85" fmla="*/ 1838325 h 4496940"/>
                <a:gd name="connsiteX86" fmla="*/ 49552 w 4519987"/>
                <a:gd name="connsiteY86" fmla="*/ 1781175 h 4496940"/>
                <a:gd name="connsiteX87" fmla="*/ 59077 w 4519987"/>
                <a:gd name="connsiteY87" fmla="*/ 1743075 h 4496940"/>
                <a:gd name="connsiteX88" fmla="*/ 78127 w 4519987"/>
                <a:gd name="connsiteY88" fmla="*/ 1685925 h 4496940"/>
                <a:gd name="connsiteX89" fmla="*/ 87652 w 4519987"/>
                <a:gd name="connsiteY89" fmla="*/ 1638300 h 4496940"/>
                <a:gd name="connsiteX90" fmla="*/ 106702 w 4519987"/>
                <a:gd name="connsiteY90" fmla="*/ 1590675 h 4496940"/>
                <a:gd name="connsiteX91" fmla="*/ 135277 w 4519987"/>
                <a:gd name="connsiteY91" fmla="*/ 1504950 h 4496940"/>
                <a:gd name="connsiteX92" fmla="*/ 154327 w 4519987"/>
                <a:gd name="connsiteY92" fmla="*/ 1419225 h 4496940"/>
                <a:gd name="connsiteX93" fmla="*/ 230527 w 4519987"/>
                <a:gd name="connsiteY93" fmla="*/ 1276350 h 4496940"/>
                <a:gd name="connsiteX94" fmla="*/ 240052 w 4519987"/>
                <a:gd name="connsiteY94" fmla="*/ 1247775 h 4496940"/>
                <a:gd name="connsiteX95" fmla="*/ 268627 w 4519987"/>
                <a:gd name="connsiteY95" fmla="*/ 1200150 h 4496940"/>
                <a:gd name="connsiteX96" fmla="*/ 287677 w 4519987"/>
                <a:gd name="connsiteY96" fmla="*/ 1152525 h 4496940"/>
                <a:gd name="connsiteX97" fmla="*/ 316252 w 4519987"/>
                <a:gd name="connsiteY97" fmla="*/ 1114425 h 4496940"/>
                <a:gd name="connsiteX98" fmla="*/ 363877 w 4519987"/>
                <a:gd name="connsiteY98" fmla="*/ 1038225 h 4496940"/>
                <a:gd name="connsiteX99" fmla="*/ 382927 w 4519987"/>
                <a:gd name="connsiteY99" fmla="*/ 1009650 h 4496940"/>
                <a:gd name="connsiteX100" fmla="*/ 440077 w 4519987"/>
                <a:gd name="connsiteY100" fmla="*/ 904875 h 4496940"/>
                <a:gd name="connsiteX101" fmla="*/ 478177 w 4519987"/>
                <a:gd name="connsiteY101" fmla="*/ 857250 h 4496940"/>
                <a:gd name="connsiteX102" fmla="*/ 497227 w 4519987"/>
                <a:gd name="connsiteY102" fmla="*/ 828675 h 4496940"/>
                <a:gd name="connsiteX103" fmla="*/ 535327 w 4519987"/>
                <a:gd name="connsiteY103" fmla="*/ 800100 h 4496940"/>
                <a:gd name="connsiteX104" fmla="*/ 602002 w 4519987"/>
                <a:gd name="connsiteY104" fmla="*/ 733425 h 4496940"/>
                <a:gd name="connsiteX105" fmla="*/ 668677 w 4519987"/>
                <a:gd name="connsiteY105" fmla="*/ 676275 h 4496940"/>
                <a:gd name="connsiteX106" fmla="*/ 697252 w 4519987"/>
                <a:gd name="connsiteY106" fmla="*/ 657225 h 4496940"/>
                <a:gd name="connsiteX107" fmla="*/ 840127 w 4519987"/>
                <a:gd name="connsiteY107" fmla="*/ 533400 h 4496940"/>
                <a:gd name="connsiteX108" fmla="*/ 887752 w 4519987"/>
                <a:gd name="connsiteY108" fmla="*/ 504825 h 4496940"/>
                <a:gd name="connsiteX109" fmla="*/ 1167152 w 4519987"/>
                <a:gd name="connsiteY109" fmla="*/ 311150 h 4496940"/>
                <a:gd name="connsiteX110" fmla="*/ 1268752 w 4519987"/>
                <a:gd name="connsiteY110" fmla="*/ 285750 h 4496940"/>
                <a:gd name="connsiteX111" fmla="*/ 1411627 w 4519987"/>
                <a:gd name="connsiteY111" fmla="*/ 190500 h 4496940"/>
                <a:gd name="connsiteX112" fmla="*/ 1449727 w 4519987"/>
                <a:gd name="connsiteY112" fmla="*/ 161925 h 4496940"/>
                <a:gd name="connsiteX113" fmla="*/ 1525927 w 4519987"/>
                <a:gd name="connsiteY113" fmla="*/ 152400 h 4496940"/>
                <a:gd name="connsiteX114" fmla="*/ 1583077 w 4519987"/>
                <a:gd name="connsiteY114" fmla="*/ 142875 h 4496940"/>
                <a:gd name="connsiteX115" fmla="*/ 1716427 w 4519987"/>
                <a:gd name="connsiteY115" fmla="*/ 123825 h 4496940"/>
                <a:gd name="connsiteX116" fmla="*/ 1811677 w 4519987"/>
                <a:gd name="connsiteY116" fmla="*/ 114300 h 4496940"/>
                <a:gd name="connsiteX117" fmla="*/ 1859302 w 4519987"/>
                <a:gd name="connsiteY117" fmla="*/ 104775 h 4496940"/>
                <a:gd name="connsiteX118" fmla="*/ 1916452 w 4519987"/>
                <a:gd name="connsiteY118" fmla="*/ 95250 h 4496940"/>
                <a:gd name="connsiteX119" fmla="*/ 2030752 w 4519987"/>
                <a:gd name="connsiteY119" fmla="*/ 66675 h 4496940"/>
                <a:gd name="connsiteX120" fmla="*/ 2097427 w 4519987"/>
                <a:gd name="connsiteY120" fmla="*/ 47625 h 4496940"/>
                <a:gd name="connsiteX121" fmla="*/ 2164102 w 4519987"/>
                <a:gd name="connsiteY121" fmla="*/ 38100 h 4496940"/>
                <a:gd name="connsiteX122" fmla="*/ 2392702 w 4519987"/>
                <a:gd name="connsiteY122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40427 w 4519987"/>
                <a:gd name="connsiteY37" fmla="*/ 426720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97502 w 4519987"/>
                <a:gd name="connsiteY42" fmla="*/ 4429125 h 4496940"/>
                <a:gd name="connsiteX43" fmla="*/ 2640352 w 4519987"/>
                <a:gd name="connsiteY43" fmla="*/ 4457700 h 4496940"/>
                <a:gd name="connsiteX44" fmla="*/ 2583202 w 4519987"/>
                <a:gd name="connsiteY44" fmla="*/ 4467225 h 4496940"/>
                <a:gd name="connsiteX45" fmla="*/ 2545102 w 4519987"/>
                <a:gd name="connsiteY45" fmla="*/ 4486275 h 4496940"/>
                <a:gd name="connsiteX46" fmla="*/ 2306977 w 4519987"/>
                <a:gd name="connsiteY46" fmla="*/ 4476750 h 4496940"/>
                <a:gd name="connsiteX47" fmla="*/ 2202202 w 4519987"/>
                <a:gd name="connsiteY47" fmla="*/ 4457700 h 4496940"/>
                <a:gd name="connsiteX48" fmla="*/ 2126002 w 4519987"/>
                <a:gd name="connsiteY48" fmla="*/ 4429125 h 4496940"/>
                <a:gd name="connsiteX49" fmla="*/ 1935502 w 4519987"/>
                <a:gd name="connsiteY49" fmla="*/ 4400550 h 4496940"/>
                <a:gd name="connsiteX50" fmla="*/ 1821202 w 4519987"/>
                <a:gd name="connsiteY50" fmla="*/ 4371975 h 4496940"/>
                <a:gd name="connsiteX51" fmla="*/ 1754527 w 4519987"/>
                <a:gd name="connsiteY51" fmla="*/ 4352925 h 4496940"/>
                <a:gd name="connsiteX52" fmla="*/ 1687852 w 4519987"/>
                <a:gd name="connsiteY52" fmla="*/ 4343400 h 4496940"/>
                <a:gd name="connsiteX53" fmla="*/ 1573552 w 4519987"/>
                <a:gd name="connsiteY53" fmla="*/ 4305300 h 4496940"/>
                <a:gd name="connsiteX54" fmla="*/ 1402102 w 4519987"/>
                <a:gd name="connsiteY54" fmla="*/ 4276725 h 4496940"/>
                <a:gd name="connsiteX55" fmla="*/ 1287802 w 4519987"/>
                <a:gd name="connsiteY55" fmla="*/ 4229100 h 4496940"/>
                <a:gd name="connsiteX56" fmla="*/ 1221127 w 4519987"/>
                <a:gd name="connsiteY56" fmla="*/ 4200525 h 4496940"/>
                <a:gd name="connsiteX57" fmla="*/ 1144927 w 4519987"/>
                <a:gd name="connsiteY57" fmla="*/ 4171950 h 4496940"/>
                <a:gd name="connsiteX58" fmla="*/ 1087777 w 4519987"/>
                <a:gd name="connsiteY58" fmla="*/ 4143375 h 4496940"/>
                <a:gd name="connsiteX59" fmla="*/ 1030627 w 4519987"/>
                <a:gd name="connsiteY59" fmla="*/ 4124325 h 4496940"/>
                <a:gd name="connsiteX60" fmla="*/ 925852 w 4519987"/>
                <a:gd name="connsiteY60" fmla="*/ 4067175 h 4496940"/>
                <a:gd name="connsiteX61" fmla="*/ 830602 w 4519987"/>
                <a:gd name="connsiteY61" fmla="*/ 3981450 h 4496940"/>
                <a:gd name="connsiteX62" fmla="*/ 763927 w 4519987"/>
                <a:gd name="connsiteY62" fmla="*/ 3914775 h 4496940"/>
                <a:gd name="connsiteX63" fmla="*/ 725827 w 4519987"/>
                <a:gd name="connsiteY63" fmla="*/ 3876675 h 4496940"/>
                <a:gd name="connsiteX64" fmla="*/ 697252 w 4519987"/>
                <a:gd name="connsiteY64" fmla="*/ 3838575 h 4496940"/>
                <a:gd name="connsiteX65" fmla="*/ 640102 w 4519987"/>
                <a:gd name="connsiteY65" fmla="*/ 3781425 h 4496940"/>
                <a:gd name="connsiteX66" fmla="*/ 611527 w 4519987"/>
                <a:gd name="connsiteY66" fmla="*/ 3733800 h 4496940"/>
                <a:gd name="connsiteX67" fmla="*/ 554377 w 4519987"/>
                <a:gd name="connsiteY67" fmla="*/ 3657600 h 4496940"/>
                <a:gd name="connsiteX68" fmla="*/ 525802 w 4519987"/>
                <a:gd name="connsiteY68" fmla="*/ 3609975 h 4496940"/>
                <a:gd name="connsiteX69" fmla="*/ 497227 w 4519987"/>
                <a:gd name="connsiteY69" fmla="*/ 3552825 h 4496940"/>
                <a:gd name="connsiteX70" fmla="*/ 440077 w 4519987"/>
                <a:gd name="connsiteY70" fmla="*/ 3495675 h 4496940"/>
                <a:gd name="connsiteX71" fmla="*/ 411502 w 4519987"/>
                <a:gd name="connsiteY71" fmla="*/ 3448050 h 4496940"/>
                <a:gd name="connsiteX72" fmla="*/ 278152 w 4519987"/>
                <a:gd name="connsiteY72" fmla="*/ 3257550 h 4496940"/>
                <a:gd name="connsiteX73" fmla="*/ 249577 w 4519987"/>
                <a:gd name="connsiteY73" fmla="*/ 3200400 h 4496940"/>
                <a:gd name="connsiteX74" fmla="*/ 240052 w 4519987"/>
                <a:gd name="connsiteY74" fmla="*/ 3162300 h 4496940"/>
                <a:gd name="connsiteX75" fmla="*/ 221002 w 4519987"/>
                <a:gd name="connsiteY75" fmla="*/ 3105150 h 4496940"/>
                <a:gd name="connsiteX76" fmla="*/ 173377 w 4519987"/>
                <a:gd name="connsiteY76" fmla="*/ 3019425 h 4496940"/>
                <a:gd name="connsiteX77" fmla="*/ 144802 w 4519987"/>
                <a:gd name="connsiteY77" fmla="*/ 2924175 h 4496940"/>
                <a:gd name="connsiteX78" fmla="*/ 68602 w 4519987"/>
                <a:gd name="connsiteY78" fmla="*/ 2724150 h 4496940"/>
                <a:gd name="connsiteX79" fmla="*/ 49552 w 4519987"/>
                <a:gd name="connsiteY79" fmla="*/ 2638425 h 4496940"/>
                <a:gd name="connsiteX80" fmla="*/ 40027 w 4519987"/>
                <a:gd name="connsiteY80" fmla="*/ 2562225 h 4496940"/>
                <a:gd name="connsiteX81" fmla="*/ 30502 w 4519987"/>
                <a:gd name="connsiteY81" fmla="*/ 2514600 h 4496940"/>
                <a:gd name="connsiteX82" fmla="*/ 11452 w 4519987"/>
                <a:gd name="connsiteY82" fmla="*/ 2400300 h 4496940"/>
                <a:gd name="connsiteX83" fmla="*/ 20977 w 4519987"/>
                <a:gd name="connsiteY83" fmla="*/ 1905000 h 4496940"/>
                <a:gd name="connsiteX84" fmla="*/ 30502 w 4519987"/>
                <a:gd name="connsiteY84" fmla="*/ 1838325 h 4496940"/>
                <a:gd name="connsiteX85" fmla="*/ 49552 w 4519987"/>
                <a:gd name="connsiteY85" fmla="*/ 1781175 h 4496940"/>
                <a:gd name="connsiteX86" fmla="*/ 59077 w 4519987"/>
                <a:gd name="connsiteY86" fmla="*/ 1743075 h 4496940"/>
                <a:gd name="connsiteX87" fmla="*/ 78127 w 4519987"/>
                <a:gd name="connsiteY87" fmla="*/ 1685925 h 4496940"/>
                <a:gd name="connsiteX88" fmla="*/ 87652 w 4519987"/>
                <a:gd name="connsiteY88" fmla="*/ 1638300 h 4496940"/>
                <a:gd name="connsiteX89" fmla="*/ 106702 w 4519987"/>
                <a:gd name="connsiteY89" fmla="*/ 1590675 h 4496940"/>
                <a:gd name="connsiteX90" fmla="*/ 135277 w 4519987"/>
                <a:gd name="connsiteY90" fmla="*/ 1504950 h 4496940"/>
                <a:gd name="connsiteX91" fmla="*/ 154327 w 4519987"/>
                <a:gd name="connsiteY91" fmla="*/ 1419225 h 4496940"/>
                <a:gd name="connsiteX92" fmla="*/ 230527 w 4519987"/>
                <a:gd name="connsiteY92" fmla="*/ 1276350 h 4496940"/>
                <a:gd name="connsiteX93" fmla="*/ 240052 w 4519987"/>
                <a:gd name="connsiteY93" fmla="*/ 1247775 h 4496940"/>
                <a:gd name="connsiteX94" fmla="*/ 268627 w 4519987"/>
                <a:gd name="connsiteY94" fmla="*/ 1200150 h 4496940"/>
                <a:gd name="connsiteX95" fmla="*/ 287677 w 4519987"/>
                <a:gd name="connsiteY95" fmla="*/ 1152525 h 4496940"/>
                <a:gd name="connsiteX96" fmla="*/ 316252 w 4519987"/>
                <a:gd name="connsiteY96" fmla="*/ 1114425 h 4496940"/>
                <a:gd name="connsiteX97" fmla="*/ 363877 w 4519987"/>
                <a:gd name="connsiteY97" fmla="*/ 1038225 h 4496940"/>
                <a:gd name="connsiteX98" fmla="*/ 382927 w 4519987"/>
                <a:gd name="connsiteY98" fmla="*/ 1009650 h 4496940"/>
                <a:gd name="connsiteX99" fmla="*/ 440077 w 4519987"/>
                <a:gd name="connsiteY99" fmla="*/ 904875 h 4496940"/>
                <a:gd name="connsiteX100" fmla="*/ 478177 w 4519987"/>
                <a:gd name="connsiteY100" fmla="*/ 857250 h 4496940"/>
                <a:gd name="connsiteX101" fmla="*/ 497227 w 4519987"/>
                <a:gd name="connsiteY101" fmla="*/ 828675 h 4496940"/>
                <a:gd name="connsiteX102" fmla="*/ 535327 w 4519987"/>
                <a:gd name="connsiteY102" fmla="*/ 800100 h 4496940"/>
                <a:gd name="connsiteX103" fmla="*/ 602002 w 4519987"/>
                <a:gd name="connsiteY103" fmla="*/ 733425 h 4496940"/>
                <a:gd name="connsiteX104" fmla="*/ 668677 w 4519987"/>
                <a:gd name="connsiteY104" fmla="*/ 676275 h 4496940"/>
                <a:gd name="connsiteX105" fmla="*/ 697252 w 4519987"/>
                <a:gd name="connsiteY105" fmla="*/ 657225 h 4496940"/>
                <a:gd name="connsiteX106" fmla="*/ 840127 w 4519987"/>
                <a:gd name="connsiteY106" fmla="*/ 533400 h 4496940"/>
                <a:gd name="connsiteX107" fmla="*/ 887752 w 4519987"/>
                <a:gd name="connsiteY107" fmla="*/ 504825 h 4496940"/>
                <a:gd name="connsiteX108" fmla="*/ 1167152 w 4519987"/>
                <a:gd name="connsiteY108" fmla="*/ 311150 h 4496940"/>
                <a:gd name="connsiteX109" fmla="*/ 1268752 w 4519987"/>
                <a:gd name="connsiteY109" fmla="*/ 285750 h 4496940"/>
                <a:gd name="connsiteX110" fmla="*/ 1411627 w 4519987"/>
                <a:gd name="connsiteY110" fmla="*/ 190500 h 4496940"/>
                <a:gd name="connsiteX111" fmla="*/ 1449727 w 4519987"/>
                <a:gd name="connsiteY111" fmla="*/ 161925 h 4496940"/>
                <a:gd name="connsiteX112" fmla="*/ 1525927 w 4519987"/>
                <a:gd name="connsiteY112" fmla="*/ 152400 h 4496940"/>
                <a:gd name="connsiteX113" fmla="*/ 1583077 w 4519987"/>
                <a:gd name="connsiteY113" fmla="*/ 142875 h 4496940"/>
                <a:gd name="connsiteX114" fmla="*/ 1716427 w 4519987"/>
                <a:gd name="connsiteY114" fmla="*/ 123825 h 4496940"/>
                <a:gd name="connsiteX115" fmla="*/ 1811677 w 4519987"/>
                <a:gd name="connsiteY115" fmla="*/ 114300 h 4496940"/>
                <a:gd name="connsiteX116" fmla="*/ 1859302 w 4519987"/>
                <a:gd name="connsiteY116" fmla="*/ 104775 h 4496940"/>
                <a:gd name="connsiteX117" fmla="*/ 1916452 w 4519987"/>
                <a:gd name="connsiteY117" fmla="*/ 95250 h 4496940"/>
                <a:gd name="connsiteX118" fmla="*/ 2030752 w 4519987"/>
                <a:gd name="connsiteY118" fmla="*/ 66675 h 4496940"/>
                <a:gd name="connsiteX119" fmla="*/ 2097427 w 4519987"/>
                <a:gd name="connsiteY119" fmla="*/ 47625 h 4496940"/>
                <a:gd name="connsiteX120" fmla="*/ 2164102 w 4519987"/>
                <a:gd name="connsiteY120" fmla="*/ 38100 h 4496940"/>
                <a:gd name="connsiteX121" fmla="*/ 2392702 w 4519987"/>
                <a:gd name="connsiteY121" fmla="*/ 28575 h 4496940"/>
                <a:gd name="connsiteX0" fmla="*/ 2297452 w 4519987"/>
                <a:gd name="connsiteY0" fmla="*/ 0 h 4496940"/>
                <a:gd name="connsiteX1" fmla="*/ 2421277 w 4519987"/>
                <a:gd name="connsiteY1" fmla="*/ 28575 h 4496940"/>
                <a:gd name="connsiteX2" fmla="*/ 2497477 w 4519987"/>
                <a:gd name="connsiteY2" fmla="*/ 47625 h 4496940"/>
                <a:gd name="connsiteX3" fmla="*/ 2754652 w 4519987"/>
                <a:gd name="connsiteY3" fmla="*/ 66675 h 4496940"/>
                <a:gd name="connsiteX4" fmla="*/ 2830852 w 4519987"/>
                <a:gd name="connsiteY4" fmla="*/ 76200 h 4496940"/>
                <a:gd name="connsiteX5" fmla="*/ 2916577 w 4519987"/>
                <a:gd name="connsiteY5" fmla="*/ 85725 h 4496940"/>
                <a:gd name="connsiteX6" fmla="*/ 2973727 w 4519987"/>
                <a:gd name="connsiteY6" fmla="*/ 114300 h 4496940"/>
                <a:gd name="connsiteX7" fmla="*/ 3011827 w 4519987"/>
                <a:gd name="connsiteY7" fmla="*/ 123825 h 4496940"/>
                <a:gd name="connsiteX8" fmla="*/ 3135652 w 4519987"/>
                <a:gd name="connsiteY8" fmla="*/ 171450 h 4496940"/>
                <a:gd name="connsiteX9" fmla="*/ 3173752 w 4519987"/>
                <a:gd name="connsiteY9" fmla="*/ 190500 h 4496940"/>
                <a:gd name="connsiteX10" fmla="*/ 3240427 w 4519987"/>
                <a:gd name="connsiteY10" fmla="*/ 228600 h 4496940"/>
                <a:gd name="connsiteX11" fmla="*/ 3269002 w 4519987"/>
                <a:gd name="connsiteY11" fmla="*/ 238125 h 4496940"/>
                <a:gd name="connsiteX12" fmla="*/ 3297577 w 4519987"/>
                <a:gd name="connsiteY12" fmla="*/ 257175 h 4496940"/>
                <a:gd name="connsiteX13" fmla="*/ 3326152 w 4519987"/>
                <a:gd name="connsiteY13" fmla="*/ 266700 h 4496940"/>
                <a:gd name="connsiteX14" fmla="*/ 3354727 w 4519987"/>
                <a:gd name="connsiteY14" fmla="*/ 285750 h 4496940"/>
                <a:gd name="connsiteX15" fmla="*/ 3421402 w 4519987"/>
                <a:gd name="connsiteY15" fmla="*/ 323850 h 4496940"/>
                <a:gd name="connsiteX16" fmla="*/ 3469027 w 4519987"/>
                <a:gd name="connsiteY16" fmla="*/ 361950 h 4496940"/>
                <a:gd name="connsiteX17" fmla="*/ 3516652 w 4519987"/>
                <a:gd name="connsiteY17" fmla="*/ 390525 h 4496940"/>
                <a:gd name="connsiteX18" fmla="*/ 3630952 w 4519987"/>
                <a:gd name="connsiteY18" fmla="*/ 485775 h 4496940"/>
                <a:gd name="connsiteX19" fmla="*/ 3745252 w 4519987"/>
                <a:gd name="connsiteY19" fmla="*/ 542925 h 4496940"/>
                <a:gd name="connsiteX20" fmla="*/ 3811927 w 4519987"/>
                <a:gd name="connsiteY20" fmla="*/ 581025 h 4496940"/>
                <a:gd name="connsiteX21" fmla="*/ 4027827 w 4519987"/>
                <a:gd name="connsiteY21" fmla="*/ 819150 h 4496940"/>
                <a:gd name="connsiteX22" fmla="*/ 4164352 w 4519987"/>
                <a:gd name="connsiteY22" fmla="*/ 990600 h 4496940"/>
                <a:gd name="connsiteX23" fmla="*/ 4250077 w 4519987"/>
                <a:gd name="connsiteY23" fmla="*/ 1143000 h 4496940"/>
                <a:gd name="connsiteX24" fmla="*/ 4307227 w 4519987"/>
                <a:gd name="connsiteY24" fmla="*/ 1266825 h 4496940"/>
                <a:gd name="connsiteX25" fmla="*/ 4345327 w 4519987"/>
                <a:gd name="connsiteY25" fmla="*/ 1362075 h 4496940"/>
                <a:gd name="connsiteX26" fmla="*/ 4392952 w 4519987"/>
                <a:gd name="connsiteY26" fmla="*/ 1552575 h 4496940"/>
                <a:gd name="connsiteX27" fmla="*/ 4431052 w 4519987"/>
                <a:gd name="connsiteY27" fmla="*/ 1685925 h 4496940"/>
                <a:gd name="connsiteX28" fmla="*/ 4519952 w 4519987"/>
                <a:gd name="connsiteY28" fmla="*/ 2181225 h 4496940"/>
                <a:gd name="connsiteX29" fmla="*/ 4446927 w 4519987"/>
                <a:gd name="connsiteY29" fmla="*/ 2768600 h 4496940"/>
                <a:gd name="connsiteX30" fmla="*/ 4383427 w 4519987"/>
                <a:gd name="connsiteY30" fmla="*/ 2990850 h 4496940"/>
                <a:gd name="connsiteX31" fmla="*/ 4278652 w 4519987"/>
                <a:gd name="connsiteY31" fmla="*/ 3248025 h 4496940"/>
                <a:gd name="connsiteX32" fmla="*/ 4183402 w 4519987"/>
                <a:gd name="connsiteY32" fmla="*/ 3400425 h 4496940"/>
                <a:gd name="connsiteX33" fmla="*/ 4059577 w 4519987"/>
                <a:gd name="connsiteY33" fmla="*/ 3533775 h 4496940"/>
                <a:gd name="connsiteX34" fmla="*/ 3954802 w 4519987"/>
                <a:gd name="connsiteY34" fmla="*/ 3648075 h 4496940"/>
                <a:gd name="connsiteX35" fmla="*/ 3659527 w 4519987"/>
                <a:gd name="connsiteY35" fmla="*/ 3971925 h 4496940"/>
                <a:gd name="connsiteX36" fmla="*/ 3516652 w 4519987"/>
                <a:gd name="connsiteY36" fmla="*/ 4083050 h 4496940"/>
                <a:gd name="connsiteX37" fmla="*/ 3221377 w 4519987"/>
                <a:gd name="connsiteY37" fmla="*/ 4222750 h 4496940"/>
                <a:gd name="connsiteX38" fmla="*/ 3068977 w 4519987"/>
                <a:gd name="connsiteY38" fmla="*/ 4286250 h 4496940"/>
                <a:gd name="connsiteX39" fmla="*/ 2935627 w 4519987"/>
                <a:gd name="connsiteY39" fmla="*/ 4333875 h 4496940"/>
                <a:gd name="connsiteX40" fmla="*/ 2811802 w 4519987"/>
                <a:gd name="connsiteY40" fmla="*/ 4371975 h 4496940"/>
                <a:gd name="connsiteX41" fmla="*/ 2745127 w 4519987"/>
                <a:gd name="connsiteY41" fmla="*/ 4410075 h 4496940"/>
                <a:gd name="connsiteX42" fmla="*/ 2640352 w 4519987"/>
                <a:gd name="connsiteY42" fmla="*/ 4457700 h 4496940"/>
                <a:gd name="connsiteX43" fmla="*/ 2583202 w 4519987"/>
                <a:gd name="connsiteY43" fmla="*/ 4467225 h 4496940"/>
                <a:gd name="connsiteX44" fmla="*/ 2545102 w 4519987"/>
                <a:gd name="connsiteY44" fmla="*/ 4486275 h 4496940"/>
                <a:gd name="connsiteX45" fmla="*/ 2306977 w 4519987"/>
                <a:gd name="connsiteY45" fmla="*/ 4476750 h 4496940"/>
                <a:gd name="connsiteX46" fmla="*/ 2202202 w 4519987"/>
                <a:gd name="connsiteY46" fmla="*/ 4457700 h 4496940"/>
                <a:gd name="connsiteX47" fmla="*/ 2126002 w 4519987"/>
                <a:gd name="connsiteY47" fmla="*/ 4429125 h 4496940"/>
                <a:gd name="connsiteX48" fmla="*/ 1935502 w 4519987"/>
                <a:gd name="connsiteY48" fmla="*/ 4400550 h 4496940"/>
                <a:gd name="connsiteX49" fmla="*/ 1821202 w 4519987"/>
                <a:gd name="connsiteY49" fmla="*/ 4371975 h 4496940"/>
                <a:gd name="connsiteX50" fmla="*/ 1754527 w 4519987"/>
                <a:gd name="connsiteY50" fmla="*/ 4352925 h 4496940"/>
                <a:gd name="connsiteX51" fmla="*/ 1687852 w 4519987"/>
                <a:gd name="connsiteY51" fmla="*/ 4343400 h 4496940"/>
                <a:gd name="connsiteX52" fmla="*/ 1573552 w 4519987"/>
                <a:gd name="connsiteY52" fmla="*/ 4305300 h 4496940"/>
                <a:gd name="connsiteX53" fmla="*/ 1402102 w 4519987"/>
                <a:gd name="connsiteY53" fmla="*/ 4276725 h 4496940"/>
                <a:gd name="connsiteX54" fmla="*/ 1287802 w 4519987"/>
                <a:gd name="connsiteY54" fmla="*/ 4229100 h 4496940"/>
                <a:gd name="connsiteX55" fmla="*/ 1221127 w 4519987"/>
                <a:gd name="connsiteY55" fmla="*/ 4200525 h 4496940"/>
                <a:gd name="connsiteX56" fmla="*/ 1144927 w 4519987"/>
                <a:gd name="connsiteY56" fmla="*/ 4171950 h 4496940"/>
                <a:gd name="connsiteX57" fmla="*/ 1087777 w 4519987"/>
                <a:gd name="connsiteY57" fmla="*/ 4143375 h 4496940"/>
                <a:gd name="connsiteX58" fmla="*/ 1030627 w 4519987"/>
                <a:gd name="connsiteY58" fmla="*/ 4124325 h 4496940"/>
                <a:gd name="connsiteX59" fmla="*/ 925852 w 4519987"/>
                <a:gd name="connsiteY59" fmla="*/ 4067175 h 4496940"/>
                <a:gd name="connsiteX60" fmla="*/ 830602 w 4519987"/>
                <a:gd name="connsiteY60" fmla="*/ 3981450 h 4496940"/>
                <a:gd name="connsiteX61" fmla="*/ 763927 w 4519987"/>
                <a:gd name="connsiteY61" fmla="*/ 3914775 h 4496940"/>
                <a:gd name="connsiteX62" fmla="*/ 725827 w 4519987"/>
                <a:gd name="connsiteY62" fmla="*/ 3876675 h 4496940"/>
                <a:gd name="connsiteX63" fmla="*/ 697252 w 4519987"/>
                <a:gd name="connsiteY63" fmla="*/ 3838575 h 4496940"/>
                <a:gd name="connsiteX64" fmla="*/ 640102 w 4519987"/>
                <a:gd name="connsiteY64" fmla="*/ 3781425 h 4496940"/>
                <a:gd name="connsiteX65" fmla="*/ 611527 w 4519987"/>
                <a:gd name="connsiteY65" fmla="*/ 3733800 h 4496940"/>
                <a:gd name="connsiteX66" fmla="*/ 554377 w 4519987"/>
                <a:gd name="connsiteY66" fmla="*/ 3657600 h 4496940"/>
                <a:gd name="connsiteX67" fmla="*/ 525802 w 4519987"/>
                <a:gd name="connsiteY67" fmla="*/ 3609975 h 4496940"/>
                <a:gd name="connsiteX68" fmla="*/ 497227 w 4519987"/>
                <a:gd name="connsiteY68" fmla="*/ 3552825 h 4496940"/>
                <a:gd name="connsiteX69" fmla="*/ 440077 w 4519987"/>
                <a:gd name="connsiteY69" fmla="*/ 3495675 h 4496940"/>
                <a:gd name="connsiteX70" fmla="*/ 411502 w 4519987"/>
                <a:gd name="connsiteY70" fmla="*/ 3448050 h 4496940"/>
                <a:gd name="connsiteX71" fmla="*/ 278152 w 4519987"/>
                <a:gd name="connsiteY71" fmla="*/ 3257550 h 4496940"/>
                <a:gd name="connsiteX72" fmla="*/ 249577 w 4519987"/>
                <a:gd name="connsiteY72" fmla="*/ 3200400 h 4496940"/>
                <a:gd name="connsiteX73" fmla="*/ 240052 w 4519987"/>
                <a:gd name="connsiteY73" fmla="*/ 3162300 h 4496940"/>
                <a:gd name="connsiteX74" fmla="*/ 221002 w 4519987"/>
                <a:gd name="connsiteY74" fmla="*/ 3105150 h 4496940"/>
                <a:gd name="connsiteX75" fmla="*/ 173377 w 4519987"/>
                <a:gd name="connsiteY75" fmla="*/ 3019425 h 4496940"/>
                <a:gd name="connsiteX76" fmla="*/ 144802 w 4519987"/>
                <a:gd name="connsiteY76" fmla="*/ 2924175 h 4496940"/>
                <a:gd name="connsiteX77" fmla="*/ 68602 w 4519987"/>
                <a:gd name="connsiteY77" fmla="*/ 2724150 h 4496940"/>
                <a:gd name="connsiteX78" fmla="*/ 49552 w 4519987"/>
                <a:gd name="connsiteY78" fmla="*/ 2638425 h 4496940"/>
                <a:gd name="connsiteX79" fmla="*/ 40027 w 4519987"/>
                <a:gd name="connsiteY79" fmla="*/ 2562225 h 4496940"/>
                <a:gd name="connsiteX80" fmla="*/ 30502 w 4519987"/>
                <a:gd name="connsiteY80" fmla="*/ 2514600 h 4496940"/>
                <a:gd name="connsiteX81" fmla="*/ 11452 w 4519987"/>
                <a:gd name="connsiteY81" fmla="*/ 2400300 h 4496940"/>
                <a:gd name="connsiteX82" fmla="*/ 20977 w 4519987"/>
                <a:gd name="connsiteY82" fmla="*/ 1905000 h 4496940"/>
                <a:gd name="connsiteX83" fmla="*/ 30502 w 4519987"/>
                <a:gd name="connsiteY83" fmla="*/ 1838325 h 4496940"/>
                <a:gd name="connsiteX84" fmla="*/ 49552 w 4519987"/>
                <a:gd name="connsiteY84" fmla="*/ 1781175 h 4496940"/>
                <a:gd name="connsiteX85" fmla="*/ 59077 w 4519987"/>
                <a:gd name="connsiteY85" fmla="*/ 1743075 h 4496940"/>
                <a:gd name="connsiteX86" fmla="*/ 78127 w 4519987"/>
                <a:gd name="connsiteY86" fmla="*/ 1685925 h 4496940"/>
                <a:gd name="connsiteX87" fmla="*/ 87652 w 4519987"/>
                <a:gd name="connsiteY87" fmla="*/ 1638300 h 4496940"/>
                <a:gd name="connsiteX88" fmla="*/ 106702 w 4519987"/>
                <a:gd name="connsiteY88" fmla="*/ 1590675 h 4496940"/>
                <a:gd name="connsiteX89" fmla="*/ 135277 w 4519987"/>
                <a:gd name="connsiteY89" fmla="*/ 1504950 h 4496940"/>
                <a:gd name="connsiteX90" fmla="*/ 154327 w 4519987"/>
                <a:gd name="connsiteY90" fmla="*/ 1419225 h 4496940"/>
                <a:gd name="connsiteX91" fmla="*/ 230527 w 4519987"/>
                <a:gd name="connsiteY91" fmla="*/ 1276350 h 4496940"/>
                <a:gd name="connsiteX92" fmla="*/ 240052 w 4519987"/>
                <a:gd name="connsiteY92" fmla="*/ 1247775 h 4496940"/>
                <a:gd name="connsiteX93" fmla="*/ 268627 w 4519987"/>
                <a:gd name="connsiteY93" fmla="*/ 1200150 h 4496940"/>
                <a:gd name="connsiteX94" fmla="*/ 287677 w 4519987"/>
                <a:gd name="connsiteY94" fmla="*/ 1152525 h 4496940"/>
                <a:gd name="connsiteX95" fmla="*/ 316252 w 4519987"/>
                <a:gd name="connsiteY95" fmla="*/ 1114425 h 4496940"/>
                <a:gd name="connsiteX96" fmla="*/ 363877 w 4519987"/>
                <a:gd name="connsiteY96" fmla="*/ 1038225 h 4496940"/>
                <a:gd name="connsiteX97" fmla="*/ 382927 w 4519987"/>
                <a:gd name="connsiteY97" fmla="*/ 1009650 h 4496940"/>
                <a:gd name="connsiteX98" fmla="*/ 440077 w 4519987"/>
                <a:gd name="connsiteY98" fmla="*/ 904875 h 4496940"/>
                <a:gd name="connsiteX99" fmla="*/ 478177 w 4519987"/>
                <a:gd name="connsiteY99" fmla="*/ 857250 h 4496940"/>
                <a:gd name="connsiteX100" fmla="*/ 497227 w 4519987"/>
                <a:gd name="connsiteY100" fmla="*/ 828675 h 4496940"/>
                <a:gd name="connsiteX101" fmla="*/ 535327 w 4519987"/>
                <a:gd name="connsiteY101" fmla="*/ 800100 h 4496940"/>
                <a:gd name="connsiteX102" fmla="*/ 602002 w 4519987"/>
                <a:gd name="connsiteY102" fmla="*/ 733425 h 4496940"/>
                <a:gd name="connsiteX103" fmla="*/ 668677 w 4519987"/>
                <a:gd name="connsiteY103" fmla="*/ 676275 h 4496940"/>
                <a:gd name="connsiteX104" fmla="*/ 697252 w 4519987"/>
                <a:gd name="connsiteY104" fmla="*/ 657225 h 4496940"/>
                <a:gd name="connsiteX105" fmla="*/ 840127 w 4519987"/>
                <a:gd name="connsiteY105" fmla="*/ 533400 h 4496940"/>
                <a:gd name="connsiteX106" fmla="*/ 887752 w 4519987"/>
                <a:gd name="connsiteY106" fmla="*/ 504825 h 4496940"/>
                <a:gd name="connsiteX107" fmla="*/ 1167152 w 4519987"/>
                <a:gd name="connsiteY107" fmla="*/ 311150 h 4496940"/>
                <a:gd name="connsiteX108" fmla="*/ 1268752 w 4519987"/>
                <a:gd name="connsiteY108" fmla="*/ 285750 h 4496940"/>
                <a:gd name="connsiteX109" fmla="*/ 1411627 w 4519987"/>
                <a:gd name="connsiteY109" fmla="*/ 190500 h 4496940"/>
                <a:gd name="connsiteX110" fmla="*/ 1449727 w 4519987"/>
                <a:gd name="connsiteY110" fmla="*/ 161925 h 4496940"/>
                <a:gd name="connsiteX111" fmla="*/ 1525927 w 4519987"/>
                <a:gd name="connsiteY111" fmla="*/ 152400 h 4496940"/>
                <a:gd name="connsiteX112" fmla="*/ 1583077 w 4519987"/>
                <a:gd name="connsiteY112" fmla="*/ 142875 h 4496940"/>
                <a:gd name="connsiteX113" fmla="*/ 1716427 w 4519987"/>
                <a:gd name="connsiteY113" fmla="*/ 123825 h 4496940"/>
                <a:gd name="connsiteX114" fmla="*/ 1811677 w 4519987"/>
                <a:gd name="connsiteY114" fmla="*/ 114300 h 4496940"/>
                <a:gd name="connsiteX115" fmla="*/ 1859302 w 4519987"/>
                <a:gd name="connsiteY115" fmla="*/ 104775 h 4496940"/>
                <a:gd name="connsiteX116" fmla="*/ 1916452 w 4519987"/>
                <a:gd name="connsiteY116" fmla="*/ 95250 h 4496940"/>
                <a:gd name="connsiteX117" fmla="*/ 2030752 w 4519987"/>
                <a:gd name="connsiteY117" fmla="*/ 66675 h 4496940"/>
                <a:gd name="connsiteX118" fmla="*/ 2097427 w 4519987"/>
                <a:gd name="connsiteY118" fmla="*/ 47625 h 4496940"/>
                <a:gd name="connsiteX119" fmla="*/ 2164102 w 4519987"/>
                <a:gd name="connsiteY119" fmla="*/ 38100 h 4496940"/>
                <a:gd name="connsiteX120" fmla="*/ 2392702 w 4519987"/>
                <a:gd name="connsiteY120" fmla="*/ 28575 h 4496940"/>
                <a:gd name="connsiteX0" fmla="*/ 2297452 w 4519987"/>
                <a:gd name="connsiteY0" fmla="*/ 0 h 4487372"/>
                <a:gd name="connsiteX1" fmla="*/ 2421277 w 4519987"/>
                <a:gd name="connsiteY1" fmla="*/ 28575 h 4487372"/>
                <a:gd name="connsiteX2" fmla="*/ 2497477 w 4519987"/>
                <a:gd name="connsiteY2" fmla="*/ 47625 h 4487372"/>
                <a:gd name="connsiteX3" fmla="*/ 2754652 w 4519987"/>
                <a:gd name="connsiteY3" fmla="*/ 66675 h 4487372"/>
                <a:gd name="connsiteX4" fmla="*/ 2830852 w 4519987"/>
                <a:gd name="connsiteY4" fmla="*/ 76200 h 4487372"/>
                <a:gd name="connsiteX5" fmla="*/ 2916577 w 4519987"/>
                <a:gd name="connsiteY5" fmla="*/ 85725 h 4487372"/>
                <a:gd name="connsiteX6" fmla="*/ 2973727 w 4519987"/>
                <a:gd name="connsiteY6" fmla="*/ 114300 h 4487372"/>
                <a:gd name="connsiteX7" fmla="*/ 3011827 w 4519987"/>
                <a:gd name="connsiteY7" fmla="*/ 123825 h 4487372"/>
                <a:gd name="connsiteX8" fmla="*/ 3135652 w 4519987"/>
                <a:gd name="connsiteY8" fmla="*/ 171450 h 4487372"/>
                <a:gd name="connsiteX9" fmla="*/ 3173752 w 4519987"/>
                <a:gd name="connsiteY9" fmla="*/ 190500 h 4487372"/>
                <a:gd name="connsiteX10" fmla="*/ 3240427 w 4519987"/>
                <a:gd name="connsiteY10" fmla="*/ 228600 h 4487372"/>
                <a:gd name="connsiteX11" fmla="*/ 3269002 w 4519987"/>
                <a:gd name="connsiteY11" fmla="*/ 238125 h 4487372"/>
                <a:gd name="connsiteX12" fmla="*/ 3297577 w 4519987"/>
                <a:gd name="connsiteY12" fmla="*/ 257175 h 4487372"/>
                <a:gd name="connsiteX13" fmla="*/ 3326152 w 4519987"/>
                <a:gd name="connsiteY13" fmla="*/ 266700 h 4487372"/>
                <a:gd name="connsiteX14" fmla="*/ 3354727 w 4519987"/>
                <a:gd name="connsiteY14" fmla="*/ 285750 h 4487372"/>
                <a:gd name="connsiteX15" fmla="*/ 3421402 w 4519987"/>
                <a:gd name="connsiteY15" fmla="*/ 323850 h 4487372"/>
                <a:gd name="connsiteX16" fmla="*/ 3469027 w 4519987"/>
                <a:gd name="connsiteY16" fmla="*/ 361950 h 4487372"/>
                <a:gd name="connsiteX17" fmla="*/ 3516652 w 4519987"/>
                <a:gd name="connsiteY17" fmla="*/ 390525 h 4487372"/>
                <a:gd name="connsiteX18" fmla="*/ 3630952 w 4519987"/>
                <a:gd name="connsiteY18" fmla="*/ 485775 h 4487372"/>
                <a:gd name="connsiteX19" fmla="*/ 3745252 w 4519987"/>
                <a:gd name="connsiteY19" fmla="*/ 542925 h 4487372"/>
                <a:gd name="connsiteX20" fmla="*/ 3811927 w 4519987"/>
                <a:gd name="connsiteY20" fmla="*/ 581025 h 4487372"/>
                <a:gd name="connsiteX21" fmla="*/ 4027827 w 4519987"/>
                <a:gd name="connsiteY21" fmla="*/ 819150 h 4487372"/>
                <a:gd name="connsiteX22" fmla="*/ 4164352 w 4519987"/>
                <a:gd name="connsiteY22" fmla="*/ 990600 h 4487372"/>
                <a:gd name="connsiteX23" fmla="*/ 4250077 w 4519987"/>
                <a:gd name="connsiteY23" fmla="*/ 1143000 h 4487372"/>
                <a:gd name="connsiteX24" fmla="*/ 4307227 w 4519987"/>
                <a:gd name="connsiteY24" fmla="*/ 1266825 h 4487372"/>
                <a:gd name="connsiteX25" fmla="*/ 4345327 w 4519987"/>
                <a:gd name="connsiteY25" fmla="*/ 1362075 h 4487372"/>
                <a:gd name="connsiteX26" fmla="*/ 4392952 w 4519987"/>
                <a:gd name="connsiteY26" fmla="*/ 1552575 h 4487372"/>
                <a:gd name="connsiteX27" fmla="*/ 4431052 w 4519987"/>
                <a:gd name="connsiteY27" fmla="*/ 1685925 h 4487372"/>
                <a:gd name="connsiteX28" fmla="*/ 4519952 w 4519987"/>
                <a:gd name="connsiteY28" fmla="*/ 2181225 h 4487372"/>
                <a:gd name="connsiteX29" fmla="*/ 4446927 w 4519987"/>
                <a:gd name="connsiteY29" fmla="*/ 2768600 h 4487372"/>
                <a:gd name="connsiteX30" fmla="*/ 4383427 w 4519987"/>
                <a:gd name="connsiteY30" fmla="*/ 2990850 h 4487372"/>
                <a:gd name="connsiteX31" fmla="*/ 4278652 w 4519987"/>
                <a:gd name="connsiteY31" fmla="*/ 3248025 h 4487372"/>
                <a:gd name="connsiteX32" fmla="*/ 4183402 w 4519987"/>
                <a:gd name="connsiteY32" fmla="*/ 3400425 h 4487372"/>
                <a:gd name="connsiteX33" fmla="*/ 4059577 w 4519987"/>
                <a:gd name="connsiteY33" fmla="*/ 3533775 h 4487372"/>
                <a:gd name="connsiteX34" fmla="*/ 3954802 w 4519987"/>
                <a:gd name="connsiteY34" fmla="*/ 3648075 h 4487372"/>
                <a:gd name="connsiteX35" fmla="*/ 3659527 w 4519987"/>
                <a:gd name="connsiteY35" fmla="*/ 3971925 h 4487372"/>
                <a:gd name="connsiteX36" fmla="*/ 3516652 w 4519987"/>
                <a:gd name="connsiteY36" fmla="*/ 4083050 h 4487372"/>
                <a:gd name="connsiteX37" fmla="*/ 3221377 w 4519987"/>
                <a:gd name="connsiteY37" fmla="*/ 4222750 h 4487372"/>
                <a:gd name="connsiteX38" fmla="*/ 3068977 w 4519987"/>
                <a:gd name="connsiteY38" fmla="*/ 4286250 h 4487372"/>
                <a:gd name="connsiteX39" fmla="*/ 2935627 w 4519987"/>
                <a:gd name="connsiteY39" fmla="*/ 4333875 h 4487372"/>
                <a:gd name="connsiteX40" fmla="*/ 2811802 w 4519987"/>
                <a:gd name="connsiteY40" fmla="*/ 4371975 h 4487372"/>
                <a:gd name="connsiteX41" fmla="*/ 2745127 w 4519987"/>
                <a:gd name="connsiteY41" fmla="*/ 4410075 h 4487372"/>
                <a:gd name="connsiteX42" fmla="*/ 2640352 w 4519987"/>
                <a:gd name="connsiteY42" fmla="*/ 4457700 h 4487372"/>
                <a:gd name="connsiteX43" fmla="*/ 2545102 w 4519987"/>
                <a:gd name="connsiteY43" fmla="*/ 4486275 h 4487372"/>
                <a:gd name="connsiteX44" fmla="*/ 2306977 w 4519987"/>
                <a:gd name="connsiteY44" fmla="*/ 4476750 h 4487372"/>
                <a:gd name="connsiteX45" fmla="*/ 2202202 w 4519987"/>
                <a:gd name="connsiteY45" fmla="*/ 4457700 h 4487372"/>
                <a:gd name="connsiteX46" fmla="*/ 2126002 w 4519987"/>
                <a:gd name="connsiteY46" fmla="*/ 4429125 h 4487372"/>
                <a:gd name="connsiteX47" fmla="*/ 1935502 w 4519987"/>
                <a:gd name="connsiteY47" fmla="*/ 4400550 h 4487372"/>
                <a:gd name="connsiteX48" fmla="*/ 1821202 w 4519987"/>
                <a:gd name="connsiteY48" fmla="*/ 4371975 h 4487372"/>
                <a:gd name="connsiteX49" fmla="*/ 1754527 w 4519987"/>
                <a:gd name="connsiteY49" fmla="*/ 4352925 h 4487372"/>
                <a:gd name="connsiteX50" fmla="*/ 1687852 w 4519987"/>
                <a:gd name="connsiteY50" fmla="*/ 4343400 h 4487372"/>
                <a:gd name="connsiteX51" fmla="*/ 1573552 w 4519987"/>
                <a:gd name="connsiteY51" fmla="*/ 4305300 h 4487372"/>
                <a:gd name="connsiteX52" fmla="*/ 1402102 w 4519987"/>
                <a:gd name="connsiteY52" fmla="*/ 4276725 h 4487372"/>
                <a:gd name="connsiteX53" fmla="*/ 1287802 w 4519987"/>
                <a:gd name="connsiteY53" fmla="*/ 4229100 h 4487372"/>
                <a:gd name="connsiteX54" fmla="*/ 1221127 w 4519987"/>
                <a:gd name="connsiteY54" fmla="*/ 4200525 h 4487372"/>
                <a:gd name="connsiteX55" fmla="*/ 1144927 w 4519987"/>
                <a:gd name="connsiteY55" fmla="*/ 4171950 h 4487372"/>
                <a:gd name="connsiteX56" fmla="*/ 1087777 w 4519987"/>
                <a:gd name="connsiteY56" fmla="*/ 4143375 h 4487372"/>
                <a:gd name="connsiteX57" fmla="*/ 1030627 w 4519987"/>
                <a:gd name="connsiteY57" fmla="*/ 4124325 h 4487372"/>
                <a:gd name="connsiteX58" fmla="*/ 925852 w 4519987"/>
                <a:gd name="connsiteY58" fmla="*/ 4067175 h 4487372"/>
                <a:gd name="connsiteX59" fmla="*/ 830602 w 4519987"/>
                <a:gd name="connsiteY59" fmla="*/ 3981450 h 4487372"/>
                <a:gd name="connsiteX60" fmla="*/ 763927 w 4519987"/>
                <a:gd name="connsiteY60" fmla="*/ 3914775 h 4487372"/>
                <a:gd name="connsiteX61" fmla="*/ 725827 w 4519987"/>
                <a:gd name="connsiteY61" fmla="*/ 3876675 h 4487372"/>
                <a:gd name="connsiteX62" fmla="*/ 697252 w 4519987"/>
                <a:gd name="connsiteY62" fmla="*/ 3838575 h 4487372"/>
                <a:gd name="connsiteX63" fmla="*/ 640102 w 4519987"/>
                <a:gd name="connsiteY63" fmla="*/ 3781425 h 4487372"/>
                <a:gd name="connsiteX64" fmla="*/ 611527 w 4519987"/>
                <a:gd name="connsiteY64" fmla="*/ 3733800 h 4487372"/>
                <a:gd name="connsiteX65" fmla="*/ 554377 w 4519987"/>
                <a:gd name="connsiteY65" fmla="*/ 3657600 h 4487372"/>
                <a:gd name="connsiteX66" fmla="*/ 525802 w 4519987"/>
                <a:gd name="connsiteY66" fmla="*/ 3609975 h 4487372"/>
                <a:gd name="connsiteX67" fmla="*/ 497227 w 4519987"/>
                <a:gd name="connsiteY67" fmla="*/ 3552825 h 4487372"/>
                <a:gd name="connsiteX68" fmla="*/ 440077 w 4519987"/>
                <a:gd name="connsiteY68" fmla="*/ 3495675 h 4487372"/>
                <a:gd name="connsiteX69" fmla="*/ 411502 w 4519987"/>
                <a:gd name="connsiteY69" fmla="*/ 3448050 h 4487372"/>
                <a:gd name="connsiteX70" fmla="*/ 278152 w 4519987"/>
                <a:gd name="connsiteY70" fmla="*/ 3257550 h 4487372"/>
                <a:gd name="connsiteX71" fmla="*/ 249577 w 4519987"/>
                <a:gd name="connsiteY71" fmla="*/ 3200400 h 4487372"/>
                <a:gd name="connsiteX72" fmla="*/ 240052 w 4519987"/>
                <a:gd name="connsiteY72" fmla="*/ 3162300 h 4487372"/>
                <a:gd name="connsiteX73" fmla="*/ 221002 w 4519987"/>
                <a:gd name="connsiteY73" fmla="*/ 3105150 h 4487372"/>
                <a:gd name="connsiteX74" fmla="*/ 173377 w 4519987"/>
                <a:gd name="connsiteY74" fmla="*/ 3019425 h 4487372"/>
                <a:gd name="connsiteX75" fmla="*/ 144802 w 4519987"/>
                <a:gd name="connsiteY75" fmla="*/ 2924175 h 4487372"/>
                <a:gd name="connsiteX76" fmla="*/ 68602 w 4519987"/>
                <a:gd name="connsiteY76" fmla="*/ 2724150 h 4487372"/>
                <a:gd name="connsiteX77" fmla="*/ 49552 w 4519987"/>
                <a:gd name="connsiteY77" fmla="*/ 2638425 h 4487372"/>
                <a:gd name="connsiteX78" fmla="*/ 40027 w 4519987"/>
                <a:gd name="connsiteY78" fmla="*/ 2562225 h 4487372"/>
                <a:gd name="connsiteX79" fmla="*/ 30502 w 4519987"/>
                <a:gd name="connsiteY79" fmla="*/ 2514600 h 4487372"/>
                <a:gd name="connsiteX80" fmla="*/ 11452 w 4519987"/>
                <a:gd name="connsiteY80" fmla="*/ 2400300 h 4487372"/>
                <a:gd name="connsiteX81" fmla="*/ 20977 w 4519987"/>
                <a:gd name="connsiteY81" fmla="*/ 1905000 h 4487372"/>
                <a:gd name="connsiteX82" fmla="*/ 30502 w 4519987"/>
                <a:gd name="connsiteY82" fmla="*/ 1838325 h 4487372"/>
                <a:gd name="connsiteX83" fmla="*/ 49552 w 4519987"/>
                <a:gd name="connsiteY83" fmla="*/ 1781175 h 4487372"/>
                <a:gd name="connsiteX84" fmla="*/ 59077 w 4519987"/>
                <a:gd name="connsiteY84" fmla="*/ 1743075 h 4487372"/>
                <a:gd name="connsiteX85" fmla="*/ 78127 w 4519987"/>
                <a:gd name="connsiteY85" fmla="*/ 1685925 h 4487372"/>
                <a:gd name="connsiteX86" fmla="*/ 87652 w 4519987"/>
                <a:gd name="connsiteY86" fmla="*/ 1638300 h 4487372"/>
                <a:gd name="connsiteX87" fmla="*/ 106702 w 4519987"/>
                <a:gd name="connsiteY87" fmla="*/ 1590675 h 4487372"/>
                <a:gd name="connsiteX88" fmla="*/ 135277 w 4519987"/>
                <a:gd name="connsiteY88" fmla="*/ 1504950 h 4487372"/>
                <a:gd name="connsiteX89" fmla="*/ 154327 w 4519987"/>
                <a:gd name="connsiteY89" fmla="*/ 1419225 h 4487372"/>
                <a:gd name="connsiteX90" fmla="*/ 230527 w 4519987"/>
                <a:gd name="connsiteY90" fmla="*/ 1276350 h 4487372"/>
                <a:gd name="connsiteX91" fmla="*/ 240052 w 4519987"/>
                <a:gd name="connsiteY91" fmla="*/ 1247775 h 4487372"/>
                <a:gd name="connsiteX92" fmla="*/ 268627 w 4519987"/>
                <a:gd name="connsiteY92" fmla="*/ 1200150 h 4487372"/>
                <a:gd name="connsiteX93" fmla="*/ 287677 w 4519987"/>
                <a:gd name="connsiteY93" fmla="*/ 1152525 h 4487372"/>
                <a:gd name="connsiteX94" fmla="*/ 316252 w 4519987"/>
                <a:gd name="connsiteY94" fmla="*/ 1114425 h 4487372"/>
                <a:gd name="connsiteX95" fmla="*/ 363877 w 4519987"/>
                <a:gd name="connsiteY95" fmla="*/ 1038225 h 4487372"/>
                <a:gd name="connsiteX96" fmla="*/ 382927 w 4519987"/>
                <a:gd name="connsiteY96" fmla="*/ 1009650 h 4487372"/>
                <a:gd name="connsiteX97" fmla="*/ 440077 w 4519987"/>
                <a:gd name="connsiteY97" fmla="*/ 904875 h 4487372"/>
                <a:gd name="connsiteX98" fmla="*/ 478177 w 4519987"/>
                <a:gd name="connsiteY98" fmla="*/ 857250 h 4487372"/>
                <a:gd name="connsiteX99" fmla="*/ 497227 w 4519987"/>
                <a:gd name="connsiteY99" fmla="*/ 828675 h 4487372"/>
                <a:gd name="connsiteX100" fmla="*/ 535327 w 4519987"/>
                <a:gd name="connsiteY100" fmla="*/ 800100 h 4487372"/>
                <a:gd name="connsiteX101" fmla="*/ 602002 w 4519987"/>
                <a:gd name="connsiteY101" fmla="*/ 733425 h 4487372"/>
                <a:gd name="connsiteX102" fmla="*/ 668677 w 4519987"/>
                <a:gd name="connsiteY102" fmla="*/ 676275 h 4487372"/>
                <a:gd name="connsiteX103" fmla="*/ 697252 w 4519987"/>
                <a:gd name="connsiteY103" fmla="*/ 657225 h 4487372"/>
                <a:gd name="connsiteX104" fmla="*/ 840127 w 4519987"/>
                <a:gd name="connsiteY104" fmla="*/ 533400 h 4487372"/>
                <a:gd name="connsiteX105" fmla="*/ 887752 w 4519987"/>
                <a:gd name="connsiteY105" fmla="*/ 504825 h 4487372"/>
                <a:gd name="connsiteX106" fmla="*/ 1167152 w 4519987"/>
                <a:gd name="connsiteY106" fmla="*/ 311150 h 4487372"/>
                <a:gd name="connsiteX107" fmla="*/ 1268752 w 4519987"/>
                <a:gd name="connsiteY107" fmla="*/ 285750 h 4487372"/>
                <a:gd name="connsiteX108" fmla="*/ 1411627 w 4519987"/>
                <a:gd name="connsiteY108" fmla="*/ 190500 h 4487372"/>
                <a:gd name="connsiteX109" fmla="*/ 1449727 w 4519987"/>
                <a:gd name="connsiteY109" fmla="*/ 161925 h 4487372"/>
                <a:gd name="connsiteX110" fmla="*/ 1525927 w 4519987"/>
                <a:gd name="connsiteY110" fmla="*/ 152400 h 4487372"/>
                <a:gd name="connsiteX111" fmla="*/ 1583077 w 4519987"/>
                <a:gd name="connsiteY111" fmla="*/ 142875 h 4487372"/>
                <a:gd name="connsiteX112" fmla="*/ 1716427 w 4519987"/>
                <a:gd name="connsiteY112" fmla="*/ 123825 h 4487372"/>
                <a:gd name="connsiteX113" fmla="*/ 1811677 w 4519987"/>
                <a:gd name="connsiteY113" fmla="*/ 114300 h 4487372"/>
                <a:gd name="connsiteX114" fmla="*/ 1859302 w 4519987"/>
                <a:gd name="connsiteY114" fmla="*/ 104775 h 4487372"/>
                <a:gd name="connsiteX115" fmla="*/ 1916452 w 4519987"/>
                <a:gd name="connsiteY115" fmla="*/ 95250 h 4487372"/>
                <a:gd name="connsiteX116" fmla="*/ 2030752 w 4519987"/>
                <a:gd name="connsiteY116" fmla="*/ 66675 h 4487372"/>
                <a:gd name="connsiteX117" fmla="*/ 2097427 w 4519987"/>
                <a:gd name="connsiteY117" fmla="*/ 47625 h 4487372"/>
                <a:gd name="connsiteX118" fmla="*/ 2164102 w 4519987"/>
                <a:gd name="connsiteY118" fmla="*/ 38100 h 4487372"/>
                <a:gd name="connsiteX119" fmla="*/ 2392702 w 4519987"/>
                <a:gd name="connsiteY119" fmla="*/ 28575 h 4487372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745127 w 4519987"/>
                <a:gd name="connsiteY41" fmla="*/ 4410075 h 4476750"/>
                <a:gd name="connsiteX42" fmla="*/ 2640352 w 4519987"/>
                <a:gd name="connsiteY42" fmla="*/ 4457700 h 4476750"/>
                <a:gd name="connsiteX43" fmla="*/ 2306977 w 4519987"/>
                <a:gd name="connsiteY43" fmla="*/ 4476750 h 4476750"/>
                <a:gd name="connsiteX44" fmla="*/ 2202202 w 4519987"/>
                <a:gd name="connsiteY44" fmla="*/ 4457700 h 4476750"/>
                <a:gd name="connsiteX45" fmla="*/ 2126002 w 4519987"/>
                <a:gd name="connsiteY45" fmla="*/ 4429125 h 4476750"/>
                <a:gd name="connsiteX46" fmla="*/ 1935502 w 4519987"/>
                <a:gd name="connsiteY46" fmla="*/ 4400550 h 4476750"/>
                <a:gd name="connsiteX47" fmla="*/ 1821202 w 4519987"/>
                <a:gd name="connsiteY47" fmla="*/ 4371975 h 4476750"/>
                <a:gd name="connsiteX48" fmla="*/ 1754527 w 4519987"/>
                <a:gd name="connsiteY48" fmla="*/ 4352925 h 4476750"/>
                <a:gd name="connsiteX49" fmla="*/ 1687852 w 4519987"/>
                <a:gd name="connsiteY49" fmla="*/ 4343400 h 4476750"/>
                <a:gd name="connsiteX50" fmla="*/ 1573552 w 4519987"/>
                <a:gd name="connsiteY50" fmla="*/ 4305300 h 4476750"/>
                <a:gd name="connsiteX51" fmla="*/ 1402102 w 4519987"/>
                <a:gd name="connsiteY51" fmla="*/ 4276725 h 4476750"/>
                <a:gd name="connsiteX52" fmla="*/ 1287802 w 4519987"/>
                <a:gd name="connsiteY52" fmla="*/ 4229100 h 4476750"/>
                <a:gd name="connsiteX53" fmla="*/ 1221127 w 4519987"/>
                <a:gd name="connsiteY53" fmla="*/ 4200525 h 4476750"/>
                <a:gd name="connsiteX54" fmla="*/ 1144927 w 4519987"/>
                <a:gd name="connsiteY54" fmla="*/ 4171950 h 4476750"/>
                <a:gd name="connsiteX55" fmla="*/ 1087777 w 4519987"/>
                <a:gd name="connsiteY55" fmla="*/ 4143375 h 4476750"/>
                <a:gd name="connsiteX56" fmla="*/ 1030627 w 4519987"/>
                <a:gd name="connsiteY56" fmla="*/ 4124325 h 4476750"/>
                <a:gd name="connsiteX57" fmla="*/ 925852 w 4519987"/>
                <a:gd name="connsiteY57" fmla="*/ 4067175 h 4476750"/>
                <a:gd name="connsiteX58" fmla="*/ 830602 w 4519987"/>
                <a:gd name="connsiteY58" fmla="*/ 3981450 h 4476750"/>
                <a:gd name="connsiteX59" fmla="*/ 763927 w 4519987"/>
                <a:gd name="connsiteY59" fmla="*/ 3914775 h 4476750"/>
                <a:gd name="connsiteX60" fmla="*/ 725827 w 4519987"/>
                <a:gd name="connsiteY60" fmla="*/ 3876675 h 4476750"/>
                <a:gd name="connsiteX61" fmla="*/ 697252 w 4519987"/>
                <a:gd name="connsiteY61" fmla="*/ 3838575 h 4476750"/>
                <a:gd name="connsiteX62" fmla="*/ 640102 w 4519987"/>
                <a:gd name="connsiteY62" fmla="*/ 3781425 h 4476750"/>
                <a:gd name="connsiteX63" fmla="*/ 611527 w 4519987"/>
                <a:gd name="connsiteY63" fmla="*/ 3733800 h 4476750"/>
                <a:gd name="connsiteX64" fmla="*/ 554377 w 4519987"/>
                <a:gd name="connsiteY64" fmla="*/ 3657600 h 4476750"/>
                <a:gd name="connsiteX65" fmla="*/ 525802 w 4519987"/>
                <a:gd name="connsiteY65" fmla="*/ 3609975 h 4476750"/>
                <a:gd name="connsiteX66" fmla="*/ 497227 w 4519987"/>
                <a:gd name="connsiteY66" fmla="*/ 3552825 h 4476750"/>
                <a:gd name="connsiteX67" fmla="*/ 440077 w 4519987"/>
                <a:gd name="connsiteY67" fmla="*/ 3495675 h 4476750"/>
                <a:gd name="connsiteX68" fmla="*/ 411502 w 4519987"/>
                <a:gd name="connsiteY68" fmla="*/ 3448050 h 4476750"/>
                <a:gd name="connsiteX69" fmla="*/ 278152 w 4519987"/>
                <a:gd name="connsiteY69" fmla="*/ 3257550 h 4476750"/>
                <a:gd name="connsiteX70" fmla="*/ 249577 w 4519987"/>
                <a:gd name="connsiteY70" fmla="*/ 3200400 h 4476750"/>
                <a:gd name="connsiteX71" fmla="*/ 240052 w 4519987"/>
                <a:gd name="connsiteY71" fmla="*/ 3162300 h 4476750"/>
                <a:gd name="connsiteX72" fmla="*/ 221002 w 4519987"/>
                <a:gd name="connsiteY72" fmla="*/ 3105150 h 4476750"/>
                <a:gd name="connsiteX73" fmla="*/ 173377 w 4519987"/>
                <a:gd name="connsiteY73" fmla="*/ 3019425 h 4476750"/>
                <a:gd name="connsiteX74" fmla="*/ 144802 w 4519987"/>
                <a:gd name="connsiteY74" fmla="*/ 2924175 h 4476750"/>
                <a:gd name="connsiteX75" fmla="*/ 68602 w 4519987"/>
                <a:gd name="connsiteY75" fmla="*/ 2724150 h 4476750"/>
                <a:gd name="connsiteX76" fmla="*/ 49552 w 4519987"/>
                <a:gd name="connsiteY76" fmla="*/ 2638425 h 4476750"/>
                <a:gd name="connsiteX77" fmla="*/ 40027 w 4519987"/>
                <a:gd name="connsiteY77" fmla="*/ 2562225 h 4476750"/>
                <a:gd name="connsiteX78" fmla="*/ 30502 w 4519987"/>
                <a:gd name="connsiteY78" fmla="*/ 2514600 h 4476750"/>
                <a:gd name="connsiteX79" fmla="*/ 11452 w 4519987"/>
                <a:gd name="connsiteY79" fmla="*/ 2400300 h 4476750"/>
                <a:gd name="connsiteX80" fmla="*/ 20977 w 4519987"/>
                <a:gd name="connsiteY80" fmla="*/ 1905000 h 4476750"/>
                <a:gd name="connsiteX81" fmla="*/ 30502 w 4519987"/>
                <a:gd name="connsiteY81" fmla="*/ 1838325 h 4476750"/>
                <a:gd name="connsiteX82" fmla="*/ 49552 w 4519987"/>
                <a:gd name="connsiteY82" fmla="*/ 1781175 h 4476750"/>
                <a:gd name="connsiteX83" fmla="*/ 59077 w 4519987"/>
                <a:gd name="connsiteY83" fmla="*/ 1743075 h 4476750"/>
                <a:gd name="connsiteX84" fmla="*/ 78127 w 4519987"/>
                <a:gd name="connsiteY84" fmla="*/ 1685925 h 4476750"/>
                <a:gd name="connsiteX85" fmla="*/ 87652 w 4519987"/>
                <a:gd name="connsiteY85" fmla="*/ 1638300 h 4476750"/>
                <a:gd name="connsiteX86" fmla="*/ 106702 w 4519987"/>
                <a:gd name="connsiteY86" fmla="*/ 1590675 h 4476750"/>
                <a:gd name="connsiteX87" fmla="*/ 135277 w 4519987"/>
                <a:gd name="connsiteY87" fmla="*/ 1504950 h 4476750"/>
                <a:gd name="connsiteX88" fmla="*/ 154327 w 4519987"/>
                <a:gd name="connsiteY88" fmla="*/ 1419225 h 4476750"/>
                <a:gd name="connsiteX89" fmla="*/ 230527 w 4519987"/>
                <a:gd name="connsiteY89" fmla="*/ 1276350 h 4476750"/>
                <a:gd name="connsiteX90" fmla="*/ 240052 w 4519987"/>
                <a:gd name="connsiteY90" fmla="*/ 1247775 h 4476750"/>
                <a:gd name="connsiteX91" fmla="*/ 268627 w 4519987"/>
                <a:gd name="connsiteY91" fmla="*/ 1200150 h 4476750"/>
                <a:gd name="connsiteX92" fmla="*/ 287677 w 4519987"/>
                <a:gd name="connsiteY92" fmla="*/ 1152525 h 4476750"/>
                <a:gd name="connsiteX93" fmla="*/ 316252 w 4519987"/>
                <a:gd name="connsiteY93" fmla="*/ 1114425 h 4476750"/>
                <a:gd name="connsiteX94" fmla="*/ 363877 w 4519987"/>
                <a:gd name="connsiteY94" fmla="*/ 1038225 h 4476750"/>
                <a:gd name="connsiteX95" fmla="*/ 382927 w 4519987"/>
                <a:gd name="connsiteY95" fmla="*/ 1009650 h 4476750"/>
                <a:gd name="connsiteX96" fmla="*/ 440077 w 4519987"/>
                <a:gd name="connsiteY96" fmla="*/ 904875 h 4476750"/>
                <a:gd name="connsiteX97" fmla="*/ 478177 w 4519987"/>
                <a:gd name="connsiteY97" fmla="*/ 857250 h 4476750"/>
                <a:gd name="connsiteX98" fmla="*/ 497227 w 4519987"/>
                <a:gd name="connsiteY98" fmla="*/ 828675 h 4476750"/>
                <a:gd name="connsiteX99" fmla="*/ 535327 w 4519987"/>
                <a:gd name="connsiteY99" fmla="*/ 800100 h 4476750"/>
                <a:gd name="connsiteX100" fmla="*/ 602002 w 4519987"/>
                <a:gd name="connsiteY100" fmla="*/ 733425 h 4476750"/>
                <a:gd name="connsiteX101" fmla="*/ 668677 w 4519987"/>
                <a:gd name="connsiteY101" fmla="*/ 676275 h 4476750"/>
                <a:gd name="connsiteX102" fmla="*/ 697252 w 4519987"/>
                <a:gd name="connsiteY102" fmla="*/ 657225 h 4476750"/>
                <a:gd name="connsiteX103" fmla="*/ 840127 w 4519987"/>
                <a:gd name="connsiteY103" fmla="*/ 533400 h 4476750"/>
                <a:gd name="connsiteX104" fmla="*/ 887752 w 4519987"/>
                <a:gd name="connsiteY104" fmla="*/ 504825 h 4476750"/>
                <a:gd name="connsiteX105" fmla="*/ 1167152 w 4519987"/>
                <a:gd name="connsiteY105" fmla="*/ 311150 h 4476750"/>
                <a:gd name="connsiteX106" fmla="*/ 1268752 w 4519987"/>
                <a:gd name="connsiteY106" fmla="*/ 285750 h 4476750"/>
                <a:gd name="connsiteX107" fmla="*/ 1411627 w 4519987"/>
                <a:gd name="connsiteY107" fmla="*/ 190500 h 4476750"/>
                <a:gd name="connsiteX108" fmla="*/ 1449727 w 4519987"/>
                <a:gd name="connsiteY108" fmla="*/ 161925 h 4476750"/>
                <a:gd name="connsiteX109" fmla="*/ 1525927 w 4519987"/>
                <a:gd name="connsiteY109" fmla="*/ 152400 h 4476750"/>
                <a:gd name="connsiteX110" fmla="*/ 1583077 w 4519987"/>
                <a:gd name="connsiteY110" fmla="*/ 142875 h 4476750"/>
                <a:gd name="connsiteX111" fmla="*/ 1716427 w 4519987"/>
                <a:gd name="connsiteY111" fmla="*/ 123825 h 4476750"/>
                <a:gd name="connsiteX112" fmla="*/ 1811677 w 4519987"/>
                <a:gd name="connsiteY112" fmla="*/ 114300 h 4476750"/>
                <a:gd name="connsiteX113" fmla="*/ 1859302 w 4519987"/>
                <a:gd name="connsiteY113" fmla="*/ 104775 h 4476750"/>
                <a:gd name="connsiteX114" fmla="*/ 1916452 w 4519987"/>
                <a:gd name="connsiteY114" fmla="*/ 95250 h 4476750"/>
                <a:gd name="connsiteX115" fmla="*/ 2030752 w 4519987"/>
                <a:gd name="connsiteY115" fmla="*/ 66675 h 4476750"/>
                <a:gd name="connsiteX116" fmla="*/ 2097427 w 4519987"/>
                <a:gd name="connsiteY116" fmla="*/ 47625 h 4476750"/>
                <a:gd name="connsiteX117" fmla="*/ 2164102 w 4519987"/>
                <a:gd name="connsiteY117" fmla="*/ 38100 h 4476750"/>
                <a:gd name="connsiteX118" fmla="*/ 2392702 w 4519987"/>
                <a:gd name="connsiteY118" fmla="*/ 28575 h 4476750"/>
                <a:gd name="connsiteX0" fmla="*/ 2297452 w 4519987"/>
                <a:gd name="connsiteY0" fmla="*/ 0 h 4478541"/>
                <a:gd name="connsiteX1" fmla="*/ 2421277 w 4519987"/>
                <a:gd name="connsiteY1" fmla="*/ 28575 h 4478541"/>
                <a:gd name="connsiteX2" fmla="*/ 2497477 w 4519987"/>
                <a:gd name="connsiteY2" fmla="*/ 47625 h 4478541"/>
                <a:gd name="connsiteX3" fmla="*/ 2754652 w 4519987"/>
                <a:gd name="connsiteY3" fmla="*/ 66675 h 4478541"/>
                <a:gd name="connsiteX4" fmla="*/ 2830852 w 4519987"/>
                <a:gd name="connsiteY4" fmla="*/ 76200 h 4478541"/>
                <a:gd name="connsiteX5" fmla="*/ 2916577 w 4519987"/>
                <a:gd name="connsiteY5" fmla="*/ 85725 h 4478541"/>
                <a:gd name="connsiteX6" fmla="*/ 2973727 w 4519987"/>
                <a:gd name="connsiteY6" fmla="*/ 114300 h 4478541"/>
                <a:gd name="connsiteX7" fmla="*/ 3011827 w 4519987"/>
                <a:gd name="connsiteY7" fmla="*/ 123825 h 4478541"/>
                <a:gd name="connsiteX8" fmla="*/ 3135652 w 4519987"/>
                <a:gd name="connsiteY8" fmla="*/ 171450 h 4478541"/>
                <a:gd name="connsiteX9" fmla="*/ 3173752 w 4519987"/>
                <a:gd name="connsiteY9" fmla="*/ 190500 h 4478541"/>
                <a:gd name="connsiteX10" fmla="*/ 3240427 w 4519987"/>
                <a:gd name="connsiteY10" fmla="*/ 228600 h 4478541"/>
                <a:gd name="connsiteX11" fmla="*/ 3269002 w 4519987"/>
                <a:gd name="connsiteY11" fmla="*/ 238125 h 4478541"/>
                <a:gd name="connsiteX12" fmla="*/ 3297577 w 4519987"/>
                <a:gd name="connsiteY12" fmla="*/ 257175 h 4478541"/>
                <a:gd name="connsiteX13" fmla="*/ 3326152 w 4519987"/>
                <a:gd name="connsiteY13" fmla="*/ 266700 h 4478541"/>
                <a:gd name="connsiteX14" fmla="*/ 3354727 w 4519987"/>
                <a:gd name="connsiteY14" fmla="*/ 285750 h 4478541"/>
                <a:gd name="connsiteX15" fmla="*/ 3421402 w 4519987"/>
                <a:gd name="connsiteY15" fmla="*/ 323850 h 4478541"/>
                <a:gd name="connsiteX16" fmla="*/ 3469027 w 4519987"/>
                <a:gd name="connsiteY16" fmla="*/ 361950 h 4478541"/>
                <a:gd name="connsiteX17" fmla="*/ 3516652 w 4519987"/>
                <a:gd name="connsiteY17" fmla="*/ 390525 h 4478541"/>
                <a:gd name="connsiteX18" fmla="*/ 3630952 w 4519987"/>
                <a:gd name="connsiteY18" fmla="*/ 485775 h 4478541"/>
                <a:gd name="connsiteX19" fmla="*/ 3745252 w 4519987"/>
                <a:gd name="connsiteY19" fmla="*/ 542925 h 4478541"/>
                <a:gd name="connsiteX20" fmla="*/ 3811927 w 4519987"/>
                <a:gd name="connsiteY20" fmla="*/ 581025 h 4478541"/>
                <a:gd name="connsiteX21" fmla="*/ 4027827 w 4519987"/>
                <a:gd name="connsiteY21" fmla="*/ 819150 h 4478541"/>
                <a:gd name="connsiteX22" fmla="*/ 4164352 w 4519987"/>
                <a:gd name="connsiteY22" fmla="*/ 990600 h 4478541"/>
                <a:gd name="connsiteX23" fmla="*/ 4250077 w 4519987"/>
                <a:gd name="connsiteY23" fmla="*/ 1143000 h 4478541"/>
                <a:gd name="connsiteX24" fmla="*/ 4307227 w 4519987"/>
                <a:gd name="connsiteY24" fmla="*/ 1266825 h 4478541"/>
                <a:gd name="connsiteX25" fmla="*/ 4345327 w 4519987"/>
                <a:gd name="connsiteY25" fmla="*/ 1362075 h 4478541"/>
                <a:gd name="connsiteX26" fmla="*/ 4392952 w 4519987"/>
                <a:gd name="connsiteY26" fmla="*/ 1552575 h 4478541"/>
                <a:gd name="connsiteX27" fmla="*/ 4431052 w 4519987"/>
                <a:gd name="connsiteY27" fmla="*/ 1685925 h 4478541"/>
                <a:gd name="connsiteX28" fmla="*/ 4519952 w 4519987"/>
                <a:gd name="connsiteY28" fmla="*/ 2181225 h 4478541"/>
                <a:gd name="connsiteX29" fmla="*/ 4446927 w 4519987"/>
                <a:gd name="connsiteY29" fmla="*/ 2768600 h 4478541"/>
                <a:gd name="connsiteX30" fmla="*/ 4383427 w 4519987"/>
                <a:gd name="connsiteY30" fmla="*/ 2990850 h 4478541"/>
                <a:gd name="connsiteX31" fmla="*/ 4278652 w 4519987"/>
                <a:gd name="connsiteY31" fmla="*/ 3248025 h 4478541"/>
                <a:gd name="connsiteX32" fmla="*/ 4183402 w 4519987"/>
                <a:gd name="connsiteY32" fmla="*/ 3400425 h 4478541"/>
                <a:gd name="connsiteX33" fmla="*/ 4059577 w 4519987"/>
                <a:gd name="connsiteY33" fmla="*/ 3533775 h 4478541"/>
                <a:gd name="connsiteX34" fmla="*/ 3954802 w 4519987"/>
                <a:gd name="connsiteY34" fmla="*/ 3648075 h 4478541"/>
                <a:gd name="connsiteX35" fmla="*/ 3659527 w 4519987"/>
                <a:gd name="connsiteY35" fmla="*/ 3971925 h 4478541"/>
                <a:gd name="connsiteX36" fmla="*/ 3516652 w 4519987"/>
                <a:gd name="connsiteY36" fmla="*/ 4083050 h 4478541"/>
                <a:gd name="connsiteX37" fmla="*/ 3221377 w 4519987"/>
                <a:gd name="connsiteY37" fmla="*/ 4222750 h 4478541"/>
                <a:gd name="connsiteX38" fmla="*/ 3068977 w 4519987"/>
                <a:gd name="connsiteY38" fmla="*/ 4286250 h 4478541"/>
                <a:gd name="connsiteX39" fmla="*/ 2935627 w 4519987"/>
                <a:gd name="connsiteY39" fmla="*/ 4333875 h 4478541"/>
                <a:gd name="connsiteX40" fmla="*/ 2811802 w 4519987"/>
                <a:gd name="connsiteY40" fmla="*/ 4371975 h 4478541"/>
                <a:gd name="connsiteX41" fmla="*/ 2745127 w 4519987"/>
                <a:gd name="connsiteY41" fmla="*/ 4410075 h 4478541"/>
                <a:gd name="connsiteX42" fmla="*/ 2306977 w 4519987"/>
                <a:gd name="connsiteY42" fmla="*/ 4476750 h 4478541"/>
                <a:gd name="connsiteX43" fmla="*/ 2202202 w 4519987"/>
                <a:gd name="connsiteY43" fmla="*/ 4457700 h 4478541"/>
                <a:gd name="connsiteX44" fmla="*/ 2126002 w 4519987"/>
                <a:gd name="connsiteY44" fmla="*/ 4429125 h 4478541"/>
                <a:gd name="connsiteX45" fmla="*/ 1935502 w 4519987"/>
                <a:gd name="connsiteY45" fmla="*/ 4400550 h 4478541"/>
                <a:gd name="connsiteX46" fmla="*/ 1821202 w 4519987"/>
                <a:gd name="connsiteY46" fmla="*/ 4371975 h 4478541"/>
                <a:gd name="connsiteX47" fmla="*/ 1754527 w 4519987"/>
                <a:gd name="connsiteY47" fmla="*/ 4352925 h 4478541"/>
                <a:gd name="connsiteX48" fmla="*/ 1687852 w 4519987"/>
                <a:gd name="connsiteY48" fmla="*/ 4343400 h 4478541"/>
                <a:gd name="connsiteX49" fmla="*/ 1573552 w 4519987"/>
                <a:gd name="connsiteY49" fmla="*/ 4305300 h 4478541"/>
                <a:gd name="connsiteX50" fmla="*/ 1402102 w 4519987"/>
                <a:gd name="connsiteY50" fmla="*/ 4276725 h 4478541"/>
                <a:gd name="connsiteX51" fmla="*/ 1287802 w 4519987"/>
                <a:gd name="connsiteY51" fmla="*/ 4229100 h 4478541"/>
                <a:gd name="connsiteX52" fmla="*/ 1221127 w 4519987"/>
                <a:gd name="connsiteY52" fmla="*/ 4200525 h 4478541"/>
                <a:gd name="connsiteX53" fmla="*/ 1144927 w 4519987"/>
                <a:gd name="connsiteY53" fmla="*/ 4171950 h 4478541"/>
                <a:gd name="connsiteX54" fmla="*/ 1087777 w 4519987"/>
                <a:gd name="connsiteY54" fmla="*/ 4143375 h 4478541"/>
                <a:gd name="connsiteX55" fmla="*/ 1030627 w 4519987"/>
                <a:gd name="connsiteY55" fmla="*/ 4124325 h 4478541"/>
                <a:gd name="connsiteX56" fmla="*/ 925852 w 4519987"/>
                <a:gd name="connsiteY56" fmla="*/ 4067175 h 4478541"/>
                <a:gd name="connsiteX57" fmla="*/ 830602 w 4519987"/>
                <a:gd name="connsiteY57" fmla="*/ 3981450 h 4478541"/>
                <a:gd name="connsiteX58" fmla="*/ 763927 w 4519987"/>
                <a:gd name="connsiteY58" fmla="*/ 3914775 h 4478541"/>
                <a:gd name="connsiteX59" fmla="*/ 725827 w 4519987"/>
                <a:gd name="connsiteY59" fmla="*/ 3876675 h 4478541"/>
                <a:gd name="connsiteX60" fmla="*/ 697252 w 4519987"/>
                <a:gd name="connsiteY60" fmla="*/ 3838575 h 4478541"/>
                <a:gd name="connsiteX61" fmla="*/ 640102 w 4519987"/>
                <a:gd name="connsiteY61" fmla="*/ 3781425 h 4478541"/>
                <a:gd name="connsiteX62" fmla="*/ 611527 w 4519987"/>
                <a:gd name="connsiteY62" fmla="*/ 3733800 h 4478541"/>
                <a:gd name="connsiteX63" fmla="*/ 554377 w 4519987"/>
                <a:gd name="connsiteY63" fmla="*/ 3657600 h 4478541"/>
                <a:gd name="connsiteX64" fmla="*/ 525802 w 4519987"/>
                <a:gd name="connsiteY64" fmla="*/ 3609975 h 4478541"/>
                <a:gd name="connsiteX65" fmla="*/ 497227 w 4519987"/>
                <a:gd name="connsiteY65" fmla="*/ 3552825 h 4478541"/>
                <a:gd name="connsiteX66" fmla="*/ 440077 w 4519987"/>
                <a:gd name="connsiteY66" fmla="*/ 3495675 h 4478541"/>
                <a:gd name="connsiteX67" fmla="*/ 411502 w 4519987"/>
                <a:gd name="connsiteY67" fmla="*/ 3448050 h 4478541"/>
                <a:gd name="connsiteX68" fmla="*/ 278152 w 4519987"/>
                <a:gd name="connsiteY68" fmla="*/ 3257550 h 4478541"/>
                <a:gd name="connsiteX69" fmla="*/ 249577 w 4519987"/>
                <a:gd name="connsiteY69" fmla="*/ 3200400 h 4478541"/>
                <a:gd name="connsiteX70" fmla="*/ 240052 w 4519987"/>
                <a:gd name="connsiteY70" fmla="*/ 3162300 h 4478541"/>
                <a:gd name="connsiteX71" fmla="*/ 221002 w 4519987"/>
                <a:gd name="connsiteY71" fmla="*/ 3105150 h 4478541"/>
                <a:gd name="connsiteX72" fmla="*/ 173377 w 4519987"/>
                <a:gd name="connsiteY72" fmla="*/ 3019425 h 4478541"/>
                <a:gd name="connsiteX73" fmla="*/ 144802 w 4519987"/>
                <a:gd name="connsiteY73" fmla="*/ 2924175 h 4478541"/>
                <a:gd name="connsiteX74" fmla="*/ 68602 w 4519987"/>
                <a:gd name="connsiteY74" fmla="*/ 2724150 h 4478541"/>
                <a:gd name="connsiteX75" fmla="*/ 49552 w 4519987"/>
                <a:gd name="connsiteY75" fmla="*/ 2638425 h 4478541"/>
                <a:gd name="connsiteX76" fmla="*/ 40027 w 4519987"/>
                <a:gd name="connsiteY76" fmla="*/ 2562225 h 4478541"/>
                <a:gd name="connsiteX77" fmla="*/ 30502 w 4519987"/>
                <a:gd name="connsiteY77" fmla="*/ 2514600 h 4478541"/>
                <a:gd name="connsiteX78" fmla="*/ 11452 w 4519987"/>
                <a:gd name="connsiteY78" fmla="*/ 2400300 h 4478541"/>
                <a:gd name="connsiteX79" fmla="*/ 20977 w 4519987"/>
                <a:gd name="connsiteY79" fmla="*/ 1905000 h 4478541"/>
                <a:gd name="connsiteX80" fmla="*/ 30502 w 4519987"/>
                <a:gd name="connsiteY80" fmla="*/ 1838325 h 4478541"/>
                <a:gd name="connsiteX81" fmla="*/ 49552 w 4519987"/>
                <a:gd name="connsiteY81" fmla="*/ 1781175 h 4478541"/>
                <a:gd name="connsiteX82" fmla="*/ 59077 w 4519987"/>
                <a:gd name="connsiteY82" fmla="*/ 1743075 h 4478541"/>
                <a:gd name="connsiteX83" fmla="*/ 78127 w 4519987"/>
                <a:gd name="connsiteY83" fmla="*/ 1685925 h 4478541"/>
                <a:gd name="connsiteX84" fmla="*/ 87652 w 4519987"/>
                <a:gd name="connsiteY84" fmla="*/ 1638300 h 4478541"/>
                <a:gd name="connsiteX85" fmla="*/ 106702 w 4519987"/>
                <a:gd name="connsiteY85" fmla="*/ 1590675 h 4478541"/>
                <a:gd name="connsiteX86" fmla="*/ 135277 w 4519987"/>
                <a:gd name="connsiteY86" fmla="*/ 1504950 h 4478541"/>
                <a:gd name="connsiteX87" fmla="*/ 154327 w 4519987"/>
                <a:gd name="connsiteY87" fmla="*/ 1419225 h 4478541"/>
                <a:gd name="connsiteX88" fmla="*/ 230527 w 4519987"/>
                <a:gd name="connsiteY88" fmla="*/ 1276350 h 4478541"/>
                <a:gd name="connsiteX89" fmla="*/ 240052 w 4519987"/>
                <a:gd name="connsiteY89" fmla="*/ 1247775 h 4478541"/>
                <a:gd name="connsiteX90" fmla="*/ 268627 w 4519987"/>
                <a:gd name="connsiteY90" fmla="*/ 1200150 h 4478541"/>
                <a:gd name="connsiteX91" fmla="*/ 287677 w 4519987"/>
                <a:gd name="connsiteY91" fmla="*/ 1152525 h 4478541"/>
                <a:gd name="connsiteX92" fmla="*/ 316252 w 4519987"/>
                <a:gd name="connsiteY92" fmla="*/ 1114425 h 4478541"/>
                <a:gd name="connsiteX93" fmla="*/ 363877 w 4519987"/>
                <a:gd name="connsiteY93" fmla="*/ 1038225 h 4478541"/>
                <a:gd name="connsiteX94" fmla="*/ 382927 w 4519987"/>
                <a:gd name="connsiteY94" fmla="*/ 1009650 h 4478541"/>
                <a:gd name="connsiteX95" fmla="*/ 440077 w 4519987"/>
                <a:gd name="connsiteY95" fmla="*/ 904875 h 4478541"/>
                <a:gd name="connsiteX96" fmla="*/ 478177 w 4519987"/>
                <a:gd name="connsiteY96" fmla="*/ 857250 h 4478541"/>
                <a:gd name="connsiteX97" fmla="*/ 497227 w 4519987"/>
                <a:gd name="connsiteY97" fmla="*/ 828675 h 4478541"/>
                <a:gd name="connsiteX98" fmla="*/ 535327 w 4519987"/>
                <a:gd name="connsiteY98" fmla="*/ 800100 h 4478541"/>
                <a:gd name="connsiteX99" fmla="*/ 602002 w 4519987"/>
                <a:gd name="connsiteY99" fmla="*/ 733425 h 4478541"/>
                <a:gd name="connsiteX100" fmla="*/ 668677 w 4519987"/>
                <a:gd name="connsiteY100" fmla="*/ 676275 h 4478541"/>
                <a:gd name="connsiteX101" fmla="*/ 697252 w 4519987"/>
                <a:gd name="connsiteY101" fmla="*/ 657225 h 4478541"/>
                <a:gd name="connsiteX102" fmla="*/ 840127 w 4519987"/>
                <a:gd name="connsiteY102" fmla="*/ 533400 h 4478541"/>
                <a:gd name="connsiteX103" fmla="*/ 887752 w 4519987"/>
                <a:gd name="connsiteY103" fmla="*/ 504825 h 4478541"/>
                <a:gd name="connsiteX104" fmla="*/ 1167152 w 4519987"/>
                <a:gd name="connsiteY104" fmla="*/ 311150 h 4478541"/>
                <a:gd name="connsiteX105" fmla="*/ 1268752 w 4519987"/>
                <a:gd name="connsiteY105" fmla="*/ 285750 h 4478541"/>
                <a:gd name="connsiteX106" fmla="*/ 1411627 w 4519987"/>
                <a:gd name="connsiteY106" fmla="*/ 190500 h 4478541"/>
                <a:gd name="connsiteX107" fmla="*/ 1449727 w 4519987"/>
                <a:gd name="connsiteY107" fmla="*/ 161925 h 4478541"/>
                <a:gd name="connsiteX108" fmla="*/ 1525927 w 4519987"/>
                <a:gd name="connsiteY108" fmla="*/ 152400 h 4478541"/>
                <a:gd name="connsiteX109" fmla="*/ 1583077 w 4519987"/>
                <a:gd name="connsiteY109" fmla="*/ 142875 h 4478541"/>
                <a:gd name="connsiteX110" fmla="*/ 1716427 w 4519987"/>
                <a:gd name="connsiteY110" fmla="*/ 123825 h 4478541"/>
                <a:gd name="connsiteX111" fmla="*/ 1811677 w 4519987"/>
                <a:gd name="connsiteY111" fmla="*/ 114300 h 4478541"/>
                <a:gd name="connsiteX112" fmla="*/ 1859302 w 4519987"/>
                <a:gd name="connsiteY112" fmla="*/ 104775 h 4478541"/>
                <a:gd name="connsiteX113" fmla="*/ 1916452 w 4519987"/>
                <a:gd name="connsiteY113" fmla="*/ 95250 h 4478541"/>
                <a:gd name="connsiteX114" fmla="*/ 2030752 w 4519987"/>
                <a:gd name="connsiteY114" fmla="*/ 66675 h 4478541"/>
                <a:gd name="connsiteX115" fmla="*/ 2097427 w 4519987"/>
                <a:gd name="connsiteY115" fmla="*/ 47625 h 4478541"/>
                <a:gd name="connsiteX116" fmla="*/ 2164102 w 4519987"/>
                <a:gd name="connsiteY116" fmla="*/ 38100 h 4478541"/>
                <a:gd name="connsiteX117" fmla="*/ 2392702 w 4519987"/>
                <a:gd name="connsiteY117" fmla="*/ 28575 h 4478541"/>
                <a:gd name="connsiteX0" fmla="*/ 2297452 w 4519987"/>
                <a:gd name="connsiteY0" fmla="*/ 0 h 4476750"/>
                <a:gd name="connsiteX1" fmla="*/ 2421277 w 4519987"/>
                <a:gd name="connsiteY1" fmla="*/ 28575 h 4476750"/>
                <a:gd name="connsiteX2" fmla="*/ 2497477 w 4519987"/>
                <a:gd name="connsiteY2" fmla="*/ 47625 h 4476750"/>
                <a:gd name="connsiteX3" fmla="*/ 2754652 w 4519987"/>
                <a:gd name="connsiteY3" fmla="*/ 66675 h 4476750"/>
                <a:gd name="connsiteX4" fmla="*/ 2830852 w 4519987"/>
                <a:gd name="connsiteY4" fmla="*/ 76200 h 4476750"/>
                <a:gd name="connsiteX5" fmla="*/ 2916577 w 4519987"/>
                <a:gd name="connsiteY5" fmla="*/ 85725 h 4476750"/>
                <a:gd name="connsiteX6" fmla="*/ 2973727 w 4519987"/>
                <a:gd name="connsiteY6" fmla="*/ 114300 h 4476750"/>
                <a:gd name="connsiteX7" fmla="*/ 3011827 w 4519987"/>
                <a:gd name="connsiteY7" fmla="*/ 123825 h 4476750"/>
                <a:gd name="connsiteX8" fmla="*/ 3135652 w 4519987"/>
                <a:gd name="connsiteY8" fmla="*/ 171450 h 4476750"/>
                <a:gd name="connsiteX9" fmla="*/ 3173752 w 4519987"/>
                <a:gd name="connsiteY9" fmla="*/ 190500 h 4476750"/>
                <a:gd name="connsiteX10" fmla="*/ 3240427 w 4519987"/>
                <a:gd name="connsiteY10" fmla="*/ 228600 h 4476750"/>
                <a:gd name="connsiteX11" fmla="*/ 3269002 w 4519987"/>
                <a:gd name="connsiteY11" fmla="*/ 238125 h 4476750"/>
                <a:gd name="connsiteX12" fmla="*/ 3297577 w 4519987"/>
                <a:gd name="connsiteY12" fmla="*/ 257175 h 4476750"/>
                <a:gd name="connsiteX13" fmla="*/ 3326152 w 4519987"/>
                <a:gd name="connsiteY13" fmla="*/ 266700 h 4476750"/>
                <a:gd name="connsiteX14" fmla="*/ 3354727 w 4519987"/>
                <a:gd name="connsiteY14" fmla="*/ 285750 h 4476750"/>
                <a:gd name="connsiteX15" fmla="*/ 3421402 w 4519987"/>
                <a:gd name="connsiteY15" fmla="*/ 323850 h 4476750"/>
                <a:gd name="connsiteX16" fmla="*/ 3469027 w 4519987"/>
                <a:gd name="connsiteY16" fmla="*/ 361950 h 4476750"/>
                <a:gd name="connsiteX17" fmla="*/ 3516652 w 4519987"/>
                <a:gd name="connsiteY17" fmla="*/ 390525 h 4476750"/>
                <a:gd name="connsiteX18" fmla="*/ 3630952 w 4519987"/>
                <a:gd name="connsiteY18" fmla="*/ 485775 h 4476750"/>
                <a:gd name="connsiteX19" fmla="*/ 3745252 w 4519987"/>
                <a:gd name="connsiteY19" fmla="*/ 542925 h 4476750"/>
                <a:gd name="connsiteX20" fmla="*/ 3811927 w 4519987"/>
                <a:gd name="connsiteY20" fmla="*/ 581025 h 4476750"/>
                <a:gd name="connsiteX21" fmla="*/ 4027827 w 4519987"/>
                <a:gd name="connsiteY21" fmla="*/ 819150 h 4476750"/>
                <a:gd name="connsiteX22" fmla="*/ 4164352 w 4519987"/>
                <a:gd name="connsiteY22" fmla="*/ 990600 h 4476750"/>
                <a:gd name="connsiteX23" fmla="*/ 4250077 w 4519987"/>
                <a:gd name="connsiteY23" fmla="*/ 1143000 h 4476750"/>
                <a:gd name="connsiteX24" fmla="*/ 4307227 w 4519987"/>
                <a:gd name="connsiteY24" fmla="*/ 1266825 h 4476750"/>
                <a:gd name="connsiteX25" fmla="*/ 4345327 w 4519987"/>
                <a:gd name="connsiteY25" fmla="*/ 1362075 h 4476750"/>
                <a:gd name="connsiteX26" fmla="*/ 4392952 w 4519987"/>
                <a:gd name="connsiteY26" fmla="*/ 1552575 h 4476750"/>
                <a:gd name="connsiteX27" fmla="*/ 4431052 w 4519987"/>
                <a:gd name="connsiteY27" fmla="*/ 1685925 h 4476750"/>
                <a:gd name="connsiteX28" fmla="*/ 4519952 w 4519987"/>
                <a:gd name="connsiteY28" fmla="*/ 2181225 h 4476750"/>
                <a:gd name="connsiteX29" fmla="*/ 4446927 w 4519987"/>
                <a:gd name="connsiteY29" fmla="*/ 2768600 h 4476750"/>
                <a:gd name="connsiteX30" fmla="*/ 4383427 w 4519987"/>
                <a:gd name="connsiteY30" fmla="*/ 2990850 h 4476750"/>
                <a:gd name="connsiteX31" fmla="*/ 4278652 w 4519987"/>
                <a:gd name="connsiteY31" fmla="*/ 3248025 h 4476750"/>
                <a:gd name="connsiteX32" fmla="*/ 4183402 w 4519987"/>
                <a:gd name="connsiteY32" fmla="*/ 3400425 h 4476750"/>
                <a:gd name="connsiteX33" fmla="*/ 4059577 w 4519987"/>
                <a:gd name="connsiteY33" fmla="*/ 3533775 h 4476750"/>
                <a:gd name="connsiteX34" fmla="*/ 3954802 w 4519987"/>
                <a:gd name="connsiteY34" fmla="*/ 3648075 h 4476750"/>
                <a:gd name="connsiteX35" fmla="*/ 3659527 w 4519987"/>
                <a:gd name="connsiteY35" fmla="*/ 3971925 h 4476750"/>
                <a:gd name="connsiteX36" fmla="*/ 3516652 w 4519987"/>
                <a:gd name="connsiteY36" fmla="*/ 4083050 h 4476750"/>
                <a:gd name="connsiteX37" fmla="*/ 3221377 w 4519987"/>
                <a:gd name="connsiteY37" fmla="*/ 4222750 h 4476750"/>
                <a:gd name="connsiteX38" fmla="*/ 3068977 w 4519987"/>
                <a:gd name="connsiteY38" fmla="*/ 4286250 h 4476750"/>
                <a:gd name="connsiteX39" fmla="*/ 2935627 w 4519987"/>
                <a:gd name="connsiteY39" fmla="*/ 4333875 h 4476750"/>
                <a:gd name="connsiteX40" fmla="*/ 2811802 w 4519987"/>
                <a:gd name="connsiteY40" fmla="*/ 4371975 h 4476750"/>
                <a:gd name="connsiteX41" fmla="*/ 2580027 w 4519987"/>
                <a:gd name="connsiteY41" fmla="*/ 4391025 h 4476750"/>
                <a:gd name="connsiteX42" fmla="*/ 2306977 w 4519987"/>
                <a:gd name="connsiteY42" fmla="*/ 4476750 h 4476750"/>
                <a:gd name="connsiteX43" fmla="*/ 2202202 w 4519987"/>
                <a:gd name="connsiteY43" fmla="*/ 4457700 h 4476750"/>
                <a:gd name="connsiteX44" fmla="*/ 2126002 w 4519987"/>
                <a:gd name="connsiteY44" fmla="*/ 4429125 h 4476750"/>
                <a:gd name="connsiteX45" fmla="*/ 1935502 w 4519987"/>
                <a:gd name="connsiteY45" fmla="*/ 4400550 h 4476750"/>
                <a:gd name="connsiteX46" fmla="*/ 1821202 w 4519987"/>
                <a:gd name="connsiteY46" fmla="*/ 4371975 h 4476750"/>
                <a:gd name="connsiteX47" fmla="*/ 1754527 w 4519987"/>
                <a:gd name="connsiteY47" fmla="*/ 4352925 h 4476750"/>
                <a:gd name="connsiteX48" fmla="*/ 1687852 w 4519987"/>
                <a:gd name="connsiteY48" fmla="*/ 4343400 h 4476750"/>
                <a:gd name="connsiteX49" fmla="*/ 1573552 w 4519987"/>
                <a:gd name="connsiteY49" fmla="*/ 4305300 h 4476750"/>
                <a:gd name="connsiteX50" fmla="*/ 1402102 w 4519987"/>
                <a:gd name="connsiteY50" fmla="*/ 4276725 h 4476750"/>
                <a:gd name="connsiteX51" fmla="*/ 1287802 w 4519987"/>
                <a:gd name="connsiteY51" fmla="*/ 4229100 h 4476750"/>
                <a:gd name="connsiteX52" fmla="*/ 1221127 w 4519987"/>
                <a:gd name="connsiteY52" fmla="*/ 4200525 h 4476750"/>
                <a:gd name="connsiteX53" fmla="*/ 1144927 w 4519987"/>
                <a:gd name="connsiteY53" fmla="*/ 4171950 h 4476750"/>
                <a:gd name="connsiteX54" fmla="*/ 1087777 w 4519987"/>
                <a:gd name="connsiteY54" fmla="*/ 4143375 h 4476750"/>
                <a:gd name="connsiteX55" fmla="*/ 1030627 w 4519987"/>
                <a:gd name="connsiteY55" fmla="*/ 4124325 h 4476750"/>
                <a:gd name="connsiteX56" fmla="*/ 925852 w 4519987"/>
                <a:gd name="connsiteY56" fmla="*/ 4067175 h 4476750"/>
                <a:gd name="connsiteX57" fmla="*/ 830602 w 4519987"/>
                <a:gd name="connsiteY57" fmla="*/ 3981450 h 4476750"/>
                <a:gd name="connsiteX58" fmla="*/ 763927 w 4519987"/>
                <a:gd name="connsiteY58" fmla="*/ 3914775 h 4476750"/>
                <a:gd name="connsiteX59" fmla="*/ 725827 w 4519987"/>
                <a:gd name="connsiteY59" fmla="*/ 3876675 h 4476750"/>
                <a:gd name="connsiteX60" fmla="*/ 697252 w 4519987"/>
                <a:gd name="connsiteY60" fmla="*/ 3838575 h 4476750"/>
                <a:gd name="connsiteX61" fmla="*/ 640102 w 4519987"/>
                <a:gd name="connsiteY61" fmla="*/ 3781425 h 4476750"/>
                <a:gd name="connsiteX62" fmla="*/ 611527 w 4519987"/>
                <a:gd name="connsiteY62" fmla="*/ 3733800 h 4476750"/>
                <a:gd name="connsiteX63" fmla="*/ 554377 w 4519987"/>
                <a:gd name="connsiteY63" fmla="*/ 3657600 h 4476750"/>
                <a:gd name="connsiteX64" fmla="*/ 525802 w 4519987"/>
                <a:gd name="connsiteY64" fmla="*/ 3609975 h 4476750"/>
                <a:gd name="connsiteX65" fmla="*/ 497227 w 4519987"/>
                <a:gd name="connsiteY65" fmla="*/ 3552825 h 4476750"/>
                <a:gd name="connsiteX66" fmla="*/ 440077 w 4519987"/>
                <a:gd name="connsiteY66" fmla="*/ 3495675 h 4476750"/>
                <a:gd name="connsiteX67" fmla="*/ 411502 w 4519987"/>
                <a:gd name="connsiteY67" fmla="*/ 3448050 h 4476750"/>
                <a:gd name="connsiteX68" fmla="*/ 278152 w 4519987"/>
                <a:gd name="connsiteY68" fmla="*/ 3257550 h 4476750"/>
                <a:gd name="connsiteX69" fmla="*/ 249577 w 4519987"/>
                <a:gd name="connsiteY69" fmla="*/ 3200400 h 4476750"/>
                <a:gd name="connsiteX70" fmla="*/ 240052 w 4519987"/>
                <a:gd name="connsiteY70" fmla="*/ 3162300 h 4476750"/>
                <a:gd name="connsiteX71" fmla="*/ 221002 w 4519987"/>
                <a:gd name="connsiteY71" fmla="*/ 3105150 h 4476750"/>
                <a:gd name="connsiteX72" fmla="*/ 173377 w 4519987"/>
                <a:gd name="connsiteY72" fmla="*/ 3019425 h 4476750"/>
                <a:gd name="connsiteX73" fmla="*/ 144802 w 4519987"/>
                <a:gd name="connsiteY73" fmla="*/ 2924175 h 4476750"/>
                <a:gd name="connsiteX74" fmla="*/ 68602 w 4519987"/>
                <a:gd name="connsiteY74" fmla="*/ 2724150 h 4476750"/>
                <a:gd name="connsiteX75" fmla="*/ 49552 w 4519987"/>
                <a:gd name="connsiteY75" fmla="*/ 2638425 h 4476750"/>
                <a:gd name="connsiteX76" fmla="*/ 40027 w 4519987"/>
                <a:gd name="connsiteY76" fmla="*/ 2562225 h 4476750"/>
                <a:gd name="connsiteX77" fmla="*/ 30502 w 4519987"/>
                <a:gd name="connsiteY77" fmla="*/ 2514600 h 4476750"/>
                <a:gd name="connsiteX78" fmla="*/ 11452 w 4519987"/>
                <a:gd name="connsiteY78" fmla="*/ 2400300 h 4476750"/>
                <a:gd name="connsiteX79" fmla="*/ 20977 w 4519987"/>
                <a:gd name="connsiteY79" fmla="*/ 1905000 h 4476750"/>
                <a:gd name="connsiteX80" fmla="*/ 30502 w 4519987"/>
                <a:gd name="connsiteY80" fmla="*/ 1838325 h 4476750"/>
                <a:gd name="connsiteX81" fmla="*/ 49552 w 4519987"/>
                <a:gd name="connsiteY81" fmla="*/ 1781175 h 4476750"/>
                <a:gd name="connsiteX82" fmla="*/ 59077 w 4519987"/>
                <a:gd name="connsiteY82" fmla="*/ 1743075 h 4476750"/>
                <a:gd name="connsiteX83" fmla="*/ 78127 w 4519987"/>
                <a:gd name="connsiteY83" fmla="*/ 1685925 h 4476750"/>
                <a:gd name="connsiteX84" fmla="*/ 87652 w 4519987"/>
                <a:gd name="connsiteY84" fmla="*/ 1638300 h 4476750"/>
                <a:gd name="connsiteX85" fmla="*/ 106702 w 4519987"/>
                <a:gd name="connsiteY85" fmla="*/ 1590675 h 4476750"/>
                <a:gd name="connsiteX86" fmla="*/ 135277 w 4519987"/>
                <a:gd name="connsiteY86" fmla="*/ 1504950 h 4476750"/>
                <a:gd name="connsiteX87" fmla="*/ 154327 w 4519987"/>
                <a:gd name="connsiteY87" fmla="*/ 1419225 h 4476750"/>
                <a:gd name="connsiteX88" fmla="*/ 230527 w 4519987"/>
                <a:gd name="connsiteY88" fmla="*/ 1276350 h 4476750"/>
                <a:gd name="connsiteX89" fmla="*/ 240052 w 4519987"/>
                <a:gd name="connsiteY89" fmla="*/ 1247775 h 4476750"/>
                <a:gd name="connsiteX90" fmla="*/ 268627 w 4519987"/>
                <a:gd name="connsiteY90" fmla="*/ 1200150 h 4476750"/>
                <a:gd name="connsiteX91" fmla="*/ 287677 w 4519987"/>
                <a:gd name="connsiteY91" fmla="*/ 1152525 h 4476750"/>
                <a:gd name="connsiteX92" fmla="*/ 316252 w 4519987"/>
                <a:gd name="connsiteY92" fmla="*/ 1114425 h 4476750"/>
                <a:gd name="connsiteX93" fmla="*/ 363877 w 4519987"/>
                <a:gd name="connsiteY93" fmla="*/ 1038225 h 4476750"/>
                <a:gd name="connsiteX94" fmla="*/ 382927 w 4519987"/>
                <a:gd name="connsiteY94" fmla="*/ 1009650 h 4476750"/>
                <a:gd name="connsiteX95" fmla="*/ 440077 w 4519987"/>
                <a:gd name="connsiteY95" fmla="*/ 904875 h 4476750"/>
                <a:gd name="connsiteX96" fmla="*/ 478177 w 4519987"/>
                <a:gd name="connsiteY96" fmla="*/ 857250 h 4476750"/>
                <a:gd name="connsiteX97" fmla="*/ 497227 w 4519987"/>
                <a:gd name="connsiteY97" fmla="*/ 828675 h 4476750"/>
                <a:gd name="connsiteX98" fmla="*/ 535327 w 4519987"/>
                <a:gd name="connsiteY98" fmla="*/ 800100 h 4476750"/>
                <a:gd name="connsiteX99" fmla="*/ 602002 w 4519987"/>
                <a:gd name="connsiteY99" fmla="*/ 733425 h 4476750"/>
                <a:gd name="connsiteX100" fmla="*/ 668677 w 4519987"/>
                <a:gd name="connsiteY100" fmla="*/ 676275 h 4476750"/>
                <a:gd name="connsiteX101" fmla="*/ 697252 w 4519987"/>
                <a:gd name="connsiteY101" fmla="*/ 657225 h 4476750"/>
                <a:gd name="connsiteX102" fmla="*/ 840127 w 4519987"/>
                <a:gd name="connsiteY102" fmla="*/ 533400 h 4476750"/>
                <a:gd name="connsiteX103" fmla="*/ 887752 w 4519987"/>
                <a:gd name="connsiteY103" fmla="*/ 504825 h 4476750"/>
                <a:gd name="connsiteX104" fmla="*/ 1167152 w 4519987"/>
                <a:gd name="connsiteY104" fmla="*/ 311150 h 4476750"/>
                <a:gd name="connsiteX105" fmla="*/ 1268752 w 4519987"/>
                <a:gd name="connsiteY105" fmla="*/ 285750 h 4476750"/>
                <a:gd name="connsiteX106" fmla="*/ 1411627 w 4519987"/>
                <a:gd name="connsiteY106" fmla="*/ 190500 h 4476750"/>
                <a:gd name="connsiteX107" fmla="*/ 1449727 w 4519987"/>
                <a:gd name="connsiteY107" fmla="*/ 161925 h 4476750"/>
                <a:gd name="connsiteX108" fmla="*/ 1525927 w 4519987"/>
                <a:gd name="connsiteY108" fmla="*/ 152400 h 4476750"/>
                <a:gd name="connsiteX109" fmla="*/ 1583077 w 4519987"/>
                <a:gd name="connsiteY109" fmla="*/ 142875 h 4476750"/>
                <a:gd name="connsiteX110" fmla="*/ 1716427 w 4519987"/>
                <a:gd name="connsiteY110" fmla="*/ 123825 h 4476750"/>
                <a:gd name="connsiteX111" fmla="*/ 1811677 w 4519987"/>
                <a:gd name="connsiteY111" fmla="*/ 114300 h 4476750"/>
                <a:gd name="connsiteX112" fmla="*/ 1859302 w 4519987"/>
                <a:gd name="connsiteY112" fmla="*/ 104775 h 4476750"/>
                <a:gd name="connsiteX113" fmla="*/ 1916452 w 4519987"/>
                <a:gd name="connsiteY113" fmla="*/ 95250 h 4476750"/>
                <a:gd name="connsiteX114" fmla="*/ 2030752 w 4519987"/>
                <a:gd name="connsiteY114" fmla="*/ 66675 h 4476750"/>
                <a:gd name="connsiteX115" fmla="*/ 2097427 w 4519987"/>
                <a:gd name="connsiteY115" fmla="*/ 47625 h 4476750"/>
                <a:gd name="connsiteX116" fmla="*/ 2164102 w 4519987"/>
                <a:gd name="connsiteY116" fmla="*/ 38100 h 4476750"/>
                <a:gd name="connsiteX117" fmla="*/ 2392702 w 4519987"/>
                <a:gd name="connsiteY117" fmla="*/ 28575 h 4476750"/>
                <a:gd name="connsiteX0" fmla="*/ 2297452 w 4519987"/>
                <a:gd name="connsiteY0" fmla="*/ 0 h 4457700"/>
                <a:gd name="connsiteX1" fmla="*/ 2421277 w 4519987"/>
                <a:gd name="connsiteY1" fmla="*/ 28575 h 4457700"/>
                <a:gd name="connsiteX2" fmla="*/ 2497477 w 4519987"/>
                <a:gd name="connsiteY2" fmla="*/ 47625 h 4457700"/>
                <a:gd name="connsiteX3" fmla="*/ 2754652 w 4519987"/>
                <a:gd name="connsiteY3" fmla="*/ 66675 h 4457700"/>
                <a:gd name="connsiteX4" fmla="*/ 2830852 w 4519987"/>
                <a:gd name="connsiteY4" fmla="*/ 76200 h 4457700"/>
                <a:gd name="connsiteX5" fmla="*/ 2916577 w 4519987"/>
                <a:gd name="connsiteY5" fmla="*/ 85725 h 4457700"/>
                <a:gd name="connsiteX6" fmla="*/ 2973727 w 4519987"/>
                <a:gd name="connsiteY6" fmla="*/ 114300 h 4457700"/>
                <a:gd name="connsiteX7" fmla="*/ 3011827 w 4519987"/>
                <a:gd name="connsiteY7" fmla="*/ 123825 h 4457700"/>
                <a:gd name="connsiteX8" fmla="*/ 3135652 w 4519987"/>
                <a:gd name="connsiteY8" fmla="*/ 171450 h 4457700"/>
                <a:gd name="connsiteX9" fmla="*/ 3173752 w 4519987"/>
                <a:gd name="connsiteY9" fmla="*/ 190500 h 4457700"/>
                <a:gd name="connsiteX10" fmla="*/ 3240427 w 4519987"/>
                <a:gd name="connsiteY10" fmla="*/ 228600 h 4457700"/>
                <a:gd name="connsiteX11" fmla="*/ 3269002 w 4519987"/>
                <a:gd name="connsiteY11" fmla="*/ 238125 h 4457700"/>
                <a:gd name="connsiteX12" fmla="*/ 3297577 w 4519987"/>
                <a:gd name="connsiteY12" fmla="*/ 257175 h 4457700"/>
                <a:gd name="connsiteX13" fmla="*/ 3326152 w 4519987"/>
                <a:gd name="connsiteY13" fmla="*/ 266700 h 4457700"/>
                <a:gd name="connsiteX14" fmla="*/ 3354727 w 4519987"/>
                <a:gd name="connsiteY14" fmla="*/ 285750 h 4457700"/>
                <a:gd name="connsiteX15" fmla="*/ 3421402 w 4519987"/>
                <a:gd name="connsiteY15" fmla="*/ 323850 h 4457700"/>
                <a:gd name="connsiteX16" fmla="*/ 3469027 w 4519987"/>
                <a:gd name="connsiteY16" fmla="*/ 361950 h 4457700"/>
                <a:gd name="connsiteX17" fmla="*/ 3516652 w 4519987"/>
                <a:gd name="connsiteY17" fmla="*/ 390525 h 4457700"/>
                <a:gd name="connsiteX18" fmla="*/ 3630952 w 4519987"/>
                <a:gd name="connsiteY18" fmla="*/ 485775 h 4457700"/>
                <a:gd name="connsiteX19" fmla="*/ 3745252 w 4519987"/>
                <a:gd name="connsiteY19" fmla="*/ 542925 h 4457700"/>
                <a:gd name="connsiteX20" fmla="*/ 3811927 w 4519987"/>
                <a:gd name="connsiteY20" fmla="*/ 581025 h 4457700"/>
                <a:gd name="connsiteX21" fmla="*/ 4027827 w 4519987"/>
                <a:gd name="connsiteY21" fmla="*/ 819150 h 4457700"/>
                <a:gd name="connsiteX22" fmla="*/ 4164352 w 4519987"/>
                <a:gd name="connsiteY22" fmla="*/ 990600 h 4457700"/>
                <a:gd name="connsiteX23" fmla="*/ 4250077 w 4519987"/>
                <a:gd name="connsiteY23" fmla="*/ 1143000 h 4457700"/>
                <a:gd name="connsiteX24" fmla="*/ 4307227 w 4519987"/>
                <a:gd name="connsiteY24" fmla="*/ 1266825 h 4457700"/>
                <a:gd name="connsiteX25" fmla="*/ 4345327 w 4519987"/>
                <a:gd name="connsiteY25" fmla="*/ 1362075 h 4457700"/>
                <a:gd name="connsiteX26" fmla="*/ 4392952 w 4519987"/>
                <a:gd name="connsiteY26" fmla="*/ 1552575 h 4457700"/>
                <a:gd name="connsiteX27" fmla="*/ 4431052 w 4519987"/>
                <a:gd name="connsiteY27" fmla="*/ 1685925 h 4457700"/>
                <a:gd name="connsiteX28" fmla="*/ 4519952 w 4519987"/>
                <a:gd name="connsiteY28" fmla="*/ 2181225 h 4457700"/>
                <a:gd name="connsiteX29" fmla="*/ 4446927 w 4519987"/>
                <a:gd name="connsiteY29" fmla="*/ 2768600 h 4457700"/>
                <a:gd name="connsiteX30" fmla="*/ 4383427 w 4519987"/>
                <a:gd name="connsiteY30" fmla="*/ 2990850 h 4457700"/>
                <a:gd name="connsiteX31" fmla="*/ 4278652 w 4519987"/>
                <a:gd name="connsiteY31" fmla="*/ 3248025 h 4457700"/>
                <a:gd name="connsiteX32" fmla="*/ 4183402 w 4519987"/>
                <a:gd name="connsiteY32" fmla="*/ 3400425 h 4457700"/>
                <a:gd name="connsiteX33" fmla="*/ 4059577 w 4519987"/>
                <a:gd name="connsiteY33" fmla="*/ 3533775 h 4457700"/>
                <a:gd name="connsiteX34" fmla="*/ 3954802 w 4519987"/>
                <a:gd name="connsiteY34" fmla="*/ 3648075 h 4457700"/>
                <a:gd name="connsiteX35" fmla="*/ 3659527 w 4519987"/>
                <a:gd name="connsiteY35" fmla="*/ 3971925 h 4457700"/>
                <a:gd name="connsiteX36" fmla="*/ 3516652 w 4519987"/>
                <a:gd name="connsiteY36" fmla="*/ 4083050 h 4457700"/>
                <a:gd name="connsiteX37" fmla="*/ 3221377 w 4519987"/>
                <a:gd name="connsiteY37" fmla="*/ 4222750 h 4457700"/>
                <a:gd name="connsiteX38" fmla="*/ 3068977 w 4519987"/>
                <a:gd name="connsiteY38" fmla="*/ 4286250 h 4457700"/>
                <a:gd name="connsiteX39" fmla="*/ 2935627 w 4519987"/>
                <a:gd name="connsiteY39" fmla="*/ 4333875 h 4457700"/>
                <a:gd name="connsiteX40" fmla="*/ 2811802 w 4519987"/>
                <a:gd name="connsiteY40" fmla="*/ 4371975 h 4457700"/>
                <a:gd name="connsiteX41" fmla="*/ 2580027 w 4519987"/>
                <a:gd name="connsiteY41" fmla="*/ 4391025 h 4457700"/>
                <a:gd name="connsiteX42" fmla="*/ 2202202 w 4519987"/>
                <a:gd name="connsiteY42" fmla="*/ 4457700 h 4457700"/>
                <a:gd name="connsiteX43" fmla="*/ 2126002 w 4519987"/>
                <a:gd name="connsiteY43" fmla="*/ 4429125 h 4457700"/>
                <a:gd name="connsiteX44" fmla="*/ 1935502 w 4519987"/>
                <a:gd name="connsiteY44" fmla="*/ 4400550 h 4457700"/>
                <a:gd name="connsiteX45" fmla="*/ 1821202 w 4519987"/>
                <a:gd name="connsiteY45" fmla="*/ 4371975 h 4457700"/>
                <a:gd name="connsiteX46" fmla="*/ 1754527 w 4519987"/>
                <a:gd name="connsiteY46" fmla="*/ 4352925 h 4457700"/>
                <a:gd name="connsiteX47" fmla="*/ 1687852 w 4519987"/>
                <a:gd name="connsiteY47" fmla="*/ 4343400 h 4457700"/>
                <a:gd name="connsiteX48" fmla="*/ 1573552 w 4519987"/>
                <a:gd name="connsiteY48" fmla="*/ 4305300 h 4457700"/>
                <a:gd name="connsiteX49" fmla="*/ 1402102 w 4519987"/>
                <a:gd name="connsiteY49" fmla="*/ 4276725 h 4457700"/>
                <a:gd name="connsiteX50" fmla="*/ 1287802 w 4519987"/>
                <a:gd name="connsiteY50" fmla="*/ 4229100 h 4457700"/>
                <a:gd name="connsiteX51" fmla="*/ 1221127 w 4519987"/>
                <a:gd name="connsiteY51" fmla="*/ 4200525 h 4457700"/>
                <a:gd name="connsiteX52" fmla="*/ 1144927 w 4519987"/>
                <a:gd name="connsiteY52" fmla="*/ 4171950 h 4457700"/>
                <a:gd name="connsiteX53" fmla="*/ 1087777 w 4519987"/>
                <a:gd name="connsiteY53" fmla="*/ 4143375 h 4457700"/>
                <a:gd name="connsiteX54" fmla="*/ 1030627 w 4519987"/>
                <a:gd name="connsiteY54" fmla="*/ 4124325 h 4457700"/>
                <a:gd name="connsiteX55" fmla="*/ 925852 w 4519987"/>
                <a:gd name="connsiteY55" fmla="*/ 4067175 h 4457700"/>
                <a:gd name="connsiteX56" fmla="*/ 830602 w 4519987"/>
                <a:gd name="connsiteY56" fmla="*/ 3981450 h 4457700"/>
                <a:gd name="connsiteX57" fmla="*/ 763927 w 4519987"/>
                <a:gd name="connsiteY57" fmla="*/ 3914775 h 4457700"/>
                <a:gd name="connsiteX58" fmla="*/ 725827 w 4519987"/>
                <a:gd name="connsiteY58" fmla="*/ 3876675 h 4457700"/>
                <a:gd name="connsiteX59" fmla="*/ 697252 w 4519987"/>
                <a:gd name="connsiteY59" fmla="*/ 3838575 h 4457700"/>
                <a:gd name="connsiteX60" fmla="*/ 640102 w 4519987"/>
                <a:gd name="connsiteY60" fmla="*/ 3781425 h 4457700"/>
                <a:gd name="connsiteX61" fmla="*/ 611527 w 4519987"/>
                <a:gd name="connsiteY61" fmla="*/ 3733800 h 4457700"/>
                <a:gd name="connsiteX62" fmla="*/ 554377 w 4519987"/>
                <a:gd name="connsiteY62" fmla="*/ 3657600 h 4457700"/>
                <a:gd name="connsiteX63" fmla="*/ 525802 w 4519987"/>
                <a:gd name="connsiteY63" fmla="*/ 3609975 h 4457700"/>
                <a:gd name="connsiteX64" fmla="*/ 497227 w 4519987"/>
                <a:gd name="connsiteY64" fmla="*/ 3552825 h 4457700"/>
                <a:gd name="connsiteX65" fmla="*/ 440077 w 4519987"/>
                <a:gd name="connsiteY65" fmla="*/ 3495675 h 4457700"/>
                <a:gd name="connsiteX66" fmla="*/ 411502 w 4519987"/>
                <a:gd name="connsiteY66" fmla="*/ 3448050 h 4457700"/>
                <a:gd name="connsiteX67" fmla="*/ 278152 w 4519987"/>
                <a:gd name="connsiteY67" fmla="*/ 3257550 h 4457700"/>
                <a:gd name="connsiteX68" fmla="*/ 249577 w 4519987"/>
                <a:gd name="connsiteY68" fmla="*/ 3200400 h 4457700"/>
                <a:gd name="connsiteX69" fmla="*/ 240052 w 4519987"/>
                <a:gd name="connsiteY69" fmla="*/ 3162300 h 4457700"/>
                <a:gd name="connsiteX70" fmla="*/ 221002 w 4519987"/>
                <a:gd name="connsiteY70" fmla="*/ 3105150 h 4457700"/>
                <a:gd name="connsiteX71" fmla="*/ 173377 w 4519987"/>
                <a:gd name="connsiteY71" fmla="*/ 3019425 h 4457700"/>
                <a:gd name="connsiteX72" fmla="*/ 144802 w 4519987"/>
                <a:gd name="connsiteY72" fmla="*/ 2924175 h 4457700"/>
                <a:gd name="connsiteX73" fmla="*/ 68602 w 4519987"/>
                <a:gd name="connsiteY73" fmla="*/ 2724150 h 4457700"/>
                <a:gd name="connsiteX74" fmla="*/ 49552 w 4519987"/>
                <a:gd name="connsiteY74" fmla="*/ 2638425 h 4457700"/>
                <a:gd name="connsiteX75" fmla="*/ 40027 w 4519987"/>
                <a:gd name="connsiteY75" fmla="*/ 2562225 h 4457700"/>
                <a:gd name="connsiteX76" fmla="*/ 30502 w 4519987"/>
                <a:gd name="connsiteY76" fmla="*/ 2514600 h 4457700"/>
                <a:gd name="connsiteX77" fmla="*/ 11452 w 4519987"/>
                <a:gd name="connsiteY77" fmla="*/ 2400300 h 4457700"/>
                <a:gd name="connsiteX78" fmla="*/ 20977 w 4519987"/>
                <a:gd name="connsiteY78" fmla="*/ 1905000 h 4457700"/>
                <a:gd name="connsiteX79" fmla="*/ 30502 w 4519987"/>
                <a:gd name="connsiteY79" fmla="*/ 1838325 h 4457700"/>
                <a:gd name="connsiteX80" fmla="*/ 49552 w 4519987"/>
                <a:gd name="connsiteY80" fmla="*/ 1781175 h 4457700"/>
                <a:gd name="connsiteX81" fmla="*/ 59077 w 4519987"/>
                <a:gd name="connsiteY81" fmla="*/ 1743075 h 4457700"/>
                <a:gd name="connsiteX82" fmla="*/ 78127 w 4519987"/>
                <a:gd name="connsiteY82" fmla="*/ 1685925 h 4457700"/>
                <a:gd name="connsiteX83" fmla="*/ 87652 w 4519987"/>
                <a:gd name="connsiteY83" fmla="*/ 1638300 h 4457700"/>
                <a:gd name="connsiteX84" fmla="*/ 106702 w 4519987"/>
                <a:gd name="connsiteY84" fmla="*/ 1590675 h 4457700"/>
                <a:gd name="connsiteX85" fmla="*/ 135277 w 4519987"/>
                <a:gd name="connsiteY85" fmla="*/ 1504950 h 4457700"/>
                <a:gd name="connsiteX86" fmla="*/ 154327 w 4519987"/>
                <a:gd name="connsiteY86" fmla="*/ 1419225 h 4457700"/>
                <a:gd name="connsiteX87" fmla="*/ 230527 w 4519987"/>
                <a:gd name="connsiteY87" fmla="*/ 1276350 h 4457700"/>
                <a:gd name="connsiteX88" fmla="*/ 240052 w 4519987"/>
                <a:gd name="connsiteY88" fmla="*/ 1247775 h 4457700"/>
                <a:gd name="connsiteX89" fmla="*/ 268627 w 4519987"/>
                <a:gd name="connsiteY89" fmla="*/ 1200150 h 4457700"/>
                <a:gd name="connsiteX90" fmla="*/ 287677 w 4519987"/>
                <a:gd name="connsiteY90" fmla="*/ 1152525 h 4457700"/>
                <a:gd name="connsiteX91" fmla="*/ 316252 w 4519987"/>
                <a:gd name="connsiteY91" fmla="*/ 1114425 h 4457700"/>
                <a:gd name="connsiteX92" fmla="*/ 363877 w 4519987"/>
                <a:gd name="connsiteY92" fmla="*/ 1038225 h 4457700"/>
                <a:gd name="connsiteX93" fmla="*/ 382927 w 4519987"/>
                <a:gd name="connsiteY93" fmla="*/ 1009650 h 4457700"/>
                <a:gd name="connsiteX94" fmla="*/ 440077 w 4519987"/>
                <a:gd name="connsiteY94" fmla="*/ 904875 h 4457700"/>
                <a:gd name="connsiteX95" fmla="*/ 478177 w 4519987"/>
                <a:gd name="connsiteY95" fmla="*/ 857250 h 4457700"/>
                <a:gd name="connsiteX96" fmla="*/ 497227 w 4519987"/>
                <a:gd name="connsiteY96" fmla="*/ 828675 h 4457700"/>
                <a:gd name="connsiteX97" fmla="*/ 535327 w 4519987"/>
                <a:gd name="connsiteY97" fmla="*/ 800100 h 4457700"/>
                <a:gd name="connsiteX98" fmla="*/ 602002 w 4519987"/>
                <a:gd name="connsiteY98" fmla="*/ 733425 h 4457700"/>
                <a:gd name="connsiteX99" fmla="*/ 668677 w 4519987"/>
                <a:gd name="connsiteY99" fmla="*/ 676275 h 4457700"/>
                <a:gd name="connsiteX100" fmla="*/ 697252 w 4519987"/>
                <a:gd name="connsiteY100" fmla="*/ 657225 h 4457700"/>
                <a:gd name="connsiteX101" fmla="*/ 840127 w 4519987"/>
                <a:gd name="connsiteY101" fmla="*/ 533400 h 4457700"/>
                <a:gd name="connsiteX102" fmla="*/ 887752 w 4519987"/>
                <a:gd name="connsiteY102" fmla="*/ 504825 h 4457700"/>
                <a:gd name="connsiteX103" fmla="*/ 1167152 w 4519987"/>
                <a:gd name="connsiteY103" fmla="*/ 311150 h 4457700"/>
                <a:gd name="connsiteX104" fmla="*/ 1268752 w 4519987"/>
                <a:gd name="connsiteY104" fmla="*/ 285750 h 4457700"/>
                <a:gd name="connsiteX105" fmla="*/ 1411627 w 4519987"/>
                <a:gd name="connsiteY105" fmla="*/ 190500 h 4457700"/>
                <a:gd name="connsiteX106" fmla="*/ 1449727 w 4519987"/>
                <a:gd name="connsiteY106" fmla="*/ 161925 h 4457700"/>
                <a:gd name="connsiteX107" fmla="*/ 1525927 w 4519987"/>
                <a:gd name="connsiteY107" fmla="*/ 152400 h 4457700"/>
                <a:gd name="connsiteX108" fmla="*/ 1583077 w 4519987"/>
                <a:gd name="connsiteY108" fmla="*/ 142875 h 4457700"/>
                <a:gd name="connsiteX109" fmla="*/ 1716427 w 4519987"/>
                <a:gd name="connsiteY109" fmla="*/ 123825 h 4457700"/>
                <a:gd name="connsiteX110" fmla="*/ 1811677 w 4519987"/>
                <a:gd name="connsiteY110" fmla="*/ 114300 h 4457700"/>
                <a:gd name="connsiteX111" fmla="*/ 1859302 w 4519987"/>
                <a:gd name="connsiteY111" fmla="*/ 104775 h 4457700"/>
                <a:gd name="connsiteX112" fmla="*/ 1916452 w 4519987"/>
                <a:gd name="connsiteY112" fmla="*/ 95250 h 4457700"/>
                <a:gd name="connsiteX113" fmla="*/ 2030752 w 4519987"/>
                <a:gd name="connsiteY113" fmla="*/ 66675 h 4457700"/>
                <a:gd name="connsiteX114" fmla="*/ 2097427 w 4519987"/>
                <a:gd name="connsiteY114" fmla="*/ 47625 h 4457700"/>
                <a:gd name="connsiteX115" fmla="*/ 2164102 w 4519987"/>
                <a:gd name="connsiteY115" fmla="*/ 38100 h 4457700"/>
                <a:gd name="connsiteX116" fmla="*/ 2392702 w 4519987"/>
                <a:gd name="connsiteY116" fmla="*/ 28575 h 4457700"/>
                <a:gd name="connsiteX0" fmla="*/ 2297452 w 4519987"/>
                <a:gd name="connsiteY0" fmla="*/ 0 h 4429260"/>
                <a:gd name="connsiteX1" fmla="*/ 2421277 w 4519987"/>
                <a:gd name="connsiteY1" fmla="*/ 28575 h 4429260"/>
                <a:gd name="connsiteX2" fmla="*/ 2497477 w 4519987"/>
                <a:gd name="connsiteY2" fmla="*/ 47625 h 4429260"/>
                <a:gd name="connsiteX3" fmla="*/ 2754652 w 4519987"/>
                <a:gd name="connsiteY3" fmla="*/ 66675 h 4429260"/>
                <a:gd name="connsiteX4" fmla="*/ 2830852 w 4519987"/>
                <a:gd name="connsiteY4" fmla="*/ 76200 h 4429260"/>
                <a:gd name="connsiteX5" fmla="*/ 2916577 w 4519987"/>
                <a:gd name="connsiteY5" fmla="*/ 85725 h 4429260"/>
                <a:gd name="connsiteX6" fmla="*/ 2973727 w 4519987"/>
                <a:gd name="connsiteY6" fmla="*/ 114300 h 4429260"/>
                <a:gd name="connsiteX7" fmla="*/ 3011827 w 4519987"/>
                <a:gd name="connsiteY7" fmla="*/ 123825 h 4429260"/>
                <a:gd name="connsiteX8" fmla="*/ 3135652 w 4519987"/>
                <a:gd name="connsiteY8" fmla="*/ 171450 h 4429260"/>
                <a:gd name="connsiteX9" fmla="*/ 3173752 w 4519987"/>
                <a:gd name="connsiteY9" fmla="*/ 190500 h 4429260"/>
                <a:gd name="connsiteX10" fmla="*/ 3240427 w 4519987"/>
                <a:gd name="connsiteY10" fmla="*/ 228600 h 4429260"/>
                <a:gd name="connsiteX11" fmla="*/ 3269002 w 4519987"/>
                <a:gd name="connsiteY11" fmla="*/ 238125 h 4429260"/>
                <a:gd name="connsiteX12" fmla="*/ 3297577 w 4519987"/>
                <a:gd name="connsiteY12" fmla="*/ 257175 h 4429260"/>
                <a:gd name="connsiteX13" fmla="*/ 3326152 w 4519987"/>
                <a:gd name="connsiteY13" fmla="*/ 266700 h 4429260"/>
                <a:gd name="connsiteX14" fmla="*/ 3354727 w 4519987"/>
                <a:gd name="connsiteY14" fmla="*/ 285750 h 4429260"/>
                <a:gd name="connsiteX15" fmla="*/ 3421402 w 4519987"/>
                <a:gd name="connsiteY15" fmla="*/ 323850 h 4429260"/>
                <a:gd name="connsiteX16" fmla="*/ 3469027 w 4519987"/>
                <a:gd name="connsiteY16" fmla="*/ 361950 h 4429260"/>
                <a:gd name="connsiteX17" fmla="*/ 3516652 w 4519987"/>
                <a:gd name="connsiteY17" fmla="*/ 390525 h 4429260"/>
                <a:gd name="connsiteX18" fmla="*/ 3630952 w 4519987"/>
                <a:gd name="connsiteY18" fmla="*/ 485775 h 4429260"/>
                <a:gd name="connsiteX19" fmla="*/ 3745252 w 4519987"/>
                <a:gd name="connsiteY19" fmla="*/ 542925 h 4429260"/>
                <a:gd name="connsiteX20" fmla="*/ 3811927 w 4519987"/>
                <a:gd name="connsiteY20" fmla="*/ 581025 h 4429260"/>
                <a:gd name="connsiteX21" fmla="*/ 4027827 w 4519987"/>
                <a:gd name="connsiteY21" fmla="*/ 819150 h 4429260"/>
                <a:gd name="connsiteX22" fmla="*/ 4164352 w 4519987"/>
                <a:gd name="connsiteY22" fmla="*/ 990600 h 4429260"/>
                <a:gd name="connsiteX23" fmla="*/ 4250077 w 4519987"/>
                <a:gd name="connsiteY23" fmla="*/ 1143000 h 4429260"/>
                <a:gd name="connsiteX24" fmla="*/ 4307227 w 4519987"/>
                <a:gd name="connsiteY24" fmla="*/ 1266825 h 4429260"/>
                <a:gd name="connsiteX25" fmla="*/ 4345327 w 4519987"/>
                <a:gd name="connsiteY25" fmla="*/ 1362075 h 4429260"/>
                <a:gd name="connsiteX26" fmla="*/ 4392952 w 4519987"/>
                <a:gd name="connsiteY26" fmla="*/ 1552575 h 4429260"/>
                <a:gd name="connsiteX27" fmla="*/ 4431052 w 4519987"/>
                <a:gd name="connsiteY27" fmla="*/ 1685925 h 4429260"/>
                <a:gd name="connsiteX28" fmla="*/ 4519952 w 4519987"/>
                <a:gd name="connsiteY28" fmla="*/ 2181225 h 4429260"/>
                <a:gd name="connsiteX29" fmla="*/ 4446927 w 4519987"/>
                <a:gd name="connsiteY29" fmla="*/ 2768600 h 4429260"/>
                <a:gd name="connsiteX30" fmla="*/ 4383427 w 4519987"/>
                <a:gd name="connsiteY30" fmla="*/ 2990850 h 4429260"/>
                <a:gd name="connsiteX31" fmla="*/ 4278652 w 4519987"/>
                <a:gd name="connsiteY31" fmla="*/ 3248025 h 4429260"/>
                <a:gd name="connsiteX32" fmla="*/ 4183402 w 4519987"/>
                <a:gd name="connsiteY32" fmla="*/ 3400425 h 4429260"/>
                <a:gd name="connsiteX33" fmla="*/ 4059577 w 4519987"/>
                <a:gd name="connsiteY33" fmla="*/ 3533775 h 4429260"/>
                <a:gd name="connsiteX34" fmla="*/ 3954802 w 4519987"/>
                <a:gd name="connsiteY34" fmla="*/ 3648075 h 4429260"/>
                <a:gd name="connsiteX35" fmla="*/ 3659527 w 4519987"/>
                <a:gd name="connsiteY35" fmla="*/ 3971925 h 4429260"/>
                <a:gd name="connsiteX36" fmla="*/ 3516652 w 4519987"/>
                <a:gd name="connsiteY36" fmla="*/ 4083050 h 4429260"/>
                <a:gd name="connsiteX37" fmla="*/ 3221377 w 4519987"/>
                <a:gd name="connsiteY37" fmla="*/ 4222750 h 4429260"/>
                <a:gd name="connsiteX38" fmla="*/ 3068977 w 4519987"/>
                <a:gd name="connsiteY38" fmla="*/ 4286250 h 4429260"/>
                <a:gd name="connsiteX39" fmla="*/ 2935627 w 4519987"/>
                <a:gd name="connsiteY39" fmla="*/ 4333875 h 4429260"/>
                <a:gd name="connsiteX40" fmla="*/ 2811802 w 4519987"/>
                <a:gd name="connsiteY40" fmla="*/ 4371975 h 4429260"/>
                <a:gd name="connsiteX41" fmla="*/ 2580027 w 4519987"/>
                <a:gd name="connsiteY41" fmla="*/ 4391025 h 4429260"/>
                <a:gd name="connsiteX42" fmla="*/ 2126002 w 4519987"/>
                <a:gd name="connsiteY42" fmla="*/ 4429125 h 4429260"/>
                <a:gd name="connsiteX43" fmla="*/ 1935502 w 4519987"/>
                <a:gd name="connsiteY43" fmla="*/ 4400550 h 4429260"/>
                <a:gd name="connsiteX44" fmla="*/ 1821202 w 4519987"/>
                <a:gd name="connsiteY44" fmla="*/ 4371975 h 4429260"/>
                <a:gd name="connsiteX45" fmla="*/ 1754527 w 4519987"/>
                <a:gd name="connsiteY45" fmla="*/ 4352925 h 4429260"/>
                <a:gd name="connsiteX46" fmla="*/ 1687852 w 4519987"/>
                <a:gd name="connsiteY46" fmla="*/ 4343400 h 4429260"/>
                <a:gd name="connsiteX47" fmla="*/ 1573552 w 4519987"/>
                <a:gd name="connsiteY47" fmla="*/ 4305300 h 4429260"/>
                <a:gd name="connsiteX48" fmla="*/ 1402102 w 4519987"/>
                <a:gd name="connsiteY48" fmla="*/ 4276725 h 4429260"/>
                <a:gd name="connsiteX49" fmla="*/ 1287802 w 4519987"/>
                <a:gd name="connsiteY49" fmla="*/ 4229100 h 4429260"/>
                <a:gd name="connsiteX50" fmla="*/ 1221127 w 4519987"/>
                <a:gd name="connsiteY50" fmla="*/ 4200525 h 4429260"/>
                <a:gd name="connsiteX51" fmla="*/ 1144927 w 4519987"/>
                <a:gd name="connsiteY51" fmla="*/ 4171950 h 4429260"/>
                <a:gd name="connsiteX52" fmla="*/ 1087777 w 4519987"/>
                <a:gd name="connsiteY52" fmla="*/ 4143375 h 4429260"/>
                <a:gd name="connsiteX53" fmla="*/ 1030627 w 4519987"/>
                <a:gd name="connsiteY53" fmla="*/ 4124325 h 4429260"/>
                <a:gd name="connsiteX54" fmla="*/ 925852 w 4519987"/>
                <a:gd name="connsiteY54" fmla="*/ 4067175 h 4429260"/>
                <a:gd name="connsiteX55" fmla="*/ 830602 w 4519987"/>
                <a:gd name="connsiteY55" fmla="*/ 3981450 h 4429260"/>
                <a:gd name="connsiteX56" fmla="*/ 763927 w 4519987"/>
                <a:gd name="connsiteY56" fmla="*/ 3914775 h 4429260"/>
                <a:gd name="connsiteX57" fmla="*/ 725827 w 4519987"/>
                <a:gd name="connsiteY57" fmla="*/ 3876675 h 4429260"/>
                <a:gd name="connsiteX58" fmla="*/ 697252 w 4519987"/>
                <a:gd name="connsiteY58" fmla="*/ 3838575 h 4429260"/>
                <a:gd name="connsiteX59" fmla="*/ 640102 w 4519987"/>
                <a:gd name="connsiteY59" fmla="*/ 3781425 h 4429260"/>
                <a:gd name="connsiteX60" fmla="*/ 611527 w 4519987"/>
                <a:gd name="connsiteY60" fmla="*/ 3733800 h 4429260"/>
                <a:gd name="connsiteX61" fmla="*/ 554377 w 4519987"/>
                <a:gd name="connsiteY61" fmla="*/ 3657600 h 4429260"/>
                <a:gd name="connsiteX62" fmla="*/ 525802 w 4519987"/>
                <a:gd name="connsiteY62" fmla="*/ 3609975 h 4429260"/>
                <a:gd name="connsiteX63" fmla="*/ 497227 w 4519987"/>
                <a:gd name="connsiteY63" fmla="*/ 3552825 h 4429260"/>
                <a:gd name="connsiteX64" fmla="*/ 440077 w 4519987"/>
                <a:gd name="connsiteY64" fmla="*/ 3495675 h 4429260"/>
                <a:gd name="connsiteX65" fmla="*/ 411502 w 4519987"/>
                <a:gd name="connsiteY65" fmla="*/ 3448050 h 4429260"/>
                <a:gd name="connsiteX66" fmla="*/ 278152 w 4519987"/>
                <a:gd name="connsiteY66" fmla="*/ 3257550 h 4429260"/>
                <a:gd name="connsiteX67" fmla="*/ 249577 w 4519987"/>
                <a:gd name="connsiteY67" fmla="*/ 3200400 h 4429260"/>
                <a:gd name="connsiteX68" fmla="*/ 240052 w 4519987"/>
                <a:gd name="connsiteY68" fmla="*/ 3162300 h 4429260"/>
                <a:gd name="connsiteX69" fmla="*/ 221002 w 4519987"/>
                <a:gd name="connsiteY69" fmla="*/ 3105150 h 4429260"/>
                <a:gd name="connsiteX70" fmla="*/ 173377 w 4519987"/>
                <a:gd name="connsiteY70" fmla="*/ 3019425 h 4429260"/>
                <a:gd name="connsiteX71" fmla="*/ 144802 w 4519987"/>
                <a:gd name="connsiteY71" fmla="*/ 2924175 h 4429260"/>
                <a:gd name="connsiteX72" fmla="*/ 68602 w 4519987"/>
                <a:gd name="connsiteY72" fmla="*/ 2724150 h 4429260"/>
                <a:gd name="connsiteX73" fmla="*/ 49552 w 4519987"/>
                <a:gd name="connsiteY73" fmla="*/ 2638425 h 4429260"/>
                <a:gd name="connsiteX74" fmla="*/ 40027 w 4519987"/>
                <a:gd name="connsiteY74" fmla="*/ 2562225 h 4429260"/>
                <a:gd name="connsiteX75" fmla="*/ 30502 w 4519987"/>
                <a:gd name="connsiteY75" fmla="*/ 2514600 h 4429260"/>
                <a:gd name="connsiteX76" fmla="*/ 11452 w 4519987"/>
                <a:gd name="connsiteY76" fmla="*/ 2400300 h 4429260"/>
                <a:gd name="connsiteX77" fmla="*/ 20977 w 4519987"/>
                <a:gd name="connsiteY77" fmla="*/ 1905000 h 4429260"/>
                <a:gd name="connsiteX78" fmla="*/ 30502 w 4519987"/>
                <a:gd name="connsiteY78" fmla="*/ 1838325 h 4429260"/>
                <a:gd name="connsiteX79" fmla="*/ 49552 w 4519987"/>
                <a:gd name="connsiteY79" fmla="*/ 1781175 h 4429260"/>
                <a:gd name="connsiteX80" fmla="*/ 59077 w 4519987"/>
                <a:gd name="connsiteY80" fmla="*/ 1743075 h 4429260"/>
                <a:gd name="connsiteX81" fmla="*/ 78127 w 4519987"/>
                <a:gd name="connsiteY81" fmla="*/ 1685925 h 4429260"/>
                <a:gd name="connsiteX82" fmla="*/ 87652 w 4519987"/>
                <a:gd name="connsiteY82" fmla="*/ 1638300 h 4429260"/>
                <a:gd name="connsiteX83" fmla="*/ 106702 w 4519987"/>
                <a:gd name="connsiteY83" fmla="*/ 1590675 h 4429260"/>
                <a:gd name="connsiteX84" fmla="*/ 135277 w 4519987"/>
                <a:gd name="connsiteY84" fmla="*/ 1504950 h 4429260"/>
                <a:gd name="connsiteX85" fmla="*/ 154327 w 4519987"/>
                <a:gd name="connsiteY85" fmla="*/ 1419225 h 4429260"/>
                <a:gd name="connsiteX86" fmla="*/ 230527 w 4519987"/>
                <a:gd name="connsiteY86" fmla="*/ 1276350 h 4429260"/>
                <a:gd name="connsiteX87" fmla="*/ 240052 w 4519987"/>
                <a:gd name="connsiteY87" fmla="*/ 1247775 h 4429260"/>
                <a:gd name="connsiteX88" fmla="*/ 268627 w 4519987"/>
                <a:gd name="connsiteY88" fmla="*/ 1200150 h 4429260"/>
                <a:gd name="connsiteX89" fmla="*/ 287677 w 4519987"/>
                <a:gd name="connsiteY89" fmla="*/ 1152525 h 4429260"/>
                <a:gd name="connsiteX90" fmla="*/ 316252 w 4519987"/>
                <a:gd name="connsiteY90" fmla="*/ 1114425 h 4429260"/>
                <a:gd name="connsiteX91" fmla="*/ 363877 w 4519987"/>
                <a:gd name="connsiteY91" fmla="*/ 1038225 h 4429260"/>
                <a:gd name="connsiteX92" fmla="*/ 382927 w 4519987"/>
                <a:gd name="connsiteY92" fmla="*/ 1009650 h 4429260"/>
                <a:gd name="connsiteX93" fmla="*/ 440077 w 4519987"/>
                <a:gd name="connsiteY93" fmla="*/ 904875 h 4429260"/>
                <a:gd name="connsiteX94" fmla="*/ 478177 w 4519987"/>
                <a:gd name="connsiteY94" fmla="*/ 857250 h 4429260"/>
                <a:gd name="connsiteX95" fmla="*/ 497227 w 4519987"/>
                <a:gd name="connsiteY95" fmla="*/ 828675 h 4429260"/>
                <a:gd name="connsiteX96" fmla="*/ 535327 w 4519987"/>
                <a:gd name="connsiteY96" fmla="*/ 800100 h 4429260"/>
                <a:gd name="connsiteX97" fmla="*/ 602002 w 4519987"/>
                <a:gd name="connsiteY97" fmla="*/ 733425 h 4429260"/>
                <a:gd name="connsiteX98" fmla="*/ 668677 w 4519987"/>
                <a:gd name="connsiteY98" fmla="*/ 676275 h 4429260"/>
                <a:gd name="connsiteX99" fmla="*/ 697252 w 4519987"/>
                <a:gd name="connsiteY99" fmla="*/ 657225 h 4429260"/>
                <a:gd name="connsiteX100" fmla="*/ 840127 w 4519987"/>
                <a:gd name="connsiteY100" fmla="*/ 533400 h 4429260"/>
                <a:gd name="connsiteX101" fmla="*/ 887752 w 4519987"/>
                <a:gd name="connsiteY101" fmla="*/ 504825 h 4429260"/>
                <a:gd name="connsiteX102" fmla="*/ 1167152 w 4519987"/>
                <a:gd name="connsiteY102" fmla="*/ 311150 h 4429260"/>
                <a:gd name="connsiteX103" fmla="*/ 1268752 w 4519987"/>
                <a:gd name="connsiteY103" fmla="*/ 285750 h 4429260"/>
                <a:gd name="connsiteX104" fmla="*/ 1411627 w 4519987"/>
                <a:gd name="connsiteY104" fmla="*/ 190500 h 4429260"/>
                <a:gd name="connsiteX105" fmla="*/ 1449727 w 4519987"/>
                <a:gd name="connsiteY105" fmla="*/ 161925 h 4429260"/>
                <a:gd name="connsiteX106" fmla="*/ 1525927 w 4519987"/>
                <a:gd name="connsiteY106" fmla="*/ 152400 h 4429260"/>
                <a:gd name="connsiteX107" fmla="*/ 1583077 w 4519987"/>
                <a:gd name="connsiteY107" fmla="*/ 142875 h 4429260"/>
                <a:gd name="connsiteX108" fmla="*/ 1716427 w 4519987"/>
                <a:gd name="connsiteY108" fmla="*/ 123825 h 4429260"/>
                <a:gd name="connsiteX109" fmla="*/ 1811677 w 4519987"/>
                <a:gd name="connsiteY109" fmla="*/ 114300 h 4429260"/>
                <a:gd name="connsiteX110" fmla="*/ 1859302 w 4519987"/>
                <a:gd name="connsiteY110" fmla="*/ 104775 h 4429260"/>
                <a:gd name="connsiteX111" fmla="*/ 1916452 w 4519987"/>
                <a:gd name="connsiteY111" fmla="*/ 95250 h 4429260"/>
                <a:gd name="connsiteX112" fmla="*/ 2030752 w 4519987"/>
                <a:gd name="connsiteY112" fmla="*/ 66675 h 4429260"/>
                <a:gd name="connsiteX113" fmla="*/ 2097427 w 4519987"/>
                <a:gd name="connsiteY113" fmla="*/ 47625 h 4429260"/>
                <a:gd name="connsiteX114" fmla="*/ 2164102 w 4519987"/>
                <a:gd name="connsiteY114" fmla="*/ 38100 h 4429260"/>
                <a:gd name="connsiteX115" fmla="*/ 2392702 w 4519987"/>
                <a:gd name="connsiteY115" fmla="*/ 28575 h 4429260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687852 w 4519987"/>
                <a:gd name="connsiteY45" fmla="*/ 4343400 h 4429225"/>
                <a:gd name="connsiteX46" fmla="*/ 1573552 w 4519987"/>
                <a:gd name="connsiteY46" fmla="*/ 4305300 h 4429225"/>
                <a:gd name="connsiteX47" fmla="*/ 1402102 w 4519987"/>
                <a:gd name="connsiteY47" fmla="*/ 4276725 h 4429225"/>
                <a:gd name="connsiteX48" fmla="*/ 1287802 w 4519987"/>
                <a:gd name="connsiteY48" fmla="*/ 4229100 h 4429225"/>
                <a:gd name="connsiteX49" fmla="*/ 1221127 w 4519987"/>
                <a:gd name="connsiteY49" fmla="*/ 4200525 h 4429225"/>
                <a:gd name="connsiteX50" fmla="*/ 1144927 w 4519987"/>
                <a:gd name="connsiteY50" fmla="*/ 4171950 h 4429225"/>
                <a:gd name="connsiteX51" fmla="*/ 1087777 w 4519987"/>
                <a:gd name="connsiteY51" fmla="*/ 4143375 h 4429225"/>
                <a:gd name="connsiteX52" fmla="*/ 1030627 w 4519987"/>
                <a:gd name="connsiteY52" fmla="*/ 4124325 h 4429225"/>
                <a:gd name="connsiteX53" fmla="*/ 925852 w 4519987"/>
                <a:gd name="connsiteY53" fmla="*/ 4067175 h 4429225"/>
                <a:gd name="connsiteX54" fmla="*/ 830602 w 4519987"/>
                <a:gd name="connsiteY54" fmla="*/ 3981450 h 4429225"/>
                <a:gd name="connsiteX55" fmla="*/ 763927 w 4519987"/>
                <a:gd name="connsiteY55" fmla="*/ 3914775 h 4429225"/>
                <a:gd name="connsiteX56" fmla="*/ 725827 w 4519987"/>
                <a:gd name="connsiteY56" fmla="*/ 3876675 h 4429225"/>
                <a:gd name="connsiteX57" fmla="*/ 697252 w 4519987"/>
                <a:gd name="connsiteY57" fmla="*/ 3838575 h 4429225"/>
                <a:gd name="connsiteX58" fmla="*/ 640102 w 4519987"/>
                <a:gd name="connsiteY58" fmla="*/ 3781425 h 4429225"/>
                <a:gd name="connsiteX59" fmla="*/ 611527 w 4519987"/>
                <a:gd name="connsiteY59" fmla="*/ 3733800 h 4429225"/>
                <a:gd name="connsiteX60" fmla="*/ 554377 w 4519987"/>
                <a:gd name="connsiteY60" fmla="*/ 3657600 h 4429225"/>
                <a:gd name="connsiteX61" fmla="*/ 525802 w 4519987"/>
                <a:gd name="connsiteY61" fmla="*/ 3609975 h 4429225"/>
                <a:gd name="connsiteX62" fmla="*/ 497227 w 4519987"/>
                <a:gd name="connsiteY62" fmla="*/ 3552825 h 4429225"/>
                <a:gd name="connsiteX63" fmla="*/ 440077 w 4519987"/>
                <a:gd name="connsiteY63" fmla="*/ 3495675 h 4429225"/>
                <a:gd name="connsiteX64" fmla="*/ 411502 w 4519987"/>
                <a:gd name="connsiteY64" fmla="*/ 3448050 h 4429225"/>
                <a:gd name="connsiteX65" fmla="*/ 278152 w 4519987"/>
                <a:gd name="connsiteY65" fmla="*/ 3257550 h 4429225"/>
                <a:gd name="connsiteX66" fmla="*/ 249577 w 4519987"/>
                <a:gd name="connsiteY66" fmla="*/ 3200400 h 4429225"/>
                <a:gd name="connsiteX67" fmla="*/ 240052 w 4519987"/>
                <a:gd name="connsiteY67" fmla="*/ 3162300 h 4429225"/>
                <a:gd name="connsiteX68" fmla="*/ 221002 w 4519987"/>
                <a:gd name="connsiteY68" fmla="*/ 3105150 h 4429225"/>
                <a:gd name="connsiteX69" fmla="*/ 173377 w 4519987"/>
                <a:gd name="connsiteY69" fmla="*/ 3019425 h 4429225"/>
                <a:gd name="connsiteX70" fmla="*/ 144802 w 4519987"/>
                <a:gd name="connsiteY70" fmla="*/ 2924175 h 4429225"/>
                <a:gd name="connsiteX71" fmla="*/ 68602 w 4519987"/>
                <a:gd name="connsiteY71" fmla="*/ 2724150 h 4429225"/>
                <a:gd name="connsiteX72" fmla="*/ 49552 w 4519987"/>
                <a:gd name="connsiteY72" fmla="*/ 2638425 h 4429225"/>
                <a:gd name="connsiteX73" fmla="*/ 40027 w 4519987"/>
                <a:gd name="connsiteY73" fmla="*/ 2562225 h 4429225"/>
                <a:gd name="connsiteX74" fmla="*/ 30502 w 4519987"/>
                <a:gd name="connsiteY74" fmla="*/ 2514600 h 4429225"/>
                <a:gd name="connsiteX75" fmla="*/ 11452 w 4519987"/>
                <a:gd name="connsiteY75" fmla="*/ 2400300 h 4429225"/>
                <a:gd name="connsiteX76" fmla="*/ 20977 w 4519987"/>
                <a:gd name="connsiteY76" fmla="*/ 1905000 h 4429225"/>
                <a:gd name="connsiteX77" fmla="*/ 30502 w 4519987"/>
                <a:gd name="connsiteY77" fmla="*/ 1838325 h 4429225"/>
                <a:gd name="connsiteX78" fmla="*/ 49552 w 4519987"/>
                <a:gd name="connsiteY78" fmla="*/ 1781175 h 4429225"/>
                <a:gd name="connsiteX79" fmla="*/ 59077 w 4519987"/>
                <a:gd name="connsiteY79" fmla="*/ 1743075 h 4429225"/>
                <a:gd name="connsiteX80" fmla="*/ 78127 w 4519987"/>
                <a:gd name="connsiteY80" fmla="*/ 1685925 h 4429225"/>
                <a:gd name="connsiteX81" fmla="*/ 87652 w 4519987"/>
                <a:gd name="connsiteY81" fmla="*/ 1638300 h 4429225"/>
                <a:gd name="connsiteX82" fmla="*/ 106702 w 4519987"/>
                <a:gd name="connsiteY82" fmla="*/ 1590675 h 4429225"/>
                <a:gd name="connsiteX83" fmla="*/ 135277 w 4519987"/>
                <a:gd name="connsiteY83" fmla="*/ 1504950 h 4429225"/>
                <a:gd name="connsiteX84" fmla="*/ 154327 w 4519987"/>
                <a:gd name="connsiteY84" fmla="*/ 1419225 h 4429225"/>
                <a:gd name="connsiteX85" fmla="*/ 230527 w 4519987"/>
                <a:gd name="connsiteY85" fmla="*/ 1276350 h 4429225"/>
                <a:gd name="connsiteX86" fmla="*/ 240052 w 4519987"/>
                <a:gd name="connsiteY86" fmla="*/ 1247775 h 4429225"/>
                <a:gd name="connsiteX87" fmla="*/ 268627 w 4519987"/>
                <a:gd name="connsiteY87" fmla="*/ 1200150 h 4429225"/>
                <a:gd name="connsiteX88" fmla="*/ 287677 w 4519987"/>
                <a:gd name="connsiteY88" fmla="*/ 1152525 h 4429225"/>
                <a:gd name="connsiteX89" fmla="*/ 316252 w 4519987"/>
                <a:gd name="connsiteY89" fmla="*/ 1114425 h 4429225"/>
                <a:gd name="connsiteX90" fmla="*/ 363877 w 4519987"/>
                <a:gd name="connsiteY90" fmla="*/ 1038225 h 4429225"/>
                <a:gd name="connsiteX91" fmla="*/ 382927 w 4519987"/>
                <a:gd name="connsiteY91" fmla="*/ 1009650 h 4429225"/>
                <a:gd name="connsiteX92" fmla="*/ 440077 w 4519987"/>
                <a:gd name="connsiteY92" fmla="*/ 904875 h 4429225"/>
                <a:gd name="connsiteX93" fmla="*/ 478177 w 4519987"/>
                <a:gd name="connsiteY93" fmla="*/ 857250 h 4429225"/>
                <a:gd name="connsiteX94" fmla="*/ 497227 w 4519987"/>
                <a:gd name="connsiteY94" fmla="*/ 828675 h 4429225"/>
                <a:gd name="connsiteX95" fmla="*/ 535327 w 4519987"/>
                <a:gd name="connsiteY95" fmla="*/ 800100 h 4429225"/>
                <a:gd name="connsiteX96" fmla="*/ 602002 w 4519987"/>
                <a:gd name="connsiteY96" fmla="*/ 733425 h 4429225"/>
                <a:gd name="connsiteX97" fmla="*/ 668677 w 4519987"/>
                <a:gd name="connsiteY97" fmla="*/ 676275 h 4429225"/>
                <a:gd name="connsiteX98" fmla="*/ 697252 w 4519987"/>
                <a:gd name="connsiteY98" fmla="*/ 657225 h 4429225"/>
                <a:gd name="connsiteX99" fmla="*/ 840127 w 4519987"/>
                <a:gd name="connsiteY99" fmla="*/ 533400 h 4429225"/>
                <a:gd name="connsiteX100" fmla="*/ 887752 w 4519987"/>
                <a:gd name="connsiteY100" fmla="*/ 504825 h 4429225"/>
                <a:gd name="connsiteX101" fmla="*/ 1167152 w 4519987"/>
                <a:gd name="connsiteY101" fmla="*/ 311150 h 4429225"/>
                <a:gd name="connsiteX102" fmla="*/ 1268752 w 4519987"/>
                <a:gd name="connsiteY102" fmla="*/ 285750 h 4429225"/>
                <a:gd name="connsiteX103" fmla="*/ 1411627 w 4519987"/>
                <a:gd name="connsiteY103" fmla="*/ 190500 h 4429225"/>
                <a:gd name="connsiteX104" fmla="*/ 1449727 w 4519987"/>
                <a:gd name="connsiteY104" fmla="*/ 161925 h 4429225"/>
                <a:gd name="connsiteX105" fmla="*/ 1525927 w 4519987"/>
                <a:gd name="connsiteY105" fmla="*/ 152400 h 4429225"/>
                <a:gd name="connsiteX106" fmla="*/ 1583077 w 4519987"/>
                <a:gd name="connsiteY106" fmla="*/ 142875 h 4429225"/>
                <a:gd name="connsiteX107" fmla="*/ 1716427 w 4519987"/>
                <a:gd name="connsiteY107" fmla="*/ 123825 h 4429225"/>
                <a:gd name="connsiteX108" fmla="*/ 1811677 w 4519987"/>
                <a:gd name="connsiteY108" fmla="*/ 114300 h 4429225"/>
                <a:gd name="connsiteX109" fmla="*/ 1859302 w 4519987"/>
                <a:gd name="connsiteY109" fmla="*/ 104775 h 4429225"/>
                <a:gd name="connsiteX110" fmla="*/ 1916452 w 4519987"/>
                <a:gd name="connsiteY110" fmla="*/ 95250 h 4429225"/>
                <a:gd name="connsiteX111" fmla="*/ 2030752 w 4519987"/>
                <a:gd name="connsiteY111" fmla="*/ 66675 h 4429225"/>
                <a:gd name="connsiteX112" fmla="*/ 2097427 w 4519987"/>
                <a:gd name="connsiteY112" fmla="*/ 47625 h 4429225"/>
                <a:gd name="connsiteX113" fmla="*/ 2164102 w 4519987"/>
                <a:gd name="connsiteY113" fmla="*/ 38100 h 4429225"/>
                <a:gd name="connsiteX114" fmla="*/ 2392702 w 4519987"/>
                <a:gd name="connsiteY11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402102 w 4519987"/>
                <a:gd name="connsiteY46" fmla="*/ 4276725 h 4429225"/>
                <a:gd name="connsiteX47" fmla="*/ 1287802 w 4519987"/>
                <a:gd name="connsiteY47" fmla="*/ 4229100 h 4429225"/>
                <a:gd name="connsiteX48" fmla="*/ 1221127 w 4519987"/>
                <a:gd name="connsiteY48" fmla="*/ 4200525 h 4429225"/>
                <a:gd name="connsiteX49" fmla="*/ 1144927 w 4519987"/>
                <a:gd name="connsiteY49" fmla="*/ 4171950 h 4429225"/>
                <a:gd name="connsiteX50" fmla="*/ 1087777 w 4519987"/>
                <a:gd name="connsiteY50" fmla="*/ 4143375 h 4429225"/>
                <a:gd name="connsiteX51" fmla="*/ 1030627 w 4519987"/>
                <a:gd name="connsiteY51" fmla="*/ 4124325 h 4429225"/>
                <a:gd name="connsiteX52" fmla="*/ 925852 w 4519987"/>
                <a:gd name="connsiteY52" fmla="*/ 4067175 h 4429225"/>
                <a:gd name="connsiteX53" fmla="*/ 830602 w 4519987"/>
                <a:gd name="connsiteY53" fmla="*/ 3981450 h 4429225"/>
                <a:gd name="connsiteX54" fmla="*/ 763927 w 4519987"/>
                <a:gd name="connsiteY54" fmla="*/ 3914775 h 4429225"/>
                <a:gd name="connsiteX55" fmla="*/ 725827 w 4519987"/>
                <a:gd name="connsiteY55" fmla="*/ 3876675 h 4429225"/>
                <a:gd name="connsiteX56" fmla="*/ 697252 w 4519987"/>
                <a:gd name="connsiteY56" fmla="*/ 3838575 h 4429225"/>
                <a:gd name="connsiteX57" fmla="*/ 640102 w 4519987"/>
                <a:gd name="connsiteY57" fmla="*/ 3781425 h 4429225"/>
                <a:gd name="connsiteX58" fmla="*/ 611527 w 4519987"/>
                <a:gd name="connsiteY58" fmla="*/ 3733800 h 4429225"/>
                <a:gd name="connsiteX59" fmla="*/ 554377 w 4519987"/>
                <a:gd name="connsiteY59" fmla="*/ 3657600 h 4429225"/>
                <a:gd name="connsiteX60" fmla="*/ 525802 w 4519987"/>
                <a:gd name="connsiteY60" fmla="*/ 3609975 h 4429225"/>
                <a:gd name="connsiteX61" fmla="*/ 497227 w 4519987"/>
                <a:gd name="connsiteY61" fmla="*/ 3552825 h 4429225"/>
                <a:gd name="connsiteX62" fmla="*/ 440077 w 4519987"/>
                <a:gd name="connsiteY62" fmla="*/ 3495675 h 4429225"/>
                <a:gd name="connsiteX63" fmla="*/ 411502 w 4519987"/>
                <a:gd name="connsiteY63" fmla="*/ 3448050 h 4429225"/>
                <a:gd name="connsiteX64" fmla="*/ 278152 w 4519987"/>
                <a:gd name="connsiteY64" fmla="*/ 3257550 h 4429225"/>
                <a:gd name="connsiteX65" fmla="*/ 249577 w 4519987"/>
                <a:gd name="connsiteY65" fmla="*/ 3200400 h 4429225"/>
                <a:gd name="connsiteX66" fmla="*/ 240052 w 4519987"/>
                <a:gd name="connsiteY66" fmla="*/ 3162300 h 4429225"/>
                <a:gd name="connsiteX67" fmla="*/ 221002 w 4519987"/>
                <a:gd name="connsiteY67" fmla="*/ 3105150 h 4429225"/>
                <a:gd name="connsiteX68" fmla="*/ 173377 w 4519987"/>
                <a:gd name="connsiteY68" fmla="*/ 3019425 h 4429225"/>
                <a:gd name="connsiteX69" fmla="*/ 144802 w 4519987"/>
                <a:gd name="connsiteY69" fmla="*/ 2924175 h 4429225"/>
                <a:gd name="connsiteX70" fmla="*/ 68602 w 4519987"/>
                <a:gd name="connsiteY70" fmla="*/ 2724150 h 4429225"/>
                <a:gd name="connsiteX71" fmla="*/ 49552 w 4519987"/>
                <a:gd name="connsiteY71" fmla="*/ 2638425 h 4429225"/>
                <a:gd name="connsiteX72" fmla="*/ 40027 w 4519987"/>
                <a:gd name="connsiteY72" fmla="*/ 2562225 h 4429225"/>
                <a:gd name="connsiteX73" fmla="*/ 30502 w 4519987"/>
                <a:gd name="connsiteY73" fmla="*/ 2514600 h 4429225"/>
                <a:gd name="connsiteX74" fmla="*/ 11452 w 4519987"/>
                <a:gd name="connsiteY74" fmla="*/ 2400300 h 4429225"/>
                <a:gd name="connsiteX75" fmla="*/ 20977 w 4519987"/>
                <a:gd name="connsiteY75" fmla="*/ 1905000 h 4429225"/>
                <a:gd name="connsiteX76" fmla="*/ 30502 w 4519987"/>
                <a:gd name="connsiteY76" fmla="*/ 1838325 h 4429225"/>
                <a:gd name="connsiteX77" fmla="*/ 49552 w 4519987"/>
                <a:gd name="connsiteY77" fmla="*/ 1781175 h 4429225"/>
                <a:gd name="connsiteX78" fmla="*/ 59077 w 4519987"/>
                <a:gd name="connsiteY78" fmla="*/ 1743075 h 4429225"/>
                <a:gd name="connsiteX79" fmla="*/ 78127 w 4519987"/>
                <a:gd name="connsiteY79" fmla="*/ 1685925 h 4429225"/>
                <a:gd name="connsiteX80" fmla="*/ 87652 w 4519987"/>
                <a:gd name="connsiteY80" fmla="*/ 1638300 h 4429225"/>
                <a:gd name="connsiteX81" fmla="*/ 106702 w 4519987"/>
                <a:gd name="connsiteY81" fmla="*/ 1590675 h 4429225"/>
                <a:gd name="connsiteX82" fmla="*/ 135277 w 4519987"/>
                <a:gd name="connsiteY82" fmla="*/ 1504950 h 4429225"/>
                <a:gd name="connsiteX83" fmla="*/ 154327 w 4519987"/>
                <a:gd name="connsiteY83" fmla="*/ 1419225 h 4429225"/>
                <a:gd name="connsiteX84" fmla="*/ 230527 w 4519987"/>
                <a:gd name="connsiteY84" fmla="*/ 1276350 h 4429225"/>
                <a:gd name="connsiteX85" fmla="*/ 240052 w 4519987"/>
                <a:gd name="connsiteY85" fmla="*/ 1247775 h 4429225"/>
                <a:gd name="connsiteX86" fmla="*/ 268627 w 4519987"/>
                <a:gd name="connsiteY86" fmla="*/ 1200150 h 4429225"/>
                <a:gd name="connsiteX87" fmla="*/ 287677 w 4519987"/>
                <a:gd name="connsiteY87" fmla="*/ 1152525 h 4429225"/>
                <a:gd name="connsiteX88" fmla="*/ 316252 w 4519987"/>
                <a:gd name="connsiteY88" fmla="*/ 1114425 h 4429225"/>
                <a:gd name="connsiteX89" fmla="*/ 363877 w 4519987"/>
                <a:gd name="connsiteY89" fmla="*/ 1038225 h 4429225"/>
                <a:gd name="connsiteX90" fmla="*/ 382927 w 4519987"/>
                <a:gd name="connsiteY90" fmla="*/ 1009650 h 4429225"/>
                <a:gd name="connsiteX91" fmla="*/ 440077 w 4519987"/>
                <a:gd name="connsiteY91" fmla="*/ 904875 h 4429225"/>
                <a:gd name="connsiteX92" fmla="*/ 478177 w 4519987"/>
                <a:gd name="connsiteY92" fmla="*/ 857250 h 4429225"/>
                <a:gd name="connsiteX93" fmla="*/ 497227 w 4519987"/>
                <a:gd name="connsiteY93" fmla="*/ 828675 h 4429225"/>
                <a:gd name="connsiteX94" fmla="*/ 535327 w 4519987"/>
                <a:gd name="connsiteY94" fmla="*/ 800100 h 4429225"/>
                <a:gd name="connsiteX95" fmla="*/ 602002 w 4519987"/>
                <a:gd name="connsiteY95" fmla="*/ 733425 h 4429225"/>
                <a:gd name="connsiteX96" fmla="*/ 668677 w 4519987"/>
                <a:gd name="connsiteY96" fmla="*/ 676275 h 4429225"/>
                <a:gd name="connsiteX97" fmla="*/ 697252 w 4519987"/>
                <a:gd name="connsiteY97" fmla="*/ 657225 h 4429225"/>
                <a:gd name="connsiteX98" fmla="*/ 840127 w 4519987"/>
                <a:gd name="connsiteY98" fmla="*/ 533400 h 4429225"/>
                <a:gd name="connsiteX99" fmla="*/ 887752 w 4519987"/>
                <a:gd name="connsiteY99" fmla="*/ 504825 h 4429225"/>
                <a:gd name="connsiteX100" fmla="*/ 1167152 w 4519987"/>
                <a:gd name="connsiteY100" fmla="*/ 311150 h 4429225"/>
                <a:gd name="connsiteX101" fmla="*/ 1268752 w 4519987"/>
                <a:gd name="connsiteY101" fmla="*/ 285750 h 4429225"/>
                <a:gd name="connsiteX102" fmla="*/ 1411627 w 4519987"/>
                <a:gd name="connsiteY102" fmla="*/ 190500 h 4429225"/>
                <a:gd name="connsiteX103" fmla="*/ 1449727 w 4519987"/>
                <a:gd name="connsiteY103" fmla="*/ 161925 h 4429225"/>
                <a:gd name="connsiteX104" fmla="*/ 1525927 w 4519987"/>
                <a:gd name="connsiteY104" fmla="*/ 152400 h 4429225"/>
                <a:gd name="connsiteX105" fmla="*/ 1583077 w 4519987"/>
                <a:gd name="connsiteY105" fmla="*/ 142875 h 4429225"/>
                <a:gd name="connsiteX106" fmla="*/ 1716427 w 4519987"/>
                <a:gd name="connsiteY106" fmla="*/ 123825 h 4429225"/>
                <a:gd name="connsiteX107" fmla="*/ 1811677 w 4519987"/>
                <a:gd name="connsiteY107" fmla="*/ 114300 h 4429225"/>
                <a:gd name="connsiteX108" fmla="*/ 1859302 w 4519987"/>
                <a:gd name="connsiteY108" fmla="*/ 104775 h 4429225"/>
                <a:gd name="connsiteX109" fmla="*/ 1916452 w 4519987"/>
                <a:gd name="connsiteY109" fmla="*/ 95250 h 4429225"/>
                <a:gd name="connsiteX110" fmla="*/ 2030752 w 4519987"/>
                <a:gd name="connsiteY110" fmla="*/ 66675 h 4429225"/>
                <a:gd name="connsiteX111" fmla="*/ 2097427 w 4519987"/>
                <a:gd name="connsiteY111" fmla="*/ 47625 h 4429225"/>
                <a:gd name="connsiteX112" fmla="*/ 2164102 w 4519987"/>
                <a:gd name="connsiteY112" fmla="*/ 38100 h 4429225"/>
                <a:gd name="connsiteX113" fmla="*/ 2392702 w 4519987"/>
                <a:gd name="connsiteY11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144927 w 4519987"/>
                <a:gd name="connsiteY48" fmla="*/ 4171950 h 4429225"/>
                <a:gd name="connsiteX49" fmla="*/ 1087777 w 4519987"/>
                <a:gd name="connsiteY49" fmla="*/ 4143375 h 4429225"/>
                <a:gd name="connsiteX50" fmla="*/ 1030627 w 4519987"/>
                <a:gd name="connsiteY50" fmla="*/ 4124325 h 4429225"/>
                <a:gd name="connsiteX51" fmla="*/ 925852 w 4519987"/>
                <a:gd name="connsiteY51" fmla="*/ 4067175 h 4429225"/>
                <a:gd name="connsiteX52" fmla="*/ 830602 w 4519987"/>
                <a:gd name="connsiteY52" fmla="*/ 3981450 h 4429225"/>
                <a:gd name="connsiteX53" fmla="*/ 763927 w 4519987"/>
                <a:gd name="connsiteY53" fmla="*/ 3914775 h 4429225"/>
                <a:gd name="connsiteX54" fmla="*/ 725827 w 4519987"/>
                <a:gd name="connsiteY54" fmla="*/ 3876675 h 4429225"/>
                <a:gd name="connsiteX55" fmla="*/ 697252 w 4519987"/>
                <a:gd name="connsiteY55" fmla="*/ 3838575 h 4429225"/>
                <a:gd name="connsiteX56" fmla="*/ 640102 w 4519987"/>
                <a:gd name="connsiteY56" fmla="*/ 3781425 h 4429225"/>
                <a:gd name="connsiteX57" fmla="*/ 611527 w 4519987"/>
                <a:gd name="connsiteY57" fmla="*/ 3733800 h 4429225"/>
                <a:gd name="connsiteX58" fmla="*/ 554377 w 4519987"/>
                <a:gd name="connsiteY58" fmla="*/ 3657600 h 4429225"/>
                <a:gd name="connsiteX59" fmla="*/ 525802 w 4519987"/>
                <a:gd name="connsiteY59" fmla="*/ 3609975 h 4429225"/>
                <a:gd name="connsiteX60" fmla="*/ 497227 w 4519987"/>
                <a:gd name="connsiteY60" fmla="*/ 3552825 h 4429225"/>
                <a:gd name="connsiteX61" fmla="*/ 440077 w 4519987"/>
                <a:gd name="connsiteY61" fmla="*/ 3495675 h 4429225"/>
                <a:gd name="connsiteX62" fmla="*/ 411502 w 4519987"/>
                <a:gd name="connsiteY62" fmla="*/ 3448050 h 4429225"/>
                <a:gd name="connsiteX63" fmla="*/ 278152 w 4519987"/>
                <a:gd name="connsiteY63" fmla="*/ 3257550 h 4429225"/>
                <a:gd name="connsiteX64" fmla="*/ 249577 w 4519987"/>
                <a:gd name="connsiteY64" fmla="*/ 3200400 h 4429225"/>
                <a:gd name="connsiteX65" fmla="*/ 240052 w 4519987"/>
                <a:gd name="connsiteY65" fmla="*/ 3162300 h 4429225"/>
                <a:gd name="connsiteX66" fmla="*/ 221002 w 4519987"/>
                <a:gd name="connsiteY66" fmla="*/ 3105150 h 4429225"/>
                <a:gd name="connsiteX67" fmla="*/ 173377 w 4519987"/>
                <a:gd name="connsiteY67" fmla="*/ 3019425 h 4429225"/>
                <a:gd name="connsiteX68" fmla="*/ 144802 w 4519987"/>
                <a:gd name="connsiteY68" fmla="*/ 2924175 h 4429225"/>
                <a:gd name="connsiteX69" fmla="*/ 68602 w 4519987"/>
                <a:gd name="connsiteY69" fmla="*/ 2724150 h 4429225"/>
                <a:gd name="connsiteX70" fmla="*/ 49552 w 4519987"/>
                <a:gd name="connsiteY70" fmla="*/ 2638425 h 4429225"/>
                <a:gd name="connsiteX71" fmla="*/ 40027 w 4519987"/>
                <a:gd name="connsiteY71" fmla="*/ 2562225 h 4429225"/>
                <a:gd name="connsiteX72" fmla="*/ 30502 w 4519987"/>
                <a:gd name="connsiteY72" fmla="*/ 2514600 h 4429225"/>
                <a:gd name="connsiteX73" fmla="*/ 11452 w 4519987"/>
                <a:gd name="connsiteY73" fmla="*/ 2400300 h 4429225"/>
                <a:gd name="connsiteX74" fmla="*/ 20977 w 4519987"/>
                <a:gd name="connsiteY74" fmla="*/ 1905000 h 4429225"/>
                <a:gd name="connsiteX75" fmla="*/ 30502 w 4519987"/>
                <a:gd name="connsiteY75" fmla="*/ 1838325 h 4429225"/>
                <a:gd name="connsiteX76" fmla="*/ 49552 w 4519987"/>
                <a:gd name="connsiteY76" fmla="*/ 1781175 h 4429225"/>
                <a:gd name="connsiteX77" fmla="*/ 59077 w 4519987"/>
                <a:gd name="connsiteY77" fmla="*/ 1743075 h 4429225"/>
                <a:gd name="connsiteX78" fmla="*/ 78127 w 4519987"/>
                <a:gd name="connsiteY78" fmla="*/ 1685925 h 4429225"/>
                <a:gd name="connsiteX79" fmla="*/ 87652 w 4519987"/>
                <a:gd name="connsiteY79" fmla="*/ 1638300 h 4429225"/>
                <a:gd name="connsiteX80" fmla="*/ 106702 w 4519987"/>
                <a:gd name="connsiteY80" fmla="*/ 1590675 h 4429225"/>
                <a:gd name="connsiteX81" fmla="*/ 135277 w 4519987"/>
                <a:gd name="connsiteY81" fmla="*/ 1504950 h 4429225"/>
                <a:gd name="connsiteX82" fmla="*/ 154327 w 4519987"/>
                <a:gd name="connsiteY82" fmla="*/ 1419225 h 4429225"/>
                <a:gd name="connsiteX83" fmla="*/ 230527 w 4519987"/>
                <a:gd name="connsiteY83" fmla="*/ 1276350 h 4429225"/>
                <a:gd name="connsiteX84" fmla="*/ 240052 w 4519987"/>
                <a:gd name="connsiteY84" fmla="*/ 1247775 h 4429225"/>
                <a:gd name="connsiteX85" fmla="*/ 268627 w 4519987"/>
                <a:gd name="connsiteY85" fmla="*/ 1200150 h 4429225"/>
                <a:gd name="connsiteX86" fmla="*/ 287677 w 4519987"/>
                <a:gd name="connsiteY86" fmla="*/ 1152525 h 4429225"/>
                <a:gd name="connsiteX87" fmla="*/ 316252 w 4519987"/>
                <a:gd name="connsiteY87" fmla="*/ 1114425 h 4429225"/>
                <a:gd name="connsiteX88" fmla="*/ 363877 w 4519987"/>
                <a:gd name="connsiteY88" fmla="*/ 1038225 h 4429225"/>
                <a:gd name="connsiteX89" fmla="*/ 382927 w 4519987"/>
                <a:gd name="connsiteY89" fmla="*/ 1009650 h 4429225"/>
                <a:gd name="connsiteX90" fmla="*/ 440077 w 4519987"/>
                <a:gd name="connsiteY90" fmla="*/ 904875 h 4429225"/>
                <a:gd name="connsiteX91" fmla="*/ 478177 w 4519987"/>
                <a:gd name="connsiteY91" fmla="*/ 857250 h 4429225"/>
                <a:gd name="connsiteX92" fmla="*/ 497227 w 4519987"/>
                <a:gd name="connsiteY92" fmla="*/ 828675 h 4429225"/>
                <a:gd name="connsiteX93" fmla="*/ 535327 w 4519987"/>
                <a:gd name="connsiteY93" fmla="*/ 800100 h 4429225"/>
                <a:gd name="connsiteX94" fmla="*/ 602002 w 4519987"/>
                <a:gd name="connsiteY94" fmla="*/ 733425 h 4429225"/>
                <a:gd name="connsiteX95" fmla="*/ 668677 w 4519987"/>
                <a:gd name="connsiteY95" fmla="*/ 676275 h 4429225"/>
                <a:gd name="connsiteX96" fmla="*/ 697252 w 4519987"/>
                <a:gd name="connsiteY96" fmla="*/ 657225 h 4429225"/>
                <a:gd name="connsiteX97" fmla="*/ 840127 w 4519987"/>
                <a:gd name="connsiteY97" fmla="*/ 533400 h 4429225"/>
                <a:gd name="connsiteX98" fmla="*/ 887752 w 4519987"/>
                <a:gd name="connsiteY98" fmla="*/ 504825 h 4429225"/>
                <a:gd name="connsiteX99" fmla="*/ 1167152 w 4519987"/>
                <a:gd name="connsiteY99" fmla="*/ 311150 h 4429225"/>
                <a:gd name="connsiteX100" fmla="*/ 1268752 w 4519987"/>
                <a:gd name="connsiteY100" fmla="*/ 285750 h 4429225"/>
                <a:gd name="connsiteX101" fmla="*/ 1411627 w 4519987"/>
                <a:gd name="connsiteY101" fmla="*/ 190500 h 4429225"/>
                <a:gd name="connsiteX102" fmla="*/ 1449727 w 4519987"/>
                <a:gd name="connsiteY102" fmla="*/ 161925 h 4429225"/>
                <a:gd name="connsiteX103" fmla="*/ 1525927 w 4519987"/>
                <a:gd name="connsiteY103" fmla="*/ 152400 h 4429225"/>
                <a:gd name="connsiteX104" fmla="*/ 1583077 w 4519987"/>
                <a:gd name="connsiteY104" fmla="*/ 142875 h 4429225"/>
                <a:gd name="connsiteX105" fmla="*/ 1716427 w 4519987"/>
                <a:gd name="connsiteY105" fmla="*/ 123825 h 4429225"/>
                <a:gd name="connsiteX106" fmla="*/ 1811677 w 4519987"/>
                <a:gd name="connsiteY106" fmla="*/ 114300 h 4429225"/>
                <a:gd name="connsiteX107" fmla="*/ 1859302 w 4519987"/>
                <a:gd name="connsiteY107" fmla="*/ 104775 h 4429225"/>
                <a:gd name="connsiteX108" fmla="*/ 1916452 w 4519987"/>
                <a:gd name="connsiteY108" fmla="*/ 95250 h 4429225"/>
                <a:gd name="connsiteX109" fmla="*/ 2030752 w 4519987"/>
                <a:gd name="connsiteY109" fmla="*/ 66675 h 4429225"/>
                <a:gd name="connsiteX110" fmla="*/ 2097427 w 4519987"/>
                <a:gd name="connsiteY110" fmla="*/ 47625 h 4429225"/>
                <a:gd name="connsiteX111" fmla="*/ 2164102 w 4519987"/>
                <a:gd name="connsiteY111" fmla="*/ 38100 h 4429225"/>
                <a:gd name="connsiteX112" fmla="*/ 2392702 w 4519987"/>
                <a:gd name="connsiteY11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221127 w 4519987"/>
                <a:gd name="connsiteY47" fmla="*/ 4200525 h 4429225"/>
                <a:gd name="connsiteX48" fmla="*/ 1087777 w 4519987"/>
                <a:gd name="connsiteY48" fmla="*/ 4143375 h 4429225"/>
                <a:gd name="connsiteX49" fmla="*/ 1030627 w 4519987"/>
                <a:gd name="connsiteY49" fmla="*/ 4124325 h 4429225"/>
                <a:gd name="connsiteX50" fmla="*/ 925852 w 4519987"/>
                <a:gd name="connsiteY50" fmla="*/ 4067175 h 4429225"/>
                <a:gd name="connsiteX51" fmla="*/ 830602 w 4519987"/>
                <a:gd name="connsiteY51" fmla="*/ 3981450 h 4429225"/>
                <a:gd name="connsiteX52" fmla="*/ 763927 w 4519987"/>
                <a:gd name="connsiteY52" fmla="*/ 3914775 h 4429225"/>
                <a:gd name="connsiteX53" fmla="*/ 725827 w 4519987"/>
                <a:gd name="connsiteY53" fmla="*/ 3876675 h 4429225"/>
                <a:gd name="connsiteX54" fmla="*/ 697252 w 4519987"/>
                <a:gd name="connsiteY54" fmla="*/ 3838575 h 4429225"/>
                <a:gd name="connsiteX55" fmla="*/ 640102 w 4519987"/>
                <a:gd name="connsiteY55" fmla="*/ 3781425 h 4429225"/>
                <a:gd name="connsiteX56" fmla="*/ 611527 w 4519987"/>
                <a:gd name="connsiteY56" fmla="*/ 3733800 h 4429225"/>
                <a:gd name="connsiteX57" fmla="*/ 554377 w 4519987"/>
                <a:gd name="connsiteY57" fmla="*/ 3657600 h 4429225"/>
                <a:gd name="connsiteX58" fmla="*/ 525802 w 4519987"/>
                <a:gd name="connsiteY58" fmla="*/ 3609975 h 4429225"/>
                <a:gd name="connsiteX59" fmla="*/ 497227 w 4519987"/>
                <a:gd name="connsiteY59" fmla="*/ 3552825 h 4429225"/>
                <a:gd name="connsiteX60" fmla="*/ 440077 w 4519987"/>
                <a:gd name="connsiteY60" fmla="*/ 3495675 h 4429225"/>
                <a:gd name="connsiteX61" fmla="*/ 411502 w 4519987"/>
                <a:gd name="connsiteY61" fmla="*/ 3448050 h 4429225"/>
                <a:gd name="connsiteX62" fmla="*/ 278152 w 4519987"/>
                <a:gd name="connsiteY62" fmla="*/ 3257550 h 4429225"/>
                <a:gd name="connsiteX63" fmla="*/ 249577 w 4519987"/>
                <a:gd name="connsiteY63" fmla="*/ 3200400 h 4429225"/>
                <a:gd name="connsiteX64" fmla="*/ 240052 w 4519987"/>
                <a:gd name="connsiteY64" fmla="*/ 3162300 h 4429225"/>
                <a:gd name="connsiteX65" fmla="*/ 221002 w 4519987"/>
                <a:gd name="connsiteY65" fmla="*/ 3105150 h 4429225"/>
                <a:gd name="connsiteX66" fmla="*/ 173377 w 4519987"/>
                <a:gd name="connsiteY66" fmla="*/ 3019425 h 4429225"/>
                <a:gd name="connsiteX67" fmla="*/ 144802 w 4519987"/>
                <a:gd name="connsiteY67" fmla="*/ 2924175 h 4429225"/>
                <a:gd name="connsiteX68" fmla="*/ 68602 w 4519987"/>
                <a:gd name="connsiteY68" fmla="*/ 2724150 h 4429225"/>
                <a:gd name="connsiteX69" fmla="*/ 49552 w 4519987"/>
                <a:gd name="connsiteY69" fmla="*/ 2638425 h 4429225"/>
                <a:gd name="connsiteX70" fmla="*/ 40027 w 4519987"/>
                <a:gd name="connsiteY70" fmla="*/ 2562225 h 4429225"/>
                <a:gd name="connsiteX71" fmla="*/ 30502 w 4519987"/>
                <a:gd name="connsiteY71" fmla="*/ 2514600 h 4429225"/>
                <a:gd name="connsiteX72" fmla="*/ 11452 w 4519987"/>
                <a:gd name="connsiteY72" fmla="*/ 2400300 h 4429225"/>
                <a:gd name="connsiteX73" fmla="*/ 20977 w 4519987"/>
                <a:gd name="connsiteY73" fmla="*/ 1905000 h 4429225"/>
                <a:gd name="connsiteX74" fmla="*/ 30502 w 4519987"/>
                <a:gd name="connsiteY74" fmla="*/ 1838325 h 4429225"/>
                <a:gd name="connsiteX75" fmla="*/ 49552 w 4519987"/>
                <a:gd name="connsiteY75" fmla="*/ 1781175 h 4429225"/>
                <a:gd name="connsiteX76" fmla="*/ 59077 w 4519987"/>
                <a:gd name="connsiteY76" fmla="*/ 1743075 h 4429225"/>
                <a:gd name="connsiteX77" fmla="*/ 78127 w 4519987"/>
                <a:gd name="connsiteY77" fmla="*/ 1685925 h 4429225"/>
                <a:gd name="connsiteX78" fmla="*/ 87652 w 4519987"/>
                <a:gd name="connsiteY78" fmla="*/ 1638300 h 4429225"/>
                <a:gd name="connsiteX79" fmla="*/ 106702 w 4519987"/>
                <a:gd name="connsiteY79" fmla="*/ 1590675 h 4429225"/>
                <a:gd name="connsiteX80" fmla="*/ 135277 w 4519987"/>
                <a:gd name="connsiteY80" fmla="*/ 1504950 h 4429225"/>
                <a:gd name="connsiteX81" fmla="*/ 154327 w 4519987"/>
                <a:gd name="connsiteY81" fmla="*/ 1419225 h 4429225"/>
                <a:gd name="connsiteX82" fmla="*/ 230527 w 4519987"/>
                <a:gd name="connsiteY82" fmla="*/ 1276350 h 4429225"/>
                <a:gd name="connsiteX83" fmla="*/ 240052 w 4519987"/>
                <a:gd name="connsiteY83" fmla="*/ 1247775 h 4429225"/>
                <a:gd name="connsiteX84" fmla="*/ 268627 w 4519987"/>
                <a:gd name="connsiteY84" fmla="*/ 1200150 h 4429225"/>
                <a:gd name="connsiteX85" fmla="*/ 287677 w 4519987"/>
                <a:gd name="connsiteY85" fmla="*/ 1152525 h 4429225"/>
                <a:gd name="connsiteX86" fmla="*/ 316252 w 4519987"/>
                <a:gd name="connsiteY86" fmla="*/ 1114425 h 4429225"/>
                <a:gd name="connsiteX87" fmla="*/ 363877 w 4519987"/>
                <a:gd name="connsiteY87" fmla="*/ 1038225 h 4429225"/>
                <a:gd name="connsiteX88" fmla="*/ 382927 w 4519987"/>
                <a:gd name="connsiteY88" fmla="*/ 1009650 h 4429225"/>
                <a:gd name="connsiteX89" fmla="*/ 440077 w 4519987"/>
                <a:gd name="connsiteY89" fmla="*/ 904875 h 4429225"/>
                <a:gd name="connsiteX90" fmla="*/ 478177 w 4519987"/>
                <a:gd name="connsiteY90" fmla="*/ 857250 h 4429225"/>
                <a:gd name="connsiteX91" fmla="*/ 497227 w 4519987"/>
                <a:gd name="connsiteY91" fmla="*/ 828675 h 4429225"/>
                <a:gd name="connsiteX92" fmla="*/ 535327 w 4519987"/>
                <a:gd name="connsiteY92" fmla="*/ 800100 h 4429225"/>
                <a:gd name="connsiteX93" fmla="*/ 602002 w 4519987"/>
                <a:gd name="connsiteY93" fmla="*/ 733425 h 4429225"/>
                <a:gd name="connsiteX94" fmla="*/ 668677 w 4519987"/>
                <a:gd name="connsiteY94" fmla="*/ 676275 h 4429225"/>
                <a:gd name="connsiteX95" fmla="*/ 697252 w 4519987"/>
                <a:gd name="connsiteY95" fmla="*/ 657225 h 4429225"/>
                <a:gd name="connsiteX96" fmla="*/ 840127 w 4519987"/>
                <a:gd name="connsiteY96" fmla="*/ 533400 h 4429225"/>
                <a:gd name="connsiteX97" fmla="*/ 887752 w 4519987"/>
                <a:gd name="connsiteY97" fmla="*/ 504825 h 4429225"/>
                <a:gd name="connsiteX98" fmla="*/ 1167152 w 4519987"/>
                <a:gd name="connsiteY98" fmla="*/ 311150 h 4429225"/>
                <a:gd name="connsiteX99" fmla="*/ 1268752 w 4519987"/>
                <a:gd name="connsiteY99" fmla="*/ 285750 h 4429225"/>
                <a:gd name="connsiteX100" fmla="*/ 1411627 w 4519987"/>
                <a:gd name="connsiteY100" fmla="*/ 190500 h 4429225"/>
                <a:gd name="connsiteX101" fmla="*/ 1449727 w 4519987"/>
                <a:gd name="connsiteY101" fmla="*/ 161925 h 4429225"/>
                <a:gd name="connsiteX102" fmla="*/ 1525927 w 4519987"/>
                <a:gd name="connsiteY102" fmla="*/ 152400 h 4429225"/>
                <a:gd name="connsiteX103" fmla="*/ 1583077 w 4519987"/>
                <a:gd name="connsiteY103" fmla="*/ 142875 h 4429225"/>
                <a:gd name="connsiteX104" fmla="*/ 1716427 w 4519987"/>
                <a:gd name="connsiteY104" fmla="*/ 123825 h 4429225"/>
                <a:gd name="connsiteX105" fmla="*/ 1811677 w 4519987"/>
                <a:gd name="connsiteY105" fmla="*/ 114300 h 4429225"/>
                <a:gd name="connsiteX106" fmla="*/ 1859302 w 4519987"/>
                <a:gd name="connsiteY106" fmla="*/ 104775 h 4429225"/>
                <a:gd name="connsiteX107" fmla="*/ 1916452 w 4519987"/>
                <a:gd name="connsiteY107" fmla="*/ 95250 h 4429225"/>
                <a:gd name="connsiteX108" fmla="*/ 2030752 w 4519987"/>
                <a:gd name="connsiteY108" fmla="*/ 66675 h 4429225"/>
                <a:gd name="connsiteX109" fmla="*/ 2097427 w 4519987"/>
                <a:gd name="connsiteY109" fmla="*/ 47625 h 4429225"/>
                <a:gd name="connsiteX110" fmla="*/ 2164102 w 4519987"/>
                <a:gd name="connsiteY110" fmla="*/ 38100 h 4429225"/>
                <a:gd name="connsiteX111" fmla="*/ 2392702 w 4519987"/>
                <a:gd name="connsiteY11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1030627 w 4519987"/>
                <a:gd name="connsiteY48" fmla="*/ 4124325 h 4429225"/>
                <a:gd name="connsiteX49" fmla="*/ 925852 w 4519987"/>
                <a:gd name="connsiteY49" fmla="*/ 4067175 h 4429225"/>
                <a:gd name="connsiteX50" fmla="*/ 830602 w 4519987"/>
                <a:gd name="connsiteY50" fmla="*/ 3981450 h 4429225"/>
                <a:gd name="connsiteX51" fmla="*/ 763927 w 4519987"/>
                <a:gd name="connsiteY51" fmla="*/ 3914775 h 4429225"/>
                <a:gd name="connsiteX52" fmla="*/ 725827 w 4519987"/>
                <a:gd name="connsiteY52" fmla="*/ 3876675 h 4429225"/>
                <a:gd name="connsiteX53" fmla="*/ 697252 w 4519987"/>
                <a:gd name="connsiteY53" fmla="*/ 3838575 h 4429225"/>
                <a:gd name="connsiteX54" fmla="*/ 640102 w 4519987"/>
                <a:gd name="connsiteY54" fmla="*/ 3781425 h 4429225"/>
                <a:gd name="connsiteX55" fmla="*/ 611527 w 4519987"/>
                <a:gd name="connsiteY55" fmla="*/ 3733800 h 4429225"/>
                <a:gd name="connsiteX56" fmla="*/ 554377 w 4519987"/>
                <a:gd name="connsiteY56" fmla="*/ 3657600 h 4429225"/>
                <a:gd name="connsiteX57" fmla="*/ 525802 w 4519987"/>
                <a:gd name="connsiteY57" fmla="*/ 3609975 h 4429225"/>
                <a:gd name="connsiteX58" fmla="*/ 497227 w 4519987"/>
                <a:gd name="connsiteY58" fmla="*/ 3552825 h 4429225"/>
                <a:gd name="connsiteX59" fmla="*/ 440077 w 4519987"/>
                <a:gd name="connsiteY59" fmla="*/ 3495675 h 4429225"/>
                <a:gd name="connsiteX60" fmla="*/ 411502 w 4519987"/>
                <a:gd name="connsiteY60" fmla="*/ 3448050 h 4429225"/>
                <a:gd name="connsiteX61" fmla="*/ 278152 w 4519987"/>
                <a:gd name="connsiteY61" fmla="*/ 3257550 h 4429225"/>
                <a:gd name="connsiteX62" fmla="*/ 249577 w 4519987"/>
                <a:gd name="connsiteY62" fmla="*/ 3200400 h 4429225"/>
                <a:gd name="connsiteX63" fmla="*/ 240052 w 4519987"/>
                <a:gd name="connsiteY63" fmla="*/ 3162300 h 4429225"/>
                <a:gd name="connsiteX64" fmla="*/ 221002 w 4519987"/>
                <a:gd name="connsiteY64" fmla="*/ 3105150 h 4429225"/>
                <a:gd name="connsiteX65" fmla="*/ 173377 w 4519987"/>
                <a:gd name="connsiteY65" fmla="*/ 3019425 h 4429225"/>
                <a:gd name="connsiteX66" fmla="*/ 144802 w 4519987"/>
                <a:gd name="connsiteY66" fmla="*/ 2924175 h 4429225"/>
                <a:gd name="connsiteX67" fmla="*/ 68602 w 4519987"/>
                <a:gd name="connsiteY67" fmla="*/ 2724150 h 4429225"/>
                <a:gd name="connsiteX68" fmla="*/ 49552 w 4519987"/>
                <a:gd name="connsiteY68" fmla="*/ 2638425 h 4429225"/>
                <a:gd name="connsiteX69" fmla="*/ 40027 w 4519987"/>
                <a:gd name="connsiteY69" fmla="*/ 2562225 h 4429225"/>
                <a:gd name="connsiteX70" fmla="*/ 30502 w 4519987"/>
                <a:gd name="connsiteY70" fmla="*/ 2514600 h 4429225"/>
                <a:gd name="connsiteX71" fmla="*/ 11452 w 4519987"/>
                <a:gd name="connsiteY71" fmla="*/ 2400300 h 4429225"/>
                <a:gd name="connsiteX72" fmla="*/ 20977 w 4519987"/>
                <a:gd name="connsiteY72" fmla="*/ 1905000 h 4429225"/>
                <a:gd name="connsiteX73" fmla="*/ 30502 w 4519987"/>
                <a:gd name="connsiteY73" fmla="*/ 1838325 h 4429225"/>
                <a:gd name="connsiteX74" fmla="*/ 49552 w 4519987"/>
                <a:gd name="connsiteY74" fmla="*/ 1781175 h 4429225"/>
                <a:gd name="connsiteX75" fmla="*/ 59077 w 4519987"/>
                <a:gd name="connsiteY75" fmla="*/ 1743075 h 4429225"/>
                <a:gd name="connsiteX76" fmla="*/ 78127 w 4519987"/>
                <a:gd name="connsiteY76" fmla="*/ 1685925 h 4429225"/>
                <a:gd name="connsiteX77" fmla="*/ 87652 w 4519987"/>
                <a:gd name="connsiteY77" fmla="*/ 1638300 h 4429225"/>
                <a:gd name="connsiteX78" fmla="*/ 106702 w 4519987"/>
                <a:gd name="connsiteY78" fmla="*/ 1590675 h 4429225"/>
                <a:gd name="connsiteX79" fmla="*/ 135277 w 4519987"/>
                <a:gd name="connsiteY79" fmla="*/ 1504950 h 4429225"/>
                <a:gd name="connsiteX80" fmla="*/ 154327 w 4519987"/>
                <a:gd name="connsiteY80" fmla="*/ 1419225 h 4429225"/>
                <a:gd name="connsiteX81" fmla="*/ 230527 w 4519987"/>
                <a:gd name="connsiteY81" fmla="*/ 1276350 h 4429225"/>
                <a:gd name="connsiteX82" fmla="*/ 240052 w 4519987"/>
                <a:gd name="connsiteY82" fmla="*/ 1247775 h 4429225"/>
                <a:gd name="connsiteX83" fmla="*/ 268627 w 4519987"/>
                <a:gd name="connsiteY83" fmla="*/ 1200150 h 4429225"/>
                <a:gd name="connsiteX84" fmla="*/ 287677 w 4519987"/>
                <a:gd name="connsiteY84" fmla="*/ 1152525 h 4429225"/>
                <a:gd name="connsiteX85" fmla="*/ 316252 w 4519987"/>
                <a:gd name="connsiteY85" fmla="*/ 1114425 h 4429225"/>
                <a:gd name="connsiteX86" fmla="*/ 363877 w 4519987"/>
                <a:gd name="connsiteY86" fmla="*/ 1038225 h 4429225"/>
                <a:gd name="connsiteX87" fmla="*/ 382927 w 4519987"/>
                <a:gd name="connsiteY87" fmla="*/ 1009650 h 4429225"/>
                <a:gd name="connsiteX88" fmla="*/ 440077 w 4519987"/>
                <a:gd name="connsiteY88" fmla="*/ 904875 h 4429225"/>
                <a:gd name="connsiteX89" fmla="*/ 478177 w 4519987"/>
                <a:gd name="connsiteY89" fmla="*/ 857250 h 4429225"/>
                <a:gd name="connsiteX90" fmla="*/ 497227 w 4519987"/>
                <a:gd name="connsiteY90" fmla="*/ 828675 h 4429225"/>
                <a:gd name="connsiteX91" fmla="*/ 535327 w 4519987"/>
                <a:gd name="connsiteY91" fmla="*/ 800100 h 4429225"/>
                <a:gd name="connsiteX92" fmla="*/ 602002 w 4519987"/>
                <a:gd name="connsiteY92" fmla="*/ 733425 h 4429225"/>
                <a:gd name="connsiteX93" fmla="*/ 668677 w 4519987"/>
                <a:gd name="connsiteY93" fmla="*/ 676275 h 4429225"/>
                <a:gd name="connsiteX94" fmla="*/ 697252 w 4519987"/>
                <a:gd name="connsiteY94" fmla="*/ 657225 h 4429225"/>
                <a:gd name="connsiteX95" fmla="*/ 840127 w 4519987"/>
                <a:gd name="connsiteY95" fmla="*/ 533400 h 4429225"/>
                <a:gd name="connsiteX96" fmla="*/ 887752 w 4519987"/>
                <a:gd name="connsiteY96" fmla="*/ 504825 h 4429225"/>
                <a:gd name="connsiteX97" fmla="*/ 1167152 w 4519987"/>
                <a:gd name="connsiteY97" fmla="*/ 311150 h 4429225"/>
                <a:gd name="connsiteX98" fmla="*/ 1268752 w 4519987"/>
                <a:gd name="connsiteY98" fmla="*/ 285750 h 4429225"/>
                <a:gd name="connsiteX99" fmla="*/ 1411627 w 4519987"/>
                <a:gd name="connsiteY99" fmla="*/ 190500 h 4429225"/>
                <a:gd name="connsiteX100" fmla="*/ 1449727 w 4519987"/>
                <a:gd name="connsiteY100" fmla="*/ 161925 h 4429225"/>
                <a:gd name="connsiteX101" fmla="*/ 1525927 w 4519987"/>
                <a:gd name="connsiteY101" fmla="*/ 152400 h 4429225"/>
                <a:gd name="connsiteX102" fmla="*/ 1583077 w 4519987"/>
                <a:gd name="connsiteY102" fmla="*/ 142875 h 4429225"/>
                <a:gd name="connsiteX103" fmla="*/ 1716427 w 4519987"/>
                <a:gd name="connsiteY103" fmla="*/ 123825 h 4429225"/>
                <a:gd name="connsiteX104" fmla="*/ 1811677 w 4519987"/>
                <a:gd name="connsiteY104" fmla="*/ 114300 h 4429225"/>
                <a:gd name="connsiteX105" fmla="*/ 1859302 w 4519987"/>
                <a:gd name="connsiteY105" fmla="*/ 104775 h 4429225"/>
                <a:gd name="connsiteX106" fmla="*/ 1916452 w 4519987"/>
                <a:gd name="connsiteY106" fmla="*/ 95250 h 4429225"/>
                <a:gd name="connsiteX107" fmla="*/ 2030752 w 4519987"/>
                <a:gd name="connsiteY107" fmla="*/ 66675 h 4429225"/>
                <a:gd name="connsiteX108" fmla="*/ 2097427 w 4519987"/>
                <a:gd name="connsiteY108" fmla="*/ 47625 h 4429225"/>
                <a:gd name="connsiteX109" fmla="*/ 2164102 w 4519987"/>
                <a:gd name="connsiteY109" fmla="*/ 38100 h 4429225"/>
                <a:gd name="connsiteX110" fmla="*/ 2392702 w 4519987"/>
                <a:gd name="connsiteY11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925852 w 4519987"/>
                <a:gd name="connsiteY48" fmla="*/ 4067175 h 4429225"/>
                <a:gd name="connsiteX49" fmla="*/ 830602 w 4519987"/>
                <a:gd name="connsiteY49" fmla="*/ 3981450 h 4429225"/>
                <a:gd name="connsiteX50" fmla="*/ 763927 w 4519987"/>
                <a:gd name="connsiteY50" fmla="*/ 3914775 h 4429225"/>
                <a:gd name="connsiteX51" fmla="*/ 725827 w 4519987"/>
                <a:gd name="connsiteY51" fmla="*/ 3876675 h 4429225"/>
                <a:gd name="connsiteX52" fmla="*/ 697252 w 4519987"/>
                <a:gd name="connsiteY52" fmla="*/ 3838575 h 4429225"/>
                <a:gd name="connsiteX53" fmla="*/ 640102 w 4519987"/>
                <a:gd name="connsiteY53" fmla="*/ 3781425 h 4429225"/>
                <a:gd name="connsiteX54" fmla="*/ 611527 w 4519987"/>
                <a:gd name="connsiteY54" fmla="*/ 3733800 h 4429225"/>
                <a:gd name="connsiteX55" fmla="*/ 554377 w 4519987"/>
                <a:gd name="connsiteY55" fmla="*/ 3657600 h 4429225"/>
                <a:gd name="connsiteX56" fmla="*/ 525802 w 4519987"/>
                <a:gd name="connsiteY56" fmla="*/ 3609975 h 4429225"/>
                <a:gd name="connsiteX57" fmla="*/ 497227 w 4519987"/>
                <a:gd name="connsiteY57" fmla="*/ 3552825 h 4429225"/>
                <a:gd name="connsiteX58" fmla="*/ 440077 w 4519987"/>
                <a:gd name="connsiteY58" fmla="*/ 3495675 h 4429225"/>
                <a:gd name="connsiteX59" fmla="*/ 411502 w 4519987"/>
                <a:gd name="connsiteY59" fmla="*/ 3448050 h 4429225"/>
                <a:gd name="connsiteX60" fmla="*/ 278152 w 4519987"/>
                <a:gd name="connsiteY60" fmla="*/ 3257550 h 4429225"/>
                <a:gd name="connsiteX61" fmla="*/ 249577 w 4519987"/>
                <a:gd name="connsiteY61" fmla="*/ 3200400 h 4429225"/>
                <a:gd name="connsiteX62" fmla="*/ 240052 w 4519987"/>
                <a:gd name="connsiteY62" fmla="*/ 3162300 h 4429225"/>
                <a:gd name="connsiteX63" fmla="*/ 221002 w 4519987"/>
                <a:gd name="connsiteY63" fmla="*/ 3105150 h 4429225"/>
                <a:gd name="connsiteX64" fmla="*/ 173377 w 4519987"/>
                <a:gd name="connsiteY64" fmla="*/ 3019425 h 4429225"/>
                <a:gd name="connsiteX65" fmla="*/ 144802 w 4519987"/>
                <a:gd name="connsiteY65" fmla="*/ 2924175 h 4429225"/>
                <a:gd name="connsiteX66" fmla="*/ 68602 w 4519987"/>
                <a:gd name="connsiteY66" fmla="*/ 2724150 h 4429225"/>
                <a:gd name="connsiteX67" fmla="*/ 49552 w 4519987"/>
                <a:gd name="connsiteY67" fmla="*/ 2638425 h 4429225"/>
                <a:gd name="connsiteX68" fmla="*/ 40027 w 4519987"/>
                <a:gd name="connsiteY68" fmla="*/ 2562225 h 4429225"/>
                <a:gd name="connsiteX69" fmla="*/ 30502 w 4519987"/>
                <a:gd name="connsiteY69" fmla="*/ 2514600 h 4429225"/>
                <a:gd name="connsiteX70" fmla="*/ 11452 w 4519987"/>
                <a:gd name="connsiteY70" fmla="*/ 2400300 h 4429225"/>
                <a:gd name="connsiteX71" fmla="*/ 20977 w 4519987"/>
                <a:gd name="connsiteY71" fmla="*/ 1905000 h 4429225"/>
                <a:gd name="connsiteX72" fmla="*/ 30502 w 4519987"/>
                <a:gd name="connsiteY72" fmla="*/ 1838325 h 4429225"/>
                <a:gd name="connsiteX73" fmla="*/ 49552 w 4519987"/>
                <a:gd name="connsiteY73" fmla="*/ 1781175 h 4429225"/>
                <a:gd name="connsiteX74" fmla="*/ 59077 w 4519987"/>
                <a:gd name="connsiteY74" fmla="*/ 1743075 h 4429225"/>
                <a:gd name="connsiteX75" fmla="*/ 78127 w 4519987"/>
                <a:gd name="connsiteY75" fmla="*/ 1685925 h 4429225"/>
                <a:gd name="connsiteX76" fmla="*/ 87652 w 4519987"/>
                <a:gd name="connsiteY76" fmla="*/ 1638300 h 4429225"/>
                <a:gd name="connsiteX77" fmla="*/ 106702 w 4519987"/>
                <a:gd name="connsiteY77" fmla="*/ 1590675 h 4429225"/>
                <a:gd name="connsiteX78" fmla="*/ 135277 w 4519987"/>
                <a:gd name="connsiteY78" fmla="*/ 1504950 h 4429225"/>
                <a:gd name="connsiteX79" fmla="*/ 154327 w 4519987"/>
                <a:gd name="connsiteY79" fmla="*/ 1419225 h 4429225"/>
                <a:gd name="connsiteX80" fmla="*/ 230527 w 4519987"/>
                <a:gd name="connsiteY80" fmla="*/ 1276350 h 4429225"/>
                <a:gd name="connsiteX81" fmla="*/ 240052 w 4519987"/>
                <a:gd name="connsiteY81" fmla="*/ 1247775 h 4429225"/>
                <a:gd name="connsiteX82" fmla="*/ 268627 w 4519987"/>
                <a:gd name="connsiteY82" fmla="*/ 1200150 h 4429225"/>
                <a:gd name="connsiteX83" fmla="*/ 287677 w 4519987"/>
                <a:gd name="connsiteY83" fmla="*/ 1152525 h 4429225"/>
                <a:gd name="connsiteX84" fmla="*/ 316252 w 4519987"/>
                <a:gd name="connsiteY84" fmla="*/ 1114425 h 4429225"/>
                <a:gd name="connsiteX85" fmla="*/ 363877 w 4519987"/>
                <a:gd name="connsiteY85" fmla="*/ 1038225 h 4429225"/>
                <a:gd name="connsiteX86" fmla="*/ 382927 w 4519987"/>
                <a:gd name="connsiteY86" fmla="*/ 1009650 h 4429225"/>
                <a:gd name="connsiteX87" fmla="*/ 440077 w 4519987"/>
                <a:gd name="connsiteY87" fmla="*/ 904875 h 4429225"/>
                <a:gd name="connsiteX88" fmla="*/ 478177 w 4519987"/>
                <a:gd name="connsiteY88" fmla="*/ 857250 h 4429225"/>
                <a:gd name="connsiteX89" fmla="*/ 497227 w 4519987"/>
                <a:gd name="connsiteY89" fmla="*/ 828675 h 4429225"/>
                <a:gd name="connsiteX90" fmla="*/ 535327 w 4519987"/>
                <a:gd name="connsiteY90" fmla="*/ 800100 h 4429225"/>
                <a:gd name="connsiteX91" fmla="*/ 602002 w 4519987"/>
                <a:gd name="connsiteY91" fmla="*/ 733425 h 4429225"/>
                <a:gd name="connsiteX92" fmla="*/ 668677 w 4519987"/>
                <a:gd name="connsiteY92" fmla="*/ 676275 h 4429225"/>
                <a:gd name="connsiteX93" fmla="*/ 697252 w 4519987"/>
                <a:gd name="connsiteY93" fmla="*/ 657225 h 4429225"/>
                <a:gd name="connsiteX94" fmla="*/ 840127 w 4519987"/>
                <a:gd name="connsiteY94" fmla="*/ 533400 h 4429225"/>
                <a:gd name="connsiteX95" fmla="*/ 887752 w 4519987"/>
                <a:gd name="connsiteY95" fmla="*/ 504825 h 4429225"/>
                <a:gd name="connsiteX96" fmla="*/ 1167152 w 4519987"/>
                <a:gd name="connsiteY96" fmla="*/ 311150 h 4429225"/>
                <a:gd name="connsiteX97" fmla="*/ 1268752 w 4519987"/>
                <a:gd name="connsiteY97" fmla="*/ 285750 h 4429225"/>
                <a:gd name="connsiteX98" fmla="*/ 1411627 w 4519987"/>
                <a:gd name="connsiteY98" fmla="*/ 190500 h 4429225"/>
                <a:gd name="connsiteX99" fmla="*/ 1449727 w 4519987"/>
                <a:gd name="connsiteY99" fmla="*/ 161925 h 4429225"/>
                <a:gd name="connsiteX100" fmla="*/ 1525927 w 4519987"/>
                <a:gd name="connsiteY100" fmla="*/ 152400 h 4429225"/>
                <a:gd name="connsiteX101" fmla="*/ 1583077 w 4519987"/>
                <a:gd name="connsiteY101" fmla="*/ 142875 h 4429225"/>
                <a:gd name="connsiteX102" fmla="*/ 1716427 w 4519987"/>
                <a:gd name="connsiteY102" fmla="*/ 123825 h 4429225"/>
                <a:gd name="connsiteX103" fmla="*/ 1811677 w 4519987"/>
                <a:gd name="connsiteY103" fmla="*/ 114300 h 4429225"/>
                <a:gd name="connsiteX104" fmla="*/ 1859302 w 4519987"/>
                <a:gd name="connsiteY104" fmla="*/ 104775 h 4429225"/>
                <a:gd name="connsiteX105" fmla="*/ 1916452 w 4519987"/>
                <a:gd name="connsiteY105" fmla="*/ 95250 h 4429225"/>
                <a:gd name="connsiteX106" fmla="*/ 2030752 w 4519987"/>
                <a:gd name="connsiteY106" fmla="*/ 66675 h 4429225"/>
                <a:gd name="connsiteX107" fmla="*/ 2097427 w 4519987"/>
                <a:gd name="connsiteY107" fmla="*/ 47625 h 4429225"/>
                <a:gd name="connsiteX108" fmla="*/ 2164102 w 4519987"/>
                <a:gd name="connsiteY108" fmla="*/ 38100 h 4429225"/>
                <a:gd name="connsiteX109" fmla="*/ 2392702 w 4519987"/>
                <a:gd name="connsiteY10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725827 w 4519987"/>
                <a:gd name="connsiteY50" fmla="*/ 3876675 h 4429225"/>
                <a:gd name="connsiteX51" fmla="*/ 697252 w 4519987"/>
                <a:gd name="connsiteY51" fmla="*/ 3838575 h 4429225"/>
                <a:gd name="connsiteX52" fmla="*/ 640102 w 4519987"/>
                <a:gd name="connsiteY52" fmla="*/ 3781425 h 4429225"/>
                <a:gd name="connsiteX53" fmla="*/ 611527 w 4519987"/>
                <a:gd name="connsiteY53" fmla="*/ 3733800 h 4429225"/>
                <a:gd name="connsiteX54" fmla="*/ 554377 w 4519987"/>
                <a:gd name="connsiteY54" fmla="*/ 3657600 h 4429225"/>
                <a:gd name="connsiteX55" fmla="*/ 525802 w 4519987"/>
                <a:gd name="connsiteY55" fmla="*/ 3609975 h 4429225"/>
                <a:gd name="connsiteX56" fmla="*/ 497227 w 4519987"/>
                <a:gd name="connsiteY56" fmla="*/ 3552825 h 4429225"/>
                <a:gd name="connsiteX57" fmla="*/ 440077 w 4519987"/>
                <a:gd name="connsiteY57" fmla="*/ 3495675 h 4429225"/>
                <a:gd name="connsiteX58" fmla="*/ 411502 w 4519987"/>
                <a:gd name="connsiteY58" fmla="*/ 3448050 h 4429225"/>
                <a:gd name="connsiteX59" fmla="*/ 278152 w 4519987"/>
                <a:gd name="connsiteY59" fmla="*/ 3257550 h 4429225"/>
                <a:gd name="connsiteX60" fmla="*/ 249577 w 4519987"/>
                <a:gd name="connsiteY60" fmla="*/ 3200400 h 4429225"/>
                <a:gd name="connsiteX61" fmla="*/ 240052 w 4519987"/>
                <a:gd name="connsiteY61" fmla="*/ 3162300 h 4429225"/>
                <a:gd name="connsiteX62" fmla="*/ 221002 w 4519987"/>
                <a:gd name="connsiteY62" fmla="*/ 3105150 h 4429225"/>
                <a:gd name="connsiteX63" fmla="*/ 173377 w 4519987"/>
                <a:gd name="connsiteY63" fmla="*/ 3019425 h 4429225"/>
                <a:gd name="connsiteX64" fmla="*/ 144802 w 4519987"/>
                <a:gd name="connsiteY64" fmla="*/ 2924175 h 4429225"/>
                <a:gd name="connsiteX65" fmla="*/ 68602 w 4519987"/>
                <a:gd name="connsiteY65" fmla="*/ 2724150 h 4429225"/>
                <a:gd name="connsiteX66" fmla="*/ 49552 w 4519987"/>
                <a:gd name="connsiteY66" fmla="*/ 2638425 h 4429225"/>
                <a:gd name="connsiteX67" fmla="*/ 40027 w 4519987"/>
                <a:gd name="connsiteY67" fmla="*/ 2562225 h 4429225"/>
                <a:gd name="connsiteX68" fmla="*/ 30502 w 4519987"/>
                <a:gd name="connsiteY68" fmla="*/ 2514600 h 4429225"/>
                <a:gd name="connsiteX69" fmla="*/ 11452 w 4519987"/>
                <a:gd name="connsiteY69" fmla="*/ 2400300 h 4429225"/>
                <a:gd name="connsiteX70" fmla="*/ 20977 w 4519987"/>
                <a:gd name="connsiteY70" fmla="*/ 1905000 h 4429225"/>
                <a:gd name="connsiteX71" fmla="*/ 30502 w 4519987"/>
                <a:gd name="connsiteY71" fmla="*/ 1838325 h 4429225"/>
                <a:gd name="connsiteX72" fmla="*/ 49552 w 4519987"/>
                <a:gd name="connsiteY72" fmla="*/ 1781175 h 4429225"/>
                <a:gd name="connsiteX73" fmla="*/ 59077 w 4519987"/>
                <a:gd name="connsiteY73" fmla="*/ 1743075 h 4429225"/>
                <a:gd name="connsiteX74" fmla="*/ 78127 w 4519987"/>
                <a:gd name="connsiteY74" fmla="*/ 1685925 h 4429225"/>
                <a:gd name="connsiteX75" fmla="*/ 87652 w 4519987"/>
                <a:gd name="connsiteY75" fmla="*/ 1638300 h 4429225"/>
                <a:gd name="connsiteX76" fmla="*/ 106702 w 4519987"/>
                <a:gd name="connsiteY76" fmla="*/ 1590675 h 4429225"/>
                <a:gd name="connsiteX77" fmla="*/ 135277 w 4519987"/>
                <a:gd name="connsiteY77" fmla="*/ 1504950 h 4429225"/>
                <a:gd name="connsiteX78" fmla="*/ 154327 w 4519987"/>
                <a:gd name="connsiteY78" fmla="*/ 1419225 h 4429225"/>
                <a:gd name="connsiteX79" fmla="*/ 230527 w 4519987"/>
                <a:gd name="connsiteY79" fmla="*/ 1276350 h 4429225"/>
                <a:gd name="connsiteX80" fmla="*/ 240052 w 4519987"/>
                <a:gd name="connsiteY80" fmla="*/ 1247775 h 4429225"/>
                <a:gd name="connsiteX81" fmla="*/ 268627 w 4519987"/>
                <a:gd name="connsiteY81" fmla="*/ 1200150 h 4429225"/>
                <a:gd name="connsiteX82" fmla="*/ 287677 w 4519987"/>
                <a:gd name="connsiteY82" fmla="*/ 1152525 h 4429225"/>
                <a:gd name="connsiteX83" fmla="*/ 316252 w 4519987"/>
                <a:gd name="connsiteY83" fmla="*/ 1114425 h 4429225"/>
                <a:gd name="connsiteX84" fmla="*/ 363877 w 4519987"/>
                <a:gd name="connsiteY84" fmla="*/ 1038225 h 4429225"/>
                <a:gd name="connsiteX85" fmla="*/ 382927 w 4519987"/>
                <a:gd name="connsiteY85" fmla="*/ 1009650 h 4429225"/>
                <a:gd name="connsiteX86" fmla="*/ 440077 w 4519987"/>
                <a:gd name="connsiteY86" fmla="*/ 904875 h 4429225"/>
                <a:gd name="connsiteX87" fmla="*/ 478177 w 4519987"/>
                <a:gd name="connsiteY87" fmla="*/ 857250 h 4429225"/>
                <a:gd name="connsiteX88" fmla="*/ 497227 w 4519987"/>
                <a:gd name="connsiteY88" fmla="*/ 828675 h 4429225"/>
                <a:gd name="connsiteX89" fmla="*/ 535327 w 4519987"/>
                <a:gd name="connsiteY89" fmla="*/ 800100 h 4429225"/>
                <a:gd name="connsiteX90" fmla="*/ 602002 w 4519987"/>
                <a:gd name="connsiteY90" fmla="*/ 733425 h 4429225"/>
                <a:gd name="connsiteX91" fmla="*/ 668677 w 4519987"/>
                <a:gd name="connsiteY91" fmla="*/ 676275 h 4429225"/>
                <a:gd name="connsiteX92" fmla="*/ 697252 w 4519987"/>
                <a:gd name="connsiteY92" fmla="*/ 657225 h 4429225"/>
                <a:gd name="connsiteX93" fmla="*/ 840127 w 4519987"/>
                <a:gd name="connsiteY93" fmla="*/ 533400 h 4429225"/>
                <a:gd name="connsiteX94" fmla="*/ 887752 w 4519987"/>
                <a:gd name="connsiteY94" fmla="*/ 504825 h 4429225"/>
                <a:gd name="connsiteX95" fmla="*/ 1167152 w 4519987"/>
                <a:gd name="connsiteY95" fmla="*/ 311150 h 4429225"/>
                <a:gd name="connsiteX96" fmla="*/ 1268752 w 4519987"/>
                <a:gd name="connsiteY96" fmla="*/ 285750 h 4429225"/>
                <a:gd name="connsiteX97" fmla="*/ 1411627 w 4519987"/>
                <a:gd name="connsiteY97" fmla="*/ 190500 h 4429225"/>
                <a:gd name="connsiteX98" fmla="*/ 1449727 w 4519987"/>
                <a:gd name="connsiteY98" fmla="*/ 161925 h 4429225"/>
                <a:gd name="connsiteX99" fmla="*/ 1525927 w 4519987"/>
                <a:gd name="connsiteY99" fmla="*/ 152400 h 4429225"/>
                <a:gd name="connsiteX100" fmla="*/ 1583077 w 4519987"/>
                <a:gd name="connsiteY100" fmla="*/ 142875 h 4429225"/>
                <a:gd name="connsiteX101" fmla="*/ 1716427 w 4519987"/>
                <a:gd name="connsiteY101" fmla="*/ 123825 h 4429225"/>
                <a:gd name="connsiteX102" fmla="*/ 1811677 w 4519987"/>
                <a:gd name="connsiteY102" fmla="*/ 114300 h 4429225"/>
                <a:gd name="connsiteX103" fmla="*/ 1859302 w 4519987"/>
                <a:gd name="connsiteY103" fmla="*/ 104775 h 4429225"/>
                <a:gd name="connsiteX104" fmla="*/ 1916452 w 4519987"/>
                <a:gd name="connsiteY104" fmla="*/ 95250 h 4429225"/>
                <a:gd name="connsiteX105" fmla="*/ 2030752 w 4519987"/>
                <a:gd name="connsiteY105" fmla="*/ 66675 h 4429225"/>
                <a:gd name="connsiteX106" fmla="*/ 2097427 w 4519987"/>
                <a:gd name="connsiteY106" fmla="*/ 47625 h 4429225"/>
                <a:gd name="connsiteX107" fmla="*/ 2164102 w 4519987"/>
                <a:gd name="connsiteY107" fmla="*/ 38100 h 4429225"/>
                <a:gd name="connsiteX108" fmla="*/ 2392702 w 4519987"/>
                <a:gd name="connsiteY10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40102 w 4519987"/>
                <a:gd name="connsiteY51" fmla="*/ 3781425 h 4429225"/>
                <a:gd name="connsiteX52" fmla="*/ 611527 w 4519987"/>
                <a:gd name="connsiteY52" fmla="*/ 3733800 h 4429225"/>
                <a:gd name="connsiteX53" fmla="*/ 554377 w 4519987"/>
                <a:gd name="connsiteY53" fmla="*/ 3657600 h 4429225"/>
                <a:gd name="connsiteX54" fmla="*/ 525802 w 4519987"/>
                <a:gd name="connsiteY54" fmla="*/ 3609975 h 4429225"/>
                <a:gd name="connsiteX55" fmla="*/ 497227 w 4519987"/>
                <a:gd name="connsiteY55" fmla="*/ 3552825 h 4429225"/>
                <a:gd name="connsiteX56" fmla="*/ 440077 w 4519987"/>
                <a:gd name="connsiteY56" fmla="*/ 3495675 h 4429225"/>
                <a:gd name="connsiteX57" fmla="*/ 411502 w 4519987"/>
                <a:gd name="connsiteY57" fmla="*/ 3448050 h 4429225"/>
                <a:gd name="connsiteX58" fmla="*/ 278152 w 4519987"/>
                <a:gd name="connsiteY58" fmla="*/ 3257550 h 4429225"/>
                <a:gd name="connsiteX59" fmla="*/ 249577 w 4519987"/>
                <a:gd name="connsiteY59" fmla="*/ 3200400 h 4429225"/>
                <a:gd name="connsiteX60" fmla="*/ 240052 w 4519987"/>
                <a:gd name="connsiteY60" fmla="*/ 3162300 h 4429225"/>
                <a:gd name="connsiteX61" fmla="*/ 221002 w 4519987"/>
                <a:gd name="connsiteY61" fmla="*/ 3105150 h 4429225"/>
                <a:gd name="connsiteX62" fmla="*/ 173377 w 4519987"/>
                <a:gd name="connsiteY62" fmla="*/ 3019425 h 4429225"/>
                <a:gd name="connsiteX63" fmla="*/ 144802 w 4519987"/>
                <a:gd name="connsiteY63" fmla="*/ 2924175 h 4429225"/>
                <a:gd name="connsiteX64" fmla="*/ 68602 w 4519987"/>
                <a:gd name="connsiteY64" fmla="*/ 2724150 h 4429225"/>
                <a:gd name="connsiteX65" fmla="*/ 49552 w 4519987"/>
                <a:gd name="connsiteY65" fmla="*/ 2638425 h 4429225"/>
                <a:gd name="connsiteX66" fmla="*/ 40027 w 4519987"/>
                <a:gd name="connsiteY66" fmla="*/ 2562225 h 4429225"/>
                <a:gd name="connsiteX67" fmla="*/ 30502 w 4519987"/>
                <a:gd name="connsiteY67" fmla="*/ 2514600 h 4429225"/>
                <a:gd name="connsiteX68" fmla="*/ 11452 w 4519987"/>
                <a:gd name="connsiteY68" fmla="*/ 2400300 h 4429225"/>
                <a:gd name="connsiteX69" fmla="*/ 20977 w 4519987"/>
                <a:gd name="connsiteY69" fmla="*/ 1905000 h 4429225"/>
                <a:gd name="connsiteX70" fmla="*/ 30502 w 4519987"/>
                <a:gd name="connsiteY70" fmla="*/ 1838325 h 4429225"/>
                <a:gd name="connsiteX71" fmla="*/ 49552 w 4519987"/>
                <a:gd name="connsiteY71" fmla="*/ 1781175 h 4429225"/>
                <a:gd name="connsiteX72" fmla="*/ 59077 w 4519987"/>
                <a:gd name="connsiteY72" fmla="*/ 1743075 h 4429225"/>
                <a:gd name="connsiteX73" fmla="*/ 78127 w 4519987"/>
                <a:gd name="connsiteY73" fmla="*/ 1685925 h 4429225"/>
                <a:gd name="connsiteX74" fmla="*/ 87652 w 4519987"/>
                <a:gd name="connsiteY74" fmla="*/ 1638300 h 4429225"/>
                <a:gd name="connsiteX75" fmla="*/ 106702 w 4519987"/>
                <a:gd name="connsiteY75" fmla="*/ 1590675 h 4429225"/>
                <a:gd name="connsiteX76" fmla="*/ 135277 w 4519987"/>
                <a:gd name="connsiteY76" fmla="*/ 1504950 h 4429225"/>
                <a:gd name="connsiteX77" fmla="*/ 154327 w 4519987"/>
                <a:gd name="connsiteY77" fmla="*/ 1419225 h 4429225"/>
                <a:gd name="connsiteX78" fmla="*/ 230527 w 4519987"/>
                <a:gd name="connsiteY78" fmla="*/ 1276350 h 4429225"/>
                <a:gd name="connsiteX79" fmla="*/ 240052 w 4519987"/>
                <a:gd name="connsiteY79" fmla="*/ 1247775 h 4429225"/>
                <a:gd name="connsiteX80" fmla="*/ 268627 w 4519987"/>
                <a:gd name="connsiteY80" fmla="*/ 1200150 h 4429225"/>
                <a:gd name="connsiteX81" fmla="*/ 287677 w 4519987"/>
                <a:gd name="connsiteY81" fmla="*/ 1152525 h 4429225"/>
                <a:gd name="connsiteX82" fmla="*/ 316252 w 4519987"/>
                <a:gd name="connsiteY82" fmla="*/ 1114425 h 4429225"/>
                <a:gd name="connsiteX83" fmla="*/ 363877 w 4519987"/>
                <a:gd name="connsiteY83" fmla="*/ 1038225 h 4429225"/>
                <a:gd name="connsiteX84" fmla="*/ 382927 w 4519987"/>
                <a:gd name="connsiteY84" fmla="*/ 1009650 h 4429225"/>
                <a:gd name="connsiteX85" fmla="*/ 440077 w 4519987"/>
                <a:gd name="connsiteY85" fmla="*/ 904875 h 4429225"/>
                <a:gd name="connsiteX86" fmla="*/ 478177 w 4519987"/>
                <a:gd name="connsiteY86" fmla="*/ 857250 h 4429225"/>
                <a:gd name="connsiteX87" fmla="*/ 497227 w 4519987"/>
                <a:gd name="connsiteY87" fmla="*/ 828675 h 4429225"/>
                <a:gd name="connsiteX88" fmla="*/ 535327 w 4519987"/>
                <a:gd name="connsiteY88" fmla="*/ 800100 h 4429225"/>
                <a:gd name="connsiteX89" fmla="*/ 602002 w 4519987"/>
                <a:gd name="connsiteY89" fmla="*/ 733425 h 4429225"/>
                <a:gd name="connsiteX90" fmla="*/ 668677 w 4519987"/>
                <a:gd name="connsiteY90" fmla="*/ 676275 h 4429225"/>
                <a:gd name="connsiteX91" fmla="*/ 697252 w 4519987"/>
                <a:gd name="connsiteY91" fmla="*/ 657225 h 4429225"/>
                <a:gd name="connsiteX92" fmla="*/ 840127 w 4519987"/>
                <a:gd name="connsiteY92" fmla="*/ 533400 h 4429225"/>
                <a:gd name="connsiteX93" fmla="*/ 887752 w 4519987"/>
                <a:gd name="connsiteY93" fmla="*/ 504825 h 4429225"/>
                <a:gd name="connsiteX94" fmla="*/ 1167152 w 4519987"/>
                <a:gd name="connsiteY94" fmla="*/ 311150 h 4429225"/>
                <a:gd name="connsiteX95" fmla="*/ 1268752 w 4519987"/>
                <a:gd name="connsiteY95" fmla="*/ 285750 h 4429225"/>
                <a:gd name="connsiteX96" fmla="*/ 1411627 w 4519987"/>
                <a:gd name="connsiteY96" fmla="*/ 190500 h 4429225"/>
                <a:gd name="connsiteX97" fmla="*/ 1449727 w 4519987"/>
                <a:gd name="connsiteY97" fmla="*/ 161925 h 4429225"/>
                <a:gd name="connsiteX98" fmla="*/ 1525927 w 4519987"/>
                <a:gd name="connsiteY98" fmla="*/ 152400 h 4429225"/>
                <a:gd name="connsiteX99" fmla="*/ 1583077 w 4519987"/>
                <a:gd name="connsiteY99" fmla="*/ 142875 h 4429225"/>
                <a:gd name="connsiteX100" fmla="*/ 1716427 w 4519987"/>
                <a:gd name="connsiteY100" fmla="*/ 123825 h 4429225"/>
                <a:gd name="connsiteX101" fmla="*/ 1811677 w 4519987"/>
                <a:gd name="connsiteY101" fmla="*/ 114300 h 4429225"/>
                <a:gd name="connsiteX102" fmla="*/ 1859302 w 4519987"/>
                <a:gd name="connsiteY102" fmla="*/ 104775 h 4429225"/>
                <a:gd name="connsiteX103" fmla="*/ 1916452 w 4519987"/>
                <a:gd name="connsiteY103" fmla="*/ 95250 h 4429225"/>
                <a:gd name="connsiteX104" fmla="*/ 2030752 w 4519987"/>
                <a:gd name="connsiteY104" fmla="*/ 66675 h 4429225"/>
                <a:gd name="connsiteX105" fmla="*/ 2097427 w 4519987"/>
                <a:gd name="connsiteY105" fmla="*/ 47625 h 4429225"/>
                <a:gd name="connsiteX106" fmla="*/ 2164102 w 4519987"/>
                <a:gd name="connsiteY106" fmla="*/ 38100 h 4429225"/>
                <a:gd name="connsiteX107" fmla="*/ 2392702 w 4519987"/>
                <a:gd name="connsiteY10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611527 w 4519987"/>
                <a:gd name="connsiteY51" fmla="*/ 3733800 h 4429225"/>
                <a:gd name="connsiteX52" fmla="*/ 554377 w 4519987"/>
                <a:gd name="connsiteY52" fmla="*/ 3657600 h 4429225"/>
                <a:gd name="connsiteX53" fmla="*/ 525802 w 4519987"/>
                <a:gd name="connsiteY53" fmla="*/ 3609975 h 4429225"/>
                <a:gd name="connsiteX54" fmla="*/ 497227 w 4519987"/>
                <a:gd name="connsiteY54" fmla="*/ 3552825 h 4429225"/>
                <a:gd name="connsiteX55" fmla="*/ 440077 w 4519987"/>
                <a:gd name="connsiteY55" fmla="*/ 3495675 h 4429225"/>
                <a:gd name="connsiteX56" fmla="*/ 411502 w 4519987"/>
                <a:gd name="connsiteY56" fmla="*/ 3448050 h 4429225"/>
                <a:gd name="connsiteX57" fmla="*/ 278152 w 4519987"/>
                <a:gd name="connsiteY57" fmla="*/ 3257550 h 4429225"/>
                <a:gd name="connsiteX58" fmla="*/ 249577 w 4519987"/>
                <a:gd name="connsiteY58" fmla="*/ 3200400 h 4429225"/>
                <a:gd name="connsiteX59" fmla="*/ 240052 w 4519987"/>
                <a:gd name="connsiteY59" fmla="*/ 3162300 h 4429225"/>
                <a:gd name="connsiteX60" fmla="*/ 221002 w 4519987"/>
                <a:gd name="connsiteY60" fmla="*/ 3105150 h 4429225"/>
                <a:gd name="connsiteX61" fmla="*/ 173377 w 4519987"/>
                <a:gd name="connsiteY61" fmla="*/ 3019425 h 4429225"/>
                <a:gd name="connsiteX62" fmla="*/ 144802 w 4519987"/>
                <a:gd name="connsiteY62" fmla="*/ 2924175 h 4429225"/>
                <a:gd name="connsiteX63" fmla="*/ 68602 w 4519987"/>
                <a:gd name="connsiteY63" fmla="*/ 2724150 h 4429225"/>
                <a:gd name="connsiteX64" fmla="*/ 49552 w 4519987"/>
                <a:gd name="connsiteY64" fmla="*/ 2638425 h 4429225"/>
                <a:gd name="connsiteX65" fmla="*/ 40027 w 4519987"/>
                <a:gd name="connsiteY65" fmla="*/ 2562225 h 4429225"/>
                <a:gd name="connsiteX66" fmla="*/ 30502 w 4519987"/>
                <a:gd name="connsiteY66" fmla="*/ 2514600 h 4429225"/>
                <a:gd name="connsiteX67" fmla="*/ 11452 w 4519987"/>
                <a:gd name="connsiteY67" fmla="*/ 2400300 h 4429225"/>
                <a:gd name="connsiteX68" fmla="*/ 20977 w 4519987"/>
                <a:gd name="connsiteY68" fmla="*/ 1905000 h 4429225"/>
                <a:gd name="connsiteX69" fmla="*/ 30502 w 4519987"/>
                <a:gd name="connsiteY69" fmla="*/ 1838325 h 4429225"/>
                <a:gd name="connsiteX70" fmla="*/ 49552 w 4519987"/>
                <a:gd name="connsiteY70" fmla="*/ 1781175 h 4429225"/>
                <a:gd name="connsiteX71" fmla="*/ 59077 w 4519987"/>
                <a:gd name="connsiteY71" fmla="*/ 1743075 h 4429225"/>
                <a:gd name="connsiteX72" fmla="*/ 78127 w 4519987"/>
                <a:gd name="connsiteY72" fmla="*/ 1685925 h 4429225"/>
                <a:gd name="connsiteX73" fmla="*/ 87652 w 4519987"/>
                <a:gd name="connsiteY73" fmla="*/ 1638300 h 4429225"/>
                <a:gd name="connsiteX74" fmla="*/ 106702 w 4519987"/>
                <a:gd name="connsiteY74" fmla="*/ 1590675 h 4429225"/>
                <a:gd name="connsiteX75" fmla="*/ 135277 w 4519987"/>
                <a:gd name="connsiteY75" fmla="*/ 1504950 h 4429225"/>
                <a:gd name="connsiteX76" fmla="*/ 154327 w 4519987"/>
                <a:gd name="connsiteY76" fmla="*/ 1419225 h 4429225"/>
                <a:gd name="connsiteX77" fmla="*/ 230527 w 4519987"/>
                <a:gd name="connsiteY77" fmla="*/ 1276350 h 4429225"/>
                <a:gd name="connsiteX78" fmla="*/ 240052 w 4519987"/>
                <a:gd name="connsiteY78" fmla="*/ 1247775 h 4429225"/>
                <a:gd name="connsiteX79" fmla="*/ 268627 w 4519987"/>
                <a:gd name="connsiteY79" fmla="*/ 1200150 h 4429225"/>
                <a:gd name="connsiteX80" fmla="*/ 287677 w 4519987"/>
                <a:gd name="connsiteY80" fmla="*/ 1152525 h 4429225"/>
                <a:gd name="connsiteX81" fmla="*/ 316252 w 4519987"/>
                <a:gd name="connsiteY81" fmla="*/ 1114425 h 4429225"/>
                <a:gd name="connsiteX82" fmla="*/ 363877 w 4519987"/>
                <a:gd name="connsiteY82" fmla="*/ 1038225 h 4429225"/>
                <a:gd name="connsiteX83" fmla="*/ 382927 w 4519987"/>
                <a:gd name="connsiteY83" fmla="*/ 1009650 h 4429225"/>
                <a:gd name="connsiteX84" fmla="*/ 440077 w 4519987"/>
                <a:gd name="connsiteY84" fmla="*/ 904875 h 4429225"/>
                <a:gd name="connsiteX85" fmla="*/ 478177 w 4519987"/>
                <a:gd name="connsiteY85" fmla="*/ 857250 h 4429225"/>
                <a:gd name="connsiteX86" fmla="*/ 497227 w 4519987"/>
                <a:gd name="connsiteY86" fmla="*/ 828675 h 4429225"/>
                <a:gd name="connsiteX87" fmla="*/ 535327 w 4519987"/>
                <a:gd name="connsiteY87" fmla="*/ 800100 h 4429225"/>
                <a:gd name="connsiteX88" fmla="*/ 602002 w 4519987"/>
                <a:gd name="connsiteY88" fmla="*/ 733425 h 4429225"/>
                <a:gd name="connsiteX89" fmla="*/ 668677 w 4519987"/>
                <a:gd name="connsiteY89" fmla="*/ 676275 h 4429225"/>
                <a:gd name="connsiteX90" fmla="*/ 697252 w 4519987"/>
                <a:gd name="connsiteY90" fmla="*/ 657225 h 4429225"/>
                <a:gd name="connsiteX91" fmla="*/ 840127 w 4519987"/>
                <a:gd name="connsiteY91" fmla="*/ 533400 h 4429225"/>
                <a:gd name="connsiteX92" fmla="*/ 887752 w 4519987"/>
                <a:gd name="connsiteY92" fmla="*/ 504825 h 4429225"/>
                <a:gd name="connsiteX93" fmla="*/ 1167152 w 4519987"/>
                <a:gd name="connsiteY93" fmla="*/ 311150 h 4429225"/>
                <a:gd name="connsiteX94" fmla="*/ 1268752 w 4519987"/>
                <a:gd name="connsiteY94" fmla="*/ 285750 h 4429225"/>
                <a:gd name="connsiteX95" fmla="*/ 1411627 w 4519987"/>
                <a:gd name="connsiteY95" fmla="*/ 190500 h 4429225"/>
                <a:gd name="connsiteX96" fmla="*/ 1449727 w 4519987"/>
                <a:gd name="connsiteY96" fmla="*/ 161925 h 4429225"/>
                <a:gd name="connsiteX97" fmla="*/ 1525927 w 4519987"/>
                <a:gd name="connsiteY97" fmla="*/ 152400 h 4429225"/>
                <a:gd name="connsiteX98" fmla="*/ 1583077 w 4519987"/>
                <a:gd name="connsiteY98" fmla="*/ 142875 h 4429225"/>
                <a:gd name="connsiteX99" fmla="*/ 1716427 w 4519987"/>
                <a:gd name="connsiteY99" fmla="*/ 123825 h 4429225"/>
                <a:gd name="connsiteX100" fmla="*/ 1811677 w 4519987"/>
                <a:gd name="connsiteY100" fmla="*/ 114300 h 4429225"/>
                <a:gd name="connsiteX101" fmla="*/ 1859302 w 4519987"/>
                <a:gd name="connsiteY101" fmla="*/ 104775 h 4429225"/>
                <a:gd name="connsiteX102" fmla="*/ 1916452 w 4519987"/>
                <a:gd name="connsiteY102" fmla="*/ 95250 h 4429225"/>
                <a:gd name="connsiteX103" fmla="*/ 2030752 w 4519987"/>
                <a:gd name="connsiteY103" fmla="*/ 66675 h 4429225"/>
                <a:gd name="connsiteX104" fmla="*/ 2097427 w 4519987"/>
                <a:gd name="connsiteY104" fmla="*/ 47625 h 4429225"/>
                <a:gd name="connsiteX105" fmla="*/ 2164102 w 4519987"/>
                <a:gd name="connsiteY105" fmla="*/ 38100 h 4429225"/>
                <a:gd name="connsiteX106" fmla="*/ 2392702 w 4519987"/>
                <a:gd name="connsiteY10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525802 w 4519987"/>
                <a:gd name="connsiteY52" fmla="*/ 3609975 h 4429225"/>
                <a:gd name="connsiteX53" fmla="*/ 497227 w 4519987"/>
                <a:gd name="connsiteY53" fmla="*/ 3552825 h 4429225"/>
                <a:gd name="connsiteX54" fmla="*/ 440077 w 4519987"/>
                <a:gd name="connsiteY54" fmla="*/ 3495675 h 4429225"/>
                <a:gd name="connsiteX55" fmla="*/ 411502 w 4519987"/>
                <a:gd name="connsiteY55" fmla="*/ 3448050 h 4429225"/>
                <a:gd name="connsiteX56" fmla="*/ 278152 w 4519987"/>
                <a:gd name="connsiteY56" fmla="*/ 3257550 h 4429225"/>
                <a:gd name="connsiteX57" fmla="*/ 249577 w 4519987"/>
                <a:gd name="connsiteY57" fmla="*/ 3200400 h 4429225"/>
                <a:gd name="connsiteX58" fmla="*/ 240052 w 4519987"/>
                <a:gd name="connsiteY58" fmla="*/ 3162300 h 4429225"/>
                <a:gd name="connsiteX59" fmla="*/ 221002 w 4519987"/>
                <a:gd name="connsiteY59" fmla="*/ 3105150 h 4429225"/>
                <a:gd name="connsiteX60" fmla="*/ 173377 w 4519987"/>
                <a:gd name="connsiteY60" fmla="*/ 3019425 h 4429225"/>
                <a:gd name="connsiteX61" fmla="*/ 144802 w 4519987"/>
                <a:gd name="connsiteY61" fmla="*/ 2924175 h 4429225"/>
                <a:gd name="connsiteX62" fmla="*/ 68602 w 4519987"/>
                <a:gd name="connsiteY62" fmla="*/ 2724150 h 4429225"/>
                <a:gd name="connsiteX63" fmla="*/ 49552 w 4519987"/>
                <a:gd name="connsiteY63" fmla="*/ 2638425 h 4429225"/>
                <a:gd name="connsiteX64" fmla="*/ 40027 w 4519987"/>
                <a:gd name="connsiteY64" fmla="*/ 2562225 h 4429225"/>
                <a:gd name="connsiteX65" fmla="*/ 30502 w 4519987"/>
                <a:gd name="connsiteY65" fmla="*/ 2514600 h 4429225"/>
                <a:gd name="connsiteX66" fmla="*/ 11452 w 4519987"/>
                <a:gd name="connsiteY66" fmla="*/ 2400300 h 4429225"/>
                <a:gd name="connsiteX67" fmla="*/ 20977 w 4519987"/>
                <a:gd name="connsiteY67" fmla="*/ 1905000 h 4429225"/>
                <a:gd name="connsiteX68" fmla="*/ 30502 w 4519987"/>
                <a:gd name="connsiteY68" fmla="*/ 1838325 h 4429225"/>
                <a:gd name="connsiteX69" fmla="*/ 49552 w 4519987"/>
                <a:gd name="connsiteY69" fmla="*/ 1781175 h 4429225"/>
                <a:gd name="connsiteX70" fmla="*/ 59077 w 4519987"/>
                <a:gd name="connsiteY70" fmla="*/ 1743075 h 4429225"/>
                <a:gd name="connsiteX71" fmla="*/ 78127 w 4519987"/>
                <a:gd name="connsiteY71" fmla="*/ 1685925 h 4429225"/>
                <a:gd name="connsiteX72" fmla="*/ 87652 w 4519987"/>
                <a:gd name="connsiteY72" fmla="*/ 1638300 h 4429225"/>
                <a:gd name="connsiteX73" fmla="*/ 106702 w 4519987"/>
                <a:gd name="connsiteY73" fmla="*/ 1590675 h 4429225"/>
                <a:gd name="connsiteX74" fmla="*/ 135277 w 4519987"/>
                <a:gd name="connsiteY74" fmla="*/ 1504950 h 4429225"/>
                <a:gd name="connsiteX75" fmla="*/ 154327 w 4519987"/>
                <a:gd name="connsiteY75" fmla="*/ 1419225 h 4429225"/>
                <a:gd name="connsiteX76" fmla="*/ 230527 w 4519987"/>
                <a:gd name="connsiteY76" fmla="*/ 1276350 h 4429225"/>
                <a:gd name="connsiteX77" fmla="*/ 240052 w 4519987"/>
                <a:gd name="connsiteY77" fmla="*/ 1247775 h 4429225"/>
                <a:gd name="connsiteX78" fmla="*/ 268627 w 4519987"/>
                <a:gd name="connsiteY78" fmla="*/ 1200150 h 4429225"/>
                <a:gd name="connsiteX79" fmla="*/ 287677 w 4519987"/>
                <a:gd name="connsiteY79" fmla="*/ 1152525 h 4429225"/>
                <a:gd name="connsiteX80" fmla="*/ 316252 w 4519987"/>
                <a:gd name="connsiteY80" fmla="*/ 1114425 h 4429225"/>
                <a:gd name="connsiteX81" fmla="*/ 363877 w 4519987"/>
                <a:gd name="connsiteY81" fmla="*/ 1038225 h 4429225"/>
                <a:gd name="connsiteX82" fmla="*/ 382927 w 4519987"/>
                <a:gd name="connsiteY82" fmla="*/ 1009650 h 4429225"/>
                <a:gd name="connsiteX83" fmla="*/ 440077 w 4519987"/>
                <a:gd name="connsiteY83" fmla="*/ 904875 h 4429225"/>
                <a:gd name="connsiteX84" fmla="*/ 478177 w 4519987"/>
                <a:gd name="connsiteY84" fmla="*/ 857250 h 4429225"/>
                <a:gd name="connsiteX85" fmla="*/ 497227 w 4519987"/>
                <a:gd name="connsiteY85" fmla="*/ 828675 h 4429225"/>
                <a:gd name="connsiteX86" fmla="*/ 535327 w 4519987"/>
                <a:gd name="connsiteY86" fmla="*/ 800100 h 4429225"/>
                <a:gd name="connsiteX87" fmla="*/ 602002 w 4519987"/>
                <a:gd name="connsiteY87" fmla="*/ 733425 h 4429225"/>
                <a:gd name="connsiteX88" fmla="*/ 668677 w 4519987"/>
                <a:gd name="connsiteY88" fmla="*/ 676275 h 4429225"/>
                <a:gd name="connsiteX89" fmla="*/ 697252 w 4519987"/>
                <a:gd name="connsiteY89" fmla="*/ 657225 h 4429225"/>
                <a:gd name="connsiteX90" fmla="*/ 840127 w 4519987"/>
                <a:gd name="connsiteY90" fmla="*/ 533400 h 4429225"/>
                <a:gd name="connsiteX91" fmla="*/ 887752 w 4519987"/>
                <a:gd name="connsiteY91" fmla="*/ 504825 h 4429225"/>
                <a:gd name="connsiteX92" fmla="*/ 1167152 w 4519987"/>
                <a:gd name="connsiteY92" fmla="*/ 311150 h 4429225"/>
                <a:gd name="connsiteX93" fmla="*/ 1268752 w 4519987"/>
                <a:gd name="connsiteY93" fmla="*/ 285750 h 4429225"/>
                <a:gd name="connsiteX94" fmla="*/ 1411627 w 4519987"/>
                <a:gd name="connsiteY94" fmla="*/ 190500 h 4429225"/>
                <a:gd name="connsiteX95" fmla="*/ 1449727 w 4519987"/>
                <a:gd name="connsiteY95" fmla="*/ 161925 h 4429225"/>
                <a:gd name="connsiteX96" fmla="*/ 1525927 w 4519987"/>
                <a:gd name="connsiteY96" fmla="*/ 152400 h 4429225"/>
                <a:gd name="connsiteX97" fmla="*/ 1583077 w 4519987"/>
                <a:gd name="connsiteY97" fmla="*/ 142875 h 4429225"/>
                <a:gd name="connsiteX98" fmla="*/ 1716427 w 4519987"/>
                <a:gd name="connsiteY98" fmla="*/ 123825 h 4429225"/>
                <a:gd name="connsiteX99" fmla="*/ 1811677 w 4519987"/>
                <a:gd name="connsiteY99" fmla="*/ 114300 h 4429225"/>
                <a:gd name="connsiteX100" fmla="*/ 1859302 w 4519987"/>
                <a:gd name="connsiteY100" fmla="*/ 104775 h 4429225"/>
                <a:gd name="connsiteX101" fmla="*/ 1916452 w 4519987"/>
                <a:gd name="connsiteY101" fmla="*/ 95250 h 4429225"/>
                <a:gd name="connsiteX102" fmla="*/ 2030752 w 4519987"/>
                <a:gd name="connsiteY102" fmla="*/ 66675 h 4429225"/>
                <a:gd name="connsiteX103" fmla="*/ 2097427 w 4519987"/>
                <a:gd name="connsiteY103" fmla="*/ 47625 h 4429225"/>
                <a:gd name="connsiteX104" fmla="*/ 2164102 w 4519987"/>
                <a:gd name="connsiteY104" fmla="*/ 38100 h 4429225"/>
                <a:gd name="connsiteX105" fmla="*/ 2392702 w 4519987"/>
                <a:gd name="connsiteY105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411502 w 4519987"/>
                <a:gd name="connsiteY54" fmla="*/ 3448050 h 4429225"/>
                <a:gd name="connsiteX55" fmla="*/ 278152 w 4519987"/>
                <a:gd name="connsiteY55" fmla="*/ 3257550 h 4429225"/>
                <a:gd name="connsiteX56" fmla="*/ 249577 w 4519987"/>
                <a:gd name="connsiteY56" fmla="*/ 3200400 h 4429225"/>
                <a:gd name="connsiteX57" fmla="*/ 240052 w 4519987"/>
                <a:gd name="connsiteY57" fmla="*/ 3162300 h 4429225"/>
                <a:gd name="connsiteX58" fmla="*/ 221002 w 4519987"/>
                <a:gd name="connsiteY58" fmla="*/ 3105150 h 4429225"/>
                <a:gd name="connsiteX59" fmla="*/ 173377 w 4519987"/>
                <a:gd name="connsiteY59" fmla="*/ 3019425 h 4429225"/>
                <a:gd name="connsiteX60" fmla="*/ 144802 w 4519987"/>
                <a:gd name="connsiteY60" fmla="*/ 2924175 h 4429225"/>
                <a:gd name="connsiteX61" fmla="*/ 68602 w 4519987"/>
                <a:gd name="connsiteY61" fmla="*/ 2724150 h 4429225"/>
                <a:gd name="connsiteX62" fmla="*/ 49552 w 4519987"/>
                <a:gd name="connsiteY62" fmla="*/ 2638425 h 4429225"/>
                <a:gd name="connsiteX63" fmla="*/ 40027 w 4519987"/>
                <a:gd name="connsiteY63" fmla="*/ 2562225 h 4429225"/>
                <a:gd name="connsiteX64" fmla="*/ 30502 w 4519987"/>
                <a:gd name="connsiteY64" fmla="*/ 2514600 h 4429225"/>
                <a:gd name="connsiteX65" fmla="*/ 11452 w 4519987"/>
                <a:gd name="connsiteY65" fmla="*/ 2400300 h 4429225"/>
                <a:gd name="connsiteX66" fmla="*/ 20977 w 4519987"/>
                <a:gd name="connsiteY66" fmla="*/ 1905000 h 4429225"/>
                <a:gd name="connsiteX67" fmla="*/ 30502 w 4519987"/>
                <a:gd name="connsiteY67" fmla="*/ 1838325 h 4429225"/>
                <a:gd name="connsiteX68" fmla="*/ 49552 w 4519987"/>
                <a:gd name="connsiteY68" fmla="*/ 1781175 h 4429225"/>
                <a:gd name="connsiteX69" fmla="*/ 59077 w 4519987"/>
                <a:gd name="connsiteY69" fmla="*/ 1743075 h 4429225"/>
                <a:gd name="connsiteX70" fmla="*/ 78127 w 4519987"/>
                <a:gd name="connsiteY70" fmla="*/ 1685925 h 4429225"/>
                <a:gd name="connsiteX71" fmla="*/ 87652 w 4519987"/>
                <a:gd name="connsiteY71" fmla="*/ 1638300 h 4429225"/>
                <a:gd name="connsiteX72" fmla="*/ 106702 w 4519987"/>
                <a:gd name="connsiteY72" fmla="*/ 1590675 h 4429225"/>
                <a:gd name="connsiteX73" fmla="*/ 135277 w 4519987"/>
                <a:gd name="connsiteY73" fmla="*/ 1504950 h 4429225"/>
                <a:gd name="connsiteX74" fmla="*/ 154327 w 4519987"/>
                <a:gd name="connsiteY74" fmla="*/ 1419225 h 4429225"/>
                <a:gd name="connsiteX75" fmla="*/ 230527 w 4519987"/>
                <a:gd name="connsiteY75" fmla="*/ 1276350 h 4429225"/>
                <a:gd name="connsiteX76" fmla="*/ 240052 w 4519987"/>
                <a:gd name="connsiteY76" fmla="*/ 1247775 h 4429225"/>
                <a:gd name="connsiteX77" fmla="*/ 268627 w 4519987"/>
                <a:gd name="connsiteY77" fmla="*/ 1200150 h 4429225"/>
                <a:gd name="connsiteX78" fmla="*/ 287677 w 4519987"/>
                <a:gd name="connsiteY78" fmla="*/ 1152525 h 4429225"/>
                <a:gd name="connsiteX79" fmla="*/ 316252 w 4519987"/>
                <a:gd name="connsiteY79" fmla="*/ 1114425 h 4429225"/>
                <a:gd name="connsiteX80" fmla="*/ 363877 w 4519987"/>
                <a:gd name="connsiteY80" fmla="*/ 1038225 h 4429225"/>
                <a:gd name="connsiteX81" fmla="*/ 382927 w 4519987"/>
                <a:gd name="connsiteY81" fmla="*/ 1009650 h 4429225"/>
                <a:gd name="connsiteX82" fmla="*/ 440077 w 4519987"/>
                <a:gd name="connsiteY82" fmla="*/ 904875 h 4429225"/>
                <a:gd name="connsiteX83" fmla="*/ 478177 w 4519987"/>
                <a:gd name="connsiteY83" fmla="*/ 857250 h 4429225"/>
                <a:gd name="connsiteX84" fmla="*/ 497227 w 4519987"/>
                <a:gd name="connsiteY84" fmla="*/ 828675 h 4429225"/>
                <a:gd name="connsiteX85" fmla="*/ 535327 w 4519987"/>
                <a:gd name="connsiteY85" fmla="*/ 800100 h 4429225"/>
                <a:gd name="connsiteX86" fmla="*/ 602002 w 4519987"/>
                <a:gd name="connsiteY86" fmla="*/ 733425 h 4429225"/>
                <a:gd name="connsiteX87" fmla="*/ 668677 w 4519987"/>
                <a:gd name="connsiteY87" fmla="*/ 676275 h 4429225"/>
                <a:gd name="connsiteX88" fmla="*/ 697252 w 4519987"/>
                <a:gd name="connsiteY88" fmla="*/ 657225 h 4429225"/>
                <a:gd name="connsiteX89" fmla="*/ 840127 w 4519987"/>
                <a:gd name="connsiteY89" fmla="*/ 533400 h 4429225"/>
                <a:gd name="connsiteX90" fmla="*/ 887752 w 4519987"/>
                <a:gd name="connsiteY90" fmla="*/ 504825 h 4429225"/>
                <a:gd name="connsiteX91" fmla="*/ 1167152 w 4519987"/>
                <a:gd name="connsiteY91" fmla="*/ 311150 h 4429225"/>
                <a:gd name="connsiteX92" fmla="*/ 1268752 w 4519987"/>
                <a:gd name="connsiteY92" fmla="*/ 285750 h 4429225"/>
                <a:gd name="connsiteX93" fmla="*/ 1411627 w 4519987"/>
                <a:gd name="connsiteY93" fmla="*/ 190500 h 4429225"/>
                <a:gd name="connsiteX94" fmla="*/ 1449727 w 4519987"/>
                <a:gd name="connsiteY94" fmla="*/ 161925 h 4429225"/>
                <a:gd name="connsiteX95" fmla="*/ 1525927 w 4519987"/>
                <a:gd name="connsiteY95" fmla="*/ 152400 h 4429225"/>
                <a:gd name="connsiteX96" fmla="*/ 1583077 w 4519987"/>
                <a:gd name="connsiteY96" fmla="*/ 142875 h 4429225"/>
                <a:gd name="connsiteX97" fmla="*/ 1716427 w 4519987"/>
                <a:gd name="connsiteY97" fmla="*/ 123825 h 4429225"/>
                <a:gd name="connsiteX98" fmla="*/ 1811677 w 4519987"/>
                <a:gd name="connsiteY98" fmla="*/ 114300 h 4429225"/>
                <a:gd name="connsiteX99" fmla="*/ 1859302 w 4519987"/>
                <a:gd name="connsiteY99" fmla="*/ 104775 h 4429225"/>
                <a:gd name="connsiteX100" fmla="*/ 1916452 w 4519987"/>
                <a:gd name="connsiteY100" fmla="*/ 95250 h 4429225"/>
                <a:gd name="connsiteX101" fmla="*/ 2030752 w 4519987"/>
                <a:gd name="connsiteY101" fmla="*/ 66675 h 4429225"/>
                <a:gd name="connsiteX102" fmla="*/ 2097427 w 4519987"/>
                <a:gd name="connsiteY102" fmla="*/ 47625 h 4429225"/>
                <a:gd name="connsiteX103" fmla="*/ 2164102 w 4519987"/>
                <a:gd name="connsiteY103" fmla="*/ 38100 h 4429225"/>
                <a:gd name="connsiteX104" fmla="*/ 2392702 w 4519987"/>
                <a:gd name="connsiteY104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97227 w 4519987"/>
                <a:gd name="connsiteY52" fmla="*/ 3552825 h 4429225"/>
                <a:gd name="connsiteX53" fmla="*/ 440077 w 4519987"/>
                <a:gd name="connsiteY53" fmla="*/ 3495675 h 4429225"/>
                <a:gd name="connsiteX54" fmla="*/ 278152 w 4519987"/>
                <a:gd name="connsiteY54" fmla="*/ 3257550 h 4429225"/>
                <a:gd name="connsiteX55" fmla="*/ 249577 w 4519987"/>
                <a:gd name="connsiteY55" fmla="*/ 3200400 h 4429225"/>
                <a:gd name="connsiteX56" fmla="*/ 240052 w 4519987"/>
                <a:gd name="connsiteY56" fmla="*/ 3162300 h 4429225"/>
                <a:gd name="connsiteX57" fmla="*/ 221002 w 4519987"/>
                <a:gd name="connsiteY57" fmla="*/ 3105150 h 4429225"/>
                <a:gd name="connsiteX58" fmla="*/ 173377 w 4519987"/>
                <a:gd name="connsiteY58" fmla="*/ 3019425 h 4429225"/>
                <a:gd name="connsiteX59" fmla="*/ 144802 w 4519987"/>
                <a:gd name="connsiteY59" fmla="*/ 2924175 h 4429225"/>
                <a:gd name="connsiteX60" fmla="*/ 68602 w 4519987"/>
                <a:gd name="connsiteY60" fmla="*/ 2724150 h 4429225"/>
                <a:gd name="connsiteX61" fmla="*/ 49552 w 4519987"/>
                <a:gd name="connsiteY61" fmla="*/ 2638425 h 4429225"/>
                <a:gd name="connsiteX62" fmla="*/ 40027 w 4519987"/>
                <a:gd name="connsiteY62" fmla="*/ 2562225 h 4429225"/>
                <a:gd name="connsiteX63" fmla="*/ 30502 w 4519987"/>
                <a:gd name="connsiteY63" fmla="*/ 2514600 h 4429225"/>
                <a:gd name="connsiteX64" fmla="*/ 11452 w 4519987"/>
                <a:gd name="connsiteY64" fmla="*/ 2400300 h 4429225"/>
                <a:gd name="connsiteX65" fmla="*/ 20977 w 4519987"/>
                <a:gd name="connsiteY65" fmla="*/ 1905000 h 4429225"/>
                <a:gd name="connsiteX66" fmla="*/ 30502 w 4519987"/>
                <a:gd name="connsiteY66" fmla="*/ 1838325 h 4429225"/>
                <a:gd name="connsiteX67" fmla="*/ 49552 w 4519987"/>
                <a:gd name="connsiteY67" fmla="*/ 1781175 h 4429225"/>
                <a:gd name="connsiteX68" fmla="*/ 59077 w 4519987"/>
                <a:gd name="connsiteY68" fmla="*/ 1743075 h 4429225"/>
                <a:gd name="connsiteX69" fmla="*/ 78127 w 4519987"/>
                <a:gd name="connsiteY69" fmla="*/ 1685925 h 4429225"/>
                <a:gd name="connsiteX70" fmla="*/ 87652 w 4519987"/>
                <a:gd name="connsiteY70" fmla="*/ 1638300 h 4429225"/>
                <a:gd name="connsiteX71" fmla="*/ 106702 w 4519987"/>
                <a:gd name="connsiteY71" fmla="*/ 1590675 h 4429225"/>
                <a:gd name="connsiteX72" fmla="*/ 135277 w 4519987"/>
                <a:gd name="connsiteY72" fmla="*/ 1504950 h 4429225"/>
                <a:gd name="connsiteX73" fmla="*/ 154327 w 4519987"/>
                <a:gd name="connsiteY73" fmla="*/ 1419225 h 4429225"/>
                <a:gd name="connsiteX74" fmla="*/ 230527 w 4519987"/>
                <a:gd name="connsiteY74" fmla="*/ 1276350 h 4429225"/>
                <a:gd name="connsiteX75" fmla="*/ 240052 w 4519987"/>
                <a:gd name="connsiteY75" fmla="*/ 1247775 h 4429225"/>
                <a:gd name="connsiteX76" fmla="*/ 268627 w 4519987"/>
                <a:gd name="connsiteY76" fmla="*/ 1200150 h 4429225"/>
                <a:gd name="connsiteX77" fmla="*/ 287677 w 4519987"/>
                <a:gd name="connsiteY77" fmla="*/ 1152525 h 4429225"/>
                <a:gd name="connsiteX78" fmla="*/ 316252 w 4519987"/>
                <a:gd name="connsiteY78" fmla="*/ 1114425 h 4429225"/>
                <a:gd name="connsiteX79" fmla="*/ 363877 w 4519987"/>
                <a:gd name="connsiteY79" fmla="*/ 1038225 h 4429225"/>
                <a:gd name="connsiteX80" fmla="*/ 382927 w 4519987"/>
                <a:gd name="connsiteY80" fmla="*/ 1009650 h 4429225"/>
                <a:gd name="connsiteX81" fmla="*/ 440077 w 4519987"/>
                <a:gd name="connsiteY81" fmla="*/ 904875 h 4429225"/>
                <a:gd name="connsiteX82" fmla="*/ 478177 w 4519987"/>
                <a:gd name="connsiteY82" fmla="*/ 857250 h 4429225"/>
                <a:gd name="connsiteX83" fmla="*/ 497227 w 4519987"/>
                <a:gd name="connsiteY83" fmla="*/ 828675 h 4429225"/>
                <a:gd name="connsiteX84" fmla="*/ 535327 w 4519987"/>
                <a:gd name="connsiteY84" fmla="*/ 800100 h 4429225"/>
                <a:gd name="connsiteX85" fmla="*/ 602002 w 4519987"/>
                <a:gd name="connsiteY85" fmla="*/ 733425 h 4429225"/>
                <a:gd name="connsiteX86" fmla="*/ 668677 w 4519987"/>
                <a:gd name="connsiteY86" fmla="*/ 676275 h 4429225"/>
                <a:gd name="connsiteX87" fmla="*/ 697252 w 4519987"/>
                <a:gd name="connsiteY87" fmla="*/ 657225 h 4429225"/>
                <a:gd name="connsiteX88" fmla="*/ 840127 w 4519987"/>
                <a:gd name="connsiteY88" fmla="*/ 533400 h 4429225"/>
                <a:gd name="connsiteX89" fmla="*/ 887752 w 4519987"/>
                <a:gd name="connsiteY89" fmla="*/ 504825 h 4429225"/>
                <a:gd name="connsiteX90" fmla="*/ 1167152 w 4519987"/>
                <a:gd name="connsiteY90" fmla="*/ 311150 h 4429225"/>
                <a:gd name="connsiteX91" fmla="*/ 1268752 w 4519987"/>
                <a:gd name="connsiteY91" fmla="*/ 285750 h 4429225"/>
                <a:gd name="connsiteX92" fmla="*/ 1411627 w 4519987"/>
                <a:gd name="connsiteY92" fmla="*/ 190500 h 4429225"/>
                <a:gd name="connsiteX93" fmla="*/ 1449727 w 4519987"/>
                <a:gd name="connsiteY93" fmla="*/ 161925 h 4429225"/>
                <a:gd name="connsiteX94" fmla="*/ 1525927 w 4519987"/>
                <a:gd name="connsiteY94" fmla="*/ 152400 h 4429225"/>
                <a:gd name="connsiteX95" fmla="*/ 1583077 w 4519987"/>
                <a:gd name="connsiteY95" fmla="*/ 142875 h 4429225"/>
                <a:gd name="connsiteX96" fmla="*/ 1716427 w 4519987"/>
                <a:gd name="connsiteY96" fmla="*/ 123825 h 4429225"/>
                <a:gd name="connsiteX97" fmla="*/ 1811677 w 4519987"/>
                <a:gd name="connsiteY97" fmla="*/ 114300 h 4429225"/>
                <a:gd name="connsiteX98" fmla="*/ 1859302 w 4519987"/>
                <a:gd name="connsiteY98" fmla="*/ 104775 h 4429225"/>
                <a:gd name="connsiteX99" fmla="*/ 1916452 w 4519987"/>
                <a:gd name="connsiteY99" fmla="*/ 95250 h 4429225"/>
                <a:gd name="connsiteX100" fmla="*/ 2030752 w 4519987"/>
                <a:gd name="connsiteY100" fmla="*/ 66675 h 4429225"/>
                <a:gd name="connsiteX101" fmla="*/ 2097427 w 4519987"/>
                <a:gd name="connsiteY101" fmla="*/ 47625 h 4429225"/>
                <a:gd name="connsiteX102" fmla="*/ 2164102 w 4519987"/>
                <a:gd name="connsiteY102" fmla="*/ 38100 h 4429225"/>
                <a:gd name="connsiteX103" fmla="*/ 2392702 w 4519987"/>
                <a:gd name="connsiteY103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763927 w 4519987"/>
                <a:gd name="connsiteY49" fmla="*/ 3914775 h 4429225"/>
                <a:gd name="connsiteX50" fmla="*/ 697252 w 4519987"/>
                <a:gd name="connsiteY50" fmla="*/ 3838575 h 4429225"/>
                <a:gd name="connsiteX51" fmla="*/ 554377 w 4519987"/>
                <a:gd name="connsiteY51" fmla="*/ 3657600 h 4429225"/>
                <a:gd name="connsiteX52" fmla="*/ 440077 w 4519987"/>
                <a:gd name="connsiteY52" fmla="*/ 3495675 h 4429225"/>
                <a:gd name="connsiteX53" fmla="*/ 278152 w 4519987"/>
                <a:gd name="connsiteY53" fmla="*/ 3257550 h 4429225"/>
                <a:gd name="connsiteX54" fmla="*/ 249577 w 4519987"/>
                <a:gd name="connsiteY54" fmla="*/ 3200400 h 4429225"/>
                <a:gd name="connsiteX55" fmla="*/ 240052 w 4519987"/>
                <a:gd name="connsiteY55" fmla="*/ 3162300 h 4429225"/>
                <a:gd name="connsiteX56" fmla="*/ 221002 w 4519987"/>
                <a:gd name="connsiteY56" fmla="*/ 3105150 h 4429225"/>
                <a:gd name="connsiteX57" fmla="*/ 173377 w 4519987"/>
                <a:gd name="connsiteY57" fmla="*/ 3019425 h 4429225"/>
                <a:gd name="connsiteX58" fmla="*/ 144802 w 4519987"/>
                <a:gd name="connsiteY58" fmla="*/ 2924175 h 4429225"/>
                <a:gd name="connsiteX59" fmla="*/ 68602 w 4519987"/>
                <a:gd name="connsiteY59" fmla="*/ 2724150 h 4429225"/>
                <a:gd name="connsiteX60" fmla="*/ 49552 w 4519987"/>
                <a:gd name="connsiteY60" fmla="*/ 2638425 h 4429225"/>
                <a:gd name="connsiteX61" fmla="*/ 40027 w 4519987"/>
                <a:gd name="connsiteY61" fmla="*/ 2562225 h 4429225"/>
                <a:gd name="connsiteX62" fmla="*/ 30502 w 4519987"/>
                <a:gd name="connsiteY62" fmla="*/ 2514600 h 4429225"/>
                <a:gd name="connsiteX63" fmla="*/ 11452 w 4519987"/>
                <a:gd name="connsiteY63" fmla="*/ 2400300 h 4429225"/>
                <a:gd name="connsiteX64" fmla="*/ 20977 w 4519987"/>
                <a:gd name="connsiteY64" fmla="*/ 1905000 h 4429225"/>
                <a:gd name="connsiteX65" fmla="*/ 30502 w 4519987"/>
                <a:gd name="connsiteY65" fmla="*/ 1838325 h 4429225"/>
                <a:gd name="connsiteX66" fmla="*/ 49552 w 4519987"/>
                <a:gd name="connsiteY66" fmla="*/ 1781175 h 4429225"/>
                <a:gd name="connsiteX67" fmla="*/ 59077 w 4519987"/>
                <a:gd name="connsiteY67" fmla="*/ 1743075 h 4429225"/>
                <a:gd name="connsiteX68" fmla="*/ 78127 w 4519987"/>
                <a:gd name="connsiteY68" fmla="*/ 1685925 h 4429225"/>
                <a:gd name="connsiteX69" fmla="*/ 87652 w 4519987"/>
                <a:gd name="connsiteY69" fmla="*/ 1638300 h 4429225"/>
                <a:gd name="connsiteX70" fmla="*/ 106702 w 4519987"/>
                <a:gd name="connsiteY70" fmla="*/ 1590675 h 4429225"/>
                <a:gd name="connsiteX71" fmla="*/ 135277 w 4519987"/>
                <a:gd name="connsiteY71" fmla="*/ 1504950 h 4429225"/>
                <a:gd name="connsiteX72" fmla="*/ 154327 w 4519987"/>
                <a:gd name="connsiteY72" fmla="*/ 1419225 h 4429225"/>
                <a:gd name="connsiteX73" fmla="*/ 230527 w 4519987"/>
                <a:gd name="connsiteY73" fmla="*/ 1276350 h 4429225"/>
                <a:gd name="connsiteX74" fmla="*/ 240052 w 4519987"/>
                <a:gd name="connsiteY74" fmla="*/ 1247775 h 4429225"/>
                <a:gd name="connsiteX75" fmla="*/ 268627 w 4519987"/>
                <a:gd name="connsiteY75" fmla="*/ 1200150 h 4429225"/>
                <a:gd name="connsiteX76" fmla="*/ 287677 w 4519987"/>
                <a:gd name="connsiteY76" fmla="*/ 1152525 h 4429225"/>
                <a:gd name="connsiteX77" fmla="*/ 316252 w 4519987"/>
                <a:gd name="connsiteY77" fmla="*/ 1114425 h 4429225"/>
                <a:gd name="connsiteX78" fmla="*/ 363877 w 4519987"/>
                <a:gd name="connsiteY78" fmla="*/ 1038225 h 4429225"/>
                <a:gd name="connsiteX79" fmla="*/ 382927 w 4519987"/>
                <a:gd name="connsiteY79" fmla="*/ 1009650 h 4429225"/>
                <a:gd name="connsiteX80" fmla="*/ 440077 w 4519987"/>
                <a:gd name="connsiteY80" fmla="*/ 904875 h 4429225"/>
                <a:gd name="connsiteX81" fmla="*/ 478177 w 4519987"/>
                <a:gd name="connsiteY81" fmla="*/ 857250 h 4429225"/>
                <a:gd name="connsiteX82" fmla="*/ 497227 w 4519987"/>
                <a:gd name="connsiteY82" fmla="*/ 828675 h 4429225"/>
                <a:gd name="connsiteX83" fmla="*/ 535327 w 4519987"/>
                <a:gd name="connsiteY83" fmla="*/ 800100 h 4429225"/>
                <a:gd name="connsiteX84" fmla="*/ 602002 w 4519987"/>
                <a:gd name="connsiteY84" fmla="*/ 733425 h 4429225"/>
                <a:gd name="connsiteX85" fmla="*/ 668677 w 4519987"/>
                <a:gd name="connsiteY85" fmla="*/ 676275 h 4429225"/>
                <a:gd name="connsiteX86" fmla="*/ 697252 w 4519987"/>
                <a:gd name="connsiteY86" fmla="*/ 657225 h 4429225"/>
                <a:gd name="connsiteX87" fmla="*/ 840127 w 4519987"/>
                <a:gd name="connsiteY87" fmla="*/ 533400 h 4429225"/>
                <a:gd name="connsiteX88" fmla="*/ 887752 w 4519987"/>
                <a:gd name="connsiteY88" fmla="*/ 504825 h 4429225"/>
                <a:gd name="connsiteX89" fmla="*/ 1167152 w 4519987"/>
                <a:gd name="connsiteY89" fmla="*/ 311150 h 4429225"/>
                <a:gd name="connsiteX90" fmla="*/ 1268752 w 4519987"/>
                <a:gd name="connsiteY90" fmla="*/ 285750 h 4429225"/>
                <a:gd name="connsiteX91" fmla="*/ 1411627 w 4519987"/>
                <a:gd name="connsiteY91" fmla="*/ 190500 h 4429225"/>
                <a:gd name="connsiteX92" fmla="*/ 1449727 w 4519987"/>
                <a:gd name="connsiteY92" fmla="*/ 161925 h 4429225"/>
                <a:gd name="connsiteX93" fmla="*/ 1525927 w 4519987"/>
                <a:gd name="connsiteY93" fmla="*/ 152400 h 4429225"/>
                <a:gd name="connsiteX94" fmla="*/ 1583077 w 4519987"/>
                <a:gd name="connsiteY94" fmla="*/ 142875 h 4429225"/>
                <a:gd name="connsiteX95" fmla="*/ 1716427 w 4519987"/>
                <a:gd name="connsiteY95" fmla="*/ 123825 h 4429225"/>
                <a:gd name="connsiteX96" fmla="*/ 1811677 w 4519987"/>
                <a:gd name="connsiteY96" fmla="*/ 114300 h 4429225"/>
                <a:gd name="connsiteX97" fmla="*/ 1859302 w 4519987"/>
                <a:gd name="connsiteY97" fmla="*/ 104775 h 4429225"/>
                <a:gd name="connsiteX98" fmla="*/ 1916452 w 4519987"/>
                <a:gd name="connsiteY98" fmla="*/ 95250 h 4429225"/>
                <a:gd name="connsiteX99" fmla="*/ 2030752 w 4519987"/>
                <a:gd name="connsiteY99" fmla="*/ 66675 h 4429225"/>
                <a:gd name="connsiteX100" fmla="*/ 2097427 w 4519987"/>
                <a:gd name="connsiteY100" fmla="*/ 47625 h 4429225"/>
                <a:gd name="connsiteX101" fmla="*/ 2164102 w 4519987"/>
                <a:gd name="connsiteY101" fmla="*/ 38100 h 4429225"/>
                <a:gd name="connsiteX102" fmla="*/ 2392702 w 4519987"/>
                <a:gd name="connsiteY102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40052 w 4519987"/>
                <a:gd name="connsiteY54" fmla="*/ 3162300 h 4429225"/>
                <a:gd name="connsiteX55" fmla="*/ 221002 w 4519987"/>
                <a:gd name="connsiteY55" fmla="*/ 3105150 h 4429225"/>
                <a:gd name="connsiteX56" fmla="*/ 173377 w 4519987"/>
                <a:gd name="connsiteY56" fmla="*/ 3019425 h 4429225"/>
                <a:gd name="connsiteX57" fmla="*/ 144802 w 4519987"/>
                <a:gd name="connsiteY57" fmla="*/ 2924175 h 4429225"/>
                <a:gd name="connsiteX58" fmla="*/ 68602 w 4519987"/>
                <a:gd name="connsiteY58" fmla="*/ 2724150 h 4429225"/>
                <a:gd name="connsiteX59" fmla="*/ 49552 w 4519987"/>
                <a:gd name="connsiteY59" fmla="*/ 2638425 h 4429225"/>
                <a:gd name="connsiteX60" fmla="*/ 40027 w 4519987"/>
                <a:gd name="connsiteY60" fmla="*/ 2562225 h 4429225"/>
                <a:gd name="connsiteX61" fmla="*/ 30502 w 4519987"/>
                <a:gd name="connsiteY61" fmla="*/ 2514600 h 4429225"/>
                <a:gd name="connsiteX62" fmla="*/ 11452 w 4519987"/>
                <a:gd name="connsiteY62" fmla="*/ 2400300 h 4429225"/>
                <a:gd name="connsiteX63" fmla="*/ 20977 w 4519987"/>
                <a:gd name="connsiteY63" fmla="*/ 1905000 h 4429225"/>
                <a:gd name="connsiteX64" fmla="*/ 30502 w 4519987"/>
                <a:gd name="connsiteY64" fmla="*/ 1838325 h 4429225"/>
                <a:gd name="connsiteX65" fmla="*/ 49552 w 4519987"/>
                <a:gd name="connsiteY65" fmla="*/ 1781175 h 4429225"/>
                <a:gd name="connsiteX66" fmla="*/ 59077 w 4519987"/>
                <a:gd name="connsiteY66" fmla="*/ 1743075 h 4429225"/>
                <a:gd name="connsiteX67" fmla="*/ 78127 w 4519987"/>
                <a:gd name="connsiteY67" fmla="*/ 1685925 h 4429225"/>
                <a:gd name="connsiteX68" fmla="*/ 87652 w 4519987"/>
                <a:gd name="connsiteY68" fmla="*/ 1638300 h 4429225"/>
                <a:gd name="connsiteX69" fmla="*/ 106702 w 4519987"/>
                <a:gd name="connsiteY69" fmla="*/ 1590675 h 4429225"/>
                <a:gd name="connsiteX70" fmla="*/ 135277 w 4519987"/>
                <a:gd name="connsiteY70" fmla="*/ 1504950 h 4429225"/>
                <a:gd name="connsiteX71" fmla="*/ 154327 w 4519987"/>
                <a:gd name="connsiteY71" fmla="*/ 1419225 h 4429225"/>
                <a:gd name="connsiteX72" fmla="*/ 230527 w 4519987"/>
                <a:gd name="connsiteY72" fmla="*/ 1276350 h 4429225"/>
                <a:gd name="connsiteX73" fmla="*/ 240052 w 4519987"/>
                <a:gd name="connsiteY73" fmla="*/ 1247775 h 4429225"/>
                <a:gd name="connsiteX74" fmla="*/ 268627 w 4519987"/>
                <a:gd name="connsiteY74" fmla="*/ 1200150 h 4429225"/>
                <a:gd name="connsiteX75" fmla="*/ 287677 w 4519987"/>
                <a:gd name="connsiteY75" fmla="*/ 1152525 h 4429225"/>
                <a:gd name="connsiteX76" fmla="*/ 316252 w 4519987"/>
                <a:gd name="connsiteY76" fmla="*/ 1114425 h 4429225"/>
                <a:gd name="connsiteX77" fmla="*/ 363877 w 4519987"/>
                <a:gd name="connsiteY77" fmla="*/ 1038225 h 4429225"/>
                <a:gd name="connsiteX78" fmla="*/ 382927 w 4519987"/>
                <a:gd name="connsiteY78" fmla="*/ 1009650 h 4429225"/>
                <a:gd name="connsiteX79" fmla="*/ 440077 w 4519987"/>
                <a:gd name="connsiteY79" fmla="*/ 904875 h 4429225"/>
                <a:gd name="connsiteX80" fmla="*/ 478177 w 4519987"/>
                <a:gd name="connsiteY80" fmla="*/ 857250 h 4429225"/>
                <a:gd name="connsiteX81" fmla="*/ 497227 w 4519987"/>
                <a:gd name="connsiteY81" fmla="*/ 828675 h 4429225"/>
                <a:gd name="connsiteX82" fmla="*/ 535327 w 4519987"/>
                <a:gd name="connsiteY82" fmla="*/ 800100 h 4429225"/>
                <a:gd name="connsiteX83" fmla="*/ 602002 w 4519987"/>
                <a:gd name="connsiteY83" fmla="*/ 733425 h 4429225"/>
                <a:gd name="connsiteX84" fmla="*/ 668677 w 4519987"/>
                <a:gd name="connsiteY84" fmla="*/ 676275 h 4429225"/>
                <a:gd name="connsiteX85" fmla="*/ 697252 w 4519987"/>
                <a:gd name="connsiteY85" fmla="*/ 657225 h 4429225"/>
                <a:gd name="connsiteX86" fmla="*/ 840127 w 4519987"/>
                <a:gd name="connsiteY86" fmla="*/ 533400 h 4429225"/>
                <a:gd name="connsiteX87" fmla="*/ 887752 w 4519987"/>
                <a:gd name="connsiteY87" fmla="*/ 504825 h 4429225"/>
                <a:gd name="connsiteX88" fmla="*/ 1167152 w 4519987"/>
                <a:gd name="connsiteY88" fmla="*/ 311150 h 4429225"/>
                <a:gd name="connsiteX89" fmla="*/ 1268752 w 4519987"/>
                <a:gd name="connsiteY89" fmla="*/ 285750 h 4429225"/>
                <a:gd name="connsiteX90" fmla="*/ 1411627 w 4519987"/>
                <a:gd name="connsiteY90" fmla="*/ 190500 h 4429225"/>
                <a:gd name="connsiteX91" fmla="*/ 1449727 w 4519987"/>
                <a:gd name="connsiteY91" fmla="*/ 161925 h 4429225"/>
                <a:gd name="connsiteX92" fmla="*/ 1525927 w 4519987"/>
                <a:gd name="connsiteY92" fmla="*/ 152400 h 4429225"/>
                <a:gd name="connsiteX93" fmla="*/ 1583077 w 4519987"/>
                <a:gd name="connsiteY93" fmla="*/ 142875 h 4429225"/>
                <a:gd name="connsiteX94" fmla="*/ 1716427 w 4519987"/>
                <a:gd name="connsiteY94" fmla="*/ 123825 h 4429225"/>
                <a:gd name="connsiteX95" fmla="*/ 1811677 w 4519987"/>
                <a:gd name="connsiteY95" fmla="*/ 114300 h 4429225"/>
                <a:gd name="connsiteX96" fmla="*/ 1859302 w 4519987"/>
                <a:gd name="connsiteY96" fmla="*/ 104775 h 4429225"/>
                <a:gd name="connsiteX97" fmla="*/ 1916452 w 4519987"/>
                <a:gd name="connsiteY97" fmla="*/ 95250 h 4429225"/>
                <a:gd name="connsiteX98" fmla="*/ 2030752 w 4519987"/>
                <a:gd name="connsiteY98" fmla="*/ 66675 h 4429225"/>
                <a:gd name="connsiteX99" fmla="*/ 2097427 w 4519987"/>
                <a:gd name="connsiteY99" fmla="*/ 47625 h 4429225"/>
                <a:gd name="connsiteX100" fmla="*/ 2164102 w 4519987"/>
                <a:gd name="connsiteY100" fmla="*/ 38100 h 4429225"/>
                <a:gd name="connsiteX101" fmla="*/ 2392702 w 4519987"/>
                <a:gd name="connsiteY101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49577 w 4519987"/>
                <a:gd name="connsiteY53" fmla="*/ 3200400 h 4429225"/>
                <a:gd name="connsiteX54" fmla="*/ 221002 w 4519987"/>
                <a:gd name="connsiteY54" fmla="*/ 3105150 h 4429225"/>
                <a:gd name="connsiteX55" fmla="*/ 173377 w 4519987"/>
                <a:gd name="connsiteY55" fmla="*/ 3019425 h 4429225"/>
                <a:gd name="connsiteX56" fmla="*/ 144802 w 4519987"/>
                <a:gd name="connsiteY56" fmla="*/ 2924175 h 4429225"/>
                <a:gd name="connsiteX57" fmla="*/ 68602 w 4519987"/>
                <a:gd name="connsiteY57" fmla="*/ 2724150 h 4429225"/>
                <a:gd name="connsiteX58" fmla="*/ 49552 w 4519987"/>
                <a:gd name="connsiteY58" fmla="*/ 2638425 h 4429225"/>
                <a:gd name="connsiteX59" fmla="*/ 40027 w 4519987"/>
                <a:gd name="connsiteY59" fmla="*/ 2562225 h 4429225"/>
                <a:gd name="connsiteX60" fmla="*/ 30502 w 4519987"/>
                <a:gd name="connsiteY60" fmla="*/ 2514600 h 4429225"/>
                <a:gd name="connsiteX61" fmla="*/ 11452 w 4519987"/>
                <a:gd name="connsiteY61" fmla="*/ 2400300 h 4429225"/>
                <a:gd name="connsiteX62" fmla="*/ 20977 w 4519987"/>
                <a:gd name="connsiteY62" fmla="*/ 1905000 h 4429225"/>
                <a:gd name="connsiteX63" fmla="*/ 30502 w 4519987"/>
                <a:gd name="connsiteY63" fmla="*/ 1838325 h 4429225"/>
                <a:gd name="connsiteX64" fmla="*/ 49552 w 4519987"/>
                <a:gd name="connsiteY64" fmla="*/ 1781175 h 4429225"/>
                <a:gd name="connsiteX65" fmla="*/ 59077 w 4519987"/>
                <a:gd name="connsiteY65" fmla="*/ 1743075 h 4429225"/>
                <a:gd name="connsiteX66" fmla="*/ 78127 w 4519987"/>
                <a:gd name="connsiteY66" fmla="*/ 1685925 h 4429225"/>
                <a:gd name="connsiteX67" fmla="*/ 87652 w 4519987"/>
                <a:gd name="connsiteY67" fmla="*/ 1638300 h 4429225"/>
                <a:gd name="connsiteX68" fmla="*/ 106702 w 4519987"/>
                <a:gd name="connsiteY68" fmla="*/ 1590675 h 4429225"/>
                <a:gd name="connsiteX69" fmla="*/ 135277 w 4519987"/>
                <a:gd name="connsiteY69" fmla="*/ 1504950 h 4429225"/>
                <a:gd name="connsiteX70" fmla="*/ 154327 w 4519987"/>
                <a:gd name="connsiteY70" fmla="*/ 1419225 h 4429225"/>
                <a:gd name="connsiteX71" fmla="*/ 230527 w 4519987"/>
                <a:gd name="connsiteY71" fmla="*/ 1276350 h 4429225"/>
                <a:gd name="connsiteX72" fmla="*/ 240052 w 4519987"/>
                <a:gd name="connsiteY72" fmla="*/ 1247775 h 4429225"/>
                <a:gd name="connsiteX73" fmla="*/ 268627 w 4519987"/>
                <a:gd name="connsiteY73" fmla="*/ 1200150 h 4429225"/>
                <a:gd name="connsiteX74" fmla="*/ 287677 w 4519987"/>
                <a:gd name="connsiteY74" fmla="*/ 1152525 h 4429225"/>
                <a:gd name="connsiteX75" fmla="*/ 316252 w 4519987"/>
                <a:gd name="connsiteY75" fmla="*/ 1114425 h 4429225"/>
                <a:gd name="connsiteX76" fmla="*/ 363877 w 4519987"/>
                <a:gd name="connsiteY76" fmla="*/ 1038225 h 4429225"/>
                <a:gd name="connsiteX77" fmla="*/ 382927 w 4519987"/>
                <a:gd name="connsiteY77" fmla="*/ 1009650 h 4429225"/>
                <a:gd name="connsiteX78" fmla="*/ 440077 w 4519987"/>
                <a:gd name="connsiteY78" fmla="*/ 904875 h 4429225"/>
                <a:gd name="connsiteX79" fmla="*/ 478177 w 4519987"/>
                <a:gd name="connsiteY79" fmla="*/ 857250 h 4429225"/>
                <a:gd name="connsiteX80" fmla="*/ 497227 w 4519987"/>
                <a:gd name="connsiteY80" fmla="*/ 828675 h 4429225"/>
                <a:gd name="connsiteX81" fmla="*/ 535327 w 4519987"/>
                <a:gd name="connsiteY81" fmla="*/ 800100 h 4429225"/>
                <a:gd name="connsiteX82" fmla="*/ 602002 w 4519987"/>
                <a:gd name="connsiteY82" fmla="*/ 733425 h 4429225"/>
                <a:gd name="connsiteX83" fmla="*/ 668677 w 4519987"/>
                <a:gd name="connsiteY83" fmla="*/ 676275 h 4429225"/>
                <a:gd name="connsiteX84" fmla="*/ 697252 w 4519987"/>
                <a:gd name="connsiteY84" fmla="*/ 657225 h 4429225"/>
                <a:gd name="connsiteX85" fmla="*/ 840127 w 4519987"/>
                <a:gd name="connsiteY85" fmla="*/ 533400 h 4429225"/>
                <a:gd name="connsiteX86" fmla="*/ 887752 w 4519987"/>
                <a:gd name="connsiteY86" fmla="*/ 504825 h 4429225"/>
                <a:gd name="connsiteX87" fmla="*/ 1167152 w 4519987"/>
                <a:gd name="connsiteY87" fmla="*/ 311150 h 4429225"/>
                <a:gd name="connsiteX88" fmla="*/ 1268752 w 4519987"/>
                <a:gd name="connsiteY88" fmla="*/ 285750 h 4429225"/>
                <a:gd name="connsiteX89" fmla="*/ 1411627 w 4519987"/>
                <a:gd name="connsiteY89" fmla="*/ 190500 h 4429225"/>
                <a:gd name="connsiteX90" fmla="*/ 1449727 w 4519987"/>
                <a:gd name="connsiteY90" fmla="*/ 161925 h 4429225"/>
                <a:gd name="connsiteX91" fmla="*/ 1525927 w 4519987"/>
                <a:gd name="connsiteY91" fmla="*/ 152400 h 4429225"/>
                <a:gd name="connsiteX92" fmla="*/ 1583077 w 4519987"/>
                <a:gd name="connsiteY92" fmla="*/ 142875 h 4429225"/>
                <a:gd name="connsiteX93" fmla="*/ 1716427 w 4519987"/>
                <a:gd name="connsiteY93" fmla="*/ 123825 h 4429225"/>
                <a:gd name="connsiteX94" fmla="*/ 1811677 w 4519987"/>
                <a:gd name="connsiteY94" fmla="*/ 114300 h 4429225"/>
                <a:gd name="connsiteX95" fmla="*/ 1859302 w 4519987"/>
                <a:gd name="connsiteY95" fmla="*/ 104775 h 4429225"/>
                <a:gd name="connsiteX96" fmla="*/ 1916452 w 4519987"/>
                <a:gd name="connsiteY96" fmla="*/ 95250 h 4429225"/>
                <a:gd name="connsiteX97" fmla="*/ 2030752 w 4519987"/>
                <a:gd name="connsiteY97" fmla="*/ 66675 h 4429225"/>
                <a:gd name="connsiteX98" fmla="*/ 2097427 w 4519987"/>
                <a:gd name="connsiteY98" fmla="*/ 47625 h 4429225"/>
                <a:gd name="connsiteX99" fmla="*/ 2164102 w 4519987"/>
                <a:gd name="connsiteY99" fmla="*/ 38100 h 4429225"/>
                <a:gd name="connsiteX100" fmla="*/ 2392702 w 4519987"/>
                <a:gd name="connsiteY100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73377 w 4519987"/>
                <a:gd name="connsiteY54" fmla="*/ 3019425 h 4429225"/>
                <a:gd name="connsiteX55" fmla="*/ 144802 w 4519987"/>
                <a:gd name="connsiteY55" fmla="*/ 2924175 h 4429225"/>
                <a:gd name="connsiteX56" fmla="*/ 68602 w 4519987"/>
                <a:gd name="connsiteY56" fmla="*/ 2724150 h 4429225"/>
                <a:gd name="connsiteX57" fmla="*/ 49552 w 4519987"/>
                <a:gd name="connsiteY57" fmla="*/ 2638425 h 4429225"/>
                <a:gd name="connsiteX58" fmla="*/ 40027 w 4519987"/>
                <a:gd name="connsiteY58" fmla="*/ 2562225 h 4429225"/>
                <a:gd name="connsiteX59" fmla="*/ 30502 w 4519987"/>
                <a:gd name="connsiteY59" fmla="*/ 2514600 h 4429225"/>
                <a:gd name="connsiteX60" fmla="*/ 11452 w 4519987"/>
                <a:gd name="connsiteY60" fmla="*/ 2400300 h 4429225"/>
                <a:gd name="connsiteX61" fmla="*/ 20977 w 4519987"/>
                <a:gd name="connsiteY61" fmla="*/ 1905000 h 4429225"/>
                <a:gd name="connsiteX62" fmla="*/ 30502 w 4519987"/>
                <a:gd name="connsiteY62" fmla="*/ 1838325 h 4429225"/>
                <a:gd name="connsiteX63" fmla="*/ 49552 w 4519987"/>
                <a:gd name="connsiteY63" fmla="*/ 1781175 h 4429225"/>
                <a:gd name="connsiteX64" fmla="*/ 59077 w 4519987"/>
                <a:gd name="connsiteY64" fmla="*/ 1743075 h 4429225"/>
                <a:gd name="connsiteX65" fmla="*/ 78127 w 4519987"/>
                <a:gd name="connsiteY65" fmla="*/ 1685925 h 4429225"/>
                <a:gd name="connsiteX66" fmla="*/ 87652 w 4519987"/>
                <a:gd name="connsiteY66" fmla="*/ 1638300 h 4429225"/>
                <a:gd name="connsiteX67" fmla="*/ 106702 w 4519987"/>
                <a:gd name="connsiteY67" fmla="*/ 1590675 h 4429225"/>
                <a:gd name="connsiteX68" fmla="*/ 135277 w 4519987"/>
                <a:gd name="connsiteY68" fmla="*/ 1504950 h 4429225"/>
                <a:gd name="connsiteX69" fmla="*/ 154327 w 4519987"/>
                <a:gd name="connsiteY69" fmla="*/ 1419225 h 4429225"/>
                <a:gd name="connsiteX70" fmla="*/ 230527 w 4519987"/>
                <a:gd name="connsiteY70" fmla="*/ 1276350 h 4429225"/>
                <a:gd name="connsiteX71" fmla="*/ 240052 w 4519987"/>
                <a:gd name="connsiteY71" fmla="*/ 1247775 h 4429225"/>
                <a:gd name="connsiteX72" fmla="*/ 268627 w 4519987"/>
                <a:gd name="connsiteY72" fmla="*/ 1200150 h 4429225"/>
                <a:gd name="connsiteX73" fmla="*/ 287677 w 4519987"/>
                <a:gd name="connsiteY73" fmla="*/ 1152525 h 4429225"/>
                <a:gd name="connsiteX74" fmla="*/ 316252 w 4519987"/>
                <a:gd name="connsiteY74" fmla="*/ 1114425 h 4429225"/>
                <a:gd name="connsiteX75" fmla="*/ 363877 w 4519987"/>
                <a:gd name="connsiteY75" fmla="*/ 1038225 h 4429225"/>
                <a:gd name="connsiteX76" fmla="*/ 382927 w 4519987"/>
                <a:gd name="connsiteY76" fmla="*/ 1009650 h 4429225"/>
                <a:gd name="connsiteX77" fmla="*/ 440077 w 4519987"/>
                <a:gd name="connsiteY77" fmla="*/ 904875 h 4429225"/>
                <a:gd name="connsiteX78" fmla="*/ 478177 w 4519987"/>
                <a:gd name="connsiteY78" fmla="*/ 857250 h 4429225"/>
                <a:gd name="connsiteX79" fmla="*/ 497227 w 4519987"/>
                <a:gd name="connsiteY79" fmla="*/ 828675 h 4429225"/>
                <a:gd name="connsiteX80" fmla="*/ 535327 w 4519987"/>
                <a:gd name="connsiteY80" fmla="*/ 800100 h 4429225"/>
                <a:gd name="connsiteX81" fmla="*/ 602002 w 4519987"/>
                <a:gd name="connsiteY81" fmla="*/ 733425 h 4429225"/>
                <a:gd name="connsiteX82" fmla="*/ 668677 w 4519987"/>
                <a:gd name="connsiteY82" fmla="*/ 676275 h 4429225"/>
                <a:gd name="connsiteX83" fmla="*/ 697252 w 4519987"/>
                <a:gd name="connsiteY83" fmla="*/ 657225 h 4429225"/>
                <a:gd name="connsiteX84" fmla="*/ 840127 w 4519987"/>
                <a:gd name="connsiteY84" fmla="*/ 533400 h 4429225"/>
                <a:gd name="connsiteX85" fmla="*/ 887752 w 4519987"/>
                <a:gd name="connsiteY85" fmla="*/ 504825 h 4429225"/>
                <a:gd name="connsiteX86" fmla="*/ 1167152 w 4519987"/>
                <a:gd name="connsiteY86" fmla="*/ 311150 h 4429225"/>
                <a:gd name="connsiteX87" fmla="*/ 1268752 w 4519987"/>
                <a:gd name="connsiteY87" fmla="*/ 285750 h 4429225"/>
                <a:gd name="connsiteX88" fmla="*/ 1411627 w 4519987"/>
                <a:gd name="connsiteY88" fmla="*/ 190500 h 4429225"/>
                <a:gd name="connsiteX89" fmla="*/ 1449727 w 4519987"/>
                <a:gd name="connsiteY89" fmla="*/ 161925 h 4429225"/>
                <a:gd name="connsiteX90" fmla="*/ 1525927 w 4519987"/>
                <a:gd name="connsiteY90" fmla="*/ 152400 h 4429225"/>
                <a:gd name="connsiteX91" fmla="*/ 1583077 w 4519987"/>
                <a:gd name="connsiteY91" fmla="*/ 142875 h 4429225"/>
                <a:gd name="connsiteX92" fmla="*/ 1716427 w 4519987"/>
                <a:gd name="connsiteY92" fmla="*/ 123825 h 4429225"/>
                <a:gd name="connsiteX93" fmla="*/ 1811677 w 4519987"/>
                <a:gd name="connsiteY93" fmla="*/ 114300 h 4429225"/>
                <a:gd name="connsiteX94" fmla="*/ 1859302 w 4519987"/>
                <a:gd name="connsiteY94" fmla="*/ 104775 h 4429225"/>
                <a:gd name="connsiteX95" fmla="*/ 1916452 w 4519987"/>
                <a:gd name="connsiteY95" fmla="*/ 95250 h 4429225"/>
                <a:gd name="connsiteX96" fmla="*/ 2030752 w 4519987"/>
                <a:gd name="connsiteY96" fmla="*/ 66675 h 4429225"/>
                <a:gd name="connsiteX97" fmla="*/ 2097427 w 4519987"/>
                <a:gd name="connsiteY97" fmla="*/ 47625 h 4429225"/>
                <a:gd name="connsiteX98" fmla="*/ 2164102 w 4519987"/>
                <a:gd name="connsiteY98" fmla="*/ 38100 h 4429225"/>
                <a:gd name="connsiteX99" fmla="*/ 2392702 w 4519987"/>
                <a:gd name="connsiteY99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9552 w 4519987"/>
                <a:gd name="connsiteY56" fmla="*/ 2638425 h 4429225"/>
                <a:gd name="connsiteX57" fmla="*/ 40027 w 4519987"/>
                <a:gd name="connsiteY57" fmla="*/ 2562225 h 4429225"/>
                <a:gd name="connsiteX58" fmla="*/ 30502 w 4519987"/>
                <a:gd name="connsiteY58" fmla="*/ 2514600 h 4429225"/>
                <a:gd name="connsiteX59" fmla="*/ 11452 w 4519987"/>
                <a:gd name="connsiteY59" fmla="*/ 2400300 h 4429225"/>
                <a:gd name="connsiteX60" fmla="*/ 20977 w 4519987"/>
                <a:gd name="connsiteY60" fmla="*/ 1905000 h 4429225"/>
                <a:gd name="connsiteX61" fmla="*/ 30502 w 4519987"/>
                <a:gd name="connsiteY61" fmla="*/ 1838325 h 4429225"/>
                <a:gd name="connsiteX62" fmla="*/ 49552 w 4519987"/>
                <a:gd name="connsiteY62" fmla="*/ 1781175 h 4429225"/>
                <a:gd name="connsiteX63" fmla="*/ 59077 w 4519987"/>
                <a:gd name="connsiteY63" fmla="*/ 1743075 h 4429225"/>
                <a:gd name="connsiteX64" fmla="*/ 78127 w 4519987"/>
                <a:gd name="connsiteY64" fmla="*/ 1685925 h 4429225"/>
                <a:gd name="connsiteX65" fmla="*/ 87652 w 4519987"/>
                <a:gd name="connsiteY65" fmla="*/ 1638300 h 4429225"/>
                <a:gd name="connsiteX66" fmla="*/ 106702 w 4519987"/>
                <a:gd name="connsiteY66" fmla="*/ 1590675 h 4429225"/>
                <a:gd name="connsiteX67" fmla="*/ 135277 w 4519987"/>
                <a:gd name="connsiteY67" fmla="*/ 1504950 h 4429225"/>
                <a:gd name="connsiteX68" fmla="*/ 154327 w 4519987"/>
                <a:gd name="connsiteY68" fmla="*/ 1419225 h 4429225"/>
                <a:gd name="connsiteX69" fmla="*/ 230527 w 4519987"/>
                <a:gd name="connsiteY69" fmla="*/ 1276350 h 4429225"/>
                <a:gd name="connsiteX70" fmla="*/ 240052 w 4519987"/>
                <a:gd name="connsiteY70" fmla="*/ 1247775 h 4429225"/>
                <a:gd name="connsiteX71" fmla="*/ 268627 w 4519987"/>
                <a:gd name="connsiteY71" fmla="*/ 1200150 h 4429225"/>
                <a:gd name="connsiteX72" fmla="*/ 287677 w 4519987"/>
                <a:gd name="connsiteY72" fmla="*/ 1152525 h 4429225"/>
                <a:gd name="connsiteX73" fmla="*/ 316252 w 4519987"/>
                <a:gd name="connsiteY73" fmla="*/ 1114425 h 4429225"/>
                <a:gd name="connsiteX74" fmla="*/ 363877 w 4519987"/>
                <a:gd name="connsiteY74" fmla="*/ 1038225 h 4429225"/>
                <a:gd name="connsiteX75" fmla="*/ 382927 w 4519987"/>
                <a:gd name="connsiteY75" fmla="*/ 1009650 h 4429225"/>
                <a:gd name="connsiteX76" fmla="*/ 440077 w 4519987"/>
                <a:gd name="connsiteY76" fmla="*/ 904875 h 4429225"/>
                <a:gd name="connsiteX77" fmla="*/ 478177 w 4519987"/>
                <a:gd name="connsiteY77" fmla="*/ 857250 h 4429225"/>
                <a:gd name="connsiteX78" fmla="*/ 497227 w 4519987"/>
                <a:gd name="connsiteY78" fmla="*/ 828675 h 4429225"/>
                <a:gd name="connsiteX79" fmla="*/ 535327 w 4519987"/>
                <a:gd name="connsiteY79" fmla="*/ 800100 h 4429225"/>
                <a:gd name="connsiteX80" fmla="*/ 602002 w 4519987"/>
                <a:gd name="connsiteY80" fmla="*/ 733425 h 4429225"/>
                <a:gd name="connsiteX81" fmla="*/ 668677 w 4519987"/>
                <a:gd name="connsiteY81" fmla="*/ 676275 h 4429225"/>
                <a:gd name="connsiteX82" fmla="*/ 697252 w 4519987"/>
                <a:gd name="connsiteY82" fmla="*/ 657225 h 4429225"/>
                <a:gd name="connsiteX83" fmla="*/ 840127 w 4519987"/>
                <a:gd name="connsiteY83" fmla="*/ 533400 h 4429225"/>
                <a:gd name="connsiteX84" fmla="*/ 887752 w 4519987"/>
                <a:gd name="connsiteY84" fmla="*/ 504825 h 4429225"/>
                <a:gd name="connsiteX85" fmla="*/ 1167152 w 4519987"/>
                <a:gd name="connsiteY85" fmla="*/ 311150 h 4429225"/>
                <a:gd name="connsiteX86" fmla="*/ 1268752 w 4519987"/>
                <a:gd name="connsiteY86" fmla="*/ 285750 h 4429225"/>
                <a:gd name="connsiteX87" fmla="*/ 1411627 w 4519987"/>
                <a:gd name="connsiteY87" fmla="*/ 190500 h 4429225"/>
                <a:gd name="connsiteX88" fmla="*/ 1449727 w 4519987"/>
                <a:gd name="connsiteY88" fmla="*/ 161925 h 4429225"/>
                <a:gd name="connsiteX89" fmla="*/ 1525927 w 4519987"/>
                <a:gd name="connsiteY89" fmla="*/ 152400 h 4429225"/>
                <a:gd name="connsiteX90" fmla="*/ 1583077 w 4519987"/>
                <a:gd name="connsiteY90" fmla="*/ 142875 h 4429225"/>
                <a:gd name="connsiteX91" fmla="*/ 1716427 w 4519987"/>
                <a:gd name="connsiteY91" fmla="*/ 123825 h 4429225"/>
                <a:gd name="connsiteX92" fmla="*/ 1811677 w 4519987"/>
                <a:gd name="connsiteY92" fmla="*/ 114300 h 4429225"/>
                <a:gd name="connsiteX93" fmla="*/ 1859302 w 4519987"/>
                <a:gd name="connsiteY93" fmla="*/ 104775 h 4429225"/>
                <a:gd name="connsiteX94" fmla="*/ 1916452 w 4519987"/>
                <a:gd name="connsiteY94" fmla="*/ 95250 h 4429225"/>
                <a:gd name="connsiteX95" fmla="*/ 2030752 w 4519987"/>
                <a:gd name="connsiteY95" fmla="*/ 66675 h 4429225"/>
                <a:gd name="connsiteX96" fmla="*/ 2097427 w 4519987"/>
                <a:gd name="connsiteY96" fmla="*/ 47625 h 4429225"/>
                <a:gd name="connsiteX97" fmla="*/ 2164102 w 4519987"/>
                <a:gd name="connsiteY97" fmla="*/ 38100 h 4429225"/>
                <a:gd name="connsiteX98" fmla="*/ 2392702 w 4519987"/>
                <a:gd name="connsiteY98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30502 w 4519987"/>
                <a:gd name="connsiteY57" fmla="*/ 2514600 h 4429225"/>
                <a:gd name="connsiteX58" fmla="*/ 11452 w 4519987"/>
                <a:gd name="connsiteY58" fmla="*/ 2400300 h 4429225"/>
                <a:gd name="connsiteX59" fmla="*/ 20977 w 4519987"/>
                <a:gd name="connsiteY59" fmla="*/ 1905000 h 4429225"/>
                <a:gd name="connsiteX60" fmla="*/ 30502 w 4519987"/>
                <a:gd name="connsiteY60" fmla="*/ 1838325 h 4429225"/>
                <a:gd name="connsiteX61" fmla="*/ 49552 w 4519987"/>
                <a:gd name="connsiteY61" fmla="*/ 1781175 h 4429225"/>
                <a:gd name="connsiteX62" fmla="*/ 59077 w 4519987"/>
                <a:gd name="connsiteY62" fmla="*/ 1743075 h 4429225"/>
                <a:gd name="connsiteX63" fmla="*/ 78127 w 4519987"/>
                <a:gd name="connsiteY63" fmla="*/ 1685925 h 4429225"/>
                <a:gd name="connsiteX64" fmla="*/ 87652 w 4519987"/>
                <a:gd name="connsiteY64" fmla="*/ 1638300 h 4429225"/>
                <a:gd name="connsiteX65" fmla="*/ 106702 w 4519987"/>
                <a:gd name="connsiteY65" fmla="*/ 1590675 h 4429225"/>
                <a:gd name="connsiteX66" fmla="*/ 135277 w 4519987"/>
                <a:gd name="connsiteY66" fmla="*/ 1504950 h 4429225"/>
                <a:gd name="connsiteX67" fmla="*/ 154327 w 4519987"/>
                <a:gd name="connsiteY67" fmla="*/ 1419225 h 4429225"/>
                <a:gd name="connsiteX68" fmla="*/ 230527 w 4519987"/>
                <a:gd name="connsiteY68" fmla="*/ 1276350 h 4429225"/>
                <a:gd name="connsiteX69" fmla="*/ 240052 w 4519987"/>
                <a:gd name="connsiteY69" fmla="*/ 1247775 h 4429225"/>
                <a:gd name="connsiteX70" fmla="*/ 268627 w 4519987"/>
                <a:gd name="connsiteY70" fmla="*/ 1200150 h 4429225"/>
                <a:gd name="connsiteX71" fmla="*/ 287677 w 4519987"/>
                <a:gd name="connsiteY71" fmla="*/ 1152525 h 4429225"/>
                <a:gd name="connsiteX72" fmla="*/ 316252 w 4519987"/>
                <a:gd name="connsiteY72" fmla="*/ 1114425 h 4429225"/>
                <a:gd name="connsiteX73" fmla="*/ 363877 w 4519987"/>
                <a:gd name="connsiteY73" fmla="*/ 1038225 h 4429225"/>
                <a:gd name="connsiteX74" fmla="*/ 382927 w 4519987"/>
                <a:gd name="connsiteY74" fmla="*/ 1009650 h 4429225"/>
                <a:gd name="connsiteX75" fmla="*/ 440077 w 4519987"/>
                <a:gd name="connsiteY75" fmla="*/ 904875 h 4429225"/>
                <a:gd name="connsiteX76" fmla="*/ 478177 w 4519987"/>
                <a:gd name="connsiteY76" fmla="*/ 857250 h 4429225"/>
                <a:gd name="connsiteX77" fmla="*/ 497227 w 4519987"/>
                <a:gd name="connsiteY77" fmla="*/ 828675 h 4429225"/>
                <a:gd name="connsiteX78" fmla="*/ 535327 w 4519987"/>
                <a:gd name="connsiteY78" fmla="*/ 800100 h 4429225"/>
                <a:gd name="connsiteX79" fmla="*/ 602002 w 4519987"/>
                <a:gd name="connsiteY79" fmla="*/ 733425 h 4429225"/>
                <a:gd name="connsiteX80" fmla="*/ 668677 w 4519987"/>
                <a:gd name="connsiteY80" fmla="*/ 676275 h 4429225"/>
                <a:gd name="connsiteX81" fmla="*/ 697252 w 4519987"/>
                <a:gd name="connsiteY81" fmla="*/ 657225 h 4429225"/>
                <a:gd name="connsiteX82" fmla="*/ 840127 w 4519987"/>
                <a:gd name="connsiteY82" fmla="*/ 533400 h 4429225"/>
                <a:gd name="connsiteX83" fmla="*/ 887752 w 4519987"/>
                <a:gd name="connsiteY83" fmla="*/ 504825 h 4429225"/>
                <a:gd name="connsiteX84" fmla="*/ 1167152 w 4519987"/>
                <a:gd name="connsiteY84" fmla="*/ 311150 h 4429225"/>
                <a:gd name="connsiteX85" fmla="*/ 1268752 w 4519987"/>
                <a:gd name="connsiteY85" fmla="*/ 285750 h 4429225"/>
                <a:gd name="connsiteX86" fmla="*/ 1411627 w 4519987"/>
                <a:gd name="connsiteY86" fmla="*/ 190500 h 4429225"/>
                <a:gd name="connsiteX87" fmla="*/ 1449727 w 4519987"/>
                <a:gd name="connsiteY87" fmla="*/ 161925 h 4429225"/>
                <a:gd name="connsiteX88" fmla="*/ 1525927 w 4519987"/>
                <a:gd name="connsiteY88" fmla="*/ 152400 h 4429225"/>
                <a:gd name="connsiteX89" fmla="*/ 1583077 w 4519987"/>
                <a:gd name="connsiteY89" fmla="*/ 142875 h 4429225"/>
                <a:gd name="connsiteX90" fmla="*/ 1716427 w 4519987"/>
                <a:gd name="connsiteY90" fmla="*/ 123825 h 4429225"/>
                <a:gd name="connsiteX91" fmla="*/ 1811677 w 4519987"/>
                <a:gd name="connsiteY91" fmla="*/ 114300 h 4429225"/>
                <a:gd name="connsiteX92" fmla="*/ 1859302 w 4519987"/>
                <a:gd name="connsiteY92" fmla="*/ 104775 h 4429225"/>
                <a:gd name="connsiteX93" fmla="*/ 1916452 w 4519987"/>
                <a:gd name="connsiteY93" fmla="*/ 95250 h 4429225"/>
                <a:gd name="connsiteX94" fmla="*/ 2030752 w 4519987"/>
                <a:gd name="connsiteY94" fmla="*/ 66675 h 4429225"/>
                <a:gd name="connsiteX95" fmla="*/ 2097427 w 4519987"/>
                <a:gd name="connsiteY95" fmla="*/ 47625 h 4429225"/>
                <a:gd name="connsiteX96" fmla="*/ 2164102 w 4519987"/>
                <a:gd name="connsiteY96" fmla="*/ 38100 h 4429225"/>
                <a:gd name="connsiteX97" fmla="*/ 2392702 w 4519987"/>
                <a:gd name="connsiteY97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40027 w 4519987"/>
                <a:gd name="connsiteY56" fmla="*/ 2562225 h 4429225"/>
                <a:gd name="connsiteX57" fmla="*/ 11452 w 4519987"/>
                <a:gd name="connsiteY57" fmla="*/ 2400300 h 4429225"/>
                <a:gd name="connsiteX58" fmla="*/ 20977 w 4519987"/>
                <a:gd name="connsiteY58" fmla="*/ 1905000 h 4429225"/>
                <a:gd name="connsiteX59" fmla="*/ 30502 w 4519987"/>
                <a:gd name="connsiteY59" fmla="*/ 1838325 h 4429225"/>
                <a:gd name="connsiteX60" fmla="*/ 49552 w 4519987"/>
                <a:gd name="connsiteY60" fmla="*/ 1781175 h 4429225"/>
                <a:gd name="connsiteX61" fmla="*/ 59077 w 4519987"/>
                <a:gd name="connsiteY61" fmla="*/ 1743075 h 4429225"/>
                <a:gd name="connsiteX62" fmla="*/ 78127 w 4519987"/>
                <a:gd name="connsiteY62" fmla="*/ 1685925 h 4429225"/>
                <a:gd name="connsiteX63" fmla="*/ 87652 w 4519987"/>
                <a:gd name="connsiteY63" fmla="*/ 1638300 h 4429225"/>
                <a:gd name="connsiteX64" fmla="*/ 106702 w 4519987"/>
                <a:gd name="connsiteY64" fmla="*/ 1590675 h 4429225"/>
                <a:gd name="connsiteX65" fmla="*/ 135277 w 4519987"/>
                <a:gd name="connsiteY65" fmla="*/ 1504950 h 4429225"/>
                <a:gd name="connsiteX66" fmla="*/ 154327 w 4519987"/>
                <a:gd name="connsiteY66" fmla="*/ 1419225 h 4429225"/>
                <a:gd name="connsiteX67" fmla="*/ 230527 w 4519987"/>
                <a:gd name="connsiteY67" fmla="*/ 1276350 h 4429225"/>
                <a:gd name="connsiteX68" fmla="*/ 240052 w 4519987"/>
                <a:gd name="connsiteY68" fmla="*/ 1247775 h 4429225"/>
                <a:gd name="connsiteX69" fmla="*/ 268627 w 4519987"/>
                <a:gd name="connsiteY69" fmla="*/ 1200150 h 4429225"/>
                <a:gd name="connsiteX70" fmla="*/ 287677 w 4519987"/>
                <a:gd name="connsiteY70" fmla="*/ 1152525 h 4429225"/>
                <a:gd name="connsiteX71" fmla="*/ 316252 w 4519987"/>
                <a:gd name="connsiteY71" fmla="*/ 1114425 h 4429225"/>
                <a:gd name="connsiteX72" fmla="*/ 363877 w 4519987"/>
                <a:gd name="connsiteY72" fmla="*/ 1038225 h 4429225"/>
                <a:gd name="connsiteX73" fmla="*/ 382927 w 4519987"/>
                <a:gd name="connsiteY73" fmla="*/ 1009650 h 4429225"/>
                <a:gd name="connsiteX74" fmla="*/ 440077 w 4519987"/>
                <a:gd name="connsiteY74" fmla="*/ 904875 h 4429225"/>
                <a:gd name="connsiteX75" fmla="*/ 478177 w 4519987"/>
                <a:gd name="connsiteY75" fmla="*/ 857250 h 4429225"/>
                <a:gd name="connsiteX76" fmla="*/ 497227 w 4519987"/>
                <a:gd name="connsiteY76" fmla="*/ 828675 h 4429225"/>
                <a:gd name="connsiteX77" fmla="*/ 535327 w 4519987"/>
                <a:gd name="connsiteY77" fmla="*/ 800100 h 4429225"/>
                <a:gd name="connsiteX78" fmla="*/ 602002 w 4519987"/>
                <a:gd name="connsiteY78" fmla="*/ 733425 h 4429225"/>
                <a:gd name="connsiteX79" fmla="*/ 668677 w 4519987"/>
                <a:gd name="connsiteY79" fmla="*/ 676275 h 4429225"/>
                <a:gd name="connsiteX80" fmla="*/ 697252 w 4519987"/>
                <a:gd name="connsiteY80" fmla="*/ 657225 h 4429225"/>
                <a:gd name="connsiteX81" fmla="*/ 840127 w 4519987"/>
                <a:gd name="connsiteY81" fmla="*/ 533400 h 4429225"/>
                <a:gd name="connsiteX82" fmla="*/ 887752 w 4519987"/>
                <a:gd name="connsiteY82" fmla="*/ 504825 h 4429225"/>
                <a:gd name="connsiteX83" fmla="*/ 1167152 w 4519987"/>
                <a:gd name="connsiteY83" fmla="*/ 311150 h 4429225"/>
                <a:gd name="connsiteX84" fmla="*/ 1268752 w 4519987"/>
                <a:gd name="connsiteY84" fmla="*/ 285750 h 4429225"/>
                <a:gd name="connsiteX85" fmla="*/ 1411627 w 4519987"/>
                <a:gd name="connsiteY85" fmla="*/ 190500 h 4429225"/>
                <a:gd name="connsiteX86" fmla="*/ 1449727 w 4519987"/>
                <a:gd name="connsiteY86" fmla="*/ 161925 h 4429225"/>
                <a:gd name="connsiteX87" fmla="*/ 1525927 w 4519987"/>
                <a:gd name="connsiteY87" fmla="*/ 152400 h 4429225"/>
                <a:gd name="connsiteX88" fmla="*/ 1583077 w 4519987"/>
                <a:gd name="connsiteY88" fmla="*/ 142875 h 4429225"/>
                <a:gd name="connsiteX89" fmla="*/ 1716427 w 4519987"/>
                <a:gd name="connsiteY89" fmla="*/ 123825 h 4429225"/>
                <a:gd name="connsiteX90" fmla="*/ 1811677 w 4519987"/>
                <a:gd name="connsiteY90" fmla="*/ 114300 h 4429225"/>
                <a:gd name="connsiteX91" fmla="*/ 1859302 w 4519987"/>
                <a:gd name="connsiteY91" fmla="*/ 104775 h 4429225"/>
                <a:gd name="connsiteX92" fmla="*/ 1916452 w 4519987"/>
                <a:gd name="connsiteY92" fmla="*/ 95250 h 4429225"/>
                <a:gd name="connsiteX93" fmla="*/ 2030752 w 4519987"/>
                <a:gd name="connsiteY93" fmla="*/ 66675 h 4429225"/>
                <a:gd name="connsiteX94" fmla="*/ 2097427 w 4519987"/>
                <a:gd name="connsiteY94" fmla="*/ 47625 h 4429225"/>
                <a:gd name="connsiteX95" fmla="*/ 2164102 w 4519987"/>
                <a:gd name="connsiteY95" fmla="*/ 38100 h 4429225"/>
                <a:gd name="connsiteX96" fmla="*/ 2392702 w 4519987"/>
                <a:gd name="connsiteY96" fmla="*/ 28575 h 4429225"/>
                <a:gd name="connsiteX0" fmla="*/ 2297452 w 4519987"/>
                <a:gd name="connsiteY0" fmla="*/ 0 h 4429225"/>
                <a:gd name="connsiteX1" fmla="*/ 2421277 w 4519987"/>
                <a:gd name="connsiteY1" fmla="*/ 28575 h 4429225"/>
                <a:gd name="connsiteX2" fmla="*/ 2497477 w 4519987"/>
                <a:gd name="connsiteY2" fmla="*/ 47625 h 4429225"/>
                <a:gd name="connsiteX3" fmla="*/ 2754652 w 4519987"/>
                <a:gd name="connsiteY3" fmla="*/ 66675 h 4429225"/>
                <a:gd name="connsiteX4" fmla="*/ 2830852 w 4519987"/>
                <a:gd name="connsiteY4" fmla="*/ 76200 h 4429225"/>
                <a:gd name="connsiteX5" fmla="*/ 2916577 w 4519987"/>
                <a:gd name="connsiteY5" fmla="*/ 85725 h 4429225"/>
                <a:gd name="connsiteX6" fmla="*/ 2973727 w 4519987"/>
                <a:gd name="connsiteY6" fmla="*/ 114300 h 4429225"/>
                <a:gd name="connsiteX7" fmla="*/ 3011827 w 4519987"/>
                <a:gd name="connsiteY7" fmla="*/ 123825 h 4429225"/>
                <a:gd name="connsiteX8" fmla="*/ 3135652 w 4519987"/>
                <a:gd name="connsiteY8" fmla="*/ 171450 h 4429225"/>
                <a:gd name="connsiteX9" fmla="*/ 3173752 w 4519987"/>
                <a:gd name="connsiteY9" fmla="*/ 190500 h 4429225"/>
                <a:gd name="connsiteX10" fmla="*/ 3240427 w 4519987"/>
                <a:gd name="connsiteY10" fmla="*/ 228600 h 4429225"/>
                <a:gd name="connsiteX11" fmla="*/ 3269002 w 4519987"/>
                <a:gd name="connsiteY11" fmla="*/ 238125 h 4429225"/>
                <a:gd name="connsiteX12" fmla="*/ 3297577 w 4519987"/>
                <a:gd name="connsiteY12" fmla="*/ 257175 h 4429225"/>
                <a:gd name="connsiteX13" fmla="*/ 3326152 w 4519987"/>
                <a:gd name="connsiteY13" fmla="*/ 266700 h 4429225"/>
                <a:gd name="connsiteX14" fmla="*/ 3354727 w 4519987"/>
                <a:gd name="connsiteY14" fmla="*/ 285750 h 4429225"/>
                <a:gd name="connsiteX15" fmla="*/ 3421402 w 4519987"/>
                <a:gd name="connsiteY15" fmla="*/ 323850 h 4429225"/>
                <a:gd name="connsiteX16" fmla="*/ 3469027 w 4519987"/>
                <a:gd name="connsiteY16" fmla="*/ 361950 h 4429225"/>
                <a:gd name="connsiteX17" fmla="*/ 3516652 w 4519987"/>
                <a:gd name="connsiteY17" fmla="*/ 390525 h 4429225"/>
                <a:gd name="connsiteX18" fmla="*/ 3630952 w 4519987"/>
                <a:gd name="connsiteY18" fmla="*/ 485775 h 4429225"/>
                <a:gd name="connsiteX19" fmla="*/ 3745252 w 4519987"/>
                <a:gd name="connsiteY19" fmla="*/ 542925 h 4429225"/>
                <a:gd name="connsiteX20" fmla="*/ 3811927 w 4519987"/>
                <a:gd name="connsiteY20" fmla="*/ 581025 h 4429225"/>
                <a:gd name="connsiteX21" fmla="*/ 4027827 w 4519987"/>
                <a:gd name="connsiteY21" fmla="*/ 819150 h 4429225"/>
                <a:gd name="connsiteX22" fmla="*/ 4164352 w 4519987"/>
                <a:gd name="connsiteY22" fmla="*/ 990600 h 4429225"/>
                <a:gd name="connsiteX23" fmla="*/ 4250077 w 4519987"/>
                <a:gd name="connsiteY23" fmla="*/ 1143000 h 4429225"/>
                <a:gd name="connsiteX24" fmla="*/ 4307227 w 4519987"/>
                <a:gd name="connsiteY24" fmla="*/ 1266825 h 4429225"/>
                <a:gd name="connsiteX25" fmla="*/ 4345327 w 4519987"/>
                <a:gd name="connsiteY25" fmla="*/ 1362075 h 4429225"/>
                <a:gd name="connsiteX26" fmla="*/ 4392952 w 4519987"/>
                <a:gd name="connsiteY26" fmla="*/ 1552575 h 4429225"/>
                <a:gd name="connsiteX27" fmla="*/ 4431052 w 4519987"/>
                <a:gd name="connsiteY27" fmla="*/ 1685925 h 4429225"/>
                <a:gd name="connsiteX28" fmla="*/ 4519952 w 4519987"/>
                <a:gd name="connsiteY28" fmla="*/ 2181225 h 4429225"/>
                <a:gd name="connsiteX29" fmla="*/ 4446927 w 4519987"/>
                <a:gd name="connsiteY29" fmla="*/ 2768600 h 4429225"/>
                <a:gd name="connsiteX30" fmla="*/ 4383427 w 4519987"/>
                <a:gd name="connsiteY30" fmla="*/ 2990850 h 4429225"/>
                <a:gd name="connsiteX31" fmla="*/ 4278652 w 4519987"/>
                <a:gd name="connsiteY31" fmla="*/ 3248025 h 4429225"/>
                <a:gd name="connsiteX32" fmla="*/ 4183402 w 4519987"/>
                <a:gd name="connsiteY32" fmla="*/ 3400425 h 4429225"/>
                <a:gd name="connsiteX33" fmla="*/ 4059577 w 4519987"/>
                <a:gd name="connsiteY33" fmla="*/ 3533775 h 4429225"/>
                <a:gd name="connsiteX34" fmla="*/ 3954802 w 4519987"/>
                <a:gd name="connsiteY34" fmla="*/ 3648075 h 4429225"/>
                <a:gd name="connsiteX35" fmla="*/ 3659527 w 4519987"/>
                <a:gd name="connsiteY35" fmla="*/ 3971925 h 4429225"/>
                <a:gd name="connsiteX36" fmla="*/ 3516652 w 4519987"/>
                <a:gd name="connsiteY36" fmla="*/ 4083050 h 4429225"/>
                <a:gd name="connsiteX37" fmla="*/ 3221377 w 4519987"/>
                <a:gd name="connsiteY37" fmla="*/ 4222750 h 4429225"/>
                <a:gd name="connsiteX38" fmla="*/ 3068977 w 4519987"/>
                <a:gd name="connsiteY38" fmla="*/ 4286250 h 4429225"/>
                <a:gd name="connsiteX39" fmla="*/ 2935627 w 4519987"/>
                <a:gd name="connsiteY39" fmla="*/ 4333875 h 4429225"/>
                <a:gd name="connsiteX40" fmla="*/ 2811802 w 4519987"/>
                <a:gd name="connsiteY40" fmla="*/ 4371975 h 4429225"/>
                <a:gd name="connsiteX41" fmla="*/ 2580027 w 4519987"/>
                <a:gd name="connsiteY41" fmla="*/ 4391025 h 4429225"/>
                <a:gd name="connsiteX42" fmla="*/ 2126002 w 4519987"/>
                <a:gd name="connsiteY42" fmla="*/ 4429125 h 4429225"/>
                <a:gd name="connsiteX43" fmla="*/ 1935502 w 4519987"/>
                <a:gd name="connsiteY43" fmla="*/ 4400550 h 4429225"/>
                <a:gd name="connsiteX44" fmla="*/ 1754527 w 4519987"/>
                <a:gd name="connsiteY44" fmla="*/ 4352925 h 4429225"/>
                <a:gd name="connsiteX45" fmla="*/ 1573552 w 4519987"/>
                <a:gd name="connsiteY45" fmla="*/ 4305300 h 4429225"/>
                <a:gd name="connsiteX46" fmla="*/ 1287802 w 4519987"/>
                <a:gd name="connsiteY46" fmla="*/ 4229100 h 4429225"/>
                <a:gd name="connsiteX47" fmla="*/ 1087777 w 4519987"/>
                <a:gd name="connsiteY47" fmla="*/ 4143375 h 4429225"/>
                <a:gd name="connsiteX48" fmla="*/ 830602 w 4519987"/>
                <a:gd name="connsiteY48" fmla="*/ 3981450 h 4429225"/>
                <a:gd name="connsiteX49" fmla="*/ 697252 w 4519987"/>
                <a:gd name="connsiteY49" fmla="*/ 3838575 h 4429225"/>
                <a:gd name="connsiteX50" fmla="*/ 554377 w 4519987"/>
                <a:gd name="connsiteY50" fmla="*/ 3657600 h 4429225"/>
                <a:gd name="connsiteX51" fmla="*/ 440077 w 4519987"/>
                <a:gd name="connsiteY51" fmla="*/ 3495675 h 4429225"/>
                <a:gd name="connsiteX52" fmla="*/ 278152 w 4519987"/>
                <a:gd name="connsiteY52" fmla="*/ 3257550 h 4429225"/>
                <a:gd name="connsiteX53" fmla="*/ 221002 w 4519987"/>
                <a:gd name="connsiteY53" fmla="*/ 3105150 h 4429225"/>
                <a:gd name="connsiteX54" fmla="*/ 144802 w 4519987"/>
                <a:gd name="connsiteY54" fmla="*/ 2924175 h 4429225"/>
                <a:gd name="connsiteX55" fmla="*/ 68602 w 4519987"/>
                <a:gd name="connsiteY55" fmla="*/ 2724150 h 4429225"/>
                <a:gd name="connsiteX56" fmla="*/ 11452 w 4519987"/>
                <a:gd name="connsiteY56" fmla="*/ 2400300 h 4429225"/>
                <a:gd name="connsiteX57" fmla="*/ 20977 w 4519987"/>
                <a:gd name="connsiteY57" fmla="*/ 1905000 h 4429225"/>
                <a:gd name="connsiteX58" fmla="*/ 30502 w 4519987"/>
                <a:gd name="connsiteY58" fmla="*/ 1838325 h 4429225"/>
                <a:gd name="connsiteX59" fmla="*/ 49552 w 4519987"/>
                <a:gd name="connsiteY59" fmla="*/ 1781175 h 4429225"/>
                <a:gd name="connsiteX60" fmla="*/ 59077 w 4519987"/>
                <a:gd name="connsiteY60" fmla="*/ 1743075 h 4429225"/>
                <a:gd name="connsiteX61" fmla="*/ 78127 w 4519987"/>
                <a:gd name="connsiteY61" fmla="*/ 1685925 h 4429225"/>
                <a:gd name="connsiteX62" fmla="*/ 87652 w 4519987"/>
                <a:gd name="connsiteY62" fmla="*/ 1638300 h 4429225"/>
                <a:gd name="connsiteX63" fmla="*/ 106702 w 4519987"/>
                <a:gd name="connsiteY63" fmla="*/ 1590675 h 4429225"/>
                <a:gd name="connsiteX64" fmla="*/ 135277 w 4519987"/>
                <a:gd name="connsiteY64" fmla="*/ 1504950 h 4429225"/>
                <a:gd name="connsiteX65" fmla="*/ 154327 w 4519987"/>
                <a:gd name="connsiteY65" fmla="*/ 1419225 h 4429225"/>
                <a:gd name="connsiteX66" fmla="*/ 230527 w 4519987"/>
                <a:gd name="connsiteY66" fmla="*/ 1276350 h 4429225"/>
                <a:gd name="connsiteX67" fmla="*/ 240052 w 4519987"/>
                <a:gd name="connsiteY67" fmla="*/ 1247775 h 4429225"/>
                <a:gd name="connsiteX68" fmla="*/ 268627 w 4519987"/>
                <a:gd name="connsiteY68" fmla="*/ 1200150 h 4429225"/>
                <a:gd name="connsiteX69" fmla="*/ 287677 w 4519987"/>
                <a:gd name="connsiteY69" fmla="*/ 1152525 h 4429225"/>
                <a:gd name="connsiteX70" fmla="*/ 316252 w 4519987"/>
                <a:gd name="connsiteY70" fmla="*/ 1114425 h 4429225"/>
                <a:gd name="connsiteX71" fmla="*/ 363877 w 4519987"/>
                <a:gd name="connsiteY71" fmla="*/ 1038225 h 4429225"/>
                <a:gd name="connsiteX72" fmla="*/ 382927 w 4519987"/>
                <a:gd name="connsiteY72" fmla="*/ 1009650 h 4429225"/>
                <a:gd name="connsiteX73" fmla="*/ 440077 w 4519987"/>
                <a:gd name="connsiteY73" fmla="*/ 904875 h 4429225"/>
                <a:gd name="connsiteX74" fmla="*/ 478177 w 4519987"/>
                <a:gd name="connsiteY74" fmla="*/ 857250 h 4429225"/>
                <a:gd name="connsiteX75" fmla="*/ 497227 w 4519987"/>
                <a:gd name="connsiteY75" fmla="*/ 828675 h 4429225"/>
                <a:gd name="connsiteX76" fmla="*/ 535327 w 4519987"/>
                <a:gd name="connsiteY76" fmla="*/ 800100 h 4429225"/>
                <a:gd name="connsiteX77" fmla="*/ 602002 w 4519987"/>
                <a:gd name="connsiteY77" fmla="*/ 733425 h 4429225"/>
                <a:gd name="connsiteX78" fmla="*/ 668677 w 4519987"/>
                <a:gd name="connsiteY78" fmla="*/ 676275 h 4429225"/>
                <a:gd name="connsiteX79" fmla="*/ 697252 w 4519987"/>
                <a:gd name="connsiteY79" fmla="*/ 657225 h 4429225"/>
                <a:gd name="connsiteX80" fmla="*/ 840127 w 4519987"/>
                <a:gd name="connsiteY80" fmla="*/ 533400 h 4429225"/>
                <a:gd name="connsiteX81" fmla="*/ 887752 w 4519987"/>
                <a:gd name="connsiteY81" fmla="*/ 504825 h 4429225"/>
                <a:gd name="connsiteX82" fmla="*/ 1167152 w 4519987"/>
                <a:gd name="connsiteY82" fmla="*/ 311150 h 4429225"/>
                <a:gd name="connsiteX83" fmla="*/ 1268752 w 4519987"/>
                <a:gd name="connsiteY83" fmla="*/ 285750 h 4429225"/>
                <a:gd name="connsiteX84" fmla="*/ 1411627 w 4519987"/>
                <a:gd name="connsiteY84" fmla="*/ 190500 h 4429225"/>
                <a:gd name="connsiteX85" fmla="*/ 1449727 w 4519987"/>
                <a:gd name="connsiteY85" fmla="*/ 161925 h 4429225"/>
                <a:gd name="connsiteX86" fmla="*/ 1525927 w 4519987"/>
                <a:gd name="connsiteY86" fmla="*/ 152400 h 4429225"/>
                <a:gd name="connsiteX87" fmla="*/ 1583077 w 4519987"/>
                <a:gd name="connsiteY87" fmla="*/ 142875 h 4429225"/>
                <a:gd name="connsiteX88" fmla="*/ 1716427 w 4519987"/>
                <a:gd name="connsiteY88" fmla="*/ 123825 h 4429225"/>
                <a:gd name="connsiteX89" fmla="*/ 1811677 w 4519987"/>
                <a:gd name="connsiteY89" fmla="*/ 114300 h 4429225"/>
                <a:gd name="connsiteX90" fmla="*/ 1859302 w 4519987"/>
                <a:gd name="connsiteY90" fmla="*/ 104775 h 4429225"/>
                <a:gd name="connsiteX91" fmla="*/ 1916452 w 4519987"/>
                <a:gd name="connsiteY91" fmla="*/ 95250 h 4429225"/>
                <a:gd name="connsiteX92" fmla="*/ 2030752 w 4519987"/>
                <a:gd name="connsiteY92" fmla="*/ 66675 h 4429225"/>
                <a:gd name="connsiteX93" fmla="*/ 2097427 w 4519987"/>
                <a:gd name="connsiteY93" fmla="*/ 47625 h 4429225"/>
                <a:gd name="connsiteX94" fmla="*/ 2164102 w 4519987"/>
                <a:gd name="connsiteY94" fmla="*/ 38100 h 4429225"/>
                <a:gd name="connsiteX95" fmla="*/ 2392702 w 4519987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49994 w 4501379"/>
                <a:gd name="connsiteY55" fmla="*/ 2724150 h 4429225"/>
                <a:gd name="connsiteX56" fmla="*/ 56344 w 4501379"/>
                <a:gd name="connsiteY56" fmla="*/ 2368550 h 4429225"/>
                <a:gd name="connsiteX57" fmla="*/ 2369 w 4501379"/>
                <a:gd name="connsiteY57" fmla="*/ 1905000 h 4429225"/>
                <a:gd name="connsiteX58" fmla="*/ 11894 w 4501379"/>
                <a:gd name="connsiteY58" fmla="*/ 1838325 h 4429225"/>
                <a:gd name="connsiteX59" fmla="*/ 30944 w 4501379"/>
                <a:gd name="connsiteY59" fmla="*/ 1781175 h 4429225"/>
                <a:gd name="connsiteX60" fmla="*/ 40469 w 4501379"/>
                <a:gd name="connsiteY60" fmla="*/ 1743075 h 4429225"/>
                <a:gd name="connsiteX61" fmla="*/ 59519 w 4501379"/>
                <a:gd name="connsiteY61" fmla="*/ 1685925 h 4429225"/>
                <a:gd name="connsiteX62" fmla="*/ 69044 w 4501379"/>
                <a:gd name="connsiteY62" fmla="*/ 1638300 h 4429225"/>
                <a:gd name="connsiteX63" fmla="*/ 88094 w 4501379"/>
                <a:gd name="connsiteY63" fmla="*/ 1590675 h 4429225"/>
                <a:gd name="connsiteX64" fmla="*/ 116669 w 4501379"/>
                <a:gd name="connsiteY64" fmla="*/ 1504950 h 4429225"/>
                <a:gd name="connsiteX65" fmla="*/ 135719 w 4501379"/>
                <a:gd name="connsiteY65" fmla="*/ 1419225 h 4429225"/>
                <a:gd name="connsiteX66" fmla="*/ 211919 w 4501379"/>
                <a:gd name="connsiteY66" fmla="*/ 1276350 h 4429225"/>
                <a:gd name="connsiteX67" fmla="*/ 221444 w 4501379"/>
                <a:gd name="connsiteY67" fmla="*/ 1247775 h 4429225"/>
                <a:gd name="connsiteX68" fmla="*/ 250019 w 4501379"/>
                <a:gd name="connsiteY68" fmla="*/ 1200150 h 4429225"/>
                <a:gd name="connsiteX69" fmla="*/ 269069 w 4501379"/>
                <a:gd name="connsiteY69" fmla="*/ 1152525 h 4429225"/>
                <a:gd name="connsiteX70" fmla="*/ 297644 w 4501379"/>
                <a:gd name="connsiteY70" fmla="*/ 1114425 h 4429225"/>
                <a:gd name="connsiteX71" fmla="*/ 345269 w 4501379"/>
                <a:gd name="connsiteY71" fmla="*/ 1038225 h 4429225"/>
                <a:gd name="connsiteX72" fmla="*/ 364319 w 4501379"/>
                <a:gd name="connsiteY72" fmla="*/ 1009650 h 4429225"/>
                <a:gd name="connsiteX73" fmla="*/ 421469 w 4501379"/>
                <a:gd name="connsiteY73" fmla="*/ 904875 h 4429225"/>
                <a:gd name="connsiteX74" fmla="*/ 459569 w 4501379"/>
                <a:gd name="connsiteY74" fmla="*/ 857250 h 4429225"/>
                <a:gd name="connsiteX75" fmla="*/ 478619 w 4501379"/>
                <a:gd name="connsiteY75" fmla="*/ 828675 h 4429225"/>
                <a:gd name="connsiteX76" fmla="*/ 516719 w 4501379"/>
                <a:gd name="connsiteY76" fmla="*/ 800100 h 4429225"/>
                <a:gd name="connsiteX77" fmla="*/ 583394 w 4501379"/>
                <a:gd name="connsiteY77" fmla="*/ 733425 h 4429225"/>
                <a:gd name="connsiteX78" fmla="*/ 650069 w 4501379"/>
                <a:gd name="connsiteY78" fmla="*/ 676275 h 4429225"/>
                <a:gd name="connsiteX79" fmla="*/ 678644 w 4501379"/>
                <a:gd name="connsiteY79" fmla="*/ 657225 h 4429225"/>
                <a:gd name="connsiteX80" fmla="*/ 821519 w 4501379"/>
                <a:gd name="connsiteY80" fmla="*/ 533400 h 4429225"/>
                <a:gd name="connsiteX81" fmla="*/ 869144 w 4501379"/>
                <a:gd name="connsiteY81" fmla="*/ 504825 h 4429225"/>
                <a:gd name="connsiteX82" fmla="*/ 1148544 w 4501379"/>
                <a:gd name="connsiteY82" fmla="*/ 311150 h 4429225"/>
                <a:gd name="connsiteX83" fmla="*/ 1250144 w 4501379"/>
                <a:gd name="connsiteY83" fmla="*/ 285750 h 4429225"/>
                <a:gd name="connsiteX84" fmla="*/ 1393019 w 4501379"/>
                <a:gd name="connsiteY84" fmla="*/ 190500 h 4429225"/>
                <a:gd name="connsiteX85" fmla="*/ 1431119 w 4501379"/>
                <a:gd name="connsiteY85" fmla="*/ 161925 h 4429225"/>
                <a:gd name="connsiteX86" fmla="*/ 1507319 w 4501379"/>
                <a:gd name="connsiteY86" fmla="*/ 152400 h 4429225"/>
                <a:gd name="connsiteX87" fmla="*/ 1564469 w 4501379"/>
                <a:gd name="connsiteY87" fmla="*/ 142875 h 4429225"/>
                <a:gd name="connsiteX88" fmla="*/ 1697819 w 4501379"/>
                <a:gd name="connsiteY88" fmla="*/ 123825 h 4429225"/>
                <a:gd name="connsiteX89" fmla="*/ 1793069 w 4501379"/>
                <a:gd name="connsiteY89" fmla="*/ 114300 h 4429225"/>
                <a:gd name="connsiteX90" fmla="*/ 1840694 w 4501379"/>
                <a:gd name="connsiteY90" fmla="*/ 104775 h 4429225"/>
                <a:gd name="connsiteX91" fmla="*/ 1897844 w 4501379"/>
                <a:gd name="connsiteY91" fmla="*/ 95250 h 4429225"/>
                <a:gd name="connsiteX92" fmla="*/ 2012144 w 4501379"/>
                <a:gd name="connsiteY92" fmla="*/ 66675 h 4429225"/>
                <a:gd name="connsiteX93" fmla="*/ 2078819 w 4501379"/>
                <a:gd name="connsiteY93" fmla="*/ 47625 h 4429225"/>
                <a:gd name="connsiteX94" fmla="*/ 2145494 w 4501379"/>
                <a:gd name="connsiteY94" fmla="*/ 38100 h 4429225"/>
                <a:gd name="connsiteX95" fmla="*/ 2374094 w 4501379"/>
                <a:gd name="connsiteY95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202394 w 4501379"/>
                <a:gd name="connsiteY53" fmla="*/ 3105150 h 4429225"/>
                <a:gd name="connsiteX54" fmla="*/ 126194 w 4501379"/>
                <a:gd name="connsiteY54" fmla="*/ 2924175 h 4429225"/>
                <a:gd name="connsiteX55" fmla="*/ 56344 w 4501379"/>
                <a:gd name="connsiteY55" fmla="*/ 2368550 h 4429225"/>
                <a:gd name="connsiteX56" fmla="*/ 2369 w 4501379"/>
                <a:gd name="connsiteY56" fmla="*/ 1905000 h 4429225"/>
                <a:gd name="connsiteX57" fmla="*/ 11894 w 4501379"/>
                <a:gd name="connsiteY57" fmla="*/ 1838325 h 4429225"/>
                <a:gd name="connsiteX58" fmla="*/ 30944 w 4501379"/>
                <a:gd name="connsiteY58" fmla="*/ 1781175 h 4429225"/>
                <a:gd name="connsiteX59" fmla="*/ 40469 w 4501379"/>
                <a:gd name="connsiteY59" fmla="*/ 1743075 h 4429225"/>
                <a:gd name="connsiteX60" fmla="*/ 59519 w 4501379"/>
                <a:gd name="connsiteY60" fmla="*/ 1685925 h 4429225"/>
                <a:gd name="connsiteX61" fmla="*/ 69044 w 4501379"/>
                <a:gd name="connsiteY61" fmla="*/ 1638300 h 4429225"/>
                <a:gd name="connsiteX62" fmla="*/ 88094 w 4501379"/>
                <a:gd name="connsiteY62" fmla="*/ 1590675 h 4429225"/>
                <a:gd name="connsiteX63" fmla="*/ 116669 w 4501379"/>
                <a:gd name="connsiteY63" fmla="*/ 1504950 h 4429225"/>
                <a:gd name="connsiteX64" fmla="*/ 135719 w 4501379"/>
                <a:gd name="connsiteY64" fmla="*/ 1419225 h 4429225"/>
                <a:gd name="connsiteX65" fmla="*/ 211919 w 4501379"/>
                <a:gd name="connsiteY65" fmla="*/ 1276350 h 4429225"/>
                <a:gd name="connsiteX66" fmla="*/ 221444 w 4501379"/>
                <a:gd name="connsiteY66" fmla="*/ 1247775 h 4429225"/>
                <a:gd name="connsiteX67" fmla="*/ 250019 w 4501379"/>
                <a:gd name="connsiteY67" fmla="*/ 1200150 h 4429225"/>
                <a:gd name="connsiteX68" fmla="*/ 269069 w 4501379"/>
                <a:gd name="connsiteY68" fmla="*/ 1152525 h 4429225"/>
                <a:gd name="connsiteX69" fmla="*/ 297644 w 4501379"/>
                <a:gd name="connsiteY69" fmla="*/ 1114425 h 4429225"/>
                <a:gd name="connsiteX70" fmla="*/ 345269 w 4501379"/>
                <a:gd name="connsiteY70" fmla="*/ 1038225 h 4429225"/>
                <a:gd name="connsiteX71" fmla="*/ 364319 w 4501379"/>
                <a:gd name="connsiteY71" fmla="*/ 1009650 h 4429225"/>
                <a:gd name="connsiteX72" fmla="*/ 421469 w 4501379"/>
                <a:gd name="connsiteY72" fmla="*/ 904875 h 4429225"/>
                <a:gd name="connsiteX73" fmla="*/ 459569 w 4501379"/>
                <a:gd name="connsiteY73" fmla="*/ 857250 h 4429225"/>
                <a:gd name="connsiteX74" fmla="*/ 478619 w 4501379"/>
                <a:gd name="connsiteY74" fmla="*/ 828675 h 4429225"/>
                <a:gd name="connsiteX75" fmla="*/ 516719 w 4501379"/>
                <a:gd name="connsiteY75" fmla="*/ 800100 h 4429225"/>
                <a:gd name="connsiteX76" fmla="*/ 583394 w 4501379"/>
                <a:gd name="connsiteY76" fmla="*/ 733425 h 4429225"/>
                <a:gd name="connsiteX77" fmla="*/ 650069 w 4501379"/>
                <a:gd name="connsiteY77" fmla="*/ 676275 h 4429225"/>
                <a:gd name="connsiteX78" fmla="*/ 678644 w 4501379"/>
                <a:gd name="connsiteY78" fmla="*/ 657225 h 4429225"/>
                <a:gd name="connsiteX79" fmla="*/ 821519 w 4501379"/>
                <a:gd name="connsiteY79" fmla="*/ 533400 h 4429225"/>
                <a:gd name="connsiteX80" fmla="*/ 869144 w 4501379"/>
                <a:gd name="connsiteY80" fmla="*/ 504825 h 4429225"/>
                <a:gd name="connsiteX81" fmla="*/ 1148544 w 4501379"/>
                <a:gd name="connsiteY81" fmla="*/ 311150 h 4429225"/>
                <a:gd name="connsiteX82" fmla="*/ 1250144 w 4501379"/>
                <a:gd name="connsiteY82" fmla="*/ 285750 h 4429225"/>
                <a:gd name="connsiteX83" fmla="*/ 1393019 w 4501379"/>
                <a:gd name="connsiteY83" fmla="*/ 190500 h 4429225"/>
                <a:gd name="connsiteX84" fmla="*/ 1431119 w 4501379"/>
                <a:gd name="connsiteY84" fmla="*/ 161925 h 4429225"/>
                <a:gd name="connsiteX85" fmla="*/ 1507319 w 4501379"/>
                <a:gd name="connsiteY85" fmla="*/ 152400 h 4429225"/>
                <a:gd name="connsiteX86" fmla="*/ 1564469 w 4501379"/>
                <a:gd name="connsiteY86" fmla="*/ 142875 h 4429225"/>
                <a:gd name="connsiteX87" fmla="*/ 1697819 w 4501379"/>
                <a:gd name="connsiteY87" fmla="*/ 123825 h 4429225"/>
                <a:gd name="connsiteX88" fmla="*/ 1793069 w 4501379"/>
                <a:gd name="connsiteY88" fmla="*/ 114300 h 4429225"/>
                <a:gd name="connsiteX89" fmla="*/ 1840694 w 4501379"/>
                <a:gd name="connsiteY89" fmla="*/ 104775 h 4429225"/>
                <a:gd name="connsiteX90" fmla="*/ 1897844 w 4501379"/>
                <a:gd name="connsiteY90" fmla="*/ 95250 h 4429225"/>
                <a:gd name="connsiteX91" fmla="*/ 2012144 w 4501379"/>
                <a:gd name="connsiteY91" fmla="*/ 66675 h 4429225"/>
                <a:gd name="connsiteX92" fmla="*/ 2078819 w 4501379"/>
                <a:gd name="connsiteY92" fmla="*/ 47625 h 4429225"/>
                <a:gd name="connsiteX93" fmla="*/ 2145494 w 4501379"/>
                <a:gd name="connsiteY93" fmla="*/ 38100 h 4429225"/>
                <a:gd name="connsiteX94" fmla="*/ 2374094 w 4501379"/>
                <a:gd name="connsiteY94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26194 w 4501379"/>
                <a:gd name="connsiteY53" fmla="*/ 292417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259544 w 4501379"/>
                <a:gd name="connsiteY52" fmla="*/ 32575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2146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3576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0519 w 4501379"/>
                <a:gd name="connsiteY51" fmla="*/ 34956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678644 w 4501379"/>
                <a:gd name="connsiteY49" fmla="*/ 3838575 h 4429225"/>
                <a:gd name="connsiteX50" fmla="*/ 592919 w 4501379"/>
                <a:gd name="connsiteY50" fmla="*/ 3657600 h 4429225"/>
                <a:gd name="connsiteX51" fmla="*/ 446869 w 4501379"/>
                <a:gd name="connsiteY51" fmla="*/ 3470275 h 4429225"/>
                <a:gd name="connsiteX52" fmla="*/ 316694 w 4501379"/>
                <a:gd name="connsiteY52" fmla="*/ 3244850 h 4429225"/>
                <a:gd name="connsiteX53" fmla="*/ 164294 w 4501379"/>
                <a:gd name="connsiteY53" fmla="*/ 2892425 h 4429225"/>
                <a:gd name="connsiteX54" fmla="*/ 56344 w 4501379"/>
                <a:gd name="connsiteY54" fmla="*/ 2368550 h 4429225"/>
                <a:gd name="connsiteX55" fmla="*/ 2369 w 4501379"/>
                <a:gd name="connsiteY55" fmla="*/ 1905000 h 4429225"/>
                <a:gd name="connsiteX56" fmla="*/ 11894 w 4501379"/>
                <a:gd name="connsiteY56" fmla="*/ 1838325 h 4429225"/>
                <a:gd name="connsiteX57" fmla="*/ 30944 w 4501379"/>
                <a:gd name="connsiteY57" fmla="*/ 1781175 h 4429225"/>
                <a:gd name="connsiteX58" fmla="*/ 40469 w 4501379"/>
                <a:gd name="connsiteY58" fmla="*/ 1743075 h 4429225"/>
                <a:gd name="connsiteX59" fmla="*/ 59519 w 4501379"/>
                <a:gd name="connsiteY59" fmla="*/ 1685925 h 4429225"/>
                <a:gd name="connsiteX60" fmla="*/ 69044 w 4501379"/>
                <a:gd name="connsiteY60" fmla="*/ 1638300 h 4429225"/>
                <a:gd name="connsiteX61" fmla="*/ 88094 w 4501379"/>
                <a:gd name="connsiteY61" fmla="*/ 1590675 h 4429225"/>
                <a:gd name="connsiteX62" fmla="*/ 116669 w 4501379"/>
                <a:gd name="connsiteY62" fmla="*/ 1504950 h 4429225"/>
                <a:gd name="connsiteX63" fmla="*/ 135719 w 4501379"/>
                <a:gd name="connsiteY63" fmla="*/ 1419225 h 4429225"/>
                <a:gd name="connsiteX64" fmla="*/ 211919 w 4501379"/>
                <a:gd name="connsiteY64" fmla="*/ 1276350 h 4429225"/>
                <a:gd name="connsiteX65" fmla="*/ 221444 w 4501379"/>
                <a:gd name="connsiteY65" fmla="*/ 1247775 h 4429225"/>
                <a:gd name="connsiteX66" fmla="*/ 250019 w 4501379"/>
                <a:gd name="connsiteY66" fmla="*/ 1200150 h 4429225"/>
                <a:gd name="connsiteX67" fmla="*/ 269069 w 4501379"/>
                <a:gd name="connsiteY67" fmla="*/ 1152525 h 4429225"/>
                <a:gd name="connsiteX68" fmla="*/ 297644 w 4501379"/>
                <a:gd name="connsiteY68" fmla="*/ 1114425 h 4429225"/>
                <a:gd name="connsiteX69" fmla="*/ 345269 w 4501379"/>
                <a:gd name="connsiteY69" fmla="*/ 1038225 h 4429225"/>
                <a:gd name="connsiteX70" fmla="*/ 364319 w 4501379"/>
                <a:gd name="connsiteY70" fmla="*/ 1009650 h 4429225"/>
                <a:gd name="connsiteX71" fmla="*/ 421469 w 4501379"/>
                <a:gd name="connsiteY71" fmla="*/ 904875 h 4429225"/>
                <a:gd name="connsiteX72" fmla="*/ 459569 w 4501379"/>
                <a:gd name="connsiteY72" fmla="*/ 857250 h 4429225"/>
                <a:gd name="connsiteX73" fmla="*/ 478619 w 4501379"/>
                <a:gd name="connsiteY73" fmla="*/ 828675 h 4429225"/>
                <a:gd name="connsiteX74" fmla="*/ 516719 w 4501379"/>
                <a:gd name="connsiteY74" fmla="*/ 800100 h 4429225"/>
                <a:gd name="connsiteX75" fmla="*/ 583394 w 4501379"/>
                <a:gd name="connsiteY75" fmla="*/ 733425 h 4429225"/>
                <a:gd name="connsiteX76" fmla="*/ 650069 w 4501379"/>
                <a:gd name="connsiteY76" fmla="*/ 676275 h 4429225"/>
                <a:gd name="connsiteX77" fmla="*/ 678644 w 4501379"/>
                <a:gd name="connsiteY77" fmla="*/ 657225 h 4429225"/>
                <a:gd name="connsiteX78" fmla="*/ 821519 w 4501379"/>
                <a:gd name="connsiteY78" fmla="*/ 533400 h 4429225"/>
                <a:gd name="connsiteX79" fmla="*/ 869144 w 4501379"/>
                <a:gd name="connsiteY79" fmla="*/ 504825 h 4429225"/>
                <a:gd name="connsiteX80" fmla="*/ 1148544 w 4501379"/>
                <a:gd name="connsiteY80" fmla="*/ 311150 h 4429225"/>
                <a:gd name="connsiteX81" fmla="*/ 1250144 w 4501379"/>
                <a:gd name="connsiteY81" fmla="*/ 285750 h 4429225"/>
                <a:gd name="connsiteX82" fmla="*/ 1393019 w 4501379"/>
                <a:gd name="connsiteY82" fmla="*/ 190500 h 4429225"/>
                <a:gd name="connsiteX83" fmla="*/ 1431119 w 4501379"/>
                <a:gd name="connsiteY83" fmla="*/ 161925 h 4429225"/>
                <a:gd name="connsiteX84" fmla="*/ 1507319 w 4501379"/>
                <a:gd name="connsiteY84" fmla="*/ 152400 h 4429225"/>
                <a:gd name="connsiteX85" fmla="*/ 1564469 w 4501379"/>
                <a:gd name="connsiteY85" fmla="*/ 142875 h 4429225"/>
                <a:gd name="connsiteX86" fmla="*/ 1697819 w 4501379"/>
                <a:gd name="connsiteY86" fmla="*/ 123825 h 4429225"/>
                <a:gd name="connsiteX87" fmla="*/ 1793069 w 4501379"/>
                <a:gd name="connsiteY87" fmla="*/ 114300 h 4429225"/>
                <a:gd name="connsiteX88" fmla="*/ 1840694 w 4501379"/>
                <a:gd name="connsiteY88" fmla="*/ 104775 h 4429225"/>
                <a:gd name="connsiteX89" fmla="*/ 1897844 w 4501379"/>
                <a:gd name="connsiteY89" fmla="*/ 95250 h 4429225"/>
                <a:gd name="connsiteX90" fmla="*/ 2012144 w 4501379"/>
                <a:gd name="connsiteY90" fmla="*/ 66675 h 4429225"/>
                <a:gd name="connsiteX91" fmla="*/ 2078819 w 4501379"/>
                <a:gd name="connsiteY91" fmla="*/ 47625 h 4429225"/>
                <a:gd name="connsiteX92" fmla="*/ 2145494 w 4501379"/>
                <a:gd name="connsiteY92" fmla="*/ 38100 h 4429225"/>
                <a:gd name="connsiteX93" fmla="*/ 2374094 w 4501379"/>
                <a:gd name="connsiteY93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811994 w 4501379"/>
                <a:gd name="connsiteY48" fmla="*/ 39814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069169 w 4501379"/>
                <a:gd name="connsiteY47" fmla="*/ 414337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269194 w 4501379"/>
                <a:gd name="connsiteY46" fmla="*/ 42291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25"/>
                <a:gd name="connsiteX1" fmla="*/ 2402669 w 4501379"/>
                <a:gd name="connsiteY1" fmla="*/ 28575 h 4429225"/>
                <a:gd name="connsiteX2" fmla="*/ 2478869 w 4501379"/>
                <a:gd name="connsiteY2" fmla="*/ 47625 h 4429225"/>
                <a:gd name="connsiteX3" fmla="*/ 2736044 w 4501379"/>
                <a:gd name="connsiteY3" fmla="*/ 66675 h 4429225"/>
                <a:gd name="connsiteX4" fmla="*/ 2812244 w 4501379"/>
                <a:gd name="connsiteY4" fmla="*/ 76200 h 4429225"/>
                <a:gd name="connsiteX5" fmla="*/ 2897969 w 4501379"/>
                <a:gd name="connsiteY5" fmla="*/ 85725 h 4429225"/>
                <a:gd name="connsiteX6" fmla="*/ 2955119 w 4501379"/>
                <a:gd name="connsiteY6" fmla="*/ 114300 h 4429225"/>
                <a:gd name="connsiteX7" fmla="*/ 2993219 w 4501379"/>
                <a:gd name="connsiteY7" fmla="*/ 123825 h 4429225"/>
                <a:gd name="connsiteX8" fmla="*/ 3117044 w 4501379"/>
                <a:gd name="connsiteY8" fmla="*/ 171450 h 4429225"/>
                <a:gd name="connsiteX9" fmla="*/ 3155144 w 4501379"/>
                <a:gd name="connsiteY9" fmla="*/ 190500 h 4429225"/>
                <a:gd name="connsiteX10" fmla="*/ 3221819 w 4501379"/>
                <a:gd name="connsiteY10" fmla="*/ 228600 h 4429225"/>
                <a:gd name="connsiteX11" fmla="*/ 3250394 w 4501379"/>
                <a:gd name="connsiteY11" fmla="*/ 238125 h 4429225"/>
                <a:gd name="connsiteX12" fmla="*/ 3278969 w 4501379"/>
                <a:gd name="connsiteY12" fmla="*/ 257175 h 4429225"/>
                <a:gd name="connsiteX13" fmla="*/ 3307544 w 4501379"/>
                <a:gd name="connsiteY13" fmla="*/ 266700 h 4429225"/>
                <a:gd name="connsiteX14" fmla="*/ 3336119 w 4501379"/>
                <a:gd name="connsiteY14" fmla="*/ 285750 h 4429225"/>
                <a:gd name="connsiteX15" fmla="*/ 3402794 w 4501379"/>
                <a:gd name="connsiteY15" fmla="*/ 323850 h 4429225"/>
                <a:gd name="connsiteX16" fmla="*/ 3450419 w 4501379"/>
                <a:gd name="connsiteY16" fmla="*/ 361950 h 4429225"/>
                <a:gd name="connsiteX17" fmla="*/ 3498044 w 4501379"/>
                <a:gd name="connsiteY17" fmla="*/ 390525 h 4429225"/>
                <a:gd name="connsiteX18" fmla="*/ 3612344 w 4501379"/>
                <a:gd name="connsiteY18" fmla="*/ 485775 h 4429225"/>
                <a:gd name="connsiteX19" fmla="*/ 3726644 w 4501379"/>
                <a:gd name="connsiteY19" fmla="*/ 542925 h 4429225"/>
                <a:gd name="connsiteX20" fmla="*/ 3793319 w 4501379"/>
                <a:gd name="connsiteY20" fmla="*/ 581025 h 4429225"/>
                <a:gd name="connsiteX21" fmla="*/ 4009219 w 4501379"/>
                <a:gd name="connsiteY21" fmla="*/ 819150 h 4429225"/>
                <a:gd name="connsiteX22" fmla="*/ 4145744 w 4501379"/>
                <a:gd name="connsiteY22" fmla="*/ 990600 h 4429225"/>
                <a:gd name="connsiteX23" fmla="*/ 4231469 w 4501379"/>
                <a:gd name="connsiteY23" fmla="*/ 1143000 h 4429225"/>
                <a:gd name="connsiteX24" fmla="*/ 4288619 w 4501379"/>
                <a:gd name="connsiteY24" fmla="*/ 1266825 h 4429225"/>
                <a:gd name="connsiteX25" fmla="*/ 4326719 w 4501379"/>
                <a:gd name="connsiteY25" fmla="*/ 1362075 h 4429225"/>
                <a:gd name="connsiteX26" fmla="*/ 4374344 w 4501379"/>
                <a:gd name="connsiteY26" fmla="*/ 1552575 h 4429225"/>
                <a:gd name="connsiteX27" fmla="*/ 4412444 w 4501379"/>
                <a:gd name="connsiteY27" fmla="*/ 1685925 h 4429225"/>
                <a:gd name="connsiteX28" fmla="*/ 4501344 w 4501379"/>
                <a:gd name="connsiteY28" fmla="*/ 2181225 h 4429225"/>
                <a:gd name="connsiteX29" fmla="*/ 4428319 w 4501379"/>
                <a:gd name="connsiteY29" fmla="*/ 2768600 h 4429225"/>
                <a:gd name="connsiteX30" fmla="*/ 4364819 w 4501379"/>
                <a:gd name="connsiteY30" fmla="*/ 2990850 h 4429225"/>
                <a:gd name="connsiteX31" fmla="*/ 4260044 w 4501379"/>
                <a:gd name="connsiteY31" fmla="*/ 3248025 h 4429225"/>
                <a:gd name="connsiteX32" fmla="*/ 4164794 w 4501379"/>
                <a:gd name="connsiteY32" fmla="*/ 3400425 h 4429225"/>
                <a:gd name="connsiteX33" fmla="*/ 4040969 w 4501379"/>
                <a:gd name="connsiteY33" fmla="*/ 3533775 h 4429225"/>
                <a:gd name="connsiteX34" fmla="*/ 3936194 w 4501379"/>
                <a:gd name="connsiteY34" fmla="*/ 3648075 h 4429225"/>
                <a:gd name="connsiteX35" fmla="*/ 3640919 w 4501379"/>
                <a:gd name="connsiteY35" fmla="*/ 3971925 h 4429225"/>
                <a:gd name="connsiteX36" fmla="*/ 3498044 w 4501379"/>
                <a:gd name="connsiteY36" fmla="*/ 4083050 h 4429225"/>
                <a:gd name="connsiteX37" fmla="*/ 3202769 w 4501379"/>
                <a:gd name="connsiteY37" fmla="*/ 4222750 h 4429225"/>
                <a:gd name="connsiteX38" fmla="*/ 3050369 w 4501379"/>
                <a:gd name="connsiteY38" fmla="*/ 4286250 h 4429225"/>
                <a:gd name="connsiteX39" fmla="*/ 2917019 w 4501379"/>
                <a:gd name="connsiteY39" fmla="*/ 4333875 h 4429225"/>
                <a:gd name="connsiteX40" fmla="*/ 2793194 w 4501379"/>
                <a:gd name="connsiteY40" fmla="*/ 4371975 h 4429225"/>
                <a:gd name="connsiteX41" fmla="*/ 2561419 w 4501379"/>
                <a:gd name="connsiteY41" fmla="*/ 4391025 h 4429225"/>
                <a:gd name="connsiteX42" fmla="*/ 2107394 w 4501379"/>
                <a:gd name="connsiteY42" fmla="*/ 4429125 h 4429225"/>
                <a:gd name="connsiteX43" fmla="*/ 1916894 w 4501379"/>
                <a:gd name="connsiteY43" fmla="*/ 4400550 h 4429225"/>
                <a:gd name="connsiteX44" fmla="*/ 1735919 w 4501379"/>
                <a:gd name="connsiteY44" fmla="*/ 4352925 h 4429225"/>
                <a:gd name="connsiteX45" fmla="*/ 1554944 w 4501379"/>
                <a:gd name="connsiteY45" fmla="*/ 4305300 h 4429225"/>
                <a:gd name="connsiteX46" fmla="*/ 1313644 w 4501379"/>
                <a:gd name="connsiteY46" fmla="*/ 4216400 h 4429225"/>
                <a:gd name="connsiteX47" fmla="*/ 1145369 w 4501379"/>
                <a:gd name="connsiteY47" fmla="*/ 4111625 h 4429225"/>
                <a:gd name="connsiteX48" fmla="*/ 926294 w 4501379"/>
                <a:gd name="connsiteY48" fmla="*/ 3968750 h 4429225"/>
                <a:gd name="connsiteX49" fmla="*/ 592919 w 4501379"/>
                <a:gd name="connsiteY49" fmla="*/ 3657600 h 4429225"/>
                <a:gd name="connsiteX50" fmla="*/ 446869 w 4501379"/>
                <a:gd name="connsiteY50" fmla="*/ 3470275 h 4429225"/>
                <a:gd name="connsiteX51" fmla="*/ 316694 w 4501379"/>
                <a:gd name="connsiteY51" fmla="*/ 3244850 h 4429225"/>
                <a:gd name="connsiteX52" fmla="*/ 164294 w 4501379"/>
                <a:gd name="connsiteY52" fmla="*/ 2892425 h 4429225"/>
                <a:gd name="connsiteX53" fmla="*/ 56344 w 4501379"/>
                <a:gd name="connsiteY53" fmla="*/ 2368550 h 4429225"/>
                <a:gd name="connsiteX54" fmla="*/ 2369 w 4501379"/>
                <a:gd name="connsiteY54" fmla="*/ 1905000 h 4429225"/>
                <a:gd name="connsiteX55" fmla="*/ 11894 w 4501379"/>
                <a:gd name="connsiteY55" fmla="*/ 1838325 h 4429225"/>
                <a:gd name="connsiteX56" fmla="*/ 30944 w 4501379"/>
                <a:gd name="connsiteY56" fmla="*/ 1781175 h 4429225"/>
                <a:gd name="connsiteX57" fmla="*/ 40469 w 4501379"/>
                <a:gd name="connsiteY57" fmla="*/ 1743075 h 4429225"/>
                <a:gd name="connsiteX58" fmla="*/ 59519 w 4501379"/>
                <a:gd name="connsiteY58" fmla="*/ 1685925 h 4429225"/>
                <a:gd name="connsiteX59" fmla="*/ 69044 w 4501379"/>
                <a:gd name="connsiteY59" fmla="*/ 1638300 h 4429225"/>
                <a:gd name="connsiteX60" fmla="*/ 88094 w 4501379"/>
                <a:gd name="connsiteY60" fmla="*/ 1590675 h 4429225"/>
                <a:gd name="connsiteX61" fmla="*/ 116669 w 4501379"/>
                <a:gd name="connsiteY61" fmla="*/ 1504950 h 4429225"/>
                <a:gd name="connsiteX62" fmla="*/ 135719 w 4501379"/>
                <a:gd name="connsiteY62" fmla="*/ 1419225 h 4429225"/>
                <a:gd name="connsiteX63" fmla="*/ 211919 w 4501379"/>
                <a:gd name="connsiteY63" fmla="*/ 1276350 h 4429225"/>
                <a:gd name="connsiteX64" fmla="*/ 221444 w 4501379"/>
                <a:gd name="connsiteY64" fmla="*/ 1247775 h 4429225"/>
                <a:gd name="connsiteX65" fmla="*/ 250019 w 4501379"/>
                <a:gd name="connsiteY65" fmla="*/ 1200150 h 4429225"/>
                <a:gd name="connsiteX66" fmla="*/ 269069 w 4501379"/>
                <a:gd name="connsiteY66" fmla="*/ 1152525 h 4429225"/>
                <a:gd name="connsiteX67" fmla="*/ 297644 w 4501379"/>
                <a:gd name="connsiteY67" fmla="*/ 1114425 h 4429225"/>
                <a:gd name="connsiteX68" fmla="*/ 345269 w 4501379"/>
                <a:gd name="connsiteY68" fmla="*/ 1038225 h 4429225"/>
                <a:gd name="connsiteX69" fmla="*/ 364319 w 4501379"/>
                <a:gd name="connsiteY69" fmla="*/ 1009650 h 4429225"/>
                <a:gd name="connsiteX70" fmla="*/ 421469 w 4501379"/>
                <a:gd name="connsiteY70" fmla="*/ 904875 h 4429225"/>
                <a:gd name="connsiteX71" fmla="*/ 459569 w 4501379"/>
                <a:gd name="connsiteY71" fmla="*/ 857250 h 4429225"/>
                <a:gd name="connsiteX72" fmla="*/ 478619 w 4501379"/>
                <a:gd name="connsiteY72" fmla="*/ 828675 h 4429225"/>
                <a:gd name="connsiteX73" fmla="*/ 516719 w 4501379"/>
                <a:gd name="connsiteY73" fmla="*/ 800100 h 4429225"/>
                <a:gd name="connsiteX74" fmla="*/ 583394 w 4501379"/>
                <a:gd name="connsiteY74" fmla="*/ 733425 h 4429225"/>
                <a:gd name="connsiteX75" fmla="*/ 650069 w 4501379"/>
                <a:gd name="connsiteY75" fmla="*/ 676275 h 4429225"/>
                <a:gd name="connsiteX76" fmla="*/ 678644 w 4501379"/>
                <a:gd name="connsiteY76" fmla="*/ 657225 h 4429225"/>
                <a:gd name="connsiteX77" fmla="*/ 821519 w 4501379"/>
                <a:gd name="connsiteY77" fmla="*/ 533400 h 4429225"/>
                <a:gd name="connsiteX78" fmla="*/ 869144 w 4501379"/>
                <a:gd name="connsiteY78" fmla="*/ 504825 h 4429225"/>
                <a:gd name="connsiteX79" fmla="*/ 1148544 w 4501379"/>
                <a:gd name="connsiteY79" fmla="*/ 311150 h 4429225"/>
                <a:gd name="connsiteX80" fmla="*/ 1250144 w 4501379"/>
                <a:gd name="connsiteY80" fmla="*/ 285750 h 4429225"/>
                <a:gd name="connsiteX81" fmla="*/ 1393019 w 4501379"/>
                <a:gd name="connsiteY81" fmla="*/ 190500 h 4429225"/>
                <a:gd name="connsiteX82" fmla="*/ 1431119 w 4501379"/>
                <a:gd name="connsiteY82" fmla="*/ 161925 h 4429225"/>
                <a:gd name="connsiteX83" fmla="*/ 1507319 w 4501379"/>
                <a:gd name="connsiteY83" fmla="*/ 152400 h 4429225"/>
                <a:gd name="connsiteX84" fmla="*/ 1564469 w 4501379"/>
                <a:gd name="connsiteY84" fmla="*/ 142875 h 4429225"/>
                <a:gd name="connsiteX85" fmla="*/ 1697819 w 4501379"/>
                <a:gd name="connsiteY85" fmla="*/ 123825 h 4429225"/>
                <a:gd name="connsiteX86" fmla="*/ 1793069 w 4501379"/>
                <a:gd name="connsiteY86" fmla="*/ 114300 h 4429225"/>
                <a:gd name="connsiteX87" fmla="*/ 1840694 w 4501379"/>
                <a:gd name="connsiteY87" fmla="*/ 104775 h 4429225"/>
                <a:gd name="connsiteX88" fmla="*/ 1897844 w 4501379"/>
                <a:gd name="connsiteY88" fmla="*/ 95250 h 4429225"/>
                <a:gd name="connsiteX89" fmla="*/ 2012144 w 4501379"/>
                <a:gd name="connsiteY89" fmla="*/ 66675 h 4429225"/>
                <a:gd name="connsiteX90" fmla="*/ 2078819 w 4501379"/>
                <a:gd name="connsiteY90" fmla="*/ 47625 h 4429225"/>
                <a:gd name="connsiteX91" fmla="*/ 2145494 w 4501379"/>
                <a:gd name="connsiteY91" fmla="*/ 38100 h 4429225"/>
                <a:gd name="connsiteX92" fmla="*/ 2374094 w 4501379"/>
                <a:gd name="connsiteY92" fmla="*/ 28575 h 4429225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91" fmla="*/ 2374094 w 4501379"/>
                <a:gd name="connsiteY91" fmla="*/ 28575 h 4429294"/>
                <a:gd name="connsiteX0" fmla="*/ 2278844 w 4501379"/>
                <a:gd name="connsiteY0" fmla="*/ 0 h 4429294"/>
                <a:gd name="connsiteX1" fmla="*/ 2402669 w 4501379"/>
                <a:gd name="connsiteY1" fmla="*/ 28575 h 4429294"/>
                <a:gd name="connsiteX2" fmla="*/ 2478869 w 4501379"/>
                <a:gd name="connsiteY2" fmla="*/ 47625 h 4429294"/>
                <a:gd name="connsiteX3" fmla="*/ 2736044 w 4501379"/>
                <a:gd name="connsiteY3" fmla="*/ 66675 h 4429294"/>
                <a:gd name="connsiteX4" fmla="*/ 2812244 w 4501379"/>
                <a:gd name="connsiteY4" fmla="*/ 76200 h 4429294"/>
                <a:gd name="connsiteX5" fmla="*/ 2897969 w 4501379"/>
                <a:gd name="connsiteY5" fmla="*/ 85725 h 4429294"/>
                <a:gd name="connsiteX6" fmla="*/ 2955119 w 4501379"/>
                <a:gd name="connsiteY6" fmla="*/ 114300 h 4429294"/>
                <a:gd name="connsiteX7" fmla="*/ 2993219 w 4501379"/>
                <a:gd name="connsiteY7" fmla="*/ 123825 h 4429294"/>
                <a:gd name="connsiteX8" fmla="*/ 3117044 w 4501379"/>
                <a:gd name="connsiteY8" fmla="*/ 171450 h 4429294"/>
                <a:gd name="connsiteX9" fmla="*/ 3155144 w 4501379"/>
                <a:gd name="connsiteY9" fmla="*/ 190500 h 4429294"/>
                <a:gd name="connsiteX10" fmla="*/ 3221819 w 4501379"/>
                <a:gd name="connsiteY10" fmla="*/ 228600 h 4429294"/>
                <a:gd name="connsiteX11" fmla="*/ 3250394 w 4501379"/>
                <a:gd name="connsiteY11" fmla="*/ 238125 h 4429294"/>
                <a:gd name="connsiteX12" fmla="*/ 3278969 w 4501379"/>
                <a:gd name="connsiteY12" fmla="*/ 257175 h 4429294"/>
                <a:gd name="connsiteX13" fmla="*/ 3307544 w 4501379"/>
                <a:gd name="connsiteY13" fmla="*/ 266700 h 4429294"/>
                <a:gd name="connsiteX14" fmla="*/ 3336119 w 4501379"/>
                <a:gd name="connsiteY14" fmla="*/ 285750 h 4429294"/>
                <a:gd name="connsiteX15" fmla="*/ 3402794 w 4501379"/>
                <a:gd name="connsiteY15" fmla="*/ 323850 h 4429294"/>
                <a:gd name="connsiteX16" fmla="*/ 3450419 w 4501379"/>
                <a:gd name="connsiteY16" fmla="*/ 361950 h 4429294"/>
                <a:gd name="connsiteX17" fmla="*/ 3498044 w 4501379"/>
                <a:gd name="connsiteY17" fmla="*/ 390525 h 4429294"/>
                <a:gd name="connsiteX18" fmla="*/ 3612344 w 4501379"/>
                <a:gd name="connsiteY18" fmla="*/ 485775 h 4429294"/>
                <a:gd name="connsiteX19" fmla="*/ 3726644 w 4501379"/>
                <a:gd name="connsiteY19" fmla="*/ 542925 h 4429294"/>
                <a:gd name="connsiteX20" fmla="*/ 3793319 w 4501379"/>
                <a:gd name="connsiteY20" fmla="*/ 581025 h 4429294"/>
                <a:gd name="connsiteX21" fmla="*/ 4009219 w 4501379"/>
                <a:gd name="connsiteY21" fmla="*/ 819150 h 4429294"/>
                <a:gd name="connsiteX22" fmla="*/ 4145744 w 4501379"/>
                <a:gd name="connsiteY22" fmla="*/ 990600 h 4429294"/>
                <a:gd name="connsiteX23" fmla="*/ 4231469 w 4501379"/>
                <a:gd name="connsiteY23" fmla="*/ 1143000 h 4429294"/>
                <a:gd name="connsiteX24" fmla="*/ 4288619 w 4501379"/>
                <a:gd name="connsiteY24" fmla="*/ 1266825 h 4429294"/>
                <a:gd name="connsiteX25" fmla="*/ 4326719 w 4501379"/>
                <a:gd name="connsiteY25" fmla="*/ 1362075 h 4429294"/>
                <a:gd name="connsiteX26" fmla="*/ 4374344 w 4501379"/>
                <a:gd name="connsiteY26" fmla="*/ 1552575 h 4429294"/>
                <a:gd name="connsiteX27" fmla="*/ 4412444 w 4501379"/>
                <a:gd name="connsiteY27" fmla="*/ 1685925 h 4429294"/>
                <a:gd name="connsiteX28" fmla="*/ 4501344 w 4501379"/>
                <a:gd name="connsiteY28" fmla="*/ 2181225 h 4429294"/>
                <a:gd name="connsiteX29" fmla="*/ 4428319 w 4501379"/>
                <a:gd name="connsiteY29" fmla="*/ 2768600 h 4429294"/>
                <a:gd name="connsiteX30" fmla="*/ 4364819 w 4501379"/>
                <a:gd name="connsiteY30" fmla="*/ 2990850 h 4429294"/>
                <a:gd name="connsiteX31" fmla="*/ 4260044 w 4501379"/>
                <a:gd name="connsiteY31" fmla="*/ 3248025 h 4429294"/>
                <a:gd name="connsiteX32" fmla="*/ 4164794 w 4501379"/>
                <a:gd name="connsiteY32" fmla="*/ 3400425 h 4429294"/>
                <a:gd name="connsiteX33" fmla="*/ 4040969 w 4501379"/>
                <a:gd name="connsiteY33" fmla="*/ 3533775 h 4429294"/>
                <a:gd name="connsiteX34" fmla="*/ 3936194 w 4501379"/>
                <a:gd name="connsiteY34" fmla="*/ 3648075 h 4429294"/>
                <a:gd name="connsiteX35" fmla="*/ 3640919 w 4501379"/>
                <a:gd name="connsiteY35" fmla="*/ 3971925 h 4429294"/>
                <a:gd name="connsiteX36" fmla="*/ 3498044 w 4501379"/>
                <a:gd name="connsiteY36" fmla="*/ 4083050 h 4429294"/>
                <a:gd name="connsiteX37" fmla="*/ 3202769 w 4501379"/>
                <a:gd name="connsiteY37" fmla="*/ 4222750 h 4429294"/>
                <a:gd name="connsiteX38" fmla="*/ 3050369 w 4501379"/>
                <a:gd name="connsiteY38" fmla="*/ 4286250 h 4429294"/>
                <a:gd name="connsiteX39" fmla="*/ 2917019 w 4501379"/>
                <a:gd name="connsiteY39" fmla="*/ 4333875 h 4429294"/>
                <a:gd name="connsiteX40" fmla="*/ 2793194 w 4501379"/>
                <a:gd name="connsiteY40" fmla="*/ 4371975 h 4429294"/>
                <a:gd name="connsiteX41" fmla="*/ 2561419 w 4501379"/>
                <a:gd name="connsiteY41" fmla="*/ 4391025 h 4429294"/>
                <a:gd name="connsiteX42" fmla="*/ 2107394 w 4501379"/>
                <a:gd name="connsiteY42" fmla="*/ 4429125 h 4429294"/>
                <a:gd name="connsiteX43" fmla="*/ 1916894 w 4501379"/>
                <a:gd name="connsiteY43" fmla="*/ 4400550 h 4429294"/>
                <a:gd name="connsiteX44" fmla="*/ 1554944 w 4501379"/>
                <a:gd name="connsiteY44" fmla="*/ 4305300 h 4429294"/>
                <a:gd name="connsiteX45" fmla="*/ 1313644 w 4501379"/>
                <a:gd name="connsiteY45" fmla="*/ 4216400 h 4429294"/>
                <a:gd name="connsiteX46" fmla="*/ 1145369 w 4501379"/>
                <a:gd name="connsiteY46" fmla="*/ 4111625 h 4429294"/>
                <a:gd name="connsiteX47" fmla="*/ 926294 w 4501379"/>
                <a:gd name="connsiteY47" fmla="*/ 3968750 h 4429294"/>
                <a:gd name="connsiteX48" fmla="*/ 592919 w 4501379"/>
                <a:gd name="connsiteY48" fmla="*/ 3657600 h 4429294"/>
                <a:gd name="connsiteX49" fmla="*/ 446869 w 4501379"/>
                <a:gd name="connsiteY49" fmla="*/ 3470275 h 4429294"/>
                <a:gd name="connsiteX50" fmla="*/ 316694 w 4501379"/>
                <a:gd name="connsiteY50" fmla="*/ 3244850 h 4429294"/>
                <a:gd name="connsiteX51" fmla="*/ 164294 w 4501379"/>
                <a:gd name="connsiteY51" fmla="*/ 2892425 h 4429294"/>
                <a:gd name="connsiteX52" fmla="*/ 56344 w 4501379"/>
                <a:gd name="connsiteY52" fmla="*/ 2368550 h 4429294"/>
                <a:gd name="connsiteX53" fmla="*/ 2369 w 4501379"/>
                <a:gd name="connsiteY53" fmla="*/ 1905000 h 4429294"/>
                <a:gd name="connsiteX54" fmla="*/ 11894 w 4501379"/>
                <a:gd name="connsiteY54" fmla="*/ 1838325 h 4429294"/>
                <a:gd name="connsiteX55" fmla="*/ 30944 w 4501379"/>
                <a:gd name="connsiteY55" fmla="*/ 1781175 h 4429294"/>
                <a:gd name="connsiteX56" fmla="*/ 40469 w 4501379"/>
                <a:gd name="connsiteY56" fmla="*/ 1743075 h 4429294"/>
                <a:gd name="connsiteX57" fmla="*/ 59519 w 4501379"/>
                <a:gd name="connsiteY57" fmla="*/ 1685925 h 4429294"/>
                <a:gd name="connsiteX58" fmla="*/ 69044 w 4501379"/>
                <a:gd name="connsiteY58" fmla="*/ 1638300 h 4429294"/>
                <a:gd name="connsiteX59" fmla="*/ 88094 w 4501379"/>
                <a:gd name="connsiteY59" fmla="*/ 1590675 h 4429294"/>
                <a:gd name="connsiteX60" fmla="*/ 116669 w 4501379"/>
                <a:gd name="connsiteY60" fmla="*/ 1504950 h 4429294"/>
                <a:gd name="connsiteX61" fmla="*/ 135719 w 4501379"/>
                <a:gd name="connsiteY61" fmla="*/ 1419225 h 4429294"/>
                <a:gd name="connsiteX62" fmla="*/ 211919 w 4501379"/>
                <a:gd name="connsiteY62" fmla="*/ 1276350 h 4429294"/>
                <a:gd name="connsiteX63" fmla="*/ 221444 w 4501379"/>
                <a:gd name="connsiteY63" fmla="*/ 1247775 h 4429294"/>
                <a:gd name="connsiteX64" fmla="*/ 250019 w 4501379"/>
                <a:gd name="connsiteY64" fmla="*/ 1200150 h 4429294"/>
                <a:gd name="connsiteX65" fmla="*/ 269069 w 4501379"/>
                <a:gd name="connsiteY65" fmla="*/ 1152525 h 4429294"/>
                <a:gd name="connsiteX66" fmla="*/ 297644 w 4501379"/>
                <a:gd name="connsiteY66" fmla="*/ 1114425 h 4429294"/>
                <a:gd name="connsiteX67" fmla="*/ 345269 w 4501379"/>
                <a:gd name="connsiteY67" fmla="*/ 1038225 h 4429294"/>
                <a:gd name="connsiteX68" fmla="*/ 364319 w 4501379"/>
                <a:gd name="connsiteY68" fmla="*/ 1009650 h 4429294"/>
                <a:gd name="connsiteX69" fmla="*/ 421469 w 4501379"/>
                <a:gd name="connsiteY69" fmla="*/ 904875 h 4429294"/>
                <a:gd name="connsiteX70" fmla="*/ 459569 w 4501379"/>
                <a:gd name="connsiteY70" fmla="*/ 857250 h 4429294"/>
                <a:gd name="connsiteX71" fmla="*/ 478619 w 4501379"/>
                <a:gd name="connsiteY71" fmla="*/ 828675 h 4429294"/>
                <a:gd name="connsiteX72" fmla="*/ 516719 w 4501379"/>
                <a:gd name="connsiteY72" fmla="*/ 800100 h 4429294"/>
                <a:gd name="connsiteX73" fmla="*/ 583394 w 4501379"/>
                <a:gd name="connsiteY73" fmla="*/ 733425 h 4429294"/>
                <a:gd name="connsiteX74" fmla="*/ 650069 w 4501379"/>
                <a:gd name="connsiteY74" fmla="*/ 676275 h 4429294"/>
                <a:gd name="connsiteX75" fmla="*/ 678644 w 4501379"/>
                <a:gd name="connsiteY75" fmla="*/ 657225 h 4429294"/>
                <a:gd name="connsiteX76" fmla="*/ 821519 w 4501379"/>
                <a:gd name="connsiteY76" fmla="*/ 533400 h 4429294"/>
                <a:gd name="connsiteX77" fmla="*/ 869144 w 4501379"/>
                <a:gd name="connsiteY77" fmla="*/ 504825 h 4429294"/>
                <a:gd name="connsiteX78" fmla="*/ 1148544 w 4501379"/>
                <a:gd name="connsiteY78" fmla="*/ 311150 h 4429294"/>
                <a:gd name="connsiteX79" fmla="*/ 1250144 w 4501379"/>
                <a:gd name="connsiteY79" fmla="*/ 285750 h 4429294"/>
                <a:gd name="connsiteX80" fmla="*/ 1393019 w 4501379"/>
                <a:gd name="connsiteY80" fmla="*/ 190500 h 4429294"/>
                <a:gd name="connsiteX81" fmla="*/ 1431119 w 4501379"/>
                <a:gd name="connsiteY81" fmla="*/ 161925 h 4429294"/>
                <a:gd name="connsiteX82" fmla="*/ 1507319 w 4501379"/>
                <a:gd name="connsiteY82" fmla="*/ 152400 h 4429294"/>
                <a:gd name="connsiteX83" fmla="*/ 1564469 w 4501379"/>
                <a:gd name="connsiteY83" fmla="*/ 142875 h 4429294"/>
                <a:gd name="connsiteX84" fmla="*/ 1697819 w 4501379"/>
                <a:gd name="connsiteY84" fmla="*/ 123825 h 4429294"/>
                <a:gd name="connsiteX85" fmla="*/ 1793069 w 4501379"/>
                <a:gd name="connsiteY85" fmla="*/ 114300 h 4429294"/>
                <a:gd name="connsiteX86" fmla="*/ 1840694 w 4501379"/>
                <a:gd name="connsiteY86" fmla="*/ 104775 h 4429294"/>
                <a:gd name="connsiteX87" fmla="*/ 1897844 w 4501379"/>
                <a:gd name="connsiteY87" fmla="*/ 95250 h 4429294"/>
                <a:gd name="connsiteX88" fmla="*/ 2012144 w 4501379"/>
                <a:gd name="connsiteY88" fmla="*/ 66675 h 4429294"/>
                <a:gd name="connsiteX89" fmla="*/ 2078819 w 4501379"/>
                <a:gd name="connsiteY89" fmla="*/ 47625 h 4429294"/>
                <a:gd name="connsiteX90" fmla="*/ 2145494 w 4501379"/>
                <a:gd name="connsiteY90" fmla="*/ 38100 h 4429294"/>
                <a:gd name="connsiteX0" fmla="*/ 2278844 w 4501379"/>
                <a:gd name="connsiteY0" fmla="*/ 0 h 4429294"/>
                <a:gd name="connsiteX1" fmla="*/ 2478869 w 4501379"/>
                <a:gd name="connsiteY1" fmla="*/ 47625 h 4429294"/>
                <a:gd name="connsiteX2" fmla="*/ 2736044 w 4501379"/>
                <a:gd name="connsiteY2" fmla="*/ 66675 h 4429294"/>
                <a:gd name="connsiteX3" fmla="*/ 2812244 w 4501379"/>
                <a:gd name="connsiteY3" fmla="*/ 76200 h 4429294"/>
                <a:gd name="connsiteX4" fmla="*/ 2897969 w 4501379"/>
                <a:gd name="connsiteY4" fmla="*/ 85725 h 4429294"/>
                <a:gd name="connsiteX5" fmla="*/ 2955119 w 4501379"/>
                <a:gd name="connsiteY5" fmla="*/ 114300 h 4429294"/>
                <a:gd name="connsiteX6" fmla="*/ 2993219 w 4501379"/>
                <a:gd name="connsiteY6" fmla="*/ 123825 h 4429294"/>
                <a:gd name="connsiteX7" fmla="*/ 3117044 w 4501379"/>
                <a:gd name="connsiteY7" fmla="*/ 171450 h 4429294"/>
                <a:gd name="connsiteX8" fmla="*/ 3155144 w 4501379"/>
                <a:gd name="connsiteY8" fmla="*/ 190500 h 4429294"/>
                <a:gd name="connsiteX9" fmla="*/ 3221819 w 4501379"/>
                <a:gd name="connsiteY9" fmla="*/ 228600 h 4429294"/>
                <a:gd name="connsiteX10" fmla="*/ 3250394 w 4501379"/>
                <a:gd name="connsiteY10" fmla="*/ 238125 h 4429294"/>
                <a:gd name="connsiteX11" fmla="*/ 3278969 w 4501379"/>
                <a:gd name="connsiteY11" fmla="*/ 257175 h 4429294"/>
                <a:gd name="connsiteX12" fmla="*/ 3307544 w 4501379"/>
                <a:gd name="connsiteY12" fmla="*/ 266700 h 4429294"/>
                <a:gd name="connsiteX13" fmla="*/ 3336119 w 4501379"/>
                <a:gd name="connsiteY13" fmla="*/ 285750 h 4429294"/>
                <a:gd name="connsiteX14" fmla="*/ 3402794 w 4501379"/>
                <a:gd name="connsiteY14" fmla="*/ 323850 h 4429294"/>
                <a:gd name="connsiteX15" fmla="*/ 3450419 w 4501379"/>
                <a:gd name="connsiteY15" fmla="*/ 361950 h 4429294"/>
                <a:gd name="connsiteX16" fmla="*/ 3498044 w 4501379"/>
                <a:gd name="connsiteY16" fmla="*/ 390525 h 4429294"/>
                <a:gd name="connsiteX17" fmla="*/ 3612344 w 4501379"/>
                <a:gd name="connsiteY17" fmla="*/ 485775 h 4429294"/>
                <a:gd name="connsiteX18" fmla="*/ 3726644 w 4501379"/>
                <a:gd name="connsiteY18" fmla="*/ 542925 h 4429294"/>
                <a:gd name="connsiteX19" fmla="*/ 3793319 w 4501379"/>
                <a:gd name="connsiteY19" fmla="*/ 581025 h 4429294"/>
                <a:gd name="connsiteX20" fmla="*/ 4009219 w 4501379"/>
                <a:gd name="connsiteY20" fmla="*/ 819150 h 4429294"/>
                <a:gd name="connsiteX21" fmla="*/ 4145744 w 4501379"/>
                <a:gd name="connsiteY21" fmla="*/ 990600 h 4429294"/>
                <a:gd name="connsiteX22" fmla="*/ 4231469 w 4501379"/>
                <a:gd name="connsiteY22" fmla="*/ 1143000 h 4429294"/>
                <a:gd name="connsiteX23" fmla="*/ 4288619 w 4501379"/>
                <a:gd name="connsiteY23" fmla="*/ 1266825 h 4429294"/>
                <a:gd name="connsiteX24" fmla="*/ 4326719 w 4501379"/>
                <a:gd name="connsiteY24" fmla="*/ 1362075 h 4429294"/>
                <a:gd name="connsiteX25" fmla="*/ 4374344 w 4501379"/>
                <a:gd name="connsiteY25" fmla="*/ 1552575 h 4429294"/>
                <a:gd name="connsiteX26" fmla="*/ 4412444 w 4501379"/>
                <a:gd name="connsiteY26" fmla="*/ 1685925 h 4429294"/>
                <a:gd name="connsiteX27" fmla="*/ 4501344 w 4501379"/>
                <a:gd name="connsiteY27" fmla="*/ 2181225 h 4429294"/>
                <a:gd name="connsiteX28" fmla="*/ 4428319 w 4501379"/>
                <a:gd name="connsiteY28" fmla="*/ 2768600 h 4429294"/>
                <a:gd name="connsiteX29" fmla="*/ 4364819 w 4501379"/>
                <a:gd name="connsiteY29" fmla="*/ 2990850 h 4429294"/>
                <a:gd name="connsiteX30" fmla="*/ 4260044 w 4501379"/>
                <a:gd name="connsiteY30" fmla="*/ 3248025 h 4429294"/>
                <a:gd name="connsiteX31" fmla="*/ 4164794 w 4501379"/>
                <a:gd name="connsiteY31" fmla="*/ 3400425 h 4429294"/>
                <a:gd name="connsiteX32" fmla="*/ 4040969 w 4501379"/>
                <a:gd name="connsiteY32" fmla="*/ 3533775 h 4429294"/>
                <a:gd name="connsiteX33" fmla="*/ 3936194 w 4501379"/>
                <a:gd name="connsiteY33" fmla="*/ 3648075 h 4429294"/>
                <a:gd name="connsiteX34" fmla="*/ 3640919 w 4501379"/>
                <a:gd name="connsiteY34" fmla="*/ 3971925 h 4429294"/>
                <a:gd name="connsiteX35" fmla="*/ 3498044 w 4501379"/>
                <a:gd name="connsiteY35" fmla="*/ 4083050 h 4429294"/>
                <a:gd name="connsiteX36" fmla="*/ 3202769 w 4501379"/>
                <a:gd name="connsiteY36" fmla="*/ 4222750 h 4429294"/>
                <a:gd name="connsiteX37" fmla="*/ 3050369 w 4501379"/>
                <a:gd name="connsiteY37" fmla="*/ 4286250 h 4429294"/>
                <a:gd name="connsiteX38" fmla="*/ 2917019 w 4501379"/>
                <a:gd name="connsiteY38" fmla="*/ 4333875 h 4429294"/>
                <a:gd name="connsiteX39" fmla="*/ 2793194 w 4501379"/>
                <a:gd name="connsiteY39" fmla="*/ 4371975 h 4429294"/>
                <a:gd name="connsiteX40" fmla="*/ 2561419 w 4501379"/>
                <a:gd name="connsiteY40" fmla="*/ 4391025 h 4429294"/>
                <a:gd name="connsiteX41" fmla="*/ 2107394 w 4501379"/>
                <a:gd name="connsiteY41" fmla="*/ 4429125 h 4429294"/>
                <a:gd name="connsiteX42" fmla="*/ 1916894 w 4501379"/>
                <a:gd name="connsiteY42" fmla="*/ 4400550 h 4429294"/>
                <a:gd name="connsiteX43" fmla="*/ 1554944 w 4501379"/>
                <a:gd name="connsiteY43" fmla="*/ 4305300 h 4429294"/>
                <a:gd name="connsiteX44" fmla="*/ 1313644 w 4501379"/>
                <a:gd name="connsiteY44" fmla="*/ 4216400 h 4429294"/>
                <a:gd name="connsiteX45" fmla="*/ 1145369 w 4501379"/>
                <a:gd name="connsiteY45" fmla="*/ 4111625 h 4429294"/>
                <a:gd name="connsiteX46" fmla="*/ 926294 w 4501379"/>
                <a:gd name="connsiteY46" fmla="*/ 3968750 h 4429294"/>
                <a:gd name="connsiteX47" fmla="*/ 592919 w 4501379"/>
                <a:gd name="connsiteY47" fmla="*/ 3657600 h 4429294"/>
                <a:gd name="connsiteX48" fmla="*/ 446869 w 4501379"/>
                <a:gd name="connsiteY48" fmla="*/ 3470275 h 4429294"/>
                <a:gd name="connsiteX49" fmla="*/ 316694 w 4501379"/>
                <a:gd name="connsiteY49" fmla="*/ 3244850 h 4429294"/>
                <a:gd name="connsiteX50" fmla="*/ 164294 w 4501379"/>
                <a:gd name="connsiteY50" fmla="*/ 2892425 h 4429294"/>
                <a:gd name="connsiteX51" fmla="*/ 56344 w 4501379"/>
                <a:gd name="connsiteY51" fmla="*/ 2368550 h 4429294"/>
                <a:gd name="connsiteX52" fmla="*/ 2369 w 4501379"/>
                <a:gd name="connsiteY52" fmla="*/ 1905000 h 4429294"/>
                <a:gd name="connsiteX53" fmla="*/ 11894 w 4501379"/>
                <a:gd name="connsiteY53" fmla="*/ 1838325 h 4429294"/>
                <a:gd name="connsiteX54" fmla="*/ 30944 w 4501379"/>
                <a:gd name="connsiteY54" fmla="*/ 1781175 h 4429294"/>
                <a:gd name="connsiteX55" fmla="*/ 40469 w 4501379"/>
                <a:gd name="connsiteY55" fmla="*/ 1743075 h 4429294"/>
                <a:gd name="connsiteX56" fmla="*/ 59519 w 4501379"/>
                <a:gd name="connsiteY56" fmla="*/ 1685925 h 4429294"/>
                <a:gd name="connsiteX57" fmla="*/ 69044 w 4501379"/>
                <a:gd name="connsiteY57" fmla="*/ 1638300 h 4429294"/>
                <a:gd name="connsiteX58" fmla="*/ 88094 w 4501379"/>
                <a:gd name="connsiteY58" fmla="*/ 1590675 h 4429294"/>
                <a:gd name="connsiteX59" fmla="*/ 116669 w 4501379"/>
                <a:gd name="connsiteY59" fmla="*/ 1504950 h 4429294"/>
                <a:gd name="connsiteX60" fmla="*/ 135719 w 4501379"/>
                <a:gd name="connsiteY60" fmla="*/ 1419225 h 4429294"/>
                <a:gd name="connsiteX61" fmla="*/ 211919 w 4501379"/>
                <a:gd name="connsiteY61" fmla="*/ 1276350 h 4429294"/>
                <a:gd name="connsiteX62" fmla="*/ 221444 w 4501379"/>
                <a:gd name="connsiteY62" fmla="*/ 1247775 h 4429294"/>
                <a:gd name="connsiteX63" fmla="*/ 250019 w 4501379"/>
                <a:gd name="connsiteY63" fmla="*/ 1200150 h 4429294"/>
                <a:gd name="connsiteX64" fmla="*/ 269069 w 4501379"/>
                <a:gd name="connsiteY64" fmla="*/ 1152525 h 4429294"/>
                <a:gd name="connsiteX65" fmla="*/ 297644 w 4501379"/>
                <a:gd name="connsiteY65" fmla="*/ 1114425 h 4429294"/>
                <a:gd name="connsiteX66" fmla="*/ 345269 w 4501379"/>
                <a:gd name="connsiteY66" fmla="*/ 1038225 h 4429294"/>
                <a:gd name="connsiteX67" fmla="*/ 364319 w 4501379"/>
                <a:gd name="connsiteY67" fmla="*/ 1009650 h 4429294"/>
                <a:gd name="connsiteX68" fmla="*/ 421469 w 4501379"/>
                <a:gd name="connsiteY68" fmla="*/ 904875 h 4429294"/>
                <a:gd name="connsiteX69" fmla="*/ 459569 w 4501379"/>
                <a:gd name="connsiteY69" fmla="*/ 857250 h 4429294"/>
                <a:gd name="connsiteX70" fmla="*/ 478619 w 4501379"/>
                <a:gd name="connsiteY70" fmla="*/ 828675 h 4429294"/>
                <a:gd name="connsiteX71" fmla="*/ 516719 w 4501379"/>
                <a:gd name="connsiteY71" fmla="*/ 800100 h 4429294"/>
                <a:gd name="connsiteX72" fmla="*/ 583394 w 4501379"/>
                <a:gd name="connsiteY72" fmla="*/ 733425 h 4429294"/>
                <a:gd name="connsiteX73" fmla="*/ 650069 w 4501379"/>
                <a:gd name="connsiteY73" fmla="*/ 676275 h 4429294"/>
                <a:gd name="connsiteX74" fmla="*/ 678644 w 4501379"/>
                <a:gd name="connsiteY74" fmla="*/ 657225 h 4429294"/>
                <a:gd name="connsiteX75" fmla="*/ 821519 w 4501379"/>
                <a:gd name="connsiteY75" fmla="*/ 533400 h 4429294"/>
                <a:gd name="connsiteX76" fmla="*/ 869144 w 4501379"/>
                <a:gd name="connsiteY76" fmla="*/ 504825 h 4429294"/>
                <a:gd name="connsiteX77" fmla="*/ 1148544 w 4501379"/>
                <a:gd name="connsiteY77" fmla="*/ 311150 h 4429294"/>
                <a:gd name="connsiteX78" fmla="*/ 1250144 w 4501379"/>
                <a:gd name="connsiteY78" fmla="*/ 285750 h 4429294"/>
                <a:gd name="connsiteX79" fmla="*/ 1393019 w 4501379"/>
                <a:gd name="connsiteY79" fmla="*/ 190500 h 4429294"/>
                <a:gd name="connsiteX80" fmla="*/ 1431119 w 4501379"/>
                <a:gd name="connsiteY80" fmla="*/ 161925 h 4429294"/>
                <a:gd name="connsiteX81" fmla="*/ 1507319 w 4501379"/>
                <a:gd name="connsiteY81" fmla="*/ 152400 h 4429294"/>
                <a:gd name="connsiteX82" fmla="*/ 1564469 w 4501379"/>
                <a:gd name="connsiteY82" fmla="*/ 142875 h 4429294"/>
                <a:gd name="connsiteX83" fmla="*/ 1697819 w 4501379"/>
                <a:gd name="connsiteY83" fmla="*/ 123825 h 4429294"/>
                <a:gd name="connsiteX84" fmla="*/ 1793069 w 4501379"/>
                <a:gd name="connsiteY84" fmla="*/ 114300 h 4429294"/>
                <a:gd name="connsiteX85" fmla="*/ 1840694 w 4501379"/>
                <a:gd name="connsiteY85" fmla="*/ 104775 h 4429294"/>
                <a:gd name="connsiteX86" fmla="*/ 1897844 w 4501379"/>
                <a:gd name="connsiteY86" fmla="*/ 95250 h 4429294"/>
                <a:gd name="connsiteX87" fmla="*/ 2012144 w 4501379"/>
                <a:gd name="connsiteY87" fmla="*/ 66675 h 4429294"/>
                <a:gd name="connsiteX88" fmla="*/ 2078819 w 4501379"/>
                <a:gd name="connsiteY88" fmla="*/ 47625 h 4429294"/>
                <a:gd name="connsiteX89" fmla="*/ 2145494 w 4501379"/>
                <a:gd name="connsiteY89" fmla="*/ 38100 h 4429294"/>
                <a:gd name="connsiteX0" fmla="*/ 2278844 w 4501379"/>
                <a:gd name="connsiteY0" fmla="*/ 0 h 4429294"/>
                <a:gd name="connsiteX1" fmla="*/ 2736044 w 4501379"/>
                <a:gd name="connsiteY1" fmla="*/ 666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12244 w 4501379"/>
                <a:gd name="connsiteY2" fmla="*/ 76200 h 4429294"/>
                <a:gd name="connsiteX3" fmla="*/ 2897969 w 4501379"/>
                <a:gd name="connsiteY3" fmla="*/ 85725 h 4429294"/>
                <a:gd name="connsiteX4" fmla="*/ 2955119 w 4501379"/>
                <a:gd name="connsiteY4" fmla="*/ 114300 h 4429294"/>
                <a:gd name="connsiteX5" fmla="*/ 2993219 w 4501379"/>
                <a:gd name="connsiteY5" fmla="*/ 123825 h 4429294"/>
                <a:gd name="connsiteX6" fmla="*/ 3117044 w 4501379"/>
                <a:gd name="connsiteY6" fmla="*/ 171450 h 4429294"/>
                <a:gd name="connsiteX7" fmla="*/ 3155144 w 4501379"/>
                <a:gd name="connsiteY7" fmla="*/ 190500 h 4429294"/>
                <a:gd name="connsiteX8" fmla="*/ 3221819 w 4501379"/>
                <a:gd name="connsiteY8" fmla="*/ 228600 h 4429294"/>
                <a:gd name="connsiteX9" fmla="*/ 3250394 w 4501379"/>
                <a:gd name="connsiteY9" fmla="*/ 238125 h 4429294"/>
                <a:gd name="connsiteX10" fmla="*/ 3278969 w 4501379"/>
                <a:gd name="connsiteY10" fmla="*/ 257175 h 4429294"/>
                <a:gd name="connsiteX11" fmla="*/ 3307544 w 4501379"/>
                <a:gd name="connsiteY11" fmla="*/ 266700 h 4429294"/>
                <a:gd name="connsiteX12" fmla="*/ 3336119 w 4501379"/>
                <a:gd name="connsiteY12" fmla="*/ 285750 h 4429294"/>
                <a:gd name="connsiteX13" fmla="*/ 3402794 w 4501379"/>
                <a:gd name="connsiteY13" fmla="*/ 323850 h 4429294"/>
                <a:gd name="connsiteX14" fmla="*/ 3450419 w 4501379"/>
                <a:gd name="connsiteY14" fmla="*/ 361950 h 4429294"/>
                <a:gd name="connsiteX15" fmla="*/ 3498044 w 4501379"/>
                <a:gd name="connsiteY15" fmla="*/ 390525 h 4429294"/>
                <a:gd name="connsiteX16" fmla="*/ 3612344 w 4501379"/>
                <a:gd name="connsiteY16" fmla="*/ 485775 h 4429294"/>
                <a:gd name="connsiteX17" fmla="*/ 3726644 w 4501379"/>
                <a:gd name="connsiteY17" fmla="*/ 542925 h 4429294"/>
                <a:gd name="connsiteX18" fmla="*/ 3793319 w 4501379"/>
                <a:gd name="connsiteY18" fmla="*/ 581025 h 4429294"/>
                <a:gd name="connsiteX19" fmla="*/ 4009219 w 4501379"/>
                <a:gd name="connsiteY19" fmla="*/ 819150 h 4429294"/>
                <a:gd name="connsiteX20" fmla="*/ 4145744 w 4501379"/>
                <a:gd name="connsiteY20" fmla="*/ 990600 h 4429294"/>
                <a:gd name="connsiteX21" fmla="*/ 4231469 w 4501379"/>
                <a:gd name="connsiteY21" fmla="*/ 1143000 h 4429294"/>
                <a:gd name="connsiteX22" fmla="*/ 4288619 w 4501379"/>
                <a:gd name="connsiteY22" fmla="*/ 1266825 h 4429294"/>
                <a:gd name="connsiteX23" fmla="*/ 4326719 w 4501379"/>
                <a:gd name="connsiteY23" fmla="*/ 1362075 h 4429294"/>
                <a:gd name="connsiteX24" fmla="*/ 4374344 w 4501379"/>
                <a:gd name="connsiteY24" fmla="*/ 1552575 h 4429294"/>
                <a:gd name="connsiteX25" fmla="*/ 4412444 w 4501379"/>
                <a:gd name="connsiteY25" fmla="*/ 1685925 h 4429294"/>
                <a:gd name="connsiteX26" fmla="*/ 4501344 w 4501379"/>
                <a:gd name="connsiteY26" fmla="*/ 2181225 h 4429294"/>
                <a:gd name="connsiteX27" fmla="*/ 4428319 w 4501379"/>
                <a:gd name="connsiteY27" fmla="*/ 2768600 h 4429294"/>
                <a:gd name="connsiteX28" fmla="*/ 4364819 w 4501379"/>
                <a:gd name="connsiteY28" fmla="*/ 2990850 h 4429294"/>
                <a:gd name="connsiteX29" fmla="*/ 4260044 w 4501379"/>
                <a:gd name="connsiteY29" fmla="*/ 3248025 h 4429294"/>
                <a:gd name="connsiteX30" fmla="*/ 4164794 w 4501379"/>
                <a:gd name="connsiteY30" fmla="*/ 3400425 h 4429294"/>
                <a:gd name="connsiteX31" fmla="*/ 4040969 w 4501379"/>
                <a:gd name="connsiteY31" fmla="*/ 3533775 h 4429294"/>
                <a:gd name="connsiteX32" fmla="*/ 3936194 w 4501379"/>
                <a:gd name="connsiteY32" fmla="*/ 3648075 h 4429294"/>
                <a:gd name="connsiteX33" fmla="*/ 3640919 w 4501379"/>
                <a:gd name="connsiteY33" fmla="*/ 3971925 h 4429294"/>
                <a:gd name="connsiteX34" fmla="*/ 3498044 w 4501379"/>
                <a:gd name="connsiteY34" fmla="*/ 4083050 h 4429294"/>
                <a:gd name="connsiteX35" fmla="*/ 3202769 w 4501379"/>
                <a:gd name="connsiteY35" fmla="*/ 4222750 h 4429294"/>
                <a:gd name="connsiteX36" fmla="*/ 3050369 w 4501379"/>
                <a:gd name="connsiteY36" fmla="*/ 4286250 h 4429294"/>
                <a:gd name="connsiteX37" fmla="*/ 2917019 w 4501379"/>
                <a:gd name="connsiteY37" fmla="*/ 4333875 h 4429294"/>
                <a:gd name="connsiteX38" fmla="*/ 2793194 w 4501379"/>
                <a:gd name="connsiteY38" fmla="*/ 4371975 h 4429294"/>
                <a:gd name="connsiteX39" fmla="*/ 2561419 w 4501379"/>
                <a:gd name="connsiteY39" fmla="*/ 4391025 h 4429294"/>
                <a:gd name="connsiteX40" fmla="*/ 2107394 w 4501379"/>
                <a:gd name="connsiteY40" fmla="*/ 4429125 h 4429294"/>
                <a:gd name="connsiteX41" fmla="*/ 1916894 w 4501379"/>
                <a:gd name="connsiteY41" fmla="*/ 4400550 h 4429294"/>
                <a:gd name="connsiteX42" fmla="*/ 1554944 w 4501379"/>
                <a:gd name="connsiteY42" fmla="*/ 4305300 h 4429294"/>
                <a:gd name="connsiteX43" fmla="*/ 1313644 w 4501379"/>
                <a:gd name="connsiteY43" fmla="*/ 4216400 h 4429294"/>
                <a:gd name="connsiteX44" fmla="*/ 1145369 w 4501379"/>
                <a:gd name="connsiteY44" fmla="*/ 4111625 h 4429294"/>
                <a:gd name="connsiteX45" fmla="*/ 926294 w 4501379"/>
                <a:gd name="connsiteY45" fmla="*/ 3968750 h 4429294"/>
                <a:gd name="connsiteX46" fmla="*/ 592919 w 4501379"/>
                <a:gd name="connsiteY46" fmla="*/ 3657600 h 4429294"/>
                <a:gd name="connsiteX47" fmla="*/ 446869 w 4501379"/>
                <a:gd name="connsiteY47" fmla="*/ 3470275 h 4429294"/>
                <a:gd name="connsiteX48" fmla="*/ 316694 w 4501379"/>
                <a:gd name="connsiteY48" fmla="*/ 3244850 h 4429294"/>
                <a:gd name="connsiteX49" fmla="*/ 164294 w 4501379"/>
                <a:gd name="connsiteY49" fmla="*/ 2892425 h 4429294"/>
                <a:gd name="connsiteX50" fmla="*/ 56344 w 4501379"/>
                <a:gd name="connsiteY50" fmla="*/ 2368550 h 4429294"/>
                <a:gd name="connsiteX51" fmla="*/ 2369 w 4501379"/>
                <a:gd name="connsiteY51" fmla="*/ 1905000 h 4429294"/>
                <a:gd name="connsiteX52" fmla="*/ 11894 w 4501379"/>
                <a:gd name="connsiteY52" fmla="*/ 1838325 h 4429294"/>
                <a:gd name="connsiteX53" fmla="*/ 30944 w 4501379"/>
                <a:gd name="connsiteY53" fmla="*/ 1781175 h 4429294"/>
                <a:gd name="connsiteX54" fmla="*/ 40469 w 4501379"/>
                <a:gd name="connsiteY54" fmla="*/ 1743075 h 4429294"/>
                <a:gd name="connsiteX55" fmla="*/ 59519 w 4501379"/>
                <a:gd name="connsiteY55" fmla="*/ 1685925 h 4429294"/>
                <a:gd name="connsiteX56" fmla="*/ 69044 w 4501379"/>
                <a:gd name="connsiteY56" fmla="*/ 1638300 h 4429294"/>
                <a:gd name="connsiteX57" fmla="*/ 88094 w 4501379"/>
                <a:gd name="connsiteY57" fmla="*/ 1590675 h 4429294"/>
                <a:gd name="connsiteX58" fmla="*/ 116669 w 4501379"/>
                <a:gd name="connsiteY58" fmla="*/ 1504950 h 4429294"/>
                <a:gd name="connsiteX59" fmla="*/ 135719 w 4501379"/>
                <a:gd name="connsiteY59" fmla="*/ 1419225 h 4429294"/>
                <a:gd name="connsiteX60" fmla="*/ 211919 w 4501379"/>
                <a:gd name="connsiteY60" fmla="*/ 1276350 h 4429294"/>
                <a:gd name="connsiteX61" fmla="*/ 221444 w 4501379"/>
                <a:gd name="connsiteY61" fmla="*/ 1247775 h 4429294"/>
                <a:gd name="connsiteX62" fmla="*/ 250019 w 4501379"/>
                <a:gd name="connsiteY62" fmla="*/ 1200150 h 4429294"/>
                <a:gd name="connsiteX63" fmla="*/ 269069 w 4501379"/>
                <a:gd name="connsiteY63" fmla="*/ 1152525 h 4429294"/>
                <a:gd name="connsiteX64" fmla="*/ 297644 w 4501379"/>
                <a:gd name="connsiteY64" fmla="*/ 1114425 h 4429294"/>
                <a:gd name="connsiteX65" fmla="*/ 345269 w 4501379"/>
                <a:gd name="connsiteY65" fmla="*/ 1038225 h 4429294"/>
                <a:gd name="connsiteX66" fmla="*/ 364319 w 4501379"/>
                <a:gd name="connsiteY66" fmla="*/ 1009650 h 4429294"/>
                <a:gd name="connsiteX67" fmla="*/ 421469 w 4501379"/>
                <a:gd name="connsiteY67" fmla="*/ 904875 h 4429294"/>
                <a:gd name="connsiteX68" fmla="*/ 459569 w 4501379"/>
                <a:gd name="connsiteY68" fmla="*/ 857250 h 4429294"/>
                <a:gd name="connsiteX69" fmla="*/ 478619 w 4501379"/>
                <a:gd name="connsiteY69" fmla="*/ 828675 h 4429294"/>
                <a:gd name="connsiteX70" fmla="*/ 516719 w 4501379"/>
                <a:gd name="connsiteY70" fmla="*/ 800100 h 4429294"/>
                <a:gd name="connsiteX71" fmla="*/ 583394 w 4501379"/>
                <a:gd name="connsiteY71" fmla="*/ 733425 h 4429294"/>
                <a:gd name="connsiteX72" fmla="*/ 650069 w 4501379"/>
                <a:gd name="connsiteY72" fmla="*/ 676275 h 4429294"/>
                <a:gd name="connsiteX73" fmla="*/ 678644 w 4501379"/>
                <a:gd name="connsiteY73" fmla="*/ 657225 h 4429294"/>
                <a:gd name="connsiteX74" fmla="*/ 821519 w 4501379"/>
                <a:gd name="connsiteY74" fmla="*/ 533400 h 4429294"/>
                <a:gd name="connsiteX75" fmla="*/ 869144 w 4501379"/>
                <a:gd name="connsiteY75" fmla="*/ 504825 h 4429294"/>
                <a:gd name="connsiteX76" fmla="*/ 1148544 w 4501379"/>
                <a:gd name="connsiteY76" fmla="*/ 311150 h 4429294"/>
                <a:gd name="connsiteX77" fmla="*/ 1250144 w 4501379"/>
                <a:gd name="connsiteY77" fmla="*/ 285750 h 4429294"/>
                <a:gd name="connsiteX78" fmla="*/ 1393019 w 4501379"/>
                <a:gd name="connsiteY78" fmla="*/ 190500 h 4429294"/>
                <a:gd name="connsiteX79" fmla="*/ 1431119 w 4501379"/>
                <a:gd name="connsiteY79" fmla="*/ 161925 h 4429294"/>
                <a:gd name="connsiteX80" fmla="*/ 1507319 w 4501379"/>
                <a:gd name="connsiteY80" fmla="*/ 152400 h 4429294"/>
                <a:gd name="connsiteX81" fmla="*/ 1564469 w 4501379"/>
                <a:gd name="connsiteY81" fmla="*/ 142875 h 4429294"/>
                <a:gd name="connsiteX82" fmla="*/ 1697819 w 4501379"/>
                <a:gd name="connsiteY82" fmla="*/ 123825 h 4429294"/>
                <a:gd name="connsiteX83" fmla="*/ 1793069 w 4501379"/>
                <a:gd name="connsiteY83" fmla="*/ 114300 h 4429294"/>
                <a:gd name="connsiteX84" fmla="*/ 1840694 w 4501379"/>
                <a:gd name="connsiteY84" fmla="*/ 104775 h 4429294"/>
                <a:gd name="connsiteX85" fmla="*/ 1897844 w 4501379"/>
                <a:gd name="connsiteY85" fmla="*/ 95250 h 4429294"/>
                <a:gd name="connsiteX86" fmla="*/ 2012144 w 4501379"/>
                <a:gd name="connsiteY86" fmla="*/ 66675 h 4429294"/>
                <a:gd name="connsiteX87" fmla="*/ 2078819 w 4501379"/>
                <a:gd name="connsiteY87" fmla="*/ 47625 h 4429294"/>
                <a:gd name="connsiteX88" fmla="*/ 2145494 w 4501379"/>
                <a:gd name="connsiteY8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2993219 w 4501379"/>
                <a:gd name="connsiteY4" fmla="*/ 123825 h 4429294"/>
                <a:gd name="connsiteX5" fmla="*/ 3117044 w 4501379"/>
                <a:gd name="connsiteY5" fmla="*/ 171450 h 4429294"/>
                <a:gd name="connsiteX6" fmla="*/ 3155144 w 4501379"/>
                <a:gd name="connsiteY6" fmla="*/ 190500 h 4429294"/>
                <a:gd name="connsiteX7" fmla="*/ 3221819 w 4501379"/>
                <a:gd name="connsiteY7" fmla="*/ 228600 h 4429294"/>
                <a:gd name="connsiteX8" fmla="*/ 3250394 w 4501379"/>
                <a:gd name="connsiteY8" fmla="*/ 238125 h 4429294"/>
                <a:gd name="connsiteX9" fmla="*/ 3278969 w 4501379"/>
                <a:gd name="connsiteY9" fmla="*/ 257175 h 4429294"/>
                <a:gd name="connsiteX10" fmla="*/ 3307544 w 4501379"/>
                <a:gd name="connsiteY10" fmla="*/ 266700 h 4429294"/>
                <a:gd name="connsiteX11" fmla="*/ 3336119 w 4501379"/>
                <a:gd name="connsiteY11" fmla="*/ 285750 h 4429294"/>
                <a:gd name="connsiteX12" fmla="*/ 3402794 w 4501379"/>
                <a:gd name="connsiteY12" fmla="*/ 323850 h 4429294"/>
                <a:gd name="connsiteX13" fmla="*/ 3450419 w 4501379"/>
                <a:gd name="connsiteY13" fmla="*/ 361950 h 4429294"/>
                <a:gd name="connsiteX14" fmla="*/ 3498044 w 4501379"/>
                <a:gd name="connsiteY14" fmla="*/ 390525 h 4429294"/>
                <a:gd name="connsiteX15" fmla="*/ 3612344 w 4501379"/>
                <a:gd name="connsiteY15" fmla="*/ 485775 h 4429294"/>
                <a:gd name="connsiteX16" fmla="*/ 3726644 w 4501379"/>
                <a:gd name="connsiteY16" fmla="*/ 542925 h 4429294"/>
                <a:gd name="connsiteX17" fmla="*/ 3793319 w 4501379"/>
                <a:gd name="connsiteY17" fmla="*/ 581025 h 4429294"/>
                <a:gd name="connsiteX18" fmla="*/ 4009219 w 4501379"/>
                <a:gd name="connsiteY18" fmla="*/ 819150 h 4429294"/>
                <a:gd name="connsiteX19" fmla="*/ 4145744 w 4501379"/>
                <a:gd name="connsiteY19" fmla="*/ 990600 h 4429294"/>
                <a:gd name="connsiteX20" fmla="*/ 4231469 w 4501379"/>
                <a:gd name="connsiteY20" fmla="*/ 1143000 h 4429294"/>
                <a:gd name="connsiteX21" fmla="*/ 4288619 w 4501379"/>
                <a:gd name="connsiteY21" fmla="*/ 1266825 h 4429294"/>
                <a:gd name="connsiteX22" fmla="*/ 4326719 w 4501379"/>
                <a:gd name="connsiteY22" fmla="*/ 1362075 h 4429294"/>
                <a:gd name="connsiteX23" fmla="*/ 4374344 w 4501379"/>
                <a:gd name="connsiteY23" fmla="*/ 1552575 h 4429294"/>
                <a:gd name="connsiteX24" fmla="*/ 4412444 w 4501379"/>
                <a:gd name="connsiteY24" fmla="*/ 1685925 h 4429294"/>
                <a:gd name="connsiteX25" fmla="*/ 4501344 w 4501379"/>
                <a:gd name="connsiteY25" fmla="*/ 2181225 h 4429294"/>
                <a:gd name="connsiteX26" fmla="*/ 4428319 w 4501379"/>
                <a:gd name="connsiteY26" fmla="*/ 2768600 h 4429294"/>
                <a:gd name="connsiteX27" fmla="*/ 4364819 w 4501379"/>
                <a:gd name="connsiteY27" fmla="*/ 2990850 h 4429294"/>
                <a:gd name="connsiteX28" fmla="*/ 4260044 w 4501379"/>
                <a:gd name="connsiteY28" fmla="*/ 3248025 h 4429294"/>
                <a:gd name="connsiteX29" fmla="*/ 4164794 w 4501379"/>
                <a:gd name="connsiteY29" fmla="*/ 3400425 h 4429294"/>
                <a:gd name="connsiteX30" fmla="*/ 4040969 w 4501379"/>
                <a:gd name="connsiteY30" fmla="*/ 3533775 h 4429294"/>
                <a:gd name="connsiteX31" fmla="*/ 3936194 w 4501379"/>
                <a:gd name="connsiteY31" fmla="*/ 3648075 h 4429294"/>
                <a:gd name="connsiteX32" fmla="*/ 3640919 w 4501379"/>
                <a:gd name="connsiteY32" fmla="*/ 3971925 h 4429294"/>
                <a:gd name="connsiteX33" fmla="*/ 3498044 w 4501379"/>
                <a:gd name="connsiteY33" fmla="*/ 4083050 h 4429294"/>
                <a:gd name="connsiteX34" fmla="*/ 3202769 w 4501379"/>
                <a:gd name="connsiteY34" fmla="*/ 4222750 h 4429294"/>
                <a:gd name="connsiteX35" fmla="*/ 3050369 w 4501379"/>
                <a:gd name="connsiteY35" fmla="*/ 4286250 h 4429294"/>
                <a:gd name="connsiteX36" fmla="*/ 2917019 w 4501379"/>
                <a:gd name="connsiteY36" fmla="*/ 4333875 h 4429294"/>
                <a:gd name="connsiteX37" fmla="*/ 2793194 w 4501379"/>
                <a:gd name="connsiteY37" fmla="*/ 4371975 h 4429294"/>
                <a:gd name="connsiteX38" fmla="*/ 2561419 w 4501379"/>
                <a:gd name="connsiteY38" fmla="*/ 4391025 h 4429294"/>
                <a:gd name="connsiteX39" fmla="*/ 2107394 w 4501379"/>
                <a:gd name="connsiteY39" fmla="*/ 4429125 h 4429294"/>
                <a:gd name="connsiteX40" fmla="*/ 1916894 w 4501379"/>
                <a:gd name="connsiteY40" fmla="*/ 4400550 h 4429294"/>
                <a:gd name="connsiteX41" fmla="*/ 1554944 w 4501379"/>
                <a:gd name="connsiteY41" fmla="*/ 4305300 h 4429294"/>
                <a:gd name="connsiteX42" fmla="*/ 1313644 w 4501379"/>
                <a:gd name="connsiteY42" fmla="*/ 4216400 h 4429294"/>
                <a:gd name="connsiteX43" fmla="*/ 1145369 w 4501379"/>
                <a:gd name="connsiteY43" fmla="*/ 4111625 h 4429294"/>
                <a:gd name="connsiteX44" fmla="*/ 926294 w 4501379"/>
                <a:gd name="connsiteY44" fmla="*/ 3968750 h 4429294"/>
                <a:gd name="connsiteX45" fmla="*/ 592919 w 4501379"/>
                <a:gd name="connsiteY45" fmla="*/ 3657600 h 4429294"/>
                <a:gd name="connsiteX46" fmla="*/ 446869 w 4501379"/>
                <a:gd name="connsiteY46" fmla="*/ 3470275 h 4429294"/>
                <a:gd name="connsiteX47" fmla="*/ 316694 w 4501379"/>
                <a:gd name="connsiteY47" fmla="*/ 3244850 h 4429294"/>
                <a:gd name="connsiteX48" fmla="*/ 164294 w 4501379"/>
                <a:gd name="connsiteY48" fmla="*/ 2892425 h 4429294"/>
                <a:gd name="connsiteX49" fmla="*/ 56344 w 4501379"/>
                <a:gd name="connsiteY49" fmla="*/ 2368550 h 4429294"/>
                <a:gd name="connsiteX50" fmla="*/ 2369 w 4501379"/>
                <a:gd name="connsiteY50" fmla="*/ 1905000 h 4429294"/>
                <a:gd name="connsiteX51" fmla="*/ 11894 w 4501379"/>
                <a:gd name="connsiteY51" fmla="*/ 1838325 h 4429294"/>
                <a:gd name="connsiteX52" fmla="*/ 30944 w 4501379"/>
                <a:gd name="connsiteY52" fmla="*/ 1781175 h 4429294"/>
                <a:gd name="connsiteX53" fmla="*/ 40469 w 4501379"/>
                <a:gd name="connsiteY53" fmla="*/ 1743075 h 4429294"/>
                <a:gd name="connsiteX54" fmla="*/ 59519 w 4501379"/>
                <a:gd name="connsiteY54" fmla="*/ 1685925 h 4429294"/>
                <a:gd name="connsiteX55" fmla="*/ 69044 w 4501379"/>
                <a:gd name="connsiteY55" fmla="*/ 1638300 h 4429294"/>
                <a:gd name="connsiteX56" fmla="*/ 88094 w 4501379"/>
                <a:gd name="connsiteY56" fmla="*/ 1590675 h 4429294"/>
                <a:gd name="connsiteX57" fmla="*/ 116669 w 4501379"/>
                <a:gd name="connsiteY57" fmla="*/ 1504950 h 4429294"/>
                <a:gd name="connsiteX58" fmla="*/ 135719 w 4501379"/>
                <a:gd name="connsiteY58" fmla="*/ 1419225 h 4429294"/>
                <a:gd name="connsiteX59" fmla="*/ 211919 w 4501379"/>
                <a:gd name="connsiteY59" fmla="*/ 1276350 h 4429294"/>
                <a:gd name="connsiteX60" fmla="*/ 221444 w 4501379"/>
                <a:gd name="connsiteY60" fmla="*/ 1247775 h 4429294"/>
                <a:gd name="connsiteX61" fmla="*/ 250019 w 4501379"/>
                <a:gd name="connsiteY61" fmla="*/ 1200150 h 4429294"/>
                <a:gd name="connsiteX62" fmla="*/ 269069 w 4501379"/>
                <a:gd name="connsiteY62" fmla="*/ 1152525 h 4429294"/>
                <a:gd name="connsiteX63" fmla="*/ 297644 w 4501379"/>
                <a:gd name="connsiteY63" fmla="*/ 1114425 h 4429294"/>
                <a:gd name="connsiteX64" fmla="*/ 345269 w 4501379"/>
                <a:gd name="connsiteY64" fmla="*/ 1038225 h 4429294"/>
                <a:gd name="connsiteX65" fmla="*/ 364319 w 4501379"/>
                <a:gd name="connsiteY65" fmla="*/ 1009650 h 4429294"/>
                <a:gd name="connsiteX66" fmla="*/ 421469 w 4501379"/>
                <a:gd name="connsiteY66" fmla="*/ 904875 h 4429294"/>
                <a:gd name="connsiteX67" fmla="*/ 459569 w 4501379"/>
                <a:gd name="connsiteY67" fmla="*/ 857250 h 4429294"/>
                <a:gd name="connsiteX68" fmla="*/ 478619 w 4501379"/>
                <a:gd name="connsiteY68" fmla="*/ 828675 h 4429294"/>
                <a:gd name="connsiteX69" fmla="*/ 516719 w 4501379"/>
                <a:gd name="connsiteY69" fmla="*/ 800100 h 4429294"/>
                <a:gd name="connsiteX70" fmla="*/ 583394 w 4501379"/>
                <a:gd name="connsiteY70" fmla="*/ 733425 h 4429294"/>
                <a:gd name="connsiteX71" fmla="*/ 650069 w 4501379"/>
                <a:gd name="connsiteY71" fmla="*/ 676275 h 4429294"/>
                <a:gd name="connsiteX72" fmla="*/ 678644 w 4501379"/>
                <a:gd name="connsiteY72" fmla="*/ 657225 h 4429294"/>
                <a:gd name="connsiteX73" fmla="*/ 821519 w 4501379"/>
                <a:gd name="connsiteY73" fmla="*/ 533400 h 4429294"/>
                <a:gd name="connsiteX74" fmla="*/ 869144 w 4501379"/>
                <a:gd name="connsiteY74" fmla="*/ 504825 h 4429294"/>
                <a:gd name="connsiteX75" fmla="*/ 1148544 w 4501379"/>
                <a:gd name="connsiteY75" fmla="*/ 311150 h 4429294"/>
                <a:gd name="connsiteX76" fmla="*/ 1250144 w 4501379"/>
                <a:gd name="connsiteY76" fmla="*/ 285750 h 4429294"/>
                <a:gd name="connsiteX77" fmla="*/ 1393019 w 4501379"/>
                <a:gd name="connsiteY77" fmla="*/ 190500 h 4429294"/>
                <a:gd name="connsiteX78" fmla="*/ 1431119 w 4501379"/>
                <a:gd name="connsiteY78" fmla="*/ 161925 h 4429294"/>
                <a:gd name="connsiteX79" fmla="*/ 1507319 w 4501379"/>
                <a:gd name="connsiteY79" fmla="*/ 152400 h 4429294"/>
                <a:gd name="connsiteX80" fmla="*/ 1564469 w 4501379"/>
                <a:gd name="connsiteY80" fmla="*/ 142875 h 4429294"/>
                <a:gd name="connsiteX81" fmla="*/ 1697819 w 4501379"/>
                <a:gd name="connsiteY81" fmla="*/ 123825 h 4429294"/>
                <a:gd name="connsiteX82" fmla="*/ 1793069 w 4501379"/>
                <a:gd name="connsiteY82" fmla="*/ 114300 h 4429294"/>
                <a:gd name="connsiteX83" fmla="*/ 1840694 w 4501379"/>
                <a:gd name="connsiteY83" fmla="*/ 104775 h 4429294"/>
                <a:gd name="connsiteX84" fmla="*/ 1897844 w 4501379"/>
                <a:gd name="connsiteY84" fmla="*/ 95250 h 4429294"/>
                <a:gd name="connsiteX85" fmla="*/ 2012144 w 4501379"/>
                <a:gd name="connsiteY85" fmla="*/ 66675 h 4429294"/>
                <a:gd name="connsiteX86" fmla="*/ 2078819 w 4501379"/>
                <a:gd name="connsiteY86" fmla="*/ 47625 h 4429294"/>
                <a:gd name="connsiteX87" fmla="*/ 2145494 w 4501379"/>
                <a:gd name="connsiteY8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2955119 w 4501379"/>
                <a:gd name="connsiteY3" fmla="*/ 114300 h 4429294"/>
                <a:gd name="connsiteX4" fmla="*/ 3117044 w 4501379"/>
                <a:gd name="connsiteY4" fmla="*/ 171450 h 4429294"/>
                <a:gd name="connsiteX5" fmla="*/ 3155144 w 4501379"/>
                <a:gd name="connsiteY5" fmla="*/ 190500 h 4429294"/>
                <a:gd name="connsiteX6" fmla="*/ 3221819 w 4501379"/>
                <a:gd name="connsiteY6" fmla="*/ 228600 h 4429294"/>
                <a:gd name="connsiteX7" fmla="*/ 3250394 w 4501379"/>
                <a:gd name="connsiteY7" fmla="*/ 238125 h 4429294"/>
                <a:gd name="connsiteX8" fmla="*/ 3278969 w 4501379"/>
                <a:gd name="connsiteY8" fmla="*/ 257175 h 4429294"/>
                <a:gd name="connsiteX9" fmla="*/ 3307544 w 4501379"/>
                <a:gd name="connsiteY9" fmla="*/ 266700 h 4429294"/>
                <a:gd name="connsiteX10" fmla="*/ 3336119 w 4501379"/>
                <a:gd name="connsiteY10" fmla="*/ 285750 h 4429294"/>
                <a:gd name="connsiteX11" fmla="*/ 3402794 w 4501379"/>
                <a:gd name="connsiteY11" fmla="*/ 323850 h 4429294"/>
                <a:gd name="connsiteX12" fmla="*/ 3450419 w 4501379"/>
                <a:gd name="connsiteY12" fmla="*/ 361950 h 4429294"/>
                <a:gd name="connsiteX13" fmla="*/ 3498044 w 4501379"/>
                <a:gd name="connsiteY13" fmla="*/ 390525 h 4429294"/>
                <a:gd name="connsiteX14" fmla="*/ 3612344 w 4501379"/>
                <a:gd name="connsiteY14" fmla="*/ 485775 h 4429294"/>
                <a:gd name="connsiteX15" fmla="*/ 3726644 w 4501379"/>
                <a:gd name="connsiteY15" fmla="*/ 542925 h 4429294"/>
                <a:gd name="connsiteX16" fmla="*/ 3793319 w 4501379"/>
                <a:gd name="connsiteY16" fmla="*/ 581025 h 4429294"/>
                <a:gd name="connsiteX17" fmla="*/ 4009219 w 4501379"/>
                <a:gd name="connsiteY17" fmla="*/ 819150 h 4429294"/>
                <a:gd name="connsiteX18" fmla="*/ 4145744 w 4501379"/>
                <a:gd name="connsiteY18" fmla="*/ 990600 h 4429294"/>
                <a:gd name="connsiteX19" fmla="*/ 4231469 w 4501379"/>
                <a:gd name="connsiteY19" fmla="*/ 1143000 h 4429294"/>
                <a:gd name="connsiteX20" fmla="*/ 4288619 w 4501379"/>
                <a:gd name="connsiteY20" fmla="*/ 1266825 h 4429294"/>
                <a:gd name="connsiteX21" fmla="*/ 4326719 w 4501379"/>
                <a:gd name="connsiteY21" fmla="*/ 1362075 h 4429294"/>
                <a:gd name="connsiteX22" fmla="*/ 4374344 w 4501379"/>
                <a:gd name="connsiteY22" fmla="*/ 1552575 h 4429294"/>
                <a:gd name="connsiteX23" fmla="*/ 4412444 w 4501379"/>
                <a:gd name="connsiteY23" fmla="*/ 1685925 h 4429294"/>
                <a:gd name="connsiteX24" fmla="*/ 4501344 w 4501379"/>
                <a:gd name="connsiteY24" fmla="*/ 2181225 h 4429294"/>
                <a:gd name="connsiteX25" fmla="*/ 4428319 w 4501379"/>
                <a:gd name="connsiteY25" fmla="*/ 2768600 h 4429294"/>
                <a:gd name="connsiteX26" fmla="*/ 4364819 w 4501379"/>
                <a:gd name="connsiteY26" fmla="*/ 2990850 h 4429294"/>
                <a:gd name="connsiteX27" fmla="*/ 4260044 w 4501379"/>
                <a:gd name="connsiteY27" fmla="*/ 3248025 h 4429294"/>
                <a:gd name="connsiteX28" fmla="*/ 4164794 w 4501379"/>
                <a:gd name="connsiteY28" fmla="*/ 3400425 h 4429294"/>
                <a:gd name="connsiteX29" fmla="*/ 4040969 w 4501379"/>
                <a:gd name="connsiteY29" fmla="*/ 3533775 h 4429294"/>
                <a:gd name="connsiteX30" fmla="*/ 3936194 w 4501379"/>
                <a:gd name="connsiteY30" fmla="*/ 3648075 h 4429294"/>
                <a:gd name="connsiteX31" fmla="*/ 3640919 w 4501379"/>
                <a:gd name="connsiteY31" fmla="*/ 3971925 h 4429294"/>
                <a:gd name="connsiteX32" fmla="*/ 3498044 w 4501379"/>
                <a:gd name="connsiteY32" fmla="*/ 4083050 h 4429294"/>
                <a:gd name="connsiteX33" fmla="*/ 3202769 w 4501379"/>
                <a:gd name="connsiteY33" fmla="*/ 4222750 h 4429294"/>
                <a:gd name="connsiteX34" fmla="*/ 3050369 w 4501379"/>
                <a:gd name="connsiteY34" fmla="*/ 4286250 h 4429294"/>
                <a:gd name="connsiteX35" fmla="*/ 2917019 w 4501379"/>
                <a:gd name="connsiteY35" fmla="*/ 4333875 h 4429294"/>
                <a:gd name="connsiteX36" fmla="*/ 2793194 w 4501379"/>
                <a:gd name="connsiteY36" fmla="*/ 4371975 h 4429294"/>
                <a:gd name="connsiteX37" fmla="*/ 2561419 w 4501379"/>
                <a:gd name="connsiteY37" fmla="*/ 4391025 h 4429294"/>
                <a:gd name="connsiteX38" fmla="*/ 2107394 w 4501379"/>
                <a:gd name="connsiteY38" fmla="*/ 4429125 h 4429294"/>
                <a:gd name="connsiteX39" fmla="*/ 1916894 w 4501379"/>
                <a:gd name="connsiteY39" fmla="*/ 4400550 h 4429294"/>
                <a:gd name="connsiteX40" fmla="*/ 1554944 w 4501379"/>
                <a:gd name="connsiteY40" fmla="*/ 4305300 h 4429294"/>
                <a:gd name="connsiteX41" fmla="*/ 1313644 w 4501379"/>
                <a:gd name="connsiteY41" fmla="*/ 4216400 h 4429294"/>
                <a:gd name="connsiteX42" fmla="*/ 1145369 w 4501379"/>
                <a:gd name="connsiteY42" fmla="*/ 4111625 h 4429294"/>
                <a:gd name="connsiteX43" fmla="*/ 926294 w 4501379"/>
                <a:gd name="connsiteY43" fmla="*/ 3968750 h 4429294"/>
                <a:gd name="connsiteX44" fmla="*/ 592919 w 4501379"/>
                <a:gd name="connsiteY44" fmla="*/ 3657600 h 4429294"/>
                <a:gd name="connsiteX45" fmla="*/ 446869 w 4501379"/>
                <a:gd name="connsiteY45" fmla="*/ 3470275 h 4429294"/>
                <a:gd name="connsiteX46" fmla="*/ 316694 w 4501379"/>
                <a:gd name="connsiteY46" fmla="*/ 3244850 h 4429294"/>
                <a:gd name="connsiteX47" fmla="*/ 164294 w 4501379"/>
                <a:gd name="connsiteY47" fmla="*/ 2892425 h 4429294"/>
                <a:gd name="connsiteX48" fmla="*/ 56344 w 4501379"/>
                <a:gd name="connsiteY48" fmla="*/ 2368550 h 4429294"/>
                <a:gd name="connsiteX49" fmla="*/ 2369 w 4501379"/>
                <a:gd name="connsiteY49" fmla="*/ 1905000 h 4429294"/>
                <a:gd name="connsiteX50" fmla="*/ 11894 w 4501379"/>
                <a:gd name="connsiteY50" fmla="*/ 1838325 h 4429294"/>
                <a:gd name="connsiteX51" fmla="*/ 30944 w 4501379"/>
                <a:gd name="connsiteY51" fmla="*/ 1781175 h 4429294"/>
                <a:gd name="connsiteX52" fmla="*/ 40469 w 4501379"/>
                <a:gd name="connsiteY52" fmla="*/ 1743075 h 4429294"/>
                <a:gd name="connsiteX53" fmla="*/ 59519 w 4501379"/>
                <a:gd name="connsiteY53" fmla="*/ 1685925 h 4429294"/>
                <a:gd name="connsiteX54" fmla="*/ 69044 w 4501379"/>
                <a:gd name="connsiteY54" fmla="*/ 1638300 h 4429294"/>
                <a:gd name="connsiteX55" fmla="*/ 88094 w 4501379"/>
                <a:gd name="connsiteY55" fmla="*/ 1590675 h 4429294"/>
                <a:gd name="connsiteX56" fmla="*/ 116669 w 4501379"/>
                <a:gd name="connsiteY56" fmla="*/ 1504950 h 4429294"/>
                <a:gd name="connsiteX57" fmla="*/ 135719 w 4501379"/>
                <a:gd name="connsiteY57" fmla="*/ 1419225 h 4429294"/>
                <a:gd name="connsiteX58" fmla="*/ 211919 w 4501379"/>
                <a:gd name="connsiteY58" fmla="*/ 1276350 h 4429294"/>
                <a:gd name="connsiteX59" fmla="*/ 221444 w 4501379"/>
                <a:gd name="connsiteY59" fmla="*/ 1247775 h 4429294"/>
                <a:gd name="connsiteX60" fmla="*/ 250019 w 4501379"/>
                <a:gd name="connsiteY60" fmla="*/ 1200150 h 4429294"/>
                <a:gd name="connsiteX61" fmla="*/ 269069 w 4501379"/>
                <a:gd name="connsiteY61" fmla="*/ 1152525 h 4429294"/>
                <a:gd name="connsiteX62" fmla="*/ 297644 w 4501379"/>
                <a:gd name="connsiteY62" fmla="*/ 1114425 h 4429294"/>
                <a:gd name="connsiteX63" fmla="*/ 345269 w 4501379"/>
                <a:gd name="connsiteY63" fmla="*/ 1038225 h 4429294"/>
                <a:gd name="connsiteX64" fmla="*/ 364319 w 4501379"/>
                <a:gd name="connsiteY64" fmla="*/ 1009650 h 4429294"/>
                <a:gd name="connsiteX65" fmla="*/ 421469 w 4501379"/>
                <a:gd name="connsiteY65" fmla="*/ 904875 h 4429294"/>
                <a:gd name="connsiteX66" fmla="*/ 459569 w 4501379"/>
                <a:gd name="connsiteY66" fmla="*/ 857250 h 4429294"/>
                <a:gd name="connsiteX67" fmla="*/ 478619 w 4501379"/>
                <a:gd name="connsiteY67" fmla="*/ 828675 h 4429294"/>
                <a:gd name="connsiteX68" fmla="*/ 516719 w 4501379"/>
                <a:gd name="connsiteY68" fmla="*/ 800100 h 4429294"/>
                <a:gd name="connsiteX69" fmla="*/ 583394 w 4501379"/>
                <a:gd name="connsiteY69" fmla="*/ 733425 h 4429294"/>
                <a:gd name="connsiteX70" fmla="*/ 650069 w 4501379"/>
                <a:gd name="connsiteY70" fmla="*/ 676275 h 4429294"/>
                <a:gd name="connsiteX71" fmla="*/ 678644 w 4501379"/>
                <a:gd name="connsiteY71" fmla="*/ 657225 h 4429294"/>
                <a:gd name="connsiteX72" fmla="*/ 821519 w 4501379"/>
                <a:gd name="connsiteY72" fmla="*/ 533400 h 4429294"/>
                <a:gd name="connsiteX73" fmla="*/ 869144 w 4501379"/>
                <a:gd name="connsiteY73" fmla="*/ 504825 h 4429294"/>
                <a:gd name="connsiteX74" fmla="*/ 1148544 w 4501379"/>
                <a:gd name="connsiteY74" fmla="*/ 311150 h 4429294"/>
                <a:gd name="connsiteX75" fmla="*/ 1250144 w 4501379"/>
                <a:gd name="connsiteY75" fmla="*/ 285750 h 4429294"/>
                <a:gd name="connsiteX76" fmla="*/ 1393019 w 4501379"/>
                <a:gd name="connsiteY76" fmla="*/ 190500 h 4429294"/>
                <a:gd name="connsiteX77" fmla="*/ 1431119 w 4501379"/>
                <a:gd name="connsiteY77" fmla="*/ 161925 h 4429294"/>
                <a:gd name="connsiteX78" fmla="*/ 1507319 w 4501379"/>
                <a:gd name="connsiteY78" fmla="*/ 152400 h 4429294"/>
                <a:gd name="connsiteX79" fmla="*/ 1564469 w 4501379"/>
                <a:gd name="connsiteY79" fmla="*/ 142875 h 4429294"/>
                <a:gd name="connsiteX80" fmla="*/ 1697819 w 4501379"/>
                <a:gd name="connsiteY80" fmla="*/ 123825 h 4429294"/>
                <a:gd name="connsiteX81" fmla="*/ 1793069 w 4501379"/>
                <a:gd name="connsiteY81" fmla="*/ 114300 h 4429294"/>
                <a:gd name="connsiteX82" fmla="*/ 1840694 w 4501379"/>
                <a:gd name="connsiteY82" fmla="*/ 104775 h 4429294"/>
                <a:gd name="connsiteX83" fmla="*/ 1897844 w 4501379"/>
                <a:gd name="connsiteY83" fmla="*/ 95250 h 4429294"/>
                <a:gd name="connsiteX84" fmla="*/ 2012144 w 4501379"/>
                <a:gd name="connsiteY84" fmla="*/ 66675 h 4429294"/>
                <a:gd name="connsiteX85" fmla="*/ 2078819 w 4501379"/>
                <a:gd name="connsiteY85" fmla="*/ 47625 h 4429294"/>
                <a:gd name="connsiteX86" fmla="*/ 2145494 w 4501379"/>
                <a:gd name="connsiteY8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155144 w 4501379"/>
                <a:gd name="connsiteY4" fmla="*/ 190500 h 4429294"/>
                <a:gd name="connsiteX5" fmla="*/ 3221819 w 4501379"/>
                <a:gd name="connsiteY5" fmla="*/ 228600 h 4429294"/>
                <a:gd name="connsiteX6" fmla="*/ 3250394 w 4501379"/>
                <a:gd name="connsiteY6" fmla="*/ 238125 h 4429294"/>
                <a:gd name="connsiteX7" fmla="*/ 3278969 w 4501379"/>
                <a:gd name="connsiteY7" fmla="*/ 257175 h 4429294"/>
                <a:gd name="connsiteX8" fmla="*/ 3307544 w 4501379"/>
                <a:gd name="connsiteY8" fmla="*/ 266700 h 4429294"/>
                <a:gd name="connsiteX9" fmla="*/ 3336119 w 4501379"/>
                <a:gd name="connsiteY9" fmla="*/ 285750 h 4429294"/>
                <a:gd name="connsiteX10" fmla="*/ 3402794 w 4501379"/>
                <a:gd name="connsiteY10" fmla="*/ 323850 h 4429294"/>
                <a:gd name="connsiteX11" fmla="*/ 3450419 w 4501379"/>
                <a:gd name="connsiteY11" fmla="*/ 361950 h 4429294"/>
                <a:gd name="connsiteX12" fmla="*/ 3498044 w 4501379"/>
                <a:gd name="connsiteY12" fmla="*/ 390525 h 4429294"/>
                <a:gd name="connsiteX13" fmla="*/ 3612344 w 4501379"/>
                <a:gd name="connsiteY13" fmla="*/ 485775 h 4429294"/>
                <a:gd name="connsiteX14" fmla="*/ 3726644 w 4501379"/>
                <a:gd name="connsiteY14" fmla="*/ 542925 h 4429294"/>
                <a:gd name="connsiteX15" fmla="*/ 3793319 w 4501379"/>
                <a:gd name="connsiteY15" fmla="*/ 581025 h 4429294"/>
                <a:gd name="connsiteX16" fmla="*/ 4009219 w 4501379"/>
                <a:gd name="connsiteY16" fmla="*/ 819150 h 4429294"/>
                <a:gd name="connsiteX17" fmla="*/ 4145744 w 4501379"/>
                <a:gd name="connsiteY17" fmla="*/ 990600 h 4429294"/>
                <a:gd name="connsiteX18" fmla="*/ 4231469 w 4501379"/>
                <a:gd name="connsiteY18" fmla="*/ 1143000 h 4429294"/>
                <a:gd name="connsiteX19" fmla="*/ 4288619 w 4501379"/>
                <a:gd name="connsiteY19" fmla="*/ 1266825 h 4429294"/>
                <a:gd name="connsiteX20" fmla="*/ 4326719 w 4501379"/>
                <a:gd name="connsiteY20" fmla="*/ 1362075 h 4429294"/>
                <a:gd name="connsiteX21" fmla="*/ 4374344 w 4501379"/>
                <a:gd name="connsiteY21" fmla="*/ 1552575 h 4429294"/>
                <a:gd name="connsiteX22" fmla="*/ 4412444 w 4501379"/>
                <a:gd name="connsiteY22" fmla="*/ 1685925 h 4429294"/>
                <a:gd name="connsiteX23" fmla="*/ 4501344 w 4501379"/>
                <a:gd name="connsiteY23" fmla="*/ 2181225 h 4429294"/>
                <a:gd name="connsiteX24" fmla="*/ 4428319 w 4501379"/>
                <a:gd name="connsiteY24" fmla="*/ 2768600 h 4429294"/>
                <a:gd name="connsiteX25" fmla="*/ 4364819 w 4501379"/>
                <a:gd name="connsiteY25" fmla="*/ 2990850 h 4429294"/>
                <a:gd name="connsiteX26" fmla="*/ 4260044 w 4501379"/>
                <a:gd name="connsiteY26" fmla="*/ 3248025 h 4429294"/>
                <a:gd name="connsiteX27" fmla="*/ 4164794 w 4501379"/>
                <a:gd name="connsiteY27" fmla="*/ 3400425 h 4429294"/>
                <a:gd name="connsiteX28" fmla="*/ 4040969 w 4501379"/>
                <a:gd name="connsiteY28" fmla="*/ 3533775 h 4429294"/>
                <a:gd name="connsiteX29" fmla="*/ 3936194 w 4501379"/>
                <a:gd name="connsiteY29" fmla="*/ 3648075 h 4429294"/>
                <a:gd name="connsiteX30" fmla="*/ 3640919 w 4501379"/>
                <a:gd name="connsiteY30" fmla="*/ 3971925 h 4429294"/>
                <a:gd name="connsiteX31" fmla="*/ 3498044 w 4501379"/>
                <a:gd name="connsiteY31" fmla="*/ 4083050 h 4429294"/>
                <a:gd name="connsiteX32" fmla="*/ 3202769 w 4501379"/>
                <a:gd name="connsiteY32" fmla="*/ 4222750 h 4429294"/>
                <a:gd name="connsiteX33" fmla="*/ 3050369 w 4501379"/>
                <a:gd name="connsiteY33" fmla="*/ 4286250 h 4429294"/>
                <a:gd name="connsiteX34" fmla="*/ 2917019 w 4501379"/>
                <a:gd name="connsiteY34" fmla="*/ 4333875 h 4429294"/>
                <a:gd name="connsiteX35" fmla="*/ 2793194 w 4501379"/>
                <a:gd name="connsiteY35" fmla="*/ 4371975 h 4429294"/>
                <a:gd name="connsiteX36" fmla="*/ 2561419 w 4501379"/>
                <a:gd name="connsiteY36" fmla="*/ 4391025 h 4429294"/>
                <a:gd name="connsiteX37" fmla="*/ 2107394 w 4501379"/>
                <a:gd name="connsiteY37" fmla="*/ 4429125 h 4429294"/>
                <a:gd name="connsiteX38" fmla="*/ 1916894 w 4501379"/>
                <a:gd name="connsiteY38" fmla="*/ 4400550 h 4429294"/>
                <a:gd name="connsiteX39" fmla="*/ 1554944 w 4501379"/>
                <a:gd name="connsiteY39" fmla="*/ 4305300 h 4429294"/>
                <a:gd name="connsiteX40" fmla="*/ 1313644 w 4501379"/>
                <a:gd name="connsiteY40" fmla="*/ 4216400 h 4429294"/>
                <a:gd name="connsiteX41" fmla="*/ 1145369 w 4501379"/>
                <a:gd name="connsiteY41" fmla="*/ 4111625 h 4429294"/>
                <a:gd name="connsiteX42" fmla="*/ 926294 w 4501379"/>
                <a:gd name="connsiteY42" fmla="*/ 3968750 h 4429294"/>
                <a:gd name="connsiteX43" fmla="*/ 592919 w 4501379"/>
                <a:gd name="connsiteY43" fmla="*/ 3657600 h 4429294"/>
                <a:gd name="connsiteX44" fmla="*/ 446869 w 4501379"/>
                <a:gd name="connsiteY44" fmla="*/ 3470275 h 4429294"/>
                <a:gd name="connsiteX45" fmla="*/ 316694 w 4501379"/>
                <a:gd name="connsiteY45" fmla="*/ 3244850 h 4429294"/>
                <a:gd name="connsiteX46" fmla="*/ 164294 w 4501379"/>
                <a:gd name="connsiteY46" fmla="*/ 2892425 h 4429294"/>
                <a:gd name="connsiteX47" fmla="*/ 56344 w 4501379"/>
                <a:gd name="connsiteY47" fmla="*/ 2368550 h 4429294"/>
                <a:gd name="connsiteX48" fmla="*/ 2369 w 4501379"/>
                <a:gd name="connsiteY48" fmla="*/ 1905000 h 4429294"/>
                <a:gd name="connsiteX49" fmla="*/ 11894 w 4501379"/>
                <a:gd name="connsiteY49" fmla="*/ 1838325 h 4429294"/>
                <a:gd name="connsiteX50" fmla="*/ 30944 w 4501379"/>
                <a:gd name="connsiteY50" fmla="*/ 1781175 h 4429294"/>
                <a:gd name="connsiteX51" fmla="*/ 40469 w 4501379"/>
                <a:gd name="connsiteY51" fmla="*/ 1743075 h 4429294"/>
                <a:gd name="connsiteX52" fmla="*/ 59519 w 4501379"/>
                <a:gd name="connsiteY52" fmla="*/ 1685925 h 4429294"/>
                <a:gd name="connsiteX53" fmla="*/ 69044 w 4501379"/>
                <a:gd name="connsiteY53" fmla="*/ 1638300 h 4429294"/>
                <a:gd name="connsiteX54" fmla="*/ 88094 w 4501379"/>
                <a:gd name="connsiteY54" fmla="*/ 1590675 h 4429294"/>
                <a:gd name="connsiteX55" fmla="*/ 116669 w 4501379"/>
                <a:gd name="connsiteY55" fmla="*/ 1504950 h 4429294"/>
                <a:gd name="connsiteX56" fmla="*/ 135719 w 4501379"/>
                <a:gd name="connsiteY56" fmla="*/ 1419225 h 4429294"/>
                <a:gd name="connsiteX57" fmla="*/ 211919 w 4501379"/>
                <a:gd name="connsiteY57" fmla="*/ 1276350 h 4429294"/>
                <a:gd name="connsiteX58" fmla="*/ 221444 w 4501379"/>
                <a:gd name="connsiteY58" fmla="*/ 1247775 h 4429294"/>
                <a:gd name="connsiteX59" fmla="*/ 250019 w 4501379"/>
                <a:gd name="connsiteY59" fmla="*/ 1200150 h 4429294"/>
                <a:gd name="connsiteX60" fmla="*/ 269069 w 4501379"/>
                <a:gd name="connsiteY60" fmla="*/ 1152525 h 4429294"/>
                <a:gd name="connsiteX61" fmla="*/ 297644 w 4501379"/>
                <a:gd name="connsiteY61" fmla="*/ 1114425 h 4429294"/>
                <a:gd name="connsiteX62" fmla="*/ 345269 w 4501379"/>
                <a:gd name="connsiteY62" fmla="*/ 1038225 h 4429294"/>
                <a:gd name="connsiteX63" fmla="*/ 364319 w 4501379"/>
                <a:gd name="connsiteY63" fmla="*/ 1009650 h 4429294"/>
                <a:gd name="connsiteX64" fmla="*/ 421469 w 4501379"/>
                <a:gd name="connsiteY64" fmla="*/ 904875 h 4429294"/>
                <a:gd name="connsiteX65" fmla="*/ 459569 w 4501379"/>
                <a:gd name="connsiteY65" fmla="*/ 857250 h 4429294"/>
                <a:gd name="connsiteX66" fmla="*/ 478619 w 4501379"/>
                <a:gd name="connsiteY66" fmla="*/ 828675 h 4429294"/>
                <a:gd name="connsiteX67" fmla="*/ 516719 w 4501379"/>
                <a:gd name="connsiteY67" fmla="*/ 800100 h 4429294"/>
                <a:gd name="connsiteX68" fmla="*/ 583394 w 4501379"/>
                <a:gd name="connsiteY68" fmla="*/ 733425 h 4429294"/>
                <a:gd name="connsiteX69" fmla="*/ 650069 w 4501379"/>
                <a:gd name="connsiteY69" fmla="*/ 676275 h 4429294"/>
                <a:gd name="connsiteX70" fmla="*/ 678644 w 4501379"/>
                <a:gd name="connsiteY70" fmla="*/ 657225 h 4429294"/>
                <a:gd name="connsiteX71" fmla="*/ 821519 w 4501379"/>
                <a:gd name="connsiteY71" fmla="*/ 533400 h 4429294"/>
                <a:gd name="connsiteX72" fmla="*/ 869144 w 4501379"/>
                <a:gd name="connsiteY72" fmla="*/ 504825 h 4429294"/>
                <a:gd name="connsiteX73" fmla="*/ 1148544 w 4501379"/>
                <a:gd name="connsiteY73" fmla="*/ 311150 h 4429294"/>
                <a:gd name="connsiteX74" fmla="*/ 1250144 w 4501379"/>
                <a:gd name="connsiteY74" fmla="*/ 285750 h 4429294"/>
                <a:gd name="connsiteX75" fmla="*/ 1393019 w 4501379"/>
                <a:gd name="connsiteY75" fmla="*/ 190500 h 4429294"/>
                <a:gd name="connsiteX76" fmla="*/ 1431119 w 4501379"/>
                <a:gd name="connsiteY76" fmla="*/ 161925 h 4429294"/>
                <a:gd name="connsiteX77" fmla="*/ 1507319 w 4501379"/>
                <a:gd name="connsiteY77" fmla="*/ 152400 h 4429294"/>
                <a:gd name="connsiteX78" fmla="*/ 1564469 w 4501379"/>
                <a:gd name="connsiteY78" fmla="*/ 142875 h 4429294"/>
                <a:gd name="connsiteX79" fmla="*/ 1697819 w 4501379"/>
                <a:gd name="connsiteY79" fmla="*/ 123825 h 4429294"/>
                <a:gd name="connsiteX80" fmla="*/ 1793069 w 4501379"/>
                <a:gd name="connsiteY80" fmla="*/ 114300 h 4429294"/>
                <a:gd name="connsiteX81" fmla="*/ 1840694 w 4501379"/>
                <a:gd name="connsiteY81" fmla="*/ 104775 h 4429294"/>
                <a:gd name="connsiteX82" fmla="*/ 1897844 w 4501379"/>
                <a:gd name="connsiteY82" fmla="*/ 95250 h 4429294"/>
                <a:gd name="connsiteX83" fmla="*/ 2012144 w 4501379"/>
                <a:gd name="connsiteY83" fmla="*/ 66675 h 4429294"/>
                <a:gd name="connsiteX84" fmla="*/ 2078819 w 4501379"/>
                <a:gd name="connsiteY84" fmla="*/ 47625 h 4429294"/>
                <a:gd name="connsiteX85" fmla="*/ 2145494 w 4501379"/>
                <a:gd name="connsiteY8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278969 w 4501379"/>
                <a:gd name="connsiteY6" fmla="*/ 257175 h 4429294"/>
                <a:gd name="connsiteX7" fmla="*/ 3307544 w 4501379"/>
                <a:gd name="connsiteY7" fmla="*/ 266700 h 4429294"/>
                <a:gd name="connsiteX8" fmla="*/ 3336119 w 4501379"/>
                <a:gd name="connsiteY8" fmla="*/ 285750 h 4429294"/>
                <a:gd name="connsiteX9" fmla="*/ 3402794 w 4501379"/>
                <a:gd name="connsiteY9" fmla="*/ 323850 h 4429294"/>
                <a:gd name="connsiteX10" fmla="*/ 3450419 w 4501379"/>
                <a:gd name="connsiteY10" fmla="*/ 361950 h 4429294"/>
                <a:gd name="connsiteX11" fmla="*/ 3498044 w 4501379"/>
                <a:gd name="connsiteY11" fmla="*/ 390525 h 4429294"/>
                <a:gd name="connsiteX12" fmla="*/ 3612344 w 4501379"/>
                <a:gd name="connsiteY12" fmla="*/ 485775 h 4429294"/>
                <a:gd name="connsiteX13" fmla="*/ 3726644 w 4501379"/>
                <a:gd name="connsiteY13" fmla="*/ 542925 h 4429294"/>
                <a:gd name="connsiteX14" fmla="*/ 3793319 w 4501379"/>
                <a:gd name="connsiteY14" fmla="*/ 581025 h 4429294"/>
                <a:gd name="connsiteX15" fmla="*/ 4009219 w 4501379"/>
                <a:gd name="connsiteY15" fmla="*/ 819150 h 4429294"/>
                <a:gd name="connsiteX16" fmla="*/ 4145744 w 4501379"/>
                <a:gd name="connsiteY16" fmla="*/ 990600 h 4429294"/>
                <a:gd name="connsiteX17" fmla="*/ 4231469 w 4501379"/>
                <a:gd name="connsiteY17" fmla="*/ 1143000 h 4429294"/>
                <a:gd name="connsiteX18" fmla="*/ 4288619 w 4501379"/>
                <a:gd name="connsiteY18" fmla="*/ 1266825 h 4429294"/>
                <a:gd name="connsiteX19" fmla="*/ 4326719 w 4501379"/>
                <a:gd name="connsiteY19" fmla="*/ 1362075 h 4429294"/>
                <a:gd name="connsiteX20" fmla="*/ 4374344 w 4501379"/>
                <a:gd name="connsiteY20" fmla="*/ 1552575 h 4429294"/>
                <a:gd name="connsiteX21" fmla="*/ 4412444 w 4501379"/>
                <a:gd name="connsiteY21" fmla="*/ 1685925 h 4429294"/>
                <a:gd name="connsiteX22" fmla="*/ 4501344 w 4501379"/>
                <a:gd name="connsiteY22" fmla="*/ 2181225 h 4429294"/>
                <a:gd name="connsiteX23" fmla="*/ 4428319 w 4501379"/>
                <a:gd name="connsiteY23" fmla="*/ 2768600 h 4429294"/>
                <a:gd name="connsiteX24" fmla="*/ 4364819 w 4501379"/>
                <a:gd name="connsiteY24" fmla="*/ 2990850 h 4429294"/>
                <a:gd name="connsiteX25" fmla="*/ 4260044 w 4501379"/>
                <a:gd name="connsiteY25" fmla="*/ 3248025 h 4429294"/>
                <a:gd name="connsiteX26" fmla="*/ 4164794 w 4501379"/>
                <a:gd name="connsiteY26" fmla="*/ 3400425 h 4429294"/>
                <a:gd name="connsiteX27" fmla="*/ 4040969 w 4501379"/>
                <a:gd name="connsiteY27" fmla="*/ 3533775 h 4429294"/>
                <a:gd name="connsiteX28" fmla="*/ 3936194 w 4501379"/>
                <a:gd name="connsiteY28" fmla="*/ 3648075 h 4429294"/>
                <a:gd name="connsiteX29" fmla="*/ 3640919 w 4501379"/>
                <a:gd name="connsiteY29" fmla="*/ 3971925 h 4429294"/>
                <a:gd name="connsiteX30" fmla="*/ 3498044 w 4501379"/>
                <a:gd name="connsiteY30" fmla="*/ 4083050 h 4429294"/>
                <a:gd name="connsiteX31" fmla="*/ 3202769 w 4501379"/>
                <a:gd name="connsiteY31" fmla="*/ 4222750 h 4429294"/>
                <a:gd name="connsiteX32" fmla="*/ 3050369 w 4501379"/>
                <a:gd name="connsiteY32" fmla="*/ 4286250 h 4429294"/>
                <a:gd name="connsiteX33" fmla="*/ 2917019 w 4501379"/>
                <a:gd name="connsiteY33" fmla="*/ 4333875 h 4429294"/>
                <a:gd name="connsiteX34" fmla="*/ 2793194 w 4501379"/>
                <a:gd name="connsiteY34" fmla="*/ 4371975 h 4429294"/>
                <a:gd name="connsiteX35" fmla="*/ 2561419 w 4501379"/>
                <a:gd name="connsiteY35" fmla="*/ 4391025 h 4429294"/>
                <a:gd name="connsiteX36" fmla="*/ 2107394 w 4501379"/>
                <a:gd name="connsiteY36" fmla="*/ 4429125 h 4429294"/>
                <a:gd name="connsiteX37" fmla="*/ 1916894 w 4501379"/>
                <a:gd name="connsiteY37" fmla="*/ 4400550 h 4429294"/>
                <a:gd name="connsiteX38" fmla="*/ 1554944 w 4501379"/>
                <a:gd name="connsiteY38" fmla="*/ 4305300 h 4429294"/>
                <a:gd name="connsiteX39" fmla="*/ 1313644 w 4501379"/>
                <a:gd name="connsiteY39" fmla="*/ 4216400 h 4429294"/>
                <a:gd name="connsiteX40" fmla="*/ 1145369 w 4501379"/>
                <a:gd name="connsiteY40" fmla="*/ 4111625 h 4429294"/>
                <a:gd name="connsiteX41" fmla="*/ 926294 w 4501379"/>
                <a:gd name="connsiteY41" fmla="*/ 3968750 h 4429294"/>
                <a:gd name="connsiteX42" fmla="*/ 592919 w 4501379"/>
                <a:gd name="connsiteY42" fmla="*/ 3657600 h 4429294"/>
                <a:gd name="connsiteX43" fmla="*/ 446869 w 4501379"/>
                <a:gd name="connsiteY43" fmla="*/ 3470275 h 4429294"/>
                <a:gd name="connsiteX44" fmla="*/ 316694 w 4501379"/>
                <a:gd name="connsiteY44" fmla="*/ 3244850 h 4429294"/>
                <a:gd name="connsiteX45" fmla="*/ 164294 w 4501379"/>
                <a:gd name="connsiteY45" fmla="*/ 2892425 h 4429294"/>
                <a:gd name="connsiteX46" fmla="*/ 56344 w 4501379"/>
                <a:gd name="connsiteY46" fmla="*/ 2368550 h 4429294"/>
                <a:gd name="connsiteX47" fmla="*/ 2369 w 4501379"/>
                <a:gd name="connsiteY47" fmla="*/ 1905000 h 4429294"/>
                <a:gd name="connsiteX48" fmla="*/ 11894 w 4501379"/>
                <a:gd name="connsiteY48" fmla="*/ 1838325 h 4429294"/>
                <a:gd name="connsiteX49" fmla="*/ 30944 w 4501379"/>
                <a:gd name="connsiteY49" fmla="*/ 1781175 h 4429294"/>
                <a:gd name="connsiteX50" fmla="*/ 40469 w 4501379"/>
                <a:gd name="connsiteY50" fmla="*/ 1743075 h 4429294"/>
                <a:gd name="connsiteX51" fmla="*/ 59519 w 4501379"/>
                <a:gd name="connsiteY51" fmla="*/ 1685925 h 4429294"/>
                <a:gd name="connsiteX52" fmla="*/ 69044 w 4501379"/>
                <a:gd name="connsiteY52" fmla="*/ 1638300 h 4429294"/>
                <a:gd name="connsiteX53" fmla="*/ 88094 w 4501379"/>
                <a:gd name="connsiteY53" fmla="*/ 1590675 h 4429294"/>
                <a:gd name="connsiteX54" fmla="*/ 116669 w 4501379"/>
                <a:gd name="connsiteY54" fmla="*/ 1504950 h 4429294"/>
                <a:gd name="connsiteX55" fmla="*/ 135719 w 4501379"/>
                <a:gd name="connsiteY55" fmla="*/ 1419225 h 4429294"/>
                <a:gd name="connsiteX56" fmla="*/ 211919 w 4501379"/>
                <a:gd name="connsiteY56" fmla="*/ 1276350 h 4429294"/>
                <a:gd name="connsiteX57" fmla="*/ 221444 w 4501379"/>
                <a:gd name="connsiteY57" fmla="*/ 1247775 h 4429294"/>
                <a:gd name="connsiteX58" fmla="*/ 250019 w 4501379"/>
                <a:gd name="connsiteY58" fmla="*/ 1200150 h 4429294"/>
                <a:gd name="connsiteX59" fmla="*/ 269069 w 4501379"/>
                <a:gd name="connsiteY59" fmla="*/ 1152525 h 4429294"/>
                <a:gd name="connsiteX60" fmla="*/ 297644 w 4501379"/>
                <a:gd name="connsiteY60" fmla="*/ 1114425 h 4429294"/>
                <a:gd name="connsiteX61" fmla="*/ 345269 w 4501379"/>
                <a:gd name="connsiteY61" fmla="*/ 1038225 h 4429294"/>
                <a:gd name="connsiteX62" fmla="*/ 364319 w 4501379"/>
                <a:gd name="connsiteY62" fmla="*/ 1009650 h 4429294"/>
                <a:gd name="connsiteX63" fmla="*/ 421469 w 4501379"/>
                <a:gd name="connsiteY63" fmla="*/ 904875 h 4429294"/>
                <a:gd name="connsiteX64" fmla="*/ 459569 w 4501379"/>
                <a:gd name="connsiteY64" fmla="*/ 857250 h 4429294"/>
                <a:gd name="connsiteX65" fmla="*/ 478619 w 4501379"/>
                <a:gd name="connsiteY65" fmla="*/ 828675 h 4429294"/>
                <a:gd name="connsiteX66" fmla="*/ 516719 w 4501379"/>
                <a:gd name="connsiteY66" fmla="*/ 800100 h 4429294"/>
                <a:gd name="connsiteX67" fmla="*/ 583394 w 4501379"/>
                <a:gd name="connsiteY67" fmla="*/ 733425 h 4429294"/>
                <a:gd name="connsiteX68" fmla="*/ 650069 w 4501379"/>
                <a:gd name="connsiteY68" fmla="*/ 676275 h 4429294"/>
                <a:gd name="connsiteX69" fmla="*/ 678644 w 4501379"/>
                <a:gd name="connsiteY69" fmla="*/ 657225 h 4429294"/>
                <a:gd name="connsiteX70" fmla="*/ 821519 w 4501379"/>
                <a:gd name="connsiteY70" fmla="*/ 533400 h 4429294"/>
                <a:gd name="connsiteX71" fmla="*/ 869144 w 4501379"/>
                <a:gd name="connsiteY71" fmla="*/ 504825 h 4429294"/>
                <a:gd name="connsiteX72" fmla="*/ 1148544 w 4501379"/>
                <a:gd name="connsiteY72" fmla="*/ 311150 h 4429294"/>
                <a:gd name="connsiteX73" fmla="*/ 1250144 w 4501379"/>
                <a:gd name="connsiteY73" fmla="*/ 285750 h 4429294"/>
                <a:gd name="connsiteX74" fmla="*/ 1393019 w 4501379"/>
                <a:gd name="connsiteY74" fmla="*/ 190500 h 4429294"/>
                <a:gd name="connsiteX75" fmla="*/ 1431119 w 4501379"/>
                <a:gd name="connsiteY75" fmla="*/ 161925 h 4429294"/>
                <a:gd name="connsiteX76" fmla="*/ 1507319 w 4501379"/>
                <a:gd name="connsiteY76" fmla="*/ 152400 h 4429294"/>
                <a:gd name="connsiteX77" fmla="*/ 1564469 w 4501379"/>
                <a:gd name="connsiteY77" fmla="*/ 142875 h 4429294"/>
                <a:gd name="connsiteX78" fmla="*/ 1697819 w 4501379"/>
                <a:gd name="connsiteY78" fmla="*/ 123825 h 4429294"/>
                <a:gd name="connsiteX79" fmla="*/ 1793069 w 4501379"/>
                <a:gd name="connsiteY79" fmla="*/ 114300 h 4429294"/>
                <a:gd name="connsiteX80" fmla="*/ 1840694 w 4501379"/>
                <a:gd name="connsiteY80" fmla="*/ 104775 h 4429294"/>
                <a:gd name="connsiteX81" fmla="*/ 1897844 w 4501379"/>
                <a:gd name="connsiteY81" fmla="*/ 95250 h 4429294"/>
                <a:gd name="connsiteX82" fmla="*/ 2012144 w 4501379"/>
                <a:gd name="connsiteY82" fmla="*/ 66675 h 4429294"/>
                <a:gd name="connsiteX83" fmla="*/ 2078819 w 4501379"/>
                <a:gd name="connsiteY83" fmla="*/ 47625 h 4429294"/>
                <a:gd name="connsiteX84" fmla="*/ 2145494 w 4501379"/>
                <a:gd name="connsiteY8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336119 w 4501379"/>
                <a:gd name="connsiteY7" fmla="*/ 285750 h 4429294"/>
                <a:gd name="connsiteX8" fmla="*/ 3402794 w 4501379"/>
                <a:gd name="connsiteY8" fmla="*/ 323850 h 4429294"/>
                <a:gd name="connsiteX9" fmla="*/ 3450419 w 4501379"/>
                <a:gd name="connsiteY9" fmla="*/ 361950 h 4429294"/>
                <a:gd name="connsiteX10" fmla="*/ 3498044 w 4501379"/>
                <a:gd name="connsiteY10" fmla="*/ 390525 h 4429294"/>
                <a:gd name="connsiteX11" fmla="*/ 3612344 w 4501379"/>
                <a:gd name="connsiteY11" fmla="*/ 485775 h 4429294"/>
                <a:gd name="connsiteX12" fmla="*/ 3726644 w 4501379"/>
                <a:gd name="connsiteY12" fmla="*/ 542925 h 4429294"/>
                <a:gd name="connsiteX13" fmla="*/ 3793319 w 4501379"/>
                <a:gd name="connsiteY13" fmla="*/ 581025 h 4429294"/>
                <a:gd name="connsiteX14" fmla="*/ 4009219 w 4501379"/>
                <a:gd name="connsiteY14" fmla="*/ 819150 h 4429294"/>
                <a:gd name="connsiteX15" fmla="*/ 4145744 w 4501379"/>
                <a:gd name="connsiteY15" fmla="*/ 990600 h 4429294"/>
                <a:gd name="connsiteX16" fmla="*/ 4231469 w 4501379"/>
                <a:gd name="connsiteY16" fmla="*/ 1143000 h 4429294"/>
                <a:gd name="connsiteX17" fmla="*/ 4288619 w 4501379"/>
                <a:gd name="connsiteY17" fmla="*/ 1266825 h 4429294"/>
                <a:gd name="connsiteX18" fmla="*/ 4326719 w 4501379"/>
                <a:gd name="connsiteY18" fmla="*/ 1362075 h 4429294"/>
                <a:gd name="connsiteX19" fmla="*/ 4374344 w 4501379"/>
                <a:gd name="connsiteY19" fmla="*/ 1552575 h 4429294"/>
                <a:gd name="connsiteX20" fmla="*/ 4412444 w 4501379"/>
                <a:gd name="connsiteY20" fmla="*/ 1685925 h 4429294"/>
                <a:gd name="connsiteX21" fmla="*/ 4501344 w 4501379"/>
                <a:gd name="connsiteY21" fmla="*/ 2181225 h 4429294"/>
                <a:gd name="connsiteX22" fmla="*/ 4428319 w 4501379"/>
                <a:gd name="connsiteY22" fmla="*/ 2768600 h 4429294"/>
                <a:gd name="connsiteX23" fmla="*/ 4364819 w 4501379"/>
                <a:gd name="connsiteY23" fmla="*/ 2990850 h 4429294"/>
                <a:gd name="connsiteX24" fmla="*/ 4260044 w 4501379"/>
                <a:gd name="connsiteY24" fmla="*/ 3248025 h 4429294"/>
                <a:gd name="connsiteX25" fmla="*/ 4164794 w 4501379"/>
                <a:gd name="connsiteY25" fmla="*/ 3400425 h 4429294"/>
                <a:gd name="connsiteX26" fmla="*/ 4040969 w 4501379"/>
                <a:gd name="connsiteY26" fmla="*/ 3533775 h 4429294"/>
                <a:gd name="connsiteX27" fmla="*/ 3936194 w 4501379"/>
                <a:gd name="connsiteY27" fmla="*/ 3648075 h 4429294"/>
                <a:gd name="connsiteX28" fmla="*/ 3640919 w 4501379"/>
                <a:gd name="connsiteY28" fmla="*/ 3971925 h 4429294"/>
                <a:gd name="connsiteX29" fmla="*/ 3498044 w 4501379"/>
                <a:gd name="connsiteY29" fmla="*/ 4083050 h 4429294"/>
                <a:gd name="connsiteX30" fmla="*/ 3202769 w 4501379"/>
                <a:gd name="connsiteY30" fmla="*/ 4222750 h 4429294"/>
                <a:gd name="connsiteX31" fmla="*/ 3050369 w 4501379"/>
                <a:gd name="connsiteY31" fmla="*/ 4286250 h 4429294"/>
                <a:gd name="connsiteX32" fmla="*/ 2917019 w 4501379"/>
                <a:gd name="connsiteY32" fmla="*/ 4333875 h 4429294"/>
                <a:gd name="connsiteX33" fmla="*/ 2793194 w 4501379"/>
                <a:gd name="connsiteY33" fmla="*/ 4371975 h 4429294"/>
                <a:gd name="connsiteX34" fmla="*/ 2561419 w 4501379"/>
                <a:gd name="connsiteY34" fmla="*/ 4391025 h 4429294"/>
                <a:gd name="connsiteX35" fmla="*/ 2107394 w 4501379"/>
                <a:gd name="connsiteY35" fmla="*/ 4429125 h 4429294"/>
                <a:gd name="connsiteX36" fmla="*/ 1916894 w 4501379"/>
                <a:gd name="connsiteY36" fmla="*/ 4400550 h 4429294"/>
                <a:gd name="connsiteX37" fmla="*/ 1554944 w 4501379"/>
                <a:gd name="connsiteY37" fmla="*/ 4305300 h 4429294"/>
                <a:gd name="connsiteX38" fmla="*/ 1313644 w 4501379"/>
                <a:gd name="connsiteY38" fmla="*/ 4216400 h 4429294"/>
                <a:gd name="connsiteX39" fmla="*/ 1145369 w 4501379"/>
                <a:gd name="connsiteY39" fmla="*/ 4111625 h 4429294"/>
                <a:gd name="connsiteX40" fmla="*/ 926294 w 4501379"/>
                <a:gd name="connsiteY40" fmla="*/ 3968750 h 4429294"/>
                <a:gd name="connsiteX41" fmla="*/ 592919 w 4501379"/>
                <a:gd name="connsiteY41" fmla="*/ 3657600 h 4429294"/>
                <a:gd name="connsiteX42" fmla="*/ 446869 w 4501379"/>
                <a:gd name="connsiteY42" fmla="*/ 3470275 h 4429294"/>
                <a:gd name="connsiteX43" fmla="*/ 316694 w 4501379"/>
                <a:gd name="connsiteY43" fmla="*/ 3244850 h 4429294"/>
                <a:gd name="connsiteX44" fmla="*/ 164294 w 4501379"/>
                <a:gd name="connsiteY44" fmla="*/ 2892425 h 4429294"/>
                <a:gd name="connsiteX45" fmla="*/ 56344 w 4501379"/>
                <a:gd name="connsiteY45" fmla="*/ 2368550 h 4429294"/>
                <a:gd name="connsiteX46" fmla="*/ 2369 w 4501379"/>
                <a:gd name="connsiteY46" fmla="*/ 1905000 h 4429294"/>
                <a:gd name="connsiteX47" fmla="*/ 11894 w 4501379"/>
                <a:gd name="connsiteY47" fmla="*/ 1838325 h 4429294"/>
                <a:gd name="connsiteX48" fmla="*/ 30944 w 4501379"/>
                <a:gd name="connsiteY48" fmla="*/ 1781175 h 4429294"/>
                <a:gd name="connsiteX49" fmla="*/ 40469 w 4501379"/>
                <a:gd name="connsiteY49" fmla="*/ 1743075 h 4429294"/>
                <a:gd name="connsiteX50" fmla="*/ 59519 w 4501379"/>
                <a:gd name="connsiteY50" fmla="*/ 1685925 h 4429294"/>
                <a:gd name="connsiteX51" fmla="*/ 69044 w 4501379"/>
                <a:gd name="connsiteY51" fmla="*/ 1638300 h 4429294"/>
                <a:gd name="connsiteX52" fmla="*/ 88094 w 4501379"/>
                <a:gd name="connsiteY52" fmla="*/ 1590675 h 4429294"/>
                <a:gd name="connsiteX53" fmla="*/ 116669 w 4501379"/>
                <a:gd name="connsiteY53" fmla="*/ 1504950 h 4429294"/>
                <a:gd name="connsiteX54" fmla="*/ 135719 w 4501379"/>
                <a:gd name="connsiteY54" fmla="*/ 1419225 h 4429294"/>
                <a:gd name="connsiteX55" fmla="*/ 211919 w 4501379"/>
                <a:gd name="connsiteY55" fmla="*/ 1276350 h 4429294"/>
                <a:gd name="connsiteX56" fmla="*/ 221444 w 4501379"/>
                <a:gd name="connsiteY56" fmla="*/ 1247775 h 4429294"/>
                <a:gd name="connsiteX57" fmla="*/ 250019 w 4501379"/>
                <a:gd name="connsiteY57" fmla="*/ 1200150 h 4429294"/>
                <a:gd name="connsiteX58" fmla="*/ 269069 w 4501379"/>
                <a:gd name="connsiteY58" fmla="*/ 1152525 h 4429294"/>
                <a:gd name="connsiteX59" fmla="*/ 297644 w 4501379"/>
                <a:gd name="connsiteY59" fmla="*/ 1114425 h 4429294"/>
                <a:gd name="connsiteX60" fmla="*/ 345269 w 4501379"/>
                <a:gd name="connsiteY60" fmla="*/ 1038225 h 4429294"/>
                <a:gd name="connsiteX61" fmla="*/ 364319 w 4501379"/>
                <a:gd name="connsiteY61" fmla="*/ 1009650 h 4429294"/>
                <a:gd name="connsiteX62" fmla="*/ 421469 w 4501379"/>
                <a:gd name="connsiteY62" fmla="*/ 904875 h 4429294"/>
                <a:gd name="connsiteX63" fmla="*/ 459569 w 4501379"/>
                <a:gd name="connsiteY63" fmla="*/ 857250 h 4429294"/>
                <a:gd name="connsiteX64" fmla="*/ 478619 w 4501379"/>
                <a:gd name="connsiteY64" fmla="*/ 828675 h 4429294"/>
                <a:gd name="connsiteX65" fmla="*/ 516719 w 4501379"/>
                <a:gd name="connsiteY65" fmla="*/ 800100 h 4429294"/>
                <a:gd name="connsiteX66" fmla="*/ 583394 w 4501379"/>
                <a:gd name="connsiteY66" fmla="*/ 733425 h 4429294"/>
                <a:gd name="connsiteX67" fmla="*/ 650069 w 4501379"/>
                <a:gd name="connsiteY67" fmla="*/ 676275 h 4429294"/>
                <a:gd name="connsiteX68" fmla="*/ 678644 w 4501379"/>
                <a:gd name="connsiteY68" fmla="*/ 657225 h 4429294"/>
                <a:gd name="connsiteX69" fmla="*/ 821519 w 4501379"/>
                <a:gd name="connsiteY69" fmla="*/ 533400 h 4429294"/>
                <a:gd name="connsiteX70" fmla="*/ 869144 w 4501379"/>
                <a:gd name="connsiteY70" fmla="*/ 504825 h 4429294"/>
                <a:gd name="connsiteX71" fmla="*/ 1148544 w 4501379"/>
                <a:gd name="connsiteY71" fmla="*/ 311150 h 4429294"/>
                <a:gd name="connsiteX72" fmla="*/ 1250144 w 4501379"/>
                <a:gd name="connsiteY72" fmla="*/ 285750 h 4429294"/>
                <a:gd name="connsiteX73" fmla="*/ 1393019 w 4501379"/>
                <a:gd name="connsiteY73" fmla="*/ 190500 h 4429294"/>
                <a:gd name="connsiteX74" fmla="*/ 1431119 w 4501379"/>
                <a:gd name="connsiteY74" fmla="*/ 161925 h 4429294"/>
                <a:gd name="connsiteX75" fmla="*/ 1507319 w 4501379"/>
                <a:gd name="connsiteY75" fmla="*/ 152400 h 4429294"/>
                <a:gd name="connsiteX76" fmla="*/ 1564469 w 4501379"/>
                <a:gd name="connsiteY76" fmla="*/ 142875 h 4429294"/>
                <a:gd name="connsiteX77" fmla="*/ 1697819 w 4501379"/>
                <a:gd name="connsiteY77" fmla="*/ 123825 h 4429294"/>
                <a:gd name="connsiteX78" fmla="*/ 1793069 w 4501379"/>
                <a:gd name="connsiteY78" fmla="*/ 114300 h 4429294"/>
                <a:gd name="connsiteX79" fmla="*/ 1840694 w 4501379"/>
                <a:gd name="connsiteY79" fmla="*/ 104775 h 4429294"/>
                <a:gd name="connsiteX80" fmla="*/ 1897844 w 4501379"/>
                <a:gd name="connsiteY80" fmla="*/ 95250 h 4429294"/>
                <a:gd name="connsiteX81" fmla="*/ 2012144 w 4501379"/>
                <a:gd name="connsiteY81" fmla="*/ 66675 h 4429294"/>
                <a:gd name="connsiteX82" fmla="*/ 2078819 w 4501379"/>
                <a:gd name="connsiteY82" fmla="*/ 47625 h 4429294"/>
                <a:gd name="connsiteX83" fmla="*/ 2145494 w 4501379"/>
                <a:gd name="connsiteY8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250394 w 4501379"/>
                <a:gd name="connsiteY5" fmla="*/ 238125 h 4429294"/>
                <a:gd name="connsiteX6" fmla="*/ 3307544 w 4501379"/>
                <a:gd name="connsiteY6" fmla="*/ 266700 h 4429294"/>
                <a:gd name="connsiteX7" fmla="*/ 3402794 w 4501379"/>
                <a:gd name="connsiteY7" fmla="*/ 323850 h 4429294"/>
                <a:gd name="connsiteX8" fmla="*/ 3450419 w 4501379"/>
                <a:gd name="connsiteY8" fmla="*/ 361950 h 4429294"/>
                <a:gd name="connsiteX9" fmla="*/ 3498044 w 4501379"/>
                <a:gd name="connsiteY9" fmla="*/ 390525 h 4429294"/>
                <a:gd name="connsiteX10" fmla="*/ 3612344 w 4501379"/>
                <a:gd name="connsiteY10" fmla="*/ 485775 h 4429294"/>
                <a:gd name="connsiteX11" fmla="*/ 3726644 w 4501379"/>
                <a:gd name="connsiteY11" fmla="*/ 542925 h 4429294"/>
                <a:gd name="connsiteX12" fmla="*/ 3793319 w 4501379"/>
                <a:gd name="connsiteY12" fmla="*/ 581025 h 4429294"/>
                <a:gd name="connsiteX13" fmla="*/ 4009219 w 4501379"/>
                <a:gd name="connsiteY13" fmla="*/ 819150 h 4429294"/>
                <a:gd name="connsiteX14" fmla="*/ 4145744 w 4501379"/>
                <a:gd name="connsiteY14" fmla="*/ 990600 h 4429294"/>
                <a:gd name="connsiteX15" fmla="*/ 4231469 w 4501379"/>
                <a:gd name="connsiteY15" fmla="*/ 1143000 h 4429294"/>
                <a:gd name="connsiteX16" fmla="*/ 4288619 w 4501379"/>
                <a:gd name="connsiteY16" fmla="*/ 1266825 h 4429294"/>
                <a:gd name="connsiteX17" fmla="*/ 4326719 w 4501379"/>
                <a:gd name="connsiteY17" fmla="*/ 1362075 h 4429294"/>
                <a:gd name="connsiteX18" fmla="*/ 4374344 w 4501379"/>
                <a:gd name="connsiteY18" fmla="*/ 1552575 h 4429294"/>
                <a:gd name="connsiteX19" fmla="*/ 4412444 w 4501379"/>
                <a:gd name="connsiteY19" fmla="*/ 1685925 h 4429294"/>
                <a:gd name="connsiteX20" fmla="*/ 4501344 w 4501379"/>
                <a:gd name="connsiteY20" fmla="*/ 2181225 h 4429294"/>
                <a:gd name="connsiteX21" fmla="*/ 4428319 w 4501379"/>
                <a:gd name="connsiteY21" fmla="*/ 2768600 h 4429294"/>
                <a:gd name="connsiteX22" fmla="*/ 4364819 w 4501379"/>
                <a:gd name="connsiteY22" fmla="*/ 2990850 h 4429294"/>
                <a:gd name="connsiteX23" fmla="*/ 4260044 w 4501379"/>
                <a:gd name="connsiteY23" fmla="*/ 3248025 h 4429294"/>
                <a:gd name="connsiteX24" fmla="*/ 4164794 w 4501379"/>
                <a:gd name="connsiteY24" fmla="*/ 3400425 h 4429294"/>
                <a:gd name="connsiteX25" fmla="*/ 4040969 w 4501379"/>
                <a:gd name="connsiteY25" fmla="*/ 3533775 h 4429294"/>
                <a:gd name="connsiteX26" fmla="*/ 3936194 w 4501379"/>
                <a:gd name="connsiteY26" fmla="*/ 3648075 h 4429294"/>
                <a:gd name="connsiteX27" fmla="*/ 3640919 w 4501379"/>
                <a:gd name="connsiteY27" fmla="*/ 3971925 h 4429294"/>
                <a:gd name="connsiteX28" fmla="*/ 3498044 w 4501379"/>
                <a:gd name="connsiteY28" fmla="*/ 4083050 h 4429294"/>
                <a:gd name="connsiteX29" fmla="*/ 3202769 w 4501379"/>
                <a:gd name="connsiteY29" fmla="*/ 4222750 h 4429294"/>
                <a:gd name="connsiteX30" fmla="*/ 3050369 w 4501379"/>
                <a:gd name="connsiteY30" fmla="*/ 4286250 h 4429294"/>
                <a:gd name="connsiteX31" fmla="*/ 2917019 w 4501379"/>
                <a:gd name="connsiteY31" fmla="*/ 4333875 h 4429294"/>
                <a:gd name="connsiteX32" fmla="*/ 2793194 w 4501379"/>
                <a:gd name="connsiteY32" fmla="*/ 4371975 h 4429294"/>
                <a:gd name="connsiteX33" fmla="*/ 2561419 w 4501379"/>
                <a:gd name="connsiteY33" fmla="*/ 4391025 h 4429294"/>
                <a:gd name="connsiteX34" fmla="*/ 2107394 w 4501379"/>
                <a:gd name="connsiteY34" fmla="*/ 4429125 h 4429294"/>
                <a:gd name="connsiteX35" fmla="*/ 1916894 w 4501379"/>
                <a:gd name="connsiteY35" fmla="*/ 4400550 h 4429294"/>
                <a:gd name="connsiteX36" fmla="*/ 1554944 w 4501379"/>
                <a:gd name="connsiteY36" fmla="*/ 4305300 h 4429294"/>
                <a:gd name="connsiteX37" fmla="*/ 1313644 w 4501379"/>
                <a:gd name="connsiteY37" fmla="*/ 4216400 h 4429294"/>
                <a:gd name="connsiteX38" fmla="*/ 1145369 w 4501379"/>
                <a:gd name="connsiteY38" fmla="*/ 4111625 h 4429294"/>
                <a:gd name="connsiteX39" fmla="*/ 926294 w 4501379"/>
                <a:gd name="connsiteY39" fmla="*/ 3968750 h 4429294"/>
                <a:gd name="connsiteX40" fmla="*/ 592919 w 4501379"/>
                <a:gd name="connsiteY40" fmla="*/ 3657600 h 4429294"/>
                <a:gd name="connsiteX41" fmla="*/ 446869 w 4501379"/>
                <a:gd name="connsiteY41" fmla="*/ 3470275 h 4429294"/>
                <a:gd name="connsiteX42" fmla="*/ 316694 w 4501379"/>
                <a:gd name="connsiteY42" fmla="*/ 3244850 h 4429294"/>
                <a:gd name="connsiteX43" fmla="*/ 164294 w 4501379"/>
                <a:gd name="connsiteY43" fmla="*/ 2892425 h 4429294"/>
                <a:gd name="connsiteX44" fmla="*/ 56344 w 4501379"/>
                <a:gd name="connsiteY44" fmla="*/ 2368550 h 4429294"/>
                <a:gd name="connsiteX45" fmla="*/ 2369 w 4501379"/>
                <a:gd name="connsiteY45" fmla="*/ 1905000 h 4429294"/>
                <a:gd name="connsiteX46" fmla="*/ 11894 w 4501379"/>
                <a:gd name="connsiteY46" fmla="*/ 1838325 h 4429294"/>
                <a:gd name="connsiteX47" fmla="*/ 30944 w 4501379"/>
                <a:gd name="connsiteY47" fmla="*/ 1781175 h 4429294"/>
                <a:gd name="connsiteX48" fmla="*/ 40469 w 4501379"/>
                <a:gd name="connsiteY48" fmla="*/ 1743075 h 4429294"/>
                <a:gd name="connsiteX49" fmla="*/ 59519 w 4501379"/>
                <a:gd name="connsiteY49" fmla="*/ 1685925 h 4429294"/>
                <a:gd name="connsiteX50" fmla="*/ 69044 w 4501379"/>
                <a:gd name="connsiteY50" fmla="*/ 1638300 h 4429294"/>
                <a:gd name="connsiteX51" fmla="*/ 88094 w 4501379"/>
                <a:gd name="connsiteY51" fmla="*/ 1590675 h 4429294"/>
                <a:gd name="connsiteX52" fmla="*/ 116669 w 4501379"/>
                <a:gd name="connsiteY52" fmla="*/ 1504950 h 4429294"/>
                <a:gd name="connsiteX53" fmla="*/ 135719 w 4501379"/>
                <a:gd name="connsiteY53" fmla="*/ 1419225 h 4429294"/>
                <a:gd name="connsiteX54" fmla="*/ 211919 w 4501379"/>
                <a:gd name="connsiteY54" fmla="*/ 1276350 h 4429294"/>
                <a:gd name="connsiteX55" fmla="*/ 221444 w 4501379"/>
                <a:gd name="connsiteY55" fmla="*/ 1247775 h 4429294"/>
                <a:gd name="connsiteX56" fmla="*/ 250019 w 4501379"/>
                <a:gd name="connsiteY56" fmla="*/ 1200150 h 4429294"/>
                <a:gd name="connsiteX57" fmla="*/ 269069 w 4501379"/>
                <a:gd name="connsiteY57" fmla="*/ 1152525 h 4429294"/>
                <a:gd name="connsiteX58" fmla="*/ 297644 w 4501379"/>
                <a:gd name="connsiteY58" fmla="*/ 1114425 h 4429294"/>
                <a:gd name="connsiteX59" fmla="*/ 345269 w 4501379"/>
                <a:gd name="connsiteY59" fmla="*/ 1038225 h 4429294"/>
                <a:gd name="connsiteX60" fmla="*/ 364319 w 4501379"/>
                <a:gd name="connsiteY60" fmla="*/ 1009650 h 4429294"/>
                <a:gd name="connsiteX61" fmla="*/ 421469 w 4501379"/>
                <a:gd name="connsiteY61" fmla="*/ 904875 h 4429294"/>
                <a:gd name="connsiteX62" fmla="*/ 459569 w 4501379"/>
                <a:gd name="connsiteY62" fmla="*/ 857250 h 4429294"/>
                <a:gd name="connsiteX63" fmla="*/ 478619 w 4501379"/>
                <a:gd name="connsiteY63" fmla="*/ 828675 h 4429294"/>
                <a:gd name="connsiteX64" fmla="*/ 516719 w 4501379"/>
                <a:gd name="connsiteY64" fmla="*/ 800100 h 4429294"/>
                <a:gd name="connsiteX65" fmla="*/ 583394 w 4501379"/>
                <a:gd name="connsiteY65" fmla="*/ 733425 h 4429294"/>
                <a:gd name="connsiteX66" fmla="*/ 650069 w 4501379"/>
                <a:gd name="connsiteY66" fmla="*/ 676275 h 4429294"/>
                <a:gd name="connsiteX67" fmla="*/ 678644 w 4501379"/>
                <a:gd name="connsiteY67" fmla="*/ 657225 h 4429294"/>
                <a:gd name="connsiteX68" fmla="*/ 821519 w 4501379"/>
                <a:gd name="connsiteY68" fmla="*/ 533400 h 4429294"/>
                <a:gd name="connsiteX69" fmla="*/ 869144 w 4501379"/>
                <a:gd name="connsiteY69" fmla="*/ 504825 h 4429294"/>
                <a:gd name="connsiteX70" fmla="*/ 1148544 w 4501379"/>
                <a:gd name="connsiteY70" fmla="*/ 311150 h 4429294"/>
                <a:gd name="connsiteX71" fmla="*/ 1250144 w 4501379"/>
                <a:gd name="connsiteY71" fmla="*/ 285750 h 4429294"/>
                <a:gd name="connsiteX72" fmla="*/ 1393019 w 4501379"/>
                <a:gd name="connsiteY72" fmla="*/ 190500 h 4429294"/>
                <a:gd name="connsiteX73" fmla="*/ 1431119 w 4501379"/>
                <a:gd name="connsiteY73" fmla="*/ 161925 h 4429294"/>
                <a:gd name="connsiteX74" fmla="*/ 1507319 w 4501379"/>
                <a:gd name="connsiteY74" fmla="*/ 152400 h 4429294"/>
                <a:gd name="connsiteX75" fmla="*/ 1564469 w 4501379"/>
                <a:gd name="connsiteY75" fmla="*/ 142875 h 4429294"/>
                <a:gd name="connsiteX76" fmla="*/ 1697819 w 4501379"/>
                <a:gd name="connsiteY76" fmla="*/ 123825 h 4429294"/>
                <a:gd name="connsiteX77" fmla="*/ 1793069 w 4501379"/>
                <a:gd name="connsiteY77" fmla="*/ 114300 h 4429294"/>
                <a:gd name="connsiteX78" fmla="*/ 1840694 w 4501379"/>
                <a:gd name="connsiteY78" fmla="*/ 104775 h 4429294"/>
                <a:gd name="connsiteX79" fmla="*/ 1897844 w 4501379"/>
                <a:gd name="connsiteY79" fmla="*/ 95250 h 4429294"/>
                <a:gd name="connsiteX80" fmla="*/ 2012144 w 4501379"/>
                <a:gd name="connsiteY80" fmla="*/ 66675 h 4429294"/>
                <a:gd name="connsiteX81" fmla="*/ 2078819 w 4501379"/>
                <a:gd name="connsiteY81" fmla="*/ 47625 h 4429294"/>
                <a:gd name="connsiteX82" fmla="*/ 2145494 w 4501379"/>
                <a:gd name="connsiteY8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307544 w 4501379"/>
                <a:gd name="connsiteY5" fmla="*/ 266700 h 4429294"/>
                <a:gd name="connsiteX6" fmla="*/ 3402794 w 4501379"/>
                <a:gd name="connsiteY6" fmla="*/ 323850 h 4429294"/>
                <a:gd name="connsiteX7" fmla="*/ 3450419 w 4501379"/>
                <a:gd name="connsiteY7" fmla="*/ 361950 h 4429294"/>
                <a:gd name="connsiteX8" fmla="*/ 3498044 w 4501379"/>
                <a:gd name="connsiteY8" fmla="*/ 390525 h 4429294"/>
                <a:gd name="connsiteX9" fmla="*/ 3612344 w 4501379"/>
                <a:gd name="connsiteY9" fmla="*/ 485775 h 4429294"/>
                <a:gd name="connsiteX10" fmla="*/ 3726644 w 4501379"/>
                <a:gd name="connsiteY10" fmla="*/ 542925 h 4429294"/>
                <a:gd name="connsiteX11" fmla="*/ 3793319 w 4501379"/>
                <a:gd name="connsiteY11" fmla="*/ 581025 h 4429294"/>
                <a:gd name="connsiteX12" fmla="*/ 4009219 w 4501379"/>
                <a:gd name="connsiteY12" fmla="*/ 819150 h 4429294"/>
                <a:gd name="connsiteX13" fmla="*/ 4145744 w 4501379"/>
                <a:gd name="connsiteY13" fmla="*/ 990600 h 4429294"/>
                <a:gd name="connsiteX14" fmla="*/ 4231469 w 4501379"/>
                <a:gd name="connsiteY14" fmla="*/ 1143000 h 4429294"/>
                <a:gd name="connsiteX15" fmla="*/ 4288619 w 4501379"/>
                <a:gd name="connsiteY15" fmla="*/ 1266825 h 4429294"/>
                <a:gd name="connsiteX16" fmla="*/ 4326719 w 4501379"/>
                <a:gd name="connsiteY16" fmla="*/ 1362075 h 4429294"/>
                <a:gd name="connsiteX17" fmla="*/ 4374344 w 4501379"/>
                <a:gd name="connsiteY17" fmla="*/ 1552575 h 4429294"/>
                <a:gd name="connsiteX18" fmla="*/ 4412444 w 4501379"/>
                <a:gd name="connsiteY18" fmla="*/ 1685925 h 4429294"/>
                <a:gd name="connsiteX19" fmla="*/ 4501344 w 4501379"/>
                <a:gd name="connsiteY19" fmla="*/ 2181225 h 4429294"/>
                <a:gd name="connsiteX20" fmla="*/ 4428319 w 4501379"/>
                <a:gd name="connsiteY20" fmla="*/ 2768600 h 4429294"/>
                <a:gd name="connsiteX21" fmla="*/ 4364819 w 4501379"/>
                <a:gd name="connsiteY21" fmla="*/ 2990850 h 4429294"/>
                <a:gd name="connsiteX22" fmla="*/ 4260044 w 4501379"/>
                <a:gd name="connsiteY22" fmla="*/ 3248025 h 4429294"/>
                <a:gd name="connsiteX23" fmla="*/ 4164794 w 4501379"/>
                <a:gd name="connsiteY23" fmla="*/ 3400425 h 4429294"/>
                <a:gd name="connsiteX24" fmla="*/ 4040969 w 4501379"/>
                <a:gd name="connsiteY24" fmla="*/ 3533775 h 4429294"/>
                <a:gd name="connsiteX25" fmla="*/ 3936194 w 4501379"/>
                <a:gd name="connsiteY25" fmla="*/ 3648075 h 4429294"/>
                <a:gd name="connsiteX26" fmla="*/ 3640919 w 4501379"/>
                <a:gd name="connsiteY26" fmla="*/ 3971925 h 4429294"/>
                <a:gd name="connsiteX27" fmla="*/ 3498044 w 4501379"/>
                <a:gd name="connsiteY27" fmla="*/ 4083050 h 4429294"/>
                <a:gd name="connsiteX28" fmla="*/ 3202769 w 4501379"/>
                <a:gd name="connsiteY28" fmla="*/ 4222750 h 4429294"/>
                <a:gd name="connsiteX29" fmla="*/ 3050369 w 4501379"/>
                <a:gd name="connsiteY29" fmla="*/ 4286250 h 4429294"/>
                <a:gd name="connsiteX30" fmla="*/ 2917019 w 4501379"/>
                <a:gd name="connsiteY30" fmla="*/ 4333875 h 4429294"/>
                <a:gd name="connsiteX31" fmla="*/ 2793194 w 4501379"/>
                <a:gd name="connsiteY31" fmla="*/ 4371975 h 4429294"/>
                <a:gd name="connsiteX32" fmla="*/ 2561419 w 4501379"/>
                <a:gd name="connsiteY32" fmla="*/ 4391025 h 4429294"/>
                <a:gd name="connsiteX33" fmla="*/ 2107394 w 4501379"/>
                <a:gd name="connsiteY33" fmla="*/ 4429125 h 4429294"/>
                <a:gd name="connsiteX34" fmla="*/ 1916894 w 4501379"/>
                <a:gd name="connsiteY34" fmla="*/ 4400550 h 4429294"/>
                <a:gd name="connsiteX35" fmla="*/ 1554944 w 4501379"/>
                <a:gd name="connsiteY35" fmla="*/ 4305300 h 4429294"/>
                <a:gd name="connsiteX36" fmla="*/ 1313644 w 4501379"/>
                <a:gd name="connsiteY36" fmla="*/ 4216400 h 4429294"/>
                <a:gd name="connsiteX37" fmla="*/ 1145369 w 4501379"/>
                <a:gd name="connsiteY37" fmla="*/ 4111625 h 4429294"/>
                <a:gd name="connsiteX38" fmla="*/ 926294 w 4501379"/>
                <a:gd name="connsiteY38" fmla="*/ 3968750 h 4429294"/>
                <a:gd name="connsiteX39" fmla="*/ 592919 w 4501379"/>
                <a:gd name="connsiteY39" fmla="*/ 3657600 h 4429294"/>
                <a:gd name="connsiteX40" fmla="*/ 446869 w 4501379"/>
                <a:gd name="connsiteY40" fmla="*/ 3470275 h 4429294"/>
                <a:gd name="connsiteX41" fmla="*/ 316694 w 4501379"/>
                <a:gd name="connsiteY41" fmla="*/ 3244850 h 4429294"/>
                <a:gd name="connsiteX42" fmla="*/ 164294 w 4501379"/>
                <a:gd name="connsiteY42" fmla="*/ 2892425 h 4429294"/>
                <a:gd name="connsiteX43" fmla="*/ 56344 w 4501379"/>
                <a:gd name="connsiteY43" fmla="*/ 2368550 h 4429294"/>
                <a:gd name="connsiteX44" fmla="*/ 2369 w 4501379"/>
                <a:gd name="connsiteY44" fmla="*/ 1905000 h 4429294"/>
                <a:gd name="connsiteX45" fmla="*/ 11894 w 4501379"/>
                <a:gd name="connsiteY45" fmla="*/ 1838325 h 4429294"/>
                <a:gd name="connsiteX46" fmla="*/ 30944 w 4501379"/>
                <a:gd name="connsiteY46" fmla="*/ 1781175 h 4429294"/>
                <a:gd name="connsiteX47" fmla="*/ 40469 w 4501379"/>
                <a:gd name="connsiteY47" fmla="*/ 1743075 h 4429294"/>
                <a:gd name="connsiteX48" fmla="*/ 59519 w 4501379"/>
                <a:gd name="connsiteY48" fmla="*/ 1685925 h 4429294"/>
                <a:gd name="connsiteX49" fmla="*/ 69044 w 4501379"/>
                <a:gd name="connsiteY49" fmla="*/ 1638300 h 4429294"/>
                <a:gd name="connsiteX50" fmla="*/ 88094 w 4501379"/>
                <a:gd name="connsiteY50" fmla="*/ 1590675 h 4429294"/>
                <a:gd name="connsiteX51" fmla="*/ 116669 w 4501379"/>
                <a:gd name="connsiteY51" fmla="*/ 1504950 h 4429294"/>
                <a:gd name="connsiteX52" fmla="*/ 135719 w 4501379"/>
                <a:gd name="connsiteY52" fmla="*/ 1419225 h 4429294"/>
                <a:gd name="connsiteX53" fmla="*/ 211919 w 4501379"/>
                <a:gd name="connsiteY53" fmla="*/ 1276350 h 4429294"/>
                <a:gd name="connsiteX54" fmla="*/ 221444 w 4501379"/>
                <a:gd name="connsiteY54" fmla="*/ 1247775 h 4429294"/>
                <a:gd name="connsiteX55" fmla="*/ 250019 w 4501379"/>
                <a:gd name="connsiteY55" fmla="*/ 1200150 h 4429294"/>
                <a:gd name="connsiteX56" fmla="*/ 269069 w 4501379"/>
                <a:gd name="connsiteY56" fmla="*/ 1152525 h 4429294"/>
                <a:gd name="connsiteX57" fmla="*/ 297644 w 4501379"/>
                <a:gd name="connsiteY57" fmla="*/ 1114425 h 4429294"/>
                <a:gd name="connsiteX58" fmla="*/ 345269 w 4501379"/>
                <a:gd name="connsiteY58" fmla="*/ 1038225 h 4429294"/>
                <a:gd name="connsiteX59" fmla="*/ 364319 w 4501379"/>
                <a:gd name="connsiteY59" fmla="*/ 1009650 h 4429294"/>
                <a:gd name="connsiteX60" fmla="*/ 421469 w 4501379"/>
                <a:gd name="connsiteY60" fmla="*/ 904875 h 4429294"/>
                <a:gd name="connsiteX61" fmla="*/ 459569 w 4501379"/>
                <a:gd name="connsiteY61" fmla="*/ 857250 h 4429294"/>
                <a:gd name="connsiteX62" fmla="*/ 478619 w 4501379"/>
                <a:gd name="connsiteY62" fmla="*/ 828675 h 4429294"/>
                <a:gd name="connsiteX63" fmla="*/ 516719 w 4501379"/>
                <a:gd name="connsiteY63" fmla="*/ 800100 h 4429294"/>
                <a:gd name="connsiteX64" fmla="*/ 583394 w 4501379"/>
                <a:gd name="connsiteY64" fmla="*/ 733425 h 4429294"/>
                <a:gd name="connsiteX65" fmla="*/ 650069 w 4501379"/>
                <a:gd name="connsiteY65" fmla="*/ 676275 h 4429294"/>
                <a:gd name="connsiteX66" fmla="*/ 678644 w 4501379"/>
                <a:gd name="connsiteY66" fmla="*/ 657225 h 4429294"/>
                <a:gd name="connsiteX67" fmla="*/ 821519 w 4501379"/>
                <a:gd name="connsiteY67" fmla="*/ 533400 h 4429294"/>
                <a:gd name="connsiteX68" fmla="*/ 869144 w 4501379"/>
                <a:gd name="connsiteY68" fmla="*/ 504825 h 4429294"/>
                <a:gd name="connsiteX69" fmla="*/ 1148544 w 4501379"/>
                <a:gd name="connsiteY69" fmla="*/ 311150 h 4429294"/>
                <a:gd name="connsiteX70" fmla="*/ 1250144 w 4501379"/>
                <a:gd name="connsiteY70" fmla="*/ 285750 h 4429294"/>
                <a:gd name="connsiteX71" fmla="*/ 1393019 w 4501379"/>
                <a:gd name="connsiteY71" fmla="*/ 190500 h 4429294"/>
                <a:gd name="connsiteX72" fmla="*/ 1431119 w 4501379"/>
                <a:gd name="connsiteY72" fmla="*/ 161925 h 4429294"/>
                <a:gd name="connsiteX73" fmla="*/ 1507319 w 4501379"/>
                <a:gd name="connsiteY73" fmla="*/ 152400 h 4429294"/>
                <a:gd name="connsiteX74" fmla="*/ 1564469 w 4501379"/>
                <a:gd name="connsiteY74" fmla="*/ 142875 h 4429294"/>
                <a:gd name="connsiteX75" fmla="*/ 1697819 w 4501379"/>
                <a:gd name="connsiteY75" fmla="*/ 123825 h 4429294"/>
                <a:gd name="connsiteX76" fmla="*/ 1793069 w 4501379"/>
                <a:gd name="connsiteY76" fmla="*/ 114300 h 4429294"/>
                <a:gd name="connsiteX77" fmla="*/ 1840694 w 4501379"/>
                <a:gd name="connsiteY77" fmla="*/ 104775 h 4429294"/>
                <a:gd name="connsiteX78" fmla="*/ 1897844 w 4501379"/>
                <a:gd name="connsiteY78" fmla="*/ 95250 h 4429294"/>
                <a:gd name="connsiteX79" fmla="*/ 2012144 w 4501379"/>
                <a:gd name="connsiteY79" fmla="*/ 66675 h 4429294"/>
                <a:gd name="connsiteX80" fmla="*/ 2078819 w 4501379"/>
                <a:gd name="connsiteY80" fmla="*/ 47625 h 4429294"/>
                <a:gd name="connsiteX81" fmla="*/ 2145494 w 4501379"/>
                <a:gd name="connsiteY8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498044 w 4501379"/>
                <a:gd name="connsiteY7" fmla="*/ 390525 h 4429294"/>
                <a:gd name="connsiteX8" fmla="*/ 3612344 w 4501379"/>
                <a:gd name="connsiteY8" fmla="*/ 485775 h 4429294"/>
                <a:gd name="connsiteX9" fmla="*/ 3726644 w 4501379"/>
                <a:gd name="connsiteY9" fmla="*/ 542925 h 4429294"/>
                <a:gd name="connsiteX10" fmla="*/ 3793319 w 4501379"/>
                <a:gd name="connsiteY10" fmla="*/ 581025 h 4429294"/>
                <a:gd name="connsiteX11" fmla="*/ 4009219 w 4501379"/>
                <a:gd name="connsiteY11" fmla="*/ 819150 h 4429294"/>
                <a:gd name="connsiteX12" fmla="*/ 4145744 w 4501379"/>
                <a:gd name="connsiteY12" fmla="*/ 990600 h 4429294"/>
                <a:gd name="connsiteX13" fmla="*/ 4231469 w 4501379"/>
                <a:gd name="connsiteY13" fmla="*/ 1143000 h 4429294"/>
                <a:gd name="connsiteX14" fmla="*/ 4288619 w 4501379"/>
                <a:gd name="connsiteY14" fmla="*/ 1266825 h 4429294"/>
                <a:gd name="connsiteX15" fmla="*/ 4326719 w 4501379"/>
                <a:gd name="connsiteY15" fmla="*/ 1362075 h 4429294"/>
                <a:gd name="connsiteX16" fmla="*/ 4374344 w 4501379"/>
                <a:gd name="connsiteY16" fmla="*/ 1552575 h 4429294"/>
                <a:gd name="connsiteX17" fmla="*/ 4412444 w 4501379"/>
                <a:gd name="connsiteY17" fmla="*/ 1685925 h 4429294"/>
                <a:gd name="connsiteX18" fmla="*/ 4501344 w 4501379"/>
                <a:gd name="connsiteY18" fmla="*/ 2181225 h 4429294"/>
                <a:gd name="connsiteX19" fmla="*/ 4428319 w 4501379"/>
                <a:gd name="connsiteY19" fmla="*/ 2768600 h 4429294"/>
                <a:gd name="connsiteX20" fmla="*/ 4364819 w 4501379"/>
                <a:gd name="connsiteY20" fmla="*/ 2990850 h 4429294"/>
                <a:gd name="connsiteX21" fmla="*/ 4260044 w 4501379"/>
                <a:gd name="connsiteY21" fmla="*/ 3248025 h 4429294"/>
                <a:gd name="connsiteX22" fmla="*/ 4164794 w 4501379"/>
                <a:gd name="connsiteY22" fmla="*/ 3400425 h 4429294"/>
                <a:gd name="connsiteX23" fmla="*/ 4040969 w 4501379"/>
                <a:gd name="connsiteY23" fmla="*/ 3533775 h 4429294"/>
                <a:gd name="connsiteX24" fmla="*/ 3936194 w 4501379"/>
                <a:gd name="connsiteY24" fmla="*/ 3648075 h 4429294"/>
                <a:gd name="connsiteX25" fmla="*/ 3640919 w 4501379"/>
                <a:gd name="connsiteY25" fmla="*/ 3971925 h 4429294"/>
                <a:gd name="connsiteX26" fmla="*/ 3498044 w 4501379"/>
                <a:gd name="connsiteY26" fmla="*/ 4083050 h 4429294"/>
                <a:gd name="connsiteX27" fmla="*/ 3202769 w 4501379"/>
                <a:gd name="connsiteY27" fmla="*/ 4222750 h 4429294"/>
                <a:gd name="connsiteX28" fmla="*/ 3050369 w 4501379"/>
                <a:gd name="connsiteY28" fmla="*/ 4286250 h 4429294"/>
                <a:gd name="connsiteX29" fmla="*/ 2917019 w 4501379"/>
                <a:gd name="connsiteY29" fmla="*/ 4333875 h 4429294"/>
                <a:gd name="connsiteX30" fmla="*/ 2793194 w 4501379"/>
                <a:gd name="connsiteY30" fmla="*/ 4371975 h 4429294"/>
                <a:gd name="connsiteX31" fmla="*/ 2561419 w 4501379"/>
                <a:gd name="connsiteY31" fmla="*/ 4391025 h 4429294"/>
                <a:gd name="connsiteX32" fmla="*/ 2107394 w 4501379"/>
                <a:gd name="connsiteY32" fmla="*/ 4429125 h 4429294"/>
                <a:gd name="connsiteX33" fmla="*/ 1916894 w 4501379"/>
                <a:gd name="connsiteY33" fmla="*/ 4400550 h 4429294"/>
                <a:gd name="connsiteX34" fmla="*/ 1554944 w 4501379"/>
                <a:gd name="connsiteY34" fmla="*/ 4305300 h 4429294"/>
                <a:gd name="connsiteX35" fmla="*/ 1313644 w 4501379"/>
                <a:gd name="connsiteY35" fmla="*/ 4216400 h 4429294"/>
                <a:gd name="connsiteX36" fmla="*/ 1145369 w 4501379"/>
                <a:gd name="connsiteY36" fmla="*/ 4111625 h 4429294"/>
                <a:gd name="connsiteX37" fmla="*/ 926294 w 4501379"/>
                <a:gd name="connsiteY37" fmla="*/ 3968750 h 4429294"/>
                <a:gd name="connsiteX38" fmla="*/ 592919 w 4501379"/>
                <a:gd name="connsiteY38" fmla="*/ 3657600 h 4429294"/>
                <a:gd name="connsiteX39" fmla="*/ 446869 w 4501379"/>
                <a:gd name="connsiteY39" fmla="*/ 3470275 h 4429294"/>
                <a:gd name="connsiteX40" fmla="*/ 316694 w 4501379"/>
                <a:gd name="connsiteY40" fmla="*/ 3244850 h 4429294"/>
                <a:gd name="connsiteX41" fmla="*/ 164294 w 4501379"/>
                <a:gd name="connsiteY41" fmla="*/ 2892425 h 4429294"/>
                <a:gd name="connsiteX42" fmla="*/ 56344 w 4501379"/>
                <a:gd name="connsiteY42" fmla="*/ 2368550 h 4429294"/>
                <a:gd name="connsiteX43" fmla="*/ 2369 w 4501379"/>
                <a:gd name="connsiteY43" fmla="*/ 1905000 h 4429294"/>
                <a:gd name="connsiteX44" fmla="*/ 11894 w 4501379"/>
                <a:gd name="connsiteY44" fmla="*/ 1838325 h 4429294"/>
                <a:gd name="connsiteX45" fmla="*/ 30944 w 4501379"/>
                <a:gd name="connsiteY45" fmla="*/ 1781175 h 4429294"/>
                <a:gd name="connsiteX46" fmla="*/ 40469 w 4501379"/>
                <a:gd name="connsiteY46" fmla="*/ 1743075 h 4429294"/>
                <a:gd name="connsiteX47" fmla="*/ 59519 w 4501379"/>
                <a:gd name="connsiteY47" fmla="*/ 1685925 h 4429294"/>
                <a:gd name="connsiteX48" fmla="*/ 69044 w 4501379"/>
                <a:gd name="connsiteY48" fmla="*/ 1638300 h 4429294"/>
                <a:gd name="connsiteX49" fmla="*/ 88094 w 4501379"/>
                <a:gd name="connsiteY49" fmla="*/ 1590675 h 4429294"/>
                <a:gd name="connsiteX50" fmla="*/ 116669 w 4501379"/>
                <a:gd name="connsiteY50" fmla="*/ 1504950 h 4429294"/>
                <a:gd name="connsiteX51" fmla="*/ 135719 w 4501379"/>
                <a:gd name="connsiteY51" fmla="*/ 1419225 h 4429294"/>
                <a:gd name="connsiteX52" fmla="*/ 211919 w 4501379"/>
                <a:gd name="connsiteY52" fmla="*/ 1276350 h 4429294"/>
                <a:gd name="connsiteX53" fmla="*/ 221444 w 4501379"/>
                <a:gd name="connsiteY53" fmla="*/ 1247775 h 4429294"/>
                <a:gd name="connsiteX54" fmla="*/ 250019 w 4501379"/>
                <a:gd name="connsiteY54" fmla="*/ 1200150 h 4429294"/>
                <a:gd name="connsiteX55" fmla="*/ 269069 w 4501379"/>
                <a:gd name="connsiteY55" fmla="*/ 1152525 h 4429294"/>
                <a:gd name="connsiteX56" fmla="*/ 297644 w 4501379"/>
                <a:gd name="connsiteY56" fmla="*/ 1114425 h 4429294"/>
                <a:gd name="connsiteX57" fmla="*/ 345269 w 4501379"/>
                <a:gd name="connsiteY57" fmla="*/ 1038225 h 4429294"/>
                <a:gd name="connsiteX58" fmla="*/ 364319 w 4501379"/>
                <a:gd name="connsiteY58" fmla="*/ 1009650 h 4429294"/>
                <a:gd name="connsiteX59" fmla="*/ 421469 w 4501379"/>
                <a:gd name="connsiteY59" fmla="*/ 904875 h 4429294"/>
                <a:gd name="connsiteX60" fmla="*/ 459569 w 4501379"/>
                <a:gd name="connsiteY60" fmla="*/ 857250 h 4429294"/>
                <a:gd name="connsiteX61" fmla="*/ 478619 w 4501379"/>
                <a:gd name="connsiteY61" fmla="*/ 828675 h 4429294"/>
                <a:gd name="connsiteX62" fmla="*/ 516719 w 4501379"/>
                <a:gd name="connsiteY62" fmla="*/ 800100 h 4429294"/>
                <a:gd name="connsiteX63" fmla="*/ 583394 w 4501379"/>
                <a:gd name="connsiteY63" fmla="*/ 733425 h 4429294"/>
                <a:gd name="connsiteX64" fmla="*/ 650069 w 4501379"/>
                <a:gd name="connsiteY64" fmla="*/ 676275 h 4429294"/>
                <a:gd name="connsiteX65" fmla="*/ 678644 w 4501379"/>
                <a:gd name="connsiteY65" fmla="*/ 657225 h 4429294"/>
                <a:gd name="connsiteX66" fmla="*/ 821519 w 4501379"/>
                <a:gd name="connsiteY66" fmla="*/ 533400 h 4429294"/>
                <a:gd name="connsiteX67" fmla="*/ 869144 w 4501379"/>
                <a:gd name="connsiteY67" fmla="*/ 504825 h 4429294"/>
                <a:gd name="connsiteX68" fmla="*/ 1148544 w 4501379"/>
                <a:gd name="connsiteY68" fmla="*/ 311150 h 4429294"/>
                <a:gd name="connsiteX69" fmla="*/ 1250144 w 4501379"/>
                <a:gd name="connsiteY69" fmla="*/ 285750 h 4429294"/>
                <a:gd name="connsiteX70" fmla="*/ 1393019 w 4501379"/>
                <a:gd name="connsiteY70" fmla="*/ 190500 h 4429294"/>
                <a:gd name="connsiteX71" fmla="*/ 1431119 w 4501379"/>
                <a:gd name="connsiteY71" fmla="*/ 161925 h 4429294"/>
                <a:gd name="connsiteX72" fmla="*/ 1507319 w 4501379"/>
                <a:gd name="connsiteY72" fmla="*/ 152400 h 4429294"/>
                <a:gd name="connsiteX73" fmla="*/ 1564469 w 4501379"/>
                <a:gd name="connsiteY73" fmla="*/ 142875 h 4429294"/>
                <a:gd name="connsiteX74" fmla="*/ 1697819 w 4501379"/>
                <a:gd name="connsiteY74" fmla="*/ 123825 h 4429294"/>
                <a:gd name="connsiteX75" fmla="*/ 1793069 w 4501379"/>
                <a:gd name="connsiteY75" fmla="*/ 114300 h 4429294"/>
                <a:gd name="connsiteX76" fmla="*/ 1840694 w 4501379"/>
                <a:gd name="connsiteY76" fmla="*/ 104775 h 4429294"/>
                <a:gd name="connsiteX77" fmla="*/ 1897844 w 4501379"/>
                <a:gd name="connsiteY77" fmla="*/ 95250 h 4429294"/>
                <a:gd name="connsiteX78" fmla="*/ 2012144 w 4501379"/>
                <a:gd name="connsiteY78" fmla="*/ 66675 h 4429294"/>
                <a:gd name="connsiteX79" fmla="*/ 2078819 w 4501379"/>
                <a:gd name="connsiteY79" fmla="*/ 47625 h 4429294"/>
                <a:gd name="connsiteX80" fmla="*/ 2145494 w 4501379"/>
                <a:gd name="connsiteY8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450419 w 4501379"/>
                <a:gd name="connsiteY6" fmla="*/ 361950 h 4429294"/>
                <a:gd name="connsiteX7" fmla="*/ 3612344 w 4501379"/>
                <a:gd name="connsiteY7" fmla="*/ 485775 h 4429294"/>
                <a:gd name="connsiteX8" fmla="*/ 3726644 w 4501379"/>
                <a:gd name="connsiteY8" fmla="*/ 542925 h 4429294"/>
                <a:gd name="connsiteX9" fmla="*/ 3793319 w 4501379"/>
                <a:gd name="connsiteY9" fmla="*/ 581025 h 4429294"/>
                <a:gd name="connsiteX10" fmla="*/ 4009219 w 4501379"/>
                <a:gd name="connsiteY10" fmla="*/ 819150 h 4429294"/>
                <a:gd name="connsiteX11" fmla="*/ 4145744 w 4501379"/>
                <a:gd name="connsiteY11" fmla="*/ 990600 h 4429294"/>
                <a:gd name="connsiteX12" fmla="*/ 4231469 w 4501379"/>
                <a:gd name="connsiteY12" fmla="*/ 1143000 h 4429294"/>
                <a:gd name="connsiteX13" fmla="*/ 4288619 w 4501379"/>
                <a:gd name="connsiteY13" fmla="*/ 1266825 h 4429294"/>
                <a:gd name="connsiteX14" fmla="*/ 4326719 w 4501379"/>
                <a:gd name="connsiteY14" fmla="*/ 1362075 h 4429294"/>
                <a:gd name="connsiteX15" fmla="*/ 4374344 w 4501379"/>
                <a:gd name="connsiteY15" fmla="*/ 1552575 h 4429294"/>
                <a:gd name="connsiteX16" fmla="*/ 4412444 w 4501379"/>
                <a:gd name="connsiteY16" fmla="*/ 1685925 h 4429294"/>
                <a:gd name="connsiteX17" fmla="*/ 4501344 w 4501379"/>
                <a:gd name="connsiteY17" fmla="*/ 2181225 h 4429294"/>
                <a:gd name="connsiteX18" fmla="*/ 4428319 w 4501379"/>
                <a:gd name="connsiteY18" fmla="*/ 2768600 h 4429294"/>
                <a:gd name="connsiteX19" fmla="*/ 4364819 w 4501379"/>
                <a:gd name="connsiteY19" fmla="*/ 2990850 h 4429294"/>
                <a:gd name="connsiteX20" fmla="*/ 4260044 w 4501379"/>
                <a:gd name="connsiteY20" fmla="*/ 3248025 h 4429294"/>
                <a:gd name="connsiteX21" fmla="*/ 4164794 w 4501379"/>
                <a:gd name="connsiteY21" fmla="*/ 3400425 h 4429294"/>
                <a:gd name="connsiteX22" fmla="*/ 4040969 w 4501379"/>
                <a:gd name="connsiteY22" fmla="*/ 3533775 h 4429294"/>
                <a:gd name="connsiteX23" fmla="*/ 3936194 w 4501379"/>
                <a:gd name="connsiteY23" fmla="*/ 3648075 h 4429294"/>
                <a:gd name="connsiteX24" fmla="*/ 3640919 w 4501379"/>
                <a:gd name="connsiteY24" fmla="*/ 3971925 h 4429294"/>
                <a:gd name="connsiteX25" fmla="*/ 3498044 w 4501379"/>
                <a:gd name="connsiteY25" fmla="*/ 4083050 h 4429294"/>
                <a:gd name="connsiteX26" fmla="*/ 3202769 w 4501379"/>
                <a:gd name="connsiteY26" fmla="*/ 4222750 h 4429294"/>
                <a:gd name="connsiteX27" fmla="*/ 3050369 w 4501379"/>
                <a:gd name="connsiteY27" fmla="*/ 4286250 h 4429294"/>
                <a:gd name="connsiteX28" fmla="*/ 2917019 w 4501379"/>
                <a:gd name="connsiteY28" fmla="*/ 4333875 h 4429294"/>
                <a:gd name="connsiteX29" fmla="*/ 2793194 w 4501379"/>
                <a:gd name="connsiteY29" fmla="*/ 4371975 h 4429294"/>
                <a:gd name="connsiteX30" fmla="*/ 2561419 w 4501379"/>
                <a:gd name="connsiteY30" fmla="*/ 4391025 h 4429294"/>
                <a:gd name="connsiteX31" fmla="*/ 2107394 w 4501379"/>
                <a:gd name="connsiteY31" fmla="*/ 4429125 h 4429294"/>
                <a:gd name="connsiteX32" fmla="*/ 1916894 w 4501379"/>
                <a:gd name="connsiteY32" fmla="*/ 4400550 h 4429294"/>
                <a:gd name="connsiteX33" fmla="*/ 1554944 w 4501379"/>
                <a:gd name="connsiteY33" fmla="*/ 4305300 h 4429294"/>
                <a:gd name="connsiteX34" fmla="*/ 1313644 w 4501379"/>
                <a:gd name="connsiteY34" fmla="*/ 4216400 h 4429294"/>
                <a:gd name="connsiteX35" fmla="*/ 1145369 w 4501379"/>
                <a:gd name="connsiteY35" fmla="*/ 4111625 h 4429294"/>
                <a:gd name="connsiteX36" fmla="*/ 926294 w 4501379"/>
                <a:gd name="connsiteY36" fmla="*/ 3968750 h 4429294"/>
                <a:gd name="connsiteX37" fmla="*/ 592919 w 4501379"/>
                <a:gd name="connsiteY37" fmla="*/ 3657600 h 4429294"/>
                <a:gd name="connsiteX38" fmla="*/ 446869 w 4501379"/>
                <a:gd name="connsiteY38" fmla="*/ 3470275 h 4429294"/>
                <a:gd name="connsiteX39" fmla="*/ 316694 w 4501379"/>
                <a:gd name="connsiteY39" fmla="*/ 3244850 h 4429294"/>
                <a:gd name="connsiteX40" fmla="*/ 164294 w 4501379"/>
                <a:gd name="connsiteY40" fmla="*/ 2892425 h 4429294"/>
                <a:gd name="connsiteX41" fmla="*/ 56344 w 4501379"/>
                <a:gd name="connsiteY41" fmla="*/ 2368550 h 4429294"/>
                <a:gd name="connsiteX42" fmla="*/ 2369 w 4501379"/>
                <a:gd name="connsiteY42" fmla="*/ 1905000 h 4429294"/>
                <a:gd name="connsiteX43" fmla="*/ 11894 w 4501379"/>
                <a:gd name="connsiteY43" fmla="*/ 1838325 h 4429294"/>
                <a:gd name="connsiteX44" fmla="*/ 30944 w 4501379"/>
                <a:gd name="connsiteY44" fmla="*/ 1781175 h 4429294"/>
                <a:gd name="connsiteX45" fmla="*/ 40469 w 4501379"/>
                <a:gd name="connsiteY45" fmla="*/ 1743075 h 4429294"/>
                <a:gd name="connsiteX46" fmla="*/ 59519 w 4501379"/>
                <a:gd name="connsiteY46" fmla="*/ 1685925 h 4429294"/>
                <a:gd name="connsiteX47" fmla="*/ 69044 w 4501379"/>
                <a:gd name="connsiteY47" fmla="*/ 1638300 h 4429294"/>
                <a:gd name="connsiteX48" fmla="*/ 88094 w 4501379"/>
                <a:gd name="connsiteY48" fmla="*/ 1590675 h 4429294"/>
                <a:gd name="connsiteX49" fmla="*/ 116669 w 4501379"/>
                <a:gd name="connsiteY49" fmla="*/ 1504950 h 4429294"/>
                <a:gd name="connsiteX50" fmla="*/ 135719 w 4501379"/>
                <a:gd name="connsiteY50" fmla="*/ 1419225 h 4429294"/>
                <a:gd name="connsiteX51" fmla="*/ 211919 w 4501379"/>
                <a:gd name="connsiteY51" fmla="*/ 1276350 h 4429294"/>
                <a:gd name="connsiteX52" fmla="*/ 221444 w 4501379"/>
                <a:gd name="connsiteY52" fmla="*/ 1247775 h 4429294"/>
                <a:gd name="connsiteX53" fmla="*/ 250019 w 4501379"/>
                <a:gd name="connsiteY53" fmla="*/ 1200150 h 4429294"/>
                <a:gd name="connsiteX54" fmla="*/ 269069 w 4501379"/>
                <a:gd name="connsiteY54" fmla="*/ 1152525 h 4429294"/>
                <a:gd name="connsiteX55" fmla="*/ 297644 w 4501379"/>
                <a:gd name="connsiteY55" fmla="*/ 1114425 h 4429294"/>
                <a:gd name="connsiteX56" fmla="*/ 345269 w 4501379"/>
                <a:gd name="connsiteY56" fmla="*/ 1038225 h 4429294"/>
                <a:gd name="connsiteX57" fmla="*/ 364319 w 4501379"/>
                <a:gd name="connsiteY57" fmla="*/ 1009650 h 4429294"/>
                <a:gd name="connsiteX58" fmla="*/ 421469 w 4501379"/>
                <a:gd name="connsiteY58" fmla="*/ 904875 h 4429294"/>
                <a:gd name="connsiteX59" fmla="*/ 459569 w 4501379"/>
                <a:gd name="connsiteY59" fmla="*/ 857250 h 4429294"/>
                <a:gd name="connsiteX60" fmla="*/ 478619 w 4501379"/>
                <a:gd name="connsiteY60" fmla="*/ 828675 h 4429294"/>
                <a:gd name="connsiteX61" fmla="*/ 516719 w 4501379"/>
                <a:gd name="connsiteY61" fmla="*/ 800100 h 4429294"/>
                <a:gd name="connsiteX62" fmla="*/ 583394 w 4501379"/>
                <a:gd name="connsiteY62" fmla="*/ 733425 h 4429294"/>
                <a:gd name="connsiteX63" fmla="*/ 650069 w 4501379"/>
                <a:gd name="connsiteY63" fmla="*/ 676275 h 4429294"/>
                <a:gd name="connsiteX64" fmla="*/ 678644 w 4501379"/>
                <a:gd name="connsiteY64" fmla="*/ 657225 h 4429294"/>
                <a:gd name="connsiteX65" fmla="*/ 821519 w 4501379"/>
                <a:gd name="connsiteY65" fmla="*/ 533400 h 4429294"/>
                <a:gd name="connsiteX66" fmla="*/ 869144 w 4501379"/>
                <a:gd name="connsiteY66" fmla="*/ 504825 h 4429294"/>
                <a:gd name="connsiteX67" fmla="*/ 1148544 w 4501379"/>
                <a:gd name="connsiteY67" fmla="*/ 311150 h 4429294"/>
                <a:gd name="connsiteX68" fmla="*/ 1250144 w 4501379"/>
                <a:gd name="connsiteY68" fmla="*/ 285750 h 4429294"/>
                <a:gd name="connsiteX69" fmla="*/ 1393019 w 4501379"/>
                <a:gd name="connsiteY69" fmla="*/ 190500 h 4429294"/>
                <a:gd name="connsiteX70" fmla="*/ 1431119 w 4501379"/>
                <a:gd name="connsiteY70" fmla="*/ 161925 h 4429294"/>
                <a:gd name="connsiteX71" fmla="*/ 1507319 w 4501379"/>
                <a:gd name="connsiteY71" fmla="*/ 152400 h 4429294"/>
                <a:gd name="connsiteX72" fmla="*/ 1564469 w 4501379"/>
                <a:gd name="connsiteY72" fmla="*/ 142875 h 4429294"/>
                <a:gd name="connsiteX73" fmla="*/ 1697819 w 4501379"/>
                <a:gd name="connsiteY73" fmla="*/ 123825 h 4429294"/>
                <a:gd name="connsiteX74" fmla="*/ 1793069 w 4501379"/>
                <a:gd name="connsiteY74" fmla="*/ 114300 h 4429294"/>
                <a:gd name="connsiteX75" fmla="*/ 1840694 w 4501379"/>
                <a:gd name="connsiteY75" fmla="*/ 104775 h 4429294"/>
                <a:gd name="connsiteX76" fmla="*/ 1897844 w 4501379"/>
                <a:gd name="connsiteY76" fmla="*/ 95250 h 4429294"/>
                <a:gd name="connsiteX77" fmla="*/ 2012144 w 4501379"/>
                <a:gd name="connsiteY77" fmla="*/ 66675 h 4429294"/>
                <a:gd name="connsiteX78" fmla="*/ 2078819 w 4501379"/>
                <a:gd name="connsiteY78" fmla="*/ 47625 h 4429294"/>
                <a:gd name="connsiteX79" fmla="*/ 2145494 w 4501379"/>
                <a:gd name="connsiteY7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26644 w 4501379"/>
                <a:gd name="connsiteY7" fmla="*/ 542925 h 4429294"/>
                <a:gd name="connsiteX8" fmla="*/ 3793319 w 4501379"/>
                <a:gd name="connsiteY8" fmla="*/ 581025 h 4429294"/>
                <a:gd name="connsiteX9" fmla="*/ 4009219 w 4501379"/>
                <a:gd name="connsiteY9" fmla="*/ 819150 h 4429294"/>
                <a:gd name="connsiteX10" fmla="*/ 4145744 w 4501379"/>
                <a:gd name="connsiteY10" fmla="*/ 990600 h 4429294"/>
                <a:gd name="connsiteX11" fmla="*/ 4231469 w 4501379"/>
                <a:gd name="connsiteY11" fmla="*/ 1143000 h 4429294"/>
                <a:gd name="connsiteX12" fmla="*/ 4288619 w 4501379"/>
                <a:gd name="connsiteY12" fmla="*/ 1266825 h 4429294"/>
                <a:gd name="connsiteX13" fmla="*/ 4326719 w 4501379"/>
                <a:gd name="connsiteY13" fmla="*/ 1362075 h 4429294"/>
                <a:gd name="connsiteX14" fmla="*/ 4374344 w 4501379"/>
                <a:gd name="connsiteY14" fmla="*/ 1552575 h 4429294"/>
                <a:gd name="connsiteX15" fmla="*/ 4412444 w 4501379"/>
                <a:gd name="connsiteY15" fmla="*/ 1685925 h 4429294"/>
                <a:gd name="connsiteX16" fmla="*/ 4501344 w 4501379"/>
                <a:gd name="connsiteY16" fmla="*/ 2181225 h 4429294"/>
                <a:gd name="connsiteX17" fmla="*/ 4428319 w 4501379"/>
                <a:gd name="connsiteY17" fmla="*/ 2768600 h 4429294"/>
                <a:gd name="connsiteX18" fmla="*/ 4364819 w 4501379"/>
                <a:gd name="connsiteY18" fmla="*/ 2990850 h 4429294"/>
                <a:gd name="connsiteX19" fmla="*/ 4260044 w 4501379"/>
                <a:gd name="connsiteY19" fmla="*/ 3248025 h 4429294"/>
                <a:gd name="connsiteX20" fmla="*/ 4164794 w 4501379"/>
                <a:gd name="connsiteY20" fmla="*/ 3400425 h 4429294"/>
                <a:gd name="connsiteX21" fmla="*/ 4040969 w 4501379"/>
                <a:gd name="connsiteY21" fmla="*/ 3533775 h 4429294"/>
                <a:gd name="connsiteX22" fmla="*/ 3936194 w 4501379"/>
                <a:gd name="connsiteY22" fmla="*/ 3648075 h 4429294"/>
                <a:gd name="connsiteX23" fmla="*/ 3640919 w 4501379"/>
                <a:gd name="connsiteY23" fmla="*/ 3971925 h 4429294"/>
                <a:gd name="connsiteX24" fmla="*/ 3498044 w 4501379"/>
                <a:gd name="connsiteY24" fmla="*/ 4083050 h 4429294"/>
                <a:gd name="connsiteX25" fmla="*/ 3202769 w 4501379"/>
                <a:gd name="connsiteY25" fmla="*/ 4222750 h 4429294"/>
                <a:gd name="connsiteX26" fmla="*/ 3050369 w 4501379"/>
                <a:gd name="connsiteY26" fmla="*/ 4286250 h 4429294"/>
                <a:gd name="connsiteX27" fmla="*/ 2917019 w 4501379"/>
                <a:gd name="connsiteY27" fmla="*/ 4333875 h 4429294"/>
                <a:gd name="connsiteX28" fmla="*/ 2793194 w 4501379"/>
                <a:gd name="connsiteY28" fmla="*/ 4371975 h 4429294"/>
                <a:gd name="connsiteX29" fmla="*/ 2561419 w 4501379"/>
                <a:gd name="connsiteY29" fmla="*/ 4391025 h 4429294"/>
                <a:gd name="connsiteX30" fmla="*/ 2107394 w 4501379"/>
                <a:gd name="connsiteY30" fmla="*/ 4429125 h 4429294"/>
                <a:gd name="connsiteX31" fmla="*/ 1916894 w 4501379"/>
                <a:gd name="connsiteY31" fmla="*/ 4400550 h 4429294"/>
                <a:gd name="connsiteX32" fmla="*/ 1554944 w 4501379"/>
                <a:gd name="connsiteY32" fmla="*/ 4305300 h 4429294"/>
                <a:gd name="connsiteX33" fmla="*/ 1313644 w 4501379"/>
                <a:gd name="connsiteY33" fmla="*/ 4216400 h 4429294"/>
                <a:gd name="connsiteX34" fmla="*/ 1145369 w 4501379"/>
                <a:gd name="connsiteY34" fmla="*/ 4111625 h 4429294"/>
                <a:gd name="connsiteX35" fmla="*/ 926294 w 4501379"/>
                <a:gd name="connsiteY35" fmla="*/ 3968750 h 4429294"/>
                <a:gd name="connsiteX36" fmla="*/ 592919 w 4501379"/>
                <a:gd name="connsiteY36" fmla="*/ 3657600 h 4429294"/>
                <a:gd name="connsiteX37" fmla="*/ 446869 w 4501379"/>
                <a:gd name="connsiteY37" fmla="*/ 3470275 h 4429294"/>
                <a:gd name="connsiteX38" fmla="*/ 316694 w 4501379"/>
                <a:gd name="connsiteY38" fmla="*/ 3244850 h 4429294"/>
                <a:gd name="connsiteX39" fmla="*/ 164294 w 4501379"/>
                <a:gd name="connsiteY39" fmla="*/ 2892425 h 4429294"/>
                <a:gd name="connsiteX40" fmla="*/ 56344 w 4501379"/>
                <a:gd name="connsiteY40" fmla="*/ 2368550 h 4429294"/>
                <a:gd name="connsiteX41" fmla="*/ 2369 w 4501379"/>
                <a:gd name="connsiteY41" fmla="*/ 1905000 h 4429294"/>
                <a:gd name="connsiteX42" fmla="*/ 11894 w 4501379"/>
                <a:gd name="connsiteY42" fmla="*/ 1838325 h 4429294"/>
                <a:gd name="connsiteX43" fmla="*/ 30944 w 4501379"/>
                <a:gd name="connsiteY43" fmla="*/ 1781175 h 4429294"/>
                <a:gd name="connsiteX44" fmla="*/ 40469 w 4501379"/>
                <a:gd name="connsiteY44" fmla="*/ 1743075 h 4429294"/>
                <a:gd name="connsiteX45" fmla="*/ 59519 w 4501379"/>
                <a:gd name="connsiteY45" fmla="*/ 1685925 h 4429294"/>
                <a:gd name="connsiteX46" fmla="*/ 69044 w 4501379"/>
                <a:gd name="connsiteY46" fmla="*/ 1638300 h 4429294"/>
                <a:gd name="connsiteX47" fmla="*/ 88094 w 4501379"/>
                <a:gd name="connsiteY47" fmla="*/ 1590675 h 4429294"/>
                <a:gd name="connsiteX48" fmla="*/ 116669 w 4501379"/>
                <a:gd name="connsiteY48" fmla="*/ 1504950 h 4429294"/>
                <a:gd name="connsiteX49" fmla="*/ 135719 w 4501379"/>
                <a:gd name="connsiteY49" fmla="*/ 1419225 h 4429294"/>
                <a:gd name="connsiteX50" fmla="*/ 211919 w 4501379"/>
                <a:gd name="connsiteY50" fmla="*/ 1276350 h 4429294"/>
                <a:gd name="connsiteX51" fmla="*/ 221444 w 4501379"/>
                <a:gd name="connsiteY51" fmla="*/ 1247775 h 4429294"/>
                <a:gd name="connsiteX52" fmla="*/ 250019 w 4501379"/>
                <a:gd name="connsiteY52" fmla="*/ 1200150 h 4429294"/>
                <a:gd name="connsiteX53" fmla="*/ 269069 w 4501379"/>
                <a:gd name="connsiteY53" fmla="*/ 1152525 h 4429294"/>
                <a:gd name="connsiteX54" fmla="*/ 297644 w 4501379"/>
                <a:gd name="connsiteY54" fmla="*/ 1114425 h 4429294"/>
                <a:gd name="connsiteX55" fmla="*/ 345269 w 4501379"/>
                <a:gd name="connsiteY55" fmla="*/ 1038225 h 4429294"/>
                <a:gd name="connsiteX56" fmla="*/ 364319 w 4501379"/>
                <a:gd name="connsiteY56" fmla="*/ 1009650 h 4429294"/>
                <a:gd name="connsiteX57" fmla="*/ 421469 w 4501379"/>
                <a:gd name="connsiteY57" fmla="*/ 904875 h 4429294"/>
                <a:gd name="connsiteX58" fmla="*/ 459569 w 4501379"/>
                <a:gd name="connsiteY58" fmla="*/ 857250 h 4429294"/>
                <a:gd name="connsiteX59" fmla="*/ 478619 w 4501379"/>
                <a:gd name="connsiteY59" fmla="*/ 828675 h 4429294"/>
                <a:gd name="connsiteX60" fmla="*/ 516719 w 4501379"/>
                <a:gd name="connsiteY60" fmla="*/ 800100 h 4429294"/>
                <a:gd name="connsiteX61" fmla="*/ 583394 w 4501379"/>
                <a:gd name="connsiteY61" fmla="*/ 733425 h 4429294"/>
                <a:gd name="connsiteX62" fmla="*/ 650069 w 4501379"/>
                <a:gd name="connsiteY62" fmla="*/ 676275 h 4429294"/>
                <a:gd name="connsiteX63" fmla="*/ 678644 w 4501379"/>
                <a:gd name="connsiteY63" fmla="*/ 657225 h 4429294"/>
                <a:gd name="connsiteX64" fmla="*/ 821519 w 4501379"/>
                <a:gd name="connsiteY64" fmla="*/ 533400 h 4429294"/>
                <a:gd name="connsiteX65" fmla="*/ 869144 w 4501379"/>
                <a:gd name="connsiteY65" fmla="*/ 504825 h 4429294"/>
                <a:gd name="connsiteX66" fmla="*/ 1148544 w 4501379"/>
                <a:gd name="connsiteY66" fmla="*/ 311150 h 4429294"/>
                <a:gd name="connsiteX67" fmla="*/ 1250144 w 4501379"/>
                <a:gd name="connsiteY67" fmla="*/ 285750 h 4429294"/>
                <a:gd name="connsiteX68" fmla="*/ 1393019 w 4501379"/>
                <a:gd name="connsiteY68" fmla="*/ 190500 h 4429294"/>
                <a:gd name="connsiteX69" fmla="*/ 1431119 w 4501379"/>
                <a:gd name="connsiteY69" fmla="*/ 161925 h 4429294"/>
                <a:gd name="connsiteX70" fmla="*/ 1507319 w 4501379"/>
                <a:gd name="connsiteY70" fmla="*/ 152400 h 4429294"/>
                <a:gd name="connsiteX71" fmla="*/ 1564469 w 4501379"/>
                <a:gd name="connsiteY71" fmla="*/ 142875 h 4429294"/>
                <a:gd name="connsiteX72" fmla="*/ 1697819 w 4501379"/>
                <a:gd name="connsiteY72" fmla="*/ 123825 h 4429294"/>
                <a:gd name="connsiteX73" fmla="*/ 1793069 w 4501379"/>
                <a:gd name="connsiteY73" fmla="*/ 114300 h 4429294"/>
                <a:gd name="connsiteX74" fmla="*/ 1840694 w 4501379"/>
                <a:gd name="connsiteY74" fmla="*/ 104775 h 4429294"/>
                <a:gd name="connsiteX75" fmla="*/ 1897844 w 4501379"/>
                <a:gd name="connsiteY75" fmla="*/ 95250 h 4429294"/>
                <a:gd name="connsiteX76" fmla="*/ 2012144 w 4501379"/>
                <a:gd name="connsiteY76" fmla="*/ 66675 h 4429294"/>
                <a:gd name="connsiteX77" fmla="*/ 2078819 w 4501379"/>
                <a:gd name="connsiteY77" fmla="*/ 47625 h 4429294"/>
                <a:gd name="connsiteX78" fmla="*/ 2145494 w 4501379"/>
                <a:gd name="connsiteY7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612344 w 4501379"/>
                <a:gd name="connsiteY6" fmla="*/ 485775 h 4429294"/>
                <a:gd name="connsiteX7" fmla="*/ 3793319 w 4501379"/>
                <a:gd name="connsiteY7" fmla="*/ 581025 h 4429294"/>
                <a:gd name="connsiteX8" fmla="*/ 4009219 w 4501379"/>
                <a:gd name="connsiteY8" fmla="*/ 819150 h 4429294"/>
                <a:gd name="connsiteX9" fmla="*/ 4145744 w 4501379"/>
                <a:gd name="connsiteY9" fmla="*/ 990600 h 4429294"/>
                <a:gd name="connsiteX10" fmla="*/ 4231469 w 4501379"/>
                <a:gd name="connsiteY10" fmla="*/ 1143000 h 4429294"/>
                <a:gd name="connsiteX11" fmla="*/ 4288619 w 4501379"/>
                <a:gd name="connsiteY11" fmla="*/ 1266825 h 4429294"/>
                <a:gd name="connsiteX12" fmla="*/ 4326719 w 4501379"/>
                <a:gd name="connsiteY12" fmla="*/ 1362075 h 4429294"/>
                <a:gd name="connsiteX13" fmla="*/ 4374344 w 4501379"/>
                <a:gd name="connsiteY13" fmla="*/ 1552575 h 4429294"/>
                <a:gd name="connsiteX14" fmla="*/ 4412444 w 4501379"/>
                <a:gd name="connsiteY14" fmla="*/ 1685925 h 4429294"/>
                <a:gd name="connsiteX15" fmla="*/ 4501344 w 4501379"/>
                <a:gd name="connsiteY15" fmla="*/ 2181225 h 4429294"/>
                <a:gd name="connsiteX16" fmla="*/ 4428319 w 4501379"/>
                <a:gd name="connsiteY16" fmla="*/ 2768600 h 4429294"/>
                <a:gd name="connsiteX17" fmla="*/ 4364819 w 4501379"/>
                <a:gd name="connsiteY17" fmla="*/ 2990850 h 4429294"/>
                <a:gd name="connsiteX18" fmla="*/ 4260044 w 4501379"/>
                <a:gd name="connsiteY18" fmla="*/ 3248025 h 4429294"/>
                <a:gd name="connsiteX19" fmla="*/ 4164794 w 4501379"/>
                <a:gd name="connsiteY19" fmla="*/ 3400425 h 4429294"/>
                <a:gd name="connsiteX20" fmla="*/ 4040969 w 4501379"/>
                <a:gd name="connsiteY20" fmla="*/ 3533775 h 4429294"/>
                <a:gd name="connsiteX21" fmla="*/ 3936194 w 4501379"/>
                <a:gd name="connsiteY21" fmla="*/ 3648075 h 4429294"/>
                <a:gd name="connsiteX22" fmla="*/ 3640919 w 4501379"/>
                <a:gd name="connsiteY22" fmla="*/ 3971925 h 4429294"/>
                <a:gd name="connsiteX23" fmla="*/ 3498044 w 4501379"/>
                <a:gd name="connsiteY23" fmla="*/ 4083050 h 4429294"/>
                <a:gd name="connsiteX24" fmla="*/ 3202769 w 4501379"/>
                <a:gd name="connsiteY24" fmla="*/ 4222750 h 4429294"/>
                <a:gd name="connsiteX25" fmla="*/ 3050369 w 4501379"/>
                <a:gd name="connsiteY25" fmla="*/ 4286250 h 4429294"/>
                <a:gd name="connsiteX26" fmla="*/ 2917019 w 4501379"/>
                <a:gd name="connsiteY26" fmla="*/ 4333875 h 4429294"/>
                <a:gd name="connsiteX27" fmla="*/ 2793194 w 4501379"/>
                <a:gd name="connsiteY27" fmla="*/ 4371975 h 4429294"/>
                <a:gd name="connsiteX28" fmla="*/ 2561419 w 4501379"/>
                <a:gd name="connsiteY28" fmla="*/ 4391025 h 4429294"/>
                <a:gd name="connsiteX29" fmla="*/ 2107394 w 4501379"/>
                <a:gd name="connsiteY29" fmla="*/ 4429125 h 4429294"/>
                <a:gd name="connsiteX30" fmla="*/ 1916894 w 4501379"/>
                <a:gd name="connsiteY30" fmla="*/ 4400550 h 4429294"/>
                <a:gd name="connsiteX31" fmla="*/ 1554944 w 4501379"/>
                <a:gd name="connsiteY31" fmla="*/ 4305300 h 4429294"/>
                <a:gd name="connsiteX32" fmla="*/ 1313644 w 4501379"/>
                <a:gd name="connsiteY32" fmla="*/ 4216400 h 4429294"/>
                <a:gd name="connsiteX33" fmla="*/ 1145369 w 4501379"/>
                <a:gd name="connsiteY33" fmla="*/ 4111625 h 4429294"/>
                <a:gd name="connsiteX34" fmla="*/ 926294 w 4501379"/>
                <a:gd name="connsiteY34" fmla="*/ 3968750 h 4429294"/>
                <a:gd name="connsiteX35" fmla="*/ 592919 w 4501379"/>
                <a:gd name="connsiteY35" fmla="*/ 3657600 h 4429294"/>
                <a:gd name="connsiteX36" fmla="*/ 446869 w 4501379"/>
                <a:gd name="connsiteY36" fmla="*/ 3470275 h 4429294"/>
                <a:gd name="connsiteX37" fmla="*/ 316694 w 4501379"/>
                <a:gd name="connsiteY37" fmla="*/ 3244850 h 4429294"/>
                <a:gd name="connsiteX38" fmla="*/ 164294 w 4501379"/>
                <a:gd name="connsiteY38" fmla="*/ 2892425 h 4429294"/>
                <a:gd name="connsiteX39" fmla="*/ 56344 w 4501379"/>
                <a:gd name="connsiteY39" fmla="*/ 2368550 h 4429294"/>
                <a:gd name="connsiteX40" fmla="*/ 2369 w 4501379"/>
                <a:gd name="connsiteY40" fmla="*/ 1905000 h 4429294"/>
                <a:gd name="connsiteX41" fmla="*/ 11894 w 4501379"/>
                <a:gd name="connsiteY41" fmla="*/ 1838325 h 4429294"/>
                <a:gd name="connsiteX42" fmla="*/ 30944 w 4501379"/>
                <a:gd name="connsiteY42" fmla="*/ 1781175 h 4429294"/>
                <a:gd name="connsiteX43" fmla="*/ 40469 w 4501379"/>
                <a:gd name="connsiteY43" fmla="*/ 1743075 h 4429294"/>
                <a:gd name="connsiteX44" fmla="*/ 59519 w 4501379"/>
                <a:gd name="connsiteY44" fmla="*/ 1685925 h 4429294"/>
                <a:gd name="connsiteX45" fmla="*/ 69044 w 4501379"/>
                <a:gd name="connsiteY45" fmla="*/ 1638300 h 4429294"/>
                <a:gd name="connsiteX46" fmla="*/ 88094 w 4501379"/>
                <a:gd name="connsiteY46" fmla="*/ 1590675 h 4429294"/>
                <a:gd name="connsiteX47" fmla="*/ 116669 w 4501379"/>
                <a:gd name="connsiteY47" fmla="*/ 1504950 h 4429294"/>
                <a:gd name="connsiteX48" fmla="*/ 135719 w 4501379"/>
                <a:gd name="connsiteY48" fmla="*/ 1419225 h 4429294"/>
                <a:gd name="connsiteX49" fmla="*/ 211919 w 4501379"/>
                <a:gd name="connsiteY49" fmla="*/ 1276350 h 4429294"/>
                <a:gd name="connsiteX50" fmla="*/ 221444 w 4501379"/>
                <a:gd name="connsiteY50" fmla="*/ 1247775 h 4429294"/>
                <a:gd name="connsiteX51" fmla="*/ 250019 w 4501379"/>
                <a:gd name="connsiteY51" fmla="*/ 1200150 h 4429294"/>
                <a:gd name="connsiteX52" fmla="*/ 269069 w 4501379"/>
                <a:gd name="connsiteY52" fmla="*/ 1152525 h 4429294"/>
                <a:gd name="connsiteX53" fmla="*/ 297644 w 4501379"/>
                <a:gd name="connsiteY53" fmla="*/ 1114425 h 4429294"/>
                <a:gd name="connsiteX54" fmla="*/ 345269 w 4501379"/>
                <a:gd name="connsiteY54" fmla="*/ 1038225 h 4429294"/>
                <a:gd name="connsiteX55" fmla="*/ 364319 w 4501379"/>
                <a:gd name="connsiteY55" fmla="*/ 1009650 h 4429294"/>
                <a:gd name="connsiteX56" fmla="*/ 421469 w 4501379"/>
                <a:gd name="connsiteY56" fmla="*/ 904875 h 4429294"/>
                <a:gd name="connsiteX57" fmla="*/ 459569 w 4501379"/>
                <a:gd name="connsiteY57" fmla="*/ 857250 h 4429294"/>
                <a:gd name="connsiteX58" fmla="*/ 478619 w 4501379"/>
                <a:gd name="connsiteY58" fmla="*/ 828675 h 4429294"/>
                <a:gd name="connsiteX59" fmla="*/ 516719 w 4501379"/>
                <a:gd name="connsiteY59" fmla="*/ 800100 h 4429294"/>
                <a:gd name="connsiteX60" fmla="*/ 583394 w 4501379"/>
                <a:gd name="connsiteY60" fmla="*/ 733425 h 4429294"/>
                <a:gd name="connsiteX61" fmla="*/ 650069 w 4501379"/>
                <a:gd name="connsiteY61" fmla="*/ 676275 h 4429294"/>
                <a:gd name="connsiteX62" fmla="*/ 678644 w 4501379"/>
                <a:gd name="connsiteY62" fmla="*/ 657225 h 4429294"/>
                <a:gd name="connsiteX63" fmla="*/ 821519 w 4501379"/>
                <a:gd name="connsiteY63" fmla="*/ 533400 h 4429294"/>
                <a:gd name="connsiteX64" fmla="*/ 869144 w 4501379"/>
                <a:gd name="connsiteY64" fmla="*/ 504825 h 4429294"/>
                <a:gd name="connsiteX65" fmla="*/ 1148544 w 4501379"/>
                <a:gd name="connsiteY65" fmla="*/ 311150 h 4429294"/>
                <a:gd name="connsiteX66" fmla="*/ 1250144 w 4501379"/>
                <a:gd name="connsiteY66" fmla="*/ 285750 h 4429294"/>
                <a:gd name="connsiteX67" fmla="*/ 1393019 w 4501379"/>
                <a:gd name="connsiteY67" fmla="*/ 190500 h 4429294"/>
                <a:gd name="connsiteX68" fmla="*/ 1431119 w 4501379"/>
                <a:gd name="connsiteY68" fmla="*/ 161925 h 4429294"/>
                <a:gd name="connsiteX69" fmla="*/ 1507319 w 4501379"/>
                <a:gd name="connsiteY69" fmla="*/ 152400 h 4429294"/>
                <a:gd name="connsiteX70" fmla="*/ 1564469 w 4501379"/>
                <a:gd name="connsiteY70" fmla="*/ 142875 h 4429294"/>
                <a:gd name="connsiteX71" fmla="*/ 1697819 w 4501379"/>
                <a:gd name="connsiteY71" fmla="*/ 123825 h 4429294"/>
                <a:gd name="connsiteX72" fmla="*/ 1793069 w 4501379"/>
                <a:gd name="connsiteY72" fmla="*/ 114300 h 4429294"/>
                <a:gd name="connsiteX73" fmla="*/ 1840694 w 4501379"/>
                <a:gd name="connsiteY73" fmla="*/ 104775 h 4429294"/>
                <a:gd name="connsiteX74" fmla="*/ 1897844 w 4501379"/>
                <a:gd name="connsiteY74" fmla="*/ 95250 h 4429294"/>
                <a:gd name="connsiteX75" fmla="*/ 2012144 w 4501379"/>
                <a:gd name="connsiteY75" fmla="*/ 66675 h 4429294"/>
                <a:gd name="connsiteX76" fmla="*/ 2078819 w 4501379"/>
                <a:gd name="connsiteY76" fmla="*/ 47625 h 4429294"/>
                <a:gd name="connsiteX77" fmla="*/ 2145494 w 4501379"/>
                <a:gd name="connsiteY7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393019 w 4501379"/>
                <a:gd name="connsiteY66" fmla="*/ 190500 h 4429294"/>
                <a:gd name="connsiteX67" fmla="*/ 1431119 w 4501379"/>
                <a:gd name="connsiteY67" fmla="*/ 161925 h 4429294"/>
                <a:gd name="connsiteX68" fmla="*/ 1507319 w 4501379"/>
                <a:gd name="connsiteY68" fmla="*/ 152400 h 4429294"/>
                <a:gd name="connsiteX69" fmla="*/ 1564469 w 4501379"/>
                <a:gd name="connsiteY69" fmla="*/ 142875 h 4429294"/>
                <a:gd name="connsiteX70" fmla="*/ 1697819 w 4501379"/>
                <a:gd name="connsiteY70" fmla="*/ 123825 h 4429294"/>
                <a:gd name="connsiteX71" fmla="*/ 1793069 w 4501379"/>
                <a:gd name="connsiteY71" fmla="*/ 114300 h 4429294"/>
                <a:gd name="connsiteX72" fmla="*/ 1840694 w 4501379"/>
                <a:gd name="connsiteY72" fmla="*/ 104775 h 4429294"/>
                <a:gd name="connsiteX73" fmla="*/ 1897844 w 4501379"/>
                <a:gd name="connsiteY73" fmla="*/ 95250 h 4429294"/>
                <a:gd name="connsiteX74" fmla="*/ 2012144 w 4501379"/>
                <a:gd name="connsiteY74" fmla="*/ 66675 h 4429294"/>
                <a:gd name="connsiteX75" fmla="*/ 2078819 w 4501379"/>
                <a:gd name="connsiteY75" fmla="*/ 47625 h 4429294"/>
                <a:gd name="connsiteX76" fmla="*/ 2145494 w 4501379"/>
                <a:gd name="connsiteY76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431119 w 4501379"/>
                <a:gd name="connsiteY66" fmla="*/ 161925 h 4429294"/>
                <a:gd name="connsiteX67" fmla="*/ 1507319 w 4501379"/>
                <a:gd name="connsiteY67" fmla="*/ 152400 h 4429294"/>
                <a:gd name="connsiteX68" fmla="*/ 1564469 w 4501379"/>
                <a:gd name="connsiteY68" fmla="*/ 142875 h 4429294"/>
                <a:gd name="connsiteX69" fmla="*/ 1697819 w 4501379"/>
                <a:gd name="connsiteY69" fmla="*/ 123825 h 4429294"/>
                <a:gd name="connsiteX70" fmla="*/ 1793069 w 4501379"/>
                <a:gd name="connsiteY70" fmla="*/ 114300 h 4429294"/>
                <a:gd name="connsiteX71" fmla="*/ 1840694 w 4501379"/>
                <a:gd name="connsiteY71" fmla="*/ 104775 h 4429294"/>
                <a:gd name="connsiteX72" fmla="*/ 1897844 w 4501379"/>
                <a:gd name="connsiteY72" fmla="*/ 95250 h 4429294"/>
                <a:gd name="connsiteX73" fmla="*/ 2012144 w 4501379"/>
                <a:gd name="connsiteY73" fmla="*/ 66675 h 4429294"/>
                <a:gd name="connsiteX74" fmla="*/ 2078819 w 4501379"/>
                <a:gd name="connsiteY74" fmla="*/ 47625 h 4429294"/>
                <a:gd name="connsiteX75" fmla="*/ 2145494 w 4501379"/>
                <a:gd name="connsiteY75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250144 w 4501379"/>
                <a:gd name="connsiteY65" fmla="*/ 285750 h 4429294"/>
                <a:gd name="connsiteX66" fmla="*/ 1507319 w 4501379"/>
                <a:gd name="connsiteY66" fmla="*/ 152400 h 4429294"/>
                <a:gd name="connsiteX67" fmla="*/ 1564469 w 4501379"/>
                <a:gd name="connsiteY67" fmla="*/ 142875 h 4429294"/>
                <a:gd name="connsiteX68" fmla="*/ 1697819 w 4501379"/>
                <a:gd name="connsiteY68" fmla="*/ 123825 h 4429294"/>
                <a:gd name="connsiteX69" fmla="*/ 1793069 w 4501379"/>
                <a:gd name="connsiteY69" fmla="*/ 114300 h 4429294"/>
                <a:gd name="connsiteX70" fmla="*/ 1840694 w 4501379"/>
                <a:gd name="connsiteY70" fmla="*/ 104775 h 4429294"/>
                <a:gd name="connsiteX71" fmla="*/ 1897844 w 4501379"/>
                <a:gd name="connsiteY71" fmla="*/ 95250 h 4429294"/>
                <a:gd name="connsiteX72" fmla="*/ 2012144 w 4501379"/>
                <a:gd name="connsiteY72" fmla="*/ 66675 h 4429294"/>
                <a:gd name="connsiteX73" fmla="*/ 2078819 w 4501379"/>
                <a:gd name="connsiteY73" fmla="*/ 47625 h 4429294"/>
                <a:gd name="connsiteX74" fmla="*/ 2145494 w 4501379"/>
                <a:gd name="connsiteY74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697819 w 4501379"/>
                <a:gd name="connsiteY67" fmla="*/ 123825 h 4429294"/>
                <a:gd name="connsiteX68" fmla="*/ 1793069 w 4501379"/>
                <a:gd name="connsiteY68" fmla="*/ 114300 h 4429294"/>
                <a:gd name="connsiteX69" fmla="*/ 1840694 w 4501379"/>
                <a:gd name="connsiteY69" fmla="*/ 104775 h 4429294"/>
                <a:gd name="connsiteX70" fmla="*/ 1897844 w 4501379"/>
                <a:gd name="connsiteY70" fmla="*/ 95250 h 4429294"/>
                <a:gd name="connsiteX71" fmla="*/ 2012144 w 4501379"/>
                <a:gd name="connsiteY71" fmla="*/ 66675 h 4429294"/>
                <a:gd name="connsiteX72" fmla="*/ 2078819 w 4501379"/>
                <a:gd name="connsiteY72" fmla="*/ 47625 h 4429294"/>
                <a:gd name="connsiteX73" fmla="*/ 2145494 w 4501379"/>
                <a:gd name="connsiteY73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793069 w 4501379"/>
                <a:gd name="connsiteY67" fmla="*/ 114300 h 4429294"/>
                <a:gd name="connsiteX68" fmla="*/ 1840694 w 4501379"/>
                <a:gd name="connsiteY68" fmla="*/ 104775 h 4429294"/>
                <a:gd name="connsiteX69" fmla="*/ 1897844 w 4501379"/>
                <a:gd name="connsiteY69" fmla="*/ 95250 h 4429294"/>
                <a:gd name="connsiteX70" fmla="*/ 2012144 w 4501379"/>
                <a:gd name="connsiteY70" fmla="*/ 66675 h 4429294"/>
                <a:gd name="connsiteX71" fmla="*/ 2078819 w 4501379"/>
                <a:gd name="connsiteY71" fmla="*/ 47625 h 4429294"/>
                <a:gd name="connsiteX72" fmla="*/ 2145494 w 4501379"/>
                <a:gd name="connsiteY72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40694 w 4501379"/>
                <a:gd name="connsiteY67" fmla="*/ 104775 h 4429294"/>
                <a:gd name="connsiteX68" fmla="*/ 1897844 w 4501379"/>
                <a:gd name="connsiteY68" fmla="*/ 95250 h 4429294"/>
                <a:gd name="connsiteX69" fmla="*/ 2012144 w 4501379"/>
                <a:gd name="connsiteY69" fmla="*/ 66675 h 4429294"/>
                <a:gd name="connsiteX70" fmla="*/ 2078819 w 4501379"/>
                <a:gd name="connsiteY70" fmla="*/ 47625 h 4429294"/>
                <a:gd name="connsiteX71" fmla="*/ 2145494 w 4501379"/>
                <a:gd name="connsiteY71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1897844 w 4501379"/>
                <a:gd name="connsiteY67" fmla="*/ 95250 h 4429294"/>
                <a:gd name="connsiteX68" fmla="*/ 2012144 w 4501379"/>
                <a:gd name="connsiteY68" fmla="*/ 66675 h 4429294"/>
                <a:gd name="connsiteX69" fmla="*/ 2078819 w 4501379"/>
                <a:gd name="connsiteY69" fmla="*/ 47625 h 4429294"/>
                <a:gd name="connsiteX70" fmla="*/ 2145494 w 4501379"/>
                <a:gd name="connsiteY70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12144 w 4501379"/>
                <a:gd name="connsiteY67" fmla="*/ 66675 h 4429294"/>
                <a:gd name="connsiteX68" fmla="*/ 2078819 w 4501379"/>
                <a:gd name="connsiteY68" fmla="*/ 47625 h 4429294"/>
                <a:gd name="connsiteX69" fmla="*/ 2145494 w 4501379"/>
                <a:gd name="connsiteY69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078819 w 4501379"/>
                <a:gd name="connsiteY67" fmla="*/ 47625 h 4429294"/>
                <a:gd name="connsiteX68" fmla="*/ 2145494 w 4501379"/>
                <a:gd name="connsiteY68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145494 w 4501379"/>
                <a:gd name="connsiteY67" fmla="*/ 381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564469 w 4501379"/>
                <a:gd name="connsiteY66" fmla="*/ 14287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583394 w 4501379"/>
                <a:gd name="connsiteY59" fmla="*/ 733425 h 4429294"/>
                <a:gd name="connsiteX60" fmla="*/ 650069 w 4501379"/>
                <a:gd name="connsiteY60" fmla="*/ 676275 h 4429294"/>
                <a:gd name="connsiteX61" fmla="*/ 678644 w 4501379"/>
                <a:gd name="connsiteY61" fmla="*/ 657225 h 4429294"/>
                <a:gd name="connsiteX62" fmla="*/ 821519 w 4501379"/>
                <a:gd name="connsiteY62" fmla="*/ 533400 h 4429294"/>
                <a:gd name="connsiteX63" fmla="*/ 869144 w 4501379"/>
                <a:gd name="connsiteY63" fmla="*/ 504825 h 4429294"/>
                <a:gd name="connsiteX64" fmla="*/ 1148544 w 4501379"/>
                <a:gd name="connsiteY64" fmla="*/ 311150 h 4429294"/>
                <a:gd name="connsiteX65" fmla="*/ 1507319 w 4501379"/>
                <a:gd name="connsiteY65" fmla="*/ 152400 h 4429294"/>
                <a:gd name="connsiteX66" fmla="*/ 1621619 w 4501379"/>
                <a:gd name="connsiteY66" fmla="*/ 111125 h 4429294"/>
                <a:gd name="connsiteX67" fmla="*/ 2253444 w 4501379"/>
                <a:gd name="connsiteY6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678644 w 4501379"/>
                <a:gd name="connsiteY60" fmla="*/ 657225 h 4429294"/>
                <a:gd name="connsiteX61" fmla="*/ 821519 w 4501379"/>
                <a:gd name="connsiteY61" fmla="*/ 533400 h 4429294"/>
                <a:gd name="connsiteX62" fmla="*/ 869144 w 4501379"/>
                <a:gd name="connsiteY62" fmla="*/ 504825 h 4429294"/>
                <a:gd name="connsiteX63" fmla="*/ 1148544 w 4501379"/>
                <a:gd name="connsiteY63" fmla="*/ 311150 h 4429294"/>
                <a:gd name="connsiteX64" fmla="*/ 1507319 w 4501379"/>
                <a:gd name="connsiteY64" fmla="*/ 152400 h 4429294"/>
                <a:gd name="connsiteX65" fmla="*/ 1621619 w 4501379"/>
                <a:gd name="connsiteY65" fmla="*/ 111125 h 4429294"/>
                <a:gd name="connsiteX66" fmla="*/ 2253444 w 4501379"/>
                <a:gd name="connsiteY6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21519 w 4501379"/>
                <a:gd name="connsiteY60" fmla="*/ 533400 h 4429294"/>
                <a:gd name="connsiteX61" fmla="*/ 869144 w 4501379"/>
                <a:gd name="connsiteY61" fmla="*/ 504825 h 4429294"/>
                <a:gd name="connsiteX62" fmla="*/ 1148544 w 4501379"/>
                <a:gd name="connsiteY62" fmla="*/ 311150 h 4429294"/>
                <a:gd name="connsiteX63" fmla="*/ 1507319 w 4501379"/>
                <a:gd name="connsiteY63" fmla="*/ 152400 h 4429294"/>
                <a:gd name="connsiteX64" fmla="*/ 1621619 w 4501379"/>
                <a:gd name="connsiteY64" fmla="*/ 111125 h 4429294"/>
                <a:gd name="connsiteX65" fmla="*/ 2253444 w 4501379"/>
                <a:gd name="connsiteY6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45269 w 4501379"/>
                <a:gd name="connsiteY53" fmla="*/ 1038225 h 4429294"/>
                <a:gd name="connsiteX54" fmla="*/ 364319 w 4501379"/>
                <a:gd name="connsiteY54" fmla="*/ 1009650 h 4429294"/>
                <a:gd name="connsiteX55" fmla="*/ 421469 w 4501379"/>
                <a:gd name="connsiteY55" fmla="*/ 904875 h 4429294"/>
                <a:gd name="connsiteX56" fmla="*/ 459569 w 4501379"/>
                <a:gd name="connsiteY56" fmla="*/ 857250 h 4429294"/>
                <a:gd name="connsiteX57" fmla="*/ 478619 w 4501379"/>
                <a:gd name="connsiteY57" fmla="*/ 828675 h 4429294"/>
                <a:gd name="connsiteX58" fmla="*/ 516719 w 4501379"/>
                <a:gd name="connsiteY58" fmla="*/ 800100 h 4429294"/>
                <a:gd name="connsiteX59" fmla="*/ 650069 w 4501379"/>
                <a:gd name="connsiteY59" fmla="*/ 676275 h 4429294"/>
                <a:gd name="connsiteX60" fmla="*/ 869144 w 4501379"/>
                <a:gd name="connsiteY60" fmla="*/ 504825 h 4429294"/>
                <a:gd name="connsiteX61" fmla="*/ 1148544 w 4501379"/>
                <a:gd name="connsiteY61" fmla="*/ 311150 h 4429294"/>
                <a:gd name="connsiteX62" fmla="*/ 1507319 w 4501379"/>
                <a:gd name="connsiteY62" fmla="*/ 152400 h 4429294"/>
                <a:gd name="connsiteX63" fmla="*/ 1621619 w 4501379"/>
                <a:gd name="connsiteY63" fmla="*/ 111125 h 4429294"/>
                <a:gd name="connsiteX64" fmla="*/ 2253444 w 4501379"/>
                <a:gd name="connsiteY6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364319 w 4501379"/>
                <a:gd name="connsiteY53" fmla="*/ 1009650 h 4429294"/>
                <a:gd name="connsiteX54" fmla="*/ 421469 w 4501379"/>
                <a:gd name="connsiteY54" fmla="*/ 904875 h 4429294"/>
                <a:gd name="connsiteX55" fmla="*/ 459569 w 4501379"/>
                <a:gd name="connsiteY55" fmla="*/ 857250 h 4429294"/>
                <a:gd name="connsiteX56" fmla="*/ 478619 w 4501379"/>
                <a:gd name="connsiteY56" fmla="*/ 828675 h 4429294"/>
                <a:gd name="connsiteX57" fmla="*/ 516719 w 4501379"/>
                <a:gd name="connsiteY57" fmla="*/ 800100 h 4429294"/>
                <a:gd name="connsiteX58" fmla="*/ 650069 w 4501379"/>
                <a:gd name="connsiteY58" fmla="*/ 676275 h 4429294"/>
                <a:gd name="connsiteX59" fmla="*/ 869144 w 4501379"/>
                <a:gd name="connsiteY59" fmla="*/ 504825 h 4429294"/>
                <a:gd name="connsiteX60" fmla="*/ 1148544 w 4501379"/>
                <a:gd name="connsiteY60" fmla="*/ 311150 h 4429294"/>
                <a:gd name="connsiteX61" fmla="*/ 1507319 w 4501379"/>
                <a:gd name="connsiteY61" fmla="*/ 152400 h 4429294"/>
                <a:gd name="connsiteX62" fmla="*/ 1621619 w 4501379"/>
                <a:gd name="connsiteY62" fmla="*/ 111125 h 4429294"/>
                <a:gd name="connsiteX63" fmla="*/ 2253444 w 4501379"/>
                <a:gd name="connsiteY63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21469 w 4501379"/>
                <a:gd name="connsiteY53" fmla="*/ 904875 h 4429294"/>
                <a:gd name="connsiteX54" fmla="*/ 459569 w 4501379"/>
                <a:gd name="connsiteY54" fmla="*/ 857250 h 4429294"/>
                <a:gd name="connsiteX55" fmla="*/ 478619 w 4501379"/>
                <a:gd name="connsiteY55" fmla="*/ 828675 h 4429294"/>
                <a:gd name="connsiteX56" fmla="*/ 516719 w 4501379"/>
                <a:gd name="connsiteY56" fmla="*/ 800100 h 4429294"/>
                <a:gd name="connsiteX57" fmla="*/ 650069 w 4501379"/>
                <a:gd name="connsiteY57" fmla="*/ 676275 h 4429294"/>
                <a:gd name="connsiteX58" fmla="*/ 869144 w 4501379"/>
                <a:gd name="connsiteY58" fmla="*/ 504825 h 4429294"/>
                <a:gd name="connsiteX59" fmla="*/ 1148544 w 4501379"/>
                <a:gd name="connsiteY59" fmla="*/ 311150 h 4429294"/>
                <a:gd name="connsiteX60" fmla="*/ 1507319 w 4501379"/>
                <a:gd name="connsiteY60" fmla="*/ 152400 h 4429294"/>
                <a:gd name="connsiteX61" fmla="*/ 1621619 w 4501379"/>
                <a:gd name="connsiteY61" fmla="*/ 111125 h 4429294"/>
                <a:gd name="connsiteX62" fmla="*/ 2253444 w 4501379"/>
                <a:gd name="connsiteY62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478619 w 4501379"/>
                <a:gd name="connsiteY54" fmla="*/ 828675 h 4429294"/>
                <a:gd name="connsiteX55" fmla="*/ 516719 w 4501379"/>
                <a:gd name="connsiteY55" fmla="*/ 800100 h 4429294"/>
                <a:gd name="connsiteX56" fmla="*/ 650069 w 4501379"/>
                <a:gd name="connsiteY56" fmla="*/ 676275 h 4429294"/>
                <a:gd name="connsiteX57" fmla="*/ 869144 w 4501379"/>
                <a:gd name="connsiteY57" fmla="*/ 504825 h 4429294"/>
                <a:gd name="connsiteX58" fmla="*/ 1148544 w 4501379"/>
                <a:gd name="connsiteY58" fmla="*/ 311150 h 4429294"/>
                <a:gd name="connsiteX59" fmla="*/ 1507319 w 4501379"/>
                <a:gd name="connsiteY59" fmla="*/ 152400 h 4429294"/>
                <a:gd name="connsiteX60" fmla="*/ 1621619 w 4501379"/>
                <a:gd name="connsiteY60" fmla="*/ 111125 h 4429294"/>
                <a:gd name="connsiteX61" fmla="*/ 2253444 w 4501379"/>
                <a:gd name="connsiteY61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50019 w 4501379"/>
                <a:gd name="connsiteY50" fmla="*/ 1200150 h 4429294"/>
                <a:gd name="connsiteX51" fmla="*/ 269069 w 4501379"/>
                <a:gd name="connsiteY51" fmla="*/ 1152525 h 4429294"/>
                <a:gd name="connsiteX52" fmla="*/ 297644 w 4501379"/>
                <a:gd name="connsiteY52" fmla="*/ 1114425 h 4429294"/>
                <a:gd name="connsiteX53" fmla="*/ 459569 w 4501379"/>
                <a:gd name="connsiteY53" fmla="*/ 857250 h 4429294"/>
                <a:gd name="connsiteX54" fmla="*/ 516719 w 4501379"/>
                <a:gd name="connsiteY54" fmla="*/ 800100 h 4429294"/>
                <a:gd name="connsiteX55" fmla="*/ 650069 w 4501379"/>
                <a:gd name="connsiteY55" fmla="*/ 676275 h 4429294"/>
                <a:gd name="connsiteX56" fmla="*/ 869144 w 4501379"/>
                <a:gd name="connsiteY56" fmla="*/ 504825 h 4429294"/>
                <a:gd name="connsiteX57" fmla="*/ 1148544 w 4501379"/>
                <a:gd name="connsiteY57" fmla="*/ 311150 h 4429294"/>
                <a:gd name="connsiteX58" fmla="*/ 1507319 w 4501379"/>
                <a:gd name="connsiteY58" fmla="*/ 152400 h 4429294"/>
                <a:gd name="connsiteX59" fmla="*/ 1621619 w 4501379"/>
                <a:gd name="connsiteY59" fmla="*/ 111125 h 4429294"/>
                <a:gd name="connsiteX60" fmla="*/ 2253444 w 4501379"/>
                <a:gd name="connsiteY60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69069 w 4501379"/>
                <a:gd name="connsiteY50" fmla="*/ 1152525 h 4429294"/>
                <a:gd name="connsiteX51" fmla="*/ 297644 w 4501379"/>
                <a:gd name="connsiteY51" fmla="*/ 1114425 h 4429294"/>
                <a:gd name="connsiteX52" fmla="*/ 459569 w 4501379"/>
                <a:gd name="connsiteY52" fmla="*/ 857250 h 4429294"/>
                <a:gd name="connsiteX53" fmla="*/ 516719 w 4501379"/>
                <a:gd name="connsiteY53" fmla="*/ 800100 h 4429294"/>
                <a:gd name="connsiteX54" fmla="*/ 650069 w 4501379"/>
                <a:gd name="connsiteY54" fmla="*/ 676275 h 4429294"/>
                <a:gd name="connsiteX55" fmla="*/ 869144 w 4501379"/>
                <a:gd name="connsiteY55" fmla="*/ 504825 h 4429294"/>
                <a:gd name="connsiteX56" fmla="*/ 1148544 w 4501379"/>
                <a:gd name="connsiteY56" fmla="*/ 311150 h 4429294"/>
                <a:gd name="connsiteX57" fmla="*/ 1507319 w 4501379"/>
                <a:gd name="connsiteY57" fmla="*/ 152400 h 4429294"/>
                <a:gd name="connsiteX58" fmla="*/ 1621619 w 4501379"/>
                <a:gd name="connsiteY58" fmla="*/ 111125 h 4429294"/>
                <a:gd name="connsiteX59" fmla="*/ 2253444 w 4501379"/>
                <a:gd name="connsiteY59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21444 w 4501379"/>
                <a:gd name="connsiteY49" fmla="*/ 1247775 h 4429294"/>
                <a:gd name="connsiteX50" fmla="*/ 297644 w 4501379"/>
                <a:gd name="connsiteY50" fmla="*/ 1114425 h 4429294"/>
                <a:gd name="connsiteX51" fmla="*/ 459569 w 4501379"/>
                <a:gd name="connsiteY51" fmla="*/ 857250 h 4429294"/>
                <a:gd name="connsiteX52" fmla="*/ 516719 w 4501379"/>
                <a:gd name="connsiteY52" fmla="*/ 800100 h 4429294"/>
                <a:gd name="connsiteX53" fmla="*/ 650069 w 4501379"/>
                <a:gd name="connsiteY53" fmla="*/ 676275 h 4429294"/>
                <a:gd name="connsiteX54" fmla="*/ 869144 w 4501379"/>
                <a:gd name="connsiteY54" fmla="*/ 504825 h 4429294"/>
                <a:gd name="connsiteX55" fmla="*/ 1148544 w 4501379"/>
                <a:gd name="connsiteY55" fmla="*/ 311150 h 4429294"/>
                <a:gd name="connsiteX56" fmla="*/ 1507319 w 4501379"/>
                <a:gd name="connsiteY56" fmla="*/ 152400 h 4429294"/>
                <a:gd name="connsiteX57" fmla="*/ 1621619 w 4501379"/>
                <a:gd name="connsiteY57" fmla="*/ 111125 h 4429294"/>
                <a:gd name="connsiteX58" fmla="*/ 2253444 w 4501379"/>
                <a:gd name="connsiteY58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16669 w 4501379"/>
                <a:gd name="connsiteY46" fmla="*/ 1504950 h 4429294"/>
                <a:gd name="connsiteX47" fmla="*/ 135719 w 4501379"/>
                <a:gd name="connsiteY47" fmla="*/ 1419225 h 4429294"/>
                <a:gd name="connsiteX48" fmla="*/ 211919 w 4501379"/>
                <a:gd name="connsiteY48" fmla="*/ 1276350 h 4429294"/>
                <a:gd name="connsiteX49" fmla="*/ 297644 w 4501379"/>
                <a:gd name="connsiteY49" fmla="*/ 1114425 h 4429294"/>
                <a:gd name="connsiteX50" fmla="*/ 459569 w 4501379"/>
                <a:gd name="connsiteY50" fmla="*/ 857250 h 4429294"/>
                <a:gd name="connsiteX51" fmla="*/ 516719 w 4501379"/>
                <a:gd name="connsiteY51" fmla="*/ 800100 h 4429294"/>
                <a:gd name="connsiteX52" fmla="*/ 650069 w 4501379"/>
                <a:gd name="connsiteY52" fmla="*/ 676275 h 4429294"/>
                <a:gd name="connsiteX53" fmla="*/ 869144 w 4501379"/>
                <a:gd name="connsiteY53" fmla="*/ 504825 h 4429294"/>
                <a:gd name="connsiteX54" fmla="*/ 1148544 w 4501379"/>
                <a:gd name="connsiteY54" fmla="*/ 311150 h 4429294"/>
                <a:gd name="connsiteX55" fmla="*/ 1507319 w 4501379"/>
                <a:gd name="connsiteY55" fmla="*/ 152400 h 4429294"/>
                <a:gd name="connsiteX56" fmla="*/ 1621619 w 4501379"/>
                <a:gd name="connsiteY56" fmla="*/ 111125 h 4429294"/>
                <a:gd name="connsiteX57" fmla="*/ 2253444 w 4501379"/>
                <a:gd name="connsiteY57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69044 w 4501379"/>
                <a:gd name="connsiteY44" fmla="*/ 1638300 h 4429294"/>
                <a:gd name="connsiteX45" fmla="*/ 88094 w 4501379"/>
                <a:gd name="connsiteY45" fmla="*/ 1590675 h 4429294"/>
                <a:gd name="connsiteX46" fmla="*/ 135719 w 4501379"/>
                <a:gd name="connsiteY46" fmla="*/ 1419225 h 4429294"/>
                <a:gd name="connsiteX47" fmla="*/ 211919 w 4501379"/>
                <a:gd name="connsiteY47" fmla="*/ 1276350 h 4429294"/>
                <a:gd name="connsiteX48" fmla="*/ 297644 w 4501379"/>
                <a:gd name="connsiteY48" fmla="*/ 1114425 h 4429294"/>
                <a:gd name="connsiteX49" fmla="*/ 459569 w 4501379"/>
                <a:gd name="connsiteY49" fmla="*/ 857250 h 4429294"/>
                <a:gd name="connsiteX50" fmla="*/ 516719 w 4501379"/>
                <a:gd name="connsiteY50" fmla="*/ 800100 h 4429294"/>
                <a:gd name="connsiteX51" fmla="*/ 650069 w 4501379"/>
                <a:gd name="connsiteY51" fmla="*/ 676275 h 4429294"/>
                <a:gd name="connsiteX52" fmla="*/ 869144 w 4501379"/>
                <a:gd name="connsiteY52" fmla="*/ 504825 h 4429294"/>
                <a:gd name="connsiteX53" fmla="*/ 1148544 w 4501379"/>
                <a:gd name="connsiteY53" fmla="*/ 311150 h 4429294"/>
                <a:gd name="connsiteX54" fmla="*/ 1507319 w 4501379"/>
                <a:gd name="connsiteY54" fmla="*/ 152400 h 4429294"/>
                <a:gd name="connsiteX55" fmla="*/ 1621619 w 4501379"/>
                <a:gd name="connsiteY55" fmla="*/ 111125 h 4429294"/>
                <a:gd name="connsiteX56" fmla="*/ 2253444 w 4501379"/>
                <a:gd name="connsiteY56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59519 w 4501379"/>
                <a:gd name="connsiteY43" fmla="*/ 1685925 h 4429294"/>
                <a:gd name="connsiteX44" fmla="*/ 88094 w 4501379"/>
                <a:gd name="connsiteY44" fmla="*/ 1590675 h 4429294"/>
                <a:gd name="connsiteX45" fmla="*/ 135719 w 4501379"/>
                <a:gd name="connsiteY45" fmla="*/ 1419225 h 4429294"/>
                <a:gd name="connsiteX46" fmla="*/ 211919 w 4501379"/>
                <a:gd name="connsiteY46" fmla="*/ 1276350 h 4429294"/>
                <a:gd name="connsiteX47" fmla="*/ 297644 w 4501379"/>
                <a:gd name="connsiteY47" fmla="*/ 1114425 h 4429294"/>
                <a:gd name="connsiteX48" fmla="*/ 459569 w 4501379"/>
                <a:gd name="connsiteY48" fmla="*/ 857250 h 4429294"/>
                <a:gd name="connsiteX49" fmla="*/ 516719 w 4501379"/>
                <a:gd name="connsiteY49" fmla="*/ 800100 h 4429294"/>
                <a:gd name="connsiteX50" fmla="*/ 650069 w 4501379"/>
                <a:gd name="connsiteY50" fmla="*/ 676275 h 4429294"/>
                <a:gd name="connsiteX51" fmla="*/ 869144 w 4501379"/>
                <a:gd name="connsiteY51" fmla="*/ 504825 h 4429294"/>
                <a:gd name="connsiteX52" fmla="*/ 1148544 w 4501379"/>
                <a:gd name="connsiteY52" fmla="*/ 311150 h 4429294"/>
                <a:gd name="connsiteX53" fmla="*/ 1507319 w 4501379"/>
                <a:gd name="connsiteY53" fmla="*/ 152400 h 4429294"/>
                <a:gd name="connsiteX54" fmla="*/ 1621619 w 4501379"/>
                <a:gd name="connsiteY54" fmla="*/ 111125 h 4429294"/>
                <a:gd name="connsiteX55" fmla="*/ 2253444 w 4501379"/>
                <a:gd name="connsiteY55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40469 w 4501379"/>
                <a:gd name="connsiteY42" fmla="*/ 1743075 h 4429294"/>
                <a:gd name="connsiteX43" fmla="*/ 88094 w 4501379"/>
                <a:gd name="connsiteY43" fmla="*/ 1590675 h 4429294"/>
                <a:gd name="connsiteX44" fmla="*/ 135719 w 4501379"/>
                <a:gd name="connsiteY44" fmla="*/ 1419225 h 4429294"/>
                <a:gd name="connsiteX45" fmla="*/ 211919 w 4501379"/>
                <a:gd name="connsiteY45" fmla="*/ 1276350 h 4429294"/>
                <a:gd name="connsiteX46" fmla="*/ 297644 w 4501379"/>
                <a:gd name="connsiteY46" fmla="*/ 1114425 h 4429294"/>
                <a:gd name="connsiteX47" fmla="*/ 459569 w 4501379"/>
                <a:gd name="connsiteY47" fmla="*/ 857250 h 4429294"/>
                <a:gd name="connsiteX48" fmla="*/ 516719 w 4501379"/>
                <a:gd name="connsiteY48" fmla="*/ 800100 h 4429294"/>
                <a:gd name="connsiteX49" fmla="*/ 650069 w 4501379"/>
                <a:gd name="connsiteY49" fmla="*/ 676275 h 4429294"/>
                <a:gd name="connsiteX50" fmla="*/ 869144 w 4501379"/>
                <a:gd name="connsiteY50" fmla="*/ 504825 h 4429294"/>
                <a:gd name="connsiteX51" fmla="*/ 1148544 w 4501379"/>
                <a:gd name="connsiteY51" fmla="*/ 311150 h 4429294"/>
                <a:gd name="connsiteX52" fmla="*/ 1507319 w 4501379"/>
                <a:gd name="connsiteY52" fmla="*/ 152400 h 4429294"/>
                <a:gd name="connsiteX53" fmla="*/ 1621619 w 4501379"/>
                <a:gd name="connsiteY53" fmla="*/ 111125 h 4429294"/>
                <a:gd name="connsiteX54" fmla="*/ 2253444 w 4501379"/>
                <a:gd name="connsiteY54" fmla="*/ 12700 h 4429294"/>
                <a:gd name="connsiteX0" fmla="*/ 2278844 w 4501379"/>
                <a:gd name="connsiteY0" fmla="*/ 0 h 4429294"/>
                <a:gd name="connsiteX1" fmla="*/ 2602694 w 4501379"/>
                <a:gd name="connsiteY1" fmla="*/ 15875 h 4429294"/>
                <a:gd name="connsiteX2" fmla="*/ 2897969 w 4501379"/>
                <a:gd name="connsiteY2" fmla="*/ 85725 h 4429294"/>
                <a:gd name="connsiteX3" fmla="*/ 3117044 w 4501379"/>
                <a:gd name="connsiteY3" fmla="*/ 171450 h 4429294"/>
                <a:gd name="connsiteX4" fmla="*/ 3221819 w 4501379"/>
                <a:gd name="connsiteY4" fmla="*/ 228600 h 4429294"/>
                <a:gd name="connsiteX5" fmla="*/ 3402794 w 4501379"/>
                <a:gd name="connsiteY5" fmla="*/ 323850 h 4429294"/>
                <a:gd name="connsiteX6" fmla="*/ 3793319 w 4501379"/>
                <a:gd name="connsiteY6" fmla="*/ 581025 h 4429294"/>
                <a:gd name="connsiteX7" fmla="*/ 4009219 w 4501379"/>
                <a:gd name="connsiteY7" fmla="*/ 819150 h 4429294"/>
                <a:gd name="connsiteX8" fmla="*/ 4145744 w 4501379"/>
                <a:gd name="connsiteY8" fmla="*/ 990600 h 4429294"/>
                <a:gd name="connsiteX9" fmla="*/ 4231469 w 4501379"/>
                <a:gd name="connsiteY9" fmla="*/ 1143000 h 4429294"/>
                <a:gd name="connsiteX10" fmla="*/ 4288619 w 4501379"/>
                <a:gd name="connsiteY10" fmla="*/ 1266825 h 4429294"/>
                <a:gd name="connsiteX11" fmla="*/ 4326719 w 4501379"/>
                <a:gd name="connsiteY11" fmla="*/ 1362075 h 4429294"/>
                <a:gd name="connsiteX12" fmla="*/ 4374344 w 4501379"/>
                <a:gd name="connsiteY12" fmla="*/ 1552575 h 4429294"/>
                <a:gd name="connsiteX13" fmla="*/ 4412444 w 4501379"/>
                <a:gd name="connsiteY13" fmla="*/ 1685925 h 4429294"/>
                <a:gd name="connsiteX14" fmla="*/ 4501344 w 4501379"/>
                <a:gd name="connsiteY14" fmla="*/ 2181225 h 4429294"/>
                <a:gd name="connsiteX15" fmla="*/ 4428319 w 4501379"/>
                <a:gd name="connsiteY15" fmla="*/ 2768600 h 4429294"/>
                <a:gd name="connsiteX16" fmla="*/ 4364819 w 4501379"/>
                <a:gd name="connsiteY16" fmla="*/ 2990850 h 4429294"/>
                <a:gd name="connsiteX17" fmla="*/ 4260044 w 4501379"/>
                <a:gd name="connsiteY17" fmla="*/ 3248025 h 4429294"/>
                <a:gd name="connsiteX18" fmla="*/ 4164794 w 4501379"/>
                <a:gd name="connsiteY18" fmla="*/ 3400425 h 4429294"/>
                <a:gd name="connsiteX19" fmla="*/ 4040969 w 4501379"/>
                <a:gd name="connsiteY19" fmla="*/ 3533775 h 4429294"/>
                <a:gd name="connsiteX20" fmla="*/ 3936194 w 4501379"/>
                <a:gd name="connsiteY20" fmla="*/ 3648075 h 4429294"/>
                <a:gd name="connsiteX21" fmla="*/ 3640919 w 4501379"/>
                <a:gd name="connsiteY21" fmla="*/ 3971925 h 4429294"/>
                <a:gd name="connsiteX22" fmla="*/ 3498044 w 4501379"/>
                <a:gd name="connsiteY22" fmla="*/ 4083050 h 4429294"/>
                <a:gd name="connsiteX23" fmla="*/ 3202769 w 4501379"/>
                <a:gd name="connsiteY23" fmla="*/ 4222750 h 4429294"/>
                <a:gd name="connsiteX24" fmla="*/ 3050369 w 4501379"/>
                <a:gd name="connsiteY24" fmla="*/ 4286250 h 4429294"/>
                <a:gd name="connsiteX25" fmla="*/ 2917019 w 4501379"/>
                <a:gd name="connsiteY25" fmla="*/ 4333875 h 4429294"/>
                <a:gd name="connsiteX26" fmla="*/ 2793194 w 4501379"/>
                <a:gd name="connsiteY26" fmla="*/ 4371975 h 4429294"/>
                <a:gd name="connsiteX27" fmla="*/ 2561419 w 4501379"/>
                <a:gd name="connsiteY27" fmla="*/ 4391025 h 4429294"/>
                <a:gd name="connsiteX28" fmla="*/ 2107394 w 4501379"/>
                <a:gd name="connsiteY28" fmla="*/ 4429125 h 4429294"/>
                <a:gd name="connsiteX29" fmla="*/ 1916894 w 4501379"/>
                <a:gd name="connsiteY29" fmla="*/ 4400550 h 4429294"/>
                <a:gd name="connsiteX30" fmla="*/ 1554944 w 4501379"/>
                <a:gd name="connsiteY30" fmla="*/ 4305300 h 4429294"/>
                <a:gd name="connsiteX31" fmla="*/ 1313644 w 4501379"/>
                <a:gd name="connsiteY31" fmla="*/ 4216400 h 4429294"/>
                <a:gd name="connsiteX32" fmla="*/ 1145369 w 4501379"/>
                <a:gd name="connsiteY32" fmla="*/ 4111625 h 4429294"/>
                <a:gd name="connsiteX33" fmla="*/ 926294 w 4501379"/>
                <a:gd name="connsiteY33" fmla="*/ 3968750 h 4429294"/>
                <a:gd name="connsiteX34" fmla="*/ 592919 w 4501379"/>
                <a:gd name="connsiteY34" fmla="*/ 3657600 h 4429294"/>
                <a:gd name="connsiteX35" fmla="*/ 446869 w 4501379"/>
                <a:gd name="connsiteY35" fmla="*/ 3470275 h 4429294"/>
                <a:gd name="connsiteX36" fmla="*/ 316694 w 4501379"/>
                <a:gd name="connsiteY36" fmla="*/ 3244850 h 4429294"/>
                <a:gd name="connsiteX37" fmla="*/ 164294 w 4501379"/>
                <a:gd name="connsiteY37" fmla="*/ 2892425 h 4429294"/>
                <a:gd name="connsiteX38" fmla="*/ 56344 w 4501379"/>
                <a:gd name="connsiteY38" fmla="*/ 2368550 h 4429294"/>
                <a:gd name="connsiteX39" fmla="*/ 2369 w 4501379"/>
                <a:gd name="connsiteY39" fmla="*/ 1905000 h 4429294"/>
                <a:gd name="connsiteX40" fmla="*/ 11894 w 4501379"/>
                <a:gd name="connsiteY40" fmla="*/ 1838325 h 4429294"/>
                <a:gd name="connsiteX41" fmla="*/ 30944 w 4501379"/>
                <a:gd name="connsiteY41" fmla="*/ 1781175 h 4429294"/>
                <a:gd name="connsiteX42" fmla="*/ 88094 w 4501379"/>
                <a:gd name="connsiteY42" fmla="*/ 1590675 h 4429294"/>
                <a:gd name="connsiteX43" fmla="*/ 135719 w 4501379"/>
                <a:gd name="connsiteY43" fmla="*/ 1419225 h 4429294"/>
                <a:gd name="connsiteX44" fmla="*/ 211919 w 4501379"/>
                <a:gd name="connsiteY44" fmla="*/ 1276350 h 4429294"/>
                <a:gd name="connsiteX45" fmla="*/ 297644 w 4501379"/>
                <a:gd name="connsiteY45" fmla="*/ 1114425 h 4429294"/>
                <a:gd name="connsiteX46" fmla="*/ 459569 w 4501379"/>
                <a:gd name="connsiteY46" fmla="*/ 857250 h 4429294"/>
                <a:gd name="connsiteX47" fmla="*/ 516719 w 4501379"/>
                <a:gd name="connsiteY47" fmla="*/ 800100 h 4429294"/>
                <a:gd name="connsiteX48" fmla="*/ 650069 w 4501379"/>
                <a:gd name="connsiteY48" fmla="*/ 676275 h 4429294"/>
                <a:gd name="connsiteX49" fmla="*/ 869144 w 4501379"/>
                <a:gd name="connsiteY49" fmla="*/ 504825 h 4429294"/>
                <a:gd name="connsiteX50" fmla="*/ 1148544 w 4501379"/>
                <a:gd name="connsiteY50" fmla="*/ 311150 h 4429294"/>
                <a:gd name="connsiteX51" fmla="*/ 1507319 w 4501379"/>
                <a:gd name="connsiteY51" fmla="*/ 152400 h 4429294"/>
                <a:gd name="connsiteX52" fmla="*/ 1621619 w 4501379"/>
                <a:gd name="connsiteY52" fmla="*/ 111125 h 4429294"/>
                <a:gd name="connsiteX53" fmla="*/ 2253444 w 4501379"/>
                <a:gd name="connsiteY53" fmla="*/ 12700 h 4429294"/>
                <a:gd name="connsiteX0" fmla="*/ 2277090 w 4499625"/>
                <a:gd name="connsiteY0" fmla="*/ 0 h 4429294"/>
                <a:gd name="connsiteX1" fmla="*/ 2600940 w 4499625"/>
                <a:gd name="connsiteY1" fmla="*/ 15875 h 4429294"/>
                <a:gd name="connsiteX2" fmla="*/ 2896215 w 4499625"/>
                <a:gd name="connsiteY2" fmla="*/ 85725 h 4429294"/>
                <a:gd name="connsiteX3" fmla="*/ 3115290 w 4499625"/>
                <a:gd name="connsiteY3" fmla="*/ 171450 h 4429294"/>
                <a:gd name="connsiteX4" fmla="*/ 3220065 w 4499625"/>
                <a:gd name="connsiteY4" fmla="*/ 228600 h 4429294"/>
                <a:gd name="connsiteX5" fmla="*/ 3401040 w 4499625"/>
                <a:gd name="connsiteY5" fmla="*/ 323850 h 4429294"/>
                <a:gd name="connsiteX6" fmla="*/ 3791565 w 4499625"/>
                <a:gd name="connsiteY6" fmla="*/ 581025 h 4429294"/>
                <a:gd name="connsiteX7" fmla="*/ 4007465 w 4499625"/>
                <a:gd name="connsiteY7" fmla="*/ 819150 h 4429294"/>
                <a:gd name="connsiteX8" fmla="*/ 4143990 w 4499625"/>
                <a:gd name="connsiteY8" fmla="*/ 990600 h 4429294"/>
                <a:gd name="connsiteX9" fmla="*/ 4229715 w 4499625"/>
                <a:gd name="connsiteY9" fmla="*/ 1143000 h 4429294"/>
                <a:gd name="connsiteX10" fmla="*/ 4286865 w 4499625"/>
                <a:gd name="connsiteY10" fmla="*/ 1266825 h 4429294"/>
                <a:gd name="connsiteX11" fmla="*/ 4324965 w 4499625"/>
                <a:gd name="connsiteY11" fmla="*/ 1362075 h 4429294"/>
                <a:gd name="connsiteX12" fmla="*/ 4372590 w 4499625"/>
                <a:gd name="connsiteY12" fmla="*/ 1552575 h 4429294"/>
                <a:gd name="connsiteX13" fmla="*/ 4410690 w 4499625"/>
                <a:gd name="connsiteY13" fmla="*/ 1685925 h 4429294"/>
                <a:gd name="connsiteX14" fmla="*/ 4499590 w 4499625"/>
                <a:gd name="connsiteY14" fmla="*/ 2181225 h 4429294"/>
                <a:gd name="connsiteX15" fmla="*/ 4426565 w 4499625"/>
                <a:gd name="connsiteY15" fmla="*/ 2768600 h 4429294"/>
                <a:gd name="connsiteX16" fmla="*/ 4363065 w 4499625"/>
                <a:gd name="connsiteY16" fmla="*/ 2990850 h 4429294"/>
                <a:gd name="connsiteX17" fmla="*/ 4258290 w 4499625"/>
                <a:gd name="connsiteY17" fmla="*/ 3248025 h 4429294"/>
                <a:gd name="connsiteX18" fmla="*/ 4163040 w 4499625"/>
                <a:gd name="connsiteY18" fmla="*/ 3400425 h 4429294"/>
                <a:gd name="connsiteX19" fmla="*/ 4039215 w 4499625"/>
                <a:gd name="connsiteY19" fmla="*/ 3533775 h 4429294"/>
                <a:gd name="connsiteX20" fmla="*/ 3934440 w 4499625"/>
                <a:gd name="connsiteY20" fmla="*/ 3648075 h 4429294"/>
                <a:gd name="connsiteX21" fmla="*/ 3639165 w 4499625"/>
                <a:gd name="connsiteY21" fmla="*/ 3971925 h 4429294"/>
                <a:gd name="connsiteX22" fmla="*/ 3496290 w 4499625"/>
                <a:gd name="connsiteY22" fmla="*/ 4083050 h 4429294"/>
                <a:gd name="connsiteX23" fmla="*/ 3201015 w 4499625"/>
                <a:gd name="connsiteY23" fmla="*/ 4222750 h 4429294"/>
                <a:gd name="connsiteX24" fmla="*/ 3048615 w 4499625"/>
                <a:gd name="connsiteY24" fmla="*/ 4286250 h 4429294"/>
                <a:gd name="connsiteX25" fmla="*/ 2915265 w 4499625"/>
                <a:gd name="connsiteY25" fmla="*/ 4333875 h 4429294"/>
                <a:gd name="connsiteX26" fmla="*/ 2791440 w 4499625"/>
                <a:gd name="connsiteY26" fmla="*/ 4371975 h 4429294"/>
                <a:gd name="connsiteX27" fmla="*/ 2559665 w 4499625"/>
                <a:gd name="connsiteY27" fmla="*/ 4391025 h 4429294"/>
                <a:gd name="connsiteX28" fmla="*/ 2105640 w 4499625"/>
                <a:gd name="connsiteY28" fmla="*/ 4429125 h 4429294"/>
                <a:gd name="connsiteX29" fmla="*/ 1915140 w 4499625"/>
                <a:gd name="connsiteY29" fmla="*/ 4400550 h 4429294"/>
                <a:gd name="connsiteX30" fmla="*/ 1553190 w 4499625"/>
                <a:gd name="connsiteY30" fmla="*/ 4305300 h 4429294"/>
                <a:gd name="connsiteX31" fmla="*/ 1311890 w 4499625"/>
                <a:gd name="connsiteY31" fmla="*/ 4216400 h 4429294"/>
                <a:gd name="connsiteX32" fmla="*/ 1143615 w 4499625"/>
                <a:gd name="connsiteY32" fmla="*/ 4111625 h 4429294"/>
                <a:gd name="connsiteX33" fmla="*/ 924540 w 4499625"/>
                <a:gd name="connsiteY33" fmla="*/ 3968750 h 4429294"/>
                <a:gd name="connsiteX34" fmla="*/ 591165 w 4499625"/>
                <a:gd name="connsiteY34" fmla="*/ 3657600 h 4429294"/>
                <a:gd name="connsiteX35" fmla="*/ 445115 w 4499625"/>
                <a:gd name="connsiteY35" fmla="*/ 3470275 h 4429294"/>
                <a:gd name="connsiteX36" fmla="*/ 314940 w 4499625"/>
                <a:gd name="connsiteY36" fmla="*/ 3244850 h 4429294"/>
                <a:gd name="connsiteX37" fmla="*/ 162540 w 4499625"/>
                <a:gd name="connsiteY37" fmla="*/ 2892425 h 4429294"/>
                <a:gd name="connsiteX38" fmla="*/ 54590 w 4499625"/>
                <a:gd name="connsiteY38" fmla="*/ 2368550 h 4429294"/>
                <a:gd name="connsiteX39" fmla="*/ 615 w 4499625"/>
                <a:gd name="connsiteY39" fmla="*/ 1905000 h 4429294"/>
                <a:gd name="connsiteX40" fmla="*/ 29190 w 4499625"/>
                <a:gd name="connsiteY40" fmla="*/ 1781175 h 4429294"/>
                <a:gd name="connsiteX41" fmla="*/ 86340 w 4499625"/>
                <a:gd name="connsiteY41" fmla="*/ 1590675 h 4429294"/>
                <a:gd name="connsiteX42" fmla="*/ 133965 w 4499625"/>
                <a:gd name="connsiteY42" fmla="*/ 1419225 h 4429294"/>
                <a:gd name="connsiteX43" fmla="*/ 210165 w 4499625"/>
                <a:gd name="connsiteY43" fmla="*/ 1276350 h 4429294"/>
                <a:gd name="connsiteX44" fmla="*/ 295890 w 4499625"/>
                <a:gd name="connsiteY44" fmla="*/ 1114425 h 4429294"/>
                <a:gd name="connsiteX45" fmla="*/ 457815 w 4499625"/>
                <a:gd name="connsiteY45" fmla="*/ 857250 h 4429294"/>
                <a:gd name="connsiteX46" fmla="*/ 514965 w 4499625"/>
                <a:gd name="connsiteY46" fmla="*/ 800100 h 4429294"/>
                <a:gd name="connsiteX47" fmla="*/ 648315 w 4499625"/>
                <a:gd name="connsiteY47" fmla="*/ 676275 h 4429294"/>
                <a:gd name="connsiteX48" fmla="*/ 867390 w 4499625"/>
                <a:gd name="connsiteY48" fmla="*/ 504825 h 4429294"/>
                <a:gd name="connsiteX49" fmla="*/ 1146790 w 4499625"/>
                <a:gd name="connsiteY49" fmla="*/ 311150 h 4429294"/>
                <a:gd name="connsiteX50" fmla="*/ 1505565 w 4499625"/>
                <a:gd name="connsiteY50" fmla="*/ 152400 h 4429294"/>
                <a:gd name="connsiteX51" fmla="*/ 1619865 w 4499625"/>
                <a:gd name="connsiteY51" fmla="*/ 111125 h 4429294"/>
                <a:gd name="connsiteX52" fmla="*/ 2251690 w 4499625"/>
                <a:gd name="connsiteY52" fmla="*/ 12700 h 4429294"/>
                <a:gd name="connsiteX0" fmla="*/ 2249427 w 4471962"/>
                <a:gd name="connsiteY0" fmla="*/ 0 h 4429294"/>
                <a:gd name="connsiteX1" fmla="*/ 2573277 w 4471962"/>
                <a:gd name="connsiteY1" fmla="*/ 15875 h 4429294"/>
                <a:gd name="connsiteX2" fmla="*/ 2868552 w 4471962"/>
                <a:gd name="connsiteY2" fmla="*/ 85725 h 4429294"/>
                <a:gd name="connsiteX3" fmla="*/ 3087627 w 4471962"/>
                <a:gd name="connsiteY3" fmla="*/ 171450 h 4429294"/>
                <a:gd name="connsiteX4" fmla="*/ 3192402 w 4471962"/>
                <a:gd name="connsiteY4" fmla="*/ 228600 h 4429294"/>
                <a:gd name="connsiteX5" fmla="*/ 3373377 w 4471962"/>
                <a:gd name="connsiteY5" fmla="*/ 323850 h 4429294"/>
                <a:gd name="connsiteX6" fmla="*/ 3763902 w 4471962"/>
                <a:gd name="connsiteY6" fmla="*/ 581025 h 4429294"/>
                <a:gd name="connsiteX7" fmla="*/ 3979802 w 4471962"/>
                <a:gd name="connsiteY7" fmla="*/ 819150 h 4429294"/>
                <a:gd name="connsiteX8" fmla="*/ 4116327 w 4471962"/>
                <a:gd name="connsiteY8" fmla="*/ 990600 h 4429294"/>
                <a:gd name="connsiteX9" fmla="*/ 4202052 w 4471962"/>
                <a:gd name="connsiteY9" fmla="*/ 1143000 h 4429294"/>
                <a:gd name="connsiteX10" fmla="*/ 4259202 w 4471962"/>
                <a:gd name="connsiteY10" fmla="*/ 1266825 h 4429294"/>
                <a:gd name="connsiteX11" fmla="*/ 4297302 w 4471962"/>
                <a:gd name="connsiteY11" fmla="*/ 1362075 h 4429294"/>
                <a:gd name="connsiteX12" fmla="*/ 4344927 w 4471962"/>
                <a:gd name="connsiteY12" fmla="*/ 1552575 h 4429294"/>
                <a:gd name="connsiteX13" fmla="*/ 4383027 w 4471962"/>
                <a:gd name="connsiteY13" fmla="*/ 1685925 h 4429294"/>
                <a:gd name="connsiteX14" fmla="*/ 4471927 w 4471962"/>
                <a:gd name="connsiteY14" fmla="*/ 2181225 h 4429294"/>
                <a:gd name="connsiteX15" fmla="*/ 4398902 w 4471962"/>
                <a:gd name="connsiteY15" fmla="*/ 2768600 h 4429294"/>
                <a:gd name="connsiteX16" fmla="*/ 4335402 w 4471962"/>
                <a:gd name="connsiteY16" fmla="*/ 2990850 h 4429294"/>
                <a:gd name="connsiteX17" fmla="*/ 4230627 w 4471962"/>
                <a:gd name="connsiteY17" fmla="*/ 3248025 h 4429294"/>
                <a:gd name="connsiteX18" fmla="*/ 4135377 w 4471962"/>
                <a:gd name="connsiteY18" fmla="*/ 3400425 h 4429294"/>
                <a:gd name="connsiteX19" fmla="*/ 4011552 w 4471962"/>
                <a:gd name="connsiteY19" fmla="*/ 3533775 h 4429294"/>
                <a:gd name="connsiteX20" fmla="*/ 3906777 w 4471962"/>
                <a:gd name="connsiteY20" fmla="*/ 3648075 h 4429294"/>
                <a:gd name="connsiteX21" fmla="*/ 3611502 w 4471962"/>
                <a:gd name="connsiteY21" fmla="*/ 3971925 h 4429294"/>
                <a:gd name="connsiteX22" fmla="*/ 3468627 w 4471962"/>
                <a:gd name="connsiteY22" fmla="*/ 4083050 h 4429294"/>
                <a:gd name="connsiteX23" fmla="*/ 3173352 w 4471962"/>
                <a:gd name="connsiteY23" fmla="*/ 4222750 h 4429294"/>
                <a:gd name="connsiteX24" fmla="*/ 3020952 w 4471962"/>
                <a:gd name="connsiteY24" fmla="*/ 4286250 h 4429294"/>
                <a:gd name="connsiteX25" fmla="*/ 2887602 w 4471962"/>
                <a:gd name="connsiteY25" fmla="*/ 4333875 h 4429294"/>
                <a:gd name="connsiteX26" fmla="*/ 2763777 w 4471962"/>
                <a:gd name="connsiteY26" fmla="*/ 4371975 h 4429294"/>
                <a:gd name="connsiteX27" fmla="*/ 2532002 w 4471962"/>
                <a:gd name="connsiteY27" fmla="*/ 4391025 h 4429294"/>
                <a:gd name="connsiteX28" fmla="*/ 2077977 w 4471962"/>
                <a:gd name="connsiteY28" fmla="*/ 4429125 h 4429294"/>
                <a:gd name="connsiteX29" fmla="*/ 1887477 w 4471962"/>
                <a:gd name="connsiteY29" fmla="*/ 4400550 h 4429294"/>
                <a:gd name="connsiteX30" fmla="*/ 1525527 w 4471962"/>
                <a:gd name="connsiteY30" fmla="*/ 4305300 h 4429294"/>
                <a:gd name="connsiteX31" fmla="*/ 1284227 w 4471962"/>
                <a:gd name="connsiteY31" fmla="*/ 4216400 h 4429294"/>
                <a:gd name="connsiteX32" fmla="*/ 1115952 w 4471962"/>
                <a:gd name="connsiteY32" fmla="*/ 4111625 h 4429294"/>
                <a:gd name="connsiteX33" fmla="*/ 896877 w 4471962"/>
                <a:gd name="connsiteY33" fmla="*/ 3968750 h 4429294"/>
                <a:gd name="connsiteX34" fmla="*/ 563502 w 4471962"/>
                <a:gd name="connsiteY34" fmla="*/ 3657600 h 4429294"/>
                <a:gd name="connsiteX35" fmla="*/ 417452 w 4471962"/>
                <a:gd name="connsiteY35" fmla="*/ 3470275 h 4429294"/>
                <a:gd name="connsiteX36" fmla="*/ 287277 w 4471962"/>
                <a:gd name="connsiteY36" fmla="*/ 3244850 h 4429294"/>
                <a:gd name="connsiteX37" fmla="*/ 134877 w 4471962"/>
                <a:gd name="connsiteY37" fmla="*/ 2892425 h 4429294"/>
                <a:gd name="connsiteX38" fmla="*/ 26927 w 4471962"/>
                <a:gd name="connsiteY38" fmla="*/ 2368550 h 4429294"/>
                <a:gd name="connsiteX39" fmla="*/ 1527 w 4471962"/>
                <a:gd name="connsiteY39" fmla="*/ 1781175 h 4429294"/>
                <a:gd name="connsiteX40" fmla="*/ 58677 w 4471962"/>
                <a:gd name="connsiteY40" fmla="*/ 1590675 h 4429294"/>
                <a:gd name="connsiteX41" fmla="*/ 106302 w 4471962"/>
                <a:gd name="connsiteY41" fmla="*/ 1419225 h 4429294"/>
                <a:gd name="connsiteX42" fmla="*/ 182502 w 4471962"/>
                <a:gd name="connsiteY42" fmla="*/ 1276350 h 4429294"/>
                <a:gd name="connsiteX43" fmla="*/ 268227 w 4471962"/>
                <a:gd name="connsiteY43" fmla="*/ 1114425 h 4429294"/>
                <a:gd name="connsiteX44" fmla="*/ 430152 w 4471962"/>
                <a:gd name="connsiteY44" fmla="*/ 857250 h 4429294"/>
                <a:gd name="connsiteX45" fmla="*/ 487302 w 4471962"/>
                <a:gd name="connsiteY45" fmla="*/ 800100 h 4429294"/>
                <a:gd name="connsiteX46" fmla="*/ 620652 w 4471962"/>
                <a:gd name="connsiteY46" fmla="*/ 676275 h 4429294"/>
                <a:gd name="connsiteX47" fmla="*/ 839727 w 4471962"/>
                <a:gd name="connsiteY47" fmla="*/ 504825 h 4429294"/>
                <a:gd name="connsiteX48" fmla="*/ 1119127 w 4471962"/>
                <a:gd name="connsiteY48" fmla="*/ 311150 h 4429294"/>
                <a:gd name="connsiteX49" fmla="*/ 1477902 w 4471962"/>
                <a:gd name="connsiteY49" fmla="*/ 152400 h 4429294"/>
                <a:gd name="connsiteX50" fmla="*/ 1592202 w 4471962"/>
                <a:gd name="connsiteY50" fmla="*/ 111125 h 4429294"/>
                <a:gd name="connsiteX51" fmla="*/ 2224027 w 4471962"/>
                <a:gd name="connsiteY51" fmla="*/ 12700 h 4429294"/>
                <a:gd name="connsiteX0" fmla="*/ 2231942 w 4454477"/>
                <a:gd name="connsiteY0" fmla="*/ 0 h 4429294"/>
                <a:gd name="connsiteX1" fmla="*/ 2555792 w 4454477"/>
                <a:gd name="connsiteY1" fmla="*/ 15875 h 4429294"/>
                <a:gd name="connsiteX2" fmla="*/ 2851067 w 4454477"/>
                <a:gd name="connsiteY2" fmla="*/ 85725 h 4429294"/>
                <a:gd name="connsiteX3" fmla="*/ 3070142 w 4454477"/>
                <a:gd name="connsiteY3" fmla="*/ 171450 h 4429294"/>
                <a:gd name="connsiteX4" fmla="*/ 3174917 w 4454477"/>
                <a:gd name="connsiteY4" fmla="*/ 228600 h 4429294"/>
                <a:gd name="connsiteX5" fmla="*/ 3355892 w 4454477"/>
                <a:gd name="connsiteY5" fmla="*/ 323850 h 4429294"/>
                <a:gd name="connsiteX6" fmla="*/ 3746417 w 4454477"/>
                <a:gd name="connsiteY6" fmla="*/ 581025 h 4429294"/>
                <a:gd name="connsiteX7" fmla="*/ 3962317 w 4454477"/>
                <a:gd name="connsiteY7" fmla="*/ 819150 h 4429294"/>
                <a:gd name="connsiteX8" fmla="*/ 4098842 w 4454477"/>
                <a:gd name="connsiteY8" fmla="*/ 990600 h 4429294"/>
                <a:gd name="connsiteX9" fmla="*/ 4184567 w 4454477"/>
                <a:gd name="connsiteY9" fmla="*/ 1143000 h 4429294"/>
                <a:gd name="connsiteX10" fmla="*/ 4241717 w 4454477"/>
                <a:gd name="connsiteY10" fmla="*/ 1266825 h 4429294"/>
                <a:gd name="connsiteX11" fmla="*/ 4279817 w 4454477"/>
                <a:gd name="connsiteY11" fmla="*/ 1362075 h 4429294"/>
                <a:gd name="connsiteX12" fmla="*/ 4327442 w 4454477"/>
                <a:gd name="connsiteY12" fmla="*/ 1552575 h 4429294"/>
                <a:gd name="connsiteX13" fmla="*/ 4365542 w 4454477"/>
                <a:gd name="connsiteY13" fmla="*/ 1685925 h 4429294"/>
                <a:gd name="connsiteX14" fmla="*/ 4454442 w 4454477"/>
                <a:gd name="connsiteY14" fmla="*/ 2181225 h 4429294"/>
                <a:gd name="connsiteX15" fmla="*/ 4381417 w 4454477"/>
                <a:gd name="connsiteY15" fmla="*/ 2768600 h 4429294"/>
                <a:gd name="connsiteX16" fmla="*/ 4317917 w 4454477"/>
                <a:gd name="connsiteY16" fmla="*/ 2990850 h 4429294"/>
                <a:gd name="connsiteX17" fmla="*/ 4213142 w 4454477"/>
                <a:gd name="connsiteY17" fmla="*/ 3248025 h 4429294"/>
                <a:gd name="connsiteX18" fmla="*/ 4117892 w 4454477"/>
                <a:gd name="connsiteY18" fmla="*/ 3400425 h 4429294"/>
                <a:gd name="connsiteX19" fmla="*/ 3994067 w 4454477"/>
                <a:gd name="connsiteY19" fmla="*/ 3533775 h 4429294"/>
                <a:gd name="connsiteX20" fmla="*/ 3889292 w 4454477"/>
                <a:gd name="connsiteY20" fmla="*/ 3648075 h 4429294"/>
                <a:gd name="connsiteX21" fmla="*/ 3594017 w 4454477"/>
                <a:gd name="connsiteY21" fmla="*/ 3971925 h 4429294"/>
                <a:gd name="connsiteX22" fmla="*/ 3451142 w 4454477"/>
                <a:gd name="connsiteY22" fmla="*/ 4083050 h 4429294"/>
                <a:gd name="connsiteX23" fmla="*/ 3155867 w 4454477"/>
                <a:gd name="connsiteY23" fmla="*/ 4222750 h 4429294"/>
                <a:gd name="connsiteX24" fmla="*/ 3003467 w 4454477"/>
                <a:gd name="connsiteY24" fmla="*/ 4286250 h 4429294"/>
                <a:gd name="connsiteX25" fmla="*/ 2870117 w 4454477"/>
                <a:gd name="connsiteY25" fmla="*/ 4333875 h 4429294"/>
                <a:gd name="connsiteX26" fmla="*/ 2746292 w 4454477"/>
                <a:gd name="connsiteY26" fmla="*/ 4371975 h 4429294"/>
                <a:gd name="connsiteX27" fmla="*/ 2514517 w 4454477"/>
                <a:gd name="connsiteY27" fmla="*/ 4391025 h 4429294"/>
                <a:gd name="connsiteX28" fmla="*/ 2060492 w 4454477"/>
                <a:gd name="connsiteY28" fmla="*/ 4429125 h 4429294"/>
                <a:gd name="connsiteX29" fmla="*/ 1869992 w 4454477"/>
                <a:gd name="connsiteY29" fmla="*/ 4400550 h 4429294"/>
                <a:gd name="connsiteX30" fmla="*/ 1508042 w 4454477"/>
                <a:gd name="connsiteY30" fmla="*/ 4305300 h 4429294"/>
                <a:gd name="connsiteX31" fmla="*/ 1266742 w 4454477"/>
                <a:gd name="connsiteY31" fmla="*/ 4216400 h 4429294"/>
                <a:gd name="connsiteX32" fmla="*/ 1098467 w 4454477"/>
                <a:gd name="connsiteY32" fmla="*/ 4111625 h 4429294"/>
                <a:gd name="connsiteX33" fmla="*/ 879392 w 4454477"/>
                <a:gd name="connsiteY33" fmla="*/ 3968750 h 4429294"/>
                <a:gd name="connsiteX34" fmla="*/ 546017 w 4454477"/>
                <a:gd name="connsiteY34" fmla="*/ 3657600 h 4429294"/>
                <a:gd name="connsiteX35" fmla="*/ 399967 w 4454477"/>
                <a:gd name="connsiteY35" fmla="*/ 3470275 h 4429294"/>
                <a:gd name="connsiteX36" fmla="*/ 269792 w 4454477"/>
                <a:gd name="connsiteY36" fmla="*/ 3244850 h 4429294"/>
                <a:gd name="connsiteX37" fmla="*/ 117392 w 4454477"/>
                <a:gd name="connsiteY37" fmla="*/ 2892425 h 4429294"/>
                <a:gd name="connsiteX38" fmla="*/ 9442 w 4454477"/>
                <a:gd name="connsiteY38" fmla="*/ 2368550 h 4429294"/>
                <a:gd name="connsiteX39" fmla="*/ 15792 w 4454477"/>
                <a:gd name="connsiteY39" fmla="*/ 1870075 h 4429294"/>
                <a:gd name="connsiteX40" fmla="*/ 41192 w 4454477"/>
                <a:gd name="connsiteY40" fmla="*/ 1590675 h 4429294"/>
                <a:gd name="connsiteX41" fmla="*/ 88817 w 4454477"/>
                <a:gd name="connsiteY41" fmla="*/ 1419225 h 4429294"/>
                <a:gd name="connsiteX42" fmla="*/ 165017 w 4454477"/>
                <a:gd name="connsiteY42" fmla="*/ 1276350 h 4429294"/>
                <a:gd name="connsiteX43" fmla="*/ 250742 w 4454477"/>
                <a:gd name="connsiteY43" fmla="*/ 1114425 h 4429294"/>
                <a:gd name="connsiteX44" fmla="*/ 412667 w 4454477"/>
                <a:gd name="connsiteY44" fmla="*/ 857250 h 4429294"/>
                <a:gd name="connsiteX45" fmla="*/ 469817 w 4454477"/>
                <a:gd name="connsiteY45" fmla="*/ 800100 h 4429294"/>
                <a:gd name="connsiteX46" fmla="*/ 603167 w 4454477"/>
                <a:gd name="connsiteY46" fmla="*/ 676275 h 4429294"/>
                <a:gd name="connsiteX47" fmla="*/ 822242 w 4454477"/>
                <a:gd name="connsiteY47" fmla="*/ 504825 h 4429294"/>
                <a:gd name="connsiteX48" fmla="*/ 1101642 w 4454477"/>
                <a:gd name="connsiteY48" fmla="*/ 311150 h 4429294"/>
                <a:gd name="connsiteX49" fmla="*/ 1460417 w 4454477"/>
                <a:gd name="connsiteY49" fmla="*/ 152400 h 4429294"/>
                <a:gd name="connsiteX50" fmla="*/ 1574717 w 4454477"/>
                <a:gd name="connsiteY50" fmla="*/ 111125 h 4429294"/>
                <a:gd name="connsiteX51" fmla="*/ 2206542 w 4454477"/>
                <a:gd name="connsiteY51" fmla="*/ 12700 h 4429294"/>
                <a:gd name="connsiteX0" fmla="*/ 2233750 w 4456285"/>
                <a:gd name="connsiteY0" fmla="*/ 0 h 4429294"/>
                <a:gd name="connsiteX1" fmla="*/ 2557600 w 4456285"/>
                <a:gd name="connsiteY1" fmla="*/ 15875 h 4429294"/>
                <a:gd name="connsiteX2" fmla="*/ 2852875 w 4456285"/>
                <a:gd name="connsiteY2" fmla="*/ 85725 h 4429294"/>
                <a:gd name="connsiteX3" fmla="*/ 3071950 w 4456285"/>
                <a:gd name="connsiteY3" fmla="*/ 171450 h 4429294"/>
                <a:gd name="connsiteX4" fmla="*/ 3176725 w 4456285"/>
                <a:gd name="connsiteY4" fmla="*/ 228600 h 4429294"/>
                <a:gd name="connsiteX5" fmla="*/ 3357700 w 4456285"/>
                <a:gd name="connsiteY5" fmla="*/ 323850 h 4429294"/>
                <a:gd name="connsiteX6" fmla="*/ 3748225 w 4456285"/>
                <a:gd name="connsiteY6" fmla="*/ 581025 h 4429294"/>
                <a:gd name="connsiteX7" fmla="*/ 3964125 w 4456285"/>
                <a:gd name="connsiteY7" fmla="*/ 819150 h 4429294"/>
                <a:gd name="connsiteX8" fmla="*/ 4100650 w 4456285"/>
                <a:gd name="connsiteY8" fmla="*/ 990600 h 4429294"/>
                <a:gd name="connsiteX9" fmla="*/ 4186375 w 4456285"/>
                <a:gd name="connsiteY9" fmla="*/ 1143000 h 4429294"/>
                <a:gd name="connsiteX10" fmla="*/ 4243525 w 4456285"/>
                <a:gd name="connsiteY10" fmla="*/ 1266825 h 4429294"/>
                <a:gd name="connsiteX11" fmla="*/ 4281625 w 4456285"/>
                <a:gd name="connsiteY11" fmla="*/ 1362075 h 4429294"/>
                <a:gd name="connsiteX12" fmla="*/ 4329250 w 4456285"/>
                <a:gd name="connsiteY12" fmla="*/ 1552575 h 4429294"/>
                <a:gd name="connsiteX13" fmla="*/ 4367350 w 4456285"/>
                <a:gd name="connsiteY13" fmla="*/ 1685925 h 4429294"/>
                <a:gd name="connsiteX14" fmla="*/ 4456250 w 4456285"/>
                <a:gd name="connsiteY14" fmla="*/ 2181225 h 4429294"/>
                <a:gd name="connsiteX15" fmla="*/ 4383225 w 4456285"/>
                <a:gd name="connsiteY15" fmla="*/ 2768600 h 4429294"/>
                <a:gd name="connsiteX16" fmla="*/ 4319725 w 4456285"/>
                <a:gd name="connsiteY16" fmla="*/ 2990850 h 4429294"/>
                <a:gd name="connsiteX17" fmla="*/ 4214950 w 4456285"/>
                <a:gd name="connsiteY17" fmla="*/ 3248025 h 4429294"/>
                <a:gd name="connsiteX18" fmla="*/ 4119700 w 4456285"/>
                <a:gd name="connsiteY18" fmla="*/ 3400425 h 4429294"/>
                <a:gd name="connsiteX19" fmla="*/ 3995875 w 4456285"/>
                <a:gd name="connsiteY19" fmla="*/ 3533775 h 4429294"/>
                <a:gd name="connsiteX20" fmla="*/ 3891100 w 4456285"/>
                <a:gd name="connsiteY20" fmla="*/ 3648075 h 4429294"/>
                <a:gd name="connsiteX21" fmla="*/ 3595825 w 4456285"/>
                <a:gd name="connsiteY21" fmla="*/ 3971925 h 4429294"/>
                <a:gd name="connsiteX22" fmla="*/ 3452950 w 4456285"/>
                <a:gd name="connsiteY22" fmla="*/ 4083050 h 4429294"/>
                <a:gd name="connsiteX23" fmla="*/ 3157675 w 4456285"/>
                <a:gd name="connsiteY23" fmla="*/ 4222750 h 4429294"/>
                <a:gd name="connsiteX24" fmla="*/ 3005275 w 4456285"/>
                <a:gd name="connsiteY24" fmla="*/ 4286250 h 4429294"/>
                <a:gd name="connsiteX25" fmla="*/ 2871925 w 4456285"/>
                <a:gd name="connsiteY25" fmla="*/ 4333875 h 4429294"/>
                <a:gd name="connsiteX26" fmla="*/ 2748100 w 4456285"/>
                <a:gd name="connsiteY26" fmla="*/ 4371975 h 4429294"/>
                <a:gd name="connsiteX27" fmla="*/ 2516325 w 4456285"/>
                <a:gd name="connsiteY27" fmla="*/ 4391025 h 4429294"/>
                <a:gd name="connsiteX28" fmla="*/ 2062300 w 4456285"/>
                <a:gd name="connsiteY28" fmla="*/ 4429125 h 4429294"/>
                <a:gd name="connsiteX29" fmla="*/ 1871800 w 4456285"/>
                <a:gd name="connsiteY29" fmla="*/ 4400550 h 4429294"/>
                <a:gd name="connsiteX30" fmla="*/ 1509850 w 4456285"/>
                <a:gd name="connsiteY30" fmla="*/ 4305300 h 4429294"/>
                <a:gd name="connsiteX31" fmla="*/ 1268550 w 4456285"/>
                <a:gd name="connsiteY31" fmla="*/ 4216400 h 4429294"/>
                <a:gd name="connsiteX32" fmla="*/ 1100275 w 4456285"/>
                <a:gd name="connsiteY32" fmla="*/ 4111625 h 4429294"/>
                <a:gd name="connsiteX33" fmla="*/ 881200 w 4456285"/>
                <a:gd name="connsiteY33" fmla="*/ 3968750 h 4429294"/>
                <a:gd name="connsiteX34" fmla="*/ 547825 w 4456285"/>
                <a:gd name="connsiteY34" fmla="*/ 3657600 h 4429294"/>
                <a:gd name="connsiteX35" fmla="*/ 401775 w 4456285"/>
                <a:gd name="connsiteY35" fmla="*/ 3470275 h 4429294"/>
                <a:gd name="connsiteX36" fmla="*/ 271600 w 4456285"/>
                <a:gd name="connsiteY36" fmla="*/ 3244850 h 4429294"/>
                <a:gd name="connsiteX37" fmla="*/ 119200 w 4456285"/>
                <a:gd name="connsiteY37" fmla="*/ 2892425 h 4429294"/>
                <a:gd name="connsiteX38" fmla="*/ 11250 w 4456285"/>
                <a:gd name="connsiteY38" fmla="*/ 2368550 h 4429294"/>
                <a:gd name="connsiteX39" fmla="*/ 17600 w 4456285"/>
                <a:gd name="connsiteY39" fmla="*/ 1870075 h 4429294"/>
                <a:gd name="connsiteX40" fmla="*/ 90625 w 4456285"/>
                <a:gd name="connsiteY40" fmla="*/ 1419225 h 4429294"/>
                <a:gd name="connsiteX41" fmla="*/ 166825 w 4456285"/>
                <a:gd name="connsiteY41" fmla="*/ 1276350 h 4429294"/>
                <a:gd name="connsiteX42" fmla="*/ 252550 w 4456285"/>
                <a:gd name="connsiteY42" fmla="*/ 1114425 h 4429294"/>
                <a:gd name="connsiteX43" fmla="*/ 414475 w 4456285"/>
                <a:gd name="connsiteY43" fmla="*/ 857250 h 4429294"/>
                <a:gd name="connsiteX44" fmla="*/ 471625 w 4456285"/>
                <a:gd name="connsiteY44" fmla="*/ 800100 h 4429294"/>
                <a:gd name="connsiteX45" fmla="*/ 604975 w 4456285"/>
                <a:gd name="connsiteY45" fmla="*/ 676275 h 4429294"/>
                <a:gd name="connsiteX46" fmla="*/ 824050 w 4456285"/>
                <a:gd name="connsiteY46" fmla="*/ 504825 h 4429294"/>
                <a:gd name="connsiteX47" fmla="*/ 1103450 w 4456285"/>
                <a:gd name="connsiteY47" fmla="*/ 311150 h 4429294"/>
                <a:gd name="connsiteX48" fmla="*/ 1462225 w 4456285"/>
                <a:gd name="connsiteY48" fmla="*/ 152400 h 4429294"/>
                <a:gd name="connsiteX49" fmla="*/ 1576525 w 4456285"/>
                <a:gd name="connsiteY49" fmla="*/ 111125 h 4429294"/>
                <a:gd name="connsiteX50" fmla="*/ 2208350 w 4456285"/>
                <a:gd name="connsiteY50" fmla="*/ 12700 h 4429294"/>
                <a:gd name="connsiteX0" fmla="*/ 2237540 w 4460075"/>
                <a:gd name="connsiteY0" fmla="*/ 0 h 4429294"/>
                <a:gd name="connsiteX1" fmla="*/ 2561390 w 4460075"/>
                <a:gd name="connsiteY1" fmla="*/ 15875 h 4429294"/>
                <a:gd name="connsiteX2" fmla="*/ 2856665 w 4460075"/>
                <a:gd name="connsiteY2" fmla="*/ 85725 h 4429294"/>
                <a:gd name="connsiteX3" fmla="*/ 3075740 w 4460075"/>
                <a:gd name="connsiteY3" fmla="*/ 171450 h 4429294"/>
                <a:gd name="connsiteX4" fmla="*/ 3180515 w 4460075"/>
                <a:gd name="connsiteY4" fmla="*/ 228600 h 4429294"/>
                <a:gd name="connsiteX5" fmla="*/ 3361490 w 4460075"/>
                <a:gd name="connsiteY5" fmla="*/ 323850 h 4429294"/>
                <a:gd name="connsiteX6" fmla="*/ 3752015 w 4460075"/>
                <a:gd name="connsiteY6" fmla="*/ 581025 h 4429294"/>
                <a:gd name="connsiteX7" fmla="*/ 3967915 w 4460075"/>
                <a:gd name="connsiteY7" fmla="*/ 819150 h 4429294"/>
                <a:gd name="connsiteX8" fmla="*/ 4104440 w 4460075"/>
                <a:gd name="connsiteY8" fmla="*/ 990600 h 4429294"/>
                <a:gd name="connsiteX9" fmla="*/ 4190165 w 4460075"/>
                <a:gd name="connsiteY9" fmla="*/ 1143000 h 4429294"/>
                <a:gd name="connsiteX10" fmla="*/ 4247315 w 4460075"/>
                <a:gd name="connsiteY10" fmla="*/ 1266825 h 4429294"/>
                <a:gd name="connsiteX11" fmla="*/ 4285415 w 4460075"/>
                <a:gd name="connsiteY11" fmla="*/ 1362075 h 4429294"/>
                <a:gd name="connsiteX12" fmla="*/ 4333040 w 4460075"/>
                <a:gd name="connsiteY12" fmla="*/ 1552575 h 4429294"/>
                <a:gd name="connsiteX13" fmla="*/ 4371140 w 4460075"/>
                <a:gd name="connsiteY13" fmla="*/ 1685925 h 4429294"/>
                <a:gd name="connsiteX14" fmla="*/ 4460040 w 4460075"/>
                <a:gd name="connsiteY14" fmla="*/ 2181225 h 4429294"/>
                <a:gd name="connsiteX15" fmla="*/ 4387015 w 4460075"/>
                <a:gd name="connsiteY15" fmla="*/ 2768600 h 4429294"/>
                <a:gd name="connsiteX16" fmla="*/ 4323515 w 4460075"/>
                <a:gd name="connsiteY16" fmla="*/ 2990850 h 4429294"/>
                <a:gd name="connsiteX17" fmla="*/ 4218740 w 4460075"/>
                <a:gd name="connsiteY17" fmla="*/ 3248025 h 4429294"/>
                <a:gd name="connsiteX18" fmla="*/ 4123490 w 4460075"/>
                <a:gd name="connsiteY18" fmla="*/ 3400425 h 4429294"/>
                <a:gd name="connsiteX19" fmla="*/ 3999665 w 4460075"/>
                <a:gd name="connsiteY19" fmla="*/ 3533775 h 4429294"/>
                <a:gd name="connsiteX20" fmla="*/ 3894890 w 4460075"/>
                <a:gd name="connsiteY20" fmla="*/ 3648075 h 4429294"/>
                <a:gd name="connsiteX21" fmla="*/ 3599615 w 4460075"/>
                <a:gd name="connsiteY21" fmla="*/ 3971925 h 4429294"/>
                <a:gd name="connsiteX22" fmla="*/ 3456740 w 4460075"/>
                <a:gd name="connsiteY22" fmla="*/ 4083050 h 4429294"/>
                <a:gd name="connsiteX23" fmla="*/ 3161465 w 4460075"/>
                <a:gd name="connsiteY23" fmla="*/ 4222750 h 4429294"/>
                <a:gd name="connsiteX24" fmla="*/ 3009065 w 4460075"/>
                <a:gd name="connsiteY24" fmla="*/ 4286250 h 4429294"/>
                <a:gd name="connsiteX25" fmla="*/ 2875715 w 4460075"/>
                <a:gd name="connsiteY25" fmla="*/ 4333875 h 4429294"/>
                <a:gd name="connsiteX26" fmla="*/ 2751890 w 4460075"/>
                <a:gd name="connsiteY26" fmla="*/ 4371975 h 4429294"/>
                <a:gd name="connsiteX27" fmla="*/ 2520115 w 4460075"/>
                <a:gd name="connsiteY27" fmla="*/ 4391025 h 4429294"/>
                <a:gd name="connsiteX28" fmla="*/ 2066090 w 4460075"/>
                <a:gd name="connsiteY28" fmla="*/ 4429125 h 4429294"/>
                <a:gd name="connsiteX29" fmla="*/ 1875590 w 4460075"/>
                <a:gd name="connsiteY29" fmla="*/ 4400550 h 4429294"/>
                <a:gd name="connsiteX30" fmla="*/ 1513640 w 4460075"/>
                <a:gd name="connsiteY30" fmla="*/ 4305300 h 4429294"/>
                <a:gd name="connsiteX31" fmla="*/ 1272340 w 4460075"/>
                <a:gd name="connsiteY31" fmla="*/ 4216400 h 4429294"/>
                <a:gd name="connsiteX32" fmla="*/ 1104065 w 4460075"/>
                <a:gd name="connsiteY32" fmla="*/ 4111625 h 4429294"/>
                <a:gd name="connsiteX33" fmla="*/ 884990 w 4460075"/>
                <a:gd name="connsiteY33" fmla="*/ 3968750 h 4429294"/>
                <a:gd name="connsiteX34" fmla="*/ 551615 w 4460075"/>
                <a:gd name="connsiteY34" fmla="*/ 3657600 h 4429294"/>
                <a:gd name="connsiteX35" fmla="*/ 405565 w 4460075"/>
                <a:gd name="connsiteY35" fmla="*/ 3470275 h 4429294"/>
                <a:gd name="connsiteX36" fmla="*/ 275390 w 4460075"/>
                <a:gd name="connsiteY36" fmla="*/ 3244850 h 4429294"/>
                <a:gd name="connsiteX37" fmla="*/ 122990 w 4460075"/>
                <a:gd name="connsiteY37" fmla="*/ 2892425 h 4429294"/>
                <a:gd name="connsiteX38" fmla="*/ 15040 w 4460075"/>
                <a:gd name="connsiteY38" fmla="*/ 2368550 h 4429294"/>
                <a:gd name="connsiteX39" fmla="*/ 21390 w 4460075"/>
                <a:gd name="connsiteY39" fmla="*/ 1870075 h 4429294"/>
                <a:gd name="connsiteX40" fmla="*/ 170615 w 4460075"/>
                <a:gd name="connsiteY40" fmla="*/ 1276350 h 4429294"/>
                <a:gd name="connsiteX41" fmla="*/ 256340 w 4460075"/>
                <a:gd name="connsiteY41" fmla="*/ 1114425 h 4429294"/>
                <a:gd name="connsiteX42" fmla="*/ 418265 w 4460075"/>
                <a:gd name="connsiteY42" fmla="*/ 857250 h 4429294"/>
                <a:gd name="connsiteX43" fmla="*/ 475415 w 4460075"/>
                <a:gd name="connsiteY43" fmla="*/ 800100 h 4429294"/>
                <a:gd name="connsiteX44" fmla="*/ 608765 w 4460075"/>
                <a:gd name="connsiteY44" fmla="*/ 676275 h 4429294"/>
                <a:gd name="connsiteX45" fmla="*/ 827840 w 4460075"/>
                <a:gd name="connsiteY45" fmla="*/ 504825 h 4429294"/>
                <a:gd name="connsiteX46" fmla="*/ 1107240 w 4460075"/>
                <a:gd name="connsiteY46" fmla="*/ 311150 h 4429294"/>
                <a:gd name="connsiteX47" fmla="*/ 1466015 w 4460075"/>
                <a:gd name="connsiteY47" fmla="*/ 152400 h 4429294"/>
                <a:gd name="connsiteX48" fmla="*/ 1580315 w 4460075"/>
                <a:gd name="connsiteY48" fmla="*/ 111125 h 4429294"/>
                <a:gd name="connsiteX49" fmla="*/ 2212140 w 4460075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5706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18990 w 4460800"/>
                <a:gd name="connsiteY42" fmla="*/ 857250 h 4429294"/>
                <a:gd name="connsiteX43" fmla="*/ 476140 w 4460800"/>
                <a:gd name="connsiteY43" fmla="*/ 800100 h 4429294"/>
                <a:gd name="connsiteX44" fmla="*/ 609490 w 4460800"/>
                <a:gd name="connsiteY44" fmla="*/ 676275 h 4429294"/>
                <a:gd name="connsiteX45" fmla="*/ 828565 w 4460800"/>
                <a:gd name="connsiteY45" fmla="*/ 504825 h 4429294"/>
                <a:gd name="connsiteX46" fmla="*/ 1107965 w 4460800"/>
                <a:gd name="connsiteY46" fmla="*/ 311150 h 4429294"/>
                <a:gd name="connsiteX47" fmla="*/ 1466740 w 4460800"/>
                <a:gd name="connsiteY47" fmla="*/ 152400 h 4429294"/>
                <a:gd name="connsiteX48" fmla="*/ 1581040 w 4460800"/>
                <a:gd name="connsiteY48" fmla="*/ 111125 h 4429294"/>
                <a:gd name="connsiteX49" fmla="*/ 2212865 w 4460800"/>
                <a:gd name="connsiteY49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476140 w 4460800"/>
                <a:gd name="connsiteY42" fmla="*/ 800100 h 4429294"/>
                <a:gd name="connsiteX43" fmla="*/ 609490 w 4460800"/>
                <a:gd name="connsiteY43" fmla="*/ 676275 h 4429294"/>
                <a:gd name="connsiteX44" fmla="*/ 828565 w 4460800"/>
                <a:gd name="connsiteY44" fmla="*/ 504825 h 4429294"/>
                <a:gd name="connsiteX45" fmla="*/ 1107965 w 4460800"/>
                <a:gd name="connsiteY45" fmla="*/ 311150 h 4429294"/>
                <a:gd name="connsiteX46" fmla="*/ 1466740 w 4460800"/>
                <a:gd name="connsiteY46" fmla="*/ 152400 h 4429294"/>
                <a:gd name="connsiteX47" fmla="*/ 1581040 w 4460800"/>
                <a:gd name="connsiteY47" fmla="*/ 111125 h 4429294"/>
                <a:gd name="connsiteX48" fmla="*/ 2212865 w 4460800"/>
                <a:gd name="connsiteY48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0" fmla="*/ 2238265 w 4460800"/>
                <a:gd name="connsiteY0" fmla="*/ 0 h 4429294"/>
                <a:gd name="connsiteX1" fmla="*/ 2562115 w 4460800"/>
                <a:gd name="connsiteY1" fmla="*/ 15875 h 4429294"/>
                <a:gd name="connsiteX2" fmla="*/ 2857390 w 4460800"/>
                <a:gd name="connsiteY2" fmla="*/ 85725 h 4429294"/>
                <a:gd name="connsiteX3" fmla="*/ 3076465 w 4460800"/>
                <a:gd name="connsiteY3" fmla="*/ 171450 h 4429294"/>
                <a:gd name="connsiteX4" fmla="*/ 3181240 w 4460800"/>
                <a:gd name="connsiteY4" fmla="*/ 228600 h 4429294"/>
                <a:gd name="connsiteX5" fmla="*/ 3362215 w 4460800"/>
                <a:gd name="connsiteY5" fmla="*/ 323850 h 4429294"/>
                <a:gd name="connsiteX6" fmla="*/ 3752740 w 4460800"/>
                <a:gd name="connsiteY6" fmla="*/ 581025 h 4429294"/>
                <a:gd name="connsiteX7" fmla="*/ 3968640 w 4460800"/>
                <a:gd name="connsiteY7" fmla="*/ 819150 h 4429294"/>
                <a:gd name="connsiteX8" fmla="*/ 4105165 w 4460800"/>
                <a:gd name="connsiteY8" fmla="*/ 990600 h 4429294"/>
                <a:gd name="connsiteX9" fmla="*/ 4190890 w 4460800"/>
                <a:gd name="connsiteY9" fmla="*/ 1143000 h 4429294"/>
                <a:gd name="connsiteX10" fmla="*/ 4248040 w 4460800"/>
                <a:gd name="connsiteY10" fmla="*/ 1266825 h 4429294"/>
                <a:gd name="connsiteX11" fmla="*/ 4286140 w 4460800"/>
                <a:gd name="connsiteY11" fmla="*/ 1362075 h 4429294"/>
                <a:gd name="connsiteX12" fmla="*/ 4333765 w 4460800"/>
                <a:gd name="connsiteY12" fmla="*/ 1552575 h 4429294"/>
                <a:gd name="connsiteX13" fmla="*/ 4371865 w 4460800"/>
                <a:gd name="connsiteY13" fmla="*/ 1685925 h 4429294"/>
                <a:gd name="connsiteX14" fmla="*/ 4460765 w 4460800"/>
                <a:gd name="connsiteY14" fmla="*/ 2181225 h 4429294"/>
                <a:gd name="connsiteX15" fmla="*/ 4387740 w 4460800"/>
                <a:gd name="connsiteY15" fmla="*/ 2768600 h 4429294"/>
                <a:gd name="connsiteX16" fmla="*/ 4324240 w 4460800"/>
                <a:gd name="connsiteY16" fmla="*/ 2990850 h 4429294"/>
                <a:gd name="connsiteX17" fmla="*/ 4219465 w 4460800"/>
                <a:gd name="connsiteY17" fmla="*/ 3248025 h 4429294"/>
                <a:gd name="connsiteX18" fmla="*/ 4124215 w 4460800"/>
                <a:gd name="connsiteY18" fmla="*/ 3400425 h 4429294"/>
                <a:gd name="connsiteX19" fmla="*/ 4000390 w 4460800"/>
                <a:gd name="connsiteY19" fmla="*/ 3533775 h 4429294"/>
                <a:gd name="connsiteX20" fmla="*/ 3895615 w 4460800"/>
                <a:gd name="connsiteY20" fmla="*/ 3648075 h 4429294"/>
                <a:gd name="connsiteX21" fmla="*/ 3600340 w 4460800"/>
                <a:gd name="connsiteY21" fmla="*/ 3971925 h 4429294"/>
                <a:gd name="connsiteX22" fmla="*/ 3457465 w 4460800"/>
                <a:gd name="connsiteY22" fmla="*/ 4083050 h 4429294"/>
                <a:gd name="connsiteX23" fmla="*/ 3162190 w 4460800"/>
                <a:gd name="connsiteY23" fmla="*/ 4222750 h 4429294"/>
                <a:gd name="connsiteX24" fmla="*/ 3009790 w 4460800"/>
                <a:gd name="connsiteY24" fmla="*/ 4286250 h 4429294"/>
                <a:gd name="connsiteX25" fmla="*/ 2876440 w 4460800"/>
                <a:gd name="connsiteY25" fmla="*/ 4333875 h 4429294"/>
                <a:gd name="connsiteX26" fmla="*/ 2752615 w 4460800"/>
                <a:gd name="connsiteY26" fmla="*/ 4371975 h 4429294"/>
                <a:gd name="connsiteX27" fmla="*/ 2520840 w 4460800"/>
                <a:gd name="connsiteY27" fmla="*/ 4391025 h 4429294"/>
                <a:gd name="connsiteX28" fmla="*/ 2066815 w 4460800"/>
                <a:gd name="connsiteY28" fmla="*/ 4429125 h 4429294"/>
                <a:gd name="connsiteX29" fmla="*/ 1876315 w 4460800"/>
                <a:gd name="connsiteY29" fmla="*/ 4400550 h 4429294"/>
                <a:gd name="connsiteX30" fmla="*/ 1514365 w 4460800"/>
                <a:gd name="connsiteY30" fmla="*/ 4305300 h 4429294"/>
                <a:gd name="connsiteX31" fmla="*/ 1273065 w 4460800"/>
                <a:gd name="connsiteY31" fmla="*/ 4216400 h 4429294"/>
                <a:gd name="connsiteX32" fmla="*/ 1104790 w 4460800"/>
                <a:gd name="connsiteY32" fmla="*/ 4111625 h 4429294"/>
                <a:gd name="connsiteX33" fmla="*/ 885715 w 4460800"/>
                <a:gd name="connsiteY33" fmla="*/ 3968750 h 4429294"/>
                <a:gd name="connsiteX34" fmla="*/ 552340 w 4460800"/>
                <a:gd name="connsiteY34" fmla="*/ 3657600 h 4429294"/>
                <a:gd name="connsiteX35" fmla="*/ 406290 w 4460800"/>
                <a:gd name="connsiteY35" fmla="*/ 3470275 h 4429294"/>
                <a:gd name="connsiteX36" fmla="*/ 276115 w 4460800"/>
                <a:gd name="connsiteY36" fmla="*/ 3244850 h 4429294"/>
                <a:gd name="connsiteX37" fmla="*/ 123715 w 4460800"/>
                <a:gd name="connsiteY37" fmla="*/ 2892425 h 4429294"/>
                <a:gd name="connsiteX38" fmla="*/ 15765 w 4460800"/>
                <a:gd name="connsiteY38" fmla="*/ 2368550 h 4429294"/>
                <a:gd name="connsiteX39" fmla="*/ 22115 w 4460800"/>
                <a:gd name="connsiteY39" fmla="*/ 1870075 h 4429294"/>
                <a:gd name="connsiteX40" fmla="*/ 184040 w 4460800"/>
                <a:gd name="connsiteY40" fmla="*/ 1320800 h 4429294"/>
                <a:gd name="connsiteX41" fmla="*/ 288815 w 4460800"/>
                <a:gd name="connsiteY41" fmla="*/ 1114425 h 4429294"/>
                <a:gd name="connsiteX42" fmla="*/ 609490 w 4460800"/>
                <a:gd name="connsiteY42" fmla="*/ 676275 h 4429294"/>
                <a:gd name="connsiteX43" fmla="*/ 828565 w 4460800"/>
                <a:gd name="connsiteY43" fmla="*/ 504825 h 4429294"/>
                <a:gd name="connsiteX44" fmla="*/ 1107965 w 4460800"/>
                <a:gd name="connsiteY44" fmla="*/ 311150 h 4429294"/>
                <a:gd name="connsiteX45" fmla="*/ 1466740 w 4460800"/>
                <a:gd name="connsiteY45" fmla="*/ 152400 h 4429294"/>
                <a:gd name="connsiteX46" fmla="*/ 1581040 w 4460800"/>
                <a:gd name="connsiteY46" fmla="*/ 111125 h 4429294"/>
                <a:gd name="connsiteX47" fmla="*/ 2212865 w 4460800"/>
                <a:gd name="connsiteY47" fmla="*/ 12700 h 4429294"/>
                <a:gd name="connsiteX48" fmla="*/ 2238265 w 4460800"/>
                <a:gd name="connsiteY48" fmla="*/ 0 h 44292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460800" h="4429294">
                  <a:moveTo>
                    <a:pt x="2238265" y="0"/>
                  </a:moveTo>
                  <a:cubicBezTo>
                    <a:pt x="2346215" y="5292"/>
                    <a:pt x="2458928" y="1588"/>
                    <a:pt x="2562115" y="15875"/>
                  </a:cubicBezTo>
                  <a:cubicBezTo>
                    <a:pt x="2665302" y="30162"/>
                    <a:pt x="2798653" y="69321"/>
                    <a:pt x="2857390" y="85725"/>
                  </a:cubicBezTo>
                  <a:cubicBezTo>
                    <a:pt x="2943115" y="111654"/>
                    <a:pt x="3033603" y="153988"/>
                    <a:pt x="3076465" y="171450"/>
                  </a:cubicBezTo>
                  <a:cubicBezTo>
                    <a:pt x="3130440" y="195262"/>
                    <a:pt x="3133615" y="203200"/>
                    <a:pt x="3181240" y="228600"/>
                  </a:cubicBezTo>
                  <a:cubicBezTo>
                    <a:pt x="3228865" y="254000"/>
                    <a:pt x="3266965" y="265113"/>
                    <a:pt x="3362215" y="323850"/>
                  </a:cubicBezTo>
                  <a:cubicBezTo>
                    <a:pt x="3457465" y="382588"/>
                    <a:pt x="3651669" y="498475"/>
                    <a:pt x="3752740" y="581025"/>
                  </a:cubicBezTo>
                  <a:cubicBezTo>
                    <a:pt x="3853811" y="663575"/>
                    <a:pt x="3909903" y="750888"/>
                    <a:pt x="3968640" y="819150"/>
                  </a:cubicBezTo>
                  <a:cubicBezTo>
                    <a:pt x="4027378" y="887413"/>
                    <a:pt x="4068123" y="936625"/>
                    <a:pt x="4105165" y="990600"/>
                  </a:cubicBezTo>
                  <a:cubicBezTo>
                    <a:pt x="4142207" y="1044575"/>
                    <a:pt x="4175015" y="1109663"/>
                    <a:pt x="4190890" y="1143000"/>
                  </a:cubicBezTo>
                  <a:cubicBezTo>
                    <a:pt x="4214703" y="1189038"/>
                    <a:pt x="4232165" y="1230313"/>
                    <a:pt x="4248040" y="1266825"/>
                  </a:cubicBezTo>
                  <a:cubicBezTo>
                    <a:pt x="4263915" y="1303338"/>
                    <a:pt x="4271853" y="1314450"/>
                    <a:pt x="4286140" y="1362075"/>
                  </a:cubicBezTo>
                  <a:cubicBezTo>
                    <a:pt x="4300427" y="1409700"/>
                    <a:pt x="4319478" y="1498600"/>
                    <a:pt x="4333765" y="1552575"/>
                  </a:cubicBezTo>
                  <a:cubicBezTo>
                    <a:pt x="4348053" y="1606550"/>
                    <a:pt x="4350698" y="1581150"/>
                    <a:pt x="4371865" y="1685925"/>
                  </a:cubicBezTo>
                  <a:cubicBezTo>
                    <a:pt x="4393032" y="1790700"/>
                    <a:pt x="4459178" y="1982788"/>
                    <a:pt x="4460765" y="2181225"/>
                  </a:cubicBezTo>
                  <a:cubicBezTo>
                    <a:pt x="4462352" y="2379662"/>
                    <a:pt x="4410494" y="2633663"/>
                    <a:pt x="4387740" y="2768600"/>
                  </a:cubicBezTo>
                  <a:cubicBezTo>
                    <a:pt x="4364986" y="2903537"/>
                    <a:pt x="4352286" y="2910946"/>
                    <a:pt x="4324240" y="2990850"/>
                  </a:cubicBezTo>
                  <a:cubicBezTo>
                    <a:pt x="4296194" y="3070754"/>
                    <a:pt x="4252802" y="3179763"/>
                    <a:pt x="4219465" y="3248025"/>
                  </a:cubicBezTo>
                  <a:cubicBezTo>
                    <a:pt x="4186128" y="3316287"/>
                    <a:pt x="4160728" y="3352800"/>
                    <a:pt x="4124215" y="3400425"/>
                  </a:cubicBezTo>
                  <a:cubicBezTo>
                    <a:pt x="4087703" y="3448050"/>
                    <a:pt x="4038490" y="3492500"/>
                    <a:pt x="4000390" y="3533775"/>
                  </a:cubicBezTo>
                  <a:lnTo>
                    <a:pt x="3895615" y="3648075"/>
                  </a:lnTo>
                  <a:cubicBezTo>
                    <a:pt x="3797190" y="3756025"/>
                    <a:pt x="3673365" y="3899429"/>
                    <a:pt x="3600340" y="3971925"/>
                  </a:cubicBezTo>
                  <a:cubicBezTo>
                    <a:pt x="3527315" y="4044421"/>
                    <a:pt x="3530490" y="4041246"/>
                    <a:pt x="3457465" y="4083050"/>
                  </a:cubicBezTo>
                  <a:cubicBezTo>
                    <a:pt x="3384440" y="4124854"/>
                    <a:pt x="3236802" y="4188883"/>
                    <a:pt x="3162190" y="4222750"/>
                  </a:cubicBezTo>
                  <a:cubicBezTo>
                    <a:pt x="3087578" y="4256617"/>
                    <a:pt x="3038173" y="4283885"/>
                    <a:pt x="3009790" y="4286250"/>
                  </a:cubicBezTo>
                  <a:cubicBezTo>
                    <a:pt x="2947977" y="4310975"/>
                    <a:pt x="2954113" y="4309602"/>
                    <a:pt x="2876440" y="4333875"/>
                  </a:cubicBezTo>
                  <a:cubicBezTo>
                    <a:pt x="2853306" y="4341104"/>
                    <a:pt x="2811882" y="4362450"/>
                    <a:pt x="2752615" y="4371975"/>
                  </a:cubicBezTo>
                  <a:cubicBezTo>
                    <a:pt x="2693348" y="4381500"/>
                    <a:pt x="2635140" y="4381500"/>
                    <a:pt x="2520840" y="4391025"/>
                  </a:cubicBezTo>
                  <a:cubicBezTo>
                    <a:pt x="2406540" y="4400550"/>
                    <a:pt x="2174236" y="4427538"/>
                    <a:pt x="2066815" y="4429125"/>
                  </a:cubicBezTo>
                  <a:cubicBezTo>
                    <a:pt x="1959394" y="4430712"/>
                    <a:pt x="1968390" y="4421187"/>
                    <a:pt x="1876315" y="4400550"/>
                  </a:cubicBezTo>
                  <a:cubicBezTo>
                    <a:pt x="1784240" y="4379913"/>
                    <a:pt x="1614907" y="4335992"/>
                    <a:pt x="1514365" y="4305300"/>
                  </a:cubicBezTo>
                  <a:cubicBezTo>
                    <a:pt x="1413823" y="4274608"/>
                    <a:pt x="1353498" y="4246033"/>
                    <a:pt x="1273065" y="4216400"/>
                  </a:cubicBezTo>
                  <a:cubicBezTo>
                    <a:pt x="1206390" y="4187825"/>
                    <a:pt x="1169348" y="4152900"/>
                    <a:pt x="1104790" y="4111625"/>
                  </a:cubicBezTo>
                  <a:cubicBezTo>
                    <a:pt x="1040232" y="4070350"/>
                    <a:pt x="977790" y="4044421"/>
                    <a:pt x="885715" y="3968750"/>
                  </a:cubicBezTo>
                  <a:cubicBezTo>
                    <a:pt x="793640" y="3893079"/>
                    <a:pt x="632244" y="3740679"/>
                    <a:pt x="552340" y="3657600"/>
                  </a:cubicBezTo>
                  <a:cubicBezTo>
                    <a:pt x="472436" y="3574521"/>
                    <a:pt x="452327" y="3539067"/>
                    <a:pt x="406290" y="3470275"/>
                  </a:cubicBezTo>
                  <a:cubicBezTo>
                    <a:pt x="360253" y="3401483"/>
                    <a:pt x="323211" y="3341158"/>
                    <a:pt x="276115" y="3244850"/>
                  </a:cubicBezTo>
                  <a:cubicBezTo>
                    <a:pt x="229019" y="3148542"/>
                    <a:pt x="167107" y="3038475"/>
                    <a:pt x="123715" y="2892425"/>
                  </a:cubicBezTo>
                  <a:cubicBezTo>
                    <a:pt x="80323" y="2746375"/>
                    <a:pt x="37990" y="2553758"/>
                    <a:pt x="15765" y="2368550"/>
                  </a:cubicBezTo>
                  <a:cubicBezTo>
                    <a:pt x="-6460" y="2183342"/>
                    <a:pt x="-5931" y="2044700"/>
                    <a:pt x="22115" y="1870075"/>
                  </a:cubicBezTo>
                  <a:cubicBezTo>
                    <a:pt x="50161" y="1695450"/>
                    <a:pt x="139590" y="1446742"/>
                    <a:pt x="184040" y="1320800"/>
                  </a:cubicBezTo>
                  <a:cubicBezTo>
                    <a:pt x="228490" y="1194858"/>
                    <a:pt x="217907" y="1221846"/>
                    <a:pt x="288815" y="1114425"/>
                  </a:cubicBezTo>
                  <a:cubicBezTo>
                    <a:pt x="359723" y="1007004"/>
                    <a:pt x="519532" y="777875"/>
                    <a:pt x="609490" y="676275"/>
                  </a:cubicBezTo>
                  <a:cubicBezTo>
                    <a:pt x="699448" y="574675"/>
                    <a:pt x="745486" y="565679"/>
                    <a:pt x="828565" y="504825"/>
                  </a:cubicBezTo>
                  <a:cubicBezTo>
                    <a:pt x="911644" y="443971"/>
                    <a:pt x="997898" y="379942"/>
                    <a:pt x="1107965" y="311150"/>
                  </a:cubicBezTo>
                  <a:cubicBezTo>
                    <a:pt x="1214328" y="252413"/>
                    <a:pt x="1387894" y="185737"/>
                    <a:pt x="1466740" y="152400"/>
                  </a:cubicBezTo>
                  <a:cubicBezTo>
                    <a:pt x="1545586" y="119063"/>
                    <a:pt x="1456686" y="134408"/>
                    <a:pt x="1581040" y="111125"/>
                  </a:cubicBezTo>
                  <a:cubicBezTo>
                    <a:pt x="1810698" y="67733"/>
                    <a:pt x="1945107" y="-7408"/>
                    <a:pt x="2212865" y="12700"/>
                  </a:cubicBezTo>
                  <a:lnTo>
                    <a:pt x="2238265" y="0"/>
                  </a:lnTo>
                  <a:close/>
                </a:path>
              </a:pathLst>
            </a:custGeom>
            <a:solidFill>
              <a:srgbClr val="F79FA7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</a:t>
              </a:r>
            </a:p>
          </p:txBody>
        </p:sp>
      </p:grpSp>
      <p:grpSp>
        <p:nvGrpSpPr>
          <p:cNvPr id="331" name="Group 330">
            <a:extLst>
              <a:ext uri="{FF2B5EF4-FFF2-40B4-BE49-F238E27FC236}">
                <a16:creationId xmlns:a16="http://schemas.microsoft.com/office/drawing/2014/main" id="{81628E19-4ACE-0C73-B28D-B3364E95C188}"/>
              </a:ext>
            </a:extLst>
          </p:cNvPr>
          <p:cNvGrpSpPr/>
          <p:nvPr/>
        </p:nvGrpSpPr>
        <p:grpSpPr>
          <a:xfrm>
            <a:off x="5325860" y="1840053"/>
            <a:ext cx="1147510" cy="1156450"/>
            <a:chOff x="4156082" y="-3024236"/>
            <a:chExt cx="2183420" cy="2200431"/>
          </a:xfrm>
        </p:grpSpPr>
        <p:sp>
          <p:nvSpPr>
            <p:cNvPr id="329" name="Freeform: Shape 328">
              <a:extLst>
                <a:ext uri="{FF2B5EF4-FFF2-40B4-BE49-F238E27FC236}">
                  <a16:creationId xmlns:a16="http://schemas.microsoft.com/office/drawing/2014/main" id="{077DA86A-3E19-1868-3A55-95B062C9DE97}"/>
                </a:ext>
              </a:extLst>
            </p:cNvPr>
            <p:cNvSpPr/>
            <p:nvPr/>
          </p:nvSpPr>
          <p:spPr>
            <a:xfrm>
              <a:off x="4189262" y="-2967694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solidFill>
              <a:srgbClr val="339C91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 dirty="0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</a:t>
              </a:r>
            </a:p>
          </p:txBody>
        </p:sp>
        <p:sp>
          <p:nvSpPr>
            <p:cNvPr id="330" name="Freeform: Shape 329">
              <a:extLst>
                <a:ext uri="{FF2B5EF4-FFF2-40B4-BE49-F238E27FC236}">
                  <a16:creationId xmlns:a16="http://schemas.microsoft.com/office/drawing/2014/main" id="{6159FB1B-739E-F996-7926-B35168B73631}"/>
                </a:ext>
              </a:extLst>
            </p:cNvPr>
            <p:cNvSpPr/>
            <p:nvPr/>
          </p:nvSpPr>
          <p:spPr>
            <a:xfrm>
              <a:off x="4156082" y="-3024236"/>
              <a:ext cx="2150240" cy="2143889"/>
            </a:xfrm>
            <a:custGeom>
              <a:avLst/>
              <a:gdLst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07473 w 2124111"/>
                <a:gd name="connsiteY161" fmla="*/ 12700 h 2057400"/>
                <a:gd name="connsiteX162" fmla="*/ 1036048 w 2124111"/>
                <a:gd name="connsiteY162" fmla="*/ 6350 h 2057400"/>
                <a:gd name="connsiteX163" fmla="*/ 1096373 w 2124111"/>
                <a:gd name="connsiteY163" fmla="*/ 0 h 2057400"/>
                <a:gd name="connsiteX164" fmla="*/ 1267823 w 2124111"/>
                <a:gd name="connsiteY164" fmla="*/ 12700 h 2057400"/>
                <a:gd name="connsiteX165" fmla="*/ 1296398 w 2124111"/>
                <a:gd name="connsiteY165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978898 w 2124111"/>
                <a:gd name="connsiteY160" fmla="*/ 15875 h 2057400"/>
                <a:gd name="connsiteX161" fmla="*/ 1036048 w 2124111"/>
                <a:gd name="connsiteY161" fmla="*/ 6350 h 2057400"/>
                <a:gd name="connsiteX162" fmla="*/ 1096373 w 2124111"/>
                <a:gd name="connsiteY162" fmla="*/ 0 h 2057400"/>
                <a:gd name="connsiteX163" fmla="*/ 1267823 w 2124111"/>
                <a:gd name="connsiteY163" fmla="*/ 12700 h 2057400"/>
                <a:gd name="connsiteX164" fmla="*/ 1296398 w 2124111"/>
                <a:gd name="connsiteY164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953498 w 2124111"/>
                <a:gd name="connsiteY159" fmla="*/ 25400 h 2057400"/>
                <a:gd name="connsiteX160" fmla="*/ 1036048 w 2124111"/>
                <a:gd name="connsiteY160" fmla="*/ 6350 h 2057400"/>
                <a:gd name="connsiteX161" fmla="*/ 1096373 w 2124111"/>
                <a:gd name="connsiteY161" fmla="*/ 0 h 2057400"/>
                <a:gd name="connsiteX162" fmla="*/ 1267823 w 2124111"/>
                <a:gd name="connsiteY162" fmla="*/ 12700 h 2057400"/>
                <a:gd name="connsiteX163" fmla="*/ 1296398 w 2124111"/>
                <a:gd name="connsiteY163" fmla="*/ 25400 h 2057400"/>
                <a:gd name="connsiteX0" fmla="*/ 1197973 w 2124111"/>
                <a:gd name="connsiteY0" fmla="*/ 3175 h 2057400"/>
                <a:gd name="connsiteX1" fmla="*/ 1217023 w 2124111"/>
                <a:gd name="connsiteY1" fmla="*/ 12700 h 2057400"/>
                <a:gd name="connsiteX2" fmla="*/ 1239248 w 2124111"/>
                <a:gd name="connsiteY2" fmla="*/ 15875 h 2057400"/>
                <a:gd name="connsiteX3" fmla="*/ 1258298 w 2124111"/>
                <a:gd name="connsiteY3" fmla="*/ 28575 h 2057400"/>
                <a:gd name="connsiteX4" fmla="*/ 1270998 w 2124111"/>
                <a:gd name="connsiteY4" fmla="*/ 34925 h 2057400"/>
                <a:gd name="connsiteX5" fmla="*/ 1290048 w 2124111"/>
                <a:gd name="connsiteY5" fmla="*/ 50800 h 2057400"/>
                <a:gd name="connsiteX6" fmla="*/ 1309098 w 2124111"/>
                <a:gd name="connsiteY6" fmla="*/ 57150 h 2057400"/>
                <a:gd name="connsiteX7" fmla="*/ 1324973 w 2124111"/>
                <a:gd name="connsiteY7" fmla="*/ 69850 h 2057400"/>
                <a:gd name="connsiteX8" fmla="*/ 1334498 w 2124111"/>
                <a:gd name="connsiteY8" fmla="*/ 73025 h 2057400"/>
                <a:gd name="connsiteX9" fmla="*/ 1340848 w 2124111"/>
                <a:gd name="connsiteY9" fmla="*/ 82550 h 2057400"/>
                <a:gd name="connsiteX10" fmla="*/ 1356723 w 2124111"/>
                <a:gd name="connsiteY10" fmla="*/ 92075 h 2057400"/>
                <a:gd name="connsiteX11" fmla="*/ 1382123 w 2124111"/>
                <a:gd name="connsiteY11" fmla="*/ 111125 h 2057400"/>
                <a:gd name="connsiteX12" fmla="*/ 1391648 w 2124111"/>
                <a:gd name="connsiteY12" fmla="*/ 117475 h 2057400"/>
                <a:gd name="connsiteX13" fmla="*/ 1432923 w 2124111"/>
                <a:gd name="connsiteY13" fmla="*/ 161925 h 2057400"/>
                <a:gd name="connsiteX14" fmla="*/ 1442448 w 2124111"/>
                <a:gd name="connsiteY14" fmla="*/ 174625 h 2057400"/>
                <a:gd name="connsiteX15" fmla="*/ 1455148 w 2124111"/>
                <a:gd name="connsiteY15" fmla="*/ 196850 h 2057400"/>
                <a:gd name="connsiteX16" fmla="*/ 1499598 w 2124111"/>
                <a:gd name="connsiteY16" fmla="*/ 238125 h 2057400"/>
                <a:gd name="connsiteX17" fmla="*/ 1512298 w 2124111"/>
                <a:gd name="connsiteY17" fmla="*/ 254000 h 2057400"/>
                <a:gd name="connsiteX18" fmla="*/ 1524998 w 2124111"/>
                <a:gd name="connsiteY18" fmla="*/ 266700 h 2057400"/>
                <a:gd name="connsiteX19" fmla="*/ 1531348 w 2124111"/>
                <a:gd name="connsiteY19" fmla="*/ 276225 h 2057400"/>
                <a:gd name="connsiteX20" fmla="*/ 1550398 w 2124111"/>
                <a:gd name="connsiteY20" fmla="*/ 295275 h 2057400"/>
                <a:gd name="connsiteX21" fmla="*/ 1559923 w 2124111"/>
                <a:gd name="connsiteY21" fmla="*/ 304800 h 2057400"/>
                <a:gd name="connsiteX22" fmla="*/ 1569448 w 2124111"/>
                <a:gd name="connsiteY22" fmla="*/ 317500 h 2057400"/>
                <a:gd name="connsiteX23" fmla="*/ 1594848 w 2124111"/>
                <a:gd name="connsiteY23" fmla="*/ 336550 h 2057400"/>
                <a:gd name="connsiteX24" fmla="*/ 1632948 w 2124111"/>
                <a:gd name="connsiteY24" fmla="*/ 368300 h 2057400"/>
                <a:gd name="connsiteX25" fmla="*/ 1648823 w 2124111"/>
                <a:gd name="connsiteY25" fmla="*/ 387350 h 2057400"/>
                <a:gd name="connsiteX26" fmla="*/ 1661523 w 2124111"/>
                <a:gd name="connsiteY26" fmla="*/ 396875 h 2057400"/>
                <a:gd name="connsiteX27" fmla="*/ 1683748 w 2124111"/>
                <a:gd name="connsiteY27" fmla="*/ 419100 h 2057400"/>
                <a:gd name="connsiteX28" fmla="*/ 1702798 w 2124111"/>
                <a:gd name="connsiteY28" fmla="*/ 438150 h 2057400"/>
                <a:gd name="connsiteX29" fmla="*/ 1712323 w 2124111"/>
                <a:gd name="connsiteY29" fmla="*/ 447675 h 2057400"/>
                <a:gd name="connsiteX30" fmla="*/ 1744073 w 2124111"/>
                <a:gd name="connsiteY30" fmla="*/ 473075 h 2057400"/>
                <a:gd name="connsiteX31" fmla="*/ 1753598 w 2124111"/>
                <a:gd name="connsiteY31" fmla="*/ 482600 h 2057400"/>
                <a:gd name="connsiteX32" fmla="*/ 1766298 w 2124111"/>
                <a:gd name="connsiteY32" fmla="*/ 492125 h 2057400"/>
                <a:gd name="connsiteX33" fmla="*/ 1782173 w 2124111"/>
                <a:gd name="connsiteY33" fmla="*/ 508000 h 2057400"/>
                <a:gd name="connsiteX34" fmla="*/ 1813923 w 2124111"/>
                <a:gd name="connsiteY34" fmla="*/ 533400 h 2057400"/>
                <a:gd name="connsiteX35" fmla="*/ 1817098 w 2124111"/>
                <a:gd name="connsiteY35" fmla="*/ 542925 h 2057400"/>
                <a:gd name="connsiteX36" fmla="*/ 1842498 w 2124111"/>
                <a:gd name="connsiteY36" fmla="*/ 565150 h 2057400"/>
                <a:gd name="connsiteX37" fmla="*/ 1893298 w 2124111"/>
                <a:gd name="connsiteY37" fmla="*/ 622300 h 2057400"/>
                <a:gd name="connsiteX38" fmla="*/ 1918698 w 2124111"/>
                <a:gd name="connsiteY38" fmla="*/ 641350 h 2057400"/>
                <a:gd name="connsiteX39" fmla="*/ 1931398 w 2124111"/>
                <a:gd name="connsiteY39" fmla="*/ 647700 h 2057400"/>
                <a:gd name="connsiteX40" fmla="*/ 1979023 w 2124111"/>
                <a:gd name="connsiteY40" fmla="*/ 698500 h 2057400"/>
                <a:gd name="connsiteX41" fmla="*/ 1988548 w 2124111"/>
                <a:gd name="connsiteY41" fmla="*/ 708025 h 2057400"/>
                <a:gd name="connsiteX42" fmla="*/ 2017123 w 2124111"/>
                <a:gd name="connsiteY42" fmla="*/ 733425 h 2057400"/>
                <a:gd name="connsiteX43" fmla="*/ 2023473 w 2124111"/>
                <a:gd name="connsiteY43" fmla="*/ 742950 h 2057400"/>
                <a:gd name="connsiteX44" fmla="*/ 2048873 w 2124111"/>
                <a:gd name="connsiteY44" fmla="*/ 790575 h 2057400"/>
                <a:gd name="connsiteX45" fmla="*/ 2061573 w 2124111"/>
                <a:gd name="connsiteY45" fmla="*/ 828675 h 2057400"/>
                <a:gd name="connsiteX46" fmla="*/ 2064748 w 2124111"/>
                <a:gd name="connsiteY46" fmla="*/ 854075 h 2057400"/>
                <a:gd name="connsiteX47" fmla="*/ 2074273 w 2124111"/>
                <a:gd name="connsiteY47" fmla="*/ 879475 h 2057400"/>
                <a:gd name="connsiteX48" fmla="*/ 2077448 w 2124111"/>
                <a:gd name="connsiteY48" fmla="*/ 898525 h 2057400"/>
                <a:gd name="connsiteX49" fmla="*/ 2080623 w 2124111"/>
                <a:gd name="connsiteY49" fmla="*/ 908050 h 2057400"/>
                <a:gd name="connsiteX50" fmla="*/ 2112373 w 2124111"/>
                <a:gd name="connsiteY50" fmla="*/ 1016000 h 2057400"/>
                <a:gd name="connsiteX51" fmla="*/ 2121898 w 2124111"/>
                <a:gd name="connsiteY51" fmla="*/ 1035050 h 2057400"/>
                <a:gd name="connsiteX52" fmla="*/ 2109198 w 2124111"/>
                <a:gd name="connsiteY52" fmla="*/ 1158875 h 2057400"/>
                <a:gd name="connsiteX53" fmla="*/ 2099673 w 2124111"/>
                <a:gd name="connsiteY53" fmla="*/ 1171575 h 2057400"/>
                <a:gd name="connsiteX54" fmla="*/ 2093323 w 2124111"/>
                <a:gd name="connsiteY54" fmla="*/ 1190625 h 2057400"/>
                <a:gd name="connsiteX55" fmla="*/ 2061573 w 2124111"/>
                <a:gd name="connsiteY55" fmla="*/ 1250950 h 2057400"/>
                <a:gd name="connsiteX56" fmla="*/ 2052048 w 2124111"/>
                <a:gd name="connsiteY56" fmla="*/ 1270000 h 2057400"/>
                <a:gd name="connsiteX57" fmla="*/ 2029823 w 2124111"/>
                <a:gd name="connsiteY57" fmla="*/ 1308100 h 2057400"/>
                <a:gd name="connsiteX58" fmla="*/ 2004423 w 2124111"/>
                <a:gd name="connsiteY58" fmla="*/ 1349375 h 2057400"/>
                <a:gd name="connsiteX59" fmla="*/ 1975848 w 2124111"/>
                <a:gd name="connsiteY59" fmla="*/ 1371600 h 2057400"/>
                <a:gd name="connsiteX60" fmla="*/ 1963148 w 2124111"/>
                <a:gd name="connsiteY60" fmla="*/ 1387475 h 2057400"/>
                <a:gd name="connsiteX61" fmla="*/ 1928223 w 2124111"/>
                <a:gd name="connsiteY61" fmla="*/ 1412875 h 2057400"/>
                <a:gd name="connsiteX62" fmla="*/ 1905998 w 2124111"/>
                <a:gd name="connsiteY62" fmla="*/ 1431925 h 2057400"/>
                <a:gd name="connsiteX63" fmla="*/ 1848848 w 2124111"/>
                <a:gd name="connsiteY63" fmla="*/ 1463675 h 2057400"/>
                <a:gd name="connsiteX64" fmla="*/ 1810748 w 2124111"/>
                <a:gd name="connsiteY64" fmla="*/ 1495425 h 2057400"/>
                <a:gd name="connsiteX65" fmla="*/ 1791698 w 2124111"/>
                <a:gd name="connsiteY65" fmla="*/ 1511300 h 2057400"/>
                <a:gd name="connsiteX66" fmla="*/ 1775823 w 2124111"/>
                <a:gd name="connsiteY66" fmla="*/ 1520825 h 2057400"/>
                <a:gd name="connsiteX67" fmla="*/ 1718673 w 2124111"/>
                <a:gd name="connsiteY67" fmla="*/ 1584325 h 2057400"/>
                <a:gd name="connsiteX68" fmla="*/ 1709148 w 2124111"/>
                <a:gd name="connsiteY68" fmla="*/ 1597025 h 2057400"/>
                <a:gd name="connsiteX69" fmla="*/ 1680573 w 2124111"/>
                <a:gd name="connsiteY69" fmla="*/ 1628775 h 2057400"/>
                <a:gd name="connsiteX70" fmla="*/ 1658348 w 2124111"/>
                <a:gd name="connsiteY70" fmla="*/ 1657350 h 2057400"/>
                <a:gd name="connsiteX71" fmla="*/ 1623423 w 2124111"/>
                <a:gd name="connsiteY71" fmla="*/ 1692275 h 2057400"/>
                <a:gd name="connsiteX72" fmla="*/ 1604373 w 2124111"/>
                <a:gd name="connsiteY72" fmla="*/ 1711325 h 2057400"/>
                <a:gd name="connsiteX73" fmla="*/ 1569448 w 2124111"/>
                <a:gd name="connsiteY73" fmla="*/ 1752600 h 2057400"/>
                <a:gd name="connsiteX74" fmla="*/ 1559923 w 2124111"/>
                <a:gd name="connsiteY74" fmla="*/ 1765300 h 2057400"/>
                <a:gd name="connsiteX75" fmla="*/ 1547223 w 2124111"/>
                <a:gd name="connsiteY75" fmla="*/ 1774825 h 2057400"/>
                <a:gd name="connsiteX76" fmla="*/ 1540873 w 2124111"/>
                <a:gd name="connsiteY76" fmla="*/ 1784350 h 2057400"/>
                <a:gd name="connsiteX77" fmla="*/ 1524998 w 2124111"/>
                <a:gd name="connsiteY77" fmla="*/ 1793875 h 2057400"/>
                <a:gd name="connsiteX78" fmla="*/ 1480548 w 2124111"/>
                <a:gd name="connsiteY78" fmla="*/ 1838325 h 2057400"/>
                <a:gd name="connsiteX79" fmla="*/ 1464673 w 2124111"/>
                <a:gd name="connsiteY79" fmla="*/ 1857375 h 2057400"/>
                <a:gd name="connsiteX80" fmla="*/ 1455148 w 2124111"/>
                <a:gd name="connsiteY80" fmla="*/ 1870075 h 2057400"/>
                <a:gd name="connsiteX81" fmla="*/ 1445623 w 2124111"/>
                <a:gd name="connsiteY81" fmla="*/ 1879600 h 2057400"/>
                <a:gd name="connsiteX82" fmla="*/ 1432923 w 2124111"/>
                <a:gd name="connsiteY82" fmla="*/ 1895475 h 2057400"/>
                <a:gd name="connsiteX83" fmla="*/ 1423398 w 2124111"/>
                <a:gd name="connsiteY83" fmla="*/ 1905000 h 2057400"/>
                <a:gd name="connsiteX84" fmla="*/ 1417048 w 2124111"/>
                <a:gd name="connsiteY84" fmla="*/ 1914525 h 2057400"/>
                <a:gd name="connsiteX85" fmla="*/ 1391648 w 2124111"/>
                <a:gd name="connsiteY85" fmla="*/ 1933575 h 2057400"/>
                <a:gd name="connsiteX86" fmla="*/ 1356723 w 2124111"/>
                <a:gd name="connsiteY86" fmla="*/ 1949450 h 2057400"/>
                <a:gd name="connsiteX87" fmla="*/ 1344023 w 2124111"/>
                <a:gd name="connsiteY87" fmla="*/ 1955800 h 2057400"/>
                <a:gd name="connsiteX88" fmla="*/ 1331323 w 2124111"/>
                <a:gd name="connsiteY88" fmla="*/ 1965325 h 2057400"/>
                <a:gd name="connsiteX89" fmla="*/ 1312273 w 2124111"/>
                <a:gd name="connsiteY89" fmla="*/ 1984375 h 2057400"/>
                <a:gd name="connsiteX90" fmla="*/ 1270998 w 2124111"/>
                <a:gd name="connsiteY90" fmla="*/ 2003425 h 2057400"/>
                <a:gd name="connsiteX91" fmla="*/ 1258298 w 2124111"/>
                <a:gd name="connsiteY91" fmla="*/ 2009775 h 2057400"/>
                <a:gd name="connsiteX92" fmla="*/ 1236073 w 2124111"/>
                <a:gd name="connsiteY92" fmla="*/ 2016125 h 2057400"/>
                <a:gd name="connsiteX93" fmla="*/ 1226548 w 2124111"/>
                <a:gd name="connsiteY93" fmla="*/ 2022475 h 2057400"/>
                <a:gd name="connsiteX94" fmla="*/ 1217023 w 2124111"/>
                <a:gd name="connsiteY94" fmla="*/ 2025650 h 2057400"/>
                <a:gd name="connsiteX95" fmla="*/ 1175748 w 2124111"/>
                <a:gd name="connsiteY95" fmla="*/ 2035175 h 2057400"/>
                <a:gd name="connsiteX96" fmla="*/ 1150348 w 2124111"/>
                <a:gd name="connsiteY96" fmla="*/ 2047875 h 2057400"/>
                <a:gd name="connsiteX97" fmla="*/ 1102723 w 2124111"/>
                <a:gd name="connsiteY97" fmla="*/ 2057400 h 2057400"/>
                <a:gd name="connsiteX98" fmla="*/ 928098 w 2124111"/>
                <a:gd name="connsiteY98" fmla="*/ 2047875 h 2057400"/>
                <a:gd name="connsiteX99" fmla="*/ 886823 w 2124111"/>
                <a:gd name="connsiteY99" fmla="*/ 2032000 h 2057400"/>
                <a:gd name="connsiteX100" fmla="*/ 861423 w 2124111"/>
                <a:gd name="connsiteY100" fmla="*/ 2028825 h 2057400"/>
                <a:gd name="connsiteX101" fmla="*/ 845548 w 2124111"/>
                <a:gd name="connsiteY101" fmla="*/ 2012950 h 2057400"/>
                <a:gd name="connsiteX102" fmla="*/ 769348 w 2124111"/>
                <a:gd name="connsiteY102" fmla="*/ 1952625 h 2057400"/>
                <a:gd name="connsiteX103" fmla="*/ 747123 w 2124111"/>
                <a:gd name="connsiteY103" fmla="*/ 1924050 h 2057400"/>
                <a:gd name="connsiteX104" fmla="*/ 731248 w 2124111"/>
                <a:gd name="connsiteY104" fmla="*/ 1911350 h 2057400"/>
                <a:gd name="connsiteX105" fmla="*/ 715373 w 2124111"/>
                <a:gd name="connsiteY105" fmla="*/ 1895475 h 2057400"/>
                <a:gd name="connsiteX106" fmla="*/ 699498 w 2124111"/>
                <a:gd name="connsiteY106" fmla="*/ 1882775 h 2057400"/>
                <a:gd name="connsiteX107" fmla="*/ 680448 w 2124111"/>
                <a:gd name="connsiteY107" fmla="*/ 1863725 h 2057400"/>
                <a:gd name="connsiteX108" fmla="*/ 642348 w 2124111"/>
                <a:gd name="connsiteY108" fmla="*/ 1831975 h 2057400"/>
                <a:gd name="connsiteX109" fmla="*/ 601073 w 2124111"/>
                <a:gd name="connsiteY109" fmla="*/ 1784350 h 2057400"/>
                <a:gd name="connsiteX110" fmla="*/ 578848 w 2124111"/>
                <a:gd name="connsiteY110" fmla="*/ 1758950 h 2057400"/>
                <a:gd name="connsiteX111" fmla="*/ 537573 w 2124111"/>
                <a:gd name="connsiteY111" fmla="*/ 1717675 h 2057400"/>
                <a:gd name="connsiteX112" fmla="*/ 499473 w 2124111"/>
                <a:gd name="connsiteY112" fmla="*/ 1682750 h 2057400"/>
                <a:gd name="connsiteX113" fmla="*/ 470898 w 2124111"/>
                <a:gd name="connsiteY113" fmla="*/ 1647825 h 2057400"/>
                <a:gd name="connsiteX114" fmla="*/ 413748 w 2124111"/>
                <a:gd name="connsiteY114" fmla="*/ 1600200 h 2057400"/>
                <a:gd name="connsiteX115" fmla="*/ 401048 w 2124111"/>
                <a:gd name="connsiteY115" fmla="*/ 1590675 h 2057400"/>
                <a:gd name="connsiteX116" fmla="*/ 369298 w 2124111"/>
                <a:gd name="connsiteY116" fmla="*/ 1562100 h 2057400"/>
                <a:gd name="connsiteX117" fmla="*/ 328023 w 2124111"/>
                <a:gd name="connsiteY117" fmla="*/ 1536700 h 2057400"/>
                <a:gd name="connsiteX118" fmla="*/ 302623 w 2124111"/>
                <a:gd name="connsiteY118" fmla="*/ 1517650 h 2057400"/>
                <a:gd name="connsiteX119" fmla="*/ 223248 w 2124111"/>
                <a:gd name="connsiteY119" fmla="*/ 1447800 h 2057400"/>
                <a:gd name="connsiteX120" fmla="*/ 175623 w 2124111"/>
                <a:gd name="connsiteY120" fmla="*/ 1390650 h 2057400"/>
                <a:gd name="connsiteX121" fmla="*/ 118473 w 2124111"/>
                <a:gd name="connsiteY121" fmla="*/ 1317625 h 2057400"/>
                <a:gd name="connsiteX122" fmla="*/ 83548 w 2124111"/>
                <a:gd name="connsiteY122" fmla="*/ 1270000 h 2057400"/>
                <a:gd name="connsiteX123" fmla="*/ 64498 w 2124111"/>
                <a:gd name="connsiteY123" fmla="*/ 1244600 h 2057400"/>
                <a:gd name="connsiteX124" fmla="*/ 35923 w 2124111"/>
                <a:gd name="connsiteY124" fmla="*/ 1184275 h 2057400"/>
                <a:gd name="connsiteX125" fmla="*/ 26398 w 2124111"/>
                <a:gd name="connsiteY125" fmla="*/ 1149350 h 2057400"/>
                <a:gd name="connsiteX126" fmla="*/ 20048 w 2124111"/>
                <a:gd name="connsiteY126" fmla="*/ 1127125 h 2057400"/>
                <a:gd name="connsiteX127" fmla="*/ 16873 w 2124111"/>
                <a:gd name="connsiteY127" fmla="*/ 1111250 h 2057400"/>
                <a:gd name="connsiteX128" fmla="*/ 7348 w 2124111"/>
                <a:gd name="connsiteY128" fmla="*/ 1073150 h 2057400"/>
                <a:gd name="connsiteX129" fmla="*/ 998 w 2124111"/>
                <a:gd name="connsiteY129" fmla="*/ 990600 h 2057400"/>
                <a:gd name="connsiteX130" fmla="*/ 10523 w 2124111"/>
                <a:gd name="connsiteY130" fmla="*/ 860425 h 2057400"/>
                <a:gd name="connsiteX131" fmla="*/ 35923 w 2124111"/>
                <a:gd name="connsiteY131" fmla="*/ 812800 h 2057400"/>
                <a:gd name="connsiteX132" fmla="*/ 51798 w 2124111"/>
                <a:gd name="connsiteY132" fmla="*/ 784225 h 2057400"/>
                <a:gd name="connsiteX133" fmla="*/ 83548 w 2124111"/>
                <a:gd name="connsiteY133" fmla="*/ 739775 h 2057400"/>
                <a:gd name="connsiteX134" fmla="*/ 99423 w 2124111"/>
                <a:gd name="connsiteY134" fmla="*/ 720725 h 2057400"/>
                <a:gd name="connsiteX135" fmla="*/ 143873 w 2124111"/>
                <a:gd name="connsiteY135" fmla="*/ 654050 h 2057400"/>
                <a:gd name="connsiteX136" fmla="*/ 169273 w 2124111"/>
                <a:gd name="connsiteY136" fmla="*/ 615950 h 2057400"/>
                <a:gd name="connsiteX137" fmla="*/ 185148 w 2124111"/>
                <a:gd name="connsiteY137" fmla="*/ 596900 h 2057400"/>
                <a:gd name="connsiteX138" fmla="*/ 204198 w 2124111"/>
                <a:gd name="connsiteY138" fmla="*/ 568325 h 2057400"/>
                <a:gd name="connsiteX139" fmla="*/ 239123 w 2124111"/>
                <a:gd name="connsiteY139" fmla="*/ 539750 h 2057400"/>
                <a:gd name="connsiteX140" fmla="*/ 258173 w 2124111"/>
                <a:gd name="connsiteY140" fmla="*/ 523875 h 2057400"/>
                <a:gd name="connsiteX141" fmla="*/ 277223 w 2124111"/>
                <a:gd name="connsiteY141" fmla="*/ 508000 h 2057400"/>
                <a:gd name="connsiteX142" fmla="*/ 289923 w 2124111"/>
                <a:gd name="connsiteY142" fmla="*/ 495300 h 2057400"/>
                <a:gd name="connsiteX143" fmla="*/ 308973 w 2124111"/>
                <a:gd name="connsiteY143" fmla="*/ 482600 h 2057400"/>
                <a:gd name="connsiteX144" fmla="*/ 356598 w 2124111"/>
                <a:gd name="connsiteY144" fmla="*/ 441325 h 2057400"/>
                <a:gd name="connsiteX145" fmla="*/ 416923 w 2124111"/>
                <a:gd name="connsiteY145" fmla="*/ 387350 h 2057400"/>
                <a:gd name="connsiteX146" fmla="*/ 445498 w 2124111"/>
                <a:gd name="connsiteY146" fmla="*/ 355600 h 2057400"/>
                <a:gd name="connsiteX147" fmla="*/ 493123 w 2124111"/>
                <a:gd name="connsiteY147" fmla="*/ 311150 h 2057400"/>
                <a:gd name="connsiteX148" fmla="*/ 524873 w 2124111"/>
                <a:gd name="connsiteY148" fmla="*/ 273050 h 2057400"/>
                <a:gd name="connsiteX149" fmla="*/ 604248 w 2124111"/>
                <a:gd name="connsiteY149" fmla="*/ 193675 h 2057400"/>
                <a:gd name="connsiteX150" fmla="*/ 626473 w 2124111"/>
                <a:gd name="connsiteY150" fmla="*/ 171450 h 2057400"/>
                <a:gd name="connsiteX151" fmla="*/ 635998 w 2124111"/>
                <a:gd name="connsiteY151" fmla="*/ 161925 h 2057400"/>
                <a:gd name="connsiteX152" fmla="*/ 712198 w 2124111"/>
                <a:gd name="connsiteY152" fmla="*/ 114300 h 2057400"/>
                <a:gd name="connsiteX153" fmla="*/ 750298 w 2124111"/>
                <a:gd name="connsiteY153" fmla="*/ 88900 h 2057400"/>
                <a:gd name="connsiteX154" fmla="*/ 785223 w 2124111"/>
                <a:gd name="connsiteY154" fmla="*/ 66675 h 2057400"/>
                <a:gd name="connsiteX155" fmla="*/ 826498 w 2124111"/>
                <a:gd name="connsiteY155" fmla="*/ 57150 h 2057400"/>
                <a:gd name="connsiteX156" fmla="*/ 851898 w 2124111"/>
                <a:gd name="connsiteY156" fmla="*/ 50800 h 2057400"/>
                <a:gd name="connsiteX157" fmla="*/ 899523 w 2124111"/>
                <a:gd name="connsiteY157" fmla="*/ 41275 h 2057400"/>
                <a:gd name="connsiteX158" fmla="*/ 940798 w 2124111"/>
                <a:gd name="connsiteY158" fmla="*/ 28575 h 2057400"/>
                <a:gd name="connsiteX159" fmla="*/ 1036048 w 2124111"/>
                <a:gd name="connsiteY159" fmla="*/ 6350 h 2057400"/>
                <a:gd name="connsiteX160" fmla="*/ 1096373 w 2124111"/>
                <a:gd name="connsiteY160" fmla="*/ 0 h 2057400"/>
                <a:gd name="connsiteX161" fmla="*/ 1267823 w 2124111"/>
                <a:gd name="connsiteY161" fmla="*/ 12700 h 2057400"/>
                <a:gd name="connsiteX162" fmla="*/ 1296398 w 2124111"/>
                <a:gd name="connsiteY162" fmla="*/ 25400 h 2057400"/>
                <a:gd name="connsiteX0" fmla="*/ 1197973 w 2124111"/>
                <a:gd name="connsiteY0" fmla="*/ 3648 h 2057873"/>
                <a:gd name="connsiteX1" fmla="*/ 1217023 w 2124111"/>
                <a:gd name="connsiteY1" fmla="*/ 13173 h 2057873"/>
                <a:gd name="connsiteX2" fmla="*/ 1239248 w 2124111"/>
                <a:gd name="connsiteY2" fmla="*/ 16348 h 2057873"/>
                <a:gd name="connsiteX3" fmla="*/ 1258298 w 2124111"/>
                <a:gd name="connsiteY3" fmla="*/ 29048 h 2057873"/>
                <a:gd name="connsiteX4" fmla="*/ 1270998 w 2124111"/>
                <a:gd name="connsiteY4" fmla="*/ 35398 h 2057873"/>
                <a:gd name="connsiteX5" fmla="*/ 1290048 w 2124111"/>
                <a:gd name="connsiteY5" fmla="*/ 51273 h 2057873"/>
                <a:gd name="connsiteX6" fmla="*/ 1309098 w 2124111"/>
                <a:gd name="connsiteY6" fmla="*/ 57623 h 2057873"/>
                <a:gd name="connsiteX7" fmla="*/ 1324973 w 2124111"/>
                <a:gd name="connsiteY7" fmla="*/ 70323 h 2057873"/>
                <a:gd name="connsiteX8" fmla="*/ 1334498 w 2124111"/>
                <a:gd name="connsiteY8" fmla="*/ 73498 h 2057873"/>
                <a:gd name="connsiteX9" fmla="*/ 1340848 w 2124111"/>
                <a:gd name="connsiteY9" fmla="*/ 83023 h 2057873"/>
                <a:gd name="connsiteX10" fmla="*/ 1356723 w 2124111"/>
                <a:gd name="connsiteY10" fmla="*/ 92548 h 2057873"/>
                <a:gd name="connsiteX11" fmla="*/ 1382123 w 2124111"/>
                <a:gd name="connsiteY11" fmla="*/ 111598 h 2057873"/>
                <a:gd name="connsiteX12" fmla="*/ 1391648 w 2124111"/>
                <a:gd name="connsiteY12" fmla="*/ 117948 h 2057873"/>
                <a:gd name="connsiteX13" fmla="*/ 1432923 w 2124111"/>
                <a:gd name="connsiteY13" fmla="*/ 162398 h 2057873"/>
                <a:gd name="connsiteX14" fmla="*/ 1442448 w 2124111"/>
                <a:gd name="connsiteY14" fmla="*/ 175098 h 2057873"/>
                <a:gd name="connsiteX15" fmla="*/ 1455148 w 2124111"/>
                <a:gd name="connsiteY15" fmla="*/ 197323 h 2057873"/>
                <a:gd name="connsiteX16" fmla="*/ 1499598 w 2124111"/>
                <a:gd name="connsiteY16" fmla="*/ 238598 h 2057873"/>
                <a:gd name="connsiteX17" fmla="*/ 1512298 w 2124111"/>
                <a:gd name="connsiteY17" fmla="*/ 254473 h 2057873"/>
                <a:gd name="connsiteX18" fmla="*/ 1524998 w 2124111"/>
                <a:gd name="connsiteY18" fmla="*/ 267173 h 2057873"/>
                <a:gd name="connsiteX19" fmla="*/ 1531348 w 2124111"/>
                <a:gd name="connsiteY19" fmla="*/ 276698 h 2057873"/>
                <a:gd name="connsiteX20" fmla="*/ 1550398 w 2124111"/>
                <a:gd name="connsiteY20" fmla="*/ 295748 h 2057873"/>
                <a:gd name="connsiteX21" fmla="*/ 1559923 w 2124111"/>
                <a:gd name="connsiteY21" fmla="*/ 305273 h 2057873"/>
                <a:gd name="connsiteX22" fmla="*/ 1569448 w 2124111"/>
                <a:gd name="connsiteY22" fmla="*/ 317973 h 2057873"/>
                <a:gd name="connsiteX23" fmla="*/ 1594848 w 2124111"/>
                <a:gd name="connsiteY23" fmla="*/ 337023 h 2057873"/>
                <a:gd name="connsiteX24" fmla="*/ 1632948 w 2124111"/>
                <a:gd name="connsiteY24" fmla="*/ 368773 h 2057873"/>
                <a:gd name="connsiteX25" fmla="*/ 1648823 w 2124111"/>
                <a:gd name="connsiteY25" fmla="*/ 387823 h 2057873"/>
                <a:gd name="connsiteX26" fmla="*/ 1661523 w 2124111"/>
                <a:gd name="connsiteY26" fmla="*/ 397348 h 2057873"/>
                <a:gd name="connsiteX27" fmla="*/ 1683748 w 2124111"/>
                <a:gd name="connsiteY27" fmla="*/ 419573 h 2057873"/>
                <a:gd name="connsiteX28" fmla="*/ 1702798 w 2124111"/>
                <a:gd name="connsiteY28" fmla="*/ 438623 h 2057873"/>
                <a:gd name="connsiteX29" fmla="*/ 1712323 w 2124111"/>
                <a:gd name="connsiteY29" fmla="*/ 448148 h 2057873"/>
                <a:gd name="connsiteX30" fmla="*/ 1744073 w 2124111"/>
                <a:gd name="connsiteY30" fmla="*/ 473548 h 2057873"/>
                <a:gd name="connsiteX31" fmla="*/ 1753598 w 2124111"/>
                <a:gd name="connsiteY31" fmla="*/ 483073 h 2057873"/>
                <a:gd name="connsiteX32" fmla="*/ 1766298 w 2124111"/>
                <a:gd name="connsiteY32" fmla="*/ 492598 h 2057873"/>
                <a:gd name="connsiteX33" fmla="*/ 1782173 w 2124111"/>
                <a:gd name="connsiteY33" fmla="*/ 508473 h 2057873"/>
                <a:gd name="connsiteX34" fmla="*/ 1813923 w 2124111"/>
                <a:gd name="connsiteY34" fmla="*/ 533873 h 2057873"/>
                <a:gd name="connsiteX35" fmla="*/ 1817098 w 2124111"/>
                <a:gd name="connsiteY35" fmla="*/ 543398 h 2057873"/>
                <a:gd name="connsiteX36" fmla="*/ 1842498 w 2124111"/>
                <a:gd name="connsiteY36" fmla="*/ 565623 h 2057873"/>
                <a:gd name="connsiteX37" fmla="*/ 1893298 w 2124111"/>
                <a:gd name="connsiteY37" fmla="*/ 622773 h 2057873"/>
                <a:gd name="connsiteX38" fmla="*/ 1918698 w 2124111"/>
                <a:gd name="connsiteY38" fmla="*/ 641823 h 2057873"/>
                <a:gd name="connsiteX39" fmla="*/ 1931398 w 2124111"/>
                <a:gd name="connsiteY39" fmla="*/ 648173 h 2057873"/>
                <a:gd name="connsiteX40" fmla="*/ 1979023 w 2124111"/>
                <a:gd name="connsiteY40" fmla="*/ 698973 h 2057873"/>
                <a:gd name="connsiteX41" fmla="*/ 1988548 w 2124111"/>
                <a:gd name="connsiteY41" fmla="*/ 708498 h 2057873"/>
                <a:gd name="connsiteX42" fmla="*/ 2017123 w 2124111"/>
                <a:gd name="connsiteY42" fmla="*/ 733898 h 2057873"/>
                <a:gd name="connsiteX43" fmla="*/ 2023473 w 2124111"/>
                <a:gd name="connsiteY43" fmla="*/ 743423 h 2057873"/>
                <a:gd name="connsiteX44" fmla="*/ 2048873 w 2124111"/>
                <a:gd name="connsiteY44" fmla="*/ 791048 h 2057873"/>
                <a:gd name="connsiteX45" fmla="*/ 2061573 w 2124111"/>
                <a:gd name="connsiteY45" fmla="*/ 829148 h 2057873"/>
                <a:gd name="connsiteX46" fmla="*/ 2064748 w 2124111"/>
                <a:gd name="connsiteY46" fmla="*/ 854548 h 2057873"/>
                <a:gd name="connsiteX47" fmla="*/ 2074273 w 2124111"/>
                <a:gd name="connsiteY47" fmla="*/ 879948 h 2057873"/>
                <a:gd name="connsiteX48" fmla="*/ 2077448 w 2124111"/>
                <a:gd name="connsiteY48" fmla="*/ 898998 h 2057873"/>
                <a:gd name="connsiteX49" fmla="*/ 2080623 w 2124111"/>
                <a:gd name="connsiteY49" fmla="*/ 908523 h 2057873"/>
                <a:gd name="connsiteX50" fmla="*/ 2112373 w 2124111"/>
                <a:gd name="connsiteY50" fmla="*/ 1016473 h 2057873"/>
                <a:gd name="connsiteX51" fmla="*/ 2121898 w 2124111"/>
                <a:gd name="connsiteY51" fmla="*/ 1035523 h 2057873"/>
                <a:gd name="connsiteX52" fmla="*/ 2109198 w 2124111"/>
                <a:gd name="connsiteY52" fmla="*/ 1159348 h 2057873"/>
                <a:gd name="connsiteX53" fmla="*/ 2099673 w 2124111"/>
                <a:gd name="connsiteY53" fmla="*/ 1172048 h 2057873"/>
                <a:gd name="connsiteX54" fmla="*/ 2093323 w 2124111"/>
                <a:gd name="connsiteY54" fmla="*/ 1191098 h 2057873"/>
                <a:gd name="connsiteX55" fmla="*/ 2061573 w 2124111"/>
                <a:gd name="connsiteY55" fmla="*/ 1251423 h 2057873"/>
                <a:gd name="connsiteX56" fmla="*/ 2052048 w 2124111"/>
                <a:gd name="connsiteY56" fmla="*/ 1270473 h 2057873"/>
                <a:gd name="connsiteX57" fmla="*/ 2029823 w 2124111"/>
                <a:gd name="connsiteY57" fmla="*/ 1308573 h 2057873"/>
                <a:gd name="connsiteX58" fmla="*/ 2004423 w 2124111"/>
                <a:gd name="connsiteY58" fmla="*/ 1349848 h 2057873"/>
                <a:gd name="connsiteX59" fmla="*/ 1975848 w 2124111"/>
                <a:gd name="connsiteY59" fmla="*/ 1372073 h 2057873"/>
                <a:gd name="connsiteX60" fmla="*/ 1963148 w 2124111"/>
                <a:gd name="connsiteY60" fmla="*/ 1387948 h 2057873"/>
                <a:gd name="connsiteX61" fmla="*/ 1928223 w 2124111"/>
                <a:gd name="connsiteY61" fmla="*/ 1413348 h 2057873"/>
                <a:gd name="connsiteX62" fmla="*/ 1905998 w 2124111"/>
                <a:gd name="connsiteY62" fmla="*/ 1432398 h 2057873"/>
                <a:gd name="connsiteX63" fmla="*/ 1848848 w 2124111"/>
                <a:gd name="connsiteY63" fmla="*/ 1464148 h 2057873"/>
                <a:gd name="connsiteX64" fmla="*/ 1810748 w 2124111"/>
                <a:gd name="connsiteY64" fmla="*/ 1495898 h 2057873"/>
                <a:gd name="connsiteX65" fmla="*/ 1791698 w 2124111"/>
                <a:gd name="connsiteY65" fmla="*/ 1511773 h 2057873"/>
                <a:gd name="connsiteX66" fmla="*/ 1775823 w 2124111"/>
                <a:gd name="connsiteY66" fmla="*/ 1521298 h 2057873"/>
                <a:gd name="connsiteX67" fmla="*/ 1718673 w 2124111"/>
                <a:gd name="connsiteY67" fmla="*/ 1584798 h 2057873"/>
                <a:gd name="connsiteX68" fmla="*/ 1709148 w 2124111"/>
                <a:gd name="connsiteY68" fmla="*/ 1597498 h 2057873"/>
                <a:gd name="connsiteX69" fmla="*/ 1680573 w 2124111"/>
                <a:gd name="connsiteY69" fmla="*/ 1629248 h 2057873"/>
                <a:gd name="connsiteX70" fmla="*/ 1658348 w 2124111"/>
                <a:gd name="connsiteY70" fmla="*/ 1657823 h 2057873"/>
                <a:gd name="connsiteX71" fmla="*/ 1623423 w 2124111"/>
                <a:gd name="connsiteY71" fmla="*/ 1692748 h 2057873"/>
                <a:gd name="connsiteX72" fmla="*/ 1604373 w 2124111"/>
                <a:gd name="connsiteY72" fmla="*/ 1711798 h 2057873"/>
                <a:gd name="connsiteX73" fmla="*/ 1569448 w 2124111"/>
                <a:gd name="connsiteY73" fmla="*/ 1753073 h 2057873"/>
                <a:gd name="connsiteX74" fmla="*/ 1559923 w 2124111"/>
                <a:gd name="connsiteY74" fmla="*/ 1765773 h 2057873"/>
                <a:gd name="connsiteX75" fmla="*/ 1547223 w 2124111"/>
                <a:gd name="connsiteY75" fmla="*/ 1775298 h 2057873"/>
                <a:gd name="connsiteX76" fmla="*/ 1540873 w 2124111"/>
                <a:gd name="connsiteY76" fmla="*/ 1784823 h 2057873"/>
                <a:gd name="connsiteX77" fmla="*/ 1524998 w 2124111"/>
                <a:gd name="connsiteY77" fmla="*/ 1794348 h 2057873"/>
                <a:gd name="connsiteX78" fmla="*/ 1480548 w 2124111"/>
                <a:gd name="connsiteY78" fmla="*/ 1838798 h 2057873"/>
                <a:gd name="connsiteX79" fmla="*/ 1464673 w 2124111"/>
                <a:gd name="connsiteY79" fmla="*/ 1857848 h 2057873"/>
                <a:gd name="connsiteX80" fmla="*/ 1455148 w 2124111"/>
                <a:gd name="connsiteY80" fmla="*/ 1870548 h 2057873"/>
                <a:gd name="connsiteX81" fmla="*/ 1445623 w 2124111"/>
                <a:gd name="connsiteY81" fmla="*/ 1880073 h 2057873"/>
                <a:gd name="connsiteX82" fmla="*/ 1432923 w 2124111"/>
                <a:gd name="connsiteY82" fmla="*/ 1895948 h 2057873"/>
                <a:gd name="connsiteX83" fmla="*/ 1423398 w 2124111"/>
                <a:gd name="connsiteY83" fmla="*/ 1905473 h 2057873"/>
                <a:gd name="connsiteX84" fmla="*/ 1417048 w 2124111"/>
                <a:gd name="connsiteY84" fmla="*/ 1914998 h 2057873"/>
                <a:gd name="connsiteX85" fmla="*/ 1391648 w 2124111"/>
                <a:gd name="connsiteY85" fmla="*/ 1934048 h 2057873"/>
                <a:gd name="connsiteX86" fmla="*/ 1356723 w 2124111"/>
                <a:gd name="connsiteY86" fmla="*/ 1949923 h 2057873"/>
                <a:gd name="connsiteX87" fmla="*/ 1344023 w 2124111"/>
                <a:gd name="connsiteY87" fmla="*/ 1956273 h 2057873"/>
                <a:gd name="connsiteX88" fmla="*/ 1331323 w 2124111"/>
                <a:gd name="connsiteY88" fmla="*/ 1965798 h 2057873"/>
                <a:gd name="connsiteX89" fmla="*/ 1312273 w 2124111"/>
                <a:gd name="connsiteY89" fmla="*/ 1984848 h 2057873"/>
                <a:gd name="connsiteX90" fmla="*/ 1270998 w 2124111"/>
                <a:gd name="connsiteY90" fmla="*/ 2003898 h 2057873"/>
                <a:gd name="connsiteX91" fmla="*/ 1258298 w 2124111"/>
                <a:gd name="connsiteY91" fmla="*/ 2010248 h 2057873"/>
                <a:gd name="connsiteX92" fmla="*/ 1236073 w 2124111"/>
                <a:gd name="connsiteY92" fmla="*/ 2016598 h 2057873"/>
                <a:gd name="connsiteX93" fmla="*/ 1226548 w 2124111"/>
                <a:gd name="connsiteY93" fmla="*/ 2022948 h 2057873"/>
                <a:gd name="connsiteX94" fmla="*/ 1217023 w 2124111"/>
                <a:gd name="connsiteY94" fmla="*/ 2026123 h 2057873"/>
                <a:gd name="connsiteX95" fmla="*/ 1175748 w 2124111"/>
                <a:gd name="connsiteY95" fmla="*/ 2035648 h 2057873"/>
                <a:gd name="connsiteX96" fmla="*/ 1150348 w 2124111"/>
                <a:gd name="connsiteY96" fmla="*/ 2048348 h 2057873"/>
                <a:gd name="connsiteX97" fmla="*/ 1102723 w 2124111"/>
                <a:gd name="connsiteY97" fmla="*/ 2057873 h 2057873"/>
                <a:gd name="connsiteX98" fmla="*/ 928098 w 2124111"/>
                <a:gd name="connsiteY98" fmla="*/ 2048348 h 2057873"/>
                <a:gd name="connsiteX99" fmla="*/ 886823 w 2124111"/>
                <a:gd name="connsiteY99" fmla="*/ 2032473 h 2057873"/>
                <a:gd name="connsiteX100" fmla="*/ 861423 w 2124111"/>
                <a:gd name="connsiteY100" fmla="*/ 2029298 h 2057873"/>
                <a:gd name="connsiteX101" fmla="*/ 845548 w 2124111"/>
                <a:gd name="connsiteY101" fmla="*/ 2013423 h 2057873"/>
                <a:gd name="connsiteX102" fmla="*/ 769348 w 2124111"/>
                <a:gd name="connsiteY102" fmla="*/ 1953098 h 2057873"/>
                <a:gd name="connsiteX103" fmla="*/ 747123 w 2124111"/>
                <a:gd name="connsiteY103" fmla="*/ 1924523 h 2057873"/>
                <a:gd name="connsiteX104" fmla="*/ 731248 w 2124111"/>
                <a:gd name="connsiteY104" fmla="*/ 1911823 h 2057873"/>
                <a:gd name="connsiteX105" fmla="*/ 715373 w 2124111"/>
                <a:gd name="connsiteY105" fmla="*/ 1895948 h 2057873"/>
                <a:gd name="connsiteX106" fmla="*/ 699498 w 2124111"/>
                <a:gd name="connsiteY106" fmla="*/ 1883248 h 2057873"/>
                <a:gd name="connsiteX107" fmla="*/ 680448 w 2124111"/>
                <a:gd name="connsiteY107" fmla="*/ 1864198 h 2057873"/>
                <a:gd name="connsiteX108" fmla="*/ 642348 w 2124111"/>
                <a:gd name="connsiteY108" fmla="*/ 1832448 h 2057873"/>
                <a:gd name="connsiteX109" fmla="*/ 601073 w 2124111"/>
                <a:gd name="connsiteY109" fmla="*/ 1784823 h 2057873"/>
                <a:gd name="connsiteX110" fmla="*/ 578848 w 2124111"/>
                <a:gd name="connsiteY110" fmla="*/ 1759423 h 2057873"/>
                <a:gd name="connsiteX111" fmla="*/ 537573 w 2124111"/>
                <a:gd name="connsiteY111" fmla="*/ 1718148 h 2057873"/>
                <a:gd name="connsiteX112" fmla="*/ 499473 w 2124111"/>
                <a:gd name="connsiteY112" fmla="*/ 1683223 h 2057873"/>
                <a:gd name="connsiteX113" fmla="*/ 470898 w 2124111"/>
                <a:gd name="connsiteY113" fmla="*/ 1648298 h 2057873"/>
                <a:gd name="connsiteX114" fmla="*/ 413748 w 2124111"/>
                <a:gd name="connsiteY114" fmla="*/ 1600673 h 2057873"/>
                <a:gd name="connsiteX115" fmla="*/ 401048 w 2124111"/>
                <a:gd name="connsiteY115" fmla="*/ 1591148 h 2057873"/>
                <a:gd name="connsiteX116" fmla="*/ 369298 w 2124111"/>
                <a:gd name="connsiteY116" fmla="*/ 1562573 h 2057873"/>
                <a:gd name="connsiteX117" fmla="*/ 328023 w 2124111"/>
                <a:gd name="connsiteY117" fmla="*/ 1537173 h 2057873"/>
                <a:gd name="connsiteX118" fmla="*/ 302623 w 2124111"/>
                <a:gd name="connsiteY118" fmla="*/ 1518123 h 2057873"/>
                <a:gd name="connsiteX119" fmla="*/ 223248 w 2124111"/>
                <a:gd name="connsiteY119" fmla="*/ 1448273 h 2057873"/>
                <a:gd name="connsiteX120" fmla="*/ 175623 w 2124111"/>
                <a:gd name="connsiteY120" fmla="*/ 1391123 h 2057873"/>
                <a:gd name="connsiteX121" fmla="*/ 118473 w 2124111"/>
                <a:gd name="connsiteY121" fmla="*/ 1318098 h 2057873"/>
                <a:gd name="connsiteX122" fmla="*/ 83548 w 2124111"/>
                <a:gd name="connsiteY122" fmla="*/ 1270473 h 2057873"/>
                <a:gd name="connsiteX123" fmla="*/ 64498 w 2124111"/>
                <a:gd name="connsiteY123" fmla="*/ 1245073 h 2057873"/>
                <a:gd name="connsiteX124" fmla="*/ 35923 w 2124111"/>
                <a:gd name="connsiteY124" fmla="*/ 1184748 h 2057873"/>
                <a:gd name="connsiteX125" fmla="*/ 26398 w 2124111"/>
                <a:gd name="connsiteY125" fmla="*/ 1149823 h 2057873"/>
                <a:gd name="connsiteX126" fmla="*/ 20048 w 2124111"/>
                <a:gd name="connsiteY126" fmla="*/ 1127598 h 2057873"/>
                <a:gd name="connsiteX127" fmla="*/ 16873 w 2124111"/>
                <a:gd name="connsiteY127" fmla="*/ 1111723 h 2057873"/>
                <a:gd name="connsiteX128" fmla="*/ 7348 w 2124111"/>
                <a:gd name="connsiteY128" fmla="*/ 1073623 h 2057873"/>
                <a:gd name="connsiteX129" fmla="*/ 998 w 2124111"/>
                <a:gd name="connsiteY129" fmla="*/ 991073 h 2057873"/>
                <a:gd name="connsiteX130" fmla="*/ 10523 w 2124111"/>
                <a:gd name="connsiteY130" fmla="*/ 860898 h 2057873"/>
                <a:gd name="connsiteX131" fmla="*/ 35923 w 2124111"/>
                <a:gd name="connsiteY131" fmla="*/ 813273 h 2057873"/>
                <a:gd name="connsiteX132" fmla="*/ 51798 w 2124111"/>
                <a:gd name="connsiteY132" fmla="*/ 784698 h 2057873"/>
                <a:gd name="connsiteX133" fmla="*/ 83548 w 2124111"/>
                <a:gd name="connsiteY133" fmla="*/ 740248 h 2057873"/>
                <a:gd name="connsiteX134" fmla="*/ 99423 w 2124111"/>
                <a:gd name="connsiteY134" fmla="*/ 721198 h 2057873"/>
                <a:gd name="connsiteX135" fmla="*/ 143873 w 2124111"/>
                <a:gd name="connsiteY135" fmla="*/ 654523 h 2057873"/>
                <a:gd name="connsiteX136" fmla="*/ 169273 w 2124111"/>
                <a:gd name="connsiteY136" fmla="*/ 616423 h 2057873"/>
                <a:gd name="connsiteX137" fmla="*/ 185148 w 2124111"/>
                <a:gd name="connsiteY137" fmla="*/ 597373 h 2057873"/>
                <a:gd name="connsiteX138" fmla="*/ 204198 w 2124111"/>
                <a:gd name="connsiteY138" fmla="*/ 568798 h 2057873"/>
                <a:gd name="connsiteX139" fmla="*/ 239123 w 2124111"/>
                <a:gd name="connsiteY139" fmla="*/ 540223 h 2057873"/>
                <a:gd name="connsiteX140" fmla="*/ 258173 w 2124111"/>
                <a:gd name="connsiteY140" fmla="*/ 524348 h 2057873"/>
                <a:gd name="connsiteX141" fmla="*/ 277223 w 2124111"/>
                <a:gd name="connsiteY141" fmla="*/ 508473 h 2057873"/>
                <a:gd name="connsiteX142" fmla="*/ 289923 w 2124111"/>
                <a:gd name="connsiteY142" fmla="*/ 495773 h 2057873"/>
                <a:gd name="connsiteX143" fmla="*/ 308973 w 2124111"/>
                <a:gd name="connsiteY143" fmla="*/ 483073 h 2057873"/>
                <a:gd name="connsiteX144" fmla="*/ 356598 w 2124111"/>
                <a:gd name="connsiteY144" fmla="*/ 441798 h 2057873"/>
                <a:gd name="connsiteX145" fmla="*/ 416923 w 2124111"/>
                <a:gd name="connsiteY145" fmla="*/ 387823 h 2057873"/>
                <a:gd name="connsiteX146" fmla="*/ 445498 w 2124111"/>
                <a:gd name="connsiteY146" fmla="*/ 356073 h 2057873"/>
                <a:gd name="connsiteX147" fmla="*/ 493123 w 2124111"/>
                <a:gd name="connsiteY147" fmla="*/ 311623 h 2057873"/>
                <a:gd name="connsiteX148" fmla="*/ 524873 w 2124111"/>
                <a:gd name="connsiteY148" fmla="*/ 273523 h 2057873"/>
                <a:gd name="connsiteX149" fmla="*/ 604248 w 2124111"/>
                <a:gd name="connsiteY149" fmla="*/ 194148 h 2057873"/>
                <a:gd name="connsiteX150" fmla="*/ 626473 w 2124111"/>
                <a:gd name="connsiteY150" fmla="*/ 171923 h 2057873"/>
                <a:gd name="connsiteX151" fmla="*/ 635998 w 2124111"/>
                <a:gd name="connsiteY151" fmla="*/ 162398 h 2057873"/>
                <a:gd name="connsiteX152" fmla="*/ 712198 w 2124111"/>
                <a:gd name="connsiteY152" fmla="*/ 114773 h 2057873"/>
                <a:gd name="connsiteX153" fmla="*/ 750298 w 2124111"/>
                <a:gd name="connsiteY153" fmla="*/ 89373 h 2057873"/>
                <a:gd name="connsiteX154" fmla="*/ 785223 w 2124111"/>
                <a:gd name="connsiteY154" fmla="*/ 67148 h 2057873"/>
                <a:gd name="connsiteX155" fmla="*/ 826498 w 2124111"/>
                <a:gd name="connsiteY155" fmla="*/ 57623 h 2057873"/>
                <a:gd name="connsiteX156" fmla="*/ 851898 w 2124111"/>
                <a:gd name="connsiteY156" fmla="*/ 51273 h 2057873"/>
                <a:gd name="connsiteX157" fmla="*/ 899523 w 2124111"/>
                <a:gd name="connsiteY157" fmla="*/ 41748 h 2057873"/>
                <a:gd name="connsiteX158" fmla="*/ 940798 w 2124111"/>
                <a:gd name="connsiteY158" fmla="*/ 29048 h 2057873"/>
                <a:gd name="connsiteX159" fmla="*/ 1096373 w 2124111"/>
                <a:gd name="connsiteY159" fmla="*/ 473 h 2057873"/>
                <a:gd name="connsiteX160" fmla="*/ 1267823 w 2124111"/>
                <a:gd name="connsiteY160" fmla="*/ 13173 h 2057873"/>
                <a:gd name="connsiteX161" fmla="*/ 1296398 w 2124111"/>
                <a:gd name="connsiteY161" fmla="*/ 25873 h 2057873"/>
                <a:gd name="connsiteX0" fmla="*/ 1197973 w 2124111"/>
                <a:gd name="connsiteY0" fmla="*/ 25558 h 2079783"/>
                <a:gd name="connsiteX1" fmla="*/ 1217023 w 2124111"/>
                <a:gd name="connsiteY1" fmla="*/ 35083 h 2079783"/>
                <a:gd name="connsiteX2" fmla="*/ 1239248 w 2124111"/>
                <a:gd name="connsiteY2" fmla="*/ 38258 h 2079783"/>
                <a:gd name="connsiteX3" fmla="*/ 1258298 w 2124111"/>
                <a:gd name="connsiteY3" fmla="*/ 50958 h 2079783"/>
                <a:gd name="connsiteX4" fmla="*/ 1270998 w 2124111"/>
                <a:gd name="connsiteY4" fmla="*/ 57308 h 2079783"/>
                <a:gd name="connsiteX5" fmla="*/ 1290048 w 2124111"/>
                <a:gd name="connsiteY5" fmla="*/ 73183 h 2079783"/>
                <a:gd name="connsiteX6" fmla="*/ 1309098 w 2124111"/>
                <a:gd name="connsiteY6" fmla="*/ 79533 h 2079783"/>
                <a:gd name="connsiteX7" fmla="*/ 1324973 w 2124111"/>
                <a:gd name="connsiteY7" fmla="*/ 92233 h 2079783"/>
                <a:gd name="connsiteX8" fmla="*/ 1334498 w 2124111"/>
                <a:gd name="connsiteY8" fmla="*/ 95408 h 2079783"/>
                <a:gd name="connsiteX9" fmla="*/ 1340848 w 2124111"/>
                <a:gd name="connsiteY9" fmla="*/ 104933 h 2079783"/>
                <a:gd name="connsiteX10" fmla="*/ 1356723 w 2124111"/>
                <a:gd name="connsiteY10" fmla="*/ 114458 h 2079783"/>
                <a:gd name="connsiteX11" fmla="*/ 1382123 w 2124111"/>
                <a:gd name="connsiteY11" fmla="*/ 133508 h 2079783"/>
                <a:gd name="connsiteX12" fmla="*/ 1391648 w 2124111"/>
                <a:gd name="connsiteY12" fmla="*/ 139858 h 2079783"/>
                <a:gd name="connsiteX13" fmla="*/ 1432923 w 2124111"/>
                <a:gd name="connsiteY13" fmla="*/ 184308 h 2079783"/>
                <a:gd name="connsiteX14" fmla="*/ 1442448 w 2124111"/>
                <a:gd name="connsiteY14" fmla="*/ 197008 h 2079783"/>
                <a:gd name="connsiteX15" fmla="*/ 1455148 w 2124111"/>
                <a:gd name="connsiteY15" fmla="*/ 219233 h 2079783"/>
                <a:gd name="connsiteX16" fmla="*/ 1499598 w 2124111"/>
                <a:gd name="connsiteY16" fmla="*/ 260508 h 2079783"/>
                <a:gd name="connsiteX17" fmla="*/ 1512298 w 2124111"/>
                <a:gd name="connsiteY17" fmla="*/ 276383 h 2079783"/>
                <a:gd name="connsiteX18" fmla="*/ 1524998 w 2124111"/>
                <a:gd name="connsiteY18" fmla="*/ 289083 h 2079783"/>
                <a:gd name="connsiteX19" fmla="*/ 1531348 w 2124111"/>
                <a:gd name="connsiteY19" fmla="*/ 298608 h 2079783"/>
                <a:gd name="connsiteX20" fmla="*/ 1550398 w 2124111"/>
                <a:gd name="connsiteY20" fmla="*/ 317658 h 2079783"/>
                <a:gd name="connsiteX21" fmla="*/ 1559923 w 2124111"/>
                <a:gd name="connsiteY21" fmla="*/ 327183 h 2079783"/>
                <a:gd name="connsiteX22" fmla="*/ 1569448 w 2124111"/>
                <a:gd name="connsiteY22" fmla="*/ 339883 h 2079783"/>
                <a:gd name="connsiteX23" fmla="*/ 1594848 w 2124111"/>
                <a:gd name="connsiteY23" fmla="*/ 358933 h 2079783"/>
                <a:gd name="connsiteX24" fmla="*/ 1632948 w 2124111"/>
                <a:gd name="connsiteY24" fmla="*/ 390683 h 2079783"/>
                <a:gd name="connsiteX25" fmla="*/ 1648823 w 2124111"/>
                <a:gd name="connsiteY25" fmla="*/ 409733 h 2079783"/>
                <a:gd name="connsiteX26" fmla="*/ 1661523 w 2124111"/>
                <a:gd name="connsiteY26" fmla="*/ 419258 h 2079783"/>
                <a:gd name="connsiteX27" fmla="*/ 1683748 w 2124111"/>
                <a:gd name="connsiteY27" fmla="*/ 441483 h 2079783"/>
                <a:gd name="connsiteX28" fmla="*/ 1702798 w 2124111"/>
                <a:gd name="connsiteY28" fmla="*/ 460533 h 2079783"/>
                <a:gd name="connsiteX29" fmla="*/ 1712323 w 2124111"/>
                <a:gd name="connsiteY29" fmla="*/ 470058 h 2079783"/>
                <a:gd name="connsiteX30" fmla="*/ 1744073 w 2124111"/>
                <a:gd name="connsiteY30" fmla="*/ 495458 h 2079783"/>
                <a:gd name="connsiteX31" fmla="*/ 1753598 w 2124111"/>
                <a:gd name="connsiteY31" fmla="*/ 504983 h 2079783"/>
                <a:gd name="connsiteX32" fmla="*/ 1766298 w 2124111"/>
                <a:gd name="connsiteY32" fmla="*/ 514508 h 2079783"/>
                <a:gd name="connsiteX33" fmla="*/ 1782173 w 2124111"/>
                <a:gd name="connsiteY33" fmla="*/ 530383 h 2079783"/>
                <a:gd name="connsiteX34" fmla="*/ 1813923 w 2124111"/>
                <a:gd name="connsiteY34" fmla="*/ 555783 h 2079783"/>
                <a:gd name="connsiteX35" fmla="*/ 1817098 w 2124111"/>
                <a:gd name="connsiteY35" fmla="*/ 565308 h 2079783"/>
                <a:gd name="connsiteX36" fmla="*/ 1842498 w 2124111"/>
                <a:gd name="connsiteY36" fmla="*/ 587533 h 2079783"/>
                <a:gd name="connsiteX37" fmla="*/ 1893298 w 2124111"/>
                <a:gd name="connsiteY37" fmla="*/ 644683 h 2079783"/>
                <a:gd name="connsiteX38" fmla="*/ 1918698 w 2124111"/>
                <a:gd name="connsiteY38" fmla="*/ 663733 h 2079783"/>
                <a:gd name="connsiteX39" fmla="*/ 1931398 w 2124111"/>
                <a:gd name="connsiteY39" fmla="*/ 670083 h 2079783"/>
                <a:gd name="connsiteX40" fmla="*/ 1979023 w 2124111"/>
                <a:gd name="connsiteY40" fmla="*/ 720883 h 2079783"/>
                <a:gd name="connsiteX41" fmla="*/ 1988548 w 2124111"/>
                <a:gd name="connsiteY41" fmla="*/ 730408 h 2079783"/>
                <a:gd name="connsiteX42" fmla="*/ 2017123 w 2124111"/>
                <a:gd name="connsiteY42" fmla="*/ 755808 h 2079783"/>
                <a:gd name="connsiteX43" fmla="*/ 2023473 w 2124111"/>
                <a:gd name="connsiteY43" fmla="*/ 765333 h 2079783"/>
                <a:gd name="connsiteX44" fmla="*/ 2048873 w 2124111"/>
                <a:gd name="connsiteY44" fmla="*/ 812958 h 2079783"/>
                <a:gd name="connsiteX45" fmla="*/ 2061573 w 2124111"/>
                <a:gd name="connsiteY45" fmla="*/ 851058 h 2079783"/>
                <a:gd name="connsiteX46" fmla="*/ 2064748 w 2124111"/>
                <a:gd name="connsiteY46" fmla="*/ 876458 h 2079783"/>
                <a:gd name="connsiteX47" fmla="*/ 2074273 w 2124111"/>
                <a:gd name="connsiteY47" fmla="*/ 901858 h 2079783"/>
                <a:gd name="connsiteX48" fmla="*/ 2077448 w 2124111"/>
                <a:gd name="connsiteY48" fmla="*/ 920908 h 2079783"/>
                <a:gd name="connsiteX49" fmla="*/ 2080623 w 2124111"/>
                <a:gd name="connsiteY49" fmla="*/ 930433 h 2079783"/>
                <a:gd name="connsiteX50" fmla="*/ 2112373 w 2124111"/>
                <a:gd name="connsiteY50" fmla="*/ 1038383 h 2079783"/>
                <a:gd name="connsiteX51" fmla="*/ 2121898 w 2124111"/>
                <a:gd name="connsiteY51" fmla="*/ 1057433 h 2079783"/>
                <a:gd name="connsiteX52" fmla="*/ 2109198 w 2124111"/>
                <a:gd name="connsiteY52" fmla="*/ 1181258 h 2079783"/>
                <a:gd name="connsiteX53" fmla="*/ 2099673 w 2124111"/>
                <a:gd name="connsiteY53" fmla="*/ 1193958 h 2079783"/>
                <a:gd name="connsiteX54" fmla="*/ 2093323 w 2124111"/>
                <a:gd name="connsiteY54" fmla="*/ 1213008 h 2079783"/>
                <a:gd name="connsiteX55" fmla="*/ 2061573 w 2124111"/>
                <a:gd name="connsiteY55" fmla="*/ 1273333 h 2079783"/>
                <a:gd name="connsiteX56" fmla="*/ 2052048 w 2124111"/>
                <a:gd name="connsiteY56" fmla="*/ 1292383 h 2079783"/>
                <a:gd name="connsiteX57" fmla="*/ 2029823 w 2124111"/>
                <a:gd name="connsiteY57" fmla="*/ 1330483 h 2079783"/>
                <a:gd name="connsiteX58" fmla="*/ 2004423 w 2124111"/>
                <a:gd name="connsiteY58" fmla="*/ 1371758 h 2079783"/>
                <a:gd name="connsiteX59" fmla="*/ 1975848 w 2124111"/>
                <a:gd name="connsiteY59" fmla="*/ 1393983 h 2079783"/>
                <a:gd name="connsiteX60" fmla="*/ 1963148 w 2124111"/>
                <a:gd name="connsiteY60" fmla="*/ 1409858 h 2079783"/>
                <a:gd name="connsiteX61" fmla="*/ 1928223 w 2124111"/>
                <a:gd name="connsiteY61" fmla="*/ 1435258 h 2079783"/>
                <a:gd name="connsiteX62" fmla="*/ 1905998 w 2124111"/>
                <a:gd name="connsiteY62" fmla="*/ 1454308 h 2079783"/>
                <a:gd name="connsiteX63" fmla="*/ 1848848 w 2124111"/>
                <a:gd name="connsiteY63" fmla="*/ 1486058 h 2079783"/>
                <a:gd name="connsiteX64" fmla="*/ 1810748 w 2124111"/>
                <a:gd name="connsiteY64" fmla="*/ 1517808 h 2079783"/>
                <a:gd name="connsiteX65" fmla="*/ 1791698 w 2124111"/>
                <a:gd name="connsiteY65" fmla="*/ 1533683 h 2079783"/>
                <a:gd name="connsiteX66" fmla="*/ 1775823 w 2124111"/>
                <a:gd name="connsiteY66" fmla="*/ 1543208 h 2079783"/>
                <a:gd name="connsiteX67" fmla="*/ 1718673 w 2124111"/>
                <a:gd name="connsiteY67" fmla="*/ 1606708 h 2079783"/>
                <a:gd name="connsiteX68" fmla="*/ 1709148 w 2124111"/>
                <a:gd name="connsiteY68" fmla="*/ 1619408 h 2079783"/>
                <a:gd name="connsiteX69" fmla="*/ 1680573 w 2124111"/>
                <a:gd name="connsiteY69" fmla="*/ 1651158 h 2079783"/>
                <a:gd name="connsiteX70" fmla="*/ 1658348 w 2124111"/>
                <a:gd name="connsiteY70" fmla="*/ 1679733 h 2079783"/>
                <a:gd name="connsiteX71" fmla="*/ 1623423 w 2124111"/>
                <a:gd name="connsiteY71" fmla="*/ 1714658 h 2079783"/>
                <a:gd name="connsiteX72" fmla="*/ 1604373 w 2124111"/>
                <a:gd name="connsiteY72" fmla="*/ 1733708 h 2079783"/>
                <a:gd name="connsiteX73" fmla="*/ 1569448 w 2124111"/>
                <a:gd name="connsiteY73" fmla="*/ 1774983 h 2079783"/>
                <a:gd name="connsiteX74" fmla="*/ 1559923 w 2124111"/>
                <a:gd name="connsiteY74" fmla="*/ 1787683 h 2079783"/>
                <a:gd name="connsiteX75" fmla="*/ 1547223 w 2124111"/>
                <a:gd name="connsiteY75" fmla="*/ 1797208 h 2079783"/>
                <a:gd name="connsiteX76" fmla="*/ 1540873 w 2124111"/>
                <a:gd name="connsiteY76" fmla="*/ 1806733 h 2079783"/>
                <a:gd name="connsiteX77" fmla="*/ 1524998 w 2124111"/>
                <a:gd name="connsiteY77" fmla="*/ 1816258 h 2079783"/>
                <a:gd name="connsiteX78" fmla="*/ 1480548 w 2124111"/>
                <a:gd name="connsiteY78" fmla="*/ 1860708 h 2079783"/>
                <a:gd name="connsiteX79" fmla="*/ 1464673 w 2124111"/>
                <a:gd name="connsiteY79" fmla="*/ 1879758 h 2079783"/>
                <a:gd name="connsiteX80" fmla="*/ 1455148 w 2124111"/>
                <a:gd name="connsiteY80" fmla="*/ 1892458 h 2079783"/>
                <a:gd name="connsiteX81" fmla="*/ 1445623 w 2124111"/>
                <a:gd name="connsiteY81" fmla="*/ 1901983 h 2079783"/>
                <a:gd name="connsiteX82" fmla="*/ 1432923 w 2124111"/>
                <a:gd name="connsiteY82" fmla="*/ 1917858 h 2079783"/>
                <a:gd name="connsiteX83" fmla="*/ 1423398 w 2124111"/>
                <a:gd name="connsiteY83" fmla="*/ 1927383 h 2079783"/>
                <a:gd name="connsiteX84" fmla="*/ 1417048 w 2124111"/>
                <a:gd name="connsiteY84" fmla="*/ 1936908 h 2079783"/>
                <a:gd name="connsiteX85" fmla="*/ 1391648 w 2124111"/>
                <a:gd name="connsiteY85" fmla="*/ 1955958 h 2079783"/>
                <a:gd name="connsiteX86" fmla="*/ 1356723 w 2124111"/>
                <a:gd name="connsiteY86" fmla="*/ 1971833 h 2079783"/>
                <a:gd name="connsiteX87" fmla="*/ 1344023 w 2124111"/>
                <a:gd name="connsiteY87" fmla="*/ 1978183 h 2079783"/>
                <a:gd name="connsiteX88" fmla="*/ 1331323 w 2124111"/>
                <a:gd name="connsiteY88" fmla="*/ 1987708 h 2079783"/>
                <a:gd name="connsiteX89" fmla="*/ 1312273 w 2124111"/>
                <a:gd name="connsiteY89" fmla="*/ 2006758 h 2079783"/>
                <a:gd name="connsiteX90" fmla="*/ 1270998 w 2124111"/>
                <a:gd name="connsiteY90" fmla="*/ 2025808 h 2079783"/>
                <a:gd name="connsiteX91" fmla="*/ 1258298 w 2124111"/>
                <a:gd name="connsiteY91" fmla="*/ 2032158 h 2079783"/>
                <a:gd name="connsiteX92" fmla="*/ 1236073 w 2124111"/>
                <a:gd name="connsiteY92" fmla="*/ 2038508 h 2079783"/>
                <a:gd name="connsiteX93" fmla="*/ 1226548 w 2124111"/>
                <a:gd name="connsiteY93" fmla="*/ 2044858 h 2079783"/>
                <a:gd name="connsiteX94" fmla="*/ 1217023 w 2124111"/>
                <a:gd name="connsiteY94" fmla="*/ 2048033 h 2079783"/>
                <a:gd name="connsiteX95" fmla="*/ 1175748 w 2124111"/>
                <a:gd name="connsiteY95" fmla="*/ 2057558 h 2079783"/>
                <a:gd name="connsiteX96" fmla="*/ 1150348 w 2124111"/>
                <a:gd name="connsiteY96" fmla="*/ 2070258 h 2079783"/>
                <a:gd name="connsiteX97" fmla="*/ 1102723 w 2124111"/>
                <a:gd name="connsiteY97" fmla="*/ 2079783 h 2079783"/>
                <a:gd name="connsiteX98" fmla="*/ 928098 w 2124111"/>
                <a:gd name="connsiteY98" fmla="*/ 2070258 h 2079783"/>
                <a:gd name="connsiteX99" fmla="*/ 886823 w 2124111"/>
                <a:gd name="connsiteY99" fmla="*/ 2054383 h 2079783"/>
                <a:gd name="connsiteX100" fmla="*/ 861423 w 2124111"/>
                <a:gd name="connsiteY100" fmla="*/ 2051208 h 2079783"/>
                <a:gd name="connsiteX101" fmla="*/ 845548 w 2124111"/>
                <a:gd name="connsiteY101" fmla="*/ 2035333 h 2079783"/>
                <a:gd name="connsiteX102" fmla="*/ 769348 w 2124111"/>
                <a:gd name="connsiteY102" fmla="*/ 1975008 h 2079783"/>
                <a:gd name="connsiteX103" fmla="*/ 747123 w 2124111"/>
                <a:gd name="connsiteY103" fmla="*/ 1946433 h 2079783"/>
                <a:gd name="connsiteX104" fmla="*/ 731248 w 2124111"/>
                <a:gd name="connsiteY104" fmla="*/ 1933733 h 2079783"/>
                <a:gd name="connsiteX105" fmla="*/ 715373 w 2124111"/>
                <a:gd name="connsiteY105" fmla="*/ 1917858 h 2079783"/>
                <a:gd name="connsiteX106" fmla="*/ 699498 w 2124111"/>
                <a:gd name="connsiteY106" fmla="*/ 1905158 h 2079783"/>
                <a:gd name="connsiteX107" fmla="*/ 680448 w 2124111"/>
                <a:gd name="connsiteY107" fmla="*/ 1886108 h 2079783"/>
                <a:gd name="connsiteX108" fmla="*/ 642348 w 2124111"/>
                <a:gd name="connsiteY108" fmla="*/ 1854358 h 2079783"/>
                <a:gd name="connsiteX109" fmla="*/ 601073 w 2124111"/>
                <a:gd name="connsiteY109" fmla="*/ 1806733 h 2079783"/>
                <a:gd name="connsiteX110" fmla="*/ 578848 w 2124111"/>
                <a:gd name="connsiteY110" fmla="*/ 1781333 h 2079783"/>
                <a:gd name="connsiteX111" fmla="*/ 537573 w 2124111"/>
                <a:gd name="connsiteY111" fmla="*/ 1740058 h 2079783"/>
                <a:gd name="connsiteX112" fmla="*/ 499473 w 2124111"/>
                <a:gd name="connsiteY112" fmla="*/ 1705133 h 2079783"/>
                <a:gd name="connsiteX113" fmla="*/ 470898 w 2124111"/>
                <a:gd name="connsiteY113" fmla="*/ 1670208 h 2079783"/>
                <a:gd name="connsiteX114" fmla="*/ 413748 w 2124111"/>
                <a:gd name="connsiteY114" fmla="*/ 1622583 h 2079783"/>
                <a:gd name="connsiteX115" fmla="*/ 401048 w 2124111"/>
                <a:gd name="connsiteY115" fmla="*/ 1613058 h 2079783"/>
                <a:gd name="connsiteX116" fmla="*/ 369298 w 2124111"/>
                <a:gd name="connsiteY116" fmla="*/ 1584483 h 2079783"/>
                <a:gd name="connsiteX117" fmla="*/ 328023 w 2124111"/>
                <a:gd name="connsiteY117" fmla="*/ 1559083 h 2079783"/>
                <a:gd name="connsiteX118" fmla="*/ 302623 w 2124111"/>
                <a:gd name="connsiteY118" fmla="*/ 1540033 h 2079783"/>
                <a:gd name="connsiteX119" fmla="*/ 223248 w 2124111"/>
                <a:gd name="connsiteY119" fmla="*/ 1470183 h 2079783"/>
                <a:gd name="connsiteX120" fmla="*/ 175623 w 2124111"/>
                <a:gd name="connsiteY120" fmla="*/ 1413033 h 2079783"/>
                <a:gd name="connsiteX121" fmla="*/ 118473 w 2124111"/>
                <a:gd name="connsiteY121" fmla="*/ 1340008 h 2079783"/>
                <a:gd name="connsiteX122" fmla="*/ 83548 w 2124111"/>
                <a:gd name="connsiteY122" fmla="*/ 1292383 h 2079783"/>
                <a:gd name="connsiteX123" fmla="*/ 64498 w 2124111"/>
                <a:gd name="connsiteY123" fmla="*/ 1266983 h 2079783"/>
                <a:gd name="connsiteX124" fmla="*/ 35923 w 2124111"/>
                <a:gd name="connsiteY124" fmla="*/ 1206658 h 2079783"/>
                <a:gd name="connsiteX125" fmla="*/ 26398 w 2124111"/>
                <a:gd name="connsiteY125" fmla="*/ 1171733 h 2079783"/>
                <a:gd name="connsiteX126" fmla="*/ 20048 w 2124111"/>
                <a:gd name="connsiteY126" fmla="*/ 1149508 h 2079783"/>
                <a:gd name="connsiteX127" fmla="*/ 16873 w 2124111"/>
                <a:gd name="connsiteY127" fmla="*/ 1133633 h 2079783"/>
                <a:gd name="connsiteX128" fmla="*/ 7348 w 2124111"/>
                <a:gd name="connsiteY128" fmla="*/ 1095533 h 2079783"/>
                <a:gd name="connsiteX129" fmla="*/ 998 w 2124111"/>
                <a:gd name="connsiteY129" fmla="*/ 1012983 h 2079783"/>
                <a:gd name="connsiteX130" fmla="*/ 10523 w 2124111"/>
                <a:gd name="connsiteY130" fmla="*/ 882808 h 2079783"/>
                <a:gd name="connsiteX131" fmla="*/ 35923 w 2124111"/>
                <a:gd name="connsiteY131" fmla="*/ 835183 h 2079783"/>
                <a:gd name="connsiteX132" fmla="*/ 51798 w 2124111"/>
                <a:gd name="connsiteY132" fmla="*/ 806608 h 2079783"/>
                <a:gd name="connsiteX133" fmla="*/ 83548 w 2124111"/>
                <a:gd name="connsiteY133" fmla="*/ 762158 h 2079783"/>
                <a:gd name="connsiteX134" fmla="*/ 99423 w 2124111"/>
                <a:gd name="connsiteY134" fmla="*/ 743108 h 2079783"/>
                <a:gd name="connsiteX135" fmla="*/ 143873 w 2124111"/>
                <a:gd name="connsiteY135" fmla="*/ 676433 h 2079783"/>
                <a:gd name="connsiteX136" fmla="*/ 169273 w 2124111"/>
                <a:gd name="connsiteY136" fmla="*/ 638333 h 2079783"/>
                <a:gd name="connsiteX137" fmla="*/ 185148 w 2124111"/>
                <a:gd name="connsiteY137" fmla="*/ 619283 h 2079783"/>
                <a:gd name="connsiteX138" fmla="*/ 204198 w 2124111"/>
                <a:gd name="connsiteY138" fmla="*/ 590708 h 2079783"/>
                <a:gd name="connsiteX139" fmla="*/ 239123 w 2124111"/>
                <a:gd name="connsiteY139" fmla="*/ 562133 h 2079783"/>
                <a:gd name="connsiteX140" fmla="*/ 258173 w 2124111"/>
                <a:gd name="connsiteY140" fmla="*/ 546258 h 2079783"/>
                <a:gd name="connsiteX141" fmla="*/ 277223 w 2124111"/>
                <a:gd name="connsiteY141" fmla="*/ 530383 h 2079783"/>
                <a:gd name="connsiteX142" fmla="*/ 289923 w 2124111"/>
                <a:gd name="connsiteY142" fmla="*/ 517683 h 2079783"/>
                <a:gd name="connsiteX143" fmla="*/ 308973 w 2124111"/>
                <a:gd name="connsiteY143" fmla="*/ 504983 h 2079783"/>
                <a:gd name="connsiteX144" fmla="*/ 356598 w 2124111"/>
                <a:gd name="connsiteY144" fmla="*/ 463708 h 2079783"/>
                <a:gd name="connsiteX145" fmla="*/ 416923 w 2124111"/>
                <a:gd name="connsiteY145" fmla="*/ 409733 h 2079783"/>
                <a:gd name="connsiteX146" fmla="*/ 445498 w 2124111"/>
                <a:gd name="connsiteY146" fmla="*/ 377983 h 2079783"/>
                <a:gd name="connsiteX147" fmla="*/ 493123 w 2124111"/>
                <a:gd name="connsiteY147" fmla="*/ 333533 h 2079783"/>
                <a:gd name="connsiteX148" fmla="*/ 524873 w 2124111"/>
                <a:gd name="connsiteY148" fmla="*/ 295433 h 2079783"/>
                <a:gd name="connsiteX149" fmla="*/ 604248 w 2124111"/>
                <a:gd name="connsiteY149" fmla="*/ 216058 h 2079783"/>
                <a:gd name="connsiteX150" fmla="*/ 626473 w 2124111"/>
                <a:gd name="connsiteY150" fmla="*/ 193833 h 2079783"/>
                <a:gd name="connsiteX151" fmla="*/ 635998 w 2124111"/>
                <a:gd name="connsiteY151" fmla="*/ 184308 h 2079783"/>
                <a:gd name="connsiteX152" fmla="*/ 712198 w 2124111"/>
                <a:gd name="connsiteY152" fmla="*/ 136683 h 2079783"/>
                <a:gd name="connsiteX153" fmla="*/ 750298 w 2124111"/>
                <a:gd name="connsiteY153" fmla="*/ 111283 h 2079783"/>
                <a:gd name="connsiteX154" fmla="*/ 785223 w 2124111"/>
                <a:gd name="connsiteY154" fmla="*/ 89058 h 2079783"/>
                <a:gd name="connsiteX155" fmla="*/ 826498 w 2124111"/>
                <a:gd name="connsiteY155" fmla="*/ 79533 h 2079783"/>
                <a:gd name="connsiteX156" fmla="*/ 851898 w 2124111"/>
                <a:gd name="connsiteY156" fmla="*/ 73183 h 2079783"/>
                <a:gd name="connsiteX157" fmla="*/ 899523 w 2124111"/>
                <a:gd name="connsiteY157" fmla="*/ 63658 h 2079783"/>
                <a:gd name="connsiteX158" fmla="*/ 940798 w 2124111"/>
                <a:gd name="connsiteY158" fmla="*/ 50958 h 2079783"/>
                <a:gd name="connsiteX159" fmla="*/ 1077323 w 2124111"/>
                <a:gd name="connsiteY159" fmla="*/ 158 h 2079783"/>
                <a:gd name="connsiteX160" fmla="*/ 1267823 w 2124111"/>
                <a:gd name="connsiteY160" fmla="*/ 35083 h 2079783"/>
                <a:gd name="connsiteX161" fmla="*/ 1296398 w 2124111"/>
                <a:gd name="connsiteY161" fmla="*/ 47783 h 2079783"/>
                <a:gd name="connsiteX0" fmla="*/ 1197973 w 2124111"/>
                <a:gd name="connsiteY0" fmla="*/ 25863 h 2080088"/>
                <a:gd name="connsiteX1" fmla="*/ 1217023 w 2124111"/>
                <a:gd name="connsiteY1" fmla="*/ 35388 h 2080088"/>
                <a:gd name="connsiteX2" fmla="*/ 1239248 w 2124111"/>
                <a:gd name="connsiteY2" fmla="*/ 38563 h 2080088"/>
                <a:gd name="connsiteX3" fmla="*/ 1258298 w 2124111"/>
                <a:gd name="connsiteY3" fmla="*/ 51263 h 2080088"/>
                <a:gd name="connsiteX4" fmla="*/ 1270998 w 2124111"/>
                <a:gd name="connsiteY4" fmla="*/ 57613 h 2080088"/>
                <a:gd name="connsiteX5" fmla="*/ 1290048 w 2124111"/>
                <a:gd name="connsiteY5" fmla="*/ 73488 h 2080088"/>
                <a:gd name="connsiteX6" fmla="*/ 1309098 w 2124111"/>
                <a:gd name="connsiteY6" fmla="*/ 79838 h 2080088"/>
                <a:gd name="connsiteX7" fmla="*/ 1324973 w 2124111"/>
                <a:gd name="connsiteY7" fmla="*/ 92538 h 2080088"/>
                <a:gd name="connsiteX8" fmla="*/ 1334498 w 2124111"/>
                <a:gd name="connsiteY8" fmla="*/ 95713 h 2080088"/>
                <a:gd name="connsiteX9" fmla="*/ 1340848 w 2124111"/>
                <a:gd name="connsiteY9" fmla="*/ 105238 h 2080088"/>
                <a:gd name="connsiteX10" fmla="*/ 1356723 w 2124111"/>
                <a:gd name="connsiteY10" fmla="*/ 114763 h 2080088"/>
                <a:gd name="connsiteX11" fmla="*/ 1382123 w 2124111"/>
                <a:gd name="connsiteY11" fmla="*/ 133813 h 2080088"/>
                <a:gd name="connsiteX12" fmla="*/ 1391648 w 2124111"/>
                <a:gd name="connsiteY12" fmla="*/ 140163 h 2080088"/>
                <a:gd name="connsiteX13" fmla="*/ 1432923 w 2124111"/>
                <a:gd name="connsiteY13" fmla="*/ 184613 h 2080088"/>
                <a:gd name="connsiteX14" fmla="*/ 1442448 w 2124111"/>
                <a:gd name="connsiteY14" fmla="*/ 197313 h 2080088"/>
                <a:gd name="connsiteX15" fmla="*/ 1455148 w 2124111"/>
                <a:gd name="connsiteY15" fmla="*/ 219538 h 2080088"/>
                <a:gd name="connsiteX16" fmla="*/ 1499598 w 2124111"/>
                <a:gd name="connsiteY16" fmla="*/ 260813 h 2080088"/>
                <a:gd name="connsiteX17" fmla="*/ 1512298 w 2124111"/>
                <a:gd name="connsiteY17" fmla="*/ 276688 h 2080088"/>
                <a:gd name="connsiteX18" fmla="*/ 1524998 w 2124111"/>
                <a:gd name="connsiteY18" fmla="*/ 289388 h 2080088"/>
                <a:gd name="connsiteX19" fmla="*/ 1531348 w 2124111"/>
                <a:gd name="connsiteY19" fmla="*/ 298913 h 2080088"/>
                <a:gd name="connsiteX20" fmla="*/ 1550398 w 2124111"/>
                <a:gd name="connsiteY20" fmla="*/ 317963 h 2080088"/>
                <a:gd name="connsiteX21" fmla="*/ 1559923 w 2124111"/>
                <a:gd name="connsiteY21" fmla="*/ 327488 h 2080088"/>
                <a:gd name="connsiteX22" fmla="*/ 1569448 w 2124111"/>
                <a:gd name="connsiteY22" fmla="*/ 340188 h 2080088"/>
                <a:gd name="connsiteX23" fmla="*/ 1594848 w 2124111"/>
                <a:gd name="connsiteY23" fmla="*/ 359238 h 2080088"/>
                <a:gd name="connsiteX24" fmla="*/ 1632948 w 2124111"/>
                <a:gd name="connsiteY24" fmla="*/ 390988 h 2080088"/>
                <a:gd name="connsiteX25" fmla="*/ 1648823 w 2124111"/>
                <a:gd name="connsiteY25" fmla="*/ 410038 h 2080088"/>
                <a:gd name="connsiteX26" fmla="*/ 1661523 w 2124111"/>
                <a:gd name="connsiteY26" fmla="*/ 419563 h 2080088"/>
                <a:gd name="connsiteX27" fmla="*/ 1683748 w 2124111"/>
                <a:gd name="connsiteY27" fmla="*/ 441788 h 2080088"/>
                <a:gd name="connsiteX28" fmla="*/ 1702798 w 2124111"/>
                <a:gd name="connsiteY28" fmla="*/ 460838 h 2080088"/>
                <a:gd name="connsiteX29" fmla="*/ 1712323 w 2124111"/>
                <a:gd name="connsiteY29" fmla="*/ 470363 h 2080088"/>
                <a:gd name="connsiteX30" fmla="*/ 1744073 w 2124111"/>
                <a:gd name="connsiteY30" fmla="*/ 495763 h 2080088"/>
                <a:gd name="connsiteX31" fmla="*/ 1753598 w 2124111"/>
                <a:gd name="connsiteY31" fmla="*/ 505288 h 2080088"/>
                <a:gd name="connsiteX32" fmla="*/ 1766298 w 2124111"/>
                <a:gd name="connsiteY32" fmla="*/ 514813 h 2080088"/>
                <a:gd name="connsiteX33" fmla="*/ 1782173 w 2124111"/>
                <a:gd name="connsiteY33" fmla="*/ 530688 h 2080088"/>
                <a:gd name="connsiteX34" fmla="*/ 1813923 w 2124111"/>
                <a:gd name="connsiteY34" fmla="*/ 556088 h 2080088"/>
                <a:gd name="connsiteX35" fmla="*/ 1817098 w 2124111"/>
                <a:gd name="connsiteY35" fmla="*/ 565613 h 2080088"/>
                <a:gd name="connsiteX36" fmla="*/ 1842498 w 2124111"/>
                <a:gd name="connsiteY36" fmla="*/ 587838 h 2080088"/>
                <a:gd name="connsiteX37" fmla="*/ 1893298 w 2124111"/>
                <a:gd name="connsiteY37" fmla="*/ 644988 h 2080088"/>
                <a:gd name="connsiteX38" fmla="*/ 1918698 w 2124111"/>
                <a:gd name="connsiteY38" fmla="*/ 664038 h 2080088"/>
                <a:gd name="connsiteX39" fmla="*/ 1931398 w 2124111"/>
                <a:gd name="connsiteY39" fmla="*/ 670388 h 2080088"/>
                <a:gd name="connsiteX40" fmla="*/ 1979023 w 2124111"/>
                <a:gd name="connsiteY40" fmla="*/ 721188 h 2080088"/>
                <a:gd name="connsiteX41" fmla="*/ 1988548 w 2124111"/>
                <a:gd name="connsiteY41" fmla="*/ 730713 h 2080088"/>
                <a:gd name="connsiteX42" fmla="*/ 2017123 w 2124111"/>
                <a:gd name="connsiteY42" fmla="*/ 756113 h 2080088"/>
                <a:gd name="connsiteX43" fmla="*/ 2023473 w 2124111"/>
                <a:gd name="connsiteY43" fmla="*/ 765638 h 2080088"/>
                <a:gd name="connsiteX44" fmla="*/ 2048873 w 2124111"/>
                <a:gd name="connsiteY44" fmla="*/ 813263 h 2080088"/>
                <a:gd name="connsiteX45" fmla="*/ 2061573 w 2124111"/>
                <a:gd name="connsiteY45" fmla="*/ 851363 h 2080088"/>
                <a:gd name="connsiteX46" fmla="*/ 2064748 w 2124111"/>
                <a:gd name="connsiteY46" fmla="*/ 876763 h 2080088"/>
                <a:gd name="connsiteX47" fmla="*/ 2074273 w 2124111"/>
                <a:gd name="connsiteY47" fmla="*/ 902163 h 2080088"/>
                <a:gd name="connsiteX48" fmla="*/ 2077448 w 2124111"/>
                <a:gd name="connsiteY48" fmla="*/ 921213 h 2080088"/>
                <a:gd name="connsiteX49" fmla="*/ 2080623 w 2124111"/>
                <a:gd name="connsiteY49" fmla="*/ 930738 h 2080088"/>
                <a:gd name="connsiteX50" fmla="*/ 2112373 w 2124111"/>
                <a:gd name="connsiteY50" fmla="*/ 1038688 h 2080088"/>
                <a:gd name="connsiteX51" fmla="*/ 2121898 w 2124111"/>
                <a:gd name="connsiteY51" fmla="*/ 1057738 h 2080088"/>
                <a:gd name="connsiteX52" fmla="*/ 2109198 w 2124111"/>
                <a:gd name="connsiteY52" fmla="*/ 1181563 h 2080088"/>
                <a:gd name="connsiteX53" fmla="*/ 2099673 w 2124111"/>
                <a:gd name="connsiteY53" fmla="*/ 1194263 h 2080088"/>
                <a:gd name="connsiteX54" fmla="*/ 2093323 w 2124111"/>
                <a:gd name="connsiteY54" fmla="*/ 1213313 h 2080088"/>
                <a:gd name="connsiteX55" fmla="*/ 2061573 w 2124111"/>
                <a:gd name="connsiteY55" fmla="*/ 1273638 h 2080088"/>
                <a:gd name="connsiteX56" fmla="*/ 2052048 w 2124111"/>
                <a:gd name="connsiteY56" fmla="*/ 1292688 h 2080088"/>
                <a:gd name="connsiteX57" fmla="*/ 2029823 w 2124111"/>
                <a:gd name="connsiteY57" fmla="*/ 1330788 h 2080088"/>
                <a:gd name="connsiteX58" fmla="*/ 2004423 w 2124111"/>
                <a:gd name="connsiteY58" fmla="*/ 1372063 h 2080088"/>
                <a:gd name="connsiteX59" fmla="*/ 1975848 w 2124111"/>
                <a:gd name="connsiteY59" fmla="*/ 1394288 h 2080088"/>
                <a:gd name="connsiteX60" fmla="*/ 1963148 w 2124111"/>
                <a:gd name="connsiteY60" fmla="*/ 1410163 h 2080088"/>
                <a:gd name="connsiteX61" fmla="*/ 1928223 w 2124111"/>
                <a:gd name="connsiteY61" fmla="*/ 1435563 h 2080088"/>
                <a:gd name="connsiteX62" fmla="*/ 1905998 w 2124111"/>
                <a:gd name="connsiteY62" fmla="*/ 1454613 h 2080088"/>
                <a:gd name="connsiteX63" fmla="*/ 1848848 w 2124111"/>
                <a:gd name="connsiteY63" fmla="*/ 1486363 h 2080088"/>
                <a:gd name="connsiteX64" fmla="*/ 1810748 w 2124111"/>
                <a:gd name="connsiteY64" fmla="*/ 1518113 h 2080088"/>
                <a:gd name="connsiteX65" fmla="*/ 1791698 w 2124111"/>
                <a:gd name="connsiteY65" fmla="*/ 1533988 h 2080088"/>
                <a:gd name="connsiteX66" fmla="*/ 1775823 w 2124111"/>
                <a:gd name="connsiteY66" fmla="*/ 1543513 h 2080088"/>
                <a:gd name="connsiteX67" fmla="*/ 1718673 w 2124111"/>
                <a:gd name="connsiteY67" fmla="*/ 1607013 h 2080088"/>
                <a:gd name="connsiteX68" fmla="*/ 1709148 w 2124111"/>
                <a:gd name="connsiteY68" fmla="*/ 1619713 h 2080088"/>
                <a:gd name="connsiteX69" fmla="*/ 1680573 w 2124111"/>
                <a:gd name="connsiteY69" fmla="*/ 1651463 h 2080088"/>
                <a:gd name="connsiteX70" fmla="*/ 1658348 w 2124111"/>
                <a:gd name="connsiteY70" fmla="*/ 1680038 h 2080088"/>
                <a:gd name="connsiteX71" fmla="*/ 1623423 w 2124111"/>
                <a:gd name="connsiteY71" fmla="*/ 1714963 h 2080088"/>
                <a:gd name="connsiteX72" fmla="*/ 1604373 w 2124111"/>
                <a:gd name="connsiteY72" fmla="*/ 1734013 h 2080088"/>
                <a:gd name="connsiteX73" fmla="*/ 1569448 w 2124111"/>
                <a:gd name="connsiteY73" fmla="*/ 1775288 h 2080088"/>
                <a:gd name="connsiteX74" fmla="*/ 1559923 w 2124111"/>
                <a:gd name="connsiteY74" fmla="*/ 1787988 h 2080088"/>
                <a:gd name="connsiteX75" fmla="*/ 1547223 w 2124111"/>
                <a:gd name="connsiteY75" fmla="*/ 1797513 h 2080088"/>
                <a:gd name="connsiteX76" fmla="*/ 1540873 w 2124111"/>
                <a:gd name="connsiteY76" fmla="*/ 1807038 h 2080088"/>
                <a:gd name="connsiteX77" fmla="*/ 1524998 w 2124111"/>
                <a:gd name="connsiteY77" fmla="*/ 1816563 h 2080088"/>
                <a:gd name="connsiteX78" fmla="*/ 1480548 w 2124111"/>
                <a:gd name="connsiteY78" fmla="*/ 1861013 h 2080088"/>
                <a:gd name="connsiteX79" fmla="*/ 1464673 w 2124111"/>
                <a:gd name="connsiteY79" fmla="*/ 1880063 h 2080088"/>
                <a:gd name="connsiteX80" fmla="*/ 1455148 w 2124111"/>
                <a:gd name="connsiteY80" fmla="*/ 1892763 h 2080088"/>
                <a:gd name="connsiteX81" fmla="*/ 1445623 w 2124111"/>
                <a:gd name="connsiteY81" fmla="*/ 1902288 h 2080088"/>
                <a:gd name="connsiteX82" fmla="*/ 1432923 w 2124111"/>
                <a:gd name="connsiteY82" fmla="*/ 1918163 h 2080088"/>
                <a:gd name="connsiteX83" fmla="*/ 1423398 w 2124111"/>
                <a:gd name="connsiteY83" fmla="*/ 1927688 h 2080088"/>
                <a:gd name="connsiteX84" fmla="*/ 1417048 w 2124111"/>
                <a:gd name="connsiteY84" fmla="*/ 1937213 h 2080088"/>
                <a:gd name="connsiteX85" fmla="*/ 1391648 w 2124111"/>
                <a:gd name="connsiteY85" fmla="*/ 1956263 h 2080088"/>
                <a:gd name="connsiteX86" fmla="*/ 1356723 w 2124111"/>
                <a:gd name="connsiteY86" fmla="*/ 1972138 h 2080088"/>
                <a:gd name="connsiteX87" fmla="*/ 1344023 w 2124111"/>
                <a:gd name="connsiteY87" fmla="*/ 1978488 h 2080088"/>
                <a:gd name="connsiteX88" fmla="*/ 1331323 w 2124111"/>
                <a:gd name="connsiteY88" fmla="*/ 1988013 h 2080088"/>
                <a:gd name="connsiteX89" fmla="*/ 1312273 w 2124111"/>
                <a:gd name="connsiteY89" fmla="*/ 2007063 h 2080088"/>
                <a:gd name="connsiteX90" fmla="*/ 1270998 w 2124111"/>
                <a:gd name="connsiteY90" fmla="*/ 2026113 h 2080088"/>
                <a:gd name="connsiteX91" fmla="*/ 1258298 w 2124111"/>
                <a:gd name="connsiteY91" fmla="*/ 2032463 h 2080088"/>
                <a:gd name="connsiteX92" fmla="*/ 1236073 w 2124111"/>
                <a:gd name="connsiteY92" fmla="*/ 2038813 h 2080088"/>
                <a:gd name="connsiteX93" fmla="*/ 1226548 w 2124111"/>
                <a:gd name="connsiteY93" fmla="*/ 2045163 h 2080088"/>
                <a:gd name="connsiteX94" fmla="*/ 1217023 w 2124111"/>
                <a:gd name="connsiteY94" fmla="*/ 2048338 h 2080088"/>
                <a:gd name="connsiteX95" fmla="*/ 1175748 w 2124111"/>
                <a:gd name="connsiteY95" fmla="*/ 2057863 h 2080088"/>
                <a:gd name="connsiteX96" fmla="*/ 1150348 w 2124111"/>
                <a:gd name="connsiteY96" fmla="*/ 2070563 h 2080088"/>
                <a:gd name="connsiteX97" fmla="*/ 1102723 w 2124111"/>
                <a:gd name="connsiteY97" fmla="*/ 2080088 h 2080088"/>
                <a:gd name="connsiteX98" fmla="*/ 928098 w 2124111"/>
                <a:gd name="connsiteY98" fmla="*/ 2070563 h 2080088"/>
                <a:gd name="connsiteX99" fmla="*/ 886823 w 2124111"/>
                <a:gd name="connsiteY99" fmla="*/ 2054688 h 2080088"/>
                <a:gd name="connsiteX100" fmla="*/ 861423 w 2124111"/>
                <a:gd name="connsiteY100" fmla="*/ 2051513 h 2080088"/>
                <a:gd name="connsiteX101" fmla="*/ 845548 w 2124111"/>
                <a:gd name="connsiteY101" fmla="*/ 2035638 h 2080088"/>
                <a:gd name="connsiteX102" fmla="*/ 769348 w 2124111"/>
                <a:gd name="connsiteY102" fmla="*/ 1975313 h 2080088"/>
                <a:gd name="connsiteX103" fmla="*/ 747123 w 2124111"/>
                <a:gd name="connsiteY103" fmla="*/ 1946738 h 2080088"/>
                <a:gd name="connsiteX104" fmla="*/ 731248 w 2124111"/>
                <a:gd name="connsiteY104" fmla="*/ 1934038 h 2080088"/>
                <a:gd name="connsiteX105" fmla="*/ 715373 w 2124111"/>
                <a:gd name="connsiteY105" fmla="*/ 1918163 h 2080088"/>
                <a:gd name="connsiteX106" fmla="*/ 699498 w 2124111"/>
                <a:gd name="connsiteY106" fmla="*/ 1905463 h 2080088"/>
                <a:gd name="connsiteX107" fmla="*/ 680448 w 2124111"/>
                <a:gd name="connsiteY107" fmla="*/ 1886413 h 2080088"/>
                <a:gd name="connsiteX108" fmla="*/ 642348 w 2124111"/>
                <a:gd name="connsiteY108" fmla="*/ 1854663 h 2080088"/>
                <a:gd name="connsiteX109" fmla="*/ 601073 w 2124111"/>
                <a:gd name="connsiteY109" fmla="*/ 1807038 h 2080088"/>
                <a:gd name="connsiteX110" fmla="*/ 578848 w 2124111"/>
                <a:gd name="connsiteY110" fmla="*/ 1781638 h 2080088"/>
                <a:gd name="connsiteX111" fmla="*/ 537573 w 2124111"/>
                <a:gd name="connsiteY111" fmla="*/ 1740363 h 2080088"/>
                <a:gd name="connsiteX112" fmla="*/ 499473 w 2124111"/>
                <a:gd name="connsiteY112" fmla="*/ 1705438 h 2080088"/>
                <a:gd name="connsiteX113" fmla="*/ 470898 w 2124111"/>
                <a:gd name="connsiteY113" fmla="*/ 1670513 h 2080088"/>
                <a:gd name="connsiteX114" fmla="*/ 413748 w 2124111"/>
                <a:gd name="connsiteY114" fmla="*/ 1622888 h 2080088"/>
                <a:gd name="connsiteX115" fmla="*/ 401048 w 2124111"/>
                <a:gd name="connsiteY115" fmla="*/ 1613363 h 2080088"/>
                <a:gd name="connsiteX116" fmla="*/ 369298 w 2124111"/>
                <a:gd name="connsiteY116" fmla="*/ 1584788 h 2080088"/>
                <a:gd name="connsiteX117" fmla="*/ 328023 w 2124111"/>
                <a:gd name="connsiteY117" fmla="*/ 1559388 h 2080088"/>
                <a:gd name="connsiteX118" fmla="*/ 302623 w 2124111"/>
                <a:gd name="connsiteY118" fmla="*/ 1540338 h 2080088"/>
                <a:gd name="connsiteX119" fmla="*/ 223248 w 2124111"/>
                <a:gd name="connsiteY119" fmla="*/ 1470488 h 2080088"/>
                <a:gd name="connsiteX120" fmla="*/ 175623 w 2124111"/>
                <a:gd name="connsiteY120" fmla="*/ 1413338 h 2080088"/>
                <a:gd name="connsiteX121" fmla="*/ 118473 w 2124111"/>
                <a:gd name="connsiteY121" fmla="*/ 1340313 h 2080088"/>
                <a:gd name="connsiteX122" fmla="*/ 83548 w 2124111"/>
                <a:gd name="connsiteY122" fmla="*/ 1292688 h 2080088"/>
                <a:gd name="connsiteX123" fmla="*/ 64498 w 2124111"/>
                <a:gd name="connsiteY123" fmla="*/ 1267288 h 2080088"/>
                <a:gd name="connsiteX124" fmla="*/ 35923 w 2124111"/>
                <a:gd name="connsiteY124" fmla="*/ 1206963 h 2080088"/>
                <a:gd name="connsiteX125" fmla="*/ 26398 w 2124111"/>
                <a:gd name="connsiteY125" fmla="*/ 1172038 h 2080088"/>
                <a:gd name="connsiteX126" fmla="*/ 20048 w 2124111"/>
                <a:gd name="connsiteY126" fmla="*/ 1149813 h 2080088"/>
                <a:gd name="connsiteX127" fmla="*/ 16873 w 2124111"/>
                <a:gd name="connsiteY127" fmla="*/ 1133938 h 2080088"/>
                <a:gd name="connsiteX128" fmla="*/ 7348 w 2124111"/>
                <a:gd name="connsiteY128" fmla="*/ 1095838 h 2080088"/>
                <a:gd name="connsiteX129" fmla="*/ 998 w 2124111"/>
                <a:gd name="connsiteY129" fmla="*/ 1013288 h 2080088"/>
                <a:gd name="connsiteX130" fmla="*/ 10523 w 2124111"/>
                <a:gd name="connsiteY130" fmla="*/ 883113 h 2080088"/>
                <a:gd name="connsiteX131" fmla="*/ 35923 w 2124111"/>
                <a:gd name="connsiteY131" fmla="*/ 835488 h 2080088"/>
                <a:gd name="connsiteX132" fmla="*/ 51798 w 2124111"/>
                <a:gd name="connsiteY132" fmla="*/ 806913 h 2080088"/>
                <a:gd name="connsiteX133" fmla="*/ 83548 w 2124111"/>
                <a:gd name="connsiteY133" fmla="*/ 762463 h 2080088"/>
                <a:gd name="connsiteX134" fmla="*/ 99423 w 2124111"/>
                <a:gd name="connsiteY134" fmla="*/ 743413 h 2080088"/>
                <a:gd name="connsiteX135" fmla="*/ 143873 w 2124111"/>
                <a:gd name="connsiteY135" fmla="*/ 676738 h 2080088"/>
                <a:gd name="connsiteX136" fmla="*/ 169273 w 2124111"/>
                <a:gd name="connsiteY136" fmla="*/ 638638 h 2080088"/>
                <a:gd name="connsiteX137" fmla="*/ 185148 w 2124111"/>
                <a:gd name="connsiteY137" fmla="*/ 619588 h 2080088"/>
                <a:gd name="connsiteX138" fmla="*/ 204198 w 2124111"/>
                <a:gd name="connsiteY138" fmla="*/ 591013 h 2080088"/>
                <a:gd name="connsiteX139" fmla="*/ 239123 w 2124111"/>
                <a:gd name="connsiteY139" fmla="*/ 562438 h 2080088"/>
                <a:gd name="connsiteX140" fmla="*/ 258173 w 2124111"/>
                <a:gd name="connsiteY140" fmla="*/ 546563 h 2080088"/>
                <a:gd name="connsiteX141" fmla="*/ 277223 w 2124111"/>
                <a:gd name="connsiteY141" fmla="*/ 530688 h 2080088"/>
                <a:gd name="connsiteX142" fmla="*/ 289923 w 2124111"/>
                <a:gd name="connsiteY142" fmla="*/ 517988 h 2080088"/>
                <a:gd name="connsiteX143" fmla="*/ 308973 w 2124111"/>
                <a:gd name="connsiteY143" fmla="*/ 505288 h 2080088"/>
                <a:gd name="connsiteX144" fmla="*/ 356598 w 2124111"/>
                <a:gd name="connsiteY144" fmla="*/ 464013 h 2080088"/>
                <a:gd name="connsiteX145" fmla="*/ 416923 w 2124111"/>
                <a:gd name="connsiteY145" fmla="*/ 410038 h 2080088"/>
                <a:gd name="connsiteX146" fmla="*/ 445498 w 2124111"/>
                <a:gd name="connsiteY146" fmla="*/ 378288 h 2080088"/>
                <a:gd name="connsiteX147" fmla="*/ 493123 w 2124111"/>
                <a:gd name="connsiteY147" fmla="*/ 333838 h 2080088"/>
                <a:gd name="connsiteX148" fmla="*/ 524873 w 2124111"/>
                <a:gd name="connsiteY148" fmla="*/ 295738 h 2080088"/>
                <a:gd name="connsiteX149" fmla="*/ 604248 w 2124111"/>
                <a:gd name="connsiteY149" fmla="*/ 216363 h 2080088"/>
                <a:gd name="connsiteX150" fmla="*/ 626473 w 2124111"/>
                <a:gd name="connsiteY150" fmla="*/ 194138 h 2080088"/>
                <a:gd name="connsiteX151" fmla="*/ 635998 w 2124111"/>
                <a:gd name="connsiteY151" fmla="*/ 184613 h 2080088"/>
                <a:gd name="connsiteX152" fmla="*/ 712198 w 2124111"/>
                <a:gd name="connsiteY152" fmla="*/ 136988 h 2080088"/>
                <a:gd name="connsiteX153" fmla="*/ 750298 w 2124111"/>
                <a:gd name="connsiteY153" fmla="*/ 111588 h 2080088"/>
                <a:gd name="connsiteX154" fmla="*/ 785223 w 2124111"/>
                <a:gd name="connsiteY154" fmla="*/ 89363 h 2080088"/>
                <a:gd name="connsiteX155" fmla="*/ 826498 w 2124111"/>
                <a:gd name="connsiteY155" fmla="*/ 79838 h 2080088"/>
                <a:gd name="connsiteX156" fmla="*/ 851898 w 2124111"/>
                <a:gd name="connsiteY156" fmla="*/ 73488 h 2080088"/>
                <a:gd name="connsiteX157" fmla="*/ 899523 w 2124111"/>
                <a:gd name="connsiteY157" fmla="*/ 63963 h 2080088"/>
                <a:gd name="connsiteX158" fmla="*/ 1077323 w 2124111"/>
                <a:gd name="connsiteY158" fmla="*/ 463 h 2080088"/>
                <a:gd name="connsiteX159" fmla="*/ 1267823 w 2124111"/>
                <a:gd name="connsiteY159" fmla="*/ 35388 h 2080088"/>
                <a:gd name="connsiteX160" fmla="*/ 1296398 w 2124111"/>
                <a:gd name="connsiteY160" fmla="*/ 48088 h 2080088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51898 w 2124111"/>
                <a:gd name="connsiteY156" fmla="*/ 73033 h 2079633"/>
                <a:gd name="connsiteX157" fmla="*/ 883648 w 2124111"/>
                <a:gd name="connsiteY157" fmla="*/ 38108 h 2079633"/>
                <a:gd name="connsiteX158" fmla="*/ 1077323 w 2124111"/>
                <a:gd name="connsiteY158" fmla="*/ 8 h 2079633"/>
                <a:gd name="connsiteX159" fmla="*/ 1267823 w 2124111"/>
                <a:gd name="connsiteY159" fmla="*/ 34933 h 2079633"/>
                <a:gd name="connsiteX160" fmla="*/ 1296398 w 2124111"/>
                <a:gd name="connsiteY16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26498 w 2124111"/>
                <a:gd name="connsiteY155" fmla="*/ 79383 h 2079633"/>
                <a:gd name="connsiteX156" fmla="*/ 883648 w 2124111"/>
                <a:gd name="connsiteY156" fmla="*/ 38108 h 2079633"/>
                <a:gd name="connsiteX157" fmla="*/ 1077323 w 2124111"/>
                <a:gd name="connsiteY157" fmla="*/ 8 h 2079633"/>
                <a:gd name="connsiteX158" fmla="*/ 1267823 w 2124111"/>
                <a:gd name="connsiteY158" fmla="*/ 34933 h 2079633"/>
                <a:gd name="connsiteX159" fmla="*/ 1296398 w 2124111"/>
                <a:gd name="connsiteY15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04198 w 2124111"/>
                <a:gd name="connsiteY138" fmla="*/ 590558 h 2079633"/>
                <a:gd name="connsiteX139" fmla="*/ 239123 w 2124111"/>
                <a:gd name="connsiteY139" fmla="*/ 561983 h 2079633"/>
                <a:gd name="connsiteX140" fmla="*/ 258173 w 2124111"/>
                <a:gd name="connsiteY140" fmla="*/ 546108 h 2079633"/>
                <a:gd name="connsiteX141" fmla="*/ 277223 w 2124111"/>
                <a:gd name="connsiteY141" fmla="*/ 530233 h 2079633"/>
                <a:gd name="connsiteX142" fmla="*/ 289923 w 2124111"/>
                <a:gd name="connsiteY142" fmla="*/ 517533 h 2079633"/>
                <a:gd name="connsiteX143" fmla="*/ 308973 w 2124111"/>
                <a:gd name="connsiteY143" fmla="*/ 504833 h 2079633"/>
                <a:gd name="connsiteX144" fmla="*/ 356598 w 2124111"/>
                <a:gd name="connsiteY144" fmla="*/ 463558 h 2079633"/>
                <a:gd name="connsiteX145" fmla="*/ 416923 w 2124111"/>
                <a:gd name="connsiteY145" fmla="*/ 409583 h 2079633"/>
                <a:gd name="connsiteX146" fmla="*/ 445498 w 2124111"/>
                <a:gd name="connsiteY146" fmla="*/ 377833 h 2079633"/>
                <a:gd name="connsiteX147" fmla="*/ 493123 w 2124111"/>
                <a:gd name="connsiteY147" fmla="*/ 333383 h 2079633"/>
                <a:gd name="connsiteX148" fmla="*/ 524873 w 2124111"/>
                <a:gd name="connsiteY148" fmla="*/ 295283 h 2079633"/>
                <a:gd name="connsiteX149" fmla="*/ 604248 w 2124111"/>
                <a:gd name="connsiteY149" fmla="*/ 215908 h 2079633"/>
                <a:gd name="connsiteX150" fmla="*/ 626473 w 2124111"/>
                <a:gd name="connsiteY150" fmla="*/ 193683 h 2079633"/>
                <a:gd name="connsiteX151" fmla="*/ 635998 w 2124111"/>
                <a:gd name="connsiteY151" fmla="*/ 184158 h 2079633"/>
                <a:gd name="connsiteX152" fmla="*/ 712198 w 2124111"/>
                <a:gd name="connsiteY152" fmla="*/ 136533 h 2079633"/>
                <a:gd name="connsiteX153" fmla="*/ 750298 w 2124111"/>
                <a:gd name="connsiteY153" fmla="*/ 111133 h 2079633"/>
                <a:gd name="connsiteX154" fmla="*/ 785223 w 2124111"/>
                <a:gd name="connsiteY154" fmla="*/ 88908 h 2079633"/>
                <a:gd name="connsiteX155" fmla="*/ 883648 w 2124111"/>
                <a:gd name="connsiteY155" fmla="*/ 38108 h 2079633"/>
                <a:gd name="connsiteX156" fmla="*/ 1077323 w 2124111"/>
                <a:gd name="connsiteY156" fmla="*/ 8 h 2079633"/>
                <a:gd name="connsiteX157" fmla="*/ 1267823 w 2124111"/>
                <a:gd name="connsiteY157" fmla="*/ 34933 h 2079633"/>
                <a:gd name="connsiteX158" fmla="*/ 1296398 w 2124111"/>
                <a:gd name="connsiteY15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185148 w 2124111"/>
                <a:gd name="connsiteY137" fmla="*/ 619133 h 2079633"/>
                <a:gd name="connsiteX138" fmla="*/ 239123 w 2124111"/>
                <a:gd name="connsiteY138" fmla="*/ 561983 h 2079633"/>
                <a:gd name="connsiteX139" fmla="*/ 258173 w 2124111"/>
                <a:gd name="connsiteY139" fmla="*/ 546108 h 2079633"/>
                <a:gd name="connsiteX140" fmla="*/ 277223 w 2124111"/>
                <a:gd name="connsiteY140" fmla="*/ 530233 h 2079633"/>
                <a:gd name="connsiteX141" fmla="*/ 289923 w 2124111"/>
                <a:gd name="connsiteY141" fmla="*/ 517533 h 2079633"/>
                <a:gd name="connsiteX142" fmla="*/ 308973 w 2124111"/>
                <a:gd name="connsiteY142" fmla="*/ 504833 h 2079633"/>
                <a:gd name="connsiteX143" fmla="*/ 356598 w 2124111"/>
                <a:gd name="connsiteY143" fmla="*/ 463558 h 2079633"/>
                <a:gd name="connsiteX144" fmla="*/ 416923 w 2124111"/>
                <a:gd name="connsiteY144" fmla="*/ 409583 h 2079633"/>
                <a:gd name="connsiteX145" fmla="*/ 445498 w 2124111"/>
                <a:gd name="connsiteY145" fmla="*/ 377833 h 2079633"/>
                <a:gd name="connsiteX146" fmla="*/ 493123 w 2124111"/>
                <a:gd name="connsiteY146" fmla="*/ 333383 h 2079633"/>
                <a:gd name="connsiteX147" fmla="*/ 524873 w 2124111"/>
                <a:gd name="connsiteY147" fmla="*/ 295283 h 2079633"/>
                <a:gd name="connsiteX148" fmla="*/ 604248 w 2124111"/>
                <a:gd name="connsiteY148" fmla="*/ 215908 h 2079633"/>
                <a:gd name="connsiteX149" fmla="*/ 626473 w 2124111"/>
                <a:gd name="connsiteY149" fmla="*/ 193683 h 2079633"/>
                <a:gd name="connsiteX150" fmla="*/ 635998 w 2124111"/>
                <a:gd name="connsiteY150" fmla="*/ 184158 h 2079633"/>
                <a:gd name="connsiteX151" fmla="*/ 712198 w 2124111"/>
                <a:gd name="connsiteY151" fmla="*/ 136533 h 2079633"/>
                <a:gd name="connsiteX152" fmla="*/ 750298 w 2124111"/>
                <a:gd name="connsiteY152" fmla="*/ 111133 h 2079633"/>
                <a:gd name="connsiteX153" fmla="*/ 785223 w 2124111"/>
                <a:gd name="connsiteY153" fmla="*/ 88908 h 2079633"/>
                <a:gd name="connsiteX154" fmla="*/ 883648 w 2124111"/>
                <a:gd name="connsiteY154" fmla="*/ 38108 h 2079633"/>
                <a:gd name="connsiteX155" fmla="*/ 1077323 w 2124111"/>
                <a:gd name="connsiteY155" fmla="*/ 8 h 2079633"/>
                <a:gd name="connsiteX156" fmla="*/ 1267823 w 2124111"/>
                <a:gd name="connsiteY156" fmla="*/ 34933 h 2079633"/>
                <a:gd name="connsiteX157" fmla="*/ 1296398 w 2124111"/>
                <a:gd name="connsiteY157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169273 w 2124111"/>
                <a:gd name="connsiteY136" fmla="*/ 638183 h 2079633"/>
                <a:gd name="connsiteX137" fmla="*/ 239123 w 2124111"/>
                <a:gd name="connsiteY137" fmla="*/ 561983 h 2079633"/>
                <a:gd name="connsiteX138" fmla="*/ 258173 w 2124111"/>
                <a:gd name="connsiteY138" fmla="*/ 546108 h 2079633"/>
                <a:gd name="connsiteX139" fmla="*/ 277223 w 2124111"/>
                <a:gd name="connsiteY139" fmla="*/ 530233 h 2079633"/>
                <a:gd name="connsiteX140" fmla="*/ 289923 w 2124111"/>
                <a:gd name="connsiteY140" fmla="*/ 517533 h 2079633"/>
                <a:gd name="connsiteX141" fmla="*/ 308973 w 2124111"/>
                <a:gd name="connsiteY141" fmla="*/ 504833 h 2079633"/>
                <a:gd name="connsiteX142" fmla="*/ 356598 w 2124111"/>
                <a:gd name="connsiteY142" fmla="*/ 463558 h 2079633"/>
                <a:gd name="connsiteX143" fmla="*/ 416923 w 2124111"/>
                <a:gd name="connsiteY143" fmla="*/ 409583 h 2079633"/>
                <a:gd name="connsiteX144" fmla="*/ 445498 w 2124111"/>
                <a:gd name="connsiteY144" fmla="*/ 377833 h 2079633"/>
                <a:gd name="connsiteX145" fmla="*/ 493123 w 2124111"/>
                <a:gd name="connsiteY145" fmla="*/ 333383 h 2079633"/>
                <a:gd name="connsiteX146" fmla="*/ 524873 w 2124111"/>
                <a:gd name="connsiteY146" fmla="*/ 295283 h 2079633"/>
                <a:gd name="connsiteX147" fmla="*/ 604248 w 2124111"/>
                <a:gd name="connsiteY147" fmla="*/ 215908 h 2079633"/>
                <a:gd name="connsiteX148" fmla="*/ 626473 w 2124111"/>
                <a:gd name="connsiteY148" fmla="*/ 193683 h 2079633"/>
                <a:gd name="connsiteX149" fmla="*/ 635998 w 2124111"/>
                <a:gd name="connsiteY149" fmla="*/ 184158 h 2079633"/>
                <a:gd name="connsiteX150" fmla="*/ 712198 w 2124111"/>
                <a:gd name="connsiteY150" fmla="*/ 136533 h 2079633"/>
                <a:gd name="connsiteX151" fmla="*/ 750298 w 2124111"/>
                <a:gd name="connsiteY151" fmla="*/ 111133 h 2079633"/>
                <a:gd name="connsiteX152" fmla="*/ 785223 w 2124111"/>
                <a:gd name="connsiteY152" fmla="*/ 88908 h 2079633"/>
                <a:gd name="connsiteX153" fmla="*/ 883648 w 2124111"/>
                <a:gd name="connsiteY153" fmla="*/ 38108 h 2079633"/>
                <a:gd name="connsiteX154" fmla="*/ 1077323 w 2124111"/>
                <a:gd name="connsiteY154" fmla="*/ 8 h 2079633"/>
                <a:gd name="connsiteX155" fmla="*/ 1267823 w 2124111"/>
                <a:gd name="connsiteY155" fmla="*/ 34933 h 2079633"/>
                <a:gd name="connsiteX156" fmla="*/ 1296398 w 2124111"/>
                <a:gd name="connsiteY156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39123 w 2124111"/>
                <a:gd name="connsiteY136" fmla="*/ 561983 h 2079633"/>
                <a:gd name="connsiteX137" fmla="*/ 258173 w 2124111"/>
                <a:gd name="connsiteY137" fmla="*/ 546108 h 2079633"/>
                <a:gd name="connsiteX138" fmla="*/ 277223 w 2124111"/>
                <a:gd name="connsiteY138" fmla="*/ 530233 h 2079633"/>
                <a:gd name="connsiteX139" fmla="*/ 289923 w 2124111"/>
                <a:gd name="connsiteY139" fmla="*/ 517533 h 2079633"/>
                <a:gd name="connsiteX140" fmla="*/ 308973 w 2124111"/>
                <a:gd name="connsiteY140" fmla="*/ 504833 h 2079633"/>
                <a:gd name="connsiteX141" fmla="*/ 356598 w 2124111"/>
                <a:gd name="connsiteY141" fmla="*/ 463558 h 2079633"/>
                <a:gd name="connsiteX142" fmla="*/ 416923 w 2124111"/>
                <a:gd name="connsiteY142" fmla="*/ 409583 h 2079633"/>
                <a:gd name="connsiteX143" fmla="*/ 445498 w 2124111"/>
                <a:gd name="connsiteY143" fmla="*/ 377833 h 2079633"/>
                <a:gd name="connsiteX144" fmla="*/ 493123 w 2124111"/>
                <a:gd name="connsiteY144" fmla="*/ 333383 h 2079633"/>
                <a:gd name="connsiteX145" fmla="*/ 524873 w 2124111"/>
                <a:gd name="connsiteY145" fmla="*/ 295283 h 2079633"/>
                <a:gd name="connsiteX146" fmla="*/ 604248 w 2124111"/>
                <a:gd name="connsiteY146" fmla="*/ 215908 h 2079633"/>
                <a:gd name="connsiteX147" fmla="*/ 626473 w 2124111"/>
                <a:gd name="connsiteY147" fmla="*/ 193683 h 2079633"/>
                <a:gd name="connsiteX148" fmla="*/ 635998 w 2124111"/>
                <a:gd name="connsiteY148" fmla="*/ 184158 h 2079633"/>
                <a:gd name="connsiteX149" fmla="*/ 712198 w 2124111"/>
                <a:gd name="connsiteY149" fmla="*/ 136533 h 2079633"/>
                <a:gd name="connsiteX150" fmla="*/ 750298 w 2124111"/>
                <a:gd name="connsiteY150" fmla="*/ 111133 h 2079633"/>
                <a:gd name="connsiteX151" fmla="*/ 785223 w 2124111"/>
                <a:gd name="connsiteY151" fmla="*/ 88908 h 2079633"/>
                <a:gd name="connsiteX152" fmla="*/ 883648 w 2124111"/>
                <a:gd name="connsiteY152" fmla="*/ 38108 h 2079633"/>
                <a:gd name="connsiteX153" fmla="*/ 1077323 w 2124111"/>
                <a:gd name="connsiteY153" fmla="*/ 8 h 2079633"/>
                <a:gd name="connsiteX154" fmla="*/ 1267823 w 2124111"/>
                <a:gd name="connsiteY154" fmla="*/ 34933 h 2079633"/>
                <a:gd name="connsiteX155" fmla="*/ 1296398 w 2124111"/>
                <a:gd name="connsiteY155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58173 w 2124111"/>
                <a:gd name="connsiteY136" fmla="*/ 546108 h 2079633"/>
                <a:gd name="connsiteX137" fmla="*/ 277223 w 2124111"/>
                <a:gd name="connsiteY137" fmla="*/ 530233 h 2079633"/>
                <a:gd name="connsiteX138" fmla="*/ 289923 w 2124111"/>
                <a:gd name="connsiteY138" fmla="*/ 517533 h 2079633"/>
                <a:gd name="connsiteX139" fmla="*/ 308973 w 2124111"/>
                <a:gd name="connsiteY139" fmla="*/ 504833 h 2079633"/>
                <a:gd name="connsiteX140" fmla="*/ 356598 w 2124111"/>
                <a:gd name="connsiteY140" fmla="*/ 463558 h 2079633"/>
                <a:gd name="connsiteX141" fmla="*/ 416923 w 2124111"/>
                <a:gd name="connsiteY141" fmla="*/ 409583 h 2079633"/>
                <a:gd name="connsiteX142" fmla="*/ 445498 w 2124111"/>
                <a:gd name="connsiteY142" fmla="*/ 377833 h 2079633"/>
                <a:gd name="connsiteX143" fmla="*/ 493123 w 2124111"/>
                <a:gd name="connsiteY143" fmla="*/ 333383 h 2079633"/>
                <a:gd name="connsiteX144" fmla="*/ 524873 w 2124111"/>
                <a:gd name="connsiteY144" fmla="*/ 295283 h 2079633"/>
                <a:gd name="connsiteX145" fmla="*/ 604248 w 2124111"/>
                <a:gd name="connsiteY145" fmla="*/ 215908 h 2079633"/>
                <a:gd name="connsiteX146" fmla="*/ 626473 w 2124111"/>
                <a:gd name="connsiteY146" fmla="*/ 193683 h 2079633"/>
                <a:gd name="connsiteX147" fmla="*/ 635998 w 2124111"/>
                <a:gd name="connsiteY147" fmla="*/ 184158 h 2079633"/>
                <a:gd name="connsiteX148" fmla="*/ 712198 w 2124111"/>
                <a:gd name="connsiteY148" fmla="*/ 136533 h 2079633"/>
                <a:gd name="connsiteX149" fmla="*/ 750298 w 2124111"/>
                <a:gd name="connsiteY149" fmla="*/ 111133 h 2079633"/>
                <a:gd name="connsiteX150" fmla="*/ 785223 w 2124111"/>
                <a:gd name="connsiteY150" fmla="*/ 88908 h 2079633"/>
                <a:gd name="connsiteX151" fmla="*/ 883648 w 2124111"/>
                <a:gd name="connsiteY151" fmla="*/ 38108 h 2079633"/>
                <a:gd name="connsiteX152" fmla="*/ 1077323 w 2124111"/>
                <a:gd name="connsiteY152" fmla="*/ 8 h 2079633"/>
                <a:gd name="connsiteX153" fmla="*/ 1267823 w 2124111"/>
                <a:gd name="connsiteY153" fmla="*/ 34933 h 2079633"/>
                <a:gd name="connsiteX154" fmla="*/ 1296398 w 2124111"/>
                <a:gd name="connsiteY154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77223 w 2124111"/>
                <a:gd name="connsiteY136" fmla="*/ 530233 h 2079633"/>
                <a:gd name="connsiteX137" fmla="*/ 289923 w 2124111"/>
                <a:gd name="connsiteY137" fmla="*/ 517533 h 2079633"/>
                <a:gd name="connsiteX138" fmla="*/ 308973 w 2124111"/>
                <a:gd name="connsiteY138" fmla="*/ 504833 h 2079633"/>
                <a:gd name="connsiteX139" fmla="*/ 356598 w 2124111"/>
                <a:gd name="connsiteY139" fmla="*/ 463558 h 2079633"/>
                <a:gd name="connsiteX140" fmla="*/ 416923 w 2124111"/>
                <a:gd name="connsiteY140" fmla="*/ 409583 h 2079633"/>
                <a:gd name="connsiteX141" fmla="*/ 445498 w 2124111"/>
                <a:gd name="connsiteY141" fmla="*/ 377833 h 2079633"/>
                <a:gd name="connsiteX142" fmla="*/ 493123 w 2124111"/>
                <a:gd name="connsiteY142" fmla="*/ 333383 h 2079633"/>
                <a:gd name="connsiteX143" fmla="*/ 524873 w 2124111"/>
                <a:gd name="connsiteY143" fmla="*/ 295283 h 2079633"/>
                <a:gd name="connsiteX144" fmla="*/ 604248 w 2124111"/>
                <a:gd name="connsiteY144" fmla="*/ 215908 h 2079633"/>
                <a:gd name="connsiteX145" fmla="*/ 626473 w 2124111"/>
                <a:gd name="connsiteY145" fmla="*/ 193683 h 2079633"/>
                <a:gd name="connsiteX146" fmla="*/ 635998 w 2124111"/>
                <a:gd name="connsiteY146" fmla="*/ 184158 h 2079633"/>
                <a:gd name="connsiteX147" fmla="*/ 712198 w 2124111"/>
                <a:gd name="connsiteY147" fmla="*/ 136533 h 2079633"/>
                <a:gd name="connsiteX148" fmla="*/ 750298 w 2124111"/>
                <a:gd name="connsiteY148" fmla="*/ 111133 h 2079633"/>
                <a:gd name="connsiteX149" fmla="*/ 785223 w 2124111"/>
                <a:gd name="connsiteY149" fmla="*/ 88908 h 2079633"/>
                <a:gd name="connsiteX150" fmla="*/ 883648 w 2124111"/>
                <a:gd name="connsiteY150" fmla="*/ 38108 h 2079633"/>
                <a:gd name="connsiteX151" fmla="*/ 1077323 w 2124111"/>
                <a:gd name="connsiteY151" fmla="*/ 8 h 2079633"/>
                <a:gd name="connsiteX152" fmla="*/ 1267823 w 2124111"/>
                <a:gd name="connsiteY152" fmla="*/ 34933 h 2079633"/>
                <a:gd name="connsiteX153" fmla="*/ 1296398 w 2124111"/>
                <a:gd name="connsiteY153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289923 w 2124111"/>
                <a:gd name="connsiteY136" fmla="*/ 517533 h 2079633"/>
                <a:gd name="connsiteX137" fmla="*/ 308973 w 2124111"/>
                <a:gd name="connsiteY137" fmla="*/ 504833 h 2079633"/>
                <a:gd name="connsiteX138" fmla="*/ 356598 w 2124111"/>
                <a:gd name="connsiteY138" fmla="*/ 463558 h 2079633"/>
                <a:gd name="connsiteX139" fmla="*/ 416923 w 2124111"/>
                <a:gd name="connsiteY139" fmla="*/ 409583 h 2079633"/>
                <a:gd name="connsiteX140" fmla="*/ 445498 w 2124111"/>
                <a:gd name="connsiteY140" fmla="*/ 377833 h 2079633"/>
                <a:gd name="connsiteX141" fmla="*/ 493123 w 2124111"/>
                <a:gd name="connsiteY141" fmla="*/ 333383 h 2079633"/>
                <a:gd name="connsiteX142" fmla="*/ 524873 w 2124111"/>
                <a:gd name="connsiteY142" fmla="*/ 295283 h 2079633"/>
                <a:gd name="connsiteX143" fmla="*/ 604248 w 2124111"/>
                <a:gd name="connsiteY143" fmla="*/ 215908 h 2079633"/>
                <a:gd name="connsiteX144" fmla="*/ 626473 w 2124111"/>
                <a:gd name="connsiteY144" fmla="*/ 193683 h 2079633"/>
                <a:gd name="connsiteX145" fmla="*/ 635998 w 2124111"/>
                <a:gd name="connsiteY145" fmla="*/ 184158 h 2079633"/>
                <a:gd name="connsiteX146" fmla="*/ 712198 w 2124111"/>
                <a:gd name="connsiteY146" fmla="*/ 136533 h 2079633"/>
                <a:gd name="connsiteX147" fmla="*/ 750298 w 2124111"/>
                <a:gd name="connsiteY147" fmla="*/ 111133 h 2079633"/>
                <a:gd name="connsiteX148" fmla="*/ 785223 w 2124111"/>
                <a:gd name="connsiteY148" fmla="*/ 88908 h 2079633"/>
                <a:gd name="connsiteX149" fmla="*/ 883648 w 2124111"/>
                <a:gd name="connsiteY149" fmla="*/ 38108 h 2079633"/>
                <a:gd name="connsiteX150" fmla="*/ 1077323 w 2124111"/>
                <a:gd name="connsiteY150" fmla="*/ 8 h 2079633"/>
                <a:gd name="connsiteX151" fmla="*/ 1267823 w 2124111"/>
                <a:gd name="connsiteY151" fmla="*/ 34933 h 2079633"/>
                <a:gd name="connsiteX152" fmla="*/ 1296398 w 2124111"/>
                <a:gd name="connsiteY152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0483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56598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26473 w 2124111"/>
                <a:gd name="connsiteY143" fmla="*/ 193683 h 2079633"/>
                <a:gd name="connsiteX144" fmla="*/ 635998 w 2124111"/>
                <a:gd name="connsiteY144" fmla="*/ 184158 h 2079633"/>
                <a:gd name="connsiteX145" fmla="*/ 712198 w 2124111"/>
                <a:gd name="connsiteY145" fmla="*/ 136533 h 2079633"/>
                <a:gd name="connsiteX146" fmla="*/ 750298 w 2124111"/>
                <a:gd name="connsiteY146" fmla="*/ 111133 h 2079633"/>
                <a:gd name="connsiteX147" fmla="*/ 785223 w 2124111"/>
                <a:gd name="connsiteY147" fmla="*/ 88908 h 2079633"/>
                <a:gd name="connsiteX148" fmla="*/ 883648 w 2124111"/>
                <a:gd name="connsiteY148" fmla="*/ 38108 h 2079633"/>
                <a:gd name="connsiteX149" fmla="*/ 1077323 w 2124111"/>
                <a:gd name="connsiteY149" fmla="*/ 8 h 2079633"/>
                <a:gd name="connsiteX150" fmla="*/ 1267823 w 2124111"/>
                <a:gd name="connsiteY150" fmla="*/ 34933 h 2079633"/>
                <a:gd name="connsiteX151" fmla="*/ 1296398 w 2124111"/>
                <a:gd name="connsiteY151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635998 w 2124111"/>
                <a:gd name="connsiteY143" fmla="*/ 184158 h 2079633"/>
                <a:gd name="connsiteX144" fmla="*/ 712198 w 2124111"/>
                <a:gd name="connsiteY144" fmla="*/ 136533 h 2079633"/>
                <a:gd name="connsiteX145" fmla="*/ 750298 w 2124111"/>
                <a:gd name="connsiteY145" fmla="*/ 111133 h 2079633"/>
                <a:gd name="connsiteX146" fmla="*/ 785223 w 2124111"/>
                <a:gd name="connsiteY146" fmla="*/ 88908 h 2079633"/>
                <a:gd name="connsiteX147" fmla="*/ 883648 w 2124111"/>
                <a:gd name="connsiteY147" fmla="*/ 38108 h 2079633"/>
                <a:gd name="connsiteX148" fmla="*/ 1077323 w 2124111"/>
                <a:gd name="connsiteY148" fmla="*/ 8 h 2079633"/>
                <a:gd name="connsiteX149" fmla="*/ 1267823 w 2124111"/>
                <a:gd name="connsiteY149" fmla="*/ 34933 h 2079633"/>
                <a:gd name="connsiteX150" fmla="*/ 1296398 w 2124111"/>
                <a:gd name="connsiteY150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604248 w 2124111"/>
                <a:gd name="connsiteY142" fmla="*/ 215908 h 2079633"/>
                <a:gd name="connsiteX143" fmla="*/ 712198 w 2124111"/>
                <a:gd name="connsiteY143" fmla="*/ 136533 h 2079633"/>
                <a:gd name="connsiteX144" fmla="*/ 750298 w 2124111"/>
                <a:gd name="connsiteY144" fmla="*/ 111133 h 2079633"/>
                <a:gd name="connsiteX145" fmla="*/ 785223 w 2124111"/>
                <a:gd name="connsiteY145" fmla="*/ 88908 h 2079633"/>
                <a:gd name="connsiteX146" fmla="*/ 883648 w 2124111"/>
                <a:gd name="connsiteY146" fmla="*/ 38108 h 2079633"/>
                <a:gd name="connsiteX147" fmla="*/ 1077323 w 2124111"/>
                <a:gd name="connsiteY147" fmla="*/ 8 h 2079633"/>
                <a:gd name="connsiteX148" fmla="*/ 1267823 w 2124111"/>
                <a:gd name="connsiteY148" fmla="*/ 34933 h 2079633"/>
                <a:gd name="connsiteX149" fmla="*/ 1296398 w 2124111"/>
                <a:gd name="connsiteY149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524873 w 2124111"/>
                <a:gd name="connsiteY141" fmla="*/ 295283 h 2079633"/>
                <a:gd name="connsiteX142" fmla="*/ 712198 w 2124111"/>
                <a:gd name="connsiteY142" fmla="*/ 136533 h 2079633"/>
                <a:gd name="connsiteX143" fmla="*/ 750298 w 2124111"/>
                <a:gd name="connsiteY143" fmla="*/ 111133 h 2079633"/>
                <a:gd name="connsiteX144" fmla="*/ 785223 w 2124111"/>
                <a:gd name="connsiteY144" fmla="*/ 88908 h 2079633"/>
                <a:gd name="connsiteX145" fmla="*/ 883648 w 2124111"/>
                <a:gd name="connsiteY145" fmla="*/ 38108 h 2079633"/>
                <a:gd name="connsiteX146" fmla="*/ 1077323 w 2124111"/>
                <a:gd name="connsiteY146" fmla="*/ 8 h 2079633"/>
                <a:gd name="connsiteX147" fmla="*/ 1267823 w 2124111"/>
                <a:gd name="connsiteY147" fmla="*/ 34933 h 2079633"/>
                <a:gd name="connsiteX148" fmla="*/ 1296398 w 2124111"/>
                <a:gd name="connsiteY148" fmla="*/ 47633 h 2079633"/>
                <a:gd name="connsiteX0" fmla="*/ 1197973 w 2124111"/>
                <a:gd name="connsiteY0" fmla="*/ 25408 h 2079633"/>
                <a:gd name="connsiteX1" fmla="*/ 1217023 w 2124111"/>
                <a:gd name="connsiteY1" fmla="*/ 34933 h 2079633"/>
                <a:gd name="connsiteX2" fmla="*/ 1239248 w 2124111"/>
                <a:gd name="connsiteY2" fmla="*/ 38108 h 2079633"/>
                <a:gd name="connsiteX3" fmla="*/ 1258298 w 2124111"/>
                <a:gd name="connsiteY3" fmla="*/ 50808 h 2079633"/>
                <a:gd name="connsiteX4" fmla="*/ 1270998 w 2124111"/>
                <a:gd name="connsiteY4" fmla="*/ 57158 h 2079633"/>
                <a:gd name="connsiteX5" fmla="*/ 1290048 w 2124111"/>
                <a:gd name="connsiteY5" fmla="*/ 73033 h 2079633"/>
                <a:gd name="connsiteX6" fmla="*/ 1309098 w 2124111"/>
                <a:gd name="connsiteY6" fmla="*/ 79383 h 2079633"/>
                <a:gd name="connsiteX7" fmla="*/ 1324973 w 2124111"/>
                <a:gd name="connsiteY7" fmla="*/ 92083 h 2079633"/>
                <a:gd name="connsiteX8" fmla="*/ 1334498 w 2124111"/>
                <a:gd name="connsiteY8" fmla="*/ 95258 h 2079633"/>
                <a:gd name="connsiteX9" fmla="*/ 1340848 w 2124111"/>
                <a:gd name="connsiteY9" fmla="*/ 104783 h 2079633"/>
                <a:gd name="connsiteX10" fmla="*/ 1356723 w 2124111"/>
                <a:gd name="connsiteY10" fmla="*/ 114308 h 2079633"/>
                <a:gd name="connsiteX11" fmla="*/ 1382123 w 2124111"/>
                <a:gd name="connsiteY11" fmla="*/ 133358 h 2079633"/>
                <a:gd name="connsiteX12" fmla="*/ 1391648 w 2124111"/>
                <a:gd name="connsiteY12" fmla="*/ 139708 h 2079633"/>
                <a:gd name="connsiteX13" fmla="*/ 1432923 w 2124111"/>
                <a:gd name="connsiteY13" fmla="*/ 184158 h 2079633"/>
                <a:gd name="connsiteX14" fmla="*/ 1442448 w 2124111"/>
                <a:gd name="connsiteY14" fmla="*/ 196858 h 2079633"/>
                <a:gd name="connsiteX15" fmla="*/ 1455148 w 2124111"/>
                <a:gd name="connsiteY15" fmla="*/ 219083 h 2079633"/>
                <a:gd name="connsiteX16" fmla="*/ 1499598 w 2124111"/>
                <a:gd name="connsiteY16" fmla="*/ 260358 h 2079633"/>
                <a:gd name="connsiteX17" fmla="*/ 1512298 w 2124111"/>
                <a:gd name="connsiteY17" fmla="*/ 276233 h 2079633"/>
                <a:gd name="connsiteX18" fmla="*/ 1524998 w 2124111"/>
                <a:gd name="connsiteY18" fmla="*/ 288933 h 2079633"/>
                <a:gd name="connsiteX19" fmla="*/ 1531348 w 2124111"/>
                <a:gd name="connsiteY19" fmla="*/ 298458 h 2079633"/>
                <a:gd name="connsiteX20" fmla="*/ 1550398 w 2124111"/>
                <a:gd name="connsiteY20" fmla="*/ 317508 h 2079633"/>
                <a:gd name="connsiteX21" fmla="*/ 1559923 w 2124111"/>
                <a:gd name="connsiteY21" fmla="*/ 327033 h 2079633"/>
                <a:gd name="connsiteX22" fmla="*/ 1569448 w 2124111"/>
                <a:gd name="connsiteY22" fmla="*/ 339733 h 2079633"/>
                <a:gd name="connsiteX23" fmla="*/ 1594848 w 2124111"/>
                <a:gd name="connsiteY23" fmla="*/ 358783 h 2079633"/>
                <a:gd name="connsiteX24" fmla="*/ 1632948 w 2124111"/>
                <a:gd name="connsiteY24" fmla="*/ 390533 h 2079633"/>
                <a:gd name="connsiteX25" fmla="*/ 1648823 w 2124111"/>
                <a:gd name="connsiteY25" fmla="*/ 409583 h 2079633"/>
                <a:gd name="connsiteX26" fmla="*/ 1661523 w 2124111"/>
                <a:gd name="connsiteY26" fmla="*/ 419108 h 2079633"/>
                <a:gd name="connsiteX27" fmla="*/ 1683748 w 2124111"/>
                <a:gd name="connsiteY27" fmla="*/ 441333 h 2079633"/>
                <a:gd name="connsiteX28" fmla="*/ 1702798 w 2124111"/>
                <a:gd name="connsiteY28" fmla="*/ 460383 h 2079633"/>
                <a:gd name="connsiteX29" fmla="*/ 1712323 w 2124111"/>
                <a:gd name="connsiteY29" fmla="*/ 469908 h 2079633"/>
                <a:gd name="connsiteX30" fmla="*/ 1744073 w 2124111"/>
                <a:gd name="connsiteY30" fmla="*/ 495308 h 2079633"/>
                <a:gd name="connsiteX31" fmla="*/ 1753598 w 2124111"/>
                <a:gd name="connsiteY31" fmla="*/ 504833 h 2079633"/>
                <a:gd name="connsiteX32" fmla="*/ 1766298 w 2124111"/>
                <a:gd name="connsiteY32" fmla="*/ 514358 h 2079633"/>
                <a:gd name="connsiteX33" fmla="*/ 1782173 w 2124111"/>
                <a:gd name="connsiteY33" fmla="*/ 530233 h 2079633"/>
                <a:gd name="connsiteX34" fmla="*/ 1813923 w 2124111"/>
                <a:gd name="connsiteY34" fmla="*/ 555633 h 2079633"/>
                <a:gd name="connsiteX35" fmla="*/ 1817098 w 2124111"/>
                <a:gd name="connsiteY35" fmla="*/ 565158 h 2079633"/>
                <a:gd name="connsiteX36" fmla="*/ 1842498 w 2124111"/>
                <a:gd name="connsiteY36" fmla="*/ 587383 h 2079633"/>
                <a:gd name="connsiteX37" fmla="*/ 1893298 w 2124111"/>
                <a:gd name="connsiteY37" fmla="*/ 644533 h 2079633"/>
                <a:gd name="connsiteX38" fmla="*/ 1918698 w 2124111"/>
                <a:gd name="connsiteY38" fmla="*/ 663583 h 2079633"/>
                <a:gd name="connsiteX39" fmla="*/ 1931398 w 2124111"/>
                <a:gd name="connsiteY39" fmla="*/ 669933 h 2079633"/>
                <a:gd name="connsiteX40" fmla="*/ 1979023 w 2124111"/>
                <a:gd name="connsiteY40" fmla="*/ 720733 h 2079633"/>
                <a:gd name="connsiteX41" fmla="*/ 1988548 w 2124111"/>
                <a:gd name="connsiteY41" fmla="*/ 730258 h 2079633"/>
                <a:gd name="connsiteX42" fmla="*/ 2017123 w 2124111"/>
                <a:gd name="connsiteY42" fmla="*/ 755658 h 2079633"/>
                <a:gd name="connsiteX43" fmla="*/ 2023473 w 2124111"/>
                <a:gd name="connsiteY43" fmla="*/ 765183 h 2079633"/>
                <a:gd name="connsiteX44" fmla="*/ 2048873 w 2124111"/>
                <a:gd name="connsiteY44" fmla="*/ 812808 h 2079633"/>
                <a:gd name="connsiteX45" fmla="*/ 2061573 w 2124111"/>
                <a:gd name="connsiteY45" fmla="*/ 850908 h 2079633"/>
                <a:gd name="connsiteX46" fmla="*/ 2064748 w 2124111"/>
                <a:gd name="connsiteY46" fmla="*/ 876308 h 2079633"/>
                <a:gd name="connsiteX47" fmla="*/ 2074273 w 2124111"/>
                <a:gd name="connsiteY47" fmla="*/ 901708 h 2079633"/>
                <a:gd name="connsiteX48" fmla="*/ 2077448 w 2124111"/>
                <a:gd name="connsiteY48" fmla="*/ 920758 h 2079633"/>
                <a:gd name="connsiteX49" fmla="*/ 2080623 w 2124111"/>
                <a:gd name="connsiteY49" fmla="*/ 930283 h 2079633"/>
                <a:gd name="connsiteX50" fmla="*/ 2112373 w 2124111"/>
                <a:gd name="connsiteY50" fmla="*/ 1038233 h 2079633"/>
                <a:gd name="connsiteX51" fmla="*/ 2121898 w 2124111"/>
                <a:gd name="connsiteY51" fmla="*/ 1057283 h 2079633"/>
                <a:gd name="connsiteX52" fmla="*/ 2109198 w 2124111"/>
                <a:gd name="connsiteY52" fmla="*/ 1181108 h 2079633"/>
                <a:gd name="connsiteX53" fmla="*/ 2099673 w 2124111"/>
                <a:gd name="connsiteY53" fmla="*/ 1193808 h 2079633"/>
                <a:gd name="connsiteX54" fmla="*/ 2093323 w 2124111"/>
                <a:gd name="connsiteY54" fmla="*/ 1212858 h 2079633"/>
                <a:gd name="connsiteX55" fmla="*/ 2061573 w 2124111"/>
                <a:gd name="connsiteY55" fmla="*/ 1273183 h 2079633"/>
                <a:gd name="connsiteX56" fmla="*/ 2052048 w 2124111"/>
                <a:gd name="connsiteY56" fmla="*/ 1292233 h 2079633"/>
                <a:gd name="connsiteX57" fmla="*/ 2029823 w 2124111"/>
                <a:gd name="connsiteY57" fmla="*/ 1330333 h 2079633"/>
                <a:gd name="connsiteX58" fmla="*/ 2004423 w 2124111"/>
                <a:gd name="connsiteY58" fmla="*/ 1371608 h 2079633"/>
                <a:gd name="connsiteX59" fmla="*/ 1975848 w 2124111"/>
                <a:gd name="connsiteY59" fmla="*/ 1393833 h 2079633"/>
                <a:gd name="connsiteX60" fmla="*/ 1963148 w 2124111"/>
                <a:gd name="connsiteY60" fmla="*/ 1409708 h 2079633"/>
                <a:gd name="connsiteX61" fmla="*/ 1928223 w 2124111"/>
                <a:gd name="connsiteY61" fmla="*/ 1435108 h 2079633"/>
                <a:gd name="connsiteX62" fmla="*/ 1905998 w 2124111"/>
                <a:gd name="connsiteY62" fmla="*/ 1454158 h 2079633"/>
                <a:gd name="connsiteX63" fmla="*/ 1848848 w 2124111"/>
                <a:gd name="connsiteY63" fmla="*/ 1485908 h 2079633"/>
                <a:gd name="connsiteX64" fmla="*/ 1810748 w 2124111"/>
                <a:gd name="connsiteY64" fmla="*/ 1517658 h 2079633"/>
                <a:gd name="connsiteX65" fmla="*/ 1791698 w 2124111"/>
                <a:gd name="connsiteY65" fmla="*/ 1533533 h 2079633"/>
                <a:gd name="connsiteX66" fmla="*/ 1775823 w 2124111"/>
                <a:gd name="connsiteY66" fmla="*/ 1543058 h 2079633"/>
                <a:gd name="connsiteX67" fmla="*/ 1718673 w 2124111"/>
                <a:gd name="connsiteY67" fmla="*/ 1606558 h 2079633"/>
                <a:gd name="connsiteX68" fmla="*/ 1709148 w 2124111"/>
                <a:gd name="connsiteY68" fmla="*/ 1619258 h 2079633"/>
                <a:gd name="connsiteX69" fmla="*/ 1680573 w 2124111"/>
                <a:gd name="connsiteY69" fmla="*/ 1651008 h 2079633"/>
                <a:gd name="connsiteX70" fmla="*/ 1658348 w 2124111"/>
                <a:gd name="connsiteY70" fmla="*/ 1679583 h 2079633"/>
                <a:gd name="connsiteX71" fmla="*/ 1623423 w 2124111"/>
                <a:gd name="connsiteY71" fmla="*/ 1714508 h 2079633"/>
                <a:gd name="connsiteX72" fmla="*/ 1604373 w 2124111"/>
                <a:gd name="connsiteY72" fmla="*/ 1733558 h 2079633"/>
                <a:gd name="connsiteX73" fmla="*/ 1569448 w 2124111"/>
                <a:gd name="connsiteY73" fmla="*/ 1774833 h 2079633"/>
                <a:gd name="connsiteX74" fmla="*/ 1559923 w 2124111"/>
                <a:gd name="connsiteY74" fmla="*/ 1787533 h 2079633"/>
                <a:gd name="connsiteX75" fmla="*/ 1547223 w 2124111"/>
                <a:gd name="connsiteY75" fmla="*/ 1797058 h 2079633"/>
                <a:gd name="connsiteX76" fmla="*/ 1540873 w 2124111"/>
                <a:gd name="connsiteY76" fmla="*/ 1806583 h 2079633"/>
                <a:gd name="connsiteX77" fmla="*/ 1524998 w 2124111"/>
                <a:gd name="connsiteY77" fmla="*/ 1816108 h 2079633"/>
                <a:gd name="connsiteX78" fmla="*/ 1480548 w 2124111"/>
                <a:gd name="connsiteY78" fmla="*/ 1860558 h 2079633"/>
                <a:gd name="connsiteX79" fmla="*/ 1464673 w 2124111"/>
                <a:gd name="connsiteY79" fmla="*/ 1879608 h 2079633"/>
                <a:gd name="connsiteX80" fmla="*/ 1455148 w 2124111"/>
                <a:gd name="connsiteY80" fmla="*/ 1892308 h 2079633"/>
                <a:gd name="connsiteX81" fmla="*/ 1445623 w 2124111"/>
                <a:gd name="connsiteY81" fmla="*/ 1901833 h 2079633"/>
                <a:gd name="connsiteX82" fmla="*/ 1432923 w 2124111"/>
                <a:gd name="connsiteY82" fmla="*/ 1917708 h 2079633"/>
                <a:gd name="connsiteX83" fmla="*/ 1423398 w 2124111"/>
                <a:gd name="connsiteY83" fmla="*/ 1927233 h 2079633"/>
                <a:gd name="connsiteX84" fmla="*/ 1417048 w 2124111"/>
                <a:gd name="connsiteY84" fmla="*/ 1936758 h 2079633"/>
                <a:gd name="connsiteX85" fmla="*/ 1391648 w 2124111"/>
                <a:gd name="connsiteY85" fmla="*/ 1955808 h 2079633"/>
                <a:gd name="connsiteX86" fmla="*/ 1356723 w 2124111"/>
                <a:gd name="connsiteY86" fmla="*/ 1971683 h 2079633"/>
                <a:gd name="connsiteX87" fmla="*/ 1344023 w 2124111"/>
                <a:gd name="connsiteY87" fmla="*/ 1978033 h 2079633"/>
                <a:gd name="connsiteX88" fmla="*/ 1331323 w 2124111"/>
                <a:gd name="connsiteY88" fmla="*/ 1987558 h 2079633"/>
                <a:gd name="connsiteX89" fmla="*/ 1312273 w 2124111"/>
                <a:gd name="connsiteY89" fmla="*/ 2006608 h 2079633"/>
                <a:gd name="connsiteX90" fmla="*/ 1270998 w 2124111"/>
                <a:gd name="connsiteY90" fmla="*/ 2025658 h 2079633"/>
                <a:gd name="connsiteX91" fmla="*/ 1258298 w 2124111"/>
                <a:gd name="connsiteY91" fmla="*/ 2032008 h 2079633"/>
                <a:gd name="connsiteX92" fmla="*/ 1236073 w 2124111"/>
                <a:gd name="connsiteY92" fmla="*/ 2038358 h 2079633"/>
                <a:gd name="connsiteX93" fmla="*/ 1226548 w 2124111"/>
                <a:gd name="connsiteY93" fmla="*/ 2044708 h 2079633"/>
                <a:gd name="connsiteX94" fmla="*/ 1217023 w 2124111"/>
                <a:gd name="connsiteY94" fmla="*/ 2047883 h 2079633"/>
                <a:gd name="connsiteX95" fmla="*/ 1175748 w 2124111"/>
                <a:gd name="connsiteY95" fmla="*/ 2057408 h 2079633"/>
                <a:gd name="connsiteX96" fmla="*/ 1150348 w 2124111"/>
                <a:gd name="connsiteY96" fmla="*/ 2070108 h 2079633"/>
                <a:gd name="connsiteX97" fmla="*/ 1102723 w 2124111"/>
                <a:gd name="connsiteY97" fmla="*/ 2079633 h 2079633"/>
                <a:gd name="connsiteX98" fmla="*/ 928098 w 2124111"/>
                <a:gd name="connsiteY98" fmla="*/ 2070108 h 2079633"/>
                <a:gd name="connsiteX99" fmla="*/ 886823 w 2124111"/>
                <a:gd name="connsiteY99" fmla="*/ 2054233 h 2079633"/>
                <a:gd name="connsiteX100" fmla="*/ 861423 w 2124111"/>
                <a:gd name="connsiteY100" fmla="*/ 2051058 h 2079633"/>
                <a:gd name="connsiteX101" fmla="*/ 845548 w 2124111"/>
                <a:gd name="connsiteY101" fmla="*/ 2035183 h 2079633"/>
                <a:gd name="connsiteX102" fmla="*/ 769348 w 2124111"/>
                <a:gd name="connsiteY102" fmla="*/ 1974858 h 2079633"/>
                <a:gd name="connsiteX103" fmla="*/ 747123 w 2124111"/>
                <a:gd name="connsiteY103" fmla="*/ 1946283 h 2079633"/>
                <a:gd name="connsiteX104" fmla="*/ 731248 w 2124111"/>
                <a:gd name="connsiteY104" fmla="*/ 1933583 h 2079633"/>
                <a:gd name="connsiteX105" fmla="*/ 715373 w 2124111"/>
                <a:gd name="connsiteY105" fmla="*/ 1917708 h 2079633"/>
                <a:gd name="connsiteX106" fmla="*/ 699498 w 2124111"/>
                <a:gd name="connsiteY106" fmla="*/ 1905008 h 2079633"/>
                <a:gd name="connsiteX107" fmla="*/ 680448 w 2124111"/>
                <a:gd name="connsiteY107" fmla="*/ 1885958 h 2079633"/>
                <a:gd name="connsiteX108" fmla="*/ 642348 w 2124111"/>
                <a:gd name="connsiteY108" fmla="*/ 1854208 h 2079633"/>
                <a:gd name="connsiteX109" fmla="*/ 601073 w 2124111"/>
                <a:gd name="connsiteY109" fmla="*/ 1806583 h 2079633"/>
                <a:gd name="connsiteX110" fmla="*/ 578848 w 2124111"/>
                <a:gd name="connsiteY110" fmla="*/ 1781183 h 2079633"/>
                <a:gd name="connsiteX111" fmla="*/ 537573 w 2124111"/>
                <a:gd name="connsiteY111" fmla="*/ 1739908 h 2079633"/>
                <a:gd name="connsiteX112" fmla="*/ 499473 w 2124111"/>
                <a:gd name="connsiteY112" fmla="*/ 1704983 h 2079633"/>
                <a:gd name="connsiteX113" fmla="*/ 470898 w 2124111"/>
                <a:gd name="connsiteY113" fmla="*/ 1670058 h 2079633"/>
                <a:gd name="connsiteX114" fmla="*/ 413748 w 2124111"/>
                <a:gd name="connsiteY114" fmla="*/ 1622433 h 2079633"/>
                <a:gd name="connsiteX115" fmla="*/ 401048 w 2124111"/>
                <a:gd name="connsiteY115" fmla="*/ 1612908 h 2079633"/>
                <a:gd name="connsiteX116" fmla="*/ 369298 w 2124111"/>
                <a:gd name="connsiteY116" fmla="*/ 1584333 h 2079633"/>
                <a:gd name="connsiteX117" fmla="*/ 328023 w 2124111"/>
                <a:gd name="connsiteY117" fmla="*/ 1558933 h 2079633"/>
                <a:gd name="connsiteX118" fmla="*/ 302623 w 2124111"/>
                <a:gd name="connsiteY118" fmla="*/ 1539883 h 2079633"/>
                <a:gd name="connsiteX119" fmla="*/ 223248 w 2124111"/>
                <a:gd name="connsiteY119" fmla="*/ 1470033 h 2079633"/>
                <a:gd name="connsiteX120" fmla="*/ 175623 w 2124111"/>
                <a:gd name="connsiteY120" fmla="*/ 1412883 h 2079633"/>
                <a:gd name="connsiteX121" fmla="*/ 118473 w 2124111"/>
                <a:gd name="connsiteY121" fmla="*/ 1339858 h 2079633"/>
                <a:gd name="connsiteX122" fmla="*/ 83548 w 2124111"/>
                <a:gd name="connsiteY122" fmla="*/ 1292233 h 2079633"/>
                <a:gd name="connsiteX123" fmla="*/ 64498 w 2124111"/>
                <a:gd name="connsiteY123" fmla="*/ 1266833 h 2079633"/>
                <a:gd name="connsiteX124" fmla="*/ 35923 w 2124111"/>
                <a:gd name="connsiteY124" fmla="*/ 1206508 h 2079633"/>
                <a:gd name="connsiteX125" fmla="*/ 26398 w 2124111"/>
                <a:gd name="connsiteY125" fmla="*/ 1171583 h 2079633"/>
                <a:gd name="connsiteX126" fmla="*/ 20048 w 2124111"/>
                <a:gd name="connsiteY126" fmla="*/ 1149358 h 2079633"/>
                <a:gd name="connsiteX127" fmla="*/ 16873 w 2124111"/>
                <a:gd name="connsiteY127" fmla="*/ 1133483 h 2079633"/>
                <a:gd name="connsiteX128" fmla="*/ 7348 w 2124111"/>
                <a:gd name="connsiteY128" fmla="*/ 1095383 h 2079633"/>
                <a:gd name="connsiteX129" fmla="*/ 998 w 2124111"/>
                <a:gd name="connsiteY129" fmla="*/ 1012833 h 2079633"/>
                <a:gd name="connsiteX130" fmla="*/ 10523 w 2124111"/>
                <a:gd name="connsiteY130" fmla="*/ 882658 h 2079633"/>
                <a:gd name="connsiteX131" fmla="*/ 35923 w 2124111"/>
                <a:gd name="connsiteY131" fmla="*/ 835033 h 2079633"/>
                <a:gd name="connsiteX132" fmla="*/ 51798 w 2124111"/>
                <a:gd name="connsiteY132" fmla="*/ 806458 h 2079633"/>
                <a:gd name="connsiteX133" fmla="*/ 83548 w 2124111"/>
                <a:gd name="connsiteY133" fmla="*/ 762008 h 2079633"/>
                <a:gd name="connsiteX134" fmla="*/ 99423 w 2124111"/>
                <a:gd name="connsiteY134" fmla="*/ 742958 h 2079633"/>
                <a:gd name="connsiteX135" fmla="*/ 143873 w 2124111"/>
                <a:gd name="connsiteY135" fmla="*/ 676283 h 2079633"/>
                <a:gd name="connsiteX136" fmla="*/ 308973 w 2124111"/>
                <a:gd name="connsiteY136" fmla="*/ 523883 h 2079633"/>
                <a:gd name="connsiteX137" fmla="*/ 366123 w 2124111"/>
                <a:gd name="connsiteY137" fmla="*/ 463558 h 2079633"/>
                <a:gd name="connsiteX138" fmla="*/ 416923 w 2124111"/>
                <a:gd name="connsiteY138" fmla="*/ 409583 h 2079633"/>
                <a:gd name="connsiteX139" fmla="*/ 445498 w 2124111"/>
                <a:gd name="connsiteY139" fmla="*/ 377833 h 2079633"/>
                <a:gd name="connsiteX140" fmla="*/ 493123 w 2124111"/>
                <a:gd name="connsiteY140" fmla="*/ 333383 h 2079633"/>
                <a:gd name="connsiteX141" fmla="*/ 712198 w 2124111"/>
                <a:gd name="connsiteY141" fmla="*/ 136533 h 2079633"/>
                <a:gd name="connsiteX142" fmla="*/ 750298 w 2124111"/>
                <a:gd name="connsiteY142" fmla="*/ 111133 h 2079633"/>
                <a:gd name="connsiteX143" fmla="*/ 785223 w 2124111"/>
                <a:gd name="connsiteY143" fmla="*/ 88908 h 2079633"/>
                <a:gd name="connsiteX144" fmla="*/ 883648 w 2124111"/>
                <a:gd name="connsiteY144" fmla="*/ 38108 h 2079633"/>
                <a:gd name="connsiteX145" fmla="*/ 1077323 w 2124111"/>
                <a:gd name="connsiteY145" fmla="*/ 8 h 2079633"/>
                <a:gd name="connsiteX146" fmla="*/ 1267823 w 2124111"/>
                <a:gd name="connsiteY146" fmla="*/ 34933 h 2079633"/>
                <a:gd name="connsiteX147" fmla="*/ 1296398 w 2124111"/>
                <a:gd name="connsiteY147" fmla="*/ 47633 h 2079633"/>
                <a:gd name="connsiteX0" fmla="*/ 1197973 w 2114197"/>
                <a:gd name="connsiteY0" fmla="*/ 25408 h 2079633"/>
                <a:gd name="connsiteX1" fmla="*/ 1217023 w 2114197"/>
                <a:gd name="connsiteY1" fmla="*/ 34933 h 2079633"/>
                <a:gd name="connsiteX2" fmla="*/ 1239248 w 2114197"/>
                <a:gd name="connsiteY2" fmla="*/ 38108 h 2079633"/>
                <a:gd name="connsiteX3" fmla="*/ 1258298 w 2114197"/>
                <a:gd name="connsiteY3" fmla="*/ 50808 h 2079633"/>
                <a:gd name="connsiteX4" fmla="*/ 1270998 w 2114197"/>
                <a:gd name="connsiteY4" fmla="*/ 57158 h 2079633"/>
                <a:gd name="connsiteX5" fmla="*/ 1290048 w 2114197"/>
                <a:gd name="connsiteY5" fmla="*/ 73033 h 2079633"/>
                <a:gd name="connsiteX6" fmla="*/ 1309098 w 2114197"/>
                <a:gd name="connsiteY6" fmla="*/ 79383 h 2079633"/>
                <a:gd name="connsiteX7" fmla="*/ 1324973 w 2114197"/>
                <a:gd name="connsiteY7" fmla="*/ 92083 h 2079633"/>
                <a:gd name="connsiteX8" fmla="*/ 1334498 w 2114197"/>
                <a:gd name="connsiteY8" fmla="*/ 95258 h 2079633"/>
                <a:gd name="connsiteX9" fmla="*/ 1340848 w 2114197"/>
                <a:gd name="connsiteY9" fmla="*/ 104783 h 2079633"/>
                <a:gd name="connsiteX10" fmla="*/ 1356723 w 2114197"/>
                <a:gd name="connsiteY10" fmla="*/ 114308 h 2079633"/>
                <a:gd name="connsiteX11" fmla="*/ 1382123 w 2114197"/>
                <a:gd name="connsiteY11" fmla="*/ 133358 h 2079633"/>
                <a:gd name="connsiteX12" fmla="*/ 1391648 w 2114197"/>
                <a:gd name="connsiteY12" fmla="*/ 139708 h 2079633"/>
                <a:gd name="connsiteX13" fmla="*/ 1432923 w 2114197"/>
                <a:gd name="connsiteY13" fmla="*/ 184158 h 2079633"/>
                <a:gd name="connsiteX14" fmla="*/ 1442448 w 2114197"/>
                <a:gd name="connsiteY14" fmla="*/ 196858 h 2079633"/>
                <a:gd name="connsiteX15" fmla="*/ 1455148 w 2114197"/>
                <a:gd name="connsiteY15" fmla="*/ 219083 h 2079633"/>
                <a:gd name="connsiteX16" fmla="*/ 1499598 w 2114197"/>
                <a:gd name="connsiteY16" fmla="*/ 260358 h 2079633"/>
                <a:gd name="connsiteX17" fmla="*/ 1512298 w 2114197"/>
                <a:gd name="connsiteY17" fmla="*/ 276233 h 2079633"/>
                <a:gd name="connsiteX18" fmla="*/ 1524998 w 2114197"/>
                <a:gd name="connsiteY18" fmla="*/ 288933 h 2079633"/>
                <a:gd name="connsiteX19" fmla="*/ 1531348 w 2114197"/>
                <a:gd name="connsiteY19" fmla="*/ 298458 h 2079633"/>
                <a:gd name="connsiteX20" fmla="*/ 1550398 w 2114197"/>
                <a:gd name="connsiteY20" fmla="*/ 317508 h 2079633"/>
                <a:gd name="connsiteX21" fmla="*/ 1559923 w 2114197"/>
                <a:gd name="connsiteY21" fmla="*/ 327033 h 2079633"/>
                <a:gd name="connsiteX22" fmla="*/ 1569448 w 2114197"/>
                <a:gd name="connsiteY22" fmla="*/ 339733 h 2079633"/>
                <a:gd name="connsiteX23" fmla="*/ 1594848 w 2114197"/>
                <a:gd name="connsiteY23" fmla="*/ 358783 h 2079633"/>
                <a:gd name="connsiteX24" fmla="*/ 1632948 w 2114197"/>
                <a:gd name="connsiteY24" fmla="*/ 390533 h 2079633"/>
                <a:gd name="connsiteX25" fmla="*/ 1648823 w 2114197"/>
                <a:gd name="connsiteY25" fmla="*/ 409583 h 2079633"/>
                <a:gd name="connsiteX26" fmla="*/ 1661523 w 2114197"/>
                <a:gd name="connsiteY26" fmla="*/ 419108 h 2079633"/>
                <a:gd name="connsiteX27" fmla="*/ 1683748 w 2114197"/>
                <a:gd name="connsiteY27" fmla="*/ 441333 h 2079633"/>
                <a:gd name="connsiteX28" fmla="*/ 1702798 w 2114197"/>
                <a:gd name="connsiteY28" fmla="*/ 460383 h 2079633"/>
                <a:gd name="connsiteX29" fmla="*/ 1712323 w 2114197"/>
                <a:gd name="connsiteY29" fmla="*/ 469908 h 2079633"/>
                <a:gd name="connsiteX30" fmla="*/ 1744073 w 2114197"/>
                <a:gd name="connsiteY30" fmla="*/ 495308 h 2079633"/>
                <a:gd name="connsiteX31" fmla="*/ 1753598 w 2114197"/>
                <a:gd name="connsiteY31" fmla="*/ 504833 h 2079633"/>
                <a:gd name="connsiteX32" fmla="*/ 1766298 w 2114197"/>
                <a:gd name="connsiteY32" fmla="*/ 514358 h 2079633"/>
                <a:gd name="connsiteX33" fmla="*/ 1782173 w 2114197"/>
                <a:gd name="connsiteY33" fmla="*/ 530233 h 2079633"/>
                <a:gd name="connsiteX34" fmla="*/ 1813923 w 2114197"/>
                <a:gd name="connsiteY34" fmla="*/ 555633 h 2079633"/>
                <a:gd name="connsiteX35" fmla="*/ 1817098 w 2114197"/>
                <a:gd name="connsiteY35" fmla="*/ 565158 h 2079633"/>
                <a:gd name="connsiteX36" fmla="*/ 1842498 w 2114197"/>
                <a:gd name="connsiteY36" fmla="*/ 587383 h 2079633"/>
                <a:gd name="connsiteX37" fmla="*/ 1893298 w 2114197"/>
                <a:gd name="connsiteY37" fmla="*/ 644533 h 2079633"/>
                <a:gd name="connsiteX38" fmla="*/ 1918698 w 2114197"/>
                <a:gd name="connsiteY38" fmla="*/ 663583 h 2079633"/>
                <a:gd name="connsiteX39" fmla="*/ 1931398 w 2114197"/>
                <a:gd name="connsiteY39" fmla="*/ 669933 h 2079633"/>
                <a:gd name="connsiteX40" fmla="*/ 1979023 w 2114197"/>
                <a:gd name="connsiteY40" fmla="*/ 720733 h 2079633"/>
                <a:gd name="connsiteX41" fmla="*/ 1988548 w 2114197"/>
                <a:gd name="connsiteY41" fmla="*/ 730258 h 2079633"/>
                <a:gd name="connsiteX42" fmla="*/ 2017123 w 2114197"/>
                <a:gd name="connsiteY42" fmla="*/ 755658 h 2079633"/>
                <a:gd name="connsiteX43" fmla="*/ 2023473 w 2114197"/>
                <a:gd name="connsiteY43" fmla="*/ 765183 h 2079633"/>
                <a:gd name="connsiteX44" fmla="*/ 2048873 w 2114197"/>
                <a:gd name="connsiteY44" fmla="*/ 812808 h 2079633"/>
                <a:gd name="connsiteX45" fmla="*/ 2061573 w 2114197"/>
                <a:gd name="connsiteY45" fmla="*/ 850908 h 2079633"/>
                <a:gd name="connsiteX46" fmla="*/ 2064748 w 2114197"/>
                <a:gd name="connsiteY46" fmla="*/ 876308 h 2079633"/>
                <a:gd name="connsiteX47" fmla="*/ 2074273 w 2114197"/>
                <a:gd name="connsiteY47" fmla="*/ 901708 h 2079633"/>
                <a:gd name="connsiteX48" fmla="*/ 2077448 w 2114197"/>
                <a:gd name="connsiteY48" fmla="*/ 920758 h 2079633"/>
                <a:gd name="connsiteX49" fmla="*/ 2080623 w 2114197"/>
                <a:gd name="connsiteY49" fmla="*/ 930283 h 2079633"/>
                <a:gd name="connsiteX50" fmla="*/ 2112373 w 2114197"/>
                <a:gd name="connsiteY50" fmla="*/ 1038233 h 2079633"/>
                <a:gd name="connsiteX51" fmla="*/ 2109198 w 2114197"/>
                <a:gd name="connsiteY51" fmla="*/ 1181108 h 2079633"/>
                <a:gd name="connsiteX52" fmla="*/ 2099673 w 2114197"/>
                <a:gd name="connsiteY52" fmla="*/ 1193808 h 2079633"/>
                <a:gd name="connsiteX53" fmla="*/ 2093323 w 2114197"/>
                <a:gd name="connsiteY53" fmla="*/ 1212858 h 2079633"/>
                <a:gd name="connsiteX54" fmla="*/ 2061573 w 2114197"/>
                <a:gd name="connsiteY54" fmla="*/ 1273183 h 2079633"/>
                <a:gd name="connsiteX55" fmla="*/ 2052048 w 2114197"/>
                <a:gd name="connsiteY55" fmla="*/ 1292233 h 2079633"/>
                <a:gd name="connsiteX56" fmla="*/ 2029823 w 2114197"/>
                <a:gd name="connsiteY56" fmla="*/ 1330333 h 2079633"/>
                <a:gd name="connsiteX57" fmla="*/ 2004423 w 2114197"/>
                <a:gd name="connsiteY57" fmla="*/ 1371608 h 2079633"/>
                <a:gd name="connsiteX58" fmla="*/ 1975848 w 2114197"/>
                <a:gd name="connsiteY58" fmla="*/ 1393833 h 2079633"/>
                <a:gd name="connsiteX59" fmla="*/ 1963148 w 2114197"/>
                <a:gd name="connsiteY59" fmla="*/ 1409708 h 2079633"/>
                <a:gd name="connsiteX60" fmla="*/ 1928223 w 2114197"/>
                <a:gd name="connsiteY60" fmla="*/ 1435108 h 2079633"/>
                <a:gd name="connsiteX61" fmla="*/ 1905998 w 2114197"/>
                <a:gd name="connsiteY61" fmla="*/ 1454158 h 2079633"/>
                <a:gd name="connsiteX62" fmla="*/ 1848848 w 2114197"/>
                <a:gd name="connsiteY62" fmla="*/ 1485908 h 2079633"/>
                <a:gd name="connsiteX63" fmla="*/ 1810748 w 2114197"/>
                <a:gd name="connsiteY63" fmla="*/ 1517658 h 2079633"/>
                <a:gd name="connsiteX64" fmla="*/ 1791698 w 2114197"/>
                <a:gd name="connsiteY64" fmla="*/ 1533533 h 2079633"/>
                <a:gd name="connsiteX65" fmla="*/ 1775823 w 2114197"/>
                <a:gd name="connsiteY65" fmla="*/ 1543058 h 2079633"/>
                <a:gd name="connsiteX66" fmla="*/ 1718673 w 2114197"/>
                <a:gd name="connsiteY66" fmla="*/ 1606558 h 2079633"/>
                <a:gd name="connsiteX67" fmla="*/ 1709148 w 2114197"/>
                <a:gd name="connsiteY67" fmla="*/ 1619258 h 2079633"/>
                <a:gd name="connsiteX68" fmla="*/ 1680573 w 2114197"/>
                <a:gd name="connsiteY68" fmla="*/ 1651008 h 2079633"/>
                <a:gd name="connsiteX69" fmla="*/ 1658348 w 2114197"/>
                <a:gd name="connsiteY69" fmla="*/ 1679583 h 2079633"/>
                <a:gd name="connsiteX70" fmla="*/ 1623423 w 2114197"/>
                <a:gd name="connsiteY70" fmla="*/ 1714508 h 2079633"/>
                <a:gd name="connsiteX71" fmla="*/ 1604373 w 2114197"/>
                <a:gd name="connsiteY71" fmla="*/ 1733558 h 2079633"/>
                <a:gd name="connsiteX72" fmla="*/ 1569448 w 2114197"/>
                <a:gd name="connsiteY72" fmla="*/ 1774833 h 2079633"/>
                <a:gd name="connsiteX73" fmla="*/ 1559923 w 2114197"/>
                <a:gd name="connsiteY73" fmla="*/ 1787533 h 2079633"/>
                <a:gd name="connsiteX74" fmla="*/ 1547223 w 2114197"/>
                <a:gd name="connsiteY74" fmla="*/ 1797058 h 2079633"/>
                <a:gd name="connsiteX75" fmla="*/ 1540873 w 2114197"/>
                <a:gd name="connsiteY75" fmla="*/ 1806583 h 2079633"/>
                <a:gd name="connsiteX76" fmla="*/ 1524998 w 2114197"/>
                <a:gd name="connsiteY76" fmla="*/ 1816108 h 2079633"/>
                <a:gd name="connsiteX77" fmla="*/ 1480548 w 2114197"/>
                <a:gd name="connsiteY77" fmla="*/ 1860558 h 2079633"/>
                <a:gd name="connsiteX78" fmla="*/ 1464673 w 2114197"/>
                <a:gd name="connsiteY78" fmla="*/ 1879608 h 2079633"/>
                <a:gd name="connsiteX79" fmla="*/ 1455148 w 2114197"/>
                <a:gd name="connsiteY79" fmla="*/ 1892308 h 2079633"/>
                <a:gd name="connsiteX80" fmla="*/ 1445623 w 2114197"/>
                <a:gd name="connsiteY80" fmla="*/ 1901833 h 2079633"/>
                <a:gd name="connsiteX81" fmla="*/ 1432923 w 2114197"/>
                <a:gd name="connsiteY81" fmla="*/ 1917708 h 2079633"/>
                <a:gd name="connsiteX82" fmla="*/ 1423398 w 2114197"/>
                <a:gd name="connsiteY82" fmla="*/ 1927233 h 2079633"/>
                <a:gd name="connsiteX83" fmla="*/ 1417048 w 2114197"/>
                <a:gd name="connsiteY83" fmla="*/ 1936758 h 2079633"/>
                <a:gd name="connsiteX84" fmla="*/ 1391648 w 2114197"/>
                <a:gd name="connsiteY84" fmla="*/ 1955808 h 2079633"/>
                <a:gd name="connsiteX85" fmla="*/ 1356723 w 2114197"/>
                <a:gd name="connsiteY85" fmla="*/ 1971683 h 2079633"/>
                <a:gd name="connsiteX86" fmla="*/ 1344023 w 2114197"/>
                <a:gd name="connsiteY86" fmla="*/ 1978033 h 2079633"/>
                <a:gd name="connsiteX87" fmla="*/ 1331323 w 2114197"/>
                <a:gd name="connsiteY87" fmla="*/ 1987558 h 2079633"/>
                <a:gd name="connsiteX88" fmla="*/ 1312273 w 2114197"/>
                <a:gd name="connsiteY88" fmla="*/ 2006608 h 2079633"/>
                <a:gd name="connsiteX89" fmla="*/ 1270998 w 2114197"/>
                <a:gd name="connsiteY89" fmla="*/ 2025658 h 2079633"/>
                <a:gd name="connsiteX90" fmla="*/ 1258298 w 2114197"/>
                <a:gd name="connsiteY90" fmla="*/ 2032008 h 2079633"/>
                <a:gd name="connsiteX91" fmla="*/ 1236073 w 2114197"/>
                <a:gd name="connsiteY91" fmla="*/ 2038358 h 2079633"/>
                <a:gd name="connsiteX92" fmla="*/ 1226548 w 2114197"/>
                <a:gd name="connsiteY92" fmla="*/ 2044708 h 2079633"/>
                <a:gd name="connsiteX93" fmla="*/ 1217023 w 2114197"/>
                <a:gd name="connsiteY93" fmla="*/ 2047883 h 2079633"/>
                <a:gd name="connsiteX94" fmla="*/ 1175748 w 2114197"/>
                <a:gd name="connsiteY94" fmla="*/ 2057408 h 2079633"/>
                <a:gd name="connsiteX95" fmla="*/ 1150348 w 2114197"/>
                <a:gd name="connsiteY95" fmla="*/ 2070108 h 2079633"/>
                <a:gd name="connsiteX96" fmla="*/ 1102723 w 2114197"/>
                <a:gd name="connsiteY96" fmla="*/ 2079633 h 2079633"/>
                <a:gd name="connsiteX97" fmla="*/ 928098 w 2114197"/>
                <a:gd name="connsiteY97" fmla="*/ 2070108 h 2079633"/>
                <a:gd name="connsiteX98" fmla="*/ 886823 w 2114197"/>
                <a:gd name="connsiteY98" fmla="*/ 2054233 h 2079633"/>
                <a:gd name="connsiteX99" fmla="*/ 861423 w 2114197"/>
                <a:gd name="connsiteY99" fmla="*/ 2051058 h 2079633"/>
                <a:gd name="connsiteX100" fmla="*/ 845548 w 2114197"/>
                <a:gd name="connsiteY100" fmla="*/ 2035183 h 2079633"/>
                <a:gd name="connsiteX101" fmla="*/ 769348 w 2114197"/>
                <a:gd name="connsiteY101" fmla="*/ 1974858 h 2079633"/>
                <a:gd name="connsiteX102" fmla="*/ 747123 w 2114197"/>
                <a:gd name="connsiteY102" fmla="*/ 1946283 h 2079633"/>
                <a:gd name="connsiteX103" fmla="*/ 731248 w 2114197"/>
                <a:gd name="connsiteY103" fmla="*/ 1933583 h 2079633"/>
                <a:gd name="connsiteX104" fmla="*/ 715373 w 2114197"/>
                <a:gd name="connsiteY104" fmla="*/ 1917708 h 2079633"/>
                <a:gd name="connsiteX105" fmla="*/ 699498 w 2114197"/>
                <a:gd name="connsiteY105" fmla="*/ 1905008 h 2079633"/>
                <a:gd name="connsiteX106" fmla="*/ 680448 w 2114197"/>
                <a:gd name="connsiteY106" fmla="*/ 1885958 h 2079633"/>
                <a:gd name="connsiteX107" fmla="*/ 642348 w 2114197"/>
                <a:gd name="connsiteY107" fmla="*/ 1854208 h 2079633"/>
                <a:gd name="connsiteX108" fmla="*/ 601073 w 2114197"/>
                <a:gd name="connsiteY108" fmla="*/ 1806583 h 2079633"/>
                <a:gd name="connsiteX109" fmla="*/ 578848 w 2114197"/>
                <a:gd name="connsiteY109" fmla="*/ 1781183 h 2079633"/>
                <a:gd name="connsiteX110" fmla="*/ 537573 w 2114197"/>
                <a:gd name="connsiteY110" fmla="*/ 1739908 h 2079633"/>
                <a:gd name="connsiteX111" fmla="*/ 499473 w 2114197"/>
                <a:gd name="connsiteY111" fmla="*/ 1704983 h 2079633"/>
                <a:gd name="connsiteX112" fmla="*/ 470898 w 2114197"/>
                <a:gd name="connsiteY112" fmla="*/ 1670058 h 2079633"/>
                <a:gd name="connsiteX113" fmla="*/ 413748 w 2114197"/>
                <a:gd name="connsiteY113" fmla="*/ 1622433 h 2079633"/>
                <a:gd name="connsiteX114" fmla="*/ 401048 w 2114197"/>
                <a:gd name="connsiteY114" fmla="*/ 1612908 h 2079633"/>
                <a:gd name="connsiteX115" fmla="*/ 369298 w 2114197"/>
                <a:gd name="connsiteY115" fmla="*/ 1584333 h 2079633"/>
                <a:gd name="connsiteX116" fmla="*/ 328023 w 2114197"/>
                <a:gd name="connsiteY116" fmla="*/ 1558933 h 2079633"/>
                <a:gd name="connsiteX117" fmla="*/ 302623 w 2114197"/>
                <a:gd name="connsiteY117" fmla="*/ 1539883 h 2079633"/>
                <a:gd name="connsiteX118" fmla="*/ 223248 w 2114197"/>
                <a:gd name="connsiteY118" fmla="*/ 1470033 h 2079633"/>
                <a:gd name="connsiteX119" fmla="*/ 175623 w 2114197"/>
                <a:gd name="connsiteY119" fmla="*/ 1412883 h 2079633"/>
                <a:gd name="connsiteX120" fmla="*/ 118473 w 2114197"/>
                <a:gd name="connsiteY120" fmla="*/ 1339858 h 2079633"/>
                <a:gd name="connsiteX121" fmla="*/ 83548 w 2114197"/>
                <a:gd name="connsiteY121" fmla="*/ 1292233 h 2079633"/>
                <a:gd name="connsiteX122" fmla="*/ 64498 w 2114197"/>
                <a:gd name="connsiteY122" fmla="*/ 1266833 h 2079633"/>
                <a:gd name="connsiteX123" fmla="*/ 35923 w 2114197"/>
                <a:gd name="connsiteY123" fmla="*/ 1206508 h 2079633"/>
                <a:gd name="connsiteX124" fmla="*/ 26398 w 2114197"/>
                <a:gd name="connsiteY124" fmla="*/ 1171583 h 2079633"/>
                <a:gd name="connsiteX125" fmla="*/ 20048 w 2114197"/>
                <a:gd name="connsiteY125" fmla="*/ 1149358 h 2079633"/>
                <a:gd name="connsiteX126" fmla="*/ 16873 w 2114197"/>
                <a:gd name="connsiteY126" fmla="*/ 1133483 h 2079633"/>
                <a:gd name="connsiteX127" fmla="*/ 7348 w 2114197"/>
                <a:gd name="connsiteY127" fmla="*/ 1095383 h 2079633"/>
                <a:gd name="connsiteX128" fmla="*/ 998 w 2114197"/>
                <a:gd name="connsiteY128" fmla="*/ 1012833 h 2079633"/>
                <a:gd name="connsiteX129" fmla="*/ 10523 w 2114197"/>
                <a:gd name="connsiteY129" fmla="*/ 882658 h 2079633"/>
                <a:gd name="connsiteX130" fmla="*/ 35923 w 2114197"/>
                <a:gd name="connsiteY130" fmla="*/ 835033 h 2079633"/>
                <a:gd name="connsiteX131" fmla="*/ 51798 w 2114197"/>
                <a:gd name="connsiteY131" fmla="*/ 806458 h 2079633"/>
                <a:gd name="connsiteX132" fmla="*/ 83548 w 2114197"/>
                <a:gd name="connsiteY132" fmla="*/ 762008 h 2079633"/>
                <a:gd name="connsiteX133" fmla="*/ 99423 w 2114197"/>
                <a:gd name="connsiteY133" fmla="*/ 742958 h 2079633"/>
                <a:gd name="connsiteX134" fmla="*/ 143873 w 2114197"/>
                <a:gd name="connsiteY134" fmla="*/ 676283 h 2079633"/>
                <a:gd name="connsiteX135" fmla="*/ 308973 w 2114197"/>
                <a:gd name="connsiteY135" fmla="*/ 523883 h 2079633"/>
                <a:gd name="connsiteX136" fmla="*/ 366123 w 2114197"/>
                <a:gd name="connsiteY136" fmla="*/ 463558 h 2079633"/>
                <a:gd name="connsiteX137" fmla="*/ 416923 w 2114197"/>
                <a:gd name="connsiteY137" fmla="*/ 409583 h 2079633"/>
                <a:gd name="connsiteX138" fmla="*/ 445498 w 2114197"/>
                <a:gd name="connsiteY138" fmla="*/ 377833 h 2079633"/>
                <a:gd name="connsiteX139" fmla="*/ 493123 w 2114197"/>
                <a:gd name="connsiteY139" fmla="*/ 333383 h 2079633"/>
                <a:gd name="connsiteX140" fmla="*/ 712198 w 2114197"/>
                <a:gd name="connsiteY140" fmla="*/ 136533 h 2079633"/>
                <a:gd name="connsiteX141" fmla="*/ 750298 w 2114197"/>
                <a:gd name="connsiteY141" fmla="*/ 111133 h 2079633"/>
                <a:gd name="connsiteX142" fmla="*/ 785223 w 2114197"/>
                <a:gd name="connsiteY142" fmla="*/ 88908 h 2079633"/>
                <a:gd name="connsiteX143" fmla="*/ 883648 w 2114197"/>
                <a:gd name="connsiteY143" fmla="*/ 38108 h 2079633"/>
                <a:gd name="connsiteX144" fmla="*/ 1077323 w 2114197"/>
                <a:gd name="connsiteY144" fmla="*/ 8 h 2079633"/>
                <a:gd name="connsiteX145" fmla="*/ 1267823 w 2114197"/>
                <a:gd name="connsiteY145" fmla="*/ 34933 h 2079633"/>
                <a:gd name="connsiteX146" fmla="*/ 1296398 w 2114197"/>
                <a:gd name="connsiteY146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09837"/>
                <a:gd name="connsiteY0" fmla="*/ 25408 h 2079633"/>
                <a:gd name="connsiteX1" fmla="*/ 1217023 w 2109837"/>
                <a:gd name="connsiteY1" fmla="*/ 34933 h 2079633"/>
                <a:gd name="connsiteX2" fmla="*/ 1239248 w 2109837"/>
                <a:gd name="connsiteY2" fmla="*/ 38108 h 2079633"/>
                <a:gd name="connsiteX3" fmla="*/ 1258298 w 2109837"/>
                <a:gd name="connsiteY3" fmla="*/ 50808 h 2079633"/>
                <a:gd name="connsiteX4" fmla="*/ 1270998 w 2109837"/>
                <a:gd name="connsiteY4" fmla="*/ 57158 h 2079633"/>
                <a:gd name="connsiteX5" fmla="*/ 1290048 w 2109837"/>
                <a:gd name="connsiteY5" fmla="*/ 73033 h 2079633"/>
                <a:gd name="connsiteX6" fmla="*/ 1309098 w 2109837"/>
                <a:gd name="connsiteY6" fmla="*/ 79383 h 2079633"/>
                <a:gd name="connsiteX7" fmla="*/ 1324973 w 2109837"/>
                <a:gd name="connsiteY7" fmla="*/ 92083 h 2079633"/>
                <a:gd name="connsiteX8" fmla="*/ 1334498 w 2109837"/>
                <a:gd name="connsiteY8" fmla="*/ 95258 h 2079633"/>
                <a:gd name="connsiteX9" fmla="*/ 1340848 w 2109837"/>
                <a:gd name="connsiteY9" fmla="*/ 104783 h 2079633"/>
                <a:gd name="connsiteX10" fmla="*/ 1356723 w 2109837"/>
                <a:gd name="connsiteY10" fmla="*/ 114308 h 2079633"/>
                <a:gd name="connsiteX11" fmla="*/ 1382123 w 2109837"/>
                <a:gd name="connsiteY11" fmla="*/ 133358 h 2079633"/>
                <a:gd name="connsiteX12" fmla="*/ 1391648 w 2109837"/>
                <a:gd name="connsiteY12" fmla="*/ 139708 h 2079633"/>
                <a:gd name="connsiteX13" fmla="*/ 1432923 w 2109837"/>
                <a:gd name="connsiteY13" fmla="*/ 184158 h 2079633"/>
                <a:gd name="connsiteX14" fmla="*/ 1442448 w 2109837"/>
                <a:gd name="connsiteY14" fmla="*/ 196858 h 2079633"/>
                <a:gd name="connsiteX15" fmla="*/ 1455148 w 2109837"/>
                <a:gd name="connsiteY15" fmla="*/ 219083 h 2079633"/>
                <a:gd name="connsiteX16" fmla="*/ 1499598 w 2109837"/>
                <a:gd name="connsiteY16" fmla="*/ 260358 h 2079633"/>
                <a:gd name="connsiteX17" fmla="*/ 1512298 w 2109837"/>
                <a:gd name="connsiteY17" fmla="*/ 276233 h 2079633"/>
                <a:gd name="connsiteX18" fmla="*/ 1524998 w 2109837"/>
                <a:gd name="connsiteY18" fmla="*/ 288933 h 2079633"/>
                <a:gd name="connsiteX19" fmla="*/ 1531348 w 2109837"/>
                <a:gd name="connsiteY19" fmla="*/ 298458 h 2079633"/>
                <a:gd name="connsiteX20" fmla="*/ 1550398 w 2109837"/>
                <a:gd name="connsiteY20" fmla="*/ 317508 h 2079633"/>
                <a:gd name="connsiteX21" fmla="*/ 1559923 w 2109837"/>
                <a:gd name="connsiteY21" fmla="*/ 327033 h 2079633"/>
                <a:gd name="connsiteX22" fmla="*/ 1569448 w 2109837"/>
                <a:gd name="connsiteY22" fmla="*/ 339733 h 2079633"/>
                <a:gd name="connsiteX23" fmla="*/ 1594848 w 2109837"/>
                <a:gd name="connsiteY23" fmla="*/ 358783 h 2079633"/>
                <a:gd name="connsiteX24" fmla="*/ 1632948 w 2109837"/>
                <a:gd name="connsiteY24" fmla="*/ 390533 h 2079633"/>
                <a:gd name="connsiteX25" fmla="*/ 1648823 w 2109837"/>
                <a:gd name="connsiteY25" fmla="*/ 409583 h 2079633"/>
                <a:gd name="connsiteX26" fmla="*/ 1661523 w 2109837"/>
                <a:gd name="connsiteY26" fmla="*/ 419108 h 2079633"/>
                <a:gd name="connsiteX27" fmla="*/ 1683748 w 2109837"/>
                <a:gd name="connsiteY27" fmla="*/ 441333 h 2079633"/>
                <a:gd name="connsiteX28" fmla="*/ 1702798 w 2109837"/>
                <a:gd name="connsiteY28" fmla="*/ 460383 h 2079633"/>
                <a:gd name="connsiteX29" fmla="*/ 1712323 w 2109837"/>
                <a:gd name="connsiteY29" fmla="*/ 469908 h 2079633"/>
                <a:gd name="connsiteX30" fmla="*/ 1744073 w 2109837"/>
                <a:gd name="connsiteY30" fmla="*/ 495308 h 2079633"/>
                <a:gd name="connsiteX31" fmla="*/ 1753598 w 2109837"/>
                <a:gd name="connsiteY31" fmla="*/ 504833 h 2079633"/>
                <a:gd name="connsiteX32" fmla="*/ 1766298 w 2109837"/>
                <a:gd name="connsiteY32" fmla="*/ 514358 h 2079633"/>
                <a:gd name="connsiteX33" fmla="*/ 1782173 w 2109837"/>
                <a:gd name="connsiteY33" fmla="*/ 530233 h 2079633"/>
                <a:gd name="connsiteX34" fmla="*/ 1813923 w 2109837"/>
                <a:gd name="connsiteY34" fmla="*/ 555633 h 2079633"/>
                <a:gd name="connsiteX35" fmla="*/ 1817098 w 2109837"/>
                <a:gd name="connsiteY35" fmla="*/ 565158 h 2079633"/>
                <a:gd name="connsiteX36" fmla="*/ 1842498 w 2109837"/>
                <a:gd name="connsiteY36" fmla="*/ 587383 h 2079633"/>
                <a:gd name="connsiteX37" fmla="*/ 1893298 w 2109837"/>
                <a:gd name="connsiteY37" fmla="*/ 644533 h 2079633"/>
                <a:gd name="connsiteX38" fmla="*/ 1918698 w 2109837"/>
                <a:gd name="connsiteY38" fmla="*/ 663583 h 2079633"/>
                <a:gd name="connsiteX39" fmla="*/ 1931398 w 2109837"/>
                <a:gd name="connsiteY39" fmla="*/ 669933 h 2079633"/>
                <a:gd name="connsiteX40" fmla="*/ 1979023 w 2109837"/>
                <a:gd name="connsiteY40" fmla="*/ 720733 h 2079633"/>
                <a:gd name="connsiteX41" fmla="*/ 1988548 w 2109837"/>
                <a:gd name="connsiteY41" fmla="*/ 730258 h 2079633"/>
                <a:gd name="connsiteX42" fmla="*/ 2017123 w 2109837"/>
                <a:gd name="connsiteY42" fmla="*/ 755658 h 2079633"/>
                <a:gd name="connsiteX43" fmla="*/ 2023473 w 2109837"/>
                <a:gd name="connsiteY43" fmla="*/ 765183 h 2079633"/>
                <a:gd name="connsiteX44" fmla="*/ 2048873 w 2109837"/>
                <a:gd name="connsiteY44" fmla="*/ 812808 h 2079633"/>
                <a:gd name="connsiteX45" fmla="*/ 2061573 w 2109837"/>
                <a:gd name="connsiteY45" fmla="*/ 850908 h 2079633"/>
                <a:gd name="connsiteX46" fmla="*/ 2064748 w 2109837"/>
                <a:gd name="connsiteY46" fmla="*/ 876308 h 2079633"/>
                <a:gd name="connsiteX47" fmla="*/ 2074273 w 2109837"/>
                <a:gd name="connsiteY47" fmla="*/ 901708 h 2079633"/>
                <a:gd name="connsiteX48" fmla="*/ 2077448 w 2109837"/>
                <a:gd name="connsiteY48" fmla="*/ 920758 h 2079633"/>
                <a:gd name="connsiteX49" fmla="*/ 2080623 w 2109837"/>
                <a:gd name="connsiteY49" fmla="*/ 930283 h 2079633"/>
                <a:gd name="connsiteX50" fmla="*/ 2109198 w 2109837"/>
                <a:gd name="connsiteY50" fmla="*/ 1181108 h 2079633"/>
                <a:gd name="connsiteX51" fmla="*/ 2099673 w 2109837"/>
                <a:gd name="connsiteY51" fmla="*/ 1193808 h 2079633"/>
                <a:gd name="connsiteX52" fmla="*/ 2093323 w 2109837"/>
                <a:gd name="connsiteY52" fmla="*/ 1212858 h 2079633"/>
                <a:gd name="connsiteX53" fmla="*/ 2061573 w 2109837"/>
                <a:gd name="connsiteY53" fmla="*/ 1273183 h 2079633"/>
                <a:gd name="connsiteX54" fmla="*/ 2052048 w 2109837"/>
                <a:gd name="connsiteY54" fmla="*/ 1292233 h 2079633"/>
                <a:gd name="connsiteX55" fmla="*/ 2029823 w 2109837"/>
                <a:gd name="connsiteY55" fmla="*/ 1330333 h 2079633"/>
                <a:gd name="connsiteX56" fmla="*/ 2004423 w 2109837"/>
                <a:gd name="connsiteY56" fmla="*/ 1371608 h 2079633"/>
                <a:gd name="connsiteX57" fmla="*/ 1975848 w 2109837"/>
                <a:gd name="connsiteY57" fmla="*/ 1393833 h 2079633"/>
                <a:gd name="connsiteX58" fmla="*/ 1963148 w 2109837"/>
                <a:gd name="connsiteY58" fmla="*/ 1409708 h 2079633"/>
                <a:gd name="connsiteX59" fmla="*/ 1928223 w 2109837"/>
                <a:gd name="connsiteY59" fmla="*/ 1435108 h 2079633"/>
                <a:gd name="connsiteX60" fmla="*/ 1905998 w 2109837"/>
                <a:gd name="connsiteY60" fmla="*/ 1454158 h 2079633"/>
                <a:gd name="connsiteX61" fmla="*/ 1848848 w 2109837"/>
                <a:gd name="connsiteY61" fmla="*/ 1485908 h 2079633"/>
                <a:gd name="connsiteX62" fmla="*/ 1810748 w 2109837"/>
                <a:gd name="connsiteY62" fmla="*/ 1517658 h 2079633"/>
                <a:gd name="connsiteX63" fmla="*/ 1791698 w 2109837"/>
                <a:gd name="connsiteY63" fmla="*/ 1533533 h 2079633"/>
                <a:gd name="connsiteX64" fmla="*/ 1775823 w 2109837"/>
                <a:gd name="connsiteY64" fmla="*/ 1543058 h 2079633"/>
                <a:gd name="connsiteX65" fmla="*/ 1718673 w 2109837"/>
                <a:gd name="connsiteY65" fmla="*/ 1606558 h 2079633"/>
                <a:gd name="connsiteX66" fmla="*/ 1709148 w 2109837"/>
                <a:gd name="connsiteY66" fmla="*/ 1619258 h 2079633"/>
                <a:gd name="connsiteX67" fmla="*/ 1680573 w 2109837"/>
                <a:gd name="connsiteY67" fmla="*/ 1651008 h 2079633"/>
                <a:gd name="connsiteX68" fmla="*/ 1658348 w 2109837"/>
                <a:gd name="connsiteY68" fmla="*/ 1679583 h 2079633"/>
                <a:gd name="connsiteX69" fmla="*/ 1623423 w 2109837"/>
                <a:gd name="connsiteY69" fmla="*/ 1714508 h 2079633"/>
                <a:gd name="connsiteX70" fmla="*/ 1604373 w 2109837"/>
                <a:gd name="connsiteY70" fmla="*/ 1733558 h 2079633"/>
                <a:gd name="connsiteX71" fmla="*/ 1569448 w 2109837"/>
                <a:gd name="connsiteY71" fmla="*/ 1774833 h 2079633"/>
                <a:gd name="connsiteX72" fmla="*/ 1559923 w 2109837"/>
                <a:gd name="connsiteY72" fmla="*/ 1787533 h 2079633"/>
                <a:gd name="connsiteX73" fmla="*/ 1547223 w 2109837"/>
                <a:gd name="connsiteY73" fmla="*/ 1797058 h 2079633"/>
                <a:gd name="connsiteX74" fmla="*/ 1540873 w 2109837"/>
                <a:gd name="connsiteY74" fmla="*/ 1806583 h 2079633"/>
                <a:gd name="connsiteX75" fmla="*/ 1524998 w 2109837"/>
                <a:gd name="connsiteY75" fmla="*/ 1816108 h 2079633"/>
                <a:gd name="connsiteX76" fmla="*/ 1480548 w 2109837"/>
                <a:gd name="connsiteY76" fmla="*/ 1860558 h 2079633"/>
                <a:gd name="connsiteX77" fmla="*/ 1464673 w 2109837"/>
                <a:gd name="connsiteY77" fmla="*/ 1879608 h 2079633"/>
                <a:gd name="connsiteX78" fmla="*/ 1455148 w 2109837"/>
                <a:gd name="connsiteY78" fmla="*/ 1892308 h 2079633"/>
                <a:gd name="connsiteX79" fmla="*/ 1445623 w 2109837"/>
                <a:gd name="connsiteY79" fmla="*/ 1901833 h 2079633"/>
                <a:gd name="connsiteX80" fmla="*/ 1432923 w 2109837"/>
                <a:gd name="connsiteY80" fmla="*/ 1917708 h 2079633"/>
                <a:gd name="connsiteX81" fmla="*/ 1423398 w 2109837"/>
                <a:gd name="connsiteY81" fmla="*/ 1927233 h 2079633"/>
                <a:gd name="connsiteX82" fmla="*/ 1417048 w 2109837"/>
                <a:gd name="connsiteY82" fmla="*/ 1936758 h 2079633"/>
                <a:gd name="connsiteX83" fmla="*/ 1391648 w 2109837"/>
                <a:gd name="connsiteY83" fmla="*/ 1955808 h 2079633"/>
                <a:gd name="connsiteX84" fmla="*/ 1356723 w 2109837"/>
                <a:gd name="connsiteY84" fmla="*/ 1971683 h 2079633"/>
                <a:gd name="connsiteX85" fmla="*/ 1344023 w 2109837"/>
                <a:gd name="connsiteY85" fmla="*/ 1978033 h 2079633"/>
                <a:gd name="connsiteX86" fmla="*/ 1331323 w 2109837"/>
                <a:gd name="connsiteY86" fmla="*/ 1987558 h 2079633"/>
                <a:gd name="connsiteX87" fmla="*/ 1312273 w 2109837"/>
                <a:gd name="connsiteY87" fmla="*/ 2006608 h 2079633"/>
                <a:gd name="connsiteX88" fmla="*/ 1270998 w 2109837"/>
                <a:gd name="connsiteY88" fmla="*/ 2025658 h 2079633"/>
                <a:gd name="connsiteX89" fmla="*/ 1258298 w 2109837"/>
                <a:gd name="connsiteY89" fmla="*/ 2032008 h 2079633"/>
                <a:gd name="connsiteX90" fmla="*/ 1236073 w 2109837"/>
                <a:gd name="connsiteY90" fmla="*/ 2038358 h 2079633"/>
                <a:gd name="connsiteX91" fmla="*/ 1226548 w 2109837"/>
                <a:gd name="connsiteY91" fmla="*/ 2044708 h 2079633"/>
                <a:gd name="connsiteX92" fmla="*/ 1217023 w 2109837"/>
                <a:gd name="connsiteY92" fmla="*/ 2047883 h 2079633"/>
                <a:gd name="connsiteX93" fmla="*/ 1175748 w 2109837"/>
                <a:gd name="connsiteY93" fmla="*/ 2057408 h 2079633"/>
                <a:gd name="connsiteX94" fmla="*/ 1150348 w 2109837"/>
                <a:gd name="connsiteY94" fmla="*/ 2070108 h 2079633"/>
                <a:gd name="connsiteX95" fmla="*/ 1102723 w 2109837"/>
                <a:gd name="connsiteY95" fmla="*/ 2079633 h 2079633"/>
                <a:gd name="connsiteX96" fmla="*/ 928098 w 2109837"/>
                <a:gd name="connsiteY96" fmla="*/ 2070108 h 2079633"/>
                <a:gd name="connsiteX97" fmla="*/ 886823 w 2109837"/>
                <a:gd name="connsiteY97" fmla="*/ 2054233 h 2079633"/>
                <a:gd name="connsiteX98" fmla="*/ 861423 w 2109837"/>
                <a:gd name="connsiteY98" fmla="*/ 2051058 h 2079633"/>
                <a:gd name="connsiteX99" fmla="*/ 845548 w 2109837"/>
                <a:gd name="connsiteY99" fmla="*/ 2035183 h 2079633"/>
                <a:gd name="connsiteX100" fmla="*/ 769348 w 2109837"/>
                <a:gd name="connsiteY100" fmla="*/ 1974858 h 2079633"/>
                <a:gd name="connsiteX101" fmla="*/ 747123 w 2109837"/>
                <a:gd name="connsiteY101" fmla="*/ 1946283 h 2079633"/>
                <a:gd name="connsiteX102" fmla="*/ 731248 w 2109837"/>
                <a:gd name="connsiteY102" fmla="*/ 1933583 h 2079633"/>
                <a:gd name="connsiteX103" fmla="*/ 715373 w 2109837"/>
                <a:gd name="connsiteY103" fmla="*/ 1917708 h 2079633"/>
                <a:gd name="connsiteX104" fmla="*/ 699498 w 2109837"/>
                <a:gd name="connsiteY104" fmla="*/ 1905008 h 2079633"/>
                <a:gd name="connsiteX105" fmla="*/ 680448 w 2109837"/>
                <a:gd name="connsiteY105" fmla="*/ 1885958 h 2079633"/>
                <a:gd name="connsiteX106" fmla="*/ 642348 w 2109837"/>
                <a:gd name="connsiteY106" fmla="*/ 1854208 h 2079633"/>
                <a:gd name="connsiteX107" fmla="*/ 601073 w 2109837"/>
                <a:gd name="connsiteY107" fmla="*/ 1806583 h 2079633"/>
                <a:gd name="connsiteX108" fmla="*/ 578848 w 2109837"/>
                <a:gd name="connsiteY108" fmla="*/ 1781183 h 2079633"/>
                <a:gd name="connsiteX109" fmla="*/ 537573 w 2109837"/>
                <a:gd name="connsiteY109" fmla="*/ 1739908 h 2079633"/>
                <a:gd name="connsiteX110" fmla="*/ 499473 w 2109837"/>
                <a:gd name="connsiteY110" fmla="*/ 1704983 h 2079633"/>
                <a:gd name="connsiteX111" fmla="*/ 470898 w 2109837"/>
                <a:gd name="connsiteY111" fmla="*/ 1670058 h 2079633"/>
                <a:gd name="connsiteX112" fmla="*/ 413748 w 2109837"/>
                <a:gd name="connsiteY112" fmla="*/ 1622433 h 2079633"/>
                <a:gd name="connsiteX113" fmla="*/ 401048 w 2109837"/>
                <a:gd name="connsiteY113" fmla="*/ 1612908 h 2079633"/>
                <a:gd name="connsiteX114" fmla="*/ 369298 w 2109837"/>
                <a:gd name="connsiteY114" fmla="*/ 1584333 h 2079633"/>
                <a:gd name="connsiteX115" fmla="*/ 328023 w 2109837"/>
                <a:gd name="connsiteY115" fmla="*/ 1558933 h 2079633"/>
                <a:gd name="connsiteX116" fmla="*/ 302623 w 2109837"/>
                <a:gd name="connsiteY116" fmla="*/ 1539883 h 2079633"/>
                <a:gd name="connsiteX117" fmla="*/ 223248 w 2109837"/>
                <a:gd name="connsiteY117" fmla="*/ 1470033 h 2079633"/>
                <a:gd name="connsiteX118" fmla="*/ 175623 w 2109837"/>
                <a:gd name="connsiteY118" fmla="*/ 1412883 h 2079633"/>
                <a:gd name="connsiteX119" fmla="*/ 118473 w 2109837"/>
                <a:gd name="connsiteY119" fmla="*/ 1339858 h 2079633"/>
                <a:gd name="connsiteX120" fmla="*/ 83548 w 2109837"/>
                <a:gd name="connsiteY120" fmla="*/ 1292233 h 2079633"/>
                <a:gd name="connsiteX121" fmla="*/ 64498 w 2109837"/>
                <a:gd name="connsiteY121" fmla="*/ 1266833 h 2079633"/>
                <a:gd name="connsiteX122" fmla="*/ 35923 w 2109837"/>
                <a:gd name="connsiteY122" fmla="*/ 1206508 h 2079633"/>
                <a:gd name="connsiteX123" fmla="*/ 26398 w 2109837"/>
                <a:gd name="connsiteY123" fmla="*/ 1171583 h 2079633"/>
                <a:gd name="connsiteX124" fmla="*/ 20048 w 2109837"/>
                <a:gd name="connsiteY124" fmla="*/ 1149358 h 2079633"/>
                <a:gd name="connsiteX125" fmla="*/ 16873 w 2109837"/>
                <a:gd name="connsiteY125" fmla="*/ 1133483 h 2079633"/>
                <a:gd name="connsiteX126" fmla="*/ 7348 w 2109837"/>
                <a:gd name="connsiteY126" fmla="*/ 1095383 h 2079633"/>
                <a:gd name="connsiteX127" fmla="*/ 998 w 2109837"/>
                <a:gd name="connsiteY127" fmla="*/ 1012833 h 2079633"/>
                <a:gd name="connsiteX128" fmla="*/ 10523 w 2109837"/>
                <a:gd name="connsiteY128" fmla="*/ 882658 h 2079633"/>
                <a:gd name="connsiteX129" fmla="*/ 35923 w 2109837"/>
                <a:gd name="connsiteY129" fmla="*/ 835033 h 2079633"/>
                <a:gd name="connsiteX130" fmla="*/ 51798 w 2109837"/>
                <a:gd name="connsiteY130" fmla="*/ 806458 h 2079633"/>
                <a:gd name="connsiteX131" fmla="*/ 83548 w 2109837"/>
                <a:gd name="connsiteY131" fmla="*/ 762008 h 2079633"/>
                <a:gd name="connsiteX132" fmla="*/ 99423 w 2109837"/>
                <a:gd name="connsiteY132" fmla="*/ 742958 h 2079633"/>
                <a:gd name="connsiteX133" fmla="*/ 143873 w 2109837"/>
                <a:gd name="connsiteY133" fmla="*/ 676283 h 2079633"/>
                <a:gd name="connsiteX134" fmla="*/ 308973 w 2109837"/>
                <a:gd name="connsiteY134" fmla="*/ 523883 h 2079633"/>
                <a:gd name="connsiteX135" fmla="*/ 366123 w 2109837"/>
                <a:gd name="connsiteY135" fmla="*/ 463558 h 2079633"/>
                <a:gd name="connsiteX136" fmla="*/ 416923 w 2109837"/>
                <a:gd name="connsiteY136" fmla="*/ 409583 h 2079633"/>
                <a:gd name="connsiteX137" fmla="*/ 445498 w 2109837"/>
                <a:gd name="connsiteY137" fmla="*/ 377833 h 2079633"/>
                <a:gd name="connsiteX138" fmla="*/ 493123 w 2109837"/>
                <a:gd name="connsiteY138" fmla="*/ 333383 h 2079633"/>
                <a:gd name="connsiteX139" fmla="*/ 712198 w 2109837"/>
                <a:gd name="connsiteY139" fmla="*/ 136533 h 2079633"/>
                <a:gd name="connsiteX140" fmla="*/ 750298 w 2109837"/>
                <a:gd name="connsiteY140" fmla="*/ 111133 h 2079633"/>
                <a:gd name="connsiteX141" fmla="*/ 785223 w 2109837"/>
                <a:gd name="connsiteY141" fmla="*/ 88908 h 2079633"/>
                <a:gd name="connsiteX142" fmla="*/ 883648 w 2109837"/>
                <a:gd name="connsiteY142" fmla="*/ 38108 h 2079633"/>
                <a:gd name="connsiteX143" fmla="*/ 1077323 w 2109837"/>
                <a:gd name="connsiteY143" fmla="*/ 8 h 2079633"/>
                <a:gd name="connsiteX144" fmla="*/ 1267823 w 2109837"/>
                <a:gd name="connsiteY144" fmla="*/ 34933 h 2079633"/>
                <a:gd name="connsiteX145" fmla="*/ 1296398 w 2109837"/>
                <a:gd name="connsiteY145" fmla="*/ 47633 h 2079633"/>
                <a:gd name="connsiteX0" fmla="*/ 1197973 w 2119028"/>
                <a:gd name="connsiteY0" fmla="*/ 25408 h 2079633"/>
                <a:gd name="connsiteX1" fmla="*/ 1217023 w 2119028"/>
                <a:gd name="connsiteY1" fmla="*/ 34933 h 2079633"/>
                <a:gd name="connsiteX2" fmla="*/ 1239248 w 2119028"/>
                <a:gd name="connsiteY2" fmla="*/ 38108 h 2079633"/>
                <a:gd name="connsiteX3" fmla="*/ 1258298 w 2119028"/>
                <a:gd name="connsiteY3" fmla="*/ 50808 h 2079633"/>
                <a:gd name="connsiteX4" fmla="*/ 1270998 w 2119028"/>
                <a:gd name="connsiteY4" fmla="*/ 57158 h 2079633"/>
                <a:gd name="connsiteX5" fmla="*/ 1290048 w 2119028"/>
                <a:gd name="connsiteY5" fmla="*/ 73033 h 2079633"/>
                <a:gd name="connsiteX6" fmla="*/ 1309098 w 2119028"/>
                <a:gd name="connsiteY6" fmla="*/ 79383 h 2079633"/>
                <a:gd name="connsiteX7" fmla="*/ 1324973 w 2119028"/>
                <a:gd name="connsiteY7" fmla="*/ 92083 h 2079633"/>
                <a:gd name="connsiteX8" fmla="*/ 1334498 w 2119028"/>
                <a:gd name="connsiteY8" fmla="*/ 95258 h 2079633"/>
                <a:gd name="connsiteX9" fmla="*/ 1340848 w 2119028"/>
                <a:gd name="connsiteY9" fmla="*/ 104783 h 2079633"/>
                <a:gd name="connsiteX10" fmla="*/ 1356723 w 2119028"/>
                <a:gd name="connsiteY10" fmla="*/ 114308 h 2079633"/>
                <a:gd name="connsiteX11" fmla="*/ 1382123 w 2119028"/>
                <a:gd name="connsiteY11" fmla="*/ 133358 h 2079633"/>
                <a:gd name="connsiteX12" fmla="*/ 1391648 w 2119028"/>
                <a:gd name="connsiteY12" fmla="*/ 139708 h 2079633"/>
                <a:gd name="connsiteX13" fmla="*/ 1432923 w 2119028"/>
                <a:gd name="connsiteY13" fmla="*/ 184158 h 2079633"/>
                <a:gd name="connsiteX14" fmla="*/ 1442448 w 2119028"/>
                <a:gd name="connsiteY14" fmla="*/ 196858 h 2079633"/>
                <a:gd name="connsiteX15" fmla="*/ 1455148 w 2119028"/>
                <a:gd name="connsiteY15" fmla="*/ 219083 h 2079633"/>
                <a:gd name="connsiteX16" fmla="*/ 1499598 w 2119028"/>
                <a:gd name="connsiteY16" fmla="*/ 260358 h 2079633"/>
                <a:gd name="connsiteX17" fmla="*/ 1512298 w 2119028"/>
                <a:gd name="connsiteY17" fmla="*/ 276233 h 2079633"/>
                <a:gd name="connsiteX18" fmla="*/ 1524998 w 2119028"/>
                <a:gd name="connsiteY18" fmla="*/ 288933 h 2079633"/>
                <a:gd name="connsiteX19" fmla="*/ 1531348 w 2119028"/>
                <a:gd name="connsiteY19" fmla="*/ 298458 h 2079633"/>
                <a:gd name="connsiteX20" fmla="*/ 1550398 w 2119028"/>
                <a:gd name="connsiteY20" fmla="*/ 317508 h 2079633"/>
                <a:gd name="connsiteX21" fmla="*/ 1559923 w 2119028"/>
                <a:gd name="connsiteY21" fmla="*/ 327033 h 2079633"/>
                <a:gd name="connsiteX22" fmla="*/ 1569448 w 2119028"/>
                <a:gd name="connsiteY22" fmla="*/ 339733 h 2079633"/>
                <a:gd name="connsiteX23" fmla="*/ 1594848 w 2119028"/>
                <a:gd name="connsiteY23" fmla="*/ 358783 h 2079633"/>
                <a:gd name="connsiteX24" fmla="*/ 1632948 w 2119028"/>
                <a:gd name="connsiteY24" fmla="*/ 390533 h 2079633"/>
                <a:gd name="connsiteX25" fmla="*/ 1648823 w 2119028"/>
                <a:gd name="connsiteY25" fmla="*/ 409583 h 2079633"/>
                <a:gd name="connsiteX26" fmla="*/ 1661523 w 2119028"/>
                <a:gd name="connsiteY26" fmla="*/ 419108 h 2079633"/>
                <a:gd name="connsiteX27" fmla="*/ 1683748 w 2119028"/>
                <a:gd name="connsiteY27" fmla="*/ 441333 h 2079633"/>
                <a:gd name="connsiteX28" fmla="*/ 1702798 w 2119028"/>
                <a:gd name="connsiteY28" fmla="*/ 460383 h 2079633"/>
                <a:gd name="connsiteX29" fmla="*/ 1712323 w 2119028"/>
                <a:gd name="connsiteY29" fmla="*/ 469908 h 2079633"/>
                <a:gd name="connsiteX30" fmla="*/ 1744073 w 2119028"/>
                <a:gd name="connsiteY30" fmla="*/ 495308 h 2079633"/>
                <a:gd name="connsiteX31" fmla="*/ 1753598 w 2119028"/>
                <a:gd name="connsiteY31" fmla="*/ 504833 h 2079633"/>
                <a:gd name="connsiteX32" fmla="*/ 1766298 w 2119028"/>
                <a:gd name="connsiteY32" fmla="*/ 514358 h 2079633"/>
                <a:gd name="connsiteX33" fmla="*/ 1782173 w 2119028"/>
                <a:gd name="connsiteY33" fmla="*/ 530233 h 2079633"/>
                <a:gd name="connsiteX34" fmla="*/ 1813923 w 2119028"/>
                <a:gd name="connsiteY34" fmla="*/ 555633 h 2079633"/>
                <a:gd name="connsiteX35" fmla="*/ 1817098 w 2119028"/>
                <a:gd name="connsiteY35" fmla="*/ 565158 h 2079633"/>
                <a:gd name="connsiteX36" fmla="*/ 1842498 w 2119028"/>
                <a:gd name="connsiteY36" fmla="*/ 587383 h 2079633"/>
                <a:gd name="connsiteX37" fmla="*/ 1893298 w 2119028"/>
                <a:gd name="connsiteY37" fmla="*/ 644533 h 2079633"/>
                <a:gd name="connsiteX38" fmla="*/ 1918698 w 2119028"/>
                <a:gd name="connsiteY38" fmla="*/ 663583 h 2079633"/>
                <a:gd name="connsiteX39" fmla="*/ 1931398 w 2119028"/>
                <a:gd name="connsiteY39" fmla="*/ 669933 h 2079633"/>
                <a:gd name="connsiteX40" fmla="*/ 1979023 w 2119028"/>
                <a:gd name="connsiteY40" fmla="*/ 720733 h 2079633"/>
                <a:gd name="connsiteX41" fmla="*/ 1988548 w 2119028"/>
                <a:gd name="connsiteY41" fmla="*/ 730258 h 2079633"/>
                <a:gd name="connsiteX42" fmla="*/ 2017123 w 2119028"/>
                <a:gd name="connsiteY42" fmla="*/ 755658 h 2079633"/>
                <a:gd name="connsiteX43" fmla="*/ 2023473 w 2119028"/>
                <a:gd name="connsiteY43" fmla="*/ 765183 h 2079633"/>
                <a:gd name="connsiteX44" fmla="*/ 2048873 w 2119028"/>
                <a:gd name="connsiteY44" fmla="*/ 812808 h 2079633"/>
                <a:gd name="connsiteX45" fmla="*/ 2061573 w 2119028"/>
                <a:gd name="connsiteY45" fmla="*/ 850908 h 2079633"/>
                <a:gd name="connsiteX46" fmla="*/ 2064748 w 2119028"/>
                <a:gd name="connsiteY46" fmla="*/ 876308 h 2079633"/>
                <a:gd name="connsiteX47" fmla="*/ 2074273 w 2119028"/>
                <a:gd name="connsiteY47" fmla="*/ 901708 h 2079633"/>
                <a:gd name="connsiteX48" fmla="*/ 2077448 w 2119028"/>
                <a:gd name="connsiteY48" fmla="*/ 920758 h 2079633"/>
                <a:gd name="connsiteX49" fmla="*/ 2099673 w 2119028"/>
                <a:gd name="connsiteY49" fmla="*/ 955683 h 2079633"/>
                <a:gd name="connsiteX50" fmla="*/ 2109198 w 2119028"/>
                <a:gd name="connsiteY50" fmla="*/ 1181108 h 2079633"/>
                <a:gd name="connsiteX51" fmla="*/ 2099673 w 2119028"/>
                <a:gd name="connsiteY51" fmla="*/ 1193808 h 2079633"/>
                <a:gd name="connsiteX52" fmla="*/ 2093323 w 2119028"/>
                <a:gd name="connsiteY52" fmla="*/ 1212858 h 2079633"/>
                <a:gd name="connsiteX53" fmla="*/ 2061573 w 2119028"/>
                <a:gd name="connsiteY53" fmla="*/ 1273183 h 2079633"/>
                <a:gd name="connsiteX54" fmla="*/ 2052048 w 2119028"/>
                <a:gd name="connsiteY54" fmla="*/ 1292233 h 2079633"/>
                <a:gd name="connsiteX55" fmla="*/ 2029823 w 2119028"/>
                <a:gd name="connsiteY55" fmla="*/ 1330333 h 2079633"/>
                <a:gd name="connsiteX56" fmla="*/ 2004423 w 2119028"/>
                <a:gd name="connsiteY56" fmla="*/ 1371608 h 2079633"/>
                <a:gd name="connsiteX57" fmla="*/ 1975848 w 2119028"/>
                <a:gd name="connsiteY57" fmla="*/ 1393833 h 2079633"/>
                <a:gd name="connsiteX58" fmla="*/ 1963148 w 2119028"/>
                <a:gd name="connsiteY58" fmla="*/ 1409708 h 2079633"/>
                <a:gd name="connsiteX59" fmla="*/ 1928223 w 2119028"/>
                <a:gd name="connsiteY59" fmla="*/ 1435108 h 2079633"/>
                <a:gd name="connsiteX60" fmla="*/ 1905998 w 2119028"/>
                <a:gd name="connsiteY60" fmla="*/ 1454158 h 2079633"/>
                <a:gd name="connsiteX61" fmla="*/ 1848848 w 2119028"/>
                <a:gd name="connsiteY61" fmla="*/ 1485908 h 2079633"/>
                <a:gd name="connsiteX62" fmla="*/ 1810748 w 2119028"/>
                <a:gd name="connsiteY62" fmla="*/ 1517658 h 2079633"/>
                <a:gd name="connsiteX63" fmla="*/ 1791698 w 2119028"/>
                <a:gd name="connsiteY63" fmla="*/ 1533533 h 2079633"/>
                <a:gd name="connsiteX64" fmla="*/ 1775823 w 2119028"/>
                <a:gd name="connsiteY64" fmla="*/ 1543058 h 2079633"/>
                <a:gd name="connsiteX65" fmla="*/ 1718673 w 2119028"/>
                <a:gd name="connsiteY65" fmla="*/ 1606558 h 2079633"/>
                <a:gd name="connsiteX66" fmla="*/ 1709148 w 2119028"/>
                <a:gd name="connsiteY66" fmla="*/ 1619258 h 2079633"/>
                <a:gd name="connsiteX67" fmla="*/ 1680573 w 2119028"/>
                <a:gd name="connsiteY67" fmla="*/ 1651008 h 2079633"/>
                <a:gd name="connsiteX68" fmla="*/ 1658348 w 2119028"/>
                <a:gd name="connsiteY68" fmla="*/ 1679583 h 2079633"/>
                <a:gd name="connsiteX69" fmla="*/ 1623423 w 2119028"/>
                <a:gd name="connsiteY69" fmla="*/ 1714508 h 2079633"/>
                <a:gd name="connsiteX70" fmla="*/ 1604373 w 2119028"/>
                <a:gd name="connsiteY70" fmla="*/ 1733558 h 2079633"/>
                <a:gd name="connsiteX71" fmla="*/ 1569448 w 2119028"/>
                <a:gd name="connsiteY71" fmla="*/ 1774833 h 2079633"/>
                <a:gd name="connsiteX72" fmla="*/ 1559923 w 2119028"/>
                <a:gd name="connsiteY72" fmla="*/ 1787533 h 2079633"/>
                <a:gd name="connsiteX73" fmla="*/ 1547223 w 2119028"/>
                <a:gd name="connsiteY73" fmla="*/ 1797058 h 2079633"/>
                <a:gd name="connsiteX74" fmla="*/ 1540873 w 2119028"/>
                <a:gd name="connsiteY74" fmla="*/ 1806583 h 2079633"/>
                <a:gd name="connsiteX75" fmla="*/ 1524998 w 2119028"/>
                <a:gd name="connsiteY75" fmla="*/ 1816108 h 2079633"/>
                <a:gd name="connsiteX76" fmla="*/ 1480548 w 2119028"/>
                <a:gd name="connsiteY76" fmla="*/ 1860558 h 2079633"/>
                <a:gd name="connsiteX77" fmla="*/ 1464673 w 2119028"/>
                <a:gd name="connsiteY77" fmla="*/ 1879608 h 2079633"/>
                <a:gd name="connsiteX78" fmla="*/ 1455148 w 2119028"/>
                <a:gd name="connsiteY78" fmla="*/ 1892308 h 2079633"/>
                <a:gd name="connsiteX79" fmla="*/ 1445623 w 2119028"/>
                <a:gd name="connsiteY79" fmla="*/ 1901833 h 2079633"/>
                <a:gd name="connsiteX80" fmla="*/ 1432923 w 2119028"/>
                <a:gd name="connsiteY80" fmla="*/ 1917708 h 2079633"/>
                <a:gd name="connsiteX81" fmla="*/ 1423398 w 2119028"/>
                <a:gd name="connsiteY81" fmla="*/ 1927233 h 2079633"/>
                <a:gd name="connsiteX82" fmla="*/ 1417048 w 2119028"/>
                <a:gd name="connsiteY82" fmla="*/ 1936758 h 2079633"/>
                <a:gd name="connsiteX83" fmla="*/ 1391648 w 2119028"/>
                <a:gd name="connsiteY83" fmla="*/ 1955808 h 2079633"/>
                <a:gd name="connsiteX84" fmla="*/ 1356723 w 2119028"/>
                <a:gd name="connsiteY84" fmla="*/ 1971683 h 2079633"/>
                <a:gd name="connsiteX85" fmla="*/ 1344023 w 2119028"/>
                <a:gd name="connsiteY85" fmla="*/ 1978033 h 2079633"/>
                <a:gd name="connsiteX86" fmla="*/ 1331323 w 2119028"/>
                <a:gd name="connsiteY86" fmla="*/ 1987558 h 2079633"/>
                <a:gd name="connsiteX87" fmla="*/ 1312273 w 2119028"/>
                <a:gd name="connsiteY87" fmla="*/ 2006608 h 2079633"/>
                <a:gd name="connsiteX88" fmla="*/ 1270998 w 2119028"/>
                <a:gd name="connsiteY88" fmla="*/ 2025658 h 2079633"/>
                <a:gd name="connsiteX89" fmla="*/ 1258298 w 2119028"/>
                <a:gd name="connsiteY89" fmla="*/ 2032008 h 2079633"/>
                <a:gd name="connsiteX90" fmla="*/ 1236073 w 2119028"/>
                <a:gd name="connsiteY90" fmla="*/ 2038358 h 2079633"/>
                <a:gd name="connsiteX91" fmla="*/ 1226548 w 2119028"/>
                <a:gd name="connsiteY91" fmla="*/ 2044708 h 2079633"/>
                <a:gd name="connsiteX92" fmla="*/ 1217023 w 2119028"/>
                <a:gd name="connsiteY92" fmla="*/ 2047883 h 2079633"/>
                <a:gd name="connsiteX93" fmla="*/ 1175748 w 2119028"/>
                <a:gd name="connsiteY93" fmla="*/ 2057408 h 2079633"/>
                <a:gd name="connsiteX94" fmla="*/ 1150348 w 2119028"/>
                <a:gd name="connsiteY94" fmla="*/ 2070108 h 2079633"/>
                <a:gd name="connsiteX95" fmla="*/ 1102723 w 2119028"/>
                <a:gd name="connsiteY95" fmla="*/ 2079633 h 2079633"/>
                <a:gd name="connsiteX96" fmla="*/ 928098 w 2119028"/>
                <a:gd name="connsiteY96" fmla="*/ 2070108 h 2079633"/>
                <a:gd name="connsiteX97" fmla="*/ 886823 w 2119028"/>
                <a:gd name="connsiteY97" fmla="*/ 2054233 h 2079633"/>
                <a:gd name="connsiteX98" fmla="*/ 861423 w 2119028"/>
                <a:gd name="connsiteY98" fmla="*/ 2051058 h 2079633"/>
                <a:gd name="connsiteX99" fmla="*/ 845548 w 2119028"/>
                <a:gd name="connsiteY99" fmla="*/ 2035183 h 2079633"/>
                <a:gd name="connsiteX100" fmla="*/ 769348 w 2119028"/>
                <a:gd name="connsiteY100" fmla="*/ 1974858 h 2079633"/>
                <a:gd name="connsiteX101" fmla="*/ 747123 w 2119028"/>
                <a:gd name="connsiteY101" fmla="*/ 1946283 h 2079633"/>
                <a:gd name="connsiteX102" fmla="*/ 731248 w 2119028"/>
                <a:gd name="connsiteY102" fmla="*/ 1933583 h 2079633"/>
                <a:gd name="connsiteX103" fmla="*/ 715373 w 2119028"/>
                <a:gd name="connsiteY103" fmla="*/ 1917708 h 2079633"/>
                <a:gd name="connsiteX104" fmla="*/ 699498 w 2119028"/>
                <a:gd name="connsiteY104" fmla="*/ 1905008 h 2079633"/>
                <a:gd name="connsiteX105" fmla="*/ 680448 w 2119028"/>
                <a:gd name="connsiteY105" fmla="*/ 1885958 h 2079633"/>
                <a:gd name="connsiteX106" fmla="*/ 642348 w 2119028"/>
                <a:gd name="connsiteY106" fmla="*/ 1854208 h 2079633"/>
                <a:gd name="connsiteX107" fmla="*/ 601073 w 2119028"/>
                <a:gd name="connsiteY107" fmla="*/ 1806583 h 2079633"/>
                <a:gd name="connsiteX108" fmla="*/ 578848 w 2119028"/>
                <a:gd name="connsiteY108" fmla="*/ 1781183 h 2079633"/>
                <a:gd name="connsiteX109" fmla="*/ 537573 w 2119028"/>
                <a:gd name="connsiteY109" fmla="*/ 1739908 h 2079633"/>
                <a:gd name="connsiteX110" fmla="*/ 499473 w 2119028"/>
                <a:gd name="connsiteY110" fmla="*/ 1704983 h 2079633"/>
                <a:gd name="connsiteX111" fmla="*/ 470898 w 2119028"/>
                <a:gd name="connsiteY111" fmla="*/ 1670058 h 2079633"/>
                <a:gd name="connsiteX112" fmla="*/ 413748 w 2119028"/>
                <a:gd name="connsiteY112" fmla="*/ 1622433 h 2079633"/>
                <a:gd name="connsiteX113" fmla="*/ 401048 w 2119028"/>
                <a:gd name="connsiteY113" fmla="*/ 1612908 h 2079633"/>
                <a:gd name="connsiteX114" fmla="*/ 369298 w 2119028"/>
                <a:gd name="connsiteY114" fmla="*/ 1584333 h 2079633"/>
                <a:gd name="connsiteX115" fmla="*/ 328023 w 2119028"/>
                <a:gd name="connsiteY115" fmla="*/ 1558933 h 2079633"/>
                <a:gd name="connsiteX116" fmla="*/ 302623 w 2119028"/>
                <a:gd name="connsiteY116" fmla="*/ 1539883 h 2079633"/>
                <a:gd name="connsiteX117" fmla="*/ 223248 w 2119028"/>
                <a:gd name="connsiteY117" fmla="*/ 1470033 h 2079633"/>
                <a:gd name="connsiteX118" fmla="*/ 175623 w 2119028"/>
                <a:gd name="connsiteY118" fmla="*/ 1412883 h 2079633"/>
                <a:gd name="connsiteX119" fmla="*/ 118473 w 2119028"/>
                <a:gd name="connsiteY119" fmla="*/ 1339858 h 2079633"/>
                <a:gd name="connsiteX120" fmla="*/ 83548 w 2119028"/>
                <a:gd name="connsiteY120" fmla="*/ 1292233 h 2079633"/>
                <a:gd name="connsiteX121" fmla="*/ 64498 w 2119028"/>
                <a:gd name="connsiteY121" fmla="*/ 1266833 h 2079633"/>
                <a:gd name="connsiteX122" fmla="*/ 35923 w 2119028"/>
                <a:gd name="connsiteY122" fmla="*/ 1206508 h 2079633"/>
                <a:gd name="connsiteX123" fmla="*/ 26398 w 2119028"/>
                <a:gd name="connsiteY123" fmla="*/ 1171583 h 2079633"/>
                <a:gd name="connsiteX124" fmla="*/ 20048 w 2119028"/>
                <a:gd name="connsiteY124" fmla="*/ 1149358 h 2079633"/>
                <a:gd name="connsiteX125" fmla="*/ 16873 w 2119028"/>
                <a:gd name="connsiteY125" fmla="*/ 1133483 h 2079633"/>
                <a:gd name="connsiteX126" fmla="*/ 7348 w 2119028"/>
                <a:gd name="connsiteY126" fmla="*/ 1095383 h 2079633"/>
                <a:gd name="connsiteX127" fmla="*/ 998 w 2119028"/>
                <a:gd name="connsiteY127" fmla="*/ 1012833 h 2079633"/>
                <a:gd name="connsiteX128" fmla="*/ 10523 w 2119028"/>
                <a:gd name="connsiteY128" fmla="*/ 882658 h 2079633"/>
                <a:gd name="connsiteX129" fmla="*/ 35923 w 2119028"/>
                <a:gd name="connsiteY129" fmla="*/ 835033 h 2079633"/>
                <a:gd name="connsiteX130" fmla="*/ 51798 w 2119028"/>
                <a:gd name="connsiteY130" fmla="*/ 806458 h 2079633"/>
                <a:gd name="connsiteX131" fmla="*/ 83548 w 2119028"/>
                <a:gd name="connsiteY131" fmla="*/ 762008 h 2079633"/>
                <a:gd name="connsiteX132" fmla="*/ 99423 w 2119028"/>
                <a:gd name="connsiteY132" fmla="*/ 742958 h 2079633"/>
                <a:gd name="connsiteX133" fmla="*/ 143873 w 2119028"/>
                <a:gd name="connsiteY133" fmla="*/ 676283 h 2079633"/>
                <a:gd name="connsiteX134" fmla="*/ 308973 w 2119028"/>
                <a:gd name="connsiteY134" fmla="*/ 523883 h 2079633"/>
                <a:gd name="connsiteX135" fmla="*/ 366123 w 2119028"/>
                <a:gd name="connsiteY135" fmla="*/ 463558 h 2079633"/>
                <a:gd name="connsiteX136" fmla="*/ 416923 w 2119028"/>
                <a:gd name="connsiteY136" fmla="*/ 409583 h 2079633"/>
                <a:gd name="connsiteX137" fmla="*/ 445498 w 2119028"/>
                <a:gd name="connsiteY137" fmla="*/ 377833 h 2079633"/>
                <a:gd name="connsiteX138" fmla="*/ 493123 w 2119028"/>
                <a:gd name="connsiteY138" fmla="*/ 333383 h 2079633"/>
                <a:gd name="connsiteX139" fmla="*/ 712198 w 2119028"/>
                <a:gd name="connsiteY139" fmla="*/ 136533 h 2079633"/>
                <a:gd name="connsiteX140" fmla="*/ 750298 w 2119028"/>
                <a:gd name="connsiteY140" fmla="*/ 111133 h 2079633"/>
                <a:gd name="connsiteX141" fmla="*/ 785223 w 2119028"/>
                <a:gd name="connsiteY141" fmla="*/ 88908 h 2079633"/>
                <a:gd name="connsiteX142" fmla="*/ 883648 w 2119028"/>
                <a:gd name="connsiteY142" fmla="*/ 38108 h 2079633"/>
                <a:gd name="connsiteX143" fmla="*/ 1077323 w 2119028"/>
                <a:gd name="connsiteY143" fmla="*/ 8 h 2079633"/>
                <a:gd name="connsiteX144" fmla="*/ 1267823 w 2119028"/>
                <a:gd name="connsiteY144" fmla="*/ 34933 h 2079633"/>
                <a:gd name="connsiteX145" fmla="*/ 1296398 w 2119028"/>
                <a:gd name="connsiteY145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74273 w 2109198"/>
                <a:gd name="connsiteY47" fmla="*/ 901708 h 2079633"/>
                <a:gd name="connsiteX48" fmla="*/ 2099673 w 2109198"/>
                <a:gd name="connsiteY48" fmla="*/ 955683 h 2079633"/>
                <a:gd name="connsiteX49" fmla="*/ 2109198 w 2109198"/>
                <a:gd name="connsiteY49" fmla="*/ 1181108 h 2079633"/>
                <a:gd name="connsiteX50" fmla="*/ 2099673 w 2109198"/>
                <a:gd name="connsiteY50" fmla="*/ 1193808 h 2079633"/>
                <a:gd name="connsiteX51" fmla="*/ 2093323 w 2109198"/>
                <a:gd name="connsiteY51" fmla="*/ 1212858 h 2079633"/>
                <a:gd name="connsiteX52" fmla="*/ 2061573 w 2109198"/>
                <a:gd name="connsiteY52" fmla="*/ 1273183 h 2079633"/>
                <a:gd name="connsiteX53" fmla="*/ 2052048 w 2109198"/>
                <a:gd name="connsiteY53" fmla="*/ 1292233 h 2079633"/>
                <a:gd name="connsiteX54" fmla="*/ 2029823 w 2109198"/>
                <a:gd name="connsiteY54" fmla="*/ 1330333 h 2079633"/>
                <a:gd name="connsiteX55" fmla="*/ 2004423 w 2109198"/>
                <a:gd name="connsiteY55" fmla="*/ 1371608 h 2079633"/>
                <a:gd name="connsiteX56" fmla="*/ 1975848 w 2109198"/>
                <a:gd name="connsiteY56" fmla="*/ 1393833 h 2079633"/>
                <a:gd name="connsiteX57" fmla="*/ 1963148 w 2109198"/>
                <a:gd name="connsiteY57" fmla="*/ 1409708 h 2079633"/>
                <a:gd name="connsiteX58" fmla="*/ 1928223 w 2109198"/>
                <a:gd name="connsiteY58" fmla="*/ 1435108 h 2079633"/>
                <a:gd name="connsiteX59" fmla="*/ 1905998 w 2109198"/>
                <a:gd name="connsiteY59" fmla="*/ 1454158 h 2079633"/>
                <a:gd name="connsiteX60" fmla="*/ 1848848 w 2109198"/>
                <a:gd name="connsiteY60" fmla="*/ 1485908 h 2079633"/>
                <a:gd name="connsiteX61" fmla="*/ 1810748 w 2109198"/>
                <a:gd name="connsiteY61" fmla="*/ 1517658 h 2079633"/>
                <a:gd name="connsiteX62" fmla="*/ 1791698 w 2109198"/>
                <a:gd name="connsiteY62" fmla="*/ 1533533 h 2079633"/>
                <a:gd name="connsiteX63" fmla="*/ 1775823 w 2109198"/>
                <a:gd name="connsiteY63" fmla="*/ 1543058 h 2079633"/>
                <a:gd name="connsiteX64" fmla="*/ 1718673 w 2109198"/>
                <a:gd name="connsiteY64" fmla="*/ 1606558 h 2079633"/>
                <a:gd name="connsiteX65" fmla="*/ 1709148 w 2109198"/>
                <a:gd name="connsiteY65" fmla="*/ 1619258 h 2079633"/>
                <a:gd name="connsiteX66" fmla="*/ 1680573 w 2109198"/>
                <a:gd name="connsiteY66" fmla="*/ 1651008 h 2079633"/>
                <a:gd name="connsiteX67" fmla="*/ 1658348 w 2109198"/>
                <a:gd name="connsiteY67" fmla="*/ 1679583 h 2079633"/>
                <a:gd name="connsiteX68" fmla="*/ 1623423 w 2109198"/>
                <a:gd name="connsiteY68" fmla="*/ 1714508 h 2079633"/>
                <a:gd name="connsiteX69" fmla="*/ 1604373 w 2109198"/>
                <a:gd name="connsiteY69" fmla="*/ 1733558 h 2079633"/>
                <a:gd name="connsiteX70" fmla="*/ 1569448 w 2109198"/>
                <a:gd name="connsiteY70" fmla="*/ 1774833 h 2079633"/>
                <a:gd name="connsiteX71" fmla="*/ 1559923 w 2109198"/>
                <a:gd name="connsiteY71" fmla="*/ 1787533 h 2079633"/>
                <a:gd name="connsiteX72" fmla="*/ 1547223 w 2109198"/>
                <a:gd name="connsiteY72" fmla="*/ 1797058 h 2079633"/>
                <a:gd name="connsiteX73" fmla="*/ 1540873 w 2109198"/>
                <a:gd name="connsiteY73" fmla="*/ 1806583 h 2079633"/>
                <a:gd name="connsiteX74" fmla="*/ 1524998 w 2109198"/>
                <a:gd name="connsiteY74" fmla="*/ 1816108 h 2079633"/>
                <a:gd name="connsiteX75" fmla="*/ 1480548 w 2109198"/>
                <a:gd name="connsiteY75" fmla="*/ 1860558 h 2079633"/>
                <a:gd name="connsiteX76" fmla="*/ 1464673 w 2109198"/>
                <a:gd name="connsiteY76" fmla="*/ 1879608 h 2079633"/>
                <a:gd name="connsiteX77" fmla="*/ 1455148 w 2109198"/>
                <a:gd name="connsiteY77" fmla="*/ 1892308 h 2079633"/>
                <a:gd name="connsiteX78" fmla="*/ 1445623 w 2109198"/>
                <a:gd name="connsiteY78" fmla="*/ 1901833 h 2079633"/>
                <a:gd name="connsiteX79" fmla="*/ 1432923 w 2109198"/>
                <a:gd name="connsiteY79" fmla="*/ 1917708 h 2079633"/>
                <a:gd name="connsiteX80" fmla="*/ 1423398 w 2109198"/>
                <a:gd name="connsiteY80" fmla="*/ 1927233 h 2079633"/>
                <a:gd name="connsiteX81" fmla="*/ 1417048 w 2109198"/>
                <a:gd name="connsiteY81" fmla="*/ 1936758 h 2079633"/>
                <a:gd name="connsiteX82" fmla="*/ 1391648 w 2109198"/>
                <a:gd name="connsiteY82" fmla="*/ 1955808 h 2079633"/>
                <a:gd name="connsiteX83" fmla="*/ 1356723 w 2109198"/>
                <a:gd name="connsiteY83" fmla="*/ 1971683 h 2079633"/>
                <a:gd name="connsiteX84" fmla="*/ 1344023 w 2109198"/>
                <a:gd name="connsiteY84" fmla="*/ 1978033 h 2079633"/>
                <a:gd name="connsiteX85" fmla="*/ 1331323 w 2109198"/>
                <a:gd name="connsiteY85" fmla="*/ 1987558 h 2079633"/>
                <a:gd name="connsiteX86" fmla="*/ 1312273 w 2109198"/>
                <a:gd name="connsiteY86" fmla="*/ 2006608 h 2079633"/>
                <a:gd name="connsiteX87" fmla="*/ 1270998 w 2109198"/>
                <a:gd name="connsiteY87" fmla="*/ 2025658 h 2079633"/>
                <a:gd name="connsiteX88" fmla="*/ 1258298 w 2109198"/>
                <a:gd name="connsiteY88" fmla="*/ 2032008 h 2079633"/>
                <a:gd name="connsiteX89" fmla="*/ 1236073 w 2109198"/>
                <a:gd name="connsiteY89" fmla="*/ 2038358 h 2079633"/>
                <a:gd name="connsiteX90" fmla="*/ 1226548 w 2109198"/>
                <a:gd name="connsiteY90" fmla="*/ 2044708 h 2079633"/>
                <a:gd name="connsiteX91" fmla="*/ 1217023 w 2109198"/>
                <a:gd name="connsiteY91" fmla="*/ 2047883 h 2079633"/>
                <a:gd name="connsiteX92" fmla="*/ 1175748 w 2109198"/>
                <a:gd name="connsiteY92" fmla="*/ 2057408 h 2079633"/>
                <a:gd name="connsiteX93" fmla="*/ 1150348 w 2109198"/>
                <a:gd name="connsiteY93" fmla="*/ 2070108 h 2079633"/>
                <a:gd name="connsiteX94" fmla="*/ 1102723 w 2109198"/>
                <a:gd name="connsiteY94" fmla="*/ 2079633 h 2079633"/>
                <a:gd name="connsiteX95" fmla="*/ 928098 w 2109198"/>
                <a:gd name="connsiteY95" fmla="*/ 2070108 h 2079633"/>
                <a:gd name="connsiteX96" fmla="*/ 886823 w 2109198"/>
                <a:gd name="connsiteY96" fmla="*/ 2054233 h 2079633"/>
                <a:gd name="connsiteX97" fmla="*/ 861423 w 2109198"/>
                <a:gd name="connsiteY97" fmla="*/ 2051058 h 2079633"/>
                <a:gd name="connsiteX98" fmla="*/ 845548 w 2109198"/>
                <a:gd name="connsiteY98" fmla="*/ 2035183 h 2079633"/>
                <a:gd name="connsiteX99" fmla="*/ 769348 w 2109198"/>
                <a:gd name="connsiteY99" fmla="*/ 1974858 h 2079633"/>
                <a:gd name="connsiteX100" fmla="*/ 747123 w 2109198"/>
                <a:gd name="connsiteY100" fmla="*/ 1946283 h 2079633"/>
                <a:gd name="connsiteX101" fmla="*/ 731248 w 2109198"/>
                <a:gd name="connsiteY101" fmla="*/ 1933583 h 2079633"/>
                <a:gd name="connsiteX102" fmla="*/ 715373 w 2109198"/>
                <a:gd name="connsiteY102" fmla="*/ 1917708 h 2079633"/>
                <a:gd name="connsiteX103" fmla="*/ 699498 w 2109198"/>
                <a:gd name="connsiteY103" fmla="*/ 1905008 h 2079633"/>
                <a:gd name="connsiteX104" fmla="*/ 680448 w 2109198"/>
                <a:gd name="connsiteY104" fmla="*/ 1885958 h 2079633"/>
                <a:gd name="connsiteX105" fmla="*/ 642348 w 2109198"/>
                <a:gd name="connsiteY105" fmla="*/ 1854208 h 2079633"/>
                <a:gd name="connsiteX106" fmla="*/ 601073 w 2109198"/>
                <a:gd name="connsiteY106" fmla="*/ 1806583 h 2079633"/>
                <a:gd name="connsiteX107" fmla="*/ 578848 w 2109198"/>
                <a:gd name="connsiteY107" fmla="*/ 1781183 h 2079633"/>
                <a:gd name="connsiteX108" fmla="*/ 537573 w 2109198"/>
                <a:gd name="connsiteY108" fmla="*/ 1739908 h 2079633"/>
                <a:gd name="connsiteX109" fmla="*/ 499473 w 2109198"/>
                <a:gd name="connsiteY109" fmla="*/ 1704983 h 2079633"/>
                <a:gd name="connsiteX110" fmla="*/ 470898 w 2109198"/>
                <a:gd name="connsiteY110" fmla="*/ 1670058 h 2079633"/>
                <a:gd name="connsiteX111" fmla="*/ 413748 w 2109198"/>
                <a:gd name="connsiteY111" fmla="*/ 1622433 h 2079633"/>
                <a:gd name="connsiteX112" fmla="*/ 401048 w 2109198"/>
                <a:gd name="connsiteY112" fmla="*/ 1612908 h 2079633"/>
                <a:gd name="connsiteX113" fmla="*/ 369298 w 2109198"/>
                <a:gd name="connsiteY113" fmla="*/ 1584333 h 2079633"/>
                <a:gd name="connsiteX114" fmla="*/ 328023 w 2109198"/>
                <a:gd name="connsiteY114" fmla="*/ 1558933 h 2079633"/>
                <a:gd name="connsiteX115" fmla="*/ 302623 w 2109198"/>
                <a:gd name="connsiteY115" fmla="*/ 1539883 h 2079633"/>
                <a:gd name="connsiteX116" fmla="*/ 223248 w 2109198"/>
                <a:gd name="connsiteY116" fmla="*/ 1470033 h 2079633"/>
                <a:gd name="connsiteX117" fmla="*/ 175623 w 2109198"/>
                <a:gd name="connsiteY117" fmla="*/ 1412883 h 2079633"/>
                <a:gd name="connsiteX118" fmla="*/ 118473 w 2109198"/>
                <a:gd name="connsiteY118" fmla="*/ 1339858 h 2079633"/>
                <a:gd name="connsiteX119" fmla="*/ 83548 w 2109198"/>
                <a:gd name="connsiteY119" fmla="*/ 1292233 h 2079633"/>
                <a:gd name="connsiteX120" fmla="*/ 64498 w 2109198"/>
                <a:gd name="connsiteY120" fmla="*/ 1266833 h 2079633"/>
                <a:gd name="connsiteX121" fmla="*/ 35923 w 2109198"/>
                <a:gd name="connsiteY121" fmla="*/ 1206508 h 2079633"/>
                <a:gd name="connsiteX122" fmla="*/ 26398 w 2109198"/>
                <a:gd name="connsiteY122" fmla="*/ 1171583 h 2079633"/>
                <a:gd name="connsiteX123" fmla="*/ 20048 w 2109198"/>
                <a:gd name="connsiteY123" fmla="*/ 1149358 h 2079633"/>
                <a:gd name="connsiteX124" fmla="*/ 16873 w 2109198"/>
                <a:gd name="connsiteY124" fmla="*/ 1133483 h 2079633"/>
                <a:gd name="connsiteX125" fmla="*/ 7348 w 2109198"/>
                <a:gd name="connsiteY125" fmla="*/ 1095383 h 2079633"/>
                <a:gd name="connsiteX126" fmla="*/ 998 w 2109198"/>
                <a:gd name="connsiteY126" fmla="*/ 1012833 h 2079633"/>
                <a:gd name="connsiteX127" fmla="*/ 10523 w 2109198"/>
                <a:gd name="connsiteY127" fmla="*/ 882658 h 2079633"/>
                <a:gd name="connsiteX128" fmla="*/ 35923 w 2109198"/>
                <a:gd name="connsiteY128" fmla="*/ 835033 h 2079633"/>
                <a:gd name="connsiteX129" fmla="*/ 51798 w 2109198"/>
                <a:gd name="connsiteY129" fmla="*/ 806458 h 2079633"/>
                <a:gd name="connsiteX130" fmla="*/ 83548 w 2109198"/>
                <a:gd name="connsiteY130" fmla="*/ 762008 h 2079633"/>
                <a:gd name="connsiteX131" fmla="*/ 99423 w 2109198"/>
                <a:gd name="connsiteY131" fmla="*/ 742958 h 2079633"/>
                <a:gd name="connsiteX132" fmla="*/ 143873 w 2109198"/>
                <a:gd name="connsiteY132" fmla="*/ 676283 h 2079633"/>
                <a:gd name="connsiteX133" fmla="*/ 308973 w 2109198"/>
                <a:gd name="connsiteY133" fmla="*/ 523883 h 2079633"/>
                <a:gd name="connsiteX134" fmla="*/ 366123 w 2109198"/>
                <a:gd name="connsiteY134" fmla="*/ 463558 h 2079633"/>
                <a:gd name="connsiteX135" fmla="*/ 416923 w 2109198"/>
                <a:gd name="connsiteY135" fmla="*/ 409583 h 2079633"/>
                <a:gd name="connsiteX136" fmla="*/ 445498 w 2109198"/>
                <a:gd name="connsiteY136" fmla="*/ 377833 h 2079633"/>
                <a:gd name="connsiteX137" fmla="*/ 493123 w 2109198"/>
                <a:gd name="connsiteY137" fmla="*/ 333383 h 2079633"/>
                <a:gd name="connsiteX138" fmla="*/ 712198 w 2109198"/>
                <a:gd name="connsiteY138" fmla="*/ 136533 h 2079633"/>
                <a:gd name="connsiteX139" fmla="*/ 750298 w 2109198"/>
                <a:gd name="connsiteY139" fmla="*/ 111133 h 2079633"/>
                <a:gd name="connsiteX140" fmla="*/ 785223 w 2109198"/>
                <a:gd name="connsiteY140" fmla="*/ 88908 h 2079633"/>
                <a:gd name="connsiteX141" fmla="*/ 883648 w 2109198"/>
                <a:gd name="connsiteY141" fmla="*/ 38108 h 2079633"/>
                <a:gd name="connsiteX142" fmla="*/ 1077323 w 2109198"/>
                <a:gd name="connsiteY142" fmla="*/ 8 h 2079633"/>
                <a:gd name="connsiteX143" fmla="*/ 1267823 w 2109198"/>
                <a:gd name="connsiteY143" fmla="*/ 34933 h 2079633"/>
                <a:gd name="connsiteX144" fmla="*/ 1296398 w 2109198"/>
                <a:gd name="connsiteY144" fmla="*/ 47633 h 2079633"/>
                <a:gd name="connsiteX0" fmla="*/ 1197973 w 2109198"/>
                <a:gd name="connsiteY0" fmla="*/ 25408 h 2079633"/>
                <a:gd name="connsiteX1" fmla="*/ 1217023 w 2109198"/>
                <a:gd name="connsiteY1" fmla="*/ 34933 h 2079633"/>
                <a:gd name="connsiteX2" fmla="*/ 1239248 w 2109198"/>
                <a:gd name="connsiteY2" fmla="*/ 38108 h 2079633"/>
                <a:gd name="connsiteX3" fmla="*/ 1258298 w 2109198"/>
                <a:gd name="connsiteY3" fmla="*/ 50808 h 2079633"/>
                <a:gd name="connsiteX4" fmla="*/ 1270998 w 2109198"/>
                <a:gd name="connsiteY4" fmla="*/ 57158 h 2079633"/>
                <a:gd name="connsiteX5" fmla="*/ 1290048 w 2109198"/>
                <a:gd name="connsiteY5" fmla="*/ 73033 h 2079633"/>
                <a:gd name="connsiteX6" fmla="*/ 1309098 w 2109198"/>
                <a:gd name="connsiteY6" fmla="*/ 79383 h 2079633"/>
                <a:gd name="connsiteX7" fmla="*/ 1324973 w 2109198"/>
                <a:gd name="connsiteY7" fmla="*/ 92083 h 2079633"/>
                <a:gd name="connsiteX8" fmla="*/ 1334498 w 2109198"/>
                <a:gd name="connsiteY8" fmla="*/ 95258 h 2079633"/>
                <a:gd name="connsiteX9" fmla="*/ 1340848 w 2109198"/>
                <a:gd name="connsiteY9" fmla="*/ 104783 h 2079633"/>
                <a:gd name="connsiteX10" fmla="*/ 1356723 w 2109198"/>
                <a:gd name="connsiteY10" fmla="*/ 114308 h 2079633"/>
                <a:gd name="connsiteX11" fmla="*/ 1382123 w 2109198"/>
                <a:gd name="connsiteY11" fmla="*/ 133358 h 2079633"/>
                <a:gd name="connsiteX12" fmla="*/ 1391648 w 2109198"/>
                <a:gd name="connsiteY12" fmla="*/ 139708 h 2079633"/>
                <a:gd name="connsiteX13" fmla="*/ 1432923 w 2109198"/>
                <a:gd name="connsiteY13" fmla="*/ 184158 h 2079633"/>
                <a:gd name="connsiteX14" fmla="*/ 1442448 w 2109198"/>
                <a:gd name="connsiteY14" fmla="*/ 196858 h 2079633"/>
                <a:gd name="connsiteX15" fmla="*/ 1455148 w 2109198"/>
                <a:gd name="connsiteY15" fmla="*/ 219083 h 2079633"/>
                <a:gd name="connsiteX16" fmla="*/ 1499598 w 2109198"/>
                <a:gd name="connsiteY16" fmla="*/ 260358 h 2079633"/>
                <a:gd name="connsiteX17" fmla="*/ 1512298 w 2109198"/>
                <a:gd name="connsiteY17" fmla="*/ 276233 h 2079633"/>
                <a:gd name="connsiteX18" fmla="*/ 1524998 w 2109198"/>
                <a:gd name="connsiteY18" fmla="*/ 288933 h 2079633"/>
                <a:gd name="connsiteX19" fmla="*/ 1531348 w 2109198"/>
                <a:gd name="connsiteY19" fmla="*/ 298458 h 2079633"/>
                <a:gd name="connsiteX20" fmla="*/ 1550398 w 2109198"/>
                <a:gd name="connsiteY20" fmla="*/ 317508 h 2079633"/>
                <a:gd name="connsiteX21" fmla="*/ 1559923 w 2109198"/>
                <a:gd name="connsiteY21" fmla="*/ 327033 h 2079633"/>
                <a:gd name="connsiteX22" fmla="*/ 1569448 w 2109198"/>
                <a:gd name="connsiteY22" fmla="*/ 339733 h 2079633"/>
                <a:gd name="connsiteX23" fmla="*/ 1594848 w 2109198"/>
                <a:gd name="connsiteY23" fmla="*/ 358783 h 2079633"/>
                <a:gd name="connsiteX24" fmla="*/ 1632948 w 2109198"/>
                <a:gd name="connsiteY24" fmla="*/ 390533 h 2079633"/>
                <a:gd name="connsiteX25" fmla="*/ 1648823 w 2109198"/>
                <a:gd name="connsiteY25" fmla="*/ 409583 h 2079633"/>
                <a:gd name="connsiteX26" fmla="*/ 1661523 w 2109198"/>
                <a:gd name="connsiteY26" fmla="*/ 419108 h 2079633"/>
                <a:gd name="connsiteX27" fmla="*/ 1683748 w 2109198"/>
                <a:gd name="connsiteY27" fmla="*/ 441333 h 2079633"/>
                <a:gd name="connsiteX28" fmla="*/ 1702798 w 2109198"/>
                <a:gd name="connsiteY28" fmla="*/ 460383 h 2079633"/>
                <a:gd name="connsiteX29" fmla="*/ 1712323 w 2109198"/>
                <a:gd name="connsiteY29" fmla="*/ 469908 h 2079633"/>
                <a:gd name="connsiteX30" fmla="*/ 1744073 w 2109198"/>
                <a:gd name="connsiteY30" fmla="*/ 495308 h 2079633"/>
                <a:gd name="connsiteX31" fmla="*/ 1753598 w 2109198"/>
                <a:gd name="connsiteY31" fmla="*/ 504833 h 2079633"/>
                <a:gd name="connsiteX32" fmla="*/ 1766298 w 2109198"/>
                <a:gd name="connsiteY32" fmla="*/ 514358 h 2079633"/>
                <a:gd name="connsiteX33" fmla="*/ 1782173 w 2109198"/>
                <a:gd name="connsiteY33" fmla="*/ 530233 h 2079633"/>
                <a:gd name="connsiteX34" fmla="*/ 1813923 w 2109198"/>
                <a:gd name="connsiteY34" fmla="*/ 555633 h 2079633"/>
                <a:gd name="connsiteX35" fmla="*/ 1817098 w 2109198"/>
                <a:gd name="connsiteY35" fmla="*/ 565158 h 2079633"/>
                <a:gd name="connsiteX36" fmla="*/ 1842498 w 2109198"/>
                <a:gd name="connsiteY36" fmla="*/ 587383 h 2079633"/>
                <a:gd name="connsiteX37" fmla="*/ 1893298 w 2109198"/>
                <a:gd name="connsiteY37" fmla="*/ 644533 h 2079633"/>
                <a:gd name="connsiteX38" fmla="*/ 1918698 w 2109198"/>
                <a:gd name="connsiteY38" fmla="*/ 663583 h 2079633"/>
                <a:gd name="connsiteX39" fmla="*/ 1931398 w 2109198"/>
                <a:gd name="connsiteY39" fmla="*/ 669933 h 2079633"/>
                <a:gd name="connsiteX40" fmla="*/ 1979023 w 2109198"/>
                <a:gd name="connsiteY40" fmla="*/ 720733 h 2079633"/>
                <a:gd name="connsiteX41" fmla="*/ 1988548 w 2109198"/>
                <a:gd name="connsiteY41" fmla="*/ 730258 h 2079633"/>
                <a:gd name="connsiteX42" fmla="*/ 2017123 w 2109198"/>
                <a:gd name="connsiteY42" fmla="*/ 755658 h 2079633"/>
                <a:gd name="connsiteX43" fmla="*/ 2023473 w 2109198"/>
                <a:gd name="connsiteY43" fmla="*/ 765183 h 2079633"/>
                <a:gd name="connsiteX44" fmla="*/ 2048873 w 2109198"/>
                <a:gd name="connsiteY44" fmla="*/ 812808 h 2079633"/>
                <a:gd name="connsiteX45" fmla="*/ 2061573 w 2109198"/>
                <a:gd name="connsiteY45" fmla="*/ 850908 h 2079633"/>
                <a:gd name="connsiteX46" fmla="*/ 2064748 w 2109198"/>
                <a:gd name="connsiteY46" fmla="*/ 876308 h 2079633"/>
                <a:gd name="connsiteX47" fmla="*/ 2099673 w 2109198"/>
                <a:gd name="connsiteY47" fmla="*/ 955683 h 2079633"/>
                <a:gd name="connsiteX48" fmla="*/ 2109198 w 2109198"/>
                <a:gd name="connsiteY48" fmla="*/ 1181108 h 2079633"/>
                <a:gd name="connsiteX49" fmla="*/ 2099673 w 2109198"/>
                <a:gd name="connsiteY49" fmla="*/ 1193808 h 2079633"/>
                <a:gd name="connsiteX50" fmla="*/ 2093323 w 2109198"/>
                <a:gd name="connsiteY50" fmla="*/ 1212858 h 2079633"/>
                <a:gd name="connsiteX51" fmla="*/ 2061573 w 2109198"/>
                <a:gd name="connsiteY51" fmla="*/ 1273183 h 2079633"/>
                <a:gd name="connsiteX52" fmla="*/ 2052048 w 2109198"/>
                <a:gd name="connsiteY52" fmla="*/ 1292233 h 2079633"/>
                <a:gd name="connsiteX53" fmla="*/ 2029823 w 2109198"/>
                <a:gd name="connsiteY53" fmla="*/ 1330333 h 2079633"/>
                <a:gd name="connsiteX54" fmla="*/ 2004423 w 2109198"/>
                <a:gd name="connsiteY54" fmla="*/ 1371608 h 2079633"/>
                <a:gd name="connsiteX55" fmla="*/ 1975848 w 2109198"/>
                <a:gd name="connsiteY55" fmla="*/ 1393833 h 2079633"/>
                <a:gd name="connsiteX56" fmla="*/ 1963148 w 2109198"/>
                <a:gd name="connsiteY56" fmla="*/ 1409708 h 2079633"/>
                <a:gd name="connsiteX57" fmla="*/ 1928223 w 2109198"/>
                <a:gd name="connsiteY57" fmla="*/ 1435108 h 2079633"/>
                <a:gd name="connsiteX58" fmla="*/ 1905998 w 2109198"/>
                <a:gd name="connsiteY58" fmla="*/ 1454158 h 2079633"/>
                <a:gd name="connsiteX59" fmla="*/ 1848848 w 2109198"/>
                <a:gd name="connsiteY59" fmla="*/ 1485908 h 2079633"/>
                <a:gd name="connsiteX60" fmla="*/ 1810748 w 2109198"/>
                <a:gd name="connsiteY60" fmla="*/ 1517658 h 2079633"/>
                <a:gd name="connsiteX61" fmla="*/ 1791698 w 2109198"/>
                <a:gd name="connsiteY61" fmla="*/ 1533533 h 2079633"/>
                <a:gd name="connsiteX62" fmla="*/ 1775823 w 2109198"/>
                <a:gd name="connsiteY62" fmla="*/ 1543058 h 2079633"/>
                <a:gd name="connsiteX63" fmla="*/ 1718673 w 2109198"/>
                <a:gd name="connsiteY63" fmla="*/ 1606558 h 2079633"/>
                <a:gd name="connsiteX64" fmla="*/ 1709148 w 2109198"/>
                <a:gd name="connsiteY64" fmla="*/ 1619258 h 2079633"/>
                <a:gd name="connsiteX65" fmla="*/ 1680573 w 2109198"/>
                <a:gd name="connsiteY65" fmla="*/ 1651008 h 2079633"/>
                <a:gd name="connsiteX66" fmla="*/ 1658348 w 2109198"/>
                <a:gd name="connsiteY66" fmla="*/ 1679583 h 2079633"/>
                <a:gd name="connsiteX67" fmla="*/ 1623423 w 2109198"/>
                <a:gd name="connsiteY67" fmla="*/ 1714508 h 2079633"/>
                <a:gd name="connsiteX68" fmla="*/ 1604373 w 2109198"/>
                <a:gd name="connsiteY68" fmla="*/ 1733558 h 2079633"/>
                <a:gd name="connsiteX69" fmla="*/ 1569448 w 2109198"/>
                <a:gd name="connsiteY69" fmla="*/ 1774833 h 2079633"/>
                <a:gd name="connsiteX70" fmla="*/ 1559923 w 2109198"/>
                <a:gd name="connsiteY70" fmla="*/ 1787533 h 2079633"/>
                <a:gd name="connsiteX71" fmla="*/ 1547223 w 2109198"/>
                <a:gd name="connsiteY71" fmla="*/ 1797058 h 2079633"/>
                <a:gd name="connsiteX72" fmla="*/ 1540873 w 2109198"/>
                <a:gd name="connsiteY72" fmla="*/ 1806583 h 2079633"/>
                <a:gd name="connsiteX73" fmla="*/ 1524998 w 2109198"/>
                <a:gd name="connsiteY73" fmla="*/ 1816108 h 2079633"/>
                <a:gd name="connsiteX74" fmla="*/ 1480548 w 2109198"/>
                <a:gd name="connsiteY74" fmla="*/ 1860558 h 2079633"/>
                <a:gd name="connsiteX75" fmla="*/ 1464673 w 2109198"/>
                <a:gd name="connsiteY75" fmla="*/ 1879608 h 2079633"/>
                <a:gd name="connsiteX76" fmla="*/ 1455148 w 2109198"/>
                <a:gd name="connsiteY76" fmla="*/ 1892308 h 2079633"/>
                <a:gd name="connsiteX77" fmla="*/ 1445623 w 2109198"/>
                <a:gd name="connsiteY77" fmla="*/ 1901833 h 2079633"/>
                <a:gd name="connsiteX78" fmla="*/ 1432923 w 2109198"/>
                <a:gd name="connsiteY78" fmla="*/ 1917708 h 2079633"/>
                <a:gd name="connsiteX79" fmla="*/ 1423398 w 2109198"/>
                <a:gd name="connsiteY79" fmla="*/ 1927233 h 2079633"/>
                <a:gd name="connsiteX80" fmla="*/ 1417048 w 2109198"/>
                <a:gd name="connsiteY80" fmla="*/ 1936758 h 2079633"/>
                <a:gd name="connsiteX81" fmla="*/ 1391648 w 2109198"/>
                <a:gd name="connsiteY81" fmla="*/ 1955808 h 2079633"/>
                <a:gd name="connsiteX82" fmla="*/ 1356723 w 2109198"/>
                <a:gd name="connsiteY82" fmla="*/ 1971683 h 2079633"/>
                <a:gd name="connsiteX83" fmla="*/ 1344023 w 2109198"/>
                <a:gd name="connsiteY83" fmla="*/ 1978033 h 2079633"/>
                <a:gd name="connsiteX84" fmla="*/ 1331323 w 2109198"/>
                <a:gd name="connsiteY84" fmla="*/ 1987558 h 2079633"/>
                <a:gd name="connsiteX85" fmla="*/ 1312273 w 2109198"/>
                <a:gd name="connsiteY85" fmla="*/ 2006608 h 2079633"/>
                <a:gd name="connsiteX86" fmla="*/ 1270998 w 2109198"/>
                <a:gd name="connsiteY86" fmla="*/ 2025658 h 2079633"/>
                <a:gd name="connsiteX87" fmla="*/ 1258298 w 2109198"/>
                <a:gd name="connsiteY87" fmla="*/ 2032008 h 2079633"/>
                <a:gd name="connsiteX88" fmla="*/ 1236073 w 2109198"/>
                <a:gd name="connsiteY88" fmla="*/ 2038358 h 2079633"/>
                <a:gd name="connsiteX89" fmla="*/ 1226548 w 2109198"/>
                <a:gd name="connsiteY89" fmla="*/ 2044708 h 2079633"/>
                <a:gd name="connsiteX90" fmla="*/ 1217023 w 2109198"/>
                <a:gd name="connsiteY90" fmla="*/ 2047883 h 2079633"/>
                <a:gd name="connsiteX91" fmla="*/ 1175748 w 2109198"/>
                <a:gd name="connsiteY91" fmla="*/ 2057408 h 2079633"/>
                <a:gd name="connsiteX92" fmla="*/ 1150348 w 2109198"/>
                <a:gd name="connsiteY92" fmla="*/ 2070108 h 2079633"/>
                <a:gd name="connsiteX93" fmla="*/ 1102723 w 2109198"/>
                <a:gd name="connsiteY93" fmla="*/ 2079633 h 2079633"/>
                <a:gd name="connsiteX94" fmla="*/ 928098 w 2109198"/>
                <a:gd name="connsiteY94" fmla="*/ 2070108 h 2079633"/>
                <a:gd name="connsiteX95" fmla="*/ 886823 w 2109198"/>
                <a:gd name="connsiteY95" fmla="*/ 2054233 h 2079633"/>
                <a:gd name="connsiteX96" fmla="*/ 861423 w 2109198"/>
                <a:gd name="connsiteY96" fmla="*/ 2051058 h 2079633"/>
                <a:gd name="connsiteX97" fmla="*/ 845548 w 2109198"/>
                <a:gd name="connsiteY97" fmla="*/ 2035183 h 2079633"/>
                <a:gd name="connsiteX98" fmla="*/ 769348 w 2109198"/>
                <a:gd name="connsiteY98" fmla="*/ 1974858 h 2079633"/>
                <a:gd name="connsiteX99" fmla="*/ 747123 w 2109198"/>
                <a:gd name="connsiteY99" fmla="*/ 1946283 h 2079633"/>
                <a:gd name="connsiteX100" fmla="*/ 731248 w 2109198"/>
                <a:gd name="connsiteY100" fmla="*/ 1933583 h 2079633"/>
                <a:gd name="connsiteX101" fmla="*/ 715373 w 2109198"/>
                <a:gd name="connsiteY101" fmla="*/ 1917708 h 2079633"/>
                <a:gd name="connsiteX102" fmla="*/ 699498 w 2109198"/>
                <a:gd name="connsiteY102" fmla="*/ 1905008 h 2079633"/>
                <a:gd name="connsiteX103" fmla="*/ 680448 w 2109198"/>
                <a:gd name="connsiteY103" fmla="*/ 1885958 h 2079633"/>
                <a:gd name="connsiteX104" fmla="*/ 642348 w 2109198"/>
                <a:gd name="connsiteY104" fmla="*/ 1854208 h 2079633"/>
                <a:gd name="connsiteX105" fmla="*/ 601073 w 2109198"/>
                <a:gd name="connsiteY105" fmla="*/ 1806583 h 2079633"/>
                <a:gd name="connsiteX106" fmla="*/ 578848 w 2109198"/>
                <a:gd name="connsiteY106" fmla="*/ 1781183 h 2079633"/>
                <a:gd name="connsiteX107" fmla="*/ 537573 w 2109198"/>
                <a:gd name="connsiteY107" fmla="*/ 1739908 h 2079633"/>
                <a:gd name="connsiteX108" fmla="*/ 499473 w 2109198"/>
                <a:gd name="connsiteY108" fmla="*/ 1704983 h 2079633"/>
                <a:gd name="connsiteX109" fmla="*/ 470898 w 2109198"/>
                <a:gd name="connsiteY109" fmla="*/ 1670058 h 2079633"/>
                <a:gd name="connsiteX110" fmla="*/ 413748 w 2109198"/>
                <a:gd name="connsiteY110" fmla="*/ 1622433 h 2079633"/>
                <a:gd name="connsiteX111" fmla="*/ 401048 w 2109198"/>
                <a:gd name="connsiteY111" fmla="*/ 1612908 h 2079633"/>
                <a:gd name="connsiteX112" fmla="*/ 369298 w 2109198"/>
                <a:gd name="connsiteY112" fmla="*/ 1584333 h 2079633"/>
                <a:gd name="connsiteX113" fmla="*/ 328023 w 2109198"/>
                <a:gd name="connsiteY113" fmla="*/ 1558933 h 2079633"/>
                <a:gd name="connsiteX114" fmla="*/ 302623 w 2109198"/>
                <a:gd name="connsiteY114" fmla="*/ 1539883 h 2079633"/>
                <a:gd name="connsiteX115" fmla="*/ 223248 w 2109198"/>
                <a:gd name="connsiteY115" fmla="*/ 1470033 h 2079633"/>
                <a:gd name="connsiteX116" fmla="*/ 175623 w 2109198"/>
                <a:gd name="connsiteY116" fmla="*/ 1412883 h 2079633"/>
                <a:gd name="connsiteX117" fmla="*/ 118473 w 2109198"/>
                <a:gd name="connsiteY117" fmla="*/ 1339858 h 2079633"/>
                <a:gd name="connsiteX118" fmla="*/ 83548 w 2109198"/>
                <a:gd name="connsiteY118" fmla="*/ 1292233 h 2079633"/>
                <a:gd name="connsiteX119" fmla="*/ 64498 w 2109198"/>
                <a:gd name="connsiteY119" fmla="*/ 1266833 h 2079633"/>
                <a:gd name="connsiteX120" fmla="*/ 35923 w 2109198"/>
                <a:gd name="connsiteY120" fmla="*/ 1206508 h 2079633"/>
                <a:gd name="connsiteX121" fmla="*/ 26398 w 2109198"/>
                <a:gd name="connsiteY121" fmla="*/ 1171583 h 2079633"/>
                <a:gd name="connsiteX122" fmla="*/ 20048 w 2109198"/>
                <a:gd name="connsiteY122" fmla="*/ 1149358 h 2079633"/>
                <a:gd name="connsiteX123" fmla="*/ 16873 w 2109198"/>
                <a:gd name="connsiteY123" fmla="*/ 1133483 h 2079633"/>
                <a:gd name="connsiteX124" fmla="*/ 7348 w 2109198"/>
                <a:gd name="connsiteY124" fmla="*/ 1095383 h 2079633"/>
                <a:gd name="connsiteX125" fmla="*/ 998 w 2109198"/>
                <a:gd name="connsiteY125" fmla="*/ 1012833 h 2079633"/>
                <a:gd name="connsiteX126" fmla="*/ 10523 w 2109198"/>
                <a:gd name="connsiteY126" fmla="*/ 882658 h 2079633"/>
                <a:gd name="connsiteX127" fmla="*/ 35923 w 2109198"/>
                <a:gd name="connsiteY127" fmla="*/ 835033 h 2079633"/>
                <a:gd name="connsiteX128" fmla="*/ 51798 w 2109198"/>
                <a:gd name="connsiteY128" fmla="*/ 806458 h 2079633"/>
                <a:gd name="connsiteX129" fmla="*/ 83548 w 2109198"/>
                <a:gd name="connsiteY129" fmla="*/ 762008 h 2079633"/>
                <a:gd name="connsiteX130" fmla="*/ 99423 w 2109198"/>
                <a:gd name="connsiteY130" fmla="*/ 742958 h 2079633"/>
                <a:gd name="connsiteX131" fmla="*/ 143873 w 2109198"/>
                <a:gd name="connsiteY131" fmla="*/ 676283 h 2079633"/>
                <a:gd name="connsiteX132" fmla="*/ 308973 w 2109198"/>
                <a:gd name="connsiteY132" fmla="*/ 523883 h 2079633"/>
                <a:gd name="connsiteX133" fmla="*/ 366123 w 2109198"/>
                <a:gd name="connsiteY133" fmla="*/ 463558 h 2079633"/>
                <a:gd name="connsiteX134" fmla="*/ 416923 w 2109198"/>
                <a:gd name="connsiteY134" fmla="*/ 409583 h 2079633"/>
                <a:gd name="connsiteX135" fmla="*/ 445498 w 2109198"/>
                <a:gd name="connsiteY135" fmla="*/ 377833 h 2079633"/>
                <a:gd name="connsiteX136" fmla="*/ 493123 w 2109198"/>
                <a:gd name="connsiteY136" fmla="*/ 333383 h 2079633"/>
                <a:gd name="connsiteX137" fmla="*/ 712198 w 2109198"/>
                <a:gd name="connsiteY137" fmla="*/ 136533 h 2079633"/>
                <a:gd name="connsiteX138" fmla="*/ 750298 w 2109198"/>
                <a:gd name="connsiteY138" fmla="*/ 111133 h 2079633"/>
                <a:gd name="connsiteX139" fmla="*/ 785223 w 2109198"/>
                <a:gd name="connsiteY139" fmla="*/ 88908 h 2079633"/>
                <a:gd name="connsiteX140" fmla="*/ 883648 w 2109198"/>
                <a:gd name="connsiteY140" fmla="*/ 38108 h 2079633"/>
                <a:gd name="connsiteX141" fmla="*/ 1077323 w 2109198"/>
                <a:gd name="connsiteY141" fmla="*/ 8 h 2079633"/>
                <a:gd name="connsiteX142" fmla="*/ 1267823 w 2109198"/>
                <a:gd name="connsiteY142" fmla="*/ 34933 h 2079633"/>
                <a:gd name="connsiteX143" fmla="*/ 1296398 w 2109198"/>
                <a:gd name="connsiteY143" fmla="*/ 47633 h 2079633"/>
                <a:gd name="connsiteX0" fmla="*/ 1197973 w 2111981"/>
                <a:gd name="connsiteY0" fmla="*/ 25408 h 2079633"/>
                <a:gd name="connsiteX1" fmla="*/ 1217023 w 2111981"/>
                <a:gd name="connsiteY1" fmla="*/ 34933 h 2079633"/>
                <a:gd name="connsiteX2" fmla="*/ 1239248 w 2111981"/>
                <a:gd name="connsiteY2" fmla="*/ 38108 h 2079633"/>
                <a:gd name="connsiteX3" fmla="*/ 1258298 w 2111981"/>
                <a:gd name="connsiteY3" fmla="*/ 50808 h 2079633"/>
                <a:gd name="connsiteX4" fmla="*/ 1270998 w 2111981"/>
                <a:gd name="connsiteY4" fmla="*/ 57158 h 2079633"/>
                <a:gd name="connsiteX5" fmla="*/ 1290048 w 2111981"/>
                <a:gd name="connsiteY5" fmla="*/ 73033 h 2079633"/>
                <a:gd name="connsiteX6" fmla="*/ 1309098 w 2111981"/>
                <a:gd name="connsiteY6" fmla="*/ 79383 h 2079633"/>
                <a:gd name="connsiteX7" fmla="*/ 1324973 w 2111981"/>
                <a:gd name="connsiteY7" fmla="*/ 92083 h 2079633"/>
                <a:gd name="connsiteX8" fmla="*/ 1334498 w 2111981"/>
                <a:gd name="connsiteY8" fmla="*/ 95258 h 2079633"/>
                <a:gd name="connsiteX9" fmla="*/ 1340848 w 2111981"/>
                <a:gd name="connsiteY9" fmla="*/ 104783 h 2079633"/>
                <a:gd name="connsiteX10" fmla="*/ 1356723 w 2111981"/>
                <a:gd name="connsiteY10" fmla="*/ 114308 h 2079633"/>
                <a:gd name="connsiteX11" fmla="*/ 1382123 w 2111981"/>
                <a:gd name="connsiteY11" fmla="*/ 133358 h 2079633"/>
                <a:gd name="connsiteX12" fmla="*/ 1391648 w 2111981"/>
                <a:gd name="connsiteY12" fmla="*/ 139708 h 2079633"/>
                <a:gd name="connsiteX13" fmla="*/ 1432923 w 2111981"/>
                <a:gd name="connsiteY13" fmla="*/ 184158 h 2079633"/>
                <a:gd name="connsiteX14" fmla="*/ 1442448 w 2111981"/>
                <a:gd name="connsiteY14" fmla="*/ 196858 h 2079633"/>
                <a:gd name="connsiteX15" fmla="*/ 1455148 w 2111981"/>
                <a:gd name="connsiteY15" fmla="*/ 219083 h 2079633"/>
                <a:gd name="connsiteX16" fmla="*/ 1499598 w 2111981"/>
                <a:gd name="connsiteY16" fmla="*/ 260358 h 2079633"/>
                <a:gd name="connsiteX17" fmla="*/ 1512298 w 2111981"/>
                <a:gd name="connsiteY17" fmla="*/ 276233 h 2079633"/>
                <a:gd name="connsiteX18" fmla="*/ 1524998 w 2111981"/>
                <a:gd name="connsiteY18" fmla="*/ 288933 h 2079633"/>
                <a:gd name="connsiteX19" fmla="*/ 1531348 w 2111981"/>
                <a:gd name="connsiteY19" fmla="*/ 298458 h 2079633"/>
                <a:gd name="connsiteX20" fmla="*/ 1550398 w 2111981"/>
                <a:gd name="connsiteY20" fmla="*/ 317508 h 2079633"/>
                <a:gd name="connsiteX21" fmla="*/ 1559923 w 2111981"/>
                <a:gd name="connsiteY21" fmla="*/ 327033 h 2079633"/>
                <a:gd name="connsiteX22" fmla="*/ 1569448 w 2111981"/>
                <a:gd name="connsiteY22" fmla="*/ 339733 h 2079633"/>
                <a:gd name="connsiteX23" fmla="*/ 1594848 w 2111981"/>
                <a:gd name="connsiteY23" fmla="*/ 358783 h 2079633"/>
                <a:gd name="connsiteX24" fmla="*/ 1632948 w 2111981"/>
                <a:gd name="connsiteY24" fmla="*/ 390533 h 2079633"/>
                <a:gd name="connsiteX25" fmla="*/ 1648823 w 2111981"/>
                <a:gd name="connsiteY25" fmla="*/ 409583 h 2079633"/>
                <a:gd name="connsiteX26" fmla="*/ 1661523 w 2111981"/>
                <a:gd name="connsiteY26" fmla="*/ 419108 h 2079633"/>
                <a:gd name="connsiteX27" fmla="*/ 1683748 w 2111981"/>
                <a:gd name="connsiteY27" fmla="*/ 441333 h 2079633"/>
                <a:gd name="connsiteX28" fmla="*/ 1702798 w 2111981"/>
                <a:gd name="connsiteY28" fmla="*/ 460383 h 2079633"/>
                <a:gd name="connsiteX29" fmla="*/ 1712323 w 2111981"/>
                <a:gd name="connsiteY29" fmla="*/ 469908 h 2079633"/>
                <a:gd name="connsiteX30" fmla="*/ 1744073 w 2111981"/>
                <a:gd name="connsiteY30" fmla="*/ 495308 h 2079633"/>
                <a:gd name="connsiteX31" fmla="*/ 1753598 w 2111981"/>
                <a:gd name="connsiteY31" fmla="*/ 504833 h 2079633"/>
                <a:gd name="connsiteX32" fmla="*/ 1766298 w 2111981"/>
                <a:gd name="connsiteY32" fmla="*/ 514358 h 2079633"/>
                <a:gd name="connsiteX33" fmla="*/ 1782173 w 2111981"/>
                <a:gd name="connsiteY33" fmla="*/ 530233 h 2079633"/>
                <a:gd name="connsiteX34" fmla="*/ 1813923 w 2111981"/>
                <a:gd name="connsiteY34" fmla="*/ 555633 h 2079633"/>
                <a:gd name="connsiteX35" fmla="*/ 1817098 w 2111981"/>
                <a:gd name="connsiteY35" fmla="*/ 565158 h 2079633"/>
                <a:gd name="connsiteX36" fmla="*/ 1842498 w 2111981"/>
                <a:gd name="connsiteY36" fmla="*/ 587383 h 2079633"/>
                <a:gd name="connsiteX37" fmla="*/ 1893298 w 2111981"/>
                <a:gd name="connsiteY37" fmla="*/ 644533 h 2079633"/>
                <a:gd name="connsiteX38" fmla="*/ 1918698 w 2111981"/>
                <a:gd name="connsiteY38" fmla="*/ 663583 h 2079633"/>
                <a:gd name="connsiteX39" fmla="*/ 1931398 w 2111981"/>
                <a:gd name="connsiteY39" fmla="*/ 669933 h 2079633"/>
                <a:gd name="connsiteX40" fmla="*/ 1979023 w 2111981"/>
                <a:gd name="connsiteY40" fmla="*/ 720733 h 2079633"/>
                <a:gd name="connsiteX41" fmla="*/ 1988548 w 2111981"/>
                <a:gd name="connsiteY41" fmla="*/ 730258 h 2079633"/>
                <a:gd name="connsiteX42" fmla="*/ 2017123 w 2111981"/>
                <a:gd name="connsiteY42" fmla="*/ 755658 h 2079633"/>
                <a:gd name="connsiteX43" fmla="*/ 2023473 w 2111981"/>
                <a:gd name="connsiteY43" fmla="*/ 765183 h 2079633"/>
                <a:gd name="connsiteX44" fmla="*/ 2048873 w 2111981"/>
                <a:gd name="connsiteY44" fmla="*/ 812808 h 2079633"/>
                <a:gd name="connsiteX45" fmla="*/ 2061573 w 2111981"/>
                <a:gd name="connsiteY45" fmla="*/ 850908 h 2079633"/>
                <a:gd name="connsiteX46" fmla="*/ 2064748 w 2111981"/>
                <a:gd name="connsiteY46" fmla="*/ 876308 h 2079633"/>
                <a:gd name="connsiteX47" fmla="*/ 2099673 w 2111981"/>
                <a:gd name="connsiteY47" fmla="*/ 955683 h 2079633"/>
                <a:gd name="connsiteX48" fmla="*/ 2109198 w 2111981"/>
                <a:gd name="connsiteY48" fmla="*/ 1181108 h 2079633"/>
                <a:gd name="connsiteX49" fmla="*/ 2099673 w 2111981"/>
                <a:gd name="connsiteY49" fmla="*/ 1193808 h 2079633"/>
                <a:gd name="connsiteX50" fmla="*/ 2093323 w 2111981"/>
                <a:gd name="connsiteY50" fmla="*/ 1212858 h 2079633"/>
                <a:gd name="connsiteX51" fmla="*/ 2061573 w 2111981"/>
                <a:gd name="connsiteY51" fmla="*/ 1273183 h 2079633"/>
                <a:gd name="connsiteX52" fmla="*/ 2052048 w 2111981"/>
                <a:gd name="connsiteY52" fmla="*/ 1292233 h 2079633"/>
                <a:gd name="connsiteX53" fmla="*/ 2029823 w 2111981"/>
                <a:gd name="connsiteY53" fmla="*/ 1330333 h 2079633"/>
                <a:gd name="connsiteX54" fmla="*/ 2004423 w 2111981"/>
                <a:gd name="connsiteY54" fmla="*/ 1371608 h 2079633"/>
                <a:gd name="connsiteX55" fmla="*/ 1975848 w 2111981"/>
                <a:gd name="connsiteY55" fmla="*/ 1393833 h 2079633"/>
                <a:gd name="connsiteX56" fmla="*/ 1963148 w 2111981"/>
                <a:gd name="connsiteY56" fmla="*/ 1409708 h 2079633"/>
                <a:gd name="connsiteX57" fmla="*/ 1928223 w 2111981"/>
                <a:gd name="connsiteY57" fmla="*/ 1435108 h 2079633"/>
                <a:gd name="connsiteX58" fmla="*/ 1905998 w 2111981"/>
                <a:gd name="connsiteY58" fmla="*/ 1454158 h 2079633"/>
                <a:gd name="connsiteX59" fmla="*/ 1848848 w 2111981"/>
                <a:gd name="connsiteY59" fmla="*/ 1485908 h 2079633"/>
                <a:gd name="connsiteX60" fmla="*/ 1810748 w 2111981"/>
                <a:gd name="connsiteY60" fmla="*/ 1517658 h 2079633"/>
                <a:gd name="connsiteX61" fmla="*/ 1791698 w 2111981"/>
                <a:gd name="connsiteY61" fmla="*/ 1533533 h 2079633"/>
                <a:gd name="connsiteX62" fmla="*/ 1775823 w 2111981"/>
                <a:gd name="connsiteY62" fmla="*/ 1543058 h 2079633"/>
                <a:gd name="connsiteX63" fmla="*/ 1718673 w 2111981"/>
                <a:gd name="connsiteY63" fmla="*/ 1606558 h 2079633"/>
                <a:gd name="connsiteX64" fmla="*/ 1709148 w 2111981"/>
                <a:gd name="connsiteY64" fmla="*/ 1619258 h 2079633"/>
                <a:gd name="connsiteX65" fmla="*/ 1680573 w 2111981"/>
                <a:gd name="connsiteY65" fmla="*/ 1651008 h 2079633"/>
                <a:gd name="connsiteX66" fmla="*/ 1658348 w 2111981"/>
                <a:gd name="connsiteY66" fmla="*/ 1679583 h 2079633"/>
                <a:gd name="connsiteX67" fmla="*/ 1623423 w 2111981"/>
                <a:gd name="connsiteY67" fmla="*/ 1714508 h 2079633"/>
                <a:gd name="connsiteX68" fmla="*/ 1604373 w 2111981"/>
                <a:gd name="connsiteY68" fmla="*/ 1733558 h 2079633"/>
                <a:gd name="connsiteX69" fmla="*/ 1569448 w 2111981"/>
                <a:gd name="connsiteY69" fmla="*/ 1774833 h 2079633"/>
                <a:gd name="connsiteX70" fmla="*/ 1559923 w 2111981"/>
                <a:gd name="connsiteY70" fmla="*/ 1787533 h 2079633"/>
                <a:gd name="connsiteX71" fmla="*/ 1547223 w 2111981"/>
                <a:gd name="connsiteY71" fmla="*/ 1797058 h 2079633"/>
                <a:gd name="connsiteX72" fmla="*/ 1540873 w 2111981"/>
                <a:gd name="connsiteY72" fmla="*/ 1806583 h 2079633"/>
                <a:gd name="connsiteX73" fmla="*/ 1524998 w 2111981"/>
                <a:gd name="connsiteY73" fmla="*/ 1816108 h 2079633"/>
                <a:gd name="connsiteX74" fmla="*/ 1480548 w 2111981"/>
                <a:gd name="connsiteY74" fmla="*/ 1860558 h 2079633"/>
                <a:gd name="connsiteX75" fmla="*/ 1464673 w 2111981"/>
                <a:gd name="connsiteY75" fmla="*/ 1879608 h 2079633"/>
                <a:gd name="connsiteX76" fmla="*/ 1455148 w 2111981"/>
                <a:gd name="connsiteY76" fmla="*/ 1892308 h 2079633"/>
                <a:gd name="connsiteX77" fmla="*/ 1445623 w 2111981"/>
                <a:gd name="connsiteY77" fmla="*/ 1901833 h 2079633"/>
                <a:gd name="connsiteX78" fmla="*/ 1432923 w 2111981"/>
                <a:gd name="connsiteY78" fmla="*/ 1917708 h 2079633"/>
                <a:gd name="connsiteX79" fmla="*/ 1423398 w 2111981"/>
                <a:gd name="connsiteY79" fmla="*/ 1927233 h 2079633"/>
                <a:gd name="connsiteX80" fmla="*/ 1417048 w 2111981"/>
                <a:gd name="connsiteY80" fmla="*/ 1936758 h 2079633"/>
                <a:gd name="connsiteX81" fmla="*/ 1391648 w 2111981"/>
                <a:gd name="connsiteY81" fmla="*/ 1955808 h 2079633"/>
                <a:gd name="connsiteX82" fmla="*/ 1356723 w 2111981"/>
                <a:gd name="connsiteY82" fmla="*/ 1971683 h 2079633"/>
                <a:gd name="connsiteX83" fmla="*/ 1344023 w 2111981"/>
                <a:gd name="connsiteY83" fmla="*/ 1978033 h 2079633"/>
                <a:gd name="connsiteX84" fmla="*/ 1331323 w 2111981"/>
                <a:gd name="connsiteY84" fmla="*/ 1987558 h 2079633"/>
                <a:gd name="connsiteX85" fmla="*/ 1312273 w 2111981"/>
                <a:gd name="connsiteY85" fmla="*/ 2006608 h 2079633"/>
                <a:gd name="connsiteX86" fmla="*/ 1270998 w 2111981"/>
                <a:gd name="connsiteY86" fmla="*/ 2025658 h 2079633"/>
                <a:gd name="connsiteX87" fmla="*/ 1258298 w 2111981"/>
                <a:gd name="connsiteY87" fmla="*/ 2032008 h 2079633"/>
                <a:gd name="connsiteX88" fmla="*/ 1236073 w 2111981"/>
                <a:gd name="connsiteY88" fmla="*/ 2038358 h 2079633"/>
                <a:gd name="connsiteX89" fmla="*/ 1226548 w 2111981"/>
                <a:gd name="connsiteY89" fmla="*/ 2044708 h 2079633"/>
                <a:gd name="connsiteX90" fmla="*/ 1217023 w 2111981"/>
                <a:gd name="connsiteY90" fmla="*/ 2047883 h 2079633"/>
                <a:gd name="connsiteX91" fmla="*/ 1175748 w 2111981"/>
                <a:gd name="connsiteY91" fmla="*/ 2057408 h 2079633"/>
                <a:gd name="connsiteX92" fmla="*/ 1150348 w 2111981"/>
                <a:gd name="connsiteY92" fmla="*/ 2070108 h 2079633"/>
                <a:gd name="connsiteX93" fmla="*/ 1102723 w 2111981"/>
                <a:gd name="connsiteY93" fmla="*/ 2079633 h 2079633"/>
                <a:gd name="connsiteX94" fmla="*/ 928098 w 2111981"/>
                <a:gd name="connsiteY94" fmla="*/ 2070108 h 2079633"/>
                <a:gd name="connsiteX95" fmla="*/ 886823 w 2111981"/>
                <a:gd name="connsiteY95" fmla="*/ 2054233 h 2079633"/>
                <a:gd name="connsiteX96" fmla="*/ 861423 w 2111981"/>
                <a:gd name="connsiteY96" fmla="*/ 2051058 h 2079633"/>
                <a:gd name="connsiteX97" fmla="*/ 845548 w 2111981"/>
                <a:gd name="connsiteY97" fmla="*/ 2035183 h 2079633"/>
                <a:gd name="connsiteX98" fmla="*/ 769348 w 2111981"/>
                <a:gd name="connsiteY98" fmla="*/ 1974858 h 2079633"/>
                <a:gd name="connsiteX99" fmla="*/ 747123 w 2111981"/>
                <a:gd name="connsiteY99" fmla="*/ 1946283 h 2079633"/>
                <a:gd name="connsiteX100" fmla="*/ 731248 w 2111981"/>
                <a:gd name="connsiteY100" fmla="*/ 1933583 h 2079633"/>
                <a:gd name="connsiteX101" fmla="*/ 715373 w 2111981"/>
                <a:gd name="connsiteY101" fmla="*/ 1917708 h 2079633"/>
                <a:gd name="connsiteX102" fmla="*/ 699498 w 2111981"/>
                <a:gd name="connsiteY102" fmla="*/ 1905008 h 2079633"/>
                <a:gd name="connsiteX103" fmla="*/ 680448 w 2111981"/>
                <a:gd name="connsiteY103" fmla="*/ 1885958 h 2079633"/>
                <a:gd name="connsiteX104" fmla="*/ 642348 w 2111981"/>
                <a:gd name="connsiteY104" fmla="*/ 1854208 h 2079633"/>
                <a:gd name="connsiteX105" fmla="*/ 601073 w 2111981"/>
                <a:gd name="connsiteY105" fmla="*/ 1806583 h 2079633"/>
                <a:gd name="connsiteX106" fmla="*/ 578848 w 2111981"/>
                <a:gd name="connsiteY106" fmla="*/ 1781183 h 2079633"/>
                <a:gd name="connsiteX107" fmla="*/ 537573 w 2111981"/>
                <a:gd name="connsiteY107" fmla="*/ 1739908 h 2079633"/>
                <a:gd name="connsiteX108" fmla="*/ 499473 w 2111981"/>
                <a:gd name="connsiteY108" fmla="*/ 1704983 h 2079633"/>
                <a:gd name="connsiteX109" fmla="*/ 470898 w 2111981"/>
                <a:gd name="connsiteY109" fmla="*/ 1670058 h 2079633"/>
                <a:gd name="connsiteX110" fmla="*/ 413748 w 2111981"/>
                <a:gd name="connsiteY110" fmla="*/ 1622433 h 2079633"/>
                <a:gd name="connsiteX111" fmla="*/ 401048 w 2111981"/>
                <a:gd name="connsiteY111" fmla="*/ 1612908 h 2079633"/>
                <a:gd name="connsiteX112" fmla="*/ 369298 w 2111981"/>
                <a:gd name="connsiteY112" fmla="*/ 1584333 h 2079633"/>
                <a:gd name="connsiteX113" fmla="*/ 328023 w 2111981"/>
                <a:gd name="connsiteY113" fmla="*/ 1558933 h 2079633"/>
                <a:gd name="connsiteX114" fmla="*/ 302623 w 2111981"/>
                <a:gd name="connsiteY114" fmla="*/ 1539883 h 2079633"/>
                <a:gd name="connsiteX115" fmla="*/ 223248 w 2111981"/>
                <a:gd name="connsiteY115" fmla="*/ 1470033 h 2079633"/>
                <a:gd name="connsiteX116" fmla="*/ 175623 w 2111981"/>
                <a:gd name="connsiteY116" fmla="*/ 1412883 h 2079633"/>
                <a:gd name="connsiteX117" fmla="*/ 118473 w 2111981"/>
                <a:gd name="connsiteY117" fmla="*/ 1339858 h 2079633"/>
                <a:gd name="connsiteX118" fmla="*/ 83548 w 2111981"/>
                <a:gd name="connsiteY118" fmla="*/ 1292233 h 2079633"/>
                <a:gd name="connsiteX119" fmla="*/ 64498 w 2111981"/>
                <a:gd name="connsiteY119" fmla="*/ 1266833 h 2079633"/>
                <a:gd name="connsiteX120" fmla="*/ 35923 w 2111981"/>
                <a:gd name="connsiteY120" fmla="*/ 1206508 h 2079633"/>
                <a:gd name="connsiteX121" fmla="*/ 26398 w 2111981"/>
                <a:gd name="connsiteY121" fmla="*/ 1171583 h 2079633"/>
                <a:gd name="connsiteX122" fmla="*/ 20048 w 2111981"/>
                <a:gd name="connsiteY122" fmla="*/ 1149358 h 2079633"/>
                <a:gd name="connsiteX123" fmla="*/ 16873 w 2111981"/>
                <a:gd name="connsiteY123" fmla="*/ 1133483 h 2079633"/>
                <a:gd name="connsiteX124" fmla="*/ 7348 w 2111981"/>
                <a:gd name="connsiteY124" fmla="*/ 1095383 h 2079633"/>
                <a:gd name="connsiteX125" fmla="*/ 998 w 2111981"/>
                <a:gd name="connsiteY125" fmla="*/ 1012833 h 2079633"/>
                <a:gd name="connsiteX126" fmla="*/ 10523 w 2111981"/>
                <a:gd name="connsiteY126" fmla="*/ 882658 h 2079633"/>
                <a:gd name="connsiteX127" fmla="*/ 35923 w 2111981"/>
                <a:gd name="connsiteY127" fmla="*/ 835033 h 2079633"/>
                <a:gd name="connsiteX128" fmla="*/ 51798 w 2111981"/>
                <a:gd name="connsiteY128" fmla="*/ 806458 h 2079633"/>
                <a:gd name="connsiteX129" fmla="*/ 83548 w 2111981"/>
                <a:gd name="connsiteY129" fmla="*/ 762008 h 2079633"/>
                <a:gd name="connsiteX130" fmla="*/ 99423 w 2111981"/>
                <a:gd name="connsiteY130" fmla="*/ 742958 h 2079633"/>
                <a:gd name="connsiteX131" fmla="*/ 143873 w 2111981"/>
                <a:gd name="connsiteY131" fmla="*/ 676283 h 2079633"/>
                <a:gd name="connsiteX132" fmla="*/ 308973 w 2111981"/>
                <a:gd name="connsiteY132" fmla="*/ 523883 h 2079633"/>
                <a:gd name="connsiteX133" fmla="*/ 366123 w 2111981"/>
                <a:gd name="connsiteY133" fmla="*/ 463558 h 2079633"/>
                <a:gd name="connsiteX134" fmla="*/ 416923 w 2111981"/>
                <a:gd name="connsiteY134" fmla="*/ 409583 h 2079633"/>
                <a:gd name="connsiteX135" fmla="*/ 445498 w 2111981"/>
                <a:gd name="connsiteY135" fmla="*/ 377833 h 2079633"/>
                <a:gd name="connsiteX136" fmla="*/ 493123 w 2111981"/>
                <a:gd name="connsiteY136" fmla="*/ 333383 h 2079633"/>
                <a:gd name="connsiteX137" fmla="*/ 712198 w 2111981"/>
                <a:gd name="connsiteY137" fmla="*/ 136533 h 2079633"/>
                <a:gd name="connsiteX138" fmla="*/ 750298 w 2111981"/>
                <a:gd name="connsiteY138" fmla="*/ 111133 h 2079633"/>
                <a:gd name="connsiteX139" fmla="*/ 785223 w 2111981"/>
                <a:gd name="connsiteY139" fmla="*/ 88908 h 2079633"/>
                <a:gd name="connsiteX140" fmla="*/ 883648 w 2111981"/>
                <a:gd name="connsiteY140" fmla="*/ 38108 h 2079633"/>
                <a:gd name="connsiteX141" fmla="*/ 1077323 w 2111981"/>
                <a:gd name="connsiteY141" fmla="*/ 8 h 2079633"/>
                <a:gd name="connsiteX142" fmla="*/ 1267823 w 2111981"/>
                <a:gd name="connsiteY142" fmla="*/ 34933 h 2079633"/>
                <a:gd name="connsiteX143" fmla="*/ 1296398 w 2111981"/>
                <a:gd name="connsiteY143" fmla="*/ 47633 h 2079633"/>
                <a:gd name="connsiteX0" fmla="*/ 1197973 w 2128918"/>
                <a:gd name="connsiteY0" fmla="*/ 25408 h 2079633"/>
                <a:gd name="connsiteX1" fmla="*/ 1217023 w 2128918"/>
                <a:gd name="connsiteY1" fmla="*/ 34933 h 2079633"/>
                <a:gd name="connsiteX2" fmla="*/ 1239248 w 2128918"/>
                <a:gd name="connsiteY2" fmla="*/ 38108 h 2079633"/>
                <a:gd name="connsiteX3" fmla="*/ 1258298 w 2128918"/>
                <a:gd name="connsiteY3" fmla="*/ 50808 h 2079633"/>
                <a:gd name="connsiteX4" fmla="*/ 1270998 w 2128918"/>
                <a:gd name="connsiteY4" fmla="*/ 57158 h 2079633"/>
                <a:gd name="connsiteX5" fmla="*/ 1290048 w 2128918"/>
                <a:gd name="connsiteY5" fmla="*/ 73033 h 2079633"/>
                <a:gd name="connsiteX6" fmla="*/ 1309098 w 2128918"/>
                <a:gd name="connsiteY6" fmla="*/ 79383 h 2079633"/>
                <a:gd name="connsiteX7" fmla="*/ 1324973 w 2128918"/>
                <a:gd name="connsiteY7" fmla="*/ 92083 h 2079633"/>
                <a:gd name="connsiteX8" fmla="*/ 1334498 w 2128918"/>
                <a:gd name="connsiteY8" fmla="*/ 95258 h 2079633"/>
                <a:gd name="connsiteX9" fmla="*/ 1340848 w 2128918"/>
                <a:gd name="connsiteY9" fmla="*/ 104783 h 2079633"/>
                <a:gd name="connsiteX10" fmla="*/ 1356723 w 2128918"/>
                <a:gd name="connsiteY10" fmla="*/ 114308 h 2079633"/>
                <a:gd name="connsiteX11" fmla="*/ 1382123 w 2128918"/>
                <a:gd name="connsiteY11" fmla="*/ 133358 h 2079633"/>
                <a:gd name="connsiteX12" fmla="*/ 1391648 w 2128918"/>
                <a:gd name="connsiteY12" fmla="*/ 139708 h 2079633"/>
                <a:gd name="connsiteX13" fmla="*/ 1432923 w 2128918"/>
                <a:gd name="connsiteY13" fmla="*/ 184158 h 2079633"/>
                <a:gd name="connsiteX14" fmla="*/ 1442448 w 2128918"/>
                <a:gd name="connsiteY14" fmla="*/ 196858 h 2079633"/>
                <a:gd name="connsiteX15" fmla="*/ 1455148 w 2128918"/>
                <a:gd name="connsiteY15" fmla="*/ 219083 h 2079633"/>
                <a:gd name="connsiteX16" fmla="*/ 1499598 w 2128918"/>
                <a:gd name="connsiteY16" fmla="*/ 260358 h 2079633"/>
                <a:gd name="connsiteX17" fmla="*/ 1512298 w 2128918"/>
                <a:gd name="connsiteY17" fmla="*/ 276233 h 2079633"/>
                <a:gd name="connsiteX18" fmla="*/ 1524998 w 2128918"/>
                <a:gd name="connsiteY18" fmla="*/ 288933 h 2079633"/>
                <a:gd name="connsiteX19" fmla="*/ 1531348 w 2128918"/>
                <a:gd name="connsiteY19" fmla="*/ 298458 h 2079633"/>
                <a:gd name="connsiteX20" fmla="*/ 1550398 w 2128918"/>
                <a:gd name="connsiteY20" fmla="*/ 317508 h 2079633"/>
                <a:gd name="connsiteX21" fmla="*/ 1559923 w 2128918"/>
                <a:gd name="connsiteY21" fmla="*/ 327033 h 2079633"/>
                <a:gd name="connsiteX22" fmla="*/ 1569448 w 2128918"/>
                <a:gd name="connsiteY22" fmla="*/ 339733 h 2079633"/>
                <a:gd name="connsiteX23" fmla="*/ 1594848 w 2128918"/>
                <a:gd name="connsiteY23" fmla="*/ 358783 h 2079633"/>
                <a:gd name="connsiteX24" fmla="*/ 1632948 w 2128918"/>
                <a:gd name="connsiteY24" fmla="*/ 390533 h 2079633"/>
                <a:gd name="connsiteX25" fmla="*/ 1648823 w 2128918"/>
                <a:gd name="connsiteY25" fmla="*/ 409583 h 2079633"/>
                <a:gd name="connsiteX26" fmla="*/ 1661523 w 2128918"/>
                <a:gd name="connsiteY26" fmla="*/ 419108 h 2079633"/>
                <a:gd name="connsiteX27" fmla="*/ 1683748 w 2128918"/>
                <a:gd name="connsiteY27" fmla="*/ 441333 h 2079633"/>
                <a:gd name="connsiteX28" fmla="*/ 1702798 w 2128918"/>
                <a:gd name="connsiteY28" fmla="*/ 460383 h 2079633"/>
                <a:gd name="connsiteX29" fmla="*/ 1712323 w 2128918"/>
                <a:gd name="connsiteY29" fmla="*/ 469908 h 2079633"/>
                <a:gd name="connsiteX30" fmla="*/ 1744073 w 2128918"/>
                <a:gd name="connsiteY30" fmla="*/ 495308 h 2079633"/>
                <a:gd name="connsiteX31" fmla="*/ 1753598 w 2128918"/>
                <a:gd name="connsiteY31" fmla="*/ 504833 h 2079633"/>
                <a:gd name="connsiteX32" fmla="*/ 1766298 w 2128918"/>
                <a:gd name="connsiteY32" fmla="*/ 514358 h 2079633"/>
                <a:gd name="connsiteX33" fmla="*/ 1782173 w 2128918"/>
                <a:gd name="connsiteY33" fmla="*/ 530233 h 2079633"/>
                <a:gd name="connsiteX34" fmla="*/ 1813923 w 2128918"/>
                <a:gd name="connsiteY34" fmla="*/ 555633 h 2079633"/>
                <a:gd name="connsiteX35" fmla="*/ 1817098 w 2128918"/>
                <a:gd name="connsiteY35" fmla="*/ 565158 h 2079633"/>
                <a:gd name="connsiteX36" fmla="*/ 1842498 w 2128918"/>
                <a:gd name="connsiteY36" fmla="*/ 587383 h 2079633"/>
                <a:gd name="connsiteX37" fmla="*/ 1893298 w 2128918"/>
                <a:gd name="connsiteY37" fmla="*/ 644533 h 2079633"/>
                <a:gd name="connsiteX38" fmla="*/ 1918698 w 2128918"/>
                <a:gd name="connsiteY38" fmla="*/ 663583 h 2079633"/>
                <a:gd name="connsiteX39" fmla="*/ 1931398 w 2128918"/>
                <a:gd name="connsiteY39" fmla="*/ 669933 h 2079633"/>
                <a:gd name="connsiteX40" fmla="*/ 1979023 w 2128918"/>
                <a:gd name="connsiteY40" fmla="*/ 720733 h 2079633"/>
                <a:gd name="connsiteX41" fmla="*/ 1988548 w 2128918"/>
                <a:gd name="connsiteY41" fmla="*/ 730258 h 2079633"/>
                <a:gd name="connsiteX42" fmla="*/ 2017123 w 2128918"/>
                <a:gd name="connsiteY42" fmla="*/ 755658 h 2079633"/>
                <a:gd name="connsiteX43" fmla="*/ 2023473 w 2128918"/>
                <a:gd name="connsiteY43" fmla="*/ 765183 h 2079633"/>
                <a:gd name="connsiteX44" fmla="*/ 2048873 w 2128918"/>
                <a:gd name="connsiteY44" fmla="*/ 812808 h 2079633"/>
                <a:gd name="connsiteX45" fmla="*/ 2061573 w 2128918"/>
                <a:gd name="connsiteY45" fmla="*/ 850908 h 2079633"/>
                <a:gd name="connsiteX46" fmla="*/ 2064748 w 2128918"/>
                <a:gd name="connsiteY46" fmla="*/ 876308 h 2079633"/>
                <a:gd name="connsiteX47" fmla="*/ 2121898 w 2128918"/>
                <a:gd name="connsiteY47" fmla="*/ 971558 h 2079633"/>
                <a:gd name="connsiteX48" fmla="*/ 2109198 w 2128918"/>
                <a:gd name="connsiteY48" fmla="*/ 1181108 h 2079633"/>
                <a:gd name="connsiteX49" fmla="*/ 2099673 w 2128918"/>
                <a:gd name="connsiteY49" fmla="*/ 1193808 h 2079633"/>
                <a:gd name="connsiteX50" fmla="*/ 2093323 w 2128918"/>
                <a:gd name="connsiteY50" fmla="*/ 1212858 h 2079633"/>
                <a:gd name="connsiteX51" fmla="*/ 2061573 w 2128918"/>
                <a:gd name="connsiteY51" fmla="*/ 1273183 h 2079633"/>
                <a:gd name="connsiteX52" fmla="*/ 2052048 w 2128918"/>
                <a:gd name="connsiteY52" fmla="*/ 1292233 h 2079633"/>
                <a:gd name="connsiteX53" fmla="*/ 2029823 w 2128918"/>
                <a:gd name="connsiteY53" fmla="*/ 1330333 h 2079633"/>
                <a:gd name="connsiteX54" fmla="*/ 2004423 w 2128918"/>
                <a:gd name="connsiteY54" fmla="*/ 1371608 h 2079633"/>
                <a:gd name="connsiteX55" fmla="*/ 1975848 w 2128918"/>
                <a:gd name="connsiteY55" fmla="*/ 1393833 h 2079633"/>
                <a:gd name="connsiteX56" fmla="*/ 1963148 w 2128918"/>
                <a:gd name="connsiteY56" fmla="*/ 1409708 h 2079633"/>
                <a:gd name="connsiteX57" fmla="*/ 1928223 w 2128918"/>
                <a:gd name="connsiteY57" fmla="*/ 1435108 h 2079633"/>
                <a:gd name="connsiteX58" fmla="*/ 1905998 w 2128918"/>
                <a:gd name="connsiteY58" fmla="*/ 1454158 h 2079633"/>
                <a:gd name="connsiteX59" fmla="*/ 1848848 w 2128918"/>
                <a:gd name="connsiteY59" fmla="*/ 1485908 h 2079633"/>
                <a:gd name="connsiteX60" fmla="*/ 1810748 w 2128918"/>
                <a:gd name="connsiteY60" fmla="*/ 1517658 h 2079633"/>
                <a:gd name="connsiteX61" fmla="*/ 1791698 w 2128918"/>
                <a:gd name="connsiteY61" fmla="*/ 1533533 h 2079633"/>
                <a:gd name="connsiteX62" fmla="*/ 1775823 w 2128918"/>
                <a:gd name="connsiteY62" fmla="*/ 1543058 h 2079633"/>
                <a:gd name="connsiteX63" fmla="*/ 1718673 w 2128918"/>
                <a:gd name="connsiteY63" fmla="*/ 1606558 h 2079633"/>
                <a:gd name="connsiteX64" fmla="*/ 1709148 w 2128918"/>
                <a:gd name="connsiteY64" fmla="*/ 1619258 h 2079633"/>
                <a:gd name="connsiteX65" fmla="*/ 1680573 w 2128918"/>
                <a:gd name="connsiteY65" fmla="*/ 1651008 h 2079633"/>
                <a:gd name="connsiteX66" fmla="*/ 1658348 w 2128918"/>
                <a:gd name="connsiteY66" fmla="*/ 1679583 h 2079633"/>
                <a:gd name="connsiteX67" fmla="*/ 1623423 w 2128918"/>
                <a:gd name="connsiteY67" fmla="*/ 1714508 h 2079633"/>
                <a:gd name="connsiteX68" fmla="*/ 1604373 w 2128918"/>
                <a:gd name="connsiteY68" fmla="*/ 1733558 h 2079633"/>
                <a:gd name="connsiteX69" fmla="*/ 1569448 w 2128918"/>
                <a:gd name="connsiteY69" fmla="*/ 1774833 h 2079633"/>
                <a:gd name="connsiteX70" fmla="*/ 1559923 w 2128918"/>
                <a:gd name="connsiteY70" fmla="*/ 1787533 h 2079633"/>
                <a:gd name="connsiteX71" fmla="*/ 1547223 w 2128918"/>
                <a:gd name="connsiteY71" fmla="*/ 1797058 h 2079633"/>
                <a:gd name="connsiteX72" fmla="*/ 1540873 w 2128918"/>
                <a:gd name="connsiteY72" fmla="*/ 1806583 h 2079633"/>
                <a:gd name="connsiteX73" fmla="*/ 1524998 w 2128918"/>
                <a:gd name="connsiteY73" fmla="*/ 1816108 h 2079633"/>
                <a:gd name="connsiteX74" fmla="*/ 1480548 w 2128918"/>
                <a:gd name="connsiteY74" fmla="*/ 1860558 h 2079633"/>
                <a:gd name="connsiteX75" fmla="*/ 1464673 w 2128918"/>
                <a:gd name="connsiteY75" fmla="*/ 1879608 h 2079633"/>
                <a:gd name="connsiteX76" fmla="*/ 1455148 w 2128918"/>
                <a:gd name="connsiteY76" fmla="*/ 1892308 h 2079633"/>
                <a:gd name="connsiteX77" fmla="*/ 1445623 w 2128918"/>
                <a:gd name="connsiteY77" fmla="*/ 1901833 h 2079633"/>
                <a:gd name="connsiteX78" fmla="*/ 1432923 w 2128918"/>
                <a:gd name="connsiteY78" fmla="*/ 1917708 h 2079633"/>
                <a:gd name="connsiteX79" fmla="*/ 1423398 w 2128918"/>
                <a:gd name="connsiteY79" fmla="*/ 1927233 h 2079633"/>
                <a:gd name="connsiteX80" fmla="*/ 1417048 w 2128918"/>
                <a:gd name="connsiteY80" fmla="*/ 1936758 h 2079633"/>
                <a:gd name="connsiteX81" fmla="*/ 1391648 w 2128918"/>
                <a:gd name="connsiteY81" fmla="*/ 1955808 h 2079633"/>
                <a:gd name="connsiteX82" fmla="*/ 1356723 w 2128918"/>
                <a:gd name="connsiteY82" fmla="*/ 1971683 h 2079633"/>
                <a:gd name="connsiteX83" fmla="*/ 1344023 w 2128918"/>
                <a:gd name="connsiteY83" fmla="*/ 1978033 h 2079633"/>
                <a:gd name="connsiteX84" fmla="*/ 1331323 w 2128918"/>
                <a:gd name="connsiteY84" fmla="*/ 1987558 h 2079633"/>
                <a:gd name="connsiteX85" fmla="*/ 1312273 w 2128918"/>
                <a:gd name="connsiteY85" fmla="*/ 2006608 h 2079633"/>
                <a:gd name="connsiteX86" fmla="*/ 1270998 w 2128918"/>
                <a:gd name="connsiteY86" fmla="*/ 2025658 h 2079633"/>
                <a:gd name="connsiteX87" fmla="*/ 1258298 w 2128918"/>
                <a:gd name="connsiteY87" fmla="*/ 2032008 h 2079633"/>
                <a:gd name="connsiteX88" fmla="*/ 1236073 w 2128918"/>
                <a:gd name="connsiteY88" fmla="*/ 2038358 h 2079633"/>
                <a:gd name="connsiteX89" fmla="*/ 1226548 w 2128918"/>
                <a:gd name="connsiteY89" fmla="*/ 2044708 h 2079633"/>
                <a:gd name="connsiteX90" fmla="*/ 1217023 w 2128918"/>
                <a:gd name="connsiteY90" fmla="*/ 2047883 h 2079633"/>
                <a:gd name="connsiteX91" fmla="*/ 1175748 w 2128918"/>
                <a:gd name="connsiteY91" fmla="*/ 2057408 h 2079633"/>
                <a:gd name="connsiteX92" fmla="*/ 1150348 w 2128918"/>
                <a:gd name="connsiteY92" fmla="*/ 2070108 h 2079633"/>
                <a:gd name="connsiteX93" fmla="*/ 1102723 w 2128918"/>
                <a:gd name="connsiteY93" fmla="*/ 2079633 h 2079633"/>
                <a:gd name="connsiteX94" fmla="*/ 928098 w 2128918"/>
                <a:gd name="connsiteY94" fmla="*/ 2070108 h 2079633"/>
                <a:gd name="connsiteX95" fmla="*/ 886823 w 2128918"/>
                <a:gd name="connsiteY95" fmla="*/ 2054233 h 2079633"/>
                <a:gd name="connsiteX96" fmla="*/ 861423 w 2128918"/>
                <a:gd name="connsiteY96" fmla="*/ 2051058 h 2079633"/>
                <a:gd name="connsiteX97" fmla="*/ 845548 w 2128918"/>
                <a:gd name="connsiteY97" fmla="*/ 2035183 h 2079633"/>
                <a:gd name="connsiteX98" fmla="*/ 769348 w 2128918"/>
                <a:gd name="connsiteY98" fmla="*/ 1974858 h 2079633"/>
                <a:gd name="connsiteX99" fmla="*/ 747123 w 2128918"/>
                <a:gd name="connsiteY99" fmla="*/ 1946283 h 2079633"/>
                <a:gd name="connsiteX100" fmla="*/ 731248 w 2128918"/>
                <a:gd name="connsiteY100" fmla="*/ 1933583 h 2079633"/>
                <a:gd name="connsiteX101" fmla="*/ 715373 w 2128918"/>
                <a:gd name="connsiteY101" fmla="*/ 1917708 h 2079633"/>
                <a:gd name="connsiteX102" fmla="*/ 699498 w 2128918"/>
                <a:gd name="connsiteY102" fmla="*/ 1905008 h 2079633"/>
                <a:gd name="connsiteX103" fmla="*/ 680448 w 2128918"/>
                <a:gd name="connsiteY103" fmla="*/ 1885958 h 2079633"/>
                <a:gd name="connsiteX104" fmla="*/ 642348 w 2128918"/>
                <a:gd name="connsiteY104" fmla="*/ 1854208 h 2079633"/>
                <a:gd name="connsiteX105" fmla="*/ 601073 w 2128918"/>
                <a:gd name="connsiteY105" fmla="*/ 1806583 h 2079633"/>
                <a:gd name="connsiteX106" fmla="*/ 578848 w 2128918"/>
                <a:gd name="connsiteY106" fmla="*/ 1781183 h 2079633"/>
                <a:gd name="connsiteX107" fmla="*/ 537573 w 2128918"/>
                <a:gd name="connsiteY107" fmla="*/ 1739908 h 2079633"/>
                <a:gd name="connsiteX108" fmla="*/ 499473 w 2128918"/>
                <a:gd name="connsiteY108" fmla="*/ 1704983 h 2079633"/>
                <a:gd name="connsiteX109" fmla="*/ 470898 w 2128918"/>
                <a:gd name="connsiteY109" fmla="*/ 1670058 h 2079633"/>
                <a:gd name="connsiteX110" fmla="*/ 413748 w 2128918"/>
                <a:gd name="connsiteY110" fmla="*/ 1622433 h 2079633"/>
                <a:gd name="connsiteX111" fmla="*/ 401048 w 2128918"/>
                <a:gd name="connsiteY111" fmla="*/ 1612908 h 2079633"/>
                <a:gd name="connsiteX112" fmla="*/ 369298 w 2128918"/>
                <a:gd name="connsiteY112" fmla="*/ 1584333 h 2079633"/>
                <a:gd name="connsiteX113" fmla="*/ 328023 w 2128918"/>
                <a:gd name="connsiteY113" fmla="*/ 1558933 h 2079633"/>
                <a:gd name="connsiteX114" fmla="*/ 302623 w 2128918"/>
                <a:gd name="connsiteY114" fmla="*/ 1539883 h 2079633"/>
                <a:gd name="connsiteX115" fmla="*/ 223248 w 2128918"/>
                <a:gd name="connsiteY115" fmla="*/ 1470033 h 2079633"/>
                <a:gd name="connsiteX116" fmla="*/ 175623 w 2128918"/>
                <a:gd name="connsiteY116" fmla="*/ 1412883 h 2079633"/>
                <a:gd name="connsiteX117" fmla="*/ 118473 w 2128918"/>
                <a:gd name="connsiteY117" fmla="*/ 1339858 h 2079633"/>
                <a:gd name="connsiteX118" fmla="*/ 83548 w 2128918"/>
                <a:gd name="connsiteY118" fmla="*/ 1292233 h 2079633"/>
                <a:gd name="connsiteX119" fmla="*/ 64498 w 2128918"/>
                <a:gd name="connsiteY119" fmla="*/ 1266833 h 2079633"/>
                <a:gd name="connsiteX120" fmla="*/ 35923 w 2128918"/>
                <a:gd name="connsiteY120" fmla="*/ 1206508 h 2079633"/>
                <a:gd name="connsiteX121" fmla="*/ 26398 w 2128918"/>
                <a:gd name="connsiteY121" fmla="*/ 1171583 h 2079633"/>
                <a:gd name="connsiteX122" fmla="*/ 20048 w 2128918"/>
                <a:gd name="connsiteY122" fmla="*/ 1149358 h 2079633"/>
                <a:gd name="connsiteX123" fmla="*/ 16873 w 2128918"/>
                <a:gd name="connsiteY123" fmla="*/ 1133483 h 2079633"/>
                <a:gd name="connsiteX124" fmla="*/ 7348 w 2128918"/>
                <a:gd name="connsiteY124" fmla="*/ 1095383 h 2079633"/>
                <a:gd name="connsiteX125" fmla="*/ 998 w 2128918"/>
                <a:gd name="connsiteY125" fmla="*/ 1012833 h 2079633"/>
                <a:gd name="connsiteX126" fmla="*/ 10523 w 2128918"/>
                <a:gd name="connsiteY126" fmla="*/ 882658 h 2079633"/>
                <a:gd name="connsiteX127" fmla="*/ 35923 w 2128918"/>
                <a:gd name="connsiteY127" fmla="*/ 835033 h 2079633"/>
                <a:gd name="connsiteX128" fmla="*/ 51798 w 2128918"/>
                <a:gd name="connsiteY128" fmla="*/ 806458 h 2079633"/>
                <a:gd name="connsiteX129" fmla="*/ 83548 w 2128918"/>
                <a:gd name="connsiteY129" fmla="*/ 762008 h 2079633"/>
                <a:gd name="connsiteX130" fmla="*/ 99423 w 2128918"/>
                <a:gd name="connsiteY130" fmla="*/ 742958 h 2079633"/>
                <a:gd name="connsiteX131" fmla="*/ 143873 w 2128918"/>
                <a:gd name="connsiteY131" fmla="*/ 676283 h 2079633"/>
                <a:gd name="connsiteX132" fmla="*/ 308973 w 2128918"/>
                <a:gd name="connsiteY132" fmla="*/ 523883 h 2079633"/>
                <a:gd name="connsiteX133" fmla="*/ 366123 w 2128918"/>
                <a:gd name="connsiteY133" fmla="*/ 463558 h 2079633"/>
                <a:gd name="connsiteX134" fmla="*/ 416923 w 2128918"/>
                <a:gd name="connsiteY134" fmla="*/ 409583 h 2079633"/>
                <a:gd name="connsiteX135" fmla="*/ 445498 w 2128918"/>
                <a:gd name="connsiteY135" fmla="*/ 377833 h 2079633"/>
                <a:gd name="connsiteX136" fmla="*/ 493123 w 2128918"/>
                <a:gd name="connsiteY136" fmla="*/ 333383 h 2079633"/>
                <a:gd name="connsiteX137" fmla="*/ 712198 w 2128918"/>
                <a:gd name="connsiteY137" fmla="*/ 136533 h 2079633"/>
                <a:gd name="connsiteX138" fmla="*/ 750298 w 2128918"/>
                <a:gd name="connsiteY138" fmla="*/ 111133 h 2079633"/>
                <a:gd name="connsiteX139" fmla="*/ 785223 w 2128918"/>
                <a:gd name="connsiteY139" fmla="*/ 88908 h 2079633"/>
                <a:gd name="connsiteX140" fmla="*/ 883648 w 2128918"/>
                <a:gd name="connsiteY140" fmla="*/ 38108 h 2079633"/>
                <a:gd name="connsiteX141" fmla="*/ 1077323 w 2128918"/>
                <a:gd name="connsiteY141" fmla="*/ 8 h 2079633"/>
                <a:gd name="connsiteX142" fmla="*/ 1267823 w 2128918"/>
                <a:gd name="connsiteY142" fmla="*/ 34933 h 2079633"/>
                <a:gd name="connsiteX143" fmla="*/ 1296398 w 2128918"/>
                <a:gd name="connsiteY143" fmla="*/ 47633 h 2079633"/>
                <a:gd name="connsiteX0" fmla="*/ 1197973 w 2133004"/>
                <a:gd name="connsiteY0" fmla="*/ 25408 h 2079633"/>
                <a:gd name="connsiteX1" fmla="*/ 1217023 w 2133004"/>
                <a:gd name="connsiteY1" fmla="*/ 34933 h 2079633"/>
                <a:gd name="connsiteX2" fmla="*/ 1239248 w 2133004"/>
                <a:gd name="connsiteY2" fmla="*/ 38108 h 2079633"/>
                <a:gd name="connsiteX3" fmla="*/ 1258298 w 2133004"/>
                <a:gd name="connsiteY3" fmla="*/ 50808 h 2079633"/>
                <a:gd name="connsiteX4" fmla="*/ 1270998 w 2133004"/>
                <a:gd name="connsiteY4" fmla="*/ 57158 h 2079633"/>
                <a:gd name="connsiteX5" fmla="*/ 1290048 w 2133004"/>
                <a:gd name="connsiteY5" fmla="*/ 73033 h 2079633"/>
                <a:gd name="connsiteX6" fmla="*/ 1309098 w 2133004"/>
                <a:gd name="connsiteY6" fmla="*/ 79383 h 2079633"/>
                <a:gd name="connsiteX7" fmla="*/ 1324973 w 2133004"/>
                <a:gd name="connsiteY7" fmla="*/ 92083 h 2079633"/>
                <a:gd name="connsiteX8" fmla="*/ 1334498 w 2133004"/>
                <a:gd name="connsiteY8" fmla="*/ 95258 h 2079633"/>
                <a:gd name="connsiteX9" fmla="*/ 1340848 w 2133004"/>
                <a:gd name="connsiteY9" fmla="*/ 104783 h 2079633"/>
                <a:gd name="connsiteX10" fmla="*/ 1356723 w 2133004"/>
                <a:gd name="connsiteY10" fmla="*/ 114308 h 2079633"/>
                <a:gd name="connsiteX11" fmla="*/ 1382123 w 2133004"/>
                <a:gd name="connsiteY11" fmla="*/ 133358 h 2079633"/>
                <a:gd name="connsiteX12" fmla="*/ 1391648 w 2133004"/>
                <a:gd name="connsiteY12" fmla="*/ 139708 h 2079633"/>
                <a:gd name="connsiteX13" fmla="*/ 1432923 w 2133004"/>
                <a:gd name="connsiteY13" fmla="*/ 184158 h 2079633"/>
                <a:gd name="connsiteX14" fmla="*/ 1442448 w 2133004"/>
                <a:gd name="connsiteY14" fmla="*/ 196858 h 2079633"/>
                <a:gd name="connsiteX15" fmla="*/ 1455148 w 2133004"/>
                <a:gd name="connsiteY15" fmla="*/ 219083 h 2079633"/>
                <a:gd name="connsiteX16" fmla="*/ 1499598 w 2133004"/>
                <a:gd name="connsiteY16" fmla="*/ 260358 h 2079633"/>
                <a:gd name="connsiteX17" fmla="*/ 1512298 w 2133004"/>
                <a:gd name="connsiteY17" fmla="*/ 276233 h 2079633"/>
                <a:gd name="connsiteX18" fmla="*/ 1524998 w 2133004"/>
                <a:gd name="connsiteY18" fmla="*/ 288933 h 2079633"/>
                <a:gd name="connsiteX19" fmla="*/ 1531348 w 2133004"/>
                <a:gd name="connsiteY19" fmla="*/ 298458 h 2079633"/>
                <a:gd name="connsiteX20" fmla="*/ 1550398 w 2133004"/>
                <a:gd name="connsiteY20" fmla="*/ 317508 h 2079633"/>
                <a:gd name="connsiteX21" fmla="*/ 1559923 w 2133004"/>
                <a:gd name="connsiteY21" fmla="*/ 327033 h 2079633"/>
                <a:gd name="connsiteX22" fmla="*/ 1569448 w 2133004"/>
                <a:gd name="connsiteY22" fmla="*/ 339733 h 2079633"/>
                <a:gd name="connsiteX23" fmla="*/ 1594848 w 2133004"/>
                <a:gd name="connsiteY23" fmla="*/ 358783 h 2079633"/>
                <a:gd name="connsiteX24" fmla="*/ 1632948 w 2133004"/>
                <a:gd name="connsiteY24" fmla="*/ 390533 h 2079633"/>
                <a:gd name="connsiteX25" fmla="*/ 1648823 w 2133004"/>
                <a:gd name="connsiteY25" fmla="*/ 409583 h 2079633"/>
                <a:gd name="connsiteX26" fmla="*/ 1661523 w 2133004"/>
                <a:gd name="connsiteY26" fmla="*/ 419108 h 2079633"/>
                <a:gd name="connsiteX27" fmla="*/ 1683748 w 2133004"/>
                <a:gd name="connsiteY27" fmla="*/ 441333 h 2079633"/>
                <a:gd name="connsiteX28" fmla="*/ 1702798 w 2133004"/>
                <a:gd name="connsiteY28" fmla="*/ 460383 h 2079633"/>
                <a:gd name="connsiteX29" fmla="*/ 1712323 w 2133004"/>
                <a:gd name="connsiteY29" fmla="*/ 469908 h 2079633"/>
                <a:gd name="connsiteX30" fmla="*/ 1744073 w 2133004"/>
                <a:gd name="connsiteY30" fmla="*/ 495308 h 2079633"/>
                <a:gd name="connsiteX31" fmla="*/ 1753598 w 2133004"/>
                <a:gd name="connsiteY31" fmla="*/ 504833 h 2079633"/>
                <a:gd name="connsiteX32" fmla="*/ 1766298 w 2133004"/>
                <a:gd name="connsiteY32" fmla="*/ 514358 h 2079633"/>
                <a:gd name="connsiteX33" fmla="*/ 1782173 w 2133004"/>
                <a:gd name="connsiteY33" fmla="*/ 530233 h 2079633"/>
                <a:gd name="connsiteX34" fmla="*/ 1813923 w 2133004"/>
                <a:gd name="connsiteY34" fmla="*/ 555633 h 2079633"/>
                <a:gd name="connsiteX35" fmla="*/ 1817098 w 2133004"/>
                <a:gd name="connsiteY35" fmla="*/ 565158 h 2079633"/>
                <a:gd name="connsiteX36" fmla="*/ 1842498 w 2133004"/>
                <a:gd name="connsiteY36" fmla="*/ 587383 h 2079633"/>
                <a:gd name="connsiteX37" fmla="*/ 1893298 w 2133004"/>
                <a:gd name="connsiteY37" fmla="*/ 644533 h 2079633"/>
                <a:gd name="connsiteX38" fmla="*/ 1918698 w 2133004"/>
                <a:gd name="connsiteY38" fmla="*/ 663583 h 2079633"/>
                <a:gd name="connsiteX39" fmla="*/ 1931398 w 2133004"/>
                <a:gd name="connsiteY39" fmla="*/ 669933 h 2079633"/>
                <a:gd name="connsiteX40" fmla="*/ 1979023 w 2133004"/>
                <a:gd name="connsiteY40" fmla="*/ 720733 h 2079633"/>
                <a:gd name="connsiteX41" fmla="*/ 1988548 w 2133004"/>
                <a:gd name="connsiteY41" fmla="*/ 730258 h 2079633"/>
                <a:gd name="connsiteX42" fmla="*/ 2017123 w 2133004"/>
                <a:gd name="connsiteY42" fmla="*/ 755658 h 2079633"/>
                <a:gd name="connsiteX43" fmla="*/ 2023473 w 2133004"/>
                <a:gd name="connsiteY43" fmla="*/ 765183 h 2079633"/>
                <a:gd name="connsiteX44" fmla="*/ 2048873 w 2133004"/>
                <a:gd name="connsiteY44" fmla="*/ 812808 h 2079633"/>
                <a:gd name="connsiteX45" fmla="*/ 2061573 w 2133004"/>
                <a:gd name="connsiteY45" fmla="*/ 850908 h 2079633"/>
                <a:gd name="connsiteX46" fmla="*/ 2064748 w 2133004"/>
                <a:gd name="connsiteY46" fmla="*/ 876308 h 2079633"/>
                <a:gd name="connsiteX47" fmla="*/ 2121898 w 2133004"/>
                <a:gd name="connsiteY47" fmla="*/ 971558 h 2079633"/>
                <a:gd name="connsiteX48" fmla="*/ 2109198 w 2133004"/>
                <a:gd name="connsiteY48" fmla="*/ 1181108 h 2079633"/>
                <a:gd name="connsiteX49" fmla="*/ 2099673 w 2133004"/>
                <a:gd name="connsiteY49" fmla="*/ 1193808 h 2079633"/>
                <a:gd name="connsiteX50" fmla="*/ 2093323 w 2133004"/>
                <a:gd name="connsiteY50" fmla="*/ 1212858 h 2079633"/>
                <a:gd name="connsiteX51" fmla="*/ 2061573 w 2133004"/>
                <a:gd name="connsiteY51" fmla="*/ 1273183 h 2079633"/>
                <a:gd name="connsiteX52" fmla="*/ 2052048 w 2133004"/>
                <a:gd name="connsiteY52" fmla="*/ 1292233 h 2079633"/>
                <a:gd name="connsiteX53" fmla="*/ 2029823 w 2133004"/>
                <a:gd name="connsiteY53" fmla="*/ 1330333 h 2079633"/>
                <a:gd name="connsiteX54" fmla="*/ 2004423 w 2133004"/>
                <a:gd name="connsiteY54" fmla="*/ 1371608 h 2079633"/>
                <a:gd name="connsiteX55" fmla="*/ 1975848 w 2133004"/>
                <a:gd name="connsiteY55" fmla="*/ 1393833 h 2079633"/>
                <a:gd name="connsiteX56" fmla="*/ 1963148 w 2133004"/>
                <a:gd name="connsiteY56" fmla="*/ 1409708 h 2079633"/>
                <a:gd name="connsiteX57" fmla="*/ 1928223 w 2133004"/>
                <a:gd name="connsiteY57" fmla="*/ 1435108 h 2079633"/>
                <a:gd name="connsiteX58" fmla="*/ 1905998 w 2133004"/>
                <a:gd name="connsiteY58" fmla="*/ 1454158 h 2079633"/>
                <a:gd name="connsiteX59" fmla="*/ 1848848 w 2133004"/>
                <a:gd name="connsiteY59" fmla="*/ 1485908 h 2079633"/>
                <a:gd name="connsiteX60" fmla="*/ 1810748 w 2133004"/>
                <a:gd name="connsiteY60" fmla="*/ 1517658 h 2079633"/>
                <a:gd name="connsiteX61" fmla="*/ 1791698 w 2133004"/>
                <a:gd name="connsiteY61" fmla="*/ 1533533 h 2079633"/>
                <a:gd name="connsiteX62" fmla="*/ 1775823 w 2133004"/>
                <a:gd name="connsiteY62" fmla="*/ 1543058 h 2079633"/>
                <a:gd name="connsiteX63" fmla="*/ 1718673 w 2133004"/>
                <a:gd name="connsiteY63" fmla="*/ 1606558 h 2079633"/>
                <a:gd name="connsiteX64" fmla="*/ 1709148 w 2133004"/>
                <a:gd name="connsiteY64" fmla="*/ 1619258 h 2079633"/>
                <a:gd name="connsiteX65" fmla="*/ 1680573 w 2133004"/>
                <a:gd name="connsiteY65" fmla="*/ 1651008 h 2079633"/>
                <a:gd name="connsiteX66" fmla="*/ 1658348 w 2133004"/>
                <a:gd name="connsiteY66" fmla="*/ 1679583 h 2079633"/>
                <a:gd name="connsiteX67" fmla="*/ 1623423 w 2133004"/>
                <a:gd name="connsiteY67" fmla="*/ 1714508 h 2079633"/>
                <a:gd name="connsiteX68" fmla="*/ 1604373 w 2133004"/>
                <a:gd name="connsiteY68" fmla="*/ 1733558 h 2079633"/>
                <a:gd name="connsiteX69" fmla="*/ 1569448 w 2133004"/>
                <a:gd name="connsiteY69" fmla="*/ 1774833 h 2079633"/>
                <a:gd name="connsiteX70" fmla="*/ 1559923 w 2133004"/>
                <a:gd name="connsiteY70" fmla="*/ 1787533 h 2079633"/>
                <a:gd name="connsiteX71" fmla="*/ 1547223 w 2133004"/>
                <a:gd name="connsiteY71" fmla="*/ 1797058 h 2079633"/>
                <a:gd name="connsiteX72" fmla="*/ 1540873 w 2133004"/>
                <a:gd name="connsiteY72" fmla="*/ 1806583 h 2079633"/>
                <a:gd name="connsiteX73" fmla="*/ 1524998 w 2133004"/>
                <a:gd name="connsiteY73" fmla="*/ 1816108 h 2079633"/>
                <a:gd name="connsiteX74" fmla="*/ 1480548 w 2133004"/>
                <a:gd name="connsiteY74" fmla="*/ 1860558 h 2079633"/>
                <a:gd name="connsiteX75" fmla="*/ 1464673 w 2133004"/>
                <a:gd name="connsiteY75" fmla="*/ 1879608 h 2079633"/>
                <a:gd name="connsiteX76" fmla="*/ 1455148 w 2133004"/>
                <a:gd name="connsiteY76" fmla="*/ 1892308 h 2079633"/>
                <a:gd name="connsiteX77" fmla="*/ 1445623 w 2133004"/>
                <a:gd name="connsiteY77" fmla="*/ 1901833 h 2079633"/>
                <a:gd name="connsiteX78" fmla="*/ 1432923 w 2133004"/>
                <a:gd name="connsiteY78" fmla="*/ 1917708 h 2079633"/>
                <a:gd name="connsiteX79" fmla="*/ 1423398 w 2133004"/>
                <a:gd name="connsiteY79" fmla="*/ 1927233 h 2079633"/>
                <a:gd name="connsiteX80" fmla="*/ 1417048 w 2133004"/>
                <a:gd name="connsiteY80" fmla="*/ 1936758 h 2079633"/>
                <a:gd name="connsiteX81" fmla="*/ 1391648 w 2133004"/>
                <a:gd name="connsiteY81" fmla="*/ 1955808 h 2079633"/>
                <a:gd name="connsiteX82" fmla="*/ 1356723 w 2133004"/>
                <a:gd name="connsiteY82" fmla="*/ 1971683 h 2079633"/>
                <a:gd name="connsiteX83" fmla="*/ 1344023 w 2133004"/>
                <a:gd name="connsiteY83" fmla="*/ 1978033 h 2079633"/>
                <a:gd name="connsiteX84" fmla="*/ 1331323 w 2133004"/>
                <a:gd name="connsiteY84" fmla="*/ 1987558 h 2079633"/>
                <a:gd name="connsiteX85" fmla="*/ 1312273 w 2133004"/>
                <a:gd name="connsiteY85" fmla="*/ 2006608 h 2079633"/>
                <a:gd name="connsiteX86" fmla="*/ 1270998 w 2133004"/>
                <a:gd name="connsiteY86" fmla="*/ 2025658 h 2079633"/>
                <a:gd name="connsiteX87" fmla="*/ 1258298 w 2133004"/>
                <a:gd name="connsiteY87" fmla="*/ 2032008 h 2079633"/>
                <a:gd name="connsiteX88" fmla="*/ 1236073 w 2133004"/>
                <a:gd name="connsiteY88" fmla="*/ 2038358 h 2079633"/>
                <a:gd name="connsiteX89" fmla="*/ 1226548 w 2133004"/>
                <a:gd name="connsiteY89" fmla="*/ 2044708 h 2079633"/>
                <a:gd name="connsiteX90" fmla="*/ 1217023 w 2133004"/>
                <a:gd name="connsiteY90" fmla="*/ 2047883 h 2079633"/>
                <a:gd name="connsiteX91" fmla="*/ 1175748 w 2133004"/>
                <a:gd name="connsiteY91" fmla="*/ 2057408 h 2079633"/>
                <a:gd name="connsiteX92" fmla="*/ 1150348 w 2133004"/>
                <a:gd name="connsiteY92" fmla="*/ 2070108 h 2079633"/>
                <a:gd name="connsiteX93" fmla="*/ 1102723 w 2133004"/>
                <a:gd name="connsiteY93" fmla="*/ 2079633 h 2079633"/>
                <a:gd name="connsiteX94" fmla="*/ 928098 w 2133004"/>
                <a:gd name="connsiteY94" fmla="*/ 2070108 h 2079633"/>
                <a:gd name="connsiteX95" fmla="*/ 886823 w 2133004"/>
                <a:gd name="connsiteY95" fmla="*/ 2054233 h 2079633"/>
                <a:gd name="connsiteX96" fmla="*/ 861423 w 2133004"/>
                <a:gd name="connsiteY96" fmla="*/ 2051058 h 2079633"/>
                <a:gd name="connsiteX97" fmla="*/ 845548 w 2133004"/>
                <a:gd name="connsiteY97" fmla="*/ 2035183 h 2079633"/>
                <a:gd name="connsiteX98" fmla="*/ 769348 w 2133004"/>
                <a:gd name="connsiteY98" fmla="*/ 1974858 h 2079633"/>
                <a:gd name="connsiteX99" fmla="*/ 747123 w 2133004"/>
                <a:gd name="connsiteY99" fmla="*/ 1946283 h 2079633"/>
                <a:gd name="connsiteX100" fmla="*/ 731248 w 2133004"/>
                <a:gd name="connsiteY100" fmla="*/ 1933583 h 2079633"/>
                <a:gd name="connsiteX101" fmla="*/ 715373 w 2133004"/>
                <a:gd name="connsiteY101" fmla="*/ 1917708 h 2079633"/>
                <a:gd name="connsiteX102" fmla="*/ 699498 w 2133004"/>
                <a:gd name="connsiteY102" fmla="*/ 1905008 h 2079633"/>
                <a:gd name="connsiteX103" fmla="*/ 680448 w 2133004"/>
                <a:gd name="connsiteY103" fmla="*/ 1885958 h 2079633"/>
                <a:gd name="connsiteX104" fmla="*/ 642348 w 2133004"/>
                <a:gd name="connsiteY104" fmla="*/ 1854208 h 2079633"/>
                <a:gd name="connsiteX105" fmla="*/ 601073 w 2133004"/>
                <a:gd name="connsiteY105" fmla="*/ 1806583 h 2079633"/>
                <a:gd name="connsiteX106" fmla="*/ 578848 w 2133004"/>
                <a:gd name="connsiteY106" fmla="*/ 1781183 h 2079633"/>
                <a:gd name="connsiteX107" fmla="*/ 537573 w 2133004"/>
                <a:gd name="connsiteY107" fmla="*/ 1739908 h 2079633"/>
                <a:gd name="connsiteX108" fmla="*/ 499473 w 2133004"/>
                <a:gd name="connsiteY108" fmla="*/ 1704983 h 2079633"/>
                <a:gd name="connsiteX109" fmla="*/ 470898 w 2133004"/>
                <a:gd name="connsiteY109" fmla="*/ 1670058 h 2079633"/>
                <a:gd name="connsiteX110" fmla="*/ 413748 w 2133004"/>
                <a:gd name="connsiteY110" fmla="*/ 1622433 h 2079633"/>
                <a:gd name="connsiteX111" fmla="*/ 401048 w 2133004"/>
                <a:gd name="connsiteY111" fmla="*/ 1612908 h 2079633"/>
                <a:gd name="connsiteX112" fmla="*/ 369298 w 2133004"/>
                <a:gd name="connsiteY112" fmla="*/ 1584333 h 2079633"/>
                <a:gd name="connsiteX113" fmla="*/ 328023 w 2133004"/>
                <a:gd name="connsiteY113" fmla="*/ 1558933 h 2079633"/>
                <a:gd name="connsiteX114" fmla="*/ 302623 w 2133004"/>
                <a:gd name="connsiteY114" fmla="*/ 1539883 h 2079633"/>
                <a:gd name="connsiteX115" fmla="*/ 223248 w 2133004"/>
                <a:gd name="connsiteY115" fmla="*/ 1470033 h 2079633"/>
                <a:gd name="connsiteX116" fmla="*/ 175623 w 2133004"/>
                <a:gd name="connsiteY116" fmla="*/ 1412883 h 2079633"/>
                <a:gd name="connsiteX117" fmla="*/ 118473 w 2133004"/>
                <a:gd name="connsiteY117" fmla="*/ 1339858 h 2079633"/>
                <a:gd name="connsiteX118" fmla="*/ 83548 w 2133004"/>
                <a:gd name="connsiteY118" fmla="*/ 1292233 h 2079633"/>
                <a:gd name="connsiteX119" fmla="*/ 64498 w 2133004"/>
                <a:gd name="connsiteY119" fmla="*/ 1266833 h 2079633"/>
                <a:gd name="connsiteX120" fmla="*/ 35923 w 2133004"/>
                <a:gd name="connsiteY120" fmla="*/ 1206508 h 2079633"/>
                <a:gd name="connsiteX121" fmla="*/ 26398 w 2133004"/>
                <a:gd name="connsiteY121" fmla="*/ 1171583 h 2079633"/>
                <a:gd name="connsiteX122" fmla="*/ 20048 w 2133004"/>
                <a:gd name="connsiteY122" fmla="*/ 1149358 h 2079633"/>
                <a:gd name="connsiteX123" fmla="*/ 16873 w 2133004"/>
                <a:gd name="connsiteY123" fmla="*/ 1133483 h 2079633"/>
                <a:gd name="connsiteX124" fmla="*/ 7348 w 2133004"/>
                <a:gd name="connsiteY124" fmla="*/ 1095383 h 2079633"/>
                <a:gd name="connsiteX125" fmla="*/ 998 w 2133004"/>
                <a:gd name="connsiteY125" fmla="*/ 1012833 h 2079633"/>
                <a:gd name="connsiteX126" fmla="*/ 10523 w 2133004"/>
                <a:gd name="connsiteY126" fmla="*/ 882658 h 2079633"/>
                <a:gd name="connsiteX127" fmla="*/ 35923 w 2133004"/>
                <a:gd name="connsiteY127" fmla="*/ 835033 h 2079633"/>
                <a:gd name="connsiteX128" fmla="*/ 51798 w 2133004"/>
                <a:gd name="connsiteY128" fmla="*/ 806458 h 2079633"/>
                <a:gd name="connsiteX129" fmla="*/ 83548 w 2133004"/>
                <a:gd name="connsiteY129" fmla="*/ 762008 h 2079633"/>
                <a:gd name="connsiteX130" fmla="*/ 99423 w 2133004"/>
                <a:gd name="connsiteY130" fmla="*/ 742958 h 2079633"/>
                <a:gd name="connsiteX131" fmla="*/ 143873 w 2133004"/>
                <a:gd name="connsiteY131" fmla="*/ 676283 h 2079633"/>
                <a:gd name="connsiteX132" fmla="*/ 308973 w 2133004"/>
                <a:gd name="connsiteY132" fmla="*/ 523883 h 2079633"/>
                <a:gd name="connsiteX133" fmla="*/ 366123 w 2133004"/>
                <a:gd name="connsiteY133" fmla="*/ 463558 h 2079633"/>
                <a:gd name="connsiteX134" fmla="*/ 416923 w 2133004"/>
                <a:gd name="connsiteY134" fmla="*/ 409583 h 2079633"/>
                <a:gd name="connsiteX135" fmla="*/ 445498 w 2133004"/>
                <a:gd name="connsiteY135" fmla="*/ 377833 h 2079633"/>
                <a:gd name="connsiteX136" fmla="*/ 493123 w 2133004"/>
                <a:gd name="connsiteY136" fmla="*/ 333383 h 2079633"/>
                <a:gd name="connsiteX137" fmla="*/ 712198 w 2133004"/>
                <a:gd name="connsiteY137" fmla="*/ 136533 h 2079633"/>
                <a:gd name="connsiteX138" fmla="*/ 750298 w 2133004"/>
                <a:gd name="connsiteY138" fmla="*/ 111133 h 2079633"/>
                <a:gd name="connsiteX139" fmla="*/ 785223 w 2133004"/>
                <a:gd name="connsiteY139" fmla="*/ 88908 h 2079633"/>
                <a:gd name="connsiteX140" fmla="*/ 883648 w 2133004"/>
                <a:gd name="connsiteY140" fmla="*/ 38108 h 2079633"/>
                <a:gd name="connsiteX141" fmla="*/ 1077323 w 2133004"/>
                <a:gd name="connsiteY141" fmla="*/ 8 h 2079633"/>
                <a:gd name="connsiteX142" fmla="*/ 1267823 w 2133004"/>
                <a:gd name="connsiteY142" fmla="*/ 34933 h 2079633"/>
                <a:gd name="connsiteX143" fmla="*/ 1296398 w 2133004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61573 w 2122420"/>
                <a:gd name="connsiteY45" fmla="*/ 8509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93323 w 2122420"/>
                <a:gd name="connsiteY50" fmla="*/ 1212858 h 2079633"/>
                <a:gd name="connsiteX51" fmla="*/ 2061573 w 2122420"/>
                <a:gd name="connsiteY51" fmla="*/ 1273183 h 2079633"/>
                <a:gd name="connsiteX52" fmla="*/ 2052048 w 2122420"/>
                <a:gd name="connsiteY52" fmla="*/ 1292233 h 2079633"/>
                <a:gd name="connsiteX53" fmla="*/ 2029823 w 2122420"/>
                <a:gd name="connsiteY53" fmla="*/ 1330333 h 2079633"/>
                <a:gd name="connsiteX54" fmla="*/ 2004423 w 2122420"/>
                <a:gd name="connsiteY54" fmla="*/ 1371608 h 2079633"/>
                <a:gd name="connsiteX55" fmla="*/ 1975848 w 2122420"/>
                <a:gd name="connsiteY55" fmla="*/ 1393833 h 2079633"/>
                <a:gd name="connsiteX56" fmla="*/ 1963148 w 2122420"/>
                <a:gd name="connsiteY56" fmla="*/ 1409708 h 2079633"/>
                <a:gd name="connsiteX57" fmla="*/ 1928223 w 2122420"/>
                <a:gd name="connsiteY57" fmla="*/ 1435108 h 2079633"/>
                <a:gd name="connsiteX58" fmla="*/ 1905998 w 2122420"/>
                <a:gd name="connsiteY58" fmla="*/ 1454158 h 2079633"/>
                <a:gd name="connsiteX59" fmla="*/ 1848848 w 2122420"/>
                <a:gd name="connsiteY59" fmla="*/ 1485908 h 2079633"/>
                <a:gd name="connsiteX60" fmla="*/ 1810748 w 2122420"/>
                <a:gd name="connsiteY60" fmla="*/ 1517658 h 2079633"/>
                <a:gd name="connsiteX61" fmla="*/ 1791698 w 2122420"/>
                <a:gd name="connsiteY61" fmla="*/ 1533533 h 2079633"/>
                <a:gd name="connsiteX62" fmla="*/ 1775823 w 2122420"/>
                <a:gd name="connsiteY62" fmla="*/ 1543058 h 2079633"/>
                <a:gd name="connsiteX63" fmla="*/ 1718673 w 2122420"/>
                <a:gd name="connsiteY63" fmla="*/ 1606558 h 2079633"/>
                <a:gd name="connsiteX64" fmla="*/ 1709148 w 2122420"/>
                <a:gd name="connsiteY64" fmla="*/ 1619258 h 2079633"/>
                <a:gd name="connsiteX65" fmla="*/ 1680573 w 2122420"/>
                <a:gd name="connsiteY65" fmla="*/ 1651008 h 2079633"/>
                <a:gd name="connsiteX66" fmla="*/ 1658348 w 2122420"/>
                <a:gd name="connsiteY66" fmla="*/ 1679583 h 2079633"/>
                <a:gd name="connsiteX67" fmla="*/ 1623423 w 2122420"/>
                <a:gd name="connsiteY67" fmla="*/ 1714508 h 2079633"/>
                <a:gd name="connsiteX68" fmla="*/ 1604373 w 2122420"/>
                <a:gd name="connsiteY68" fmla="*/ 1733558 h 2079633"/>
                <a:gd name="connsiteX69" fmla="*/ 1569448 w 2122420"/>
                <a:gd name="connsiteY69" fmla="*/ 1774833 h 2079633"/>
                <a:gd name="connsiteX70" fmla="*/ 1559923 w 2122420"/>
                <a:gd name="connsiteY70" fmla="*/ 1787533 h 2079633"/>
                <a:gd name="connsiteX71" fmla="*/ 1547223 w 2122420"/>
                <a:gd name="connsiteY71" fmla="*/ 1797058 h 2079633"/>
                <a:gd name="connsiteX72" fmla="*/ 1540873 w 2122420"/>
                <a:gd name="connsiteY72" fmla="*/ 1806583 h 2079633"/>
                <a:gd name="connsiteX73" fmla="*/ 1524998 w 2122420"/>
                <a:gd name="connsiteY73" fmla="*/ 1816108 h 2079633"/>
                <a:gd name="connsiteX74" fmla="*/ 1480548 w 2122420"/>
                <a:gd name="connsiteY74" fmla="*/ 1860558 h 2079633"/>
                <a:gd name="connsiteX75" fmla="*/ 1464673 w 2122420"/>
                <a:gd name="connsiteY75" fmla="*/ 1879608 h 2079633"/>
                <a:gd name="connsiteX76" fmla="*/ 1455148 w 2122420"/>
                <a:gd name="connsiteY76" fmla="*/ 1892308 h 2079633"/>
                <a:gd name="connsiteX77" fmla="*/ 1445623 w 2122420"/>
                <a:gd name="connsiteY77" fmla="*/ 1901833 h 2079633"/>
                <a:gd name="connsiteX78" fmla="*/ 1432923 w 2122420"/>
                <a:gd name="connsiteY78" fmla="*/ 1917708 h 2079633"/>
                <a:gd name="connsiteX79" fmla="*/ 1423398 w 2122420"/>
                <a:gd name="connsiteY79" fmla="*/ 1927233 h 2079633"/>
                <a:gd name="connsiteX80" fmla="*/ 1417048 w 2122420"/>
                <a:gd name="connsiteY80" fmla="*/ 1936758 h 2079633"/>
                <a:gd name="connsiteX81" fmla="*/ 1391648 w 2122420"/>
                <a:gd name="connsiteY81" fmla="*/ 1955808 h 2079633"/>
                <a:gd name="connsiteX82" fmla="*/ 1356723 w 2122420"/>
                <a:gd name="connsiteY82" fmla="*/ 1971683 h 2079633"/>
                <a:gd name="connsiteX83" fmla="*/ 1344023 w 2122420"/>
                <a:gd name="connsiteY83" fmla="*/ 1978033 h 2079633"/>
                <a:gd name="connsiteX84" fmla="*/ 1331323 w 2122420"/>
                <a:gd name="connsiteY84" fmla="*/ 1987558 h 2079633"/>
                <a:gd name="connsiteX85" fmla="*/ 1312273 w 2122420"/>
                <a:gd name="connsiteY85" fmla="*/ 2006608 h 2079633"/>
                <a:gd name="connsiteX86" fmla="*/ 1270998 w 2122420"/>
                <a:gd name="connsiteY86" fmla="*/ 2025658 h 2079633"/>
                <a:gd name="connsiteX87" fmla="*/ 1258298 w 2122420"/>
                <a:gd name="connsiteY87" fmla="*/ 2032008 h 2079633"/>
                <a:gd name="connsiteX88" fmla="*/ 1236073 w 2122420"/>
                <a:gd name="connsiteY88" fmla="*/ 2038358 h 2079633"/>
                <a:gd name="connsiteX89" fmla="*/ 1226548 w 2122420"/>
                <a:gd name="connsiteY89" fmla="*/ 2044708 h 2079633"/>
                <a:gd name="connsiteX90" fmla="*/ 1217023 w 2122420"/>
                <a:gd name="connsiteY90" fmla="*/ 2047883 h 2079633"/>
                <a:gd name="connsiteX91" fmla="*/ 1175748 w 2122420"/>
                <a:gd name="connsiteY91" fmla="*/ 2057408 h 2079633"/>
                <a:gd name="connsiteX92" fmla="*/ 1150348 w 2122420"/>
                <a:gd name="connsiteY92" fmla="*/ 2070108 h 2079633"/>
                <a:gd name="connsiteX93" fmla="*/ 1102723 w 2122420"/>
                <a:gd name="connsiteY93" fmla="*/ 2079633 h 2079633"/>
                <a:gd name="connsiteX94" fmla="*/ 928098 w 2122420"/>
                <a:gd name="connsiteY94" fmla="*/ 2070108 h 2079633"/>
                <a:gd name="connsiteX95" fmla="*/ 886823 w 2122420"/>
                <a:gd name="connsiteY95" fmla="*/ 2054233 h 2079633"/>
                <a:gd name="connsiteX96" fmla="*/ 861423 w 2122420"/>
                <a:gd name="connsiteY96" fmla="*/ 2051058 h 2079633"/>
                <a:gd name="connsiteX97" fmla="*/ 845548 w 2122420"/>
                <a:gd name="connsiteY97" fmla="*/ 2035183 h 2079633"/>
                <a:gd name="connsiteX98" fmla="*/ 769348 w 2122420"/>
                <a:gd name="connsiteY98" fmla="*/ 1974858 h 2079633"/>
                <a:gd name="connsiteX99" fmla="*/ 747123 w 2122420"/>
                <a:gd name="connsiteY99" fmla="*/ 1946283 h 2079633"/>
                <a:gd name="connsiteX100" fmla="*/ 731248 w 2122420"/>
                <a:gd name="connsiteY100" fmla="*/ 1933583 h 2079633"/>
                <a:gd name="connsiteX101" fmla="*/ 715373 w 2122420"/>
                <a:gd name="connsiteY101" fmla="*/ 1917708 h 2079633"/>
                <a:gd name="connsiteX102" fmla="*/ 699498 w 2122420"/>
                <a:gd name="connsiteY102" fmla="*/ 1905008 h 2079633"/>
                <a:gd name="connsiteX103" fmla="*/ 680448 w 2122420"/>
                <a:gd name="connsiteY103" fmla="*/ 1885958 h 2079633"/>
                <a:gd name="connsiteX104" fmla="*/ 642348 w 2122420"/>
                <a:gd name="connsiteY104" fmla="*/ 1854208 h 2079633"/>
                <a:gd name="connsiteX105" fmla="*/ 601073 w 2122420"/>
                <a:gd name="connsiteY105" fmla="*/ 1806583 h 2079633"/>
                <a:gd name="connsiteX106" fmla="*/ 578848 w 2122420"/>
                <a:gd name="connsiteY106" fmla="*/ 1781183 h 2079633"/>
                <a:gd name="connsiteX107" fmla="*/ 537573 w 2122420"/>
                <a:gd name="connsiteY107" fmla="*/ 1739908 h 2079633"/>
                <a:gd name="connsiteX108" fmla="*/ 499473 w 2122420"/>
                <a:gd name="connsiteY108" fmla="*/ 1704983 h 2079633"/>
                <a:gd name="connsiteX109" fmla="*/ 470898 w 2122420"/>
                <a:gd name="connsiteY109" fmla="*/ 1670058 h 2079633"/>
                <a:gd name="connsiteX110" fmla="*/ 413748 w 2122420"/>
                <a:gd name="connsiteY110" fmla="*/ 1622433 h 2079633"/>
                <a:gd name="connsiteX111" fmla="*/ 401048 w 2122420"/>
                <a:gd name="connsiteY111" fmla="*/ 1612908 h 2079633"/>
                <a:gd name="connsiteX112" fmla="*/ 369298 w 2122420"/>
                <a:gd name="connsiteY112" fmla="*/ 1584333 h 2079633"/>
                <a:gd name="connsiteX113" fmla="*/ 328023 w 2122420"/>
                <a:gd name="connsiteY113" fmla="*/ 1558933 h 2079633"/>
                <a:gd name="connsiteX114" fmla="*/ 302623 w 2122420"/>
                <a:gd name="connsiteY114" fmla="*/ 1539883 h 2079633"/>
                <a:gd name="connsiteX115" fmla="*/ 223248 w 2122420"/>
                <a:gd name="connsiteY115" fmla="*/ 1470033 h 2079633"/>
                <a:gd name="connsiteX116" fmla="*/ 175623 w 2122420"/>
                <a:gd name="connsiteY116" fmla="*/ 1412883 h 2079633"/>
                <a:gd name="connsiteX117" fmla="*/ 118473 w 2122420"/>
                <a:gd name="connsiteY117" fmla="*/ 1339858 h 2079633"/>
                <a:gd name="connsiteX118" fmla="*/ 83548 w 2122420"/>
                <a:gd name="connsiteY118" fmla="*/ 1292233 h 2079633"/>
                <a:gd name="connsiteX119" fmla="*/ 64498 w 2122420"/>
                <a:gd name="connsiteY119" fmla="*/ 1266833 h 2079633"/>
                <a:gd name="connsiteX120" fmla="*/ 35923 w 2122420"/>
                <a:gd name="connsiteY120" fmla="*/ 1206508 h 2079633"/>
                <a:gd name="connsiteX121" fmla="*/ 26398 w 2122420"/>
                <a:gd name="connsiteY121" fmla="*/ 1171583 h 2079633"/>
                <a:gd name="connsiteX122" fmla="*/ 20048 w 2122420"/>
                <a:gd name="connsiteY122" fmla="*/ 1149358 h 2079633"/>
                <a:gd name="connsiteX123" fmla="*/ 16873 w 2122420"/>
                <a:gd name="connsiteY123" fmla="*/ 1133483 h 2079633"/>
                <a:gd name="connsiteX124" fmla="*/ 7348 w 2122420"/>
                <a:gd name="connsiteY124" fmla="*/ 1095383 h 2079633"/>
                <a:gd name="connsiteX125" fmla="*/ 998 w 2122420"/>
                <a:gd name="connsiteY125" fmla="*/ 1012833 h 2079633"/>
                <a:gd name="connsiteX126" fmla="*/ 10523 w 2122420"/>
                <a:gd name="connsiteY126" fmla="*/ 882658 h 2079633"/>
                <a:gd name="connsiteX127" fmla="*/ 35923 w 2122420"/>
                <a:gd name="connsiteY127" fmla="*/ 835033 h 2079633"/>
                <a:gd name="connsiteX128" fmla="*/ 51798 w 2122420"/>
                <a:gd name="connsiteY128" fmla="*/ 806458 h 2079633"/>
                <a:gd name="connsiteX129" fmla="*/ 83548 w 2122420"/>
                <a:gd name="connsiteY129" fmla="*/ 762008 h 2079633"/>
                <a:gd name="connsiteX130" fmla="*/ 99423 w 2122420"/>
                <a:gd name="connsiteY130" fmla="*/ 742958 h 2079633"/>
                <a:gd name="connsiteX131" fmla="*/ 143873 w 2122420"/>
                <a:gd name="connsiteY131" fmla="*/ 676283 h 2079633"/>
                <a:gd name="connsiteX132" fmla="*/ 308973 w 2122420"/>
                <a:gd name="connsiteY132" fmla="*/ 523883 h 2079633"/>
                <a:gd name="connsiteX133" fmla="*/ 366123 w 2122420"/>
                <a:gd name="connsiteY133" fmla="*/ 463558 h 2079633"/>
                <a:gd name="connsiteX134" fmla="*/ 416923 w 2122420"/>
                <a:gd name="connsiteY134" fmla="*/ 409583 h 2079633"/>
                <a:gd name="connsiteX135" fmla="*/ 445498 w 2122420"/>
                <a:gd name="connsiteY135" fmla="*/ 377833 h 2079633"/>
                <a:gd name="connsiteX136" fmla="*/ 493123 w 2122420"/>
                <a:gd name="connsiteY136" fmla="*/ 333383 h 2079633"/>
                <a:gd name="connsiteX137" fmla="*/ 712198 w 2122420"/>
                <a:gd name="connsiteY137" fmla="*/ 136533 h 2079633"/>
                <a:gd name="connsiteX138" fmla="*/ 750298 w 2122420"/>
                <a:gd name="connsiteY138" fmla="*/ 111133 h 2079633"/>
                <a:gd name="connsiteX139" fmla="*/ 785223 w 2122420"/>
                <a:gd name="connsiteY139" fmla="*/ 88908 h 2079633"/>
                <a:gd name="connsiteX140" fmla="*/ 883648 w 2122420"/>
                <a:gd name="connsiteY140" fmla="*/ 38108 h 2079633"/>
                <a:gd name="connsiteX141" fmla="*/ 1077323 w 2122420"/>
                <a:gd name="connsiteY141" fmla="*/ 8 h 2079633"/>
                <a:gd name="connsiteX142" fmla="*/ 1267823 w 2122420"/>
                <a:gd name="connsiteY142" fmla="*/ 34933 h 2079633"/>
                <a:gd name="connsiteX143" fmla="*/ 1296398 w 2122420"/>
                <a:gd name="connsiteY143" fmla="*/ 47633 h 2079633"/>
                <a:gd name="connsiteX0" fmla="*/ 1197973 w 2122420"/>
                <a:gd name="connsiteY0" fmla="*/ 25408 h 2079633"/>
                <a:gd name="connsiteX1" fmla="*/ 1217023 w 2122420"/>
                <a:gd name="connsiteY1" fmla="*/ 34933 h 2079633"/>
                <a:gd name="connsiteX2" fmla="*/ 1239248 w 2122420"/>
                <a:gd name="connsiteY2" fmla="*/ 38108 h 2079633"/>
                <a:gd name="connsiteX3" fmla="*/ 1258298 w 2122420"/>
                <a:gd name="connsiteY3" fmla="*/ 50808 h 2079633"/>
                <a:gd name="connsiteX4" fmla="*/ 1270998 w 2122420"/>
                <a:gd name="connsiteY4" fmla="*/ 57158 h 2079633"/>
                <a:gd name="connsiteX5" fmla="*/ 1290048 w 2122420"/>
                <a:gd name="connsiteY5" fmla="*/ 73033 h 2079633"/>
                <a:gd name="connsiteX6" fmla="*/ 1309098 w 2122420"/>
                <a:gd name="connsiteY6" fmla="*/ 79383 h 2079633"/>
                <a:gd name="connsiteX7" fmla="*/ 1324973 w 2122420"/>
                <a:gd name="connsiteY7" fmla="*/ 92083 h 2079633"/>
                <a:gd name="connsiteX8" fmla="*/ 1334498 w 2122420"/>
                <a:gd name="connsiteY8" fmla="*/ 95258 h 2079633"/>
                <a:gd name="connsiteX9" fmla="*/ 1340848 w 2122420"/>
                <a:gd name="connsiteY9" fmla="*/ 104783 h 2079633"/>
                <a:gd name="connsiteX10" fmla="*/ 1356723 w 2122420"/>
                <a:gd name="connsiteY10" fmla="*/ 114308 h 2079633"/>
                <a:gd name="connsiteX11" fmla="*/ 1382123 w 2122420"/>
                <a:gd name="connsiteY11" fmla="*/ 133358 h 2079633"/>
                <a:gd name="connsiteX12" fmla="*/ 1391648 w 2122420"/>
                <a:gd name="connsiteY12" fmla="*/ 139708 h 2079633"/>
                <a:gd name="connsiteX13" fmla="*/ 1432923 w 2122420"/>
                <a:gd name="connsiteY13" fmla="*/ 184158 h 2079633"/>
                <a:gd name="connsiteX14" fmla="*/ 1442448 w 2122420"/>
                <a:gd name="connsiteY14" fmla="*/ 196858 h 2079633"/>
                <a:gd name="connsiteX15" fmla="*/ 1455148 w 2122420"/>
                <a:gd name="connsiteY15" fmla="*/ 219083 h 2079633"/>
                <a:gd name="connsiteX16" fmla="*/ 1499598 w 2122420"/>
                <a:gd name="connsiteY16" fmla="*/ 260358 h 2079633"/>
                <a:gd name="connsiteX17" fmla="*/ 1512298 w 2122420"/>
                <a:gd name="connsiteY17" fmla="*/ 276233 h 2079633"/>
                <a:gd name="connsiteX18" fmla="*/ 1524998 w 2122420"/>
                <a:gd name="connsiteY18" fmla="*/ 288933 h 2079633"/>
                <a:gd name="connsiteX19" fmla="*/ 1531348 w 2122420"/>
                <a:gd name="connsiteY19" fmla="*/ 298458 h 2079633"/>
                <a:gd name="connsiteX20" fmla="*/ 1550398 w 2122420"/>
                <a:gd name="connsiteY20" fmla="*/ 317508 h 2079633"/>
                <a:gd name="connsiteX21" fmla="*/ 1559923 w 2122420"/>
                <a:gd name="connsiteY21" fmla="*/ 327033 h 2079633"/>
                <a:gd name="connsiteX22" fmla="*/ 1569448 w 2122420"/>
                <a:gd name="connsiteY22" fmla="*/ 339733 h 2079633"/>
                <a:gd name="connsiteX23" fmla="*/ 1594848 w 2122420"/>
                <a:gd name="connsiteY23" fmla="*/ 358783 h 2079633"/>
                <a:gd name="connsiteX24" fmla="*/ 1632948 w 2122420"/>
                <a:gd name="connsiteY24" fmla="*/ 390533 h 2079633"/>
                <a:gd name="connsiteX25" fmla="*/ 1648823 w 2122420"/>
                <a:gd name="connsiteY25" fmla="*/ 409583 h 2079633"/>
                <a:gd name="connsiteX26" fmla="*/ 1661523 w 2122420"/>
                <a:gd name="connsiteY26" fmla="*/ 419108 h 2079633"/>
                <a:gd name="connsiteX27" fmla="*/ 1683748 w 2122420"/>
                <a:gd name="connsiteY27" fmla="*/ 441333 h 2079633"/>
                <a:gd name="connsiteX28" fmla="*/ 1702798 w 2122420"/>
                <a:gd name="connsiteY28" fmla="*/ 460383 h 2079633"/>
                <a:gd name="connsiteX29" fmla="*/ 1712323 w 2122420"/>
                <a:gd name="connsiteY29" fmla="*/ 469908 h 2079633"/>
                <a:gd name="connsiteX30" fmla="*/ 1744073 w 2122420"/>
                <a:gd name="connsiteY30" fmla="*/ 495308 h 2079633"/>
                <a:gd name="connsiteX31" fmla="*/ 1753598 w 2122420"/>
                <a:gd name="connsiteY31" fmla="*/ 504833 h 2079633"/>
                <a:gd name="connsiteX32" fmla="*/ 1766298 w 2122420"/>
                <a:gd name="connsiteY32" fmla="*/ 514358 h 2079633"/>
                <a:gd name="connsiteX33" fmla="*/ 1782173 w 2122420"/>
                <a:gd name="connsiteY33" fmla="*/ 530233 h 2079633"/>
                <a:gd name="connsiteX34" fmla="*/ 1813923 w 2122420"/>
                <a:gd name="connsiteY34" fmla="*/ 555633 h 2079633"/>
                <a:gd name="connsiteX35" fmla="*/ 1817098 w 2122420"/>
                <a:gd name="connsiteY35" fmla="*/ 565158 h 2079633"/>
                <a:gd name="connsiteX36" fmla="*/ 1842498 w 2122420"/>
                <a:gd name="connsiteY36" fmla="*/ 587383 h 2079633"/>
                <a:gd name="connsiteX37" fmla="*/ 1893298 w 2122420"/>
                <a:gd name="connsiteY37" fmla="*/ 644533 h 2079633"/>
                <a:gd name="connsiteX38" fmla="*/ 1918698 w 2122420"/>
                <a:gd name="connsiteY38" fmla="*/ 663583 h 2079633"/>
                <a:gd name="connsiteX39" fmla="*/ 1931398 w 2122420"/>
                <a:gd name="connsiteY39" fmla="*/ 669933 h 2079633"/>
                <a:gd name="connsiteX40" fmla="*/ 1979023 w 2122420"/>
                <a:gd name="connsiteY40" fmla="*/ 720733 h 2079633"/>
                <a:gd name="connsiteX41" fmla="*/ 1988548 w 2122420"/>
                <a:gd name="connsiteY41" fmla="*/ 730258 h 2079633"/>
                <a:gd name="connsiteX42" fmla="*/ 2017123 w 2122420"/>
                <a:gd name="connsiteY42" fmla="*/ 755658 h 2079633"/>
                <a:gd name="connsiteX43" fmla="*/ 2023473 w 2122420"/>
                <a:gd name="connsiteY43" fmla="*/ 765183 h 2079633"/>
                <a:gd name="connsiteX44" fmla="*/ 2048873 w 2122420"/>
                <a:gd name="connsiteY44" fmla="*/ 812808 h 2079633"/>
                <a:gd name="connsiteX45" fmla="*/ 2071098 w 2122420"/>
                <a:gd name="connsiteY45" fmla="*/ 838208 h 2079633"/>
                <a:gd name="connsiteX46" fmla="*/ 2090148 w 2122420"/>
                <a:gd name="connsiteY46" fmla="*/ 895358 h 2079633"/>
                <a:gd name="connsiteX47" fmla="*/ 2121898 w 2122420"/>
                <a:gd name="connsiteY47" fmla="*/ 971558 h 2079633"/>
                <a:gd name="connsiteX48" fmla="*/ 2109198 w 2122420"/>
                <a:gd name="connsiteY48" fmla="*/ 1181108 h 2079633"/>
                <a:gd name="connsiteX49" fmla="*/ 2099673 w 2122420"/>
                <a:gd name="connsiteY49" fmla="*/ 1193808 h 2079633"/>
                <a:gd name="connsiteX50" fmla="*/ 2061573 w 2122420"/>
                <a:gd name="connsiteY50" fmla="*/ 1273183 h 2079633"/>
                <a:gd name="connsiteX51" fmla="*/ 2052048 w 2122420"/>
                <a:gd name="connsiteY51" fmla="*/ 1292233 h 2079633"/>
                <a:gd name="connsiteX52" fmla="*/ 2029823 w 2122420"/>
                <a:gd name="connsiteY52" fmla="*/ 1330333 h 2079633"/>
                <a:gd name="connsiteX53" fmla="*/ 2004423 w 2122420"/>
                <a:gd name="connsiteY53" fmla="*/ 1371608 h 2079633"/>
                <a:gd name="connsiteX54" fmla="*/ 1975848 w 2122420"/>
                <a:gd name="connsiteY54" fmla="*/ 1393833 h 2079633"/>
                <a:gd name="connsiteX55" fmla="*/ 1963148 w 2122420"/>
                <a:gd name="connsiteY55" fmla="*/ 1409708 h 2079633"/>
                <a:gd name="connsiteX56" fmla="*/ 1928223 w 2122420"/>
                <a:gd name="connsiteY56" fmla="*/ 1435108 h 2079633"/>
                <a:gd name="connsiteX57" fmla="*/ 1905998 w 2122420"/>
                <a:gd name="connsiteY57" fmla="*/ 1454158 h 2079633"/>
                <a:gd name="connsiteX58" fmla="*/ 1848848 w 2122420"/>
                <a:gd name="connsiteY58" fmla="*/ 1485908 h 2079633"/>
                <a:gd name="connsiteX59" fmla="*/ 1810748 w 2122420"/>
                <a:gd name="connsiteY59" fmla="*/ 1517658 h 2079633"/>
                <a:gd name="connsiteX60" fmla="*/ 1791698 w 2122420"/>
                <a:gd name="connsiteY60" fmla="*/ 1533533 h 2079633"/>
                <a:gd name="connsiteX61" fmla="*/ 1775823 w 2122420"/>
                <a:gd name="connsiteY61" fmla="*/ 1543058 h 2079633"/>
                <a:gd name="connsiteX62" fmla="*/ 1718673 w 2122420"/>
                <a:gd name="connsiteY62" fmla="*/ 1606558 h 2079633"/>
                <a:gd name="connsiteX63" fmla="*/ 1709148 w 2122420"/>
                <a:gd name="connsiteY63" fmla="*/ 1619258 h 2079633"/>
                <a:gd name="connsiteX64" fmla="*/ 1680573 w 2122420"/>
                <a:gd name="connsiteY64" fmla="*/ 1651008 h 2079633"/>
                <a:gd name="connsiteX65" fmla="*/ 1658348 w 2122420"/>
                <a:gd name="connsiteY65" fmla="*/ 1679583 h 2079633"/>
                <a:gd name="connsiteX66" fmla="*/ 1623423 w 2122420"/>
                <a:gd name="connsiteY66" fmla="*/ 1714508 h 2079633"/>
                <a:gd name="connsiteX67" fmla="*/ 1604373 w 2122420"/>
                <a:gd name="connsiteY67" fmla="*/ 1733558 h 2079633"/>
                <a:gd name="connsiteX68" fmla="*/ 1569448 w 2122420"/>
                <a:gd name="connsiteY68" fmla="*/ 1774833 h 2079633"/>
                <a:gd name="connsiteX69" fmla="*/ 1559923 w 2122420"/>
                <a:gd name="connsiteY69" fmla="*/ 1787533 h 2079633"/>
                <a:gd name="connsiteX70" fmla="*/ 1547223 w 2122420"/>
                <a:gd name="connsiteY70" fmla="*/ 1797058 h 2079633"/>
                <a:gd name="connsiteX71" fmla="*/ 1540873 w 2122420"/>
                <a:gd name="connsiteY71" fmla="*/ 1806583 h 2079633"/>
                <a:gd name="connsiteX72" fmla="*/ 1524998 w 2122420"/>
                <a:gd name="connsiteY72" fmla="*/ 1816108 h 2079633"/>
                <a:gd name="connsiteX73" fmla="*/ 1480548 w 2122420"/>
                <a:gd name="connsiteY73" fmla="*/ 1860558 h 2079633"/>
                <a:gd name="connsiteX74" fmla="*/ 1464673 w 2122420"/>
                <a:gd name="connsiteY74" fmla="*/ 1879608 h 2079633"/>
                <a:gd name="connsiteX75" fmla="*/ 1455148 w 2122420"/>
                <a:gd name="connsiteY75" fmla="*/ 1892308 h 2079633"/>
                <a:gd name="connsiteX76" fmla="*/ 1445623 w 2122420"/>
                <a:gd name="connsiteY76" fmla="*/ 1901833 h 2079633"/>
                <a:gd name="connsiteX77" fmla="*/ 1432923 w 2122420"/>
                <a:gd name="connsiteY77" fmla="*/ 1917708 h 2079633"/>
                <a:gd name="connsiteX78" fmla="*/ 1423398 w 2122420"/>
                <a:gd name="connsiteY78" fmla="*/ 1927233 h 2079633"/>
                <a:gd name="connsiteX79" fmla="*/ 1417048 w 2122420"/>
                <a:gd name="connsiteY79" fmla="*/ 1936758 h 2079633"/>
                <a:gd name="connsiteX80" fmla="*/ 1391648 w 2122420"/>
                <a:gd name="connsiteY80" fmla="*/ 1955808 h 2079633"/>
                <a:gd name="connsiteX81" fmla="*/ 1356723 w 2122420"/>
                <a:gd name="connsiteY81" fmla="*/ 1971683 h 2079633"/>
                <a:gd name="connsiteX82" fmla="*/ 1344023 w 2122420"/>
                <a:gd name="connsiteY82" fmla="*/ 1978033 h 2079633"/>
                <a:gd name="connsiteX83" fmla="*/ 1331323 w 2122420"/>
                <a:gd name="connsiteY83" fmla="*/ 1987558 h 2079633"/>
                <a:gd name="connsiteX84" fmla="*/ 1312273 w 2122420"/>
                <a:gd name="connsiteY84" fmla="*/ 2006608 h 2079633"/>
                <a:gd name="connsiteX85" fmla="*/ 1270998 w 2122420"/>
                <a:gd name="connsiteY85" fmla="*/ 2025658 h 2079633"/>
                <a:gd name="connsiteX86" fmla="*/ 1258298 w 2122420"/>
                <a:gd name="connsiteY86" fmla="*/ 2032008 h 2079633"/>
                <a:gd name="connsiteX87" fmla="*/ 1236073 w 2122420"/>
                <a:gd name="connsiteY87" fmla="*/ 2038358 h 2079633"/>
                <a:gd name="connsiteX88" fmla="*/ 1226548 w 2122420"/>
                <a:gd name="connsiteY88" fmla="*/ 2044708 h 2079633"/>
                <a:gd name="connsiteX89" fmla="*/ 1217023 w 2122420"/>
                <a:gd name="connsiteY89" fmla="*/ 2047883 h 2079633"/>
                <a:gd name="connsiteX90" fmla="*/ 1175748 w 2122420"/>
                <a:gd name="connsiteY90" fmla="*/ 2057408 h 2079633"/>
                <a:gd name="connsiteX91" fmla="*/ 1150348 w 2122420"/>
                <a:gd name="connsiteY91" fmla="*/ 2070108 h 2079633"/>
                <a:gd name="connsiteX92" fmla="*/ 1102723 w 2122420"/>
                <a:gd name="connsiteY92" fmla="*/ 2079633 h 2079633"/>
                <a:gd name="connsiteX93" fmla="*/ 928098 w 2122420"/>
                <a:gd name="connsiteY93" fmla="*/ 2070108 h 2079633"/>
                <a:gd name="connsiteX94" fmla="*/ 886823 w 2122420"/>
                <a:gd name="connsiteY94" fmla="*/ 2054233 h 2079633"/>
                <a:gd name="connsiteX95" fmla="*/ 861423 w 2122420"/>
                <a:gd name="connsiteY95" fmla="*/ 2051058 h 2079633"/>
                <a:gd name="connsiteX96" fmla="*/ 845548 w 2122420"/>
                <a:gd name="connsiteY96" fmla="*/ 2035183 h 2079633"/>
                <a:gd name="connsiteX97" fmla="*/ 769348 w 2122420"/>
                <a:gd name="connsiteY97" fmla="*/ 1974858 h 2079633"/>
                <a:gd name="connsiteX98" fmla="*/ 747123 w 2122420"/>
                <a:gd name="connsiteY98" fmla="*/ 1946283 h 2079633"/>
                <a:gd name="connsiteX99" fmla="*/ 731248 w 2122420"/>
                <a:gd name="connsiteY99" fmla="*/ 1933583 h 2079633"/>
                <a:gd name="connsiteX100" fmla="*/ 715373 w 2122420"/>
                <a:gd name="connsiteY100" fmla="*/ 1917708 h 2079633"/>
                <a:gd name="connsiteX101" fmla="*/ 699498 w 2122420"/>
                <a:gd name="connsiteY101" fmla="*/ 1905008 h 2079633"/>
                <a:gd name="connsiteX102" fmla="*/ 680448 w 2122420"/>
                <a:gd name="connsiteY102" fmla="*/ 1885958 h 2079633"/>
                <a:gd name="connsiteX103" fmla="*/ 642348 w 2122420"/>
                <a:gd name="connsiteY103" fmla="*/ 1854208 h 2079633"/>
                <a:gd name="connsiteX104" fmla="*/ 601073 w 2122420"/>
                <a:gd name="connsiteY104" fmla="*/ 1806583 h 2079633"/>
                <a:gd name="connsiteX105" fmla="*/ 578848 w 2122420"/>
                <a:gd name="connsiteY105" fmla="*/ 1781183 h 2079633"/>
                <a:gd name="connsiteX106" fmla="*/ 537573 w 2122420"/>
                <a:gd name="connsiteY106" fmla="*/ 1739908 h 2079633"/>
                <a:gd name="connsiteX107" fmla="*/ 499473 w 2122420"/>
                <a:gd name="connsiteY107" fmla="*/ 1704983 h 2079633"/>
                <a:gd name="connsiteX108" fmla="*/ 470898 w 2122420"/>
                <a:gd name="connsiteY108" fmla="*/ 1670058 h 2079633"/>
                <a:gd name="connsiteX109" fmla="*/ 413748 w 2122420"/>
                <a:gd name="connsiteY109" fmla="*/ 1622433 h 2079633"/>
                <a:gd name="connsiteX110" fmla="*/ 401048 w 2122420"/>
                <a:gd name="connsiteY110" fmla="*/ 1612908 h 2079633"/>
                <a:gd name="connsiteX111" fmla="*/ 369298 w 2122420"/>
                <a:gd name="connsiteY111" fmla="*/ 1584333 h 2079633"/>
                <a:gd name="connsiteX112" fmla="*/ 328023 w 2122420"/>
                <a:gd name="connsiteY112" fmla="*/ 1558933 h 2079633"/>
                <a:gd name="connsiteX113" fmla="*/ 302623 w 2122420"/>
                <a:gd name="connsiteY113" fmla="*/ 1539883 h 2079633"/>
                <a:gd name="connsiteX114" fmla="*/ 223248 w 2122420"/>
                <a:gd name="connsiteY114" fmla="*/ 1470033 h 2079633"/>
                <a:gd name="connsiteX115" fmla="*/ 175623 w 2122420"/>
                <a:gd name="connsiteY115" fmla="*/ 1412883 h 2079633"/>
                <a:gd name="connsiteX116" fmla="*/ 118473 w 2122420"/>
                <a:gd name="connsiteY116" fmla="*/ 1339858 h 2079633"/>
                <a:gd name="connsiteX117" fmla="*/ 83548 w 2122420"/>
                <a:gd name="connsiteY117" fmla="*/ 1292233 h 2079633"/>
                <a:gd name="connsiteX118" fmla="*/ 64498 w 2122420"/>
                <a:gd name="connsiteY118" fmla="*/ 1266833 h 2079633"/>
                <a:gd name="connsiteX119" fmla="*/ 35923 w 2122420"/>
                <a:gd name="connsiteY119" fmla="*/ 1206508 h 2079633"/>
                <a:gd name="connsiteX120" fmla="*/ 26398 w 2122420"/>
                <a:gd name="connsiteY120" fmla="*/ 1171583 h 2079633"/>
                <a:gd name="connsiteX121" fmla="*/ 20048 w 2122420"/>
                <a:gd name="connsiteY121" fmla="*/ 1149358 h 2079633"/>
                <a:gd name="connsiteX122" fmla="*/ 16873 w 2122420"/>
                <a:gd name="connsiteY122" fmla="*/ 1133483 h 2079633"/>
                <a:gd name="connsiteX123" fmla="*/ 7348 w 2122420"/>
                <a:gd name="connsiteY123" fmla="*/ 1095383 h 2079633"/>
                <a:gd name="connsiteX124" fmla="*/ 998 w 2122420"/>
                <a:gd name="connsiteY124" fmla="*/ 1012833 h 2079633"/>
                <a:gd name="connsiteX125" fmla="*/ 10523 w 2122420"/>
                <a:gd name="connsiteY125" fmla="*/ 882658 h 2079633"/>
                <a:gd name="connsiteX126" fmla="*/ 35923 w 2122420"/>
                <a:gd name="connsiteY126" fmla="*/ 835033 h 2079633"/>
                <a:gd name="connsiteX127" fmla="*/ 51798 w 2122420"/>
                <a:gd name="connsiteY127" fmla="*/ 806458 h 2079633"/>
                <a:gd name="connsiteX128" fmla="*/ 83548 w 2122420"/>
                <a:gd name="connsiteY128" fmla="*/ 762008 h 2079633"/>
                <a:gd name="connsiteX129" fmla="*/ 99423 w 2122420"/>
                <a:gd name="connsiteY129" fmla="*/ 742958 h 2079633"/>
                <a:gd name="connsiteX130" fmla="*/ 143873 w 2122420"/>
                <a:gd name="connsiteY130" fmla="*/ 676283 h 2079633"/>
                <a:gd name="connsiteX131" fmla="*/ 308973 w 2122420"/>
                <a:gd name="connsiteY131" fmla="*/ 523883 h 2079633"/>
                <a:gd name="connsiteX132" fmla="*/ 366123 w 2122420"/>
                <a:gd name="connsiteY132" fmla="*/ 463558 h 2079633"/>
                <a:gd name="connsiteX133" fmla="*/ 416923 w 2122420"/>
                <a:gd name="connsiteY133" fmla="*/ 409583 h 2079633"/>
                <a:gd name="connsiteX134" fmla="*/ 445498 w 2122420"/>
                <a:gd name="connsiteY134" fmla="*/ 377833 h 2079633"/>
                <a:gd name="connsiteX135" fmla="*/ 493123 w 2122420"/>
                <a:gd name="connsiteY135" fmla="*/ 333383 h 2079633"/>
                <a:gd name="connsiteX136" fmla="*/ 712198 w 2122420"/>
                <a:gd name="connsiteY136" fmla="*/ 136533 h 2079633"/>
                <a:gd name="connsiteX137" fmla="*/ 750298 w 2122420"/>
                <a:gd name="connsiteY137" fmla="*/ 111133 h 2079633"/>
                <a:gd name="connsiteX138" fmla="*/ 785223 w 2122420"/>
                <a:gd name="connsiteY138" fmla="*/ 88908 h 2079633"/>
                <a:gd name="connsiteX139" fmla="*/ 883648 w 2122420"/>
                <a:gd name="connsiteY139" fmla="*/ 38108 h 2079633"/>
                <a:gd name="connsiteX140" fmla="*/ 1077323 w 2122420"/>
                <a:gd name="connsiteY140" fmla="*/ 8 h 2079633"/>
                <a:gd name="connsiteX141" fmla="*/ 1267823 w 2122420"/>
                <a:gd name="connsiteY141" fmla="*/ 34933 h 2079633"/>
                <a:gd name="connsiteX142" fmla="*/ 1296398 w 2122420"/>
                <a:gd name="connsiteY142" fmla="*/ 47633 h 2079633"/>
                <a:gd name="connsiteX0" fmla="*/ 1197973 w 2127233"/>
                <a:gd name="connsiteY0" fmla="*/ 25408 h 2079633"/>
                <a:gd name="connsiteX1" fmla="*/ 1217023 w 2127233"/>
                <a:gd name="connsiteY1" fmla="*/ 34933 h 2079633"/>
                <a:gd name="connsiteX2" fmla="*/ 1239248 w 2127233"/>
                <a:gd name="connsiteY2" fmla="*/ 38108 h 2079633"/>
                <a:gd name="connsiteX3" fmla="*/ 1258298 w 2127233"/>
                <a:gd name="connsiteY3" fmla="*/ 50808 h 2079633"/>
                <a:gd name="connsiteX4" fmla="*/ 1270998 w 2127233"/>
                <a:gd name="connsiteY4" fmla="*/ 57158 h 2079633"/>
                <a:gd name="connsiteX5" fmla="*/ 1290048 w 2127233"/>
                <a:gd name="connsiteY5" fmla="*/ 73033 h 2079633"/>
                <a:gd name="connsiteX6" fmla="*/ 1309098 w 2127233"/>
                <a:gd name="connsiteY6" fmla="*/ 79383 h 2079633"/>
                <a:gd name="connsiteX7" fmla="*/ 1324973 w 2127233"/>
                <a:gd name="connsiteY7" fmla="*/ 92083 h 2079633"/>
                <a:gd name="connsiteX8" fmla="*/ 1334498 w 2127233"/>
                <a:gd name="connsiteY8" fmla="*/ 95258 h 2079633"/>
                <a:gd name="connsiteX9" fmla="*/ 1340848 w 2127233"/>
                <a:gd name="connsiteY9" fmla="*/ 104783 h 2079633"/>
                <a:gd name="connsiteX10" fmla="*/ 1356723 w 2127233"/>
                <a:gd name="connsiteY10" fmla="*/ 114308 h 2079633"/>
                <a:gd name="connsiteX11" fmla="*/ 1382123 w 2127233"/>
                <a:gd name="connsiteY11" fmla="*/ 133358 h 2079633"/>
                <a:gd name="connsiteX12" fmla="*/ 1391648 w 2127233"/>
                <a:gd name="connsiteY12" fmla="*/ 139708 h 2079633"/>
                <a:gd name="connsiteX13" fmla="*/ 1432923 w 2127233"/>
                <a:gd name="connsiteY13" fmla="*/ 184158 h 2079633"/>
                <a:gd name="connsiteX14" fmla="*/ 1442448 w 2127233"/>
                <a:gd name="connsiteY14" fmla="*/ 196858 h 2079633"/>
                <a:gd name="connsiteX15" fmla="*/ 1455148 w 2127233"/>
                <a:gd name="connsiteY15" fmla="*/ 219083 h 2079633"/>
                <a:gd name="connsiteX16" fmla="*/ 1499598 w 2127233"/>
                <a:gd name="connsiteY16" fmla="*/ 260358 h 2079633"/>
                <a:gd name="connsiteX17" fmla="*/ 1512298 w 2127233"/>
                <a:gd name="connsiteY17" fmla="*/ 276233 h 2079633"/>
                <a:gd name="connsiteX18" fmla="*/ 1524998 w 2127233"/>
                <a:gd name="connsiteY18" fmla="*/ 288933 h 2079633"/>
                <a:gd name="connsiteX19" fmla="*/ 1531348 w 2127233"/>
                <a:gd name="connsiteY19" fmla="*/ 298458 h 2079633"/>
                <a:gd name="connsiteX20" fmla="*/ 1550398 w 2127233"/>
                <a:gd name="connsiteY20" fmla="*/ 317508 h 2079633"/>
                <a:gd name="connsiteX21" fmla="*/ 1559923 w 2127233"/>
                <a:gd name="connsiteY21" fmla="*/ 327033 h 2079633"/>
                <a:gd name="connsiteX22" fmla="*/ 1569448 w 2127233"/>
                <a:gd name="connsiteY22" fmla="*/ 339733 h 2079633"/>
                <a:gd name="connsiteX23" fmla="*/ 1594848 w 2127233"/>
                <a:gd name="connsiteY23" fmla="*/ 358783 h 2079633"/>
                <a:gd name="connsiteX24" fmla="*/ 1632948 w 2127233"/>
                <a:gd name="connsiteY24" fmla="*/ 390533 h 2079633"/>
                <a:gd name="connsiteX25" fmla="*/ 1648823 w 2127233"/>
                <a:gd name="connsiteY25" fmla="*/ 409583 h 2079633"/>
                <a:gd name="connsiteX26" fmla="*/ 1661523 w 2127233"/>
                <a:gd name="connsiteY26" fmla="*/ 419108 h 2079633"/>
                <a:gd name="connsiteX27" fmla="*/ 1683748 w 2127233"/>
                <a:gd name="connsiteY27" fmla="*/ 441333 h 2079633"/>
                <a:gd name="connsiteX28" fmla="*/ 1702798 w 2127233"/>
                <a:gd name="connsiteY28" fmla="*/ 460383 h 2079633"/>
                <a:gd name="connsiteX29" fmla="*/ 1712323 w 2127233"/>
                <a:gd name="connsiteY29" fmla="*/ 469908 h 2079633"/>
                <a:gd name="connsiteX30" fmla="*/ 1744073 w 2127233"/>
                <a:gd name="connsiteY30" fmla="*/ 495308 h 2079633"/>
                <a:gd name="connsiteX31" fmla="*/ 1753598 w 2127233"/>
                <a:gd name="connsiteY31" fmla="*/ 504833 h 2079633"/>
                <a:gd name="connsiteX32" fmla="*/ 1766298 w 2127233"/>
                <a:gd name="connsiteY32" fmla="*/ 514358 h 2079633"/>
                <a:gd name="connsiteX33" fmla="*/ 1782173 w 2127233"/>
                <a:gd name="connsiteY33" fmla="*/ 530233 h 2079633"/>
                <a:gd name="connsiteX34" fmla="*/ 1813923 w 2127233"/>
                <a:gd name="connsiteY34" fmla="*/ 555633 h 2079633"/>
                <a:gd name="connsiteX35" fmla="*/ 1817098 w 2127233"/>
                <a:gd name="connsiteY35" fmla="*/ 565158 h 2079633"/>
                <a:gd name="connsiteX36" fmla="*/ 1842498 w 2127233"/>
                <a:gd name="connsiteY36" fmla="*/ 587383 h 2079633"/>
                <a:gd name="connsiteX37" fmla="*/ 1893298 w 2127233"/>
                <a:gd name="connsiteY37" fmla="*/ 644533 h 2079633"/>
                <a:gd name="connsiteX38" fmla="*/ 1918698 w 2127233"/>
                <a:gd name="connsiteY38" fmla="*/ 663583 h 2079633"/>
                <a:gd name="connsiteX39" fmla="*/ 1931398 w 2127233"/>
                <a:gd name="connsiteY39" fmla="*/ 669933 h 2079633"/>
                <a:gd name="connsiteX40" fmla="*/ 1979023 w 2127233"/>
                <a:gd name="connsiteY40" fmla="*/ 720733 h 2079633"/>
                <a:gd name="connsiteX41" fmla="*/ 1988548 w 2127233"/>
                <a:gd name="connsiteY41" fmla="*/ 730258 h 2079633"/>
                <a:gd name="connsiteX42" fmla="*/ 2017123 w 2127233"/>
                <a:gd name="connsiteY42" fmla="*/ 755658 h 2079633"/>
                <a:gd name="connsiteX43" fmla="*/ 2023473 w 2127233"/>
                <a:gd name="connsiteY43" fmla="*/ 765183 h 2079633"/>
                <a:gd name="connsiteX44" fmla="*/ 2048873 w 2127233"/>
                <a:gd name="connsiteY44" fmla="*/ 812808 h 2079633"/>
                <a:gd name="connsiteX45" fmla="*/ 2071098 w 2127233"/>
                <a:gd name="connsiteY45" fmla="*/ 838208 h 2079633"/>
                <a:gd name="connsiteX46" fmla="*/ 2090148 w 2127233"/>
                <a:gd name="connsiteY46" fmla="*/ 895358 h 2079633"/>
                <a:gd name="connsiteX47" fmla="*/ 2121898 w 2127233"/>
                <a:gd name="connsiteY47" fmla="*/ 971558 h 2079633"/>
                <a:gd name="connsiteX48" fmla="*/ 2125073 w 2127233"/>
                <a:gd name="connsiteY48" fmla="*/ 1162058 h 2079633"/>
                <a:gd name="connsiteX49" fmla="*/ 2099673 w 2127233"/>
                <a:gd name="connsiteY49" fmla="*/ 1193808 h 2079633"/>
                <a:gd name="connsiteX50" fmla="*/ 2061573 w 2127233"/>
                <a:gd name="connsiteY50" fmla="*/ 1273183 h 2079633"/>
                <a:gd name="connsiteX51" fmla="*/ 2052048 w 2127233"/>
                <a:gd name="connsiteY51" fmla="*/ 1292233 h 2079633"/>
                <a:gd name="connsiteX52" fmla="*/ 2029823 w 2127233"/>
                <a:gd name="connsiteY52" fmla="*/ 1330333 h 2079633"/>
                <a:gd name="connsiteX53" fmla="*/ 2004423 w 2127233"/>
                <a:gd name="connsiteY53" fmla="*/ 1371608 h 2079633"/>
                <a:gd name="connsiteX54" fmla="*/ 1975848 w 2127233"/>
                <a:gd name="connsiteY54" fmla="*/ 1393833 h 2079633"/>
                <a:gd name="connsiteX55" fmla="*/ 1963148 w 2127233"/>
                <a:gd name="connsiteY55" fmla="*/ 1409708 h 2079633"/>
                <a:gd name="connsiteX56" fmla="*/ 1928223 w 2127233"/>
                <a:gd name="connsiteY56" fmla="*/ 1435108 h 2079633"/>
                <a:gd name="connsiteX57" fmla="*/ 1905998 w 2127233"/>
                <a:gd name="connsiteY57" fmla="*/ 1454158 h 2079633"/>
                <a:gd name="connsiteX58" fmla="*/ 1848848 w 2127233"/>
                <a:gd name="connsiteY58" fmla="*/ 1485908 h 2079633"/>
                <a:gd name="connsiteX59" fmla="*/ 1810748 w 2127233"/>
                <a:gd name="connsiteY59" fmla="*/ 1517658 h 2079633"/>
                <a:gd name="connsiteX60" fmla="*/ 1791698 w 2127233"/>
                <a:gd name="connsiteY60" fmla="*/ 1533533 h 2079633"/>
                <a:gd name="connsiteX61" fmla="*/ 1775823 w 2127233"/>
                <a:gd name="connsiteY61" fmla="*/ 1543058 h 2079633"/>
                <a:gd name="connsiteX62" fmla="*/ 1718673 w 2127233"/>
                <a:gd name="connsiteY62" fmla="*/ 1606558 h 2079633"/>
                <a:gd name="connsiteX63" fmla="*/ 1709148 w 2127233"/>
                <a:gd name="connsiteY63" fmla="*/ 1619258 h 2079633"/>
                <a:gd name="connsiteX64" fmla="*/ 1680573 w 2127233"/>
                <a:gd name="connsiteY64" fmla="*/ 1651008 h 2079633"/>
                <a:gd name="connsiteX65" fmla="*/ 1658348 w 2127233"/>
                <a:gd name="connsiteY65" fmla="*/ 1679583 h 2079633"/>
                <a:gd name="connsiteX66" fmla="*/ 1623423 w 2127233"/>
                <a:gd name="connsiteY66" fmla="*/ 1714508 h 2079633"/>
                <a:gd name="connsiteX67" fmla="*/ 1604373 w 2127233"/>
                <a:gd name="connsiteY67" fmla="*/ 1733558 h 2079633"/>
                <a:gd name="connsiteX68" fmla="*/ 1569448 w 2127233"/>
                <a:gd name="connsiteY68" fmla="*/ 1774833 h 2079633"/>
                <a:gd name="connsiteX69" fmla="*/ 1559923 w 2127233"/>
                <a:gd name="connsiteY69" fmla="*/ 1787533 h 2079633"/>
                <a:gd name="connsiteX70" fmla="*/ 1547223 w 2127233"/>
                <a:gd name="connsiteY70" fmla="*/ 1797058 h 2079633"/>
                <a:gd name="connsiteX71" fmla="*/ 1540873 w 2127233"/>
                <a:gd name="connsiteY71" fmla="*/ 1806583 h 2079633"/>
                <a:gd name="connsiteX72" fmla="*/ 1524998 w 2127233"/>
                <a:gd name="connsiteY72" fmla="*/ 1816108 h 2079633"/>
                <a:gd name="connsiteX73" fmla="*/ 1480548 w 2127233"/>
                <a:gd name="connsiteY73" fmla="*/ 1860558 h 2079633"/>
                <a:gd name="connsiteX74" fmla="*/ 1464673 w 2127233"/>
                <a:gd name="connsiteY74" fmla="*/ 1879608 h 2079633"/>
                <a:gd name="connsiteX75" fmla="*/ 1455148 w 2127233"/>
                <a:gd name="connsiteY75" fmla="*/ 1892308 h 2079633"/>
                <a:gd name="connsiteX76" fmla="*/ 1445623 w 2127233"/>
                <a:gd name="connsiteY76" fmla="*/ 1901833 h 2079633"/>
                <a:gd name="connsiteX77" fmla="*/ 1432923 w 2127233"/>
                <a:gd name="connsiteY77" fmla="*/ 1917708 h 2079633"/>
                <a:gd name="connsiteX78" fmla="*/ 1423398 w 2127233"/>
                <a:gd name="connsiteY78" fmla="*/ 1927233 h 2079633"/>
                <a:gd name="connsiteX79" fmla="*/ 1417048 w 2127233"/>
                <a:gd name="connsiteY79" fmla="*/ 1936758 h 2079633"/>
                <a:gd name="connsiteX80" fmla="*/ 1391648 w 2127233"/>
                <a:gd name="connsiteY80" fmla="*/ 1955808 h 2079633"/>
                <a:gd name="connsiteX81" fmla="*/ 1356723 w 2127233"/>
                <a:gd name="connsiteY81" fmla="*/ 1971683 h 2079633"/>
                <a:gd name="connsiteX82" fmla="*/ 1344023 w 2127233"/>
                <a:gd name="connsiteY82" fmla="*/ 1978033 h 2079633"/>
                <a:gd name="connsiteX83" fmla="*/ 1331323 w 2127233"/>
                <a:gd name="connsiteY83" fmla="*/ 1987558 h 2079633"/>
                <a:gd name="connsiteX84" fmla="*/ 1312273 w 2127233"/>
                <a:gd name="connsiteY84" fmla="*/ 2006608 h 2079633"/>
                <a:gd name="connsiteX85" fmla="*/ 1270998 w 2127233"/>
                <a:gd name="connsiteY85" fmla="*/ 2025658 h 2079633"/>
                <a:gd name="connsiteX86" fmla="*/ 1258298 w 2127233"/>
                <a:gd name="connsiteY86" fmla="*/ 2032008 h 2079633"/>
                <a:gd name="connsiteX87" fmla="*/ 1236073 w 2127233"/>
                <a:gd name="connsiteY87" fmla="*/ 2038358 h 2079633"/>
                <a:gd name="connsiteX88" fmla="*/ 1226548 w 2127233"/>
                <a:gd name="connsiteY88" fmla="*/ 2044708 h 2079633"/>
                <a:gd name="connsiteX89" fmla="*/ 1217023 w 2127233"/>
                <a:gd name="connsiteY89" fmla="*/ 2047883 h 2079633"/>
                <a:gd name="connsiteX90" fmla="*/ 1175748 w 2127233"/>
                <a:gd name="connsiteY90" fmla="*/ 2057408 h 2079633"/>
                <a:gd name="connsiteX91" fmla="*/ 1150348 w 2127233"/>
                <a:gd name="connsiteY91" fmla="*/ 2070108 h 2079633"/>
                <a:gd name="connsiteX92" fmla="*/ 1102723 w 2127233"/>
                <a:gd name="connsiteY92" fmla="*/ 2079633 h 2079633"/>
                <a:gd name="connsiteX93" fmla="*/ 928098 w 2127233"/>
                <a:gd name="connsiteY93" fmla="*/ 2070108 h 2079633"/>
                <a:gd name="connsiteX94" fmla="*/ 886823 w 2127233"/>
                <a:gd name="connsiteY94" fmla="*/ 2054233 h 2079633"/>
                <a:gd name="connsiteX95" fmla="*/ 861423 w 2127233"/>
                <a:gd name="connsiteY95" fmla="*/ 2051058 h 2079633"/>
                <a:gd name="connsiteX96" fmla="*/ 845548 w 2127233"/>
                <a:gd name="connsiteY96" fmla="*/ 2035183 h 2079633"/>
                <a:gd name="connsiteX97" fmla="*/ 769348 w 2127233"/>
                <a:gd name="connsiteY97" fmla="*/ 1974858 h 2079633"/>
                <a:gd name="connsiteX98" fmla="*/ 747123 w 2127233"/>
                <a:gd name="connsiteY98" fmla="*/ 1946283 h 2079633"/>
                <a:gd name="connsiteX99" fmla="*/ 731248 w 2127233"/>
                <a:gd name="connsiteY99" fmla="*/ 1933583 h 2079633"/>
                <a:gd name="connsiteX100" fmla="*/ 715373 w 2127233"/>
                <a:gd name="connsiteY100" fmla="*/ 1917708 h 2079633"/>
                <a:gd name="connsiteX101" fmla="*/ 699498 w 2127233"/>
                <a:gd name="connsiteY101" fmla="*/ 1905008 h 2079633"/>
                <a:gd name="connsiteX102" fmla="*/ 680448 w 2127233"/>
                <a:gd name="connsiteY102" fmla="*/ 1885958 h 2079633"/>
                <a:gd name="connsiteX103" fmla="*/ 642348 w 2127233"/>
                <a:gd name="connsiteY103" fmla="*/ 1854208 h 2079633"/>
                <a:gd name="connsiteX104" fmla="*/ 601073 w 2127233"/>
                <a:gd name="connsiteY104" fmla="*/ 1806583 h 2079633"/>
                <a:gd name="connsiteX105" fmla="*/ 578848 w 2127233"/>
                <a:gd name="connsiteY105" fmla="*/ 1781183 h 2079633"/>
                <a:gd name="connsiteX106" fmla="*/ 537573 w 2127233"/>
                <a:gd name="connsiteY106" fmla="*/ 1739908 h 2079633"/>
                <a:gd name="connsiteX107" fmla="*/ 499473 w 2127233"/>
                <a:gd name="connsiteY107" fmla="*/ 1704983 h 2079633"/>
                <a:gd name="connsiteX108" fmla="*/ 470898 w 2127233"/>
                <a:gd name="connsiteY108" fmla="*/ 1670058 h 2079633"/>
                <a:gd name="connsiteX109" fmla="*/ 413748 w 2127233"/>
                <a:gd name="connsiteY109" fmla="*/ 1622433 h 2079633"/>
                <a:gd name="connsiteX110" fmla="*/ 401048 w 2127233"/>
                <a:gd name="connsiteY110" fmla="*/ 1612908 h 2079633"/>
                <a:gd name="connsiteX111" fmla="*/ 369298 w 2127233"/>
                <a:gd name="connsiteY111" fmla="*/ 1584333 h 2079633"/>
                <a:gd name="connsiteX112" fmla="*/ 328023 w 2127233"/>
                <a:gd name="connsiteY112" fmla="*/ 1558933 h 2079633"/>
                <a:gd name="connsiteX113" fmla="*/ 302623 w 2127233"/>
                <a:gd name="connsiteY113" fmla="*/ 1539883 h 2079633"/>
                <a:gd name="connsiteX114" fmla="*/ 223248 w 2127233"/>
                <a:gd name="connsiteY114" fmla="*/ 1470033 h 2079633"/>
                <a:gd name="connsiteX115" fmla="*/ 175623 w 2127233"/>
                <a:gd name="connsiteY115" fmla="*/ 1412883 h 2079633"/>
                <a:gd name="connsiteX116" fmla="*/ 118473 w 2127233"/>
                <a:gd name="connsiteY116" fmla="*/ 1339858 h 2079633"/>
                <a:gd name="connsiteX117" fmla="*/ 83548 w 2127233"/>
                <a:gd name="connsiteY117" fmla="*/ 1292233 h 2079633"/>
                <a:gd name="connsiteX118" fmla="*/ 64498 w 2127233"/>
                <a:gd name="connsiteY118" fmla="*/ 1266833 h 2079633"/>
                <a:gd name="connsiteX119" fmla="*/ 35923 w 2127233"/>
                <a:gd name="connsiteY119" fmla="*/ 1206508 h 2079633"/>
                <a:gd name="connsiteX120" fmla="*/ 26398 w 2127233"/>
                <a:gd name="connsiteY120" fmla="*/ 1171583 h 2079633"/>
                <a:gd name="connsiteX121" fmla="*/ 20048 w 2127233"/>
                <a:gd name="connsiteY121" fmla="*/ 1149358 h 2079633"/>
                <a:gd name="connsiteX122" fmla="*/ 16873 w 2127233"/>
                <a:gd name="connsiteY122" fmla="*/ 1133483 h 2079633"/>
                <a:gd name="connsiteX123" fmla="*/ 7348 w 2127233"/>
                <a:gd name="connsiteY123" fmla="*/ 1095383 h 2079633"/>
                <a:gd name="connsiteX124" fmla="*/ 998 w 2127233"/>
                <a:gd name="connsiteY124" fmla="*/ 1012833 h 2079633"/>
                <a:gd name="connsiteX125" fmla="*/ 10523 w 2127233"/>
                <a:gd name="connsiteY125" fmla="*/ 882658 h 2079633"/>
                <a:gd name="connsiteX126" fmla="*/ 35923 w 2127233"/>
                <a:gd name="connsiteY126" fmla="*/ 835033 h 2079633"/>
                <a:gd name="connsiteX127" fmla="*/ 51798 w 2127233"/>
                <a:gd name="connsiteY127" fmla="*/ 806458 h 2079633"/>
                <a:gd name="connsiteX128" fmla="*/ 83548 w 2127233"/>
                <a:gd name="connsiteY128" fmla="*/ 762008 h 2079633"/>
                <a:gd name="connsiteX129" fmla="*/ 99423 w 2127233"/>
                <a:gd name="connsiteY129" fmla="*/ 742958 h 2079633"/>
                <a:gd name="connsiteX130" fmla="*/ 143873 w 2127233"/>
                <a:gd name="connsiteY130" fmla="*/ 676283 h 2079633"/>
                <a:gd name="connsiteX131" fmla="*/ 308973 w 2127233"/>
                <a:gd name="connsiteY131" fmla="*/ 523883 h 2079633"/>
                <a:gd name="connsiteX132" fmla="*/ 366123 w 2127233"/>
                <a:gd name="connsiteY132" fmla="*/ 463558 h 2079633"/>
                <a:gd name="connsiteX133" fmla="*/ 416923 w 2127233"/>
                <a:gd name="connsiteY133" fmla="*/ 409583 h 2079633"/>
                <a:gd name="connsiteX134" fmla="*/ 445498 w 2127233"/>
                <a:gd name="connsiteY134" fmla="*/ 377833 h 2079633"/>
                <a:gd name="connsiteX135" fmla="*/ 493123 w 2127233"/>
                <a:gd name="connsiteY135" fmla="*/ 333383 h 2079633"/>
                <a:gd name="connsiteX136" fmla="*/ 712198 w 2127233"/>
                <a:gd name="connsiteY136" fmla="*/ 136533 h 2079633"/>
                <a:gd name="connsiteX137" fmla="*/ 750298 w 2127233"/>
                <a:gd name="connsiteY137" fmla="*/ 111133 h 2079633"/>
                <a:gd name="connsiteX138" fmla="*/ 785223 w 2127233"/>
                <a:gd name="connsiteY138" fmla="*/ 88908 h 2079633"/>
                <a:gd name="connsiteX139" fmla="*/ 883648 w 2127233"/>
                <a:gd name="connsiteY139" fmla="*/ 38108 h 2079633"/>
                <a:gd name="connsiteX140" fmla="*/ 1077323 w 2127233"/>
                <a:gd name="connsiteY140" fmla="*/ 8 h 2079633"/>
                <a:gd name="connsiteX141" fmla="*/ 1267823 w 2127233"/>
                <a:gd name="connsiteY141" fmla="*/ 34933 h 2079633"/>
                <a:gd name="connsiteX142" fmla="*/ 1296398 w 2127233"/>
                <a:gd name="connsiteY142" fmla="*/ 47633 h 2079633"/>
                <a:gd name="connsiteX0" fmla="*/ 1197973 w 2134255"/>
                <a:gd name="connsiteY0" fmla="*/ 25408 h 2079633"/>
                <a:gd name="connsiteX1" fmla="*/ 1217023 w 2134255"/>
                <a:gd name="connsiteY1" fmla="*/ 34933 h 2079633"/>
                <a:gd name="connsiteX2" fmla="*/ 1239248 w 2134255"/>
                <a:gd name="connsiteY2" fmla="*/ 38108 h 2079633"/>
                <a:gd name="connsiteX3" fmla="*/ 1258298 w 2134255"/>
                <a:gd name="connsiteY3" fmla="*/ 50808 h 2079633"/>
                <a:gd name="connsiteX4" fmla="*/ 1270998 w 2134255"/>
                <a:gd name="connsiteY4" fmla="*/ 57158 h 2079633"/>
                <a:gd name="connsiteX5" fmla="*/ 1290048 w 2134255"/>
                <a:gd name="connsiteY5" fmla="*/ 73033 h 2079633"/>
                <a:gd name="connsiteX6" fmla="*/ 1309098 w 2134255"/>
                <a:gd name="connsiteY6" fmla="*/ 79383 h 2079633"/>
                <a:gd name="connsiteX7" fmla="*/ 1324973 w 2134255"/>
                <a:gd name="connsiteY7" fmla="*/ 92083 h 2079633"/>
                <a:gd name="connsiteX8" fmla="*/ 1334498 w 2134255"/>
                <a:gd name="connsiteY8" fmla="*/ 95258 h 2079633"/>
                <a:gd name="connsiteX9" fmla="*/ 1340848 w 2134255"/>
                <a:gd name="connsiteY9" fmla="*/ 104783 h 2079633"/>
                <a:gd name="connsiteX10" fmla="*/ 1356723 w 2134255"/>
                <a:gd name="connsiteY10" fmla="*/ 114308 h 2079633"/>
                <a:gd name="connsiteX11" fmla="*/ 1382123 w 2134255"/>
                <a:gd name="connsiteY11" fmla="*/ 133358 h 2079633"/>
                <a:gd name="connsiteX12" fmla="*/ 1391648 w 2134255"/>
                <a:gd name="connsiteY12" fmla="*/ 139708 h 2079633"/>
                <a:gd name="connsiteX13" fmla="*/ 1432923 w 2134255"/>
                <a:gd name="connsiteY13" fmla="*/ 184158 h 2079633"/>
                <a:gd name="connsiteX14" fmla="*/ 1442448 w 2134255"/>
                <a:gd name="connsiteY14" fmla="*/ 196858 h 2079633"/>
                <a:gd name="connsiteX15" fmla="*/ 1455148 w 2134255"/>
                <a:gd name="connsiteY15" fmla="*/ 219083 h 2079633"/>
                <a:gd name="connsiteX16" fmla="*/ 1499598 w 2134255"/>
                <a:gd name="connsiteY16" fmla="*/ 260358 h 2079633"/>
                <a:gd name="connsiteX17" fmla="*/ 1512298 w 2134255"/>
                <a:gd name="connsiteY17" fmla="*/ 276233 h 2079633"/>
                <a:gd name="connsiteX18" fmla="*/ 1524998 w 2134255"/>
                <a:gd name="connsiteY18" fmla="*/ 288933 h 2079633"/>
                <a:gd name="connsiteX19" fmla="*/ 1531348 w 2134255"/>
                <a:gd name="connsiteY19" fmla="*/ 298458 h 2079633"/>
                <a:gd name="connsiteX20" fmla="*/ 1550398 w 2134255"/>
                <a:gd name="connsiteY20" fmla="*/ 317508 h 2079633"/>
                <a:gd name="connsiteX21" fmla="*/ 1559923 w 2134255"/>
                <a:gd name="connsiteY21" fmla="*/ 327033 h 2079633"/>
                <a:gd name="connsiteX22" fmla="*/ 1569448 w 2134255"/>
                <a:gd name="connsiteY22" fmla="*/ 339733 h 2079633"/>
                <a:gd name="connsiteX23" fmla="*/ 1594848 w 2134255"/>
                <a:gd name="connsiteY23" fmla="*/ 358783 h 2079633"/>
                <a:gd name="connsiteX24" fmla="*/ 1632948 w 2134255"/>
                <a:gd name="connsiteY24" fmla="*/ 390533 h 2079633"/>
                <a:gd name="connsiteX25" fmla="*/ 1648823 w 2134255"/>
                <a:gd name="connsiteY25" fmla="*/ 409583 h 2079633"/>
                <a:gd name="connsiteX26" fmla="*/ 1661523 w 2134255"/>
                <a:gd name="connsiteY26" fmla="*/ 419108 h 2079633"/>
                <a:gd name="connsiteX27" fmla="*/ 1683748 w 2134255"/>
                <a:gd name="connsiteY27" fmla="*/ 441333 h 2079633"/>
                <a:gd name="connsiteX28" fmla="*/ 1702798 w 2134255"/>
                <a:gd name="connsiteY28" fmla="*/ 460383 h 2079633"/>
                <a:gd name="connsiteX29" fmla="*/ 1712323 w 2134255"/>
                <a:gd name="connsiteY29" fmla="*/ 469908 h 2079633"/>
                <a:gd name="connsiteX30" fmla="*/ 1744073 w 2134255"/>
                <a:gd name="connsiteY30" fmla="*/ 495308 h 2079633"/>
                <a:gd name="connsiteX31" fmla="*/ 1753598 w 2134255"/>
                <a:gd name="connsiteY31" fmla="*/ 504833 h 2079633"/>
                <a:gd name="connsiteX32" fmla="*/ 1766298 w 2134255"/>
                <a:gd name="connsiteY32" fmla="*/ 514358 h 2079633"/>
                <a:gd name="connsiteX33" fmla="*/ 1782173 w 2134255"/>
                <a:gd name="connsiteY33" fmla="*/ 530233 h 2079633"/>
                <a:gd name="connsiteX34" fmla="*/ 1813923 w 2134255"/>
                <a:gd name="connsiteY34" fmla="*/ 555633 h 2079633"/>
                <a:gd name="connsiteX35" fmla="*/ 1817098 w 2134255"/>
                <a:gd name="connsiteY35" fmla="*/ 565158 h 2079633"/>
                <a:gd name="connsiteX36" fmla="*/ 1842498 w 2134255"/>
                <a:gd name="connsiteY36" fmla="*/ 587383 h 2079633"/>
                <a:gd name="connsiteX37" fmla="*/ 1893298 w 2134255"/>
                <a:gd name="connsiteY37" fmla="*/ 644533 h 2079633"/>
                <a:gd name="connsiteX38" fmla="*/ 1918698 w 2134255"/>
                <a:gd name="connsiteY38" fmla="*/ 663583 h 2079633"/>
                <a:gd name="connsiteX39" fmla="*/ 1931398 w 2134255"/>
                <a:gd name="connsiteY39" fmla="*/ 669933 h 2079633"/>
                <a:gd name="connsiteX40" fmla="*/ 1979023 w 2134255"/>
                <a:gd name="connsiteY40" fmla="*/ 720733 h 2079633"/>
                <a:gd name="connsiteX41" fmla="*/ 1988548 w 2134255"/>
                <a:gd name="connsiteY41" fmla="*/ 730258 h 2079633"/>
                <a:gd name="connsiteX42" fmla="*/ 2017123 w 2134255"/>
                <a:gd name="connsiteY42" fmla="*/ 755658 h 2079633"/>
                <a:gd name="connsiteX43" fmla="*/ 2023473 w 2134255"/>
                <a:gd name="connsiteY43" fmla="*/ 765183 h 2079633"/>
                <a:gd name="connsiteX44" fmla="*/ 2048873 w 2134255"/>
                <a:gd name="connsiteY44" fmla="*/ 812808 h 2079633"/>
                <a:gd name="connsiteX45" fmla="*/ 2071098 w 2134255"/>
                <a:gd name="connsiteY45" fmla="*/ 838208 h 2079633"/>
                <a:gd name="connsiteX46" fmla="*/ 2090148 w 2134255"/>
                <a:gd name="connsiteY46" fmla="*/ 895358 h 2079633"/>
                <a:gd name="connsiteX47" fmla="*/ 2121898 w 2134255"/>
                <a:gd name="connsiteY47" fmla="*/ 971558 h 2079633"/>
                <a:gd name="connsiteX48" fmla="*/ 2125073 w 2134255"/>
                <a:gd name="connsiteY48" fmla="*/ 1162058 h 2079633"/>
                <a:gd name="connsiteX49" fmla="*/ 2099673 w 2134255"/>
                <a:gd name="connsiteY49" fmla="*/ 1193808 h 2079633"/>
                <a:gd name="connsiteX50" fmla="*/ 2061573 w 2134255"/>
                <a:gd name="connsiteY50" fmla="*/ 1273183 h 2079633"/>
                <a:gd name="connsiteX51" fmla="*/ 2052048 w 2134255"/>
                <a:gd name="connsiteY51" fmla="*/ 1292233 h 2079633"/>
                <a:gd name="connsiteX52" fmla="*/ 2029823 w 2134255"/>
                <a:gd name="connsiteY52" fmla="*/ 1330333 h 2079633"/>
                <a:gd name="connsiteX53" fmla="*/ 2004423 w 2134255"/>
                <a:gd name="connsiteY53" fmla="*/ 1371608 h 2079633"/>
                <a:gd name="connsiteX54" fmla="*/ 1975848 w 2134255"/>
                <a:gd name="connsiteY54" fmla="*/ 1393833 h 2079633"/>
                <a:gd name="connsiteX55" fmla="*/ 1963148 w 2134255"/>
                <a:gd name="connsiteY55" fmla="*/ 1409708 h 2079633"/>
                <a:gd name="connsiteX56" fmla="*/ 1928223 w 2134255"/>
                <a:gd name="connsiteY56" fmla="*/ 1435108 h 2079633"/>
                <a:gd name="connsiteX57" fmla="*/ 1905998 w 2134255"/>
                <a:gd name="connsiteY57" fmla="*/ 1454158 h 2079633"/>
                <a:gd name="connsiteX58" fmla="*/ 1848848 w 2134255"/>
                <a:gd name="connsiteY58" fmla="*/ 1485908 h 2079633"/>
                <a:gd name="connsiteX59" fmla="*/ 1810748 w 2134255"/>
                <a:gd name="connsiteY59" fmla="*/ 1517658 h 2079633"/>
                <a:gd name="connsiteX60" fmla="*/ 1791698 w 2134255"/>
                <a:gd name="connsiteY60" fmla="*/ 1533533 h 2079633"/>
                <a:gd name="connsiteX61" fmla="*/ 1775823 w 2134255"/>
                <a:gd name="connsiteY61" fmla="*/ 1543058 h 2079633"/>
                <a:gd name="connsiteX62" fmla="*/ 1718673 w 2134255"/>
                <a:gd name="connsiteY62" fmla="*/ 1606558 h 2079633"/>
                <a:gd name="connsiteX63" fmla="*/ 1709148 w 2134255"/>
                <a:gd name="connsiteY63" fmla="*/ 1619258 h 2079633"/>
                <a:gd name="connsiteX64" fmla="*/ 1680573 w 2134255"/>
                <a:gd name="connsiteY64" fmla="*/ 1651008 h 2079633"/>
                <a:gd name="connsiteX65" fmla="*/ 1658348 w 2134255"/>
                <a:gd name="connsiteY65" fmla="*/ 1679583 h 2079633"/>
                <a:gd name="connsiteX66" fmla="*/ 1623423 w 2134255"/>
                <a:gd name="connsiteY66" fmla="*/ 1714508 h 2079633"/>
                <a:gd name="connsiteX67" fmla="*/ 1604373 w 2134255"/>
                <a:gd name="connsiteY67" fmla="*/ 1733558 h 2079633"/>
                <a:gd name="connsiteX68" fmla="*/ 1569448 w 2134255"/>
                <a:gd name="connsiteY68" fmla="*/ 1774833 h 2079633"/>
                <a:gd name="connsiteX69" fmla="*/ 1559923 w 2134255"/>
                <a:gd name="connsiteY69" fmla="*/ 1787533 h 2079633"/>
                <a:gd name="connsiteX70" fmla="*/ 1547223 w 2134255"/>
                <a:gd name="connsiteY70" fmla="*/ 1797058 h 2079633"/>
                <a:gd name="connsiteX71" fmla="*/ 1540873 w 2134255"/>
                <a:gd name="connsiteY71" fmla="*/ 1806583 h 2079633"/>
                <a:gd name="connsiteX72" fmla="*/ 1524998 w 2134255"/>
                <a:gd name="connsiteY72" fmla="*/ 1816108 h 2079633"/>
                <a:gd name="connsiteX73" fmla="*/ 1480548 w 2134255"/>
                <a:gd name="connsiteY73" fmla="*/ 1860558 h 2079633"/>
                <a:gd name="connsiteX74" fmla="*/ 1464673 w 2134255"/>
                <a:gd name="connsiteY74" fmla="*/ 1879608 h 2079633"/>
                <a:gd name="connsiteX75" fmla="*/ 1455148 w 2134255"/>
                <a:gd name="connsiteY75" fmla="*/ 1892308 h 2079633"/>
                <a:gd name="connsiteX76" fmla="*/ 1445623 w 2134255"/>
                <a:gd name="connsiteY76" fmla="*/ 1901833 h 2079633"/>
                <a:gd name="connsiteX77" fmla="*/ 1432923 w 2134255"/>
                <a:gd name="connsiteY77" fmla="*/ 1917708 h 2079633"/>
                <a:gd name="connsiteX78" fmla="*/ 1423398 w 2134255"/>
                <a:gd name="connsiteY78" fmla="*/ 1927233 h 2079633"/>
                <a:gd name="connsiteX79" fmla="*/ 1417048 w 2134255"/>
                <a:gd name="connsiteY79" fmla="*/ 1936758 h 2079633"/>
                <a:gd name="connsiteX80" fmla="*/ 1391648 w 2134255"/>
                <a:gd name="connsiteY80" fmla="*/ 1955808 h 2079633"/>
                <a:gd name="connsiteX81" fmla="*/ 1356723 w 2134255"/>
                <a:gd name="connsiteY81" fmla="*/ 1971683 h 2079633"/>
                <a:gd name="connsiteX82" fmla="*/ 1344023 w 2134255"/>
                <a:gd name="connsiteY82" fmla="*/ 1978033 h 2079633"/>
                <a:gd name="connsiteX83" fmla="*/ 1331323 w 2134255"/>
                <a:gd name="connsiteY83" fmla="*/ 1987558 h 2079633"/>
                <a:gd name="connsiteX84" fmla="*/ 1312273 w 2134255"/>
                <a:gd name="connsiteY84" fmla="*/ 2006608 h 2079633"/>
                <a:gd name="connsiteX85" fmla="*/ 1270998 w 2134255"/>
                <a:gd name="connsiteY85" fmla="*/ 2025658 h 2079633"/>
                <a:gd name="connsiteX86" fmla="*/ 1258298 w 2134255"/>
                <a:gd name="connsiteY86" fmla="*/ 2032008 h 2079633"/>
                <a:gd name="connsiteX87" fmla="*/ 1236073 w 2134255"/>
                <a:gd name="connsiteY87" fmla="*/ 2038358 h 2079633"/>
                <a:gd name="connsiteX88" fmla="*/ 1226548 w 2134255"/>
                <a:gd name="connsiteY88" fmla="*/ 2044708 h 2079633"/>
                <a:gd name="connsiteX89" fmla="*/ 1217023 w 2134255"/>
                <a:gd name="connsiteY89" fmla="*/ 2047883 h 2079633"/>
                <a:gd name="connsiteX90" fmla="*/ 1175748 w 2134255"/>
                <a:gd name="connsiteY90" fmla="*/ 2057408 h 2079633"/>
                <a:gd name="connsiteX91" fmla="*/ 1150348 w 2134255"/>
                <a:gd name="connsiteY91" fmla="*/ 2070108 h 2079633"/>
                <a:gd name="connsiteX92" fmla="*/ 1102723 w 2134255"/>
                <a:gd name="connsiteY92" fmla="*/ 2079633 h 2079633"/>
                <a:gd name="connsiteX93" fmla="*/ 928098 w 2134255"/>
                <a:gd name="connsiteY93" fmla="*/ 2070108 h 2079633"/>
                <a:gd name="connsiteX94" fmla="*/ 886823 w 2134255"/>
                <a:gd name="connsiteY94" fmla="*/ 2054233 h 2079633"/>
                <a:gd name="connsiteX95" fmla="*/ 861423 w 2134255"/>
                <a:gd name="connsiteY95" fmla="*/ 2051058 h 2079633"/>
                <a:gd name="connsiteX96" fmla="*/ 845548 w 2134255"/>
                <a:gd name="connsiteY96" fmla="*/ 2035183 h 2079633"/>
                <a:gd name="connsiteX97" fmla="*/ 769348 w 2134255"/>
                <a:gd name="connsiteY97" fmla="*/ 1974858 h 2079633"/>
                <a:gd name="connsiteX98" fmla="*/ 747123 w 2134255"/>
                <a:gd name="connsiteY98" fmla="*/ 1946283 h 2079633"/>
                <a:gd name="connsiteX99" fmla="*/ 731248 w 2134255"/>
                <a:gd name="connsiteY99" fmla="*/ 1933583 h 2079633"/>
                <a:gd name="connsiteX100" fmla="*/ 715373 w 2134255"/>
                <a:gd name="connsiteY100" fmla="*/ 1917708 h 2079633"/>
                <a:gd name="connsiteX101" fmla="*/ 699498 w 2134255"/>
                <a:gd name="connsiteY101" fmla="*/ 1905008 h 2079633"/>
                <a:gd name="connsiteX102" fmla="*/ 680448 w 2134255"/>
                <a:gd name="connsiteY102" fmla="*/ 1885958 h 2079633"/>
                <a:gd name="connsiteX103" fmla="*/ 642348 w 2134255"/>
                <a:gd name="connsiteY103" fmla="*/ 1854208 h 2079633"/>
                <a:gd name="connsiteX104" fmla="*/ 601073 w 2134255"/>
                <a:gd name="connsiteY104" fmla="*/ 1806583 h 2079633"/>
                <a:gd name="connsiteX105" fmla="*/ 578848 w 2134255"/>
                <a:gd name="connsiteY105" fmla="*/ 1781183 h 2079633"/>
                <a:gd name="connsiteX106" fmla="*/ 537573 w 2134255"/>
                <a:gd name="connsiteY106" fmla="*/ 1739908 h 2079633"/>
                <a:gd name="connsiteX107" fmla="*/ 499473 w 2134255"/>
                <a:gd name="connsiteY107" fmla="*/ 1704983 h 2079633"/>
                <a:gd name="connsiteX108" fmla="*/ 470898 w 2134255"/>
                <a:gd name="connsiteY108" fmla="*/ 1670058 h 2079633"/>
                <a:gd name="connsiteX109" fmla="*/ 413748 w 2134255"/>
                <a:gd name="connsiteY109" fmla="*/ 1622433 h 2079633"/>
                <a:gd name="connsiteX110" fmla="*/ 401048 w 2134255"/>
                <a:gd name="connsiteY110" fmla="*/ 1612908 h 2079633"/>
                <a:gd name="connsiteX111" fmla="*/ 369298 w 2134255"/>
                <a:gd name="connsiteY111" fmla="*/ 1584333 h 2079633"/>
                <a:gd name="connsiteX112" fmla="*/ 328023 w 2134255"/>
                <a:gd name="connsiteY112" fmla="*/ 1558933 h 2079633"/>
                <a:gd name="connsiteX113" fmla="*/ 302623 w 2134255"/>
                <a:gd name="connsiteY113" fmla="*/ 1539883 h 2079633"/>
                <a:gd name="connsiteX114" fmla="*/ 223248 w 2134255"/>
                <a:gd name="connsiteY114" fmla="*/ 1470033 h 2079633"/>
                <a:gd name="connsiteX115" fmla="*/ 175623 w 2134255"/>
                <a:gd name="connsiteY115" fmla="*/ 1412883 h 2079633"/>
                <a:gd name="connsiteX116" fmla="*/ 118473 w 2134255"/>
                <a:gd name="connsiteY116" fmla="*/ 1339858 h 2079633"/>
                <a:gd name="connsiteX117" fmla="*/ 83548 w 2134255"/>
                <a:gd name="connsiteY117" fmla="*/ 1292233 h 2079633"/>
                <a:gd name="connsiteX118" fmla="*/ 64498 w 2134255"/>
                <a:gd name="connsiteY118" fmla="*/ 1266833 h 2079633"/>
                <a:gd name="connsiteX119" fmla="*/ 35923 w 2134255"/>
                <a:gd name="connsiteY119" fmla="*/ 1206508 h 2079633"/>
                <a:gd name="connsiteX120" fmla="*/ 26398 w 2134255"/>
                <a:gd name="connsiteY120" fmla="*/ 1171583 h 2079633"/>
                <a:gd name="connsiteX121" fmla="*/ 20048 w 2134255"/>
                <a:gd name="connsiteY121" fmla="*/ 1149358 h 2079633"/>
                <a:gd name="connsiteX122" fmla="*/ 16873 w 2134255"/>
                <a:gd name="connsiteY122" fmla="*/ 1133483 h 2079633"/>
                <a:gd name="connsiteX123" fmla="*/ 7348 w 2134255"/>
                <a:gd name="connsiteY123" fmla="*/ 1095383 h 2079633"/>
                <a:gd name="connsiteX124" fmla="*/ 998 w 2134255"/>
                <a:gd name="connsiteY124" fmla="*/ 1012833 h 2079633"/>
                <a:gd name="connsiteX125" fmla="*/ 10523 w 2134255"/>
                <a:gd name="connsiteY125" fmla="*/ 882658 h 2079633"/>
                <a:gd name="connsiteX126" fmla="*/ 35923 w 2134255"/>
                <a:gd name="connsiteY126" fmla="*/ 835033 h 2079633"/>
                <a:gd name="connsiteX127" fmla="*/ 51798 w 2134255"/>
                <a:gd name="connsiteY127" fmla="*/ 806458 h 2079633"/>
                <a:gd name="connsiteX128" fmla="*/ 83548 w 2134255"/>
                <a:gd name="connsiteY128" fmla="*/ 762008 h 2079633"/>
                <a:gd name="connsiteX129" fmla="*/ 99423 w 2134255"/>
                <a:gd name="connsiteY129" fmla="*/ 742958 h 2079633"/>
                <a:gd name="connsiteX130" fmla="*/ 143873 w 2134255"/>
                <a:gd name="connsiteY130" fmla="*/ 676283 h 2079633"/>
                <a:gd name="connsiteX131" fmla="*/ 308973 w 2134255"/>
                <a:gd name="connsiteY131" fmla="*/ 523883 h 2079633"/>
                <a:gd name="connsiteX132" fmla="*/ 366123 w 2134255"/>
                <a:gd name="connsiteY132" fmla="*/ 463558 h 2079633"/>
                <a:gd name="connsiteX133" fmla="*/ 416923 w 2134255"/>
                <a:gd name="connsiteY133" fmla="*/ 409583 h 2079633"/>
                <a:gd name="connsiteX134" fmla="*/ 445498 w 2134255"/>
                <a:gd name="connsiteY134" fmla="*/ 377833 h 2079633"/>
                <a:gd name="connsiteX135" fmla="*/ 493123 w 2134255"/>
                <a:gd name="connsiteY135" fmla="*/ 333383 h 2079633"/>
                <a:gd name="connsiteX136" fmla="*/ 712198 w 2134255"/>
                <a:gd name="connsiteY136" fmla="*/ 136533 h 2079633"/>
                <a:gd name="connsiteX137" fmla="*/ 750298 w 2134255"/>
                <a:gd name="connsiteY137" fmla="*/ 111133 h 2079633"/>
                <a:gd name="connsiteX138" fmla="*/ 785223 w 2134255"/>
                <a:gd name="connsiteY138" fmla="*/ 88908 h 2079633"/>
                <a:gd name="connsiteX139" fmla="*/ 883648 w 2134255"/>
                <a:gd name="connsiteY139" fmla="*/ 38108 h 2079633"/>
                <a:gd name="connsiteX140" fmla="*/ 1077323 w 2134255"/>
                <a:gd name="connsiteY140" fmla="*/ 8 h 2079633"/>
                <a:gd name="connsiteX141" fmla="*/ 1267823 w 2134255"/>
                <a:gd name="connsiteY141" fmla="*/ 34933 h 2079633"/>
                <a:gd name="connsiteX142" fmla="*/ 1296398 w 2134255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52048 w 2127003"/>
                <a:gd name="connsiteY51" fmla="*/ 1292233 h 2079633"/>
                <a:gd name="connsiteX52" fmla="*/ 2029823 w 2127003"/>
                <a:gd name="connsiteY52" fmla="*/ 1330333 h 2079633"/>
                <a:gd name="connsiteX53" fmla="*/ 2004423 w 2127003"/>
                <a:gd name="connsiteY53" fmla="*/ 1371608 h 2079633"/>
                <a:gd name="connsiteX54" fmla="*/ 1975848 w 2127003"/>
                <a:gd name="connsiteY54" fmla="*/ 1393833 h 2079633"/>
                <a:gd name="connsiteX55" fmla="*/ 1963148 w 2127003"/>
                <a:gd name="connsiteY55" fmla="*/ 1409708 h 2079633"/>
                <a:gd name="connsiteX56" fmla="*/ 1928223 w 2127003"/>
                <a:gd name="connsiteY56" fmla="*/ 1435108 h 2079633"/>
                <a:gd name="connsiteX57" fmla="*/ 1905998 w 2127003"/>
                <a:gd name="connsiteY57" fmla="*/ 1454158 h 2079633"/>
                <a:gd name="connsiteX58" fmla="*/ 1848848 w 2127003"/>
                <a:gd name="connsiteY58" fmla="*/ 1485908 h 2079633"/>
                <a:gd name="connsiteX59" fmla="*/ 1810748 w 2127003"/>
                <a:gd name="connsiteY59" fmla="*/ 1517658 h 2079633"/>
                <a:gd name="connsiteX60" fmla="*/ 1791698 w 2127003"/>
                <a:gd name="connsiteY60" fmla="*/ 1533533 h 2079633"/>
                <a:gd name="connsiteX61" fmla="*/ 1775823 w 2127003"/>
                <a:gd name="connsiteY61" fmla="*/ 1543058 h 2079633"/>
                <a:gd name="connsiteX62" fmla="*/ 1718673 w 2127003"/>
                <a:gd name="connsiteY62" fmla="*/ 1606558 h 2079633"/>
                <a:gd name="connsiteX63" fmla="*/ 1709148 w 2127003"/>
                <a:gd name="connsiteY63" fmla="*/ 1619258 h 2079633"/>
                <a:gd name="connsiteX64" fmla="*/ 1680573 w 2127003"/>
                <a:gd name="connsiteY64" fmla="*/ 1651008 h 2079633"/>
                <a:gd name="connsiteX65" fmla="*/ 1658348 w 2127003"/>
                <a:gd name="connsiteY65" fmla="*/ 1679583 h 2079633"/>
                <a:gd name="connsiteX66" fmla="*/ 1623423 w 2127003"/>
                <a:gd name="connsiteY66" fmla="*/ 1714508 h 2079633"/>
                <a:gd name="connsiteX67" fmla="*/ 1604373 w 2127003"/>
                <a:gd name="connsiteY67" fmla="*/ 1733558 h 2079633"/>
                <a:gd name="connsiteX68" fmla="*/ 1569448 w 2127003"/>
                <a:gd name="connsiteY68" fmla="*/ 1774833 h 2079633"/>
                <a:gd name="connsiteX69" fmla="*/ 1559923 w 2127003"/>
                <a:gd name="connsiteY69" fmla="*/ 1787533 h 2079633"/>
                <a:gd name="connsiteX70" fmla="*/ 1547223 w 2127003"/>
                <a:gd name="connsiteY70" fmla="*/ 1797058 h 2079633"/>
                <a:gd name="connsiteX71" fmla="*/ 1540873 w 2127003"/>
                <a:gd name="connsiteY71" fmla="*/ 1806583 h 2079633"/>
                <a:gd name="connsiteX72" fmla="*/ 1524998 w 2127003"/>
                <a:gd name="connsiteY72" fmla="*/ 1816108 h 2079633"/>
                <a:gd name="connsiteX73" fmla="*/ 1480548 w 2127003"/>
                <a:gd name="connsiteY73" fmla="*/ 1860558 h 2079633"/>
                <a:gd name="connsiteX74" fmla="*/ 1464673 w 2127003"/>
                <a:gd name="connsiteY74" fmla="*/ 1879608 h 2079633"/>
                <a:gd name="connsiteX75" fmla="*/ 1455148 w 2127003"/>
                <a:gd name="connsiteY75" fmla="*/ 1892308 h 2079633"/>
                <a:gd name="connsiteX76" fmla="*/ 1445623 w 2127003"/>
                <a:gd name="connsiteY76" fmla="*/ 1901833 h 2079633"/>
                <a:gd name="connsiteX77" fmla="*/ 1432923 w 2127003"/>
                <a:gd name="connsiteY77" fmla="*/ 1917708 h 2079633"/>
                <a:gd name="connsiteX78" fmla="*/ 1423398 w 2127003"/>
                <a:gd name="connsiteY78" fmla="*/ 1927233 h 2079633"/>
                <a:gd name="connsiteX79" fmla="*/ 1417048 w 2127003"/>
                <a:gd name="connsiteY79" fmla="*/ 1936758 h 2079633"/>
                <a:gd name="connsiteX80" fmla="*/ 1391648 w 2127003"/>
                <a:gd name="connsiteY80" fmla="*/ 1955808 h 2079633"/>
                <a:gd name="connsiteX81" fmla="*/ 1356723 w 2127003"/>
                <a:gd name="connsiteY81" fmla="*/ 1971683 h 2079633"/>
                <a:gd name="connsiteX82" fmla="*/ 1344023 w 2127003"/>
                <a:gd name="connsiteY82" fmla="*/ 1978033 h 2079633"/>
                <a:gd name="connsiteX83" fmla="*/ 1331323 w 2127003"/>
                <a:gd name="connsiteY83" fmla="*/ 1987558 h 2079633"/>
                <a:gd name="connsiteX84" fmla="*/ 1312273 w 2127003"/>
                <a:gd name="connsiteY84" fmla="*/ 2006608 h 2079633"/>
                <a:gd name="connsiteX85" fmla="*/ 1270998 w 2127003"/>
                <a:gd name="connsiteY85" fmla="*/ 2025658 h 2079633"/>
                <a:gd name="connsiteX86" fmla="*/ 1258298 w 2127003"/>
                <a:gd name="connsiteY86" fmla="*/ 2032008 h 2079633"/>
                <a:gd name="connsiteX87" fmla="*/ 1236073 w 2127003"/>
                <a:gd name="connsiteY87" fmla="*/ 2038358 h 2079633"/>
                <a:gd name="connsiteX88" fmla="*/ 1226548 w 2127003"/>
                <a:gd name="connsiteY88" fmla="*/ 2044708 h 2079633"/>
                <a:gd name="connsiteX89" fmla="*/ 1217023 w 2127003"/>
                <a:gd name="connsiteY89" fmla="*/ 2047883 h 2079633"/>
                <a:gd name="connsiteX90" fmla="*/ 1175748 w 2127003"/>
                <a:gd name="connsiteY90" fmla="*/ 2057408 h 2079633"/>
                <a:gd name="connsiteX91" fmla="*/ 1150348 w 2127003"/>
                <a:gd name="connsiteY91" fmla="*/ 2070108 h 2079633"/>
                <a:gd name="connsiteX92" fmla="*/ 1102723 w 2127003"/>
                <a:gd name="connsiteY92" fmla="*/ 2079633 h 2079633"/>
                <a:gd name="connsiteX93" fmla="*/ 928098 w 2127003"/>
                <a:gd name="connsiteY93" fmla="*/ 2070108 h 2079633"/>
                <a:gd name="connsiteX94" fmla="*/ 886823 w 2127003"/>
                <a:gd name="connsiteY94" fmla="*/ 2054233 h 2079633"/>
                <a:gd name="connsiteX95" fmla="*/ 861423 w 2127003"/>
                <a:gd name="connsiteY95" fmla="*/ 2051058 h 2079633"/>
                <a:gd name="connsiteX96" fmla="*/ 845548 w 2127003"/>
                <a:gd name="connsiteY96" fmla="*/ 2035183 h 2079633"/>
                <a:gd name="connsiteX97" fmla="*/ 769348 w 2127003"/>
                <a:gd name="connsiteY97" fmla="*/ 1974858 h 2079633"/>
                <a:gd name="connsiteX98" fmla="*/ 747123 w 2127003"/>
                <a:gd name="connsiteY98" fmla="*/ 1946283 h 2079633"/>
                <a:gd name="connsiteX99" fmla="*/ 731248 w 2127003"/>
                <a:gd name="connsiteY99" fmla="*/ 1933583 h 2079633"/>
                <a:gd name="connsiteX100" fmla="*/ 715373 w 2127003"/>
                <a:gd name="connsiteY100" fmla="*/ 1917708 h 2079633"/>
                <a:gd name="connsiteX101" fmla="*/ 699498 w 2127003"/>
                <a:gd name="connsiteY101" fmla="*/ 1905008 h 2079633"/>
                <a:gd name="connsiteX102" fmla="*/ 680448 w 2127003"/>
                <a:gd name="connsiteY102" fmla="*/ 1885958 h 2079633"/>
                <a:gd name="connsiteX103" fmla="*/ 642348 w 2127003"/>
                <a:gd name="connsiteY103" fmla="*/ 1854208 h 2079633"/>
                <a:gd name="connsiteX104" fmla="*/ 601073 w 2127003"/>
                <a:gd name="connsiteY104" fmla="*/ 1806583 h 2079633"/>
                <a:gd name="connsiteX105" fmla="*/ 578848 w 2127003"/>
                <a:gd name="connsiteY105" fmla="*/ 1781183 h 2079633"/>
                <a:gd name="connsiteX106" fmla="*/ 537573 w 2127003"/>
                <a:gd name="connsiteY106" fmla="*/ 1739908 h 2079633"/>
                <a:gd name="connsiteX107" fmla="*/ 499473 w 2127003"/>
                <a:gd name="connsiteY107" fmla="*/ 1704983 h 2079633"/>
                <a:gd name="connsiteX108" fmla="*/ 470898 w 2127003"/>
                <a:gd name="connsiteY108" fmla="*/ 1670058 h 2079633"/>
                <a:gd name="connsiteX109" fmla="*/ 413748 w 2127003"/>
                <a:gd name="connsiteY109" fmla="*/ 1622433 h 2079633"/>
                <a:gd name="connsiteX110" fmla="*/ 401048 w 2127003"/>
                <a:gd name="connsiteY110" fmla="*/ 1612908 h 2079633"/>
                <a:gd name="connsiteX111" fmla="*/ 369298 w 2127003"/>
                <a:gd name="connsiteY111" fmla="*/ 1584333 h 2079633"/>
                <a:gd name="connsiteX112" fmla="*/ 328023 w 2127003"/>
                <a:gd name="connsiteY112" fmla="*/ 1558933 h 2079633"/>
                <a:gd name="connsiteX113" fmla="*/ 302623 w 2127003"/>
                <a:gd name="connsiteY113" fmla="*/ 1539883 h 2079633"/>
                <a:gd name="connsiteX114" fmla="*/ 223248 w 2127003"/>
                <a:gd name="connsiteY114" fmla="*/ 1470033 h 2079633"/>
                <a:gd name="connsiteX115" fmla="*/ 175623 w 2127003"/>
                <a:gd name="connsiteY115" fmla="*/ 1412883 h 2079633"/>
                <a:gd name="connsiteX116" fmla="*/ 118473 w 2127003"/>
                <a:gd name="connsiteY116" fmla="*/ 1339858 h 2079633"/>
                <a:gd name="connsiteX117" fmla="*/ 83548 w 2127003"/>
                <a:gd name="connsiteY117" fmla="*/ 1292233 h 2079633"/>
                <a:gd name="connsiteX118" fmla="*/ 64498 w 2127003"/>
                <a:gd name="connsiteY118" fmla="*/ 1266833 h 2079633"/>
                <a:gd name="connsiteX119" fmla="*/ 35923 w 2127003"/>
                <a:gd name="connsiteY119" fmla="*/ 1206508 h 2079633"/>
                <a:gd name="connsiteX120" fmla="*/ 26398 w 2127003"/>
                <a:gd name="connsiteY120" fmla="*/ 1171583 h 2079633"/>
                <a:gd name="connsiteX121" fmla="*/ 20048 w 2127003"/>
                <a:gd name="connsiteY121" fmla="*/ 1149358 h 2079633"/>
                <a:gd name="connsiteX122" fmla="*/ 16873 w 2127003"/>
                <a:gd name="connsiteY122" fmla="*/ 1133483 h 2079633"/>
                <a:gd name="connsiteX123" fmla="*/ 7348 w 2127003"/>
                <a:gd name="connsiteY123" fmla="*/ 1095383 h 2079633"/>
                <a:gd name="connsiteX124" fmla="*/ 998 w 2127003"/>
                <a:gd name="connsiteY124" fmla="*/ 1012833 h 2079633"/>
                <a:gd name="connsiteX125" fmla="*/ 10523 w 2127003"/>
                <a:gd name="connsiteY125" fmla="*/ 882658 h 2079633"/>
                <a:gd name="connsiteX126" fmla="*/ 35923 w 2127003"/>
                <a:gd name="connsiteY126" fmla="*/ 835033 h 2079633"/>
                <a:gd name="connsiteX127" fmla="*/ 51798 w 2127003"/>
                <a:gd name="connsiteY127" fmla="*/ 806458 h 2079633"/>
                <a:gd name="connsiteX128" fmla="*/ 83548 w 2127003"/>
                <a:gd name="connsiteY128" fmla="*/ 762008 h 2079633"/>
                <a:gd name="connsiteX129" fmla="*/ 99423 w 2127003"/>
                <a:gd name="connsiteY129" fmla="*/ 742958 h 2079633"/>
                <a:gd name="connsiteX130" fmla="*/ 143873 w 2127003"/>
                <a:gd name="connsiteY130" fmla="*/ 676283 h 2079633"/>
                <a:gd name="connsiteX131" fmla="*/ 308973 w 2127003"/>
                <a:gd name="connsiteY131" fmla="*/ 523883 h 2079633"/>
                <a:gd name="connsiteX132" fmla="*/ 366123 w 2127003"/>
                <a:gd name="connsiteY132" fmla="*/ 463558 h 2079633"/>
                <a:gd name="connsiteX133" fmla="*/ 416923 w 2127003"/>
                <a:gd name="connsiteY133" fmla="*/ 409583 h 2079633"/>
                <a:gd name="connsiteX134" fmla="*/ 445498 w 2127003"/>
                <a:gd name="connsiteY134" fmla="*/ 377833 h 2079633"/>
                <a:gd name="connsiteX135" fmla="*/ 493123 w 2127003"/>
                <a:gd name="connsiteY135" fmla="*/ 333383 h 2079633"/>
                <a:gd name="connsiteX136" fmla="*/ 712198 w 2127003"/>
                <a:gd name="connsiteY136" fmla="*/ 136533 h 2079633"/>
                <a:gd name="connsiteX137" fmla="*/ 750298 w 2127003"/>
                <a:gd name="connsiteY137" fmla="*/ 111133 h 2079633"/>
                <a:gd name="connsiteX138" fmla="*/ 785223 w 2127003"/>
                <a:gd name="connsiteY138" fmla="*/ 88908 h 2079633"/>
                <a:gd name="connsiteX139" fmla="*/ 883648 w 2127003"/>
                <a:gd name="connsiteY139" fmla="*/ 38108 h 2079633"/>
                <a:gd name="connsiteX140" fmla="*/ 1077323 w 2127003"/>
                <a:gd name="connsiteY140" fmla="*/ 8 h 2079633"/>
                <a:gd name="connsiteX141" fmla="*/ 1267823 w 2127003"/>
                <a:gd name="connsiteY141" fmla="*/ 34933 h 2079633"/>
                <a:gd name="connsiteX142" fmla="*/ 1296398 w 2127003"/>
                <a:gd name="connsiteY142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29823 w 2127003"/>
                <a:gd name="connsiteY51" fmla="*/ 1330333 h 2079633"/>
                <a:gd name="connsiteX52" fmla="*/ 2004423 w 2127003"/>
                <a:gd name="connsiteY52" fmla="*/ 1371608 h 2079633"/>
                <a:gd name="connsiteX53" fmla="*/ 1975848 w 2127003"/>
                <a:gd name="connsiteY53" fmla="*/ 1393833 h 2079633"/>
                <a:gd name="connsiteX54" fmla="*/ 1963148 w 2127003"/>
                <a:gd name="connsiteY54" fmla="*/ 1409708 h 2079633"/>
                <a:gd name="connsiteX55" fmla="*/ 1928223 w 2127003"/>
                <a:gd name="connsiteY55" fmla="*/ 1435108 h 2079633"/>
                <a:gd name="connsiteX56" fmla="*/ 1905998 w 2127003"/>
                <a:gd name="connsiteY56" fmla="*/ 1454158 h 2079633"/>
                <a:gd name="connsiteX57" fmla="*/ 1848848 w 2127003"/>
                <a:gd name="connsiteY57" fmla="*/ 1485908 h 2079633"/>
                <a:gd name="connsiteX58" fmla="*/ 1810748 w 2127003"/>
                <a:gd name="connsiteY58" fmla="*/ 1517658 h 2079633"/>
                <a:gd name="connsiteX59" fmla="*/ 1791698 w 2127003"/>
                <a:gd name="connsiteY59" fmla="*/ 1533533 h 2079633"/>
                <a:gd name="connsiteX60" fmla="*/ 1775823 w 2127003"/>
                <a:gd name="connsiteY60" fmla="*/ 1543058 h 2079633"/>
                <a:gd name="connsiteX61" fmla="*/ 1718673 w 2127003"/>
                <a:gd name="connsiteY61" fmla="*/ 1606558 h 2079633"/>
                <a:gd name="connsiteX62" fmla="*/ 1709148 w 2127003"/>
                <a:gd name="connsiteY62" fmla="*/ 1619258 h 2079633"/>
                <a:gd name="connsiteX63" fmla="*/ 1680573 w 2127003"/>
                <a:gd name="connsiteY63" fmla="*/ 1651008 h 2079633"/>
                <a:gd name="connsiteX64" fmla="*/ 1658348 w 2127003"/>
                <a:gd name="connsiteY64" fmla="*/ 1679583 h 2079633"/>
                <a:gd name="connsiteX65" fmla="*/ 1623423 w 2127003"/>
                <a:gd name="connsiteY65" fmla="*/ 1714508 h 2079633"/>
                <a:gd name="connsiteX66" fmla="*/ 1604373 w 2127003"/>
                <a:gd name="connsiteY66" fmla="*/ 1733558 h 2079633"/>
                <a:gd name="connsiteX67" fmla="*/ 1569448 w 2127003"/>
                <a:gd name="connsiteY67" fmla="*/ 1774833 h 2079633"/>
                <a:gd name="connsiteX68" fmla="*/ 1559923 w 2127003"/>
                <a:gd name="connsiteY68" fmla="*/ 1787533 h 2079633"/>
                <a:gd name="connsiteX69" fmla="*/ 1547223 w 2127003"/>
                <a:gd name="connsiteY69" fmla="*/ 1797058 h 2079633"/>
                <a:gd name="connsiteX70" fmla="*/ 1540873 w 2127003"/>
                <a:gd name="connsiteY70" fmla="*/ 1806583 h 2079633"/>
                <a:gd name="connsiteX71" fmla="*/ 1524998 w 2127003"/>
                <a:gd name="connsiteY71" fmla="*/ 1816108 h 2079633"/>
                <a:gd name="connsiteX72" fmla="*/ 1480548 w 2127003"/>
                <a:gd name="connsiteY72" fmla="*/ 1860558 h 2079633"/>
                <a:gd name="connsiteX73" fmla="*/ 1464673 w 2127003"/>
                <a:gd name="connsiteY73" fmla="*/ 1879608 h 2079633"/>
                <a:gd name="connsiteX74" fmla="*/ 1455148 w 2127003"/>
                <a:gd name="connsiteY74" fmla="*/ 1892308 h 2079633"/>
                <a:gd name="connsiteX75" fmla="*/ 1445623 w 2127003"/>
                <a:gd name="connsiteY75" fmla="*/ 1901833 h 2079633"/>
                <a:gd name="connsiteX76" fmla="*/ 1432923 w 2127003"/>
                <a:gd name="connsiteY76" fmla="*/ 1917708 h 2079633"/>
                <a:gd name="connsiteX77" fmla="*/ 1423398 w 2127003"/>
                <a:gd name="connsiteY77" fmla="*/ 1927233 h 2079633"/>
                <a:gd name="connsiteX78" fmla="*/ 1417048 w 2127003"/>
                <a:gd name="connsiteY78" fmla="*/ 1936758 h 2079633"/>
                <a:gd name="connsiteX79" fmla="*/ 1391648 w 2127003"/>
                <a:gd name="connsiteY79" fmla="*/ 1955808 h 2079633"/>
                <a:gd name="connsiteX80" fmla="*/ 1356723 w 2127003"/>
                <a:gd name="connsiteY80" fmla="*/ 1971683 h 2079633"/>
                <a:gd name="connsiteX81" fmla="*/ 1344023 w 2127003"/>
                <a:gd name="connsiteY81" fmla="*/ 1978033 h 2079633"/>
                <a:gd name="connsiteX82" fmla="*/ 1331323 w 2127003"/>
                <a:gd name="connsiteY82" fmla="*/ 1987558 h 2079633"/>
                <a:gd name="connsiteX83" fmla="*/ 1312273 w 2127003"/>
                <a:gd name="connsiteY83" fmla="*/ 2006608 h 2079633"/>
                <a:gd name="connsiteX84" fmla="*/ 1270998 w 2127003"/>
                <a:gd name="connsiteY84" fmla="*/ 2025658 h 2079633"/>
                <a:gd name="connsiteX85" fmla="*/ 1258298 w 2127003"/>
                <a:gd name="connsiteY85" fmla="*/ 2032008 h 2079633"/>
                <a:gd name="connsiteX86" fmla="*/ 1236073 w 2127003"/>
                <a:gd name="connsiteY86" fmla="*/ 2038358 h 2079633"/>
                <a:gd name="connsiteX87" fmla="*/ 1226548 w 2127003"/>
                <a:gd name="connsiteY87" fmla="*/ 2044708 h 2079633"/>
                <a:gd name="connsiteX88" fmla="*/ 1217023 w 2127003"/>
                <a:gd name="connsiteY88" fmla="*/ 2047883 h 2079633"/>
                <a:gd name="connsiteX89" fmla="*/ 1175748 w 2127003"/>
                <a:gd name="connsiteY89" fmla="*/ 2057408 h 2079633"/>
                <a:gd name="connsiteX90" fmla="*/ 1150348 w 2127003"/>
                <a:gd name="connsiteY90" fmla="*/ 2070108 h 2079633"/>
                <a:gd name="connsiteX91" fmla="*/ 1102723 w 2127003"/>
                <a:gd name="connsiteY91" fmla="*/ 2079633 h 2079633"/>
                <a:gd name="connsiteX92" fmla="*/ 928098 w 2127003"/>
                <a:gd name="connsiteY92" fmla="*/ 2070108 h 2079633"/>
                <a:gd name="connsiteX93" fmla="*/ 886823 w 2127003"/>
                <a:gd name="connsiteY93" fmla="*/ 2054233 h 2079633"/>
                <a:gd name="connsiteX94" fmla="*/ 861423 w 2127003"/>
                <a:gd name="connsiteY94" fmla="*/ 2051058 h 2079633"/>
                <a:gd name="connsiteX95" fmla="*/ 845548 w 2127003"/>
                <a:gd name="connsiteY95" fmla="*/ 2035183 h 2079633"/>
                <a:gd name="connsiteX96" fmla="*/ 769348 w 2127003"/>
                <a:gd name="connsiteY96" fmla="*/ 1974858 h 2079633"/>
                <a:gd name="connsiteX97" fmla="*/ 747123 w 2127003"/>
                <a:gd name="connsiteY97" fmla="*/ 1946283 h 2079633"/>
                <a:gd name="connsiteX98" fmla="*/ 731248 w 2127003"/>
                <a:gd name="connsiteY98" fmla="*/ 1933583 h 2079633"/>
                <a:gd name="connsiteX99" fmla="*/ 715373 w 2127003"/>
                <a:gd name="connsiteY99" fmla="*/ 1917708 h 2079633"/>
                <a:gd name="connsiteX100" fmla="*/ 699498 w 2127003"/>
                <a:gd name="connsiteY100" fmla="*/ 1905008 h 2079633"/>
                <a:gd name="connsiteX101" fmla="*/ 680448 w 2127003"/>
                <a:gd name="connsiteY101" fmla="*/ 1885958 h 2079633"/>
                <a:gd name="connsiteX102" fmla="*/ 642348 w 2127003"/>
                <a:gd name="connsiteY102" fmla="*/ 1854208 h 2079633"/>
                <a:gd name="connsiteX103" fmla="*/ 601073 w 2127003"/>
                <a:gd name="connsiteY103" fmla="*/ 1806583 h 2079633"/>
                <a:gd name="connsiteX104" fmla="*/ 578848 w 2127003"/>
                <a:gd name="connsiteY104" fmla="*/ 1781183 h 2079633"/>
                <a:gd name="connsiteX105" fmla="*/ 537573 w 2127003"/>
                <a:gd name="connsiteY105" fmla="*/ 1739908 h 2079633"/>
                <a:gd name="connsiteX106" fmla="*/ 499473 w 2127003"/>
                <a:gd name="connsiteY106" fmla="*/ 1704983 h 2079633"/>
                <a:gd name="connsiteX107" fmla="*/ 470898 w 2127003"/>
                <a:gd name="connsiteY107" fmla="*/ 1670058 h 2079633"/>
                <a:gd name="connsiteX108" fmla="*/ 413748 w 2127003"/>
                <a:gd name="connsiteY108" fmla="*/ 1622433 h 2079633"/>
                <a:gd name="connsiteX109" fmla="*/ 401048 w 2127003"/>
                <a:gd name="connsiteY109" fmla="*/ 1612908 h 2079633"/>
                <a:gd name="connsiteX110" fmla="*/ 369298 w 2127003"/>
                <a:gd name="connsiteY110" fmla="*/ 1584333 h 2079633"/>
                <a:gd name="connsiteX111" fmla="*/ 328023 w 2127003"/>
                <a:gd name="connsiteY111" fmla="*/ 1558933 h 2079633"/>
                <a:gd name="connsiteX112" fmla="*/ 302623 w 2127003"/>
                <a:gd name="connsiteY112" fmla="*/ 1539883 h 2079633"/>
                <a:gd name="connsiteX113" fmla="*/ 223248 w 2127003"/>
                <a:gd name="connsiteY113" fmla="*/ 1470033 h 2079633"/>
                <a:gd name="connsiteX114" fmla="*/ 175623 w 2127003"/>
                <a:gd name="connsiteY114" fmla="*/ 1412883 h 2079633"/>
                <a:gd name="connsiteX115" fmla="*/ 118473 w 2127003"/>
                <a:gd name="connsiteY115" fmla="*/ 1339858 h 2079633"/>
                <a:gd name="connsiteX116" fmla="*/ 83548 w 2127003"/>
                <a:gd name="connsiteY116" fmla="*/ 1292233 h 2079633"/>
                <a:gd name="connsiteX117" fmla="*/ 64498 w 2127003"/>
                <a:gd name="connsiteY117" fmla="*/ 1266833 h 2079633"/>
                <a:gd name="connsiteX118" fmla="*/ 35923 w 2127003"/>
                <a:gd name="connsiteY118" fmla="*/ 1206508 h 2079633"/>
                <a:gd name="connsiteX119" fmla="*/ 26398 w 2127003"/>
                <a:gd name="connsiteY119" fmla="*/ 1171583 h 2079633"/>
                <a:gd name="connsiteX120" fmla="*/ 20048 w 2127003"/>
                <a:gd name="connsiteY120" fmla="*/ 1149358 h 2079633"/>
                <a:gd name="connsiteX121" fmla="*/ 16873 w 2127003"/>
                <a:gd name="connsiteY121" fmla="*/ 1133483 h 2079633"/>
                <a:gd name="connsiteX122" fmla="*/ 7348 w 2127003"/>
                <a:gd name="connsiteY122" fmla="*/ 1095383 h 2079633"/>
                <a:gd name="connsiteX123" fmla="*/ 998 w 2127003"/>
                <a:gd name="connsiteY123" fmla="*/ 1012833 h 2079633"/>
                <a:gd name="connsiteX124" fmla="*/ 10523 w 2127003"/>
                <a:gd name="connsiteY124" fmla="*/ 882658 h 2079633"/>
                <a:gd name="connsiteX125" fmla="*/ 35923 w 2127003"/>
                <a:gd name="connsiteY125" fmla="*/ 835033 h 2079633"/>
                <a:gd name="connsiteX126" fmla="*/ 51798 w 2127003"/>
                <a:gd name="connsiteY126" fmla="*/ 806458 h 2079633"/>
                <a:gd name="connsiteX127" fmla="*/ 83548 w 2127003"/>
                <a:gd name="connsiteY127" fmla="*/ 762008 h 2079633"/>
                <a:gd name="connsiteX128" fmla="*/ 99423 w 2127003"/>
                <a:gd name="connsiteY128" fmla="*/ 742958 h 2079633"/>
                <a:gd name="connsiteX129" fmla="*/ 143873 w 2127003"/>
                <a:gd name="connsiteY129" fmla="*/ 676283 h 2079633"/>
                <a:gd name="connsiteX130" fmla="*/ 308973 w 2127003"/>
                <a:gd name="connsiteY130" fmla="*/ 523883 h 2079633"/>
                <a:gd name="connsiteX131" fmla="*/ 366123 w 2127003"/>
                <a:gd name="connsiteY131" fmla="*/ 463558 h 2079633"/>
                <a:gd name="connsiteX132" fmla="*/ 416923 w 2127003"/>
                <a:gd name="connsiteY132" fmla="*/ 409583 h 2079633"/>
                <a:gd name="connsiteX133" fmla="*/ 445498 w 2127003"/>
                <a:gd name="connsiteY133" fmla="*/ 377833 h 2079633"/>
                <a:gd name="connsiteX134" fmla="*/ 493123 w 2127003"/>
                <a:gd name="connsiteY134" fmla="*/ 333383 h 2079633"/>
                <a:gd name="connsiteX135" fmla="*/ 712198 w 2127003"/>
                <a:gd name="connsiteY135" fmla="*/ 136533 h 2079633"/>
                <a:gd name="connsiteX136" fmla="*/ 750298 w 2127003"/>
                <a:gd name="connsiteY136" fmla="*/ 111133 h 2079633"/>
                <a:gd name="connsiteX137" fmla="*/ 785223 w 2127003"/>
                <a:gd name="connsiteY137" fmla="*/ 88908 h 2079633"/>
                <a:gd name="connsiteX138" fmla="*/ 883648 w 2127003"/>
                <a:gd name="connsiteY138" fmla="*/ 38108 h 2079633"/>
                <a:gd name="connsiteX139" fmla="*/ 1077323 w 2127003"/>
                <a:gd name="connsiteY139" fmla="*/ 8 h 2079633"/>
                <a:gd name="connsiteX140" fmla="*/ 1267823 w 2127003"/>
                <a:gd name="connsiteY140" fmla="*/ 34933 h 2079633"/>
                <a:gd name="connsiteX141" fmla="*/ 1296398 w 2127003"/>
                <a:gd name="connsiteY141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63148 w 2127003"/>
                <a:gd name="connsiteY53" fmla="*/ 1409708 h 2079633"/>
                <a:gd name="connsiteX54" fmla="*/ 1928223 w 2127003"/>
                <a:gd name="connsiteY54" fmla="*/ 1435108 h 2079633"/>
                <a:gd name="connsiteX55" fmla="*/ 1905998 w 2127003"/>
                <a:gd name="connsiteY55" fmla="*/ 1454158 h 2079633"/>
                <a:gd name="connsiteX56" fmla="*/ 1848848 w 2127003"/>
                <a:gd name="connsiteY56" fmla="*/ 1485908 h 2079633"/>
                <a:gd name="connsiteX57" fmla="*/ 1810748 w 2127003"/>
                <a:gd name="connsiteY57" fmla="*/ 1517658 h 2079633"/>
                <a:gd name="connsiteX58" fmla="*/ 1791698 w 2127003"/>
                <a:gd name="connsiteY58" fmla="*/ 1533533 h 2079633"/>
                <a:gd name="connsiteX59" fmla="*/ 1775823 w 2127003"/>
                <a:gd name="connsiteY59" fmla="*/ 1543058 h 2079633"/>
                <a:gd name="connsiteX60" fmla="*/ 1718673 w 2127003"/>
                <a:gd name="connsiteY60" fmla="*/ 1606558 h 2079633"/>
                <a:gd name="connsiteX61" fmla="*/ 1709148 w 2127003"/>
                <a:gd name="connsiteY61" fmla="*/ 1619258 h 2079633"/>
                <a:gd name="connsiteX62" fmla="*/ 1680573 w 2127003"/>
                <a:gd name="connsiteY62" fmla="*/ 1651008 h 2079633"/>
                <a:gd name="connsiteX63" fmla="*/ 1658348 w 2127003"/>
                <a:gd name="connsiteY63" fmla="*/ 1679583 h 2079633"/>
                <a:gd name="connsiteX64" fmla="*/ 1623423 w 2127003"/>
                <a:gd name="connsiteY64" fmla="*/ 1714508 h 2079633"/>
                <a:gd name="connsiteX65" fmla="*/ 1604373 w 2127003"/>
                <a:gd name="connsiteY65" fmla="*/ 1733558 h 2079633"/>
                <a:gd name="connsiteX66" fmla="*/ 1569448 w 2127003"/>
                <a:gd name="connsiteY66" fmla="*/ 1774833 h 2079633"/>
                <a:gd name="connsiteX67" fmla="*/ 1559923 w 2127003"/>
                <a:gd name="connsiteY67" fmla="*/ 1787533 h 2079633"/>
                <a:gd name="connsiteX68" fmla="*/ 1547223 w 2127003"/>
                <a:gd name="connsiteY68" fmla="*/ 1797058 h 2079633"/>
                <a:gd name="connsiteX69" fmla="*/ 1540873 w 2127003"/>
                <a:gd name="connsiteY69" fmla="*/ 1806583 h 2079633"/>
                <a:gd name="connsiteX70" fmla="*/ 1524998 w 2127003"/>
                <a:gd name="connsiteY70" fmla="*/ 1816108 h 2079633"/>
                <a:gd name="connsiteX71" fmla="*/ 1480548 w 2127003"/>
                <a:gd name="connsiteY71" fmla="*/ 1860558 h 2079633"/>
                <a:gd name="connsiteX72" fmla="*/ 1464673 w 2127003"/>
                <a:gd name="connsiteY72" fmla="*/ 1879608 h 2079633"/>
                <a:gd name="connsiteX73" fmla="*/ 1455148 w 2127003"/>
                <a:gd name="connsiteY73" fmla="*/ 1892308 h 2079633"/>
                <a:gd name="connsiteX74" fmla="*/ 1445623 w 2127003"/>
                <a:gd name="connsiteY74" fmla="*/ 1901833 h 2079633"/>
                <a:gd name="connsiteX75" fmla="*/ 1432923 w 2127003"/>
                <a:gd name="connsiteY75" fmla="*/ 1917708 h 2079633"/>
                <a:gd name="connsiteX76" fmla="*/ 1423398 w 2127003"/>
                <a:gd name="connsiteY76" fmla="*/ 1927233 h 2079633"/>
                <a:gd name="connsiteX77" fmla="*/ 1417048 w 2127003"/>
                <a:gd name="connsiteY77" fmla="*/ 1936758 h 2079633"/>
                <a:gd name="connsiteX78" fmla="*/ 1391648 w 2127003"/>
                <a:gd name="connsiteY78" fmla="*/ 1955808 h 2079633"/>
                <a:gd name="connsiteX79" fmla="*/ 1356723 w 2127003"/>
                <a:gd name="connsiteY79" fmla="*/ 1971683 h 2079633"/>
                <a:gd name="connsiteX80" fmla="*/ 1344023 w 2127003"/>
                <a:gd name="connsiteY80" fmla="*/ 1978033 h 2079633"/>
                <a:gd name="connsiteX81" fmla="*/ 1331323 w 2127003"/>
                <a:gd name="connsiteY81" fmla="*/ 1987558 h 2079633"/>
                <a:gd name="connsiteX82" fmla="*/ 1312273 w 2127003"/>
                <a:gd name="connsiteY82" fmla="*/ 2006608 h 2079633"/>
                <a:gd name="connsiteX83" fmla="*/ 1270998 w 2127003"/>
                <a:gd name="connsiteY83" fmla="*/ 2025658 h 2079633"/>
                <a:gd name="connsiteX84" fmla="*/ 1258298 w 2127003"/>
                <a:gd name="connsiteY84" fmla="*/ 2032008 h 2079633"/>
                <a:gd name="connsiteX85" fmla="*/ 1236073 w 2127003"/>
                <a:gd name="connsiteY85" fmla="*/ 2038358 h 2079633"/>
                <a:gd name="connsiteX86" fmla="*/ 1226548 w 2127003"/>
                <a:gd name="connsiteY86" fmla="*/ 2044708 h 2079633"/>
                <a:gd name="connsiteX87" fmla="*/ 1217023 w 2127003"/>
                <a:gd name="connsiteY87" fmla="*/ 2047883 h 2079633"/>
                <a:gd name="connsiteX88" fmla="*/ 1175748 w 2127003"/>
                <a:gd name="connsiteY88" fmla="*/ 2057408 h 2079633"/>
                <a:gd name="connsiteX89" fmla="*/ 1150348 w 2127003"/>
                <a:gd name="connsiteY89" fmla="*/ 2070108 h 2079633"/>
                <a:gd name="connsiteX90" fmla="*/ 1102723 w 2127003"/>
                <a:gd name="connsiteY90" fmla="*/ 2079633 h 2079633"/>
                <a:gd name="connsiteX91" fmla="*/ 928098 w 2127003"/>
                <a:gd name="connsiteY91" fmla="*/ 2070108 h 2079633"/>
                <a:gd name="connsiteX92" fmla="*/ 886823 w 2127003"/>
                <a:gd name="connsiteY92" fmla="*/ 2054233 h 2079633"/>
                <a:gd name="connsiteX93" fmla="*/ 861423 w 2127003"/>
                <a:gd name="connsiteY93" fmla="*/ 2051058 h 2079633"/>
                <a:gd name="connsiteX94" fmla="*/ 845548 w 2127003"/>
                <a:gd name="connsiteY94" fmla="*/ 2035183 h 2079633"/>
                <a:gd name="connsiteX95" fmla="*/ 769348 w 2127003"/>
                <a:gd name="connsiteY95" fmla="*/ 1974858 h 2079633"/>
                <a:gd name="connsiteX96" fmla="*/ 747123 w 2127003"/>
                <a:gd name="connsiteY96" fmla="*/ 1946283 h 2079633"/>
                <a:gd name="connsiteX97" fmla="*/ 731248 w 2127003"/>
                <a:gd name="connsiteY97" fmla="*/ 1933583 h 2079633"/>
                <a:gd name="connsiteX98" fmla="*/ 715373 w 2127003"/>
                <a:gd name="connsiteY98" fmla="*/ 1917708 h 2079633"/>
                <a:gd name="connsiteX99" fmla="*/ 699498 w 2127003"/>
                <a:gd name="connsiteY99" fmla="*/ 1905008 h 2079633"/>
                <a:gd name="connsiteX100" fmla="*/ 680448 w 2127003"/>
                <a:gd name="connsiteY100" fmla="*/ 1885958 h 2079633"/>
                <a:gd name="connsiteX101" fmla="*/ 642348 w 2127003"/>
                <a:gd name="connsiteY101" fmla="*/ 1854208 h 2079633"/>
                <a:gd name="connsiteX102" fmla="*/ 601073 w 2127003"/>
                <a:gd name="connsiteY102" fmla="*/ 1806583 h 2079633"/>
                <a:gd name="connsiteX103" fmla="*/ 578848 w 2127003"/>
                <a:gd name="connsiteY103" fmla="*/ 1781183 h 2079633"/>
                <a:gd name="connsiteX104" fmla="*/ 537573 w 2127003"/>
                <a:gd name="connsiteY104" fmla="*/ 1739908 h 2079633"/>
                <a:gd name="connsiteX105" fmla="*/ 499473 w 2127003"/>
                <a:gd name="connsiteY105" fmla="*/ 1704983 h 2079633"/>
                <a:gd name="connsiteX106" fmla="*/ 470898 w 2127003"/>
                <a:gd name="connsiteY106" fmla="*/ 1670058 h 2079633"/>
                <a:gd name="connsiteX107" fmla="*/ 413748 w 2127003"/>
                <a:gd name="connsiteY107" fmla="*/ 1622433 h 2079633"/>
                <a:gd name="connsiteX108" fmla="*/ 401048 w 2127003"/>
                <a:gd name="connsiteY108" fmla="*/ 1612908 h 2079633"/>
                <a:gd name="connsiteX109" fmla="*/ 369298 w 2127003"/>
                <a:gd name="connsiteY109" fmla="*/ 1584333 h 2079633"/>
                <a:gd name="connsiteX110" fmla="*/ 328023 w 2127003"/>
                <a:gd name="connsiteY110" fmla="*/ 1558933 h 2079633"/>
                <a:gd name="connsiteX111" fmla="*/ 302623 w 2127003"/>
                <a:gd name="connsiteY111" fmla="*/ 1539883 h 2079633"/>
                <a:gd name="connsiteX112" fmla="*/ 223248 w 2127003"/>
                <a:gd name="connsiteY112" fmla="*/ 1470033 h 2079633"/>
                <a:gd name="connsiteX113" fmla="*/ 175623 w 2127003"/>
                <a:gd name="connsiteY113" fmla="*/ 1412883 h 2079633"/>
                <a:gd name="connsiteX114" fmla="*/ 118473 w 2127003"/>
                <a:gd name="connsiteY114" fmla="*/ 1339858 h 2079633"/>
                <a:gd name="connsiteX115" fmla="*/ 83548 w 2127003"/>
                <a:gd name="connsiteY115" fmla="*/ 1292233 h 2079633"/>
                <a:gd name="connsiteX116" fmla="*/ 64498 w 2127003"/>
                <a:gd name="connsiteY116" fmla="*/ 1266833 h 2079633"/>
                <a:gd name="connsiteX117" fmla="*/ 35923 w 2127003"/>
                <a:gd name="connsiteY117" fmla="*/ 1206508 h 2079633"/>
                <a:gd name="connsiteX118" fmla="*/ 26398 w 2127003"/>
                <a:gd name="connsiteY118" fmla="*/ 1171583 h 2079633"/>
                <a:gd name="connsiteX119" fmla="*/ 20048 w 2127003"/>
                <a:gd name="connsiteY119" fmla="*/ 1149358 h 2079633"/>
                <a:gd name="connsiteX120" fmla="*/ 16873 w 2127003"/>
                <a:gd name="connsiteY120" fmla="*/ 1133483 h 2079633"/>
                <a:gd name="connsiteX121" fmla="*/ 7348 w 2127003"/>
                <a:gd name="connsiteY121" fmla="*/ 1095383 h 2079633"/>
                <a:gd name="connsiteX122" fmla="*/ 998 w 2127003"/>
                <a:gd name="connsiteY122" fmla="*/ 1012833 h 2079633"/>
                <a:gd name="connsiteX123" fmla="*/ 10523 w 2127003"/>
                <a:gd name="connsiteY123" fmla="*/ 882658 h 2079633"/>
                <a:gd name="connsiteX124" fmla="*/ 35923 w 2127003"/>
                <a:gd name="connsiteY124" fmla="*/ 835033 h 2079633"/>
                <a:gd name="connsiteX125" fmla="*/ 51798 w 2127003"/>
                <a:gd name="connsiteY125" fmla="*/ 806458 h 2079633"/>
                <a:gd name="connsiteX126" fmla="*/ 83548 w 2127003"/>
                <a:gd name="connsiteY126" fmla="*/ 762008 h 2079633"/>
                <a:gd name="connsiteX127" fmla="*/ 99423 w 2127003"/>
                <a:gd name="connsiteY127" fmla="*/ 742958 h 2079633"/>
                <a:gd name="connsiteX128" fmla="*/ 143873 w 2127003"/>
                <a:gd name="connsiteY128" fmla="*/ 676283 h 2079633"/>
                <a:gd name="connsiteX129" fmla="*/ 308973 w 2127003"/>
                <a:gd name="connsiteY129" fmla="*/ 523883 h 2079633"/>
                <a:gd name="connsiteX130" fmla="*/ 366123 w 2127003"/>
                <a:gd name="connsiteY130" fmla="*/ 463558 h 2079633"/>
                <a:gd name="connsiteX131" fmla="*/ 416923 w 2127003"/>
                <a:gd name="connsiteY131" fmla="*/ 409583 h 2079633"/>
                <a:gd name="connsiteX132" fmla="*/ 445498 w 2127003"/>
                <a:gd name="connsiteY132" fmla="*/ 377833 h 2079633"/>
                <a:gd name="connsiteX133" fmla="*/ 493123 w 2127003"/>
                <a:gd name="connsiteY133" fmla="*/ 333383 h 2079633"/>
                <a:gd name="connsiteX134" fmla="*/ 712198 w 2127003"/>
                <a:gd name="connsiteY134" fmla="*/ 136533 h 2079633"/>
                <a:gd name="connsiteX135" fmla="*/ 750298 w 2127003"/>
                <a:gd name="connsiteY135" fmla="*/ 111133 h 2079633"/>
                <a:gd name="connsiteX136" fmla="*/ 785223 w 2127003"/>
                <a:gd name="connsiteY136" fmla="*/ 88908 h 2079633"/>
                <a:gd name="connsiteX137" fmla="*/ 883648 w 2127003"/>
                <a:gd name="connsiteY137" fmla="*/ 38108 h 2079633"/>
                <a:gd name="connsiteX138" fmla="*/ 1077323 w 2127003"/>
                <a:gd name="connsiteY138" fmla="*/ 8 h 2079633"/>
                <a:gd name="connsiteX139" fmla="*/ 1267823 w 2127003"/>
                <a:gd name="connsiteY139" fmla="*/ 34933 h 2079633"/>
                <a:gd name="connsiteX140" fmla="*/ 1296398 w 2127003"/>
                <a:gd name="connsiteY140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2004423 w 2127003"/>
                <a:gd name="connsiteY51" fmla="*/ 1371608 h 2079633"/>
                <a:gd name="connsiteX52" fmla="*/ 1975848 w 2127003"/>
                <a:gd name="connsiteY52" fmla="*/ 1393833 h 2079633"/>
                <a:gd name="connsiteX53" fmla="*/ 1928223 w 2127003"/>
                <a:gd name="connsiteY53" fmla="*/ 1435108 h 2079633"/>
                <a:gd name="connsiteX54" fmla="*/ 1905998 w 2127003"/>
                <a:gd name="connsiteY54" fmla="*/ 1454158 h 2079633"/>
                <a:gd name="connsiteX55" fmla="*/ 1848848 w 2127003"/>
                <a:gd name="connsiteY55" fmla="*/ 1485908 h 2079633"/>
                <a:gd name="connsiteX56" fmla="*/ 1810748 w 2127003"/>
                <a:gd name="connsiteY56" fmla="*/ 1517658 h 2079633"/>
                <a:gd name="connsiteX57" fmla="*/ 1791698 w 2127003"/>
                <a:gd name="connsiteY57" fmla="*/ 1533533 h 2079633"/>
                <a:gd name="connsiteX58" fmla="*/ 1775823 w 2127003"/>
                <a:gd name="connsiteY58" fmla="*/ 1543058 h 2079633"/>
                <a:gd name="connsiteX59" fmla="*/ 1718673 w 2127003"/>
                <a:gd name="connsiteY59" fmla="*/ 1606558 h 2079633"/>
                <a:gd name="connsiteX60" fmla="*/ 1709148 w 2127003"/>
                <a:gd name="connsiteY60" fmla="*/ 1619258 h 2079633"/>
                <a:gd name="connsiteX61" fmla="*/ 1680573 w 2127003"/>
                <a:gd name="connsiteY61" fmla="*/ 1651008 h 2079633"/>
                <a:gd name="connsiteX62" fmla="*/ 1658348 w 2127003"/>
                <a:gd name="connsiteY62" fmla="*/ 1679583 h 2079633"/>
                <a:gd name="connsiteX63" fmla="*/ 1623423 w 2127003"/>
                <a:gd name="connsiteY63" fmla="*/ 1714508 h 2079633"/>
                <a:gd name="connsiteX64" fmla="*/ 1604373 w 2127003"/>
                <a:gd name="connsiteY64" fmla="*/ 1733558 h 2079633"/>
                <a:gd name="connsiteX65" fmla="*/ 1569448 w 2127003"/>
                <a:gd name="connsiteY65" fmla="*/ 1774833 h 2079633"/>
                <a:gd name="connsiteX66" fmla="*/ 1559923 w 2127003"/>
                <a:gd name="connsiteY66" fmla="*/ 1787533 h 2079633"/>
                <a:gd name="connsiteX67" fmla="*/ 1547223 w 2127003"/>
                <a:gd name="connsiteY67" fmla="*/ 1797058 h 2079633"/>
                <a:gd name="connsiteX68" fmla="*/ 1540873 w 2127003"/>
                <a:gd name="connsiteY68" fmla="*/ 1806583 h 2079633"/>
                <a:gd name="connsiteX69" fmla="*/ 1524998 w 2127003"/>
                <a:gd name="connsiteY69" fmla="*/ 1816108 h 2079633"/>
                <a:gd name="connsiteX70" fmla="*/ 1480548 w 2127003"/>
                <a:gd name="connsiteY70" fmla="*/ 1860558 h 2079633"/>
                <a:gd name="connsiteX71" fmla="*/ 1464673 w 2127003"/>
                <a:gd name="connsiteY71" fmla="*/ 1879608 h 2079633"/>
                <a:gd name="connsiteX72" fmla="*/ 1455148 w 2127003"/>
                <a:gd name="connsiteY72" fmla="*/ 1892308 h 2079633"/>
                <a:gd name="connsiteX73" fmla="*/ 1445623 w 2127003"/>
                <a:gd name="connsiteY73" fmla="*/ 1901833 h 2079633"/>
                <a:gd name="connsiteX74" fmla="*/ 1432923 w 2127003"/>
                <a:gd name="connsiteY74" fmla="*/ 1917708 h 2079633"/>
                <a:gd name="connsiteX75" fmla="*/ 1423398 w 2127003"/>
                <a:gd name="connsiteY75" fmla="*/ 1927233 h 2079633"/>
                <a:gd name="connsiteX76" fmla="*/ 1417048 w 2127003"/>
                <a:gd name="connsiteY76" fmla="*/ 1936758 h 2079633"/>
                <a:gd name="connsiteX77" fmla="*/ 1391648 w 2127003"/>
                <a:gd name="connsiteY77" fmla="*/ 1955808 h 2079633"/>
                <a:gd name="connsiteX78" fmla="*/ 1356723 w 2127003"/>
                <a:gd name="connsiteY78" fmla="*/ 1971683 h 2079633"/>
                <a:gd name="connsiteX79" fmla="*/ 1344023 w 2127003"/>
                <a:gd name="connsiteY79" fmla="*/ 1978033 h 2079633"/>
                <a:gd name="connsiteX80" fmla="*/ 1331323 w 2127003"/>
                <a:gd name="connsiteY80" fmla="*/ 1987558 h 2079633"/>
                <a:gd name="connsiteX81" fmla="*/ 1312273 w 2127003"/>
                <a:gd name="connsiteY81" fmla="*/ 2006608 h 2079633"/>
                <a:gd name="connsiteX82" fmla="*/ 1270998 w 2127003"/>
                <a:gd name="connsiteY82" fmla="*/ 2025658 h 2079633"/>
                <a:gd name="connsiteX83" fmla="*/ 1258298 w 2127003"/>
                <a:gd name="connsiteY83" fmla="*/ 2032008 h 2079633"/>
                <a:gd name="connsiteX84" fmla="*/ 1236073 w 2127003"/>
                <a:gd name="connsiteY84" fmla="*/ 2038358 h 2079633"/>
                <a:gd name="connsiteX85" fmla="*/ 1226548 w 2127003"/>
                <a:gd name="connsiteY85" fmla="*/ 2044708 h 2079633"/>
                <a:gd name="connsiteX86" fmla="*/ 1217023 w 2127003"/>
                <a:gd name="connsiteY86" fmla="*/ 2047883 h 2079633"/>
                <a:gd name="connsiteX87" fmla="*/ 1175748 w 2127003"/>
                <a:gd name="connsiteY87" fmla="*/ 2057408 h 2079633"/>
                <a:gd name="connsiteX88" fmla="*/ 1150348 w 2127003"/>
                <a:gd name="connsiteY88" fmla="*/ 2070108 h 2079633"/>
                <a:gd name="connsiteX89" fmla="*/ 1102723 w 2127003"/>
                <a:gd name="connsiteY89" fmla="*/ 2079633 h 2079633"/>
                <a:gd name="connsiteX90" fmla="*/ 928098 w 2127003"/>
                <a:gd name="connsiteY90" fmla="*/ 2070108 h 2079633"/>
                <a:gd name="connsiteX91" fmla="*/ 886823 w 2127003"/>
                <a:gd name="connsiteY91" fmla="*/ 2054233 h 2079633"/>
                <a:gd name="connsiteX92" fmla="*/ 861423 w 2127003"/>
                <a:gd name="connsiteY92" fmla="*/ 2051058 h 2079633"/>
                <a:gd name="connsiteX93" fmla="*/ 845548 w 2127003"/>
                <a:gd name="connsiteY93" fmla="*/ 2035183 h 2079633"/>
                <a:gd name="connsiteX94" fmla="*/ 769348 w 2127003"/>
                <a:gd name="connsiteY94" fmla="*/ 1974858 h 2079633"/>
                <a:gd name="connsiteX95" fmla="*/ 747123 w 2127003"/>
                <a:gd name="connsiteY95" fmla="*/ 1946283 h 2079633"/>
                <a:gd name="connsiteX96" fmla="*/ 731248 w 2127003"/>
                <a:gd name="connsiteY96" fmla="*/ 1933583 h 2079633"/>
                <a:gd name="connsiteX97" fmla="*/ 715373 w 2127003"/>
                <a:gd name="connsiteY97" fmla="*/ 1917708 h 2079633"/>
                <a:gd name="connsiteX98" fmla="*/ 699498 w 2127003"/>
                <a:gd name="connsiteY98" fmla="*/ 1905008 h 2079633"/>
                <a:gd name="connsiteX99" fmla="*/ 680448 w 2127003"/>
                <a:gd name="connsiteY99" fmla="*/ 1885958 h 2079633"/>
                <a:gd name="connsiteX100" fmla="*/ 642348 w 2127003"/>
                <a:gd name="connsiteY100" fmla="*/ 1854208 h 2079633"/>
                <a:gd name="connsiteX101" fmla="*/ 601073 w 2127003"/>
                <a:gd name="connsiteY101" fmla="*/ 1806583 h 2079633"/>
                <a:gd name="connsiteX102" fmla="*/ 578848 w 2127003"/>
                <a:gd name="connsiteY102" fmla="*/ 1781183 h 2079633"/>
                <a:gd name="connsiteX103" fmla="*/ 537573 w 2127003"/>
                <a:gd name="connsiteY103" fmla="*/ 1739908 h 2079633"/>
                <a:gd name="connsiteX104" fmla="*/ 499473 w 2127003"/>
                <a:gd name="connsiteY104" fmla="*/ 1704983 h 2079633"/>
                <a:gd name="connsiteX105" fmla="*/ 470898 w 2127003"/>
                <a:gd name="connsiteY105" fmla="*/ 1670058 h 2079633"/>
                <a:gd name="connsiteX106" fmla="*/ 413748 w 2127003"/>
                <a:gd name="connsiteY106" fmla="*/ 1622433 h 2079633"/>
                <a:gd name="connsiteX107" fmla="*/ 401048 w 2127003"/>
                <a:gd name="connsiteY107" fmla="*/ 1612908 h 2079633"/>
                <a:gd name="connsiteX108" fmla="*/ 369298 w 2127003"/>
                <a:gd name="connsiteY108" fmla="*/ 1584333 h 2079633"/>
                <a:gd name="connsiteX109" fmla="*/ 328023 w 2127003"/>
                <a:gd name="connsiteY109" fmla="*/ 1558933 h 2079633"/>
                <a:gd name="connsiteX110" fmla="*/ 302623 w 2127003"/>
                <a:gd name="connsiteY110" fmla="*/ 1539883 h 2079633"/>
                <a:gd name="connsiteX111" fmla="*/ 223248 w 2127003"/>
                <a:gd name="connsiteY111" fmla="*/ 1470033 h 2079633"/>
                <a:gd name="connsiteX112" fmla="*/ 175623 w 2127003"/>
                <a:gd name="connsiteY112" fmla="*/ 1412883 h 2079633"/>
                <a:gd name="connsiteX113" fmla="*/ 118473 w 2127003"/>
                <a:gd name="connsiteY113" fmla="*/ 1339858 h 2079633"/>
                <a:gd name="connsiteX114" fmla="*/ 83548 w 2127003"/>
                <a:gd name="connsiteY114" fmla="*/ 1292233 h 2079633"/>
                <a:gd name="connsiteX115" fmla="*/ 64498 w 2127003"/>
                <a:gd name="connsiteY115" fmla="*/ 1266833 h 2079633"/>
                <a:gd name="connsiteX116" fmla="*/ 35923 w 2127003"/>
                <a:gd name="connsiteY116" fmla="*/ 1206508 h 2079633"/>
                <a:gd name="connsiteX117" fmla="*/ 26398 w 2127003"/>
                <a:gd name="connsiteY117" fmla="*/ 1171583 h 2079633"/>
                <a:gd name="connsiteX118" fmla="*/ 20048 w 2127003"/>
                <a:gd name="connsiteY118" fmla="*/ 1149358 h 2079633"/>
                <a:gd name="connsiteX119" fmla="*/ 16873 w 2127003"/>
                <a:gd name="connsiteY119" fmla="*/ 1133483 h 2079633"/>
                <a:gd name="connsiteX120" fmla="*/ 7348 w 2127003"/>
                <a:gd name="connsiteY120" fmla="*/ 1095383 h 2079633"/>
                <a:gd name="connsiteX121" fmla="*/ 998 w 2127003"/>
                <a:gd name="connsiteY121" fmla="*/ 1012833 h 2079633"/>
                <a:gd name="connsiteX122" fmla="*/ 10523 w 2127003"/>
                <a:gd name="connsiteY122" fmla="*/ 882658 h 2079633"/>
                <a:gd name="connsiteX123" fmla="*/ 35923 w 2127003"/>
                <a:gd name="connsiteY123" fmla="*/ 835033 h 2079633"/>
                <a:gd name="connsiteX124" fmla="*/ 51798 w 2127003"/>
                <a:gd name="connsiteY124" fmla="*/ 806458 h 2079633"/>
                <a:gd name="connsiteX125" fmla="*/ 83548 w 2127003"/>
                <a:gd name="connsiteY125" fmla="*/ 762008 h 2079633"/>
                <a:gd name="connsiteX126" fmla="*/ 99423 w 2127003"/>
                <a:gd name="connsiteY126" fmla="*/ 742958 h 2079633"/>
                <a:gd name="connsiteX127" fmla="*/ 143873 w 2127003"/>
                <a:gd name="connsiteY127" fmla="*/ 676283 h 2079633"/>
                <a:gd name="connsiteX128" fmla="*/ 308973 w 2127003"/>
                <a:gd name="connsiteY128" fmla="*/ 523883 h 2079633"/>
                <a:gd name="connsiteX129" fmla="*/ 366123 w 2127003"/>
                <a:gd name="connsiteY129" fmla="*/ 463558 h 2079633"/>
                <a:gd name="connsiteX130" fmla="*/ 416923 w 2127003"/>
                <a:gd name="connsiteY130" fmla="*/ 409583 h 2079633"/>
                <a:gd name="connsiteX131" fmla="*/ 445498 w 2127003"/>
                <a:gd name="connsiteY131" fmla="*/ 377833 h 2079633"/>
                <a:gd name="connsiteX132" fmla="*/ 493123 w 2127003"/>
                <a:gd name="connsiteY132" fmla="*/ 333383 h 2079633"/>
                <a:gd name="connsiteX133" fmla="*/ 712198 w 2127003"/>
                <a:gd name="connsiteY133" fmla="*/ 136533 h 2079633"/>
                <a:gd name="connsiteX134" fmla="*/ 750298 w 2127003"/>
                <a:gd name="connsiteY134" fmla="*/ 111133 h 2079633"/>
                <a:gd name="connsiteX135" fmla="*/ 785223 w 2127003"/>
                <a:gd name="connsiteY135" fmla="*/ 88908 h 2079633"/>
                <a:gd name="connsiteX136" fmla="*/ 883648 w 2127003"/>
                <a:gd name="connsiteY136" fmla="*/ 38108 h 2079633"/>
                <a:gd name="connsiteX137" fmla="*/ 1077323 w 2127003"/>
                <a:gd name="connsiteY137" fmla="*/ 8 h 2079633"/>
                <a:gd name="connsiteX138" fmla="*/ 1267823 w 2127003"/>
                <a:gd name="connsiteY138" fmla="*/ 34933 h 2079633"/>
                <a:gd name="connsiteX139" fmla="*/ 1296398 w 2127003"/>
                <a:gd name="connsiteY139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75848 w 2127003"/>
                <a:gd name="connsiteY51" fmla="*/ 1393833 h 2079633"/>
                <a:gd name="connsiteX52" fmla="*/ 1928223 w 2127003"/>
                <a:gd name="connsiteY52" fmla="*/ 1435108 h 2079633"/>
                <a:gd name="connsiteX53" fmla="*/ 1905998 w 2127003"/>
                <a:gd name="connsiteY53" fmla="*/ 1454158 h 2079633"/>
                <a:gd name="connsiteX54" fmla="*/ 1848848 w 2127003"/>
                <a:gd name="connsiteY54" fmla="*/ 1485908 h 2079633"/>
                <a:gd name="connsiteX55" fmla="*/ 1810748 w 2127003"/>
                <a:gd name="connsiteY55" fmla="*/ 1517658 h 2079633"/>
                <a:gd name="connsiteX56" fmla="*/ 1791698 w 2127003"/>
                <a:gd name="connsiteY56" fmla="*/ 1533533 h 2079633"/>
                <a:gd name="connsiteX57" fmla="*/ 1775823 w 2127003"/>
                <a:gd name="connsiteY57" fmla="*/ 1543058 h 2079633"/>
                <a:gd name="connsiteX58" fmla="*/ 1718673 w 2127003"/>
                <a:gd name="connsiteY58" fmla="*/ 1606558 h 2079633"/>
                <a:gd name="connsiteX59" fmla="*/ 1709148 w 2127003"/>
                <a:gd name="connsiteY59" fmla="*/ 1619258 h 2079633"/>
                <a:gd name="connsiteX60" fmla="*/ 1680573 w 2127003"/>
                <a:gd name="connsiteY60" fmla="*/ 1651008 h 2079633"/>
                <a:gd name="connsiteX61" fmla="*/ 1658348 w 2127003"/>
                <a:gd name="connsiteY61" fmla="*/ 1679583 h 2079633"/>
                <a:gd name="connsiteX62" fmla="*/ 1623423 w 2127003"/>
                <a:gd name="connsiteY62" fmla="*/ 1714508 h 2079633"/>
                <a:gd name="connsiteX63" fmla="*/ 1604373 w 2127003"/>
                <a:gd name="connsiteY63" fmla="*/ 1733558 h 2079633"/>
                <a:gd name="connsiteX64" fmla="*/ 1569448 w 2127003"/>
                <a:gd name="connsiteY64" fmla="*/ 1774833 h 2079633"/>
                <a:gd name="connsiteX65" fmla="*/ 1559923 w 2127003"/>
                <a:gd name="connsiteY65" fmla="*/ 1787533 h 2079633"/>
                <a:gd name="connsiteX66" fmla="*/ 1547223 w 2127003"/>
                <a:gd name="connsiteY66" fmla="*/ 1797058 h 2079633"/>
                <a:gd name="connsiteX67" fmla="*/ 1540873 w 2127003"/>
                <a:gd name="connsiteY67" fmla="*/ 1806583 h 2079633"/>
                <a:gd name="connsiteX68" fmla="*/ 1524998 w 2127003"/>
                <a:gd name="connsiteY68" fmla="*/ 1816108 h 2079633"/>
                <a:gd name="connsiteX69" fmla="*/ 1480548 w 2127003"/>
                <a:gd name="connsiteY69" fmla="*/ 1860558 h 2079633"/>
                <a:gd name="connsiteX70" fmla="*/ 1464673 w 2127003"/>
                <a:gd name="connsiteY70" fmla="*/ 1879608 h 2079633"/>
                <a:gd name="connsiteX71" fmla="*/ 1455148 w 2127003"/>
                <a:gd name="connsiteY71" fmla="*/ 1892308 h 2079633"/>
                <a:gd name="connsiteX72" fmla="*/ 1445623 w 2127003"/>
                <a:gd name="connsiteY72" fmla="*/ 1901833 h 2079633"/>
                <a:gd name="connsiteX73" fmla="*/ 1432923 w 2127003"/>
                <a:gd name="connsiteY73" fmla="*/ 1917708 h 2079633"/>
                <a:gd name="connsiteX74" fmla="*/ 1423398 w 2127003"/>
                <a:gd name="connsiteY74" fmla="*/ 1927233 h 2079633"/>
                <a:gd name="connsiteX75" fmla="*/ 1417048 w 2127003"/>
                <a:gd name="connsiteY75" fmla="*/ 1936758 h 2079633"/>
                <a:gd name="connsiteX76" fmla="*/ 1391648 w 2127003"/>
                <a:gd name="connsiteY76" fmla="*/ 1955808 h 2079633"/>
                <a:gd name="connsiteX77" fmla="*/ 1356723 w 2127003"/>
                <a:gd name="connsiteY77" fmla="*/ 1971683 h 2079633"/>
                <a:gd name="connsiteX78" fmla="*/ 1344023 w 2127003"/>
                <a:gd name="connsiteY78" fmla="*/ 1978033 h 2079633"/>
                <a:gd name="connsiteX79" fmla="*/ 1331323 w 2127003"/>
                <a:gd name="connsiteY79" fmla="*/ 1987558 h 2079633"/>
                <a:gd name="connsiteX80" fmla="*/ 1312273 w 2127003"/>
                <a:gd name="connsiteY80" fmla="*/ 2006608 h 2079633"/>
                <a:gd name="connsiteX81" fmla="*/ 1270998 w 2127003"/>
                <a:gd name="connsiteY81" fmla="*/ 2025658 h 2079633"/>
                <a:gd name="connsiteX82" fmla="*/ 1258298 w 2127003"/>
                <a:gd name="connsiteY82" fmla="*/ 2032008 h 2079633"/>
                <a:gd name="connsiteX83" fmla="*/ 1236073 w 2127003"/>
                <a:gd name="connsiteY83" fmla="*/ 2038358 h 2079633"/>
                <a:gd name="connsiteX84" fmla="*/ 1226548 w 2127003"/>
                <a:gd name="connsiteY84" fmla="*/ 2044708 h 2079633"/>
                <a:gd name="connsiteX85" fmla="*/ 1217023 w 2127003"/>
                <a:gd name="connsiteY85" fmla="*/ 2047883 h 2079633"/>
                <a:gd name="connsiteX86" fmla="*/ 1175748 w 2127003"/>
                <a:gd name="connsiteY86" fmla="*/ 2057408 h 2079633"/>
                <a:gd name="connsiteX87" fmla="*/ 1150348 w 2127003"/>
                <a:gd name="connsiteY87" fmla="*/ 2070108 h 2079633"/>
                <a:gd name="connsiteX88" fmla="*/ 1102723 w 2127003"/>
                <a:gd name="connsiteY88" fmla="*/ 2079633 h 2079633"/>
                <a:gd name="connsiteX89" fmla="*/ 928098 w 2127003"/>
                <a:gd name="connsiteY89" fmla="*/ 2070108 h 2079633"/>
                <a:gd name="connsiteX90" fmla="*/ 886823 w 2127003"/>
                <a:gd name="connsiteY90" fmla="*/ 2054233 h 2079633"/>
                <a:gd name="connsiteX91" fmla="*/ 861423 w 2127003"/>
                <a:gd name="connsiteY91" fmla="*/ 2051058 h 2079633"/>
                <a:gd name="connsiteX92" fmla="*/ 845548 w 2127003"/>
                <a:gd name="connsiteY92" fmla="*/ 2035183 h 2079633"/>
                <a:gd name="connsiteX93" fmla="*/ 769348 w 2127003"/>
                <a:gd name="connsiteY93" fmla="*/ 1974858 h 2079633"/>
                <a:gd name="connsiteX94" fmla="*/ 747123 w 2127003"/>
                <a:gd name="connsiteY94" fmla="*/ 1946283 h 2079633"/>
                <a:gd name="connsiteX95" fmla="*/ 731248 w 2127003"/>
                <a:gd name="connsiteY95" fmla="*/ 1933583 h 2079633"/>
                <a:gd name="connsiteX96" fmla="*/ 715373 w 2127003"/>
                <a:gd name="connsiteY96" fmla="*/ 1917708 h 2079633"/>
                <a:gd name="connsiteX97" fmla="*/ 699498 w 2127003"/>
                <a:gd name="connsiteY97" fmla="*/ 1905008 h 2079633"/>
                <a:gd name="connsiteX98" fmla="*/ 680448 w 2127003"/>
                <a:gd name="connsiteY98" fmla="*/ 1885958 h 2079633"/>
                <a:gd name="connsiteX99" fmla="*/ 642348 w 2127003"/>
                <a:gd name="connsiteY99" fmla="*/ 1854208 h 2079633"/>
                <a:gd name="connsiteX100" fmla="*/ 601073 w 2127003"/>
                <a:gd name="connsiteY100" fmla="*/ 1806583 h 2079633"/>
                <a:gd name="connsiteX101" fmla="*/ 578848 w 2127003"/>
                <a:gd name="connsiteY101" fmla="*/ 1781183 h 2079633"/>
                <a:gd name="connsiteX102" fmla="*/ 537573 w 2127003"/>
                <a:gd name="connsiteY102" fmla="*/ 1739908 h 2079633"/>
                <a:gd name="connsiteX103" fmla="*/ 499473 w 2127003"/>
                <a:gd name="connsiteY103" fmla="*/ 1704983 h 2079633"/>
                <a:gd name="connsiteX104" fmla="*/ 470898 w 2127003"/>
                <a:gd name="connsiteY104" fmla="*/ 1670058 h 2079633"/>
                <a:gd name="connsiteX105" fmla="*/ 413748 w 2127003"/>
                <a:gd name="connsiteY105" fmla="*/ 1622433 h 2079633"/>
                <a:gd name="connsiteX106" fmla="*/ 401048 w 2127003"/>
                <a:gd name="connsiteY106" fmla="*/ 1612908 h 2079633"/>
                <a:gd name="connsiteX107" fmla="*/ 369298 w 2127003"/>
                <a:gd name="connsiteY107" fmla="*/ 1584333 h 2079633"/>
                <a:gd name="connsiteX108" fmla="*/ 328023 w 2127003"/>
                <a:gd name="connsiteY108" fmla="*/ 1558933 h 2079633"/>
                <a:gd name="connsiteX109" fmla="*/ 302623 w 2127003"/>
                <a:gd name="connsiteY109" fmla="*/ 1539883 h 2079633"/>
                <a:gd name="connsiteX110" fmla="*/ 223248 w 2127003"/>
                <a:gd name="connsiteY110" fmla="*/ 1470033 h 2079633"/>
                <a:gd name="connsiteX111" fmla="*/ 175623 w 2127003"/>
                <a:gd name="connsiteY111" fmla="*/ 1412883 h 2079633"/>
                <a:gd name="connsiteX112" fmla="*/ 118473 w 2127003"/>
                <a:gd name="connsiteY112" fmla="*/ 1339858 h 2079633"/>
                <a:gd name="connsiteX113" fmla="*/ 83548 w 2127003"/>
                <a:gd name="connsiteY113" fmla="*/ 1292233 h 2079633"/>
                <a:gd name="connsiteX114" fmla="*/ 64498 w 2127003"/>
                <a:gd name="connsiteY114" fmla="*/ 1266833 h 2079633"/>
                <a:gd name="connsiteX115" fmla="*/ 35923 w 2127003"/>
                <a:gd name="connsiteY115" fmla="*/ 1206508 h 2079633"/>
                <a:gd name="connsiteX116" fmla="*/ 26398 w 2127003"/>
                <a:gd name="connsiteY116" fmla="*/ 1171583 h 2079633"/>
                <a:gd name="connsiteX117" fmla="*/ 20048 w 2127003"/>
                <a:gd name="connsiteY117" fmla="*/ 1149358 h 2079633"/>
                <a:gd name="connsiteX118" fmla="*/ 16873 w 2127003"/>
                <a:gd name="connsiteY118" fmla="*/ 1133483 h 2079633"/>
                <a:gd name="connsiteX119" fmla="*/ 7348 w 2127003"/>
                <a:gd name="connsiteY119" fmla="*/ 1095383 h 2079633"/>
                <a:gd name="connsiteX120" fmla="*/ 998 w 2127003"/>
                <a:gd name="connsiteY120" fmla="*/ 1012833 h 2079633"/>
                <a:gd name="connsiteX121" fmla="*/ 10523 w 2127003"/>
                <a:gd name="connsiteY121" fmla="*/ 882658 h 2079633"/>
                <a:gd name="connsiteX122" fmla="*/ 35923 w 2127003"/>
                <a:gd name="connsiteY122" fmla="*/ 835033 h 2079633"/>
                <a:gd name="connsiteX123" fmla="*/ 51798 w 2127003"/>
                <a:gd name="connsiteY123" fmla="*/ 806458 h 2079633"/>
                <a:gd name="connsiteX124" fmla="*/ 83548 w 2127003"/>
                <a:gd name="connsiteY124" fmla="*/ 762008 h 2079633"/>
                <a:gd name="connsiteX125" fmla="*/ 99423 w 2127003"/>
                <a:gd name="connsiteY125" fmla="*/ 742958 h 2079633"/>
                <a:gd name="connsiteX126" fmla="*/ 143873 w 2127003"/>
                <a:gd name="connsiteY126" fmla="*/ 676283 h 2079633"/>
                <a:gd name="connsiteX127" fmla="*/ 308973 w 2127003"/>
                <a:gd name="connsiteY127" fmla="*/ 523883 h 2079633"/>
                <a:gd name="connsiteX128" fmla="*/ 366123 w 2127003"/>
                <a:gd name="connsiteY128" fmla="*/ 463558 h 2079633"/>
                <a:gd name="connsiteX129" fmla="*/ 416923 w 2127003"/>
                <a:gd name="connsiteY129" fmla="*/ 409583 h 2079633"/>
                <a:gd name="connsiteX130" fmla="*/ 445498 w 2127003"/>
                <a:gd name="connsiteY130" fmla="*/ 377833 h 2079633"/>
                <a:gd name="connsiteX131" fmla="*/ 493123 w 2127003"/>
                <a:gd name="connsiteY131" fmla="*/ 333383 h 2079633"/>
                <a:gd name="connsiteX132" fmla="*/ 712198 w 2127003"/>
                <a:gd name="connsiteY132" fmla="*/ 136533 h 2079633"/>
                <a:gd name="connsiteX133" fmla="*/ 750298 w 2127003"/>
                <a:gd name="connsiteY133" fmla="*/ 111133 h 2079633"/>
                <a:gd name="connsiteX134" fmla="*/ 785223 w 2127003"/>
                <a:gd name="connsiteY134" fmla="*/ 88908 h 2079633"/>
                <a:gd name="connsiteX135" fmla="*/ 883648 w 2127003"/>
                <a:gd name="connsiteY135" fmla="*/ 38108 h 2079633"/>
                <a:gd name="connsiteX136" fmla="*/ 1077323 w 2127003"/>
                <a:gd name="connsiteY136" fmla="*/ 8 h 2079633"/>
                <a:gd name="connsiteX137" fmla="*/ 1267823 w 2127003"/>
                <a:gd name="connsiteY137" fmla="*/ 34933 h 2079633"/>
                <a:gd name="connsiteX138" fmla="*/ 1296398 w 2127003"/>
                <a:gd name="connsiteY138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2061573 w 2127003"/>
                <a:gd name="connsiteY50" fmla="*/ 1273183 h 2079633"/>
                <a:gd name="connsiteX51" fmla="*/ 1928223 w 2127003"/>
                <a:gd name="connsiteY51" fmla="*/ 1435108 h 2079633"/>
                <a:gd name="connsiteX52" fmla="*/ 1905998 w 2127003"/>
                <a:gd name="connsiteY52" fmla="*/ 1454158 h 2079633"/>
                <a:gd name="connsiteX53" fmla="*/ 1848848 w 2127003"/>
                <a:gd name="connsiteY53" fmla="*/ 1485908 h 2079633"/>
                <a:gd name="connsiteX54" fmla="*/ 1810748 w 2127003"/>
                <a:gd name="connsiteY54" fmla="*/ 1517658 h 2079633"/>
                <a:gd name="connsiteX55" fmla="*/ 1791698 w 2127003"/>
                <a:gd name="connsiteY55" fmla="*/ 1533533 h 2079633"/>
                <a:gd name="connsiteX56" fmla="*/ 1775823 w 2127003"/>
                <a:gd name="connsiteY56" fmla="*/ 1543058 h 2079633"/>
                <a:gd name="connsiteX57" fmla="*/ 1718673 w 2127003"/>
                <a:gd name="connsiteY57" fmla="*/ 1606558 h 2079633"/>
                <a:gd name="connsiteX58" fmla="*/ 1709148 w 2127003"/>
                <a:gd name="connsiteY58" fmla="*/ 1619258 h 2079633"/>
                <a:gd name="connsiteX59" fmla="*/ 1680573 w 2127003"/>
                <a:gd name="connsiteY59" fmla="*/ 1651008 h 2079633"/>
                <a:gd name="connsiteX60" fmla="*/ 1658348 w 2127003"/>
                <a:gd name="connsiteY60" fmla="*/ 1679583 h 2079633"/>
                <a:gd name="connsiteX61" fmla="*/ 1623423 w 2127003"/>
                <a:gd name="connsiteY61" fmla="*/ 1714508 h 2079633"/>
                <a:gd name="connsiteX62" fmla="*/ 1604373 w 2127003"/>
                <a:gd name="connsiteY62" fmla="*/ 1733558 h 2079633"/>
                <a:gd name="connsiteX63" fmla="*/ 1569448 w 2127003"/>
                <a:gd name="connsiteY63" fmla="*/ 1774833 h 2079633"/>
                <a:gd name="connsiteX64" fmla="*/ 1559923 w 2127003"/>
                <a:gd name="connsiteY64" fmla="*/ 1787533 h 2079633"/>
                <a:gd name="connsiteX65" fmla="*/ 1547223 w 2127003"/>
                <a:gd name="connsiteY65" fmla="*/ 1797058 h 2079633"/>
                <a:gd name="connsiteX66" fmla="*/ 1540873 w 2127003"/>
                <a:gd name="connsiteY66" fmla="*/ 1806583 h 2079633"/>
                <a:gd name="connsiteX67" fmla="*/ 1524998 w 2127003"/>
                <a:gd name="connsiteY67" fmla="*/ 1816108 h 2079633"/>
                <a:gd name="connsiteX68" fmla="*/ 1480548 w 2127003"/>
                <a:gd name="connsiteY68" fmla="*/ 1860558 h 2079633"/>
                <a:gd name="connsiteX69" fmla="*/ 1464673 w 2127003"/>
                <a:gd name="connsiteY69" fmla="*/ 1879608 h 2079633"/>
                <a:gd name="connsiteX70" fmla="*/ 1455148 w 2127003"/>
                <a:gd name="connsiteY70" fmla="*/ 1892308 h 2079633"/>
                <a:gd name="connsiteX71" fmla="*/ 1445623 w 2127003"/>
                <a:gd name="connsiteY71" fmla="*/ 1901833 h 2079633"/>
                <a:gd name="connsiteX72" fmla="*/ 1432923 w 2127003"/>
                <a:gd name="connsiteY72" fmla="*/ 1917708 h 2079633"/>
                <a:gd name="connsiteX73" fmla="*/ 1423398 w 2127003"/>
                <a:gd name="connsiteY73" fmla="*/ 1927233 h 2079633"/>
                <a:gd name="connsiteX74" fmla="*/ 1417048 w 2127003"/>
                <a:gd name="connsiteY74" fmla="*/ 1936758 h 2079633"/>
                <a:gd name="connsiteX75" fmla="*/ 1391648 w 2127003"/>
                <a:gd name="connsiteY75" fmla="*/ 1955808 h 2079633"/>
                <a:gd name="connsiteX76" fmla="*/ 1356723 w 2127003"/>
                <a:gd name="connsiteY76" fmla="*/ 1971683 h 2079633"/>
                <a:gd name="connsiteX77" fmla="*/ 1344023 w 2127003"/>
                <a:gd name="connsiteY77" fmla="*/ 1978033 h 2079633"/>
                <a:gd name="connsiteX78" fmla="*/ 1331323 w 2127003"/>
                <a:gd name="connsiteY78" fmla="*/ 1987558 h 2079633"/>
                <a:gd name="connsiteX79" fmla="*/ 1312273 w 2127003"/>
                <a:gd name="connsiteY79" fmla="*/ 2006608 h 2079633"/>
                <a:gd name="connsiteX80" fmla="*/ 1270998 w 2127003"/>
                <a:gd name="connsiteY80" fmla="*/ 2025658 h 2079633"/>
                <a:gd name="connsiteX81" fmla="*/ 1258298 w 2127003"/>
                <a:gd name="connsiteY81" fmla="*/ 2032008 h 2079633"/>
                <a:gd name="connsiteX82" fmla="*/ 1236073 w 2127003"/>
                <a:gd name="connsiteY82" fmla="*/ 2038358 h 2079633"/>
                <a:gd name="connsiteX83" fmla="*/ 1226548 w 2127003"/>
                <a:gd name="connsiteY83" fmla="*/ 2044708 h 2079633"/>
                <a:gd name="connsiteX84" fmla="*/ 1217023 w 2127003"/>
                <a:gd name="connsiteY84" fmla="*/ 2047883 h 2079633"/>
                <a:gd name="connsiteX85" fmla="*/ 1175748 w 2127003"/>
                <a:gd name="connsiteY85" fmla="*/ 2057408 h 2079633"/>
                <a:gd name="connsiteX86" fmla="*/ 1150348 w 2127003"/>
                <a:gd name="connsiteY86" fmla="*/ 2070108 h 2079633"/>
                <a:gd name="connsiteX87" fmla="*/ 1102723 w 2127003"/>
                <a:gd name="connsiteY87" fmla="*/ 2079633 h 2079633"/>
                <a:gd name="connsiteX88" fmla="*/ 928098 w 2127003"/>
                <a:gd name="connsiteY88" fmla="*/ 2070108 h 2079633"/>
                <a:gd name="connsiteX89" fmla="*/ 886823 w 2127003"/>
                <a:gd name="connsiteY89" fmla="*/ 2054233 h 2079633"/>
                <a:gd name="connsiteX90" fmla="*/ 861423 w 2127003"/>
                <a:gd name="connsiteY90" fmla="*/ 2051058 h 2079633"/>
                <a:gd name="connsiteX91" fmla="*/ 845548 w 2127003"/>
                <a:gd name="connsiteY91" fmla="*/ 2035183 h 2079633"/>
                <a:gd name="connsiteX92" fmla="*/ 769348 w 2127003"/>
                <a:gd name="connsiteY92" fmla="*/ 1974858 h 2079633"/>
                <a:gd name="connsiteX93" fmla="*/ 747123 w 2127003"/>
                <a:gd name="connsiteY93" fmla="*/ 1946283 h 2079633"/>
                <a:gd name="connsiteX94" fmla="*/ 731248 w 2127003"/>
                <a:gd name="connsiteY94" fmla="*/ 1933583 h 2079633"/>
                <a:gd name="connsiteX95" fmla="*/ 715373 w 2127003"/>
                <a:gd name="connsiteY95" fmla="*/ 1917708 h 2079633"/>
                <a:gd name="connsiteX96" fmla="*/ 699498 w 2127003"/>
                <a:gd name="connsiteY96" fmla="*/ 1905008 h 2079633"/>
                <a:gd name="connsiteX97" fmla="*/ 680448 w 2127003"/>
                <a:gd name="connsiteY97" fmla="*/ 1885958 h 2079633"/>
                <a:gd name="connsiteX98" fmla="*/ 642348 w 2127003"/>
                <a:gd name="connsiteY98" fmla="*/ 1854208 h 2079633"/>
                <a:gd name="connsiteX99" fmla="*/ 601073 w 2127003"/>
                <a:gd name="connsiteY99" fmla="*/ 1806583 h 2079633"/>
                <a:gd name="connsiteX100" fmla="*/ 578848 w 2127003"/>
                <a:gd name="connsiteY100" fmla="*/ 1781183 h 2079633"/>
                <a:gd name="connsiteX101" fmla="*/ 537573 w 2127003"/>
                <a:gd name="connsiteY101" fmla="*/ 1739908 h 2079633"/>
                <a:gd name="connsiteX102" fmla="*/ 499473 w 2127003"/>
                <a:gd name="connsiteY102" fmla="*/ 1704983 h 2079633"/>
                <a:gd name="connsiteX103" fmla="*/ 470898 w 2127003"/>
                <a:gd name="connsiteY103" fmla="*/ 1670058 h 2079633"/>
                <a:gd name="connsiteX104" fmla="*/ 413748 w 2127003"/>
                <a:gd name="connsiteY104" fmla="*/ 1622433 h 2079633"/>
                <a:gd name="connsiteX105" fmla="*/ 401048 w 2127003"/>
                <a:gd name="connsiteY105" fmla="*/ 1612908 h 2079633"/>
                <a:gd name="connsiteX106" fmla="*/ 369298 w 2127003"/>
                <a:gd name="connsiteY106" fmla="*/ 1584333 h 2079633"/>
                <a:gd name="connsiteX107" fmla="*/ 328023 w 2127003"/>
                <a:gd name="connsiteY107" fmla="*/ 1558933 h 2079633"/>
                <a:gd name="connsiteX108" fmla="*/ 302623 w 2127003"/>
                <a:gd name="connsiteY108" fmla="*/ 1539883 h 2079633"/>
                <a:gd name="connsiteX109" fmla="*/ 223248 w 2127003"/>
                <a:gd name="connsiteY109" fmla="*/ 1470033 h 2079633"/>
                <a:gd name="connsiteX110" fmla="*/ 175623 w 2127003"/>
                <a:gd name="connsiteY110" fmla="*/ 1412883 h 2079633"/>
                <a:gd name="connsiteX111" fmla="*/ 118473 w 2127003"/>
                <a:gd name="connsiteY111" fmla="*/ 1339858 h 2079633"/>
                <a:gd name="connsiteX112" fmla="*/ 83548 w 2127003"/>
                <a:gd name="connsiteY112" fmla="*/ 1292233 h 2079633"/>
                <a:gd name="connsiteX113" fmla="*/ 64498 w 2127003"/>
                <a:gd name="connsiteY113" fmla="*/ 1266833 h 2079633"/>
                <a:gd name="connsiteX114" fmla="*/ 35923 w 2127003"/>
                <a:gd name="connsiteY114" fmla="*/ 1206508 h 2079633"/>
                <a:gd name="connsiteX115" fmla="*/ 26398 w 2127003"/>
                <a:gd name="connsiteY115" fmla="*/ 1171583 h 2079633"/>
                <a:gd name="connsiteX116" fmla="*/ 20048 w 2127003"/>
                <a:gd name="connsiteY116" fmla="*/ 1149358 h 2079633"/>
                <a:gd name="connsiteX117" fmla="*/ 16873 w 2127003"/>
                <a:gd name="connsiteY117" fmla="*/ 1133483 h 2079633"/>
                <a:gd name="connsiteX118" fmla="*/ 7348 w 2127003"/>
                <a:gd name="connsiteY118" fmla="*/ 1095383 h 2079633"/>
                <a:gd name="connsiteX119" fmla="*/ 998 w 2127003"/>
                <a:gd name="connsiteY119" fmla="*/ 1012833 h 2079633"/>
                <a:gd name="connsiteX120" fmla="*/ 10523 w 2127003"/>
                <a:gd name="connsiteY120" fmla="*/ 882658 h 2079633"/>
                <a:gd name="connsiteX121" fmla="*/ 35923 w 2127003"/>
                <a:gd name="connsiteY121" fmla="*/ 835033 h 2079633"/>
                <a:gd name="connsiteX122" fmla="*/ 51798 w 2127003"/>
                <a:gd name="connsiteY122" fmla="*/ 806458 h 2079633"/>
                <a:gd name="connsiteX123" fmla="*/ 83548 w 2127003"/>
                <a:gd name="connsiteY123" fmla="*/ 762008 h 2079633"/>
                <a:gd name="connsiteX124" fmla="*/ 99423 w 2127003"/>
                <a:gd name="connsiteY124" fmla="*/ 742958 h 2079633"/>
                <a:gd name="connsiteX125" fmla="*/ 143873 w 2127003"/>
                <a:gd name="connsiteY125" fmla="*/ 676283 h 2079633"/>
                <a:gd name="connsiteX126" fmla="*/ 308973 w 2127003"/>
                <a:gd name="connsiteY126" fmla="*/ 523883 h 2079633"/>
                <a:gd name="connsiteX127" fmla="*/ 366123 w 2127003"/>
                <a:gd name="connsiteY127" fmla="*/ 463558 h 2079633"/>
                <a:gd name="connsiteX128" fmla="*/ 416923 w 2127003"/>
                <a:gd name="connsiteY128" fmla="*/ 409583 h 2079633"/>
                <a:gd name="connsiteX129" fmla="*/ 445498 w 2127003"/>
                <a:gd name="connsiteY129" fmla="*/ 377833 h 2079633"/>
                <a:gd name="connsiteX130" fmla="*/ 493123 w 2127003"/>
                <a:gd name="connsiteY130" fmla="*/ 333383 h 2079633"/>
                <a:gd name="connsiteX131" fmla="*/ 712198 w 2127003"/>
                <a:gd name="connsiteY131" fmla="*/ 136533 h 2079633"/>
                <a:gd name="connsiteX132" fmla="*/ 750298 w 2127003"/>
                <a:gd name="connsiteY132" fmla="*/ 111133 h 2079633"/>
                <a:gd name="connsiteX133" fmla="*/ 785223 w 2127003"/>
                <a:gd name="connsiteY133" fmla="*/ 88908 h 2079633"/>
                <a:gd name="connsiteX134" fmla="*/ 883648 w 2127003"/>
                <a:gd name="connsiteY134" fmla="*/ 38108 h 2079633"/>
                <a:gd name="connsiteX135" fmla="*/ 1077323 w 2127003"/>
                <a:gd name="connsiteY135" fmla="*/ 8 h 2079633"/>
                <a:gd name="connsiteX136" fmla="*/ 1267823 w 2127003"/>
                <a:gd name="connsiteY136" fmla="*/ 34933 h 2079633"/>
                <a:gd name="connsiteX137" fmla="*/ 1296398 w 2127003"/>
                <a:gd name="connsiteY137" fmla="*/ 47633 h 2079633"/>
                <a:gd name="connsiteX0" fmla="*/ 1197973 w 2127003"/>
                <a:gd name="connsiteY0" fmla="*/ 25408 h 2079633"/>
                <a:gd name="connsiteX1" fmla="*/ 1217023 w 2127003"/>
                <a:gd name="connsiteY1" fmla="*/ 34933 h 2079633"/>
                <a:gd name="connsiteX2" fmla="*/ 1239248 w 2127003"/>
                <a:gd name="connsiteY2" fmla="*/ 38108 h 2079633"/>
                <a:gd name="connsiteX3" fmla="*/ 1258298 w 2127003"/>
                <a:gd name="connsiteY3" fmla="*/ 50808 h 2079633"/>
                <a:gd name="connsiteX4" fmla="*/ 1270998 w 2127003"/>
                <a:gd name="connsiteY4" fmla="*/ 57158 h 2079633"/>
                <a:gd name="connsiteX5" fmla="*/ 1290048 w 2127003"/>
                <a:gd name="connsiteY5" fmla="*/ 73033 h 2079633"/>
                <a:gd name="connsiteX6" fmla="*/ 1309098 w 2127003"/>
                <a:gd name="connsiteY6" fmla="*/ 79383 h 2079633"/>
                <a:gd name="connsiteX7" fmla="*/ 1324973 w 2127003"/>
                <a:gd name="connsiteY7" fmla="*/ 92083 h 2079633"/>
                <a:gd name="connsiteX8" fmla="*/ 1334498 w 2127003"/>
                <a:gd name="connsiteY8" fmla="*/ 95258 h 2079633"/>
                <a:gd name="connsiteX9" fmla="*/ 1340848 w 2127003"/>
                <a:gd name="connsiteY9" fmla="*/ 104783 h 2079633"/>
                <a:gd name="connsiteX10" fmla="*/ 1356723 w 2127003"/>
                <a:gd name="connsiteY10" fmla="*/ 114308 h 2079633"/>
                <a:gd name="connsiteX11" fmla="*/ 1382123 w 2127003"/>
                <a:gd name="connsiteY11" fmla="*/ 133358 h 2079633"/>
                <a:gd name="connsiteX12" fmla="*/ 1391648 w 2127003"/>
                <a:gd name="connsiteY12" fmla="*/ 139708 h 2079633"/>
                <a:gd name="connsiteX13" fmla="*/ 1432923 w 2127003"/>
                <a:gd name="connsiteY13" fmla="*/ 184158 h 2079633"/>
                <a:gd name="connsiteX14" fmla="*/ 1442448 w 2127003"/>
                <a:gd name="connsiteY14" fmla="*/ 196858 h 2079633"/>
                <a:gd name="connsiteX15" fmla="*/ 1455148 w 2127003"/>
                <a:gd name="connsiteY15" fmla="*/ 219083 h 2079633"/>
                <a:gd name="connsiteX16" fmla="*/ 1499598 w 2127003"/>
                <a:gd name="connsiteY16" fmla="*/ 260358 h 2079633"/>
                <a:gd name="connsiteX17" fmla="*/ 1512298 w 2127003"/>
                <a:gd name="connsiteY17" fmla="*/ 276233 h 2079633"/>
                <a:gd name="connsiteX18" fmla="*/ 1524998 w 2127003"/>
                <a:gd name="connsiteY18" fmla="*/ 288933 h 2079633"/>
                <a:gd name="connsiteX19" fmla="*/ 1531348 w 2127003"/>
                <a:gd name="connsiteY19" fmla="*/ 298458 h 2079633"/>
                <a:gd name="connsiteX20" fmla="*/ 1550398 w 2127003"/>
                <a:gd name="connsiteY20" fmla="*/ 317508 h 2079633"/>
                <a:gd name="connsiteX21" fmla="*/ 1559923 w 2127003"/>
                <a:gd name="connsiteY21" fmla="*/ 327033 h 2079633"/>
                <a:gd name="connsiteX22" fmla="*/ 1569448 w 2127003"/>
                <a:gd name="connsiteY22" fmla="*/ 339733 h 2079633"/>
                <a:gd name="connsiteX23" fmla="*/ 1594848 w 2127003"/>
                <a:gd name="connsiteY23" fmla="*/ 358783 h 2079633"/>
                <a:gd name="connsiteX24" fmla="*/ 1632948 w 2127003"/>
                <a:gd name="connsiteY24" fmla="*/ 390533 h 2079633"/>
                <a:gd name="connsiteX25" fmla="*/ 1648823 w 2127003"/>
                <a:gd name="connsiteY25" fmla="*/ 409583 h 2079633"/>
                <a:gd name="connsiteX26" fmla="*/ 1661523 w 2127003"/>
                <a:gd name="connsiteY26" fmla="*/ 419108 h 2079633"/>
                <a:gd name="connsiteX27" fmla="*/ 1683748 w 2127003"/>
                <a:gd name="connsiteY27" fmla="*/ 441333 h 2079633"/>
                <a:gd name="connsiteX28" fmla="*/ 1702798 w 2127003"/>
                <a:gd name="connsiteY28" fmla="*/ 460383 h 2079633"/>
                <a:gd name="connsiteX29" fmla="*/ 1712323 w 2127003"/>
                <a:gd name="connsiteY29" fmla="*/ 469908 h 2079633"/>
                <a:gd name="connsiteX30" fmla="*/ 1744073 w 2127003"/>
                <a:gd name="connsiteY30" fmla="*/ 495308 h 2079633"/>
                <a:gd name="connsiteX31" fmla="*/ 1753598 w 2127003"/>
                <a:gd name="connsiteY31" fmla="*/ 504833 h 2079633"/>
                <a:gd name="connsiteX32" fmla="*/ 1766298 w 2127003"/>
                <a:gd name="connsiteY32" fmla="*/ 514358 h 2079633"/>
                <a:gd name="connsiteX33" fmla="*/ 1782173 w 2127003"/>
                <a:gd name="connsiteY33" fmla="*/ 530233 h 2079633"/>
                <a:gd name="connsiteX34" fmla="*/ 1813923 w 2127003"/>
                <a:gd name="connsiteY34" fmla="*/ 555633 h 2079633"/>
                <a:gd name="connsiteX35" fmla="*/ 1817098 w 2127003"/>
                <a:gd name="connsiteY35" fmla="*/ 565158 h 2079633"/>
                <a:gd name="connsiteX36" fmla="*/ 1842498 w 2127003"/>
                <a:gd name="connsiteY36" fmla="*/ 587383 h 2079633"/>
                <a:gd name="connsiteX37" fmla="*/ 1893298 w 2127003"/>
                <a:gd name="connsiteY37" fmla="*/ 644533 h 2079633"/>
                <a:gd name="connsiteX38" fmla="*/ 1918698 w 2127003"/>
                <a:gd name="connsiteY38" fmla="*/ 663583 h 2079633"/>
                <a:gd name="connsiteX39" fmla="*/ 1931398 w 2127003"/>
                <a:gd name="connsiteY39" fmla="*/ 669933 h 2079633"/>
                <a:gd name="connsiteX40" fmla="*/ 1979023 w 2127003"/>
                <a:gd name="connsiteY40" fmla="*/ 720733 h 2079633"/>
                <a:gd name="connsiteX41" fmla="*/ 1988548 w 2127003"/>
                <a:gd name="connsiteY41" fmla="*/ 730258 h 2079633"/>
                <a:gd name="connsiteX42" fmla="*/ 2017123 w 2127003"/>
                <a:gd name="connsiteY42" fmla="*/ 755658 h 2079633"/>
                <a:gd name="connsiteX43" fmla="*/ 2023473 w 2127003"/>
                <a:gd name="connsiteY43" fmla="*/ 765183 h 2079633"/>
                <a:gd name="connsiteX44" fmla="*/ 2048873 w 2127003"/>
                <a:gd name="connsiteY44" fmla="*/ 812808 h 2079633"/>
                <a:gd name="connsiteX45" fmla="*/ 2071098 w 2127003"/>
                <a:gd name="connsiteY45" fmla="*/ 838208 h 2079633"/>
                <a:gd name="connsiteX46" fmla="*/ 2090148 w 2127003"/>
                <a:gd name="connsiteY46" fmla="*/ 895358 h 2079633"/>
                <a:gd name="connsiteX47" fmla="*/ 2121898 w 2127003"/>
                <a:gd name="connsiteY47" fmla="*/ 971558 h 2079633"/>
                <a:gd name="connsiteX48" fmla="*/ 2125073 w 2127003"/>
                <a:gd name="connsiteY48" fmla="*/ 1162058 h 2079633"/>
                <a:gd name="connsiteX49" fmla="*/ 2102848 w 2127003"/>
                <a:gd name="connsiteY49" fmla="*/ 1212858 h 2079633"/>
                <a:gd name="connsiteX50" fmla="*/ 1928223 w 2127003"/>
                <a:gd name="connsiteY50" fmla="*/ 1435108 h 2079633"/>
                <a:gd name="connsiteX51" fmla="*/ 1905998 w 2127003"/>
                <a:gd name="connsiteY51" fmla="*/ 1454158 h 2079633"/>
                <a:gd name="connsiteX52" fmla="*/ 1848848 w 2127003"/>
                <a:gd name="connsiteY52" fmla="*/ 1485908 h 2079633"/>
                <a:gd name="connsiteX53" fmla="*/ 1810748 w 2127003"/>
                <a:gd name="connsiteY53" fmla="*/ 1517658 h 2079633"/>
                <a:gd name="connsiteX54" fmla="*/ 1791698 w 2127003"/>
                <a:gd name="connsiteY54" fmla="*/ 1533533 h 2079633"/>
                <a:gd name="connsiteX55" fmla="*/ 1775823 w 2127003"/>
                <a:gd name="connsiteY55" fmla="*/ 1543058 h 2079633"/>
                <a:gd name="connsiteX56" fmla="*/ 1718673 w 2127003"/>
                <a:gd name="connsiteY56" fmla="*/ 1606558 h 2079633"/>
                <a:gd name="connsiteX57" fmla="*/ 1709148 w 2127003"/>
                <a:gd name="connsiteY57" fmla="*/ 1619258 h 2079633"/>
                <a:gd name="connsiteX58" fmla="*/ 1680573 w 2127003"/>
                <a:gd name="connsiteY58" fmla="*/ 1651008 h 2079633"/>
                <a:gd name="connsiteX59" fmla="*/ 1658348 w 2127003"/>
                <a:gd name="connsiteY59" fmla="*/ 1679583 h 2079633"/>
                <a:gd name="connsiteX60" fmla="*/ 1623423 w 2127003"/>
                <a:gd name="connsiteY60" fmla="*/ 1714508 h 2079633"/>
                <a:gd name="connsiteX61" fmla="*/ 1604373 w 2127003"/>
                <a:gd name="connsiteY61" fmla="*/ 1733558 h 2079633"/>
                <a:gd name="connsiteX62" fmla="*/ 1569448 w 2127003"/>
                <a:gd name="connsiteY62" fmla="*/ 1774833 h 2079633"/>
                <a:gd name="connsiteX63" fmla="*/ 1559923 w 2127003"/>
                <a:gd name="connsiteY63" fmla="*/ 1787533 h 2079633"/>
                <a:gd name="connsiteX64" fmla="*/ 1547223 w 2127003"/>
                <a:gd name="connsiteY64" fmla="*/ 1797058 h 2079633"/>
                <a:gd name="connsiteX65" fmla="*/ 1540873 w 2127003"/>
                <a:gd name="connsiteY65" fmla="*/ 1806583 h 2079633"/>
                <a:gd name="connsiteX66" fmla="*/ 1524998 w 2127003"/>
                <a:gd name="connsiteY66" fmla="*/ 1816108 h 2079633"/>
                <a:gd name="connsiteX67" fmla="*/ 1480548 w 2127003"/>
                <a:gd name="connsiteY67" fmla="*/ 1860558 h 2079633"/>
                <a:gd name="connsiteX68" fmla="*/ 1464673 w 2127003"/>
                <a:gd name="connsiteY68" fmla="*/ 1879608 h 2079633"/>
                <a:gd name="connsiteX69" fmla="*/ 1455148 w 2127003"/>
                <a:gd name="connsiteY69" fmla="*/ 1892308 h 2079633"/>
                <a:gd name="connsiteX70" fmla="*/ 1445623 w 2127003"/>
                <a:gd name="connsiteY70" fmla="*/ 1901833 h 2079633"/>
                <a:gd name="connsiteX71" fmla="*/ 1432923 w 2127003"/>
                <a:gd name="connsiteY71" fmla="*/ 1917708 h 2079633"/>
                <a:gd name="connsiteX72" fmla="*/ 1423398 w 2127003"/>
                <a:gd name="connsiteY72" fmla="*/ 1927233 h 2079633"/>
                <a:gd name="connsiteX73" fmla="*/ 1417048 w 2127003"/>
                <a:gd name="connsiteY73" fmla="*/ 1936758 h 2079633"/>
                <a:gd name="connsiteX74" fmla="*/ 1391648 w 2127003"/>
                <a:gd name="connsiteY74" fmla="*/ 1955808 h 2079633"/>
                <a:gd name="connsiteX75" fmla="*/ 1356723 w 2127003"/>
                <a:gd name="connsiteY75" fmla="*/ 1971683 h 2079633"/>
                <a:gd name="connsiteX76" fmla="*/ 1344023 w 2127003"/>
                <a:gd name="connsiteY76" fmla="*/ 1978033 h 2079633"/>
                <a:gd name="connsiteX77" fmla="*/ 1331323 w 2127003"/>
                <a:gd name="connsiteY77" fmla="*/ 1987558 h 2079633"/>
                <a:gd name="connsiteX78" fmla="*/ 1312273 w 2127003"/>
                <a:gd name="connsiteY78" fmla="*/ 2006608 h 2079633"/>
                <a:gd name="connsiteX79" fmla="*/ 1270998 w 2127003"/>
                <a:gd name="connsiteY79" fmla="*/ 2025658 h 2079633"/>
                <a:gd name="connsiteX80" fmla="*/ 1258298 w 2127003"/>
                <a:gd name="connsiteY80" fmla="*/ 2032008 h 2079633"/>
                <a:gd name="connsiteX81" fmla="*/ 1236073 w 2127003"/>
                <a:gd name="connsiteY81" fmla="*/ 2038358 h 2079633"/>
                <a:gd name="connsiteX82" fmla="*/ 1226548 w 2127003"/>
                <a:gd name="connsiteY82" fmla="*/ 2044708 h 2079633"/>
                <a:gd name="connsiteX83" fmla="*/ 1217023 w 2127003"/>
                <a:gd name="connsiteY83" fmla="*/ 2047883 h 2079633"/>
                <a:gd name="connsiteX84" fmla="*/ 1175748 w 2127003"/>
                <a:gd name="connsiteY84" fmla="*/ 2057408 h 2079633"/>
                <a:gd name="connsiteX85" fmla="*/ 1150348 w 2127003"/>
                <a:gd name="connsiteY85" fmla="*/ 2070108 h 2079633"/>
                <a:gd name="connsiteX86" fmla="*/ 1102723 w 2127003"/>
                <a:gd name="connsiteY86" fmla="*/ 2079633 h 2079633"/>
                <a:gd name="connsiteX87" fmla="*/ 928098 w 2127003"/>
                <a:gd name="connsiteY87" fmla="*/ 2070108 h 2079633"/>
                <a:gd name="connsiteX88" fmla="*/ 886823 w 2127003"/>
                <a:gd name="connsiteY88" fmla="*/ 2054233 h 2079633"/>
                <a:gd name="connsiteX89" fmla="*/ 861423 w 2127003"/>
                <a:gd name="connsiteY89" fmla="*/ 2051058 h 2079633"/>
                <a:gd name="connsiteX90" fmla="*/ 845548 w 2127003"/>
                <a:gd name="connsiteY90" fmla="*/ 2035183 h 2079633"/>
                <a:gd name="connsiteX91" fmla="*/ 769348 w 2127003"/>
                <a:gd name="connsiteY91" fmla="*/ 1974858 h 2079633"/>
                <a:gd name="connsiteX92" fmla="*/ 747123 w 2127003"/>
                <a:gd name="connsiteY92" fmla="*/ 1946283 h 2079633"/>
                <a:gd name="connsiteX93" fmla="*/ 731248 w 2127003"/>
                <a:gd name="connsiteY93" fmla="*/ 1933583 h 2079633"/>
                <a:gd name="connsiteX94" fmla="*/ 715373 w 2127003"/>
                <a:gd name="connsiteY94" fmla="*/ 1917708 h 2079633"/>
                <a:gd name="connsiteX95" fmla="*/ 699498 w 2127003"/>
                <a:gd name="connsiteY95" fmla="*/ 1905008 h 2079633"/>
                <a:gd name="connsiteX96" fmla="*/ 680448 w 2127003"/>
                <a:gd name="connsiteY96" fmla="*/ 1885958 h 2079633"/>
                <a:gd name="connsiteX97" fmla="*/ 642348 w 2127003"/>
                <a:gd name="connsiteY97" fmla="*/ 1854208 h 2079633"/>
                <a:gd name="connsiteX98" fmla="*/ 601073 w 2127003"/>
                <a:gd name="connsiteY98" fmla="*/ 1806583 h 2079633"/>
                <a:gd name="connsiteX99" fmla="*/ 578848 w 2127003"/>
                <a:gd name="connsiteY99" fmla="*/ 1781183 h 2079633"/>
                <a:gd name="connsiteX100" fmla="*/ 537573 w 2127003"/>
                <a:gd name="connsiteY100" fmla="*/ 1739908 h 2079633"/>
                <a:gd name="connsiteX101" fmla="*/ 499473 w 2127003"/>
                <a:gd name="connsiteY101" fmla="*/ 1704983 h 2079633"/>
                <a:gd name="connsiteX102" fmla="*/ 470898 w 2127003"/>
                <a:gd name="connsiteY102" fmla="*/ 1670058 h 2079633"/>
                <a:gd name="connsiteX103" fmla="*/ 413748 w 2127003"/>
                <a:gd name="connsiteY103" fmla="*/ 1622433 h 2079633"/>
                <a:gd name="connsiteX104" fmla="*/ 401048 w 2127003"/>
                <a:gd name="connsiteY104" fmla="*/ 1612908 h 2079633"/>
                <a:gd name="connsiteX105" fmla="*/ 369298 w 2127003"/>
                <a:gd name="connsiteY105" fmla="*/ 1584333 h 2079633"/>
                <a:gd name="connsiteX106" fmla="*/ 328023 w 2127003"/>
                <a:gd name="connsiteY106" fmla="*/ 1558933 h 2079633"/>
                <a:gd name="connsiteX107" fmla="*/ 302623 w 2127003"/>
                <a:gd name="connsiteY107" fmla="*/ 1539883 h 2079633"/>
                <a:gd name="connsiteX108" fmla="*/ 223248 w 2127003"/>
                <a:gd name="connsiteY108" fmla="*/ 1470033 h 2079633"/>
                <a:gd name="connsiteX109" fmla="*/ 175623 w 2127003"/>
                <a:gd name="connsiteY109" fmla="*/ 1412883 h 2079633"/>
                <a:gd name="connsiteX110" fmla="*/ 118473 w 2127003"/>
                <a:gd name="connsiteY110" fmla="*/ 1339858 h 2079633"/>
                <a:gd name="connsiteX111" fmla="*/ 83548 w 2127003"/>
                <a:gd name="connsiteY111" fmla="*/ 1292233 h 2079633"/>
                <a:gd name="connsiteX112" fmla="*/ 64498 w 2127003"/>
                <a:gd name="connsiteY112" fmla="*/ 1266833 h 2079633"/>
                <a:gd name="connsiteX113" fmla="*/ 35923 w 2127003"/>
                <a:gd name="connsiteY113" fmla="*/ 1206508 h 2079633"/>
                <a:gd name="connsiteX114" fmla="*/ 26398 w 2127003"/>
                <a:gd name="connsiteY114" fmla="*/ 1171583 h 2079633"/>
                <a:gd name="connsiteX115" fmla="*/ 20048 w 2127003"/>
                <a:gd name="connsiteY115" fmla="*/ 1149358 h 2079633"/>
                <a:gd name="connsiteX116" fmla="*/ 16873 w 2127003"/>
                <a:gd name="connsiteY116" fmla="*/ 1133483 h 2079633"/>
                <a:gd name="connsiteX117" fmla="*/ 7348 w 2127003"/>
                <a:gd name="connsiteY117" fmla="*/ 1095383 h 2079633"/>
                <a:gd name="connsiteX118" fmla="*/ 998 w 2127003"/>
                <a:gd name="connsiteY118" fmla="*/ 1012833 h 2079633"/>
                <a:gd name="connsiteX119" fmla="*/ 10523 w 2127003"/>
                <a:gd name="connsiteY119" fmla="*/ 882658 h 2079633"/>
                <a:gd name="connsiteX120" fmla="*/ 35923 w 2127003"/>
                <a:gd name="connsiteY120" fmla="*/ 835033 h 2079633"/>
                <a:gd name="connsiteX121" fmla="*/ 51798 w 2127003"/>
                <a:gd name="connsiteY121" fmla="*/ 806458 h 2079633"/>
                <a:gd name="connsiteX122" fmla="*/ 83548 w 2127003"/>
                <a:gd name="connsiteY122" fmla="*/ 762008 h 2079633"/>
                <a:gd name="connsiteX123" fmla="*/ 99423 w 2127003"/>
                <a:gd name="connsiteY123" fmla="*/ 742958 h 2079633"/>
                <a:gd name="connsiteX124" fmla="*/ 143873 w 2127003"/>
                <a:gd name="connsiteY124" fmla="*/ 676283 h 2079633"/>
                <a:gd name="connsiteX125" fmla="*/ 308973 w 2127003"/>
                <a:gd name="connsiteY125" fmla="*/ 523883 h 2079633"/>
                <a:gd name="connsiteX126" fmla="*/ 366123 w 2127003"/>
                <a:gd name="connsiteY126" fmla="*/ 463558 h 2079633"/>
                <a:gd name="connsiteX127" fmla="*/ 416923 w 2127003"/>
                <a:gd name="connsiteY127" fmla="*/ 409583 h 2079633"/>
                <a:gd name="connsiteX128" fmla="*/ 445498 w 2127003"/>
                <a:gd name="connsiteY128" fmla="*/ 377833 h 2079633"/>
                <a:gd name="connsiteX129" fmla="*/ 493123 w 2127003"/>
                <a:gd name="connsiteY129" fmla="*/ 333383 h 2079633"/>
                <a:gd name="connsiteX130" fmla="*/ 712198 w 2127003"/>
                <a:gd name="connsiteY130" fmla="*/ 136533 h 2079633"/>
                <a:gd name="connsiteX131" fmla="*/ 750298 w 2127003"/>
                <a:gd name="connsiteY131" fmla="*/ 111133 h 2079633"/>
                <a:gd name="connsiteX132" fmla="*/ 785223 w 2127003"/>
                <a:gd name="connsiteY132" fmla="*/ 88908 h 2079633"/>
                <a:gd name="connsiteX133" fmla="*/ 883648 w 2127003"/>
                <a:gd name="connsiteY133" fmla="*/ 38108 h 2079633"/>
                <a:gd name="connsiteX134" fmla="*/ 1077323 w 2127003"/>
                <a:gd name="connsiteY134" fmla="*/ 8 h 2079633"/>
                <a:gd name="connsiteX135" fmla="*/ 1267823 w 2127003"/>
                <a:gd name="connsiteY135" fmla="*/ 34933 h 2079633"/>
                <a:gd name="connsiteX136" fmla="*/ 1296398 w 2127003"/>
                <a:gd name="connsiteY136" fmla="*/ 47633 h 2079633"/>
                <a:gd name="connsiteX0" fmla="*/ 1197973 w 2142482"/>
                <a:gd name="connsiteY0" fmla="*/ 25408 h 2079633"/>
                <a:gd name="connsiteX1" fmla="*/ 1217023 w 2142482"/>
                <a:gd name="connsiteY1" fmla="*/ 34933 h 2079633"/>
                <a:gd name="connsiteX2" fmla="*/ 1239248 w 2142482"/>
                <a:gd name="connsiteY2" fmla="*/ 38108 h 2079633"/>
                <a:gd name="connsiteX3" fmla="*/ 1258298 w 2142482"/>
                <a:gd name="connsiteY3" fmla="*/ 50808 h 2079633"/>
                <a:gd name="connsiteX4" fmla="*/ 1270998 w 2142482"/>
                <a:gd name="connsiteY4" fmla="*/ 57158 h 2079633"/>
                <a:gd name="connsiteX5" fmla="*/ 1290048 w 2142482"/>
                <a:gd name="connsiteY5" fmla="*/ 73033 h 2079633"/>
                <a:gd name="connsiteX6" fmla="*/ 1309098 w 2142482"/>
                <a:gd name="connsiteY6" fmla="*/ 79383 h 2079633"/>
                <a:gd name="connsiteX7" fmla="*/ 1324973 w 2142482"/>
                <a:gd name="connsiteY7" fmla="*/ 92083 h 2079633"/>
                <a:gd name="connsiteX8" fmla="*/ 1334498 w 2142482"/>
                <a:gd name="connsiteY8" fmla="*/ 95258 h 2079633"/>
                <a:gd name="connsiteX9" fmla="*/ 1340848 w 2142482"/>
                <a:gd name="connsiteY9" fmla="*/ 104783 h 2079633"/>
                <a:gd name="connsiteX10" fmla="*/ 1356723 w 2142482"/>
                <a:gd name="connsiteY10" fmla="*/ 114308 h 2079633"/>
                <a:gd name="connsiteX11" fmla="*/ 1382123 w 2142482"/>
                <a:gd name="connsiteY11" fmla="*/ 133358 h 2079633"/>
                <a:gd name="connsiteX12" fmla="*/ 1391648 w 2142482"/>
                <a:gd name="connsiteY12" fmla="*/ 139708 h 2079633"/>
                <a:gd name="connsiteX13" fmla="*/ 1432923 w 2142482"/>
                <a:gd name="connsiteY13" fmla="*/ 184158 h 2079633"/>
                <a:gd name="connsiteX14" fmla="*/ 1442448 w 2142482"/>
                <a:gd name="connsiteY14" fmla="*/ 196858 h 2079633"/>
                <a:gd name="connsiteX15" fmla="*/ 1455148 w 2142482"/>
                <a:gd name="connsiteY15" fmla="*/ 219083 h 2079633"/>
                <a:gd name="connsiteX16" fmla="*/ 1499598 w 2142482"/>
                <a:gd name="connsiteY16" fmla="*/ 260358 h 2079633"/>
                <a:gd name="connsiteX17" fmla="*/ 1512298 w 2142482"/>
                <a:gd name="connsiteY17" fmla="*/ 276233 h 2079633"/>
                <a:gd name="connsiteX18" fmla="*/ 1524998 w 2142482"/>
                <a:gd name="connsiteY18" fmla="*/ 288933 h 2079633"/>
                <a:gd name="connsiteX19" fmla="*/ 1531348 w 2142482"/>
                <a:gd name="connsiteY19" fmla="*/ 298458 h 2079633"/>
                <a:gd name="connsiteX20" fmla="*/ 1550398 w 2142482"/>
                <a:gd name="connsiteY20" fmla="*/ 317508 h 2079633"/>
                <a:gd name="connsiteX21" fmla="*/ 1559923 w 2142482"/>
                <a:gd name="connsiteY21" fmla="*/ 327033 h 2079633"/>
                <a:gd name="connsiteX22" fmla="*/ 1569448 w 2142482"/>
                <a:gd name="connsiteY22" fmla="*/ 339733 h 2079633"/>
                <a:gd name="connsiteX23" fmla="*/ 1594848 w 2142482"/>
                <a:gd name="connsiteY23" fmla="*/ 358783 h 2079633"/>
                <a:gd name="connsiteX24" fmla="*/ 1632948 w 2142482"/>
                <a:gd name="connsiteY24" fmla="*/ 390533 h 2079633"/>
                <a:gd name="connsiteX25" fmla="*/ 1648823 w 2142482"/>
                <a:gd name="connsiteY25" fmla="*/ 409583 h 2079633"/>
                <a:gd name="connsiteX26" fmla="*/ 1661523 w 2142482"/>
                <a:gd name="connsiteY26" fmla="*/ 419108 h 2079633"/>
                <a:gd name="connsiteX27" fmla="*/ 1683748 w 2142482"/>
                <a:gd name="connsiteY27" fmla="*/ 441333 h 2079633"/>
                <a:gd name="connsiteX28" fmla="*/ 1702798 w 2142482"/>
                <a:gd name="connsiteY28" fmla="*/ 460383 h 2079633"/>
                <a:gd name="connsiteX29" fmla="*/ 1712323 w 2142482"/>
                <a:gd name="connsiteY29" fmla="*/ 469908 h 2079633"/>
                <a:gd name="connsiteX30" fmla="*/ 1744073 w 2142482"/>
                <a:gd name="connsiteY30" fmla="*/ 495308 h 2079633"/>
                <a:gd name="connsiteX31" fmla="*/ 1753598 w 2142482"/>
                <a:gd name="connsiteY31" fmla="*/ 504833 h 2079633"/>
                <a:gd name="connsiteX32" fmla="*/ 1766298 w 2142482"/>
                <a:gd name="connsiteY32" fmla="*/ 514358 h 2079633"/>
                <a:gd name="connsiteX33" fmla="*/ 1782173 w 2142482"/>
                <a:gd name="connsiteY33" fmla="*/ 530233 h 2079633"/>
                <a:gd name="connsiteX34" fmla="*/ 1813923 w 2142482"/>
                <a:gd name="connsiteY34" fmla="*/ 555633 h 2079633"/>
                <a:gd name="connsiteX35" fmla="*/ 1817098 w 2142482"/>
                <a:gd name="connsiteY35" fmla="*/ 565158 h 2079633"/>
                <a:gd name="connsiteX36" fmla="*/ 1842498 w 2142482"/>
                <a:gd name="connsiteY36" fmla="*/ 587383 h 2079633"/>
                <a:gd name="connsiteX37" fmla="*/ 1893298 w 2142482"/>
                <a:gd name="connsiteY37" fmla="*/ 644533 h 2079633"/>
                <a:gd name="connsiteX38" fmla="*/ 1918698 w 2142482"/>
                <a:gd name="connsiteY38" fmla="*/ 663583 h 2079633"/>
                <a:gd name="connsiteX39" fmla="*/ 1931398 w 2142482"/>
                <a:gd name="connsiteY39" fmla="*/ 669933 h 2079633"/>
                <a:gd name="connsiteX40" fmla="*/ 1979023 w 2142482"/>
                <a:gd name="connsiteY40" fmla="*/ 720733 h 2079633"/>
                <a:gd name="connsiteX41" fmla="*/ 1988548 w 2142482"/>
                <a:gd name="connsiteY41" fmla="*/ 730258 h 2079633"/>
                <a:gd name="connsiteX42" fmla="*/ 2017123 w 2142482"/>
                <a:gd name="connsiteY42" fmla="*/ 755658 h 2079633"/>
                <a:gd name="connsiteX43" fmla="*/ 2023473 w 2142482"/>
                <a:gd name="connsiteY43" fmla="*/ 765183 h 2079633"/>
                <a:gd name="connsiteX44" fmla="*/ 2048873 w 2142482"/>
                <a:gd name="connsiteY44" fmla="*/ 812808 h 2079633"/>
                <a:gd name="connsiteX45" fmla="*/ 2071098 w 2142482"/>
                <a:gd name="connsiteY45" fmla="*/ 838208 h 2079633"/>
                <a:gd name="connsiteX46" fmla="*/ 2090148 w 2142482"/>
                <a:gd name="connsiteY46" fmla="*/ 895358 h 2079633"/>
                <a:gd name="connsiteX47" fmla="*/ 2121898 w 2142482"/>
                <a:gd name="connsiteY47" fmla="*/ 971558 h 2079633"/>
                <a:gd name="connsiteX48" fmla="*/ 2125073 w 2142482"/>
                <a:gd name="connsiteY48" fmla="*/ 1162058 h 2079633"/>
                <a:gd name="connsiteX49" fmla="*/ 2102848 w 2142482"/>
                <a:gd name="connsiteY49" fmla="*/ 1212858 h 2079633"/>
                <a:gd name="connsiteX50" fmla="*/ 1928223 w 2142482"/>
                <a:gd name="connsiteY50" fmla="*/ 1435108 h 2079633"/>
                <a:gd name="connsiteX51" fmla="*/ 1905998 w 2142482"/>
                <a:gd name="connsiteY51" fmla="*/ 1454158 h 2079633"/>
                <a:gd name="connsiteX52" fmla="*/ 1848848 w 2142482"/>
                <a:gd name="connsiteY52" fmla="*/ 1485908 h 2079633"/>
                <a:gd name="connsiteX53" fmla="*/ 1810748 w 2142482"/>
                <a:gd name="connsiteY53" fmla="*/ 1517658 h 2079633"/>
                <a:gd name="connsiteX54" fmla="*/ 1791698 w 2142482"/>
                <a:gd name="connsiteY54" fmla="*/ 1533533 h 2079633"/>
                <a:gd name="connsiteX55" fmla="*/ 1775823 w 2142482"/>
                <a:gd name="connsiteY55" fmla="*/ 1543058 h 2079633"/>
                <a:gd name="connsiteX56" fmla="*/ 1718673 w 2142482"/>
                <a:gd name="connsiteY56" fmla="*/ 1606558 h 2079633"/>
                <a:gd name="connsiteX57" fmla="*/ 1709148 w 2142482"/>
                <a:gd name="connsiteY57" fmla="*/ 1619258 h 2079633"/>
                <a:gd name="connsiteX58" fmla="*/ 1680573 w 2142482"/>
                <a:gd name="connsiteY58" fmla="*/ 1651008 h 2079633"/>
                <a:gd name="connsiteX59" fmla="*/ 1658348 w 2142482"/>
                <a:gd name="connsiteY59" fmla="*/ 1679583 h 2079633"/>
                <a:gd name="connsiteX60" fmla="*/ 1623423 w 2142482"/>
                <a:gd name="connsiteY60" fmla="*/ 1714508 h 2079633"/>
                <a:gd name="connsiteX61" fmla="*/ 1604373 w 2142482"/>
                <a:gd name="connsiteY61" fmla="*/ 1733558 h 2079633"/>
                <a:gd name="connsiteX62" fmla="*/ 1569448 w 2142482"/>
                <a:gd name="connsiteY62" fmla="*/ 1774833 h 2079633"/>
                <a:gd name="connsiteX63" fmla="*/ 1559923 w 2142482"/>
                <a:gd name="connsiteY63" fmla="*/ 1787533 h 2079633"/>
                <a:gd name="connsiteX64" fmla="*/ 1547223 w 2142482"/>
                <a:gd name="connsiteY64" fmla="*/ 1797058 h 2079633"/>
                <a:gd name="connsiteX65" fmla="*/ 1540873 w 2142482"/>
                <a:gd name="connsiteY65" fmla="*/ 1806583 h 2079633"/>
                <a:gd name="connsiteX66" fmla="*/ 1524998 w 2142482"/>
                <a:gd name="connsiteY66" fmla="*/ 1816108 h 2079633"/>
                <a:gd name="connsiteX67" fmla="*/ 1480548 w 2142482"/>
                <a:gd name="connsiteY67" fmla="*/ 1860558 h 2079633"/>
                <a:gd name="connsiteX68" fmla="*/ 1464673 w 2142482"/>
                <a:gd name="connsiteY68" fmla="*/ 1879608 h 2079633"/>
                <a:gd name="connsiteX69" fmla="*/ 1455148 w 2142482"/>
                <a:gd name="connsiteY69" fmla="*/ 1892308 h 2079633"/>
                <a:gd name="connsiteX70" fmla="*/ 1445623 w 2142482"/>
                <a:gd name="connsiteY70" fmla="*/ 1901833 h 2079633"/>
                <a:gd name="connsiteX71" fmla="*/ 1432923 w 2142482"/>
                <a:gd name="connsiteY71" fmla="*/ 1917708 h 2079633"/>
                <a:gd name="connsiteX72" fmla="*/ 1423398 w 2142482"/>
                <a:gd name="connsiteY72" fmla="*/ 1927233 h 2079633"/>
                <a:gd name="connsiteX73" fmla="*/ 1417048 w 2142482"/>
                <a:gd name="connsiteY73" fmla="*/ 1936758 h 2079633"/>
                <a:gd name="connsiteX74" fmla="*/ 1391648 w 2142482"/>
                <a:gd name="connsiteY74" fmla="*/ 1955808 h 2079633"/>
                <a:gd name="connsiteX75" fmla="*/ 1356723 w 2142482"/>
                <a:gd name="connsiteY75" fmla="*/ 1971683 h 2079633"/>
                <a:gd name="connsiteX76" fmla="*/ 1344023 w 2142482"/>
                <a:gd name="connsiteY76" fmla="*/ 1978033 h 2079633"/>
                <a:gd name="connsiteX77" fmla="*/ 1331323 w 2142482"/>
                <a:gd name="connsiteY77" fmla="*/ 1987558 h 2079633"/>
                <a:gd name="connsiteX78" fmla="*/ 1312273 w 2142482"/>
                <a:gd name="connsiteY78" fmla="*/ 2006608 h 2079633"/>
                <a:gd name="connsiteX79" fmla="*/ 1270998 w 2142482"/>
                <a:gd name="connsiteY79" fmla="*/ 2025658 h 2079633"/>
                <a:gd name="connsiteX80" fmla="*/ 1258298 w 2142482"/>
                <a:gd name="connsiteY80" fmla="*/ 2032008 h 2079633"/>
                <a:gd name="connsiteX81" fmla="*/ 1236073 w 2142482"/>
                <a:gd name="connsiteY81" fmla="*/ 2038358 h 2079633"/>
                <a:gd name="connsiteX82" fmla="*/ 1226548 w 2142482"/>
                <a:gd name="connsiteY82" fmla="*/ 2044708 h 2079633"/>
                <a:gd name="connsiteX83" fmla="*/ 1217023 w 2142482"/>
                <a:gd name="connsiteY83" fmla="*/ 2047883 h 2079633"/>
                <a:gd name="connsiteX84" fmla="*/ 1175748 w 2142482"/>
                <a:gd name="connsiteY84" fmla="*/ 2057408 h 2079633"/>
                <a:gd name="connsiteX85" fmla="*/ 1150348 w 2142482"/>
                <a:gd name="connsiteY85" fmla="*/ 2070108 h 2079633"/>
                <a:gd name="connsiteX86" fmla="*/ 1102723 w 2142482"/>
                <a:gd name="connsiteY86" fmla="*/ 2079633 h 2079633"/>
                <a:gd name="connsiteX87" fmla="*/ 928098 w 2142482"/>
                <a:gd name="connsiteY87" fmla="*/ 2070108 h 2079633"/>
                <a:gd name="connsiteX88" fmla="*/ 886823 w 2142482"/>
                <a:gd name="connsiteY88" fmla="*/ 2054233 h 2079633"/>
                <a:gd name="connsiteX89" fmla="*/ 861423 w 2142482"/>
                <a:gd name="connsiteY89" fmla="*/ 2051058 h 2079633"/>
                <a:gd name="connsiteX90" fmla="*/ 845548 w 2142482"/>
                <a:gd name="connsiteY90" fmla="*/ 2035183 h 2079633"/>
                <a:gd name="connsiteX91" fmla="*/ 769348 w 2142482"/>
                <a:gd name="connsiteY91" fmla="*/ 1974858 h 2079633"/>
                <a:gd name="connsiteX92" fmla="*/ 747123 w 2142482"/>
                <a:gd name="connsiteY92" fmla="*/ 1946283 h 2079633"/>
                <a:gd name="connsiteX93" fmla="*/ 731248 w 2142482"/>
                <a:gd name="connsiteY93" fmla="*/ 1933583 h 2079633"/>
                <a:gd name="connsiteX94" fmla="*/ 715373 w 2142482"/>
                <a:gd name="connsiteY94" fmla="*/ 1917708 h 2079633"/>
                <a:gd name="connsiteX95" fmla="*/ 699498 w 2142482"/>
                <a:gd name="connsiteY95" fmla="*/ 1905008 h 2079633"/>
                <a:gd name="connsiteX96" fmla="*/ 680448 w 2142482"/>
                <a:gd name="connsiteY96" fmla="*/ 1885958 h 2079633"/>
                <a:gd name="connsiteX97" fmla="*/ 642348 w 2142482"/>
                <a:gd name="connsiteY97" fmla="*/ 1854208 h 2079633"/>
                <a:gd name="connsiteX98" fmla="*/ 601073 w 2142482"/>
                <a:gd name="connsiteY98" fmla="*/ 1806583 h 2079633"/>
                <a:gd name="connsiteX99" fmla="*/ 578848 w 2142482"/>
                <a:gd name="connsiteY99" fmla="*/ 1781183 h 2079633"/>
                <a:gd name="connsiteX100" fmla="*/ 537573 w 2142482"/>
                <a:gd name="connsiteY100" fmla="*/ 1739908 h 2079633"/>
                <a:gd name="connsiteX101" fmla="*/ 499473 w 2142482"/>
                <a:gd name="connsiteY101" fmla="*/ 1704983 h 2079633"/>
                <a:gd name="connsiteX102" fmla="*/ 470898 w 2142482"/>
                <a:gd name="connsiteY102" fmla="*/ 1670058 h 2079633"/>
                <a:gd name="connsiteX103" fmla="*/ 413748 w 2142482"/>
                <a:gd name="connsiteY103" fmla="*/ 1622433 h 2079633"/>
                <a:gd name="connsiteX104" fmla="*/ 401048 w 2142482"/>
                <a:gd name="connsiteY104" fmla="*/ 1612908 h 2079633"/>
                <a:gd name="connsiteX105" fmla="*/ 369298 w 2142482"/>
                <a:gd name="connsiteY105" fmla="*/ 1584333 h 2079633"/>
                <a:gd name="connsiteX106" fmla="*/ 328023 w 2142482"/>
                <a:gd name="connsiteY106" fmla="*/ 1558933 h 2079633"/>
                <a:gd name="connsiteX107" fmla="*/ 302623 w 2142482"/>
                <a:gd name="connsiteY107" fmla="*/ 1539883 h 2079633"/>
                <a:gd name="connsiteX108" fmla="*/ 223248 w 2142482"/>
                <a:gd name="connsiteY108" fmla="*/ 1470033 h 2079633"/>
                <a:gd name="connsiteX109" fmla="*/ 175623 w 2142482"/>
                <a:gd name="connsiteY109" fmla="*/ 1412883 h 2079633"/>
                <a:gd name="connsiteX110" fmla="*/ 118473 w 2142482"/>
                <a:gd name="connsiteY110" fmla="*/ 1339858 h 2079633"/>
                <a:gd name="connsiteX111" fmla="*/ 83548 w 2142482"/>
                <a:gd name="connsiteY111" fmla="*/ 1292233 h 2079633"/>
                <a:gd name="connsiteX112" fmla="*/ 64498 w 2142482"/>
                <a:gd name="connsiteY112" fmla="*/ 1266833 h 2079633"/>
                <a:gd name="connsiteX113" fmla="*/ 35923 w 2142482"/>
                <a:gd name="connsiteY113" fmla="*/ 1206508 h 2079633"/>
                <a:gd name="connsiteX114" fmla="*/ 26398 w 2142482"/>
                <a:gd name="connsiteY114" fmla="*/ 1171583 h 2079633"/>
                <a:gd name="connsiteX115" fmla="*/ 20048 w 2142482"/>
                <a:gd name="connsiteY115" fmla="*/ 1149358 h 2079633"/>
                <a:gd name="connsiteX116" fmla="*/ 16873 w 2142482"/>
                <a:gd name="connsiteY116" fmla="*/ 1133483 h 2079633"/>
                <a:gd name="connsiteX117" fmla="*/ 7348 w 2142482"/>
                <a:gd name="connsiteY117" fmla="*/ 1095383 h 2079633"/>
                <a:gd name="connsiteX118" fmla="*/ 998 w 2142482"/>
                <a:gd name="connsiteY118" fmla="*/ 1012833 h 2079633"/>
                <a:gd name="connsiteX119" fmla="*/ 10523 w 2142482"/>
                <a:gd name="connsiteY119" fmla="*/ 882658 h 2079633"/>
                <a:gd name="connsiteX120" fmla="*/ 35923 w 2142482"/>
                <a:gd name="connsiteY120" fmla="*/ 835033 h 2079633"/>
                <a:gd name="connsiteX121" fmla="*/ 51798 w 2142482"/>
                <a:gd name="connsiteY121" fmla="*/ 806458 h 2079633"/>
                <a:gd name="connsiteX122" fmla="*/ 83548 w 2142482"/>
                <a:gd name="connsiteY122" fmla="*/ 762008 h 2079633"/>
                <a:gd name="connsiteX123" fmla="*/ 99423 w 2142482"/>
                <a:gd name="connsiteY123" fmla="*/ 742958 h 2079633"/>
                <a:gd name="connsiteX124" fmla="*/ 143873 w 2142482"/>
                <a:gd name="connsiteY124" fmla="*/ 676283 h 2079633"/>
                <a:gd name="connsiteX125" fmla="*/ 308973 w 2142482"/>
                <a:gd name="connsiteY125" fmla="*/ 523883 h 2079633"/>
                <a:gd name="connsiteX126" fmla="*/ 366123 w 2142482"/>
                <a:gd name="connsiteY126" fmla="*/ 463558 h 2079633"/>
                <a:gd name="connsiteX127" fmla="*/ 416923 w 2142482"/>
                <a:gd name="connsiteY127" fmla="*/ 409583 h 2079633"/>
                <a:gd name="connsiteX128" fmla="*/ 445498 w 2142482"/>
                <a:gd name="connsiteY128" fmla="*/ 377833 h 2079633"/>
                <a:gd name="connsiteX129" fmla="*/ 493123 w 2142482"/>
                <a:gd name="connsiteY129" fmla="*/ 333383 h 2079633"/>
                <a:gd name="connsiteX130" fmla="*/ 712198 w 2142482"/>
                <a:gd name="connsiteY130" fmla="*/ 136533 h 2079633"/>
                <a:gd name="connsiteX131" fmla="*/ 750298 w 2142482"/>
                <a:gd name="connsiteY131" fmla="*/ 111133 h 2079633"/>
                <a:gd name="connsiteX132" fmla="*/ 785223 w 2142482"/>
                <a:gd name="connsiteY132" fmla="*/ 88908 h 2079633"/>
                <a:gd name="connsiteX133" fmla="*/ 883648 w 2142482"/>
                <a:gd name="connsiteY133" fmla="*/ 38108 h 2079633"/>
                <a:gd name="connsiteX134" fmla="*/ 1077323 w 2142482"/>
                <a:gd name="connsiteY134" fmla="*/ 8 h 2079633"/>
                <a:gd name="connsiteX135" fmla="*/ 1267823 w 2142482"/>
                <a:gd name="connsiteY135" fmla="*/ 34933 h 2079633"/>
                <a:gd name="connsiteX136" fmla="*/ 1296398 w 2142482"/>
                <a:gd name="connsiteY136" fmla="*/ 47633 h 2079633"/>
                <a:gd name="connsiteX0" fmla="*/ 1197973 w 2139895"/>
                <a:gd name="connsiteY0" fmla="*/ 25408 h 2079633"/>
                <a:gd name="connsiteX1" fmla="*/ 1217023 w 2139895"/>
                <a:gd name="connsiteY1" fmla="*/ 34933 h 2079633"/>
                <a:gd name="connsiteX2" fmla="*/ 1239248 w 2139895"/>
                <a:gd name="connsiteY2" fmla="*/ 38108 h 2079633"/>
                <a:gd name="connsiteX3" fmla="*/ 1258298 w 2139895"/>
                <a:gd name="connsiteY3" fmla="*/ 50808 h 2079633"/>
                <a:gd name="connsiteX4" fmla="*/ 1270998 w 2139895"/>
                <a:gd name="connsiteY4" fmla="*/ 57158 h 2079633"/>
                <a:gd name="connsiteX5" fmla="*/ 1290048 w 2139895"/>
                <a:gd name="connsiteY5" fmla="*/ 73033 h 2079633"/>
                <a:gd name="connsiteX6" fmla="*/ 1309098 w 2139895"/>
                <a:gd name="connsiteY6" fmla="*/ 79383 h 2079633"/>
                <a:gd name="connsiteX7" fmla="*/ 1324973 w 2139895"/>
                <a:gd name="connsiteY7" fmla="*/ 92083 h 2079633"/>
                <a:gd name="connsiteX8" fmla="*/ 1334498 w 2139895"/>
                <a:gd name="connsiteY8" fmla="*/ 95258 h 2079633"/>
                <a:gd name="connsiteX9" fmla="*/ 1340848 w 2139895"/>
                <a:gd name="connsiteY9" fmla="*/ 104783 h 2079633"/>
                <a:gd name="connsiteX10" fmla="*/ 1356723 w 2139895"/>
                <a:gd name="connsiteY10" fmla="*/ 114308 h 2079633"/>
                <a:gd name="connsiteX11" fmla="*/ 1382123 w 2139895"/>
                <a:gd name="connsiteY11" fmla="*/ 133358 h 2079633"/>
                <a:gd name="connsiteX12" fmla="*/ 1391648 w 2139895"/>
                <a:gd name="connsiteY12" fmla="*/ 139708 h 2079633"/>
                <a:gd name="connsiteX13" fmla="*/ 1432923 w 2139895"/>
                <a:gd name="connsiteY13" fmla="*/ 184158 h 2079633"/>
                <a:gd name="connsiteX14" fmla="*/ 1442448 w 2139895"/>
                <a:gd name="connsiteY14" fmla="*/ 196858 h 2079633"/>
                <a:gd name="connsiteX15" fmla="*/ 1455148 w 2139895"/>
                <a:gd name="connsiteY15" fmla="*/ 219083 h 2079633"/>
                <a:gd name="connsiteX16" fmla="*/ 1499598 w 2139895"/>
                <a:gd name="connsiteY16" fmla="*/ 260358 h 2079633"/>
                <a:gd name="connsiteX17" fmla="*/ 1512298 w 2139895"/>
                <a:gd name="connsiteY17" fmla="*/ 276233 h 2079633"/>
                <a:gd name="connsiteX18" fmla="*/ 1524998 w 2139895"/>
                <a:gd name="connsiteY18" fmla="*/ 288933 h 2079633"/>
                <a:gd name="connsiteX19" fmla="*/ 1531348 w 2139895"/>
                <a:gd name="connsiteY19" fmla="*/ 298458 h 2079633"/>
                <a:gd name="connsiteX20" fmla="*/ 1550398 w 2139895"/>
                <a:gd name="connsiteY20" fmla="*/ 317508 h 2079633"/>
                <a:gd name="connsiteX21" fmla="*/ 1559923 w 2139895"/>
                <a:gd name="connsiteY21" fmla="*/ 327033 h 2079633"/>
                <a:gd name="connsiteX22" fmla="*/ 1569448 w 2139895"/>
                <a:gd name="connsiteY22" fmla="*/ 339733 h 2079633"/>
                <a:gd name="connsiteX23" fmla="*/ 1594848 w 2139895"/>
                <a:gd name="connsiteY23" fmla="*/ 358783 h 2079633"/>
                <a:gd name="connsiteX24" fmla="*/ 1632948 w 2139895"/>
                <a:gd name="connsiteY24" fmla="*/ 390533 h 2079633"/>
                <a:gd name="connsiteX25" fmla="*/ 1648823 w 2139895"/>
                <a:gd name="connsiteY25" fmla="*/ 409583 h 2079633"/>
                <a:gd name="connsiteX26" fmla="*/ 1661523 w 2139895"/>
                <a:gd name="connsiteY26" fmla="*/ 419108 h 2079633"/>
                <a:gd name="connsiteX27" fmla="*/ 1683748 w 2139895"/>
                <a:gd name="connsiteY27" fmla="*/ 441333 h 2079633"/>
                <a:gd name="connsiteX28" fmla="*/ 1702798 w 2139895"/>
                <a:gd name="connsiteY28" fmla="*/ 460383 h 2079633"/>
                <a:gd name="connsiteX29" fmla="*/ 1712323 w 2139895"/>
                <a:gd name="connsiteY29" fmla="*/ 469908 h 2079633"/>
                <a:gd name="connsiteX30" fmla="*/ 1744073 w 2139895"/>
                <a:gd name="connsiteY30" fmla="*/ 495308 h 2079633"/>
                <a:gd name="connsiteX31" fmla="*/ 1753598 w 2139895"/>
                <a:gd name="connsiteY31" fmla="*/ 504833 h 2079633"/>
                <a:gd name="connsiteX32" fmla="*/ 1766298 w 2139895"/>
                <a:gd name="connsiteY32" fmla="*/ 514358 h 2079633"/>
                <a:gd name="connsiteX33" fmla="*/ 1782173 w 2139895"/>
                <a:gd name="connsiteY33" fmla="*/ 530233 h 2079633"/>
                <a:gd name="connsiteX34" fmla="*/ 1813923 w 2139895"/>
                <a:gd name="connsiteY34" fmla="*/ 555633 h 2079633"/>
                <a:gd name="connsiteX35" fmla="*/ 1817098 w 2139895"/>
                <a:gd name="connsiteY35" fmla="*/ 565158 h 2079633"/>
                <a:gd name="connsiteX36" fmla="*/ 1842498 w 2139895"/>
                <a:gd name="connsiteY36" fmla="*/ 587383 h 2079633"/>
                <a:gd name="connsiteX37" fmla="*/ 1893298 w 2139895"/>
                <a:gd name="connsiteY37" fmla="*/ 644533 h 2079633"/>
                <a:gd name="connsiteX38" fmla="*/ 1918698 w 2139895"/>
                <a:gd name="connsiteY38" fmla="*/ 663583 h 2079633"/>
                <a:gd name="connsiteX39" fmla="*/ 1931398 w 2139895"/>
                <a:gd name="connsiteY39" fmla="*/ 669933 h 2079633"/>
                <a:gd name="connsiteX40" fmla="*/ 1979023 w 2139895"/>
                <a:gd name="connsiteY40" fmla="*/ 720733 h 2079633"/>
                <a:gd name="connsiteX41" fmla="*/ 1988548 w 2139895"/>
                <a:gd name="connsiteY41" fmla="*/ 730258 h 2079633"/>
                <a:gd name="connsiteX42" fmla="*/ 2017123 w 2139895"/>
                <a:gd name="connsiteY42" fmla="*/ 755658 h 2079633"/>
                <a:gd name="connsiteX43" fmla="*/ 2023473 w 2139895"/>
                <a:gd name="connsiteY43" fmla="*/ 765183 h 2079633"/>
                <a:gd name="connsiteX44" fmla="*/ 2048873 w 2139895"/>
                <a:gd name="connsiteY44" fmla="*/ 812808 h 2079633"/>
                <a:gd name="connsiteX45" fmla="*/ 2071098 w 2139895"/>
                <a:gd name="connsiteY45" fmla="*/ 838208 h 2079633"/>
                <a:gd name="connsiteX46" fmla="*/ 2090148 w 2139895"/>
                <a:gd name="connsiteY46" fmla="*/ 895358 h 2079633"/>
                <a:gd name="connsiteX47" fmla="*/ 2121898 w 2139895"/>
                <a:gd name="connsiteY47" fmla="*/ 971558 h 2079633"/>
                <a:gd name="connsiteX48" fmla="*/ 2125073 w 2139895"/>
                <a:gd name="connsiteY48" fmla="*/ 1162058 h 2079633"/>
                <a:gd name="connsiteX49" fmla="*/ 1928223 w 2139895"/>
                <a:gd name="connsiteY49" fmla="*/ 1435108 h 2079633"/>
                <a:gd name="connsiteX50" fmla="*/ 1905998 w 2139895"/>
                <a:gd name="connsiteY50" fmla="*/ 1454158 h 2079633"/>
                <a:gd name="connsiteX51" fmla="*/ 1848848 w 2139895"/>
                <a:gd name="connsiteY51" fmla="*/ 1485908 h 2079633"/>
                <a:gd name="connsiteX52" fmla="*/ 1810748 w 2139895"/>
                <a:gd name="connsiteY52" fmla="*/ 1517658 h 2079633"/>
                <a:gd name="connsiteX53" fmla="*/ 1791698 w 2139895"/>
                <a:gd name="connsiteY53" fmla="*/ 1533533 h 2079633"/>
                <a:gd name="connsiteX54" fmla="*/ 1775823 w 2139895"/>
                <a:gd name="connsiteY54" fmla="*/ 1543058 h 2079633"/>
                <a:gd name="connsiteX55" fmla="*/ 1718673 w 2139895"/>
                <a:gd name="connsiteY55" fmla="*/ 1606558 h 2079633"/>
                <a:gd name="connsiteX56" fmla="*/ 1709148 w 2139895"/>
                <a:gd name="connsiteY56" fmla="*/ 1619258 h 2079633"/>
                <a:gd name="connsiteX57" fmla="*/ 1680573 w 2139895"/>
                <a:gd name="connsiteY57" fmla="*/ 1651008 h 2079633"/>
                <a:gd name="connsiteX58" fmla="*/ 1658348 w 2139895"/>
                <a:gd name="connsiteY58" fmla="*/ 1679583 h 2079633"/>
                <a:gd name="connsiteX59" fmla="*/ 1623423 w 2139895"/>
                <a:gd name="connsiteY59" fmla="*/ 1714508 h 2079633"/>
                <a:gd name="connsiteX60" fmla="*/ 1604373 w 2139895"/>
                <a:gd name="connsiteY60" fmla="*/ 1733558 h 2079633"/>
                <a:gd name="connsiteX61" fmla="*/ 1569448 w 2139895"/>
                <a:gd name="connsiteY61" fmla="*/ 1774833 h 2079633"/>
                <a:gd name="connsiteX62" fmla="*/ 1559923 w 2139895"/>
                <a:gd name="connsiteY62" fmla="*/ 1787533 h 2079633"/>
                <a:gd name="connsiteX63" fmla="*/ 1547223 w 2139895"/>
                <a:gd name="connsiteY63" fmla="*/ 1797058 h 2079633"/>
                <a:gd name="connsiteX64" fmla="*/ 1540873 w 2139895"/>
                <a:gd name="connsiteY64" fmla="*/ 1806583 h 2079633"/>
                <a:gd name="connsiteX65" fmla="*/ 1524998 w 2139895"/>
                <a:gd name="connsiteY65" fmla="*/ 1816108 h 2079633"/>
                <a:gd name="connsiteX66" fmla="*/ 1480548 w 2139895"/>
                <a:gd name="connsiteY66" fmla="*/ 1860558 h 2079633"/>
                <a:gd name="connsiteX67" fmla="*/ 1464673 w 2139895"/>
                <a:gd name="connsiteY67" fmla="*/ 1879608 h 2079633"/>
                <a:gd name="connsiteX68" fmla="*/ 1455148 w 2139895"/>
                <a:gd name="connsiteY68" fmla="*/ 1892308 h 2079633"/>
                <a:gd name="connsiteX69" fmla="*/ 1445623 w 2139895"/>
                <a:gd name="connsiteY69" fmla="*/ 1901833 h 2079633"/>
                <a:gd name="connsiteX70" fmla="*/ 1432923 w 2139895"/>
                <a:gd name="connsiteY70" fmla="*/ 1917708 h 2079633"/>
                <a:gd name="connsiteX71" fmla="*/ 1423398 w 2139895"/>
                <a:gd name="connsiteY71" fmla="*/ 1927233 h 2079633"/>
                <a:gd name="connsiteX72" fmla="*/ 1417048 w 2139895"/>
                <a:gd name="connsiteY72" fmla="*/ 1936758 h 2079633"/>
                <a:gd name="connsiteX73" fmla="*/ 1391648 w 2139895"/>
                <a:gd name="connsiteY73" fmla="*/ 1955808 h 2079633"/>
                <a:gd name="connsiteX74" fmla="*/ 1356723 w 2139895"/>
                <a:gd name="connsiteY74" fmla="*/ 1971683 h 2079633"/>
                <a:gd name="connsiteX75" fmla="*/ 1344023 w 2139895"/>
                <a:gd name="connsiteY75" fmla="*/ 1978033 h 2079633"/>
                <a:gd name="connsiteX76" fmla="*/ 1331323 w 2139895"/>
                <a:gd name="connsiteY76" fmla="*/ 1987558 h 2079633"/>
                <a:gd name="connsiteX77" fmla="*/ 1312273 w 2139895"/>
                <a:gd name="connsiteY77" fmla="*/ 2006608 h 2079633"/>
                <a:gd name="connsiteX78" fmla="*/ 1270998 w 2139895"/>
                <a:gd name="connsiteY78" fmla="*/ 2025658 h 2079633"/>
                <a:gd name="connsiteX79" fmla="*/ 1258298 w 2139895"/>
                <a:gd name="connsiteY79" fmla="*/ 2032008 h 2079633"/>
                <a:gd name="connsiteX80" fmla="*/ 1236073 w 2139895"/>
                <a:gd name="connsiteY80" fmla="*/ 2038358 h 2079633"/>
                <a:gd name="connsiteX81" fmla="*/ 1226548 w 2139895"/>
                <a:gd name="connsiteY81" fmla="*/ 2044708 h 2079633"/>
                <a:gd name="connsiteX82" fmla="*/ 1217023 w 2139895"/>
                <a:gd name="connsiteY82" fmla="*/ 2047883 h 2079633"/>
                <a:gd name="connsiteX83" fmla="*/ 1175748 w 2139895"/>
                <a:gd name="connsiteY83" fmla="*/ 2057408 h 2079633"/>
                <a:gd name="connsiteX84" fmla="*/ 1150348 w 2139895"/>
                <a:gd name="connsiteY84" fmla="*/ 2070108 h 2079633"/>
                <a:gd name="connsiteX85" fmla="*/ 1102723 w 2139895"/>
                <a:gd name="connsiteY85" fmla="*/ 2079633 h 2079633"/>
                <a:gd name="connsiteX86" fmla="*/ 928098 w 2139895"/>
                <a:gd name="connsiteY86" fmla="*/ 2070108 h 2079633"/>
                <a:gd name="connsiteX87" fmla="*/ 886823 w 2139895"/>
                <a:gd name="connsiteY87" fmla="*/ 2054233 h 2079633"/>
                <a:gd name="connsiteX88" fmla="*/ 861423 w 2139895"/>
                <a:gd name="connsiteY88" fmla="*/ 2051058 h 2079633"/>
                <a:gd name="connsiteX89" fmla="*/ 845548 w 2139895"/>
                <a:gd name="connsiteY89" fmla="*/ 2035183 h 2079633"/>
                <a:gd name="connsiteX90" fmla="*/ 769348 w 2139895"/>
                <a:gd name="connsiteY90" fmla="*/ 1974858 h 2079633"/>
                <a:gd name="connsiteX91" fmla="*/ 747123 w 2139895"/>
                <a:gd name="connsiteY91" fmla="*/ 1946283 h 2079633"/>
                <a:gd name="connsiteX92" fmla="*/ 731248 w 2139895"/>
                <a:gd name="connsiteY92" fmla="*/ 1933583 h 2079633"/>
                <a:gd name="connsiteX93" fmla="*/ 715373 w 2139895"/>
                <a:gd name="connsiteY93" fmla="*/ 1917708 h 2079633"/>
                <a:gd name="connsiteX94" fmla="*/ 699498 w 2139895"/>
                <a:gd name="connsiteY94" fmla="*/ 1905008 h 2079633"/>
                <a:gd name="connsiteX95" fmla="*/ 680448 w 2139895"/>
                <a:gd name="connsiteY95" fmla="*/ 1885958 h 2079633"/>
                <a:gd name="connsiteX96" fmla="*/ 642348 w 2139895"/>
                <a:gd name="connsiteY96" fmla="*/ 1854208 h 2079633"/>
                <a:gd name="connsiteX97" fmla="*/ 601073 w 2139895"/>
                <a:gd name="connsiteY97" fmla="*/ 1806583 h 2079633"/>
                <a:gd name="connsiteX98" fmla="*/ 578848 w 2139895"/>
                <a:gd name="connsiteY98" fmla="*/ 1781183 h 2079633"/>
                <a:gd name="connsiteX99" fmla="*/ 537573 w 2139895"/>
                <a:gd name="connsiteY99" fmla="*/ 1739908 h 2079633"/>
                <a:gd name="connsiteX100" fmla="*/ 499473 w 2139895"/>
                <a:gd name="connsiteY100" fmla="*/ 1704983 h 2079633"/>
                <a:gd name="connsiteX101" fmla="*/ 470898 w 2139895"/>
                <a:gd name="connsiteY101" fmla="*/ 1670058 h 2079633"/>
                <a:gd name="connsiteX102" fmla="*/ 413748 w 2139895"/>
                <a:gd name="connsiteY102" fmla="*/ 1622433 h 2079633"/>
                <a:gd name="connsiteX103" fmla="*/ 401048 w 2139895"/>
                <a:gd name="connsiteY103" fmla="*/ 1612908 h 2079633"/>
                <a:gd name="connsiteX104" fmla="*/ 369298 w 2139895"/>
                <a:gd name="connsiteY104" fmla="*/ 1584333 h 2079633"/>
                <a:gd name="connsiteX105" fmla="*/ 328023 w 2139895"/>
                <a:gd name="connsiteY105" fmla="*/ 1558933 h 2079633"/>
                <a:gd name="connsiteX106" fmla="*/ 302623 w 2139895"/>
                <a:gd name="connsiteY106" fmla="*/ 1539883 h 2079633"/>
                <a:gd name="connsiteX107" fmla="*/ 223248 w 2139895"/>
                <a:gd name="connsiteY107" fmla="*/ 1470033 h 2079633"/>
                <a:gd name="connsiteX108" fmla="*/ 175623 w 2139895"/>
                <a:gd name="connsiteY108" fmla="*/ 1412883 h 2079633"/>
                <a:gd name="connsiteX109" fmla="*/ 118473 w 2139895"/>
                <a:gd name="connsiteY109" fmla="*/ 1339858 h 2079633"/>
                <a:gd name="connsiteX110" fmla="*/ 83548 w 2139895"/>
                <a:gd name="connsiteY110" fmla="*/ 1292233 h 2079633"/>
                <a:gd name="connsiteX111" fmla="*/ 64498 w 2139895"/>
                <a:gd name="connsiteY111" fmla="*/ 1266833 h 2079633"/>
                <a:gd name="connsiteX112" fmla="*/ 35923 w 2139895"/>
                <a:gd name="connsiteY112" fmla="*/ 1206508 h 2079633"/>
                <a:gd name="connsiteX113" fmla="*/ 26398 w 2139895"/>
                <a:gd name="connsiteY113" fmla="*/ 1171583 h 2079633"/>
                <a:gd name="connsiteX114" fmla="*/ 20048 w 2139895"/>
                <a:gd name="connsiteY114" fmla="*/ 1149358 h 2079633"/>
                <a:gd name="connsiteX115" fmla="*/ 16873 w 2139895"/>
                <a:gd name="connsiteY115" fmla="*/ 1133483 h 2079633"/>
                <a:gd name="connsiteX116" fmla="*/ 7348 w 2139895"/>
                <a:gd name="connsiteY116" fmla="*/ 1095383 h 2079633"/>
                <a:gd name="connsiteX117" fmla="*/ 998 w 2139895"/>
                <a:gd name="connsiteY117" fmla="*/ 1012833 h 2079633"/>
                <a:gd name="connsiteX118" fmla="*/ 10523 w 2139895"/>
                <a:gd name="connsiteY118" fmla="*/ 882658 h 2079633"/>
                <a:gd name="connsiteX119" fmla="*/ 35923 w 2139895"/>
                <a:gd name="connsiteY119" fmla="*/ 835033 h 2079633"/>
                <a:gd name="connsiteX120" fmla="*/ 51798 w 2139895"/>
                <a:gd name="connsiteY120" fmla="*/ 806458 h 2079633"/>
                <a:gd name="connsiteX121" fmla="*/ 83548 w 2139895"/>
                <a:gd name="connsiteY121" fmla="*/ 762008 h 2079633"/>
                <a:gd name="connsiteX122" fmla="*/ 99423 w 2139895"/>
                <a:gd name="connsiteY122" fmla="*/ 742958 h 2079633"/>
                <a:gd name="connsiteX123" fmla="*/ 143873 w 2139895"/>
                <a:gd name="connsiteY123" fmla="*/ 676283 h 2079633"/>
                <a:gd name="connsiteX124" fmla="*/ 308973 w 2139895"/>
                <a:gd name="connsiteY124" fmla="*/ 523883 h 2079633"/>
                <a:gd name="connsiteX125" fmla="*/ 366123 w 2139895"/>
                <a:gd name="connsiteY125" fmla="*/ 463558 h 2079633"/>
                <a:gd name="connsiteX126" fmla="*/ 416923 w 2139895"/>
                <a:gd name="connsiteY126" fmla="*/ 409583 h 2079633"/>
                <a:gd name="connsiteX127" fmla="*/ 445498 w 2139895"/>
                <a:gd name="connsiteY127" fmla="*/ 377833 h 2079633"/>
                <a:gd name="connsiteX128" fmla="*/ 493123 w 2139895"/>
                <a:gd name="connsiteY128" fmla="*/ 333383 h 2079633"/>
                <a:gd name="connsiteX129" fmla="*/ 712198 w 2139895"/>
                <a:gd name="connsiteY129" fmla="*/ 136533 h 2079633"/>
                <a:gd name="connsiteX130" fmla="*/ 750298 w 2139895"/>
                <a:gd name="connsiteY130" fmla="*/ 111133 h 2079633"/>
                <a:gd name="connsiteX131" fmla="*/ 785223 w 2139895"/>
                <a:gd name="connsiteY131" fmla="*/ 88908 h 2079633"/>
                <a:gd name="connsiteX132" fmla="*/ 883648 w 2139895"/>
                <a:gd name="connsiteY132" fmla="*/ 38108 h 2079633"/>
                <a:gd name="connsiteX133" fmla="*/ 1077323 w 2139895"/>
                <a:gd name="connsiteY133" fmla="*/ 8 h 2079633"/>
                <a:gd name="connsiteX134" fmla="*/ 1267823 w 2139895"/>
                <a:gd name="connsiteY134" fmla="*/ 34933 h 2079633"/>
                <a:gd name="connsiteX135" fmla="*/ 1296398 w 2139895"/>
                <a:gd name="connsiteY135" fmla="*/ 47633 h 2079633"/>
                <a:gd name="connsiteX0" fmla="*/ 1197973 w 2137494"/>
                <a:gd name="connsiteY0" fmla="*/ 25408 h 2079633"/>
                <a:gd name="connsiteX1" fmla="*/ 1217023 w 2137494"/>
                <a:gd name="connsiteY1" fmla="*/ 34933 h 2079633"/>
                <a:gd name="connsiteX2" fmla="*/ 1239248 w 2137494"/>
                <a:gd name="connsiteY2" fmla="*/ 38108 h 2079633"/>
                <a:gd name="connsiteX3" fmla="*/ 1258298 w 2137494"/>
                <a:gd name="connsiteY3" fmla="*/ 50808 h 2079633"/>
                <a:gd name="connsiteX4" fmla="*/ 1270998 w 2137494"/>
                <a:gd name="connsiteY4" fmla="*/ 57158 h 2079633"/>
                <a:gd name="connsiteX5" fmla="*/ 1290048 w 2137494"/>
                <a:gd name="connsiteY5" fmla="*/ 73033 h 2079633"/>
                <a:gd name="connsiteX6" fmla="*/ 1309098 w 2137494"/>
                <a:gd name="connsiteY6" fmla="*/ 79383 h 2079633"/>
                <a:gd name="connsiteX7" fmla="*/ 1324973 w 2137494"/>
                <a:gd name="connsiteY7" fmla="*/ 92083 h 2079633"/>
                <a:gd name="connsiteX8" fmla="*/ 1334498 w 2137494"/>
                <a:gd name="connsiteY8" fmla="*/ 95258 h 2079633"/>
                <a:gd name="connsiteX9" fmla="*/ 1340848 w 2137494"/>
                <a:gd name="connsiteY9" fmla="*/ 104783 h 2079633"/>
                <a:gd name="connsiteX10" fmla="*/ 1356723 w 2137494"/>
                <a:gd name="connsiteY10" fmla="*/ 114308 h 2079633"/>
                <a:gd name="connsiteX11" fmla="*/ 1382123 w 2137494"/>
                <a:gd name="connsiteY11" fmla="*/ 133358 h 2079633"/>
                <a:gd name="connsiteX12" fmla="*/ 1391648 w 2137494"/>
                <a:gd name="connsiteY12" fmla="*/ 139708 h 2079633"/>
                <a:gd name="connsiteX13" fmla="*/ 1432923 w 2137494"/>
                <a:gd name="connsiteY13" fmla="*/ 184158 h 2079633"/>
                <a:gd name="connsiteX14" fmla="*/ 1442448 w 2137494"/>
                <a:gd name="connsiteY14" fmla="*/ 196858 h 2079633"/>
                <a:gd name="connsiteX15" fmla="*/ 1455148 w 2137494"/>
                <a:gd name="connsiteY15" fmla="*/ 219083 h 2079633"/>
                <a:gd name="connsiteX16" fmla="*/ 1499598 w 2137494"/>
                <a:gd name="connsiteY16" fmla="*/ 260358 h 2079633"/>
                <a:gd name="connsiteX17" fmla="*/ 1512298 w 2137494"/>
                <a:gd name="connsiteY17" fmla="*/ 276233 h 2079633"/>
                <a:gd name="connsiteX18" fmla="*/ 1524998 w 2137494"/>
                <a:gd name="connsiteY18" fmla="*/ 288933 h 2079633"/>
                <a:gd name="connsiteX19" fmla="*/ 1531348 w 2137494"/>
                <a:gd name="connsiteY19" fmla="*/ 298458 h 2079633"/>
                <a:gd name="connsiteX20" fmla="*/ 1550398 w 2137494"/>
                <a:gd name="connsiteY20" fmla="*/ 317508 h 2079633"/>
                <a:gd name="connsiteX21" fmla="*/ 1559923 w 2137494"/>
                <a:gd name="connsiteY21" fmla="*/ 327033 h 2079633"/>
                <a:gd name="connsiteX22" fmla="*/ 1569448 w 2137494"/>
                <a:gd name="connsiteY22" fmla="*/ 339733 h 2079633"/>
                <a:gd name="connsiteX23" fmla="*/ 1594848 w 2137494"/>
                <a:gd name="connsiteY23" fmla="*/ 358783 h 2079633"/>
                <a:gd name="connsiteX24" fmla="*/ 1632948 w 2137494"/>
                <a:gd name="connsiteY24" fmla="*/ 390533 h 2079633"/>
                <a:gd name="connsiteX25" fmla="*/ 1648823 w 2137494"/>
                <a:gd name="connsiteY25" fmla="*/ 409583 h 2079633"/>
                <a:gd name="connsiteX26" fmla="*/ 1661523 w 2137494"/>
                <a:gd name="connsiteY26" fmla="*/ 419108 h 2079633"/>
                <a:gd name="connsiteX27" fmla="*/ 1683748 w 2137494"/>
                <a:gd name="connsiteY27" fmla="*/ 441333 h 2079633"/>
                <a:gd name="connsiteX28" fmla="*/ 1702798 w 2137494"/>
                <a:gd name="connsiteY28" fmla="*/ 460383 h 2079633"/>
                <a:gd name="connsiteX29" fmla="*/ 1712323 w 2137494"/>
                <a:gd name="connsiteY29" fmla="*/ 469908 h 2079633"/>
                <a:gd name="connsiteX30" fmla="*/ 1744073 w 2137494"/>
                <a:gd name="connsiteY30" fmla="*/ 495308 h 2079633"/>
                <a:gd name="connsiteX31" fmla="*/ 1753598 w 2137494"/>
                <a:gd name="connsiteY31" fmla="*/ 504833 h 2079633"/>
                <a:gd name="connsiteX32" fmla="*/ 1766298 w 2137494"/>
                <a:gd name="connsiteY32" fmla="*/ 514358 h 2079633"/>
                <a:gd name="connsiteX33" fmla="*/ 1782173 w 2137494"/>
                <a:gd name="connsiteY33" fmla="*/ 530233 h 2079633"/>
                <a:gd name="connsiteX34" fmla="*/ 1813923 w 2137494"/>
                <a:gd name="connsiteY34" fmla="*/ 555633 h 2079633"/>
                <a:gd name="connsiteX35" fmla="*/ 1817098 w 2137494"/>
                <a:gd name="connsiteY35" fmla="*/ 565158 h 2079633"/>
                <a:gd name="connsiteX36" fmla="*/ 1842498 w 2137494"/>
                <a:gd name="connsiteY36" fmla="*/ 587383 h 2079633"/>
                <a:gd name="connsiteX37" fmla="*/ 1893298 w 2137494"/>
                <a:gd name="connsiteY37" fmla="*/ 644533 h 2079633"/>
                <a:gd name="connsiteX38" fmla="*/ 1918698 w 2137494"/>
                <a:gd name="connsiteY38" fmla="*/ 663583 h 2079633"/>
                <a:gd name="connsiteX39" fmla="*/ 1931398 w 2137494"/>
                <a:gd name="connsiteY39" fmla="*/ 669933 h 2079633"/>
                <a:gd name="connsiteX40" fmla="*/ 1979023 w 2137494"/>
                <a:gd name="connsiteY40" fmla="*/ 720733 h 2079633"/>
                <a:gd name="connsiteX41" fmla="*/ 1988548 w 2137494"/>
                <a:gd name="connsiteY41" fmla="*/ 730258 h 2079633"/>
                <a:gd name="connsiteX42" fmla="*/ 2017123 w 2137494"/>
                <a:gd name="connsiteY42" fmla="*/ 755658 h 2079633"/>
                <a:gd name="connsiteX43" fmla="*/ 2023473 w 2137494"/>
                <a:gd name="connsiteY43" fmla="*/ 765183 h 2079633"/>
                <a:gd name="connsiteX44" fmla="*/ 2048873 w 2137494"/>
                <a:gd name="connsiteY44" fmla="*/ 812808 h 2079633"/>
                <a:gd name="connsiteX45" fmla="*/ 2071098 w 2137494"/>
                <a:gd name="connsiteY45" fmla="*/ 838208 h 2079633"/>
                <a:gd name="connsiteX46" fmla="*/ 2090148 w 2137494"/>
                <a:gd name="connsiteY46" fmla="*/ 895358 h 2079633"/>
                <a:gd name="connsiteX47" fmla="*/ 2121898 w 2137494"/>
                <a:gd name="connsiteY47" fmla="*/ 971558 h 2079633"/>
                <a:gd name="connsiteX48" fmla="*/ 2121898 w 2137494"/>
                <a:gd name="connsiteY48" fmla="*/ 1171583 h 2079633"/>
                <a:gd name="connsiteX49" fmla="*/ 1928223 w 2137494"/>
                <a:gd name="connsiteY49" fmla="*/ 1435108 h 2079633"/>
                <a:gd name="connsiteX50" fmla="*/ 1905998 w 2137494"/>
                <a:gd name="connsiteY50" fmla="*/ 1454158 h 2079633"/>
                <a:gd name="connsiteX51" fmla="*/ 1848848 w 2137494"/>
                <a:gd name="connsiteY51" fmla="*/ 1485908 h 2079633"/>
                <a:gd name="connsiteX52" fmla="*/ 1810748 w 2137494"/>
                <a:gd name="connsiteY52" fmla="*/ 1517658 h 2079633"/>
                <a:gd name="connsiteX53" fmla="*/ 1791698 w 2137494"/>
                <a:gd name="connsiteY53" fmla="*/ 1533533 h 2079633"/>
                <a:gd name="connsiteX54" fmla="*/ 1775823 w 2137494"/>
                <a:gd name="connsiteY54" fmla="*/ 1543058 h 2079633"/>
                <a:gd name="connsiteX55" fmla="*/ 1718673 w 2137494"/>
                <a:gd name="connsiteY55" fmla="*/ 1606558 h 2079633"/>
                <a:gd name="connsiteX56" fmla="*/ 1709148 w 2137494"/>
                <a:gd name="connsiteY56" fmla="*/ 1619258 h 2079633"/>
                <a:gd name="connsiteX57" fmla="*/ 1680573 w 2137494"/>
                <a:gd name="connsiteY57" fmla="*/ 1651008 h 2079633"/>
                <a:gd name="connsiteX58" fmla="*/ 1658348 w 2137494"/>
                <a:gd name="connsiteY58" fmla="*/ 1679583 h 2079633"/>
                <a:gd name="connsiteX59" fmla="*/ 1623423 w 2137494"/>
                <a:gd name="connsiteY59" fmla="*/ 1714508 h 2079633"/>
                <a:gd name="connsiteX60" fmla="*/ 1604373 w 2137494"/>
                <a:gd name="connsiteY60" fmla="*/ 1733558 h 2079633"/>
                <a:gd name="connsiteX61" fmla="*/ 1569448 w 2137494"/>
                <a:gd name="connsiteY61" fmla="*/ 1774833 h 2079633"/>
                <a:gd name="connsiteX62" fmla="*/ 1559923 w 2137494"/>
                <a:gd name="connsiteY62" fmla="*/ 1787533 h 2079633"/>
                <a:gd name="connsiteX63" fmla="*/ 1547223 w 2137494"/>
                <a:gd name="connsiteY63" fmla="*/ 1797058 h 2079633"/>
                <a:gd name="connsiteX64" fmla="*/ 1540873 w 2137494"/>
                <a:gd name="connsiteY64" fmla="*/ 1806583 h 2079633"/>
                <a:gd name="connsiteX65" fmla="*/ 1524998 w 2137494"/>
                <a:gd name="connsiteY65" fmla="*/ 1816108 h 2079633"/>
                <a:gd name="connsiteX66" fmla="*/ 1480548 w 2137494"/>
                <a:gd name="connsiteY66" fmla="*/ 1860558 h 2079633"/>
                <a:gd name="connsiteX67" fmla="*/ 1464673 w 2137494"/>
                <a:gd name="connsiteY67" fmla="*/ 1879608 h 2079633"/>
                <a:gd name="connsiteX68" fmla="*/ 1455148 w 2137494"/>
                <a:gd name="connsiteY68" fmla="*/ 1892308 h 2079633"/>
                <a:gd name="connsiteX69" fmla="*/ 1445623 w 2137494"/>
                <a:gd name="connsiteY69" fmla="*/ 1901833 h 2079633"/>
                <a:gd name="connsiteX70" fmla="*/ 1432923 w 2137494"/>
                <a:gd name="connsiteY70" fmla="*/ 1917708 h 2079633"/>
                <a:gd name="connsiteX71" fmla="*/ 1423398 w 2137494"/>
                <a:gd name="connsiteY71" fmla="*/ 1927233 h 2079633"/>
                <a:gd name="connsiteX72" fmla="*/ 1417048 w 2137494"/>
                <a:gd name="connsiteY72" fmla="*/ 1936758 h 2079633"/>
                <a:gd name="connsiteX73" fmla="*/ 1391648 w 2137494"/>
                <a:gd name="connsiteY73" fmla="*/ 1955808 h 2079633"/>
                <a:gd name="connsiteX74" fmla="*/ 1356723 w 2137494"/>
                <a:gd name="connsiteY74" fmla="*/ 1971683 h 2079633"/>
                <a:gd name="connsiteX75" fmla="*/ 1344023 w 2137494"/>
                <a:gd name="connsiteY75" fmla="*/ 1978033 h 2079633"/>
                <a:gd name="connsiteX76" fmla="*/ 1331323 w 2137494"/>
                <a:gd name="connsiteY76" fmla="*/ 1987558 h 2079633"/>
                <a:gd name="connsiteX77" fmla="*/ 1312273 w 2137494"/>
                <a:gd name="connsiteY77" fmla="*/ 2006608 h 2079633"/>
                <a:gd name="connsiteX78" fmla="*/ 1270998 w 2137494"/>
                <a:gd name="connsiteY78" fmla="*/ 2025658 h 2079633"/>
                <a:gd name="connsiteX79" fmla="*/ 1258298 w 2137494"/>
                <a:gd name="connsiteY79" fmla="*/ 2032008 h 2079633"/>
                <a:gd name="connsiteX80" fmla="*/ 1236073 w 2137494"/>
                <a:gd name="connsiteY80" fmla="*/ 2038358 h 2079633"/>
                <a:gd name="connsiteX81" fmla="*/ 1226548 w 2137494"/>
                <a:gd name="connsiteY81" fmla="*/ 2044708 h 2079633"/>
                <a:gd name="connsiteX82" fmla="*/ 1217023 w 2137494"/>
                <a:gd name="connsiteY82" fmla="*/ 2047883 h 2079633"/>
                <a:gd name="connsiteX83" fmla="*/ 1175748 w 2137494"/>
                <a:gd name="connsiteY83" fmla="*/ 2057408 h 2079633"/>
                <a:gd name="connsiteX84" fmla="*/ 1150348 w 2137494"/>
                <a:gd name="connsiteY84" fmla="*/ 2070108 h 2079633"/>
                <a:gd name="connsiteX85" fmla="*/ 1102723 w 2137494"/>
                <a:gd name="connsiteY85" fmla="*/ 2079633 h 2079633"/>
                <a:gd name="connsiteX86" fmla="*/ 928098 w 2137494"/>
                <a:gd name="connsiteY86" fmla="*/ 2070108 h 2079633"/>
                <a:gd name="connsiteX87" fmla="*/ 886823 w 2137494"/>
                <a:gd name="connsiteY87" fmla="*/ 2054233 h 2079633"/>
                <a:gd name="connsiteX88" fmla="*/ 861423 w 2137494"/>
                <a:gd name="connsiteY88" fmla="*/ 2051058 h 2079633"/>
                <a:gd name="connsiteX89" fmla="*/ 845548 w 2137494"/>
                <a:gd name="connsiteY89" fmla="*/ 2035183 h 2079633"/>
                <a:gd name="connsiteX90" fmla="*/ 769348 w 2137494"/>
                <a:gd name="connsiteY90" fmla="*/ 1974858 h 2079633"/>
                <a:gd name="connsiteX91" fmla="*/ 747123 w 2137494"/>
                <a:gd name="connsiteY91" fmla="*/ 1946283 h 2079633"/>
                <a:gd name="connsiteX92" fmla="*/ 731248 w 2137494"/>
                <a:gd name="connsiteY92" fmla="*/ 1933583 h 2079633"/>
                <a:gd name="connsiteX93" fmla="*/ 715373 w 2137494"/>
                <a:gd name="connsiteY93" fmla="*/ 1917708 h 2079633"/>
                <a:gd name="connsiteX94" fmla="*/ 699498 w 2137494"/>
                <a:gd name="connsiteY94" fmla="*/ 1905008 h 2079633"/>
                <a:gd name="connsiteX95" fmla="*/ 680448 w 2137494"/>
                <a:gd name="connsiteY95" fmla="*/ 1885958 h 2079633"/>
                <a:gd name="connsiteX96" fmla="*/ 642348 w 2137494"/>
                <a:gd name="connsiteY96" fmla="*/ 1854208 h 2079633"/>
                <a:gd name="connsiteX97" fmla="*/ 601073 w 2137494"/>
                <a:gd name="connsiteY97" fmla="*/ 1806583 h 2079633"/>
                <a:gd name="connsiteX98" fmla="*/ 578848 w 2137494"/>
                <a:gd name="connsiteY98" fmla="*/ 1781183 h 2079633"/>
                <a:gd name="connsiteX99" fmla="*/ 537573 w 2137494"/>
                <a:gd name="connsiteY99" fmla="*/ 1739908 h 2079633"/>
                <a:gd name="connsiteX100" fmla="*/ 499473 w 2137494"/>
                <a:gd name="connsiteY100" fmla="*/ 1704983 h 2079633"/>
                <a:gd name="connsiteX101" fmla="*/ 470898 w 2137494"/>
                <a:gd name="connsiteY101" fmla="*/ 1670058 h 2079633"/>
                <a:gd name="connsiteX102" fmla="*/ 413748 w 2137494"/>
                <a:gd name="connsiteY102" fmla="*/ 1622433 h 2079633"/>
                <a:gd name="connsiteX103" fmla="*/ 401048 w 2137494"/>
                <a:gd name="connsiteY103" fmla="*/ 1612908 h 2079633"/>
                <a:gd name="connsiteX104" fmla="*/ 369298 w 2137494"/>
                <a:gd name="connsiteY104" fmla="*/ 1584333 h 2079633"/>
                <a:gd name="connsiteX105" fmla="*/ 328023 w 2137494"/>
                <a:gd name="connsiteY105" fmla="*/ 1558933 h 2079633"/>
                <a:gd name="connsiteX106" fmla="*/ 302623 w 2137494"/>
                <a:gd name="connsiteY106" fmla="*/ 1539883 h 2079633"/>
                <a:gd name="connsiteX107" fmla="*/ 223248 w 2137494"/>
                <a:gd name="connsiteY107" fmla="*/ 1470033 h 2079633"/>
                <a:gd name="connsiteX108" fmla="*/ 175623 w 2137494"/>
                <a:gd name="connsiteY108" fmla="*/ 1412883 h 2079633"/>
                <a:gd name="connsiteX109" fmla="*/ 118473 w 2137494"/>
                <a:gd name="connsiteY109" fmla="*/ 1339858 h 2079633"/>
                <a:gd name="connsiteX110" fmla="*/ 83548 w 2137494"/>
                <a:gd name="connsiteY110" fmla="*/ 1292233 h 2079633"/>
                <a:gd name="connsiteX111" fmla="*/ 64498 w 2137494"/>
                <a:gd name="connsiteY111" fmla="*/ 1266833 h 2079633"/>
                <a:gd name="connsiteX112" fmla="*/ 35923 w 2137494"/>
                <a:gd name="connsiteY112" fmla="*/ 1206508 h 2079633"/>
                <a:gd name="connsiteX113" fmla="*/ 26398 w 2137494"/>
                <a:gd name="connsiteY113" fmla="*/ 1171583 h 2079633"/>
                <a:gd name="connsiteX114" fmla="*/ 20048 w 2137494"/>
                <a:gd name="connsiteY114" fmla="*/ 1149358 h 2079633"/>
                <a:gd name="connsiteX115" fmla="*/ 16873 w 2137494"/>
                <a:gd name="connsiteY115" fmla="*/ 1133483 h 2079633"/>
                <a:gd name="connsiteX116" fmla="*/ 7348 w 2137494"/>
                <a:gd name="connsiteY116" fmla="*/ 1095383 h 2079633"/>
                <a:gd name="connsiteX117" fmla="*/ 998 w 2137494"/>
                <a:gd name="connsiteY117" fmla="*/ 1012833 h 2079633"/>
                <a:gd name="connsiteX118" fmla="*/ 10523 w 2137494"/>
                <a:gd name="connsiteY118" fmla="*/ 882658 h 2079633"/>
                <a:gd name="connsiteX119" fmla="*/ 35923 w 2137494"/>
                <a:gd name="connsiteY119" fmla="*/ 835033 h 2079633"/>
                <a:gd name="connsiteX120" fmla="*/ 51798 w 2137494"/>
                <a:gd name="connsiteY120" fmla="*/ 806458 h 2079633"/>
                <a:gd name="connsiteX121" fmla="*/ 83548 w 2137494"/>
                <a:gd name="connsiteY121" fmla="*/ 762008 h 2079633"/>
                <a:gd name="connsiteX122" fmla="*/ 99423 w 2137494"/>
                <a:gd name="connsiteY122" fmla="*/ 742958 h 2079633"/>
                <a:gd name="connsiteX123" fmla="*/ 143873 w 2137494"/>
                <a:gd name="connsiteY123" fmla="*/ 676283 h 2079633"/>
                <a:gd name="connsiteX124" fmla="*/ 308973 w 2137494"/>
                <a:gd name="connsiteY124" fmla="*/ 523883 h 2079633"/>
                <a:gd name="connsiteX125" fmla="*/ 366123 w 2137494"/>
                <a:gd name="connsiteY125" fmla="*/ 463558 h 2079633"/>
                <a:gd name="connsiteX126" fmla="*/ 416923 w 2137494"/>
                <a:gd name="connsiteY126" fmla="*/ 409583 h 2079633"/>
                <a:gd name="connsiteX127" fmla="*/ 445498 w 2137494"/>
                <a:gd name="connsiteY127" fmla="*/ 377833 h 2079633"/>
                <a:gd name="connsiteX128" fmla="*/ 493123 w 2137494"/>
                <a:gd name="connsiteY128" fmla="*/ 333383 h 2079633"/>
                <a:gd name="connsiteX129" fmla="*/ 712198 w 2137494"/>
                <a:gd name="connsiteY129" fmla="*/ 136533 h 2079633"/>
                <a:gd name="connsiteX130" fmla="*/ 750298 w 2137494"/>
                <a:gd name="connsiteY130" fmla="*/ 111133 h 2079633"/>
                <a:gd name="connsiteX131" fmla="*/ 785223 w 2137494"/>
                <a:gd name="connsiteY131" fmla="*/ 88908 h 2079633"/>
                <a:gd name="connsiteX132" fmla="*/ 883648 w 2137494"/>
                <a:gd name="connsiteY132" fmla="*/ 38108 h 2079633"/>
                <a:gd name="connsiteX133" fmla="*/ 1077323 w 2137494"/>
                <a:gd name="connsiteY133" fmla="*/ 8 h 2079633"/>
                <a:gd name="connsiteX134" fmla="*/ 1267823 w 2137494"/>
                <a:gd name="connsiteY134" fmla="*/ 34933 h 2079633"/>
                <a:gd name="connsiteX135" fmla="*/ 1296398 w 2137494"/>
                <a:gd name="connsiteY135" fmla="*/ 47633 h 2079633"/>
                <a:gd name="connsiteX0" fmla="*/ 1197973 w 2141549"/>
                <a:gd name="connsiteY0" fmla="*/ 25408 h 2079633"/>
                <a:gd name="connsiteX1" fmla="*/ 1217023 w 2141549"/>
                <a:gd name="connsiteY1" fmla="*/ 34933 h 2079633"/>
                <a:gd name="connsiteX2" fmla="*/ 1239248 w 2141549"/>
                <a:gd name="connsiteY2" fmla="*/ 38108 h 2079633"/>
                <a:gd name="connsiteX3" fmla="*/ 1258298 w 2141549"/>
                <a:gd name="connsiteY3" fmla="*/ 50808 h 2079633"/>
                <a:gd name="connsiteX4" fmla="*/ 1270998 w 2141549"/>
                <a:gd name="connsiteY4" fmla="*/ 57158 h 2079633"/>
                <a:gd name="connsiteX5" fmla="*/ 1290048 w 2141549"/>
                <a:gd name="connsiteY5" fmla="*/ 73033 h 2079633"/>
                <a:gd name="connsiteX6" fmla="*/ 1309098 w 2141549"/>
                <a:gd name="connsiteY6" fmla="*/ 79383 h 2079633"/>
                <a:gd name="connsiteX7" fmla="*/ 1324973 w 2141549"/>
                <a:gd name="connsiteY7" fmla="*/ 92083 h 2079633"/>
                <a:gd name="connsiteX8" fmla="*/ 1334498 w 2141549"/>
                <a:gd name="connsiteY8" fmla="*/ 95258 h 2079633"/>
                <a:gd name="connsiteX9" fmla="*/ 1340848 w 2141549"/>
                <a:gd name="connsiteY9" fmla="*/ 104783 h 2079633"/>
                <a:gd name="connsiteX10" fmla="*/ 1356723 w 2141549"/>
                <a:gd name="connsiteY10" fmla="*/ 114308 h 2079633"/>
                <a:gd name="connsiteX11" fmla="*/ 1382123 w 2141549"/>
                <a:gd name="connsiteY11" fmla="*/ 133358 h 2079633"/>
                <a:gd name="connsiteX12" fmla="*/ 1391648 w 2141549"/>
                <a:gd name="connsiteY12" fmla="*/ 139708 h 2079633"/>
                <a:gd name="connsiteX13" fmla="*/ 1432923 w 2141549"/>
                <a:gd name="connsiteY13" fmla="*/ 184158 h 2079633"/>
                <a:gd name="connsiteX14" fmla="*/ 1442448 w 2141549"/>
                <a:gd name="connsiteY14" fmla="*/ 196858 h 2079633"/>
                <a:gd name="connsiteX15" fmla="*/ 1455148 w 2141549"/>
                <a:gd name="connsiteY15" fmla="*/ 219083 h 2079633"/>
                <a:gd name="connsiteX16" fmla="*/ 1499598 w 2141549"/>
                <a:gd name="connsiteY16" fmla="*/ 260358 h 2079633"/>
                <a:gd name="connsiteX17" fmla="*/ 1512298 w 2141549"/>
                <a:gd name="connsiteY17" fmla="*/ 276233 h 2079633"/>
                <a:gd name="connsiteX18" fmla="*/ 1524998 w 2141549"/>
                <a:gd name="connsiteY18" fmla="*/ 288933 h 2079633"/>
                <a:gd name="connsiteX19" fmla="*/ 1531348 w 2141549"/>
                <a:gd name="connsiteY19" fmla="*/ 298458 h 2079633"/>
                <a:gd name="connsiteX20" fmla="*/ 1550398 w 2141549"/>
                <a:gd name="connsiteY20" fmla="*/ 317508 h 2079633"/>
                <a:gd name="connsiteX21" fmla="*/ 1559923 w 2141549"/>
                <a:gd name="connsiteY21" fmla="*/ 327033 h 2079633"/>
                <a:gd name="connsiteX22" fmla="*/ 1569448 w 2141549"/>
                <a:gd name="connsiteY22" fmla="*/ 339733 h 2079633"/>
                <a:gd name="connsiteX23" fmla="*/ 1594848 w 2141549"/>
                <a:gd name="connsiteY23" fmla="*/ 358783 h 2079633"/>
                <a:gd name="connsiteX24" fmla="*/ 1632948 w 2141549"/>
                <a:gd name="connsiteY24" fmla="*/ 390533 h 2079633"/>
                <a:gd name="connsiteX25" fmla="*/ 1648823 w 2141549"/>
                <a:gd name="connsiteY25" fmla="*/ 409583 h 2079633"/>
                <a:gd name="connsiteX26" fmla="*/ 1661523 w 2141549"/>
                <a:gd name="connsiteY26" fmla="*/ 419108 h 2079633"/>
                <a:gd name="connsiteX27" fmla="*/ 1683748 w 2141549"/>
                <a:gd name="connsiteY27" fmla="*/ 441333 h 2079633"/>
                <a:gd name="connsiteX28" fmla="*/ 1702798 w 2141549"/>
                <a:gd name="connsiteY28" fmla="*/ 460383 h 2079633"/>
                <a:gd name="connsiteX29" fmla="*/ 1712323 w 2141549"/>
                <a:gd name="connsiteY29" fmla="*/ 469908 h 2079633"/>
                <a:gd name="connsiteX30" fmla="*/ 1744073 w 2141549"/>
                <a:gd name="connsiteY30" fmla="*/ 495308 h 2079633"/>
                <a:gd name="connsiteX31" fmla="*/ 1753598 w 2141549"/>
                <a:gd name="connsiteY31" fmla="*/ 504833 h 2079633"/>
                <a:gd name="connsiteX32" fmla="*/ 1766298 w 2141549"/>
                <a:gd name="connsiteY32" fmla="*/ 514358 h 2079633"/>
                <a:gd name="connsiteX33" fmla="*/ 1782173 w 2141549"/>
                <a:gd name="connsiteY33" fmla="*/ 530233 h 2079633"/>
                <a:gd name="connsiteX34" fmla="*/ 1813923 w 2141549"/>
                <a:gd name="connsiteY34" fmla="*/ 555633 h 2079633"/>
                <a:gd name="connsiteX35" fmla="*/ 1817098 w 2141549"/>
                <a:gd name="connsiteY35" fmla="*/ 565158 h 2079633"/>
                <a:gd name="connsiteX36" fmla="*/ 1842498 w 2141549"/>
                <a:gd name="connsiteY36" fmla="*/ 587383 h 2079633"/>
                <a:gd name="connsiteX37" fmla="*/ 1893298 w 2141549"/>
                <a:gd name="connsiteY37" fmla="*/ 644533 h 2079633"/>
                <a:gd name="connsiteX38" fmla="*/ 1918698 w 2141549"/>
                <a:gd name="connsiteY38" fmla="*/ 663583 h 2079633"/>
                <a:gd name="connsiteX39" fmla="*/ 1931398 w 2141549"/>
                <a:gd name="connsiteY39" fmla="*/ 669933 h 2079633"/>
                <a:gd name="connsiteX40" fmla="*/ 1979023 w 2141549"/>
                <a:gd name="connsiteY40" fmla="*/ 720733 h 2079633"/>
                <a:gd name="connsiteX41" fmla="*/ 1988548 w 2141549"/>
                <a:gd name="connsiteY41" fmla="*/ 730258 h 2079633"/>
                <a:gd name="connsiteX42" fmla="*/ 2017123 w 2141549"/>
                <a:gd name="connsiteY42" fmla="*/ 755658 h 2079633"/>
                <a:gd name="connsiteX43" fmla="*/ 2023473 w 2141549"/>
                <a:gd name="connsiteY43" fmla="*/ 765183 h 2079633"/>
                <a:gd name="connsiteX44" fmla="*/ 2048873 w 2141549"/>
                <a:gd name="connsiteY44" fmla="*/ 812808 h 2079633"/>
                <a:gd name="connsiteX45" fmla="*/ 2071098 w 2141549"/>
                <a:gd name="connsiteY45" fmla="*/ 838208 h 2079633"/>
                <a:gd name="connsiteX46" fmla="*/ 2090148 w 2141549"/>
                <a:gd name="connsiteY46" fmla="*/ 895358 h 2079633"/>
                <a:gd name="connsiteX47" fmla="*/ 2131423 w 2141549"/>
                <a:gd name="connsiteY47" fmla="*/ 971558 h 2079633"/>
                <a:gd name="connsiteX48" fmla="*/ 2121898 w 2141549"/>
                <a:gd name="connsiteY48" fmla="*/ 1171583 h 2079633"/>
                <a:gd name="connsiteX49" fmla="*/ 1928223 w 2141549"/>
                <a:gd name="connsiteY49" fmla="*/ 1435108 h 2079633"/>
                <a:gd name="connsiteX50" fmla="*/ 1905998 w 2141549"/>
                <a:gd name="connsiteY50" fmla="*/ 1454158 h 2079633"/>
                <a:gd name="connsiteX51" fmla="*/ 1848848 w 2141549"/>
                <a:gd name="connsiteY51" fmla="*/ 1485908 h 2079633"/>
                <a:gd name="connsiteX52" fmla="*/ 1810748 w 2141549"/>
                <a:gd name="connsiteY52" fmla="*/ 1517658 h 2079633"/>
                <a:gd name="connsiteX53" fmla="*/ 1791698 w 2141549"/>
                <a:gd name="connsiteY53" fmla="*/ 1533533 h 2079633"/>
                <a:gd name="connsiteX54" fmla="*/ 1775823 w 2141549"/>
                <a:gd name="connsiteY54" fmla="*/ 1543058 h 2079633"/>
                <a:gd name="connsiteX55" fmla="*/ 1718673 w 2141549"/>
                <a:gd name="connsiteY55" fmla="*/ 1606558 h 2079633"/>
                <a:gd name="connsiteX56" fmla="*/ 1709148 w 2141549"/>
                <a:gd name="connsiteY56" fmla="*/ 1619258 h 2079633"/>
                <a:gd name="connsiteX57" fmla="*/ 1680573 w 2141549"/>
                <a:gd name="connsiteY57" fmla="*/ 1651008 h 2079633"/>
                <a:gd name="connsiteX58" fmla="*/ 1658348 w 2141549"/>
                <a:gd name="connsiteY58" fmla="*/ 1679583 h 2079633"/>
                <a:gd name="connsiteX59" fmla="*/ 1623423 w 2141549"/>
                <a:gd name="connsiteY59" fmla="*/ 1714508 h 2079633"/>
                <a:gd name="connsiteX60" fmla="*/ 1604373 w 2141549"/>
                <a:gd name="connsiteY60" fmla="*/ 1733558 h 2079633"/>
                <a:gd name="connsiteX61" fmla="*/ 1569448 w 2141549"/>
                <a:gd name="connsiteY61" fmla="*/ 1774833 h 2079633"/>
                <a:gd name="connsiteX62" fmla="*/ 1559923 w 2141549"/>
                <a:gd name="connsiteY62" fmla="*/ 1787533 h 2079633"/>
                <a:gd name="connsiteX63" fmla="*/ 1547223 w 2141549"/>
                <a:gd name="connsiteY63" fmla="*/ 1797058 h 2079633"/>
                <a:gd name="connsiteX64" fmla="*/ 1540873 w 2141549"/>
                <a:gd name="connsiteY64" fmla="*/ 1806583 h 2079633"/>
                <a:gd name="connsiteX65" fmla="*/ 1524998 w 2141549"/>
                <a:gd name="connsiteY65" fmla="*/ 1816108 h 2079633"/>
                <a:gd name="connsiteX66" fmla="*/ 1480548 w 2141549"/>
                <a:gd name="connsiteY66" fmla="*/ 1860558 h 2079633"/>
                <a:gd name="connsiteX67" fmla="*/ 1464673 w 2141549"/>
                <a:gd name="connsiteY67" fmla="*/ 1879608 h 2079633"/>
                <a:gd name="connsiteX68" fmla="*/ 1455148 w 2141549"/>
                <a:gd name="connsiteY68" fmla="*/ 1892308 h 2079633"/>
                <a:gd name="connsiteX69" fmla="*/ 1445623 w 2141549"/>
                <a:gd name="connsiteY69" fmla="*/ 1901833 h 2079633"/>
                <a:gd name="connsiteX70" fmla="*/ 1432923 w 2141549"/>
                <a:gd name="connsiteY70" fmla="*/ 1917708 h 2079633"/>
                <a:gd name="connsiteX71" fmla="*/ 1423398 w 2141549"/>
                <a:gd name="connsiteY71" fmla="*/ 1927233 h 2079633"/>
                <a:gd name="connsiteX72" fmla="*/ 1417048 w 2141549"/>
                <a:gd name="connsiteY72" fmla="*/ 1936758 h 2079633"/>
                <a:gd name="connsiteX73" fmla="*/ 1391648 w 2141549"/>
                <a:gd name="connsiteY73" fmla="*/ 1955808 h 2079633"/>
                <a:gd name="connsiteX74" fmla="*/ 1356723 w 2141549"/>
                <a:gd name="connsiteY74" fmla="*/ 1971683 h 2079633"/>
                <a:gd name="connsiteX75" fmla="*/ 1344023 w 2141549"/>
                <a:gd name="connsiteY75" fmla="*/ 1978033 h 2079633"/>
                <a:gd name="connsiteX76" fmla="*/ 1331323 w 2141549"/>
                <a:gd name="connsiteY76" fmla="*/ 1987558 h 2079633"/>
                <a:gd name="connsiteX77" fmla="*/ 1312273 w 2141549"/>
                <a:gd name="connsiteY77" fmla="*/ 2006608 h 2079633"/>
                <a:gd name="connsiteX78" fmla="*/ 1270998 w 2141549"/>
                <a:gd name="connsiteY78" fmla="*/ 2025658 h 2079633"/>
                <a:gd name="connsiteX79" fmla="*/ 1258298 w 2141549"/>
                <a:gd name="connsiteY79" fmla="*/ 2032008 h 2079633"/>
                <a:gd name="connsiteX80" fmla="*/ 1236073 w 2141549"/>
                <a:gd name="connsiteY80" fmla="*/ 2038358 h 2079633"/>
                <a:gd name="connsiteX81" fmla="*/ 1226548 w 2141549"/>
                <a:gd name="connsiteY81" fmla="*/ 2044708 h 2079633"/>
                <a:gd name="connsiteX82" fmla="*/ 1217023 w 2141549"/>
                <a:gd name="connsiteY82" fmla="*/ 2047883 h 2079633"/>
                <a:gd name="connsiteX83" fmla="*/ 1175748 w 2141549"/>
                <a:gd name="connsiteY83" fmla="*/ 2057408 h 2079633"/>
                <a:gd name="connsiteX84" fmla="*/ 1150348 w 2141549"/>
                <a:gd name="connsiteY84" fmla="*/ 2070108 h 2079633"/>
                <a:gd name="connsiteX85" fmla="*/ 1102723 w 2141549"/>
                <a:gd name="connsiteY85" fmla="*/ 2079633 h 2079633"/>
                <a:gd name="connsiteX86" fmla="*/ 928098 w 2141549"/>
                <a:gd name="connsiteY86" fmla="*/ 2070108 h 2079633"/>
                <a:gd name="connsiteX87" fmla="*/ 886823 w 2141549"/>
                <a:gd name="connsiteY87" fmla="*/ 2054233 h 2079633"/>
                <a:gd name="connsiteX88" fmla="*/ 861423 w 2141549"/>
                <a:gd name="connsiteY88" fmla="*/ 2051058 h 2079633"/>
                <a:gd name="connsiteX89" fmla="*/ 845548 w 2141549"/>
                <a:gd name="connsiteY89" fmla="*/ 2035183 h 2079633"/>
                <a:gd name="connsiteX90" fmla="*/ 769348 w 2141549"/>
                <a:gd name="connsiteY90" fmla="*/ 1974858 h 2079633"/>
                <a:gd name="connsiteX91" fmla="*/ 747123 w 2141549"/>
                <a:gd name="connsiteY91" fmla="*/ 1946283 h 2079633"/>
                <a:gd name="connsiteX92" fmla="*/ 731248 w 2141549"/>
                <a:gd name="connsiteY92" fmla="*/ 1933583 h 2079633"/>
                <a:gd name="connsiteX93" fmla="*/ 715373 w 2141549"/>
                <a:gd name="connsiteY93" fmla="*/ 1917708 h 2079633"/>
                <a:gd name="connsiteX94" fmla="*/ 699498 w 2141549"/>
                <a:gd name="connsiteY94" fmla="*/ 1905008 h 2079633"/>
                <a:gd name="connsiteX95" fmla="*/ 680448 w 2141549"/>
                <a:gd name="connsiteY95" fmla="*/ 1885958 h 2079633"/>
                <a:gd name="connsiteX96" fmla="*/ 642348 w 2141549"/>
                <a:gd name="connsiteY96" fmla="*/ 1854208 h 2079633"/>
                <a:gd name="connsiteX97" fmla="*/ 601073 w 2141549"/>
                <a:gd name="connsiteY97" fmla="*/ 1806583 h 2079633"/>
                <a:gd name="connsiteX98" fmla="*/ 578848 w 2141549"/>
                <a:gd name="connsiteY98" fmla="*/ 1781183 h 2079633"/>
                <a:gd name="connsiteX99" fmla="*/ 537573 w 2141549"/>
                <a:gd name="connsiteY99" fmla="*/ 1739908 h 2079633"/>
                <a:gd name="connsiteX100" fmla="*/ 499473 w 2141549"/>
                <a:gd name="connsiteY100" fmla="*/ 1704983 h 2079633"/>
                <a:gd name="connsiteX101" fmla="*/ 470898 w 2141549"/>
                <a:gd name="connsiteY101" fmla="*/ 1670058 h 2079633"/>
                <a:gd name="connsiteX102" fmla="*/ 413748 w 2141549"/>
                <a:gd name="connsiteY102" fmla="*/ 1622433 h 2079633"/>
                <a:gd name="connsiteX103" fmla="*/ 401048 w 2141549"/>
                <a:gd name="connsiteY103" fmla="*/ 1612908 h 2079633"/>
                <a:gd name="connsiteX104" fmla="*/ 369298 w 2141549"/>
                <a:gd name="connsiteY104" fmla="*/ 1584333 h 2079633"/>
                <a:gd name="connsiteX105" fmla="*/ 328023 w 2141549"/>
                <a:gd name="connsiteY105" fmla="*/ 1558933 h 2079633"/>
                <a:gd name="connsiteX106" fmla="*/ 302623 w 2141549"/>
                <a:gd name="connsiteY106" fmla="*/ 1539883 h 2079633"/>
                <a:gd name="connsiteX107" fmla="*/ 223248 w 2141549"/>
                <a:gd name="connsiteY107" fmla="*/ 1470033 h 2079633"/>
                <a:gd name="connsiteX108" fmla="*/ 175623 w 2141549"/>
                <a:gd name="connsiteY108" fmla="*/ 1412883 h 2079633"/>
                <a:gd name="connsiteX109" fmla="*/ 118473 w 2141549"/>
                <a:gd name="connsiteY109" fmla="*/ 1339858 h 2079633"/>
                <a:gd name="connsiteX110" fmla="*/ 83548 w 2141549"/>
                <a:gd name="connsiteY110" fmla="*/ 1292233 h 2079633"/>
                <a:gd name="connsiteX111" fmla="*/ 64498 w 2141549"/>
                <a:gd name="connsiteY111" fmla="*/ 1266833 h 2079633"/>
                <a:gd name="connsiteX112" fmla="*/ 35923 w 2141549"/>
                <a:gd name="connsiteY112" fmla="*/ 1206508 h 2079633"/>
                <a:gd name="connsiteX113" fmla="*/ 26398 w 2141549"/>
                <a:gd name="connsiteY113" fmla="*/ 1171583 h 2079633"/>
                <a:gd name="connsiteX114" fmla="*/ 20048 w 2141549"/>
                <a:gd name="connsiteY114" fmla="*/ 1149358 h 2079633"/>
                <a:gd name="connsiteX115" fmla="*/ 16873 w 2141549"/>
                <a:gd name="connsiteY115" fmla="*/ 1133483 h 2079633"/>
                <a:gd name="connsiteX116" fmla="*/ 7348 w 2141549"/>
                <a:gd name="connsiteY116" fmla="*/ 1095383 h 2079633"/>
                <a:gd name="connsiteX117" fmla="*/ 998 w 2141549"/>
                <a:gd name="connsiteY117" fmla="*/ 1012833 h 2079633"/>
                <a:gd name="connsiteX118" fmla="*/ 10523 w 2141549"/>
                <a:gd name="connsiteY118" fmla="*/ 882658 h 2079633"/>
                <a:gd name="connsiteX119" fmla="*/ 35923 w 2141549"/>
                <a:gd name="connsiteY119" fmla="*/ 835033 h 2079633"/>
                <a:gd name="connsiteX120" fmla="*/ 51798 w 2141549"/>
                <a:gd name="connsiteY120" fmla="*/ 806458 h 2079633"/>
                <a:gd name="connsiteX121" fmla="*/ 83548 w 2141549"/>
                <a:gd name="connsiteY121" fmla="*/ 762008 h 2079633"/>
                <a:gd name="connsiteX122" fmla="*/ 99423 w 2141549"/>
                <a:gd name="connsiteY122" fmla="*/ 742958 h 2079633"/>
                <a:gd name="connsiteX123" fmla="*/ 143873 w 2141549"/>
                <a:gd name="connsiteY123" fmla="*/ 676283 h 2079633"/>
                <a:gd name="connsiteX124" fmla="*/ 308973 w 2141549"/>
                <a:gd name="connsiteY124" fmla="*/ 523883 h 2079633"/>
                <a:gd name="connsiteX125" fmla="*/ 366123 w 2141549"/>
                <a:gd name="connsiteY125" fmla="*/ 463558 h 2079633"/>
                <a:gd name="connsiteX126" fmla="*/ 416923 w 2141549"/>
                <a:gd name="connsiteY126" fmla="*/ 409583 h 2079633"/>
                <a:gd name="connsiteX127" fmla="*/ 445498 w 2141549"/>
                <a:gd name="connsiteY127" fmla="*/ 377833 h 2079633"/>
                <a:gd name="connsiteX128" fmla="*/ 493123 w 2141549"/>
                <a:gd name="connsiteY128" fmla="*/ 333383 h 2079633"/>
                <a:gd name="connsiteX129" fmla="*/ 712198 w 2141549"/>
                <a:gd name="connsiteY129" fmla="*/ 136533 h 2079633"/>
                <a:gd name="connsiteX130" fmla="*/ 750298 w 2141549"/>
                <a:gd name="connsiteY130" fmla="*/ 111133 h 2079633"/>
                <a:gd name="connsiteX131" fmla="*/ 785223 w 2141549"/>
                <a:gd name="connsiteY131" fmla="*/ 88908 h 2079633"/>
                <a:gd name="connsiteX132" fmla="*/ 883648 w 2141549"/>
                <a:gd name="connsiteY132" fmla="*/ 38108 h 2079633"/>
                <a:gd name="connsiteX133" fmla="*/ 1077323 w 2141549"/>
                <a:gd name="connsiteY133" fmla="*/ 8 h 2079633"/>
                <a:gd name="connsiteX134" fmla="*/ 1267823 w 2141549"/>
                <a:gd name="connsiteY134" fmla="*/ 34933 h 2079633"/>
                <a:gd name="connsiteX135" fmla="*/ 1296398 w 2141549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48873 w 2145038"/>
                <a:gd name="connsiteY44" fmla="*/ 812808 h 2079633"/>
                <a:gd name="connsiteX45" fmla="*/ 2071098 w 2145038"/>
                <a:gd name="connsiteY45" fmla="*/ 838208 h 2079633"/>
                <a:gd name="connsiteX46" fmla="*/ 2090148 w 2145038"/>
                <a:gd name="connsiteY46" fmla="*/ 895358 h 2079633"/>
                <a:gd name="connsiteX47" fmla="*/ 2131423 w 2145038"/>
                <a:gd name="connsiteY47" fmla="*/ 971558 h 2079633"/>
                <a:gd name="connsiteX48" fmla="*/ 2121898 w 2145038"/>
                <a:gd name="connsiteY48" fmla="*/ 1171583 h 2079633"/>
                <a:gd name="connsiteX49" fmla="*/ 1928223 w 2145038"/>
                <a:gd name="connsiteY49" fmla="*/ 1435108 h 2079633"/>
                <a:gd name="connsiteX50" fmla="*/ 1905998 w 2145038"/>
                <a:gd name="connsiteY50" fmla="*/ 1454158 h 2079633"/>
                <a:gd name="connsiteX51" fmla="*/ 1848848 w 2145038"/>
                <a:gd name="connsiteY51" fmla="*/ 1485908 h 2079633"/>
                <a:gd name="connsiteX52" fmla="*/ 1810748 w 2145038"/>
                <a:gd name="connsiteY52" fmla="*/ 1517658 h 2079633"/>
                <a:gd name="connsiteX53" fmla="*/ 1791698 w 2145038"/>
                <a:gd name="connsiteY53" fmla="*/ 1533533 h 2079633"/>
                <a:gd name="connsiteX54" fmla="*/ 1775823 w 2145038"/>
                <a:gd name="connsiteY54" fmla="*/ 1543058 h 2079633"/>
                <a:gd name="connsiteX55" fmla="*/ 1718673 w 2145038"/>
                <a:gd name="connsiteY55" fmla="*/ 1606558 h 2079633"/>
                <a:gd name="connsiteX56" fmla="*/ 1709148 w 2145038"/>
                <a:gd name="connsiteY56" fmla="*/ 1619258 h 2079633"/>
                <a:gd name="connsiteX57" fmla="*/ 1680573 w 2145038"/>
                <a:gd name="connsiteY57" fmla="*/ 1651008 h 2079633"/>
                <a:gd name="connsiteX58" fmla="*/ 1658348 w 2145038"/>
                <a:gd name="connsiteY58" fmla="*/ 1679583 h 2079633"/>
                <a:gd name="connsiteX59" fmla="*/ 1623423 w 2145038"/>
                <a:gd name="connsiteY59" fmla="*/ 1714508 h 2079633"/>
                <a:gd name="connsiteX60" fmla="*/ 1604373 w 2145038"/>
                <a:gd name="connsiteY60" fmla="*/ 1733558 h 2079633"/>
                <a:gd name="connsiteX61" fmla="*/ 1569448 w 2145038"/>
                <a:gd name="connsiteY61" fmla="*/ 1774833 h 2079633"/>
                <a:gd name="connsiteX62" fmla="*/ 1559923 w 2145038"/>
                <a:gd name="connsiteY62" fmla="*/ 1787533 h 2079633"/>
                <a:gd name="connsiteX63" fmla="*/ 1547223 w 2145038"/>
                <a:gd name="connsiteY63" fmla="*/ 1797058 h 2079633"/>
                <a:gd name="connsiteX64" fmla="*/ 1540873 w 2145038"/>
                <a:gd name="connsiteY64" fmla="*/ 1806583 h 2079633"/>
                <a:gd name="connsiteX65" fmla="*/ 1524998 w 2145038"/>
                <a:gd name="connsiteY65" fmla="*/ 1816108 h 2079633"/>
                <a:gd name="connsiteX66" fmla="*/ 1480548 w 2145038"/>
                <a:gd name="connsiteY66" fmla="*/ 1860558 h 2079633"/>
                <a:gd name="connsiteX67" fmla="*/ 1464673 w 2145038"/>
                <a:gd name="connsiteY67" fmla="*/ 1879608 h 2079633"/>
                <a:gd name="connsiteX68" fmla="*/ 1455148 w 2145038"/>
                <a:gd name="connsiteY68" fmla="*/ 1892308 h 2079633"/>
                <a:gd name="connsiteX69" fmla="*/ 1445623 w 2145038"/>
                <a:gd name="connsiteY69" fmla="*/ 1901833 h 2079633"/>
                <a:gd name="connsiteX70" fmla="*/ 1432923 w 2145038"/>
                <a:gd name="connsiteY70" fmla="*/ 1917708 h 2079633"/>
                <a:gd name="connsiteX71" fmla="*/ 1423398 w 2145038"/>
                <a:gd name="connsiteY71" fmla="*/ 1927233 h 2079633"/>
                <a:gd name="connsiteX72" fmla="*/ 1417048 w 2145038"/>
                <a:gd name="connsiteY72" fmla="*/ 1936758 h 2079633"/>
                <a:gd name="connsiteX73" fmla="*/ 1391648 w 2145038"/>
                <a:gd name="connsiteY73" fmla="*/ 1955808 h 2079633"/>
                <a:gd name="connsiteX74" fmla="*/ 1356723 w 2145038"/>
                <a:gd name="connsiteY74" fmla="*/ 1971683 h 2079633"/>
                <a:gd name="connsiteX75" fmla="*/ 1344023 w 2145038"/>
                <a:gd name="connsiteY75" fmla="*/ 1978033 h 2079633"/>
                <a:gd name="connsiteX76" fmla="*/ 1331323 w 2145038"/>
                <a:gd name="connsiteY76" fmla="*/ 1987558 h 2079633"/>
                <a:gd name="connsiteX77" fmla="*/ 1312273 w 2145038"/>
                <a:gd name="connsiteY77" fmla="*/ 2006608 h 2079633"/>
                <a:gd name="connsiteX78" fmla="*/ 1270998 w 2145038"/>
                <a:gd name="connsiteY78" fmla="*/ 2025658 h 2079633"/>
                <a:gd name="connsiteX79" fmla="*/ 1258298 w 2145038"/>
                <a:gd name="connsiteY79" fmla="*/ 2032008 h 2079633"/>
                <a:gd name="connsiteX80" fmla="*/ 1236073 w 2145038"/>
                <a:gd name="connsiteY80" fmla="*/ 2038358 h 2079633"/>
                <a:gd name="connsiteX81" fmla="*/ 1226548 w 2145038"/>
                <a:gd name="connsiteY81" fmla="*/ 2044708 h 2079633"/>
                <a:gd name="connsiteX82" fmla="*/ 1217023 w 2145038"/>
                <a:gd name="connsiteY82" fmla="*/ 2047883 h 2079633"/>
                <a:gd name="connsiteX83" fmla="*/ 1175748 w 2145038"/>
                <a:gd name="connsiteY83" fmla="*/ 2057408 h 2079633"/>
                <a:gd name="connsiteX84" fmla="*/ 1150348 w 2145038"/>
                <a:gd name="connsiteY84" fmla="*/ 2070108 h 2079633"/>
                <a:gd name="connsiteX85" fmla="*/ 1102723 w 2145038"/>
                <a:gd name="connsiteY85" fmla="*/ 2079633 h 2079633"/>
                <a:gd name="connsiteX86" fmla="*/ 928098 w 2145038"/>
                <a:gd name="connsiteY86" fmla="*/ 2070108 h 2079633"/>
                <a:gd name="connsiteX87" fmla="*/ 886823 w 2145038"/>
                <a:gd name="connsiteY87" fmla="*/ 2054233 h 2079633"/>
                <a:gd name="connsiteX88" fmla="*/ 861423 w 2145038"/>
                <a:gd name="connsiteY88" fmla="*/ 2051058 h 2079633"/>
                <a:gd name="connsiteX89" fmla="*/ 845548 w 2145038"/>
                <a:gd name="connsiteY89" fmla="*/ 2035183 h 2079633"/>
                <a:gd name="connsiteX90" fmla="*/ 769348 w 2145038"/>
                <a:gd name="connsiteY90" fmla="*/ 1974858 h 2079633"/>
                <a:gd name="connsiteX91" fmla="*/ 747123 w 2145038"/>
                <a:gd name="connsiteY91" fmla="*/ 1946283 h 2079633"/>
                <a:gd name="connsiteX92" fmla="*/ 731248 w 2145038"/>
                <a:gd name="connsiteY92" fmla="*/ 1933583 h 2079633"/>
                <a:gd name="connsiteX93" fmla="*/ 715373 w 2145038"/>
                <a:gd name="connsiteY93" fmla="*/ 1917708 h 2079633"/>
                <a:gd name="connsiteX94" fmla="*/ 699498 w 2145038"/>
                <a:gd name="connsiteY94" fmla="*/ 1905008 h 2079633"/>
                <a:gd name="connsiteX95" fmla="*/ 680448 w 2145038"/>
                <a:gd name="connsiteY95" fmla="*/ 1885958 h 2079633"/>
                <a:gd name="connsiteX96" fmla="*/ 642348 w 2145038"/>
                <a:gd name="connsiteY96" fmla="*/ 1854208 h 2079633"/>
                <a:gd name="connsiteX97" fmla="*/ 601073 w 2145038"/>
                <a:gd name="connsiteY97" fmla="*/ 1806583 h 2079633"/>
                <a:gd name="connsiteX98" fmla="*/ 578848 w 2145038"/>
                <a:gd name="connsiteY98" fmla="*/ 1781183 h 2079633"/>
                <a:gd name="connsiteX99" fmla="*/ 537573 w 2145038"/>
                <a:gd name="connsiteY99" fmla="*/ 1739908 h 2079633"/>
                <a:gd name="connsiteX100" fmla="*/ 499473 w 2145038"/>
                <a:gd name="connsiteY100" fmla="*/ 1704983 h 2079633"/>
                <a:gd name="connsiteX101" fmla="*/ 470898 w 2145038"/>
                <a:gd name="connsiteY101" fmla="*/ 1670058 h 2079633"/>
                <a:gd name="connsiteX102" fmla="*/ 413748 w 2145038"/>
                <a:gd name="connsiteY102" fmla="*/ 1622433 h 2079633"/>
                <a:gd name="connsiteX103" fmla="*/ 401048 w 2145038"/>
                <a:gd name="connsiteY103" fmla="*/ 1612908 h 2079633"/>
                <a:gd name="connsiteX104" fmla="*/ 369298 w 2145038"/>
                <a:gd name="connsiteY104" fmla="*/ 1584333 h 2079633"/>
                <a:gd name="connsiteX105" fmla="*/ 328023 w 2145038"/>
                <a:gd name="connsiteY105" fmla="*/ 1558933 h 2079633"/>
                <a:gd name="connsiteX106" fmla="*/ 302623 w 2145038"/>
                <a:gd name="connsiteY106" fmla="*/ 1539883 h 2079633"/>
                <a:gd name="connsiteX107" fmla="*/ 223248 w 2145038"/>
                <a:gd name="connsiteY107" fmla="*/ 1470033 h 2079633"/>
                <a:gd name="connsiteX108" fmla="*/ 175623 w 2145038"/>
                <a:gd name="connsiteY108" fmla="*/ 1412883 h 2079633"/>
                <a:gd name="connsiteX109" fmla="*/ 118473 w 2145038"/>
                <a:gd name="connsiteY109" fmla="*/ 1339858 h 2079633"/>
                <a:gd name="connsiteX110" fmla="*/ 83548 w 2145038"/>
                <a:gd name="connsiteY110" fmla="*/ 1292233 h 2079633"/>
                <a:gd name="connsiteX111" fmla="*/ 64498 w 2145038"/>
                <a:gd name="connsiteY111" fmla="*/ 1266833 h 2079633"/>
                <a:gd name="connsiteX112" fmla="*/ 35923 w 2145038"/>
                <a:gd name="connsiteY112" fmla="*/ 1206508 h 2079633"/>
                <a:gd name="connsiteX113" fmla="*/ 26398 w 2145038"/>
                <a:gd name="connsiteY113" fmla="*/ 1171583 h 2079633"/>
                <a:gd name="connsiteX114" fmla="*/ 20048 w 2145038"/>
                <a:gd name="connsiteY114" fmla="*/ 1149358 h 2079633"/>
                <a:gd name="connsiteX115" fmla="*/ 16873 w 2145038"/>
                <a:gd name="connsiteY115" fmla="*/ 1133483 h 2079633"/>
                <a:gd name="connsiteX116" fmla="*/ 7348 w 2145038"/>
                <a:gd name="connsiteY116" fmla="*/ 1095383 h 2079633"/>
                <a:gd name="connsiteX117" fmla="*/ 998 w 2145038"/>
                <a:gd name="connsiteY117" fmla="*/ 1012833 h 2079633"/>
                <a:gd name="connsiteX118" fmla="*/ 10523 w 2145038"/>
                <a:gd name="connsiteY118" fmla="*/ 882658 h 2079633"/>
                <a:gd name="connsiteX119" fmla="*/ 35923 w 2145038"/>
                <a:gd name="connsiteY119" fmla="*/ 835033 h 2079633"/>
                <a:gd name="connsiteX120" fmla="*/ 51798 w 2145038"/>
                <a:gd name="connsiteY120" fmla="*/ 806458 h 2079633"/>
                <a:gd name="connsiteX121" fmla="*/ 83548 w 2145038"/>
                <a:gd name="connsiteY121" fmla="*/ 762008 h 2079633"/>
                <a:gd name="connsiteX122" fmla="*/ 99423 w 2145038"/>
                <a:gd name="connsiteY122" fmla="*/ 742958 h 2079633"/>
                <a:gd name="connsiteX123" fmla="*/ 143873 w 2145038"/>
                <a:gd name="connsiteY123" fmla="*/ 676283 h 2079633"/>
                <a:gd name="connsiteX124" fmla="*/ 308973 w 2145038"/>
                <a:gd name="connsiteY124" fmla="*/ 523883 h 2079633"/>
                <a:gd name="connsiteX125" fmla="*/ 366123 w 2145038"/>
                <a:gd name="connsiteY125" fmla="*/ 463558 h 2079633"/>
                <a:gd name="connsiteX126" fmla="*/ 416923 w 2145038"/>
                <a:gd name="connsiteY126" fmla="*/ 409583 h 2079633"/>
                <a:gd name="connsiteX127" fmla="*/ 445498 w 2145038"/>
                <a:gd name="connsiteY127" fmla="*/ 377833 h 2079633"/>
                <a:gd name="connsiteX128" fmla="*/ 493123 w 2145038"/>
                <a:gd name="connsiteY128" fmla="*/ 333383 h 2079633"/>
                <a:gd name="connsiteX129" fmla="*/ 712198 w 2145038"/>
                <a:gd name="connsiteY129" fmla="*/ 136533 h 2079633"/>
                <a:gd name="connsiteX130" fmla="*/ 750298 w 2145038"/>
                <a:gd name="connsiteY130" fmla="*/ 111133 h 2079633"/>
                <a:gd name="connsiteX131" fmla="*/ 785223 w 2145038"/>
                <a:gd name="connsiteY131" fmla="*/ 88908 h 2079633"/>
                <a:gd name="connsiteX132" fmla="*/ 883648 w 2145038"/>
                <a:gd name="connsiteY132" fmla="*/ 38108 h 2079633"/>
                <a:gd name="connsiteX133" fmla="*/ 1077323 w 2145038"/>
                <a:gd name="connsiteY133" fmla="*/ 8 h 2079633"/>
                <a:gd name="connsiteX134" fmla="*/ 1267823 w 2145038"/>
                <a:gd name="connsiteY134" fmla="*/ 34933 h 2079633"/>
                <a:gd name="connsiteX135" fmla="*/ 1296398 w 2145038"/>
                <a:gd name="connsiteY135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17123 w 2145038"/>
                <a:gd name="connsiteY42" fmla="*/ 755658 h 2079633"/>
                <a:gd name="connsiteX43" fmla="*/ 2023473 w 2145038"/>
                <a:gd name="connsiteY43" fmla="*/ 765183 h 2079633"/>
                <a:gd name="connsiteX44" fmla="*/ 2071098 w 2145038"/>
                <a:gd name="connsiteY44" fmla="*/ 838208 h 2079633"/>
                <a:gd name="connsiteX45" fmla="*/ 2090148 w 2145038"/>
                <a:gd name="connsiteY45" fmla="*/ 895358 h 2079633"/>
                <a:gd name="connsiteX46" fmla="*/ 2131423 w 2145038"/>
                <a:gd name="connsiteY46" fmla="*/ 971558 h 2079633"/>
                <a:gd name="connsiteX47" fmla="*/ 2121898 w 2145038"/>
                <a:gd name="connsiteY47" fmla="*/ 1171583 h 2079633"/>
                <a:gd name="connsiteX48" fmla="*/ 1928223 w 2145038"/>
                <a:gd name="connsiteY48" fmla="*/ 1435108 h 2079633"/>
                <a:gd name="connsiteX49" fmla="*/ 1905998 w 2145038"/>
                <a:gd name="connsiteY49" fmla="*/ 1454158 h 2079633"/>
                <a:gd name="connsiteX50" fmla="*/ 1848848 w 2145038"/>
                <a:gd name="connsiteY50" fmla="*/ 1485908 h 2079633"/>
                <a:gd name="connsiteX51" fmla="*/ 1810748 w 2145038"/>
                <a:gd name="connsiteY51" fmla="*/ 1517658 h 2079633"/>
                <a:gd name="connsiteX52" fmla="*/ 1791698 w 2145038"/>
                <a:gd name="connsiteY52" fmla="*/ 1533533 h 2079633"/>
                <a:gd name="connsiteX53" fmla="*/ 1775823 w 2145038"/>
                <a:gd name="connsiteY53" fmla="*/ 1543058 h 2079633"/>
                <a:gd name="connsiteX54" fmla="*/ 1718673 w 2145038"/>
                <a:gd name="connsiteY54" fmla="*/ 1606558 h 2079633"/>
                <a:gd name="connsiteX55" fmla="*/ 1709148 w 2145038"/>
                <a:gd name="connsiteY55" fmla="*/ 1619258 h 2079633"/>
                <a:gd name="connsiteX56" fmla="*/ 1680573 w 2145038"/>
                <a:gd name="connsiteY56" fmla="*/ 1651008 h 2079633"/>
                <a:gd name="connsiteX57" fmla="*/ 1658348 w 2145038"/>
                <a:gd name="connsiteY57" fmla="*/ 1679583 h 2079633"/>
                <a:gd name="connsiteX58" fmla="*/ 1623423 w 2145038"/>
                <a:gd name="connsiteY58" fmla="*/ 1714508 h 2079633"/>
                <a:gd name="connsiteX59" fmla="*/ 1604373 w 2145038"/>
                <a:gd name="connsiteY59" fmla="*/ 1733558 h 2079633"/>
                <a:gd name="connsiteX60" fmla="*/ 1569448 w 2145038"/>
                <a:gd name="connsiteY60" fmla="*/ 1774833 h 2079633"/>
                <a:gd name="connsiteX61" fmla="*/ 1559923 w 2145038"/>
                <a:gd name="connsiteY61" fmla="*/ 1787533 h 2079633"/>
                <a:gd name="connsiteX62" fmla="*/ 1547223 w 2145038"/>
                <a:gd name="connsiteY62" fmla="*/ 1797058 h 2079633"/>
                <a:gd name="connsiteX63" fmla="*/ 1540873 w 2145038"/>
                <a:gd name="connsiteY63" fmla="*/ 1806583 h 2079633"/>
                <a:gd name="connsiteX64" fmla="*/ 1524998 w 2145038"/>
                <a:gd name="connsiteY64" fmla="*/ 1816108 h 2079633"/>
                <a:gd name="connsiteX65" fmla="*/ 1480548 w 2145038"/>
                <a:gd name="connsiteY65" fmla="*/ 1860558 h 2079633"/>
                <a:gd name="connsiteX66" fmla="*/ 1464673 w 2145038"/>
                <a:gd name="connsiteY66" fmla="*/ 1879608 h 2079633"/>
                <a:gd name="connsiteX67" fmla="*/ 1455148 w 2145038"/>
                <a:gd name="connsiteY67" fmla="*/ 1892308 h 2079633"/>
                <a:gd name="connsiteX68" fmla="*/ 1445623 w 2145038"/>
                <a:gd name="connsiteY68" fmla="*/ 1901833 h 2079633"/>
                <a:gd name="connsiteX69" fmla="*/ 1432923 w 2145038"/>
                <a:gd name="connsiteY69" fmla="*/ 1917708 h 2079633"/>
                <a:gd name="connsiteX70" fmla="*/ 1423398 w 2145038"/>
                <a:gd name="connsiteY70" fmla="*/ 1927233 h 2079633"/>
                <a:gd name="connsiteX71" fmla="*/ 1417048 w 2145038"/>
                <a:gd name="connsiteY71" fmla="*/ 1936758 h 2079633"/>
                <a:gd name="connsiteX72" fmla="*/ 1391648 w 2145038"/>
                <a:gd name="connsiteY72" fmla="*/ 1955808 h 2079633"/>
                <a:gd name="connsiteX73" fmla="*/ 1356723 w 2145038"/>
                <a:gd name="connsiteY73" fmla="*/ 1971683 h 2079633"/>
                <a:gd name="connsiteX74" fmla="*/ 1344023 w 2145038"/>
                <a:gd name="connsiteY74" fmla="*/ 1978033 h 2079633"/>
                <a:gd name="connsiteX75" fmla="*/ 1331323 w 2145038"/>
                <a:gd name="connsiteY75" fmla="*/ 1987558 h 2079633"/>
                <a:gd name="connsiteX76" fmla="*/ 1312273 w 2145038"/>
                <a:gd name="connsiteY76" fmla="*/ 2006608 h 2079633"/>
                <a:gd name="connsiteX77" fmla="*/ 1270998 w 2145038"/>
                <a:gd name="connsiteY77" fmla="*/ 2025658 h 2079633"/>
                <a:gd name="connsiteX78" fmla="*/ 1258298 w 2145038"/>
                <a:gd name="connsiteY78" fmla="*/ 2032008 h 2079633"/>
                <a:gd name="connsiteX79" fmla="*/ 1236073 w 2145038"/>
                <a:gd name="connsiteY79" fmla="*/ 2038358 h 2079633"/>
                <a:gd name="connsiteX80" fmla="*/ 1226548 w 2145038"/>
                <a:gd name="connsiteY80" fmla="*/ 2044708 h 2079633"/>
                <a:gd name="connsiteX81" fmla="*/ 1217023 w 2145038"/>
                <a:gd name="connsiteY81" fmla="*/ 2047883 h 2079633"/>
                <a:gd name="connsiteX82" fmla="*/ 1175748 w 2145038"/>
                <a:gd name="connsiteY82" fmla="*/ 2057408 h 2079633"/>
                <a:gd name="connsiteX83" fmla="*/ 1150348 w 2145038"/>
                <a:gd name="connsiteY83" fmla="*/ 2070108 h 2079633"/>
                <a:gd name="connsiteX84" fmla="*/ 1102723 w 2145038"/>
                <a:gd name="connsiteY84" fmla="*/ 2079633 h 2079633"/>
                <a:gd name="connsiteX85" fmla="*/ 928098 w 2145038"/>
                <a:gd name="connsiteY85" fmla="*/ 2070108 h 2079633"/>
                <a:gd name="connsiteX86" fmla="*/ 886823 w 2145038"/>
                <a:gd name="connsiteY86" fmla="*/ 2054233 h 2079633"/>
                <a:gd name="connsiteX87" fmla="*/ 861423 w 2145038"/>
                <a:gd name="connsiteY87" fmla="*/ 2051058 h 2079633"/>
                <a:gd name="connsiteX88" fmla="*/ 845548 w 2145038"/>
                <a:gd name="connsiteY88" fmla="*/ 2035183 h 2079633"/>
                <a:gd name="connsiteX89" fmla="*/ 769348 w 2145038"/>
                <a:gd name="connsiteY89" fmla="*/ 1974858 h 2079633"/>
                <a:gd name="connsiteX90" fmla="*/ 747123 w 2145038"/>
                <a:gd name="connsiteY90" fmla="*/ 1946283 h 2079633"/>
                <a:gd name="connsiteX91" fmla="*/ 731248 w 2145038"/>
                <a:gd name="connsiteY91" fmla="*/ 1933583 h 2079633"/>
                <a:gd name="connsiteX92" fmla="*/ 715373 w 2145038"/>
                <a:gd name="connsiteY92" fmla="*/ 1917708 h 2079633"/>
                <a:gd name="connsiteX93" fmla="*/ 699498 w 2145038"/>
                <a:gd name="connsiteY93" fmla="*/ 1905008 h 2079633"/>
                <a:gd name="connsiteX94" fmla="*/ 680448 w 2145038"/>
                <a:gd name="connsiteY94" fmla="*/ 1885958 h 2079633"/>
                <a:gd name="connsiteX95" fmla="*/ 642348 w 2145038"/>
                <a:gd name="connsiteY95" fmla="*/ 1854208 h 2079633"/>
                <a:gd name="connsiteX96" fmla="*/ 601073 w 2145038"/>
                <a:gd name="connsiteY96" fmla="*/ 1806583 h 2079633"/>
                <a:gd name="connsiteX97" fmla="*/ 578848 w 2145038"/>
                <a:gd name="connsiteY97" fmla="*/ 1781183 h 2079633"/>
                <a:gd name="connsiteX98" fmla="*/ 537573 w 2145038"/>
                <a:gd name="connsiteY98" fmla="*/ 1739908 h 2079633"/>
                <a:gd name="connsiteX99" fmla="*/ 499473 w 2145038"/>
                <a:gd name="connsiteY99" fmla="*/ 1704983 h 2079633"/>
                <a:gd name="connsiteX100" fmla="*/ 470898 w 2145038"/>
                <a:gd name="connsiteY100" fmla="*/ 1670058 h 2079633"/>
                <a:gd name="connsiteX101" fmla="*/ 413748 w 2145038"/>
                <a:gd name="connsiteY101" fmla="*/ 1622433 h 2079633"/>
                <a:gd name="connsiteX102" fmla="*/ 401048 w 2145038"/>
                <a:gd name="connsiteY102" fmla="*/ 1612908 h 2079633"/>
                <a:gd name="connsiteX103" fmla="*/ 369298 w 2145038"/>
                <a:gd name="connsiteY103" fmla="*/ 1584333 h 2079633"/>
                <a:gd name="connsiteX104" fmla="*/ 328023 w 2145038"/>
                <a:gd name="connsiteY104" fmla="*/ 1558933 h 2079633"/>
                <a:gd name="connsiteX105" fmla="*/ 302623 w 2145038"/>
                <a:gd name="connsiteY105" fmla="*/ 1539883 h 2079633"/>
                <a:gd name="connsiteX106" fmla="*/ 223248 w 2145038"/>
                <a:gd name="connsiteY106" fmla="*/ 1470033 h 2079633"/>
                <a:gd name="connsiteX107" fmla="*/ 175623 w 2145038"/>
                <a:gd name="connsiteY107" fmla="*/ 1412883 h 2079633"/>
                <a:gd name="connsiteX108" fmla="*/ 118473 w 2145038"/>
                <a:gd name="connsiteY108" fmla="*/ 1339858 h 2079633"/>
                <a:gd name="connsiteX109" fmla="*/ 83548 w 2145038"/>
                <a:gd name="connsiteY109" fmla="*/ 1292233 h 2079633"/>
                <a:gd name="connsiteX110" fmla="*/ 64498 w 2145038"/>
                <a:gd name="connsiteY110" fmla="*/ 1266833 h 2079633"/>
                <a:gd name="connsiteX111" fmla="*/ 35923 w 2145038"/>
                <a:gd name="connsiteY111" fmla="*/ 1206508 h 2079633"/>
                <a:gd name="connsiteX112" fmla="*/ 26398 w 2145038"/>
                <a:gd name="connsiteY112" fmla="*/ 1171583 h 2079633"/>
                <a:gd name="connsiteX113" fmla="*/ 20048 w 2145038"/>
                <a:gd name="connsiteY113" fmla="*/ 1149358 h 2079633"/>
                <a:gd name="connsiteX114" fmla="*/ 16873 w 2145038"/>
                <a:gd name="connsiteY114" fmla="*/ 1133483 h 2079633"/>
                <a:gd name="connsiteX115" fmla="*/ 7348 w 2145038"/>
                <a:gd name="connsiteY115" fmla="*/ 1095383 h 2079633"/>
                <a:gd name="connsiteX116" fmla="*/ 998 w 2145038"/>
                <a:gd name="connsiteY116" fmla="*/ 1012833 h 2079633"/>
                <a:gd name="connsiteX117" fmla="*/ 10523 w 2145038"/>
                <a:gd name="connsiteY117" fmla="*/ 882658 h 2079633"/>
                <a:gd name="connsiteX118" fmla="*/ 35923 w 2145038"/>
                <a:gd name="connsiteY118" fmla="*/ 835033 h 2079633"/>
                <a:gd name="connsiteX119" fmla="*/ 51798 w 2145038"/>
                <a:gd name="connsiteY119" fmla="*/ 806458 h 2079633"/>
                <a:gd name="connsiteX120" fmla="*/ 83548 w 2145038"/>
                <a:gd name="connsiteY120" fmla="*/ 762008 h 2079633"/>
                <a:gd name="connsiteX121" fmla="*/ 99423 w 2145038"/>
                <a:gd name="connsiteY121" fmla="*/ 742958 h 2079633"/>
                <a:gd name="connsiteX122" fmla="*/ 143873 w 2145038"/>
                <a:gd name="connsiteY122" fmla="*/ 676283 h 2079633"/>
                <a:gd name="connsiteX123" fmla="*/ 308973 w 2145038"/>
                <a:gd name="connsiteY123" fmla="*/ 523883 h 2079633"/>
                <a:gd name="connsiteX124" fmla="*/ 366123 w 2145038"/>
                <a:gd name="connsiteY124" fmla="*/ 463558 h 2079633"/>
                <a:gd name="connsiteX125" fmla="*/ 416923 w 2145038"/>
                <a:gd name="connsiteY125" fmla="*/ 409583 h 2079633"/>
                <a:gd name="connsiteX126" fmla="*/ 445498 w 2145038"/>
                <a:gd name="connsiteY126" fmla="*/ 377833 h 2079633"/>
                <a:gd name="connsiteX127" fmla="*/ 493123 w 2145038"/>
                <a:gd name="connsiteY127" fmla="*/ 333383 h 2079633"/>
                <a:gd name="connsiteX128" fmla="*/ 712198 w 2145038"/>
                <a:gd name="connsiteY128" fmla="*/ 136533 h 2079633"/>
                <a:gd name="connsiteX129" fmla="*/ 750298 w 2145038"/>
                <a:gd name="connsiteY129" fmla="*/ 111133 h 2079633"/>
                <a:gd name="connsiteX130" fmla="*/ 785223 w 2145038"/>
                <a:gd name="connsiteY130" fmla="*/ 88908 h 2079633"/>
                <a:gd name="connsiteX131" fmla="*/ 883648 w 2145038"/>
                <a:gd name="connsiteY131" fmla="*/ 38108 h 2079633"/>
                <a:gd name="connsiteX132" fmla="*/ 1077323 w 2145038"/>
                <a:gd name="connsiteY132" fmla="*/ 8 h 2079633"/>
                <a:gd name="connsiteX133" fmla="*/ 1267823 w 2145038"/>
                <a:gd name="connsiteY133" fmla="*/ 34933 h 2079633"/>
                <a:gd name="connsiteX134" fmla="*/ 1296398 w 2145038"/>
                <a:gd name="connsiteY134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47123 w 2145038"/>
                <a:gd name="connsiteY89" fmla="*/ 1946283 h 2079633"/>
                <a:gd name="connsiteX90" fmla="*/ 731248 w 2145038"/>
                <a:gd name="connsiteY90" fmla="*/ 1933583 h 2079633"/>
                <a:gd name="connsiteX91" fmla="*/ 715373 w 2145038"/>
                <a:gd name="connsiteY91" fmla="*/ 1917708 h 2079633"/>
                <a:gd name="connsiteX92" fmla="*/ 699498 w 2145038"/>
                <a:gd name="connsiteY92" fmla="*/ 1905008 h 2079633"/>
                <a:gd name="connsiteX93" fmla="*/ 680448 w 2145038"/>
                <a:gd name="connsiteY93" fmla="*/ 1885958 h 2079633"/>
                <a:gd name="connsiteX94" fmla="*/ 642348 w 2145038"/>
                <a:gd name="connsiteY94" fmla="*/ 1854208 h 2079633"/>
                <a:gd name="connsiteX95" fmla="*/ 601073 w 2145038"/>
                <a:gd name="connsiteY95" fmla="*/ 1806583 h 2079633"/>
                <a:gd name="connsiteX96" fmla="*/ 578848 w 2145038"/>
                <a:gd name="connsiteY96" fmla="*/ 1781183 h 2079633"/>
                <a:gd name="connsiteX97" fmla="*/ 537573 w 2145038"/>
                <a:gd name="connsiteY97" fmla="*/ 1739908 h 2079633"/>
                <a:gd name="connsiteX98" fmla="*/ 499473 w 2145038"/>
                <a:gd name="connsiteY98" fmla="*/ 1704983 h 2079633"/>
                <a:gd name="connsiteX99" fmla="*/ 470898 w 2145038"/>
                <a:gd name="connsiteY99" fmla="*/ 1670058 h 2079633"/>
                <a:gd name="connsiteX100" fmla="*/ 413748 w 2145038"/>
                <a:gd name="connsiteY100" fmla="*/ 1622433 h 2079633"/>
                <a:gd name="connsiteX101" fmla="*/ 401048 w 2145038"/>
                <a:gd name="connsiteY101" fmla="*/ 1612908 h 2079633"/>
                <a:gd name="connsiteX102" fmla="*/ 369298 w 2145038"/>
                <a:gd name="connsiteY102" fmla="*/ 1584333 h 2079633"/>
                <a:gd name="connsiteX103" fmla="*/ 328023 w 2145038"/>
                <a:gd name="connsiteY103" fmla="*/ 1558933 h 2079633"/>
                <a:gd name="connsiteX104" fmla="*/ 302623 w 2145038"/>
                <a:gd name="connsiteY104" fmla="*/ 1539883 h 2079633"/>
                <a:gd name="connsiteX105" fmla="*/ 223248 w 2145038"/>
                <a:gd name="connsiteY105" fmla="*/ 1470033 h 2079633"/>
                <a:gd name="connsiteX106" fmla="*/ 175623 w 2145038"/>
                <a:gd name="connsiteY106" fmla="*/ 1412883 h 2079633"/>
                <a:gd name="connsiteX107" fmla="*/ 118473 w 2145038"/>
                <a:gd name="connsiteY107" fmla="*/ 1339858 h 2079633"/>
                <a:gd name="connsiteX108" fmla="*/ 83548 w 2145038"/>
                <a:gd name="connsiteY108" fmla="*/ 1292233 h 2079633"/>
                <a:gd name="connsiteX109" fmla="*/ 64498 w 2145038"/>
                <a:gd name="connsiteY109" fmla="*/ 1266833 h 2079633"/>
                <a:gd name="connsiteX110" fmla="*/ 35923 w 2145038"/>
                <a:gd name="connsiteY110" fmla="*/ 1206508 h 2079633"/>
                <a:gd name="connsiteX111" fmla="*/ 26398 w 2145038"/>
                <a:gd name="connsiteY111" fmla="*/ 1171583 h 2079633"/>
                <a:gd name="connsiteX112" fmla="*/ 20048 w 2145038"/>
                <a:gd name="connsiteY112" fmla="*/ 1149358 h 2079633"/>
                <a:gd name="connsiteX113" fmla="*/ 16873 w 2145038"/>
                <a:gd name="connsiteY113" fmla="*/ 1133483 h 2079633"/>
                <a:gd name="connsiteX114" fmla="*/ 7348 w 2145038"/>
                <a:gd name="connsiteY114" fmla="*/ 1095383 h 2079633"/>
                <a:gd name="connsiteX115" fmla="*/ 998 w 2145038"/>
                <a:gd name="connsiteY115" fmla="*/ 1012833 h 2079633"/>
                <a:gd name="connsiteX116" fmla="*/ 10523 w 2145038"/>
                <a:gd name="connsiteY116" fmla="*/ 882658 h 2079633"/>
                <a:gd name="connsiteX117" fmla="*/ 35923 w 2145038"/>
                <a:gd name="connsiteY117" fmla="*/ 835033 h 2079633"/>
                <a:gd name="connsiteX118" fmla="*/ 51798 w 2145038"/>
                <a:gd name="connsiteY118" fmla="*/ 806458 h 2079633"/>
                <a:gd name="connsiteX119" fmla="*/ 83548 w 2145038"/>
                <a:gd name="connsiteY119" fmla="*/ 762008 h 2079633"/>
                <a:gd name="connsiteX120" fmla="*/ 99423 w 2145038"/>
                <a:gd name="connsiteY120" fmla="*/ 742958 h 2079633"/>
                <a:gd name="connsiteX121" fmla="*/ 143873 w 2145038"/>
                <a:gd name="connsiteY121" fmla="*/ 676283 h 2079633"/>
                <a:gd name="connsiteX122" fmla="*/ 308973 w 2145038"/>
                <a:gd name="connsiteY122" fmla="*/ 523883 h 2079633"/>
                <a:gd name="connsiteX123" fmla="*/ 366123 w 2145038"/>
                <a:gd name="connsiteY123" fmla="*/ 463558 h 2079633"/>
                <a:gd name="connsiteX124" fmla="*/ 416923 w 2145038"/>
                <a:gd name="connsiteY124" fmla="*/ 409583 h 2079633"/>
                <a:gd name="connsiteX125" fmla="*/ 445498 w 2145038"/>
                <a:gd name="connsiteY125" fmla="*/ 377833 h 2079633"/>
                <a:gd name="connsiteX126" fmla="*/ 493123 w 2145038"/>
                <a:gd name="connsiteY126" fmla="*/ 333383 h 2079633"/>
                <a:gd name="connsiteX127" fmla="*/ 712198 w 2145038"/>
                <a:gd name="connsiteY127" fmla="*/ 136533 h 2079633"/>
                <a:gd name="connsiteX128" fmla="*/ 750298 w 2145038"/>
                <a:gd name="connsiteY128" fmla="*/ 111133 h 2079633"/>
                <a:gd name="connsiteX129" fmla="*/ 785223 w 2145038"/>
                <a:gd name="connsiteY129" fmla="*/ 88908 h 2079633"/>
                <a:gd name="connsiteX130" fmla="*/ 883648 w 2145038"/>
                <a:gd name="connsiteY130" fmla="*/ 38108 h 2079633"/>
                <a:gd name="connsiteX131" fmla="*/ 1077323 w 2145038"/>
                <a:gd name="connsiteY131" fmla="*/ 8 h 2079633"/>
                <a:gd name="connsiteX132" fmla="*/ 1267823 w 2145038"/>
                <a:gd name="connsiteY132" fmla="*/ 34933 h 2079633"/>
                <a:gd name="connsiteX133" fmla="*/ 1296398 w 2145038"/>
                <a:gd name="connsiteY133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69348 w 2145038"/>
                <a:gd name="connsiteY88" fmla="*/ 1974858 h 2079633"/>
                <a:gd name="connsiteX89" fmla="*/ 731248 w 2145038"/>
                <a:gd name="connsiteY89" fmla="*/ 1933583 h 2079633"/>
                <a:gd name="connsiteX90" fmla="*/ 715373 w 2145038"/>
                <a:gd name="connsiteY90" fmla="*/ 1917708 h 2079633"/>
                <a:gd name="connsiteX91" fmla="*/ 699498 w 2145038"/>
                <a:gd name="connsiteY91" fmla="*/ 1905008 h 2079633"/>
                <a:gd name="connsiteX92" fmla="*/ 680448 w 2145038"/>
                <a:gd name="connsiteY92" fmla="*/ 1885958 h 2079633"/>
                <a:gd name="connsiteX93" fmla="*/ 642348 w 2145038"/>
                <a:gd name="connsiteY93" fmla="*/ 1854208 h 2079633"/>
                <a:gd name="connsiteX94" fmla="*/ 601073 w 2145038"/>
                <a:gd name="connsiteY94" fmla="*/ 1806583 h 2079633"/>
                <a:gd name="connsiteX95" fmla="*/ 578848 w 2145038"/>
                <a:gd name="connsiteY95" fmla="*/ 1781183 h 2079633"/>
                <a:gd name="connsiteX96" fmla="*/ 537573 w 2145038"/>
                <a:gd name="connsiteY96" fmla="*/ 1739908 h 2079633"/>
                <a:gd name="connsiteX97" fmla="*/ 499473 w 2145038"/>
                <a:gd name="connsiteY97" fmla="*/ 1704983 h 2079633"/>
                <a:gd name="connsiteX98" fmla="*/ 470898 w 2145038"/>
                <a:gd name="connsiteY98" fmla="*/ 1670058 h 2079633"/>
                <a:gd name="connsiteX99" fmla="*/ 413748 w 2145038"/>
                <a:gd name="connsiteY99" fmla="*/ 1622433 h 2079633"/>
                <a:gd name="connsiteX100" fmla="*/ 401048 w 2145038"/>
                <a:gd name="connsiteY100" fmla="*/ 1612908 h 2079633"/>
                <a:gd name="connsiteX101" fmla="*/ 369298 w 2145038"/>
                <a:gd name="connsiteY101" fmla="*/ 1584333 h 2079633"/>
                <a:gd name="connsiteX102" fmla="*/ 328023 w 2145038"/>
                <a:gd name="connsiteY102" fmla="*/ 1558933 h 2079633"/>
                <a:gd name="connsiteX103" fmla="*/ 302623 w 2145038"/>
                <a:gd name="connsiteY103" fmla="*/ 1539883 h 2079633"/>
                <a:gd name="connsiteX104" fmla="*/ 223248 w 2145038"/>
                <a:gd name="connsiteY104" fmla="*/ 1470033 h 2079633"/>
                <a:gd name="connsiteX105" fmla="*/ 175623 w 2145038"/>
                <a:gd name="connsiteY105" fmla="*/ 1412883 h 2079633"/>
                <a:gd name="connsiteX106" fmla="*/ 118473 w 2145038"/>
                <a:gd name="connsiteY106" fmla="*/ 1339858 h 2079633"/>
                <a:gd name="connsiteX107" fmla="*/ 83548 w 2145038"/>
                <a:gd name="connsiteY107" fmla="*/ 1292233 h 2079633"/>
                <a:gd name="connsiteX108" fmla="*/ 64498 w 2145038"/>
                <a:gd name="connsiteY108" fmla="*/ 1266833 h 2079633"/>
                <a:gd name="connsiteX109" fmla="*/ 35923 w 2145038"/>
                <a:gd name="connsiteY109" fmla="*/ 1206508 h 2079633"/>
                <a:gd name="connsiteX110" fmla="*/ 26398 w 2145038"/>
                <a:gd name="connsiteY110" fmla="*/ 1171583 h 2079633"/>
                <a:gd name="connsiteX111" fmla="*/ 20048 w 2145038"/>
                <a:gd name="connsiteY111" fmla="*/ 1149358 h 2079633"/>
                <a:gd name="connsiteX112" fmla="*/ 16873 w 2145038"/>
                <a:gd name="connsiteY112" fmla="*/ 1133483 h 2079633"/>
                <a:gd name="connsiteX113" fmla="*/ 7348 w 2145038"/>
                <a:gd name="connsiteY113" fmla="*/ 1095383 h 2079633"/>
                <a:gd name="connsiteX114" fmla="*/ 998 w 2145038"/>
                <a:gd name="connsiteY114" fmla="*/ 1012833 h 2079633"/>
                <a:gd name="connsiteX115" fmla="*/ 10523 w 2145038"/>
                <a:gd name="connsiteY115" fmla="*/ 882658 h 2079633"/>
                <a:gd name="connsiteX116" fmla="*/ 35923 w 2145038"/>
                <a:gd name="connsiteY116" fmla="*/ 835033 h 2079633"/>
                <a:gd name="connsiteX117" fmla="*/ 51798 w 2145038"/>
                <a:gd name="connsiteY117" fmla="*/ 806458 h 2079633"/>
                <a:gd name="connsiteX118" fmla="*/ 83548 w 2145038"/>
                <a:gd name="connsiteY118" fmla="*/ 762008 h 2079633"/>
                <a:gd name="connsiteX119" fmla="*/ 99423 w 2145038"/>
                <a:gd name="connsiteY119" fmla="*/ 742958 h 2079633"/>
                <a:gd name="connsiteX120" fmla="*/ 143873 w 2145038"/>
                <a:gd name="connsiteY120" fmla="*/ 676283 h 2079633"/>
                <a:gd name="connsiteX121" fmla="*/ 308973 w 2145038"/>
                <a:gd name="connsiteY121" fmla="*/ 523883 h 2079633"/>
                <a:gd name="connsiteX122" fmla="*/ 366123 w 2145038"/>
                <a:gd name="connsiteY122" fmla="*/ 463558 h 2079633"/>
                <a:gd name="connsiteX123" fmla="*/ 416923 w 2145038"/>
                <a:gd name="connsiteY123" fmla="*/ 409583 h 2079633"/>
                <a:gd name="connsiteX124" fmla="*/ 445498 w 2145038"/>
                <a:gd name="connsiteY124" fmla="*/ 377833 h 2079633"/>
                <a:gd name="connsiteX125" fmla="*/ 493123 w 2145038"/>
                <a:gd name="connsiteY125" fmla="*/ 333383 h 2079633"/>
                <a:gd name="connsiteX126" fmla="*/ 712198 w 2145038"/>
                <a:gd name="connsiteY126" fmla="*/ 136533 h 2079633"/>
                <a:gd name="connsiteX127" fmla="*/ 750298 w 2145038"/>
                <a:gd name="connsiteY127" fmla="*/ 111133 h 2079633"/>
                <a:gd name="connsiteX128" fmla="*/ 785223 w 2145038"/>
                <a:gd name="connsiteY128" fmla="*/ 88908 h 2079633"/>
                <a:gd name="connsiteX129" fmla="*/ 883648 w 2145038"/>
                <a:gd name="connsiteY129" fmla="*/ 38108 h 2079633"/>
                <a:gd name="connsiteX130" fmla="*/ 1077323 w 2145038"/>
                <a:gd name="connsiteY130" fmla="*/ 8 h 2079633"/>
                <a:gd name="connsiteX131" fmla="*/ 1267823 w 2145038"/>
                <a:gd name="connsiteY131" fmla="*/ 34933 h 2079633"/>
                <a:gd name="connsiteX132" fmla="*/ 1296398 w 2145038"/>
                <a:gd name="connsiteY132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61423 w 2145038"/>
                <a:gd name="connsiteY86" fmla="*/ 2051058 h 2079633"/>
                <a:gd name="connsiteX87" fmla="*/ 845548 w 2145038"/>
                <a:gd name="connsiteY87" fmla="*/ 2035183 h 2079633"/>
                <a:gd name="connsiteX88" fmla="*/ 731248 w 2145038"/>
                <a:gd name="connsiteY88" fmla="*/ 1933583 h 2079633"/>
                <a:gd name="connsiteX89" fmla="*/ 715373 w 2145038"/>
                <a:gd name="connsiteY89" fmla="*/ 1917708 h 2079633"/>
                <a:gd name="connsiteX90" fmla="*/ 699498 w 2145038"/>
                <a:gd name="connsiteY90" fmla="*/ 1905008 h 2079633"/>
                <a:gd name="connsiteX91" fmla="*/ 680448 w 2145038"/>
                <a:gd name="connsiteY91" fmla="*/ 1885958 h 2079633"/>
                <a:gd name="connsiteX92" fmla="*/ 642348 w 2145038"/>
                <a:gd name="connsiteY92" fmla="*/ 1854208 h 2079633"/>
                <a:gd name="connsiteX93" fmla="*/ 601073 w 2145038"/>
                <a:gd name="connsiteY93" fmla="*/ 1806583 h 2079633"/>
                <a:gd name="connsiteX94" fmla="*/ 578848 w 2145038"/>
                <a:gd name="connsiteY94" fmla="*/ 1781183 h 2079633"/>
                <a:gd name="connsiteX95" fmla="*/ 537573 w 2145038"/>
                <a:gd name="connsiteY95" fmla="*/ 1739908 h 2079633"/>
                <a:gd name="connsiteX96" fmla="*/ 499473 w 2145038"/>
                <a:gd name="connsiteY96" fmla="*/ 1704983 h 2079633"/>
                <a:gd name="connsiteX97" fmla="*/ 470898 w 2145038"/>
                <a:gd name="connsiteY97" fmla="*/ 1670058 h 2079633"/>
                <a:gd name="connsiteX98" fmla="*/ 413748 w 2145038"/>
                <a:gd name="connsiteY98" fmla="*/ 1622433 h 2079633"/>
                <a:gd name="connsiteX99" fmla="*/ 401048 w 2145038"/>
                <a:gd name="connsiteY99" fmla="*/ 1612908 h 2079633"/>
                <a:gd name="connsiteX100" fmla="*/ 369298 w 2145038"/>
                <a:gd name="connsiteY100" fmla="*/ 1584333 h 2079633"/>
                <a:gd name="connsiteX101" fmla="*/ 328023 w 2145038"/>
                <a:gd name="connsiteY101" fmla="*/ 1558933 h 2079633"/>
                <a:gd name="connsiteX102" fmla="*/ 302623 w 2145038"/>
                <a:gd name="connsiteY102" fmla="*/ 1539883 h 2079633"/>
                <a:gd name="connsiteX103" fmla="*/ 223248 w 2145038"/>
                <a:gd name="connsiteY103" fmla="*/ 1470033 h 2079633"/>
                <a:gd name="connsiteX104" fmla="*/ 175623 w 2145038"/>
                <a:gd name="connsiteY104" fmla="*/ 1412883 h 2079633"/>
                <a:gd name="connsiteX105" fmla="*/ 118473 w 2145038"/>
                <a:gd name="connsiteY105" fmla="*/ 1339858 h 2079633"/>
                <a:gd name="connsiteX106" fmla="*/ 83548 w 2145038"/>
                <a:gd name="connsiteY106" fmla="*/ 1292233 h 2079633"/>
                <a:gd name="connsiteX107" fmla="*/ 64498 w 2145038"/>
                <a:gd name="connsiteY107" fmla="*/ 1266833 h 2079633"/>
                <a:gd name="connsiteX108" fmla="*/ 35923 w 2145038"/>
                <a:gd name="connsiteY108" fmla="*/ 1206508 h 2079633"/>
                <a:gd name="connsiteX109" fmla="*/ 26398 w 2145038"/>
                <a:gd name="connsiteY109" fmla="*/ 1171583 h 2079633"/>
                <a:gd name="connsiteX110" fmla="*/ 20048 w 2145038"/>
                <a:gd name="connsiteY110" fmla="*/ 1149358 h 2079633"/>
                <a:gd name="connsiteX111" fmla="*/ 16873 w 2145038"/>
                <a:gd name="connsiteY111" fmla="*/ 1133483 h 2079633"/>
                <a:gd name="connsiteX112" fmla="*/ 7348 w 2145038"/>
                <a:gd name="connsiteY112" fmla="*/ 1095383 h 2079633"/>
                <a:gd name="connsiteX113" fmla="*/ 998 w 2145038"/>
                <a:gd name="connsiteY113" fmla="*/ 1012833 h 2079633"/>
                <a:gd name="connsiteX114" fmla="*/ 10523 w 2145038"/>
                <a:gd name="connsiteY114" fmla="*/ 882658 h 2079633"/>
                <a:gd name="connsiteX115" fmla="*/ 35923 w 2145038"/>
                <a:gd name="connsiteY115" fmla="*/ 835033 h 2079633"/>
                <a:gd name="connsiteX116" fmla="*/ 51798 w 2145038"/>
                <a:gd name="connsiteY116" fmla="*/ 806458 h 2079633"/>
                <a:gd name="connsiteX117" fmla="*/ 83548 w 2145038"/>
                <a:gd name="connsiteY117" fmla="*/ 762008 h 2079633"/>
                <a:gd name="connsiteX118" fmla="*/ 99423 w 2145038"/>
                <a:gd name="connsiteY118" fmla="*/ 742958 h 2079633"/>
                <a:gd name="connsiteX119" fmla="*/ 143873 w 2145038"/>
                <a:gd name="connsiteY119" fmla="*/ 676283 h 2079633"/>
                <a:gd name="connsiteX120" fmla="*/ 308973 w 2145038"/>
                <a:gd name="connsiteY120" fmla="*/ 523883 h 2079633"/>
                <a:gd name="connsiteX121" fmla="*/ 366123 w 2145038"/>
                <a:gd name="connsiteY121" fmla="*/ 463558 h 2079633"/>
                <a:gd name="connsiteX122" fmla="*/ 416923 w 2145038"/>
                <a:gd name="connsiteY122" fmla="*/ 409583 h 2079633"/>
                <a:gd name="connsiteX123" fmla="*/ 445498 w 2145038"/>
                <a:gd name="connsiteY123" fmla="*/ 377833 h 2079633"/>
                <a:gd name="connsiteX124" fmla="*/ 493123 w 2145038"/>
                <a:gd name="connsiteY124" fmla="*/ 333383 h 2079633"/>
                <a:gd name="connsiteX125" fmla="*/ 712198 w 2145038"/>
                <a:gd name="connsiteY125" fmla="*/ 136533 h 2079633"/>
                <a:gd name="connsiteX126" fmla="*/ 750298 w 2145038"/>
                <a:gd name="connsiteY126" fmla="*/ 111133 h 2079633"/>
                <a:gd name="connsiteX127" fmla="*/ 785223 w 2145038"/>
                <a:gd name="connsiteY127" fmla="*/ 88908 h 2079633"/>
                <a:gd name="connsiteX128" fmla="*/ 883648 w 2145038"/>
                <a:gd name="connsiteY128" fmla="*/ 38108 h 2079633"/>
                <a:gd name="connsiteX129" fmla="*/ 1077323 w 2145038"/>
                <a:gd name="connsiteY129" fmla="*/ 8 h 2079633"/>
                <a:gd name="connsiteX130" fmla="*/ 1267823 w 2145038"/>
                <a:gd name="connsiteY130" fmla="*/ 34933 h 2079633"/>
                <a:gd name="connsiteX131" fmla="*/ 1296398 w 2145038"/>
                <a:gd name="connsiteY131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130" fmla="*/ 1296398 w 2145038"/>
                <a:gd name="connsiteY130" fmla="*/ 47633 h 2079633"/>
                <a:gd name="connsiteX0" fmla="*/ 1197973 w 2145038"/>
                <a:gd name="connsiteY0" fmla="*/ 25408 h 2079633"/>
                <a:gd name="connsiteX1" fmla="*/ 1217023 w 2145038"/>
                <a:gd name="connsiteY1" fmla="*/ 34933 h 2079633"/>
                <a:gd name="connsiteX2" fmla="*/ 1239248 w 2145038"/>
                <a:gd name="connsiteY2" fmla="*/ 38108 h 2079633"/>
                <a:gd name="connsiteX3" fmla="*/ 1258298 w 2145038"/>
                <a:gd name="connsiteY3" fmla="*/ 50808 h 2079633"/>
                <a:gd name="connsiteX4" fmla="*/ 1270998 w 2145038"/>
                <a:gd name="connsiteY4" fmla="*/ 57158 h 2079633"/>
                <a:gd name="connsiteX5" fmla="*/ 1290048 w 2145038"/>
                <a:gd name="connsiteY5" fmla="*/ 73033 h 2079633"/>
                <a:gd name="connsiteX6" fmla="*/ 1309098 w 2145038"/>
                <a:gd name="connsiteY6" fmla="*/ 79383 h 2079633"/>
                <a:gd name="connsiteX7" fmla="*/ 1324973 w 2145038"/>
                <a:gd name="connsiteY7" fmla="*/ 92083 h 2079633"/>
                <a:gd name="connsiteX8" fmla="*/ 1334498 w 2145038"/>
                <a:gd name="connsiteY8" fmla="*/ 95258 h 2079633"/>
                <a:gd name="connsiteX9" fmla="*/ 1340848 w 2145038"/>
                <a:gd name="connsiteY9" fmla="*/ 104783 h 2079633"/>
                <a:gd name="connsiteX10" fmla="*/ 1356723 w 2145038"/>
                <a:gd name="connsiteY10" fmla="*/ 114308 h 2079633"/>
                <a:gd name="connsiteX11" fmla="*/ 1382123 w 2145038"/>
                <a:gd name="connsiteY11" fmla="*/ 133358 h 2079633"/>
                <a:gd name="connsiteX12" fmla="*/ 1391648 w 2145038"/>
                <a:gd name="connsiteY12" fmla="*/ 139708 h 2079633"/>
                <a:gd name="connsiteX13" fmla="*/ 1432923 w 2145038"/>
                <a:gd name="connsiteY13" fmla="*/ 184158 h 2079633"/>
                <a:gd name="connsiteX14" fmla="*/ 1442448 w 2145038"/>
                <a:gd name="connsiteY14" fmla="*/ 196858 h 2079633"/>
                <a:gd name="connsiteX15" fmla="*/ 1455148 w 2145038"/>
                <a:gd name="connsiteY15" fmla="*/ 219083 h 2079633"/>
                <a:gd name="connsiteX16" fmla="*/ 1499598 w 2145038"/>
                <a:gd name="connsiteY16" fmla="*/ 260358 h 2079633"/>
                <a:gd name="connsiteX17" fmla="*/ 1512298 w 2145038"/>
                <a:gd name="connsiteY17" fmla="*/ 276233 h 2079633"/>
                <a:gd name="connsiteX18" fmla="*/ 1524998 w 2145038"/>
                <a:gd name="connsiteY18" fmla="*/ 288933 h 2079633"/>
                <a:gd name="connsiteX19" fmla="*/ 1531348 w 2145038"/>
                <a:gd name="connsiteY19" fmla="*/ 298458 h 2079633"/>
                <a:gd name="connsiteX20" fmla="*/ 1550398 w 2145038"/>
                <a:gd name="connsiteY20" fmla="*/ 317508 h 2079633"/>
                <a:gd name="connsiteX21" fmla="*/ 1559923 w 2145038"/>
                <a:gd name="connsiteY21" fmla="*/ 327033 h 2079633"/>
                <a:gd name="connsiteX22" fmla="*/ 1569448 w 2145038"/>
                <a:gd name="connsiteY22" fmla="*/ 339733 h 2079633"/>
                <a:gd name="connsiteX23" fmla="*/ 1594848 w 2145038"/>
                <a:gd name="connsiteY23" fmla="*/ 358783 h 2079633"/>
                <a:gd name="connsiteX24" fmla="*/ 1632948 w 2145038"/>
                <a:gd name="connsiteY24" fmla="*/ 390533 h 2079633"/>
                <a:gd name="connsiteX25" fmla="*/ 1648823 w 2145038"/>
                <a:gd name="connsiteY25" fmla="*/ 409583 h 2079633"/>
                <a:gd name="connsiteX26" fmla="*/ 1661523 w 2145038"/>
                <a:gd name="connsiteY26" fmla="*/ 419108 h 2079633"/>
                <a:gd name="connsiteX27" fmla="*/ 1683748 w 2145038"/>
                <a:gd name="connsiteY27" fmla="*/ 441333 h 2079633"/>
                <a:gd name="connsiteX28" fmla="*/ 1702798 w 2145038"/>
                <a:gd name="connsiteY28" fmla="*/ 460383 h 2079633"/>
                <a:gd name="connsiteX29" fmla="*/ 1712323 w 2145038"/>
                <a:gd name="connsiteY29" fmla="*/ 469908 h 2079633"/>
                <a:gd name="connsiteX30" fmla="*/ 1744073 w 2145038"/>
                <a:gd name="connsiteY30" fmla="*/ 495308 h 2079633"/>
                <a:gd name="connsiteX31" fmla="*/ 1753598 w 2145038"/>
                <a:gd name="connsiteY31" fmla="*/ 504833 h 2079633"/>
                <a:gd name="connsiteX32" fmla="*/ 1766298 w 2145038"/>
                <a:gd name="connsiteY32" fmla="*/ 514358 h 2079633"/>
                <a:gd name="connsiteX33" fmla="*/ 1782173 w 2145038"/>
                <a:gd name="connsiteY33" fmla="*/ 530233 h 2079633"/>
                <a:gd name="connsiteX34" fmla="*/ 1813923 w 2145038"/>
                <a:gd name="connsiteY34" fmla="*/ 555633 h 2079633"/>
                <a:gd name="connsiteX35" fmla="*/ 1817098 w 2145038"/>
                <a:gd name="connsiteY35" fmla="*/ 565158 h 2079633"/>
                <a:gd name="connsiteX36" fmla="*/ 1842498 w 2145038"/>
                <a:gd name="connsiteY36" fmla="*/ 587383 h 2079633"/>
                <a:gd name="connsiteX37" fmla="*/ 1893298 w 2145038"/>
                <a:gd name="connsiteY37" fmla="*/ 644533 h 2079633"/>
                <a:gd name="connsiteX38" fmla="*/ 1918698 w 2145038"/>
                <a:gd name="connsiteY38" fmla="*/ 663583 h 2079633"/>
                <a:gd name="connsiteX39" fmla="*/ 1931398 w 2145038"/>
                <a:gd name="connsiteY39" fmla="*/ 669933 h 2079633"/>
                <a:gd name="connsiteX40" fmla="*/ 1979023 w 2145038"/>
                <a:gd name="connsiteY40" fmla="*/ 720733 h 2079633"/>
                <a:gd name="connsiteX41" fmla="*/ 1988548 w 2145038"/>
                <a:gd name="connsiteY41" fmla="*/ 730258 h 2079633"/>
                <a:gd name="connsiteX42" fmla="*/ 2023473 w 2145038"/>
                <a:gd name="connsiteY42" fmla="*/ 765183 h 2079633"/>
                <a:gd name="connsiteX43" fmla="*/ 2071098 w 2145038"/>
                <a:gd name="connsiteY43" fmla="*/ 838208 h 2079633"/>
                <a:gd name="connsiteX44" fmla="*/ 2090148 w 2145038"/>
                <a:gd name="connsiteY44" fmla="*/ 895358 h 2079633"/>
                <a:gd name="connsiteX45" fmla="*/ 2131423 w 2145038"/>
                <a:gd name="connsiteY45" fmla="*/ 971558 h 2079633"/>
                <a:gd name="connsiteX46" fmla="*/ 2121898 w 2145038"/>
                <a:gd name="connsiteY46" fmla="*/ 1171583 h 2079633"/>
                <a:gd name="connsiteX47" fmla="*/ 1928223 w 2145038"/>
                <a:gd name="connsiteY47" fmla="*/ 1435108 h 2079633"/>
                <a:gd name="connsiteX48" fmla="*/ 1905998 w 2145038"/>
                <a:gd name="connsiteY48" fmla="*/ 1454158 h 2079633"/>
                <a:gd name="connsiteX49" fmla="*/ 1848848 w 2145038"/>
                <a:gd name="connsiteY49" fmla="*/ 1485908 h 2079633"/>
                <a:gd name="connsiteX50" fmla="*/ 1810748 w 2145038"/>
                <a:gd name="connsiteY50" fmla="*/ 1517658 h 2079633"/>
                <a:gd name="connsiteX51" fmla="*/ 1791698 w 2145038"/>
                <a:gd name="connsiteY51" fmla="*/ 1533533 h 2079633"/>
                <a:gd name="connsiteX52" fmla="*/ 1775823 w 2145038"/>
                <a:gd name="connsiteY52" fmla="*/ 1543058 h 2079633"/>
                <a:gd name="connsiteX53" fmla="*/ 1718673 w 2145038"/>
                <a:gd name="connsiteY53" fmla="*/ 1606558 h 2079633"/>
                <a:gd name="connsiteX54" fmla="*/ 1709148 w 2145038"/>
                <a:gd name="connsiteY54" fmla="*/ 1619258 h 2079633"/>
                <a:gd name="connsiteX55" fmla="*/ 1680573 w 2145038"/>
                <a:gd name="connsiteY55" fmla="*/ 1651008 h 2079633"/>
                <a:gd name="connsiteX56" fmla="*/ 1658348 w 2145038"/>
                <a:gd name="connsiteY56" fmla="*/ 1679583 h 2079633"/>
                <a:gd name="connsiteX57" fmla="*/ 1623423 w 2145038"/>
                <a:gd name="connsiteY57" fmla="*/ 1714508 h 2079633"/>
                <a:gd name="connsiteX58" fmla="*/ 1604373 w 2145038"/>
                <a:gd name="connsiteY58" fmla="*/ 1733558 h 2079633"/>
                <a:gd name="connsiteX59" fmla="*/ 1569448 w 2145038"/>
                <a:gd name="connsiteY59" fmla="*/ 1774833 h 2079633"/>
                <a:gd name="connsiteX60" fmla="*/ 1559923 w 2145038"/>
                <a:gd name="connsiteY60" fmla="*/ 1787533 h 2079633"/>
                <a:gd name="connsiteX61" fmla="*/ 1547223 w 2145038"/>
                <a:gd name="connsiteY61" fmla="*/ 1797058 h 2079633"/>
                <a:gd name="connsiteX62" fmla="*/ 1540873 w 2145038"/>
                <a:gd name="connsiteY62" fmla="*/ 1806583 h 2079633"/>
                <a:gd name="connsiteX63" fmla="*/ 1524998 w 2145038"/>
                <a:gd name="connsiteY63" fmla="*/ 1816108 h 2079633"/>
                <a:gd name="connsiteX64" fmla="*/ 1480548 w 2145038"/>
                <a:gd name="connsiteY64" fmla="*/ 1860558 h 2079633"/>
                <a:gd name="connsiteX65" fmla="*/ 1464673 w 2145038"/>
                <a:gd name="connsiteY65" fmla="*/ 1879608 h 2079633"/>
                <a:gd name="connsiteX66" fmla="*/ 1455148 w 2145038"/>
                <a:gd name="connsiteY66" fmla="*/ 1892308 h 2079633"/>
                <a:gd name="connsiteX67" fmla="*/ 1445623 w 2145038"/>
                <a:gd name="connsiteY67" fmla="*/ 1901833 h 2079633"/>
                <a:gd name="connsiteX68" fmla="*/ 1432923 w 2145038"/>
                <a:gd name="connsiteY68" fmla="*/ 1917708 h 2079633"/>
                <a:gd name="connsiteX69" fmla="*/ 1423398 w 2145038"/>
                <a:gd name="connsiteY69" fmla="*/ 1927233 h 2079633"/>
                <a:gd name="connsiteX70" fmla="*/ 1417048 w 2145038"/>
                <a:gd name="connsiteY70" fmla="*/ 1936758 h 2079633"/>
                <a:gd name="connsiteX71" fmla="*/ 1391648 w 2145038"/>
                <a:gd name="connsiteY71" fmla="*/ 1955808 h 2079633"/>
                <a:gd name="connsiteX72" fmla="*/ 1356723 w 2145038"/>
                <a:gd name="connsiteY72" fmla="*/ 1971683 h 2079633"/>
                <a:gd name="connsiteX73" fmla="*/ 1344023 w 2145038"/>
                <a:gd name="connsiteY73" fmla="*/ 1978033 h 2079633"/>
                <a:gd name="connsiteX74" fmla="*/ 1331323 w 2145038"/>
                <a:gd name="connsiteY74" fmla="*/ 1987558 h 2079633"/>
                <a:gd name="connsiteX75" fmla="*/ 1312273 w 2145038"/>
                <a:gd name="connsiteY75" fmla="*/ 2006608 h 2079633"/>
                <a:gd name="connsiteX76" fmla="*/ 1270998 w 2145038"/>
                <a:gd name="connsiteY76" fmla="*/ 2025658 h 2079633"/>
                <a:gd name="connsiteX77" fmla="*/ 1258298 w 2145038"/>
                <a:gd name="connsiteY77" fmla="*/ 2032008 h 2079633"/>
                <a:gd name="connsiteX78" fmla="*/ 1236073 w 2145038"/>
                <a:gd name="connsiteY78" fmla="*/ 2038358 h 2079633"/>
                <a:gd name="connsiteX79" fmla="*/ 1226548 w 2145038"/>
                <a:gd name="connsiteY79" fmla="*/ 2044708 h 2079633"/>
                <a:gd name="connsiteX80" fmla="*/ 1217023 w 2145038"/>
                <a:gd name="connsiteY80" fmla="*/ 2047883 h 2079633"/>
                <a:gd name="connsiteX81" fmla="*/ 1175748 w 2145038"/>
                <a:gd name="connsiteY81" fmla="*/ 2057408 h 2079633"/>
                <a:gd name="connsiteX82" fmla="*/ 1150348 w 2145038"/>
                <a:gd name="connsiteY82" fmla="*/ 2070108 h 2079633"/>
                <a:gd name="connsiteX83" fmla="*/ 1102723 w 2145038"/>
                <a:gd name="connsiteY83" fmla="*/ 2079633 h 2079633"/>
                <a:gd name="connsiteX84" fmla="*/ 928098 w 2145038"/>
                <a:gd name="connsiteY84" fmla="*/ 2070108 h 2079633"/>
                <a:gd name="connsiteX85" fmla="*/ 886823 w 2145038"/>
                <a:gd name="connsiteY85" fmla="*/ 2054233 h 2079633"/>
                <a:gd name="connsiteX86" fmla="*/ 845548 w 2145038"/>
                <a:gd name="connsiteY86" fmla="*/ 2035183 h 2079633"/>
                <a:gd name="connsiteX87" fmla="*/ 731248 w 2145038"/>
                <a:gd name="connsiteY87" fmla="*/ 1933583 h 2079633"/>
                <a:gd name="connsiteX88" fmla="*/ 715373 w 2145038"/>
                <a:gd name="connsiteY88" fmla="*/ 1917708 h 2079633"/>
                <a:gd name="connsiteX89" fmla="*/ 699498 w 2145038"/>
                <a:gd name="connsiteY89" fmla="*/ 1905008 h 2079633"/>
                <a:gd name="connsiteX90" fmla="*/ 680448 w 2145038"/>
                <a:gd name="connsiteY90" fmla="*/ 1885958 h 2079633"/>
                <a:gd name="connsiteX91" fmla="*/ 642348 w 2145038"/>
                <a:gd name="connsiteY91" fmla="*/ 1854208 h 2079633"/>
                <a:gd name="connsiteX92" fmla="*/ 601073 w 2145038"/>
                <a:gd name="connsiteY92" fmla="*/ 1806583 h 2079633"/>
                <a:gd name="connsiteX93" fmla="*/ 578848 w 2145038"/>
                <a:gd name="connsiteY93" fmla="*/ 1781183 h 2079633"/>
                <a:gd name="connsiteX94" fmla="*/ 537573 w 2145038"/>
                <a:gd name="connsiteY94" fmla="*/ 1739908 h 2079633"/>
                <a:gd name="connsiteX95" fmla="*/ 499473 w 2145038"/>
                <a:gd name="connsiteY95" fmla="*/ 1704983 h 2079633"/>
                <a:gd name="connsiteX96" fmla="*/ 470898 w 2145038"/>
                <a:gd name="connsiteY96" fmla="*/ 1670058 h 2079633"/>
                <a:gd name="connsiteX97" fmla="*/ 413748 w 2145038"/>
                <a:gd name="connsiteY97" fmla="*/ 1622433 h 2079633"/>
                <a:gd name="connsiteX98" fmla="*/ 401048 w 2145038"/>
                <a:gd name="connsiteY98" fmla="*/ 1612908 h 2079633"/>
                <a:gd name="connsiteX99" fmla="*/ 369298 w 2145038"/>
                <a:gd name="connsiteY99" fmla="*/ 1584333 h 2079633"/>
                <a:gd name="connsiteX100" fmla="*/ 328023 w 2145038"/>
                <a:gd name="connsiteY100" fmla="*/ 1558933 h 2079633"/>
                <a:gd name="connsiteX101" fmla="*/ 302623 w 2145038"/>
                <a:gd name="connsiteY101" fmla="*/ 1539883 h 2079633"/>
                <a:gd name="connsiteX102" fmla="*/ 223248 w 2145038"/>
                <a:gd name="connsiteY102" fmla="*/ 1470033 h 2079633"/>
                <a:gd name="connsiteX103" fmla="*/ 175623 w 2145038"/>
                <a:gd name="connsiteY103" fmla="*/ 1412883 h 2079633"/>
                <a:gd name="connsiteX104" fmla="*/ 118473 w 2145038"/>
                <a:gd name="connsiteY104" fmla="*/ 1339858 h 2079633"/>
                <a:gd name="connsiteX105" fmla="*/ 83548 w 2145038"/>
                <a:gd name="connsiteY105" fmla="*/ 1292233 h 2079633"/>
                <a:gd name="connsiteX106" fmla="*/ 64498 w 2145038"/>
                <a:gd name="connsiteY106" fmla="*/ 1266833 h 2079633"/>
                <a:gd name="connsiteX107" fmla="*/ 35923 w 2145038"/>
                <a:gd name="connsiteY107" fmla="*/ 1206508 h 2079633"/>
                <a:gd name="connsiteX108" fmla="*/ 26398 w 2145038"/>
                <a:gd name="connsiteY108" fmla="*/ 1171583 h 2079633"/>
                <a:gd name="connsiteX109" fmla="*/ 20048 w 2145038"/>
                <a:gd name="connsiteY109" fmla="*/ 1149358 h 2079633"/>
                <a:gd name="connsiteX110" fmla="*/ 16873 w 2145038"/>
                <a:gd name="connsiteY110" fmla="*/ 1133483 h 2079633"/>
                <a:gd name="connsiteX111" fmla="*/ 7348 w 2145038"/>
                <a:gd name="connsiteY111" fmla="*/ 1095383 h 2079633"/>
                <a:gd name="connsiteX112" fmla="*/ 998 w 2145038"/>
                <a:gd name="connsiteY112" fmla="*/ 1012833 h 2079633"/>
                <a:gd name="connsiteX113" fmla="*/ 10523 w 2145038"/>
                <a:gd name="connsiteY113" fmla="*/ 882658 h 2079633"/>
                <a:gd name="connsiteX114" fmla="*/ 35923 w 2145038"/>
                <a:gd name="connsiteY114" fmla="*/ 835033 h 2079633"/>
                <a:gd name="connsiteX115" fmla="*/ 51798 w 2145038"/>
                <a:gd name="connsiteY115" fmla="*/ 806458 h 2079633"/>
                <a:gd name="connsiteX116" fmla="*/ 83548 w 2145038"/>
                <a:gd name="connsiteY116" fmla="*/ 762008 h 2079633"/>
                <a:gd name="connsiteX117" fmla="*/ 99423 w 2145038"/>
                <a:gd name="connsiteY117" fmla="*/ 742958 h 2079633"/>
                <a:gd name="connsiteX118" fmla="*/ 143873 w 2145038"/>
                <a:gd name="connsiteY118" fmla="*/ 676283 h 2079633"/>
                <a:gd name="connsiteX119" fmla="*/ 308973 w 2145038"/>
                <a:gd name="connsiteY119" fmla="*/ 523883 h 2079633"/>
                <a:gd name="connsiteX120" fmla="*/ 366123 w 2145038"/>
                <a:gd name="connsiteY120" fmla="*/ 463558 h 2079633"/>
                <a:gd name="connsiteX121" fmla="*/ 416923 w 2145038"/>
                <a:gd name="connsiteY121" fmla="*/ 409583 h 2079633"/>
                <a:gd name="connsiteX122" fmla="*/ 445498 w 2145038"/>
                <a:gd name="connsiteY122" fmla="*/ 377833 h 2079633"/>
                <a:gd name="connsiteX123" fmla="*/ 493123 w 2145038"/>
                <a:gd name="connsiteY123" fmla="*/ 333383 h 2079633"/>
                <a:gd name="connsiteX124" fmla="*/ 712198 w 2145038"/>
                <a:gd name="connsiteY124" fmla="*/ 136533 h 2079633"/>
                <a:gd name="connsiteX125" fmla="*/ 750298 w 2145038"/>
                <a:gd name="connsiteY125" fmla="*/ 111133 h 2079633"/>
                <a:gd name="connsiteX126" fmla="*/ 785223 w 2145038"/>
                <a:gd name="connsiteY126" fmla="*/ 88908 h 2079633"/>
                <a:gd name="connsiteX127" fmla="*/ 883648 w 2145038"/>
                <a:gd name="connsiteY127" fmla="*/ 38108 h 2079633"/>
                <a:gd name="connsiteX128" fmla="*/ 1077323 w 2145038"/>
                <a:gd name="connsiteY128" fmla="*/ 8 h 2079633"/>
                <a:gd name="connsiteX129" fmla="*/ 1267823 w 2145038"/>
                <a:gd name="connsiteY129" fmla="*/ 34933 h 2079633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25400 h 2079625"/>
                <a:gd name="connsiteX1" fmla="*/ 1217023 w 2145038"/>
                <a:gd name="connsiteY1" fmla="*/ 34925 h 2079625"/>
                <a:gd name="connsiteX2" fmla="*/ 1239248 w 2145038"/>
                <a:gd name="connsiteY2" fmla="*/ 38100 h 2079625"/>
                <a:gd name="connsiteX3" fmla="*/ 1258298 w 2145038"/>
                <a:gd name="connsiteY3" fmla="*/ 50800 h 2079625"/>
                <a:gd name="connsiteX4" fmla="*/ 1270998 w 2145038"/>
                <a:gd name="connsiteY4" fmla="*/ 57150 h 2079625"/>
                <a:gd name="connsiteX5" fmla="*/ 1290048 w 2145038"/>
                <a:gd name="connsiteY5" fmla="*/ 73025 h 2079625"/>
                <a:gd name="connsiteX6" fmla="*/ 1309098 w 2145038"/>
                <a:gd name="connsiteY6" fmla="*/ 79375 h 2079625"/>
                <a:gd name="connsiteX7" fmla="*/ 1324973 w 2145038"/>
                <a:gd name="connsiteY7" fmla="*/ 92075 h 2079625"/>
                <a:gd name="connsiteX8" fmla="*/ 1334498 w 2145038"/>
                <a:gd name="connsiteY8" fmla="*/ 95250 h 2079625"/>
                <a:gd name="connsiteX9" fmla="*/ 1340848 w 2145038"/>
                <a:gd name="connsiteY9" fmla="*/ 104775 h 2079625"/>
                <a:gd name="connsiteX10" fmla="*/ 1356723 w 2145038"/>
                <a:gd name="connsiteY10" fmla="*/ 114300 h 2079625"/>
                <a:gd name="connsiteX11" fmla="*/ 1382123 w 2145038"/>
                <a:gd name="connsiteY11" fmla="*/ 133350 h 2079625"/>
                <a:gd name="connsiteX12" fmla="*/ 1391648 w 2145038"/>
                <a:gd name="connsiteY12" fmla="*/ 139700 h 2079625"/>
                <a:gd name="connsiteX13" fmla="*/ 1432923 w 2145038"/>
                <a:gd name="connsiteY13" fmla="*/ 184150 h 2079625"/>
                <a:gd name="connsiteX14" fmla="*/ 1442448 w 2145038"/>
                <a:gd name="connsiteY14" fmla="*/ 196850 h 2079625"/>
                <a:gd name="connsiteX15" fmla="*/ 1455148 w 2145038"/>
                <a:gd name="connsiteY15" fmla="*/ 219075 h 2079625"/>
                <a:gd name="connsiteX16" fmla="*/ 1499598 w 2145038"/>
                <a:gd name="connsiteY16" fmla="*/ 260350 h 2079625"/>
                <a:gd name="connsiteX17" fmla="*/ 1512298 w 2145038"/>
                <a:gd name="connsiteY17" fmla="*/ 276225 h 2079625"/>
                <a:gd name="connsiteX18" fmla="*/ 1524998 w 2145038"/>
                <a:gd name="connsiteY18" fmla="*/ 288925 h 2079625"/>
                <a:gd name="connsiteX19" fmla="*/ 1531348 w 2145038"/>
                <a:gd name="connsiteY19" fmla="*/ 298450 h 2079625"/>
                <a:gd name="connsiteX20" fmla="*/ 1550398 w 2145038"/>
                <a:gd name="connsiteY20" fmla="*/ 317500 h 2079625"/>
                <a:gd name="connsiteX21" fmla="*/ 1559923 w 2145038"/>
                <a:gd name="connsiteY21" fmla="*/ 327025 h 2079625"/>
                <a:gd name="connsiteX22" fmla="*/ 1569448 w 2145038"/>
                <a:gd name="connsiteY22" fmla="*/ 339725 h 2079625"/>
                <a:gd name="connsiteX23" fmla="*/ 1594848 w 2145038"/>
                <a:gd name="connsiteY23" fmla="*/ 358775 h 2079625"/>
                <a:gd name="connsiteX24" fmla="*/ 1632948 w 2145038"/>
                <a:gd name="connsiteY24" fmla="*/ 390525 h 2079625"/>
                <a:gd name="connsiteX25" fmla="*/ 1648823 w 2145038"/>
                <a:gd name="connsiteY25" fmla="*/ 409575 h 2079625"/>
                <a:gd name="connsiteX26" fmla="*/ 1661523 w 2145038"/>
                <a:gd name="connsiteY26" fmla="*/ 419100 h 2079625"/>
                <a:gd name="connsiteX27" fmla="*/ 1683748 w 2145038"/>
                <a:gd name="connsiteY27" fmla="*/ 441325 h 2079625"/>
                <a:gd name="connsiteX28" fmla="*/ 1702798 w 2145038"/>
                <a:gd name="connsiteY28" fmla="*/ 460375 h 2079625"/>
                <a:gd name="connsiteX29" fmla="*/ 1712323 w 2145038"/>
                <a:gd name="connsiteY29" fmla="*/ 469900 h 2079625"/>
                <a:gd name="connsiteX30" fmla="*/ 1744073 w 2145038"/>
                <a:gd name="connsiteY30" fmla="*/ 495300 h 2079625"/>
                <a:gd name="connsiteX31" fmla="*/ 1753598 w 2145038"/>
                <a:gd name="connsiteY31" fmla="*/ 504825 h 2079625"/>
                <a:gd name="connsiteX32" fmla="*/ 1766298 w 2145038"/>
                <a:gd name="connsiteY32" fmla="*/ 514350 h 2079625"/>
                <a:gd name="connsiteX33" fmla="*/ 1782173 w 2145038"/>
                <a:gd name="connsiteY33" fmla="*/ 530225 h 2079625"/>
                <a:gd name="connsiteX34" fmla="*/ 1813923 w 2145038"/>
                <a:gd name="connsiteY34" fmla="*/ 555625 h 2079625"/>
                <a:gd name="connsiteX35" fmla="*/ 1817098 w 2145038"/>
                <a:gd name="connsiteY35" fmla="*/ 565150 h 2079625"/>
                <a:gd name="connsiteX36" fmla="*/ 1842498 w 2145038"/>
                <a:gd name="connsiteY36" fmla="*/ 587375 h 2079625"/>
                <a:gd name="connsiteX37" fmla="*/ 1893298 w 2145038"/>
                <a:gd name="connsiteY37" fmla="*/ 644525 h 2079625"/>
                <a:gd name="connsiteX38" fmla="*/ 1918698 w 2145038"/>
                <a:gd name="connsiteY38" fmla="*/ 663575 h 2079625"/>
                <a:gd name="connsiteX39" fmla="*/ 1931398 w 2145038"/>
                <a:gd name="connsiteY39" fmla="*/ 669925 h 2079625"/>
                <a:gd name="connsiteX40" fmla="*/ 1979023 w 2145038"/>
                <a:gd name="connsiteY40" fmla="*/ 720725 h 2079625"/>
                <a:gd name="connsiteX41" fmla="*/ 1988548 w 2145038"/>
                <a:gd name="connsiteY41" fmla="*/ 730250 h 2079625"/>
                <a:gd name="connsiteX42" fmla="*/ 2023473 w 2145038"/>
                <a:gd name="connsiteY42" fmla="*/ 765175 h 2079625"/>
                <a:gd name="connsiteX43" fmla="*/ 2071098 w 2145038"/>
                <a:gd name="connsiteY43" fmla="*/ 838200 h 2079625"/>
                <a:gd name="connsiteX44" fmla="*/ 2090148 w 2145038"/>
                <a:gd name="connsiteY44" fmla="*/ 895350 h 2079625"/>
                <a:gd name="connsiteX45" fmla="*/ 2131423 w 2145038"/>
                <a:gd name="connsiteY45" fmla="*/ 971550 h 2079625"/>
                <a:gd name="connsiteX46" fmla="*/ 2121898 w 2145038"/>
                <a:gd name="connsiteY46" fmla="*/ 1171575 h 2079625"/>
                <a:gd name="connsiteX47" fmla="*/ 1928223 w 2145038"/>
                <a:gd name="connsiteY47" fmla="*/ 1435100 h 2079625"/>
                <a:gd name="connsiteX48" fmla="*/ 1905998 w 2145038"/>
                <a:gd name="connsiteY48" fmla="*/ 1454150 h 2079625"/>
                <a:gd name="connsiteX49" fmla="*/ 1848848 w 2145038"/>
                <a:gd name="connsiteY49" fmla="*/ 1485900 h 2079625"/>
                <a:gd name="connsiteX50" fmla="*/ 1810748 w 2145038"/>
                <a:gd name="connsiteY50" fmla="*/ 1517650 h 2079625"/>
                <a:gd name="connsiteX51" fmla="*/ 1791698 w 2145038"/>
                <a:gd name="connsiteY51" fmla="*/ 1533525 h 2079625"/>
                <a:gd name="connsiteX52" fmla="*/ 1775823 w 2145038"/>
                <a:gd name="connsiteY52" fmla="*/ 1543050 h 2079625"/>
                <a:gd name="connsiteX53" fmla="*/ 1718673 w 2145038"/>
                <a:gd name="connsiteY53" fmla="*/ 1606550 h 2079625"/>
                <a:gd name="connsiteX54" fmla="*/ 1709148 w 2145038"/>
                <a:gd name="connsiteY54" fmla="*/ 1619250 h 2079625"/>
                <a:gd name="connsiteX55" fmla="*/ 1680573 w 2145038"/>
                <a:gd name="connsiteY55" fmla="*/ 1651000 h 2079625"/>
                <a:gd name="connsiteX56" fmla="*/ 1658348 w 2145038"/>
                <a:gd name="connsiteY56" fmla="*/ 1679575 h 2079625"/>
                <a:gd name="connsiteX57" fmla="*/ 1623423 w 2145038"/>
                <a:gd name="connsiteY57" fmla="*/ 1714500 h 2079625"/>
                <a:gd name="connsiteX58" fmla="*/ 1604373 w 2145038"/>
                <a:gd name="connsiteY58" fmla="*/ 1733550 h 2079625"/>
                <a:gd name="connsiteX59" fmla="*/ 1569448 w 2145038"/>
                <a:gd name="connsiteY59" fmla="*/ 1774825 h 2079625"/>
                <a:gd name="connsiteX60" fmla="*/ 1559923 w 2145038"/>
                <a:gd name="connsiteY60" fmla="*/ 1787525 h 2079625"/>
                <a:gd name="connsiteX61" fmla="*/ 1547223 w 2145038"/>
                <a:gd name="connsiteY61" fmla="*/ 1797050 h 2079625"/>
                <a:gd name="connsiteX62" fmla="*/ 1540873 w 2145038"/>
                <a:gd name="connsiteY62" fmla="*/ 1806575 h 2079625"/>
                <a:gd name="connsiteX63" fmla="*/ 1524998 w 2145038"/>
                <a:gd name="connsiteY63" fmla="*/ 1816100 h 2079625"/>
                <a:gd name="connsiteX64" fmla="*/ 1480548 w 2145038"/>
                <a:gd name="connsiteY64" fmla="*/ 1860550 h 2079625"/>
                <a:gd name="connsiteX65" fmla="*/ 1464673 w 2145038"/>
                <a:gd name="connsiteY65" fmla="*/ 1879600 h 2079625"/>
                <a:gd name="connsiteX66" fmla="*/ 1455148 w 2145038"/>
                <a:gd name="connsiteY66" fmla="*/ 1892300 h 2079625"/>
                <a:gd name="connsiteX67" fmla="*/ 1445623 w 2145038"/>
                <a:gd name="connsiteY67" fmla="*/ 1901825 h 2079625"/>
                <a:gd name="connsiteX68" fmla="*/ 1432923 w 2145038"/>
                <a:gd name="connsiteY68" fmla="*/ 1917700 h 2079625"/>
                <a:gd name="connsiteX69" fmla="*/ 1423398 w 2145038"/>
                <a:gd name="connsiteY69" fmla="*/ 1927225 h 2079625"/>
                <a:gd name="connsiteX70" fmla="*/ 1417048 w 2145038"/>
                <a:gd name="connsiteY70" fmla="*/ 1936750 h 2079625"/>
                <a:gd name="connsiteX71" fmla="*/ 1391648 w 2145038"/>
                <a:gd name="connsiteY71" fmla="*/ 1955800 h 2079625"/>
                <a:gd name="connsiteX72" fmla="*/ 1356723 w 2145038"/>
                <a:gd name="connsiteY72" fmla="*/ 1971675 h 2079625"/>
                <a:gd name="connsiteX73" fmla="*/ 1344023 w 2145038"/>
                <a:gd name="connsiteY73" fmla="*/ 1978025 h 2079625"/>
                <a:gd name="connsiteX74" fmla="*/ 1331323 w 2145038"/>
                <a:gd name="connsiteY74" fmla="*/ 1987550 h 2079625"/>
                <a:gd name="connsiteX75" fmla="*/ 1312273 w 2145038"/>
                <a:gd name="connsiteY75" fmla="*/ 2006600 h 2079625"/>
                <a:gd name="connsiteX76" fmla="*/ 1270998 w 2145038"/>
                <a:gd name="connsiteY76" fmla="*/ 2025650 h 2079625"/>
                <a:gd name="connsiteX77" fmla="*/ 1258298 w 2145038"/>
                <a:gd name="connsiteY77" fmla="*/ 2032000 h 2079625"/>
                <a:gd name="connsiteX78" fmla="*/ 1236073 w 2145038"/>
                <a:gd name="connsiteY78" fmla="*/ 2038350 h 2079625"/>
                <a:gd name="connsiteX79" fmla="*/ 1226548 w 2145038"/>
                <a:gd name="connsiteY79" fmla="*/ 2044700 h 2079625"/>
                <a:gd name="connsiteX80" fmla="*/ 1217023 w 2145038"/>
                <a:gd name="connsiteY80" fmla="*/ 2047875 h 2079625"/>
                <a:gd name="connsiteX81" fmla="*/ 1175748 w 2145038"/>
                <a:gd name="connsiteY81" fmla="*/ 2057400 h 2079625"/>
                <a:gd name="connsiteX82" fmla="*/ 1150348 w 2145038"/>
                <a:gd name="connsiteY82" fmla="*/ 2070100 h 2079625"/>
                <a:gd name="connsiteX83" fmla="*/ 1102723 w 2145038"/>
                <a:gd name="connsiteY83" fmla="*/ 2079625 h 2079625"/>
                <a:gd name="connsiteX84" fmla="*/ 928098 w 2145038"/>
                <a:gd name="connsiteY84" fmla="*/ 2070100 h 2079625"/>
                <a:gd name="connsiteX85" fmla="*/ 886823 w 2145038"/>
                <a:gd name="connsiteY85" fmla="*/ 2054225 h 2079625"/>
                <a:gd name="connsiteX86" fmla="*/ 845548 w 2145038"/>
                <a:gd name="connsiteY86" fmla="*/ 2035175 h 2079625"/>
                <a:gd name="connsiteX87" fmla="*/ 731248 w 2145038"/>
                <a:gd name="connsiteY87" fmla="*/ 1933575 h 2079625"/>
                <a:gd name="connsiteX88" fmla="*/ 715373 w 2145038"/>
                <a:gd name="connsiteY88" fmla="*/ 1917700 h 2079625"/>
                <a:gd name="connsiteX89" fmla="*/ 699498 w 2145038"/>
                <a:gd name="connsiteY89" fmla="*/ 1905000 h 2079625"/>
                <a:gd name="connsiteX90" fmla="*/ 680448 w 2145038"/>
                <a:gd name="connsiteY90" fmla="*/ 1885950 h 2079625"/>
                <a:gd name="connsiteX91" fmla="*/ 642348 w 2145038"/>
                <a:gd name="connsiteY91" fmla="*/ 1854200 h 2079625"/>
                <a:gd name="connsiteX92" fmla="*/ 601073 w 2145038"/>
                <a:gd name="connsiteY92" fmla="*/ 1806575 h 2079625"/>
                <a:gd name="connsiteX93" fmla="*/ 578848 w 2145038"/>
                <a:gd name="connsiteY93" fmla="*/ 1781175 h 2079625"/>
                <a:gd name="connsiteX94" fmla="*/ 537573 w 2145038"/>
                <a:gd name="connsiteY94" fmla="*/ 1739900 h 2079625"/>
                <a:gd name="connsiteX95" fmla="*/ 499473 w 2145038"/>
                <a:gd name="connsiteY95" fmla="*/ 1704975 h 2079625"/>
                <a:gd name="connsiteX96" fmla="*/ 470898 w 2145038"/>
                <a:gd name="connsiteY96" fmla="*/ 1670050 h 2079625"/>
                <a:gd name="connsiteX97" fmla="*/ 413748 w 2145038"/>
                <a:gd name="connsiteY97" fmla="*/ 1622425 h 2079625"/>
                <a:gd name="connsiteX98" fmla="*/ 401048 w 2145038"/>
                <a:gd name="connsiteY98" fmla="*/ 1612900 h 2079625"/>
                <a:gd name="connsiteX99" fmla="*/ 369298 w 2145038"/>
                <a:gd name="connsiteY99" fmla="*/ 1584325 h 2079625"/>
                <a:gd name="connsiteX100" fmla="*/ 328023 w 2145038"/>
                <a:gd name="connsiteY100" fmla="*/ 1558925 h 2079625"/>
                <a:gd name="connsiteX101" fmla="*/ 302623 w 2145038"/>
                <a:gd name="connsiteY101" fmla="*/ 1539875 h 2079625"/>
                <a:gd name="connsiteX102" fmla="*/ 223248 w 2145038"/>
                <a:gd name="connsiteY102" fmla="*/ 1470025 h 2079625"/>
                <a:gd name="connsiteX103" fmla="*/ 175623 w 2145038"/>
                <a:gd name="connsiteY103" fmla="*/ 1412875 h 2079625"/>
                <a:gd name="connsiteX104" fmla="*/ 118473 w 2145038"/>
                <a:gd name="connsiteY104" fmla="*/ 1339850 h 2079625"/>
                <a:gd name="connsiteX105" fmla="*/ 83548 w 2145038"/>
                <a:gd name="connsiteY105" fmla="*/ 1292225 h 2079625"/>
                <a:gd name="connsiteX106" fmla="*/ 64498 w 2145038"/>
                <a:gd name="connsiteY106" fmla="*/ 1266825 h 2079625"/>
                <a:gd name="connsiteX107" fmla="*/ 35923 w 2145038"/>
                <a:gd name="connsiteY107" fmla="*/ 1206500 h 2079625"/>
                <a:gd name="connsiteX108" fmla="*/ 26398 w 2145038"/>
                <a:gd name="connsiteY108" fmla="*/ 1171575 h 2079625"/>
                <a:gd name="connsiteX109" fmla="*/ 20048 w 2145038"/>
                <a:gd name="connsiteY109" fmla="*/ 1149350 h 2079625"/>
                <a:gd name="connsiteX110" fmla="*/ 16873 w 2145038"/>
                <a:gd name="connsiteY110" fmla="*/ 1133475 h 2079625"/>
                <a:gd name="connsiteX111" fmla="*/ 7348 w 2145038"/>
                <a:gd name="connsiteY111" fmla="*/ 1095375 h 2079625"/>
                <a:gd name="connsiteX112" fmla="*/ 998 w 2145038"/>
                <a:gd name="connsiteY112" fmla="*/ 1012825 h 2079625"/>
                <a:gd name="connsiteX113" fmla="*/ 10523 w 2145038"/>
                <a:gd name="connsiteY113" fmla="*/ 882650 h 2079625"/>
                <a:gd name="connsiteX114" fmla="*/ 35923 w 2145038"/>
                <a:gd name="connsiteY114" fmla="*/ 835025 h 2079625"/>
                <a:gd name="connsiteX115" fmla="*/ 51798 w 2145038"/>
                <a:gd name="connsiteY115" fmla="*/ 806450 h 2079625"/>
                <a:gd name="connsiteX116" fmla="*/ 83548 w 2145038"/>
                <a:gd name="connsiteY116" fmla="*/ 762000 h 2079625"/>
                <a:gd name="connsiteX117" fmla="*/ 99423 w 2145038"/>
                <a:gd name="connsiteY117" fmla="*/ 742950 h 2079625"/>
                <a:gd name="connsiteX118" fmla="*/ 143873 w 2145038"/>
                <a:gd name="connsiteY118" fmla="*/ 676275 h 2079625"/>
                <a:gd name="connsiteX119" fmla="*/ 308973 w 2145038"/>
                <a:gd name="connsiteY119" fmla="*/ 523875 h 2079625"/>
                <a:gd name="connsiteX120" fmla="*/ 366123 w 2145038"/>
                <a:gd name="connsiteY120" fmla="*/ 463550 h 2079625"/>
                <a:gd name="connsiteX121" fmla="*/ 416923 w 2145038"/>
                <a:gd name="connsiteY121" fmla="*/ 409575 h 2079625"/>
                <a:gd name="connsiteX122" fmla="*/ 445498 w 2145038"/>
                <a:gd name="connsiteY122" fmla="*/ 377825 h 2079625"/>
                <a:gd name="connsiteX123" fmla="*/ 493123 w 2145038"/>
                <a:gd name="connsiteY123" fmla="*/ 333375 h 2079625"/>
                <a:gd name="connsiteX124" fmla="*/ 712198 w 2145038"/>
                <a:gd name="connsiteY124" fmla="*/ 136525 h 2079625"/>
                <a:gd name="connsiteX125" fmla="*/ 750298 w 2145038"/>
                <a:gd name="connsiteY125" fmla="*/ 111125 h 2079625"/>
                <a:gd name="connsiteX126" fmla="*/ 785223 w 2145038"/>
                <a:gd name="connsiteY126" fmla="*/ 88900 h 2079625"/>
                <a:gd name="connsiteX127" fmla="*/ 883648 w 2145038"/>
                <a:gd name="connsiteY127" fmla="*/ 38100 h 2079625"/>
                <a:gd name="connsiteX128" fmla="*/ 1077323 w 2145038"/>
                <a:gd name="connsiteY128" fmla="*/ 0 h 2079625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0" fmla="*/ 1197973 w 2145038"/>
                <a:gd name="connsiteY0" fmla="*/ 34925 h 2089150"/>
                <a:gd name="connsiteX1" fmla="*/ 1217023 w 2145038"/>
                <a:gd name="connsiteY1" fmla="*/ 44450 h 2089150"/>
                <a:gd name="connsiteX2" fmla="*/ 1239248 w 2145038"/>
                <a:gd name="connsiteY2" fmla="*/ 47625 h 2089150"/>
                <a:gd name="connsiteX3" fmla="*/ 1258298 w 2145038"/>
                <a:gd name="connsiteY3" fmla="*/ 60325 h 2089150"/>
                <a:gd name="connsiteX4" fmla="*/ 1270998 w 2145038"/>
                <a:gd name="connsiteY4" fmla="*/ 66675 h 2089150"/>
                <a:gd name="connsiteX5" fmla="*/ 1290048 w 2145038"/>
                <a:gd name="connsiteY5" fmla="*/ 82550 h 2089150"/>
                <a:gd name="connsiteX6" fmla="*/ 1309098 w 2145038"/>
                <a:gd name="connsiteY6" fmla="*/ 88900 h 2089150"/>
                <a:gd name="connsiteX7" fmla="*/ 1324973 w 2145038"/>
                <a:gd name="connsiteY7" fmla="*/ 101600 h 2089150"/>
                <a:gd name="connsiteX8" fmla="*/ 1334498 w 2145038"/>
                <a:gd name="connsiteY8" fmla="*/ 104775 h 2089150"/>
                <a:gd name="connsiteX9" fmla="*/ 1340848 w 2145038"/>
                <a:gd name="connsiteY9" fmla="*/ 114300 h 2089150"/>
                <a:gd name="connsiteX10" fmla="*/ 1356723 w 2145038"/>
                <a:gd name="connsiteY10" fmla="*/ 123825 h 2089150"/>
                <a:gd name="connsiteX11" fmla="*/ 1382123 w 2145038"/>
                <a:gd name="connsiteY11" fmla="*/ 142875 h 2089150"/>
                <a:gd name="connsiteX12" fmla="*/ 1391648 w 2145038"/>
                <a:gd name="connsiteY12" fmla="*/ 149225 h 2089150"/>
                <a:gd name="connsiteX13" fmla="*/ 1432923 w 2145038"/>
                <a:gd name="connsiteY13" fmla="*/ 193675 h 2089150"/>
                <a:gd name="connsiteX14" fmla="*/ 1442448 w 2145038"/>
                <a:gd name="connsiteY14" fmla="*/ 206375 h 2089150"/>
                <a:gd name="connsiteX15" fmla="*/ 1455148 w 2145038"/>
                <a:gd name="connsiteY15" fmla="*/ 228600 h 2089150"/>
                <a:gd name="connsiteX16" fmla="*/ 1499598 w 2145038"/>
                <a:gd name="connsiteY16" fmla="*/ 269875 h 2089150"/>
                <a:gd name="connsiteX17" fmla="*/ 1512298 w 2145038"/>
                <a:gd name="connsiteY17" fmla="*/ 285750 h 2089150"/>
                <a:gd name="connsiteX18" fmla="*/ 1524998 w 2145038"/>
                <a:gd name="connsiteY18" fmla="*/ 298450 h 2089150"/>
                <a:gd name="connsiteX19" fmla="*/ 1531348 w 2145038"/>
                <a:gd name="connsiteY19" fmla="*/ 307975 h 2089150"/>
                <a:gd name="connsiteX20" fmla="*/ 1550398 w 2145038"/>
                <a:gd name="connsiteY20" fmla="*/ 327025 h 2089150"/>
                <a:gd name="connsiteX21" fmla="*/ 1559923 w 2145038"/>
                <a:gd name="connsiteY21" fmla="*/ 336550 h 2089150"/>
                <a:gd name="connsiteX22" fmla="*/ 1569448 w 2145038"/>
                <a:gd name="connsiteY22" fmla="*/ 349250 h 2089150"/>
                <a:gd name="connsiteX23" fmla="*/ 1594848 w 2145038"/>
                <a:gd name="connsiteY23" fmla="*/ 368300 h 2089150"/>
                <a:gd name="connsiteX24" fmla="*/ 1632948 w 2145038"/>
                <a:gd name="connsiteY24" fmla="*/ 400050 h 2089150"/>
                <a:gd name="connsiteX25" fmla="*/ 1648823 w 2145038"/>
                <a:gd name="connsiteY25" fmla="*/ 419100 h 2089150"/>
                <a:gd name="connsiteX26" fmla="*/ 1661523 w 2145038"/>
                <a:gd name="connsiteY26" fmla="*/ 428625 h 2089150"/>
                <a:gd name="connsiteX27" fmla="*/ 1683748 w 2145038"/>
                <a:gd name="connsiteY27" fmla="*/ 450850 h 2089150"/>
                <a:gd name="connsiteX28" fmla="*/ 1702798 w 2145038"/>
                <a:gd name="connsiteY28" fmla="*/ 469900 h 2089150"/>
                <a:gd name="connsiteX29" fmla="*/ 1712323 w 2145038"/>
                <a:gd name="connsiteY29" fmla="*/ 479425 h 2089150"/>
                <a:gd name="connsiteX30" fmla="*/ 1744073 w 2145038"/>
                <a:gd name="connsiteY30" fmla="*/ 504825 h 2089150"/>
                <a:gd name="connsiteX31" fmla="*/ 1753598 w 2145038"/>
                <a:gd name="connsiteY31" fmla="*/ 514350 h 2089150"/>
                <a:gd name="connsiteX32" fmla="*/ 1766298 w 2145038"/>
                <a:gd name="connsiteY32" fmla="*/ 523875 h 2089150"/>
                <a:gd name="connsiteX33" fmla="*/ 1782173 w 2145038"/>
                <a:gd name="connsiteY33" fmla="*/ 539750 h 2089150"/>
                <a:gd name="connsiteX34" fmla="*/ 1813923 w 2145038"/>
                <a:gd name="connsiteY34" fmla="*/ 565150 h 2089150"/>
                <a:gd name="connsiteX35" fmla="*/ 1817098 w 2145038"/>
                <a:gd name="connsiteY35" fmla="*/ 574675 h 2089150"/>
                <a:gd name="connsiteX36" fmla="*/ 1842498 w 2145038"/>
                <a:gd name="connsiteY36" fmla="*/ 596900 h 2089150"/>
                <a:gd name="connsiteX37" fmla="*/ 1893298 w 2145038"/>
                <a:gd name="connsiteY37" fmla="*/ 654050 h 2089150"/>
                <a:gd name="connsiteX38" fmla="*/ 1918698 w 2145038"/>
                <a:gd name="connsiteY38" fmla="*/ 673100 h 2089150"/>
                <a:gd name="connsiteX39" fmla="*/ 1931398 w 2145038"/>
                <a:gd name="connsiteY39" fmla="*/ 679450 h 2089150"/>
                <a:gd name="connsiteX40" fmla="*/ 1979023 w 2145038"/>
                <a:gd name="connsiteY40" fmla="*/ 730250 h 2089150"/>
                <a:gd name="connsiteX41" fmla="*/ 1988548 w 2145038"/>
                <a:gd name="connsiteY41" fmla="*/ 739775 h 2089150"/>
                <a:gd name="connsiteX42" fmla="*/ 2023473 w 2145038"/>
                <a:gd name="connsiteY42" fmla="*/ 774700 h 2089150"/>
                <a:gd name="connsiteX43" fmla="*/ 2071098 w 2145038"/>
                <a:gd name="connsiteY43" fmla="*/ 847725 h 2089150"/>
                <a:gd name="connsiteX44" fmla="*/ 2090148 w 2145038"/>
                <a:gd name="connsiteY44" fmla="*/ 904875 h 2089150"/>
                <a:gd name="connsiteX45" fmla="*/ 2131423 w 2145038"/>
                <a:gd name="connsiteY45" fmla="*/ 981075 h 2089150"/>
                <a:gd name="connsiteX46" fmla="*/ 2121898 w 2145038"/>
                <a:gd name="connsiteY46" fmla="*/ 1181100 h 2089150"/>
                <a:gd name="connsiteX47" fmla="*/ 1928223 w 2145038"/>
                <a:gd name="connsiteY47" fmla="*/ 1444625 h 2089150"/>
                <a:gd name="connsiteX48" fmla="*/ 1905998 w 2145038"/>
                <a:gd name="connsiteY48" fmla="*/ 1463675 h 2089150"/>
                <a:gd name="connsiteX49" fmla="*/ 1848848 w 2145038"/>
                <a:gd name="connsiteY49" fmla="*/ 1495425 h 2089150"/>
                <a:gd name="connsiteX50" fmla="*/ 1810748 w 2145038"/>
                <a:gd name="connsiteY50" fmla="*/ 1527175 h 2089150"/>
                <a:gd name="connsiteX51" fmla="*/ 1791698 w 2145038"/>
                <a:gd name="connsiteY51" fmla="*/ 1543050 h 2089150"/>
                <a:gd name="connsiteX52" fmla="*/ 1775823 w 2145038"/>
                <a:gd name="connsiteY52" fmla="*/ 1552575 h 2089150"/>
                <a:gd name="connsiteX53" fmla="*/ 1718673 w 2145038"/>
                <a:gd name="connsiteY53" fmla="*/ 1616075 h 2089150"/>
                <a:gd name="connsiteX54" fmla="*/ 1709148 w 2145038"/>
                <a:gd name="connsiteY54" fmla="*/ 1628775 h 2089150"/>
                <a:gd name="connsiteX55" fmla="*/ 1680573 w 2145038"/>
                <a:gd name="connsiteY55" fmla="*/ 1660525 h 2089150"/>
                <a:gd name="connsiteX56" fmla="*/ 1658348 w 2145038"/>
                <a:gd name="connsiteY56" fmla="*/ 1689100 h 2089150"/>
                <a:gd name="connsiteX57" fmla="*/ 1623423 w 2145038"/>
                <a:gd name="connsiteY57" fmla="*/ 1724025 h 2089150"/>
                <a:gd name="connsiteX58" fmla="*/ 1604373 w 2145038"/>
                <a:gd name="connsiteY58" fmla="*/ 1743075 h 2089150"/>
                <a:gd name="connsiteX59" fmla="*/ 1569448 w 2145038"/>
                <a:gd name="connsiteY59" fmla="*/ 1784350 h 2089150"/>
                <a:gd name="connsiteX60" fmla="*/ 1559923 w 2145038"/>
                <a:gd name="connsiteY60" fmla="*/ 1797050 h 2089150"/>
                <a:gd name="connsiteX61" fmla="*/ 1547223 w 2145038"/>
                <a:gd name="connsiteY61" fmla="*/ 1806575 h 2089150"/>
                <a:gd name="connsiteX62" fmla="*/ 1540873 w 2145038"/>
                <a:gd name="connsiteY62" fmla="*/ 1816100 h 2089150"/>
                <a:gd name="connsiteX63" fmla="*/ 1524998 w 2145038"/>
                <a:gd name="connsiteY63" fmla="*/ 1825625 h 2089150"/>
                <a:gd name="connsiteX64" fmla="*/ 1480548 w 2145038"/>
                <a:gd name="connsiteY64" fmla="*/ 1870075 h 2089150"/>
                <a:gd name="connsiteX65" fmla="*/ 1464673 w 2145038"/>
                <a:gd name="connsiteY65" fmla="*/ 1889125 h 2089150"/>
                <a:gd name="connsiteX66" fmla="*/ 1455148 w 2145038"/>
                <a:gd name="connsiteY66" fmla="*/ 1901825 h 2089150"/>
                <a:gd name="connsiteX67" fmla="*/ 1445623 w 2145038"/>
                <a:gd name="connsiteY67" fmla="*/ 1911350 h 2089150"/>
                <a:gd name="connsiteX68" fmla="*/ 1432923 w 2145038"/>
                <a:gd name="connsiteY68" fmla="*/ 1927225 h 2089150"/>
                <a:gd name="connsiteX69" fmla="*/ 1423398 w 2145038"/>
                <a:gd name="connsiteY69" fmla="*/ 1936750 h 2089150"/>
                <a:gd name="connsiteX70" fmla="*/ 1417048 w 2145038"/>
                <a:gd name="connsiteY70" fmla="*/ 1946275 h 2089150"/>
                <a:gd name="connsiteX71" fmla="*/ 1391648 w 2145038"/>
                <a:gd name="connsiteY71" fmla="*/ 1965325 h 2089150"/>
                <a:gd name="connsiteX72" fmla="*/ 1356723 w 2145038"/>
                <a:gd name="connsiteY72" fmla="*/ 1981200 h 2089150"/>
                <a:gd name="connsiteX73" fmla="*/ 1344023 w 2145038"/>
                <a:gd name="connsiteY73" fmla="*/ 1987550 h 2089150"/>
                <a:gd name="connsiteX74" fmla="*/ 1331323 w 2145038"/>
                <a:gd name="connsiteY74" fmla="*/ 1997075 h 2089150"/>
                <a:gd name="connsiteX75" fmla="*/ 1312273 w 2145038"/>
                <a:gd name="connsiteY75" fmla="*/ 2016125 h 2089150"/>
                <a:gd name="connsiteX76" fmla="*/ 1270998 w 2145038"/>
                <a:gd name="connsiteY76" fmla="*/ 2035175 h 2089150"/>
                <a:gd name="connsiteX77" fmla="*/ 1258298 w 2145038"/>
                <a:gd name="connsiteY77" fmla="*/ 2041525 h 2089150"/>
                <a:gd name="connsiteX78" fmla="*/ 1236073 w 2145038"/>
                <a:gd name="connsiteY78" fmla="*/ 2047875 h 2089150"/>
                <a:gd name="connsiteX79" fmla="*/ 1226548 w 2145038"/>
                <a:gd name="connsiteY79" fmla="*/ 2054225 h 2089150"/>
                <a:gd name="connsiteX80" fmla="*/ 1217023 w 2145038"/>
                <a:gd name="connsiteY80" fmla="*/ 2057400 h 2089150"/>
                <a:gd name="connsiteX81" fmla="*/ 1175748 w 2145038"/>
                <a:gd name="connsiteY81" fmla="*/ 2066925 h 2089150"/>
                <a:gd name="connsiteX82" fmla="*/ 1150348 w 2145038"/>
                <a:gd name="connsiteY82" fmla="*/ 2079625 h 2089150"/>
                <a:gd name="connsiteX83" fmla="*/ 1102723 w 2145038"/>
                <a:gd name="connsiteY83" fmla="*/ 2089150 h 2089150"/>
                <a:gd name="connsiteX84" fmla="*/ 928098 w 2145038"/>
                <a:gd name="connsiteY84" fmla="*/ 2079625 h 2089150"/>
                <a:gd name="connsiteX85" fmla="*/ 886823 w 2145038"/>
                <a:gd name="connsiteY85" fmla="*/ 2063750 h 2089150"/>
                <a:gd name="connsiteX86" fmla="*/ 845548 w 2145038"/>
                <a:gd name="connsiteY86" fmla="*/ 2044700 h 2089150"/>
                <a:gd name="connsiteX87" fmla="*/ 731248 w 2145038"/>
                <a:gd name="connsiteY87" fmla="*/ 1943100 h 2089150"/>
                <a:gd name="connsiteX88" fmla="*/ 715373 w 2145038"/>
                <a:gd name="connsiteY88" fmla="*/ 1927225 h 2089150"/>
                <a:gd name="connsiteX89" fmla="*/ 699498 w 2145038"/>
                <a:gd name="connsiteY89" fmla="*/ 1914525 h 2089150"/>
                <a:gd name="connsiteX90" fmla="*/ 680448 w 2145038"/>
                <a:gd name="connsiteY90" fmla="*/ 1895475 h 2089150"/>
                <a:gd name="connsiteX91" fmla="*/ 642348 w 2145038"/>
                <a:gd name="connsiteY91" fmla="*/ 1863725 h 2089150"/>
                <a:gd name="connsiteX92" fmla="*/ 601073 w 2145038"/>
                <a:gd name="connsiteY92" fmla="*/ 1816100 h 2089150"/>
                <a:gd name="connsiteX93" fmla="*/ 578848 w 2145038"/>
                <a:gd name="connsiteY93" fmla="*/ 1790700 h 2089150"/>
                <a:gd name="connsiteX94" fmla="*/ 537573 w 2145038"/>
                <a:gd name="connsiteY94" fmla="*/ 1749425 h 2089150"/>
                <a:gd name="connsiteX95" fmla="*/ 499473 w 2145038"/>
                <a:gd name="connsiteY95" fmla="*/ 1714500 h 2089150"/>
                <a:gd name="connsiteX96" fmla="*/ 470898 w 2145038"/>
                <a:gd name="connsiteY96" fmla="*/ 1679575 h 2089150"/>
                <a:gd name="connsiteX97" fmla="*/ 413748 w 2145038"/>
                <a:gd name="connsiteY97" fmla="*/ 1631950 h 2089150"/>
                <a:gd name="connsiteX98" fmla="*/ 401048 w 2145038"/>
                <a:gd name="connsiteY98" fmla="*/ 1622425 h 2089150"/>
                <a:gd name="connsiteX99" fmla="*/ 369298 w 2145038"/>
                <a:gd name="connsiteY99" fmla="*/ 1593850 h 2089150"/>
                <a:gd name="connsiteX100" fmla="*/ 328023 w 2145038"/>
                <a:gd name="connsiteY100" fmla="*/ 1568450 h 2089150"/>
                <a:gd name="connsiteX101" fmla="*/ 302623 w 2145038"/>
                <a:gd name="connsiteY101" fmla="*/ 1549400 h 2089150"/>
                <a:gd name="connsiteX102" fmla="*/ 223248 w 2145038"/>
                <a:gd name="connsiteY102" fmla="*/ 1479550 h 2089150"/>
                <a:gd name="connsiteX103" fmla="*/ 175623 w 2145038"/>
                <a:gd name="connsiteY103" fmla="*/ 1422400 h 2089150"/>
                <a:gd name="connsiteX104" fmla="*/ 118473 w 2145038"/>
                <a:gd name="connsiteY104" fmla="*/ 1349375 h 2089150"/>
                <a:gd name="connsiteX105" fmla="*/ 83548 w 2145038"/>
                <a:gd name="connsiteY105" fmla="*/ 1301750 h 2089150"/>
                <a:gd name="connsiteX106" fmla="*/ 64498 w 2145038"/>
                <a:gd name="connsiteY106" fmla="*/ 1276350 h 2089150"/>
                <a:gd name="connsiteX107" fmla="*/ 35923 w 2145038"/>
                <a:gd name="connsiteY107" fmla="*/ 1216025 h 2089150"/>
                <a:gd name="connsiteX108" fmla="*/ 26398 w 2145038"/>
                <a:gd name="connsiteY108" fmla="*/ 1181100 h 2089150"/>
                <a:gd name="connsiteX109" fmla="*/ 20048 w 2145038"/>
                <a:gd name="connsiteY109" fmla="*/ 1158875 h 2089150"/>
                <a:gd name="connsiteX110" fmla="*/ 16873 w 2145038"/>
                <a:gd name="connsiteY110" fmla="*/ 1143000 h 2089150"/>
                <a:gd name="connsiteX111" fmla="*/ 7348 w 2145038"/>
                <a:gd name="connsiteY111" fmla="*/ 1104900 h 2089150"/>
                <a:gd name="connsiteX112" fmla="*/ 998 w 2145038"/>
                <a:gd name="connsiteY112" fmla="*/ 1022350 h 2089150"/>
                <a:gd name="connsiteX113" fmla="*/ 10523 w 2145038"/>
                <a:gd name="connsiteY113" fmla="*/ 892175 h 2089150"/>
                <a:gd name="connsiteX114" fmla="*/ 35923 w 2145038"/>
                <a:gd name="connsiteY114" fmla="*/ 844550 h 2089150"/>
                <a:gd name="connsiteX115" fmla="*/ 51798 w 2145038"/>
                <a:gd name="connsiteY115" fmla="*/ 815975 h 2089150"/>
                <a:gd name="connsiteX116" fmla="*/ 83548 w 2145038"/>
                <a:gd name="connsiteY116" fmla="*/ 771525 h 2089150"/>
                <a:gd name="connsiteX117" fmla="*/ 99423 w 2145038"/>
                <a:gd name="connsiteY117" fmla="*/ 752475 h 2089150"/>
                <a:gd name="connsiteX118" fmla="*/ 143873 w 2145038"/>
                <a:gd name="connsiteY118" fmla="*/ 685800 h 2089150"/>
                <a:gd name="connsiteX119" fmla="*/ 308973 w 2145038"/>
                <a:gd name="connsiteY119" fmla="*/ 533400 h 2089150"/>
                <a:gd name="connsiteX120" fmla="*/ 366123 w 2145038"/>
                <a:gd name="connsiteY120" fmla="*/ 473075 h 2089150"/>
                <a:gd name="connsiteX121" fmla="*/ 416923 w 2145038"/>
                <a:gd name="connsiteY121" fmla="*/ 419100 h 2089150"/>
                <a:gd name="connsiteX122" fmla="*/ 445498 w 2145038"/>
                <a:gd name="connsiteY122" fmla="*/ 387350 h 2089150"/>
                <a:gd name="connsiteX123" fmla="*/ 493123 w 2145038"/>
                <a:gd name="connsiteY123" fmla="*/ 342900 h 2089150"/>
                <a:gd name="connsiteX124" fmla="*/ 712198 w 2145038"/>
                <a:gd name="connsiteY124" fmla="*/ 146050 h 2089150"/>
                <a:gd name="connsiteX125" fmla="*/ 750298 w 2145038"/>
                <a:gd name="connsiteY125" fmla="*/ 120650 h 2089150"/>
                <a:gd name="connsiteX126" fmla="*/ 785223 w 2145038"/>
                <a:gd name="connsiteY126" fmla="*/ 98425 h 2089150"/>
                <a:gd name="connsiteX127" fmla="*/ 883648 w 2145038"/>
                <a:gd name="connsiteY127" fmla="*/ 47625 h 2089150"/>
                <a:gd name="connsiteX128" fmla="*/ 1080498 w 2145038"/>
                <a:gd name="connsiteY128" fmla="*/ 0 h 2089150"/>
                <a:gd name="connsiteX129" fmla="*/ 1197973 w 2145038"/>
                <a:gd name="connsiteY129" fmla="*/ 34925 h 2089150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905998 w 2145038"/>
                <a:gd name="connsiteY48" fmla="*/ 1464364 h 2089839"/>
                <a:gd name="connsiteX49" fmla="*/ 1848848 w 2145038"/>
                <a:gd name="connsiteY49" fmla="*/ 1496114 h 2089839"/>
                <a:gd name="connsiteX50" fmla="*/ 1810748 w 2145038"/>
                <a:gd name="connsiteY50" fmla="*/ 1527864 h 2089839"/>
                <a:gd name="connsiteX51" fmla="*/ 1791698 w 2145038"/>
                <a:gd name="connsiteY51" fmla="*/ 1543739 h 2089839"/>
                <a:gd name="connsiteX52" fmla="*/ 1775823 w 2145038"/>
                <a:gd name="connsiteY52" fmla="*/ 1553264 h 2089839"/>
                <a:gd name="connsiteX53" fmla="*/ 1718673 w 2145038"/>
                <a:gd name="connsiteY53" fmla="*/ 1616764 h 2089839"/>
                <a:gd name="connsiteX54" fmla="*/ 1709148 w 2145038"/>
                <a:gd name="connsiteY54" fmla="*/ 1629464 h 2089839"/>
                <a:gd name="connsiteX55" fmla="*/ 1680573 w 2145038"/>
                <a:gd name="connsiteY55" fmla="*/ 1661214 h 2089839"/>
                <a:gd name="connsiteX56" fmla="*/ 1658348 w 2145038"/>
                <a:gd name="connsiteY56" fmla="*/ 1689789 h 2089839"/>
                <a:gd name="connsiteX57" fmla="*/ 1623423 w 2145038"/>
                <a:gd name="connsiteY57" fmla="*/ 1724714 h 2089839"/>
                <a:gd name="connsiteX58" fmla="*/ 1604373 w 2145038"/>
                <a:gd name="connsiteY58" fmla="*/ 1743764 h 2089839"/>
                <a:gd name="connsiteX59" fmla="*/ 1569448 w 2145038"/>
                <a:gd name="connsiteY59" fmla="*/ 1785039 h 2089839"/>
                <a:gd name="connsiteX60" fmla="*/ 1559923 w 2145038"/>
                <a:gd name="connsiteY60" fmla="*/ 1797739 h 2089839"/>
                <a:gd name="connsiteX61" fmla="*/ 1547223 w 2145038"/>
                <a:gd name="connsiteY61" fmla="*/ 1807264 h 2089839"/>
                <a:gd name="connsiteX62" fmla="*/ 1540873 w 2145038"/>
                <a:gd name="connsiteY62" fmla="*/ 1816789 h 2089839"/>
                <a:gd name="connsiteX63" fmla="*/ 1524998 w 2145038"/>
                <a:gd name="connsiteY63" fmla="*/ 1826314 h 2089839"/>
                <a:gd name="connsiteX64" fmla="*/ 1480548 w 2145038"/>
                <a:gd name="connsiteY64" fmla="*/ 1870764 h 2089839"/>
                <a:gd name="connsiteX65" fmla="*/ 1464673 w 2145038"/>
                <a:gd name="connsiteY65" fmla="*/ 1889814 h 2089839"/>
                <a:gd name="connsiteX66" fmla="*/ 1455148 w 2145038"/>
                <a:gd name="connsiteY66" fmla="*/ 1902514 h 2089839"/>
                <a:gd name="connsiteX67" fmla="*/ 1445623 w 2145038"/>
                <a:gd name="connsiteY67" fmla="*/ 1912039 h 2089839"/>
                <a:gd name="connsiteX68" fmla="*/ 1432923 w 2145038"/>
                <a:gd name="connsiteY68" fmla="*/ 1927914 h 2089839"/>
                <a:gd name="connsiteX69" fmla="*/ 1423398 w 2145038"/>
                <a:gd name="connsiteY69" fmla="*/ 1937439 h 2089839"/>
                <a:gd name="connsiteX70" fmla="*/ 1417048 w 2145038"/>
                <a:gd name="connsiteY70" fmla="*/ 1946964 h 2089839"/>
                <a:gd name="connsiteX71" fmla="*/ 1391648 w 2145038"/>
                <a:gd name="connsiteY71" fmla="*/ 1966014 h 2089839"/>
                <a:gd name="connsiteX72" fmla="*/ 1356723 w 2145038"/>
                <a:gd name="connsiteY72" fmla="*/ 1981889 h 2089839"/>
                <a:gd name="connsiteX73" fmla="*/ 1344023 w 2145038"/>
                <a:gd name="connsiteY73" fmla="*/ 1988239 h 2089839"/>
                <a:gd name="connsiteX74" fmla="*/ 1331323 w 2145038"/>
                <a:gd name="connsiteY74" fmla="*/ 1997764 h 2089839"/>
                <a:gd name="connsiteX75" fmla="*/ 1312273 w 2145038"/>
                <a:gd name="connsiteY75" fmla="*/ 2016814 h 2089839"/>
                <a:gd name="connsiteX76" fmla="*/ 1270998 w 2145038"/>
                <a:gd name="connsiteY76" fmla="*/ 2035864 h 2089839"/>
                <a:gd name="connsiteX77" fmla="*/ 1258298 w 2145038"/>
                <a:gd name="connsiteY77" fmla="*/ 2042214 h 2089839"/>
                <a:gd name="connsiteX78" fmla="*/ 1236073 w 2145038"/>
                <a:gd name="connsiteY78" fmla="*/ 2048564 h 2089839"/>
                <a:gd name="connsiteX79" fmla="*/ 1226548 w 2145038"/>
                <a:gd name="connsiteY79" fmla="*/ 2054914 h 2089839"/>
                <a:gd name="connsiteX80" fmla="*/ 1217023 w 2145038"/>
                <a:gd name="connsiteY80" fmla="*/ 2058089 h 2089839"/>
                <a:gd name="connsiteX81" fmla="*/ 1175748 w 2145038"/>
                <a:gd name="connsiteY81" fmla="*/ 2067614 h 2089839"/>
                <a:gd name="connsiteX82" fmla="*/ 1150348 w 2145038"/>
                <a:gd name="connsiteY82" fmla="*/ 2080314 h 2089839"/>
                <a:gd name="connsiteX83" fmla="*/ 1102723 w 2145038"/>
                <a:gd name="connsiteY83" fmla="*/ 2089839 h 2089839"/>
                <a:gd name="connsiteX84" fmla="*/ 928098 w 2145038"/>
                <a:gd name="connsiteY84" fmla="*/ 2080314 h 2089839"/>
                <a:gd name="connsiteX85" fmla="*/ 886823 w 2145038"/>
                <a:gd name="connsiteY85" fmla="*/ 2064439 h 2089839"/>
                <a:gd name="connsiteX86" fmla="*/ 845548 w 2145038"/>
                <a:gd name="connsiteY86" fmla="*/ 2045389 h 2089839"/>
                <a:gd name="connsiteX87" fmla="*/ 731248 w 2145038"/>
                <a:gd name="connsiteY87" fmla="*/ 1943789 h 2089839"/>
                <a:gd name="connsiteX88" fmla="*/ 715373 w 2145038"/>
                <a:gd name="connsiteY88" fmla="*/ 1927914 h 2089839"/>
                <a:gd name="connsiteX89" fmla="*/ 699498 w 2145038"/>
                <a:gd name="connsiteY89" fmla="*/ 1915214 h 2089839"/>
                <a:gd name="connsiteX90" fmla="*/ 680448 w 2145038"/>
                <a:gd name="connsiteY90" fmla="*/ 1896164 h 2089839"/>
                <a:gd name="connsiteX91" fmla="*/ 642348 w 2145038"/>
                <a:gd name="connsiteY91" fmla="*/ 1864414 h 2089839"/>
                <a:gd name="connsiteX92" fmla="*/ 601073 w 2145038"/>
                <a:gd name="connsiteY92" fmla="*/ 1816789 h 2089839"/>
                <a:gd name="connsiteX93" fmla="*/ 578848 w 2145038"/>
                <a:gd name="connsiteY93" fmla="*/ 1791389 h 2089839"/>
                <a:gd name="connsiteX94" fmla="*/ 537573 w 2145038"/>
                <a:gd name="connsiteY94" fmla="*/ 1750114 h 2089839"/>
                <a:gd name="connsiteX95" fmla="*/ 499473 w 2145038"/>
                <a:gd name="connsiteY95" fmla="*/ 1715189 h 2089839"/>
                <a:gd name="connsiteX96" fmla="*/ 470898 w 2145038"/>
                <a:gd name="connsiteY96" fmla="*/ 1680264 h 2089839"/>
                <a:gd name="connsiteX97" fmla="*/ 413748 w 2145038"/>
                <a:gd name="connsiteY97" fmla="*/ 1632639 h 2089839"/>
                <a:gd name="connsiteX98" fmla="*/ 401048 w 2145038"/>
                <a:gd name="connsiteY98" fmla="*/ 1623114 h 2089839"/>
                <a:gd name="connsiteX99" fmla="*/ 369298 w 2145038"/>
                <a:gd name="connsiteY99" fmla="*/ 1594539 h 2089839"/>
                <a:gd name="connsiteX100" fmla="*/ 328023 w 2145038"/>
                <a:gd name="connsiteY100" fmla="*/ 1569139 h 2089839"/>
                <a:gd name="connsiteX101" fmla="*/ 302623 w 2145038"/>
                <a:gd name="connsiteY101" fmla="*/ 1550089 h 2089839"/>
                <a:gd name="connsiteX102" fmla="*/ 223248 w 2145038"/>
                <a:gd name="connsiteY102" fmla="*/ 1480239 h 2089839"/>
                <a:gd name="connsiteX103" fmla="*/ 175623 w 2145038"/>
                <a:gd name="connsiteY103" fmla="*/ 1423089 h 2089839"/>
                <a:gd name="connsiteX104" fmla="*/ 118473 w 2145038"/>
                <a:gd name="connsiteY104" fmla="*/ 1350064 h 2089839"/>
                <a:gd name="connsiteX105" fmla="*/ 83548 w 2145038"/>
                <a:gd name="connsiteY105" fmla="*/ 1302439 h 2089839"/>
                <a:gd name="connsiteX106" fmla="*/ 64498 w 2145038"/>
                <a:gd name="connsiteY106" fmla="*/ 1277039 h 2089839"/>
                <a:gd name="connsiteX107" fmla="*/ 35923 w 2145038"/>
                <a:gd name="connsiteY107" fmla="*/ 1216714 h 2089839"/>
                <a:gd name="connsiteX108" fmla="*/ 26398 w 2145038"/>
                <a:gd name="connsiteY108" fmla="*/ 1181789 h 2089839"/>
                <a:gd name="connsiteX109" fmla="*/ 20048 w 2145038"/>
                <a:gd name="connsiteY109" fmla="*/ 1159564 h 2089839"/>
                <a:gd name="connsiteX110" fmla="*/ 16873 w 2145038"/>
                <a:gd name="connsiteY110" fmla="*/ 1143689 h 2089839"/>
                <a:gd name="connsiteX111" fmla="*/ 7348 w 2145038"/>
                <a:gd name="connsiteY111" fmla="*/ 1105589 h 2089839"/>
                <a:gd name="connsiteX112" fmla="*/ 998 w 2145038"/>
                <a:gd name="connsiteY112" fmla="*/ 1023039 h 2089839"/>
                <a:gd name="connsiteX113" fmla="*/ 10523 w 2145038"/>
                <a:gd name="connsiteY113" fmla="*/ 892864 h 2089839"/>
                <a:gd name="connsiteX114" fmla="*/ 35923 w 2145038"/>
                <a:gd name="connsiteY114" fmla="*/ 845239 h 2089839"/>
                <a:gd name="connsiteX115" fmla="*/ 51798 w 2145038"/>
                <a:gd name="connsiteY115" fmla="*/ 816664 h 2089839"/>
                <a:gd name="connsiteX116" fmla="*/ 83548 w 2145038"/>
                <a:gd name="connsiteY116" fmla="*/ 772214 h 2089839"/>
                <a:gd name="connsiteX117" fmla="*/ 99423 w 2145038"/>
                <a:gd name="connsiteY117" fmla="*/ 753164 h 2089839"/>
                <a:gd name="connsiteX118" fmla="*/ 143873 w 2145038"/>
                <a:gd name="connsiteY118" fmla="*/ 686489 h 2089839"/>
                <a:gd name="connsiteX119" fmla="*/ 308973 w 2145038"/>
                <a:gd name="connsiteY119" fmla="*/ 534089 h 2089839"/>
                <a:gd name="connsiteX120" fmla="*/ 366123 w 2145038"/>
                <a:gd name="connsiteY120" fmla="*/ 473764 h 2089839"/>
                <a:gd name="connsiteX121" fmla="*/ 416923 w 2145038"/>
                <a:gd name="connsiteY121" fmla="*/ 419789 h 2089839"/>
                <a:gd name="connsiteX122" fmla="*/ 445498 w 2145038"/>
                <a:gd name="connsiteY122" fmla="*/ 388039 h 2089839"/>
                <a:gd name="connsiteX123" fmla="*/ 493123 w 2145038"/>
                <a:gd name="connsiteY123" fmla="*/ 343589 h 2089839"/>
                <a:gd name="connsiteX124" fmla="*/ 712198 w 2145038"/>
                <a:gd name="connsiteY124" fmla="*/ 146739 h 2089839"/>
                <a:gd name="connsiteX125" fmla="*/ 750298 w 2145038"/>
                <a:gd name="connsiteY125" fmla="*/ 121339 h 2089839"/>
                <a:gd name="connsiteX126" fmla="*/ 785223 w 2145038"/>
                <a:gd name="connsiteY126" fmla="*/ 99114 h 2089839"/>
                <a:gd name="connsiteX127" fmla="*/ 883648 w 2145038"/>
                <a:gd name="connsiteY127" fmla="*/ 48314 h 2089839"/>
                <a:gd name="connsiteX128" fmla="*/ 1080498 w 2145038"/>
                <a:gd name="connsiteY128" fmla="*/ 689 h 2089839"/>
                <a:gd name="connsiteX129" fmla="*/ 1197973 w 2145038"/>
                <a:gd name="connsiteY12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91698 w 2145038"/>
                <a:gd name="connsiteY50" fmla="*/ 1543739 h 2089839"/>
                <a:gd name="connsiteX51" fmla="*/ 1775823 w 2145038"/>
                <a:gd name="connsiteY51" fmla="*/ 1553264 h 2089839"/>
                <a:gd name="connsiteX52" fmla="*/ 1718673 w 2145038"/>
                <a:gd name="connsiteY52" fmla="*/ 1616764 h 2089839"/>
                <a:gd name="connsiteX53" fmla="*/ 1709148 w 2145038"/>
                <a:gd name="connsiteY53" fmla="*/ 1629464 h 2089839"/>
                <a:gd name="connsiteX54" fmla="*/ 1680573 w 2145038"/>
                <a:gd name="connsiteY54" fmla="*/ 1661214 h 2089839"/>
                <a:gd name="connsiteX55" fmla="*/ 1658348 w 2145038"/>
                <a:gd name="connsiteY55" fmla="*/ 1689789 h 2089839"/>
                <a:gd name="connsiteX56" fmla="*/ 1623423 w 2145038"/>
                <a:gd name="connsiteY56" fmla="*/ 1724714 h 2089839"/>
                <a:gd name="connsiteX57" fmla="*/ 1604373 w 2145038"/>
                <a:gd name="connsiteY57" fmla="*/ 1743764 h 2089839"/>
                <a:gd name="connsiteX58" fmla="*/ 1569448 w 2145038"/>
                <a:gd name="connsiteY58" fmla="*/ 1785039 h 2089839"/>
                <a:gd name="connsiteX59" fmla="*/ 1559923 w 2145038"/>
                <a:gd name="connsiteY59" fmla="*/ 1797739 h 2089839"/>
                <a:gd name="connsiteX60" fmla="*/ 1547223 w 2145038"/>
                <a:gd name="connsiteY60" fmla="*/ 1807264 h 2089839"/>
                <a:gd name="connsiteX61" fmla="*/ 1540873 w 2145038"/>
                <a:gd name="connsiteY61" fmla="*/ 1816789 h 2089839"/>
                <a:gd name="connsiteX62" fmla="*/ 1524998 w 2145038"/>
                <a:gd name="connsiteY62" fmla="*/ 1826314 h 2089839"/>
                <a:gd name="connsiteX63" fmla="*/ 1480548 w 2145038"/>
                <a:gd name="connsiteY63" fmla="*/ 1870764 h 2089839"/>
                <a:gd name="connsiteX64" fmla="*/ 1464673 w 2145038"/>
                <a:gd name="connsiteY64" fmla="*/ 1889814 h 2089839"/>
                <a:gd name="connsiteX65" fmla="*/ 1455148 w 2145038"/>
                <a:gd name="connsiteY65" fmla="*/ 1902514 h 2089839"/>
                <a:gd name="connsiteX66" fmla="*/ 1445623 w 2145038"/>
                <a:gd name="connsiteY66" fmla="*/ 1912039 h 2089839"/>
                <a:gd name="connsiteX67" fmla="*/ 1432923 w 2145038"/>
                <a:gd name="connsiteY67" fmla="*/ 1927914 h 2089839"/>
                <a:gd name="connsiteX68" fmla="*/ 1423398 w 2145038"/>
                <a:gd name="connsiteY68" fmla="*/ 1937439 h 2089839"/>
                <a:gd name="connsiteX69" fmla="*/ 1417048 w 2145038"/>
                <a:gd name="connsiteY69" fmla="*/ 1946964 h 2089839"/>
                <a:gd name="connsiteX70" fmla="*/ 1391648 w 2145038"/>
                <a:gd name="connsiteY70" fmla="*/ 1966014 h 2089839"/>
                <a:gd name="connsiteX71" fmla="*/ 1356723 w 2145038"/>
                <a:gd name="connsiteY71" fmla="*/ 1981889 h 2089839"/>
                <a:gd name="connsiteX72" fmla="*/ 1344023 w 2145038"/>
                <a:gd name="connsiteY72" fmla="*/ 1988239 h 2089839"/>
                <a:gd name="connsiteX73" fmla="*/ 1331323 w 2145038"/>
                <a:gd name="connsiteY73" fmla="*/ 1997764 h 2089839"/>
                <a:gd name="connsiteX74" fmla="*/ 1312273 w 2145038"/>
                <a:gd name="connsiteY74" fmla="*/ 2016814 h 2089839"/>
                <a:gd name="connsiteX75" fmla="*/ 1270998 w 2145038"/>
                <a:gd name="connsiteY75" fmla="*/ 2035864 h 2089839"/>
                <a:gd name="connsiteX76" fmla="*/ 1258298 w 2145038"/>
                <a:gd name="connsiteY76" fmla="*/ 2042214 h 2089839"/>
                <a:gd name="connsiteX77" fmla="*/ 1236073 w 2145038"/>
                <a:gd name="connsiteY77" fmla="*/ 2048564 h 2089839"/>
                <a:gd name="connsiteX78" fmla="*/ 1226548 w 2145038"/>
                <a:gd name="connsiteY78" fmla="*/ 2054914 h 2089839"/>
                <a:gd name="connsiteX79" fmla="*/ 1217023 w 2145038"/>
                <a:gd name="connsiteY79" fmla="*/ 2058089 h 2089839"/>
                <a:gd name="connsiteX80" fmla="*/ 1175748 w 2145038"/>
                <a:gd name="connsiteY80" fmla="*/ 2067614 h 2089839"/>
                <a:gd name="connsiteX81" fmla="*/ 1150348 w 2145038"/>
                <a:gd name="connsiteY81" fmla="*/ 2080314 h 2089839"/>
                <a:gd name="connsiteX82" fmla="*/ 1102723 w 2145038"/>
                <a:gd name="connsiteY82" fmla="*/ 2089839 h 2089839"/>
                <a:gd name="connsiteX83" fmla="*/ 928098 w 2145038"/>
                <a:gd name="connsiteY83" fmla="*/ 2080314 h 2089839"/>
                <a:gd name="connsiteX84" fmla="*/ 886823 w 2145038"/>
                <a:gd name="connsiteY84" fmla="*/ 2064439 h 2089839"/>
                <a:gd name="connsiteX85" fmla="*/ 845548 w 2145038"/>
                <a:gd name="connsiteY85" fmla="*/ 2045389 h 2089839"/>
                <a:gd name="connsiteX86" fmla="*/ 731248 w 2145038"/>
                <a:gd name="connsiteY86" fmla="*/ 1943789 h 2089839"/>
                <a:gd name="connsiteX87" fmla="*/ 715373 w 2145038"/>
                <a:gd name="connsiteY87" fmla="*/ 1927914 h 2089839"/>
                <a:gd name="connsiteX88" fmla="*/ 699498 w 2145038"/>
                <a:gd name="connsiteY88" fmla="*/ 1915214 h 2089839"/>
                <a:gd name="connsiteX89" fmla="*/ 680448 w 2145038"/>
                <a:gd name="connsiteY89" fmla="*/ 1896164 h 2089839"/>
                <a:gd name="connsiteX90" fmla="*/ 642348 w 2145038"/>
                <a:gd name="connsiteY90" fmla="*/ 1864414 h 2089839"/>
                <a:gd name="connsiteX91" fmla="*/ 601073 w 2145038"/>
                <a:gd name="connsiteY91" fmla="*/ 1816789 h 2089839"/>
                <a:gd name="connsiteX92" fmla="*/ 578848 w 2145038"/>
                <a:gd name="connsiteY92" fmla="*/ 1791389 h 2089839"/>
                <a:gd name="connsiteX93" fmla="*/ 537573 w 2145038"/>
                <a:gd name="connsiteY93" fmla="*/ 1750114 h 2089839"/>
                <a:gd name="connsiteX94" fmla="*/ 499473 w 2145038"/>
                <a:gd name="connsiteY94" fmla="*/ 1715189 h 2089839"/>
                <a:gd name="connsiteX95" fmla="*/ 470898 w 2145038"/>
                <a:gd name="connsiteY95" fmla="*/ 1680264 h 2089839"/>
                <a:gd name="connsiteX96" fmla="*/ 413748 w 2145038"/>
                <a:gd name="connsiteY96" fmla="*/ 1632639 h 2089839"/>
                <a:gd name="connsiteX97" fmla="*/ 401048 w 2145038"/>
                <a:gd name="connsiteY97" fmla="*/ 1623114 h 2089839"/>
                <a:gd name="connsiteX98" fmla="*/ 369298 w 2145038"/>
                <a:gd name="connsiteY98" fmla="*/ 1594539 h 2089839"/>
                <a:gd name="connsiteX99" fmla="*/ 328023 w 2145038"/>
                <a:gd name="connsiteY99" fmla="*/ 1569139 h 2089839"/>
                <a:gd name="connsiteX100" fmla="*/ 302623 w 2145038"/>
                <a:gd name="connsiteY100" fmla="*/ 1550089 h 2089839"/>
                <a:gd name="connsiteX101" fmla="*/ 223248 w 2145038"/>
                <a:gd name="connsiteY101" fmla="*/ 1480239 h 2089839"/>
                <a:gd name="connsiteX102" fmla="*/ 175623 w 2145038"/>
                <a:gd name="connsiteY102" fmla="*/ 1423089 h 2089839"/>
                <a:gd name="connsiteX103" fmla="*/ 118473 w 2145038"/>
                <a:gd name="connsiteY103" fmla="*/ 1350064 h 2089839"/>
                <a:gd name="connsiteX104" fmla="*/ 83548 w 2145038"/>
                <a:gd name="connsiteY104" fmla="*/ 1302439 h 2089839"/>
                <a:gd name="connsiteX105" fmla="*/ 64498 w 2145038"/>
                <a:gd name="connsiteY105" fmla="*/ 1277039 h 2089839"/>
                <a:gd name="connsiteX106" fmla="*/ 35923 w 2145038"/>
                <a:gd name="connsiteY106" fmla="*/ 1216714 h 2089839"/>
                <a:gd name="connsiteX107" fmla="*/ 26398 w 2145038"/>
                <a:gd name="connsiteY107" fmla="*/ 1181789 h 2089839"/>
                <a:gd name="connsiteX108" fmla="*/ 20048 w 2145038"/>
                <a:gd name="connsiteY108" fmla="*/ 1159564 h 2089839"/>
                <a:gd name="connsiteX109" fmla="*/ 16873 w 2145038"/>
                <a:gd name="connsiteY109" fmla="*/ 1143689 h 2089839"/>
                <a:gd name="connsiteX110" fmla="*/ 7348 w 2145038"/>
                <a:gd name="connsiteY110" fmla="*/ 1105589 h 2089839"/>
                <a:gd name="connsiteX111" fmla="*/ 998 w 2145038"/>
                <a:gd name="connsiteY111" fmla="*/ 1023039 h 2089839"/>
                <a:gd name="connsiteX112" fmla="*/ 10523 w 2145038"/>
                <a:gd name="connsiteY112" fmla="*/ 892864 h 2089839"/>
                <a:gd name="connsiteX113" fmla="*/ 35923 w 2145038"/>
                <a:gd name="connsiteY113" fmla="*/ 845239 h 2089839"/>
                <a:gd name="connsiteX114" fmla="*/ 51798 w 2145038"/>
                <a:gd name="connsiteY114" fmla="*/ 816664 h 2089839"/>
                <a:gd name="connsiteX115" fmla="*/ 83548 w 2145038"/>
                <a:gd name="connsiteY115" fmla="*/ 772214 h 2089839"/>
                <a:gd name="connsiteX116" fmla="*/ 99423 w 2145038"/>
                <a:gd name="connsiteY116" fmla="*/ 753164 h 2089839"/>
                <a:gd name="connsiteX117" fmla="*/ 143873 w 2145038"/>
                <a:gd name="connsiteY117" fmla="*/ 686489 h 2089839"/>
                <a:gd name="connsiteX118" fmla="*/ 308973 w 2145038"/>
                <a:gd name="connsiteY118" fmla="*/ 534089 h 2089839"/>
                <a:gd name="connsiteX119" fmla="*/ 366123 w 2145038"/>
                <a:gd name="connsiteY119" fmla="*/ 473764 h 2089839"/>
                <a:gd name="connsiteX120" fmla="*/ 416923 w 2145038"/>
                <a:gd name="connsiteY120" fmla="*/ 419789 h 2089839"/>
                <a:gd name="connsiteX121" fmla="*/ 445498 w 2145038"/>
                <a:gd name="connsiteY121" fmla="*/ 388039 h 2089839"/>
                <a:gd name="connsiteX122" fmla="*/ 493123 w 2145038"/>
                <a:gd name="connsiteY122" fmla="*/ 343589 h 2089839"/>
                <a:gd name="connsiteX123" fmla="*/ 712198 w 2145038"/>
                <a:gd name="connsiteY123" fmla="*/ 146739 h 2089839"/>
                <a:gd name="connsiteX124" fmla="*/ 750298 w 2145038"/>
                <a:gd name="connsiteY124" fmla="*/ 121339 h 2089839"/>
                <a:gd name="connsiteX125" fmla="*/ 785223 w 2145038"/>
                <a:gd name="connsiteY125" fmla="*/ 99114 h 2089839"/>
                <a:gd name="connsiteX126" fmla="*/ 883648 w 2145038"/>
                <a:gd name="connsiteY126" fmla="*/ 48314 h 2089839"/>
                <a:gd name="connsiteX127" fmla="*/ 1080498 w 2145038"/>
                <a:gd name="connsiteY127" fmla="*/ 689 h 2089839"/>
                <a:gd name="connsiteX128" fmla="*/ 1197973 w 2145038"/>
                <a:gd name="connsiteY12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75823 w 2145038"/>
                <a:gd name="connsiteY50" fmla="*/ 1553264 h 2089839"/>
                <a:gd name="connsiteX51" fmla="*/ 1718673 w 2145038"/>
                <a:gd name="connsiteY51" fmla="*/ 1616764 h 2089839"/>
                <a:gd name="connsiteX52" fmla="*/ 1709148 w 2145038"/>
                <a:gd name="connsiteY52" fmla="*/ 1629464 h 2089839"/>
                <a:gd name="connsiteX53" fmla="*/ 1680573 w 2145038"/>
                <a:gd name="connsiteY53" fmla="*/ 1661214 h 2089839"/>
                <a:gd name="connsiteX54" fmla="*/ 1658348 w 2145038"/>
                <a:gd name="connsiteY54" fmla="*/ 1689789 h 2089839"/>
                <a:gd name="connsiteX55" fmla="*/ 1623423 w 2145038"/>
                <a:gd name="connsiteY55" fmla="*/ 1724714 h 2089839"/>
                <a:gd name="connsiteX56" fmla="*/ 1604373 w 2145038"/>
                <a:gd name="connsiteY56" fmla="*/ 1743764 h 2089839"/>
                <a:gd name="connsiteX57" fmla="*/ 1569448 w 2145038"/>
                <a:gd name="connsiteY57" fmla="*/ 1785039 h 2089839"/>
                <a:gd name="connsiteX58" fmla="*/ 1559923 w 2145038"/>
                <a:gd name="connsiteY58" fmla="*/ 1797739 h 2089839"/>
                <a:gd name="connsiteX59" fmla="*/ 1547223 w 2145038"/>
                <a:gd name="connsiteY59" fmla="*/ 1807264 h 2089839"/>
                <a:gd name="connsiteX60" fmla="*/ 1540873 w 2145038"/>
                <a:gd name="connsiteY60" fmla="*/ 1816789 h 2089839"/>
                <a:gd name="connsiteX61" fmla="*/ 1524998 w 2145038"/>
                <a:gd name="connsiteY61" fmla="*/ 1826314 h 2089839"/>
                <a:gd name="connsiteX62" fmla="*/ 1480548 w 2145038"/>
                <a:gd name="connsiteY62" fmla="*/ 1870764 h 2089839"/>
                <a:gd name="connsiteX63" fmla="*/ 1464673 w 2145038"/>
                <a:gd name="connsiteY63" fmla="*/ 1889814 h 2089839"/>
                <a:gd name="connsiteX64" fmla="*/ 1455148 w 2145038"/>
                <a:gd name="connsiteY64" fmla="*/ 1902514 h 2089839"/>
                <a:gd name="connsiteX65" fmla="*/ 1445623 w 2145038"/>
                <a:gd name="connsiteY65" fmla="*/ 1912039 h 2089839"/>
                <a:gd name="connsiteX66" fmla="*/ 1432923 w 2145038"/>
                <a:gd name="connsiteY66" fmla="*/ 1927914 h 2089839"/>
                <a:gd name="connsiteX67" fmla="*/ 1423398 w 2145038"/>
                <a:gd name="connsiteY67" fmla="*/ 1937439 h 2089839"/>
                <a:gd name="connsiteX68" fmla="*/ 1417048 w 2145038"/>
                <a:gd name="connsiteY68" fmla="*/ 1946964 h 2089839"/>
                <a:gd name="connsiteX69" fmla="*/ 1391648 w 2145038"/>
                <a:gd name="connsiteY69" fmla="*/ 1966014 h 2089839"/>
                <a:gd name="connsiteX70" fmla="*/ 1356723 w 2145038"/>
                <a:gd name="connsiteY70" fmla="*/ 1981889 h 2089839"/>
                <a:gd name="connsiteX71" fmla="*/ 1344023 w 2145038"/>
                <a:gd name="connsiteY71" fmla="*/ 1988239 h 2089839"/>
                <a:gd name="connsiteX72" fmla="*/ 1331323 w 2145038"/>
                <a:gd name="connsiteY72" fmla="*/ 1997764 h 2089839"/>
                <a:gd name="connsiteX73" fmla="*/ 1312273 w 2145038"/>
                <a:gd name="connsiteY73" fmla="*/ 2016814 h 2089839"/>
                <a:gd name="connsiteX74" fmla="*/ 1270998 w 2145038"/>
                <a:gd name="connsiteY74" fmla="*/ 2035864 h 2089839"/>
                <a:gd name="connsiteX75" fmla="*/ 1258298 w 2145038"/>
                <a:gd name="connsiteY75" fmla="*/ 2042214 h 2089839"/>
                <a:gd name="connsiteX76" fmla="*/ 1236073 w 2145038"/>
                <a:gd name="connsiteY76" fmla="*/ 2048564 h 2089839"/>
                <a:gd name="connsiteX77" fmla="*/ 1226548 w 2145038"/>
                <a:gd name="connsiteY77" fmla="*/ 2054914 h 2089839"/>
                <a:gd name="connsiteX78" fmla="*/ 1217023 w 2145038"/>
                <a:gd name="connsiteY78" fmla="*/ 2058089 h 2089839"/>
                <a:gd name="connsiteX79" fmla="*/ 1175748 w 2145038"/>
                <a:gd name="connsiteY79" fmla="*/ 2067614 h 2089839"/>
                <a:gd name="connsiteX80" fmla="*/ 1150348 w 2145038"/>
                <a:gd name="connsiteY80" fmla="*/ 2080314 h 2089839"/>
                <a:gd name="connsiteX81" fmla="*/ 1102723 w 2145038"/>
                <a:gd name="connsiteY81" fmla="*/ 2089839 h 2089839"/>
                <a:gd name="connsiteX82" fmla="*/ 928098 w 2145038"/>
                <a:gd name="connsiteY82" fmla="*/ 2080314 h 2089839"/>
                <a:gd name="connsiteX83" fmla="*/ 886823 w 2145038"/>
                <a:gd name="connsiteY83" fmla="*/ 2064439 h 2089839"/>
                <a:gd name="connsiteX84" fmla="*/ 845548 w 2145038"/>
                <a:gd name="connsiteY84" fmla="*/ 2045389 h 2089839"/>
                <a:gd name="connsiteX85" fmla="*/ 731248 w 2145038"/>
                <a:gd name="connsiteY85" fmla="*/ 1943789 h 2089839"/>
                <a:gd name="connsiteX86" fmla="*/ 715373 w 2145038"/>
                <a:gd name="connsiteY86" fmla="*/ 1927914 h 2089839"/>
                <a:gd name="connsiteX87" fmla="*/ 699498 w 2145038"/>
                <a:gd name="connsiteY87" fmla="*/ 1915214 h 2089839"/>
                <a:gd name="connsiteX88" fmla="*/ 680448 w 2145038"/>
                <a:gd name="connsiteY88" fmla="*/ 1896164 h 2089839"/>
                <a:gd name="connsiteX89" fmla="*/ 642348 w 2145038"/>
                <a:gd name="connsiteY89" fmla="*/ 1864414 h 2089839"/>
                <a:gd name="connsiteX90" fmla="*/ 601073 w 2145038"/>
                <a:gd name="connsiteY90" fmla="*/ 1816789 h 2089839"/>
                <a:gd name="connsiteX91" fmla="*/ 578848 w 2145038"/>
                <a:gd name="connsiteY91" fmla="*/ 1791389 h 2089839"/>
                <a:gd name="connsiteX92" fmla="*/ 537573 w 2145038"/>
                <a:gd name="connsiteY92" fmla="*/ 1750114 h 2089839"/>
                <a:gd name="connsiteX93" fmla="*/ 499473 w 2145038"/>
                <a:gd name="connsiteY93" fmla="*/ 1715189 h 2089839"/>
                <a:gd name="connsiteX94" fmla="*/ 470898 w 2145038"/>
                <a:gd name="connsiteY94" fmla="*/ 1680264 h 2089839"/>
                <a:gd name="connsiteX95" fmla="*/ 413748 w 2145038"/>
                <a:gd name="connsiteY95" fmla="*/ 1632639 h 2089839"/>
                <a:gd name="connsiteX96" fmla="*/ 401048 w 2145038"/>
                <a:gd name="connsiteY96" fmla="*/ 1623114 h 2089839"/>
                <a:gd name="connsiteX97" fmla="*/ 369298 w 2145038"/>
                <a:gd name="connsiteY97" fmla="*/ 1594539 h 2089839"/>
                <a:gd name="connsiteX98" fmla="*/ 328023 w 2145038"/>
                <a:gd name="connsiteY98" fmla="*/ 1569139 h 2089839"/>
                <a:gd name="connsiteX99" fmla="*/ 302623 w 2145038"/>
                <a:gd name="connsiteY99" fmla="*/ 1550089 h 2089839"/>
                <a:gd name="connsiteX100" fmla="*/ 223248 w 2145038"/>
                <a:gd name="connsiteY100" fmla="*/ 1480239 h 2089839"/>
                <a:gd name="connsiteX101" fmla="*/ 175623 w 2145038"/>
                <a:gd name="connsiteY101" fmla="*/ 1423089 h 2089839"/>
                <a:gd name="connsiteX102" fmla="*/ 118473 w 2145038"/>
                <a:gd name="connsiteY102" fmla="*/ 1350064 h 2089839"/>
                <a:gd name="connsiteX103" fmla="*/ 83548 w 2145038"/>
                <a:gd name="connsiteY103" fmla="*/ 1302439 h 2089839"/>
                <a:gd name="connsiteX104" fmla="*/ 64498 w 2145038"/>
                <a:gd name="connsiteY104" fmla="*/ 1277039 h 2089839"/>
                <a:gd name="connsiteX105" fmla="*/ 35923 w 2145038"/>
                <a:gd name="connsiteY105" fmla="*/ 1216714 h 2089839"/>
                <a:gd name="connsiteX106" fmla="*/ 26398 w 2145038"/>
                <a:gd name="connsiteY106" fmla="*/ 1181789 h 2089839"/>
                <a:gd name="connsiteX107" fmla="*/ 20048 w 2145038"/>
                <a:gd name="connsiteY107" fmla="*/ 1159564 h 2089839"/>
                <a:gd name="connsiteX108" fmla="*/ 16873 w 2145038"/>
                <a:gd name="connsiteY108" fmla="*/ 1143689 h 2089839"/>
                <a:gd name="connsiteX109" fmla="*/ 7348 w 2145038"/>
                <a:gd name="connsiteY109" fmla="*/ 1105589 h 2089839"/>
                <a:gd name="connsiteX110" fmla="*/ 998 w 2145038"/>
                <a:gd name="connsiteY110" fmla="*/ 1023039 h 2089839"/>
                <a:gd name="connsiteX111" fmla="*/ 10523 w 2145038"/>
                <a:gd name="connsiteY111" fmla="*/ 892864 h 2089839"/>
                <a:gd name="connsiteX112" fmla="*/ 35923 w 2145038"/>
                <a:gd name="connsiteY112" fmla="*/ 845239 h 2089839"/>
                <a:gd name="connsiteX113" fmla="*/ 51798 w 2145038"/>
                <a:gd name="connsiteY113" fmla="*/ 816664 h 2089839"/>
                <a:gd name="connsiteX114" fmla="*/ 83548 w 2145038"/>
                <a:gd name="connsiteY114" fmla="*/ 772214 h 2089839"/>
                <a:gd name="connsiteX115" fmla="*/ 99423 w 2145038"/>
                <a:gd name="connsiteY115" fmla="*/ 753164 h 2089839"/>
                <a:gd name="connsiteX116" fmla="*/ 143873 w 2145038"/>
                <a:gd name="connsiteY116" fmla="*/ 686489 h 2089839"/>
                <a:gd name="connsiteX117" fmla="*/ 308973 w 2145038"/>
                <a:gd name="connsiteY117" fmla="*/ 534089 h 2089839"/>
                <a:gd name="connsiteX118" fmla="*/ 366123 w 2145038"/>
                <a:gd name="connsiteY118" fmla="*/ 473764 h 2089839"/>
                <a:gd name="connsiteX119" fmla="*/ 416923 w 2145038"/>
                <a:gd name="connsiteY119" fmla="*/ 419789 h 2089839"/>
                <a:gd name="connsiteX120" fmla="*/ 445498 w 2145038"/>
                <a:gd name="connsiteY120" fmla="*/ 388039 h 2089839"/>
                <a:gd name="connsiteX121" fmla="*/ 493123 w 2145038"/>
                <a:gd name="connsiteY121" fmla="*/ 343589 h 2089839"/>
                <a:gd name="connsiteX122" fmla="*/ 712198 w 2145038"/>
                <a:gd name="connsiteY122" fmla="*/ 146739 h 2089839"/>
                <a:gd name="connsiteX123" fmla="*/ 750298 w 2145038"/>
                <a:gd name="connsiteY123" fmla="*/ 121339 h 2089839"/>
                <a:gd name="connsiteX124" fmla="*/ 785223 w 2145038"/>
                <a:gd name="connsiteY124" fmla="*/ 99114 h 2089839"/>
                <a:gd name="connsiteX125" fmla="*/ 883648 w 2145038"/>
                <a:gd name="connsiteY125" fmla="*/ 48314 h 2089839"/>
                <a:gd name="connsiteX126" fmla="*/ 1080498 w 2145038"/>
                <a:gd name="connsiteY126" fmla="*/ 689 h 2089839"/>
                <a:gd name="connsiteX127" fmla="*/ 1197973 w 2145038"/>
                <a:gd name="connsiteY12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604373 w 2145038"/>
                <a:gd name="connsiteY55" fmla="*/ 1743764 h 2089839"/>
                <a:gd name="connsiteX56" fmla="*/ 1569448 w 2145038"/>
                <a:gd name="connsiteY56" fmla="*/ 1785039 h 2089839"/>
                <a:gd name="connsiteX57" fmla="*/ 1559923 w 2145038"/>
                <a:gd name="connsiteY57" fmla="*/ 1797739 h 2089839"/>
                <a:gd name="connsiteX58" fmla="*/ 1547223 w 2145038"/>
                <a:gd name="connsiteY58" fmla="*/ 1807264 h 2089839"/>
                <a:gd name="connsiteX59" fmla="*/ 1540873 w 2145038"/>
                <a:gd name="connsiteY59" fmla="*/ 1816789 h 2089839"/>
                <a:gd name="connsiteX60" fmla="*/ 1524998 w 2145038"/>
                <a:gd name="connsiteY60" fmla="*/ 1826314 h 2089839"/>
                <a:gd name="connsiteX61" fmla="*/ 1480548 w 2145038"/>
                <a:gd name="connsiteY61" fmla="*/ 1870764 h 2089839"/>
                <a:gd name="connsiteX62" fmla="*/ 1464673 w 2145038"/>
                <a:gd name="connsiteY62" fmla="*/ 1889814 h 2089839"/>
                <a:gd name="connsiteX63" fmla="*/ 1455148 w 2145038"/>
                <a:gd name="connsiteY63" fmla="*/ 1902514 h 2089839"/>
                <a:gd name="connsiteX64" fmla="*/ 1445623 w 2145038"/>
                <a:gd name="connsiteY64" fmla="*/ 1912039 h 2089839"/>
                <a:gd name="connsiteX65" fmla="*/ 1432923 w 2145038"/>
                <a:gd name="connsiteY65" fmla="*/ 1927914 h 2089839"/>
                <a:gd name="connsiteX66" fmla="*/ 1423398 w 2145038"/>
                <a:gd name="connsiteY66" fmla="*/ 1937439 h 2089839"/>
                <a:gd name="connsiteX67" fmla="*/ 1417048 w 2145038"/>
                <a:gd name="connsiteY67" fmla="*/ 1946964 h 2089839"/>
                <a:gd name="connsiteX68" fmla="*/ 1391648 w 2145038"/>
                <a:gd name="connsiteY68" fmla="*/ 1966014 h 2089839"/>
                <a:gd name="connsiteX69" fmla="*/ 1356723 w 2145038"/>
                <a:gd name="connsiteY69" fmla="*/ 1981889 h 2089839"/>
                <a:gd name="connsiteX70" fmla="*/ 1344023 w 2145038"/>
                <a:gd name="connsiteY70" fmla="*/ 1988239 h 2089839"/>
                <a:gd name="connsiteX71" fmla="*/ 1331323 w 2145038"/>
                <a:gd name="connsiteY71" fmla="*/ 1997764 h 2089839"/>
                <a:gd name="connsiteX72" fmla="*/ 1312273 w 2145038"/>
                <a:gd name="connsiteY72" fmla="*/ 2016814 h 2089839"/>
                <a:gd name="connsiteX73" fmla="*/ 1270998 w 2145038"/>
                <a:gd name="connsiteY73" fmla="*/ 2035864 h 2089839"/>
                <a:gd name="connsiteX74" fmla="*/ 1258298 w 2145038"/>
                <a:gd name="connsiteY74" fmla="*/ 2042214 h 2089839"/>
                <a:gd name="connsiteX75" fmla="*/ 1236073 w 2145038"/>
                <a:gd name="connsiteY75" fmla="*/ 2048564 h 2089839"/>
                <a:gd name="connsiteX76" fmla="*/ 1226548 w 2145038"/>
                <a:gd name="connsiteY76" fmla="*/ 2054914 h 2089839"/>
                <a:gd name="connsiteX77" fmla="*/ 1217023 w 2145038"/>
                <a:gd name="connsiteY77" fmla="*/ 2058089 h 2089839"/>
                <a:gd name="connsiteX78" fmla="*/ 1175748 w 2145038"/>
                <a:gd name="connsiteY78" fmla="*/ 2067614 h 2089839"/>
                <a:gd name="connsiteX79" fmla="*/ 1150348 w 2145038"/>
                <a:gd name="connsiteY79" fmla="*/ 2080314 h 2089839"/>
                <a:gd name="connsiteX80" fmla="*/ 1102723 w 2145038"/>
                <a:gd name="connsiteY80" fmla="*/ 2089839 h 2089839"/>
                <a:gd name="connsiteX81" fmla="*/ 928098 w 2145038"/>
                <a:gd name="connsiteY81" fmla="*/ 2080314 h 2089839"/>
                <a:gd name="connsiteX82" fmla="*/ 886823 w 2145038"/>
                <a:gd name="connsiteY82" fmla="*/ 2064439 h 2089839"/>
                <a:gd name="connsiteX83" fmla="*/ 845548 w 2145038"/>
                <a:gd name="connsiteY83" fmla="*/ 2045389 h 2089839"/>
                <a:gd name="connsiteX84" fmla="*/ 731248 w 2145038"/>
                <a:gd name="connsiteY84" fmla="*/ 1943789 h 2089839"/>
                <a:gd name="connsiteX85" fmla="*/ 715373 w 2145038"/>
                <a:gd name="connsiteY85" fmla="*/ 1927914 h 2089839"/>
                <a:gd name="connsiteX86" fmla="*/ 699498 w 2145038"/>
                <a:gd name="connsiteY86" fmla="*/ 1915214 h 2089839"/>
                <a:gd name="connsiteX87" fmla="*/ 680448 w 2145038"/>
                <a:gd name="connsiteY87" fmla="*/ 1896164 h 2089839"/>
                <a:gd name="connsiteX88" fmla="*/ 642348 w 2145038"/>
                <a:gd name="connsiteY88" fmla="*/ 1864414 h 2089839"/>
                <a:gd name="connsiteX89" fmla="*/ 601073 w 2145038"/>
                <a:gd name="connsiteY89" fmla="*/ 1816789 h 2089839"/>
                <a:gd name="connsiteX90" fmla="*/ 578848 w 2145038"/>
                <a:gd name="connsiteY90" fmla="*/ 1791389 h 2089839"/>
                <a:gd name="connsiteX91" fmla="*/ 537573 w 2145038"/>
                <a:gd name="connsiteY91" fmla="*/ 1750114 h 2089839"/>
                <a:gd name="connsiteX92" fmla="*/ 499473 w 2145038"/>
                <a:gd name="connsiteY92" fmla="*/ 1715189 h 2089839"/>
                <a:gd name="connsiteX93" fmla="*/ 470898 w 2145038"/>
                <a:gd name="connsiteY93" fmla="*/ 1680264 h 2089839"/>
                <a:gd name="connsiteX94" fmla="*/ 413748 w 2145038"/>
                <a:gd name="connsiteY94" fmla="*/ 1632639 h 2089839"/>
                <a:gd name="connsiteX95" fmla="*/ 401048 w 2145038"/>
                <a:gd name="connsiteY95" fmla="*/ 1623114 h 2089839"/>
                <a:gd name="connsiteX96" fmla="*/ 369298 w 2145038"/>
                <a:gd name="connsiteY96" fmla="*/ 1594539 h 2089839"/>
                <a:gd name="connsiteX97" fmla="*/ 328023 w 2145038"/>
                <a:gd name="connsiteY97" fmla="*/ 1569139 h 2089839"/>
                <a:gd name="connsiteX98" fmla="*/ 302623 w 2145038"/>
                <a:gd name="connsiteY98" fmla="*/ 1550089 h 2089839"/>
                <a:gd name="connsiteX99" fmla="*/ 223248 w 2145038"/>
                <a:gd name="connsiteY99" fmla="*/ 1480239 h 2089839"/>
                <a:gd name="connsiteX100" fmla="*/ 175623 w 2145038"/>
                <a:gd name="connsiteY100" fmla="*/ 1423089 h 2089839"/>
                <a:gd name="connsiteX101" fmla="*/ 118473 w 2145038"/>
                <a:gd name="connsiteY101" fmla="*/ 1350064 h 2089839"/>
                <a:gd name="connsiteX102" fmla="*/ 83548 w 2145038"/>
                <a:gd name="connsiteY102" fmla="*/ 1302439 h 2089839"/>
                <a:gd name="connsiteX103" fmla="*/ 64498 w 2145038"/>
                <a:gd name="connsiteY103" fmla="*/ 1277039 h 2089839"/>
                <a:gd name="connsiteX104" fmla="*/ 35923 w 2145038"/>
                <a:gd name="connsiteY104" fmla="*/ 1216714 h 2089839"/>
                <a:gd name="connsiteX105" fmla="*/ 26398 w 2145038"/>
                <a:gd name="connsiteY105" fmla="*/ 1181789 h 2089839"/>
                <a:gd name="connsiteX106" fmla="*/ 20048 w 2145038"/>
                <a:gd name="connsiteY106" fmla="*/ 1159564 h 2089839"/>
                <a:gd name="connsiteX107" fmla="*/ 16873 w 2145038"/>
                <a:gd name="connsiteY107" fmla="*/ 1143689 h 2089839"/>
                <a:gd name="connsiteX108" fmla="*/ 7348 w 2145038"/>
                <a:gd name="connsiteY108" fmla="*/ 1105589 h 2089839"/>
                <a:gd name="connsiteX109" fmla="*/ 998 w 2145038"/>
                <a:gd name="connsiteY109" fmla="*/ 1023039 h 2089839"/>
                <a:gd name="connsiteX110" fmla="*/ 10523 w 2145038"/>
                <a:gd name="connsiteY110" fmla="*/ 892864 h 2089839"/>
                <a:gd name="connsiteX111" fmla="*/ 35923 w 2145038"/>
                <a:gd name="connsiteY111" fmla="*/ 845239 h 2089839"/>
                <a:gd name="connsiteX112" fmla="*/ 51798 w 2145038"/>
                <a:gd name="connsiteY112" fmla="*/ 816664 h 2089839"/>
                <a:gd name="connsiteX113" fmla="*/ 83548 w 2145038"/>
                <a:gd name="connsiteY113" fmla="*/ 772214 h 2089839"/>
                <a:gd name="connsiteX114" fmla="*/ 99423 w 2145038"/>
                <a:gd name="connsiteY114" fmla="*/ 753164 h 2089839"/>
                <a:gd name="connsiteX115" fmla="*/ 143873 w 2145038"/>
                <a:gd name="connsiteY115" fmla="*/ 686489 h 2089839"/>
                <a:gd name="connsiteX116" fmla="*/ 308973 w 2145038"/>
                <a:gd name="connsiteY116" fmla="*/ 534089 h 2089839"/>
                <a:gd name="connsiteX117" fmla="*/ 366123 w 2145038"/>
                <a:gd name="connsiteY117" fmla="*/ 473764 h 2089839"/>
                <a:gd name="connsiteX118" fmla="*/ 416923 w 2145038"/>
                <a:gd name="connsiteY118" fmla="*/ 419789 h 2089839"/>
                <a:gd name="connsiteX119" fmla="*/ 445498 w 2145038"/>
                <a:gd name="connsiteY119" fmla="*/ 388039 h 2089839"/>
                <a:gd name="connsiteX120" fmla="*/ 493123 w 2145038"/>
                <a:gd name="connsiteY120" fmla="*/ 343589 h 2089839"/>
                <a:gd name="connsiteX121" fmla="*/ 712198 w 2145038"/>
                <a:gd name="connsiteY121" fmla="*/ 146739 h 2089839"/>
                <a:gd name="connsiteX122" fmla="*/ 750298 w 2145038"/>
                <a:gd name="connsiteY122" fmla="*/ 121339 h 2089839"/>
                <a:gd name="connsiteX123" fmla="*/ 785223 w 2145038"/>
                <a:gd name="connsiteY123" fmla="*/ 99114 h 2089839"/>
                <a:gd name="connsiteX124" fmla="*/ 883648 w 2145038"/>
                <a:gd name="connsiteY124" fmla="*/ 48314 h 2089839"/>
                <a:gd name="connsiteX125" fmla="*/ 1080498 w 2145038"/>
                <a:gd name="connsiteY125" fmla="*/ 689 h 2089839"/>
                <a:gd name="connsiteX126" fmla="*/ 1197973 w 2145038"/>
                <a:gd name="connsiteY12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40873 w 2145038"/>
                <a:gd name="connsiteY58" fmla="*/ 1816789 h 2089839"/>
                <a:gd name="connsiteX59" fmla="*/ 1524998 w 2145038"/>
                <a:gd name="connsiteY59" fmla="*/ 1826314 h 2089839"/>
                <a:gd name="connsiteX60" fmla="*/ 1480548 w 2145038"/>
                <a:gd name="connsiteY60" fmla="*/ 1870764 h 2089839"/>
                <a:gd name="connsiteX61" fmla="*/ 1464673 w 2145038"/>
                <a:gd name="connsiteY61" fmla="*/ 1889814 h 2089839"/>
                <a:gd name="connsiteX62" fmla="*/ 1455148 w 2145038"/>
                <a:gd name="connsiteY62" fmla="*/ 1902514 h 2089839"/>
                <a:gd name="connsiteX63" fmla="*/ 1445623 w 2145038"/>
                <a:gd name="connsiteY63" fmla="*/ 1912039 h 2089839"/>
                <a:gd name="connsiteX64" fmla="*/ 1432923 w 2145038"/>
                <a:gd name="connsiteY64" fmla="*/ 1927914 h 2089839"/>
                <a:gd name="connsiteX65" fmla="*/ 1423398 w 2145038"/>
                <a:gd name="connsiteY65" fmla="*/ 1937439 h 2089839"/>
                <a:gd name="connsiteX66" fmla="*/ 1417048 w 2145038"/>
                <a:gd name="connsiteY66" fmla="*/ 1946964 h 2089839"/>
                <a:gd name="connsiteX67" fmla="*/ 1391648 w 2145038"/>
                <a:gd name="connsiteY67" fmla="*/ 1966014 h 2089839"/>
                <a:gd name="connsiteX68" fmla="*/ 1356723 w 2145038"/>
                <a:gd name="connsiteY68" fmla="*/ 1981889 h 2089839"/>
                <a:gd name="connsiteX69" fmla="*/ 1344023 w 2145038"/>
                <a:gd name="connsiteY69" fmla="*/ 1988239 h 2089839"/>
                <a:gd name="connsiteX70" fmla="*/ 1331323 w 2145038"/>
                <a:gd name="connsiteY70" fmla="*/ 1997764 h 2089839"/>
                <a:gd name="connsiteX71" fmla="*/ 1312273 w 2145038"/>
                <a:gd name="connsiteY71" fmla="*/ 2016814 h 2089839"/>
                <a:gd name="connsiteX72" fmla="*/ 1270998 w 2145038"/>
                <a:gd name="connsiteY72" fmla="*/ 2035864 h 2089839"/>
                <a:gd name="connsiteX73" fmla="*/ 1258298 w 2145038"/>
                <a:gd name="connsiteY73" fmla="*/ 2042214 h 2089839"/>
                <a:gd name="connsiteX74" fmla="*/ 1236073 w 2145038"/>
                <a:gd name="connsiteY74" fmla="*/ 2048564 h 2089839"/>
                <a:gd name="connsiteX75" fmla="*/ 1226548 w 2145038"/>
                <a:gd name="connsiteY75" fmla="*/ 2054914 h 2089839"/>
                <a:gd name="connsiteX76" fmla="*/ 1217023 w 2145038"/>
                <a:gd name="connsiteY76" fmla="*/ 2058089 h 2089839"/>
                <a:gd name="connsiteX77" fmla="*/ 1175748 w 2145038"/>
                <a:gd name="connsiteY77" fmla="*/ 2067614 h 2089839"/>
                <a:gd name="connsiteX78" fmla="*/ 1150348 w 2145038"/>
                <a:gd name="connsiteY78" fmla="*/ 2080314 h 2089839"/>
                <a:gd name="connsiteX79" fmla="*/ 1102723 w 2145038"/>
                <a:gd name="connsiteY79" fmla="*/ 2089839 h 2089839"/>
                <a:gd name="connsiteX80" fmla="*/ 928098 w 2145038"/>
                <a:gd name="connsiteY80" fmla="*/ 2080314 h 2089839"/>
                <a:gd name="connsiteX81" fmla="*/ 886823 w 2145038"/>
                <a:gd name="connsiteY81" fmla="*/ 2064439 h 2089839"/>
                <a:gd name="connsiteX82" fmla="*/ 845548 w 2145038"/>
                <a:gd name="connsiteY82" fmla="*/ 2045389 h 2089839"/>
                <a:gd name="connsiteX83" fmla="*/ 731248 w 2145038"/>
                <a:gd name="connsiteY83" fmla="*/ 1943789 h 2089839"/>
                <a:gd name="connsiteX84" fmla="*/ 715373 w 2145038"/>
                <a:gd name="connsiteY84" fmla="*/ 1927914 h 2089839"/>
                <a:gd name="connsiteX85" fmla="*/ 699498 w 2145038"/>
                <a:gd name="connsiteY85" fmla="*/ 1915214 h 2089839"/>
                <a:gd name="connsiteX86" fmla="*/ 680448 w 2145038"/>
                <a:gd name="connsiteY86" fmla="*/ 1896164 h 2089839"/>
                <a:gd name="connsiteX87" fmla="*/ 642348 w 2145038"/>
                <a:gd name="connsiteY87" fmla="*/ 1864414 h 2089839"/>
                <a:gd name="connsiteX88" fmla="*/ 601073 w 2145038"/>
                <a:gd name="connsiteY88" fmla="*/ 1816789 h 2089839"/>
                <a:gd name="connsiteX89" fmla="*/ 578848 w 2145038"/>
                <a:gd name="connsiteY89" fmla="*/ 1791389 h 2089839"/>
                <a:gd name="connsiteX90" fmla="*/ 537573 w 2145038"/>
                <a:gd name="connsiteY90" fmla="*/ 1750114 h 2089839"/>
                <a:gd name="connsiteX91" fmla="*/ 499473 w 2145038"/>
                <a:gd name="connsiteY91" fmla="*/ 1715189 h 2089839"/>
                <a:gd name="connsiteX92" fmla="*/ 470898 w 2145038"/>
                <a:gd name="connsiteY92" fmla="*/ 1680264 h 2089839"/>
                <a:gd name="connsiteX93" fmla="*/ 413748 w 2145038"/>
                <a:gd name="connsiteY93" fmla="*/ 1632639 h 2089839"/>
                <a:gd name="connsiteX94" fmla="*/ 401048 w 2145038"/>
                <a:gd name="connsiteY94" fmla="*/ 1623114 h 2089839"/>
                <a:gd name="connsiteX95" fmla="*/ 369298 w 2145038"/>
                <a:gd name="connsiteY95" fmla="*/ 1594539 h 2089839"/>
                <a:gd name="connsiteX96" fmla="*/ 328023 w 2145038"/>
                <a:gd name="connsiteY96" fmla="*/ 1569139 h 2089839"/>
                <a:gd name="connsiteX97" fmla="*/ 302623 w 2145038"/>
                <a:gd name="connsiteY97" fmla="*/ 1550089 h 2089839"/>
                <a:gd name="connsiteX98" fmla="*/ 223248 w 2145038"/>
                <a:gd name="connsiteY98" fmla="*/ 1480239 h 2089839"/>
                <a:gd name="connsiteX99" fmla="*/ 175623 w 2145038"/>
                <a:gd name="connsiteY99" fmla="*/ 1423089 h 2089839"/>
                <a:gd name="connsiteX100" fmla="*/ 118473 w 2145038"/>
                <a:gd name="connsiteY100" fmla="*/ 1350064 h 2089839"/>
                <a:gd name="connsiteX101" fmla="*/ 83548 w 2145038"/>
                <a:gd name="connsiteY101" fmla="*/ 1302439 h 2089839"/>
                <a:gd name="connsiteX102" fmla="*/ 64498 w 2145038"/>
                <a:gd name="connsiteY102" fmla="*/ 1277039 h 2089839"/>
                <a:gd name="connsiteX103" fmla="*/ 35923 w 2145038"/>
                <a:gd name="connsiteY103" fmla="*/ 1216714 h 2089839"/>
                <a:gd name="connsiteX104" fmla="*/ 26398 w 2145038"/>
                <a:gd name="connsiteY104" fmla="*/ 1181789 h 2089839"/>
                <a:gd name="connsiteX105" fmla="*/ 20048 w 2145038"/>
                <a:gd name="connsiteY105" fmla="*/ 1159564 h 2089839"/>
                <a:gd name="connsiteX106" fmla="*/ 16873 w 2145038"/>
                <a:gd name="connsiteY106" fmla="*/ 1143689 h 2089839"/>
                <a:gd name="connsiteX107" fmla="*/ 7348 w 2145038"/>
                <a:gd name="connsiteY107" fmla="*/ 1105589 h 2089839"/>
                <a:gd name="connsiteX108" fmla="*/ 998 w 2145038"/>
                <a:gd name="connsiteY108" fmla="*/ 1023039 h 2089839"/>
                <a:gd name="connsiteX109" fmla="*/ 10523 w 2145038"/>
                <a:gd name="connsiteY109" fmla="*/ 892864 h 2089839"/>
                <a:gd name="connsiteX110" fmla="*/ 35923 w 2145038"/>
                <a:gd name="connsiteY110" fmla="*/ 845239 h 2089839"/>
                <a:gd name="connsiteX111" fmla="*/ 51798 w 2145038"/>
                <a:gd name="connsiteY111" fmla="*/ 816664 h 2089839"/>
                <a:gd name="connsiteX112" fmla="*/ 83548 w 2145038"/>
                <a:gd name="connsiteY112" fmla="*/ 772214 h 2089839"/>
                <a:gd name="connsiteX113" fmla="*/ 99423 w 2145038"/>
                <a:gd name="connsiteY113" fmla="*/ 753164 h 2089839"/>
                <a:gd name="connsiteX114" fmla="*/ 143873 w 2145038"/>
                <a:gd name="connsiteY114" fmla="*/ 686489 h 2089839"/>
                <a:gd name="connsiteX115" fmla="*/ 308973 w 2145038"/>
                <a:gd name="connsiteY115" fmla="*/ 534089 h 2089839"/>
                <a:gd name="connsiteX116" fmla="*/ 366123 w 2145038"/>
                <a:gd name="connsiteY116" fmla="*/ 473764 h 2089839"/>
                <a:gd name="connsiteX117" fmla="*/ 416923 w 2145038"/>
                <a:gd name="connsiteY117" fmla="*/ 419789 h 2089839"/>
                <a:gd name="connsiteX118" fmla="*/ 445498 w 2145038"/>
                <a:gd name="connsiteY118" fmla="*/ 388039 h 2089839"/>
                <a:gd name="connsiteX119" fmla="*/ 493123 w 2145038"/>
                <a:gd name="connsiteY119" fmla="*/ 343589 h 2089839"/>
                <a:gd name="connsiteX120" fmla="*/ 712198 w 2145038"/>
                <a:gd name="connsiteY120" fmla="*/ 146739 h 2089839"/>
                <a:gd name="connsiteX121" fmla="*/ 750298 w 2145038"/>
                <a:gd name="connsiteY121" fmla="*/ 121339 h 2089839"/>
                <a:gd name="connsiteX122" fmla="*/ 785223 w 2145038"/>
                <a:gd name="connsiteY122" fmla="*/ 99114 h 2089839"/>
                <a:gd name="connsiteX123" fmla="*/ 883648 w 2145038"/>
                <a:gd name="connsiteY123" fmla="*/ 48314 h 2089839"/>
                <a:gd name="connsiteX124" fmla="*/ 1080498 w 2145038"/>
                <a:gd name="connsiteY124" fmla="*/ 689 h 2089839"/>
                <a:gd name="connsiteX125" fmla="*/ 1197973 w 2145038"/>
                <a:gd name="connsiteY12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32923 w 2145038"/>
                <a:gd name="connsiteY63" fmla="*/ 1927914 h 2089839"/>
                <a:gd name="connsiteX64" fmla="*/ 1423398 w 2145038"/>
                <a:gd name="connsiteY64" fmla="*/ 1937439 h 2089839"/>
                <a:gd name="connsiteX65" fmla="*/ 1417048 w 2145038"/>
                <a:gd name="connsiteY65" fmla="*/ 1946964 h 2089839"/>
                <a:gd name="connsiteX66" fmla="*/ 1391648 w 2145038"/>
                <a:gd name="connsiteY66" fmla="*/ 1966014 h 2089839"/>
                <a:gd name="connsiteX67" fmla="*/ 1356723 w 2145038"/>
                <a:gd name="connsiteY67" fmla="*/ 1981889 h 2089839"/>
                <a:gd name="connsiteX68" fmla="*/ 1344023 w 2145038"/>
                <a:gd name="connsiteY68" fmla="*/ 1988239 h 2089839"/>
                <a:gd name="connsiteX69" fmla="*/ 1331323 w 2145038"/>
                <a:gd name="connsiteY69" fmla="*/ 1997764 h 2089839"/>
                <a:gd name="connsiteX70" fmla="*/ 1312273 w 2145038"/>
                <a:gd name="connsiteY70" fmla="*/ 2016814 h 2089839"/>
                <a:gd name="connsiteX71" fmla="*/ 1270998 w 2145038"/>
                <a:gd name="connsiteY71" fmla="*/ 2035864 h 2089839"/>
                <a:gd name="connsiteX72" fmla="*/ 1258298 w 2145038"/>
                <a:gd name="connsiteY72" fmla="*/ 2042214 h 2089839"/>
                <a:gd name="connsiteX73" fmla="*/ 1236073 w 2145038"/>
                <a:gd name="connsiteY73" fmla="*/ 2048564 h 2089839"/>
                <a:gd name="connsiteX74" fmla="*/ 1226548 w 2145038"/>
                <a:gd name="connsiteY74" fmla="*/ 2054914 h 2089839"/>
                <a:gd name="connsiteX75" fmla="*/ 1217023 w 2145038"/>
                <a:gd name="connsiteY75" fmla="*/ 2058089 h 2089839"/>
                <a:gd name="connsiteX76" fmla="*/ 1175748 w 2145038"/>
                <a:gd name="connsiteY76" fmla="*/ 2067614 h 2089839"/>
                <a:gd name="connsiteX77" fmla="*/ 1150348 w 2145038"/>
                <a:gd name="connsiteY77" fmla="*/ 2080314 h 2089839"/>
                <a:gd name="connsiteX78" fmla="*/ 1102723 w 2145038"/>
                <a:gd name="connsiteY78" fmla="*/ 2089839 h 2089839"/>
                <a:gd name="connsiteX79" fmla="*/ 928098 w 2145038"/>
                <a:gd name="connsiteY79" fmla="*/ 2080314 h 2089839"/>
                <a:gd name="connsiteX80" fmla="*/ 886823 w 2145038"/>
                <a:gd name="connsiteY80" fmla="*/ 2064439 h 2089839"/>
                <a:gd name="connsiteX81" fmla="*/ 845548 w 2145038"/>
                <a:gd name="connsiteY81" fmla="*/ 2045389 h 2089839"/>
                <a:gd name="connsiteX82" fmla="*/ 731248 w 2145038"/>
                <a:gd name="connsiteY82" fmla="*/ 1943789 h 2089839"/>
                <a:gd name="connsiteX83" fmla="*/ 715373 w 2145038"/>
                <a:gd name="connsiteY83" fmla="*/ 1927914 h 2089839"/>
                <a:gd name="connsiteX84" fmla="*/ 699498 w 2145038"/>
                <a:gd name="connsiteY84" fmla="*/ 1915214 h 2089839"/>
                <a:gd name="connsiteX85" fmla="*/ 680448 w 2145038"/>
                <a:gd name="connsiteY85" fmla="*/ 1896164 h 2089839"/>
                <a:gd name="connsiteX86" fmla="*/ 642348 w 2145038"/>
                <a:gd name="connsiteY86" fmla="*/ 1864414 h 2089839"/>
                <a:gd name="connsiteX87" fmla="*/ 601073 w 2145038"/>
                <a:gd name="connsiteY87" fmla="*/ 1816789 h 2089839"/>
                <a:gd name="connsiteX88" fmla="*/ 578848 w 2145038"/>
                <a:gd name="connsiteY88" fmla="*/ 1791389 h 2089839"/>
                <a:gd name="connsiteX89" fmla="*/ 537573 w 2145038"/>
                <a:gd name="connsiteY89" fmla="*/ 1750114 h 2089839"/>
                <a:gd name="connsiteX90" fmla="*/ 499473 w 2145038"/>
                <a:gd name="connsiteY90" fmla="*/ 1715189 h 2089839"/>
                <a:gd name="connsiteX91" fmla="*/ 470898 w 2145038"/>
                <a:gd name="connsiteY91" fmla="*/ 1680264 h 2089839"/>
                <a:gd name="connsiteX92" fmla="*/ 413748 w 2145038"/>
                <a:gd name="connsiteY92" fmla="*/ 1632639 h 2089839"/>
                <a:gd name="connsiteX93" fmla="*/ 401048 w 2145038"/>
                <a:gd name="connsiteY93" fmla="*/ 1623114 h 2089839"/>
                <a:gd name="connsiteX94" fmla="*/ 369298 w 2145038"/>
                <a:gd name="connsiteY94" fmla="*/ 1594539 h 2089839"/>
                <a:gd name="connsiteX95" fmla="*/ 328023 w 2145038"/>
                <a:gd name="connsiteY95" fmla="*/ 1569139 h 2089839"/>
                <a:gd name="connsiteX96" fmla="*/ 302623 w 2145038"/>
                <a:gd name="connsiteY96" fmla="*/ 1550089 h 2089839"/>
                <a:gd name="connsiteX97" fmla="*/ 223248 w 2145038"/>
                <a:gd name="connsiteY97" fmla="*/ 1480239 h 2089839"/>
                <a:gd name="connsiteX98" fmla="*/ 175623 w 2145038"/>
                <a:gd name="connsiteY98" fmla="*/ 1423089 h 2089839"/>
                <a:gd name="connsiteX99" fmla="*/ 118473 w 2145038"/>
                <a:gd name="connsiteY99" fmla="*/ 1350064 h 2089839"/>
                <a:gd name="connsiteX100" fmla="*/ 83548 w 2145038"/>
                <a:gd name="connsiteY100" fmla="*/ 1302439 h 2089839"/>
                <a:gd name="connsiteX101" fmla="*/ 64498 w 2145038"/>
                <a:gd name="connsiteY101" fmla="*/ 1277039 h 2089839"/>
                <a:gd name="connsiteX102" fmla="*/ 35923 w 2145038"/>
                <a:gd name="connsiteY102" fmla="*/ 1216714 h 2089839"/>
                <a:gd name="connsiteX103" fmla="*/ 26398 w 2145038"/>
                <a:gd name="connsiteY103" fmla="*/ 1181789 h 2089839"/>
                <a:gd name="connsiteX104" fmla="*/ 20048 w 2145038"/>
                <a:gd name="connsiteY104" fmla="*/ 1159564 h 2089839"/>
                <a:gd name="connsiteX105" fmla="*/ 16873 w 2145038"/>
                <a:gd name="connsiteY105" fmla="*/ 1143689 h 2089839"/>
                <a:gd name="connsiteX106" fmla="*/ 7348 w 2145038"/>
                <a:gd name="connsiteY106" fmla="*/ 1105589 h 2089839"/>
                <a:gd name="connsiteX107" fmla="*/ 998 w 2145038"/>
                <a:gd name="connsiteY107" fmla="*/ 1023039 h 2089839"/>
                <a:gd name="connsiteX108" fmla="*/ 10523 w 2145038"/>
                <a:gd name="connsiteY108" fmla="*/ 892864 h 2089839"/>
                <a:gd name="connsiteX109" fmla="*/ 35923 w 2145038"/>
                <a:gd name="connsiteY109" fmla="*/ 845239 h 2089839"/>
                <a:gd name="connsiteX110" fmla="*/ 51798 w 2145038"/>
                <a:gd name="connsiteY110" fmla="*/ 816664 h 2089839"/>
                <a:gd name="connsiteX111" fmla="*/ 83548 w 2145038"/>
                <a:gd name="connsiteY111" fmla="*/ 772214 h 2089839"/>
                <a:gd name="connsiteX112" fmla="*/ 99423 w 2145038"/>
                <a:gd name="connsiteY112" fmla="*/ 753164 h 2089839"/>
                <a:gd name="connsiteX113" fmla="*/ 143873 w 2145038"/>
                <a:gd name="connsiteY113" fmla="*/ 686489 h 2089839"/>
                <a:gd name="connsiteX114" fmla="*/ 308973 w 2145038"/>
                <a:gd name="connsiteY114" fmla="*/ 534089 h 2089839"/>
                <a:gd name="connsiteX115" fmla="*/ 366123 w 2145038"/>
                <a:gd name="connsiteY115" fmla="*/ 473764 h 2089839"/>
                <a:gd name="connsiteX116" fmla="*/ 416923 w 2145038"/>
                <a:gd name="connsiteY116" fmla="*/ 419789 h 2089839"/>
                <a:gd name="connsiteX117" fmla="*/ 445498 w 2145038"/>
                <a:gd name="connsiteY117" fmla="*/ 388039 h 2089839"/>
                <a:gd name="connsiteX118" fmla="*/ 493123 w 2145038"/>
                <a:gd name="connsiteY118" fmla="*/ 343589 h 2089839"/>
                <a:gd name="connsiteX119" fmla="*/ 712198 w 2145038"/>
                <a:gd name="connsiteY119" fmla="*/ 146739 h 2089839"/>
                <a:gd name="connsiteX120" fmla="*/ 750298 w 2145038"/>
                <a:gd name="connsiteY120" fmla="*/ 121339 h 2089839"/>
                <a:gd name="connsiteX121" fmla="*/ 785223 w 2145038"/>
                <a:gd name="connsiteY121" fmla="*/ 99114 h 2089839"/>
                <a:gd name="connsiteX122" fmla="*/ 883648 w 2145038"/>
                <a:gd name="connsiteY122" fmla="*/ 48314 h 2089839"/>
                <a:gd name="connsiteX123" fmla="*/ 1080498 w 2145038"/>
                <a:gd name="connsiteY123" fmla="*/ 689 h 2089839"/>
                <a:gd name="connsiteX124" fmla="*/ 1197973 w 2145038"/>
                <a:gd name="connsiteY12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417048 w 2145038"/>
                <a:gd name="connsiteY64" fmla="*/ 1946964 h 2089839"/>
                <a:gd name="connsiteX65" fmla="*/ 1391648 w 2145038"/>
                <a:gd name="connsiteY65" fmla="*/ 1966014 h 2089839"/>
                <a:gd name="connsiteX66" fmla="*/ 1356723 w 2145038"/>
                <a:gd name="connsiteY66" fmla="*/ 1981889 h 2089839"/>
                <a:gd name="connsiteX67" fmla="*/ 1344023 w 2145038"/>
                <a:gd name="connsiteY67" fmla="*/ 1988239 h 2089839"/>
                <a:gd name="connsiteX68" fmla="*/ 1331323 w 2145038"/>
                <a:gd name="connsiteY68" fmla="*/ 1997764 h 2089839"/>
                <a:gd name="connsiteX69" fmla="*/ 1312273 w 2145038"/>
                <a:gd name="connsiteY69" fmla="*/ 2016814 h 2089839"/>
                <a:gd name="connsiteX70" fmla="*/ 1270998 w 2145038"/>
                <a:gd name="connsiteY70" fmla="*/ 2035864 h 2089839"/>
                <a:gd name="connsiteX71" fmla="*/ 1258298 w 2145038"/>
                <a:gd name="connsiteY71" fmla="*/ 2042214 h 2089839"/>
                <a:gd name="connsiteX72" fmla="*/ 1236073 w 2145038"/>
                <a:gd name="connsiteY72" fmla="*/ 2048564 h 2089839"/>
                <a:gd name="connsiteX73" fmla="*/ 1226548 w 2145038"/>
                <a:gd name="connsiteY73" fmla="*/ 2054914 h 2089839"/>
                <a:gd name="connsiteX74" fmla="*/ 1217023 w 2145038"/>
                <a:gd name="connsiteY74" fmla="*/ 2058089 h 2089839"/>
                <a:gd name="connsiteX75" fmla="*/ 1175748 w 2145038"/>
                <a:gd name="connsiteY75" fmla="*/ 2067614 h 2089839"/>
                <a:gd name="connsiteX76" fmla="*/ 1150348 w 2145038"/>
                <a:gd name="connsiteY76" fmla="*/ 2080314 h 2089839"/>
                <a:gd name="connsiteX77" fmla="*/ 1102723 w 2145038"/>
                <a:gd name="connsiteY77" fmla="*/ 2089839 h 2089839"/>
                <a:gd name="connsiteX78" fmla="*/ 928098 w 2145038"/>
                <a:gd name="connsiteY78" fmla="*/ 2080314 h 2089839"/>
                <a:gd name="connsiteX79" fmla="*/ 886823 w 2145038"/>
                <a:gd name="connsiteY79" fmla="*/ 2064439 h 2089839"/>
                <a:gd name="connsiteX80" fmla="*/ 845548 w 2145038"/>
                <a:gd name="connsiteY80" fmla="*/ 2045389 h 2089839"/>
                <a:gd name="connsiteX81" fmla="*/ 731248 w 2145038"/>
                <a:gd name="connsiteY81" fmla="*/ 1943789 h 2089839"/>
                <a:gd name="connsiteX82" fmla="*/ 715373 w 2145038"/>
                <a:gd name="connsiteY82" fmla="*/ 1927914 h 2089839"/>
                <a:gd name="connsiteX83" fmla="*/ 699498 w 2145038"/>
                <a:gd name="connsiteY83" fmla="*/ 1915214 h 2089839"/>
                <a:gd name="connsiteX84" fmla="*/ 680448 w 2145038"/>
                <a:gd name="connsiteY84" fmla="*/ 1896164 h 2089839"/>
                <a:gd name="connsiteX85" fmla="*/ 642348 w 2145038"/>
                <a:gd name="connsiteY85" fmla="*/ 1864414 h 2089839"/>
                <a:gd name="connsiteX86" fmla="*/ 601073 w 2145038"/>
                <a:gd name="connsiteY86" fmla="*/ 1816789 h 2089839"/>
                <a:gd name="connsiteX87" fmla="*/ 578848 w 2145038"/>
                <a:gd name="connsiteY87" fmla="*/ 1791389 h 2089839"/>
                <a:gd name="connsiteX88" fmla="*/ 537573 w 2145038"/>
                <a:gd name="connsiteY88" fmla="*/ 1750114 h 2089839"/>
                <a:gd name="connsiteX89" fmla="*/ 499473 w 2145038"/>
                <a:gd name="connsiteY89" fmla="*/ 1715189 h 2089839"/>
                <a:gd name="connsiteX90" fmla="*/ 470898 w 2145038"/>
                <a:gd name="connsiteY90" fmla="*/ 1680264 h 2089839"/>
                <a:gd name="connsiteX91" fmla="*/ 413748 w 2145038"/>
                <a:gd name="connsiteY91" fmla="*/ 1632639 h 2089839"/>
                <a:gd name="connsiteX92" fmla="*/ 401048 w 2145038"/>
                <a:gd name="connsiteY92" fmla="*/ 1623114 h 2089839"/>
                <a:gd name="connsiteX93" fmla="*/ 369298 w 2145038"/>
                <a:gd name="connsiteY93" fmla="*/ 1594539 h 2089839"/>
                <a:gd name="connsiteX94" fmla="*/ 328023 w 2145038"/>
                <a:gd name="connsiteY94" fmla="*/ 1569139 h 2089839"/>
                <a:gd name="connsiteX95" fmla="*/ 302623 w 2145038"/>
                <a:gd name="connsiteY95" fmla="*/ 1550089 h 2089839"/>
                <a:gd name="connsiteX96" fmla="*/ 223248 w 2145038"/>
                <a:gd name="connsiteY96" fmla="*/ 1480239 h 2089839"/>
                <a:gd name="connsiteX97" fmla="*/ 175623 w 2145038"/>
                <a:gd name="connsiteY97" fmla="*/ 1423089 h 2089839"/>
                <a:gd name="connsiteX98" fmla="*/ 118473 w 2145038"/>
                <a:gd name="connsiteY98" fmla="*/ 1350064 h 2089839"/>
                <a:gd name="connsiteX99" fmla="*/ 83548 w 2145038"/>
                <a:gd name="connsiteY99" fmla="*/ 1302439 h 2089839"/>
                <a:gd name="connsiteX100" fmla="*/ 64498 w 2145038"/>
                <a:gd name="connsiteY100" fmla="*/ 1277039 h 2089839"/>
                <a:gd name="connsiteX101" fmla="*/ 35923 w 2145038"/>
                <a:gd name="connsiteY101" fmla="*/ 1216714 h 2089839"/>
                <a:gd name="connsiteX102" fmla="*/ 26398 w 2145038"/>
                <a:gd name="connsiteY102" fmla="*/ 1181789 h 2089839"/>
                <a:gd name="connsiteX103" fmla="*/ 20048 w 2145038"/>
                <a:gd name="connsiteY103" fmla="*/ 1159564 h 2089839"/>
                <a:gd name="connsiteX104" fmla="*/ 16873 w 2145038"/>
                <a:gd name="connsiteY104" fmla="*/ 1143689 h 2089839"/>
                <a:gd name="connsiteX105" fmla="*/ 7348 w 2145038"/>
                <a:gd name="connsiteY105" fmla="*/ 1105589 h 2089839"/>
                <a:gd name="connsiteX106" fmla="*/ 998 w 2145038"/>
                <a:gd name="connsiteY106" fmla="*/ 1023039 h 2089839"/>
                <a:gd name="connsiteX107" fmla="*/ 10523 w 2145038"/>
                <a:gd name="connsiteY107" fmla="*/ 892864 h 2089839"/>
                <a:gd name="connsiteX108" fmla="*/ 35923 w 2145038"/>
                <a:gd name="connsiteY108" fmla="*/ 845239 h 2089839"/>
                <a:gd name="connsiteX109" fmla="*/ 51798 w 2145038"/>
                <a:gd name="connsiteY109" fmla="*/ 816664 h 2089839"/>
                <a:gd name="connsiteX110" fmla="*/ 83548 w 2145038"/>
                <a:gd name="connsiteY110" fmla="*/ 772214 h 2089839"/>
                <a:gd name="connsiteX111" fmla="*/ 99423 w 2145038"/>
                <a:gd name="connsiteY111" fmla="*/ 753164 h 2089839"/>
                <a:gd name="connsiteX112" fmla="*/ 143873 w 2145038"/>
                <a:gd name="connsiteY112" fmla="*/ 686489 h 2089839"/>
                <a:gd name="connsiteX113" fmla="*/ 308973 w 2145038"/>
                <a:gd name="connsiteY113" fmla="*/ 534089 h 2089839"/>
                <a:gd name="connsiteX114" fmla="*/ 366123 w 2145038"/>
                <a:gd name="connsiteY114" fmla="*/ 473764 h 2089839"/>
                <a:gd name="connsiteX115" fmla="*/ 416923 w 2145038"/>
                <a:gd name="connsiteY115" fmla="*/ 419789 h 2089839"/>
                <a:gd name="connsiteX116" fmla="*/ 445498 w 2145038"/>
                <a:gd name="connsiteY116" fmla="*/ 388039 h 2089839"/>
                <a:gd name="connsiteX117" fmla="*/ 493123 w 2145038"/>
                <a:gd name="connsiteY117" fmla="*/ 343589 h 2089839"/>
                <a:gd name="connsiteX118" fmla="*/ 712198 w 2145038"/>
                <a:gd name="connsiteY118" fmla="*/ 146739 h 2089839"/>
                <a:gd name="connsiteX119" fmla="*/ 750298 w 2145038"/>
                <a:gd name="connsiteY119" fmla="*/ 121339 h 2089839"/>
                <a:gd name="connsiteX120" fmla="*/ 785223 w 2145038"/>
                <a:gd name="connsiteY120" fmla="*/ 99114 h 2089839"/>
                <a:gd name="connsiteX121" fmla="*/ 883648 w 2145038"/>
                <a:gd name="connsiteY121" fmla="*/ 48314 h 2089839"/>
                <a:gd name="connsiteX122" fmla="*/ 1080498 w 2145038"/>
                <a:gd name="connsiteY122" fmla="*/ 689 h 2089839"/>
                <a:gd name="connsiteX123" fmla="*/ 1197973 w 2145038"/>
                <a:gd name="connsiteY12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312273 w 2145038"/>
                <a:gd name="connsiteY68" fmla="*/ 2016814 h 2089839"/>
                <a:gd name="connsiteX69" fmla="*/ 1270998 w 2145038"/>
                <a:gd name="connsiteY69" fmla="*/ 2035864 h 2089839"/>
                <a:gd name="connsiteX70" fmla="*/ 1258298 w 2145038"/>
                <a:gd name="connsiteY70" fmla="*/ 2042214 h 2089839"/>
                <a:gd name="connsiteX71" fmla="*/ 1236073 w 2145038"/>
                <a:gd name="connsiteY71" fmla="*/ 2048564 h 2089839"/>
                <a:gd name="connsiteX72" fmla="*/ 1226548 w 2145038"/>
                <a:gd name="connsiteY72" fmla="*/ 2054914 h 2089839"/>
                <a:gd name="connsiteX73" fmla="*/ 1217023 w 2145038"/>
                <a:gd name="connsiteY73" fmla="*/ 2058089 h 2089839"/>
                <a:gd name="connsiteX74" fmla="*/ 1175748 w 2145038"/>
                <a:gd name="connsiteY74" fmla="*/ 2067614 h 2089839"/>
                <a:gd name="connsiteX75" fmla="*/ 1150348 w 2145038"/>
                <a:gd name="connsiteY75" fmla="*/ 2080314 h 2089839"/>
                <a:gd name="connsiteX76" fmla="*/ 1102723 w 2145038"/>
                <a:gd name="connsiteY76" fmla="*/ 2089839 h 2089839"/>
                <a:gd name="connsiteX77" fmla="*/ 928098 w 2145038"/>
                <a:gd name="connsiteY77" fmla="*/ 2080314 h 2089839"/>
                <a:gd name="connsiteX78" fmla="*/ 886823 w 2145038"/>
                <a:gd name="connsiteY78" fmla="*/ 2064439 h 2089839"/>
                <a:gd name="connsiteX79" fmla="*/ 845548 w 2145038"/>
                <a:gd name="connsiteY79" fmla="*/ 2045389 h 2089839"/>
                <a:gd name="connsiteX80" fmla="*/ 731248 w 2145038"/>
                <a:gd name="connsiteY80" fmla="*/ 1943789 h 2089839"/>
                <a:gd name="connsiteX81" fmla="*/ 715373 w 2145038"/>
                <a:gd name="connsiteY81" fmla="*/ 1927914 h 2089839"/>
                <a:gd name="connsiteX82" fmla="*/ 699498 w 2145038"/>
                <a:gd name="connsiteY82" fmla="*/ 1915214 h 2089839"/>
                <a:gd name="connsiteX83" fmla="*/ 680448 w 2145038"/>
                <a:gd name="connsiteY83" fmla="*/ 1896164 h 2089839"/>
                <a:gd name="connsiteX84" fmla="*/ 642348 w 2145038"/>
                <a:gd name="connsiteY84" fmla="*/ 1864414 h 2089839"/>
                <a:gd name="connsiteX85" fmla="*/ 601073 w 2145038"/>
                <a:gd name="connsiteY85" fmla="*/ 1816789 h 2089839"/>
                <a:gd name="connsiteX86" fmla="*/ 578848 w 2145038"/>
                <a:gd name="connsiteY86" fmla="*/ 1791389 h 2089839"/>
                <a:gd name="connsiteX87" fmla="*/ 537573 w 2145038"/>
                <a:gd name="connsiteY87" fmla="*/ 1750114 h 2089839"/>
                <a:gd name="connsiteX88" fmla="*/ 499473 w 2145038"/>
                <a:gd name="connsiteY88" fmla="*/ 1715189 h 2089839"/>
                <a:gd name="connsiteX89" fmla="*/ 470898 w 2145038"/>
                <a:gd name="connsiteY89" fmla="*/ 1680264 h 2089839"/>
                <a:gd name="connsiteX90" fmla="*/ 413748 w 2145038"/>
                <a:gd name="connsiteY90" fmla="*/ 1632639 h 2089839"/>
                <a:gd name="connsiteX91" fmla="*/ 401048 w 2145038"/>
                <a:gd name="connsiteY91" fmla="*/ 1623114 h 2089839"/>
                <a:gd name="connsiteX92" fmla="*/ 369298 w 2145038"/>
                <a:gd name="connsiteY92" fmla="*/ 1594539 h 2089839"/>
                <a:gd name="connsiteX93" fmla="*/ 328023 w 2145038"/>
                <a:gd name="connsiteY93" fmla="*/ 1569139 h 2089839"/>
                <a:gd name="connsiteX94" fmla="*/ 302623 w 2145038"/>
                <a:gd name="connsiteY94" fmla="*/ 1550089 h 2089839"/>
                <a:gd name="connsiteX95" fmla="*/ 223248 w 2145038"/>
                <a:gd name="connsiteY95" fmla="*/ 1480239 h 2089839"/>
                <a:gd name="connsiteX96" fmla="*/ 175623 w 2145038"/>
                <a:gd name="connsiteY96" fmla="*/ 1423089 h 2089839"/>
                <a:gd name="connsiteX97" fmla="*/ 118473 w 2145038"/>
                <a:gd name="connsiteY97" fmla="*/ 1350064 h 2089839"/>
                <a:gd name="connsiteX98" fmla="*/ 83548 w 2145038"/>
                <a:gd name="connsiteY98" fmla="*/ 1302439 h 2089839"/>
                <a:gd name="connsiteX99" fmla="*/ 64498 w 2145038"/>
                <a:gd name="connsiteY99" fmla="*/ 1277039 h 2089839"/>
                <a:gd name="connsiteX100" fmla="*/ 35923 w 2145038"/>
                <a:gd name="connsiteY100" fmla="*/ 1216714 h 2089839"/>
                <a:gd name="connsiteX101" fmla="*/ 26398 w 2145038"/>
                <a:gd name="connsiteY101" fmla="*/ 1181789 h 2089839"/>
                <a:gd name="connsiteX102" fmla="*/ 20048 w 2145038"/>
                <a:gd name="connsiteY102" fmla="*/ 1159564 h 2089839"/>
                <a:gd name="connsiteX103" fmla="*/ 16873 w 2145038"/>
                <a:gd name="connsiteY103" fmla="*/ 1143689 h 2089839"/>
                <a:gd name="connsiteX104" fmla="*/ 7348 w 2145038"/>
                <a:gd name="connsiteY104" fmla="*/ 1105589 h 2089839"/>
                <a:gd name="connsiteX105" fmla="*/ 998 w 2145038"/>
                <a:gd name="connsiteY105" fmla="*/ 1023039 h 2089839"/>
                <a:gd name="connsiteX106" fmla="*/ 10523 w 2145038"/>
                <a:gd name="connsiteY106" fmla="*/ 892864 h 2089839"/>
                <a:gd name="connsiteX107" fmla="*/ 35923 w 2145038"/>
                <a:gd name="connsiteY107" fmla="*/ 845239 h 2089839"/>
                <a:gd name="connsiteX108" fmla="*/ 51798 w 2145038"/>
                <a:gd name="connsiteY108" fmla="*/ 816664 h 2089839"/>
                <a:gd name="connsiteX109" fmla="*/ 83548 w 2145038"/>
                <a:gd name="connsiteY109" fmla="*/ 772214 h 2089839"/>
                <a:gd name="connsiteX110" fmla="*/ 99423 w 2145038"/>
                <a:gd name="connsiteY110" fmla="*/ 753164 h 2089839"/>
                <a:gd name="connsiteX111" fmla="*/ 143873 w 2145038"/>
                <a:gd name="connsiteY111" fmla="*/ 686489 h 2089839"/>
                <a:gd name="connsiteX112" fmla="*/ 308973 w 2145038"/>
                <a:gd name="connsiteY112" fmla="*/ 534089 h 2089839"/>
                <a:gd name="connsiteX113" fmla="*/ 366123 w 2145038"/>
                <a:gd name="connsiteY113" fmla="*/ 473764 h 2089839"/>
                <a:gd name="connsiteX114" fmla="*/ 416923 w 2145038"/>
                <a:gd name="connsiteY114" fmla="*/ 419789 h 2089839"/>
                <a:gd name="connsiteX115" fmla="*/ 445498 w 2145038"/>
                <a:gd name="connsiteY115" fmla="*/ 388039 h 2089839"/>
                <a:gd name="connsiteX116" fmla="*/ 493123 w 2145038"/>
                <a:gd name="connsiteY116" fmla="*/ 343589 h 2089839"/>
                <a:gd name="connsiteX117" fmla="*/ 712198 w 2145038"/>
                <a:gd name="connsiteY117" fmla="*/ 146739 h 2089839"/>
                <a:gd name="connsiteX118" fmla="*/ 750298 w 2145038"/>
                <a:gd name="connsiteY118" fmla="*/ 121339 h 2089839"/>
                <a:gd name="connsiteX119" fmla="*/ 785223 w 2145038"/>
                <a:gd name="connsiteY119" fmla="*/ 99114 h 2089839"/>
                <a:gd name="connsiteX120" fmla="*/ 883648 w 2145038"/>
                <a:gd name="connsiteY120" fmla="*/ 48314 h 2089839"/>
                <a:gd name="connsiteX121" fmla="*/ 1080498 w 2145038"/>
                <a:gd name="connsiteY121" fmla="*/ 689 h 2089839"/>
                <a:gd name="connsiteX122" fmla="*/ 1197973 w 2145038"/>
                <a:gd name="connsiteY12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44023 w 2145038"/>
                <a:gd name="connsiteY66" fmla="*/ 1988239 h 2089839"/>
                <a:gd name="connsiteX67" fmla="*/ 1331323 w 2145038"/>
                <a:gd name="connsiteY67" fmla="*/ 1997764 h 2089839"/>
                <a:gd name="connsiteX68" fmla="*/ 1270998 w 2145038"/>
                <a:gd name="connsiteY68" fmla="*/ 2035864 h 2089839"/>
                <a:gd name="connsiteX69" fmla="*/ 1258298 w 2145038"/>
                <a:gd name="connsiteY69" fmla="*/ 2042214 h 2089839"/>
                <a:gd name="connsiteX70" fmla="*/ 1236073 w 2145038"/>
                <a:gd name="connsiteY70" fmla="*/ 2048564 h 2089839"/>
                <a:gd name="connsiteX71" fmla="*/ 1226548 w 2145038"/>
                <a:gd name="connsiteY71" fmla="*/ 2054914 h 2089839"/>
                <a:gd name="connsiteX72" fmla="*/ 1217023 w 2145038"/>
                <a:gd name="connsiteY72" fmla="*/ 2058089 h 2089839"/>
                <a:gd name="connsiteX73" fmla="*/ 1175748 w 2145038"/>
                <a:gd name="connsiteY73" fmla="*/ 2067614 h 2089839"/>
                <a:gd name="connsiteX74" fmla="*/ 1150348 w 2145038"/>
                <a:gd name="connsiteY74" fmla="*/ 2080314 h 2089839"/>
                <a:gd name="connsiteX75" fmla="*/ 1102723 w 2145038"/>
                <a:gd name="connsiteY75" fmla="*/ 2089839 h 2089839"/>
                <a:gd name="connsiteX76" fmla="*/ 928098 w 2145038"/>
                <a:gd name="connsiteY76" fmla="*/ 2080314 h 2089839"/>
                <a:gd name="connsiteX77" fmla="*/ 886823 w 2145038"/>
                <a:gd name="connsiteY77" fmla="*/ 2064439 h 2089839"/>
                <a:gd name="connsiteX78" fmla="*/ 845548 w 2145038"/>
                <a:gd name="connsiteY78" fmla="*/ 2045389 h 2089839"/>
                <a:gd name="connsiteX79" fmla="*/ 731248 w 2145038"/>
                <a:gd name="connsiteY79" fmla="*/ 1943789 h 2089839"/>
                <a:gd name="connsiteX80" fmla="*/ 715373 w 2145038"/>
                <a:gd name="connsiteY80" fmla="*/ 1927914 h 2089839"/>
                <a:gd name="connsiteX81" fmla="*/ 699498 w 2145038"/>
                <a:gd name="connsiteY81" fmla="*/ 1915214 h 2089839"/>
                <a:gd name="connsiteX82" fmla="*/ 680448 w 2145038"/>
                <a:gd name="connsiteY82" fmla="*/ 1896164 h 2089839"/>
                <a:gd name="connsiteX83" fmla="*/ 642348 w 2145038"/>
                <a:gd name="connsiteY83" fmla="*/ 1864414 h 2089839"/>
                <a:gd name="connsiteX84" fmla="*/ 601073 w 2145038"/>
                <a:gd name="connsiteY84" fmla="*/ 1816789 h 2089839"/>
                <a:gd name="connsiteX85" fmla="*/ 578848 w 2145038"/>
                <a:gd name="connsiteY85" fmla="*/ 1791389 h 2089839"/>
                <a:gd name="connsiteX86" fmla="*/ 537573 w 2145038"/>
                <a:gd name="connsiteY86" fmla="*/ 1750114 h 2089839"/>
                <a:gd name="connsiteX87" fmla="*/ 499473 w 2145038"/>
                <a:gd name="connsiteY87" fmla="*/ 1715189 h 2089839"/>
                <a:gd name="connsiteX88" fmla="*/ 470898 w 2145038"/>
                <a:gd name="connsiteY88" fmla="*/ 1680264 h 2089839"/>
                <a:gd name="connsiteX89" fmla="*/ 413748 w 2145038"/>
                <a:gd name="connsiteY89" fmla="*/ 1632639 h 2089839"/>
                <a:gd name="connsiteX90" fmla="*/ 401048 w 2145038"/>
                <a:gd name="connsiteY90" fmla="*/ 1623114 h 2089839"/>
                <a:gd name="connsiteX91" fmla="*/ 369298 w 2145038"/>
                <a:gd name="connsiteY91" fmla="*/ 1594539 h 2089839"/>
                <a:gd name="connsiteX92" fmla="*/ 328023 w 2145038"/>
                <a:gd name="connsiteY92" fmla="*/ 1569139 h 2089839"/>
                <a:gd name="connsiteX93" fmla="*/ 302623 w 2145038"/>
                <a:gd name="connsiteY93" fmla="*/ 1550089 h 2089839"/>
                <a:gd name="connsiteX94" fmla="*/ 223248 w 2145038"/>
                <a:gd name="connsiteY94" fmla="*/ 1480239 h 2089839"/>
                <a:gd name="connsiteX95" fmla="*/ 175623 w 2145038"/>
                <a:gd name="connsiteY95" fmla="*/ 1423089 h 2089839"/>
                <a:gd name="connsiteX96" fmla="*/ 118473 w 2145038"/>
                <a:gd name="connsiteY96" fmla="*/ 1350064 h 2089839"/>
                <a:gd name="connsiteX97" fmla="*/ 83548 w 2145038"/>
                <a:gd name="connsiteY97" fmla="*/ 1302439 h 2089839"/>
                <a:gd name="connsiteX98" fmla="*/ 64498 w 2145038"/>
                <a:gd name="connsiteY98" fmla="*/ 1277039 h 2089839"/>
                <a:gd name="connsiteX99" fmla="*/ 35923 w 2145038"/>
                <a:gd name="connsiteY99" fmla="*/ 1216714 h 2089839"/>
                <a:gd name="connsiteX100" fmla="*/ 26398 w 2145038"/>
                <a:gd name="connsiteY100" fmla="*/ 1181789 h 2089839"/>
                <a:gd name="connsiteX101" fmla="*/ 20048 w 2145038"/>
                <a:gd name="connsiteY101" fmla="*/ 1159564 h 2089839"/>
                <a:gd name="connsiteX102" fmla="*/ 16873 w 2145038"/>
                <a:gd name="connsiteY102" fmla="*/ 1143689 h 2089839"/>
                <a:gd name="connsiteX103" fmla="*/ 7348 w 2145038"/>
                <a:gd name="connsiteY103" fmla="*/ 1105589 h 2089839"/>
                <a:gd name="connsiteX104" fmla="*/ 998 w 2145038"/>
                <a:gd name="connsiteY104" fmla="*/ 1023039 h 2089839"/>
                <a:gd name="connsiteX105" fmla="*/ 10523 w 2145038"/>
                <a:gd name="connsiteY105" fmla="*/ 892864 h 2089839"/>
                <a:gd name="connsiteX106" fmla="*/ 35923 w 2145038"/>
                <a:gd name="connsiteY106" fmla="*/ 845239 h 2089839"/>
                <a:gd name="connsiteX107" fmla="*/ 51798 w 2145038"/>
                <a:gd name="connsiteY107" fmla="*/ 816664 h 2089839"/>
                <a:gd name="connsiteX108" fmla="*/ 83548 w 2145038"/>
                <a:gd name="connsiteY108" fmla="*/ 772214 h 2089839"/>
                <a:gd name="connsiteX109" fmla="*/ 99423 w 2145038"/>
                <a:gd name="connsiteY109" fmla="*/ 753164 h 2089839"/>
                <a:gd name="connsiteX110" fmla="*/ 143873 w 2145038"/>
                <a:gd name="connsiteY110" fmla="*/ 686489 h 2089839"/>
                <a:gd name="connsiteX111" fmla="*/ 308973 w 2145038"/>
                <a:gd name="connsiteY111" fmla="*/ 534089 h 2089839"/>
                <a:gd name="connsiteX112" fmla="*/ 366123 w 2145038"/>
                <a:gd name="connsiteY112" fmla="*/ 473764 h 2089839"/>
                <a:gd name="connsiteX113" fmla="*/ 416923 w 2145038"/>
                <a:gd name="connsiteY113" fmla="*/ 419789 h 2089839"/>
                <a:gd name="connsiteX114" fmla="*/ 445498 w 2145038"/>
                <a:gd name="connsiteY114" fmla="*/ 388039 h 2089839"/>
                <a:gd name="connsiteX115" fmla="*/ 493123 w 2145038"/>
                <a:gd name="connsiteY115" fmla="*/ 343589 h 2089839"/>
                <a:gd name="connsiteX116" fmla="*/ 712198 w 2145038"/>
                <a:gd name="connsiteY116" fmla="*/ 146739 h 2089839"/>
                <a:gd name="connsiteX117" fmla="*/ 750298 w 2145038"/>
                <a:gd name="connsiteY117" fmla="*/ 121339 h 2089839"/>
                <a:gd name="connsiteX118" fmla="*/ 785223 w 2145038"/>
                <a:gd name="connsiteY118" fmla="*/ 99114 h 2089839"/>
                <a:gd name="connsiteX119" fmla="*/ 883648 w 2145038"/>
                <a:gd name="connsiteY119" fmla="*/ 48314 h 2089839"/>
                <a:gd name="connsiteX120" fmla="*/ 1080498 w 2145038"/>
                <a:gd name="connsiteY120" fmla="*/ 689 h 2089839"/>
                <a:gd name="connsiteX121" fmla="*/ 1197973 w 2145038"/>
                <a:gd name="connsiteY12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80548 w 2145038"/>
                <a:gd name="connsiteY59" fmla="*/ 1870764 h 2089839"/>
                <a:gd name="connsiteX60" fmla="*/ 1464673 w 2145038"/>
                <a:gd name="connsiteY60" fmla="*/ 1889814 h 2089839"/>
                <a:gd name="connsiteX61" fmla="*/ 1455148 w 2145038"/>
                <a:gd name="connsiteY61" fmla="*/ 1902514 h 2089839"/>
                <a:gd name="connsiteX62" fmla="*/ 1445623 w 2145038"/>
                <a:gd name="connsiteY62" fmla="*/ 1912039 h 2089839"/>
                <a:gd name="connsiteX63" fmla="*/ 1423398 w 2145038"/>
                <a:gd name="connsiteY63" fmla="*/ 1937439 h 2089839"/>
                <a:gd name="connsiteX64" fmla="*/ 1391648 w 2145038"/>
                <a:gd name="connsiteY64" fmla="*/ 1966014 h 2089839"/>
                <a:gd name="connsiteX65" fmla="*/ 1356723 w 2145038"/>
                <a:gd name="connsiteY65" fmla="*/ 1981889 h 2089839"/>
                <a:gd name="connsiteX66" fmla="*/ 1331323 w 2145038"/>
                <a:gd name="connsiteY66" fmla="*/ 1997764 h 2089839"/>
                <a:gd name="connsiteX67" fmla="*/ 1270998 w 2145038"/>
                <a:gd name="connsiteY67" fmla="*/ 2035864 h 2089839"/>
                <a:gd name="connsiteX68" fmla="*/ 1258298 w 2145038"/>
                <a:gd name="connsiteY68" fmla="*/ 2042214 h 2089839"/>
                <a:gd name="connsiteX69" fmla="*/ 1236073 w 2145038"/>
                <a:gd name="connsiteY69" fmla="*/ 2048564 h 2089839"/>
                <a:gd name="connsiteX70" fmla="*/ 1226548 w 2145038"/>
                <a:gd name="connsiteY70" fmla="*/ 2054914 h 2089839"/>
                <a:gd name="connsiteX71" fmla="*/ 1217023 w 2145038"/>
                <a:gd name="connsiteY71" fmla="*/ 2058089 h 2089839"/>
                <a:gd name="connsiteX72" fmla="*/ 1175748 w 2145038"/>
                <a:gd name="connsiteY72" fmla="*/ 2067614 h 2089839"/>
                <a:gd name="connsiteX73" fmla="*/ 1150348 w 2145038"/>
                <a:gd name="connsiteY73" fmla="*/ 2080314 h 2089839"/>
                <a:gd name="connsiteX74" fmla="*/ 1102723 w 2145038"/>
                <a:gd name="connsiteY74" fmla="*/ 2089839 h 2089839"/>
                <a:gd name="connsiteX75" fmla="*/ 928098 w 2145038"/>
                <a:gd name="connsiteY75" fmla="*/ 2080314 h 2089839"/>
                <a:gd name="connsiteX76" fmla="*/ 886823 w 2145038"/>
                <a:gd name="connsiteY76" fmla="*/ 2064439 h 2089839"/>
                <a:gd name="connsiteX77" fmla="*/ 845548 w 2145038"/>
                <a:gd name="connsiteY77" fmla="*/ 2045389 h 2089839"/>
                <a:gd name="connsiteX78" fmla="*/ 731248 w 2145038"/>
                <a:gd name="connsiteY78" fmla="*/ 1943789 h 2089839"/>
                <a:gd name="connsiteX79" fmla="*/ 715373 w 2145038"/>
                <a:gd name="connsiteY79" fmla="*/ 1927914 h 2089839"/>
                <a:gd name="connsiteX80" fmla="*/ 699498 w 2145038"/>
                <a:gd name="connsiteY80" fmla="*/ 1915214 h 2089839"/>
                <a:gd name="connsiteX81" fmla="*/ 680448 w 2145038"/>
                <a:gd name="connsiteY81" fmla="*/ 1896164 h 2089839"/>
                <a:gd name="connsiteX82" fmla="*/ 642348 w 2145038"/>
                <a:gd name="connsiteY82" fmla="*/ 1864414 h 2089839"/>
                <a:gd name="connsiteX83" fmla="*/ 601073 w 2145038"/>
                <a:gd name="connsiteY83" fmla="*/ 1816789 h 2089839"/>
                <a:gd name="connsiteX84" fmla="*/ 578848 w 2145038"/>
                <a:gd name="connsiteY84" fmla="*/ 1791389 h 2089839"/>
                <a:gd name="connsiteX85" fmla="*/ 537573 w 2145038"/>
                <a:gd name="connsiteY85" fmla="*/ 1750114 h 2089839"/>
                <a:gd name="connsiteX86" fmla="*/ 499473 w 2145038"/>
                <a:gd name="connsiteY86" fmla="*/ 1715189 h 2089839"/>
                <a:gd name="connsiteX87" fmla="*/ 470898 w 2145038"/>
                <a:gd name="connsiteY87" fmla="*/ 1680264 h 2089839"/>
                <a:gd name="connsiteX88" fmla="*/ 413748 w 2145038"/>
                <a:gd name="connsiteY88" fmla="*/ 1632639 h 2089839"/>
                <a:gd name="connsiteX89" fmla="*/ 401048 w 2145038"/>
                <a:gd name="connsiteY89" fmla="*/ 1623114 h 2089839"/>
                <a:gd name="connsiteX90" fmla="*/ 369298 w 2145038"/>
                <a:gd name="connsiteY90" fmla="*/ 1594539 h 2089839"/>
                <a:gd name="connsiteX91" fmla="*/ 328023 w 2145038"/>
                <a:gd name="connsiteY91" fmla="*/ 1569139 h 2089839"/>
                <a:gd name="connsiteX92" fmla="*/ 302623 w 2145038"/>
                <a:gd name="connsiteY92" fmla="*/ 1550089 h 2089839"/>
                <a:gd name="connsiteX93" fmla="*/ 223248 w 2145038"/>
                <a:gd name="connsiteY93" fmla="*/ 1480239 h 2089839"/>
                <a:gd name="connsiteX94" fmla="*/ 175623 w 2145038"/>
                <a:gd name="connsiteY94" fmla="*/ 1423089 h 2089839"/>
                <a:gd name="connsiteX95" fmla="*/ 118473 w 2145038"/>
                <a:gd name="connsiteY95" fmla="*/ 1350064 h 2089839"/>
                <a:gd name="connsiteX96" fmla="*/ 83548 w 2145038"/>
                <a:gd name="connsiteY96" fmla="*/ 1302439 h 2089839"/>
                <a:gd name="connsiteX97" fmla="*/ 64498 w 2145038"/>
                <a:gd name="connsiteY97" fmla="*/ 1277039 h 2089839"/>
                <a:gd name="connsiteX98" fmla="*/ 35923 w 2145038"/>
                <a:gd name="connsiteY98" fmla="*/ 1216714 h 2089839"/>
                <a:gd name="connsiteX99" fmla="*/ 26398 w 2145038"/>
                <a:gd name="connsiteY99" fmla="*/ 1181789 h 2089839"/>
                <a:gd name="connsiteX100" fmla="*/ 20048 w 2145038"/>
                <a:gd name="connsiteY100" fmla="*/ 1159564 h 2089839"/>
                <a:gd name="connsiteX101" fmla="*/ 16873 w 2145038"/>
                <a:gd name="connsiteY101" fmla="*/ 1143689 h 2089839"/>
                <a:gd name="connsiteX102" fmla="*/ 7348 w 2145038"/>
                <a:gd name="connsiteY102" fmla="*/ 1105589 h 2089839"/>
                <a:gd name="connsiteX103" fmla="*/ 998 w 2145038"/>
                <a:gd name="connsiteY103" fmla="*/ 1023039 h 2089839"/>
                <a:gd name="connsiteX104" fmla="*/ 10523 w 2145038"/>
                <a:gd name="connsiteY104" fmla="*/ 892864 h 2089839"/>
                <a:gd name="connsiteX105" fmla="*/ 35923 w 2145038"/>
                <a:gd name="connsiteY105" fmla="*/ 845239 h 2089839"/>
                <a:gd name="connsiteX106" fmla="*/ 51798 w 2145038"/>
                <a:gd name="connsiteY106" fmla="*/ 816664 h 2089839"/>
                <a:gd name="connsiteX107" fmla="*/ 83548 w 2145038"/>
                <a:gd name="connsiteY107" fmla="*/ 772214 h 2089839"/>
                <a:gd name="connsiteX108" fmla="*/ 99423 w 2145038"/>
                <a:gd name="connsiteY108" fmla="*/ 753164 h 2089839"/>
                <a:gd name="connsiteX109" fmla="*/ 143873 w 2145038"/>
                <a:gd name="connsiteY109" fmla="*/ 686489 h 2089839"/>
                <a:gd name="connsiteX110" fmla="*/ 308973 w 2145038"/>
                <a:gd name="connsiteY110" fmla="*/ 534089 h 2089839"/>
                <a:gd name="connsiteX111" fmla="*/ 366123 w 2145038"/>
                <a:gd name="connsiteY111" fmla="*/ 473764 h 2089839"/>
                <a:gd name="connsiteX112" fmla="*/ 416923 w 2145038"/>
                <a:gd name="connsiteY112" fmla="*/ 419789 h 2089839"/>
                <a:gd name="connsiteX113" fmla="*/ 445498 w 2145038"/>
                <a:gd name="connsiteY113" fmla="*/ 388039 h 2089839"/>
                <a:gd name="connsiteX114" fmla="*/ 493123 w 2145038"/>
                <a:gd name="connsiteY114" fmla="*/ 343589 h 2089839"/>
                <a:gd name="connsiteX115" fmla="*/ 712198 w 2145038"/>
                <a:gd name="connsiteY115" fmla="*/ 146739 h 2089839"/>
                <a:gd name="connsiteX116" fmla="*/ 750298 w 2145038"/>
                <a:gd name="connsiteY116" fmla="*/ 121339 h 2089839"/>
                <a:gd name="connsiteX117" fmla="*/ 785223 w 2145038"/>
                <a:gd name="connsiteY117" fmla="*/ 99114 h 2089839"/>
                <a:gd name="connsiteX118" fmla="*/ 883648 w 2145038"/>
                <a:gd name="connsiteY118" fmla="*/ 48314 h 2089839"/>
                <a:gd name="connsiteX119" fmla="*/ 1080498 w 2145038"/>
                <a:gd name="connsiteY119" fmla="*/ 689 h 2089839"/>
                <a:gd name="connsiteX120" fmla="*/ 1197973 w 2145038"/>
                <a:gd name="connsiteY12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23473 w 2145038"/>
                <a:gd name="connsiteY42" fmla="*/ 775389 h 2089839"/>
                <a:gd name="connsiteX43" fmla="*/ 2071098 w 2145038"/>
                <a:gd name="connsiteY43" fmla="*/ 848414 h 2089839"/>
                <a:gd name="connsiteX44" fmla="*/ 2090148 w 2145038"/>
                <a:gd name="connsiteY44" fmla="*/ 905564 h 2089839"/>
                <a:gd name="connsiteX45" fmla="*/ 2131423 w 2145038"/>
                <a:gd name="connsiteY45" fmla="*/ 981764 h 2089839"/>
                <a:gd name="connsiteX46" fmla="*/ 2121898 w 2145038"/>
                <a:gd name="connsiteY46" fmla="*/ 1181789 h 2089839"/>
                <a:gd name="connsiteX47" fmla="*/ 1928223 w 2145038"/>
                <a:gd name="connsiteY47" fmla="*/ 1445314 h 2089839"/>
                <a:gd name="connsiteX48" fmla="*/ 1848848 w 2145038"/>
                <a:gd name="connsiteY48" fmla="*/ 1496114 h 2089839"/>
                <a:gd name="connsiteX49" fmla="*/ 1810748 w 2145038"/>
                <a:gd name="connsiteY49" fmla="*/ 1527864 h 2089839"/>
                <a:gd name="connsiteX50" fmla="*/ 1718673 w 2145038"/>
                <a:gd name="connsiteY50" fmla="*/ 1616764 h 2089839"/>
                <a:gd name="connsiteX51" fmla="*/ 1709148 w 2145038"/>
                <a:gd name="connsiteY51" fmla="*/ 1629464 h 2089839"/>
                <a:gd name="connsiteX52" fmla="*/ 1680573 w 2145038"/>
                <a:gd name="connsiteY52" fmla="*/ 1661214 h 2089839"/>
                <a:gd name="connsiteX53" fmla="*/ 1658348 w 2145038"/>
                <a:gd name="connsiteY53" fmla="*/ 1689789 h 2089839"/>
                <a:gd name="connsiteX54" fmla="*/ 1623423 w 2145038"/>
                <a:gd name="connsiteY54" fmla="*/ 1724714 h 2089839"/>
                <a:gd name="connsiteX55" fmla="*/ 1569448 w 2145038"/>
                <a:gd name="connsiteY55" fmla="*/ 1785039 h 2089839"/>
                <a:gd name="connsiteX56" fmla="*/ 1559923 w 2145038"/>
                <a:gd name="connsiteY56" fmla="*/ 1797739 h 2089839"/>
                <a:gd name="connsiteX57" fmla="*/ 1547223 w 2145038"/>
                <a:gd name="connsiteY57" fmla="*/ 1807264 h 2089839"/>
                <a:gd name="connsiteX58" fmla="*/ 1524998 w 2145038"/>
                <a:gd name="connsiteY58" fmla="*/ 1826314 h 2089839"/>
                <a:gd name="connsiteX59" fmla="*/ 1464673 w 2145038"/>
                <a:gd name="connsiteY59" fmla="*/ 1889814 h 2089839"/>
                <a:gd name="connsiteX60" fmla="*/ 1455148 w 2145038"/>
                <a:gd name="connsiteY60" fmla="*/ 1902514 h 2089839"/>
                <a:gd name="connsiteX61" fmla="*/ 1445623 w 2145038"/>
                <a:gd name="connsiteY61" fmla="*/ 1912039 h 2089839"/>
                <a:gd name="connsiteX62" fmla="*/ 1423398 w 2145038"/>
                <a:gd name="connsiteY62" fmla="*/ 1937439 h 2089839"/>
                <a:gd name="connsiteX63" fmla="*/ 1391648 w 2145038"/>
                <a:gd name="connsiteY63" fmla="*/ 1966014 h 2089839"/>
                <a:gd name="connsiteX64" fmla="*/ 1356723 w 2145038"/>
                <a:gd name="connsiteY64" fmla="*/ 1981889 h 2089839"/>
                <a:gd name="connsiteX65" fmla="*/ 1331323 w 2145038"/>
                <a:gd name="connsiteY65" fmla="*/ 1997764 h 2089839"/>
                <a:gd name="connsiteX66" fmla="*/ 1270998 w 2145038"/>
                <a:gd name="connsiteY66" fmla="*/ 2035864 h 2089839"/>
                <a:gd name="connsiteX67" fmla="*/ 1258298 w 2145038"/>
                <a:gd name="connsiteY67" fmla="*/ 2042214 h 2089839"/>
                <a:gd name="connsiteX68" fmla="*/ 1236073 w 2145038"/>
                <a:gd name="connsiteY68" fmla="*/ 2048564 h 2089839"/>
                <a:gd name="connsiteX69" fmla="*/ 1226548 w 2145038"/>
                <a:gd name="connsiteY69" fmla="*/ 2054914 h 2089839"/>
                <a:gd name="connsiteX70" fmla="*/ 1217023 w 2145038"/>
                <a:gd name="connsiteY70" fmla="*/ 2058089 h 2089839"/>
                <a:gd name="connsiteX71" fmla="*/ 1175748 w 2145038"/>
                <a:gd name="connsiteY71" fmla="*/ 2067614 h 2089839"/>
                <a:gd name="connsiteX72" fmla="*/ 1150348 w 2145038"/>
                <a:gd name="connsiteY72" fmla="*/ 2080314 h 2089839"/>
                <a:gd name="connsiteX73" fmla="*/ 1102723 w 2145038"/>
                <a:gd name="connsiteY73" fmla="*/ 2089839 h 2089839"/>
                <a:gd name="connsiteX74" fmla="*/ 928098 w 2145038"/>
                <a:gd name="connsiteY74" fmla="*/ 2080314 h 2089839"/>
                <a:gd name="connsiteX75" fmla="*/ 886823 w 2145038"/>
                <a:gd name="connsiteY75" fmla="*/ 2064439 h 2089839"/>
                <a:gd name="connsiteX76" fmla="*/ 845548 w 2145038"/>
                <a:gd name="connsiteY76" fmla="*/ 2045389 h 2089839"/>
                <a:gd name="connsiteX77" fmla="*/ 731248 w 2145038"/>
                <a:gd name="connsiteY77" fmla="*/ 1943789 h 2089839"/>
                <a:gd name="connsiteX78" fmla="*/ 715373 w 2145038"/>
                <a:gd name="connsiteY78" fmla="*/ 1927914 h 2089839"/>
                <a:gd name="connsiteX79" fmla="*/ 699498 w 2145038"/>
                <a:gd name="connsiteY79" fmla="*/ 1915214 h 2089839"/>
                <a:gd name="connsiteX80" fmla="*/ 680448 w 2145038"/>
                <a:gd name="connsiteY80" fmla="*/ 1896164 h 2089839"/>
                <a:gd name="connsiteX81" fmla="*/ 642348 w 2145038"/>
                <a:gd name="connsiteY81" fmla="*/ 1864414 h 2089839"/>
                <a:gd name="connsiteX82" fmla="*/ 601073 w 2145038"/>
                <a:gd name="connsiteY82" fmla="*/ 1816789 h 2089839"/>
                <a:gd name="connsiteX83" fmla="*/ 578848 w 2145038"/>
                <a:gd name="connsiteY83" fmla="*/ 1791389 h 2089839"/>
                <a:gd name="connsiteX84" fmla="*/ 537573 w 2145038"/>
                <a:gd name="connsiteY84" fmla="*/ 1750114 h 2089839"/>
                <a:gd name="connsiteX85" fmla="*/ 499473 w 2145038"/>
                <a:gd name="connsiteY85" fmla="*/ 1715189 h 2089839"/>
                <a:gd name="connsiteX86" fmla="*/ 470898 w 2145038"/>
                <a:gd name="connsiteY86" fmla="*/ 1680264 h 2089839"/>
                <a:gd name="connsiteX87" fmla="*/ 413748 w 2145038"/>
                <a:gd name="connsiteY87" fmla="*/ 1632639 h 2089839"/>
                <a:gd name="connsiteX88" fmla="*/ 401048 w 2145038"/>
                <a:gd name="connsiteY88" fmla="*/ 1623114 h 2089839"/>
                <a:gd name="connsiteX89" fmla="*/ 369298 w 2145038"/>
                <a:gd name="connsiteY89" fmla="*/ 1594539 h 2089839"/>
                <a:gd name="connsiteX90" fmla="*/ 328023 w 2145038"/>
                <a:gd name="connsiteY90" fmla="*/ 1569139 h 2089839"/>
                <a:gd name="connsiteX91" fmla="*/ 302623 w 2145038"/>
                <a:gd name="connsiteY91" fmla="*/ 1550089 h 2089839"/>
                <a:gd name="connsiteX92" fmla="*/ 223248 w 2145038"/>
                <a:gd name="connsiteY92" fmla="*/ 1480239 h 2089839"/>
                <a:gd name="connsiteX93" fmla="*/ 175623 w 2145038"/>
                <a:gd name="connsiteY93" fmla="*/ 1423089 h 2089839"/>
                <a:gd name="connsiteX94" fmla="*/ 118473 w 2145038"/>
                <a:gd name="connsiteY94" fmla="*/ 1350064 h 2089839"/>
                <a:gd name="connsiteX95" fmla="*/ 83548 w 2145038"/>
                <a:gd name="connsiteY95" fmla="*/ 1302439 h 2089839"/>
                <a:gd name="connsiteX96" fmla="*/ 64498 w 2145038"/>
                <a:gd name="connsiteY96" fmla="*/ 1277039 h 2089839"/>
                <a:gd name="connsiteX97" fmla="*/ 35923 w 2145038"/>
                <a:gd name="connsiteY97" fmla="*/ 1216714 h 2089839"/>
                <a:gd name="connsiteX98" fmla="*/ 26398 w 2145038"/>
                <a:gd name="connsiteY98" fmla="*/ 1181789 h 2089839"/>
                <a:gd name="connsiteX99" fmla="*/ 20048 w 2145038"/>
                <a:gd name="connsiteY99" fmla="*/ 1159564 h 2089839"/>
                <a:gd name="connsiteX100" fmla="*/ 16873 w 2145038"/>
                <a:gd name="connsiteY100" fmla="*/ 1143689 h 2089839"/>
                <a:gd name="connsiteX101" fmla="*/ 7348 w 2145038"/>
                <a:gd name="connsiteY101" fmla="*/ 1105589 h 2089839"/>
                <a:gd name="connsiteX102" fmla="*/ 998 w 2145038"/>
                <a:gd name="connsiteY102" fmla="*/ 1023039 h 2089839"/>
                <a:gd name="connsiteX103" fmla="*/ 10523 w 2145038"/>
                <a:gd name="connsiteY103" fmla="*/ 892864 h 2089839"/>
                <a:gd name="connsiteX104" fmla="*/ 35923 w 2145038"/>
                <a:gd name="connsiteY104" fmla="*/ 845239 h 2089839"/>
                <a:gd name="connsiteX105" fmla="*/ 51798 w 2145038"/>
                <a:gd name="connsiteY105" fmla="*/ 816664 h 2089839"/>
                <a:gd name="connsiteX106" fmla="*/ 83548 w 2145038"/>
                <a:gd name="connsiteY106" fmla="*/ 772214 h 2089839"/>
                <a:gd name="connsiteX107" fmla="*/ 99423 w 2145038"/>
                <a:gd name="connsiteY107" fmla="*/ 753164 h 2089839"/>
                <a:gd name="connsiteX108" fmla="*/ 143873 w 2145038"/>
                <a:gd name="connsiteY108" fmla="*/ 686489 h 2089839"/>
                <a:gd name="connsiteX109" fmla="*/ 308973 w 2145038"/>
                <a:gd name="connsiteY109" fmla="*/ 534089 h 2089839"/>
                <a:gd name="connsiteX110" fmla="*/ 366123 w 2145038"/>
                <a:gd name="connsiteY110" fmla="*/ 473764 h 2089839"/>
                <a:gd name="connsiteX111" fmla="*/ 416923 w 2145038"/>
                <a:gd name="connsiteY111" fmla="*/ 419789 h 2089839"/>
                <a:gd name="connsiteX112" fmla="*/ 445498 w 2145038"/>
                <a:gd name="connsiteY112" fmla="*/ 388039 h 2089839"/>
                <a:gd name="connsiteX113" fmla="*/ 493123 w 2145038"/>
                <a:gd name="connsiteY113" fmla="*/ 343589 h 2089839"/>
                <a:gd name="connsiteX114" fmla="*/ 712198 w 2145038"/>
                <a:gd name="connsiteY114" fmla="*/ 146739 h 2089839"/>
                <a:gd name="connsiteX115" fmla="*/ 750298 w 2145038"/>
                <a:gd name="connsiteY115" fmla="*/ 121339 h 2089839"/>
                <a:gd name="connsiteX116" fmla="*/ 785223 w 2145038"/>
                <a:gd name="connsiteY116" fmla="*/ 99114 h 2089839"/>
                <a:gd name="connsiteX117" fmla="*/ 883648 w 2145038"/>
                <a:gd name="connsiteY117" fmla="*/ 48314 h 2089839"/>
                <a:gd name="connsiteX118" fmla="*/ 1080498 w 2145038"/>
                <a:gd name="connsiteY118" fmla="*/ 689 h 2089839"/>
                <a:gd name="connsiteX119" fmla="*/ 1197973 w 2145038"/>
                <a:gd name="connsiteY11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1988548 w 2145038"/>
                <a:gd name="connsiteY41" fmla="*/ 740464 h 2089839"/>
                <a:gd name="connsiteX42" fmla="*/ 2071098 w 2145038"/>
                <a:gd name="connsiteY42" fmla="*/ 848414 h 2089839"/>
                <a:gd name="connsiteX43" fmla="*/ 2090148 w 2145038"/>
                <a:gd name="connsiteY43" fmla="*/ 905564 h 2089839"/>
                <a:gd name="connsiteX44" fmla="*/ 2131423 w 2145038"/>
                <a:gd name="connsiteY44" fmla="*/ 981764 h 2089839"/>
                <a:gd name="connsiteX45" fmla="*/ 2121898 w 2145038"/>
                <a:gd name="connsiteY45" fmla="*/ 1181789 h 2089839"/>
                <a:gd name="connsiteX46" fmla="*/ 1928223 w 2145038"/>
                <a:gd name="connsiteY46" fmla="*/ 1445314 h 2089839"/>
                <a:gd name="connsiteX47" fmla="*/ 1848848 w 2145038"/>
                <a:gd name="connsiteY47" fmla="*/ 1496114 h 2089839"/>
                <a:gd name="connsiteX48" fmla="*/ 1810748 w 2145038"/>
                <a:gd name="connsiteY48" fmla="*/ 1527864 h 2089839"/>
                <a:gd name="connsiteX49" fmla="*/ 1718673 w 2145038"/>
                <a:gd name="connsiteY49" fmla="*/ 1616764 h 2089839"/>
                <a:gd name="connsiteX50" fmla="*/ 1709148 w 2145038"/>
                <a:gd name="connsiteY50" fmla="*/ 1629464 h 2089839"/>
                <a:gd name="connsiteX51" fmla="*/ 1680573 w 2145038"/>
                <a:gd name="connsiteY51" fmla="*/ 1661214 h 2089839"/>
                <a:gd name="connsiteX52" fmla="*/ 1658348 w 2145038"/>
                <a:gd name="connsiteY52" fmla="*/ 1689789 h 2089839"/>
                <a:gd name="connsiteX53" fmla="*/ 1623423 w 2145038"/>
                <a:gd name="connsiteY53" fmla="*/ 1724714 h 2089839"/>
                <a:gd name="connsiteX54" fmla="*/ 1569448 w 2145038"/>
                <a:gd name="connsiteY54" fmla="*/ 1785039 h 2089839"/>
                <a:gd name="connsiteX55" fmla="*/ 1559923 w 2145038"/>
                <a:gd name="connsiteY55" fmla="*/ 1797739 h 2089839"/>
                <a:gd name="connsiteX56" fmla="*/ 1547223 w 2145038"/>
                <a:gd name="connsiteY56" fmla="*/ 1807264 h 2089839"/>
                <a:gd name="connsiteX57" fmla="*/ 1524998 w 2145038"/>
                <a:gd name="connsiteY57" fmla="*/ 1826314 h 2089839"/>
                <a:gd name="connsiteX58" fmla="*/ 1464673 w 2145038"/>
                <a:gd name="connsiteY58" fmla="*/ 1889814 h 2089839"/>
                <a:gd name="connsiteX59" fmla="*/ 1455148 w 2145038"/>
                <a:gd name="connsiteY59" fmla="*/ 1902514 h 2089839"/>
                <a:gd name="connsiteX60" fmla="*/ 1445623 w 2145038"/>
                <a:gd name="connsiteY60" fmla="*/ 1912039 h 2089839"/>
                <a:gd name="connsiteX61" fmla="*/ 1423398 w 2145038"/>
                <a:gd name="connsiteY61" fmla="*/ 1937439 h 2089839"/>
                <a:gd name="connsiteX62" fmla="*/ 1391648 w 2145038"/>
                <a:gd name="connsiteY62" fmla="*/ 1966014 h 2089839"/>
                <a:gd name="connsiteX63" fmla="*/ 1356723 w 2145038"/>
                <a:gd name="connsiteY63" fmla="*/ 1981889 h 2089839"/>
                <a:gd name="connsiteX64" fmla="*/ 1331323 w 2145038"/>
                <a:gd name="connsiteY64" fmla="*/ 1997764 h 2089839"/>
                <a:gd name="connsiteX65" fmla="*/ 1270998 w 2145038"/>
                <a:gd name="connsiteY65" fmla="*/ 2035864 h 2089839"/>
                <a:gd name="connsiteX66" fmla="*/ 1258298 w 2145038"/>
                <a:gd name="connsiteY66" fmla="*/ 2042214 h 2089839"/>
                <a:gd name="connsiteX67" fmla="*/ 1236073 w 2145038"/>
                <a:gd name="connsiteY67" fmla="*/ 2048564 h 2089839"/>
                <a:gd name="connsiteX68" fmla="*/ 1226548 w 2145038"/>
                <a:gd name="connsiteY68" fmla="*/ 2054914 h 2089839"/>
                <a:gd name="connsiteX69" fmla="*/ 1217023 w 2145038"/>
                <a:gd name="connsiteY69" fmla="*/ 2058089 h 2089839"/>
                <a:gd name="connsiteX70" fmla="*/ 1175748 w 2145038"/>
                <a:gd name="connsiteY70" fmla="*/ 2067614 h 2089839"/>
                <a:gd name="connsiteX71" fmla="*/ 1150348 w 2145038"/>
                <a:gd name="connsiteY71" fmla="*/ 2080314 h 2089839"/>
                <a:gd name="connsiteX72" fmla="*/ 1102723 w 2145038"/>
                <a:gd name="connsiteY72" fmla="*/ 2089839 h 2089839"/>
                <a:gd name="connsiteX73" fmla="*/ 928098 w 2145038"/>
                <a:gd name="connsiteY73" fmla="*/ 2080314 h 2089839"/>
                <a:gd name="connsiteX74" fmla="*/ 886823 w 2145038"/>
                <a:gd name="connsiteY74" fmla="*/ 2064439 h 2089839"/>
                <a:gd name="connsiteX75" fmla="*/ 845548 w 2145038"/>
                <a:gd name="connsiteY75" fmla="*/ 2045389 h 2089839"/>
                <a:gd name="connsiteX76" fmla="*/ 731248 w 2145038"/>
                <a:gd name="connsiteY76" fmla="*/ 1943789 h 2089839"/>
                <a:gd name="connsiteX77" fmla="*/ 715373 w 2145038"/>
                <a:gd name="connsiteY77" fmla="*/ 1927914 h 2089839"/>
                <a:gd name="connsiteX78" fmla="*/ 699498 w 2145038"/>
                <a:gd name="connsiteY78" fmla="*/ 1915214 h 2089839"/>
                <a:gd name="connsiteX79" fmla="*/ 680448 w 2145038"/>
                <a:gd name="connsiteY79" fmla="*/ 1896164 h 2089839"/>
                <a:gd name="connsiteX80" fmla="*/ 642348 w 2145038"/>
                <a:gd name="connsiteY80" fmla="*/ 1864414 h 2089839"/>
                <a:gd name="connsiteX81" fmla="*/ 601073 w 2145038"/>
                <a:gd name="connsiteY81" fmla="*/ 1816789 h 2089839"/>
                <a:gd name="connsiteX82" fmla="*/ 578848 w 2145038"/>
                <a:gd name="connsiteY82" fmla="*/ 1791389 h 2089839"/>
                <a:gd name="connsiteX83" fmla="*/ 537573 w 2145038"/>
                <a:gd name="connsiteY83" fmla="*/ 1750114 h 2089839"/>
                <a:gd name="connsiteX84" fmla="*/ 499473 w 2145038"/>
                <a:gd name="connsiteY84" fmla="*/ 1715189 h 2089839"/>
                <a:gd name="connsiteX85" fmla="*/ 470898 w 2145038"/>
                <a:gd name="connsiteY85" fmla="*/ 1680264 h 2089839"/>
                <a:gd name="connsiteX86" fmla="*/ 413748 w 2145038"/>
                <a:gd name="connsiteY86" fmla="*/ 1632639 h 2089839"/>
                <a:gd name="connsiteX87" fmla="*/ 401048 w 2145038"/>
                <a:gd name="connsiteY87" fmla="*/ 1623114 h 2089839"/>
                <a:gd name="connsiteX88" fmla="*/ 369298 w 2145038"/>
                <a:gd name="connsiteY88" fmla="*/ 1594539 h 2089839"/>
                <a:gd name="connsiteX89" fmla="*/ 328023 w 2145038"/>
                <a:gd name="connsiteY89" fmla="*/ 1569139 h 2089839"/>
                <a:gd name="connsiteX90" fmla="*/ 302623 w 2145038"/>
                <a:gd name="connsiteY90" fmla="*/ 1550089 h 2089839"/>
                <a:gd name="connsiteX91" fmla="*/ 223248 w 2145038"/>
                <a:gd name="connsiteY91" fmla="*/ 1480239 h 2089839"/>
                <a:gd name="connsiteX92" fmla="*/ 175623 w 2145038"/>
                <a:gd name="connsiteY92" fmla="*/ 1423089 h 2089839"/>
                <a:gd name="connsiteX93" fmla="*/ 118473 w 2145038"/>
                <a:gd name="connsiteY93" fmla="*/ 1350064 h 2089839"/>
                <a:gd name="connsiteX94" fmla="*/ 83548 w 2145038"/>
                <a:gd name="connsiteY94" fmla="*/ 1302439 h 2089839"/>
                <a:gd name="connsiteX95" fmla="*/ 64498 w 2145038"/>
                <a:gd name="connsiteY95" fmla="*/ 1277039 h 2089839"/>
                <a:gd name="connsiteX96" fmla="*/ 35923 w 2145038"/>
                <a:gd name="connsiteY96" fmla="*/ 1216714 h 2089839"/>
                <a:gd name="connsiteX97" fmla="*/ 26398 w 2145038"/>
                <a:gd name="connsiteY97" fmla="*/ 1181789 h 2089839"/>
                <a:gd name="connsiteX98" fmla="*/ 20048 w 2145038"/>
                <a:gd name="connsiteY98" fmla="*/ 1159564 h 2089839"/>
                <a:gd name="connsiteX99" fmla="*/ 16873 w 2145038"/>
                <a:gd name="connsiteY99" fmla="*/ 1143689 h 2089839"/>
                <a:gd name="connsiteX100" fmla="*/ 7348 w 2145038"/>
                <a:gd name="connsiteY100" fmla="*/ 1105589 h 2089839"/>
                <a:gd name="connsiteX101" fmla="*/ 998 w 2145038"/>
                <a:gd name="connsiteY101" fmla="*/ 1023039 h 2089839"/>
                <a:gd name="connsiteX102" fmla="*/ 10523 w 2145038"/>
                <a:gd name="connsiteY102" fmla="*/ 892864 h 2089839"/>
                <a:gd name="connsiteX103" fmla="*/ 35923 w 2145038"/>
                <a:gd name="connsiteY103" fmla="*/ 845239 h 2089839"/>
                <a:gd name="connsiteX104" fmla="*/ 51798 w 2145038"/>
                <a:gd name="connsiteY104" fmla="*/ 816664 h 2089839"/>
                <a:gd name="connsiteX105" fmla="*/ 83548 w 2145038"/>
                <a:gd name="connsiteY105" fmla="*/ 772214 h 2089839"/>
                <a:gd name="connsiteX106" fmla="*/ 99423 w 2145038"/>
                <a:gd name="connsiteY106" fmla="*/ 753164 h 2089839"/>
                <a:gd name="connsiteX107" fmla="*/ 143873 w 2145038"/>
                <a:gd name="connsiteY107" fmla="*/ 686489 h 2089839"/>
                <a:gd name="connsiteX108" fmla="*/ 308973 w 2145038"/>
                <a:gd name="connsiteY108" fmla="*/ 534089 h 2089839"/>
                <a:gd name="connsiteX109" fmla="*/ 366123 w 2145038"/>
                <a:gd name="connsiteY109" fmla="*/ 473764 h 2089839"/>
                <a:gd name="connsiteX110" fmla="*/ 416923 w 2145038"/>
                <a:gd name="connsiteY110" fmla="*/ 419789 h 2089839"/>
                <a:gd name="connsiteX111" fmla="*/ 445498 w 2145038"/>
                <a:gd name="connsiteY111" fmla="*/ 388039 h 2089839"/>
                <a:gd name="connsiteX112" fmla="*/ 493123 w 2145038"/>
                <a:gd name="connsiteY112" fmla="*/ 343589 h 2089839"/>
                <a:gd name="connsiteX113" fmla="*/ 712198 w 2145038"/>
                <a:gd name="connsiteY113" fmla="*/ 146739 h 2089839"/>
                <a:gd name="connsiteX114" fmla="*/ 750298 w 2145038"/>
                <a:gd name="connsiteY114" fmla="*/ 121339 h 2089839"/>
                <a:gd name="connsiteX115" fmla="*/ 785223 w 2145038"/>
                <a:gd name="connsiteY115" fmla="*/ 99114 h 2089839"/>
                <a:gd name="connsiteX116" fmla="*/ 883648 w 2145038"/>
                <a:gd name="connsiteY116" fmla="*/ 48314 h 2089839"/>
                <a:gd name="connsiteX117" fmla="*/ 1080498 w 2145038"/>
                <a:gd name="connsiteY117" fmla="*/ 689 h 2089839"/>
                <a:gd name="connsiteX118" fmla="*/ 1197973 w 2145038"/>
                <a:gd name="connsiteY11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71098 w 2145038"/>
                <a:gd name="connsiteY41" fmla="*/ 848414 h 2089839"/>
                <a:gd name="connsiteX42" fmla="*/ 2090148 w 2145038"/>
                <a:gd name="connsiteY42" fmla="*/ 905564 h 2089839"/>
                <a:gd name="connsiteX43" fmla="*/ 2131423 w 2145038"/>
                <a:gd name="connsiteY43" fmla="*/ 981764 h 2089839"/>
                <a:gd name="connsiteX44" fmla="*/ 2121898 w 2145038"/>
                <a:gd name="connsiteY44" fmla="*/ 1181789 h 2089839"/>
                <a:gd name="connsiteX45" fmla="*/ 1928223 w 2145038"/>
                <a:gd name="connsiteY45" fmla="*/ 1445314 h 2089839"/>
                <a:gd name="connsiteX46" fmla="*/ 1848848 w 2145038"/>
                <a:gd name="connsiteY46" fmla="*/ 1496114 h 2089839"/>
                <a:gd name="connsiteX47" fmla="*/ 1810748 w 2145038"/>
                <a:gd name="connsiteY47" fmla="*/ 1527864 h 2089839"/>
                <a:gd name="connsiteX48" fmla="*/ 1718673 w 2145038"/>
                <a:gd name="connsiteY48" fmla="*/ 1616764 h 2089839"/>
                <a:gd name="connsiteX49" fmla="*/ 1709148 w 2145038"/>
                <a:gd name="connsiteY49" fmla="*/ 1629464 h 2089839"/>
                <a:gd name="connsiteX50" fmla="*/ 1680573 w 2145038"/>
                <a:gd name="connsiteY50" fmla="*/ 1661214 h 2089839"/>
                <a:gd name="connsiteX51" fmla="*/ 1658348 w 2145038"/>
                <a:gd name="connsiteY51" fmla="*/ 1689789 h 2089839"/>
                <a:gd name="connsiteX52" fmla="*/ 1623423 w 2145038"/>
                <a:gd name="connsiteY52" fmla="*/ 1724714 h 2089839"/>
                <a:gd name="connsiteX53" fmla="*/ 1569448 w 2145038"/>
                <a:gd name="connsiteY53" fmla="*/ 1785039 h 2089839"/>
                <a:gd name="connsiteX54" fmla="*/ 1559923 w 2145038"/>
                <a:gd name="connsiteY54" fmla="*/ 1797739 h 2089839"/>
                <a:gd name="connsiteX55" fmla="*/ 1547223 w 2145038"/>
                <a:gd name="connsiteY55" fmla="*/ 1807264 h 2089839"/>
                <a:gd name="connsiteX56" fmla="*/ 1524998 w 2145038"/>
                <a:gd name="connsiteY56" fmla="*/ 1826314 h 2089839"/>
                <a:gd name="connsiteX57" fmla="*/ 1464673 w 2145038"/>
                <a:gd name="connsiteY57" fmla="*/ 1889814 h 2089839"/>
                <a:gd name="connsiteX58" fmla="*/ 1455148 w 2145038"/>
                <a:gd name="connsiteY58" fmla="*/ 1902514 h 2089839"/>
                <a:gd name="connsiteX59" fmla="*/ 1445623 w 2145038"/>
                <a:gd name="connsiteY59" fmla="*/ 1912039 h 2089839"/>
                <a:gd name="connsiteX60" fmla="*/ 1423398 w 2145038"/>
                <a:gd name="connsiteY60" fmla="*/ 1937439 h 2089839"/>
                <a:gd name="connsiteX61" fmla="*/ 1391648 w 2145038"/>
                <a:gd name="connsiteY61" fmla="*/ 1966014 h 2089839"/>
                <a:gd name="connsiteX62" fmla="*/ 1356723 w 2145038"/>
                <a:gd name="connsiteY62" fmla="*/ 1981889 h 2089839"/>
                <a:gd name="connsiteX63" fmla="*/ 1331323 w 2145038"/>
                <a:gd name="connsiteY63" fmla="*/ 1997764 h 2089839"/>
                <a:gd name="connsiteX64" fmla="*/ 1270998 w 2145038"/>
                <a:gd name="connsiteY64" fmla="*/ 2035864 h 2089839"/>
                <a:gd name="connsiteX65" fmla="*/ 1258298 w 2145038"/>
                <a:gd name="connsiteY65" fmla="*/ 2042214 h 2089839"/>
                <a:gd name="connsiteX66" fmla="*/ 1236073 w 2145038"/>
                <a:gd name="connsiteY66" fmla="*/ 2048564 h 2089839"/>
                <a:gd name="connsiteX67" fmla="*/ 1226548 w 2145038"/>
                <a:gd name="connsiteY67" fmla="*/ 2054914 h 2089839"/>
                <a:gd name="connsiteX68" fmla="*/ 1217023 w 2145038"/>
                <a:gd name="connsiteY68" fmla="*/ 2058089 h 2089839"/>
                <a:gd name="connsiteX69" fmla="*/ 1175748 w 2145038"/>
                <a:gd name="connsiteY69" fmla="*/ 2067614 h 2089839"/>
                <a:gd name="connsiteX70" fmla="*/ 1150348 w 2145038"/>
                <a:gd name="connsiteY70" fmla="*/ 2080314 h 2089839"/>
                <a:gd name="connsiteX71" fmla="*/ 1102723 w 2145038"/>
                <a:gd name="connsiteY71" fmla="*/ 2089839 h 2089839"/>
                <a:gd name="connsiteX72" fmla="*/ 928098 w 2145038"/>
                <a:gd name="connsiteY72" fmla="*/ 2080314 h 2089839"/>
                <a:gd name="connsiteX73" fmla="*/ 886823 w 2145038"/>
                <a:gd name="connsiteY73" fmla="*/ 2064439 h 2089839"/>
                <a:gd name="connsiteX74" fmla="*/ 845548 w 2145038"/>
                <a:gd name="connsiteY74" fmla="*/ 2045389 h 2089839"/>
                <a:gd name="connsiteX75" fmla="*/ 731248 w 2145038"/>
                <a:gd name="connsiteY75" fmla="*/ 1943789 h 2089839"/>
                <a:gd name="connsiteX76" fmla="*/ 715373 w 2145038"/>
                <a:gd name="connsiteY76" fmla="*/ 1927914 h 2089839"/>
                <a:gd name="connsiteX77" fmla="*/ 699498 w 2145038"/>
                <a:gd name="connsiteY77" fmla="*/ 1915214 h 2089839"/>
                <a:gd name="connsiteX78" fmla="*/ 680448 w 2145038"/>
                <a:gd name="connsiteY78" fmla="*/ 1896164 h 2089839"/>
                <a:gd name="connsiteX79" fmla="*/ 642348 w 2145038"/>
                <a:gd name="connsiteY79" fmla="*/ 1864414 h 2089839"/>
                <a:gd name="connsiteX80" fmla="*/ 601073 w 2145038"/>
                <a:gd name="connsiteY80" fmla="*/ 1816789 h 2089839"/>
                <a:gd name="connsiteX81" fmla="*/ 578848 w 2145038"/>
                <a:gd name="connsiteY81" fmla="*/ 1791389 h 2089839"/>
                <a:gd name="connsiteX82" fmla="*/ 537573 w 2145038"/>
                <a:gd name="connsiteY82" fmla="*/ 1750114 h 2089839"/>
                <a:gd name="connsiteX83" fmla="*/ 499473 w 2145038"/>
                <a:gd name="connsiteY83" fmla="*/ 1715189 h 2089839"/>
                <a:gd name="connsiteX84" fmla="*/ 470898 w 2145038"/>
                <a:gd name="connsiteY84" fmla="*/ 1680264 h 2089839"/>
                <a:gd name="connsiteX85" fmla="*/ 413748 w 2145038"/>
                <a:gd name="connsiteY85" fmla="*/ 1632639 h 2089839"/>
                <a:gd name="connsiteX86" fmla="*/ 401048 w 2145038"/>
                <a:gd name="connsiteY86" fmla="*/ 1623114 h 2089839"/>
                <a:gd name="connsiteX87" fmla="*/ 369298 w 2145038"/>
                <a:gd name="connsiteY87" fmla="*/ 1594539 h 2089839"/>
                <a:gd name="connsiteX88" fmla="*/ 328023 w 2145038"/>
                <a:gd name="connsiteY88" fmla="*/ 1569139 h 2089839"/>
                <a:gd name="connsiteX89" fmla="*/ 302623 w 2145038"/>
                <a:gd name="connsiteY89" fmla="*/ 1550089 h 2089839"/>
                <a:gd name="connsiteX90" fmla="*/ 223248 w 2145038"/>
                <a:gd name="connsiteY90" fmla="*/ 1480239 h 2089839"/>
                <a:gd name="connsiteX91" fmla="*/ 175623 w 2145038"/>
                <a:gd name="connsiteY91" fmla="*/ 1423089 h 2089839"/>
                <a:gd name="connsiteX92" fmla="*/ 118473 w 2145038"/>
                <a:gd name="connsiteY92" fmla="*/ 1350064 h 2089839"/>
                <a:gd name="connsiteX93" fmla="*/ 83548 w 2145038"/>
                <a:gd name="connsiteY93" fmla="*/ 1302439 h 2089839"/>
                <a:gd name="connsiteX94" fmla="*/ 64498 w 2145038"/>
                <a:gd name="connsiteY94" fmla="*/ 1277039 h 2089839"/>
                <a:gd name="connsiteX95" fmla="*/ 35923 w 2145038"/>
                <a:gd name="connsiteY95" fmla="*/ 1216714 h 2089839"/>
                <a:gd name="connsiteX96" fmla="*/ 26398 w 2145038"/>
                <a:gd name="connsiteY96" fmla="*/ 1181789 h 2089839"/>
                <a:gd name="connsiteX97" fmla="*/ 20048 w 2145038"/>
                <a:gd name="connsiteY97" fmla="*/ 1159564 h 2089839"/>
                <a:gd name="connsiteX98" fmla="*/ 16873 w 2145038"/>
                <a:gd name="connsiteY98" fmla="*/ 1143689 h 2089839"/>
                <a:gd name="connsiteX99" fmla="*/ 7348 w 2145038"/>
                <a:gd name="connsiteY99" fmla="*/ 1105589 h 2089839"/>
                <a:gd name="connsiteX100" fmla="*/ 998 w 2145038"/>
                <a:gd name="connsiteY100" fmla="*/ 1023039 h 2089839"/>
                <a:gd name="connsiteX101" fmla="*/ 10523 w 2145038"/>
                <a:gd name="connsiteY101" fmla="*/ 892864 h 2089839"/>
                <a:gd name="connsiteX102" fmla="*/ 35923 w 2145038"/>
                <a:gd name="connsiteY102" fmla="*/ 845239 h 2089839"/>
                <a:gd name="connsiteX103" fmla="*/ 51798 w 2145038"/>
                <a:gd name="connsiteY103" fmla="*/ 816664 h 2089839"/>
                <a:gd name="connsiteX104" fmla="*/ 83548 w 2145038"/>
                <a:gd name="connsiteY104" fmla="*/ 772214 h 2089839"/>
                <a:gd name="connsiteX105" fmla="*/ 99423 w 2145038"/>
                <a:gd name="connsiteY105" fmla="*/ 753164 h 2089839"/>
                <a:gd name="connsiteX106" fmla="*/ 143873 w 2145038"/>
                <a:gd name="connsiteY106" fmla="*/ 686489 h 2089839"/>
                <a:gd name="connsiteX107" fmla="*/ 308973 w 2145038"/>
                <a:gd name="connsiteY107" fmla="*/ 534089 h 2089839"/>
                <a:gd name="connsiteX108" fmla="*/ 366123 w 2145038"/>
                <a:gd name="connsiteY108" fmla="*/ 473764 h 2089839"/>
                <a:gd name="connsiteX109" fmla="*/ 416923 w 2145038"/>
                <a:gd name="connsiteY109" fmla="*/ 419789 h 2089839"/>
                <a:gd name="connsiteX110" fmla="*/ 445498 w 2145038"/>
                <a:gd name="connsiteY110" fmla="*/ 388039 h 2089839"/>
                <a:gd name="connsiteX111" fmla="*/ 493123 w 2145038"/>
                <a:gd name="connsiteY111" fmla="*/ 343589 h 2089839"/>
                <a:gd name="connsiteX112" fmla="*/ 712198 w 2145038"/>
                <a:gd name="connsiteY112" fmla="*/ 146739 h 2089839"/>
                <a:gd name="connsiteX113" fmla="*/ 750298 w 2145038"/>
                <a:gd name="connsiteY113" fmla="*/ 121339 h 2089839"/>
                <a:gd name="connsiteX114" fmla="*/ 785223 w 2145038"/>
                <a:gd name="connsiteY114" fmla="*/ 99114 h 2089839"/>
                <a:gd name="connsiteX115" fmla="*/ 883648 w 2145038"/>
                <a:gd name="connsiteY115" fmla="*/ 48314 h 2089839"/>
                <a:gd name="connsiteX116" fmla="*/ 1080498 w 2145038"/>
                <a:gd name="connsiteY116" fmla="*/ 689 h 2089839"/>
                <a:gd name="connsiteX117" fmla="*/ 1197973 w 2145038"/>
                <a:gd name="connsiteY11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1979023 w 2145038"/>
                <a:gd name="connsiteY40" fmla="*/ 730939 h 2089839"/>
                <a:gd name="connsiteX41" fmla="*/ 2090148 w 2145038"/>
                <a:gd name="connsiteY41" fmla="*/ 905564 h 2089839"/>
                <a:gd name="connsiteX42" fmla="*/ 2131423 w 2145038"/>
                <a:gd name="connsiteY42" fmla="*/ 981764 h 2089839"/>
                <a:gd name="connsiteX43" fmla="*/ 2121898 w 2145038"/>
                <a:gd name="connsiteY43" fmla="*/ 1181789 h 2089839"/>
                <a:gd name="connsiteX44" fmla="*/ 1928223 w 2145038"/>
                <a:gd name="connsiteY44" fmla="*/ 1445314 h 2089839"/>
                <a:gd name="connsiteX45" fmla="*/ 1848848 w 2145038"/>
                <a:gd name="connsiteY45" fmla="*/ 1496114 h 2089839"/>
                <a:gd name="connsiteX46" fmla="*/ 1810748 w 2145038"/>
                <a:gd name="connsiteY46" fmla="*/ 1527864 h 2089839"/>
                <a:gd name="connsiteX47" fmla="*/ 1718673 w 2145038"/>
                <a:gd name="connsiteY47" fmla="*/ 1616764 h 2089839"/>
                <a:gd name="connsiteX48" fmla="*/ 1709148 w 2145038"/>
                <a:gd name="connsiteY48" fmla="*/ 1629464 h 2089839"/>
                <a:gd name="connsiteX49" fmla="*/ 1680573 w 2145038"/>
                <a:gd name="connsiteY49" fmla="*/ 1661214 h 2089839"/>
                <a:gd name="connsiteX50" fmla="*/ 1658348 w 2145038"/>
                <a:gd name="connsiteY50" fmla="*/ 1689789 h 2089839"/>
                <a:gd name="connsiteX51" fmla="*/ 1623423 w 2145038"/>
                <a:gd name="connsiteY51" fmla="*/ 1724714 h 2089839"/>
                <a:gd name="connsiteX52" fmla="*/ 1569448 w 2145038"/>
                <a:gd name="connsiteY52" fmla="*/ 1785039 h 2089839"/>
                <a:gd name="connsiteX53" fmla="*/ 1559923 w 2145038"/>
                <a:gd name="connsiteY53" fmla="*/ 1797739 h 2089839"/>
                <a:gd name="connsiteX54" fmla="*/ 1547223 w 2145038"/>
                <a:gd name="connsiteY54" fmla="*/ 1807264 h 2089839"/>
                <a:gd name="connsiteX55" fmla="*/ 1524998 w 2145038"/>
                <a:gd name="connsiteY55" fmla="*/ 1826314 h 2089839"/>
                <a:gd name="connsiteX56" fmla="*/ 1464673 w 2145038"/>
                <a:gd name="connsiteY56" fmla="*/ 1889814 h 2089839"/>
                <a:gd name="connsiteX57" fmla="*/ 1455148 w 2145038"/>
                <a:gd name="connsiteY57" fmla="*/ 1902514 h 2089839"/>
                <a:gd name="connsiteX58" fmla="*/ 1445623 w 2145038"/>
                <a:gd name="connsiteY58" fmla="*/ 1912039 h 2089839"/>
                <a:gd name="connsiteX59" fmla="*/ 1423398 w 2145038"/>
                <a:gd name="connsiteY59" fmla="*/ 1937439 h 2089839"/>
                <a:gd name="connsiteX60" fmla="*/ 1391648 w 2145038"/>
                <a:gd name="connsiteY60" fmla="*/ 1966014 h 2089839"/>
                <a:gd name="connsiteX61" fmla="*/ 1356723 w 2145038"/>
                <a:gd name="connsiteY61" fmla="*/ 1981889 h 2089839"/>
                <a:gd name="connsiteX62" fmla="*/ 1331323 w 2145038"/>
                <a:gd name="connsiteY62" fmla="*/ 1997764 h 2089839"/>
                <a:gd name="connsiteX63" fmla="*/ 1270998 w 2145038"/>
                <a:gd name="connsiteY63" fmla="*/ 2035864 h 2089839"/>
                <a:gd name="connsiteX64" fmla="*/ 1258298 w 2145038"/>
                <a:gd name="connsiteY64" fmla="*/ 2042214 h 2089839"/>
                <a:gd name="connsiteX65" fmla="*/ 1236073 w 2145038"/>
                <a:gd name="connsiteY65" fmla="*/ 2048564 h 2089839"/>
                <a:gd name="connsiteX66" fmla="*/ 1226548 w 2145038"/>
                <a:gd name="connsiteY66" fmla="*/ 2054914 h 2089839"/>
                <a:gd name="connsiteX67" fmla="*/ 1217023 w 2145038"/>
                <a:gd name="connsiteY67" fmla="*/ 2058089 h 2089839"/>
                <a:gd name="connsiteX68" fmla="*/ 1175748 w 2145038"/>
                <a:gd name="connsiteY68" fmla="*/ 2067614 h 2089839"/>
                <a:gd name="connsiteX69" fmla="*/ 1150348 w 2145038"/>
                <a:gd name="connsiteY69" fmla="*/ 2080314 h 2089839"/>
                <a:gd name="connsiteX70" fmla="*/ 1102723 w 2145038"/>
                <a:gd name="connsiteY70" fmla="*/ 2089839 h 2089839"/>
                <a:gd name="connsiteX71" fmla="*/ 928098 w 2145038"/>
                <a:gd name="connsiteY71" fmla="*/ 2080314 h 2089839"/>
                <a:gd name="connsiteX72" fmla="*/ 886823 w 2145038"/>
                <a:gd name="connsiteY72" fmla="*/ 2064439 h 2089839"/>
                <a:gd name="connsiteX73" fmla="*/ 845548 w 2145038"/>
                <a:gd name="connsiteY73" fmla="*/ 2045389 h 2089839"/>
                <a:gd name="connsiteX74" fmla="*/ 731248 w 2145038"/>
                <a:gd name="connsiteY74" fmla="*/ 1943789 h 2089839"/>
                <a:gd name="connsiteX75" fmla="*/ 715373 w 2145038"/>
                <a:gd name="connsiteY75" fmla="*/ 1927914 h 2089839"/>
                <a:gd name="connsiteX76" fmla="*/ 699498 w 2145038"/>
                <a:gd name="connsiteY76" fmla="*/ 1915214 h 2089839"/>
                <a:gd name="connsiteX77" fmla="*/ 680448 w 2145038"/>
                <a:gd name="connsiteY77" fmla="*/ 1896164 h 2089839"/>
                <a:gd name="connsiteX78" fmla="*/ 642348 w 2145038"/>
                <a:gd name="connsiteY78" fmla="*/ 1864414 h 2089839"/>
                <a:gd name="connsiteX79" fmla="*/ 601073 w 2145038"/>
                <a:gd name="connsiteY79" fmla="*/ 1816789 h 2089839"/>
                <a:gd name="connsiteX80" fmla="*/ 578848 w 2145038"/>
                <a:gd name="connsiteY80" fmla="*/ 1791389 h 2089839"/>
                <a:gd name="connsiteX81" fmla="*/ 537573 w 2145038"/>
                <a:gd name="connsiteY81" fmla="*/ 1750114 h 2089839"/>
                <a:gd name="connsiteX82" fmla="*/ 499473 w 2145038"/>
                <a:gd name="connsiteY82" fmla="*/ 1715189 h 2089839"/>
                <a:gd name="connsiteX83" fmla="*/ 470898 w 2145038"/>
                <a:gd name="connsiteY83" fmla="*/ 1680264 h 2089839"/>
                <a:gd name="connsiteX84" fmla="*/ 413748 w 2145038"/>
                <a:gd name="connsiteY84" fmla="*/ 1632639 h 2089839"/>
                <a:gd name="connsiteX85" fmla="*/ 401048 w 2145038"/>
                <a:gd name="connsiteY85" fmla="*/ 1623114 h 2089839"/>
                <a:gd name="connsiteX86" fmla="*/ 369298 w 2145038"/>
                <a:gd name="connsiteY86" fmla="*/ 1594539 h 2089839"/>
                <a:gd name="connsiteX87" fmla="*/ 328023 w 2145038"/>
                <a:gd name="connsiteY87" fmla="*/ 1569139 h 2089839"/>
                <a:gd name="connsiteX88" fmla="*/ 302623 w 2145038"/>
                <a:gd name="connsiteY88" fmla="*/ 1550089 h 2089839"/>
                <a:gd name="connsiteX89" fmla="*/ 223248 w 2145038"/>
                <a:gd name="connsiteY89" fmla="*/ 1480239 h 2089839"/>
                <a:gd name="connsiteX90" fmla="*/ 175623 w 2145038"/>
                <a:gd name="connsiteY90" fmla="*/ 1423089 h 2089839"/>
                <a:gd name="connsiteX91" fmla="*/ 118473 w 2145038"/>
                <a:gd name="connsiteY91" fmla="*/ 1350064 h 2089839"/>
                <a:gd name="connsiteX92" fmla="*/ 83548 w 2145038"/>
                <a:gd name="connsiteY92" fmla="*/ 1302439 h 2089839"/>
                <a:gd name="connsiteX93" fmla="*/ 64498 w 2145038"/>
                <a:gd name="connsiteY93" fmla="*/ 1277039 h 2089839"/>
                <a:gd name="connsiteX94" fmla="*/ 35923 w 2145038"/>
                <a:gd name="connsiteY94" fmla="*/ 1216714 h 2089839"/>
                <a:gd name="connsiteX95" fmla="*/ 26398 w 2145038"/>
                <a:gd name="connsiteY95" fmla="*/ 1181789 h 2089839"/>
                <a:gd name="connsiteX96" fmla="*/ 20048 w 2145038"/>
                <a:gd name="connsiteY96" fmla="*/ 1159564 h 2089839"/>
                <a:gd name="connsiteX97" fmla="*/ 16873 w 2145038"/>
                <a:gd name="connsiteY97" fmla="*/ 1143689 h 2089839"/>
                <a:gd name="connsiteX98" fmla="*/ 7348 w 2145038"/>
                <a:gd name="connsiteY98" fmla="*/ 1105589 h 2089839"/>
                <a:gd name="connsiteX99" fmla="*/ 998 w 2145038"/>
                <a:gd name="connsiteY99" fmla="*/ 1023039 h 2089839"/>
                <a:gd name="connsiteX100" fmla="*/ 10523 w 2145038"/>
                <a:gd name="connsiteY100" fmla="*/ 892864 h 2089839"/>
                <a:gd name="connsiteX101" fmla="*/ 35923 w 2145038"/>
                <a:gd name="connsiteY101" fmla="*/ 845239 h 2089839"/>
                <a:gd name="connsiteX102" fmla="*/ 51798 w 2145038"/>
                <a:gd name="connsiteY102" fmla="*/ 816664 h 2089839"/>
                <a:gd name="connsiteX103" fmla="*/ 83548 w 2145038"/>
                <a:gd name="connsiteY103" fmla="*/ 772214 h 2089839"/>
                <a:gd name="connsiteX104" fmla="*/ 99423 w 2145038"/>
                <a:gd name="connsiteY104" fmla="*/ 753164 h 2089839"/>
                <a:gd name="connsiteX105" fmla="*/ 143873 w 2145038"/>
                <a:gd name="connsiteY105" fmla="*/ 686489 h 2089839"/>
                <a:gd name="connsiteX106" fmla="*/ 308973 w 2145038"/>
                <a:gd name="connsiteY106" fmla="*/ 534089 h 2089839"/>
                <a:gd name="connsiteX107" fmla="*/ 366123 w 2145038"/>
                <a:gd name="connsiteY107" fmla="*/ 473764 h 2089839"/>
                <a:gd name="connsiteX108" fmla="*/ 416923 w 2145038"/>
                <a:gd name="connsiteY108" fmla="*/ 419789 h 2089839"/>
                <a:gd name="connsiteX109" fmla="*/ 445498 w 2145038"/>
                <a:gd name="connsiteY109" fmla="*/ 388039 h 2089839"/>
                <a:gd name="connsiteX110" fmla="*/ 493123 w 2145038"/>
                <a:gd name="connsiteY110" fmla="*/ 343589 h 2089839"/>
                <a:gd name="connsiteX111" fmla="*/ 712198 w 2145038"/>
                <a:gd name="connsiteY111" fmla="*/ 146739 h 2089839"/>
                <a:gd name="connsiteX112" fmla="*/ 750298 w 2145038"/>
                <a:gd name="connsiteY112" fmla="*/ 121339 h 2089839"/>
                <a:gd name="connsiteX113" fmla="*/ 785223 w 2145038"/>
                <a:gd name="connsiteY113" fmla="*/ 99114 h 2089839"/>
                <a:gd name="connsiteX114" fmla="*/ 883648 w 2145038"/>
                <a:gd name="connsiteY114" fmla="*/ 48314 h 2089839"/>
                <a:gd name="connsiteX115" fmla="*/ 1080498 w 2145038"/>
                <a:gd name="connsiteY115" fmla="*/ 689 h 2089839"/>
                <a:gd name="connsiteX116" fmla="*/ 1197973 w 2145038"/>
                <a:gd name="connsiteY11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391648 w 2145038"/>
                <a:gd name="connsiteY12" fmla="*/ 149914 h 2089839"/>
                <a:gd name="connsiteX13" fmla="*/ 1432923 w 2145038"/>
                <a:gd name="connsiteY13" fmla="*/ 194364 h 2089839"/>
                <a:gd name="connsiteX14" fmla="*/ 1442448 w 2145038"/>
                <a:gd name="connsiteY14" fmla="*/ 207064 h 2089839"/>
                <a:gd name="connsiteX15" fmla="*/ 1455148 w 2145038"/>
                <a:gd name="connsiteY15" fmla="*/ 229289 h 2089839"/>
                <a:gd name="connsiteX16" fmla="*/ 1499598 w 2145038"/>
                <a:gd name="connsiteY16" fmla="*/ 270564 h 2089839"/>
                <a:gd name="connsiteX17" fmla="*/ 1512298 w 2145038"/>
                <a:gd name="connsiteY17" fmla="*/ 286439 h 2089839"/>
                <a:gd name="connsiteX18" fmla="*/ 1524998 w 2145038"/>
                <a:gd name="connsiteY18" fmla="*/ 299139 h 2089839"/>
                <a:gd name="connsiteX19" fmla="*/ 1531348 w 2145038"/>
                <a:gd name="connsiteY19" fmla="*/ 308664 h 2089839"/>
                <a:gd name="connsiteX20" fmla="*/ 1550398 w 2145038"/>
                <a:gd name="connsiteY20" fmla="*/ 327714 h 2089839"/>
                <a:gd name="connsiteX21" fmla="*/ 1559923 w 2145038"/>
                <a:gd name="connsiteY21" fmla="*/ 337239 h 2089839"/>
                <a:gd name="connsiteX22" fmla="*/ 1569448 w 2145038"/>
                <a:gd name="connsiteY22" fmla="*/ 349939 h 2089839"/>
                <a:gd name="connsiteX23" fmla="*/ 1594848 w 2145038"/>
                <a:gd name="connsiteY23" fmla="*/ 368989 h 2089839"/>
                <a:gd name="connsiteX24" fmla="*/ 1632948 w 2145038"/>
                <a:gd name="connsiteY24" fmla="*/ 400739 h 2089839"/>
                <a:gd name="connsiteX25" fmla="*/ 1648823 w 2145038"/>
                <a:gd name="connsiteY25" fmla="*/ 419789 h 2089839"/>
                <a:gd name="connsiteX26" fmla="*/ 1661523 w 2145038"/>
                <a:gd name="connsiteY26" fmla="*/ 429314 h 2089839"/>
                <a:gd name="connsiteX27" fmla="*/ 1683748 w 2145038"/>
                <a:gd name="connsiteY27" fmla="*/ 451539 h 2089839"/>
                <a:gd name="connsiteX28" fmla="*/ 1702798 w 2145038"/>
                <a:gd name="connsiteY28" fmla="*/ 470589 h 2089839"/>
                <a:gd name="connsiteX29" fmla="*/ 1712323 w 2145038"/>
                <a:gd name="connsiteY29" fmla="*/ 480114 h 2089839"/>
                <a:gd name="connsiteX30" fmla="*/ 1744073 w 2145038"/>
                <a:gd name="connsiteY30" fmla="*/ 505514 h 2089839"/>
                <a:gd name="connsiteX31" fmla="*/ 1753598 w 2145038"/>
                <a:gd name="connsiteY31" fmla="*/ 515039 h 2089839"/>
                <a:gd name="connsiteX32" fmla="*/ 1766298 w 2145038"/>
                <a:gd name="connsiteY32" fmla="*/ 524564 h 2089839"/>
                <a:gd name="connsiteX33" fmla="*/ 1782173 w 2145038"/>
                <a:gd name="connsiteY33" fmla="*/ 540439 h 2089839"/>
                <a:gd name="connsiteX34" fmla="*/ 1813923 w 2145038"/>
                <a:gd name="connsiteY34" fmla="*/ 565839 h 2089839"/>
                <a:gd name="connsiteX35" fmla="*/ 1817098 w 2145038"/>
                <a:gd name="connsiteY35" fmla="*/ 575364 h 2089839"/>
                <a:gd name="connsiteX36" fmla="*/ 1842498 w 2145038"/>
                <a:gd name="connsiteY36" fmla="*/ 597589 h 2089839"/>
                <a:gd name="connsiteX37" fmla="*/ 1893298 w 2145038"/>
                <a:gd name="connsiteY37" fmla="*/ 654739 h 2089839"/>
                <a:gd name="connsiteX38" fmla="*/ 1918698 w 2145038"/>
                <a:gd name="connsiteY38" fmla="*/ 673789 h 2089839"/>
                <a:gd name="connsiteX39" fmla="*/ 1931398 w 2145038"/>
                <a:gd name="connsiteY39" fmla="*/ 680139 h 2089839"/>
                <a:gd name="connsiteX40" fmla="*/ 2090148 w 2145038"/>
                <a:gd name="connsiteY40" fmla="*/ 905564 h 2089839"/>
                <a:gd name="connsiteX41" fmla="*/ 2131423 w 2145038"/>
                <a:gd name="connsiteY41" fmla="*/ 981764 h 2089839"/>
                <a:gd name="connsiteX42" fmla="*/ 2121898 w 2145038"/>
                <a:gd name="connsiteY42" fmla="*/ 1181789 h 2089839"/>
                <a:gd name="connsiteX43" fmla="*/ 1928223 w 2145038"/>
                <a:gd name="connsiteY43" fmla="*/ 1445314 h 2089839"/>
                <a:gd name="connsiteX44" fmla="*/ 1848848 w 2145038"/>
                <a:gd name="connsiteY44" fmla="*/ 1496114 h 2089839"/>
                <a:gd name="connsiteX45" fmla="*/ 1810748 w 2145038"/>
                <a:gd name="connsiteY45" fmla="*/ 1527864 h 2089839"/>
                <a:gd name="connsiteX46" fmla="*/ 1718673 w 2145038"/>
                <a:gd name="connsiteY46" fmla="*/ 1616764 h 2089839"/>
                <a:gd name="connsiteX47" fmla="*/ 1709148 w 2145038"/>
                <a:gd name="connsiteY47" fmla="*/ 1629464 h 2089839"/>
                <a:gd name="connsiteX48" fmla="*/ 1680573 w 2145038"/>
                <a:gd name="connsiteY48" fmla="*/ 1661214 h 2089839"/>
                <a:gd name="connsiteX49" fmla="*/ 1658348 w 2145038"/>
                <a:gd name="connsiteY49" fmla="*/ 1689789 h 2089839"/>
                <a:gd name="connsiteX50" fmla="*/ 1623423 w 2145038"/>
                <a:gd name="connsiteY50" fmla="*/ 1724714 h 2089839"/>
                <a:gd name="connsiteX51" fmla="*/ 1569448 w 2145038"/>
                <a:gd name="connsiteY51" fmla="*/ 1785039 h 2089839"/>
                <a:gd name="connsiteX52" fmla="*/ 1559923 w 2145038"/>
                <a:gd name="connsiteY52" fmla="*/ 1797739 h 2089839"/>
                <a:gd name="connsiteX53" fmla="*/ 1547223 w 2145038"/>
                <a:gd name="connsiteY53" fmla="*/ 1807264 h 2089839"/>
                <a:gd name="connsiteX54" fmla="*/ 1524998 w 2145038"/>
                <a:gd name="connsiteY54" fmla="*/ 1826314 h 2089839"/>
                <a:gd name="connsiteX55" fmla="*/ 1464673 w 2145038"/>
                <a:gd name="connsiteY55" fmla="*/ 1889814 h 2089839"/>
                <a:gd name="connsiteX56" fmla="*/ 1455148 w 2145038"/>
                <a:gd name="connsiteY56" fmla="*/ 1902514 h 2089839"/>
                <a:gd name="connsiteX57" fmla="*/ 1445623 w 2145038"/>
                <a:gd name="connsiteY57" fmla="*/ 1912039 h 2089839"/>
                <a:gd name="connsiteX58" fmla="*/ 1423398 w 2145038"/>
                <a:gd name="connsiteY58" fmla="*/ 1937439 h 2089839"/>
                <a:gd name="connsiteX59" fmla="*/ 1391648 w 2145038"/>
                <a:gd name="connsiteY59" fmla="*/ 1966014 h 2089839"/>
                <a:gd name="connsiteX60" fmla="*/ 1356723 w 2145038"/>
                <a:gd name="connsiteY60" fmla="*/ 1981889 h 2089839"/>
                <a:gd name="connsiteX61" fmla="*/ 1331323 w 2145038"/>
                <a:gd name="connsiteY61" fmla="*/ 1997764 h 2089839"/>
                <a:gd name="connsiteX62" fmla="*/ 1270998 w 2145038"/>
                <a:gd name="connsiteY62" fmla="*/ 2035864 h 2089839"/>
                <a:gd name="connsiteX63" fmla="*/ 1258298 w 2145038"/>
                <a:gd name="connsiteY63" fmla="*/ 2042214 h 2089839"/>
                <a:gd name="connsiteX64" fmla="*/ 1236073 w 2145038"/>
                <a:gd name="connsiteY64" fmla="*/ 2048564 h 2089839"/>
                <a:gd name="connsiteX65" fmla="*/ 1226548 w 2145038"/>
                <a:gd name="connsiteY65" fmla="*/ 2054914 h 2089839"/>
                <a:gd name="connsiteX66" fmla="*/ 1217023 w 2145038"/>
                <a:gd name="connsiteY66" fmla="*/ 2058089 h 2089839"/>
                <a:gd name="connsiteX67" fmla="*/ 1175748 w 2145038"/>
                <a:gd name="connsiteY67" fmla="*/ 2067614 h 2089839"/>
                <a:gd name="connsiteX68" fmla="*/ 1150348 w 2145038"/>
                <a:gd name="connsiteY68" fmla="*/ 2080314 h 2089839"/>
                <a:gd name="connsiteX69" fmla="*/ 1102723 w 2145038"/>
                <a:gd name="connsiteY69" fmla="*/ 2089839 h 2089839"/>
                <a:gd name="connsiteX70" fmla="*/ 928098 w 2145038"/>
                <a:gd name="connsiteY70" fmla="*/ 2080314 h 2089839"/>
                <a:gd name="connsiteX71" fmla="*/ 886823 w 2145038"/>
                <a:gd name="connsiteY71" fmla="*/ 2064439 h 2089839"/>
                <a:gd name="connsiteX72" fmla="*/ 845548 w 2145038"/>
                <a:gd name="connsiteY72" fmla="*/ 2045389 h 2089839"/>
                <a:gd name="connsiteX73" fmla="*/ 731248 w 2145038"/>
                <a:gd name="connsiteY73" fmla="*/ 1943789 h 2089839"/>
                <a:gd name="connsiteX74" fmla="*/ 715373 w 2145038"/>
                <a:gd name="connsiteY74" fmla="*/ 1927914 h 2089839"/>
                <a:gd name="connsiteX75" fmla="*/ 699498 w 2145038"/>
                <a:gd name="connsiteY75" fmla="*/ 1915214 h 2089839"/>
                <a:gd name="connsiteX76" fmla="*/ 680448 w 2145038"/>
                <a:gd name="connsiteY76" fmla="*/ 1896164 h 2089839"/>
                <a:gd name="connsiteX77" fmla="*/ 642348 w 2145038"/>
                <a:gd name="connsiteY77" fmla="*/ 1864414 h 2089839"/>
                <a:gd name="connsiteX78" fmla="*/ 601073 w 2145038"/>
                <a:gd name="connsiteY78" fmla="*/ 1816789 h 2089839"/>
                <a:gd name="connsiteX79" fmla="*/ 578848 w 2145038"/>
                <a:gd name="connsiteY79" fmla="*/ 1791389 h 2089839"/>
                <a:gd name="connsiteX80" fmla="*/ 537573 w 2145038"/>
                <a:gd name="connsiteY80" fmla="*/ 1750114 h 2089839"/>
                <a:gd name="connsiteX81" fmla="*/ 499473 w 2145038"/>
                <a:gd name="connsiteY81" fmla="*/ 1715189 h 2089839"/>
                <a:gd name="connsiteX82" fmla="*/ 470898 w 2145038"/>
                <a:gd name="connsiteY82" fmla="*/ 1680264 h 2089839"/>
                <a:gd name="connsiteX83" fmla="*/ 413748 w 2145038"/>
                <a:gd name="connsiteY83" fmla="*/ 1632639 h 2089839"/>
                <a:gd name="connsiteX84" fmla="*/ 401048 w 2145038"/>
                <a:gd name="connsiteY84" fmla="*/ 1623114 h 2089839"/>
                <a:gd name="connsiteX85" fmla="*/ 369298 w 2145038"/>
                <a:gd name="connsiteY85" fmla="*/ 1594539 h 2089839"/>
                <a:gd name="connsiteX86" fmla="*/ 328023 w 2145038"/>
                <a:gd name="connsiteY86" fmla="*/ 1569139 h 2089839"/>
                <a:gd name="connsiteX87" fmla="*/ 302623 w 2145038"/>
                <a:gd name="connsiteY87" fmla="*/ 1550089 h 2089839"/>
                <a:gd name="connsiteX88" fmla="*/ 223248 w 2145038"/>
                <a:gd name="connsiteY88" fmla="*/ 1480239 h 2089839"/>
                <a:gd name="connsiteX89" fmla="*/ 175623 w 2145038"/>
                <a:gd name="connsiteY89" fmla="*/ 1423089 h 2089839"/>
                <a:gd name="connsiteX90" fmla="*/ 118473 w 2145038"/>
                <a:gd name="connsiteY90" fmla="*/ 1350064 h 2089839"/>
                <a:gd name="connsiteX91" fmla="*/ 83548 w 2145038"/>
                <a:gd name="connsiteY91" fmla="*/ 1302439 h 2089839"/>
                <a:gd name="connsiteX92" fmla="*/ 64498 w 2145038"/>
                <a:gd name="connsiteY92" fmla="*/ 1277039 h 2089839"/>
                <a:gd name="connsiteX93" fmla="*/ 35923 w 2145038"/>
                <a:gd name="connsiteY93" fmla="*/ 1216714 h 2089839"/>
                <a:gd name="connsiteX94" fmla="*/ 26398 w 2145038"/>
                <a:gd name="connsiteY94" fmla="*/ 1181789 h 2089839"/>
                <a:gd name="connsiteX95" fmla="*/ 20048 w 2145038"/>
                <a:gd name="connsiteY95" fmla="*/ 1159564 h 2089839"/>
                <a:gd name="connsiteX96" fmla="*/ 16873 w 2145038"/>
                <a:gd name="connsiteY96" fmla="*/ 1143689 h 2089839"/>
                <a:gd name="connsiteX97" fmla="*/ 7348 w 2145038"/>
                <a:gd name="connsiteY97" fmla="*/ 1105589 h 2089839"/>
                <a:gd name="connsiteX98" fmla="*/ 998 w 2145038"/>
                <a:gd name="connsiteY98" fmla="*/ 1023039 h 2089839"/>
                <a:gd name="connsiteX99" fmla="*/ 10523 w 2145038"/>
                <a:gd name="connsiteY99" fmla="*/ 892864 h 2089839"/>
                <a:gd name="connsiteX100" fmla="*/ 35923 w 2145038"/>
                <a:gd name="connsiteY100" fmla="*/ 845239 h 2089839"/>
                <a:gd name="connsiteX101" fmla="*/ 51798 w 2145038"/>
                <a:gd name="connsiteY101" fmla="*/ 816664 h 2089839"/>
                <a:gd name="connsiteX102" fmla="*/ 83548 w 2145038"/>
                <a:gd name="connsiteY102" fmla="*/ 772214 h 2089839"/>
                <a:gd name="connsiteX103" fmla="*/ 99423 w 2145038"/>
                <a:gd name="connsiteY103" fmla="*/ 753164 h 2089839"/>
                <a:gd name="connsiteX104" fmla="*/ 143873 w 2145038"/>
                <a:gd name="connsiteY104" fmla="*/ 686489 h 2089839"/>
                <a:gd name="connsiteX105" fmla="*/ 308973 w 2145038"/>
                <a:gd name="connsiteY105" fmla="*/ 534089 h 2089839"/>
                <a:gd name="connsiteX106" fmla="*/ 366123 w 2145038"/>
                <a:gd name="connsiteY106" fmla="*/ 473764 h 2089839"/>
                <a:gd name="connsiteX107" fmla="*/ 416923 w 2145038"/>
                <a:gd name="connsiteY107" fmla="*/ 419789 h 2089839"/>
                <a:gd name="connsiteX108" fmla="*/ 445498 w 2145038"/>
                <a:gd name="connsiteY108" fmla="*/ 388039 h 2089839"/>
                <a:gd name="connsiteX109" fmla="*/ 493123 w 2145038"/>
                <a:gd name="connsiteY109" fmla="*/ 343589 h 2089839"/>
                <a:gd name="connsiteX110" fmla="*/ 712198 w 2145038"/>
                <a:gd name="connsiteY110" fmla="*/ 146739 h 2089839"/>
                <a:gd name="connsiteX111" fmla="*/ 750298 w 2145038"/>
                <a:gd name="connsiteY111" fmla="*/ 121339 h 2089839"/>
                <a:gd name="connsiteX112" fmla="*/ 785223 w 2145038"/>
                <a:gd name="connsiteY112" fmla="*/ 99114 h 2089839"/>
                <a:gd name="connsiteX113" fmla="*/ 883648 w 2145038"/>
                <a:gd name="connsiteY113" fmla="*/ 48314 h 2089839"/>
                <a:gd name="connsiteX114" fmla="*/ 1080498 w 2145038"/>
                <a:gd name="connsiteY114" fmla="*/ 689 h 2089839"/>
                <a:gd name="connsiteX115" fmla="*/ 1197973 w 2145038"/>
                <a:gd name="connsiteY11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42448 w 2145038"/>
                <a:gd name="connsiteY13" fmla="*/ 207064 h 2089839"/>
                <a:gd name="connsiteX14" fmla="*/ 1455148 w 2145038"/>
                <a:gd name="connsiteY14" fmla="*/ 229289 h 2089839"/>
                <a:gd name="connsiteX15" fmla="*/ 1499598 w 2145038"/>
                <a:gd name="connsiteY15" fmla="*/ 270564 h 2089839"/>
                <a:gd name="connsiteX16" fmla="*/ 1512298 w 2145038"/>
                <a:gd name="connsiteY16" fmla="*/ 286439 h 2089839"/>
                <a:gd name="connsiteX17" fmla="*/ 1524998 w 2145038"/>
                <a:gd name="connsiteY17" fmla="*/ 299139 h 2089839"/>
                <a:gd name="connsiteX18" fmla="*/ 1531348 w 2145038"/>
                <a:gd name="connsiteY18" fmla="*/ 308664 h 2089839"/>
                <a:gd name="connsiteX19" fmla="*/ 1550398 w 2145038"/>
                <a:gd name="connsiteY19" fmla="*/ 327714 h 2089839"/>
                <a:gd name="connsiteX20" fmla="*/ 1559923 w 2145038"/>
                <a:gd name="connsiteY20" fmla="*/ 337239 h 2089839"/>
                <a:gd name="connsiteX21" fmla="*/ 1569448 w 2145038"/>
                <a:gd name="connsiteY21" fmla="*/ 349939 h 2089839"/>
                <a:gd name="connsiteX22" fmla="*/ 1594848 w 2145038"/>
                <a:gd name="connsiteY22" fmla="*/ 368989 h 2089839"/>
                <a:gd name="connsiteX23" fmla="*/ 1632948 w 2145038"/>
                <a:gd name="connsiteY23" fmla="*/ 400739 h 2089839"/>
                <a:gd name="connsiteX24" fmla="*/ 1648823 w 2145038"/>
                <a:gd name="connsiteY24" fmla="*/ 419789 h 2089839"/>
                <a:gd name="connsiteX25" fmla="*/ 1661523 w 2145038"/>
                <a:gd name="connsiteY25" fmla="*/ 429314 h 2089839"/>
                <a:gd name="connsiteX26" fmla="*/ 1683748 w 2145038"/>
                <a:gd name="connsiteY26" fmla="*/ 451539 h 2089839"/>
                <a:gd name="connsiteX27" fmla="*/ 1702798 w 2145038"/>
                <a:gd name="connsiteY27" fmla="*/ 470589 h 2089839"/>
                <a:gd name="connsiteX28" fmla="*/ 1712323 w 2145038"/>
                <a:gd name="connsiteY28" fmla="*/ 480114 h 2089839"/>
                <a:gd name="connsiteX29" fmla="*/ 1744073 w 2145038"/>
                <a:gd name="connsiteY29" fmla="*/ 505514 h 2089839"/>
                <a:gd name="connsiteX30" fmla="*/ 1753598 w 2145038"/>
                <a:gd name="connsiteY30" fmla="*/ 515039 h 2089839"/>
                <a:gd name="connsiteX31" fmla="*/ 1766298 w 2145038"/>
                <a:gd name="connsiteY31" fmla="*/ 524564 h 2089839"/>
                <a:gd name="connsiteX32" fmla="*/ 1782173 w 2145038"/>
                <a:gd name="connsiteY32" fmla="*/ 540439 h 2089839"/>
                <a:gd name="connsiteX33" fmla="*/ 1813923 w 2145038"/>
                <a:gd name="connsiteY33" fmla="*/ 565839 h 2089839"/>
                <a:gd name="connsiteX34" fmla="*/ 1817098 w 2145038"/>
                <a:gd name="connsiteY34" fmla="*/ 575364 h 2089839"/>
                <a:gd name="connsiteX35" fmla="*/ 1842498 w 2145038"/>
                <a:gd name="connsiteY35" fmla="*/ 597589 h 2089839"/>
                <a:gd name="connsiteX36" fmla="*/ 1893298 w 2145038"/>
                <a:gd name="connsiteY36" fmla="*/ 654739 h 2089839"/>
                <a:gd name="connsiteX37" fmla="*/ 1918698 w 2145038"/>
                <a:gd name="connsiteY37" fmla="*/ 673789 h 2089839"/>
                <a:gd name="connsiteX38" fmla="*/ 1931398 w 2145038"/>
                <a:gd name="connsiteY38" fmla="*/ 680139 h 2089839"/>
                <a:gd name="connsiteX39" fmla="*/ 2090148 w 2145038"/>
                <a:gd name="connsiteY39" fmla="*/ 905564 h 2089839"/>
                <a:gd name="connsiteX40" fmla="*/ 2131423 w 2145038"/>
                <a:gd name="connsiteY40" fmla="*/ 981764 h 2089839"/>
                <a:gd name="connsiteX41" fmla="*/ 2121898 w 2145038"/>
                <a:gd name="connsiteY41" fmla="*/ 1181789 h 2089839"/>
                <a:gd name="connsiteX42" fmla="*/ 1928223 w 2145038"/>
                <a:gd name="connsiteY42" fmla="*/ 1445314 h 2089839"/>
                <a:gd name="connsiteX43" fmla="*/ 1848848 w 2145038"/>
                <a:gd name="connsiteY43" fmla="*/ 1496114 h 2089839"/>
                <a:gd name="connsiteX44" fmla="*/ 1810748 w 2145038"/>
                <a:gd name="connsiteY44" fmla="*/ 1527864 h 2089839"/>
                <a:gd name="connsiteX45" fmla="*/ 1718673 w 2145038"/>
                <a:gd name="connsiteY45" fmla="*/ 1616764 h 2089839"/>
                <a:gd name="connsiteX46" fmla="*/ 1709148 w 2145038"/>
                <a:gd name="connsiteY46" fmla="*/ 1629464 h 2089839"/>
                <a:gd name="connsiteX47" fmla="*/ 1680573 w 2145038"/>
                <a:gd name="connsiteY47" fmla="*/ 1661214 h 2089839"/>
                <a:gd name="connsiteX48" fmla="*/ 1658348 w 2145038"/>
                <a:gd name="connsiteY48" fmla="*/ 1689789 h 2089839"/>
                <a:gd name="connsiteX49" fmla="*/ 1623423 w 2145038"/>
                <a:gd name="connsiteY49" fmla="*/ 1724714 h 2089839"/>
                <a:gd name="connsiteX50" fmla="*/ 1569448 w 2145038"/>
                <a:gd name="connsiteY50" fmla="*/ 1785039 h 2089839"/>
                <a:gd name="connsiteX51" fmla="*/ 1559923 w 2145038"/>
                <a:gd name="connsiteY51" fmla="*/ 1797739 h 2089839"/>
                <a:gd name="connsiteX52" fmla="*/ 1547223 w 2145038"/>
                <a:gd name="connsiteY52" fmla="*/ 1807264 h 2089839"/>
                <a:gd name="connsiteX53" fmla="*/ 1524998 w 2145038"/>
                <a:gd name="connsiteY53" fmla="*/ 1826314 h 2089839"/>
                <a:gd name="connsiteX54" fmla="*/ 1464673 w 2145038"/>
                <a:gd name="connsiteY54" fmla="*/ 1889814 h 2089839"/>
                <a:gd name="connsiteX55" fmla="*/ 1455148 w 2145038"/>
                <a:gd name="connsiteY55" fmla="*/ 1902514 h 2089839"/>
                <a:gd name="connsiteX56" fmla="*/ 1445623 w 2145038"/>
                <a:gd name="connsiteY56" fmla="*/ 1912039 h 2089839"/>
                <a:gd name="connsiteX57" fmla="*/ 1423398 w 2145038"/>
                <a:gd name="connsiteY57" fmla="*/ 1937439 h 2089839"/>
                <a:gd name="connsiteX58" fmla="*/ 1391648 w 2145038"/>
                <a:gd name="connsiteY58" fmla="*/ 1966014 h 2089839"/>
                <a:gd name="connsiteX59" fmla="*/ 1356723 w 2145038"/>
                <a:gd name="connsiteY59" fmla="*/ 1981889 h 2089839"/>
                <a:gd name="connsiteX60" fmla="*/ 1331323 w 2145038"/>
                <a:gd name="connsiteY60" fmla="*/ 1997764 h 2089839"/>
                <a:gd name="connsiteX61" fmla="*/ 1270998 w 2145038"/>
                <a:gd name="connsiteY61" fmla="*/ 2035864 h 2089839"/>
                <a:gd name="connsiteX62" fmla="*/ 1258298 w 2145038"/>
                <a:gd name="connsiteY62" fmla="*/ 2042214 h 2089839"/>
                <a:gd name="connsiteX63" fmla="*/ 1236073 w 2145038"/>
                <a:gd name="connsiteY63" fmla="*/ 2048564 h 2089839"/>
                <a:gd name="connsiteX64" fmla="*/ 1226548 w 2145038"/>
                <a:gd name="connsiteY64" fmla="*/ 2054914 h 2089839"/>
                <a:gd name="connsiteX65" fmla="*/ 1217023 w 2145038"/>
                <a:gd name="connsiteY65" fmla="*/ 2058089 h 2089839"/>
                <a:gd name="connsiteX66" fmla="*/ 1175748 w 2145038"/>
                <a:gd name="connsiteY66" fmla="*/ 2067614 h 2089839"/>
                <a:gd name="connsiteX67" fmla="*/ 1150348 w 2145038"/>
                <a:gd name="connsiteY67" fmla="*/ 2080314 h 2089839"/>
                <a:gd name="connsiteX68" fmla="*/ 1102723 w 2145038"/>
                <a:gd name="connsiteY68" fmla="*/ 2089839 h 2089839"/>
                <a:gd name="connsiteX69" fmla="*/ 928098 w 2145038"/>
                <a:gd name="connsiteY69" fmla="*/ 2080314 h 2089839"/>
                <a:gd name="connsiteX70" fmla="*/ 886823 w 2145038"/>
                <a:gd name="connsiteY70" fmla="*/ 2064439 h 2089839"/>
                <a:gd name="connsiteX71" fmla="*/ 845548 w 2145038"/>
                <a:gd name="connsiteY71" fmla="*/ 2045389 h 2089839"/>
                <a:gd name="connsiteX72" fmla="*/ 731248 w 2145038"/>
                <a:gd name="connsiteY72" fmla="*/ 1943789 h 2089839"/>
                <a:gd name="connsiteX73" fmla="*/ 715373 w 2145038"/>
                <a:gd name="connsiteY73" fmla="*/ 1927914 h 2089839"/>
                <a:gd name="connsiteX74" fmla="*/ 699498 w 2145038"/>
                <a:gd name="connsiteY74" fmla="*/ 1915214 h 2089839"/>
                <a:gd name="connsiteX75" fmla="*/ 680448 w 2145038"/>
                <a:gd name="connsiteY75" fmla="*/ 1896164 h 2089839"/>
                <a:gd name="connsiteX76" fmla="*/ 642348 w 2145038"/>
                <a:gd name="connsiteY76" fmla="*/ 1864414 h 2089839"/>
                <a:gd name="connsiteX77" fmla="*/ 601073 w 2145038"/>
                <a:gd name="connsiteY77" fmla="*/ 1816789 h 2089839"/>
                <a:gd name="connsiteX78" fmla="*/ 578848 w 2145038"/>
                <a:gd name="connsiteY78" fmla="*/ 1791389 h 2089839"/>
                <a:gd name="connsiteX79" fmla="*/ 537573 w 2145038"/>
                <a:gd name="connsiteY79" fmla="*/ 1750114 h 2089839"/>
                <a:gd name="connsiteX80" fmla="*/ 499473 w 2145038"/>
                <a:gd name="connsiteY80" fmla="*/ 1715189 h 2089839"/>
                <a:gd name="connsiteX81" fmla="*/ 470898 w 2145038"/>
                <a:gd name="connsiteY81" fmla="*/ 1680264 h 2089839"/>
                <a:gd name="connsiteX82" fmla="*/ 413748 w 2145038"/>
                <a:gd name="connsiteY82" fmla="*/ 1632639 h 2089839"/>
                <a:gd name="connsiteX83" fmla="*/ 401048 w 2145038"/>
                <a:gd name="connsiteY83" fmla="*/ 1623114 h 2089839"/>
                <a:gd name="connsiteX84" fmla="*/ 369298 w 2145038"/>
                <a:gd name="connsiteY84" fmla="*/ 1594539 h 2089839"/>
                <a:gd name="connsiteX85" fmla="*/ 328023 w 2145038"/>
                <a:gd name="connsiteY85" fmla="*/ 1569139 h 2089839"/>
                <a:gd name="connsiteX86" fmla="*/ 302623 w 2145038"/>
                <a:gd name="connsiteY86" fmla="*/ 1550089 h 2089839"/>
                <a:gd name="connsiteX87" fmla="*/ 223248 w 2145038"/>
                <a:gd name="connsiteY87" fmla="*/ 1480239 h 2089839"/>
                <a:gd name="connsiteX88" fmla="*/ 175623 w 2145038"/>
                <a:gd name="connsiteY88" fmla="*/ 1423089 h 2089839"/>
                <a:gd name="connsiteX89" fmla="*/ 118473 w 2145038"/>
                <a:gd name="connsiteY89" fmla="*/ 1350064 h 2089839"/>
                <a:gd name="connsiteX90" fmla="*/ 83548 w 2145038"/>
                <a:gd name="connsiteY90" fmla="*/ 1302439 h 2089839"/>
                <a:gd name="connsiteX91" fmla="*/ 64498 w 2145038"/>
                <a:gd name="connsiteY91" fmla="*/ 1277039 h 2089839"/>
                <a:gd name="connsiteX92" fmla="*/ 35923 w 2145038"/>
                <a:gd name="connsiteY92" fmla="*/ 1216714 h 2089839"/>
                <a:gd name="connsiteX93" fmla="*/ 26398 w 2145038"/>
                <a:gd name="connsiteY93" fmla="*/ 1181789 h 2089839"/>
                <a:gd name="connsiteX94" fmla="*/ 20048 w 2145038"/>
                <a:gd name="connsiteY94" fmla="*/ 1159564 h 2089839"/>
                <a:gd name="connsiteX95" fmla="*/ 16873 w 2145038"/>
                <a:gd name="connsiteY95" fmla="*/ 1143689 h 2089839"/>
                <a:gd name="connsiteX96" fmla="*/ 7348 w 2145038"/>
                <a:gd name="connsiteY96" fmla="*/ 1105589 h 2089839"/>
                <a:gd name="connsiteX97" fmla="*/ 998 w 2145038"/>
                <a:gd name="connsiteY97" fmla="*/ 1023039 h 2089839"/>
                <a:gd name="connsiteX98" fmla="*/ 10523 w 2145038"/>
                <a:gd name="connsiteY98" fmla="*/ 892864 h 2089839"/>
                <a:gd name="connsiteX99" fmla="*/ 35923 w 2145038"/>
                <a:gd name="connsiteY99" fmla="*/ 845239 h 2089839"/>
                <a:gd name="connsiteX100" fmla="*/ 51798 w 2145038"/>
                <a:gd name="connsiteY100" fmla="*/ 816664 h 2089839"/>
                <a:gd name="connsiteX101" fmla="*/ 83548 w 2145038"/>
                <a:gd name="connsiteY101" fmla="*/ 772214 h 2089839"/>
                <a:gd name="connsiteX102" fmla="*/ 99423 w 2145038"/>
                <a:gd name="connsiteY102" fmla="*/ 753164 h 2089839"/>
                <a:gd name="connsiteX103" fmla="*/ 143873 w 2145038"/>
                <a:gd name="connsiteY103" fmla="*/ 686489 h 2089839"/>
                <a:gd name="connsiteX104" fmla="*/ 308973 w 2145038"/>
                <a:gd name="connsiteY104" fmla="*/ 534089 h 2089839"/>
                <a:gd name="connsiteX105" fmla="*/ 366123 w 2145038"/>
                <a:gd name="connsiteY105" fmla="*/ 473764 h 2089839"/>
                <a:gd name="connsiteX106" fmla="*/ 416923 w 2145038"/>
                <a:gd name="connsiteY106" fmla="*/ 419789 h 2089839"/>
                <a:gd name="connsiteX107" fmla="*/ 445498 w 2145038"/>
                <a:gd name="connsiteY107" fmla="*/ 388039 h 2089839"/>
                <a:gd name="connsiteX108" fmla="*/ 493123 w 2145038"/>
                <a:gd name="connsiteY108" fmla="*/ 343589 h 2089839"/>
                <a:gd name="connsiteX109" fmla="*/ 712198 w 2145038"/>
                <a:gd name="connsiteY109" fmla="*/ 146739 h 2089839"/>
                <a:gd name="connsiteX110" fmla="*/ 750298 w 2145038"/>
                <a:gd name="connsiteY110" fmla="*/ 121339 h 2089839"/>
                <a:gd name="connsiteX111" fmla="*/ 785223 w 2145038"/>
                <a:gd name="connsiteY111" fmla="*/ 99114 h 2089839"/>
                <a:gd name="connsiteX112" fmla="*/ 883648 w 2145038"/>
                <a:gd name="connsiteY112" fmla="*/ 48314 h 2089839"/>
                <a:gd name="connsiteX113" fmla="*/ 1080498 w 2145038"/>
                <a:gd name="connsiteY113" fmla="*/ 689 h 2089839"/>
                <a:gd name="connsiteX114" fmla="*/ 1197973 w 2145038"/>
                <a:gd name="connsiteY11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32923 w 2145038"/>
                <a:gd name="connsiteY12" fmla="*/ 194364 h 2089839"/>
                <a:gd name="connsiteX13" fmla="*/ 1455148 w 2145038"/>
                <a:gd name="connsiteY13" fmla="*/ 229289 h 2089839"/>
                <a:gd name="connsiteX14" fmla="*/ 1499598 w 2145038"/>
                <a:gd name="connsiteY14" fmla="*/ 270564 h 2089839"/>
                <a:gd name="connsiteX15" fmla="*/ 1512298 w 2145038"/>
                <a:gd name="connsiteY15" fmla="*/ 286439 h 2089839"/>
                <a:gd name="connsiteX16" fmla="*/ 1524998 w 2145038"/>
                <a:gd name="connsiteY16" fmla="*/ 299139 h 2089839"/>
                <a:gd name="connsiteX17" fmla="*/ 1531348 w 2145038"/>
                <a:gd name="connsiteY17" fmla="*/ 308664 h 2089839"/>
                <a:gd name="connsiteX18" fmla="*/ 1550398 w 2145038"/>
                <a:gd name="connsiteY18" fmla="*/ 327714 h 2089839"/>
                <a:gd name="connsiteX19" fmla="*/ 1559923 w 2145038"/>
                <a:gd name="connsiteY19" fmla="*/ 337239 h 2089839"/>
                <a:gd name="connsiteX20" fmla="*/ 1569448 w 2145038"/>
                <a:gd name="connsiteY20" fmla="*/ 349939 h 2089839"/>
                <a:gd name="connsiteX21" fmla="*/ 1594848 w 2145038"/>
                <a:gd name="connsiteY21" fmla="*/ 368989 h 2089839"/>
                <a:gd name="connsiteX22" fmla="*/ 1632948 w 2145038"/>
                <a:gd name="connsiteY22" fmla="*/ 400739 h 2089839"/>
                <a:gd name="connsiteX23" fmla="*/ 1648823 w 2145038"/>
                <a:gd name="connsiteY23" fmla="*/ 419789 h 2089839"/>
                <a:gd name="connsiteX24" fmla="*/ 1661523 w 2145038"/>
                <a:gd name="connsiteY24" fmla="*/ 429314 h 2089839"/>
                <a:gd name="connsiteX25" fmla="*/ 1683748 w 2145038"/>
                <a:gd name="connsiteY25" fmla="*/ 451539 h 2089839"/>
                <a:gd name="connsiteX26" fmla="*/ 1702798 w 2145038"/>
                <a:gd name="connsiteY26" fmla="*/ 470589 h 2089839"/>
                <a:gd name="connsiteX27" fmla="*/ 1712323 w 2145038"/>
                <a:gd name="connsiteY27" fmla="*/ 480114 h 2089839"/>
                <a:gd name="connsiteX28" fmla="*/ 1744073 w 2145038"/>
                <a:gd name="connsiteY28" fmla="*/ 505514 h 2089839"/>
                <a:gd name="connsiteX29" fmla="*/ 1753598 w 2145038"/>
                <a:gd name="connsiteY29" fmla="*/ 515039 h 2089839"/>
                <a:gd name="connsiteX30" fmla="*/ 1766298 w 2145038"/>
                <a:gd name="connsiteY30" fmla="*/ 524564 h 2089839"/>
                <a:gd name="connsiteX31" fmla="*/ 1782173 w 2145038"/>
                <a:gd name="connsiteY31" fmla="*/ 540439 h 2089839"/>
                <a:gd name="connsiteX32" fmla="*/ 1813923 w 2145038"/>
                <a:gd name="connsiteY32" fmla="*/ 565839 h 2089839"/>
                <a:gd name="connsiteX33" fmla="*/ 1817098 w 2145038"/>
                <a:gd name="connsiteY33" fmla="*/ 575364 h 2089839"/>
                <a:gd name="connsiteX34" fmla="*/ 1842498 w 2145038"/>
                <a:gd name="connsiteY34" fmla="*/ 597589 h 2089839"/>
                <a:gd name="connsiteX35" fmla="*/ 1893298 w 2145038"/>
                <a:gd name="connsiteY35" fmla="*/ 654739 h 2089839"/>
                <a:gd name="connsiteX36" fmla="*/ 1918698 w 2145038"/>
                <a:gd name="connsiteY36" fmla="*/ 673789 h 2089839"/>
                <a:gd name="connsiteX37" fmla="*/ 1931398 w 2145038"/>
                <a:gd name="connsiteY37" fmla="*/ 680139 h 2089839"/>
                <a:gd name="connsiteX38" fmla="*/ 2090148 w 2145038"/>
                <a:gd name="connsiteY38" fmla="*/ 905564 h 2089839"/>
                <a:gd name="connsiteX39" fmla="*/ 2131423 w 2145038"/>
                <a:gd name="connsiteY39" fmla="*/ 981764 h 2089839"/>
                <a:gd name="connsiteX40" fmla="*/ 2121898 w 2145038"/>
                <a:gd name="connsiteY40" fmla="*/ 1181789 h 2089839"/>
                <a:gd name="connsiteX41" fmla="*/ 1928223 w 2145038"/>
                <a:gd name="connsiteY41" fmla="*/ 1445314 h 2089839"/>
                <a:gd name="connsiteX42" fmla="*/ 1848848 w 2145038"/>
                <a:gd name="connsiteY42" fmla="*/ 1496114 h 2089839"/>
                <a:gd name="connsiteX43" fmla="*/ 1810748 w 2145038"/>
                <a:gd name="connsiteY43" fmla="*/ 1527864 h 2089839"/>
                <a:gd name="connsiteX44" fmla="*/ 1718673 w 2145038"/>
                <a:gd name="connsiteY44" fmla="*/ 1616764 h 2089839"/>
                <a:gd name="connsiteX45" fmla="*/ 1709148 w 2145038"/>
                <a:gd name="connsiteY45" fmla="*/ 1629464 h 2089839"/>
                <a:gd name="connsiteX46" fmla="*/ 1680573 w 2145038"/>
                <a:gd name="connsiteY46" fmla="*/ 1661214 h 2089839"/>
                <a:gd name="connsiteX47" fmla="*/ 1658348 w 2145038"/>
                <a:gd name="connsiteY47" fmla="*/ 1689789 h 2089839"/>
                <a:gd name="connsiteX48" fmla="*/ 1623423 w 2145038"/>
                <a:gd name="connsiteY48" fmla="*/ 1724714 h 2089839"/>
                <a:gd name="connsiteX49" fmla="*/ 1569448 w 2145038"/>
                <a:gd name="connsiteY49" fmla="*/ 1785039 h 2089839"/>
                <a:gd name="connsiteX50" fmla="*/ 1559923 w 2145038"/>
                <a:gd name="connsiteY50" fmla="*/ 1797739 h 2089839"/>
                <a:gd name="connsiteX51" fmla="*/ 1547223 w 2145038"/>
                <a:gd name="connsiteY51" fmla="*/ 1807264 h 2089839"/>
                <a:gd name="connsiteX52" fmla="*/ 1524998 w 2145038"/>
                <a:gd name="connsiteY52" fmla="*/ 1826314 h 2089839"/>
                <a:gd name="connsiteX53" fmla="*/ 1464673 w 2145038"/>
                <a:gd name="connsiteY53" fmla="*/ 1889814 h 2089839"/>
                <a:gd name="connsiteX54" fmla="*/ 1455148 w 2145038"/>
                <a:gd name="connsiteY54" fmla="*/ 1902514 h 2089839"/>
                <a:gd name="connsiteX55" fmla="*/ 1445623 w 2145038"/>
                <a:gd name="connsiteY55" fmla="*/ 1912039 h 2089839"/>
                <a:gd name="connsiteX56" fmla="*/ 1423398 w 2145038"/>
                <a:gd name="connsiteY56" fmla="*/ 1937439 h 2089839"/>
                <a:gd name="connsiteX57" fmla="*/ 1391648 w 2145038"/>
                <a:gd name="connsiteY57" fmla="*/ 1966014 h 2089839"/>
                <a:gd name="connsiteX58" fmla="*/ 1356723 w 2145038"/>
                <a:gd name="connsiteY58" fmla="*/ 1981889 h 2089839"/>
                <a:gd name="connsiteX59" fmla="*/ 1331323 w 2145038"/>
                <a:gd name="connsiteY59" fmla="*/ 1997764 h 2089839"/>
                <a:gd name="connsiteX60" fmla="*/ 1270998 w 2145038"/>
                <a:gd name="connsiteY60" fmla="*/ 2035864 h 2089839"/>
                <a:gd name="connsiteX61" fmla="*/ 1258298 w 2145038"/>
                <a:gd name="connsiteY61" fmla="*/ 2042214 h 2089839"/>
                <a:gd name="connsiteX62" fmla="*/ 1236073 w 2145038"/>
                <a:gd name="connsiteY62" fmla="*/ 2048564 h 2089839"/>
                <a:gd name="connsiteX63" fmla="*/ 1226548 w 2145038"/>
                <a:gd name="connsiteY63" fmla="*/ 2054914 h 2089839"/>
                <a:gd name="connsiteX64" fmla="*/ 1217023 w 2145038"/>
                <a:gd name="connsiteY64" fmla="*/ 2058089 h 2089839"/>
                <a:gd name="connsiteX65" fmla="*/ 1175748 w 2145038"/>
                <a:gd name="connsiteY65" fmla="*/ 2067614 h 2089839"/>
                <a:gd name="connsiteX66" fmla="*/ 1150348 w 2145038"/>
                <a:gd name="connsiteY66" fmla="*/ 2080314 h 2089839"/>
                <a:gd name="connsiteX67" fmla="*/ 1102723 w 2145038"/>
                <a:gd name="connsiteY67" fmla="*/ 2089839 h 2089839"/>
                <a:gd name="connsiteX68" fmla="*/ 928098 w 2145038"/>
                <a:gd name="connsiteY68" fmla="*/ 2080314 h 2089839"/>
                <a:gd name="connsiteX69" fmla="*/ 886823 w 2145038"/>
                <a:gd name="connsiteY69" fmla="*/ 2064439 h 2089839"/>
                <a:gd name="connsiteX70" fmla="*/ 845548 w 2145038"/>
                <a:gd name="connsiteY70" fmla="*/ 2045389 h 2089839"/>
                <a:gd name="connsiteX71" fmla="*/ 731248 w 2145038"/>
                <a:gd name="connsiteY71" fmla="*/ 1943789 h 2089839"/>
                <a:gd name="connsiteX72" fmla="*/ 715373 w 2145038"/>
                <a:gd name="connsiteY72" fmla="*/ 1927914 h 2089839"/>
                <a:gd name="connsiteX73" fmla="*/ 699498 w 2145038"/>
                <a:gd name="connsiteY73" fmla="*/ 1915214 h 2089839"/>
                <a:gd name="connsiteX74" fmla="*/ 680448 w 2145038"/>
                <a:gd name="connsiteY74" fmla="*/ 1896164 h 2089839"/>
                <a:gd name="connsiteX75" fmla="*/ 642348 w 2145038"/>
                <a:gd name="connsiteY75" fmla="*/ 1864414 h 2089839"/>
                <a:gd name="connsiteX76" fmla="*/ 601073 w 2145038"/>
                <a:gd name="connsiteY76" fmla="*/ 1816789 h 2089839"/>
                <a:gd name="connsiteX77" fmla="*/ 578848 w 2145038"/>
                <a:gd name="connsiteY77" fmla="*/ 1791389 h 2089839"/>
                <a:gd name="connsiteX78" fmla="*/ 537573 w 2145038"/>
                <a:gd name="connsiteY78" fmla="*/ 1750114 h 2089839"/>
                <a:gd name="connsiteX79" fmla="*/ 499473 w 2145038"/>
                <a:gd name="connsiteY79" fmla="*/ 1715189 h 2089839"/>
                <a:gd name="connsiteX80" fmla="*/ 470898 w 2145038"/>
                <a:gd name="connsiteY80" fmla="*/ 1680264 h 2089839"/>
                <a:gd name="connsiteX81" fmla="*/ 413748 w 2145038"/>
                <a:gd name="connsiteY81" fmla="*/ 1632639 h 2089839"/>
                <a:gd name="connsiteX82" fmla="*/ 401048 w 2145038"/>
                <a:gd name="connsiteY82" fmla="*/ 1623114 h 2089839"/>
                <a:gd name="connsiteX83" fmla="*/ 369298 w 2145038"/>
                <a:gd name="connsiteY83" fmla="*/ 1594539 h 2089839"/>
                <a:gd name="connsiteX84" fmla="*/ 328023 w 2145038"/>
                <a:gd name="connsiteY84" fmla="*/ 1569139 h 2089839"/>
                <a:gd name="connsiteX85" fmla="*/ 302623 w 2145038"/>
                <a:gd name="connsiteY85" fmla="*/ 1550089 h 2089839"/>
                <a:gd name="connsiteX86" fmla="*/ 223248 w 2145038"/>
                <a:gd name="connsiteY86" fmla="*/ 1480239 h 2089839"/>
                <a:gd name="connsiteX87" fmla="*/ 175623 w 2145038"/>
                <a:gd name="connsiteY87" fmla="*/ 1423089 h 2089839"/>
                <a:gd name="connsiteX88" fmla="*/ 118473 w 2145038"/>
                <a:gd name="connsiteY88" fmla="*/ 1350064 h 2089839"/>
                <a:gd name="connsiteX89" fmla="*/ 83548 w 2145038"/>
                <a:gd name="connsiteY89" fmla="*/ 1302439 h 2089839"/>
                <a:gd name="connsiteX90" fmla="*/ 64498 w 2145038"/>
                <a:gd name="connsiteY90" fmla="*/ 1277039 h 2089839"/>
                <a:gd name="connsiteX91" fmla="*/ 35923 w 2145038"/>
                <a:gd name="connsiteY91" fmla="*/ 1216714 h 2089839"/>
                <a:gd name="connsiteX92" fmla="*/ 26398 w 2145038"/>
                <a:gd name="connsiteY92" fmla="*/ 1181789 h 2089839"/>
                <a:gd name="connsiteX93" fmla="*/ 20048 w 2145038"/>
                <a:gd name="connsiteY93" fmla="*/ 1159564 h 2089839"/>
                <a:gd name="connsiteX94" fmla="*/ 16873 w 2145038"/>
                <a:gd name="connsiteY94" fmla="*/ 1143689 h 2089839"/>
                <a:gd name="connsiteX95" fmla="*/ 7348 w 2145038"/>
                <a:gd name="connsiteY95" fmla="*/ 1105589 h 2089839"/>
                <a:gd name="connsiteX96" fmla="*/ 998 w 2145038"/>
                <a:gd name="connsiteY96" fmla="*/ 1023039 h 2089839"/>
                <a:gd name="connsiteX97" fmla="*/ 10523 w 2145038"/>
                <a:gd name="connsiteY97" fmla="*/ 892864 h 2089839"/>
                <a:gd name="connsiteX98" fmla="*/ 35923 w 2145038"/>
                <a:gd name="connsiteY98" fmla="*/ 845239 h 2089839"/>
                <a:gd name="connsiteX99" fmla="*/ 51798 w 2145038"/>
                <a:gd name="connsiteY99" fmla="*/ 816664 h 2089839"/>
                <a:gd name="connsiteX100" fmla="*/ 83548 w 2145038"/>
                <a:gd name="connsiteY100" fmla="*/ 772214 h 2089839"/>
                <a:gd name="connsiteX101" fmla="*/ 99423 w 2145038"/>
                <a:gd name="connsiteY101" fmla="*/ 753164 h 2089839"/>
                <a:gd name="connsiteX102" fmla="*/ 143873 w 2145038"/>
                <a:gd name="connsiteY102" fmla="*/ 686489 h 2089839"/>
                <a:gd name="connsiteX103" fmla="*/ 308973 w 2145038"/>
                <a:gd name="connsiteY103" fmla="*/ 534089 h 2089839"/>
                <a:gd name="connsiteX104" fmla="*/ 366123 w 2145038"/>
                <a:gd name="connsiteY104" fmla="*/ 473764 h 2089839"/>
                <a:gd name="connsiteX105" fmla="*/ 416923 w 2145038"/>
                <a:gd name="connsiteY105" fmla="*/ 419789 h 2089839"/>
                <a:gd name="connsiteX106" fmla="*/ 445498 w 2145038"/>
                <a:gd name="connsiteY106" fmla="*/ 388039 h 2089839"/>
                <a:gd name="connsiteX107" fmla="*/ 493123 w 2145038"/>
                <a:gd name="connsiteY107" fmla="*/ 343589 h 2089839"/>
                <a:gd name="connsiteX108" fmla="*/ 712198 w 2145038"/>
                <a:gd name="connsiteY108" fmla="*/ 146739 h 2089839"/>
                <a:gd name="connsiteX109" fmla="*/ 750298 w 2145038"/>
                <a:gd name="connsiteY109" fmla="*/ 121339 h 2089839"/>
                <a:gd name="connsiteX110" fmla="*/ 785223 w 2145038"/>
                <a:gd name="connsiteY110" fmla="*/ 99114 h 2089839"/>
                <a:gd name="connsiteX111" fmla="*/ 883648 w 2145038"/>
                <a:gd name="connsiteY111" fmla="*/ 48314 h 2089839"/>
                <a:gd name="connsiteX112" fmla="*/ 1080498 w 2145038"/>
                <a:gd name="connsiteY112" fmla="*/ 689 h 2089839"/>
                <a:gd name="connsiteX113" fmla="*/ 1197973 w 2145038"/>
                <a:gd name="connsiteY11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382123 w 2145038"/>
                <a:gd name="connsiteY11" fmla="*/ 143564 h 2089839"/>
                <a:gd name="connsiteX12" fmla="*/ 1455148 w 2145038"/>
                <a:gd name="connsiteY12" fmla="*/ 229289 h 2089839"/>
                <a:gd name="connsiteX13" fmla="*/ 1499598 w 2145038"/>
                <a:gd name="connsiteY13" fmla="*/ 270564 h 2089839"/>
                <a:gd name="connsiteX14" fmla="*/ 1512298 w 2145038"/>
                <a:gd name="connsiteY14" fmla="*/ 286439 h 2089839"/>
                <a:gd name="connsiteX15" fmla="*/ 1524998 w 2145038"/>
                <a:gd name="connsiteY15" fmla="*/ 299139 h 2089839"/>
                <a:gd name="connsiteX16" fmla="*/ 1531348 w 2145038"/>
                <a:gd name="connsiteY16" fmla="*/ 308664 h 2089839"/>
                <a:gd name="connsiteX17" fmla="*/ 1550398 w 2145038"/>
                <a:gd name="connsiteY17" fmla="*/ 327714 h 2089839"/>
                <a:gd name="connsiteX18" fmla="*/ 1559923 w 2145038"/>
                <a:gd name="connsiteY18" fmla="*/ 337239 h 2089839"/>
                <a:gd name="connsiteX19" fmla="*/ 1569448 w 2145038"/>
                <a:gd name="connsiteY19" fmla="*/ 349939 h 2089839"/>
                <a:gd name="connsiteX20" fmla="*/ 1594848 w 2145038"/>
                <a:gd name="connsiteY20" fmla="*/ 368989 h 2089839"/>
                <a:gd name="connsiteX21" fmla="*/ 1632948 w 2145038"/>
                <a:gd name="connsiteY21" fmla="*/ 400739 h 2089839"/>
                <a:gd name="connsiteX22" fmla="*/ 1648823 w 2145038"/>
                <a:gd name="connsiteY22" fmla="*/ 419789 h 2089839"/>
                <a:gd name="connsiteX23" fmla="*/ 1661523 w 2145038"/>
                <a:gd name="connsiteY23" fmla="*/ 429314 h 2089839"/>
                <a:gd name="connsiteX24" fmla="*/ 1683748 w 2145038"/>
                <a:gd name="connsiteY24" fmla="*/ 451539 h 2089839"/>
                <a:gd name="connsiteX25" fmla="*/ 1702798 w 2145038"/>
                <a:gd name="connsiteY25" fmla="*/ 470589 h 2089839"/>
                <a:gd name="connsiteX26" fmla="*/ 1712323 w 2145038"/>
                <a:gd name="connsiteY26" fmla="*/ 480114 h 2089839"/>
                <a:gd name="connsiteX27" fmla="*/ 1744073 w 2145038"/>
                <a:gd name="connsiteY27" fmla="*/ 505514 h 2089839"/>
                <a:gd name="connsiteX28" fmla="*/ 1753598 w 2145038"/>
                <a:gd name="connsiteY28" fmla="*/ 515039 h 2089839"/>
                <a:gd name="connsiteX29" fmla="*/ 1766298 w 2145038"/>
                <a:gd name="connsiteY29" fmla="*/ 524564 h 2089839"/>
                <a:gd name="connsiteX30" fmla="*/ 1782173 w 2145038"/>
                <a:gd name="connsiteY30" fmla="*/ 540439 h 2089839"/>
                <a:gd name="connsiteX31" fmla="*/ 1813923 w 2145038"/>
                <a:gd name="connsiteY31" fmla="*/ 565839 h 2089839"/>
                <a:gd name="connsiteX32" fmla="*/ 1817098 w 2145038"/>
                <a:gd name="connsiteY32" fmla="*/ 575364 h 2089839"/>
                <a:gd name="connsiteX33" fmla="*/ 1842498 w 2145038"/>
                <a:gd name="connsiteY33" fmla="*/ 597589 h 2089839"/>
                <a:gd name="connsiteX34" fmla="*/ 1893298 w 2145038"/>
                <a:gd name="connsiteY34" fmla="*/ 654739 h 2089839"/>
                <a:gd name="connsiteX35" fmla="*/ 1918698 w 2145038"/>
                <a:gd name="connsiteY35" fmla="*/ 673789 h 2089839"/>
                <a:gd name="connsiteX36" fmla="*/ 1931398 w 2145038"/>
                <a:gd name="connsiteY36" fmla="*/ 680139 h 2089839"/>
                <a:gd name="connsiteX37" fmla="*/ 2090148 w 2145038"/>
                <a:gd name="connsiteY37" fmla="*/ 905564 h 2089839"/>
                <a:gd name="connsiteX38" fmla="*/ 2131423 w 2145038"/>
                <a:gd name="connsiteY38" fmla="*/ 981764 h 2089839"/>
                <a:gd name="connsiteX39" fmla="*/ 2121898 w 2145038"/>
                <a:gd name="connsiteY39" fmla="*/ 1181789 h 2089839"/>
                <a:gd name="connsiteX40" fmla="*/ 1928223 w 2145038"/>
                <a:gd name="connsiteY40" fmla="*/ 1445314 h 2089839"/>
                <a:gd name="connsiteX41" fmla="*/ 1848848 w 2145038"/>
                <a:gd name="connsiteY41" fmla="*/ 1496114 h 2089839"/>
                <a:gd name="connsiteX42" fmla="*/ 1810748 w 2145038"/>
                <a:gd name="connsiteY42" fmla="*/ 1527864 h 2089839"/>
                <a:gd name="connsiteX43" fmla="*/ 1718673 w 2145038"/>
                <a:gd name="connsiteY43" fmla="*/ 1616764 h 2089839"/>
                <a:gd name="connsiteX44" fmla="*/ 1709148 w 2145038"/>
                <a:gd name="connsiteY44" fmla="*/ 1629464 h 2089839"/>
                <a:gd name="connsiteX45" fmla="*/ 1680573 w 2145038"/>
                <a:gd name="connsiteY45" fmla="*/ 1661214 h 2089839"/>
                <a:gd name="connsiteX46" fmla="*/ 1658348 w 2145038"/>
                <a:gd name="connsiteY46" fmla="*/ 1689789 h 2089839"/>
                <a:gd name="connsiteX47" fmla="*/ 1623423 w 2145038"/>
                <a:gd name="connsiteY47" fmla="*/ 1724714 h 2089839"/>
                <a:gd name="connsiteX48" fmla="*/ 1569448 w 2145038"/>
                <a:gd name="connsiteY48" fmla="*/ 1785039 h 2089839"/>
                <a:gd name="connsiteX49" fmla="*/ 1559923 w 2145038"/>
                <a:gd name="connsiteY49" fmla="*/ 1797739 h 2089839"/>
                <a:gd name="connsiteX50" fmla="*/ 1547223 w 2145038"/>
                <a:gd name="connsiteY50" fmla="*/ 1807264 h 2089839"/>
                <a:gd name="connsiteX51" fmla="*/ 1524998 w 2145038"/>
                <a:gd name="connsiteY51" fmla="*/ 1826314 h 2089839"/>
                <a:gd name="connsiteX52" fmla="*/ 1464673 w 2145038"/>
                <a:gd name="connsiteY52" fmla="*/ 1889814 h 2089839"/>
                <a:gd name="connsiteX53" fmla="*/ 1455148 w 2145038"/>
                <a:gd name="connsiteY53" fmla="*/ 1902514 h 2089839"/>
                <a:gd name="connsiteX54" fmla="*/ 1445623 w 2145038"/>
                <a:gd name="connsiteY54" fmla="*/ 1912039 h 2089839"/>
                <a:gd name="connsiteX55" fmla="*/ 1423398 w 2145038"/>
                <a:gd name="connsiteY55" fmla="*/ 1937439 h 2089839"/>
                <a:gd name="connsiteX56" fmla="*/ 1391648 w 2145038"/>
                <a:gd name="connsiteY56" fmla="*/ 1966014 h 2089839"/>
                <a:gd name="connsiteX57" fmla="*/ 1356723 w 2145038"/>
                <a:gd name="connsiteY57" fmla="*/ 1981889 h 2089839"/>
                <a:gd name="connsiteX58" fmla="*/ 1331323 w 2145038"/>
                <a:gd name="connsiteY58" fmla="*/ 1997764 h 2089839"/>
                <a:gd name="connsiteX59" fmla="*/ 1270998 w 2145038"/>
                <a:gd name="connsiteY59" fmla="*/ 2035864 h 2089839"/>
                <a:gd name="connsiteX60" fmla="*/ 1258298 w 2145038"/>
                <a:gd name="connsiteY60" fmla="*/ 2042214 h 2089839"/>
                <a:gd name="connsiteX61" fmla="*/ 1236073 w 2145038"/>
                <a:gd name="connsiteY61" fmla="*/ 2048564 h 2089839"/>
                <a:gd name="connsiteX62" fmla="*/ 1226548 w 2145038"/>
                <a:gd name="connsiteY62" fmla="*/ 2054914 h 2089839"/>
                <a:gd name="connsiteX63" fmla="*/ 1217023 w 2145038"/>
                <a:gd name="connsiteY63" fmla="*/ 2058089 h 2089839"/>
                <a:gd name="connsiteX64" fmla="*/ 1175748 w 2145038"/>
                <a:gd name="connsiteY64" fmla="*/ 2067614 h 2089839"/>
                <a:gd name="connsiteX65" fmla="*/ 1150348 w 2145038"/>
                <a:gd name="connsiteY65" fmla="*/ 2080314 h 2089839"/>
                <a:gd name="connsiteX66" fmla="*/ 1102723 w 2145038"/>
                <a:gd name="connsiteY66" fmla="*/ 2089839 h 2089839"/>
                <a:gd name="connsiteX67" fmla="*/ 928098 w 2145038"/>
                <a:gd name="connsiteY67" fmla="*/ 2080314 h 2089839"/>
                <a:gd name="connsiteX68" fmla="*/ 886823 w 2145038"/>
                <a:gd name="connsiteY68" fmla="*/ 2064439 h 2089839"/>
                <a:gd name="connsiteX69" fmla="*/ 845548 w 2145038"/>
                <a:gd name="connsiteY69" fmla="*/ 2045389 h 2089839"/>
                <a:gd name="connsiteX70" fmla="*/ 731248 w 2145038"/>
                <a:gd name="connsiteY70" fmla="*/ 1943789 h 2089839"/>
                <a:gd name="connsiteX71" fmla="*/ 715373 w 2145038"/>
                <a:gd name="connsiteY71" fmla="*/ 1927914 h 2089839"/>
                <a:gd name="connsiteX72" fmla="*/ 699498 w 2145038"/>
                <a:gd name="connsiteY72" fmla="*/ 1915214 h 2089839"/>
                <a:gd name="connsiteX73" fmla="*/ 680448 w 2145038"/>
                <a:gd name="connsiteY73" fmla="*/ 1896164 h 2089839"/>
                <a:gd name="connsiteX74" fmla="*/ 642348 w 2145038"/>
                <a:gd name="connsiteY74" fmla="*/ 1864414 h 2089839"/>
                <a:gd name="connsiteX75" fmla="*/ 601073 w 2145038"/>
                <a:gd name="connsiteY75" fmla="*/ 1816789 h 2089839"/>
                <a:gd name="connsiteX76" fmla="*/ 578848 w 2145038"/>
                <a:gd name="connsiteY76" fmla="*/ 1791389 h 2089839"/>
                <a:gd name="connsiteX77" fmla="*/ 537573 w 2145038"/>
                <a:gd name="connsiteY77" fmla="*/ 1750114 h 2089839"/>
                <a:gd name="connsiteX78" fmla="*/ 499473 w 2145038"/>
                <a:gd name="connsiteY78" fmla="*/ 1715189 h 2089839"/>
                <a:gd name="connsiteX79" fmla="*/ 470898 w 2145038"/>
                <a:gd name="connsiteY79" fmla="*/ 1680264 h 2089839"/>
                <a:gd name="connsiteX80" fmla="*/ 413748 w 2145038"/>
                <a:gd name="connsiteY80" fmla="*/ 1632639 h 2089839"/>
                <a:gd name="connsiteX81" fmla="*/ 401048 w 2145038"/>
                <a:gd name="connsiteY81" fmla="*/ 1623114 h 2089839"/>
                <a:gd name="connsiteX82" fmla="*/ 369298 w 2145038"/>
                <a:gd name="connsiteY82" fmla="*/ 1594539 h 2089839"/>
                <a:gd name="connsiteX83" fmla="*/ 328023 w 2145038"/>
                <a:gd name="connsiteY83" fmla="*/ 1569139 h 2089839"/>
                <a:gd name="connsiteX84" fmla="*/ 302623 w 2145038"/>
                <a:gd name="connsiteY84" fmla="*/ 1550089 h 2089839"/>
                <a:gd name="connsiteX85" fmla="*/ 223248 w 2145038"/>
                <a:gd name="connsiteY85" fmla="*/ 1480239 h 2089839"/>
                <a:gd name="connsiteX86" fmla="*/ 175623 w 2145038"/>
                <a:gd name="connsiteY86" fmla="*/ 1423089 h 2089839"/>
                <a:gd name="connsiteX87" fmla="*/ 118473 w 2145038"/>
                <a:gd name="connsiteY87" fmla="*/ 1350064 h 2089839"/>
                <a:gd name="connsiteX88" fmla="*/ 83548 w 2145038"/>
                <a:gd name="connsiteY88" fmla="*/ 1302439 h 2089839"/>
                <a:gd name="connsiteX89" fmla="*/ 64498 w 2145038"/>
                <a:gd name="connsiteY89" fmla="*/ 1277039 h 2089839"/>
                <a:gd name="connsiteX90" fmla="*/ 35923 w 2145038"/>
                <a:gd name="connsiteY90" fmla="*/ 1216714 h 2089839"/>
                <a:gd name="connsiteX91" fmla="*/ 26398 w 2145038"/>
                <a:gd name="connsiteY91" fmla="*/ 1181789 h 2089839"/>
                <a:gd name="connsiteX92" fmla="*/ 20048 w 2145038"/>
                <a:gd name="connsiteY92" fmla="*/ 1159564 h 2089839"/>
                <a:gd name="connsiteX93" fmla="*/ 16873 w 2145038"/>
                <a:gd name="connsiteY93" fmla="*/ 1143689 h 2089839"/>
                <a:gd name="connsiteX94" fmla="*/ 7348 w 2145038"/>
                <a:gd name="connsiteY94" fmla="*/ 1105589 h 2089839"/>
                <a:gd name="connsiteX95" fmla="*/ 998 w 2145038"/>
                <a:gd name="connsiteY95" fmla="*/ 1023039 h 2089839"/>
                <a:gd name="connsiteX96" fmla="*/ 10523 w 2145038"/>
                <a:gd name="connsiteY96" fmla="*/ 892864 h 2089839"/>
                <a:gd name="connsiteX97" fmla="*/ 35923 w 2145038"/>
                <a:gd name="connsiteY97" fmla="*/ 845239 h 2089839"/>
                <a:gd name="connsiteX98" fmla="*/ 51798 w 2145038"/>
                <a:gd name="connsiteY98" fmla="*/ 816664 h 2089839"/>
                <a:gd name="connsiteX99" fmla="*/ 83548 w 2145038"/>
                <a:gd name="connsiteY99" fmla="*/ 772214 h 2089839"/>
                <a:gd name="connsiteX100" fmla="*/ 99423 w 2145038"/>
                <a:gd name="connsiteY100" fmla="*/ 753164 h 2089839"/>
                <a:gd name="connsiteX101" fmla="*/ 143873 w 2145038"/>
                <a:gd name="connsiteY101" fmla="*/ 686489 h 2089839"/>
                <a:gd name="connsiteX102" fmla="*/ 308973 w 2145038"/>
                <a:gd name="connsiteY102" fmla="*/ 534089 h 2089839"/>
                <a:gd name="connsiteX103" fmla="*/ 366123 w 2145038"/>
                <a:gd name="connsiteY103" fmla="*/ 473764 h 2089839"/>
                <a:gd name="connsiteX104" fmla="*/ 416923 w 2145038"/>
                <a:gd name="connsiteY104" fmla="*/ 419789 h 2089839"/>
                <a:gd name="connsiteX105" fmla="*/ 445498 w 2145038"/>
                <a:gd name="connsiteY105" fmla="*/ 388039 h 2089839"/>
                <a:gd name="connsiteX106" fmla="*/ 493123 w 2145038"/>
                <a:gd name="connsiteY106" fmla="*/ 343589 h 2089839"/>
                <a:gd name="connsiteX107" fmla="*/ 712198 w 2145038"/>
                <a:gd name="connsiteY107" fmla="*/ 146739 h 2089839"/>
                <a:gd name="connsiteX108" fmla="*/ 750298 w 2145038"/>
                <a:gd name="connsiteY108" fmla="*/ 121339 h 2089839"/>
                <a:gd name="connsiteX109" fmla="*/ 785223 w 2145038"/>
                <a:gd name="connsiteY109" fmla="*/ 99114 h 2089839"/>
                <a:gd name="connsiteX110" fmla="*/ 883648 w 2145038"/>
                <a:gd name="connsiteY110" fmla="*/ 48314 h 2089839"/>
                <a:gd name="connsiteX111" fmla="*/ 1080498 w 2145038"/>
                <a:gd name="connsiteY111" fmla="*/ 689 h 2089839"/>
                <a:gd name="connsiteX112" fmla="*/ 1197973 w 2145038"/>
                <a:gd name="connsiteY112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302623 w 2145038"/>
                <a:gd name="connsiteY83" fmla="*/ 1550089 h 2089839"/>
                <a:gd name="connsiteX84" fmla="*/ 223248 w 2145038"/>
                <a:gd name="connsiteY84" fmla="*/ 1480239 h 2089839"/>
                <a:gd name="connsiteX85" fmla="*/ 175623 w 2145038"/>
                <a:gd name="connsiteY85" fmla="*/ 1423089 h 2089839"/>
                <a:gd name="connsiteX86" fmla="*/ 118473 w 2145038"/>
                <a:gd name="connsiteY86" fmla="*/ 1350064 h 2089839"/>
                <a:gd name="connsiteX87" fmla="*/ 83548 w 2145038"/>
                <a:gd name="connsiteY87" fmla="*/ 1302439 h 2089839"/>
                <a:gd name="connsiteX88" fmla="*/ 64498 w 2145038"/>
                <a:gd name="connsiteY88" fmla="*/ 1277039 h 2089839"/>
                <a:gd name="connsiteX89" fmla="*/ 35923 w 2145038"/>
                <a:gd name="connsiteY89" fmla="*/ 1216714 h 2089839"/>
                <a:gd name="connsiteX90" fmla="*/ 26398 w 2145038"/>
                <a:gd name="connsiteY90" fmla="*/ 1181789 h 2089839"/>
                <a:gd name="connsiteX91" fmla="*/ 20048 w 2145038"/>
                <a:gd name="connsiteY91" fmla="*/ 1159564 h 2089839"/>
                <a:gd name="connsiteX92" fmla="*/ 16873 w 2145038"/>
                <a:gd name="connsiteY92" fmla="*/ 1143689 h 2089839"/>
                <a:gd name="connsiteX93" fmla="*/ 7348 w 2145038"/>
                <a:gd name="connsiteY93" fmla="*/ 1105589 h 2089839"/>
                <a:gd name="connsiteX94" fmla="*/ 998 w 2145038"/>
                <a:gd name="connsiteY94" fmla="*/ 1023039 h 2089839"/>
                <a:gd name="connsiteX95" fmla="*/ 10523 w 2145038"/>
                <a:gd name="connsiteY95" fmla="*/ 892864 h 2089839"/>
                <a:gd name="connsiteX96" fmla="*/ 35923 w 2145038"/>
                <a:gd name="connsiteY96" fmla="*/ 845239 h 2089839"/>
                <a:gd name="connsiteX97" fmla="*/ 51798 w 2145038"/>
                <a:gd name="connsiteY97" fmla="*/ 816664 h 2089839"/>
                <a:gd name="connsiteX98" fmla="*/ 83548 w 2145038"/>
                <a:gd name="connsiteY98" fmla="*/ 772214 h 2089839"/>
                <a:gd name="connsiteX99" fmla="*/ 99423 w 2145038"/>
                <a:gd name="connsiteY99" fmla="*/ 753164 h 2089839"/>
                <a:gd name="connsiteX100" fmla="*/ 143873 w 2145038"/>
                <a:gd name="connsiteY100" fmla="*/ 686489 h 2089839"/>
                <a:gd name="connsiteX101" fmla="*/ 308973 w 2145038"/>
                <a:gd name="connsiteY101" fmla="*/ 534089 h 2089839"/>
                <a:gd name="connsiteX102" fmla="*/ 366123 w 2145038"/>
                <a:gd name="connsiteY102" fmla="*/ 473764 h 2089839"/>
                <a:gd name="connsiteX103" fmla="*/ 416923 w 2145038"/>
                <a:gd name="connsiteY103" fmla="*/ 419789 h 2089839"/>
                <a:gd name="connsiteX104" fmla="*/ 445498 w 2145038"/>
                <a:gd name="connsiteY104" fmla="*/ 388039 h 2089839"/>
                <a:gd name="connsiteX105" fmla="*/ 493123 w 2145038"/>
                <a:gd name="connsiteY105" fmla="*/ 343589 h 2089839"/>
                <a:gd name="connsiteX106" fmla="*/ 712198 w 2145038"/>
                <a:gd name="connsiteY106" fmla="*/ 146739 h 2089839"/>
                <a:gd name="connsiteX107" fmla="*/ 750298 w 2145038"/>
                <a:gd name="connsiteY107" fmla="*/ 121339 h 2089839"/>
                <a:gd name="connsiteX108" fmla="*/ 785223 w 2145038"/>
                <a:gd name="connsiteY108" fmla="*/ 99114 h 2089839"/>
                <a:gd name="connsiteX109" fmla="*/ 883648 w 2145038"/>
                <a:gd name="connsiteY109" fmla="*/ 48314 h 2089839"/>
                <a:gd name="connsiteX110" fmla="*/ 1080498 w 2145038"/>
                <a:gd name="connsiteY110" fmla="*/ 689 h 2089839"/>
                <a:gd name="connsiteX111" fmla="*/ 1197973 w 2145038"/>
                <a:gd name="connsiteY111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223248 w 2145038"/>
                <a:gd name="connsiteY83" fmla="*/ 1480239 h 2089839"/>
                <a:gd name="connsiteX84" fmla="*/ 175623 w 2145038"/>
                <a:gd name="connsiteY84" fmla="*/ 1423089 h 2089839"/>
                <a:gd name="connsiteX85" fmla="*/ 118473 w 2145038"/>
                <a:gd name="connsiteY85" fmla="*/ 1350064 h 2089839"/>
                <a:gd name="connsiteX86" fmla="*/ 83548 w 2145038"/>
                <a:gd name="connsiteY86" fmla="*/ 1302439 h 2089839"/>
                <a:gd name="connsiteX87" fmla="*/ 64498 w 2145038"/>
                <a:gd name="connsiteY87" fmla="*/ 1277039 h 2089839"/>
                <a:gd name="connsiteX88" fmla="*/ 35923 w 2145038"/>
                <a:gd name="connsiteY88" fmla="*/ 1216714 h 2089839"/>
                <a:gd name="connsiteX89" fmla="*/ 26398 w 2145038"/>
                <a:gd name="connsiteY89" fmla="*/ 1181789 h 2089839"/>
                <a:gd name="connsiteX90" fmla="*/ 20048 w 2145038"/>
                <a:gd name="connsiteY90" fmla="*/ 1159564 h 2089839"/>
                <a:gd name="connsiteX91" fmla="*/ 16873 w 2145038"/>
                <a:gd name="connsiteY91" fmla="*/ 1143689 h 2089839"/>
                <a:gd name="connsiteX92" fmla="*/ 7348 w 2145038"/>
                <a:gd name="connsiteY92" fmla="*/ 1105589 h 2089839"/>
                <a:gd name="connsiteX93" fmla="*/ 998 w 2145038"/>
                <a:gd name="connsiteY93" fmla="*/ 1023039 h 2089839"/>
                <a:gd name="connsiteX94" fmla="*/ 10523 w 2145038"/>
                <a:gd name="connsiteY94" fmla="*/ 892864 h 2089839"/>
                <a:gd name="connsiteX95" fmla="*/ 35923 w 2145038"/>
                <a:gd name="connsiteY95" fmla="*/ 845239 h 2089839"/>
                <a:gd name="connsiteX96" fmla="*/ 51798 w 2145038"/>
                <a:gd name="connsiteY96" fmla="*/ 816664 h 2089839"/>
                <a:gd name="connsiteX97" fmla="*/ 83548 w 2145038"/>
                <a:gd name="connsiteY97" fmla="*/ 772214 h 2089839"/>
                <a:gd name="connsiteX98" fmla="*/ 99423 w 2145038"/>
                <a:gd name="connsiteY98" fmla="*/ 753164 h 2089839"/>
                <a:gd name="connsiteX99" fmla="*/ 143873 w 2145038"/>
                <a:gd name="connsiteY99" fmla="*/ 686489 h 2089839"/>
                <a:gd name="connsiteX100" fmla="*/ 308973 w 2145038"/>
                <a:gd name="connsiteY100" fmla="*/ 534089 h 2089839"/>
                <a:gd name="connsiteX101" fmla="*/ 366123 w 2145038"/>
                <a:gd name="connsiteY101" fmla="*/ 473764 h 2089839"/>
                <a:gd name="connsiteX102" fmla="*/ 416923 w 2145038"/>
                <a:gd name="connsiteY102" fmla="*/ 419789 h 2089839"/>
                <a:gd name="connsiteX103" fmla="*/ 445498 w 2145038"/>
                <a:gd name="connsiteY103" fmla="*/ 388039 h 2089839"/>
                <a:gd name="connsiteX104" fmla="*/ 493123 w 2145038"/>
                <a:gd name="connsiteY104" fmla="*/ 343589 h 2089839"/>
                <a:gd name="connsiteX105" fmla="*/ 712198 w 2145038"/>
                <a:gd name="connsiteY105" fmla="*/ 146739 h 2089839"/>
                <a:gd name="connsiteX106" fmla="*/ 750298 w 2145038"/>
                <a:gd name="connsiteY106" fmla="*/ 121339 h 2089839"/>
                <a:gd name="connsiteX107" fmla="*/ 785223 w 2145038"/>
                <a:gd name="connsiteY107" fmla="*/ 99114 h 2089839"/>
                <a:gd name="connsiteX108" fmla="*/ 883648 w 2145038"/>
                <a:gd name="connsiteY108" fmla="*/ 48314 h 2089839"/>
                <a:gd name="connsiteX109" fmla="*/ 1080498 w 2145038"/>
                <a:gd name="connsiteY109" fmla="*/ 689 h 2089839"/>
                <a:gd name="connsiteX110" fmla="*/ 1197973 w 2145038"/>
                <a:gd name="connsiteY110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75623 w 2145038"/>
                <a:gd name="connsiteY83" fmla="*/ 1423089 h 2089839"/>
                <a:gd name="connsiteX84" fmla="*/ 118473 w 2145038"/>
                <a:gd name="connsiteY84" fmla="*/ 1350064 h 2089839"/>
                <a:gd name="connsiteX85" fmla="*/ 83548 w 2145038"/>
                <a:gd name="connsiteY85" fmla="*/ 1302439 h 2089839"/>
                <a:gd name="connsiteX86" fmla="*/ 64498 w 2145038"/>
                <a:gd name="connsiteY86" fmla="*/ 1277039 h 2089839"/>
                <a:gd name="connsiteX87" fmla="*/ 35923 w 2145038"/>
                <a:gd name="connsiteY87" fmla="*/ 1216714 h 2089839"/>
                <a:gd name="connsiteX88" fmla="*/ 26398 w 2145038"/>
                <a:gd name="connsiteY88" fmla="*/ 1181789 h 2089839"/>
                <a:gd name="connsiteX89" fmla="*/ 20048 w 2145038"/>
                <a:gd name="connsiteY89" fmla="*/ 1159564 h 2089839"/>
                <a:gd name="connsiteX90" fmla="*/ 16873 w 2145038"/>
                <a:gd name="connsiteY90" fmla="*/ 1143689 h 2089839"/>
                <a:gd name="connsiteX91" fmla="*/ 7348 w 2145038"/>
                <a:gd name="connsiteY91" fmla="*/ 1105589 h 2089839"/>
                <a:gd name="connsiteX92" fmla="*/ 998 w 2145038"/>
                <a:gd name="connsiteY92" fmla="*/ 1023039 h 2089839"/>
                <a:gd name="connsiteX93" fmla="*/ 10523 w 2145038"/>
                <a:gd name="connsiteY93" fmla="*/ 892864 h 2089839"/>
                <a:gd name="connsiteX94" fmla="*/ 35923 w 2145038"/>
                <a:gd name="connsiteY94" fmla="*/ 845239 h 2089839"/>
                <a:gd name="connsiteX95" fmla="*/ 51798 w 2145038"/>
                <a:gd name="connsiteY95" fmla="*/ 816664 h 2089839"/>
                <a:gd name="connsiteX96" fmla="*/ 83548 w 2145038"/>
                <a:gd name="connsiteY96" fmla="*/ 772214 h 2089839"/>
                <a:gd name="connsiteX97" fmla="*/ 99423 w 2145038"/>
                <a:gd name="connsiteY97" fmla="*/ 753164 h 2089839"/>
                <a:gd name="connsiteX98" fmla="*/ 143873 w 2145038"/>
                <a:gd name="connsiteY98" fmla="*/ 686489 h 2089839"/>
                <a:gd name="connsiteX99" fmla="*/ 308973 w 2145038"/>
                <a:gd name="connsiteY99" fmla="*/ 534089 h 2089839"/>
                <a:gd name="connsiteX100" fmla="*/ 366123 w 2145038"/>
                <a:gd name="connsiteY100" fmla="*/ 473764 h 2089839"/>
                <a:gd name="connsiteX101" fmla="*/ 416923 w 2145038"/>
                <a:gd name="connsiteY101" fmla="*/ 419789 h 2089839"/>
                <a:gd name="connsiteX102" fmla="*/ 445498 w 2145038"/>
                <a:gd name="connsiteY102" fmla="*/ 388039 h 2089839"/>
                <a:gd name="connsiteX103" fmla="*/ 493123 w 2145038"/>
                <a:gd name="connsiteY103" fmla="*/ 343589 h 2089839"/>
                <a:gd name="connsiteX104" fmla="*/ 712198 w 2145038"/>
                <a:gd name="connsiteY104" fmla="*/ 146739 h 2089839"/>
                <a:gd name="connsiteX105" fmla="*/ 750298 w 2145038"/>
                <a:gd name="connsiteY105" fmla="*/ 121339 h 2089839"/>
                <a:gd name="connsiteX106" fmla="*/ 785223 w 2145038"/>
                <a:gd name="connsiteY106" fmla="*/ 99114 h 2089839"/>
                <a:gd name="connsiteX107" fmla="*/ 883648 w 2145038"/>
                <a:gd name="connsiteY107" fmla="*/ 48314 h 2089839"/>
                <a:gd name="connsiteX108" fmla="*/ 1080498 w 2145038"/>
                <a:gd name="connsiteY108" fmla="*/ 689 h 2089839"/>
                <a:gd name="connsiteX109" fmla="*/ 1197973 w 2145038"/>
                <a:gd name="connsiteY109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328023 w 2145038"/>
                <a:gd name="connsiteY82" fmla="*/ 1569139 h 2089839"/>
                <a:gd name="connsiteX83" fmla="*/ 118473 w 2145038"/>
                <a:gd name="connsiteY83" fmla="*/ 1350064 h 2089839"/>
                <a:gd name="connsiteX84" fmla="*/ 83548 w 2145038"/>
                <a:gd name="connsiteY84" fmla="*/ 1302439 h 2089839"/>
                <a:gd name="connsiteX85" fmla="*/ 64498 w 2145038"/>
                <a:gd name="connsiteY85" fmla="*/ 1277039 h 2089839"/>
                <a:gd name="connsiteX86" fmla="*/ 35923 w 2145038"/>
                <a:gd name="connsiteY86" fmla="*/ 1216714 h 2089839"/>
                <a:gd name="connsiteX87" fmla="*/ 26398 w 2145038"/>
                <a:gd name="connsiteY87" fmla="*/ 1181789 h 2089839"/>
                <a:gd name="connsiteX88" fmla="*/ 20048 w 2145038"/>
                <a:gd name="connsiteY88" fmla="*/ 1159564 h 2089839"/>
                <a:gd name="connsiteX89" fmla="*/ 16873 w 2145038"/>
                <a:gd name="connsiteY89" fmla="*/ 1143689 h 2089839"/>
                <a:gd name="connsiteX90" fmla="*/ 7348 w 2145038"/>
                <a:gd name="connsiteY90" fmla="*/ 1105589 h 2089839"/>
                <a:gd name="connsiteX91" fmla="*/ 998 w 2145038"/>
                <a:gd name="connsiteY91" fmla="*/ 1023039 h 2089839"/>
                <a:gd name="connsiteX92" fmla="*/ 10523 w 2145038"/>
                <a:gd name="connsiteY92" fmla="*/ 892864 h 2089839"/>
                <a:gd name="connsiteX93" fmla="*/ 35923 w 2145038"/>
                <a:gd name="connsiteY93" fmla="*/ 845239 h 2089839"/>
                <a:gd name="connsiteX94" fmla="*/ 51798 w 2145038"/>
                <a:gd name="connsiteY94" fmla="*/ 816664 h 2089839"/>
                <a:gd name="connsiteX95" fmla="*/ 83548 w 2145038"/>
                <a:gd name="connsiteY95" fmla="*/ 772214 h 2089839"/>
                <a:gd name="connsiteX96" fmla="*/ 99423 w 2145038"/>
                <a:gd name="connsiteY96" fmla="*/ 753164 h 2089839"/>
                <a:gd name="connsiteX97" fmla="*/ 143873 w 2145038"/>
                <a:gd name="connsiteY97" fmla="*/ 686489 h 2089839"/>
                <a:gd name="connsiteX98" fmla="*/ 308973 w 2145038"/>
                <a:gd name="connsiteY98" fmla="*/ 534089 h 2089839"/>
                <a:gd name="connsiteX99" fmla="*/ 366123 w 2145038"/>
                <a:gd name="connsiteY99" fmla="*/ 473764 h 2089839"/>
                <a:gd name="connsiteX100" fmla="*/ 416923 w 2145038"/>
                <a:gd name="connsiteY100" fmla="*/ 419789 h 2089839"/>
                <a:gd name="connsiteX101" fmla="*/ 445498 w 2145038"/>
                <a:gd name="connsiteY101" fmla="*/ 388039 h 2089839"/>
                <a:gd name="connsiteX102" fmla="*/ 493123 w 2145038"/>
                <a:gd name="connsiteY102" fmla="*/ 343589 h 2089839"/>
                <a:gd name="connsiteX103" fmla="*/ 712198 w 2145038"/>
                <a:gd name="connsiteY103" fmla="*/ 146739 h 2089839"/>
                <a:gd name="connsiteX104" fmla="*/ 750298 w 2145038"/>
                <a:gd name="connsiteY104" fmla="*/ 121339 h 2089839"/>
                <a:gd name="connsiteX105" fmla="*/ 785223 w 2145038"/>
                <a:gd name="connsiteY105" fmla="*/ 99114 h 2089839"/>
                <a:gd name="connsiteX106" fmla="*/ 883648 w 2145038"/>
                <a:gd name="connsiteY106" fmla="*/ 48314 h 2089839"/>
                <a:gd name="connsiteX107" fmla="*/ 1080498 w 2145038"/>
                <a:gd name="connsiteY107" fmla="*/ 689 h 2089839"/>
                <a:gd name="connsiteX108" fmla="*/ 1197973 w 2145038"/>
                <a:gd name="connsiteY108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369298 w 2145038"/>
                <a:gd name="connsiteY81" fmla="*/ 1594539 h 2089839"/>
                <a:gd name="connsiteX82" fmla="*/ 118473 w 2145038"/>
                <a:gd name="connsiteY82" fmla="*/ 1350064 h 2089839"/>
                <a:gd name="connsiteX83" fmla="*/ 83548 w 2145038"/>
                <a:gd name="connsiteY83" fmla="*/ 1302439 h 2089839"/>
                <a:gd name="connsiteX84" fmla="*/ 64498 w 2145038"/>
                <a:gd name="connsiteY84" fmla="*/ 1277039 h 2089839"/>
                <a:gd name="connsiteX85" fmla="*/ 35923 w 2145038"/>
                <a:gd name="connsiteY85" fmla="*/ 1216714 h 2089839"/>
                <a:gd name="connsiteX86" fmla="*/ 26398 w 2145038"/>
                <a:gd name="connsiteY86" fmla="*/ 1181789 h 2089839"/>
                <a:gd name="connsiteX87" fmla="*/ 20048 w 2145038"/>
                <a:gd name="connsiteY87" fmla="*/ 1159564 h 2089839"/>
                <a:gd name="connsiteX88" fmla="*/ 16873 w 2145038"/>
                <a:gd name="connsiteY88" fmla="*/ 1143689 h 2089839"/>
                <a:gd name="connsiteX89" fmla="*/ 7348 w 2145038"/>
                <a:gd name="connsiteY89" fmla="*/ 1105589 h 2089839"/>
                <a:gd name="connsiteX90" fmla="*/ 998 w 2145038"/>
                <a:gd name="connsiteY90" fmla="*/ 1023039 h 2089839"/>
                <a:gd name="connsiteX91" fmla="*/ 10523 w 2145038"/>
                <a:gd name="connsiteY91" fmla="*/ 892864 h 2089839"/>
                <a:gd name="connsiteX92" fmla="*/ 35923 w 2145038"/>
                <a:gd name="connsiteY92" fmla="*/ 845239 h 2089839"/>
                <a:gd name="connsiteX93" fmla="*/ 51798 w 2145038"/>
                <a:gd name="connsiteY93" fmla="*/ 816664 h 2089839"/>
                <a:gd name="connsiteX94" fmla="*/ 83548 w 2145038"/>
                <a:gd name="connsiteY94" fmla="*/ 772214 h 2089839"/>
                <a:gd name="connsiteX95" fmla="*/ 99423 w 2145038"/>
                <a:gd name="connsiteY95" fmla="*/ 753164 h 2089839"/>
                <a:gd name="connsiteX96" fmla="*/ 143873 w 2145038"/>
                <a:gd name="connsiteY96" fmla="*/ 686489 h 2089839"/>
                <a:gd name="connsiteX97" fmla="*/ 308973 w 2145038"/>
                <a:gd name="connsiteY97" fmla="*/ 534089 h 2089839"/>
                <a:gd name="connsiteX98" fmla="*/ 366123 w 2145038"/>
                <a:gd name="connsiteY98" fmla="*/ 473764 h 2089839"/>
                <a:gd name="connsiteX99" fmla="*/ 416923 w 2145038"/>
                <a:gd name="connsiteY99" fmla="*/ 419789 h 2089839"/>
                <a:gd name="connsiteX100" fmla="*/ 445498 w 2145038"/>
                <a:gd name="connsiteY100" fmla="*/ 388039 h 2089839"/>
                <a:gd name="connsiteX101" fmla="*/ 493123 w 2145038"/>
                <a:gd name="connsiteY101" fmla="*/ 343589 h 2089839"/>
                <a:gd name="connsiteX102" fmla="*/ 712198 w 2145038"/>
                <a:gd name="connsiteY102" fmla="*/ 146739 h 2089839"/>
                <a:gd name="connsiteX103" fmla="*/ 750298 w 2145038"/>
                <a:gd name="connsiteY103" fmla="*/ 121339 h 2089839"/>
                <a:gd name="connsiteX104" fmla="*/ 785223 w 2145038"/>
                <a:gd name="connsiteY104" fmla="*/ 99114 h 2089839"/>
                <a:gd name="connsiteX105" fmla="*/ 883648 w 2145038"/>
                <a:gd name="connsiteY105" fmla="*/ 48314 h 2089839"/>
                <a:gd name="connsiteX106" fmla="*/ 1080498 w 2145038"/>
                <a:gd name="connsiteY106" fmla="*/ 689 h 2089839"/>
                <a:gd name="connsiteX107" fmla="*/ 1197973 w 2145038"/>
                <a:gd name="connsiteY107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401048 w 2145038"/>
                <a:gd name="connsiteY80" fmla="*/ 1623114 h 2089839"/>
                <a:gd name="connsiteX81" fmla="*/ 118473 w 2145038"/>
                <a:gd name="connsiteY81" fmla="*/ 1350064 h 2089839"/>
                <a:gd name="connsiteX82" fmla="*/ 83548 w 2145038"/>
                <a:gd name="connsiteY82" fmla="*/ 1302439 h 2089839"/>
                <a:gd name="connsiteX83" fmla="*/ 64498 w 2145038"/>
                <a:gd name="connsiteY83" fmla="*/ 1277039 h 2089839"/>
                <a:gd name="connsiteX84" fmla="*/ 35923 w 2145038"/>
                <a:gd name="connsiteY84" fmla="*/ 1216714 h 2089839"/>
                <a:gd name="connsiteX85" fmla="*/ 26398 w 2145038"/>
                <a:gd name="connsiteY85" fmla="*/ 1181789 h 2089839"/>
                <a:gd name="connsiteX86" fmla="*/ 20048 w 2145038"/>
                <a:gd name="connsiteY86" fmla="*/ 1159564 h 2089839"/>
                <a:gd name="connsiteX87" fmla="*/ 16873 w 2145038"/>
                <a:gd name="connsiteY87" fmla="*/ 1143689 h 2089839"/>
                <a:gd name="connsiteX88" fmla="*/ 7348 w 2145038"/>
                <a:gd name="connsiteY88" fmla="*/ 1105589 h 2089839"/>
                <a:gd name="connsiteX89" fmla="*/ 998 w 2145038"/>
                <a:gd name="connsiteY89" fmla="*/ 1023039 h 2089839"/>
                <a:gd name="connsiteX90" fmla="*/ 10523 w 2145038"/>
                <a:gd name="connsiteY90" fmla="*/ 892864 h 2089839"/>
                <a:gd name="connsiteX91" fmla="*/ 35923 w 2145038"/>
                <a:gd name="connsiteY91" fmla="*/ 845239 h 2089839"/>
                <a:gd name="connsiteX92" fmla="*/ 51798 w 2145038"/>
                <a:gd name="connsiteY92" fmla="*/ 816664 h 2089839"/>
                <a:gd name="connsiteX93" fmla="*/ 83548 w 2145038"/>
                <a:gd name="connsiteY93" fmla="*/ 772214 h 2089839"/>
                <a:gd name="connsiteX94" fmla="*/ 99423 w 2145038"/>
                <a:gd name="connsiteY94" fmla="*/ 753164 h 2089839"/>
                <a:gd name="connsiteX95" fmla="*/ 143873 w 2145038"/>
                <a:gd name="connsiteY95" fmla="*/ 686489 h 2089839"/>
                <a:gd name="connsiteX96" fmla="*/ 308973 w 2145038"/>
                <a:gd name="connsiteY96" fmla="*/ 534089 h 2089839"/>
                <a:gd name="connsiteX97" fmla="*/ 366123 w 2145038"/>
                <a:gd name="connsiteY97" fmla="*/ 473764 h 2089839"/>
                <a:gd name="connsiteX98" fmla="*/ 416923 w 2145038"/>
                <a:gd name="connsiteY98" fmla="*/ 419789 h 2089839"/>
                <a:gd name="connsiteX99" fmla="*/ 445498 w 2145038"/>
                <a:gd name="connsiteY99" fmla="*/ 388039 h 2089839"/>
                <a:gd name="connsiteX100" fmla="*/ 493123 w 2145038"/>
                <a:gd name="connsiteY100" fmla="*/ 343589 h 2089839"/>
                <a:gd name="connsiteX101" fmla="*/ 712198 w 2145038"/>
                <a:gd name="connsiteY101" fmla="*/ 146739 h 2089839"/>
                <a:gd name="connsiteX102" fmla="*/ 750298 w 2145038"/>
                <a:gd name="connsiteY102" fmla="*/ 121339 h 2089839"/>
                <a:gd name="connsiteX103" fmla="*/ 785223 w 2145038"/>
                <a:gd name="connsiteY103" fmla="*/ 99114 h 2089839"/>
                <a:gd name="connsiteX104" fmla="*/ 883648 w 2145038"/>
                <a:gd name="connsiteY104" fmla="*/ 48314 h 2089839"/>
                <a:gd name="connsiteX105" fmla="*/ 1080498 w 2145038"/>
                <a:gd name="connsiteY105" fmla="*/ 689 h 2089839"/>
                <a:gd name="connsiteX106" fmla="*/ 1197973 w 2145038"/>
                <a:gd name="connsiteY106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42348 w 2145038"/>
                <a:gd name="connsiteY73" fmla="*/ 1864414 h 2089839"/>
                <a:gd name="connsiteX74" fmla="*/ 601073 w 2145038"/>
                <a:gd name="connsiteY74" fmla="*/ 1816789 h 2089839"/>
                <a:gd name="connsiteX75" fmla="*/ 578848 w 2145038"/>
                <a:gd name="connsiteY75" fmla="*/ 1791389 h 2089839"/>
                <a:gd name="connsiteX76" fmla="*/ 537573 w 2145038"/>
                <a:gd name="connsiteY76" fmla="*/ 1750114 h 2089839"/>
                <a:gd name="connsiteX77" fmla="*/ 499473 w 2145038"/>
                <a:gd name="connsiteY77" fmla="*/ 1715189 h 2089839"/>
                <a:gd name="connsiteX78" fmla="*/ 470898 w 2145038"/>
                <a:gd name="connsiteY78" fmla="*/ 1680264 h 2089839"/>
                <a:gd name="connsiteX79" fmla="*/ 413748 w 2145038"/>
                <a:gd name="connsiteY79" fmla="*/ 1632639 h 2089839"/>
                <a:gd name="connsiteX80" fmla="*/ 118473 w 2145038"/>
                <a:gd name="connsiteY80" fmla="*/ 1350064 h 2089839"/>
                <a:gd name="connsiteX81" fmla="*/ 83548 w 2145038"/>
                <a:gd name="connsiteY81" fmla="*/ 1302439 h 2089839"/>
                <a:gd name="connsiteX82" fmla="*/ 64498 w 2145038"/>
                <a:gd name="connsiteY82" fmla="*/ 1277039 h 2089839"/>
                <a:gd name="connsiteX83" fmla="*/ 35923 w 2145038"/>
                <a:gd name="connsiteY83" fmla="*/ 1216714 h 2089839"/>
                <a:gd name="connsiteX84" fmla="*/ 26398 w 2145038"/>
                <a:gd name="connsiteY84" fmla="*/ 1181789 h 2089839"/>
                <a:gd name="connsiteX85" fmla="*/ 20048 w 2145038"/>
                <a:gd name="connsiteY85" fmla="*/ 1159564 h 2089839"/>
                <a:gd name="connsiteX86" fmla="*/ 16873 w 2145038"/>
                <a:gd name="connsiteY86" fmla="*/ 1143689 h 2089839"/>
                <a:gd name="connsiteX87" fmla="*/ 7348 w 2145038"/>
                <a:gd name="connsiteY87" fmla="*/ 1105589 h 2089839"/>
                <a:gd name="connsiteX88" fmla="*/ 998 w 2145038"/>
                <a:gd name="connsiteY88" fmla="*/ 1023039 h 2089839"/>
                <a:gd name="connsiteX89" fmla="*/ 10523 w 2145038"/>
                <a:gd name="connsiteY89" fmla="*/ 892864 h 2089839"/>
                <a:gd name="connsiteX90" fmla="*/ 35923 w 2145038"/>
                <a:gd name="connsiteY90" fmla="*/ 845239 h 2089839"/>
                <a:gd name="connsiteX91" fmla="*/ 51798 w 2145038"/>
                <a:gd name="connsiteY91" fmla="*/ 816664 h 2089839"/>
                <a:gd name="connsiteX92" fmla="*/ 83548 w 2145038"/>
                <a:gd name="connsiteY92" fmla="*/ 772214 h 2089839"/>
                <a:gd name="connsiteX93" fmla="*/ 99423 w 2145038"/>
                <a:gd name="connsiteY93" fmla="*/ 753164 h 2089839"/>
                <a:gd name="connsiteX94" fmla="*/ 143873 w 2145038"/>
                <a:gd name="connsiteY94" fmla="*/ 686489 h 2089839"/>
                <a:gd name="connsiteX95" fmla="*/ 308973 w 2145038"/>
                <a:gd name="connsiteY95" fmla="*/ 534089 h 2089839"/>
                <a:gd name="connsiteX96" fmla="*/ 366123 w 2145038"/>
                <a:gd name="connsiteY96" fmla="*/ 473764 h 2089839"/>
                <a:gd name="connsiteX97" fmla="*/ 416923 w 2145038"/>
                <a:gd name="connsiteY97" fmla="*/ 419789 h 2089839"/>
                <a:gd name="connsiteX98" fmla="*/ 445498 w 2145038"/>
                <a:gd name="connsiteY98" fmla="*/ 388039 h 2089839"/>
                <a:gd name="connsiteX99" fmla="*/ 493123 w 2145038"/>
                <a:gd name="connsiteY99" fmla="*/ 343589 h 2089839"/>
                <a:gd name="connsiteX100" fmla="*/ 712198 w 2145038"/>
                <a:gd name="connsiteY100" fmla="*/ 146739 h 2089839"/>
                <a:gd name="connsiteX101" fmla="*/ 750298 w 2145038"/>
                <a:gd name="connsiteY101" fmla="*/ 121339 h 2089839"/>
                <a:gd name="connsiteX102" fmla="*/ 785223 w 2145038"/>
                <a:gd name="connsiteY102" fmla="*/ 99114 h 2089839"/>
                <a:gd name="connsiteX103" fmla="*/ 883648 w 2145038"/>
                <a:gd name="connsiteY103" fmla="*/ 48314 h 2089839"/>
                <a:gd name="connsiteX104" fmla="*/ 1080498 w 2145038"/>
                <a:gd name="connsiteY104" fmla="*/ 689 h 2089839"/>
                <a:gd name="connsiteX105" fmla="*/ 1197973 w 2145038"/>
                <a:gd name="connsiteY105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143873 w 2145038"/>
                <a:gd name="connsiteY93" fmla="*/ 686489 h 2089839"/>
                <a:gd name="connsiteX94" fmla="*/ 308973 w 2145038"/>
                <a:gd name="connsiteY94" fmla="*/ 534089 h 2089839"/>
                <a:gd name="connsiteX95" fmla="*/ 366123 w 2145038"/>
                <a:gd name="connsiteY95" fmla="*/ 473764 h 2089839"/>
                <a:gd name="connsiteX96" fmla="*/ 416923 w 2145038"/>
                <a:gd name="connsiteY96" fmla="*/ 419789 h 2089839"/>
                <a:gd name="connsiteX97" fmla="*/ 445498 w 2145038"/>
                <a:gd name="connsiteY97" fmla="*/ 388039 h 2089839"/>
                <a:gd name="connsiteX98" fmla="*/ 493123 w 2145038"/>
                <a:gd name="connsiteY98" fmla="*/ 343589 h 2089839"/>
                <a:gd name="connsiteX99" fmla="*/ 712198 w 2145038"/>
                <a:gd name="connsiteY99" fmla="*/ 146739 h 2089839"/>
                <a:gd name="connsiteX100" fmla="*/ 750298 w 2145038"/>
                <a:gd name="connsiteY100" fmla="*/ 121339 h 2089839"/>
                <a:gd name="connsiteX101" fmla="*/ 785223 w 2145038"/>
                <a:gd name="connsiteY101" fmla="*/ 99114 h 2089839"/>
                <a:gd name="connsiteX102" fmla="*/ 883648 w 2145038"/>
                <a:gd name="connsiteY102" fmla="*/ 48314 h 2089839"/>
                <a:gd name="connsiteX103" fmla="*/ 1080498 w 2145038"/>
                <a:gd name="connsiteY103" fmla="*/ 689 h 2089839"/>
                <a:gd name="connsiteX104" fmla="*/ 1197973 w 2145038"/>
                <a:gd name="connsiteY104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16923 w 2145038"/>
                <a:gd name="connsiteY95" fmla="*/ 419789 h 2089839"/>
                <a:gd name="connsiteX96" fmla="*/ 445498 w 2145038"/>
                <a:gd name="connsiteY96" fmla="*/ 388039 h 2089839"/>
                <a:gd name="connsiteX97" fmla="*/ 493123 w 2145038"/>
                <a:gd name="connsiteY97" fmla="*/ 343589 h 2089839"/>
                <a:gd name="connsiteX98" fmla="*/ 712198 w 2145038"/>
                <a:gd name="connsiteY98" fmla="*/ 146739 h 2089839"/>
                <a:gd name="connsiteX99" fmla="*/ 750298 w 2145038"/>
                <a:gd name="connsiteY99" fmla="*/ 121339 h 2089839"/>
                <a:gd name="connsiteX100" fmla="*/ 785223 w 2145038"/>
                <a:gd name="connsiteY100" fmla="*/ 99114 h 2089839"/>
                <a:gd name="connsiteX101" fmla="*/ 883648 w 2145038"/>
                <a:gd name="connsiteY101" fmla="*/ 48314 h 2089839"/>
                <a:gd name="connsiteX102" fmla="*/ 1080498 w 2145038"/>
                <a:gd name="connsiteY102" fmla="*/ 689 h 2089839"/>
                <a:gd name="connsiteX103" fmla="*/ 1197973 w 2145038"/>
                <a:gd name="connsiteY103" fmla="*/ 35614 h 2089839"/>
                <a:gd name="connsiteX0" fmla="*/ 1197973 w 2145038"/>
                <a:gd name="connsiteY0" fmla="*/ 35614 h 2089839"/>
                <a:gd name="connsiteX1" fmla="*/ 1217023 w 2145038"/>
                <a:gd name="connsiteY1" fmla="*/ 45139 h 2089839"/>
                <a:gd name="connsiteX2" fmla="*/ 1239248 w 2145038"/>
                <a:gd name="connsiteY2" fmla="*/ 48314 h 2089839"/>
                <a:gd name="connsiteX3" fmla="*/ 1258298 w 2145038"/>
                <a:gd name="connsiteY3" fmla="*/ 61014 h 2089839"/>
                <a:gd name="connsiteX4" fmla="*/ 1270998 w 2145038"/>
                <a:gd name="connsiteY4" fmla="*/ 67364 h 2089839"/>
                <a:gd name="connsiteX5" fmla="*/ 1290048 w 2145038"/>
                <a:gd name="connsiteY5" fmla="*/ 83239 h 2089839"/>
                <a:gd name="connsiteX6" fmla="*/ 1309098 w 2145038"/>
                <a:gd name="connsiteY6" fmla="*/ 89589 h 2089839"/>
                <a:gd name="connsiteX7" fmla="*/ 1324973 w 2145038"/>
                <a:gd name="connsiteY7" fmla="*/ 102289 h 2089839"/>
                <a:gd name="connsiteX8" fmla="*/ 1334498 w 2145038"/>
                <a:gd name="connsiteY8" fmla="*/ 105464 h 2089839"/>
                <a:gd name="connsiteX9" fmla="*/ 1340848 w 2145038"/>
                <a:gd name="connsiteY9" fmla="*/ 114989 h 2089839"/>
                <a:gd name="connsiteX10" fmla="*/ 1356723 w 2145038"/>
                <a:gd name="connsiteY10" fmla="*/ 124514 h 2089839"/>
                <a:gd name="connsiteX11" fmla="*/ 1455148 w 2145038"/>
                <a:gd name="connsiteY11" fmla="*/ 229289 h 2089839"/>
                <a:gd name="connsiteX12" fmla="*/ 1499598 w 2145038"/>
                <a:gd name="connsiteY12" fmla="*/ 270564 h 2089839"/>
                <a:gd name="connsiteX13" fmla="*/ 1512298 w 2145038"/>
                <a:gd name="connsiteY13" fmla="*/ 286439 h 2089839"/>
                <a:gd name="connsiteX14" fmla="*/ 1524998 w 2145038"/>
                <a:gd name="connsiteY14" fmla="*/ 299139 h 2089839"/>
                <a:gd name="connsiteX15" fmla="*/ 1531348 w 2145038"/>
                <a:gd name="connsiteY15" fmla="*/ 308664 h 2089839"/>
                <a:gd name="connsiteX16" fmla="*/ 1550398 w 2145038"/>
                <a:gd name="connsiteY16" fmla="*/ 327714 h 2089839"/>
                <a:gd name="connsiteX17" fmla="*/ 1559923 w 2145038"/>
                <a:gd name="connsiteY17" fmla="*/ 337239 h 2089839"/>
                <a:gd name="connsiteX18" fmla="*/ 1569448 w 2145038"/>
                <a:gd name="connsiteY18" fmla="*/ 349939 h 2089839"/>
                <a:gd name="connsiteX19" fmla="*/ 1594848 w 2145038"/>
                <a:gd name="connsiteY19" fmla="*/ 368989 h 2089839"/>
                <a:gd name="connsiteX20" fmla="*/ 1632948 w 2145038"/>
                <a:gd name="connsiteY20" fmla="*/ 400739 h 2089839"/>
                <a:gd name="connsiteX21" fmla="*/ 1648823 w 2145038"/>
                <a:gd name="connsiteY21" fmla="*/ 419789 h 2089839"/>
                <a:gd name="connsiteX22" fmla="*/ 1661523 w 2145038"/>
                <a:gd name="connsiteY22" fmla="*/ 429314 h 2089839"/>
                <a:gd name="connsiteX23" fmla="*/ 1683748 w 2145038"/>
                <a:gd name="connsiteY23" fmla="*/ 451539 h 2089839"/>
                <a:gd name="connsiteX24" fmla="*/ 1702798 w 2145038"/>
                <a:gd name="connsiteY24" fmla="*/ 470589 h 2089839"/>
                <a:gd name="connsiteX25" fmla="*/ 1712323 w 2145038"/>
                <a:gd name="connsiteY25" fmla="*/ 480114 h 2089839"/>
                <a:gd name="connsiteX26" fmla="*/ 1744073 w 2145038"/>
                <a:gd name="connsiteY26" fmla="*/ 505514 h 2089839"/>
                <a:gd name="connsiteX27" fmla="*/ 1753598 w 2145038"/>
                <a:gd name="connsiteY27" fmla="*/ 515039 h 2089839"/>
                <a:gd name="connsiteX28" fmla="*/ 1766298 w 2145038"/>
                <a:gd name="connsiteY28" fmla="*/ 524564 h 2089839"/>
                <a:gd name="connsiteX29" fmla="*/ 1782173 w 2145038"/>
                <a:gd name="connsiteY29" fmla="*/ 540439 h 2089839"/>
                <a:gd name="connsiteX30" fmla="*/ 1813923 w 2145038"/>
                <a:gd name="connsiteY30" fmla="*/ 565839 h 2089839"/>
                <a:gd name="connsiteX31" fmla="*/ 1817098 w 2145038"/>
                <a:gd name="connsiteY31" fmla="*/ 575364 h 2089839"/>
                <a:gd name="connsiteX32" fmla="*/ 1842498 w 2145038"/>
                <a:gd name="connsiteY32" fmla="*/ 597589 h 2089839"/>
                <a:gd name="connsiteX33" fmla="*/ 1893298 w 2145038"/>
                <a:gd name="connsiteY33" fmla="*/ 654739 h 2089839"/>
                <a:gd name="connsiteX34" fmla="*/ 1918698 w 2145038"/>
                <a:gd name="connsiteY34" fmla="*/ 673789 h 2089839"/>
                <a:gd name="connsiteX35" fmla="*/ 1931398 w 2145038"/>
                <a:gd name="connsiteY35" fmla="*/ 680139 h 2089839"/>
                <a:gd name="connsiteX36" fmla="*/ 2090148 w 2145038"/>
                <a:gd name="connsiteY36" fmla="*/ 905564 h 2089839"/>
                <a:gd name="connsiteX37" fmla="*/ 2131423 w 2145038"/>
                <a:gd name="connsiteY37" fmla="*/ 981764 h 2089839"/>
                <a:gd name="connsiteX38" fmla="*/ 2121898 w 2145038"/>
                <a:gd name="connsiteY38" fmla="*/ 1181789 h 2089839"/>
                <a:gd name="connsiteX39" fmla="*/ 1928223 w 2145038"/>
                <a:gd name="connsiteY39" fmla="*/ 1445314 h 2089839"/>
                <a:gd name="connsiteX40" fmla="*/ 1848848 w 2145038"/>
                <a:gd name="connsiteY40" fmla="*/ 1496114 h 2089839"/>
                <a:gd name="connsiteX41" fmla="*/ 1810748 w 2145038"/>
                <a:gd name="connsiteY41" fmla="*/ 1527864 h 2089839"/>
                <a:gd name="connsiteX42" fmla="*/ 1718673 w 2145038"/>
                <a:gd name="connsiteY42" fmla="*/ 1616764 h 2089839"/>
                <a:gd name="connsiteX43" fmla="*/ 1709148 w 2145038"/>
                <a:gd name="connsiteY43" fmla="*/ 1629464 h 2089839"/>
                <a:gd name="connsiteX44" fmla="*/ 1680573 w 2145038"/>
                <a:gd name="connsiteY44" fmla="*/ 1661214 h 2089839"/>
                <a:gd name="connsiteX45" fmla="*/ 1658348 w 2145038"/>
                <a:gd name="connsiteY45" fmla="*/ 1689789 h 2089839"/>
                <a:gd name="connsiteX46" fmla="*/ 1623423 w 2145038"/>
                <a:gd name="connsiteY46" fmla="*/ 1724714 h 2089839"/>
                <a:gd name="connsiteX47" fmla="*/ 1569448 w 2145038"/>
                <a:gd name="connsiteY47" fmla="*/ 1785039 h 2089839"/>
                <a:gd name="connsiteX48" fmla="*/ 1559923 w 2145038"/>
                <a:gd name="connsiteY48" fmla="*/ 1797739 h 2089839"/>
                <a:gd name="connsiteX49" fmla="*/ 1547223 w 2145038"/>
                <a:gd name="connsiteY49" fmla="*/ 1807264 h 2089839"/>
                <a:gd name="connsiteX50" fmla="*/ 1524998 w 2145038"/>
                <a:gd name="connsiteY50" fmla="*/ 1826314 h 2089839"/>
                <a:gd name="connsiteX51" fmla="*/ 1464673 w 2145038"/>
                <a:gd name="connsiteY51" fmla="*/ 1889814 h 2089839"/>
                <a:gd name="connsiteX52" fmla="*/ 1455148 w 2145038"/>
                <a:gd name="connsiteY52" fmla="*/ 1902514 h 2089839"/>
                <a:gd name="connsiteX53" fmla="*/ 1445623 w 2145038"/>
                <a:gd name="connsiteY53" fmla="*/ 1912039 h 2089839"/>
                <a:gd name="connsiteX54" fmla="*/ 1423398 w 2145038"/>
                <a:gd name="connsiteY54" fmla="*/ 1937439 h 2089839"/>
                <a:gd name="connsiteX55" fmla="*/ 1391648 w 2145038"/>
                <a:gd name="connsiteY55" fmla="*/ 1966014 h 2089839"/>
                <a:gd name="connsiteX56" fmla="*/ 1356723 w 2145038"/>
                <a:gd name="connsiteY56" fmla="*/ 1981889 h 2089839"/>
                <a:gd name="connsiteX57" fmla="*/ 1331323 w 2145038"/>
                <a:gd name="connsiteY57" fmla="*/ 1997764 h 2089839"/>
                <a:gd name="connsiteX58" fmla="*/ 1270998 w 2145038"/>
                <a:gd name="connsiteY58" fmla="*/ 2035864 h 2089839"/>
                <a:gd name="connsiteX59" fmla="*/ 1258298 w 2145038"/>
                <a:gd name="connsiteY59" fmla="*/ 2042214 h 2089839"/>
                <a:gd name="connsiteX60" fmla="*/ 1236073 w 2145038"/>
                <a:gd name="connsiteY60" fmla="*/ 2048564 h 2089839"/>
                <a:gd name="connsiteX61" fmla="*/ 1226548 w 2145038"/>
                <a:gd name="connsiteY61" fmla="*/ 2054914 h 2089839"/>
                <a:gd name="connsiteX62" fmla="*/ 1217023 w 2145038"/>
                <a:gd name="connsiteY62" fmla="*/ 2058089 h 2089839"/>
                <a:gd name="connsiteX63" fmla="*/ 1175748 w 2145038"/>
                <a:gd name="connsiteY63" fmla="*/ 2067614 h 2089839"/>
                <a:gd name="connsiteX64" fmla="*/ 1150348 w 2145038"/>
                <a:gd name="connsiteY64" fmla="*/ 2080314 h 2089839"/>
                <a:gd name="connsiteX65" fmla="*/ 1102723 w 2145038"/>
                <a:gd name="connsiteY65" fmla="*/ 2089839 h 2089839"/>
                <a:gd name="connsiteX66" fmla="*/ 928098 w 2145038"/>
                <a:gd name="connsiteY66" fmla="*/ 2080314 h 2089839"/>
                <a:gd name="connsiteX67" fmla="*/ 886823 w 2145038"/>
                <a:gd name="connsiteY67" fmla="*/ 2064439 h 2089839"/>
                <a:gd name="connsiteX68" fmla="*/ 845548 w 2145038"/>
                <a:gd name="connsiteY68" fmla="*/ 2045389 h 2089839"/>
                <a:gd name="connsiteX69" fmla="*/ 731248 w 2145038"/>
                <a:gd name="connsiteY69" fmla="*/ 1943789 h 2089839"/>
                <a:gd name="connsiteX70" fmla="*/ 715373 w 2145038"/>
                <a:gd name="connsiteY70" fmla="*/ 1927914 h 2089839"/>
                <a:gd name="connsiteX71" fmla="*/ 699498 w 2145038"/>
                <a:gd name="connsiteY71" fmla="*/ 1915214 h 2089839"/>
                <a:gd name="connsiteX72" fmla="*/ 680448 w 2145038"/>
                <a:gd name="connsiteY72" fmla="*/ 1896164 h 2089839"/>
                <a:gd name="connsiteX73" fmla="*/ 601073 w 2145038"/>
                <a:gd name="connsiteY73" fmla="*/ 1816789 h 2089839"/>
                <a:gd name="connsiteX74" fmla="*/ 578848 w 2145038"/>
                <a:gd name="connsiteY74" fmla="*/ 1791389 h 2089839"/>
                <a:gd name="connsiteX75" fmla="*/ 537573 w 2145038"/>
                <a:gd name="connsiteY75" fmla="*/ 1750114 h 2089839"/>
                <a:gd name="connsiteX76" fmla="*/ 499473 w 2145038"/>
                <a:gd name="connsiteY76" fmla="*/ 1715189 h 2089839"/>
                <a:gd name="connsiteX77" fmla="*/ 470898 w 2145038"/>
                <a:gd name="connsiteY77" fmla="*/ 1680264 h 2089839"/>
                <a:gd name="connsiteX78" fmla="*/ 413748 w 2145038"/>
                <a:gd name="connsiteY78" fmla="*/ 1632639 h 2089839"/>
                <a:gd name="connsiteX79" fmla="*/ 118473 w 2145038"/>
                <a:gd name="connsiteY79" fmla="*/ 1350064 h 2089839"/>
                <a:gd name="connsiteX80" fmla="*/ 83548 w 2145038"/>
                <a:gd name="connsiteY80" fmla="*/ 1302439 h 2089839"/>
                <a:gd name="connsiteX81" fmla="*/ 64498 w 2145038"/>
                <a:gd name="connsiteY81" fmla="*/ 1277039 h 2089839"/>
                <a:gd name="connsiteX82" fmla="*/ 35923 w 2145038"/>
                <a:gd name="connsiteY82" fmla="*/ 1216714 h 2089839"/>
                <a:gd name="connsiteX83" fmla="*/ 26398 w 2145038"/>
                <a:gd name="connsiteY83" fmla="*/ 1181789 h 2089839"/>
                <a:gd name="connsiteX84" fmla="*/ 20048 w 2145038"/>
                <a:gd name="connsiteY84" fmla="*/ 1159564 h 2089839"/>
                <a:gd name="connsiteX85" fmla="*/ 16873 w 2145038"/>
                <a:gd name="connsiteY85" fmla="*/ 1143689 h 2089839"/>
                <a:gd name="connsiteX86" fmla="*/ 7348 w 2145038"/>
                <a:gd name="connsiteY86" fmla="*/ 1105589 h 2089839"/>
                <a:gd name="connsiteX87" fmla="*/ 998 w 2145038"/>
                <a:gd name="connsiteY87" fmla="*/ 1023039 h 2089839"/>
                <a:gd name="connsiteX88" fmla="*/ 10523 w 2145038"/>
                <a:gd name="connsiteY88" fmla="*/ 892864 h 2089839"/>
                <a:gd name="connsiteX89" fmla="*/ 35923 w 2145038"/>
                <a:gd name="connsiteY89" fmla="*/ 845239 h 2089839"/>
                <a:gd name="connsiteX90" fmla="*/ 51798 w 2145038"/>
                <a:gd name="connsiteY90" fmla="*/ 816664 h 2089839"/>
                <a:gd name="connsiteX91" fmla="*/ 83548 w 2145038"/>
                <a:gd name="connsiteY91" fmla="*/ 772214 h 2089839"/>
                <a:gd name="connsiteX92" fmla="*/ 99423 w 2145038"/>
                <a:gd name="connsiteY92" fmla="*/ 753164 h 2089839"/>
                <a:gd name="connsiteX93" fmla="*/ 308973 w 2145038"/>
                <a:gd name="connsiteY93" fmla="*/ 534089 h 2089839"/>
                <a:gd name="connsiteX94" fmla="*/ 366123 w 2145038"/>
                <a:gd name="connsiteY94" fmla="*/ 473764 h 2089839"/>
                <a:gd name="connsiteX95" fmla="*/ 445498 w 2145038"/>
                <a:gd name="connsiteY95" fmla="*/ 388039 h 2089839"/>
                <a:gd name="connsiteX96" fmla="*/ 493123 w 2145038"/>
                <a:gd name="connsiteY96" fmla="*/ 343589 h 2089839"/>
                <a:gd name="connsiteX97" fmla="*/ 712198 w 2145038"/>
                <a:gd name="connsiteY97" fmla="*/ 146739 h 2089839"/>
                <a:gd name="connsiteX98" fmla="*/ 750298 w 2145038"/>
                <a:gd name="connsiteY98" fmla="*/ 121339 h 2089839"/>
                <a:gd name="connsiteX99" fmla="*/ 785223 w 2145038"/>
                <a:gd name="connsiteY99" fmla="*/ 99114 h 2089839"/>
                <a:gd name="connsiteX100" fmla="*/ 883648 w 2145038"/>
                <a:gd name="connsiteY100" fmla="*/ 48314 h 2089839"/>
                <a:gd name="connsiteX101" fmla="*/ 1080498 w 2145038"/>
                <a:gd name="connsiteY101" fmla="*/ 689 h 2089839"/>
                <a:gd name="connsiteX102" fmla="*/ 1197973 w 2145038"/>
                <a:gd name="connsiteY102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1931398 w 2150240"/>
                <a:gd name="connsiteY35" fmla="*/ 680139 h 2089839"/>
                <a:gd name="connsiteX36" fmla="*/ 2090148 w 2150240"/>
                <a:gd name="connsiteY36" fmla="*/ 905564 h 2089839"/>
                <a:gd name="connsiteX37" fmla="*/ 2131423 w 2150240"/>
                <a:gd name="connsiteY37" fmla="*/ 981764 h 2089839"/>
                <a:gd name="connsiteX38" fmla="*/ 2121898 w 2150240"/>
                <a:gd name="connsiteY38" fmla="*/ 1181789 h 2089839"/>
                <a:gd name="connsiteX39" fmla="*/ 1848848 w 2150240"/>
                <a:gd name="connsiteY39" fmla="*/ 1496114 h 2089839"/>
                <a:gd name="connsiteX40" fmla="*/ 1810748 w 2150240"/>
                <a:gd name="connsiteY40" fmla="*/ 1527864 h 2089839"/>
                <a:gd name="connsiteX41" fmla="*/ 1718673 w 2150240"/>
                <a:gd name="connsiteY41" fmla="*/ 1616764 h 2089839"/>
                <a:gd name="connsiteX42" fmla="*/ 1709148 w 2150240"/>
                <a:gd name="connsiteY42" fmla="*/ 1629464 h 2089839"/>
                <a:gd name="connsiteX43" fmla="*/ 1680573 w 2150240"/>
                <a:gd name="connsiteY43" fmla="*/ 1661214 h 2089839"/>
                <a:gd name="connsiteX44" fmla="*/ 1658348 w 2150240"/>
                <a:gd name="connsiteY44" fmla="*/ 1689789 h 2089839"/>
                <a:gd name="connsiteX45" fmla="*/ 1623423 w 2150240"/>
                <a:gd name="connsiteY45" fmla="*/ 1724714 h 2089839"/>
                <a:gd name="connsiteX46" fmla="*/ 1569448 w 2150240"/>
                <a:gd name="connsiteY46" fmla="*/ 1785039 h 2089839"/>
                <a:gd name="connsiteX47" fmla="*/ 1559923 w 2150240"/>
                <a:gd name="connsiteY47" fmla="*/ 1797739 h 2089839"/>
                <a:gd name="connsiteX48" fmla="*/ 1547223 w 2150240"/>
                <a:gd name="connsiteY48" fmla="*/ 1807264 h 2089839"/>
                <a:gd name="connsiteX49" fmla="*/ 1524998 w 2150240"/>
                <a:gd name="connsiteY49" fmla="*/ 1826314 h 2089839"/>
                <a:gd name="connsiteX50" fmla="*/ 1464673 w 2150240"/>
                <a:gd name="connsiteY50" fmla="*/ 1889814 h 2089839"/>
                <a:gd name="connsiteX51" fmla="*/ 1455148 w 2150240"/>
                <a:gd name="connsiteY51" fmla="*/ 1902514 h 2089839"/>
                <a:gd name="connsiteX52" fmla="*/ 1445623 w 2150240"/>
                <a:gd name="connsiteY52" fmla="*/ 1912039 h 2089839"/>
                <a:gd name="connsiteX53" fmla="*/ 1423398 w 2150240"/>
                <a:gd name="connsiteY53" fmla="*/ 1937439 h 2089839"/>
                <a:gd name="connsiteX54" fmla="*/ 1391648 w 2150240"/>
                <a:gd name="connsiteY54" fmla="*/ 1966014 h 2089839"/>
                <a:gd name="connsiteX55" fmla="*/ 1356723 w 2150240"/>
                <a:gd name="connsiteY55" fmla="*/ 1981889 h 2089839"/>
                <a:gd name="connsiteX56" fmla="*/ 1331323 w 2150240"/>
                <a:gd name="connsiteY56" fmla="*/ 1997764 h 2089839"/>
                <a:gd name="connsiteX57" fmla="*/ 1270998 w 2150240"/>
                <a:gd name="connsiteY57" fmla="*/ 2035864 h 2089839"/>
                <a:gd name="connsiteX58" fmla="*/ 1258298 w 2150240"/>
                <a:gd name="connsiteY58" fmla="*/ 2042214 h 2089839"/>
                <a:gd name="connsiteX59" fmla="*/ 1236073 w 2150240"/>
                <a:gd name="connsiteY59" fmla="*/ 2048564 h 2089839"/>
                <a:gd name="connsiteX60" fmla="*/ 1226548 w 2150240"/>
                <a:gd name="connsiteY60" fmla="*/ 2054914 h 2089839"/>
                <a:gd name="connsiteX61" fmla="*/ 1217023 w 2150240"/>
                <a:gd name="connsiteY61" fmla="*/ 2058089 h 2089839"/>
                <a:gd name="connsiteX62" fmla="*/ 1175748 w 2150240"/>
                <a:gd name="connsiteY62" fmla="*/ 2067614 h 2089839"/>
                <a:gd name="connsiteX63" fmla="*/ 1150348 w 2150240"/>
                <a:gd name="connsiteY63" fmla="*/ 2080314 h 2089839"/>
                <a:gd name="connsiteX64" fmla="*/ 1102723 w 2150240"/>
                <a:gd name="connsiteY64" fmla="*/ 2089839 h 2089839"/>
                <a:gd name="connsiteX65" fmla="*/ 928098 w 2150240"/>
                <a:gd name="connsiteY65" fmla="*/ 2080314 h 2089839"/>
                <a:gd name="connsiteX66" fmla="*/ 886823 w 2150240"/>
                <a:gd name="connsiteY66" fmla="*/ 2064439 h 2089839"/>
                <a:gd name="connsiteX67" fmla="*/ 845548 w 2150240"/>
                <a:gd name="connsiteY67" fmla="*/ 2045389 h 2089839"/>
                <a:gd name="connsiteX68" fmla="*/ 731248 w 2150240"/>
                <a:gd name="connsiteY68" fmla="*/ 1943789 h 2089839"/>
                <a:gd name="connsiteX69" fmla="*/ 715373 w 2150240"/>
                <a:gd name="connsiteY69" fmla="*/ 1927914 h 2089839"/>
                <a:gd name="connsiteX70" fmla="*/ 699498 w 2150240"/>
                <a:gd name="connsiteY70" fmla="*/ 1915214 h 2089839"/>
                <a:gd name="connsiteX71" fmla="*/ 680448 w 2150240"/>
                <a:gd name="connsiteY71" fmla="*/ 1896164 h 2089839"/>
                <a:gd name="connsiteX72" fmla="*/ 601073 w 2150240"/>
                <a:gd name="connsiteY72" fmla="*/ 1816789 h 2089839"/>
                <a:gd name="connsiteX73" fmla="*/ 578848 w 2150240"/>
                <a:gd name="connsiteY73" fmla="*/ 1791389 h 2089839"/>
                <a:gd name="connsiteX74" fmla="*/ 537573 w 2150240"/>
                <a:gd name="connsiteY74" fmla="*/ 1750114 h 2089839"/>
                <a:gd name="connsiteX75" fmla="*/ 499473 w 2150240"/>
                <a:gd name="connsiteY75" fmla="*/ 1715189 h 2089839"/>
                <a:gd name="connsiteX76" fmla="*/ 470898 w 2150240"/>
                <a:gd name="connsiteY76" fmla="*/ 1680264 h 2089839"/>
                <a:gd name="connsiteX77" fmla="*/ 413748 w 2150240"/>
                <a:gd name="connsiteY77" fmla="*/ 1632639 h 2089839"/>
                <a:gd name="connsiteX78" fmla="*/ 118473 w 2150240"/>
                <a:gd name="connsiteY78" fmla="*/ 1350064 h 2089839"/>
                <a:gd name="connsiteX79" fmla="*/ 83548 w 2150240"/>
                <a:gd name="connsiteY79" fmla="*/ 1302439 h 2089839"/>
                <a:gd name="connsiteX80" fmla="*/ 64498 w 2150240"/>
                <a:gd name="connsiteY80" fmla="*/ 1277039 h 2089839"/>
                <a:gd name="connsiteX81" fmla="*/ 35923 w 2150240"/>
                <a:gd name="connsiteY81" fmla="*/ 1216714 h 2089839"/>
                <a:gd name="connsiteX82" fmla="*/ 26398 w 2150240"/>
                <a:gd name="connsiteY82" fmla="*/ 1181789 h 2089839"/>
                <a:gd name="connsiteX83" fmla="*/ 20048 w 2150240"/>
                <a:gd name="connsiteY83" fmla="*/ 1159564 h 2089839"/>
                <a:gd name="connsiteX84" fmla="*/ 16873 w 2150240"/>
                <a:gd name="connsiteY84" fmla="*/ 1143689 h 2089839"/>
                <a:gd name="connsiteX85" fmla="*/ 7348 w 2150240"/>
                <a:gd name="connsiteY85" fmla="*/ 1105589 h 2089839"/>
                <a:gd name="connsiteX86" fmla="*/ 998 w 2150240"/>
                <a:gd name="connsiteY86" fmla="*/ 1023039 h 2089839"/>
                <a:gd name="connsiteX87" fmla="*/ 10523 w 2150240"/>
                <a:gd name="connsiteY87" fmla="*/ 892864 h 2089839"/>
                <a:gd name="connsiteX88" fmla="*/ 35923 w 2150240"/>
                <a:gd name="connsiteY88" fmla="*/ 845239 h 2089839"/>
                <a:gd name="connsiteX89" fmla="*/ 51798 w 2150240"/>
                <a:gd name="connsiteY89" fmla="*/ 816664 h 2089839"/>
                <a:gd name="connsiteX90" fmla="*/ 83548 w 2150240"/>
                <a:gd name="connsiteY90" fmla="*/ 772214 h 2089839"/>
                <a:gd name="connsiteX91" fmla="*/ 99423 w 2150240"/>
                <a:gd name="connsiteY91" fmla="*/ 753164 h 2089839"/>
                <a:gd name="connsiteX92" fmla="*/ 308973 w 2150240"/>
                <a:gd name="connsiteY92" fmla="*/ 534089 h 2089839"/>
                <a:gd name="connsiteX93" fmla="*/ 366123 w 2150240"/>
                <a:gd name="connsiteY93" fmla="*/ 473764 h 2089839"/>
                <a:gd name="connsiteX94" fmla="*/ 445498 w 2150240"/>
                <a:gd name="connsiteY94" fmla="*/ 388039 h 2089839"/>
                <a:gd name="connsiteX95" fmla="*/ 493123 w 2150240"/>
                <a:gd name="connsiteY95" fmla="*/ 343589 h 2089839"/>
                <a:gd name="connsiteX96" fmla="*/ 712198 w 2150240"/>
                <a:gd name="connsiteY96" fmla="*/ 146739 h 2089839"/>
                <a:gd name="connsiteX97" fmla="*/ 750298 w 2150240"/>
                <a:gd name="connsiteY97" fmla="*/ 121339 h 2089839"/>
                <a:gd name="connsiteX98" fmla="*/ 785223 w 2150240"/>
                <a:gd name="connsiteY98" fmla="*/ 99114 h 2089839"/>
                <a:gd name="connsiteX99" fmla="*/ 883648 w 2150240"/>
                <a:gd name="connsiteY99" fmla="*/ 48314 h 2089839"/>
                <a:gd name="connsiteX100" fmla="*/ 1080498 w 2150240"/>
                <a:gd name="connsiteY100" fmla="*/ 689 h 2089839"/>
                <a:gd name="connsiteX101" fmla="*/ 1197973 w 2150240"/>
                <a:gd name="connsiteY101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1918698 w 2150240"/>
                <a:gd name="connsiteY34" fmla="*/ 673789 h 2089839"/>
                <a:gd name="connsiteX35" fmla="*/ 2090148 w 2150240"/>
                <a:gd name="connsiteY35" fmla="*/ 905564 h 2089839"/>
                <a:gd name="connsiteX36" fmla="*/ 2131423 w 2150240"/>
                <a:gd name="connsiteY36" fmla="*/ 981764 h 2089839"/>
                <a:gd name="connsiteX37" fmla="*/ 2121898 w 2150240"/>
                <a:gd name="connsiteY37" fmla="*/ 1181789 h 2089839"/>
                <a:gd name="connsiteX38" fmla="*/ 1848848 w 2150240"/>
                <a:gd name="connsiteY38" fmla="*/ 1496114 h 2089839"/>
                <a:gd name="connsiteX39" fmla="*/ 1810748 w 2150240"/>
                <a:gd name="connsiteY39" fmla="*/ 1527864 h 2089839"/>
                <a:gd name="connsiteX40" fmla="*/ 1718673 w 2150240"/>
                <a:gd name="connsiteY40" fmla="*/ 1616764 h 2089839"/>
                <a:gd name="connsiteX41" fmla="*/ 1709148 w 2150240"/>
                <a:gd name="connsiteY41" fmla="*/ 1629464 h 2089839"/>
                <a:gd name="connsiteX42" fmla="*/ 1680573 w 2150240"/>
                <a:gd name="connsiteY42" fmla="*/ 1661214 h 2089839"/>
                <a:gd name="connsiteX43" fmla="*/ 1658348 w 2150240"/>
                <a:gd name="connsiteY43" fmla="*/ 1689789 h 2089839"/>
                <a:gd name="connsiteX44" fmla="*/ 1623423 w 2150240"/>
                <a:gd name="connsiteY44" fmla="*/ 1724714 h 2089839"/>
                <a:gd name="connsiteX45" fmla="*/ 1569448 w 2150240"/>
                <a:gd name="connsiteY45" fmla="*/ 1785039 h 2089839"/>
                <a:gd name="connsiteX46" fmla="*/ 1559923 w 2150240"/>
                <a:gd name="connsiteY46" fmla="*/ 1797739 h 2089839"/>
                <a:gd name="connsiteX47" fmla="*/ 1547223 w 2150240"/>
                <a:gd name="connsiteY47" fmla="*/ 1807264 h 2089839"/>
                <a:gd name="connsiteX48" fmla="*/ 1524998 w 2150240"/>
                <a:gd name="connsiteY48" fmla="*/ 1826314 h 2089839"/>
                <a:gd name="connsiteX49" fmla="*/ 1464673 w 2150240"/>
                <a:gd name="connsiteY49" fmla="*/ 1889814 h 2089839"/>
                <a:gd name="connsiteX50" fmla="*/ 1455148 w 2150240"/>
                <a:gd name="connsiteY50" fmla="*/ 1902514 h 2089839"/>
                <a:gd name="connsiteX51" fmla="*/ 1445623 w 2150240"/>
                <a:gd name="connsiteY51" fmla="*/ 1912039 h 2089839"/>
                <a:gd name="connsiteX52" fmla="*/ 1423398 w 2150240"/>
                <a:gd name="connsiteY52" fmla="*/ 1937439 h 2089839"/>
                <a:gd name="connsiteX53" fmla="*/ 1391648 w 2150240"/>
                <a:gd name="connsiteY53" fmla="*/ 1966014 h 2089839"/>
                <a:gd name="connsiteX54" fmla="*/ 1356723 w 2150240"/>
                <a:gd name="connsiteY54" fmla="*/ 1981889 h 2089839"/>
                <a:gd name="connsiteX55" fmla="*/ 1331323 w 2150240"/>
                <a:gd name="connsiteY55" fmla="*/ 1997764 h 2089839"/>
                <a:gd name="connsiteX56" fmla="*/ 1270998 w 2150240"/>
                <a:gd name="connsiteY56" fmla="*/ 2035864 h 2089839"/>
                <a:gd name="connsiteX57" fmla="*/ 1258298 w 2150240"/>
                <a:gd name="connsiteY57" fmla="*/ 2042214 h 2089839"/>
                <a:gd name="connsiteX58" fmla="*/ 1236073 w 2150240"/>
                <a:gd name="connsiteY58" fmla="*/ 2048564 h 2089839"/>
                <a:gd name="connsiteX59" fmla="*/ 1226548 w 2150240"/>
                <a:gd name="connsiteY59" fmla="*/ 2054914 h 2089839"/>
                <a:gd name="connsiteX60" fmla="*/ 1217023 w 2150240"/>
                <a:gd name="connsiteY60" fmla="*/ 2058089 h 2089839"/>
                <a:gd name="connsiteX61" fmla="*/ 1175748 w 2150240"/>
                <a:gd name="connsiteY61" fmla="*/ 2067614 h 2089839"/>
                <a:gd name="connsiteX62" fmla="*/ 1150348 w 2150240"/>
                <a:gd name="connsiteY62" fmla="*/ 2080314 h 2089839"/>
                <a:gd name="connsiteX63" fmla="*/ 1102723 w 2150240"/>
                <a:gd name="connsiteY63" fmla="*/ 2089839 h 2089839"/>
                <a:gd name="connsiteX64" fmla="*/ 928098 w 2150240"/>
                <a:gd name="connsiteY64" fmla="*/ 2080314 h 2089839"/>
                <a:gd name="connsiteX65" fmla="*/ 886823 w 2150240"/>
                <a:gd name="connsiteY65" fmla="*/ 2064439 h 2089839"/>
                <a:gd name="connsiteX66" fmla="*/ 845548 w 2150240"/>
                <a:gd name="connsiteY66" fmla="*/ 2045389 h 2089839"/>
                <a:gd name="connsiteX67" fmla="*/ 731248 w 2150240"/>
                <a:gd name="connsiteY67" fmla="*/ 1943789 h 2089839"/>
                <a:gd name="connsiteX68" fmla="*/ 715373 w 2150240"/>
                <a:gd name="connsiteY68" fmla="*/ 1927914 h 2089839"/>
                <a:gd name="connsiteX69" fmla="*/ 699498 w 2150240"/>
                <a:gd name="connsiteY69" fmla="*/ 1915214 h 2089839"/>
                <a:gd name="connsiteX70" fmla="*/ 680448 w 2150240"/>
                <a:gd name="connsiteY70" fmla="*/ 1896164 h 2089839"/>
                <a:gd name="connsiteX71" fmla="*/ 601073 w 2150240"/>
                <a:gd name="connsiteY71" fmla="*/ 1816789 h 2089839"/>
                <a:gd name="connsiteX72" fmla="*/ 578848 w 2150240"/>
                <a:gd name="connsiteY72" fmla="*/ 1791389 h 2089839"/>
                <a:gd name="connsiteX73" fmla="*/ 537573 w 2150240"/>
                <a:gd name="connsiteY73" fmla="*/ 1750114 h 2089839"/>
                <a:gd name="connsiteX74" fmla="*/ 499473 w 2150240"/>
                <a:gd name="connsiteY74" fmla="*/ 1715189 h 2089839"/>
                <a:gd name="connsiteX75" fmla="*/ 470898 w 2150240"/>
                <a:gd name="connsiteY75" fmla="*/ 1680264 h 2089839"/>
                <a:gd name="connsiteX76" fmla="*/ 413748 w 2150240"/>
                <a:gd name="connsiteY76" fmla="*/ 1632639 h 2089839"/>
                <a:gd name="connsiteX77" fmla="*/ 118473 w 2150240"/>
                <a:gd name="connsiteY77" fmla="*/ 1350064 h 2089839"/>
                <a:gd name="connsiteX78" fmla="*/ 83548 w 2150240"/>
                <a:gd name="connsiteY78" fmla="*/ 1302439 h 2089839"/>
                <a:gd name="connsiteX79" fmla="*/ 64498 w 2150240"/>
                <a:gd name="connsiteY79" fmla="*/ 1277039 h 2089839"/>
                <a:gd name="connsiteX80" fmla="*/ 35923 w 2150240"/>
                <a:gd name="connsiteY80" fmla="*/ 1216714 h 2089839"/>
                <a:gd name="connsiteX81" fmla="*/ 26398 w 2150240"/>
                <a:gd name="connsiteY81" fmla="*/ 1181789 h 2089839"/>
                <a:gd name="connsiteX82" fmla="*/ 20048 w 2150240"/>
                <a:gd name="connsiteY82" fmla="*/ 1159564 h 2089839"/>
                <a:gd name="connsiteX83" fmla="*/ 16873 w 2150240"/>
                <a:gd name="connsiteY83" fmla="*/ 1143689 h 2089839"/>
                <a:gd name="connsiteX84" fmla="*/ 7348 w 2150240"/>
                <a:gd name="connsiteY84" fmla="*/ 1105589 h 2089839"/>
                <a:gd name="connsiteX85" fmla="*/ 998 w 2150240"/>
                <a:gd name="connsiteY85" fmla="*/ 1023039 h 2089839"/>
                <a:gd name="connsiteX86" fmla="*/ 10523 w 2150240"/>
                <a:gd name="connsiteY86" fmla="*/ 892864 h 2089839"/>
                <a:gd name="connsiteX87" fmla="*/ 35923 w 2150240"/>
                <a:gd name="connsiteY87" fmla="*/ 845239 h 2089839"/>
                <a:gd name="connsiteX88" fmla="*/ 51798 w 2150240"/>
                <a:gd name="connsiteY88" fmla="*/ 816664 h 2089839"/>
                <a:gd name="connsiteX89" fmla="*/ 83548 w 2150240"/>
                <a:gd name="connsiteY89" fmla="*/ 772214 h 2089839"/>
                <a:gd name="connsiteX90" fmla="*/ 99423 w 2150240"/>
                <a:gd name="connsiteY90" fmla="*/ 753164 h 2089839"/>
                <a:gd name="connsiteX91" fmla="*/ 308973 w 2150240"/>
                <a:gd name="connsiteY91" fmla="*/ 534089 h 2089839"/>
                <a:gd name="connsiteX92" fmla="*/ 366123 w 2150240"/>
                <a:gd name="connsiteY92" fmla="*/ 473764 h 2089839"/>
                <a:gd name="connsiteX93" fmla="*/ 445498 w 2150240"/>
                <a:gd name="connsiteY93" fmla="*/ 388039 h 2089839"/>
                <a:gd name="connsiteX94" fmla="*/ 493123 w 2150240"/>
                <a:gd name="connsiteY94" fmla="*/ 343589 h 2089839"/>
                <a:gd name="connsiteX95" fmla="*/ 712198 w 2150240"/>
                <a:gd name="connsiteY95" fmla="*/ 146739 h 2089839"/>
                <a:gd name="connsiteX96" fmla="*/ 750298 w 2150240"/>
                <a:gd name="connsiteY96" fmla="*/ 121339 h 2089839"/>
                <a:gd name="connsiteX97" fmla="*/ 785223 w 2150240"/>
                <a:gd name="connsiteY97" fmla="*/ 99114 h 2089839"/>
                <a:gd name="connsiteX98" fmla="*/ 883648 w 2150240"/>
                <a:gd name="connsiteY98" fmla="*/ 48314 h 2089839"/>
                <a:gd name="connsiteX99" fmla="*/ 1080498 w 2150240"/>
                <a:gd name="connsiteY99" fmla="*/ 689 h 2089839"/>
                <a:gd name="connsiteX100" fmla="*/ 1197973 w 2150240"/>
                <a:gd name="connsiteY100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217023 w 2150240"/>
                <a:gd name="connsiteY59" fmla="*/ 2058089 h 2089839"/>
                <a:gd name="connsiteX60" fmla="*/ 1175748 w 2150240"/>
                <a:gd name="connsiteY60" fmla="*/ 2067614 h 2089839"/>
                <a:gd name="connsiteX61" fmla="*/ 1150348 w 2150240"/>
                <a:gd name="connsiteY61" fmla="*/ 2080314 h 2089839"/>
                <a:gd name="connsiteX62" fmla="*/ 1102723 w 2150240"/>
                <a:gd name="connsiteY62" fmla="*/ 2089839 h 2089839"/>
                <a:gd name="connsiteX63" fmla="*/ 928098 w 2150240"/>
                <a:gd name="connsiteY63" fmla="*/ 2080314 h 2089839"/>
                <a:gd name="connsiteX64" fmla="*/ 886823 w 2150240"/>
                <a:gd name="connsiteY64" fmla="*/ 2064439 h 2089839"/>
                <a:gd name="connsiteX65" fmla="*/ 845548 w 2150240"/>
                <a:gd name="connsiteY65" fmla="*/ 2045389 h 2089839"/>
                <a:gd name="connsiteX66" fmla="*/ 731248 w 2150240"/>
                <a:gd name="connsiteY66" fmla="*/ 1943789 h 2089839"/>
                <a:gd name="connsiteX67" fmla="*/ 715373 w 2150240"/>
                <a:gd name="connsiteY67" fmla="*/ 1927914 h 2089839"/>
                <a:gd name="connsiteX68" fmla="*/ 699498 w 2150240"/>
                <a:gd name="connsiteY68" fmla="*/ 1915214 h 2089839"/>
                <a:gd name="connsiteX69" fmla="*/ 680448 w 2150240"/>
                <a:gd name="connsiteY69" fmla="*/ 1896164 h 2089839"/>
                <a:gd name="connsiteX70" fmla="*/ 601073 w 2150240"/>
                <a:gd name="connsiteY70" fmla="*/ 1816789 h 2089839"/>
                <a:gd name="connsiteX71" fmla="*/ 578848 w 2150240"/>
                <a:gd name="connsiteY71" fmla="*/ 1791389 h 2089839"/>
                <a:gd name="connsiteX72" fmla="*/ 537573 w 2150240"/>
                <a:gd name="connsiteY72" fmla="*/ 1750114 h 2089839"/>
                <a:gd name="connsiteX73" fmla="*/ 499473 w 2150240"/>
                <a:gd name="connsiteY73" fmla="*/ 1715189 h 2089839"/>
                <a:gd name="connsiteX74" fmla="*/ 470898 w 2150240"/>
                <a:gd name="connsiteY74" fmla="*/ 1680264 h 2089839"/>
                <a:gd name="connsiteX75" fmla="*/ 413748 w 2150240"/>
                <a:gd name="connsiteY75" fmla="*/ 1632639 h 2089839"/>
                <a:gd name="connsiteX76" fmla="*/ 118473 w 2150240"/>
                <a:gd name="connsiteY76" fmla="*/ 1350064 h 2089839"/>
                <a:gd name="connsiteX77" fmla="*/ 83548 w 2150240"/>
                <a:gd name="connsiteY77" fmla="*/ 1302439 h 2089839"/>
                <a:gd name="connsiteX78" fmla="*/ 64498 w 2150240"/>
                <a:gd name="connsiteY78" fmla="*/ 1277039 h 2089839"/>
                <a:gd name="connsiteX79" fmla="*/ 35923 w 2150240"/>
                <a:gd name="connsiteY79" fmla="*/ 1216714 h 2089839"/>
                <a:gd name="connsiteX80" fmla="*/ 26398 w 2150240"/>
                <a:gd name="connsiteY80" fmla="*/ 1181789 h 2089839"/>
                <a:gd name="connsiteX81" fmla="*/ 20048 w 2150240"/>
                <a:gd name="connsiteY81" fmla="*/ 1159564 h 2089839"/>
                <a:gd name="connsiteX82" fmla="*/ 16873 w 2150240"/>
                <a:gd name="connsiteY82" fmla="*/ 1143689 h 2089839"/>
                <a:gd name="connsiteX83" fmla="*/ 7348 w 2150240"/>
                <a:gd name="connsiteY83" fmla="*/ 1105589 h 2089839"/>
                <a:gd name="connsiteX84" fmla="*/ 998 w 2150240"/>
                <a:gd name="connsiteY84" fmla="*/ 1023039 h 2089839"/>
                <a:gd name="connsiteX85" fmla="*/ 10523 w 2150240"/>
                <a:gd name="connsiteY85" fmla="*/ 892864 h 2089839"/>
                <a:gd name="connsiteX86" fmla="*/ 35923 w 2150240"/>
                <a:gd name="connsiteY86" fmla="*/ 845239 h 2089839"/>
                <a:gd name="connsiteX87" fmla="*/ 51798 w 2150240"/>
                <a:gd name="connsiteY87" fmla="*/ 816664 h 2089839"/>
                <a:gd name="connsiteX88" fmla="*/ 83548 w 2150240"/>
                <a:gd name="connsiteY88" fmla="*/ 772214 h 2089839"/>
                <a:gd name="connsiteX89" fmla="*/ 99423 w 2150240"/>
                <a:gd name="connsiteY89" fmla="*/ 753164 h 2089839"/>
                <a:gd name="connsiteX90" fmla="*/ 308973 w 2150240"/>
                <a:gd name="connsiteY90" fmla="*/ 534089 h 2089839"/>
                <a:gd name="connsiteX91" fmla="*/ 366123 w 2150240"/>
                <a:gd name="connsiteY91" fmla="*/ 473764 h 2089839"/>
                <a:gd name="connsiteX92" fmla="*/ 445498 w 2150240"/>
                <a:gd name="connsiteY92" fmla="*/ 388039 h 2089839"/>
                <a:gd name="connsiteX93" fmla="*/ 493123 w 2150240"/>
                <a:gd name="connsiteY93" fmla="*/ 343589 h 2089839"/>
                <a:gd name="connsiteX94" fmla="*/ 712198 w 2150240"/>
                <a:gd name="connsiteY94" fmla="*/ 146739 h 2089839"/>
                <a:gd name="connsiteX95" fmla="*/ 750298 w 2150240"/>
                <a:gd name="connsiteY95" fmla="*/ 121339 h 2089839"/>
                <a:gd name="connsiteX96" fmla="*/ 785223 w 2150240"/>
                <a:gd name="connsiteY96" fmla="*/ 99114 h 2089839"/>
                <a:gd name="connsiteX97" fmla="*/ 883648 w 2150240"/>
                <a:gd name="connsiteY97" fmla="*/ 48314 h 2089839"/>
                <a:gd name="connsiteX98" fmla="*/ 1080498 w 2150240"/>
                <a:gd name="connsiteY98" fmla="*/ 689 h 2089839"/>
                <a:gd name="connsiteX99" fmla="*/ 1197973 w 2150240"/>
                <a:gd name="connsiteY99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36073 w 2150240"/>
                <a:gd name="connsiteY57" fmla="*/ 2048564 h 2089839"/>
                <a:gd name="connsiteX58" fmla="*/ 1226548 w 2150240"/>
                <a:gd name="connsiteY58" fmla="*/ 2054914 h 2089839"/>
                <a:gd name="connsiteX59" fmla="*/ 1175748 w 2150240"/>
                <a:gd name="connsiteY59" fmla="*/ 2067614 h 2089839"/>
                <a:gd name="connsiteX60" fmla="*/ 1150348 w 2150240"/>
                <a:gd name="connsiteY60" fmla="*/ 2080314 h 2089839"/>
                <a:gd name="connsiteX61" fmla="*/ 1102723 w 2150240"/>
                <a:gd name="connsiteY61" fmla="*/ 2089839 h 2089839"/>
                <a:gd name="connsiteX62" fmla="*/ 928098 w 2150240"/>
                <a:gd name="connsiteY62" fmla="*/ 2080314 h 2089839"/>
                <a:gd name="connsiteX63" fmla="*/ 886823 w 2150240"/>
                <a:gd name="connsiteY63" fmla="*/ 2064439 h 2089839"/>
                <a:gd name="connsiteX64" fmla="*/ 845548 w 2150240"/>
                <a:gd name="connsiteY64" fmla="*/ 2045389 h 2089839"/>
                <a:gd name="connsiteX65" fmla="*/ 731248 w 2150240"/>
                <a:gd name="connsiteY65" fmla="*/ 1943789 h 2089839"/>
                <a:gd name="connsiteX66" fmla="*/ 715373 w 2150240"/>
                <a:gd name="connsiteY66" fmla="*/ 1927914 h 2089839"/>
                <a:gd name="connsiteX67" fmla="*/ 699498 w 2150240"/>
                <a:gd name="connsiteY67" fmla="*/ 1915214 h 2089839"/>
                <a:gd name="connsiteX68" fmla="*/ 680448 w 2150240"/>
                <a:gd name="connsiteY68" fmla="*/ 1896164 h 2089839"/>
                <a:gd name="connsiteX69" fmla="*/ 601073 w 2150240"/>
                <a:gd name="connsiteY69" fmla="*/ 1816789 h 2089839"/>
                <a:gd name="connsiteX70" fmla="*/ 578848 w 2150240"/>
                <a:gd name="connsiteY70" fmla="*/ 1791389 h 2089839"/>
                <a:gd name="connsiteX71" fmla="*/ 537573 w 2150240"/>
                <a:gd name="connsiteY71" fmla="*/ 1750114 h 2089839"/>
                <a:gd name="connsiteX72" fmla="*/ 499473 w 2150240"/>
                <a:gd name="connsiteY72" fmla="*/ 1715189 h 2089839"/>
                <a:gd name="connsiteX73" fmla="*/ 470898 w 2150240"/>
                <a:gd name="connsiteY73" fmla="*/ 1680264 h 2089839"/>
                <a:gd name="connsiteX74" fmla="*/ 413748 w 2150240"/>
                <a:gd name="connsiteY74" fmla="*/ 1632639 h 2089839"/>
                <a:gd name="connsiteX75" fmla="*/ 118473 w 2150240"/>
                <a:gd name="connsiteY75" fmla="*/ 1350064 h 2089839"/>
                <a:gd name="connsiteX76" fmla="*/ 83548 w 2150240"/>
                <a:gd name="connsiteY76" fmla="*/ 1302439 h 2089839"/>
                <a:gd name="connsiteX77" fmla="*/ 64498 w 2150240"/>
                <a:gd name="connsiteY77" fmla="*/ 1277039 h 2089839"/>
                <a:gd name="connsiteX78" fmla="*/ 35923 w 2150240"/>
                <a:gd name="connsiteY78" fmla="*/ 1216714 h 2089839"/>
                <a:gd name="connsiteX79" fmla="*/ 26398 w 2150240"/>
                <a:gd name="connsiteY79" fmla="*/ 1181789 h 2089839"/>
                <a:gd name="connsiteX80" fmla="*/ 20048 w 2150240"/>
                <a:gd name="connsiteY80" fmla="*/ 1159564 h 2089839"/>
                <a:gd name="connsiteX81" fmla="*/ 16873 w 2150240"/>
                <a:gd name="connsiteY81" fmla="*/ 1143689 h 2089839"/>
                <a:gd name="connsiteX82" fmla="*/ 7348 w 2150240"/>
                <a:gd name="connsiteY82" fmla="*/ 1105589 h 2089839"/>
                <a:gd name="connsiteX83" fmla="*/ 998 w 2150240"/>
                <a:gd name="connsiteY83" fmla="*/ 1023039 h 2089839"/>
                <a:gd name="connsiteX84" fmla="*/ 10523 w 2150240"/>
                <a:gd name="connsiteY84" fmla="*/ 892864 h 2089839"/>
                <a:gd name="connsiteX85" fmla="*/ 35923 w 2150240"/>
                <a:gd name="connsiteY85" fmla="*/ 845239 h 2089839"/>
                <a:gd name="connsiteX86" fmla="*/ 51798 w 2150240"/>
                <a:gd name="connsiteY86" fmla="*/ 816664 h 2089839"/>
                <a:gd name="connsiteX87" fmla="*/ 83548 w 2150240"/>
                <a:gd name="connsiteY87" fmla="*/ 772214 h 2089839"/>
                <a:gd name="connsiteX88" fmla="*/ 99423 w 2150240"/>
                <a:gd name="connsiteY88" fmla="*/ 753164 h 2089839"/>
                <a:gd name="connsiteX89" fmla="*/ 308973 w 2150240"/>
                <a:gd name="connsiteY89" fmla="*/ 534089 h 2089839"/>
                <a:gd name="connsiteX90" fmla="*/ 366123 w 2150240"/>
                <a:gd name="connsiteY90" fmla="*/ 473764 h 2089839"/>
                <a:gd name="connsiteX91" fmla="*/ 445498 w 2150240"/>
                <a:gd name="connsiteY91" fmla="*/ 388039 h 2089839"/>
                <a:gd name="connsiteX92" fmla="*/ 493123 w 2150240"/>
                <a:gd name="connsiteY92" fmla="*/ 343589 h 2089839"/>
                <a:gd name="connsiteX93" fmla="*/ 712198 w 2150240"/>
                <a:gd name="connsiteY93" fmla="*/ 146739 h 2089839"/>
                <a:gd name="connsiteX94" fmla="*/ 750298 w 2150240"/>
                <a:gd name="connsiteY94" fmla="*/ 121339 h 2089839"/>
                <a:gd name="connsiteX95" fmla="*/ 785223 w 2150240"/>
                <a:gd name="connsiteY95" fmla="*/ 99114 h 2089839"/>
                <a:gd name="connsiteX96" fmla="*/ 883648 w 2150240"/>
                <a:gd name="connsiteY96" fmla="*/ 48314 h 2089839"/>
                <a:gd name="connsiteX97" fmla="*/ 1080498 w 2150240"/>
                <a:gd name="connsiteY97" fmla="*/ 689 h 2089839"/>
                <a:gd name="connsiteX98" fmla="*/ 1197973 w 2150240"/>
                <a:gd name="connsiteY98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58298 w 2150240"/>
                <a:gd name="connsiteY56" fmla="*/ 2042214 h 2089839"/>
                <a:gd name="connsiteX57" fmla="*/ 1226548 w 2150240"/>
                <a:gd name="connsiteY57" fmla="*/ 2054914 h 2089839"/>
                <a:gd name="connsiteX58" fmla="*/ 1175748 w 2150240"/>
                <a:gd name="connsiteY58" fmla="*/ 2067614 h 2089839"/>
                <a:gd name="connsiteX59" fmla="*/ 1150348 w 2150240"/>
                <a:gd name="connsiteY59" fmla="*/ 2080314 h 2089839"/>
                <a:gd name="connsiteX60" fmla="*/ 1102723 w 2150240"/>
                <a:gd name="connsiteY60" fmla="*/ 2089839 h 2089839"/>
                <a:gd name="connsiteX61" fmla="*/ 928098 w 2150240"/>
                <a:gd name="connsiteY61" fmla="*/ 2080314 h 2089839"/>
                <a:gd name="connsiteX62" fmla="*/ 886823 w 2150240"/>
                <a:gd name="connsiteY62" fmla="*/ 2064439 h 2089839"/>
                <a:gd name="connsiteX63" fmla="*/ 845548 w 2150240"/>
                <a:gd name="connsiteY63" fmla="*/ 2045389 h 2089839"/>
                <a:gd name="connsiteX64" fmla="*/ 731248 w 2150240"/>
                <a:gd name="connsiteY64" fmla="*/ 1943789 h 2089839"/>
                <a:gd name="connsiteX65" fmla="*/ 715373 w 2150240"/>
                <a:gd name="connsiteY65" fmla="*/ 1927914 h 2089839"/>
                <a:gd name="connsiteX66" fmla="*/ 699498 w 2150240"/>
                <a:gd name="connsiteY66" fmla="*/ 1915214 h 2089839"/>
                <a:gd name="connsiteX67" fmla="*/ 680448 w 2150240"/>
                <a:gd name="connsiteY67" fmla="*/ 1896164 h 2089839"/>
                <a:gd name="connsiteX68" fmla="*/ 601073 w 2150240"/>
                <a:gd name="connsiteY68" fmla="*/ 1816789 h 2089839"/>
                <a:gd name="connsiteX69" fmla="*/ 578848 w 2150240"/>
                <a:gd name="connsiteY69" fmla="*/ 1791389 h 2089839"/>
                <a:gd name="connsiteX70" fmla="*/ 537573 w 2150240"/>
                <a:gd name="connsiteY70" fmla="*/ 1750114 h 2089839"/>
                <a:gd name="connsiteX71" fmla="*/ 499473 w 2150240"/>
                <a:gd name="connsiteY71" fmla="*/ 1715189 h 2089839"/>
                <a:gd name="connsiteX72" fmla="*/ 470898 w 2150240"/>
                <a:gd name="connsiteY72" fmla="*/ 1680264 h 2089839"/>
                <a:gd name="connsiteX73" fmla="*/ 413748 w 2150240"/>
                <a:gd name="connsiteY73" fmla="*/ 1632639 h 2089839"/>
                <a:gd name="connsiteX74" fmla="*/ 118473 w 2150240"/>
                <a:gd name="connsiteY74" fmla="*/ 1350064 h 2089839"/>
                <a:gd name="connsiteX75" fmla="*/ 83548 w 2150240"/>
                <a:gd name="connsiteY75" fmla="*/ 1302439 h 2089839"/>
                <a:gd name="connsiteX76" fmla="*/ 64498 w 2150240"/>
                <a:gd name="connsiteY76" fmla="*/ 1277039 h 2089839"/>
                <a:gd name="connsiteX77" fmla="*/ 35923 w 2150240"/>
                <a:gd name="connsiteY77" fmla="*/ 1216714 h 2089839"/>
                <a:gd name="connsiteX78" fmla="*/ 26398 w 2150240"/>
                <a:gd name="connsiteY78" fmla="*/ 1181789 h 2089839"/>
                <a:gd name="connsiteX79" fmla="*/ 20048 w 2150240"/>
                <a:gd name="connsiteY79" fmla="*/ 1159564 h 2089839"/>
                <a:gd name="connsiteX80" fmla="*/ 16873 w 2150240"/>
                <a:gd name="connsiteY80" fmla="*/ 1143689 h 2089839"/>
                <a:gd name="connsiteX81" fmla="*/ 7348 w 2150240"/>
                <a:gd name="connsiteY81" fmla="*/ 1105589 h 2089839"/>
                <a:gd name="connsiteX82" fmla="*/ 998 w 2150240"/>
                <a:gd name="connsiteY82" fmla="*/ 1023039 h 2089839"/>
                <a:gd name="connsiteX83" fmla="*/ 10523 w 2150240"/>
                <a:gd name="connsiteY83" fmla="*/ 892864 h 2089839"/>
                <a:gd name="connsiteX84" fmla="*/ 35923 w 2150240"/>
                <a:gd name="connsiteY84" fmla="*/ 845239 h 2089839"/>
                <a:gd name="connsiteX85" fmla="*/ 51798 w 2150240"/>
                <a:gd name="connsiteY85" fmla="*/ 816664 h 2089839"/>
                <a:gd name="connsiteX86" fmla="*/ 83548 w 2150240"/>
                <a:gd name="connsiteY86" fmla="*/ 772214 h 2089839"/>
                <a:gd name="connsiteX87" fmla="*/ 99423 w 2150240"/>
                <a:gd name="connsiteY87" fmla="*/ 753164 h 2089839"/>
                <a:gd name="connsiteX88" fmla="*/ 308973 w 2150240"/>
                <a:gd name="connsiteY88" fmla="*/ 534089 h 2089839"/>
                <a:gd name="connsiteX89" fmla="*/ 366123 w 2150240"/>
                <a:gd name="connsiteY89" fmla="*/ 473764 h 2089839"/>
                <a:gd name="connsiteX90" fmla="*/ 445498 w 2150240"/>
                <a:gd name="connsiteY90" fmla="*/ 388039 h 2089839"/>
                <a:gd name="connsiteX91" fmla="*/ 493123 w 2150240"/>
                <a:gd name="connsiteY91" fmla="*/ 343589 h 2089839"/>
                <a:gd name="connsiteX92" fmla="*/ 712198 w 2150240"/>
                <a:gd name="connsiteY92" fmla="*/ 146739 h 2089839"/>
                <a:gd name="connsiteX93" fmla="*/ 750298 w 2150240"/>
                <a:gd name="connsiteY93" fmla="*/ 121339 h 2089839"/>
                <a:gd name="connsiteX94" fmla="*/ 785223 w 2150240"/>
                <a:gd name="connsiteY94" fmla="*/ 99114 h 2089839"/>
                <a:gd name="connsiteX95" fmla="*/ 883648 w 2150240"/>
                <a:gd name="connsiteY95" fmla="*/ 48314 h 2089839"/>
                <a:gd name="connsiteX96" fmla="*/ 1080498 w 2150240"/>
                <a:gd name="connsiteY96" fmla="*/ 689 h 2089839"/>
                <a:gd name="connsiteX97" fmla="*/ 1197973 w 2150240"/>
                <a:gd name="connsiteY97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70998 w 2150240"/>
                <a:gd name="connsiteY55" fmla="*/ 2035864 h 2089839"/>
                <a:gd name="connsiteX56" fmla="*/ 1226548 w 2150240"/>
                <a:gd name="connsiteY56" fmla="*/ 2054914 h 2089839"/>
                <a:gd name="connsiteX57" fmla="*/ 1175748 w 2150240"/>
                <a:gd name="connsiteY57" fmla="*/ 2067614 h 2089839"/>
                <a:gd name="connsiteX58" fmla="*/ 1150348 w 2150240"/>
                <a:gd name="connsiteY58" fmla="*/ 2080314 h 2089839"/>
                <a:gd name="connsiteX59" fmla="*/ 1102723 w 2150240"/>
                <a:gd name="connsiteY59" fmla="*/ 2089839 h 2089839"/>
                <a:gd name="connsiteX60" fmla="*/ 928098 w 2150240"/>
                <a:gd name="connsiteY60" fmla="*/ 2080314 h 2089839"/>
                <a:gd name="connsiteX61" fmla="*/ 886823 w 2150240"/>
                <a:gd name="connsiteY61" fmla="*/ 2064439 h 2089839"/>
                <a:gd name="connsiteX62" fmla="*/ 845548 w 2150240"/>
                <a:gd name="connsiteY62" fmla="*/ 2045389 h 2089839"/>
                <a:gd name="connsiteX63" fmla="*/ 731248 w 2150240"/>
                <a:gd name="connsiteY63" fmla="*/ 1943789 h 2089839"/>
                <a:gd name="connsiteX64" fmla="*/ 715373 w 2150240"/>
                <a:gd name="connsiteY64" fmla="*/ 1927914 h 2089839"/>
                <a:gd name="connsiteX65" fmla="*/ 699498 w 2150240"/>
                <a:gd name="connsiteY65" fmla="*/ 1915214 h 2089839"/>
                <a:gd name="connsiteX66" fmla="*/ 680448 w 2150240"/>
                <a:gd name="connsiteY66" fmla="*/ 1896164 h 2089839"/>
                <a:gd name="connsiteX67" fmla="*/ 601073 w 2150240"/>
                <a:gd name="connsiteY67" fmla="*/ 1816789 h 2089839"/>
                <a:gd name="connsiteX68" fmla="*/ 578848 w 2150240"/>
                <a:gd name="connsiteY68" fmla="*/ 1791389 h 2089839"/>
                <a:gd name="connsiteX69" fmla="*/ 537573 w 2150240"/>
                <a:gd name="connsiteY69" fmla="*/ 1750114 h 2089839"/>
                <a:gd name="connsiteX70" fmla="*/ 499473 w 2150240"/>
                <a:gd name="connsiteY70" fmla="*/ 1715189 h 2089839"/>
                <a:gd name="connsiteX71" fmla="*/ 470898 w 2150240"/>
                <a:gd name="connsiteY71" fmla="*/ 1680264 h 2089839"/>
                <a:gd name="connsiteX72" fmla="*/ 413748 w 2150240"/>
                <a:gd name="connsiteY72" fmla="*/ 1632639 h 2089839"/>
                <a:gd name="connsiteX73" fmla="*/ 118473 w 2150240"/>
                <a:gd name="connsiteY73" fmla="*/ 1350064 h 2089839"/>
                <a:gd name="connsiteX74" fmla="*/ 83548 w 2150240"/>
                <a:gd name="connsiteY74" fmla="*/ 1302439 h 2089839"/>
                <a:gd name="connsiteX75" fmla="*/ 64498 w 2150240"/>
                <a:gd name="connsiteY75" fmla="*/ 1277039 h 2089839"/>
                <a:gd name="connsiteX76" fmla="*/ 35923 w 2150240"/>
                <a:gd name="connsiteY76" fmla="*/ 1216714 h 2089839"/>
                <a:gd name="connsiteX77" fmla="*/ 26398 w 2150240"/>
                <a:gd name="connsiteY77" fmla="*/ 1181789 h 2089839"/>
                <a:gd name="connsiteX78" fmla="*/ 20048 w 2150240"/>
                <a:gd name="connsiteY78" fmla="*/ 1159564 h 2089839"/>
                <a:gd name="connsiteX79" fmla="*/ 16873 w 2150240"/>
                <a:gd name="connsiteY79" fmla="*/ 1143689 h 2089839"/>
                <a:gd name="connsiteX80" fmla="*/ 7348 w 2150240"/>
                <a:gd name="connsiteY80" fmla="*/ 1105589 h 2089839"/>
                <a:gd name="connsiteX81" fmla="*/ 998 w 2150240"/>
                <a:gd name="connsiteY81" fmla="*/ 1023039 h 2089839"/>
                <a:gd name="connsiteX82" fmla="*/ 10523 w 2150240"/>
                <a:gd name="connsiteY82" fmla="*/ 892864 h 2089839"/>
                <a:gd name="connsiteX83" fmla="*/ 35923 w 2150240"/>
                <a:gd name="connsiteY83" fmla="*/ 845239 h 2089839"/>
                <a:gd name="connsiteX84" fmla="*/ 51798 w 2150240"/>
                <a:gd name="connsiteY84" fmla="*/ 816664 h 2089839"/>
                <a:gd name="connsiteX85" fmla="*/ 83548 w 2150240"/>
                <a:gd name="connsiteY85" fmla="*/ 772214 h 2089839"/>
                <a:gd name="connsiteX86" fmla="*/ 99423 w 2150240"/>
                <a:gd name="connsiteY86" fmla="*/ 753164 h 2089839"/>
                <a:gd name="connsiteX87" fmla="*/ 308973 w 2150240"/>
                <a:gd name="connsiteY87" fmla="*/ 534089 h 2089839"/>
                <a:gd name="connsiteX88" fmla="*/ 366123 w 2150240"/>
                <a:gd name="connsiteY88" fmla="*/ 473764 h 2089839"/>
                <a:gd name="connsiteX89" fmla="*/ 445498 w 2150240"/>
                <a:gd name="connsiteY89" fmla="*/ 388039 h 2089839"/>
                <a:gd name="connsiteX90" fmla="*/ 493123 w 2150240"/>
                <a:gd name="connsiteY90" fmla="*/ 343589 h 2089839"/>
                <a:gd name="connsiteX91" fmla="*/ 712198 w 2150240"/>
                <a:gd name="connsiteY91" fmla="*/ 146739 h 2089839"/>
                <a:gd name="connsiteX92" fmla="*/ 750298 w 2150240"/>
                <a:gd name="connsiteY92" fmla="*/ 121339 h 2089839"/>
                <a:gd name="connsiteX93" fmla="*/ 785223 w 2150240"/>
                <a:gd name="connsiteY93" fmla="*/ 99114 h 2089839"/>
                <a:gd name="connsiteX94" fmla="*/ 883648 w 2150240"/>
                <a:gd name="connsiteY94" fmla="*/ 48314 h 2089839"/>
                <a:gd name="connsiteX95" fmla="*/ 1080498 w 2150240"/>
                <a:gd name="connsiteY95" fmla="*/ 689 h 2089839"/>
                <a:gd name="connsiteX96" fmla="*/ 1197973 w 2150240"/>
                <a:gd name="connsiteY96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75748 w 2150240"/>
                <a:gd name="connsiteY56" fmla="*/ 2067614 h 2089839"/>
                <a:gd name="connsiteX57" fmla="*/ 1150348 w 2150240"/>
                <a:gd name="connsiteY57" fmla="*/ 2080314 h 2089839"/>
                <a:gd name="connsiteX58" fmla="*/ 1102723 w 2150240"/>
                <a:gd name="connsiteY58" fmla="*/ 2089839 h 2089839"/>
                <a:gd name="connsiteX59" fmla="*/ 928098 w 2150240"/>
                <a:gd name="connsiteY59" fmla="*/ 2080314 h 2089839"/>
                <a:gd name="connsiteX60" fmla="*/ 886823 w 2150240"/>
                <a:gd name="connsiteY60" fmla="*/ 2064439 h 2089839"/>
                <a:gd name="connsiteX61" fmla="*/ 845548 w 2150240"/>
                <a:gd name="connsiteY61" fmla="*/ 2045389 h 2089839"/>
                <a:gd name="connsiteX62" fmla="*/ 731248 w 2150240"/>
                <a:gd name="connsiteY62" fmla="*/ 1943789 h 2089839"/>
                <a:gd name="connsiteX63" fmla="*/ 715373 w 2150240"/>
                <a:gd name="connsiteY63" fmla="*/ 1927914 h 2089839"/>
                <a:gd name="connsiteX64" fmla="*/ 699498 w 2150240"/>
                <a:gd name="connsiteY64" fmla="*/ 1915214 h 2089839"/>
                <a:gd name="connsiteX65" fmla="*/ 680448 w 2150240"/>
                <a:gd name="connsiteY65" fmla="*/ 1896164 h 2089839"/>
                <a:gd name="connsiteX66" fmla="*/ 601073 w 2150240"/>
                <a:gd name="connsiteY66" fmla="*/ 1816789 h 2089839"/>
                <a:gd name="connsiteX67" fmla="*/ 578848 w 2150240"/>
                <a:gd name="connsiteY67" fmla="*/ 1791389 h 2089839"/>
                <a:gd name="connsiteX68" fmla="*/ 537573 w 2150240"/>
                <a:gd name="connsiteY68" fmla="*/ 1750114 h 2089839"/>
                <a:gd name="connsiteX69" fmla="*/ 499473 w 2150240"/>
                <a:gd name="connsiteY69" fmla="*/ 1715189 h 2089839"/>
                <a:gd name="connsiteX70" fmla="*/ 470898 w 2150240"/>
                <a:gd name="connsiteY70" fmla="*/ 1680264 h 2089839"/>
                <a:gd name="connsiteX71" fmla="*/ 413748 w 2150240"/>
                <a:gd name="connsiteY71" fmla="*/ 1632639 h 2089839"/>
                <a:gd name="connsiteX72" fmla="*/ 118473 w 2150240"/>
                <a:gd name="connsiteY72" fmla="*/ 1350064 h 2089839"/>
                <a:gd name="connsiteX73" fmla="*/ 83548 w 2150240"/>
                <a:gd name="connsiteY73" fmla="*/ 1302439 h 2089839"/>
                <a:gd name="connsiteX74" fmla="*/ 64498 w 2150240"/>
                <a:gd name="connsiteY74" fmla="*/ 1277039 h 2089839"/>
                <a:gd name="connsiteX75" fmla="*/ 35923 w 2150240"/>
                <a:gd name="connsiteY75" fmla="*/ 1216714 h 2089839"/>
                <a:gd name="connsiteX76" fmla="*/ 26398 w 2150240"/>
                <a:gd name="connsiteY76" fmla="*/ 1181789 h 2089839"/>
                <a:gd name="connsiteX77" fmla="*/ 20048 w 2150240"/>
                <a:gd name="connsiteY77" fmla="*/ 1159564 h 2089839"/>
                <a:gd name="connsiteX78" fmla="*/ 16873 w 2150240"/>
                <a:gd name="connsiteY78" fmla="*/ 1143689 h 2089839"/>
                <a:gd name="connsiteX79" fmla="*/ 7348 w 2150240"/>
                <a:gd name="connsiteY79" fmla="*/ 1105589 h 2089839"/>
                <a:gd name="connsiteX80" fmla="*/ 998 w 2150240"/>
                <a:gd name="connsiteY80" fmla="*/ 1023039 h 2089839"/>
                <a:gd name="connsiteX81" fmla="*/ 10523 w 2150240"/>
                <a:gd name="connsiteY81" fmla="*/ 892864 h 2089839"/>
                <a:gd name="connsiteX82" fmla="*/ 35923 w 2150240"/>
                <a:gd name="connsiteY82" fmla="*/ 845239 h 2089839"/>
                <a:gd name="connsiteX83" fmla="*/ 51798 w 2150240"/>
                <a:gd name="connsiteY83" fmla="*/ 816664 h 2089839"/>
                <a:gd name="connsiteX84" fmla="*/ 83548 w 2150240"/>
                <a:gd name="connsiteY84" fmla="*/ 772214 h 2089839"/>
                <a:gd name="connsiteX85" fmla="*/ 99423 w 2150240"/>
                <a:gd name="connsiteY85" fmla="*/ 753164 h 2089839"/>
                <a:gd name="connsiteX86" fmla="*/ 308973 w 2150240"/>
                <a:gd name="connsiteY86" fmla="*/ 534089 h 2089839"/>
                <a:gd name="connsiteX87" fmla="*/ 366123 w 2150240"/>
                <a:gd name="connsiteY87" fmla="*/ 473764 h 2089839"/>
                <a:gd name="connsiteX88" fmla="*/ 445498 w 2150240"/>
                <a:gd name="connsiteY88" fmla="*/ 388039 h 2089839"/>
                <a:gd name="connsiteX89" fmla="*/ 493123 w 2150240"/>
                <a:gd name="connsiteY89" fmla="*/ 343589 h 2089839"/>
                <a:gd name="connsiteX90" fmla="*/ 712198 w 2150240"/>
                <a:gd name="connsiteY90" fmla="*/ 146739 h 2089839"/>
                <a:gd name="connsiteX91" fmla="*/ 750298 w 2150240"/>
                <a:gd name="connsiteY91" fmla="*/ 121339 h 2089839"/>
                <a:gd name="connsiteX92" fmla="*/ 785223 w 2150240"/>
                <a:gd name="connsiteY92" fmla="*/ 99114 h 2089839"/>
                <a:gd name="connsiteX93" fmla="*/ 883648 w 2150240"/>
                <a:gd name="connsiteY93" fmla="*/ 48314 h 2089839"/>
                <a:gd name="connsiteX94" fmla="*/ 1080498 w 2150240"/>
                <a:gd name="connsiteY94" fmla="*/ 689 h 2089839"/>
                <a:gd name="connsiteX95" fmla="*/ 1197973 w 2150240"/>
                <a:gd name="connsiteY95" fmla="*/ 35614 h 2089839"/>
                <a:gd name="connsiteX0" fmla="*/ 1197973 w 2150240"/>
                <a:gd name="connsiteY0" fmla="*/ 35614 h 2089839"/>
                <a:gd name="connsiteX1" fmla="*/ 1217023 w 2150240"/>
                <a:gd name="connsiteY1" fmla="*/ 45139 h 2089839"/>
                <a:gd name="connsiteX2" fmla="*/ 1239248 w 2150240"/>
                <a:gd name="connsiteY2" fmla="*/ 48314 h 2089839"/>
                <a:gd name="connsiteX3" fmla="*/ 1258298 w 2150240"/>
                <a:gd name="connsiteY3" fmla="*/ 61014 h 2089839"/>
                <a:gd name="connsiteX4" fmla="*/ 1270998 w 2150240"/>
                <a:gd name="connsiteY4" fmla="*/ 67364 h 2089839"/>
                <a:gd name="connsiteX5" fmla="*/ 1290048 w 2150240"/>
                <a:gd name="connsiteY5" fmla="*/ 83239 h 2089839"/>
                <a:gd name="connsiteX6" fmla="*/ 1309098 w 2150240"/>
                <a:gd name="connsiteY6" fmla="*/ 89589 h 2089839"/>
                <a:gd name="connsiteX7" fmla="*/ 1324973 w 2150240"/>
                <a:gd name="connsiteY7" fmla="*/ 102289 h 2089839"/>
                <a:gd name="connsiteX8" fmla="*/ 1334498 w 2150240"/>
                <a:gd name="connsiteY8" fmla="*/ 105464 h 2089839"/>
                <a:gd name="connsiteX9" fmla="*/ 1340848 w 2150240"/>
                <a:gd name="connsiteY9" fmla="*/ 114989 h 2089839"/>
                <a:gd name="connsiteX10" fmla="*/ 1356723 w 2150240"/>
                <a:gd name="connsiteY10" fmla="*/ 124514 h 2089839"/>
                <a:gd name="connsiteX11" fmla="*/ 1455148 w 2150240"/>
                <a:gd name="connsiteY11" fmla="*/ 229289 h 2089839"/>
                <a:gd name="connsiteX12" fmla="*/ 1499598 w 2150240"/>
                <a:gd name="connsiteY12" fmla="*/ 270564 h 2089839"/>
                <a:gd name="connsiteX13" fmla="*/ 1512298 w 2150240"/>
                <a:gd name="connsiteY13" fmla="*/ 286439 h 2089839"/>
                <a:gd name="connsiteX14" fmla="*/ 1524998 w 2150240"/>
                <a:gd name="connsiteY14" fmla="*/ 299139 h 2089839"/>
                <a:gd name="connsiteX15" fmla="*/ 1531348 w 2150240"/>
                <a:gd name="connsiteY15" fmla="*/ 308664 h 2089839"/>
                <a:gd name="connsiteX16" fmla="*/ 1550398 w 2150240"/>
                <a:gd name="connsiteY16" fmla="*/ 327714 h 2089839"/>
                <a:gd name="connsiteX17" fmla="*/ 1559923 w 2150240"/>
                <a:gd name="connsiteY17" fmla="*/ 337239 h 2089839"/>
                <a:gd name="connsiteX18" fmla="*/ 1569448 w 2150240"/>
                <a:gd name="connsiteY18" fmla="*/ 349939 h 2089839"/>
                <a:gd name="connsiteX19" fmla="*/ 1594848 w 2150240"/>
                <a:gd name="connsiteY19" fmla="*/ 368989 h 2089839"/>
                <a:gd name="connsiteX20" fmla="*/ 1632948 w 2150240"/>
                <a:gd name="connsiteY20" fmla="*/ 400739 h 2089839"/>
                <a:gd name="connsiteX21" fmla="*/ 1648823 w 2150240"/>
                <a:gd name="connsiteY21" fmla="*/ 419789 h 2089839"/>
                <a:gd name="connsiteX22" fmla="*/ 1661523 w 2150240"/>
                <a:gd name="connsiteY22" fmla="*/ 429314 h 2089839"/>
                <a:gd name="connsiteX23" fmla="*/ 1683748 w 2150240"/>
                <a:gd name="connsiteY23" fmla="*/ 451539 h 2089839"/>
                <a:gd name="connsiteX24" fmla="*/ 1702798 w 2150240"/>
                <a:gd name="connsiteY24" fmla="*/ 470589 h 2089839"/>
                <a:gd name="connsiteX25" fmla="*/ 1712323 w 2150240"/>
                <a:gd name="connsiteY25" fmla="*/ 480114 h 2089839"/>
                <a:gd name="connsiteX26" fmla="*/ 1744073 w 2150240"/>
                <a:gd name="connsiteY26" fmla="*/ 505514 h 2089839"/>
                <a:gd name="connsiteX27" fmla="*/ 1753598 w 2150240"/>
                <a:gd name="connsiteY27" fmla="*/ 515039 h 2089839"/>
                <a:gd name="connsiteX28" fmla="*/ 1766298 w 2150240"/>
                <a:gd name="connsiteY28" fmla="*/ 524564 h 2089839"/>
                <a:gd name="connsiteX29" fmla="*/ 1782173 w 2150240"/>
                <a:gd name="connsiteY29" fmla="*/ 540439 h 2089839"/>
                <a:gd name="connsiteX30" fmla="*/ 1813923 w 2150240"/>
                <a:gd name="connsiteY30" fmla="*/ 565839 h 2089839"/>
                <a:gd name="connsiteX31" fmla="*/ 1817098 w 2150240"/>
                <a:gd name="connsiteY31" fmla="*/ 575364 h 2089839"/>
                <a:gd name="connsiteX32" fmla="*/ 1842498 w 2150240"/>
                <a:gd name="connsiteY32" fmla="*/ 597589 h 2089839"/>
                <a:gd name="connsiteX33" fmla="*/ 1893298 w 2150240"/>
                <a:gd name="connsiteY33" fmla="*/ 654739 h 2089839"/>
                <a:gd name="connsiteX34" fmla="*/ 2090148 w 2150240"/>
                <a:gd name="connsiteY34" fmla="*/ 905564 h 2089839"/>
                <a:gd name="connsiteX35" fmla="*/ 2131423 w 2150240"/>
                <a:gd name="connsiteY35" fmla="*/ 981764 h 2089839"/>
                <a:gd name="connsiteX36" fmla="*/ 2121898 w 2150240"/>
                <a:gd name="connsiteY36" fmla="*/ 1181789 h 2089839"/>
                <a:gd name="connsiteX37" fmla="*/ 1848848 w 2150240"/>
                <a:gd name="connsiteY37" fmla="*/ 1496114 h 2089839"/>
                <a:gd name="connsiteX38" fmla="*/ 1810748 w 2150240"/>
                <a:gd name="connsiteY38" fmla="*/ 1527864 h 2089839"/>
                <a:gd name="connsiteX39" fmla="*/ 1718673 w 2150240"/>
                <a:gd name="connsiteY39" fmla="*/ 1616764 h 2089839"/>
                <a:gd name="connsiteX40" fmla="*/ 1709148 w 2150240"/>
                <a:gd name="connsiteY40" fmla="*/ 1629464 h 2089839"/>
                <a:gd name="connsiteX41" fmla="*/ 1680573 w 2150240"/>
                <a:gd name="connsiteY41" fmla="*/ 1661214 h 2089839"/>
                <a:gd name="connsiteX42" fmla="*/ 1658348 w 2150240"/>
                <a:gd name="connsiteY42" fmla="*/ 1689789 h 2089839"/>
                <a:gd name="connsiteX43" fmla="*/ 1623423 w 2150240"/>
                <a:gd name="connsiteY43" fmla="*/ 1724714 h 2089839"/>
                <a:gd name="connsiteX44" fmla="*/ 1569448 w 2150240"/>
                <a:gd name="connsiteY44" fmla="*/ 1785039 h 2089839"/>
                <a:gd name="connsiteX45" fmla="*/ 1559923 w 2150240"/>
                <a:gd name="connsiteY45" fmla="*/ 1797739 h 2089839"/>
                <a:gd name="connsiteX46" fmla="*/ 1547223 w 2150240"/>
                <a:gd name="connsiteY46" fmla="*/ 1807264 h 2089839"/>
                <a:gd name="connsiteX47" fmla="*/ 1524998 w 2150240"/>
                <a:gd name="connsiteY47" fmla="*/ 1826314 h 2089839"/>
                <a:gd name="connsiteX48" fmla="*/ 1464673 w 2150240"/>
                <a:gd name="connsiteY48" fmla="*/ 1889814 h 2089839"/>
                <a:gd name="connsiteX49" fmla="*/ 1455148 w 2150240"/>
                <a:gd name="connsiteY49" fmla="*/ 1902514 h 2089839"/>
                <a:gd name="connsiteX50" fmla="*/ 1445623 w 2150240"/>
                <a:gd name="connsiteY50" fmla="*/ 1912039 h 2089839"/>
                <a:gd name="connsiteX51" fmla="*/ 1423398 w 2150240"/>
                <a:gd name="connsiteY51" fmla="*/ 1937439 h 2089839"/>
                <a:gd name="connsiteX52" fmla="*/ 1391648 w 2150240"/>
                <a:gd name="connsiteY52" fmla="*/ 1966014 h 2089839"/>
                <a:gd name="connsiteX53" fmla="*/ 1356723 w 2150240"/>
                <a:gd name="connsiteY53" fmla="*/ 1981889 h 2089839"/>
                <a:gd name="connsiteX54" fmla="*/ 1331323 w 2150240"/>
                <a:gd name="connsiteY54" fmla="*/ 1997764 h 2089839"/>
                <a:gd name="connsiteX55" fmla="*/ 1226548 w 2150240"/>
                <a:gd name="connsiteY55" fmla="*/ 2054914 h 2089839"/>
                <a:gd name="connsiteX56" fmla="*/ 1150348 w 2150240"/>
                <a:gd name="connsiteY56" fmla="*/ 2080314 h 2089839"/>
                <a:gd name="connsiteX57" fmla="*/ 1102723 w 2150240"/>
                <a:gd name="connsiteY57" fmla="*/ 2089839 h 2089839"/>
                <a:gd name="connsiteX58" fmla="*/ 928098 w 2150240"/>
                <a:gd name="connsiteY58" fmla="*/ 2080314 h 2089839"/>
                <a:gd name="connsiteX59" fmla="*/ 886823 w 2150240"/>
                <a:gd name="connsiteY59" fmla="*/ 2064439 h 2089839"/>
                <a:gd name="connsiteX60" fmla="*/ 845548 w 2150240"/>
                <a:gd name="connsiteY60" fmla="*/ 2045389 h 2089839"/>
                <a:gd name="connsiteX61" fmla="*/ 731248 w 2150240"/>
                <a:gd name="connsiteY61" fmla="*/ 1943789 h 2089839"/>
                <a:gd name="connsiteX62" fmla="*/ 715373 w 2150240"/>
                <a:gd name="connsiteY62" fmla="*/ 1927914 h 2089839"/>
                <a:gd name="connsiteX63" fmla="*/ 699498 w 2150240"/>
                <a:gd name="connsiteY63" fmla="*/ 1915214 h 2089839"/>
                <a:gd name="connsiteX64" fmla="*/ 680448 w 2150240"/>
                <a:gd name="connsiteY64" fmla="*/ 1896164 h 2089839"/>
                <a:gd name="connsiteX65" fmla="*/ 601073 w 2150240"/>
                <a:gd name="connsiteY65" fmla="*/ 1816789 h 2089839"/>
                <a:gd name="connsiteX66" fmla="*/ 578848 w 2150240"/>
                <a:gd name="connsiteY66" fmla="*/ 1791389 h 2089839"/>
                <a:gd name="connsiteX67" fmla="*/ 537573 w 2150240"/>
                <a:gd name="connsiteY67" fmla="*/ 1750114 h 2089839"/>
                <a:gd name="connsiteX68" fmla="*/ 499473 w 2150240"/>
                <a:gd name="connsiteY68" fmla="*/ 1715189 h 2089839"/>
                <a:gd name="connsiteX69" fmla="*/ 470898 w 2150240"/>
                <a:gd name="connsiteY69" fmla="*/ 1680264 h 2089839"/>
                <a:gd name="connsiteX70" fmla="*/ 413748 w 2150240"/>
                <a:gd name="connsiteY70" fmla="*/ 1632639 h 2089839"/>
                <a:gd name="connsiteX71" fmla="*/ 118473 w 2150240"/>
                <a:gd name="connsiteY71" fmla="*/ 1350064 h 2089839"/>
                <a:gd name="connsiteX72" fmla="*/ 83548 w 2150240"/>
                <a:gd name="connsiteY72" fmla="*/ 1302439 h 2089839"/>
                <a:gd name="connsiteX73" fmla="*/ 64498 w 2150240"/>
                <a:gd name="connsiteY73" fmla="*/ 1277039 h 2089839"/>
                <a:gd name="connsiteX74" fmla="*/ 35923 w 2150240"/>
                <a:gd name="connsiteY74" fmla="*/ 1216714 h 2089839"/>
                <a:gd name="connsiteX75" fmla="*/ 26398 w 2150240"/>
                <a:gd name="connsiteY75" fmla="*/ 1181789 h 2089839"/>
                <a:gd name="connsiteX76" fmla="*/ 20048 w 2150240"/>
                <a:gd name="connsiteY76" fmla="*/ 1159564 h 2089839"/>
                <a:gd name="connsiteX77" fmla="*/ 16873 w 2150240"/>
                <a:gd name="connsiteY77" fmla="*/ 1143689 h 2089839"/>
                <a:gd name="connsiteX78" fmla="*/ 7348 w 2150240"/>
                <a:gd name="connsiteY78" fmla="*/ 1105589 h 2089839"/>
                <a:gd name="connsiteX79" fmla="*/ 998 w 2150240"/>
                <a:gd name="connsiteY79" fmla="*/ 1023039 h 2089839"/>
                <a:gd name="connsiteX80" fmla="*/ 10523 w 2150240"/>
                <a:gd name="connsiteY80" fmla="*/ 892864 h 2089839"/>
                <a:gd name="connsiteX81" fmla="*/ 35923 w 2150240"/>
                <a:gd name="connsiteY81" fmla="*/ 845239 h 2089839"/>
                <a:gd name="connsiteX82" fmla="*/ 51798 w 2150240"/>
                <a:gd name="connsiteY82" fmla="*/ 816664 h 2089839"/>
                <a:gd name="connsiteX83" fmla="*/ 83548 w 2150240"/>
                <a:gd name="connsiteY83" fmla="*/ 772214 h 2089839"/>
                <a:gd name="connsiteX84" fmla="*/ 99423 w 2150240"/>
                <a:gd name="connsiteY84" fmla="*/ 753164 h 2089839"/>
                <a:gd name="connsiteX85" fmla="*/ 308973 w 2150240"/>
                <a:gd name="connsiteY85" fmla="*/ 534089 h 2089839"/>
                <a:gd name="connsiteX86" fmla="*/ 366123 w 2150240"/>
                <a:gd name="connsiteY86" fmla="*/ 473764 h 2089839"/>
                <a:gd name="connsiteX87" fmla="*/ 445498 w 2150240"/>
                <a:gd name="connsiteY87" fmla="*/ 388039 h 2089839"/>
                <a:gd name="connsiteX88" fmla="*/ 493123 w 2150240"/>
                <a:gd name="connsiteY88" fmla="*/ 343589 h 2089839"/>
                <a:gd name="connsiteX89" fmla="*/ 712198 w 2150240"/>
                <a:gd name="connsiteY89" fmla="*/ 146739 h 2089839"/>
                <a:gd name="connsiteX90" fmla="*/ 750298 w 2150240"/>
                <a:gd name="connsiteY90" fmla="*/ 121339 h 2089839"/>
                <a:gd name="connsiteX91" fmla="*/ 785223 w 2150240"/>
                <a:gd name="connsiteY91" fmla="*/ 99114 h 2089839"/>
                <a:gd name="connsiteX92" fmla="*/ 883648 w 2150240"/>
                <a:gd name="connsiteY92" fmla="*/ 48314 h 2089839"/>
                <a:gd name="connsiteX93" fmla="*/ 1080498 w 2150240"/>
                <a:gd name="connsiteY93" fmla="*/ 689 h 2089839"/>
                <a:gd name="connsiteX94" fmla="*/ 1197973 w 2150240"/>
                <a:gd name="connsiteY94" fmla="*/ 35614 h 2089839"/>
                <a:gd name="connsiteX0" fmla="*/ 1197973 w 2150240"/>
                <a:gd name="connsiteY0" fmla="*/ 35614 h 2091760"/>
                <a:gd name="connsiteX1" fmla="*/ 1217023 w 2150240"/>
                <a:gd name="connsiteY1" fmla="*/ 45139 h 2091760"/>
                <a:gd name="connsiteX2" fmla="*/ 1239248 w 2150240"/>
                <a:gd name="connsiteY2" fmla="*/ 48314 h 2091760"/>
                <a:gd name="connsiteX3" fmla="*/ 1258298 w 2150240"/>
                <a:gd name="connsiteY3" fmla="*/ 61014 h 2091760"/>
                <a:gd name="connsiteX4" fmla="*/ 1270998 w 2150240"/>
                <a:gd name="connsiteY4" fmla="*/ 67364 h 2091760"/>
                <a:gd name="connsiteX5" fmla="*/ 1290048 w 2150240"/>
                <a:gd name="connsiteY5" fmla="*/ 83239 h 2091760"/>
                <a:gd name="connsiteX6" fmla="*/ 1309098 w 2150240"/>
                <a:gd name="connsiteY6" fmla="*/ 89589 h 2091760"/>
                <a:gd name="connsiteX7" fmla="*/ 1324973 w 2150240"/>
                <a:gd name="connsiteY7" fmla="*/ 102289 h 2091760"/>
                <a:gd name="connsiteX8" fmla="*/ 1334498 w 2150240"/>
                <a:gd name="connsiteY8" fmla="*/ 105464 h 2091760"/>
                <a:gd name="connsiteX9" fmla="*/ 1340848 w 2150240"/>
                <a:gd name="connsiteY9" fmla="*/ 114989 h 2091760"/>
                <a:gd name="connsiteX10" fmla="*/ 1356723 w 2150240"/>
                <a:gd name="connsiteY10" fmla="*/ 124514 h 2091760"/>
                <a:gd name="connsiteX11" fmla="*/ 1455148 w 2150240"/>
                <a:gd name="connsiteY11" fmla="*/ 229289 h 2091760"/>
                <a:gd name="connsiteX12" fmla="*/ 1499598 w 2150240"/>
                <a:gd name="connsiteY12" fmla="*/ 270564 h 2091760"/>
                <a:gd name="connsiteX13" fmla="*/ 1512298 w 2150240"/>
                <a:gd name="connsiteY13" fmla="*/ 286439 h 2091760"/>
                <a:gd name="connsiteX14" fmla="*/ 1524998 w 2150240"/>
                <a:gd name="connsiteY14" fmla="*/ 299139 h 2091760"/>
                <a:gd name="connsiteX15" fmla="*/ 1531348 w 2150240"/>
                <a:gd name="connsiteY15" fmla="*/ 308664 h 2091760"/>
                <a:gd name="connsiteX16" fmla="*/ 1550398 w 2150240"/>
                <a:gd name="connsiteY16" fmla="*/ 327714 h 2091760"/>
                <a:gd name="connsiteX17" fmla="*/ 1559923 w 2150240"/>
                <a:gd name="connsiteY17" fmla="*/ 337239 h 2091760"/>
                <a:gd name="connsiteX18" fmla="*/ 1569448 w 2150240"/>
                <a:gd name="connsiteY18" fmla="*/ 349939 h 2091760"/>
                <a:gd name="connsiteX19" fmla="*/ 1594848 w 2150240"/>
                <a:gd name="connsiteY19" fmla="*/ 368989 h 2091760"/>
                <a:gd name="connsiteX20" fmla="*/ 1632948 w 2150240"/>
                <a:gd name="connsiteY20" fmla="*/ 400739 h 2091760"/>
                <a:gd name="connsiteX21" fmla="*/ 1648823 w 2150240"/>
                <a:gd name="connsiteY21" fmla="*/ 419789 h 2091760"/>
                <a:gd name="connsiteX22" fmla="*/ 1661523 w 2150240"/>
                <a:gd name="connsiteY22" fmla="*/ 429314 h 2091760"/>
                <a:gd name="connsiteX23" fmla="*/ 1683748 w 2150240"/>
                <a:gd name="connsiteY23" fmla="*/ 451539 h 2091760"/>
                <a:gd name="connsiteX24" fmla="*/ 1702798 w 2150240"/>
                <a:gd name="connsiteY24" fmla="*/ 470589 h 2091760"/>
                <a:gd name="connsiteX25" fmla="*/ 1712323 w 2150240"/>
                <a:gd name="connsiteY25" fmla="*/ 480114 h 2091760"/>
                <a:gd name="connsiteX26" fmla="*/ 1744073 w 2150240"/>
                <a:gd name="connsiteY26" fmla="*/ 505514 h 2091760"/>
                <a:gd name="connsiteX27" fmla="*/ 1753598 w 2150240"/>
                <a:gd name="connsiteY27" fmla="*/ 515039 h 2091760"/>
                <a:gd name="connsiteX28" fmla="*/ 1766298 w 2150240"/>
                <a:gd name="connsiteY28" fmla="*/ 524564 h 2091760"/>
                <a:gd name="connsiteX29" fmla="*/ 1782173 w 2150240"/>
                <a:gd name="connsiteY29" fmla="*/ 540439 h 2091760"/>
                <a:gd name="connsiteX30" fmla="*/ 1813923 w 2150240"/>
                <a:gd name="connsiteY30" fmla="*/ 565839 h 2091760"/>
                <a:gd name="connsiteX31" fmla="*/ 1817098 w 2150240"/>
                <a:gd name="connsiteY31" fmla="*/ 575364 h 2091760"/>
                <a:gd name="connsiteX32" fmla="*/ 1842498 w 2150240"/>
                <a:gd name="connsiteY32" fmla="*/ 597589 h 2091760"/>
                <a:gd name="connsiteX33" fmla="*/ 1893298 w 2150240"/>
                <a:gd name="connsiteY33" fmla="*/ 654739 h 2091760"/>
                <a:gd name="connsiteX34" fmla="*/ 2090148 w 2150240"/>
                <a:gd name="connsiteY34" fmla="*/ 905564 h 2091760"/>
                <a:gd name="connsiteX35" fmla="*/ 2131423 w 2150240"/>
                <a:gd name="connsiteY35" fmla="*/ 981764 h 2091760"/>
                <a:gd name="connsiteX36" fmla="*/ 2121898 w 2150240"/>
                <a:gd name="connsiteY36" fmla="*/ 1181789 h 2091760"/>
                <a:gd name="connsiteX37" fmla="*/ 1848848 w 2150240"/>
                <a:gd name="connsiteY37" fmla="*/ 1496114 h 2091760"/>
                <a:gd name="connsiteX38" fmla="*/ 1810748 w 2150240"/>
                <a:gd name="connsiteY38" fmla="*/ 1527864 h 2091760"/>
                <a:gd name="connsiteX39" fmla="*/ 1718673 w 2150240"/>
                <a:gd name="connsiteY39" fmla="*/ 1616764 h 2091760"/>
                <a:gd name="connsiteX40" fmla="*/ 1709148 w 2150240"/>
                <a:gd name="connsiteY40" fmla="*/ 1629464 h 2091760"/>
                <a:gd name="connsiteX41" fmla="*/ 1680573 w 2150240"/>
                <a:gd name="connsiteY41" fmla="*/ 1661214 h 2091760"/>
                <a:gd name="connsiteX42" fmla="*/ 1658348 w 2150240"/>
                <a:gd name="connsiteY42" fmla="*/ 1689789 h 2091760"/>
                <a:gd name="connsiteX43" fmla="*/ 1623423 w 2150240"/>
                <a:gd name="connsiteY43" fmla="*/ 1724714 h 2091760"/>
                <a:gd name="connsiteX44" fmla="*/ 1569448 w 2150240"/>
                <a:gd name="connsiteY44" fmla="*/ 1785039 h 2091760"/>
                <a:gd name="connsiteX45" fmla="*/ 1559923 w 2150240"/>
                <a:gd name="connsiteY45" fmla="*/ 1797739 h 2091760"/>
                <a:gd name="connsiteX46" fmla="*/ 1547223 w 2150240"/>
                <a:gd name="connsiteY46" fmla="*/ 1807264 h 2091760"/>
                <a:gd name="connsiteX47" fmla="*/ 1524998 w 2150240"/>
                <a:gd name="connsiteY47" fmla="*/ 1826314 h 2091760"/>
                <a:gd name="connsiteX48" fmla="*/ 1464673 w 2150240"/>
                <a:gd name="connsiteY48" fmla="*/ 1889814 h 2091760"/>
                <a:gd name="connsiteX49" fmla="*/ 1455148 w 2150240"/>
                <a:gd name="connsiteY49" fmla="*/ 1902514 h 2091760"/>
                <a:gd name="connsiteX50" fmla="*/ 1445623 w 2150240"/>
                <a:gd name="connsiteY50" fmla="*/ 1912039 h 2091760"/>
                <a:gd name="connsiteX51" fmla="*/ 1423398 w 2150240"/>
                <a:gd name="connsiteY51" fmla="*/ 1937439 h 2091760"/>
                <a:gd name="connsiteX52" fmla="*/ 1391648 w 2150240"/>
                <a:gd name="connsiteY52" fmla="*/ 1966014 h 2091760"/>
                <a:gd name="connsiteX53" fmla="*/ 1356723 w 2150240"/>
                <a:gd name="connsiteY53" fmla="*/ 1981889 h 2091760"/>
                <a:gd name="connsiteX54" fmla="*/ 1331323 w 2150240"/>
                <a:gd name="connsiteY54" fmla="*/ 1997764 h 2091760"/>
                <a:gd name="connsiteX55" fmla="*/ 1226548 w 2150240"/>
                <a:gd name="connsiteY55" fmla="*/ 2054914 h 2091760"/>
                <a:gd name="connsiteX56" fmla="*/ 1102723 w 2150240"/>
                <a:gd name="connsiteY56" fmla="*/ 2089839 h 2091760"/>
                <a:gd name="connsiteX57" fmla="*/ 928098 w 2150240"/>
                <a:gd name="connsiteY57" fmla="*/ 2080314 h 2091760"/>
                <a:gd name="connsiteX58" fmla="*/ 886823 w 2150240"/>
                <a:gd name="connsiteY58" fmla="*/ 2064439 h 2091760"/>
                <a:gd name="connsiteX59" fmla="*/ 845548 w 2150240"/>
                <a:gd name="connsiteY59" fmla="*/ 2045389 h 2091760"/>
                <a:gd name="connsiteX60" fmla="*/ 731248 w 2150240"/>
                <a:gd name="connsiteY60" fmla="*/ 1943789 h 2091760"/>
                <a:gd name="connsiteX61" fmla="*/ 715373 w 2150240"/>
                <a:gd name="connsiteY61" fmla="*/ 1927914 h 2091760"/>
                <a:gd name="connsiteX62" fmla="*/ 699498 w 2150240"/>
                <a:gd name="connsiteY62" fmla="*/ 1915214 h 2091760"/>
                <a:gd name="connsiteX63" fmla="*/ 680448 w 2150240"/>
                <a:gd name="connsiteY63" fmla="*/ 1896164 h 2091760"/>
                <a:gd name="connsiteX64" fmla="*/ 601073 w 2150240"/>
                <a:gd name="connsiteY64" fmla="*/ 1816789 h 2091760"/>
                <a:gd name="connsiteX65" fmla="*/ 578848 w 2150240"/>
                <a:gd name="connsiteY65" fmla="*/ 1791389 h 2091760"/>
                <a:gd name="connsiteX66" fmla="*/ 537573 w 2150240"/>
                <a:gd name="connsiteY66" fmla="*/ 1750114 h 2091760"/>
                <a:gd name="connsiteX67" fmla="*/ 499473 w 2150240"/>
                <a:gd name="connsiteY67" fmla="*/ 1715189 h 2091760"/>
                <a:gd name="connsiteX68" fmla="*/ 470898 w 2150240"/>
                <a:gd name="connsiteY68" fmla="*/ 1680264 h 2091760"/>
                <a:gd name="connsiteX69" fmla="*/ 413748 w 2150240"/>
                <a:gd name="connsiteY69" fmla="*/ 1632639 h 2091760"/>
                <a:gd name="connsiteX70" fmla="*/ 118473 w 2150240"/>
                <a:gd name="connsiteY70" fmla="*/ 1350064 h 2091760"/>
                <a:gd name="connsiteX71" fmla="*/ 83548 w 2150240"/>
                <a:gd name="connsiteY71" fmla="*/ 1302439 h 2091760"/>
                <a:gd name="connsiteX72" fmla="*/ 64498 w 2150240"/>
                <a:gd name="connsiteY72" fmla="*/ 1277039 h 2091760"/>
                <a:gd name="connsiteX73" fmla="*/ 35923 w 2150240"/>
                <a:gd name="connsiteY73" fmla="*/ 1216714 h 2091760"/>
                <a:gd name="connsiteX74" fmla="*/ 26398 w 2150240"/>
                <a:gd name="connsiteY74" fmla="*/ 1181789 h 2091760"/>
                <a:gd name="connsiteX75" fmla="*/ 20048 w 2150240"/>
                <a:gd name="connsiteY75" fmla="*/ 1159564 h 2091760"/>
                <a:gd name="connsiteX76" fmla="*/ 16873 w 2150240"/>
                <a:gd name="connsiteY76" fmla="*/ 1143689 h 2091760"/>
                <a:gd name="connsiteX77" fmla="*/ 7348 w 2150240"/>
                <a:gd name="connsiteY77" fmla="*/ 1105589 h 2091760"/>
                <a:gd name="connsiteX78" fmla="*/ 998 w 2150240"/>
                <a:gd name="connsiteY78" fmla="*/ 1023039 h 2091760"/>
                <a:gd name="connsiteX79" fmla="*/ 10523 w 2150240"/>
                <a:gd name="connsiteY79" fmla="*/ 892864 h 2091760"/>
                <a:gd name="connsiteX80" fmla="*/ 35923 w 2150240"/>
                <a:gd name="connsiteY80" fmla="*/ 845239 h 2091760"/>
                <a:gd name="connsiteX81" fmla="*/ 51798 w 2150240"/>
                <a:gd name="connsiteY81" fmla="*/ 816664 h 2091760"/>
                <a:gd name="connsiteX82" fmla="*/ 83548 w 2150240"/>
                <a:gd name="connsiteY82" fmla="*/ 772214 h 2091760"/>
                <a:gd name="connsiteX83" fmla="*/ 99423 w 2150240"/>
                <a:gd name="connsiteY83" fmla="*/ 753164 h 2091760"/>
                <a:gd name="connsiteX84" fmla="*/ 308973 w 2150240"/>
                <a:gd name="connsiteY84" fmla="*/ 534089 h 2091760"/>
                <a:gd name="connsiteX85" fmla="*/ 366123 w 2150240"/>
                <a:gd name="connsiteY85" fmla="*/ 473764 h 2091760"/>
                <a:gd name="connsiteX86" fmla="*/ 445498 w 2150240"/>
                <a:gd name="connsiteY86" fmla="*/ 388039 h 2091760"/>
                <a:gd name="connsiteX87" fmla="*/ 493123 w 2150240"/>
                <a:gd name="connsiteY87" fmla="*/ 343589 h 2091760"/>
                <a:gd name="connsiteX88" fmla="*/ 712198 w 2150240"/>
                <a:gd name="connsiteY88" fmla="*/ 146739 h 2091760"/>
                <a:gd name="connsiteX89" fmla="*/ 750298 w 2150240"/>
                <a:gd name="connsiteY89" fmla="*/ 121339 h 2091760"/>
                <a:gd name="connsiteX90" fmla="*/ 785223 w 2150240"/>
                <a:gd name="connsiteY90" fmla="*/ 99114 h 2091760"/>
                <a:gd name="connsiteX91" fmla="*/ 883648 w 2150240"/>
                <a:gd name="connsiteY91" fmla="*/ 48314 h 2091760"/>
                <a:gd name="connsiteX92" fmla="*/ 1080498 w 2150240"/>
                <a:gd name="connsiteY92" fmla="*/ 689 h 2091760"/>
                <a:gd name="connsiteX93" fmla="*/ 1197973 w 2150240"/>
                <a:gd name="connsiteY93" fmla="*/ 35614 h 2091760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356723 w 2150240"/>
                <a:gd name="connsiteY10" fmla="*/ 124514 h 2100018"/>
                <a:gd name="connsiteX11" fmla="*/ 1455148 w 2150240"/>
                <a:gd name="connsiteY11" fmla="*/ 229289 h 2100018"/>
                <a:gd name="connsiteX12" fmla="*/ 1499598 w 2150240"/>
                <a:gd name="connsiteY12" fmla="*/ 270564 h 2100018"/>
                <a:gd name="connsiteX13" fmla="*/ 1512298 w 2150240"/>
                <a:gd name="connsiteY13" fmla="*/ 286439 h 2100018"/>
                <a:gd name="connsiteX14" fmla="*/ 1524998 w 2150240"/>
                <a:gd name="connsiteY14" fmla="*/ 299139 h 2100018"/>
                <a:gd name="connsiteX15" fmla="*/ 1531348 w 2150240"/>
                <a:gd name="connsiteY15" fmla="*/ 308664 h 2100018"/>
                <a:gd name="connsiteX16" fmla="*/ 1550398 w 2150240"/>
                <a:gd name="connsiteY16" fmla="*/ 327714 h 2100018"/>
                <a:gd name="connsiteX17" fmla="*/ 1559923 w 2150240"/>
                <a:gd name="connsiteY17" fmla="*/ 337239 h 2100018"/>
                <a:gd name="connsiteX18" fmla="*/ 1569448 w 2150240"/>
                <a:gd name="connsiteY18" fmla="*/ 349939 h 2100018"/>
                <a:gd name="connsiteX19" fmla="*/ 1594848 w 2150240"/>
                <a:gd name="connsiteY19" fmla="*/ 368989 h 2100018"/>
                <a:gd name="connsiteX20" fmla="*/ 1632948 w 2150240"/>
                <a:gd name="connsiteY20" fmla="*/ 400739 h 2100018"/>
                <a:gd name="connsiteX21" fmla="*/ 1648823 w 2150240"/>
                <a:gd name="connsiteY21" fmla="*/ 419789 h 2100018"/>
                <a:gd name="connsiteX22" fmla="*/ 1661523 w 2150240"/>
                <a:gd name="connsiteY22" fmla="*/ 429314 h 2100018"/>
                <a:gd name="connsiteX23" fmla="*/ 1683748 w 2150240"/>
                <a:gd name="connsiteY23" fmla="*/ 451539 h 2100018"/>
                <a:gd name="connsiteX24" fmla="*/ 1702798 w 2150240"/>
                <a:gd name="connsiteY24" fmla="*/ 470589 h 2100018"/>
                <a:gd name="connsiteX25" fmla="*/ 1712323 w 2150240"/>
                <a:gd name="connsiteY25" fmla="*/ 480114 h 2100018"/>
                <a:gd name="connsiteX26" fmla="*/ 1744073 w 2150240"/>
                <a:gd name="connsiteY26" fmla="*/ 505514 h 2100018"/>
                <a:gd name="connsiteX27" fmla="*/ 1753598 w 2150240"/>
                <a:gd name="connsiteY27" fmla="*/ 515039 h 2100018"/>
                <a:gd name="connsiteX28" fmla="*/ 1766298 w 2150240"/>
                <a:gd name="connsiteY28" fmla="*/ 524564 h 2100018"/>
                <a:gd name="connsiteX29" fmla="*/ 1782173 w 2150240"/>
                <a:gd name="connsiteY29" fmla="*/ 540439 h 2100018"/>
                <a:gd name="connsiteX30" fmla="*/ 1813923 w 2150240"/>
                <a:gd name="connsiteY30" fmla="*/ 565839 h 2100018"/>
                <a:gd name="connsiteX31" fmla="*/ 1817098 w 2150240"/>
                <a:gd name="connsiteY31" fmla="*/ 575364 h 2100018"/>
                <a:gd name="connsiteX32" fmla="*/ 1842498 w 2150240"/>
                <a:gd name="connsiteY32" fmla="*/ 597589 h 2100018"/>
                <a:gd name="connsiteX33" fmla="*/ 1893298 w 2150240"/>
                <a:gd name="connsiteY33" fmla="*/ 654739 h 2100018"/>
                <a:gd name="connsiteX34" fmla="*/ 2090148 w 2150240"/>
                <a:gd name="connsiteY34" fmla="*/ 905564 h 2100018"/>
                <a:gd name="connsiteX35" fmla="*/ 2131423 w 2150240"/>
                <a:gd name="connsiteY35" fmla="*/ 981764 h 2100018"/>
                <a:gd name="connsiteX36" fmla="*/ 2121898 w 2150240"/>
                <a:gd name="connsiteY36" fmla="*/ 1181789 h 2100018"/>
                <a:gd name="connsiteX37" fmla="*/ 1848848 w 2150240"/>
                <a:gd name="connsiteY37" fmla="*/ 1496114 h 2100018"/>
                <a:gd name="connsiteX38" fmla="*/ 1810748 w 2150240"/>
                <a:gd name="connsiteY38" fmla="*/ 1527864 h 2100018"/>
                <a:gd name="connsiteX39" fmla="*/ 1718673 w 2150240"/>
                <a:gd name="connsiteY39" fmla="*/ 1616764 h 2100018"/>
                <a:gd name="connsiteX40" fmla="*/ 1709148 w 2150240"/>
                <a:gd name="connsiteY40" fmla="*/ 1629464 h 2100018"/>
                <a:gd name="connsiteX41" fmla="*/ 1680573 w 2150240"/>
                <a:gd name="connsiteY41" fmla="*/ 1661214 h 2100018"/>
                <a:gd name="connsiteX42" fmla="*/ 1658348 w 2150240"/>
                <a:gd name="connsiteY42" fmla="*/ 1689789 h 2100018"/>
                <a:gd name="connsiteX43" fmla="*/ 1623423 w 2150240"/>
                <a:gd name="connsiteY43" fmla="*/ 1724714 h 2100018"/>
                <a:gd name="connsiteX44" fmla="*/ 1569448 w 2150240"/>
                <a:gd name="connsiteY44" fmla="*/ 1785039 h 2100018"/>
                <a:gd name="connsiteX45" fmla="*/ 1559923 w 2150240"/>
                <a:gd name="connsiteY45" fmla="*/ 1797739 h 2100018"/>
                <a:gd name="connsiteX46" fmla="*/ 1547223 w 2150240"/>
                <a:gd name="connsiteY46" fmla="*/ 1807264 h 2100018"/>
                <a:gd name="connsiteX47" fmla="*/ 1524998 w 2150240"/>
                <a:gd name="connsiteY47" fmla="*/ 1826314 h 2100018"/>
                <a:gd name="connsiteX48" fmla="*/ 1464673 w 2150240"/>
                <a:gd name="connsiteY48" fmla="*/ 1889814 h 2100018"/>
                <a:gd name="connsiteX49" fmla="*/ 1455148 w 2150240"/>
                <a:gd name="connsiteY49" fmla="*/ 1902514 h 2100018"/>
                <a:gd name="connsiteX50" fmla="*/ 1445623 w 2150240"/>
                <a:gd name="connsiteY50" fmla="*/ 1912039 h 2100018"/>
                <a:gd name="connsiteX51" fmla="*/ 1423398 w 2150240"/>
                <a:gd name="connsiteY51" fmla="*/ 1937439 h 2100018"/>
                <a:gd name="connsiteX52" fmla="*/ 1391648 w 2150240"/>
                <a:gd name="connsiteY52" fmla="*/ 1966014 h 2100018"/>
                <a:gd name="connsiteX53" fmla="*/ 1356723 w 2150240"/>
                <a:gd name="connsiteY53" fmla="*/ 1981889 h 2100018"/>
                <a:gd name="connsiteX54" fmla="*/ 1331323 w 2150240"/>
                <a:gd name="connsiteY54" fmla="*/ 1997764 h 2100018"/>
                <a:gd name="connsiteX55" fmla="*/ 1226548 w 2150240"/>
                <a:gd name="connsiteY55" fmla="*/ 2054914 h 2100018"/>
                <a:gd name="connsiteX56" fmla="*/ 1102723 w 2150240"/>
                <a:gd name="connsiteY56" fmla="*/ 2099364 h 2100018"/>
                <a:gd name="connsiteX57" fmla="*/ 928098 w 2150240"/>
                <a:gd name="connsiteY57" fmla="*/ 2080314 h 2100018"/>
                <a:gd name="connsiteX58" fmla="*/ 886823 w 2150240"/>
                <a:gd name="connsiteY58" fmla="*/ 2064439 h 2100018"/>
                <a:gd name="connsiteX59" fmla="*/ 845548 w 2150240"/>
                <a:gd name="connsiteY59" fmla="*/ 2045389 h 2100018"/>
                <a:gd name="connsiteX60" fmla="*/ 731248 w 2150240"/>
                <a:gd name="connsiteY60" fmla="*/ 1943789 h 2100018"/>
                <a:gd name="connsiteX61" fmla="*/ 715373 w 2150240"/>
                <a:gd name="connsiteY61" fmla="*/ 1927914 h 2100018"/>
                <a:gd name="connsiteX62" fmla="*/ 699498 w 2150240"/>
                <a:gd name="connsiteY62" fmla="*/ 1915214 h 2100018"/>
                <a:gd name="connsiteX63" fmla="*/ 680448 w 2150240"/>
                <a:gd name="connsiteY63" fmla="*/ 1896164 h 2100018"/>
                <a:gd name="connsiteX64" fmla="*/ 601073 w 2150240"/>
                <a:gd name="connsiteY64" fmla="*/ 1816789 h 2100018"/>
                <a:gd name="connsiteX65" fmla="*/ 578848 w 2150240"/>
                <a:gd name="connsiteY65" fmla="*/ 1791389 h 2100018"/>
                <a:gd name="connsiteX66" fmla="*/ 537573 w 2150240"/>
                <a:gd name="connsiteY66" fmla="*/ 1750114 h 2100018"/>
                <a:gd name="connsiteX67" fmla="*/ 499473 w 2150240"/>
                <a:gd name="connsiteY67" fmla="*/ 1715189 h 2100018"/>
                <a:gd name="connsiteX68" fmla="*/ 470898 w 2150240"/>
                <a:gd name="connsiteY68" fmla="*/ 1680264 h 2100018"/>
                <a:gd name="connsiteX69" fmla="*/ 413748 w 2150240"/>
                <a:gd name="connsiteY69" fmla="*/ 1632639 h 2100018"/>
                <a:gd name="connsiteX70" fmla="*/ 118473 w 2150240"/>
                <a:gd name="connsiteY70" fmla="*/ 1350064 h 2100018"/>
                <a:gd name="connsiteX71" fmla="*/ 83548 w 2150240"/>
                <a:gd name="connsiteY71" fmla="*/ 1302439 h 2100018"/>
                <a:gd name="connsiteX72" fmla="*/ 64498 w 2150240"/>
                <a:gd name="connsiteY72" fmla="*/ 1277039 h 2100018"/>
                <a:gd name="connsiteX73" fmla="*/ 35923 w 2150240"/>
                <a:gd name="connsiteY73" fmla="*/ 1216714 h 2100018"/>
                <a:gd name="connsiteX74" fmla="*/ 26398 w 2150240"/>
                <a:gd name="connsiteY74" fmla="*/ 1181789 h 2100018"/>
                <a:gd name="connsiteX75" fmla="*/ 20048 w 2150240"/>
                <a:gd name="connsiteY75" fmla="*/ 1159564 h 2100018"/>
                <a:gd name="connsiteX76" fmla="*/ 16873 w 2150240"/>
                <a:gd name="connsiteY76" fmla="*/ 1143689 h 2100018"/>
                <a:gd name="connsiteX77" fmla="*/ 7348 w 2150240"/>
                <a:gd name="connsiteY77" fmla="*/ 1105589 h 2100018"/>
                <a:gd name="connsiteX78" fmla="*/ 998 w 2150240"/>
                <a:gd name="connsiteY78" fmla="*/ 1023039 h 2100018"/>
                <a:gd name="connsiteX79" fmla="*/ 10523 w 2150240"/>
                <a:gd name="connsiteY79" fmla="*/ 892864 h 2100018"/>
                <a:gd name="connsiteX80" fmla="*/ 35923 w 2150240"/>
                <a:gd name="connsiteY80" fmla="*/ 845239 h 2100018"/>
                <a:gd name="connsiteX81" fmla="*/ 51798 w 2150240"/>
                <a:gd name="connsiteY81" fmla="*/ 816664 h 2100018"/>
                <a:gd name="connsiteX82" fmla="*/ 83548 w 2150240"/>
                <a:gd name="connsiteY82" fmla="*/ 772214 h 2100018"/>
                <a:gd name="connsiteX83" fmla="*/ 99423 w 2150240"/>
                <a:gd name="connsiteY83" fmla="*/ 753164 h 2100018"/>
                <a:gd name="connsiteX84" fmla="*/ 308973 w 2150240"/>
                <a:gd name="connsiteY84" fmla="*/ 534089 h 2100018"/>
                <a:gd name="connsiteX85" fmla="*/ 366123 w 2150240"/>
                <a:gd name="connsiteY85" fmla="*/ 473764 h 2100018"/>
                <a:gd name="connsiteX86" fmla="*/ 445498 w 2150240"/>
                <a:gd name="connsiteY86" fmla="*/ 388039 h 2100018"/>
                <a:gd name="connsiteX87" fmla="*/ 493123 w 2150240"/>
                <a:gd name="connsiteY87" fmla="*/ 343589 h 2100018"/>
                <a:gd name="connsiteX88" fmla="*/ 712198 w 2150240"/>
                <a:gd name="connsiteY88" fmla="*/ 146739 h 2100018"/>
                <a:gd name="connsiteX89" fmla="*/ 750298 w 2150240"/>
                <a:gd name="connsiteY89" fmla="*/ 121339 h 2100018"/>
                <a:gd name="connsiteX90" fmla="*/ 785223 w 2150240"/>
                <a:gd name="connsiteY90" fmla="*/ 99114 h 2100018"/>
                <a:gd name="connsiteX91" fmla="*/ 883648 w 2150240"/>
                <a:gd name="connsiteY91" fmla="*/ 48314 h 2100018"/>
                <a:gd name="connsiteX92" fmla="*/ 1080498 w 2150240"/>
                <a:gd name="connsiteY92" fmla="*/ 689 h 2100018"/>
                <a:gd name="connsiteX93" fmla="*/ 1197973 w 2150240"/>
                <a:gd name="connsiteY93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340848 w 2150240"/>
                <a:gd name="connsiteY9" fmla="*/ 114989 h 2100018"/>
                <a:gd name="connsiteX10" fmla="*/ 1455148 w 2150240"/>
                <a:gd name="connsiteY10" fmla="*/ 229289 h 2100018"/>
                <a:gd name="connsiteX11" fmla="*/ 1499598 w 2150240"/>
                <a:gd name="connsiteY11" fmla="*/ 270564 h 2100018"/>
                <a:gd name="connsiteX12" fmla="*/ 1512298 w 2150240"/>
                <a:gd name="connsiteY12" fmla="*/ 286439 h 2100018"/>
                <a:gd name="connsiteX13" fmla="*/ 1524998 w 2150240"/>
                <a:gd name="connsiteY13" fmla="*/ 299139 h 2100018"/>
                <a:gd name="connsiteX14" fmla="*/ 1531348 w 2150240"/>
                <a:gd name="connsiteY14" fmla="*/ 308664 h 2100018"/>
                <a:gd name="connsiteX15" fmla="*/ 1550398 w 2150240"/>
                <a:gd name="connsiteY15" fmla="*/ 327714 h 2100018"/>
                <a:gd name="connsiteX16" fmla="*/ 1559923 w 2150240"/>
                <a:gd name="connsiteY16" fmla="*/ 337239 h 2100018"/>
                <a:gd name="connsiteX17" fmla="*/ 1569448 w 2150240"/>
                <a:gd name="connsiteY17" fmla="*/ 349939 h 2100018"/>
                <a:gd name="connsiteX18" fmla="*/ 1594848 w 2150240"/>
                <a:gd name="connsiteY18" fmla="*/ 368989 h 2100018"/>
                <a:gd name="connsiteX19" fmla="*/ 1632948 w 2150240"/>
                <a:gd name="connsiteY19" fmla="*/ 400739 h 2100018"/>
                <a:gd name="connsiteX20" fmla="*/ 1648823 w 2150240"/>
                <a:gd name="connsiteY20" fmla="*/ 419789 h 2100018"/>
                <a:gd name="connsiteX21" fmla="*/ 1661523 w 2150240"/>
                <a:gd name="connsiteY21" fmla="*/ 429314 h 2100018"/>
                <a:gd name="connsiteX22" fmla="*/ 1683748 w 2150240"/>
                <a:gd name="connsiteY22" fmla="*/ 451539 h 2100018"/>
                <a:gd name="connsiteX23" fmla="*/ 1702798 w 2150240"/>
                <a:gd name="connsiteY23" fmla="*/ 470589 h 2100018"/>
                <a:gd name="connsiteX24" fmla="*/ 1712323 w 2150240"/>
                <a:gd name="connsiteY24" fmla="*/ 480114 h 2100018"/>
                <a:gd name="connsiteX25" fmla="*/ 1744073 w 2150240"/>
                <a:gd name="connsiteY25" fmla="*/ 505514 h 2100018"/>
                <a:gd name="connsiteX26" fmla="*/ 1753598 w 2150240"/>
                <a:gd name="connsiteY26" fmla="*/ 515039 h 2100018"/>
                <a:gd name="connsiteX27" fmla="*/ 1766298 w 2150240"/>
                <a:gd name="connsiteY27" fmla="*/ 524564 h 2100018"/>
                <a:gd name="connsiteX28" fmla="*/ 1782173 w 2150240"/>
                <a:gd name="connsiteY28" fmla="*/ 540439 h 2100018"/>
                <a:gd name="connsiteX29" fmla="*/ 1813923 w 2150240"/>
                <a:gd name="connsiteY29" fmla="*/ 565839 h 2100018"/>
                <a:gd name="connsiteX30" fmla="*/ 1817098 w 2150240"/>
                <a:gd name="connsiteY30" fmla="*/ 575364 h 2100018"/>
                <a:gd name="connsiteX31" fmla="*/ 1842498 w 2150240"/>
                <a:gd name="connsiteY31" fmla="*/ 597589 h 2100018"/>
                <a:gd name="connsiteX32" fmla="*/ 1893298 w 2150240"/>
                <a:gd name="connsiteY32" fmla="*/ 654739 h 2100018"/>
                <a:gd name="connsiteX33" fmla="*/ 2090148 w 2150240"/>
                <a:gd name="connsiteY33" fmla="*/ 905564 h 2100018"/>
                <a:gd name="connsiteX34" fmla="*/ 2131423 w 2150240"/>
                <a:gd name="connsiteY34" fmla="*/ 981764 h 2100018"/>
                <a:gd name="connsiteX35" fmla="*/ 2121898 w 2150240"/>
                <a:gd name="connsiteY35" fmla="*/ 1181789 h 2100018"/>
                <a:gd name="connsiteX36" fmla="*/ 1848848 w 2150240"/>
                <a:gd name="connsiteY36" fmla="*/ 1496114 h 2100018"/>
                <a:gd name="connsiteX37" fmla="*/ 1810748 w 2150240"/>
                <a:gd name="connsiteY37" fmla="*/ 1527864 h 2100018"/>
                <a:gd name="connsiteX38" fmla="*/ 1718673 w 2150240"/>
                <a:gd name="connsiteY38" fmla="*/ 1616764 h 2100018"/>
                <a:gd name="connsiteX39" fmla="*/ 1709148 w 2150240"/>
                <a:gd name="connsiteY39" fmla="*/ 1629464 h 2100018"/>
                <a:gd name="connsiteX40" fmla="*/ 1680573 w 2150240"/>
                <a:gd name="connsiteY40" fmla="*/ 1661214 h 2100018"/>
                <a:gd name="connsiteX41" fmla="*/ 1658348 w 2150240"/>
                <a:gd name="connsiteY41" fmla="*/ 1689789 h 2100018"/>
                <a:gd name="connsiteX42" fmla="*/ 1623423 w 2150240"/>
                <a:gd name="connsiteY42" fmla="*/ 1724714 h 2100018"/>
                <a:gd name="connsiteX43" fmla="*/ 1569448 w 2150240"/>
                <a:gd name="connsiteY43" fmla="*/ 1785039 h 2100018"/>
                <a:gd name="connsiteX44" fmla="*/ 1559923 w 2150240"/>
                <a:gd name="connsiteY44" fmla="*/ 1797739 h 2100018"/>
                <a:gd name="connsiteX45" fmla="*/ 1547223 w 2150240"/>
                <a:gd name="connsiteY45" fmla="*/ 1807264 h 2100018"/>
                <a:gd name="connsiteX46" fmla="*/ 1524998 w 2150240"/>
                <a:gd name="connsiteY46" fmla="*/ 1826314 h 2100018"/>
                <a:gd name="connsiteX47" fmla="*/ 1464673 w 2150240"/>
                <a:gd name="connsiteY47" fmla="*/ 1889814 h 2100018"/>
                <a:gd name="connsiteX48" fmla="*/ 1455148 w 2150240"/>
                <a:gd name="connsiteY48" fmla="*/ 1902514 h 2100018"/>
                <a:gd name="connsiteX49" fmla="*/ 1445623 w 2150240"/>
                <a:gd name="connsiteY49" fmla="*/ 1912039 h 2100018"/>
                <a:gd name="connsiteX50" fmla="*/ 1423398 w 2150240"/>
                <a:gd name="connsiteY50" fmla="*/ 1937439 h 2100018"/>
                <a:gd name="connsiteX51" fmla="*/ 1391648 w 2150240"/>
                <a:gd name="connsiteY51" fmla="*/ 1966014 h 2100018"/>
                <a:gd name="connsiteX52" fmla="*/ 1356723 w 2150240"/>
                <a:gd name="connsiteY52" fmla="*/ 1981889 h 2100018"/>
                <a:gd name="connsiteX53" fmla="*/ 1331323 w 2150240"/>
                <a:gd name="connsiteY53" fmla="*/ 1997764 h 2100018"/>
                <a:gd name="connsiteX54" fmla="*/ 1226548 w 2150240"/>
                <a:gd name="connsiteY54" fmla="*/ 2054914 h 2100018"/>
                <a:gd name="connsiteX55" fmla="*/ 1102723 w 2150240"/>
                <a:gd name="connsiteY55" fmla="*/ 2099364 h 2100018"/>
                <a:gd name="connsiteX56" fmla="*/ 928098 w 2150240"/>
                <a:gd name="connsiteY56" fmla="*/ 2080314 h 2100018"/>
                <a:gd name="connsiteX57" fmla="*/ 886823 w 2150240"/>
                <a:gd name="connsiteY57" fmla="*/ 2064439 h 2100018"/>
                <a:gd name="connsiteX58" fmla="*/ 845548 w 2150240"/>
                <a:gd name="connsiteY58" fmla="*/ 2045389 h 2100018"/>
                <a:gd name="connsiteX59" fmla="*/ 731248 w 2150240"/>
                <a:gd name="connsiteY59" fmla="*/ 1943789 h 2100018"/>
                <a:gd name="connsiteX60" fmla="*/ 715373 w 2150240"/>
                <a:gd name="connsiteY60" fmla="*/ 1927914 h 2100018"/>
                <a:gd name="connsiteX61" fmla="*/ 699498 w 2150240"/>
                <a:gd name="connsiteY61" fmla="*/ 1915214 h 2100018"/>
                <a:gd name="connsiteX62" fmla="*/ 680448 w 2150240"/>
                <a:gd name="connsiteY62" fmla="*/ 1896164 h 2100018"/>
                <a:gd name="connsiteX63" fmla="*/ 601073 w 2150240"/>
                <a:gd name="connsiteY63" fmla="*/ 1816789 h 2100018"/>
                <a:gd name="connsiteX64" fmla="*/ 578848 w 2150240"/>
                <a:gd name="connsiteY64" fmla="*/ 1791389 h 2100018"/>
                <a:gd name="connsiteX65" fmla="*/ 537573 w 2150240"/>
                <a:gd name="connsiteY65" fmla="*/ 1750114 h 2100018"/>
                <a:gd name="connsiteX66" fmla="*/ 499473 w 2150240"/>
                <a:gd name="connsiteY66" fmla="*/ 1715189 h 2100018"/>
                <a:gd name="connsiteX67" fmla="*/ 470898 w 2150240"/>
                <a:gd name="connsiteY67" fmla="*/ 1680264 h 2100018"/>
                <a:gd name="connsiteX68" fmla="*/ 413748 w 2150240"/>
                <a:gd name="connsiteY68" fmla="*/ 1632639 h 2100018"/>
                <a:gd name="connsiteX69" fmla="*/ 118473 w 2150240"/>
                <a:gd name="connsiteY69" fmla="*/ 1350064 h 2100018"/>
                <a:gd name="connsiteX70" fmla="*/ 83548 w 2150240"/>
                <a:gd name="connsiteY70" fmla="*/ 1302439 h 2100018"/>
                <a:gd name="connsiteX71" fmla="*/ 64498 w 2150240"/>
                <a:gd name="connsiteY71" fmla="*/ 1277039 h 2100018"/>
                <a:gd name="connsiteX72" fmla="*/ 35923 w 2150240"/>
                <a:gd name="connsiteY72" fmla="*/ 1216714 h 2100018"/>
                <a:gd name="connsiteX73" fmla="*/ 26398 w 2150240"/>
                <a:gd name="connsiteY73" fmla="*/ 1181789 h 2100018"/>
                <a:gd name="connsiteX74" fmla="*/ 20048 w 2150240"/>
                <a:gd name="connsiteY74" fmla="*/ 1159564 h 2100018"/>
                <a:gd name="connsiteX75" fmla="*/ 16873 w 2150240"/>
                <a:gd name="connsiteY75" fmla="*/ 1143689 h 2100018"/>
                <a:gd name="connsiteX76" fmla="*/ 7348 w 2150240"/>
                <a:gd name="connsiteY76" fmla="*/ 1105589 h 2100018"/>
                <a:gd name="connsiteX77" fmla="*/ 998 w 2150240"/>
                <a:gd name="connsiteY77" fmla="*/ 1023039 h 2100018"/>
                <a:gd name="connsiteX78" fmla="*/ 10523 w 2150240"/>
                <a:gd name="connsiteY78" fmla="*/ 892864 h 2100018"/>
                <a:gd name="connsiteX79" fmla="*/ 35923 w 2150240"/>
                <a:gd name="connsiteY79" fmla="*/ 845239 h 2100018"/>
                <a:gd name="connsiteX80" fmla="*/ 51798 w 2150240"/>
                <a:gd name="connsiteY80" fmla="*/ 816664 h 2100018"/>
                <a:gd name="connsiteX81" fmla="*/ 83548 w 2150240"/>
                <a:gd name="connsiteY81" fmla="*/ 772214 h 2100018"/>
                <a:gd name="connsiteX82" fmla="*/ 99423 w 2150240"/>
                <a:gd name="connsiteY82" fmla="*/ 753164 h 2100018"/>
                <a:gd name="connsiteX83" fmla="*/ 308973 w 2150240"/>
                <a:gd name="connsiteY83" fmla="*/ 534089 h 2100018"/>
                <a:gd name="connsiteX84" fmla="*/ 366123 w 2150240"/>
                <a:gd name="connsiteY84" fmla="*/ 473764 h 2100018"/>
                <a:gd name="connsiteX85" fmla="*/ 445498 w 2150240"/>
                <a:gd name="connsiteY85" fmla="*/ 388039 h 2100018"/>
                <a:gd name="connsiteX86" fmla="*/ 493123 w 2150240"/>
                <a:gd name="connsiteY86" fmla="*/ 343589 h 2100018"/>
                <a:gd name="connsiteX87" fmla="*/ 712198 w 2150240"/>
                <a:gd name="connsiteY87" fmla="*/ 146739 h 2100018"/>
                <a:gd name="connsiteX88" fmla="*/ 750298 w 2150240"/>
                <a:gd name="connsiteY88" fmla="*/ 121339 h 2100018"/>
                <a:gd name="connsiteX89" fmla="*/ 785223 w 2150240"/>
                <a:gd name="connsiteY89" fmla="*/ 99114 h 2100018"/>
                <a:gd name="connsiteX90" fmla="*/ 883648 w 2150240"/>
                <a:gd name="connsiteY90" fmla="*/ 48314 h 2100018"/>
                <a:gd name="connsiteX91" fmla="*/ 1080498 w 2150240"/>
                <a:gd name="connsiteY91" fmla="*/ 689 h 2100018"/>
                <a:gd name="connsiteX92" fmla="*/ 1197973 w 2150240"/>
                <a:gd name="connsiteY92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70998 w 2150240"/>
                <a:gd name="connsiteY4" fmla="*/ 67364 h 2100018"/>
                <a:gd name="connsiteX5" fmla="*/ 1290048 w 2150240"/>
                <a:gd name="connsiteY5" fmla="*/ 83239 h 2100018"/>
                <a:gd name="connsiteX6" fmla="*/ 1309098 w 2150240"/>
                <a:gd name="connsiteY6" fmla="*/ 89589 h 2100018"/>
                <a:gd name="connsiteX7" fmla="*/ 1324973 w 2150240"/>
                <a:gd name="connsiteY7" fmla="*/ 102289 h 2100018"/>
                <a:gd name="connsiteX8" fmla="*/ 1334498 w 2150240"/>
                <a:gd name="connsiteY8" fmla="*/ 105464 h 2100018"/>
                <a:gd name="connsiteX9" fmla="*/ 1455148 w 2150240"/>
                <a:gd name="connsiteY9" fmla="*/ 229289 h 2100018"/>
                <a:gd name="connsiteX10" fmla="*/ 1499598 w 2150240"/>
                <a:gd name="connsiteY10" fmla="*/ 270564 h 2100018"/>
                <a:gd name="connsiteX11" fmla="*/ 1512298 w 2150240"/>
                <a:gd name="connsiteY11" fmla="*/ 286439 h 2100018"/>
                <a:gd name="connsiteX12" fmla="*/ 1524998 w 2150240"/>
                <a:gd name="connsiteY12" fmla="*/ 299139 h 2100018"/>
                <a:gd name="connsiteX13" fmla="*/ 1531348 w 2150240"/>
                <a:gd name="connsiteY13" fmla="*/ 308664 h 2100018"/>
                <a:gd name="connsiteX14" fmla="*/ 1550398 w 2150240"/>
                <a:gd name="connsiteY14" fmla="*/ 327714 h 2100018"/>
                <a:gd name="connsiteX15" fmla="*/ 1559923 w 2150240"/>
                <a:gd name="connsiteY15" fmla="*/ 337239 h 2100018"/>
                <a:gd name="connsiteX16" fmla="*/ 1569448 w 2150240"/>
                <a:gd name="connsiteY16" fmla="*/ 349939 h 2100018"/>
                <a:gd name="connsiteX17" fmla="*/ 1594848 w 2150240"/>
                <a:gd name="connsiteY17" fmla="*/ 368989 h 2100018"/>
                <a:gd name="connsiteX18" fmla="*/ 1632948 w 2150240"/>
                <a:gd name="connsiteY18" fmla="*/ 400739 h 2100018"/>
                <a:gd name="connsiteX19" fmla="*/ 1648823 w 2150240"/>
                <a:gd name="connsiteY19" fmla="*/ 419789 h 2100018"/>
                <a:gd name="connsiteX20" fmla="*/ 1661523 w 2150240"/>
                <a:gd name="connsiteY20" fmla="*/ 429314 h 2100018"/>
                <a:gd name="connsiteX21" fmla="*/ 1683748 w 2150240"/>
                <a:gd name="connsiteY21" fmla="*/ 451539 h 2100018"/>
                <a:gd name="connsiteX22" fmla="*/ 1702798 w 2150240"/>
                <a:gd name="connsiteY22" fmla="*/ 470589 h 2100018"/>
                <a:gd name="connsiteX23" fmla="*/ 1712323 w 2150240"/>
                <a:gd name="connsiteY23" fmla="*/ 480114 h 2100018"/>
                <a:gd name="connsiteX24" fmla="*/ 1744073 w 2150240"/>
                <a:gd name="connsiteY24" fmla="*/ 505514 h 2100018"/>
                <a:gd name="connsiteX25" fmla="*/ 1753598 w 2150240"/>
                <a:gd name="connsiteY25" fmla="*/ 515039 h 2100018"/>
                <a:gd name="connsiteX26" fmla="*/ 1766298 w 2150240"/>
                <a:gd name="connsiteY26" fmla="*/ 524564 h 2100018"/>
                <a:gd name="connsiteX27" fmla="*/ 1782173 w 2150240"/>
                <a:gd name="connsiteY27" fmla="*/ 540439 h 2100018"/>
                <a:gd name="connsiteX28" fmla="*/ 1813923 w 2150240"/>
                <a:gd name="connsiteY28" fmla="*/ 565839 h 2100018"/>
                <a:gd name="connsiteX29" fmla="*/ 1817098 w 2150240"/>
                <a:gd name="connsiteY29" fmla="*/ 575364 h 2100018"/>
                <a:gd name="connsiteX30" fmla="*/ 1842498 w 2150240"/>
                <a:gd name="connsiteY30" fmla="*/ 597589 h 2100018"/>
                <a:gd name="connsiteX31" fmla="*/ 1893298 w 2150240"/>
                <a:gd name="connsiteY31" fmla="*/ 654739 h 2100018"/>
                <a:gd name="connsiteX32" fmla="*/ 2090148 w 2150240"/>
                <a:gd name="connsiteY32" fmla="*/ 905564 h 2100018"/>
                <a:gd name="connsiteX33" fmla="*/ 2131423 w 2150240"/>
                <a:gd name="connsiteY33" fmla="*/ 981764 h 2100018"/>
                <a:gd name="connsiteX34" fmla="*/ 2121898 w 2150240"/>
                <a:gd name="connsiteY34" fmla="*/ 1181789 h 2100018"/>
                <a:gd name="connsiteX35" fmla="*/ 1848848 w 2150240"/>
                <a:gd name="connsiteY35" fmla="*/ 1496114 h 2100018"/>
                <a:gd name="connsiteX36" fmla="*/ 1810748 w 2150240"/>
                <a:gd name="connsiteY36" fmla="*/ 1527864 h 2100018"/>
                <a:gd name="connsiteX37" fmla="*/ 1718673 w 2150240"/>
                <a:gd name="connsiteY37" fmla="*/ 1616764 h 2100018"/>
                <a:gd name="connsiteX38" fmla="*/ 1709148 w 2150240"/>
                <a:gd name="connsiteY38" fmla="*/ 1629464 h 2100018"/>
                <a:gd name="connsiteX39" fmla="*/ 1680573 w 2150240"/>
                <a:gd name="connsiteY39" fmla="*/ 1661214 h 2100018"/>
                <a:gd name="connsiteX40" fmla="*/ 1658348 w 2150240"/>
                <a:gd name="connsiteY40" fmla="*/ 1689789 h 2100018"/>
                <a:gd name="connsiteX41" fmla="*/ 1623423 w 2150240"/>
                <a:gd name="connsiteY41" fmla="*/ 1724714 h 2100018"/>
                <a:gd name="connsiteX42" fmla="*/ 1569448 w 2150240"/>
                <a:gd name="connsiteY42" fmla="*/ 1785039 h 2100018"/>
                <a:gd name="connsiteX43" fmla="*/ 1559923 w 2150240"/>
                <a:gd name="connsiteY43" fmla="*/ 1797739 h 2100018"/>
                <a:gd name="connsiteX44" fmla="*/ 1547223 w 2150240"/>
                <a:gd name="connsiteY44" fmla="*/ 1807264 h 2100018"/>
                <a:gd name="connsiteX45" fmla="*/ 1524998 w 2150240"/>
                <a:gd name="connsiteY45" fmla="*/ 1826314 h 2100018"/>
                <a:gd name="connsiteX46" fmla="*/ 1464673 w 2150240"/>
                <a:gd name="connsiteY46" fmla="*/ 1889814 h 2100018"/>
                <a:gd name="connsiteX47" fmla="*/ 1455148 w 2150240"/>
                <a:gd name="connsiteY47" fmla="*/ 1902514 h 2100018"/>
                <a:gd name="connsiteX48" fmla="*/ 1445623 w 2150240"/>
                <a:gd name="connsiteY48" fmla="*/ 1912039 h 2100018"/>
                <a:gd name="connsiteX49" fmla="*/ 1423398 w 2150240"/>
                <a:gd name="connsiteY49" fmla="*/ 1937439 h 2100018"/>
                <a:gd name="connsiteX50" fmla="*/ 1391648 w 2150240"/>
                <a:gd name="connsiteY50" fmla="*/ 1966014 h 2100018"/>
                <a:gd name="connsiteX51" fmla="*/ 1356723 w 2150240"/>
                <a:gd name="connsiteY51" fmla="*/ 1981889 h 2100018"/>
                <a:gd name="connsiteX52" fmla="*/ 1331323 w 2150240"/>
                <a:gd name="connsiteY52" fmla="*/ 1997764 h 2100018"/>
                <a:gd name="connsiteX53" fmla="*/ 1226548 w 2150240"/>
                <a:gd name="connsiteY53" fmla="*/ 2054914 h 2100018"/>
                <a:gd name="connsiteX54" fmla="*/ 1102723 w 2150240"/>
                <a:gd name="connsiteY54" fmla="*/ 2099364 h 2100018"/>
                <a:gd name="connsiteX55" fmla="*/ 928098 w 2150240"/>
                <a:gd name="connsiteY55" fmla="*/ 2080314 h 2100018"/>
                <a:gd name="connsiteX56" fmla="*/ 886823 w 2150240"/>
                <a:gd name="connsiteY56" fmla="*/ 2064439 h 2100018"/>
                <a:gd name="connsiteX57" fmla="*/ 845548 w 2150240"/>
                <a:gd name="connsiteY57" fmla="*/ 2045389 h 2100018"/>
                <a:gd name="connsiteX58" fmla="*/ 731248 w 2150240"/>
                <a:gd name="connsiteY58" fmla="*/ 1943789 h 2100018"/>
                <a:gd name="connsiteX59" fmla="*/ 715373 w 2150240"/>
                <a:gd name="connsiteY59" fmla="*/ 1927914 h 2100018"/>
                <a:gd name="connsiteX60" fmla="*/ 699498 w 2150240"/>
                <a:gd name="connsiteY60" fmla="*/ 1915214 h 2100018"/>
                <a:gd name="connsiteX61" fmla="*/ 680448 w 2150240"/>
                <a:gd name="connsiteY61" fmla="*/ 1896164 h 2100018"/>
                <a:gd name="connsiteX62" fmla="*/ 601073 w 2150240"/>
                <a:gd name="connsiteY62" fmla="*/ 1816789 h 2100018"/>
                <a:gd name="connsiteX63" fmla="*/ 578848 w 2150240"/>
                <a:gd name="connsiteY63" fmla="*/ 1791389 h 2100018"/>
                <a:gd name="connsiteX64" fmla="*/ 537573 w 2150240"/>
                <a:gd name="connsiteY64" fmla="*/ 1750114 h 2100018"/>
                <a:gd name="connsiteX65" fmla="*/ 499473 w 2150240"/>
                <a:gd name="connsiteY65" fmla="*/ 1715189 h 2100018"/>
                <a:gd name="connsiteX66" fmla="*/ 470898 w 2150240"/>
                <a:gd name="connsiteY66" fmla="*/ 1680264 h 2100018"/>
                <a:gd name="connsiteX67" fmla="*/ 413748 w 2150240"/>
                <a:gd name="connsiteY67" fmla="*/ 1632639 h 2100018"/>
                <a:gd name="connsiteX68" fmla="*/ 118473 w 2150240"/>
                <a:gd name="connsiteY68" fmla="*/ 1350064 h 2100018"/>
                <a:gd name="connsiteX69" fmla="*/ 83548 w 2150240"/>
                <a:gd name="connsiteY69" fmla="*/ 1302439 h 2100018"/>
                <a:gd name="connsiteX70" fmla="*/ 64498 w 2150240"/>
                <a:gd name="connsiteY70" fmla="*/ 1277039 h 2100018"/>
                <a:gd name="connsiteX71" fmla="*/ 35923 w 2150240"/>
                <a:gd name="connsiteY71" fmla="*/ 1216714 h 2100018"/>
                <a:gd name="connsiteX72" fmla="*/ 26398 w 2150240"/>
                <a:gd name="connsiteY72" fmla="*/ 1181789 h 2100018"/>
                <a:gd name="connsiteX73" fmla="*/ 20048 w 2150240"/>
                <a:gd name="connsiteY73" fmla="*/ 1159564 h 2100018"/>
                <a:gd name="connsiteX74" fmla="*/ 16873 w 2150240"/>
                <a:gd name="connsiteY74" fmla="*/ 1143689 h 2100018"/>
                <a:gd name="connsiteX75" fmla="*/ 7348 w 2150240"/>
                <a:gd name="connsiteY75" fmla="*/ 1105589 h 2100018"/>
                <a:gd name="connsiteX76" fmla="*/ 998 w 2150240"/>
                <a:gd name="connsiteY76" fmla="*/ 1023039 h 2100018"/>
                <a:gd name="connsiteX77" fmla="*/ 10523 w 2150240"/>
                <a:gd name="connsiteY77" fmla="*/ 892864 h 2100018"/>
                <a:gd name="connsiteX78" fmla="*/ 35923 w 2150240"/>
                <a:gd name="connsiteY78" fmla="*/ 845239 h 2100018"/>
                <a:gd name="connsiteX79" fmla="*/ 51798 w 2150240"/>
                <a:gd name="connsiteY79" fmla="*/ 816664 h 2100018"/>
                <a:gd name="connsiteX80" fmla="*/ 83548 w 2150240"/>
                <a:gd name="connsiteY80" fmla="*/ 772214 h 2100018"/>
                <a:gd name="connsiteX81" fmla="*/ 99423 w 2150240"/>
                <a:gd name="connsiteY81" fmla="*/ 753164 h 2100018"/>
                <a:gd name="connsiteX82" fmla="*/ 308973 w 2150240"/>
                <a:gd name="connsiteY82" fmla="*/ 534089 h 2100018"/>
                <a:gd name="connsiteX83" fmla="*/ 366123 w 2150240"/>
                <a:gd name="connsiteY83" fmla="*/ 473764 h 2100018"/>
                <a:gd name="connsiteX84" fmla="*/ 445498 w 2150240"/>
                <a:gd name="connsiteY84" fmla="*/ 388039 h 2100018"/>
                <a:gd name="connsiteX85" fmla="*/ 493123 w 2150240"/>
                <a:gd name="connsiteY85" fmla="*/ 343589 h 2100018"/>
                <a:gd name="connsiteX86" fmla="*/ 712198 w 2150240"/>
                <a:gd name="connsiteY86" fmla="*/ 146739 h 2100018"/>
                <a:gd name="connsiteX87" fmla="*/ 750298 w 2150240"/>
                <a:gd name="connsiteY87" fmla="*/ 121339 h 2100018"/>
                <a:gd name="connsiteX88" fmla="*/ 785223 w 2150240"/>
                <a:gd name="connsiteY88" fmla="*/ 99114 h 2100018"/>
                <a:gd name="connsiteX89" fmla="*/ 883648 w 2150240"/>
                <a:gd name="connsiteY89" fmla="*/ 48314 h 2100018"/>
                <a:gd name="connsiteX90" fmla="*/ 1080498 w 2150240"/>
                <a:gd name="connsiteY90" fmla="*/ 689 h 2100018"/>
                <a:gd name="connsiteX91" fmla="*/ 1197973 w 2150240"/>
                <a:gd name="connsiteY91" fmla="*/ 35614 h 2100018"/>
                <a:gd name="connsiteX0" fmla="*/ 1197973 w 2150240"/>
                <a:gd name="connsiteY0" fmla="*/ 35614 h 2100018"/>
                <a:gd name="connsiteX1" fmla="*/ 1217023 w 2150240"/>
                <a:gd name="connsiteY1" fmla="*/ 45139 h 2100018"/>
                <a:gd name="connsiteX2" fmla="*/ 1239248 w 2150240"/>
                <a:gd name="connsiteY2" fmla="*/ 48314 h 2100018"/>
                <a:gd name="connsiteX3" fmla="*/ 1258298 w 2150240"/>
                <a:gd name="connsiteY3" fmla="*/ 61014 h 2100018"/>
                <a:gd name="connsiteX4" fmla="*/ 1290048 w 2150240"/>
                <a:gd name="connsiteY4" fmla="*/ 83239 h 2100018"/>
                <a:gd name="connsiteX5" fmla="*/ 1309098 w 2150240"/>
                <a:gd name="connsiteY5" fmla="*/ 89589 h 2100018"/>
                <a:gd name="connsiteX6" fmla="*/ 1324973 w 2150240"/>
                <a:gd name="connsiteY6" fmla="*/ 102289 h 2100018"/>
                <a:gd name="connsiteX7" fmla="*/ 1334498 w 2150240"/>
                <a:gd name="connsiteY7" fmla="*/ 105464 h 2100018"/>
                <a:gd name="connsiteX8" fmla="*/ 1455148 w 2150240"/>
                <a:gd name="connsiteY8" fmla="*/ 229289 h 2100018"/>
                <a:gd name="connsiteX9" fmla="*/ 1499598 w 2150240"/>
                <a:gd name="connsiteY9" fmla="*/ 270564 h 2100018"/>
                <a:gd name="connsiteX10" fmla="*/ 1512298 w 2150240"/>
                <a:gd name="connsiteY10" fmla="*/ 286439 h 2100018"/>
                <a:gd name="connsiteX11" fmla="*/ 1524998 w 2150240"/>
                <a:gd name="connsiteY11" fmla="*/ 299139 h 2100018"/>
                <a:gd name="connsiteX12" fmla="*/ 1531348 w 2150240"/>
                <a:gd name="connsiteY12" fmla="*/ 308664 h 2100018"/>
                <a:gd name="connsiteX13" fmla="*/ 1550398 w 2150240"/>
                <a:gd name="connsiteY13" fmla="*/ 327714 h 2100018"/>
                <a:gd name="connsiteX14" fmla="*/ 1559923 w 2150240"/>
                <a:gd name="connsiteY14" fmla="*/ 337239 h 2100018"/>
                <a:gd name="connsiteX15" fmla="*/ 1569448 w 2150240"/>
                <a:gd name="connsiteY15" fmla="*/ 349939 h 2100018"/>
                <a:gd name="connsiteX16" fmla="*/ 1594848 w 2150240"/>
                <a:gd name="connsiteY16" fmla="*/ 368989 h 2100018"/>
                <a:gd name="connsiteX17" fmla="*/ 1632948 w 2150240"/>
                <a:gd name="connsiteY17" fmla="*/ 400739 h 2100018"/>
                <a:gd name="connsiteX18" fmla="*/ 1648823 w 2150240"/>
                <a:gd name="connsiteY18" fmla="*/ 419789 h 2100018"/>
                <a:gd name="connsiteX19" fmla="*/ 1661523 w 2150240"/>
                <a:gd name="connsiteY19" fmla="*/ 429314 h 2100018"/>
                <a:gd name="connsiteX20" fmla="*/ 1683748 w 2150240"/>
                <a:gd name="connsiteY20" fmla="*/ 451539 h 2100018"/>
                <a:gd name="connsiteX21" fmla="*/ 1702798 w 2150240"/>
                <a:gd name="connsiteY21" fmla="*/ 470589 h 2100018"/>
                <a:gd name="connsiteX22" fmla="*/ 1712323 w 2150240"/>
                <a:gd name="connsiteY22" fmla="*/ 480114 h 2100018"/>
                <a:gd name="connsiteX23" fmla="*/ 1744073 w 2150240"/>
                <a:gd name="connsiteY23" fmla="*/ 505514 h 2100018"/>
                <a:gd name="connsiteX24" fmla="*/ 1753598 w 2150240"/>
                <a:gd name="connsiteY24" fmla="*/ 515039 h 2100018"/>
                <a:gd name="connsiteX25" fmla="*/ 1766298 w 2150240"/>
                <a:gd name="connsiteY25" fmla="*/ 524564 h 2100018"/>
                <a:gd name="connsiteX26" fmla="*/ 1782173 w 2150240"/>
                <a:gd name="connsiteY26" fmla="*/ 540439 h 2100018"/>
                <a:gd name="connsiteX27" fmla="*/ 1813923 w 2150240"/>
                <a:gd name="connsiteY27" fmla="*/ 565839 h 2100018"/>
                <a:gd name="connsiteX28" fmla="*/ 1817098 w 2150240"/>
                <a:gd name="connsiteY28" fmla="*/ 575364 h 2100018"/>
                <a:gd name="connsiteX29" fmla="*/ 1842498 w 2150240"/>
                <a:gd name="connsiteY29" fmla="*/ 597589 h 2100018"/>
                <a:gd name="connsiteX30" fmla="*/ 1893298 w 2150240"/>
                <a:gd name="connsiteY30" fmla="*/ 654739 h 2100018"/>
                <a:gd name="connsiteX31" fmla="*/ 2090148 w 2150240"/>
                <a:gd name="connsiteY31" fmla="*/ 905564 h 2100018"/>
                <a:gd name="connsiteX32" fmla="*/ 2131423 w 2150240"/>
                <a:gd name="connsiteY32" fmla="*/ 981764 h 2100018"/>
                <a:gd name="connsiteX33" fmla="*/ 2121898 w 2150240"/>
                <a:gd name="connsiteY33" fmla="*/ 1181789 h 2100018"/>
                <a:gd name="connsiteX34" fmla="*/ 1848848 w 2150240"/>
                <a:gd name="connsiteY34" fmla="*/ 1496114 h 2100018"/>
                <a:gd name="connsiteX35" fmla="*/ 1810748 w 2150240"/>
                <a:gd name="connsiteY35" fmla="*/ 1527864 h 2100018"/>
                <a:gd name="connsiteX36" fmla="*/ 1718673 w 2150240"/>
                <a:gd name="connsiteY36" fmla="*/ 1616764 h 2100018"/>
                <a:gd name="connsiteX37" fmla="*/ 1709148 w 2150240"/>
                <a:gd name="connsiteY37" fmla="*/ 1629464 h 2100018"/>
                <a:gd name="connsiteX38" fmla="*/ 1680573 w 2150240"/>
                <a:gd name="connsiteY38" fmla="*/ 1661214 h 2100018"/>
                <a:gd name="connsiteX39" fmla="*/ 1658348 w 2150240"/>
                <a:gd name="connsiteY39" fmla="*/ 1689789 h 2100018"/>
                <a:gd name="connsiteX40" fmla="*/ 1623423 w 2150240"/>
                <a:gd name="connsiteY40" fmla="*/ 1724714 h 2100018"/>
                <a:gd name="connsiteX41" fmla="*/ 1569448 w 2150240"/>
                <a:gd name="connsiteY41" fmla="*/ 1785039 h 2100018"/>
                <a:gd name="connsiteX42" fmla="*/ 1559923 w 2150240"/>
                <a:gd name="connsiteY42" fmla="*/ 1797739 h 2100018"/>
                <a:gd name="connsiteX43" fmla="*/ 1547223 w 2150240"/>
                <a:gd name="connsiteY43" fmla="*/ 1807264 h 2100018"/>
                <a:gd name="connsiteX44" fmla="*/ 1524998 w 2150240"/>
                <a:gd name="connsiteY44" fmla="*/ 1826314 h 2100018"/>
                <a:gd name="connsiteX45" fmla="*/ 1464673 w 2150240"/>
                <a:gd name="connsiteY45" fmla="*/ 1889814 h 2100018"/>
                <a:gd name="connsiteX46" fmla="*/ 1455148 w 2150240"/>
                <a:gd name="connsiteY46" fmla="*/ 1902514 h 2100018"/>
                <a:gd name="connsiteX47" fmla="*/ 1445623 w 2150240"/>
                <a:gd name="connsiteY47" fmla="*/ 1912039 h 2100018"/>
                <a:gd name="connsiteX48" fmla="*/ 1423398 w 2150240"/>
                <a:gd name="connsiteY48" fmla="*/ 1937439 h 2100018"/>
                <a:gd name="connsiteX49" fmla="*/ 1391648 w 2150240"/>
                <a:gd name="connsiteY49" fmla="*/ 1966014 h 2100018"/>
                <a:gd name="connsiteX50" fmla="*/ 1356723 w 2150240"/>
                <a:gd name="connsiteY50" fmla="*/ 1981889 h 2100018"/>
                <a:gd name="connsiteX51" fmla="*/ 1331323 w 2150240"/>
                <a:gd name="connsiteY51" fmla="*/ 1997764 h 2100018"/>
                <a:gd name="connsiteX52" fmla="*/ 1226548 w 2150240"/>
                <a:gd name="connsiteY52" fmla="*/ 2054914 h 2100018"/>
                <a:gd name="connsiteX53" fmla="*/ 1102723 w 2150240"/>
                <a:gd name="connsiteY53" fmla="*/ 2099364 h 2100018"/>
                <a:gd name="connsiteX54" fmla="*/ 928098 w 2150240"/>
                <a:gd name="connsiteY54" fmla="*/ 2080314 h 2100018"/>
                <a:gd name="connsiteX55" fmla="*/ 886823 w 2150240"/>
                <a:gd name="connsiteY55" fmla="*/ 2064439 h 2100018"/>
                <a:gd name="connsiteX56" fmla="*/ 845548 w 2150240"/>
                <a:gd name="connsiteY56" fmla="*/ 2045389 h 2100018"/>
                <a:gd name="connsiteX57" fmla="*/ 731248 w 2150240"/>
                <a:gd name="connsiteY57" fmla="*/ 1943789 h 2100018"/>
                <a:gd name="connsiteX58" fmla="*/ 715373 w 2150240"/>
                <a:gd name="connsiteY58" fmla="*/ 1927914 h 2100018"/>
                <a:gd name="connsiteX59" fmla="*/ 699498 w 2150240"/>
                <a:gd name="connsiteY59" fmla="*/ 1915214 h 2100018"/>
                <a:gd name="connsiteX60" fmla="*/ 680448 w 2150240"/>
                <a:gd name="connsiteY60" fmla="*/ 1896164 h 2100018"/>
                <a:gd name="connsiteX61" fmla="*/ 601073 w 2150240"/>
                <a:gd name="connsiteY61" fmla="*/ 1816789 h 2100018"/>
                <a:gd name="connsiteX62" fmla="*/ 578848 w 2150240"/>
                <a:gd name="connsiteY62" fmla="*/ 1791389 h 2100018"/>
                <a:gd name="connsiteX63" fmla="*/ 537573 w 2150240"/>
                <a:gd name="connsiteY63" fmla="*/ 1750114 h 2100018"/>
                <a:gd name="connsiteX64" fmla="*/ 499473 w 2150240"/>
                <a:gd name="connsiteY64" fmla="*/ 1715189 h 2100018"/>
                <a:gd name="connsiteX65" fmla="*/ 470898 w 2150240"/>
                <a:gd name="connsiteY65" fmla="*/ 1680264 h 2100018"/>
                <a:gd name="connsiteX66" fmla="*/ 413748 w 2150240"/>
                <a:gd name="connsiteY66" fmla="*/ 1632639 h 2100018"/>
                <a:gd name="connsiteX67" fmla="*/ 118473 w 2150240"/>
                <a:gd name="connsiteY67" fmla="*/ 1350064 h 2100018"/>
                <a:gd name="connsiteX68" fmla="*/ 83548 w 2150240"/>
                <a:gd name="connsiteY68" fmla="*/ 1302439 h 2100018"/>
                <a:gd name="connsiteX69" fmla="*/ 64498 w 2150240"/>
                <a:gd name="connsiteY69" fmla="*/ 1277039 h 2100018"/>
                <a:gd name="connsiteX70" fmla="*/ 35923 w 2150240"/>
                <a:gd name="connsiteY70" fmla="*/ 1216714 h 2100018"/>
                <a:gd name="connsiteX71" fmla="*/ 26398 w 2150240"/>
                <a:gd name="connsiteY71" fmla="*/ 1181789 h 2100018"/>
                <a:gd name="connsiteX72" fmla="*/ 20048 w 2150240"/>
                <a:gd name="connsiteY72" fmla="*/ 1159564 h 2100018"/>
                <a:gd name="connsiteX73" fmla="*/ 16873 w 2150240"/>
                <a:gd name="connsiteY73" fmla="*/ 1143689 h 2100018"/>
                <a:gd name="connsiteX74" fmla="*/ 7348 w 2150240"/>
                <a:gd name="connsiteY74" fmla="*/ 1105589 h 2100018"/>
                <a:gd name="connsiteX75" fmla="*/ 998 w 2150240"/>
                <a:gd name="connsiteY75" fmla="*/ 1023039 h 2100018"/>
                <a:gd name="connsiteX76" fmla="*/ 10523 w 2150240"/>
                <a:gd name="connsiteY76" fmla="*/ 892864 h 2100018"/>
                <a:gd name="connsiteX77" fmla="*/ 35923 w 2150240"/>
                <a:gd name="connsiteY77" fmla="*/ 845239 h 2100018"/>
                <a:gd name="connsiteX78" fmla="*/ 51798 w 2150240"/>
                <a:gd name="connsiteY78" fmla="*/ 816664 h 2100018"/>
                <a:gd name="connsiteX79" fmla="*/ 83548 w 2150240"/>
                <a:gd name="connsiteY79" fmla="*/ 772214 h 2100018"/>
                <a:gd name="connsiteX80" fmla="*/ 99423 w 2150240"/>
                <a:gd name="connsiteY80" fmla="*/ 753164 h 2100018"/>
                <a:gd name="connsiteX81" fmla="*/ 308973 w 2150240"/>
                <a:gd name="connsiteY81" fmla="*/ 534089 h 2100018"/>
                <a:gd name="connsiteX82" fmla="*/ 366123 w 2150240"/>
                <a:gd name="connsiteY82" fmla="*/ 473764 h 2100018"/>
                <a:gd name="connsiteX83" fmla="*/ 445498 w 2150240"/>
                <a:gd name="connsiteY83" fmla="*/ 388039 h 2100018"/>
                <a:gd name="connsiteX84" fmla="*/ 493123 w 2150240"/>
                <a:gd name="connsiteY84" fmla="*/ 343589 h 2100018"/>
                <a:gd name="connsiteX85" fmla="*/ 712198 w 2150240"/>
                <a:gd name="connsiteY85" fmla="*/ 146739 h 2100018"/>
                <a:gd name="connsiteX86" fmla="*/ 750298 w 2150240"/>
                <a:gd name="connsiteY86" fmla="*/ 121339 h 2100018"/>
                <a:gd name="connsiteX87" fmla="*/ 785223 w 2150240"/>
                <a:gd name="connsiteY87" fmla="*/ 99114 h 2100018"/>
                <a:gd name="connsiteX88" fmla="*/ 883648 w 2150240"/>
                <a:gd name="connsiteY88" fmla="*/ 48314 h 2100018"/>
                <a:gd name="connsiteX89" fmla="*/ 1080498 w 2150240"/>
                <a:gd name="connsiteY89" fmla="*/ 689 h 2100018"/>
                <a:gd name="connsiteX90" fmla="*/ 1197973 w 2150240"/>
                <a:gd name="connsiteY90" fmla="*/ 35614 h 2100018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58298 w 2150240"/>
                <a:gd name="connsiteY3" fmla="*/ 60331 h 2099335"/>
                <a:gd name="connsiteX4" fmla="*/ 1290048 w 2150240"/>
                <a:gd name="connsiteY4" fmla="*/ 82556 h 2099335"/>
                <a:gd name="connsiteX5" fmla="*/ 1309098 w 2150240"/>
                <a:gd name="connsiteY5" fmla="*/ 88906 h 2099335"/>
                <a:gd name="connsiteX6" fmla="*/ 1324973 w 2150240"/>
                <a:gd name="connsiteY6" fmla="*/ 101606 h 2099335"/>
                <a:gd name="connsiteX7" fmla="*/ 1334498 w 2150240"/>
                <a:gd name="connsiteY7" fmla="*/ 104781 h 2099335"/>
                <a:gd name="connsiteX8" fmla="*/ 1455148 w 2150240"/>
                <a:gd name="connsiteY8" fmla="*/ 228606 h 2099335"/>
                <a:gd name="connsiteX9" fmla="*/ 1499598 w 2150240"/>
                <a:gd name="connsiteY9" fmla="*/ 269881 h 2099335"/>
                <a:gd name="connsiteX10" fmla="*/ 1512298 w 2150240"/>
                <a:gd name="connsiteY10" fmla="*/ 285756 h 2099335"/>
                <a:gd name="connsiteX11" fmla="*/ 1524998 w 2150240"/>
                <a:gd name="connsiteY11" fmla="*/ 298456 h 2099335"/>
                <a:gd name="connsiteX12" fmla="*/ 1531348 w 2150240"/>
                <a:gd name="connsiteY12" fmla="*/ 307981 h 2099335"/>
                <a:gd name="connsiteX13" fmla="*/ 1550398 w 2150240"/>
                <a:gd name="connsiteY13" fmla="*/ 327031 h 2099335"/>
                <a:gd name="connsiteX14" fmla="*/ 1559923 w 2150240"/>
                <a:gd name="connsiteY14" fmla="*/ 336556 h 2099335"/>
                <a:gd name="connsiteX15" fmla="*/ 1569448 w 2150240"/>
                <a:gd name="connsiteY15" fmla="*/ 349256 h 2099335"/>
                <a:gd name="connsiteX16" fmla="*/ 1594848 w 2150240"/>
                <a:gd name="connsiteY16" fmla="*/ 368306 h 2099335"/>
                <a:gd name="connsiteX17" fmla="*/ 1632948 w 2150240"/>
                <a:gd name="connsiteY17" fmla="*/ 400056 h 2099335"/>
                <a:gd name="connsiteX18" fmla="*/ 1648823 w 2150240"/>
                <a:gd name="connsiteY18" fmla="*/ 419106 h 2099335"/>
                <a:gd name="connsiteX19" fmla="*/ 1661523 w 2150240"/>
                <a:gd name="connsiteY19" fmla="*/ 428631 h 2099335"/>
                <a:gd name="connsiteX20" fmla="*/ 1683748 w 2150240"/>
                <a:gd name="connsiteY20" fmla="*/ 450856 h 2099335"/>
                <a:gd name="connsiteX21" fmla="*/ 1702798 w 2150240"/>
                <a:gd name="connsiteY21" fmla="*/ 469906 h 2099335"/>
                <a:gd name="connsiteX22" fmla="*/ 1712323 w 2150240"/>
                <a:gd name="connsiteY22" fmla="*/ 479431 h 2099335"/>
                <a:gd name="connsiteX23" fmla="*/ 1744073 w 2150240"/>
                <a:gd name="connsiteY23" fmla="*/ 504831 h 2099335"/>
                <a:gd name="connsiteX24" fmla="*/ 1753598 w 2150240"/>
                <a:gd name="connsiteY24" fmla="*/ 514356 h 2099335"/>
                <a:gd name="connsiteX25" fmla="*/ 1766298 w 2150240"/>
                <a:gd name="connsiteY25" fmla="*/ 523881 h 2099335"/>
                <a:gd name="connsiteX26" fmla="*/ 1782173 w 2150240"/>
                <a:gd name="connsiteY26" fmla="*/ 539756 h 2099335"/>
                <a:gd name="connsiteX27" fmla="*/ 1813923 w 2150240"/>
                <a:gd name="connsiteY27" fmla="*/ 565156 h 2099335"/>
                <a:gd name="connsiteX28" fmla="*/ 1817098 w 2150240"/>
                <a:gd name="connsiteY28" fmla="*/ 574681 h 2099335"/>
                <a:gd name="connsiteX29" fmla="*/ 1842498 w 2150240"/>
                <a:gd name="connsiteY29" fmla="*/ 596906 h 2099335"/>
                <a:gd name="connsiteX30" fmla="*/ 1893298 w 2150240"/>
                <a:gd name="connsiteY30" fmla="*/ 654056 h 2099335"/>
                <a:gd name="connsiteX31" fmla="*/ 2090148 w 2150240"/>
                <a:gd name="connsiteY31" fmla="*/ 904881 h 2099335"/>
                <a:gd name="connsiteX32" fmla="*/ 2131423 w 2150240"/>
                <a:gd name="connsiteY32" fmla="*/ 981081 h 2099335"/>
                <a:gd name="connsiteX33" fmla="*/ 2121898 w 2150240"/>
                <a:gd name="connsiteY33" fmla="*/ 1181106 h 2099335"/>
                <a:gd name="connsiteX34" fmla="*/ 1848848 w 2150240"/>
                <a:gd name="connsiteY34" fmla="*/ 1495431 h 2099335"/>
                <a:gd name="connsiteX35" fmla="*/ 1810748 w 2150240"/>
                <a:gd name="connsiteY35" fmla="*/ 1527181 h 2099335"/>
                <a:gd name="connsiteX36" fmla="*/ 1718673 w 2150240"/>
                <a:gd name="connsiteY36" fmla="*/ 1616081 h 2099335"/>
                <a:gd name="connsiteX37" fmla="*/ 1709148 w 2150240"/>
                <a:gd name="connsiteY37" fmla="*/ 1628781 h 2099335"/>
                <a:gd name="connsiteX38" fmla="*/ 1680573 w 2150240"/>
                <a:gd name="connsiteY38" fmla="*/ 1660531 h 2099335"/>
                <a:gd name="connsiteX39" fmla="*/ 1658348 w 2150240"/>
                <a:gd name="connsiteY39" fmla="*/ 1689106 h 2099335"/>
                <a:gd name="connsiteX40" fmla="*/ 1623423 w 2150240"/>
                <a:gd name="connsiteY40" fmla="*/ 1724031 h 2099335"/>
                <a:gd name="connsiteX41" fmla="*/ 1569448 w 2150240"/>
                <a:gd name="connsiteY41" fmla="*/ 1784356 h 2099335"/>
                <a:gd name="connsiteX42" fmla="*/ 1559923 w 2150240"/>
                <a:gd name="connsiteY42" fmla="*/ 1797056 h 2099335"/>
                <a:gd name="connsiteX43" fmla="*/ 1547223 w 2150240"/>
                <a:gd name="connsiteY43" fmla="*/ 1806581 h 2099335"/>
                <a:gd name="connsiteX44" fmla="*/ 1524998 w 2150240"/>
                <a:gd name="connsiteY44" fmla="*/ 1825631 h 2099335"/>
                <a:gd name="connsiteX45" fmla="*/ 1464673 w 2150240"/>
                <a:gd name="connsiteY45" fmla="*/ 1889131 h 2099335"/>
                <a:gd name="connsiteX46" fmla="*/ 1455148 w 2150240"/>
                <a:gd name="connsiteY46" fmla="*/ 1901831 h 2099335"/>
                <a:gd name="connsiteX47" fmla="*/ 1445623 w 2150240"/>
                <a:gd name="connsiteY47" fmla="*/ 1911356 h 2099335"/>
                <a:gd name="connsiteX48" fmla="*/ 1423398 w 2150240"/>
                <a:gd name="connsiteY48" fmla="*/ 1936756 h 2099335"/>
                <a:gd name="connsiteX49" fmla="*/ 1391648 w 2150240"/>
                <a:gd name="connsiteY49" fmla="*/ 1965331 h 2099335"/>
                <a:gd name="connsiteX50" fmla="*/ 1356723 w 2150240"/>
                <a:gd name="connsiteY50" fmla="*/ 1981206 h 2099335"/>
                <a:gd name="connsiteX51" fmla="*/ 1331323 w 2150240"/>
                <a:gd name="connsiteY51" fmla="*/ 1997081 h 2099335"/>
                <a:gd name="connsiteX52" fmla="*/ 1226548 w 2150240"/>
                <a:gd name="connsiteY52" fmla="*/ 2054231 h 2099335"/>
                <a:gd name="connsiteX53" fmla="*/ 1102723 w 2150240"/>
                <a:gd name="connsiteY53" fmla="*/ 2098681 h 2099335"/>
                <a:gd name="connsiteX54" fmla="*/ 928098 w 2150240"/>
                <a:gd name="connsiteY54" fmla="*/ 2079631 h 2099335"/>
                <a:gd name="connsiteX55" fmla="*/ 886823 w 2150240"/>
                <a:gd name="connsiteY55" fmla="*/ 2063756 h 2099335"/>
                <a:gd name="connsiteX56" fmla="*/ 845548 w 2150240"/>
                <a:gd name="connsiteY56" fmla="*/ 2044706 h 2099335"/>
                <a:gd name="connsiteX57" fmla="*/ 731248 w 2150240"/>
                <a:gd name="connsiteY57" fmla="*/ 1943106 h 2099335"/>
                <a:gd name="connsiteX58" fmla="*/ 715373 w 2150240"/>
                <a:gd name="connsiteY58" fmla="*/ 1927231 h 2099335"/>
                <a:gd name="connsiteX59" fmla="*/ 699498 w 2150240"/>
                <a:gd name="connsiteY59" fmla="*/ 1914531 h 2099335"/>
                <a:gd name="connsiteX60" fmla="*/ 680448 w 2150240"/>
                <a:gd name="connsiteY60" fmla="*/ 1895481 h 2099335"/>
                <a:gd name="connsiteX61" fmla="*/ 601073 w 2150240"/>
                <a:gd name="connsiteY61" fmla="*/ 1816106 h 2099335"/>
                <a:gd name="connsiteX62" fmla="*/ 578848 w 2150240"/>
                <a:gd name="connsiteY62" fmla="*/ 1790706 h 2099335"/>
                <a:gd name="connsiteX63" fmla="*/ 537573 w 2150240"/>
                <a:gd name="connsiteY63" fmla="*/ 1749431 h 2099335"/>
                <a:gd name="connsiteX64" fmla="*/ 499473 w 2150240"/>
                <a:gd name="connsiteY64" fmla="*/ 1714506 h 2099335"/>
                <a:gd name="connsiteX65" fmla="*/ 470898 w 2150240"/>
                <a:gd name="connsiteY65" fmla="*/ 1679581 h 2099335"/>
                <a:gd name="connsiteX66" fmla="*/ 413748 w 2150240"/>
                <a:gd name="connsiteY66" fmla="*/ 1631956 h 2099335"/>
                <a:gd name="connsiteX67" fmla="*/ 118473 w 2150240"/>
                <a:gd name="connsiteY67" fmla="*/ 1349381 h 2099335"/>
                <a:gd name="connsiteX68" fmla="*/ 83548 w 2150240"/>
                <a:gd name="connsiteY68" fmla="*/ 1301756 h 2099335"/>
                <a:gd name="connsiteX69" fmla="*/ 64498 w 2150240"/>
                <a:gd name="connsiteY69" fmla="*/ 1276356 h 2099335"/>
                <a:gd name="connsiteX70" fmla="*/ 35923 w 2150240"/>
                <a:gd name="connsiteY70" fmla="*/ 1216031 h 2099335"/>
                <a:gd name="connsiteX71" fmla="*/ 26398 w 2150240"/>
                <a:gd name="connsiteY71" fmla="*/ 1181106 h 2099335"/>
                <a:gd name="connsiteX72" fmla="*/ 20048 w 2150240"/>
                <a:gd name="connsiteY72" fmla="*/ 1158881 h 2099335"/>
                <a:gd name="connsiteX73" fmla="*/ 16873 w 2150240"/>
                <a:gd name="connsiteY73" fmla="*/ 1143006 h 2099335"/>
                <a:gd name="connsiteX74" fmla="*/ 7348 w 2150240"/>
                <a:gd name="connsiteY74" fmla="*/ 1104906 h 2099335"/>
                <a:gd name="connsiteX75" fmla="*/ 998 w 2150240"/>
                <a:gd name="connsiteY75" fmla="*/ 1022356 h 2099335"/>
                <a:gd name="connsiteX76" fmla="*/ 10523 w 2150240"/>
                <a:gd name="connsiteY76" fmla="*/ 892181 h 2099335"/>
                <a:gd name="connsiteX77" fmla="*/ 35923 w 2150240"/>
                <a:gd name="connsiteY77" fmla="*/ 844556 h 2099335"/>
                <a:gd name="connsiteX78" fmla="*/ 51798 w 2150240"/>
                <a:gd name="connsiteY78" fmla="*/ 815981 h 2099335"/>
                <a:gd name="connsiteX79" fmla="*/ 83548 w 2150240"/>
                <a:gd name="connsiteY79" fmla="*/ 771531 h 2099335"/>
                <a:gd name="connsiteX80" fmla="*/ 99423 w 2150240"/>
                <a:gd name="connsiteY80" fmla="*/ 752481 h 2099335"/>
                <a:gd name="connsiteX81" fmla="*/ 308973 w 2150240"/>
                <a:gd name="connsiteY81" fmla="*/ 533406 h 2099335"/>
                <a:gd name="connsiteX82" fmla="*/ 366123 w 2150240"/>
                <a:gd name="connsiteY82" fmla="*/ 473081 h 2099335"/>
                <a:gd name="connsiteX83" fmla="*/ 445498 w 2150240"/>
                <a:gd name="connsiteY83" fmla="*/ 387356 h 2099335"/>
                <a:gd name="connsiteX84" fmla="*/ 493123 w 2150240"/>
                <a:gd name="connsiteY84" fmla="*/ 342906 h 2099335"/>
                <a:gd name="connsiteX85" fmla="*/ 712198 w 2150240"/>
                <a:gd name="connsiteY85" fmla="*/ 146056 h 2099335"/>
                <a:gd name="connsiteX86" fmla="*/ 750298 w 2150240"/>
                <a:gd name="connsiteY86" fmla="*/ 120656 h 2099335"/>
                <a:gd name="connsiteX87" fmla="*/ 785223 w 2150240"/>
                <a:gd name="connsiteY87" fmla="*/ 98431 h 2099335"/>
                <a:gd name="connsiteX88" fmla="*/ 883648 w 2150240"/>
                <a:gd name="connsiteY88" fmla="*/ 47631 h 2099335"/>
                <a:gd name="connsiteX89" fmla="*/ 1080498 w 2150240"/>
                <a:gd name="connsiteY89" fmla="*/ 6 h 2099335"/>
                <a:gd name="connsiteX0" fmla="*/ 1080498 w 2150240"/>
                <a:gd name="connsiteY0" fmla="*/ 6 h 2099335"/>
                <a:gd name="connsiteX1" fmla="*/ 1217023 w 2150240"/>
                <a:gd name="connsiteY1" fmla="*/ 44456 h 2099335"/>
                <a:gd name="connsiteX2" fmla="*/ 1239248 w 2150240"/>
                <a:gd name="connsiteY2" fmla="*/ 47631 h 2099335"/>
                <a:gd name="connsiteX3" fmla="*/ 1290048 w 2150240"/>
                <a:gd name="connsiteY3" fmla="*/ 82556 h 2099335"/>
                <a:gd name="connsiteX4" fmla="*/ 1309098 w 2150240"/>
                <a:gd name="connsiteY4" fmla="*/ 88906 h 2099335"/>
                <a:gd name="connsiteX5" fmla="*/ 1324973 w 2150240"/>
                <a:gd name="connsiteY5" fmla="*/ 101606 h 2099335"/>
                <a:gd name="connsiteX6" fmla="*/ 1334498 w 2150240"/>
                <a:gd name="connsiteY6" fmla="*/ 104781 h 2099335"/>
                <a:gd name="connsiteX7" fmla="*/ 1455148 w 2150240"/>
                <a:gd name="connsiteY7" fmla="*/ 228606 h 2099335"/>
                <a:gd name="connsiteX8" fmla="*/ 1499598 w 2150240"/>
                <a:gd name="connsiteY8" fmla="*/ 269881 h 2099335"/>
                <a:gd name="connsiteX9" fmla="*/ 1512298 w 2150240"/>
                <a:gd name="connsiteY9" fmla="*/ 285756 h 2099335"/>
                <a:gd name="connsiteX10" fmla="*/ 1524998 w 2150240"/>
                <a:gd name="connsiteY10" fmla="*/ 298456 h 2099335"/>
                <a:gd name="connsiteX11" fmla="*/ 1531348 w 2150240"/>
                <a:gd name="connsiteY11" fmla="*/ 307981 h 2099335"/>
                <a:gd name="connsiteX12" fmla="*/ 1550398 w 2150240"/>
                <a:gd name="connsiteY12" fmla="*/ 327031 h 2099335"/>
                <a:gd name="connsiteX13" fmla="*/ 1559923 w 2150240"/>
                <a:gd name="connsiteY13" fmla="*/ 336556 h 2099335"/>
                <a:gd name="connsiteX14" fmla="*/ 1569448 w 2150240"/>
                <a:gd name="connsiteY14" fmla="*/ 349256 h 2099335"/>
                <a:gd name="connsiteX15" fmla="*/ 1594848 w 2150240"/>
                <a:gd name="connsiteY15" fmla="*/ 368306 h 2099335"/>
                <a:gd name="connsiteX16" fmla="*/ 1632948 w 2150240"/>
                <a:gd name="connsiteY16" fmla="*/ 400056 h 2099335"/>
                <a:gd name="connsiteX17" fmla="*/ 1648823 w 2150240"/>
                <a:gd name="connsiteY17" fmla="*/ 419106 h 2099335"/>
                <a:gd name="connsiteX18" fmla="*/ 1661523 w 2150240"/>
                <a:gd name="connsiteY18" fmla="*/ 428631 h 2099335"/>
                <a:gd name="connsiteX19" fmla="*/ 1683748 w 2150240"/>
                <a:gd name="connsiteY19" fmla="*/ 450856 h 2099335"/>
                <a:gd name="connsiteX20" fmla="*/ 1702798 w 2150240"/>
                <a:gd name="connsiteY20" fmla="*/ 469906 h 2099335"/>
                <a:gd name="connsiteX21" fmla="*/ 1712323 w 2150240"/>
                <a:gd name="connsiteY21" fmla="*/ 479431 h 2099335"/>
                <a:gd name="connsiteX22" fmla="*/ 1744073 w 2150240"/>
                <a:gd name="connsiteY22" fmla="*/ 504831 h 2099335"/>
                <a:gd name="connsiteX23" fmla="*/ 1753598 w 2150240"/>
                <a:gd name="connsiteY23" fmla="*/ 514356 h 2099335"/>
                <a:gd name="connsiteX24" fmla="*/ 1766298 w 2150240"/>
                <a:gd name="connsiteY24" fmla="*/ 523881 h 2099335"/>
                <a:gd name="connsiteX25" fmla="*/ 1782173 w 2150240"/>
                <a:gd name="connsiteY25" fmla="*/ 539756 h 2099335"/>
                <a:gd name="connsiteX26" fmla="*/ 1813923 w 2150240"/>
                <a:gd name="connsiteY26" fmla="*/ 565156 h 2099335"/>
                <a:gd name="connsiteX27" fmla="*/ 1817098 w 2150240"/>
                <a:gd name="connsiteY27" fmla="*/ 574681 h 2099335"/>
                <a:gd name="connsiteX28" fmla="*/ 1842498 w 2150240"/>
                <a:gd name="connsiteY28" fmla="*/ 596906 h 2099335"/>
                <a:gd name="connsiteX29" fmla="*/ 1893298 w 2150240"/>
                <a:gd name="connsiteY29" fmla="*/ 654056 h 2099335"/>
                <a:gd name="connsiteX30" fmla="*/ 2090148 w 2150240"/>
                <a:gd name="connsiteY30" fmla="*/ 904881 h 2099335"/>
                <a:gd name="connsiteX31" fmla="*/ 2131423 w 2150240"/>
                <a:gd name="connsiteY31" fmla="*/ 981081 h 2099335"/>
                <a:gd name="connsiteX32" fmla="*/ 2121898 w 2150240"/>
                <a:gd name="connsiteY32" fmla="*/ 1181106 h 2099335"/>
                <a:gd name="connsiteX33" fmla="*/ 1848848 w 2150240"/>
                <a:gd name="connsiteY33" fmla="*/ 1495431 h 2099335"/>
                <a:gd name="connsiteX34" fmla="*/ 1810748 w 2150240"/>
                <a:gd name="connsiteY34" fmla="*/ 1527181 h 2099335"/>
                <a:gd name="connsiteX35" fmla="*/ 1718673 w 2150240"/>
                <a:gd name="connsiteY35" fmla="*/ 1616081 h 2099335"/>
                <a:gd name="connsiteX36" fmla="*/ 1709148 w 2150240"/>
                <a:gd name="connsiteY36" fmla="*/ 1628781 h 2099335"/>
                <a:gd name="connsiteX37" fmla="*/ 1680573 w 2150240"/>
                <a:gd name="connsiteY37" fmla="*/ 1660531 h 2099335"/>
                <a:gd name="connsiteX38" fmla="*/ 1658348 w 2150240"/>
                <a:gd name="connsiteY38" fmla="*/ 1689106 h 2099335"/>
                <a:gd name="connsiteX39" fmla="*/ 1623423 w 2150240"/>
                <a:gd name="connsiteY39" fmla="*/ 1724031 h 2099335"/>
                <a:gd name="connsiteX40" fmla="*/ 1569448 w 2150240"/>
                <a:gd name="connsiteY40" fmla="*/ 1784356 h 2099335"/>
                <a:gd name="connsiteX41" fmla="*/ 1559923 w 2150240"/>
                <a:gd name="connsiteY41" fmla="*/ 1797056 h 2099335"/>
                <a:gd name="connsiteX42" fmla="*/ 1547223 w 2150240"/>
                <a:gd name="connsiteY42" fmla="*/ 1806581 h 2099335"/>
                <a:gd name="connsiteX43" fmla="*/ 1524998 w 2150240"/>
                <a:gd name="connsiteY43" fmla="*/ 1825631 h 2099335"/>
                <a:gd name="connsiteX44" fmla="*/ 1464673 w 2150240"/>
                <a:gd name="connsiteY44" fmla="*/ 1889131 h 2099335"/>
                <a:gd name="connsiteX45" fmla="*/ 1455148 w 2150240"/>
                <a:gd name="connsiteY45" fmla="*/ 1901831 h 2099335"/>
                <a:gd name="connsiteX46" fmla="*/ 1445623 w 2150240"/>
                <a:gd name="connsiteY46" fmla="*/ 1911356 h 2099335"/>
                <a:gd name="connsiteX47" fmla="*/ 1423398 w 2150240"/>
                <a:gd name="connsiteY47" fmla="*/ 1936756 h 2099335"/>
                <a:gd name="connsiteX48" fmla="*/ 1391648 w 2150240"/>
                <a:gd name="connsiteY48" fmla="*/ 1965331 h 2099335"/>
                <a:gd name="connsiteX49" fmla="*/ 1356723 w 2150240"/>
                <a:gd name="connsiteY49" fmla="*/ 1981206 h 2099335"/>
                <a:gd name="connsiteX50" fmla="*/ 1331323 w 2150240"/>
                <a:gd name="connsiteY50" fmla="*/ 1997081 h 2099335"/>
                <a:gd name="connsiteX51" fmla="*/ 1226548 w 2150240"/>
                <a:gd name="connsiteY51" fmla="*/ 2054231 h 2099335"/>
                <a:gd name="connsiteX52" fmla="*/ 1102723 w 2150240"/>
                <a:gd name="connsiteY52" fmla="*/ 2098681 h 2099335"/>
                <a:gd name="connsiteX53" fmla="*/ 928098 w 2150240"/>
                <a:gd name="connsiteY53" fmla="*/ 2079631 h 2099335"/>
                <a:gd name="connsiteX54" fmla="*/ 886823 w 2150240"/>
                <a:gd name="connsiteY54" fmla="*/ 2063756 h 2099335"/>
                <a:gd name="connsiteX55" fmla="*/ 845548 w 2150240"/>
                <a:gd name="connsiteY55" fmla="*/ 2044706 h 2099335"/>
                <a:gd name="connsiteX56" fmla="*/ 731248 w 2150240"/>
                <a:gd name="connsiteY56" fmla="*/ 1943106 h 2099335"/>
                <a:gd name="connsiteX57" fmla="*/ 715373 w 2150240"/>
                <a:gd name="connsiteY57" fmla="*/ 1927231 h 2099335"/>
                <a:gd name="connsiteX58" fmla="*/ 699498 w 2150240"/>
                <a:gd name="connsiteY58" fmla="*/ 1914531 h 2099335"/>
                <a:gd name="connsiteX59" fmla="*/ 680448 w 2150240"/>
                <a:gd name="connsiteY59" fmla="*/ 1895481 h 2099335"/>
                <a:gd name="connsiteX60" fmla="*/ 601073 w 2150240"/>
                <a:gd name="connsiteY60" fmla="*/ 1816106 h 2099335"/>
                <a:gd name="connsiteX61" fmla="*/ 578848 w 2150240"/>
                <a:gd name="connsiteY61" fmla="*/ 1790706 h 2099335"/>
                <a:gd name="connsiteX62" fmla="*/ 537573 w 2150240"/>
                <a:gd name="connsiteY62" fmla="*/ 1749431 h 2099335"/>
                <a:gd name="connsiteX63" fmla="*/ 499473 w 2150240"/>
                <a:gd name="connsiteY63" fmla="*/ 1714506 h 2099335"/>
                <a:gd name="connsiteX64" fmla="*/ 470898 w 2150240"/>
                <a:gd name="connsiteY64" fmla="*/ 1679581 h 2099335"/>
                <a:gd name="connsiteX65" fmla="*/ 413748 w 2150240"/>
                <a:gd name="connsiteY65" fmla="*/ 1631956 h 2099335"/>
                <a:gd name="connsiteX66" fmla="*/ 118473 w 2150240"/>
                <a:gd name="connsiteY66" fmla="*/ 1349381 h 2099335"/>
                <a:gd name="connsiteX67" fmla="*/ 83548 w 2150240"/>
                <a:gd name="connsiteY67" fmla="*/ 1301756 h 2099335"/>
                <a:gd name="connsiteX68" fmla="*/ 64498 w 2150240"/>
                <a:gd name="connsiteY68" fmla="*/ 1276356 h 2099335"/>
                <a:gd name="connsiteX69" fmla="*/ 35923 w 2150240"/>
                <a:gd name="connsiteY69" fmla="*/ 1216031 h 2099335"/>
                <a:gd name="connsiteX70" fmla="*/ 26398 w 2150240"/>
                <a:gd name="connsiteY70" fmla="*/ 1181106 h 2099335"/>
                <a:gd name="connsiteX71" fmla="*/ 20048 w 2150240"/>
                <a:gd name="connsiteY71" fmla="*/ 1158881 h 2099335"/>
                <a:gd name="connsiteX72" fmla="*/ 16873 w 2150240"/>
                <a:gd name="connsiteY72" fmla="*/ 1143006 h 2099335"/>
                <a:gd name="connsiteX73" fmla="*/ 7348 w 2150240"/>
                <a:gd name="connsiteY73" fmla="*/ 1104906 h 2099335"/>
                <a:gd name="connsiteX74" fmla="*/ 998 w 2150240"/>
                <a:gd name="connsiteY74" fmla="*/ 1022356 h 2099335"/>
                <a:gd name="connsiteX75" fmla="*/ 10523 w 2150240"/>
                <a:gd name="connsiteY75" fmla="*/ 892181 h 2099335"/>
                <a:gd name="connsiteX76" fmla="*/ 35923 w 2150240"/>
                <a:gd name="connsiteY76" fmla="*/ 844556 h 2099335"/>
                <a:gd name="connsiteX77" fmla="*/ 51798 w 2150240"/>
                <a:gd name="connsiteY77" fmla="*/ 815981 h 2099335"/>
                <a:gd name="connsiteX78" fmla="*/ 83548 w 2150240"/>
                <a:gd name="connsiteY78" fmla="*/ 771531 h 2099335"/>
                <a:gd name="connsiteX79" fmla="*/ 99423 w 2150240"/>
                <a:gd name="connsiteY79" fmla="*/ 752481 h 2099335"/>
                <a:gd name="connsiteX80" fmla="*/ 308973 w 2150240"/>
                <a:gd name="connsiteY80" fmla="*/ 533406 h 2099335"/>
                <a:gd name="connsiteX81" fmla="*/ 366123 w 2150240"/>
                <a:gd name="connsiteY81" fmla="*/ 473081 h 2099335"/>
                <a:gd name="connsiteX82" fmla="*/ 445498 w 2150240"/>
                <a:gd name="connsiteY82" fmla="*/ 387356 h 2099335"/>
                <a:gd name="connsiteX83" fmla="*/ 493123 w 2150240"/>
                <a:gd name="connsiteY83" fmla="*/ 342906 h 2099335"/>
                <a:gd name="connsiteX84" fmla="*/ 712198 w 2150240"/>
                <a:gd name="connsiteY84" fmla="*/ 146056 h 2099335"/>
                <a:gd name="connsiteX85" fmla="*/ 750298 w 2150240"/>
                <a:gd name="connsiteY85" fmla="*/ 120656 h 2099335"/>
                <a:gd name="connsiteX86" fmla="*/ 785223 w 2150240"/>
                <a:gd name="connsiteY86" fmla="*/ 98431 h 2099335"/>
                <a:gd name="connsiteX87" fmla="*/ 883648 w 2150240"/>
                <a:gd name="connsiteY87" fmla="*/ 47631 h 2099335"/>
                <a:gd name="connsiteX88" fmla="*/ 1080498 w 2150240"/>
                <a:gd name="connsiteY88" fmla="*/ 6 h 2099335"/>
                <a:gd name="connsiteX0" fmla="*/ 1080498 w 2150240"/>
                <a:gd name="connsiteY0" fmla="*/ 0 h 2099329"/>
                <a:gd name="connsiteX1" fmla="*/ 1239248 w 2150240"/>
                <a:gd name="connsiteY1" fmla="*/ 47625 h 2099329"/>
                <a:gd name="connsiteX2" fmla="*/ 1290048 w 2150240"/>
                <a:gd name="connsiteY2" fmla="*/ 82550 h 2099329"/>
                <a:gd name="connsiteX3" fmla="*/ 1309098 w 2150240"/>
                <a:gd name="connsiteY3" fmla="*/ 88900 h 2099329"/>
                <a:gd name="connsiteX4" fmla="*/ 1324973 w 2150240"/>
                <a:gd name="connsiteY4" fmla="*/ 101600 h 2099329"/>
                <a:gd name="connsiteX5" fmla="*/ 1334498 w 2150240"/>
                <a:gd name="connsiteY5" fmla="*/ 104775 h 2099329"/>
                <a:gd name="connsiteX6" fmla="*/ 1455148 w 2150240"/>
                <a:gd name="connsiteY6" fmla="*/ 228600 h 2099329"/>
                <a:gd name="connsiteX7" fmla="*/ 1499598 w 2150240"/>
                <a:gd name="connsiteY7" fmla="*/ 269875 h 2099329"/>
                <a:gd name="connsiteX8" fmla="*/ 1512298 w 2150240"/>
                <a:gd name="connsiteY8" fmla="*/ 285750 h 2099329"/>
                <a:gd name="connsiteX9" fmla="*/ 1524998 w 2150240"/>
                <a:gd name="connsiteY9" fmla="*/ 298450 h 2099329"/>
                <a:gd name="connsiteX10" fmla="*/ 1531348 w 2150240"/>
                <a:gd name="connsiteY10" fmla="*/ 307975 h 2099329"/>
                <a:gd name="connsiteX11" fmla="*/ 1550398 w 2150240"/>
                <a:gd name="connsiteY11" fmla="*/ 327025 h 2099329"/>
                <a:gd name="connsiteX12" fmla="*/ 1559923 w 2150240"/>
                <a:gd name="connsiteY12" fmla="*/ 336550 h 2099329"/>
                <a:gd name="connsiteX13" fmla="*/ 1569448 w 2150240"/>
                <a:gd name="connsiteY13" fmla="*/ 349250 h 2099329"/>
                <a:gd name="connsiteX14" fmla="*/ 1594848 w 2150240"/>
                <a:gd name="connsiteY14" fmla="*/ 368300 h 2099329"/>
                <a:gd name="connsiteX15" fmla="*/ 1632948 w 2150240"/>
                <a:gd name="connsiteY15" fmla="*/ 400050 h 2099329"/>
                <a:gd name="connsiteX16" fmla="*/ 1648823 w 2150240"/>
                <a:gd name="connsiteY16" fmla="*/ 419100 h 2099329"/>
                <a:gd name="connsiteX17" fmla="*/ 1661523 w 2150240"/>
                <a:gd name="connsiteY17" fmla="*/ 428625 h 2099329"/>
                <a:gd name="connsiteX18" fmla="*/ 1683748 w 2150240"/>
                <a:gd name="connsiteY18" fmla="*/ 450850 h 2099329"/>
                <a:gd name="connsiteX19" fmla="*/ 1702798 w 2150240"/>
                <a:gd name="connsiteY19" fmla="*/ 469900 h 2099329"/>
                <a:gd name="connsiteX20" fmla="*/ 1712323 w 2150240"/>
                <a:gd name="connsiteY20" fmla="*/ 479425 h 2099329"/>
                <a:gd name="connsiteX21" fmla="*/ 1744073 w 2150240"/>
                <a:gd name="connsiteY21" fmla="*/ 504825 h 2099329"/>
                <a:gd name="connsiteX22" fmla="*/ 1753598 w 2150240"/>
                <a:gd name="connsiteY22" fmla="*/ 514350 h 2099329"/>
                <a:gd name="connsiteX23" fmla="*/ 1766298 w 2150240"/>
                <a:gd name="connsiteY23" fmla="*/ 523875 h 2099329"/>
                <a:gd name="connsiteX24" fmla="*/ 1782173 w 2150240"/>
                <a:gd name="connsiteY24" fmla="*/ 539750 h 2099329"/>
                <a:gd name="connsiteX25" fmla="*/ 1813923 w 2150240"/>
                <a:gd name="connsiteY25" fmla="*/ 565150 h 2099329"/>
                <a:gd name="connsiteX26" fmla="*/ 1817098 w 2150240"/>
                <a:gd name="connsiteY26" fmla="*/ 574675 h 2099329"/>
                <a:gd name="connsiteX27" fmla="*/ 1842498 w 2150240"/>
                <a:gd name="connsiteY27" fmla="*/ 596900 h 2099329"/>
                <a:gd name="connsiteX28" fmla="*/ 1893298 w 2150240"/>
                <a:gd name="connsiteY28" fmla="*/ 654050 h 2099329"/>
                <a:gd name="connsiteX29" fmla="*/ 2090148 w 2150240"/>
                <a:gd name="connsiteY29" fmla="*/ 904875 h 2099329"/>
                <a:gd name="connsiteX30" fmla="*/ 2131423 w 2150240"/>
                <a:gd name="connsiteY30" fmla="*/ 981075 h 2099329"/>
                <a:gd name="connsiteX31" fmla="*/ 2121898 w 2150240"/>
                <a:gd name="connsiteY31" fmla="*/ 1181100 h 2099329"/>
                <a:gd name="connsiteX32" fmla="*/ 1848848 w 2150240"/>
                <a:gd name="connsiteY32" fmla="*/ 1495425 h 2099329"/>
                <a:gd name="connsiteX33" fmla="*/ 1810748 w 2150240"/>
                <a:gd name="connsiteY33" fmla="*/ 1527175 h 2099329"/>
                <a:gd name="connsiteX34" fmla="*/ 1718673 w 2150240"/>
                <a:gd name="connsiteY34" fmla="*/ 1616075 h 2099329"/>
                <a:gd name="connsiteX35" fmla="*/ 1709148 w 2150240"/>
                <a:gd name="connsiteY35" fmla="*/ 1628775 h 2099329"/>
                <a:gd name="connsiteX36" fmla="*/ 1680573 w 2150240"/>
                <a:gd name="connsiteY36" fmla="*/ 1660525 h 2099329"/>
                <a:gd name="connsiteX37" fmla="*/ 1658348 w 2150240"/>
                <a:gd name="connsiteY37" fmla="*/ 1689100 h 2099329"/>
                <a:gd name="connsiteX38" fmla="*/ 1623423 w 2150240"/>
                <a:gd name="connsiteY38" fmla="*/ 1724025 h 2099329"/>
                <a:gd name="connsiteX39" fmla="*/ 1569448 w 2150240"/>
                <a:gd name="connsiteY39" fmla="*/ 1784350 h 2099329"/>
                <a:gd name="connsiteX40" fmla="*/ 1559923 w 2150240"/>
                <a:gd name="connsiteY40" fmla="*/ 1797050 h 2099329"/>
                <a:gd name="connsiteX41" fmla="*/ 1547223 w 2150240"/>
                <a:gd name="connsiteY41" fmla="*/ 1806575 h 2099329"/>
                <a:gd name="connsiteX42" fmla="*/ 1524998 w 2150240"/>
                <a:gd name="connsiteY42" fmla="*/ 1825625 h 2099329"/>
                <a:gd name="connsiteX43" fmla="*/ 1464673 w 2150240"/>
                <a:gd name="connsiteY43" fmla="*/ 1889125 h 2099329"/>
                <a:gd name="connsiteX44" fmla="*/ 1455148 w 2150240"/>
                <a:gd name="connsiteY44" fmla="*/ 1901825 h 2099329"/>
                <a:gd name="connsiteX45" fmla="*/ 1445623 w 2150240"/>
                <a:gd name="connsiteY45" fmla="*/ 1911350 h 2099329"/>
                <a:gd name="connsiteX46" fmla="*/ 1423398 w 2150240"/>
                <a:gd name="connsiteY46" fmla="*/ 1936750 h 2099329"/>
                <a:gd name="connsiteX47" fmla="*/ 1391648 w 2150240"/>
                <a:gd name="connsiteY47" fmla="*/ 1965325 h 2099329"/>
                <a:gd name="connsiteX48" fmla="*/ 1356723 w 2150240"/>
                <a:gd name="connsiteY48" fmla="*/ 1981200 h 2099329"/>
                <a:gd name="connsiteX49" fmla="*/ 1331323 w 2150240"/>
                <a:gd name="connsiteY49" fmla="*/ 1997075 h 2099329"/>
                <a:gd name="connsiteX50" fmla="*/ 1226548 w 2150240"/>
                <a:gd name="connsiteY50" fmla="*/ 2054225 h 2099329"/>
                <a:gd name="connsiteX51" fmla="*/ 1102723 w 2150240"/>
                <a:gd name="connsiteY51" fmla="*/ 2098675 h 2099329"/>
                <a:gd name="connsiteX52" fmla="*/ 928098 w 2150240"/>
                <a:gd name="connsiteY52" fmla="*/ 2079625 h 2099329"/>
                <a:gd name="connsiteX53" fmla="*/ 886823 w 2150240"/>
                <a:gd name="connsiteY53" fmla="*/ 2063750 h 2099329"/>
                <a:gd name="connsiteX54" fmla="*/ 845548 w 2150240"/>
                <a:gd name="connsiteY54" fmla="*/ 2044700 h 2099329"/>
                <a:gd name="connsiteX55" fmla="*/ 731248 w 2150240"/>
                <a:gd name="connsiteY55" fmla="*/ 1943100 h 2099329"/>
                <a:gd name="connsiteX56" fmla="*/ 715373 w 2150240"/>
                <a:gd name="connsiteY56" fmla="*/ 1927225 h 2099329"/>
                <a:gd name="connsiteX57" fmla="*/ 699498 w 2150240"/>
                <a:gd name="connsiteY57" fmla="*/ 1914525 h 2099329"/>
                <a:gd name="connsiteX58" fmla="*/ 680448 w 2150240"/>
                <a:gd name="connsiteY58" fmla="*/ 1895475 h 2099329"/>
                <a:gd name="connsiteX59" fmla="*/ 601073 w 2150240"/>
                <a:gd name="connsiteY59" fmla="*/ 1816100 h 2099329"/>
                <a:gd name="connsiteX60" fmla="*/ 578848 w 2150240"/>
                <a:gd name="connsiteY60" fmla="*/ 1790700 h 2099329"/>
                <a:gd name="connsiteX61" fmla="*/ 537573 w 2150240"/>
                <a:gd name="connsiteY61" fmla="*/ 1749425 h 2099329"/>
                <a:gd name="connsiteX62" fmla="*/ 499473 w 2150240"/>
                <a:gd name="connsiteY62" fmla="*/ 1714500 h 2099329"/>
                <a:gd name="connsiteX63" fmla="*/ 470898 w 2150240"/>
                <a:gd name="connsiteY63" fmla="*/ 1679575 h 2099329"/>
                <a:gd name="connsiteX64" fmla="*/ 413748 w 2150240"/>
                <a:gd name="connsiteY64" fmla="*/ 1631950 h 2099329"/>
                <a:gd name="connsiteX65" fmla="*/ 118473 w 2150240"/>
                <a:gd name="connsiteY65" fmla="*/ 1349375 h 2099329"/>
                <a:gd name="connsiteX66" fmla="*/ 83548 w 2150240"/>
                <a:gd name="connsiteY66" fmla="*/ 1301750 h 2099329"/>
                <a:gd name="connsiteX67" fmla="*/ 64498 w 2150240"/>
                <a:gd name="connsiteY67" fmla="*/ 1276350 h 2099329"/>
                <a:gd name="connsiteX68" fmla="*/ 35923 w 2150240"/>
                <a:gd name="connsiteY68" fmla="*/ 1216025 h 2099329"/>
                <a:gd name="connsiteX69" fmla="*/ 26398 w 2150240"/>
                <a:gd name="connsiteY69" fmla="*/ 1181100 h 2099329"/>
                <a:gd name="connsiteX70" fmla="*/ 20048 w 2150240"/>
                <a:gd name="connsiteY70" fmla="*/ 1158875 h 2099329"/>
                <a:gd name="connsiteX71" fmla="*/ 16873 w 2150240"/>
                <a:gd name="connsiteY71" fmla="*/ 1143000 h 2099329"/>
                <a:gd name="connsiteX72" fmla="*/ 7348 w 2150240"/>
                <a:gd name="connsiteY72" fmla="*/ 1104900 h 2099329"/>
                <a:gd name="connsiteX73" fmla="*/ 998 w 2150240"/>
                <a:gd name="connsiteY73" fmla="*/ 1022350 h 2099329"/>
                <a:gd name="connsiteX74" fmla="*/ 10523 w 2150240"/>
                <a:gd name="connsiteY74" fmla="*/ 892175 h 2099329"/>
                <a:gd name="connsiteX75" fmla="*/ 35923 w 2150240"/>
                <a:gd name="connsiteY75" fmla="*/ 844550 h 2099329"/>
                <a:gd name="connsiteX76" fmla="*/ 51798 w 2150240"/>
                <a:gd name="connsiteY76" fmla="*/ 815975 h 2099329"/>
                <a:gd name="connsiteX77" fmla="*/ 83548 w 2150240"/>
                <a:gd name="connsiteY77" fmla="*/ 771525 h 2099329"/>
                <a:gd name="connsiteX78" fmla="*/ 99423 w 2150240"/>
                <a:gd name="connsiteY78" fmla="*/ 752475 h 2099329"/>
                <a:gd name="connsiteX79" fmla="*/ 308973 w 2150240"/>
                <a:gd name="connsiteY79" fmla="*/ 533400 h 2099329"/>
                <a:gd name="connsiteX80" fmla="*/ 366123 w 2150240"/>
                <a:gd name="connsiteY80" fmla="*/ 473075 h 2099329"/>
                <a:gd name="connsiteX81" fmla="*/ 445498 w 2150240"/>
                <a:gd name="connsiteY81" fmla="*/ 387350 h 2099329"/>
                <a:gd name="connsiteX82" fmla="*/ 493123 w 2150240"/>
                <a:gd name="connsiteY82" fmla="*/ 342900 h 2099329"/>
                <a:gd name="connsiteX83" fmla="*/ 712198 w 2150240"/>
                <a:gd name="connsiteY83" fmla="*/ 146050 h 2099329"/>
                <a:gd name="connsiteX84" fmla="*/ 750298 w 2150240"/>
                <a:gd name="connsiteY84" fmla="*/ 120650 h 2099329"/>
                <a:gd name="connsiteX85" fmla="*/ 785223 w 2150240"/>
                <a:gd name="connsiteY85" fmla="*/ 98425 h 2099329"/>
                <a:gd name="connsiteX86" fmla="*/ 883648 w 2150240"/>
                <a:gd name="connsiteY86" fmla="*/ 47625 h 2099329"/>
                <a:gd name="connsiteX87" fmla="*/ 1080498 w 2150240"/>
                <a:gd name="connsiteY87" fmla="*/ 0 h 2099329"/>
                <a:gd name="connsiteX0" fmla="*/ 1077323 w 2150240"/>
                <a:gd name="connsiteY0" fmla="*/ 0 h 2112029"/>
                <a:gd name="connsiteX1" fmla="*/ 1239248 w 2150240"/>
                <a:gd name="connsiteY1" fmla="*/ 60325 h 2112029"/>
                <a:gd name="connsiteX2" fmla="*/ 1290048 w 2150240"/>
                <a:gd name="connsiteY2" fmla="*/ 95250 h 2112029"/>
                <a:gd name="connsiteX3" fmla="*/ 1309098 w 2150240"/>
                <a:gd name="connsiteY3" fmla="*/ 101600 h 2112029"/>
                <a:gd name="connsiteX4" fmla="*/ 1324973 w 2150240"/>
                <a:gd name="connsiteY4" fmla="*/ 114300 h 2112029"/>
                <a:gd name="connsiteX5" fmla="*/ 1334498 w 2150240"/>
                <a:gd name="connsiteY5" fmla="*/ 117475 h 2112029"/>
                <a:gd name="connsiteX6" fmla="*/ 1455148 w 2150240"/>
                <a:gd name="connsiteY6" fmla="*/ 241300 h 2112029"/>
                <a:gd name="connsiteX7" fmla="*/ 1499598 w 2150240"/>
                <a:gd name="connsiteY7" fmla="*/ 282575 h 2112029"/>
                <a:gd name="connsiteX8" fmla="*/ 1512298 w 2150240"/>
                <a:gd name="connsiteY8" fmla="*/ 298450 h 2112029"/>
                <a:gd name="connsiteX9" fmla="*/ 1524998 w 2150240"/>
                <a:gd name="connsiteY9" fmla="*/ 311150 h 2112029"/>
                <a:gd name="connsiteX10" fmla="*/ 1531348 w 2150240"/>
                <a:gd name="connsiteY10" fmla="*/ 320675 h 2112029"/>
                <a:gd name="connsiteX11" fmla="*/ 1550398 w 2150240"/>
                <a:gd name="connsiteY11" fmla="*/ 339725 h 2112029"/>
                <a:gd name="connsiteX12" fmla="*/ 1559923 w 2150240"/>
                <a:gd name="connsiteY12" fmla="*/ 349250 h 2112029"/>
                <a:gd name="connsiteX13" fmla="*/ 1569448 w 2150240"/>
                <a:gd name="connsiteY13" fmla="*/ 361950 h 2112029"/>
                <a:gd name="connsiteX14" fmla="*/ 1594848 w 2150240"/>
                <a:gd name="connsiteY14" fmla="*/ 381000 h 2112029"/>
                <a:gd name="connsiteX15" fmla="*/ 1632948 w 2150240"/>
                <a:gd name="connsiteY15" fmla="*/ 412750 h 2112029"/>
                <a:gd name="connsiteX16" fmla="*/ 1648823 w 2150240"/>
                <a:gd name="connsiteY16" fmla="*/ 431800 h 2112029"/>
                <a:gd name="connsiteX17" fmla="*/ 1661523 w 2150240"/>
                <a:gd name="connsiteY17" fmla="*/ 441325 h 2112029"/>
                <a:gd name="connsiteX18" fmla="*/ 1683748 w 2150240"/>
                <a:gd name="connsiteY18" fmla="*/ 463550 h 2112029"/>
                <a:gd name="connsiteX19" fmla="*/ 1702798 w 2150240"/>
                <a:gd name="connsiteY19" fmla="*/ 482600 h 2112029"/>
                <a:gd name="connsiteX20" fmla="*/ 1712323 w 2150240"/>
                <a:gd name="connsiteY20" fmla="*/ 492125 h 2112029"/>
                <a:gd name="connsiteX21" fmla="*/ 1744073 w 2150240"/>
                <a:gd name="connsiteY21" fmla="*/ 517525 h 2112029"/>
                <a:gd name="connsiteX22" fmla="*/ 1753598 w 2150240"/>
                <a:gd name="connsiteY22" fmla="*/ 527050 h 2112029"/>
                <a:gd name="connsiteX23" fmla="*/ 1766298 w 2150240"/>
                <a:gd name="connsiteY23" fmla="*/ 536575 h 2112029"/>
                <a:gd name="connsiteX24" fmla="*/ 1782173 w 2150240"/>
                <a:gd name="connsiteY24" fmla="*/ 552450 h 2112029"/>
                <a:gd name="connsiteX25" fmla="*/ 1813923 w 2150240"/>
                <a:gd name="connsiteY25" fmla="*/ 577850 h 2112029"/>
                <a:gd name="connsiteX26" fmla="*/ 1817098 w 2150240"/>
                <a:gd name="connsiteY26" fmla="*/ 587375 h 2112029"/>
                <a:gd name="connsiteX27" fmla="*/ 1842498 w 2150240"/>
                <a:gd name="connsiteY27" fmla="*/ 609600 h 2112029"/>
                <a:gd name="connsiteX28" fmla="*/ 1893298 w 2150240"/>
                <a:gd name="connsiteY28" fmla="*/ 666750 h 2112029"/>
                <a:gd name="connsiteX29" fmla="*/ 2090148 w 2150240"/>
                <a:gd name="connsiteY29" fmla="*/ 917575 h 2112029"/>
                <a:gd name="connsiteX30" fmla="*/ 2131423 w 2150240"/>
                <a:gd name="connsiteY30" fmla="*/ 993775 h 2112029"/>
                <a:gd name="connsiteX31" fmla="*/ 2121898 w 2150240"/>
                <a:gd name="connsiteY31" fmla="*/ 1193800 h 2112029"/>
                <a:gd name="connsiteX32" fmla="*/ 1848848 w 2150240"/>
                <a:gd name="connsiteY32" fmla="*/ 1508125 h 2112029"/>
                <a:gd name="connsiteX33" fmla="*/ 1810748 w 2150240"/>
                <a:gd name="connsiteY33" fmla="*/ 1539875 h 2112029"/>
                <a:gd name="connsiteX34" fmla="*/ 1718673 w 2150240"/>
                <a:gd name="connsiteY34" fmla="*/ 1628775 h 2112029"/>
                <a:gd name="connsiteX35" fmla="*/ 1709148 w 2150240"/>
                <a:gd name="connsiteY35" fmla="*/ 1641475 h 2112029"/>
                <a:gd name="connsiteX36" fmla="*/ 1680573 w 2150240"/>
                <a:gd name="connsiteY36" fmla="*/ 1673225 h 2112029"/>
                <a:gd name="connsiteX37" fmla="*/ 1658348 w 2150240"/>
                <a:gd name="connsiteY37" fmla="*/ 1701800 h 2112029"/>
                <a:gd name="connsiteX38" fmla="*/ 1623423 w 2150240"/>
                <a:gd name="connsiteY38" fmla="*/ 1736725 h 2112029"/>
                <a:gd name="connsiteX39" fmla="*/ 1569448 w 2150240"/>
                <a:gd name="connsiteY39" fmla="*/ 1797050 h 2112029"/>
                <a:gd name="connsiteX40" fmla="*/ 1559923 w 2150240"/>
                <a:gd name="connsiteY40" fmla="*/ 1809750 h 2112029"/>
                <a:gd name="connsiteX41" fmla="*/ 1547223 w 2150240"/>
                <a:gd name="connsiteY41" fmla="*/ 1819275 h 2112029"/>
                <a:gd name="connsiteX42" fmla="*/ 1524998 w 2150240"/>
                <a:gd name="connsiteY42" fmla="*/ 1838325 h 2112029"/>
                <a:gd name="connsiteX43" fmla="*/ 1464673 w 2150240"/>
                <a:gd name="connsiteY43" fmla="*/ 1901825 h 2112029"/>
                <a:gd name="connsiteX44" fmla="*/ 1455148 w 2150240"/>
                <a:gd name="connsiteY44" fmla="*/ 1914525 h 2112029"/>
                <a:gd name="connsiteX45" fmla="*/ 1445623 w 2150240"/>
                <a:gd name="connsiteY45" fmla="*/ 1924050 h 2112029"/>
                <a:gd name="connsiteX46" fmla="*/ 1423398 w 2150240"/>
                <a:gd name="connsiteY46" fmla="*/ 1949450 h 2112029"/>
                <a:gd name="connsiteX47" fmla="*/ 1391648 w 2150240"/>
                <a:gd name="connsiteY47" fmla="*/ 1978025 h 2112029"/>
                <a:gd name="connsiteX48" fmla="*/ 1356723 w 2150240"/>
                <a:gd name="connsiteY48" fmla="*/ 1993900 h 2112029"/>
                <a:gd name="connsiteX49" fmla="*/ 1331323 w 2150240"/>
                <a:gd name="connsiteY49" fmla="*/ 2009775 h 2112029"/>
                <a:gd name="connsiteX50" fmla="*/ 1226548 w 2150240"/>
                <a:gd name="connsiteY50" fmla="*/ 2066925 h 2112029"/>
                <a:gd name="connsiteX51" fmla="*/ 1102723 w 2150240"/>
                <a:gd name="connsiteY51" fmla="*/ 2111375 h 2112029"/>
                <a:gd name="connsiteX52" fmla="*/ 928098 w 2150240"/>
                <a:gd name="connsiteY52" fmla="*/ 2092325 h 2112029"/>
                <a:gd name="connsiteX53" fmla="*/ 886823 w 2150240"/>
                <a:gd name="connsiteY53" fmla="*/ 2076450 h 2112029"/>
                <a:gd name="connsiteX54" fmla="*/ 845548 w 2150240"/>
                <a:gd name="connsiteY54" fmla="*/ 2057400 h 2112029"/>
                <a:gd name="connsiteX55" fmla="*/ 731248 w 2150240"/>
                <a:gd name="connsiteY55" fmla="*/ 1955800 h 2112029"/>
                <a:gd name="connsiteX56" fmla="*/ 715373 w 2150240"/>
                <a:gd name="connsiteY56" fmla="*/ 1939925 h 2112029"/>
                <a:gd name="connsiteX57" fmla="*/ 699498 w 2150240"/>
                <a:gd name="connsiteY57" fmla="*/ 1927225 h 2112029"/>
                <a:gd name="connsiteX58" fmla="*/ 680448 w 2150240"/>
                <a:gd name="connsiteY58" fmla="*/ 1908175 h 2112029"/>
                <a:gd name="connsiteX59" fmla="*/ 601073 w 2150240"/>
                <a:gd name="connsiteY59" fmla="*/ 1828800 h 2112029"/>
                <a:gd name="connsiteX60" fmla="*/ 578848 w 2150240"/>
                <a:gd name="connsiteY60" fmla="*/ 1803400 h 2112029"/>
                <a:gd name="connsiteX61" fmla="*/ 537573 w 2150240"/>
                <a:gd name="connsiteY61" fmla="*/ 1762125 h 2112029"/>
                <a:gd name="connsiteX62" fmla="*/ 499473 w 2150240"/>
                <a:gd name="connsiteY62" fmla="*/ 1727200 h 2112029"/>
                <a:gd name="connsiteX63" fmla="*/ 470898 w 2150240"/>
                <a:gd name="connsiteY63" fmla="*/ 1692275 h 2112029"/>
                <a:gd name="connsiteX64" fmla="*/ 413748 w 2150240"/>
                <a:gd name="connsiteY64" fmla="*/ 1644650 h 2112029"/>
                <a:gd name="connsiteX65" fmla="*/ 118473 w 2150240"/>
                <a:gd name="connsiteY65" fmla="*/ 1362075 h 2112029"/>
                <a:gd name="connsiteX66" fmla="*/ 83548 w 2150240"/>
                <a:gd name="connsiteY66" fmla="*/ 1314450 h 2112029"/>
                <a:gd name="connsiteX67" fmla="*/ 64498 w 2150240"/>
                <a:gd name="connsiteY67" fmla="*/ 1289050 h 2112029"/>
                <a:gd name="connsiteX68" fmla="*/ 35923 w 2150240"/>
                <a:gd name="connsiteY68" fmla="*/ 1228725 h 2112029"/>
                <a:gd name="connsiteX69" fmla="*/ 26398 w 2150240"/>
                <a:gd name="connsiteY69" fmla="*/ 1193800 h 2112029"/>
                <a:gd name="connsiteX70" fmla="*/ 20048 w 2150240"/>
                <a:gd name="connsiteY70" fmla="*/ 1171575 h 2112029"/>
                <a:gd name="connsiteX71" fmla="*/ 16873 w 2150240"/>
                <a:gd name="connsiteY71" fmla="*/ 1155700 h 2112029"/>
                <a:gd name="connsiteX72" fmla="*/ 7348 w 2150240"/>
                <a:gd name="connsiteY72" fmla="*/ 1117600 h 2112029"/>
                <a:gd name="connsiteX73" fmla="*/ 998 w 2150240"/>
                <a:gd name="connsiteY73" fmla="*/ 1035050 h 2112029"/>
                <a:gd name="connsiteX74" fmla="*/ 10523 w 2150240"/>
                <a:gd name="connsiteY74" fmla="*/ 904875 h 2112029"/>
                <a:gd name="connsiteX75" fmla="*/ 35923 w 2150240"/>
                <a:gd name="connsiteY75" fmla="*/ 857250 h 2112029"/>
                <a:gd name="connsiteX76" fmla="*/ 51798 w 2150240"/>
                <a:gd name="connsiteY76" fmla="*/ 828675 h 2112029"/>
                <a:gd name="connsiteX77" fmla="*/ 83548 w 2150240"/>
                <a:gd name="connsiteY77" fmla="*/ 784225 h 2112029"/>
                <a:gd name="connsiteX78" fmla="*/ 99423 w 2150240"/>
                <a:gd name="connsiteY78" fmla="*/ 765175 h 2112029"/>
                <a:gd name="connsiteX79" fmla="*/ 308973 w 2150240"/>
                <a:gd name="connsiteY79" fmla="*/ 546100 h 2112029"/>
                <a:gd name="connsiteX80" fmla="*/ 366123 w 2150240"/>
                <a:gd name="connsiteY80" fmla="*/ 485775 h 2112029"/>
                <a:gd name="connsiteX81" fmla="*/ 445498 w 2150240"/>
                <a:gd name="connsiteY81" fmla="*/ 400050 h 2112029"/>
                <a:gd name="connsiteX82" fmla="*/ 493123 w 2150240"/>
                <a:gd name="connsiteY82" fmla="*/ 355600 h 2112029"/>
                <a:gd name="connsiteX83" fmla="*/ 712198 w 2150240"/>
                <a:gd name="connsiteY83" fmla="*/ 158750 h 2112029"/>
                <a:gd name="connsiteX84" fmla="*/ 750298 w 2150240"/>
                <a:gd name="connsiteY84" fmla="*/ 133350 h 2112029"/>
                <a:gd name="connsiteX85" fmla="*/ 785223 w 2150240"/>
                <a:gd name="connsiteY85" fmla="*/ 111125 h 2112029"/>
                <a:gd name="connsiteX86" fmla="*/ 883648 w 2150240"/>
                <a:gd name="connsiteY86" fmla="*/ 60325 h 2112029"/>
                <a:gd name="connsiteX87" fmla="*/ 1077323 w 2150240"/>
                <a:gd name="connsiteY87" fmla="*/ 0 h 2112029"/>
                <a:gd name="connsiteX0" fmla="*/ 1077323 w 2150240"/>
                <a:gd name="connsiteY0" fmla="*/ 546 h 2112575"/>
                <a:gd name="connsiteX1" fmla="*/ 1239248 w 2150240"/>
                <a:gd name="connsiteY1" fmla="*/ 60871 h 2112575"/>
                <a:gd name="connsiteX2" fmla="*/ 1290048 w 2150240"/>
                <a:gd name="connsiteY2" fmla="*/ 95796 h 2112575"/>
                <a:gd name="connsiteX3" fmla="*/ 1309098 w 2150240"/>
                <a:gd name="connsiteY3" fmla="*/ 102146 h 2112575"/>
                <a:gd name="connsiteX4" fmla="*/ 1324973 w 2150240"/>
                <a:gd name="connsiteY4" fmla="*/ 114846 h 2112575"/>
                <a:gd name="connsiteX5" fmla="*/ 1334498 w 2150240"/>
                <a:gd name="connsiteY5" fmla="*/ 118021 h 2112575"/>
                <a:gd name="connsiteX6" fmla="*/ 1455148 w 2150240"/>
                <a:gd name="connsiteY6" fmla="*/ 241846 h 2112575"/>
                <a:gd name="connsiteX7" fmla="*/ 1499598 w 2150240"/>
                <a:gd name="connsiteY7" fmla="*/ 283121 h 2112575"/>
                <a:gd name="connsiteX8" fmla="*/ 1512298 w 2150240"/>
                <a:gd name="connsiteY8" fmla="*/ 298996 h 2112575"/>
                <a:gd name="connsiteX9" fmla="*/ 1524998 w 2150240"/>
                <a:gd name="connsiteY9" fmla="*/ 311696 h 2112575"/>
                <a:gd name="connsiteX10" fmla="*/ 1531348 w 2150240"/>
                <a:gd name="connsiteY10" fmla="*/ 321221 h 2112575"/>
                <a:gd name="connsiteX11" fmla="*/ 1550398 w 2150240"/>
                <a:gd name="connsiteY11" fmla="*/ 340271 h 2112575"/>
                <a:gd name="connsiteX12" fmla="*/ 1559923 w 2150240"/>
                <a:gd name="connsiteY12" fmla="*/ 349796 h 2112575"/>
                <a:gd name="connsiteX13" fmla="*/ 1569448 w 2150240"/>
                <a:gd name="connsiteY13" fmla="*/ 362496 h 2112575"/>
                <a:gd name="connsiteX14" fmla="*/ 1594848 w 2150240"/>
                <a:gd name="connsiteY14" fmla="*/ 381546 h 2112575"/>
                <a:gd name="connsiteX15" fmla="*/ 1632948 w 2150240"/>
                <a:gd name="connsiteY15" fmla="*/ 413296 h 2112575"/>
                <a:gd name="connsiteX16" fmla="*/ 1648823 w 2150240"/>
                <a:gd name="connsiteY16" fmla="*/ 432346 h 2112575"/>
                <a:gd name="connsiteX17" fmla="*/ 1661523 w 2150240"/>
                <a:gd name="connsiteY17" fmla="*/ 441871 h 2112575"/>
                <a:gd name="connsiteX18" fmla="*/ 1683748 w 2150240"/>
                <a:gd name="connsiteY18" fmla="*/ 464096 h 2112575"/>
                <a:gd name="connsiteX19" fmla="*/ 1702798 w 2150240"/>
                <a:gd name="connsiteY19" fmla="*/ 483146 h 2112575"/>
                <a:gd name="connsiteX20" fmla="*/ 1712323 w 2150240"/>
                <a:gd name="connsiteY20" fmla="*/ 492671 h 2112575"/>
                <a:gd name="connsiteX21" fmla="*/ 1744073 w 2150240"/>
                <a:gd name="connsiteY21" fmla="*/ 518071 h 2112575"/>
                <a:gd name="connsiteX22" fmla="*/ 1753598 w 2150240"/>
                <a:gd name="connsiteY22" fmla="*/ 527596 h 2112575"/>
                <a:gd name="connsiteX23" fmla="*/ 1766298 w 2150240"/>
                <a:gd name="connsiteY23" fmla="*/ 537121 h 2112575"/>
                <a:gd name="connsiteX24" fmla="*/ 1782173 w 2150240"/>
                <a:gd name="connsiteY24" fmla="*/ 552996 h 2112575"/>
                <a:gd name="connsiteX25" fmla="*/ 1813923 w 2150240"/>
                <a:gd name="connsiteY25" fmla="*/ 578396 h 2112575"/>
                <a:gd name="connsiteX26" fmla="*/ 1817098 w 2150240"/>
                <a:gd name="connsiteY26" fmla="*/ 587921 h 2112575"/>
                <a:gd name="connsiteX27" fmla="*/ 1842498 w 2150240"/>
                <a:gd name="connsiteY27" fmla="*/ 610146 h 2112575"/>
                <a:gd name="connsiteX28" fmla="*/ 1893298 w 2150240"/>
                <a:gd name="connsiteY28" fmla="*/ 667296 h 2112575"/>
                <a:gd name="connsiteX29" fmla="*/ 2090148 w 2150240"/>
                <a:gd name="connsiteY29" fmla="*/ 918121 h 2112575"/>
                <a:gd name="connsiteX30" fmla="*/ 2131423 w 2150240"/>
                <a:gd name="connsiteY30" fmla="*/ 994321 h 2112575"/>
                <a:gd name="connsiteX31" fmla="*/ 2121898 w 2150240"/>
                <a:gd name="connsiteY31" fmla="*/ 1194346 h 2112575"/>
                <a:gd name="connsiteX32" fmla="*/ 1848848 w 2150240"/>
                <a:gd name="connsiteY32" fmla="*/ 1508671 h 2112575"/>
                <a:gd name="connsiteX33" fmla="*/ 1810748 w 2150240"/>
                <a:gd name="connsiteY33" fmla="*/ 1540421 h 2112575"/>
                <a:gd name="connsiteX34" fmla="*/ 1718673 w 2150240"/>
                <a:gd name="connsiteY34" fmla="*/ 1629321 h 2112575"/>
                <a:gd name="connsiteX35" fmla="*/ 1709148 w 2150240"/>
                <a:gd name="connsiteY35" fmla="*/ 1642021 h 2112575"/>
                <a:gd name="connsiteX36" fmla="*/ 1680573 w 2150240"/>
                <a:gd name="connsiteY36" fmla="*/ 1673771 h 2112575"/>
                <a:gd name="connsiteX37" fmla="*/ 1658348 w 2150240"/>
                <a:gd name="connsiteY37" fmla="*/ 1702346 h 2112575"/>
                <a:gd name="connsiteX38" fmla="*/ 1623423 w 2150240"/>
                <a:gd name="connsiteY38" fmla="*/ 1737271 h 2112575"/>
                <a:gd name="connsiteX39" fmla="*/ 1569448 w 2150240"/>
                <a:gd name="connsiteY39" fmla="*/ 1797596 h 2112575"/>
                <a:gd name="connsiteX40" fmla="*/ 1559923 w 2150240"/>
                <a:gd name="connsiteY40" fmla="*/ 1810296 h 2112575"/>
                <a:gd name="connsiteX41" fmla="*/ 1547223 w 2150240"/>
                <a:gd name="connsiteY41" fmla="*/ 1819821 h 2112575"/>
                <a:gd name="connsiteX42" fmla="*/ 1524998 w 2150240"/>
                <a:gd name="connsiteY42" fmla="*/ 1838871 h 2112575"/>
                <a:gd name="connsiteX43" fmla="*/ 1464673 w 2150240"/>
                <a:gd name="connsiteY43" fmla="*/ 1902371 h 2112575"/>
                <a:gd name="connsiteX44" fmla="*/ 1455148 w 2150240"/>
                <a:gd name="connsiteY44" fmla="*/ 1915071 h 2112575"/>
                <a:gd name="connsiteX45" fmla="*/ 1445623 w 2150240"/>
                <a:gd name="connsiteY45" fmla="*/ 1924596 h 2112575"/>
                <a:gd name="connsiteX46" fmla="*/ 1423398 w 2150240"/>
                <a:gd name="connsiteY46" fmla="*/ 1949996 h 2112575"/>
                <a:gd name="connsiteX47" fmla="*/ 1391648 w 2150240"/>
                <a:gd name="connsiteY47" fmla="*/ 1978571 h 2112575"/>
                <a:gd name="connsiteX48" fmla="*/ 1356723 w 2150240"/>
                <a:gd name="connsiteY48" fmla="*/ 1994446 h 2112575"/>
                <a:gd name="connsiteX49" fmla="*/ 1331323 w 2150240"/>
                <a:gd name="connsiteY49" fmla="*/ 2010321 h 2112575"/>
                <a:gd name="connsiteX50" fmla="*/ 1226548 w 2150240"/>
                <a:gd name="connsiteY50" fmla="*/ 2067471 h 2112575"/>
                <a:gd name="connsiteX51" fmla="*/ 1102723 w 2150240"/>
                <a:gd name="connsiteY51" fmla="*/ 2111921 h 2112575"/>
                <a:gd name="connsiteX52" fmla="*/ 928098 w 2150240"/>
                <a:gd name="connsiteY52" fmla="*/ 2092871 h 2112575"/>
                <a:gd name="connsiteX53" fmla="*/ 886823 w 2150240"/>
                <a:gd name="connsiteY53" fmla="*/ 2076996 h 2112575"/>
                <a:gd name="connsiteX54" fmla="*/ 845548 w 2150240"/>
                <a:gd name="connsiteY54" fmla="*/ 2057946 h 2112575"/>
                <a:gd name="connsiteX55" fmla="*/ 731248 w 2150240"/>
                <a:gd name="connsiteY55" fmla="*/ 1956346 h 2112575"/>
                <a:gd name="connsiteX56" fmla="*/ 715373 w 2150240"/>
                <a:gd name="connsiteY56" fmla="*/ 1940471 h 2112575"/>
                <a:gd name="connsiteX57" fmla="*/ 699498 w 2150240"/>
                <a:gd name="connsiteY57" fmla="*/ 1927771 h 2112575"/>
                <a:gd name="connsiteX58" fmla="*/ 680448 w 2150240"/>
                <a:gd name="connsiteY58" fmla="*/ 1908721 h 2112575"/>
                <a:gd name="connsiteX59" fmla="*/ 601073 w 2150240"/>
                <a:gd name="connsiteY59" fmla="*/ 1829346 h 2112575"/>
                <a:gd name="connsiteX60" fmla="*/ 578848 w 2150240"/>
                <a:gd name="connsiteY60" fmla="*/ 1803946 h 2112575"/>
                <a:gd name="connsiteX61" fmla="*/ 537573 w 2150240"/>
                <a:gd name="connsiteY61" fmla="*/ 1762671 h 2112575"/>
                <a:gd name="connsiteX62" fmla="*/ 499473 w 2150240"/>
                <a:gd name="connsiteY62" fmla="*/ 1727746 h 2112575"/>
                <a:gd name="connsiteX63" fmla="*/ 470898 w 2150240"/>
                <a:gd name="connsiteY63" fmla="*/ 1692821 h 2112575"/>
                <a:gd name="connsiteX64" fmla="*/ 413748 w 2150240"/>
                <a:gd name="connsiteY64" fmla="*/ 1645196 h 2112575"/>
                <a:gd name="connsiteX65" fmla="*/ 118473 w 2150240"/>
                <a:gd name="connsiteY65" fmla="*/ 1362621 h 2112575"/>
                <a:gd name="connsiteX66" fmla="*/ 83548 w 2150240"/>
                <a:gd name="connsiteY66" fmla="*/ 1314996 h 2112575"/>
                <a:gd name="connsiteX67" fmla="*/ 64498 w 2150240"/>
                <a:gd name="connsiteY67" fmla="*/ 1289596 h 2112575"/>
                <a:gd name="connsiteX68" fmla="*/ 35923 w 2150240"/>
                <a:gd name="connsiteY68" fmla="*/ 1229271 h 2112575"/>
                <a:gd name="connsiteX69" fmla="*/ 26398 w 2150240"/>
                <a:gd name="connsiteY69" fmla="*/ 1194346 h 2112575"/>
                <a:gd name="connsiteX70" fmla="*/ 20048 w 2150240"/>
                <a:gd name="connsiteY70" fmla="*/ 1172121 h 2112575"/>
                <a:gd name="connsiteX71" fmla="*/ 16873 w 2150240"/>
                <a:gd name="connsiteY71" fmla="*/ 1156246 h 2112575"/>
                <a:gd name="connsiteX72" fmla="*/ 7348 w 2150240"/>
                <a:gd name="connsiteY72" fmla="*/ 1118146 h 2112575"/>
                <a:gd name="connsiteX73" fmla="*/ 998 w 2150240"/>
                <a:gd name="connsiteY73" fmla="*/ 1035596 h 2112575"/>
                <a:gd name="connsiteX74" fmla="*/ 10523 w 2150240"/>
                <a:gd name="connsiteY74" fmla="*/ 905421 h 2112575"/>
                <a:gd name="connsiteX75" fmla="*/ 35923 w 2150240"/>
                <a:gd name="connsiteY75" fmla="*/ 857796 h 2112575"/>
                <a:gd name="connsiteX76" fmla="*/ 51798 w 2150240"/>
                <a:gd name="connsiteY76" fmla="*/ 829221 h 2112575"/>
                <a:gd name="connsiteX77" fmla="*/ 83548 w 2150240"/>
                <a:gd name="connsiteY77" fmla="*/ 784771 h 2112575"/>
                <a:gd name="connsiteX78" fmla="*/ 99423 w 2150240"/>
                <a:gd name="connsiteY78" fmla="*/ 765721 h 2112575"/>
                <a:gd name="connsiteX79" fmla="*/ 308973 w 2150240"/>
                <a:gd name="connsiteY79" fmla="*/ 546646 h 2112575"/>
                <a:gd name="connsiteX80" fmla="*/ 366123 w 2150240"/>
                <a:gd name="connsiteY80" fmla="*/ 486321 h 2112575"/>
                <a:gd name="connsiteX81" fmla="*/ 445498 w 2150240"/>
                <a:gd name="connsiteY81" fmla="*/ 400596 h 2112575"/>
                <a:gd name="connsiteX82" fmla="*/ 493123 w 2150240"/>
                <a:gd name="connsiteY82" fmla="*/ 356146 h 2112575"/>
                <a:gd name="connsiteX83" fmla="*/ 712198 w 2150240"/>
                <a:gd name="connsiteY83" fmla="*/ 159296 h 2112575"/>
                <a:gd name="connsiteX84" fmla="*/ 750298 w 2150240"/>
                <a:gd name="connsiteY84" fmla="*/ 133896 h 2112575"/>
                <a:gd name="connsiteX85" fmla="*/ 785223 w 2150240"/>
                <a:gd name="connsiteY85" fmla="*/ 111671 h 2112575"/>
                <a:gd name="connsiteX86" fmla="*/ 883648 w 2150240"/>
                <a:gd name="connsiteY86" fmla="*/ 60871 h 2112575"/>
                <a:gd name="connsiteX87" fmla="*/ 1077323 w 2150240"/>
                <a:gd name="connsiteY87" fmla="*/ 546 h 2112575"/>
                <a:gd name="connsiteX0" fmla="*/ 1077323 w 2150240"/>
                <a:gd name="connsiteY0" fmla="*/ 21 h 2112050"/>
                <a:gd name="connsiteX1" fmla="*/ 1239248 w 2150240"/>
                <a:gd name="connsiteY1" fmla="*/ 60346 h 2112050"/>
                <a:gd name="connsiteX2" fmla="*/ 1290048 w 2150240"/>
                <a:gd name="connsiteY2" fmla="*/ 95271 h 2112050"/>
                <a:gd name="connsiteX3" fmla="*/ 1309098 w 2150240"/>
                <a:gd name="connsiteY3" fmla="*/ 101621 h 2112050"/>
                <a:gd name="connsiteX4" fmla="*/ 1324973 w 2150240"/>
                <a:gd name="connsiteY4" fmla="*/ 114321 h 2112050"/>
                <a:gd name="connsiteX5" fmla="*/ 1334498 w 2150240"/>
                <a:gd name="connsiteY5" fmla="*/ 117496 h 2112050"/>
                <a:gd name="connsiteX6" fmla="*/ 1455148 w 2150240"/>
                <a:gd name="connsiteY6" fmla="*/ 241321 h 2112050"/>
                <a:gd name="connsiteX7" fmla="*/ 1499598 w 2150240"/>
                <a:gd name="connsiteY7" fmla="*/ 282596 h 2112050"/>
                <a:gd name="connsiteX8" fmla="*/ 1512298 w 2150240"/>
                <a:gd name="connsiteY8" fmla="*/ 298471 h 2112050"/>
                <a:gd name="connsiteX9" fmla="*/ 1524998 w 2150240"/>
                <a:gd name="connsiteY9" fmla="*/ 311171 h 2112050"/>
                <a:gd name="connsiteX10" fmla="*/ 1531348 w 2150240"/>
                <a:gd name="connsiteY10" fmla="*/ 320696 h 2112050"/>
                <a:gd name="connsiteX11" fmla="*/ 1550398 w 2150240"/>
                <a:gd name="connsiteY11" fmla="*/ 339746 h 2112050"/>
                <a:gd name="connsiteX12" fmla="*/ 1559923 w 2150240"/>
                <a:gd name="connsiteY12" fmla="*/ 349271 h 2112050"/>
                <a:gd name="connsiteX13" fmla="*/ 1569448 w 2150240"/>
                <a:gd name="connsiteY13" fmla="*/ 361971 h 2112050"/>
                <a:gd name="connsiteX14" fmla="*/ 1594848 w 2150240"/>
                <a:gd name="connsiteY14" fmla="*/ 381021 h 2112050"/>
                <a:gd name="connsiteX15" fmla="*/ 1632948 w 2150240"/>
                <a:gd name="connsiteY15" fmla="*/ 412771 h 2112050"/>
                <a:gd name="connsiteX16" fmla="*/ 1648823 w 2150240"/>
                <a:gd name="connsiteY16" fmla="*/ 431821 h 2112050"/>
                <a:gd name="connsiteX17" fmla="*/ 1661523 w 2150240"/>
                <a:gd name="connsiteY17" fmla="*/ 441346 h 2112050"/>
                <a:gd name="connsiteX18" fmla="*/ 1683748 w 2150240"/>
                <a:gd name="connsiteY18" fmla="*/ 463571 h 2112050"/>
                <a:gd name="connsiteX19" fmla="*/ 1702798 w 2150240"/>
                <a:gd name="connsiteY19" fmla="*/ 482621 h 2112050"/>
                <a:gd name="connsiteX20" fmla="*/ 1712323 w 2150240"/>
                <a:gd name="connsiteY20" fmla="*/ 492146 h 2112050"/>
                <a:gd name="connsiteX21" fmla="*/ 1744073 w 2150240"/>
                <a:gd name="connsiteY21" fmla="*/ 517546 h 2112050"/>
                <a:gd name="connsiteX22" fmla="*/ 1753598 w 2150240"/>
                <a:gd name="connsiteY22" fmla="*/ 527071 h 2112050"/>
                <a:gd name="connsiteX23" fmla="*/ 1766298 w 2150240"/>
                <a:gd name="connsiteY23" fmla="*/ 536596 h 2112050"/>
                <a:gd name="connsiteX24" fmla="*/ 1782173 w 2150240"/>
                <a:gd name="connsiteY24" fmla="*/ 552471 h 2112050"/>
                <a:gd name="connsiteX25" fmla="*/ 1813923 w 2150240"/>
                <a:gd name="connsiteY25" fmla="*/ 577871 h 2112050"/>
                <a:gd name="connsiteX26" fmla="*/ 1817098 w 2150240"/>
                <a:gd name="connsiteY26" fmla="*/ 587396 h 2112050"/>
                <a:gd name="connsiteX27" fmla="*/ 1842498 w 2150240"/>
                <a:gd name="connsiteY27" fmla="*/ 609621 h 2112050"/>
                <a:gd name="connsiteX28" fmla="*/ 1893298 w 2150240"/>
                <a:gd name="connsiteY28" fmla="*/ 666771 h 2112050"/>
                <a:gd name="connsiteX29" fmla="*/ 2090148 w 2150240"/>
                <a:gd name="connsiteY29" fmla="*/ 917596 h 2112050"/>
                <a:gd name="connsiteX30" fmla="*/ 2131423 w 2150240"/>
                <a:gd name="connsiteY30" fmla="*/ 993796 h 2112050"/>
                <a:gd name="connsiteX31" fmla="*/ 2121898 w 2150240"/>
                <a:gd name="connsiteY31" fmla="*/ 1193821 h 2112050"/>
                <a:gd name="connsiteX32" fmla="*/ 1848848 w 2150240"/>
                <a:gd name="connsiteY32" fmla="*/ 1508146 h 2112050"/>
                <a:gd name="connsiteX33" fmla="*/ 1810748 w 2150240"/>
                <a:gd name="connsiteY33" fmla="*/ 1539896 h 2112050"/>
                <a:gd name="connsiteX34" fmla="*/ 1718673 w 2150240"/>
                <a:gd name="connsiteY34" fmla="*/ 1628796 h 2112050"/>
                <a:gd name="connsiteX35" fmla="*/ 1709148 w 2150240"/>
                <a:gd name="connsiteY35" fmla="*/ 1641496 h 2112050"/>
                <a:gd name="connsiteX36" fmla="*/ 1680573 w 2150240"/>
                <a:gd name="connsiteY36" fmla="*/ 1673246 h 2112050"/>
                <a:gd name="connsiteX37" fmla="*/ 1658348 w 2150240"/>
                <a:gd name="connsiteY37" fmla="*/ 1701821 h 2112050"/>
                <a:gd name="connsiteX38" fmla="*/ 1623423 w 2150240"/>
                <a:gd name="connsiteY38" fmla="*/ 1736746 h 2112050"/>
                <a:gd name="connsiteX39" fmla="*/ 1569448 w 2150240"/>
                <a:gd name="connsiteY39" fmla="*/ 1797071 h 2112050"/>
                <a:gd name="connsiteX40" fmla="*/ 1559923 w 2150240"/>
                <a:gd name="connsiteY40" fmla="*/ 1809771 h 2112050"/>
                <a:gd name="connsiteX41" fmla="*/ 1547223 w 2150240"/>
                <a:gd name="connsiteY41" fmla="*/ 1819296 h 2112050"/>
                <a:gd name="connsiteX42" fmla="*/ 1524998 w 2150240"/>
                <a:gd name="connsiteY42" fmla="*/ 1838346 h 2112050"/>
                <a:gd name="connsiteX43" fmla="*/ 1464673 w 2150240"/>
                <a:gd name="connsiteY43" fmla="*/ 1901846 h 2112050"/>
                <a:gd name="connsiteX44" fmla="*/ 1455148 w 2150240"/>
                <a:gd name="connsiteY44" fmla="*/ 1914546 h 2112050"/>
                <a:gd name="connsiteX45" fmla="*/ 1445623 w 2150240"/>
                <a:gd name="connsiteY45" fmla="*/ 1924071 h 2112050"/>
                <a:gd name="connsiteX46" fmla="*/ 1423398 w 2150240"/>
                <a:gd name="connsiteY46" fmla="*/ 1949471 h 2112050"/>
                <a:gd name="connsiteX47" fmla="*/ 1391648 w 2150240"/>
                <a:gd name="connsiteY47" fmla="*/ 1978046 h 2112050"/>
                <a:gd name="connsiteX48" fmla="*/ 1356723 w 2150240"/>
                <a:gd name="connsiteY48" fmla="*/ 1993921 h 2112050"/>
                <a:gd name="connsiteX49" fmla="*/ 1331323 w 2150240"/>
                <a:gd name="connsiteY49" fmla="*/ 2009796 h 2112050"/>
                <a:gd name="connsiteX50" fmla="*/ 1226548 w 2150240"/>
                <a:gd name="connsiteY50" fmla="*/ 2066946 h 2112050"/>
                <a:gd name="connsiteX51" fmla="*/ 1102723 w 2150240"/>
                <a:gd name="connsiteY51" fmla="*/ 2111396 h 2112050"/>
                <a:gd name="connsiteX52" fmla="*/ 928098 w 2150240"/>
                <a:gd name="connsiteY52" fmla="*/ 2092346 h 2112050"/>
                <a:gd name="connsiteX53" fmla="*/ 886823 w 2150240"/>
                <a:gd name="connsiteY53" fmla="*/ 2076471 h 2112050"/>
                <a:gd name="connsiteX54" fmla="*/ 845548 w 2150240"/>
                <a:gd name="connsiteY54" fmla="*/ 2057421 h 2112050"/>
                <a:gd name="connsiteX55" fmla="*/ 731248 w 2150240"/>
                <a:gd name="connsiteY55" fmla="*/ 1955821 h 2112050"/>
                <a:gd name="connsiteX56" fmla="*/ 715373 w 2150240"/>
                <a:gd name="connsiteY56" fmla="*/ 1939946 h 2112050"/>
                <a:gd name="connsiteX57" fmla="*/ 699498 w 2150240"/>
                <a:gd name="connsiteY57" fmla="*/ 1927246 h 2112050"/>
                <a:gd name="connsiteX58" fmla="*/ 680448 w 2150240"/>
                <a:gd name="connsiteY58" fmla="*/ 1908196 h 2112050"/>
                <a:gd name="connsiteX59" fmla="*/ 601073 w 2150240"/>
                <a:gd name="connsiteY59" fmla="*/ 1828821 h 2112050"/>
                <a:gd name="connsiteX60" fmla="*/ 578848 w 2150240"/>
                <a:gd name="connsiteY60" fmla="*/ 1803421 h 2112050"/>
                <a:gd name="connsiteX61" fmla="*/ 537573 w 2150240"/>
                <a:gd name="connsiteY61" fmla="*/ 1762146 h 2112050"/>
                <a:gd name="connsiteX62" fmla="*/ 499473 w 2150240"/>
                <a:gd name="connsiteY62" fmla="*/ 1727221 h 2112050"/>
                <a:gd name="connsiteX63" fmla="*/ 470898 w 2150240"/>
                <a:gd name="connsiteY63" fmla="*/ 1692296 h 2112050"/>
                <a:gd name="connsiteX64" fmla="*/ 413748 w 2150240"/>
                <a:gd name="connsiteY64" fmla="*/ 1644671 h 2112050"/>
                <a:gd name="connsiteX65" fmla="*/ 118473 w 2150240"/>
                <a:gd name="connsiteY65" fmla="*/ 1362096 h 2112050"/>
                <a:gd name="connsiteX66" fmla="*/ 83548 w 2150240"/>
                <a:gd name="connsiteY66" fmla="*/ 1314471 h 2112050"/>
                <a:gd name="connsiteX67" fmla="*/ 64498 w 2150240"/>
                <a:gd name="connsiteY67" fmla="*/ 1289071 h 2112050"/>
                <a:gd name="connsiteX68" fmla="*/ 35923 w 2150240"/>
                <a:gd name="connsiteY68" fmla="*/ 1228746 h 2112050"/>
                <a:gd name="connsiteX69" fmla="*/ 26398 w 2150240"/>
                <a:gd name="connsiteY69" fmla="*/ 1193821 h 2112050"/>
                <a:gd name="connsiteX70" fmla="*/ 20048 w 2150240"/>
                <a:gd name="connsiteY70" fmla="*/ 1171596 h 2112050"/>
                <a:gd name="connsiteX71" fmla="*/ 16873 w 2150240"/>
                <a:gd name="connsiteY71" fmla="*/ 1155721 h 2112050"/>
                <a:gd name="connsiteX72" fmla="*/ 7348 w 2150240"/>
                <a:gd name="connsiteY72" fmla="*/ 1117621 h 2112050"/>
                <a:gd name="connsiteX73" fmla="*/ 998 w 2150240"/>
                <a:gd name="connsiteY73" fmla="*/ 1035071 h 2112050"/>
                <a:gd name="connsiteX74" fmla="*/ 10523 w 2150240"/>
                <a:gd name="connsiteY74" fmla="*/ 904896 h 2112050"/>
                <a:gd name="connsiteX75" fmla="*/ 35923 w 2150240"/>
                <a:gd name="connsiteY75" fmla="*/ 857271 h 2112050"/>
                <a:gd name="connsiteX76" fmla="*/ 51798 w 2150240"/>
                <a:gd name="connsiteY76" fmla="*/ 828696 h 2112050"/>
                <a:gd name="connsiteX77" fmla="*/ 83548 w 2150240"/>
                <a:gd name="connsiteY77" fmla="*/ 784246 h 2112050"/>
                <a:gd name="connsiteX78" fmla="*/ 99423 w 2150240"/>
                <a:gd name="connsiteY78" fmla="*/ 765196 h 2112050"/>
                <a:gd name="connsiteX79" fmla="*/ 308973 w 2150240"/>
                <a:gd name="connsiteY79" fmla="*/ 546121 h 2112050"/>
                <a:gd name="connsiteX80" fmla="*/ 366123 w 2150240"/>
                <a:gd name="connsiteY80" fmla="*/ 485796 h 2112050"/>
                <a:gd name="connsiteX81" fmla="*/ 445498 w 2150240"/>
                <a:gd name="connsiteY81" fmla="*/ 400071 h 2112050"/>
                <a:gd name="connsiteX82" fmla="*/ 493123 w 2150240"/>
                <a:gd name="connsiteY82" fmla="*/ 355621 h 2112050"/>
                <a:gd name="connsiteX83" fmla="*/ 712198 w 2150240"/>
                <a:gd name="connsiteY83" fmla="*/ 158771 h 2112050"/>
                <a:gd name="connsiteX84" fmla="*/ 750298 w 2150240"/>
                <a:gd name="connsiteY84" fmla="*/ 133371 h 2112050"/>
                <a:gd name="connsiteX85" fmla="*/ 785223 w 2150240"/>
                <a:gd name="connsiteY85" fmla="*/ 111146 h 2112050"/>
                <a:gd name="connsiteX86" fmla="*/ 883648 w 2150240"/>
                <a:gd name="connsiteY86" fmla="*/ 60346 h 2112050"/>
                <a:gd name="connsiteX87" fmla="*/ 1077323 w 2150240"/>
                <a:gd name="connsiteY87" fmla="*/ 21 h 2112050"/>
                <a:gd name="connsiteX0" fmla="*/ 1077323 w 2150240"/>
                <a:gd name="connsiteY0" fmla="*/ 4461 h 2116490"/>
                <a:gd name="connsiteX1" fmla="*/ 1239248 w 2150240"/>
                <a:gd name="connsiteY1" fmla="*/ 64786 h 2116490"/>
                <a:gd name="connsiteX2" fmla="*/ 1290048 w 2150240"/>
                <a:gd name="connsiteY2" fmla="*/ 99711 h 2116490"/>
                <a:gd name="connsiteX3" fmla="*/ 1309098 w 2150240"/>
                <a:gd name="connsiteY3" fmla="*/ 106061 h 2116490"/>
                <a:gd name="connsiteX4" fmla="*/ 1324973 w 2150240"/>
                <a:gd name="connsiteY4" fmla="*/ 118761 h 2116490"/>
                <a:gd name="connsiteX5" fmla="*/ 1334498 w 2150240"/>
                <a:gd name="connsiteY5" fmla="*/ 121936 h 2116490"/>
                <a:gd name="connsiteX6" fmla="*/ 1455148 w 2150240"/>
                <a:gd name="connsiteY6" fmla="*/ 245761 h 2116490"/>
                <a:gd name="connsiteX7" fmla="*/ 1499598 w 2150240"/>
                <a:gd name="connsiteY7" fmla="*/ 287036 h 2116490"/>
                <a:gd name="connsiteX8" fmla="*/ 1512298 w 2150240"/>
                <a:gd name="connsiteY8" fmla="*/ 302911 h 2116490"/>
                <a:gd name="connsiteX9" fmla="*/ 1524998 w 2150240"/>
                <a:gd name="connsiteY9" fmla="*/ 315611 h 2116490"/>
                <a:gd name="connsiteX10" fmla="*/ 1531348 w 2150240"/>
                <a:gd name="connsiteY10" fmla="*/ 325136 h 2116490"/>
                <a:gd name="connsiteX11" fmla="*/ 1550398 w 2150240"/>
                <a:gd name="connsiteY11" fmla="*/ 344186 h 2116490"/>
                <a:gd name="connsiteX12" fmla="*/ 1559923 w 2150240"/>
                <a:gd name="connsiteY12" fmla="*/ 353711 h 2116490"/>
                <a:gd name="connsiteX13" fmla="*/ 1569448 w 2150240"/>
                <a:gd name="connsiteY13" fmla="*/ 366411 h 2116490"/>
                <a:gd name="connsiteX14" fmla="*/ 1594848 w 2150240"/>
                <a:gd name="connsiteY14" fmla="*/ 385461 h 2116490"/>
                <a:gd name="connsiteX15" fmla="*/ 1632948 w 2150240"/>
                <a:gd name="connsiteY15" fmla="*/ 417211 h 2116490"/>
                <a:gd name="connsiteX16" fmla="*/ 1648823 w 2150240"/>
                <a:gd name="connsiteY16" fmla="*/ 436261 h 2116490"/>
                <a:gd name="connsiteX17" fmla="*/ 1661523 w 2150240"/>
                <a:gd name="connsiteY17" fmla="*/ 445786 h 2116490"/>
                <a:gd name="connsiteX18" fmla="*/ 1683748 w 2150240"/>
                <a:gd name="connsiteY18" fmla="*/ 468011 h 2116490"/>
                <a:gd name="connsiteX19" fmla="*/ 1702798 w 2150240"/>
                <a:gd name="connsiteY19" fmla="*/ 487061 h 2116490"/>
                <a:gd name="connsiteX20" fmla="*/ 1712323 w 2150240"/>
                <a:gd name="connsiteY20" fmla="*/ 496586 h 2116490"/>
                <a:gd name="connsiteX21" fmla="*/ 1744073 w 2150240"/>
                <a:gd name="connsiteY21" fmla="*/ 521986 h 2116490"/>
                <a:gd name="connsiteX22" fmla="*/ 1753598 w 2150240"/>
                <a:gd name="connsiteY22" fmla="*/ 531511 h 2116490"/>
                <a:gd name="connsiteX23" fmla="*/ 1766298 w 2150240"/>
                <a:gd name="connsiteY23" fmla="*/ 541036 h 2116490"/>
                <a:gd name="connsiteX24" fmla="*/ 1782173 w 2150240"/>
                <a:gd name="connsiteY24" fmla="*/ 556911 h 2116490"/>
                <a:gd name="connsiteX25" fmla="*/ 1813923 w 2150240"/>
                <a:gd name="connsiteY25" fmla="*/ 582311 h 2116490"/>
                <a:gd name="connsiteX26" fmla="*/ 1817098 w 2150240"/>
                <a:gd name="connsiteY26" fmla="*/ 591836 h 2116490"/>
                <a:gd name="connsiteX27" fmla="*/ 1842498 w 2150240"/>
                <a:gd name="connsiteY27" fmla="*/ 614061 h 2116490"/>
                <a:gd name="connsiteX28" fmla="*/ 1893298 w 2150240"/>
                <a:gd name="connsiteY28" fmla="*/ 671211 h 2116490"/>
                <a:gd name="connsiteX29" fmla="*/ 2090148 w 2150240"/>
                <a:gd name="connsiteY29" fmla="*/ 922036 h 2116490"/>
                <a:gd name="connsiteX30" fmla="*/ 2131423 w 2150240"/>
                <a:gd name="connsiteY30" fmla="*/ 998236 h 2116490"/>
                <a:gd name="connsiteX31" fmla="*/ 2121898 w 2150240"/>
                <a:gd name="connsiteY31" fmla="*/ 1198261 h 2116490"/>
                <a:gd name="connsiteX32" fmla="*/ 1848848 w 2150240"/>
                <a:gd name="connsiteY32" fmla="*/ 1512586 h 2116490"/>
                <a:gd name="connsiteX33" fmla="*/ 1810748 w 2150240"/>
                <a:gd name="connsiteY33" fmla="*/ 1544336 h 2116490"/>
                <a:gd name="connsiteX34" fmla="*/ 1718673 w 2150240"/>
                <a:gd name="connsiteY34" fmla="*/ 1633236 h 2116490"/>
                <a:gd name="connsiteX35" fmla="*/ 1709148 w 2150240"/>
                <a:gd name="connsiteY35" fmla="*/ 1645936 h 2116490"/>
                <a:gd name="connsiteX36" fmla="*/ 1680573 w 2150240"/>
                <a:gd name="connsiteY36" fmla="*/ 1677686 h 2116490"/>
                <a:gd name="connsiteX37" fmla="*/ 1658348 w 2150240"/>
                <a:gd name="connsiteY37" fmla="*/ 1706261 h 2116490"/>
                <a:gd name="connsiteX38" fmla="*/ 1623423 w 2150240"/>
                <a:gd name="connsiteY38" fmla="*/ 1741186 h 2116490"/>
                <a:gd name="connsiteX39" fmla="*/ 1569448 w 2150240"/>
                <a:gd name="connsiteY39" fmla="*/ 1801511 h 2116490"/>
                <a:gd name="connsiteX40" fmla="*/ 1559923 w 2150240"/>
                <a:gd name="connsiteY40" fmla="*/ 1814211 h 2116490"/>
                <a:gd name="connsiteX41" fmla="*/ 1547223 w 2150240"/>
                <a:gd name="connsiteY41" fmla="*/ 1823736 h 2116490"/>
                <a:gd name="connsiteX42" fmla="*/ 1524998 w 2150240"/>
                <a:gd name="connsiteY42" fmla="*/ 1842786 h 2116490"/>
                <a:gd name="connsiteX43" fmla="*/ 1464673 w 2150240"/>
                <a:gd name="connsiteY43" fmla="*/ 1906286 h 2116490"/>
                <a:gd name="connsiteX44" fmla="*/ 1455148 w 2150240"/>
                <a:gd name="connsiteY44" fmla="*/ 1918986 h 2116490"/>
                <a:gd name="connsiteX45" fmla="*/ 1445623 w 2150240"/>
                <a:gd name="connsiteY45" fmla="*/ 1928511 h 2116490"/>
                <a:gd name="connsiteX46" fmla="*/ 1423398 w 2150240"/>
                <a:gd name="connsiteY46" fmla="*/ 1953911 h 2116490"/>
                <a:gd name="connsiteX47" fmla="*/ 1391648 w 2150240"/>
                <a:gd name="connsiteY47" fmla="*/ 1982486 h 2116490"/>
                <a:gd name="connsiteX48" fmla="*/ 1356723 w 2150240"/>
                <a:gd name="connsiteY48" fmla="*/ 1998361 h 2116490"/>
                <a:gd name="connsiteX49" fmla="*/ 1331323 w 2150240"/>
                <a:gd name="connsiteY49" fmla="*/ 2014236 h 2116490"/>
                <a:gd name="connsiteX50" fmla="*/ 1226548 w 2150240"/>
                <a:gd name="connsiteY50" fmla="*/ 2071386 h 2116490"/>
                <a:gd name="connsiteX51" fmla="*/ 1102723 w 2150240"/>
                <a:gd name="connsiteY51" fmla="*/ 2115836 h 2116490"/>
                <a:gd name="connsiteX52" fmla="*/ 928098 w 2150240"/>
                <a:gd name="connsiteY52" fmla="*/ 2096786 h 2116490"/>
                <a:gd name="connsiteX53" fmla="*/ 886823 w 2150240"/>
                <a:gd name="connsiteY53" fmla="*/ 2080911 h 2116490"/>
                <a:gd name="connsiteX54" fmla="*/ 845548 w 2150240"/>
                <a:gd name="connsiteY54" fmla="*/ 2061861 h 2116490"/>
                <a:gd name="connsiteX55" fmla="*/ 731248 w 2150240"/>
                <a:gd name="connsiteY55" fmla="*/ 1960261 h 2116490"/>
                <a:gd name="connsiteX56" fmla="*/ 715373 w 2150240"/>
                <a:gd name="connsiteY56" fmla="*/ 1944386 h 2116490"/>
                <a:gd name="connsiteX57" fmla="*/ 699498 w 2150240"/>
                <a:gd name="connsiteY57" fmla="*/ 1931686 h 2116490"/>
                <a:gd name="connsiteX58" fmla="*/ 680448 w 2150240"/>
                <a:gd name="connsiteY58" fmla="*/ 1912636 h 2116490"/>
                <a:gd name="connsiteX59" fmla="*/ 601073 w 2150240"/>
                <a:gd name="connsiteY59" fmla="*/ 1833261 h 2116490"/>
                <a:gd name="connsiteX60" fmla="*/ 578848 w 2150240"/>
                <a:gd name="connsiteY60" fmla="*/ 1807861 h 2116490"/>
                <a:gd name="connsiteX61" fmla="*/ 537573 w 2150240"/>
                <a:gd name="connsiteY61" fmla="*/ 1766586 h 2116490"/>
                <a:gd name="connsiteX62" fmla="*/ 499473 w 2150240"/>
                <a:gd name="connsiteY62" fmla="*/ 1731661 h 2116490"/>
                <a:gd name="connsiteX63" fmla="*/ 470898 w 2150240"/>
                <a:gd name="connsiteY63" fmla="*/ 1696736 h 2116490"/>
                <a:gd name="connsiteX64" fmla="*/ 413748 w 2150240"/>
                <a:gd name="connsiteY64" fmla="*/ 1649111 h 2116490"/>
                <a:gd name="connsiteX65" fmla="*/ 118473 w 2150240"/>
                <a:gd name="connsiteY65" fmla="*/ 1366536 h 2116490"/>
                <a:gd name="connsiteX66" fmla="*/ 83548 w 2150240"/>
                <a:gd name="connsiteY66" fmla="*/ 1318911 h 2116490"/>
                <a:gd name="connsiteX67" fmla="*/ 64498 w 2150240"/>
                <a:gd name="connsiteY67" fmla="*/ 1293511 h 2116490"/>
                <a:gd name="connsiteX68" fmla="*/ 35923 w 2150240"/>
                <a:gd name="connsiteY68" fmla="*/ 1233186 h 2116490"/>
                <a:gd name="connsiteX69" fmla="*/ 26398 w 2150240"/>
                <a:gd name="connsiteY69" fmla="*/ 1198261 h 2116490"/>
                <a:gd name="connsiteX70" fmla="*/ 20048 w 2150240"/>
                <a:gd name="connsiteY70" fmla="*/ 1176036 h 2116490"/>
                <a:gd name="connsiteX71" fmla="*/ 16873 w 2150240"/>
                <a:gd name="connsiteY71" fmla="*/ 1160161 h 2116490"/>
                <a:gd name="connsiteX72" fmla="*/ 7348 w 2150240"/>
                <a:gd name="connsiteY72" fmla="*/ 1122061 h 2116490"/>
                <a:gd name="connsiteX73" fmla="*/ 998 w 2150240"/>
                <a:gd name="connsiteY73" fmla="*/ 1039511 h 2116490"/>
                <a:gd name="connsiteX74" fmla="*/ 10523 w 2150240"/>
                <a:gd name="connsiteY74" fmla="*/ 909336 h 2116490"/>
                <a:gd name="connsiteX75" fmla="*/ 35923 w 2150240"/>
                <a:gd name="connsiteY75" fmla="*/ 861711 h 2116490"/>
                <a:gd name="connsiteX76" fmla="*/ 51798 w 2150240"/>
                <a:gd name="connsiteY76" fmla="*/ 833136 h 2116490"/>
                <a:gd name="connsiteX77" fmla="*/ 83548 w 2150240"/>
                <a:gd name="connsiteY77" fmla="*/ 788686 h 2116490"/>
                <a:gd name="connsiteX78" fmla="*/ 99423 w 2150240"/>
                <a:gd name="connsiteY78" fmla="*/ 769636 h 2116490"/>
                <a:gd name="connsiteX79" fmla="*/ 308973 w 2150240"/>
                <a:gd name="connsiteY79" fmla="*/ 550561 h 2116490"/>
                <a:gd name="connsiteX80" fmla="*/ 366123 w 2150240"/>
                <a:gd name="connsiteY80" fmla="*/ 490236 h 2116490"/>
                <a:gd name="connsiteX81" fmla="*/ 445498 w 2150240"/>
                <a:gd name="connsiteY81" fmla="*/ 404511 h 2116490"/>
                <a:gd name="connsiteX82" fmla="*/ 493123 w 2150240"/>
                <a:gd name="connsiteY82" fmla="*/ 360061 h 2116490"/>
                <a:gd name="connsiteX83" fmla="*/ 712198 w 2150240"/>
                <a:gd name="connsiteY83" fmla="*/ 163211 h 2116490"/>
                <a:gd name="connsiteX84" fmla="*/ 750298 w 2150240"/>
                <a:gd name="connsiteY84" fmla="*/ 137811 h 2116490"/>
                <a:gd name="connsiteX85" fmla="*/ 785223 w 2150240"/>
                <a:gd name="connsiteY85" fmla="*/ 115586 h 2116490"/>
                <a:gd name="connsiteX86" fmla="*/ 883648 w 2150240"/>
                <a:gd name="connsiteY86" fmla="*/ 64786 h 2116490"/>
                <a:gd name="connsiteX87" fmla="*/ 1077323 w 2150240"/>
                <a:gd name="connsiteY87" fmla="*/ 4461 h 2116490"/>
                <a:gd name="connsiteX0" fmla="*/ 1077323 w 2150240"/>
                <a:gd name="connsiteY0" fmla="*/ 8469 h 2120498"/>
                <a:gd name="connsiteX1" fmla="*/ 1239248 w 2150240"/>
                <a:gd name="connsiteY1" fmla="*/ 68794 h 2120498"/>
                <a:gd name="connsiteX2" fmla="*/ 1290048 w 2150240"/>
                <a:gd name="connsiteY2" fmla="*/ 103719 h 2120498"/>
                <a:gd name="connsiteX3" fmla="*/ 1309098 w 2150240"/>
                <a:gd name="connsiteY3" fmla="*/ 110069 h 2120498"/>
                <a:gd name="connsiteX4" fmla="*/ 1324973 w 2150240"/>
                <a:gd name="connsiteY4" fmla="*/ 122769 h 2120498"/>
                <a:gd name="connsiteX5" fmla="*/ 1334498 w 2150240"/>
                <a:gd name="connsiteY5" fmla="*/ 125944 h 2120498"/>
                <a:gd name="connsiteX6" fmla="*/ 1455148 w 2150240"/>
                <a:gd name="connsiteY6" fmla="*/ 249769 h 2120498"/>
                <a:gd name="connsiteX7" fmla="*/ 1499598 w 2150240"/>
                <a:gd name="connsiteY7" fmla="*/ 291044 h 2120498"/>
                <a:gd name="connsiteX8" fmla="*/ 1512298 w 2150240"/>
                <a:gd name="connsiteY8" fmla="*/ 306919 h 2120498"/>
                <a:gd name="connsiteX9" fmla="*/ 1524998 w 2150240"/>
                <a:gd name="connsiteY9" fmla="*/ 319619 h 2120498"/>
                <a:gd name="connsiteX10" fmla="*/ 1531348 w 2150240"/>
                <a:gd name="connsiteY10" fmla="*/ 329144 h 2120498"/>
                <a:gd name="connsiteX11" fmla="*/ 1550398 w 2150240"/>
                <a:gd name="connsiteY11" fmla="*/ 348194 h 2120498"/>
                <a:gd name="connsiteX12" fmla="*/ 1559923 w 2150240"/>
                <a:gd name="connsiteY12" fmla="*/ 357719 h 2120498"/>
                <a:gd name="connsiteX13" fmla="*/ 1569448 w 2150240"/>
                <a:gd name="connsiteY13" fmla="*/ 370419 h 2120498"/>
                <a:gd name="connsiteX14" fmla="*/ 1594848 w 2150240"/>
                <a:gd name="connsiteY14" fmla="*/ 389469 h 2120498"/>
                <a:gd name="connsiteX15" fmla="*/ 1632948 w 2150240"/>
                <a:gd name="connsiteY15" fmla="*/ 421219 h 2120498"/>
                <a:gd name="connsiteX16" fmla="*/ 1648823 w 2150240"/>
                <a:gd name="connsiteY16" fmla="*/ 440269 h 2120498"/>
                <a:gd name="connsiteX17" fmla="*/ 1661523 w 2150240"/>
                <a:gd name="connsiteY17" fmla="*/ 449794 h 2120498"/>
                <a:gd name="connsiteX18" fmla="*/ 1683748 w 2150240"/>
                <a:gd name="connsiteY18" fmla="*/ 472019 h 2120498"/>
                <a:gd name="connsiteX19" fmla="*/ 1702798 w 2150240"/>
                <a:gd name="connsiteY19" fmla="*/ 491069 h 2120498"/>
                <a:gd name="connsiteX20" fmla="*/ 1712323 w 2150240"/>
                <a:gd name="connsiteY20" fmla="*/ 500594 h 2120498"/>
                <a:gd name="connsiteX21" fmla="*/ 1744073 w 2150240"/>
                <a:gd name="connsiteY21" fmla="*/ 525994 h 2120498"/>
                <a:gd name="connsiteX22" fmla="*/ 1753598 w 2150240"/>
                <a:gd name="connsiteY22" fmla="*/ 535519 h 2120498"/>
                <a:gd name="connsiteX23" fmla="*/ 1766298 w 2150240"/>
                <a:gd name="connsiteY23" fmla="*/ 545044 h 2120498"/>
                <a:gd name="connsiteX24" fmla="*/ 1782173 w 2150240"/>
                <a:gd name="connsiteY24" fmla="*/ 560919 h 2120498"/>
                <a:gd name="connsiteX25" fmla="*/ 1813923 w 2150240"/>
                <a:gd name="connsiteY25" fmla="*/ 586319 h 2120498"/>
                <a:gd name="connsiteX26" fmla="*/ 1817098 w 2150240"/>
                <a:gd name="connsiteY26" fmla="*/ 595844 h 2120498"/>
                <a:gd name="connsiteX27" fmla="*/ 1842498 w 2150240"/>
                <a:gd name="connsiteY27" fmla="*/ 618069 h 2120498"/>
                <a:gd name="connsiteX28" fmla="*/ 1893298 w 2150240"/>
                <a:gd name="connsiteY28" fmla="*/ 675219 h 2120498"/>
                <a:gd name="connsiteX29" fmla="*/ 2090148 w 2150240"/>
                <a:gd name="connsiteY29" fmla="*/ 926044 h 2120498"/>
                <a:gd name="connsiteX30" fmla="*/ 2131423 w 2150240"/>
                <a:gd name="connsiteY30" fmla="*/ 1002244 h 2120498"/>
                <a:gd name="connsiteX31" fmla="*/ 2121898 w 2150240"/>
                <a:gd name="connsiteY31" fmla="*/ 1202269 h 2120498"/>
                <a:gd name="connsiteX32" fmla="*/ 1848848 w 2150240"/>
                <a:gd name="connsiteY32" fmla="*/ 1516594 h 2120498"/>
                <a:gd name="connsiteX33" fmla="*/ 1810748 w 2150240"/>
                <a:gd name="connsiteY33" fmla="*/ 1548344 h 2120498"/>
                <a:gd name="connsiteX34" fmla="*/ 1718673 w 2150240"/>
                <a:gd name="connsiteY34" fmla="*/ 1637244 h 2120498"/>
                <a:gd name="connsiteX35" fmla="*/ 1709148 w 2150240"/>
                <a:gd name="connsiteY35" fmla="*/ 1649944 h 2120498"/>
                <a:gd name="connsiteX36" fmla="*/ 1680573 w 2150240"/>
                <a:gd name="connsiteY36" fmla="*/ 1681694 h 2120498"/>
                <a:gd name="connsiteX37" fmla="*/ 1658348 w 2150240"/>
                <a:gd name="connsiteY37" fmla="*/ 1710269 h 2120498"/>
                <a:gd name="connsiteX38" fmla="*/ 1623423 w 2150240"/>
                <a:gd name="connsiteY38" fmla="*/ 1745194 h 2120498"/>
                <a:gd name="connsiteX39" fmla="*/ 1569448 w 2150240"/>
                <a:gd name="connsiteY39" fmla="*/ 1805519 h 2120498"/>
                <a:gd name="connsiteX40" fmla="*/ 1559923 w 2150240"/>
                <a:gd name="connsiteY40" fmla="*/ 1818219 h 2120498"/>
                <a:gd name="connsiteX41" fmla="*/ 1547223 w 2150240"/>
                <a:gd name="connsiteY41" fmla="*/ 1827744 h 2120498"/>
                <a:gd name="connsiteX42" fmla="*/ 1524998 w 2150240"/>
                <a:gd name="connsiteY42" fmla="*/ 1846794 h 2120498"/>
                <a:gd name="connsiteX43" fmla="*/ 1464673 w 2150240"/>
                <a:gd name="connsiteY43" fmla="*/ 1910294 h 2120498"/>
                <a:gd name="connsiteX44" fmla="*/ 1455148 w 2150240"/>
                <a:gd name="connsiteY44" fmla="*/ 1922994 h 2120498"/>
                <a:gd name="connsiteX45" fmla="*/ 1445623 w 2150240"/>
                <a:gd name="connsiteY45" fmla="*/ 1932519 h 2120498"/>
                <a:gd name="connsiteX46" fmla="*/ 1423398 w 2150240"/>
                <a:gd name="connsiteY46" fmla="*/ 1957919 h 2120498"/>
                <a:gd name="connsiteX47" fmla="*/ 1391648 w 2150240"/>
                <a:gd name="connsiteY47" fmla="*/ 1986494 h 2120498"/>
                <a:gd name="connsiteX48" fmla="*/ 1356723 w 2150240"/>
                <a:gd name="connsiteY48" fmla="*/ 2002369 h 2120498"/>
                <a:gd name="connsiteX49" fmla="*/ 1331323 w 2150240"/>
                <a:gd name="connsiteY49" fmla="*/ 2018244 h 2120498"/>
                <a:gd name="connsiteX50" fmla="*/ 1226548 w 2150240"/>
                <a:gd name="connsiteY50" fmla="*/ 2075394 h 2120498"/>
                <a:gd name="connsiteX51" fmla="*/ 1102723 w 2150240"/>
                <a:gd name="connsiteY51" fmla="*/ 2119844 h 2120498"/>
                <a:gd name="connsiteX52" fmla="*/ 928098 w 2150240"/>
                <a:gd name="connsiteY52" fmla="*/ 2100794 h 2120498"/>
                <a:gd name="connsiteX53" fmla="*/ 886823 w 2150240"/>
                <a:gd name="connsiteY53" fmla="*/ 2084919 h 2120498"/>
                <a:gd name="connsiteX54" fmla="*/ 845548 w 2150240"/>
                <a:gd name="connsiteY54" fmla="*/ 2065869 h 2120498"/>
                <a:gd name="connsiteX55" fmla="*/ 731248 w 2150240"/>
                <a:gd name="connsiteY55" fmla="*/ 1964269 h 2120498"/>
                <a:gd name="connsiteX56" fmla="*/ 715373 w 2150240"/>
                <a:gd name="connsiteY56" fmla="*/ 1948394 h 2120498"/>
                <a:gd name="connsiteX57" fmla="*/ 699498 w 2150240"/>
                <a:gd name="connsiteY57" fmla="*/ 1935694 h 2120498"/>
                <a:gd name="connsiteX58" fmla="*/ 680448 w 2150240"/>
                <a:gd name="connsiteY58" fmla="*/ 1916644 h 2120498"/>
                <a:gd name="connsiteX59" fmla="*/ 601073 w 2150240"/>
                <a:gd name="connsiteY59" fmla="*/ 1837269 h 2120498"/>
                <a:gd name="connsiteX60" fmla="*/ 578848 w 2150240"/>
                <a:gd name="connsiteY60" fmla="*/ 1811869 h 2120498"/>
                <a:gd name="connsiteX61" fmla="*/ 537573 w 2150240"/>
                <a:gd name="connsiteY61" fmla="*/ 1770594 h 2120498"/>
                <a:gd name="connsiteX62" fmla="*/ 499473 w 2150240"/>
                <a:gd name="connsiteY62" fmla="*/ 1735669 h 2120498"/>
                <a:gd name="connsiteX63" fmla="*/ 470898 w 2150240"/>
                <a:gd name="connsiteY63" fmla="*/ 1700744 h 2120498"/>
                <a:gd name="connsiteX64" fmla="*/ 413748 w 2150240"/>
                <a:gd name="connsiteY64" fmla="*/ 1653119 h 2120498"/>
                <a:gd name="connsiteX65" fmla="*/ 118473 w 2150240"/>
                <a:gd name="connsiteY65" fmla="*/ 1370544 h 2120498"/>
                <a:gd name="connsiteX66" fmla="*/ 83548 w 2150240"/>
                <a:gd name="connsiteY66" fmla="*/ 1322919 h 2120498"/>
                <a:gd name="connsiteX67" fmla="*/ 64498 w 2150240"/>
                <a:gd name="connsiteY67" fmla="*/ 1297519 h 2120498"/>
                <a:gd name="connsiteX68" fmla="*/ 35923 w 2150240"/>
                <a:gd name="connsiteY68" fmla="*/ 1237194 h 2120498"/>
                <a:gd name="connsiteX69" fmla="*/ 26398 w 2150240"/>
                <a:gd name="connsiteY69" fmla="*/ 1202269 h 2120498"/>
                <a:gd name="connsiteX70" fmla="*/ 20048 w 2150240"/>
                <a:gd name="connsiteY70" fmla="*/ 1180044 h 2120498"/>
                <a:gd name="connsiteX71" fmla="*/ 16873 w 2150240"/>
                <a:gd name="connsiteY71" fmla="*/ 1164169 h 2120498"/>
                <a:gd name="connsiteX72" fmla="*/ 7348 w 2150240"/>
                <a:gd name="connsiteY72" fmla="*/ 1126069 h 2120498"/>
                <a:gd name="connsiteX73" fmla="*/ 998 w 2150240"/>
                <a:gd name="connsiteY73" fmla="*/ 1043519 h 2120498"/>
                <a:gd name="connsiteX74" fmla="*/ 10523 w 2150240"/>
                <a:gd name="connsiteY74" fmla="*/ 913344 h 2120498"/>
                <a:gd name="connsiteX75" fmla="*/ 35923 w 2150240"/>
                <a:gd name="connsiteY75" fmla="*/ 865719 h 2120498"/>
                <a:gd name="connsiteX76" fmla="*/ 51798 w 2150240"/>
                <a:gd name="connsiteY76" fmla="*/ 837144 h 2120498"/>
                <a:gd name="connsiteX77" fmla="*/ 83548 w 2150240"/>
                <a:gd name="connsiteY77" fmla="*/ 792694 h 2120498"/>
                <a:gd name="connsiteX78" fmla="*/ 99423 w 2150240"/>
                <a:gd name="connsiteY78" fmla="*/ 773644 h 2120498"/>
                <a:gd name="connsiteX79" fmla="*/ 308973 w 2150240"/>
                <a:gd name="connsiteY79" fmla="*/ 554569 h 2120498"/>
                <a:gd name="connsiteX80" fmla="*/ 366123 w 2150240"/>
                <a:gd name="connsiteY80" fmla="*/ 494244 h 2120498"/>
                <a:gd name="connsiteX81" fmla="*/ 445498 w 2150240"/>
                <a:gd name="connsiteY81" fmla="*/ 408519 h 2120498"/>
                <a:gd name="connsiteX82" fmla="*/ 493123 w 2150240"/>
                <a:gd name="connsiteY82" fmla="*/ 364069 h 2120498"/>
                <a:gd name="connsiteX83" fmla="*/ 712198 w 2150240"/>
                <a:gd name="connsiteY83" fmla="*/ 167219 h 2120498"/>
                <a:gd name="connsiteX84" fmla="*/ 750298 w 2150240"/>
                <a:gd name="connsiteY84" fmla="*/ 141819 h 2120498"/>
                <a:gd name="connsiteX85" fmla="*/ 785223 w 2150240"/>
                <a:gd name="connsiteY85" fmla="*/ 119594 h 2120498"/>
                <a:gd name="connsiteX86" fmla="*/ 883648 w 2150240"/>
                <a:gd name="connsiteY86" fmla="*/ 68794 h 2120498"/>
                <a:gd name="connsiteX87" fmla="*/ 1077323 w 2150240"/>
                <a:gd name="connsiteY87" fmla="*/ 8469 h 2120498"/>
                <a:gd name="connsiteX0" fmla="*/ 1096373 w 2150240"/>
                <a:gd name="connsiteY0" fmla="*/ 7845 h 2129399"/>
                <a:gd name="connsiteX1" fmla="*/ 1239248 w 2150240"/>
                <a:gd name="connsiteY1" fmla="*/ 77695 h 2129399"/>
                <a:gd name="connsiteX2" fmla="*/ 1290048 w 2150240"/>
                <a:gd name="connsiteY2" fmla="*/ 112620 h 2129399"/>
                <a:gd name="connsiteX3" fmla="*/ 1309098 w 2150240"/>
                <a:gd name="connsiteY3" fmla="*/ 118970 h 2129399"/>
                <a:gd name="connsiteX4" fmla="*/ 1324973 w 2150240"/>
                <a:gd name="connsiteY4" fmla="*/ 131670 h 2129399"/>
                <a:gd name="connsiteX5" fmla="*/ 1334498 w 2150240"/>
                <a:gd name="connsiteY5" fmla="*/ 134845 h 2129399"/>
                <a:gd name="connsiteX6" fmla="*/ 1455148 w 2150240"/>
                <a:gd name="connsiteY6" fmla="*/ 258670 h 2129399"/>
                <a:gd name="connsiteX7" fmla="*/ 1499598 w 2150240"/>
                <a:gd name="connsiteY7" fmla="*/ 299945 h 2129399"/>
                <a:gd name="connsiteX8" fmla="*/ 1512298 w 2150240"/>
                <a:gd name="connsiteY8" fmla="*/ 315820 h 2129399"/>
                <a:gd name="connsiteX9" fmla="*/ 1524998 w 2150240"/>
                <a:gd name="connsiteY9" fmla="*/ 328520 h 2129399"/>
                <a:gd name="connsiteX10" fmla="*/ 1531348 w 2150240"/>
                <a:gd name="connsiteY10" fmla="*/ 338045 h 2129399"/>
                <a:gd name="connsiteX11" fmla="*/ 1550398 w 2150240"/>
                <a:gd name="connsiteY11" fmla="*/ 357095 h 2129399"/>
                <a:gd name="connsiteX12" fmla="*/ 1559923 w 2150240"/>
                <a:gd name="connsiteY12" fmla="*/ 366620 h 2129399"/>
                <a:gd name="connsiteX13" fmla="*/ 1569448 w 2150240"/>
                <a:gd name="connsiteY13" fmla="*/ 379320 h 2129399"/>
                <a:gd name="connsiteX14" fmla="*/ 1594848 w 2150240"/>
                <a:gd name="connsiteY14" fmla="*/ 398370 h 2129399"/>
                <a:gd name="connsiteX15" fmla="*/ 1632948 w 2150240"/>
                <a:gd name="connsiteY15" fmla="*/ 430120 h 2129399"/>
                <a:gd name="connsiteX16" fmla="*/ 1648823 w 2150240"/>
                <a:gd name="connsiteY16" fmla="*/ 449170 h 2129399"/>
                <a:gd name="connsiteX17" fmla="*/ 1661523 w 2150240"/>
                <a:gd name="connsiteY17" fmla="*/ 458695 h 2129399"/>
                <a:gd name="connsiteX18" fmla="*/ 1683748 w 2150240"/>
                <a:gd name="connsiteY18" fmla="*/ 480920 h 2129399"/>
                <a:gd name="connsiteX19" fmla="*/ 1702798 w 2150240"/>
                <a:gd name="connsiteY19" fmla="*/ 499970 h 2129399"/>
                <a:gd name="connsiteX20" fmla="*/ 1712323 w 2150240"/>
                <a:gd name="connsiteY20" fmla="*/ 509495 h 2129399"/>
                <a:gd name="connsiteX21" fmla="*/ 1744073 w 2150240"/>
                <a:gd name="connsiteY21" fmla="*/ 534895 h 2129399"/>
                <a:gd name="connsiteX22" fmla="*/ 1753598 w 2150240"/>
                <a:gd name="connsiteY22" fmla="*/ 544420 h 2129399"/>
                <a:gd name="connsiteX23" fmla="*/ 1766298 w 2150240"/>
                <a:gd name="connsiteY23" fmla="*/ 553945 h 2129399"/>
                <a:gd name="connsiteX24" fmla="*/ 1782173 w 2150240"/>
                <a:gd name="connsiteY24" fmla="*/ 569820 h 2129399"/>
                <a:gd name="connsiteX25" fmla="*/ 1813923 w 2150240"/>
                <a:gd name="connsiteY25" fmla="*/ 595220 h 2129399"/>
                <a:gd name="connsiteX26" fmla="*/ 1817098 w 2150240"/>
                <a:gd name="connsiteY26" fmla="*/ 604745 h 2129399"/>
                <a:gd name="connsiteX27" fmla="*/ 1842498 w 2150240"/>
                <a:gd name="connsiteY27" fmla="*/ 626970 h 2129399"/>
                <a:gd name="connsiteX28" fmla="*/ 1893298 w 2150240"/>
                <a:gd name="connsiteY28" fmla="*/ 684120 h 2129399"/>
                <a:gd name="connsiteX29" fmla="*/ 2090148 w 2150240"/>
                <a:gd name="connsiteY29" fmla="*/ 934945 h 2129399"/>
                <a:gd name="connsiteX30" fmla="*/ 2131423 w 2150240"/>
                <a:gd name="connsiteY30" fmla="*/ 1011145 h 2129399"/>
                <a:gd name="connsiteX31" fmla="*/ 2121898 w 2150240"/>
                <a:gd name="connsiteY31" fmla="*/ 1211170 h 2129399"/>
                <a:gd name="connsiteX32" fmla="*/ 1848848 w 2150240"/>
                <a:gd name="connsiteY32" fmla="*/ 1525495 h 2129399"/>
                <a:gd name="connsiteX33" fmla="*/ 1810748 w 2150240"/>
                <a:gd name="connsiteY33" fmla="*/ 1557245 h 2129399"/>
                <a:gd name="connsiteX34" fmla="*/ 1718673 w 2150240"/>
                <a:gd name="connsiteY34" fmla="*/ 1646145 h 2129399"/>
                <a:gd name="connsiteX35" fmla="*/ 1709148 w 2150240"/>
                <a:gd name="connsiteY35" fmla="*/ 1658845 h 2129399"/>
                <a:gd name="connsiteX36" fmla="*/ 1680573 w 2150240"/>
                <a:gd name="connsiteY36" fmla="*/ 1690595 h 2129399"/>
                <a:gd name="connsiteX37" fmla="*/ 1658348 w 2150240"/>
                <a:gd name="connsiteY37" fmla="*/ 1719170 h 2129399"/>
                <a:gd name="connsiteX38" fmla="*/ 1623423 w 2150240"/>
                <a:gd name="connsiteY38" fmla="*/ 1754095 h 2129399"/>
                <a:gd name="connsiteX39" fmla="*/ 1569448 w 2150240"/>
                <a:gd name="connsiteY39" fmla="*/ 1814420 h 2129399"/>
                <a:gd name="connsiteX40" fmla="*/ 1559923 w 2150240"/>
                <a:gd name="connsiteY40" fmla="*/ 1827120 h 2129399"/>
                <a:gd name="connsiteX41" fmla="*/ 1547223 w 2150240"/>
                <a:gd name="connsiteY41" fmla="*/ 1836645 h 2129399"/>
                <a:gd name="connsiteX42" fmla="*/ 1524998 w 2150240"/>
                <a:gd name="connsiteY42" fmla="*/ 1855695 h 2129399"/>
                <a:gd name="connsiteX43" fmla="*/ 1464673 w 2150240"/>
                <a:gd name="connsiteY43" fmla="*/ 1919195 h 2129399"/>
                <a:gd name="connsiteX44" fmla="*/ 1455148 w 2150240"/>
                <a:gd name="connsiteY44" fmla="*/ 1931895 h 2129399"/>
                <a:gd name="connsiteX45" fmla="*/ 1445623 w 2150240"/>
                <a:gd name="connsiteY45" fmla="*/ 1941420 h 2129399"/>
                <a:gd name="connsiteX46" fmla="*/ 1423398 w 2150240"/>
                <a:gd name="connsiteY46" fmla="*/ 1966820 h 2129399"/>
                <a:gd name="connsiteX47" fmla="*/ 1391648 w 2150240"/>
                <a:gd name="connsiteY47" fmla="*/ 1995395 h 2129399"/>
                <a:gd name="connsiteX48" fmla="*/ 1356723 w 2150240"/>
                <a:gd name="connsiteY48" fmla="*/ 2011270 h 2129399"/>
                <a:gd name="connsiteX49" fmla="*/ 1331323 w 2150240"/>
                <a:gd name="connsiteY49" fmla="*/ 2027145 h 2129399"/>
                <a:gd name="connsiteX50" fmla="*/ 1226548 w 2150240"/>
                <a:gd name="connsiteY50" fmla="*/ 2084295 h 2129399"/>
                <a:gd name="connsiteX51" fmla="*/ 1102723 w 2150240"/>
                <a:gd name="connsiteY51" fmla="*/ 2128745 h 2129399"/>
                <a:gd name="connsiteX52" fmla="*/ 928098 w 2150240"/>
                <a:gd name="connsiteY52" fmla="*/ 2109695 h 2129399"/>
                <a:gd name="connsiteX53" fmla="*/ 886823 w 2150240"/>
                <a:gd name="connsiteY53" fmla="*/ 2093820 h 2129399"/>
                <a:gd name="connsiteX54" fmla="*/ 845548 w 2150240"/>
                <a:gd name="connsiteY54" fmla="*/ 2074770 h 2129399"/>
                <a:gd name="connsiteX55" fmla="*/ 731248 w 2150240"/>
                <a:gd name="connsiteY55" fmla="*/ 1973170 h 2129399"/>
                <a:gd name="connsiteX56" fmla="*/ 715373 w 2150240"/>
                <a:gd name="connsiteY56" fmla="*/ 1957295 h 2129399"/>
                <a:gd name="connsiteX57" fmla="*/ 699498 w 2150240"/>
                <a:gd name="connsiteY57" fmla="*/ 1944595 h 2129399"/>
                <a:gd name="connsiteX58" fmla="*/ 680448 w 2150240"/>
                <a:gd name="connsiteY58" fmla="*/ 1925545 h 2129399"/>
                <a:gd name="connsiteX59" fmla="*/ 601073 w 2150240"/>
                <a:gd name="connsiteY59" fmla="*/ 1846170 h 2129399"/>
                <a:gd name="connsiteX60" fmla="*/ 578848 w 2150240"/>
                <a:gd name="connsiteY60" fmla="*/ 1820770 h 2129399"/>
                <a:gd name="connsiteX61" fmla="*/ 537573 w 2150240"/>
                <a:gd name="connsiteY61" fmla="*/ 1779495 h 2129399"/>
                <a:gd name="connsiteX62" fmla="*/ 499473 w 2150240"/>
                <a:gd name="connsiteY62" fmla="*/ 1744570 h 2129399"/>
                <a:gd name="connsiteX63" fmla="*/ 470898 w 2150240"/>
                <a:gd name="connsiteY63" fmla="*/ 1709645 h 2129399"/>
                <a:gd name="connsiteX64" fmla="*/ 413748 w 2150240"/>
                <a:gd name="connsiteY64" fmla="*/ 1662020 h 2129399"/>
                <a:gd name="connsiteX65" fmla="*/ 118473 w 2150240"/>
                <a:gd name="connsiteY65" fmla="*/ 1379445 h 2129399"/>
                <a:gd name="connsiteX66" fmla="*/ 83548 w 2150240"/>
                <a:gd name="connsiteY66" fmla="*/ 1331820 h 2129399"/>
                <a:gd name="connsiteX67" fmla="*/ 64498 w 2150240"/>
                <a:gd name="connsiteY67" fmla="*/ 1306420 h 2129399"/>
                <a:gd name="connsiteX68" fmla="*/ 35923 w 2150240"/>
                <a:gd name="connsiteY68" fmla="*/ 1246095 h 2129399"/>
                <a:gd name="connsiteX69" fmla="*/ 26398 w 2150240"/>
                <a:gd name="connsiteY69" fmla="*/ 1211170 h 2129399"/>
                <a:gd name="connsiteX70" fmla="*/ 20048 w 2150240"/>
                <a:gd name="connsiteY70" fmla="*/ 1188945 h 2129399"/>
                <a:gd name="connsiteX71" fmla="*/ 16873 w 2150240"/>
                <a:gd name="connsiteY71" fmla="*/ 1173070 h 2129399"/>
                <a:gd name="connsiteX72" fmla="*/ 7348 w 2150240"/>
                <a:gd name="connsiteY72" fmla="*/ 1134970 h 2129399"/>
                <a:gd name="connsiteX73" fmla="*/ 998 w 2150240"/>
                <a:gd name="connsiteY73" fmla="*/ 1052420 h 2129399"/>
                <a:gd name="connsiteX74" fmla="*/ 10523 w 2150240"/>
                <a:gd name="connsiteY74" fmla="*/ 922245 h 2129399"/>
                <a:gd name="connsiteX75" fmla="*/ 35923 w 2150240"/>
                <a:gd name="connsiteY75" fmla="*/ 874620 h 2129399"/>
                <a:gd name="connsiteX76" fmla="*/ 51798 w 2150240"/>
                <a:gd name="connsiteY76" fmla="*/ 846045 h 2129399"/>
                <a:gd name="connsiteX77" fmla="*/ 83548 w 2150240"/>
                <a:gd name="connsiteY77" fmla="*/ 801595 h 2129399"/>
                <a:gd name="connsiteX78" fmla="*/ 99423 w 2150240"/>
                <a:gd name="connsiteY78" fmla="*/ 782545 h 2129399"/>
                <a:gd name="connsiteX79" fmla="*/ 308973 w 2150240"/>
                <a:gd name="connsiteY79" fmla="*/ 563470 h 2129399"/>
                <a:gd name="connsiteX80" fmla="*/ 366123 w 2150240"/>
                <a:gd name="connsiteY80" fmla="*/ 503145 h 2129399"/>
                <a:gd name="connsiteX81" fmla="*/ 445498 w 2150240"/>
                <a:gd name="connsiteY81" fmla="*/ 417420 h 2129399"/>
                <a:gd name="connsiteX82" fmla="*/ 493123 w 2150240"/>
                <a:gd name="connsiteY82" fmla="*/ 372970 h 2129399"/>
                <a:gd name="connsiteX83" fmla="*/ 712198 w 2150240"/>
                <a:gd name="connsiteY83" fmla="*/ 176120 h 2129399"/>
                <a:gd name="connsiteX84" fmla="*/ 750298 w 2150240"/>
                <a:gd name="connsiteY84" fmla="*/ 150720 h 2129399"/>
                <a:gd name="connsiteX85" fmla="*/ 785223 w 2150240"/>
                <a:gd name="connsiteY85" fmla="*/ 128495 h 2129399"/>
                <a:gd name="connsiteX86" fmla="*/ 883648 w 2150240"/>
                <a:gd name="connsiteY86" fmla="*/ 77695 h 2129399"/>
                <a:gd name="connsiteX87" fmla="*/ 1096373 w 2150240"/>
                <a:gd name="connsiteY87" fmla="*/ 7845 h 2129399"/>
                <a:gd name="connsiteX0" fmla="*/ 1096373 w 2150240"/>
                <a:gd name="connsiteY0" fmla="*/ 804 h 2122358"/>
                <a:gd name="connsiteX1" fmla="*/ 1239248 w 2150240"/>
                <a:gd name="connsiteY1" fmla="*/ 70654 h 2122358"/>
                <a:gd name="connsiteX2" fmla="*/ 1290048 w 2150240"/>
                <a:gd name="connsiteY2" fmla="*/ 105579 h 2122358"/>
                <a:gd name="connsiteX3" fmla="*/ 1309098 w 2150240"/>
                <a:gd name="connsiteY3" fmla="*/ 111929 h 2122358"/>
                <a:gd name="connsiteX4" fmla="*/ 1324973 w 2150240"/>
                <a:gd name="connsiteY4" fmla="*/ 124629 h 2122358"/>
                <a:gd name="connsiteX5" fmla="*/ 1334498 w 2150240"/>
                <a:gd name="connsiteY5" fmla="*/ 127804 h 2122358"/>
                <a:gd name="connsiteX6" fmla="*/ 1455148 w 2150240"/>
                <a:gd name="connsiteY6" fmla="*/ 251629 h 2122358"/>
                <a:gd name="connsiteX7" fmla="*/ 1499598 w 2150240"/>
                <a:gd name="connsiteY7" fmla="*/ 292904 h 2122358"/>
                <a:gd name="connsiteX8" fmla="*/ 1512298 w 2150240"/>
                <a:gd name="connsiteY8" fmla="*/ 308779 h 2122358"/>
                <a:gd name="connsiteX9" fmla="*/ 1524998 w 2150240"/>
                <a:gd name="connsiteY9" fmla="*/ 321479 h 2122358"/>
                <a:gd name="connsiteX10" fmla="*/ 1531348 w 2150240"/>
                <a:gd name="connsiteY10" fmla="*/ 331004 h 2122358"/>
                <a:gd name="connsiteX11" fmla="*/ 1550398 w 2150240"/>
                <a:gd name="connsiteY11" fmla="*/ 350054 h 2122358"/>
                <a:gd name="connsiteX12" fmla="*/ 1559923 w 2150240"/>
                <a:gd name="connsiteY12" fmla="*/ 359579 h 2122358"/>
                <a:gd name="connsiteX13" fmla="*/ 1569448 w 2150240"/>
                <a:gd name="connsiteY13" fmla="*/ 372279 h 2122358"/>
                <a:gd name="connsiteX14" fmla="*/ 1594848 w 2150240"/>
                <a:gd name="connsiteY14" fmla="*/ 391329 h 2122358"/>
                <a:gd name="connsiteX15" fmla="*/ 1632948 w 2150240"/>
                <a:gd name="connsiteY15" fmla="*/ 423079 h 2122358"/>
                <a:gd name="connsiteX16" fmla="*/ 1648823 w 2150240"/>
                <a:gd name="connsiteY16" fmla="*/ 442129 h 2122358"/>
                <a:gd name="connsiteX17" fmla="*/ 1661523 w 2150240"/>
                <a:gd name="connsiteY17" fmla="*/ 451654 h 2122358"/>
                <a:gd name="connsiteX18" fmla="*/ 1683748 w 2150240"/>
                <a:gd name="connsiteY18" fmla="*/ 473879 h 2122358"/>
                <a:gd name="connsiteX19" fmla="*/ 1702798 w 2150240"/>
                <a:gd name="connsiteY19" fmla="*/ 492929 h 2122358"/>
                <a:gd name="connsiteX20" fmla="*/ 1712323 w 2150240"/>
                <a:gd name="connsiteY20" fmla="*/ 502454 h 2122358"/>
                <a:gd name="connsiteX21" fmla="*/ 1744073 w 2150240"/>
                <a:gd name="connsiteY21" fmla="*/ 527854 h 2122358"/>
                <a:gd name="connsiteX22" fmla="*/ 1753598 w 2150240"/>
                <a:gd name="connsiteY22" fmla="*/ 537379 h 2122358"/>
                <a:gd name="connsiteX23" fmla="*/ 1766298 w 2150240"/>
                <a:gd name="connsiteY23" fmla="*/ 546904 h 2122358"/>
                <a:gd name="connsiteX24" fmla="*/ 1782173 w 2150240"/>
                <a:gd name="connsiteY24" fmla="*/ 562779 h 2122358"/>
                <a:gd name="connsiteX25" fmla="*/ 1813923 w 2150240"/>
                <a:gd name="connsiteY25" fmla="*/ 588179 h 2122358"/>
                <a:gd name="connsiteX26" fmla="*/ 1817098 w 2150240"/>
                <a:gd name="connsiteY26" fmla="*/ 597704 h 2122358"/>
                <a:gd name="connsiteX27" fmla="*/ 1842498 w 2150240"/>
                <a:gd name="connsiteY27" fmla="*/ 619929 h 2122358"/>
                <a:gd name="connsiteX28" fmla="*/ 1893298 w 2150240"/>
                <a:gd name="connsiteY28" fmla="*/ 677079 h 2122358"/>
                <a:gd name="connsiteX29" fmla="*/ 2090148 w 2150240"/>
                <a:gd name="connsiteY29" fmla="*/ 927904 h 2122358"/>
                <a:gd name="connsiteX30" fmla="*/ 2131423 w 2150240"/>
                <a:gd name="connsiteY30" fmla="*/ 1004104 h 2122358"/>
                <a:gd name="connsiteX31" fmla="*/ 2121898 w 2150240"/>
                <a:gd name="connsiteY31" fmla="*/ 1204129 h 2122358"/>
                <a:gd name="connsiteX32" fmla="*/ 1848848 w 2150240"/>
                <a:gd name="connsiteY32" fmla="*/ 1518454 h 2122358"/>
                <a:gd name="connsiteX33" fmla="*/ 1810748 w 2150240"/>
                <a:gd name="connsiteY33" fmla="*/ 1550204 h 2122358"/>
                <a:gd name="connsiteX34" fmla="*/ 1718673 w 2150240"/>
                <a:gd name="connsiteY34" fmla="*/ 1639104 h 2122358"/>
                <a:gd name="connsiteX35" fmla="*/ 1709148 w 2150240"/>
                <a:gd name="connsiteY35" fmla="*/ 1651804 h 2122358"/>
                <a:gd name="connsiteX36" fmla="*/ 1680573 w 2150240"/>
                <a:gd name="connsiteY36" fmla="*/ 1683554 h 2122358"/>
                <a:gd name="connsiteX37" fmla="*/ 1658348 w 2150240"/>
                <a:gd name="connsiteY37" fmla="*/ 1712129 h 2122358"/>
                <a:gd name="connsiteX38" fmla="*/ 1623423 w 2150240"/>
                <a:gd name="connsiteY38" fmla="*/ 1747054 h 2122358"/>
                <a:gd name="connsiteX39" fmla="*/ 1569448 w 2150240"/>
                <a:gd name="connsiteY39" fmla="*/ 1807379 h 2122358"/>
                <a:gd name="connsiteX40" fmla="*/ 1559923 w 2150240"/>
                <a:gd name="connsiteY40" fmla="*/ 1820079 h 2122358"/>
                <a:gd name="connsiteX41" fmla="*/ 1547223 w 2150240"/>
                <a:gd name="connsiteY41" fmla="*/ 1829604 h 2122358"/>
                <a:gd name="connsiteX42" fmla="*/ 1524998 w 2150240"/>
                <a:gd name="connsiteY42" fmla="*/ 1848654 h 2122358"/>
                <a:gd name="connsiteX43" fmla="*/ 1464673 w 2150240"/>
                <a:gd name="connsiteY43" fmla="*/ 1912154 h 2122358"/>
                <a:gd name="connsiteX44" fmla="*/ 1455148 w 2150240"/>
                <a:gd name="connsiteY44" fmla="*/ 1924854 h 2122358"/>
                <a:gd name="connsiteX45" fmla="*/ 1445623 w 2150240"/>
                <a:gd name="connsiteY45" fmla="*/ 1934379 h 2122358"/>
                <a:gd name="connsiteX46" fmla="*/ 1423398 w 2150240"/>
                <a:gd name="connsiteY46" fmla="*/ 1959779 h 2122358"/>
                <a:gd name="connsiteX47" fmla="*/ 1391648 w 2150240"/>
                <a:gd name="connsiteY47" fmla="*/ 1988354 h 2122358"/>
                <a:gd name="connsiteX48" fmla="*/ 1356723 w 2150240"/>
                <a:gd name="connsiteY48" fmla="*/ 2004229 h 2122358"/>
                <a:gd name="connsiteX49" fmla="*/ 1331323 w 2150240"/>
                <a:gd name="connsiteY49" fmla="*/ 2020104 h 2122358"/>
                <a:gd name="connsiteX50" fmla="*/ 1226548 w 2150240"/>
                <a:gd name="connsiteY50" fmla="*/ 2077254 h 2122358"/>
                <a:gd name="connsiteX51" fmla="*/ 1102723 w 2150240"/>
                <a:gd name="connsiteY51" fmla="*/ 2121704 h 2122358"/>
                <a:gd name="connsiteX52" fmla="*/ 928098 w 2150240"/>
                <a:gd name="connsiteY52" fmla="*/ 2102654 h 2122358"/>
                <a:gd name="connsiteX53" fmla="*/ 886823 w 2150240"/>
                <a:gd name="connsiteY53" fmla="*/ 2086779 h 2122358"/>
                <a:gd name="connsiteX54" fmla="*/ 845548 w 2150240"/>
                <a:gd name="connsiteY54" fmla="*/ 2067729 h 2122358"/>
                <a:gd name="connsiteX55" fmla="*/ 731248 w 2150240"/>
                <a:gd name="connsiteY55" fmla="*/ 1966129 h 2122358"/>
                <a:gd name="connsiteX56" fmla="*/ 715373 w 2150240"/>
                <a:gd name="connsiteY56" fmla="*/ 1950254 h 2122358"/>
                <a:gd name="connsiteX57" fmla="*/ 699498 w 2150240"/>
                <a:gd name="connsiteY57" fmla="*/ 1937554 h 2122358"/>
                <a:gd name="connsiteX58" fmla="*/ 680448 w 2150240"/>
                <a:gd name="connsiteY58" fmla="*/ 1918504 h 2122358"/>
                <a:gd name="connsiteX59" fmla="*/ 601073 w 2150240"/>
                <a:gd name="connsiteY59" fmla="*/ 1839129 h 2122358"/>
                <a:gd name="connsiteX60" fmla="*/ 578848 w 2150240"/>
                <a:gd name="connsiteY60" fmla="*/ 1813729 h 2122358"/>
                <a:gd name="connsiteX61" fmla="*/ 537573 w 2150240"/>
                <a:gd name="connsiteY61" fmla="*/ 1772454 h 2122358"/>
                <a:gd name="connsiteX62" fmla="*/ 499473 w 2150240"/>
                <a:gd name="connsiteY62" fmla="*/ 1737529 h 2122358"/>
                <a:gd name="connsiteX63" fmla="*/ 470898 w 2150240"/>
                <a:gd name="connsiteY63" fmla="*/ 1702604 h 2122358"/>
                <a:gd name="connsiteX64" fmla="*/ 413748 w 2150240"/>
                <a:gd name="connsiteY64" fmla="*/ 1654979 h 2122358"/>
                <a:gd name="connsiteX65" fmla="*/ 118473 w 2150240"/>
                <a:gd name="connsiteY65" fmla="*/ 1372404 h 2122358"/>
                <a:gd name="connsiteX66" fmla="*/ 83548 w 2150240"/>
                <a:gd name="connsiteY66" fmla="*/ 1324779 h 2122358"/>
                <a:gd name="connsiteX67" fmla="*/ 64498 w 2150240"/>
                <a:gd name="connsiteY67" fmla="*/ 1299379 h 2122358"/>
                <a:gd name="connsiteX68" fmla="*/ 35923 w 2150240"/>
                <a:gd name="connsiteY68" fmla="*/ 1239054 h 2122358"/>
                <a:gd name="connsiteX69" fmla="*/ 26398 w 2150240"/>
                <a:gd name="connsiteY69" fmla="*/ 1204129 h 2122358"/>
                <a:gd name="connsiteX70" fmla="*/ 20048 w 2150240"/>
                <a:gd name="connsiteY70" fmla="*/ 1181904 h 2122358"/>
                <a:gd name="connsiteX71" fmla="*/ 16873 w 2150240"/>
                <a:gd name="connsiteY71" fmla="*/ 1166029 h 2122358"/>
                <a:gd name="connsiteX72" fmla="*/ 7348 w 2150240"/>
                <a:gd name="connsiteY72" fmla="*/ 1127929 h 2122358"/>
                <a:gd name="connsiteX73" fmla="*/ 998 w 2150240"/>
                <a:gd name="connsiteY73" fmla="*/ 1045379 h 2122358"/>
                <a:gd name="connsiteX74" fmla="*/ 10523 w 2150240"/>
                <a:gd name="connsiteY74" fmla="*/ 915204 h 2122358"/>
                <a:gd name="connsiteX75" fmla="*/ 35923 w 2150240"/>
                <a:gd name="connsiteY75" fmla="*/ 867579 h 2122358"/>
                <a:gd name="connsiteX76" fmla="*/ 51798 w 2150240"/>
                <a:gd name="connsiteY76" fmla="*/ 839004 h 2122358"/>
                <a:gd name="connsiteX77" fmla="*/ 83548 w 2150240"/>
                <a:gd name="connsiteY77" fmla="*/ 794554 h 2122358"/>
                <a:gd name="connsiteX78" fmla="*/ 99423 w 2150240"/>
                <a:gd name="connsiteY78" fmla="*/ 775504 h 2122358"/>
                <a:gd name="connsiteX79" fmla="*/ 308973 w 2150240"/>
                <a:gd name="connsiteY79" fmla="*/ 556429 h 2122358"/>
                <a:gd name="connsiteX80" fmla="*/ 366123 w 2150240"/>
                <a:gd name="connsiteY80" fmla="*/ 496104 h 2122358"/>
                <a:gd name="connsiteX81" fmla="*/ 445498 w 2150240"/>
                <a:gd name="connsiteY81" fmla="*/ 410379 h 2122358"/>
                <a:gd name="connsiteX82" fmla="*/ 493123 w 2150240"/>
                <a:gd name="connsiteY82" fmla="*/ 365929 h 2122358"/>
                <a:gd name="connsiteX83" fmla="*/ 712198 w 2150240"/>
                <a:gd name="connsiteY83" fmla="*/ 169079 h 2122358"/>
                <a:gd name="connsiteX84" fmla="*/ 750298 w 2150240"/>
                <a:gd name="connsiteY84" fmla="*/ 143679 h 2122358"/>
                <a:gd name="connsiteX85" fmla="*/ 785223 w 2150240"/>
                <a:gd name="connsiteY85" fmla="*/ 121454 h 2122358"/>
                <a:gd name="connsiteX86" fmla="*/ 1096373 w 2150240"/>
                <a:gd name="connsiteY86" fmla="*/ 804 h 2122358"/>
                <a:gd name="connsiteX0" fmla="*/ 1064623 w 2150240"/>
                <a:gd name="connsiteY0" fmla="*/ 610 h 2147564"/>
                <a:gd name="connsiteX1" fmla="*/ 1239248 w 2150240"/>
                <a:gd name="connsiteY1" fmla="*/ 95860 h 2147564"/>
                <a:gd name="connsiteX2" fmla="*/ 1290048 w 2150240"/>
                <a:gd name="connsiteY2" fmla="*/ 130785 h 2147564"/>
                <a:gd name="connsiteX3" fmla="*/ 1309098 w 2150240"/>
                <a:gd name="connsiteY3" fmla="*/ 137135 h 2147564"/>
                <a:gd name="connsiteX4" fmla="*/ 1324973 w 2150240"/>
                <a:gd name="connsiteY4" fmla="*/ 149835 h 2147564"/>
                <a:gd name="connsiteX5" fmla="*/ 1334498 w 2150240"/>
                <a:gd name="connsiteY5" fmla="*/ 153010 h 2147564"/>
                <a:gd name="connsiteX6" fmla="*/ 1455148 w 2150240"/>
                <a:gd name="connsiteY6" fmla="*/ 276835 h 2147564"/>
                <a:gd name="connsiteX7" fmla="*/ 1499598 w 2150240"/>
                <a:gd name="connsiteY7" fmla="*/ 318110 h 2147564"/>
                <a:gd name="connsiteX8" fmla="*/ 1512298 w 2150240"/>
                <a:gd name="connsiteY8" fmla="*/ 333985 h 2147564"/>
                <a:gd name="connsiteX9" fmla="*/ 1524998 w 2150240"/>
                <a:gd name="connsiteY9" fmla="*/ 346685 h 2147564"/>
                <a:gd name="connsiteX10" fmla="*/ 1531348 w 2150240"/>
                <a:gd name="connsiteY10" fmla="*/ 356210 h 2147564"/>
                <a:gd name="connsiteX11" fmla="*/ 1550398 w 2150240"/>
                <a:gd name="connsiteY11" fmla="*/ 375260 h 2147564"/>
                <a:gd name="connsiteX12" fmla="*/ 1559923 w 2150240"/>
                <a:gd name="connsiteY12" fmla="*/ 384785 h 2147564"/>
                <a:gd name="connsiteX13" fmla="*/ 1569448 w 2150240"/>
                <a:gd name="connsiteY13" fmla="*/ 397485 h 2147564"/>
                <a:gd name="connsiteX14" fmla="*/ 1594848 w 2150240"/>
                <a:gd name="connsiteY14" fmla="*/ 416535 h 2147564"/>
                <a:gd name="connsiteX15" fmla="*/ 1632948 w 2150240"/>
                <a:gd name="connsiteY15" fmla="*/ 448285 h 2147564"/>
                <a:gd name="connsiteX16" fmla="*/ 1648823 w 2150240"/>
                <a:gd name="connsiteY16" fmla="*/ 467335 h 2147564"/>
                <a:gd name="connsiteX17" fmla="*/ 1661523 w 2150240"/>
                <a:gd name="connsiteY17" fmla="*/ 476860 h 2147564"/>
                <a:gd name="connsiteX18" fmla="*/ 1683748 w 2150240"/>
                <a:gd name="connsiteY18" fmla="*/ 499085 h 2147564"/>
                <a:gd name="connsiteX19" fmla="*/ 1702798 w 2150240"/>
                <a:gd name="connsiteY19" fmla="*/ 518135 h 2147564"/>
                <a:gd name="connsiteX20" fmla="*/ 1712323 w 2150240"/>
                <a:gd name="connsiteY20" fmla="*/ 527660 h 2147564"/>
                <a:gd name="connsiteX21" fmla="*/ 1744073 w 2150240"/>
                <a:gd name="connsiteY21" fmla="*/ 553060 h 2147564"/>
                <a:gd name="connsiteX22" fmla="*/ 1753598 w 2150240"/>
                <a:gd name="connsiteY22" fmla="*/ 562585 h 2147564"/>
                <a:gd name="connsiteX23" fmla="*/ 1766298 w 2150240"/>
                <a:gd name="connsiteY23" fmla="*/ 572110 h 2147564"/>
                <a:gd name="connsiteX24" fmla="*/ 1782173 w 2150240"/>
                <a:gd name="connsiteY24" fmla="*/ 587985 h 2147564"/>
                <a:gd name="connsiteX25" fmla="*/ 1813923 w 2150240"/>
                <a:gd name="connsiteY25" fmla="*/ 613385 h 2147564"/>
                <a:gd name="connsiteX26" fmla="*/ 1817098 w 2150240"/>
                <a:gd name="connsiteY26" fmla="*/ 622910 h 2147564"/>
                <a:gd name="connsiteX27" fmla="*/ 1842498 w 2150240"/>
                <a:gd name="connsiteY27" fmla="*/ 645135 h 2147564"/>
                <a:gd name="connsiteX28" fmla="*/ 1893298 w 2150240"/>
                <a:gd name="connsiteY28" fmla="*/ 702285 h 2147564"/>
                <a:gd name="connsiteX29" fmla="*/ 2090148 w 2150240"/>
                <a:gd name="connsiteY29" fmla="*/ 953110 h 2147564"/>
                <a:gd name="connsiteX30" fmla="*/ 2131423 w 2150240"/>
                <a:gd name="connsiteY30" fmla="*/ 1029310 h 2147564"/>
                <a:gd name="connsiteX31" fmla="*/ 2121898 w 2150240"/>
                <a:gd name="connsiteY31" fmla="*/ 1229335 h 2147564"/>
                <a:gd name="connsiteX32" fmla="*/ 1848848 w 2150240"/>
                <a:gd name="connsiteY32" fmla="*/ 1543660 h 2147564"/>
                <a:gd name="connsiteX33" fmla="*/ 1810748 w 2150240"/>
                <a:gd name="connsiteY33" fmla="*/ 1575410 h 2147564"/>
                <a:gd name="connsiteX34" fmla="*/ 1718673 w 2150240"/>
                <a:gd name="connsiteY34" fmla="*/ 1664310 h 2147564"/>
                <a:gd name="connsiteX35" fmla="*/ 1709148 w 2150240"/>
                <a:gd name="connsiteY35" fmla="*/ 1677010 h 2147564"/>
                <a:gd name="connsiteX36" fmla="*/ 1680573 w 2150240"/>
                <a:gd name="connsiteY36" fmla="*/ 1708760 h 2147564"/>
                <a:gd name="connsiteX37" fmla="*/ 1658348 w 2150240"/>
                <a:gd name="connsiteY37" fmla="*/ 1737335 h 2147564"/>
                <a:gd name="connsiteX38" fmla="*/ 1623423 w 2150240"/>
                <a:gd name="connsiteY38" fmla="*/ 1772260 h 2147564"/>
                <a:gd name="connsiteX39" fmla="*/ 1569448 w 2150240"/>
                <a:gd name="connsiteY39" fmla="*/ 1832585 h 2147564"/>
                <a:gd name="connsiteX40" fmla="*/ 1559923 w 2150240"/>
                <a:gd name="connsiteY40" fmla="*/ 1845285 h 2147564"/>
                <a:gd name="connsiteX41" fmla="*/ 1547223 w 2150240"/>
                <a:gd name="connsiteY41" fmla="*/ 1854810 h 2147564"/>
                <a:gd name="connsiteX42" fmla="*/ 1524998 w 2150240"/>
                <a:gd name="connsiteY42" fmla="*/ 1873860 h 2147564"/>
                <a:gd name="connsiteX43" fmla="*/ 1464673 w 2150240"/>
                <a:gd name="connsiteY43" fmla="*/ 1937360 h 2147564"/>
                <a:gd name="connsiteX44" fmla="*/ 1455148 w 2150240"/>
                <a:gd name="connsiteY44" fmla="*/ 1950060 h 2147564"/>
                <a:gd name="connsiteX45" fmla="*/ 1445623 w 2150240"/>
                <a:gd name="connsiteY45" fmla="*/ 1959585 h 2147564"/>
                <a:gd name="connsiteX46" fmla="*/ 1423398 w 2150240"/>
                <a:gd name="connsiteY46" fmla="*/ 1984985 h 2147564"/>
                <a:gd name="connsiteX47" fmla="*/ 1391648 w 2150240"/>
                <a:gd name="connsiteY47" fmla="*/ 2013560 h 2147564"/>
                <a:gd name="connsiteX48" fmla="*/ 1356723 w 2150240"/>
                <a:gd name="connsiteY48" fmla="*/ 2029435 h 2147564"/>
                <a:gd name="connsiteX49" fmla="*/ 1331323 w 2150240"/>
                <a:gd name="connsiteY49" fmla="*/ 2045310 h 2147564"/>
                <a:gd name="connsiteX50" fmla="*/ 1226548 w 2150240"/>
                <a:gd name="connsiteY50" fmla="*/ 2102460 h 2147564"/>
                <a:gd name="connsiteX51" fmla="*/ 1102723 w 2150240"/>
                <a:gd name="connsiteY51" fmla="*/ 2146910 h 2147564"/>
                <a:gd name="connsiteX52" fmla="*/ 928098 w 2150240"/>
                <a:gd name="connsiteY52" fmla="*/ 2127860 h 2147564"/>
                <a:gd name="connsiteX53" fmla="*/ 886823 w 2150240"/>
                <a:gd name="connsiteY53" fmla="*/ 2111985 h 2147564"/>
                <a:gd name="connsiteX54" fmla="*/ 845548 w 2150240"/>
                <a:gd name="connsiteY54" fmla="*/ 2092935 h 2147564"/>
                <a:gd name="connsiteX55" fmla="*/ 731248 w 2150240"/>
                <a:gd name="connsiteY55" fmla="*/ 1991335 h 2147564"/>
                <a:gd name="connsiteX56" fmla="*/ 715373 w 2150240"/>
                <a:gd name="connsiteY56" fmla="*/ 1975460 h 2147564"/>
                <a:gd name="connsiteX57" fmla="*/ 699498 w 2150240"/>
                <a:gd name="connsiteY57" fmla="*/ 1962760 h 2147564"/>
                <a:gd name="connsiteX58" fmla="*/ 680448 w 2150240"/>
                <a:gd name="connsiteY58" fmla="*/ 1943710 h 2147564"/>
                <a:gd name="connsiteX59" fmla="*/ 601073 w 2150240"/>
                <a:gd name="connsiteY59" fmla="*/ 1864335 h 2147564"/>
                <a:gd name="connsiteX60" fmla="*/ 578848 w 2150240"/>
                <a:gd name="connsiteY60" fmla="*/ 1838935 h 2147564"/>
                <a:gd name="connsiteX61" fmla="*/ 537573 w 2150240"/>
                <a:gd name="connsiteY61" fmla="*/ 1797660 h 2147564"/>
                <a:gd name="connsiteX62" fmla="*/ 499473 w 2150240"/>
                <a:gd name="connsiteY62" fmla="*/ 1762735 h 2147564"/>
                <a:gd name="connsiteX63" fmla="*/ 470898 w 2150240"/>
                <a:gd name="connsiteY63" fmla="*/ 1727810 h 2147564"/>
                <a:gd name="connsiteX64" fmla="*/ 413748 w 2150240"/>
                <a:gd name="connsiteY64" fmla="*/ 1680185 h 2147564"/>
                <a:gd name="connsiteX65" fmla="*/ 118473 w 2150240"/>
                <a:gd name="connsiteY65" fmla="*/ 1397610 h 2147564"/>
                <a:gd name="connsiteX66" fmla="*/ 83548 w 2150240"/>
                <a:gd name="connsiteY66" fmla="*/ 1349985 h 2147564"/>
                <a:gd name="connsiteX67" fmla="*/ 64498 w 2150240"/>
                <a:gd name="connsiteY67" fmla="*/ 1324585 h 2147564"/>
                <a:gd name="connsiteX68" fmla="*/ 35923 w 2150240"/>
                <a:gd name="connsiteY68" fmla="*/ 1264260 h 2147564"/>
                <a:gd name="connsiteX69" fmla="*/ 26398 w 2150240"/>
                <a:gd name="connsiteY69" fmla="*/ 1229335 h 2147564"/>
                <a:gd name="connsiteX70" fmla="*/ 20048 w 2150240"/>
                <a:gd name="connsiteY70" fmla="*/ 1207110 h 2147564"/>
                <a:gd name="connsiteX71" fmla="*/ 16873 w 2150240"/>
                <a:gd name="connsiteY71" fmla="*/ 1191235 h 2147564"/>
                <a:gd name="connsiteX72" fmla="*/ 7348 w 2150240"/>
                <a:gd name="connsiteY72" fmla="*/ 1153135 h 2147564"/>
                <a:gd name="connsiteX73" fmla="*/ 998 w 2150240"/>
                <a:gd name="connsiteY73" fmla="*/ 1070585 h 2147564"/>
                <a:gd name="connsiteX74" fmla="*/ 10523 w 2150240"/>
                <a:gd name="connsiteY74" fmla="*/ 940410 h 2147564"/>
                <a:gd name="connsiteX75" fmla="*/ 35923 w 2150240"/>
                <a:gd name="connsiteY75" fmla="*/ 892785 h 2147564"/>
                <a:gd name="connsiteX76" fmla="*/ 51798 w 2150240"/>
                <a:gd name="connsiteY76" fmla="*/ 864210 h 2147564"/>
                <a:gd name="connsiteX77" fmla="*/ 83548 w 2150240"/>
                <a:gd name="connsiteY77" fmla="*/ 819760 h 2147564"/>
                <a:gd name="connsiteX78" fmla="*/ 99423 w 2150240"/>
                <a:gd name="connsiteY78" fmla="*/ 800710 h 2147564"/>
                <a:gd name="connsiteX79" fmla="*/ 308973 w 2150240"/>
                <a:gd name="connsiteY79" fmla="*/ 581635 h 2147564"/>
                <a:gd name="connsiteX80" fmla="*/ 366123 w 2150240"/>
                <a:gd name="connsiteY80" fmla="*/ 521310 h 2147564"/>
                <a:gd name="connsiteX81" fmla="*/ 445498 w 2150240"/>
                <a:gd name="connsiteY81" fmla="*/ 435585 h 2147564"/>
                <a:gd name="connsiteX82" fmla="*/ 493123 w 2150240"/>
                <a:gd name="connsiteY82" fmla="*/ 391135 h 2147564"/>
                <a:gd name="connsiteX83" fmla="*/ 712198 w 2150240"/>
                <a:gd name="connsiteY83" fmla="*/ 194285 h 2147564"/>
                <a:gd name="connsiteX84" fmla="*/ 750298 w 2150240"/>
                <a:gd name="connsiteY84" fmla="*/ 168885 h 2147564"/>
                <a:gd name="connsiteX85" fmla="*/ 785223 w 2150240"/>
                <a:gd name="connsiteY85" fmla="*/ 146660 h 2147564"/>
                <a:gd name="connsiteX86" fmla="*/ 1064623 w 2150240"/>
                <a:gd name="connsiteY86" fmla="*/ 610 h 2147564"/>
                <a:gd name="connsiteX0" fmla="*/ 1064623 w 2150240"/>
                <a:gd name="connsiteY0" fmla="*/ 11723 h 2158677"/>
                <a:gd name="connsiteX1" fmla="*/ 1239248 w 2150240"/>
                <a:gd name="connsiteY1" fmla="*/ 106973 h 2158677"/>
                <a:gd name="connsiteX2" fmla="*/ 1290048 w 2150240"/>
                <a:gd name="connsiteY2" fmla="*/ 141898 h 2158677"/>
                <a:gd name="connsiteX3" fmla="*/ 1309098 w 2150240"/>
                <a:gd name="connsiteY3" fmla="*/ 148248 h 2158677"/>
                <a:gd name="connsiteX4" fmla="*/ 1324973 w 2150240"/>
                <a:gd name="connsiteY4" fmla="*/ 160948 h 2158677"/>
                <a:gd name="connsiteX5" fmla="*/ 1334498 w 2150240"/>
                <a:gd name="connsiteY5" fmla="*/ 164123 h 2158677"/>
                <a:gd name="connsiteX6" fmla="*/ 1455148 w 2150240"/>
                <a:gd name="connsiteY6" fmla="*/ 287948 h 2158677"/>
                <a:gd name="connsiteX7" fmla="*/ 1499598 w 2150240"/>
                <a:gd name="connsiteY7" fmla="*/ 329223 h 2158677"/>
                <a:gd name="connsiteX8" fmla="*/ 1512298 w 2150240"/>
                <a:gd name="connsiteY8" fmla="*/ 345098 h 2158677"/>
                <a:gd name="connsiteX9" fmla="*/ 1524998 w 2150240"/>
                <a:gd name="connsiteY9" fmla="*/ 357798 h 2158677"/>
                <a:gd name="connsiteX10" fmla="*/ 1531348 w 2150240"/>
                <a:gd name="connsiteY10" fmla="*/ 367323 h 2158677"/>
                <a:gd name="connsiteX11" fmla="*/ 1550398 w 2150240"/>
                <a:gd name="connsiteY11" fmla="*/ 386373 h 2158677"/>
                <a:gd name="connsiteX12" fmla="*/ 1559923 w 2150240"/>
                <a:gd name="connsiteY12" fmla="*/ 395898 h 2158677"/>
                <a:gd name="connsiteX13" fmla="*/ 1569448 w 2150240"/>
                <a:gd name="connsiteY13" fmla="*/ 408598 h 2158677"/>
                <a:gd name="connsiteX14" fmla="*/ 1594848 w 2150240"/>
                <a:gd name="connsiteY14" fmla="*/ 427648 h 2158677"/>
                <a:gd name="connsiteX15" fmla="*/ 1632948 w 2150240"/>
                <a:gd name="connsiteY15" fmla="*/ 459398 h 2158677"/>
                <a:gd name="connsiteX16" fmla="*/ 1648823 w 2150240"/>
                <a:gd name="connsiteY16" fmla="*/ 478448 h 2158677"/>
                <a:gd name="connsiteX17" fmla="*/ 1661523 w 2150240"/>
                <a:gd name="connsiteY17" fmla="*/ 487973 h 2158677"/>
                <a:gd name="connsiteX18" fmla="*/ 1683748 w 2150240"/>
                <a:gd name="connsiteY18" fmla="*/ 510198 h 2158677"/>
                <a:gd name="connsiteX19" fmla="*/ 1702798 w 2150240"/>
                <a:gd name="connsiteY19" fmla="*/ 529248 h 2158677"/>
                <a:gd name="connsiteX20" fmla="*/ 1712323 w 2150240"/>
                <a:gd name="connsiteY20" fmla="*/ 538773 h 2158677"/>
                <a:gd name="connsiteX21" fmla="*/ 1744073 w 2150240"/>
                <a:gd name="connsiteY21" fmla="*/ 564173 h 2158677"/>
                <a:gd name="connsiteX22" fmla="*/ 1753598 w 2150240"/>
                <a:gd name="connsiteY22" fmla="*/ 573698 h 2158677"/>
                <a:gd name="connsiteX23" fmla="*/ 1766298 w 2150240"/>
                <a:gd name="connsiteY23" fmla="*/ 583223 h 2158677"/>
                <a:gd name="connsiteX24" fmla="*/ 1782173 w 2150240"/>
                <a:gd name="connsiteY24" fmla="*/ 599098 h 2158677"/>
                <a:gd name="connsiteX25" fmla="*/ 1813923 w 2150240"/>
                <a:gd name="connsiteY25" fmla="*/ 624498 h 2158677"/>
                <a:gd name="connsiteX26" fmla="*/ 1817098 w 2150240"/>
                <a:gd name="connsiteY26" fmla="*/ 634023 h 2158677"/>
                <a:gd name="connsiteX27" fmla="*/ 1842498 w 2150240"/>
                <a:gd name="connsiteY27" fmla="*/ 656248 h 2158677"/>
                <a:gd name="connsiteX28" fmla="*/ 1893298 w 2150240"/>
                <a:gd name="connsiteY28" fmla="*/ 713398 h 2158677"/>
                <a:gd name="connsiteX29" fmla="*/ 2090148 w 2150240"/>
                <a:gd name="connsiteY29" fmla="*/ 964223 h 2158677"/>
                <a:gd name="connsiteX30" fmla="*/ 2131423 w 2150240"/>
                <a:gd name="connsiteY30" fmla="*/ 1040423 h 2158677"/>
                <a:gd name="connsiteX31" fmla="*/ 2121898 w 2150240"/>
                <a:gd name="connsiteY31" fmla="*/ 1240448 h 2158677"/>
                <a:gd name="connsiteX32" fmla="*/ 1848848 w 2150240"/>
                <a:gd name="connsiteY32" fmla="*/ 1554773 h 2158677"/>
                <a:gd name="connsiteX33" fmla="*/ 1810748 w 2150240"/>
                <a:gd name="connsiteY33" fmla="*/ 1586523 h 2158677"/>
                <a:gd name="connsiteX34" fmla="*/ 1718673 w 2150240"/>
                <a:gd name="connsiteY34" fmla="*/ 1675423 h 2158677"/>
                <a:gd name="connsiteX35" fmla="*/ 1709148 w 2150240"/>
                <a:gd name="connsiteY35" fmla="*/ 1688123 h 2158677"/>
                <a:gd name="connsiteX36" fmla="*/ 1680573 w 2150240"/>
                <a:gd name="connsiteY36" fmla="*/ 1719873 h 2158677"/>
                <a:gd name="connsiteX37" fmla="*/ 1658348 w 2150240"/>
                <a:gd name="connsiteY37" fmla="*/ 1748448 h 2158677"/>
                <a:gd name="connsiteX38" fmla="*/ 1623423 w 2150240"/>
                <a:gd name="connsiteY38" fmla="*/ 1783373 h 2158677"/>
                <a:gd name="connsiteX39" fmla="*/ 1569448 w 2150240"/>
                <a:gd name="connsiteY39" fmla="*/ 1843698 h 2158677"/>
                <a:gd name="connsiteX40" fmla="*/ 1559923 w 2150240"/>
                <a:gd name="connsiteY40" fmla="*/ 1856398 h 2158677"/>
                <a:gd name="connsiteX41" fmla="*/ 1547223 w 2150240"/>
                <a:gd name="connsiteY41" fmla="*/ 1865923 h 2158677"/>
                <a:gd name="connsiteX42" fmla="*/ 1524998 w 2150240"/>
                <a:gd name="connsiteY42" fmla="*/ 1884973 h 2158677"/>
                <a:gd name="connsiteX43" fmla="*/ 1464673 w 2150240"/>
                <a:gd name="connsiteY43" fmla="*/ 1948473 h 2158677"/>
                <a:gd name="connsiteX44" fmla="*/ 1455148 w 2150240"/>
                <a:gd name="connsiteY44" fmla="*/ 1961173 h 2158677"/>
                <a:gd name="connsiteX45" fmla="*/ 1445623 w 2150240"/>
                <a:gd name="connsiteY45" fmla="*/ 1970698 h 2158677"/>
                <a:gd name="connsiteX46" fmla="*/ 1423398 w 2150240"/>
                <a:gd name="connsiteY46" fmla="*/ 1996098 h 2158677"/>
                <a:gd name="connsiteX47" fmla="*/ 1391648 w 2150240"/>
                <a:gd name="connsiteY47" fmla="*/ 2024673 h 2158677"/>
                <a:gd name="connsiteX48" fmla="*/ 1356723 w 2150240"/>
                <a:gd name="connsiteY48" fmla="*/ 2040548 h 2158677"/>
                <a:gd name="connsiteX49" fmla="*/ 1331323 w 2150240"/>
                <a:gd name="connsiteY49" fmla="*/ 2056423 h 2158677"/>
                <a:gd name="connsiteX50" fmla="*/ 1226548 w 2150240"/>
                <a:gd name="connsiteY50" fmla="*/ 2113573 h 2158677"/>
                <a:gd name="connsiteX51" fmla="*/ 1102723 w 2150240"/>
                <a:gd name="connsiteY51" fmla="*/ 2158023 h 2158677"/>
                <a:gd name="connsiteX52" fmla="*/ 928098 w 2150240"/>
                <a:gd name="connsiteY52" fmla="*/ 2138973 h 2158677"/>
                <a:gd name="connsiteX53" fmla="*/ 886823 w 2150240"/>
                <a:gd name="connsiteY53" fmla="*/ 2123098 h 2158677"/>
                <a:gd name="connsiteX54" fmla="*/ 845548 w 2150240"/>
                <a:gd name="connsiteY54" fmla="*/ 2104048 h 2158677"/>
                <a:gd name="connsiteX55" fmla="*/ 731248 w 2150240"/>
                <a:gd name="connsiteY55" fmla="*/ 2002448 h 2158677"/>
                <a:gd name="connsiteX56" fmla="*/ 715373 w 2150240"/>
                <a:gd name="connsiteY56" fmla="*/ 1986573 h 2158677"/>
                <a:gd name="connsiteX57" fmla="*/ 699498 w 2150240"/>
                <a:gd name="connsiteY57" fmla="*/ 1973873 h 2158677"/>
                <a:gd name="connsiteX58" fmla="*/ 680448 w 2150240"/>
                <a:gd name="connsiteY58" fmla="*/ 1954823 h 2158677"/>
                <a:gd name="connsiteX59" fmla="*/ 601073 w 2150240"/>
                <a:gd name="connsiteY59" fmla="*/ 1875448 h 2158677"/>
                <a:gd name="connsiteX60" fmla="*/ 578848 w 2150240"/>
                <a:gd name="connsiteY60" fmla="*/ 1850048 h 2158677"/>
                <a:gd name="connsiteX61" fmla="*/ 537573 w 2150240"/>
                <a:gd name="connsiteY61" fmla="*/ 1808773 h 2158677"/>
                <a:gd name="connsiteX62" fmla="*/ 499473 w 2150240"/>
                <a:gd name="connsiteY62" fmla="*/ 1773848 h 2158677"/>
                <a:gd name="connsiteX63" fmla="*/ 470898 w 2150240"/>
                <a:gd name="connsiteY63" fmla="*/ 1738923 h 2158677"/>
                <a:gd name="connsiteX64" fmla="*/ 413748 w 2150240"/>
                <a:gd name="connsiteY64" fmla="*/ 1691298 h 2158677"/>
                <a:gd name="connsiteX65" fmla="*/ 118473 w 2150240"/>
                <a:gd name="connsiteY65" fmla="*/ 1408723 h 2158677"/>
                <a:gd name="connsiteX66" fmla="*/ 83548 w 2150240"/>
                <a:gd name="connsiteY66" fmla="*/ 1361098 h 2158677"/>
                <a:gd name="connsiteX67" fmla="*/ 64498 w 2150240"/>
                <a:gd name="connsiteY67" fmla="*/ 1335698 h 2158677"/>
                <a:gd name="connsiteX68" fmla="*/ 35923 w 2150240"/>
                <a:gd name="connsiteY68" fmla="*/ 1275373 h 2158677"/>
                <a:gd name="connsiteX69" fmla="*/ 26398 w 2150240"/>
                <a:gd name="connsiteY69" fmla="*/ 1240448 h 2158677"/>
                <a:gd name="connsiteX70" fmla="*/ 20048 w 2150240"/>
                <a:gd name="connsiteY70" fmla="*/ 1218223 h 2158677"/>
                <a:gd name="connsiteX71" fmla="*/ 16873 w 2150240"/>
                <a:gd name="connsiteY71" fmla="*/ 1202348 h 2158677"/>
                <a:gd name="connsiteX72" fmla="*/ 7348 w 2150240"/>
                <a:gd name="connsiteY72" fmla="*/ 1164248 h 2158677"/>
                <a:gd name="connsiteX73" fmla="*/ 998 w 2150240"/>
                <a:gd name="connsiteY73" fmla="*/ 1081698 h 2158677"/>
                <a:gd name="connsiteX74" fmla="*/ 10523 w 2150240"/>
                <a:gd name="connsiteY74" fmla="*/ 951523 h 2158677"/>
                <a:gd name="connsiteX75" fmla="*/ 35923 w 2150240"/>
                <a:gd name="connsiteY75" fmla="*/ 903898 h 2158677"/>
                <a:gd name="connsiteX76" fmla="*/ 51798 w 2150240"/>
                <a:gd name="connsiteY76" fmla="*/ 875323 h 2158677"/>
                <a:gd name="connsiteX77" fmla="*/ 83548 w 2150240"/>
                <a:gd name="connsiteY77" fmla="*/ 830873 h 2158677"/>
                <a:gd name="connsiteX78" fmla="*/ 99423 w 2150240"/>
                <a:gd name="connsiteY78" fmla="*/ 811823 h 2158677"/>
                <a:gd name="connsiteX79" fmla="*/ 308973 w 2150240"/>
                <a:gd name="connsiteY79" fmla="*/ 592748 h 2158677"/>
                <a:gd name="connsiteX80" fmla="*/ 366123 w 2150240"/>
                <a:gd name="connsiteY80" fmla="*/ 532423 h 2158677"/>
                <a:gd name="connsiteX81" fmla="*/ 445498 w 2150240"/>
                <a:gd name="connsiteY81" fmla="*/ 446698 h 2158677"/>
                <a:gd name="connsiteX82" fmla="*/ 493123 w 2150240"/>
                <a:gd name="connsiteY82" fmla="*/ 402248 h 2158677"/>
                <a:gd name="connsiteX83" fmla="*/ 712198 w 2150240"/>
                <a:gd name="connsiteY83" fmla="*/ 205398 h 2158677"/>
                <a:gd name="connsiteX84" fmla="*/ 750298 w 2150240"/>
                <a:gd name="connsiteY84" fmla="*/ 179998 h 2158677"/>
                <a:gd name="connsiteX85" fmla="*/ 785223 w 2150240"/>
                <a:gd name="connsiteY85" fmla="*/ 157773 h 2158677"/>
                <a:gd name="connsiteX86" fmla="*/ 1064623 w 2150240"/>
                <a:gd name="connsiteY86" fmla="*/ 11723 h 2158677"/>
                <a:gd name="connsiteX0" fmla="*/ 1064623 w 2150240"/>
                <a:gd name="connsiteY0" fmla="*/ 2328 h 2149282"/>
                <a:gd name="connsiteX1" fmla="*/ 1239248 w 2150240"/>
                <a:gd name="connsiteY1" fmla="*/ 97578 h 2149282"/>
                <a:gd name="connsiteX2" fmla="*/ 1290048 w 2150240"/>
                <a:gd name="connsiteY2" fmla="*/ 132503 h 2149282"/>
                <a:gd name="connsiteX3" fmla="*/ 1309098 w 2150240"/>
                <a:gd name="connsiteY3" fmla="*/ 138853 h 2149282"/>
                <a:gd name="connsiteX4" fmla="*/ 1324973 w 2150240"/>
                <a:gd name="connsiteY4" fmla="*/ 151553 h 2149282"/>
                <a:gd name="connsiteX5" fmla="*/ 1334498 w 2150240"/>
                <a:gd name="connsiteY5" fmla="*/ 154728 h 2149282"/>
                <a:gd name="connsiteX6" fmla="*/ 1455148 w 2150240"/>
                <a:gd name="connsiteY6" fmla="*/ 278553 h 2149282"/>
                <a:gd name="connsiteX7" fmla="*/ 1499598 w 2150240"/>
                <a:gd name="connsiteY7" fmla="*/ 319828 h 2149282"/>
                <a:gd name="connsiteX8" fmla="*/ 1512298 w 2150240"/>
                <a:gd name="connsiteY8" fmla="*/ 335703 h 2149282"/>
                <a:gd name="connsiteX9" fmla="*/ 1524998 w 2150240"/>
                <a:gd name="connsiteY9" fmla="*/ 348403 h 2149282"/>
                <a:gd name="connsiteX10" fmla="*/ 1531348 w 2150240"/>
                <a:gd name="connsiteY10" fmla="*/ 357928 h 2149282"/>
                <a:gd name="connsiteX11" fmla="*/ 1550398 w 2150240"/>
                <a:gd name="connsiteY11" fmla="*/ 376978 h 2149282"/>
                <a:gd name="connsiteX12" fmla="*/ 1559923 w 2150240"/>
                <a:gd name="connsiteY12" fmla="*/ 386503 h 2149282"/>
                <a:gd name="connsiteX13" fmla="*/ 1569448 w 2150240"/>
                <a:gd name="connsiteY13" fmla="*/ 399203 h 2149282"/>
                <a:gd name="connsiteX14" fmla="*/ 1594848 w 2150240"/>
                <a:gd name="connsiteY14" fmla="*/ 418253 h 2149282"/>
                <a:gd name="connsiteX15" fmla="*/ 1632948 w 2150240"/>
                <a:gd name="connsiteY15" fmla="*/ 450003 h 2149282"/>
                <a:gd name="connsiteX16" fmla="*/ 1648823 w 2150240"/>
                <a:gd name="connsiteY16" fmla="*/ 469053 h 2149282"/>
                <a:gd name="connsiteX17" fmla="*/ 1661523 w 2150240"/>
                <a:gd name="connsiteY17" fmla="*/ 478578 h 2149282"/>
                <a:gd name="connsiteX18" fmla="*/ 1683748 w 2150240"/>
                <a:gd name="connsiteY18" fmla="*/ 500803 h 2149282"/>
                <a:gd name="connsiteX19" fmla="*/ 1702798 w 2150240"/>
                <a:gd name="connsiteY19" fmla="*/ 519853 h 2149282"/>
                <a:gd name="connsiteX20" fmla="*/ 1712323 w 2150240"/>
                <a:gd name="connsiteY20" fmla="*/ 529378 h 2149282"/>
                <a:gd name="connsiteX21" fmla="*/ 1744073 w 2150240"/>
                <a:gd name="connsiteY21" fmla="*/ 554778 h 2149282"/>
                <a:gd name="connsiteX22" fmla="*/ 1753598 w 2150240"/>
                <a:gd name="connsiteY22" fmla="*/ 564303 h 2149282"/>
                <a:gd name="connsiteX23" fmla="*/ 1766298 w 2150240"/>
                <a:gd name="connsiteY23" fmla="*/ 573828 h 2149282"/>
                <a:gd name="connsiteX24" fmla="*/ 1782173 w 2150240"/>
                <a:gd name="connsiteY24" fmla="*/ 589703 h 2149282"/>
                <a:gd name="connsiteX25" fmla="*/ 1813923 w 2150240"/>
                <a:gd name="connsiteY25" fmla="*/ 615103 h 2149282"/>
                <a:gd name="connsiteX26" fmla="*/ 1817098 w 2150240"/>
                <a:gd name="connsiteY26" fmla="*/ 624628 h 2149282"/>
                <a:gd name="connsiteX27" fmla="*/ 1842498 w 2150240"/>
                <a:gd name="connsiteY27" fmla="*/ 646853 h 2149282"/>
                <a:gd name="connsiteX28" fmla="*/ 1893298 w 2150240"/>
                <a:gd name="connsiteY28" fmla="*/ 704003 h 2149282"/>
                <a:gd name="connsiteX29" fmla="*/ 2090148 w 2150240"/>
                <a:gd name="connsiteY29" fmla="*/ 954828 h 2149282"/>
                <a:gd name="connsiteX30" fmla="*/ 2131423 w 2150240"/>
                <a:gd name="connsiteY30" fmla="*/ 1031028 h 2149282"/>
                <a:gd name="connsiteX31" fmla="*/ 2121898 w 2150240"/>
                <a:gd name="connsiteY31" fmla="*/ 1231053 h 2149282"/>
                <a:gd name="connsiteX32" fmla="*/ 1848848 w 2150240"/>
                <a:gd name="connsiteY32" fmla="*/ 1545378 h 2149282"/>
                <a:gd name="connsiteX33" fmla="*/ 1810748 w 2150240"/>
                <a:gd name="connsiteY33" fmla="*/ 1577128 h 2149282"/>
                <a:gd name="connsiteX34" fmla="*/ 1718673 w 2150240"/>
                <a:gd name="connsiteY34" fmla="*/ 1666028 h 2149282"/>
                <a:gd name="connsiteX35" fmla="*/ 1709148 w 2150240"/>
                <a:gd name="connsiteY35" fmla="*/ 1678728 h 2149282"/>
                <a:gd name="connsiteX36" fmla="*/ 1680573 w 2150240"/>
                <a:gd name="connsiteY36" fmla="*/ 1710478 h 2149282"/>
                <a:gd name="connsiteX37" fmla="*/ 1658348 w 2150240"/>
                <a:gd name="connsiteY37" fmla="*/ 1739053 h 2149282"/>
                <a:gd name="connsiteX38" fmla="*/ 1623423 w 2150240"/>
                <a:gd name="connsiteY38" fmla="*/ 1773978 h 2149282"/>
                <a:gd name="connsiteX39" fmla="*/ 1569448 w 2150240"/>
                <a:gd name="connsiteY39" fmla="*/ 1834303 h 2149282"/>
                <a:gd name="connsiteX40" fmla="*/ 1559923 w 2150240"/>
                <a:gd name="connsiteY40" fmla="*/ 1847003 h 2149282"/>
                <a:gd name="connsiteX41" fmla="*/ 1547223 w 2150240"/>
                <a:gd name="connsiteY41" fmla="*/ 1856528 h 2149282"/>
                <a:gd name="connsiteX42" fmla="*/ 1524998 w 2150240"/>
                <a:gd name="connsiteY42" fmla="*/ 1875578 h 2149282"/>
                <a:gd name="connsiteX43" fmla="*/ 1464673 w 2150240"/>
                <a:gd name="connsiteY43" fmla="*/ 1939078 h 2149282"/>
                <a:gd name="connsiteX44" fmla="*/ 1455148 w 2150240"/>
                <a:gd name="connsiteY44" fmla="*/ 1951778 h 2149282"/>
                <a:gd name="connsiteX45" fmla="*/ 1445623 w 2150240"/>
                <a:gd name="connsiteY45" fmla="*/ 1961303 h 2149282"/>
                <a:gd name="connsiteX46" fmla="*/ 1423398 w 2150240"/>
                <a:gd name="connsiteY46" fmla="*/ 1986703 h 2149282"/>
                <a:gd name="connsiteX47" fmla="*/ 1391648 w 2150240"/>
                <a:gd name="connsiteY47" fmla="*/ 2015278 h 2149282"/>
                <a:gd name="connsiteX48" fmla="*/ 1356723 w 2150240"/>
                <a:gd name="connsiteY48" fmla="*/ 2031153 h 2149282"/>
                <a:gd name="connsiteX49" fmla="*/ 1331323 w 2150240"/>
                <a:gd name="connsiteY49" fmla="*/ 2047028 h 2149282"/>
                <a:gd name="connsiteX50" fmla="*/ 1226548 w 2150240"/>
                <a:gd name="connsiteY50" fmla="*/ 2104178 h 2149282"/>
                <a:gd name="connsiteX51" fmla="*/ 1102723 w 2150240"/>
                <a:gd name="connsiteY51" fmla="*/ 2148628 h 2149282"/>
                <a:gd name="connsiteX52" fmla="*/ 928098 w 2150240"/>
                <a:gd name="connsiteY52" fmla="*/ 2129578 h 2149282"/>
                <a:gd name="connsiteX53" fmla="*/ 886823 w 2150240"/>
                <a:gd name="connsiteY53" fmla="*/ 2113703 h 2149282"/>
                <a:gd name="connsiteX54" fmla="*/ 845548 w 2150240"/>
                <a:gd name="connsiteY54" fmla="*/ 2094653 h 2149282"/>
                <a:gd name="connsiteX55" fmla="*/ 731248 w 2150240"/>
                <a:gd name="connsiteY55" fmla="*/ 1993053 h 2149282"/>
                <a:gd name="connsiteX56" fmla="*/ 715373 w 2150240"/>
                <a:gd name="connsiteY56" fmla="*/ 1977178 h 2149282"/>
                <a:gd name="connsiteX57" fmla="*/ 699498 w 2150240"/>
                <a:gd name="connsiteY57" fmla="*/ 1964478 h 2149282"/>
                <a:gd name="connsiteX58" fmla="*/ 680448 w 2150240"/>
                <a:gd name="connsiteY58" fmla="*/ 1945428 h 2149282"/>
                <a:gd name="connsiteX59" fmla="*/ 601073 w 2150240"/>
                <a:gd name="connsiteY59" fmla="*/ 1866053 h 2149282"/>
                <a:gd name="connsiteX60" fmla="*/ 578848 w 2150240"/>
                <a:gd name="connsiteY60" fmla="*/ 1840653 h 2149282"/>
                <a:gd name="connsiteX61" fmla="*/ 537573 w 2150240"/>
                <a:gd name="connsiteY61" fmla="*/ 1799378 h 2149282"/>
                <a:gd name="connsiteX62" fmla="*/ 499473 w 2150240"/>
                <a:gd name="connsiteY62" fmla="*/ 1764453 h 2149282"/>
                <a:gd name="connsiteX63" fmla="*/ 470898 w 2150240"/>
                <a:gd name="connsiteY63" fmla="*/ 1729528 h 2149282"/>
                <a:gd name="connsiteX64" fmla="*/ 413748 w 2150240"/>
                <a:gd name="connsiteY64" fmla="*/ 1681903 h 2149282"/>
                <a:gd name="connsiteX65" fmla="*/ 118473 w 2150240"/>
                <a:gd name="connsiteY65" fmla="*/ 1399328 h 2149282"/>
                <a:gd name="connsiteX66" fmla="*/ 83548 w 2150240"/>
                <a:gd name="connsiteY66" fmla="*/ 1351703 h 2149282"/>
                <a:gd name="connsiteX67" fmla="*/ 64498 w 2150240"/>
                <a:gd name="connsiteY67" fmla="*/ 1326303 h 2149282"/>
                <a:gd name="connsiteX68" fmla="*/ 35923 w 2150240"/>
                <a:gd name="connsiteY68" fmla="*/ 1265978 h 2149282"/>
                <a:gd name="connsiteX69" fmla="*/ 26398 w 2150240"/>
                <a:gd name="connsiteY69" fmla="*/ 1231053 h 2149282"/>
                <a:gd name="connsiteX70" fmla="*/ 20048 w 2150240"/>
                <a:gd name="connsiteY70" fmla="*/ 1208828 h 2149282"/>
                <a:gd name="connsiteX71" fmla="*/ 16873 w 2150240"/>
                <a:gd name="connsiteY71" fmla="*/ 1192953 h 2149282"/>
                <a:gd name="connsiteX72" fmla="*/ 7348 w 2150240"/>
                <a:gd name="connsiteY72" fmla="*/ 1154853 h 2149282"/>
                <a:gd name="connsiteX73" fmla="*/ 998 w 2150240"/>
                <a:gd name="connsiteY73" fmla="*/ 1072303 h 2149282"/>
                <a:gd name="connsiteX74" fmla="*/ 10523 w 2150240"/>
                <a:gd name="connsiteY74" fmla="*/ 942128 h 2149282"/>
                <a:gd name="connsiteX75" fmla="*/ 35923 w 2150240"/>
                <a:gd name="connsiteY75" fmla="*/ 894503 h 2149282"/>
                <a:gd name="connsiteX76" fmla="*/ 51798 w 2150240"/>
                <a:gd name="connsiteY76" fmla="*/ 865928 h 2149282"/>
                <a:gd name="connsiteX77" fmla="*/ 83548 w 2150240"/>
                <a:gd name="connsiteY77" fmla="*/ 821478 h 2149282"/>
                <a:gd name="connsiteX78" fmla="*/ 99423 w 2150240"/>
                <a:gd name="connsiteY78" fmla="*/ 802428 h 2149282"/>
                <a:gd name="connsiteX79" fmla="*/ 308973 w 2150240"/>
                <a:gd name="connsiteY79" fmla="*/ 583353 h 2149282"/>
                <a:gd name="connsiteX80" fmla="*/ 366123 w 2150240"/>
                <a:gd name="connsiteY80" fmla="*/ 523028 h 2149282"/>
                <a:gd name="connsiteX81" fmla="*/ 445498 w 2150240"/>
                <a:gd name="connsiteY81" fmla="*/ 437303 h 2149282"/>
                <a:gd name="connsiteX82" fmla="*/ 493123 w 2150240"/>
                <a:gd name="connsiteY82" fmla="*/ 392853 h 2149282"/>
                <a:gd name="connsiteX83" fmla="*/ 712198 w 2150240"/>
                <a:gd name="connsiteY83" fmla="*/ 196003 h 2149282"/>
                <a:gd name="connsiteX84" fmla="*/ 750298 w 2150240"/>
                <a:gd name="connsiteY84" fmla="*/ 170603 h 2149282"/>
                <a:gd name="connsiteX85" fmla="*/ 785223 w 2150240"/>
                <a:gd name="connsiteY85" fmla="*/ 148378 h 2149282"/>
                <a:gd name="connsiteX86" fmla="*/ 1064623 w 2150240"/>
                <a:gd name="connsiteY86" fmla="*/ 2328 h 2149282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334498 w 2150240"/>
                <a:gd name="connsiteY5" fmla="*/ 151613 h 2146167"/>
                <a:gd name="connsiteX6" fmla="*/ 1455148 w 2150240"/>
                <a:gd name="connsiteY6" fmla="*/ 275438 h 2146167"/>
                <a:gd name="connsiteX7" fmla="*/ 1499598 w 2150240"/>
                <a:gd name="connsiteY7" fmla="*/ 316713 h 2146167"/>
                <a:gd name="connsiteX8" fmla="*/ 1512298 w 2150240"/>
                <a:gd name="connsiteY8" fmla="*/ 332588 h 2146167"/>
                <a:gd name="connsiteX9" fmla="*/ 1524998 w 2150240"/>
                <a:gd name="connsiteY9" fmla="*/ 345288 h 2146167"/>
                <a:gd name="connsiteX10" fmla="*/ 1531348 w 2150240"/>
                <a:gd name="connsiteY10" fmla="*/ 354813 h 2146167"/>
                <a:gd name="connsiteX11" fmla="*/ 1550398 w 2150240"/>
                <a:gd name="connsiteY11" fmla="*/ 373863 h 2146167"/>
                <a:gd name="connsiteX12" fmla="*/ 1559923 w 2150240"/>
                <a:gd name="connsiteY12" fmla="*/ 383388 h 2146167"/>
                <a:gd name="connsiteX13" fmla="*/ 1569448 w 2150240"/>
                <a:gd name="connsiteY13" fmla="*/ 396088 h 2146167"/>
                <a:gd name="connsiteX14" fmla="*/ 1594848 w 2150240"/>
                <a:gd name="connsiteY14" fmla="*/ 415138 h 2146167"/>
                <a:gd name="connsiteX15" fmla="*/ 1632948 w 2150240"/>
                <a:gd name="connsiteY15" fmla="*/ 446888 h 2146167"/>
                <a:gd name="connsiteX16" fmla="*/ 1648823 w 2150240"/>
                <a:gd name="connsiteY16" fmla="*/ 465938 h 2146167"/>
                <a:gd name="connsiteX17" fmla="*/ 1661523 w 2150240"/>
                <a:gd name="connsiteY17" fmla="*/ 475463 h 2146167"/>
                <a:gd name="connsiteX18" fmla="*/ 1683748 w 2150240"/>
                <a:gd name="connsiteY18" fmla="*/ 497688 h 2146167"/>
                <a:gd name="connsiteX19" fmla="*/ 1702798 w 2150240"/>
                <a:gd name="connsiteY19" fmla="*/ 516738 h 2146167"/>
                <a:gd name="connsiteX20" fmla="*/ 1712323 w 2150240"/>
                <a:gd name="connsiteY20" fmla="*/ 526263 h 2146167"/>
                <a:gd name="connsiteX21" fmla="*/ 1744073 w 2150240"/>
                <a:gd name="connsiteY21" fmla="*/ 551663 h 2146167"/>
                <a:gd name="connsiteX22" fmla="*/ 1753598 w 2150240"/>
                <a:gd name="connsiteY22" fmla="*/ 561188 h 2146167"/>
                <a:gd name="connsiteX23" fmla="*/ 1766298 w 2150240"/>
                <a:gd name="connsiteY23" fmla="*/ 570713 h 2146167"/>
                <a:gd name="connsiteX24" fmla="*/ 1782173 w 2150240"/>
                <a:gd name="connsiteY24" fmla="*/ 586588 h 2146167"/>
                <a:gd name="connsiteX25" fmla="*/ 1813923 w 2150240"/>
                <a:gd name="connsiteY25" fmla="*/ 611988 h 2146167"/>
                <a:gd name="connsiteX26" fmla="*/ 1817098 w 2150240"/>
                <a:gd name="connsiteY26" fmla="*/ 621513 h 2146167"/>
                <a:gd name="connsiteX27" fmla="*/ 1842498 w 2150240"/>
                <a:gd name="connsiteY27" fmla="*/ 643738 h 2146167"/>
                <a:gd name="connsiteX28" fmla="*/ 1893298 w 2150240"/>
                <a:gd name="connsiteY28" fmla="*/ 700888 h 2146167"/>
                <a:gd name="connsiteX29" fmla="*/ 2090148 w 2150240"/>
                <a:gd name="connsiteY29" fmla="*/ 951713 h 2146167"/>
                <a:gd name="connsiteX30" fmla="*/ 2131423 w 2150240"/>
                <a:gd name="connsiteY30" fmla="*/ 1027913 h 2146167"/>
                <a:gd name="connsiteX31" fmla="*/ 2121898 w 2150240"/>
                <a:gd name="connsiteY31" fmla="*/ 1227938 h 2146167"/>
                <a:gd name="connsiteX32" fmla="*/ 1848848 w 2150240"/>
                <a:gd name="connsiteY32" fmla="*/ 1542263 h 2146167"/>
                <a:gd name="connsiteX33" fmla="*/ 1810748 w 2150240"/>
                <a:gd name="connsiteY33" fmla="*/ 1574013 h 2146167"/>
                <a:gd name="connsiteX34" fmla="*/ 1718673 w 2150240"/>
                <a:gd name="connsiteY34" fmla="*/ 1662913 h 2146167"/>
                <a:gd name="connsiteX35" fmla="*/ 1709148 w 2150240"/>
                <a:gd name="connsiteY35" fmla="*/ 1675613 h 2146167"/>
                <a:gd name="connsiteX36" fmla="*/ 1680573 w 2150240"/>
                <a:gd name="connsiteY36" fmla="*/ 1707363 h 2146167"/>
                <a:gd name="connsiteX37" fmla="*/ 1658348 w 2150240"/>
                <a:gd name="connsiteY37" fmla="*/ 1735938 h 2146167"/>
                <a:gd name="connsiteX38" fmla="*/ 1623423 w 2150240"/>
                <a:gd name="connsiteY38" fmla="*/ 1770863 h 2146167"/>
                <a:gd name="connsiteX39" fmla="*/ 1569448 w 2150240"/>
                <a:gd name="connsiteY39" fmla="*/ 1831188 h 2146167"/>
                <a:gd name="connsiteX40" fmla="*/ 1559923 w 2150240"/>
                <a:gd name="connsiteY40" fmla="*/ 1843888 h 2146167"/>
                <a:gd name="connsiteX41" fmla="*/ 1547223 w 2150240"/>
                <a:gd name="connsiteY41" fmla="*/ 1853413 h 2146167"/>
                <a:gd name="connsiteX42" fmla="*/ 1524998 w 2150240"/>
                <a:gd name="connsiteY42" fmla="*/ 1872463 h 2146167"/>
                <a:gd name="connsiteX43" fmla="*/ 1464673 w 2150240"/>
                <a:gd name="connsiteY43" fmla="*/ 1935963 h 2146167"/>
                <a:gd name="connsiteX44" fmla="*/ 1455148 w 2150240"/>
                <a:gd name="connsiteY44" fmla="*/ 1948663 h 2146167"/>
                <a:gd name="connsiteX45" fmla="*/ 1445623 w 2150240"/>
                <a:gd name="connsiteY45" fmla="*/ 1958188 h 2146167"/>
                <a:gd name="connsiteX46" fmla="*/ 1423398 w 2150240"/>
                <a:gd name="connsiteY46" fmla="*/ 1983588 h 2146167"/>
                <a:gd name="connsiteX47" fmla="*/ 1391648 w 2150240"/>
                <a:gd name="connsiteY47" fmla="*/ 2012163 h 2146167"/>
                <a:gd name="connsiteX48" fmla="*/ 1356723 w 2150240"/>
                <a:gd name="connsiteY48" fmla="*/ 2028038 h 2146167"/>
                <a:gd name="connsiteX49" fmla="*/ 1331323 w 2150240"/>
                <a:gd name="connsiteY49" fmla="*/ 2043913 h 2146167"/>
                <a:gd name="connsiteX50" fmla="*/ 1226548 w 2150240"/>
                <a:gd name="connsiteY50" fmla="*/ 2101063 h 2146167"/>
                <a:gd name="connsiteX51" fmla="*/ 1102723 w 2150240"/>
                <a:gd name="connsiteY51" fmla="*/ 2145513 h 2146167"/>
                <a:gd name="connsiteX52" fmla="*/ 928098 w 2150240"/>
                <a:gd name="connsiteY52" fmla="*/ 2126463 h 2146167"/>
                <a:gd name="connsiteX53" fmla="*/ 886823 w 2150240"/>
                <a:gd name="connsiteY53" fmla="*/ 2110588 h 2146167"/>
                <a:gd name="connsiteX54" fmla="*/ 845548 w 2150240"/>
                <a:gd name="connsiteY54" fmla="*/ 2091538 h 2146167"/>
                <a:gd name="connsiteX55" fmla="*/ 731248 w 2150240"/>
                <a:gd name="connsiteY55" fmla="*/ 1989938 h 2146167"/>
                <a:gd name="connsiteX56" fmla="*/ 715373 w 2150240"/>
                <a:gd name="connsiteY56" fmla="*/ 1974063 h 2146167"/>
                <a:gd name="connsiteX57" fmla="*/ 699498 w 2150240"/>
                <a:gd name="connsiteY57" fmla="*/ 1961363 h 2146167"/>
                <a:gd name="connsiteX58" fmla="*/ 680448 w 2150240"/>
                <a:gd name="connsiteY58" fmla="*/ 1942313 h 2146167"/>
                <a:gd name="connsiteX59" fmla="*/ 601073 w 2150240"/>
                <a:gd name="connsiteY59" fmla="*/ 1862938 h 2146167"/>
                <a:gd name="connsiteX60" fmla="*/ 578848 w 2150240"/>
                <a:gd name="connsiteY60" fmla="*/ 1837538 h 2146167"/>
                <a:gd name="connsiteX61" fmla="*/ 537573 w 2150240"/>
                <a:gd name="connsiteY61" fmla="*/ 1796263 h 2146167"/>
                <a:gd name="connsiteX62" fmla="*/ 499473 w 2150240"/>
                <a:gd name="connsiteY62" fmla="*/ 1761338 h 2146167"/>
                <a:gd name="connsiteX63" fmla="*/ 470898 w 2150240"/>
                <a:gd name="connsiteY63" fmla="*/ 1726413 h 2146167"/>
                <a:gd name="connsiteX64" fmla="*/ 413748 w 2150240"/>
                <a:gd name="connsiteY64" fmla="*/ 1678788 h 2146167"/>
                <a:gd name="connsiteX65" fmla="*/ 118473 w 2150240"/>
                <a:gd name="connsiteY65" fmla="*/ 1396213 h 2146167"/>
                <a:gd name="connsiteX66" fmla="*/ 83548 w 2150240"/>
                <a:gd name="connsiteY66" fmla="*/ 1348588 h 2146167"/>
                <a:gd name="connsiteX67" fmla="*/ 64498 w 2150240"/>
                <a:gd name="connsiteY67" fmla="*/ 1323188 h 2146167"/>
                <a:gd name="connsiteX68" fmla="*/ 35923 w 2150240"/>
                <a:gd name="connsiteY68" fmla="*/ 1262863 h 2146167"/>
                <a:gd name="connsiteX69" fmla="*/ 26398 w 2150240"/>
                <a:gd name="connsiteY69" fmla="*/ 1227938 h 2146167"/>
                <a:gd name="connsiteX70" fmla="*/ 20048 w 2150240"/>
                <a:gd name="connsiteY70" fmla="*/ 1205713 h 2146167"/>
                <a:gd name="connsiteX71" fmla="*/ 16873 w 2150240"/>
                <a:gd name="connsiteY71" fmla="*/ 1189838 h 2146167"/>
                <a:gd name="connsiteX72" fmla="*/ 7348 w 2150240"/>
                <a:gd name="connsiteY72" fmla="*/ 1151738 h 2146167"/>
                <a:gd name="connsiteX73" fmla="*/ 998 w 2150240"/>
                <a:gd name="connsiteY73" fmla="*/ 1069188 h 2146167"/>
                <a:gd name="connsiteX74" fmla="*/ 10523 w 2150240"/>
                <a:gd name="connsiteY74" fmla="*/ 939013 h 2146167"/>
                <a:gd name="connsiteX75" fmla="*/ 35923 w 2150240"/>
                <a:gd name="connsiteY75" fmla="*/ 891388 h 2146167"/>
                <a:gd name="connsiteX76" fmla="*/ 51798 w 2150240"/>
                <a:gd name="connsiteY76" fmla="*/ 862813 h 2146167"/>
                <a:gd name="connsiteX77" fmla="*/ 83548 w 2150240"/>
                <a:gd name="connsiteY77" fmla="*/ 818363 h 2146167"/>
                <a:gd name="connsiteX78" fmla="*/ 99423 w 2150240"/>
                <a:gd name="connsiteY78" fmla="*/ 799313 h 2146167"/>
                <a:gd name="connsiteX79" fmla="*/ 308973 w 2150240"/>
                <a:gd name="connsiteY79" fmla="*/ 580238 h 2146167"/>
                <a:gd name="connsiteX80" fmla="*/ 366123 w 2150240"/>
                <a:gd name="connsiteY80" fmla="*/ 519913 h 2146167"/>
                <a:gd name="connsiteX81" fmla="*/ 445498 w 2150240"/>
                <a:gd name="connsiteY81" fmla="*/ 434188 h 2146167"/>
                <a:gd name="connsiteX82" fmla="*/ 493123 w 2150240"/>
                <a:gd name="connsiteY82" fmla="*/ 389738 h 2146167"/>
                <a:gd name="connsiteX83" fmla="*/ 712198 w 2150240"/>
                <a:gd name="connsiteY83" fmla="*/ 192888 h 2146167"/>
                <a:gd name="connsiteX84" fmla="*/ 750298 w 2150240"/>
                <a:gd name="connsiteY84" fmla="*/ 167488 h 2146167"/>
                <a:gd name="connsiteX85" fmla="*/ 785223 w 2150240"/>
                <a:gd name="connsiteY85" fmla="*/ 145263 h 2146167"/>
                <a:gd name="connsiteX86" fmla="*/ 1036048 w 2150240"/>
                <a:gd name="connsiteY86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324973 w 2150240"/>
                <a:gd name="connsiteY4" fmla="*/ 148438 h 2146167"/>
                <a:gd name="connsiteX5" fmla="*/ 1455148 w 2150240"/>
                <a:gd name="connsiteY5" fmla="*/ 275438 h 2146167"/>
                <a:gd name="connsiteX6" fmla="*/ 1499598 w 2150240"/>
                <a:gd name="connsiteY6" fmla="*/ 316713 h 2146167"/>
                <a:gd name="connsiteX7" fmla="*/ 1512298 w 2150240"/>
                <a:gd name="connsiteY7" fmla="*/ 332588 h 2146167"/>
                <a:gd name="connsiteX8" fmla="*/ 1524998 w 2150240"/>
                <a:gd name="connsiteY8" fmla="*/ 345288 h 2146167"/>
                <a:gd name="connsiteX9" fmla="*/ 1531348 w 2150240"/>
                <a:gd name="connsiteY9" fmla="*/ 354813 h 2146167"/>
                <a:gd name="connsiteX10" fmla="*/ 1550398 w 2150240"/>
                <a:gd name="connsiteY10" fmla="*/ 373863 h 2146167"/>
                <a:gd name="connsiteX11" fmla="*/ 1559923 w 2150240"/>
                <a:gd name="connsiteY11" fmla="*/ 383388 h 2146167"/>
                <a:gd name="connsiteX12" fmla="*/ 1569448 w 2150240"/>
                <a:gd name="connsiteY12" fmla="*/ 396088 h 2146167"/>
                <a:gd name="connsiteX13" fmla="*/ 1594848 w 2150240"/>
                <a:gd name="connsiteY13" fmla="*/ 415138 h 2146167"/>
                <a:gd name="connsiteX14" fmla="*/ 1632948 w 2150240"/>
                <a:gd name="connsiteY14" fmla="*/ 446888 h 2146167"/>
                <a:gd name="connsiteX15" fmla="*/ 1648823 w 2150240"/>
                <a:gd name="connsiteY15" fmla="*/ 465938 h 2146167"/>
                <a:gd name="connsiteX16" fmla="*/ 1661523 w 2150240"/>
                <a:gd name="connsiteY16" fmla="*/ 475463 h 2146167"/>
                <a:gd name="connsiteX17" fmla="*/ 1683748 w 2150240"/>
                <a:gd name="connsiteY17" fmla="*/ 497688 h 2146167"/>
                <a:gd name="connsiteX18" fmla="*/ 1702798 w 2150240"/>
                <a:gd name="connsiteY18" fmla="*/ 516738 h 2146167"/>
                <a:gd name="connsiteX19" fmla="*/ 1712323 w 2150240"/>
                <a:gd name="connsiteY19" fmla="*/ 526263 h 2146167"/>
                <a:gd name="connsiteX20" fmla="*/ 1744073 w 2150240"/>
                <a:gd name="connsiteY20" fmla="*/ 551663 h 2146167"/>
                <a:gd name="connsiteX21" fmla="*/ 1753598 w 2150240"/>
                <a:gd name="connsiteY21" fmla="*/ 561188 h 2146167"/>
                <a:gd name="connsiteX22" fmla="*/ 1766298 w 2150240"/>
                <a:gd name="connsiteY22" fmla="*/ 570713 h 2146167"/>
                <a:gd name="connsiteX23" fmla="*/ 1782173 w 2150240"/>
                <a:gd name="connsiteY23" fmla="*/ 586588 h 2146167"/>
                <a:gd name="connsiteX24" fmla="*/ 1813923 w 2150240"/>
                <a:gd name="connsiteY24" fmla="*/ 611988 h 2146167"/>
                <a:gd name="connsiteX25" fmla="*/ 1817098 w 2150240"/>
                <a:gd name="connsiteY25" fmla="*/ 621513 h 2146167"/>
                <a:gd name="connsiteX26" fmla="*/ 1842498 w 2150240"/>
                <a:gd name="connsiteY26" fmla="*/ 643738 h 2146167"/>
                <a:gd name="connsiteX27" fmla="*/ 1893298 w 2150240"/>
                <a:gd name="connsiteY27" fmla="*/ 700888 h 2146167"/>
                <a:gd name="connsiteX28" fmla="*/ 2090148 w 2150240"/>
                <a:gd name="connsiteY28" fmla="*/ 951713 h 2146167"/>
                <a:gd name="connsiteX29" fmla="*/ 2131423 w 2150240"/>
                <a:gd name="connsiteY29" fmla="*/ 1027913 h 2146167"/>
                <a:gd name="connsiteX30" fmla="*/ 2121898 w 2150240"/>
                <a:gd name="connsiteY30" fmla="*/ 1227938 h 2146167"/>
                <a:gd name="connsiteX31" fmla="*/ 1848848 w 2150240"/>
                <a:gd name="connsiteY31" fmla="*/ 1542263 h 2146167"/>
                <a:gd name="connsiteX32" fmla="*/ 1810748 w 2150240"/>
                <a:gd name="connsiteY32" fmla="*/ 1574013 h 2146167"/>
                <a:gd name="connsiteX33" fmla="*/ 1718673 w 2150240"/>
                <a:gd name="connsiteY33" fmla="*/ 1662913 h 2146167"/>
                <a:gd name="connsiteX34" fmla="*/ 1709148 w 2150240"/>
                <a:gd name="connsiteY34" fmla="*/ 1675613 h 2146167"/>
                <a:gd name="connsiteX35" fmla="*/ 1680573 w 2150240"/>
                <a:gd name="connsiteY35" fmla="*/ 1707363 h 2146167"/>
                <a:gd name="connsiteX36" fmla="*/ 1658348 w 2150240"/>
                <a:gd name="connsiteY36" fmla="*/ 1735938 h 2146167"/>
                <a:gd name="connsiteX37" fmla="*/ 1623423 w 2150240"/>
                <a:gd name="connsiteY37" fmla="*/ 1770863 h 2146167"/>
                <a:gd name="connsiteX38" fmla="*/ 1569448 w 2150240"/>
                <a:gd name="connsiteY38" fmla="*/ 1831188 h 2146167"/>
                <a:gd name="connsiteX39" fmla="*/ 1559923 w 2150240"/>
                <a:gd name="connsiteY39" fmla="*/ 1843888 h 2146167"/>
                <a:gd name="connsiteX40" fmla="*/ 1547223 w 2150240"/>
                <a:gd name="connsiteY40" fmla="*/ 1853413 h 2146167"/>
                <a:gd name="connsiteX41" fmla="*/ 1524998 w 2150240"/>
                <a:gd name="connsiteY41" fmla="*/ 1872463 h 2146167"/>
                <a:gd name="connsiteX42" fmla="*/ 1464673 w 2150240"/>
                <a:gd name="connsiteY42" fmla="*/ 1935963 h 2146167"/>
                <a:gd name="connsiteX43" fmla="*/ 1455148 w 2150240"/>
                <a:gd name="connsiteY43" fmla="*/ 1948663 h 2146167"/>
                <a:gd name="connsiteX44" fmla="*/ 1445623 w 2150240"/>
                <a:gd name="connsiteY44" fmla="*/ 1958188 h 2146167"/>
                <a:gd name="connsiteX45" fmla="*/ 1423398 w 2150240"/>
                <a:gd name="connsiteY45" fmla="*/ 1983588 h 2146167"/>
                <a:gd name="connsiteX46" fmla="*/ 1391648 w 2150240"/>
                <a:gd name="connsiteY46" fmla="*/ 2012163 h 2146167"/>
                <a:gd name="connsiteX47" fmla="*/ 1356723 w 2150240"/>
                <a:gd name="connsiteY47" fmla="*/ 2028038 h 2146167"/>
                <a:gd name="connsiteX48" fmla="*/ 1331323 w 2150240"/>
                <a:gd name="connsiteY48" fmla="*/ 2043913 h 2146167"/>
                <a:gd name="connsiteX49" fmla="*/ 1226548 w 2150240"/>
                <a:gd name="connsiteY49" fmla="*/ 2101063 h 2146167"/>
                <a:gd name="connsiteX50" fmla="*/ 1102723 w 2150240"/>
                <a:gd name="connsiteY50" fmla="*/ 2145513 h 2146167"/>
                <a:gd name="connsiteX51" fmla="*/ 928098 w 2150240"/>
                <a:gd name="connsiteY51" fmla="*/ 2126463 h 2146167"/>
                <a:gd name="connsiteX52" fmla="*/ 886823 w 2150240"/>
                <a:gd name="connsiteY52" fmla="*/ 2110588 h 2146167"/>
                <a:gd name="connsiteX53" fmla="*/ 845548 w 2150240"/>
                <a:gd name="connsiteY53" fmla="*/ 2091538 h 2146167"/>
                <a:gd name="connsiteX54" fmla="*/ 731248 w 2150240"/>
                <a:gd name="connsiteY54" fmla="*/ 1989938 h 2146167"/>
                <a:gd name="connsiteX55" fmla="*/ 715373 w 2150240"/>
                <a:gd name="connsiteY55" fmla="*/ 1974063 h 2146167"/>
                <a:gd name="connsiteX56" fmla="*/ 699498 w 2150240"/>
                <a:gd name="connsiteY56" fmla="*/ 1961363 h 2146167"/>
                <a:gd name="connsiteX57" fmla="*/ 680448 w 2150240"/>
                <a:gd name="connsiteY57" fmla="*/ 1942313 h 2146167"/>
                <a:gd name="connsiteX58" fmla="*/ 601073 w 2150240"/>
                <a:gd name="connsiteY58" fmla="*/ 1862938 h 2146167"/>
                <a:gd name="connsiteX59" fmla="*/ 578848 w 2150240"/>
                <a:gd name="connsiteY59" fmla="*/ 1837538 h 2146167"/>
                <a:gd name="connsiteX60" fmla="*/ 537573 w 2150240"/>
                <a:gd name="connsiteY60" fmla="*/ 1796263 h 2146167"/>
                <a:gd name="connsiteX61" fmla="*/ 499473 w 2150240"/>
                <a:gd name="connsiteY61" fmla="*/ 1761338 h 2146167"/>
                <a:gd name="connsiteX62" fmla="*/ 470898 w 2150240"/>
                <a:gd name="connsiteY62" fmla="*/ 1726413 h 2146167"/>
                <a:gd name="connsiteX63" fmla="*/ 413748 w 2150240"/>
                <a:gd name="connsiteY63" fmla="*/ 1678788 h 2146167"/>
                <a:gd name="connsiteX64" fmla="*/ 118473 w 2150240"/>
                <a:gd name="connsiteY64" fmla="*/ 1396213 h 2146167"/>
                <a:gd name="connsiteX65" fmla="*/ 83548 w 2150240"/>
                <a:gd name="connsiteY65" fmla="*/ 1348588 h 2146167"/>
                <a:gd name="connsiteX66" fmla="*/ 64498 w 2150240"/>
                <a:gd name="connsiteY66" fmla="*/ 1323188 h 2146167"/>
                <a:gd name="connsiteX67" fmla="*/ 35923 w 2150240"/>
                <a:gd name="connsiteY67" fmla="*/ 1262863 h 2146167"/>
                <a:gd name="connsiteX68" fmla="*/ 26398 w 2150240"/>
                <a:gd name="connsiteY68" fmla="*/ 1227938 h 2146167"/>
                <a:gd name="connsiteX69" fmla="*/ 20048 w 2150240"/>
                <a:gd name="connsiteY69" fmla="*/ 1205713 h 2146167"/>
                <a:gd name="connsiteX70" fmla="*/ 16873 w 2150240"/>
                <a:gd name="connsiteY70" fmla="*/ 1189838 h 2146167"/>
                <a:gd name="connsiteX71" fmla="*/ 7348 w 2150240"/>
                <a:gd name="connsiteY71" fmla="*/ 1151738 h 2146167"/>
                <a:gd name="connsiteX72" fmla="*/ 998 w 2150240"/>
                <a:gd name="connsiteY72" fmla="*/ 1069188 h 2146167"/>
                <a:gd name="connsiteX73" fmla="*/ 10523 w 2150240"/>
                <a:gd name="connsiteY73" fmla="*/ 939013 h 2146167"/>
                <a:gd name="connsiteX74" fmla="*/ 35923 w 2150240"/>
                <a:gd name="connsiteY74" fmla="*/ 891388 h 2146167"/>
                <a:gd name="connsiteX75" fmla="*/ 51798 w 2150240"/>
                <a:gd name="connsiteY75" fmla="*/ 862813 h 2146167"/>
                <a:gd name="connsiteX76" fmla="*/ 83548 w 2150240"/>
                <a:gd name="connsiteY76" fmla="*/ 818363 h 2146167"/>
                <a:gd name="connsiteX77" fmla="*/ 99423 w 2150240"/>
                <a:gd name="connsiteY77" fmla="*/ 799313 h 2146167"/>
                <a:gd name="connsiteX78" fmla="*/ 308973 w 2150240"/>
                <a:gd name="connsiteY78" fmla="*/ 580238 h 2146167"/>
                <a:gd name="connsiteX79" fmla="*/ 366123 w 2150240"/>
                <a:gd name="connsiteY79" fmla="*/ 519913 h 2146167"/>
                <a:gd name="connsiteX80" fmla="*/ 445498 w 2150240"/>
                <a:gd name="connsiteY80" fmla="*/ 434188 h 2146167"/>
                <a:gd name="connsiteX81" fmla="*/ 493123 w 2150240"/>
                <a:gd name="connsiteY81" fmla="*/ 389738 h 2146167"/>
                <a:gd name="connsiteX82" fmla="*/ 712198 w 2150240"/>
                <a:gd name="connsiteY82" fmla="*/ 192888 h 2146167"/>
                <a:gd name="connsiteX83" fmla="*/ 750298 w 2150240"/>
                <a:gd name="connsiteY83" fmla="*/ 167488 h 2146167"/>
                <a:gd name="connsiteX84" fmla="*/ 785223 w 2150240"/>
                <a:gd name="connsiteY84" fmla="*/ 145263 h 2146167"/>
                <a:gd name="connsiteX85" fmla="*/ 1036048 w 2150240"/>
                <a:gd name="connsiteY85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309098 w 2150240"/>
                <a:gd name="connsiteY3" fmla="*/ 135738 h 2146167"/>
                <a:gd name="connsiteX4" fmla="*/ 1455148 w 2150240"/>
                <a:gd name="connsiteY4" fmla="*/ 275438 h 2146167"/>
                <a:gd name="connsiteX5" fmla="*/ 1499598 w 2150240"/>
                <a:gd name="connsiteY5" fmla="*/ 316713 h 2146167"/>
                <a:gd name="connsiteX6" fmla="*/ 1512298 w 2150240"/>
                <a:gd name="connsiteY6" fmla="*/ 332588 h 2146167"/>
                <a:gd name="connsiteX7" fmla="*/ 1524998 w 2150240"/>
                <a:gd name="connsiteY7" fmla="*/ 345288 h 2146167"/>
                <a:gd name="connsiteX8" fmla="*/ 1531348 w 2150240"/>
                <a:gd name="connsiteY8" fmla="*/ 354813 h 2146167"/>
                <a:gd name="connsiteX9" fmla="*/ 1550398 w 2150240"/>
                <a:gd name="connsiteY9" fmla="*/ 373863 h 2146167"/>
                <a:gd name="connsiteX10" fmla="*/ 1559923 w 2150240"/>
                <a:gd name="connsiteY10" fmla="*/ 383388 h 2146167"/>
                <a:gd name="connsiteX11" fmla="*/ 1569448 w 2150240"/>
                <a:gd name="connsiteY11" fmla="*/ 396088 h 2146167"/>
                <a:gd name="connsiteX12" fmla="*/ 1594848 w 2150240"/>
                <a:gd name="connsiteY12" fmla="*/ 415138 h 2146167"/>
                <a:gd name="connsiteX13" fmla="*/ 1632948 w 2150240"/>
                <a:gd name="connsiteY13" fmla="*/ 446888 h 2146167"/>
                <a:gd name="connsiteX14" fmla="*/ 1648823 w 2150240"/>
                <a:gd name="connsiteY14" fmla="*/ 465938 h 2146167"/>
                <a:gd name="connsiteX15" fmla="*/ 1661523 w 2150240"/>
                <a:gd name="connsiteY15" fmla="*/ 475463 h 2146167"/>
                <a:gd name="connsiteX16" fmla="*/ 1683748 w 2150240"/>
                <a:gd name="connsiteY16" fmla="*/ 497688 h 2146167"/>
                <a:gd name="connsiteX17" fmla="*/ 1702798 w 2150240"/>
                <a:gd name="connsiteY17" fmla="*/ 516738 h 2146167"/>
                <a:gd name="connsiteX18" fmla="*/ 1712323 w 2150240"/>
                <a:gd name="connsiteY18" fmla="*/ 526263 h 2146167"/>
                <a:gd name="connsiteX19" fmla="*/ 1744073 w 2150240"/>
                <a:gd name="connsiteY19" fmla="*/ 551663 h 2146167"/>
                <a:gd name="connsiteX20" fmla="*/ 1753598 w 2150240"/>
                <a:gd name="connsiteY20" fmla="*/ 561188 h 2146167"/>
                <a:gd name="connsiteX21" fmla="*/ 1766298 w 2150240"/>
                <a:gd name="connsiteY21" fmla="*/ 570713 h 2146167"/>
                <a:gd name="connsiteX22" fmla="*/ 1782173 w 2150240"/>
                <a:gd name="connsiteY22" fmla="*/ 586588 h 2146167"/>
                <a:gd name="connsiteX23" fmla="*/ 1813923 w 2150240"/>
                <a:gd name="connsiteY23" fmla="*/ 611988 h 2146167"/>
                <a:gd name="connsiteX24" fmla="*/ 1817098 w 2150240"/>
                <a:gd name="connsiteY24" fmla="*/ 621513 h 2146167"/>
                <a:gd name="connsiteX25" fmla="*/ 1842498 w 2150240"/>
                <a:gd name="connsiteY25" fmla="*/ 643738 h 2146167"/>
                <a:gd name="connsiteX26" fmla="*/ 1893298 w 2150240"/>
                <a:gd name="connsiteY26" fmla="*/ 700888 h 2146167"/>
                <a:gd name="connsiteX27" fmla="*/ 2090148 w 2150240"/>
                <a:gd name="connsiteY27" fmla="*/ 951713 h 2146167"/>
                <a:gd name="connsiteX28" fmla="*/ 2131423 w 2150240"/>
                <a:gd name="connsiteY28" fmla="*/ 1027913 h 2146167"/>
                <a:gd name="connsiteX29" fmla="*/ 2121898 w 2150240"/>
                <a:gd name="connsiteY29" fmla="*/ 1227938 h 2146167"/>
                <a:gd name="connsiteX30" fmla="*/ 1848848 w 2150240"/>
                <a:gd name="connsiteY30" fmla="*/ 1542263 h 2146167"/>
                <a:gd name="connsiteX31" fmla="*/ 1810748 w 2150240"/>
                <a:gd name="connsiteY31" fmla="*/ 1574013 h 2146167"/>
                <a:gd name="connsiteX32" fmla="*/ 1718673 w 2150240"/>
                <a:gd name="connsiteY32" fmla="*/ 1662913 h 2146167"/>
                <a:gd name="connsiteX33" fmla="*/ 1709148 w 2150240"/>
                <a:gd name="connsiteY33" fmla="*/ 1675613 h 2146167"/>
                <a:gd name="connsiteX34" fmla="*/ 1680573 w 2150240"/>
                <a:gd name="connsiteY34" fmla="*/ 1707363 h 2146167"/>
                <a:gd name="connsiteX35" fmla="*/ 1658348 w 2150240"/>
                <a:gd name="connsiteY35" fmla="*/ 1735938 h 2146167"/>
                <a:gd name="connsiteX36" fmla="*/ 1623423 w 2150240"/>
                <a:gd name="connsiteY36" fmla="*/ 1770863 h 2146167"/>
                <a:gd name="connsiteX37" fmla="*/ 1569448 w 2150240"/>
                <a:gd name="connsiteY37" fmla="*/ 1831188 h 2146167"/>
                <a:gd name="connsiteX38" fmla="*/ 1559923 w 2150240"/>
                <a:gd name="connsiteY38" fmla="*/ 1843888 h 2146167"/>
                <a:gd name="connsiteX39" fmla="*/ 1547223 w 2150240"/>
                <a:gd name="connsiteY39" fmla="*/ 1853413 h 2146167"/>
                <a:gd name="connsiteX40" fmla="*/ 1524998 w 2150240"/>
                <a:gd name="connsiteY40" fmla="*/ 1872463 h 2146167"/>
                <a:gd name="connsiteX41" fmla="*/ 1464673 w 2150240"/>
                <a:gd name="connsiteY41" fmla="*/ 1935963 h 2146167"/>
                <a:gd name="connsiteX42" fmla="*/ 1455148 w 2150240"/>
                <a:gd name="connsiteY42" fmla="*/ 1948663 h 2146167"/>
                <a:gd name="connsiteX43" fmla="*/ 1445623 w 2150240"/>
                <a:gd name="connsiteY43" fmla="*/ 1958188 h 2146167"/>
                <a:gd name="connsiteX44" fmla="*/ 1423398 w 2150240"/>
                <a:gd name="connsiteY44" fmla="*/ 1983588 h 2146167"/>
                <a:gd name="connsiteX45" fmla="*/ 1391648 w 2150240"/>
                <a:gd name="connsiteY45" fmla="*/ 2012163 h 2146167"/>
                <a:gd name="connsiteX46" fmla="*/ 1356723 w 2150240"/>
                <a:gd name="connsiteY46" fmla="*/ 2028038 h 2146167"/>
                <a:gd name="connsiteX47" fmla="*/ 1331323 w 2150240"/>
                <a:gd name="connsiteY47" fmla="*/ 2043913 h 2146167"/>
                <a:gd name="connsiteX48" fmla="*/ 1226548 w 2150240"/>
                <a:gd name="connsiteY48" fmla="*/ 2101063 h 2146167"/>
                <a:gd name="connsiteX49" fmla="*/ 1102723 w 2150240"/>
                <a:gd name="connsiteY49" fmla="*/ 2145513 h 2146167"/>
                <a:gd name="connsiteX50" fmla="*/ 928098 w 2150240"/>
                <a:gd name="connsiteY50" fmla="*/ 2126463 h 2146167"/>
                <a:gd name="connsiteX51" fmla="*/ 886823 w 2150240"/>
                <a:gd name="connsiteY51" fmla="*/ 2110588 h 2146167"/>
                <a:gd name="connsiteX52" fmla="*/ 845548 w 2150240"/>
                <a:gd name="connsiteY52" fmla="*/ 2091538 h 2146167"/>
                <a:gd name="connsiteX53" fmla="*/ 731248 w 2150240"/>
                <a:gd name="connsiteY53" fmla="*/ 1989938 h 2146167"/>
                <a:gd name="connsiteX54" fmla="*/ 715373 w 2150240"/>
                <a:gd name="connsiteY54" fmla="*/ 1974063 h 2146167"/>
                <a:gd name="connsiteX55" fmla="*/ 699498 w 2150240"/>
                <a:gd name="connsiteY55" fmla="*/ 1961363 h 2146167"/>
                <a:gd name="connsiteX56" fmla="*/ 680448 w 2150240"/>
                <a:gd name="connsiteY56" fmla="*/ 1942313 h 2146167"/>
                <a:gd name="connsiteX57" fmla="*/ 601073 w 2150240"/>
                <a:gd name="connsiteY57" fmla="*/ 1862938 h 2146167"/>
                <a:gd name="connsiteX58" fmla="*/ 578848 w 2150240"/>
                <a:gd name="connsiteY58" fmla="*/ 1837538 h 2146167"/>
                <a:gd name="connsiteX59" fmla="*/ 537573 w 2150240"/>
                <a:gd name="connsiteY59" fmla="*/ 1796263 h 2146167"/>
                <a:gd name="connsiteX60" fmla="*/ 499473 w 2150240"/>
                <a:gd name="connsiteY60" fmla="*/ 1761338 h 2146167"/>
                <a:gd name="connsiteX61" fmla="*/ 470898 w 2150240"/>
                <a:gd name="connsiteY61" fmla="*/ 1726413 h 2146167"/>
                <a:gd name="connsiteX62" fmla="*/ 413748 w 2150240"/>
                <a:gd name="connsiteY62" fmla="*/ 1678788 h 2146167"/>
                <a:gd name="connsiteX63" fmla="*/ 118473 w 2150240"/>
                <a:gd name="connsiteY63" fmla="*/ 1396213 h 2146167"/>
                <a:gd name="connsiteX64" fmla="*/ 83548 w 2150240"/>
                <a:gd name="connsiteY64" fmla="*/ 1348588 h 2146167"/>
                <a:gd name="connsiteX65" fmla="*/ 64498 w 2150240"/>
                <a:gd name="connsiteY65" fmla="*/ 1323188 h 2146167"/>
                <a:gd name="connsiteX66" fmla="*/ 35923 w 2150240"/>
                <a:gd name="connsiteY66" fmla="*/ 1262863 h 2146167"/>
                <a:gd name="connsiteX67" fmla="*/ 26398 w 2150240"/>
                <a:gd name="connsiteY67" fmla="*/ 1227938 h 2146167"/>
                <a:gd name="connsiteX68" fmla="*/ 20048 w 2150240"/>
                <a:gd name="connsiteY68" fmla="*/ 1205713 h 2146167"/>
                <a:gd name="connsiteX69" fmla="*/ 16873 w 2150240"/>
                <a:gd name="connsiteY69" fmla="*/ 1189838 h 2146167"/>
                <a:gd name="connsiteX70" fmla="*/ 7348 w 2150240"/>
                <a:gd name="connsiteY70" fmla="*/ 1151738 h 2146167"/>
                <a:gd name="connsiteX71" fmla="*/ 998 w 2150240"/>
                <a:gd name="connsiteY71" fmla="*/ 1069188 h 2146167"/>
                <a:gd name="connsiteX72" fmla="*/ 10523 w 2150240"/>
                <a:gd name="connsiteY72" fmla="*/ 939013 h 2146167"/>
                <a:gd name="connsiteX73" fmla="*/ 35923 w 2150240"/>
                <a:gd name="connsiteY73" fmla="*/ 891388 h 2146167"/>
                <a:gd name="connsiteX74" fmla="*/ 51798 w 2150240"/>
                <a:gd name="connsiteY74" fmla="*/ 862813 h 2146167"/>
                <a:gd name="connsiteX75" fmla="*/ 83548 w 2150240"/>
                <a:gd name="connsiteY75" fmla="*/ 818363 h 2146167"/>
                <a:gd name="connsiteX76" fmla="*/ 99423 w 2150240"/>
                <a:gd name="connsiteY76" fmla="*/ 799313 h 2146167"/>
                <a:gd name="connsiteX77" fmla="*/ 308973 w 2150240"/>
                <a:gd name="connsiteY77" fmla="*/ 580238 h 2146167"/>
                <a:gd name="connsiteX78" fmla="*/ 366123 w 2150240"/>
                <a:gd name="connsiteY78" fmla="*/ 519913 h 2146167"/>
                <a:gd name="connsiteX79" fmla="*/ 445498 w 2150240"/>
                <a:gd name="connsiteY79" fmla="*/ 434188 h 2146167"/>
                <a:gd name="connsiteX80" fmla="*/ 493123 w 2150240"/>
                <a:gd name="connsiteY80" fmla="*/ 389738 h 2146167"/>
                <a:gd name="connsiteX81" fmla="*/ 712198 w 2150240"/>
                <a:gd name="connsiteY81" fmla="*/ 192888 h 2146167"/>
                <a:gd name="connsiteX82" fmla="*/ 750298 w 2150240"/>
                <a:gd name="connsiteY82" fmla="*/ 167488 h 2146167"/>
                <a:gd name="connsiteX83" fmla="*/ 785223 w 2150240"/>
                <a:gd name="connsiteY83" fmla="*/ 145263 h 2146167"/>
                <a:gd name="connsiteX84" fmla="*/ 1036048 w 2150240"/>
                <a:gd name="connsiteY84" fmla="*/ 2388 h 2146167"/>
                <a:gd name="connsiteX0" fmla="*/ 1036048 w 2150240"/>
                <a:gd name="connsiteY0" fmla="*/ 2388 h 2146167"/>
                <a:gd name="connsiteX1" fmla="*/ 1239248 w 2150240"/>
                <a:gd name="connsiteY1" fmla="*/ 94463 h 2146167"/>
                <a:gd name="connsiteX2" fmla="*/ 1290048 w 2150240"/>
                <a:gd name="connsiteY2" fmla="*/ 129388 h 2146167"/>
                <a:gd name="connsiteX3" fmla="*/ 1455148 w 2150240"/>
                <a:gd name="connsiteY3" fmla="*/ 275438 h 2146167"/>
                <a:gd name="connsiteX4" fmla="*/ 1499598 w 2150240"/>
                <a:gd name="connsiteY4" fmla="*/ 316713 h 2146167"/>
                <a:gd name="connsiteX5" fmla="*/ 1512298 w 2150240"/>
                <a:gd name="connsiteY5" fmla="*/ 332588 h 2146167"/>
                <a:gd name="connsiteX6" fmla="*/ 1524998 w 2150240"/>
                <a:gd name="connsiteY6" fmla="*/ 345288 h 2146167"/>
                <a:gd name="connsiteX7" fmla="*/ 1531348 w 2150240"/>
                <a:gd name="connsiteY7" fmla="*/ 354813 h 2146167"/>
                <a:gd name="connsiteX8" fmla="*/ 1550398 w 2150240"/>
                <a:gd name="connsiteY8" fmla="*/ 373863 h 2146167"/>
                <a:gd name="connsiteX9" fmla="*/ 1559923 w 2150240"/>
                <a:gd name="connsiteY9" fmla="*/ 383388 h 2146167"/>
                <a:gd name="connsiteX10" fmla="*/ 1569448 w 2150240"/>
                <a:gd name="connsiteY10" fmla="*/ 396088 h 2146167"/>
                <a:gd name="connsiteX11" fmla="*/ 1594848 w 2150240"/>
                <a:gd name="connsiteY11" fmla="*/ 415138 h 2146167"/>
                <a:gd name="connsiteX12" fmla="*/ 1632948 w 2150240"/>
                <a:gd name="connsiteY12" fmla="*/ 446888 h 2146167"/>
                <a:gd name="connsiteX13" fmla="*/ 1648823 w 2150240"/>
                <a:gd name="connsiteY13" fmla="*/ 465938 h 2146167"/>
                <a:gd name="connsiteX14" fmla="*/ 1661523 w 2150240"/>
                <a:gd name="connsiteY14" fmla="*/ 475463 h 2146167"/>
                <a:gd name="connsiteX15" fmla="*/ 1683748 w 2150240"/>
                <a:gd name="connsiteY15" fmla="*/ 497688 h 2146167"/>
                <a:gd name="connsiteX16" fmla="*/ 1702798 w 2150240"/>
                <a:gd name="connsiteY16" fmla="*/ 516738 h 2146167"/>
                <a:gd name="connsiteX17" fmla="*/ 1712323 w 2150240"/>
                <a:gd name="connsiteY17" fmla="*/ 526263 h 2146167"/>
                <a:gd name="connsiteX18" fmla="*/ 1744073 w 2150240"/>
                <a:gd name="connsiteY18" fmla="*/ 551663 h 2146167"/>
                <a:gd name="connsiteX19" fmla="*/ 1753598 w 2150240"/>
                <a:gd name="connsiteY19" fmla="*/ 561188 h 2146167"/>
                <a:gd name="connsiteX20" fmla="*/ 1766298 w 2150240"/>
                <a:gd name="connsiteY20" fmla="*/ 570713 h 2146167"/>
                <a:gd name="connsiteX21" fmla="*/ 1782173 w 2150240"/>
                <a:gd name="connsiteY21" fmla="*/ 586588 h 2146167"/>
                <a:gd name="connsiteX22" fmla="*/ 1813923 w 2150240"/>
                <a:gd name="connsiteY22" fmla="*/ 611988 h 2146167"/>
                <a:gd name="connsiteX23" fmla="*/ 1817098 w 2150240"/>
                <a:gd name="connsiteY23" fmla="*/ 621513 h 2146167"/>
                <a:gd name="connsiteX24" fmla="*/ 1842498 w 2150240"/>
                <a:gd name="connsiteY24" fmla="*/ 643738 h 2146167"/>
                <a:gd name="connsiteX25" fmla="*/ 1893298 w 2150240"/>
                <a:gd name="connsiteY25" fmla="*/ 700888 h 2146167"/>
                <a:gd name="connsiteX26" fmla="*/ 2090148 w 2150240"/>
                <a:gd name="connsiteY26" fmla="*/ 951713 h 2146167"/>
                <a:gd name="connsiteX27" fmla="*/ 2131423 w 2150240"/>
                <a:gd name="connsiteY27" fmla="*/ 1027913 h 2146167"/>
                <a:gd name="connsiteX28" fmla="*/ 2121898 w 2150240"/>
                <a:gd name="connsiteY28" fmla="*/ 1227938 h 2146167"/>
                <a:gd name="connsiteX29" fmla="*/ 1848848 w 2150240"/>
                <a:gd name="connsiteY29" fmla="*/ 1542263 h 2146167"/>
                <a:gd name="connsiteX30" fmla="*/ 1810748 w 2150240"/>
                <a:gd name="connsiteY30" fmla="*/ 1574013 h 2146167"/>
                <a:gd name="connsiteX31" fmla="*/ 1718673 w 2150240"/>
                <a:gd name="connsiteY31" fmla="*/ 1662913 h 2146167"/>
                <a:gd name="connsiteX32" fmla="*/ 1709148 w 2150240"/>
                <a:gd name="connsiteY32" fmla="*/ 1675613 h 2146167"/>
                <a:gd name="connsiteX33" fmla="*/ 1680573 w 2150240"/>
                <a:gd name="connsiteY33" fmla="*/ 1707363 h 2146167"/>
                <a:gd name="connsiteX34" fmla="*/ 1658348 w 2150240"/>
                <a:gd name="connsiteY34" fmla="*/ 1735938 h 2146167"/>
                <a:gd name="connsiteX35" fmla="*/ 1623423 w 2150240"/>
                <a:gd name="connsiteY35" fmla="*/ 1770863 h 2146167"/>
                <a:gd name="connsiteX36" fmla="*/ 1569448 w 2150240"/>
                <a:gd name="connsiteY36" fmla="*/ 1831188 h 2146167"/>
                <a:gd name="connsiteX37" fmla="*/ 1559923 w 2150240"/>
                <a:gd name="connsiteY37" fmla="*/ 1843888 h 2146167"/>
                <a:gd name="connsiteX38" fmla="*/ 1547223 w 2150240"/>
                <a:gd name="connsiteY38" fmla="*/ 1853413 h 2146167"/>
                <a:gd name="connsiteX39" fmla="*/ 1524998 w 2150240"/>
                <a:gd name="connsiteY39" fmla="*/ 1872463 h 2146167"/>
                <a:gd name="connsiteX40" fmla="*/ 1464673 w 2150240"/>
                <a:gd name="connsiteY40" fmla="*/ 1935963 h 2146167"/>
                <a:gd name="connsiteX41" fmla="*/ 1455148 w 2150240"/>
                <a:gd name="connsiteY41" fmla="*/ 1948663 h 2146167"/>
                <a:gd name="connsiteX42" fmla="*/ 1445623 w 2150240"/>
                <a:gd name="connsiteY42" fmla="*/ 1958188 h 2146167"/>
                <a:gd name="connsiteX43" fmla="*/ 1423398 w 2150240"/>
                <a:gd name="connsiteY43" fmla="*/ 1983588 h 2146167"/>
                <a:gd name="connsiteX44" fmla="*/ 1391648 w 2150240"/>
                <a:gd name="connsiteY44" fmla="*/ 2012163 h 2146167"/>
                <a:gd name="connsiteX45" fmla="*/ 1356723 w 2150240"/>
                <a:gd name="connsiteY45" fmla="*/ 2028038 h 2146167"/>
                <a:gd name="connsiteX46" fmla="*/ 1331323 w 2150240"/>
                <a:gd name="connsiteY46" fmla="*/ 2043913 h 2146167"/>
                <a:gd name="connsiteX47" fmla="*/ 1226548 w 2150240"/>
                <a:gd name="connsiteY47" fmla="*/ 2101063 h 2146167"/>
                <a:gd name="connsiteX48" fmla="*/ 1102723 w 2150240"/>
                <a:gd name="connsiteY48" fmla="*/ 2145513 h 2146167"/>
                <a:gd name="connsiteX49" fmla="*/ 928098 w 2150240"/>
                <a:gd name="connsiteY49" fmla="*/ 2126463 h 2146167"/>
                <a:gd name="connsiteX50" fmla="*/ 886823 w 2150240"/>
                <a:gd name="connsiteY50" fmla="*/ 2110588 h 2146167"/>
                <a:gd name="connsiteX51" fmla="*/ 845548 w 2150240"/>
                <a:gd name="connsiteY51" fmla="*/ 2091538 h 2146167"/>
                <a:gd name="connsiteX52" fmla="*/ 731248 w 2150240"/>
                <a:gd name="connsiteY52" fmla="*/ 1989938 h 2146167"/>
                <a:gd name="connsiteX53" fmla="*/ 715373 w 2150240"/>
                <a:gd name="connsiteY53" fmla="*/ 1974063 h 2146167"/>
                <a:gd name="connsiteX54" fmla="*/ 699498 w 2150240"/>
                <a:gd name="connsiteY54" fmla="*/ 1961363 h 2146167"/>
                <a:gd name="connsiteX55" fmla="*/ 680448 w 2150240"/>
                <a:gd name="connsiteY55" fmla="*/ 1942313 h 2146167"/>
                <a:gd name="connsiteX56" fmla="*/ 601073 w 2150240"/>
                <a:gd name="connsiteY56" fmla="*/ 1862938 h 2146167"/>
                <a:gd name="connsiteX57" fmla="*/ 578848 w 2150240"/>
                <a:gd name="connsiteY57" fmla="*/ 1837538 h 2146167"/>
                <a:gd name="connsiteX58" fmla="*/ 537573 w 2150240"/>
                <a:gd name="connsiteY58" fmla="*/ 1796263 h 2146167"/>
                <a:gd name="connsiteX59" fmla="*/ 499473 w 2150240"/>
                <a:gd name="connsiteY59" fmla="*/ 1761338 h 2146167"/>
                <a:gd name="connsiteX60" fmla="*/ 470898 w 2150240"/>
                <a:gd name="connsiteY60" fmla="*/ 1726413 h 2146167"/>
                <a:gd name="connsiteX61" fmla="*/ 413748 w 2150240"/>
                <a:gd name="connsiteY61" fmla="*/ 1678788 h 2146167"/>
                <a:gd name="connsiteX62" fmla="*/ 118473 w 2150240"/>
                <a:gd name="connsiteY62" fmla="*/ 1396213 h 2146167"/>
                <a:gd name="connsiteX63" fmla="*/ 83548 w 2150240"/>
                <a:gd name="connsiteY63" fmla="*/ 1348588 h 2146167"/>
                <a:gd name="connsiteX64" fmla="*/ 64498 w 2150240"/>
                <a:gd name="connsiteY64" fmla="*/ 1323188 h 2146167"/>
                <a:gd name="connsiteX65" fmla="*/ 35923 w 2150240"/>
                <a:gd name="connsiteY65" fmla="*/ 1262863 h 2146167"/>
                <a:gd name="connsiteX66" fmla="*/ 26398 w 2150240"/>
                <a:gd name="connsiteY66" fmla="*/ 1227938 h 2146167"/>
                <a:gd name="connsiteX67" fmla="*/ 20048 w 2150240"/>
                <a:gd name="connsiteY67" fmla="*/ 1205713 h 2146167"/>
                <a:gd name="connsiteX68" fmla="*/ 16873 w 2150240"/>
                <a:gd name="connsiteY68" fmla="*/ 1189838 h 2146167"/>
                <a:gd name="connsiteX69" fmla="*/ 7348 w 2150240"/>
                <a:gd name="connsiteY69" fmla="*/ 1151738 h 2146167"/>
                <a:gd name="connsiteX70" fmla="*/ 998 w 2150240"/>
                <a:gd name="connsiteY70" fmla="*/ 1069188 h 2146167"/>
                <a:gd name="connsiteX71" fmla="*/ 10523 w 2150240"/>
                <a:gd name="connsiteY71" fmla="*/ 939013 h 2146167"/>
                <a:gd name="connsiteX72" fmla="*/ 35923 w 2150240"/>
                <a:gd name="connsiteY72" fmla="*/ 891388 h 2146167"/>
                <a:gd name="connsiteX73" fmla="*/ 51798 w 2150240"/>
                <a:gd name="connsiteY73" fmla="*/ 862813 h 2146167"/>
                <a:gd name="connsiteX74" fmla="*/ 83548 w 2150240"/>
                <a:gd name="connsiteY74" fmla="*/ 818363 h 2146167"/>
                <a:gd name="connsiteX75" fmla="*/ 99423 w 2150240"/>
                <a:gd name="connsiteY75" fmla="*/ 799313 h 2146167"/>
                <a:gd name="connsiteX76" fmla="*/ 308973 w 2150240"/>
                <a:gd name="connsiteY76" fmla="*/ 580238 h 2146167"/>
                <a:gd name="connsiteX77" fmla="*/ 366123 w 2150240"/>
                <a:gd name="connsiteY77" fmla="*/ 519913 h 2146167"/>
                <a:gd name="connsiteX78" fmla="*/ 445498 w 2150240"/>
                <a:gd name="connsiteY78" fmla="*/ 434188 h 2146167"/>
                <a:gd name="connsiteX79" fmla="*/ 493123 w 2150240"/>
                <a:gd name="connsiteY79" fmla="*/ 389738 h 2146167"/>
                <a:gd name="connsiteX80" fmla="*/ 712198 w 2150240"/>
                <a:gd name="connsiteY80" fmla="*/ 192888 h 2146167"/>
                <a:gd name="connsiteX81" fmla="*/ 750298 w 2150240"/>
                <a:gd name="connsiteY81" fmla="*/ 167488 h 2146167"/>
                <a:gd name="connsiteX82" fmla="*/ 785223 w 2150240"/>
                <a:gd name="connsiteY82" fmla="*/ 145263 h 2146167"/>
                <a:gd name="connsiteX83" fmla="*/ 1036048 w 2150240"/>
                <a:gd name="connsiteY83" fmla="*/ 2388 h 2146167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3087 h 2146866"/>
                <a:gd name="connsiteX1" fmla="*/ 1239248 w 2150240"/>
                <a:gd name="connsiteY1" fmla="*/ 95162 h 2146866"/>
                <a:gd name="connsiteX2" fmla="*/ 1455148 w 2150240"/>
                <a:gd name="connsiteY2" fmla="*/ 276137 h 2146866"/>
                <a:gd name="connsiteX3" fmla="*/ 1499598 w 2150240"/>
                <a:gd name="connsiteY3" fmla="*/ 317412 h 2146866"/>
                <a:gd name="connsiteX4" fmla="*/ 1512298 w 2150240"/>
                <a:gd name="connsiteY4" fmla="*/ 333287 h 2146866"/>
                <a:gd name="connsiteX5" fmla="*/ 1524998 w 2150240"/>
                <a:gd name="connsiteY5" fmla="*/ 345987 h 2146866"/>
                <a:gd name="connsiteX6" fmla="*/ 1531348 w 2150240"/>
                <a:gd name="connsiteY6" fmla="*/ 355512 h 2146866"/>
                <a:gd name="connsiteX7" fmla="*/ 1550398 w 2150240"/>
                <a:gd name="connsiteY7" fmla="*/ 374562 h 2146866"/>
                <a:gd name="connsiteX8" fmla="*/ 1559923 w 2150240"/>
                <a:gd name="connsiteY8" fmla="*/ 384087 h 2146866"/>
                <a:gd name="connsiteX9" fmla="*/ 1569448 w 2150240"/>
                <a:gd name="connsiteY9" fmla="*/ 396787 h 2146866"/>
                <a:gd name="connsiteX10" fmla="*/ 1594848 w 2150240"/>
                <a:gd name="connsiteY10" fmla="*/ 415837 h 2146866"/>
                <a:gd name="connsiteX11" fmla="*/ 1632948 w 2150240"/>
                <a:gd name="connsiteY11" fmla="*/ 447587 h 2146866"/>
                <a:gd name="connsiteX12" fmla="*/ 1648823 w 2150240"/>
                <a:gd name="connsiteY12" fmla="*/ 466637 h 2146866"/>
                <a:gd name="connsiteX13" fmla="*/ 1661523 w 2150240"/>
                <a:gd name="connsiteY13" fmla="*/ 476162 h 2146866"/>
                <a:gd name="connsiteX14" fmla="*/ 1683748 w 2150240"/>
                <a:gd name="connsiteY14" fmla="*/ 498387 h 2146866"/>
                <a:gd name="connsiteX15" fmla="*/ 1702798 w 2150240"/>
                <a:gd name="connsiteY15" fmla="*/ 517437 h 2146866"/>
                <a:gd name="connsiteX16" fmla="*/ 1712323 w 2150240"/>
                <a:gd name="connsiteY16" fmla="*/ 526962 h 2146866"/>
                <a:gd name="connsiteX17" fmla="*/ 1744073 w 2150240"/>
                <a:gd name="connsiteY17" fmla="*/ 552362 h 2146866"/>
                <a:gd name="connsiteX18" fmla="*/ 1753598 w 2150240"/>
                <a:gd name="connsiteY18" fmla="*/ 561887 h 2146866"/>
                <a:gd name="connsiteX19" fmla="*/ 1766298 w 2150240"/>
                <a:gd name="connsiteY19" fmla="*/ 571412 h 2146866"/>
                <a:gd name="connsiteX20" fmla="*/ 1782173 w 2150240"/>
                <a:gd name="connsiteY20" fmla="*/ 587287 h 2146866"/>
                <a:gd name="connsiteX21" fmla="*/ 1813923 w 2150240"/>
                <a:gd name="connsiteY21" fmla="*/ 612687 h 2146866"/>
                <a:gd name="connsiteX22" fmla="*/ 1817098 w 2150240"/>
                <a:gd name="connsiteY22" fmla="*/ 622212 h 2146866"/>
                <a:gd name="connsiteX23" fmla="*/ 1842498 w 2150240"/>
                <a:gd name="connsiteY23" fmla="*/ 644437 h 2146866"/>
                <a:gd name="connsiteX24" fmla="*/ 1893298 w 2150240"/>
                <a:gd name="connsiteY24" fmla="*/ 701587 h 2146866"/>
                <a:gd name="connsiteX25" fmla="*/ 2090148 w 2150240"/>
                <a:gd name="connsiteY25" fmla="*/ 952412 h 2146866"/>
                <a:gd name="connsiteX26" fmla="*/ 2131423 w 2150240"/>
                <a:gd name="connsiteY26" fmla="*/ 1028612 h 2146866"/>
                <a:gd name="connsiteX27" fmla="*/ 2121898 w 2150240"/>
                <a:gd name="connsiteY27" fmla="*/ 1228637 h 2146866"/>
                <a:gd name="connsiteX28" fmla="*/ 1848848 w 2150240"/>
                <a:gd name="connsiteY28" fmla="*/ 1542962 h 2146866"/>
                <a:gd name="connsiteX29" fmla="*/ 1810748 w 2150240"/>
                <a:gd name="connsiteY29" fmla="*/ 1574712 h 2146866"/>
                <a:gd name="connsiteX30" fmla="*/ 1718673 w 2150240"/>
                <a:gd name="connsiteY30" fmla="*/ 1663612 h 2146866"/>
                <a:gd name="connsiteX31" fmla="*/ 1709148 w 2150240"/>
                <a:gd name="connsiteY31" fmla="*/ 1676312 h 2146866"/>
                <a:gd name="connsiteX32" fmla="*/ 1680573 w 2150240"/>
                <a:gd name="connsiteY32" fmla="*/ 1708062 h 2146866"/>
                <a:gd name="connsiteX33" fmla="*/ 1658348 w 2150240"/>
                <a:gd name="connsiteY33" fmla="*/ 1736637 h 2146866"/>
                <a:gd name="connsiteX34" fmla="*/ 1623423 w 2150240"/>
                <a:gd name="connsiteY34" fmla="*/ 1771562 h 2146866"/>
                <a:gd name="connsiteX35" fmla="*/ 1569448 w 2150240"/>
                <a:gd name="connsiteY35" fmla="*/ 1831887 h 2146866"/>
                <a:gd name="connsiteX36" fmla="*/ 1559923 w 2150240"/>
                <a:gd name="connsiteY36" fmla="*/ 1844587 h 2146866"/>
                <a:gd name="connsiteX37" fmla="*/ 1547223 w 2150240"/>
                <a:gd name="connsiteY37" fmla="*/ 1854112 h 2146866"/>
                <a:gd name="connsiteX38" fmla="*/ 1524998 w 2150240"/>
                <a:gd name="connsiteY38" fmla="*/ 1873162 h 2146866"/>
                <a:gd name="connsiteX39" fmla="*/ 1464673 w 2150240"/>
                <a:gd name="connsiteY39" fmla="*/ 1936662 h 2146866"/>
                <a:gd name="connsiteX40" fmla="*/ 1455148 w 2150240"/>
                <a:gd name="connsiteY40" fmla="*/ 1949362 h 2146866"/>
                <a:gd name="connsiteX41" fmla="*/ 1445623 w 2150240"/>
                <a:gd name="connsiteY41" fmla="*/ 1958887 h 2146866"/>
                <a:gd name="connsiteX42" fmla="*/ 1423398 w 2150240"/>
                <a:gd name="connsiteY42" fmla="*/ 1984287 h 2146866"/>
                <a:gd name="connsiteX43" fmla="*/ 1391648 w 2150240"/>
                <a:gd name="connsiteY43" fmla="*/ 2012862 h 2146866"/>
                <a:gd name="connsiteX44" fmla="*/ 1356723 w 2150240"/>
                <a:gd name="connsiteY44" fmla="*/ 2028737 h 2146866"/>
                <a:gd name="connsiteX45" fmla="*/ 1331323 w 2150240"/>
                <a:gd name="connsiteY45" fmla="*/ 2044612 h 2146866"/>
                <a:gd name="connsiteX46" fmla="*/ 1226548 w 2150240"/>
                <a:gd name="connsiteY46" fmla="*/ 2101762 h 2146866"/>
                <a:gd name="connsiteX47" fmla="*/ 1102723 w 2150240"/>
                <a:gd name="connsiteY47" fmla="*/ 2146212 h 2146866"/>
                <a:gd name="connsiteX48" fmla="*/ 928098 w 2150240"/>
                <a:gd name="connsiteY48" fmla="*/ 2127162 h 2146866"/>
                <a:gd name="connsiteX49" fmla="*/ 886823 w 2150240"/>
                <a:gd name="connsiteY49" fmla="*/ 2111287 h 2146866"/>
                <a:gd name="connsiteX50" fmla="*/ 845548 w 2150240"/>
                <a:gd name="connsiteY50" fmla="*/ 2092237 h 2146866"/>
                <a:gd name="connsiteX51" fmla="*/ 731248 w 2150240"/>
                <a:gd name="connsiteY51" fmla="*/ 1990637 h 2146866"/>
                <a:gd name="connsiteX52" fmla="*/ 715373 w 2150240"/>
                <a:gd name="connsiteY52" fmla="*/ 1974762 h 2146866"/>
                <a:gd name="connsiteX53" fmla="*/ 699498 w 2150240"/>
                <a:gd name="connsiteY53" fmla="*/ 1962062 h 2146866"/>
                <a:gd name="connsiteX54" fmla="*/ 680448 w 2150240"/>
                <a:gd name="connsiteY54" fmla="*/ 1943012 h 2146866"/>
                <a:gd name="connsiteX55" fmla="*/ 601073 w 2150240"/>
                <a:gd name="connsiteY55" fmla="*/ 1863637 h 2146866"/>
                <a:gd name="connsiteX56" fmla="*/ 578848 w 2150240"/>
                <a:gd name="connsiteY56" fmla="*/ 1838237 h 2146866"/>
                <a:gd name="connsiteX57" fmla="*/ 537573 w 2150240"/>
                <a:gd name="connsiteY57" fmla="*/ 1796962 h 2146866"/>
                <a:gd name="connsiteX58" fmla="*/ 499473 w 2150240"/>
                <a:gd name="connsiteY58" fmla="*/ 1762037 h 2146866"/>
                <a:gd name="connsiteX59" fmla="*/ 470898 w 2150240"/>
                <a:gd name="connsiteY59" fmla="*/ 1727112 h 2146866"/>
                <a:gd name="connsiteX60" fmla="*/ 413748 w 2150240"/>
                <a:gd name="connsiteY60" fmla="*/ 1679487 h 2146866"/>
                <a:gd name="connsiteX61" fmla="*/ 118473 w 2150240"/>
                <a:gd name="connsiteY61" fmla="*/ 1396912 h 2146866"/>
                <a:gd name="connsiteX62" fmla="*/ 83548 w 2150240"/>
                <a:gd name="connsiteY62" fmla="*/ 1349287 h 2146866"/>
                <a:gd name="connsiteX63" fmla="*/ 64498 w 2150240"/>
                <a:gd name="connsiteY63" fmla="*/ 1323887 h 2146866"/>
                <a:gd name="connsiteX64" fmla="*/ 35923 w 2150240"/>
                <a:gd name="connsiteY64" fmla="*/ 1263562 h 2146866"/>
                <a:gd name="connsiteX65" fmla="*/ 26398 w 2150240"/>
                <a:gd name="connsiteY65" fmla="*/ 1228637 h 2146866"/>
                <a:gd name="connsiteX66" fmla="*/ 20048 w 2150240"/>
                <a:gd name="connsiteY66" fmla="*/ 1206412 h 2146866"/>
                <a:gd name="connsiteX67" fmla="*/ 16873 w 2150240"/>
                <a:gd name="connsiteY67" fmla="*/ 1190537 h 2146866"/>
                <a:gd name="connsiteX68" fmla="*/ 7348 w 2150240"/>
                <a:gd name="connsiteY68" fmla="*/ 1152437 h 2146866"/>
                <a:gd name="connsiteX69" fmla="*/ 998 w 2150240"/>
                <a:gd name="connsiteY69" fmla="*/ 1069887 h 2146866"/>
                <a:gd name="connsiteX70" fmla="*/ 10523 w 2150240"/>
                <a:gd name="connsiteY70" fmla="*/ 939712 h 2146866"/>
                <a:gd name="connsiteX71" fmla="*/ 35923 w 2150240"/>
                <a:gd name="connsiteY71" fmla="*/ 892087 h 2146866"/>
                <a:gd name="connsiteX72" fmla="*/ 51798 w 2150240"/>
                <a:gd name="connsiteY72" fmla="*/ 863512 h 2146866"/>
                <a:gd name="connsiteX73" fmla="*/ 83548 w 2150240"/>
                <a:gd name="connsiteY73" fmla="*/ 819062 h 2146866"/>
                <a:gd name="connsiteX74" fmla="*/ 99423 w 2150240"/>
                <a:gd name="connsiteY74" fmla="*/ 800012 h 2146866"/>
                <a:gd name="connsiteX75" fmla="*/ 308973 w 2150240"/>
                <a:gd name="connsiteY75" fmla="*/ 580937 h 2146866"/>
                <a:gd name="connsiteX76" fmla="*/ 366123 w 2150240"/>
                <a:gd name="connsiteY76" fmla="*/ 520612 h 2146866"/>
                <a:gd name="connsiteX77" fmla="*/ 445498 w 2150240"/>
                <a:gd name="connsiteY77" fmla="*/ 434887 h 2146866"/>
                <a:gd name="connsiteX78" fmla="*/ 493123 w 2150240"/>
                <a:gd name="connsiteY78" fmla="*/ 390437 h 2146866"/>
                <a:gd name="connsiteX79" fmla="*/ 712198 w 2150240"/>
                <a:gd name="connsiteY79" fmla="*/ 193587 h 2146866"/>
                <a:gd name="connsiteX80" fmla="*/ 750298 w 2150240"/>
                <a:gd name="connsiteY80" fmla="*/ 168187 h 2146866"/>
                <a:gd name="connsiteX81" fmla="*/ 785223 w 2150240"/>
                <a:gd name="connsiteY81" fmla="*/ 145962 h 2146866"/>
                <a:gd name="connsiteX82" fmla="*/ 1036048 w 2150240"/>
                <a:gd name="connsiteY82" fmla="*/ 3087 h 2146866"/>
                <a:gd name="connsiteX0" fmla="*/ 1036048 w 2150240"/>
                <a:gd name="connsiteY0" fmla="*/ 110 h 2143889"/>
                <a:gd name="connsiteX1" fmla="*/ 1239248 w 2150240"/>
                <a:gd name="connsiteY1" fmla="*/ 92185 h 2143889"/>
                <a:gd name="connsiteX2" fmla="*/ 1455148 w 2150240"/>
                <a:gd name="connsiteY2" fmla="*/ 273160 h 2143889"/>
                <a:gd name="connsiteX3" fmla="*/ 1499598 w 2150240"/>
                <a:gd name="connsiteY3" fmla="*/ 314435 h 2143889"/>
                <a:gd name="connsiteX4" fmla="*/ 1512298 w 2150240"/>
                <a:gd name="connsiteY4" fmla="*/ 330310 h 2143889"/>
                <a:gd name="connsiteX5" fmla="*/ 1524998 w 2150240"/>
                <a:gd name="connsiteY5" fmla="*/ 343010 h 2143889"/>
                <a:gd name="connsiteX6" fmla="*/ 1531348 w 2150240"/>
                <a:gd name="connsiteY6" fmla="*/ 352535 h 2143889"/>
                <a:gd name="connsiteX7" fmla="*/ 1550398 w 2150240"/>
                <a:gd name="connsiteY7" fmla="*/ 371585 h 2143889"/>
                <a:gd name="connsiteX8" fmla="*/ 1559923 w 2150240"/>
                <a:gd name="connsiteY8" fmla="*/ 381110 h 2143889"/>
                <a:gd name="connsiteX9" fmla="*/ 1569448 w 2150240"/>
                <a:gd name="connsiteY9" fmla="*/ 393810 h 2143889"/>
                <a:gd name="connsiteX10" fmla="*/ 1594848 w 2150240"/>
                <a:gd name="connsiteY10" fmla="*/ 412860 h 2143889"/>
                <a:gd name="connsiteX11" fmla="*/ 1632948 w 2150240"/>
                <a:gd name="connsiteY11" fmla="*/ 444610 h 2143889"/>
                <a:gd name="connsiteX12" fmla="*/ 1648823 w 2150240"/>
                <a:gd name="connsiteY12" fmla="*/ 463660 h 2143889"/>
                <a:gd name="connsiteX13" fmla="*/ 1661523 w 2150240"/>
                <a:gd name="connsiteY13" fmla="*/ 473185 h 2143889"/>
                <a:gd name="connsiteX14" fmla="*/ 1683748 w 2150240"/>
                <a:gd name="connsiteY14" fmla="*/ 495410 h 2143889"/>
                <a:gd name="connsiteX15" fmla="*/ 1702798 w 2150240"/>
                <a:gd name="connsiteY15" fmla="*/ 514460 h 2143889"/>
                <a:gd name="connsiteX16" fmla="*/ 1712323 w 2150240"/>
                <a:gd name="connsiteY16" fmla="*/ 523985 h 2143889"/>
                <a:gd name="connsiteX17" fmla="*/ 1744073 w 2150240"/>
                <a:gd name="connsiteY17" fmla="*/ 549385 h 2143889"/>
                <a:gd name="connsiteX18" fmla="*/ 1753598 w 2150240"/>
                <a:gd name="connsiteY18" fmla="*/ 558910 h 2143889"/>
                <a:gd name="connsiteX19" fmla="*/ 1766298 w 2150240"/>
                <a:gd name="connsiteY19" fmla="*/ 568435 h 2143889"/>
                <a:gd name="connsiteX20" fmla="*/ 1782173 w 2150240"/>
                <a:gd name="connsiteY20" fmla="*/ 584310 h 2143889"/>
                <a:gd name="connsiteX21" fmla="*/ 1813923 w 2150240"/>
                <a:gd name="connsiteY21" fmla="*/ 609710 h 2143889"/>
                <a:gd name="connsiteX22" fmla="*/ 1817098 w 2150240"/>
                <a:gd name="connsiteY22" fmla="*/ 619235 h 2143889"/>
                <a:gd name="connsiteX23" fmla="*/ 1842498 w 2150240"/>
                <a:gd name="connsiteY23" fmla="*/ 641460 h 2143889"/>
                <a:gd name="connsiteX24" fmla="*/ 1893298 w 2150240"/>
                <a:gd name="connsiteY24" fmla="*/ 698610 h 2143889"/>
                <a:gd name="connsiteX25" fmla="*/ 2090148 w 2150240"/>
                <a:gd name="connsiteY25" fmla="*/ 949435 h 2143889"/>
                <a:gd name="connsiteX26" fmla="*/ 2131423 w 2150240"/>
                <a:gd name="connsiteY26" fmla="*/ 1025635 h 2143889"/>
                <a:gd name="connsiteX27" fmla="*/ 2121898 w 2150240"/>
                <a:gd name="connsiteY27" fmla="*/ 1225660 h 2143889"/>
                <a:gd name="connsiteX28" fmla="*/ 1848848 w 2150240"/>
                <a:gd name="connsiteY28" fmla="*/ 1539985 h 2143889"/>
                <a:gd name="connsiteX29" fmla="*/ 1810748 w 2150240"/>
                <a:gd name="connsiteY29" fmla="*/ 1571735 h 2143889"/>
                <a:gd name="connsiteX30" fmla="*/ 1718673 w 2150240"/>
                <a:gd name="connsiteY30" fmla="*/ 1660635 h 2143889"/>
                <a:gd name="connsiteX31" fmla="*/ 1709148 w 2150240"/>
                <a:gd name="connsiteY31" fmla="*/ 1673335 h 2143889"/>
                <a:gd name="connsiteX32" fmla="*/ 1680573 w 2150240"/>
                <a:gd name="connsiteY32" fmla="*/ 1705085 h 2143889"/>
                <a:gd name="connsiteX33" fmla="*/ 1658348 w 2150240"/>
                <a:gd name="connsiteY33" fmla="*/ 1733660 h 2143889"/>
                <a:gd name="connsiteX34" fmla="*/ 1623423 w 2150240"/>
                <a:gd name="connsiteY34" fmla="*/ 1768585 h 2143889"/>
                <a:gd name="connsiteX35" fmla="*/ 1569448 w 2150240"/>
                <a:gd name="connsiteY35" fmla="*/ 1828910 h 2143889"/>
                <a:gd name="connsiteX36" fmla="*/ 1559923 w 2150240"/>
                <a:gd name="connsiteY36" fmla="*/ 1841610 h 2143889"/>
                <a:gd name="connsiteX37" fmla="*/ 1547223 w 2150240"/>
                <a:gd name="connsiteY37" fmla="*/ 1851135 h 2143889"/>
                <a:gd name="connsiteX38" fmla="*/ 1524998 w 2150240"/>
                <a:gd name="connsiteY38" fmla="*/ 1870185 h 2143889"/>
                <a:gd name="connsiteX39" fmla="*/ 1464673 w 2150240"/>
                <a:gd name="connsiteY39" fmla="*/ 1933685 h 2143889"/>
                <a:gd name="connsiteX40" fmla="*/ 1455148 w 2150240"/>
                <a:gd name="connsiteY40" fmla="*/ 1946385 h 2143889"/>
                <a:gd name="connsiteX41" fmla="*/ 1445623 w 2150240"/>
                <a:gd name="connsiteY41" fmla="*/ 1955910 h 2143889"/>
                <a:gd name="connsiteX42" fmla="*/ 1423398 w 2150240"/>
                <a:gd name="connsiteY42" fmla="*/ 1981310 h 2143889"/>
                <a:gd name="connsiteX43" fmla="*/ 1391648 w 2150240"/>
                <a:gd name="connsiteY43" fmla="*/ 2009885 h 2143889"/>
                <a:gd name="connsiteX44" fmla="*/ 1356723 w 2150240"/>
                <a:gd name="connsiteY44" fmla="*/ 2025760 h 2143889"/>
                <a:gd name="connsiteX45" fmla="*/ 1331323 w 2150240"/>
                <a:gd name="connsiteY45" fmla="*/ 2041635 h 2143889"/>
                <a:gd name="connsiteX46" fmla="*/ 1226548 w 2150240"/>
                <a:gd name="connsiteY46" fmla="*/ 2098785 h 2143889"/>
                <a:gd name="connsiteX47" fmla="*/ 1102723 w 2150240"/>
                <a:gd name="connsiteY47" fmla="*/ 2143235 h 2143889"/>
                <a:gd name="connsiteX48" fmla="*/ 928098 w 2150240"/>
                <a:gd name="connsiteY48" fmla="*/ 2124185 h 2143889"/>
                <a:gd name="connsiteX49" fmla="*/ 886823 w 2150240"/>
                <a:gd name="connsiteY49" fmla="*/ 2108310 h 2143889"/>
                <a:gd name="connsiteX50" fmla="*/ 845548 w 2150240"/>
                <a:gd name="connsiteY50" fmla="*/ 2089260 h 2143889"/>
                <a:gd name="connsiteX51" fmla="*/ 731248 w 2150240"/>
                <a:gd name="connsiteY51" fmla="*/ 1987660 h 2143889"/>
                <a:gd name="connsiteX52" fmla="*/ 715373 w 2150240"/>
                <a:gd name="connsiteY52" fmla="*/ 1971785 h 2143889"/>
                <a:gd name="connsiteX53" fmla="*/ 699498 w 2150240"/>
                <a:gd name="connsiteY53" fmla="*/ 1959085 h 2143889"/>
                <a:gd name="connsiteX54" fmla="*/ 680448 w 2150240"/>
                <a:gd name="connsiteY54" fmla="*/ 1940035 h 2143889"/>
                <a:gd name="connsiteX55" fmla="*/ 601073 w 2150240"/>
                <a:gd name="connsiteY55" fmla="*/ 1860660 h 2143889"/>
                <a:gd name="connsiteX56" fmla="*/ 578848 w 2150240"/>
                <a:gd name="connsiteY56" fmla="*/ 1835260 h 2143889"/>
                <a:gd name="connsiteX57" fmla="*/ 537573 w 2150240"/>
                <a:gd name="connsiteY57" fmla="*/ 1793985 h 2143889"/>
                <a:gd name="connsiteX58" fmla="*/ 499473 w 2150240"/>
                <a:gd name="connsiteY58" fmla="*/ 1759060 h 2143889"/>
                <a:gd name="connsiteX59" fmla="*/ 470898 w 2150240"/>
                <a:gd name="connsiteY59" fmla="*/ 1724135 h 2143889"/>
                <a:gd name="connsiteX60" fmla="*/ 413748 w 2150240"/>
                <a:gd name="connsiteY60" fmla="*/ 1676510 h 2143889"/>
                <a:gd name="connsiteX61" fmla="*/ 118473 w 2150240"/>
                <a:gd name="connsiteY61" fmla="*/ 1393935 h 2143889"/>
                <a:gd name="connsiteX62" fmla="*/ 83548 w 2150240"/>
                <a:gd name="connsiteY62" fmla="*/ 1346310 h 2143889"/>
                <a:gd name="connsiteX63" fmla="*/ 64498 w 2150240"/>
                <a:gd name="connsiteY63" fmla="*/ 1320910 h 2143889"/>
                <a:gd name="connsiteX64" fmla="*/ 35923 w 2150240"/>
                <a:gd name="connsiteY64" fmla="*/ 1260585 h 2143889"/>
                <a:gd name="connsiteX65" fmla="*/ 26398 w 2150240"/>
                <a:gd name="connsiteY65" fmla="*/ 1225660 h 2143889"/>
                <a:gd name="connsiteX66" fmla="*/ 20048 w 2150240"/>
                <a:gd name="connsiteY66" fmla="*/ 1203435 h 2143889"/>
                <a:gd name="connsiteX67" fmla="*/ 16873 w 2150240"/>
                <a:gd name="connsiteY67" fmla="*/ 1187560 h 2143889"/>
                <a:gd name="connsiteX68" fmla="*/ 7348 w 2150240"/>
                <a:gd name="connsiteY68" fmla="*/ 1149460 h 2143889"/>
                <a:gd name="connsiteX69" fmla="*/ 998 w 2150240"/>
                <a:gd name="connsiteY69" fmla="*/ 1066910 h 2143889"/>
                <a:gd name="connsiteX70" fmla="*/ 10523 w 2150240"/>
                <a:gd name="connsiteY70" fmla="*/ 936735 h 2143889"/>
                <a:gd name="connsiteX71" fmla="*/ 35923 w 2150240"/>
                <a:gd name="connsiteY71" fmla="*/ 889110 h 2143889"/>
                <a:gd name="connsiteX72" fmla="*/ 51798 w 2150240"/>
                <a:gd name="connsiteY72" fmla="*/ 860535 h 2143889"/>
                <a:gd name="connsiteX73" fmla="*/ 83548 w 2150240"/>
                <a:gd name="connsiteY73" fmla="*/ 816085 h 2143889"/>
                <a:gd name="connsiteX74" fmla="*/ 99423 w 2150240"/>
                <a:gd name="connsiteY74" fmla="*/ 797035 h 2143889"/>
                <a:gd name="connsiteX75" fmla="*/ 308973 w 2150240"/>
                <a:gd name="connsiteY75" fmla="*/ 577960 h 2143889"/>
                <a:gd name="connsiteX76" fmla="*/ 366123 w 2150240"/>
                <a:gd name="connsiteY76" fmla="*/ 517635 h 2143889"/>
                <a:gd name="connsiteX77" fmla="*/ 445498 w 2150240"/>
                <a:gd name="connsiteY77" fmla="*/ 431910 h 2143889"/>
                <a:gd name="connsiteX78" fmla="*/ 493123 w 2150240"/>
                <a:gd name="connsiteY78" fmla="*/ 387460 h 2143889"/>
                <a:gd name="connsiteX79" fmla="*/ 712198 w 2150240"/>
                <a:gd name="connsiteY79" fmla="*/ 190610 h 2143889"/>
                <a:gd name="connsiteX80" fmla="*/ 750298 w 2150240"/>
                <a:gd name="connsiteY80" fmla="*/ 165210 h 2143889"/>
                <a:gd name="connsiteX81" fmla="*/ 785223 w 2150240"/>
                <a:gd name="connsiteY81" fmla="*/ 142985 h 2143889"/>
                <a:gd name="connsiteX82" fmla="*/ 1036048 w 2150240"/>
                <a:gd name="connsiteY82" fmla="*/ 110 h 2143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</a:cxnLst>
              <a:rect l="l" t="t" r="r" b="b"/>
              <a:pathLst>
                <a:path w="2150240" h="2143889">
                  <a:moveTo>
                    <a:pt x="1036048" y="110"/>
                  </a:moveTo>
                  <a:cubicBezTo>
                    <a:pt x="1175219" y="4343"/>
                    <a:pt x="1191623" y="46677"/>
                    <a:pt x="1239248" y="92185"/>
                  </a:cubicBezTo>
                  <a:cubicBezTo>
                    <a:pt x="1299522" y="149779"/>
                    <a:pt x="1411756" y="236118"/>
                    <a:pt x="1455148" y="273160"/>
                  </a:cubicBezTo>
                  <a:cubicBezTo>
                    <a:pt x="1498540" y="310202"/>
                    <a:pt x="1474087" y="288924"/>
                    <a:pt x="1499598" y="314435"/>
                  </a:cubicBezTo>
                  <a:cubicBezTo>
                    <a:pt x="1504390" y="319227"/>
                    <a:pt x="1507796" y="325245"/>
                    <a:pt x="1512298" y="330310"/>
                  </a:cubicBezTo>
                  <a:cubicBezTo>
                    <a:pt x="1516275" y="334785"/>
                    <a:pt x="1521102" y="338464"/>
                    <a:pt x="1524998" y="343010"/>
                  </a:cubicBezTo>
                  <a:cubicBezTo>
                    <a:pt x="1527481" y="345907"/>
                    <a:pt x="1528813" y="349683"/>
                    <a:pt x="1531348" y="352535"/>
                  </a:cubicBezTo>
                  <a:cubicBezTo>
                    <a:pt x="1537314" y="359247"/>
                    <a:pt x="1544048" y="365235"/>
                    <a:pt x="1550398" y="371585"/>
                  </a:cubicBezTo>
                  <a:cubicBezTo>
                    <a:pt x="1553573" y="374760"/>
                    <a:pt x="1557229" y="377518"/>
                    <a:pt x="1559923" y="381110"/>
                  </a:cubicBezTo>
                  <a:cubicBezTo>
                    <a:pt x="1563098" y="385343"/>
                    <a:pt x="1565532" y="390250"/>
                    <a:pt x="1569448" y="393810"/>
                  </a:cubicBezTo>
                  <a:cubicBezTo>
                    <a:pt x="1577279" y="400929"/>
                    <a:pt x="1587364" y="405376"/>
                    <a:pt x="1594848" y="412860"/>
                  </a:cubicBezTo>
                  <a:cubicBezTo>
                    <a:pt x="1627135" y="445147"/>
                    <a:pt x="1592499" y="412250"/>
                    <a:pt x="1632948" y="444610"/>
                  </a:cubicBezTo>
                  <a:cubicBezTo>
                    <a:pt x="1658955" y="465416"/>
                    <a:pt x="1628268" y="443105"/>
                    <a:pt x="1648823" y="463660"/>
                  </a:cubicBezTo>
                  <a:cubicBezTo>
                    <a:pt x="1652565" y="467402"/>
                    <a:pt x="1657607" y="469625"/>
                    <a:pt x="1661523" y="473185"/>
                  </a:cubicBezTo>
                  <a:cubicBezTo>
                    <a:pt x="1669275" y="480233"/>
                    <a:pt x="1676340" y="488002"/>
                    <a:pt x="1683748" y="495410"/>
                  </a:cubicBezTo>
                  <a:lnTo>
                    <a:pt x="1702798" y="514460"/>
                  </a:lnTo>
                  <a:cubicBezTo>
                    <a:pt x="1705973" y="517635"/>
                    <a:pt x="1708817" y="521180"/>
                    <a:pt x="1712323" y="523985"/>
                  </a:cubicBezTo>
                  <a:cubicBezTo>
                    <a:pt x="1722906" y="532452"/>
                    <a:pt x="1734489" y="539801"/>
                    <a:pt x="1744073" y="549385"/>
                  </a:cubicBezTo>
                  <a:cubicBezTo>
                    <a:pt x="1747248" y="552560"/>
                    <a:pt x="1750189" y="555988"/>
                    <a:pt x="1753598" y="558910"/>
                  </a:cubicBezTo>
                  <a:cubicBezTo>
                    <a:pt x="1757616" y="562354"/>
                    <a:pt x="1762343" y="564919"/>
                    <a:pt x="1766298" y="568435"/>
                  </a:cubicBezTo>
                  <a:cubicBezTo>
                    <a:pt x="1771891" y="573407"/>
                    <a:pt x="1776518" y="579409"/>
                    <a:pt x="1782173" y="584310"/>
                  </a:cubicBezTo>
                  <a:cubicBezTo>
                    <a:pt x="1792415" y="593186"/>
                    <a:pt x="1813923" y="609710"/>
                    <a:pt x="1813923" y="609710"/>
                  </a:cubicBezTo>
                  <a:cubicBezTo>
                    <a:pt x="1814981" y="612885"/>
                    <a:pt x="1815153" y="616512"/>
                    <a:pt x="1817098" y="619235"/>
                  </a:cubicBezTo>
                  <a:cubicBezTo>
                    <a:pt x="1832375" y="640622"/>
                    <a:pt x="1826038" y="623972"/>
                    <a:pt x="1842498" y="641460"/>
                  </a:cubicBezTo>
                  <a:cubicBezTo>
                    <a:pt x="1854411" y="654118"/>
                    <a:pt x="1852023" y="647281"/>
                    <a:pt x="1893298" y="698610"/>
                  </a:cubicBezTo>
                  <a:cubicBezTo>
                    <a:pt x="1934573" y="749939"/>
                    <a:pt x="2050461" y="894931"/>
                    <a:pt x="2090148" y="949435"/>
                  </a:cubicBezTo>
                  <a:cubicBezTo>
                    <a:pt x="2129836" y="1003939"/>
                    <a:pt x="2116606" y="982773"/>
                    <a:pt x="2131423" y="1025635"/>
                  </a:cubicBezTo>
                  <a:cubicBezTo>
                    <a:pt x="2146564" y="1069433"/>
                    <a:pt x="2168994" y="1139935"/>
                    <a:pt x="2121898" y="1225660"/>
                  </a:cubicBezTo>
                  <a:cubicBezTo>
                    <a:pt x="2074802" y="1311385"/>
                    <a:pt x="1900706" y="1482306"/>
                    <a:pt x="1848848" y="1539985"/>
                  </a:cubicBezTo>
                  <a:cubicBezTo>
                    <a:pt x="1796990" y="1597664"/>
                    <a:pt x="1832444" y="1551627"/>
                    <a:pt x="1810748" y="1571735"/>
                  </a:cubicBezTo>
                  <a:cubicBezTo>
                    <a:pt x="1789052" y="1591843"/>
                    <a:pt x="1735606" y="1643702"/>
                    <a:pt x="1718673" y="1660635"/>
                  </a:cubicBezTo>
                  <a:cubicBezTo>
                    <a:pt x="1701740" y="1677568"/>
                    <a:pt x="1712633" y="1669353"/>
                    <a:pt x="1709148" y="1673335"/>
                  </a:cubicBezTo>
                  <a:cubicBezTo>
                    <a:pt x="1672538" y="1715175"/>
                    <a:pt x="1725223" y="1649273"/>
                    <a:pt x="1680573" y="1705085"/>
                  </a:cubicBezTo>
                  <a:cubicBezTo>
                    <a:pt x="1673035" y="1714508"/>
                    <a:pt x="1666881" y="1725127"/>
                    <a:pt x="1658348" y="1733660"/>
                  </a:cubicBezTo>
                  <a:lnTo>
                    <a:pt x="1623423" y="1768585"/>
                  </a:lnTo>
                  <a:cubicBezTo>
                    <a:pt x="1608606" y="1784460"/>
                    <a:pt x="1580031" y="1816739"/>
                    <a:pt x="1569448" y="1828910"/>
                  </a:cubicBezTo>
                  <a:cubicBezTo>
                    <a:pt x="1558865" y="1841081"/>
                    <a:pt x="1563665" y="1837868"/>
                    <a:pt x="1559923" y="1841610"/>
                  </a:cubicBezTo>
                  <a:cubicBezTo>
                    <a:pt x="1556181" y="1845352"/>
                    <a:pt x="1553044" y="1846373"/>
                    <a:pt x="1547223" y="1851135"/>
                  </a:cubicBezTo>
                  <a:cubicBezTo>
                    <a:pt x="1541402" y="1855897"/>
                    <a:pt x="1538756" y="1856427"/>
                    <a:pt x="1524998" y="1870185"/>
                  </a:cubicBezTo>
                  <a:cubicBezTo>
                    <a:pt x="1511240" y="1883943"/>
                    <a:pt x="1476315" y="1920985"/>
                    <a:pt x="1464673" y="1933685"/>
                  </a:cubicBezTo>
                  <a:cubicBezTo>
                    <a:pt x="1453031" y="1946385"/>
                    <a:pt x="1458592" y="1942367"/>
                    <a:pt x="1455148" y="1946385"/>
                  </a:cubicBezTo>
                  <a:cubicBezTo>
                    <a:pt x="1452226" y="1949794"/>
                    <a:pt x="1450915" y="1950089"/>
                    <a:pt x="1445623" y="1955910"/>
                  </a:cubicBezTo>
                  <a:cubicBezTo>
                    <a:pt x="1440331" y="1961731"/>
                    <a:pt x="1432394" y="1972314"/>
                    <a:pt x="1423398" y="1981310"/>
                  </a:cubicBezTo>
                  <a:cubicBezTo>
                    <a:pt x="1414402" y="1990306"/>
                    <a:pt x="1402761" y="2002477"/>
                    <a:pt x="1391648" y="2009885"/>
                  </a:cubicBezTo>
                  <a:cubicBezTo>
                    <a:pt x="1380536" y="2017293"/>
                    <a:pt x="1366777" y="2020468"/>
                    <a:pt x="1356723" y="2025760"/>
                  </a:cubicBezTo>
                  <a:cubicBezTo>
                    <a:pt x="1346669" y="2031052"/>
                    <a:pt x="1353019" y="2029464"/>
                    <a:pt x="1331323" y="2041635"/>
                  </a:cubicBezTo>
                  <a:cubicBezTo>
                    <a:pt x="1309627" y="2053806"/>
                    <a:pt x="1264648" y="2081852"/>
                    <a:pt x="1226548" y="2098785"/>
                  </a:cubicBezTo>
                  <a:cubicBezTo>
                    <a:pt x="1188448" y="2115718"/>
                    <a:pt x="1152465" y="2139002"/>
                    <a:pt x="1102723" y="2143235"/>
                  </a:cubicBezTo>
                  <a:cubicBezTo>
                    <a:pt x="1052981" y="2147468"/>
                    <a:pt x="964081" y="2130006"/>
                    <a:pt x="928098" y="2124185"/>
                  </a:cubicBezTo>
                  <a:cubicBezTo>
                    <a:pt x="892115" y="2118364"/>
                    <a:pt x="900581" y="2114131"/>
                    <a:pt x="886823" y="2108310"/>
                  </a:cubicBezTo>
                  <a:cubicBezTo>
                    <a:pt x="873065" y="2102489"/>
                    <a:pt x="871477" y="2109368"/>
                    <a:pt x="845548" y="2089260"/>
                  </a:cubicBezTo>
                  <a:cubicBezTo>
                    <a:pt x="819619" y="2069152"/>
                    <a:pt x="752944" y="2007239"/>
                    <a:pt x="731248" y="1987660"/>
                  </a:cubicBezTo>
                  <a:cubicBezTo>
                    <a:pt x="709552" y="1968081"/>
                    <a:pt x="720935" y="1976791"/>
                    <a:pt x="715373" y="1971785"/>
                  </a:cubicBezTo>
                  <a:cubicBezTo>
                    <a:pt x="710336" y="1967252"/>
                    <a:pt x="704512" y="1963643"/>
                    <a:pt x="699498" y="1959085"/>
                  </a:cubicBezTo>
                  <a:cubicBezTo>
                    <a:pt x="692853" y="1953044"/>
                    <a:pt x="696852" y="1956439"/>
                    <a:pt x="680448" y="1940035"/>
                  </a:cubicBezTo>
                  <a:lnTo>
                    <a:pt x="601073" y="1860660"/>
                  </a:lnTo>
                  <a:cubicBezTo>
                    <a:pt x="593691" y="1852171"/>
                    <a:pt x="586803" y="1843215"/>
                    <a:pt x="578848" y="1835260"/>
                  </a:cubicBezTo>
                  <a:cubicBezTo>
                    <a:pt x="565090" y="1821502"/>
                    <a:pt x="551609" y="1807460"/>
                    <a:pt x="537573" y="1793985"/>
                  </a:cubicBezTo>
                  <a:cubicBezTo>
                    <a:pt x="525145" y="1782054"/>
                    <a:pt x="510383" y="1772394"/>
                    <a:pt x="499473" y="1759060"/>
                  </a:cubicBezTo>
                  <a:cubicBezTo>
                    <a:pt x="489948" y="1747418"/>
                    <a:pt x="481534" y="1734771"/>
                    <a:pt x="470898" y="1724135"/>
                  </a:cubicBezTo>
                  <a:cubicBezTo>
                    <a:pt x="464571" y="1717808"/>
                    <a:pt x="472486" y="1731543"/>
                    <a:pt x="413748" y="1676510"/>
                  </a:cubicBezTo>
                  <a:cubicBezTo>
                    <a:pt x="355011" y="1621477"/>
                    <a:pt x="173506" y="1448968"/>
                    <a:pt x="118473" y="1393935"/>
                  </a:cubicBezTo>
                  <a:cubicBezTo>
                    <a:pt x="63440" y="1338902"/>
                    <a:pt x="95249" y="1362141"/>
                    <a:pt x="83548" y="1346310"/>
                  </a:cubicBezTo>
                  <a:cubicBezTo>
                    <a:pt x="77257" y="1337799"/>
                    <a:pt x="69231" y="1330376"/>
                    <a:pt x="64498" y="1320910"/>
                  </a:cubicBezTo>
                  <a:cubicBezTo>
                    <a:pt x="53893" y="1299700"/>
                    <a:pt x="45159" y="1283016"/>
                    <a:pt x="35923" y="1260585"/>
                  </a:cubicBezTo>
                  <a:cubicBezTo>
                    <a:pt x="27254" y="1239532"/>
                    <a:pt x="31380" y="1245586"/>
                    <a:pt x="26398" y="1225660"/>
                  </a:cubicBezTo>
                  <a:cubicBezTo>
                    <a:pt x="24529" y="1218185"/>
                    <a:pt x="21917" y="1210910"/>
                    <a:pt x="20048" y="1203435"/>
                  </a:cubicBezTo>
                  <a:cubicBezTo>
                    <a:pt x="18739" y="1198200"/>
                    <a:pt x="18293" y="1192766"/>
                    <a:pt x="16873" y="1187560"/>
                  </a:cubicBezTo>
                  <a:cubicBezTo>
                    <a:pt x="6091" y="1148027"/>
                    <a:pt x="13928" y="1188938"/>
                    <a:pt x="7348" y="1149460"/>
                  </a:cubicBezTo>
                  <a:cubicBezTo>
                    <a:pt x="5231" y="1121943"/>
                    <a:pt x="1466" y="1094504"/>
                    <a:pt x="998" y="1066910"/>
                  </a:cubicBezTo>
                  <a:cubicBezTo>
                    <a:pt x="114" y="1014730"/>
                    <a:pt x="-3221" y="980717"/>
                    <a:pt x="10523" y="936735"/>
                  </a:cubicBezTo>
                  <a:cubicBezTo>
                    <a:pt x="21628" y="901200"/>
                    <a:pt x="16420" y="920314"/>
                    <a:pt x="35923" y="889110"/>
                  </a:cubicBezTo>
                  <a:cubicBezTo>
                    <a:pt x="41698" y="879870"/>
                    <a:pt x="45846" y="869662"/>
                    <a:pt x="51798" y="860535"/>
                  </a:cubicBezTo>
                  <a:cubicBezTo>
                    <a:pt x="61745" y="845284"/>
                    <a:pt x="71891" y="830073"/>
                    <a:pt x="83548" y="816085"/>
                  </a:cubicBezTo>
                  <a:cubicBezTo>
                    <a:pt x="88840" y="809735"/>
                    <a:pt x="61852" y="836722"/>
                    <a:pt x="99423" y="797035"/>
                  </a:cubicBezTo>
                  <a:cubicBezTo>
                    <a:pt x="136994" y="757348"/>
                    <a:pt x="264523" y="624527"/>
                    <a:pt x="308973" y="577960"/>
                  </a:cubicBezTo>
                  <a:lnTo>
                    <a:pt x="366123" y="517635"/>
                  </a:lnTo>
                  <a:lnTo>
                    <a:pt x="445498" y="431910"/>
                  </a:lnTo>
                  <a:cubicBezTo>
                    <a:pt x="467412" y="411682"/>
                    <a:pt x="448673" y="427677"/>
                    <a:pt x="493123" y="387460"/>
                  </a:cubicBezTo>
                  <a:lnTo>
                    <a:pt x="712198" y="190610"/>
                  </a:lnTo>
                  <a:cubicBezTo>
                    <a:pt x="755061" y="153568"/>
                    <a:pt x="737598" y="173677"/>
                    <a:pt x="750298" y="165210"/>
                  </a:cubicBezTo>
                  <a:cubicBezTo>
                    <a:pt x="758383" y="159820"/>
                    <a:pt x="737598" y="170502"/>
                    <a:pt x="785223" y="142985"/>
                  </a:cubicBezTo>
                  <a:cubicBezTo>
                    <a:pt x="832848" y="115468"/>
                    <a:pt x="896877" y="-4123"/>
                    <a:pt x="1036048" y="110"/>
                  </a:cubicBezTo>
                  <a:close/>
                </a:path>
              </a:pathLst>
            </a:custGeom>
            <a:noFill/>
            <a:ln w="5213" cap="flat">
              <a:solidFill>
                <a:schemeClr val="accent1">
                  <a:lumMod val="90000"/>
                  <a:lumOff val="10000"/>
                </a:schemeClr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333" name="Group 332">
            <a:extLst>
              <a:ext uri="{FF2B5EF4-FFF2-40B4-BE49-F238E27FC236}">
                <a16:creationId xmlns:a16="http://schemas.microsoft.com/office/drawing/2014/main" id="{29DE06C7-BAD9-71C7-1572-04813901657C}"/>
              </a:ext>
            </a:extLst>
          </p:cNvPr>
          <p:cNvGrpSpPr/>
          <p:nvPr/>
        </p:nvGrpSpPr>
        <p:grpSpPr>
          <a:xfrm rot="21410080">
            <a:off x="5357900" y="5136016"/>
            <a:ext cx="1083431" cy="1075916"/>
            <a:chOff x="8336051" y="3610471"/>
            <a:chExt cx="2227633" cy="2212181"/>
          </a:xfrm>
        </p:grpSpPr>
        <p:sp>
          <p:nvSpPr>
            <p:cNvPr id="334" name="Freeform: Shape 333">
              <a:extLst>
                <a:ext uri="{FF2B5EF4-FFF2-40B4-BE49-F238E27FC236}">
                  <a16:creationId xmlns:a16="http://schemas.microsoft.com/office/drawing/2014/main" id="{C0476440-62CB-184C-8CB9-B97C1201FB03}"/>
                </a:ext>
              </a:extLst>
            </p:cNvPr>
            <p:cNvSpPr/>
            <p:nvPr/>
          </p:nvSpPr>
          <p:spPr>
            <a:xfrm>
              <a:off x="8336051" y="3610471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solidFill>
              <a:srgbClr val="51597F"/>
            </a:solidFill>
            <a:ln w="5213" cap="flat">
              <a:noFill/>
              <a:prstDash val="solid"/>
              <a:miter/>
            </a:ln>
          </p:spPr>
          <p:txBody>
            <a:bodyPr rtlCol="0" anchor="ctr"/>
            <a:lstStyle/>
            <a:p>
              <a:pPr algn="ctr"/>
              <a:r>
                <a: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G</a:t>
              </a:r>
            </a:p>
          </p:txBody>
        </p: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820FAED3-5BE8-8B03-7286-2CC366DDF2C9}"/>
                </a:ext>
              </a:extLst>
            </p:cNvPr>
            <p:cNvSpPr/>
            <p:nvPr/>
          </p:nvSpPr>
          <p:spPr>
            <a:xfrm>
              <a:off x="8357736" y="3658356"/>
              <a:ext cx="2205948" cy="2164296"/>
            </a:xfrm>
            <a:custGeom>
              <a:avLst/>
              <a:gdLst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557212 w 2171700"/>
                <a:gd name="connsiteY139" fmla="*/ 105200 h 2164296"/>
                <a:gd name="connsiteX140" fmla="*/ 619125 w 2171700"/>
                <a:gd name="connsiteY140" fmla="*/ 71863 h 2164296"/>
                <a:gd name="connsiteX141" fmla="*/ 633412 w 2171700"/>
                <a:gd name="connsiteY141" fmla="*/ 52813 h 2164296"/>
                <a:gd name="connsiteX142" fmla="*/ 652462 w 2171700"/>
                <a:gd name="connsiteY142" fmla="*/ 48050 h 2164296"/>
                <a:gd name="connsiteX143" fmla="*/ 676275 w 2171700"/>
                <a:gd name="connsiteY143" fmla="*/ 38525 h 2164296"/>
                <a:gd name="connsiteX144" fmla="*/ 719137 w 2171700"/>
                <a:gd name="connsiteY144" fmla="*/ 24238 h 2164296"/>
                <a:gd name="connsiteX145" fmla="*/ 747712 w 2171700"/>
                <a:gd name="connsiteY145" fmla="*/ 14713 h 2164296"/>
                <a:gd name="connsiteX146" fmla="*/ 795337 w 2171700"/>
                <a:gd name="connsiteY146" fmla="*/ 9950 h 2164296"/>
                <a:gd name="connsiteX147" fmla="*/ 866775 w 2171700"/>
                <a:gd name="connsiteY14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500187 w 2171700"/>
                <a:gd name="connsiteY67" fmla="*/ 1972100 h 2164296"/>
                <a:gd name="connsiteX68" fmla="*/ 1457325 w 2171700"/>
                <a:gd name="connsiteY68" fmla="*/ 1995913 h 2164296"/>
                <a:gd name="connsiteX69" fmla="*/ 1419225 w 2171700"/>
                <a:gd name="connsiteY69" fmla="*/ 2014963 h 2164296"/>
                <a:gd name="connsiteX70" fmla="*/ 1404937 w 2171700"/>
                <a:gd name="connsiteY70" fmla="*/ 2029250 h 2164296"/>
                <a:gd name="connsiteX71" fmla="*/ 1333500 w 2171700"/>
                <a:gd name="connsiteY71" fmla="*/ 2053063 h 2164296"/>
                <a:gd name="connsiteX72" fmla="*/ 1319212 w 2171700"/>
                <a:gd name="connsiteY72" fmla="*/ 2062588 h 2164296"/>
                <a:gd name="connsiteX73" fmla="*/ 1281112 w 2171700"/>
                <a:gd name="connsiteY73" fmla="*/ 2072113 h 2164296"/>
                <a:gd name="connsiteX74" fmla="*/ 1257300 w 2171700"/>
                <a:gd name="connsiteY74" fmla="*/ 2086400 h 2164296"/>
                <a:gd name="connsiteX75" fmla="*/ 1204912 w 2171700"/>
                <a:gd name="connsiteY75" fmla="*/ 2100688 h 2164296"/>
                <a:gd name="connsiteX76" fmla="*/ 1162050 w 2171700"/>
                <a:gd name="connsiteY76" fmla="*/ 2119738 h 2164296"/>
                <a:gd name="connsiteX77" fmla="*/ 1143000 w 2171700"/>
                <a:gd name="connsiteY77" fmla="*/ 2134025 h 2164296"/>
                <a:gd name="connsiteX78" fmla="*/ 1071562 w 2171700"/>
                <a:gd name="connsiteY78" fmla="*/ 2148313 h 2164296"/>
                <a:gd name="connsiteX79" fmla="*/ 1042987 w 2171700"/>
                <a:gd name="connsiteY79" fmla="*/ 2162600 h 2164296"/>
                <a:gd name="connsiteX80" fmla="*/ 909637 w 2171700"/>
                <a:gd name="connsiteY80" fmla="*/ 2157838 h 2164296"/>
                <a:gd name="connsiteX81" fmla="*/ 800100 w 2171700"/>
                <a:gd name="connsiteY81" fmla="*/ 2105450 h 2164296"/>
                <a:gd name="connsiteX82" fmla="*/ 762000 w 2171700"/>
                <a:gd name="connsiteY82" fmla="*/ 2091163 h 2164296"/>
                <a:gd name="connsiteX83" fmla="*/ 714375 w 2171700"/>
                <a:gd name="connsiteY83" fmla="*/ 2062588 h 2164296"/>
                <a:gd name="connsiteX84" fmla="*/ 657225 w 2171700"/>
                <a:gd name="connsiteY84" fmla="*/ 2038775 h 2164296"/>
                <a:gd name="connsiteX85" fmla="*/ 623887 w 2171700"/>
                <a:gd name="connsiteY85" fmla="*/ 2005438 h 2164296"/>
                <a:gd name="connsiteX86" fmla="*/ 585787 w 2171700"/>
                <a:gd name="connsiteY86" fmla="*/ 1976863 h 2164296"/>
                <a:gd name="connsiteX87" fmla="*/ 571500 w 2171700"/>
                <a:gd name="connsiteY87" fmla="*/ 1957813 h 2164296"/>
                <a:gd name="connsiteX88" fmla="*/ 557212 w 2171700"/>
                <a:gd name="connsiteY88" fmla="*/ 1934000 h 2164296"/>
                <a:gd name="connsiteX89" fmla="*/ 523875 w 2171700"/>
                <a:gd name="connsiteY89" fmla="*/ 1895900 h 2164296"/>
                <a:gd name="connsiteX90" fmla="*/ 495300 w 2171700"/>
                <a:gd name="connsiteY90" fmla="*/ 1848275 h 2164296"/>
                <a:gd name="connsiteX91" fmla="*/ 471487 w 2171700"/>
                <a:gd name="connsiteY91" fmla="*/ 1819700 h 2164296"/>
                <a:gd name="connsiteX92" fmla="*/ 447675 w 2171700"/>
                <a:gd name="connsiteY92" fmla="*/ 1781600 h 2164296"/>
                <a:gd name="connsiteX93" fmla="*/ 400050 w 2171700"/>
                <a:gd name="connsiteY93" fmla="*/ 1738738 h 2164296"/>
                <a:gd name="connsiteX94" fmla="*/ 381000 w 2171700"/>
                <a:gd name="connsiteY94" fmla="*/ 1705400 h 2164296"/>
                <a:gd name="connsiteX95" fmla="*/ 366712 w 2171700"/>
                <a:gd name="connsiteY95" fmla="*/ 1686350 h 2164296"/>
                <a:gd name="connsiteX96" fmla="*/ 347662 w 2171700"/>
                <a:gd name="connsiteY96" fmla="*/ 1657775 h 2164296"/>
                <a:gd name="connsiteX97" fmla="*/ 290512 w 2171700"/>
                <a:gd name="connsiteY97" fmla="*/ 1600625 h 2164296"/>
                <a:gd name="connsiteX98" fmla="*/ 266700 w 2171700"/>
                <a:gd name="connsiteY98" fmla="*/ 1576813 h 2164296"/>
                <a:gd name="connsiteX99" fmla="*/ 252412 w 2171700"/>
                <a:gd name="connsiteY99" fmla="*/ 1562525 h 2164296"/>
                <a:gd name="connsiteX100" fmla="*/ 214312 w 2171700"/>
                <a:gd name="connsiteY100" fmla="*/ 1538713 h 2164296"/>
                <a:gd name="connsiteX101" fmla="*/ 190500 w 2171700"/>
                <a:gd name="connsiteY101" fmla="*/ 1510138 h 2164296"/>
                <a:gd name="connsiteX102" fmla="*/ 166687 w 2171700"/>
                <a:gd name="connsiteY102" fmla="*/ 1491088 h 2164296"/>
                <a:gd name="connsiteX103" fmla="*/ 147637 w 2171700"/>
                <a:gd name="connsiteY103" fmla="*/ 1462513 h 2164296"/>
                <a:gd name="connsiteX104" fmla="*/ 123825 w 2171700"/>
                <a:gd name="connsiteY104" fmla="*/ 1438700 h 2164296"/>
                <a:gd name="connsiteX105" fmla="*/ 114300 w 2171700"/>
                <a:gd name="connsiteY105" fmla="*/ 1424413 h 2164296"/>
                <a:gd name="connsiteX106" fmla="*/ 95250 w 2171700"/>
                <a:gd name="connsiteY106" fmla="*/ 1405363 h 2164296"/>
                <a:gd name="connsiteX107" fmla="*/ 76200 w 2171700"/>
                <a:gd name="connsiteY107" fmla="*/ 1376788 h 2164296"/>
                <a:gd name="connsiteX108" fmla="*/ 61912 w 2171700"/>
                <a:gd name="connsiteY108" fmla="*/ 1362500 h 2164296"/>
                <a:gd name="connsiteX109" fmla="*/ 52387 w 2171700"/>
                <a:gd name="connsiteY109" fmla="*/ 1348213 h 2164296"/>
                <a:gd name="connsiteX110" fmla="*/ 38100 w 2171700"/>
                <a:gd name="connsiteY110" fmla="*/ 1329163 h 2164296"/>
                <a:gd name="connsiteX111" fmla="*/ 33337 w 2171700"/>
                <a:gd name="connsiteY111" fmla="*/ 1305350 h 2164296"/>
                <a:gd name="connsiteX112" fmla="*/ 9525 w 2171700"/>
                <a:gd name="connsiteY112" fmla="*/ 1257725 h 2164296"/>
                <a:gd name="connsiteX113" fmla="*/ 0 w 2171700"/>
                <a:gd name="connsiteY113" fmla="*/ 1200575 h 2164296"/>
                <a:gd name="connsiteX114" fmla="*/ 4762 w 2171700"/>
                <a:gd name="connsiteY114" fmla="*/ 991025 h 2164296"/>
                <a:gd name="connsiteX115" fmla="*/ 42862 w 2171700"/>
                <a:gd name="connsiteY115" fmla="*/ 929113 h 2164296"/>
                <a:gd name="connsiteX116" fmla="*/ 66675 w 2171700"/>
                <a:gd name="connsiteY116" fmla="*/ 891013 h 2164296"/>
                <a:gd name="connsiteX117" fmla="*/ 85725 w 2171700"/>
                <a:gd name="connsiteY117" fmla="*/ 848150 h 2164296"/>
                <a:gd name="connsiteX118" fmla="*/ 109537 w 2171700"/>
                <a:gd name="connsiteY118" fmla="*/ 795763 h 2164296"/>
                <a:gd name="connsiteX119" fmla="*/ 128587 w 2171700"/>
                <a:gd name="connsiteY119" fmla="*/ 762425 h 2164296"/>
                <a:gd name="connsiteX120" fmla="*/ 147637 w 2171700"/>
                <a:gd name="connsiteY120" fmla="*/ 733850 h 2164296"/>
                <a:gd name="connsiteX121" fmla="*/ 209550 w 2171700"/>
                <a:gd name="connsiteY121" fmla="*/ 610025 h 2164296"/>
                <a:gd name="connsiteX122" fmla="*/ 214312 w 2171700"/>
                <a:gd name="connsiteY122" fmla="*/ 581450 h 2164296"/>
                <a:gd name="connsiteX123" fmla="*/ 238125 w 2171700"/>
                <a:gd name="connsiteY123" fmla="*/ 538588 h 2164296"/>
                <a:gd name="connsiteX124" fmla="*/ 252412 w 2171700"/>
                <a:gd name="connsiteY124" fmla="*/ 500488 h 2164296"/>
                <a:gd name="connsiteX125" fmla="*/ 266700 w 2171700"/>
                <a:gd name="connsiteY125" fmla="*/ 471913 h 2164296"/>
                <a:gd name="connsiteX126" fmla="*/ 276225 w 2171700"/>
                <a:gd name="connsiteY126" fmla="*/ 443338 h 2164296"/>
                <a:gd name="connsiteX127" fmla="*/ 285750 w 2171700"/>
                <a:gd name="connsiteY127" fmla="*/ 429050 h 2164296"/>
                <a:gd name="connsiteX128" fmla="*/ 295275 w 2171700"/>
                <a:gd name="connsiteY128" fmla="*/ 405238 h 2164296"/>
                <a:gd name="connsiteX129" fmla="*/ 314325 w 2171700"/>
                <a:gd name="connsiteY129" fmla="*/ 381425 h 2164296"/>
                <a:gd name="connsiteX130" fmla="*/ 333375 w 2171700"/>
                <a:gd name="connsiteY130" fmla="*/ 333800 h 2164296"/>
                <a:gd name="connsiteX131" fmla="*/ 361950 w 2171700"/>
                <a:gd name="connsiteY131" fmla="*/ 290938 h 2164296"/>
                <a:gd name="connsiteX132" fmla="*/ 385762 w 2171700"/>
                <a:gd name="connsiteY132" fmla="*/ 248075 h 2164296"/>
                <a:gd name="connsiteX133" fmla="*/ 400050 w 2171700"/>
                <a:gd name="connsiteY133" fmla="*/ 229025 h 2164296"/>
                <a:gd name="connsiteX134" fmla="*/ 423862 w 2171700"/>
                <a:gd name="connsiteY134" fmla="*/ 214738 h 2164296"/>
                <a:gd name="connsiteX135" fmla="*/ 447675 w 2171700"/>
                <a:gd name="connsiteY135" fmla="*/ 190925 h 2164296"/>
                <a:gd name="connsiteX136" fmla="*/ 461962 w 2171700"/>
                <a:gd name="connsiteY136" fmla="*/ 181400 h 2164296"/>
                <a:gd name="connsiteX137" fmla="*/ 495300 w 2171700"/>
                <a:gd name="connsiteY137" fmla="*/ 143300 h 2164296"/>
                <a:gd name="connsiteX138" fmla="*/ 509587 w 2171700"/>
                <a:gd name="connsiteY138" fmla="*/ 133775 h 2164296"/>
                <a:gd name="connsiteX139" fmla="*/ 619125 w 2171700"/>
                <a:gd name="connsiteY139" fmla="*/ 71863 h 2164296"/>
                <a:gd name="connsiteX140" fmla="*/ 633412 w 2171700"/>
                <a:gd name="connsiteY140" fmla="*/ 52813 h 2164296"/>
                <a:gd name="connsiteX141" fmla="*/ 652462 w 2171700"/>
                <a:gd name="connsiteY141" fmla="*/ 48050 h 2164296"/>
                <a:gd name="connsiteX142" fmla="*/ 676275 w 2171700"/>
                <a:gd name="connsiteY142" fmla="*/ 38525 h 2164296"/>
                <a:gd name="connsiteX143" fmla="*/ 719137 w 2171700"/>
                <a:gd name="connsiteY143" fmla="*/ 24238 h 2164296"/>
                <a:gd name="connsiteX144" fmla="*/ 747712 w 2171700"/>
                <a:gd name="connsiteY144" fmla="*/ 14713 h 2164296"/>
                <a:gd name="connsiteX145" fmla="*/ 795337 w 2171700"/>
                <a:gd name="connsiteY145" fmla="*/ 9950 h 2164296"/>
                <a:gd name="connsiteX146" fmla="*/ 866775 w 2171700"/>
                <a:gd name="connsiteY14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57325 w 2171700"/>
                <a:gd name="connsiteY67" fmla="*/ 1995913 h 2164296"/>
                <a:gd name="connsiteX68" fmla="*/ 1419225 w 2171700"/>
                <a:gd name="connsiteY68" fmla="*/ 2014963 h 2164296"/>
                <a:gd name="connsiteX69" fmla="*/ 1404937 w 2171700"/>
                <a:gd name="connsiteY69" fmla="*/ 2029250 h 2164296"/>
                <a:gd name="connsiteX70" fmla="*/ 1333500 w 2171700"/>
                <a:gd name="connsiteY70" fmla="*/ 2053063 h 2164296"/>
                <a:gd name="connsiteX71" fmla="*/ 1319212 w 2171700"/>
                <a:gd name="connsiteY71" fmla="*/ 2062588 h 2164296"/>
                <a:gd name="connsiteX72" fmla="*/ 1281112 w 2171700"/>
                <a:gd name="connsiteY72" fmla="*/ 2072113 h 2164296"/>
                <a:gd name="connsiteX73" fmla="*/ 1257300 w 2171700"/>
                <a:gd name="connsiteY73" fmla="*/ 2086400 h 2164296"/>
                <a:gd name="connsiteX74" fmla="*/ 1204912 w 2171700"/>
                <a:gd name="connsiteY74" fmla="*/ 2100688 h 2164296"/>
                <a:gd name="connsiteX75" fmla="*/ 1162050 w 2171700"/>
                <a:gd name="connsiteY75" fmla="*/ 2119738 h 2164296"/>
                <a:gd name="connsiteX76" fmla="*/ 1143000 w 2171700"/>
                <a:gd name="connsiteY76" fmla="*/ 2134025 h 2164296"/>
                <a:gd name="connsiteX77" fmla="*/ 1071562 w 2171700"/>
                <a:gd name="connsiteY77" fmla="*/ 2148313 h 2164296"/>
                <a:gd name="connsiteX78" fmla="*/ 1042987 w 2171700"/>
                <a:gd name="connsiteY78" fmla="*/ 2162600 h 2164296"/>
                <a:gd name="connsiteX79" fmla="*/ 909637 w 2171700"/>
                <a:gd name="connsiteY79" fmla="*/ 2157838 h 2164296"/>
                <a:gd name="connsiteX80" fmla="*/ 800100 w 2171700"/>
                <a:gd name="connsiteY80" fmla="*/ 2105450 h 2164296"/>
                <a:gd name="connsiteX81" fmla="*/ 762000 w 2171700"/>
                <a:gd name="connsiteY81" fmla="*/ 2091163 h 2164296"/>
                <a:gd name="connsiteX82" fmla="*/ 714375 w 2171700"/>
                <a:gd name="connsiteY82" fmla="*/ 2062588 h 2164296"/>
                <a:gd name="connsiteX83" fmla="*/ 657225 w 2171700"/>
                <a:gd name="connsiteY83" fmla="*/ 2038775 h 2164296"/>
                <a:gd name="connsiteX84" fmla="*/ 623887 w 2171700"/>
                <a:gd name="connsiteY84" fmla="*/ 2005438 h 2164296"/>
                <a:gd name="connsiteX85" fmla="*/ 585787 w 2171700"/>
                <a:gd name="connsiteY85" fmla="*/ 1976863 h 2164296"/>
                <a:gd name="connsiteX86" fmla="*/ 571500 w 2171700"/>
                <a:gd name="connsiteY86" fmla="*/ 1957813 h 2164296"/>
                <a:gd name="connsiteX87" fmla="*/ 557212 w 2171700"/>
                <a:gd name="connsiteY87" fmla="*/ 1934000 h 2164296"/>
                <a:gd name="connsiteX88" fmla="*/ 523875 w 2171700"/>
                <a:gd name="connsiteY88" fmla="*/ 1895900 h 2164296"/>
                <a:gd name="connsiteX89" fmla="*/ 495300 w 2171700"/>
                <a:gd name="connsiteY89" fmla="*/ 1848275 h 2164296"/>
                <a:gd name="connsiteX90" fmla="*/ 471487 w 2171700"/>
                <a:gd name="connsiteY90" fmla="*/ 1819700 h 2164296"/>
                <a:gd name="connsiteX91" fmla="*/ 447675 w 2171700"/>
                <a:gd name="connsiteY91" fmla="*/ 1781600 h 2164296"/>
                <a:gd name="connsiteX92" fmla="*/ 400050 w 2171700"/>
                <a:gd name="connsiteY92" fmla="*/ 1738738 h 2164296"/>
                <a:gd name="connsiteX93" fmla="*/ 381000 w 2171700"/>
                <a:gd name="connsiteY93" fmla="*/ 1705400 h 2164296"/>
                <a:gd name="connsiteX94" fmla="*/ 366712 w 2171700"/>
                <a:gd name="connsiteY94" fmla="*/ 1686350 h 2164296"/>
                <a:gd name="connsiteX95" fmla="*/ 347662 w 2171700"/>
                <a:gd name="connsiteY95" fmla="*/ 1657775 h 2164296"/>
                <a:gd name="connsiteX96" fmla="*/ 290512 w 2171700"/>
                <a:gd name="connsiteY96" fmla="*/ 1600625 h 2164296"/>
                <a:gd name="connsiteX97" fmla="*/ 266700 w 2171700"/>
                <a:gd name="connsiteY97" fmla="*/ 1576813 h 2164296"/>
                <a:gd name="connsiteX98" fmla="*/ 252412 w 2171700"/>
                <a:gd name="connsiteY98" fmla="*/ 1562525 h 2164296"/>
                <a:gd name="connsiteX99" fmla="*/ 214312 w 2171700"/>
                <a:gd name="connsiteY99" fmla="*/ 1538713 h 2164296"/>
                <a:gd name="connsiteX100" fmla="*/ 190500 w 2171700"/>
                <a:gd name="connsiteY100" fmla="*/ 1510138 h 2164296"/>
                <a:gd name="connsiteX101" fmla="*/ 166687 w 2171700"/>
                <a:gd name="connsiteY101" fmla="*/ 1491088 h 2164296"/>
                <a:gd name="connsiteX102" fmla="*/ 147637 w 2171700"/>
                <a:gd name="connsiteY102" fmla="*/ 1462513 h 2164296"/>
                <a:gd name="connsiteX103" fmla="*/ 123825 w 2171700"/>
                <a:gd name="connsiteY103" fmla="*/ 1438700 h 2164296"/>
                <a:gd name="connsiteX104" fmla="*/ 114300 w 2171700"/>
                <a:gd name="connsiteY104" fmla="*/ 1424413 h 2164296"/>
                <a:gd name="connsiteX105" fmla="*/ 95250 w 2171700"/>
                <a:gd name="connsiteY105" fmla="*/ 1405363 h 2164296"/>
                <a:gd name="connsiteX106" fmla="*/ 76200 w 2171700"/>
                <a:gd name="connsiteY106" fmla="*/ 1376788 h 2164296"/>
                <a:gd name="connsiteX107" fmla="*/ 61912 w 2171700"/>
                <a:gd name="connsiteY107" fmla="*/ 1362500 h 2164296"/>
                <a:gd name="connsiteX108" fmla="*/ 52387 w 2171700"/>
                <a:gd name="connsiteY108" fmla="*/ 1348213 h 2164296"/>
                <a:gd name="connsiteX109" fmla="*/ 38100 w 2171700"/>
                <a:gd name="connsiteY109" fmla="*/ 1329163 h 2164296"/>
                <a:gd name="connsiteX110" fmla="*/ 33337 w 2171700"/>
                <a:gd name="connsiteY110" fmla="*/ 1305350 h 2164296"/>
                <a:gd name="connsiteX111" fmla="*/ 9525 w 2171700"/>
                <a:gd name="connsiteY111" fmla="*/ 1257725 h 2164296"/>
                <a:gd name="connsiteX112" fmla="*/ 0 w 2171700"/>
                <a:gd name="connsiteY112" fmla="*/ 1200575 h 2164296"/>
                <a:gd name="connsiteX113" fmla="*/ 4762 w 2171700"/>
                <a:gd name="connsiteY113" fmla="*/ 991025 h 2164296"/>
                <a:gd name="connsiteX114" fmla="*/ 42862 w 2171700"/>
                <a:gd name="connsiteY114" fmla="*/ 929113 h 2164296"/>
                <a:gd name="connsiteX115" fmla="*/ 66675 w 2171700"/>
                <a:gd name="connsiteY115" fmla="*/ 891013 h 2164296"/>
                <a:gd name="connsiteX116" fmla="*/ 85725 w 2171700"/>
                <a:gd name="connsiteY116" fmla="*/ 848150 h 2164296"/>
                <a:gd name="connsiteX117" fmla="*/ 109537 w 2171700"/>
                <a:gd name="connsiteY117" fmla="*/ 795763 h 2164296"/>
                <a:gd name="connsiteX118" fmla="*/ 128587 w 2171700"/>
                <a:gd name="connsiteY118" fmla="*/ 762425 h 2164296"/>
                <a:gd name="connsiteX119" fmla="*/ 147637 w 2171700"/>
                <a:gd name="connsiteY119" fmla="*/ 733850 h 2164296"/>
                <a:gd name="connsiteX120" fmla="*/ 209550 w 2171700"/>
                <a:gd name="connsiteY120" fmla="*/ 610025 h 2164296"/>
                <a:gd name="connsiteX121" fmla="*/ 214312 w 2171700"/>
                <a:gd name="connsiteY121" fmla="*/ 581450 h 2164296"/>
                <a:gd name="connsiteX122" fmla="*/ 238125 w 2171700"/>
                <a:gd name="connsiteY122" fmla="*/ 538588 h 2164296"/>
                <a:gd name="connsiteX123" fmla="*/ 252412 w 2171700"/>
                <a:gd name="connsiteY123" fmla="*/ 500488 h 2164296"/>
                <a:gd name="connsiteX124" fmla="*/ 266700 w 2171700"/>
                <a:gd name="connsiteY124" fmla="*/ 471913 h 2164296"/>
                <a:gd name="connsiteX125" fmla="*/ 276225 w 2171700"/>
                <a:gd name="connsiteY125" fmla="*/ 443338 h 2164296"/>
                <a:gd name="connsiteX126" fmla="*/ 285750 w 2171700"/>
                <a:gd name="connsiteY126" fmla="*/ 429050 h 2164296"/>
                <a:gd name="connsiteX127" fmla="*/ 295275 w 2171700"/>
                <a:gd name="connsiteY127" fmla="*/ 405238 h 2164296"/>
                <a:gd name="connsiteX128" fmla="*/ 314325 w 2171700"/>
                <a:gd name="connsiteY128" fmla="*/ 381425 h 2164296"/>
                <a:gd name="connsiteX129" fmla="*/ 333375 w 2171700"/>
                <a:gd name="connsiteY129" fmla="*/ 333800 h 2164296"/>
                <a:gd name="connsiteX130" fmla="*/ 361950 w 2171700"/>
                <a:gd name="connsiteY130" fmla="*/ 290938 h 2164296"/>
                <a:gd name="connsiteX131" fmla="*/ 385762 w 2171700"/>
                <a:gd name="connsiteY131" fmla="*/ 248075 h 2164296"/>
                <a:gd name="connsiteX132" fmla="*/ 400050 w 2171700"/>
                <a:gd name="connsiteY132" fmla="*/ 229025 h 2164296"/>
                <a:gd name="connsiteX133" fmla="*/ 423862 w 2171700"/>
                <a:gd name="connsiteY133" fmla="*/ 214738 h 2164296"/>
                <a:gd name="connsiteX134" fmla="*/ 447675 w 2171700"/>
                <a:gd name="connsiteY134" fmla="*/ 190925 h 2164296"/>
                <a:gd name="connsiteX135" fmla="*/ 461962 w 2171700"/>
                <a:gd name="connsiteY135" fmla="*/ 181400 h 2164296"/>
                <a:gd name="connsiteX136" fmla="*/ 495300 w 2171700"/>
                <a:gd name="connsiteY136" fmla="*/ 143300 h 2164296"/>
                <a:gd name="connsiteX137" fmla="*/ 509587 w 2171700"/>
                <a:gd name="connsiteY137" fmla="*/ 133775 h 2164296"/>
                <a:gd name="connsiteX138" fmla="*/ 619125 w 2171700"/>
                <a:gd name="connsiteY138" fmla="*/ 71863 h 2164296"/>
                <a:gd name="connsiteX139" fmla="*/ 633412 w 2171700"/>
                <a:gd name="connsiteY139" fmla="*/ 52813 h 2164296"/>
                <a:gd name="connsiteX140" fmla="*/ 652462 w 2171700"/>
                <a:gd name="connsiteY140" fmla="*/ 48050 h 2164296"/>
                <a:gd name="connsiteX141" fmla="*/ 676275 w 2171700"/>
                <a:gd name="connsiteY141" fmla="*/ 38525 h 2164296"/>
                <a:gd name="connsiteX142" fmla="*/ 719137 w 2171700"/>
                <a:gd name="connsiteY142" fmla="*/ 24238 h 2164296"/>
                <a:gd name="connsiteX143" fmla="*/ 747712 w 2171700"/>
                <a:gd name="connsiteY143" fmla="*/ 14713 h 2164296"/>
                <a:gd name="connsiteX144" fmla="*/ 795337 w 2171700"/>
                <a:gd name="connsiteY144" fmla="*/ 9950 h 2164296"/>
                <a:gd name="connsiteX145" fmla="*/ 866775 w 2171700"/>
                <a:gd name="connsiteY14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19225 w 2171700"/>
                <a:gd name="connsiteY67" fmla="*/ 2014963 h 2164296"/>
                <a:gd name="connsiteX68" fmla="*/ 1404937 w 2171700"/>
                <a:gd name="connsiteY68" fmla="*/ 2029250 h 2164296"/>
                <a:gd name="connsiteX69" fmla="*/ 1333500 w 2171700"/>
                <a:gd name="connsiteY69" fmla="*/ 2053063 h 2164296"/>
                <a:gd name="connsiteX70" fmla="*/ 1319212 w 2171700"/>
                <a:gd name="connsiteY70" fmla="*/ 2062588 h 2164296"/>
                <a:gd name="connsiteX71" fmla="*/ 1281112 w 2171700"/>
                <a:gd name="connsiteY71" fmla="*/ 2072113 h 2164296"/>
                <a:gd name="connsiteX72" fmla="*/ 1257300 w 2171700"/>
                <a:gd name="connsiteY72" fmla="*/ 2086400 h 2164296"/>
                <a:gd name="connsiteX73" fmla="*/ 1204912 w 2171700"/>
                <a:gd name="connsiteY73" fmla="*/ 2100688 h 2164296"/>
                <a:gd name="connsiteX74" fmla="*/ 1162050 w 2171700"/>
                <a:gd name="connsiteY74" fmla="*/ 2119738 h 2164296"/>
                <a:gd name="connsiteX75" fmla="*/ 1143000 w 2171700"/>
                <a:gd name="connsiteY75" fmla="*/ 2134025 h 2164296"/>
                <a:gd name="connsiteX76" fmla="*/ 1071562 w 2171700"/>
                <a:gd name="connsiteY76" fmla="*/ 2148313 h 2164296"/>
                <a:gd name="connsiteX77" fmla="*/ 1042987 w 2171700"/>
                <a:gd name="connsiteY77" fmla="*/ 2162600 h 2164296"/>
                <a:gd name="connsiteX78" fmla="*/ 909637 w 2171700"/>
                <a:gd name="connsiteY78" fmla="*/ 2157838 h 2164296"/>
                <a:gd name="connsiteX79" fmla="*/ 800100 w 2171700"/>
                <a:gd name="connsiteY79" fmla="*/ 2105450 h 2164296"/>
                <a:gd name="connsiteX80" fmla="*/ 762000 w 2171700"/>
                <a:gd name="connsiteY80" fmla="*/ 2091163 h 2164296"/>
                <a:gd name="connsiteX81" fmla="*/ 714375 w 2171700"/>
                <a:gd name="connsiteY81" fmla="*/ 2062588 h 2164296"/>
                <a:gd name="connsiteX82" fmla="*/ 657225 w 2171700"/>
                <a:gd name="connsiteY82" fmla="*/ 2038775 h 2164296"/>
                <a:gd name="connsiteX83" fmla="*/ 623887 w 2171700"/>
                <a:gd name="connsiteY83" fmla="*/ 2005438 h 2164296"/>
                <a:gd name="connsiteX84" fmla="*/ 585787 w 2171700"/>
                <a:gd name="connsiteY84" fmla="*/ 1976863 h 2164296"/>
                <a:gd name="connsiteX85" fmla="*/ 571500 w 2171700"/>
                <a:gd name="connsiteY85" fmla="*/ 1957813 h 2164296"/>
                <a:gd name="connsiteX86" fmla="*/ 557212 w 2171700"/>
                <a:gd name="connsiteY86" fmla="*/ 1934000 h 2164296"/>
                <a:gd name="connsiteX87" fmla="*/ 523875 w 2171700"/>
                <a:gd name="connsiteY87" fmla="*/ 1895900 h 2164296"/>
                <a:gd name="connsiteX88" fmla="*/ 495300 w 2171700"/>
                <a:gd name="connsiteY88" fmla="*/ 1848275 h 2164296"/>
                <a:gd name="connsiteX89" fmla="*/ 471487 w 2171700"/>
                <a:gd name="connsiteY89" fmla="*/ 1819700 h 2164296"/>
                <a:gd name="connsiteX90" fmla="*/ 447675 w 2171700"/>
                <a:gd name="connsiteY90" fmla="*/ 1781600 h 2164296"/>
                <a:gd name="connsiteX91" fmla="*/ 400050 w 2171700"/>
                <a:gd name="connsiteY91" fmla="*/ 1738738 h 2164296"/>
                <a:gd name="connsiteX92" fmla="*/ 381000 w 2171700"/>
                <a:gd name="connsiteY92" fmla="*/ 1705400 h 2164296"/>
                <a:gd name="connsiteX93" fmla="*/ 366712 w 2171700"/>
                <a:gd name="connsiteY93" fmla="*/ 1686350 h 2164296"/>
                <a:gd name="connsiteX94" fmla="*/ 347662 w 2171700"/>
                <a:gd name="connsiteY94" fmla="*/ 1657775 h 2164296"/>
                <a:gd name="connsiteX95" fmla="*/ 290512 w 2171700"/>
                <a:gd name="connsiteY95" fmla="*/ 1600625 h 2164296"/>
                <a:gd name="connsiteX96" fmla="*/ 266700 w 2171700"/>
                <a:gd name="connsiteY96" fmla="*/ 1576813 h 2164296"/>
                <a:gd name="connsiteX97" fmla="*/ 252412 w 2171700"/>
                <a:gd name="connsiteY97" fmla="*/ 1562525 h 2164296"/>
                <a:gd name="connsiteX98" fmla="*/ 214312 w 2171700"/>
                <a:gd name="connsiteY98" fmla="*/ 1538713 h 2164296"/>
                <a:gd name="connsiteX99" fmla="*/ 190500 w 2171700"/>
                <a:gd name="connsiteY99" fmla="*/ 1510138 h 2164296"/>
                <a:gd name="connsiteX100" fmla="*/ 166687 w 2171700"/>
                <a:gd name="connsiteY100" fmla="*/ 1491088 h 2164296"/>
                <a:gd name="connsiteX101" fmla="*/ 147637 w 2171700"/>
                <a:gd name="connsiteY101" fmla="*/ 1462513 h 2164296"/>
                <a:gd name="connsiteX102" fmla="*/ 123825 w 2171700"/>
                <a:gd name="connsiteY102" fmla="*/ 1438700 h 2164296"/>
                <a:gd name="connsiteX103" fmla="*/ 114300 w 2171700"/>
                <a:gd name="connsiteY103" fmla="*/ 1424413 h 2164296"/>
                <a:gd name="connsiteX104" fmla="*/ 95250 w 2171700"/>
                <a:gd name="connsiteY104" fmla="*/ 1405363 h 2164296"/>
                <a:gd name="connsiteX105" fmla="*/ 76200 w 2171700"/>
                <a:gd name="connsiteY105" fmla="*/ 1376788 h 2164296"/>
                <a:gd name="connsiteX106" fmla="*/ 61912 w 2171700"/>
                <a:gd name="connsiteY106" fmla="*/ 1362500 h 2164296"/>
                <a:gd name="connsiteX107" fmla="*/ 52387 w 2171700"/>
                <a:gd name="connsiteY107" fmla="*/ 1348213 h 2164296"/>
                <a:gd name="connsiteX108" fmla="*/ 38100 w 2171700"/>
                <a:gd name="connsiteY108" fmla="*/ 1329163 h 2164296"/>
                <a:gd name="connsiteX109" fmla="*/ 33337 w 2171700"/>
                <a:gd name="connsiteY109" fmla="*/ 1305350 h 2164296"/>
                <a:gd name="connsiteX110" fmla="*/ 9525 w 2171700"/>
                <a:gd name="connsiteY110" fmla="*/ 1257725 h 2164296"/>
                <a:gd name="connsiteX111" fmla="*/ 0 w 2171700"/>
                <a:gd name="connsiteY111" fmla="*/ 1200575 h 2164296"/>
                <a:gd name="connsiteX112" fmla="*/ 4762 w 2171700"/>
                <a:gd name="connsiteY112" fmla="*/ 991025 h 2164296"/>
                <a:gd name="connsiteX113" fmla="*/ 42862 w 2171700"/>
                <a:gd name="connsiteY113" fmla="*/ 929113 h 2164296"/>
                <a:gd name="connsiteX114" fmla="*/ 66675 w 2171700"/>
                <a:gd name="connsiteY114" fmla="*/ 891013 h 2164296"/>
                <a:gd name="connsiteX115" fmla="*/ 85725 w 2171700"/>
                <a:gd name="connsiteY115" fmla="*/ 848150 h 2164296"/>
                <a:gd name="connsiteX116" fmla="*/ 109537 w 2171700"/>
                <a:gd name="connsiteY116" fmla="*/ 795763 h 2164296"/>
                <a:gd name="connsiteX117" fmla="*/ 128587 w 2171700"/>
                <a:gd name="connsiteY117" fmla="*/ 762425 h 2164296"/>
                <a:gd name="connsiteX118" fmla="*/ 147637 w 2171700"/>
                <a:gd name="connsiteY118" fmla="*/ 733850 h 2164296"/>
                <a:gd name="connsiteX119" fmla="*/ 209550 w 2171700"/>
                <a:gd name="connsiteY119" fmla="*/ 610025 h 2164296"/>
                <a:gd name="connsiteX120" fmla="*/ 214312 w 2171700"/>
                <a:gd name="connsiteY120" fmla="*/ 581450 h 2164296"/>
                <a:gd name="connsiteX121" fmla="*/ 238125 w 2171700"/>
                <a:gd name="connsiteY121" fmla="*/ 538588 h 2164296"/>
                <a:gd name="connsiteX122" fmla="*/ 252412 w 2171700"/>
                <a:gd name="connsiteY122" fmla="*/ 500488 h 2164296"/>
                <a:gd name="connsiteX123" fmla="*/ 266700 w 2171700"/>
                <a:gd name="connsiteY123" fmla="*/ 471913 h 2164296"/>
                <a:gd name="connsiteX124" fmla="*/ 276225 w 2171700"/>
                <a:gd name="connsiteY124" fmla="*/ 443338 h 2164296"/>
                <a:gd name="connsiteX125" fmla="*/ 285750 w 2171700"/>
                <a:gd name="connsiteY125" fmla="*/ 429050 h 2164296"/>
                <a:gd name="connsiteX126" fmla="*/ 295275 w 2171700"/>
                <a:gd name="connsiteY126" fmla="*/ 405238 h 2164296"/>
                <a:gd name="connsiteX127" fmla="*/ 314325 w 2171700"/>
                <a:gd name="connsiteY127" fmla="*/ 381425 h 2164296"/>
                <a:gd name="connsiteX128" fmla="*/ 333375 w 2171700"/>
                <a:gd name="connsiteY128" fmla="*/ 333800 h 2164296"/>
                <a:gd name="connsiteX129" fmla="*/ 361950 w 2171700"/>
                <a:gd name="connsiteY129" fmla="*/ 290938 h 2164296"/>
                <a:gd name="connsiteX130" fmla="*/ 385762 w 2171700"/>
                <a:gd name="connsiteY130" fmla="*/ 248075 h 2164296"/>
                <a:gd name="connsiteX131" fmla="*/ 400050 w 2171700"/>
                <a:gd name="connsiteY131" fmla="*/ 229025 h 2164296"/>
                <a:gd name="connsiteX132" fmla="*/ 423862 w 2171700"/>
                <a:gd name="connsiteY132" fmla="*/ 214738 h 2164296"/>
                <a:gd name="connsiteX133" fmla="*/ 447675 w 2171700"/>
                <a:gd name="connsiteY133" fmla="*/ 190925 h 2164296"/>
                <a:gd name="connsiteX134" fmla="*/ 461962 w 2171700"/>
                <a:gd name="connsiteY134" fmla="*/ 181400 h 2164296"/>
                <a:gd name="connsiteX135" fmla="*/ 495300 w 2171700"/>
                <a:gd name="connsiteY135" fmla="*/ 143300 h 2164296"/>
                <a:gd name="connsiteX136" fmla="*/ 509587 w 2171700"/>
                <a:gd name="connsiteY136" fmla="*/ 133775 h 2164296"/>
                <a:gd name="connsiteX137" fmla="*/ 619125 w 2171700"/>
                <a:gd name="connsiteY137" fmla="*/ 71863 h 2164296"/>
                <a:gd name="connsiteX138" fmla="*/ 633412 w 2171700"/>
                <a:gd name="connsiteY138" fmla="*/ 52813 h 2164296"/>
                <a:gd name="connsiteX139" fmla="*/ 652462 w 2171700"/>
                <a:gd name="connsiteY139" fmla="*/ 48050 h 2164296"/>
                <a:gd name="connsiteX140" fmla="*/ 676275 w 2171700"/>
                <a:gd name="connsiteY140" fmla="*/ 38525 h 2164296"/>
                <a:gd name="connsiteX141" fmla="*/ 719137 w 2171700"/>
                <a:gd name="connsiteY141" fmla="*/ 24238 h 2164296"/>
                <a:gd name="connsiteX142" fmla="*/ 747712 w 2171700"/>
                <a:gd name="connsiteY142" fmla="*/ 14713 h 2164296"/>
                <a:gd name="connsiteX143" fmla="*/ 795337 w 2171700"/>
                <a:gd name="connsiteY143" fmla="*/ 9950 h 2164296"/>
                <a:gd name="connsiteX144" fmla="*/ 866775 w 2171700"/>
                <a:gd name="connsiteY14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0262 w 2171700"/>
                <a:gd name="connsiteY35" fmla="*/ 971975 h 2164296"/>
                <a:gd name="connsiteX36" fmla="*/ 2109787 w 2171700"/>
                <a:gd name="connsiteY36" fmla="*/ 1019600 h 2164296"/>
                <a:gd name="connsiteX37" fmla="*/ 2119312 w 2171700"/>
                <a:gd name="connsiteY37" fmla="*/ 1048175 h 2164296"/>
                <a:gd name="connsiteX38" fmla="*/ 2124075 w 2171700"/>
                <a:gd name="connsiteY38" fmla="*/ 1086275 h 2164296"/>
                <a:gd name="connsiteX39" fmla="*/ 2128837 w 2171700"/>
                <a:gd name="connsiteY39" fmla="*/ 1148188 h 2164296"/>
                <a:gd name="connsiteX40" fmla="*/ 2143125 w 2171700"/>
                <a:gd name="connsiteY40" fmla="*/ 1191050 h 2164296"/>
                <a:gd name="connsiteX41" fmla="*/ 2147887 w 2171700"/>
                <a:gd name="connsiteY41" fmla="*/ 1224388 h 2164296"/>
                <a:gd name="connsiteX42" fmla="*/ 2166937 w 2171700"/>
                <a:gd name="connsiteY42" fmla="*/ 1276775 h 2164296"/>
                <a:gd name="connsiteX43" fmla="*/ 2171700 w 2171700"/>
                <a:gd name="connsiteY43" fmla="*/ 1300588 h 2164296"/>
                <a:gd name="connsiteX44" fmla="*/ 2166937 w 2171700"/>
                <a:gd name="connsiteY44" fmla="*/ 1514900 h 2164296"/>
                <a:gd name="connsiteX45" fmla="*/ 2157412 w 2171700"/>
                <a:gd name="connsiteY45" fmla="*/ 1529188 h 2164296"/>
                <a:gd name="connsiteX46" fmla="*/ 2147887 w 2171700"/>
                <a:gd name="connsiteY46" fmla="*/ 1562525 h 2164296"/>
                <a:gd name="connsiteX47" fmla="*/ 2138362 w 2171700"/>
                <a:gd name="connsiteY47" fmla="*/ 1576813 h 2164296"/>
                <a:gd name="connsiteX48" fmla="*/ 2133600 w 2171700"/>
                <a:gd name="connsiteY48" fmla="*/ 1600625 h 2164296"/>
                <a:gd name="connsiteX49" fmla="*/ 2119312 w 2171700"/>
                <a:gd name="connsiteY49" fmla="*/ 1614913 h 2164296"/>
                <a:gd name="connsiteX50" fmla="*/ 2109787 w 2171700"/>
                <a:gd name="connsiteY50" fmla="*/ 1629200 h 2164296"/>
                <a:gd name="connsiteX51" fmla="*/ 2081212 w 2171700"/>
                <a:gd name="connsiteY51" fmla="*/ 1657775 h 2164296"/>
                <a:gd name="connsiteX52" fmla="*/ 2052637 w 2171700"/>
                <a:gd name="connsiteY52" fmla="*/ 1686350 h 2164296"/>
                <a:gd name="connsiteX53" fmla="*/ 2043112 w 2171700"/>
                <a:gd name="connsiteY53" fmla="*/ 1700638 h 2164296"/>
                <a:gd name="connsiteX54" fmla="*/ 2028825 w 2171700"/>
                <a:gd name="connsiteY54" fmla="*/ 1710163 h 2164296"/>
                <a:gd name="connsiteX55" fmla="*/ 2005012 w 2171700"/>
                <a:gd name="connsiteY55" fmla="*/ 1724450 h 2164296"/>
                <a:gd name="connsiteX56" fmla="*/ 1981200 w 2171700"/>
                <a:gd name="connsiteY56" fmla="*/ 1743500 h 2164296"/>
                <a:gd name="connsiteX57" fmla="*/ 1909762 w 2171700"/>
                <a:gd name="connsiteY57" fmla="*/ 1772075 h 2164296"/>
                <a:gd name="connsiteX58" fmla="*/ 1890712 w 2171700"/>
                <a:gd name="connsiteY58" fmla="*/ 1786363 h 2164296"/>
                <a:gd name="connsiteX59" fmla="*/ 1843087 w 2171700"/>
                <a:gd name="connsiteY59" fmla="*/ 1814938 h 2164296"/>
                <a:gd name="connsiteX60" fmla="*/ 1828800 w 2171700"/>
                <a:gd name="connsiteY60" fmla="*/ 1833988 h 2164296"/>
                <a:gd name="connsiteX61" fmla="*/ 1776412 w 2171700"/>
                <a:gd name="connsiteY61" fmla="*/ 1862563 h 2164296"/>
                <a:gd name="connsiteX62" fmla="*/ 1728787 w 2171700"/>
                <a:gd name="connsiteY62" fmla="*/ 1872088 h 2164296"/>
                <a:gd name="connsiteX63" fmla="*/ 1709737 w 2171700"/>
                <a:gd name="connsiteY63" fmla="*/ 1881613 h 2164296"/>
                <a:gd name="connsiteX64" fmla="*/ 1647825 w 2171700"/>
                <a:gd name="connsiteY64" fmla="*/ 1895900 h 2164296"/>
                <a:gd name="connsiteX65" fmla="*/ 1619250 w 2171700"/>
                <a:gd name="connsiteY65" fmla="*/ 1910188 h 2164296"/>
                <a:gd name="connsiteX66" fmla="*/ 1571625 w 2171700"/>
                <a:gd name="connsiteY66" fmla="*/ 1929238 h 2164296"/>
                <a:gd name="connsiteX67" fmla="*/ 1404937 w 2171700"/>
                <a:gd name="connsiteY67" fmla="*/ 2029250 h 2164296"/>
                <a:gd name="connsiteX68" fmla="*/ 1333500 w 2171700"/>
                <a:gd name="connsiteY68" fmla="*/ 2053063 h 2164296"/>
                <a:gd name="connsiteX69" fmla="*/ 1319212 w 2171700"/>
                <a:gd name="connsiteY69" fmla="*/ 2062588 h 2164296"/>
                <a:gd name="connsiteX70" fmla="*/ 1281112 w 2171700"/>
                <a:gd name="connsiteY70" fmla="*/ 2072113 h 2164296"/>
                <a:gd name="connsiteX71" fmla="*/ 1257300 w 2171700"/>
                <a:gd name="connsiteY71" fmla="*/ 2086400 h 2164296"/>
                <a:gd name="connsiteX72" fmla="*/ 1204912 w 2171700"/>
                <a:gd name="connsiteY72" fmla="*/ 2100688 h 2164296"/>
                <a:gd name="connsiteX73" fmla="*/ 1162050 w 2171700"/>
                <a:gd name="connsiteY73" fmla="*/ 2119738 h 2164296"/>
                <a:gd name="connsiteX74" fmla="*/ 1143000 w 2171700"/>
                <a:gd name="connsiteY74" fmla="*/ 2134025 h 2164296"/>
                <a:gd name="connsiteX75" fmla="*/ 1071562 w 2171700"/>
                <a:gd name="connsiteY75" fmla="*/ 2148313 h 2164296"/>
                <a:gd name="connsiteX76" fmla="*/ 1042987 w 2171700"/>
                <a:gd name="connsiteY76" fmla="*/ 2162600 h 2164296"/>
                <a:gd name="connsiteX77" fmla="*/ 909637 w 2171700"/>
                <a:gd name="connsiteY77" fmla="*/ 2157838 h 2164296"/>
                <a:gd name="connsiteX78" fmla="*/ 800100 w 2171700"/>
                <a:gd name="connsiteY78" fmla="*/ 2105450 h 2164296"/>
                <a:gd name="connsiteX79" fmla="*/ 762000 w 2171700"/>
                <a:gd name="connsiteY79" fmla="*/ 2091163 h 2164296"/>
                <a:gd name="connsiteX80" fmla="*/ 714375 w 2171700"/>
                <a:gd name="connsiteY80" fmla="*/ 2062588 h 2164296"/>
                <a:gd name="connsiteX81" fmla="*/ 657225 w 2171700"/>
                <a:gd name="connsiteY81" fmla="*/ 2038775 h 2164296"/>
                <a:gd name="connsiteX82" fmla="*/ 623887 w 2171700"/>
                <a:gd name="connsiteY82" fmla="*/ 2005438 h 2164296"/>
                <a:gd name="connsiteX83" fmla="*/ 585787 w 2171700"/>
                <a:gd name="connsiteY83" fmla="*/ 1976863 h 2164296"/>
                <a:gd name="connsiteX84" fmla="*/ 571500 w 2171700"/>
                <a:gd name="connsiteY84" fmla="*/ 1957813 h 2164296"/>
                <a:gd name="connsiteX85" fmla="*/ 557212 w 2171700"/>
                <a:gd name="connsiteY85" fmla="*/ 1934000 h 2164296"/>
                <a:gd name="connsiteX86" fmla="*/ 523875 w 2171700"/>
                <a:gd name="connsiteY86" fmla="*/ 1895900 h 2164296"/>
                <a:gd name="connsiteX87" fmla="*/ 495300 w 2171700"/>
                <a:gd name="connsiteY87" fmla="*/ 1848275 h 2164296"/>
                <a:gd name="connsiteX88" fmla="*/ 471487 w 2171700"/>
                <a:gd name="connsiteY88" fmla="*/ 1819700 h 2164296"/>
                <a:gd name="connsiteX89" fmla="*/ 447675 w 2171700"/>
                <a:gd name="connsiteY89" fmla="*/ 1781600 h 2164296"/>
                <a:gd name="connsiteX90" fmla="*/ 400050 w 2171700"/>
                <a:gd name="connsiteY90" fmla="*/ 1738738 h 2164296"/>
                <a:gd name="connsiteX91" fmla="*/ 381000 w 2171700"/>
                <a:gd name="connsiteY91" fmla="*/ 1705400 h 2164296"/>
                <a:gd name="connsiteX92" fmla="*/ 366712 w 2171700"/>
                <a:gd name="connsiteY92" fmla="*/ 1686350 h 2164296"/>
                <a:gd name="connsiteX93" fmla="*/ 347662 w 2171700"/>
                <a:gd name="connsiteY93" fmla="*/ 1657775 h 2164296"/>
                <a:gd name="connsiteX94" fmla="*/ 290512 w 2171700"/>
                <a:gd name="connsiteY94" fmla="*/ 1600625 h 2164296"/>
                <a:gd name="connsiteX95" fmla="*/ 266700 w 2171700"/>
                <a:gd name="connsiteY95" fmla="*/ 1576813 h 2164296"/>
                <a:gd name="connsiteX96" fmla="*/ 252412 w 2171700"/>
                <a:gd name="connsiteY96" fmla="*/ 1562525 h 2164296"/>
                <a:gd name="connsiteX97" fmla="*/ 214312 w 2171700"/>
                <a:gd name="connsiteY97" fmla="*/ 1538713 h 2164296"/>
                <a:gd name="connsiteX98" fmla="*/ 190500 w 2171700"/>
                <a:gd name="connsiteY98" fmla="*/ 1510138 h 2164296"/>
                <a:gd name="connsiteX99" fmla="*/ 166687 w 2171700"/>
                <a:gd name="connsiteY99" fmla="*/ 1491088 h 2164296"/>
                <a:gd name="connsiteX100" fmla="*/ 147637 w 2171700"/>
                <a:gd name="connsiteY100" fmla="*/ 1462513 h 2164296"/>
                <a:gd name="connsiteX101" fmla="*/ 123825 w 2171700"/>
                <a:gd name="connsiteY101" fmla="*/ 1438700 h 2164296"/>
                <a:gd name="connsiteX102" fmla="*/ 114300 w 2171700"/>
                <a:gd name="connsiteY102" fmla="*/ 1424413 h 2164296"/>
                <a:gd name="connsiteX103" fmla="*/ 95250 w 2171700"/>
                <a:gd name="connsiteY103" fmla="*/ 1405363 h 2164296"/>
                <a:gd name="connsiteX104" fmla="*/ 76200 w 2171700"/>
                <a:gd name="connsiteY104" fmla="*/ 1376788 h 2164296"/>
                <a:gd name="connsiteX105" fmla="*/ 61912 w 2171700"/>
                <a:gd name="connsiteY105" fmla="*/ 1362500 h 2164296"/>
                <a:gd name="connsiteX106" fmla="*/ 52387 w 2171700"/>
                <a:gd name="connsiteY106" fmla="*/ 1348213 h 2164296"/>
                <a:gd name="connsiteX107" fmla="*/ 38100 w 2171700"/>
                <a:gd name="connsiteY107" fmla="*/ 1329163 h 2164296"/>
                <a:gd name="connsiteX108" fmla="*/ 33337 w 2171700"/>
                <a:gd name="connsiteY108" fmla="*/ 1305350 h 2164296"/>
                <a:gd name="connsiteX109" fmla="*/ 9525 w 2171700"/>
                <a:gd name="connsiteY109" fmla="*/ 1257725 h 2164296"/>
                <a:gd name="connsiteX110" fmla="*/ 0 w 2171700"/>
                <a:gd name="connsiteY110" fmla="*/ 1200575 h 2164296"/>
                <a:gd name="connsiteX111" fmla="*/ 4762 w 2171700"/>
                <a:gd name="connsiteY111" fmla="*/ 991025 h 2164296"/>
                <a:gd name="connsiteX112" fmla="*/ 42862 w 2171700"/>
                <a:gd name="connsiteY112" fmla="*/ 929113 h 2164296"/>
                <a:gd name="connsiteX113" fmla="*/ 66675 w 2171700"/>
                <a:gd name="connsiteY113" fmla="*/ 891013 h 2164296"/>
                <a:gd name="connsiteX114" fmla="*/ 85725 w 2171700"/>
                <a:gd name="connsiteY114" fmla="*/ 848150 h 2164296"/>
                <a:gd name="connsiteX115" fmla="*/ 109537 w 2171700"/>
                <a:gd name="connsiteY115" fmla="*/ 795763 h 2164296"/>
                <a:gd name="connsiteX116" fmla="*/ 128587 w 2171700"/>
                <a:gd name="connsiteY116" fmla="*/ 762425 h 2164296"/>
                <a:gd name="connsiteX117" fmla="*/ 147637 w 2171700"/>
                <a:gd name="connsiteY117" fmla="*/ 733850 h 2164296"/>
                <a:gd name="connsiteX118" fmla="*/ 209550 w 2171700"/>
                <a:gd name="connsiteY118" fmla="*/ 610025 h 2164296"/>
                <a:gd name="connsiteX119" fmla="*/ 214312 w 2171700"/>
                <a:gd name="connsiteY119" fmla="*/ 581450 h 2164296"/>
                <a:gd name="connsiteX120" fmla="*/ 238125 w 2171700"/>
                <a:gd name="connsiteY120" fmla="*/ 538588 h 2164296"/>
                <a:gd name="connsiteX121" fmla="*/ 252412 w 2171700"/>
                <a:gd name="connsiteY121" fmla="*/ 500488 h 2164296"/>
                <a:gd name="connsiteX122" fmla="*/ 266700 w 2171700"/>
                <a:gd name="connsiteY122" fmla="*/ 471913 h 2164296"/>
                <a:gd name="connsiteX123" fmla="*/ 276225 w 2171700"/>
                <a:gd name="connsiteY123" fmla="*/ 443338 h 2164296"/>
                <a:gd name="connsiteX124" fmla="*/ 285750 w 2171700"/>
                <a:gd name="connsiteY124" fmla="*/ 429050 h 2164296"/>
                <a:gd name="connsiteX125" fmla="*/ 295275 w 2171700"/>
                <a:gd name="connsiteY125" fmla="*/ 405238 h 2164296"/>
                <a:gd name="connsiteX126" fmla="*/ 314325 w 2171700"/>
                <a:gd name="connsiteY126" fmla="*/ 381425 h 2164296"/>
                <a:gd name="connsiteX127" fmla="*/ 333375 w 2171700"/>
                <a:gd name="connsiteY127" fmla="*/ 333800 h 2164296"/>
                <a:gd name="connsiteX128" fmla="*/ 361950 w 2171700"/>
                <a:gd name="connsiteY128" fmla="*/ 290938 h 2164296"/>
                <a:gd name="connsiteX129" fmla="*/ 385762 w 2171700"/>
                <a:gd name="connsiteY129" fmla="*/ 248075 h 2164296"/>
                <a:gd name="connsiteX130" fmla="*/ 400050 w 2171700"/>
                <a:gd name="connsiteY130" fmla="*/ 229025 h 2164296"/>
                <a:gd name="connsiteX131" fmla="*/ 423862 w 2171700"/>
                <a:gd name="connsiteY131" fmla="*/ 214738 h 2164296"/>
                <a:gd name="connsiteX132" fmla="*/ 447675 w 2171700"/>
                <a:gd name="connsiteY132" fmla="*/ 190925 h 2164296"/>
                <a:gd name="connsiteX133" fmla="*/ 461962 w 2171700"/>
                <a:gd name="connsiteY133" fmla="*/ 181400 h 2164296"/>
                <a:gd name="connsiteX134" fmla="*/ 495300 w 2171700"/>
                <a:gd name="connsiteY134" fmla="*/ 143300 h 2164296"/>
                <a:gd name="connsiteX135" fmla="*/ 509587 w 2171700"/>
                <a:gd name="connsiteY135" fmla="*/ 133775 h 2164296"/>
                <a:gd name="connsiteX136" fmla="*/ 619125 w 2171700"/>
                <a:gd name="connsiteY136" fmla="*/ 71863 h 2164296"/>
                <a:gd name="connsiteX137" fmla="*/ 633412 w 2171700"/>
                <a:gd name="connsiteY137" fmla="*/ 52813 h 2164296"/>
                <a:gd name="connsiteX138" fmla="*/ 652462 w 2171700"/>
                <a:gd name="connsiteY138" fmla="*/ 48050 h 2164296"/>
                <a:gd name="connsiteX139" fmla="*/ 676275 w 2171700"/>
                <a:gd name="connsiteY139" fmla="*/ 38525 h 2164296"/>
                <a:gd name="connsiteX140" fmla="*/ 719137 w 2171700"/>
                <a:gd name="connsiteY140" fmla="*/ 24238 h 2164296"/>
                <a:gd name="connsiteX141" fmla="*/ 747712 w 2171700"/>
                <a:gd name="connsiteY141" fmla="*/ 14713 h 2164296"/>
                <a:gd name="connsiteX142" fmla="*/ 795337 w 2171700"/>
                <a:gd name="connsiteY142" fmla="*/ 9950 h 2164296"/>
                <a:gd name="connsiteX143" fmla="*/ 866775 w 2171700"/>
                <a:gd name="connsiteY14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19312 w 2171700"/>
                <a:gd name="connsiteY36" fmla="*/ 1048175 h 2164296"/>
                <a:gd name="connsiteX37" fmla="*/ 2124075 w 2171700"/>
                <a:gd name="connsiteY37" fmla="*/ 1086275 h 2164296"/>
                <a:gd name="connsiteX38" fmla="*/ 2128837 w 2171700"/>
                <a:gd name="connsiteY38" fmla="*/ 1148188 h 2164296"/>
                <a:gd name="connsiteX39" fmla="*/ 2143125 w 2171700"/>
                <a:gd name="connsiteY39" fmla="*/ 1191050 h 2164296"/>
                <a:gd name="connsiteX40" fmla="*/ 2147887 w 2171700"/>
                <a:gd name="connsiteY40" fmla="*/ 1224388 h 2164296"/>
                <a:gd name="connsiteX41" fmla="*/ 2166937 w 2171700"/>
                <a:gd name="connsiteY41" fmla="*/ 1276775 h 2164296"/>
                <a:gd name="connsiteX42" fmla="*/ 2171700 w 2171700"/>
                <a:gd name="connsiteY42" fmla="*/ 1300588 h 2164296"/>
                <a:gd name="connsiteX43" fmla="*/ 2166937 w 2171700"/>
                <a:gd name="connsiteY43" fmla="*/ 1514900 h 2164296"/>
                <a:gd name="connsiteX44" fmla="*/ 2157412 w 2171700"/>
                <a:gd name="connsiteY44" fmla="*/ 1529188 h 2164296"/>
                <a:gd name="connsiteX45" fmla="*/ 2147887 w 2171700"/>
                <a:gd name="connsiteY45" fmla="*/ 1562525 h 2164296"/>
                <a:gd name="connsiteX46" fmla="*/ 2138362 w 2171700"/>
                <a:gd name="connsiteY46" fmla="*/ 1576813 h 2164296"/>
                <a:gd name="connsiteX47" fmla="*/ 2133600 w 2171700"/>
                <a:gd name="connsiteY47" fmla="*/ 1600625 h 2164296"/>
                <a:gd name="connsiteX48" fmla="*/ 2119312 w 2171700"/>
                <a:gd name="connsiteY48" fmla="*/ 1614913 h 2164296"/>
                <a:gd name="connsiteX49" fmla="*/ 2109787 w 2171700"/>
                <a:gd name="connsiteY49" fmla="*/ 1629200 h 2164296"/>
                <a:gd name="connsiteX50" fmla="*/ 2081212 w 2171700"/>
                <a:gd name="connsiteY50" fmla="*/ 1657775 h 2164296"/>
                <a:gd name="connsiteX51" fmla="*/ 2052637 w 2171700"/>
                <a:gd name="connsiteY51" fmla="*/ 1686350 h 2164296"/>
                <a:gd name="connsiteX52" fmla="*/ 2043112 w 2171700"/>
                <a:gd name="connsiteY52" fmla="*/ 1700638 h 2164296"/>
                <a:gd name="connsiteX53" fmla="*/ 2028825 w 2171700"/>
                <a:gd name="connsiteY53" fmla="*/ 1710163 h 2164296"/>
                <a:gd name="connsiteX54" fmla="*/ 2005012 w 2171700"/>
                <a:gd name="connsiteY54" fmla="*/ 1724450 h 2164296"/>
                <a:gd name="connsiteX55" fmla="*/ 1981200 w 2171700"/>
                <a:gd name="connsiteY55" fmla="*/ 1743500 h 2164296"/>
                <a:gd name="connsiteX56" fmla="*/ 1909762 w 2171700"/>
                <a:gd name="connsiteY56" fmla="*/ 1772075 h 2164296"/>
                <a:gd name="connsiteX57" fmla="*/ 1890712 w 2171700"/>
                <a:gd name="connsiteY57" fmla="*/ 1786363 h 2164296"/>
                <a:gd name="connsiteX58" fmla="*/ 1843087 w 2171700"/>
                <a:gd name="connsiteY58" fmla="*/ 1814938 h 2164296"/>
                <a:gd name="connsiteX59" fmla="*/ 1828800 w 2171700"/>
                <a:gd name="connsiteY59" fmla="*/ 1833988 h 2164296"/>
                <a:gd name="connsiteX60" fmla="*/ 1776412 w 2171700"/>
                <a:gd name="connsiteY60" fmla="*/ 1862563 h 2164296"/>
                <a:gd name="connsiteX61" fmla="*/ 1728787 w 2171700"/>
                <a:gd name="connsiteY61" fmla="*/ 1872088 h 2164296"/>
                <a:gd name="connsiteX62" fmla="*/ 1709737 w 2171700"/>
                <a:gd name="connsiteY62" fmla="*/ 1881613 h 2164296"/>
                <a:gd name="connsiteX63" fmla="*/ 1647825 w 2171700"/>
                <a:gd name="connsiteY63" fmla="*/ 1895900 h 2164296"/>
                <a:gd name="connsiteX64" fmla="*/ 1619250 w 2171700"/>
                <a:gd name="connsiteY64" fmla="*/ 1910188 h 2164296"/>
                <a:gd name="connsiteX65" fmla="*/ 1571625 w 2171700"/>
                <a:gd name="connsiteY65" fmla="*/ 1929238 h 2164296"/>
                <a:gd name="connsiteX66" fmla="*/ 1404937 w 2171700"/>
                <a:gd name="connsiteY66" fmla="*/ 2029250 h 2164296"/>
                <a:gd name="connsiteX67" fmla="*/ 1333500 w 2171700"/>
                <a:gd name="connsiteY67" fmla="*/ 2053063 h 2164296"/>
                <a:gd name="connsiteX68" fmla="*/ 1319212 w 2171700"/>
                <a:gd name="connsiteY68" fmla="*/ 2062588 h 2164296"/>
                <a:gd name="connsiteX69" fmla="*/ 1281112 w 2171700"/>
                <a:gd name="connsiteY69" fmla="*/ 2072113 h 2164296"/>
                <a:gd name="connsiteX70" fmla="*/ 1257300 w 2171700"/>
                <a:gd name="connsiteY70" fmla="*/ 2086400 h 2164296"/>
                <a:gd name="connsiteX71" fmla="*/ 1204912 w 2171700"/>
                <a:gd name="connsiteY71" fmla="*/ 2100688 h 2164296"/>
                <a:gd name="connsiteX72" fmla="*/ 1162050 w 2171700"/>
                <a:gd name="connsiteY72" fmla="*/ 2119738 h 2164296"/>
                <a:gd name="connsiteX73" fmla="*/ 1143000 w 2171700"/>
                <a:gd name="connsiteY73" fmla="*/ 2134025 h 2164296"/>
                <a:gd name="connsiteX74" fmla="*/ 1071562 w 2171700"/>
                <a:gd name="connsiteY74" fmla="*/ 2148313 h 2164296"/>
                <a:gd name="connsiteX75" fmla="*/ 1042987 w 2171700"/>
                <a:gd name="connsiteY75" fmla="*/ 2162600 h 2164296"/>
                <a:gd name="connsiteX76" fmla="*/ 909637 w 2171700"/>
                <a:gd name="connsiteY76" fmla="*/ 2157838 h 2164296"/>
                <a:gd name="connsiteX77" fmla="*/ 800100 w 2171700"/>
                <a:gd name="connsiteY77" fmla="*/ 2105450 h 2164296"/>
                <a:gd name="connsiteX78" fmla="*/ 762000 w 2171700"/>
                <a:gd name="connsiteY78" fmla="*/ 2091163 h 2164296"/>
                <a:gd name="connsiteX79" fmla="*/ 714375 w 2171700"/>
                <a:gd name="connsiteY79" fmla="*/ 2062588 h 2164296"/>
                <a:gd name="connsiteX80" fmla="*/ 657225 w 2171700"/>
                <a:gd name="connsiteY80" fmla="*/ 2038775 h 2164296"/>
                <a:gd name="connsiteX81" fmla="*/ 623887 w 2171700"/>
                <a:gd name="connsiteY81" fmla="*/ 2005438 h 2164296"/>
                <a:gd name="connsiteX82" fmla="*/ 585787 w 2171700"/>
                <a:gd name="connsiteY82" fmla="*/ 1976863 h 2164296"/>
                <a:gd name="connsiteX83" fmla="*/ 571500 w 2171700"/>
                <a:gd name="connsiteY83" fmla="*/ 1957813 h 2164296"/>
                <a:gd name="connsiteX84" fmla="*/ 557212 w 2171700"/>
                <a:gd name="connsiteY84" fmla="*/ 1934000 h 2164296"/>
                <a:gd name="connsiteX85" fmla="*/ 523875 w 2171700"/>
                <a:gd name="connsiteY85" fmla="*/ 1895900 h 2164296"/>
                <a:gd name="connsiteX86" fmla="*/ 495300 w 2171700"/>
                <a:gd name="connsiteY86" fmla="*/ 1848275 h 2164296"/>
                <a:gd name="connsiteX87" fmla="*/ 471487 w 2171700"/>
                <a:gd name="connsiteY87" fmla="*/ 1819700 h 2164296"/>
                <a:gd name="connsiteX88" fmla="*/ 447675 w 2171700"/>
                <a:gd name="connsiteY88" fmla="*/ 1781600 h 2164296"/>
                <a:gd name="connsiteX89" fmla="*/ 400050 w 2171700"/>
                <a:gd name="connsiteY89" fmla="*/ 1738738 h 2164296"/>
                <a:gd name="connsiteX90" fmla="*/ 381000 w 2171700"/>
                <a:gd name="connsiteY90" fmla="*/ 1705400 h 2164296"/>
                <a:gd name="connsiteX91" fmla="*/ 366712 w 2171700"/>
                <a:gd name="connsiteY91" fmla="*/ 1686350 h 2164296"/>
                <a:gd name="connsiteX92" fmla="*/ 347662 w 2171700"/>
                <a:gd name="connsiteY92" fmla="*/ 1657775 h 2164296"/>
                <a:gd name="connsiteX93" fmla="*/ 290512 w 2171700"/>
                <a:gd name="connsiteY93" fmla="*/ 1600625 h 2164296"/>
                <a:gd name="connsiteX94" fmla="*/ 266700 w 2171700"/>
                <a:gd name="connsiteY94" fmla="*/ 1576813 h 2164296"/>
                <a:gd name="connsiteX95" fmla="*/ 252412 w 2171700"/>
                <a:gd name="connsiteY95" fmla="*/ 1562525 h 2164296"/>
                <a:gd name="connsiteX96" fmla="*/ 214312 w 2171700"/>
                <a:gd name="connsiteY96" fmla="*/ 1538713 h 2164296"/>
                <a:gd name="connsiteX97" fmla="*/ 190500 w 2171700"/>
                <a:gd name="connsiteY97" fmla="*/ 1510138 h 2164296"/>
                <a:gd name="connsiteX98" fmla="*/ 166687 w 2171700"/>
                <a:gd name="connsiteY98" fmla="*/ 1491088 h 2164296"/>
                <a:gd name="connsiteX99" fmla="*/ 147637 w 2171700"/>
                <a:gd name="connsiteY99" fmla="*/ 1462513 h 2164296"/>
                <a:gd name="connsiteX100" fmla="*/ 123825 w 2171700"/>
                <a:gd name="connsiteY100" fmla="*/ 1438700 h 2164296"/>
                <a:gd name="connsiteX101" fmla="*/ 114300 w 2171700"/>
                <a:gd name="connsiteY101" fmla="*/ 1424413 h 2164296"/>
                <a:gd name="connsiteX102" fmla="*/ 95250 w 2171700"/>
                <a:gd name="connsiteY102" fmla="*/ 1405363 h 2164296"/>
                <a:gd name="connsiteX103" fmla="*/ 76200 w 2171700"/>
                <a:gd name="connsiteY103" fmla="*/ 1376788 h 2164296"/>
                <a:gd name="connsiteX104" fmla="*/ 61912 w 2171700"/>
                <a:gd name="connsiteY104" fmla="*/ 1362500 h 2164296"/>
                <a:gd name="connsiteX105" fmla="*/ 52387 w 2171700"/>
                <a:gd name="connsiteY105" fmla="*/ 1348213 h 2164296"/>
                <a:gd name="connsiteX106" fmla="*/ 38100 w 2171700"/>
                <a:gd name="connsiteY106" fmla="*/ 1329163 h 2164296"/>
                <a:gd name="connsiteX107" fmla="*/ 33337 w 2171700"/>
                <a:gd name="connsiteY107" fmla="*/ 1305350 h 2164296"/>
                <a:gd name="connsiteX108" fmla="*/ 9525 w 2171700"/>
                <a:gd name="connsiteY108" fmla="*/ 1257725 h 2164296"/>
                <a:gd name="connsiteX109" fmla="*/ 0 w 2171700"/>
                <a:gd name="connsiteY109" fmla="*/ 1200575 h 2164296"/>
                <a:gd name="connsiteX110" fmla="*/ 4762 w 2171700"/>
                <a:gd name="connsiteY110" fmla="*/ 991025 h 2164296"/>
                <a:gd name="connsiteX111" fmla="*/ 42862 w 2171700"/>
                <a:gd name="connsiteY111" fmla="*/ 929113 h 2164296"/>
                <a:gd name="connsiteX112" fmla="*/ 66675 w 2171700"/>
                <a:gd name="connsiteY112" fmla="*/ 891013 h 2164296"/>
                <a:gd name="connsiteX113" fmla="*/ 85725 w 2171700"/>
                <a:gd name="connsiteY113" fmla="*/ 848150 h 2164296"/>
                <a:gd name="connsiteX114" fmla="*/ 109537 w 2171700"/>
                <a:gd name="connsiteY114" fmla="*/ 795763 h 2164296"/>
                <a:gd name="connsiteX115" fmla="*/ 128587 w 2171700"/>
                <a:gd name="connsiteY115" fmla="*/ 762425 h 2164296"/>
                <a:gd name="connsiteX116" fmla="*/ 147637 w 2171700"/>
                <a:gd name="connsiteY116" fmla="*/ 733850 h 2164296"/>
                <a:gd name="connsiteX117" fmla="*/ 209550 w 2171700"/>
                <a:gd name="connsiteY117" fmla="*/ 610025 h 2164296"/>
                <a:gd name="connsiteX118" fmla="*/ 214312 w 2171700"/>
                <a:gd name="connsiteY118" fmla="*/ 581450 h 2164296"/>
                <a:gd name="connsiteX119" fmla="*/ 238125 w 2171700"/>
                <a:gd name="connsiteY119" fmla="*/ 538588 h 2164296"/>
                <a:gd name="connsiteX120" fmla="*/ 252412 w 2171700"/>
                <a:gd name="connsiteY120" fmla="*/ 500488 h 2164296"/>
                <a:gd name="connsiteX121" fmla="*/ 266700 w 2171700"/>
                <a:gd name="connsiteY121" fmla="*/ 471913 h 2164296"/>
                <a:gd name="connsiteX122" fmla="*/ 276225 w 2171700"/>
                <a:gd name="connsiteY122" fmla="*/ 443338 h 2164296"/>
                <a:gd name="connsiteX123" fmla="*/ 285750 w 2171700"/>
                <a:gd name="connsiteY123" fmla="*/ 429050 h 2164296"/>
                <a:gd name="connsiteX124" fmla="*/ 295275 w 2171700"/>
                <a:gd name="connsiteY124" fmla="*/ 405238 h 2164296"/>
                <a:gd name="connsiteX125" fmla="*/ 314325 w 2171700"/>
                <a:gd name="connsiteY125" fmla="*/ 381425 h 2164296"/>
                <a:gd name="connsiteX126" fmla="*/ 333375 w 2171700"/>
                <a:gd name="connsiteY126" fmla="*/ 333800 h 2164296"/>
                <a:gd name="connsiteX127" fmla="*/ 361950 w 2171700"/>
                <a:gd name="connsiteY127" fmla="*/ 290938 h 2164296"/>
                <a:gd name="connsiteX128" fmla="*/ 385762 w 2171700"/>
                <a:gd name="connsiteY128" fmla="*/ 248075 h 2164296"/>
                <a:gd name="connsiteX129" fmla="*/ 400050 w 2171700"/>
                <a:gd name="connsiteY129" fmla="*/ 229025 h 2164296"/>
                <a:gd name="connsiteX130" fmla="*/ 423862 w 2171700"/>
                <a:gd name="connsiteY130" fmla="*/ 214738 h 2164296"/>
                <a:gd name="connsiteX131" fmla="*/ 447675 w 2171700"/>
                <a:gd name="connsiteY131" fmla="*/ 190925 h 2164296"/>
                <a:gd name="connsiteX132" fmla="*/ 461962 w 2171700"/>
                <a:gd name="connsiteY132" fmla="*/ 181400 h 2164296"/>
                <a:gd name="connsiteX133" fmla="*/ 495300 w 2171700"/>
                <a:gd name="connsiteY133" fmla="*/ 143300 h 2164296"/>
                <a:gd name="connsiteX134" fmla="*/ 509587 w 2171700"/>
                <a:gd name="connsiteY134" fmla="*/ 133775 h 2164296"/>
                <a:gd name="connsiteX135" fmla="*/ 619125 w 2171700"/>
                <a:gd name="connsiteY135" fmla="*/ 71863 h 2164296"/>
                <a:gd name="connsiteX136" fmla="*/ 633412 w 2171700"/>
                <a:gd name="connsiteY136" fmla="*/ 52813 h 2164296"/>
                <a:gd name="connsiteX137" fmla="*/ 652462 w 2171700"/>
                <a:gd name="connsiteY137" fmla="*/ 48050 h 2164296"/>
                <a:gd name="connsiteX138" fmla="*/ 676275 w 2171700"/>
                <a:gd name="connsiteY138" fmla="*/ 38525 h 2164296"/>
                <a:gd name="connsiteX139" fmla="*/ 719137 w 2171700"/>
                <a:gd name="connsiteY139" fmla="*/ 24238 h 2164296"/>
                <a:gd name="connsiteX140" fmla="*/ 747712 w 2171700"/>
                <a:gd name="connsiteY140" fmla="*/ 14713 h 2164296"/>
                <a:gd name="connsiteX141" fmla="*/ 795337 w 2171700"/>
                <a:gd name="connsiteY141" fmla="*/ 9950 h 2164296"/>
                <a:gd name="connsiteX142" fmla="*/ 866775 w 2171700"/>
                <a:gd name="connsiteY14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09787 w 2171700"/>
                <a:gd name="connsiteY35" fmla="*/ 1019600 h 2164296"/>
                <a:gd name="connsiteX36" fmla="*/ 2124075 w 2171700"/>
                <a:gd name="connsiteY36" fmla="*/ 1086275 h 2164296"/>
                <a:gd name="connsiteX37" fmla="*/ 2128837 w 2171700"/>
                <a:gd name="connsiteY37" fmla="*/ 1148188 h 2164296"/>
                <a:gd name="connsiteX38" fmla="*/ 2143125 w 2171700"/>
                <a:gd name="connsiteY38" fmla="*/ 1191050 h 2164296"/>
                <a:gd name="connsiteX39" fmla="*/ 2147887 w 2171700"/>
                <a:gd name="connsiteY39" fmla="*/ 1224388 h 2164296"/>
                <a:gd name="connsiteX40" fmla="*/ 2166937 w 2171700"/>
                <a:gd name="connsiteY40" fmla="*/ 1276775 h 2164296"/>
                <a:gd name="connsiteX41" fmla="*/ 2171700 w 2171700"/>
                <a:gd name="connsiteY41" fmla="*/ 1300588 h 2164296"/>
                <a:gd name="connsiteX42" fmla="*/ 2166937 w 2171700"/>
                <a:gd name="connsiteY42" fmla="*/ 1514900 h 2164296"/>
                <a:gd name="connsiteX43" fmla="*/ 2157412 w 2171700"/>
                <a:gd name="connsiteY43" fmla="*/ 1529188 h 2164296"/>
                <a:gd name="connsiteX44" fmla="*/ 2147887 w 2171700"/>
                <a:gd name="connsiteY44" fmla="*/ 1562525 h 2164296"/>
                <a:gd name="connsiteX45" fmla="*/ 2138362 w 2171700"/>
                <a:gd name="connsiteY45" fmla="*/ 1576813 h 2164296"/>
                <a:gd name="connsiteX46" fmla="*/ 2133600 w 2171700"/>
                <a:gd name="connsiteY46" fmla="*/ 1600625 h 2164296"/>
                <a:gd name="connsiteX47" fmla="*/ 2119312 w 2171700"/>
                <a:gd name="connsiteY47" fmla="*/ 1614913 h 2164296"/>
                <a:gd name="connsiteX48" fmla="*/ 2109787 w 2171700"/>
                <a:gd name="connsiteY48" fmla="*/ 1629200 h 2164296"/>
                <a:gd name="connsiteX49" fmla="*/ 2081212 w 2171700"/>
                <a:gd name="connsiteY49" fmla="*/ 1657775 h 2164296"/>
                <a:gd name="connsiteX50" fmla="*/ 2052637 w 2171700"/>
                <a:gd name="connsiteY50" fmla="*/ 1686350 h 2164296"/>
                <a:gd name="connsiteX51" fmla="*/ 2043112 w 2171700"/>
                <a:gd name="connsiteY51" fmla="*/ 1700638 h 2164296"/>
                <a:gd name="connsiteX52" fmla="*/ 2028825 w 2171700"/>
                <a:gd name="connsiteY52" fmla="*/ 1710163 h 2164296"/>
                <a:gd name="connsiteX53" fmla="*/ 2005012 w 2171700"/>
                <a:gd name="connsiteY53" fmla="*/ 1724450 h 2164296"/>
                <a:gd name="connsiteX54" fmla="*/ 1981200 w 2171700"/>
                <a:gd name="connsiteY54" fmla="*/ 1743500 h 2164296"/>
                <a:gd name="connsiteX55" fmla="*/ 1909762 w 2171700"/>
                <a:gd name="connsiteY55" fmla="*/ 1772075 h 2164296"/>
                <a:gd name="connsiteX56" fmla="*/ 1890712 w 2171700"/>
                <a:gd name="connsiteY56" fmla="*/ 1786363 h 2164296"/>
                <a:gd name="connsiteX57" fmla="*/ 1843087 w 2171700"/>
                <a:gd name="connsiteY57" fmla="*/ 1814938 h 2164296"/>
                <a:gd name="connsiteX58" fmla="*/ 1828800 w 2171700"/>
                <a:gd name="connsiteY58" fmla="*/ 1833988 h 2164296"/>
                <a:gd name="connsiteX59" fmla="*/ 1776412 w 2171700"/>
                <a:gd name="connsiteY59" fmla="*/ 1862563 h 2164296"/>
                <a:gd name="connsiteX60" fmla="*/ 1728787 w 2171700"/>
                <a:gd name="connsiteY60" fmla="*/ 1872088 h 2164296"/>
                <a:gd name="connsiteX61" fmla="*/ 1709737 w 2171700"/>
                <a:gd name="connsiteY61" fmla="*/ 1881613 h 2164296"/>
                <a:gd name="connsiteX62" fmla="*/ 1647825 w 2171700"/>
                <a:gd name="connsiteY62" fmla="*/ 1895900 h 2164296"/>
                <a:gd name="connsiteX63" fmla="*/ 1619250 w 2171700"/>
                <a:gd name="connsiteY63" fmla="*/ 1910188 h 2164296"/>
                <a:gd name="connsiteX64" fmla="*/ 1571625 w 2171700"/>
                <a:gd name="connsiteY64" fmla="*/ 1929238 h 2164296"/>
                <a:gd name="connsiteX65" fmla="*/ 1404937 w 2171700"/>
                <a:gd name="connsiteY65" fmla="*/ 2029250 h 2164296"/>
                <a:gd name="connsiteX66" fmla="*/ 1333500 w 2171700"/>
                <a:gd name="connsiteY66" fmla="*/ 2053063 h 2164296"/>
                <a:gd name="connsiteX67" fmla="*/ 1319212 w 2171700"/>
                <a:gd name="connsiteY67" fmla="*/ 2062588 h 2164296"/>
                <a:gd name="connsiteX68" fmla="*/ 1281112 w 2171700"/>
                <a:gd name="connsiteY68" fmla="*/ 2072113 h 2164296"/>
                <a:gd name="connsiteX69" fmla="*/ 1257300 w 2171700"/>
                <a:gd name="connsiteY69" fmla="*/ 2086400 h 2164296"/>
                <a:gd name="connsiteX70" fmla="*/ 1204912 w 2171700"/>
                <a:gd name="connsiteY70" fmla="*/ 2100688 h 2164296"/>
                <a:gd name="connsiteX71" fmla="*/ 1162050 w 2171700"/>
                <a:gd name="connsiteY71" fmla="*/ 2119738 h 2164296"/>
                <a:gd name="connsiteX72" fmla="*/ 1143000 w 2171700"/>
                <a:gd name="connsiteY72" fmla="*/ 2134025 h 2164296"/>
                <a:gd name="connsiteX73" fmla="*/ 1071562 w 2171700"/>
                <a:gd name="connsiteY73" fmla="*/ 2148313 h 2164296"/>
                <a:gd name="connsiteX74" fmla="*/ 1042987 w 2171700"/>
                <a:gd name="connsiteY74" fmla="*/ 2162600 h 2164296"/>
                <a:gd name="connsiteX75" fmla="*/ 909637 w 2171700"/>
                <a:gd name="connsiteY75" fmla="*/ 2157838 h 2164296"/>
                <a:gd name="connsiteX76" fmla="*/ 800100 w 2171700"/>
                <a:gd name="connsiteY76" fmla="*/ 2105450 h 2164296"/>
                <a:gd name="connsiteX77" fmla="*/ 762000 w 2171700"/>
                <a:gd name="connsiteY77" fmla="*/ 2091163 h 2164296"/>
                <a:gd name="connsiteX78" fmla="*/ 714375 w 2171700"/>
                <a:gd name="connsiteY78" fmla="*/ 2062588 h 2164296"/>
                <a:gd name="connsiteX79" fmla="*/ 657225 w 2171700"/>
                <a:gd name="connsiteY79" fmla="*/ 2038775 h 2164296"/>
                <a:gd name="connsiteX80" fmla="*/ 623887 w 2171700"/>
                <a:gd name="connsiteY80" fmla="*/ 2005438 h 2164296"/>
                <a:gd name="connsiteX81" fmla="*/ 585787 w 2171700"/>
                <a:gd name="connsiteY81" fmla="*/ 1976863 h 2164296"/>
                <a:gd name="connsiteX82" fmla="*/ 571500 w 2171700"/>
                <a:gd name="connsiteY82" fmla="*/ 1957813 h 2164296"/>
                <a:gd name="connsiteX83" fmla="*/ 557212 w 2171700"/>
                <a:gd name="connsiteY83" fmla="*/ 1934000 h 2164296"/>
                <a:gd name="connsiteX84" fmla="*/ 523875 w 2171700"/>
                <a:gd name="connsiteY84" fmla="*/ 1895900 h 2164296"/>
                <a:gd name="connsiteX85" fmla="*/ 495300 w 2171700"/>
                <a:gd name="connsiteY85" fmla="*/ 1848275 h 2164296"/>
                <a:gd name="connsiteX86" fmla="*/ 471487 w 2171700"/>
                <a:gd name="connsiteY86" fmla="*/ 1819700 h 2164296"/>
                <a:gd name="connsiteX87" fmla="*/ 447675 w 2171700"/>
                <a:gd name="connsiteY87" fmla="*/ 1781600 h 2164296"/>
                <a:gd name="connsiteX88" fmla="*/ 400050 w 2171700"/>
                <a:gd name="connsiteY88" fmla="*/ 1738738 h 2164296"/>
                <a:gd name="connsiteX89" fmla="*/ 381000 w 2171700"/>
                <a:gd name="connsiteY89" fmla="*/ 1705400 h 2164296"/>
                <a:gd name="connsiteX90" fmla="*/ 366712 w 2171700"/>
                <a:gd name="connsiteY90" fmla="*/ 1686350 h 2164296"/>
                <a:gd name="connsiteX91" fmla="*/ 347662 w 2171700"/>
                <a:gd name="connsiteY91" fmla="*/ 1657775 h 2164296"/>
                <a:gd name="connsiteX92" fmla="*/ 290512 w 2171700"/>
                <a:gd name="connsiteY92" fmla="*/ 1600625 h 2164296"/>
                <a:gd name="connsiteX93" fmla="*/ 266700 w 2171700"/>
                <a:gd name="connsiteY93" fmla="*/ 1576813 h 2164296"/>
                <a:gd name="connsiteX94" fmla="*/ 252412 w 2171700"/>
                <a:gd name="connsiteY94" fmla="*/ 1562525 h 2164296"/>
                <a:gd name="connsiteX95" fmla="*/ 214312 w 2171700"/>
                <a:gd name="connsiteY95" fmla="*/ 1538713 h 2164296"/>
                <a:gd name="connsiteX96" fmla="*/ 190500 w 2171700"/>
                <a:gd name="connsiteY96" fmla="*/ 1510138 h 2164296"/>
                <a:gd name="connsiteX97" fmla="*/ 166687 w 2171700"/>
                <a:gd name="connsiteY97" fmla="*/ 1491088 h 2164296"/>
                <a:gd name="connsiteX98" fmla="*/ 147637 w 2171700"/>
                <a:gd name="connsiteY98" fmla="*/ 1462513 h 2164296"/>
                <a:gd name="connsiteX99" fmla="*/ 123825 w 2171700"/>
                <a:gd name="connsiteY99" fmla="*/ 1438700 h 2164296"/>
                <a:gd name="connsiteX100" fmla="*/ 114300 w 2171700"/>
                <a:gd name="connsiteY100" fmla="*/ 1424413 h 2164296"/>
                <a:gd name="connsiteX101" fmla="*/ 95250 w 2171700"/>
                <a:gd name="connsiteY101" fmla="*/ 1405363 h 2164296"/>
                <a:gd name="connsiteX102" fmla="*/ 76200 w 2171700"/>
                <a:gd name="connsiteY102" fmla="*/ 1376788 h 2164296"/>
                <a:gd name="connsiteX103" fmla="*/ 61912 w 2171700"/>
                <a:gd name="connsiteY103" fmla="*/ 1362500 h 2164296"/>
                <a:gd name="connsiteX104" fmla="*/ 52387 w 2171700"/>
                <a:gd name="connsiteY104" fmla="*/ 1348213 h 2164296"/>
                <a:gd name="connsiteX105" fmla="*/ 38100 w 2171700"/>
                <a:gd name="connsiteY105" fmla="*/ 1329163 h 2164296"/>
                <a:gd name="connsiteX106" fmla="*/ 33337 w 2171700"/>
                <a:gd name="connsiteY106" fmla="*/ 1305350 h 2164296"/>
                <a:gd name="connsiteX107" fmla="*/ 9525 w 2171700"/>
                <a:gd name="connsiteY107" fmla="*/ 1257725 h 2164296"/>
                <a:gd name="connsiteX108" fmla="*/ 0 w 2171700"/>
                <a:gd name="connsiteY108" fmla="*/ 1200575 h 2164296"/>
                <a:gd name="connsiteX109" fmla="*/ 4762 w 2171700"/>
                <a:gd name="connsiteY109" fmla="*/ 991025 h 2164296"/>
                <a:gd name="connsiteX110" fmla="*/ 42862 w 2171700"/>
                <a:gd name="connsiteY110" fmla="*/ 929113 h 2164296"/>
                <a:gd name="connsiteX111" fmla="*/ 66675 w 2171700"/>
                <a:gd name="connsiteY111" fmla="*/ 891013 h 2164296"/>
                <a:gd name="connsiteX112" fmla="*/ 85725 w 2171700"/>
                <a:gd name="connsiteY112" fmla="*/ 848150 h 2164296"/>
                <a:gd name="connsiteX113" fmla="*/ 109537 w 2171700"/>
                <a:gd name="connsiteY113" fmla="*/ 795763 h 2164296"/>
                <a:gd name="connsiteX114" fmla="*/ 128587 w 2171700"/>
                <a:gd name="connsiteY114" fmla="*/ 762425 h 2164296"/>
                <a:gd name="connsiteX115" fmla="*/ 147637 w 2171700"/>
                <a:gd name="connsiteY115" fmla="*/ 733850 h 2164296"/>
                <a:gd name="connsiteX116" fmla="*/ 209550 w 2171700"/>
                <a:gd name="connsiteY116" fmla="*/ 610025 h 2164296"/>
                <a:gd name="connsiteX117" fmla="*/ 214312 w 2171700"/>
                <a:gd name="connsiteY117" fmla="*/ 581450 h 2164296"/>
                <a:gd name="connsiteX118" fmla="*/ 238125 w 2171700"/>
                <a:gd name="connsiteY118" fmla="*/ 538588 h 2164296"/>
                <a:gd name="connsiteX119" fmla="*/ 252412 w 2171700"/>
                <a:gd name="connsiteY119" fmla="*/ 500488 h 2164296"/>
                <a:gd name="connsiteX120" fmla="*/ 266700 w 2171700"/>
                <a:gd name="connsiteY120" fmla="*/ 471913 h 2164296"/>
                <a:gd name="connsiteX121" fmla="*/ 276225 w 2171700"/>
                <a:gd name="connsiteY121" fmla="*/ 443338 h 2164296"/>
                <a:gd name="connsiteX122" fmla="*/ 285750 w 2171700"/>
                <a:gd name="connsiteY122" fmla="*/ 429050 h 2164296"/>
                <a:gd name="connsiteX123" fmla="*/ 295275 w 2171700"/>
                <a:gd name="connsiteY123" fmla="*/ 405238 h 2164296"/>
                <a:gd name="connsiteX124" fmla="*/ 314325 w 2171700"/>
                <a:gd name="connsiteY124" fmla="*/ 381425 h 2164296"/>
                <a:gd name="connsiteX125" fmla="*/ 333375 w 2171700"/>
                <a:gd name="connsiteY125" fmla="*/ 333800 h 2164296"/>
                <a:gd name="connsiteX126" fmla="*/ 361950 w 2171700"/>
                <a:gd name="connsiteY126" fmla="*/ 290938 h 2164296"/>
                <a:gd name="connsiteX127" fmla="*/ 385762 w 2171700"/>
                <a:gd name="connsiteY127" fmla="*/ 248075 h 2164296"/>
                <a:gd name="connsiteX128" fmla="*/ 400050 w 2171700"/>
                <a:gd name="connsiteY128" fmla="*/ 229025 h 2164296"/>
                <a:gd name="connsiteX129" fmla="*/ 423862 w 2171700"/>
                <a:gd name="connsiteY129" fmla="*/ 214738 h 2164296"/>
                <a:gd name="connsiteX130" fmla="*/ 447675 w 2171700"/>
                <a:gd name="connsiteY130" fmla="*/ 190925 h 2164296"/>
                <a:gd name="connsiteX131" fmla="*/ 461962 w 2171700"/>
                <a:gd name="connsiteY131" fmla="*/ 181400 h 2164296"/>
                <a:gd name="connsiteX132" fmla="*/ 495300 w 2171700"/>
                <a:gd name="connsiteY132" fmla="*/ 143300 h 2164296"/>
                <a:gd name="connsiteX133" fmla="*/ 509587 w 2171700"/>
                <a:gd name="connsiteY133" fmla="*/ 133775 h 2164296"/>
                <a:gd name="connsiteX134" fmla="*/ 619125 w 2171700"/>
                <a:gd name="connsiteY134" fmla="*/ 71863 h 2164296"/>
                <a:gd name="connsiteX135" fmla="*/ 633412 w 2171700"/>
                <a:gd name="connsiteY135" fmla="*/ 52813 h 2164296"/>
                <a:gd name="connsiteX136" fmla="*/ 652462 w 2171700"/>
                <a:gd name="connsiteY136" fmla="*/ 48050 h 2164296"/>
                <a:gd name="connsiteX137" fmla="*/ 676275 w 2171700"/>
                <a:gd name="connsiteY137" fmla="*/ 38525 h 2164296"/>
                <a:gd name="connsiteX138" fmla="*/ 719137 w 2171700"/>
                <a:gd name="connsiteY138" fmla="*/ 24238 h 2164296"/>
                <a:gd name="connsiteX139" fmla="*/ 747712 w 2171700"/>
                <a:gd name="connsiteY139" fmla="*/ 14713 h 2164296"/>
                <a:gd name="connsiteX140" fmla="*/ 795337 w 2171700"/>
                <a:gd name="connsiteY140" fmla="*/ 9950 h 2164296"/>
                <a:gd name="connsiteX141" fmla="*/ 866775 w 2171700"/>
                <a:gd name="connsiteY14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47675 w 2171700"/>
                <a:gd name="connsiteY86" fmla="*/ 1781600 h 2164296"/>
                <a:gd name="connsiteX87" fmla="*/ 400050 w 2171700"/>
                <a:gd name="connsiteY87" fmla="*/ 1738738 h 2164296"/>
                <a:gd name="connsiteX88" fmla="*/ 381000 w 2171700"/>
                <a:gd name="connsiteY88" fmla="*/ 1705400 h 2164296"/>
                <a:gd name="connsiteX89" fmla="*/ 366712 w 2171700"/>
                <a:gd name="connsiteY89" fmla="*/ 1686350 h 2164296"/>
                <a:gd name="connsiteX90" fmla="*/ 347662 w 2171700"/>
                <a:gd name="connsiteY90" fmla="*/ 1657775 h 2164296"/>
                <a:gd name="connsiteX91" fmla="*/ 290512 w 2171700"/>
                <a:gd name="connsiteY91" fmla="*/ 1600625 h 2164296"/>
                <a:gd name="connsiteX92" fmla="*/ 266700 w 2171700"/>
                <a:gd name="connsiteY92" fmla="*/ 1576813 h 2164296"/>
                <a:gd name="connsiteX93" fmla="*/ 252412 w 2171700"/>
                <a:gd name="connsiteY93" fmla="*/ 1562525 h 2164296"/>
                <a:gd name="connsiteX94" fmla="*/ 214312 w 2171700"/>
                <a:gd name="connsiteY94" fmla="*/ 1538713 h 2164296"/>
                <a:gd name="connsiteX95" fmla="*/ 190500 w 2171700"/>
                <a:gd name="connsiteY95" fmla="*/ 1510138 h 2164296"/>
                <a:gd name="connsiteX96" fmla="*/ 166687 w 2171700"/>
                <a:gd name="connsiteY96" fmla="*/ 1491088 h 2164296"/>
                <a:gd name="connsiteX97" fmla="*/ 147637 w 2171700"/>
                <a:gd name="connsiteY97" fmla="*/ 1462513 h 2164296"/>
                <a:gd name="connsiteX98" fmla="*/ 123825 w 2171700"/>
                <a:gd name="connsiteY98" fmla="*/ 1438700 h 2164296"/>
                <a:gd name="connsiteX99" fmla="*/ 114300 w 2171700"/>
                <a:gd name="connsiteY99" fmla="*/ 1424413 h 2164296"/>
                <a:gd name="connsiteX100" fmla="*/ 95250 w 2171700"/>
                <a:gd name="connsiteY100" fmla="*/ 1405363 h 2164296"/>
                <a:gd name="connsiteX101" fmla="*/ 76200 w 2171700"/>
                <a:gd name="connsiteY101" fmla="*/ 1376788 h 2164296"/>
                <a:gd name="connsiteX102" fmla="*/ 61912 w 2171700"/>
                <a:gd name="connsiteY102" fmla="*/ 1362500 h 2164296"/>
                <a:gd name="connsiteX103" fmla="*/ 52387 w 2171700"/>
                <a:gd name="connsiteY103" fmla="*/ 1348213 h 2164296"/>
                <a:gd name="connsiteX104" fmla="*/ 38100 w 2171700"/>
                <a:gd name="connsiteY104" fmla="*/ 1329163 h 2164296"/>
                <a:gd name="connsiteX105" fmla="*/ 33337 w 2171700"/>
                <a:gd name="connsiteY105" fmla="*/ 1305350 h 2164296"/>
                <a:gd name="connsiteX106" fmla="*/ 9525 w 2171700"/>
                <a:gd name="connsiteY106" fmla="*/ 1257725 h 2164296"/>
                <a:gd name="connsiteX107" fmla="*/ 0 w 2171700"/>
                <a:gd name="connsiteY107" fmla="*/ 1200575 h 2164296"/>
                <a:gd name="connsiteX108" fmla="*/ 4762 w 2171700"/>
                <a:gd name="connsiteY108" fmla="*/ 991025 h 2164296"/>
                <a:gd name="connsiteX109" fmla="*/ 42862 w 2171700"/>
                <a:gd name="connsiteY109" fmla="*/ 929113 h 2164296"/>
                <a:gd name="connsiteX110" fmla="*/ 66675 w 2171700"/>
                <a:gd name="connsiteY110" fmla="*/ 891013 h 2164296"/>
                <a:gd name="connsiteX111" fmla="*/ 85725 w 2171700"/>
                <a:gd name="connsiteY111" fmla="*/ 848150 h 2164296"/>
                <a:gd name="connsiteX112" fmla="*/ 109537 w 2171700"/>
                <a:gd name="connsiteY112" fmla="*/ 795763 h 2164296"/>
                <a:gd name="connsiteX113" fmla="*/ 128587 w 2171700"/>
                <a:gd name="connsiteY113" fmla="*/ 762425 h 2164296"/>
                <a:gd name="connsiteX114" fmla="*/ 147637 w 2171700"/>
                <a:gd name="connsiteY114" fmla="*/ 733850 h 2164296"/>
                <a:gd name="connsiteX115" fmla="*/ 209550 w 2171700"/>
                <a:gd name="connsiteY115" fmla="*/ 610025 h 2164296"/>
                <a:gd name="connsiteX116" fmla="*/ 214312 w 2171700"/>
                <a:gd name="connsiteY116" fmla="*/ 581450 h 2164296"/>
                <a:gd name="connsiteX117" fmla="*/ 238125 w 2171700"/>
                <a:gd name="connsiteY117" fmla="*/ 538588 h 2164296"/>
                <a:gd name="connsiteX118" fmla="*/ 252412 w 2171700"/>
                <a:gd name="connsiteY118" fmla="*/ 500488 h 2164296"/>
                <a:gd name="connsiteX119" fmla="*/ 266700 w 2171700"/>
                <a:gd name="connsiteY119" fmla="*/ 471913 h 2164296"/>
                <a:gd name="connsiteX120" fmla="*/ 276225 w 2171700"/>
                <a:gd name="connsiteY120" fmla="*/ 443338 h 2164296"/>
                <a:gd name="connsiteX121" fmla="*/ 285750 w 2171700"/>
                <a:gd name="connsiteY121" fmla="*/ 429050 h 2164296"/>
                <a:gd name="connsiteX122" fmla="*/ 295275 w 2171700"/>
                <a:gd name="connsiteY122" fmla="*/ 405238 h 2164296"/>
                <a:gd name="connsiteX123" fmla="*/ 314325 w 2171700"/>
                <a:gd name="connsiteY123" fmla="*/ 381425 h 2164296"/>
                <a:gd name="connsiteX124" fmla="*/ 333375 w 2171700"/>
                <a:gd name="connsiteY124" fmla="*/ 333800 h 2164296"/>
                <a:gd name="connsiteX125" fmla="*/ 361950 w 2171700"/>
                <a:gd name="connsiteY125" fmla="*/ 290938 h 2164296"/>
                <a:gd name="connsiteX126" fmla="*/ 385762 w 2171700"/>
                <a:gd name="connsiteY126" fmla="*/ 248075 h 2164296"/>
                <a:gd name="connsiteX127" fmla="*/ 400050 w 2171700"/>
                <a:gd name="connsiteY127" fmla="*/ 229025 h 2164296"/>
                <a:gd name="connsiteX128" fmla="*/ 423862 w 2171700"/>
                <a:gd name="connsiteY128" fmla="*/ 214738 h 2164296"/>
                <a:gd name="connsiteX129" fmla="*/ 447675 w 2171700"/>
                <a:gd name="connsiteY129" fmla="*/ 190925 h 2164296"/>
                <a:gd name="connsiteX130" fmla="*/ 461962 w 2171700"/>
                <a:gd name="connsiteY130" fmla="*/ 181400 h 2164296"/>
                <a:gd name="connsiteX131" fmla="*/ 495300 w 2171700"/>
                <a:gd name="connsiteY131" fmla="*/ 143300 h 2164296"/>
                <a:gd name="connsiteX132" fmla="*/ 509587 w 2171700"/>
                <a:gd name="connsiteY132" fmla="*/ 133775 h 2164296"/>
                <a:gd name="connsiteX133" fmla="*/ 619125 w 2171700"/>
                <a:gd name="connsiteY133" fmla="*/ 71863 h 2164296"/>
                <a:gd name="connsiteX134" fmla="*/ 633412 w 2171700"/>
                <a:gd name="connsiteY134" fmla="*/ 52813 h 2164296"/>
                <a:gd name="connsiteX135" fmla="*/ 652462 w 2171700"/>
                <a:gd name="connsiteY135" fmla="*/ 48050 h 2164296"/>
                <a:gd name="connsiteX136" fmla="*/ 676275 w 2171700"/>
                <a:gd name="connsiteY136" fmla="*/ 38525 h 2164296"/>
                <a:gd name="connsiteX137" fmla="*/ 719137 w 2171700"/>
                <a:gd name="connsiteY137" fmla="*/ 24238 h 2164296"/>
                <a:gd name="connsiteX138" fmla="*/ 747712 w 2171700"/>
                <a:gd name="connsiteY138" fmla="*/ 14713 h 2164296"/>
                <a:gd name="connsiteX139" fmla="*/ 795337 w 2171700"/>
                <a:gd name="connsiteY139" fmla="*/ 9950 h 2164296"/>
                <a:gd name="connsiteX140" fmla="*/ 866775 w 2171700"/>
                <a:gd name="connsiteY14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95300 w 2171700"/>
                <a:gd name="connsiteY84" fmla="*/ 1848275 h 2164296"/>
                <a:gd name="connsiteX85" fmla="*/ 471487 w 2171700"/>
                <a:gd name="connsiteY85" fmla="*/ 1819700 h 2164296"/>
                <a:gd name="connsiteX86" fmla="*/ 400050 w 2171700"/>
                <a:gd name="connsiteY86" fmla="*/ 1738738 h 2164296"/>
                <a:gd name="connsiteX87" fmla="*/ 381000 w 2171700"/>
                <a:gd name="connsiteY87" fmla="*/ 1705400 h 2164296"/>
                <a:gd name="connsiteX88" fmla="*/ 366712 w 2171700"/>
                <a:gd name="connsiteY88" fmla="*/ 1686350 h 2164296"/>
                <a:gd name="connsiteX89" fmla="*/ 347662 w 2171700"/>
                <a:gd name="connsiteY89" fmla="*/ 1657775 h 2164296"/>
                <a:gd name="connsiteX90" fmla="*/ 290512 w 2171700"/>
                <a:gd name="connsiteY90" fmla="*/ 1600625 h 2164296"/>
                <a:gd name="connsiteX91" fmla="*/ 266700 w 2171700"/>
                <a:gd name="connsiteY91" fmla="*/ 1576813 h 2164296"/>
                <a:gd name="connsiteX92" fmla="*/ 252412 w 2171700"/>
                <a:gd name="connsiteY92" fmla="*/ 1562525 h 2164296"/>
                <a:gd name="connsiteX93" fmla="*/ 214312 w 2171700"/>
                <a:gd name="connsiteY93" fmla="*/ 1538713 h 2164296"/>
                <a:gd name="connsiteX94" fmla="*/ 190500 w 2171700"/>
                <a:gd name="connsiteY94" fmla="*/ 1510138 h 2164296"/>
                <a:gd name="connsiteX95" fmla="*/ 166687 w 2171700"/>
                <a:gd name="connsiteY95" fmla="*/ 1491088 h 2164296"/>
                <a:gd name="connsiteX96" fmla="*/ 147637 w 2171700"/>
                <a:gd name="connsiteY96" fmla="*/ 1462513 h 2164296"/>
                <a:gd name="connsiteX97" fmla="*/ 123825 w 2171700"/>
                <a:gd name="connsiteY97" fmla="*/ 1438700 h 2164296"/>
                <a:gd name="connsiteX98" fmla="*/ 114300 w 2171700"/>
                <a:gd name="connsiteY98" fmla="*/ 1424413 h 2164296"/>
                <a:gd name="connsiteX99" fmla="*/ 95250 w 2171700"/>
                <a:gd name="connsiteY99" fmla="*/ 1405363 h 2164296"/>
                <a:gd name="connsiteX100" fmla="*/ 76200 w 2171700"/>
                <a:gd name="connsiteY100" fmla="*/ 1376788 h 2164296"/>
                <a:gd name="connsiteX101" fmla="*/ 61912 w 2171700"/>
                <a:gd name="connsiteY101" fmla="*/ 1362500 h 2164296"/>
                <a:gd name="connsiteX102" fmla="*/ 52387 w 2171700"/>
                <a:gd name="connsiteY102" fmla="*/ 1348213 h 2164296"/>
                <a:gd name="connsiteX103" fmla="*/ 38100 w 2171700"/>
                <a:gd name="connsiteY103" fmla="*/ 1329163 h 2164296"/>
                <a:gd name="connsiteX104" fmla="*/ 33337 w 2171700"/>
                <a:gd name="connsiteY104" fmla="*/ 1305350 h 2164296"/>
                <a:gd name="connsiteX105" fmla="*/ 9525 w 2171700"/>
                <a:gd name="connsiteY105" fmla="*/ 1257725 h 2164296"/>
                <a:gd name="connsiteX106" fmla="*/ 0 w 2171700"/>
                <a:gd name="connsiteY106" fmla="*/ 1200575 h 2164296"/>
                <a:gd name="connsiteX107" fmla="*/ 4762 w 2171700"/>
                <a:gd name="connsiteY107" fmla="*/ 991025 h 2164296"/>
                <a:gd name="connsiteX108" fmla="*/ 42862 w 2171700"/>
                <a:gd name="connsiteY108" fmla="*/ 929113 h 2164296"/>
                <a:gd name="connsiteX109" fmla="*/ 66675 w 2171700"/>
                <a:gd name="connsiteY109" fmla="*/ 891013 h 2164296"/>
                <a:gd name="connsiteX110" fmla="*/ 85725 w 2171700"/>
                <a:gd name="connsiteY110" fmla="*/ 848150 h 2164296"/>
                <a:gd name="connsiteX111" fmla="*/ 109537 w 2171700"/>
                <a:gd name="connsiteY111" fmla="*/ 795763 h 2164296"/>
                <a:gd name="connsiteX112" fmla="*/ 128587 w 2171700"/>
                <a:gd name="connsiteY112" fmla="*/ 762425 h 2164296"/>
                <a:gd name="connsiteX113" fmla="*/ 147637 w 2171700"/>
                <a:gd name="connsiteY113" fmla="*/ 733850 h 2164296"/>
                <a:gd name="connsiteX114" fmla="*/ 209550 w 2171700"/>
                <a:gd name="connsiteY114" fmla="*/ 610025 h 2164296"/>
                <a:gd name="connsiteX115" fmla="*/ 214312 w 2171700"/>
                <a:gd name="connsiteY115" fmla="*/ 581450 h 2164296"/>
                <a:gd name="connsiteX116" fmla="*/ 238125 w 2171700"/>
                <a:gd name="connsiteY116" fmla="*/ 538588 h 2164296"/>
                <a:gd name="connsiteX117" fmla="*/ 252412 w 2171700"/>
                <a:gd name="connsiteY117" fmla="*/ 500488 h 2164296"/>
                <a:gd name="connsiteX118" fmla="*/ 266700 w 2171700"/>
                <a:gd name="connsiteY118" fmla="*/ 471913 h 2164296"/>
                <a:gd name="connsiteX119" fmla="*/ 276225 w 2171700"/>
                <a:gd name="connsiteY119" fmla="*/ 443338 h 2164296"/>
                <a:gd name="connsiteX120" fmla="*/ 285750 w 2171700"/>
                <a:gd name="connsiteY120" fmla="*/ 429050 h 2164296"/>
                <a:gd name="connsiteX121" fmla="*/ 295275 w 2171700"/>
                <a:gd name="connsiteY121" fmla="*/ 405238 h 2164296"/>
                <a:gd name="connsiteX122" fmla="*/ 314325 w 2171700"/>
                <a:gd name="connsiteY122" fmla="*/ 381425 h 2164296"/>
                <a:gd name="connsiteX123" fmla="*/ 333375 w 2171700"/>
                <a:gd name="connsiteY123" fmla="*/ 333800 h 2164296"/>
                <a:gd name="connsiteX124" fmla="*/ 361950 w 2171700"/>
                <a:gd name="connsiteY124" fmla="*/ 290938 h 2164296"/>
                <a:gd name="connsiteX125" fmla="*/ 385762 w 2171700"/>
                <a:gd name="connsiteY125" fmla="*/ 248075 h 2164296"/>
                <a:gd name="connsiteX126" fmla="*/ 400050 w 2171700"/>
                <a:gd name="connsiteY126" fmla="*/ 229025 h 2164296"/>
                <a:gd name="connsiteX127" fmla="*/ 423862 w 2171700"/>
                <a:gd name="connsiteY127" fmla="*/ 214738 h 2164296"/>
                <a:gd name="connsiteX128" fmla="*/ 447675 w 2171700"/>
                <a:gd name="connsiteY128" fmla="*/ 190925 h 2164296"/>
                <a:gd name="connsiteX129" fmla="*/ 461962 w 2171700"/>
                <a:gd name="connsiteY129" fmla="*/ 181400 h 2164296"/>
                <a:gd name="connsiteX130" fmla="*/ 495300 w 2171700"/>
                <a:gd name="connsiteY130" fmla="*/ 143300 h 2164296"/>
                <a:gd name="connsiteX131" fmla="*/ 509587 w 2171700"/>
                <a:gd name="connsiteY131" fmla="*/ 133775 h 2164296"/>
                <a:gd name="connsiteX132" fmla="*/ 619125 w 2171700"/>
                <a:gd name="connsiteY132" fmla="*/ 71863 h 2164296"/>
                <a:gd name="connsiteX133" fmla="*/ 633412 w 2171700"/>
                <a:gd name="connsiteY133" fmla="*/ 52813 h 2164296"/>
                <a:gd name="connsiteX134" fmla="*/ 652462 w 2171700"/>
                <a:gd name="connsiteY134" fmla="*/ 48050 h 2164296"/>
                <a:gd name="connsiteX135" fmla="*/ 676275 w 2171700"/>
                <a:gd name="connsiteY135" fmla="*/ 38525 h 2164296"/>
                <a:gd name="connsiteX136" fmla="*/ 719137 w 2171700"/>
                <a:gd name="connsiteY136" fmla="*/ 24238 h 2164296"/>
                <a:gd name="connsiteX137" fmla="*/ 747712 w 2171700"/>
                <a:gd name="connsiteY137" fmla="*/ 14713 h 2164296"/>
                <a:gd name="connsiteX138" fmla="*/ 795337 w 2171700"/>
                <a:gd name="connsiteY138" fmla="*/ 9950 h 2164296"/>
                <a:gd name="connsiteX139" fmla="*/ 866775 w 2171700"/>
                <a:gd name="connsiteY13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400050 w 2171700"/>
                <a:gd name="connsiteY85" fmla="*/ 1738738 h 2164296"/>
                <a:gd name="connsiteX86" fmla="*/ 381000 w 2171700"/>
                <a:gd name="connsiteY86" fmla="*/ 1705400 h 2164296"/>
                <a:gd name="connsiteX87" fmla="*/ 366712 w 2171700"/>
                <a:gd name="connsiteY87" fmla="*/ 1686350 h 2164296"/>
                <a:gd name="connsiteX88" fmla="*/ 347662 w 2171700"/>
                <a:gd name="connsiteY88" fmla="*/ 1657775 h 2164296"/>
                <a:gd name="connsiteX89" fmla="*/ 290512 w 2171700"/>
                <a:gd name="connsiteY89" fmla="*/ 1600625 h 2164296"/>
                <a:gd name="connsiteX90" fmla="*/ 266700 w 2171700"/>
                <a:gd name="connsiteY90" fmla="*/ 1576813 h 2164296"/>
                <a:gd name="connsiteX91" fmla="*/ 252412 w 2171700"/>
                <a:gd name="connsiteY91" fmla="*/ 1562525 h 2164296"/>
                <a:gd name="connsiteX92" fmla="*/ 214312 w 2171700"/>
                <a:gd name="connsiteY92" fmla="*/ 1538713 h 2164296"/>
                <a:gd name="connsiteX93" fmla="*/ 190500 w 2171700"/>
                <a:gd name="connsiteY93" fmla="*/ 1510138 h 2164296"/>
                <a:gd name="connsiteX94" fmla="*/ 166687 w 2171700"/>
                <a:gd name="connsiteY94" fmla="*/ 1491088 h 2164296"/>
                <a:gd name="connsiteX95" fmla="*/ 147637 w 2171700"/>
                <a:gd name="connsiteY95" fmla="*/ 1462513 h 2164296"/>
                <a:gd name="connsiteX96" fmla="*/ 123825 w 2171700"/>
                <a:gd name="connsiteY96" fmla="*/ 1438700 h 2164296"/>
                <a:gd name="connsiteX97" fmla="*/ 114300 w 2171700"/>
                <a:gd name="connsiteY97" fmla="*/ 1424413 h 2164296"/>
                <a:gd name="connsiteX98" fmla="*/ 95250 w 2171700"/>
                <a:gd name="connsiteY98" fmla="*/ 1405363 h 2164296"/>
                <a:gd name="connsiteX99" fmla="*/ 76200 w 2171700"/>
                <a:gd name="connsiteY99" fmla="*/ 1376788 h 2164296"/>
                <a:gd name="connsiteX100" fmla="*/ 61912 w 2171700"/>
                <a:gd name="connsiteY100" fmla="*/ 1362500 h 2164296"/>
                <a:gd name="connsiteX101" fmla="*/ 52387 w 2171700"/>
                <a:gd name="connsiteY101" fmla="*/ 1348213 h 2164296"/>
                <a:gd name="connsiteX102" fmla="*/ 38100 w 2171700"/>
                <a:gd name="connsiteY102" fmla="*/ 1329163 h 2164296"/>
                <a:gd name="connsiteX103" fmla="*/ 33337 w 2171700"/>
                <a:gd name="connsiteY103" fmla="*/ 1305350 h 2164296"/>
                <a:gd name="connsiteX104" fmla="*/ 9525 w 2171700"/>
                <a:gd name="connsiteY104" fmla="*/ 1257725 h 2164296"/>
                <a:gd name="connsiteX105" fmla="*/ 0 w 2171700"/>
                <a:gd name="connsiteY105" fmla="*/ 1200575 h 2164296"/>
                <a:gd name="connsiteX106" fmla="*/ 4762 w 2171700"/>
                <a:gd name="connsiteY106" fmla="*/ 991025 h 2164296"/>
                <a:gd name="connsiteX107" fmla="*/ 42862 w 2171700"/>
                <a:gd name="connsiteY107" fmla="*/ 929113 h 2164296"/>
                <a:gd name="connsiteX108" fmla="*/ 66675 w 2171700"/>
                <a:gd name="connsiteY108" fmla="*/ 891013 h 2164296"/>
                <a:gd name="connsiteX109" fmla="*/ 85725 w 2171700"/>
                <a:gd name="connsiteY109" fmla="*/ 848150 h 2164296"/>
                <a:gd name="connsiteX110" fmla="*/ 109537 w 2171700"/>
                <a:gd name="connsiteY110" fmla="*/ 795763 h 2164296"/>
                <a:gd name="connsiteX111" fmla="*/ 128587 w 2171700"/>
                <a:gd name="connsiteY111" fmla="*/ 762425 h 2164296"/>
                <a:gd name="connsiteX112" fmla="*/ 147637 w 2171700"/>
                <a:gd name="connsiteY112" fmla="*/ 733850 h 2164296"/>
                <a:gd name="connsiteX113" fmla="*/ 209550 w 2171700"/>
                <a:gd name="connsiteY113" fmla="*/ 610025 h 2164296"/>
                <a:gd name="connsiteX114" fmla="*/ 214312 w 2171700"/>
                <a:gd name="connsiteY114" fmla="*/ 581450 h 2164296"/>
                <a:gd name="connsiteX115" fmla="*/ 238125 w 2171700"/>
                <a:gd name="connsiteY115" fmla="*/ 538588 h 2164296"/>
                <a:gd name="connsiteX116" fmla="*/ 252412 w 2171700"/>
                <a:gd name="connsiteY116" fmla="*/ 500488 h 2164296"/>
                <a:gd name="connsiteX117" fmla="*/ 266700 w 2171700"/>
                <a:gd name="connsiteY117" fmla="*/ 471913 h 2164296"/>
                <a:gd name="connsiteX118" fmla="*/ 276225 w 2171700"/>
                <a:gd name="connsiteY118" fmla="*/ 443338 h 2164296"/>
                <a:gd name="connsiteX119" fmla="*/ 285750 w 2171700"/>
                <a:gd name="connsiteY119" fmla="*/ 429050 h 2164296"/>
                <a:gd name="connsiteX120" fmla="*/ 295275 w 2171700"/>
                <a:gd name="connsiteY120" fmla="*/ 405238 h 2164296"/>
                <a:gd name="connsiteX121" fmla="*/ 314325 w 2171700"/>
                <a:gd name="connsiteY121" fmla="*/ 381425 h 2164296"/>
                <a:gd name="connsiteX122" fmla="*/ 333375 w 2171700"/>
                <a:gd name="connsiteY122" fmla="*/ 333800 h 2164296"/>
                <a:gd name="connsiteX123" fmla="*/ 361950 w 2171700"/>
                <a:gd name="connsiteY123" fmla="*/ 290938 h 2164296"/>
                <a:gd name="connsiteX124" fmla="*/ 385762 w 2171700"/>
                <a:gd name="connsiteY124" fmla="*/ 248075 h 2164296"/>
                <a:gd name="connsiteX125" fmla="*/ 400050 w 2171700"/>
                <a:gd name="connsiteY125" fmla="*/ 229025 h 2164296"/>
                <a:gd name="connsiteX126" fmla="*/ 423862 w 2171700"/>
                <a:gd name="connsiteY126" fmla="*/ 214738 h 2164296"/>
                <a:gd name="connsiteX127" fmla="*/ 447675 w 2171700"/>
                <a:gd name="connsiteY127" fmla="*/ 190925 h 2164296"/>
                <a:gd name="connsiteX128" fmla="*/ 461962 w 2171700"/>
                <a:gd name="connsiteY128" fmla="*/ 181400 h 2164296"/>
                <a:gd name="connsiteX129" fmla="*/ 495300 w 2171700"/>
                <a:gd name="connsiteY129" fmla="*/ 143300 h 2164296"/>
                <a:gd name="connsiteX130" fmla="*/ 509587 w 2171700"/>
                <a:gd name="connsiteY130" fmla="*/ 133775 h 2164296"/>
                <a:gd name="connsiteX131" fmla="*/ 619125 w 2171700"/>
                <a:gd name="connsiteY131" fmla="*/ 71863 h 2164296"/>
                <a:gd name="connsiteX132" fmla="*/ 633412 w 2171700"/>
                <a:gd name="connsiteY132" fmla="*/ 52813 h 2164296"/>
                <a:gd name="connsiteX133" fmla="*/ 652462 w 2171700"/>
                <a:gd name="connsiteY133" fmla="*/ 48050 h 2164296"/>
                <a:gd name="connsiteX134" fmla="*/ 676275 w 2171700"/>
                <a:gd name="connsiteY134" fmla="*/ 38525 h 2164296"/>
                <a:gd name="connsiteX135" fmla="*/ 719137 w 2171700"/>
                <a:gd name="connsiteY135" fmla="*/ 24238 h 2164296"/>
                <a:gd name="connsiteX136" fmla="*/ 747712 w 2171700"/>
                <a:gd name="connsiteY136" fmla="*/ 14713 h 2164296"/>
                <a:gd name="connsiteX137" fmla="*/ 795337 w 2171700"/>
                <a:gd name="connsiteY137" fmla="*/ 9950 h 2164296"/>
                <a:gd name="connsiteX138" fmla="*/ 866775 w 2171700"/>
                <a:gd name="connsiteY13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471487 w 2171700"/>
                <a:gd name="connsiteY84" fmla="*/ 1819700 h 2164296"/>
                <a:gd name="connsiteX85" fmla="*/ 381000 w 2171700"/>
                <a:gd name="connsiteY85" fmla="*/ 1705400 h 2164296"/>
                <a:gd name="connsiteX86" fmla="*/ 366712 w 2171700"/>
                <a:gd name="connsiteY86" fmla="*/ 1686350 h 2164296"/>
                <a:gd name="connsiteX87" fmla="*/ 347662 w 2171700"/>
                <a:gd name="connsiteY87" fmla="*/ 1657775 h 2164296"/>
                <a:gd name="connsiteX88" fmla="*/ 290512 w 2171700"/>
                <a:gd name="connsiteY88" fmla="*/ 1600625 h 2164296"/>
                <a:gd name="connsiteX89" fmla="*/ 266700 w 2171700"/>
                <a:gd name="connsiteY89" fmla="*/ 1576813 h 2164296"/>
                <a:gd name="connsiteX90" fmla="*/ 252412 w 2171700"/>
                <a:gd name="connsiteY90" fmla="*/ 1562525 h 2164296"/>
                <a:gd name="connsiteX91" fmla="*/ 214312 w 2171700"/>
                <a:gd name="connsiteY91" fmla="*/ 1538713 h 2164296"/>
                <a:gd name="connsiteX92" fmla="*/ 190500 w 2171700"/>
                <a:gd name="connsiteY92" fmla="*/ 1510138 h 2164296"/>
                <a:gd name="connsiteX93" fmla="*/ 166687 w 2171700"/>
                <a:gd name="connsiteY93" fmla="*/ 1491088 h 2164296"/>
                <a:gd name="connsiteX94" fmla="*/ 147637 w 2171700"/>
                <a:gd name="connsiteY94" fmla="*/ 1462513 h 2164296"/>
                <a:gd name="connsiteX95" fmla="*/ 123825 w 2171700"/>
                <a:gd name="connsiteY95" fmla="*/ 1438700 h 2164296"/>
                <a:gd name="connsiteX96" fmla="*/ 114300 w 2171700"/>
                <a:gd name="connsiteY96" fmla="*/ 1424413 h 2164296"/>
                <a:gd name="connsiteX97" fmla="*/ 95250 w 2171700"/>
                <a:gd name="connsiteY97" fmla="*/ 1405363 h 2164296"/>
                <a:gd name="connsiteX98" fmla="*/ 76200 w 2171700"/>
                <a:gd name="connsiteY98" fmla="*/ 1376788 h 2164296"/>
                <a:gd name="connsiteX99" fmla="*/ 61912 w 2171700"/>
                <a:gd name="connsiteY99" fmla="*/ 1362500 h 2164296"/>
                <a:gd name="connsiteX100" fmla="*/ 52387 w 2171700"/>
                <a:gd name="connsiteY100" fmla="*/ 1348213 h 2164296"/>
                <a:gd name="connsiteX101" fmla="*/ 38100 w 2171700"/>
                <a:gd name="connsiteY101" fmla="*/ 1329163 h 2164296"/>
                <a:gd name="connsiteX102" fmla="*/ 33337 w 2171700"/>
                <a:gd name="connsiteY102" fmla="*/ 1305350 h 2164296"/>
                <a:gd name="connsiteX103" fmla="*/ 9525 w 2171700"/>
                <a:gd name="connsiteY103" fmla="*/ 1257725 h 2164296"/>
                <a:gd name="connsiteX104" fmla="*/ 0 w 2171700"/>
                <a:gd name="connsiteY104" fmla="*/ 1200575 h 2164296"/>
                <a:gd name="connsiteX105" fmla="*/ 4762 w 2171700"/>
                <a:gd name="connsiteY105" fmla="*/ 991025 h 2164296"/>
                <a:gd name="connsiteX106" fmla="*/ 42862 w 2171700"/>
                <a:gd name="connsiteY106" fmla="*/ 929113 h 2164296"/>
                <a:gd name="connsiteX107" fmla="*/ 66675 w 2171700"/>
                <a:gd name="connsiteY107" fmla="*/ 891013 h 2164296"/>
                <a:gd name="connsiteX108" fmla="*/ 85725 w 2171700"/>
                <a:gd name="connsiteY108" fmla="*/ 848150 h 2164296"/>
                <a:gd name="connsiteX109" fmla="*/ 109537 w 2171700"/>
                <a:gd name="connsiteY109" fmla="*/ 795763 h 2164296"/>
                <a:gd name="connsiteX110" fmla="*/ 128587 w 2171700"/>
                <a:gd name="connsiteY110" fmla="*/ 762425 h 2164296"/>
                <a:gd name="connsiteX111" fmla="*/ 147637 w 2171700"/>
                <a:gd name="connsiteY111" fmla="*/ 733850 h 2164296"/>
                <a:gd name="connsiteX112" fmla="*/ 209550 w 2171700"/>
                <a:gd name="connsiteY112" fmla="*/ 610025 h 2164296"/>
                <a:gd name="connsiteX113" fmla="*/ 214312 w 2171700"/>
                <a:gd name="connsiteY113" fmla="*/ 581450 h 2164296"/>
                <a:gd name="connsiteX114" fmla="*/ 238125 w 2171700"/>
                <a:gd name="connsiteY114" fmla="*/ 538588 h 2164296"/>
                <a:gd name="connsiteX115" fmla="*/ 252412 w 2171700"/>
                <a:gd name="connsiteY115" fmla="*/ 500488 h 2164296"/>
                <a:gd name="connsiteX116" fmla="*/ 266700 w 2171700"/>
                <a:gd name="connsiteY116" fmla="*/ 471913 h 2164296"/>
                <a:gd name="connsiteX117" fmla="*/ 276225 w 2171700"/>
                <a:gd name="connsiteY117" fmla="*/ 443338 h 2164296"/>
                <a:gd name="connsiteX118" fmla="*/ 285750 w 2171700"/>
                <a:gd name="connsiteY118" fmla="*/ 429050 h 2164296"/>
                <a:gd name="connsiteX119" fmla="*/ 295275 w 2171700"/>
                <a:gd name="connsiteY119" fmla="*/ 405238 h 2164296"/>
                <a:gd name="connsiteX120" fmla="*/ 314325 w 2171700"/>
                <a:gd name="connsiteY120" fmla="*/ 381425 h 2164296"/>
                <a:gd name="connsiteX121" fmla="*/ 333375 w 2171700"/>
                <a:gd name="connsiteY121" fmla="*/ 333800 h 2164296"/>
                <a:gd name="connsiteX122" fmla="*/ 361950 w 2171700"/>
                <a:gd name="connsiteY122" fmla="*/ 290938 h 2164296"/>
                <a:gd name="connsiteX123" fmla="*/ 385762 w 2171700"/>
                <a:gd name="connsiteY123" fmla="*/ 248075 h 2164296"/>
                <a:gd name="connsiteX124" fmla="*/ 400050 w 2171700"/>
                <a:gd name="connsiteY124" fmla="*/ 229025 h 2164296"/>
                <a:gd name="connsiteX125" fmla="*/ 423862 w 2171700"/>
                <a:gd name="connsiteY125" fmla="*/ 214738 h 2164296"/>
                <a:gd name="connsiteX126" fmla="*/ 447675 w 2171700"/>
                <a:gd name="connsiteY126" fmla="*/ 190925 h 2164296"/>
                <a:gd name="connsiteX127" fmla="*/ 461962 w 2171700"/>
                <a:gd name="connsiteY127" fmla="*/ 181400 h 2164296"/>
                <a:gd name="connsiteX128" fmla="*/ 495300 w 2171700"/>
                <a:gd name="connsiteY128" fmla="*/ 143300 h 2164296"/>
                <a:gd name="connsiteX129" fmla="*/ 509587 w 2171700"/>
                <a:gd name="connsiteY129" fmla="*/ 133775 h 2164296"/>
                <a:gd name="connsiteX130" fmla="*/ 619125 w 2171700"/>
                <a:gd name="connsiteY130" fmla="*/ 71863 h 2164296"/>
                <a:gd name="connsiteX131" fmla="*/ 633412 w 2171700"/>
                <a:gd name="connsiteY131" fmla="*/ 52813 h 2164296"/>
                <a:gd name="connsiteX132" fmla="*/ 652462 w 2171700"/>
                <a:gd name="connsiteY132" fmla="*/ 48050 h 2164296"/>
                <a:gd name="connsiteX133" fmla="*/ 676275 w 2171700"/>
                <a:gd name="connsiteY133" fmla="*/ 38525 h 2164296"/>
                <a:gd name="connsiteX134" fmla="*/ 719137 w 2171700"/>
                <a:gd name="connsiteY134" fmla="*/ 24238 h 2164296"/>
                <a:gd name="connsiteX135" fmla="*/ 747712 w 2171700"/>
                <a:gd name="connsiteY135" fmla="*/ 14713 h 2164296"/>
                <a:gd name="connsiteX136" fmla="*/ 795337 w 2171700"/>
                <a:gd name="connsiteY136" fmla="*/ 9950 h 2164296"/>
                <a:gd name="connsiteX137" fmla="*/ 866775 w 2171700"/>
                <a:gd name="connsiteY137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28587 w 2171700"/>
                <a:gd name="connsiteY109" fmla="*/ 762425 h 2164296"/>
                <a:gd name="connsiteX110" fmla="*/ 147637 w 2171700"/>
                <a:gd name="connsiteY110" fmla="*/ 733850 h 2164296"/>
                <a:gd name="connsiteX111" fmla="*/ 209550 w 2171700"/>
                <a:gd name="connsiteY111" fmla="*/ 610025 h 2164296"/>
                <a:gd name="connsiteX112" fmla="*/ 214312 w 2171700"/>
                <a:gd name="connsiteY112" fmla="*/ 581450 h 2164296"/>
                <a:gd name="connsiteX113" fmla="*/ 238125 w 2171700"/>
                <a:gd name="connsiteY113" fmla="*/ 538588 h 2164296"/>
                <a:gd name="connsiteX114" fmla="*/ 252412 w 2171700"/>
                <a:gd name="connsiteY114" fmla="*/ 500488 h 2164296"/>
                <a:gd name="connsiteX115" fmla="*/ 266700 w 2171700"/>
                <a:gd name="connsiteY115" fmla="*/ 471913 h 2164296"/>
                <a:gd name="connsiteX116" fmla="*/ 276225 w 2171700"/>
                <a:gd name="connsiteY116" fmla="*/ 443338 h 2164296"/>
                <a:gd name="connsiteX117" fmla="*/ 285750 w 2171700"/>
                <a:gd name="connsiteY117" fmla="*/ 429050 h 2164296"/>
                <a:gd name="connsiteX118" fmla="*/ 295275 w 2171700"/>
                <a:gd name="connsiteY118" fmla="*/ 405238 h 2164296"/>
                <a:gd name="connsiteX119" fmla="*/ 314325 w 2171700"/>
                <a:gd name="connsiteY119" fmla="*/ 381425 h 2164296"/>
                <a:gd name="connsiteX120" fmla="*/ 333375 w 2171700"/>
                <a:gd name="connsiteY120" fmla="*/ 333800 h 2164296"/>
                <a:gd name="connsiteX121" fmla="*/ 361950 w 2171700"/>
                <a:gd name="connsiteY121" fmla="*/ 290938 h 2164296"/>
                <a:gd name="connsiteX122" fmla="*/ 385762 w 2171700"/>
                <a:gd name="connsiteY122" fmla="*/ 248075 h 2164296"/>
                <a:gd name="connsiteX123" fmla="*/ 400050 w 2171700"/>
                <a:gd name="connsiteY123" fmla="*/ 229025 h 2164296"/>
                <a:gd name="connsiteX124" fmla="*/ 423862 w 2171700"/>
                <a:gd name="connsiteY124" fmla="*/ 214738 h 2164296"/>
                <a:gd name="connsiteX125" fmla="*/ 447675 w 2171700"/>
                <a:gd name="connsiteY125" fmla="*/ 190925 h 2164296"/>
                <a:gd name="connsiteX126" fmla="*/ 461962 w 2171700"/>
                <a:gd name="connsiteY126" fmla="*/ 181400 h 2164296"/>
                <a:gd name="connsiteX127" fmla="*/ 495300 w 2171700"/>
                <a:gd name="connsiteY127" fmla="*/ 143300 h 2164296"/>
                <a:gd name="connsiteX128" fmla="*/ 509587 w 2171700"/>
                <a:gd name="connsiteY128" fmla="*/ 133775 h 2164296"/>
                <a:gd name="connsiteX129" fmla="*/ 619125 w 2171700"/>
                <a:gd name="connsiteY129" fmla="*/ 71863 h 2164296"/>
                <a:gd name="connsiteX130" fmla="*/ 633412 w 2171700"/>
                <a:gd name="connsiteY130" fmla="*/ 52813 h 2164296"/>
                <a:gd name="connsiteX131" fmla="*/ 652462 w 2171700"/>
                <a:gd name="connsiteY131" fmla="*/ 48050 h 2164296"/>
                <a:gd name="connsiteX132" fmla="*/ 676275 w 2171700"/>
                <a:gd name="connsiteY132" fmla="*/ 38525 h 2164296"/>
                <a:gd name="connsiteX133" fmla="*/ 719137 w 2171700"/>
                <a:gd name="connsiteY133" fmla="*/ 24238 h 2164296"/>
                <a:gd name="connsiteX134" fmla="*/ 747712 w 2171700"/>
                <a:gd name="connsiteY134" fmla="*/ 14713 h 2164296"/>
                <a:gd name="connsiteX135" fmla="*/ 795337 w 2171700"/>
                <a:gd name="connsiteY135" fmla="*/ 9950 h 2164296"/>
                <a:gd name="connsiteX136" fmla="*/ 866775 w 2171700"/>
                <a:gd name="connsiteY136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09537 w 2171700"/>
                <a:gd name="connsiteY108" fmla="*/ 795763 h 2164296"/>
                <a:gd name="connsiteX109" fmla="*/ 147637 w 2171700"/>
                <a:gd name="connsiteY109" fmla="*/ 733850 h 2164296"/>
                <a:gd name="connsiteX110" fmla="*/ 209550 w 2171700"/>
                <a:gd name="connsiteY110" fmla="*/ 610025 h 2164296"/>
                <a:gd name="connsiteX111" fmla="*/ 214312 w 2171700"/>
                <a:gd name="connsiteY111" fmla="*/ 581450 h 2164296"/>
                <a:gd name="connsiteX112" fmla="*/ 238125 w 2171700"/>
                <a:gd name="connsiteY112" fmla="*/ 538588 h 2164296"/>
                <a:gd name="connsiteX113" fmla="*/ 252412 w 2171700"/>
                <a:gd name="connsiteY113" fmla="*/ 500488 h 2164296"/>
                <a:gd name="connsiteX114" fmla="*/ 266700 w 2171700"/>
                <a:gd name="connsiteY114" fmla="*/ 471913 h 2164296"/>
                <a:gd name="connsiteX115" fmla="*/ 276225 w 2171700"/>
                <a:gd name="connsiteY115" fmla="*/ 443338 h 2164296"/>
                <a:gd name="connsiteX116" fmla="*/ 285750 w 2171700"/>
                <a:gd name="connsiteY116" fmla="*/ 429050 h 2164296"/>
                <a:gd name="connsiteX117" fmla="*/ 295275 w 2171700"/>
                <a:gd name="connsiteY117" fmla="*/ 405238 h 2164296"/>
                <a:gd name="connsiteX118" fmla="*/ 314325 w 2171700"/>
                <a:gd name="connsiteY118" fmla="*/ 381425 h 2164296"/>
                <a:gd name="connsiteX119" fmla="*/ 333375 w 2171700"/>
                <a:gd name="connsiteY119" fmla="*/ 333800 h 2164296"/>
                <a:gd name="connsiteX120" fmla="*/ 361950 w 2171700"/>
                <a:gd name="connsiteY120" fmla="*/ 290938 h 2164296"/>
                <a:gd name="connsiteX121" fmla="*/ 385762 w 2171700"/>
                <a:gd name="connsiteY121" fmla="*/ 248075 h 2164296"/>
                <a:gd name="connsiteX122" fmla="*/ 400050 w 2171700"/>
                <a:gd name="connsiteY122" fmla="*/ 229025 h 2164296"/>
                <a:gd name="connsiteX123" fmla="*/ 423862 w 2171700"/>
                <a:gd name="connsiteY123" fmla="*/ 214738 h 2164296"/>
                <a:gd name="connsiteX124" fmla="*/ 447675 w 2171700"/>
                <a:gd name="connsiteY124" fmla="*/ 190925 h 2164296"/>
                <a:gd name="connsiteX125" fmla="*/ 461962 w 2171700"/>
                <a:gd name="connsiteY125" fmla="*/ 181400 h 2164296"/>
                <a:gd name="connsiteX126" fmla="*/ 495300 w 2171700"/>
                <a:gd name="connsiteY126" fmla="*/ 143300 h 2164296"/>
                <a:gd name="connsiteX127" fmla="*/ 509587 w 2171700"/>
                <a:gd name="connsiteY127" fmla="*/ 133775 h 2164296"/>
                <a:gd name="connsiteX128" fmla="*/ 619125 w 2171700"/>
                <a:gd name="connsiteY128" fmla="*/ 71863 h 2164296"/>
                <a:gd name="connsiteX129" fmla="*/ 633412 w 2171700"/>
                <a:gd name="connsiteY129" fmla="*/ 52813 h 2164296"/>
                <a:gd name="connsiteX130" fmla="*/ 652462 w 2171700"/>
                <a:gd name="connsiteY130" fmla="*/ 48050 h 2164296"/>
                <a:gd name="connsiteX131" fmla="*/ 676275 w 2171700"/>
                <a:gd name="connsiteY131" fmla="*/ 38525 h 2164296"/>
                <a:gd name="connsiteX132" fmla="*/ 719137 w 2171700"/>
                <a:gd name="connsiteY132" fmla="*/ 24238 h 2164296"/>
                <a:gd name="connsiteX133" fmla="*/ 747712 w 2171700"/>
                <a:gd name="connsiteY133" fmla="*/ 14713 h 2164296"/>
                <a:gd name="connsiteX134" fmla="*/ 795337 w 2171700"/>
                <a:gd name="connsiteY134" fmla="*/ 9950 h 2164296"/>
                <a:gd name="connsiteX135" fmla="*/ 866775 w 2171700"/>
                <a:gd name="connsiteY135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00175 w 2171700"/>
                <a:gd name="connsiteY11" fmla="*/ 95675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71600 w 2171700"/>
                <a:gd name="connsiteY10" fmla="*/ 86150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371600 w 2171700"/>
                <a:gd name="connsiteY11" fmla="*/ 86150 h 2164296"/>
                <a:gd name="connsiteX12" fmla="*/ 1457325 w 2171700"/>
                <a:gd name="connsiteY12" fmla="*/ 109963 h 2164296"/>
                <a:gd name="connsiteX13" fmla="*/ 1481137 w 2171700"/>
                <a:gd name="connsiteY13" fmla="*/ 114725 h 2164296"/>
                <a:gd name="connsiteX14" fmla="*/ 1619250 w 2171700"/>
                <a:gd name="connsiteY14" fmla="*/ 124250 h 2164296"/>
                <a:gd name="connsiteX15" fmla="*/ 1652587 w 2171700"/>
                <a:gd name="connsiteY15" fmla="*/ 129013 h 2164296"/>
                <a:gd name="connsiteX16" fmla="*/ 1676400 w 2171700"/>
                <a:gd name="connsiteY16" fmla="*/ 133775 h 2164296"/>
                <a:gd name="connsiteX17" fmla="*/ 1724025 w 2171700"/>
                <a:gd name="connsiteY17" fmla="*/ 138538 h 2164296"/>
                <a:gd name="connsiteX18" fmla="*/ 1762125 w 2171700"/>
                <a:gd name="connsiteY18" fmla="*/ 152825 h 2164296"/>
                <a:gd name="connsiteX19" fmla="*/ 1776412 w 2171700"/>
                <a:gd name="connsiteY19" fmla="*/ 162350 h 2164296"/>
                <a:gd name="connsiteX20" fmla="*/ 1800225 w 2171700"/>
                <a:gd name="connsiteY20" fmla="*/ 167113 h 2164296"/>
                <a:gd name="connsiteX21" fmla="*/ 1824037 w 2171700"/>
                <a:gd name="connsiteY21" fmla="*/ 181400 h 2164296"/>
                <a:gd name="connsiteX22" fmla="*/ 1847850 w 2171700"/>
                <a:gd name="connsiteY22" fmla="*/ 190925 h 2164296"/>
                <a:gd name="connsiteX23" fmla="*/ 1862137 w 2171700"/>
                <a:gd name="connsiteY23" fmla="*/ 205213 h 2164296"/>
                <a:gd name="connsiteX24" fmla="*/ 1895475 w 2171700"/>
                <a:gd name="connsiteY24" fmla="*/ 229025 h 2164296"/>
                <a:gd name="connsiteX25" fmla="*/ 1947862 w 2171700"/>
                <a:gd name="connsiteY25" fmla="*/ 267125 h 2164296"/>
                <a:gd name="connsiteX26" fmla="*/ 1971675 w 2171700"/>
                <a:gd name="connsiteY26" fmla="*/ 295700 h 2164296"/>
                <a:gd name="connsiteX27" fmla="*/ 2005012 w 2171700"/>
                <a:gd name="connsiteY27" fmla="*/ 348088 h 2164296"/>
                <a:gd name="connsiteX28" fmla="*/ 2024062 w 2171700"/>
                <a:gd name="connsiteY28" fmla="*/ 410000 h 2164296"/>
                <a:gd name="connsiteX29" fmla="*/ 2033587 w 2171700"/>
                <a:gd name="connsiteY29" fmla="*/ 443338 h 2164296"/>
                <a:gd name="connsiteX30" fmla="*/ 2038350 w 2171700"/>
                <a:gd name="connsiteY30" fmla="*/ 457625 h 2164296"/>
                <a:gd name="connsiteX31" fmla="*/ 2047875 w 2171700"/>
                <a:gd name="connsiteY31" fmla="*/ 476675 h 2164296"/>
                <a:gd name="connsiteX32" fmla="*/ 2066925 w 2171700"/>
                <a:gd name="connsiteY32" fmla="*/ 548113 h 2164296"/>
                <a:gd name="connsiteX33" fmla="*/ 2081212 w 2171700"/>
                <a:gd name="connsiteY33" fmla="*/ 610025 h 2164296"/>
                <a:gd name="connsiteX34" fmla="*/ 2085975 w 2171700"/>
                <a:gd name="connsiteY34" fmla="*/ 914825 h 2164296"/>
                <a:gd name="connsiteX35" fmla="*/ 2124075 w 2171700"/>
                <a:gd name="connsiteY35" fmla="*/ 1086275 h 2164296"/>
                <a:gd name="connsiteX36" fmla="*/ 2128837 w 2171700"/>
                <a:gd name="connsiteY36" fmla="*/ 1148188 h 2164296"/>
                <a:gd name="connsiteX37" fmla="*/ 2143125 w 2171700"/>
                <a:gd name="connsiteY37" fmla="*/ 1191050 h 2164296"/>
                <a:gd name="connsiteX38" fmla="*/ 2147887 w 2171700"/>
                <a:gd name="connsiteY38" fmla="*/ 1224388 h 2164296"/>
                <a:gd name="connsiteX39" fmla="*/ 2166937 w 2171700"/>
                <a:gd name="connsiteY39" fmla="*/ 1276775 h 2164296"/>
                <a:gd name="connsiteX40" fmla="*/ 2171700 w 2171700"/>
                <a:gd name="connsiteY40" fmla="*/ 1300588 h 2164296"/>
                <a:gd name="connsiteX41" fmla="*/ 2166937 w 2171700"/>
                <a:gd name="connsiteY41" fmla="*/ 1514900 h 2164296"/>
                <a:gd name="connsiteX42" fmla="*/ 2157412 w 2171700"/>
                <a:gd name="connsiteY42" fmla="*/ 1529188 h 2164296"/>
                <a:gd name="connsiteX43" fmla="*/ 2147887 w 2171700"/>
                <a:gd name="connsiteY43" fmla="*/ 1562525 h 2164296"/>
                <a:gd name="connsiteX44" fmla="*/ 2138362 w 2171700"/>
                <a:gd name="connsiteY44" fmla="*/ 1576813 h 2164296"/>
                <a:gd name="connsiteX45" fmla="*/ 2133600 w 2171700"/>
                <a:gd name="connsiteY45" fmla="*/ 1600625 h 2164296"/>
                <a:gd name="connsiteX46" fmla="*/ 2119312 w 2171700"/>
                <a:gd name="connsiteY46" fmla="*/ 1614913 h 2164296"/>
                <a:gd name="connsiteX47" fmla="*/ 2109787 w 2171700"/>
                <a:gd name="connsiteY47" fmla="*/ 1629200 h 2164296"/>
                <a:gd name="connsiteX48" fmla="*/ 2081212 w 2171700"/>
                <a:gd name="connsiteY48" fmla="*/ 1657775 h 2164296"/>
                <a:gd name="connsiteX49" fmla="*/ 2052637 w 2171700"/>
                <a:gd name="connsiteY49" fmla="*/ 1686350 h 2164296"/>
                <a:gd name="connsiteX50" fmla="*/ 2043112 w 2171700"/>
                <a:gd name="connsiteY50" fmla="*/ 1700638 h 2164296"/>
                <a:gd name="connsiteX51" fmla="*/ 2028825 w 2171700"/>
                <a:gd name="connsiteY51" fmla="*/ 1710163 h 2164296"/>
                <a:gd name="connsiteX52" fmla="*/ 2005012 w 2171700"/>
                <a:gd name="connsiteY52" fmla="*/ 1724450 h 2164296"/>
                <a:gd name="connsiteX53" fmla="*/ 1981200 w 2171700"/>
                <a:gd name="connsiteY53" fmla="*/ 1743500 h 2164296"/>
                <a:gd name="connsiteX54" fmla="*/ 1909762 w 2171700"/>
                <a:gd name="connsiteY54" fmla="*/ 1772075 h 2164296"/>
                <a:gd name="connsiteX55" fmla="*/ 1890712 w 2171700"/>
                <a:gd name="connsiteY55" fmla="*/ 1786363 h 2164296"/>
                <a:gd name="connsiteX56" fmla="*/ 1843087 w 2171700"/>
                <a:gd name="connsiteY56" fmla="*/ 1814938 h 2164296"/>
                <a:gd name="connsiteX57" fmla="*/ 1828800 w 2171700"/>
                <a:gd name="connsiteY57" fmla="*/ 1833988 h 2164296"/>
                <a:gd name="connsiteX58" fmla="*/ 1776412 w 2171700"/>
                <a:gd name="connsiteY58" fmla="*/ 1862563 h 2164296"/>
                <a:gd name="connsiteX59" fmla="*/ 1728787 w 2171700"/>
                <a:gd name="connsiteY59" fmla="*/ 1872088 h 2164296"/>
                <a:gd name="connsiteX60" fmla="*/ 1709737 w 2171700"/>
                <a:gd name="connsiteY60" fmla="*/ 1881613 h 2164296"/>
                <a:gd name="connsiteX61" fmla="*/ 1647825 w 2171700"/>
                <a:gd name="connsiteY61" fmla="*/ 1895900 h 2164296"/>
                <a:gd name="connsiteX62" fmla="*/ 1619250 w 2171700"/>
                <a:gd name="connsiteY62" fmla="*/ 1910188 h 2164296"/>
                <a:gd name="connsiteX63" fmla="*/ 1571625 w 2171700"/>
                <a:gd name="connsiteY63" fmla="*/ 1929238 h 2164296"/>
                <a:gd name="connsiteX64" fmla="*/ 1404937 w 2171700"/>
                <a:gd name="connsiteY64" fmla="*/ 2029250 h 2164296"/>
                <a:gd name="connsiteX65" fmla="*/ 1333500 w 2171700"/>
                <a:gd name="connsiteY65" fmla="*/ 2053063 h 2164296"/>
                <a:gd name="connsiteX66" fmla="*/ 1319212 w 2171700"/>
                <a:gd name="connsiteY66" fmla="*/ 2062588 h 2164296"/>
                <a:gd name="connsiteX67" fmla="*/ 1281112 w 2171700"/>
                <a:gd name="connsiteY67" fmla="*/ 2072113 h 2164296"/>
                <a:gd name="connsiteX68" fmla="*/ 1257300 w 2171700"/>
                <a:gd name="connsiteY68" fmla="*/ 2086400 h 2164296"/>
                <a:gd name="connsiteX69" fmla="*/ 1204912 w 2171700"/>
                <a:gd name="connsiteY69" fmla="*/ 2100688 h 2164296"/>
                <a:gd name="connsiteX70" fmla="*/ 1162050 w 2171700"/>
                <a:gd name="connsiteY70" fmla="*/ 2119738 h 2164296"/>
                <a:gd name="connsiteX71" fmla="*/ 1143000 w 2171700"/>
                <a:gd name="connsiteY71" fmla="*/ 2134025 h 2164296"/>
                <a:gd name="connsiteX72" fmla="*/ 1071562 w 2171700"/>
                <a:gd name="connsiteY72" fmla="*/ 2148313 h 2164296"/>
                <a:gd name="connsiteX73" fmla="*/ 1042987 w 2171700"/>
                <a:gd name="connsiteY73" fmla="*/ 2162600 h 2164296"/>
                <a:gd name="connsiteX74" fmla="*/ 909637 w 2171700"/>
                <a:gd name="connsiteY74" fmla="*/ 2157838 h 2164296"/>
                <a:gd name="connsiteX75" fmla="*/ 800100 w 2171700"/>
                <a:gd name="connsiteY75" fmla="*/ 2105450 h 2164296"/>
                <a:gd name="connsiteX76" fmla="*/ 762000 w 2171700"/>
                <a:gd name="connsiteY76" fmla="*/ 2091163 h 2164296"/>
                <a:gd name="connsiteX77" fmla="*/ 714375 w 2171700"/>
                <a:gd name="connsiteY77" fmla="*/ 2062588 h 2164296"/>
                <a:gd name="connsiteX78" fmla="*/ 657225 w 2171700"/>
                <a:gd name="connsiteY78" fmla="*/ 2038775 h 2164296"/>
                <a:gd name="connsiteX79" fmla="*/ 623887 w 2171700"/>
                <a:gd name="connsiteY79" fmla="*/ 2005438 h 2164296"/>
                <a:gd name="connsiteX80" fmla="*/ 585787 w 2171700"/>
                <a:gd name="connsiteY80" fmla="*/ 1976863 h 2164296"/>
                <a:gd name="connsiteX81" fmla="*/ 571500 w 2171700"/>
                <a:gd name="connsiteY81" fmla="*/ 1957813 h 2164296"/>
                <a:gd name="connsiteX82" fmla="*/ 557212 w 2171700"/>
                <a:gd name="connsiteY82" fmla="*/ 1934000 h 2164296"/>
                <a:gd name="connsiteX83" fmla="*/ 523875 w 2171700"/>
                <a:gd name="connsiteY83" fmla="*/ 1895900 h 2164296"/>
                <a:gd name="connsiteX84" fmla="*/ 381000 w 2171700"/>
                <a:gd name="connsiteY84" fmla="*/ 1705400 h 2164296"/>
                <a:gd name="connsiteX85" fmla="*/ 366712 w 2171700"/>
                <a:gd name="connsiteY85" fmla="*/ 1686350 h 2164296"/>
                <a:gd name="connsiteX86" fmla="*/ 347662 w 2171700"/>
                <a:gd name="connsiteY86" fmla="*/ 1657775 h 2164296"/>
                <a:gd name="connsiteX87" fmla="*/ 290512 w 2171700"/>
                <a:gd name="connsiteY87" fmla="*/ 1600625 h 2164296"/>
                <a:gd name="connsiteX88" fmla="*/ 266700 w 2171700"/>
                <a:gd name="connsiteY88" fmla="*/ 1576813 h 2164296"/>
                <a:gd name="connsiteX89" fmla="*/ 252412 w 2171700"/>
                <a:gd name="connsiteY89" fmla="*/ 1562525 h 2164296"/>
                <a:gd name="connsiteX90" fmla="*/ 214312 w 2171700"/>
                <a:gd name="connsiteY90" fmla="*/ 1538713 h 2164296"/>
                <a:gd name="connsiteX91" fmla="*/ 190500 w 2171700"/>
                <a:gd name="connsiteY91" fmla="*/ 1510138 h 2164296"/>
                <a:gd name="connsiteX92" fmla="*/ 166687 w 2171700"/>
                <a:gd name="connsiteY92" fmla="*/ 1491088 h 2164296"/>
                <a:gd name="connsiteX93" fmla="*/ 147637 w 2171700"/>
                <a:gd name="connsiteY93" fmla="*/ 1462513 h 2164296"/>
                <a:gd name="connsiteX94" fmla="*/ 123825 w 2171700"/>
                <a:gd name="connsiteY94" fmla="*/ 1438700 h 2164296"/>
                <a:gd name="connsiteX95" fmla="*/ 114300 w 2171700"/>
                <a:gd name="connsiteY95" fmla="*/ 1424413 h 2164296"/>
                <a:gd name="connsiteX96" fmla="*/ 95250 w 2171700"/>
                <a:gd name="connsiteY96" fmla="*/ 1405363 h 2164296"/>
                <a:gd name="connsiteX97" fmla="*/ 76200 w 2171700"/>
                <a:gd name="connsiteY97" fmla="*/ 1376788 h 2164296"/>
                <a:gd name="connsiteX98" fmla="*/ 61912 w 2171700"/>
                <a:gd name="connsiteY98" fmla="*/ 1362500 h 2164296"/>
                <a:gd name="connsiteX99" fmla="*/ 52387 w 2171700"/>
                <a:gd name="connsiteY99" fmla="*/ 1348213 h 2164296"/>
                <a:gd name="connsiteX100" fmla="*/ 38100 w 2171700"/>
                <a:gd name="connsiteY100" fmla="*/ 1329163 h 2164296"/>
                <a:gd name="connsiteX101" fmla="*/ 33337 w 2171700"/>
                <a:gd name="connsiteY101" fmla="*/ 1305350 h 2164296"/>
                <a:gd name="connsiteX102" fmla="*/ 9525 w 2171700"/>
                <a:gd name="connsiteY102" fmla="*/ 1257725 h 2164296"/>
                <a:gd name="connsiteX103" fmla="*/ 0 w 2171700"/>
                <a:gd name="connsiteY103" fmla="*/ 1200575 h 2164296"/>
                <a:gd name="connsiteX104" fmla="*/ 4762 w 2171700"/>
                <a:gd name="connsiteY104" fmla="*/ 991025 h 2164296"/>
                <a:gd name="connsiteX105" fmla="*/ 42862 w 2171700"/>
                <a:gd name="connsiteY105" fmla="*/ 929113 h 2164296"/>
                <a:gd name="connsiteX106" fmla="*/ 66675 w 2171700"/>
                <a:gd name="connsiteY106" fmla="*/ 891013 h 2164296"/>
                <a:gd name="connsiteX107" fmla="*/ 85725 w 2171700"/>
                <a:gd name="connsiteY107" fmla="*/ 848150 h 2164296"/>
                <a:gd name="connsiteX108" fmla="*/ 147637 w 2171700"/>
                <a:gd name="connsiteY108" fmla="*/ 733850 h 2164296"/>
                <a:gd name="connsiteX109" fmla="*/ 209550 w 2171700"/>
                <a:gd name="connsiteY109" fmla="*/ 610025 h 2164296"/>
                <a:gd name="connsiteX110" fmla="*/ 214312 w 2171700"/>
                <a:gd name="connsiteY110" fmla="*/ 581450 h 2164296"/>
                <a:gd name="connsiteX111" fmla="*/ 238125 w 2171700"/>
                <a:gd name="connsiteY111" fmla="*/ 538588 h 2164296"/>
                <a:gd name="connsiteX112" fmla="*/ 252412 w 2171700"/>
                <a:gd name="connsiteY112" fmla="*/ 500488 h 2164296"/>
                <a:gd name="connsiteX113" fmla="*/ 266700 w 2171700"/>
                <a:gd name="connsiteY113" fmla="*/ 471913 h 2164296"/>
                <a:gd name="connsiteX114" fmla="*/ 276225 w 2171700"/>
                <a:gd name="connsiteY114" fmla="*/ 443338 h 2164296"/>
                <a:gd name="connsiteX115" fmla="*/ 285750 w 2171700"/>
                <a:gd name="connsiteY115" fmla="*/ 429050 h 2164296"/>
                <a:gd name="connsiteX116" fmla="*/ 295275 w 2171700"/>
                <a:gd name="connsiteY116" fmla="*/ 405238 h 2164296"/>
                <a:gd name="connsiteX117" fmla="*/ 314325 w 2171700"/>
                <a:gd name="connsiteY117" fmla="*/ 381425 h 2164296"/>
                <a:gd name="connsiteX118" fmla="*/ 333375 w 2171700"/>
                <a:gd name="connsiteY118" fmla="*/ 333800 h 2164296"/>
                <a:gd name="connsiteX119" fmla="*/ 361950 w 2171700"/>
                <a:gd name="connsiteY119" fmla="*/ 290938 h 2164296"/>
                <a:gd name="connsiteX120" fmla="*/ 385762 w 2171700"/>
                <a:gd name="connsiteY120" fmla="*/ 248075 h 2164296"/>
                <a:gd name="connsiteX121" fmla="*/ 400050 w 2171700"/>
                <a:gd name="connsiteY121" fmla="*/ 229025 h 2164296"/>
                <a:gd name="connsiteX122" fmla="*/ 423862 w 2171700"/>
                <a:gd name="connsiteY122" fmla="*/ 214738 h 2164296"/>
                <a:gd name="connsiteX123" fmla="*/ 447675 w 2171700"/>
                <a:gd name="connsiteY123" fmla="*/ 190925 h 2164296"/>
                <a:gd name="connsiteX124" fmla="*/ 461962 w 2171700"/>
                <a:gd name="connsiteY124" fmla="*/ 181400 h 2164296"/>
                <a:gd name="connsiteX125" fmla="*/ 495300 w 2171700"/>
                <a:gd name="connsiteY125" fmla="*/ 143300 h 2164296"/>
                <a:gd name="connsiteX126" fmla="*/ 509587 w 2171700"/>
                <a:gd name="connsiteY126" fmla="*/ 133775 h 2164296"/>
                <a:gd name="connsiteX127" fmla="*/ 619125 w 2171700"/>
                <a:gd name="connsiteY127" fmla="*/ 71863 h 2164296"/>
                <a:gd name="connsiteX128" fmla="*/ 633412 w 2171700"/>
                <a:gd name="connsiteY128" fmla="*/ 52813 h 2164296"/>
                <a:gd name="connsiteX129" fmla="*/ 652462 w 2171700"/>
                <a:gd name="connsiteY129" fmla="*/ 48050 h 2164296"/>
                <a:gd name="connsiteX130" fmla="*/ 676275 w 2171700"/>
                <a:gd name="connsiteY130" fmla="*/ 38525 h 2164296"/>
                <a:gd name="connsiteX131" fmla="*/ 719137 w 2171700"/>
                <a:gd name="connsiteY131" fmla="*/ 24238 h 2164296"/>
                <a:gd name="connsiteX132" fmla="*/ 747712 w 2171700"/>
                <a:gd name="connsiteY132" fmla="*/ 14713 h 2164296"/>
                <a:gd name="connsiteX133" fmla="*/ 795337 w 2171700"/>
                <a:gd name="connsiteY133" fmla="*/ 9950 h 2164296"/>
                <a:gd name="connsiteX134" fmla="*/ 866775 w 2171700"/>
                <a:gd name="connsiteY134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327711 w 2171700"/>
                <a:gd name="connsiteY10" fmla="*/ 87418 h 2164296"/>
                <a:gd name="connsiteX11" fmla="*/ 1457325 w 2171700"/>
                <a:gd name="connsiteY11" fmla="*/ 109963 h 2164296"/>
                <a:gd name="connsiteX12" fmla="*/ 1481137 w 2171700"/>
                <a:gd name="connsiteY12" fmla="*/ 114725 h 2164296"/>
                <a:gd name="connsiteX13" fmla="*/ 1619250 w 2171700"/>
                <a:gd name="connsiteY13" fmla="*/ 124250 h 2164296"/>
                <a:gd name="connsiteX14" fmla="*/ 1652587 w 2171700"/>
                <a:gd name="connsiteY14" fmla="*/ 129013 h 2164296"/>
                <a:gd name="connsiteX15" fmla="*/ 1676400 w 2171700"/>
                <a:gd name="connsiteY15" fmla="*/ 133775 h 2164296"/>
                <a:gd name="connsiteX16" fmla="*/ 1724025 w 2171700"/>
                <a:gd name="connsiteY16" fmla="*/ 138538 h 2164296"/>
                <a:gd name="connsiteX17" fmla="*/ 1762125 w 2171700"/>
                <a:gd name="connsiteY17" fmla="*/ 152825 h 2164296"/>
                <a:gd name="connsiteX18" fmla="*/ 1776412 w 2171700"/>
                <a:gd name="connsiteY18" fmla="*/ 162350 h 2164296"/>
                <a:gd name="connsiteX19" fmla="*/ 1800225 w 2171700"/>
                <a:gd name="connsiteY19" fmla="*/ 167113 h 2164296"/>
                <a:gd name="connsiteX20" fmla="*/ 1824037 w 2171700"/>
                <a:gd name="connsiteY20" fmla="*/ 181400 h 2164296"/>
                <a:gd name="connsiteX21" fmla="*/ 1847850 w 2171700"/>
                <a:gd name="connsiteY21" fmla="*/ 190925 h 2164296"/>
                <a:gd name="connsiteX22" fmla="*/ 1862137 w 2171700"/>
                <a:gd name="connsiteY22" fmla="*/ 205213 h 2164296"/>
                <a:gd name="connsiteX23" fmla="*/ 1895475 w 2171700"/>
                <a:gd name="connsiteY23" fmla="*/ 229025 h 2164296"/>
                <a:gd name="connsiteX24" fmla="*/ 1947862 w 2171700"/>
                <a:gd name="connsiteY24" fmla="*/ 267125 h 2164296"/>
                <a:gd name="connsiteX25" fmla="*/ 1971675 w 2171700"/>
                <a:gd name="connsiteY25" fmla="*/ 295700 h 2164296"/>
                <a:gd name="connsiteX26" fmla="*/ 2005012 w 2171700"/>
                <a:gd name="connsiteY26" fmla="*/ 348088 h 2164296"/>
                <a:gd name="connsiteX27" fmla="*/ 2024062 w 2171700"/>
                <a:gd name="connsiteY27" fmla="*/ 410000 h 2164296"/>
                <a:gd name="connsiteX28" fmla="*/ 2033587 w 2171700"/>
                <a:gd name="connsiteY28" fmla="*/ 443338 h 2164296"/>
                <a:gd name="connsiteX29" fmla="*/ 2038350 w 2171700"/>
                <a:gd name="connsiteY29" fmla="*/ 457625 h 2164296"/>
                <a:gd name="connsiteX30" fmla="*/ 2047875 w 2171700"/>
                <a:gd name="connsiteY30" fmla="*/ 476675 h 2164296"/>
                <a:gd name="connsiteX31" fmla="*/ 2066925 w 2171700"/>
                <a:gd name="connsiteY31" fmla="*/ 548113 h 2164296"/>
                <a:gd name="connsiteX32" fmla="*/ 2081212 w 2171700"/>
                <a:gd name="connsiteY32" fmla="*/ 610025 h 2164296"/>
                <a:gd name="connsiteX33" fmla="*/ 2085975 w 2171700"/>
                <a:gd name="connsiteY33" fmla="*/ 914825 h 2164296"/>
                <a:gd name="connsiteX34" fmla="*/ 2124075 w 2171700"/>
                <a:gd name="connsiteY34" fmla="*/ 1086275 h 2164296"/>
                <a:gd name="connsiteX35" fmla="*/ 2128837 w 2171700"/>
                <a:gd name="connsiteY35" fmla="*/ 1148188 h 2164296"/>
                <a:gd name="connsiteX36" fmla="*/ 2143125 w 2171700"/>
                <a:gd name="connsiteY36" fmla="*/ 1191050 h 2164296"/>
                <a:gd name="connsiteX37" fmla="*/ 2147887 w 2171700"/>
                <a:gd name="connsiteY37" fmla="*/ 1224388 h 2164296"/>
                <a:gd name="connsiteX38" fmla="*/ 2166937 w 2171700"/>
                <a:gd name="connsiteY38" fmla="*/ 1276775 h 2164296"/>
                <a:gd name="connsiteX39" fmla="*/ 2171700 w 2171700"/>
                <a:gd name="connsiteY39" fmla="*/ 1300588 h 2164296"/>
                <a:gd name="connsiteX40" fmla="*/ 2166937 w 2171700"/>
                <a:gd name="connsiteY40" fmla="*/ 1514900 h 2164296"/>
                <a:gd name="connsiteX41" fmla="*/ 2157412 w 2171700"/>
                <a:gd name="connsiteY41" fmla="*/ 1529188 h 2164296"/>
                <a:gd name="connsiteX42" fmla="*/ 2147887 w 2171700"/>
                <a:gd name="connsiteY42" fmla="*/ 1562525 h 2164296"/>
                <a:gd name="connsiteX43" fmla="*/ 2138362 w 2171700"/>
                <a:gd name="connsiteY43" fmla="*/ 1576813 h 2164296"/>
                <a:gd name="connsiteX44" fmla="*/ 2133600 w 2171700"/>
                <a:gd name="connsiteY44" fmla="*/ 1600625 h 2164296"/>
                <a:gd name="connsiteX45" fmla="*/ 2119312 w 2171700"/>
                <a:gd name="connsiteY45" fmla="*/ 1614913 h 2164296"/>
                <a:gd name="connsiteX46" fmla="*/ 2109787 w 2171700"/>
                <a:gd name="connsiteY46" fmla="*/ 1629200 h 2164296"/>
                <a:gd name="connsiteX47" fmla="*/ 2081212 w 2171700"/>
                <a:gd name="connsiteY47" fmla="*/ 1657775 h 2164296"/>
                <a:gd name="connsiteX48" fmla="*/ 2052637 w 2171700"/>
                <a:gd name="connsiteY48" fmla="*/ 1686350 h 2164296"/>
                <a:gd name="connsiteX49" fmla="*/ 2043112 w 2171700"/>
                <a:gd name="connsiteY49" fmla="*/ 1700638 h 2164296"/>
                <a:gd name="connsiteX50" fmla="*/ 2028825 w 2171700"/>
                <a:gd name="connsiteY50" fmla="*/ 1710163 h 2164296"/>
                <a:gd name="connsiteX51" fmla="*/ 2005012 w 2171700"/>
                <a:gd name="connsiteY51" fmla="*/ 1724450 h 2164296"/>
                <a:gd name="connsiteX52" fmla="*/ 1981200 w 2171700"/>
                <a:gd name="connsiteY52" fmla="*/ 1743500 h 2164296"/>
                <a:gd name="connsiteX53" fmla="*/ 1909762 w 2171700"/>
                <a:gd name="connsiteY53" fmla="*/ 1772075 h 2164296"/>
                <a:gd name="connsiteX54" fmla="*/ 1890712 w 2171700"/>
                <a:gd name="connsiteY54" fmla="*/ 1786363 h 2164296"/>
                <a:gd name="connsiteX55" fmla="*/ 1843087 w 2171700"/>
                <a:gd name="connsiteY55" fmla="*/ 1814938 h 2164296"/>
                <a:gd name="connsiteX56" fmla="*/ 1828800 w 2171700"/>
                <a:gd name="connsiteY56" fmla="*/ 1833988 h 2164296"/>
                <a:gd name="connsiteX57" fmla="*/ 1776412 w 2171700"/>
                <a:gd name="connsiteY57" fmla="*/ 1862563 h 2164296"/>
                <a:gd name="connsiteX58" fmla="*/ 1728787 w 2171700"/>
                <a:gd name="connsiteY58" fmla="*/ 1872088 h 2164296"/>
                <a:gd name="connsiteX59" fmla="*/ 1709737 w 2171700"/>
                <a:gd name="connsiteY59" fmla="*/ 1881613 h 2164296"/>
                <a:gd name="connsiteX60" fmla="*/ 1647825 w 2171700"/>
                <a:gd name="connsiteY60" fmla="*/ 1895900 h 2164296"/>
                <a:gd name="connsiteX61" fmla="*/ 1619250 w 2171700"/>
                <a:gd name="connsiteY61" fmla="*/ 1910188 h 2164296"/>
                <a:gd name="connsiteX62" fmla="*/ 1571625 w 2171700"/>
                <a:gd name="connsiteY62" fmla="*/ 1929238 h 2164296"/>
                <a:gd name="connsiteX63" fmla="*/ 1404937 w 2171700"/>
                <a:gd name="connsiteY63" fmla="*/ 2029250 h 2164296"/>
                <a:gd name="connsiteX64" fmla="*/ 1333500 w 2171700"/>
                <a:gd name="connsiteY64" fmla="*/ 2053063 h 2164296"/>
                <a:gd name="connsiteX65" fmla="*/ 1319212 w 2171700"/>
                <a:gd name="connsiteY65" fmla="*/ 2062588 h 2164296"/>
                <a:gd name="connsiteX66" fmla="*/ 1281112 w 2171700"/>
                <a:gd name="connsiteY66" fmla="*/ 2072113 h 2164296"/>
                <a:gd name="connsiteX67" fmla="*/ 1257300 w 2171700"/>
                <a:gd name="connsiteY67" fmla="*/ 2086400 h 2164296"/>
                <a:gd name="connsiteX68" fmla="*/ 1204912 w 2171700"/>
                <a:gd name="connsiteY68" fmla="*/ 2100688 h 2164296"/>
                <a:gd name="connsiteX69" fmla="*/ 1162050 w 2171700"/>
                <a:gd name="connsiteY69" fmla="*/ 2119738 h 2164296"/>
                <a:gd name="connsiteX70" fmla="*/ 1143000 w 2171700"/>
                <a:gd name="connsiteY70" fmla="*/ 2134025 h 2164296"/>
                <a:gd name="connsiteX71" fmla="*/ 1071562 w 2171700"/>
                <a:gd name="connsiteY71" fmla="*/ 2148313 h 2164296"/>
                <a:gd name="connsiteX72" fmla="*/ 1042987 w 2171700"/>
                <a:gd name="connsiteY72" fmla="*/ 2162600 h 2164296"/>
                <a:gd name="connsiteX73" fmla="*/ 909637 w 2171700"/>
                <a:gd name="connsiteY73" fmla="*/ 2157838 h 2164296"/>
                <a:gd name="connsiteX74" fmla="*/ 800100 w 2171700"/>
                <a:gd name="connsiteY74" fmla="*/ 2105450 h 2164296"/>
                <a:gd name="connsiteX75" fmla="*/ 762000 w 2171700"/>
                <a:gd name="connsiteY75" fmla="*/ 2091163 h 2164296"/>
                <a:gd name="connsiteX76" fmla="*/ 714375 w 2171700"/>
                <a:gd name="connsiteY76" fmla="*/ 2062588 h 2164296"/>
                <a:gd name="connsiteX77" fmla="*/ 657225 w 2171700"/>
                <a:gd name="connsiteY77" fmla="*/ 2038775 h 2164296"/>
                <a:gd name="connsiteX78" fmla="*/ 623887 w 2171700"/>
                <a:gd name="connsiteY78" fmla="*/ 2005438 h 2164296"/>
                <a:gd name="connsiteX79" fmla="*/ 585787 w 2171700"/>
                <a:gd name="connsiteY79" fmla="*/ 1976863 h 2164296"/>
                <a:gd name="connsiteX80" fmla="*/ 571500 w 2171700"/>
                <a:gd name="connsiteY80" fmla="*/ 1957813 h 2164296"/>
                <a:gd name="connsiteX81" fmla="*/ 557212 w 2171700"/>
                <a:gd name="connsiteY81" fmla="*/ 1934000 h 2164296"/>
                <a:gd name="connsiteX82" fmla="*/ 523875 w 2171700"/>
                <a:gd name="connsiteY82" fmla="*/ 1895900 h 2164296"/>
                <a:gd name="connsiteX83" fmla="*/ 381000 w 2171700"/>
                <a:gd name="connsiteY83" fmla="*/ 1705400 h 2164296"/>
                <a:gd name="connsiteX84" fmla="*/ 366712 w 2171700"/>
                <a:gd name="connsiteY84" fmla="*/ 1686350 h 2164296"/>
                <a:gd name="connsiteX85" fmla="*/ 347662 w 2171700"/>
                <a:gd name="connsiteY85" fmla="*/ 1657775 h 2164296"/>
                <a:gd name="connsiteX86" fmla="*/ 290512 w 2171700"/>
                <a:gd name="connsiteY86" fmla="*/ 1600625 h 2164296"/>
                <a:gd name="connsiteX87" fmla="*/ 266700 w 2171700"/>
                <a:gd name="connsiteY87" fmla="*/ 1576813 h 2164296"/>
                <a:gd name="connsiteX88" fmla="*/ 252412 w 2171700"/>
                <a:gd name="connsiteY88" fmla="*/ 1562525 h 2164296"/>
                <a:gd name="connsiteX89" fmla="*/ 214312 w 2171700"/>
                <a:gd name="connsiteY89" fmla="*/ 1538713 h 2164296"/>
                <a:gd name="connsiteX90" fmla="*/ 190500 w 2171700"/>
                <a:gd name="connsiteY90" fmla="*/ 1510138 h 2164296"/>
                <a:gd name="connsiteX91" fmla="*/ 166687 w 2171700"/>
                <a:gd name="connsiteY91" fmla="*/ 1491088 h 2164296"/>
                <a:gd name="connsiteX92" fmla="*/ 147637 w 2171700"/>
                <a:gd name="connsiteY92" fmla="*/ 1462513 h 2164296"/>
                <a:gd name="connsiteX93" fmla="*/ 123825 w 2171700"/>
                <a:gd name="connsiteY93" fmla="*/ 1438700 h 2164296"/>
                <a:gd name="connsiteX94" fmla="*/ 114300 w 2171700"/>
                <a:gd name="connsiteY94" fmla="*/ 1424413 h 2164296"/>
                <a:gd name="connsiteX95" fmla="*/ 95250 w 2171700"/>
                <a:gd name="connsiteY95" fmla="*/ 1405363 h 2164296"/>
                <a:gd name="connsiteX96" fmla="*/ 76200 w 2171700"/>
                <a:gd name="connsiteY96" fmla="*/ 1376788 h 2164296"/>
                <a:gd name="connsiteX97" fmla="*/ 61912 w 2171700"/>
                <a:gd name="connsiteY97" fmla="*/ 1362500 h 2164296"/>
                <a:gd name="connsiteX98" fmla="*/ 52387 w 2171700"/>
                <a:gd name="connsiteY98" fmla="*/ 1348213 h 2164296"/>
                <a:gd name="connsiteX99" fmla="*/ 38100 w 2171700"/>
                <a:gd name="connsiteY99" fmla="*/ 1329163 h 2164296"/>
                <a:gd name="connsiteX100" fmla="*/ 33337 w 2171700"/>
                <a:gd name="connsiteY100" fmla="*/ 1305350 h 2164296"/>
                <a:gd name="connsiteX101" fmla="*/ 9525 w 2171700"/>
                <a:gd name="connsiteY101" fmla="*/ 1257725 h 2164296"/>
                <a:gd name="connsiteX102" fmla="*/ 0 w 2171700"/>
                <a:gd name="connsiteY102" fmla="*/ 1200575 h 2164296"/>
                <a:gd name="connsiteX103" fmla="*/ 4762 w 2171700"/>
                <a:gd name="connsiteY103" fmla="*/ 991025 h 2164296"/>
                <a:gd name="connsiteX104" fmla="*/ 42862 w 2171700"/>
                <a:gd name="connsiteY104" fmla="*/ 929113 h 2164296"/>
                <a:gd name="connsiteX105" fmla="*/ 66675 w 2171700"/>
                <a:gd name="connsiteY105" fmla="*/ 891013 h 2164296"/>
                <a:gd name="connsiteX106" fmla="*/ 85725 w 2171700"/>
                <a:gd name="connsiteY106" fmla="*/ 848150 h 2164296"/>
                <a:gd name="connsiteX107" fmla="*/ 147637 w 2171700"/>
                <a:gd name="connsiteY107" fmla="*/ 733850 h 2164296"/>
                <a:gd name="connsiteX108" fmla="*/ 209550 w 2171700"/>
                <a:gd name="connsiteY108" fmla="*/ 610025 h 2164296"/>
                <a:gd name="connsiteX109" fmla="*/ 214312 w 2171700"/>
                <a:gd name="connsiteY109" fmla="*/ 581450 h 2164296"/>
                <a:gd name="connsiteX110" fmla="*/ 238125 w 2171700"/>
                <a:gd name="connsiteY110" fmla="*/ 538588 h 2164296"/>
                <a:gd name="connsiteX111" fmla="*/ 252412 w 2171700"/>
                <a:gd name="connsiteY111" fmla="*/ 500488 h 2164296"/>
                <a:gd name="connsiteX112" fmla="*/ 266700 w 2171700"/>
                <a:gd name="connsiteY112" fmla="*/ 471913 h 2164296"/>
                <a:gd name="connsiteX113" fmla="*/ 276225 w 2171700"/>
                <a:gd name="connsiteY113" fmla="*/ 443338 h 2164296"/>
                <a:gd name="connsiteX114" fmla="*/ 285750 w 2171700"/>
                <a:gd name="connsiteY114" fmla="*/ 429050 h 2164296"/>
                <a:gd name="connsiteX115" fmla="*/ 295275 w 2171700"/>
                <a:gd name="connsiteY115" fmla="*/ 405238 h 2164296"/>
                <a:gd name="connsiteX116" fmla="*/ 314325 w 2171700"/>
                <a:gd name="connsiteY116" fmla="*/ 381425 h 2164296"/>
                <a:gd name="connsiteX117" fmla="*/ 333375 w 2171700"/>
                <a:gd name="connsiteY117" fmla="*/ 333800 h 2164296"/>
                <a:gd name="connsiteX118" fmla="*/ 361950 w 2171700"/>
                <a:gd name="connsiteY118" fmla="*/ 290938 h 2164296"/>
                <a:gd name="connsiteX119" fmla="*/ 385762 w 2171700"/>
                <a:gd name="connsiteY119" fmla="*/ 248075 h 2164296"/>
                <a:gd name="connsiteX120" fmla="*/ 400050 w 2171700"/>
                <a:gd name="connsiteY120" fmla="*/ 229025 h 2164296"/>
                <a:gd name="connsiteX121" fmla="*/ 423862 w 2171700"/>
                <a:gd name="connsiteY121" fmla="*/ 214738 h 2164296"/>
                <a:gd name="connsiteX122" fmla="*/ 447675 w 2171700"/>
                <a:gd name="connsiteY122" fmla="*/ 190925 h 2164296"/>
                <a:gd name="connsiteX123" fmla="*/ 461962 w 2171700"/>
                <a:gd name="connsiteY123" fmla="*/ 181400 h 2164296"/>
                <a:gd name="connsiteX124" fmla="*/ 495300 w 2171700"/>
                <a:gd name="connsiteY124" fmla="*/ 143300 h 2164296"/>
                <a:gd name="connsiteX125" fmla="*/ 509587 w 2171700"/>
                <a:gd name="connsiteY125" fmla="*/ 133775 h 2164296"/>
                <a:gd name="connsiteX126" fmla="*/ 619125 w 2171700"/>
                <a:gd name="connsiteY126" fmla="*/ 71863 h 2164296"/>
                <a:gd name="connsiteX127" fmla="*/ 633412 w 2171700"/>
                <a:gd name="connsiteY127" fmla="*/ 52813 h 2164296"/>
                <a:gd name="connsiteX128" fmla="*/ 652462 w 2171700"/>
                <a:gd name="connsiteY128" fmla="*/ 48050 h 2164296"/>
                <a:gd name="connsiteX129" fmla="*/ 676275 w 2171700"/>
                <a:gd name="connsiteY129" fmla="*/ 38525 h 2164296"/>
                <a:gd name="connsiteX130" fmla="*/ 719137 w 2171700"/>
                <a:gd name="connsiteY130" fmla="*/ 24238 h 2164296"/>
                <a:gd name="connsiteX131" fmla="*/ 747712 w 2171700"/>
                <a:gd name="connsiteY131" fmla="*/ 14713 h 2164296"/>
                <a:gd name="connsiteX132" fmla="*/ 795337 w 2171700"/>
                <a:gd name="connsiteY132" fmla="*/ 9950 h 2164296"/>
                <a:gd name="connsiteX133" fmla="*/ 866775 w 2171700"/>
                <a:gd name="connsiteY133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28787 w 2171700"/>
                <a:gd name="connsiteY57" fmla="*/ 1872088 h 2164296"/>
                <a:gd name="connsiteX58" fmla="*/ 1709737 w 2171700"/>
                <a:gd name="connsiteY58" fmla="*/ 1881613 h 2164296"/>
                <a:gd name="connsiteX59" fmla="*/ 1647825 w 2171700"/>
                <a:gd name="connsiteY59" fmla="*/ 1895900 h 2164296"/>
                <a:gd name="connsiteX60" fmla="*/ 1619250 w 2171700"/>
                <a:gd name="connsiteY60" fmla="*/ 1910188 h 2164296"/>
                <a:gd name="connsiteX61" fmla="*/ 1571625 w 2171700"/>
                <a:gd name="connsiteY61" fmla="*/ 1929238 h 2164296"/>
                <a:gd name="connsiteX62" fmla="*/ 1404937 w 2171700"/>
                <a:gd name="connsiteY62" fmla="*/ 2029250 h 2164296"/>
                <a:gd name="connsiteX63" fmla="*/ 1333500 w 2171700"/>
                <a:gd name="connsiteY63" fmla="*/ 2053063 h 2164296"/>
                <a:gd name="connsiteX64" fmla="*/ 1319212 w 2171700"/>
                <a:gd name="connsiteY64" fmla="*/ 2062588 h 2164296"/>
                <a:gd name="connsiteX65" fmla="*/ 1281112 w 2171700"/>
                <a:gd name="connsiteY65" fmla="*/ 2072113 h 2164296"/>
                <a:gd name="connsiteX66" fmla="*/ 1257300 w 2171700"/>
                <a:gd name="connsiteY66" fmla="*/ 2086400 h 2164296"/>
                <a:gd name="connsiteX67" fmla="*/ 1204912 w 2171700"/>
                <a:gd name="connsiteY67" fmla="*/ 2100688 h 2164296"/>
                <a:gd name="connsiteX68" fmla="*/ 1162050 w 2171700"/>
                <a:gd name="connsiteY68" fmla="*/ 2119738 h 2164296"/>
                <a:gd name="connsiteX69" fmla="*/ 1143000 w 2171700"/>
                <a:gd name="connsiteY69" fmla="*/ 2134025 h 2164296"/>
                <a:gd name="connsiteX70" fmla="*/ 1071562 w 2171700"/>
                <a:gd name="connsiteY70" fmla="*/ 2148313 h 2164296"/>
                <a:gd name="connsiteX71" fmla="*/ 1042987 w 2171700"/>
                <a:gd name="connsiteY71" fmla="*/ 2162600 h 2164296"/>
                <a:gd name="connsiteX72" fmla="*/ 909637 w 2171700"/>
                <a:gd name="connsiteY72" fmla="*/ 2157838 h 2164296"/>
                <a:gd name="connsiteX73" fmla="*/ 800100 w 2171700"/>
                <a:gd name="connsiteY73" fmla="*/ 2105450 h 2164296"/>
                <a:gd name="connsiteX74" fmla="*/ 762000 w 2171700"/>
                <a:gd name="connsiteY74" fmla="*/ 2091163 h 2164296"/>
                <a:gd name="connsiteX75" fmla="*/ 714375 w 2171700"/>
                <a:gd name="connsiteY75" fmla="*/ 2062588 h 2164296"/>
                <a:gd name="connsiteX76" fmla="*/ 657225 w 2171700"/>
                <a:gd name="connsiteY76" fmla="*/ 2038775 h 2164296"/>
                <a:gd name="connsiteX77" fmla="*/ 623887 w 2171700"/>
                <a:gd name="connsiteY77" fmla="*/ 2005438 h 2164296"/>
                <a:gd name="connsiteX78" fmla="*/ 585787 w 2171700"/>
                <a:gd name="connsiteY78" fmla="*/ 1976863 h 2164296"/>
                <a:gd name="connsiteX79" fmla="*/ 571500 w 2171700"/>
                <a:gd name="connsiteY79" fmla="*/ 1957813 h 2164296"/>
                <a:gd name="connsiteX80" fmla="*/ 557212 w 2171700"/>
                <a:gd name="connsiteY80" fmla="*/ 1934000 h 2164296"/>
                <a:gd name="connsiteX81" fmla="*/ 523875 w 2171700"/>
                <a:gd name="connsiteY81" fmla="*/ 1895900 h 2164296"/>
                <a:gd name="connsiteX82" fmla="*/ 381000 w 2171700"/>
                <a:gd name="connsiteY82" fmla="*/ 1705400 h 2164296"/>
                <a:gd name="connsiteX83" fmla="*/ 366712 w 2171700"/>
                <a:gd name="connsiteY83" fmla="*/ 1686350 h 2164296"/>
                <a:gd name="connsiteX84" fmla="*/ 347662 w 2171700"/>
                <a:gd name="connsiteY84" fmla="*/ 1657775 h 2164296"/>
                <a:gd name="connsiteX85" fmla="*/ 290512 w 2171700"/>
                <a:gd name="connsiteY85" fmla="*/ 1600625 h 2164296"/>
                <a:gd name="connsiteX86" fmla="*/ 266700 w 2171700"/>
                <a:gd name="connsiteY86" fmla="*/ 1576813 h 2164296"/>
                <a:gd name="connsiteX87" fmla="*/ 252412 w 2171700"/>
                <a:gd name="connsiteY87" fmla="*/ 1562525 h 2164296"/>
                <a:gd name="connsiteX88" fmla="*/ 214312 w 2171700"/>
                <a:gd name="connsiteY88" fmla="*/ 1538713 h 2164296"/>
                <a:gd name="connsiteX89" fmla="*/ 190500 w 2171700"/>
                <a:gd name="connsiteY89" fmla="*/ 1510138 h 2164296"/>
                <a:gd name="connsiteX90" fmla="*/ 166687 w 2171700"/>
                <a:gd name="connsiteY90" fmla="*/ 1491088 h 2164296"/>
                <a:gd name="connsiteX91" fmla="*/ 147637 w 2171700"/>
                <a:gd name="connsiteY91" fmla="*/ 1462513 h 2164296"/>
                <a:gd name="connsiteX92" fmla="*/ 123825 w 2171700"/>
                <a:gd name="connsiteY92" fmla="*/ 1438700 h 2164296"/>
                <a:gd name="connsiteX93" fmla="*/ 114300 w 2171700"/>
                <a:gd name="connsiteY93" fmla="*/ 1424413 h 2164296"/>
                <a:gd name="connsiteX94" fmla="*/ 95250 w 2171700"/>
                <a:gd name="connsiteY94" fmla="*/ 1405363 h 2164296"/>
                <a:gd name="connsiteX95" fmla="*/ 76200 w 2171700"/>
                <a:gd name="connsiteY95" fmla="*/ 1376788 h 2164296"/>
                <a:gd name="connsiteX96" fmla="*/ 61912 w 2171700"/>
                <a:gd name="connsiteY96" fmla="*/ 1362500 h 2164296"/>
                <a:gd name="connsiteX97" fmla="*/ 52387 w 2171700"/>
                <a:gd name="connsiteY97" fmla="*/ 1348213 h 2164296"/>
                <a:gd name="connsiteX98" fmla="*/ 38100 w 2171700"/>
                <a:gd name="connsiteY98" fmla="*/ 1329163 h 2164296"/>
                <a:gd name="connsiteX99" fmla="*/ 33337 w 2171700"/>
                <a:gd name="connsiteY99" fmla="*/ 1305350 h 2164296"/>
                <a:gd name="connsiteX100" fmla="*/ 9525 w 2171700"/>
                <a:gd name="connsiteY100" fmla="*/ 1257725 h 2164296"/>
                <a:gd name="connsiteX101" fmla="*/ 0 w 2171700"/>
                <a:gd name="connsiteY101" fmla="*/ 1200575 h 2164296"/>
                <a:gd name="connsiteX102" fmla="*/ 4762 w 2171700"/>
                <a:gd name="connsiteY102" fmla="*/ 991025 h 2164296"/>
                <a:gd name="connsiteX103" fmla="*/ 42862 w 2171700"/>
                <a:gd name="connsiteY103" fmla="*/ 929113 h 2164296"/>
                <a:gd name="connsiteX104" fmla="*/ 66675 w 2171700"/>
                <a:gd name="connsiteY104" fmla="*/ 891013 h 2164296"/>
                <a:gd name="connsiteX105" fmla="*/ 85725 w 2171700"/>
                <a:gd name="connsiteY105" fmla="*/ 848150 h 2164296"/>
                <a:gd name="connsiteX106" fmla="*/ 147637 w 2171700"/>
                <a:gd name="connsiteY106" fmla="*/ 733850 h 2164296"/>
                <a:gd name="connsiteX107" fmla="*/ 209550 w 2171700"/>
                <a:gd name="connsiteY107" fmla="*/ 610025 h 2164296"/>
                <a:gd name="connsiteX108" fmla="*/ 214312 w 2171700"/>
                <a:gd name="connsiteY108" fmla="*/ 581450 h 2164296"/>
                <a:gd name="connsiteX109" fmla="*/ 238125 w 2171700"/>
                <a:gd name="connsiteY109" fmla="*/ 538588 h 2164296"/>
                <a:gd name="connsiteX110" fmla="*/ 252412 w 2171700"/>
                <a:gd name="connsiteY110" fmla="*/ 500488 h 2164296"/>
                <a:gd name="connsiteX111" fmla="*/ 266700 w 2171700"/>
                <a:gd name="connsiteY111" fmla="*/ 471913 h 2164296"/>
                <a:gd name="connsiteX112" fmla="*/ 276225 w 2171700"/>
                <a:gd name="connsiteY112" fmla="*/ 443338 h 2164296"/>
                <a:gd name="connsiteX113" fmla="*/ 285750 w 2171700"/>
                <a:gd name="connsiteY113" fmla="*/ 429050 h 2164296"/>
                <a:gd name="connsiteX114" fmla="*/ 295275 w 2171700"/>
                <a:gd name="connsiteY114" fmla="*/ 405238 h 2164296"/>
                <a:gd name="connsiteX115" fmla="*/ 314325 w 2171700"/>
                <a:gd name="connsiteY115" fmla="*/ 381425 h 2164296"/>
                <a:gd name="connsiteX116" fmla="*/ 333375 w 2171700"/>
                <a:gd name="connsiteY116" fmla="*/ 333800 h 2164296"/>
                <a:gd name="connsiteX117" fmla="*/ 361950 w 2171700"/>
                <a:gd name="connsiteY117" fmla="*/ 290938 h 2164296"/>
                <a:gd name="connsiteX118" fmla="*/ 385762 w 2171700"/>
                <a:gd name="connsiteY118" fmla="*/ 248075 h 2164296"/>
                <a:gd name="connsiteX119" fmla="*/ 400050 w 2171700"/>
                <a:gd name="connsiteY119" fmla="*/ 229025 h 2164296"/>
                <a:gd name="connsiteX120" fmla="*/ 423862 w 2171700"/>
                <a:gd name="connsiteY120" fmla="*/ 214738 h 2164296"/>
                <a:gd name="connsiteX121" fmla="*/ 447675 w 2171700"/>
                <a:gd name="connsiteY121" fmla="*/ 190925 h 2164296"/>
                <a:gd name="connsiteX122" fmla="*/ 461962 w 2171700"/>
                <a:gd name="connsiteY122" fmla="*/ 181400 h 2164296"/>
                <a:gd name="connsiteX123" fmla="*/ 495300 w 2171700"/>
                <a:gd name="connsiteY123" fmla="*/ 143300 h 2164296"/>
                <a:gd name="connsiteX124" fmla="*/ 509587 w 2171700"/>
                <a:gd name="connsiteY124" fmla="*/ 133775 h 2164296"/>
                <a:gd name="connsiteX125" fmla="*/ 619125 w 2171700"/>
                <a:gd name="connsiteY125" fmla="*/ 71863 h 2164296"/>
                <a:gd name="connsiteX126" fmla="*/ 633412 w 2171700"/>
                <a:gd name="connsiteY126" fmla="*/ 52813 h 2164296"/>
                <a:gd name="connsiteX127" fmla="*/ 652462 w 2171700"/>
                <a:gd name="connsiteY127" fmla="*/ 48050 h 2164296"/>
                <a:gd name="connsiteX128" fmla="*/ 676275 w 2171700"/>
                <a:gd name="connsiteY128" fmla="*/ 38525 h 2164296"/>
                <a:gd name="connsiteX129" fmla="*/ 719137 w 2171700"/>
                <a:gd name="connsiteY129" fmla="*/ 24238 h 2164296"/>
                <a:gd name="connsiteX130" fmla="*/ 747712 w 2171700"/>
                <a:gd name="connsiteY130" fmla="*/ 14713 h 2164296"/>
                <a:gd name="connsiteX131" fmla="*/ 795337 w 2171700"/>
                <a:gd name="connsiteY131" fmla="*/ 9950 h 2164296"/>
                <a:gd name="connsiteX132" fmla="*/ 866775 w 2171700"/>
                <a:gd name="connsiteY132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709737 w 2171700"/>
                <a:gd name="connsiteY57" fmla="*/ 1881613 h 2164296"/>
                <a:gd name="connsiteX58" fmla="*/ 1647825 w 2171700"/>
                <a:gd name="connsiteY58" fmla="*/ 1895900 h 2164296"/>
                <a:gd name="connsiteX59" fmla="*/ 1619250 w 2171700"/>
                <a:gd name="connsiteY59" fmla="*/ 1910188 h 2164296"/>
                <a:gd name="connsiteX60" fmla="*/ 1571625 w 2171700"/>
                <a:gd name="connsiteY60" fmla="*/ 1929238 h 2164296"/>
                <a:gd name="connsiteX61" fmla="*/ 1404937 w 2171700"/>
                <a:gd name="connsiteY61" fmla="*/ 2029250 h 2164296"/>
                <a:gd name="connsiteX62" fmla="*/ 1333500 w 2171700"/>
                <a:gd name="connsiteY62" fmla="*/ 2053063 h 2164296"/>
                <a:gd name="connsiteX63" fmla="*/ 1319212 w 2171700"/>
                <a:gd name="connsiteY63" fmla="*/ 2062588 h 2164296"/>
                <a:gd name="connsiteX64" fmla="*/ 1281112 w 2171700"/>
                <a:gd name="connsiteY64" fmla="*/ 2072113 h 2164296"/>
                <a:gd name="connsiteX65" fmla="*/ 1257300 w 2171700"/>
                <a:gd name="connsiteY65" fmla="*/ 2086400 h 2164296"/>
                <a:gd name="connsiteX66" fmla="*/ 1204912 w 2171700"/>
                <a:gd name="connsiteY66" fmla="*/ 2100688 h 2164296"/>
                <a:gd name="connsiteX67" fmla="*/ 1162050 w 2171700"/>
                <a:gd name="connsiteY67" fmla="*/ 2119738 h 2164296"/>
                <a:gd name="connsiteX68" fmla="*/ 1143000 w 2171700"/>
                <a:gd name="connsiteY68" fmla="*/ 2134025 h 2164296"/>
                <a:gd name="connsiteX69" fmla="*/ 1071562 w 2171700"/>
                <a:gd name="connsiteY69" fmla="*/ 2148313 h 2164296"/>
                <a:gd name="connsiteX70" fmla="*/ 1042987 w 2171700"/>
                <a:gd name="connsiteY70" fmla="*/ 2162600 h 2164296"/>
                <a:gd name="connsiteX71" fmla="*/ 909637 w 2171700"/>
                <a:gd name="connsiteY71" fmla="*/ 2157838 h 2164296"/>
                <a:gd name="connsiteX72" fmla="*/ 800100 w 2171700"/>
                <a:gd name="connsiteY72" fmla="*/ 2105450 h 2164296"/>
                <a:gd name="connsiteX73" fmla="*/ 762000 w 2171700"/>
                <a:gd name="connsiteY73" fmla="*/ 2091163 h 2164296"/>
                <a:gd name="connsiteX74" fmla="*/ 714375 w 2171700"/>
                <a:gd name="connsiteY74" fmla="*/ 2062588 h 2164296"/>
                <a:gd name="connsiteX75" fmla="*/ 657225 w 2171700"/>
                <a:gd name="connsiteY75" fmla="*/ 2038775 h 2164296"/>
                <a:gd name="connsiteX76" fmla="*/ 623887 w 2171700"/>
                <a:gd name="connsiteY76" fmla="*/ 2005438 h 2164296"/>
                <a:gd name="connsiteX77" fmla="*/ 585787 w 2171700"/>
                <a:gd name="connsiteY77" fmla="*/ 1976863 h 2164296"/>
                <a:gd name="connsiteX78" fmla="*/ 571500 w 2171700"/>
                <a:gd name="connsiteY78" fmla="*/ 1957813 h 2164296"/>
                <a:gd name="connsiteX79" fmla="*/ 557212 w 2171700"/>
                <a:gd name="connsiteY79" fmla="*/ 1934000 h 2164296"/>
                <a:gd name="connsiteX80" fmla="*/ 523875 w 2171700"/>
                <a:gd name="connsiteY80" fmla="*/ 1895900 h 2164296"/>
                <a:gd name="connsiteX81" fmla="*/ 381000 w 2171700"/>
                <a:gd name="connsiteY81" fmla="*/ 1705400 h 2164296"/>
                <a:gd name="connsiteX82" fmla="*/ 366712 w 2171700"/>
                <a:gd name="connsiteY82" fmla="*/ 1686350 h 2164296"/>
                <a:gd name="connsiteX83" fmla="*/ 347662 w 2171700"/>
                <a:gd name="connsiteY83" fmla="*/ 1657775 h 2164296"/>
                <a:gd name="connsiteX84" fmla="*/ 290512 w 2171700"/>
                <a:gd name="connsiteY84" fmla="*/ 1600625 h 2164296"/>
                <a:gd name="connsiteX85" fmla="*/ 266700 w 2171700"/>
                <a:gd name="connsiteY85" fmla="*/ 1576813 h 2164296"/>
                <a:gd name="connsiteX86" fmla="*/ 252412 w 2171700"/>
                <a:gd name="connsiteY86" fmla="*/ 1562525 h 2164296"/>
                <a:gd name="connsiteX87" fmla="*/ 214312 w 2171700"/>
                <a:gd name="connsiteY87" fmla="*/ 1538713 h 2164296"/>
                <a:gd name="connsiteX88" fmla="*/ 190500 w 2171700"/>
                <a:gd name="connsiteY88" fmla="*/ 1510138 h 2164296"/>
                <a:gd name="connsiteX89" fmla="*/ 166687 w 2171700"/>
                <a:gd name="connsiteY89" fmla="*/ 1491088 h 2164296"/>
                <a:gd name="connsiteX90" fmla="*/ 147637 w 2171700"/>
                <a:gd name="connsiteY90" fmla="*/ 1462513 h 2164296"/>
                <a:gd name="connsiteX91" fmla="*/ 123825 w 2171700"/>
                <a:gd name="connsiteY91" fmla="*/ 1438700 h 2164296"/>
                <a:gd name="connsiteX92" fmla="*/ 114300 w 2171700"/>
                <a:gd name="connsiteY92" fmla="*/ 1424413 h 2164296"/>
                <a:gd name="connsiteX93" fmla="*/ 95250 w 2171700"/>
                <a:gd name="connsiteY93" fmla="*/ 1405363 h 2164296"/>
                <a:gd name="connsiteX94" fmla="*/ 76200 w 2171700"/>
                <a:gd name="connsiteY94" fmla="*/ 1376788 h 2164296"/>
                <a:gd name="connsiteX95" fmla="*/ 61912 w 2171700"/>
                <a:gd name="connsiteY95" fmla="*/ 1362500 h 2164296"/>
                <a:gd name="connsiteX96" fmla="*/ 52387 w 2171700"/>
                <a:gd name="connsiteY96" fmla="*/ 1348213 h 2164296"/>
                <a:gd name="connsiteX97" fmla="*/ 38100 w 2171700"/>
                <a:gd name="connsiteY97" fmla="*/ 1329163 h 2164296"/>
                <a:gd name="connsiteX98" fmla="*/ 33337 w 2171700"/>
                <a:gd name="connsiteY98" fmla="*/ 1305350 h 2164296"/>
                <a:gd name="connsiteX99" fmla="*/ 9525 w 2171700"/>
                <a:gd name="connsiteY99" fmla="*/ 1257725 h 2164296"/>
                <a:gd name="connsiteX100" fmla="*/ 0 w 2171700"/>
                <a:gd name="connsiteY100" fmla="*/ 1200575 h 2164296"/>
                <a:gd name="connsiteX101" fmla="*/ 4762 w 2171700"/>
                <a:gd name="connsiteY101" fmla="*/ 991025 h 2164296"/>
                <a:gd name="connsiteX102" fmla="*/ 42862 w 2171700"/>
                <a:gd name="connsiteY102" fmla="*/ 929113 h 2164296"/>
                <a:gd name="connsiteX103" fmla="*/ 66675 w 2171700"/>
                <a:gd name="connsiteY103" fmla="*/ 891013 h 2164296"/>
                <a:gd name="connsiteX104" fmla="*/ 85725 w 2171700"/>
                <a:gd name="connsiteY104" fmla="*/ 848150 h 2164296"/>
                <a:gd name="connsiteX105" fmla="*/ 147637 w 2171700"/>
                <a:gd name="connsiteY105" fmla="*/ 733850 h 2164296"/>
                <a:gd name="connsiteX106" fmla="*/ 209550 w 2171700"/>
                <a:gd name="connsiteY106" fmla="*/ 610025 h 2164296"/>
                <a:gd name="connsiteX107" fmla="*/ 214312 w 2171700"/>
                <a:gd name="connsiteY107" fmla="*/ 581450 h 2164296"/>
                <a:gd name="connsiteX108" fmla="*/ 238125 w 2171700"/>
                <a:gd name="connsiteY108" fmla="*/ 538588 h 2164296"/>
                <a:gd name="connsiteX109" fmla="*/ 252412 w 2171700"/>
                <a:gd name="connsiteY109" fmla="*/ 500488 h 2164296"/>
                <a:gd name="connsiteX110" fmla="*/ 266700 w 2171700"/>
                <a:gd name="connsiteY110" fmla="*/ 471913 h 2164296"/>
                <a:gd name="connsiteX111" fmla="*/ 276225 w 2171700"/>
                <a:gd name="connsiteY111" fmla="*/ 443338 h 2164296"/>
                <a:gd name="connsiteX112" fmla="*/ 285750 w 2171700"/>
                <a:gd name="connsiteY112" fmla="*/ 429050 h 2164296"/>
                <a:gd name="connsiteX113" fmla="*/ 295275 w 2171700"/>
                <a:gd name="connsiteY113" fmla="*/ 405238 h 2164296"/>
                <a:gd name="connsiteX114" fmla="*/ 314325 w 2171700"/>
                <a:gd name="connsiteY114" fmla="*/ 381425 h 2164296"/>
                <a:gd name="connsiteX115" fmla="*/ 333375 w 2171700"/>
                <a:gd name="connsiteY115" fmla="*/ 333800 h 2164296"/>
                <a:gd name="connsiteX116" fmla="*/ 361950 w 2171700"/>
                <a:gd name="connsiteY116" fmla="*/ 290938 h 2164296"/>
                <a:gd name="connsiteX117" fmla="*/ 385762 w 2171700"/>
                <a:gd name="connsiteY117" fmla="*/ 248075 h 2164296"/>
                <a:gd name="connsiteX118" fmla="*/ 400050 w 2171700"/>
                <a:gd name="connsiteY118" fmla="*/ 229025 h 2164296"/>
                <a:gd name="connsiteX119" fmla="*/ 423862 w 2171700"/>
                <a:gd name="connsiteY119" fmla="*/ 214738 h 2164296"/>
                <a:gd name="connsiteX120" fmla="*/ 447675 w 2171700"/>
                <a:gd name="connsiteY120" fmla="*/ 190925 h 2164296"/>
                <a:gd name="connsiteX121" fmla="*/ 461962 w 2171700"/>
                <a:gd name="connsiteY121" fmla="*/ 181400 h 2164296"/>
                <a:gd name="connsiteX122" fmla="*/ 495300 w 2171700"/>
                <a:gd name="connsiteY122" fmla="*/ 143300 h 2164296"/>
                <a:gd name="connsiteX123" fmla="*/ 509587 w 2171700"/>
                <a:gd name="connsiteY123" fmla="*/ 133775 h 2164296"/>
                <a:gd name="connsiteX124" fmla="*/ 619125 w 2171700"/>
                <a:gd name="connsiteY124" fmla="*/ 71863 h 2164296"/>
                <a:gd name="connsiteX125" fmla="*/ 633412 w 2171700"/>
                <a:gd name="connsiteY125" fmla="*/ 52813 h 2164296"/>
                <a:gd name="connsiteX126" fmla="*/ 652462 w 2171700"/>
                <a:gd name="connsiteY126" fmla="*/ 48050 h 2164296"/>
                <a:gd name="connsiteX127" fmla="*/ 676275 w 2171700"/>
                <a:gd name="connsiteY127" fmla="*/ 38525 h 2164296"/>
                <a:gd name="connsiteX128" fmla="*/ 719137 w 2171700"/>
                <a:gd name="connsiteY128" fmla="*/ 24238 h 2164296"/>
                <a:gd name="connsiteX129" fmla="*/ 747712 w 2171700"/>
                <a:gd name="connsiteY129" fmla="*/ 14713 h 2164296"/>
                <a:gd name="connsiteX130" fmla="*/ 795337 w 2171700"/>
                <a:gd name="connsiteY130" fmla="*/ 9950 h 2164296"/>
                <a:gd name="connsiteX131" fmla="*/ 866775 w 2171700"/>
                <a:gd name="connsiteY131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619250 w 2171700"/>
                <a:gd name="connsiteY58" fmla="*/ 1910188 h 2164296"/>
                <a:gd name="connsiteX59" fmla="*/ 1571625 w 2171700"/>
                <a:gd name="connsiteY59" fmla="*/ 1929238 h 2164296"/>
                <a:gd name="connsiteX60" fmla="*/ 1404937 w 2171700"/>
                <a:gd name="connsiteY60" fmla="*/ 2029250 h 2164296"/>
                <a:gd name="connsiteX61" fmla="*/ 1333500 w 2171700"/>
                <a:gd name="connsiteY61" fmla="*/ 2053063 h 2164296"/>
                <a:gd name="connsiteX62" fmla="*/ 1319212 w 2171700"/>
                <a:gd name="connsiteY62" fmla="*/ 2062588 h 2164296"/>
                <a:gd name="connsiteX63" fmla="*/ 1281112 w 2171700"/>
                <a:gd name="connsiteY63" fmla="*/ 2072113 h 2164296"/>
                <a:gd name="connsiteX64" fmla="*/ 1257300 w 2171700"/>
                <a:gd name="connsiteY64" fmla="*/ 2086400 h 2164296"/>
                <a:gd name="connsiteX65" fmla="*/ 1204912 w 2171700"/>
                <a:gd name="connsiteY65" fmla="*/ 2100688 h 2164296"/>
                <a:gd name="connsiteX66" fmla="*/ 1162050 w 2171700"/>
                <a:gd name="connsiteY66" fmla="*/ 2119738 h 2164296"/>
                <a:gd name="connsiteX67" fmla="*/ 1143000 w 2171700"/>
                <a:gd name="connsiteY67" fmla="*/ 2134025 h 2164296"/>
                <a:gd name="connsiteX68" fmla="*/ 1071562 w 2171700"/>
                <a:gd name="connsiteY68" fmla="*/ 2148313 h 2164296"/>
                <a:gd name="connsiteX69" fmla="*/ 1042987 w 2171700"/>
                <a:gd name="connsiteY69" fmla="*/ 2162600 h 2164296"/>
                <a:gd name="connsiteX70" fmla="*/ 909637 w 2171700"/>
                <a:gd name="connsiteY70" fmla="*/ 2157838 h 2164296"/>
                <a:gd name="connsiteX71" fmla="*/ 800100 w 2171700"/>
                <a:gd name="connsiteY71" fmla="*/ 2105450 h 2164296"/>
                <a:gd name="connsiteX72" fmla="*/ 762000 w 2171700"/>
                <a:gd name="connsiteY72" fmla="*/ 2091163 h 2164296"/>
                <a:gd name="connsiteX73" fmla="*/ 714375 w 2171700"/>
                <a:gd name="connsiteY73" fmla="*/ 2062588 h 2164296"/>
                <a:gd name="connsiteX74" fmla="*/ 657225 w 2171700"/>
                <a:gd name="connsiteY74" fmla="*/ 2038775 h 2164296"/>
                <a:gd name="connsiteX75" fmla="*/ 623887 w 2171700"/>
                <a:gd name="connsiteY75" fmla="*/ 2005438 h 2164296"/>
                <a:gd name="connsiteX76" fmla="*/ 585787 w 2171700"/>
                <a:gd name="connsiteY76" fmla="*/ 1976863 h 2164296"/>
                <a:gd name="connsiteX77" fmla="*/ 571500 w 2171700"/>
                <a:gd name="connsiteY77" fmla="*/ 1957813 h 2164296"/>
                <a:gd name="connsiteX78" fmla="*/ 557212 w 2171700"/>
                <a:gd name="connsiteY78" fmla="*/ 1934000 h 2164296"/>
                <a:gd name="connsiteX79" fmla="*/ 523875 w 2171700"/>
                <a:gd name="connsiteY79" fmla="*/ 1895900 h 2164296"/>
                <a:gd name="connsiteX80" fmla="*/ 381000 w 2171700"/>
                <a:gd name="connsiteY80" fmla="*/ 1705400 h 2164296"/>
                <a:gd name="connsiteX81" fmla="*/ 366712 w 2171700"/>
                <a:gd name="connsiteY81" fmla="*/ 1686350 h 2164296"/>
                <a:gd name="connsiteX82" fmla="*/ 347662 w 2171700"/>
                <a:gd name="connsiteY82" fmla="*/ 1657775 h 2164296"/>
                <a:gd name="connsiteX83" fmla="*/ 290512 w 2171700"/>
                <a:gd name="connsiteY83" fmla="*/ 1600625 h 2164296"/>
                <a:gd name="connsiteX84" fmla="*/ 266700 w 2171700"/>
                <a:gd name="connsiteY84" fmla="*/ 1576813 h 2164296"/>
                <a:gd name="connsiteX85" fmla="*/ 252412 w 2171700"/>
                <a:gd name="connsiteY85" fmla="*/ 1562525 h 2164296"/>
                <a:gd name="connsiteX86" fmla="*/ 214312 w 2171700"/>
                <a:gd name="connsiteY86" fmla="*/ 1538713 h 2164296"/>
                <a:gd name="connsiteX87" fmla="*/ 190500 w 2171700"/>
                <a:gd name="connsiteY87" fmla="*/ 1510138 h 2164296"/>
                <a:gd name="connsiteX88" fmla="*/ 166687 w 2171700"/>
                <a:gd name="connsiteY88" fmla="*/ 1491088 h 2164296"/>
                <a:gd name="connsiteX89" fmla="*/ 147637 w 2171700"/>
                <a:gd name="connsiteY89" fmla="*/ 1462513 h 2164296"/>
                <a:gd name="connsiteX90" fmla="*/ 123825 w 2171700"/>
                <a:gd name="connsiteY90" fmla="*/ 1438700 h 2164296"/>
                <a:gd name="connsiteX91" fmla="*/ 114300 w 2171700"/>
                <a:gd name="connsiteY91" fmla="*/ 1424413 h 2164296"/>
                <a:gd name="connsiteX92" fmla="*/ 95250 w 2171700"/>
                <a:gd name="connsiteY92" fmla="*/ 1405363 h 2164296"/>
                <a:gd name="connsiteX93" fmla="*/ 76200 w 2171700"/>
                <a:gd name="connsiteY93" fmla="*/ 1376788 h 2164296"/>
                <a:gd name="connsiteX94" fmla="*/ 61912 w 2171700"/>
                <a:gd name="connsiteY94" fmla="*/ 1362500 h 2164296"/>
                <a:gd name="connsiteX95" fmla="*/ 52387 w 2171700"/>
                <a:gd name="connsiteY95" fmla="*/ 1348213 h 2164296"/>
                <a:gd name="connsiteX96" fmla="*/ 38100 w 2171700"/>
                <a:gd name="connsiteY96" fmla="*/ 1329163 h 2164296"/>
                <a:gd name="connsiteX97" fmla="*/ 33337 w 2171700"/>
                <a:gd name="connsiteY97" fmla="*/ 1305350 h 2164296"/>
                <a:gd name="connsiteX98" fmla="*/ 9525 w 2171700"/>
                <a:gd name="connsiteY98" fmla="*/ 1257725 h 2164296"/>
                <a:gd name="connsiteX99" fmla="*/ 0 w 2171700"/>
                <a:gd name="connsiteY99" fmla="*/ 1200575 h 2164296"/>
                <a:gd name="connsiteX100" fmla="*/ 4762 w 2171700"/>
                <a:gd name="connsiteY100" fmla="*/ 991025 h 2164296"/>
                <a:gd name="connsiteX101" fmla="*/ 42862 w 2171700"/>
                <a:gd name="connsiteY101" fmla="*/ 929113 h 2164296"/>
                <a:gd name="connsiteX102" fmla="*/ 66675 w 2171700"/>
                <a:gd name="connsiteY102" fmla="*/ 891013 h 2164296"/>
                <a:gd name="connsiteX103" fmla="*/ 85725 w 2171700"/>
                <a:gd name="connsiteY103" fmla="*/ 848150 h 2164296"/>
                <a:gd name="connsiteX104" fmla="*/ 147637 w 2171700"/>
                <a:gd name="connsiteY104" fmla="*/ 733850 h 2164296"/>
                <a:gd name="connsiteX105" fmla="*/ 209550 w 2171700"/>
                <a:gd name="connsiteY105" fmla="*/ 610025 h 2164296"/>
                <a:gd name="connsiteX106" fmla="*/ 214312 w 2171700"/>
                <a:gd name="connsiteY106" fmla="*/ 581450 h 2164296"/>
                <a:gd name="connsiteX107" fmla="*/ 238125 w 2171700"/>
                <a:gd name="connsiteY107" fmla="*/ 538588 h 2164296"/>
                <a:gd name="connsiteX108" fmla="*/ 252412 w 2171700"/>
                <a:gd name="connsiteY108" fmla="*/ 500488 h 2164296"/>
                <a:gd name="connsiteX109" fmla="*/ 266700 w 2171700"/>
                <a:gd name="connsiteY109" fmla="*/ 471913 h 2164296"/>
                <a:gd name="connsiteX110" fmla="*/ 276225 w 2171700"/>
                <a:gd name="connsiteY110" fmla="*/ 443338 h 2164296"/>
                <a:gd name="connsiteX111" fmla="*/ 285750 w 2171700"/>
                <a:gd name="connsiteY111" fmla="*/ 429050 h 2164296"/>
                <a:gd name="connsiteX112" fmla="*/ 295275 w 2171700"/>
                <a:gd name="connsiteY112" fmla="*/ 405238 h 2164296"/>
                <a:gd name="connsiteX113" fmla="*/ 314325 w 2171700"/>
                <a:gd name="connsiteY113" fmla="*/ 381425 h 2164296"/>
                <a:gd name="connsiteX114" fmla="*/ 333375 w 2171700"/>
                <a:gd name="connsiteY114" fmla="*/ 333800 h 2164296"/>
                <a:gd name="connsiteX115" fmla="*/ 361950 w 2171700"/>
                <a:gd name="connsiteY115" fmla="*/ 290938 h 2164296"/>
                <a:gd name="connsiteX116" fmla="*/ 385762 w 2171700"/>
                <a:gd name="connsiteY116" fmla="*/ 248075 h 2164296"/>
                <a:gd name="connsiteX117" fmla="*/ 400050 w 2171700"/>
                <a:gd name="connsiteY117" fmla="*/ 229025 h 2164296"/>
                <a:gd name="connsiteX118" fmla="*/ 423862 w 2171700"/>
                <a:gd name="connsiteY118" fmla="*/ 214738 h 2164296"/>
                <a:gd name="connsiteX119" fmla="*/ 447675 w 2171700"/>
                <a:gd name="connsiteY119" fmla="*/ 190925 h 2164296"/>
                <a:gd name="connsiteX120" fmla="*/ 461962 w 2171700"/>
                <a:gd name="connsiteY120" fmla="*/ 181400 h 2164296"/>
                <a:gd name="connsiteX121" fmla="*/ 495300 w 2171700"/>
                <a:gd name="connsiteY121" fmla="*/ 143300 h 2164296"/>
                <a:gd name="connsiteX122" fmla="*/ 509587 w 2171700"/>
                <a:gd name="connsiteY122" fmla="*/ 133775 h 2164296"/>
                <a:gd name="connsiteX123" fmla="*/ 619125 w 2171700"/>
                <a:gd name="connsiteY123" fmla="*/ 71863 h 2164296"/>
                <a:gd name="connsiteX124" fmla="*/ 633412 w 2171700"/>
                <a:gd name="connsiteY124" fmla="*/ 52813 h 2164296"/>
                <a:gd name="connsiteX125" fmla="*/ 652462 w 2171700"/>
                <a:gd name="connsiteY125" fmla="*/ 48050 h 2164296"/>
                <a:gd name="connsiteX126" fmla="*/ 676275 w 2171700"/>
                <a:gd name="connsiteY126" fmla="*/ 38525 h 2164296"/>
                <a:gd name="connsiteX127" fmla="*/ 719137 w 2171700"/>
                <a:gd name="connsiteY127" fmla="*/ 24238 h 2164296"/>
                <a:gd name="connsiteX128" fmla="*/ 747712 w 2171700"/>
                <a:gd name="connsiteY128" fmla="*/ 14713 h 2164296"/>
                <a:gd name="connsiteX129" fmla="*/ 795337 w 2171700"/>
                <a:gd name="connsiteY129" fmla="*/ 9950 h 2164296"/>
                <a:gd name="connsiteX130" fmla="*/ 866775 w 2171700"/>
                <a:gd name="connsiteY130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571625 w 2171700"/>
                <a:gd name="connsiteY58" fmla="*/ 1929238 h 2164296"/>
                <a:gd name="connsiteX59" fmla="*/ 1404937 w 2171700"/>
                <a:gd name="connsiteY59" fmla="*/ 2029250 h 2164296"/>
                <a:gd name="connsiteX60" fmla="*/ 1333500 w 2171700"/>
                <a:gd name="connsiteY60" fmla="*/ 2053063 h 2164296"/>
                <a:gd name="connsiteX61" fmla="*/ 1319212 w 2171700"/>
                <a:gd name="connsiteY61" fmla="*/ 2062588 h 2164296"/>
                <a:gd name="connsiteX62" fmla="*/ 1281112 w 2171700"/>
                <a:gd name="connsiteY62" fmla="*/ 2072113 h 2164296"/>
                <a:gd name="connsiteX63" fmla="*/ 1257300 w 2171700"/>
                <a:gd name="connsiteY63" fmla="*/ 2086400 h 2164296"/>
                <a:gd name="connsiteX64" fmla="*/ 1204912 w 2171700"/>
                <a:gd name="connsiteY64" fmla="*/ 2100688 h 2164296"/>
                <a:gd name="connsiteX65" fmla="*/ 1162050 w 2171700"/>
                <a:gd name="connsiteY65" fmla="*/ 2119738 h 2164296"/>
                <a:gd name="connsiteX66" fmla="*/ 1143000 w 2171700"/>
                <a:gd name="connsiteY66" fmla="*/ 2134025 h 2164296"/>
                <a:gd name="connsiteX67" fmla="*/ 1071562 w 2171700"/>
                <a:gd name="connsiteY67" fmla="*/ 2148313 h 2164296"/>
                <a:gd name="connsiteX68" fmla="*/ 1042987 w 2171700"/>
                <a:gd name="connsiteY68" fmla="*/ 2162600 h 2164296"/>
                <a:gd name="connsiteX69" fmla="*/ 909637 w 2171700"/>
                <a:gd name="connsiteY69" fmla="*/ 2157838 h 2164296"/>
                <a:gd name="connsiteX70" fmla="*/ 800100 w 2171700"/>
                <a:gd name="connsiteY70" fmla="*/ 2105450 h 2164296"/>
                <a:gd name="connsiteX71" fmla="*/ 762000 w 2171700"/>
                <a:gd name="connsiteY71" fmla="*/ 2091163 h 2164296"/>
                <a:gd name="connsiteX72" fmla="*/ 714375 w 2171700"/>
                <a:gd name="connsiteY72" fmla="*/ 2062588 h 2164296"/>
                <a:gd name="connsiteX73" fmla="*/ 657225 w 2171700"/>
                <a:gd name="connsiteY73" fmla="*/ 2038775 h 2164296"/>
                <a:gd name="connsiteX74" fmla="*/ 623887 w 2171700"/>
                <a:gd name="connsiteY74" fmla="*/ 2005438 h 2164296"/>
                <a:gd name="connsiteX75" fmla="*/ 585787 w 2171700"/>
                <a:gd name="connsiteY75" fmla="*/ 1976863 h 2164296"/>
                <a:gd name="connsiteX76" fmla="*/ 571500 w 2171700"/>
                <a:gd name="connsiteY76" fmla="*/ 1957813 h 2164296"/>
                <a:gd name="connsiteX77" fmla="*/ 557212 w 2171700"/>
                <a:gd name="connsiteY77" fmla="*/ 1934000 h 2164296"/>
                <a:gd name="connsiteX78" fmla="*/ 523875 w 2171700"/>
                <a:gd name="connsiteY78" fmla="*/ 1895900 h 2164296"/>
                <a:gd name="connsiteX79" fmla="*/ 381000 w 2171700"/>
                <a:gd name="connsiteY79" fmla="*/ 1705400 h 2164296"/>
                <a:gd name="connsiteX80" fmla="*/ 366712 w 2171700"/>
                <a:gd name="connsiteY80" fmla="*/ 1686350 h 2164296"/>
                <a:gd name="connsiteX81" fmla="*/ 347662 w 2171700"/>
                <a:gd name="connsiteY81" fmla="*/ 1657775 h 2164296"/>
                <a:gd name="connsiteX82" fmla="*/ 290512 w 2171700"/>
                <a:gd name="connsiteY82" fmla="*/ 1600625 h 2164296"/>
                <a:gd name="connsiteX83" fmla="*/ 266700 w 2171700"/>
                <a:gd name="connsiteY83" fmla="*/ 1576813 h 2164296"/>
                <a:gd name="connsiteX84" fmla="*/ 252412 w 2171700"/>
                <a:gd name="connsiteY84" fmla="*/ 1562525 h 2164296"/>
                <a:gd name="connsiteX85" fmla="*/ 214312 w 2171700"/>
                <a:gd name="connsiteY85" fmla="*/ 1538713 h 2164296"/>
                <a:gd name="connsiteX86" fmla="*/ 190500 w 2171700"/>
                <a:gd name="connsiteY86" fmla="*/ 1510138 h 2164296"/>
                <a:gd name="connsiteX87" fmla="*/ 166687 w 2171700"/>
                <a:gd name="connsiteY87" fmla="*/ 1491088 h 2164296"/>
                <a:gd name="connsiteX88" fmla="*/ 147637 w 2171700"/>
                <a:gd name="connsiteY88" fmla="*/ 1462513 h 2164296"/>
                <a:gd name="connsiteX89" fmla="*/ 123825 w 2171700"/>
                <a:gd name="connsiteY89" fmla="*/ 1438700 h 2164296"/>
                <a:gd name="connsiteX90" fmla="*/ 114300 w 2171700"/>
                <a:gd name="connsiteY90" fmla="*/ 1424413 h 2164296"/>
                <a:gd name="connsiteX91" fmla="*/ 95250 w 2171700"/>
                <a:gd name="connsiteY91" fmla="*/ 1405363 h 2164296"/>
                <a:gd name="connsiteX92" fmla="*/ 76200 w 2171700"/>
                <a:gd name="connsiteY92" fmla="*/ 1376788 h 2164296"/>
                <a:gd name="connsiteX93" fmla="*/ 61912 w 2171700"/>
                <a:gd name="connsiteY93" fmla="*/ 1362500 h 2164296"/>
                <a:gd name="connsiteX94" fmla="*/ 52387 w 2171700"/>
                <a:gd name="connsiteY94" fmla="*/ 1348213 h 2164296"/>
                <a:gd name="connsiteX95" fmla="*/ 38100 w 2171700"/>
                <a:gd name="connsiteY95" fmla="*/ 1329163 h 2164296"/>
                <a:gd name="connsiteX96" fmla="*/ 33337 w 2171700"/>
                <a:gd name="connsiteY96" fmla="*/ 1305350 h 2164296"/>
                <a:gd name="connsiteX97" fmla="*/ 9525 w 2171700"/>
                <a:gd name="connsiteY97" fmla="*/ 1257725 h 2164296"/>
                <a:gd name="connsiteX98" fmla="*/ 0 w 2171700"/>
                <a:gd name="connsiteY98" fmla="*/ 1200575 h 2164296"/>
                <a:gd name="connsiteX99" fmla="*/ 4762 w 2171700"/>
                <a:gd name="connsiteY99" fmla="*/ 991025 h 2164296"/>
                <a:gd name="connsiteX100" fmla="*/ 42862 w 2171700"/>
                <a:gd name="connsiteY100" fmla="*/ 929113 h 2164296"/>
                <a:gd name="connsiteX101" fmla="*/ 66675 w 2171700"/>
                <a:gd name="connsiteY101" fmla="*/ 891013 h 2164296"/>
                <a:gd name="connsiteX102" fmla="*/ 85725 w 2171700"/>
                <a:gd name="connsiteY102" fmla="*/ 848150 h 2164296"/>
                <a:gd name="connsiteX103" fmla="*/ 147637 w 2171700"/>
                <a:gd name="connsiteY103" fmla="*/ 733850 h 2164296"/>
                <a:gd name="connsiteX104" fmla="*/ 209550 w 2171700"/>
                <a:gd name="connsiteY104" fmla="*/ 610025 h 2164296"/>
                <a:gd name="connsiteX105" fmla="*/ 214312 w 2171700"/>
                <a:gd name="connsiteY105" fmla="*/ 581450 h 2164296"/>
                <a:gd name="connsiteX106" fmla="*/ 238125 w 2171700"/>
                <a:gd name="connsiteY106" fmla="*/ 538588 h 2164296"/>
                <a:gd name="connsiteX107" fmla="*/ 252412 w 2171700"/>
                <a:gd name="connsiteY107" fmla="*/ 500488 h 2164296"/>
                <a:gd name="connsiteX108" fmla="*/ 266700 w 2171700"/>
                <a:gd name="connsiteY108" fmla="*/ 471913 h 2164296"/>
                <a:gd name="connsiteX109" fmla="*/ 276225 w 2171700"/>
                <a:gd name="connsiteY109" fmla="*/ 443338 h 2164296"/>
                <a:gd name="connsiteX110" fmla="*/ 285750 w 2171700"/>
                <a:gd name="connsiteY110" fmla="*/ 429050 h 2164296"/>
                <a:gd name="connsiteX111" fmla="*/ 295275 w 2171700"/>
                <a:gd name="connsiteY111" fmla="*/ 405238 h 2164296"/>
                <a:gd name="connsiteX112" fmla="*/ 314325 w 2171700"/>
                <a:gd name="connsiteY112" fmla="*/ 381425 h 2164296"/>
                <a:gd name="connsiteX113" fmla="*/ 333375 w 2171700"/>
                <a:gd name="connsiteY113" fmla="*/ 333800 h 2164296"/>
                <a:gd name="connsiteX114" fmla="*/ 361950 w 2171700"/>
                <a:gd name="connsiteY114" fmla="*/ 290938 h 2164296"/>
                <a:gd name="connsiteX115" fmla="*/ 385762 w 2171700"/>
                <a:gd name="connsiteY115" fmla="*/ 248075 h 2164296"/>
                <a:gd name="connsiteX116" fmla="*/ 400050 w 2171700"/>
                <a:gd name="connsiteY116" fmla="*/ 229025 h 2164296"/>
                <a:gd name="connsiteX117" fmla="*/ 423862 w 2171700"/>
                <a:gd name="connsiteY117" fmla="*/ 214738 h 2164296"/>
                <a:gd name="connsiteX118" fmla="*/ 447675 w 2171700"/>
                <a:gd name="connsiteY118" fmla="*/ 190925 h 2164296"/>
                <a:gd name="connsiteX119" fmla="*/ 461962 w 2171700"/>
                <a:gd name="connsiteY119" fmla="*/ 181400 h 2164296"/>
                <a:gd name="connsiteX120" fmla="*/ 495300 w 2171700"/>
                <a:gd name="connsiteY120" fmla="*/ 143300 h 2164296"/>
                <a:gd name="connsiteX121" fmla="*/ 509587 w 2171700"/>
                <a:gd name="connsiteY121" fmla="*/ 133775 h 2164296"/>
                <a:gd name="connsiteX122" fmla="*/ 619125 w 2171700"/>
                <a:gd name="connsiteY122" fmla="*/ 71863 h 2164296"/>
                <a:gd name="connsiteX123" fmla="*/ 633412 w 2171700"/>
                <a:gd name="connsiteY123" fmla="*/ 52813 h 2164296"/>
                <a:gd name="connsiteX124" fmla="*/ 652462 w 2171700"/>
                <a:gd name="connsiteY124" fmla="*/ 48050 h 2164296"/>
                <a:gd name="connsiteX125" fmla="*/ 676275 w 2171700"/>
                <a:gd name="connsiteY125" fmla="*/ 38525 h 2164296"/>
                <a:gd name="connsiteX126" fmla="*/ 719137 w 2171700"/>
                <a:gd name="connsiteY126" fmla="*/ 24238 h 2164296"/>
                <a:gd name="connsiteX127" fmla="*/ 747712 w 2171700"/>
                <a:gd name="connsiteY127" fmla="*/ 14713 h 2164296"/>
                <a:gd name="connsiteX128" fmla="*/ 795337 w 2171700"/>
                <a:gd name="connsiteY128" fmla="*/ 9950 h 2164296"/>
                <a:gd name="connsiteX129" fmla="*/ 866775 w 2171700"/>
                <a:gd name="connsiteY129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404937 w 2171700"/>
                <a:gd name="connsiteY58" fmla="*/ 2029250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47825 w 2171700"/>
                <a:gd name="connsiteY57" fmla="*/ 1895900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00100 w 2171700"/>
                <a:gd name="connsiteY0" fmla="*/ 425 h 2164296"/>
                <a:gd name="connsiteX1" fmla="*/ 952500 w 2171700"/>
                <a:gd name="connsiteY1" fmla="*/ 5188 h 2164296"/>
                <a:gd name="connsiteX2" fmla="*/ 976312 w 2171700"/>
                <a:gd name="connsiteY2" fmla="*/ 9950 h 2164296"/>
                <a:gd name="connsiteX3" fmla="*/ 1042987 w 2171700"/>
                <a:gd name="connsiteY3" fmla="*/ 19475 h 2164296"/>
                <a:gd name="connsiteX4" fmla="*/ 1071562 w 2171700"/>
                <a:gd name="connsiteY4" fmla="*/ 24238 h 2164296"/>
                <a:gd name="connsiteX5" fmla="*/ 1095375 w 2171700"/>
                <a:gd name="connsiteY5" fmla="*/ 38525 h 2164296"/>
                <a:gd name="connsiteX6" fmla="*/ 1138237 w 2171700"/>
                <a:gd name="connsiteY6" fmla="*/ 48050 h 2164296"/>
                <a:gd name="connsiteX7" fmla="*/ 1157287 w 2171700"/>
                <a:gd name="connsiteY7" fmla="*/ 52813 h 2164296"/>
                <a:gd name="connsiteX8" fmla="*/ 1190625 w 2171700"/>
                <a:gd name="connsiteY8" fmla="*/ 57575 h 2164296"/>
                <a:gd name="connsiteX9" fmla="*/ 1285875 w 2171700"/>
                <a:gd name="connsiteY9" fmla="*/ 71863 h 2164296"/>
                <a:gd name="connsiteX10" fmla="*/ 1457325 w 2171700"/>
                <a:gd name="connsiteY10" fmla="*/ 109963 h 2164296"/>
                <a:gd name="connsiteX11" fmla="*/ 1481137 w 2171700"/>
                <a:gd name="connsiteY11" fmla="*/ 114725 h 2164296"/>
                <a:gd name="connsiteX12" fmla="*/ 1619250 w 2171700"/>
                <a:gd name="connsiteY12" fmla="*/ 124250 h 2164296"/>
                <a:gd name="connsiteX13" fmla="*/ 1652587 w 2171700"/>
                <a:gd name="connsiteY13" fmla="*/ 129013 h 2164296"/>
                <a:gd name="connsiteX14" fmla="*/ 1676400 w 2171700"/>
                <a:gd name="connsiteY14" fmla="*/ 133775 h 2164296"/>
                <a:gd name="connsiteX15" fmla="*/ 1724025 w 2171700"/>
                <a:gd name="connsiteY15" fmla="*/ 138538 h 2164296"/>
                <a:gd name="connsiteX16" fmla="*/ 1762125 w 2171700"/>
                <a:gd name="connsiteY16" fmla="*/ 152825 h 2164296"/>
                <a:gd name="connsiteX17" fmla="*/ 1776412 w 2171700"/>
                <a:gd name="connsiteY17" fmla="*/ 162350 h 2164296"/>
                <a:gd name="connsiteX18" fmla="*/ 1800225 w 2171700"/>
                <a:gd name="connsiteY18" fmla="*/ 167113 h 2164296"/>
                <a:gd name="connsiteX19" fmla="*/ 1824037 w 2171700"/>
                <a:gd name="connsiteY19" fmla="*/ 181400 h 2164296"/>
                <a:gd name="connsiteX20" fmla="*/ 1847850 w 2171700"/>
                <a:gd name="connsiteY20" fmla="*/ 190925 h 2164296"/>
                <a:gd name="connsiteX21" fmla="*/ 1862137 w 2171700"/>
                <a:gd name="connsiteY21" fmla="*/ 205213 h 2164296"/>
                <a:gd name="connsiteX22" fmla="*/ 1895475 w 2171700"/>
                <a:gd name="connsiteY22" fmla="*/ 229025 h 2164296"/>
                <a:gd name="connsiteX23" fmla="*/ 1947862 w 2171700"/>
                <a:gd name="connsiteY23" fmla="*/ 267125 h 2164296"/>
                <a:gd name="connsiteX24" fmla="*/ 1971675 w 2171700"/>
                <a:gd name="connsiteY24" fmla="*/ 295700 h 2164296"/>
                <a:gd name="connsiteX25" fmla="*/ 2005012 w 2171700"/>
                <a:gd name="connsiteY25" fmla="*/ 348088 h 2164296"/>
                <a:gd name="connsiteX26" fmla="*/ 2024062 w 2171700"/>
                <a:gd name="connsiteY26" fmla="*/ 410000 h 2164296"/>
                <a:gd name="connsiteX27" fmla="*/ 2033587 w 2171700"/>
                <a:gd name="connsiteY27" fmla="*/ 443338 h 2164296"/>
                <a:gd name="connsiteX28" fmla="*/ 2038350 w 2171700"/>
                <a:gd name="connsiteY28" fmla="*/ 457625 h 2164296"/>
                <a:gd name="connsiteX29" fmla="*/ 2047875 w 2171700"/>
                <a:gd name="connsiteY29" fmla="*/ 476675 h 2164296"/>
                <a:gd name="connsiteX30" fmla="*/ 2066925 w 2171700"/>
                <a:gd name="connsiteY30" fmla="*/ 548113 h 2164296"/>
                <a:gd name="connsiteX31" fmla="*/ 2081212 w 2171700"/>
                <a:gd name="connsiteY31" fmla="*/ 610025 h 2164296"/>
                <a:gd name="connsiteX32" fmla="*/ 2085975 w 2171700"/>
                <a:gd name="connsiteY32" fmla="*/ 914825 h 2164296"/>
                <a:gd name="connsiteX33" fmla="*/ 2124075 w 2171700"/>
                <a:gd name="connsiteY33" fmla="*/ 1086275 h 2164296"/>
                <a:gd name="connsiteX34" fmla="*/ 2128837 w 2171700"/>
                <a:gd name="connsiteY34" fmla="*/ 1148188 h 2164296"/>
                <a:gd name="connsiteX35" fmla="*/ 2143125 w 2171700"/>
                <a:gd name="connsiteY35" fmla="*/ 1191050 h 2164296"/>
                <a:gd name="connsiteX36" fmla="*/ 2147887 w 2171700"/>
                <a:gd name="connsiteY36" fmla="*/ 1224388 h 2164296"/>
                <a:gd name="connsiteX37" fmla="*/ 2166937 w 2171700"/>
                <a:gd name="connsiteY37" fmla="*/ 1276775 h 2164296"/>
                <a:gd name="connsiteX38" fmla="*/ 2171700 w 2171700"/>
                <a:gd name="connsiteY38" fmla="*/ 1300588 h 2164296"/>
                <a:gd name="connsiteX39" fmla="*/ 2166937 w 2171700"/>
                <a:gd name="connsiteY39" fmla="*/ 1514900 h 2164296"/>
                <a:gd name="connsiteX40" fmla="*/ 2157412 w 2171700"/>
                <a:gd name="connsiteY40" fmla="*/ 1529188 h 2164296"/>
                <a:gd name="connsiteX41" fmla="*/ 2147887 w 2171700"/>
                <a:gd name="connsiteY41" fmla="*/ 1562525 h 2164296"/>
                <a:gd name="connsiteX42" fmla="*/ 2138362 w 2171700"/>
                <a:gd name="connsiteY42" fmla="*/ 1576813 h 2164296"/>
                <a:gd name="connsiteX43" fmla="*/ 2133600 w 2171700"/>
                <a:gd name="connsiteY43" fmla="*/ 1600625 h 2164296"/>
                <a:gd name="connsiteX44" fmla="*/ 2119312 w 2171700"/>
                <a:gd name="connsiteY44" fmla="*/ 1614913 h 2164296"/>
                <a:gd name="connsiteX45" fmla="*/ 2109787 w 2171700"/>
                <a:gd name="connsiteY45" fmla="*/ 1629200 h 2164296"/>
                <a:gd name="connsiteX46" fmla="*/ 2081212 w 2171700"/>
                <a:gd name="connsiteY46" fmla="*/ 1657775 h 2164296"/>
                <a:gd name="connsiteX47" fmla="*/ 2052637 w 2171700"/>
                <a:gd name="connsiteY47" fmla="*/ 1686350 h 2164296"/>
                <a:gd name="connsiteX48" fmla="*/ 2043112 w 2171700"/>
                <a:gd name="connsiteY48" fmla="*/ 1700638 h 2164296"/>
                <a:gd name="connsiteX49" fmla="*/ 2028825 w 2171700"/>
                <a:gd name="connsiteY49" fmla="*/ 1710163 h 2164296"/>
                <a:gd name="connsiteX50" fmla="*/ 2005012 w 2171700"/>
                <a:gd name="connsiteY50" fmla="*/ 1724450 h 2164296"/>
                <a:gd name="connsiteX51" fmla="*/ 1981200 w 2171700"/>
                <a:gd name="connsiteY51" fmla="*/ 1743500 h 2164296"/>
                <a:gd name="connsiteX52" fmla="*/ 1909762 w 2171700"/>
                <a:gd name="connsiteY52" fmla="*/ 1772075 h 2164296"/>
                <a:gd name="connsiteX53" fmla="*/ 1890712 w 2171700"/>
                <a:gd name="connsiteY53" fmla="*/ 1786363 h 2164296"/>
                <a:gd name="connsiteX54" fmla="*/ 1843087 w 2171700"/>
                <a:gd name="connsiteY54" fmla="*/ 1814938 h 2164296"/>
                <a:gd name="connsiteX55" fmla="*/ 1828800 w 2171700"/>
                <a:gd name="connsiteY55" fmla="*/ 1833988 h 2164296"/>
                <a:gd name="connsiteX56" fmla="*/ 1776412 w 2171700"/>
                <a:gd name="connsiteY56" fmla="*/ 1862563 h 2164296"/>
                <a:gd name="connsiteX57" fmla="*/ 1633538 w 2171700"/>
                <a:gd name="connsiteY57" fmla="*/ 1891137 h 2164296"/>
                <a:gd name="connsiteX58" fmla="*/ 1385887 w 2171700"/>
                <a:gd name="connsiteY58" fmla="*/ 2014962 h 2164296"/>
                <a:gd name="connsiteX59" fmla="*/ 1333500 w 2171700"/>
                <a:gd name="connsiteY59" fmla="*/ 2053063 h 2164296"/>
                <a:gd name="connsiteX60" fmla="*/ 1319212 w 2171700"/>
                <a:gd name="connsiteY60" fmla="*/ 2062588 h 2164296"/>
                <a:gd name="connsiteX61" fmla="*/ 1281112 w 2171700"/>
                <a:gd name="connsiteY61" fmla="*/ 2072113 h 2164296"/>
                <a:gd name="connsiteX62" fmla="*/ 1257300 w 2171700"/>
                <a:gd name="connsiteY62" fmla="*/ 2086400 h 2164296"/>
                <a:gd name="connsiteX63" fmla="*/ 1204912 w 2171700"/>
                <a:gd name="connsiteY63" fmla="*/ 2100688 h 2164296"/>
                <a:gd name="connsiteX64" fmla="*/ 1162050 w 2171700"/>
                <a:gd name="connsiteY64" fmla="*/ 2119738 h 2164296"/>
                <a:gd name="connsiteX65" fmla="*/ 1143000 w 2171700"/>
                <a:gd name="connsiteY65" fmla="*/ 2134025 h 2164296"/>
                <a:gd name="connsiteX66" fmla="*/ 1071562 w 2171700"/>
                <a:gd name="connsiteY66" fmla="*/ 2148313 h 2164296"/>
                <a:gd name="connsiteX67" fmla="*/ 1042987 w 2171700"/>
                <a:gd name="connsiteY67" fmla="*/ 2162600 h 2164296"/>
                <a:gd name="connsiteX68" fmla="*/ 909637 w 2171700"/>
                <a:gd name="connsiteY68" fmla="*/ 2157838 h 2164296"/>
                <a:gd name="connsiteX69" fmla="*/ 800100 w 2171700"/>
                <a:gd name="connsiteY69" fmla="*/ 2105450 h 2164296"/>
                <a:gd name="connsiteX70" fmla="*/ 762000 w 2171700"/>
                <a:gd name="connsiteY70" fmla="*/ 2091163 h 2164296"/>
                <a:gd name="connsiteX71" fmla="*/ 714375 w 2171700"/>
                <a:gd name="connsiteY71" fmla="*/ 2062588 h 2164296"/>
                <a:gd name="connsiteX72" fmla="*/ 657225 w 2171700"/>
                <a:gd name="connsiteY72" fmla="*/ 2038775 h 2164296"/>
                <a:gd name="connsiteX73" fmla="*/ 623887 w 2171700"/>
                <a:gd name="connsiteY73" fmla="*/ 2005438 h 2164296"/>
                <a:gd name="connsiteX74" fmla="*/ 585787 w 2171700"/>
                <a:gd name="connsiteY74" fmla="*/ 1976863 h 2164296"/>
                <a:gd name="connsiteX75" fmla="*/ 571500 w 2171700"/>
                <a:gd name="connsiteY75" fmla="*/ 1957813 h 2164296"/>
                <a:gd name="connsiteX76" fmla="*/ 557212 w 2171700"/>
                <a:gd name="connsiteY76" fmla="*/ 1934000 h 2164296"/>
                <a:gd name="connsiteX77" fmla="*/ 523875 w 2171700"/>
                <a:gd name="connsiteY77" fmla="*/ 1895900 h 2164296"/>
                <a:gd name="connsiteX78" fmla="*/ 381000 w 2171700"/>
                <a:gd name="connsiteY78" fmla="*/ 1705400 h 2164296"/>
                <a:gd name="connsiteX79" fmla="*/ 366712 w 2171700"/>
                <a:gd name="connsiteY79" fmla="*/ 1686350 h 2164296"/>
                <a:gd name="connsiteX80" fmla="*/ 347662 w 2171700"/>
                <a:gd name="connsiteY80" fmla="*/ 1657775 h 2164296"/>
                <a:gd name="connsiteX81" fmla="*/ 290512 w 2171700"/>
                <a:gd name="connsiteY81" fmla="*/ 1600625 h 2164296"/>
                <a:gd name="connsiteX82" fmla="*/ 266700 w 2171700"/>
                <a:gd name="connsiteY82" fmla="*/ 1576813 h 2164296"/>
                <a:gd name="connsiteX83" fmla="*/ 252412 w 2171700"/>
                <a:gd name="connsiteY83" fmla="*/ 1562525 h 2164296"/>
                <a:gd name="connsiteX84" fmla="*/ 214312 w 2171700"/>
                <a:gd name="connsiteY84" fmla="*/ 1538713 h 2164296"/>
                <a:gd name="connsiteX85" fmla="*/ 190500 w 2171700"/>
                <a:gd name="connsiteY85" fmla="*/ 1510138 h 2164296"/>
                <a:gd name="connsiteX86" fmla="*/ 166687 w 2171700"/>
                <a:gd name="connsiteY86" fmla="*/ 1491088 h 2164296"/>
                <a:gd name="connsiteX87" fmla="*/ 147637 w 2171700"/>
                <a:gd name="connsiteY87" fmla="*/ 1462513 h 2164296"/>
                <a:gd name="connsiteX88" fmla="*/ 123825 w 2171700"/>
                <a:gd name="connsiteY88" fmla="*/ 1438700 h 2164296"/>
                <a:gd name="connsiteX89" fmla="*/ 114300 w 2171700"/>
                <a:gd name="connsiteY89" fmla="*/ 1424413 h 2164296"/>
                <a:gd name="connsiteX90" fmla="*/ 95250 w 2171700"/>
                <a:gd name="connsiteY90" fmla="*/ 1405363 h 2164296"/>
                <a:gd name="connsiteX91" fmla="*/ 76200 w 2171700"/>
                <a:gd name="connsiteY91" fmla="*/ 1376788 h 2164296"/>
                <a:gd name="connsiteX92" fmla="*/ 61912 w 2171700"/>
                <a:gd name="connsiteY92" fmla="*/ 1362500 h 2164296"/>
                <a:gd name="connsiteX93" fmla="*/ 52387 w 2171700"/>
                <a:gd name="connsiteY93" fmla="*/ 1348213 h 2164296"/>
                <a:gd name="connsiteX94" fmla="*/ 38100 w 2171700"/>
                <a:gd name="connsiteY94" fmla="*/ 1329163 h 2164296"/>
                <a:gd name="connsiteX95" fmla="*/ 33337 w 2171700"/>
                <a:gd name="connsiteY95" fmla="*/ 1305350 h 2164296"/>
                <a:gd name="connsiteX96" fmla="*/ 9525 w 2171700"/>
                <a:gd name="connsiteY96" fmla="*/ 1257725 h 2164296"/>
                <a:gd name="connsiteX97" fmla="*/ 0 w 2171700"/>
                <a:gd name="connsiteY97" fmla="*/ 1200575 h 2164296"/>
                <a:gd name="connsiteX98" fmla="*/ 4762 w 2171700"/>
                <a:gd name="connsiteY98" fmla="*/ 991025 h 2164296"/>
                <a:gd name="connsiteX99" fmla="*/ 42862 w 2171700"/>
                <a:gd name="connsiteY99" fmla="*/ 929113 h 2164296"/>
                <a:gd name="connsiteX100" fmla="*/ 66675 w 2171700"/>
                <a:gd name="connsiteY100" fmla="*/ 891013 h 2164296"/>
                <a:gd name="connsiteX101" fmla="*/ 85725 w 2171700"/>
                <a:gd name="connsiteY101" fmla="*/ 848150 h 2164296"/>
                <a:gd name="connsiteX102" fmla="*/ 147637 w 2171700"/>
                <a:gd name="connsiteY102" fmla="*/ 733850 h 2164296"/>
                <a:gd name="connsiteX103" fmla="*/ 209550 w 2171700"/>
                <a:gd name="connsiteY103" fmla="*/ 610025 h 2164296"/>
                <a:gd name="connsiteX104" fmla="*/ 214312 w 2171700"/>
                <a:gd name="connsiteY104" fmla="*/ 581450 h 2164296"/>
                <a:gd name="connsiteX105" fmla="*/ 238125 w 2171700"/>
                <a:gd name="connsiteY105" fmla="*/ 538588 h 2164296"/>
                <a:gd name="connsiteX106" fmla="*/ 252412 w 2171700"/>
                <a:gd name="connsiteY106" fmla="*/ 500488 h 2164296"/>
                <a:gd name="connsiteX107" fmla="*/ 266700 w 2171700"/>
                <a:gd name="connsiteY107" fmla="*/ 471913 h 2164296"/>
                <a:gd name="connsiteX108" fmla="*/ 276225 w 2171700"/>
                <a:gd name="connsiteY108" fmla="*/ 443338 h 2164296"/>
                <a:gd name="connsiteX109" fmla="*/ 285750 w 2171700"/>
                <a:gd name="connsiteY109" fmla="*/ 429050 h 2164296"/>
                <a:gd name="connsiteX110" fmla="*/ 295275 w 2171700"/>
                <a:gd name="connsiteY110" fmla="*/ 405238 h 2164296"/>
                <a:gd name="connsiteX111" fmla="*/ 314325 w 2171700"/>
                <a:gd name="connsiteY111" fmla="*/ 381425 h 2164296"/>
                <a:gd name="connsiteX112" fmla="*/ 333375 w 2171700"/>
                <a:gd name="connsiteY112" fmla="*/ 333800 h 2164296"/>
                <a:gd name="connsiteX113" fmla="*/ 361950 w 2171700"/>
                <a:gd name="connsiteY113" fmla="*/ 290938 h 2164296"/>
                <a:gd name="connsiteX114" fmla="*/ 385762 w 2171700"/>
                <a:gd name="connsiteY114" fmla="*/ 248075 h 2164296"/>
                <a:gd name="connsiteX115" fmla="*/ 400050 w 2171700"/>
                <a:gd name="connsiteY115" fmla="*/ 229025 h 2164296"/>
                <a:gd name="connsiteX116" fmla="*/ 423862 w 2171700"/>
                <a:gd name="connsiteY116" fmla="*/ 214738 h 2164296"/>
                <a:gd name="connsiteX117" fmla="*/ 447675 w 2171700"/>
                <a:gd name="connsiteY117" fmla="*/ 190925 h 2164296"/>
                <a:gd name="connsiteX118" fmla="*/ 461962 w 2171700"/>
                <a:gd name="connsiteY118" fmla="*/ 181400 h 2164296"/>
                <a:gd name="connsiteX119" fmla="*/ 495300 w 2171700"/>
                <a:gd name="connsiteY119" fmla="*/ 143300 h 2164296"/>
                <a:gd name="connsiteX120" fmla="*/ 509587 w 2171700"/>
                <a:gd name="connsiteY120" fmla="*/ 133775 h 2164296"/>
                <a:gd name="connsiteX121" fmla="*/ 619125 w 2171700"/>
                <a:gd name="connsiteY121" fmla="*/ 71863 h 2164296"/>
                <a:gd name="connsiteX122" fmla="*/ 633412 w 2171700"/>
                <a:gd name="connsiteY122" fmla="*/ 52813 h 2164296"/>
                <a:gd name="connsiteX123" fmla="*/ 652462 w 2171700"/>
                <a:gd name="connsiteY123" fmla="*/ 48050 h 2164296"/>
                <a:gd name="connsiteX124" fmla="*/ 676275 w 2171700"/>
                <a:gd name="connsiteY124" fmla="*/ 38525 h 2164296"/>
                <a:gd name="connsiteX125" fmla="*/ 719137 w 2171700"/>
                <a:gd name="connsiteY125" fmla="*/ 24238 h 2164296"/>
                <a:gd name="connsiteX126" fmla="*/ 747712 w 2171700"/>
                <a:gd name="connsiteY126" fmla="*/ 14713 h 2164296"/>
                <a:gd name="connsiteX127" fmla="*/ 795337 w 2171700"/>
                <a:gd name="connsiteY127" fmla="*/ 9950 h 2164296"/>
                <a:gd name="connsiteX128" fmla="*/ 866775 w 2171700"/>
                <a:gd name="connsiteY128" fmla="*/ 425 h 2164296"/>
                <a:gd name="connsiteX0" fmla="*/ 812174 w 2183774"/>
                <a:gd name="connsiteY0" fmla="*/ 425 h 2164296"/>
                <a:gd name="connsiteX1" fmla="*/ 964574 w 2183774"/>
                <a:gd name="connsiteY1" fmla="*/ 5188 h 2164296"/>
                <a:gd name="connsiteX2" fmla="*/ 988386 w 2183774"/>
                <a:gd name="connsiteY2" fmla="*/ 9950 h 2164296"/>
                <a:gd name="connsiteX3" fmla="*/ 1055061 w 2183774"/>
                <a:gd name="connsiteY3" fmla="*/ 19475 h 2164296"/>
                <a:gd name="connsiteX4" fmla="*/ 1083636 w 2183774"/>
                <a:gd name="connsiteY4" fmla="*/ 24238 h 2164296"/>
                <a:gd name="connsiteX5" fmla="*/ 1107449 w 2183774"/>
                <a:gd name="connsiteY5" fmla="*/ 38525 h 2164296"/>
                <a:gd name="connsiteX6" fmla="*/ 1150311 w 2183774"/>
                <a:gd name="connsiteY6" fmla="*/ 48050 h 2164296"/>
                <a:gd name="connsiteX7" fmla="*/ 1169361 w 2183774"/>
                <a:gd name="connsiteY7" fmla="*/ 52813 h 2164296"/>
                <a:gd name="connsiteX8" fmla="*/ 1202699 w 2183774"/>
                <a:gd name="connsiteY8" fmla="*/ 57575 h 2164296"/>
                <a:gd name="connsiteX9" fmla="*/ 1297949 w 2183774"/>
                <a:gd name="connsiteY9" fmla="*/ 71863 h 2164296"/>
                <a:gd name="connsiteX10" fmla="*/ 1469399 w 2183774"/>
                <a:gd name="connsiteY10" fmla="*/ 109963 h 2164296"/>
                <a:gd name="connsiteX11" fmla="*/ 1493211 w 2183774"/>
                <a:gd name="connsiteY11" fmla="*/ 114725 h 2164296"/>
                <a:gd name="connsiteX12" fmla="*/ 1631324 w 2183774"/>
                <a:gd name="connsiteY12" fmla="*/ 124250 h 2164296"/>
                <a:gd name="connsiteX13" fmla="*/ 1664661 w 2183774"/>
                <a:gd name="connsiteY13" fmla="*/ 129013 h 2164296"/>
                <a:gd name="connsiteX14" fmla="*/ 1688474 w 2183774"/>
                <a:gd name="connsiteY14" fmla="*/ 133775 h 2164296"/>
                <a:gd name="connsiteX15" fmla="*/ 1736099 w 2183774"/>
                <a:gd name="connsiteY15" fmla="*/ 138538 h 2164296"/>
                <a:gd name="connsiteX16" fmla="*/ 1774199 w 2183774"/>
                <a:gd name="connsiteY16" fmla="*/ 152825 h 2164296"/>
                <a:gd name="connsiteX17" fmla="*/ 1788486 w 2183774"/>
                <a:gd name="connsiteY17" fmla="*/ 162350 h 2164296"/>
                <a:gd name="connsiteX18" fmla="*/ 1812299 w 2183774"/>
                <a:gd name="connsiteY18" fmla="*/ 167113 h 2164296"/>
                <a:gd name="connsiteX19" fmla="*/ 1836111 w 2183774"/>
                <a:gd name="connsiteY19" fmla="*/ 181400 h 2164296"/>
                <a:gd name="connsiteX20" fmla="*/ 1859924 w 2183774"/>
                <a:gd name="connsiteY20" fmla="*/ 190925 h 2164296"/>
                <a:gd name="connsiteX21" fmla="*/ 1874211 w 2183774"/>
                <a:gd name="connsiteY21" fmla="*/ 205213 h 2164296"/>
                <a:gd name="connsiteX22" fmla="*/ 1907549 w 2183774"/>
                <a:gd name="connsiteY22" fmla="*/ 229025 h 2164296"/>
                <a:gd name="connsiteX23" fmla="*/ 1959936 w 2183774"/>
                <a:gd name="connsiteY23" fmla="*/ 267125 h 2164296"/>
                <a:gd name="connsiteX24" fmla="*/ 1983749 w 2183774"/>
                <a:gd name="connsiteY24" fmla="*/ 295700 h 2164296"/>
                <a:gd name="connsiteX25" fmla="*/ 2017086 w 2183774"/>
                <a:gd name="connsiteY25" fmla="*/ 348088 h 2164296"/>
                <a:gd name="connsiteX26" fmla="*/ 2036136 w 2183774"/>
                <a:gd name="connsiteY26" fmla="*/ 410000 h 2164296"/>
                <a:gd name="connsiteX27" fmla="*/ 2045661 w 2183774"/>
                <a:gd name="connsiteY27" fmla="*/ 443338 h 2164296"/>
                <a:gd name="connsiteX28" fmla="*/ 2050424 w 2183774"/>
                <a:gd name="connsiteY28" fmla="*/ 457625 h 2164296"/>
                <a:gd name="connsiteX29" fmla="*/ 2059949 w 2183774"/>
                <a:gd name="connsiteY29" fmla="*/ 476675 h 2164296"/>
                <a:gd name="connsiteX30" fmla="*/ 2078999 w 2183774"/>
                <a:gd name="connsiteY30" fmla="*/ 548113 h 2164296"/>
                <a:gd name="connsiteX31" fmla="*/ 2093286 w 2183774"/>
                <a:gd name="connsiteY31" fmla="*/ 610025 h 2164296"/>
                <a:gd name="connsiteX32" fmla="*/ 2098049 w 2183774"/>
                <a:gd name="connsiteY32" fmla="*/ 914825 h 2164296"/>
                <a:gd name="connsiteX33" fmla="*/ 2136149 w 2183774"/>
                <a:gd name="connsiteY33" fmla="*/ 1086275 h 2164296"/>
                <a:gd name="connsiteX34" fmla="*/ 2140911 w 2183774"/>
                <a:gd name="connsiteY34" fmla="*/ 1148188 h 2164296"/>
                <a:gd name="connsiteX35" fmla="*/ 2155199 w 2183774"/>
                <a:gd name="connsiteY35" fmla="*/ 1191050 h 2164296"/>
                <a:gd name="connsiteX36" fmla="*/ 2159961 w 2183774"/>
                <a:gd name="connsiteY36" fmla="*/ 1224388 h 2164296"/>
                <a:gd name="connsiteX37" fmla="*/ 2179011 w 2183774"/>
                <a:gd name="connsiteY37" fmla="*/ 1276775 h 2164296"/>
                <a:gd name="connsiteX38" fmla="*/ 2183774 w 2183774"/>
                <a:gd name="connsiteY38" fmla="*/ 1300588 h 2164296"/>
                <a:gd name="connsiteX39" fmla="*/ 2179011 w 2183774"/>
                <a:gd name="connsiteY39" fmla="*/ 1514900 h 2164296"/>
                <a:gd name="connsiteX40" fmla="*/ 2169486 w 2183774"/>
                <a:gd name="connsiteY40" fmla="*/ 1529188 h 2164296"/>
                <a:gd name="connsiteX41" fmla="*/ 2159961 w 2183774"/>
                <a:gd name="connsiteY41" fmla="*/ 1562525 h 2164296"/>
                <a:gd name="connsiteX42" fmla="*/ 2150436 w 2183774"/>
                <a:gd name="connsiteY42" fmla="*/ 1576813 h 2164296"/>
                <a:gd name="connsiteX43" fmla="*/ 2145674 w 2183774"/>
                <a:gd name="connsiteY43" fmla="*/ 1600625 h 2164296"/>
                <a:gd name="connsiteX44" fmla="*/ 2131386 w 2183774"/>
                <a:gd name="connsiteY44" fmla="*/ 1614913 h 2164296"/>
                <a:gd name="connsiteX45" fmla="*/ 2121861 w 2183774"/>
                <a:gd name="connsiteY45" fmla="*/ 1629200 h 2164296"/>
                <a:gd name="connsiteX46" fmla="*/ 2093286 w 2183774"/>
                <a:gd name="connsiteY46" fmla="*/ 1657775 h 2164296"/>
                <a:gd name="connsiteX47" fmla="*/ 2064711 w 2183774"/>
                <a:gd name="connsiteY47" fmla="*/ 1686350 h 2164296"/>
                <a:gd name="connsiteX48" fmla="*/ 2055186 w 2183774"/>
                <a:gd name="connsiteY48" fmla="*/ 1700638 h 2164296"/>
                <a:gd name="connsiteX49" fmla="*/ 2040899 w 2183774"/>
                <a:gd name="connsiteY49" fmla="*/ 1710163 h 2164296"/>
                <a:gd name="connsiteX50" fmla="*/ 2017086 w 2183774"/>
                <a:gd name="connsiteY50" fmla="*/ 1724450 h 2164296"/>
                <a:gd name="connsiteX51" fmla="*/ 1993274 w 2183774"/>
                <a:gd name="connsiteY51" fmla="*/ 1743500 h 2164296"/>
                <a:gd name="connsiteX52" fmla="*/ 1921836 w 2183774"/>
                <a:gd name="connsiteY52" fmla="*/ 1772075 h 2164296"/>
                <a:gd name="connsiteX53" fmla="*/ 1902786 w 2183774"/>
                <a:gd name="connsiteY53" fmla="*/ 1786363 h 2164296"/>
                <a:gd name="connsiteX54" fmla="*/ 1855161 w 2183774"/>
                <a:gd name="connsiteY54" fmla="*/ 1814938 h 2164296"/>
                <a:gd name="connsiteX55" fmla="*/ 1840874 w 2183774"/>
                <a:gd name="connsiteY55" fmla="*/ 1833988 h 2164296"/>
                <a:gd name="connsiteX56" fmla="*/ 1788486 w 2183774"/>
                <a:gd name="connsiteY56" fmla="*/ 1862563 h 2164296"/>
                <a:gd name="connsiteX57" fmla="*/ 1645612 w 2183774"/>
                <a:gd name="connsiteY57" fmla="*/ 1891137 h 2164296"/>
                <a:gd name="connsiteX58" fmla="*/ 1397961 w 2183774"/>
                <a:gd name="connsiteY58" fmla="*/ 2014962 h 2164296"/>
                <a:gd name="connsiteX59" fmla="*/ 1345574 w 2183774"/>
                <a:gd name="connsiteY59" fmla="*/ 2053063 h 2164296"/>
                <a:gd name="connsiteX60" fmla="*/ 1331286 w 2183774"/>
                <a:gd name="connsiteY60" fmla="*/ 2062588 h 2164296"/>
                <a:gd name="connsiteX61" fmla="*/ 1293186 w 2183774"/>
                <a:gd name="connsiteY61" fmla="*/ 2072113 h 2164296"/>
                <a:gd name="connsiteX62" fmla="*/ 1269374 w 2183774"/>
                <a:gd name="connsiteY62" fmla="*/ 2086400 h 2164296"/>
                <a:gd name="connsiteX63" fmla="*/ 1216986 w 2183774"/>
                <a:gd name="connsiteY63" fmla="*/ 2100688 h 2164296"/>
                <a:gd name="connsiteX64" fmla="*/ 1174124 w 2183774"/>
                <a:gd name="connsiteY64" fmla="*/ 2119738 h 2164296"/>
                <a:gd name="connsiteX65" fmla="*/ 1155074 w 2183774"/>
                <a:gd name="connsiteY65" fmla="*/ 2134025 h 2164296"/>
                <a:gd name="connsiteX66" fmla="*/ 1083636 w 2183774"/>
                <a:gd name="connsiteY66" fmla="*/ 2148313 h 2164296"/>
                <a:gd name="connsiteX67" fmla="*/ 1055061 w 2183774"/>
                <a:gd name="connsiteY67" fmla="*/ 2162600 h 2164296"/>
                <a:gd name="connsiteX68" fmla="*/ 921711 w 2183774"/>
                <a:gd name="connsiteY68" fmla="*/ 2157838 h 2164296"/>
                <a:gd name="connsiteX69" fmla="*/ 812174 w 2183774"/>
                <a:gd name="connsiteY69" fmla="*/ 2105450 h 2164296"/>
                <a:gd name="connsiteX70" fmla="*/ 774074 w 2183774"/>
                <a:gd name="connsiteY70" fmla="*/ 2091163 h 2164296"/>
                <a:gd name="connsiteX71" fmla="*/ 726449 w 2183774"/>
                <a:gd name="connsiteY71" fmla="*/ 2062588 h 2164296"/>
                <a:gd name="connsiteX72" fmla="*/ 669299 w 2183774"/>
                <a:gd name="connsiteY72" fmla="*/ 2038775 h 2164296"/>
                <a:gd name="connsiteX73" fmla="*/ 635961 w 2183774"/>
                <a:gd name="connsiteY73" fmla="*/ 2005438 h 2164296"/>
                <a:gd name="connsiteX74" fmla="*/ 597861 w 2183774"/>
                <a:gd name="connsiteY74" fmla="*/ 1976863 h 2164296"/>
                <a:gd name="connsiteX75" fmla="*/ 583574 w 2183774"/>
                <a:gd name="connsiteY75" fmla="*/ 1957813 h 2164296"/>
                <a:gd name="connsiteX76" fmla="*/ 569286 w 2183774"/>
                <a:gd name="connsiteY76" fmla="*/ 1934000 h 2164296"/>
                <a:gd name="connsiteX77" fmla="*/ 535949 w 2183774"/>
                <a:gd name="connsiteY77" fmla="*/ 1895900 h 2164296"/>
                <a:gd name="connsiteX78" fmla="*/ 393074 w 2183774"/>
                <a:gd name="connsiteY78" fmla="*/ 1705400 h 2164296"/>
                <a:gd name="connsiteX79" fmla="*/ 378786 w 2183774"/>
                <a:gd name="connsiteY79" fmla="*/ 1686350 h 2164296"/>
                <a:gd name="connsiteX80" fmla="*/ 359736 w 2183774"/>
                <a:gd name="connsiteY80" fmla="*/ 1657775 h 2164296"/>
                <a:gd name="connsiteX81" fmla="*/ 302586 w 2183774"/>
                <a:gd name="connsiteY81" fmla="*/ 1600625 h 2164296"/>
                <a:gd name="connsiteX82" fmla="*/ 278774 w 2183774"/>
                <a:gd name="connsiteY82" fmla="*/ 1576813 h 2164296"/>
                <a:gd name="connsiteX83" fmla="*/ 264486 w 2183774"/>
                <a:gd name="connsiteY83" fmla="*/ 1562525 h 2164296"/>
                <a:gd name="connsiteX84" fmla="*/ 226386 w 2183774"/>
                <a:gd name="connsiteY84" fmla="*/ 1538713 h 2164296"/>
                <a:gd name="connsiteX85" fmla="*/ 202574 w 2183774"/>
                <a:gd name="connsiteY85" fmla="*/ 1510138 h 2164296"/>
                <a:gd name="connsiteX86" fmla="*/ 178761 w 2183774"/>
                <a:gd name="connsiteY86" fmla="*/ 1491088 h 2164296"/>
                <a:gd name="connsiteX87" fmla="*/ 159711 w 2183774"/>
                <a:gd name="connsiteY87" fmla="*/ 1462513 h 2164296"/>
                <a:gd name="connsiteX88" fmla="*/ 135899 w 2183774"/>
                <a:gd name="connsiteY88" fmla="*/ 1438700 h 2164296"/>
                <a:gd name="connsiteX89" fmla="*/ 126374 w 2183774"/>
                <a:gd name="connsiteY89" fmla="*/ 1424413 h 2164296"/>
                <a:gd name="connsiteX90" fmla="*/ 107324 w 2183774"/>
                <a:gd name="connsiteY90" fmla="*/ 1405363 h 2164296"/>
                <a:gd name="connsiteX91" fmla="*/ 88274 w 2183774"/>
                <a:gd name="connsiteY91" fmla="*/ 1376788 h 2164296"/>
                <a:gd name="connsiteX92" fmla="*/ 73986 w 2183774"/>
                <a:gd name="connsiteY92" fmla="*/ 1362500 h 2164296"/>
                <a:gd name="connsiteX93" fmla="*/ 64461 w 2183774"/>
                <a:gd name="connsiteY93" fmla="*/ 1348213 h 2164296"/>
                <a:gd name="connsiteX94" fmla="*/ 50174 w 2183774"/>
                <a:gd name="connsiteY94" fmla="*/ 1329163 h 2164296"/>
                <a:gd name="connsiteX95" fmla="*/ 45411 w 2183774"/>
                <a:gd name="connsiteY95" fmla="*/ 1305350 h 2164296"/>
                <a:gd name="connsiteX96" fmla="*/ 21599 w 2183774"/>
                <a:gd name="connsiteY96" fmla="*/ 1257725 h 2164296"/>
                <a:gd name="connsiteX97" fmla="*/ 12074 w 2183774"/>
                <a:gd name="connsiteY97" fmla="*/ 1200575 h 2164296"/>
                <a:gd name="connsiteX98" fmla="*/ 16836 w 2183774"/>
                <a:gd name="connsiteY98" fmla="*/ 991025 h 2164296"/>
                <a:gd name="connsiteX99" fmla="*/ 54936 w 2183774"/>
                <a:gd name="connsiteY99" fmla="*/ 929113 h 2164296"/>
                <a:gd name="connsiteX100" fmla="*/ 78749 w 2183774"/>
                <a:gd name="connsiteY100" fmla="*/ 891013 h 2164296"/>
                <a:gd name="connsiteX101" fmla="*/ 97799 w 2183774"/>
                <a:gd name="connsiteY101" fmla="*/ 848150 h 2164296"/>
                <a:gd name="connsiteX102" fmla="*/ 159711 w 2183774"/>
                <a:gd name="connsiteY102" fmla="*/ 733850 h 2164296"/>
                <a:gd name="connsiteX103" fmla="*/ 221624 w 2183774"/>
                <a:gd name="connsiteY103" fmla="*/ 610025 h 2164296"/>
                <a:gd name="connsiteX104" fmla="*/ 226386 w 2183774"/>
                <a:gd name="connsiteY104" fmla="*/ 581450 h 2164296"/>
                <a:gd name="connsiteX105" fmla="*/ 250199 w 2183774"/>
                <a:gd name="connsiteY105" fmla="*/ 538588 h 2164296"/>
                <a:gd name="connsiteX106" fmla="*/ 264486 w 2183774"/>
                <a:gd name="connsiteY106" fmla="*/ 500488 h 2164296"/>
                <a:gd name="connsiteX107" fmla="*/ 278774 w 2183774"/>
                <a:gd name="connsiteY107" fmla="*/ 471913 h 2164296"/>
                <a:gd name="connsiteX108" fmla="*/ 288299 w 2183774"/>
                <a:gd name="connsiteY108" fmla="*/ 443338 h 2164296"/>
                <a:gd name="connsiteX109" fmla="*/ 297824 w 2183774"/>
                <a:gd name="connsiteY109" fmla="*/ 429050 h 2164296"/>
                <a:gd name="connsiteX110" fmla="*/ 307349 w 2183774"/>
                <a:gd name="connsiteY110" fmla="*/ 405238 h 2164296"/>
                <a:gd name="connsiteX111" fmla="*/ 326399 w 2183774"/>
                <a:gd name="connsiteY111" fmla="*/ 381425 h 2164296"/>
                <a:gd name="connsiteX112" fmla="*/ 345449 w 2183774"/>
                <a:gd name="connsiteY112" fmla="*/ 333800 h 2164296"/>
                <a:gd name="connsiteX113" fmla="*/ 374024 w 2183774"/>
                <a:gd name="connsiteY113" fmla="*/ 290938 h 2164296"/>
                <a:gd name="connsiteX114" fmla="*/ 397836 w 2183774"/>
                <a:gd name="connsiteY114" fmla="*/ 248075 h 2164296"/>
                <a:gd name="connsiteX115" fmla="*/ 412124 w 2183774"/>
                <a:gd name="connsiteY115" fmla="*/ 229025 h 2164296"/>
                <a:gd name="connsiteX116" fmla="*/ 435936 w 2183774"/>
                <a:gd name="connsiteY116" fmla="*/ 214738 h 2164296"/>
                <a:gd name="connsiteX117" fmla="*/ 459749 w 2183774"/>
                <a:gd name="connsiteY117" fmla="*/ 190925 h 2164296"/>
                <a:gd name="connsiteX118" fmla="*/ 474036 w 2183774"/>
                <a:gd name="connsiteY118" fmla="*/ 181400 h 2164296"/>
                <a:gd name="connsiteX119" fmla="*/ 507374 w 2183774"/>
                <a:gd name="connsiteY119" fmla="*/ 143300 h 2164296"/>
                <a:gd name="connsiteX120" fmla="*/ 521661 w 2183774"/>
                <a:gd name="connsiteY120" fmla="*/ 133775 h 2164296"/>
                <a:gd name="connsiteX121" fmla="*/ 631199 w 2183774"/>
                <a:gd name="connsiteY121" fmla="*/ 71863 h 2164296"/>
                <a:gd name="connsiteX122" fmla="*/ 645486 w 2183774"/>
                <a:gd name="connsiteY122" fmla="*/ 52813 h 2164296"/>
                <a:gd name="connsiteX123" fmla="*/ 664536 w 2183774"/>
                <a:gd name="connsiteY123" fmla="*/ 48050 h 2164296"/>
                <a:gd name="connsiteX124" fmla="*/ 688349 w 2183774"/>
                <a:gd name="connsiteY124" fmla="*/ 38525 h 2164296"/>
                <a:gd name="connsiteX125" fmla="*/ 731211 w 2183774"/>
                <a:gd name="connsiteY125" fmla="*/ 24238 h 2164296"/>
                <a:gd name="connsiteX126" fmla="*/ 759786 w 2183774"/>
                <a:gd name="connsiteY126" fmla="*/ 14713 h 2164296"/>
                <a:gd name="connsiteX127" fmla="*/ 807411 w 2183774"/>
                <a:gd name="connsiteY127" fmla="*/ 9950 h 2164296"/>
                <a:gd name="connsiteX128" fmla="*/ 878849 w 2183774"/>
                <a:gd name="connsiteY128" fmla="*/ 425 h 2164296"/>
                <a:gd name="connsiteX0" fmla="*/ 797660 w 2169260"/>
                <a:gd name="connsiteY0" fmla="*/ 425 h 2164296"/>
                <a:gd name="connsiteX1" fmla="*/ 950060 w 2169260"/>
                <a:gd name="connsiteY1" fmla="*/ 5188 h 2164296"/>
                <a:gd name="connsiteX2" fmla="*/ 973872 w 2169260"/>
                <a:gd name="connsiteY2" fmla="*/ 9950 h 2164296"/>
                <a:gd name="connsiteX3" fmla="*/ 1040547 w 2169260"/>
                <a:gd name="connsiteY3" fmla="*/ 19475 h 2164296"/>
                <a:gd name="connsiteX4" fmla="*/ 1069122 w 2169260"/>
                <a:gd name="connsiteY4" fmla="*/ 24238 h 2164296"/>
                <a:gd name="connsiteX5" fmla="*/ 1092935 w 2169260"/>
                <a:gd name="connsiteY5" fmla="*/ 38525 h 2164296"/>
                <a:gd name="connsiteX6" fmla="*/ 1135797 w 2169260"/>
                <a:gd name="connsiteY6" fmla="*/ 48050 h 2164296"/>
                <a:gd name="connsiteX7" fmla="*/ 1154847 w 2169260"/>
                <a:gd name="connsiteY7" fmla="*/ 52813 h 2164296"/>
                <a:gd name="connsiteX8" fmla="*/ 1188185 w 2169260"/>
                <a:gd name="connsiteY8" fmla="*/ 57575 h 2164296"/>
                <a:gd name="connsiteX9" fmla="*/ 1283435 w 2169260"/>
                <a:gd name="connsiteY9" fmla="*/ 71863 h 2164296"/>
                <a:gd name="connsiteX10" fmla="*/ 1454885 w 2169260"/>
                <a:gd name="connsiteY10" fmla="*/ 109963 h 2164296"/>
                <a:gd name="connsiteX11" fmla="*/ 1478697 w 2169260"/>
                <a:gd name="connsiteY11" fmla="*/ 114725 h 2164296"/>
                <a:gd name="connsiteX12" fmla="*/ 1616810 w 2169260"/>
                <a:gd name="connsiteY12" fmla="*/ 124250 h 2164296"/>
                <a:gd name="connsiteX13" fmla="*/ 1650147 w 2169260"/>
                <a:gd name="connsiteY13" fmla="*/ 129013 h 2164296"/>
                <a:gd name="connsiteX14" fmla="*/ 1673960 w 2169260"/>
                <a:gd name="connsiteY14" fmla="*/ 133775 h 2164296"/>
                <a:gd name="connsiteX15" fmla="*/ 1721585 w 2169260"/>
                <a:gd name="connsiteY15" fmla="*/ 138538 h 2164296"/>
                <a:gd name="connsiteX16" fmla="*/ 1759685 w 2169260"/>
                <a:gd name="connsiteY16" fmla="*/ 152825 h 2164296"/>
                <a:gd name="connsiteX17" fmla="*/ 1773972 w 2169260"/>
                <a:gd name="connsiteY17" fmla="*/ 162350 h 2164296"/>
                <a:gd name="connsiteX18" fmla="*/ 1797785 w 2169260"/>
                <a:gd name="connsiteY18" fmla="*/ 167113 h 2164296"/>
                <a:gd name="connsiteX19" fmla="*/ 1821597 w 2169260"/>
                <a:gd name="connsiteY19" fmla="*/ 181400 h 2164296"/>
                <a:gd name="connsiteX20" fmla="*/ 1845410 w 2169260"/>
                <a:gd name="connsiteY20" fmla="*/ 190925 h 2164296"/>
                <a:gd name="connsiteX21" fmla="*/ 1859697 w 2169260"/>
                <a:gd name="connsiteY21" fmla="*/ 205213 h 2164296"/>
                <a:gd name="connsiteX22" fmla="*/ 1893035 w 2169260"/>
                <a:gd name="connsiteY22" fmla="*/ 229025 h 2164296"/>
                <a:gd name="connsiteX23" fmla="*/ 1945422 w 2169260"/>
                <a:gd name="connsiteY23" fmla="*/ 267125 h 2164296"/>
                <a:gd name="connsiteX24" fmla="*/ 1969235 w 2169260"/>
                <a:gd name="connsiteY24" fmla="*/ 295700 h 2164296"/>
                <a:gd name="connsiteX25" fmla="*/ 2002572 w 2169260"/>
                <a:gd name="connsiteY25" fmla="*/ 348088 h 2164296"/>
                <a:gd name="connsiteX26" fmla="*/ 2021622 w 2169260"/>
                <a:gd name="connsiteY26" fmla="*/ 410000 h 2164296"/>
                <a:gd name="connsiteX27" fmla="*/ 2031147 w 2169260"/>
                <a:gd name="connsiteY27" fmla="*/ 443338 h 2164296"/>
                <a:gd name="connsiteX28" fmla="*/ 2035910 w 2169260"/>
                <a:gd name="connsiteY28" fmla="*/ 457625 h 2164296"/>
                <a:gd name="connsiteX29" fmla="*/ 2045435 w 2169260"/>
                <a:gd name="connsiteY29" fmla="*/ 476675 h 2164296"/>
                <a:gd name="connsiteX30" fmla="*/ 2064485 w 2169260"/>
                <a:gd name="connsiteY30" fmla="*/ 548113 h 2164296"/>
                <a:gd name="connsiteX31" fmla="*/ 2078772 w 2169260"/>
                <a:gd name="connsiteY31" fmla="*/ 610025 h 2164296"/>
                <a:gd name="connsiteX32" fmla="*/ 2083535 w 2169260"/>
                <a:gd name="connsiteY32" fmla="*/ 914825 h 2164296"/>
                <a:gd name="connsiteX33" fmla="*/ 2121635 w 2169260"/>
                <a:gd name="connsiteY33" fmla="*/ 1086275 h 2164296"/>
                <a:gd name="connsiteX34" fmla="*/ 2126397 w 2169260"/>
                <a:gd name="connsiteY34" fmla="*/ 1148188 h 2164296"/>
                <a:gd name="connsiteX35" fmla="*/ 2140685 w 2169260"/>
                <a:gd name="connsiteY35" fmla="*/ 1191050 h 2164296"/>
                <a:gd name="connsiteX36" fmla="*/ 2145447 w 2169260"/>
                <a:gd name="connsiteY36" fmla="*/ 1224388 h 2164296"/>
                <a:gd name="connsiteX37" fmla="*/ 2164497 w 2169260"/>
                <a:gd name="connsiteY37" fmla="*/ 1276775 h 2164296"/>
                <a:gd name="connsiteX38" fmla="*/ 2169260 w 2169260"/>
                <a:gd name="connsiteY38" fmla="*/ 1300588 h 2164296"/>
                <a:gd name="connsiteX39" fmla="*/ 2164497 w 2169260"/>
                <a:gd name="connsiteY39" fmla="*/ 1514900 h 2164296"/>
                <a:gd name="connsiteX40" fmla="*/ 2154972 w 2169260"/>
                <a:gd name="connsiteY40" fmla="*/ 1529188 h 2164296"/>
                <a:gd name="connsiteX41" fmla="*/ 2145447 w 2169260"/>
                <a:gd name="connsiteY41" fmla="*/ 1562525 h 2164296"/>
                <a:gd name="connsiteX42" fmla="*/ 2135922 w 2169260"/>
                <a:gd name="connsiteY42" fmla="*/ 1576813 h 2164296"/>
                <a:gd name="connsiteX43" fmla="*/ 2131160 w 2169260"/>
                <a:gd name="connsiteY43" fmla="*/ 1600625 h 2164296"/>
                <a:gd name="connsiteX44" fmla="*/ 2116872 w 2169260"/>
                <a:gd name="connsiteY44" fmla="*/ 1614913 h 2164296"/>
                <a:gd name="connsiteX45" fmla="*/ 2107347 w 2169260"/>
                <a:gd name="connsiteY45" fmla="*/ 1629200 h 2164296"/>
                <a:gd name="connsiteX46" fmla="*/ 2078772 w 2169260"/>
                <a:gd name="connsiteY46" fmla="*/ 1657775 h 2164296"/>
                <a:gd name="connsiteX47" fmla="*/ 2050197 w 2169260"/>
                <a:gd name="connsiteY47" fmla="*/ 1686350 h 2164296"/>
                <a:gd name="connsiteX48" fmla="*/ 2040672 w 2169260"/>
                <a:gd name="connsiteY48" fmla="*/ 1700638 h 2164296"/>
                <a:gd name="connsiteX49" fmla="*/ 2026385 w 2169260"/>
                <a:gd name="connsiteY49" fmla="*/ 1710163 h 2164296"/>
                <a:gd name="connsiteX50" fmla="*/ 2002572 w 2169260"/>
                <a:gd name="connsiteY50" fmla="*/ 1724450 h 2164296"/>
                <a:gd name="connsiteX51" fmla="*/ 1978760 w 2169260"/>
                <a:gd name="connsiteY51" fmla="*/ 1743500 h 2164296"/>
                <a:gd name="connsiteX52" fmla="*/ 1907322 w 2169260"/>
                <a:gd name="connsiteY52" fmla="*/ 1772075 h 2164296"/>
                <a:gd name="connsiteX53" fmla="*/ 1888272 w 2169260"/>
                <a:gd name="connsiteY53" fmla="*/ 1786363 h 2164296"/>
                <a:gd name="connsiteX54" fmla="*/ 1840647 w 2169260"/>
                <a:gd name="connsiteY54" fmla="*/ 1814938 h 2164296"/>
                <a:gd name="connsiteX55" fmla="*/ 1826360 w 2169260"/>
                <a:gd name="connsiteY55" fmla="*/ 1833988 h 2164296"/>
                <a:gd name="connsiteX56" fmla="*/ 1773972 w 2169260"/>
                <a:gd name="connsiteY56" fmla="*/ 1862563 h 2164296"/>
                <a:gd name="connsiteX57" fmla="*/ 1631098 w 2169260"/>
                <a:gd name="connsiteY57" fmla="*/ 1891137 h 2164296"/>
                <a:gd name="connsiteX58" fmla="*/ 1383447 w 2169260"/>
                <a:gd name="connsiteY58" fmla="*/ 2014962 h 2164296"/>
                <a:gd name="connsiteX59" fmla="*/ 1331060 w 2169260"/>
                <a:gd name="connsiteY59" fmla="*/ 2053063 h 2164296"/>
                <a:gd name="connsiteX60" fmla="*/ 1316772 w 2169260"/>
                <a:gd name="connsiteY60" fmla="*/ 2062588 h 2164296"/>
                <a:gd name="connsiteX61" fmla="*/ 1278672 w 2169260"/>
                <a:gd name="connsiteY61" fmla="*/ 2072113 h 2164296"/>
                <a:gd name="connsiteX62" fmla="*/ 1254860 w 2169260"/>
                <a:gd name="connsiteY62" fmla="*/ 2086400 h 2164296"/>
                <a:gd name="connsiteX63" fmla="*/ 1202472 w 2169260"/>
                <a:gd name="connsiteY63" fmla="*/ 2100688 h 2164296"/>
                <a:gd name="connsiteX64" fmla="*/ 1159610 w 2169260"/>
                <a:gd name="connsiteY64" fmla="*/ 2119738 h 2164296"/>
                <a:gd name="connsiteX65" fmla="*/ 1140560 w 2169260"/>
                <a:gd name="connsiteY65" fmla="*/ 2134025 h 2164296"/>
                <a:gd name="connsiteX66" fmla="*/ 1069122 w 2169260"/>
                <a:gd name="connsiteY66" fmla="*/ 2148313 h 2164296"/>
                <a:gd name="connsiteX67" fmla="*/ 1040547 w 2169260"/>
                <a:gd name="connsiteY67" fmla="*/ 2162600 h 2164296"/>
                <a:gd name="connsiteX68" fmla="*/ 907197 w 2169260"/>
                <a:gd name="connsiteY68" fmla="*/ 2157838 h 2164296"/>
                <a:gd name="connsiteX69" fmla="*/ 797660 w 2169260"/>
                <a:gd name="connsiteY69" fmla="*/ 2105450 h 2164296"/>
                <a:gd name="connsiteX70" fmla="*/ 759560 w 2169260"/>
                <a:gd name="connsiteY70" fmla="*/ 2091163 h 2164296"/>
                <a:gd name="connsiteX71" fmla="*/ 711935 w 2169260"/>
                <a:gd name="connsiteY71" fmla="*/ 2062588 h 2164296"/>
                <a:gd name="connsiteX72" fmla="*/ 654785 w 2169260"/>
                <a:gd name="connsiteY72" fmla="*/ 2038775 h 2164296"/>
                <a:gd name="connsiteX73" fmla="*/ 621447 w 2169260"/>
                <a:gd name="connsiteY73" fmla="*/ 2005438 h 2164296"/>
                <a:gd name="connsiteX74" fmla="*/ 583347 w 2169260"/>
                <a:gd name="connsiteY74" fmla="*/ 1976863 h 2164296"/>
                <a:gd name="connsiteX75" fmla="*/ 569060 w 2169260"/>
                <a:gd name="connsiteY75" fmla="*/ 1957813 h 2164296"/>
                <a:gd name="connsiteX76" fmla="*/ 554772 w 2169260"/>
                <a:gd name="connsiteY76" fmla="*/ 1934000 h 2164296"/>
                <a:gd name="connsiteX77" fmla="*/ 521435 w 2169260"/>
                <a:gd name="connsiteY77" fmla="*/ 1895900 h 2164296"/>
                <a:gd name="connsiteX78" fmla="*/ 378560 w 2169260"/>
                <a:gd name="connsiteY78" fmla="*/ 1705400 h 2164296"/>
                <a:gd name="connsiteX79" fmla="*/ 364272 w 2169260"/>
                <a:gd name="connsiteY79" fmla="*/ 1686350 h 2164296"/>
                <a:gd name="connsiteX80" fmla="*/ 345222 w 2169260"/>
                <a:gd name="connsiteY80" fmla="*/ 1657775 h 2164296"/>
                <a:gd name="connsiteX81" fmla="*/ 288072 w 2169260"/>
                <a:gd name="connsiteY81" fmla="*/ 1600625 h 2164296"/>
                <a:gd name="connsiteX82" fmla="*/ 264260 w 2169260"/>
                <a:gd name="connsiteY82" fmla="*/ 1576813 h 2164296"/>
                <a:gd name="connsiteX83" fmla="*/ 249972 w 2169260"/>
                <a:gd name="connsiteY83" fmla="*/ 1562525 h 2164296"/>
                <a:gd name="connsiteX84" fmla="*/ 211872 w 2169260"/>
                <a:gd name="connsiteY84" fmla="*/ 1538713 h 2164296"/>
                <a:gd name="connsiteX85" fmla="*/ 188060 w 2169260"/>
                <a:gd name="connsiteY85" fmla="*/ 1510138 h 2164296"/>
                <a:gd name="connsiteX86" fmla="*/ 164247 w 2169260"/>
                <a:gd name="connsiteY86" fmla="*/ 1491088 h 2164296"/>
                <a:gd name="connsiteX87" fmla="*/ 145197 w 2169260"/>
                <a:gd name="connsiteY87" fmla="*/ 1462513 h 2164296"/>
                <a:gd name="connsiteX88" fmla="*/ 121385 w 2169260"/>
                <a:gd name="connsiteY88" fmla="*/ 1438700 h 2164296"/>
                <a:gd name="connsiteX89" fmla="*/ 111860 w 2169260"/>
                <a:gd name="connsiteY89" fmla="*/ 1424413 h 2164296"/>
                <a:gd name="connsiteX90" fmla="*/ 92810 w 2169260"/>
                <a:gd name="connsiteY90" fmla="*/ 1405363 h 2164296"/>
                <a:gd name="connsiteX91" fmla="*/ 73760 w 2169260"/>
                <a:gd name="connsiteY91" fmla="*/ 1376788 h 2164296"/>
                <a:gd name="connsiteX92" fmla="*/ 59472 w 2169260"/>
                <a:gd name="connsiteY92" fmla="*/ 1362500 h 2164296"/>
                <a:gd name="connsiteX93" fmla="*/ 49947 w 2169260"/>
                <a:gd name="connsiteY93" fmla="*/ 1348213 h 2164296"/>
                <a:gd name="connsiteX94" fmla="*/ 35660 w 2169260"/>
                <a:gd name="connsiteY94" fmla="*/ 1329163 h 2164296"/>
                <a:gd name="connsiteX95" fmla="*/ 30897 w 2169260"/>
                <a:gd name="connsiteY95" fmla="*/ 1305350 h 2164296"/>
                <a:gd name="connsiteX96" fmla="*/ 7085 w 2169260"/>
                <a:gd name="connsiteY96" fmla="*/ 1257725 h 2164296"/>
                <a:gd name="connsiteX97" fmla="*/ 2322 w 2169260"/>
                <a:gd name="connsiteY97" fmla="*/ 991025 h 2164296"/>
                <a:gd name="connsiteX98" fmla="*/ 40422 w 2169260"/>
                <a:gd name="connsiteY98" fmla="*/ 929113 h 2164296"/>
                <a:gd name="connsiteX99" fmla="*/ 64235 w 2169260"/>
                <a:gd name="connsiteY99" fmla="*/ 891013 h 2164296"/>
                <a:gd name="connsiteX100" fmla="*/ 83285 w 2169260"/>
                <a:gd name="connsiteY100" fmla="*/ 848150 h 2164296"/>
                <a:gd name="connsiteX101" fmla="*/ 145197 w 2169260"/>
                <a:gd name="connsiteY101" fmla="*/ 733850 h 2164296"/>
                <a:gd name="connsiteX102" fmla="*/ 207110 w 2169260"/>
                <a:gd name="connsiteY102" fmla="*/ 610025 h 2164296"/>
                <a:gd name="connsiteX103" fmla="*/ 211872 w 2169260"/>
                <a:gd name="connsiteY103" fmla="*/ 581450 h 2164296"/>
                <a:gd name="connsiteX104" fmla="*/ 235685 w 2169260"/>
                <a:gd name="connsiteY104" fmla="*/ 538588 h 2164296"/>
                <a:gd name="connsiteX105" fmla="*/ 249972 w 2169260"/>
                <a:gd name="connsiteY105" fmla="*/ 500488 h 2164296"/>
                <a:gd name="connsiteX106" fmla="*/ 264260 w 2169260"/>
                <a:gd name="connsiteY106" fmla="*/ 471913 h 2164296"/>
                <a:gd name="connsiteX107" fmla="*/ 273785 w 2169260"/>
                <a:gd name="connsiteY107" fmla="*/ 443338 h 2164296"/>
                <a:gd name="connsiteX108" fmla="*/ 283310 w 2169260"/>
                <a:gd name="connsiteY108" fmla="*/ 429050 h 2164296"/>
                <a:gd name="connsiteX109" fmla="*/ 292835 w 2169260"/>
                <a:gd name="connsiteY109" fmla="*/ 405238 h 2164296"/>
                <a:gd name="connsiteX110" fmla="*/ 311885 w 2169260"/>
                <a:gd name="connsiteY110" fmla="*/ 381425 h 2164296"/>
                <a:gd name="connsiteX111" fmla="*/ 330935 w 2169260"/>
                <a:gd name="connsiteY111" fmla="*/ 333800 h 2164296"/>
                <a:gd name="connsiteX112" fmla="*/ 359510 w 2169260"/>
                <a:gd name="connsiteY112" fmla="*/ 290938 h 2164296"/>
                <a:gd name="connsiteX113" fmla="*/ 383322 w 2169260"/>
                <a:gd name="connsiteY113" fmla="*/ 248075 h 2164296"/>
                <a:gd name="connsiteX114" fmla="*/ 397610 w 2169260"/>
                <a:gd name="connsiteY114" fmla="*/ 229025 h 2164296"/>
                <a:gd name="connsiteX115" fmla="*/ 421422 w 2169260"/>
                <a:gd name="connsiteY115" fmla="*/ 214738 h 2164296"/>
                <a:gd name="connsiteX116" fmla="*/ 445235 w 2169260"/>
                <a:gd name="connsiteY116" fmla="*/ 190925 h 2164296"/>
                <a:gd name="connsiteX117" fmla="*/ 459522 w 2169260"/>
                <a:gd name="connsiteY117" fmla="*/ 181400 h 2164296"/>
                <a:gd name="connsiteX118" fmla="*/ 492860 w 2169260"/>
                <a:gd name="connsiteY118" fmla="*/ 143300 h 2164296"/>
                <a:gd name="connsiteX119" fmla="*/ 507147 w 2169260"/>
                <a:gd name="connsiteY119" fmla="*/ 133775 h 2164296"/>
                <a:gd name="connsiteX120" fmla="*/ 616685 w 2169260"/>
                <a:gd name="connsiteY120" fmla="*/ 71863 h 2164296"/>
                <a:gd name="connsiteX121" fmla="*/ 630972 w 2169260"/>
                <a:gd name="connsiteY121" fmla="*/ 52813 h 2164296"/>
                <a:gd name="connsiteX122" fmla="*/ 650022 w 2169260"/>
                <a:gd name="connsiteY122" fmla="*/ 48050 h 2164296"/>
                <a:gd name="connsiteX123" fmla="*/ 673835 w 2169260"/>
                <a:gd name="connsiteY123" fmla="*/ 38525 h 2164296"/>
                <a:gd name="connsiteX124" fmla="*/ 716697 w 2169260"/>
                <a:gd name="connsiteY124" fmla="*/ 24238 h 2164296"/>
                <a:gd name="connsiteX125" fmla="*/ 745272 w 2169260"/>
                <a:gd name="connsiteY125" fmla="*/ 14713 h 2164296"/>
                <a:gd name="connsiteX126" fmla="*/ 792897 w 2169260"/>
                <a:gd name="connsiteY126" fmla="*/ 9950 h 2164296"/>
                <a:gd name="connsiteX127" fmla="*/ 864335 w 2169260"/>
                <a:gd name="connsiteY127" fmla="*/ 425 h 2164296"/>
                <a:gd name="connsiteX0" fmla="*/ 829383 w 2200983"/>
                <a:gd name="connsiteY0" fmla="*/ 425 h 2164296"/>
                <a:gd name="connsiteX1" fmla="*/ 981783 w 2200983"/>
                <a:gd name="connsiteY1" fmla="*/ 5188 h 2164296"/>
                <a:gd name="connsiteX2" fmla="*/ 1005595 w 2200983"/>
                <a:gd name="connsiteY2" fmla="*/ 9950 h 2164296"/>
                <a:gd name="connsiteX3" fmla="*/ 1072270 w 2200983"/>
                <a:gd name="connsiteY3" fmla="*/ 19475 h 2164296"/>
                <a:gd name="connsiteX4" fmla="*/ 1100845 w 2200983"/>
                <a:gd name="connsiteY4" fmla="*/ 24238 h 2164296"/>
                <a:gd name="connsiteX5" fmla="*/ 1124658 w 2200983"/>
                <a:gd name="connsiteY5" fmla="*/ 38525 h 2164296"/>
                <a:gd name="connsiteX6" fmla="*/ 1167520 w 2200983"/>
                <a:gd name="connsiteY6" fmla="*/ 48050 h 2164296"/>
                <a:gd name="connsiteX7" fmla="*/ 1186570 w 2200983"/>
                <a:gd name="connsiteY7" fmla="*/ 52813 h 2164296"/>
                <a:gd name="connsiteX8" fmla="*/ 1219908 w 2200983"/>
                <a:gd name="connsiteY8" fmla="*/ 57575 h 2164296"/>
                <a:gd name="connsiteX9" fmla="*/ 1315158 w 2200983"/>
                <a:gd name="connsiteY9" fmla="*/ 71863 h 2164296"/>
                <a:gd name="connsiteX10" fmla="*/ 1486608 w 2200983"/>
                <a:gd name="connsiteY10" fmla="*/ 109963 h 2164296"/>
                <a:gd name="connsiteX11" fmla="*/ 1510420 w 2200983"/>
                <a:gd name="connsiteY11" fmla="*/ 114725 h 2164296"/>
                <a:gd name="connsiteX12" fmla="*/ 1648533 w 2200983"/>
                <a:gd name="connsiteY12" fmla="*/ 124250 h 2164296"/>
                <a:gd name="connsiteX13" fmla="*/ 1681870 w 2200983"/>
                <a:gd name="connsiteY13" fmla="*/ 129013 h 2164296"/>
                <a:gd name="connsiteX14" fmla="*/ 1705683 w 2200983"/>
                <a:gd name="connsiteY14" fmla="*/ 133775 h 2164296"/>
                <a:gd name="connsiteX15" fmla="*/ 1753308 w 2200983"/>
                <a:gd name="connsiteY15" fmla="*/ 138538 h 2164296"/>
                <a:gd name="connsiteX16" fmla="*/ 1791408 w 2200983"/>
                <a:gd name="connsiteY16" fmla="*/ 152825 h 2164296"/>
                <a:gd name="connsiteX17" fmla="*/ 1805695 w 2200983"/>
                <a:gd name="connsiteY17" fmla="*/ 162350 h 2164296"/>
                <a:gd name="connsiteX18" fmla="*/ 1829508 w 2200983"/>
                <a:gd name="connsiteY18" fmla="*/ 167113 h 2164296"/>
                <a:gd name="connsiteX19" fmla="*/ 1853320 w 2200983"/>
                <a:gd name="connsiteY19" fmla="*/ 181400 h 2164296"/>
                <a:gd name="connsiteX20" fmla="*/ 1877133 w 2200983"/>
                <a:gd name="connsiteY20" fmla="*/ 190925 h 2164296"/>
                <a:gd name="connsiteX21" fmla="*/ 1891420 w 2200983"/>
                <a:gd name="connsiteY21" fmla="*/ 205213 h 2164296"/>
                <a:gd name="connsiteX22" fmla="*/ 1924758 w 2200983"/>
                <a:gd name="connsiteY22" fmla="*/ 229025 h 2164296"/>
                <a:gd name="connsiteX23" fmla="*/ 1977145 w 2200983"/>
                <a:gd name="connsiteY23" fmla="*/ 267125 h 2164296"/>
                <a:gd name="connsiteX24" fmla="*/ 2000958 w 2200983"/>
                <a:gd name="connsiteY24" fmla="*/ 295700 h 2164296"/>
                <a:gd name="connsiteX25" fmla="*/ 2034295 w 2200983"/>
                <a:gd name="connsiteY25" fmla="*/ 348088 h 2164296"/>
                <a:gd name="connsiteX26" fmla="*/ 2053345 w 2200983"/>
                <a:gd name="connsiteY26" fmla="*/ 410000 h 2164296"/>
                <a:gd name="connsiteX27" fmla="*/ 2062870 w 2200983"/>
                <a:gd name="connsiteY27" fmla="*/ 443338 h 2164296"/>
                <a:gd name="connsiteX28" fmla="*/ 2067633 w 2200983"/>
                <a:gd name="connsiteY28" fmla="*/ 457625 h 2164296"/>
                <a:gd name="connsiteX29" fmla="*/ 2077158 w 2200983"/>
                <a:gd name="connsiteY29" fmla="*/ 476675 h 2164296"/>
                <a:gd name="connsiteX30" fmla="*/ 2096208 w 2200983"/>
                <a:gd name="connsiteY30" fmla="*/ 548113 h 2164296"/>
                <a:gd name="connsiteX31" fmla="*/ 2110495 w 2200983"/>
                <a:gd name="connsiteY31" fmla="*/ 610025 h 2164296"/>
                <a:gd name="connsiteX32" fmla="*/ 2115258 w 2200983"/>
                <a:gd name="connsiteY32" fmla="*/ 914825 h 2164296"/>
                <a:gd name="connsiteX33" fmla="*/ 2153358 w 2200983"/>
                <a:gd name="connsiteY33" fmla="*/ 1086275 h 2164296"/>
                <a:gd name="connsiteX34" fmla="*/ 2158120 w 2200983"/>
                <a:gd name="connsiteY34" fmla="*/ 1148188 h 2164296"/>
                <a:gd name="connsiteX35" fmla="*/ 2172408 w 2200983"/>
                <a:gd name="connsiteY35" fmla="*/ 1191050 h 2164296"/>
                <a:gd name="connsiteX36" fmla="*/ 2177170 w 2200983"/>
                <a:gd name="connsiteY36" fmla="*/ 1224388 h 2164296"/>
                <a:gd name="connsiteX37" fmla="*/ 2196220 w 2200983"/>
                <a:gd name="connsiteY37" fmla="*/ 1276775 h 2164296"/>
                <a:gd name="connsiteX38" fmla="*/ 2200983 w 2200983"/>
                <a:gd name="connsiteY38" fmla="*/ 1300588 h 2164296"/>
                <a:gd name="connsiteX39" fmla="*/ 2196220 w 2200983"/>
                <a:gd name="connsiteY39" fmla="*/ 1514900 h 2164296"/>
                <a:gd name="connsiteX40" fmla="*/ 2186695 w 2200983"/>
                <a:gd name="connsiteY40" fmla="*/ 1529188 h 2164296"/>
                <a:gd name="connsiteX41" fmla="*/ 2177170 w 2200983"/>
                <a:gd name="connsiteY41" fmla="*/ 1562525 h 2164296"/>
                <a:gd name="connsiteX42" fmla="*/ 2167645 w 2200983"/>
                <a:gd name="connsiteY42" fmla="*/ 1576813 h 2164296"/>
                <a:gd name="connsiteX43" fmla="*/ 2162883 w 2200983"/>
                <a:gd name="connsiteY43" fmla="*/ 1600625 h 2164296"/>
                <a:gd name="connsiteX44" fmla="*/ 2148595 w 2200983"/>
                <a:gd name="connsiteY44" fmla="*/ 1614913 h 2164296"/>
                <a:gd name="connsiteX45" fmla="*/ 2139070 w 2200983"/>
                <a:gd name="connsiteY45" fmla="*/ 1629200 h 2164296"/>
                <a:gd name="connsiteX46" fmla="*/ 2110495 w 2200983"/>
                <a:gd name="connsiteY46" fmla="*/ 1657775 h 2164296"/>
                <a:gd name="connsiteX47" fmla="*/ 2081920 w 2200983"/>
                <a:gd name="connsiteY47" fmla="*/ 1686350 h 2164296"/>
                <a:gd name="connsiteX48" fmla="*/ 2072395 w 2200983"/>
                <a:gd name="connsiteY48" fmla="*/ 1700638 h 2164296"/>
                <a:gd name="connsiteX49" fmla="*/ 2058108 w 2200983"/>
                <a:gd name="connsiteY49" fmla="*/ 1710163 h 2164296"/>
                <a:gd name="connsiteX50" fmla="*/ 2034295 w 2200983"/>
                <a:gd name="connsiteY50" fmla="*/ 1724450 h 2164296"/>
                <a:gd name="connsiteX51" fmla="*/ 2010483 w 2200983"/>
                <a:gd name="connsiteY51" fmla="*/ 1743500 h 2164296"/>
                <a:gd name="connsiteX52" fmla="*/ 1939045 w 2200983"/>
                <a:gd name="connsiteY52" fmla="*/ 1772075 h 2164296"/>
                <a:gd name="connsiteX53" fmla="*/ 1919995 w 2200983"/>
                <a:gd name="connsiteY53" fmla="*/ 1786363 h 2164296"/>
                <a:gd name="connsiteX54" fmla="*/ 1872370 w 2200983"/>
                <a:gd name="connsiteY54" fmla="*/ 1814938 h 2164296"/>
                <a:gd name="connsiteX55" fmla="*/ 1858083 w 2200983"/>
                <a:gd name="connsiteY55" fmla="*/ 1833988 h 2164296"/>
                <a:gd name="connsiteX56" fmla="*/ 1805695 w 2200983"/>
                <a:gd name="connsiteY56" fmla="*/ 1862563 h 2164296"/>
                <a:gd name="connsiteX57" fmla="*/ 1662821 w 2200983"/>
                <a:gd name="connsiteY57" fmla="*/ 1891137 h 2164296"/>
                <a:gd name="connsiteX58" fmla="*/ 1415170 w 2200983"/>
                <a:gd name="connsiteY58" fmla="*/ 2014962 h 2164296"/>
                <a:gd name="connsiteX59" fmla="*/ 1362783 w 2200983"/>
                <a:gd name="connsiteY59" fmla="*/ 2053063 h 2164296"/>
                <a:gd name="connsiteX60" fmla="*/ 1348495 w 2200983"/>
                <a:gd name="connsiteY60" fmla="*/ 2062588 h 2164296"/>
                <a:gd name="connsiteX61" fmla="*/ 1310395 w 2200983"/>
                <a:gd name="connsiteY61" fmla="*/ 2072113 h 2164296"/>
                <a:gd name="connsiteX62" fmla="*/ 1286583 w 2200983"/>
                <a:gd name="connsiteY62" fmla="*/ 2086400 h 2164296"/>
                <a:gd name="connsiteX63" fmla="*/ 1234195 w 2200983"/>
                <a:gd name="connsiteY63" fmla="*/ 2100688 h 2164296"/>
                <a:gd name="connsiteX64" fmla="*/ 1191333 w 2200983"/>
                <a:gd name="connsiteY64" fmla="*/ 2119738 h 2164296"/>
                <a:gd name="connsiteX65" fmla="*/ 1172283 w 2200983"/>
                <a:gd name="connsiteY65" fmla="*/ 2134025 h 2164296"/>
                <a:gd name="connsiteX66" fmla="*/ 1100845 w 2200983"/>
                <a:gd name="connsiteY66" fmla="*/ 2148313 h 2164296"/>
                <a:gd name="connsiteX67" fmla="*/ 1072270 w 2200983"/>
                <a:gd name="connsiteY67" fmla="*/ 2162600 h 2164296"/>
                <a:gd name="connsiteX68" fmla="*/ 938920 w 2200983"/>
                <a:gd name="connsiteY68" fmla="*/ 2157838 h 2164296"/>
                <a:gd name="connsiteX69" fmla="*/ 829383 w 2200983"/>
                <a:gd name="connsiteY69" fmla="*/ 2105450 h 2164296"/>
                <a:gd name="connsiteX70" fmla="*/ 791283 w 2200983"/>
                <a:gd name="connsiteY70" fmla="*/ 2091163 h 2164296"/>
                <a:gd name="connsiteX71" fmla="*/ 743658 w 2200983"/>
                <a:gd name="connsiteY71" fmla="*/ 2062588 h 2164296"/>
                <a:gd name="connsiteX72" fmla="*/ 686508 w 2200983"/>
                <a:gd name="connsiteY72" fmla="*/ 2038775 h 2164296"/>
                <a:gd name="connsiteX73" fmla="*/ 653170 w 2200983"/>
                <a:gd name="connsiteY73" fmla="*/ 2005438 h 2164296"/>
                <a:gd name="connsiteX74" fmla="*/ 615070 w 2200983"/>
                <a:gd name="connsiteY74" fmla="*/ 1976863 h 2164296"/>
                <a:gd name="connsiteX75" fmla="*/ 600783 w 2200983"/>
                <a:gd name="connsiteY75" fmla="*/ 1957813 h 2164296"/>
                <a:gd name="connsiteX76" fmla="*/ 586495 w 2200983"/>
                <a:gd name="connsiteY76" fmla="*/ 1934000 h 2164296"/>
                <a:gd name="connsiteX77" fmla="*/ 553158 w 2200983"/>
                <a:gd name="connsiteY77" fmla="*/ 1895900 h 2164296"/>
                <a:gd name="connsiteX78" fmla="*/ 410283 w 2200983"/>
                <a:gd name="connsiteY78" fmla="*/ 1705400 h 2164296"/>
                <a:gd name="connsiteX79" fmla="*/ 395995 w 2200983"/>
                <a:gd name="connsiteY79" fmla="*/ 1686350 h 2164296"/>
                <a:gd name="connsiteX80" fmla="*/ 376945 w 2200983"/>
                <a:gd name="connsiteY80" fmla="*/ 1657775 h 2164296"/>
                <a:gd name="connsiteX81" fmla="*/ 319795 w 2200983"/>
                <a:gd name="connsiteY81" fmla="*/ 1600625 h 2164296"/>
                <a:gd name="connsiteX82" fmla="*/ 295983 w 2200983"/>
                <a:gd name="connsiteY82" fmla="*/ 1576813 h 2164296"/>
                <a:gd name="connsiteX83" fmla="*/ 281695 w 2200983"/>
                <a:gd name="connsiteY83" fmla="*/ 1562525 h 2164296"/>
                <a:gd name="connsiteX84" fmla="*/ 243595 w 2200983"/>
                <a:gd name="connsiteY84" fmla="*/ 1538713 h 2164296"/>
                <a:gd name="connsiteX85" fmla="*/ 219783 w 2200983"/>
                <a:gd name="connsiteY85" fmla="*/ 1510138 h 2164296"/>
                <a:gd name="connsiteX86" fmla="*/ 195970 w 2200983"/>
                <a:gd name="connsiteY86" fmla="*/ 1491088 h 2164296"/>
                <a:gd name="connsiteX87" fmla="*/ 176920 w 2200983"/>
                <a:gd name="connsiteY87" fmla="*/ 1462513 h 2164296"/>
                <a:gd name="connsiteX88" fmla="*/ 153108 w 2200983"/>
                <a:gd name="connsiteY88" fmla="*/ 1438700 h 2164296"/>
                <a:gd name="connsiteX89" fmla="*/ 143583 w 2200983"/>
                <a:gd name="connsiteY89" fmla="*/ 1424413 h 2164296"/>
                <a:gd name="connsiteX90" fmla="*/ 124533 w 2200983"/>
                <a:gd name="connsiteY90" fmla="*/ 1405363 h 2164296"/>
                <a:gd name="connsiteX91" fmla="*/ 105483 w 2200983"/>
                <a:gd name="connsiteY91" fmla="*/ 1376788 h 2164296"/>
                <a:gd name="connsiteX92" fmla="*/ 91195 w 2200983"/>
                <a:gd name="connsiteY92" fmla="*/ 1362500 h 2164296"/>
                <a:gd name="connsiteX93" fmla="*/ 81670 w 2200983"/>
                <a:gd name="connsiteY93" fmla="*/ 1348213 h 2164296"/>
                <a:gd name="connsiteX94" fmla="*/ 67383 w 2200983"/>
                <a:gd name="connsiteY94" fmla="*/ 1329163 h 2164296"/>
                <a:gd name="connsiteX95" fmla="*/ 62620 w 2200983"/>
                <a:gd name="connsiteY95" fmla="*/ 1305350 h 2164296"/>
                <a:gd name="connsiteX96" fmla="*/ 38808 w 2200983"/>
                <a:gd name="connsiteY96" fmla="*/ 1257725 h 2164296"/>
                <a:gd name="connsiteX97" fmla="*/ 34045 w 2200983"/>
                <a:gd name="connsiteY97" fmla="*/ 991025 h 2164296"/>
                <a:gd name="connsiteX98" fmla="*/ 72145 w 2200983"/>
                <a:gd name="connsiteY98" fmla="*/ 929113 h 2164296"/>
                <a:gd name="connsiteX99" fmla="*/ 95958 w 2200983"/>
                <a:gd name="connsiteY99" fmla="*/ 891013 h 2164296"/>
                <a:gd name="connsiteX100" fmla="*/ 115008 w 2200983"/>
                <a:gd name="connsiteY100" fmla="*/ 848150 h 2164296"/>
                <a:gd name="connsiteX101" fmla="*/ 176920 w 2200983"/>
                <a:gd name="connsiteY101" fmla="*/ 733850 h 2164296"/>
                <a:gd name="connsiteX102" fmla="*/ 238833 w 2200983"/>
                <a:gd name="connsiteY102" fmla="*/ 610025 h 2164296"/>
                <a:gd name="connsiteX103" fmla="*/ 243595 w 2200983"/>
                <a:gd name="connsiteY103" fmla="*/ 581450 h 2164296"/>
                <a:gd name="connsiteX104" fmla="*/ 267408 w 2200983"/>
                <a:gd name="connsiteY104" fmla="*/ 538588 h 2164296"/>
                <a:gd name="connsiteX105" fmla="*/ 281695 w 2200983"/>
                <a:gd name="connsiteY105" fmla="*/ 500488 h 2164296"/>
                <a:gd name="connsiteX106" fmla="*/ 295983 w 2200983"/>
                <a:gd name="connsiteY106" fmla="*/ 471913 h 2164296"/>
                <a:gd name="connsiteX107" fmla="*/ 305508 w 2200983"/>
                <a:gd name="connsiteY107" fmla="*/ 443338 h 2164296"/>
                <a:gd name="connsiteX108" fmla="*/ 315033 w 2200983"/>
                <a:gd name="connsiteY108" fmla="*/ 429050 h 2164296"/>
                <a:gd name="connsiteX109" fmla="*/ 324558 w 2200983"/>
                <a:gd name="connsiteY109" fmla="*/ 405238 h 2164296"/>
                <a:gd name="connsiteX110" fmla="*/ 343608 w 2200983"/>
                <a:gd name="connsiteY110" fmla="*/ 381425 h 2164296"/>
                <a:gd name="connsiteX111" fmla="*/ 362658 w 2200983"/>
                <a:gd name="connsiteY111" fmla="*/ 333800 h 2164296"/>
                <a:gd name="connsiteX112" fmla="*/ 391233 w 2200983"/>
                <a:gd name="connsiteY112" fmla="*/ 290938 h 2164296"/>
                <a:gd name="connsiteX113" fmla="*/ 415045 w 2200983"/>
                <a:gd name="connsiteY113" fmla="*/ 248075 h 2164296"/>
                <a:gd name="connsiteX114" fmla="*/ 429333 w 2200983"/>
                <a:gd name="connsiteY114" fmla="*/ 229025 h 2164296"/>
                <a:gd name="connsiteX115" fmla="*/ 453145 w 2200983"/>
                <a:gd name="connsiteY115" fmla="*/ 214738 h 2164296"/>
                <a:gd name="connsiteX116" fmla="*/ 476958 w 2200983"/>
                <a:gd name="connsiteY116" fmla="*/ 190925 h 2164296"/>
                <a:gd name="connsiteX117" fmla="*/ 491245 w 2200983"/>
                <a:gd name="connsiteY117" fmla="*/ 181400 h 2164296"/>
                <a:gd name="connsiteX118" fmla="*/ 524583 w 2200983"/>
                <a:gd name="connsiteY118" fmla="*/ 143300 h 2164296"/>
                <a:gd name="connsiteX119" fmla="*/ 538870 w 2200983"/>
                <a:gd name="connsiteY119" fmla="*/ 133775 h 2164296"/>
                <a:gd name="connsiteX120" fmla="*/ 648408 w 2200983"/>
                <a:gd name="connsiteY120" fmla="*/ 71863 h 2164296"/>
                <a:gd name="connsiteX121" fmla="*/ 662695 w 2200983"/>
                <a:gd name="connsiteY121" fmla="*/ 52813 h 2164296"/>
                <a:gd name="connsiteX122" fmla="*/ 681745 w 2200983"/>
                <a:gd name="connsiteY122" fmla="*/ 48050 h 2164296"/>
                <a:gd name="connsiteX123" fmla="*/ 705558 w 2200983"/>
                <a:gd name="connsiteY123" fmla="*/ 38525 h 2164296"/>
                <a:gd name="connsiteX124" fmla="*/ 748420 w 2200983"/>
                <a:gd name="connsiteY124" fmla="*/ 24238 h 2164296"/>
                <a:gd name="connsiteX125" fmla="*/ 776995 w 2200983"/>
                <a:gd name="connsiteY125" fmla="*/ 14713 h 2164296"/>
                <a:gd name="connsiteX126" fmla="*/ 824620 w 2200983"/>
                <a:gd name="connsiteY126" fmla="*/ 9950 h 2164296"/>
                <a:gd name="connsiteX127" fmla="*/ 896058 w 2200983"/>
                <a:gd name="connsiteY127" fmla="*/ 425 h 2164296"/>
                <a:gd name="connsiteX0" fmla="*/ 795412 w 2167012"/>
                <a:gd name="connsiteY0" fmla="*/ 425 h 2164296"/>
                <a:gd name="connsiteX1" fmla="*/ 947812 w 2167012"/>
                <a:gd name="connsiteY1" fmla="*/ 5188 h 2164296"/>
                <a:gd name="connsiteX2" fmla="*/ 971624 w 2167012"/>
                <a:gd name="connsiteY2" fmla="*/ 9950 h 2164296"/>
                <a:gd name="connsiteX3" fmla="*/ 1038299 w 2167012"/>
                <a:gd name="connsiteY3" fmla="*/ 19475 h 2164296"/>
                <a:gd name="connsiteX4" fmla="*/ 1066874 w 2167012"/>
                <a:gd name="connsiteY4" fmla="*/ 24238 h 2164296"/>
                <a:gd name="connsiteX5" fmla="*/ 1090687 w 2167012"/>
                <a:gd name="connsiteY5" fmla="*/ 38525 h 2164296"/>
                <a:gd name="connsiteX6" fmla="*/ 1133549 w 2167012"/>
                <a:gd name="connsiteY6" fmla="*/ 48050 h 2164296"/>
                <a:gd name="connsiteX7" fmla="*/ 1152599 w 2167012"/>
                <a:gd name="connsiteY7" fmla="*/ 52813 h 2164296"/>
                <a:gd name="connsiteX8" fmla="*/ 1185937 w 2167012"/>
                <a:gd name="connsiteY8" fmla="*/ 57575 h 2164296"/>
                <a:gd name="connsiteX9" fmla="*/ 1281187 w 2167012"/>
                <a:gd name="connsiteY9" fmla="*/ 71863 h 2164296"/>
                <a:gd name="connsiteX10" fmla="*/ 1452637 w 2167012"/>
                <a:gd name="connsiteY10" fmla="*/ 109963 h 2164296"/>
                <a:gd name="connsiteX11" fmla="*/ 1476449 w 2167012"/>
                <a:gd name="connsiteY11" fmla="*/ 114725 h 2164296"/>
                <a:gd name="connsiteX12" fmla="*/ 1614562 w 2167012"/>
                <a:gd name="connsiteY12" fmla="*/ 124250 h 2164296"/>
                <a:gd name="connsiteX13" fmla="*/ 1647899 w 2167012"/>
                <a:gd name="connsiteY13" fmla="*/ 129013 h 2164296"/>
                <a:gd name="connsiteX14" fmla="*/ 1671712 w 2167012"/>
                <a:gd name="connsiteY14" fmla="*/ 133775 h 2164296"/>
                <a:gd name="connsiteX15" fmla="*/ 1719337 w 2167012"/>
                <a:gd name="connsiteY15" fmla="*/ 138538 h 2164296"/>
                <a:gd name="connsiteX16" fmla="*/ 1757437 w 2167012"/>
                <a:gd name="connsiteY16" fmla="*/ 152825 h 2164296"/>
                <a:gd name="connsiteX17" fmla="*/ 1771724 w 2167012"/>
                <a:gd name="connsiteY17" fmla="*/ 162350 h 2164296"/>
                <a:gd name="connsiteX18" fmla="*/ 1795537 w 2167012"/>
                <a:gd name="connsiteY18" fmla="*/ 167113 h 2164296"/>
                <a:gd name="connsiteX19" fmla="*/ 1819349 w 2167012"/>
                <a:gd name="connsiteY19" fmla="*/ 181400 h 2164296"/>
                <a:gd name="connsiteX20" fmla="*/ 1843162 w 2167012"/>
                <a:gd name="connsiteY20" fmla="*/ 190925 h 2164296"/>
                <a:gd name="connsiteX21" fmla="*/ 1857449 w 2167012"/>
                <a:gd name="connsiteY21" fmla="*/ 205213 h 2164296"/>
                <a:gd name="connsiteX22" fmla="*/ 1890787 w 2167012"/>
                <a:gd name="connsiteY22" fmla="*/ 229025 h 2164296"/>
                <a:gd name="connsiteX23" fmla="*/ 1943174 w 2167012"/>
                <a:gd name="connsiteY23" fmla="*/ 267125 h 2164296"/>
                <a:gd name="connsiteX24" fmla="*/ 1966987 w 2167012"/>
                <a:gd name="connsiteY24" fmla="*/ 295700 h 2164296"/>
                <a:gd name="connsiteX25" fmla="*/ 2000324 w 2167012"/>
                <a:gd name="connsiteY25" fmla="*/ 348088 h 2164296"/>
                <a:gd name="connsiteX26" fmla="*/ 2019374 w 2167012"/>
                <a:gd name="connsiteY26" fmla="*/ 410000 h 2164296"/>
                <a:gd name="connsiteX27" fmla="*/ 2028899 w 2167012"/>
                <a:gd name="connsiteY27" fmla="*/ 443338 h 2164296"/>
                <a:gd name="connsiteX28" fmla="*/ 2033662 w 2167012"/>
                <a:gd name="connsiteY28" fmla="*/ 457625 h 2164296"/>
                <a:gd name="connsiteX29" fmla="*/ 2043187 w 2167012"/>
                <a:gd name="connsiteY29" fmla="*/ 476675 h 2164296"/>
                <a:gd name="connsiteX30" fmla="*/ 2062237 w 2167012"/>
                <a:gd name="connsiteY30" fmla="*/ 548113 h 2164296"/>
                <a:gd name="connsiteX31" fmla="*/ 2076524 w 2167012"/>
                <a:gd name="connsiteY31" fmla="*/ 610025 h 2164296"/>
                <a:gd name="connsiteX32" fmla="*/ 2081287 w 2167012"/>
                <a:gd name="connsiteY32" fmla="*/ 914825 h 2164296"/>
                <a:gd name="connsiteX33" fmla="*/ 2119387 w 2167012"/>
                <a:gd name="connsiteY33" fmla="*/ 1086275 h 2164296"/>
                <a:gd name="connsiteX34" fmla="*/ 2124149 w 2167012"/>
                <a:gd name="connsiteY34" fmla="*/ 1148188 h 2164296"/>
                <a:gd name="connsiteX35" fmla="*/ 2138437 w 2167012"/>
                <a:gd name="connsiteY35" fmla="*/ 1191050 h 2164296"/>
                <a:gd name="connsiteX36" fmla="*/ 2143199 w 2167012"/>
                <a:gd name="connsiteY36" fmla="*/ 1224388 h 2164296"/>
                <a:gd name="connsiteX37" fmla="*/ 2162249 w 2167012"/>
                <a:gd name="connsiteY37" fmla="*/ 1276775 h 2164296"/>
                <a:gd name="connsiteX38" fmla="*/ 2167012 w 2167012"/>
                <a:gd name="connsiteY38" fmla="*/ 1300588 h 2164296"/>
                <a:gd name="connsiteX39" fmla="*/ 2162249 w 2167012"/>
                <a:gd name="connsiteY39" fmla="*/ 1514900 h 2164296"/>
                <a:gd name="connsiteX40" fmla="*/ 2152724 w 2167012"/>
                <a:gd name="connsiteY40" fmla="*/ 1529188 h 2164296"/>
                <a:gd name="connsiteX41" fmla="*/ 2143199 w 2167012"/>
                <a:gd name="connsiteY41" fmla="*/ 1562525 h 2164296"/>
                <a:gd name="connsiteX42" fmla="*/ 2133674 w 2167012"/>
                <a:gd name="connsiteY42" fmla="*/ 1576813 h 2164296"/>
                <a:gd name="connsiteX43" fmla="*/ 2128912 w 2167012"/>
                <a:gd name="connsiteY43" fmla="*/ 1600625 h 2164296"/>
                <a:gd name="connsiteX44" fmla="*/ 2114624 w 2167012"/>
                <a:gd name="connsiteY44" fmla="*/ 1614913 h 2164296"/>
                <a:gd name="connsiteX45" fmla="*/ 2105099 w 2167012"/>
                <a:gd name="connsiteY45" fmla="*/ 1629200 h 2164296"/>
                <a:gd name="connsiteX46" fmla="*/ 2076524 w 2167012"/>
                <a:gd name="connsiteY46" fmla="*/ 1657775 h 2164296"/>
                <a:gd name="connsiteX47" fmla="*/ 2047949 w 2167012"/>
                <a:gd name="connsiteY47" fmla="*/ 1686350 h 2164296"/>
                <a:gd name="connsiteX48" fmla="*/ 2038424 w 2167012"/>
                <a:gd name="connsiteY48" fmla="*/ 1700638 h 2164296"/>
                <a:gd name="connsiteX49" fmla="*/ 2024137 w 2167012"/>
                <a:gd name="connsiteY49" fmla="*/ 1710163 h 2164296"/>
                <a:gd name="connsiteX50" fmla="*/ 2000324 w 2167012"/>
                <a:gd name="connsiteY50" fmla="*/ 1724450 h 2164296"/>
                <a:gd name="connsiteX51" fmla="*/ 1976512 w 2167012"/>
                <a:gd name="connsiteY51" fmla="*/ 1743500 h 2164296"/>
                <a:gd name="connsiteX52" fmla="*/ 1905074 w 2167012"/>
                <a:gd name="connsiteY52" fmla="*/ 1772075 h 2164296"/>
                <a:gd name="connsiteX53" fmla="*/ 1886024 w 2167012"/>
                <a:gd name="connsiteY53" fmla="*/ 1786363 h 2164296"/>
                <a:gd name="connsiteX54" fmla="*/ 1838399 w 2167012"/>
                <a:gd name="connsiteY54" fmla="*/ 1814938 h 2164296"/>
                <a:gd name="connsiteX55" fmla="*/ 1824112 w 2167012"/>
                <a:gd name="connsiteY55" fmla="*/ 1833988 h 2164296"/>
                <a:gd name="connsiteX56" fmla="*/ 1771724 w 2167012"/>
                <a:gd name="connsiteY56" fmla="*/ 1862563 h 2164296"/>
                <a:gd name="connsiteX57" fmla="*/ 1628850 w 2167012"/>
                <a:gd name="connsiteY57" fmla="*/ 1891137 h 2164296"/>
                <a:gd name="connsiteX58" fmla="*/ 1381199 w 2167012"/>
                <a:gd name="connsiteY58" fmla="*/ 2014962 h 2164296"/>
                <a:gd name="connsiteX59" fmla="*/ 1328812 w 2167012"/>
                <a:gd name="connsiteY59" fmla="*/ 2053063 h 2164296"/>
                <a:gd name="connsiteX60" fmla="*/ 1314524 w 2167012"/>
                <a:gd name="connsiteY60" fmla="*/ 2062588 h 2164296"/>
                <a:gd name="connsiteX61" fmla="*/ 1276424 w 2167012"/>
                <a:gd name="connsiteY61" fmla="*/ 2072113 h 2164296"/>
                <a:gd name="connsiteX62" fmla="*/ 1252612 w 2167012"/>
                <a:gd name="connsiteY62" fmla="*/ 2086400 h 2164296"/>
                <a:gd name="connsiteX63" fmla="*/ 1200224 w 2167012"/>
                <a:gd name="connsiteY63" fmla="*/ 2100688 h 2164296"/>
                <a:gd name="connsiteX64" fmla="*/ 1157362 w 2167012"/>
                <a:gd name="connsiteY64" fmla="*/ 2119738 h 2164296"/>
                <a:gd name="connsiteX65" fmla="*/ 1138312 w 2167012"/>
                <a:gd name="connsiteY65" fmla="*/ 2134025 h 2164296"/>
                <a:gd name="connsiteX66" fmla="*/ 1066874 w 2167012"/>
                <a:gd name="connsiteY66" fmla="*/ 2148313 h 2164296"/>
                <a:gd name="connsiteX67" fmla="*/ 1038299 w 2167012"/>
                <a:gd name="connsiteY67" fmla="*/ 2162600 h 2164296"/>
                <a:gd name="connsiteX68" fmla="*/ 904949 w 2167012"/>
                <a:gd name="connsiteY68" fmla="*/ 2157838 h 2164296"/>
                <a:gd name="connsiteX69" fmla="*/ 795412 w 2167012"/>
                <a:gd name="connsiteY69" fmla="*/ 2105450 h 2164296"/>
                <a:gd name="connsiteX70" fmla="*/ 757312 w 2167012"/>
                <a:gd name="connsiteY70" fmla="*/ 2091163 h 2164296"/>
                <a:gd name="connsiteX71" fmla="*/ 709687 w 2167012"/>
                <a:gd name="connsiteY71" fmla="*/ 2062588 h 2164296"/>
                <a:gd name="connsiteX72" fmla="*/ 652537 w 2167012"/>
                <a:gd name="connsiteY72" fmla="*/ 2038775 h 2164296"/>
                <a:gd name="connsiteX73" fmla="*/ 619199 w 2167012"/>
                <a:gd name="connsiteY73" fmla="*/ 2005438 h 2164296"/>
                <a:gd name="connsiteX74" fmla="*/ 581099 w 2167012"/>
                <a:gd name="connsiteY74" fmla="*/ 1976863 h 2164296"/>
                <a:gd name="connsiteX75" fmla="*/ 566812 w 2167012"/>
                <a:gd name="connsiteY75" fmla="*/ 1957813 h 2164296"/>
                <a:gd name="connsiteX76" fmla="*/ 552524 w 2167012"/>
                <a:gd name="connsiteY76" fmla="*/ 1934000 h 2164296"/>
                <a:gd name="connsiteX77" fmla="*/ 519187 w 2167012"/>
                <a:gd name="connsiteY77" fmla="*/ 1895900 h 2164296"/>
                <a:gd name="connsiteX78" fmla="*/ 376312 w 2167012"/>
                <a:gd name="connsiteY78" fmla="*/ 1705400 h 2164296"/>
                <a:gd name="connsiteX79" fmla="*/ 362024 w 2167012"/>
                <a:gd name="connsiteY79" fmla="*/ 1686350 h 2164296"/>
                <a:gd name="connsiteX80" fmla="*/ 342974 w 2167012"/>
                <a:gd name="connsiteY80" fmla="*/ 1657775 h 2164296"/>
                <a:gd name="connsiteX81" fmla="*/ 285824 w 2167012"/>
                <a:gd name="connsiteY81" fmla="*/ 1600625 h 2164296"/>
                <a:gd name="connsiteX82" fmla="*/ 262012 w 2167012"/>
                <a:gd name="connsiteY82" fmla="*/ 1576813 h 2164296"/>
                <a:gd name="connsiteX83" fmla="*/ 247724 w 2167012"/>
                <a:gd name="connsiteY83" fmla="*/ 1562525 h 2164296"/>
                <a:gd name="connsiteX84" fmla="*/ 209624 w 2167012"/>
                <a:gd name="connsiteY84" fmla="*/ 1538713 h 2164296"/>
                <a:gd name="connsiteX85" fmla="*/ 185812 w 2167012"/>
                <a:gd name="connsiteY85" fmla="*/ 1510138 h 2164296"/>
                <a:gd name="connsiteX86" fmla="*/ 161999 w 2167012"/>
                <a:gd name="connsiteY86" fmla="*/ 1491088 h 2164296"/>
                <a:gd name="connsiteX87" fmla="*/ 142949 w 2167012"/>
                <a:gd name="connsiteY87" fmla="*/ 1462513 h 2164296"/>
                <a:gd name="connsiteX88" fmla="*/ 119137 w 2167012"/>
                <a:gd name="connsiteY88" fmla="*/ 1438700 h 2164296"/>
                <a:gd name="connsiteX89" fmla="*/ 109612 w 2167012"/>
                <a:gd name="connsiteY89" fmla="*/ 1424413 h 2164296"/>
                <a:gd name="connsiteX90" fmla="*/ 90562 w 2167012"/>
                <a:gd name="connsiteY90" fmla="*/ 1405363 h 2164296"/>
                <a:gd name="connsiteX91" fmla="*/ 71512 w 2167012"/>
                <a:gd name="connsiteY91" fmla="*/ 1376788 h 2164296"/>
                <a:gd name="connsiteX92" fmla="*/ 57224 w 2167012"/>
                <a:gd name="connsiteY92" fmla="*/ 1362500 h 2164296"/>
                <a:gd name="connsiteX93" fmla="*/ 47699 w 2167012"/>
                <a:gd name="connsiteY93" fmla="*/ 1348213 h 2164296"/>
                <a:gd name="connsiteX94" fmla="*/ 33412 w 2167012"/>
                <a:gd name="connsiteY94" fmla="*/ 1329163 h 2164296"/>
                <a:gd name="connsiteX95" fmla="*/ 28649 w 2167012"/>
                <a:gd name="connsiteY95" fmla="*/ 1305350 h 2164296"/>
                <a:gd name="connsiteX96" fmla="*/ 74 w 2167012"/>
                <a:gd name="connsiteY96" fmla="*/ 991025 h 2164296"/>
                <a:gd name="connsiteX97" fmla="*/ 38174 w 2167012"/>
                <a:gd name="connsiteY97" fmla="*/ 929113 h 2164296"/>
                <a:gd name="connsiteX98" fmla="*/ 61987 w 2167012"/>
                <a:gd name="connsiteY98" fmla="*/ 891013 h 2164296"/>
                <a:gd name="connsiteX99" fmla="*/ 81037 w 2167012"/>
                <a:gd name="connsiteY99" fmla="*/ 848150 h 2164296"/>
                <a:gd name="connsiteX100" fmla="*/ 142949 w 2167012"/>
                <a:gd name="connsiteY100" fmla="*/ 733850 h 2164296"/>
                <a:gd name="connsiteX101" fmla="*/ 204862 w 2167012"/>
                <a:gd name="connsiteY101" fmla="*/ 610025 h 2164296"/>
                <a:gd name="connsiteX102" fmla="*/ 209624 w 2167012"/>
                <a:gd name="connsiteY102" fmla="*/ 581450 h 2164296"/>
                <a:gd name="connsiteX103" fmla="*/ 233437 w 2167012"/>
                <a:gd name="connsiteY103" fmla="*/ 538588 h 2164296"/>
                <a:gd name="connsiteX104" fmla="*/ 247724 w 2167012"/>
                <a:gd name="connsiteY104" fmla="*/ 500488 h 2164296"/>
                <a:gd name="connsiteX105" fmla="*/ 262012 w 2167012"/>
                <a:gd name="connsiteY105" fmla="*/ 471913 h 2164296"/>
                <a:gd name="connsiteX106" fmla="*/ 271537 w 2167012"/>
                <a:gd name="connsiteY106" fmla="*/ 443338 h 2164296"/>
                <a:gd name="connsiteX107" fmla="*/ 281062 w 2167012"/>
                <a:gd name="connsiteY107" fmla="*/ 429050 h 2164296"/>
                <a:gd name="connsiteX108" fmla="*/ 290587 w 2167012"/>
                <a:gd name="connsiteY108" fmla="*/ 405238 h 2164296"/>
                <a:gd name="connsiteX109" fmla="*/ 309637 w 2167012"/>
                <a:gd name="connsiteY109" fmla="*/ 381425 h 2164296"/>
                <a:gd name="connsiteX110" fmla="*/ 328687 w 2167012"/>
                <a:gd name="connsiteY110" fmla="*/ 333800 h 2164296"/>
                <a:gd name="connsiteX111" fmla="*/ 357262 w 2167012"/>
                <a:gd name="connsiteY111" fmla="*/ 290938 h 2164296"/>
                <a:gd name="connsiteX112" fmla="*/ 381074 w 2167012"/>
                <a:gd name="connsiteY112" fmla="*/ 248075 h 2164296"/>
                <a:gd name="connsiteX113" fmla="*/ 395362 w 2167012"/>
                <a:gd name="connsiteY113" fmla="*/ 229025 h 2164296"/>
                <a:gd name="connsiteX114" fmla="*/ 419174 w 2167012"/>
                <a:gd name="connsiteY114" fmla="*/ 214738 h 2164296"/>
                <a:gd name="connsiteX115" fmla="*/ 442987 w 2167012"/>
                <a:gd name="connsiteY115" fmla="*/ 190925 h 2164296"/>
                <a:gd name="connsiteX116" fmla="*/ 457274 w 2167012"/>
                <a:gd name="connsiteY116" fmla="*/ 181400 h 2164296"/>
                <a:gd name="connsiteX117" fmla="*/ 490612 w 2167012"/>
                <a:gd name="connsiteY117" fmla="*/ 143300 h 2164296"/>
                <a:gd name="connsiteX118" fmla="*/ 504899 w 2167012"/>
                <a:gd name="connsiteY118" fmla="*/ 133775 h 2164296"/>
                <a:gd name="connsiteX119" fmla="*/ 614437 w 2167012"/>
                <a:gd name="connsiteY119" fmla="*/ 71863 h 2164296"/>
                <a:gd name="connsiteX120" fmla="*/ 628724 w 2167012"/>
                <a:gd name="connsiteY120" fmla="*/ 52813 h 2164296"/>
                <a:gd name="connsiteX121" fmla="*/ 647774 w 2167012"/>
                <a:gd name="connsiteY121" fmla="*/ 48050 h 2164296"/>
                <a:gd name="connsiteX122" fmla="*/ 671587 w 2167012"/>
                <a:gd name="connsiteY122" fmla="*/ 38525 h 2164296"/>
                <a:gd name="connsiteX123" fmla="*/ 714449 w 2167012"/>
                <a:gd name="connsiteY123" fmla="*/ 24238 h 2164296"/>
                <a:gd name="connsiteX124" fmla="*/ 743024 w 2167012"/>
                <a:gd name="connsiteY124" fmla="*/ 14713 h 2164296"/>
                <a:gd name="connsiteX125" fmla="*/ 790649 w 2167012"/>
                <a:gd name="connsiteY125" fmla="*/ 9950 h 2164296"/>
                <a:gd name="connsiteX126" fmla="*/ 862087 w 2167012"/>
                <a:gd name="connsiteY126" fmla="*/ 425 h 2164296"/>
                <a:gd name="connsiteX0" fmla="*/ 826759 w 2198359"/>
                <a:gd name="connsiteY0" fmla="*/ 425 h 2164296"/>
                <a:gd name="connsiteX1" fmla="*/ 979159 w 2198359"/>
                <a:gd name="connsiteY1" fmla="*/ 5188 h 2164296"/>
                <a:gd name="connsiteX2" fmla="*/ 1002971 w 2198359"/>
                <a:gd name="connsiteY2" fmla="*/ 9950 h 2164296"/>
                <a:gd name="connsiteX3" fmla="*/ 1069646 w 2198359"/>
                <a:gd name="connsiteY3" fmla="*/ 19475 h 2164296"/>
                <a:gd name="connsiteX4" fmla="*/ 1098221 w 2198359"/>
                <a:gd name="connsiteY4" fmla="*/ 24238 h 2164296"/>
                <a:gd name="connsiteX5" fmla="*/ 1122034 w 2198359"/>
                <a:gd name="connsiteY5" fmla="*/ 38525 h 2164296"/>
                <a:gd name="connsiteX6" fmla="*/ 1164896 w 2198359"/>
                <a:gd name="connsiteY6" fmla="*/ 48050 h 2164296"/>
                <a:gd name="connsiteX7" fmla="*/ 1183946 w 2198359"/>
                <a:gd name="connsiteY7" fmla="*/ 52813 h 2164296"/>
                <a:gd name="connsiteX8" fmla="*/ 1217284 w 2198359"/>
                <a:gd name="connsiteY8" fmla="*/ 57575 h 2164296"/>
                <a:gd name="connsiteX9" fmla="*/ 1312534 w 2198359"/>
                <a:gd name="connsiteY9" fmla="*/ 71863 h 2164296"/>
                <a:gd name="connsiteX10" fmla="*/ 1483984 w 2198359"/>
                <a:gd name="connsiteY10" fmla="*/ 109963 h 2164296"/>
                <a:gd name="connsiteX11" fmla="*/ 1507796 w 2198359"/>
                <a:gd name="connsiteY11" fmla="*/ 114725 h 2164296"/>
                <a:gd name="connsiteX12" fmla="*/ 1645909 w 2198359"/>
                <a:gd name="connsiteY12" fmla="*/ 124250 h 2164296"/>
                <a:gd name="connsiteX13" fmla="*/ 1679246 w 2198359"/>
                <a:gd name="connsiteY13" fmla="*/ 129013 h 2164296"/>
                <a:gd name="connsiteX14" fmla="*/ 1703059 w 2198359"/>
                <a:gd name="connsiteY14" fmla="*/ 133775 h 2164296"/>
                <a:gd name="connsiteX15" fmla="*/ 1750684 w 2198359"/>
                <a:gd name="connsiteY15" fmla="*/ 138538 h 2164296"/>
                <a:gd name="connsiteX16" fmla="*/ 1788784 w 2198359"/>
                <a:gd name="connsiteY16" fmla="*/ 152825 h 2164296"/>
                <a:gd name="connsiteX17" fmla="*/ 1803071 w 2198359"/>
                <a:gd name="connsiteY17" fmla="*/ 162350 h 2164296"/>
                <a:gd name="connsiteX18" fmla="*/ 1826884 w 2198359"/>
                <a:gd name="connsiteY18" fmla="*/ 167113 h 2164296"/>
                <a:gd name="connsiteX19" fmla="*/ 1850696 w 2198359"/>
                <a:gd name="connsiteY19" fmla="*/ 181400 h 2164296"/>
                <a:gd name="connsiteX20" fmla="*/ 1874509 w 2198359"/>
                <a:gd name="connsiteY20" fmla="*/ 190925 h 2164296"/>
                <a:gd name="connsiteX21" fmla="*/ 1888796 w 2198359"/>
                <a:gd name="connsiteY21" fmla="*/ 205213 h 2164296"/>
                <a:gd name="connsiteX22" fmla="*/ 1922134 w 2198359"/>
                <a:gd name="connsiteY22" fmla="*/ 229025 h 2164296"/>
                <a:gd name="connsiteX23" fmla="*/ 1974521 w 2198359"/>
                <a:gd name="connsiteY23" fmla="*/ 267125 h 2164296"/>
                <a:gd name="connsiteX24" fmla="*/ 1998334 w 2198359"/>
                <a:gd name="connsiteY24" fmla="*/ 295700 h 2164296"/>
                <a:gd name="connsiteX25" fmla="*/ 2031671 w 2198359"/>
                <a:gd name="connsiteY25" fmla="*/ 348088 h 2164296"/>
                <a:gd name="connsiteX26" fmla="*/ 2050721 w 2198359"/>
                <a:gd name="connsiteY26" fmla="*/ 410000 h 2164296"/>
                <a:gd name="connsiteX27" fmla="*/ 2060246 w 2198359"/>
                <a:gd name="connsiteY27" fmla="*/ 443338 h 2164296"/>
                <a:gd name="connsiteX28" fmla="*/ 2065009 w 2198359"/>
                <a:gd name="connsiteY28" fmla="*/ 457625 h 2164296"/>
                <a:gd name="connsiteX29" fmla="*/ 2074534 w 2198359"/>
                <a:gd name="connsiteY29" fmla="*/ 476675 h 2164296"/>
                <a:gd name="connsiteX30" fmla="*/ 2093584 w 2198359"/>
                <a:gd name="connsiteY30" fmla="*/ 548113 h 2164296"/>
                <a:gd name="connsiteX31" fmla="*/ 2107871 w 2198359"/>
                <a:gd name="connsiteY31" fmla="*/ 610025 h 2164296"/>
                <a:gd name="connsiteX32" fmla="*/ 2112634 w 2198359"/>
                <a:gd name="connsiteY32" fmla="*/ 914825 h 2164296"/>
                <a:gd name="connsiteX33" fmla="*/ 2150734 w 2198359"/>
                <a:gd name="connsiteY33" fmla="*/ 1086275 h 2164296"/>
                <a:gd name="connsiteX34" fmla="*/ 2155496 w 2198359"/>
                <a:gd name="connsiteY34" fmla="*/ 1148188 h 2164296"/>
                <a:gd name="connsiteX35" fmla="*/ 2169784 w 2198359"/>
                <a:gd name="connsiteY35" fmla="*/ 1191050 h 2164296"/>
                <a:gd name="connsiteX36" fmla="*/ 2174546 w 2198359"/>
                <a:gd name="connsiteY36" fmla="*/ 1224388 h 2164296"/>
                <a:gd name="connsiteX37" fmla="*/ 2193596 w 2198359"/>
                <a:gd name="connsiteY37" fmla="*/ 1276775 h 2164296"/>
                <a:gd name="connsiteX38" fmla="*/ 2198359 w 2198359"/>
                <a:gd name="connsiteY38" fmla="*/ 1300588 h 2164296"/>
                <a:gd name="connsiteX39" fmla="*/ 2193596 w 2198359"/>
                <a:gd name="connsiteY39" fmla="*/ 1514900 h 2164296"/>
                <a:gd name="connsiteX40" fmla="*/ 2184071 w 2198359"/>
                <a:gd name="connsiteY40" fmla="*/ 1529188 h 2164296"/>
                <a:gd name="connsiteX41" fmla="*/ 2174546 w 2198359"/>
                <a:gd name="connsiteY41" fmla="*/ 1562525 h 2164296"/>
                <a:gd name="connsiteX42" fmla="*/ 2165021 w 2198359"/>
                <a:gd name="connsiteY42" fmla="*/ 1576813 h 2164296"/>
                <a:gd name="connsiteX43" fmla="*/ 2160259 w 2198359"/>
                <a:gd name="connsiteY43" fmla="*/ 1600625 h 2164296"/>
                <a:gd name="connsiteX44" fmla="*/ 2145971 w 2198359"/>
                <a:gd name="connsiteY44" fmla="*/ 1614913 h 2164296"/>
                <a:gd name="connsiteX45" fmla="*/ 2136446 w 2198359"/>
                <a:gd name="connsiteY45" fmla="*/ 1629200 h 2164296"/>
                <a:gd name="connsiteX46" fmla="*/ 2107871 w 2198359"/>
                <a:gd name="connsiteY46" fmla="*/ 1657775 h 2164296"/>
                <a:gd name="connsiteX47" fmla="*/ 2079296 w 2198359"/>
                <a:gd name="connsiteY47" fmla="*/ 1686350 h 2164296"/>
                <a:gd name="connsiteX48" fmla="*/ 2069771 w 2198359"/>
                <a:gd name="connsiteY48" fmla="*/ 1700638 h 2164296"/>
                <a:gd name="connsiteX49" fmla="*/ 2055484 w 2198359"/>
                <a:gd name="connsiteY49" fmla="*/ 1710163 h 2164296"/>
                <a:gd name="connsiteX50" fmla="*/ 2031671 w 2198359"/>
                <a:gd name="connsiteY50" fmla="*/ 1724450 h 2164296"/>
                <a:gd name="connsiteX51" fmla="*/ 2007859 w 2198359"/>
                <a:gd name="connsiteY51" fmla="*/ 1743500 h 2164296"/>
                <a:gd name="connsiteX52" fmla="*/ 1936421 w 2198359"/>
                <a:gd name="connsiteY52" fmla="*/ 1772075 h 2164296"/>
                <a:gd name="connsiteX53" fmla="*/ 1917371 w 2198359"/>
                <a:gd name="connsiteY53" fmla="*/ 1786363 h 2164296"/>
                <a:gd name="connsiteX54" fmla="*/ 1869746 w 2198359"/>
                <a:gd name="connsiteY54" fmla="*/ 1814938 h 2164296"/>
                <a:gd name="connsiteX55" fmla="*/ 1855459 w 2198359"/>
                <a:gd name="connsiteY55" fmla="*/ 1833988 h 2164296"/>
                <a:gd name="connsiteX56" fmla="*/ 1803071 w 2198359"/>
                <a:gd name="connsiteY56" fmla="*/ 1862563 h 2164296"/>
                <a:gd name="connsiteX57" fmla="*/ 1660197 w 2198359"/>
                <a:gd name="connsiteY57" fmla="*/ 1891137 h 2164296"/>
                <a:gd name="connsiteX58" fmla="*/ 1412546 w 2198359"/>
                <a:gd name="connsiteY58" fmla="*/ 2014962 h 2164296"/>
                <a:gd name="connsiteX59" fmla="*/ 1360159 w 2198359"/>
                <a:gd name="connsiteY59" fmla="*/ 2053063 h 2164296"/>
                <a:gd name="connsiteX60" fmla="*/ 1345871 w 2198359"/>
                <a:gd name="connsiteY60" fmla="*/ 2062588 h 2164296"/>
                <a:gd name="connsiteX61" fmla="*/ 1307771 w 2198359"/>
                <a:gd name="connsiteY61" fmla="*/ 2072113 h 2164296"/>
                <a:gd name="connsiteX62" fmla="*/ 1283959 w 2198359"/>
                <a:gd name="connsiteY62" fmla="*/ 2086400 h 2164296"/>
                <a:gd name="connsiteX63" fmla="*/ 1231571 w 2198359"/>
                <a:gd name="connsiteY63" fmla="*/ 2100688 h 2164296"/>
                <a:gd name="connsiteX64" fmla="*/ 1188709 w 2198359"/>
                <a:gd name="connsiteY64" fmla="*/ 2119738 h 2164296"/>
                <a:gd name="connsiteX65" fmla="*/ 1169659 w 2198359"/>
                <a:gd name="connsiteY65" fmla="*/ 2134025 h 2164296"/>
                <a:gd name="connsiteX66" fmla="*/ 1098221 w 2198359"/>
                <a:gd name="connsiteY66" fmla="*/ 2148313 h 2164296"/>
                <a:gd name="connsiteX67" fmla="*/ 1069646 w 2198359"/>
                <a:gd name="connsiteY67" fmla="*/ 2162600 h 2164296"/>
                <a:gd name="connsiteX68" fmla="*/ 936296 w 2198359"/>
                <a:gd name="connsiteY68" fmla="*/ 2157838 h 2164296"/>
                <a:gd name="connsiteX69" fmla="*/ 826759 w 2198359"/>
                <a:gd name="connsiteY69" fmla="*/ 2105450 h 2164296"/>
                <a:gd name="connsiteX70" fmla="*/ 788659 w 2198359"/>
                <a:gd name="connsiteY70" fmla="*/ 2091163 h 2164296"/>
                <a:gd name="connsiteX71" fmla="*/ 741034 w 2198359"/>
                <a:gd name="connsiteY71" fmla="*/ 2062588 h 2164296"/>
                <a:gd name="connsiteX72" fmla="*/ 683884 w 2198359"/>
                <a:gd name="connsiteY72" fmla="*/ 2038775 h 2164296"/>
                <a:gd name="connsiteX73" fmla="*/ 650546 w 2198359"/>
                <a:gd name="connsiteY73" fmla="*/ 2005438 h 2164296"/>
                <a:gd name="connsiteX74" fmla="*/ 612446 w 2198359"/>
                <a:gd name="connsiteY74" fmla="*/ 1976863 h 2164296"/>
                <a:gd name="connsiteX75" fmla="*/ 598159 w 2198359"/>
                <a:gd name="connsiteY75" fmla="*/ 1957813 h 2164296"/>
                <a:gd name="connsiteX76" fmla="*/ 583871 w 2198359"/>
                <a:gd name="connsiteY76" fmla="*/ 1934000 h 2164296"/>
                <a:gd name="connsiteX77" fmla="*/ 550534 w 2198359"/>
                <a:gd name="connsiteY77" fmla="*/ 1895900 h 2164296"/>
                <a:gd name="connsiteX78" fmla="*/ 407659 w 2198359"/>
                <a:gd name="connsiteY78" fmla="*/ 1705400 h 2164296"/>
                <a:gd name="connsiteX79" fmla="*/ 393371 w 2198359"/>
                <a:gd name="connsiteY79" fmla="*/ 1686350 h 2164296"/>
                <a:gd name="connsiteX80" fmla="*/ 374321 w 2198359"/>
                <a:gd name="connsiteY80" fmla="*/ 1657775 h 2164296"/>
                <a:gd name="connsiteX81" fmla="*/ 317171 w 2198359"/>
                <a:gd name="connsiteY81" fmla="*/ 1600625 h 2164296"/>
                <a:gd name="connsiteX82" fmla="*/ 293359 w 2198359"/>
                <a:gd name="connsiteY82" fmla="*/ 1576813 h 2164296"/>
                <a:gd name="connsiteX83" fmla="*/ 279071 w 2198359"/>
                <a:gd name="connsiteY83" fmla="*/ 1562525 h 2164296"/>
                <a:gd name="connsiteX84" fmla="*/ 240971 w 2198359"/>
                <a:gd name="connsiteY84" fmla="*/ 1538713 h 2164296"/>
                <a:gd name="connsiteX85" fmla="*/ 217159 w 2198359"/>
                <a:gd name="connsiteY85" fmla="*/ 1510138 h 2164296"/>
                <a:gd name="connsiteX86" fmla="*/ 193346 w 2198359"/>
                <a:gd name="connsiteY86" fmla="*/ 1491088 h 2164296"/>
                <a:gd name="connsiteX87" fmla="*/ 174296 w 2198359"/>
                <a:gd name="connsiteY87" fmla="*/ 1462513 h 2164296"/>
                <a:gd name="connsiteX88" fmla="*/ 150484 w 2198359"/>
                <a:gd name="connsiteY88" fmla="*/ 1438700 h 2164296"/>
                <a:gd name="connsiteX89" fmla="*/ 140959 w 2198359"/>
                <a:gd name="connsiteY89" fmla="*/ 1424413 h 2164296"/>
                <a:gd name="connsiteX90" fmla="*/ 121909 w 2198359"/>
                <a:gd name="connsiteY90" fmla="*/ 1405363 h 2164296"/>
                <a:gd name="connsiteX91" fmla="*/ 102859 w 2198359"/>
                <a:gd name="connsiteY91" fmla="*/ 1376788 h 2164296"/>
                <a:gd name="connsiteX92" fmla="*/ 88571 w 2198359"/>
                <a:gd name="connsiteY92" fmla="*/ 1362500 h 2164296"/>
                <a:gd name="connsiteX93" fmla="*/ 79046 w 2198359"/>
                <a:gd name="connsiteY93" fmla="*/ 1348213 h 2164296"/>
                <a:gd name="connsiteX94" fmla="*/ 64759 w 2198359"/>
                <a:gd name="connsiteY94" fmla="*/ 1329163 h 2164296"/>
                <a:gd name="connsiteX95" fmla="*/ 59996 w 2198359"/>
                <a:gd name="connsiteY95" fmla="*/ 1305350 h 2164296"/>
                <a:gd name="connsiteX96" fmla="*/ 31421 w 2198359"/>
                <a:gd name="connsiteY96" fmla="*/ 991025 h 2164296"/>
                <a:gd name="connsiteX97" fmla="*/ 69521 w 2198359"/>
                <a:gd name="connsiteY97" fmla="*/ 929113 h 2164296"/>
                <a:gd name="connsiteX98" fmla="*/ 93334 w 2198359"/>
                <a:gd name="connsiteY98" fmla="*/ 891013 h 2164296"/>
                <a:gd name="connsiteX99" fmla="*/ 112384 w 2198359"/>
                <a:gd name="connsiteY99" fmla="*/ 848150 h 2164296"/>
                <a:gd name="connsiteX100" fmla="*/ 174296 w 2198359"/>
                <a:gd name="connsiteY100" fmla="*/ 733850 h 2164296"/>
                <a:gd name="connsiteX101" fmla="*/ 236209 w 2198359"/>
                <a:gd name="connsiteY101" fmla="*/ 610025 h 2164296"/>
                <a:gd name="connsiteX102" fmla="*/ 240971 w 2198359"/>
                <a:gd name="connsiteY102" fmla="*/ 581450 h 2164296"/>
                <a:gd name="connsiteX103" fmla="*/ 264784 w 2198359"/>
                <a:gd name="connsiteY103" fmla="*/ 538588 h 2164296"/>
                <a:gd name="connsiteX104" fmla="*/ 279071 w 2198359"/>
                <a:gd name="connsiteY104" fmla="*/ 500488 h 2164296"/>
                <a:gd name="connsiteX105" fmla="*/ 293359 w 2198359"/>
                <a:gd name="connsiteY105" fmla="*/ 471913 h 2164296"/>
                <a:gd name="connsiteX106" fmla="*/ 302884 w 2198359"/>
                <a:gd name="connsiteY106" fmla="*/ 443338 h 2164296"/>
                <a:gd name="connsiteX107" fmla="*/ 312409 w 2198359"/>
                <a:gd name="connsiteY107" fmla="*/ 429050 h 2164296"/>
                <a:gd name="connsiteX108" fmla="*/ 321934 w 2198359"/>
                <a:gd name="connsiteY108" fmla="*/ 405238 h 2164296"/>
                <a:gd name="connsiteX109" fmla="*/ 340984 w 2198359"/>
                <a:gd name="connsiteY109" fmla="*/ 381425 h 2164296"/>
                <a:gd name="connsiteX110" fmla="*/ 360034 w 2198359"/>
                <a:gd name="connsiteY110" fmla="*/ 333800 h 2164296"/>
                <a:gd name="connsiteX111" fmla="*/ 388609 w 2198359"/>
                <a:gd name="connsiteY111" fmla="*/ 290938 h 2164296"/>
                <a:gd name="connsiteX112" fmla="*/ 412421 w 2198359"/>
                <a:gd name="connsiteY112" fmla="*/ 248075 h 2164296"/>
                <a:gd name="connsiteX113" fmla="*/ 426709 w 2198359"/>
                <a:gd name="connsiteY113" fmla="*/ 229025 h 2164296"/>
                <a:gd name="connsiteX114" fmla="*/ 450521 w 2198359"/>
                <a:gd name="connsiteY114" fmla="*/ 214738 h 2164296"/>
                <a:gd name="connsiteX115" fmla="*/ 474334 w 2198359"/>
                <a:gd name="connsiteY115" fmla="*/ 190925 h 2164296"/>
                <a:gd name="connsiteX116" fmla="*/ 488621 w 2198359"/>
                <a:gd name="connsiteY116" fmla="*/ 181400 h 2164296"/>
                <a:gd name="connsiteX117" fmla="*/ 521959 w 2198359"/>
                <a:gd name="connsiteY117" fmla="*/ 143300 h 2164296"/>
                <a:gd name="connsiteX118" fmla="*/ 536246 w 2198359"/>
                <a:gd name="connsiteY118" fmla="*/ 133775 h 2164296"/>
                <a:gd name="connsiteX119" fmla="*/ 645784 w 2198359"/>
                <a:gd name="connsiteY119" fmla="*/ 71863 h 2164296"/>
                <a:gd name="connsiteX120" fmla="*/ 660071 w 2198359"/>
                <a:gd name="connsiteY120" fmla="*/ 52813 h 2164296"/>
                <a:gd name="connsiteX121" fmla="*/ 679121 w 2198359"/>
                <a:gd name="connsiteY121" fmla="*/ 48050 h 2164296"/>
                <a:gd name="connsiteX122" fmla="*/ 702934 w 2198359"/>
                <a:gd name="connsiteY122" fmla="*/ 38525 h 2164296"/>
                <a:gd name="connsiteX123" fmla="*/ 745796 w 2198359"/>
                <a:gd name="connsiteY123" fmla="*/ 24238 h 2164296"/>
                <a:gd name="connsiteX124" fmla="*/ 774371 w 2198359"/>
                <a:gd name="connsiteY124" fmla="*/ 14713 h 2164296"/>
                <a:gd name="connsiteX125" fmla="*/ 821996 w 2198359"/>
                <a:gd name="connsiteY125" fmla="*/ 9950 h 2164296"/>
                <a:gd name="connsiteX126" fmla="*/ 893434 w 2198359"/>
                <a:gd name="connsiteY126" fmla="*/ 425 h 2164296"/>
                <a:gd name="connsiteX0" fmla="*/ 827164 w 2198764"/>
                <a:gd name="connsiteY0" fmla="*/ 425 h 2164296"/>
                <a:gd name="connsiteX1" fmla="*/ 979564 w 2198764"/>
                <a:gd name="connsiteY1" fmla="*/ 5188 h 2164296"/>
                <a:gd name="connsiteX2" fmla="*/ 1003376 w 2198764"/>
                <a:gd name="connsiteY2" fmla="*/ 9950 h 2164296"/>
                <a:gd name="connsiteX3" fmla="*/ 1070051 w 2198764"/>
                <a:gd name="connsiteY3" fmla="*/ 19475 h 2164296"/>
                <a:gd name="connsiteX4" fmla="*/ 1098626 w 2198764"/>
                <a:gd name="connsiteY4" fmla="*/ 24238 h 2164296"/>
                <a:gd name="connsiteX5" fmla="*/ 1122439 w 2198764"/>
                <a:gd name="connsiteY5" fmla="*/ 38525 h 2164296"/>
                <a:gd name="connsiteX6" fmla="*/ 1165301 w 2198764"/>
                <a:gd name="connsiteY6" fmla="*/ 48050 h 2164296"/>
                <a:gd name="connsiteX7" fmla="*/ 1184351 w 2198764"/>
                <a:gd name="connsiteY7" fmla="*/ 52813 h 2164296"/>
                <a:gd name="connsiteX8" fmla="*/ 1217689 w 2198764"/>
                <a:gd name="connsiteY8" fmla="*/ 57575 h 2164296"/>
                <a:gd name="connsiteX9" fmla="*/ 1312939 w 2198764"/>
                <a:gd name="connsiteY9" fmla="*/ 71863 h 2164296"/>
                <a:gd name="connsiteX10" fmla="*/ 1484389 w 2198764"/>
                <a:gd name="connsiteY10" fmla="*/ 109963 h 2164296"/>
                <a:gd name="connsiteX11" fmla="*/ 1508201 w 2198764"/>
                <a:gd name="connsiteY11" fmla="*/ 114725 h 2164296"/>
                <a:gd name="connsiteX12" fmla="*/ 1646314 w 2198764"/>
                <a:gd name="connsiteY12" fmla="*/ 124250 h 2164296"/>
                <a:gd name="connsiteX13" fmla="*/ 1679651 w 2198764"/>
                <a:gd name="connsiteY13" fmla="*/ 129013 h 2164296"/>
                <a:gd name="connsiteX14" fmla="*/ 1703464 w 2198764"/>
                <a:gd name="connsiteY14" fmla="*/ 133775 h 2164296"/>
                <a:gd name="connsiteX15" fmla="*/ 1751089 w 2198764"/>
                <a:gd name="connsiteY15" fmla="*/ 138538 h 2164296"/>
                <a:gd name="connsiteX16" fmla="*/ 1789189 w 2198764"/>
                <a:gd name="connsiteY16" fmla="*/ 152825 h 2164296"/>
                <a:gd name="connsiteX17" fmla="*/ 1803476 w 2198764"/>
                <a:gd name="connsiteY17" fmla="*/ 162350 h 2164296"/>
                <a:gd name="connsiteX18" fmla="*/ 1827289 w 2198764"/>
                <a:gd name="connsiteY18" fmla="*/ 167113 h 2164296"/>
                <a:gd name="connsiteX19" fmla="*/ 1851101 w 2198764"/>
                <a:gd name="connsiteY19" fmla="*/ 181400 h 2164296"/>
                <a:gd name="connsiteX20" fmla="*/ 1874914 w 2198764"/>
                <a:gd name="connsiteY20" fmla="*/ 190925 h 2164296"/>
                <a:gd name="connsiteX21" fmla="*/ 1889201 w 2198764"/>
                <a:gd name="connsiteY21" fmla="*/ 205213 h 2164296"/>
                <a:gd name="connsiteX22" fmla="*/ 1922539 w 2198764"/>
                <a:gd name="connsiteY22" fmla="*/ 229025 h 2164296"/>
                <a:gd name="connsiteX23" fmla="*/ 1974926 w 2198764"/>
                <a:gd name="connsiteY23" fmla="*/ 267125 h 2164296"/>
                <a:gd name="connsiteX24" fmla="*/ 1998739 w 2198764"/>
                <a:gd name="connsiteY24" fmla="*/ 295700 h 2164296"/>
                <a:gd name="connsiteX25" fmla="*/ 2032076 w 2198764"/>
                <a:gd name="connsiteY25" fmla="*/ 348088 h 2164296"/>
                <a:gd name="connsiteX26" fmla="*/ 2051126 w 2198764"/>
                <a:gd name="connsiteY26" fmla="*/ 410000 h 2164296"/>
                <a:gd name="connsiteX27" fmla="*/ 2060651 w 2198764"/>
                <a:gd name="connsiteY27" fmla="*/ 443338 h 2164296"/>
                <a:gd name="connsiteX28" fmla="*/ 2065414 w 2198764"/>
                <a:gd name="connsiteY28" fmla="*/ 457625 h 2164296"/>
                <a:gd name="connsiteX29" fmla="*/ 2074939 w 2198764"/>
                <a:gd name="connsiteY29" fmla="*/ 476675 h 2164296"/>
                <a:gd name="connsiteX30" fmla="*/ 2093989 w 2198764"/>
                <a:gd name="connsiteY30" fmla="*/ 548113 h 2164296"/>
                <a:gd name="connsiteX31" fmla="*/ 2108276 w 2198764"/>
                <a:gd name="connsiteY31" fmla="*/ 610025 h 2164296"/>
                <a:gd name="connsiteX32" fmla="*/ 2113039 w 2198764"/>
                <a:gd name="connsiteY32" fmla="*/ 914825 h 2164296"/>
                <a:gd name="connsiteX33" fmla="*/ 2151139 w 2198764"/>
                <a:gd name="connsiteY33" fmla="*/ 1086275 h 2164296"/>
                <a:gd name="connsiteX34" fmla="*/ 2155901 w 2198764"/>
                <a:gd name="connsiteY34" fmla="*/ 1148188 h 2164296"/>
                <a:gd name="connsiteX35" fmla="*/ 2170189 w 2198764"/>
                <a:gd name="connsiteY35" fmla="*/ 1191050 h 2164296"/>
                <a:gd name="connsiteX36" fmla="*/ 2174951 w 2198764"/>
                <a:gd name="connsiteY36" fmla="*/ 1224388 h 2164296"/>
                <a:gd name="connsiteX37" fmla="*/ 2194001 w 2198764"/>
                <a:gd name="connsiteY37" fmla="*/ 1276775 h 2164296"/>
                <a:gd name="connsiteX38" fmla="*/ 2198764 w 2198764"/>
                <a:gd name="connsiteY38" fmla="*/ 1300588 h 2164296"/>
                <a:gd name="connsiteX39" fmla="*/ 2194001 w 2198764"/>
                <a:gd name="connsiteY39" fmla="*/ 1514900 h 2164296"/>
                <a:gd name="connsiteX40" fmla="*/ 2184476 w 2198764"/>
                <a:gd name="connsiteY40" fmla="*/ 1529188 h 2164296"/>
                <a:gd name="connsiteX41" fmla="*/ 2174951 w 2198764"/>
                <a:gd name="connsiteY41" fmla="*/ 1562525 h 2164296"/>
                <a:gd name="connsiteX42" fmla="*/ 2165426 w 2198764"/>
                <a:gd name="connsiteY42" fmla="*/ 1576813 h 2164296"/>
                <a:gd name="connsiteX43" fmla="*/ 2160664 w 2198764"/>
                <a:gd name="connsiteY43" fmla="*/ 1600625 h 2164296"/>
                <a:gd name="connsiteX44" fmla="*/ 2146376 w 2198764"/>
                <a:gd name="connsiteY44" fmla="*/ 1614913 h 2164296"/>
                <a:gd name="connsiteX45" fmla="*/ 2136851 w 2198764"/>
                <a:gd name="connsiteY45" fmla="*/ 1629200 h 2164296"/>
                <a:gd name="connsiteX46" fmla="*/ 2108276 w 2198764"/>
                <a:gd name="connsiteY46" fmla="*/ 1657775 h 2164296"/>
                <a:gd name="connsiteX47" fmla="*/ 2079701 w 2198764"/>
                <a:gd name="connsiteY47" fmla="*/ 1686350 h 2164296"/>
                <a:gd name="connsiteX48" fmla="*/ 2070176 w 2198764"/>
                <a:gd name="connsiteY48" fmla="*/ 1700638 h 2164296"/>
                <a:gd name="connsiteX49" fmla="*/ 2055889 w 2198764"/>
                <a:gd name="connsiteY49" fmla="*/ 1710163 h 2164296"/>
                <a:gd name="connsiteX50" fmla="*/ 2032076 w 2198764"/>
                <a:gd name="connsiteY50" fmla="*/ 1724450 h 2164296"/>
                <a:gd name="connsiteX51" fmla="*/ 2008264 w 2198764"/>
                <a:gd name="connsiteY51" fmla="*/ 1743500 h 2164296"/>
                <a:gd name="connsiteX52" fmla="*/ 1936826 w 2198764"/>
                <a:gd name="connsiteY52" fmla="*/ 1772075 h 2164296"/>
                <a:gd name="connsiteX53" fmla="*/ 1917776 w 2198764"/>
                <a:gd name="connsiteY53" fmla="*/ 1786363 h 2164296"/>
                <a:gd name="connsiteX54" fmla="*/ 1870151 w 2198764"/>
                <a:gd name="connsiteY54" fmla="*/ 1814938 h 2164296"/>
                <a:gd name="connsiteX55" fmla="*/ 1855864 w 2198764"/>
                <a:gd name="connsiteY55" fmla="*/ 1833988 h 2164296"/>
                <a:gd name="connsiteX56" fmla="*/ 1803476 w 2198764"/>
                <a:gd name="connsiteY56" fmla="*/ 1862563 h 2164296"/>
                <a:gd name="connsiteX57" fmla="*/ 1660602 w 2198764"/>
                <a:gd name="connsiteY57" fmla="*/ 1891137 h 2164296"/>
                <a:gd name="connsiteX58" fmla="*/ 1412951 w 2198764"/>
                <a:gd name="connsiteY58" fmla="*/ 2014962 h 2164296"/>
                <a:gd name="connsiteX59" fmla="*/ 1360564 w 2198764"/>
                <a:gd name="connsiteY59" fmla="*/ 2053063 h 2164296"/>
                <a:gd name="connsiteX60" fmla="*/ 1346276 w 2198764"/>
                <a:gd name="connsiteY60" fmla="*/ 2062588 h 2164296"/>
                <a:gd name="connsiteX61" fmla="*/ 1308176 w 2198764"/>
                <a:gd name="connsiteY61" fmla="*/ 2072113 h 2164296"/>
                <a:gd name="connsiteX62" fmla="*/ 1284364 w 2198764"/>
                <a:gd name="connsiteY62" fmla="*/ 2086400 h 2164296"/>
                <a:gd name="connsiteX63" fmla="*/ 1231976 w 2198764"/>
                <a:gd name="connsiteY63" fmla="*/ 2100688 h 2164296"/>
                <a:gd name="connsiteX64" fmla="*/ 1189114 w 2198764"/>
                <a:gd name="connsiteY64" fmla="*/ 2119738 h 2164296"/>
                <a:gd name="connsiteX65" fmla="*/ 1170064 w 2198764"/>
                <a:gd name="connsiteY65" fmla="*/ 2134025 h 2164296"/>
                <a:gd name="connsiteX66" fmla="*/ 1098626 w 2198764"/>
                <a:gd name="connsiteY66" fmla="*/ 2148313 h 2164296"/>
                <a:gd name="connsiteX67" fmla="*/ 1070051 w 2198764"/>
                <a:gd name="connsiteY67" fmla="*/ 2162600 h 2164296"/>
                <a:gd name="connsiteX68" fmla="*/ 936701 w 2198764"/>
                <a:gd name="connsiteY68" fmla="*/ 2157838 h 2164296"/>
                <a:gd name="connsiteX69" fmla="*/ 827164 w 2198764"/>
                <a:gd name="connsiteY69" fmla="*/ 2105450 h 2164296"/>
                <a:gd name="connsiteX70" fmla="*/ 789064 w 2198764"/>
                <a:gd name="connsiteY70" fmla="*/ 2091163 h 2164296"/>
                <a:gd name="connsiteX71" fmla="*/ 741439 w 2198764"/>
                <a:gd name="connsiteY71" fmla="*/ 2062588 h 2164296"/>
                <a:gd name="connsiteX72" fmla="*/ 684289 w 2198764"/>
                <a:gd name="connsiteY72" fmla="*/ 2038775 h 2164296"/>
                <a:gd name="connsiteX73" fmla="*/ 650951 w 2198764"/>
                <a:gd name="connsiteY73" fmla="*/ 2005438 h 2164296"/>
                <a:gd name="connsiteX74" fmla="*/ 612851 w 2198764"/>
                <a:gd name="connsiteY74" fmla="*/ 1976863 h 2164296"/>
                <a:gd name="connsiteX75" fmla="*/ 598564 w 2198764"/>
                <a:gd name="connsiteY75" fmla="*/ 1957813 h 2164296"/>
                <a:gd name="connsiteX76" fmla="*/ 584276 w 2198764"/>
                <a:gd name="connsiteY76" fmla="*/ 1934000 h 2164296"/>
                <a:gd name="connsiteX77" fmla="*/ 550939 w 2198764"/>
                <a:gd name="connsiteY77" fmla="*/ 1895900 h 2164296"/>
                <a:gd name="connsiteX78" fmla="*/ 408064 w 2198764"/>
                <a:gd name="connsiteY78" fmla="*/ 1705400 h 2164296"/>
                <a:gd name="connsiteX79" fmla="*/ 393776 w 2198764"/>
                <a:gd name="connsiteY79" fmla="*/ 1686350 h 2164296"/>
                <a:gd name="connsiteX80" fmla="*/ 374726 w 2198764"/>
                <a:gd name="connsiteY80" fmla="*/ 1657775 h 2164296"/>
                <a:gd name="connsiteX81" fmla="*/ 317576 w 2198764"/>
                <a:gd name="connsiteY81" fmla="*/ 1600625 h 2164296"/>
                <a:gd name="connsiteX82" fmla="*/ 293764 w 2198764"/>
                <a:gd name="connsiteY82" fmla="*/ 1576813 h 2164296"/>
                <a:gd name="connsiteX83" fmla="*/ 279476 w 2198764"/>
                <a:gd name="connsiteY83" fmla="*/ 1562525 h 2164296"/>
                <a:gd name="connsiteX84" fmla="*/ 241376 w 2198764"/>
                <a:gd name="connsiteY84" fmla="*/ 1538713 h 2164296"/>
                <a:gd name="connsiteX85" fmla="*/ 217564 w 2198764"/>
                <a:gd name="connsiteY85" fmla="*/ 1510138 h 2164296"/>
                <a:gd name="connsiteX86" fmla="*/ 193751 w 2198764"/>
                <a:gd name="connsiteY86" fmla="*/ 1491088 h 2164296"/>
                <a:gd name="connsiteX87" fmla="*/ 174701 w 2198764"/>
                <a:gd name="connsiteY87" fmla="*/ 1462513 h 2164296"/>
                <a:gd name="connsiteX88" fmla="*/ 150889 w 2198764"/>
                <a:gd name="connsiteY88" fmla="*/ 1438700 h 2164296"/>
                <a:gd name="connsiteX89" fmla="*/ 141364 w 2198764"/>
                <a:gd name="connsiteY89" fmla="*/ 1424413 h 2164296"/>
                <a:gd name="connsiteX90" fmla="*/ 122314 w 2198764"/>
                <a:gd name="connsiteY90" fmla="*/ 1405363 h 2164296"/>
                <a:gd name="connsiteX91" fmla="*/ 103264 w 2198764"/>
                <a:gd name="connsiteY91" fmla="*/ 1376788 h 2164296"/>
                <a:gd name="connsiteX92" fmla="*/ 88976 w 2198764"/>
                <a:gd name="connsiteY92" fmla="*/ 1362500 h 2164296"/>
                <a:gd name="connsiteX93" fmla="*/ 79451 w 2198764"/>
                <a:gd name="connsiteY93" fmla="*/ 1348213 h 2164296"/>
                <a:gd name="connsiteX94" fmla="*/ 60401 w 2198764"/>
                <a:gd name="connsiteY94" fmla="*/ 1305350 h 2164296"/>
                <a:gd name="connsiteX95" fmla="*/ 31826 w 2198764"/>
                <a:gd name="connsiteY95" fmla="*/ 991025 h 2164296"/>
                <a:gd name="connsiteX96" fmla="*/ 69926 w 2198764"/>
                <a:gd name="connsiteY96" fmla="*/ 929113 h 2164296"/>
                <a:gd name="connsiteX97" fmla="*/ 93739 w 2198764"/>
                <a:gd name="connsiteY97" fmla="*/ 891013 h 2164296"/>
                <a:gd name="connsiteX98" fmla="*/ 112789 w 2198764"/>
                <a:gd name="connsiteY98" fmla="*/ 848150 h 2164296"/>
                <a:gd name="connsiteX99" fmla="*/ 174701 w 2198764"/>
                <a:gd name="connsiteY99" fmla="*/ 733850 h 2164296"/>
                <a:gd name="connsiteX100" fmla="*/ 236614 w 2198764"/>
                <a:gd name="connsiteY100" fmla="*/ 610025 h 2164296"/>
                <a:gd name="connsiteX101" fmla="*/ 241376 w 2198764"/>
                <a:gd name="connsiteY101" fmla="*/ 581450 h 2164296"/>
                <a:gd name="connsiteX102" fmla="*/ 265189 w 2198764"/>
                <a:gd name="connsiteY102" fmla="*/ 538588 h 2164296"/>
                <a:gd name="connsiteX103" fmla="*/ 279476 w 2198764"/>
                <a:gd name="connsiteY103" fmla="*/ 500488 h 2164296"/>
                <a:gd name="connsiteX104" fmla="*/ 293764 w 2198764"/>
                <a:gd name="connsiteY104" fmla="*/ 471913 h 2164296"/>
                <a:gd name="connsiteX105" fmla="*/ 303289 w 2198764"/>
                <a:gd name="connsiteY105" fmla="*/ 443338 h 2164296"/>
                <a:gd name="connsiteX106" fmla="*/ 312814 w 2198764"/>
                <a:gd name="connsiteY106" fmla="*/ 429050 h 2164296"/>
                <a:gd name="connsiteX107" fmla="*/ 322339 w 2198764"/>
                <a:gd name="connsiteY107" fmla="*/ 405238 h 2164296"/>
                <a:gd name="connsiteX108" fmla="*/ 341389 w 2198764"/>
                <a:gd name="connsiteY108" fmla="*/ 381425 h 2164296"/>
                <a:gd name="connsiteX109" fmla="*/ 360439 w 2198764"/>
                <a:gd name="connsiteY109" fmla="*/ 333800 h 2164296"/>
                <a:gd name="connsiteX110" fmla="*/ 389014 w 2198764"/>
                <a:gd name="connsiteY110" fmla="*/ 290938 h 2164296"/>
                <a:gd name="connsiteX111" fmla="*/ 412826 w 2198764"/>
                <a:gd name="connsiteY111" fmla="*/ 248075 h 2164296"/>
                <a:gd name="connsiteX112" fmla="*/ 427114 w 2198764"/>
                <a:gd name="connsiteY112" fmla="*/ 229025 h 2164296"/>
                <a:gd name="connsiteX113" fmla="*/ 450926 w 2198764"/>
                <a:gd name="connsiteY113" fmla="*/ 214738 h 2164296"/>
                <a:gd name="connsiteX114" fmla="*/ 474739 w 2198764"/>
                <a:gd name="connsiteY114" fmla="*/ 190925 h 2164296"/>
                <a:gd name="connsiteX115" fmla="*/ 489026 w 2198764"/>
                <a:gd name="connsiteY115" fmla="*/ 181400 h 2164296"/>
                <a:gd name="connsiteX116" fmla="*/ 522364 w 2198764"/>
                <a:gd name="connsiteY116" fmla="*/ 143300 h 2164296"/>
                <a:gd name="connsiteX117" fmla="*/ 536651 w 2198764"/>
                <a:gd name="connsiteY117" fmla="*/ 133775 h 2164296"/>
                <a:gd name="connsiteX118" fmla="*/ 646189 w 2198764"/>
                <a:gd name="connsiteY118" fmla="*/ 71863 h 2164296"/>
                <a:gd name="connsiteX119" fmla="*/ 660476 w 2198764"/>
                <a:gd name="connsiteY119" fmla="*/ 52813 h 2164296"/>
                <a:gd name="connsiteX120" fmla="*/ 679526 w 2198764"/>
                <a:gd name="connsiteY120" fmla="*/ 48050 h 2164296"/>
                <a:gd name="connsiteX121" fmla="*/ 703339 w 2198764"/>
                <a:gd name="connsiteY121" fmla="*/ 38525 h 2164296"/>
                <a:gd name="connsiteX122" fmla="*/ 746201 w 2198764"/>
                <a:gd name="connsiteY122" fmla="*/ 24238 h 2164296"/>
                <a:gd name="connsiteX123" fmla="*/ 774776 w 2198764"/>
                <a:gd name="connsiteY123" fmla="*/ 14713 h 2164296"/>
                <a:gd name="connsiteX124" fmla="*/ 822401 w 2198764"/>
                <a:gd name="connsiteY124" fmla="*/ 9950 h 2164296"/>
                <a:gd name="connsiteX125" fmla="*/ 893839 w 2198764"/>
                <a:gd name="connsiteY125" fmla="*/ 425 h 2164296"/>
                <a:gd name="connsiteX0" fmla="*/ 831710 w 2203310"/>
                <a:gd name="connsiteY0" fmla="*/ 425 h 2164296"/>
                <a:gd name="connsiteX1" fmla="*/ 984110 w 2203310"/>
                <a:gd name="connsiteY1" fmla="*/ 5188 h 2164296"/>
                <a:gd name="connsiteX2" fmla="*/ 1007922 w 2203310"/>
                <a:gd name="connsiteY2" fmla="*/ 9950 h 2164296"/>
                <a:gd name="connsiteX3" fmla="*/ 1074597 w 2203310"/>
                <a:gd name="connsiteY3" fmla="*/ 19475 h 2164296"/>
                <a:gd name="connsiteX4" fmla="*/ 1103172 w 2203310"/>
                <a:gd name="connsiteY4" fmla="*/ 24238 h 2164296"/>
                <a:gd name="connsiteX5" fmla="*/ 1126985 w 2203310"/>
                <a:gd name="connsiteY5" fmla="*/ 38525 h 2164296"/>
                <a:gd name="connsiteX6" fmla="*/ 1169847 w 2203310"/>
                <a:gd name="connsiteY6" fmla="*/ 48050 h 2164296"/>
                <a:gd name="connsiteX7" fmla="*/ 1188897 w 2203310"/>
                <a:gd name="connsiteY7" fmla="*/ 52813 h 2164296"/>
                <a:gd name="connsiteX8" fmla="*/ 1222235 w 2203310"/>
                <a:gd name="connsiteY8" fmla="*/ 57575 h 2164296"/>
                <a:gd name="connsiteX9" fmla="*/ 1317485 w 2203310"/>
                <a:gd name="connsiteY9" fmla="*/ 71863 h 2164296"/>
                <a:gd name="connsiteX10" fmla="*/ 1488935 w 2203310"/>
                <a:gd name="connsiteY10" fmla="*/ 109963 h 2164296"/>
                <a:gd name="connsiteX11" fmla="*/ 1512747 w 2203310"/>
                <a:gd name="connsiteY11" fmla="*/ 114725 h 2164296"/>
                <a:gd name="connsiteX12" fmla="*/ 1650860 w 2203310"/>
                <a:gd name="connsiteY12" fmla="*/ 124250 h 2164296"/>
                <a:gd name="connsiteX13" fmla="*/ 1684197 w 2203310"/>
                <a:gd name="connsiteY13" fmla="*/ 129013 h 2164296"/>
                <a:gd name="connsiteX14" fmla="*/ 1708010 w 2203310"/>
                <a:gd name="connsiteY14" fmla="*/ 133775 h 2164296"/>
                <a:gd name="connsiteX15" fmla="*/ 1755635 w 2203310"/>
                <a:gd name="connsiteY15" fmla="*/ 138538 h 2164296"/>
                <a:gd name="connsiteX16" fmla="*/ 1793735 w 2203310"/>
                <a:gd name="connsiteY16" fmla="*/ 152825 h 2164296"/>
                <a:gd name="connsiteX17" fmla="*/ 1808022 w 2203310"/>
                <a:gd name="connsiteY17" fmla="*/ 162350 h 2164296"/>
                <a:gd name="connsiteX18" fmla="*/ 1831835 w 2203310"/>
                <a:gd name="connsiteY18" fmla="*/ 167113 h 2164296"/>
                <a:gd name="connsiteX19" fmla="*/ 1855647 w 2203310"/>
                <a:gd name="connsiteY19" fmla="*/ 181400 h 2164296"/>
                <a:gd name="connsiteX20" fmla="*/ 1879460 w 2203310"/>
                <a:gd name="connsiteY20" fmla="*/ 190925 h 2164296"/>
                <a:gd name="connsiteX21" fmla="*/ 1893747 w 2203310"/>
                <a:gd name="connsiteY21" fmla="*/ 205213 h 2164296"/>
                <a:gd name="connsiteX22" fmla="*/ 1927085 w 2203310"/>
                <a:gd name="connsiteY22" fmla="*/ 229025 h 2164296"/>
                <a:gd name="connsiteX23" fmla="*/ 1979472 w 2203310"/>
                <a:gd name="connsiteY23" fmla="*/ 267125 h 2164296"/>
                <a:gd name="connsiteX24" fmla="*/ 2003285 w 2203310"/>
                <a:gd name="connsiteY24" fmla="*/ 295700 h 2164296"/>
                <a:gd name="connsiteX25" fmla="*/ 2036622 w 2203310"/>
                <a:gd name="connsiteY25" fmla="*/ 348088 h 2164296"/>
                <a:gd name="connsiteX26" fmla="*/ 2055672 w 2203310"/>
                <a:gd name="connsiteY26" fmla="*/ 410000 h 2164296"/>
                <a:gd name="connsiteX27" fmla="*/ 2065197 w 2203310"/>
                <a:gd name="connsiteY27" fmla="*/ 443338 h 2164296"/>
                <a:gd name="connsiteX28" fmla="*/ 2069960 w 2203310"/>
                <a:gd name="connsiteY28" fmla="*/ 457625 h 2164296"/>
                <a:gd name="connsiteX29" fmla="*/ 2079485 w 2203310"/>
                <a:gd name="connsiteY29" fmla="*/ 476675 h 2164296"/>
                <a:gd name="connsiteX30" fmla="*/ 2098535 w 2203310"/>
                <a:gd name="connsiteY30" fmla="*/ 548113 h 2164296"/>
                <a:gd name="connsiteX31" fmla="*/ 2112822 w 2203310"/>
                <a:gd name="connsiteY31" fmla="*/ 610025 h 2164296"/>
                <a:gd name="connsiteX32" fmla="*/ 2117585 w 2203310"/>
                <a:gd name="connsiteY32" fmla="*/ 914825 h 2164296"/>
                <a:gd name="connsiteX33" fmla="*/ 2155685 w 2203310"/>
                <a:gd name="connsiteY33" fmla="*/ 1086275 h 2164296"/>
                <a:gd name="connsiteX34" fmla="*/ 2160447 w 2203310"/>
                <a:gd name="connsiteY34" fmla="*/ 1148188 h 2164296"/>
                <a:gd name="connsiteX35" fmla="*/ 2174735 w 2203310"/>
                <a:gd name="connsiteY35" fmla="*/ 1191050 h 2164296"/>
                <a:gd name="connsiteX36" fmla="*/ 2179497 w 2203310"/>
                <a:gd name="connsiteY36" fmla="*/ 1224388 h 2164296"/>
                <a:gd name="connsiteX37" fmla="*/ 2198547 w 2203310"/>
                <a:gd name="connsiteY37" fmla="*/ 1276775 h 2164296"/>
                <a:gd name="connsiteX38" fmla="*/ 2203310 w 2203310"/>
                <a:gd name="connsiteY38" fmla="*/ 1300588 h 2164296"/>
                <a:gd name="connsiteX39" fmla="*/ 2198547 w 2203310"/>
                <a:gd name="connsiteY39" fmla="*/ 1514900 h 2164296"/>
                <a:gd name="connsiteX40" fmla="*/ 2189022 w 2203310"/>
                <a:gd name="connsiteY40" fmla="*/ 1529188 h 2164296"/>
                <a:gd name="connsiteX41" fmla="*/ 2179497 w 2203310"/>
                <a:gd name="connsiteY41" fmla="*/ 1562525 h 2164296"/>
                <a:gd name="connsiteX42" fmla="*/ 2169972 w 2203310"/>
                <a:gd name="connsiteY42" fmla="*/ 1576813 h 2164296"/>
                <a:gd name="connsiteX43" fmla="*/ 2165210 w 2203310"/>
                <a:gd name="connsiteY43" fmla="*/ 1600625 h 2164296"/>
                <a:gd name="connsiteX44" fmla="*/ 2150922 w 2203310"/>
                <a:gd name="connsiteY44" fmla="*/ 1614913 h 2164296"/>
                <a:gd name="connsiteX45" fmla="*/ 2141397 w 2203310"/>
                <a:gd name="connsiteY45" fmla="*/ 1629200 h 2164296"/>
                <a:gd name="connsiteX46" fmla="*/ 2112822 w 2203310"/>
                <a:gd name="connsiteY46" fmla="*/ 1657775 h 2164296"/>
                <a:gd name="connsiteX47" fmla="*/ 2084247 w 2203310"/>
                <a:gd name="connsiteY47" fmla="*/ 1686350 h 2164296"/>
                <a:gd name="connsiteX48" fmla="*/ 2074722 w 2203310"/>
                <a:gd name="connsiteY48" fmla="*/ 1700638 h 2164296"/>
                <a:gd name="connsiteX49" fmla="*/ 2060435 w 2203310"/>
                <a:gd name="connsiteY49" fmla="*/ 1710163 h 2164296"/>
                <a:gd name="connsiteX50" fmla="*/ 2036622 w 2203310"/>
                <a:gd name="connsiteY50" fmla="*/ 1724450 h 2164296"/>
                <a:gd name="connsiteX51" fmla="*/ 2012810 w 2203310"/>
                <a:gd name="connsiteY51" fmla="*/ 1743500 h 2164296"/>
                <a:gd name="connsiteX52" fmla="*/ 1941372 w 2203310"/>
                <a:gd name="connsiteY52" fmla="*/ 1772075 h 2164296"/>
                <a:gd name="connsiteX53" fmla="*/ 1922322 w 2203310"/>
                <a:gd name="connsiteY53" fmla="*/ 1786363 h 2164296"/>
                <a:gd name="connsiteX54" fmla="*/ 1874697 w 2203310"/>
                <a:gd name="connsiteY54" fmla="*/ 1814938 h 2164296"/>
                <a:gd name="connsiteX55" fmla="*/ 1860410 w 2203310"/>
                <a:gd name="connsiteY55" fmla="*/ 1833988 h 2164296"/>
                <a:gd name="connsiteX56" fmla="*/ 1808022 w 2203310"/>
                <a:gd name="connsiteY56" fmla="*/ 1862563 h 2164296"/>
                <a:gd name="connsiteX57" fmla="*/ 1665148 w 2203310"/>
                <a:gd name="connsiteY57" fmla="*/ 1891137 h 2164296"/>
                <a:gd name="connsiteX58" fmla="*/ 1417497 w 2203310"/>
                <a:gd name="connsiteY58" fmla="*/ 2014962 h 2164296"/>
                <a:gd name="connsiteX59" fmla="*/ 1365110 w 2203310"/>
                <a:gd name="connsiteY59" fmla="*/ 2053063 h 2164296"/>
                <a:gd name="connsiteX60" fmla="*/ 1350822 w 2203310"/>
                <a:gd name="connsiteY60" fmla="*/ 2062588 h 2164296"/>
                <a:gd name="connsiteX61" fmla="*/ 1312722 w 2203310"/>
                <a:gd name="connsiteY61" fmla="*/ 2072113 h 2164296"/>
                <a:gd name="connsiteX62" fmla="*/ 1288910 w 2203310"/>
                <a:gd name="connsiteY62" fmla="*/ 2086400 h 2164296"/>
                <a:gd name="connsiteX63" fmla="*/ 1236522 w 2203310"/>
                <a:gd name="connsiteY63" fmla="*/ 2100688 h 2164296"/>
                <a:gd name="connsiteX64" fmla="*/ 1193660 w 2203310"/>
                <a:gd name="connsiteY64" fmla="*/ 2119738 h 2164296"/>
                <a:gd name="connsiteX65" fmla="*/ 1174610 w 2203310"/>
                <a:gd name="connsiteY65" fmla="*/ 2134025 h 2164296"/>
                <a:gd name="connsiteX66" fmla="*/ 1103172 w 2203310"/>
                <a:gd name="connsiteY66" fmla="*/ 2148313 h 2164296"/>
                <a:gd name="connsiteX67" fmla="*/ 1074597 w 2203310"/>
                <a:gd name="connsiteY67" fmla="*/ 2162600 h 2164296"/>
                <a:gd name="connsiteX68" fmla="*/ 941247 w 2203310"/>
                <a:gd name="connsiteY68" fmla="*/ 2157838 h 2164296"/>
                <a:gd name="connsiteX69" fmla="*/ 831710 w 2203310"/>
                <a:gd name="connsiteY69" fmla="*/ 2105450 h 2164296"/>
                <a:gd name="connsiteX70" fmla="*/ 793610 w 2203310"/>
                <a:gd name="connsiteY70" fmla="*/ 2091163 h 2164296"/>
                <a:gd name="connsiteX71" fmla="*/ 745985 w 2203310"/>
                <a:gd name="connsiteY71" fmla="*/ 2062588 h 2164296"/>
                <a:gd name="connsiteX72" fmla="*/ 688835 w 2203310"/>
                <a:gd name="connsiteY72" fmla="*/ 2038775 h 2164296"/>
                <a:gd name="connsiteX73" fmla="*/ 655497 w 2203310"/>
                <a:gd name="connsiteY73" fmla="*/ 2005438 h 2164296"/>
                <a:gd name="connsiteX74" fmla="*/ 617397 w 2203310"/>
                <a:gd name="connsiteY74" fmla="*/ 1976863 h 2164296"/>
                <a:gd name="connsiteX75" fmla="*/ 603110 w 2203310"/>
                <a:gd name="connsiteY75" fmla="*/ 1957813 h 2164296"/>
                <a:gd name="connsiteX76" fmla="*/ 588822 w 2203310"/>
                <a:gd name="connsiteY76" fmla="*/ 1934000 h 2164296"/>
                <a:gd name="connsiteX77" fmla="*/ 555485 w 2203310"/>
                <a:gd name="connsiteY77" fmla="*/ 1895900 h 2164296"/>
                <a:gd name="connsiteX78" fmla="*/ 412610 w 2203310"/>
                <a:gd name="connsiteY78" fmla="*/ 1705400 h 2164296"/>
                <a:gd name="connsiteX79" fmla="*/ 398322 w 2203310"/>
                <a:gd name="connsiteY79" fmla="*/ 1686350 h 2164296"/>
                <a:gd name="connsiteX80" fmla="*/ 379272 w 2203310"/>
                <a:gd name="connsiteY80" fmla="*/ 1657775 h 2164296"/>
                <a:gd name="connsiteX81" fmla="*/ 322122 w 2203310"/>
                <a:gd name="connsiteY81" fmla="*/ 1600625 h 2164296"/>
                <a:gd name="connsiteX82" fmla="*/ 298310 w 2203310"/>
                <a:gd name="connsiteY82" fmla="*/ 1576813 h 2164296"/>
                <a:gd name="connsiteX83" fmla="*/ 284022 w 2203310"/>
                <a:gd name="connsiteY83" fmla="*/ 1562525 h 2164296"/>
                <a:gd name="connsiteX84" fmla="*/ 245922 w 2203310"/>
                <a:gd name="connsiteY84" fmla="*/ 1538713 h 2164296"/>
                <a:gd name="connsiteX85" fmla="*/ 222110 w 2203310"/>
                <a:gd name="connsiteY85" fmla="*/ 1510138 h 2164296"/>
                <a:gd name="connsiteX86" fmla="*/ 198297 w 2203310"/>
                <a:gd name="connsiteY86" fmla="*/ 1491088 h 2164296"/>
                <a:gd name="connsiteX87" fmla="*/ 179247 w 2203310"/>
                <a:gd name="connsiteY87" fmla="*/ 1462513 h 2164296"/>
                <a:gd name="connsiteX88" fmla="*/ 155435 w 2203310"/>
                <a:gd name="connsiteY88" fmla="*/ 1438700 h 2164296"/>
                <a:gd name="connsiteX89" fmla="*/ 145910 w 2203310"/>
                <a:gd name="connsiteY89" fmla="*/ 1424413 h 2164296"/>
                <a:gd name="connsiteX90" fmla="*/ 126860 w 2203310"/>
                <a:gd name="connsiteY90" fmla="*/ 1405363 h 2164296"/>
                <a:gd name="connsiteX91" fmla="*/ 107810 w 2203310"/>
                <a:gd name="connsiteY91" fmla="*/ 1376788 h 2164296"/>
                <a:gd name="connsiteX92" fmla="*/ 93522 w 2203310"/>
                <a:gd name="connsiteY92" fmla="*/ 1362500 h 2164296"/>
                <a:gd name="connsiteX93" fmla="*/ 83997 w 2203310"/>
                <a:gd name="connsiteY93" fmla="*/ 1348213 h 2164296"/>
                <a:gd name="connsiteX94" fmla="*/ 64947 w 2203310"/>
                <a:gd name="connsiteY94" fmla="*/ 1305350 h 2164296"/>
                <a:gd name="connsiteX95" fmla="*/ 36372 w 2203310"/>
                <a:gd name="connsiteY95" fmla="*/ 991025 h 2164296"/>
                <a:gd name="connsiteX96" fmla="*/ 74472 w 2203310"/>
                <a:gd name="connsiteY96" fmla="*/ 929113 h 2164296"/>
                <a:gd name="connsiteX97" fmla="*/ 98285 w 2203310"/>
                <a:gd name="connsiteY97" fmla="*/ 891013 h 2164296"/>
                <a:gd name="connsiteX98" fmla="*/ 117335 w 2203310"/>
                <a:gd name="connsiteY98" fmla="*/ 848150 h 2164296"/>
                <a:gd name="connsiteX99" fmla="*/ 179247 w 2203310"/>
                <a:gd name="connsiteY99" fmla="*/ 733850 h 2164296"/>
                <a:gd name="connsiteX100" fmla="*/ 241160 w 2203310"/>
                <a:gd name="connsiteY100" fmla="*/ 610025 h 2164296"/>
                <a:gd name="connsiteX101" fmla="*/ 245922 w 2203310"/>
                <a:gd name="connsiteY101" fmla="*/ 581450 h 2164296"/>
                <a:gd name="connsiteX102" fmla="*/ 269735 w 2203310"/>
                <a:gd name="connsiteY102" fmla="*/ 538588 h 2164296"/>
                <a:gd name="connsiteX103" fmla="*/ 284022 w 2203310"/>
                <a:gd name="connsiteY103" fmla="*/ 500488 h 2164296"/>
                <a:gd name="connsiteX104" fmla="*/ 298310 w 2203310"/>
                <a:gd name="connsiteY104" fmla="*/ 471913 h 2164296"/>
                <a:gd name="connsiteX105" fmla="*/ 307835 w 2203310"/>
                <a:gd name="connsiteY105" fmla="*/ 443338 h 2164296"/>
                <a:gd name="connsiteX106" fmla="*/ 317360 w 2203310"/>
                <a:gd name="connsiteY106" fmla="*/ 429050 h 2164296"/>
                <a:gd name="connsiteX107" fmla="*/ 326885 w 2203310"/>
                <a:gd name="connsiteY107" fmla="*/ 405238 h 2164296"/>
                <a:gd name="connsiteX108" fmla="*/ 345935 w 2203310"/>
                <a:gd name="connsiteY108" fmla="*/ 381425 h 2164296"/>
                <a:gd name="connsiteX109" fmla="*/ 364985 w 2203310"/>
                <a:gd name="connsiteY109" fmla="*/ 333800 h 2164296"/>
                <a:gd name="connsiteX110" fmla="*/ 393560 w 2203310"/>
                <a:gd name="connsiteY110" fmla="*/ 290938 h 2164296"/>
                <a:gd name="connsiteX111" fmla="*/ 417372 w 2203310"/>
                <a:gd name="connsiteY111" fmla="*/ 248075 h 2164296"/>
                <a:gd name="connsiteX112" fmla="*/ 431660 w 2203310"/>
                <a:gd name="connsiteY112" fmla="*/ 229025 h 2164296"/>
                <a:gd name="connsiteX113" fmla="*/ 455472 w 2203310"/>
                <a:gd name="connsiteY113" fmla="*/ 214738 h 2164296"/>
                <a:gd name="connsiteX114" fmla="*/ 479285 w 2203310"/>
                <a:gd name="connsiteY114" fmla="*/ 190925 h 2164296"/>
                <a:gd name="connsiteX115" fmla="*/ 493572 w 2203310"/>
                <a:gd name="connsiteY115" fmla="*/ 181400 h 2164296"/>
                <a:gd name="connsiteX116" fmla="*/ 526910 w 2203310"/>
                <a:gd name="connsiteY116" fmla="*/ 143300 h 2164296"/>
                <a:gd name="connsiteX117" fmla="*/ 541197 w 2203310"/>
                <a:gd name="connsiteY117" fmla="*/ 133775 h 2164296"/>
                <a:gd name="connsiteX118" fmla="*/ 650735 w 2203310"/>
                <a:gd name="connsiteY118" fmla="*/ 71863 h 2164296"/>
                <a:gd name="connsiteX119" fmla="*/ 665022 w 2203310"/>
                <a:gd name="connsiteY119" fmla="*/ 52813 h 2164296"/>
                <a:gd name="connsiteX120" fmla="*/ 684072 w 2203310"/>
                <a:gd name="connsiteY120" fmla="*/ 48050 h 2164296"/>
                <a:gd name="connsiteX121" fmla="*/ 707885 w 2203310"/>
                <a:gd name="connsiteY121" fmla="*/ 38525 h 2164296"/>
                <a:gd name="connsiteX122" fmla="*/ 750747 w 2203310"/>
                <a:gd name="connsiteY122" fmla="*/ 24238 h 2164296"/>
                <a:gd name="connsiteX123" fmla="*/ 779322 w 2203310"/>
                <a:gd name="connsiteY123" fmla="*/ 14713 h 2164296"/>
                <a:gd name="connsiteX124" fmla="*/ 826947 w 2203310"/>
                <a:gd name="connsiteY124" fmla="*/ 9950 h 2164296"/>
                <a:gd name="connsiteX125" fmla="*/ 898385 w 2203310"/>
                <a:gd name="connsiteY125" fmla="*/ 425 h 2164296"/>
                <a:gd name="connsiteX0" fmla="*/ 827440 w 2199040"/>
                <a:gd name="connsiteY0" fmla="*/ 425 h 2164296"/>
                <a:gd name="connsiteX1" fmla="*/ 979840 w 2199040"/>
                <a:gd name="connsiteY1" fmla="*/ 5188 h 2164296"/>
                <a:gd name="connsiteX2" fmla="*/ 1003652 w 2199040"/>
                <a:gd name="connsiteY2" fmla="*/ 9950 h 2164296"/>
                <a:gd name="connsiteX3" fmla="*/ 1070327 w 2199040"/>
                <a:gd name="connsiteY3" fmla="*/ 19475 h 2164296"/>
                <a:gd name="connsiteX4" fmla="*/ 1098902 w 2199040"/>
                <a:gd name="connsiteY4" fmla="*/ 24238 h 2164296"/>
                <a:gd name="connsiteX5" fmla="*/ 1122715 w 2199040"/>
                <a:gd name="connsiteY5" fmla="*/ 38525 h 2164296"/>
                <a:gd name="connsiteX6" fmla="*/ 1165577 w 2199040"/>
                <a:gd name="connsiteY6" fmla="*/ 48050 h 2164296"/>
                <a:gd name="connsiteX7" fmla="*/ 1184627 w 2199040"/>
                <a:gd name="connsiteY7" fmla="*/ 52813 h 2164296"/>
                <a:gd name="connsiteX8" fmla="*/ 1217965 w 2199040"/>
                <a:gd name="connsiteY8" fmla="*/ 57575 h 2164296"/>
                <a:gd name="connsiteX9" fmla="*/ 1313215 w 2199040"/>
                <a:gd name="connsiteY9" fmla="*/ 71863 h 2164296"/>
                <a:gd name="connsiteX10" fmla="*/ 1484665 w 2199040"/>
                <a:gd name="connsiteY10" fmla="*/ 109963 h 2164296"/>
                <a:gd name="connsiteX11" fmla="*/ 1508477 w 2199040"/>
                <a:gd name="connsiteY11" fmla="*/ 114725 h 2164296"/>
                <a:gd name="connsiteX12" fmla="*/ 1646590 w 2199040"/>
                <a:gd name="connsiteY12" fmla="*/ 124250 h 2164296"/>
                <a:gd name="connsiteX13" fmla="*/ 1679927 w 2199040"/>
                <a:gd name="connsiteY13" fmla="*/ 129013 h 2164296"/>
                <a:gd name="connsiteX14" fmla="*/ 1703740 w 2199040"/>
                <a:gd name="connsiteY14" fmla="*/ 133775 h 2164296"/>
                <a:gd name="connsiteX15" fmla="*/ 1751365 w 2199040"/>
                <a:gd name="connsiteY15" fmla="*/ 138538 h 2164296"/>
                <a:gd name="connsiteX16" fmla="*/ 1789465 w 2199040"/>
                <a:gd name="connsiteY16" fmla="*/ 152825 h 2164296"/>
                <a:gd name="connsiteX17" fmla="*/ 1803752 w 2199040"/>
                <a:gd name="connsiteY17" fmla="*/ 162350 h 2164296"/>
                <a:gd name="connsiteX18" fmla="*/ 1827565 w 2199040"/>
                <a:gd name="connsiteY18" fmla="*/ 167113 h 2164296"/>
                <a:gd name="connsiteX19" fmla="*/ 1851377 w 2199040"/>
                <a:gd name="connsiteY19" fmla="*/ 181400 h 2164296"/>
                <a:gd name="connsiteX20" fmla="*/ 1875190 w 2199040"/>
                <a:gd name="connsiteY20" fmla="*/ 190925 h 2164296"/>
                <a:gd name="connsiteX21" fmla="*/ 1889477 w 2199040"/>
                <a:gd name="connsiteY21" fmla="*/ 205213 h 2164296"/>
                <a:gd name="connsiteX22" fmla="*/ 1922815 w 2199040"/>
                <a:gd name="connsiteY22" fmla="*/ 229025 h 2164296"/>
                <a:gd name="connsiteX23" fmla="*/ 1975202 w 2199040"/>
                <a:gd name="connsiteY23" fmla="*/ 267125 h 2164296"/>
                <a:gd name="connsiteX24" fmla="*/ 1999015 w 2199040"/>
                <a:gd name="connsiteY24" fmla="*/ 295700 h 2164296"/>
                <a:gd name="connsiteX25" fmla="*/ 2032352 w 2199040"/>
                <a:gd name="connsiteY25" fmla="*/ 348088 h 2164296"/>
                <a:gd name="connsiteX26" fmla="*/ 2051402 w 2199040"/>
                <a:gd name="connsiteY26" fmla="*/ 410000 h 2164296"/>
                <a:gd name="connsiteX27" fmla="*/ 2060927 w 2199040"/>
                <a:gd name="connsiteY27" fmla="*/ 443338 h 2164296"/>
                <a:gd name="connsiteX28" fmla="*/ 2065690 w 2199040"/>
                <a:gd name="connsiteY28" fmla="*/ 457625 h 2164296"/>
                <a:gd name="connsiteX29" fmla="*/ 2075215 w 2199040"/>
                <a:gd name="connsiteY29" fmla="*/ 476675 h 2164296"/>
                <a:gd name="connsiteX30" fmla="*/ 2094265 w 2199040"/>
                <a:gd name="connsiteY30" fmla="*/ 548113 h 2164296"/>
                <a:gd name="connsiteX31" fmla="*/ 2108552 w 2199040"/>
                <a:gd name="connsiteY31" fmla="*/ 610025 h 2164296"/>
                <a:gd name="connsiteX32" fmla="*/ 2113315 w 2199040"/>
                <a:gd name="connsiteY32" fmla="*/ 914825 h 2164296"/>
                <a:gd name="connsiteX33" fmla="*/ 2151415 w 2199040"/>
                <a:gd name="connsiteY33" fmla="*/ 1086275 h 2164296"/>
                <a:gd name="connsiteX34" fmla="*/ 2156177 w 2199040"/>
                <a:gd name="connsiteY34" fmla="*/ 1148188 h 2164296"/>
                <a:gd name="connsiteX35" fmla="*/ 2170465 w 2199040"/>
                <a:gd name="connsiteY35" fmla="*/ 1191050 h 2164296"/>
                <a:gd name="connsiteX36" fmla="*/ 2175227 w 2199040"/>
                <a:gd name="connsiteY36" fmla="*/ 1224388 h 2164296"/>
                <a:gd name="connsiteX37" fmla="*/ 2194277 w 2199040"/>
                <a:gd name="connsiteY37" fmla="*/ 1276775 h 2164296"/>
                <a:gd name="connsiteX38" fmla="*/ 2199040 w 2199040"/>
                <a:gd name="connsiteY38" fmla="*/ 1300588 h 2164296"/>
                <a:gd name="connsiteX39" fmla="*/ 2194277 w 2199040"/>
                <a:gd name="connsiteY39" fmla="*/ 1514900 h 2164296"/>
                <a:gd name="connsiteX40" fmla="*/ 2184752 w 2199040"/>
                <a:gd name="connsiteY40" fmla="*/ 1529188 h 2164296"/>
                <a:gd name="connsiteX41" fmla="*/ 2175227 w 2199040"/>
                <a:gd name="connsiteY41" fmla="*/ 1562525 h 2164296"/>
                <a:gd name="connsiteX42" fmla="*/ 2165702 w 2199040"/>
                <a:gd name="connsiteY42" fmla="*/ 1576813 h 2164296"/>
                <a:gd name="connsiteX43" fmla="*/ 2160940 w 2199040"/>
                <a:gd name="connsiteY43" fmla="*/ 1600625 h 2164296"/>
                <a:gd name="connsiteX44" fmla="*/ 2146652 w 2199040"/>
                <a:gd name="connsiteY44" fmla="*/ 1614913 h 2164296"/>
                <a:gd name="connsiteX45" fmla="*/ 2137127 w 2199040"/>
                <a:gd name="connsiteY45" fmla="*/ 1629200 h 2164296"/>
                <a:gd name="connsiteX46" fmla="*/ 2108552 w 2199040"/>
                <a:gd name="connsiteY46" fmla="*/ 1657775 h 2164296"/>
                <a:gd name="connsiteX47" fmla="*/ 2079977 w 2199040"/>
                <a:gd name="connsiteY47" fmla="*/ 1686350 h 2164296"/>
                <a:gd name="connsiteX48" fmla="*/ 2070452 w 2199040"/>
                <a:gd name="connsiteY48" fmla="*/ 1700638 h 2164296"/>
                <a:gd name="connsiteX49" fmla="*/ 2056165 w 2199040"/>
                <a:gd name="connsiteY49" fmla="*/ 1710163 h 2164296"/>
                <a:gd name="connsiteX50" fmla="*/ 2032352 w 2199040"/>
                <a:gd name="connsiteY50" fmla="*/ 1724450 h 2164296"/>
                <a:gd name="connsiteX51" fmla="*/ 2008540 w 2199040"/>
                <a:gd name="connsiteY51" fmla="*/ 1743500 h 2164296"/>
                <a:gd name="connsiteX52" fmla="*/ 1937102 w 2199040"/>
                <a:gd name="connsiteY52" fmla="*/ 1772075 h 2164296"/>
                <a:gd name="connsiteX53" fmla="*/ 1918052 w 2199040"/>
                <a:gd name="connsiteY53" fmla="*/ 1786363 h 2164296"/>
                <a:gd name="connsiteX54" fmla="*/ 1870427 w 2199040"/>
                <a:gd name="connsiteY54" fmla="*/ 1814938 h 2164296"/>
                <a:gd name="connsiteX55" fmla="*/ 1856140 w 2199040"/>
                <a:gd name="connsiteY55" fmla="*/ 1833988 h 2164296"/>
                <a:gd name="connsiteX56" fmla="*/ 1803752 w 2199040"/>
                <a:gd name="connsiteY56" fmla="*/ 1862563 h 2164296"/>
                <a:gd name="connsiteX57" fmla="*/ 1660878 w 2199040"/>
                <a:gd name="connsiteY57" fmla="*/ 1891137 h 2164296"/>
                <a:gd name="connsiteX58" fmla="*/ 1413227 w 2199040"/>
                <a:gd name="connsiteY58" fmla="*/ 2014962 h 2164296"/>
                <a:gd name="connsiteX59" fmla="*/ 1360840 w 2199040"/>
                <a:gd name="connsiteY59" fmla="*/ 2053063 h 2164296"/>
                <a:gd name="connsiteX60" fmla="*/ 1346552 w 2199040"/>
                <a:gd name="connsiteY60" fmla="*/ 2062588 h 2164296"/>
                <a:gd name="connsiteX61" fmla="*/ 1308452 w 2199040"/>
                <a:gd name="connsiteY61" fmla="*/ 2072113 h 2164296"/>
                <a:gd name="connsiteX62" fmla="*/ 1284640 w 2199040"/>
                <a:gd name="connsiteY62" fmla="*/ 2086400 h 2164296"/>
                <a:gd name="connsiteX63" fmla="*/ 1232252 w 2199040"/>
                <a:gd name="connsiteY63" fmla="*/ 2100688 h 2164296"/>
                <a:gd name="connsiteX64" fmla="*/ 1189390 w 2199040"/>
                <a:gd name="connsiteY64" fmla="*/ 2119738 h 2164296"/>
                <a:gd name="connsiteX65" fmla="*/ 1170340 w 2199040"/>
                <a:gd name="connsiteY65" fmla="*/ 2134025 h 2164296"/>
                <a:gd name="connsiteX66" fmla="*/ 1098902 w 2199040"/>
                <a:gd name="connsiteY66" fmla="*/ 2148313 h 2164296"/>
                <a:gd name="connsiteX67" fmla="*/ 1070327 w 2199040"/>
                <a:gd name="connsiteY67" fmla="*/ 2162600 h 2164296"/>
                <a:gd name="connsiteX68" fmla="*/ 936977 w 2199040"/>
                <a:gd name="connsiteY68" fmla="*/ 2157838 h 2164296"/>
                <a:gd name="connsiteX69" fmla="*/ 827440 w 2199040"/>
                <a:gd name="connsiteY69" fmla="*/ 2105450 h 2164296"/>
                <a:gd name="connsiteX70" fmla="*/ 789340 w 2199040"/>
                <a:gd name="connsiteY70" fmla="*/ 2091163 h 2164296"/>
                <a:gd name="connsiteX71" fmla="*/ 741715 w 2199040"/>
                <a:gd name="connsiteY71" fmla="*/ 2062588 h 2164296"/>
                <a:gd name="connsiteX72" fmla="*/ 684565 w 2199040"/>
                <a:gd name="connsiteY72" fmla="*/ 2038775 h 2164296"/>
                <a:gd name="connsiteX73" fmla="*/ 651227 w 2199040"/>
                <a:gd name="connsiteY73" fmla="*/ 2005438 h 2164296"/>
                <a:gd name="connsiteX74" fmla="*/ 613127 w 2199040"/>
                <a:gd name="connsiteY74" fmla="*/ 1976863 h 2164296"/>
                <a:gd name="connsiteX75" fmla="*/ 598840 w 2199040"/>
                <a:gd name="connsiteY75" fmla="*/ 1957813 h 2164296"/>
                <a:gd name="connsiteX76" fmla="*/ 584552 w 2199040"/>
                <a:gd name="connsiteY76" fmla="*/ 1934000 h 2164296"/>
                <a:gd name="connsiteX77" fmla="*/ 551215 w 2199040"/>
                <a:gd name="connsiteY77" fmla="*/ 1895900 h 2164296"/>
                <a:gd name="connsiteX78" fmla="*/ 408340 w 2199040"/>
                <a:gd name="connsiteY78" fmla="*/ 1705400 h 2164296"/>
                <a:gd name="connsiteX79" fmla="*/ 394052 w 2199040"/>
                <a:gd name="connsiteY79" fmla="*/ 1686350 h 2164296"/>
                <a:gd name="connsiteX80" fmla="*/ 375002 w 2199040"/>
                <a:gd name="connsiteY80" fmla="*/ 1657775 h 2164296"/>
                <a:gd name="connsiteX81" fmla="*/ 317852 w 2199040"/>
                <a:gd name="connsiteY81" fmla="*/ 1600625 h 2164296"/>
                <a:gd name="connsiteX82" fmla="*/ 294040 w 2199040"/>
                <a:gd name="connsiteY82" fmla="*/ 1576813 h 2164296"/>
                <a:gd name="connsiteX83" fmla="*/ 279752 w 2199040"/>
                <a:gd name="connsiteY83" fmla="*/ 1562525 h 2164296"/>
                <a:gd name="connsiteX84" fmla="*/ 241652 w 2199040"/>
                <a:gd name="connsiteY84" fmla="*/ 1538713 h 2164296"/>
                <a:gd name="connsiteX85" fmla="*/ 217840 w 2199040"/>
                <a:gd name="connsiteY85" fmla="*/ 1510138 h 2164296"/>
                <a:gd name="connsiteX86" fmla="*/ 194027 w 2199040"/>
                <a:gd name="connsiteY86" fmla="*/ 1491088 h 2164296"/>
                <a:gd name="connsiteX87" fmla="*/ 174977 w 2199040"/>
                <a:gd name="connsiteY87" fmla="*/ 1462513 h 2164296"/>
                <a:gd name="connsiteX88" fmla="*/ 151165 w 2199040"/>
                <a:gd name="connsiteY88" fmla="*/ 1438700 h 2164296"/>
                <a:gd name="connsiteX89" fmla="*/ 141640 w 2199040"/>
                <a:gd name="connsiteY89" fmla="*/ 1424413 h 2164296"/>
                <a:gd name="connsiteX90" fmla="*/ 122590 w 2199040"/>
                <a:gd name="connsiteY90" fmla="*/ 1405363 h 2164296"/>
                <a:gd name="connsiteX91" fmla="*/ 103540 w 2199040"/>
                <a:gd name="connsiteY91" fmla="*/ 1376788 h 2164296"/>
                <a:gd name="connsiteX92" fmla="*/ 89252 w 2199040"/>
                <a:gd name="connsiteY92" fmla="*/ 1362500 h 2164296"/>
                <a:gd name="connsiteX93" fmla="*/ 60677 w 2199040"/>
                <a:gd name="connsiteY93" fmla="*/ 1305350 h 2164296"/>
                <a:gd name="connsiteX94" fmla="*/ 32102 w 2199040"/>
                <a:gd name="connsiteY94" fmla="*/ 991025 h 2164296"/>
                <a:gd name="connsiteX95" fmla="*/ 70202 w 2199040"/>
                <a:gd name="connsiteY95" fmla="*/ 929113 h 2164296"/>
                <a:gd name="connsiteX96" fmla="*/ 94015 w 2199040"/>
                <a:gd name="connsiteY96" fmla="*/ 891013 h 2164296"/>
                <a:gd name="connsiteX97" fmla="*/ 113065 w 2199040"/>
                <a:gd name="connsiteY97" fmla="*/ 848150 h 2164296"/>
                <a:gd name="connsiteX98" fmla="*/ 174977 w 2199040"/>
                <a:gd name="connsiteY98" fmla="*/ 733850 h 2164296"/>
                <a:gd name="connsiteX99" fmla="*/ 236890 w 2199040"/>
                <a:gd name="connsiteY99" fmla="*/ 610025 h 2164296"/>
                <a:gd name="connsiteX100" fmla="*/ 241652 w 2199040"/>
                <a:gd name="connsiteY100" fmla="*/ 581450 h 2164296"/>
                <a:gd name="connsiteX101" fmla="*/ 265465 w 2199040"/>
                <a:gd name="connsiteY101" fmla="*/ 538588 h 2164296"/>
                <a:gd name="connsiteX102" fmla="*/ 279752 w 2199040"/>
                <a:gd name="connsiteY102" fmla="*/ 500488 h 2164296"/>
                <a:gd name="connsiteX103" fmla="*/ 294040 w 2199040"/>
                <a:gd name="connsiteY103" fmla="*/ 471913 h 2164296"/>
                <a:gd name="connsiteX104" fmla="*/ 303565 w 2199040"/>
                <a:gd name="connsiteY104" fmla="*/ 443338 h 2164296"/>
                <a:gd name="connsiteX105" fmla="*/ 313090 w 2199040"/>
                <a:gd name="connsiteY105" fmla="*/ 429050 h 2164296"/>
                <a:gd name="connsiteX106" fmla="*/ 322615 w 2199040"/>
                <a:gd name="connsiteY106" fmla="*/ 405238 h 2164296"/>
                <a:gd name="connsiteX107" fmla="*/ 341665 w 2199040"/>
                <a:gd name="connsiteY107" fmla="*/ 381425 h 2164296"/>
                <a:gd name="connsiteX108" fmla="*/ 360715 w 2199040"/>
                <a:gd name="connsiteY108" fmla="*/ 333800 h 2164296"/>
                <a:gd name="connsiteX109" fmla="*/ 389290 w 2199040"/>
                <a:gd name="connsiteY109" fmla="*/ 290938 h 2164296"/>
                <a:gd name="connsiteX110" fmla="*/ 413102 w 2199040"/>
                <a:gd name="connsiteY110" fmla="*/ 248075 h 2164296"/>
                <a:gd name="connsiteX111" fmla="*/ 427390 w 2199040"/>
                <a:gd name="connsiteY111" fmla="*/ 229025 h 2164296"/>
                <a:gd name="connsiteX112" fmla="*/ 451202 w 2199040"/>
                <a:gd name="connsiteY112" fmla="*/ 214738 h 2164296"/>
                <a:gd name="connsiteX113" fmla="*/ 475015 w 2199040"/>
                <a:gd name="connsiteY113" fmla="*/ 190925 h 2164296"/>
                <a:gd name="connsiteX114" fmla="*/ 489302 w 2199040"/>
                <a:gd name="connsiteY114" fmla="*/ 181400 h 2164296"/>
                <a:gd name="connsiteX115" fmla="*/ 522640 w 2199040"/>
                <a:gd name="connsiteY115" fmla="*/ 143300 h 2164296"/>
                <a:gd name="connsiteX116" fmla="*/ 536927 w 2199040"/>
                <a:gd name="connsiteY116" fmla="*/ 133775 h 2164296"/>
                <a:gd name="connsiteX117" fmla="*/ 646465 w 2199040"/>
                <a:gd name="connsiteY117" fmla="*/ 71863 h 2164296"/>
                <a:gd name="connsiteX118" fmla="*/ 660752 w 2199040"/>
                <a:gd name="connsiteY118" fmla="*/ 52813 h 2164296"/>
                <a:gd name="connsiteX119" fmla="*/ 679802 w 2199040"/>
                <a:gd name="connsiteY119" fmla="*/ 48050 h 2164296"/>
                <a:gd name="connsiteX120" fmla="*/ 703615 w 2199040"/>
                <a:gd name="connsiteY120" fmla="*/ 38525 h 2164296"/>
                <a:gd name="connsiteX121" fmla="*/ 746477 w 2199040"/>
                <a:gd name="connsiteY121" fmla="*/ 24238 h 2164296"/>
                <a:gd name="connsiteX122" fmla="*/ 775052 w 2199040"/>
                <a:gd name="connsiteY122" fmla="*/ 14713 h 2164296"/>
                <a:gd name="connsiteX123" fmla="*/ 822677 w 2199040"/>
                <a:gd name="connsiteY123" fmla="*/ 9950 h 2164296"/>
                <a:gd name="connsiteX124" fmla="*/ 894115 w 2199040"/>
                <a:gd name="connsiteY124" fmla="*/ 425 h 2164296"/>
                <a:gd name="connsiteX0" fmla="*/ 827859 w 2199459"/>
                <a:gd name="connsiteY0" fmla="*/ 425 h 2164296"/>
                <a:gd name="connsiteX1" fmla="*/ 980259 w 2199459"/>
                <a:gd name="connsiteY1" fmla="*/ 5188 h 2164296"/>
                <a:gd name="connsiteX2" fmla="*/ 1004071 w 2199459"/>
                <a:gd name="connsiteY2" fmla="*/ 9950 h 2164296"/>
                <a:gd name="connsiteX3" fmla="*/ 1070746 w 2199459"/>
                <a:gd name="connsiteY3" fmla="*/ 19475 h 2164296"/>
                <a:gd name="connsiteX4" fmla="*/ 1099321 w 2199459"/>
                <a:gd name="connsiteY4" fmla="*/ 24238 h 2164296"/>
                <a:gd name="connsiteX5" fmla="*/ 1123134 w 2199459"/>
                <a:gd name="connsiteY5" fmla="*/ 38525 h 2164296"/>
                <a:gd name="connsiteX6" fmla="*/ 1165996 w 2199459"/>
                <a:gd name="connsiteY6" fmla="*/ 48050 h 2164296"/>
                <a:gd name="connsiteX7" fmla="*/ 1185046 w 2199459"/>
                <a:gd name="connsiteY7" fmla="*/ 52813 h 2164296"/>
                <a:gd name="connsiteX8" fmla="*/ 1218384 w 2199459"/>
                <a:gd name="connsiteY8" fmla="*/ 57575 h 2164296"/>
                <a:gd name="connsiteX9" fmla="*/ 1313634 w 2199459"/>
                <a:gd name="connsiteY9" fmla="*/ 71863 h 2164296"/>
                <a:gd name="connsiteX10" fmla="*/ 1485084 w 2199459"/>
                <a:gd name="connsiteY10" fmla="*/ 109963 h 2164296"/>
                <a:gd name="connsiteX11" fmla="*/ 1508896 w 2199459"/>
                <a:gd name="connsiteY11" fmla="*/ 114725 h 2164296"/>
                <a:gd name="connsiteX12" fmla="*/ 1647009 w 2199459"/>
                <a:gd name="connsiteY12" fmla="*/ 124250 h 2164296"/>
                <a:gd name="connsiteX13" fmla="*/ 1680346 w 2199459"/>
                <a:gd name="connsiteY13" fmla="*/ 129013 h 2164296"/>
                <a:gd name="connsiteX14" fmla="*/ 1704159 w 2199459"/>
                <a:gd name="connsiteY14" fmla="*/ 133775 h 2164296"/>
                <a:gd name="connsiteX15" fmla="*/ 1751784 w 2199459"/>
                <a:gd name="connsiteY15" fmla="*/ 138538 h 2164296"/>
                <a:gd name="connsiteX16" fmla="*/ 1789884 w 2199459"/>
                <a:gd name="connsiteY16" fmla="*/ 152825 h 2164296"/>
                <a:gd name="connsiteX17" fmla="*/ 1804171 w 2199459"/>
                <a:gd name="connsiteY17" fmla="*/ 162350 h 2164296"/>
                <a:gd name="connsiteX18" fmla="*/ 1827984 w 2199459"/>
                <a:gd name="connsiteY18" fmla="*/ 167113 h 2164296"/>
                <a:gd name="connsiteX19" fmla="*/ 1851796 w 2199459"/>
                <a:gd name="connsiteY19" fmla="*/ 181400 h 2164296"/>
                <a:gd name="connsiteX20" fmla="*/ 1875609 w 2199459"/>
                <a:gd name="connsiteY20" fmla="*/ 190925 h 2164296"/>
                <a:gd name="connsiteX21" fmla="*/ 1889896 w 2199459"/>
                <a:gd name="connsiteY21" fmla="*/ 205213 h 2164296"/>
                <a:gd name="connsiteX22" fmla="*/ 1923234 w 2199459"/>
                <a:gd name="connsiteY22" fmla="*/ 229025 h 2164296"/>
                <a:gd name="connsiteX23" fmla="*/ 1975621 w 2199459"/>
                <a:gd name="connsiteY23" fmla="*/ 267125 h 2164296"/>
                <a:gd name="connsiteX24" fmla="*/ 1999434 w 2199459"/>
                <a:gd name="connsiteY24" fmla="*/ 295700 h 2164296"/>
                <a:gd name="connsiteX25" fmla="*/ 2032771 w 2199459"/>
                <a:gd name="connsiteY25" fmla="*/ 348088 h 2164296"/>
                <a:gd name="connsiteX26" fmla="*/ 2051821 w 2199459"/>
                <a:gd name="connsiteY26" fmla="*/ 410000 h 2164296"/>
                <a:gd name="connsiteX27" fmla="*/ 2061346 w 2199459"/>
                <a:gd name="connsiteY27" fmla="*/ 443338 h 2164296"/>
                <a:gd name="connsiteX28" fmla="*/ 2066109 w 2199459"/>
                <a:gd name="connsiteY28" fmla="*/ 457625 h 2164296"/>
                <a:gd name="connsiteX29" fmla="*/ 2075634 w 2199459"/>
                <a:gd name="connsiteY29" fmla="*/ 476675 h 2164296"/>
                <a:gd name="connsiteX30" fmla="*/ 2094684 w 2199459"/>
                <a:gd name="connsiteY30" fmla="*/ 548113 h 2164296"/>
                <a:gd name="connsiteX31" fmla="*/ 2108971 w 2199459"/>
                <a:gd name="connsiteY31" fmla="*/ 610025 h 2164296"/>
                <a:gd name="connsiteX32" fmla="*/ 2113734 w 2199459"/>
                <a:gd name="connsiteY32" fmla="*/ 914825 h 2164296"/>
                <a:gd name="connsiteX33" fmla="*/ 2151834 w 2199459"/>
                <a:gd name="connsiteY33" fmla="*/ 1086275 h 2164296"/>
                <a:gd name="connsiteX34" fmla="*/ 2156596 w 2199459"/>
                <a:gd name="connsiteY34" fmla="*/ 1148188 h 2164296"/>
                <a:gd name="connsiteX35" fmla="*/ 2170884 w 2199459"/>
                <a:gd name="connsiteY35" fmla="*/ 1191050 h 2164296"/>
                <a:gd name="connsiteX36" fmla="*/ 2175646 w 2199459"/>
                <a:gd name="connsiteY36" fmla="*/ 1224388 h 2164296"/>
                <a:gd name="connsiteX37" fmla="*/ 2194696 w 2199459"/>
                <a:gd name="connsiteY37" fmla="*/ 1276775 h 2164296"/>
                <a:gd name="connsiteX38" fmla="*/ 2199459 w 2199459"/>
                <a:gd name="connsiteY38" fmla="*/ 1300588 h 2164296"/>
                <a:gd name="connsiteX39" fmla="*/ 2194696 w 2199459"/>
                <a:gd name="connsiteY39" fmla="*/ 1514900 h 2164296"/>
                <a:gd name="connsiteX40" fmla="*/ 2185171 w 2199459"/>
                <a:gd name="connsiteY40" fmla="*/ 1529188 h 2164296"/>
                <a:gd name="connsiteX41" fmla="*/ 2175646 w 2199459"/>
                <a:gd name="connsiteY41" fmla="*/ 1562525 h 2164296"/>
                <a:gd name="connsiteX42" fmla="*/ 2166121 w 2199459"/>
                <a:gd name="connsiteY42" fmla="*/ 1576813 h 2164296"/>
                <a:gd name="connsiteX43" fmla="*/ 2161359 w 2199459"/>
                <a:gd name="connsiteY43" fmla="*/ 1600625 h 2164296"/>
                <a:gd name="connsiteX44" fmla="*/ 2147071 w 2199459"/>
                <a:gd name="connsiteY44" fmla="*/ 1614913 h 2164296"/>
                <a:gd name="connsiteX45" fmla="*/ 2137546 w 2199459"/>
                <a:gd name="connsiteY45" fmla="*/ 1629200 h 2164296"/>
                <a:gd name="connsiteX46" fmla="*/ 2108971 w 2199459"/>
                <a:gd name="connsiteY46" fmla="*/ 1657775 h 2164296"/>
                <a:gd name="connsiteX47" fmla="*/ 2080396 w 2199459"/>
                <a:gd name="connsiteY47" fmla="*/ 1686350 h 2164296"/>
                <a:gd name="connsiteX48" fmla="*/ 2070871 w 2199459"/>
                <a:gd name="connsiteY48" fmla="*/ 1700638 h 2164296"/>
                <a:gd name="connsiteX49" fmla="*/ 2056584 w 2199459"/>
                <a:gd name="connsiteY49" fmla="*/ 1710163 h 2164296"/>
                <a:gd name="connsiteX50" fmla="*/ 2032771 w 2199459"/>
                <a:gd name="connsiteY50" fmla="*/ 1724450 h 2164296"/>
                <a:gd name="connsiteX51" fmla="*/ 2008959 w 2199459"/>
                <a:gd name="connsiteY51" fmla="*/ 1743500 h 2164296"/>
                <a:gd name="connsiteX52" fmla="*/ 1937521 w 2199459"/>
                <a:gd name="connsiteY52" fmla="*/ 1772075 h 2164296"/>
                <a:gd name="connsiteX53" fmla="*/ 1918471 w 2199459"/>
                <a:gd name="connsiteY53" fmla="*/ 1786363 h 2164296"/>
                <a:gd name="connsiteX54" fmla="*/ 1870846 w 2199459"/>
                <a:gd name="connsiteY54" fmla="*/ 1814938 h 2164296"/>
                <a:gd name="connsiteX55" fmla="*/ 1856559 w 2199459"/>
                <a:gd name="connsiteY55" fmla="*/ 1833988 h 2164296"/>
                <a:gd name="connsiteX56" fmla="*/ 1804171 w 2199459"/>
                <a:gd name="connsiteY56" fmla="*/ 1862563 h 2164296"/>
                <a:gd name="connsiteX57" fmla="*/ 1661297 w 2199459"/>
                <a:gd name="connsiteY57" fmla="*/ 1891137 h 2164296"/>
                <a:gd name="connsiteX58" fmla="*/ 1413646 w 2199459"/>
                <a:gd name="connsiteY58" fmla="*/ 2014962 h 2164296"/>
                <a:gd name="connsiteX59" fmla="*/ 1361259 w 2199459"/>
                <a:gd name="connsiteY59" fmla="*/ 2053063 h 2164296"/>
                <a:gd name="connsiteX60" fmla="*/ 1346971 w 2199459"/>
                <a:gd name="connsiteY60" fmla="*/ 2062588 h 2164296"/>
                <a:gd name="connsiteX61" fmla="*/ 1308871 w 2199459"/>
                <a:gd name="connsiteY61" fmla="*/ 2072113 h 2164296"/>
                <a:gd name="connsiteX62" fmla="*/ 1285059 w 2199459"/>
                <a:gd name="connsiteY62" fmla="*/ 2086400 h 2164296"/>
                <a:gd name="connsiteX63" fmla="*/ 1232671 w 2199459"/>
                <a:gd name="connsiteY63" fmla="*/ 2100688 h 2164296"/>
                <a:gd name="connsiteX64" fmla="*/ 1189809 w 2199459"/>
                <a:gd name="connsiteY64" fmla="*/ 2119738 h 2164296"/>
                <a:gd name="connsiteX65" fmla="*/ 1170759 w 2199459"/>
                <a:gd name="connsiteY65" fmla="*/ 2134025 h 2164296"/>
                <a:gd name="connsiteX66" fmla="*/ 1099321 w 2199459"/>
                <a:gd name="connsiteY66" fmla="*/ 2148313 h 2164296"/>
                <a:gd name="connsiteX67" fmla="*/ 1070746 w 2199459"/>
                <a:gd name="connsiteY67" fmla="*/ 2162600 h 2164296"/>
                <a:gd name="connsiteX68" fmla="*/ 937396 w 2199459"/>
                <a:gd name="connsiteY68" fmla="*/ 2157838 h 2164296"/>
                <a:gd name="connsiteX69" fmla="*/ 827859 w 2199459"/>
                <a:gd name="connsiteY69" fmla="*/ 2105450 h 2164296"/>
                <a:gd name="connsiteX70" fmla="*/ 789759 w 2199459"/>
                <a:gd name="connsiteY70" fmla="*/ 2091163 h 2164296"/>
                <a:gd name="connsiteX71" fmla="*/ 742134 w 2199459"/>
                <a:gd name="connsiteY71" fmla="*/ 2062588 h 2164296"/>
                <a:gd name="connsiteX72" fmla="*/ 684984 w 2199459"/>
                <a:gd name="connsiteY72" fmla="*/ 2038775 h 2164296"/>
                <a:gd name="connsiteX73" fmla="*/ 651646 w 2199459"/>
                <a:gd name="connsiteY73" fmla="*/ 2005438 h 2164296"/>
                <a:gd name="connsiteX74" fmla="*/ 613546 w 2199459"/>
                <a:gd name="connsiteY74" fmla="*/ 1976863 h 2164296"/>
                <a:gd name="connsiteX75" fmla="*/ 599259 w 2199459"/>
                <a:gd name="connsiteY75" fmla="*/ 1957813 h 2164296"/>
                <a:gd name="connsiteX76" fmla="*/ 584971 w 2199459"/>
                <a:gd name="connsiteY76" fmla="*/ 1934000 h 2164296"/>
                <a:gd name="connsiteX77" fmla="*/ 551634 w 2199459"/>
                <a:gd name="connsiteY77" fmla="*/ 1895900 h 2164296"/>
                <a:gd name="connsiteX78" fmla="*/ 408759 w 2199459"/>
                <a:gd name="connsiteY78" fmla="*/ 1705400 h 2164296"/>
                <a:gd name="connsiteX79" fmla="*/ 394471 w 2199459"/>
                <a:gd name="connsiteY79" fmla="*/ 1686350 h 2164296"/>
                <a:gd name="connsiteX80" fmla="*/ 375421 w 2199459"/>
                <a:gd name="connsiteY80" fmla="*/ 1657775 h 2164296"/>
                <a:gd name="connsiteX81" fmla="*/ 318271 w 2199459"/>
                <a:gd name="connsiteY81" fmla="*/ 1600625 h 2164296"/>
                <a:gd name="connsiteX82" fmla="*/ 294459 w 2199459"/>
                <a:gd name="connsiteY82" fmla="*/ 1576813 h 2164296"/>
                <a:gd name="connsiteX83" fmla="*/ 280171 w 2199459"/>
                <a:gd name="connsiteY83" fmla="*/ 1562525 h 2164296"/>
                <a:gd name="connsiteX84" fmla="*/ 242071 w 2199459"/>
                <a:gd name="connsiteY84" fmla="*/ 1538713 h 2164296"/>
                <a:gd name="connsiteX85" fmla="*/ 218259 w 2199459"/>
                <a:gd name="connsiteY85" fmla="*/ 1510138 h 2164296"/>
                <a:gd name="connsiteX86" fmla="*/ 194446 w 2199459"/>
                <a:gd name="connsiteY86" fmla="*/ 1491088 h 2164296"/>
                <a:gd name="connsiteX87" fmla="*/ 175396 w 2199459"/>
                <a:gd name="connsiteY87" fmla="*/ 1462513 h 2164296"/>
                <a:gd name="connsiteX88" fmla="*/ 151584 w 2199459"/>
                <a:gd name="connsiteY88" fmla="*/ 1438700 h 2164296"/>
                <a:gd name="connsiteX89" fmla="*/ 142059 w 2199459"/>
                <a:gd name="connsiteY89" fmla="*/ 1424413 h 2164296"/>
                <a:gd name="connsiteX90" fmla="*/ 123009 w 2199459"/>
                <a:gd name="connsiteY90" fmla="*/ 1405363 h 2164296"/>
                <a:gd name="connsiteX91" fmla="*/ 103959 w 2199459"/>
                <a:gd name="connsiteY91" fmla="*/ 1376788 h 2164296"/>
                <a:gd name="connsiteX92" fmla="*/ 61096 w 2199459"/>
                <a:gd name="connsiteY92" fmla="*/ 1305350 h 2164296"/>
                <a:gd name="connsiteX93" fmla="*/ 32521 w 2199459"/>
                <a:gd name="connsiteY93" fmla="*/ 991025 h 2164296"/>
                <a:gd name="connsiteX94" fmla="*/ 70621 w 2199459"/>
                <a:gd name="connsiteY94" fmla="*/ 929113 h 2164296"/>
                <a:gd name="connsiteX95" fmla="*/ 94434 w 2199459"/>
                <a:gd name="connsiteY95" fmla="*/ 891013 h 2164296"/>
                <a:gd name="connsiteX96" fmla="*/ 113484 w 2199459"/>
                <a:gd name="connsiteY96" fmla="*/ 848150 h 2164296"/>
                <a:gd name="connsiteX97" fmla="*/ 175396 w 2199459"/>
                <a:gd name="connsiteY97" fmla="*/ 733850 h 2164296"/>
                <a:gd name="connsiteX98" fmla="*/ 237309 w 2199459"/>
                <a:gd name="connsiteY98" fmla="*/ 610025 h 2164296"/>
                <a:gd name="connsiteX99" fmla="*/ 242071 w 2199459"/>
                <a:gd name="connsiteY99" fmla="*/ 581450 h 2164296"/>
                <a:gd name="connsiteX100" fmla="*/ 265884 w 2199459"/>
                <a:gd name="connsiteY100" fmla="*/ 538588 h 2164296"/>
                <a:gd name="connsiteX101" fmla="*/ 280171 w 2199459"/>
                <a:gd name="connsiteY101" fmla="*/ 500488 h 2164296"/>
                <a:gd name="connsiteX102" fmla="*/ 294459 w 2199459"/>
                <a:gd name="connsiteY102" fmla="*/ 471913 h 2164296"/>
                <a:gd name="connsiteX103" fmla="*/ 303984 w 2199459"/>
                <a:gd name="connsiteY103" fmla="*/ 443338 h 2164296"/>
                <a:gd name="connsiteX104" fmla="*/ 313509 w 2199459"/>
                <a:gd name="connsiteY104" fmla="*/ 429050 h 2164296"/>
                <a:gd name="connsiteX105" fmla="*/ 323034 w 2199459"/>
                <a:gd name="connsiteY105" fmla="*/ 405238 h 2164296"/>
                <a:gd name="connsiteX106" fmla="*/ 342084 w 2199459"/>
                <a:gd name="connsiteY106" fmla="*/ 381425 h 2164296"/>
                <a:gd name="connsiteX107" fmla="*/ 361134 w 2199459"/>
                <a:gd name="connsiteY107" fmla="*/ 333800 h 2164296"/>
                <a:gd name="connsiteX108" fmla="*/ 389709 w 2199459"/>
                <a:gd name="connsiteY108" fmla="*/ 290938 h 2164296"/>
                <a:gd name="connsiteX109" fmla="*/ 413521 w 2199459"/>
                <a:gd name="connsiteY109" fmla="*/ 248075 h 2164296"/>
                <a:gd name="connsiteX110" fmla="*/ 427809 w 2199459"/>
                <a:gd name="connsiteY110" fmla="*/ 229025 h 2164296"/>
                <a:gd name="connsiteX111" fmla="*/ 451621 w 2199459"/>
                <a:gd name="connsiteY111" fmla="*/ 214738 h 2164296"/>
                <a:gd name="connsiteX112" fmla="*/ 475434 w 2199459"/>
                <a:gd name="connsiteY112" fmla="*/ 190925 h 2164296"/>
                <a:gd name="connsiteX113" fmla="*/ 489721 w 2199459"/>
                <a:gd name="connsiteY113" fmla="*/ 181400 h 2164296"/>
                <a:gd name="connsiteX114" fmla="*/ 523059 w 2199459"/>
                <a:gd name="connsiteY114" fmla="*/ 143300 h 2164296"/>
                <a:gd name="connsiteX115" fmla="*/ 537346 w 2199459"/>
                <a:gd name="connsiteY115" fmla="*/ 133775 h 2164296"/>
                <a:gd name="connsiteX116" fmla="*/ 646884 w 2199459"/>
                <a:gd name="connsiteY116" fmla="*/ 71863 h 2164296"/>
                <a:gd name="connsiteX117" fmla="*/ 661171 w 2199459"/>
                <a:gd name="connsiteY117" fmla="*/ 52813 h 2164296"/>
                <a:gd name="connsiteX118" fmla="*/ 680221 w 2199459"/>
                <a:gd name="connsiteY118" fmla="*/ 48050 h 2164296"/>
                <a:gd name="connsiteX119" fmla="*/ 704034 w 2199459"/>
                <a:gd name="connsiteY119" fmla="*/ 38525 h 2164296"/>
                <a:gd name="connsiteX120" fmla="*/ 746896 w 2199459"/>
                <a:gd name="connsiteY120" fmla="*/ 24238 h 2164296"/>
                <a:gd name="connsiteX121" fmla="*/ 775471 w 2199459"/>
                <a:gd name="connsiteY121" fmla="*/ 14713 h 2164296"/>
                <a:gd name="connsiteX122" fmla="*/ 823096 w 2199459"/>
                <a:gd name="connsiteY122" fmla="*/ 9950 h 2164296"/>
                <a:gd name="connsiteX123" fmla="*/ 894534 w 2199459"/>
                <a:gd name="connsiteY123" fmla="*/ 425 h 2164296"/>
                <a:gd name="connsiteX0" fmla="*/ 828432 w 2200032"/>
                <a:gd name="connsiteY0" fmla="*/ 425 h 2164296"/>
                <a:gd name="connsiteX1" fmla="*/ 980832 w 2200032"/>
                <a:gd name="connsiteY1" fmla="*/ 5188 h 2164296"/>
                <a:gd name="connsiteX2" fmla="*/ 1004644 w 2200032"/>
                <a:gd name="connsiteY2" fmla="*/ 9950 h 2164296"/>
                <a:gd name="connsiteX3" fmla="*/ 1071319 w 2200032"/>
                <a:gd name="connsiteY3" fmla="*/ 19475 h 2164296"/>
                <a:gd name="connsiteX4" fmla="*/ 1099894 w 2200032"/>
                <a:gd name="connsiteY4" fmla="*/ 24238 h 2164296"/>
                <a:gd name="connsiteX5" fmla="*/ 1123707 w 2200032"/>
                <a:gd name="connsiteY5" fmla="*/ 38525 h 2164296"/>
                <a:gd name="connsiteX6" fmla="*/ 1166569 w 2200032"/>
                <a:gd name="connsiteY6" fmla="*/ 48050 h 2164296"/>
                <a:gd name="connsiteX7" fmla="*/ 1185619 w 2200032"/>
                <a:gd name="connsiteY7" fmla="*/ 52813 h 2164296"/>
                <a:gd name="connsiteX8" fmla="*/ 1218957 w 2200032"/>
                <a:gd name="connsiteY8" fmla="*/ 57575 h 2164296"/>
                <a:gd name="connsiteX9" fmla="*/ 1314207 w 2200032"/>
                <a:gd name="connsiteY9" fmla="*/ 71863 h 2164296"/>
                <a:gd name="connsiteX10" fmla="*/ 1485657 w 2200032"/>
                <a:gd name="connsiteY10" fmla="*/ 109963 h 2164296"/>
                <a:gd name="connsiteX11" fmla="*/ 1509469 w 2200032"/>
                <a:gd name="connsiteY11" fmla="*/ 114725 h 2164296"/>
                <a:gd name="connsiteX12" fmla="*/ 1647582 w 2200032"/>
                <a:gd name="connsiteY12" fmla="*/ 124250 h 2164296"/>
                <a:gd name="connsiteX13" fmla="*/ 1680919 w 2200032"/>
                <a:gd name="connsiteY13" fmla="*/ 129013 h 2164296"/>
                <a:gd name="connsiteX14" fmla="*/ 1704732 w 2200032"/>
                <a:gd name="connsiteY14" fmla="*/ 133775 h 2164296"/>
                <a:gd name="connsiteX15" fmla="*/ 1752357 w 2200032"/>
                <a:gd name="connsiteY15" fmla="*/ 138538 h 2164296"/>
                <a:gd name="connsiteX16" fmla="*/ 1790457 w 2200032"/>
                <a:gd name="connsiteY16" fmla="*/ 152825 h 2164296"/>
                <a:gd name="connsiteX17" fmla="*/ 1804744 w 2200032"/>
                <a:gd name="connsiteY17" fmla="*/ 162350 h 2164296"/>
                <a:gd name="connsiteX18" fmla="*/ 1828557 w 2200032"/>
                <a:gd name="connsiteY18" fmla="*/ 167113 h 2164296"/>
                <a:gd name="connsiteX19" fmla="*/ 1852369 w 2200032"/>
                <a:gd name="connsiteY19" fmla="*/ 181400 h 2164296"/>
                <a:gd name="connsiteX20" fmla="*/ 1876182 w 2200032"/>
                <a:gd name="connsiteY20" fmla="*/ 190925 h 2164296"/>
                <a:gd name="connsiteX21" fmla="*/ 1890469 w 2200032"/>
                <a:gd name="connsiteY21" fmla="*/ 205213 h 2164296"/>
                <a:gd name="connsiteX22" fmla="*/ 1923807 w 2200032"/>
                <a:gd name="connsiteY22" fmla="*/ 229025 h 2164296"/>
                <a:gd name="connsiteX23" fmla="*/ 1976194 w 2200032"/>
                <a:gd name="connsiteY23" fmla="*/ 267125 h 2164296"/>
                <a:gd name="connsiteX24" fmla="*/ 2000007 w 2200032"/>
                <a:gd name="connsiteY24" fmla="*/ 295700 h 2164296"/>
                <a:gd name="connsiteX25" fmla="*/ 2033344 w 2200032"/>
                <a:gd name="connsiteY25" fmla="*/ 348088 h 2164296"/>
                <a:gd name="connsiteX26" fmla="*/ 2052394 w 2200032"/>
                <a:gd name="connsiteY26" fmla="*/ 410000 h 2164296"/>
                <a:gd name="connsiteX27" fmla="*/ 2061919 w 2200032"/>
                <a:gd name="connsiteY27" fmla="*/ 443338 h 2164296"/>
                <a:gd name="connsiteX28" fmla="*/ 2066682 w 2200032"/>
                <a:gd name="connsiteY28" fmla="*/ 457625 h 2164296"/>
                <a:gd name="connsiteX29" fmla="*/ 2076207 w 2200032"/>
                <a:gd name="connsiteY29" fmla="*/ 476675 h 2164296"/>
                <a:gd name="connsiteX30" fmla="*/ 2095257 w 2200032"/>
                <a:gd name="connsiteY30" fmla="*/ 548113 h 2164296"/>
                <a:gd name="connsiteX31" fmla="*/ 2109544 w 2200032"/>
                <a:gd name="connsiteY31" fmla="*/ 610025 h 2164296"/>
                <a:gd name="connsiteX32" fmla="*/ 2114307 w 2200032"/>
                <a:gd name="connsiteY32" fmla="*/ 914825 h 2164296"/>
                <a:gd name="connsiteX33" fmla="*/ 2152407 w 2200032"/>
                <a:gd name="connsiteY33" fmla="*/ 1086275 h 2164296"/>
                <a:gd name="connsiteX34" fmla="*/ 2157169 w 2200032"/>
                <a:gd name="connsiteY34" fmla="*/ 1148188 h 2164296"/>
                <a:gd name="connsiteX35" fmla="*/ 2171457 w 2200032"/>
                <a:gd name="connsiteY35" fmla="*/ 1191050 h 2164296"/>
                <a:gd name="connsiteX36" fmla="*/ 2176219 w 2200032"/>
                <a:gd name="connsiteY36" fmla="*/ 1224388 h 2164296"/>
                <a:gd name="connsiteX37" fmla="*/ 2195269 w 2200032"/>
                <a:gd name="connsiteY37" fmla="*/ 1276775 h 2164296"/>
                <a:gd name="connsiteX38" fmla="*/ 2200032 w 2200032"/>
                <a:gd name="connsiteY38" fmla="*/ 1300588 h 2164296"/>
                <a:gd name="connsiteX39" fmla="*/ 2195269 w 2200032"/>
                <a:gd name="connsiteY39" fmla="*/ 1514900 h 2164296"/>
                <a:gd name="connsiteX40" fmla="*/ 2185744 w 2200032"/>
                <a:gd name="connsiteY40" fmla="*/ 1529188 h 2164296"/>
                <a:gd name="connsiteX41" fmla="*/ 2176219 w 2200032"/>
                <a:gd name="connsiteY41" fmla="*/ 1562525 h 2164296"/>
                <a:gd name="connsiteX42" fmla="*/ 2166694 w 2200032"/>
                <a:gd name="connsiteY42" fmla="*/ 1576813 h 2164296"/>
                <a:gd name="connsiteX43" fmla="*/ 2161932 w 2200032"/>
                <a:gd name="connsiteY43" fmla="*/ 1600625 h 2164296"/>
                <a:gd name="connsiteX44" fmla="*/ 2147644 w 2200032"/>
                <a:gd name="connsiteY44" fmla="*/ 1614913 h 2164296"/>
                <a:gd name="connsiteX45" fmla="*/ 2138119 w 2200032"/>
                <a:gd name="connsiteY45" fmla="*/ 1629200 h 2164296"/>
                <a:gd name="connsiteX46" fmla="*/ 2109544 w 2200032"/>
                <a:gd name="connsiteY46" fmla="*/ 1657775 h 2164296"/>
                <a:gd name="connsiteX47" fmla="*/ 2080969 w 2200032"/>
                <a:gd name="connsiteY47" fmla="*/ 1686350 h 2164296"/>
                <a:gd name="connsiteX48" fmla="*/ 2071444 w 2200032"/>
                <a:gd name="connsiteY48" fmla="*/ 1700638 h 2164296"/>
                <a:gd name="connsiteX49" fmla="*/ 2057157 w 2200032"/>
                <a:gd name="connsiteY49" fmla="*/ 1710163 h 2164296"/>
                <a:gd name="connsiteX50" fmla="*/ 2033344 w 2200032"/>
                <a:gd name="connsiteY50" fmla="*/ 1724450 h 2164296"/>
                <a:gd name="connsiteX51" fmla="*/ 2009532 w 2200032"/>
                <a:gd name="connsiteY51" fmla="*/ 1743500 h 2164296"/>
                <a:gd name="connsiteX52" fmla="*/ 1938094 w 2200032"/>
                <a:gd name="connsiteY52" fmla="*/ 1772075 h 2164296"/>
                <a:gd name="connsiteX53" fmla="*/ 1919044 w 2200032"/>
                <a:gd name="connsiteY53" fmla="*/ 1786363 h 2164296"/>
                <a:gd name="connsiteX54" fmla="*/ 1871419 w 2200032"/>
                <a:gd name="connsiteY54" fmla="*/ 1814938 h 2164296"/>
                <a:gd name="connsiteX55" fmla="*/ 1857132 w 2200032"/>
                <a:gd name="connsiteY55" fmla="*/ 1833988 h 2164296"/>
                <a:gd name="connsiteX56" fmla="*/ 1804744 w 2200032"/>
                <a:gd name="connsiteY56" fmla="*/ 1862563 h 2164296"/>
                <a:gd name="connsiteX57" fmla="*/ 1661870 w 2200032"/>
                <a:gd name="connsiteY57" fmla="*/ 1891137 h 2164296"/>
                <a:gd name="connsiteX58" fmla="*/ 1414219 w 2200032"/>
                <a:gd name="connsiteY58" fmla="*/ 2014962 h 2164296"/>
                <a:gd name="connsiteX59" fmla="*/ 1361832 w 2200032"/>
                <a:gd name="connsiteY59" fmla="*/ 2053063 h 2164296"/>
                <a:gd name="connsiteX60" fmla="*/ 1347544 w 2200032"/>
                <a:gd name="connsiteY60" fmla="*/ 2062588 h 2164296"/>
                <a:gd name="connsiteX61" fmla="*/ 1309444 w 2200032"/>
                <a:gd name="connsiteY61" fmla="*/ 2072113 h 2164296"/>
                <a:gd name="connsiteX62" fmla="*/ 1285632 w 2200032"/>
                <a:gd name="connsiteY62" fmla="*/ 2086400 h 2164296"/>
                <a:gd name="connsiteX63" fmla="*/ 1233244 w 2200032"/>
                <a:gd name="connsiteY63" fmla="*/ 2100688 h 2164296"/>
                <a:gd name="connsiteX64" fmla="*/ 1190382 w 2200032"/>
                <a:gd name="connsiteY64" fmla="*/ 2119738 h 2164296"/>
                <a:gd name="connsiteX65" fmla="*/ 1171332 w 2200032"/>
                <a:gd name="connsiteY65" fmla="*/ 2134025 h 2164296"/>
                <a:gd name="connsiteX66" fmla="*/ 1099894 w 2200032"/>
                <a:gd name="connsiteY66" fmla="*/ 2148313 h 2164296"/>
                <a:gd name="connsiteX67" fmla="*/ 1071319 w 2200032"/>
                <a:gd name="connsiteY67" fmla="*/ 2162600 h 2164296"/>
                <a:gd name="connsiteX68" fmla="*/ 937969 w 2200032"/>
                <a:gd name="connsiteY68" fmla="*/ 2157838 h 2164296"/>
                <a:gd name="connsiteX69" fmla="*/ 828432 w 2200032"/>
                <a:gd name="connsiteY69" fmla="*/ 2105450 h 2164296"/>
                <a:gd name="connsiteX70" fmla="*/ 790332 w 2200032"/>
                <a:gd name="connsiteY70" fmla="*/ 2091163 h 2164296"/>
                <a:gd name="connsiteX71" fmla="*/ 742707 w 2200032"/>
                <a:gd name="connsiteY71" fmla="*/ 2062588 h 2164296"/>
                <a:gd name="connsiteX72" fmla="*/ 685557 w 2200032"/>
                <a:gd name="connsiteY72" fmla="*/ 2038775 h 2164296"/>
                <a:gd name="connsiteX73" fmla="*/ 652219 w 2200032"/>
                <a:gd name="connsiteY73" fmla="*/ 2005438 h 2164296"/>
                <a:gd name="connsiteX74" fmla="*/ 614119 w 2200032"/>
                <a:gd name="connsiteY74" fmla="*/ 1976863 h 2164296"/>
                <a:gd name="connsiteX75" fmla="*/ 599832 w 2200032"/>
                <a:gd name="connsiteY75" fmla="*/ 1957813 h 2164296"/>
                <a:gd name="connsiteX76" fmla="*/ 585544 w 2200032"/>
                <a:gd name="connsiteY76" fmla="*/ 1934000 h 2164296"/>
                <a:gd name="connsiteX77" fmla="*/ 552207 w 2200032"/>
                <a:gd name="connsiteY77" fmla="*/ 1895900 h 2164296"/>
                <a:gd name="connsiteX78" fmla="*/ 409332 w 2200032"/>
                <a:gd name="connsiteY78" fmla="*/ 1705400 h 2164296"/>
                <a:gd name="connsiteX79" fmla="*/ 395044 w 2200032"/>
                <a:gd name="connsiteY79" fmla="*/ 1686350 h 2164296"/>
                <a:gd name="connsiteX80" fmla="*/ 375994 w 2200032"/>
                <a:gd name="connsiteY80" fmla="*/ 1657775 h 2164296"/>
                <a:gd name="connsiteX81" fmla="*/ 318844 w 2200032"/>
                <a:gd name="connsiteY81" fmla="*/ 1600625 h 2164296"/>
                <a:gd name="connsiteX82" fmla="*/ 295032 w 2200032"/>
                <a:gd name="connsiteY82" fmla="*/ 1576813 h 2164296"/>
                <a:gd name="connsiteX83" fmla="*/ 280744 w 2200032"/>
                <a:gd name="connsiteY83" fmla="*/ 1562525 h 2164296"/>
                <a:gd name="connsiteX84" fmla="*/ 242644 w 2200032"/>
                <a:gd name="connsiteY84" fmla="*/ 1538713 h 2164296"/>
                <a:gd name="connsiteX85" fmla="*/ 218832 w 2200032"/>
                <a:gd name="connsiteY85" fmla="*/ 1510138 h 2164296"/>
                <a:gd name="connsiteX86" fmla="*/ 195019 w 2200032"/>
                <a:gd name="connsiteY86" fmla="*/ 1491088 h 2164296"/>
                <a:gd name="connsiteX87" fmla="*/ 175969 w 2200032"/>
                <a:gd name="connsiteY87" fmla="*/ 1462513 h 2164296"/>
                <a:gd name="connsiteX88" fmla="*/ 152157 w 2200032"/>
                <a:gd name="connsiteY88" fmla="*/ 1438700 h 2164296"/>
                <a:gd name="connsiteX89" fmla="*/ 142632 w 2200032"/>
                <a:gd name="connsiteY89" fmla="*/ 1424413 h 2164296"/>
                <a:gd name="connsiteX90" fmla="*/ 123582 w 2200032"/>
                <a:gd name="connsiteY90" fmla="*/ 1405363 h 2164296"/>
                <a:gd name="connsiteX91" fmla="*/ 61669 w 2200032"/>
                <a:gd name="connsiteY91" fmla="*/ 1305350 h 2164296"/>
                <a:gd name="connsiteX92" fmla="*/ 33094 w 2200032"/>
                <a:gd name="connsiteY92" fmla="*/ 991025 h 2164296"/>
                <a:gd name="connsiteX93" fmla="*/ 71194 w 2200032"/>
                <a:gd name="connsiteY93" fmla="*/ 929113 h 2164296"/>
                <a:gd name="connsiteX94" fmla="*/ 95007 w 2200032"/>
                <a:gd name="connsiteY94" fmla="*/ 891013 h 2164296"/>
                <a:gd name="connsiteX95" fmla="*/ 114057 w 2200032"/>
                <a:gd name="connsiteY95" fmla="*/ 848150 h 2164296"/>
                <a:gd name="connsiteX96" fmla="*/ 175969 w 2200032"/>
                <a:gd name="connsiteY96" fmla="*/ 733850 h 2164296"/>
                <a:gd name="connsiteX97" fmla="*/ 237882 w 2200032"/>
                <a:gd name="connsiteY97" fmla="*/ 610025 h 2164296"/>
                <a:gd name="connsiteX98" fmla="*/ 242644 w 2200032"/>
                <a:gd name="connsiteY98" fmla="*/ 581450 h 2164296"/>
                <a:gd name="connsiteX99" fmla="*/ 266457 w 2200032"/>
                <a:gd name="connsiteY99" fmla="*/ 538588 h 2164296"/>
                <a:gd name="connsiteX100" fmla="*/ 280744 w 2200032"/>
                <a:gd name="connsiteY100" fmla="*/ 500488 h 2164296"/>
                <a:gd name="connsiteX101" fmla="*/ 295032 w 2200032"/>
                <a:gd name="connsiteY101" fmla="*/ 471913 h 2164296"/>
                <a:gd name="connsiteX102" fmla="*/ 304557 w 2200032"/>
                <a:gd name="connsiteY102" fmla="*/ 443338 h 2164296"/>
                <a:gd name="connsiteX103" fmla="*/ 314082 w 2200032"/>
                <a:gd name="connsiteY103" fmla="*/ 429050 h 2164296"/>
                <a:gd name="connsiteX104" fmla="*/ 323607 w 2200032"/>
                <a:gd name="connsiteY104" fmla="*/ 405238 h 2164296"/>
                <a:gd name="connsiteX105" fmla="*/ 342657 w 2200032"/>
                <a:gd name="connsiteY105" fmla="*/ 381425 h 2164296"/>
                <a:gd name="connsiteX106" fmla="*/ 361707 w 2200032"/>
                <a:gd name="connsiteY106" fmla="*/ 333800 h 2164296"/>
                <a:gd name="connsiteX107" fmla="*/ 390282 w 2200032"/>
                <a:gd name="connsiteY107" fmla="*/ 290938 h 2164296"/>
                <a:gd name="connsiteX108" fmla="*/ 414094 w 2200032"/>
                <a:gd name="connsiteY108" fmla="*/ 248075 h 2164296"/>
                <a:gd name="connsiteX109" fmla="*/ 428382 w 2200032"/>
                <a:gd name="connsiteY109" fmla="*/ 229025 h 2164296"/>
                <a:gd name="connsiteX110" fmla="*/ 452194 w 2200032"/>
                <a:gd name="connsiteY110" fmla="*/ 214738 h 2164296"/>
                <a:gd name="connsiteX111" fmla="*/ 476007 w 2200032"/>
                <a:gd name="connsiteY111" fmla="*/ 190925 h 2164296"/>
                <a:gd name="connsiteX112" fmla="*/ 490294 w 2200032"/>
                <a:gd name="connsiteY112" fmla="*/ 181400 h 2164296"/>
                <a:gd name="connsiteX113" fmla="*/ 523632 w 2200032"/>
                <a:gd name="connsiteY113" fmla="*/ 143300 h 2164296"/>
                <a:gd name="connsiteX114" fmla="*/ 537919 w 2200032"/>
                <a:gd name="connsiteY114" fmla="*/ 133775 h 2164296"/>
                <a:gd name="connsiteX115" fmla="*/ 647457 w 2200032"/>
                <a:gd name="connsiteY115" fmla="*/ 71863 h 2164296"/>
                <a:gd name="connsiteX116" fmla="*/ 661744 w 2200032"/>
                <a:gd name="connsiteY116" fmla="*/ 52813 h 2164296"/>
                <a:gd name="connsiteX117" fmla="*/ 680794 w 2200032"/>
                <a:gd name="connsiteY117" fmla="*/ 48050 h 2164296"/>
                <a:gd name="connsiteX118" fmla="*/ 704607 w 2200032"/>
                <a:gd name="connsiteY118" fmla="*/ 38525 h 2164296"/>
                <a:gd name="connsiteX119" fmla="*/ 747469 w 2200032"/>
                <a:gd name="connsiteY119" fmla="*/ 24238 h 2164296"/>
                <a:gd name="connsiteX120" fmla="*/ 776044 w 2200032"/>
                <a:gd name="connsiteY120" fmla="*/ 14713 h 2164296"/>
                <a:gd name="connsiteX121" fmla="*/ 823669 w 2200032"/>
                <a:gd name="connsiteY121" fmla="*/ 9950 h 2164296"/>
                <a:gd name="connsiteX122" fmla="*/ 895107 w 2200032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810660 w 2205948"/>
                <a:gd name="connsiteY56" fmla="*/ 1862563 h 2164296"/>
                <a:gd name="connsiteX57" fmla="*/ 1667786 w 2205948"/>
                <a:gd name="connsiteY57" fmla="*/ 1891137 h 2164296"/>
                <a:gd name="connsiteX58" fmla="*/ 1420135 w 2205948"/>
                <a:gd name="connsiteY58" fmla="*/ 2014962 h 2164296"/>
                <a:gd name="connsiteX59" fmla="*/ 1367748 w 2205948"/>
                <a:gd name="connsiteY59" fmla="*/ 2053063 h 2164296"/>
                <a:gd name="connsiteX60" fmla="*/ 1353460 w 2205948"/>
                <a:gd name="connsiteY60" fmla="*/ 2062588 h 2164296"/>
                <a:gd name="connsiteX61" fmla="*/ 1315360 w 2205948"/>
                <a:gd name="connsiteY61" fmla="*/ 2072113 h 2164296"/>
                <a:gd name="connsiteX62" fmla="*/ 1291548 w 2205948"/>
                <a:gd name="connsiteY62" fmla="*/ 2086400 h 2164296"/>
                <a:gd name="connsiteX63" fmla="*/ 1239160 w 2205948"/>
                <a:gd name="connsiteY63" fmla="*/ 2100688 h 2164296"/>
                <a:gd name="connsiteX64" fmla="*/ 1196298 w 2205948"/>
                <a:gd name="connsiteY64" fmla="*/ 2119738 h 2164296"/>
                <a:gd name="connsiteX65" fmla="*/ 1177248 w 2205948"/>
                <a:gd name="connsiteY65" fmla="*/ 2134025 h 2164296"/>
                <a:gd name="connsiteX66" fmla="*/ 1105810 w 2205948"/>
                <a:gd name="connsiteY66" fmla="*/ 2148313 h 2164296"/>
                <a:gd name="connsiteX67" fmla="*/ 1077235 w 2205948"/>
                <a:gd name="connsiteY67" fmla="*/ 2162600 h 2164296"/>
                <a:gd name="connsiteX68" fmla="*/ 943885 w 2205948"/>
                <a:gd name="connsiteY68" fmla="*/ 2157838 h 2164296"/>
                <a:gd name="connsiteX69" fmla="*/ 834348 w 2205948"/>
                <a:gd name="connsiteY69" fmla="*/ 2105450 h 2164296"/>
                <a:gd name="connsiteX70" fmla="*/ 796248 w 2205948"/>
                <a:gd name="connsiteY70" fmla="*/ 2091163 h 2164296"/>
                <a:gd name="connsiteX71" fmla="*/ 748623 w 2205948"/>
                <a:gd name="connsiteY71" fmla="*/ 2062588 h 2164296"/>
                <a:gd name="connsiteX72" fmla="*/ 691473 w 2205948"/>
                <a:gd name="connsiteY72" fmla="*/ 2038775 h 2164296"/>
                <a:gd name="connsiteX73" fmla="*/ 658135 w 2205948"/>
                <a:gd name="connsiteY73" fmla="*/ 2005438 h 2164296"/>
                <a:gd name="connsiteX74" fmla="*/ 620035 w 2205948"/>
                <a:gd name="connsiteY74" fmla="*/ 1976863 h 2164296"/>
                <a:gd name="connsiteX75" fmla="*/ 605748 w 2205948"/>
                <a:gd name="connsiteY75" fmla="*/ 1957813 h 2164296"/>
                <a:gd name="connsiteX76" fmla="*/ 591460 w 2205948"/>
                <a:gd name="connsiteY76" fmla="*/ 1934000 h 2164296"/>
                <a:gd name="connsiteX77" fmla="*/ 558123 w 2205948"/>
                <a:gd name="connsiteY77" fmla="*/ 1895900 h 2164296"/>
                <a:gd name="connsiteX78" fmla="*/ 415248 w 2205948"/>
                <a:gd name="connsiteY78" fmla="*/ 1705400 h 2164296"/>
                <a:gd name="connsiteX79" fmla="*/ 400960 w 2205948"/>
                <a:gd name="connsiteY79" fmla="*/ 1686350 h 2164296"/>
                <a:gd name="connsiteX80" fmla="*/ 381910 w 2205948"/>
                <a:gd name="connsiteY80" fmla="*/ 1657775 h 2164296"/>
                <a:gd name="connsiteX81" fmla="*/ 324760 w 2205948"/>
                <a:gd name="connsiteY81" fmla="*/ 1600625 h 2164296"/>
                <a:gd name="connsiteX82" fmla="*/ 300948 w 2205948"/>
                <a:gd name="connsiteY82" fmla="*/ 1576813 h 2164296"/>
                <a:gd name="connsiteX83" fmla="*/ 286660 w 2205948"/>
                <a:gd name="connsiteY83" fmla="*/ 1562525 h 2164296"/>
                <a:gd name="connsiteX84" fmla="*/ 248560 w 2205948"/>
                <a:gd name="connsiteY84" fmla="*/ 1538713 h 2164296"/>
                <a:gd name="connsiteX85" fmla="*/ 224748 w 2205948"/>
                <a:gd name="connsiteY85" fmla="*/ 1510138 h 2164296"/>
                <a:gd name="connsiteX86" fmla="*/ 200935 w 2205948"/>
                <a:gd name="connsiteY86" fmla="*/ 1491088 h 2164296"/>
                <a:gd name="connsiteX87" fmla="*/ 181885 w 2205948"/>
                <a:gd name="connsiteY87" fmla="*/ 1462513 h 2164296"/>
                <a:gd name="connsiteX88" fmla="*/ 158073 w 2205948"/>
                <a:gd name="connsiteY88" fmla="*/ 1438700 h 2164296"/>
                <a:gd name="connsiteX89" fmla="*/ 148548 w 2205948"/>
                <a:gd name="connsiteY89" fmla="*/ 1424413 h 2164296"/>
                <a:gd name="connsiteX90" fmla="*/ 129498 w 2205948"/>
                <a:gd name="connsiteY90" fmla="*/ 1405363 h 2164296"/>
                <a:gd name="connsiteX91" fmla="*/ 67585 w 2205948"/>
                <a:gd name="connsiteY91" fmla="*/ 1305350 h 2164296"/>
                <a:gd name="connsiteX92" fmla="*/ 39010 w 2205948"/>
                <a:gd name="connsiteY92" fmla="*/ 991025 h 2164296"/>
                <a:gd name="connsiteX93" fmla="*/ 77110 w 2205948"/>
                <a:gd name="connsiteY93" fmla="*/ 929113 h 2164296"/>
                <a:gd name="connsiteX94" fmla="*/ 100923 w 2205948"/>
                <a:gd name="connsiteY94" fmla="*/ 891013 h 2164296"/>
                <a:gd name="connsiteX95" fmla="*/ 119973 w 2205948"/>
                <a:gd name="connsiteY95" fmla="*/ 848150 h 2164296"/>
                <a:gd name="connsiteX96" fmla="*/ 181885 w 2205948"/>
                <a:gd name="connsiteY96" fmla="*/ 733850 h 2164296"/>
                <a:gd name="connsiteX97" fmla="*/ 243798 w 2205948"/>
                <a:gd name="connsiteY97" fmla="*/ 610025 h 2164296"/>
                <a:gd name="connsiteX98" fmla="*/ 248560 w 2205948"/>
                <a:gd name="connsiteY98" fmla="*/ 581450 h 2164296"/>
                <a:gd name="connsiteX99" fmla="*/ 272373 w 2205948"/>
                <a:gd name="connsiteY99" fmla="*/ 538588 h 2164296"/>
                <a:gd name="connsiteX100" fmla="*/ 286660 w 2205948"/>
                <a:gd name="connsiteY100" fmla="*/ 500488 h 2164296"/>
                <a:gd name="connsiteX101" fmla="*/ 300948 w 2205948"/>
                <a:gd name="connsiteY101" fmla="*/ 471913 h 2164296"/>
                <a:gd name="connsiteX102" fmla="*/ 310473 w 2205948"/>
                <a:gd name="connsiteY102" fmla="*/ 443338 h 2164296"/>
                <a:gd name="connsiteX103" fmla="*/ 319998 w 2205948"/>
                <a:gd name="connsiteY103" fmla="*/ 429050 h 2164296"/>
                <a:gd name="connsiteX104" fmla="*/ 329523 w 2205948"/>
                <a:gd name="connsiteY104" fmla="*/ 405238 h 2164296"/>
                <a:gd name="connsiteX105" fmla="*/ 348573 w 2205948"/>
                <a:gd name="connsiteY105" fmla="*/ 381425 h 2164296"/>
                <a:gd name="connsiteX106" fmla="*/ 367623 w 2205948"/>
                <a:gd name="connsiteY106" fmla="*/ 333800 h 2164296"/>
                <a:gd name="connsiteX107" fmla="*/ 396198 w 2205948"/>
                <a:gd name="connsiteY107" fmla="*/ 290938 h 2164296"/>
                <a:gd name="connsiteX108" fmla="*/ 420010 w 2205948"/>
                <a:gd name="connsiteY108" fmla="*/ 248075 h 2164296"/>
                <a:gd name="connsiteX109" fmla="*/ 434298 w 2205948"/>
                <a:gd name="connsiteY109" fmla="*/ 229025 h 2164296"/>
                <a:gd name="connsiteX110" fmla="*/ 458110 w 2205948"/>
                <a:gd name="connsiteY110" fmla="*/ 214738 h 2164296"/>
                <a:gd name="connsiteX111" fmla="*/ 481923 w 2205948"/>
                <a:gd name="connsiteY111" fmla="*/ 190925 h 2164296"/>
                <a:gd name="connsiteX112" fmla="*/ 496210 w 2205948"/>
                <a:gd name="connsiteY112" fmla="*/ 181400 h 2164296"/>
                <a:gd name="connsiteX113" fmla="*/ 529548 w 2205948"/>
                <a:gd name="connsiteY113" fmla="*/ 143300 h 2164296"/>
                <a:gd name="connsiteX114" fmla="*/ 543835 w 2205948"/>
                <a:gd name="connsiteY114" fmla="*/ 133775 h 2164296"/>
                <a:gd name="connsiteX115" fmla="*/ 653373 w 2205948"/>
                <a:gd name="connsiteY115" fmla="*/ 71863 h 2164296"/>
                <a:gd name="connsiteX116" fmla="*/ 667660 w 2205948"/>
                <a:gd name="connsiteY116" fmla="*/ 52813 h 2164296"/>
                <a:gd name="connsiteX117" fmla="*/ 686710 w 2205948"/>
                <a:gd name="connsiteY117" fmla="*/ 48050 h 2164296"/>
                <a:gd name="connsiteX118" fmla="*/ 710523 w 2205948"/>
                <a:gd name="connsiteY118" fmla="*/ 38525 h 2164296"/>
                <a:gd name="connsiteX119" fmla="*/ 753385 w 2205948"/>
                <a:gd name="connsiteY119" fmla="*/ 24238 h 2164296"/>
                <a:gd name="connsiteX120" fmla="*/ 781960 w 2205948"/>
                <a:gd name="connsiteY120" fmla="*/ 14713 h 2164296"/>
                <a:gd name="connsiteX121" fmla="*/ 829585 w 2205948"/>
                <a:gd name="connsiteY121" fmla="*/ 9950 h 2164296"/>
                <a:gd name="connsiteX122" fmla="*/ 901023 w 2205948"/>
                <a:gd name="connsiteY122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863048 w 2205948"/>
                <a:gd name="connsiteY55" fmla="*/ 1833988 h 2164296"/>
                <a:gd name="connsiteX56" fmla="*/ 1667786 w 2205948"/>
                <a:gd name="connsiteY56" fmla="*/ 1891137 h 2164296"/>
                <a:gd name="connsiteX57" fmla="*/ 1420135 w 2205948"/>
                <a:gd name="connsiteY57" fmla="*/ 2014962 h 2164296"/>
                <a:gd name="connsiteX58" fmla="*/ 1367748 w 2205948"/>
                <a:gd name="connsiteY58" fmla="*/ 2053063 h 2164296"/>
                <a:gd name="connsiteX59" fmla="*/ 1353460 w 2205948"/>
                <a:gd name="connsiteY59" fmla="*/ 2062588 h 2164296"/>
                <a:gd name="connsiteX60" fmla="*/ 1315360 w 2205948"/>
                <a:gd name="connsiteY60" fmla="*/ 2072113 h 2164296"/>
                <a:gd name="connsiteX61" fmla="*/ 1291548 w 2205948"/>
                <a:gd name="connsiteY61" fmla="*/ 2086400 h 2164296"/>
                <a:gd name="connsiteX62" fmla="*/ 1239160 w 2205948"/>
                <a:gd name="connsiteY62" fmla="*/ 2100688 h 2164296"/>
                <a:gd name="connsiteX63" fmla="*/ 1196298 w 2205948"/>
                <a:gd name="connsiteY63" fmla="*/ 2119738 h 2164296"/>
                <a:gd name="connsiteX64" fmla="*/ 1177248 w 2205948"/>
                <a:gd name="connsiteY64" fmla="*/ 2134025 h 2164296"/>
                <a:gd name="connsiteX65" fmla="*/ 1105810 w 2205948"/>
                <a:gd name="connsiteY65" fmla="*/ 2148313 h 2164296"/>
                <a:gd name="connsiteX66" fmla="*/ 1077235 w 2205948"/>
                <a:gd name="connsiteY66" fmla="*/ 2162600 h 2164296"/>
                <a:gd name="connsiteX67" fmla="*/ 943885 w 2205948"/>
                <a:gd name="connsiteY67" fmla="*/ 2157838 h 2164296"/>
                <a:gd name="connsiteX68" fmla="*/ 834348 w 2205948"/>
                <a:gd name="connsiteY68" fmla="*/ 2105450 h 2164296"/>
                <a:gd name="connsiteX69" fmla="*/ 796248 w 2205948"/>
                <a:gd name="connsiteY69" fmla="*/ 2091163 h 2164296"/>
                <a:gd name="connsiteX70" fmla="*/ 748623 w 2205948"/>
                <a:gd name="connsiteY70" fmla="*/ 2062588 h 2164296"/>
                <a:gd name="connsiteX71" fmla="*/ 691473 w 2205948"/>
                <a:gd name="connsiteY71" fmla="*/ 2038775 h 2164296"/>
                <a:gd name="connsiteX72" fmla="*/ 658135 w 2205948"/>
                <a:gd name="connsiteY72" fmla="*/ 2005438 h 2164296"/>
                <a:gd name="connsiteX73" fmla="*/ 620035 w 2205948"/>
                <a:gd name="connsiteY73" fmla="*/ 1976863 h 2164296"/>
                <a:gd name="connsiteX74" fmla="*/ 605748 w 2205948"/>
                <a:gd name="connsiteY74" fmla="*/ 1957813 h 2164296"/>
                <a:gd name="connsiteX75" fmla="*/ 591460 w 2205948"/>
                <a:gd name="connsiteY75" fmla="*/ 1934000 h 2164296"/>
                <a:gd name="connsiteX76" fmla="*/ 558123 w 2205948"/>
                <a:gd name="connsiteY76" fmla="*/ 1895900 h 2164296"/>
                <a:gd name="connsiteX77" fmla="*/ 415248 w 2205948"/>
                <a:gd name="connsiteY77" fmla="*/ 1705400 h 2164296"/>
                <a:gd name="connsiteX78" fmla="*/ 400960 w 2205948"/>
                <a:gd name="connsiteY78" fmla="*/ 1686350 h 2164296"/>
                <a:gd name="connsiteX79" fmla="*/ 381910 w 2205948"/>
                <a:gd name="connsiteY79" fmla="*/ 1657775 h 2164296"/>
                <a:gd name="connsiteX80" fmla="*/ 324760 w 2205948"/>
                <a:gd name="connsiteY80" fmla="*/ 1600625 h 2164296"/>
                <a:gd name="connsiteX81" fmla="*/ 300948 w 2205948"/>
                <a:gd name="connsiteY81" fmla="*/ 1576813 h 2164296"/>
                <a:gd name="connsiteX82" fmla="*/ 286660 w 2205948"/>
                <a:gd name="connsiteY82" fmla="*/ 1562525 h 2164296"/>
                <a:gd name="connsiteX83" fmla="*/ 248560 w 2205948"/>
                <a:gd name="connsiteY83" fmla="*/ 1538713 h 2164296"/>
                <a:gd name="connsiteX84" fmla="*/ 224748 w 2205948"/>
                <a:gd name="connsiteY84" fmla="*/ 1510138 h 2164296"/>
                <a:gd name="connsiteX85" fmla="*/ 200935 w 2205948"/>
                <a:gd name="connsiteY85" fmla="*/ 1491088 h 2164296"/>
                <a:gd name="connsiteX86" fmla="*/ 181885 w 2205948"/>
                <a:gd name="connsiteY86" fmla="*/ 1462513 h 2164296"/>
                <a:gd name="connsiteX87" fmla="*/ 158073 w 2205948"/>
                <a:gd name="connsiteY87" fmla="*/ 1438700 h 2164296"/>
                <a:gd name="connsiteX88" fmla="*/ 148548 w 2205948"/>
                <a:gd name="connsiteY88" fmla="*/ 1424413 h 2164296"/>
                <a:gd name="connsiteX89" fmla="*/ 129498 w 2205948"/>
                <a:gd name="connsiteY89" fmla="*/ 1405363 h 2164296"/>
                <a:gd name="connsiteX90" fmla="*/ 67585 w 2205948"/>
                <a:gd name="connsiteY90" fmla="*/ 1305350 h 2164296"/>
                <a:gd name="connsiteX91" fmla="*/ 39010 w 2205948"/>
                <a:gd name="connsiteY91" fmla="*/ 991025 h 2164296"/>
                <a:gd name="connsiteX92" fmla="*/ 77110 w 2205948"/>
                <a:gd name="connsiteY92" fmla="*/ 929113 h 2164296"/>
                <a:gd name="connsiteX93" fmla="*/ 100923 w 2205948"/>
                <a:gd name="connsiteY93" fmla="*/ 891013 h 2164296"/>
                <a:gd name="connsiteX94" fmla="*/ 119973 w 2205948"/>
                <a:gd name="connsiteY94" fmla="*/ 848150 h 2164296"/>
                <a:gd name="connsiteX95" fmla="*/ 181885 w 2205948"/>
                <a:gd name="connsiteY95" fmla="*/ 733850 h 2164296"/>
                <a:gd name="connsiteX96" fmla="*/ 243798 w 2205948"/>
                <a:gd name="connsiteY96" fmla="*/ 610025 h 2164296"/>
                <a:gd name="connsiteX97" fmla="*/ 248560 w 2205948"/>
                <a:gd name="connsiteY97" fmla="*/ 581450 h 2164296"/>
                <a:gd name="connsiteX98" fmla="*/ 272373 w 2205948"/>
                <a:gd name="connsiteY98" fmla="*/ 538588 h 2164296"/>
                <a:gd name="connsiteX99" fmla="*/ 286660 w 2205948"/>
                <a:gd name="connsiteY99" fmla="*/ 500488 h 2164296"/>
                <a:gd name="connsiteX100" fmla="*/ 300948 w 2205948"/>
                <a:gd name="connsiteY100" fmla="*/ 471913 h 2164296"/>
                <a:gd name="connsiteX101" fmla="*/ 310473 w 2205948"/>
                <a:gd name="connsiteY101" fmla="*/ 443338 h 2164296"/>
                <a:gd name="connsiteX102" fmla="*/ 319998 w 2205948"/>
                <a:gd name="connsiteY102" fmla="*/ 429050 h 2164296"/>
                <a:gd name="connsiteX103" fmla="*/ 329523 w 2205948"/>
                <a:gd name="connsiteY103" fmla="*/ 405238 h 2164296"/>
                <a:gd name="connsiteX104" fmla="*/ 348573 w 2205948"/>
                <a:gd name="connsiteY104" fmla="*/ 381425 h 2164296"/>
                <a:gd name="connsiteX105" fmla="*/ 367623 w 2205948"/>
                <a:gd name="connsiteY105" fmla="*/ 333800 h 2164296"/>
                <a:gd name="connsiteX106" fmla="*/ 396198 w 2205948"/>
                <a:gd name="connsiteY106" fmla="*/ 290938 h 2164296"/>
                <a:gd name="connsiteX107" fmla="*/ 420010 w 2205948"/>
                <a:gd name="connsiteY107" fmla="*/ 248075 h 2164296"/>
                <a:gd name="connsiteX108" fmla="*/ 434298 w 2205948"/>
                <a:gd name="connsiteY108" fmla="*/ 229025 h 2164296"/>
                <a:gd name="connsiteX109" fmla="*/ 458110 w 2205948"/>
                <a:gd name="connsiteY109" fmla="*/ 214738 h 2164296"/>
                <a:gd name="connsiteX110" fmla="*/ 481923 w 2205948"/>
                <a:gd name="connsiteY110" fmla="*/ 190925 h 2164296"/>
                <a:gd name="connsiteX111" fmla="*/ 496210 w 2205948"/>
                <a:gd name="connsiteY111" fmla="*/ 181400 h 2164296"/>
                <a:gd name="connsiteX112" fmla="*/ 529548 w 2205948"/>
                <a:gd name="connsiteY112" fmla="*/ 143300 h 2164296"/>
                <a:gd name="connsiteX113" fmla="*/ 543835 w 2205948"/>
                <a:gd name="connsiteY113" fmla="*/ 133775 h 2164296"/>
                <a:gd name="connsiteX114" fmla="*/ 653373 w 2205948"/>
                <a:gd name="connsiteY114" fmla="*/ 71863 h 2164296"/>
                <a:gd name="connsiteX115" fmla="*/ 667660 w 2205948"/>
                <a:gd name="connsiteY115" fmla="*/ 52813 h 2164296"/>
                <a:gd name="connsiteX116" fmla="*/ 686710 w 2205948"/>
                <a:gd name="connsiteY116" fmla="*/ 48050 h 2164296"/>
                <a:gd name="connsiteX117" fmla="*/ 710523 w 2205948"/>
                <a:gd name="connsiteY117" fmla="*/ 38525 h 2164296"/>
                <a:gd name="connsiteX118" fmla="*/ 753385 w 2205948"/>
                <a:gd name="connsiteY118" fmla="*/ 24238 h 2164296"/>
                <a:gd name="connsiteX119" fmla="*/ 781960 w 2205948"/>
                <a:gd name="connsiteY119" fmla="*/ 14713 h 2164296"/>
                <a:gd name="connsiteX120" fmla="*/ 829585 w 2205948"/>
                <a:gd name="connsiteY120" fmla="*/ 9950 h 2164296"/>
                <a:gd name="connsiteX121" fmla="*/ 901023 w 2205948"/>
                <a:gd name="connsiteY121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67786 w 2205948"/>
                <a:gd name="connsiteY55" fmla="*/ 189113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81885 w 2205948"/>
                <a:gd name="connsiteY94" fmla="*/ 73385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  <a:gd name="connsiteX0" fmla="*/ 834348 w 2205948"/>
                <a:gd name="connsiteY0" fmla="*/ 425 h 2164296"/>
                <a:gd name="connsiteX1" fmla="*/ 986748 w 2205948"/>
                <a:gd name="connsiteY1" fmla="*/ 5188 h 2164296"/>
                <a:gd name="connsiteX2" fmla="*/ 1010560 w 2205948"/>
                <a:gd name="connsiteY2" fmla="*/ 9950 h 2164296"/>
                <a:gd name="connsiteX3" fmla="*/ 1077235 w 2205948"/>
                <a:gd name="connsiteY3" fmla="*/ 19475 h 2164296"/>
                <a:gd name="connsiteX4" fmla="*/ 1105810 w 2205948"/>
                <a:gd name="connsiteY4" fmla="*/ 24238 h 2164296"/>
                <a:gd name="connsiteX5" fmla="*/ 1129623 w 2205948"/>
                <a:gd name="connsiteY5" fmla="*/ 38525 h 2164296"/>
                <a:gd name="connsiteX6" fmla="*/ 1172485 w 2205948"/>
                <a:gd name="connsiteY6" fmla="*/ 48050 h 2164296"/>
                <a:gd name="connsiteX7" fmla="*/ 1191535 w 2205948"/>
                <a:gd name="connsiteY7" fmla="*/ 52813 h 2164296"/>
                <a:gd name="connsiteX8" fmla="*/ 1224873 w 2205948"/>
                <a:gd name="connsiteY8" fmla="*/ 57575 h 2164296"/>
                <a:gd name="connsiteX9" fmla="*/ 1320123 w 2205948"/>
                <a:gd name="connsiteY9" fmla="*/ 71863 h 2164296"/>
                <a:gd name="connsiteX10" fmla="*/ 1491573 w 2205948"/>
                <a:gd name="connsiteY10" fmla="*/ 109963 h 2164296"/>
                <a:gd name="connsiteX11" fmla="*/ 1515385 w 2205948"/>
                <a:gd name="connsiteY11" fmla="*/ 114725 h 2164296"/>
                <a:gd name="connsiteX12" fmla="*/ 1653498 w 2205948"/>
                <a:gd name="connsiteY12" fmla="*/ 124250 h 2164296"/>
                <a:gd name="connsiteX13" fmla="*/ 1686835 w 2205948"/>
                <a:gd name="connsiteY13" fmla="*/ 129013 h 2164296"/>
                <a:gd name="connsiteX14" fmla="*/ 1710648 w 2205948"/>
                <a:gd name="connsiteY14" fmla="*/ 133775 h 2164296"/>
                <a:gd name="connsiteX15" fmla="*/ 1758273 w 2205948"/>
                <a:gd name="connsiteY15" fmla="*/ 138538 h 2164296"/>
                <a:gd name="connsiteX16" fmla="*/ 1796373 w 2205948"/>
                <a:gd name="connsiteY16" fmla="*/ 152825 h 2164296"/>
                <a:gd name="connsiteX17" fmla="*/ 1810660 w 2205948"/>
                <a:gd name="connsiteY17" fmla="*/ 162350 h 2164296"/>
                <a:gd name="connsiteX18" fmla="*/ 1834473 w 2205948"/>
                <a:gd name="connsiteY18" fmla="*/ 167113 h 2164296"/>
                <a:gd name="connsiteX19" fmla="*/ 1858285 w 2205948"/>
                <a:gd name="connsiteY19" fmla="*/ 181400 h 2164296"/>
                <a:gd name="connsiteX20" fmla="*/ 1882098 w 2205948"/>
                <a:gd name="connsiteY20" fmla="*/ 190925 h 2164296"/>
                <a:gd name="connsiteX21" fmla="*/ 1896385 w 2205948"/>
                <a:gd name="connsiteY21" fmla="*/ 205213 h 2164296"/>
                <a:gd name="connsiteX22" fmla="*/ 1929723 w 2205948"/>
                <a:gd name="connsiteY22" fmla="*/ 229025 h 2164296"/>
                <a:gd name="connsiteX23" fmla="*/ 1982110 w 2205948"/>
                <a:gd name="connsiteY23" fmla="*/ 267125 h 2164296"/>
                <a:gd name="connsiteX24" fmla="*/ 2005923 w 2205948"/>
                <a:gd name="connsiteY24" fmla="*/ 295700 h 2164296"/>
                <a:gd name="connsiteX25" fmla="*/ 2039260 w 2205948"/>
                <a:gd name="connsiteY25" fmla="*/ 348088 h 2164296"/>
                <a:gd name="connsiteX26" fmla="*/ 2058310 w 2205948"/>
                <a:gd name="connsiteY26" fmla="*/ 410000 h 2164296"/>
                <a:gd name="connsiteX27" fmla="*/ 2067835 w 2205948"/>
                <a:gd name="connsiteY27" fmla="*/ 443338 h 2164296"/>
                <a:gd name="connsiteX28" fmla="*/ 2072598 w 2205948"/>
                <a:gd name="connsiteY28" fmla="*/ 457625 h 2164296"/>
                <a:gd name="connsiteX29" fmla="*/ 2082123 w 2205948"/>
                <a:gd name="connsiteY29" fmla="*/ 476675 h 2164296"/>
                <a:gd name="connsiteX30" fmla="*/ 2101173 w 2205948"/>
                <a:gd name="connsiteY30" fmla="*/ 548113 h 2164296"/>
                <a:gd name="connsiteX31" fmla="*/ 2115460 w 2205948"/>
                <a:gd name="connsiteY31" fmla="*/ 610025 h 2164296"/>
                <a:gd name="connsiteX32" fmla="*/ 2120223 w 2205948"/>
                <a:gd name="connsiteY32" fmla="*/ 914825 h 2164296"/>
                <a:gd name="connsiteX33" fmla="*/ 2158323 w 2205948"/>
                <a:gd name="connsiteY33" fmla="*/ 1086275 h 2164296"/>
                <a:gd name="connsiteX34" fmla="*/ 2163085 w 2205948"/>
                <a:gd name="connsiteY34" fmla="*/ 1148188 h 2164296"/>
                <a:gd name="connsiteX35" fmla="*/ 2177373 w 2205948"/>
                <a:gd name="connsiteY35" fmla="*/ 1191050 h 2164296"/>
                <a:gd name="connsiteX36" fmla="*/ 2182135 w 2205948"/>
                <a:gd name="connsiteY36" fmla="*/ 1224388 h 2164296"/>
                <a:gd name="connsiteX37" fmla="*/ 2201185 w 2205948"/>
                <a:gd name="connsiteY37" fmla="*/ 1276775 h 2164296"/>
                <a:gd name="connsiteX38" fmla="*/ 2205948 w 2205948"/>
                <a:gd name="connsiteY38" fmla="*/ 1300588 h 2164296"/>
                <a:gd name="connsiteX39" fmla="*/ 2201185 w 2205948"/>
                <a:gd name="connsiteY39" fmla="*/ 1514900 h 2164296"/>
                <a:gd name="connsiteX40" fmla="*/ 2191660 w 2205948"/>
                <a:gd name="connsiteY40" fmla="*/ 1529188 h 2164296"/>
                <a:gd name="connsiteX41" fmla="*/ 2182135 w 2205948"/>
                <a:gd name="connsiteY41" fmla="*/ 1562525 h 2164296"/>
                <a:gd name="connsiteX42" fmla="*/ 2172610 w 2205948"/>
                <a:gd name="connsiteY42" fmla="*/ 1576813 h 2164296"/>
                <a:gd name="connsiteX43" fmla="*/ 2167848 w 2205948"/>
                <a:gd name="connsiteY43" fmla="*/ 1600625 h 2164296"/>
                <a:gd name="connsiteX44" fmla="*/ 2153560 w 2205948"/>
                <a:gd name="connsiteY44" fmla="*/ 1614913 h 2164296"/>
                <a:gd name="connsiteX45" fmla="*/ 2144035 w 2205948"/>
                <a:gd name="connsiteY45" fmla="*/ 1629200 h 2164296"/>
                <a:gd name="connsiteX46" fmla="*/ 2115460 w 2205948"/>
                <a:gd name="connsiteY46" fmla="*/ 1657775 h 2164296"/>
                <a:gd name="connsiteX47" fmla="*/ 2086885 w 2205948"/>
                <a:gd name="connsiteY47" fmla="*/ 1686350 h 2164296"/>
                <a:gd name="connsiteX48" fmla="*/ 2077360 w 2205948"/>
                <a:gd name="connsiteY48" fmla="*/ 1700638 h 2164296"/>
                <a:gd name="connsiteX49" fmla="*/ 2063073 w 2205948"/>
                <a:gd name="connsiteY49" fmla="*/ 1710163 h 2164296"/>
                <a:gd name="connsiteX50" fmla="*/ 2039260 w 2205948"/>
                <a:gd name="connsiteY50" fmla="*/ 1724450 h 2164296"/>
                <a:gd name="connsiteX51" fmla="*/ 2015448 w 2205948"/>
                <a:gd name="connsiteY51" fmla="*/ 1743500 h 2164296"/>
                <a:gd name="connsiteX52" fmla="*/ 1944010 w 2205948"/>
                <a:gd name="connsiteY52" fmla="*/ 1772075 h 2164296"/>
                <a:gd name="connsiteX53" fmla="*/ 1924960 w 2205948"/>
                <a:gd name="connsiteY53" fmla="*/ 1786363 h 2164296"/>
                <a:gd name="connsiteX54" fmla="*/ 1877335 w 2205948"/>
                <a:gd name="connsiteY54" fmla="*/ 1814938 h 2164296"/>
                <a:gd name="connsiteX55" fmla="*/ 1653499 w 2205948"/>
                <a:gd name="connsiteY55" fmla="*/ 1872087 h 2164296"/>
                <a:gd name="connsiteX56" fmla="*/ 1420135 w 2205948"/>
                <a:gd name="connsiteY56" fmla="*/ 2014962 h 2164296"/>
                <a:gd name="connsiteX57" fmla="*/ 1367748 w 2205948"/>
                <a:gd name="connsiteY57" fmla="*/ 2053063 h 2164296"/>
                <a:gd name="connsiteX58" fmla="*/ 1353460 w 2205948"/>
                <a:gd name="connsiteY58" fmla="*/ 2062588 h 2164296"/>
                <a:gd name="connsiteX59" fmla="*/ 1315360 w 2205948"/>
                <a:gd name="connsiteY59" fmla="*/ 2072113 h 2164296"/>
                <a:gd name="connsiteX60" fmla="*/ 1291548 w 2205948"/>
                <a:gd name="connsiteY60" fmla="*/ 2086400 h 2164296"/>
                <a:gd name="connsiteX61" fmla="*/ 1239160 w 2205948"/>
                <a:gd name="connsiteY61" fmla="*/ 2100688 h 2164296"/>
                <a:gd name="connsiteX62" fmla="*/ 1196298 w 2205948"/>
                <a:gd name="connsiteY62" fmla="*/ 2119738 h 2164296"/>
                <a:gd name="connsiteX63" fmla="*/ 1177248 w 2205948"/>
                <a:gd name="connsiteY63" fmla="*/ 2134025 h 2164296"/>
                <a:gd name="connsiteX64" fmla="*/ 1105810 w 2205948"/>
                <a:gd name="connsiteY64" fmla="*/ 2148313 h 2164296"/>
                <a:gd name="connsiteX65" fmla="*/ 1077235 w 2205948"/>
                <a:gd name="connsiteY65" fmla="*/ 2162600 h 2164296"/>
                <a:gd name="connsiteX66" fmla="*/ 943885 w 2205948"/>
                <a:gd name="connsiteY66" fmla="*/ 2157838 h 2164296"/>
                <a:gd name="connsiteX67" fmla="*/ 834348 w 2205948"/>
                <a:gd name="connsiteY67" fmla="*/ 2105450 h 2164296"/>
                <a:gd name="connsiteX68" fmla="*/ 796248 w 2205948"/>
                <a:gd name="connsiteY68" fmla="*/ 2091163 h 2164296"/>
                <a:gd name="connsiteX69" fmla="*/ 748623 w 2205948"/>
                <a:gd name="connsiteY69" fmla="*/ 2062588 h 2164296"/>
                <a:gd name="connsiteX70" fmla="*/ 691473 w 2205948"/>
                <a:gd name="connsiteY70" fmla="*/ 2038775 h 2164296"/>
                <a:gd name="connsiteX71" fmla="*/ 658135 w 2205948"/>
                <a:gd name="connsiteY71" fmla="*/ 2005438 h 2164296"/>
                <a:gd name="connsiteX72" fmla="*/ 620035 w 2205948"/>
                <a:gd name="connsiteY72" fmla="*/ 1976863 h 2164296"/>
                <a:gd name="connsiteX73" fmla="*/ 605748 w 2205948"/>
                <a:gd name="connsiteY73" fmla="*/ 1957813 h 2164296"/>
                <a:gd name="connsiteX74" fmla="*/ 591460 w 2205948"/>
                <a:gd name="connsiteY74" fmla="*/ 1934000 h 2164296"/>
                <a:gd name="connsiteX75" fmla="*/ 558123 w 2205948"/>
                <a:gd name="connsiteY75" fmla="*/ 1895900 h 2164296"/>
                <a:gd name="connsiteX76" fmla="*/ 415248 w 2205948"/>
                <a:gd name="connsiteY76" fmla="*/ 1705400 h 2164296"/>
                <a:gd name="connsiteX77" fmla="*/ 400960 w 2205948"/>
                <a:gd name="connsiteY77" fmla="*/ 1686350 h 2164296"/>
                <a:gd name="connsiteX78" fmla="*/ 381910 w 2205948"/>
                <a:gd name="connsiteY78" fmla="*/ 1657775 h 2164296"/>
                <a:gd name="connsiteX79" fmla="*/ 324760 w 2205948"/>
                <a:gd name="connsiteY79" fmla="*/ 1600625 h 2164296"/>
                <a:gd name="connsiteX80" fmla="*/ 300948 w 2205948"/>
                <a:gd name="connsiteY80" fmla="*/ 1576813 h 2164296"/>
                <a:gd name="connsiteX81" fmla="*/ 286660 w 2205948"/>
                <a:gd name="connsiteY81" fmla="*/ 1562525 h 2164296"/>
                <a:gd name="connsiteX82" fmla="*/ 248560 w 2205948"/>
                <a:gd name="connsiteY82" fmla="*/ 1538713 h 2164296"/>
                <a:gd name="connsiteX83" fmla="*/ 224748 w 2205948"/>
                <a:gd name="connsiteY83" fmla="*/ 1510138 h 2164296"/>
                <a:gd name="connsiteX84" fmla="*/ 200935 w 2205948"/>
                <a:gd name="connsiteY84" fmla="*/ 1491088 h 2164296"/>
                <a:gd name="connsiteX85" fmla="*/ 181885 w 2205948"/>
                <a:gd name="connsiteY85" fmla="*/ 1462513 h 2164296"/>
                <a:gd name="connsiteX86" fmla="*/ 158073 w 2205948"/>
                <a:gd name="connsiteY86" fmla="*/ 1438700 h 2164296"/>
                <a:gd name="connsiteX87" fmla="*/ 148548 w 2205948"/>
                <a:gd name="connsiteY87" fmla="*/ 1424413 h 2164296"/>
                <a:gd name="connsiteX88" fmla="*/ 129498 w 2205948"/>
                <a:gd name="connsiteY88" fmla="*/ 1405363 h 2164296"/>
                <a:gd name="connsiteX89" fmla="*/ 67585 w 2205948"/>
                <a:gd name="connsiteY89" fmla="*/ 1305350 h 2164296"/>
                <a:gd name="connsiteX90" fmla="*/ 39010 w 2205948"/>
                <a:gd name="connsiteY90" fmla="*/ 991025 h 2164296"/>
                <a:gd name="connsiteX91" fmla="*/ 77110 w 2205948"/>
                <a:gd name="connsiteY91" fmla="*/ 929113 h 2164296"/>
                <a:gd name="connsiteX92" fmla="*/ 100923 w 2205948"/>
                <a:gd name="connsiteY92" fmla="*/ 891013 h 2164296"/>
                <a:gd name="connsiteX93" fmla="*/ 119973 w 2205948"/>
                <a:gd name="connsiteY93" fmla="*/ 848150 h 2164296"/>
                <a:gd name="connsiteX94" fmla="*/ 196173 w 2205948"/>
                <a:gd name="connsiteY94" fmla="*/ 752900 h 2164296"/>
                <a:gd name="connsiteX95" fmla="*/ 243798 w 2205948"/>
                <a:gd name="connsiteY95" fmla="*/ 610025 h 2164296"/>
                <a:gd name="connsiteX96" fmla="*/ 248560 w 2205948"/>
                <a:gd name="connsiteY96" fmla="*/ 581450 h 2164296"/>
                <a:gd name="connsiteX97" fmla="*/ 272373 w 2205948"/>
                <a:gd name="connsiteY97" fmla="*/ 538588 h 2164296"/>
                <a:gd name="connsiteX98" fmla="*/ 286660 w 2205948"/>
                <a:gd name="connsiteY98" fmla="*/ 500488 h 2164296"/>
                <a:gd name="connsiteX99" fmla="*/ 300948 w 2205948"/>
                <a:gd name="connsiteY99" fmla="*/ 471913 h 2164296"/>
                <a:gd name="connsiteX100" fmla="*/ 310473 w 2205948"/>
                <a:gd name="connsiteY100" fmla="*/ 443338 h 2164296"/>
                <a:gd name="connsiteX101" fmla="*/ 319998 w 2205948"/>
                <a:gd name="connsiteY101" fmla="*/ 429050 h 2164296"/>
                <a:gd name="connsiteX102" fmla="*/ 329523 w 2205948"/>
                <a:gd name="connsiteY102" fmla="*/ 405238 h 2164296"/>
                <a:gd name="connsiteX103" fmla="*/ 348573 w 2205948"/>
                <a:gd name="connsiteY103" fmla="*/ 381425 h 2164296"/>
                <a:gd name="connsiteX104" fmla="*/ 367623 w 2205948"/>
                <a:gd name="connsiteY104" fmla="*/ 333800 h 2164296"/>
                <a:gd name="connsiteX105" fmla="*/ 396198 w 2205948"/>
                <a:gd name="connsiteY105" fmla="*/ 290938 h 2164296"/>
                <a:gd name="connsiteX106" fmla="*/ 420010 w 2205948"/>
                <a:gd name="connsiteY106" fmla="*/ 248075 h 2164296"/>
                <a:gd name="connsiteX107" fmla="*/ 434298 w 2205948"/>
                <a:gd name="connsiteY107" fmla="*/ 229025 h 2164296"/>
                <a:gd name="connsiteX108" fmla="*/ 458110 w 2205948"/>
                <a:gd name="connsiteY108" fmla="*/ 214738 h 2164296"/>
                <a:gd name="connsiteX109" fmla="*/ 481923 w 2205948"/>
                <a:gd name="connsiteY109" fmla="*/ 190925 h 2164296"/>
                <a:gd name="connsiteX110" fmla="*/ 496210 w 2205948"/>
                <a:gd name="connsiteY110" fmla="*/ 181400 h 2164296"/>
                <a:gd name="connsiteX111" fmla="*/ 529548 w 2205948"/>
                <a:gd name="connsiteY111" fmla="*/ 143300 h 2164296"/>
                <a:gd name="connsiteX112" fmla="*/ 543835 w 2205948"/>
                <a:gd name="connsiteY112" fmla="*/ 133775 h 2164296"/>
                <a:gd name="connsiteX113" fmla="*/ 653373 w 2205948"/>
                <a:gd name="connsiteY113" fmla="*/ 71863 h 2164296"/>
                <a:gd name="connsiteX114" fmla="*/ 667660 w 2205948"/>
                <a:gd name="connsiteY114" fmla="*/ 52813 h 2164296"/>
                <a:gd name="connsiteX115" fmla="*/ 686710 w 2205948"/>
                <a:gd name="connsiteY115" fmla="*/ 48050 h 2164296"/>
                <a:gd name="connsiteX116" fmla="*/ 710523 w 2205948"/>
                <a:gd name="connsiteY116" fmla="*/ 38525 h 2164296"/>
                <a:gd name="connsiteX117" fmla="*/ 753385 w 2205948"/>
                <a:gd name="connsiteY117" fmla="*/ 24238 h 2164296"/>
                <a:gd name="connsiteX118" fmla="*/ 781960 w 2205948"/>
                <a:gd name="connsiteY118" fmla="*/ 14713 h 2164296"/>
                <a:gd name="connsiteX119" fmla="*/ 829585 w 2205948"/>
                <a:gd name="connsiteY119" fmla="*/ 9950 h 2164296"/>
                <a:gd name="connsiteX120" fmla="*/ 901023 w 2205948"/>
                <a:gd name="connsiteY120" fmla="*/ 425 h 2164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</a:cxnLst>
              <a:rect l="l" t="t" r="r" b="b"/>
              <a:pathLst>
                <a:path w="2205948" h="2164296">
                  <a:moveTo>
                    <a:pt x="834348" y="425"/>
                  </a:moveTo>
                  <a:cubicBezTo>
                    <a:pt x="885148" y="2013"/>
                    <a:pt x="935997" y="2445"/>
                    <a:pt x="986748" y="5188"/>
                  </a:cubicBezTo>
                  <a:cubicBezTo>
                    <a:pt x="994831" y="5625"/>
                    <a:pt x="1002565" y="8688"/>
                    <a:pt x="1010560" y="9950"/>
                  </a:cubicBezTo>
                  <a:cubicBezTo>
                    <a:pt x="1032736" y="13451"/>
                    <a:pt x="1055010" y="16300"/>
                    <a:pt x="1077235" y="19475"/>
                  </a:cubicBezTo>
                  <a:cubicBezTo>
                    <a:pt x="1086794" y="20841"/>
                    <a:pt x="1096285" y="22650"/>
                    <a:pt x="1105810" y="24238"/>
                  </a:cubicBezTo>
                  <a:cubicBezTo>
                    <a:pt x="1113748" y="29000"/>
                    <a:pt x="1121344" y="34385"/>
                    <a:pt x="1129623" y="38525"/>
                  </a:cubicBezTo>
                  <a:cubicBezTo>
                    <a:pt x="1141985" y="44706"/>
                    <a:pt x="1160282" y="45609"/>
                    <a:pt x="1172485" y="48050"/>
                  </a:cubicBezTo>
                  <a:cubicBezTo>
                    <a:pt x="1178903" y="49334"/>
                    <a:pt x="1185095" y="51642"/>
                    <a:pt x="1191535" y="52813"/>
                  </a:cubicBezTo>
                  <a:cubicBezTo>
                    <a:pt x="1202579" y="54821"/>
                    <a:pt x="1213800" y="55730"/>
                    <a:pt x="1224873" y="57575"/>
                  </a:cubicBezTo>
                  <a:cubicBezTo>
                    <a:pt x="1309563" y="71689"/>
                    <a:pt x="1244912" y="63505"/>
                    <a:pt x="1320123" y="71863"/>
                  </a:cubicBezTo>
                  <a:cubicBezTo>
                    <a:pt x="1364573" y="80594"/>
                    <a:pt x="1459029" y="102819"/>
                    <a:pt x="1491573" y="109963"/>
                  </a:cubicBezTo>
                  <a:cubicBezTo>
                    <a:pt x="1524117" y="117107"/>
                    <a:pt x="1507340" y="113831"/>
                    <a:pt x="1515385" y="114725"/>
                  </a:cubicBezTo>
                  <a:cubicBezTo>
                    <a:pt x="1541305" y="117605"/>
                    <a:pt x="1632093" y="122912"/>
                    <a:pt x="1653498" y="124250"/>
                  </a:cubicBezTo>
                  <a:cubicBezTo>
                    <a:pt x="1664610" y="125838"/>
                    <a:pt x="1675763" y="127168"/>
                    <a:pt x="1686835" y="129013"/>
                  </a:cubicBezTo>
                  <a:cubicBezTo>
                    <a:pt x="1694820" y="130344"/>
                    <a:pt x="1702624" y="132705"/>
                    <a:pt x="1710648" y="133775"/>
                  </a:cubicBezTo>
                  <a:cubicBezTo>
                    <a:pt x="1726462" y="135884"/>
                    <a:pt x="1742398" y="136950"/>
                    <a:pt x="1758273" y="138538"/>
                  </a:cubicBezTo>
                  <a:cubicBezTo>
                    <a:pt x="1770973" y="143300"/>
                    <a:pt x="1784025" y="147212"/>
                    <a:pt x="1796373" y="152825"/>
                  </a:cubicBezTo>
                  <a:cubicBezTo>
                    <a:pt x="1801584" y="155193"/>
                    <a:pt x="1805301" y="160340"/>
                    <a:pt x="1810660" y="162350"/>
                  </a:cubicBezTo>
                  <a:cubicBezTo>
                    <a:pt x="1818239" y="165192"/>
                    <a:pt x="1826535" y="165525"/>
                    <a:pt x="1834473" y="167113"/>
                  </a:cubicBezTo>
                  <a:cubicBezTo>
                    <a:pt x="1842410" y="171875"/>
                    <a:pt x="1850006" y="177260"/>
                    <a:pt x="1858285" y="181400"/>
                  </a:cubicBezTo>
                  <a:cubicBezTo>
                    <a:pt x="1865932" y="185223"/>
                    <a:pt x="1874848" y="186394"/>
                    <a:pt x="1882098" y="190925"/>
                  </a:cubicBezTo>
                  <a:cubicBezTo>
                    <a:pt x="1887809" y="194495"/>
                    <a:pt x="1891271" y="200830"/>
                    <a:pt x="1896385" y="205213"/>
                  </a:cubicBezTo>
                  <a:cubicBezTo>
                    <a:pt x="1911948" y="218553"/>
                    <a:pt x="1914647" y="218257"/>
                    <a:pt x="1929723" y="229025"/>
                  </a:cubicBezTo>
                  <a:cubicBezTo>
                    <a:pt x="1947293" y="241575"/>
                    <a:pt x="1968287" y="250538"/>
                    <a:pt x="1982110" y="267125"/>
                  </a:cubicBezTo>
                  <a:cubicBezTo>
                    <a:pt x="1990048" y="276650"/>
                    <a:pt x="1998484" y="285781"/>
                    <a:pt x="2005923" y="295700"/>
                  </a:cubicBezTo>
                  <a:cubicBezTo>
                    <a:pt x="2018018" y="311827"/>
                    <a:pt x="2028859" y="330752"/>
                    <a:pt x="2039260" y="348088"/>
                  </a:cubicBezTo>
                  <a:cubicBezTo>
                    <a:pt x="2066720" y="444198"/>
                    <a:pt x="2031945" y="324314"/>
                    <a:pt x="2058310" y="410000"/>
                  </a:cubicBezTo>
                  <a:cubicBezTo>
                    <a:pt x="2061709" y="421046"/>
                    <a:pt x="2064514" y="432268"/>
                    <a:pt x="2067835" y="443338"/>
                  </a:cubicBezTo>
                  <a:cubicBezTo>
                    <a:pt x="2069278" y="448146"/>
                    <a:pt x="2070620" y="453011"/>
                    <a:pt x="2072598" y="457625"/>
                  </a:cubicBezTo>
                  <a:cubicBezTo>
                    <a:pt x="2075395" y="464150"/>
                    <a:pt x="2078948" y="470325"/>
                    <a:pt x="2082123" y="476675"/>
                  </a:cubicBezTo>
                  <a:cubicBezTo>
                    <a:pt x="2094919" y="553458"/>
                    <a:pt x="2075163" y="444071"/>
                    <a:pt x="2101173" y="548113"/>
                  </a:cubicBezTo>
                  <a:cubicBezTo>
                    <a:pt x="2112661" y="594066"/>
                    <a:pt x="2108131" y="573376"/>
                    <a:pt x="2115460" y="610025"/>
                  </a:cubicBezTo>
                  <a:cubicBezTo>
                    <a:pt x="2117048" y="711625"/>
                    <a:pt x="2113079" y="835450"/>
                    <a:pt x="2120223" y="914825"/>
                  </a:cubicBezTo>
                  <a:cubicBezTo>
                    <a:pt x="2127367" y="994200"/>
                    <a:pt x="2151179" y="1047381"/>
                    <a:pt x="2158323" y="1086275"/>
                  </a:cubicBezTo>
                  <a:cubicBezTo>
                    <a:pt x="2165467" y="1125169"/>
                    <a:pt x="2159382" y="1127823"/>
                    <a:pt x="2163085" y="1148188"/>
                  </a:cubicBezTo>
                  <a:cubicBezTo>
                    <a:pt x="2165779" y="1163005"/>
                    <a:pt x="2172610" y="1176763"/>
                    <a:pt x="2177373" y="1191050"/>
                  </a:cubicBezTo>
                  <a:cubicBezTo>
                    <a:pt x="2178960" y="1202163"/>
                    <a:pt x="2179611" y="1213450"/>
                    <a:pt x="2182135" y="1224388"/>
                  </a:cubicBezTo>
                  <a:cubicBezTo>
                    <a:pt x="2191028" y="1262928"/>
                    <a:pt x="2190771" y="1242062"/>
                    <a:pt x="2201185" y="1276775"/>
                  </a:cubicBezTo>
                  <a:cubicBezTo>
                    <a:pt x="2203511" y="1284528"/>
                    <a:pt x="2204360" y="1292650"/>
                    <a:pt x="2205948" y="1300588"/>
                  </a:cubicBezTo>
                  <a:cubicBezTo>
                    <a:pt x="2204360" y="1372025"/>
                    <a:pt x="2205642" y="1443584"/>
                    <a:pt x="2201185" y="1514900"/>
                  </a:cubicBezTo>
                  <a:cubicBezTo>
                    <a:pt x="2200828" y="1520613"/>
                    <a:pt x="2194220" y="1524068"/>
                    <a:pt x="2191660" y="1529188"/>
                  </a:cubicBezTo>
                  <a:cubicBezTo>
                    <a:pt x="2182397" y="1547715"/>
                    <a:pt x="2191286" y="1541174"/>
                    <a:pt x="2182135" y="1562525"/>
                  </a:cubicBezTo>
                  <a:cubicBezTo>
                    <a:pt x="2179880" y="1567786"/>
                    <a:pt x="2175785" y="1572050"/>
                    <a:pt x="2172610" y="1576813"/>
                  </a:cubicBezTo>
                  <a:cubicBezTo>
                    <a:pt x="2171023" y="1584750"/>
                    <a:pt x="2171468" y="1593385"/>
                    <a:pt x="2167848" y="1600625"/>
                  </a:cubicBezTo>
                  <a:cubicBezTo>
                    <a:pt x="2164836" y="1606649"/>
                    <a:pt x="2157872" y="1609739"/>
                    <a:pt x="2153560" y="1614913"/>
                  </a:cubicBezTo>
                  <a:cubicBezTo>
                    <a:pt x="2149896" y="1619310"/>
                    <a:pt x="2147838" y="1624922"/>
                    <a:pt x="2144035" y="1629200"/>
                  </a:cubicBezTo>
                  <a:cubicBezTo>
                    <a:pt x="2135086" y="1639268"/>
                    <a:pt x="2123542" y="1646999"/>
                    <a:pt x="2115460" y="1657775"/>
                  </a:cubicBezTo>
                  <a:cubicBezTo>
                    <a:pt x="2097739" y="1681404"/>
                    <a:pt x="2107777" y="1672422"/>
                    <a:pt x="2086885" y="1686350"/>
                  </a:cubicBezTo>
                  <a:cubicBezTo>
                    <a:pt x="2083710" y="1691113"/>
                    <a:pt x="2081407" y="1696590"/>
                    <a:pt x="2077360" y="1700638"/>
                  </a:cubicBezTo>
                  <a:cubicBezTo>
                    <a:pt x="2073313" y="1704685"/>
                    <a:pt x="2067927" y="1707130"/>
                    <a:pt x="2063073" y="1710163"/>
                  </a:cubicBezTo>
                  <a:cubicBezTo>
                    <a:pt x="2055223" y="1715069"/>
                    <a:pt x="2046843" y="1719142"/>
                    <a:pt x="2039260" y="1724450"/>
                  </a:cubicBezTo>
                  <a:cubicBezTo>
                    <a:pt x="2030933" y="1730279"/>
                    <a:pt x="2024432" y="1738744"/>
                    <a:pt x="2015448" y="1743500"/>
                  </a:cubicBezTo>
                  <a:cubicBezTo>
                    <a:pt x="1989180" y="1757407"/>
                    <a:pt x="1969237" y="1763667"/>
                    <a:pt x="1944010" y="1772075"/>
                  </a:cubicBezTo>
                  <a:cubicBezTo>
                    <a:pt x="1937660" y="1776838"/>
                    <a:pt x="1931637" y="1782071"/>
                    <a:pt x="1924960" y="1786363"/>
                  </a:cubicBezTo>
                  <a:cubicBezTo>
                    <a:pt x="1909387" y="1796374"/>
                    <a:pt x="1922578" y="1800651"/>
                    <a:pt x="1877335" y="1814938"/>
                  </a:cubicBezTo>
                  <a:cubicBezTo>
                    <a:pt x="1832092" y="1829225"/>
                    <a:pt x="1729699" y="1838750"/>
                    <a:pt x="1653499" y="1872087"/>
                  </a:cubicBezTo>
                  <a:cubicBezTo>
                    <a:pt x="1534436" y="1924474"/>
                    <a:pt x="1467760" y="1984799"/>
                    <a:pt x="1420135" y="2014962"/>
                  </a:cubicBezTo>
                  <a:cubicBezTo>
                    <a:pt x="1372510" y="2045125"/>
                    <a:pt x="1393576" y="2046605"/>
                    <a:pt x="1367748" y="2053063"/>
                  </a:cubicBezTo>
                  <a:cubicBezTo>
                    <a:pt x="1362985" y="2056238"/>
                    <a:pt x="1358580" y="2060028"/>
                    <a:pt x="1353460" y="2062588"/>
                  </a:cubicBezTo>
                  <a:cubicBezTo>
                    <a:pt x="1343699" y="2067468"/>
                    <a:pt x="1324413" y="2070302"/>
                    <a:pt x="1315360" y="2072113"/>
                  </a:cubicBezTo>
                  <a:cubicBezTo>
                    <a:pt x="1307423" y="2076875"/>
                    <a:pt x="1299975" y="2082570"/>
                    <a:pt x="1291548" y="2086400"/>
                  </a:cubicBezTo>
                  <a:cubicBezTo>
                    <a:pt x="1272558" y="2095032"/>
                    <a:pt x="1258899" y="2096740"/>
                    <a:pt x="1239160" y="2100688"/>
                  </a:cubicBezTo>
                  <a:cubicBezTo>
                    <a:pt x="1188848" y="2138420"/>
                    <a:pt x="1253170" y="2094461"/>
                    <a:pt x="1196298" y="2119738"/>
                  </a:cubicBezTo>
                  <a:cubicBezTo>
                    <a:pt x="1189045" y="2122962"/>
                    <a:pt x="1184187" y="2130170"/>
                    <a:pt x="1177248" y="2134025"/>
                  </a:cubicBezTo>
                  <a:cubicBezTo>
                    <a:pt x="1151811" y="2148156"/>
                    <a:pt x="1137328" y="2145161"/>
                    <a:pt x="1105810" y="2148313"/>
                  </a:cubicBezTo>
                  <a:cubicBezTo>
                    <a:pt x="1096285" y="2153075"/>
                    <a:pt x="1087866" y="2161975"/>
                    <a:pt x="1077235" y="2162600"/>
                  </a:cubicBezTo>
                  <a:cubicBezTo>
                    <a:pt x="1032833" y="2165212"/>
                    <a:pt x="987677" y="2165623"/>
                    <a:pt x="943885" y="2157838"/>
                  </a:cubicBezTo>
                  <a:cubicBezTo>
                    <a:pt x="849110" y="2140989"/>
                    <a:pt x="888473" y="2132512"/>
                    <a:pt x="834348" y="2105450"/>
                  </a:cubicBezTo>
                  <a:cubicBezTo>
                    <a:pt x="822216" y="2099384"/>
                    <a:pt x="808380" y="2097229"/>
                    <a:pt x="796248" y="2091163"/>
                  </a:cubicBezTo>
                  <a:cubicBezTo>
                    <a:pt x="779689" y="2082884"/>
                    <a:pt x="765182" y="2070868"/>
                    <a:pt x="748623" y="2062588"/>
                  </a:cubicBezTo>
                  <a:cubicBezTo>
                    <a:pt x="711068" y="2043810"/>
                    <a:pt x="730151" y="2051668"/>
                    <a:pt x="691473" y="2038775"/>
                  </a:cubicBezTo>
                  <a:cubicBezTo>
                    <a:pt x="680360" y="2027663"/>
                    <a:pt x="670011" y="2015730"/>
                    <a:pt x="658135" y="2005438"/>
                  </a:cubicBezTo>
                  <a:cubicBezTo>
                    <a:pt x="646138" y="1995041"/>
                    <a:pt x="629560" y="1989563"/>
                    <a:pt x="620035" y="1976863"/>
                  </a:cubicBezTo>
                  <a:cubicBezTo>
                    <a:pt x="615273" y="1970513"/>
                    <a:pt x="610151" y="1964417"/>
                    <a:pt x="605748" y="1957813"/>
                  </a:cubicBezTo>
                  <a:cubicBezTo>
                    <a:pt x="600613" y="1950111"/>
                    <a:pt x="597104" y="1941337"/>
                    <a:pt x="591460" y="1934000"/>
                  </a:cubicBezTo>
                  <a:cubicBezTo>
                    <a:pt x="581171" y="1920624"/>
                    <a:pt x="587492" y="1934000"/>
                    <a:pt x="558123" y="1895900"/>
                  </a:cubicBezTo>
                  <a:cubicBezTo>
                    <a:pt x="528754" y="1857800"/>
                    <a:pt x="441442" y="1740325"/>
                    <a:pt x="415248" y="1705400"/>
                  </a:cubicBezTo>
                  <a:cubicBezTo>
                    <a:pt x="389054" y="1670475"/>
                    <a:pt x="405512" y="1692853"/>
                    <a:pt x="400960" y="1686350"/>
                  </a:cubicBezTo>
                  <a:cubicBezTo>
                    <a:pt x="394395" y="1676972"/>
                    <a:pt x="389407" y="1666426"/>
                    <a:pt x="381910" y="1657775"/>
                  </a:cubicBezTo>
                  <a:lnTo>
                    <a:pt x="324760" y="1600625"/>
                  </a:lnTo>
                  <a:lnTo>
                    <a:pt x="300948" y="1576813"/>
                  </a:lnTo>
                  <a:cubicBezTo>
                    <a:pt x="296185" y="1572050"/>
                    <a:pt x="292372" y="1566095"/>
                    <a:pt x="286660" y="1562525"/>
                  </a:cubicBezTo>
                  <a:lnTo>
                    <a:pt x="248560" y="1538713"/>
                  </a:lnTo>
                  <a:cubicBezTo>
                    <a:pt x="238416" y="1523496"/>
                    <a:pt x="239416" y="1522972"/>
                    <a:pt x="224748" y="1510138"/>
                  </a:cubicBezTo>
                  <a:cubicBezTo>
                    <a:pt x="217098" y="1503444"/>
                    <a:pt x="207735" y="1498644"/>
                    <a:pt x="200935" y="1491088"/>
                  </a:cubicBezTo>
                  <a:cubicBezTo>
                    <a:pt x="193277" y="1482579"/>
                    <a:pt x="189134" y="1471373"/>
                    <a:pt x="181885" y="1462513"/>
                  </a:cubicBezTo>
                  <a:cubicBezTo>
                    <a:pt x="174777" y="1453825"/>
                    <a:pt x="165465" y="1447148"/>
                    <a:pt x="158073" y="1438700"/>
                  </a:cubicBezTo>
                  <a:cubicBezTo>
                    <a:pt x="154304" y="1434392"/>
                    <a:pt x="152273" y="1428759"/>
                    <a:pt x="148548" y="1424413"/>
                  </a:cubicBezTo>
                  <a:cubicBezTo>
                    <a:pt x="142704" y="1417595"/>
                    <a:pt x="142992" y="1425207"/>
                    <a:pt x="129498" y="1405363"/>
                  </a:cubicBezTo>
                  <a:cubicBezTo>
                    <a:pt x="116004" y="1385519"/>
                    <a:pt x="105355" y="1365096"/>
                    <a:pt x="67585" y="1305350"/>
                  </a:cubicBezTo>
                  <a:cubicBezTo>
                    <a:pt x="23929" y="1236294"/>
                    <a:pt x="-43540" y="1163268"/>
                    <a:pt x="39010" y="991025"/>
                  </a:cubicBezTo>
                  <a:cubicBezTo>
                    <a:pt x="121560" y="818782"/>
                    <a:pt x="69200" y="948889"/>
                    <a:pt x="77110" y="929113"/>
                  </a:cubicBezTo>
                  <a:cubicBezTo>
                    <a:pt x="89136" y="899047"/>
                    <a:pt x="80590" y="911345"/>
                    <a:pt x="100923" y="891013"/>
                  </a:cubicBezTo>
                  <a:cubicBezTo>
                    <a:pt x="111746" y="869367"/>
                    <a:pt x="104098" y="871169"/>
                    <a:pt x="119973" y="848150"/>
                  </a:cubicBezTo>
                  <a:cubicBezTo>
                    <a:pt x="135848" y="825131"/>
                    <a:pt x="175536" y="792588"/>
                    <a:pt x="196173" y="752900"/>
                  </a:cubicBezTo>
                  <a:cubicBezTo>
                    <a:pt x="216811" y="713213"/>
                    <a:pt x="210512" y="665500"/>
                    <a:pt x="243798" y="610025"/>
                  </a:cubicBezTo>
                  <a:cubicBezTo>
                    <a:pt x="245385" y="600500"/>
                    <a:pt x="245785" y="590699"/>
                    <a:pt x="248560" y="581450"/>
                  </a:cubicBezTo>
                  <a:cubicBezTo>
                    <a:pt x="252506" y="568297"/>
                    <a:pt x="267104" y="550004"/>
                    <a:pt x="272373" y="538588"/>
                  </a:cubicBezTo>
                  <a:cubicBezTo>
                    <a:pt x="278057" y="526273"/>
                    <a:pt x="281317" y="512955"/>
                    <a:pt x="286660" y="500488"/>
                  </a:cubicBezTo>
                  <a:cubicBezTo>
                    <a:pt x="290855" y="490700"/>
                    <a:pt x="296852" y="481743"/>
                    <a:pt x="300948" y="471913"/>
                  </a:cubicBezTo>
                  <a:cubicBezTo>
                    <a:pt x="304810" y="462645"/>
                    <a:pt x="306395" y="452513"/>
                    <a:pt x="310473" y="443338"/>
                  </a:cubicBezTo>
                  <a:cubicBezTo>
                    <a:pt x="312798" y="438107"/>
                    <a:pt x="317438" y="434170"/>
                    <a:pt x="319998" y="429050"/>
                  </a:cubicBezTo>
                  <a:cubicBezTo>
                    <a:pt x="323821" y="421404"/>
                    <a:pt x="325125" y="412569"/>
                    <a:pt x="329523" y="405238"/>
                  </a:cubicBezTo>
                  <a:cubicBezTo>
                    <a:pt x="334753" y="396522"/>
                    <a:pt x="342223" y="389363"/>
                    <a:pt x="348573" y="381425"/>
                  </a:cubicBezTo>
                  <a:cubicBezTo>
                    <a:pt x="354406" y="358089"/>
                    <a:pt x="352866" y="358394"/>
                    <a:pt x="367623" y="333800"/>
                  </a:cubicBezTo>
                  <a:cubicBezTo>
                    <a:pt x="376458" y="319076"/>
                    <a:pt x="388519" y="306296"/>
                    <a:pt x="396198" y="290938"/>
                  </a:cubicBezTo>
                  <a:cubicBezTo>
                    <a:pt x="405274" y="272786"/>
                    <a:pt x="408053" y="266010"/>
                    <a:pt x="420010" y="248075"/>
                  </a:cubicBezTo>
                  <a:cubicBezTo>
                    <a:pt x="424413" y="241470"/>
                    <a:pt x="428324" y="234252"/>
                    <a:pt x="434298" y="229025"/>
                  </a:cubicBezTo>
                  <a:cubicBezTo>
                    <a:pt x="441264" y="222930"/>
                    <a:pt x="450882" y="220520"/>
                    <a:pt x="458110" y="214738"/>
                  </a:cubicBezTo>
                  <a:cubicBezTo>
                    <a:pt x="466876" y="207725"/>
                    <a:pt x="473475" y="198317"/>
                    <a:pt x="481923" y="190925"/>
                  </a:cubicBezTo>
                  <a:cubicBezTo>
                    <a:pt x="486230" y="187156"/>
                    <a:pt x="491813" y="185064"/>
                    <a:pt x="496210" y="181400"/>
                  </a:cubicBezTo>
                  <a:cubicBezTo>
                    <a:pt x="519331" y="162133"/>
                    <a:pt x="503808" y="169040"/>
                    <a:pt x="529548" y="143300"/>
                  </a:cubicBezTo>
                  <a:cubicBezTo>
                    <a:pt x="533595" y="139253"/>
                    <a:pt x="523197" y="145681"/>
                    <a:pt x="543835" y="133775"/>
                  </a:cubicBezTo>
                  <a:cubicBezTo>
                    <a:pt x="564473" y="121869"/>
                    <a:pt x="632736" y="85357"/>
                    <a:pt x="653373" y="71863"/>
                  </a:cubicBezTo>
                  <a:cubicBezTo>
                    <a:pt x="658135" y="65513"/>
                    <a:pt x="661201" y="57427"/>
                    <a:pt x="667660" y="52813"/>
                  </a:cubicBezTo>
                  <a:cubicBezTo>
                    <a:pt x="672986" y="49008"/>
                    <a:pt x="680500" y="50120"/>
                    <a:pt x="686710" y="48050"/>
                  </a:cubicBezTo>
                  <a:cubicBezTo>
                    <a:pt x="694820" y="45346"/>
                    <a:pt x="702711" y="41997"/>
                    <a:pt x="710523" y="38525"/>
                  </a:cubicBezTo>
                  <a:cubicBezTo>
                    <a:pt x="756752" y="17979"/>
                    <a:pt x="699878" y="38831"/>
                    <a:pt x="753385" y="24238"/>
                  </a:cubicBezTo>
                  <a:cubicBezTo>
                    <a:pt x="763071" y="21596"/>
                    <a:pt x="772092" y="16563"/>
                    <a:pt x="781960" y="14713"/>
                  </a:cubicBezTo>
                  <a:cubicBezTo>
                    <a:pt x="797641" y="11773"/>
                    <a:pt x="813710" y="11538"/>
                    <a:pt x="829585" y="9950"/>
                  </a:cubicBezTo>
                  <a:cubicBezTo>
                    <a:pt x="875134" y="-3064"/>
                    <a:pt x="851366" y="425"/>
                    <a:pt x="901023" y="425"/>
                  </a:cubicBezTo>
                </a:path>
              </a:pathLst>
            </a:custGeom>
            <a:noFill/>
            <a:ln w="5213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pPr algn="ctr"/>
              <a:endParaRPr lang="da-DK" sz="32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FB8CC024-4166-7BC4-8D54-E4519E587C8B}"/>
              </a:ext>
            </a:extLst>
          </p:cNvPr>
          <p:cNvSpPr/>
          <p:nvPr/>
        </p:nvSpPr>
        <p:spPr>
          <a:xfrm>
            <a:off x="2361733" y="2905125"/>
            <a:ext cx="170048" cy="219030"/>
          </a:xfrm>
          <a:custGeom>
            <a:avLst/>
            <a:gdLst>
              <a:gd name="connsiteX0" fmla="*/ 69056 w 140538"/>
              <a:gd name="connsiteY0" fmla="*/ 45 h 181020"/>
              <a:gd name="connsiteX1" fmla="*/ 54768 w 140538"/>
              <a:gd name="connsiteY1" fmla="*/ 38145 h 181020"/>
              <a:gd name="connsiteX2" fmla="*/ 47625 w 140538"/>
              <a:gd name="connsiteY2" fmla="*/ 45289 h 181020"/>
              <a:gd name="connsiteX3" fmla="*/ 40481 w 140538"/>
              <a:gd name="connsiteY3" fmla="*/ 61958 h 181020"/>
              <a:gd name="connsiteX4" fmla="*/ 35718 w 140538"/>
              <a:gd name="connsiteY4" fmla="*/ 69101 h 181020"/>
              <a:gd name="connsiteX5" fmla="*/ 30956 w 140538"/>
              <a:gd name="connsiteY5" fmla="*/ 85770 h 181020"/>
              <a:gd name="connsiteX6" fmla="*/ 26193 w 140538"/>
              <a:gd name="connsiteY6" fmla="*/ 92914 h 181020"/>
              <a:gd name="connsiteX7" fmla="*/ 11906 w 140538"/>
              <a:gd name="connsiteY7" fmla="*/ 131014 h 181020"/>
              <a:gd name="connsiteX8" fmla="*/ 0 w 140538"/>
              <a:gd name="connsiteY8" fmla="*/ 152445 h 181020"/>
              <a:gd name="connsiteX9" fmla="*/ 2381 w 140538"/>
              <a:gd name="connsiteY9" fmla="*/ 161970 h 181020"/>
              <a:gd name="connsiteX10" fmla="*/ 11906 w 140538"/>
              <a:gd name="connsiteY10" fmla="*/ 166733 h 181020"/>
              <a:gd name="connsiteX11" fmla="*/ 50006 w 140538"/>
              <a:gd name="connsiteY11" fmla="*/ 173876 h 181020"/>
              <a:gd name="connsiteX12" fmla="*/ 69056 w 140538"/>
              <a:gd name="connsiteY12" fmla="*/ 176258 h 181020"/>
              <a:gd name="connsiteX13" fmla="*/ 138112 w 140538"/>
              <a:gd name="connsiteY13" fmla="*/ 181020 h 181020"/>
              <a:gd name="connsiteX14" fmla="*/ 140493 w 140538"/>
              <a:gd name="connsiteY14" fmla="*/ 169114 h 181020"/>
              <a:gd name="connsiteX15" fmla="*/ 135731 w 140538"/>
              <a:gd name="connsiteY15" fmla="*/ 154826 h 181020"/>
              <a:gd name="connsiteX16" fmla="*/ 130968 w 140538"/>
              <a:gd name="connsiteY16" fmla="*/ 133395 h 181020"/>
              <a:gd name="connsiteX17" fmla="*/ 126206 w 140538"/>
              <a:gd name="connsiteY17" fmla="*/ 123870 h 181020"/>
              <a:gd name="connsiteX18" fmla="*/ 121443 w 140538"/>
              <a:gd name="connsiteY18" fmla="*/ 109583 h 181020"/>
              <a:gd name="connsiteX19" fmla="*/ 119062 w 140538"/>
              <a:gd name="connsiteY19" fmla="*/ 97676 h 181020"/>
              <a:gd name="connsiteX20" fmla="*/ 111918 w 140538"/>
              <a:gd name="connsiteY20" fmla="*/ 88151 h 181020"/>
              <a:gd name="connsiteX21" fmla="*/ 104775 w 140538"/>
              <a:gd name="connsiteY21" fmla="*/ 73864 h 181020"/>
              <a:gd name="connsiteX22" fmla="*/ 102393 w 140538"/>
              <a:gd name="connsiteY22" fmla="*/ 64339 h 181020"/>
              <a:gd name="connsiteX23" fmla="*/ 95250 w 140538"/>
              <a:gd name="connsiteY23" fmla="*/ 54814 h 181020"/>
              <a:gd name="connsiteX24" fmla="*/ 78581 w 140538"/>
              <a:gd name="connsiteY24" fmla="*/ 31001 h 181020"/>
              <a:gd name="connsiteX25" fmla="*/ 69056 w 140538"/>
              <a:gd name="connsiteY25" fmla="*/ 45 h 181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140538" h="181020">
                <a:moveTo>
                  <a:pt x="69056" y="45"/>
                </a:moveTo>
                <a:cubicBezTo>
                  <a:pt x="65087" y="1236"/>
                  <a:pt x="64358" y="28553"/>
                  <a:pt x="54768" y="38145"/>
                </a:cubicBezTo>
                <a:cubicBezTo>
                  <a:pt x="52387" y="40526"/>
                  <a:pt x="49582" y="42549"/>
                  <a:pt x="47625" y="45289"/>
                </a:cubicBezTo>
                <a:cubicBezTo>
                  <a:pt x="39359" y="56861"/>
                  <a:pt x="45667" y="51586"/>
                  <a:pt x="40481" y="61958"/>
                </a:cubicBezTo>
                <a:cubicBezTo>
                  <a:pt x="39201" y="64518"/>
                  <a:pt x="37306" y="66720"/>
                  <a:pt x="35718" y="69101"/>
                </a:cubicBezTo>
                <a:cubicBezTo>
                  <a:pt x="34955" y="72151"/>
                  <a:pt x="32664" y="82355"/>
                  <a:pt x="30956" y="85770"/>
                </a:cubicBezTo>
                <a:cubicBezTo>
                  <a:pt x="29676" y="88330"/>
                  <a:pt x="27781" y="90533"/>
                  <a:pt x="26193" y="92914"/>
                </a:cubicBezTo>
                <a:cubicBezTo>
                  <a:pt x="21261" y="122507"/>
                  <a:pt x="27978" y="90838"/>
                  <a:pt x="11906" y="131014"/>
                </a:cubicBezTo>
                <a:cubicBezTo>
                  <a:pt x="5669" y="146605"/>
                  <a:pt x="9708" y="139500"/>
                  <a:pt x="0" y="152445"/>
                </a:cubicBezTo>
                <a:cubicBezTo>
                  <a:pt x="794" y="155620"/>
                  <a:pt x="286" y="159456"/>
                  <a:pt x="2381" y="161970"/>
                </a:cubicBezTo>
                <a:cubicBezTo>
                  <a:pt x="4653" y="164697"/>
                  <a:pt x="8610" y="165415"/>
                  <a:pt x="11906" y="166733"/>
                </a:cubicBezTo>
                <a:cubicBezTo>
                  <a:pt x="29414" y="173736"/>
                  <a:pt x="28106" y="171442"/>
                  <a:pt x="50006" y="173876"/>
                </a:cubicBezTo>
                <a:cubicBezTo>
                  <a:pt x="56366" y="174583"/>
                  <a:pt x="62677" y="175741"/>
                  <a:pt x="69056" y="176258"/>
                </a:cubicBezTo>
                <a:cubicBezTo>
                  <a:pt x="92054" y="178123"/>
                  <a:pt x="115093" y="179433"/>
                  <a:pt x="138112" y="181020"/>
                </a:cubicBezTo>
                <a:cubicBezTo>
                  <a:pt x="138906" y="177051"/>
                  <a:pt x="140859" y="173145"/>
                  <a:pt x="140493" y="169114"/>
                </a:cubicBezTo>
                <a:cubicBezTo>
                  <a:pt x="140039" y="164114"/>
                  <a:pt x="136556" y="159778"/>
                  <a:pt x="135731" y="154826"/>
                </a:cubicBezTo>
                <a:cubicBezTo>
                  <a:pt x="134303" y="146255"/>
                  <a:pt x="134167" y="140860"/>
                  <a:pt x="130968" y="133395"/>
                </a:cubicBezTo>
                <a:cubicBezTo>
                  <a:pt x="129570" y="130132"/>
                  <a:pt x="127524" y="127166"/>
                  <a:pt x="126206" y="123870"/>
                </a:cubicBezTo>
                <a:cubicBezTo>
                  <a:pt x="124342" y="119209"/>
                  <a:pt x="122764" y="114426"/>
                  <a:pt x="121443" y="109583"/>
                </a:cubicBezTo>
                <a:cubicBezTo>
                  <a:pt x="120378" y="105678"/>
                  <a:pt x="120706" y="101375"/>
                  <a:pt x="119062" y="97676"/>
                </a:cubicBezTo>
                <a:cubicBezTo>
                  <a:pt x="117450" y="94049"/>
                  <a:pt x="114299" y="91326"/>
                  <a:pt x="111918" y="88151"/>
                </a:cubicBezTo>
                <a:cubicBezTo>
                  <a:pt x="101888" y="58062"/>
                  <a:pt x="118619" y="106165"/>
                  <a:pt x="104775" y="73864"/>
                </a:cubicBezTo>
                <a:cubicBezTo>
                  <a:pt x="103486" y="70856"/>
                  <a:pt x="103857" y="67266"/>
                  <a:pt x="102393" y="64339"/>
                </a:cubicBezTo>
                <a:cubicBezTo>
                  <a:pt x="100618" y="60789"/>
                  <a:pt x="97177" y="58283"/>
                  <a:pt x="95250" y="54814"/>
                </a:cubicBezTo>
                <a:cubicBezTo>
                  <a:pt x="82413" y="31707"/>
                  <a:pt x="101374" y="53796"/>
                  <a:pt x="78581" y="31001"/>
                </a:cubicBezTo>
                <a:cubicBezTo>
                  <a:pt x="75295" y="21143"/>
                  <a:pt x="73025" y="-1146"/>
                  <a:pt x="69056" y="45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400"/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051BF215-1DD1-FA30-EA24-C9C6A31CC54C}"/>
              </a:ext>
            </a:extLst>
          </p:cNvPr>
          <p:cNvGrpSpPr/>
          <p:nvPr/>
        </p:nvGrpSpPr>
        <p:grpSpPr>
          <a:xfrm>
            <a:off x="-6350" y="1492222"/>
            <a:ext cx="4406900" cy="73776"/>
            <a:chOff x="96386" y="1275535"/>
            <a:chExt cx="4310514" cy="73776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1A9F3F1F-49A3-C531-4FCC-0512CC7CA7DC}"/>
                </a:ext>
              </a:extLst>
            </p:cNvPr>
            <p:cNvSpPr/>
            <p:nvPr/>
          </p:nvSpPr>
          <p:spPr>
            <a:xfrm rot="10800000">
              <a:off x="98105" y="1284771"/>
              <a:ext cx="4308794" cy="64539"/>
            </a:xfrm>
            <a:custGeom>
              <a:avLst/>
              <a:gdLst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884255 w 11867103"/>
                <a:gd name="connsiteY5" fmla="*/ 60290 h 2964609"/>
                <a:gd name="connsiteX6" fmla="*/ 964642 w 11867103"/>
                <a:gd name="connsiteY6" fmla="*/ 70339 h 2964609"/>
                <a:gd name="connsiteX7" fmla="*/ 994787 w 11867103"/>
                <a:gd name="connsiteY7" fmla="*/ 80387 h 2964609"/>
                <a:gd name="connsiteX8" fmla="*/ 1356528 w 11867103"/>
                <a:gd name="connsiteY8" fmla="*/ 80387 h 2964609"/>
                <a:gd name="connsiteX9" fmla="*/ 1758462 w 11867103"/>
                <a:gd name="connsiteY9" fmla="*/ 40193 h 2964609"/>
                <a:gd name="connsiteX10" fmla="*/ 1889090 w 11867103"/>
                <a:gd name="connsiteY10" fmla="*/ 20097 h 2964609"/>
                <a:gd name="connsiteX11" fmla="*/ 2140299 w 11867103"/>
                <a:gd name="connsiteY11" fmla="*/ 40193 h 2964609"/>
                <a:gd name="connsiteX12" fmla="*/ 2200589 w 11867103"/>
                <a:gd name="connsiteY12" fmla="*/ 50242 h 2964609"/>
                <a:gd name="connsiteX13" fmla="*/ 4652387 w 11867103"/>
                <a:gd name="connsiteY13" fmla="*/ 60290 h 2964609"/>
                <a:gd name="connsiteX14" fmla="*/ 4692580 w 11867103"/>
                <a:gd name="connsiteY14" fmla="*/ 70339 h 2964609"/>
                <a:gd name="connsiteX15" fmla="*/ 4843306 w 11867103"/>
                <a:gd name="connsiteY15" fmla="*/ 90435 h 2964609"/>
                <a:gd name="connsiteX16" fmla="*/ 5677319 w 11867103"/>
                <a:gd name="connsiteY16" fmla="*/ 80387 h 2964609"/>
                <a:gd name="connsiteX17" fmla="*/ 6169688 w 11867103"/>
                <a:gd name="connsiteY17" fmla="*/ 110532 h 2964609"/>
                <a:gd name="connsiteX18" fmla="*/ 6420897 w 11867103"/>
                <a:gd name="connsiteY18" fmla="*/ 90435 h 2964609"/>
                <a:gd name="connsiteX19" fmla="*/ 6511332 w 11867103"/>
                <a:gd name="connsiteY19" fmla="*/ 30145 h 2964609"/>
                <a:gd name="connsiteX20" fmla="*/ 6571622 w 11867103"/>
                <a:gd name="connsiteY20" fmla="*/ 20097 h 2964609"/>
                <a:gd name="connsiteX21" fmla="*/ 6641961 w 11867103"/>
                <a:gd name="connsiteY21" fmla="*/ 0 h 2964609"/>
                <a:gd name="connsiteX22" fmla="*/ 7204668 w 11867103"/>
                <a:gd name="connsiteY22" fmla="*/ 10048 h 2964609"/>
                <a:gd name="connsiteX23" fmla="*/ 7285055 w 11867103"/>
                <a:gd name="connsiteY23" fmla="*/ 30145 h 2964609"/>
                <a:gd name="connsiteX24" fmla="*/ 7375490 w 11867103"/>
                <a:gd name="connsiteY24" fmla="*/ 40193 h 2964609"/>
                <a:gd name="connsiteX25" fmla="*/ 7928150 w 11867103"/>
                <a:gd name="connsiteY25" fmla="*/ 60290 h 2964609"/>
                <a:gd name="connsiteX26" fmla="*/ 8109020 w 11867103"/>
                <a:gd name="connsiteY26" fmla="*/ 80387 h 2964609"/>
                <a:gd name="connsiteX27" fmla="*/ 8219552 w 11867103"/>
                <a:gd name="connsiteY27" fmla="*/ 90435 h 2964609"/>
                <a:gd name="connsiteX28" fmla="*/ 8299939 w 11867103"/>
                <a:gd name="connsiteY28" fmla="*/ 100484 h 2964609"/>
                <a:gd name="connsiteX29" fmla="*/ 8521002 w 11867103"/>
                <a:gd name="connsiteY29" fmla="*/ 110532 h 2964609"/>
                <a:gd name="connsiteX30" fmla="*/ 9515789 w 11867103"/>
                <a:gd name="connsiteY30" fmla="*/ 100484 h 2964609"/>
                <a:gd name="connsiteX31" fmla="*/ 9606224 w 11867103"/>
                <a:gd name="connsiteY31" fmla="*/ 90435 h 2964609"/>
                <a:gd name="connsiteX32" fmla="*/ 9716756 w 11867103"/>
                <a:gd name="connsiteY32" fmla="*/ 80387 h 2964609"/>
                <a:gd name="connsiteX33" fmla="*/ 9797143 w 11867103"/>
                <a:gd name="connsiteY33" fmla="*/ 70339 h 2964609"/>
                <a:gd name="connsiteX34" fmla="*/ 9947868 w 11867103"/>
                <a:gd name="connsiteY34" fmla="*/ 60290 h 2964609"/>
                <a:gd name="connsiteX35" fmla="*/ 10791930 w 11867103"/>
                <a:gd name="connsiteY35" fmla="*/ 30145 h 2964609"/>
                <a:gd name="connsiteX36" fmla="*/ 11736475 w 11867103"/>
                <a:gd name="connsiteY36" fmla="*/ 50242 h 2964609"/>
                <a:gd name="connsiteX37" fmla="*/ 11766620 w 11867103"/>
                <a:gd name="connsiteY37" fmla="*/ 80387 h 2964609"/>
                <a:gd name="connsiteX38" fmla="*/ 11786717 w 11867103"/>
                <a:gd name="connsiteY38" fmla="*/ 120580 h 2964609"/>
                <a:gd name="connsiteX39" fmla="*/ 11806813 w 11867103"/>
                <a:gd name="connsiteY39" fmla="*/ 211015 h 2964609"/>
                <a:gd name="connsiteX40" fmla="*/ 11816862 w 11867103"/>
                <a:gd name="connsiteY40" fmla="*/ 251209 h 2964609"/>
                <a:gd name="connsiteX41" fmla="*/ 11826910 w 11867103"/>
                <a:gd name="connsiteY41" fmla="*/ 341644 h 2964609"/>
                <a:gd name="connsiteX42" fmla="*/ 11836958 w 11867103"/>
                <a:gd name="connsiteY42" fmla="*/ 422031 h 2964609"/>
                <a:gd name="connsiteX43" fmla="*/ 11826910 w 11867103"/>
                <a:gd name="connsiteY43" fmla="*/ 733530 h 2964609"/>
                <a:gd name="connsiteX44" fmla="*/ 11816862 w 11867103"/>
                <a:gd name="connsiteY44" fmla="*/ 793820 h 2964609"/>
                <a:gd name="connsiteX45" fmla="*/ 11806813 w 11867103"/>
                <a:gd name="connsiteY45" fmla="*/ 864158 h 2964609"/>
                <a:gd name="connsiteX46" fmla="*/ 11816862 w 11867103"/>
                <a:gd name="connsiteY46" fmla="*/ 2331218 h 2964609"/>
                <a:gd name="connsiteX47" fmla="*/ 11826910 w 11867103"/>
                <a:gd name="connsiteY47" fmla="*/ 2401556 h 2964609"/>
                <a:gd name="connsiteX48" fmla="*/ 11836958 w 11867103"/>
                <a:gd name="connsiteY48" fmla="*/ 2431701 h 2964609"/>
                <a:gd name="connsiteX49" fmla="*/ 11857055 w 11867103"/>
                <a:gd name="connsiteY49" fmla="*/ 2562330 h 2964609"/>
                <a:gd name="connsiteX50" fmla="*/ 11867103 w 11867103"/>
                <a:gd name="connsiteY50" fmla="*/ 2602523 h 2964609"/>
                <a:gd name="connsiteX51" fmla="*/ 11857055 w 11867103"/>
                <a:gd name="connsiteY51" fmla="*/ 2833635 h 2964609"/>
                <a:gd name="connsiteX52" fmla="*/ 11836958 w 11867103"/>
                <a:gd name="connsiteY52" fmla="*/ 2863780 h 2964609"/>
                <a:gd name="connsiteX53" fmla="*/ 11033090 w 11867103"/>
                <a:gd name="connsiteY53" fmla="*/ 2853732 h 2964609"/>
                <a:gd name="connsiteX54" fmla="*/ 10621108 w 11867103"/>
                <a:gd name="connsiteY54" fmla="*/ 2843684 h 2964609"/>
                <a:gd name="connsiteX55" fmla="*/ 10128739 w 11867103"/>
                <a:gd name="connsiteY55" fmla="*/ 2853732 h 2964609"/>
                <a:gd name="connsiteX56" fmla="*/ 10048352 w 11867103"/>
                <a:gd name="connsiteY56" fmla="*/ 2863780 h 2964609"/>
                <a:gd name="connsiteX57" fmla="*/ 9555982 w 11867103"/>
                <a:gd name="connsiteY57" fmla="*/ 2853732 h 2964609"/>
                <a:gd name="connsiteX58" fmla="*/ 9445451 w 11867103"/>
                <a:gd name="connsiteY58" fmla="*/ 2843684 h 2964609"/>
                <a:gd name="connsiteX59" fmla="*/ 9415306 w 11867103"/>
                <a:gd name="connsiteY59" fmla="*/ 2823587 h 2964609"/>
                <a:gd name="connsiteX60" fmla="*/ 9204290 w 11867103"/>
                <a:gd name="connsiteY60" fmla="*/ 2803490 h 2964609"/>
                <a:gd name="connsiteX61" fmla="*/ 9073662 w 11867103"/>
                <a:gd name="connsiteY61" fmla="*/ 2783393 h 2964609"/>
                <a:gd name="connsiteX62" fmla="*/ 8812404 w 11867103"/>
                <a:gd name="connsiteY62" fmla="*/ 2773345 h 2964609"/>
                <a:gd name="connsiteX63" fmla="*/ 8400422 w 11867103"/>
                <a:gd name="connsiteY63" fmla="*/ 2763297 h 2964609"/>
                <a:gd name="connsiteX64" fmla="*/ 8269793 w 11867103"/>
                <a:gd name="connsiteY64" fmla="*/ 2753248 h 2964609"/>
                <a:gd name="connsiteX65" fmla="*/ 7797521 w 11867103"/>
                <a:gd name="connsiteY65" fmla="*/ 2773345 h 2964609"/>
                <a:gd name="connsiteX66" fmla="*/ 7717134 w 11867103"/>
                <a:gd name="connsiteY66" fmla="*/ 2783393 h 2964609"/>
                <a:gd name="connsiteX67" fmla="*/ 7486022 w 11867103"/>
                <a:gd name="connsiteY67" fmla="*/ 2813539 h 2964609"/>
                <a:gd name="connsiteX68" fmla="*/ 7395587 w 11867103"/>
                <a:gd name="connsiteY68" fmla="*/ 2833635 h 2964609"/>
                <a:gd name="connsiteX69" fmla="*/ 7325248 w 11867103"/>
                <a:gd name="connsiteY69" fmla="*/ 2843684 h 2964609"/>
                <a:gd name="connsiteX70" fmla="*/ 6863024 w 11867103"/>
                <a:gd name="connsiteY70" fmla="*/ 2833635 h 2964609"/>
                <a:gd name="connsiteX71" fmla="*/ 6722347 w 11867103"/>
                <a:gd name="connsiteY71" fmla="*/ 2823587 h 2964609"/>
                <a:gd name="connsiteX72" fmla="*/ 4903596 w 11867103"/>
                <a:gd name="connsiteY72" fmla="*/ 2873829 h 2964609"/>
                <a:gd name="connsiteX73" fmla="*/ 4722725 w 11867103"/>
                <a:gd name="connsiteY73" fmla="*/ 2914022 h 2964609"/>
                <a:gd name="connsiteX74" fmla="*/ 4300695 w 11867103"/>
                <a:gd name="connsiteY74" fmla="*/ 2893925 h 2964609"/>
                <a:gd name="connsiteX75" fmla="*/ 4059534 w 11867103"/>
                <a:gd name="connsiteY75" fmla="*/ 2853732 h 2964609"/>
                <a:gd name="connsiteX76" fmla="*/ 3768132 w 11867103"/>
                <a:gd name="connsiteY76" fmla="*/ 2823587 h 2964609"/>
                <a:gd name="connsiteX77" fmla="*/ 3627455 w 11867103"/>
                <a:gd name="connsiteY77" fmla="*/ 2813539 h 2964609"/>
                <a:gd name="connsiteX78" fmla="*/ 3125037 w 11867103"/>
                <a:gd name="connsiteY78" fmla="*/ 2823587 h 2964609"/>
                <a:gd name="connsiteX79" fmla="*/ 3064747 w 11867103"/>
                <a:gd name="connsiteY79" fmla="*/ 2833635 h 2964609"/>
                <a:gd name="connsiteX80" fmla="*/ 2009670 w 11867103"/>
                <a:gd name="connsiteY80" fmla="*/ 2843684 h 2964609"/>
                <a:gd name="connsiteX81" fmla="*/ 1678075 w 11867103"/>
                <a:gd name="connsiteY81" fmla="*/ 2934119 h 2964609"/>
                <a:gd name="connsiteX82" fmla="*/ 1607736 w 11867103"/>
                <a:gd name="connsiteY82" fmla="*/ 2964264 h 2964609"/>
                <a:gd name="connsiteX83" fmla="*/ 1135464 w 11867103"/>
                <a:gd name="connsiteY83" fmla="*/ 2944167 h 2964609"/>
                <a:gd name="connsiteX84" fmla="*/ 944545 w 11867103"/>
                <a:gd name="connsiteY84" fmla="*/ 2914022 h 2964609"/>
                <a:gd name="connsiteX85" fmla="*/ 723481 w 11867103"/>
                <a:gd name="connsiteY85" fmla="*/ 2873829 h 2964609"/>
                <a:gd name="connsiteX86" fmla="*/ 643095 w 11867103"/>
                <a:gd name="connsiteY86" fmla="*/ 2863780 h 2964609"/>
                <a:gd name="connsiteX87" fmla="*/ 371789 w 11867103"/>
                <a:gd name="connsiteY87" fmla="*/ 2823587 h 2964609"/>
                <a:gd name="connsiteX88" fmla="*/ 0 w 11867103"/>
                <a:gd name="connsiteY88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884255 w 11867103"/>
                <a:gd name="connsiteY5" fmla="*/ 60290 h 2964609"/>
                <a:gd name="connsiteX6" fmla="*/ 964642 w 11867103"/>
                <a:gd name="connsiteY6" fmla="*/ 70339 h 2964609"/>
                <a:gd name="connsiteX7" fmla="*/ 1356528 w 11867103"/>
                <a:gd name="connsiteY7" fmla="*/ 80387 h 2964609"/>
                <a:gd name="connsiteX8" fmla="*/ 1758462 w 11867103"/>
                <a:gd name="connsiteY8" fmla="*/ 40193 h 2964609"/>
                <a:gd name="connsiteX9" fmla="*/ 1889090 w 11867103"/>
                <a:gd name="connsiteY9" fmla="*/ 20097 h 2964609"/>
                <a:gd name="connsiteX10" fmla="*/ 2140299 w 11867103"/>
                <a:gd name="connsiteY10" fmla="*/ 40193 h 2964609"/>
                <a:gd name="connsiteX11" fmla="*/ 2200589 w 11867103"/>
                <a:gd name="connsiteY11" fmla="*/ 50242 h 2964609"/>
                <a:gd name="connsiteX12" fmla="*/ 4652387 w 11867103"/>
                <a:gd name="connsiteY12" fmla="*/ 60290 h 2964609"/>
                <a:gd name="connsiteX13" fmla="*/ 4692580 w 11867103"/>
                <a:gd name="connsiteY13" fmla="*/ 70339 h 2964609"/>
                <a:gd name="connsiteX14" fmla="*/ 4843306 w 11867103"/>
                <a:gd name="connsiteY14" fmla="*/ 90435 h 2964609"/>
                <a:gd name="connsiteX15" fmla="*/ 5677319 w 11867103"/>
                <a:gd name="connsiteY15" fmla="*/ 80387 h 2964609"/>
                <a:gd name="connsiteX16" fmla="*/ 6169688 w 11867103"/>
                <a:gd name="connsiteY16" fmla="*/ 110532 h 2964609"/>
                <a:gd name="connsiteX17" fmla="*/ 6420897 w 11867103"/>
                <a:gd name="connsiteY17" fmla="*/ 90435 h 2964609"/>
                <a:gd name="connsiteX18" fmla="*/ 6511332 w 11867103"/>
                <a:gd name="connsiteY18" fmla="*/ 30145 h 2964609"/>
                <a:gd name="connsiteX19" fmla="*/ 6571622 w 11867103"/>
                <a:gd name="connsiteY19" fmla="*/ 20097 h 2964609"/>
                <a:gd name="connsiteX20" fmla="*/ 6641961 w 11867103"/>
                <a:gd name="connsiteY20" fmla="*/ 0 h 2964609"/>
                <a:gd name="connsiteX21" fmla="*/ 7204668 w 11867103"/>
                <a:gd name="connsiteY21" fmla="*/ 10048 h 2964609"/>
                <a:gd name="connsiteX22" fmla="*/ 7285055 w 11867103"/>
                <a:gd name="connsiteY22" fmla="*/ 30145 h 2964609"/>
                <a:gd name="connsiteX23" fmla="*/ 7375490 w 11867103"/>
                <a:gd name="connsiteY23" fmla="*/ 40193 h 2964609"/>
                <a:gd name="connsiteX24" fmla="*/ 7928150 w 11867103"/>
                <a:gd name="connsiteY24" fmla="*/ 60290 h 2964609"/>
                <a:gd name="connsiteX25" fmla="*/ 8109020 w 11867103"/>
                <a:gd name="connsiteY25" fmla="*/ 80387 h 2964609"/>
                <a:gd name="connsiteX26" fmla="*/ 8219552 w 11867103"/>
                <a:gd name="connsiteY26" fmla="*/ 90435 h 2964609"/>
                <a:gd name="connsiteX27" fmla="*/ 8299939 w 11867103"/>
                <a:gd name="connsiteY27" fmla="*/ 100484 h 2964609"/>
                <a:gd name="connsiteX28" fmla="*/ 8521002 w 11867103"/>
                <a:gd name="connsiteY28" fmla="*/ 110532 h 2964609"/>
                <a:gd name="connsiteX29" fmla="*/ 9515789 w 11867103"/>
                <a:gd name="connsiteY29" fmla="*/ 100484 h 2964609"/>
                <a:gd name="connsiteX30" fmla="*/ 9606224 w 11867103"/>
                <a:gd name="connsiteY30" fmla="*/ 90435 h 2964609"/>
                <a:gd name="connsiteX31" fmla="*/ 9716756 w 11867103"/>
                <a:gd name="connsiteY31" fmla="*/ 80387 h 2964609"/>
                <a:gd name="connsiteX32" fmla="*/ 9797143 w 11867103"/>
                <a:gd name="connsiteY32" fmla="*/ 70339 h 2964609"/>
                <a:gd name="connsiteX33" fmla="*/ 9947868 w 11867103"/>
                <a:gd name="connsiteY33" fmla="*/ 60290 h 2964609"/>
                <a:gd name="connsiteX34" fmla="*/ 10791930 w 11867103"/>
                <a:gd name="connsiteY34" fmla="*/ 30145 h 2964609"/>
                <a:gd name="connsiteX35" fmla="*/ 11736475 w 11867103"/>
                <a:gd name="connsiteY35" fmla="*/ 50242 h 2964609"/>
                <a:gd name="connsiteX36" fmla="*/ 11766620 w 11867103"/>
                <a:gd name="connsiteY36" fmla="*/ 80387 h 2964609"/>
                <a:gd name="connsiteX37" fmla="*/ 11786717 w 11867103"/>
                <a:gd name="connsiteY37" fmla="*/ 120580 h 2964609"/>
                <a:gd name="connsiteX38" fmla="*/ 11806813 w 11867103"/>
                <a:gd name="connsiteY38" fmla="*/ 211015 h 2964609"/>
                <a:gd name="connsiteX39" fmla="*/ 11816862 w 11867103"/>
                <a:gd name="connsiteY39" fmla="*/ 251209 h 2964609"/>
                <a:gd name="connsiteX40" fmla="*/ 11826910 w 11867103"/>
                <a:gd name="connsiteY40" fmla="*/ 341644 h 2964609"/>
                <a:gd name="connsiteX41" fmla="*/ 11836958 w 11867103"/>
                <a:gd name="connsiteY41" fmla="*/ 422031 h 2964609"/>
                <a:gd name="connsiteX42" fmla="*/ 11826910 w 11867103"/>
                <a:gd name="connsiteY42" fmla="*/ 733530 h 2964609"/>
                <a:gd name="connsiteX43" fmla="*/ 11816862 w 11867103"/>
                <a:gd name="connsiteY43" fmla="*/ 793820 h 2964609"/>
                <a:gd name="connsiteX44" fmla="*/ 11806813 w 11867103"/>
                <a:gd name="connsiteY44" fmla="*/ 864158 h 2964609"/>
                <a:gd name="connsiteX45" fmla="*/ 11816862 w 11867103"/>
                <a:gd name="connsiteY45" fmla="*/ 2331218 h 2964609"/>
                <a:gd name="connsiteX46" fmla="*/ 11826910 w 11867103"/>
                <a:gd name="connsiteY46" fmla="*/ 2401556 h 2964609"/>
                <a:gd name="connsiteX47" fmla="*/ 11836958 w 11867103"/>
                <a:gd name="connsiteY47" fmla="*/ 2431701 h 2964609"/>
                <a:gd name="connsiteX48" fmla="*/ 11857055 w 11867103"/>
                <a:gd name="connsiteY48" fmla="*/ 2562330 h 2964609"/>
                <a:gd name="connsiteX49" fmla="*/ 11867103 w 11867103"/>
                <a:gd name="connsiteY49" fmla="*/ 2602523 h 2964609"/>
                <a:gd name="connsiteX50" fmla="*/ 11857055 w 11867103"/>
                <a:gd name="connsiteY50" fmla="*/ 2833635 h 2964609"/>
                <a:gd name="connsiteX51" fmla="*/ 11836958 w 11867103"/>
                <a:gd name="connsiteY51" fmla="*/ 2863780 h 2964609"/>
                <a:gd name="connsiteX52" fmla="*/ 11033090 w 11867103"/>
                <a:gd name="connsiteY52" fmla="*/ 2853732 h 2964609"/>
                <a:gd name="connsiteX53" fmla="*/ 10621108 w 11867103"/>
                <a:gd name="connsiteY53" fmla="*/ 2843684 h 2964609"/>
                <a:gd name="connsiteX54" fmla="*/ 10128739 w 11867103"/>
                <a:gd name="connsiteY54" fmla="*/ 2853732 h 2964609"/>
                <a:gd name="connsiteX55" fmla="*/ 10048352 w 11867103"/>
                <a:gd name="connsiteY55" fmla="*/ 2863780 h 2964609"/>
                <a:gd name="connsiteX56" fmla="*/ 9555982 w 11867103"/>
                <a:gd name="connsiteY56" fmla="*/ 2853732 h 2964609"/>
                <a:gd name="connsiteX57" fmla="*/ 9445451 w 11867103"/>
                <a:gd name="connsiteY57" fmla="*/ 2843684 h 2964609"/>
                <a:gd name="connsiteX58" fmla="*/ 9415306 w 11867103"/>
                <a:gd name="connsiteY58" fmla="*/ 2823587 h 2964609"/>
                <a:gd name="connsiteX59" fmla="*/ 9204290 w 11867103"/>
                <a:gd name="connsiteY59" fmla="*/ 2803490 h 2964609"/>
                <a:gd name="connsiteX60" fmla="*/ 9073662 w 11867103"/>
                <a:gd name="connsiteY60" fmla="*/ 2783393 h 2964609"/>
                <a:gd name="connsiteX61" fmla="*/ 8812404 w 11867103"/>
                <a:gd name="connsiteY61" fmla="*/ 2773345 h 2964609"/>
                <a:gd name="connsiteX62" fmla="*/ 8400422 w 11867103"/>
                <a:gd name="connsiteY62" fmla="*/ 2763297 h 2964609"/>
                <a:gd name="connsiteX63" fmla="*/ 8269793 w 11867103"/>
                <a:gd name="connsiteY63" fmla="*/ 2753248 h 2964609"/>
                <a:gd name="connsiteX64" fmla="*/ 7797521 w 11867103"/>
                <a:gd name="connsiteY64" fmla="*/ 2773345 h 2964609"/>
                <a:gd name="connsiteX65" fmla="*/ 7717134 w 11867103"/>
                <a:gd name="connsiteY65" fmla="*/ 2783393 h 2964609"/>
                <a:gd name="connsiteX66" fmla="*/ 7486022 w 11867103"/>
                <a:gd name="connsiteY66" fmla="*/ 2813539 h 2964609"/>
                <a:gd name="connsiteX67" fmla="*/ 7395587 w 11867103"/>
                <a:gd name="connsiteY67" fmla="*/ 2833635 h 2964609"/>
                <a:gd name="connsiteX68" fmla="*/ 7325248 w 11867103"/>
                <a:gd name="connsiteY68" fmla="*/ 2843684 h 2964609"/>
                <a:gd name="connsiteX69" fmla="*/ 6863024 w 11867103"/>
                <a:gd name="connsiteY69" fmla="*/ 2833635 h 2964609"/>
                <a:gd name="connsiteX70" fmla="*/ 6722347 w 11867103"/>
                <a:gd name="connsiteY70" fmla="*/ 2823587 h 2964609"/>
                <a:gd name="connsiteX71" fmla="*/ 4903596 w 11867103"/>
                <a:gd name="connsiteY71" fmla="*/ 2873829 h 2964609"/>
                <a:gd name="connsiteX72" fmla="*/ 4722725 w 11867103"/>
                <a:gd name="connsiteY72" fmla="*/ 2914022 h 2964609"/>
                <a:gd name="connsiteX73" fmla="*/ 4300695 w 11867103"/>
                <a:gd name="connsiteY73" fmla="*/ 2893925 h 2964609"/>
                <a:gd name="connsiteX74" fmla="*/ 4059534 w 11867103"/>
                <a:gd name="connsiteY74" fmla="*/ 2853732 h 2964609"/>
                <a:gd name="connsiteX75" fmla="*/ 3768132 w 11867103"/>
                <a:gd name="connsiteY75" fmla="*/ 2823587 h 2964609"/>
                <a:gd name="connsiteX76" fmla="*/ 3627455 w 11867103"/>
                <a:gd name="connsiteY76" fmla="*/ 2813539 h 2964609"/>
                <a:gd name="connsiteX77" fmla="*/ 3125037 w 11867103"/>
                <a:gd name="connsiteY77" fmla="*/ 2823587 h 2964609"/>
                <a:gd name="connsiteX78" fmla="*/ 3064747 w 11867103"/>
                <a:gd name="connsiteY78" fmla="*/ 2833635 h 2964609"/>
                <a:gd name="connsiteX79" fmla="*/ 2009670 w 11867103"/>
                <a:gd name="connsiteY79" fmla="*/ 2843684 h 2964609"/>
                <a:gd name="connsiteX80" fmla="*/ 1678075 w 11867103"/>
                <a:gd name="connsiteY80" fmla="*/ 2934119 h 2964609"/>
                <a:gd name="connsiteX81" fmla="*/ 1607736 w 11867103"/>
                <a:gd name="connsiteY81" fmla="*/ 2964264 h 2964609"/>
                <a:gd name="connsiteX82" fmla="*/ 1135464 w 11867103"/>
                <a:gd name="connsiteY82" fmla="*/ 2944167 h 2964609"/>
                <a:gd name="connsiteX83" fmla="*/ 944545 w 11867103"/>
                <a:gd name="connsiteY83" fmla="*/ 2914022 h 2964609"/>
                <a:gd name="connsiteX84" fmla="*/ 723481 w 11867103"/>
                <a:gd name="connsiteY84" fmla="*/ 2873829 h 2964609"/>
                <a:gd name="connsiteX85" fmla="*/ 643095 w 11867103"/>
                <a:gd name="connsiteY85" fmla="*/ 2863780 h 2964609"/>
                <a:gd name="connsiteX86" fmla="*/ 371789 w 11867103"/>
                <a:gd name="connsiteY86" fmla="*/ 2823587 h 2964609"/>
                <a:gd name="connsiteX87" fmla="*/ 0 w 11867103"/>
                <a:gd name="connsiteY87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884255 w 11867103"/>
                <a:gd name="connsiteY5" fmla="*/ 60290 h 2964609"/>
                <a:gd name="connsiteX6" fmla="*/ 1356528 w 11867103"/>
                <a:gd name="connsiteY6" fmla="*/ 80387 h 2964609"/>
                <a:gd name="connsiteX7" fmla="*/ 1758462 w 11867103"/>
                <a:gd name="connsiteY7" fmla="*/ 40193 h 2964609"/>
                <a:gd name="connsiteX8" fmla="*/ 1889090 w 11867103"/>
                <a:gd name="connsiteY8" fmla="*/ 20097 h 2964609"/>
                <a:gd name="connsiteX9" fmla="*/ 2140299 w 11867103"/>
                <a:gd name="connsiteY9" fmla="*/ 40193 h 2964609"/>
                <a:gd name="connsiteX10" fmla="*/ 2200589 w 11867103"/>
                <a:gd name="connsiteY10" fmla="*/ 50242 h 2964609"/>
                <a:gd name="connsiteX11" fmla="*/ 4652387 w 11867103"/>
                <a:gd name="connsiteY11" fmla="*/ 60290 h 2964609"/>
                <a:gd name="connsiteX12" fmla="*/ 4692580 w 11867103"/>
                <a:gd name="connsiteY12" fmla="*/ 70339 h 2964609"/>
                <a:gd name="connsiteX13" fmla="*/ 4843306 w 11867103"/>
                <a:gd name="connsiteY13" fmla="*/ 90435 h 2964609"/>
                <a:gd name="connsiteX14" fmla="*/ 5677319 w 11867103"/>
                <a:gd name="connsiteY14" fmla="*/ 80387 h 2964609"/>
                <a:gd name="connsiteX15" fmla="*/ 6169688 w 11867103"/>
                <a:gd name="connsiteY15" fmla="*/ 110532 h 2964609"/>
                <a:gd name="connsiteX16" fmla="*/ 6420897 w 11867103"/>
                <a:gd name="connsiteY16" fmla="*/ 90435 h 2964609"/>
                <a:gd name="connsiteX17" fmla="*/ 6511332 w 11867103"/>
                <a:gd name="connsiteY17" fmla="*/ 30145 h 2964609"/>
                <a:gd name="connsiteX18" fmla="*/ 6571622 w 11867103"/>
                <a:gd name="connsiteY18" fmla="*/ 20097 h 2964609"/>
                <a:gd name="connsiteX19" fmla="*/ 6641961 w 11867103"/>
                <a:gd name="connsiteY19" fmla="*/ 0 h 2964609"/>
                <a:gd name="connsiteX20" fmla="*/ 7204668 w 11867103"/>
                <a:gd name="connsiteY20" fmla="*/ 10048 h 2964609"/>
                <a:gd name="connsiteX21" fmla="*/ 7285055 w 11867103"/>
                <a:gd name="connsiteY21" fmla="*/ 30145 h 2964609"/>
                <a:gd name="connsiteX22" fmla="*/ 7375490 w 11867103"/>
                <a:gd name="connsiteY22" fmla="*/ 40193 h 2964609"/>
                <a:gd name="connsiteX23" fmla="*/ 7928150 w 11867103"/>
                <a:gd name="connsiteY23" fmla="*/ 60290 h 2964609"/>
                <a:gd name="connsiteX24" fmla="*/ 8109020 w 11867103"/>
                <a:gd name="connsiteY24" fmla="*/ 80387 h 2964609"/>
                <a:gd name="connsiteX25" fmla="*/ 8219552 w 11867103"/>
                <a:gd name="connsiteY25" fmla="*/ 90435 h 2964609"/>
                <a:gd name="connsiteX26" fmla="*/ 8299939 w 11867103"/>
                <a:gd name="connsiteY26" fmla="*/ 100484 h 2964609"/>
                <a:gd name="connsiteX27" fmla="*/ 8521002 w 11867103"/>
                <a:gd name="connsiteY27" fmla="*/ 110532 h 2964609"/>
                <a:gd name="connsiteX28" fmla="*/ 9515789 w 11867103"/>
                <a:gd name="connsiteY28" fmla="*/ 100484 h 2964609"/>
                <a:gd name="connsiteX29" fmla="*/ 9606224 w 11867103"/>
                <a:gd name="connsiteY29" fmla="*/ 90435 h 2964609"/>
                <a:gd name="connsiteX30" fmla="*/ 9716756 w 11867103"/>
                <a:gd name="connsiteY30" fmla="*/ 80387 h 2964609"/>
                <a:gd name="connsiteX31" fmla="*/ 9797143 w 11867103"/>
                <a:gd name="connsiteY31" fmla="*/ 70339 h 2964609"/>
                <a:gd name="connsiteX32" fmla="*/ 9947868 w 11867103"/>
                <a:gd name="connsiteY32" fmla="*/ 60290 h 2964609"/>
                <a:gd name="connsiteX33" fmla="*/ 10791930 w 11867103"/>
                <a:gd name="connsiteY33" fmla="*/ 30145 h 2964609"/>
                <a:gd name="connsiteX34" fmla="*/ 11736475 w 11867103"/>
                <a:gd name="connsiteY34" fmla="*/ 50242 h 2964609"/>
                <a:gd name="connsiteX35" fmla="*/ 11766620 w 11867103"/>
                <a:gd name="connsiteY35" fmla="*/ 80387 h 2964609"/>
                <a:gd name="connsiteX36" fmla="*/ 11786717 w 11867103"/>
                <a:gd name="connsiteY36" fmla="*/ 120580 h 2964609"/>
                <a:gd name="connsiteX37" fmla="*/ 11806813 w 11867103"/>
                <a:gd name="connsiteY37" fmla="*/ 211015 h 2964609"/>
                <a:gd name="connsiteX38" fmla="*/ 11816862 w 11867103"/>
                <a:gd name="connsiteY38" fmla="*/ 251209 h 2964609"/>
                <a:gd name="connsiteX39" fmla="*/ 11826910 w 11867103"/>
                <a:gd name="connsiteY39" fmla="*/ 341644 h 2964609"/>
                <a:gd name="connsiteX40" fmla="*/ 11836958 w 11867103"/>
                <a:gd name="connsiteY40" fmla="*/ 422031 h 2964609"/>
                <a:gd name="connsiteX41" fmla="*/ 11826910 w 11867103"/>
                <a:gd name="connsiteY41" fmla="*/ 733530 h 2964609"/>
                <a:gd name="connsiteX42" fmla="*/ 11816862 w 11867103"/>
                <a:gd name="connsiteY42" fmla="*/ 793820 h 2964609"/>
                <a:gd name="connsiteX43" fmla="*/ 11806813 w 11867103"/>
                <a:gd name="connsiteY43" fmla="*/ 864158 h 2964609"/>
                <a:gd name="connsiteX44" fmla="*/ 11816862 w 11867103"/>
                <a:gd name="connsiteY44" fmla="*/ 2331218 h 2964609"/>
                <a:gd name="connsiteX45" fmla="*/ 11826910 w 11867103"/>
                <a:gd name="connsiteY45" fmla="*/ 2401556 h 2964609"/>
                <a:gd name="connsiteX46" fmla="*/ 11836958 w 11867103"/>
                <a:gd name="connsiteY46" fmla="*/ 2431701 h 2964609"/>
                <a:gd name="connsiteX47" fmla="*/ 11857055 w 11867103"/>
                <a:gd name="connsiteY47" fmla="*/ 2562330 h 2964609"/>
                <a:gd name="connsiteX48" fmla="*/ 11867103 w 11867103"/>
                <a:gd name="connsiteY48" fmla="*/ 2602523 h 2964609"/>
                <a:gd name="connsiteX49" fmla="*/ 11857055 w 11867103"/>
                <a:gd name="connsiteY49" fmla="*/ 2833635 h 2964609"/>
                <a:gd name="connsiteX50" fmla="*/ 11836958 w 11867103"/>
                <a:gd name="connsiteY50" fmla="*/ 2863780 h 2964609"/>
                <a:gd name="connsiteX51" fmla="*/ 11033090 w 11867103"/>
                <a:gd name="connsiteY51" fmla="*/ 2853732 h 2964609"/>
                <a:gd name="connsiteX52" fmla="*/ 10621108 w 11867103"/>
                <a:gd name="connsiteY52" fmla="*/ 2843684 h 2964609"/>
                <a:gd name="connsiteX53" fmla="*/ 10128739 w 11867103"/>
                <a:gd name="connsiteY53" fmla="*/ 2853732 h 2964609"/>
                <a:gd name="connsiteX54" fmla="*/ 10048352 w 11867103"/>
                <a:gd name="connsiteY54" fmla="*/ 2863780 h 2964609"/>
                <a:gd name="connsiteX55" fmla="*/ 9555982 w 11867103"/>
                <a:gd name="connsiteY55" fmla="*/ 2853732 h 2964609"/>
                <a:gd name="connsiteX56" fmla="*/ 9445451 w 11867103"/>
                <a:gd name="connsiteY56" fmla="*/ 2843684 h 2964609"/>
                <a:gd name="connsiteX57" fmla="*/ 9415306 w 11867103"/>
                <a:gd name="connsiteY57" fmla="*/ 2823587 h 2964609"/>
                <a:gd name="connsiteX58" fmla="*/ 9204290 w 11867103"/>
                <a:gd name="connsiteY58" fmla="*/ 2803490 h 2964609"/>
                <a:gd name="connsiteX59" fmla="*/ 9073662 w 11867103"/>
                <a:gd name="connsiteY59" fmla="*/ 2783393 h 2964609"/>
                <a:gd name="connsiteX60" fmla="*/ 8812404 w 11867103"/>
                <a:gd name="connsiteY60" fmla="*/ 2773345 h 2964609"/>
                <a:gd name="connsiteX61" fmla="*/ 8400422 w 11867103"/>
                <a:gd name="connsiteY61" fmla="*/ 2763297 h 2964609"/>
                <a:gd name="connsiteX62" fmla="*/ 8269793 w 11867103"/>
                <a:gd name="connsiteY62" fmla="*/ 2753248 h 2964609"/>
                <a:gd name="connsiteX63" fmla="*/ 7797521 w 11867103"/>
                <a:gd name="connsiteY63" fmla="*/ 2773345 h 2964609"/>
                <a:gd name="connsiteX64" fmla="*/ 7717134 w 11867103"/>
                <a:gd name="connsiteY64" fmla="*/ 2783393 h 2964609"/>
                <a:gd name="connsiteX65" fmla="*/ 7486022 w 11867103"/>
                <a:gd name="connsiteY65" fmla="*/ 2813539 h 2964609"/>
                <a:gd name="connsiteX66" fmla="*/ 7395587 w 11867103"/>
                <a:gd name="connsiteY66" fmla="*/ 2833635 h 2964609"/>
                <a:gd name="connsiteX67" fmla="*/ 7325248 w 11867103"/>
                <a:gd name="connsiteY67" fmla="*/ 2843684 h 2964609"/>
                <a:gd name="connsiteX68" fmla="*/ 6863024 w 11867103"/>
                <a:gd name="connsiteY68" fmla="*/ 2833635 h 2964609"/>
                <a:gd name="connsiteX69" fmla="*/ 6722347 w 11867103"/>
                <a:gd name="connsiteY69" fmla="*/ 2823587 h 2964609"/>
                <a:gd name="connsiteX70" fmla="*/ 4903596 w 11867103"/>
                <a:gd name="connsiteY70" fmla="*/ 2873829 h 2964609"/>
                <a:gd name="connsiteX71" fmla="*/ 4722725 w 11867103"/>
                <a:gd name="connsiteY71" fmla="*/ 2914022 h 2964609"/>
                <a:gd name="connsiteX72" fmla="*/ 4300695 w 11867103"/>
                <a:gd name="connsiteY72" fmla="*/ 2893925 h 2964609"/>
                <a:gd name="connsiteX73" fmla="*/ 4059534 w 11867103"/>
                <a:gd name="connsiteY73" fmla="*/ 2853732 h 2964609"/>
                <a:gd name="connsiteX74" fmla="*/ 3768132 w 11867103"/>
                <a:gd name="connsiteY74" fmla="*/ 2823587 h 2964609"/>
                <a:gd name="connsiteX75" fmla="*/ 3627455 w 11867103"/>
                <a:gd name="connsiteY75" fmla="*/ 2813539 h 2964609"/>
                <a:gd name="connsiteX76" fmla="*/ 3125037 w 11867103"/>
                <a:gd name="connsiteY76" fmla="*/ 2823587 h 2964609"/>
                <a:gd name="connsiteX77" fmla="*/ 3064747 w 11867103"/>
                <a:gd name="connsiteY77" fmla="*/ 2833635 h 2964609"/>
                <a:gd name="connsiteX78" fmla="*/ 2009670 w 11867103"/>
                <a:gd name="connsiteY78" fmla="*/ 2843684 h 2964609"/>
                <a:gd name="connsiteX79" fmla="*/ 1678075 w 11867103"/>
                <a:gd name="connsiteY79" fmla="*/ 2934119 h 2964609"/>
                <a:gd name="connsiteX80" fmla="*/ 1607736 w 11867103"/>
                <a:gd name="connsiteY80" fmla="*/ 2964264 h 2964609"/>
                <a:gd name="connsiteX81" fmla="*/ 1135464 w 11867103"/>
                <a:gd name="connsiteY81" fmla="*/ 2944167 h 2964609"/>
                <a:gd name="connsiteX82" fmla="*/ 944545 w 11867103"/>
                <a:gd name="connsiteY82" fmla="*/ 2914022 h 2964609"/>
                <a:gd name="connsiteX83" fmla="*/ 723481 w 11867103"/>
                <a:gd name="connsiteY83" fmla="*/ 2873829 h 2964609"/>
                <a:gd name="connsiteX84" fmla="*/ 643095 w 11867103"/>
                <a:gd name="connsiteY84" fmla="*/ 2863780 h 2964609"/>
                <a:gd name="connsiteX85" fmla="*/ 371789 w 11867103"/>
                <a:gd name="connsiteY85" fmla="*/ 2823587 h 2964609"/>
                <a:gd name="connsiteX86" fmla="*/ 0 w 11867103"/>
                <a:gd name="connsiteY86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1356528 w 11867103"/>
                <a:gd name="connsiteY5" fmla="*/ 80387 h 2964609"/>
                <a:gd name="connsiteX6" fmla="*/ 1758462 w 11867103"/>
                <a:gd name="connsiteY6" fmla="*/ 40193 h 2964609"/>
                <a:gd name="connsiteX7" fmla="*/ 1889090 w 11867103"/>
                <a:gd name="connsiteY7" fmla="*/ 20097 h 2964609"/>
                <a:gd name="connsiteX8" fmla="*/ 2140299 w 11867103"/>
                <a:gd name="connsiteY8" fmla="*/ 40193 h 2964609"/>
                <a:gd name="connsiteX9" fmla="*/ 2200589 w 11867103"/>
                <a:gd name="connsiteY9" fmla="*/ 50242 h 2964609"/>
                <a:gd name="connsiteX10" fmla="*/ 4652387 w 11867103"/>
                <a:gd name="connsiteY10" fmla="*/ 60290 h 2964609"/>
                <a:gd name="connsiteX11" fmla="*/ 4692580 w 11867103"/>
                <a:gd name="connsiteY11" fmla="*/ 70339 h 2964609"/>
                <a:gd name="connsiteX12" fmla="*/ 4843306 w 11867103"/>
                <a:gd name="connsiteY12" fmla="*/ 90435 h 2964609"/>
                <a:gd name="connsiteX13" fmla="*/ 5677319 w 11867103"/>
                <a:gd name="connsiteY13" fmla="*/ 80387 h 2964609"/>
                <a:gd name="connsiteX14" fmla="*/ 6169688 w 11867103"/>
                <a:gd name="connsiteY14" fmla="*/ 110532 h 2964609"/>
                <a:gd name="connsiteX15" fmla="*/ 6420897 w 11867103"/>
                <a:gd name="connsiteY15" fmla="*/ 90435 h 2964609"/>
                <a:gd name="connsiteX16" fmla="*/ 6511332 w 11867103"/>
                <a:gd name="connsiteY16" fmla="*/ 30145 h 2964609"/>
                <a:gd name="connsiteX17" fmla="*/ 6571622 w 11867103"/>
                <a:gd name="connsiteY17" fmla="*/ 20097 h 2964609"/>
                <a:gd name="connsiteX18" fmla="*/ 6641961 w 11867103"/>
                <a:gd name="connsiteY18" fmla="*/ 0 h 2964609"/>
                <a:gd name="connsiteX19" fmla="*/ 7204668 w 11867103"/>
                <a:gd name="connsiteY19" fmla="*/ 10048 h 2964609"/>
                <a:gd name="connsiteX20" fmla="*/ 7285055 w 11867103"/>
                <a:gd name="connsiteY20" fmla="*/ 30145 h 2964609"/>
                <a:gd name="connsiteX21" fmla="*/ 7375490 w 11867103"/>
                <a:gd name="connsiteY21" fmla="*/ 40193 h 2964609"/>
                <a:gd name="connsiteX22" fmla="*/ 7928150 w 11867103"/>
                <a:gd name="connsiteY22" fmla="*/ 60290 h 2964609"/>
                <a:gd name="connsiteX23" fmla="*/ 8109020 w 11867103"/>
                <a:gd name="connsiteY23" fmla="*/ 80387 h 2964609"/>
                <a:gd name="connsiteX24" fmla="*/ 8219552 w 11867103"/>
                <a:gd name="connsiteY24" fmla="*/ 90435 h 2964609"/>
                <a:gd name="connsiteX25" fmla="*/ 8299939 w 11867103"/>
                <a:gd name="connsiteY25" fmla="*/ 100484 h 2964609"/>
                <a:gd name="connsiteX26" fmla="*/ 8521002 w 11867103"/>
                <a:gd name="connsiteY26" fmla="*/ 110532 h 2964609"/>
                <a:gd name="connsiteX27" fmla="*/ 9515789 w 11867103"/>
                <a:gd name="connsiteY27" fmla="*/ 100484 h 2964609"/>
                <a:gd name="connsiteX28" fmla="*/ 9606224 w 11867103"/>
                <a:gd name="connsiteY28" fmla="*/ 90435 h 2964609"/>
                <a:gd name="connsiteX29" fmla="*/ 9716756 w 11867103"/>
                <a:gd name="connsiteY29" fmla="*/ 80387 h 2964609"/>
                <a:gd name="connsiteX30" fmla="*/ 9797143 w 11867103"/>
                <a:gd name="connsiteY30" fmla="*/ 70339 h 2964609"/>
                <a:gd name="connsiteX31" fmla="*/ 9947868 w 11867103"/>
                <a:gd name="connsiteY31" fmla="*/ 60290 h 2964609"/>
                <a:gd name="connsiteX32" fmla="*/ 10791930 w 11867103"/>
                <a:gd name="connsiteY32" fmla="*/ 30145 h 2964609"/>
                <a:gd name="connsiteX33" fmla="*/ 11736475 w 11867103"/>
                <a:gd name="connsiteY33" fmla="*/ 50242 h 2964609"/>
                <a:gd name="connsiteX34" fmla="*/ 11766620 w 11867103"/>
                <a:gd name="connsiteY34" fmla="*/ 80387 h 2964609"/>
                <a:gd name="connsiteX35" fmla="*/ 11786717 w 11867103"/>
                <a:gd name="connsiteY35" fmla="*/ 120580 h 2964609"/>
                <a:gd name="connsiteX36" fmla="*/ 11806813 w 11867103"/>
                <a:gd name="connsiteY36" fmla="*/ 211015 h 2964609"/>
                <a:gd name="connsiteX37" fmla="*/ 11816862 w 11867103"/>
                <a:gd name="connsiteY37" fmla="*/ 251209 h 2964609"/>
                <a:gd name="connsiteX38" fmla="*/ 11826910 w 11867103"/>
                <a:gd name="connsiteY38" fmla="*/ 341644 h 2964609"/>
                <a:gd name="connsiteX39" fmla="*/ 11836958 w 11867103"/>
                <a:gd name="connsiteY39" fmla="*/ 422031 h 2964609"/>
                <a:gd name="connsiteX40" fmla="*/ 11826910 w 11867103"/>
                <a:gd name="connsiteY40" fmla="*/ 733530 h 2964609"/>
                <a:gd name="connsiteX41" fmla="*/ 11816862 w 11867103"/>
                <a:gd name="connsiteY41" fmla="*/ 793820 h 2964609"/>
                <a:gd name="connsiteX42" fmla="*/ 11806813 w 11867103"/>
                <a:gd name="connsiteY42" fmla="*/ 864158 h 2964609"/>
                <a:gd name="connsiteX43" fmla="*/ 11816862 w 11867103"/>
                <a:gd name="connsiteY43" fmla="*/ 2331218 h 2964609"/>
                <a:gd name="connsiteX44" fmla="*/ 11826910 w 11867103"/>
                <a:gd name="connsiteY44" fmla="*/ 2401556 h 2964609"/>
                <a:gd name="connsiteX45" fmla="*/ 11836958 w 11867103"/>
                <a:gd name="connsiteY45" fmla="*/ 2431701 h 2964609"/>
                <a:gd name="connsiteX46" fmla="*/ 11857055 w 11867103"/>
                <a:gd name="connsiteY46" fmla="*/ 2562330 h 2964609"/>
                <a:gd name="connsiteX47" fmla="*/ 11867103 w 11867103"/>
                <a:gd name="connsiteY47" fmla="*/ 2602523 h 2964609"/>
                <a:gd name="connsiteX48" fmla="*/ 11857055 w 11867103"/>
                <a:gd name="connsiteY48" fmla="*/ 2833635 h 2964609"/>
                <a:gd name="connsiteX49" fmla="*/ 11836958 w 11867103"/>
                <a:gd name="connsiteY49" fmla="*/ 2863780 h 2964609"/>
                <a:gd name="connsiteX50" fmla="*/ 11033090 w 11867103"/>
                <a:gd name="connsiteY50" fmla="*/ 2853732 h 2964609"/>
                <a:gd name="connsiteX51" fmla="*/ 10621108 w 11867103"/>
                <a:gd name="connsiteY51" fmla="*/ 2843684 h 2964609"/>
                <a:gd name="connsiteX52" fmla="*/ 10128739 w 11867103"/>
                <a:gd name="connsiteY52" fmla="*/ 2853732 h 2964609"/>
                <a:gd name="connsiteX53" fmla="*/ 10048352 w 11867103"/>
                <a:gd name="connsiteY53" fmla="*/ 2863780 h 2964609"/>
                <a:gd name="connsiteX54" fmla="*/ 9555982 w 11867103"/>
                <a:gd name="connsiteY54" fmla="*/ 2853732 h 2964609"/>
                <a:gd name="connsiteX55" fmla="*/ 9445451 w 11867103"/>
                <a:gd name="connsiteY55" fmla="*/ 2843684 h 2964609"/>
                <a:gd name="connsiteX56" fmla="*/ 9415306 w 11867103"/>
                <a:gd name="connsiteY56" fmla="*/ 2823587 h 2964609"/>
                <a:gd name="connsiteX57" fmla="*/ 9204290 w 11867103"/>
                <a:gd name="connsiteY57" fmla="*/ 2803490 h 2964609"/>
                <a:gd name="connsiteX58" fmla="*/ 9073662 w 11867103"/>
                <a:gd name="connsiteY58" fmla="*/ 2783393 h 2964609"/>
                <a:gd name="connsiteX59" fmla="*/ 8812404 w 11867103"/>
                <a:gd name="connsiteY59" fmla="*/ 2773345 h 2964609"/>
                <a:gd name="connsiteX60" fmla="*/ 8400422 w 11867103"/>
                <a:gd name="connsiteY60" fmla="*/ 2763297 h 2964609"/>
                <a:gd name="connsiteX61" fmla="*/ 8269793 w 11867103"/>
                <a:gd name="connsiteY61" fmla="*/ 2753248 h 2964609"/>
                <a:gd name="connsiteX62" fmla="*/ 7797521 w 11867103"/>
                <a:gd name="connsiteY62" fmla="*/ 2773345 h 2964609"/>
                <a:gd name="connsiteX63" fmla="*/ 7717134 w 11867103"/>
                <a:gd name="connsiteY63" fmla="*/ 2783393 h 2964609"/>
                <a:gd name="connsiteX64" fmla="*/ 7486022 w 11867103"/>
                <a:gd name="connsiteY64" fmla="*/ 2813539 h 2964609"/>
                <a:gd name="connsiteX65" fmla="*/ 7395587 w 11867103"/>
                <a:gd name="connsiteY65" fmla="*/ 2833635 h 2964609"/>
                <a:gd name="connsiteX66" fmla="*/ 7325248 w 11867103"/>
                <a:gd name="connsiteY66" fmla="*/ 2843684 h 2964609"/>
                <a:gd name="connsiteX67" fmla="*/ 6863024 w 11867103"/>
                <a:gd name="connsiteY67" fmla="*/ 2833635 h 2964609"/>
                <a:gd name="connsiteX68" fmla="*/ 6722347 w 11867103"/>
                <a:gd name="connsiteY68" fmla="*/ 2823587 h 2964609"/>
                <a:gd name="connsiteX69" fmla="*/ 4903596 w 11867103"/>
                <a:gd name="connsiteY69" fmla="*/ 2873829 h 2964609"/>
                <a:gd name="connsiteX70" fmla="*/ 4722725 w 11867103"/>
                <a:gd name="connsiteY70" fmla="*/ 2914022 h 2964609"/>
                <a:gd name="connsiteX71" fmla="*/ 4300695 w 11867103"/>
                <a:gd name="connsiteY71" fmla="*/ 2893925 h 2964609"/>
                <a:gd name="connsiteX72" fmla="*/ 4059534 w 11867103"/>
                <a:gd name="connsiteY72" fmla="*/ 2853732 h 2964609"/>
                <a:gd name="connsiteX73" fmla="*/ 3768132 w 11867103"/>
                <a:gd name="connsiteY73" fmla="*/ 2823587 h 2964609"/>
                <a:gd name="connsiteX74" fmla="*/ 3627455 w 11867103"/>
                <a:gd name="connsiteY74" fmla="*/ 2813539 h 2964609"/>
                <a:gd name="connsiteX75" fmla="*/ 3125037 w 11867103"/>
                <a:gd name="connsiteY75" fmla="*/ 2823587 h 2964609"/>
                <a:gd name="connsiteX76" fmla="*/ 3064747 w 11867103"/>
                <a:gd name="connsiteY76" fmla="*/ 2833635 h 2964609"/>
                <a:gd name="connsiteX77" fmla="*/ 2009670 w 11867103"/>
                <a:gd name="connsiteY77" fmla="*/ 2843684 h 2964609"/>
                <a:gd name="connsiteX78" fmla="*/ 1678075 w 11867103"/>
                <a:gd name="connsiteY78" fmla="*/ 2934119 h 2964609"/>
                <a:gd name="connsiteX79" fmla="*/ 1607736 w 11867103"/>
                <a:gd name="connsiteY79" fmla="*/ 2964264 h 2964609"/>
                <a:gd name="connsiteX80" fmla="*/ 1135464 w 11867103"/>
                <a:gd name="connsiteY80" fmla="*/ 2944167 h 2964609"/>
                <a:gd name="connsiteX81" fmla="*/ 944545 w 11867103"/>
                <a:gd name="connsiteY81" fmla="*/ 2914022 h 2964609"/>
                <a:gd name="connsiteX82" fmla="*/ 723481 w 11867103"/>
                <a:gd name="connsiteY82" fmla="*/ 2873829 h 2964609"/>
                <a:gd name="connsiteX83" fmla="*/ 643095 w 11867103"/>
                <a:gd name="connsiteY83" fmla="*/ 2863780 h 2964609"/>
                <a:gd name="connsiteX84" fmla="*/ 371789 w 11867103"/>
                <a:gd name="connsiteY84" fmla="*/ 2823587 h 2964609"/>
                <a:gd name="connsiteX85" fmla="*/ 0 w 11867103"/>
                <a:gd name="connsiteY85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1356528 w 11867103"/>
                <a:gd name="connsiteY4" fmla="*/ 80387 h 2964609"/>
                <a:gd name="connsiteX5" fmla="*/ 1758462 w 11867103"/>
                <a:gd name="connsiteY5" fmla="*/ 40193 h 2964609"/>
                <a:gd name="connsiteX6" fmla="*/ 1889090 w 11867103"/>
                <a:gd name="connsiteY6" fmla="*/ 20097 h 2964609"/>
                <a:gd name="connsiteX7" fmla="*/ 2140299 w 11867103"/>
                <a:gd name="connsiteY7" fmla="*/ 40193 h 2964609"/>
                <a:gd name="connsiteX8" fmla="*/ 2200589 w 11867103"/>
                <a:gd name="connsiteY8" fmla="*/ 50242 h 2964609"/>
                <a:gd name="connsiteX9" fmla="*/ 4652387 w 11867103"/>
                <a:gd name="connsiteY9" fmla="*/ 60290 h 2964609"/>
                <a:gd name="connsiteX10" fmla="*/ 4692580 w 11867103"/>
                <a:gd name="connsiteY10" fmla="*/ 70339 h 2964609"/>
                <a:gd name="connsiteX11" fmla="*/ 4843306 w 11867103"/>
                <a:gd name="connsiteY11" fmla="*/ 90435 h 2964609"/>
                <a:gd name="connsiteX12" fmla="*/ 5677319 w 11867103"/>
                <a:gd name="connsiteY12" fmla="*/ 80387 h 2964609"/>
                <a:gd name="connsiteX13" fmla="*/ 6169688 w 11867103"/>
                <a:gd name="connsiteY13" fmla="*/ 110532 h 2964609"/>
                <a:gd name="connsiteX14" fmla="*/ 6420897 w 11867103"/>
                <a:gd name="connsiteY14" fmla="*/ 90435 h 2964609"/>
                <a:gd name="connsiteX15" fmla="*/ 6511332 w 11867103"/>
                <a:gd name="connsiteY15" fmla="*/ 30145 h 2964609"/>
                <a:gd name="connsiteX16" fmla="*/ 6571622 w 11867103"/>
                <a:gd name="connsiteY16" fmla="*/ 20097 h 2964609"/>
                <a:gd name="connsiteX17" fmla="*/ 6641961 w 11867103"/>
                <a:gd name="connsiteY17" fmla="*/ 0 h 2964609"/>
                <a:gd name="connsiteX18" fmla="*/ 7204668 w 11867103"/>
                <a:gd name="connsiteY18" fmla="*/ 10048 h 2964609"/>
                <a:gd name="connsiteX19" fmla="*/ 7285055 w 11867103"/>
                <a:gd name="connsiteY19" fmla="*/ 30145 h 2964609"/>
                <a:gd name="connsiteX20" fmla="*/ 7375490 w 11867103"/>
                <a:gd name="connsiteY20" fmla="*/ 40193 h 2964609"/>
                <a:gd name="connsiteX21" fmla="*/ 7928150 w 11867103"/>
                <a:gd name="connsiteY21" fmla="*/ 60290 h 2964609"/>
                <a:gd name="connsiteX22" fmla="*/ 8109020 w 11867103"/>
                <a:gd name="connsiteY22" fmla="*/ 80387 h 2964609"/>
                <a:gd name="connsiteX23" fmla="*/ 8219552 w 11867103"/>
                <a:gd name="connsiteY23" fmla="*/ 90435 h 2964609"/>
                <a:gd name="connsiteX24" fmla="*/ 8299939 w 11867103"/>
                <a:gd name="connsiteY24" fmla="*/ 100484 h 2964609"/>
                <a:gd name="connsiteX25" fmla="*/ 8521002 w 11867103"/>
                <a:gd name="connsiteY25" fmla="*/ 110532 h 2964609"/>
                <a:gd name="connsiteX26" fmla="*/ 9515789 w 11867103"/>
                <a:gd name="connsiteY26" fmla="*/ 100484 h 2964609"/>
                <a:gd name="connsiteX27" fmla="*/ 9606224 w 11867103"/>
                <a:gd name="connsiteY27" fmla="*/ 90435 h 2964609"/>
                <a:gd name="connsiteX28" fmla="*/ 9716756 w 11867103"/>
                <a:gd name="connsiteY28" fmla="*/ 80387 h 2964609"/>
                <a:gd name="connsiteX29" fmla="*/ 9797143 w 11867103"/>
                <a:gd name="connsiteY29" fmla="*/ 70339 h 2964609"/>
                <a:gd name="connsiteX30" fmla="*/ 9947868 w 11867103"/>
                <a:gd name="connsiteY30" fmla="*/ 60290 h 2964609"/>
                <a:gd name="connsiteX31" fmla="*/ 10791930 w 11867103"/>
                <a:gd name="connsiteY31" fmla="*/ 30145 h 2964609"/>
                <a:gd name="connsiteX32" fmla="*/ 11736475 w 11867103"/>
                <a:gd name="connsiteY32" fmla="*/ 50242 h 2964609"/>
                <a:gd name="connsiteX33" fmla="*/ 11766620 w 11867103"/>
                <a:gd name="connsiteY33" fmla="*/ 80387 h 2964609"/>
                <a:gd name="connsiteX34" fmla="*/ 11786717 w 11867103"/>
                <a:gd name="connsiteY34" fmla="*/ 120580 h 2964609"/>
                <a:gd name="connsiteX35" fmla="*/ 11806813 w 11867103"/>
                <a:gd name="connsiteY35" fmla="*/ 211015 h 2964609"/>
                <a:gd name="connsiteX36" fmla="*/ 11816862 w 11867103"/>
                <a:gd name="connsiteY36" fmla="*/ 251209 h 2964609"/>
                <a:gd name="connsiteX37" fmla="*/ 11826910 w 11867103"/>
                <a:gd name="connsiteY37" fmla="*/ 341644 h 2964609"/>
                <a:gd name="connsiteX38" fmla="*/ 11836958 w 11867103"/>
                <a:gd name="connsiteY38" fmla="*/ 422031 h 2964609"/>
                <a:gd name="connsiteX39" fmla="*/ 11826910 w 11867103"/>
                <a:gd name="connsiteY39" fmla="*/ 733530 h 2964609"/>
                <a:gd name="connsiteX40" fmla="*/ 11816862 w 11867103"/>
                <a:gd name="connsiteY40" fmla="*/ 793820 h 2964609"/>
                <a:gd name="connsiteX41" fmla="*/ 11806813 w 11867103"/>
                <a:gd name="connsiteY41" fmla="*/ 864158 h 2964609"/>
                <a:gd name="connsiteX42" fmla="*/ 11816862 w 11867103"/>
                <a:gd name="connsiteY42" fmla="*/ 2331218 h 2964609"/>
                <a:gd name="connsiteX43" fmla="*/ 11826910 w 11867103"/>
                <a:gd name="connsiteY43" fmla="*/ 2401556 h 2964609"/>
                <a:gd name="connsiteX44" fmla="*/ 11836958 w 11867103"/>
                <a:gd name="connsiteY44" fmla="*/ 2431701 h 2964609"/>
                <a:gd name="connsiteX45" fmla="*/ 11857055 w 11867103"/>
                <a:gd name="connsiteY45" fmla="*/ 2562330 h 2964609"/>
                <a:gd name="connsiteX46" fmla="*/ 11867103 w 11867103"/>
                <a:gd name="connsiteY46" fmla="*/ 2602523 h 2964609"/>
                <a:gd name="connsiteX47" fmla="*/ 11857055 w 11867103"/>
                <a:gd name="connsiteY47" fmla="*/ 2833635 h 2964609"/>
                <a:gd name="connsiteX48" fmla="*/ 11836958 w 11867103"/>
                <a:gd name="connsiteY48" fmla="*/ 2863780 h 2964609"/>
                <a:gd name="connsiteX49" fmla="*/ 11033090 w 11867103"/>
                <a:gd name="connsiteY49" fmla="*/ 2853732 h 2964609"/>
                <a:gd name="connsiteX50" fmla="*/ 10621108 w 11867103"/>
                <a:gd name="connsiteY50" fmla="*/ 2843684 h 2964609"/>
                <a:gd name="connsiteX51" fmla="*/ 10128739 w 11867103"/>
                <a:gd name="connsiteY51" fmla="*/ 2853732 h 2964609"/>
                <a:gd name="connsiteX52" fmla="*/ 10048352 w 11867103"/>
                <a:gd name="connsiteY52" fmla="*/ 2863780 h 2964609"/>
                <a:gd name="connsiteX53" fmla="*/ 9555982 w 11867103"/>
                <a:gd name="connsiteY53" fmla="*/ 2853732 h 2964609"/>
                <a:gd name="connsiteX54" fmla="*/ 9445451 w 11867103"/>
                <a:gd name="connsiteY54" fmla="*/ 2843684 h 2964609"/>
                <a:gd name="connsiteX55" fmla="*/ 9415306 w 11867103"/>
                <a:gd name="connsiteY55" fmla="*/ 2823587 h 2964609"/>
                <a:gd name="connsiteX56" fmla="*/ 9204290 w 11867103"/>
                <a:gd name="connsiteY56" fmla="*/ 2803490 h 2964609"/>
                <a:gd name="connsiteX57" fmla="*/ 9073662 w 11867103"/>
                <a:gd name="connsiteY57" fmla="*/ 2783393 h 2964609"/>
                <a:gd name="connsiteX58" fmla="*/ 8812404 w 11867103"/>
                <a:gd name="connsiteY58" fmla="*/ 2773345 h 2964609"/>
                <a:gd name="connsiteX59" fmla="*/ 8400422 w 11867103"/>
                <a:gd name="connsiteY59" fmla="*/ 2763297 h 2964609"/>
                <a:gd name="connsiteX60" fmla="*/ 8269793 w 11867103"/>
                <a:gd name="connsiteY60" fmla="*/ 2753248 h 2964609"/>
                <a:gd name="connsiteX61" fmla="*/ 7797521 w 11867103"/>
                <a:gd name="connsiteY61" fmla="*/ 2773345 h 2964609"/>
                <a:gd name="connsiteX62" fmla="*/ 7717134 w 11867103"/>
                <a:gd name="connsiteY62" fmla="*/ 2783393 h 2964609"/>
                <a:gd name="connsiteX63" fmla="*/ 7486022 w 11867103"/>
                <a:gd name="connsiteY63" fmla="*/ 2813539 h 2964609"/>
                <a:gd name="connsiteX64" fmla="*/ 7395587 w 11867103"/>
                <a:gd name="connsiteY64" fmla="*/ 2833635 h 2964609"/>
                <a:gd name="connsiteX65" fmla="*/ 7325248 w 11867103"/>
                <a:gd name="connsiteY65" fmla="*/ 2843684 h 2964609"/>
                <a:gd name="connsiteX66" fmla="*/ 6863024 w 11867103"/>
                <a:gd name="connsiteY66" fmla="*/ 2833635 h 2964609"/>
                <a:gd name="connsiteX67" fmla="*/ 6722347 w 11867103"/>
                <a:gd name="connsiteY67" fmla="*/ 2823587 h 2964609"/>
                <a:gd name="connsiteX68" fmla="*/ 4903596 w 11867103"/>
                <a:gd name="connsiteY68" fmla="*/ 2873829 h 2964609"/>
                <a:gd name="connsiteX69" fmla="*/ 4722725 w 11867103"/>
                <a:gd name="connsiteY69" fmla="*/ 2914022 h 2964609"/>
                <a:gd name="connsiteX70" fmla="*/ 4300695 w 11867103"/>
                <a:gd name="connsiteY70" fmla="*/ 2893925 h 2964609"/>
                <a:gd name="connsiteX71" fmla="*/ 4059534 w 11867103"/>
                <a:gd name="connsiteY71" fmla="*/ 2853732 h 2964609"/>
                <a:gd name="connsiteX72" fmla="*/ 3768132 w 11867103"/>
                <a:gd name="connsiteY72" fmla="*/ 2823587 h 2964609"/>
                <a:gd name="connsiteX73" fmla="*/ 3627455 w 11867103"/>
                <a:gd name="connsiteY73" fmla="*/ 2813539 h 2964609"/>
                <a:gd name="connsiteX74" fmla="*/ 3125037 w 11867103"/>
                <a:gd name="connsiteY74" fmla="*/ 2823587 h 2964609"/>
                <a:gd name="connsiteX75" fmla="*/ 3064747 w 11867103"/>
                <a:gd name="connsiteY75" fmla="*/ 2833635 h 2964609"/>
                <a:gd name="connsiteX76" fmla="*/ 2009670 w 11867103"/>
                <a:gd name="connsiteY76" fmla="*/ 2843684 h 2964609"/>
                <a:gd name="connsiteX77" fmla="*/ 1678075 w 11867103"/>
                <a:gd name="connsiteY77" fmla="*/ 2934119 h 2964609"/>
                <a:gd name="connsiteX78" fmla="*/ 1607736 w 11867103"/>
                <a:gd name="connsiteY78" fmla="*/ 2964264 h 2964609"/>
                <a:gd name="connsiteX79" fmla="*/ 1135464 w 11867103"/>
                <a:gd name="connsiteY79" fmla="*/ 2944167 h 2964609"/>
                <a:gd name="connsiteX80" fmla="*/ 944545 w 11867103"/>
                <a:gd name="connsiteY80" fmla="*/ 2914022 h 2964609"/>
                <a:gd name="connsiteX81" fmla="*/ 723481 w 11867103"/>
                <a:gd name="connsiteY81" fmla="*/ 2873829 h 2964609"/>
                <a:gd name="connsiteX82" fmla="*/ 643095 w 11867103"/>
                <a:gd name="connsiteY82" fmla="*/ 2863780 h 2964609"/>
                <a:gd name="connsiteX83" fmla="*/ 371789 w 11867103"/>
                <a:gd name="connsiteY83" fmla="*/ 2823587 h 2964609"/>
                <a:gd name="connsiteX84" fmla="*/ 0 w 11867103"/>
                <a:gd name="connsiteY84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1889090 w 11867103"/>
                <a:gd name="connsiteY5" fmla="*/ 20097 h 2964609"/>
                <a:gd name="connsiteX6" fmla="*/ 2140299 w 11867103"/>
                <a:gd name="connsiteY6" fmla="*/ 40193 h 2964609"/>
                <a:gd name="connsiteX7" fmla="*/ 2200589 w 11867103"/>
                <a:gd name="connsiteY7" fmla="*/ 50242 h 2964609"/>
                <a:gd name="connsiteX8" fmla="*/ 4652387 w 11867103"/>
                <a:gd name="connsiteY8" fmla="*/ 60290 h 2964609"/>
                <a:gd name="connsiteX9" fmla="*/ 4692580 w 11867103"/>
                <a:gd name="connsiteY9" fmla="*/ 70339 h 2964609"/>
                <a:gd name="connsiteX10" fmla="*/ 4843306 w 11867103"/>
                <a:gd name="connsiteY10" fmla="*/ 90435 h 2964609"/>
                <a:gd name="connsiteX11" fmla="*/ 5677319 w 11867103"/>
                <a:gd name="connsiteY11" fmla="*/ 80387 h 2964609"/>
                <a:gd name="connsiteX12" fmla="*/ 6169688 w 11867103"/>
                <a:gd name="connsiteY12" fmla="*/ 110532 h 2964609"/>
                <a:gd name="connsiteX13" fmla="*/ 6420897 w 11867103"/>
                <a:gd name="connsiteY13" fmla="*/ 90435 h 2964609"/>
                <a:gd name="connsiteX14" fmla="*/ 6511332 w 11867103"/>
                <a:gd name="connsiteY14" fmla="*/ 30145 h 2964609"/>
                <a:gd name="connsiteX15" fmla="*/ 6571622 w 11867103"/>
                <a:gd name="connsiteY15" fmla="*/ 20097 h 2964609"/>
                <a:gd name="connsiteX16" fmla="*/ 6641961 w 11867103"/>
                <a:gd name="connsiteY16" fmla="*/ 0 h 2964609"/>
                <a:gd name="connsiteX17" fmla="*/ 7204668 w 11867103"/>
                <a:gd name="connsiteY17" fmla="*/ 10048 h 2964609"/>
                <a:gd name="connsiteX18" fmla="*/ 7285055 w 11867103"/>
                <a:gd name="connsiteY18" fmla="*/ 30145 h 2964609"/>
                <a:gd name="connsiteX19" fmla="*/ 7375490 w 11867103"/>
                <a:gd name="connsiteY19" fmla="*/ 40193 h 2964609"/>
                <a:gd name="connsiteX20" fmla="*/ 7928150 w 11867103"/>
                <a:gd name="connsiteY20" fmla="*/ 60290 h 2964609"/>
                <a:gd name="connsiteX21" fmla="*/ 8109020 w 11867103"/>
                <a:gd name="connsiteY21" fmla="*/ 80387 h 2964609"/>
                <a:gd name="connsiteX22" fmla="*/ 8219552 w 11867103"/>
                <a:gd name="connsiteY22" fmla="*/ 90435 h 2964609"/>
                <a:gd name="connsiteX23" fmla="*/ 8299939 w 11867103"/>
                <a:gd name="connsiteY23" fmla="*/ 100484 h 2964609"/>
                <a:gd name="connsiteX24" fmla="*/ 8521002 w 11867103"/>
                <a:gd name="connsiteY24" fmla="*/ 110532 h 2964609"/>
                <a:gd name="connsiteX25" fmla="*/ 9515789 w 11867103"/>
                <a:gd name="connsiteY25" fmla="*/ 100484 h 2964609"/>
                <a:gd name="connsiteX26" fmla="*/ 9606224 w 11867103"/>
                <a:gd name="connsiteY26" fmla="*/ 90435 h 2964609"/>
                <a:gd name="connsiteX27" fmla="*/ 9716756 w 11867103"/>
                <a:gd name="connsiteY27" fmla="*/ 80387 h 2964609"/>
                <a:gd name="connsiteX28" fmla="*/ 9797143 w 11867103"/>
                <a:gd name="connsiteY28" fmla="*/ 70339 h 2964609"/>
                <a:gd name="connsiteX29" fmla="*/ 9947868 w 11867103"/>
                <a:gd name="connsiteY29" fmla="*/ 60290 h 2964609"/>
                <a:gd name="connsiteX30" fmla="*/ 10791930 w 11867103"/>
                <a:gd name="connsiteY30" fmla="*/ 30145 h 2964609"/>
                <a:gd name="connsiteX31" fmla="*/ 11736475 w 11867103"/>
                <a:gd name="connsiteY31" fmla="*/ 50242 h 2964609"/>
                <a:gd name="connsiteX32" fmla="*/ 11766620 w 11867103"/>
                <a:gd name="connsiteY32" fmla="*/ 80387 h 2964609"/>
                <a:gd name="connsiteX33" fmla="*/ 11786717 w 11867103"/>
                <a:gd name="connsiteY33" fmla="*/ 120580 h 2964609"/>
                <a:gd name="connsiteX34" fmla="*/ 11806813 w 11867103"/>
                <a:gd name="connsiteY34" fmla="*/ 211015 h 2964609"/>
                <a:gd name="connsiteX35" fmla="*/ 11816862 w 11867103"/>
                <a:gd name="connsiteY35" fmla="*/ 251209 h 2964609"/>
                <a:gd name="connsiteX36" fmla="*/ 11826910 w 11867103"/>
                <a:gd name="connsiteY36" fmla="*/ 341644 h 2964609"/>
                <a:gd name="connsiteX37" fmla="*/ 11836958 w 11867103"/>
                <a:gd name="connsiteY37" fmla="*/ 422031 h 2964609"/>
                <a:gd name="connsiteX38" fmla="*/ 11826910 w 11867103"/>
                <a:gd name="connsiteY38" fmla="*/ 733530 h 2964609"/>
                <a:gd name="connsiteX39" fmla="*/ 11816862 w 11867103"/>
                <a:gd name="connsiteY39" fmla="*/ 793820 h 2964609"/>
                <a:gd name="connsiteX40" fmla="*/ 11806813 w 11867103"/>
                <a:gd name="connsiteY40" fmla="*/ 864158 h 2964609"/>
                <a:gd name="connsiteX41" fmla="*/ 11816862 w 11867103"/>
                <a:gd name="connsiteY41" fmla="*/ 2331218 h 2964609"/>
                <a:gd name="connsiteX42" fmla="*/ 11826910 w 11867103"/>
                <a:gd name="connsiteY42" fmla="*/ 2401556 h 2964609"/>
                <a:gd name="connsiteX43" fmla="*/ 11836958 w 11867103"/>
                <a:gd name="connsiteY43" fmla="*/ 2431701 h 2964609"/>
                <a:gd name="connsiteX44" fmla="*/ 11857055 w 11867103"/>
                <a:gd name="connsiteY44" fmla="*/ 2562330 h 2964609"/>
                <a:gd name="connsiteX45" fmla="*/ 11867103 w 11867103"/>
                <a:gd name="connsiteY45" fmla="*/ 2602523 h 2964609"/>
                <a:gd name="connsiteX46" fmla="*/ 11857055 w 11867103"/>
                <a:gd name="connsiteY46" fmla="*/ 2833635 h 2964609"/>
                <a:gd name="connsiteX47" fmla="*/ 11836958 w 11867103"/>
                <a:gd name="connsiteY47" fmla="*/ 2863780 h 2964609"/>
                <a:gd name="connsiteX48" fmla="*/ 11033090 w 11867103"/>
                <a:gd name="connsiteY48" fmla="*/ 2853732 h 2964609"/>
                <a:gd name="connsiteX49" fmla="*/ 10621108 w 11867103"/>
                <a:gd name="connsiteY49" fmla="*/ 2843684 h 2964609"/>
                <a:gd name="connsiteX50" fmla="*/ 10128739 w 11867103"/>
                <a:gd name="connsiteY50" fmla="*/ 2853732 h 2964609"/>
                <a:gd name="connsiteX51" fmla="*/ 10048352 w 11867103"/>
                <a:gd name="connsiteY51" fmla="*/ 2863780 h 2964609"/>
                <a:gd name="connsiteX52" fmla="*/ 9555982 w 11867103"/>
                <a:gd name="connsiteY52" fmla="*/ 2853732 h 2964609"/>
                <a:gd name="connsiteX53" fmla="*/ 9445451 w 11867103"/>
                <a:gd name="connsiteY53" fmla="*/ 2843684 h 2964609"/>
                <a:gd name="connsiteX54" fmla="*/ 9415306 w 11867103"/>
                <a:gd name="connsiteY54" fmla="*/ 2823587 h 2964609"/>
                <a:gd name="connsiteX55" fmla="*/ 9204290 w 11867103"/>
                <a:gd name="connsiteY55" fmla="*/ 2803490 h 2964609"/>
                <a:gd name="connsiteX56" fmla="*/ 9073662 w 11867103"/>
                <a:gd name="connsiteY56" fmla="*/ 2783393 h 2964609"/>
                <a:gd name="connsiteX57" fmla="*/ 8812404 w 11867103"/>
                <a:gd name="connsiteY57" fmla="*/ 2773345 h 2964609"/>
                <a:gd name="connsiteX58" fmla="*/ 8400422 w 11867103"/>
                <a:gd name="connsiteY58" fmla="*/ 2763297 h 2964609"/>
                <a:gd name="connsiteX59" fmla="*/ 8269793 w 11867103"/>
                <a:gd name="connsiteY59" fmla="*/ 2753248 h 2964609"/>
                <a:gd name="connsiteX60" fmla="*/ 7797521 w 11867103"/>
                <a:gd name="connsiteY60" fmla="*/ 2773345 h 2964609"/>
                <a:gd name="connsiteX61" fmla="*/ 7717134 w 11867103"/>
                <a:gd name="connsiteY61" fmla="*/ 2783393 h 2964609"/>
                <a:gd name="connsiteX62" fmla="*/ 7486022 w 11867103"/>
                <a:gd name="connsiteY62" fmla="*/ 2813539 h 2964609"/>
                <a:gd name="connsiteX63" fmla="*/ 7395587 w 11867103"/>
                <a:gd name="connsiteY63" fmla="*/ 2833635 h 2964609"/>
                <a:gd name="connsiteX64" fmla="*/ 7325248 w 11867103"/>
                <a:gd name="connsiteY64" fmla="*/ 2843684 h 2964609"/>
                <a:gd name="connsiteX65" fmla="*/ 6863024 w 11867103"/>
                <a:gd name="connsiteY65" fmla="*/ 2833635 h 2964609"/>
                <a:gd name="connsiteX66" fmla="*/ 6722347 w 11867103"/>
                <a:gd name="connsiteY66" fmla="*/ 2823587 h 2964609"/>
                <a:gd name="connsiteX67" fmla="*/ 4903596 w 11867103"/>
                <a:gd name="connsiteY67" fmla="*/ 2873829 h 2964609"/>
                <a:gd name="connsiteX68" fmla="*/ 4722725 w 11867103"/>
                <a:gd name="connsiteY68" fmla="*/ 2914022 h 2964609"/>
                <a:gd name="connsiteX69" fmla="*/ 4300695 w 11867103"/>
                <a:gd name="connsiteY69" fmla="*/ 2893925 h 2964609"/>
                <a:gd name="connsiteX70" fmla="*/ 4059534 w 11867103"/>
                <a:gd name="connsiteY70" fmla="*/ 2853732 h 2964609"/>
                <a:gd name="connsiteX71" fmla="*/ 3768132 w 11867103"/>
                <a:gd name="connsiteY71" fmla="*/ 2823587 h 2964609"/>
                <a:gd name="connsiteX72" fmla="*/ 3627455 w 11867103"/>
                <a:gd name="connsiteY72" fmla="*/ 2813539 h 2964609"/>
                <a:gd name="connsiteX73" fmla="*/ 3125037 w 11867103"/>
                <a:gd name="connsiteY73" fmla="*/ 2823587 h 2964609"/>
                <a:gd name="connsiteX74" fmla="*/ 3064747 w 11867103"/>
                <a:gd name="connsiteY74" fmla="*/ 2833635 h 2964609"/>
                <a:gd name="connsiteX75" fmla="*/ 2009670 w 11867103"/>
                <a:gd name="connsiteY75" fmla="*/ 2843684 h 2964609"/>
                <a:gd name="connsiteX76" fmla="*/ 1678075 w 11867103"/>
                <a:gd name="connsiteY76" fmla="*/ 2934119 h 2964609"/>
                <a:gd name="connsiteX77" fmla="*/ 1607736 w 11867103"/>
                <a:gd name="connsiteY77" fmla="*/ 2964264 h 2964609"/>
                <a:gd name="connsiteX78" fmla="*/ 1135464 w 11867103"/>
                <a:gd name="connsiteY78" fmla="*/ 2944167 h 2964609"/>
                <a:gd name="connsiteX79" fmla="*/ 944545 w 11867103"/>
                <a:gd name="connsiteY79" fmla="*/ 2914022 h 2964609"/>
                <a:gd name="connsiteX80" fmla="*/ 723481 w 11867103"/>
                <a:gd name="connsiteY80" fmla="*/ 2873829 h 2964609"/>
                <a:gd name="connsiteX81" fmla="*/ 643095 w 11867103"/>
                <a:gd name="connsiteY81" fmla="*/ 2863780 h 2964609"/>
                <a:gd name="connsiteX82" fmla="*/ 371789 w 11867103"/>
                <a:gd name="connsiteY82" fmla="*/ 2823587 h 2964609"/>
                <a:gd name="connsiteX83" fmla="*/ 0 w 11867103"/>
                <a:gd name="connsiteY83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2200589 w 11867103"/>
                <a:gd name="connsiteY6" fmla="*/ 50242 h 2964609"/>
                <a:gd name="connsiteX7" fmla="*/ 4652387 w 11867103"/>
                <a:gd name="connsiteY7" fmla="*/ 60290 h 2964609"/>
                <a:gd name="connsiteX8" fmla="*/ 4692580 w 11867103"/>
                <a:gd name="connsiteY8" fmla="*/ 70339 h 2964609"/>
                <a:gd name="connsiteX9" fmla="*/ 4843306 w 11867103"/>
                <a:gd name="connsiteY9" fmla="*/ 90435 h 2964609"/>
                <a:gd name="connsiteX10" fmla="*/ 5677319 w 11867103"/>
                <a:gd name="connsiteY10" fmla="*/ 80387 h 2964609"/>
                <a:gd name="connsiteX11" fmla="*/ 6169688 w 11867103"/>
                <a:gd name="connsiteY11" fmla="*/ 110532 h 2964609"/>
                <a:gd name="connsiteX12" fmla="*/ 6420897 w 11867103"/>
                <a:gd name="connsiteY12" fmla="*/ 90435 h 2964609"/>
                <a:gd name="connsiteX13" fmla="*/ 6511332 w 11867103"/>
                <a:gd name="connsiteY13" fmla="*/ 30145 h 2964609"/>
                <a:gd name="connsiteX14" fmla="*/ 6571622 w 11867103"/>
                <a:gd name="connsiteY14" fmla="*/ 20097 h 2964609"/>
                <a:gd name="connsiteX15" fmla="*/ 6641961 w 11867103"/>
                <a:gd name="connsiteY15" fmla="*/ 0 h 2964609"/>
                <a:gd name="connsiteX16" fmla="*/ 7204668 w 11867103"/>
                <a:gd name="connsiteY16" fmla="*/ 10048 h 2964609"/>
                <a:gd name="connsiteX17" fmla="*/ 7285055 w 11867103"/>
                <a:gd name="connsiteY17" fmla="*/ 30145 h 2964609"/>
                <a:gd name="connsiteX18" fmla="*/ 7375490 w 11867103"/>
                <a:gd name="connsiteY18" fmla="*/ 40193 h 2964609"/>
                <a:gd name="connsiteX19" fmla="*/ 7928150 w 11867103"/>
                <a:gd name="connsiteY19" fmla="*/ 60290 h 2964609"/>
                <a:gd name="connsiteX20" fmla="*/ 8109020 w 11867103"/>
                <a:gd name="connsiteY20" fmla="*/ 80387 h 2964609"/>
                <a:gd name="connsiteX21" fmla="*/ 8219552 w 11867103"/>
                <a:gd name="connsiteY21" fmla="*/ 90435 h 2964609"/>
                <a:gd name="connsiteX22" fmla="*/ 8299939 w 11867103"/>
                <a:gd name="connsiteY22" fmla="*/ 100484 h 2964609"/>
                <a:gd name="connsiteX23" fmla="*/ 8521002 w 11867103"/>
                <a:gd name="connsiteY23" fmla="*/ 110532 h 2964609"/>
                <a:gd name="connsiteX24" fmla="*/ 9515789 w 11867103"/>
                <a:gd name="connsiteY24" fmla="*/ 100484 h 2964609"/>
                <a:gd name="connsiteX25" fmla="*/ 9606224 w 11867103"/>
                <a:gd name="connsiteY25" fmla="*/ 90435 h 2964609"/>
                <a:gd name="connsiteX26" fmla="*/ 9716756 w 11867103"/>
                <a:gd name="connsiteY26" fmla="*/ 80387 h 2964609"/>
                <a:gd name="connsiteX27" fmla="*/ 9797143 w 11867103"/>
                <a:gd name="connsiteY27" fmla="*/ 70339 h 2964609"/>
                <a:gd name="connsiteX28" fmla="*/ 9947868 w 11867103"/>
                <a:gd name="connsiteY28" fmla="*/ 60290 h 2964609"/>
                <a:gd name="connsiteX29" fmla="*/ 10791930 w 11867103"/>
                <a:gd name="connsiteY29" fmla="*/ 30145 h 2964609"/>
                <a:gd name="connsiteX30" fmla="*/ 11736475 w 11867103"/>
                <a:gd name="connsiteY30" fmla="*/ 50242 h 2964609"/>
                <a:gd name="connsiteX31" fmla="*/ 11766620 w 11867103"/>
                <a:gd name="connsiteY31" fmla="*/ 80387 h 2964609"/>
                <a:gd name="connsiteX32" fmla="*/ 11786717 w 11867103"/>
                <a:gd name="connsiteY32" fmla="*/ 120580 h 2964609"/>
                <a:gd name="connsiteX33" fmla="*/ 11806813 w 11867103"/>
                <a:gd name="connsiteY33" fmla="*/ 211015 h 2964609"/>
                <a:gd name="connsiteX34" fmla="*/ 11816862 w 11867103"/>
                <a:gd name="connsiteY34" fmla="*/ 251209 h 2964609"/>
                <a:gd name="connsiteX35" fmla="*/ 11826910 w 11867103"/>
                <a:gd name="connsiteY35" fmla="*/ 341644 h 2964609"/>
                <a:gd name="connsiteX36" fmla="*/ 11836958 w 11867103"/>
                <a:gd name="connsiteY36" fmla="*/ 422031 h 2964609"/>
                <a:gd name="connsiteX37" fmla="*/ 11826910 w 11867103"/>
                <a:gd name="connsiteY37" fmla="*/ 733530 h 2964609"/>
                <a:gd name="connsiteX38" fmla="*/ 11816862 w 11867103"/>
                <a:gd name="connsiteY38" fmla="*/ 793820 h 2964609"/>
                <a:gd name="connsiteX39" fmla="*/ 11806813 w 11867103"/>
                <a:gd name="connsiteY39" fmla="*/ 864158 h 2964609"/>
                <a:gd name="connsiteX40" fmla="*/ 11816862 w 11867103"/>
                <a:gd name="connsiteY40" fmla="*/ 2331218 h 2964609"/>
                <a:gd name="connsiteX41" fmla="*/ 11826910 w 11867103"/>
                <a:gd name="connsiteY41" fmla="*/ 2401556 h 2964609"/>
                <a:gd name="connsiteX42" fmla="*/ 11836958 w 11867103"/>
                <a:gd name="connsiteY42" fmla="*/ 2431701 h 2964609"/>
                <a:gd name="connsiteX43" fmla="*/ 11857055 w 11867103"/>
                <a:gd name="connsiteY43" fmla="*/ 2562330 h 2964609"/>
                <a:gd name="connsiteX44" fmla="*/ 11867103 w 11867103"/>
                <a:gd name="connsiteY44" fmla="*/ 2602523 h 2964609"/>
                <a:gd name="connsiteX45" fmla="*/ 11857055 w 11867103"/>
                <a:gd name="connsiteY45" fmla="*/ 2833635 h 2964609"/>
                <a:gd name="connsiteX46" fmla="*/ 11836958 w 11867103"/>
                <a:gd name="connsiteY46" fmla="*/ 2863780 h 2964609"/>
                <a:gd name="connsiteX47" fmla="*/ 11033090 w 11867103"/>
                <a:gd name="connsiteY47" fmla="*/ 2853732 h 2964609"/>
                <a:gd name="connsiteX48" fmla="*/ 10621108 w 11867103"/>
                <a:gd name="connsiteY48" fmla="*/ 2843684 h 2964609"/>
                <a:gd name="connsiteX49" fmla="*/ 10128739 w 11867103"/>
                <a:gd name="connsiteY49" fmla="*/ 2853732 h 2964609"/>
                <a:gd name="connsiteX50" fmla="*/ 10048352 w 11867103"/>
                <a:gd name="connsiteY50" fmla="*/ 2863780 h 2964609"/>
                <a:gd name="connsiteX51" fmla="*/ 9555982 w 11867103"/>
                <a:gd name="connsiteY51" fmla="*/ 2853732 h 2964609"/>
                <a:gd name="connsiteX52" fmla="*/ 9445451 w 11867103"/>
                <a:gd name="connsiteY52" fmla="*/ 2843684 h 2964609"/>
                <a:gd name="connsiteX53" fmla="*/ 9415306 w 11867103"/>
                <a:gd name="connsiteY53" fmla="*/ 2823587 h 2964609"/>
                <a:gd name="connsiteX54" fmla="*/ 9204290 w 11867103"/>
                <a:gd name="connsiteY54" fmla="*/ 2803490 h 2964609"/>
                <a:gd name="connsiteX55" fmla="*/ 9073662 w 11867103"/>
                <a:gd name="connsiteY55" fmla="*/ 2783393 h 2964609"/>
                <a:gd name="connsiteX56" fmla="*/ 8812404 w 11867103"/>
                <a:gd name="connsiteY56" fmla="*/ 2773345 h 2964609"/>
                <a:gd name="connsiteX57" fmla="*/ 8400422 w 11867103"/>
                <a:gd name="connsiteY57" fmla="*/ 2763297 h 2964609"/>
                <a:gd name="connsiteX58" fmla="*/ 8269793 w 11867103"/>
                <a:gd name="connsiteY58" fmla="*/ 2753248 h 2964609"/>
                <a:gd name="connsiteX59" fmla="*/ 7797521 w 11867103"/>
                <a:gd name="connsiteY59" fmla="*/ 2773345 h 2964609"/>
                <a:gd name="connsiteX60" fmla="*/ 7717134 w 11867103"/>
                <a:gd name="connsiteY60" fmla="*/ 2783393 h 2964609"/>
                <a:gd name="connsiteX61" fmla="*/ 7486022 w 11867103"/>
                <a:gd name="connsiteY61" fmla="*/ 2813539 h 2964609"/>
                <a:gd name="connsiteX62" fmla="*/ 7395587 w 11867103"/>
                <a:gd name="connsiteY62" fmla="*/ 2833635 h 2964609"/>
                <a:gd name="connsiteX63" fmla="*/ 7325248 w 11867103"/>
                <a:gd name="connsiteY63" fmla="*/ 2843684 h 2964609"/>
                <a:gd name="connsiteX64" fmla="*/ 6863024 w 11867103"/>
                <a:gd name="connsiteY64" fmla="*/ 2833635 h 2964609"/>
                <a:gd name="connsiteX65" fmla="*/ 6722347 w 11867103"/>
                <a:gd name="connsiteY65" fmla="*/ 2823587 h 2964609"/>
                <a:gd name="connsiteX66" fmla="*/ 4903596 w 11867103"/>
                <a:gd name="connsiteY66" fmla="*/ 2873829 h 2964609"/>
                <a:gd name="connsiteX67" fmla="*/ 4722725 w 11867103"/>
                <a:gd name="connsiteY67" fmla="*/ 2914022 h 2964609"/>
                <a:gd name="connsiteX68" fmla="*/ 4300695 w 11867103"/>
                <a:gd name="connsiteY68" fmla="*/ 2893925 h 2964609"/>
                <a:gd name="connsiteX69" fmla="*/ 4059534 w 11867103"/>
                <a:gd name="connsiteY69" fmla="*/ 2853732 h 2964609"/>
                <a:gd name="connsiteX70" fmla="*/ 3768132 w 11867103"/>
                <a:gd name="connsiteY70" fmla="*/ 2823587 h 2964609"/>
                <a:gd name="connsiteX71" fmla="*/ 3627455 w 11867103"/>
                <a:gd name="connsiteY71" fmla="*/ 2813539 h 2964609"/>
                <a:gd name="connsiteX72" fmla="*/ 3125037 w 11867103"/>
                <a:gd name="connsiteY72" fmla="*/ 2823587 h 2964609"/>
                <a:gd name="connsiteX73" fmla="*/ 3064747 w 11867103"/>
                <a:gd name="connsiteY73" fmla="*/ 2833635 h 2964609"/>
                <a:gd name="connsiteX74" fmla="*/ 2009670 w 11867103"/>
                <a:gd name="connsiteY74" fmla="*/ 2843684 h 2964609"/>
                <a:gd name="connsiteX75" fmla="*/ 1678075 w 11867103"/>
                <a:gd name="connsiteY75" fmla="*/ 2934119 h 2964609"/>
                <a:gd name="connsiteX76" fmla="*/ 1607736 w 11867103"/>
                <a:gd name="connsiteY76" fmla="*/ 2964264 h 2964609"/>
                <a:gd name="connsiteX77" fmla="*/ 1135464 w 11867103"/>
                <a:gd name="connsiteY77" fmla="*/ 2944167 h 2964609"/>
                <a:gd name="connsiteX78" fmla="*/ 944545 w 11867103"/>
                <a:gd name="connsiteY78" fmla="*/ 2914022 h 2964609"/>
                <a:gd name="connsiteX79" fmla="*/ 723481 w 11867103"/>
                <a:gd name="connsiteY79" fmla="*/ 2873829 h 2964609"/>
                <a:gd name="connsiteX80" fmla="*/ 643095 w 11867103"/>
                <a:gd name="connsiteY80" fmla="*/ 2863780 h 2964609"/>
                <a:gd name="connsiteX81" fmla="*/ 371789 w 11867103"/>
                <a:gd name="connsiteY81" fmla="*/ 2823587 h 2964609"/>
                <a:gd name="connsiteX82" fmla="*/ 0 w 11867103"/>
                <a:gd name="connsiteY82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4652387 w 11867103"/>
                <a:gd name="connsiteY6" fmla="*/ 60290 h 2964609"/>
                <a:gd name="connsiteX7" fmla="*/ 4692580 w 11867103"/>
                <a:gd name="connsiteY7" fmla="*/ 70339 h 2964609"/>
                <a:gd name="connsiteX8" fmla="*/ 4843306 w 11867103"/>
                <a:gd name="connsiteY8" fmla="*/ 90435 h 2964609"/>
                <a:gd name="connsiteX9" fmla="*/ 5677319 w 11867103"/>
                <a:gd name="connsiteY9" fmla="*/ 80387 h 2964609"/>
                <a:gd name="connsiteX10" fmla="*/ 6169688 w 11867103"/>
                <a:gd name="connsiteY10" fmla="*/ 110532 h 2964609"/>
                <a:gd name="connsiteX11" fmla="*/ 6420897 w 11867103"/>
                <a:gd name="connsiteY11" fmla="*/ 90435 h 2964609"/>
                <a:gd name="connsiteX12" fmla="*/ 6511332 w 11867103"/>
                <a:gd name="connsiteY12" fmla="*/ 30145 h 2964609"/>
                <a:gd name="connsiteX13" fmla="*/ 6571622 w 11867103"/>
                <a:gd name="connsiteY13" fmla="*/ 20097 h 2964609"/>
                <a:gd name="connsiteX14" fmla="*/ 6641961 w 11867103"/>
                <a:gd name="connsiteY14" fmla="*/ 0 h 2964609"/>
                <a:gd name="connsiteX15" fmla="*/ 7204668 w 11867103"/>
                <a:gd name="connsiteY15" fmla="*/ 10048 h 2964609"/>
                <a:gd name="connsiteX16" fmla="*/ 7285055 w 11867103"/>
                <a:gd name="connsiteY16" fmla="*/ 30145 h 2964609"/>
                <a:gd name="connsiteX17" fmla="*/ 7375490 w 11867103"/>
                <a:gd name="connsiteY17" fmla="*/ 40193 h 2964609"/>
                <a:gd name="connsiteX18" fmla="*/ 7928150 w 11867103"/>
                <a:gd name="connsiteY18" fmla="*/ 60290 h 2964609"/>
                <a:gd name="connsiteX19" fmla="*/ 8109020 w 11867103"/>
                <a:gd name="connsiteY19" fmla="*/ 80387 h 2964609"/>
                <a:gd name="connsiteX20" fmla="*/ 8219552 w 11867103"/>
                <a:gd name="connsiteY20" fmla="*/ 90435 h 2964609"/>
                <a:gd name="connsiteX21" fmla="*/ 8299939 w 11867103"/>
                <a:gd name="connsiteY21" fmla="*/ 100484 h 2964609"/>
                <a:gd name="connsiteX22" fmla="*/ 8521002 w 11867103"/>
                <a:gd name="connsiteY22" fmla="*/ 110532 h 2964609"/>
                <a:gd name="connsiteX23" fmla="*/ 9515789 w 11867103"/>
                <a:gd name="connsiteY23" fmla="*/ 100484 h 2964609"/>
                <a:gd name="connsiteX24" fmla="*/ 9606224 w 11867103"/>
                <a:gd name="connsiteY24" fmla="*/ 90435 h 2964609"/>
                <a:gd name="connsiteX25" fmla="*/ 9716756 w 11867103"/>
                <a:gd name="connsiteY25" fmla="*/ 80387 h 2964609"/>
                <a:gd name="connsiteX26" fmla="*/ 9797143 w 11867103"/>
                <a:gd name="connsiteY26" fmla="*/ 70339 h 2964609"/>
                <a:gd name="connsiteX27" fmla="*/ 9947868 w 11867103"/>
                <a:gd name="connsiteY27" fmla="*/ 60290 h 2964609"/>
                <a:gd name="connsiteX28" fmla="*/ 10791930 w 11867103"/>
                <a:gd name="connsiteY28" fmla="*/ 30145 h 2964609"/>
                <a:gd name="connsiteX29" fmla="*/ 11736475 w 11867103"/>
                <a:gd name="connsiteY29" fmla="*/ 50242 h 2964609"/>
                <a:gd name="connsiteX30" fmla="*/ 11766620 w 11867103"/>
                <a:gd name="connsiteY30" fmla="*/ 80387 h 2964609"/>
                <a:gd name="connsiteX31" fmla="*/ 11786717 w 11867103"/>
                <a:gd name="connsiteY31" fmla="*/ 120580 h 2964609"/>
                <a:gd name="connsiteX32" fmla="*/ 11806813 w 11867103"/>
                <a:gd name="connsiteY32" fmla="*/ 211015 h 2964609"/>
                <a:gd name="connsiteX33" fmla="*/ 11816862 w 11867103"/>
                <a:gd name="connsiteY33" fmla="*/ 251209 h 2964609"/>
                <a:gd name="connsiteX34" fmla="*/ 11826910 w 11867103"/>
                <a:gd name="connsiteY34" fmla="*/ 341644 h 2964609"/>
                <a:gd name="connsiteX35" fmla="*/ 11836958 w 11867103"/>
                <a:gd name="connsiteY35" fmla="*/ 422031 h 2964609"/>
                <a:gd name="connsiteX36" fmla="*/ 11826910 w 11867103"/>
                <a:gd name="connsiteY36" fmla="*/ 733530 h 2964609"/>
                <a:gd name="connsiteX37" fmla="*/ 11816862 w 11867103"/>
                <a:gd name="connsiteY37" fmla="*/ 793820 h 2964609"/>
                <a:gd name="connsiteX38" fmla="*/ 11806813 w 11867103"/>
                <a:gd name="connsiteY38" fmla="*/ 864158 h 2964609"/>
                <a:gd name="connsiteX39" fmla="*/ 11816862 w 11867103"/>
                <a:gd name="connsiteY39" fmla="*/ 2331218 h 2964609"/>
                <a:gd name="connsiteX40" fmla="*/ 11826910 w 11867103"/>
                <a:gd name="connsiteY40" fmla="*/ 2401556 h 2964609"/>
                <a:gd name="connsiteX41" fmla="*/ 11836958 w 11867103"/>
                <a:gd name="connsiteY41" fmla="*/ 2431701 h 2964609"/>
                <a:gd name="connsiteX42" fmla="*/ 11857055 w 11867103"/>
                <a:gd name="connsiteY42" fmla="*/ 2562330 h 2964609"/>
                <a:gd name="connsiteX43" fmla="*/ 11867103 w 11867103"/>
                <a:gd name="connsiteY43" fmla="*/ 2602523 h 2964609"/>
                <a:gd name="connsiteX44" fmla="*/ 11857055 w 11867103"/>
                <a:gd name="connsiteY44" fmla="*/ 2833635 h 2964609"/>
                <a:gd name="connsiteX45" fmla="*/ 11836958 w 11867103"/>
                <a:gd name="connsiteY45" fmla="*/ 2863780 h 2964609"/>
                <a:gd name="connsiteX46" fmla="*/ 11033090 w 11867103"/>
                <a:gd name="connsiteY46" fmla="*/ 2853732 h 2964609"/>
                <a:gd name="connsiteX47" fmla="*/ 10621108 w 11867103"/>
                <a:gd name="connsiteY47" fmla="*/ 2843684 h 2964609"/>
                <a:gd name="connsiteX48" fmla="*/ 10128739 w 11867103"/>
                <a:gd name="connsiteY48" fmla="*/ 2853732 h 2964609"/>
                <a:gd name="connsiteX49" fmla="*/ 10048352 w 11867103"/>
                <a:gd name="connsiteY49" fmla="*/ 2863780 h 2964609"/>
                <a:gd name="connsiteX50" fmla="*/ 9555982 w 11867103"/>
                <a:gd name="connsiteY50" fmla="*/ 2853732 h 2964609"/>
                <a:gd name="connsiteX51" fmla="*/ 9445451 w 11867103"/>
                <a:gd name="connsiteY51" fmla="*/ 2843684 h 2964609"/>
                <a:gd name="connsiteX52" fmla="*/ 9415306 w 11867103"/>
                <a:gd name="connsiteY52" fmla="*/ 2823587 h 2964609"/>
                <a:gd name="connsiteX53" fmla="*/ 9204290 w 11867103"/>
                <a:gd name="connsiteY53" fmla="*/ 2803490 h 2964609"/>
                <a:gd name="connsiteX54" fmla="*/ 9073662 w 11867103"/>
                <a:gd name="connsiteY54" fmla="*/ 2783393 h 2964609"/>
                <a:gd name="connsiteX55" fmla="*/ 8812404 w 11867103"/>
                <a:gd name="connsiteY55" fmla="*/ 2773345 h 2964609"/>
                <a:gd name="connsiteX56" fmla="*/ 8400422 w 11867103"/>
                <a:gd name="connsiteY56" fmla="*/ 2763297 h 2964609"/>
                <a:gd name="connsiteX57" fmla="*/ 8269793 w 11867103"/>
                <a:gd name="connsiteY57" fmla="*/ 2753248 h 2964609"/>
                <a:gd name="connsiteX58" fmla="*/ 7797521 w 11867103"/>
                <a:gd name="connsiteY58" fmla="*/ 2773345 h 2964609"/>
                <a:gd name="connsiteX59" fmla="*/ 7717134 w 11867103"/>
                <a:gd name="connsiteY59" fmla="*/ 2783393 h 2964609"/>
                <a:gd name="connsiteX60" fmla="*/ 7486022 w 11867103"/>
                <a:gd name="connsiteY60" fmla="*/ 2813539 h 2964609"/>
                <a:gd name="connsiteX61" fmla="*/ 7395587 w 11867103"/>
                <a:gd name="connsiteY61" fmla="*/ 2833635 h 2964609"/>
                <a:gd name="connsiteX62" fmla="*/ 7325248 w 11867103"/>
                <a:gd name="connsiteY62" fmla="*/ 2843684 h 2964609"/>
                <a:gd name="connsiteX63" fmla="*/ 6863024 w 11867103"/>
                <a:gd name="connsiteY63" fmla="*/ 2833635 h 2964609"/>
                <a:gd name="connsiteX64" fmla="*/ 6722347 w 11867103"/>
                <a:gd name="connsiteY64" fmla="*/ 2823587 h 2964609"/>
                <a:gd name="connsiteX65" fmla="*/ 4903596 w 11867103"/>
                <a:gd name="connsiteY65" fmla="*/ 2873829 h 2964609"/>
                <a:gd name="connsiteX66" fmla="*/ 4722725 w 11867103"/>
                <a:gd name="connsiteY66" fmla="*/ 2914022 h 2964609"/>
                <a:gd name="connsiteX67" fmla="*/ 4300695 w 11867103"/>
                <a:gd name="connsiteY67" fmla="*/ 2893925 h 2964609"/>
                <a:gd name="connsiteX68" fmla="*/ 4059534 w 11867103"/>
                <a:gd name="connsiteY68" fmla="*/ 2853732 h 2964609"/>
                <a:gd name="connsiteX69" fmla="*/ 3768132 w 11867103"/>
                <a:gd name="connsiteY69" fmla="*/ 2823587 h 2964609"/>
                <a:gd name="connsiteX70" fmla="*/ 3627455 w 11867103"/>
                <a:gd name="connsiteY70" fmla="*/ 2813539 h 2964609"/>
                <a:gd name="connsiteX71" fmla="*/ 3125037 w 11867103"/>
                <a:gd name="connsiteY71" fmla="*/ 2823587 h 2964609"/>
                <a:gd name="connsiteX72" fmla="*/ 3064747 w 11867103"/>
                <a:gd name="connsiteY72" fmla="*/ 2833635 h 2964609"/>
                <a:gd name="connsiteX73" fmla="*/ 2009670 w 11867103"/>
                <a:gd name="connsiteY73" fmla="*/ 2843684 h 2964609"/>
                <a:gd name="connsiteX74" fmla="*/ 1678075 w 11867103"/>
                <a:gd name="connsiteY74" fmla="*/ 2934119 h 2964609"/>
                <a:gd name="connsiteX75" fmla="*/ 1607736 w 11867103"/>
                <a:gd name="connsiteY75" fmla="*/ 2964264 h 2964609"/>
                <a:gd name="connsiteX76" fmla="*/ 1135464 w 11867103"/>
                <a:gd name="connsiteY76" fmla="*/ 2944167 h 2964609"/>
                <a:gd name="connsiteX77" fmla="*/ 944545 w 11867103"/>
                <a:gd name="connsiteY77" fmla="*/ 2914022 h 2964609"/>
                <a:gd name="connsiteX78" fmla="*/ 723481 w 11867103"/>
                <a:gd name="connsiteY78" fmla="*/ 2873829 h 2964609"/>
                <a:gd name="connsiteX79" fmla="*/ 643095 w 11867103"/>
                <a:gd name="connsiteY79" fmla="*/ 2863780 h 2964609"/>
                <a:gd name="connsiteX80" fmla="*/ 371789 w 11867103"/>
                <a:gd name="connsiteY80" fmla="*/ 2823587 h 2964609"/>
                <a:gd name="connsiteX81" fmla="*/ 0 w 11867103"/>
                <a:gd name="connsiteY81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4652387 w 11867103"/>
                <a:gd name="connsiteY6" fmla="*/ 60290 h 2964609"/>
                <a:gd name="connsiteX7" fmla="*/ 4692580 w 11867103"/>
                <a:gd name="connsiteY7" fmla="*/ 70339 h 2964609"/>
                <a:gd name="connsiteX8" fmla="*/ 5677319 w 11867103"/>
                <a:gd name="connsiteY8" fmla="*/ 80387 h 2964609"/>
                <a:gd name="connsiteX9" fmla="*/ 6169688 w 11867103"/>
                <a:gd name="connsiteY9" fmla="*/ 110532 h 2964609"/>
                <a:gd name="connsiteX10" fmla="*/ 6420897 w 11867103"/>
                <a:gd name="connsiteY10" fmla="*/ 90435 h 2964609"/>
                <a:gd name="connsiteX11" fmla="*/ 6511332 w 11867103"/>
                <a:gd name="connsiteY11" fmla="*/ 30145 h 2964609"/>
                <a:gd name="connsiteX12" fmla="*/ 6571622 w 11867103"/>
                <a:gd name="connsiteY12" fmla="*/ 20097 h 2964609"/>
                <a:gd name="connsiteX13" fmla="*/ 6641961 w 11867103"/>
                <a:gd name="connsiteY13" fmla="*/ 0 h 2964609"/>
                <a:gd name="connsiteX14" fmla="*/ 7204668 w 11867103"/>
                <a:gd name="connsiteY14" fmla="*/ 10048 h 2964609"/>
                <a:gd name="connsiteX15" fmla="*/ 7285055 w 11867103"/>
                <a:gd name="connsiteY15" fmla="*/ 30145 h 2964609"/>
                <a:gd name="connsiteX16" fmla="*/ 7375490 w 11867103"/>
                <a:gd name="connsiteY16" fmla="*/ 40193 h 2964609"/>
                <a:gd name="connsiteX17" fmla="*/ 7928150 w 11867103"/>
                <a:gd name="connsiteY17" fmla="*/ 60290 h 2964609"/>
                <a:gd name="connsiteX18" fmla="*/ 8109020 w 11867103"/>
                <a:gd name="connsiteY18" fmla="*/ 80387 h 2964609"/>
                <a:gd name="connsiteX19" fmla="*/ 8219552 w 11867103"/>
                <a:gd name="connsiteY19" fmla="*/ 90435 h 2964609"/>
                <a:gd name="connsiteX20" fmla="*/ 8299939 w 11867103"/>
                <a:gd name="connsiteY20" fmla="*/ 100484 h 2964609"/>
                <a:gd name="connsiteX21" fmla="*/ 8521002 w 11867103"/>
                <a:gd name="connsiteY21" fmla="*/ 110532 h 2964609"/>
                <a:gd name="connsiteX22" fmla="*/ 9515789 w 11867103"/>
                <a:gd name="connsiteY22" fmla="*/ 100484 h 2964609"/>
                <a:gd name="connsiteX23" fmla="*/ 9606224 w 11867103"/>
                <a:gd name="connsiteY23" fmla="*/ 90435 h 2964609"/>
                <a:gd name="connsiteX24" fmla="*/ 9716756 w 11867103"/>
                <a:gd name="connsiteY24" fmla="*/ 80387 h 2964609"/>
                <a:gd name="connsiteX25" fmla="*/ 9797143 w 11867103"/>
                <a:gd name="connsiteY25" fmla="*/ 70339 h 2964609"/>
                <a:gd name="connsiteX26" fmla="*/ 9947868 w 11867103"/>
                <a:gd name="connsiteY26" fmla="*/ 60290 h 2964609"/>
                <a:gd name="connsiteX27" fmla="*/ 10791930 w 11867103"/>
                <a:gd name="connsiteY27" fmla="*/ 30145 h 2964609"/>
                <a:gd name="connsiteX28" fmla="*/ 11736475 w 11867103"/>
                <a:gd name="connsiteY28" fmla="*/ 50242 h 2964609"/>
                <a:gd name="connsiteX29" fmla="*/ 11766620 w 11867103"/>
                <a:gd name="connsiteY29" fmla="*/ 80387 h 2964609"/>
                <a:gd name="connsiteX30" fmla="*/ 11786717 w 11867103"/>
                <a:gd name="connsiteY30" fmla="*/ 120580 h 2964609"/>
                <a:gd name="connsiteX31" fmla="*/ 11806813 w 11867103"/>
                <a:gd name="connsiteY31" fmla="*/ 211015 h 2964609"/>
                <a:gd name="connsiteX32" fmla="*/ 11816862 w 11867103"/>
                <a:gd name="connsiteY32" fmla="*/ 251209 h 2964609"/>
                <a:gd name="connsiteX33" fmla="*/ 11826910 w 11867103"/>
                <a:gd name="connsiteY33" fmla="*/ 341644 h 2964609"/>
                <a:gd name="connsiteX34" fmla="*/ 11836958 w 11867103"/>
                <a:gd name="connsiteY34" fmla="*/ 422031 h 2964609"/>
                <a:gd name="connsiteX35" fmla="*/ 11826910 w 11867103"/>
                <a:gd name="connsiteY35" fmla="*/ 733530 h 2964609"/>
                <a:gd name="connsiteX36" fmla="*/ 11816862 w 11867103"/>
                <a:gd name="connsiteY36" fmla="*/ 793820 h 2964609"/>
                <a:gd name="connsiteX37" fmla="*/ 11806813 w 11867103"/>
                <a:gd name="connsiteY37" fmla="*/ 864158 h 2964609"/>
                <a:gd name="connsiteX38" fmla="*/ 11816862 w 11867103"/>
                <a:gd name="connsiteY38" fmla="*/ 2331218 h 2964609"/>
                <a:gd name="connsiteX39" fmla="*/ 11826910 w 11867103"/>
                <a:gd name="connsiteY39" fmla="*/ 2401556 h 2964609"/>
                <a:gd name="connsiteX40" fmla="*/ 11836958 w 11867103"/>
                <a:gd name="connsiteY40" fmla="*/ 2431701 h 2964609"/>
                <a:gd name="connsiteX41" fmla="*/ 11857055 w 11867103"/>
                <a:gd name="connsiteY41" fmla="*/ 2562330 h 2964609"/>
                <a:gd name="connsiteX42" fmla="*/ 11867103 w 11867103"/>
                <a:gd name="connsiteY42" fmla="*/ 2602523 h 2964609"/>
                <a:gd name="connsiteX43" fmla="*/ 11857055 w 11867103"/>
                <a:gd name="connsiteY43" fmla="*/ 2833635 h 2964609"/>
                <a:gd name="connsiteX44" fmla="*/ 11836958 w 11867103"/>
                <a:gd name="connsiteY44" fmla="*/ 2863780 h 2964609"/>
                <a:gd name="connsiteX45" fmla="*/ 11033090 w 11867103"/>
                <a:gd name="connsiteY45" fmla="*/ 2853732 h 2964609"/>
                <a:gd name="connsiteX46" fmla="*/ 10621108 w 11867103"/>
                <a:gd name="connsiteY46" fmla="*/ 2843684 h 2964609"/>
                <a:gd name="connsiteX47" fmla="*/ 10128739 w 11867103"/>
                <a:gd name="connsiteY47" fmla="*/ 2853732 h 2964609"/>
                <a:gd name="connsiteX48" fmla="*/ 10048352 w 11867103"/>
                <a:gd name="connsiteY48" fmla="*/ 2863780 h 2964609"/>
                <a:gd name="connsiteX49" fmla="*/ 9555982 w 11867103"/>
                <a:gd name="connsiteY49" fmla="*/ 2853732 h 2964609"/>
                <a:gd name="connsiteX50" fmla="*/ 9445451 w 11867103"/>
                <a:gd name="connsiteY50" fmla="*/ 2843684 h 2964609"/>
                <a:gd name="connsiteX51" fmla="*/ 9415306 w 11867103"/>
                <a:gd name="connsiteY51" fmla="*/ 2823587 h 2964609"/>
                <a:gd name="connsiteX52" fmla="*/ 9204290 w 11867103"/>
                <a:gd name="connsiteY52" fmla="*/ 2803490 h 2964609"/>
                <a:gd name="connsiteX53" fmla="*/ 9073662 w 11867103"/>
                <a:gd name="connsiteY53" fmla="*/ 2783393 h 2964609"/>
                <a:gd name="connsiteX54" fmla="*/ 8812404 w 11867103"/>
                <a:gd name="connsiteY54" fmla="*/ 2773345 h 2964609"/>
                <a:gd name="connsiteX55" fmla="*/ 8400422 w 11867103"/>
                <a:gd name="connsiteY55" fmla="*/ 2763297 h 2964609"/>
                <a:gd name="connsiteX56" fmla="*/ 8269793 w 11867103"/>
                <a:gd name="connsiteY56" fmla="*/ 2753248 h 2964609"/>
                <a:gd name="connsiteX57" fmla="*/ 7797521 w 11867103"/>
                <a:gd name="connsiteY57" fmla="*/ 2773345 h 2964609"/>
                <a:gd name="connsiteX58" fmla="*/ 7717134 w 11867103"/>
                <a:gd name="connsiteY58" fmla="*/ 2783393 h 2964609"/>
                <a:gd name="connsiteX59" fmla="*/ 7486022 w 11867103"/>
                <a:gd name="connsiteY59" fmla="*/ 2813539 h 2964609"/>
                <a:gd name="connsiteX60" fmla="*/ 7395587 w 11867103"/>
                <a:gd name="connsiteY60" fmla="*/ 2833635 h 2964609"/>
                <a:gd name="connsiteX61" fmla="*/ 7325248 w 11867103"/>
                <a:gd name="connsiteY61" fmla="*/ 2843684 h 2964609"/>
                <a:gd name="connsiteX62" fmla="*/ 6863024 w 11867103"/>
                <a:gd name="connsiteY62" fmla="*/ 2833635 h 2964609"/>
                <a:gd name="connsiteX63" fmla="*/ 6722347 w 11867103"/>
                <a:gd name="connsiteY63" fmla="*/ 2823587 h 2964609"/>
                <a:gd name="connsiteX64" fmla="*/ 4903596 w 11867103"/>
                <a:gd name="connsiteY64" fmla="*/ 2873829 h 2964609"/>
                <a:gd name="connsiteX65" fmla="*/ 4722725 w 11867103"/>
                <a:gd name="connsiteY65" fmla="*/ 2914022 h 2964609"/>
                <a:gd name="connsiteX66" fmla="*/ 4300695 w 11867103"/>
                <a:gd name="connsiteY66" fmla="*/ 2893925 h 2964609"/>
                <a:gd name="connsiteX67" fmla="*/ 4059534 w 11867103"/>
                <a:gd name="connsiteY67" fmla="*/ 2853732 h 2964609"/>
                <a:gd name="connsiteX68" fmla="*/ 3768132 w 11867103"/>
                <a:gd name="connsiteY68" fmla="*/ 2823587 h 2964609"/>
                <a:gd name="connsiteX69" fmla="*/ 3627455 w 11867103"/>
                <a:gd name="connsiteY69" fmla="*/ 2813539 h 2964609"/>
                <a:gd name="connsiteX70" fmla="*/ 3125037 w 11867103"/>
                <a:gd name="connsiteY70" fmla="*/ 2823587 h 2964609"/>
                <a:gd name="connsiteX71" fmla="*/ 3064747 w 11867103"/>
                <a:gd name="connsiteY71" fmla="*/ 2833635 h 2964609"/>
                <a:gd name="connsiteX72" fmla="*/ 2009670 w 11867103"/>
                <a:gd name="connsiteY72" fmla="*/ 2843684 h 2964609"/>
                <a:gd name="connsiteX73" fmla="*/ 1678075 w 11867103"/>
                <a:gd name="connsiteY73" fmla="*/ 2934119 h 2964609"/>
                <a:gd name="connsiteX74" fmla="*/ 1607736 w 11867103"/>
                <a:gd name="connsiteY74" fmla="*/ 2964264 h 2964609"/>
                <a:gd name="connsiteX75" fmla="*/ 1135464 w 11867103"/>
                <a:gd name="connsiteY75" fmla="*/ 2944167 h 2964609"/>
                <a:gd name="connsiteX76" fmla="*/ 944545 w 11867103"/>
                <a:gd name="connsiteY76" fmla="*/ 2914022 h 2964609"/>
                <a:gd name="connsiteX77" fmla="*/ 723481 w 11867103"/>
                <a:gd name="connsiteY77" fmla="*/ 2873829 h 2964609"/>
                <a:gd name="connsiteX78" fmla="*/ 643095 w 11867103"/>
                <a:gd name="connsiteY78" fmla="*/ 2863780 h 2964609"/>
                <a:gd name="connsiteX79" fmla="*/ 371789 w 11867103"/>
                <a:gd name="connsiteY79" fmla="*/ 2823587 h 2964609"/>
                <a:gd name="connsiteX80" fmla="*/ 0 w 11867103"/>
                <a:gd name="connsiteY80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4652387 w 11867103"/>
                <a:gd name="connsiteY6" fmla="*/ 60290 h 2964609"/>
                <a:gd name="connsiteX7" fmla="*/ 4692580 w 11867103"/>
                <a:gd name="connsiteY7" fmla="*/ 70339 h 2964609"/>
                <a:gd name="connsiteX8" fmla="*/ 6169688 w 11867103"/>
                <a:gd name="connsiteY8" fmla="*/ 110532 h 2964609"/>
                <a:gd name="connsiteX9" fmla="*/ 6420897 w 11867103"/>
                <a:gd name="connsiteY9" fmla="*/ 90435 h 2964609"/>
                <a:gd name="connsiteX10" fmla="*/ 6511332 w 11867103"/>
                <a:gd name="connsiteY10" fmla="*/ 30145 h 2964609"/>
                <a:gd name="connsiteX11" fmla="*/ 6571622 w 11867103"/>
                <a:gd name="connsiteY11" fmla="*/ 20097 h 2964609"/>
                <a:gd name="connsiteX12" fmla="*/ 6641961 w 11867103"/>
                <a:gd name="connsiteY12" fmla="*/ 0 h 2964609"/>
                <a:gd name="connsiteX13" fmla="*/ 7204668 w 11867103"/>
                <a:gd name="connsiteY13" fmla="*/ 10048 h 2964609"/>
                <a:gd name="connsiteX14" fmla="*/ 7285055 w 11867103"/>
                <a:gd name="connsiteY14" fmla="*/ 30145 h 2964609"/>
                <a:gd name="connsiteX15" fmla="*/ 7375490 w 11867103"/>
                <a:gd name="connsiteY15" fmla="*/ 40193 h 2964609"/>
                <a:gd name="connsiteX16" fmla="*/ 7928150 w 11867103"/>
                <a:gd name="connsiteY16" fmla="*/ 60290 h 2964609"/>
                <a:gd name="connsiteX17" fmla="*/ 8109020 w 11867103"/>
                <a:gd name="connsiteY17" fmla="*/ 80387 h 2964609"/>
                <a:gd name="connsiteX18" fmla="*/ 8219552 w 11867103"/>
                <a:gd name="connsiteY18" fmla="*/ 90435 h 2964609"/>
                <a:gd name="connsiteX19" fmla="*/ 8299939 w 11867103"/>
                <a:gd name="connsiteY19" fmla="*/ 100484 h 2964609"/>
                <a:gd name="connsiteX20" fmla="*/ 8521002 w 11867103"/>
                <a:gd name="connsiteY20" fmla="*/ 110532 h 2964609"/>
                <a:gd name="connsiteX21" fmla="*/ 9515789 w 11867103"/>
                <a:gd name="connsiteY21" fmla="*/ 100484 h 2964609"/>
                <a:gd name="connsiteX22" fmla="*/ 9606224 w 11867103"/>
                <a:gd name="connsiteY22" fmla="*/ 90435 h 2964609"/>
                <a:gd name="connsiteX23" fmla="*/ 9716756 w 11867103"/>
                <a:gd name="connsiteY23" fmla="*/ 80387 h 2964609"/>
                <a:gd name="connsiteX24" fmla="*/ 9797143 w 11867103"/>
                <a:gd name="connsiteY24" fmla="*/ 70339 h 2964609"/>
                <a:gd name="connsiteX25" fmla="*/ 9947868 w 11867103"/>
                <a:gd name="connsiteY25" fmla="*/ 60290 h 2964609"/>
                <a:gd name="connsiteX26" fmla="*/ 10791930 w 11867103"/>
                <a:gd name="connsiteY26" fmla="*/ 30145 h 2964609"/>
                <a:gd name="connsiteX27" fmla="*/ 11736475 w 11867103"/>
                <a:gd name="connsiteY27" fmla="*/ 50242 h 2964609"/>
                <a:gd name="connsiteX28" fmla="*/ 11766620 w 11867103"/>
                <a:gd name="connsiteY28" fmla="*/ 80387 h 2964609"/>
                <a:gd name="connsiteX29" fmla="*/ 11786717 w 11867103"/>
                <a:gd name="connsiteY29" fmla="*/ 120580 h 2964609"/>
                <a:gd name="connsiteX30" fmla="*/ 11806813 w 11867103"/>
                <a:gd name="connsiteY30" fmla="*/ 211015 h 2964609"/>
                <a:gd name="connsiteX31" fmla="*/ 11816862 w 11867103"/>
                <a:gd name="connsiteY31" fmla="*/ 251209 h 2964609"/>
                <a:gd name="connsiteX32" fmla="*/ 11826910 w 11867103"/>
                <a:gd name="connsiteY32" fmla="*/ 341644 h 2964609"/>
                <a:gd name="connsiteX33" fmla="*/ 11836958 w 11867103"/>
                <a:gd name="connsiteY33" fmla="*/ 422031 h 2964609"/>
                <a:gd name="connsiteX34" fmla="*/ 11826910 w 11867103"/>
                <a:gd name="connsiteY34" fmla="*/ 733530 h 2964609"/>
                <a:gd name="connsiteX35" fmla="*/ 11816862 w 11867103"/>
                <a:gd name="connsiteY35" fmla="*/ 793820 h 2964609"/>
                <a:gd name="connsiteX36" fmla="*/ 11806813 w 11867103"/>
                <a:gd name="connsiteY36" fmla="*/ 864158 h 2964609"/>
                <a:gd name="connsiteX37" fmla="*/ 11816862 w 11867103"/>
                <a:gd name="connsiteY37" fmla="*/ 2331218 h 2964609"/>
                <a:gd name="connsiteX38" fmla="*/ 11826910 w 11867103"/>
                <a:gd name="connsiteY38" fmla="*/ 2401556 h 2964609"/>
                <a:gd name="connsiteX39" fmla="*/ 11836958 w 11867103"/>
                <a:gd name="connsiteY39" fmla="*/ 2431701 h 2964609"/>
                <a:gd name="connsiteX40" fmla="*/ 11857055 w 11867103"/>
                <a:gd name="connsiteY40" fmla="*/ 2562330 h 2964609"/>
                <a:gd name="connsiteX41" fmla="*/ 11867103 w 11867103"/>
                <a:gd name="connsiteY41" fmla="*/ 2602523 h 2964609"/>
                <a:gd name="connsiteX42" fmla="*/ 11857055 w 11867103"/>
                <a:gd name="connsiteY42" fmla="*/ 2833635 h 2964609"/>
                <a:gd name="connsiteX43" fmla="*/ 11836958 w 11867103"/>
                <a:gd name="connsiteY43" fmla="*/ 2863780 h 2964609"/>
                <a:gd name="connsiteX44" fmla="*/ 11033090 w 11867103"/>
                <a:gd name="connsiteY44" fmla="*/ 2853732 h 2964609"/>
                <a:gd name="connsiteX45" fmla="*/ 10621108 w 11867103"/>
                <a:gd name="connsiteY45" fmla="*/ 2843684 h 2964609"/>
                <a:gd name="connsiteX46" fmla="*/ 10128739 w 11867103"/>
                <a:gd name="connsiteY46" fmla="*/ 2853732 h 2964609"/>
                <a:gd name="connsiteX47" fmla="*/ 10048352 w 11867103"/>
                <a:gd name="connsiteY47" fmla="*/ 2863780 h 2964609"/>
                <a:gd name="connsiteX48" fmla="*/ 9555982 w 11867103"/>
                <a:gd name="connsiteY48" fmla="*/ 2853732 h 2964609"/>
                <a:gd name="connsiteX49" fmla="*/ 9445451 w 11867103"/>
                <a:gd name="connsiteY49" fmla="*/ 2843684 h 2964609"/>
                <a:gd name="connsiteX50" fmla="*/ 9415306 w 11867103"/>
                <a:gd name="connsiteY50" fmla="*/ 2823587 h 2964609"/>
                <a:gd name="connsiteX51" fmla="*/ 9204290 w 11867103"/>
                <a:gd name="connsiteY51" fmla="*/ 2803490 h 2964609"/>
                <a:gd name="connsiteX52" fmla="*/ 9073662 w 11867103"/>
                <a:gd name="connsiteY52" fmla="*/ 2783393 h 2964609"/>
                <a:gd name="connsiteX53" fmla="*/ 8812404 w 11867103"/>
                <a:gd name="connsiteY53" fmla="*/ 2773345 h 2964609"/>
                <a:gd name="connsiteX54" fmla="*/ 8400422 w 11867103"/>
                <a:gd name="connsiteY54" fmla="*/ 2763297 h 2964609"/>
                <a:gd name="connsiteX55" fmla="*/ 8269793 w 11867103"/>
                <a:gd name="connsiteY55" fmla="*/ 2753248 h 2964609"/>
                <a:gd name="connsiteX56" fmla="*/ 7797521 w 11867103"/>
                <a:gd name="connsiteY56" fmla="*/ 2773345 h 2964609"/>
                <a:gd name="connsiteX57" fmla="*/ 7717134 w 11867103"/>
                <a:gd name="connsiteY57" fmla="*/ 2783393 h 2964609"/>
                <a:gd name="connsiteX58" fmla="*/ 7486022 w 11867103"/>
                <a:gd name="connsiteY58" fmla="*/ 2813539 h 2964609"/>
                <a:gd name="connsiteX59" fmla="*/ 7395587 w 11867103"/>
                <a:gd name="connsiteY59" fmla="*/ 2833635 h 2964609"/>
                <a:gd name="connsiteX60" fmla="*/ 7325248 w 11867103"/>
                <a:gd name="connsiteY60" fmla="*/ 2843684 h 2964609"/>
                <a:gd name="connsiteX61" fmla="*/ 6863024 w 11867103"/>
                <a:gd name="connsiteY61" fmla="*/ 2833635 h 2964609"/>
                <a:gd name="connsiteX62" fmla="*/ 6722347 w 11867103"/>
                <a:gd name="connsiteY62" fmla="*/ 2823587 h 2964609"/>
                <a:gd name="connsiteX63" fmla="*/ 4903596 w 11867103"/>
                <a:gd name="connsiteY63" fmla="*/ 2873829 h 2964609"/>
                <a:gd name="connsiteX64" fmla="*/ 4722725 w 11867103"/>
                <a:gd name="connsiteY64" fmla="*/ 2914022 h 2964609"/>
                <a:gd name="connsiteX65" fmla="*/ 4300695 w 11867103"/>
                <a:gd name="connsiteY65" fmla="*/ 2893925 h 2964609"/>
                <a:gd name="connsiteX66" fmla="*/ 4059534 w 11867103"/>
                <a:gd name="connsiteY66" fmla="*/ 2853732 h 2964609"/>
                <a:gd name="connsiteX67" fmla="*/ 3768132 w 11867103"/>
                <a:gd name="connsiteY67" fmla="*/ 2823587 h 2964609"/>
                <a:gd name="connsiteX68" fmla="*/ 3627455 w 11867103"/>
                <a:gd name="connsiteY68" fmla="*/ 2813539 h 2964609"/>
                <a:gd name="connsiteX69" fmla="*/ 3125037 w 11867103"/>
                <a:gd name="connsiteY69" fmla="*/ 2823587 h 2964609"/>
                <a:gd name="connsiteX70" fmla="*/ 3064747 w 11867103"/>
                <a:gd name="connsiteY70" fmla="*/ 2833635 h 2964609"/>
                <a:gd name="connsiteX71" fmla="*/ 2009670 w 11867103"/>
                <a:gd name="connsiteY71" fmla="*/ 2843684 h 2964609"/>
                <a:gd name="connsiteX72" fmla="*/ 1678075 w 11867103"/>
                <a:gd name="connsiteY72" fmla="*/ 2934119 h 2964609"/>
                <a:gd name="connsiteX73" fmla="*/ 1607736 w 11867103"/>
                <a:gd name="connsiteY73" fmla="*/ 2964264 h 2964609"/>
                <a:gd name="connsiteX74" fmla="*/ 1135464 w 11867103"/>
                <a:gd name="connsiteY74" fmla="*/ 2944167 h 2964609"/>
                <a:gd name="connsiteX75" fmla="*/ 944545 w 11867103"/>
                <a:gd name="connsiteY75" fmla="*/ 2914022 h 2964609"/>
                <a:gd name="connsiteX76" fmla="*/ 723481 w 11867103"/>
                <a:gd name="connsiteY76" fmla="*/ 2873829 h 2964609"/>
                <a:gd name="connsiteX77" fmla="*/ 643095 w 11867103"/>
                <a:gd name="connsiteY77" fmla="*/ 2863780 h 2964609"/>
                <a:gd name="connsiteX78" fmla="*/ 371789 w 11867103"/>
                <a:gd name="connsiteY78" fmla="*/ 2823587 h 2964609"/>
                <a:gd name="connsiteX79" fmla="*/ 0 w 11867103"/>
                <a:gd name="connsiteY79" fmla="*/ 2813539 h 2964609"/>
                <a:gd name="connsiteX0" fmla="*/ 120580 w 11867103"/>
                <a:gd name="connsiteY0" fmla="*/ 51336 h 2965703"/>
                <a:gd name="connsiteX1" fmla="*/ 281354 w 11867103"/>
                <a:gd name="connsiteY1" fmla="*/ 41287 h 2965703"/>
                <a:gd name="connsiteX2" fmla="*/ 673240 w 11867103"/>
                <a:gd name="connsiteY2" fmla="*/ 31239 h 2965703"/>
                <a:gd name="connsiteX3" fmla="*/ 1356528 w 11867103"/>
                <a:gd name="connsiteY3" fmla="*/ 81481 h 2965703"/>
                <a:gd name="connsiteX4" fmla="*/ 1758462 w 11867103"/>
                <a:gd name="connsiteY4" fmla="*/ 41287 h 2965703"/>
                <a:gd name="connsiteX5" fmla="*/ 2140299 w 11867103"/>
                <a:gd name="connsiteY5" fmla="*/ 41287 h 2965703"/>
                <a:gd name="connsiteX6" fmla="*/ 4652387 w 11867103"/>
                <a:gd name="connsiteY6" fmla="*/ 61384 h 2965703"/>
                <a:gd name="connsiteX7" fmla="*/ 4692580 w 11867103"/>
                <a:gd name="connsiteY7" fmla="*/ 71433 h 2965703"/>
                <a:gd name="connsiteX8" fmla="*/ 6169688 w 11867103"/>
                <a:gd name="connsiteY8" fmla="*/ 111626 h 2965703"/>
                <a:gd name="connsiteX9" fmla="*/ 6420897 w 11867103"/>
                <a:gd name="connsiteY9" fmla="*/ 91529 h 2965703"/>
                <a:gd name="connsiteX10" fmla="*/ 6511332 w 11867103"/>
                <a:gd name="connsiteY10" fmla="*/ 31239 h 2965703"/>
                <a:gd name="connsiteX11" fmla="*/ 6641961 w 11867103"/>
                <a:gd name="connsiteY11" fmla="*/ 1094 h 2965703"/>
                <a:gd name="connsiteX12" fmla="*/ 7204668 w 11867103"/>
                <a:gd name="connsiteY12" fmla="*/ 11142 h 2965703"/>
                <a:gd name="connsiteX13" fmla="*/ 7285055 w 11867103"/>
                <a:gd name="connsiteY13" fmla="*/ 31239 h 2965703"/>
                <a:gd name="connsiteX14" fmla="*/ 7375490 w 11867103"/>
                <a:gd name="connsiteY14" fmla="*/ 41287 h 2965703"/>
                <a:gd name="connsiteX15" fmla="*/ 7928150 w 11867103"/>
                <a:gd name="connsiteY15" fmla="*/ 61384 h 2965703"/>
                <a:gd name="connsiteX16" fmla="*/ 8109020 w 11867103"/>
                <a:gd name="connsiteY16" fmla="*/ 81481 h 2965703"/>
                <a:gd name="connsiteX17" fmla="*/ 8219552 w 11867103"/>
                <a:gd name="connsiteY17" fmla="*/ 91529 h 2965703"/>
                <a:gd name="connsiteX18" fmla="*/ 8299939 w 11867103"/>
                <a:gd name="connsiteY18" fmla="*/ 101578 h 2965703"/>
                <a:gd name="connsiteX19" fmla="*/ 8521002 w 11867103"/>
                <a:gd name="connsiteY19" fmla="*/ 111626 h 2965703"/>
                <a:gd name="connsiteX20" fmla="*/ 9515789 w 11867103"/>
                <a:gd name="connsiteY20" fmla="*/ 101578 h 2965703"/>
                <a:gd name="connsiteX21" fmla="*/ 9606224 w 11867103"/>
                <a:gd name="connsiteY21" fmla="*/ 91529 h 2965703"/>
                <a:gd name="connsiteX22" fmla="*/ 9716756 w 11867103"/>
                <a:gd name="connsiteY22" fmla="*/ 81481 h 2965703"/>
                <a:gd name="connsiteX23" fmla="*/ 9797143 w 11867103"/>
                <a:gd name="connsiteY23" fmla="*/ 71433 h 2965703"/>
                <a:gd name="connsiteX24" fmla="*/ 9947868 w 11867103"/>
                <a:gd name="connsiteY24" fmla="*/ 61384 h 2965703"/>
                <a:gd name="connsiteX25" fmla="*/ 10791930 w 11867103"/>
                <a:gd name="connsiteY25" fmla="*/ 31239 h 2965703"/>
                <a:gd name="connsiteX26" fmla="*/ 11736475 w 11867103"/>
                <a:gd name="connsiteY26" fmla="*/ 51336 h 2965703"/>
                <a:gd name="connsiteX27" fmla="*/ 11766620 w 11867103"/>
                <a:gd name="connsiteY27" fmla="*/ 81481 h 2965703"/>
                <a:gd name="connsiteX28" fmla="*/ 11786717 w 11867103"/>
                <a:gd name="connsiteY28" fmla="*/ 121674 h 2965703"/>
                <a:gd name="connsiteX29" fmla="*/ 11806813 w 11867103"/>
                <a:gd name="connsiteY29" fmla="*/ 212109 h 2965703"/>
                <a:gd name="connsiteX30" fmla="*/ 11816862 w 11867103"/>
                <a:gd name="connsiteY30" fmla="*/ 252303 h 2965703"/>
                <a:gd name="connsiteX31" fmla="*/ 11826910 w 11867103"/>
                <a:gd name="connsiteY31" fmla="*/ 342738 h 2965703"/>
                <a:gd name="connsiteX32" fmla="*/ 11836958 w 11867103"/>
                <a:gd name="connsiteY32" fmla="*/ 423125 h 2965703"/>
                <a:gd name="connsiteX33" fmla="*/ 11826910 w 11867103"/>
                <a:gd name="connsiteY33" fmla="*/ 734624 h 2965703"/>
                <a:gd name="connsiteX34" fmla="*/ 11816862 w 11867103"/>
                <a:gd name="connsiteY34" fmla="*/ 794914 h 2965703"/>
                <a:gd name="connsiteX35" fmla="*/ 11806813 w 11867103"/>
                <a:gd name="connsiteY35" fmla="*/ 865252 h 2965703"/>
                <a:gd name="connsiteX36" fmla="*/ 11816862 w 11867103"/>
                <a:gd name="connsiteY36" fmla="*/ 2332312 h 2965703"/>
                <a:gd name="connsiteX37" fmla="*/ 11826910 w 11867103"/>
                <a:gd name="connsiteY37" fmla="*/ 2402650 h 2965703"/>
                <a:gd name="connsiteX38" fmla="*/ 11836958 w 11867103"/>
                <a:gd name="connsiteY38" fmla="*/ 2432795 h 2965703"/>
                <a:gd name="connsiteX39" fmla="*/ 11857055 w 11867103"/>
                <a:gd name="connsiteY39" fmla="*/ 2563424 h 2965703"/>
                <a:gd name="connsiteX40" fmla="*/ 11867103 w 11867103"/>
                <a:gd name="connsiteY40" fmla="*/ 2603617 h 2965703"/>
                <a:gd name="connsiteX41" fmla="*/ 11857055 w 11867103"/>
                <a:gd name="connsiteY41" fmla="*/ 2834729 h 2965703"/>
                <a:gd name="connsiteX42" fmla="*/ 11836958 w 11867103"/>
                <a:gd name="connsiteY42" fmla="*/ 2864874 h 2965703"/>
                <a:gd name="connsiteX43" fmla="*/ 11033090 w 11867103"/>
                <a:gd name="connsiteY43" fmla="*/ 2854826 h 2965703"/>
                <a:gd name="connsiteX44" fmla="*/ 10621108 w 11867103"/>
                <a:gd name="connsiteY44" fmla="*/ 2844778 h 2965703"/>
                <a:gd name="connsiteX45" fmla="*/ 10128739 w 11867103"/>
                <a:gd name="connsiteY45" fmla="*/ 2854826 h 2965703"/>
                <a:gd name="connsiteX46" fmla="*/ 10048352 w 11867103"/>
                <a:gd name="connsiteY46" fmla="*/ 2864874 h 2965703"/>
                <a:gd name="connsiteX47" fmla="*/ 9555982 w 11867103"/>
                <a:gd name="connsiteY47" fmla="*/ 2854826 h 2965703"/>
                <a:gd name="connsiteX48" fmla="*/ 9445451 w 11867103"/>
                <a:gd name="connsiteY48" fmla="*/ 2844778 h 2965703"/>
                <a:gd name="connsiteX49" fmla="*/ 9415306 w 11867103"/>
                <a:gd name="connsiteY49" fmla="*/ 2824681 h 2965703"/>
                <a:gd name="connsiteX50" fmla="*/ 9204290 w 11867103"/>
                <a:gd name="connsiteY50" fmla="*/ 2804584 h 2965703"/>
                <a:gd name="connsiteX51" fmla="*/ 9073662 w 11867103"/>
                <a:gd name="connsiteY51" fmla="*/ 2784487 h 2965703"/>
                <a:gd name="connsiteX52" fmla="*/ 8812404 w 11867103"/>
                <a:gd name="connsiteY52" fmla="*/ 2774439 h 2965703"/>
                <a:gd name="connsiteX53" fmla="*/ 8400422 w 11867103"/>
                <a:gd name="connsiteY53" fmla="*/ 2764391 h 2965703"/>
                <a:gd name="connsiteX54" fmla="*/ 8269793 w 11867103"/>
                <a:gd name="connsiteY54" fmla="*/ 2754342 h 2965703"/>
                <a:gd name="connsiteX55" fmla="*/ 7797521 w 11867103"/>
                <a:gd name="connsiteY55" fmla="*/ 2774439 h 2965703"/>
                <a:gd name="connsiteX56" fmla="*/ 7717134 w 11867103"/>
                <a:gd name="connsiteY56" fmla="*/ 2784487 h 2965703"/>
                <a:gd name="connsiteX57" fmla="*/ 7486022 w 11867103"/>
                <a:gd name="connsiteY57" fmla="*/ 2814633 h 2965703"/>
                <a:gd name="connsiteX58" fmla="*/ 7395587 w 11867103"/>
                <a:gd name="connsiteY58" fmla="*/ 2834729 h 2965703"/>
                <a:gd name="connsiteX59" fmla="*/ 7325248 w 11867103"/>
                <a:gd name="connsiteY59" fmla="*/ 2844778 h 2965703"/>
                <a:gd name="connsiteX60" fmla="*/ 6863024 w 11867103"/>
                <a:gd name="connsiteY60" fmla="*/ 2834729 h 2965703"/>
                <a:gd name="connsiteX61" fmla="*/ 6722347 w 11867103"/>
                <a:gd name="connsiteY61" fmla="*/ 2824681 h 2965703"/>
                <a:gd name="connsiteX62" fmla="*/ 4903596 w 11867103"/>
                <a:gd name="connsiteY62" fmla="*/ 2874923 h 2965703"/>
                <a:gd name="connsiteX63" fmla="*/ 4722725 w 11867103"/>
                <a:gd name="connsiteY63" fmla="*/ 2915116 h 2965703"/>
                <a:gd name="connsiteX64" fmla="*/ 4300695 w 11867103"/>
                <a:gd name="connsiteY64" fmla="*/ 2895019 h 2965703"/>
                <a:gd name="connsiteX65" fmla="*/ 4059534 w 11867103"/>
                <a:gd name="connsiteY65" fmla="*/ 2854826 h 2965703"/>
                <a:gd name="connsiteX66" fmla="*/ 3768132 w 11867103"/>
                <a:gd name="connsiteY66" fmla="*/ 2824681 h 2965703"/>
                <a:gd name="connsiteX67" fmla="*/ 3627455 w 11867103"/>
                <a:gd name="connsiteY67" fmla="*/ 2814633 h 2965703"/>
                <a:gd name="connsiteX68" fmla="*/ 3125037 w 11867103"/>
                <a:gd name="connsiteY68" fmla="*/ 2824681 h 2965703"/>
                <a:gd name="connsiteX69" fmla="*/ 3064747 w 11867103"/>
                <a:gd name="connsiteY69" fmla="*/ 2834729 h 2965703"/>
                <a:gd name="connsiteX70" fmla="*/ 2009670 w 11867103"/>
                <a:gd name="connsiteY70" fmla="*/ 2844778 h 2965703"/>
                <a:gd name="connsiteX71" fmla="*/ 1678075 w 11867103"/>
                <a:gd name="connsiteY71" fmla="*/ 2935213 h 2965703"/>
                <a:gd name="connsiteX72" fmla="*/ 1607736 w 11867103"/>
                <a:gd name="connsiteY72" fmla="*/ 2965358 h 2965703"/>
                <a:gd name="connsiteX73" fmla="*/ 1135464 w 11867103"/>
                <a:gd name="connsiteY73" fmla="*/ 2945261 h 2965703"/>
                <a:gd name="connsiteX74" fmla="*/ 944545 w 11867103"/>
                <a:gd name="connsiteY74" fmla="*/ 2915116 h 2965703"/>
                <a:gd name="connsiteX75" fmla="*/ 723481 w 11867103"/>
                <a:gd name="connsiteY75" fmla="*/ 2874923 h 2965703"/>
                <a:gd name="connsiteX76" fmla="*/ 643095 w 11867103"/>
                <a:gd name="connsiteY76" fmla="*/ 2864874 h 2965703"/>
                <a:gd name="connsiteX77" fmla="*/ 371789 w 11867103"/>
                <a:gd name="connsiteY77" fmla="*/ 2824681 h 2965703"/>
                <a:gd name="connsiteX78" fmla="*/ 0 w 11867103"/>
                <a:gd name="connsiteY78" fmla="*/ 2814633 h 2965703"/>
                <a:gd name="connsiteX0" fmla="*/ 120580 w 11867103"/>
                <a:gd name="connsiteY0" fmla="*/ 40194 h 2954561"/>
                <a:gd name="connsiteX1" fmla="*/ 281354 w 11867103"/>
                <a:gd name="connsiteY1" fmla="*/ 30145 h 2954561"/>
                <a:gd name="connsiteX2" fmla="*/ 673240 w 11867103"/>
                <a:gd name="connsiteY2" fmla="*/ 20097 h 2954561"/>
                <a:gd name="connsiteX3" fmla="*/ 1356528 w 11867103"/>
                <a:gd name="connsiteY3" fmla="*/ 70339 h 2954561"/>
                <a:gd name="connsiteX4" fmla="*/ 1758462 w 11867103"/>
                <a:gd name="connsiteY4" fmla="*/ 30145 h 2954561"/>
                <a:gd name="connsiteX5" fmla="*/ 2140299 w 11867103"/>
                <a:gd name="connsiteY5" fmla="*/ 30145 h 2954561"/>
                <a:gd name="connsiteX6" fmla="*/ 4652387 w 11867103"/>
                <a:gd name="connsiteY6" fmla="*/ 50242 h 2954561"/>
                <a:gd name="connsiteX7" fmla="*/ 4692580 w 11867103"/>
                <a:gd name="connsiteY7" fmla="*/ 60291 h 2954561"/>
                <a:gd name="connsiteX8" fmla="*/ 6169688 w 11867103"/>
                <a:gd name="connsiteY8" fmla="*/ 100484 h 2954561"/>
                <a:gd name="connsiteX9" fmla="*/ 6420897 w 11867103"/>
                <a:gd name="connsiteY9" fmla="*/ 80387 h 2954561"/>
                <a:gd name="connsiteX10" fmla="*/ 6511332 w 11867103"/>
                <a:gd name="connsiteY10" fmla="*/ 20097 h 2954561"/>
                <a:gd name="connsiteX11" fmla="*/ 7204668 w 11867103"/>
                <a:gd name="connsiteY11" fmla="*/ 0 h 2954561"/>
                <a:gd name="connsiteX12" fmla="*/ 7285055 w 11867103"/>
                <a:gd name="connsiteY12" fmla="*/ 20097 h 2954561"/>
                <a:gd name="connsiteX13" fmla="*/ 7375490 w 11867103"/>
                <a:gd name="connsiteY13" fmla="*/ 30145 h 2954561"/>
                <a:gd name="connsiteX14" fmla="*/ 7928150 w 11867103"/>
                <a:gd name="connsiteY14" fmla="*/ 50242 h 2954561"/>
                <a:gd name="connsiteX15" fmla="*/ 8109020 w 11867103"/>
                <a:gd name="connsiteY15" fmla="*/ 70339 h 2954561"/>
                <a:gd name="connsiteX16" fmla="*/ 8219552 w 11867103"/>
                <a:gd name="connsiteY16" fmla="*/ 80387 h 2954561"/>
                <a:gd name="connsiteX17" fmla="*/ 8299939 w 11867103"/>
                <a:gd name="connsiteY17" fmla="*/ 90436 h 2954561"/>
                <a:gd name="connsiteX18" fmla="*/ 8521002 w 11867103"/>
                <a:gd name="connsiteY18" fmla="*/ 100484 h 2954561"/>
                <a:gd name="connsiteX19" fmla="*/ 9515789 w 11867103"/>
                <a:gd name="connsiteY19" fmla="*/ 90436 h 2954561"/>
                <a:gd name="connsiteX20" fmla="*/ 9606224 w 11867103"/>
                <a:gd name="connsiteY20" fmla="*/ 80387 h 2954561"/>
                <a:gd name="connsiteX21" fmla="*/ 9716756 w 11867103"/>
                <a:gd name="connsiteY21" fmla="*/ 70339 h 2954561"/>
                <a:gd name="connsiteX22" fmla="*/ 9797143 w 11867103"/>
                <a:gd name="connsiteY22" fmla="*/ 60291 h 2954561"/>
                <a:gd name="connsiteX23" fmla="*/ 9947868 w 11867103"/>
                <a:gd name="connsiteY23" fmla="*/ 50242 h 2954561"/>
                <a:gd name="connsiteX24" fmla="*/ 10791930 w 11867103"/>
                <a:gd name="connsiteY24" fmla="*/ 20097 h 2954561"/>
                <a:gd name="connsiteX25" fmla="*/ 11736475 w 11867103"/>
                <a:gd name="connsiteY25" fmla="*/ 40194 h 2954561"/>
                <a:gd name="connsiteX26" fmla="*/ 11766620 w 11867103"/>
                <a:gd name="connsiteY26" fmla="*/ 70339 h 2954561"/>
                <a:gd name="connsiteX27" fmla="*/ 11786717 w 11867103"/>
                <a:gd name="connsiteY27" fmla="*/ 110532 h 2954561"/>
                <a:gd name="connsiteX28" fmla="*/ 11806813 w 11867103"/>
                <a:gd name="connsiteY28" fmla="*/ 200967 h 2954561"/>
                <a:gd name="connsiteX29" fmla="*/ 11816862 w 11867103"/>
                <a:gd name="connsiteY29" fmla="*/ 241161 h 2954561"/>
                <a:gd name="connsiteX30" fmla="*/ 11826910 w 11867103"/>
                <a:gd name="connsiteY30" fmla="*/ 331596 h 2954561"/>
                <a:gd name="connsiteX31" fmla="*/ 11836958 w 11867103"/>
                <a:gd name="connsiteY31" fmla="*/ 411983 h 2954561"/>
                <a:gd name="connsiteX32" fmla="*/ 11826910 w 11867103"/>
                <a:gd name="connsiteY32" fmla="*/ 723482 h 2954561"/>
                <a:gd name="connsiteX33" fmla="*/ 11816862 w 11867103"/>
                <a:gd name="connsiteY33" fmla="*/ 783772 h 2954561"/>
                <a:gd name="connsiteX34" fmla="*/ 11806813 w 11867103"/>
                <a:gd name="connsiteY34" fmla="*/ 854110 h 2954561"/>
                <a:gd name="connsiteX35" fmla="*/ 11816862 w 11867103"/>
                <a:gd name="connsiteY35" fmla="*/ 2321170 h 2954561"/>
                <a:gd name="connsiteX36" fmla="*/ 11826910 w 11867103"/>
                <a:gd name="connsiteY36" fmla="*/ 2391508 h 2954561"/>
                <a:gd name="connsiteX37" fmla="*/ 11836958 w 11867103"/>
                <a:gd name="connsiteY37" fmla="*/ 2421653 h 2954561"/>
                <a:gd name="connsiteX38" fmla="*/ 11857055 w 11867103"/>
                <a:gd name="connsiteY38" fmla="*/ 2552282 h 2954561"/>
                <a:gd name="connsiteX39" fmla="*/ 11867103 w 11867103"/>
                <a:gd name="connsiteY39" fmla="*/ 2592475 h 2954561"/>
                <a:gd name="connsiteX40" fmla="*/ 11857055 w 11867103"/>
                <a:gd name="connsiteY40" fmla="*/ 2823587 h 2954561"/>
                <a:gd name="connsiteX41" fmla="*/ 11836958 w 11867103"/>
                <a:gd name="connsiteY41" fmla="*/ 2853732 h 2954561"/>
                <a:gd name="connsiteX42" fmla="*/ 11033090 w 11867103"/>
                <a:gd name="connsiteY42" fmla="*/ 2843684 h 2954561"/>
                <a:gd name="connsiteX43" fmla="*/ 10621108 w 11867103"/>
                <a:gd name="connsiteY43" fmla="*/ 2833636 h 2954561"/>
                <a:gd name="connsiteX44" fmla="*/ 10128739 w 11867103"/>
                <a:gd name="connsiteY44" fmla="*/ 2843684 h 2954561"/>
                <a:gd name="connsiteX45" fmla="*/ 10048352 w 11867103"/>
                <a:gd name="connsiteY45" fmla="*/ 2853732 h 2954561"/>
                <a:gd name="connsiteX46" fmla="*/ 9555982 w 11867103"/>
                <a:gd name="connsiteY46" fmla="*/ 2843684 h 2954561"/>
                <a:gd name="connsiteX47" fmla="*/ 9445451 w 11867103"/>
                <a:gd name="connsiteY47" fmla="*/ 2833636 h 2954561"/>
                <a:gd name="connsiteX48" fmla="*/ 9415306 w 11867103"/>
                <a:gd name="connsiteY48" fmla="*/ 2813539 h 2954561"/>
                <a:gd name="connsiteX49" fmla="*/ 9204290 w 11867103"/>
                <a:gd name="connsiteY49" fmla="*/ 2793442 h 2954561"/>
                <a:gd name="connsiteX50" fmla="*/ 9073662 w 11867103"/>
                <a:gd name="connsiteY50" fmla="*/ 2773345 h 2954561"/>
                <a:gd name="connsiteX51" fmla="*/ 8812404 w 11867103"/>
                <a:gd name="connsiteY51" fmla="*/ 2763297 h 2954561"/>
                <a:gd name="connsiteX52" fmla="*/ 8400422 w 11867103"/>
                <a:gd name="connsiteY52" fmla="*/ 2753249 h 2954561"/>
                <a:gd name="connsiteX53" fmla="*/ 8269793 w 11867103"/>
                <a:gd name="connsiteY53" fmla="*/ 2743200 h 2954561"/>
                <a:gd name="connsiteX54" fmla="*/ 7797521 w 11867103"/>
                <a:gd name="connsiteY54" fmla="*/ 2763297 h 2954561"/>
                <a:gd name="connsiteX55" fmla="*/ 7717134 w 11867103"/>
                <a:gd name="connsiteY55" fmla="*/ 2773345 h 2954561"/>
                <a:gd name="connsiteX56" fmla="*/ 7486022 w 11867103"/>
                <a:gd name="connsiteY56" fmla="*/ 2803491 h 2954561"/>
                <a:gd name="connsiteX57" fmla="*/ 7395587 w 11867103"/>
                <a:gd name="connsiteY57" fmla="*/ 2823587 h 2954561"/>
                <a:gd name="connsiteX58" fmla="*/ 7325248 w 11867103"/>
                <a:gd name="connsiteY58" fmla="*/ 2833636 h 2954561"/>
                <a:gd name="connsiteX59" fmla="*/ 6863024 w 11867103"/>
                <a:gd name="connsiteY59" fmla="*/ 2823587 h 2954561"/>
                <a:gd name="connsiteX60" fmla="*/ 6722347 w 11867103"/>
                <a:gd name="connsiteY60" fmla="*/ 2813539 h 2954561"/>
                <a:gd name="connsiteX61" fmla="*/ 4903596 w 11867103"/>
                <a:gd name="connsiteY61" fmla="*/ 2863781 h 2954561"/>
                <a:gd name="connsiteX62" fmla="*/ 4722725 w 11867103"/>
                <a:gd name="connsiteY62" fmla="*/ 2903974 h 2954561"/>
                <a:gd name="connsiteX63" fmla="*/ 4300695 w 11867103"/>
                <a:gd name="connsiteY63" fmla="*/ 2883877 h 2954561"/>
                <a:gd name="connsiteX64" fmla="*/ 4059534 w 11867103"/>
                <a:gd name="connsiteY64" fmla="*/ 2843684 h 2954561"/>
                <a:gd name="connsiteX65" fmla="*/ 3768132 w 11867103"/>
                <a:gd name="connsiteY65" fmla="*/ 2813539 h 2954561"/>
                <a:gd name="connsiteX66" fmla="*/ 3627455 w 11867103"/>
                <a:gd name="connsiteY66" fmla="*/ 2803491 h 2954561"/>
                <a:gd name="connsiteX67" fmla="*/ 3125037 w 11867103"/>
                <a:gd name="connsiteY67" fmla="*/ 2813539 h 2954561"/>
                <a:gd name="connsiteX68" fmla="*/ 3064747 w 11867103"/>
                <a:gd name="connsiteY68" fmla="*/ 2823587 h 2954561"/>
                <a:gd name="connsiteX69" fmla="*/ 2009670 w 11867103"/>
                <a:gd name="connsiteY69" fmla="*/ 2833636 h 2954561"/>
                <a:gd name="connsiteX70" fmla="*/ 1678075 w 11867103"/>
                <a:gd name="connsiteY70" fmla="*/ 2924071 h 2954561"/>
                <a:gd name="connsiteX71" fmla="*/ 1607736 w 11867103"/>
                <a:gd name="connsiteY71" fmla="*/ 2954216 h 2954561"/>
                <a:gd name="connsiteX72" fmla="*/ 1135464 w 11867103"/>
                <a:gd name="connsiteY72" fmla="*/ 2934119 h 2954561"/>
                <a:gd name="connsiteX73" fmla="*/ 944545 w 11867103"/>
                <a:gd name="connsiteY73" fmla="*/ 2903974 h 2954561"/>
                <a:gd name="connsiteX74" fmla="*/ 723481 w 11867103"/>
                <a:gd name="connsiteY74" fmla="*/ 2863781 h 2954561"/>
                <a:gd name="connsiteX75" fmla="*/ 643095 w 11867103"/>
                <a:gd name="connsiteY75" fmla="*/ 2853732 h 2954561"/>
                <a:gd name="connsiteX76" fmla="*/ 371789 w 11867103"/>
                <a:gd name="connsiteY76" fmla="*/ 2813539 h 2954561"/>
                <a:gd name="connsiteX77" fmla="*/ 0 w 11867103"/>
                <a:gd name="connsiteY77" fmla="*/ 2803491 h 2954561"/>
                <a:gd name="connsiteX0" fmla="*/ 120580 w 11867103"/>
                <a:gd name="connsiteY0" fmla="*/ 42528 h 2956895"/>
                <a:gd name="connsiteX1" fmla="*/ 281354 w 11867103"/>
                <a:gd name="connsiteY1" fmla="*/ 32479 h 2956895"/>
                <a:gd name="connsiteX2" fmla="*/ 673240 w 11867103"/>
                <a:gd name="connsiteY2" fmla="*/ 22431 h 2956895"/>
                <a:gd name="connsiteX3" fmla="*/ 1356528 w 11867103"/>
                <a:gd name="connsiteY3" fmla="*/ 72673 h 2956895"/>
                <a:gd name="connsiteX4" fmla="*/ 1758462 w 11867103"/>
                <a:gd name="connsiteY4" fmla="*/ 32479 h 2956895"/>
                <a:gd name="connsiteX5" fmla="*/ 2140299 w 11867103"/>
                <a:gd name="connsiteY5" fmla="*/ 32479 h 2956895"/>
                <a:gd name="connsiteX6" fmla="*/ 4652387 w 11867103"/>
                <a:gd name="connsiteY6" fmla="*/ 52576 h 2956895"/>
                <a:gd name="connsiteX7" fmla="*/ 4692580 w 11867103"/>
                <a:gd name="connsiteY7" fmla="*/ 62625 h 2956895"/>
                <a:gd name="connsiteX8" fmla="*/ 6169688 w 11867103"/>
                <a:gd name="connsiteY8" fmla="*/ 102818 h 2956895"/>
                <a:gd name="connsiteX9" fmla="*/ 6420897 w 11867103"/>
                <a:gd name="connsiteY9" fmla="*/ 82721 h 2956895"/>
                <a:gd name="connsiteX10" fmla="*/ 7204668 w 11867103"/>
                <a:gd name="connsiteY10" fmla="*/ 2334 h 2956895"/>
                <a:gd name="connsiteX11" fmla="*/ 7285055 w 11867103"/>
                <a:gd name="connsiteY11" fmla="*/ 22431 h 2956895"/>
                <a:gd name="connsiteX12" fmla="*/ 7375490 w 11867103"/>
                <a:gd name="connsiteY12" fmla="*/ 32479 h 2956895"/>
                <a:gd name="connsiteX13" fmla="*/ 7928150 w 11867103"/>
                <a:gd name="connsiteY13" fmla="*/ 52576 h 2956895"/>
                <a:gd name="connsiteX14" fmla="*/ 8109020 w 11867103"/>
                <a:gd name="connsiteY14" fmla="*/ 72673 h 2956895"/>
                <a:gd name="connsiteX15" fmla="*/ 8219552 w 11867103"/>
                <a:gd name="connsiteY15" fmla="*/ 82721 h 2956895"/>
                <a:gd name="connsiteX16" fmla="*/ 8299939 w 11867103"/>
                <a:gd name="connsiteY16" fmla="*/ 92770 h 2956895"/>
                <a:gd name="connsiteX17" fmla="*/ 8521002 w 11867103"/>
                <a:gd name="connsiteY17" fmla="*/ 102818 h 2956895"/>
                <a:gd name="connsiteX18" fmla="*/ 9515789 w 11867103"/>
                <a:gd name="connsiteY18" fmla="*/ 92770 h 2956895"/>
                <a:gd name="connsiteX19" fmla="*/ 9606224 w 11867103"/>
                <a:gd name="connsiteY19" fmla="*/ 82721 h 2956895"/>
                <a:gd name="connsiteX20" fmla="*/ 9716756 w 11867103"/>
                <a:gd name="connsiteY20" fmla="*/ 72673 h 2956895"/>
                <a:gd name="connsiteX21" fmla="*/ 9797143 w 11867103"/>
                <a:gd name="connsiteY21" fmla="*/ 62625 h 2956895"/>
                <a:gd name="connsiteX22" fmla="*/ 9947868 w 11867103"/>
                <a:gd name="connsiteY22" fmla="*/ 52576 h 2956895"/>
                <a:gd name="connsiteX23" fmla="*/ 10791930 w 11867103"/>
                <a:gd name="connsiteY23" fmla="*/ 22431 h 2956895"/>
                <a:gd name="connsiteX24" fmla="*/ 11736475 w 11867103"/>
                <a:gd name="connsiteY24" fmla="*/ 42528 h 2956895"/>
                <a:gd name="connsiteX25" fmla="*/ 11766620 w 11867103"/>
                <a:gd name="connsiteY25" fmla="*/ 72673 h 2956895"/>
                <a:gd name="connsiteX26" fmla="*/ 11786717 w 11867103"/>
                <a:gd name="connsiteY26" fmla="*/ 112866 h 2956895"/>
                <a:gd name="connsiteX27" fmla="*/ 11806813 w 11867103"/>
                <a:gd name="connsiteY27" fmla="*/ 203301 h 2956895"/>
                <a:gd name="connsiteX28" fmla="*/ 11816862 w 11867103"/>
                <a:gd name="connsiteY28" fmla="*/ 243495 h 2956895"/>
                <a:gd name="connsiteX29" fmla="*/ 11826910 w 11867103"/>
                <a:gd name="connsiteY29" fmla="*/ 333930 h 2956895"/>
                <a:gd name="connsiteX30" fmla="*/ 11836958 w 11867103"/>
                <a:gd name="connsiteY30" fmla="*/ 414317 h 2956895"/>
                <a:gd name="connsiteX31" fmla="*/ 11826910 w 11867103"/>
                <a:gd name="connsiteY31" fmla="*/ 725816 h 2956895"/>
                <a:gd name="connsiteX32" fmla="*/ 11816862 w 11867103"/>
                <a:gd name="connsiteY32" fmla="*/ 786106 h 2956895"/>
                <a:gd name="connsiteX33" fmla="*/ 11806813 w 11867103"/>
                <a:gd name="connsiteY33" fmla="*/ 856444 h 2956895"/>
                <a:gd name="connsiteX34" fmla="*/ 11816862 w 11867103"/>
                <a:gd name="connsiteY34" fmla="*/ 2323504 h 2956895"/>
                <a:gd name="connsiteX35" fmla="*/ 11826910 w 11867103"/>
                <a:gd name="connsiteY35" fmla="*/ 2393842 h 2956895"/>
                <a:gd name="connsiteX36" fmla="*/ 11836958 w 11867103"/>
                <a:gd name="connsiteY36" fmla="*/ 2423987 h 2956895"/>
                <a:gd name="connsiteX37" fmla="*/ 11857055 w 11867103"/>
                <a:gd name="connsiteY37" fmla="*/ 2554616 h 2956895"/>
                <a:gd name="connsiteX38" fmla="*/ 11867103 w 11867103"/>
                <a:gd name="connsiteY38" fmla="*/ 2594809 h 2956895"/>
                <a:gd name="connsiteX39" fmla="*/ 11857055 w 11867103"/>
                <a:gd name="connsiteY39" fmla="*/ 2825921 h 2956895"/>
                <a:gd name="connsiteX40" fmla="*/ 11836958 w 11867103"/>
                <a:gd name="connsiteY40" fmla="*/ 2856066 h 2956895"/>
                <a:gd name="connsiteX41" fmla="*/ 11033090 w 11867103"/>
                <a:gd name="connsiteY41" fmla="*/ 2846018 h 2956895"/>
                <a:gd name="connsiteX42" fmla="*/ 10621108 w 11867103"/>
                <a:gd name="connsiteY42" fmla="*/ 2835970 h 2956895"/>
                <a:gd name="connsiteX43" fmla="*/ 10128739 w 11867103"/>
                <a:gd name="connsiteY43" fmla="*/ 2846018 h 2956895"/>
                <a:gd name="connsiteX44" fmla="*/ 10048352 w 11867103"/>
                <a:gd name="connsiteY44" fmla="*/ 2856066 h 2956895"/>
                <a:gd name="connsiteX45" fmla="*/ 9555982 w 11867103"/>
                <a:gd name="connsiteY45" fmla="*/ 2846018 h 2956895"/>
                <a:gd name="connsiteX46" fmla="*/ 9445451 w 11867103"/>
                <a:gd name="connsiteY46" fmla="*/ 2835970 h 2956895"/>
                <a:gd name="connsiteX47" fmla="*/ 9415306 w 11867103"/>
                <a:gd name="connsiteY47" fmla="*/ 2815873 h 2956895"/>
                <a:gd name="connsiteX48" fmla="*/ 9204290 w 11867103"/>
                <a:gd name="connsiteY48" fmla="*/ 2795776 h 2956895"/>
                <a:gd name="connsiteX49" fmla="*/ 9073662 w 11867103"/>
                <a:gd name="connsiteY49" fmla="*/ 2775679 h 2956895"/>
                <a:gd name="connsiteX50" fmla="*/ 8812404 w 11867103"/>
                <a:gd name="connsiteY50" fmla="*/ 2765631 h 2956895"/>
                <a:gd name="connsiteX51" fmla="*/ 8400422 w 11867103"/>
                <a:gd name="connsiteY51" fmla="*/ 2755583 h 2956895"/>
                <a:gd name="connsiteX52" fmla="*/ 8269793 w 11867103"/>
                <a:gd name="connsiteY52" fmla="*/ 2745534 h 2956895"/>
                <a:gd name="connsiteX53" fmla="*/ 7797521 w 11867103"/>
                <a:gd name="connsiteY53" fmla="*/ 2765631 h 2956895"/>
                <a:gd name="connsiteX54" fmla="*/ 7717134 w 11867103"/>
                <a:gd name="connsiteY54" fmla="*/ 2775679 h 2956895"/>
                <a:gd name="connsiteX55" fmla="*/ 7486022 w 11867103"/>
                <a:gd name="connsiteY55" fmla="*/ 2805825 h 2956895"/>
                <a:gd name="connsiteX56" fmla="*/ 7395587 w 11867103"/>
                <a:gd name="connsiteY56" fmla="*/ 2825921 h 2956895"/>
                <a:gd name="connsiteX57" fmla="*/ 7325248 w 11867103"/>
                <a:gd name="connsiteY57" fmla="*/ 2835970 h 2956895"/>
                <a:gd name="connsiteX58" fmla="*/ 6863024 w 11867103"/>
                <a:gd name="connsiteY58" fmla="*/ 2825921 h 2956895"/>
                <a:gd name="connsiteX59" fmla="*/ 6722347 w 11867103"/>
                <a:gd name="connsiteY59" fmla="*/ 2815873 h 2956895"/>
                <a:gd name="connsiteX60" fmla="*/ 4903596 w 11867103"/>
                <a:gd name="connsiteY60" fmla="*/ 2866115 h 2956895"/>
                <a:gd name="connsiteX61" fmla="*/ 4722725 w 11867103"/>
                <a:gd name="connsiteY61" fmla="*/ 2906308 h 2956895"/>
                <a:gd name="connsiteX62" fmla="*/ 4300695 w 11867103"/>
                <a:gd name="connsiteY62" fmla="*/ 2886211 h 2956895"/>
                <a:gd name="connsiteX63" fmla="*/ 4059534 w 11867103"/>
                <a:gd name="connsiteY63" fmla="*/ 2846018 h 2956895"/>
                <a:gd name="connsiteX64" fmla="*/ 3768132 w 11867103"/>
                <a:gd name="connsiteY64" fmla="*/ 2815873 h 2956895"/>
                <a:gd name="connsiteX65" fmla="*/ 3627455 w 11867103"/>
                <a:gd name="connsiteY65" fmla="*/ 2805825 h 2956895"/>
                <a:gd name="connsiteX66" fmla="*/ 3125037 w 11867103"/>
                <a:gd name="connsiteY66" fmla="*/ 2815873 h 2956895"/>
                <a:gd name="connsiteX67" fmla="*/ 3064747 w 11867103"/>
                <a:gd name="connsiteY67" fmla="*/ 2825921 h 2956895"/>
                <a:gd name="connsiteX68" fmla="*/ 2009670 w 11867103"/>
                <a:gd name="connsiteY68" fmla="*/ 2835970 h 2956895"/>
                <a:gd name="connsiteX69" fmla="*/ 1678075 w 11867103"/>
                <a:gd name="connsiteY69" fmla="*/ 2926405 h 2956895"/>
                <a:gd name="connsiteX70" fmla="*/ 1607736 w 11867103"/>
                <a:gd name="connsiteY70" fmla="*/ 2956550 h 2956895"/>
                <a:gd name="connsiteX71" fmla="*/ 1135464 w 11867103"/>
                <a:gd name="connsiteY71" fmla="*/ 2936453 h 2956895"/>
                <a:gd name="connsiteX72" fmla="*/ 944545 w 11867103"/>
                <a:gd name="connsiteY72" fmla="*/ 2906308 h 2956895"/>
                <a:gd name="connsiteX73" fmla="*/ 723481 w 11867103"/>
                <a:gd name="connsiteY73" fmla="*/ 2866115 h 2956895"/>
                <a:gd name="connsiteX74" fmla="*/ 643095 w 11867103"/>
                <a:gd name="connsiteY74" fmla="*/ 2856066 h 2956895"/>
                <a:gd name="connsiteX75" fmla="*/ 371789 w 11867103"/>
                <a:gd name="connsiteY75" fmla="*/ 2815873 h 2956895"/>
                <a:gd name="connsiteX76" fmla="*/ 0 w 11867103"/>
                <a:gd name="connsiteY76" fmla="*/ 2805825 h 2956895"/>
                <a:gd name="connsiteX0" fmla="*/ 120580 w 11867103"/>
                <a:gd name="connsiteY0" fmla="*/ 42528 h 2956895"/>
                <a:gd name="connsiteX1" fmla="*/ 281354 w 11867103"/>
                <a:gd name="connsiteY1" fmla="*/ 32479 h 2956895"/>
                <a:gd name="connsiteX2" fmla="*/ 673240 w 11867103"/>
                <a:gd name="connsiteY2" fmla="*/ 22431 h 2956895"/>
                <a:gd name="connsiteX3" fmla="*/ 1356528 w 11867103"/>
                <a:gd name="connsiteY3" fmla="*/ 72673 h 2956895"/>
                <a:gd name="connsiteX4" fmla="*/ 1758462 w 11867103"/>
                <a:gd name="connsiteY4" fmla="*/ 32479 h 2956895"/>
                <a:gd name="connsiteX5" fmla="*/ 2140299 w 11867103"/>
                <a:gd name="connsiteY5" fmla="*/ 32479 h 2956895"/>
                <a:gd name="connsiteX6" fmla="*/ 4652387 w 11867103"/>
                <a:gd name="connsiteY6" fmla="*/ 52576 h 2956895"/>
                <a:gd name="connsiteX7" fmla="*/ 4692580 w 11867103"/>
                <a:gd name="connsiteY7" fmla="*/ 62625 h 2956895"/>
                <a:gd name="connsiteX8" fmla="*/ 6420897 w 11867103"/>
                <a:gd name="connsiteY8" fmla="*/ 82721 h 2956895"/>
                <a:gd name="connsiteX9" fmla="*/ 7204668 w 11867103"/>
                <a:gd name="connsiteY9" fmla="*/ 2334 h 2956895"/>
                <a:gd name="connsiteX10" fmla="*/ 7285055 w 11867103"/>
                <a:gd name="connsiteY10" fmla="*/ 22431 h 2956895"/>
                <a:gd name="connsiteX11" fmla="*/ 7375490 w 11867103"/>
                <a:gd name="connsiteY11" fmla="*/ 32479 h 2956895"/>
                <a:gd name="connsiteX12" fmla="*/ 7928150 w 11867103"/>
                <a:gd name="connsiteY12" fmla="*/ 52576 h 2956895"/>
                <a:gd name="connsiteX13" fmla="*/ 8109020 w 11867103"/>
                <a:gd name="connsiteY13" fmla="*/ 72673 h 2956895"/>
                <a:gd name="connsiteX14" fmla="*/ 8219552 w 11867103"/>
                <a:gd name="connsiteY14" fmla="*/ 82721 h 2956895"/>
                <a:gd name="connsiteX15" fmla="*/ 8299939 w 11867103"/>
                <a:gd name="connsiteY15" fmla="*/ 92770 h 2956895"/>
                <a:gd name="connsiteX16" fmla="*/ 8521002 w 11867103"/>
                <a:gd name="connsiteY16" fmla="*/ 102818 h 2956895"/>
                <a:gd name="connsiteX17" fmla="*/ 9515789 w 11867103"/>
                <a:gd name="connsiteY17" fmla="*/ 92770 h 2956895"/>
                <a:gd name="connsiteX18" fmla="*/ 9606224 w 11867103"/>
                <a:gd name="connsiteY18" fmla="*/ 82721 h 2956895"/>
                <a:gd name="connsiteX19" fmla="*/ 9716756 w 11867103"/>
                <a:gd name="connsiteY19" fmla="*/ 72673 h 2956895"/>
                <a:gd name="connsiteX20" fmla="*/ 9797143 w 11867103"/>
                <a:gd name="connsiteY20" fmla="*/ 62625 h 2956895"/>
                <a:gd name="connsiteX21" fmla="*/ 9947868 w 11867103"/>
                <a:gd name="connsiteY21" fmla="*/ 52576 h 2956895"/>
                <a:gd name="connsiteX22" fmla="*/ 10791930 w 11867103"/>
                <a:gd name="connsiteY22" fmla="*/ 22431 h 2956895"/>
                <a:gd name="connsiteX23" fmla="*/ 11736475 w 11867103"/>
                <a:gd name="connsiteY23" fmla="*/ 42528 h 2956895"/>
                <a:gd name="connsiteX24" fmla="*/ 11766620 w 11867103"/>
                <a:gd name="connsiteY24" fmla="*/ 72673 h 2956895"/>
                <a:gd name="connsiteX25" fmla="*/ 11786717 w 11867103"/>
                <a:gd name="connsiteY25" fmla="*/ 112866 h 2956895"/>
                <a:gd name="connsiteX26" fmla="*/ 11806813 w 11867103"/>
                <a:gd name="connsiteY26" fmla="*/ 203301 h 2956895"/>
                <a:gd name="connsiteX27" fmla="*/ 11816862 w 11867103"/>
                <a:gd name="connsiteY27" fmla="*/ 243495 h 2956895"/>
                <a:gd name="connsiteX28" fmla="*/ 11826910 w 11867103"/>
                <a:gd name="connsiteY28" fmla="*/ 333930 h 2956895"/>
                <a:gd name="connsiteX29" fmla="*/ 11836958 w 11867103"/>
                <a:gd name="connsiteY29" fmla="*/ 414317 h 2956895"/>
                <a:gd name="connsiteX30" fmla="*/ 11826910 w 11867103"/>
                <a:gd name="connsiteY30" fmla="*/ 725816 h 2956895"/>
                <a:gd name="connsiteX31" fmla="*/ 11816862 w 11867103"/>
                <a:gd name="connsiteY31" fmla="*/ 786106 h 2956895"/>
                <a:gd name="connsiteX32" fmla="*/ 11806813 w 11867103"/>
                <a:gd name="connsiteY32" fmla="*/ 856444 h 2956895"/>
                <a:gd name="connsiteX33" fmla="*/ 11816862 w 11867103"/>
                <a:gd name="connsiteY33" fmla="*/ 2323504 h 2956895"/>
                <a:gd name="connsiteX34" fmla="*/ 11826910 w 11867103"/>
                <a:gd name="connsiteY34" fmla="*/ 2393842 h 2956895"/>
                <a:gd name="connsiteX35" fmla="*/ 11836958 w 11867103"/>
                <a:gd name="connsiteY35" fmla="*/ 2423987 h 2956895"/>
                <a:gd name="connsiteX36" fmla="*/ 11857055 w 11867103"/>
                <a:gd name="connsiteY36" fmla="*/ 2554616 h 2956895"/>
                <a:gd name="connsiteX37" fmla="*/ 11867103 w 11867103"/>
                <a:gd name="connsiteY37" fmla="*/ 2594809 h 2956895"/>
                <a:gd name="connsiteX38" fmla="*/ 11857055 w 11867103"/>
                <a:gd name="connsiteY38" fmla="*/ 2825921 h 2956895"/>
                <a:gd name="connsiteX39" fmla="*/ 11836958 w 11867103"/>
                <a:gd name="connsiteY39" fmla="*/ 2856066 h 2956895"/>
                <a:gd name="connsiteX40" fmla="*/ 11033090 w 11867103"/>
                <a:gd name="connsiteY40" fmla="*/ 2846018 h 2956895"/>
                <a:gd name="connsiteX41" fmla="*/ 10621108 w 11867103"/>
                <a:gd name="connsiteY41" fmla="*/ 2835970 h 2956895"/>
                <a:gd name="connsiteX42" fmla="*/ 10128739 w 11867103"/>
                <a:gd name="connsiteY42" fmla="*/ 2846018 h 2956895"/>
                <a:gd name="connsiteX43" fmla="*/ 10048352 w 11867103"/>
                <a:gd name="connsiteY43" fmla="*/ 2856066 h 2956895"/>
                <a:gd name="connsiteX44" fmla="*/ 9555982 w 11867103"/>
                <a:gd name="connsiteY44" fmla="*/ 2846018 h 2956895"/>
                <a:gd name="connsiteX45" fmla="*/ 9445451 w 11867103"/>
                <a:gd name="connsiteY45" fmla="*/ 2835970 h 2956895"/>
                <a:gd name="connsiteX46" fmla="*/ 9415306 w 11867103"/>
                <a:gd name="connsiteY46" fmla="*/ 2815873 h 2956895"/>
                <a:gd name="connsiteX47" fmla="*/ 9204290 w 11867103"/>
                <a:gd name="connsiteY47" fmla="*/ 2795776 h 2956895"/>
                <a:gd name="connsiteX48" fmla="*/ 9073662 w 11867103"/>
                <a:gd name="connsiteY48" fmla="*/ 2775679 h 2956895"/>
                <a:gd name="connsiteX49" fmla="*/ 8812404 w 11867103"/>
                <a:gd name="connsiteY49" fmla="*/ 2765631 h 2956895"/>
                <a:gd name="connsiteX50" fmla="*/ 8400422 w 11867103"/>
                <a:gd name="connsiteY50" fmla="*/ 2755583 h 2956895"/>
                <a:gd name="connsiteX51" fmla="*/ 8269793 w 11867103"/>
                <a:gd name="connsiteY51" fmla="*/ 2745534 h 2956895"/>
                <a:gd name="connsiteX52" fmla="*/ 7797521 w 11867103"/>
                <a:gd name="connsiteY52" fmla="*/ 2765631 h 2956895"/>
                <a:gd name="connsiteX53" fmla="*/ 7717134 w 11867103"/>
                <a:gd name="connsiteY53" fmla="*/ 2775679 h 2956895"/>
                <a:gd name="connsiteX54" fmla="*/ 7486022 w 11867103"/>
                <a:gd name="connsiteY54" fmla="*/ 2805825 h 2956895"/>
                <a:gd name="connsiteX55" fmla="*/ 7395587 w 11867103"/>
                <a:gd name="connsiteY55" fmla="*/ 2825921 h 2956895"/>
                <a:gd name="connsiteX56" fmla="*/ 7325248 w 11867103"/>
                <a:gd name="connsiteY56" fmla="*/ 2835970 h 2956895"/>
                <a:gd name="connsiteX57" fmla="*/ 6863024 w 11867103"/>
                <a:gd name="connsiteY57" fmla="*/ 2825921 h 2956895"/>
                <a:gd name="connsiteX58" fmla="*/ 6722347 w 11867103"/>
                <a:gd name="connsiteY58" fmla="*/ 2815873 h 2956895"/>
                <a:gd name="connsiteX59" fmla="*/ 4903596 w 11867103"/>
                <a:gd name="connsiteY59" fmla="*/ 2866115 h 2956895"/>
                <a:gd name="connsiteX60" fmla="*/ 4722725 w 11867103"/>
                <a:gd name="connsiteY60" fmla="*/ 2906308 h 2956895"/>
                <a:gd name="connsiteX61" fmla="*/ 4300695 w 11867103"/>
                <a:gd name="connsiteY61" fmla="*/ 2886211 h 2956895"/>
                <a:gd name="connsiteX62" fmla="*/ 4059534 w 11867103"/>
                <a:gd name="connsiteY62" fmla="*/ 2846018 h 2956895"/>
                <a:gd name="connsiteX63" fmla="*/ 3768132 w 11867103"/>
                <a:gd name="connsiteY63" fmla="*/ 2815873 h 2956895"/>
                <a:gd name="connsiteX64" fmla="*/ 3627455 w 11867103"/>
                <a:gd name="connsiteY64" fmla="*/ 2805825 h 2956895"/>
                <a:gd name="connsiteX65" fmla="*/ 3125037 w 11867103"/>
                <a:gd name="connsiteY65" fmla="*/ 2815873 h 2956895"/>
                <a:gd name="connsiteX66" fmla="*/ 3064747 w 11867103"/>
                <a:gd name="connsiteY66" fmla="*/ 2825921 h 2956895"/>
                <a:gd name="connsiteX67" fmla="*/ 2009670 w 11867103"/>
                <a:gd name="connsiteY67" fmla="*/ 2835970 h 2956895"/>
                <a:gd name="connsiteX68" fmla="*/ 1678075 w 11867103"/>
                <a:gd name="connsiteY68" fmla="*/ 2926405 h 2956895"/>
                <a:gd name="connsiteX69" fmla="*/ 1607736 w 11867103"/>
                <a:gd name="connsiteY69" fmla="*/ 2956550 h 2956895"/>
                <a:gd name="connsiteX70" fmla="*/ 1135464 w 11867103"/>
                <a:gd name="connsiteY70" fmla="*/ 2936453 h 2956895"/>
                <a:gd name="connsiteX71" fmla="*/ 944545 w 11867103"/>
                <a:gd name="connsiteY71" fmla="*/ 2906308 h 2956895"/>
                <a:gd name="connsiteX72" fmla="*/ 723481 w 11867103"/>
                <a:gd name="connsiteY72" fmla="*/ 2866115 h 2956895"/>
                <a:gd name="connsiteX73" fmla="*/ 643095 w 11867103"/>
                <a:gd name="connsiteY73" fmla="*/ 2856066 h 2956895"/>
                <a:gd name="connsiteX74" fmla="*/ 371789 w 11867103"/>
                <a:gd name="connsiteY74" fmla="*/ 2815873 h 2956895"/>
                <a:gd name="connsiteX75" fmla="*/ 0 w 11867103"/>
                <a:gd name="connsiteY75" fmla="*/ 2805825 h 2956895"/>
                <a:gd name="connsiteX0" fmla="*/ 120580 w 11867103"/>
                <a:gd name="connsiteY0" fmla="*/ 42790 h 2957157"/>
                <a:gd name="connsiteX1" fmla="*/ 281354 w 11867103"/>
                <a:gd name="connsiteY1" fmla="*/ 32741 h 2957157"/>
                <a:gd name="connsiteX2" fmla="*/ 673240 w 11867103"/>
                <a:gd name="connsiteY2" fmla="*/ 22693 h 2957157"/>
                <a:gd name="connsiteX3" fmla="*/ 1356528 w 11867103"/>
                <a:gd name="connsiteY3" fmla="*/ 72935 h 2957157"/>
                <a:gd name="connsiteX4" fmla="*/ 1758462 w 11867103"/>
                <a:gd name="connsiteY4" fmla="*/ 32741 h 2957157"/>
                <a:gd name="connsiteX5" fmla="*/ 2140299 w 11867103"/>
                <a:gd name="connsiteY5" fmla="*/ 32741 h 2957157"/>
                <a:gd name="connsiteX6" fmla="*/ 4652387 w 11867103"/>
                <a:gd name="connsiteY6" fmla="*/ 52838 h 2957157"/>
                <a:gd name="connsiteX7" fmla="*/ 4692580 w 11867103"/>
                <a:gd name="connsiteY7" fmla="*/ 62887 h 2957157"/>
                <a:gd name="connsiteX8" fmla="*/ 6420897 w 11867103"/>
                <a:gd name="connsiteY8" fmla="*/ 82983 h 2957157"/>
                <a:gd name="connsiteX9" fmla="*/ 7204668 w 11867103"/>
                <a:gd name="connsiteY9" fmla="*/ 2596 h 2957157"/>
                <a:gd name="connsiteX10" fmla="*/ 7285055 w 11867103"/>
                <a:gd name="connsiteY10" fmla="*/ 22693 h 2957157"/>
                <a:gd name="connsiteX11" fmla="*/ 7928150 w 11867103"/>
                <a:gd name="connsiteY11" fmla="*/ 52838 h 2957157"/>
                <a:gd name="connsiteX12" fmla="*/ 8109020 w 11867103"/>
                <a:gd name="connsiteY12" fmla="*/ 72935 h 2957157"/>
                <a:gd name="connsiteX13" fmla="*/ 8219552 w 11867103"/>
                <a:gd name="connsiteY13" fmla="*/ 82983 h 2957157"/>
                <a:gd name="connsiteX14" fmla="*/ 8299939 w 11867103"/>
                <a:gd name="connsiteY14" fmla="*/ 93032 h 2957157"/>
                <a:gd name="connsiteX15" fmla="*/ 8521002 w 11867103"/>
                <a:gd name="connsiteY15" fmla="*/ 103080 h 2957157"/>
                <a:gd name="connsiteX16" fmla="*/ 9515789 w 11867103"/>
                <a:gd name="connsiteY16" fmla="*/ 93032 h 2957157"/>
                <a:gd name="connsiteX17" fmla="*/ 9606224 w 11867103"/>
                <a:gd name="connsiteY17" fmla="*/ 82983 h 2957157"/>
                <a:gd name="connsiteX18" fmla="*/ 9716756 w 11867103"/>
                <a:gd name="connsiteY18" fmla="*/ 72935 h 2957157"/>
                <a:gd name="connsiteX19" fmla="*/ 9797143 w 11867103"/>
                <a:gd name="connsiteY19" fmla="*/ 62887 h 2957157"/>
                <a:gd name="connsiteX20" fmla="*/ 9947868 w 11867103"/>
                <a:gd name="connsiteY20" fmla="*/ 52838 h 2957157"/>
                <a:gd name="connsiteX21" fmla="*/ 10791930 w 11867103"/>
                <a:gd name="connsiteY21" fmla="*/ 22693 h 2957157"/>
                <a:gd name="connsiteX22" fmla="*/ 11736475 w 11867103"/>
                <a:gd name="connsiteY22" fmla="*/ 42790 h 2957157"/>
                <a:gd name="connsiteX23" fmla="*/ 11766620 w 11867103"/>
                <a:gd name="connsiteY23" fmla="*/ 72935 h 2957157"/>
                <a:gd name="connsiteX24" fmla="*/ 11786717 w 11867103"/>
                <a:gd name="connsiteY24" fmla="*/ 113128 h 2957157"/>
                <a:gd name="connsiteX25" fmla="*/ 11806813 w 11867103"/>
                <a:gd name="connsiteY25" fmla="*/ 203563 h 2957157"/>
                <a:gd name="connsiteX26" fmla="*/ 11816862 w 11867103"/>
                <a:gd name="connsiteY26" fmla="*/ 243757 h 2957157"/>
                <a:gd name="connsiteX27" fmla="*/ 11826910 w 11867103"/>
                <a:gd name="connsiteY27" fmla="*/ 334192 h 2957157"/>
                <a:gd name="connsiteX28" fmla="*/ 11836958 w 11867103"/>
                <a:gd name="connsiteY28" fmla="*/ 414579 h 2957157"/>
                <a:gd name="connsiteX29" fmla="*/ 11826910 w 11867103"/>
                <a:gd name="connsiteY29" fmla="*/ 726078 h 2957157"/>
                <a:gd name="connsiteX30" fmla="*/ 11816862 w 11867103"/>
                <a:gd name="connsiteY30" fmla="*/ 786368 h 2957157"/>
                <a:gd name="connsiteX31" fmla="*/ 11806813 w 11867103"/>
                <a:gd name="connsiteY31" fmla="*/ 856706 h 2957157"/>
                <a:gd name="connsiteX32" fmla="*/ 11816862 w 11867103"/>
                <a:gd name="connsiteY32" fmla="*/ 2323766 h 2957157"/>
                <a:gd name="connsiteX33" fmla="*/ 11826910 w 11867103"/>
                <a:gd name="connsiteY33" fmla="*/ 2394104 h 2957157"/>
                <a:gd name="connsiteX34" fmla="*/ 11836958 w 11867103"/>
                <a:gd name="connsiteY34" fmla="*/ 2424249 h 2957157"/>
                <a:gd name="connsiteX35" fmla="*/ 11857055 w 11867103"/>
                <a:gd name="connsiteY35" fmla="*/ 2554878 h 2957157"/>
                <a:gd name="connsiteX36" fmla="*/ 11867103 w 11867103"/>
                <a:gd name="connsiteY36" fmla="*/ 2595071 h 2957157"/>
                <a:gd name="connsiteX37" fmla="*/ 11857055 w 11867103"/>
                <a:gd name="connsiteY37" fmla="*/ 2826183 h 2957157"/>
                <a:gd name="connsiteX38" fmla="*/ 11836958 w 11867103"/>
                <a:gd name="connsiteY38" fmla="*/ 2856328 h 2957157"/>
                <a:gd name="connsiteX39" fmla="*/ 11033090 w 11867103"/>
                <a:gd name="connsiteY39" fmla="*/ 2846280 h 2957157"/>
                <a:gd name="connsiteX40" fmla="*/ 10621108 w 11867103"/>
                <a:gd name="connsiteY40" fmla="*/ 2836232 h 2957157"/>
                <a:gd name="connsiteX41" fmla="*/ 10128739 w 11867103"/>
                <a:gd name="connsiteY41" fmla="*/ 2846280 h 2957157"/>
                <a:gd name="connsiteX42" fmla="*/ 10048352 w 11867103"/>
                <a:gd name="connsiteY42" fmla="*/ 2856328 h 2957157"/>
                <a:gd name="connsiteX43" fmla="*/ 9555982 w 11867103"/>
                <a:gd name="connsiteY43" fmla="*/ 2846280 h 2957157"/>
                <a:gd name="connsiteX44" fmla="*/ 9445451 w 11867103"/>
                <a:gd name="connsiteY44" fmla="*/ 2836232 h 2957157"/>
                <a:gd name="connsiteX45" fmla="*/ 9415306 w 11867103"/>
                <a:gd name="connsiteY45" fmla="*/ 2816135 h 2957157"/>
                <a:gd name="connsiteX46" fmla="*/ 9204290 w 11867103"/>
                <a:gd name="connsiteY46" fmla="*/ 2796038 h 2957157"/>
                <a:gd name="connsiteX47" fmla="*/ 9073662 w 11867103"/>
                <a:gd name="connsiteY47" fmla="*/ 2775941 h 2957157"/>
                <a:gd name="connsiteX48" fmla="*/ 8812404 w 11867103"/>
                <a:gd name="connsiteY48" fmla="*/ 2765893 h 2957157"/>
                <a:gd name="connsiteX49" fmla="*/ 8400422 w 11867103"/>
                <a:gd name="connsiteY49" fmla="*/ 2755845 h 2957157"/>
                <a:gd name="connsiteX50" fmla="*/ 8269793 w 11867103"/>
                <a:gd name="connsiteY50" fmla="*/ 2745796 h 2957157"/>
                <a:gd name="connsiteX51" fmla="*/ 7797521 w 11867103"/>
                <a:gd name="connsiteY51" fmla="*/ 2765893 h 2957157"/>
                <a:gd name="connsiteX52" fmla="*/ 7717134 w 11867103"/>
                <a:gd name="connsiteY52" fmla="*/ 2775941 h 2957157"/>
                <a:gd name="connsiteX53" fmla="*/ 7486022 w 11867103"/>
                <a:gd name="connsiteY53" fmla="*/ 2806087 h 2957157"/>
                <a:gd name="connsiteX54" fmla="*/ 7395587 w 11867103"/>
                <a:gd name="connsiteY54" fmla="*/ 2826183 h 2957157"/>
                <a:gd name="connsiteX55" fmla="*/ 7325248 w 11867103"/>
                <a:gd name="connsiteY55" fmla="*/ 2836232 h 2957157"/>
                <a:gd name="connsiteX56" fmla="*/ 6863024 w 11867103"/>
                <a:gd name="connsiteY56" fmla="*/ 2826183 h 2957157"/>
                <a:gd name="connsiteX57" fmla="*/ 6722347 w 11867103"/>
                <a:gd name="connsiteY57" fmla="*/ 2816135 h 2957157"/>
                <a:gd name="connsiteX58" fmla="*/ 4903596 w 11867103"/>
                <a:gd name="connsiteY58" fmla="*/ 2866377 h 2957157"/>
                <a:gd name="connsiteX59" fmla="*/ 4722725 w 11867103"/>
                <a:gd name="connsiteY59" fmla="*/ 2906570 h 2957157"/>
                <a:gd name="connsiteX60" fmla="*/ 4300695 w 11867103"/>
                <a:gd name="connsiteY60" fmla="*/ 2886473 h 2957157"/>
                <a:gd name="connsiteX61" fmla="*/ 4059534 w 11867103"/>
                <a:gd name="connsiteY61" fmla="*/ 2846280 h 2957157"/>
                <a:gd name="connsiteX62" fmla="*/ 3768132 w 11867103"/>
                <a:gd name="connsiteY62" fmla="*/ 2816135 h 2957157"/>
                <a:gd name="connsiteX63" fmla="*/ 3627455 w 11867103"/>
                <a:gd name="connsiteY63" fmla="*/ 2806087 h 2957157"/>
                <a:gd name="connsiteX64" fmla="*/ 3125037 w 11867103"/>
                <a:gd name="connsiteY64" fmla="*/ 2816135 h 2957157"/>
                <a:gd name="connsiteX65" fmla="*/ 3064747 w 11867103"/>
                <a:gd name="connsiteY65" fmla="*/ 2826183 h 2957157"/>
                <a:gd name="connsiteX66" fmla="*/ 2009670 w 11867103"/>
                <a:gd name="connsiteY66" fmla="*/ 2836232 h 2957157"/>
                <a:gd name="connsiteX67" fmla="*/ 1678075 w 11867103"/>
                <a:gd name="connsiteY67" fmla="*/ 2926667 h 2957157"/>
                <a:gd name="connsiteX68" fmla="*/ 1607736 w 11867103"/>
                <a:gd name="connsiteY68" fmla="*/ 2956812 h 2957157"/>
                <a:gd name="connsiteX69" fmla="*/ 1135464 w 11867103"/>
                <a:gd name="connsiteY69" fmla="*/ 2936715 h 2957157"/>
                <a:gd name="connsiteX70" fmla="*/ 944545 w 11867103"/>
                <a:gd name="connsiteY70" fmla="*/ 2906570 h 2957157"/>
                <a:gd name="connsiteX71" fmla="*/ 723481 w 11867103"/>
                <a:gd name="connsiteY71" fmla="*/ 2866377 h 2957157"/>
                <a:gd name="connsiteX72" fmla="*/ 643095 w 11867103"/>
                <a:gd name="connsiteY72" fmla="*/ 2856328 h 2957157"/>
                <a:gd name="connsiteX73" fmla="*/ 371789 w 11867103"/>
                <a:gd name="connsiteY73" fmla="*/ 2816135 h 2957157"/>
                <a:gd name="connsiteX74" fmla="*/ 0 w 11867103"/>
                <a:gd name="connsiteY74" fmla="*/ 2806087 h 2957157"/>
                <a:gd name="connsiteX0" fmla="*/ 120580 w 11867103"/>
                <a:gd name="connsiteY0" fmla="*/ 40596 h 2954963"/>
                <a:gd name="connsiteX1" fmla="*/ 281354 w 11867103"/>
                <a:gd name="connsiteY1" fmla="*/ 30547 h 2954963"/>
                <a:gd name="connsiteX2" fmla="*/ 673240 w 11867103"/>
                <a:gd name="connsiteY2" fmla="*/ 20499 h 2954963"/>
                <a:gd name="connsiteX3" fmla="*/ 1356528 w 11867103"/>
                <a:gd name="connsiteY3" fmla="*/ 70741 h 2954963"/>
                <a:gd name="connsiteX4" fmla="*/ 1758462 w 11867103"/>
                <a:gd name="connsiteY4" fmla="*/ 30547 h 2954963"/>
                <a:gd name="connsiteX5" fmla="*/ 2140299 w 11867103"/>
                <a:gd name="connsiteY5" fmla="*/ 30547 h 2954963"/>
                <a:gd name="connsiteX6" fmla="*/ 4652387 w 11867103"/>
                <a:gd name="connsiteY6" fmla="*/ 50644 h 2954963"/>
                <a:gd name="connsiteX7" fmla="*/ 4692580 w 11867103"/>
                <a:gd name="connsiteY7" fmla="*/ 60693 h 2954963"/>
                <a:gd name="connsiteX8" fmla="*/ 6420897 w 11867103"/>
                <a:gd name="connsiteY8" fmla="*/ 80789 h 2954963"/>
                <a:gd name="connsiteX9" fmla="*/ 7204668 w 11867103"/>
                <a:gd name="connsiteY9" fmla="*/ 402 h 2954963"/>
                <a:gd name="connsiteX10" fmla="*/ 7928150 w 11867103"/>
                <a:gd name="connsiteY10" fmla="*/ 50644 h 2954963"/>
                <a:gd name="connsiteX11" fmla="*/ 8109020 w 11867103"/>
                <a:gd name="connsiteY11" fmla="*/ 70741 h 2954963"/>
                <a:gd name="connsiteX12" fmla="*/ 8219552 w 11867103"/>
                <a:gd name="connsiteY12" fmla="*/ 80789 h 2954963"/>
                <a:gd name="connsiteX13" fmla="*/ 8299939 w 11867103"/>
                <a:gd name="connsiteY13" fmla="*/ 90838 h 2954963"/>
                <a:gd name="connsiteX14" fmla="*/ 8521002 w 11867103"/>
                <a:gd name="connsiteY14" fmla="*/ 100886 h 2954963"/>
                <a:gd name="connsiteX15" fmla="*/ 9515789 w 11867103"/>
                <a:gd name="connsiteY15" fmla="*/ 90838 h 2954963"/>
                <a:gd name="connsiteX16" fmla="*/ 9606224 w 11867103"/>
                <a:gd name="connsiteY16" fmla="*/ 80789 h 2954963"/>
                <a:gd name="connsiteX17" fmla="*/ 9716756 w 11867103"/>
                <a:gd name="connsiteY17" fmla="*/ 70741 h 2954963"/>
                <a:gd name="connsiteX18" fmla="*/ 9797143 w 11867103"/>
                <a:gd name="connsiteY18" fmla="*/ 60693 h 2954963"/>
                <a:gd name="connsiteX19" fmla="*/ 9947868 w 11867103"/>
                <a:gd name="connsiteY19" fmla="*/ 50644 h 2954963"/>
                <a:gd name="connsiteX20" fmla="*/ 10791930 w 11867103"/>
                <a:gd name="connsiteY20" fmla="*/ 20499 h 2954963"/>
                <a:gd name="connsiteX21" fmla="*/ 11736475 w 11867103"/>
                <a:gd name="connsiteY21" fmla="*/ 40596 h 2954963"/>
                <a:gd name="connsiteX22" fmla="*/ 11766620 w 11867103"/>
                <a:gd name="connsiteY22" fmla="*/ 70741 h 2954963"/>
                <a:gd name="connsiteX23" fmla="*/ 11786717 w 11867103"/>
                <a:gd name="connsiteY23" fmla="*/ 110934 h 2954963"/>
                <a:gd name="connsiteX24" fmla="*/ 11806813 w 11867103"/>
                <a:gd name="connsiteY24" fmla="*/ 201369 h 2954963"/>
                <a:gd name="connsiteX25" fmla="*/ 11816862 w 11867103"/>
                <a:gd name="connsiteY25" fmla="*/ 241563 h 2954963"/>
                <a:gd name="connsiteX26" fmla="*/ 11826910 w 11867103"/>
                <a:gd name="connsiteY26" fmla="*/ 331998 h 2954963"/>
                <a:gd name="connsiteX27" fmla="*/ 11836958 w 11867103"/>
                <a:gd name="connsiteY27" fmla="*/ 412385 h 2954963"/>
                <a:gd name="connsiteX28" fmla="*/ 11826910 w 11867103"/>
                <a:gd name="connsiteY28" fmla="*/ 723884 h 2954963"/>
                <a:gd name="connsiteX29" fmla="*/ 11816862 w 11867103"/>
                <a:gd name="connsiteY29" fmla="*/ 784174 h 2954963"/>
                <a:gd name="connsiteX30" fmla="*/ 11806813 w 11867103"/>
                <a:gd name="connsiteY30" fmla="*/ 854512 h 2954963"/>
                <a:gd name="connsiteX31" fmla="*/ 11816862 w 11867103"/>
                <a:gd name="connsiteY31" fmla="*/ 2321572 h 2954963"/>
                <a:gd name="connsiteX32" fmla="*/ 11826910 w 11867103"/>
                <a:gd name="connsiteY32" fmla="*/ 2391910 h 2954963"/>
                <a:gd name="connsiteX33" fmla="*/ 11836958 w 11867103"/>
                <a:gd name="connsiteY33" fmla="*/ 2422055 h 2954963"/>
                <a:gd name="connsiteX34" fmla="*/ 11857055 w 11867103"/>
                <a:gd name="connsiteY34" fmla="*/ 2552684 h 2954963"/>
                <a:gd name="connsiteX35" fmla="*/ 11867103 w 11867103"/>
                <a:gd name="connsiteY35" fmla="*/ 2592877 h 2954963"/>
                <a:gd name="connsiteX36" fmla="*/ 11857055 w 11867103"/>
                <a:gd name="connsiteY36" fmla="*/ 2823989 h 2954963"/>
                <a:gd name="connsiteX37" fmla="*/ 11836958 w 11867103"/>
                <a:gd name="connsiteY37" fmla="*/ 2854134 h 2954963"/>
                <a:gd name="connsiteX38" fmla="*/ 11033090 w 11867103"/>
                <a:gd name="connsiteY38" fmla="*/ 2844086 h 2954963"/>
                <a:gd name="connsiteX39" fmla="*/ 10621108 w 11867103"/>
                <a:gd name="connsiteY39" fmla="*/ 2834038 h 2954963"/>
                <a:gd name="connsiteX40" fmla="*/ 10128739 w 11867103"/>
                <a:gd name="connsiteY40" fmla="*/ 2844086 h 2954963"/>
                <a:gd name="connsiteX41" fmla="*/ 10048352 w 11867103"/>
                <a:gd name="connsiteY41" fmla="*/ 2854134 h 2954963"/>
                <a:gd name="connsiteX42" fmla="*/ 9555982 w 11867103"/>
                <a:gd name="connsiteY42" fmla="*/ 2844086 h 2954963"/>
                <a:gd name="connsiteX43" fmla="*/ 9445451 w 11867103"/>
                <a:gd name="connsiteY43" fmla="*/ 2834038 h 2954963"/>
                <a:gd name="connsiteX44" fmla="*/ 9415306 w 11867103"/>
                <a:gd name="connsiteY44" fmla="*/ 2813941 h 2954963"/>
                <a:gd name="connsiteX45" fmla="*/ 9204290 w 11867103"/>
                <a:gd name="connsiteY45" fmla="*/ 2793844 h 2954963"/>
                <a:gd name="connsiteX46" fmla="*/ 9073662 w 11867103"/>
                <a:gd name="connsiteY46" fmla="*/ 2773747 h 2954963"/>
                <a:gd name="connsiteX47" fmla="*/ 8812404 w 11867103"/>
                <a:gd name="connsiteY47" fmla="*/ 2763699 h 2954963"/>
                <a:gd name="connsiteX48" fmla="*/ 8400422 w 11867103"/>
                <a:gd name="connsiteY48" fmla="*/ 2753651 h 2954963"/>
                <a:gd name="connsiteX49" fmla="*/ 8269793 w 11867103"/>
                <a:gd name="connsiteY49" fmla="*/ 2743602 h 2954963"/>
                <a:gd name="connsiteX50" fmla="*/ 7797521 w 11867103"/>
                <a:gd name="connsiteY50" fmla="*/ 2763699 h 2954963"/>
                <a:gd name="connsiteX51" fmla="*/ 7717134 w 11867103"/>
                <a:gd name="connsiteY51" fmla="*/ 2773747 h 2954963"/>
                <a:gd name="connsiteX52" fmla="*/ 7486022 w 11867103"/>
                <a:gd name="connsiteY52" fmla="*/ 2803893 h 2954963"/>
                <a:gd name="connsiteX53" fmla="*/ 7395587 w 11867103"/>
                <a:gd name="connsiteY53" fmla="*/ 2823989 h 2954963"/>
                <a:gd name="connsiteX54" fmla="*/ 7325248 w 11867103"/>
                <a:gd name="connsiteY54" fmla="*/ 2834038 h 2954963"/>
                <a:gd name="connsiteX55" fmla="*/ 6863024 w 11867103"/>
                <a:gd name="connsiteY55" fmla="*/ 2823989 h 2954963"/>
                <a:gd name="connsiteX56" fmla="*/ 6722347 w 11867103"/>
                <a:gd name="connsiteY56" fmla="*/ 2813941 h 2954963"/>
                <a:gd name="connsiteX57" fmla="*/ 4903596 w 11867103"/>
                <a:gd name="connsiteY57" fmla="*/ 2864183 h 2954963"/>
                <a:gd name="connsiteX58" fmla="*/ 4722725 w 11867103"/>
                <a:gd name="connsiteY58" fmla="*/ 2904376 h 2954963"/>
                <a:gd name="connsiteX59" fmla="*/ 4300695 w 11867103"/>
                <a:gd name="connsiteY59" fmla="*/ 2884279 h 2954963"/>
                <a:gd name="connsiteX60" fmla="*/ 4059534 w 11867103"/>
                <a:gd name="connsiteY60" fmla="*/ 2844086 h 2954963"/>
                <a:gd name="connsiteX61" fmla="*/ 3768132 w 11867103"/>
                <a:gd name="connsiteY61" fmla="*/ 2813941 h 2954963"/>
                <a:gd name="connsiteX62" fmla="*/ 3627455 w 11867103"/>
                <a:gd name="connsiteY62" fmla="*/ 2803893 h 2954963"/>
                <a:gd name="connsiteX63" fmla="*/ 3125037 w 11867103"/>
                <a:gd name="connsiteY63" fmla="*/ 2813941 h 2954963"/>
                <a:gd name="connsiteX64" fmla="*/ 3064747 w 11867103"/>
                <a:gd name="connsiteY64" fmla="*/ 2823989 h 2954963"/>
                <a:gd name="connsiteX65" fmla="*/ 2009670 w 11867103"/>
                <a:gd name="connsiteY65" fmla="*/ 2834038 h 2954963"/>
                <a:gd name="connsiteX66" fmla="*/ 1678075 w 11867103"/>
                <a:gd name="connsiteY66" fmla="*/ 2924473 h 2954963"/>
                <a:gd name="connsiteX67" fmla="*/ 1607736 w 11867103"/>
                <a:gd name="connsiteY67" fmla="*/ 2954618 h 2954963"/>
                <a:gd name="connsiteX68" fmla="*/ 1135464 w 11867103"/>
                <a:gd name="connsiteY68" fmla="*/ 2934521 h 2954963"/>
                <a:gd name="connsiteX69" fmla="*/ 944545 w 11867103"/>
                <a:gd name="connsiteY69" fmla="*/ 2904376 h 2954963"/>
                <a:gd name="connsiteX70" fmla="*/ 723481 w 11867103"/>
                <a:gd name="connsiteY70" fmla="*/ 2864183 h 2954963"/>
                <a:gd name="connsiteX71" fmla="*/ 643095 w 11867103"/>
                <a:gd name="connsiteY71" fmla="*/ 2854134 h 2954963"/>
                <a:gd name="connsiteX72" fmla="*/ 371789 w 11867103"/>
                <a:gd name="connsiteY72" fmla="*/ 2813941 h 2954963"/>
                <a:gd name="connsiteX73" fmla="*/ 0 w 11867103"/>
                <a:gd name="connsiteY73" fmla="*/ 2803893 h 2954963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109020 w 11867103"/>
                <a:gd name="connsiteY11" fmla="*/ 52092 h 2936314"/>
                <a:gd name="connsiteX12" fmla="*/ 8219552 w 11867103"/>
                <a:gd name="connsiteY12" fmla="*/ 62140 h 2936314"/>
                <a:gd name="connsiteX13" fmla="*/ 8299939 w 11867103"/>
                <a:gd name="connsiteY13" fmla="*/ 72189 h 2936314"/>
                <a:gd name="connsiteX14" fmla="*/ 8521002 w 11867103"/>
                <a:gd name="connsiteY14" fmla="*/ 82237 h 2936314"/>
                <a:gd name="connsiteX15" fmla="*/ 9515789 w 11867103"/>
                <a:gd name="connsiteY15" fmla="*/ 72189 h 2936314"/>
                <a:gd name="connsiteX16" fmla="*/ 9606224 w 11867103"/>
                <a:gd name="connsiteY16" fmla="*/ 62140 h 2936314"/>
                <a:gd name="connsiteX17" fmla="*/ 9716756 w 11867103"/>
                <a:gd name="connsiteY17" fmla="*/ 52092 h 2936314"/>
                <a:gd name="connsiteX18" fmla="*/ 9797143 w 11867103"/>
                <a:gd name="connsiteY18" fmla="*/ 42044 h 2936314"/>
                <a:gd name="connsiteX19" fmla="*/ 9947868 w 11867103"/>
                <a:gd name="connsiteY19" fmla="*/ 31995 h 2936314"/>
                <a:gd name="connsiteX20" fmla="*/ 10791930 w 11867103"/>
                <a:gd name="connsiteY20" fmla="*/ 1850 h 2936314"/>
                <a:gd name="connsiteX21" fmla="*/ 11736475 w 11867103"/>
                <a:gd name="connsiteY21" fmla="*/ 21947 h 2936314"/>
                <a:gd name="connsiteX22" fmla="*/ 11766620 w 11867103"/>
                <a:gd name="connsiteY22" fmla="*/ 52092 h 2936314"/>
                <a:gd name="connsiteX23" fmla="*/ 11786717 w 11867103"/>
                <a:gd name="connsiteY23" fmla="*/ 92285 h 2936314"/>
                <a:gd name="connsiteX24" fmla="*/ 11806813 w 11867103"/>
                <a:gd name="connsiteY24" fmla="*/ 182720 h 2936314"/>
                <a:gd name="connsiteX25" fmla="*/ 11816862 w 11867103"/>
                <a:gd name="connsiteY25" fmla="*/ 222914 h 2936314"/>
                <a:gd name="connsiteX26" fmla="*/ 11826910 w 11867103"/>
                <a:gd name="connsiteY26" fmla="*/ 313349 h 2936314"/>
                <a:gd name="connsiteX27" fmla="*/ 11836958 w 11867103"/>
                <a:gd name="connsiteY27" fmla="*/ 393736 h 2936314"/>
                <a:gd name="connsiteX28" fmla="*/ 11826910 w 11867103"/>
                <a:gd name="connsiteY28" fmla="*/ 705235 h 2936314"/>
                <a:gd name="connsiteX29" fmla="*/ 11816862 w 11867103"/>
                <a:gd name="connsiteY29" fmla="*/ 765525 h 2936314"/>
                <a:gd name="connsiteX30" fmla="*/ 11806813 w 11867103"/>
                <a:gd name="connsiteY30" fmla="*/ 835863 h 2936314"/>
                <a:gd name="connsiteX31" fmla="*/ 11816862 w 11867103"/>
                <a:gd name="connsiteY31" fmla="*/ 2302923 h 2936314"/>
                <a:gd name="connsiteX32" fmla="*/ 11826910 w 11867103"/>
                <a:gd name="connsiteY32" fmla="*/ 2373261 h 2936314"/>
                <a:gd name="connsiteX33" fmla="*/ 11836958 w 11867103"/>
                <a:gd name="connsiteY33" fmla="*/ 2403406 h 2936314"/>
                <a:gd name="connsiteX34" fmla="*/ 11857055 w 11867103"/>
                <a:gd name="connsiteY34" fmla="*/ 2534035 h 2936314"/>
                <a:gd name="connsiteX35" fmla="*/ 11867103 w 11867103"/>
                <a:gd name="connsiteY35" fmla="*/ 2574228 h 2936314"/>
                <a:gd name="connsiteX36" fmla="*/ 11857055 w 11867103"/>
                <a:gd name="connsiteY36" fmla="*/ 2805340 h 2936314"/>
                <a:gd name="connsiteX37" fmla="*/ 11836958 w 11867103"/>
                <a:gd name="connsiteY37" fmla="*/ 2835485 h 2936314"/>
                <a:gd name="connsiteX38" fmla="*/ 11033090 w 11867103"/>
                <a:gd name="connsiteY38" fmla="*/ 2825437 h 2936314"/>
                <a:gd name="connsiteX39" fmla="*/ 10621108 w 11867103"/>
                <a:gd name="connsiteY39" fmla="*/ 2815389 h 2936314"/>
                <a:gd name="connsiteX40" fmla="*/ 10128739 w 11867103"/>
                <a:gd name="connsiteY40" fmla="*/ 2825437 h 2936314"/>
                <a:gd name="connsiteX41" fmla="*/ 10048352 w 11867103"/>
                <a:gd name="connsiteY41" fmla="*/ 2835485 h 2936314"/>
                <a:gd name="connsiteX42" fmla="*/ 9555982 w 11867103"/>
                <a:gd name="connsiteY42" fmla="*/ 2825437 h 2936314"/>
                <a:gd name="connsiteX43" fmla="*/ 9445451 w 11867103"/>
                <a:gd name="connsiteY43" fmla="*/ 2815389 h 2936314"/>
                <a:gd name="connsiteX44" fmla="*/ 9415306 w 11867103"/>
                <a:gd name="connsiteY44" fmla="*/ 2795292 h 2936314"/>
                <a:gd name="connsiteX45" fmla="*/ 9204290 w 11867103"/>
                <a:gd name="connsiteY45" fmla="*/ 2775195 h 2936314"/>
                <a:gd name="connsiteX46" fmla="*/ 9073662 w 11867103"/>
                <a:gd name="connsiteY46" fmla="*/ 2755098 h 2936314"/>
                <a:gd name="connsiteX47" fmla="*/ 8812404 w 11867103"/>
                <a:gd name="connsiteY47" fmla="*/ 2745050 h 2936314"/>
                <a:gd name="connsiteX48" fmla="*/ 8400422 w 11867103"/>
                <a:gd name="connsiteY48" fmla="*/ 2735002 h 2936314"/>
                <a:gd name="connsiteX49" fmla="*/ 8269793 w 11867103"/>
                <a:gd name="connsiteY49" fmla="*/ 2724953 h 2936314"/>
                <a:gd name="connsiteX50" fmla="*/ 7797521 w 11867103"/>
                <a:gd name="connsiteY50" fmla="*/ 2745050 h 2936314"/>
                <a:gd name="connsiteX51" fmla="*/ 7717134 w 11867103"/>
                <a:gd name="connsiteY51" fmla="*/ 2755098 h 2936314"/>
                <a:gd name="connsiteX52" fmla="*/ 7486022 w 11867103"/>
                <a:gd name="connsiteY52" fmla="*/ 2785244 h 2936314"/>
                <a:gd name="connsiteX53" fmla="*/ 7395587 w 11867103"/>
                <a:gd name="connsiteY53" fmla="*/ 2805340 h 2936314"/>
                <a:gd name="connsiteX54" fmla="*/ 7325248 w 11867103"/>
                <a:gd name="connsiteY54" fmla="*/ 2815389 h 2936314"/>
                <a:gd name="connsiteX55" fmla="*/ 6863024 w 11867103"/>
                <a:gd name="connsiteY55" fmla="*/ 2805340 h 2936314"/>
                <a:gd name="connsiteX56" fmla="*/ 6722347 w 11867103"/>
                <a:gd name="connsiteY56" fmla="*/ 2795292 h 2936314"/>
                <a:gd name="connsiteX57" fmla="*/ 4903596 w 11867103"/>
                <a:gd name="connsiteY57" fmla="*/ 2845534 h 2936314"/>
                <a:gd name="connsiteX58" fmla="*/ 4722725 w 11867103"/>
                <a:gd name="connsiteY58" fmla="*/ 2885727 h 2936314"/>
                <a:gd name="connsiteX59" fmla="*/ 4300695 w 11867103"/>
                <a:gd name="connsiteY59" fmla="*/ 2865630 h 2936314"/>
                <a:gd name="connsiteX60" fmla="*/ 4059534 w 11867103"/>
                <a:gd name="connsiteY60" fmla="*/ 2825437 h 2936314"/>
                <a:gd name="connsiteX61" fmla="*/ 3768132 w 11867103"/>
                <a:gd name="connsiteY61" fmla="*/ 2795292 h 2936314"/>
                <a:gd name="connsiteX62" fmla="*/ 3627455 w 11867103"/>
                <a:gd name="connsiteY62" fmla="*/ 2785244 h 2936314"/>
                <a:gd name="connsiteX63" fmla="*/ 3125037 w 11867103"/>
                <a:gd name="connsiteY63" fmla="*/ 2795292 h 2936314"/>
                <a:gd name="connsiteX64" fmla="*/ 3064747 w 11867103"/>
                <a:gd name="connsiteY64" fmla="*/ 2805340 h 2936314"/>
                <a:gd name="connsiteX65" fmla="*/ 2009670 w 11867103"/>
                <a:gd name="connsiteY65" fmla="*/ 2815389 h 2936314"/>
                <a:gd name="connsiteX66" fmla="*/ 1678075 w 11867103"/>
                <a:gd name="connsiteY66" fmla="*/ 2905824 h 2936314"/>
                <a:gd name="connsiteX67" fmla="*/ 1607736 w 11867103"/>
                <a:gd name="connsiteY67" fmla="*/ 2935969 h 2936314"/>
                <a:gd name="connsiteX68" fmla="*/ 1135464 w 11867103"/>
                <a:gd name="connsiteY68" fmla="*/ 2915872 h 2936314"/>
                <a:gd name="connsiteX69" fmla="*/ 944545 w 11867103"/>
                <a:gd name="connsiteY69" fmla="*/ 2885727 h 2936314"/>
                <a:gd name="connsiteX70" fmla="*/ 723481 w 11867103"/>
                <a:gd name="connsiteY70" fmla="*/ 2845534 h 2936314"/>
                <a:gd name="connsiteX71" fmla="*/ 643095 w 11867103"/>
                <a:gd name="connsiteY71" fmla="*/ 2835485 h 2936314"/>
                <a:gd name="connsiteX72" fmla="*/ 371789 w 11867103"/>
                <a:gd name="connsiteY72" fmla="*/ 2795292 h 2936314"/>
                <a:gd name="connsiteX73" fmla="*/ 0 w 11867103"/>
                <a:gd name="connsiteY73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8299939 w 11867103"/>
                <a:gd name="connsiteY12" fmla="*/ 72189 h 2936314"/>
                <a:gd name="connsiteX13" fmla="*/ 8521002 w 11867103"/>
                <a:gd name="connsiteY13" fmla="*/ 82237 h 2936314"/>
                <a:gd name="connsiteX14" fmla="*/ 9515789 w 11867103"/>
                <a:gd name="connsiteY14" fmla="*/ 72189 h 2936314"/>
                <a:gd name="connsiteX15" fmla="*/ 9606224 w 11867103"/>
                <a:gd name="connsiteY15" fmla="*/ 62140 h 2936314"/>
                <a:gd name="connsiteX16" fmla="*/ 9716756 w 11867103"/>
                <a:gd name="connsiteY16" fmla="*/ 52092 h 2936314"/>
                <a:gd name="connsiteX17" fmla="*/ 9797143 w 11867103"/>
                <a:gd name="connsiteY17" fmla="*/ 42044 h 2936314"/>
                <a:gd name="connsiteX18" fmla="*/ 9947868 w 11867103"/>
                <a:gd name="connsiteY18" fmla="*/ 31995 h 2936314"/>
                <a:gd name="connsiteX19" fmla="*/ 10791930 w 11867103"/>
                <a:gd name="connsiteY19" fmla="*/ 1850 h 2936314"/>
                <a:gd name="connsiteX20" fmla="*/ 11736475 w 11867103"/>
                <a:gd name="connsiteY20" fmla="*/ 21947 h 2936314"/>
                <a:gd name="connsiteX21" fmla="*/ 11766620 w 11867103"/>
                <a:gd name="connsiteY21" fmla="*/ 52092 h 2936314"/>
                <a:gd name="connsiteX22" fmla="*/ 11786717 w 11867103"/>
                <a:gd name="connsiteY22" fmla="*/ 92285 h 2936314"/>
                <a:gd name="connsiteX23" fmla="*/ 11806813 w 11867103"/>
                <a:gd name="connsiteY23" fmla="*/ 182720 h 2936314"/>
                <a:gd name="connsiteX24" fmla="*/ 11816862 w 11867103"/>
                <a:gd name="connsiteY24" fmla="*/ 222914 h 2936314"/>
                <a:gd name="connsiteX25" fmla="*/ 11826910 w 11867103"/>
                <a:gd name="connsiteY25" fmla="*/ 313349 h 2936314"/>
                <a:gd name="connsiteX26" fmla="*/ 11836958 w 11867103"/>
                <a:gd name="connsiteY26" fmla="*/ 393736 h 2936314"/>
                <a:gd name="connsiteX27" fmla="*/ 11826910 w 11867103"/>
                <a:gd name="connsiteY27" fmla="*/ 705235 h 2936314"/>
                <a:gd name="connsiteX28" fmla="*/ 11816862 w 11867103"/>
                <a:gd name="connsiteY28" fmla="*/ 765525 h 2936314"/>
                <a:gd name="connsiteX29" fmla="*/ 11806813 w 11867103"/>
                <a:gd name="connsiteY29" fmla="*/ 835863 h 2936314"/>
                <a:gd name="connsiteX30" fmla="*/ 11816862 w 11867103"/>
                <a:gd name="connsiteY30" fmla="*/ 2302923 h 2936314"/>
                <a:gd name="connsiteX31" fmla="*/ 11826910 w 11867103"/>
                <a:gd name="connsiteY31" fmla="*/ 2373261 h 2936314"/>
                <a:gd name="connsiteX32" fmla="*/ 11836958 w 11867103"/>
                <a:gd name="connsiteY32" fmla="*/ 2403406 h 2936314"/>
                <a:gd name="connsiteX33" fmla="*/ 11857055 w 11867103"/>
                <a:gd name="connsiteY33" fmla="*/ 2534035 h 2936314"/>
                <a:gd name="connsiteX34" fmla="*/ 11867103 w 11867103"/>
                <a:gd name="connsiteY34" fmla="*/ 2574228 h 2936314"/>
                <a:gd name="connsiteX35" fmla="*/ 11857055 w 11867103"/>
                <a:gd name="connsiteY35" fmla="*/ 2805340 h 2936314"/>
                <a:gd name="connsiteX36" fmla="*/ 11836958 w 11867103"/>
                <a:gd name="connsiteY36" fmla="*/ 2835485 h 2936314"/>
                <a:gd name="connsiteX37" fmla="*/ 11033090 w 11867103"/>
                <a:gd name="connsiteY37" fmla="*/ 2825437 h 2936314"/>
                <a:gd name="connsiteX38" fmla="*/ 10621108 w 11867103"/>
                <a:gd name="connsiteY38" fmla="*/ 2815389 h 2936314"/>
                <a:gd name="connsiteX39" fmla="*/ 10128739 w 11867103"/>
                <a:gd name="connsiteY39" fmla="*/ 2825437 h 2936314"/>
                <a:gd name="connsiteX40" fmla="*/ 10048352 w 11867103"/>
                <a:gd name="connsiteY40" fmla="*/ 2835485 h 2936314"/>
                <a:gd name="connsiteX41" fmla="*/ 9555982 w 11867103"/>
                <a:gd name="connsiteY41" fmla="*/ 2825437 h 2936314"/>
                <a:gd name="connsiteX42" fmla="*/ 9445451 w 11867103"/>
                <a:gd name="connsiteY42" fmla="*/ 2815389 h 2936314"/>
                <a:gd name="connsiteX43" fmla="*/ 9415306 w 11867103"/>
                <a:gd name="connsiteY43" fmla="*/ 2795292 h 2936314"/>
                <a:gd name="connsiteX44" fmla="*/ 9204290 w 11867103"/>
                <a:gd name="connsiteY44" fmla="*/ 2775195 h 2936314"/>
                <a:gd name="connsiteX45" fmla="*/ 9073662 w 11867103"/>
                <a:gd name="connsiteY45" fmla="*/ 2755098 h 2936314"/>
                <a:gd name="connsiteX46" fmla="*/ 8812404 w 11867103"/>
                <a:gd name="connsiteY46" fmla="*/ 2745050 h 2936314"/>
                <a:gd name="connsiteX47" fmla="*/ 8400422 w 11867103"/>
                <a:gd name="connsiteY47" fmla="*/ 2735002 h 2936314"/>
                <a:gd name="connsiteX48" fmla="*/ 8269793 w 11867103"/>
                <a:gd name="connsiteY48" fmla="*/ 2724953 h 2936314"/>
                <a:gd name="connsiteX49" fmla="*/ 7797521 w 11867103"/>
                <a:gd name="connsiteY49" fmla="*/ 2745050 h 2936314"/>
                <a:gd name="connsiteX50" fmla="*/ 7717134 w 11867103"/>
                <a:gd name="connsiteY50" fmla="*/ 2755098 h 2936314"/>
                <a:gd name="connsiteX51" fmla="*/ 7486022 w 11867103"/>
                <a:gd name="connsiteY51" fmla="*/ 2785244 h 2936314"/>
                <a:gd name="connsiteX52" fmla="*/ 7395587 w 11867103"/>
                <a:gd name="connsiteY52" fmla="*/ 2805340 h 2936314"/>
                <a:gd name="connsiteX53" fmla="*/ 7325248 w 11867103"/>
                <a:gd name="connsiteY53" fmla="*/ 2815389 h 2936314"/>
                <a:gd name="connsiteX54" fmla="*/ 6863024 w 11867103"/>
                <a:gd name="connsiteY54" fmla="*/ 2805340 h 2936314"/>
                <a:gd name="connsiteX55" fmla="*/ 6722347 w 11867103"/>
                <a:gd name="connsiteY55" fmla="*/ 2795292 h 2936314"/>
                <a:gd name="connsiteX56" fmla="*/ 4903596 w 11867103"/>
                <a:gd name="connsiteY56" fmla="*/ 2845534 h 2936314"/>
                <a:gd name="connsiteX57" fmla="*/ 4722725 w 11867103"/>
                <a:gd name="connsiteY57" fmla="*/ 2885727 h 2936314"/>
                <a:gd name="connsiteX58" fmla="*/ 4300695 w 11867103"/>
                <a:gd name="connsiteY58" fmla="*/ 2865630 h 2936314"/>
                <a:gd name="connsiteX59" fmla="*/ 4059534 w 11867103"/>
                <a:gd name="connsiteY59" fmla="*/ 2825437 h 2936314"/>
                <a:gd name="connsiteX60" fmla="*/ 3768132 w 11867103"/>
                <a:gd name="connsiteY60" fmla="*/ 2795292 h 2936314"/>
                <a:gd name="connsiteX61" fmla="*/ 3627455 w 11867103"/>
                <a:gd name="connsiteY61" fmla="*/ 2785244 h 2936314"/>
                <a:gd name="connsiteX62" fmla="*/ 3125037 w 11867103"/>
                <a:gd name="connsiteY62" fmla="*/ 2795292 h 2936314"/>
                <a:gd name="connsiteX63" fmla="*/ 3064747 w 11867103"/>
                <a:gd name="connsiteY63" fmla="*/ 2805340 h 2936314"/>
                <a:gd name="connsiteX64" fmla="*/ 2009670 w 11867103"/>
                <a:gd name="connsiteY64" fmla="*/ 2815389 h 2936314"/>
                <a:gd name="connsiteX65" fmla="*/ 1678075 w 11867103"/>
                <a:gd name="connsiteY65" fmla="*/ 2905824 h 2936314"/>
                <a:gd name="connsiteX66" fmla="*/ 1607736 w 11867103"/>
                <a:gd name="connsiteY66" fmla="*/ 2935969 h 2936314"/>
                <a:gd name="connsiteX67" fmla="*/ 1135464 w 11867103"/>
                <a:gd name="connsiteY67" fmla="*/ 2915872 h 2936314"/>
                <a:gd name="connsiteX68" fmla="*/ 944545 w 11867103"/>
                <a:gd name="connsiteY68" fmla="*/ 2885727 h 2936314"/>
                <a:gd name="connsiteX69" fmla="*/ 723481 w 11867103"/>
                <a:gd name="connsiteY69" fmla="*/ 2845534 h 2936314"/>
                <a:gd name="connsiteX70" fmla="*/ 643095 w 11867103"/>
                <a:gd name="connsiteY70" fmla="*/ 2835485 h 2936314"/>
                <a:gd name="connsiteX71" fmla="*/ 371789 w 11867103"/>
                <a:gd name="connsiteY71" fmla="*/ 2795292 h 2936314"/>
                <a:gd name="connsiteX72" fmla="*/ 0 w 11867103"/>
                <a:gd name="connsiteY72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8521002 w 11867103"/>
                <a:gd name="connsiteY12" fmla="*/ 82237 h 2936314"/>
                <a:gd name="connsiteX13" fmla="*/ 9515789 w 11867103"/>
                <a:gd name="connsiteY13" fmla="*/ 72189 h 2936314"/>
                <a:gd name="connsiteX14" fmla="*/ 9606224 w 11867103"/>
                <a:gd name="connsiteY14" fmla="*/ 62140 h 2936314"/>
                <a:gd name="connsiteX15" fmla="*/ 9716756 w 11867103"/>
                <a:gd name="connsiteY15" fmla="*/ 52092 h 2936314"/>
                <a:gd name="connsiteX16" fmla="*/ 9797143 w 11867103"/>
                <a:gd name="connsiteY16" fmla="*/ 42044 h 2936314"/>
                <a:gd name="connsiteX17" fmla="*/ 9947868 w 11867103"/>
                <a:gd name="connsiteY17" fmla="*/ 31995 h 2936314"/>
                <a:gd name="connsiteX18" fmla="*/ 10791930 w 11867103"/>
                <a:gd name="connsiteY18" fmla="*/ 1850 h 2936314"/>
                <a:gd name="connsiteX19" fmla="*/ 11736475 w 11867103"/>
                <a:gd name="connsiteY19" fmla="*/ 21947 h 2936314"/>
                <a:gd name="connsiteX20" fmla="*/ 11766620 w 11867103"/>
                <a:gd name="connsiteY20" fmla="*/ 52092 h 2936314"/>
                <a:gd name="connsiteX21" fmla="*/ 11786717 w 11867103"/>
                <a:gd name="connsiteY21" fmla="*/ 92285 h 2936314"/>
                <a:gd name="connsiteX22" fmla="*/ 11806813 w 11867103"/>
                <a:gd name="connsiteY22" fmla="*/ 182720 h 2936314"/>
                <a:gd name="connsiteX23" fmla="*/ 11816862 w 11867103"/>
                <a:gd name="connsiteY23" fmla="*/ 222914 h 2936314"/>
                <a:gd name="connsiteX24" fmla="*/ 11826910 w 11867103"/>
                <a:gd name="connsiteY24" fmla="*/ 313349 h 2936314"/>
                <a:gd name="connsiteX25" fmla="*/ 11836958 w 11867103"/>
                <a:gd name="connsiteY25" fmla="*/ 393736 h 2936314"/>
                <a:gd name="connsiteX26" fmla="*/ 11826910 w 11867103"/>
                <a:gd name="connsiteY26" fmla="*/ 705235 h 2936314"/>
                <a:gd name="connsiteX27" fmla="*/ 11816862 w 11867103"/>
                <a:gd name="connsiteY27" fmla="*/ 765525 h 2936314"/>
                <a:gd name="connsiteX28" fmla="*/ 11806813 w 11867103"/>
                <a:gd name="connsiteY28" fmla="*/ 835863 h 2936314"/>
                <a:gd name="connsiteX29" fmla="*/ 11816862 w 11867103"/>
                <a:gd name="connsiteY29" fmla="*/ 2302923 h 2936314"/>
                <a:gd name="connsiteX30" fmla="*/ 11826910 w 11867103"/>
                <a:gd name="connsiteY30" fmla="*/ 2373261 h 2936314"/>
                <a:gd name="connsiteX31" fmla="*/ 11836958 w 11867103"/>
                <a:gd name="connsiteY31" fmla="*/ 2403406 h 2936314"/>
                <a:gd name="connsiteX32" fmla="*/ 11857055 w 11867103"/>
                <a:gd name="connsiteY32" fmla="*/ 2534035 h 2936314"/>
                <a:gd name="connsiteX33" fmla="*/ 11867103 w 11867103"/>
                <a:gd name="connsiteY33" fmla="*/ 2574228 h 2936314"/>
                <a:gd name="connsiteX34" fmla="*/ 11857055 w 11867103"/>
                <a:gd name="connsiteY34" fmla="*/ 2805340 h 2936314"/>
                <a:gd name="connsiteX35" fmla="*/ 11836958 w 11867103"/>
                <a:gd name="connsiteY35" fmla="*/ 2835485 h 2936314"/>
                <a:gd name="connsiteX36" fmla="*/ 11033090 w 11867103"/>
                <a:gd name="connsiteY36" fmla="*/ 2825437 h 2936314"/>
                <a:gd name="connsiteX37" fmla="*/ 10621108 w 11867103"/>
                <a:gd name="connsiteY37" fmla="*/ 2815389 h 2936314"/>
                <a:gd name="connsiteX38" fmla="*/ 10128739 w 11867103"/>
                <a:gd name="connsiteY38" fmla="*/ 2825437 h 2936314"/>
                <a:gd name="connsiteX39" fmla="*/ 10048352 w 11867103"/>
                <a:gd name="connsiteY39" fmla="*/ 2835485 h 2936314"/>
                <a:gd name="connsiteX40" fmla="*/ 9555982 w 11867103"/>
                <a:gd name="connsiteY40" fmla="*/ 2825437 h 2936314"/>
                <a:gd name="connsiteX41" fmla="*/ 9445451 w 11867103"/>
                <a:gd name="connsiteY41" fmla="*/ 2815389 h 2936314"/>
                <a:gd name="connsiteX42" fmla="*/ 9415306 w 11867103"/>
                <a:gd name="connsiteY42" fmla="*/ 2795292 h 2936314"/>
                <a:gd name="connsiteX43" fmla="*/ 9204290 w 11867103"/>
                <a:gd name="connsiteY43" fmla="*/ 2775195 h 2936314"/>
                <a:gd name="connsiteX44" fmla="*/ 9073662 w 11867103"/>
                <a:gd name="connsiteY44" fmla="*/ 2755098 h 2936314"/>
                <a:gd name="connsiteX45" fmla="*/ 8812404 w 11867103"/>
                <a:gd name="connsiteY45" fmla="*/ 2745050 h 2936314"/>
                <a:gd name="connsiteX46" fmla="*/ 8400422 w 11867103"/>
                <a:gd name="connsiteY46" fmla="*/ 2735002 h 2936314"/>
                <a:gd name="connsiteX47" fmla="*/ 8269793 w 11867103"/>
                <a:gd name="connsiteY47" fmla="*/ 2724953 h 2936314"/>
                <a:gd name="connsiteX48" fmla="*/ 7797521 w 11867103"/>
                <a:gd name="connsiteY48" fmla="*/ 2745050 h 2936314"/>
                <a:gd name="connsiteX49" fmla="*/ 7717134 w 11867103"/>
                <a:gd name="connsiteY49" fmla="*/ 2755098 h 2936314"/>
                <a:gd name="connsiteX50" fmla="*/ 7486022 w 11867103"/>
                <a:gd name="connsiteY50" fmla="*/ 2785244 h 2936314"/>
                <a:gd name="connsiteX51" fmla="*/ 7395587 w 11867103"/>
                <a:gd name="connsiteY51" fmla="*/ 2805340 h 2936314"/>
                <a:gd name="connsiteX52" fmla="*/ 7325248 w 11867103"/>
                <a:gd name="connsiteY52" fmla="*/ 2815389 h 2936314"/>
                <a:gd name="connsiteX53" fmla="*/ 6863024 w 11867103"/>
                <a:gd name="connsiteY53" fmla="*/ 2805340 h 2936314"/>
                <a:gd name="connsiteX54" fmla="*/ 6722347 w 11867103"/>
                <a:gd name="connsiteY54" fmla="*/ 2795292 h 2936314"/>
                <a:gd name="connsiteX55" fmla="*/ 4903596 w 11867103"/>
                <a:gd name="connsiteY55" fmla="*/ 2845534 h 2936314"/>
                <a:gd name="connsiteX56" fmla="*/ 4722725 w 11867103"/>
                <a:gd name="connsiteY56" fmla="*/ 2885727 h 2936314"/>
                <a:gd name="connsiteX57" fmla="*/ 4300695 w 11867103"/>
                <a:gd name="connsiteY57" fmla="*/ 2865630 h 2936314"/>
                <a:gd name="connsiteX58" fmla="*/ 4059534 w 11867103"/>
                <a:gd name="connsiteY58" fmla="*/ 2825437 h 2936314"/>
                <a:gd name="connsiteX59" fmla="*/ 3768132 w 11867103"/>
                <a:gd name="connsiteY59" fmla="*/ 2795292 h 2936314"/>
                <a:gd name="connsiteX60" fmla="*/ 3627455 w 11867103"/>
                <a:gd name="connsiteY60" fmla="*/ 2785244 h 2936314"/>
                <a:gd name="connsiteX61" fmla="*/ 3125037 w 11867103"/>
                <a:gd name="connsiteY61" fmla="*/ 2795292 h 2936314"/>
                <a:gd name="connsiteX62" fmla="*/ 3064747 w 11867103"/>
                <a:gd name="connsiteY62" fmla="*/ 2805340 h 2936314"/>
                <a:gd name="connsiteX63" fmla="*/ 2009670 w 11867103"/>
                <a:gd name="connsiteY63" fmla="*/ 2815389 h 2936314"/>
                <a:gd name="connsiteX64" fmla="*/ 1678075 w 11867103"/>
                <a:gd name="connsiteY64" fmla="*/ 2905824 h 2936314"/>
                <a:gd name="connsiteX65" fmla="*/ 1607736 w 11867103"/>
                <a:gd name="connsiteY65" fmla="*/ 2935969 h 2936314"/>
                <a:gd name="connsiteX66" fmla="*/ 1135464 w 11867103"/>
                <a:gd name="connsiteY66" fmla="*/ 2915872 h 2936314"/>
                <a:gd name="connsiteX67" fmla="*/ 944545 w 11867103"/>
                <a:gd name="connsiteY67" fmla="*/ 2885727 h 2936314"/>
                <a:gd name="connsiteX68" fmla="*/ 723481 w 11867103"/>
                <a:gd name="connsiteY68" fmla="*/ 2845534 h 2936314"/>
                <a:gd name="connsiteX69" fmla="*/ 643095 w 11867103"/>
                <a:gd name="connsiteY69" fmla="*/ 2835485 h 2936314"/>
                <a:gd name="connsiteX70" fmla="*/ 371789 w 11867103"/>
                <a:gd name="connsiteY70" fmla="*/ 2795292 h 2936314"/>
                <a:gd name="connsiteX71" fmla="*/ 0 w 11867103"/>
                <a:gd name="connsiteY71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515789 w 11867103"/>
                <a:gd name="connsiteY12" fmla="*/ 72189 h 2936314"/>
                <a:gd name="connsiteX13" fmla="*/ 9606224 w 11867103"/>
                <a:gd name="connsiteY13" fmla="*/ 62140 h 2936314"/>
                <a:gd name="connsiteX14" fmla="*/ 9716756 w 11867103"/>
                <a:gd name="connsiteY14" fmla="*/ 52092 h 2936314"/>
                <a:gd name="connsiteX15" fmla="*/ 9797143 w 11867103"/>
                <a:gd name="connsiteY15" fmla="*/ 42044 h 2936314"/>
                <a:gd name="connsiteX16" fmla="*/ 9947868 w 11867103"/>
                <a:gd name="connsiteY16" fmla="*/ 31995 h 2936314"/>
                <a:gd name="connsiteX17" fmla="*/ 10791930 w 11867103"/>
                <a:gd name="connsiteY17" fmla="*/ 1850 h 2936314"/>
                <a:gd name="connsiteX18" fmla="*/ 11736475 w 11867103"/>
                <a:gd name="connsiteY18" fmla="*/ 21947 h 2936314"/>
                <a:gd name="connsiteX19" fmla="*/ 11766620 w 11867103"/>
                <a:gd name="connsiteY19" fmla="*/ 52092 h 2936314"/>
                <a:gd name="connsiteX20" fmla="*/ 11786717 w 11867103"/>
                <a:gd name="connsiteY20" fmla="*/ 92285 h 2936314"/>
                <a:gd name="connsiteX21" fmla="*/ 11806813 w 11867103"/>
                <a:gd name="connsiteY21" fmla="*/ 182720 h 2936314"/>
                <a:gd name="connsiteX22" fmla="*/ 11816862 w 11867103"/>
                <a:gd name="connsiteY22" fmla="*/ 222914 h 2936314"/>
                <a:gd name="connsiteX23" fmla="*/ 11826910 w 11867103"/>
                <a:gd name="connsiteY23" fmla="*/ 313349 h 2936314"/>
                <a:gd name="connsiteX24" fmla="*/ 11836958 w 11867103"/>
                <a:gd name="connsiteY24" fmla="*/ 393736 h 2936314"/>
                <a:gd name="connsiteX25" fmla="*/ 11826910 w 11867103"/>
                <a:gd name="connsiteY25" fmla="*/ 705235 h 2936314"/>
                <a:gd name="connsiteX26" fmla="*/ 11816862 w 11867103"/>
                <a:gd name="connsiteY26" fmla="*/ 765525 h 2936314"/>
                <a:gd name="connsiteX27" fmla="*/ 11806813 w 11867103"/>
                <a:gd name="connsiteY27" fmla="*/ 835863 h 2936314"/>
                <a:gd name="connsiteX28" fmla="*/ 11816862 w 11867103"/>
                <a:gd name="connsiteY28" fmla="*/ 2302923 h 2936314"/>
                <a:gd name="connsiteX29" fmla="*/ 11826910 w 11867103"/>
                <a:gd name="connsiteY29" fmla="*/ 2373261 h 2936314"/>
                <a:gd name="connsiteX30" fmla="*/ 11836958 w 11867103"/>
                <a:gd name="connsiteY30" fmla="*/ 2403406 h 2936314"/>
                <a:gd name="connsiteX31" fmla="*/ 11857055 w 11867103"/>
                <a:gd name="connsiteY31" fmla="*/ 2534035 h 2936314"/>
                <a:gd name="connsiteX32" fmla="*/ 11867103 w 11867103"/>
                <a:gd name="connsiteY32" fmla="*/ 2574228 h 2936314"/>
                <a:gd name="connsiteX33" fmla="*/ 11857055 w 11867103"/>
                <a:gd name="connsiteY33" fmla="*/ 2805340 h 2936314"/>
                <a:gd name="connsiteX34" fmla="*/ 11836958 w 11867103"/>
                <a:gd name="connsiteY34" fmla="*/ 2835485 h 2936314"/>
                <a:gd name="connsiteX35" fmla="*/ 11033090 w 11867103"/>
                <a:gd name="connsiteY35" fmla="*/ 2825437 h 2936314"/>
                <a:gd name="connsiteX36" fmla="*/ 10621108 w 11867103"/>
                <a:gd name="connsiteY36" fmla="*/ 2815389 h 2936314"/>
                <a:gd name="connsiteX37" fmla="*/ 10128739 w 11867103"/>
                <a:gd name="connsiteY37" fmla="*/ 2825437 h 2936314"/>
                <a:gd name="connsiteX38" fmla="*/ 10048352 w 11867103"/>
                <a:gd name="connsiteY38" fmla="*/ 2835485 h 2936314"/>
                <a:gd name="connsiteX39" fmla="*/ 9555982 w 11867103"/>
                <a:gd name="connsiteY39" fmla="*/ 2825437 h 2936314"/>
                <a:gd name="connsiteX40" fmla="*/ 9445451 w 11867103"/>
                <a:gd name="connsiteY40" fmla="*/ 2815389 h 2936314"/>
                <a:gd name="connsiteX41" fmla="*/ 9415306 w 11867103"/>
                <a:gd name="connsiteY41" fmla="*/ 2795292 h 2936314"/>
                <a:gd name="connsiteX42" fmla="*/ 9204290 w 11867103"/>
                <a:gd name="connsiteY42" fmla="*/ 2775195 h 2936314"/>
                <a:gd name="connsiteX43" fmla="*/ 9073662 w 11867103"/>
                <a:gd name="connsiteY43" fmla="*/ 2755098 h 2936314"/>
                <a:gd name="connsiteX44" fmla="*/ 8812404 w 11867103"/>
                <a:gd name="connsiteY44" fmla="*/ 2745050 h 2936314"/>
                <a:gd name="connsiteX45" fmla="*/ 8400422 w 11867103"/>
                <a:gd name="connsiteY45" fmla="*/ 2735002 h 2936314"/>
                <a:gd name="connsiteX46" fmla="*/ 8269793 w 11867103"/>
                <a:gd name="connsiteY46" fmla="*/ 2724953 h 2936314"/>
                <a:gd name="connsiteX47" fmla="*/ 7797521 w 11867103"/>
                <a:gd name="connsiteY47" fmla="*/ 2745050 h 2936314"/>
                <a:gd name="connsiteX48" fmla="*/ 7717134 w 11867103"/>
                <a:gd name="connsiteY48" fmla="*/ 2755098 h 2936314"/>
                <a:gd name="connsiteX49" fmla="*/ 7486022 w 11867103"/>
                <a:gd name="connsiteY49" fmla="*/ 2785244 h 2936314"/>
                <a:gd name="connsiteX50" fmla="*/ 7395587 w 11867103"/>
                <a:gd name="connsiteY50" fmla="*/ 2805340 h 2936314"/>
                <a:gd name="connsiteX51" fmla="*/ 7325248 w 11867103"/>
                <a:gd name="connsiteY51" fmla="*/ 2815389 h 2936314"/>
                <a:gd name="connsiteX52" fmla="*/ 6863024 w 11867103"/>
                <a:gd name="connsiteY52" fmla="*/ 2805340 h 2936314"/>
                <a:gd name="connsiteX53" fmla="*/ 6722347 w 11867103"/>
                <a:gd name="connsiteY53" fmla="*/ 2795292 h 2936314"/>
                <a:gd name="connsiteX54" fmla="*/ 4903596 w 11867103"/>
                <a:gd name="connsiteY54" fmla="*/ 2845534 h 2936314"/>
                <a:gd name="connsiteX55" fmla="*/ 4722725 w 11867103"/>
                <a:gd name="connsiteY55" fmla="*/ 2885727 h 2936314"/>
                <a:gd name="connsiteX56" fmla="*/ 4300695 w 11867103"/>
                <a:gd name="connsiteY56" fmla="*/ 2865630 h 2936314"/>
                <a:gd name="connsiteX57" fmla="*/ 4059534 w 11867103"/>
                <a:gd name="connsiteY57" fmla="*/ 2825437 h 2936314"/>
                <a:gd name="connsiteX58" fmla="*/ 3768132 w 11867103"/>
                <a:gd name="connsiteY58" fmla="*/ 2795292 h 2936314"/>
                <a:gd name="connsiteX59" fmla="*/ 3627455 w 11867103"/>
                <a:gd name="connsiteY59" fmla="*/ 2785244 h 2936314"/>
                <a:gd name="connsiteX60" fmla="*/ 3125037 w 11867103"/>
                <a:gd name="connsiteY60" fmla="*/ 2795292 h 2936314"/>
                <a:gd name="connsiteX61" fmla="*/ 3064747 w 11867103"/>
                <a:gd name="connsiteY61" fmla="*/ 2805340 h 2936314"/>
                <a:gd name="connsiteX62" fmla="*/ 2009670 w 11867103"/>
                <a:gd name="connsiteY62" fmla="*/ 2815389 h 2936314"/>
                <a:gd name="connsiteX63" fmla="*/ 1678075 w 11867103"/>
                <a:gd name="connsiteY63" fmla="*/ 2905824 h 2936314"/>
                <a:gd name="connsiteX64" fmla="*/ 1607736 w 11867103"/>
                <a:gd name="connsiteY64" fmla="*/ 2935969 h 2936314"/>
                <a:gd name="connsiteX65" fmla="*/ 1135464 w 11867103"/>
                <a:gd name="connsiteY65" fmla="*/ 2915872 h 2936314"/>
                <a:gd name="connsiteX66" fmla="*/ 944545 w 11867103"/>
                <a:gd name="connsiteY66" fmla="*/ 2885727 h 2936314"/>
                <a:gd name="connsiteX67" fmla="*/ 723481 w 11867103"/>
                <a:gd name="connsiteY67" fmla="*/ 2845534 h 2936314"/>
                <a:gd name="connsiteX68" fmla="*/ 643095 w 11867103"/>
                <a:gd name="connsiteY68" fmla="*/ 2835485 h 2936314"/>
                <a:gd name="connsiteX69" fmla="*/ 371789 w 11867103"/>
                <a:gd name="connsiteY69" fmla="*/ 2795292 h 2936314"/>
                <a:gd name="connsiteX70" fmla="*/ 0 w 11867103"/>
                <a:gd name="connsiteY70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716756 w 11867103"/>
                <a:gd name="connsiteY13" fmla="*/ 52092 h 2936314"/>
                <a:gd name="connsiteX14" fmla="*/ 9797143 w 11867103"/>
                <a:gd name="connsiteY14" fmla="*/ 42044 h 2936314"/>
                <a:gd name="connsiteX15" fmla="*/ 9947868 w 11867103"/>
                <a:gd name="connsiteY15" fmla="*/ 31995 h 2936314"/>
                <a:gd name="connsiteX16" fmla="*/ 10791930 w 11867103"/>
                <a:gd name="connsiteY16" fmla="*/ 1850 h 2936314"/>
                <a:gd name="connsiteX17" fmla="*/ 11736475 w 11867103"/>
                <a:gd name="connsiteY17" fmla="*/ 21947 h 2936314"/>
                <a:gd name="connsiteX18" fmla="*/ 11766620 w 11867103"/>
                <a:gd name="connsiteY18" fmla="*/ 52092 h 2936314"/>
                <a:gd name="connsiteX19" fmla="*/ 11786717 w 11867103"/>
                <a:gd name="connsiteY19" fmla="*/ 92285 h 2936314"/>
                <a:gd name="connsiteX20" fmla="*/ 11806813 w 11867103"/>
                <a:gd name="connsiteY20" fmla="*/ 182720 h 2936314"/>
                <a:gd name="connsiteX21" fmla="*/ 11816862 w 11867103"/>
                <a:gd name="connsiteY21" fmla="*/ 222914 h 2936314"/>
                <a:gd name="connsiteX22" fmla="*/ 11826910 w 11867103"/>
                <a:gd name="connsiteY22" fmla="*/ 313349 h 2936314"/>
                <a:gd name="connsiteX23" fmla="*/ 11836958 w 11867103"/>
                <a:gd name="connsiteY23" fmla="*/ 393736 h 2936314"/>
                <a:gd name="connsiteX24" fmla="*/ 11826910 w 11867103"/>
                <a:gd name="connsiteY24" fmla="*/ 705235 h 2936314"/>
                <a:gd name="connsiteX25" fmla="*/ 11816862 w 11867103"/>
                <a:gd name="connsiteY25" fmla="*/ 765525 h 2936314"/>
                <a:gd name="connsiteX26" fmla="*/ 11806813 w 11867103"/>
                <a:gd name="connsiteY26" fmla="*/ 835863 h 2936314"/>
                <a:gd name="connsiteX27" fmla="*/ 11816862 w 11867103"/>
                <a:gd name="connsiteY27" fmla="*/ 2302923 h 2936314"/>
                <a:gd name="connsiteX28" fmla="*/ 11826910 w 11867103"/>
                <a:gd name="connsiteY28" fmla="*/ 2373261 h 2936314"/>
                <a:gd name="connsiteX29" fmla="*/ 11836958 w 11867103"/>
                <a:gd name="connsiteY29" fmla="*/ 2403406 h 2936314"/>
                <a:gd name="connsiteX30" fmla="*/ 11857055 w 11867103"/>
                <a:gd name="connsiteY30" fmla="*/ 2534035 h 2936314"/>
                <a:gd name="connsiteX31" fmla="*/ 11867103 w 11867103"/>
                <a:gd name="connsiteY31" fmla="*/ 2574228 h 2936314"/>
                <a:gd name="connsiteX32" fmla="*/ 11857055 w 11867103"/>
                <a:gd name="connsiteY32" fmla="*/ 2805340 h 2936314"/>
                <a:gd name="connsiteX33" fmla="*/ 11836958 w 11867103"/>
                <a:gd name="connsiteY33" fmla="*/ 2835485 h 2936314"/>
                <a:gd name="connsiteX34" fmla="*/ 11033090 w 11867103"/>
                <a:gd name="connsiteY34" fmla="*/ 2825437 h 2936314"/>
                <a:gd name="connsiteX35" fmla="*/ 10621108 w 11867103"/>
                <a:gd name="connsiteY35" fmla="*/ 2815389 h 2936314"/>
                <a:gd name="connsiteX36" fmla="*/ 10128739 w 11867103"/>
                <a:gd name="connsiteY36" fmla="*/ 2825437 h 2936314"/>
                <a:gd name="connsiteX37" fmla="*/ 10048352 w 11867103"/>
                <a:gd name="connsiteY37" fmla="*/ 2835485 h 2936314"/>
                <a:gd name="connsiteX38" fmla="*/ 9555982 w 11867103"/>
                <a:gd name="connsiteY38" fmla="*/ 2825437 h 2936314"/>
                <a:gd name="connsiteX39" fmla="*/ 9445451 w 11867103"/>
                <a:gd name="connsiteY39" fmla="*/ 2815389 h 2936314"/>
                <a:gd name="connsiteX40" fmla="*/ 9415306 w 11867103"/>
                <a:gd name="connsiteY40" fmla="*/ 2795292 h 2936314"/>
                <a:gd name="connsiteX41" fmla="*/ 9204290 w 11867103"/>
                <a:gd name="connsiteY41" fmla="*/ 2775195 h 2936314"/>
                <a:gd name="connsiteX42" fmla="*/ 9073662 w 11867103"/>
                <a:gd name="connsiteY42" fmla="*/ 2755098 h 2936314"/>
                <a:gd name="connsiteX43" fmla="*/ 8812404 w 11867103"/>
                <a:gd name="connsiteY43" fmla="*/ 2745050 h 2936314"/>
                <a:gd name="connsiteX44" fmla="*/ 8400422 w 11867103"/>
                <a:gd name="connsiteY44" fmla="*/ 2735002 h 2936314"/>
                <a:gd name="connsiteX45" fmla="*/ 8269793 w 11867103"/>
                <a:gd name="connsiteY45" fmla="*/ 2724953 h 2936314"/>
                <a:gd name="connsiteX46" fmla="*/ 7797521 w 11867103"/>
                <a:gd name="connsiteY46" fmla="*/ 2745050 h 2936314"/>
                <a:gd name="connsiteX47" fmla="*/ 7717134 w 11867103"/>
                <a:gd name="connsiteY47" fmla="*/ 2755098 h 2936314"/>
                <a:gd name="connsiteX48" fmla="*/ 7486022 w 11867103"/>
                <a:gd name="connsiteY48" fmla="*/ 2785244 h 2936314"/>
                <a:gd name="connsiteX49" fmla="*/ 7395587 w 11867103"/>
                <a:gd name="connsiteY49" fmla="*/ 2805340 h 2936314"/>
                <a:gd name="connsiteX50" fmla="*/ 7325248 w 11867103"/>
                <a:gd name="connsiteY50" fmla="*/ 2815389 h 2936314"/>
                <a:gd name="connsiteX51" fmla="*/ 6863024 w 11867103"/>
                <a:gd name="connsiteY51" fmla="*/ 2805340 h 2936314"/>
                <a:gd name="connsiteX52" fmla="*/ 6722347 w 11867103"/>
                <a:gd name="connsiteY52" fmla="*/ 2795292 h 2936314"/>
                <a:gd name="connsiteX53" fmla="*/ 4903596 w 11867103"/>
                <a:gd name="connsiteY53" fmla="*/ 2845534 h 2936314"/>
                <a:gd name="connsiteX54" fmla="*/ 4722725 w 11867103"/>
                <a:gd name="connsiteY54" fmla="*/ 2885727 h 2936314"/>
                <a:gd name="connsiteX55" fmla="*/ 4300695 w 11867103"/>
                <a:gd name="connsiteY55" fmla="*/ 2865630 h 2936314"/>
                <a:gd name="connsiteX56" fmla="*/ 4059534 w 11867103"/>
                <a:gd name="connsiteY56" fmla="*/ 2825437 h 2936314"/>
                <a:gd name="connsiteX57" fmla="*/ 3768132 w 11867103"/>
                <a:gd name="connsiteY57" fmla="*/ 2795292 h 2936314"/>
                <a:gd name="connsiteX58" fmla="*/ 3627455 w 11867103"/>
                <a:gd name="connsiteY58" fmla="*/ 2785244 h 2936314"/>
                <a:gd name="connsiteX59" fmla="*/ 3125037 w 11867103"/>
                <a:gd name="connsiteY59" fmla="*/ 2795292 h 2936314"/>
                <a:gd name="connsiteX60" fmla="*/ 3064747 w 11867103"/>
                <a:gd name="connsiteY60" fmla="*/ 2805340 h 2936314"/>
                <a:gd name="connsiteX61" fmla="*/ 2009670 w 11867103"/>
                <a:gd name="connsiteY61" fmla="*/ 2815389 h 2936314"/>
                <a:gd name="connsiteX62" fmla="*/ 1678075 w 11867103"/>
                <a:gd name="connsiteY62" fmla="*/ 2905824 h 2936314"/>
                <a:gd name="connsiteX63" fmla="*/ 1607736 w 11867103"/>
                <a:gd name="connsiteY63" fmla="*/ 2935969 h 2936314"/>
                <a:gd name="connsiteX64" fmla="*/ 1135464 w 11867103"/>
                <a:gd name="connsiteY64" fmla="*/ 2915872 h 2936314"/>
                <a:gd name="connsiteX65" fmla="*/ 944545 w 11867103"/>
                <a:gd name="connsiteY65" fmla="*/ 2885727 h 2936314"/>
                <a:gd name="connsiteX66" fmla="*/ 723481 w 11867103"/>
                <a:gd name="connsiteY66" fmla="*/ 2845534 h 2936314"/>
                <a:gd name="connsiteX67" fmla="*/ 643095 w 11867103"/>
                <a:gd name="connsiteY67" fmla="*/ 2835485 h 2936314"/>
                <a:gd name="connsiteX68" fmla="*/ 371789 w 11867103"/>
                <a:gd name="connsiteY68" fmla="*/ 2795292 h 2936314"/>
                <a:gd name="connsiteX69" fmla="*/ 0 w 11867103"/>
                <a:gd name="connsiteY69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797143 w 11867103"/>
                <a:gd name="connsiteY13" fmla="*/ 42044 h 2936314"/>
                <a:gd name="connsiteX14" fmla="*/ 9947868 w 11867103"/>
                <a:gd name="connsiteY14" fmla="*/ 31995 h 2936314"/>
                <a:gd name="connsiteX15" fmla="*/ 10791930 w 11867103"/>
                <a:gd name="connsiteY15" fmla="*/ 1850 h 2936314"/>
                <a:gd name="connsiteX16" fmla="*/ 11736475 w 11867103"/>
                <a:gd name="connsiteY16" fmla="*/ 21947 h 2936314"/>
                <a:gd name="connsiteX17" fmla="*/ 11766620 w 11867103"/>
                <a:gd name="connsiteY17" fmla="*/ 52092 h 2936314"/>
                <a:gd name="connsiteX18" fmla="*/ 11786717 w 11867103"/>
                <a:gd name="connsiteY18" fmla="*/ 92285 h 2936314"/>
                <a:gd name="connsiteX19" fmla="*/ 11806813 w 11867103"/>
                <a:gd name="connsiteY19" fmla="*/ 182720 h 2936314"/>
                <a:gd name="connsiteX20" fmla="*/ 11816862 w 11867103"/>
                <a:gd name="connsiteY20" fmla="*/ 222914 h 2936314"/>
                <a:gd name="connsiteX21" fmla="*/ 11826910 w 11867103"/>
                <a:gd name="connsiteY21" fmla="*/ 313349 h 2936314"/>
                <a:gd name="connsiteX22" fmla="*/ 11836958 w 11867103"/>
                <a:gd name="connsiteY22" fmla="*/ 393736 h 2936314"/>
                <a:gd name="connsiteX23" fmla="*/ 11826910 w 11867103"/>
                <a:gd name="connsiteY23" fmla="*/ 705235 h 2936314"/>
                <a:gd name="connsiteX24" fmla="*/ 11816862 w 11867103"/>
                <a:gd name="connsiteY24" fmla="*/ 765525 h 2936314"/>
                <a:gd name="connsiteX25" fmla="*/ 11806813 w 11867103"/>
                <a:gd name="connsiteY25" fmla="*/ 835863 h 2936314"/>
                <a:gd name="connsiteX26" fmla="*/ 11816862 w 11867103"/>
                <a:gd name="connsiteY26" fmla="*/ 2302923 h 2936314"/>
                <a:gd name="connsiteX27" fmla="*/ 11826910 w 11867103"/>
                <a:gd name="connsiteY27" fmla="*/ 2373261 h 2936314"/>
                <a:gd name="connsiteX28" fmla="*/ 11836958 w 11867103"/>
                <a:gd name="connsiteY28" fmla="*/ 2403406 h 2936314"/>
                <a:gd name="connsiteX29" fmla="*/ 11857055 w 11867103"/>
                <a:gd name="connsiteY29" fmla="*/ 2534035 h 2936314"/>
                <a:gd name="connsiteX30" fmla="*/ 11867103 w 11867103"/>
                <a:gd name="connsiteY30" fmla="*/ 2574228 h 2936314"/>
                <a:gd name="connsiteX31" fmla="*/ 11857055 w 11867103"/>
                <a:gd name="connsiteY31" fmla="*/ 2805340 h 2936314"/>
                <a:gd name="connsiteX32" fmla="*/ 11836958 w 11867103"/>
                <a:gd name="connsiteY32" fmla="*/ 2835485 h 2936314"/>
                <a:gd name="connsiteX33" fmla="*/ 11033090 w 11867103"/>
                <a:gd name="connsiteY33" fmla="*/ 2825437 h 2936314"/>
                <a:gd name="connsiteX34" fmla="*/ 10621108 w 11867103"/>
                <a:gd name="connsiteY34" fmla="*/ 2815389 h 2936314"/>
                <a:gd name="connsiteX35" fmla="*/ 10128739 w 11867103"/>
                <a:gd name="connsiteY35" fmla="*/ 2825437 h 2936314"/>
                <a:gd name="connsiteX36" fmla="*/ 10048352 w 11867103"/>
                <a:gd name="connsiteY36" fmla="*/ 2835485 h 2936314"/>
                <a:gd name="connsiteX37" fmla="*/ 9555982 w 11867103"/>
                <a:gd name="connsiteY37" fmla="*/ 2825437 h 2936314"/>
                <a:gd name="connsiteX38" fmla="*/ 9445451 w 11867103"/>
                <a:gd name="connsiteY38" fmla="*/ 2815389 h 2936314"/>
                <a:gd name="connsiteX39" fmla="*/ 9415306 w 11867103"/>
                <a:gd name="connsiteY39" fmla="*/ 2795292 h 2936314"/>
                <a:gd name="connsiteX40" fmla="*/ 9204290 w 11867103"/>
                <a:gd name="connsiteY40" fmla="*/ 2775195 h 2936314"/>
                <a:gd name="connsiteX41" fmla="*/ 9073662 w 11867103"/>
                <a:gd name="connsiteY41" fmla="*/ 2755098 h 2936314"/>
                <a:gd name="connsiteX42" fmla="*/ 8812404 w 11867103"/>
                <a:gd name="connsiteY42" fmla="*/ 2745050 h 2936314"/>
                <a:gd name="connsiteX43" fmla="*/ 8400422 w 11867103"/>
                <a:gd name="connsiteY43" fmla="*/ 2735002 h 2936314"/>
                <a:gd name="connsiteX44" fmla="*/ 8269793 w 11867103"/>
                <a:gd name="connsiteY44" fmla="*/ 2724953 h 2936314"/>
                <a:gd name="connsiteX45" fmla="*/ 7797521 w 11867103"/>
                <a:gd name="connsiteY45" fmla="*/ 2745050 h 2936314"/>
                <a:gd name="connsiteX46" fmla="*/ 7717134 w 11867103"/>
                <a:gd name="connsiteY46" fmla="*/ 2755098 h 2936314"/>
                <a:gd name="connsiteX47" fmla="*/ 7486022 w 11867103"/>
                <a:gd name="connsiteY47" fmla="*/ 2785244 h 2936314"/>
                <a:gd name="connsiteX48" fmla="*/ 7395587 w 11867103"/>
                <a:gd name="connsiteY48" fmla="*/ 2805340 h 2936314"/>
                <a:gd name="connsiteX49" fmla="*/ 7325248 w 11867103"/>
                <a:gd name="connsiteY49" fmla="*/ 2815389 h 2936314"/>
                <a:gd name="connsiteX50" fmla="*/ 6863024 w 11867103"/>
                <a:gd name="connsiteY50" fmla="*/ 2805340 h 2936314"/>
                <a:gd name="connsiteX51" fmla="*/ 6722347 w 11867103"/>
                <a:gd name="connsiteY51" fmla="*/ 2795292 h 2936314"/>
                <a:gd name="connsiteX52" fmla="*/ 4903596 w 11867103"/>
                <a:gd name="connsiteY52" fmla="*/ 2845534 h 2936314"/>
                <a:gd name="connsiteX53" fmla="*/ 4722725 w 11867103"/>
                <a:gd name="connsiteY53" fmla="*/ 2885727 h 2936314"/>
                <a:gd name="connsiteX54" fmla="*/ 4300695 w 11867103"/>
                <a:gd name="connsiteY54" fmla="*/ 2865630 h 2936314"/>
                <a:gd name="connsiteX55" fmla="*/ 4059534 w 11867103"/>
                <a:gd name="connsiteY55" fmla="*/ 2825437 h 2936314"/>
                <a:gd name="connsiteX56" fmla="*/ 3768132 w 11867103"/>
                <a:gd name="connsiteY56" fmla="*/ 2795292 h 2936314"/>
                <a:gd name="connsiteX57" fmla="*/ 3627455 w 11867103"/>
                <a:gd name="connsiteY57" fmla="*/ 2785244 h 2936314"/>
                <a:gd name="connsiteX58" fmla="*/ 3125037 w 11867103"/>
                <a:gd name="connsiteY58" fmla="*/ 2795292 h 2936314"/>
                <a:gd name="connsiteX59" fmla="*/ 3064747 w 11867103"/>
                <a:gd name="connsiteY59" fmla="*/ 2805340 h 2936314"/>
                <a:gd name="connsiteX60" fmla="*/ 2009670 w 11867103"/>
                <a:gd name="connsiteY60" fmla="*/ 2815389 h 2936314"/>
                <a:gd name="connsiteX61" fmla="*/ 1678075 w 11867103"/>
                <a:gd name="connsiteY61" fmla="*/ 2905824 h 2936314"/>
                <a:gd name="connsiteX62" fmla="*/ 1607736 w 11867103"/>
                <a:gd name="connsiteY62" fmla="*/ 2935969 h 2936314"/>
                <a:gd name="connsiteX63" fmla="*/ 1135464 w 11867103"/>
                <a:gd name="connsiteY63" fmla="*/ 2915872 h 2936314"/>
                <a:gd name="connsiteX64" fmla="*/ 944545 w 11867103"/>
                <a:gd name="connsiteY64" fmla="*/ 2885727 h 2936314"/>
                <a:gd name="connsiteX65" fmla="*/ 723481 w 11867103"/>
                <a:gd name="connsiteY65" fmla="*/ 2845534 h 2936314"/>
                <a:gd name="connsiteX66" fmla="*/ 643095 w 11867103"/>
                <a:gd name="connsiteY66" fmla="*/ 2835485 h 2936314"/>
                <a:gd name="connsiteX67" fmla="*/ 371789 w 11867103"/>
                <a:gd name="connsiteY67" fmla="*/ 2795292 h 2936314"/>
                <a:gd name="connsiteX68" fmla="*/ 0 w 11867103"/>
                <a:gd name="connsiteY68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16862 w 11867103"/>
                <a:gd name="connsiteY19" fmla="*/ 222914 h 2936314"/>
                <a:gd name="connsiteX20" fmla="*/ 11826910 w 11867103"/>
                <a:gd name="connsiteY20" fmla="*/ 313349 h 2936314"/>
                <a:gd name="connsiteX21" fmla="*/ 11836958 w 11867103"/>
                <a:gd name="connsiteY21" fmla="*/ 393736 h 2936314"/>
                <a:gd name="connsiteX22" fmla="*/ 11826910 w 11867103"/>
                <a:gd name="connsiteY22" fmla="*/ 705235 h 2936314"/>
                <a:gd name="connsiteX23" fmla="*/ 11816862 w 11867103"/>
                <a:gd name="connsiteY23" fmla="*/ 765525 h 2936314"/>
                <a:gd name="connsiteX24" fmla="*/ 11806813 w 11867103"/>
                <a:gd name="connsiteY24" fmla="*/ 835863 h 2936314"/>
                <a:gd name="connsiteX25" fmla="*/ 11816862 w 11867103"/>
                <a:gd name="connsiteY25" fmla="*/ 2302923 h 2936314"/>
                <a:gd name="connsiteX26" fmla="*/ 11826910 w 11867103"/>
                <a:gd name="connsiteY26" fmla="*/ 2373261 h 2936314"/>
                <a:gd name="connsiteX27" fmla="*/ 11836958 w 11867103"/>
                <a:gd name="connsiteY27" fmla="*/ 2403406 h 2936314"/>
                <a:gd name="connsiteX28" fmla="*/ 11857055 w 11867103"/>
                <a:gd name="connsiteY28" fmla="*/ 2534035 h 2936314"/>
                <a:gd name="connsiteX29" fmla="*/ 11867103 w 11867103"/>
                <a:gd name="connsiteY29" fmla="*/ 2574228 h 2936314"/>
                <a:gd name="connsiteX30" fmla="*/ 11857055 w 11867103"/>
                <a:gd name="connsiteY30" fmla="*/ 2805340 h 2936314"/>
                <a:gd name="connsiteX31" fmla="*/ 11836958 w 11867103"/>
                <a:gd name="connsiteY31" fmla="*/ 2835485 h 2936314"/>
                <a:gd name="connsiteX32" fmla="*/ 11033090 w 11867103"/>
                <a:gd name="connsiteY32" fmla="*/ 2825437 h 2936314"/>
                <a:gd name="connsiteX33" fmla="*/ 10621108 w 11867103"/>
                <a:gd name="connsiteY33" fmla="*/ 2815389 h 2936314"/>
                <a:gd name="connsiteX34" fmla="*/ 10128739 w 11867103"/>
                <a:gd name="connsiteY34" fmla="*/ 2825437 h 2936314"/>
                <a:gd name="connsiteX35" fmla="*/ 10048352 w 11867103"/>
                <a:gd name="connsiteY35" fmla="*/ 2835485 h 2936314"/>
                <a:gd name="connsiteX36" fmla="*/ 9555982 w 11867103"/>
                <a:gd name="connsiteY36" fmla="*/ 2825437 h 2936314"/>
                <a:gd name="connsiteX37" fmla="*/ 9445451 w 11867103"/>
                <a:gd name="connsiteY37" fmla="*/ 2815389 h 2936314"/>
                <a:gd name="connsiteX38" fmla="*/ 9415306 w 11867103"/>
                <a:gd name="connsiteY38" fmla="*/ 2795292 h 2936314"/>
                <a:gd name="connsiteX39" fmla="*/ 9204290 w 11867103"/>
                <a:gd name="connsiteY39" fmla="*/ 2775195 h 2936314"/>
                <a:gd name="connsiteX40" fmla="*/ 9073662 w 11867103"/>
                <a:gd name="connsiteY40" fmla="*/ 2755098 h 2936314"/>
                <a:gd name="connsiteX41" fmla="*/ 8812404 w 11867103"/>
                <a:gd name="connsiteY41" fmla="*/ 2745050 h 2936314"/>
                <a:gd name="connsiteX42" fmla="*/ 8400422 w 11867103"/>
                <a:gd name="connsiteY42" fmla="*/ 2735002 h 2936314"/>
                <a:gd name="connsiteX43" fmla="*/ 8269793 w 11867103"/>
                <a:gd name="connsiteY43" fmla="*/ 2724953 h 2936314"/>
                <a:gd name="connsiteX44" fmla="*/ 7797521 w 11867103"/>
                <a:gd name="connsiteY44" fmla="*/ 2745050 h 2936314"/>
                <a:gd name="connsiteX45" fmla="*/ 7717134 w 11867103"/>
                <a:gd name="connsiteY45" fmla="*/ 2755098 h 2936314"/>
                <a:gd name="connsiteX46" fmla="*/ 7486022 w 11867103"/>
                <a:gd name="connsiteY46" fmla="*/ 2785244 h 2936314"/>
                <a:gd name="connsiteX47" fmla="*/ 7395587 w 11867103"/>
                <a:gd name="connsiteY47" fmla="*/ 2805340 h 2936314"/>
                <a:gd name="connsiteX48" fmla="*/ 7325248 w 11867103"/>
                <a:gd name="connsiteY48" fmla="*/ 2815389 h 2936314"/>
                <a:gd name="connsiteX49" fmla="*/ 6863024 w 11867103"/>
                <a:gd name="connsiteY49" fmla="*/ 2805340 h 2936314"/>
                <a:gd name="connsiteX50" fmla="*/ 6722347 w 11867103"/>
                <a:gd name="connsiteY50" fmla="*/ 2795292 h 2936314"/>
                <a:gd name="connsiteX51" fmla="*/ 4903596 w 11867103"/>
                <a:gd name="connsiteY51" fmla="*/ 2845534 h 2936314"/>
                <a:gd name="connsiteX52" fmla="*/ 4722725 w 11867103"/>
                <a:gd name="connsiteY52" fmla="*/ 2885727 h 2936314"/>
                <a:gd name="connsiteX53" fmla="*/ 4300695 w 11867103"/>
                <a:gd name="connsiteY53" fmla="*/ 2865630 h 2936314"/>
                <a:gd name="connsiteX54" fmla="*/ 4059534 w 11867103"/>
                <a:gd name="connsiteY54" fmla="*/ 2825437 h 2936314"/>
                <a:gd name="connsiteX55" fmla="*/ 3768132 w 11867103"/>
                <a:gd name="connsiteY55" fmla="*/ 2795292 h 2936314"/>
                <a:gd name="connsiteX56" fmla="*/ 3627455 w 11867103"/>
                <a:gd name="connsiteY56" fmla="*/ 2785244 h 2936314"/>
                <a:gd name="connsiteX57" fmla="*/ 3125037 w 11867103"/>
                <a:gd name="connsiteY57" fmla="*/ 2795292 h 2936314"/>
                <a:gd name="connsiteX58" fmla="*/ 3064747 w 11867103"/>
                <a:gd name="connsiteY58" fmla="*/ 2805340 h 2936314"/>
                <a:gd name="connsiteX59" fmla="*/ 2009670 w 11867103"/>
                <a:gd name="connsiteY59" fmla="*/ 2815389 h 2936314"/>
                <a:gd name="connsiteX60" fmla="*/ 1678075 w 11867103"/>
                <a:gd name="connsiteY60" fmla="*/ 2905824 h 2936314"/>
                <a:gd name="connsiteX61" fmla="*/ 1607736 w 11867103"/>
                <a:gd name="connsiteY61" fmla="*/ 2935969 h 2936314"/>
                <a:gd name="connsiteX62" fmla="*/ 1135464 w 11867103"/>
                <a:gd name="connsiteY62" fmla="*/ 2915872 h 2936314"/>
                <a:gd name="connsiteX63" fmla="*/ 944545 w 11867103"/>
                <a:gd name="connsiteY63" fmla="*/ 2885727 h 2936314"/>
                <a:gd name="connsiteX64" fmla="*/ 723481 w 11867103"/>
                <a:gd name="connsiteY64" fmla="*/ 2845534 h 2936314"/>
                <a:gd name="connsiteX65" fmla="*/ 643095 w 11867103"/>
                <a:gd name="connsiteY65" fmla="*/ 2835485 h 2936314"/>
                <a:gd name="connsiteX66" fmla="*/ 371789 w 11867103"/>
                <a:gd name="connsiteY66" fmla="*/ 2795292 h 2936314"/>
                <a:gd name="connsiteX67" fmla="*/ 0 w 11867103"/>
                <a:gd name="connsiteY67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313349 h 2936314"/>
                <a:gd name="connsiteX20" fmla="*/ 11836958 w 11867103"/>
                <a:gd name="connsiteY20" fmla="*/ 393736 h 2936314"/>
                <a:gd name="connsiteX21" fmla="*/ 11826910 w 11867103"/>
                <a:gd name="connsiteY21" fmla="*/ 705235 h 2936314"/>
                <a:gd name="connsiteX22" fmla="*/ 11816862 w 11867103"/>
                <a:gd name="connsiteY22" fmla="*/ 765525 h 2936314"/>
                <a:gd name="connsiteX23" fmla="*/ 11806813 w 11867103"/>
                <a:gd name="connsiteY23" fmla="*/ 835863 h 2936314"/>
                <a:gd name="connsiteX24" fmla="*/ 11816862 w 11867103"/>
                <a:gd name="connsiteY24" fmla="*/ 2302923 h 2936314"/>
                <a:gd name="connsiteX25" fmla="*/ 11826910 w 11867103"/>
                <a:gd name="connsiteY25" fmla="*/ 2373261 h 2936314"/>
                <a:gd name="connsiteX26" fmla="*/ 11836958 w 11867103"/>
                <a:gd name="connsiteY26" fmla="*/ 2403406 h 2936314"/>
                <a:gd name="connsiteX27" fmla="*/ 11857055 w 11867103"/>
                <a:gd name="connsiteY27" fmla="*/ 2534035 h 2936314"/>
                <a:gd name="connsiteX28" fmla="*/ 11867103 w 11867103"/>
                <a:gd name="connsiteY28" fmla="*/ 2574228 h 2936314"/>
                <a:gd name="connsiteX29" fmla="*/ 11857055 w 11867103"/>
                <a:gd name="connsiteY29" fmla="*/ 2805340 h 2936314"/>
                <a:gd name="connsiteX30" fmla="*/ 11836958 w 11867103"/>
                <a:gd name="connsiteY30" fmla="*/ 2835485 h 2936314"/>
                <a:gd name="connsiteX31" fmla="*/ 11033090 w 11867103"/>
                <a:gd name="connsiteY31" fmla="*/ 2825437 h 2936314"/>
                <a:gd name="connsiteX32" fmla="*/ 10621108 w 11867103"/>
                <a:gd name="connsiteY32" fmla="*/ 2815389 h 2936314"/>
                <a:gd name="connsiteX33" fmla="*/ 10128739 w 11867103"/>
                <a:gd name="connsiteY33" fmla="*/ 2825437 h 2936314"/>
                <a:gd name="connsiteX34" fmla="*/ 10048352 w 11867103"/>
                <a:gd name="connsiteY34" fmla="*/ 2835485 h 2936314"/>
                <a:gd name="connsiteX35" fmla="*/ 9555982 w 11867103"/>
                <a:gd name="connsiteY35" fmla="*/ 2825437 h 2936314"/>
                <a:gd name="connsiteX36" fmla="*/ 9445451 w 11867103"/>
                <a:gd name="connsiteY36" fmla="*/ 2815389 h 2936314"/>
                <a:gd name="connsiteX37" fmla="*/ 9415306 w 11867103"/>
                <a:gd name="connsiteY37" fmla="*/ 2795292 h 2936314"/>
                <a:gd name="connsiteX38" fmla="*/ 9204290 w 11867103"/>
                <a:gd name="connsiteY38" fmla="*/ 2775195 h 2936314"/>
                <a:gd name="connsiteX39" fmla="*/ 9073662 w 11867103"/>
                <a:gd name="connsiteY39" fmla="*/ 2755098 h 2936314"/>
                <a:gd name="connsiteX40" fmla="*/ 8812404 w 11867103"/>
                <a:gd name="connsiteY40" fmla="*/ 2745050 h 2936314"/>
                <a:gd name="connsiteX41" fmla="*/ 8400422 w 11867103"/>
                <a:gd name="connsiteY41" fmla="*/ 2735002 h 2936314"/>
                <a:gd name="connsiteX42" fmla="*/ 8269793 w 11867103"/>
                <a:gd name="connsiteY42" fmla="*/ 2724953 h 2936314"/>
                <a:gd name="connsiteX43" fmla="*/ 7797521 w 11867103"/>
                <a:gd name="connsiteY43" fmla="*/ 2745050 h 2936314"/>
                <a:gd name="connsiteX44" fmla="*/ 7717134 w 11867103"/>
                <a:gd name="connsiteY44" fmla="*/ 2755098 h 2936314"/>
                <a:gd name="connsiteX45" fmla="*/ 7486022 w 11867103"/>
                <a:gd name="connsiteY45" fmla="*/ 2785244 h 2936314"/>
                <a:gd name="connsiteX46" fmla="*/ 7395587 w 11867103"/>
                <a:gd name="connsiteY46" fmla="*/ 2805340 h 2936314"/>
                <a:gd name="connsiteX47" fmla="*/ 7325248 w 11867103"/>
                <a:gd name="connsiteY47" fmla="*/ 2815389 h 2936314"/>
                <a:gd name="connsiteX48" fmla="*/ 6863024 w 11867103"/>
                <a:gd name="connsiteY48" fmla="*/ 2805340 h 2936314"/>
                <a:gd name="connsiteX49" fmla="*/ 6722347 w 11867103"/>
                <a:gd name="connsiteY49" fmla="*/ 2795292 h 2936314"/>
                <a:gd name="connsiteX50" fmla="*/ 4903596 w 11867103"/>
                <a:gd name="connsiteY50" fmla="*/ 2845534 h 2936314"/>
                <a:gd name="connsiteX51" fmla="*/ 4722725 w 11867103"/>
                <a:gd name="connsiteY51" fmla="*/ 2885727 h 2936314"/>
                <a:gd name="connsiteX52" fmla="*/ 4300695 w 11867103"/>
                <a:gd name="connsiteY52" fmla="*/ 2865630 h 2936314"/>
                <a:gd name="connsiteX53" fmla="*/ 4059534 w 11867103"/>
                <a:gd name="connsiteY53" fmla="*/ 2825437 h 2936314"/>
                <a:gd name="connsiteX54" fmla="*/ 3768132 w 11867103"/>
                <a:gd name="connsiteY54" fmla="*/ 2795292 h 2936314"/>
                <a:gd name="connsiteX55" fmla="*/ 3627455 w 11867103"/>
                <a:gd name="connsiteY55" fmla="*/ 2785244 h 2936314"/>
                <a:gd name="connsiteX56" fmla="*/ 3125037 w 11867103"/>
                <a:gd name="connsiteY56" fmla="*/ 2795292 h 2936314"/>
                <a:gd name="connsiteX57" fmla="*/ 3064747 w 11867103"/>
                <a:gd name="connsiteY57" fmla="*/ 2805340 h 2936314"/>
                <a:gd name="connsiteX58" fmla="*/ 2009670 w 11867103"/>
                <a:gd name="connsiteY58" fmla="*/ 2815389 h 2936314"/>
                <a:gd name="connsiteX59" fmla="*/ 1678075 w 11867103"/>
                <a:gd name="connsiteY59" fmla="*/ 2905824 h 2936314"/>
                <a:gd name="connsiteX60" fmla="*/ 1607736 w 11867103"/>
                <a:gd name="connsiteY60" fmla="*/ 2935969 h 2936314"/>
                <a:gd name="connsiteX61" fmla="*/ 1135464 w 11867103"/>
                <a:gd name="connsiteY61" fmla="*/ 2915872 h 2936314"/>
                <a:gd name="connsiteX62" fmla="*/ 944545 w 11867103"/>
                <a:gd name="connsiteY62" fmla="*/ 2885727 h 2936314"/>
                <a:gd name="connsiteX63" fmla="*/ 723481 w 11867103"/>
                <a:gd name="connsiteY63" fmla="*/ 2845534 h 2936314"/>
                <a:gd name="connsiteX64" fmla="*/ 643095 w 11867103"/>
                <a:gd name="connsiteY64" fmla="*/ 2835485 h 2936314"/>
                <a:gd name="connsiteX65" fmla="*/ 371789 w 11867103"/>
                <a:gd name="connsiteY65" fmla="*/ 2795292 h 2936314"/>
                <a:gd name="connsiteX66" fmla="*/ 0 w 11867103"/>
                <a:gd name="connsiteY66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36958 w 11867103"/>
                <a:gd name="connsiteY19" fmla="*/ 393736 h 2936314"/>
                <a:gd name="connsiteX20" fmla="*/ 11826910 w 11867103"/>
                <a:gd name="connsiteY20" fmla="*/ 705235 h 2936314"/>
                <a:gd name="connsiteX21" fmla="*/ 11816862 w 11867103"/>
                <a:gd name="connsiteY21" fmla="*/ 765525 h 2936314"/>
                <a:gd name="connsiteX22" fmla="*/ 11806813 w 11867103"/>
                <a:gd name="connsiteY22" fmla="*/ 835863 h 2936314"/>
                <a:gd name="connsiteX23" fmla="*/ 11816862 w 11867103"/>
                <a:gd name="connsiteY23" fmla="*/ 2302923 h 2936314"/>
                <a:gd name="connsiteX24" fmla="*/ 11826910 w 11867103"/>
                <a:gd name="connsiteY24" fmla="*/ 2373261 h 2936314"/>
                <a:gd name="connsiteX25" fmla="*/ 11836958 w 11867103"/>
                <a:gd name="connsiteY25" fmla="*/ 2403406 h 2936314"/>
                <a:gd name="connsiteX26" fmla="*/ 11857055 w 11867103"/>
                <a:gd name="connsiteY26" fmla="*/ 2534035 h 2936314"/>
                <a:gd name="connsiteX27" fmla="*/ 11867103 w 11867103"/>
                <a:gd name="connsiteY27" fmla="*/ 2574228 h 2936314"/>
                <a:gd name="connsiteX28" fmla="*/ 11857055 w 11867103"/>
                <a:gd name="connsiteY28" fmla="*/ 2805340 h 2936314"/>
                <a:gd name="connsiteX29" fmla="*/ 11836958 w 11867103"/>
                <a:gd name="connsiteY29" fmla="*/ 2835485 h 2936314"/>
                <a:gd name="connsiteX30" fmla="*/ 11033090 w 11867103"/>
                <a:gd name="connsiteY30" fmla="*/ 2825437 h 2936314"/>
                <a:gd name="connsiteX31" fmla="*/ 10621108 w 11867103"/>
                <a:gd name="connsiteY31" fmla="*/ 2815389 h 2936314"/>
                <a:gd name="connsiteX32" fmla="*/ 10128739 w 11867103"/>
                <a:gd name="connsiteY32" fmla="*/ 2825437 h 2936314"/>
                <a:gd name="connsiteX33" fmla="*/ 10048352 w 11867103"/>
                <a:gd name="connsiteY33" fmla="*/ 2835485 h 2936314"/>
                <a:gd name="connsiteX34" fmla="*/ 9555982 w 11867103"/>
                <a:gd name="connsiteY34" fmla="*/ 2825437 h 2936314"/>
                <a:gd name="connsiteX35" fmla="*/ 9445451 w 11867103"/>
                <a:gd name="connsiteY35" fmla="*/ 2815389 h 2936314"/>
                <a:gd name="connsiteX36" fmla="*/ 9415306 w 11867103"/>
                <a:gd name="connsiteY36" fmla="*/ 2795292 h 2936314"/>
                <a:gd name="connsiteX37" fmla="*/ 9204290 w 11867103"/>
                <a:gd name="connsiteY37" fmla="*/ 2775195 h 2936314"/>
                <a:gd name="connsiteX38" fmla="*/ 9073662 w 11867103"/>
                <a:gd name="connsiteY38" fmla="*/ 2755098 h 2936314"/>
                <a:gd name="connsiteX39" fmla="*/ 8812404 w 11867103"/>
                <a:gd name="connsiteY39" fmla="*/ 2745050 h 2936314"/>
                <a:gd name="connsiteX40" fmla="*/ 8400422 w 11867103"/>
                <a:gd name="connsiteY40" fmla="*/ 2735002 h 2936314"/>
                <a:gd name="connsiteX41" fmla="*/ 8269793 w 11867103"/>
                <a:gd name="connsiteY41" fmla="*/ 2724953 h 2936314"/>
                <a:gd name="connsiteX42" fmla="*/ 7797521 w 11867103"/>
                <a:gd name="connsiteY42" fmla="*/ 2745050 h 2936314"/>
                <a:gd name="connsiteX43" fmla="*/ 7717134 w 11867103"/>
                <a:gd name="connsiteY43" fmla="*/ 2755098 h 2936314"/>
                <a:gd name="connsiteX44" fmla="*/ 7486022 w 11867103"/>
                <a:gd name="connsiteY44" fmla="*/ 2785244 h 2936314"/>
                <a:gd name="connsiteX45" fmla="*/ 7395587 w 11867103"/>
                <a:gd name="connsiteY45" fmla="*/ 2805340 h 2936314"/>
                <a:gd name="connsiteX46" fmla="*/ 7325248 w 11867103"/>
                <a:gd name="connsiteY46" fmla="*/ 2815389 h 2936314"/>
                <a:gd name="connsiteX47" fmla="*/ 6863024 w 11867103"/>
                <a:gd name="connsiteY47" fmla="*/ 2805340 h 2936314"/>
                <a:gd name="connsiteX48" fmla="*/ 6722347 w 11867103"/>
                <a:gd name="connsiteY48" fmla="*/ 2795292 h 2936314"/>
                <a:gd name="connsiteX49" fmla="*/ 4903596 w 11867103"/>
                <a:gd name="connsiteY49" fmla="*/ 2845534 h 2936314"/>
                <a:gd name="connsiteX50" fmla="*/ 4722725 w 11867103"/>
                <a:gd name="connsiteY50" fmla="*/ 2885727 h 2936314"/>
                <a:gd name="connsiteX51" fmla="*/ 4300695 w 11867103"/>
                <a:gd name="connsiteY51" fmla="*/ 2865630 h 2936314"/>
                <a:gd name="connsiteX52" fmla="*/ 4059534 w 11867103"/>
                <a:gd name="connsiteY52" fmla="*/ 2825437 h 2936314"/>
                <a:gd name="connsiteX53" fmla="*/ 3768132 w 11867103"/>
                <a:gd name="connsiteY53" fmla="*/ 2795292 h 2936314"/>
                <a:gd name="connsiteX54" fmla="*/ 3627455 w 11867103"/>
                <a:gd name="connsiteY54" fmla="*/ 2785244 h 2936314"/>
                <a:gd name="connsiteX55" fmla="*/ 3125037 w 11867103"/>
                <a:gd name="connsiteY55" fmla="*/ 2795292 h 2936314"/>
                <a:gd name="connsiteX56" fmla="*/ 3064747 w 11867103"/>
                <a:gd name="connsiteY56" fmla="*/ 2805340 h 2936314"/>
                <a:gd name="connsiteX57" fmla="*/ 2009670 w 11867103"/>
                <a:gd name="connsiteY57" fmla="*/ 2815389 h 2936314"/>
                <a:gd name="connsiteX58" fmla="*/ 1678075 w 11867103"/>
                <a:gd name="connsiteY58" fmla="*/ 2905824 h 2936314"/>
                <a:gd name="connsiteX59" fmla="*/ 1607736 w 11867103"/>
                <a:gd name="connsiteY59" fmla="*/ 2935969 h 2936314"/>
                <a:gd name="connsiteX60" fmla="*/ 1135464 w 11867103"/>
                <a:gd name="connsiteY60" fmla="*/ 2915872 h 2936314"/>
                <a:gd name="connsiteX61" fmla="*/ 944545 w 11867103"/>
                <a:gd name="connsiteY61" fmla="*/ 2885727 h 2936314"/>
                <a:gd name="connsiteX62" fmla="*/ 723481 w 11867103"/>
                <a:gd name="connsiteY62" fmla="*/ 2845534 h 2936314"/>
                <a:gd name="connsiteX63" fmla="*/ 643095 w 11867103"/>
                <a:gd name="connsiteY63" fmla="*/ 2835485 h 2936314"/>
                <a:gd name="connsiteX64" fmla="*/ 371789 w 11867103"/>
                <a:gd name="connsiteY64" fmla="*/ 2795292 h 2936314"/>
                <a:gd name="connsiteX65" fmla="*/ 0 w 11867103"/>
                <a:gd name="connsiteY65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705235 h 2936314"/>
                <a:gd name="connsiteX20" fmla="*/ 11816862 w 11867103"/>
                <a:gd name="connsiteY20" fmla="*/ 765525 h 2936314"/>
                <a:gd name="connsiteX21" fmla="*/ 11806813 w 11867103"/>
                <a:gd name="connsiteY21" fmla="*/ 835863 h 2936314"/>
                <a:gd name="connsiteX22" fmla="*/ 11816862 w 11867103"/>
                <a:gd name="connsiteY22" fmla="*/ 2302923 h 2936314"/>
                <a:gd name="connsiteX23" fmla="*/ 11826910 w 11867103"/>
                <a:gd name="connsiteY23" fmla="*/ 2373261 h 2936314"/>
                <a:gd name="connsiteX24" fmla="*/ 11836958 w 11867103"/>
                <a:gd name="connsiteY24" fmla="*/ 2403406 h 2936314"/>
                <a:gd name="connsiteX25" fmla="*/ 11857055 w 11867103"/>
                <a:gd name="connsiteY25" fmla="*/ 2534035 h 2936314"/>
                <a:gd name="connsiteX26" fmla="*/ 11867103 w 11867103"/>
                <a:gd name="connsiteY26" fmla="*/ 2574228 h 2936314"/>
                <a:gd name="connsiteX27" fmla="*/ 11857055 w 11867103"/>
                <a:gd name="connsiteY27" fmla="*/ 2805340 h 2936314"/>
                <a:gd name="connsiteX28" fmla="*/ 11836958 w 11867103"/>
                <a:gd name="connsiteY28" fmla="*/ 2835485 h 2936314"/>
                <a:gd name="connsiteX29" fmla="*/ 11033090 w 11867103"/>
                <a:gd name="connsiteY29" fmla="*/ 2825437 h 2936314"/>
                <a:gd name="connsiteX30" fmla="*/ 10621108 w 11867103"/>
                <a:gd name="connsiteY30" fmla="*/ 2815389 h 2936314"/>
                <a:gd name="connsiteX31" fmla="*/ 10128739 w 11867103"/>
                <a:gd name="connsiteY31" fmla="*/ 2825437 h 2936314"/>
                <a:gd name="connsiteX32" fmla="*/ 10048352 w 11867103"/>
                <a:gd name="connsiteY32" fmla="*/ 2835485 h 2936314"/>
                <a:gd name="connsiteX33" fmla="*/ 9555982 w 11867103"/>
                <a:gd name="connsiteY33" fmla="*/ 2825437 h 2936314"/>
                <a:gd name="connsiteX34" fmla="*/ 9445451 w 11867103"/>
                <a:gd name="connsiteY34" fmla="*/ 2815389 h 2936314"/>
                <a:gd name="connsiteX35" fmla="*/ 9415306 w 11867103"/>
                <a:gd name="connsiteY35" fmla="*/ 2795292 h 2936314"/>
                <a:gd name="connsiteX36" fmla="*/ 9204290 w 11867103"/>
                <a:gd name="connsiteY36" fmla="*/ 2775195 h 2936314"/>
                <a:gd name="connsiteX37" fmla="*/ 9073662 w 11867103"/>
                <a:gd name="connsiteY37" fmla="*/ 2755098 h 2936314"/>
                <a:gd name="connsiteX38" fmla="*/ 8812404 w 11867103"/>
                <a:gd name="connsiteY38" fmla="*/ 2745050 h 2936314"/>
                <a:gd name="connsiteX39" fmla="*/ 8400422 w 11867103"/>
                <a:gd name="connsiteY39" fmla="*/ 2735002 h 2936314"/>
                <a:gd name="connsiteX40" fmla="*/ 8269793 w 11867103"/>
                <a:gd name="connsiteY40" fmla="*/ 2724953 h 2936314"/>
                <a:gd name="connsiteX41" fmla="*/ 7797521 w 11867103"/>
                <a:gd name="connsiteY41" fmla="*/ 2745050 h 2936314"/>
                <a:gd name="connsiteX42" fmla="*/ 7717134 w 11867103"/>
                <a:gd name="connsiteY42" fmla="*/ 2755098 h 2936314"/>
                <a:gd name="connsiteX43" fmla="*/ 7486022 w 11867103"/>
                <a:gd name="connsiteY43" fmla="*/ 2785244 h 2936314"/>
                <a:gd name="connsiteX44" fmla="*/ 7395587 w 11867103"/>
                <a:gd name="connsiteY44" fmla="*/ 2805340 h 2936314"/>
                <a:gd name="connsiteX45" fmla="*/ 7325248 w 11867103"/>
                <a:gd name="connsiteY45" fmla="*/ 2815389 h 2936314"/>
                <a:gd name="connsiteX46" fmla="*/ 6863024 w 11867103"/>
                <a:gd name="connsiteY46" fmla="*/ 2805340 h 2936314"/>
                <a:gd name="connsiteX47" fmla="*/ 6722347 w 11867103"/>
                <a:gd name="connsiteY47" fmla="*/ 2795292 h 2936314"/>
                <a:gd name="connsiteX48" fmla="*/ 4903596 w 11867103"/>
                <a:gd name="connsiteY48" fmla="*/ 2845534 h 2936314"/>
                <a:gd name="connsiteX49" fmla="*/ 4722725 w 11867103"/>
                <a:gd name="connsiteY49" fmla="*/ 2885727 h 2936314"/>
                <a:gd name="connsiteX50" fmla="*/ 4300695 w 11867103"/>
                <a:gd name="connsiteY50" fmla="*/ 2865630 h 2936314"/>
                <a:gd name="connsiteX51" fmla="*/ 4059534 w 11867103"/>
                <a:gd name="connsiteY51" fmla="*/ 2825437 h 2936314"/>
                <a:gd name="connsiteX52" fmla="*/ 3768132 w 11867103"/>
                <a:gd name="connsiteY52" fmla="*/ 2795292 h 2936314"/>
                <a:gd name="connsiteX53" fmla="*/ 3627455 w 11867103"/>
                <a:gd name="connsiteY53" fmla="*/ 2785244 h 2936314"/>
                <a:gd name="connsiteX54" fmla="*/ 3125037 w 11867103"/>
                <a:gd name="connsiteY54" fmla="*/ 2795292 h 2936314"/>
                <a:gd name="connsiteX55" fmla="*/ 3064747 w 11867103"/>
                <a:gd name="connsiteY55" fmla="*/ 2805340 h 2936314"/>
                <a:gd name="connsiteX56" fmla="*/ 2009670 w 11867103"/>
                <a:gd name="connsiteY56" fmla="*/ 2815389 h 2936314"/>
                <a:gd name="connsiteX57" fmla="*/ 1678075 w 11867103"/>
                <a:gd name="connsiteY57" fmla="*/ 2905824 h 2936314"/>
                <a:gd name="connsiteX58" fmla="*/ 1607736 w 11867103"/>
                <a:gd name="connsiteY58" fmla="*/ 2935969 h 2936314"/>
                <a:gd name="connsiteX59" fmla="*/ 1135464 w 11867103"/>
                <a:gd name="connsiteY59" fmla="*/ 2915872 h 2936314"/>
                <a:gd name="connsiteX60" fmla="*/ 944545 w 11867103"/>
                <a:gd name="connsiteY60" fmla="*/ 2885727 h 2936314"/>
                <a:gd name="connsiteX61" fmla="*/ 723481 w 11867103"/>
                <a:gd name="connsiteY61" fmla="*/ 2845534 h 2936314"/>
                <a:gd name="connsiteX62" fmla="*/ 643095 w 11867103"/>
                <a:gd name="connsiteY62" fmla="*/ 2835485 h 2936314"/>
                <a:gd name="connsiteX63" fmla="*/ 371789 w 11867103"/>
                <a:gd name="connsiteY63" fmla="*/ 2795292 h 2936314"/>
                <a:gd name="connsiteX64" fmla="*/ 0 w 11867103"/>
                <a:gd name="connsiteY64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705235 h 2936314"/>
                <a:gd name="connsiteX20" fmla="*/ 11806813 w 11867103"/>
                <a:gd name="connsiteY20" fmla="*/ 835863 h 2936314"/>
                <a:gd name="connsiteX21" fmla="*/ 11816862 w 11867103"/>
                <a:gd name="connsiteY21" fmla="*/ 2302923 h 2936314"/>
                <a:gd name="connsiteX22" fmla="*/ 11826910 w 11867103"/>
                <a:gd name="connsiteY22" fmla="*/ 2373261 h 2936314"/>
                <a:gd name="connsiteX23" fmla="*/ 11836958 w 11867103"/>
                <a:gd name="connsiteY23" fmla="*/ 2403406 h 2936314"/>
                <a:gd name="connsiteX24" fmla="*/ 11857055 w 11867103"/>
                <a:gd name="connsiteY24" fmla="*/ 2534035 h 2936314"/>
                <a:gd name="connsiteX25" fmla="*/ 11867103 w 11867103"/>
                <a:gd name="connsiteY25" fmla="*/ 2574228 h 2936314"/>
                <a:gd name="connsiteX26" fmla="*/ 11857055 w 11867103"/>
                <a:gd name="connsiteY26" fmla="*/ 2805340 h 2936314"/>
                <a:gd name="connsiteX27" fmla="*/ 11836958 w 11867103"/>
                <a:gd name="connsiteY27" fmla="*/ 2835485 h 2936314"/>
                <a:gd name="connsiteX28" fmla="*/ 11033090 w 11867103"/>
                <a:gd name="connsiteY28" fmla="*/ 2825437 h 2936314"/>
                <a:gd name="connsiteX29" fmla="*/ 10621108 w 11867103"/>
                <a:gd name="connsiteY29" fmla="*/ 2815389 h 2936314"/>
                <a:gd name="connsiteX30" fmla="*/ 10128739 w 11867103"/>
                <a:gd name="connsiteY30" fmla="*/ 2825437 h 2936314"/>
                <a:gd name="connsiteX31" fmla="*/ 10048352 w 11867103"/>
                <a:gd name="connsiteY31" fmla="*/ 2835485 h 2936314"/>
                <a:gd name="connsiteX32" fmla="*/ 9555982 w 11867103"/>
                <a:gd name="connsiteY32" fmla="*/ 2825437 h 2936314"/>
                <a:gd name="connsiteX33" fmla="*/ 9445451 w 11867103"/>
                <a:gd name="connsiteY33" fmla="*/ 2815389 h 2936314"/>
                <a:gd name="connsiteX34" fmla="*/ 9415306 w 11867103"/>
                <a:gd name="connsiteY34" fmla="*/ 2795292 h 2936314"/>
                <a:gd name="connsiteX35" fmla="*/ 9204290 w 11867103"/>
                <a:gd name="connsiteY35" fmla="*/ 2775195 h 2936314"/>
                <a:gd name="connsiteX36" fmla="*/ 9073662 w 11867103"/>
                <a:gd name="connsiteY36" fmla="*/ 2755098 h 2936314"/>
                <a:gd name="connsiteX37" fmla="*/ 8812404 w 11867103"/>
                <a:gd name="connsiteY37" fmla="*/ 2745050 h 2936314"/>
                <a:gd name="connsiteX38" fmla="*/ 8400422 w 11867103"/>
                <a:gd name="connsiteY38" fmla="*/ 2735002 h 2936314"/>
                <a:gd name="connsiteX39" fmla="*/ 8269793 w 11867103"/>
                <a:gd name="connsiteY39" fmla="*/ 2724953 h 2936314"/>
                <a:gd name="connsiteX40" fmla="*/ 7797521 w 11867103"/>
                <a:gd name="connsiteY40" fmla="*/ 2745050 h 2936314"/>
                <a:gd name="connsiteX41" fmla="*/ 7717134 w 11867103"/>
                <a:gd name="connsiteY41" fmla="*/ 2755098 h 2936314"/>
                <a:gd name="connsiteX42" fmla="*/ 7486022 w 11867103"/>
                <a:gd name="connsiteY42" fmla="*/ 2785244 h 2936314"/>
                <a:gd name="connsiteX43" fmla="*/ 7395587 w 11867103"/>
                <a:gd name="connsiteY43" fmla="*/ 2805340 h 2936314"/>
                <a:gd name="connsiteX44" fmla="*/ 7325248 w 11867103"/>
                <a:gd name="connsiteY44" fmla="*/ 2815389 h 2936314"/>
                <a:gd name="connsiteX45" fmla="*/ 6863024 w 11867103"/>
                <a:gd name="connsiteY45" fmla="*/ 2805340 h 2936314"/>
                <a:gd name="connsiteX46" fmla="*/ 6722347 w 11867103"/>
                <a:gd name="connsiteY46" fmla="*/ 2795292 h 2936314"/>
                <a:gd name="connsiteX47" fmla="*/ 4903596 w 11867103"/>
                <a:gd name="connsiteY47" fmla="*/ 2845534 h 2936314"/>
                <a:gd name="connsiteX48" fmla="*/ 4722725 w 11867103"/>
                <a:gd name="connsiteY48" fmla="*/ 2885727 h 2936314"/>
                <a:gd name="connsiteX49" fmla="*/ 4300695 w 11867103"/>
                <a:gd name="connsiteY49" fmla="*/ 2865630 h 2936314"/>
                <a:gd name="connsiteX50" fmla="*/ 4059534 w 11867103"/>
                <a:gd name="connsiteY50" fmla="*/ 2825437 h 2936314"/>
                <a:gd name="connsiteX51" fmla="*/ 3768132 w 11867103"/>
                <a:gd name="connsiteY51" fmla="*/ 2795292 h 2936314"/>
                <a:gd name="connsiteX52" fmla="*/ 3627455 w 11867103"/>
                <a:gd name="connsiteY52" fmla="*/ 2785244 h 2936314"/>
                <a:gd name="connsiteX53" fmla="*/ 3125037 w 11867103"/>
                <a:gd name="connsiteY53" fmla="*/ 2795292 h 2936314"/>
                <a:gd name="connsiteX54" fmla="*/ 3064747 w 11867103"/>
                <a:gd name="connsiteY54" fmla="*/ 2805340 h 2936314"/>
                <a:gd name="connsiteX55" fmla="*/ 2009670 w 11867103"/>
                <a:gd name="connsiteY55" fmla="*/ 2815389 h 2936314"/>
                <a:gd name="connsiteX56" fmla="*/ 1678075 w 11867103"/>
                <a:gd name="connsiteY56" fmla="*/ 2905824 h 2936314"/>
                <a:gd name="connsiteX57" fmla="*/ 1607736 w 11867103"/>
                <a:gd name="connsiteY57" fmla="*/ 2935969 h 2936314"/>
                <a:gd name="connsiteX58" fmla="*/ 1135464 w 11867103"/>
                <a:gd name="connsiteY58" fmla="*/ 2915872 h 2936314"/>
                <a:gd name="connsiteX59" fmla="*/ 944545 w 11867103"/>
                <a:gd name="connsiteY59" fmla="*/ 2885727 h 2936314"/>
                <a:gd name="connsiteX60" fmla="*/ 723481 w 11867103"/>
                <a:gd name="connsiteY60" fmla="*/ 2845534 h 2936314"/>
                <a:gd name="connsiteX61" fmla="*/ 643095 w 11867103"/>
                <a:gd name="connsiteY61" fmla="*/ 2835485 h 2936314"/>
                <a:gd name="connsiteX62" fmla="*/ 371789 w 11867103"/>
                <a:gd name="connsiteY62" fmla="*/ 2795292 h 2936314"/>
                <a:gd name="connsiteX63" fmla="*/ 0 w 11867103"/>
                <a:gd name="connsiteY63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705235 h 2936314"/>
                <a:gd name="connsiteX20" fmla="*/ 11816862 w 11867103"/>
                <a:gd name="connsiteY20" fmla="*/ 2302923 h 2936314"/>
                <a:gd name="connsiteX21" fmla="*/ 11826910 w 11867103"/>
                <a:gd name="connsiteY21" fmla="*/ 2373261 h 2936314"/>
                <a:gd name="connsiteX22" fmla="*/ 11836958 w 11867103"/>
                <a:gd name="connsiteY22" fmla="*/ 2403406 h 2936314"/>
                <a:gd name="connsiteX23" fmla="*/ 11857055 w 11867103"/>
                <a:gd name="connsiteY23" fmla="*/ 2534035 h 2936314"/>
                <a:gd name="connsiteX24" fmla="*/ 11867103 w 11867103"/>
                <a:gd name="connsiteY24" fmla="*/ 2574228 h 2936314"/>
                <a:gd name="connsiteX25" fmla="*/ 11857055 w 11867103"/>
                <a:gd name="connsiteY25" fmla="*/ 2805340 h 2936314"/>
                <a:gd name="connsiteX26" fmla="*/ 11836958 w 11867103"/>
                <a:gd name="connsiteY26" fmla="*/ 2835485 h 2936314"/>
                <a:gd name="connsiteX27" fmla="*/ 11033090 w 11867103"/>
                <a:gd name="connsiteY27" fmla="*/ 2825437 h 2936314"/>
                <a:gd name="connsiteX28" fmla="*/ 10621108 w 11867103"/>
                <a:gd name="connsiteY28" fmla="*/ 2815389 h 2936314"/>
                <a:gd name="connsiteX29" fmla="*/ 10128739 w 11867103"/>
                <a:gd name="connsiteY29" fmla="*/ 2825437 h 2936314"/>
                <a:gd name="connsiteX30" fmla="*/ 10048352 w 11867103"/>
                <a:gd name="connsiteY30" fmla="*/ 2835485 h 2936314"/>
                <a:gd name="connsiteX31" fmla="*/ 9555982 w 11867103"/>
                <a:gd name="connsiteY31" fmla="*/ 2825437 h 2936314"/>
                <a:gd name="connsiteX32" fmla="*/ 9445451 w 11867103"/>
                <a:gd name="connsiteY32" fmla="*/ 2815389 h 2936314"/>
                <a:gd name="connsiteX33" fmla="*/ 9415306 w 11867103"/>
                <a:gd name="connsiteY33" fmla="*/ 2795292 h 2936314"/>
                <a:gd name="connsiteX34" fmla="*/ 9204290 w 11867103"/>
                <a:gd name="connsiteY34" fmla="*/ 2775195 h 2936314"/>
                <a:gd name="connsiteX35" fmla="*/ 9073662 w 11867103"/>
                <a:gd name="connsiteY35" fmla="*/ 2755098 h 2936314"/>
                <a:gd name="connsiteX36" fmla="*/ 8812404 w 11867103"/>
                <a:gd name="connsiteY36" fmla="*/ 2745050 h 2936314"/>
                <a:gd name="connsiteX37" fmla="*/ 8400422 w 11867103"/>
                <a:gd name="connsiteY37" fmla="*/ 2735002 h 2936314"/>
                <a:gd name="connsiteX38" fmla="*/ 8269793 w 11867103"/>
                <a:gd name="connsiteY38" fmla="*/ 2724953 h 2936314"/>
                <a:gd name="connsiteX39" fmla="*/ 7797521 w 11867103"/>
                <a:gd name="connsiteY39" fmla="*/ 2745050 h 2936314"/>
                <a:gd name="connsiteX40" fmla="*/ 7717134 w 11867103"/>
                <a:gd name="connsiteY40" fmla="*/ 2755098 h 2936314"/>
                <a:gd name="connsiteX41" fmla="*/ 7486022 w 11867103"/>
                <a:gd name="connsiteY41" fmla="*/ 2785244 h 2936314"/>
                <a:gd name="connsiteX42" fmla="*/ 7395587 w 11867103"/>
                <a:gd name="connsiteY42" fmla="*/ 2805340 h 2936314"/>
                <a:gd name="connsiteX43" fmla="*/ 7325248 w 11867103"/>
                <a:gd name="connsiteY43" fmla="*/ 2815389 h 2936314"/>
                <a:gd name="connsiteX44" fmla="*/ 6863024 w 11867103"/>
                <a:gd name="connsiteY44" fmla="*/ 2805340 h 2936314"/>
                <a:gd name="connsiteX45" fmla="*/ 6722347 w 11867103"/>
                <a:gd name="connsiteY45" fmla="*/ 2795292 h 2936314"/>
                <a:gd name="connsiteX46" fmla="*/ 4903596 w 11867103"/>
                <a:gd name="connsiteY46" fmla="*/ 2845534 h 2936314"/>
                <a:gd name="connsiteX47" fmla="*/ 4722725 w 11867103"/>
                <a:gd name="connsiteY47" fmla="*/ 2885727 h 2936314"/>
                <a:gd name="connsiteX48" fmla="*/ 4300695 w 11867103"/>
                <a:gd name="connsiteY48" fmla="*/ 2865630 h 2936314"/>
                <a:gd name="connsiteX49" fmla="*/ 4059534 w 11867103"/>
                <a:gd name="connsiteY49" fmla="*/ 2825437 h 2936314"/>
                <a:gd name="connsiteX50" fmla="*/ 3768132 w 11867103"/>
                <a:gd name="connsiteY50" fmla="*/ 2795292 h 2936314"/>
                <a:gd name="connsiteX51" fmla="*/ 3627455 w 11867103"/>
                <a:gd name="connsiteY51" fmla="*/ 2785244 h 2936314"/>
                <a:gd name="connsiteX52" fmla="*/ 3125037 w 11867103"/>
                <a:gd name="connsiteY52" fmla="*/ 2795292 h 2936314"/>
                <a:gd name="connsiteX53" fmla="*/ 3064747 w 11867103"/>
                <a:gd name="connsiteY53" fmla="*/ 2805340 h 2936314"/>
                <a:gd name="connsiteX54" fmla="*/ 2009670 w 11867103"/>
                <a:gd name="connsiteY54" fmla="*/ 2815389 h 2936314"/>
                <a:gd name="connsiteX55" fmla="*/ 1678075 w 11867103"/>
                <a:gd name="connsiteY55" fmla="*/ 2905824 h 2936314"/>
                <a:gd name="connsiteX56" fmla="*/ 1607736 w 11867103"/>
                <a:gd name="connsiteY56" fmla="*/ 2935969 h 2936314"/>
                <a:gd name="connsiteX57" fmla="*/ 1135464 w 11867103"/>
                <a:gd name="connsiteY57" fmla="*/ 2915872 h 2936314"/>
                <a:gd name="connsiteX58" fmla="*/ 944545 w 11867103"/>
                <a:gd name="connsiteY58" fmla="*/ 2885727 h 2936314"/>
                <a:gd name="connsiteX59" fmla="*/ 723481 w 11867103"/>
                <a:gd name="connsiteY59" fmla="*/ 2845534 h 2936314"/>
                <a:gd name="connsiteX60" fmla="*/ 643095 w 11867103"/>
                <a:gd name="connsiteY60" fmla="*/ 2835485 h 2936314"/>
                <a:gd name="connsiteX61" fmla="*/ 371789 w 11867103"/>
                <a:gd name="connsiteY61" fmla="*/ 2795292 h 2936314"/>
                <a:gd name="connsiteX62" fmla="*/ 0 w 11867103"/>
                <a:gd name="connsiteY62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16862 w 11867103"/>
                <a:gd name="connsiteY19" fmla="*/ 2302923 h 2936314"/>
                <a:gd name="connsiteX20" fmla="*/ 11826910 w 11867103"/>
                <a:gd name="connsiteY20" fmla="*/ 2373261 h 2936314"/>
                <a:gd name="connsiteX21" fmla="*/ 11836958 w 11867103"/>
                <a:gd name="connsiteY21" fmla="*/ 2403406 h 2936314"/>
                <a:gd name="connsiteX22" fmla="*/ 11857055 w 11867103"/>
                <a:gd name="connsiteY22" fmla="*/ 2534035 h 2936314"/>
                <a:gd name="connsiteX23" fmla="*/ 11867103 w 11867103"/>
                <a:gd name="connsiteY23" fmla="*/ 2574228 h 2936314"/>
                <a:gd name="connsiteX24" fmla="*/ 11857055 w 11867103"/>
                <a:gd name="connsiteY24" fmla="*/ 2805340 h 2936314"/>
                <a:gd name="connsiteX25" fmla="*/ 11836958 w 11867103"/>
                <a:gd name="connsiteY25" fmla="*/ 2835485 h 2936314"/>
                <a:gd name="connsiteX26" fmla="*/ 11033090 w 11867103"/>
                <a:gd name="connsiteY26" fmla="*/ 2825437 h 2936314"/>
                <a:gd name="connsiteX27" fmla="*/ 10621108 w 11867103"/>
                <a:gd name="connsiteY27" fmla="*/ 2815389 h 2936314"/>
                <a:gd name="connsiteX28" fmla="*/ 10128739 w 11867103"/>
                <a:gd name="connsiteY28" fmla="*/ 2825437 h 2936314"/>
                <a:gd name="connsiteX29" fmla="*/ 10048352 w 11867103"/>
                <a:gd name="connsiteY29" fmla="*/ 2835485 h 2936314"/>
                <a:gd name="connsiteX30" fmla="*/ 9555982 w 11867103"/>
                <a:gd name="connsiteY30" fmla="*/ 2825437 h 2936314"/>
                <a:gd name="connsiteX31" fmla="*/ 9445451 w 11867103"/>
                <a:gd name="connsiteY31" fmla="*/ 2815389 h 2936314"/>
                <a:gd name="connsiteX32" fmla="*/ 9415306 w 11867103"/>
                <a:gd name="connsiteY32" fmla="*/ 2795292 h 2936314"/>
                <a:gd name="connsiteX33" fmla="*/ 9204290 w 11867103"/>
                <a:gd name="connsiteY33" fmla="*/ 2775195 h 2936314"/>
                <a:gd name="connsiteX34" fmla="*/ 9073662 w 11867103"/>
                <a:gd name="connsiteY34" fmla="*/ 2755098 h 2936314"/>
                <a:gd name="connsiteX35" fmla="*/ 8812404 w 11867103"/>
                <a:gd name="connsiteY35" fmla="*/ 2745050 h 2936314"/>
                <a:gd name="connsiteX36" fmla="*/ 8400422 w 11867103"/>
                <a:gd name="connsiteY36" fmla="*/ 2735002 h 2936314"/>
                <a:gd name="connsiteX37" fmla="*/ 8269793 w 11867103"/>
                <a:gd name="connsiteY37" fmla="*/ 2724953 h 2936314"/>
                <a:gd name="connsiteX38" fmla="*/ 7797521 w 11867103"/>
                <a:gd name="connsiteY38" fmla="*/ 2745050 h 2936314"/>
                <a:gd name="connsiteX39" fmla="*/ 7717134 w 11867103"/>
                <a:gd name="connsiteY39" fmla="*/ 2755098 h 2936314"/>
                <a:gd name="connsiteX40" fmla="*/ 7486022 w 11867103"/>
                <a:gd name="connsiteY40" fmla="*/ 2785244 h 2936314"/>
                <a:gd name="connsiteX41" fmla="*/ 7395587 w 11867103"/>
                <a:gd name="connsiteY41" fmla="*/ 2805340 h 2936314"/>
                <a:gd name="connsiteX42" fmla="*/ 7325248 w 11867103"/>
                <a:gd name="connsiteY42" fmla="*/ 2815389 h 2936314"/>
                <a:gd name="connsiteX43" fmla="*/ 6863024 w 11867103"/>
                <a:gd name="connsiteY43" fmla="*/ 2805340 h 2936314"/>
                <a:gd name="connsiteX44" fmla="*/ 6722347 w 11867103"/>
                <a:gd name="connsiteY44" fmla="*/ 2795292 h 2936314"/>
                <a:gd name="connsiteX45" fmla="*/ 4903596 w 11867103"/>
                <a:gd name="connsiteY45" fmla="*/ 2845534 h 2936314"/>
                <a:gd name="connsiteX46" fmla="*/ 4722725 w 11867103"/>
                <a:gd name="connsiteY46" fmla="*/ 2885727 h 2936314"/>
                <a:gd name="connsiteX47" fmla="*/ 4300695 w 11867103"/>
                <a:gd name="connsiteY47" fmla="*/ 2865630 h 2936314"/>
                <a:gd name="connsiteX48" fmla="*/ 4059534 w 11867103"/>
                <a:gd name="connsiteY48" fmla="*/ 2825437 h 2936314"/>
                <a:gd name="connsiteX49" fmla="*/ 3768132 w 11867103"/>
                <a:gd name="connsiteY49" fmla="*/ 2795292 h 2936314"/>
                <a:gd name="connsiteX50" fmla="*/ 3627455 w 11867103"/>
                <a:gd name="connsiteY50" fmla="*/ 2785244 h 2936314"/>
                <a:gd name="connsiteX51" fmla="*/ 3125037 w 11867103"/>
                <a:gd name="connsiteY51" fmla="*/ 2795292 h 2936314"/>
                <a:gd name="connsiteX52" fmla="*/ 3064747 w 11867103"/>
                <a:gd name="connsiteY52" fmla="*/ 2805340 h 2936314"/>
                <a:gd name="connsiteX53" fmla="*/ 2009670 w 11867103"/>
                <a:gd name="connsiteY53" fmla="*/ 2815389 h 2936314"/>
                <a:gd name="connsiteX54" fmla="*/ 1678075 w 11867103"/>
                <a:gd name="connsiteY54" fmla="*/ 2905824 h 2936314"/>
                <a:gd name="connsiteX55" fmla="*/ 1607736 w 11867103"/>
                <a:gd name="connsiteY55" fmla="*/ 2935969 h 2936314"/>
                <a:gd name="connsiteX56" fmla="*/ 1135464 w 11867103"/>
                <a:gd name="connsiteY56" fmla="*/ 2915872 h 2936314"/>
                <a:gd name="connsiteX57" fmla="*/ 944545 w 11867103"/>
                <a:gd name="connsiteY57" fmla="*/ 2885727 h 2936314"/>
                <a:gd name="connsiteX58" fmla="*/ 723481 w 11867103"/>
                <a:gd name="connsiteY58" fmla="*/ 2845534 h 2936314"/>
                <a:gd name="connsiteX59" fmla="*/ 643095 w 11867103"/>
                <a:gd name="connsiteY59" fmla="*/ 2835485 h 2936314"/>
                <a:gd name="connsiteX60" fmla="*/ 371789 w 11867103"/>
                <a:gd name="connsiteY60" fmla="*/ 2795292 h 2936314"/>
                <a:gd name="connsiteX61" fmla="*/ 0 w 11867103"/>
                <a:gd name="connsiteY61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16862 w 11867103"/>
                <a:gd name="connsiteY18" fmla="*/ 2302923 h 2936314"/>
                <a:gd name="connsiteX19" fmla="*/ 11826910 w 11867103"/>
                <a:gd name="connsiteY19" fmla="*/ 2373261 h 2936314"/>
                <a:gd name="connsiteX20" fmla="*/ 11836958 w 11867103"/>
                <a:gd name="connsiteY20" fmla="*/ 2403406 h 2936314"/>
                <a:gd name="connsiteX21" fmla="*/ 11857055 w 11867103"/>
                <a:gd name="connsiteY21" fmla="*/ 2534035 h 2936314"/>
                <a:gd name="connsiteX22" fmla="*/ 11867103 w 11867103"/>
                <a:gd name="connsiteY22" fmla="*/ 2574228 h 2936314"/>
                <a:gd name="connsiteX23" fmla="*/ 11857055 w 11867103"/>
                <a:gd name="connsiteY23" fmla="*/ 2805340 h 2936314"/>
                <a:gd name="connsiteX24" fmla="*/ 11836958 w 11867103"/>
                <a:gd name="connsiteY24" fmla="*/ 2835485 h 2936314"/>
                <a:gd name="connsiteX25" fmla="*/ 11033090 w 11867103"/>
                <a:gd name="connsiteY25" fmla="*/ 2825437 h 2936314"/>
                <a:gd name="connsiteX26" fmla="*/ 10621108 w 11867103"/>
                <a:gd name="connsiteY26" fmla="*/ 2815389 h 2936314"/>
                <a:gd name="connsiteX27" fmla="*/ 10128739 w 11867103"/>
                <a:gd name="connsiteY27" fmla="*/ 2825437 h 2936314"/>
                <a:gd name="connsiteX28" fmla="*/ 10048352 w 11867103"/>
                <a:gd name="connsiteY28" fmla="*/ 2835485 h 2936314"/>
                <a:gd name="connsiteX29" fmla="*/ 9555982 w 11867103"/>
                <a:gd name="connsiteY29" fmla="*/ 2825437 h 2936314"/>
                <a:gd name="connsiteX30" fmla="*/ 9445451 w 11867103"/>
                <a:gd name="connsiteY30" fmla="*/ 2815389 h 2936314"/>
                <a:gd name="connsiteX31" fmla="*/ 9415306 w 11867103"/>
                <a:gd name="connsiteY31" fmla="*/ 2795292 h 2936314"/>
                <a:gd name="connsiteX32" fmla="*/ 9204290 w 11867103"/>
                <a:gd name="connsiteY32" fmla="*/ 2775195 h 2936314"/>
                <a:gd name="connsiteX33" fmla="*/ 9073662 w 11867103"/>
                <a:gd name="connsiteY33" fmla="*/ 2755098 h 2936314"/>
                <a:gd name="connsiteX34" fmla="*/ 8812404 w 11867103"/>
                <a:gd name="connsiteY34" fmla="*/ 2745050 h 2936314"/>
                <a:gd name="connsiteX35" fmla="*/ 8400422 w 11867103"/>
                <a:gd name="connsiteY35" fmla="*/ 2735002 h 2936314"/>
                <a:gd name="connsiteX36" fmla="*/ 8269793 w 11867103"/>
                <a:gd name="connsiteY36" fmla="*/ 2724953 h 2936314"/>
                <a:gd name="connsiteX37" fmla="*/ 7797521 w 11867103"/>
                <a:gd name="connsiteY37" fmla="*/ 2745050 h 2936314"/>
                <a:gd name="connsiteX38" fmla="*/ 7717134 w 11867103"/>
                <a:gd name="connsiteY38" fmla="*/ 2755098 h 2936314"/>
                <a:gd name="connsiteX39" fmla="*/ 7486022 w 11867103"/>
                <a:gd name="connsiteY39" fmla="*/ 2785244 h 2936314"/>
                <a:gd name="connsiteX40" fmla="*/ 7395587 w 11867103"/>
                <a:gd name="connsiteY40" fmla="*/ 2805340 h 2936314"/>
                <a:gd name="connsiteX41" fmla="*/ 7325248 w 11867103"/>
                <a:gd name="connsiteY41" fmla="*/ 2815389 h 2936314"/>
                <a:gd name="connsiteX42" fmla="*/ 6863024 w 11867103"/>
                <a:gd name="connsiteY42" fmla="*/ 2805340 h 2936314"/>
                <a:gd name="connsiteX43" fmla="*/ 6722347 w 11867103"/>
                <a:gd name="connsiteY43" fmla="*/ 2795292 h 2936314"/>
                <a:gd name="connsiteX44" fmla="*/ 4903596 w 11867103"/>
                <a:gd name="connsiteY44" fmla="*/ 2845534 h 2936314"/>
                <a:gd name="connsiteX45" fmla="*/ 4722725 w 11867103"/>
                <a:gd name="connsiteY45" fmla="*/ 2885727 h 2936314"/>
                <a:gd name="connsiteX46" fmla="*/ 4300695 w 11867103"/>
                <a:gd name="connsiteY46" fmla="*/ 2865630 h 2936314"/>
                <a:gd name="connsiteX47" fmla="*/ 4059534 w 11867103"/>
                <a:gd name="connsiteY47" fmla="*/ 2825437 h 2936314"/>
                <a:gd name="connsiteX48" fmla="*/ 3768132 w 11867103"/>
                <a:gd name="connsiteY48" fmla="*/ 2795292 h 2936314"/>
                <a:gd name="connsiteX49" fmla="*/ 3627455 w 11867103"/>
                <a:gd name="connsiteY49" fmla="*/ 2785244 h 2936314"/>
                <a:gd name="connsiteX50" fmla="*/ 3125037 w 11867103"/>
                <a:gd name="connsiteY50" fmla="*/ 2795292 h 2936314"/>
                <a:gd name="connsiteX51" fmla="*/ 3064747 w 11867103"/>
                <a:gd name="connsiteY51" fmla="*/ 2805340 h 2936314"/>
                <a:gd name="connsiteX52" fmla="*/ 2009670 w 11867103"/>
                <a:gd name="connsiteY52" fmla="*/ 2815389 h 2936314"/>
                <a:gd name="connsiteX53" fmla="*/ 1678075 w 11867103"/>
                <a:gd name="connsiteY53" fmla="*/ 2905824 h 2936314"/>
                <a:gd name="connsiteX54" fmla="*/ 1607736 w 11867103"/>
                <a:gd name="connsiteY54" fmla="*/ 2935969 h 2936314"/>
                <a:gd name="connsiteX55" fmla="*/ 1135464 w 11867103"/>
                <a:gd name="connsiteY55" fmla="*/ 2915872 h 2936314"/>
                <a:gd name="connsiteX56" fmla="*/ 944545 w 11867103"/>
                <a:gd name="connsiteY56" fmla="*/ 2885727 h 2936314"/>
                <a:gd name="connsiteX57" fmla="*/ 723481 w 11867103"/>
                <a:gd name="connsiteY57" fmla="*/ 2845534 h 2936314"/>
                <a:gd name="connsiteX58" fmla="*/ 643095 w 11867103"/>
                <a:gd name="connsiteY58" fmla="*/ 2835485 h 2936314"/>
                <a:gd name="connsiteX59" fmla="*/ 371789 w 11867103"/>
                <a:gd name="connsiteY59" fmla="*/ 2795292 h 2936314"/>
                <a:gd name="connsiteX60" fmla="*/ 0 w 11867103"/>
                <a:gd name="connsiteY60" fmla="*/ 2785244 h 2936314"/>
                <a:gd name="connsiteX0" fmla="*/ 120580 w 11867103"/>
                <a:gd name="connsiteY0" fmla="*/ 146825 h 3061192"/>
                <a:gd name="connsiteX1" fmla="*/ 281354 w 11867103"/>
                <a:gd name="connsiteY1" fmla="*/ 136776 h 3061192"/>
                <a:gd name="connsiteX2" fmla="*/ 673240 w 11867103"/>
                <a:gd name="connsiteY2" fmla="*/ 126728 h 3061192"/>
                <a:gd name="connsiteX3" fmla="*/ 1356528 w 11867103"/>
                <a:gd name="connsiteY3" fmla="*/ 176970 h 3061192"/>
                <a:gd name="connsiteX4" fmla="*/ 1758462 w 11867103"/>
                <a:gd name="connsiteY4" fmla="*/ 136776 h 3061192"/>
                <a:gd name="connsiteX5" fmla="*/ 2140299 w 11867103"/>
                <a:gd name="connsiteY5" fmla="*/ 136776 h 3061192"/>
                <a:gd name="connsiteX6" fmla="*/ 4652387 w 11867103"/>
                <a:gd name="connsiteY6" fmla="*/ 156873 h 3061192"/>
                <a:gd name="connsiteX7" fmla="*/ 4692580 w 11867103"/>
                <a:gd name="connsiteY7" fmla="*/ 166922 h 3061192"/>
                <a:gd name="connsiteX8" fmla="*/ 6420897 w 11867103"/>
                <a:gd name="connsiteY8" fmla="*/ 187018 h 3061192"/>
                <a:gd name="connsiteX9" fmla="*/ 7184571 w 11867103"/>
                <a:gd name="connsiteY9" fmla="*/ 156873 h 3061192"/>
                <a:gd name="connsiteX10" fmla="*/ 7928150 w 11867103"/>
                <a:gd name="connsiteY10" fmla="*/ 156873 h 3061192"/>
                <a:gd name="connsiteX11" fmla="*/ 8219552 w 11867103"/>
                <a:gd name="connsiteY11" fmla="*/ 187018 h 3061192"/>
                <a:gd name="connsiteX12" fmla="*/ 9606224 w 11867103"/>
                <a:gd name="connsiteY12" fmla="*/ 187018 h 3061192"/>
                <a:gd name="connsiteX13" fmla="*/ 9947868 w 11867103"/>
                <a:gd name="connsiteY13" fmla="*/ 156873 h 3061192"/>
                <a:gd name="connsiteX14" fmla="*/ 10791930 w 11867103"/>
                <a:gd name="connsiteY14" fmla="*/ 126728 h 3061192"/>
                <a:gd name="connsiteX15" fmla="*/ 11736475 w 11867103"/>
                <a:gd name="connsiteY15" fmla="*/ 146825 h 3061192"/>
                <a:gd name="connsiteX16" fmla="*/ 11766620 w 11867103"/>
                <a:gd name="connsiteY16" fmla="*/ 176970 h 3061192"/>
                <a:gd name="connsiteX17" fmla="*/ 11816862 w 11867103"/>
                <a:gd name="connsiteY17" fmla="*/ 2427801 h 3061192"/>
                <a:gd name="connsiteX18" fmla="*/ 11826910 w 11867103"/>
                <a:gd name="connsiteY18" fmla="*/ 2498139 h 3061192"/>
                <a:gd name="connsiteX19" fmla="*/ 11836958 w 11867103"/>
                <a:gd name="connsiteY19" fmla="*/ 2528284 h 3061192"/>
                <a:gd name="connsiteX20" fmla="*/ 11857055 w 11867103"/>
                <a:gd name="connsiteY20" fmla="*/ 2658913 h 3061192"/>
                <a:gd name="connsiteX21" fmla="*/ 11867103 w 11867103"/>
                <a:gd name="connsiteY21" fmla="*/ 2699106 h 3061192"/>
                <a:gd name="connsiteX22" fmla="*/ 11857055 w 11867103"/>
                <a:gd name="connsiteY22" fmla="*/ 2930218 h 3061192"/>
                <a:gd name="connsiteX23" fmla="*/ 11836958 w 11867103"/>
                <a:gd name="connsiteY23" fmla="*/ 2960363 h 3061192"/>
                <a:gd name="connsiteX24" fmla="*/ 11033090 w 11867103"/>
                <a:gd name="connsiteY24" fmla="*/ 2950315 h 3061192"/>
                <a:gd name="connsiteX25" fmla="*/ 10621108 w 11867103"/>
                <a:gd name="connsiteY25" fmla="*/ 2940267 h 3061192"/>
                <a:gd name="connsiteX26" fmla="*/ 10128739 w 11867103"/>
                <a:gd name="connsiteY26" fmla="*/ 2950315 h 3061192"/>
                <a:gd name="connsiteX27" fmla="*/ 10048352 w 11867103"/>
                <a:gd name="connsiteY27" fmla="*/ 2960363 h 3061192"/>
                <a:gd name="connsiteX28" fmla="*/ 9555982 w 11867103"/>
                <a:gd name="connsiteY28" fmla="*/ 2950315 h 3061192"/>
                <a:gd name="connsiteX29" fmla="*/ 9445451 w 11867103"/>
                <a:gd name="connsiteY29" fmla="*/ 2940267 h 3061192"/>
                <a:gd name="connsiteX30" fmla="*/ 9415306 w 11867103"/>
                <a:gd name="connsiteY30" fmla="*/ 2920170 h 3061192"/>
                <a:gd name="connsiteX31" fmla="*/ 9204290 w 11867103"/>
                <a:gd name="connsiteY31" fmla="*/ 2900073 h 3061192"/>
                <a:gd name="connsiteX32" fmla="*/ 9073662 w 11867103"/>
                <a:gd name="connsiteY32" fmla="*/ 2879976 h 3061192"/>
                <a:gd name="connsiteX33" fmla="*/ 8812404 w 11867103"/>
                <a:gd name="connsiteY33" fmla="*/ 2869928 h 3061192"/>
                <a:gd name="connsiteX34" fmla="*/ 8400422 w 11867103"/>
                <a:gd name="connsiteY34" fmla="*/ 2859880 h 3061192"/>
                <a:gd name="connsiteX35" fmla="*/ 8269793 w 11867103"/>
                <a:gd name="connsiteY35" fmla="*/ 2849831 h 3061192"/>
                <a:gd name="connsiteX36" fmla="*/ 7797521 w 11867103"/>
                <a:gd name="connsiteY36" fmla="*/ 2869928 h 3061192"/>
                <a:gd name="connsiteX37" fmla="*/ 7717134 w 11867103"/>
                <a:gd name="connsiteY37" fmla="*/ 2879976 h 3061192"/>
                <a:gd name="connsiteX38" fmla="*/ 7486022 w 11867103"/>
                <a:gd name="connsiteY38" fmla="*/ 2910122 h 3061192"/>
                <a:gd name="connsiteX39" fmla="*/ 7395587 w 11867103"/>
                <a:gd name="connsiteY39" fmla="*/ 2930218 h 3061192"/>
                <a:gd name="connsiteX40" fmla="*/ 7325248 w 11867103"/>
                <a:gd name="connsiteY40" fmla="*/ 2940267 h 3061192"/>
                <a:gd name="connsiteX41" fmla="*/ 6863024 w 11867103"/>
                <a:gd name="connsiteY41" fmla="*/ 2930218 h 3061192"/>
                <a:gd name="connsiteX42" fmla="*/ 6722347 w 11867103"/>
                <a:gd name="connsiteY42" fmla="*/ 2920170 h 3061192"/>
                <a:gd name="connsiteX43" fmla="*/ 4903596 w 11867103"/>
                <a:gd name="connsiteY43" fmla="*/ 2970412 h 3061192"/>
                <a:gd name="connsiteX44" fmla="*/ 4722725 w 11867103"/>
                <a:gd name="connsiteY44" fmla="*/ 3010605 h 3061192"/>
                <a:gd name="connsiteX45" fmla="*/ 4300695 w 11867103"/>
                <a:gd name="connsiteY45" fmla="*/ 2990508 h 3061192"/>
                <a:gd name="connsiteX46" fmla="*/ 4059534 w 11867103"/>
                <a:gd name="connsiteY46" fmla="*/ 2950315 h 3061192"/>
                <a:gd name="connsiteX47" fmla="*/ 3768132 w 11867103"/>
                <a:gd name="connsiteY47" fmla="*/ 2920170 h 3061192"/>
                <a:gd name="connsiteX48" fmla="*/ 3627455 w 11867103"/>
                <a:gd name="connsiteY48" fmla="*/ 2910122 h 3061192"/>
                <a:gd name="connsiteX49" fmla="*/ 3125037 w 11867103"/>
                <a:gd name="connsiteY49" fmla="*/ 2920170 h 3061192"/>
                <a:gd name="connsiteX50" fmla="*/ 3064747 w 11867103"/>
                <a:gd name="connsiteY50" fmla="*/ 2930218 h 3061192"/>
                <a:gd name="connsiteX51" fmla="*/ 2009670 w 11867103"/>
                <a:gd name="connsiteY51" fmla="*/ 2940267 h 3061192"/>
                <a:gd name="connsiteX52" fmla="*/ 1678075 w 11867103"/>
                <a:gd name="connsiteY52" fmla="*/ 3030702 h 3061192"/>
                <a:gd name="connsiteX53" fmla="*/ 1607736 w 11867103"/>
                <a:gd name="connsiteY53" fmla="*/ 3060847 h 3061192"/>
                <a:gd name="connsiteX54" fmla="*/ 1135464 w 11867103"/>
                <a:gd name="connsiteY54" fmla="*/ 3040750 h 3061192"/>
                <a:gd name="connsiteX55" fmla="*/ 944545 w 11867103"/>
                <a:gd name="connsiteY55" fmla="*/ 3010605 h 3061192"/>
                <a:gd name="connsiteX56" fmla="*/ 723481 w 11867103"/>
                <a:gd name="connsiteY56" fmla="*/ 2970412 h 3061192"/>
                <a:gd name="connsiteX57" fmla="*/ 643095 w 11867103"/>
                <a:gd name="connsiteY57" fmla="*/ 2960363 h 3061192"/>
                <a:gd name="connsiteX58" fmla="*/ 371789 w 11867103"/>
                <a:gd name="connsiteY58" fmla="*/ 2920170 h 3061192"/>
                <a:gd name="connsiteX59" fmla="*/ 0 w 11867103"/>
                <a:gd name="connsiteY59" fmla="*/ 2910122 h 3061192"/>
                <a:gd name="connsiteX0" fmla="*/ 120580 w 11867103"/>
                <a:gd name="connsiteY0" fmla="*/ 58358 h 2972725"/>
                <a:gd name="connsiteX1" fmla="*/ 281354 w 11867103"/>
                <a:gd name="connsiteY1" fmla="*/ 48309 h 2972725"/>
                <a:gd name="connsiteX2" fmla="*/ 673240 w 11867103"/>
                <a:gd name="connsiteY2" fmla="*/ 38261 h 2972725"/>
                <a:gd name="connsiteX3" fmla="*/ 1356528 w 11867103"/>
                <a:gd name="connsiteY3" fmla="*/ 88503 h 2972725"/>
                <a:gd name="connsiteX4" fmla="*/ 1758462 w 11867103"/>
                <a:gd name="connsiteY4" fmla="*/ 48309 h 2972725"/>
                <a:gd name="connsiteX5" fmla="*/ 2140299 w 11867103"/>
                <a:gd name="connsiteY5" fmla="*/ 48309 h 2972725"/>
                <a:gd name="connsiteX6" fmla="*/ 4652387 w 11867103"/>
                <a:gd name="connsiteY6" fmla="*/ 68406 h 2972725"/>
                <a:gd name="connsiteX7" fmla="*/ 4692580 w 11867103"/>
                <a:gd name="connsiteY7" fmla="*/ 78455 h 2972725"/>
                <a:gd name="connsiteX8" fmla="*/ 6420897 w 11867103"/>
                <a:gd name="connsiteY8" fmla="*/ 98551 h 2972725"/>
                <a:gd name="connsiteX9" fmla="*/ 7184571 w 11867103"/>
                <a:gd name="connsiteY9" fmla="*/ 68406 h 2972725"/>
                <a:gd name="connsiteX10" fmla="*/ 7928150 w 11867103"/>
                <a:gd name="connsiteY10" fmla="*/ 68406 h 2972725"/>
                <a:gd name="connsiteX11" fmla="*/ 8219552 w 11867103"/>
                <a:gd name="connsiteY11" fmla="*/ 98551 h 2972725"/>
                <a:gd name="connsiteX12" fmla="*/ 9606224 w 11867103"/>
                <a:gd name="connsiteY12" fmla="*/ 98551 h 2972725"/>
                <a:gd name="connsiteX13" fmla="*/ 9947868 w 11867103"/>
                <a:gd name="connsiteY13" fmla="*/ 68406 h 2972725"/>
                <a:gd name="connsiteX14" fmla="*/ 10791930 w 11867103"/>
                <a:gd name="connsiteY14" fmla="*/ 38261 h 2972725"/>
                <a:gd name="connsiteX15" fmla="*/ 11736475 w 11867103"/>
                <a:gd name="connsiteY15" fmla="*/ 58358 h 2972725"/>
                <a:gd name="connsiteX16" fmla="*/ 11806813 w 11867103"/>
                <a:gd name="connsiteY16" fmla="*/ 771791 h 2972725"/>
                <a:gd name="connsiteX17" fmla="*/ 11816862 w 11867103"/>
                <a:gd name="connsiteY17" fmla="*/ 2339334 h 2972725"/>
                <a:gd name="connsiteX18" fmla="*/ 11826910 w 11867103"/>
                <a:gd name="connsiteY18" fmla="*/ 2409672 h 2972725"/>
                <a:gd name="connsiteX19" fmla="*/ 11836958 w 11867103"/>
                <a:gd name="connsiteY19" fmla="*/ 2439817 h 2972725"/>
                <a:gd name="connsiteX20" fmla="*/ 11857055 w 11867103"/>
                <a:gd name="connsiteY20" fmla="*/ 2570446 h 2972725"/>
                <a:gd name="connsiteX21" fmla="*/ 11867103 w 11867103"/>
                <a:gd name="connsiteY21" fmla="*/ 2610639 h 2972725"/>
                <a:gd name="connsiteX22" fmla="*/ 11857055 w 11867103"/>
                <a:gd name="connsiteY22" fmla="*/ 2841751 h 2972725"/>
                <a:gd name="connsiteX23" fmla="*/ 11836958 w 11867103"/>
                <a:gd name="connsiteY23" fmla="*/ 2871896 h 2972725"/>
                <a:gd name="connsiteX24" fmla="*/ 11033090 w 11867103"/>
                <a:gd name="connsiteY24" fmla="*/ 2861848 h 2972725"/>
                <a:gd name="connsiteX25" fmla="*/ 10621108 w 11867103"/>
                <a:gd name="connsiteY25" fmla="*/ 2851800 h 2972725"/>
                <a:gd name="connsiteX26" fmla="*/ 10128739 w 11867103"/>
                <a:gd name="connsiteY26" fmla="*/ 2861848 h 2972725"/>
                <a:gd name="connsiteX27" fmla="*/ 10048352 w 11867103"/>
                <a:gd name="connsiteY27" fmla="*/ 2871896 h 2972725"/>
                <a:gd name="connsiteX28" fmla="*/ 9555982 w 11867103"/>
                <a:gd name="connsiteY28" fmla="*/ 2861848 h 2972725"/>
                <a:gd name="connsiteX29" fmla="*/ 9445451 w 11867103"/>
                <a:gd name="connsiteY29" fmla="*/ 2851800 h 2972725"/>
                <a:gd name="connsiteX30" fmla="*/ 9415306 w 11867103"/>
                <a:gd name="connsiteY30" fmla="*/ 2831703 h 2972725"/>
                <a:gd name="connsiteX31" fmla="*/ 9204290 w 11867103"/>
                <a:gd name="connsiteY31" fmla="*/ 2811606 h 2972725"/>
                <a:gd name="connsiteX32" fmla="*/ 9073662 w 11867103"/>
                <a:gd name="connsiteY32" fmla="*/ 2791509 h 2972725"/>
                <a:gd name="connsiteX33" fmla="*/ 8812404 w 11867103"/>
                <a:gd name="connsiteY33" fmla="*/ 2781461 h 2972725"/>
                <a:gd name="connsiteX34" fmla="*/ 8400422 w 11867103"/>
                <a:gd name="connsiteY34" fmla="*/ 2771413 h 2972725"/>
                <a:gd name="connsiteX35" fmla="*/ 8269793 w 11867103"/>
                <a:gd name="connsiteY35" fmla="*/ 2761364 h 2972725"/>
                <a:gd name="connsiteX36" fmla="*/ 7797521 w 11867103"/>
                <a:gd name="connsiteY36" fmla="*/ 2781461 h 2972725"/>
                <a:gd name="connsiteX37" fmla="*/ 7717134 w 11867103"/>
                <a:gd name="connsiteY37" fmla="*/ 2791509 h 2972725"/>
                <a:gd name="connsiteX38" fmla="*/ 7486022 w 11867103"/>
                <a:gd name="connsiteY38" fmla="*/ 2821655 h 2972725"/>
                <a:gd name="connsiteX39" fmla="*/ 7395587 w 11867103"/>
                <a:gd name="connsiteY39" fmla="*/ 2841751 h 2972725"/>
                <a:gd name="connsiteX40" fmla="*/ 7325248 w 11867103"/>
                <a:gd name="connsiteY40" fmla="*/ 2851800 h 2972725"/>
                <a:gd name="connsiteX41" fmla="*/ 6863024 w 11867103"/>
                <a:gd name="connsiteY41" fmla="*/ 2841751 h 2972725"/>
                <a:gd name="connsiteX42" fmla="*/ 6722347 w 11867103"/>
                <a:gd name="connsiteY42" fmla="*/ 2831703 h 2972725"/>
                <a:gd name="connsiteX43" fmla="*/ 4903596 w 11867103"/>
                <a:gd name="connsiteY43" fmla="*/ 2881945 h 2972725"/>
                <a:gd name="connsiteX44" fmla="*/ 4722725 w 11867103"/>
                <a:gd name="connsiteY44" fmla="*/ 2922138 h 2972725"/>
                <a:gd name="connsiteX45" fmla="*/ 4300695 w 11867103"/>
                <a:gd name="connsiteY45" fmla="*/ 2902041 h 2972725"/>
                <a:gd name="connsiteX46" fmla="*/ 4059534 w 11867103"/>
                <a:gd name="connsiteY46" fmla="*/ 2861848 h 2972725"/>
                <a:gd name="connsiteX47" fmla="*/ 3768132 w 11867103"/>
                <a:gd name="connsiteY47" fmla="*/ 2831703 h 2972725"/>
                <a:gd name="connsiteX48" fmla="*/ 3627455 w 11867103"/>
                <a:gd name="connsiteY48" fmla="*/ 2821655 h 2972725"/>
                <a:gd name="connsiteX49" fmla="*/ 3125037 w 11867103"/>
                <a:gd name="connsiteY49" fmla="*/ 2831703 h 2972725"/>
                <a:gd name="connsiteX50" fmla="*/ 3064747 w 11867103"/>
                <a:gd name="connsiteY50" fmla="*/ 2841751 h 2972725"/>
                <a:gd name="connsiteX51" fmla="*/ 2009670 w 11867103"/>
                <a:gd name="connsiteY51" fmla="*/ 2851800 h 2972725"/>
                <a:gd name="connsiteX52" fmla="*/ 1678075 w 11867103"/>
                <a:gd name="connsiteY52" fmla="*/ 2942235 h 2972725"/>
                <a:gd name="connsiteX53" fmla="*/ 1607736 w 11867103"/>
                <a:gd name="connsiteY53" fmla="*/ 2972380 h 2972725"/>
                <a:gd name="connsiteX54" fmla="*/ 1135464 w 11867103"/>
                <a:gd name="connsiteY54" fmla="*/ 2952283 h 2972725"/>
                <a:gd name="connsiteX55" fmla="*/ 944545 w 11867103"/>
                <a:gd name="connsiteY55" fmla="*/ 2922138 h 2972725"/>
                <a:gd name="connsiteX56" fmla="*/ 723481 w 11867103"/>
                <a:gd name="connsiteY56" fmla="*/ 2881945 h 2972725"/>
                <a:gd name="connsiteX57" fmla="*/ 643095 w 11867103"/>
                <a:gd name="connsiteY57" fmla="*/ 2871896 h 2972725"/>
                <a:gd name="connsiteX58" fmla="*/ 371789 w 11867103"/>
                <a:gd name="connsiteY58" fmla="*/ 2831703 h 2972725"/>
                <a:gd name="connsiteX59" fmla="*/ 0 w 11867103"/>
                <a:gd name="connsiteY59" fmla="*/ 2821655 h 2972725"/>
                <a:gd name="connsiteX0" fmla="*/ 120580 w 11867103"/>
                <a:gd name="connsiteY0" fmla="*/ 91200 h 3005567"/>
                <a:gd name="connsiteX1" fmla="*/ 281354 w 11867103"/>
                <a:gd name="connsiteY1" fmla="*/ 81151 h 3005567"/>
                <a:gd name="connsiteX2" fmla="*/ 673240 w 11867103"/>
                <a:gd name="connsiteY2" fmla="*/ 71103 h 3005567"/>
                <a:gd name="connsiteX3" fmla="*/ 1356528 w 11867103"/>
                <a:gd name="connsiteY3" fmla="*/ 121345 h 3005567"/>
                <a:gd name="connsiteX4" fmla="*/ 1758462 w 11867103"/>
                <a:gd name="connsiteY4" fmla="*/ 81151 h 3005567"/>
                <a:gd name="connsiteX5" fmla="*/ 2140299 w 11867103"/>
                <a:gd name="connsiteY5" fmla="*/ 81151 h 3005567"/>
                <a:gd name="connsiteX6" fmla="*/ 4652387 w 11867103"/>
                <a:gd name="connsiteY6" fmla="*/ 101248 h 3005567"/>
                <a:gd name="connsiteX7" fmla="*/ 4692580 w 11867103"/>
                <a:gd name="connsiteY7" fmla="*/ 111297 h 3005567"/>
                <a:gd name="connsiteX8" fmla="*/ 6420897 w 11867103"/>
                <a:gd name="connsiteY8" fmla="*/ 131393 h 3005567"/>
                <a:gd name="connsiteX9" fmla="*/ 7184571 w 11867103"/>
                <a:gd name="connsiteY9" fmla="*/ 101248 h 3005567"/>
                <a:gd name="connsiteX10" fmla="*/ 7928150 w 11867103"/>
                <a:gd name="connsiteY10" fmla="*/ 101248 h 3005567"/>
                <a:gd name="connsiteX11" fmla="*/ 8219552 w 11867103"/>
                <a:gd name="connsiteY11" fmla="*/ 131393 h 3005567"/>
                <a:gd name="connsiteX12" fmla="*/ 9606224 w 11867103"/>
                <a:gd name="connsiteY12" fmla="*/ 131393 h 3005567"/>
                <a:gd name="connsiteX13" fmla="*/ 9947868 w 11867103"/>
                <a:gd name="connsiteY13" fmla="*/ 101248 h 3005567"/>
                <a:gd name="connsiteX14" fmla="*/ 10791930 w 11867103"/>
                <a:gd name="connsiteY14" fmla="*/ 71103 h 3005567"/>
                <a:gd name="connsiteX15" fmla="*/ 11736475 w 11867103"/>
                <a:gd name="connsiteY15" fmla="*/ 91200 h 3005567"/>
                <a:gd name="connsiteX16" fmla="*/ 11806813 w 11867103"/>
                <a:gd name="connsiteY16" fmla="*/ 804633 h 3005567"/>
                <a:gd name="connsiteX17" fmla="*/ 11816862 w 11867103"/>
                <a:gd name="connsiteY17" fmla="*/ 2372176 h 3005567"/>
                <a:gd name="connsiteX18" fmla="*/ 11826910 w 11867103"/>
                <a:gd name="connsiteY18" fmla="*/ 2442514 h 3005567"/>
                <a:gd name="connsiteX19" fmla="*/ 11836958 w 11867103"/>
                <a:gd name="connsiteY19" fmla="*/ 2472659 h 3005567"/>
                <a:gd name="connsiteX20" fmla="*/ 11857055 w 11867103"/>
                <a:gd name="connsiteY20" fmla="*/ 2603288 h 3005567"/>
                <a:gd name="connsiteX21" fmla="*/ 11867103 w 11867103"/>
                <a:gd name="connsiteY21" fmla="*/ 2643481 h 3005567"/>
                <a:gd name="connsiteX22" fmla="*/ 11857055 w 11867103"/>
                <a:gd name="connsiteY22" fmla="*/ 2874593 h 3005567"/>
                <a:gd name="connsiteX23" fmla="*/ 11836958 w 11867103"/>
                <a:gd name="connsiteY23" fmla="*/ 2904738 h 3005567"/>
                <a:gd name="connsiteX24" fmla="*/ 11033090 w 11867103"/>
                <a:gd name="connsiteY24" fmla="*/ 2894690 h 3005567"/>
                <a:gd name="connsiteX25" fmla="*/ 10621108 w 11867103"/>
                <a:gd name="connsiteY25" fmla="*/ 2884642 h 3005567"/>
                <a:gd name="connsiteX26" fmla="*/ 10128739 w 11867103"/>
                <a:gd name="connsiteY26" fmla="*/ 2894690 h 3005567"/>
                <a:gd name="connsiteX27" fmla="*/ 10048352 w 11867103"/>
                <a:gd name="connsiteY27" fmla="*/ 2904738 h 3005567"/>
                <a:gd name="connsiteX28" fmla="*/ 9555982 w 11867103"/>
                <a:gd name="connsiteY28" fmla="*/ 2894690 h 3005567"/>
                <a:gd name="connsiteX29" fmla="*/ 9445451 w 11867103"/>
                <a:gd name="connsiteY29" fmla="*/ 2884642 h 3005567"/>
                <a:gd name="connsiteX30" fmla="*/ 9415306 w 11867103"/>
                <a:gd name="connsiteY30" fmla="*/ 2864545 h 3005567"/>
                <a:gd name="connsiteX31" fmla="*/ 9204290 w 11867103"/>
                <a:gd name="connsiteY31" fmla="*/ 2844448 h 3005567"/>
                <a:gd name="connsiteX32" fmla="*/ 9073662 w 11867103"/>
                <a:gd name="connsiteY32" fmla="*/ 2824351 h 3005567"/>
                <a:gd name="connsiteX33" fmla="*/ 8812404 w 11867103"/>
                <a:gd name="connsiteY33" fmla="*/ 2814303 h 3005567"/>
                <a:gd name="connsiteX34" fmla="*/ 8400422 w 11867103"/>
                <a:gd name="connsiteY34" fmla="*/ 2804255 h 3005567"/>
                <a:gd name="connsiteX35" fmla="*/ 8269793 w 11867103"/>
                <a:gd name="connsiteY35" fmla="*/ 2794206 h 3005567"/>
                <a:gd name="connsiteX36" fmla="*/ 7797521 w 11867103"/>
                <a:gd name="connsiteY36" fmla="*/ 2814303 h 3005567"/>
                <a:gd name="connsiteX37" fmla="*/ 7717134 w 11867103"/>
                <a:gd name="connsiteY37" fmla="*/ 2824351 h 3005567"/>
                <a:gd name="connsiteX38" fmla="*/ 7486022 w 11867103"/>
                <a:gd name="connsiteY38" fmla="*/ 2854497 h 3005567"/>
                <a:gd name="connsiteX39" fmla="*/ 7395587 w 11867103"/>
                <a:gd name="connsiteY39" fmla="*/ 2874593 h 3005567"/>
                <a:gd name="connsiteX40" fmla="*/ 7325248 w 11867103"/>
                <a:gd name="connsiteY40" fmla="*/ 2884642 h 3005567"/>
                <a:gd name="connsiteX41" fmla="*/ 6863024 w 11867103"/>
                <a:gd name="connsiteY41" fmla="*/ 2874593 h 3005567"/>
                <a:gd name="connsiteX42" fmla="*/ 6722347 w 11867103"/>
                <a:gd name="connsiteY42" fmla="*/ 2864545 h 3005567"/>
                <a:gd name="connsiteX43" fmla="*/ 4903596 w 11867103"/>
                <a:gd name="connsiteY43" fmla="*/ 2914787 h 3005567"/>
                <a:gd name="connsiteX44" fmla="*/ 4722725 w 11867103"/>
                <a:gd name="connsiteY44" fmla="*/ 2954980 h 3005567"/>
                <a:gd name="connsiteX45" fmla="*/ 4300695 w 11867103"/>
                <a:gd name="connsiteY45" fmla="*/ 2934883 h 3005567"/>
                <a:gd name="connsiteX46" fmla="*/ 4059534 w 11867103"/>
                <a:gd name="connsiteY46" fmla="*/ 2894690 h 3005567"/>
                <a:gd name="connsiteX47" fmla="*/ 3768132 w 11867103"/>
                <a:gd name="connsiteY47" fmla="*/ 2864545 h 3005567"/>
                <a:gd name="connsiteX48" fmla="*/ 3627455 w 11867103"/>
                <a:gd name="connsiteY48" fmla="*/ 2854497 h 3005567"/>
                <a:gd name="connsiteX49" fmla="*/ 3125037 w 11867103"/>
                <a:gd name="connsiteY49" fmla="*/ 2864545 h 3005567"/>
                <a:gd name="connsiteX50" fmla="*/ 3064747 w 11867103"/>
                <a:gd name="connsiteY50" fmla="*/ 2874593 h 3005567"/>
                <a:gd name="connsiteX51" fmla="*/ 2009670 w 11867103"/>
                <a:gd name="connsiteY51" fmla="*/ 2884642 h 3005567"/>
                <a:gd name="connsiteX52" fmla="*/ 1678075 w 11867103"/>
                <a:gd name="connsiteY52" fmla="*/ 2975077 h 3005567"/>
                <a:gd name="connsiteX53" fmla="*/ 1607736 w 11867103"/>
                <a:gd name="connsiteY53" fmla="*/ 3005222 h 3005567"/>
                <a:gd name="connsiteX54" fmla="*/ 1135464 w 11867103"/>
                <a:gd name="connsiteY54" fmla="*/ 2985125 h 3005567"/>
                <a:gd name="connsiteX55" fmla="*/ 944545 w 11867103"/>
                <a:gd name="connsiteY55" fmla="*/ 2954980 h 3005567"/>
                <a:gd name="connsiteX56" fmla="*/ 723481 w 11867103"/>
                <a:gd name="connsiteY56" fmla="*/ 2914787 h 3005567"/>
                <a:gd name="connsiteX57" fmla="*/ 643095 w 11867103"/>
                <a:gd name="connsiteY57" fmla="*/ 2904738 h 3005567"/>
                <a:gd name="connsiteX58" fmla="*/ 371789 w 11867103"/>
                <a:gd name="connsiteY58" fmla="*/ 2864545 h 3005567"/>
                <a:gd name="connsiteX59" fmla="*/ 0 w 11867103"/>
                <a:gd name="connsiteY59" fmla="*/ 2854497 h 3005567"/>
                <a:gd name="connsiteX0" fmla="*/ 120580 w 11867103"/>
                <a:gd name="connsiteY0" fmla="*/ 55611 h 2969978"/>
                <a:gd name="connsiteX1" fmla="*/ 281354 w 11867103"/>
                <a:gd name="connsiteY1" fmla="*/ 45562 h 2969978"/>
                <a:gd name="connsiteX2" fmla="*/ 673240 w 11867103"/>
                <a:gd name="connsiteY2" fmla="*/ 35514 h 2969978"/>
                <a:gd name="connsiteX3" fmla="*/ 1356528 w 11867103"/>
                <a:gd name="connsiteY3" fmla="*/ 85756 h 2969978"/>
                <a:gd name="connsiteX4" fmla="*/ 1758462 w 11867103"/>
                <a:gd name="connsiteY4" fmla="*/ 45562 h 2969978"/>
                <a:gd name="connsiteX5" fmla="*/ 2140299 w 11867103"/>
                <a:gd name="connsiteY5" fmla="*/ 45562 h 2969978"/>
                <a:gd name="connsiteX6" fmla="*/ 4652387 w 11867103"/>
                <a:gd name="connsiteY6" fmla="*/ 65659 h 2969978"/>
                <a:gd name="connsiteX7" fmla="*/ 4692580 w 11867103"/>
                <a:gd name="connsiteY7" fmla="*/ 75708 h 2969978"/>
                <a:gd name="connsiteX8" fmla="*/ 6420897 w 11867103"/>
                <a:gd name="connsiteY8" fmla="*/ 95804 h 2969978"/>
                <a:gd name="connsiteX9" fmla="*/ 7184571 w 11867103"/>
                <a:gd name="connsiteY9" fmla="*/ 65659 h 2969978"/>
                <a:gd name="connsiteX10" fmla="*/ 7928150 w 11867103"/>
                <a:gd name="connsiteY10" fmla="*/ 65659 h 2969978"/>
                <a:gd name="connsiteX11" fmla="*/ 8219552 w 11867103"/>
                <a:gd name="connsiteY11" fmla="*/ 95804 h 2969978"/>
                <a:gd name="connsiteX12" fmla="*/ 9606224 w 11867103"/>
                <a:gd name="connsiteY12" fmla="*/ 95804 h 2969978"/>
                <a:gd name="connsiteX13" fmla="*/ 9947868 w 11867103"/>
                <a:gd name="connsiteY13" fmla="*/ 65659 h 2969978"/>
                <a:gd name="connsiteX14" fmla="*/ 10791930 w 11867103"/>
                <a:gd name="connsiteY14" fmla="*/ 35514 h 2969978"/>
                <a:gd name="connsiteX15" fmla="*/ 11736475 w 11867103"/>
                <a:gd name="connsiteY15" fmla="*/ 55611 h 2969978"/>
                <a:gd name="connsiteX16" fmla="*/ 11806813 w 11867103"/>
                <a:gd name="connsiteY16" fmla="*/ 769044 h 2969978"/>
                <a:gd name="connsiteX17" fmla="*/ 11816862 w 11867103"/>
                <a:gd name="connsiteY17" fmla="*/ 2336587 h 2969978"/>
                <a:gd name="connsiteX18" fmla="*/ 11826910 w 11867103"/>
                <a:gd name="connsiteY18" fmla="*/ 2406925 h 2969978"/>
                <a:gd name="connsiteX19" fmla="*/ 11836958 w 11867103"/>
                <a:gd name="connsiteY19" fmla="*/ 2437070 h 2969978"/>
                <a:gd name="connsiteX20" fmla="*/ 11857055 w 11867103"/>
                <a:gd name="connsiteY20" fmla="*/ 2567699 h 2969978"/>
                <a:gd name="connsiteX21" fmla="*/ 11867103 w 11867103"/>
                <a:gd name="connsiteY21" fmla="*/ 2607892 h 2969978"/>
                <a:gd name="connsiteX22" fmla="*/ 11857055 w 11867103"/>
                <a:gd name="connsiteY22" fmla="*/ 2839004 h 2969978"/>
                <a:gd name="connsiteX23" fmla="*/ 11836958 w 11867103"/>
                <a:gd name="connsiteY23" fmla="*/ 2869149 h 2969978"/>
                <a:gd name="connsiteX24" fmla="*/ 11033090 w 11867103"/>
                <a:gd name="connsiteY24" fmla="*/ 2859101 h 2969978"/>
                <a:gd name="connsiteX25" fmla="*/ 10621108 w 11867103"/>
                <a:gd name="connsiteY25" fmla="*/ 2849053 h 2969978"/>
                <a:gd name="connsiteX26" fmla="*/ 10128739 w 11867103"/>
                <a:gd name="connsiteY26" fmla="*/ 2859101 h 2969978"/>
                <a:gd name="connsiteX27" fmla="*/ 10048352 w 11867103"/>
                <a:gd name="connsiteY27" fmla="*/ 2869149 h 2969978"/>
                <a:gd name="connsiteX28" fmla="*/ 9555982 w 11867103"/>
                <a:gd name="connsiteY28" fmla="*/ 2859101 h 2969978"/>
                <a:gd name="connsiteX29" fmla="*/ 9445451 w 11867103"/>
                <a:gd name="connsiteY29" fmla="*/ 2849053 h 2969978"/>
                <a:gd name="connsiteX30" fmla="*/ 9415306 w 11867103"/>
                <a:gd name="connsiteY30" fmla="*/ 2828956 h 2969978"/>
                <a:gd name="connsiteX31" fmla="*/ 9204290 w 11867103"/>
                <a:gd name="connsiteY31" fmla="*/ 2808859 h 2969978"/>
                <a:gd name="connsiteX32" fmla="*/ 9073662 w 11867103"/>
                <a:gd name="connsiteY32" fmla="*/ 2788762 h 2969978"/>
                <a:gd name="connsiteX33" fmla="*/ 8812404 w 11867103"/>
                <a:gd name="connsiteY33" fmla="*/ 2778714 h 2969978"/>
                <a:gd name="connsiteX34" fmla="*/ 8400422 w 11867103"/>
                <a:gd name="connsiteY34" fmla="*/ 2768666 h 2969978"/>
                <a:gd name="connsiteX35" fmla="*/ 8269793 w 11867103"/>
                <a:gd name="connsiteY35" fmla="*/ 2758617 h 2969978"/>
                <a:gd name="connsiteX36" fmla="*/ 7797521 w 11867103"/>
                <a:gd name="connsiteY36" fmla="*/ 2778714 h 2969978"/>
                <a:gd name="connsiteX37" fmla="*/ 7717134 w 11867103"/>
                <a:gd name="connsiteY37" fmla="*/ 2788762 h 2969978"/>
                <a:gd name="connsiteX38" fmla="*/ 7486022 w 11867103"/>
                <a:gd name="connsiteY38" fmla="*/ 2818908 h 2969978"/>
                <a:gd name="connsiteX39" fmla="*/ 7395587 w 11867103"/>
                <a:gd name="connsiteY39" fmla="*/ 2839004 h 2969978"/>
                <a:gd name="connsiteX40" fmla="*/ 7325248 w 11867103"/>
                <a:gd name="connsiteY40" fmla="*/ 2849053 h 2969978"/>
                <a:gd name="connsiteX41" fmla="*/ 6863024 w 11867103"/>
                <a:gd name="connsiteY41" fmla="*/ 2839004 h 2969978"/>
                <a:gd name="connsiteX42" fmla="*/ 6722347 w 11867103"/>
                <a:gd name="connsiteY42" fmla="*/ 2828956 h 2969978"/>
                <a:gd name="connsiteX43" fmla="*/ 4903596 w 11867103"/>
                <a:gd name="connsiteY43" fmla="*/ 2879198 h 2969978"/>
                <a:gd name="connsiteX44" fmla="*/ 4722725 w 11867103"/>
                <a:gd name="connsiteY44" fmla="*/ 2919391 h 2969978"/>
                <a:gd name="connsiteX45" fmla="*/ 4300695 w 11867103"/>
                <a:gd name="connsiteY45" fmla="*/ 2899294 h 2969978"/>
                <a:gd name="connsiteX46" fmla="*/ 4059534 w 11867103"/>
                <a:gd name="connsiteY46" fmla="*/ 2859101 h 2969978"/>
                <a:gd name="connsiteX47" fmla="*/ 3768132 w 11867103"/>
                <a:gd name="connsiteY47" fmla="*/ 2828956 h 2969978"/>
                <a:gd name="connsiteX48" fmla="*/ 3627455 w 11867103"/>
                <a:gd name="connsiteY48" fmla="*/ 2818908 h 2969978"/>
                <a:gd name="connsiteX49" fmla="*/ 3125037 w 11867103"/>
                <a:gd name="connsiteY49" fmla="*/ 2828956 h 2969978"/>
                <a:gd name="connsiteX50" fmla="*/ 3064747 w 11867103"/>
                <a:gd name="connsiteY50" fmla="*/ 2839004 h 2969978"/>
                <a:gd name="connsiteX51" fmla="*/ 2009670 w 11867103"/>
                <a:gd name="connsiteY51" fmla="*/ 2849053 h 2969978"/>
                <a:gd name="connsiteX52" fmla="*/ 1678075 w 11867103"/>
                <a:gd name="connsiteY52" fmla="*/ 2939488 h 2969978"/>
                <a:gd name="connsiteX53" fmla="*/ 1607736 w 11867103"/>
                <a:gd name="connsiteY53" fmla="*/ 2969633 h 2969978"/>
                <a:gd name="connsiteX54" fmla="*/ 1135464 w 11867103"/>
                <a:gd name="connsiteY54" fmla="*/ 2949536 h 2969978"/>
                <a:gd name="connsiteX55" fmla="*/ 944545 w 11867103"/>
                <a:gd name="connsiteY55" fmla="*/ 2919391 h 2969978"/>
                <a:gd name="connsiteX56" fmla="*/ 723481 w 11867103"/>
                <a:gd name="connsiteY56" fmla="*/ 2879198 h 2969978"/>
                <a:gd name="connsiteX57" fmla="*/ 643095 w 11867103"/>
                <a:gd name="connsiteY57" fmla="*/ 2869149 h 2969978"/>
                <a:gd name="connsiteX58" fmla="*/ 371789 w 11867103"/>
                <a:gd name="connsiteY58" fmla="*/ 2828956 h 2969978"/>
                <a:gd name="connsiteX59" fmla="*/ 0 w 11867103"/>
                <a:gd name="connsiteY59" fmla="*/ 2818908 h 2969978"/>
                <a:gd name="connsiteX0" fmla="*/ 120580 w 11867103"/>
                <a:gd name="connsiteY0" fmla="*/ 55611 h 2969978"/>
                <a:gd name="connsiteX1" fmla="*/ 281354 w 11867103"/>
                <a:gd name="connsiteY1" fmla="*/ 45562 h 2969978"/>
                <a:gd name="connsiteX2" fmla="*/ 673240 w 11867103"/>
                <a:gd name="connsiteY2" fmla="*/ 35514 h 2969978"/>
                <a:gd name="connsiteX3" fmla="*/ 1356528 w 11867103"/>
                <a:gd name="connsiteY3" fmla="*/ 85756 h 2969978"/>
                <a:gd name="connsiteX4" fmla="*/ 1758462 w 11867103"/>
                <a:gd name="connsiteY4" fmla="*/ 45562 h 2969978"/>
                <a:gd name="connsiteX5" fmla="*/ 2140299 w 11867103"/>
                <a:gd name="connsiteY5" fmla="*/ 45562 h 2969978"/>
                <a:gd name="connsiteX6" fmla="*/ 4652387 w 11867103"/>
                <a:gd name="connsiteY6" fmla="*/ 65659 h 2969978"/>
                <a:gd name="connsiteX7" fmla="*/ 4692580 w 11867103"/>
                <a:gd name="connsiteY7" fmla="*/ 75708 h 2969978"/>
                <a:gd name="connsiteX8" fmla="*/ 6420897 w 11867103"/>
                <a:gd name="connsiteY8" fmla="*/ 95804 h 2969978"/>
                <a:gd name="connsiteX9" fmla="*/ 7184571 w 11867103"/>
                <a:gd name="connsiteY9" fmla="*/ 65659 h 2969978"/>
                <a:gd name="connsiteX10" fmla="*/ 7928150 w 11867103"/>
                <a:gd name="connsiteY10" fmla="*/ 65659 h 2969978"/>
                <a:gd name="connsiteX11" fmla="*/ 8219552 w 11867103"/>
                <a:gd name="connsiteY11" fmla="*/ 95804 h 2969978"/>
                <a:gd name="connsiteX12" fmla="*/ 9606224 w 11867103"/>
                <a:gd name="connsiteY12" fmla="*/ 95804 h 2969978"/>
                <a:gd name="connsiteX13" fmla="*/ 9947868 w 11867103"/>
                <a:gd name="connsiteY13" fmla="*/ 65659 h 2969978"/>
                <a:gd name="connsiteX14" fmla="*/ 10791930 w 11867103"/>
                <a:gd name="connsiteY14" fmla="*/ 35514 h 2969978"/>
                <a:gd name="connsiteX15" fmla="*/ 11736475 w 11867103"/>
                <a:gd name="connsiteY15" fmla="*/ 55611 h 2969978"/>
                <a:gd name="connsiteX16" fmla="*/ 11806813 w 11867103"/>
                <a:gd name="connsiteY16" fmla="*/ 769044 h 2969978"/>
                <a:gd name="connsiteX17" fmla="*/ 11816862 w 11867103"/>
                <a:gd name="connsiteY17" fmla="*/ 2336587 h 2969978"/>
                <a:gd name="connsiteX18" fmla="*/ 11826910 w 11867103"/>
                <a:gd name="connsiteY18" fmla="*/ 2406925 h 2969978"/>
                <a:gd name="connsiteX19" fmla="*/ 11857055 w 11867103"/>
                <a:gd name="connsiteY19" fmla="*/ 2567699 h 2969978"/>
                <a:gd name="connsiteX20" fmla="*/ 11867103 w 11867103"/>
                <a:gd name="connsiteY20" fmla="*/ 2607892 h 2969978"/>
                <a:gd name="connsiteX21" fmla="*/ 11857055 w 11867103"/>
                <a:gd name="connsiteY21" fmla="*/ 2839004 h 2969978"/>
                <a:gd name="connsiteX22" fmla="*/ 11836958 w 11867103"/>
                <a:gd name="connsiteY22" fmla="*/ 2869149 h 2969978"/>
                <a:gd name="connsiteX23" fmla="*/ 11033090 w 11867103"/>
                <a:gd name="connsiteY23" fmla="*/ 2859101 h 2969978"/>
                <a:gd name="connsiteX24" fmla="*/ 10621108 w 11867103"/>
                <a:gd name="connsiteY24" fmla="*/ 2849053 h 2969978"/>
                <a:gd name="connsiteX25" fmla="*/ 10128739 w 11867103"/>
                <a:gd name="connsiteY25" fmla="*/ 2859101 h 2969978"/>
                <a:gd name="connsiteX26" fmla="*/ 10048352 w 11867103"/>
                <a:gd name="connsiteY26" fmla="*/ 2869149 h 2969978"/>
                <a:gd name="connsiteX27" fmla="*/ 9555982 w 11867103"/>
                <a:gd name="connsiteY27" fmla="*/ 2859101 h 2969978"/>
                <a:gd name="connsiteX28" fmla="*/ 9445451 w 11867103"/>
                <a:gd name="connsiteY28" fmla="*/ 2849053 h 2969978"/>
                <a:gd name="connsiteX29" fmla="*/ 9415306 w 11867103"/>
                <a:gd name="connsiteY29" fmla="*/ 2828956 h 2969978"/>
                <a:gd name="connsiteX30" fmla="*/ 9204290 w 11867103"/>
                <a:gd name="connsiteY30" fmla="*/ 2808859 h 2969978"/>
                <a:gd name="connsiteX31" fmla="*/ 9073662 w 11867103"/>
                <a:gd name="connsiteY31" fmla="*/ 2788762 h 2969978"/>
                <a:gd name="connsiteX32" fmla="*/ 8812404 w 11867103"/>
                <a:gd name="connsiteY32" fmla="*/ 2778714 h 2969978"/>
                <a:gd name="connsiteX33" fmla="*/ 8400422 w 11867103"/>
                <a:gd name="connsiteY33" fmla="*/ 2768666 h 2969978"/>
                <a:gd name="connsiteX34" fmla="*/ 8269793 w 11867103"/>
                <a:gd name="connsiteY34" fmla="*/ 2758617 h 2969978"/>
                <a:gd name="connsiteX35" fmla="*/ 7797521 w 11867103"/>
                <a:gd name="connsiteY35" fmla="*/ 2778714 h 2969978"/>
                <a:gd name="connsiteX36" fmla="*/ 7717134 w 11867103"/>
                <a:gd name="connsiteY36" fmla="*/ 2788762 h 2969978"/>
                <a:gd name="connsiteX37" fmla="*/ 7486022 w 11867103"/>
                <a:gd name="connsiteY37" fmla="*/ 2818908 h 2969978"/>
                <a:gd name="connsiteX38" fmla="*/ 7395587 w 11867103"/>
                <a:gd name="connsiteY38" fmla="*/ 2839004 h 2969978"/>
                <a:gd name="connsiteX39" fmla="*/ 7325248 w 11867103"/>
                <a:gd name="connsiteY39" fmla="*/ 2849053 h 2969978"/>
                <a:gd name="connsiteX40" fmla="*/ 6863024 w 11867103"/>
                <a:gd name="connsiteY40" fmla="*/ 2839004 h 2969978"/>
                <a:gd name="connsiteX41" fmla="*/ 6722347 w 11867103"/>
                <a:gd name="connsiteY41" fmla="*/ 2828956 h 2969978"/>
                <a:gd name="connsiteX42" fmla="*/ 4903596 w 11867103"/>
                <a:gd name="connsiteY42" fmla="*/ 2879198 h 2969978"/>
                <a:gd name="connsiteX43" fmla="*/ 4722725 w 11867103"/>
                <a:gd name="connsiteY43" fmla="*/ 2919391 h 2969978"/>
                <a:gd name="connsiteX44" fmla="*/ 4300695 w 11867103"/>
                <a:gd name="connsiteY44" fmla="*/ 2899294 h 2969978"/>
                <a:gd name="connsiteX45" fmla="*/ 4059534 w 11867103"/>
                <a:gd name="connsiteY45" fmla="*/ 2859101 h 2969978"/>
                <a:gd name="connsiteX46" fmla="*/ 3768132 w 11867103"/>
                <a:gd name="connsiteY46" fmla="*/ 2828956 h 2969978"/>
                <a:gd name="connsiteX47" fmla="*/ 3627455 w 11867103"/>
                <a:gd name="connsiteY47" fmla="*/ 2818908 h 2969978"/>
                <a:gd name="connsiteX48" fmla="*/ 3125037 w 11867103"/>
                <a:gd name="connsiteY48" fmla="*/ 2828956 h 2969978"/>
                <a:gd name="connsiteX49" fmla="*/ 3064747 w 11867103"/>
                <a:gd name="connsiteY49" fmla="*/ 2839004 h 2969978"/>
                <a:gd name="connsiteX50" fmla="*/ 2009670 w 11867103"/>
                <a:gd name="connsiteY50" fmla="*/ 2849053 h 2969978"/>
                <a:gd name="connsiteX51" fmla="*/ 1678075 w 11867103"/>
                <a:gd name="connsiteY51" fmla="*/ 2939488 h 2969978"/>
                <a:gd name="connsiteX52" fmla="*/ 1607736 w 11867103"/>
                <a:gd name="connsiteY52" fmla="*/ 2969633 h 2969978"/>
                <a:gd name="connsiteX53" fmla="*/ 1135464 w 11867103"/>
                <a:gd name="connsiteY53" fmla="*/ 2949536 h 2969978"/>
                <a:gd name="connsiteX54" fmla="*/ 944545 w 11867103"/>
                <a:gd name="connsiteY54" fmla="*/ 2919391 h 2969978"/>
                <a:gd name="connsiteX55" fmla="*/ 723481 w 11867103"/>
                <a:gd name="connsiteY55" fmla="*/ 2879198 h 2969978"/>
                <a:gd name="connsiteX56" fmla="*/ 643095 w 11867103"/>
                <a:gd name="connsiteY56" fmla="*/ 2869149 h 2969978"/>
                <a:gd name="connsiteX57" fmla="*/ 371789 w 11867103"/>
                <a:gd name="connsiteY57" fmla="*/ 2828956 h 2969978"/>
                <a:gd name="connsiteX58" fmla="*/ 0 w 11867103"/>
                <a:gd name="connsiteY58" fmla="*/ 2818908 h 2969978"/>
                <a:gd name="connsiteX0" fmla="*/ 120580 w 11867103"/>
                <a:gd name="connsiteY0" fmla="*/ 55611 h 2969978"/>
                <a:gd name="connsiteX1" fmla="*/ 281354 w 11867103"/>
                <a:gd name="connsiteY1" fmla="*/ 45562 h 2969978"/>
                <a:gd name="connsiteX2" fmla="*/ 673240 w 11867103"/>
                <a:gd name="connsiteY2" fmla="*/ 35514 h 2969978"/>
                <a:gd name="connsiteX3" fmla="*/ 1356528 w 11867103"/>
                <a:gd name="connsiteY3" fmla="*/ 85756 h 2969978"/>
                <a:gd name="connsiteX4" fmla="*/ 1758462 w 11867103"/>
                <a:gd name="connsiteY4" fmla="*/ 45562 h 2969978"/>
                <a:gd name="connsiteX5" fmla="*/ 2140299 w 11867103"/>
                <a:gd name="connsiteY5" fmla="*/ 45562 h 2969978"/>
                <a:gd name="connsiteX6" fmla="*/ 4652387 w 11867103"/>
                <a:gd name="connsiteY6" fmla="*/ 65659 h 2969978"/>
                <a:gd name="connsiteX7" fmla="*/ 4692580 w 11867103"/>
                <a:gd name="connsiteY7" fmla="*/ 75708 h 2969978"/>
                <a:gd name="connsiteX8" fmla="*/ 6420897 w 11867103"/>
                <a:gd name="connsiteY8" fmla="*/ 95804 h 2969978"/>
                <a:gd name="connsiteX9" fmla="*/ 7184571 w 11867103"/>
                <a:gd name="connsiteY9" fmla="*/ 65659 h 2969978"/>
                <a:gd name="connsiteX10" fmla="*/ 7928150 w 11867103"/>
                <a:gd name="connsiteY10" fmla="*/ 65659 h 2969978"/>
                <a:gd name="connsiteX11" fmla="*/ 8219552 w 11867103"/>
                <a:gd name="connsiteY11" fmla="*/ 95804 h 2969978"/>
                <a:gd name="connsiteX12" fmla="*/ 9606224 w 11867103"/>
                <a:gd name="connsiteY12" fmla="*/ 95804 h 2969978"/>
                <a:gd name="connsiteX13" fmla="*/ 9947868 w 11867103"/>
                <a:gd name="connsiteY13" fmla="*/ 65659 h 2969978"/>
                <a:gd name="connsiteX14" fmla="*/ 10791930 w 11867103"/>
                <a:gd name="connsiteY14" fmla="*/ 35514 h 2969978"/>
                <a:gd name="connsiteX15" fmla="*/ 11736475 w 11867103"/>
                <a:gd name="connsiteY15" fmla="*/ 55611 h 2969978"/>
                <a:gd name="connsiteX16" fmla="*/ 11806813 w 11867103"/>
                <a:gd name="connsiteY16" fmla="*/ 769044 h 2969978"/>
                <a:gd name="connsiteX17" fmla="*/ 11816862 w 11867103"/>
                <a:gd name="connsiteY17" fmla="*/ 2336587 h 2969978"/>
                <a:gd name="connsiteX18" fmla="*/ 11857055 w 11867103"/>
                <a:gd name="connsiteY18" fmla="*/ 2567699 h 2969978"/>
                <a:gd name="connsiteX19" fmla="*/ 11867103 w 11867103"/>
                <a:gd name="connsiteY19" fmla="*/ 2607892 h 2969978"/>
                <a:gd name="connsiteX20" fmla="*/ 11857055 w 11867103"/>
                <a:gd name="connsiteY20" fmla="*/ 2839004 h 2969978"/>
                <a:gd name="connsiteX21" fmla="*/ 11836958 w 11867103"/>
                <a:gd name="connsiteY21" fmla="*/ 2869149 h 2969978"/>
                <a:gd name="connsiteX22" fmla="*/ 11033090 w 11867103"/>
                <a:gd name="connsiteY22" fmla="*/ 2859101 h 2969978"/>
                <a:gd name="connsiteX23" fmla="*/ 10621108 w 11867103"/>
                <a:gd name="connsiteY23" fmla="*/ 2849053 h 2969978"/>
                <a:gd name="connsiteX24" fmla="*/ 10128739 w 11867103"/>
                <a:gd name="connsiteY24" fmla="*/ 2859101 h 2969978"/>
                <a:gd name="connsiteX25" fmla="*/ 10048352 w 11867103"/>
                <a:gd name="connsiteY25" fmla="*/ 2869149 h 2969978"/>
                <a:gd name="connsiteX26" fmla="*/ 9555982 w 11867103"/>
                <a:gd name="connsiteY26" fmla="*/ 2859101 h 2969978"/>
                <a:gd name="connsiteX27" fmla="*/ 9445451 w 11867103"/>
                <a:gd name="connsiteY27" fmla="*/ 2849053 h 2969978"/>
                <a:gd name="connsiteX28" fmla="*/ 9415306 w 11867103"/>
                <a:gd name="connsiteY28" fmla="*/ 2828956 h 2969978"/>
                <a:gd name="connsiteX29" fmla="*/ 9204290 w 11867103"/>
                <a:gd name="connsiteY29" fmla="*/ 2808859 h 2969978"/>
                <a:gd name="connsiteX30" fmla="*/ 9073662 w 11867103"/>
                <a:gd name="connsiteY30" fmla="*/ 2788762 h 2969978"/>
                <a:gd name="connsiteX31" fmla="*/ 8812404 w 11867103"/>
                <a:gd name="connsiteY31" fmla="*/ 2778714 h 2969978"/>
                <a:gd name="connsiteX32" fmla="*/ 8400422 w 11867103"/>
                <a:gd name="connsiteY32" fmla="*/ 2768666 h 2969978"/>
                <a:gd name="connsiteX33" fmla="*/ 8269793 w 11867103"/>
                <a:gd name="connsiteY33" fmla="*/ 2758617 h 2969978"/>
                <a:gd name="connsiteX34" fmla="*/ 7797521 w 11867103"/>
                <a:gd name="connsiteY34" fmla="*/ 2778714 h 2969978"/>
                <a:gd name="connsiteX35" fmla="*/ 7717134 w 11867103"/>
                <a:gd name="connsiteY35" fmla="*/ 2788762 h 2969978"/>
                <a:gd name="connsiteX36" fmla="*/ 7486022 w 11867103"/>
                <a:gd name="connsiteY36" fmla="*/ 2818908 h 2969978"/>
                <a:gd name="connsiteX37" fmla="*/ 7395587 w 11867103"/>
                <a:gd name="connsiteY37" fmla="*/ 2839004 h 2969978"/>
                <a:gd name="connsiteX38" fmla="*/ 7325248 w 11867103"/>
                <a:gd name="connsiteY38" fmla="*/ 2849053 h 2969978"/>
                <a:gd name="connsiteX39" fmla="*/ 6863024 w 11867103"/>
                <a:gd name="connsiteY39" fmla="*/ 2839004 h 2969978"/>
                <a:gd name="connsiteX40" fmla="*/ 6722347 w 11867103"/>
                <a:gd name="connsiteY40" fmla="*/ 2828956 h 2969978"/>
                <a:gd name="connsiteX41" fmla="*/ 4903596 w 11867103"/>
                <a:gd name="connsiteY41" fmla="*/ 2879198 h 2969978"/>
                <a:gd name="connsiteX42" fmla="*/ 4722725 w 11867103"/>
                <a:gd name="connsiteY42" fmla="*/ 2919391 h 2969978"/>
                <a:gd name="connsiteX43" fmla="*/ 4300695 w 11867103"/>
                <a:gd name="connsiteY43" fmla="*/ 2899294 h 2969978"/>
                <a:gd name="connsiteX44" fmla="*/ 4059534 w 11867103"/>
                <a:gd name="connsiteY44" fmla="*/ 2859101 h 2969978"/>
                <a:gd name="connsiteX45" fmla="*/ 3768132 w 11867103"/>
                <a:gd name="connsiteY45" fmla="*/ 2828956 h 2969978"/>
                <a:gd name="connsiteX46" fmla="*/ 3627455 w 11867103"/>
                <a:gd name="connsiteY46" fmla="*/ 2818908 h 2969978"/>
                <a:gd name="connsiteX47" fmla="*/ 3125037 w 11867103"/>
                <a:gd name="connsiteY47" fmla="*/ 2828956 h 2969978"/>
                <a:gd name="connsiteX48" fmla="*/ 3064747 w 11867103"/>
                <a:gd name="connsiteY48" fmla="*/ 2839004 h 2969978"/>
                <a:gd name="connsiteX49" fmla="*/ 2009670 w 11867103"/>
                <a:gd name="connsiteY49" fmla="*/ 2849053 h 2969978"/>
                <a:gd name="connsiteX50" fmla="*/ 1678075 w 11867103"/>
                <a:gd name="connsiteY50" fmla="*/ 2939488 h 2969978"/>
                <a:gd name="connsiteX51" fmla="*/ 1607736 w 11867103"/>
                <a:gd name="connsiteY51" fmla="*/ 2969633 h 2969978"/>
                <a:gd name="connsiteX52" fmla="*/ 1135464 w 11867103"/>
                <a:gd name="connsiteY52" fmla="*/ 2949536 h 2969978"/>
                <a:gd name="connsiteX53" fmla="*/ 944545 w 11867103"/>
                <a:gd name="connsiteY53" fmla="*/ 2919391 h 2969978"/>
                <a:gd name="connsiteX54" fmla="*/ 723481 w 11867103"/>
                <a:gd name="connsiteY54" fmla="*/ 2879198 h 2969978"/>
                <a:gd name="connsiteX55" fmla="*/ 643095 w 11867103"/>
                <a:gd name="connsiteY55" fmla="*/ 2869149 h 2969978"/>
                <a:gd name="connsiteX56" fmla="*/ 371789 w 11867103"/>
                <a:gd name="connsiteY56" fmla="*/ 2828956 h 2969978"/>
                <a:gd name="connsiteX57" fmla="*/ 0 w 11867103"/>
                <a:gd name="connsiteY57" fmla="*/ 2818908 h 2969978"/>
                <a:gd name="connsiteX0" fmla="*/ 120580 w 11860922"/>
                <a:gd name="connsiteY0" fmla="*/ 55611 h 2969978"/>
                <a:gd name="connsiteX1" fmla="*/ 281354 w 11860922"/>
                <a:gd name="connsiteY1" fmla="*/ 45562 h 2969978"/>
                <a:gd name="connsiteX2" fmla="*/ 673240 w 11860922"/>
                <a:gd name="connsiteY2" fmla="*/ 35514 h 2969978"/>
                <a:gd name="connsiteX3" fmla="*/ 1356528 w 11860922"/>
                <a:gd name="connsiteY3" fmla="*/ 85756 h 2969978"/>
                <a:gd name="connsiteX4" fmla="*/ 1758462 w 11860922"/>
                <a:gd name="connsiteY4" fmla="*/ 45562 h 2969978"/>
                <a:gd name="connsiteX5" fmla="*/ 2140299 w 11860922"/>
                <a:gd name="connsiteY5" fmla="*/ 45562 h 2969978"/>
                <a:gd name="connsiteX6" fmla="*/ 4652387 w 11860922"/>
                <a:gd name="connsiteY6" fmla="*/ 65659 h 2969978"/>
                <a:gd name="connsiteX7" fmla="*/ 4692580 w 11860922"/>
                <a:gd name="connsiteY7" fmla="*/ 75708 h 2969978"/>
                <a:gd name="connsiteX8" fmla="*/ 6420897 w 11860922"/>
                <a:gd name="connsiteY8" fmla="*/ 95804 h 2969978"/>
                <a:gd name="connsiteX9" fmla="*/ 7184571 w 11860922"/>
                <a:gd name="connsiteY9" fmla="*/ 65659 h 2969978"/>
                <a:gd name="connsiteX10" fmla="*/ 7928150 w 11860922"/>
                <a:gd name="connsiteY10" fmla="*/ 65659 h 2969978"/>
                <a:gd name="connsiteX11" fmla="*/ 8219552 w 11860922"/>
                <a:gd name="connsiteY11" fmla="*/ 95804 h 2969978"/>
                <a:gd name="connsiteX12" fmla="*/ 9606224 w 11860922"/>
                <a:gd name="connsiteY12" fmla="*/ 95804 h 2969978"/>
                <a:gd name="connsiteX13" fmla="*/ 9947868 w 11860922"/>
                <a:gd name="connsiteY13" fmla="*/ 65659 h 2969978"/>
                <a:gd name="connsiteX14" fmla="*/ 10791930 w 11860922"/>
                <a:gd name="connsiteY14" fmla="*/ 35514 h 2969978"/>
                <a:gd name="connsiteX15" fmla="*/ 11736475 w 11860922"/>
                <a:gd name="connsiteY15" fmla="*/ 55611 h 2969978"/>
                <a:gd name="connsiteX16" fmla="*/ 11806813 w 11860922"/>
                <a:gd name="connsiteY16" fmla="*/ 769044 h 2969978"/>
                <a:gd name="connsiteX17" fmla="*/ 11816862 w 11860922"/>
                <a:gd name="connsiteY17" fmla="*/ 2336587 h 2969978"/>
                <a:gd name="connsiteX18" fmla="*/ 11857055 w 11860922"/>
                <a:gd name="connsiteY18" fmla="*/ 2567699 h 2969978"/>
                <a:gd name="connsiteX19" fmla="*/ 11857055 w 11860922"/>
                <a:gd name="connsiteY19" fmla="*/ 2839004 h 2969978"/>
                <a:gd name="connsiteX20" fmla="*/ 11836958 w 11860922"/>
                <a:gd name="connsiteY20" fmla="*/ 2869149 h 2969978"/>
                <a:gd name="connsiteX21" fmla="*/ 11033090 w 11860922"/>
                <a:gd name="connsiteY21" fmla="*/ 2859101 h 2969978"/>
                <a:gd name="connsiteX22" fmla="*/ 10621108 w 11860922"/>
                <a:gd name="connsiteY22" fmla="*/ 2849053 h 2969978"/>
                <a:gd name="connsiteX23" fmla="*/ 10128739 w 11860922"/>
                <a:gd name="connsiteY23" fmla="*/ 2859101 h 2969978"/>
                <a:gd name="connsiteX24" fmla="*/ 10048352 w 11860922"/>
                <a:gd name="connsiteY24" fmla="*/ 2869149 h 2969978"/>
                <a:gd name="connsiteX25" fmla="*/ 9555982 w 11860922"/>
                <a:gd name="connsiteY25" fmla="*/ 2859101 h 2969978"/>
                <a:gd name="connsiteX26" fmla="*/ 9445451 w 11860922"/>
                <a:gd name="connsiteY26" fmla="*/ 2849053 h 2969978"/>
                <a:gd name="connsiteX27" fmla="*/ 9415306 w 11860922"/>
                <a:gd name="connsiteY27" fmla="*/ 2828956 h 2969978"/>
                <a:gd name="connsiteX28" fmla="*/ 9204290 w 11860922"/>
                <a:gd name="connsiteY28" fmla="*/ 2808859 h 2969978"/>
                <a:gd name="connsiteX29" fmla="*/ 9073662 w 11860922"/>
                <a:gd name="connsiteY29" fmla="*/ 2788762 h 2969978"/>
                <a:gd name="connsiteX30" fmla="*/ 8812404 w 11860922"/>
                <a:gd name="connsiteY30" fmla="*/ 2778714 h 2969978"/>
                <a:gd name="connsiteX31" fmla="*/ 8400422 w 11860922"/>
                <a:gd name="connsiteY31" fmla="*/ 2768666 h 2969978"/>
                <a:gd name="connsiteX32" fmla="*/ 8269793 w 11860922"/>
                <a:gd name="connsiteY32" fmla="*/ 2758617 h 2969978"/>
                <a:gd name="connsiteX33" fmla="*/ 7797521 w 11860922"/>
                <a:gd name="connsiteY33" fmla="*/ 2778714 h 2969978"/>
                <a:gd name="connsiteX34" fmla="*/ 7717134 w 11860922"/>
                <a:gd name="connsiteY34" fmla="*/ 2788762 h 2969978"/>
                <a:gd name="connsiteX35" fmla="*/ 7486022 w 11860922"/>
                <a:gd name="connsiteY35" fmla="*/ 2818908 h 2969978"/>
                <a:gd name="connsiteX36" fmla="*/ 7395587 w 11860922"/>
                <a:gd name="connsiteY36" fmla="*/ 2839004 h 2969978"/>
                <a:gd name="connsiteX37" fmla="*/ 7325248 w 11860922"/>
                <a:gd name="connsiteY37" fmla="*/ 2849053 h 2969978"/>
                <a:gd name="connsiteX38" fmla="*/ 6863024 w 11860922"/>
                <a:gd name="connsiteY38" fmla="*/ 2839004 h 2969978"/>
                <a:gd name="connsiteX39" fmla="*/ 6722347 w 11860922"/>
                <a:gd name="connsiteY39" fmla="*/ 2828956 h 2969978"/>
                <a:gd name="connsiteX40" fmla="*/ 4903596 w 11860922"/>
                <a:gd name="connsiteY40" fmla="*/ 2879198 h 2969978"/>
                <a:gd name="connsiteX41" fmla="*/ 4722725 w 11860922"/>
                <a:gd name="connsiteY41" fmla="*/ 2919391 h 2969978"/>
                <a:gd name="connsiteX42" fmla="*/ 4300695 w 11860922"/>
                <a:gd name="connsiteY42" fmla="*/ 2899294 h 2969978"/>
                <a:gd name="connsiteX43" fmla="*/ 4059534 w 11860922"/>
                <a:gd name="connsiteY43" fmla="*/ 2859101 h 2969978"/>
                <a:gd name="connsiteX44" fmla="*/ 3768132 w 11860922"/>
                <a:gd name="connsiteY44" fmla="*/ 2828956 h 2969978"/>
                <a:gd name="connsiteX45" fmla="*/ 3627455 w 11860922"/>
                <a:gd name="connsiteY45" fmla="*/ 2818908 h 2969978"/>
                <a:gd name="connsiteX46" fmla="*/ 3125037 w 11860922"/>
                <a:gd name="connsiteY46" fmla="*/ 2828956 h 2969978"/>
                <a:gd name="connsiteX47" fmla="*/ 3064747 w 11860922"/>
                <a:gd name="connsiteY47" fmla="*/ 2839004 h 2969978"/>
                <a:gd name="connsiteX48" fmla="*/ 2009670 w 11860922"/>
                <a:gd name="connsiteY48" fmla="*/ 2849053 h 2969978"/>
                <a:gd name="connsiteX49" fmla="*/ 1678075 w 11860922"/>
                <a:gd name="connsiteY49" fmla="*/ 2939488 h 2969978"/>
                <a:gd name="connsiteX50" fmla="*/ 1607736 w 11860922"/>
                <a:gd name="connsiteY50" fmla="*/ 2969633 h 2969978"/>
                <a:gd name="connsiteX51" fmla="*/ 1135464 w 11860922"/>
                <a:gd name="connsiteY51" fmla="*/ 2949536 h 2969978"/>
                <a:gd name="connsiteX52" fmla="*/ 944545 w 11860922"/>
                <a:gd name="connsiteY52" fmla="*/ 2919391 h 2969978"/>
                <a:gd name="connsiteX53" fmla="*/ 723481 w 11860922"/>
                <a:gd name="connsiteY53" fmla="*/ 2879198 h 2969978"/>
                <a:gd name="connsiteX54" fmla="*/ 643095 w 11860922"/>
                <a:gd name="connsiteY54" fmla="*/ 2869149 h 2969978"/>
                <a:gd name="connsiteX55" fmla="*/ 371789 w 11860922"/>
                <a:gd name="connsiteY55" fmla="*/ 2828956 h 2969978"/>
                <a:gd name="connsiteX56" fmla="*/ 0 w 11860922"/>
                <a:gd name="connsiteY56" fmla="*/ 2818908 h 2969978"/>
                <a:gd name="connsiteX0" fmla="*/ 120580 w 11857648"/>
                <a:gd name="connsiteY0" fmla="*/ 55611 h 2969978"/>
                <a:gd name="connsiteX1" fmla="*/ 281354 w 11857648"/>
                <a:gd name="connsiteY1" fmla="*/ 45562 h 2969978"/>
                <a:gd name="connsiteX2" fmla="*/ 673240 w 11857648"/>
                <a:gd name="connsiteY2" fmla="*/ 35514 h 2969978"/>
                <a:gd name="connsiteX3" fmla="*/ 1356528 w 11857648"/>
                <a:gd name="connsiteY3" fmla="*/ 85756 h 2969978"/>
                <a:gd name="connsiteX4" fmla="*/ 1758462 w 11857648"/>
                <a:gd name="connsiteY4" fmla="*/ 45562 h 2969978"/>
                <a:gd name="connsiteX5" fmla="*/ 2140299 w 11857648"/>
                <a:gd name="connsiteY5" fmla="*/ 45562 h 2969978"/>
                <a:gd name="connsiteX6" fmla="*/ 4652387 w 11857648"/>
                <a:gd name="connsiteY6" fmla="*/ 65659 h 2969978"/>
                <a:gd name="connsiteX7" fmla="*/ 4692580 w 11857648"/>
                <a:gd name="connsiteY7" fmla="*/ 75708 h 2969978"/>
                <a:gd name="connsiteX8" fmla="*/ 6420897 w 11857648"/>
                <a:gd name="connsiteY8" fmla="*/ 95804 h 2969978"/>
                <a:gd name="connsiteX9" fmla="*/ 7184571 w 11857648"/>
                <a:gd name="connsiteY9" fmla="*/ 65659 h 2969978"/>
                <a:gd name="connsiteX10" fmla="*/ 7928150 w 11857648"/>
                <a:gd name="connsiteY10" fmla="*/ 65659 h 2969978"/>
                <a:gd name="connsiteX11" fmla="*/ 8219552 w 11857648"/>
                <a:gd name="connsiteY11" fmla="*/ 95804 h 2969978"/>
                <a:gd name="connsiteX12" fmla="*/ 9606224 w 11857648"/>
                <a:gd name="connsiteY12" fmla="*/ 95804 h 2969978"/>
                <a:gd name="connsiteX13" fmla="*/ 9947868 w 11857648"/>
                <a:gd name="connsiteY13" fmla="*/ 65659 h 2969978"/>
                <a:gd name="connsiteX14" fmla="*/ 10791930 w 11857648"/>
                <a:gd name="connsiteY14" fmla="*/ 35514 h 2969978"/>
                <a:gd name="connsiteX15" fmla="*/ 11736475 w 11857648"/>
                <a:gd name="connsiteY15" fmla="*/ 55611 h 2969978"/>
                <a:gd name="connsiteX16" fmla="*/ 11806813 w 11857648"/>
                <a:gd name="connsiteY16" fmla="*/ 769044 h 2969978"/>
                <a:gd name="connsiteX17" fmla="*/ 11816862 w 11857648"/>
                <a:gd name="connsiteY17" fmla="*/ 2336587 h 2969978"/>
                <a:gd name="connsiteX18" fmla="*/ 11857055 w 11857648"/>
                <a:gd name="connsiteY18" fmla="*/ 2839004 h 2969978"/>
                <a:gd name="connsiteX19" fmla="*/ 11836958 w 11857648"/>
                <a:gd name="connsiteY19" fmla="*/ 2869149 h 2969978"/>
                <a:gd name="connsiteX20" fmla="*/ 11033090 w 11857648"/>
                <a:gd name="connsiteY20" fmla="*/ 2859101 h 2969978"/>
                <a:gd name="connsiteX21" fmla="*/ 10621108 w 11857648"/>
                <a:gd name="connsiteY21" fmla="*/ 2849053 h 2969978"/>
                <a:gd name="connsiteX22" fmla="*/ 10128739 w 11857648"/>
                <a:gd name="connsiteY22" fmla="*/ 2859101 h 2969978"/>
                <a:gd name="connsiteX23" fmla="*/ 10048352 w 11857648"/>
                <a:gd name="connsiteY23" fmla="*/ 2869149 h 2969978"/>
                <a:gd name="connsiteX24" fmla="*/ 9555982 w 11857648"/>
                <a:gd name="connsiteY24" fmla="*/ 2859101 h 2969978"/>
                <a:gd name="connsiteX25" fmla="*/ 9445451 w 11857648"/>
                <a:gd name="connsiteY25" fmla="*/ 2849053 h 2969978"/>
                <a:gd name="connsiteX26" fmla="*/ 9415306 w 11857648"/>
                <a:gd name="connsiteY26" fmla="*/ 2828956 h 2969978"/>
                <a:gd name="connsiteX27" fmla="*/ 9204290 w 11857648"/>
                <a:gd name="connsiteY27" fmla="*/ 2808859 h 2969978"/>
                <a:gd name="connsiteX28" fmla="*/ 9073662 w 11857648"/>
                <a:gd name="connsiteY28" fmla="*/ 2788762 h 2969978"/>
                <a:gd name="connsiteX29" fmla="*/ 8812404 w 11857648"/>
                <a:gd name="connsiteY29" fmla="*/ 2778714 h 2969978"/>
                <a:gd name="connsiteX30" fmla="*/ 8400422 w 11857648"/>
                <a:gd name="connsiteY30" fmla="*/ 2768666 h 2969978"/>
                <a:gd name="connsiteX31" fmla="*/ 8269793 w 11857648"/>
                <a:gd name="connsiteY31" fmla="*/ 2758617 h 2969978"/>
                <a:gd name="connsiteX32" fmla="*/ 7797521 w 11857648"/>
                <a:gd name="connsiteY32" fmla="*/ 2778714 h 2969978"/>
                <a:gd name="connsiteX33" fmla="*/ 7717134 w 11857648"/>
                <a:gd name="connsiteY33" fmla="*/ 2788762 h 2969978"/>
                <a:gd name="connsiteX34" fmla="*/ 7486022 w 11857648"/>
                <a:gd name="connsiteY34" fmla="*/ 2818908 h 2969978"/>
                <a:gd name="connsiteX35" fmla="*/ 7395587 w 11857648"/>
                <a:gd name="connsiteY35" fmla="*/ 2839004 h 2969978"/>
                <a:gd name="connsiteX36" fmla="*/ 7325248 w 11857648"/>
                <a:gd name="connsiteY36" fmla="*/ 2849053 h 2969978"/>
                <a:gd name="connsiteX37" fmla="*/ 6863024 w 11857648"/>
                <a:gd name="connsiteY37" fmla="*/ 2839004 h 2969978"/>
                <a:gd name="connsiteX38" fmla="*/ 6722347 w 11857648"/>
                <a:gd name="connsiteY38" fmla="*/ 2828956 h 2969978"/>
                <a:gd name="connsiteX39" fmla="*/ 4903596 w 11857648"/>
                <a:gd name="connsiteY39" fmla="*/ 2879198 h 2969978"/>
                <a:gd name="connsiteX40" fmla="*/ 4722725 w 11857648"/>
                <a:gd name="connsiteY40" fmla="*/ 2919391 h 2969978"/>
                <a:gd name="connsiteX41" fmla="*/ 4300695 w 11857648"/>
                <a:gd name="connsiteY41" fmla="*/ 2899294 h 2969978"/>
                <a:gd name="connsiteX42" fmla="*/ 4059534 w 11857648"/>
                <a:gd name="connsiteY42" fmla="*/ 2859101 h 2969978"/>
                <a:gd name="connsiteX43" fmla="*/ 3768132 w 11857648"/>
                <a:gd name="connsiteY43" fmla="*/ 2828956 h 2969978"/>
                <a:gd name="connsiteX44" fmla="*/ 3627455 w 11857648"/>
                <a:gd name="connsiteY44" fmla="*/ 2818908 h 2969978"/>
                <a:gd name="connsiteX45" fmla="*/ 3125037 w 11857648"/>
                <a:gd name="connsiteY45" fmla="*/ 2828956 h 2969978"/>
                <a:gd name="connsiteX46" fmla="*/ 3064747 w 11857648"/>
                <a:gd name="connsiteY46" fmla="*/ 2839004 h 2969978"/>
                <a:gd name="connsiteX47" fmla="*/ 2009670 w 11857648"/>
                <a:gd name="connsiteY47" fmla="*/ 2849053 h 2969978"/>
                <a:gd name="connsiteX48" fmla="*/ 1678075 w 11857648"/>
                <a:gd name="connsiteY48" fmla="*/ 2939488 h 2969978"/>
                <a:gd name="connsiteX49" fmla="*/ 1607736 w 11857648"/>
                <a:gd name="connsiteY49" fmla="*/ 2969633 h 2969978"/>
                <a:gd name="connsiteX50" fmla="*/ 1135464 w 11857648"/>
                <a:gd name="connsiteY50" fmla="*/ 2949536 h 2969978"/>
                <a:gd name="connsiteX51" fmla="*/ 944545 w 11857648"/>
                <a:gd name="connsiteY51" fmla="*/ 2919391 h 2969978"/>
                <a:gd name="connsiteX52" fmla="*/ 723481 w 11857648"/>
                <a:gd name="connsiteY52" fmla="*/ 2879198 h 2969978"/>
                <a:gd name="connsiteX53" fmla="*/ 643095 w 11857648"/>
                <a:gd name="connsiteY53" fmla="*/ 2869149 h 2969978"/>
                <a:gd name="connsiteX54" fmla="*/ 371789 w 11857648"/>
                <a:gd name="connsiteY54" fmla="*/ 2828956 h 2969978"/>
                <a:gd name="connsiteX55" fmla="*/ 0 w 11857648"/>
                <a:gd name="connsiteY55" fmla="*/ 2818908 h 2969978"/>
                <a:gd name="connsiteX0" fmla="*/ 120580 w 11907678"/>
                <a:gd name="connsiteY0" fmla="*/ 55611 h 2969978"/>
                <a:gd name="connsiteX1" fmla="*/ 281354 w 11907678"/>
                <a:gd name="connsiteY1" fmla="*/ 45562 h 2969978"/>
                <a:gd name="connsiteX2" fmla="*/ 673240 w 11907678"/>
                <a:gd name="connsiteY2" fmla="*/ 35514 h 2969978"/>
                <a:gd name="connsiteX3" fmla="*/ 1356528 w 11907678"/>
                <a:gd name="connsiteY3" fmla="*/ 85756 h 2969978"/>
                <a:gd name="connsiteX4" fmla="*/ 1758462 w 11907678"/>
                <a:gd name="connsiteY4" fmla="*/ 45562 h 2969978"/>
                <a:gd name="connsiteX5" fmla="*/ 2140299 w 11907678"/>
                <a:gd name="connsiteY5" fmla="*/ 45562 h 2969978"/>
                <a:gd name="connsiteX6" fmla="*/ 4652387 w 11907678"/>
                <a:gd name="connsiteY6" fmla="*/ 65659 h 2969978"/>
                <a:gd name="connsiteX7" fmla="*/ 4692580 w 11907678"/>
                <a:gd name="connsiteY7" fmla="*/ 75708 h 2969978"/>
                <a:gd name="connsiteX8" fmla="*/ 6420897 w 11907678"/>
                <a:gd name="connsiteY8" fmla="*/ 95804 h 2969978"/>
                <a:gd name="connsiteX9" fmla="*/ 7184571 w 11907678"/>
                <a:gd name="connsiteY9" fmla="*/ 65659 h 2969978"/>
                <a:gd name="connsiteX10" fmla="*/ 7928150 w 11907678"/>
                <a:gd name="connsiteY10" fmla="*/ 65659 h 2969978"/>
                <a:gd name="connsiteX11" fmla="*/ 8219552 w 11907678"/>
                <a:gd name="connsiteY11" fmla="*/ 95804 h 2969978"/>
                <a:gd name="connsiteX12" fmla="*/ 9606224 w 11907678"/>
                <a:gd name="connsiteY12" fmla="*/ 95804 h 2969978"/>
                <a:gd name="connsiteX13" fmla="*/ 9947868 w 11907678"/>
                <a:gd name="connsiteY13" fmla="*/ 65659 h 2969978"/>
                <a:gd name="connsiteX14" fmla="*/ 10791930 w 11907678"/>
                <a:gd name="connsiteY14" fmla="*/ 35514 h 2969978"/>
                <a:gd name="connsiteX15" fmla="*/ 11736475 w 11907678"/>
                <a:gd name="connsiteY15" fmla="*/ 55611 h 2969978"/>
                <a:gd name="connsiteX16" fmla="*/ 11806813 w 11907678"/>
                <a:gd name="connsiteY16" fmla="*/ 769044 h 2969978"/>
                <a:gd name="connsiteX17" fmla="*/ 11816862 w 11907678"/>
                <a:gd name="connsiteY17" fmla="*/ 2336587 h 2969978"/>
                <a:gd name="connsiteX18" fmla="*/ 11857055 w 11907678"/>
                <a:gd name="connsiteY18" fmla="*/ 2839004 h 2969978"/>
                <a:gd name="connsiteX19" fmla="*/ 11033090 w 11907678"/>
                <a:gd name="connsiteY19" fmla="*/ 2859101 h 2969978"/>
                <a:gd name="connsiteX20" fmla="*/ 10621108 w 11907678"/>
                <a:gd name="connsiteY20" fmla="*/ 2849053 h 2969978"/>
                <a:gd name="connsiteX21" fmla="*/ 10128739 w 11907678"/>
                <a:gd name="connsiteY21" fmla="*/ 2859101 h 2969978"/>
                <a:gd name="connsiteX22" fmla="*/ 10048352 w 11907678"/>
                <a:gd name="connsiteY22" fmla="*/ 2869149 h 2969978"/>
                <a:gd name="connsiteX23" fmla="*/ 9555982 w 11907678"/>
                <a:gd name="connsiteY23" fmla="*/ 2859101 h 2969978"/>
                <a:gd name="connsiteX24" fmla="*/ 9445451 w 11907678"/>
                <a:gd name="connsiteY24" fmla="*/ 2849053 h 2969978"/>
                <a:gd name="connsiteX25" fmla="*/ 9415306 w 11907678"/>
                <a:gd name="connsiteY25" fmla="*/ 2828956 h 2969978"/>
                <a:gd name="connsiteX26" fmla="*/ 9204290 w 11907678"/>
                <a:gd name="connsiteY26" fmla="*/ 2808859 h 2969978"/>
                <a:gd name="connsiteX27" fmla="*/ 9073662 w 11907678"/>
                <a:gd name="connsiteY27" fmla="*/ 2788762 h 2969978"/>
                <a:gd name="connsiteX28" fmla="*/ 8812404 w 11907678"/>
                <a:gd name="connsiteY28" fmla="*/ 2778714 h 2969978"/>
                <a:gd name="connsiteX29" fmla="*/ 8400422 w 11907678"/>
                <a:gd name="connsiteY29" fmla="*/ 2768666 h 2969978"/>
                <a:gd name="connsiteX30" fmla="*/ 8269793 w 11907678"/>
                <a:gd name="connsiteY30" fmla="*/ 2758617 h 2969978"/>
                <a:gd name="connsiteX31" fmla="*/ 7797521 w 11907678"/>
                <a:gd name="connsiteY31" fmla="*/ 2778714 h 2969978"/>
                <a:gd name="connsiteX32" fmla="*/ 7717134 w 11907678"/>
                <a:gd name="connsiteY32" fmla="*/ 2788762 h 2969978"/>
                <a:gd name="connsiteX33" fmla="*/ 7486022 w 11907678"/>
                <a:gd name="connsiteY33" fmla="*/ 2818908 h 2969978"/>
                <a:gd name="connsiteX34" fmla="*/ 7395587 w 11907678"/>
                <a:gd name="connsiteY34" fmla="*/ 2839004 h 2969978"/>
                <a:gd name="connsiteX35" fmla="*/ 7325248 w 11907678"/>
                <a:gd name="connsiteY35" fmla="*/ 2849053 h 2969978"/>
                <a:gd name="connsiteX36" fmla="*/ 6863024 w 11907678"/>
                <a:gd name="connsiteY36" fmla="*/ 2839004 h 2969978"/>
                <a:gd name="connsiteX37" fmla="*/ 6722347 w 11907678"/>
                <a:gd name="connsiteY37" fmla="*/ 2828956 h 2969978"/>
                <a:gd name="connsiteX38" fmla="*/ 4903596 w 11907678"/>
                <a:gd name="connsiteY38" fmla="*/ 2879198 h 2969978"/>
                <a:gd name="connsiteX39" fmla="*/ 4722725 w 11907678"/>
                <a:gd name="connsiteY39" fmla="*/ 2919391 h 2969978"/>
                <a:gd name="connsiteX40" fmla="*/ 4300695 w 11907678"/>
                <a:gd name="connsiteY40" fmla="*/ 2899294 h 2969978"/>
                <a:gd name="connsiteX41" fmla="*/ 4059534 w 11907678"/>
                <a:gd name="connsiteY41" fmla="*/ 2859101 h 2969978"/>
                <a:gd name="connsiteX42" fmla="*/ 3768132 w 11907678"/>
                <a:gd name="connsiteY42" fmla="*/ 2828956 h 2969978"/>
                <a:gd name="connsiteX43" fmla="*/ 3627455 w 11907678"/>
                <a:gd name="connsiteY43" fmla="*/ 2818908 h 2969978"/>
                <a:gd name="connsiteX44" fmla="*/ 3125037 w 11907678"/>
                <a:gd name="connsiteY44" fmla="*/ 2828956 h 2969978"/>
                <a:gd name="connsiteX45" fmla="*/ 3064747 w 11907678"/>
                <a:gd name="connsiteY45" fmla="*/ 2839004 h 2969978"/>
                <a:gd name="connsiteX46" fmla="*/ 2009670 w 11907678"/>
                <a:gd name="connsiteY46" fmla="*/ 2849053 h 2969978"/>
                <a:gd name="connsiteX47" fmla="*/ 1678075 w 11907678"/>
                <a:gd name="connsiteY47" fmla="*/ 2939488 h 2969978"/>
                <a:gd name="connsiteX48" fmla="*/ 1607736 w 11907678"/>
                <a:gd name="connsiteY48" fmla="*/ 2969633 h 2969978"/>
                <a:gd name="connsiteX49" fmla="*/ 1135464 w 11907678"/>
                <a:gd name="connsiteY49" fmla="*/ 2949536 h 2969978"/>
                <a:gd name="connsiteX50" fmla="*/ 944545 w 11907678"/>
                <a:gd name="connsiteY50" fmla="*/ 2919391 h 2969978"/>
                <a:gd name="connsiteX51" fmla="*/ 723481 w 11907678"/>
                <a:gd name="connsiteY51" fmla="*/ 2879198 h 2969978"/>
                <a:gd name="connsiteX52" fmla="*/ 643095 w 11907678"/>
                <a:gd name="connsiteY52" fmla="*/ 2869149 h 2969978"/>
                <a:gd name="connsiteX53" fmla="*/ 371789 w 11907678"/>
                <a:gd name="connsiteY53" fmla="*/ 2828956 h 2969978"/>
                <a:gd name="connsiteX54" fmla="*/ 0 w 11907678"/>
                <a:gd name="connsiteY54" fmla="*/ 2818908 h 2969978"/>
                <a:gd name="connsiteX0" fmla="*/ 120580 w 11869655"/>
                <a:gd name="connsiteY0" fmla="*/ 55611 h 2969978"/>
                <a:gd name="connsiteX1" fmla="*/ 281354 w 11869655"/>
                <a:gd name="connsiteY1" fmla="*/ 45562 h 2969978"/>
                <a:gd name="connsiteX2" fmla="*/ 673240 w 11869655"/>
                <a:gd name="connsiteY2" fmla="*/ 35514 h 2969978"/>
                <a:gd name="connsiteX3" fmla="*/ 1356528 w 11869655"/>
                <a:gd name="connsiteY3" fmla="*/ 85756 h 2969978"/>
                <a:gd name="connsiteX4" fmla="*/ 1758462 w 11869655"/>
                <a:gd name="connsiteY4" fmla="*/ 45562 h 2969978"/>
                <a:gd name="connsiteX5" fmla="*/ 2140299 w 11869655"/>
                <a:gd name="connsiteY5" fmla="*/ 45562 h 2969978"/>
                <a:gd name="connsiteX6" fmla="*/ 4652387 w 11869655"/>
                <a:gd name="connsiteY6" fmla="*/ 65659 h 2969978"/>
                <a:gd name="connsiteX7" fmla="*/ 4692580 w 11869655"/>
                <a:gd name="connsiteY7" fmla="*/ 75708 h 2969978"/>
                <a:gd name="connsiteX8" fmla="*/ 6420897 w 11869655"/>
                <a:gd name="connsiteY8" fmla="*/ 95804 h 2969978"/>
                <a:gd name="connsiteX9" fmla="*/ 7184571 w 11869655"/>
                <a:gd name="connsiteY9" fmla="*/ 65659 h 2969978"/>
                <a:gd name="connsiteX10" fmla="*/ 7928150 w 11869655"/>
                <a:gd name="connsiteY10" fmla="*/ 65659 h 2969978"/>
                <a:gd name="connsiteX11" fmla="*/ 8219552 w 11869655"/>
                <a:gd name="connsiteY11" fmla="*/ 95804 h 2969978"/>
                <a:gd name="connsiteX12" fmla="*/ 9606224 w 11869655"/>
                <a:gd name="connsiteY12" fmla="*/ 95804 h 2969978"/>
                <a:gd name="connsiteX13" fmla="*/ 9947868 w 11869655"/>
                <a:gd name="connsiteY13" fmla="*/ 65659 h 2969978"/>
                <a:gd name="connsiteX14" fmla="*/ 10791930 w 11869655"/>
                <a:gd name="connsiteY14" fmla="*/ 35514 h 2969978"/>
                <a:gd name="connsiteX15" fmla="*/ 11736475 w 11869655"/>
                <a:gd name="connsiteY15" fmla="*/ 55611 h 2969978"/>
                <a:gd name="connsiteX16" fmla="*/ 11806813 w 11869655"/>
                <a:gd name="connsiteY16" fmla="*/ 769044 h 2969978"/>
                <a:gd name="connsiteX17" fmla="*/ 11816862 w 11869655"/>
                <a:gd name="connsiteY17" fmla="*/ 2336587 h 2969978"/>
                <a:gd name="connsiteX18" fmla="*/ 11806813 w 11869655"/>
                <a:gd name="connsiteY18" fmla="*/ 2828956 h 2969978"/>
                <a:gd name="connsiteX19" fmla="*/ 11033090 w 11869655"/>
                <a:gd name="connsiteY19" fmla="*/ 2859101 h 2969978"/>
                <a:gd name="connsiteX20" fmla="*/ 10621108 w 11869655"/>
                <a:gd name="connsiteY20" fmla="*/ 2849053 h 2969978"/>
                <a:gd name="connsiteX21" fmla="*/ 10128739 w 11869655"/>
                <a:gd name="connsiteY21" fmla="*/ 2859101 h 2969978"/>
                <a:gd name="connsiteX22" fmla="*/ 10048352 w 11869655"/>
                <a:gd name="connsiteY22" fmla="*/ 2869149 h 2969978"/>
                <a:gd name="connsiteX23" fmla="*/ 9555982 w 11869655"/>
                <a:gd name="connsiteY23" fmla="*/ 2859101 h 2969978"/>
                <a:gd name="connsiteX24" fmla="*/ 9445451 w 11869655"/>
                <a:gd name="connsiteY24" fmla="*/ 2849053 h 2969978"/>
                <a:gd name="connsiteX25" fmla="*/ 9415306 w 11869655"/>
                <a:gd name="connsiteY25" fmla="*/ 2828956 h 2969978"/>
                <a:gd name="connsiteX26" fmla="*/ 9204290 w 11869655"/>
                <a:gd name="connsiteY26" fmla="*/ 2808859 h 2969978"/>
                <a:gd name="connsiteX27" fmla="*/ 9073662 w 11869655"/>
                <a:gd name="connsiteY27" fmla="*/ 2788762 h 2969978"/>
                <a:gd name="connsiteX28" fmla="*/ 8812404 w 11869655"/>
                <a:gd name="connsiteY28" fmla="*/ 2778714 h 2969978"/>
                <a:gd name="connsiteX29" fmla="*/ 8400422 w 11869655"/>
                <a:gd name="connsiteY29" fmla="*/ 2768666 h 2969978"/>
                <a:gd name="connsiteX30" fmla="*/ 8269793 w 11869655"/>
                <a:gd name="connsiteY30" fmla="*/ 2758617 h 2969978"/>
                <a:gd name="connsiteX31" fmla="*/ 7797521 w 11869655"/>
                <a:gd name="connsiteY31" fmla="*/ 2778714 h 2969978"/>
                <a:gd name="connsiteX32" fmla="*/ 7717134 w 11869655"/>
                <a:gd name="connsiteY32" fmla="*/ 2788762 h 2969978"/>
                <a:gd name="connsiteX33" fmla="*/ 7486022 w 11869655"/>
                <a:gd name="connsiteY33" fmla="*/ 2818908 h 2969978"/>
                <a:gd name="connsiteX34" fmla="*/ 7395587 w 11869655"/>
                <a:gd name="connsiteY34" fmla="*/ 2839004 h 2969978"/>
                <a:gd name="connsiteX35" fmla="*/ 7325248 w 11869655"/>
                <a:gd name="connsiteY35" fmla="*/ 2849053 h 2969978"/>
                <a:gd name="connsiteX36" fmla="*/ 6863024 w 11869655"/>
                <a:gd name="connsiteY36" fmla="*/ 2839004 h 2969978"/>
                <a:gd name="connsiteX37" fmla="*/ 6722347 w 11869655"/>
                <a:gd name="connsiteY37" fmla="*/ 2828956 h 2969978"/>
                <a:gd name="connsiteX38" fmla="*/ 4903596 w 11869655"/>
                <a:gd name="connsiteY38" fmla="*/ 2879198 h 2969978"/>
                <a:gd name="connsiteX39" fmla="*/ 4722725 w 11869655"/>
                <a:gd name="connsiteY39" fmla="*/ 2919391 h 2969978"/>
                <a:gd name="connsiteX40" fmla="*/ 4300695 w 11869655"/>
                <a:gd name="connsiteY40" fmla="*/ 2899294 h 2969978"/>
                <a:gd name="connsiteX41" fmla="*/ 4059534 w 11869655"/>
                <a:gd name="connsiteY41" fmla="*/ 2859101 h 2969978"/>
                <a:gd name="connsiteX42" fmla="*/ 3768132 w 11869655"/>
                <a:gd name="connsiteY42" fmla="*/ 2828956 h 2969978"/>
                <a:gd name="connsiteX43" fmla="*/ 3627455 w 11869655"/>
                <a:gd name="connsiteY43" fmla="*/ 2818908 h 2969978"/>
                <a:gd name="connsiteX44" fmla="*/ 3125037 w 11869655"/>
                <a:gd name="connsiteY44" fmla="*/ 2828956 h 2969978"/>
                <a:gd name="connsiteX45" fmla="*/ 3064747 w 11869655"/>
                <a:gd name="connsiteY45" fmla="*/ 2839004 h 2969978"/>
                <a:gd name="connsiteX46" fmla="*/ 2009670 w 11869655"/>
                <a:gd name="connsiteY46" fmla="*/ 2849053 h 2969978"/>
                <a:gd name="connsiteX47" fmla="*/ 1678075 w 11869655"/>
                <a:gd name="connsiteY47" fmla="*/ 2939488 h 2969978"/>
                <a:gd name="connsiteX48" fmla="*/ 1607736 w 11869655"/>
                <a:gd name="connsiteY48" fmla="*/ 2969633 h 2969978"/>
                <a:gd name="connsiteX49" fmla="*/ 1135464 w 11869655"/>
                <a:gd name="connsiteY49" fmla="*/ 2949536 h 2969978"/>
                <a:gd name="connsiteX50" fmla="*/ 944545 w 11869655"/>
                <a:gd name="connsiteY50" fmla="*/ 2919391 h 2969978"/>
                <a:gd name="connsiteX51" fmla="*/ 723481 w 11869655"/>
                <a:gd name="connsiteY51" fmla="*/ 2879198 h 2969978"/>
                <a:gd name="connsiteX52" fmla="*/ 643095 w 11869655"/>
                <a:gd name="connsiteY52" fmla="*/ 2869149 h 2969978"/>
                <a:gd name="connsiteX53" fmla="*/ 371789 w 11869655"/>
                <a:gd name="connsiteY53" fmla="*/ 2828956 h 2969978"/>
                <a:gd name="connsiteX54" fmla="*/ 0 w 11869655"/>
                <a:gd name="connsiteY54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621108 w 11851944"/>
                <a:gd name="connsiteY20" fmla="*/ 2849053 h 2969978"/>
                <a:gd name="connsiteX21" fmla="*/ 10128739 w 11851944"/>
                <a:gd name="connsiteY21" fmla="*/ 2859101 h 2969978"/>
                <a:gd name="connsiteX22" fmla="*/ 10048352 w 11851944"/>
                <a:gd name="connsiteY22" fmla="*/ 2869149 h 2969978"/>
                <a:gd name="connsiteX23" fmla="*/ 9555982 w 11851944"/>
                <a:gd name="connsiteY23" fmla="*/ 2859101 h 2969978"/>
                <a:gd name="connsiteX24" fmla="*/ 9445451 w 11851944"/>
                <a:gd name="connsiteY24" fmla="*/ 2849053 h 2969978"/>
                <a:gd name="connsiteX25" fmla="*/ 9415306 w 11851944"/>
                <a:gd name="connsiteY25" fmla="*/ 2828956 h 2969978"/>
                <a:gd name="connsiteX26" fmla="*/ 9204290 w 11851944"/>
                <a:gd name="connsiteY26" fmla="*/ 2808859 h 2969978"/>
                <a:gd name="connsiteX27" fmla="*/ 9073662 w 11851944"/>
                <a:gd name="connsiteY27" fmla="*/ 2788762 h 2969978"/>
                <a:gd name="connsiteX28" fmla="*/ 8812404 w 11851944"/>
                <a:gd name="connsiteY28" fmla="*/ 2778714 h 2969978"/>
                <a:gd name="connsiteX29" fmla="*/ 8400422 w 11851944"/>
                <a:gd name="connsiteY29" fmla="*/ 2768666 h 2969978"/>
                <a:gd name="connsiteX30" fmla="*/ 8269793 w 11851944"/>
                <a:gd name="connsiteY30" fmla="*/ 2758617 h 2969978"/>
                <a:gd name="connsiteX31" fmla="*/ 7797521 w 11851944"/>
                <a:gd name="connsiteY31" fmla="*/ 2778714 h 2969978"/>
                <a:gd name="connsiteX32" fmla="*/ 7717134 w 11851944"/>
                <a:gd name="connsiteY32" fmla="*/ 2788762 h 2969978"/>
                <a:gd name="connsiteX33" fmla="*/ 7486022 w 11851944"/>
                <a:gd name="connsiteY33" fmla="*/ 2818908 h 2969978"/>
                <a:gd name="connsiteX34" fmla="*/ 7395587 w 11851944"/>
                <a:gd name="connsiteY34" fmla="*/ 2839004 h 2969978"/>
                <a:gd name="connsiteX35" fmla="*/ 7325248 w 11851944"/>
                <a:gd name="connsiteY35" fmla="*/ 2849053 h 2969978"/>
                <a:gd name="connsiteX36" fmla="*/ 6863024 w 11851944"/>
                <a:gd name="connsiteY36" fmla="*/ 2839004 h 2969978"/>
                <a:gd name="connsiteX37" fmla="*/ 6722347 w 11851944"/>
                <a:gd name="connsiteY37" fmla="*/ 2828956 h 2969978"/>
                <a:gd name="connsiteX38" fmla="*/ 4903596 w 11851944"/>
                <a:gd name="connsiteY38" fmla="*/ 2879198 h 2969978"/>
                <a:gd name="connsiteX39" fmla="*/ 4722725 w 11851944"/>
                <a:gd name="connsiteY39" fmla="*/ 2919391 h 2969978"/>
                <a:gd name="connsiteX40" fmla="*/ 4300695 w 11851944"/>
                <a:gd name="connsiteY40" fmla="*/ 2899294 h 2969978"/>
                <a:gd name="connsiteX41" fmla="*/ 4059534 w 11851944"/>
                <a:gd name="connsiteY41" fmla="*/ 2859101 h 2969978"/>
                <a:gd name="connsiteX42" fmla="*/ 3768132 w 11851944"/>
                <a:gd name="connsiteY42" fmla="*/ 2828956 h 2969978"/>
                <a:gd name="connsiteX43" fmla="*/ 3627455 w 11851944"/>
                <a:gd name="connsiteY43" fmla="*/ 2818908 h 2969978"/>
                <a:gd name="connsiteX44" fmla="*/ 3125037 w 11851944"/>
                <a:gd name="connsiteY44" fmla="*/ 2828956 h 2969978"/>
                <a:gd name="connsiteX45" fmla="*/ 3064747 w 11851944"/>
                <a:gd name="connsiteY45" fmla="*/ 2839004 h 2969978"/>
                <a:gd name="connsiteX46" fmla="*/ 2009670 w 11851944"/>
                <a:gd name="connsiteY46" fmla="*/ 2849053 h 2969978"/>
                <a:gd name="connsiteX47" fmla="*/ 1678075 w 11851944"/>
                <a:gd name="connsiteY47" fmla="*/ 2939488 h 2969978"/>
                <a:gd name="connsiteX48" fmla="*/ 1607736 w 11851944"/>
                <a:gd name="connsiteY48" fmla="*/ 2969633 h 2969978"/>
                <a:gd name="connsiteX49" fmla="*/ 1135464 w 11851944"/>
                <a:gd name="connsiteY49" fmla="*/ 2949536 h 2969978"/>
                <a:gd name="connsiteX50" fmla="*/ 944545 w 11851944"/>
                <a:gd name="connsiteY50" fmla="*/ 2919391 h 2969978"/>
                <a:gd name="connsiteX51" fmla="*/ 723481 w 11851944"/>
                <a:gd name="connsiteY51" fmla="*/ 2879198 h 2969978"/>
                <a:gd name="connsiteX52" fmla="*/ 643095 w 11851944"/>
                <a:gd name="connsiteY52" fmla="*/ 2869149 h 2969978"/>
                <a:gd name="connsiteX53" fmla="*/ 371789 w 11851944"/>
                <a:gd name="connsiteY53" fmla="*/ 2828956 h 2969978"/>
                <a:gd name="connsiteX54" fmla="*/ 0 w 11851944"/>
                <a:gd name="connsiteY54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10048352 w 11851944"/>
                <a:gd name="connsiteY21" fmla="*/ 2869149 h 2969978"/>
                <a:gd name="connsiteX22" fmla="*/ 9555982 w 11851944"/>
                <a:gd name="connsiteY22" fmla="*/ 2859101 h 2969978"/>
                <a:gd name="connsiteX23" fmla="*/ 9445451 w 11851944"/>
                <a:gd name="connsiteY23" fmla="*/ 2849053 h 2969978"/>
                <a:gd name="connsiteX24" fmla="*/ 9415306 w 11851944"/>
                <a:gd name="connsiteY24" fmla="*/ 2828956 h 2969978"/>
                <a:gd name="connsiteX25" fmla="*/ 9204290 w 11851944"/>
                <a:gd name="connsiteY25" fmla="*/ 2808859 h 2969978"/>
                <a:gd name="connsiteX26" fmla="*/ 9073662 w 11851944"/>
                <a:gd name="connsiteY26" fmla="*/ 2788762 h 2969978"/>
                <a:gd name="connsiteX27" fmla="*/ 8812404 w 11851944"/>
                <a:gd name="connsiteY27" fmla="*/ 2778714 h 2969978"/>
                <a:gd name="connsiteX28" fmla="*/ 8400422 w 11851944"/>
                <a:gd name="connsiteY28" fmla="*/ 2768666 h 2969978"/>
                <a:gd name="connsiteX29" fmla="*/ 8269793 w 11851944"/>
                <a:gd name="connsiteY29" fmla="*/ 2758617 h 2969978"/>
                <a:gd name="connsiteX30" fmla="*/ 7797521 w 11851944"/>
                <a:gd name="connsiteY30" fmla="*/ 2778714 h 2969978"/>
                <a:gd name="connsiteX31" fmla="*/ 7717134 w 11851944"/>
                <a:gd name="connsiteY31" fmla="*/ 2788762 h 2969978"/>
                <a:gd name="connsiteX32" fmla="*/ 7486022 w 11851944"/>
                <a:gd name="connsiteY32" fmla="*/ 2818908 h 2969978"/>
                <a:gd name="connsiteX33" fmla="*/ 7395587 w 11851944"/>
                <a:gd name="connsiteY33" fmla="*/ 2839004 h 2969978"/>
                <a:gd name="connsiteX34" fmla="*/ 7325248 w 11851944"/>
                <a:gd name="connsiteY34" fmla="*/ 2849053 h 2969978"/>
                <a:gd name="connsiteX35" fmla="*/ 6863024 w 11851944"/>
                <a:gd name="connsiteY35" fmla="*/ 2839004 h 2969978"/>
                <a:gd name="connsiteX36" fmla="*/ 6722347 w 11851944"/>
                <a:gd name="connsiteY36" fmla="*/ 2828956 h 2969978"/>
                <a:gd name="connsiteX37" fmla="*/ 4903596 w 11851944"/>
                <a:gd name="connsiteY37" fmla="*/ 2879198 h 2969978"/>
                <a:gd name="connsiteX38" fmla="*/ 4722725 w 11851944"/>
                <a:gd name="connsiteY38" fmla="*/ 2919391 h 2969978"/>
                <a:gd name="connsiteX39" fmla="*/ 4300695 w 11851944"/>
                <a:gd name="connsiteY39" fmla="*/ 2899294 h 2969978"/>
                <a:gd name="connsiteX40" fmla="*/ 4059534 w 11851944"/>
                <a:gd name="connsiteY40" fmla="*/ 2859101 h 2969978"/>
                <a:gd name="connsiteX41" fmla="*/ 3768132 w 11851944"/>
                <a:gd name="connsiteY41" fmla="*/ 2828956 h 2969978"/>
                <a:gd name="connsiteX42" fmla="*/ 3627455 w 11851944"/>
                <a:gd name="connsiteY42" fmla="*/ 2818908 h 2969978"/>
                <a:gd name="connsiteX43" fmla="*/ 3125037 w 11851944"/>
                <a:gd name="connsiteY43" fmla="*/ 2828956 h 2969978"/>
                <a:gd name="connsiteX44" fmla="*/ 3064747 w 11851944"/>
                <a:gd name="connsiteY44" fmla="*/ 2839004 h 2969978"/>
                <a:gd name="connsiteX45" fmla="*/ 2009670 w 11851944"/>
                <a:gd name="connsiteY45" fmla="*/ 2849053 h 2969978"/>
                <a:gd name="connsiteX46" fmla="*/ 1678075 w 11851944"/>
                <a:gd name="connsiteY46" fmla="*/ 2939488 h 2969978"/>
                <a:gd name="connsiteX47" fmla="*/ 1607736 w 11851944"/>
                <a:gd name="connsiteY47" fmla="*/ 2969633 h 2969978"/>
                <a:gd name="connsiteX48" fmla="*/ 1135464 w 11851944"/>
                <a:gd name="connsiteY48" fmla="*/ 2949536 h 2969978"/>
                <a:gd name="connsiteX49" fmla="*/ 944545 w 11851944"/>
                <a:gd name="connsiteY49" fmla="*/ 2919391 h 2969978"/>
                <a:gd name="connsiteX50" fmla="*/ 723481 w 11851944"/>
                <a:gd name="connsiteY50" fmla="*/ 2879198 h 2969978"/>
                <a:gd name="connsiteX51" fmla="*/ 643095 w 11851944"/>
                <a:gd name="connsiteY51" fmla="*/ 2869149 h 2969978"/>
                <a:gd name="connsiteX52" fmla="*/ 371789 w 11851944"/>
                <a:gd name="connsiteY52" fmla="*/ 2828956 h 2969978"/>
                <a:gd name="connsiteX53" fmla="*/ 0 w 11851944"/>
                <a:gd name="connsiteY53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10048352 w 11851944"/>
                <a:gd name="connsiteY21" fmla="*/ 2869149 h 2969978"/>
                <a:gd name="connsiteX22" fmla="*/ 9555982 w 11851944"/>
                <a:gd name="connsiteY22" fmla="*/ 2859101 h 2969978"/>
                <a:gd name="connsiteX23" fmla="*/ 9445451 w 11851944"/>
                <a:gd name="connsiteY23" fmla="*/ 2849053 h 2969978"/>
                <a:gd name="connsiteX24" fmla="*/ 9204290 w 11851944"/>
                <a:gd name="connsiteY24" fmla="*/ 2808859 h 2969978"/>
                <a:gd name="connsiteX25" fmla="*/ 9073662 w 11851944"/>
                <a:gd name="connsiteY25" fmla="*/ 2788762 h 2969978"/>
                <a:gd name="connsiteX26" fmla="*/ 8812404 w 11851944"/>
                <a:gd name="connsiteY26" fmla="*/ 2778714 h 2969978"/>
                <a:gd name="connsiteX27" fmla="*/ 8400422 w 11851944"/>
                <a:gd name="connsiteY27" fmla="*/ 2768666 h 2969978"/>
                <a:gd name="connsiteX28" fmla="*/ 8269793 w 11851944"/>
                <a:gd name="connsiteY28" fmla="*/ 2758617 h 2969978"/>
                <a:gd name="connsiteX29" fmla="*/ 7797521 w 11851944"/>
                <a:gd name="connsiteY29" fmla="*/ 2778714 h 2969978"/>
                <a:gd name="connsiteX30" fmla="*/ 7717134 w 11851944"/>
                <a:gd name="connsiteY30" fmla="*/ 2788762 h 2969978"/>
                <a:gd name="connsiteX31" fmla="*/ 7486022 w 11851944"/>
                <a:gd name="connsiteY31" fmla="*/ 2818908 h 2969978"/>
                <a:gd name="connsiteX32" fmla="*/ 7395587 w 11851944"/>
                <a:gd name="connsiteY32" fmla="*/ 2839004 h 2969978"/>
                <a:gd name="connsiteX33" fmla="*/ 7325248 w 11851944"/>
                <a:gd name="connsiteY33" fmla="*/ 2849053 h 2969978"/>
                <a:gd name="connsiteX34" fmla="*/ 6863024 w 11851944"/>
                <a:gd name="connsiteY34" fmla="*/ 2839004 h 2969978"/>
                <a:gd name="connsiteX35" fmla="*/ 6722347 w 11851944"/>
                <a:gd name="connsiteY35" fmla="*/ 2828956 h 2969978"/>
                <a:gd name="connsiteX36" fmla="*/ 4903596 w 11851944"/>
                <a:gd name="connsiteY36" fmla="*/ 2879198 h 2969978"/>
                <a:gd name="connsiteX37" fmla="*/ 4722725 w 11851944"/>
                <a:gd name="connsiteY37" fmla="*/ 2919391 h 2969978"/>
                <a:gd name="connsiteX38" fmla="*/ 4300695 w 11851944"/>
                <a:gd name="connsiteY38" fmla="*/ 2899294 h 2969978"/>
                <a:gd name="connsiteX39" fmla="*/ 4059534 w 11851944"/>
                <a:gd name="connsiteY39" fmla="*/ 2859101 h 2969978"/>
                <a:gd name="connsiteX40" fmla="*/ 3768132 w 11851944"/>
                <a:gd name="connsiteY40" fmla="*/ 2828956 h 2969978"/>
                <a:gd name="connsiteX41" fmla="*/ 3627455 w 11851944"/>
                <a:gd name="connsiteY41" fmla="*/ 2818908 h 2969978"/>
                <a:gd name="connsiteX42" fmla="*/ 3125037 w 11851944"/>
                <a:gd name="connsiteY42" fmla="*/ 2828956 h 2969978"/>
                <a:gd name="connsiteX43" fmla="*/ 3064747 w 11851944"/>
                <a:gd name="connsiteY43" fmla="*/ 2839004 h 2969978"/>
                <a:gd name="connsiteX44" fmla="*/ 2009670 w 11851944"/>
                <a:gd name="connsiteY44" fmla="*/ 2849053 h 2969978"/>
                <a:gd name="connsiteX45" fmla="*/ 1678075 w 11851944"/>
                <a:gd name="connsiteY45" fmla="*/ 2939488 h 2969978"/>
                <a:gd name="connsiteX46" fmla="*/ 1607736 w 11851944"/>
                <a:gd name="connsiteY46" fmla="*/ 2969633 h 2969978"/>
                <a:gd name="connsiteX47" fmla="*/ 1135464 w 11851944"/>
                <a:gd name="connsiteY47" fmla="*/ 2949536 h 2969978"/>
                <a:gd name="connsiteX48" fmla="*/ 944545 w 11851944"/>
                <a:gd name="connsiteY48" fmla="*/ 2919391 h 2969978"/>
                <a:gd name="connsiteX49" fmla="*/ 723481 w 11851944"/>
                <a:gd name="connsiteY49" fmla="*/ 2879198 h 2969978"/>
                <a:gd name="connsiteX50" fmla="*/ 643095 w 11851944"/>
                <a:gd name="connsiteY50" fmla="*/ 2869149 h 2969978"/>
                <a:gd name="connsiteX51" fmla="*/ 371789 w 11851944"/>
                <a:gd name="connsiteY51" fmla="*/ 2828956 h 2969978"/>
                <a:gd name="connsiteX52" fmla="*/ 0 w 11851944"/>
                <a:gd name="connsiteY52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10048352 w 11851944"/>
                <a:gd name="connsiteY21" fmla="*/ 2869149 h 2969978"/>
                <a:gd name="connsiteX22" fmla="*/ 9555982 w 11851944"/>
                <a:gd name="connsiteY22" fmla="*/ 2859101 h 2969978"/>
                <a:gd name="connsiteX23" fmla="*/ 9204290 w 11851944"/>
                <a:gd name="connsiteY23" fmla="*/ 2808859 h 2969978"/>
                <a:gd name="connsiteX24" fmla="*/ 9073662 w 11851944"/>
                <a:gd name="connsiteY24" fmla="*/ 2788762 h 2969978"/>
                <a:gd name="connsiteX25" fmla="*/ 8812404 w 11851944"/>
                <a:gd name="connsiteY25" fmla="*/ 2778714 h 2969978"/>
                <a:gd name="connsiteX26" fmla="*/ 8400422 w 11851944"/>
                <a:gd name="connsiteY26" fmla="*/ 2768666 h 2969978"/>
                <a:gd name="connsiteX27" fmla="*/ 8269793 w 11851944"/>
                <a:gd name="connsiteY27" fmla="*/ 2758617 h 2969978"/>
                <a:gd name="connsiteX28" fmla="*/ 7797521 w 11851944"/>
                <a:gd name="connsiteY28" fmla="*/ 2778714 h 2969978"/>
                <a:gd name="connsiteX29" fmla="*/ 7717134 w 11851944"/>
                <a:gd name="connsiteY29" fmla="*/ 2788762 h 2969978"/>
                <a:gd name="connsiteX30" fmla="*/ 7486022 w 11851944"/>
                <a:gd name="connsiteY30" fmla="*/ 2818908 h 2969978"/>
                <a:gd name="connsiteX31" fmla="*/ 7395587 w 11851944"/>
                <a:gd name="connsiteY31" fmla="*/ 2839004 h 2969978"/>
                <a:gd name="connsiteX32" fmla="*/ 7325248 w 11851944"/>
                <a:gd name="connsiteY32" fmla="*/ 2849053 h 2969978"/>
                <a:gd name="connsiteX33" fmla="*/ 6863024 w 11851944"/>
                <a:gd name="connsiteY33" fmla="*/ 2839004 h 2969978"/>
                <a:gd name="connsiteX34" fmla="*/ 6722347 w 11851944"/>
                <a:gd name="connsiteY34" fmla="*/ 2828956 h 2969978"/>
                <a:gd name="connsiteX35" fmla="*/ 4903596 w 11851944"/>
                <a:gd name="connsiteY35" fmla="*/ 2879198 h 2969978"/>
                <a:gd name="connsiteX36" fmla="*/ 4722725 w 11851944"/>
                <a:gd name="connsiteY36" fmla="*/ 2919391 h 2969978"/>
                <a:gd name="connsiteX37" fmla="*/ 4300695 w 11851944"/>
                <a:gd name="connsiteY37" fmla="*/ 2899294 h 2969978"/>
                <a:gd name="connsiteX38" fmla="*/ 4059534 w 11851944"/>
                <a:gd name="connsiteY38" fmla="*/ 2859101 h 2969978"/>
                <a:gd name="connsiteX39" fmla="*/ 3768132 w 11851944"/>
                <a:gd name="connsiteY39" fmla="*/ 2828956 h 2969978"/>
                <a:gd name="connsiteX40" fmla="*/ 3627455 w 11851944"/>
                <a:gd name="connsiteY40" fmla="*/ 2818908 h 2969978"/>
                <a:gd name="connsiteX41" fmla="*/ 3125037 w 11851944"/>
                <a:gd name="connsiteY41" fmla="*/ 2828956 h 2969978"/>
                <a:gd name="connsiteX42" fmla="*/ 3064747 w 11851944"/>
                <a:gd name="connsiteY42" fmla="*/ 2839004 h 2969978"/>
                <a:gd name="connsiteX43" fmla="*/ 2009670 w 11851944"/>
                <a:gd name="connsiteY43" fmla="*/ 2849053 h 2969978"/>
                <a:gd name="connsiteX44" fmla="*/ 1678075 w 11851944"/>
                <a:gd name="connsiteY44" fmla="*/ 2939488 h 2969978"/>
                <a:gd name="connsiteX45" fmla="*/ 1607736 w 11851944"/>
                <a:gd name="connsiteY45" fmla="*/ 2969633 h 2969978"/>
                <a:gd name="connsiteX46" fmla="*/ 1135464 w 11851944"/>
                <a:gd name="connsiteY46" fmla="*/ 2949536 h 2969978"/>
                <a:gd name="connsiteX47" fmla="*/ 944545 w 11851944"/>
                <a:gd name="connsiteY47" fmla="*/ 2919391 h 2969978"/>
                <a:gd name="connsiteX48" fmla="*/ 723481 w 11851944"/>
                <a:gd name="connsiteY48" fmla="*/ 2879198 h 2969978"/>
                <a:gd name="connsiteX49" fmla="*/ 643095 w 11851944"/>
                <a:gd name="connsiteY49" fmla="*/ 2869149 h 2969978"/>
                <a:gd name="connsiteX50" fmla="*/ 371789 w 11851944"/>
                <a:gd name="connsiteY50" fmla="*/ 2828956 h 2969978"/>
                <a:gd name="connsiteX51" fmla="*/ 0 w 11851944"/>
                <a:gd name="connsiteY51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8400422 w 11851944"/>
                <a:gd name="connsiteY25" fmla="*/ 2768666 h 2969978"/>
                <a:gd name="connsiteX26" fmla="*/ 8269793 w 11851944"/>
                <a:gd name="connsiteY26" fmla="*/ 2758617 h 2969978"/>
                <a:gd name="connsiteX27" fmla="*/ 7797521 w 11851944"/>
                <a:gd name="connsiteY27" fmla="*/ 2778714 h 2969978"/>
                <a:gd name="connsiteX28" fmla="*/ 7717134 w 11851944"/>
                <a:gd name="connsiteY28" fmla="*/ 2788762 h 2969978"/>
                <a:gd name="connsiteX29" fmla="*/ 7486022 w 11851944"/>
                <a:gd name="connsiteY29" fmla="*/ 2818908 h 2969978"/>
                <a:gd name="connsiteX30" fmla="*/ 7395587 w 11851944"/>
                <a:gd name="connsiteY30" fmla="*/ 2839004 h 2969978"/>
                <a:gd name="connsiteX31" fmla="*/ 7325248 w 11851944"/>
                <a:gd name="connsiteY31" fmla="*/ 2849053 h 2969978"/>
                <a:gd name="connsiteX32" fmla="*/ 6863024 w 11851944"/>
                <a:gd name="connsiteY32" fmla="*/ 2839004 h 2969978"/>
                <a:gd name="connsiteX33" fmla="*/ 6722347 w 11851944"/>
                <a:gd name="connsiteY33" fmla="*/ 2828956 h 2969978"/>
                <a:gd name="connsiteX34" fmla="*/ 4903596 w 11851944"/>
                <a:gd name="connsiteY34" fmla="*/ 2879198 h 2969978"/>
                <a:gd name="connsiteX35" fmla="*/ 4722725 w 11851944"/>
                <a:gd name="connsiteY35" fmla="*/ 2919391 h 2969978"/>
                <a:gd name="connsiteX36" fmla="*/ 4300695 w 11851944"/>
                <a:gd name="connsiteY36" fmla="*/ 2899294 h 2969978"/>
                <a:gd name="connsiteX37" fmla="*/ 4059534 w 11851944"/>
                <a:gd name="connsiteY37" fmla="*/ 2859101 h 2969978"/>
                <a:gd name="connsiteX38" fmla="*/ 3768132 w 11851944"/>
                <a:gd name="connsiteY38" fmla="*/ 2828956 h 2969978"/>
                <a:gd name="connsiteX39" fmla="*/ 3627455 w 11851944"/>
                <a:gd name="connsiteY39" fmla="*/ 2818908 h 2969978"/>
                <a:gd name="connsiteX40" fmla="*/ 3125037 w 11851944"/>
                <a:gd name="connsiteY40" fmla="*/ 2828956 h 2969978"/>
                <a:gd name="connsiteX41" fmla="*/ 3064747 w 11851944"/>
                <a:gd name="connsiteY41" fmla="*/ 2839004 h 2969978"/>
                <a:gd name="connsiteX42" fmla="*/ 2009670 w 11851944"/>
                <a:gd name="connsiteY42" fmla="*/ 2849053 h 2969978"/>
                <a:gd name="connsiteX43" fmla="*/ 1678075 w 11851944"/>
                <a:gd name="connsiteY43" fmla="*/ 2939488 h 2969978"/>
                <a:gd name="connsiteX44" fmla="*/ 1607736 w 11851944"/>
                <a:gd name="connsiteY44" fmla="*/ 2969633 h 2969978"/>
                <a:gd name="connsiteX45" fmla="*/ 1135464 w 11851944"/>
                <a:gd name="connsiteY45" fmla="*/ 2949536 h 2969978"/>
                <a:gd name="connsiteX46" fmla="*/ 944545 w 11851944"/>
                <a:gd name="connsiteY46" fmla="*/ 2919391 h 2969978"/>
                <a:gd name="connsiteX47" fmla="*/ 723481 w 11851944"/>
                <a:gd name="connsiteY47" fmla="*/ 2879198 h 2969978"/>
                <a:gd name="connsiteX48" fmla="*/ 643095 w 11851944"/>
                <a:gd name="connsiteY48" fmla="*/ 2869149 h 2969978"/>
                <a:gd name="connsiteX49" fmla="*/ 371789 w 11851944"/>
                <a:gd name="connsiteY49" fmla="*/ 2828956 h 2969978"/>
                <a:gd name="connsiteX50" fmla="*/ 0 w 11851944"/>
                <a:gd name="connsiteY50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8269793 w 11851944"/>
                <a:gd name="connsiteY25" fmla="*/ 2758617 h 2969978"/>
                <a:gd name="connsiteX26" fmla="*/ 7797521 w 11851944"/>
                <a:gd name="connsiteY26" fmla="*/ 2778714 h 2969978"/>
                <a:gd name="connsiteX27" fmla="*/ 7717134 w 11851944"/>
                <a:gd name="connsiteY27" fmla="*/ 2788762 h 2969978"/>
                <a:gd name="connsiteX28" fmla="*/ 7486022 w 11851944"/>
                <a:gd name="connsiteY28" fmla="*/ 2818908 h 2969978"/>
                <a:gd name="connsiteX29" fmla="*/ 7395587 w 11851944"/>
                <a:gd name="connsiteY29" fmla="*/ 2839004 h 2969978"/>
                <a:gd name="connsiteX30" fmla="*/ 7325248 w 11851944"/>
                <a:gd name="connsiteY30" fmla="*/ 2849053 h 2969978"/>
                <a:gd name="connsiteX31" fmla="*/ 6863024 w 11851944"/>
                <a:gd name="connsiteY31" fmla="*/ 2839004 h 2969978"/>
                <a:gd name="connsiteX32" fmla="*/ 6722347 w 11851944"/>
                <a:gd name="connsiteY32" fmla="*/ 2828956 h 2969978"/>
                <a:gd name="connsiteX33" fmla="*/ 4903596 w 11851944"/>
                <a:gd name="connsiteY33" fmla="*/ 2879198 h 2969978"/>
                <a:gd name="connsiteX34" fmla="*/ 4722725 w 11851944"/>
                <a:gd name="connsiteY34" fmla="*/ 2919391 h 2969978"/>
                <a:gd name="connsiteX35" fmla="*/ 4300695 w 11851944"/>
                <a:gd name="connsiteY35" fmla="*/ 2899294 h 2969978"/>
                <a:gd name="connsiteX36" fmla="*/ 4059534 w 11851944"/>
                <a:gd name="connsiteY36" fmla="*/ 2859101 h 2969978"/>
                <a:gd name="connsiteX37" fmla="*/ 3768132 w 11851944"/>
                <a:gd name="connsiteY37" fmla="*/ 2828956 h 2969978"/>
                <a:gd name="connsiteX38" fmla="*/ 3627455 w 11851944"/>
                <a:gd name="connsiteY38" fmla="*/ 2818908 h 2969978"/>
                <a:gd name="connsiteX39" fmla="*/ 3125037 w 11851944"/>
                <a:gd name="connsiteY39" fmla="*/ 2828956 h 2969978"/>
                <a:gd name="connsiteX40" fmla="*/ 3064747 w 11851944"/>
                <a:gd name="connsiteY40" fmla="*/ 2839004 h 2969978"/>
                <a:gd name="connsiteX41" fmla="*/ 2009670 w 11851944"/>
                <a:gd name="connsiteY41" fmla="*/ 2849053 h 2969978"/>
                <a:gd name="connsiteX42" fmla="*/ 1678075 w 11851944"/>
                <a:gd name="connsiteY42" fmla="*/ 2939488 h 2969978"/>
                <a:gd name="connsiteX43" fmla="*/ 1607736 w 11851944"/>
                <a:gd name="connsiteY43" fmla="*/ 2969633 h 2969978"/>
                <a:gd name="connsiteX44" fmla="*/ 1135464 w 11851944"/>
                <a:gd name="connsiteY44" fmla="*/ 2949536 h 2969978"/>
                <a:gd name="connsiteX45" fmla="*/ 944545 w 11851944"/>
                <a:gd name="connsiteY45" fmla="*/ 2919391 h 2969978"/>
                <a:gd name="connsiteX46" fmla="*/ 723481 w 11851944"/>
                <a:gd name="connsiteY46" fmla="*/ 2879198 h 2969978"/>
                <a:gd name="connsiteX47" fmla="*/ 643095 w 11851944"/>
                <a:gd name="connsiteY47" fmla="*/ 2869149 h 2969978"/>
                <a:gd name="connsiteX48" fmla="*/ 371789 w 11851944"/>
                <a:gd name="connsiteY48" fmla="*/ 2828956 h 2969978"/>
                <a:gd name="connsiteX49" fmla="*/ 0 w 11851944"/>
                <a:gd name="connsiteY49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7797521 w 11851944"/>
                <a:gd name="connsiteY25" fmla="*/ 2778714 h 2969978"/>
                <a:gd name="connsiteX26" fmla="*/ 7717134 w 11851944"/>
                <a:gd name="connsiteY26" fmla="*/ 2788762 h 2969978"/>
                <a:gd name="connsiteX27" fmla="*/ 7486022 w 11851944"/>
                <a:gd name="connsiteY27" fmla="*/ 2818908 h 2969978"/>
                <a:gd name="connsiteX28" fmla="*/ 7395587 w 11851944"/>
                <a:gd name="connsiteY28" fmla="*/ 2839004 h 2969978"/>
                <a:gd name="connsiteX29" fmla="*/ 7325248 w 11851944"/>
                <a:gd name="connsiteY29" fmla="*/ 2849053 h 2969978"/>
                <a:gd name="connsiteX30" fmla="*/ 6863024 w 11851944"/>
                <a:gd name="connsiteY30" fmla="*/ 2839004 h 2969978"/>
                <a:gd name="connsiteX31" fmla="*/ 6722347 w 11851944"/>
                <a:gd name="connsiteY31" fmla="*/ 2828956 h 2969978"/>
                <a:gd name="connsiteX32" fmla="*/ 4903596 w 11851944"/>
                <a:gd name="connsiteY32" fmla="*/ 2879198 h 2969978"/>
                <a:gd name="connsiteX33" fmla="*/ 4722725 w 11851944"/>
                <a:gd name="connsiteY33" fmla="*/ 2919391 h 2969978"/>
                <a:gd name="connsiteX34" fmla="*/ 4300695 w 11851944"/>
                <a:gd name="connsiteY34" fmla="*/ 2899294 h 2969978"/>
                <a:gd name="connsiteX35" fmla="*/ 4059534 w 11851944"/>
                <a:gd name="connsiteY35" fmla="*/ 2859101 h 2969978"/>
                <a:gd name="connsiteX36" fmla="*/ 3768132 w 11851944"/>
                <a:gd name="connsiteY36" fmla="*/ 2828956 h 2969978"/>
                <a:gd name="connsiteX37" fmla="*/ 3627455 w 11851944"/>
                <a:gd name="connsiteY37" fmla="*/ 2818908 h 2969978"/>
                <a:gd name="connsiteX38" fmla="*/ 3125037 w 11851944"/>
                <a:gd name="connsiteY38" fmla="*/ 2828956 h 2969978"/>
                <a:gd name="connsiteX39" fmla="*/ 3064747 w 11851944"/>
                <a:gd name="connsiteY39" fmla="*/ 2839004 h 2969978"/>
                <a:gd name="connsiteX40" fmla="*/ 2009670 w 11851944"/>
                <a:gd name="connsiteY40" fmla="*/ 2849053 h 2969978"/>
                <a:gd name="connsiteX41" fmla="*/ 1678075 w 11851944"/>
                <a:gd name="connsiteY41" fmla="*/ 2939488 h 2969978"/>
                <a:gd name="connsiteX42" fmla="*/ 1607736 w 11851944"/>
                <a:gd name="connsiteY42" fmla="*/ 2969633 h 2969978"/>
                <a:gd name="connsiteX43" fmla="*/ 1135464 w 11851944"/>
                <a:gd name="connsiteY43" fmla="*/ 2949536 h 2969978"/>
                <a:gd name="connsiteX44" fmla="*/ 944545 w 11851944"/>
                <a:gd name="connsiteY44" fmla="*/ 2919391 h 2969978"/>
                <a:gd name="connsiteX45" fmla="*/ 723481 w 11851944"/>
                <a:gd name="connsiteY45" fmla="*/ 2879198 h 2969978"/>
                <a:gd name="connsiteX46" fmla="*/ 643095 w 11851944"/>
                <a:gd name="connsiteY46" fmla="*/ 2869149 h 2969978"/>
                <a:gd name="connsiteX47" fmla="*/ 371789 w 11851944"/>
                <a:gd name="connsiteY47" fmla="*/ 2828956 h 2969978"/>
                <a:gd name="connsiteX48" fmla="*/ 0 w 11851944"/>
                <a:gd name="connsiteY48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7797521 w 11851944"/>
                <a:gd name="connsiteY25" fmla="*/ 2778714 h 2969978"/>
                <a:gd name="connsiteX26" fmla="*/ 7486022 w 11851944"/>
                <a:gd name="connsiteY26" fmla="*/ 2818908 h 2969978"/>
                <a:gd name="connsiteX27" fmla="*/ 7395587 w 11851944"/>
                <a:gd name="connsiteY27" fmla="*/ 2839004 h 2969978"/>
                <a:gd name="connsiteX28" fmla="*/ 7325248 w 11851944"/>
                <a:gd name="connsiteY28" fmla="*/ 2849053 h 2969978"/>
                <a:gd name="connsiteX29" fmla="*/ 6863024 w 11851944"/>
                <a:gd name="connsiteY29" fmla="*/ 2839004 h 2969978"/>
                <a:gd name="connsiteX30" fmla="*/ 6722347 w 11851944"/>
                <a:gd name="connsiteY30" fmla="*/ 2828956 h 2969978"/>
                <a:gd name="connsiteX31" fmla="*/ 4903596 w 11851944"/>
                <a:gd name="connsiteY31" fmla="*/ 2879198 h 2969978"/>
                <a:gd name="connsiteX32" fmla="*/ 4722725 w 11851944"/>
                <a:gd name="connsiteY32" fmla="*/ 2919391 h 2969978"/>
                <a:gd name="connsiteX33" fmla="*/ 4300695 w 11851944"/>
                <a:gd name="connsiteY33" fmla="*/ 2899294 h 2969978"/>
                <a:gd name="connsiteX34" fmla="*/ 4059534 w 11851944"/>
                <a:gd name="connsiteY34" fmla="*/ 2859101 h 2969978"/>
                <a:gd name="connsiteX35" fmla="*/ 3768132 w 11851944"/>
                <a:gd name="connsiteY35" fmla="*/ 2828956 h 2969978"/>
                <a:gd name="connsiteX36" fmla="*/ 3627455 w 11851944"/>
                <a:gd name="connsiteY36" fmla="*/ 2818908 h 2969978"/>
                <a:gd name="connsiteX37" fmla="*/ 3125037 w 11851944"/>
                <a:gd name="connsiteY37" fmla="*/ 2828956 h 2969978"/>
                <a:gd name="connsiteX38" fmla="*/ 3064747 w 11851944"/>
                <a:gd name="connsiteY38" fmla="*/ 2839004 h 2969978"/>
                <a:gd name="connsiteX39" fmla="*/ 2009670 w 11851944"/>
                <a:gd name="connsiteY39" fmla="*/ 2849053 h 2969978"/>
                <a:gd name="connsiteX40" fmla="*/ 1678075 w 11851944"/>
                <a:gd name="connsiteY40" fmla="*/ 2939488 h 2969978"/>
                <a:gd name="connsiteX41" fmla="*/ 1607736 w 11851944"/>
                <a:gd name="connsiteY41" fmla="*/ 2969633 h 2969978"/>
                <a:gd name="connsiteX42" fmla="*/ 1135464 w 11851944"/>
                <a:gd name="connsiteY42" fmla="*/ 2949536 h 2969978"/>
                <a:gd name="connsiteX43" fmla="*/ 944545 w 11851944"/>
                <a:gd name="connsiteY43" fmla="*/ 2919391 h 2969978"/>
                <a:gd name="connsiteX44" fmla="*/ 723481 w 11851944"/>
                <a:gd name="connsiteY44" fmla="*/ 2879198 h 2969978"/>
                <a:gd name="connsiteX45" fmla="*/ 643095 w 11851944"/>
                <a:gd name="connsiteY45" fmla="*/ 2869149 h 2969978"/>
                <a:gd name="connsiteX46" fmla="*/ 371789 w 11851944"/>
                <a:gd name="connsiteY46" fmla="*/ 2828956 h 2969978"/>
                <a:gd name="connsiteX47" fmla="*/ 0 w 11851944"/>
                <a:gd name="connsiteY47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7486022 w 11851944"/>
                <a:gd name="connsiteY25" fmla="*/ 2818908 h 2969978"/>
                <a:gd name="connsiteX26" fmla="*/ 7395587 w 11851944"/>
                <a:gd name="connsiteY26" fmla="*/ 2839004 h 2969978"/>
                <a:gd name="connsiteX27" fmla="*/ 7325248 w 11851944"/>
                <a:gd name="connsiteY27" fmla="*/ 2849053 h 2969978"/>
                <a:gd name="connsiteX28" fmla="*/ 6863024 w 11851944"/>
                <a:gd name="connsiteY28" fmla="*/ 2839004 h 2969978"/>
                <a:gd name="connsiteX29" fmla="*/ 6722347 w 11851944"/>
                <a:gd name="connsiteY29" fmla="*/ 2828956 h 2969978"/>
                <a:gd name="connsiteX30" fmla="*/ 4903596 w 11851944"/>
                <a:gd name="connsiteY30" fmla="*/ 2879198 h 2969978"/>
                <a:gd name="connsiteX31" fmla="*/ 4722725 w 11851944"/>
                <a:gd name="connsiteY31" fmla="*/ 2919391 h 2969978"/>
                <a:gd name="connsiteX32" fmla="*/ 4300695 w 11851944"/>
                <a:gd name="connsiteY32" fmla="*/ 2899294 h 2969978"/>
                <a:gd name="connsiteX33" fmla="*/ 4059534 w 11851944"/>
                <a:gd name="connsiteY33" fmla="*/ 2859101 h 2969978"/>
                <a:gd name="connsiteX34" fmla="*/ 3768132 w 11851944"/>
                <a:gd name="connsiteY34" fmla="*/ 2828956 h 2969978"/>
                <a:gd name="connsiteX35" fmla="*/ 3627455 w 11851944"/>
                <a:gd name="connsiteY35" fmla="*/ 2818908 h 2969978"/>
                <a:gd name="connsiteX36" fmla="*/ 3125037 w 11851944"/>
                <a:gd name="connsiteY36" fmla="*/ 2828956 h 2969978"/>
                <a:gd name="connsiteX37" fmla="*/ 3064747 w 11851944"/>
                <a:gd name="connsiteY37" fmla="*/ 2839004 h 2969978"/>
                <a:gd name="connsiteX38" fmla="*/ 2009670 w 11851944"/>
                <a:gd name="connsiteY38" fmla="*/ 2849053 h 2969978"/>
                <a:gd name="connsiteX39" fmla="*/ 1678075 w 11851944"/>
                <a:gd name="connsiteY39" fmla="*/ 2939488 h 2969978"/>
                <a:gd name="connsiteX40" fmla="*/ 1607736 w 11851944"/>
                <a:gd name="connsiteY40" fmla="*/ 2969633 h 2969978"/>
                <a:gd name="connsiteX41" fmla="*/ 1135464 w 11851944"/>
                <a:gd name="connsiteY41" fmla="*/ 2949536 h 2969978"/>
                <a:gd name="connsiteX42" fmla="*/ 944545 w 11851944"/>
                <a:gd name="connsiteY42" fmla="*/ 2919391 h 2969978"/>
                <a:gd name="connsiteX43" fmla="*/ 723481 w 11851944"/>
                <a:gd name="connsiteY43" fmla="*/ 2879198 h 2969978"/>
                <a:gd name="connsiteX44" fmla="*/ 643095 w 11851944"/>
                <a:gd name="connsiteY44" fmla="*/ 2869149 h 2969978"/>
                <a:gd name="connsiteX45" fmla="*/ 371789 w 11851944"/>
                <a:gd name="connsiteY45" fmla="*/ 2828956 h 2969978"/>
                <a:gd name="connsiteX46" fmla="*/ 0 w 11851944"/>
                <a:gd name="connsiteY46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7486022 w 11851944"/>
                <a:gd name="connsiteY24" fmla="*/ 2818908 h 2969978"/>
                <a:gd name="connsiteX25" fmla="*/ 7395587 w 11851944"/>
                <a:gd name="connsiteY25" fmla="*/ 2839004 h 2969978"/>
                <a:gd name="connsiteX26" fmla="*/ 7325248 w 11851944"/>
                <a:gd name="connsiteY26" fmla="*/ 2849053 h 2969978"/>
                <a:gd name="connsiteX27" fmla="*/ 6863024 w 11851944"/>
                <a:gd name="connsiteY27" fmla="*/ 2839004 h 2969978"/>
                <a:gd name="connsiteX28" fmla="*/ 6722347 w 11851944"/>
                <a:gd name="connsiteY28" fmla="*/ 2828956 h 2969978"/>
                <a:gd name="connsiteX29" fmla="*/ 4903596 w 11851944"/>
                <a:gd name="connsiteY29" fmla="*/ 2879198 h 2969978"/>
                <a:gd name="connsiteX30" fmla="*/ 4722725 w 11851944"/>
                <a:gd name="connsiteY30" fmla="*/ 2919391 h 2969978"/>
                <a:gd name="connsiteX31" fmla="*/ 4300695 w 11851944"/>
                <a:gd name="connsiteY31" fmla="*/ 2899294 h 2969978"/>
                <a:gd name="connsiteX32" fmla="*/ 4059534 w 11851944"/>
                <a:gd name="connsiteY32" fmla="*/ 2859101 h 2969978"/>
                <a:gd name="connsiteX33" fmla="*/ 3768132 w 11851944"/>
                <a:gd name="connsiteY33" fmla="*/ 2828956 h 2969978"/>
                <a:gd name="connsiteX34" fmla="*/ 3627455 w 11851944"/>
                <a:gd name="connsiteY34" fmla="*/ 2818908 h 2969978"/>
                <a:gd name="connsiteX35" fmla="*/ 3125037 w 11851944"/>
                <a:gd name="connsiteY35" fmla="*/ 2828956 h 2969978"/>
                <a:gd name="connsiteX36" fmla="*/ 3064747 w 11851944"/>
                <a:gd name="connsiteY36" fmla="*/ 2839004 h 2969978"/>
                <a:gd name="connsiteX37" fmla="*/ 2009670 w 11851944"/>
                <a:gd name="connsiteY37" fmla="*/ 2849053 h 2969978"/>
                <a:gd name="connsiteX38" fmla="*/ 1678075 w 11851944"/>
                <a:gd name="connsiteY38" fmla="*/ 2939488 h 2969978"/>
                <a:gd name="connsiteX39" fmla="*/ 1607736 w 11851944"/>
                <a:gd name="connsiteY39" fmla="*/ 2969633 h 2969978"/>
                <a:gd name="connsiteX40" fmla="*/ 1135464 w 11851944"/>
                <a:gd name="connsiteY40" fmla="*/ 2949536 h 2969978"/>
                <a:gd name="connsiteX41" fmla="*/ 944545 w 11851944"/>
                <a:gd name="connsiteY41" fmla="*/ 2919391 h 2969978"/>
                <a:gd name="connsiteX42" fmla="*/ 723481 w 11851944"/>
                <a:gd name="connsiteY42" fmla="*/ 2879198 h 2969978"/>
                <a:gd name="connsiteX43" fmla="*/ 643095 w 11851944"/>
                <a:gd name="connsiteY43" fmla="*/ 2869149 h 2969978"/>
                <a:gd name="connsiteX44" fmla="*/ 371789 w 11851944"/>
                <a:gd name="connsiteY44" fmla="*/ 2828956 h 2969978"/>
                <a:gd name="connsiteX45" fmla="*/ 0 w 11851944"/>
                <a:gd name="connsiteY45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7486022 w 11851944"/>
                <a:gd name="connsiteY24" fmla="*/ 2818908 h 2969978"/>
                <a:gd name="connsiteX25" fmla="*/ 7395587 w 11851944"/>
                <a:gd name="connsiteY25" fmla="*/ 2839004 h 2969978"/>
                <a:gd name="connsiteX26" fmla="*/ 6863024 w 11851944"/>
                <a:gd name="connsiteY26" fmla="*/ 2839004 h 2969978"/>
                <a:gd name="connsiteX27" fmla="*/ 6722347 w 11851944"/>
                <a:gd name="connsiteY27" fmla="*/ 2828956 h 2969978"/>
                <a:gd name="connsiteX28" fmla="*/ 4903596 w 11851944"/>
                <a:gd name="connsiteY28" fmla="*/ 2879198 h 2969978"/>
                <a:gd name="connsiteX29" fmla="*/ 4722725 w 11851944"/>
                <a:gd name="connsiteY29" fmla="*/ 2919391 h 2969978"/>
                <a:gd name="connsiteX30" fmla="*/ 4300695 w 11851944"/>
                <a:gd name="connsiteY30" fmla="*/ 2899294 h 2969978"/>
                <a:gd name="connsiteX31" fmla="*/ 4059534 w 11851944"/>
                <a:gd name="connsiteY31" fmla="*/ 2859101 h 2969978"/>
                <a:gd name="connsiteX32" fmla="*/ 3768132 w 11851944"/>
                <a:gd name="connsiteY32" fmla="*/ 2828956 h 2969978"/>
                <a:gd name="connsiteX33" fmla="*/ 3627455 w 11851944"/>
                <a:gd name="connsiteY33" fmla="*/ 2818908 h 2969978"/>
                <a:gd name="connsiteX34" fmla="*/ 3125037 w 11851944"/>
                <a:gd name="connsiteY34" fmla="*/ 2828956 h 2969978"/>
                <a:gd name="connsiteX35" fmla="*/ 3064747 w 11851944"/>
                <a:gd name="connsiteY35" fmla="*/ 2839004 h 2969978"/>
                <a:gd name="connsiteX36" fmla="*/ 2009670 w 11851944"/>
                <a:gd name="connsiteY36" fmla="*/ 2849053 h 2969978"/>
                <a:gd name="connsiteX37" fmla="*/ 1678075 w 11851944"/>
                <a:gd name="connsiteY37" fmla="*/ 2939488 h 2969978"/>
                <a:gd name="connsiteX38" fmla="*/ 1607736 w 11851944"/>
                <a:gd name="connsiteY38" fmla="*/ 2969633 h 2969978"/>
                <a:gd name="connsiteX39" fmla="*/ 1135464 w 11851944"/>
                <a:gd name="connsiteY39" fmla="*/ 2949536 h 2969978"/>
                <a:gd name="connsiteX40" fmla="*/ 944545 w 11851944"/>
                <a:gd name="connsiteY40" fmla="*/ 2919391 h 2969978"/>
                <a:gd name="connsiteX41" fmla="*/ 723481 w 11851944"/>
                <a:gd name="connsiteY41" fmla="*/ 2879198 h 2969978"/>
                <a:gd name="connsiteX42" fmla="*/ 643095 w 11851944"/>
                <a:gd name="connsiteY42" fmla="*/ 2869149 h 2969978"/>
                <a:gd name="connsiteX43" fmla="*/ 371789 w 11851944"/>
                <a:gd name="connsiteY43" fmla="*/ 2828956 h 2969978"/>
                <a:gd name="connsiteX44" fmla="*/ 0 w 11851944"/>
                <a:gd name="connsiteY44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7486022 w 11851944"/>
                <a:gd name="connsiteY24" fmla="*/ 2818908 h 2969978"/>
                <a:gd name="connsiteX25" fmla="*/ 6863024 w 11851944"/>
                <a:gd name="connsiteY25" fmla="*/ 2839004 h 2969978"/>
                <a:gd name="connsiteX26" fmla="*/ 6722347 w 11851944"/>
                <a:gd name="connsiteY26" fmla="*/ 2828956 h 2969978"/>
                <a:gd name="connsiteX27" fmla="*/ 4903596 w 11851944"/>
                <a:gd name="connsiteY27" fmla="*/ 2879198 h 2969978"/>
                <a:gd name="connsiteX28" fmla="*/ 4722725 w 11851944"/>
                <a:gd name="connsiteY28" fmla="*/ 2919391 h 2969978"/>
                <a:gd name="connsiteX29" fmla="*/ 4300695 w 11851944"/>
                <a:gd name="connsiteY29" fmla="*/ 2899294 h 2969978"/>
                <a:gd name="connsiteX30" fmla="*/ 4059534 w 11851944"/>
                <a:gd name="connsiteY30" fmla="*/ 2859101 h 2969978"/>
                <a:gd name="connsiteX31" fmla="*/ 3768132 w 11851944"/>
                <a:gd name="connsiteY31" fmla="*/ 2828956 h 2969978"/>
                <a:gd name="connsiteX32" fmla="*/ 3627455 w 11851944"/>
                <a:gd name="connsiteY32" fmla="*/ 2818908 h 2969978"/>
                <a:gd name="connsiteX33" fmla="*/ 3125037 w 11851944"/>
                <a:gd name="connsiteY33" fmla="*/ 2828956 h 2969978"/>
                <a:gd name="connsiteX34" fmla="*/ 3064747 w 11851944"/>
                <a:gd name="connsiteY34" fmla="*/ 2839004 h 2969978"/>
                <a:gd name="connsiteX35" fmla="*/ 2009670 w 11851944"/>
                <a:gd name="connsiteY35" fmla="*/ 2849053 h 2969978"/>
                <a:gd name="connsiteX36" fmla="*/ 1678075 w 11851944"/>
                <a:gd name="connsiteY36" fmla="*/ 2939488 h 2969978"/>
                <a:gd name="connsiteX37" fmla="*/ 1607736 w 11851944"/>
                <a:gd name="connsiteY37" fmla="*/ 2969633 h 2969978"/>
                <a:gd name="connsiteX38" fmla="*/ 1135464 w 11851944"/>
                <a:gd name="connsiteY38" fmla="*/ 2949536 h 2969978"/>
                <a:gd name="connsiteX39" fmla="*/ 944545 w 11851944"/>
                <a:gd name="connsiteY39" fmla="*/ 2919391 h 2969978"/>
                <a:gd name="connsiteX40" fmla="*/ 723481 w 11851944"/>
                <a:gd name="connsiteY40" fmla="*/ 2879198 h 2969978"/>
                <a:gd name="connsiteX41" fmla="*/ 643095 w 11851944"/>
                <a:gd name="connsiteY41" fmla="*/ 2869149 h 2969978"/>
                <a:gd name="connsiteX42" fmla="*/ 371789 w 11851944"/>
                <a:gd name="connsiteY42" fmla="*/ 2828956 h 2969978"/>
                <a:gd name="connsiteX43" fmla="*/ 0 w 11851944"/>
                <a:gd name="connsiteY43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722725 w 11851944"/>
                <a:gd name="connsiteY27" fmla="*/ 2919391 h 2969978"/>
                <a:gd name="connsiteX28" fmla="*/ 4300695 w 11851944"/>
                <a:gd name="connsiteY28" fmla="*/ 2899294 h 2969978"/>
                <a:gd name="connsiteX29" fmla="*/ 4059534 w 11851944"/>
                <a:gd name="connsiteY29" fmla="*/ 2859101 h 2969978"/>
                <a:gd name="connsiteX30" fmla="*/ 3768132 w 11851944"/>
                <a:gd name="connsiteY30" fmla="*/ 2828956 h 2969978"/>
                <a:gd name="connsiteX31" fmla="*/ 3627455 w 11851944"/>
                <a:gd name="connsiteY31" fmla="*/ 2818908 h 2969978"/>
                <a:gd name="connsiteX32" fmla="*/ 3125037 w 11851944"/>
                <a:gd name="connsiteY32" fmla="*/ 2828956 h 2969978"/>
                <a:gd name="connsiteX33" fmla="*/ 3064747 w 11851944"/>
                <a:gd name="connsiteY33" fmla="*/ 2839004 h 2969978"/>
                <a:gd name="connsiteX34" fmla="*/ 2009670 w 11851944"/>
                <a:gd name="connsiteY34" fmla="*/ 2849053 h 2969978"/>
                <a:gd name="connsiteX35" fmla="*/ 1678075 w 11851944"/>
                <a:gd name="connsiteY35" fmla="*/ 2939488 h 2969978"/>
                <a:gd name="connsiteX36" fmla="*/ 1607736 w 11851944"/>
                <a:gd name="connsiteY36" fmla="*/ 2969633 h 2969978"/>
                <a:gd name="connsiteX37" fmla="*/ 1135464 w 11851944"/>
                <a:gd name="connsiteY37" fmla="*/ 2949536 h 2969978"/>
                <a:gd name="connsiteX38" fmla="*/ 944545 w 11851944"/>
                <a:gd name="connsiteY38" fmla="*/ 2919391 h 2969978"/>
                <a:gd name="connsiteX39" fmla="*/ 723481 w 11851944"/>
                <a:gd name="connsiteY39" fmla="*/ 2879198 h 2969978"/>
                <a:gd name="connsiteX40" fmla="*/ 643095 w 11851944"/>
                <a:gd name="connsiteY40" fmla="*/ 2869149 h 2969978"/>
                <a:gd name="connsiteX41" fmla="*/ 371789 w 11851944"/>
                <a:gd name="connsiteY41" fmla="*/ 2828956 h 2969978"/>
                <a:gd name="connsiteX42" fmla="*/ 0 w 11851944"/>
                <a:gd name="connsiteY42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300695 w 11851944"/>
                <a:gd name="connsiteY27" fmla="*/ 2899294 h 2969978"/>
                <a:gd name="connsiteX28" fmla="*/ 4059534 w 11851944"/>
                <a:gd name="connsiteY28" fmla="*/ 2859101 h 2969978"/>
                <a:gd name="connsiteX29" fmla="*/ 3768132 w 11851944"/>
                <a:gd name="connsiteY29" fmla="*/ 2828956 h 2969978"/>
                <a:gd name="connsiteX30" fmla="*/ 3627455 w 11851944"/>
                <a:gd name="connsiteY30" fmla="*/ 2818908 h 2969978"/>
                <a:gd name="connsiteX31" fmla="*/ 3125037 w 11851944"/>
                <a:gd name="connsiteY31" fmla="*/ 2828956 h 2969978"/>
                <a:gd name="connsiteX32" fmla="*/ 3064747 w 11851944"/>
                <a:gd name="connsiteY32" fmla="*/ 2839004 h 2969978"/>
                <a:gd name="connsiteX33" fmla="*/ 2009670 w 11851944"/>
                <a:gd name="connsiteY33" fmla="*/ 2849053 h 2969978"/>
                <a:gd name="connsiteX34" fmla="*/ 1678075 w 11851944"/>
                <a:gd name="connsiteY34" fmla="*/ 2939488 h 2969978"/>
                <a:gd name="connsiteX35" fmla="*/ 1607736 w 11851944"/>
                <a:gd name="connsiteY35" fmla="*/ 2969633 h 2969978"/>
                <a:gd name="connsiteX36" fmla="*/ 1135464 w 11851944"/>
                <a:gd name="connsiteY36" fmla="*/ 2949536 h 2969978"/>
                <a:gd name="connsiteX37" fmla="*/ 944545 w 11851944"/>
                <a:gd name="connsiteY37" fmla="*/ 2919391 h 2969978"/>
                <a:gd name="connsiteX38" fmla="*/ 723481 w 11851944"/>
                <a:gd name="connsiteY38" fmla="*/ 2879198 h 2969978"/>
                <a:gd name="connsiteX39" fmla="*/ 643095 w 11851944"/>
                <a:gd name="connsiteY39" fmla="*/ 2869149 h 2969978"/>
                <a:gd name="connsiteX40" fmla="*/ 371789 w 11851944"/>
                <a:gd name="connsiteY40" fmla="*/ 2828956 h 2969978"/>
                <a:gd name="connsiteX41" fmla="*/ 0 w 11851944"/>
                <a:gd name="connsiteY41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768132 w 11851944"/>
                <a:gd name="connsiteY28" fmla="*/ 2828956 h 2969978"/>
                <a:gd name="connsiteX29" fmla="*/ 3627455 w 11851944"/>
                <a:gd name="connsiteY29" fmla="*/ 2818908 h 2969978"/>
                <a:gd name="connsiteX30" fmla="*/ 3125037 w 11851944"/>
                <a:gd name="connsiteY30" fmla="*/ 2828956 h 2969978"/>
                <a:gd name="connsiteX31" fmla="*/ 3064747 w 11851944"/>
                <a:gd name="connsiteY31" fmla="*/ 2839004 h 2969978"/>
                <a:gd name="connsiteX32" fmla="*/ 2009670 w 11851944"/>
                <a:gd name="connsiteY32" fmla="*/ 2849053 h 2969978"/>
                <a:gd name="connsiteX33" fmla="*/ 1678075 w 11851944"/>
                <a:gd name="connsiteY33" fmla="*/ 2939488 h 2969978"/>
                <a:gd name="connsiteX34" fmla="*/ 1607736 w 11851944"/>
                <a:gd name="connsiteY34" fmla="*/ 2969633 h 2969978"/>
                <a:gd name="connsiteX35" fmla="*/ 1135464 w 11851944"/>
                <a:gd name="connsiteY35" fmla="*/ 2949536 h 2969978"/>
                <a:gd name="connsiteX36" fmla="*/ 944545 w 11851944"/>
                <a:gd name="connsiteY36" fmla="*/ 2919391 h 2969978"/>
                <a:gd name="connsiteX37" fmla="*/ 723481 w 11851944"/>
                <a:gd name="connsiteY37" fmla="*/ 2879198 h 2969978"/>
                <a:gd name="connsiteX38" fmla="*/ 643095 w 11851944"/>
                <a:gd name="connsiteY38" fmla="*/ 2869149 h 2969978"/>
                <a:gd name="connsiteX39" fmla="*/ 371789 w 11851944"/>
                <a:gd name="connsiteY39" fmla="*/ 2828956 h 2969978"/>
                <a:gd name="connsiteX40" fmla="*/ 0 w 11851944"/>
                <a:gd name="connsiteY40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627455 w 11851944"/>
                <a:gd name="connsiteY28" fmla="*/ 2818908 h 2969978"/>
                <a:gd name="connsiteX29" fmla="*/ 3125037 w 11851944"/>
                <a:gd name="connsiteY29" fmla="*/ 2828956 h 2969978"/>
                <a:gd name="connsiteX30" fmla="*/ 3064747 w 11851944"/>
                <a:gd name="connsiteY30" fmla="*/ 2839004 h 2969978"/>
                <a:gd name="connsiteX31" fmla="*/ 2009670 w 11851944"/>
                <a:gd name="connsiteY31" fmla="*/ 2849053 h 2969978"/>
                <a:gd name="connsiteX32" fmla="*/ 1678075 w 11851944"/>
                <a:gd name="connsiteY32" fmla="*/ 2939488 h 2969978"/>
                <a:gd name="connsiteX33" fmla="*/ 1607736 w 11851944"/>
                <a:gd name="connsiteY33" fmla="*/ 2969633 h 2969978"/>
                <a:gd name="connsiteX34" fmla="*/ 1135464 w 11851944"/>
                <a:gd name="connsiteY34" fmla="*/ 2949536 h 2969978"/>
                <a:gd name="connsiteX35" fmla="*/ 944545 w 11851944"/>
                <a:gd name="connsiteY35" fmla="*/ 2919391 h 2969978"/>
                <a:gd name="connsiteX36" fmla="*/ 723481 w 11851944"/>
                <a:gd name="connsiteY36" fmla="*/ 2879198 h 2969978"/>
                <a:gd name="connsiteX37" fmla="*/ 643095 w 11851944"/>
                <a:gd name="connsiteY37" fmla="*/ 2869149 h 2969978"/>
                <a:gd name="connsiteX38" fmla="*/ 371789 w 11851944"/>
                <a:gd name="connsiteY38" fmla="*/ 2828956 h 2969978"/>
                <a:gd name="connsiteX39" fmla="*/ 0 w 11851944"/>
                <a:gd name="connsiteY39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125037 w 11851944"/>
                <a:gd name="connsiteY28" fmla="*/ 2828956 h 2969978"/>
                <a:gd name="connsiteX29" fmla="*/ 3064747 w 11851944"/>
                <a:gd name="connsiteY29" fmla="*/ 2839004 h 2969978"/>
                <a:gd name="connsiteX30" fmla="*/ 2009670 w 11851944"/>
                <a:gd name="connsiteY30" fmla="*/ 2849053 h 2969978"/>
                <a:gd name="connsiteX31" fmla="*/ 1678075 w 11851944"/>
                <a:gd name="connsiteY31" fmla="*/ 2939488 h 2969978"/>
                <a:gd name="connsiteX32" fmla="*/ 1607736 w 11851944"/>
                <a:gd name="connsiteY32" fmla="*/ 2969633 h 2969978"/>
                <a:gd name="connsiteX33" fmla="*/ 1135464 w 11851944"/>
                <a:gd name="connsiteY33" fmla="*/ 2949536 h 2969978"/>
                <a:gd name="connsiteX34" fmla="*/ 944545 w 11851944"/>
                <a:gd name="connsiteY34" fmla="*/ 2919391 h 2969978"/>
                <a:gd name="connsiteX35" fmla="*/ 723481 w 11851944"/>
                <a:gd name="connsiteY35" fmla="*/ 2879198 h 2969978"/>
                <a:gd name="connsiteX36" fmla="*/ 643095 w 11851944"/>
                <a:gd name="connsiteY36" fmla="*/ 2869149 h 2969978"/>
                <a:gd name="connsiteX37" fmla="*/ 371789 w 11851944"/>
                <a:gd name="connsiteY37" fmla="*/ 2828956 h 2969978"/>
                <a:gd name="connsiteX38" fmla="*/ 0 w 11851944"/>
                <a:gd name="connsiteY38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064747 w 11851944"/>
                <a:gd name="connsiteY28" fmla="*/ 2839004 h 2969978"/>
                <a:gd name="connsiteX29" fmla="*/ 2009670 w 11851944"/>
                <a:gd name="connsiteY29" fmla="*/ 2849053 h 2969978"/>
                <a:gd name="connsiteX30" fmla="*/ 1678075 w 11851944"/>
                <a:gd name="connsiteY30" fmla="*/ 2939488 h 2969978"/>
                <a:gd name="connsiteX31" fmla="*/ 1607736 w 11851944"/>
                <a:gd name="connsiteY31" fmla="*/ 2969633 h 2969978"/>
                <a:gd name="connsiteX32" fmla="*/ 1135464 w 11851944"/>
                <a:gd name="connsiteY32" fmla="*/ 2949536 h 2969978"/>
                <a:gd name="connsiteX33" fmla="*/ 944545 w 11851944"/>
                <a:gd name="connsiteY33" fmla="*/ 2919391 h 2969978"/>
                <a:gd name="connsiteX34" fmla="*/ 723481 w 11851944"/>
                <a:gd name="connsiteY34" fmla="*/ 2879198 h 2969978"/>
                <a:gd name="connsiteX35" fmla="*/ 643095 w 11851944"/>
                <a:gd name="connsiteY35" fmla="*/ 2869149 h 2969978"/>
                <a:gd name="connsiteX36" fmla="*/ 371789 w 11851944"/>
                <a:gd name="connsiteY36" fmla="*/ 2828956 h 2969978"/>
                <a:gd name="connsiteX37" fmla="*/ 0 w 11851944"/>
                <a:gd name="connsiteY37" fmla="*/ 2818908 h 2969978"/>
                <a:gd name="connsiteX0" fmla="*/ 120580 w 11851944"/>
                <a:gd name="connsiteY0" fmla="*/ 55611 h 2974631"/>
                <a:gd name="connsiteX1" fmla="*/ 281354 w 11851944"/>
                <a:gd name="connsiteY1" fmla="*/ 45562 h 2974631"/>
                <a:gd name="connsiteX2" fmla="*/ 673240 w 11851944"/>
                <a:gd name="connsiteY2" fmla="*/ 35514 h 2974631"/>
                <a:gd name="connsiteX3" fmla="*/ 1356528 w 11851944"/>
                <a:gd name="connsiteY3" fmla="*/ 85756 h 2974631"/>
                <a:gd name="connsiteX4" fmla="*/ 1758462 w 11851944"/>
                <a:gd name="connsiteY4" fmla="*/ 45562 h 2974631"/>
                <a:gd name="connsiteX5" fmla="*/ 2140299 w 11851944"/>
                <a:gd name="connsiteY5" fmla="*/ 45562 h 2974631"/>
                <a:gd name="connsiteX6" fmla="*/ 4652387 w 11851944"/>
                <a:gd name="connsiteY6" fmla="*/ 65659 h 2974631"/>
                <a:gd name="connsiteX7" fmla="*/ 4692580 w 11851944"/>
                <a:gd name="connsiteY7" fmla="*/ 75708 h 2974631"/>
                <a:gd name="connsiteX8" fmla="*/ 6420897 w 11851944"/>
                <a:gd name="connsiteY8" fmla="*/ 95804 h 2974631"/>
                <a:gd name="connsiteX9" fmla="*/ 7184571 w 11851944"/>
                <a:gd name="connsiteY9" fmla="*/ 65659 h 2974631"/>
                <a:gd name="connsiteX10" fmla="*/ 7928150 w 11851944"/>
                <a:gd name="connsiteY10" fmla="*/ 65659 h 2974631"/>
                <a:gd name="connsiteX11" fmla="*/ 8219552 w 11851944"/>
                <a:gd name="connsiteY11" fmla="*/ 95804 h 2974631"/>
                <a:gd name="connsiteX12" fmla="*/ 9606224 w 11851944"/>
                <a:gd name="connsiteY12" fmla="*/ 95804 h 2974631"/>
                <a:gd name="connsiteX13" fmla="*/ 9947868 w 11851944"/>
                <a:gd name="connsiteY13" fmla="*/ 65659 h 2974631"/>
                <a:gd name="connsiteX14" fmla="*/ 10791930 w 11851944"/>
                <a:gd name="connsiteY14" fmla="*/ 35514 h 2974631"/>
                <a:gd name="connsiteX15" fmla="*/ 11736475 w 11851944"/>
                <a:gd name="connsiteY15" fmla="*/ 55611 h 2974631"/>
                <a:gd name="connsiteX16" fmla="*/ 11806813 w 11851944"/>
                <a:gd name="connsiteY16" fmla="*/ 769044 h 2974631"/>
                <a:gd name="connsiteX17" fmla="*/ 11816862 w 11851944"/>
                <a:gd name="connsiteY17" fmla="*/ 2336587 h 2974631"/>
                <a:gd name="connsiteX18" fmla="*/ 11806813 w 11851944"/>
                <a:gd name="connsiteY18" fmla="*/ 2828956 h 2974631"/>
                <a:gd name="connsiteX19" fmla="*/ 11033090 w 11851944"/>
                <a:gd name="connsiteY19" fmla="*/ 2859101 h 2974631"/>
                <a:gd name="connsiteX20" fmla="*/ 10128739 w 11851944"/>
                <a:gd name="connsiteY20" fmla="*/ 2859101 h 2974631"/>
                <a:gd name="connsiteX21" fmla="*/ 9555982 w 11851944"/>
                <a:gd name="connsiteY21" fmla="*/ 2859101 h 2974631"/>
                <a:gd name="connsiteX22" fmla="*/ 9204290 w 11851944"/>
                <a:gd name="connsiteY22" fmla="*/ 2808859 h 2974631"/>
                <a:gd name="connsiteX23" fmla="*/ 7486022 w 11851944"/>
                <a:gd name="connsiteY23" fmla="*/ 2818908 h 2974631"/>
                <a:gd name="connsiteX24" fmla="*/ 6863024 w 11851944"/>
                <a:gd name="connsiteY24" fmla="*/ 2839004 h 2974631"/>
                <a:gd name="connsiteX25" fmla="*/ 6722347 w 11851944"/>
                <a:gd name="connsiteY25" fmla="*/ 2828956 h 2974631"/>
                <a:gd name="connsiteX26" fmla="*/ 4903596 w 11851944"/>
                <a:gd name="connsiteY26" fmla="*/ 2879198 h 2974631"/>
                <a:gd name="connsiteX27" fmla="*/ 4059534 w 11851944"/>
                <a:gd name="connsiteY27" fmla="*/ 2859101 h 2974631"/>
                <a:gd name="connsiteX28" fmla="*/ 3064747 w 11851944"/>
                <a:gd name="connsiteY28" fmla="*/ 2839004 h 2974631"/>
                <a:gd name="connsiteX29" fmla="*/ 2009670 w 11851944"/>
                <a:gd name="connsiteY29" fmla="*/ 2849053 h 2974631"/>
                <a:gd name="connsiteX30" fmla="*/ 1607736 w 11851944"/>
                <a:gd name="connsiteY30" fmla="*/ 2969633 h 2974631"/>
                <a:gd name="connsiteX31" fmla="*/ 1135464 w 11851944"/>
                <a:gd name="connsiteY31" fmla="*/ 2949536 h 2974631"/>
                <a:gd name="connsiteX32" fmla="*/ 944545 w 11851944"/>
                <a:gd name="connsiteY32" fmla="*/ 2919391 h 2974631"/>
                <a:gd name="connsiteX33" fmla="*/ 723481 w 11851944"/>
                <a:gd name="connsiteY33" fmla="*/ 2879198 h 2974631"/>
                <a:gd name="connsiteX34" fmla="*/ 643095 w 11851944"/>
                <a:gd name="connsiteY34" fmla="*/ 2869149 h 2974631"/>
                <a:gd name="connsiteX35" fmla="*/ 371789 w 11851944"/>
                <a:gd name="connsiteY35" fmla="*/ 2828956 h 2974631"/>
                <a:gd name="connsiteX36" fmla="*/ 0 w 11851944"/>
                <a:gd name="connsiteY36" fmla="*/ 2818908 h 2974631"/>
                <a:gd name="connsiteX0" fmla="*/ 120580 w 11851944"/>
                <a:gd name="connsiteY0" fmla="*/ 55611 h 2949536"/>
                <a:gd name="connsiteX1" fmla="*/ 281354 w 11851944"/>
                <a:gd name="connsiteY1" fmla="*/ 45562 h 2949536"/>
                <a:gd name="connsiteX2" fmla="*/ 673240 w 11851944"/>
                <a:gd name="connsiteY2" fmla="*/ 35514 h 2949536"/>
                <a:gd name="connsiteX3" fmla="*/ 1356528 w 11851944"/>
                <a:gd name="connsiteY3" fmla="*/ 85756 h 2949536"/>
                <a:gd name="connsiteX4" fmla="*/ 1758462 w 11851944"/>
                <a:gd name="connsiteY4" fmla="*/ 45562 h 2949536"/>
                <a:gd name="connsiteX5" fmla="*/ 2140299 w 11851944"/>
                <a:gd name="connsiteY5" fmla="*/ 45562 h 2949536"/>
                <a:gd name="connsiteX6" fmla="*/ 4652387 w 11851944"/>
                <a:gd name="connsiteY6" fmla="*/ 65659 h 2949536"/>
                <a:gd name="connsiteX7" fmla="*/ 4692580 w 11851944"/>
                <a:gd name="connsiteY7" fmla="*/ 75708 h 2949536"/>
                <a:gd name="connsiteX8" fmla="*/ 6420897 w 11851944"/>
                <a:gd name="connsiteY8" fmla="*/ 95804 h 2949536"/>
                <a:gd name="connsiteX9" fmla="*/ 7184571 w 11851944"/>
                <a:gd name="connsiteY9" fmla="*/ 65659 h 2949536"/>
                <a:gd name="connsiteX10" fmla="*/ 7928150 w 11851944"/>
                <a:gd name="connsiteY10" fmla="*/ 65659 h 2949536"/>
                <a:gd name="connsiteX11" fmla="*/ 8219552 w 11851944"/>
                <a:gd name="connsiteY11" fmla="*/ 95804 h 2949536"/>
                <a:gd name="connsiteX12" fmla="*/ 9606224 w 11851944"/>
                <a:gd name="connsiteY12" fmla="*/ 95804 h 2949536"/>
                <a:gd name="connsiteX13" fmla="*/ 9947868 w 11851944"/>
                <a:gd name="connsiteY13" fmla="*/ 65659 h 2949536"/>
                <a:gd name="connsiteX14" fmla="*/ 10791930 w 11851944"/>
                <a:gd name="connsiteY14" fmla="*/ 35514 h 2949536"/>
                <a:gd name="connsiteX15" fmla="*/ 11736475 w 11851944"/>
                <a:gd name="connsiteY15" fmla="*/ 55611 h 2949536"/>
                <a:gd name="connsiteX16" fmla="*/ 11806813 w 11851944"/>
                <a:gd name="connsiteY16" fmla="*/ 769044 h 2949536"/>
                <a:gd name="connsiteX17" fmla="*/ 11816862 w 11851944"/>
                <a:gd name="connsiteY17" fmla="*/ 2336587 h 2949536"/>
                <a:gd name="connsiteX18" fmla="*/ 11806813 w 11851944"/>
                <a:gd name="connsiteY18" fmla="*/ 2828956 h 2949536"/>
                <a:gd name="connsiteX19" fmla="*/ 11033090 w 11851944"/>
                <a:gd name="connsiteY19" fmla="*/ 2859101 h 2949536"/>
                <a:gd name="connsiteX20" fmla="*/ 10128739 w 11851944"/>
                <a:gd name="connsiteY20" fmla="*/ 2859101 h 2949536"/>
                <a:gd name="connsiteX21" fmla="*/ 9555982 w 11851944"/>
                <a:gd name="connsiteY21" fmla="*/ 2859101 h 2949536"/>
                <a:gd name="connsiteX22" fmla="*/ 9204290 w 11851944"/>
                <a:gd name="connsiteY22" fmla="*/ 2808859 h 2949536"/>
                <a:gd name="connsiteX23" fmla="*/ 7486022 w 11851944"/>
                <a:gd name="connsiteY23" fmla="*/ 2818908 h 2949536"/>
                <a:gd name="connsiteX24" fmla="*/ 6863024 w 11851944"/>
                <a:gd name="connsiteY24" fmla="*/ 2839004 h 2949536"/>
                <a:gd name="connsiteX25" fmla="*/ 6722347 w 11851944"/>
                <a:gd name="connsiteY25" fmla="*/ 2828956 h 2949536"/>
                <a:gd name="connsiteX26" fmla="*/ 4903596 w 11851944"/>
                <a:gd name="connsiteY26" fmla="*/ 2879198 h 2949536"/>
                <a:gd name="connsiteX27" fmla="*/ 4059534 w 11851944"/>
                <a:gd name="connsiteY27" fmla="*/ 2859101 h 2949536"/>
                <a:gd name="connsiteX28" fmla="*/ 3064747 w 11851944"/>
                <a:gd name="connsiteY28" fmla="*/ 2839004 h 2949536"/>
                <a:gd name="connsiteX29" fmla="*/ 2009670 w 11851944"/>
                <a:gd name="connsiteY29" fmla="*/ 2849053 h 2949536"/>
                <a:gd name="connsiteX30" fmla="*/ 1135464 w 11851944"/>
                <a:gd name="connsiteY30" fmla="*/ 2949536 h 2949536"/>
                <a:gd name="connsiteX31" fmla="*/ 944545 w 11851944"/>
                <a:gd name="connsiteY31" fmla="*/ 2919391 h 2949536"/>
                <a:gd name="connsiteX32" fmla="*/ 723481 w 11851944"/>
                <a:gd name="connsiteY32" fmla="*/ 2879198 h 2949536"/>
                <a:gd name="connsiteX33" fmla="*/ 643095 w 11851944"/>
                <a:gd name="connsiteY33" fmla="*/ 2869149 h 2949536"/>
                <a:gd name="connsiteX34" fmla="*/ 371789 w 11851944"/>
                <a:gd name="connsiteY34" fmla="*/ 2828956 h 2949536"/>
                <a:gd name="connsiteX35" fmla="*/ 0 w 11851944"/>
                <a:gd name="connsiteY35" fmla="*/ 2818908 h 2949536"/>
                <a:gd name="connsiteX0" fmla="*/ 120580 w 11851944"/>
                <a:gd name="connsiteY0" fmla="*/ 55611 h 2949840"/>
                <a:gd name="connsiteX1" fmla="*/ 281354 w 11851944"/>
                <a:gd name="connsiteY1" fmla="*/ 45562 h 2949840"/>
                <a:gd name="connsiteX2" fmla="*/ 673240 w 11851944"/>
                <a:gd name="connsiteY2" fmla="*/ 35514 h 2949840"/>
                <a:gd name="connsiteX3" fmla="*/ 1356528 w 11851944"/>
                <a:gd name="connsiteY3" fmla="*/ 85756 h 2949840"/>
                <a:gd name="connsiteX4" fmla="*/ 1758462 w 11851944"/>
                <a:gd name="connsiteY4" fmla="*/ 45562 h 2949840"/>
                <a:gd name="connsiteX5" fmla="*/ 2140299 w 11851944"/>
                <a:gd name="connsiteY5" fmla="*/ 45562 h 2949840"/>
                <a:gd name="connsiteX6" fmla="*/ 4652387 w 11851944"/>
                <a:gd name="connsiteY6" fmla="*/ 65659 h 2949840"/>
                <a:gd name="connsiteX7" fmla="*/ 4692580 w 11851944"/>
                <a:gd name="connsiteY7" fmla="*/ 75708 h 2949840"/>
                <a:gd name="connsiteX8" fmla="*/ 6420897 w 11851944"/>
                <a:gd name="connsiteY8" fmla="*/ 95804 h 2949840"/>
                <a:gd name="connsiteX9" fmla="*/ 7184571 w 11851944"/>
                <a:gd name="connsiteY9" fmla="*/ 65659 h 2949840"/>
                <a:gd name="connsiteX10" fmla="*/ 7928150 w 11851944"/>
                <a:gd name="connsiteY10" fmla="*/ 65659 h 2949840"/>
                <a:gd name="connsiteX11" fmla="*/ 8219552 w 11851944"/>
                <a:gd name="connsiteY11" fmla="*/ 95804 h 2949840"/>
                <a:gd name="connsiteX12" fmla="*/ 9606224 w 11851944"/>
                <a:gd name="connsiteY12" fmla="*/ 95804 h 2949840"/>
                <a:gd name="connsiteX13" fmla="*/ 9947868 w 11851944"/>
                <a:gd name="connsiteY13" fmla="*/ 65659 h 2949840"/>
                <a:gd name="connsiteX14" fmla="*/ 10791930 w 11851944"/>
                <a:gd name="connsiteY14" fmla="*/ 35514 h 2949840"/>
                <a:gd name="connsiteX15" fmla="*/ 11736475 w 11851944"/>
                <a:gd name="connsiteY15" fmla="*/ 55611 h 2949840"/>
                <a:gd name="connsiteX16" fmla="*/ 11806813 w 11851944"/>
                <a:gd name="connsiteY16" fmla="*/ 769044 h 2949840"/>
                <a:gd name="connsiteX17" fmla="*/ 11816862 w 11851944"/>
                <a:gd name="connsiteY17" fmla="*/ 2336587 h 2949840"/>
                <a:gd name="connsiteX18" fmla="*/ 11806813 w 11851944"/>
                <a:gd name="connsiteY18" fmla="*/ 2828956 h 2949840"/>
                <a:gd name="connsiteX19" fmla="*/ 11033090 w 11851944"/>
                <a:gd name="connsiteY19" fmla="*/ 2859101 h 2949840"/>
                <a:gd name="connsiteX20" fmla="*/ 10128739 w 11851944"/>
                <a:gd name="connsiteY20" fmla="*/ 2859101 h 2949840"/>
                <a:gd name="connsiteX21" fmla="*/ 9555982 w 11851944"/>
                <a:gd name="connsiteY21" fmla="*/ 2859101 h 2949840"/>
                <a:gd name="connsiteX22" fmla="*/ 9204290 w 11851944"/>
                <a:gd name="connsiteY22" fmla="*/ 2808859 h 2949840"/>
                <a:gd name="connsiteX23" fmla="*/ 7486022 w 11851944"/>
                <a:gd name="connsiteY23" fmla="*/ 2818908 h 2949840"/>
                <a:gd name="connsiteX24" fmla="*/ 6863024 w 11851944"/>
                <a:gd name="connsiteY24" fmla="*/ 2839004 h 2949840"/>
                <a:gd name="connsiteX25" fmla="*/ 6722347 w 11851944"/>
                <a:gd name="connsiteY25" fmla="*/ 2828956 h 2949840"/>
                <a:gd name="connsiteX26" fmla="*/ 4903596 w 11851944"/>
                <a:gd name="connsiteY26" fmla="*/ 2879198 h 2949840"/>
                <a:gd name="connsiteX27" fmla="*/ 4059534 w 11851944"/>
                <a:gd name="connsiteY27" fmla="*/ 2859101 h 2949840"/>
                <a:gd name="connsiteX28" fmla="*/ 3064747 w 11851944"/>
                <a:gd name="connsiteY28" fmla="*/ 2839004 h 2949840"/>
                <a:gd name="connsiteX29" fmla="*/ 2009670 w 11851944"/>
                <a:gd name="connsiteY29" fmla="*/ 2849053 h 2949840"/>
                <a:gd name="connsiteX30" fmla="*/ 1205803 w 11851944"/>
                <a:gd name="connsiteY30" fmla="*/ 2929437 h 2949840"/>
                <a:gd name="connsiteX31" fmla="*/ 1135464 w 11851944"/>
                <a:gd name="connsiteY31" fmla="*/ 2949536 h 2949840"/>
                <a:gd name="connsiteX32" fmla="*/ 944545 w 11851944"/>
                <a:gd name="connsiteY32" fmla="*/ 2919391 h 2949840"/>
                <a:gd name="connsiteX33" fmla="*/ 723481 w 11851944"/>
                <a:gd name="connsiteY33" fmla="*/ 2879198 h 2949840"/>
                <a:gd name="connsiteX34" fmla="*/ 643095 w 11851944"/>
                <a:gd name="connsiteY34" fmla="*/ 2869149 h 2949840"/>
                <a:gd name="connsiteX35" fmla="*/ 371789 w 11851944"/>
                <a:gd name="connsiteY35" fmla="*/ 2828956 h 2949840"/>
                <a:gd name="connsiteX36" fmla="*/ 0 w 11851944"/>
                <a:gd name="connsiteY36" fmla="*/ 2818908 h 2949840"/>
                <a:gd name="connsiteX0" fmla="*/ 120580 w 11851944"/>
                <a:gd name="connsiteY0" fmla="*/ 55611 h 2934038"/>
                <a:gd name="connsiteX1" fmla="*/ 281354 w 11851944"/>
                <a:gd name="connsiteY1" fmla="*/ 45562 h 2934038"/>
                <a:gd name="connsiteX2" fmla="*/ 673240 w 11851944"/>
                <a:gd name="connsiteY2" fmla="*/ 35514 h 2934038"/>
                <a:gd name="connsiteX3" fmla="*/ 1356528 w 11851944"/>
                <a:gd name="connsiteY3" fmla="*/ 85756 h 2934038"/>
                <a:gd name="connsiteX4" fmla="*/ 1758462 w 11851944"/>
                <a:gd name="connsiteY4" fmla="*/ 45562 h 2934038"/>
                <a:gd name="connsiteX5" fmla="*/ 2140299 w 11851944"/>
                <a:gd name="connsiteY5" fmla="*/ 45562 h 2934038"/>
                <a:gd name="connsiteX6" fmla="*/ 4652387 w 11851944"/>
                <a:gd name="connsiteY6" fmla="*/ 65659 h 2934038"/>
                <a:gd name="connsiteX7" fmla="*/ 4692580 w 11851944"/>
                <a:gd name="connsiteY7" fmla="*/ 75708 h 2934038"/>
                <a:gd name="connsiteX8" fmla="*/ 6420897 w 11851944"/>
                <a:gd name="connsiteY8" fmla="*/ 95804 h 2934038"/>
                <a:gd name="connsiteX9" fmla="*/ 7184571 w 11851944"/>
                <a:gd name="connsiteY9" fmla="*/ 65659 h 2934038"/>
                <a:gd name="connsiteX10" fmla="*/ 7928150 w 11851944"/>
                <a:gd name="connsiteY10" fmla="*/ 65659 h 2934038"/>
                <a:gd name="connsiteX11" fmla="*/ 8219552 w 11851944"/>
                <a:gd name="connsiteY11" fmla="*/ 95804 h 2934038"/>
                <a:gd name="connsiteX12" fmla="*/ 9606224 w 11851944"/>
                <a:gd name="connsiteY12" fmla="*/ 95804 h 2934038"/>
                <a:gd name="connsiteX13" fmla="*/ 9947868 w 11851944"/>
                <a:gd name="connsiteY13" fmla="*/ 65659 h 2934038"/>
                <a:gd name="connsiteX14" fmla="*/ 10791930 w 11851944"/>
                <a:gd name="connsiteY14" fmla="*/ 35514 h 2934038"/>
                <a:gd name="connsiteX15" fmla="*/ 11736475 w 11851944"/>
                <a:gd name="connsiteY15" fmla="*/ 55611 h 2934038"/>
                <a:gd name="connsiteX16" fmla="*/ 11806813 w 11851944"/>
                <a:gd name="connsiteY16" fmla="*/ 769044 h 2934038"/>
                <a:gd name="connsiteX17" fmla="*/ 11816862 w 11851944"/>
                <a:gd name="connsiteY17" fmla="*/ 2336587 h 2934038"/>
                <a:gd name="connsiteX18" fmla="*/ 11806813 w 11851944"/>
                <a:gd name="connsiteY18" fmla="*/ 2828956 h 2934038"/>
                <a:gd name="connsiteX19" fmla="*/ 11033090 w 11851944"/>
                <a:gd name="connsiteY19" fmla="*/ 2859101 h 2934038"/>
                <a:gd name="connsiteX20" fmla="*/ 10128739 w 11851944"/>
                <a:gd name="connsiteY20" fmla="*/ 2859101 h 2934038"/>
                <a:gd name="connsiteX21" fmla="*/ 9555982 w 11851944"/>
                <a:gd name="connsiteY21" fmla="*/ 2859101 h 2934038"/>
                <a:gd name="connsiteX22" fmla="*/ 9204290 w 11851944"/>
                <a:gd name="connsiteY22" fmla="*/ 2808859 h 2934038"/>
                <a:gd name="connsiteX23" fmla="*/ 7486022 w 11851944"/>
                <a:gd name="connsiteY23" fmla="*/ 2818908 h 2934038"/>
                <a:gd name="connsiteX24" fmla="*/ 6863024 w 11851944"/>
                <a:gd name="connsiteY24" fmla="*/ 2839004 h 2934038"/>
                <a:gd name="connsiteX25" fmla="*/ 6722347 w 11851944"/>
                <a:gd name="connsiteY25" fmla="*/ 2828956 h 2934038"/>
                <a:gd name="connsiteX26" fmla="*/ 4903596 w 11851944"/>
                <a:gd name="connsiteY26" fmla="*/ 2879198 h 2934038"/>
                <a:gd name="connsiteX27" fmla="*/ 4059534 w 11851944"/>
                <a:gd name="connsiteY27" fmla="*/ 2859101 h 2934038"/>
                <a:gd name="connsiteX28" fmla="*/ 3064747 w 11851944"/>
                <a:gd name="connsiteY28" fmla="*/ 2839004 h 2934038"/>
                <a:gd name="connsiteX29" fmla="*/ 2009670 w 11851944"/>
                <a:gd name="connsiteY29" fmla="*/ 2849053 h 2934038"/>
                <a:gd name="connsiteX30" fmla="*/ 1205803 w 11851944"/>
                <a:gd name="connsiteY30" fmla="*/ 2929437 h 2934038"/>
                <a:gd name="connsiteX31" fmla="*/ 944545 w 11851944"/>
                <a:gd name="connsiteY31" fmla="*/ 2919391 h 2934038"/>
                <a:gd name="connsiteX32" fmla="*/ 723481 w 11851944"/>
                <a:gd name="connsiteY32" fmla="*/ 2879198 h 2934038"/>
                <a:gd name="connsiteX33" fmla="*/ 643095 w 11851944"/>
                <a:gd name="connsiteY33" fmla="*/ 2869149 h 2934038"/>
                <a:gd name="connsiteX34" fmla="*/ 371789 w 11851944"/>
                <a:gd name="connsiteY34" fmla="*/ 2828956 h 2934038"/>
                <a:gd name="connsiteX35" fmla="*/ 0 w 11851944"/>
                <a:gd name="connsiteY35" fmla="*/ 2818908 h 2934038"/>
                <a:gd name="connsiteX0" fmla="*/ 120580 w 11851944"/>
                <a:gd name="connsiteY0" fmla="*/ 55611 h 2919923"/>
                <a:gd name="connsiteX1" fmla="*/ 281354 w 11851944"/>
                <a:gd name="connsiteY1" fmla="*/ 45562 h 2919923"/>
                <a:gd name="connsiteX2" fmla="*/ 673240 w 11851944"/>
                <a:gd name="connsiteY2" fmla="*/ 35514 h 2919923"/>
                <a:gd name="connsiteX3" fmla="*/ 1356528 w 11851944"/>
                <a:gd name="connsiteY3" fmla="*/ 85756 h 2919923"/>
                <a:gd name="connsiteX4" fmla="*/ 1758462 w 11851944"/>
                <a:gd name="connsiteY4" fmla="*/ 45562 h 2919923"/>
                <a:gd name="connsiteX5" fmla="*/ 2140299 w 11851944"/>
                <a:gd name="connsiteY5" fmla="*/ 45562 h 2919923"/>
                <a:gd name="connsiteX6" fmla="*/ 4652387 w 11851944"/>
                <a:gd name="connsiteY6" fmla="*/ 65659 h 2919923"/>
                <a:gd name="connsiteX7" fmla="*/ 4692580 w 11851944"/>
                <a:gd name="connsiteY7" fmla="*/ 75708 h 2919923"/>
                <a:gd name="connsiteX8" fmla="*/ 6420897 w 11851944"/>
                <a:gd name="connsiteY8" fmla="*/ 95804 h 2919923"/>
                <a:gd name="connsiteX9" fmla="*/ 7184571 w 11851944"/>
                <a:gd name="connsiteY9" fmla="*/ 65659 h 2919923"/>
                <a:gd name="connsiteX10" fmla="*/ 7928150 w 11851944"/>
                <a:gd name="connsiteY10" fmla="*/ 65659 h 2919923"/>
                <a:gd name="connsiteX11" fmla="*/ 8219552 w 11851944"/>
                <a:gd name="connsiteY11" fmla="*/ 95804 h 2919923"/>
                <a:gd name="connsiteX12" fmla="*/ 9606224 w 11851944"/>
                <a:gd name="connsiteY12" fmla="*/ 95804 h 2919923"/>
                <a:gd name="connsiteX13" fmla="*/ 9947868 w 11851944"/>
                <a:gd name="connsiteY13" fmla="*/ 65659 h 2919923"/>
                <a:gd name="connsiteX14" fmla="*/ 10791930 w 11851944"/>
                <a:gd name="connsiteY14" fmla="*/ 35514 h 2919923"/>
                <a:gd name="connsiteX15" fmla="*/ 11736475 w 11851944"/>
                <a:gd name="connsiteY15" fmla="*/ 55611 h 2919923"/>
                <a:gd name="connsiteX16" fmla="*/ 11806813 w 11851944"/>
                <a:gd name="connsiteY16" fmla="*/ 769044 h 2919923"/>
                <a:gd name="connsiteX17" fmla="*/ 11816862 w 11851944"/>
                <a:gd name="connsiteY17" fmla="*/ 2336587 h 2919923"/>
                <a:gd name="connsiteX18" fmla="*/ 11806813 w 11851944"/>
                <a:gd name="connsiteY18" fmla="*/ 2828956 h 2919923"/>
                <a:gd name="connsiteX19" fmla="*/ 11033090 w 11851944"/>
                <a:gd name="connsiteY19" fmla="*/ 2859101 h 2919923"/>
                <a:gd name="connsiteX20" fmla="*/ 10128739 w 11851944"/>
                <a:gd name="connsiteY20" fmla="*/ 2859101 h 2919923"/>
                <a:gd name="connsiteX21" fmla="*/ 9555982 w 11851944"/>
                <a:gd name="connsiteY21" fmla="*/ 2859101 h 2919923"/>
                <a:gd name="connsiteX22" fmla="*/ 9204290 w 11851944"/>
                <a:gd name="connsiteY22" fmla="*/ 2808859 h 2919923"/>
                <a:gd name="connsiteX23" fmla="*/ 7486022 w 11851944"/>
                <a:gd name="connsiteY23" fmla="*/ 2818908 h 2919923"/>
                <a:gd name="connsiteX24" fmla="*/ 6863024 w 11851944"/>
                <a:gd name="connsiteY24" fmla="*/ 2839004 h 2919923"/>
                <a:gd name="connsiteX25" fmla="*/ 6722347 w 11851944"/>
                <a:gd name="connsiteY25" fmla="*/ 2828956 h 2919923"/>
                <a:gd name="connsiteX26" fmla="*/ 4903596 w 11851944"/>
                <a:gd name="connsiteY26" fmla="*/ 2879198 h 2919923"/>
                <a:gd name="connsiteX27" fmla="*/ 4059534 w 11851944"/>
                <a:gd name="connsiteY27" fmla="*/ 2859101 h 2919923"/>
                <a:gd name="connsiteX28" fmla="*/ 3064747 w 11851944"/>
                <a:gd name="connsiteY28" fmla="*/ 2839004 h 2919923"/>
                <a:gd name="connsiteX29" fmla="*/ 2009670 w 11851944"/>
                <a:gd name="connsiteY29" fmla="*/ 2849053 h 2919923"/>
                <a:gd name="connsiteX30" fmla="*/ 944545 w 11851944"/>
                <a:gd name="connsiteY30" fmla="*/ 2919391 h 2919923"/>
                <a:gd name="connsiteX31" fmla="*/ 723481 w 11851944"/>
                <a:gd name="connsiteY31" fmla="*/ 2879198 h 2919923"/>
                <a:gd name="connsiteX32" fmla="*/ 643095 w 11851944"/>
                <a:gd name="connsiteY32" fmla="*/ 2869149 h 2919923"/>
                <a:gd name="connsiteX33" fmla="*/ 371789 w 11851944"/>
                <a:gd name="connsiteY33" fmla="*/ 2828956 h 2919923"/>
                <a:gd name="connsiteX34" fmla="*/ 0 w 11851944"/>
                <a:gd name="connsiteY34" fmla="*/ 2818908 h 2919923"/>
                <a:gd name="connsiteX0" fmla="*/ 120580 w 11851944"/>
                <a:gd name="connsiteY0" fmla="*/ 55611 h 2890922"/>
                <a:gd name="connsiteX1" fmla="*/ 281354 w 11851944"/>
                <a:gd name="connsiteY1" fmla="*/ 45562 h 2890922"/>
                <a:gd name="connsiteX2" fmla="*/ 673240 w 11851944"/>
                <a:gd name="connsiteY2" fmla="*/ 35514 h 2890922"/>
                <a:gd name="connsiteX3" fmla="*/ 1356528 w 11851944"/>
                <a:gd name="connsiteY3" fmla="*/ 85756 h 2890922"/>
                <a:gd name="connsiteX4" fmla="*/ 1758462 w 11851944"/>
                <a:gd name="connsiteY4" fmla="*/ 45562 h 2890922"/>
                <a:gd name="connsiteX5" fmla="*/ 2140299 w 11851944"/>
                <a:gd name="connsiteY5" fmla="*/ 45562 h 2890922"/>
                <a:gd name="connsiteX6" fmla="*/ 4652387 w 11851944"/>
                <a:gd name="connsiteY6" fmla="*/ 65659 h 2890922"/>
                <a:gd name="connsiteX7" fmla="*/ 4692580 w 11851944"/>
                <a:gd name="connsiteY7" fmla="*/ 75708 h 2890922"/>
                <a:gd name="connsiteX8" fmla="*/ 6420897 w 11851944"/>
                <a:gd name="connsiteY8" fmla="*/ 95804 h 2890922"/>
                <a:gd name="connsiteX9" fmla="*/ 7184571 w 11851944"/>
                <a:gd name="connsiteY9" fmla="*/ 65659 h 2890922"/>
                <a:gd name="connsiteX10" fmla="*/ 7928150 w 11851944"/>
                <a:gd name="connsiteY10" fmla="*/ 65659 h 2890922"/>
                <a:gd name="connsiteX11" fmla="*/ 8219552 w 11851944"/>
                <a:gd name="connsiteY11" fmla="*/ 95804 h 2890922"/>
                <a:gd name="connsiteX12" fmla="*/ 9606224 w 11851944"/>
                <a:gd name="connsiteY12" fmla="*/ 95804 h 2890922"/>
                <a:gd name="connsiteX13" fmla="*/ 9947868 w 11851944"/>
                <a:gd name="connsiteY13" fmla="*/ 65659 h 2890922"/>
                <a:gd name="connsiteX14" fmla="*/ 10791930 w 11851944"/>
                <a:gd name="connsiteY14" fmla="*/ 35514 h 2890922"/>
                <a:gd name="connsiteX15" fmla="*/ 11736475 w 11851944"/>
                <a:gd name="connsiteY15" fmla="*/ 55611 h 2890922"/>
                <a:gd name="connsiteX16" fmla="*/ 11806813 w 11851944"/>
                <a:gd name="connsiteY16" fmla="*/ 769044 h 2890922"/>
                <a:gd name="connsiteX17" fmla="*/ 11816862 w 11851944"/>
                <a:gd name="connsiteY17" fmla="*/ 2336587 h 2890922"/>
                <a:gd name="connsiteX18" fmla="*/ 11806813 w 11851944"/>
                <a:gd name="connsiteY18" fmla="*/ 2828956 h 2890922"/>
                <a:gd name="connsiteX19" fmla="*/ 11033090 w 11851944"/>
                <a:gd name="connsiteY19" fmla="*/ 2859101 h 2890922"/>
                <a:gd name="connsiteX20" fmla="*/ 10128739 w 11851944"/>
                <a:gd name="connsiteY20" fmla="*/ 2859101 h 2890922"/>
                <a:gd name="connsiteX21" fmla="*/ 9555982 w 11851944"/>
                <a:gd name="connsiteY21" fmla="*/ 2859101 h 2890922"/>
                <a:gd name="connsiteX22" fmla="*/ 9204290 w 11851944"/>
                <a:gd name="connsiteY22" fmla="*/ 2808859 h 2890922"/>
                <a:gd name="connsiteX23" fmla="*/ 7486022 w 11851944"/>
                <a:gd name="connsiteY23" fmla="*/ 2818908 h 2890922"/>
                <a:gd name="connsiteX24" fmla="*/ 6863024 w 11851944"/>
                <a:gd name="connsiteY24" fmla="*/ 2839004 h 2890922"/>
                <a:gd name="connsiteX25" fmla="*/ 6722347 w 11851944"/>
                <a:gd name="connsiteY25" fmla="*/ 2828956 h 2890922"/>
                <a:gd name="connsiteX26" fmla="*/ 4903596 w 11851944"/>
                <a:gd name="connsiteY26" fmla="*/ 2879198 h 2890922"/>
                <a:gd name="connsiteX27" fmla="*/ 4059534 w 11851944"/>
                <a:gd name="connsiteY27" fmla="*/ 2859101 h 2890922"/>
                <a:gd name="connsiteX28" fmla="*/ 3064747 w 11851944"/>
                <a:gd name="connsiteY28" fmla="*/ 2839004 h 2890922"/>
                <a:gd name="connsiteX29" fmla="*/ 2009670 w 11851944"/>
                <a:gd name="connsiteY29" fmla="*/ 2849053 h 2890922"/>
                <a:gd name="connsiteX30" fmla="*/ 723481 w 11851944"/>
                <a:gd name="connsiteY30" fmla="*/ 2879198 h 2890922"/>
                <a:gd name="connsiteX31" fmla="*/ 643095 w 11851944"/>
                <a:gd name="connsiteY31" fmla="*/ 2869149 h 2890922"/>
                <a:gd name="connsiteX32" fmla="*/ 371789 w 11851944"/>
                <a:gd name="connsiteY32" fmla="*/ 2828956 h 2890922"/>
                <a:gd name="connsiteX33" fmla="*/ 0 w 11851944"/>
                <a:gd name="connsiteY33" fmla="*/ 2818908 h 2890922"/>
                <a:gd name="connsiteX0" fmla="*/ 120580 w 11851944"/>
                <a:gd name="connsiteY0" fmla="*/ 55611 h 2890922"/>
                <a:gd name="connsiteX1" fmla="*/ 281354 w 11851944"/>
                <a:gd name="connsiteY1" fmla="*/ 45562 h 2890922"/>
                <a:gd name="connsiteX2" fmla="*/ 673240 w 11851944"/>
                <a:gd name="connsiteY2" fmla="*/ 35514 h 2890922"/>
                <a:gd name="connsiteX3" fmla="*/ 1356528 w 11851944"/>
                <a:gd name="connsiteY3" fmla="*/ 85756 h 2890922"/>
                <a:gd name="connsiteX4" fmla="*/ 1758462 w 11851944"/>
                <a:gd name="connsiteY4" fmla="*/ 45562 h 2890922"/>
                <a:gd name="connsiteX5" fmla="*/ 2140299 w 11851944"/>
                <a:gd name="connsiteY5" fmla="*/ 45562 h 2890922"/>
                <a:gd name="connsiteX6" fmla="*/ 4652387 w 11851944"/>
                <a:gd name="connsiteY6" fmla="*/ 65659 h 2890922"/>
                <a:gd name="connsiteX7" fmla="*/ 4692580 w 11851944"/>
                <a:gd name="connsiteY7" fmla="*/ 75708 h 2890922"/>
                <a:gd name="connsiteX8" fmla="*/ 6420897 w 11851944"/>
                <a:gd name="connsiteY8" fmla="*/ 95804 h 2890922"/>
                <a:gd name="connsiteX9" fmla="*/ 7184571 w 11851944"/>
                <a:gd name="connsiteY9" fmla="*/ 65659 h 2890922"/>
                <a:gd name="connsiteX10" fmla="*/ 7928150 w 11851944"/>
                <a:gd name="connsiteY10" fmla="*/ 65659 h 2890922"/>
                <a:gd name="connsiteX11" fmla="*/ 8219552 w 11851944"/>
                <a:gd name="connsiteY11" fmla="*/ 95804 h 2890922"/>
                <a:gd name="connsiteX12" fmla="*/ 9606224 w 11851944"/>
                <a:gd name="connsiteY12" fmla="*/ 95804 h 2890922"/>
                <a:gd name="connsiteX13" fmla="*/ 9947868 w 11851944"/>
                <a:gd name="connsiteY13" fmla="*/ 65659 h 2890922"/>
                <a:gd name="connsiteX14" fmla="*/ 10791930 w 11851944"/>
                <a:gd name="connsiteY14" fmla="*/ 35514 h 2890922"/>
                <a:gd name="connsiteX15" fmla="*/ 11736475 w 11851944"/>
                <a:gd name="connsiteY15" fmla="*/ 55611 h 2890922"/>
                <a:gd name="connsiteX16" fmla="*/ 11806813 w 11851944"/>
                <a:gd name="connsiteY16" fmla="*/ 769044 h 2890922"/>
                <a:gd name="connsiteX17" fmla="*/ 11816862 w 11851944"/>
                <a:gd name="connsiteY17" fmla="*/ 2336587 h 2890922"/>
                <a:gd name="connsiteX18" fmla="*/ 11806813 w 11851944"/>
                <a:gd name="connsiteY18" fmla="*/ 2828956 h 2890922"/>
                <a:gd name="connsiteX19" fmla="*/ 11033090 w 11851944"/>
                <a:gd name="connsiteY19" fmla="*/ 2859101 h 2890922"/>
                <a:gd name="connsiteX20" fmla="*/ 10128739 w 11851944"/>
                <a:gd name="connsiteY20" fmla="*/ 2859101 h 2890922"/>
                <a:gd name="connsiteX21" fmla="*/ 9555982 w 11851944"/>
                <a:gd name="connsiteY21" fmla="*/ 2859101 h 2890922"/>
                <a:gd name="connsiteX22" fmla="*/ 9204290 w 11851944"/>
                <a:gd name="connsiteY22" fmla="*/ 2808859 h 2890922"/>
                <a:gd name="connsiteX23" fmla="*/ 7486022 w 11851944"/>
                <a:gd name="connsiteY23" fmla="*/ 2818908 h 2890922"/>
                <a:gd name="connsiteX24" fmla="*/ 6863024 w 11851944"/>
                <a:gd name="connsiteY24" fmla="*/ 2839004 h 2890922"/>
                <a:gd name="connsiteX25" fmla="*/ 6722347 w 11851944"/>
                <a:gd name="connsiteY25" fmla="*/ 2828956 h 2890922"/>
                <a:gd name="connsiteX26" fmla="*/ 4903596 w 11851944"/>
                <a:gd name="connsiteY26" fmla="*/ 2879198 h 2890922"/>
                <a:gd name="connsiteX27" fmla="*/ 4059534 w 11851944"/>
                <a:gd name="connsiteY27" fmla="*/ 2859101 h 2890922"/>
                <a:gd name="connsiteX28" fmla="*/ 3064747 w 11851944"/>
                <a:gd name="connsiteY28" fmla="*/ 2839004 h 2890922"/>
                <a:gd name="connsiteX29" fmla="*/ 2009670 w 11851944"/>
                <a:gd name="connsiteY29" fmla="*/ 2849053 h 2890922"/>
                <a:gd name="connsiteX30" fmla="*/ 643095 w 11851944"/>
                <a:gd name="connsiteY30" fmla="*/ 2869149 h 2890922"/>
                <a:gd name="connsiteX31" fmla="*/ 371789 w 11851944"/>
                <a:gd name="connsiteY31" fmla="*/ 2828956 h 2890922"/>
                <a:gd name="connsiteX32" fmla="*/ 0 w 11851944"/>
                <a:gd name="connsiteY32" fmla="*/ 2818908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235948 w 11731364"/>
                <a:gd name="connsiteY3" fmla="*/ 85756 h 2890922"/>
                <a:gd name="connsiteX4" fmla="*/ 1637882 w 11731364"/>
                <a:gd name="connsiteY4" fmla="*/ 45562 h 2890922"/>
                <a:gd name="connsiteX5" fmla="*/ 2019719 w 11731364"/>
                <a:gd name="connsiteY5" fmla="*/ 45562 h 2890922"/>
                <a:gd name="connsiteX6" fmla="*/ 4531807 w 11731364"/>
                <a:gd name="connsiteY6" fmla="*/ 65659 h 2890922"/>
                <a:gd name="connsiteX7" fmla="*/ 4572000 w 11731364"/>
                <a:gd name="connsiteY7" fmla="*/ 75708 h 2890922"/>
                <a:gd name="connsiteX8" fmla="*/ 6300317 w 11731364"/>
                <a:gd name="connsiteY8" fmla="*/ 95804 h 2890922"/>
                <a:gd name="connsiteX9" fmla="*/ 7063991 w 11731364"/>
                <a:gd name="connsiteY9" fmla="*/ 65659 h 2890922"/>
                <a:gd name="connsiteX10" fmla="*/ 7807570 w 11731364"/>
                <a:gd name="connsiteY10" fmla="*/ 65659 h 2890922"/>
                <a:gd name="connsiteX11" fmla="*/ 8098972 w 11731364"/>
                <a:gd name="connsiteY11" fmla="*/ 95804 h 2890922"/>
                <a:gd name="connsiteX12" fmla="*/ 9485644 w 11731364"/>
                <a:gd name="connsiteY12" fmla="*/ 95804 h 2890922"/>
                <a:gd name="connsiteX13" fmla="*/ 9827288 w 11731364"/>
                <a:gd name="connsiteY13" fmla="*/ 65659 h 2890922"/>
                <a:gd name="connsiteX14" fmla="*/ 10671350 w 11731364"/>
                <a:gd name="connsiteY14" fmla="*/ 35514 h 2890922"/>
                <a:gd name="connsiteX15" fmla="*/ 11615895 w 11731364"/>
                <a:gd name="connsiteY15" fmla="*/ 55611 h 2890922"/>
                <a:gd name="connsiteX16" fmla="*/ 11686233 w 11731364"/>
                <a:gd name="connsiteY16" fmla="*/ 769044 h 2890922"/>
                <a:gd name="connsiteX17" fmla="*/ 11696282 w 11731364"/>
                <a:gd name="connsiteY17" fmla="*/ 2336587 h 2890922"/>
                <a:gd name="connsiteX18" fmla="*/ 11686233 w 11731364"/>
                <a:gd name="connsiteY18" fmla="*/ 2828956 h 2890922"/>
                <a:gd name="connsiteX19" fmla="*/ 10912510 w 11731364"/>
                <a:gd name="connsiteY19" fmla="*/ 2859101 h 2890922"/>
                <a:gd name="connsiteX20" fmla="*/ 10008159 w 11731364"/>
                <a:gd name="connsiteY20" fmla="*/ 2859101 h 2890922"/>
                <a:gd name="connsiteX21" fmla="*/ 9435402 w 11731364"/>
                <a:gd name="connsiteY21" fmla="*/ 2859101 h 2890922"/>
                <a:gd name="connsiteX22" fmla="*/ 9083710 w 11731364"/>
                <a:gd name="connsiteY22" fmla="*/ 2808859 h 2890922"/>
                <a:gd name="connsiteX23" fmla="*/ 7365442 w 11731364"/>
                <a:gd name="connsiteY23" fmla="*/ 2818908 h 2890922"/>
                <a:gd name="connsiteX24" fmla="*/ 6742444 w 11731364"/>
                <a:gd name="connsiteY24" fmla="*/ 2839004 h 2890922"/>
                <a:gd name="connsiteX25" fmla="*/ 6601767 w 11731364"/>
                <a:gd name="connsiteY25" fmla="*/ 2828956 h 2890922"/>
                <a:gd name="connsiteX26" fmla="*/ 4783016 w 11731364"/>
                <a:gd name="connsiteY26" fmla="*/ 2879198 h 2890922"/>
                <a:gd name="connsiteX27" fmla="*/ 3938954 w 11731364"/>
                <a:gd name="connsiteY27" fmla="*/ 2859101 h 2890922"/>
                <a:gd name="connsiteX28" fmla="*/ 2944167 w 11731364"/>
                <a:gd name="connsiteY28" fmla="*/ 2839004 h 2890922"/>
                <a:gd name="connsiteX29" fmla="*/ 1889090 w 11731364"/>
                <a:gd name="connsiteY29" fmla="*/ 2849053 h 2890922"/>
                <a:gd name="connsiteX30" fmla="*/ 522515 w 11731364"/>
                <a:gd name="connsiteY30" fmla="*/ 2869149 h 2890922"/>
                <a:gd name="connsiteX31" fmla="*/ 251209 w 11731364"/>
                <a:gd name="connsiteY31" fmla="*/ 2828956 h 2890922"/>
                <a:gd name="connsiteX32" fmla="*/ 10048 w 11731364"/>
                <a:gd name="connsiteY32" fmla="*/ 2839005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235948 w 11731364"/>
                <a:gd name="connsiteY3" fmla="*/ 85756 h 2890922"/>
                <a:gd name="connsiteX4" fmla="*/ 1637882 w 11731364"/>
                <a:gd name="connsiteY4" fmla="*/ 45562 h 2890922"/>
                <a:gd name="connsiteX5" fmla="*/ 2019719 w 11731364"/>
                <a:gd name="connsiteY5" fmla="*/ 45562 h 2890922"/>
                <a:gd name="connsiteX6" fmla="*/ 4531807 w 11731364"/>
                <a:gd name="connsiteY6" fmla="*/ 65659 h 2890922"/>
                <a:gd name="connsiteX7" fmla="*/ 4572000 w 11731364"/>
                <a:gd name="connsiteY7" fmla="*/ 75708 h 2890922"/>
                <a:gd name="connsiteX8" fmla="*/ 6300317 w 11731364"/>
                <a:gd name="connsiteY8" fmla="*/ 95804 h 2890922"/>
                <a:gd name="connsiteX9" fmla="*/ 7063991 w 11731364"/>
                <a:gd name="connsiteY9" fmla="*/ 65659 h 2890922"/>
                <a:gd name="connsiteX10" fmla="*/ 7807570 w 11731364"/>
                <a:gd name="connsiteY10" fmla="*/ 65659 h 2890922"/>
                <a:gd name="connsiteX11" fmla="*/ 8098972 w 11731364"/>
                <a:gd name="connsiteY11" fmla="*/ 95804 h 2890922"/>
                <a:gd name="connsiteX12" fmla="*/ 9485644 w 11731364"/>
                <a:gd name="connsiteY12" fmla="*/ 95804 h 2890922"/>
                <a:gd name="connsiteX13" fmla="*/ 9827288 w 11731364"/>
                <a:gd name="connsiteY13" fmla="*/ 65659 h 2890922"/>
                <a:gd name="connsiteX14" fmla="*/ 10671350 w 11731364"/>
                <a:gd name="connsiteY14" fmla="*/ 35514 h 2890922"/>
                <a:gd name="connsiteX15" fmla="*/ 11615895 w 11731364"/>
                <a:gd name="connsiteY15" fmla="*/ 55611 h 2890922"/>
                <a:gd name="connsiteX16" fmla="*/ 11686233 w 11731364"/>
                <a:gd name="connsiteY16" fmla="*/ 769044 h 2890922"/>
                <a:gd name="connsiteX17" fmla="*/ 11696282 w 11731364"/>
                <a:gd name="connsiteY17" fmla="*/ 2336587 h 2890922"/>
                <a:gd name="connsiteX18" fmla="*/ 11686233 w 11731364"/>
                <a:gd name="connsiteY18" fmla="*/ 2828956 h 2890922"/>
                <a:gd name="connsiteX19" fmla="*/ 10912510 w 11731364"/>
                <a:gd name="connsiteY19" fmla="*/ 2859101 h 2890922"/>
                <a:gd name="connsiteX20" fmla="*/ 10008159 w 11731364"/>
                <a:gd name="connsiteY20" fmla="*/ 2859101 h 2890922"/>
                <a:gd name="connsiteX21" fmla="*/ 9435402 w 11731364"/>
                <a:gd name="connsiteY21" fmla="*/ 2859101 h 2890922"/>
                <a:gd name="connsiteX22" fmla="*/ 7365442 w 11731364"/>
                <a:gd name="connsiteY22" fmla="*/ 2818908 h 2890922"/>
                <a:gd name="connsiteX23" fmla="*/ 6742444 w 11731364"/>
                <a:gd name="connsiteY23" fmla="*/ 2839004 h 2890922"/>
                <a:gd name="connsiteX24" fmla="*/ 6601767 w 11731364"/>
                <a:gd name="connsiteY24" fmla="*/ 2828956 h 2890922"/>
                <a:gd name="connsiteX25" fmla="*/ 4783016 w 11731364"/>
                <a:gd name="connsiteY25" fmla="*/ 2879198 h 2890922"/>
                <a:gd name="connsiteX26" fmla="*/ 3938954 w 11731364"/>
                <a:gd name="connsiteY26" fmla="*/ 2859101 h 2890922"/>
                <a:gd name="connsiteX27" fmla="*/ 2944167 w 11731364"/>
                <a:gd name="connsiteY27" fmla="*/ 2839004 h 2890922"/>
                <a:gd name="connsiteX28" fmla="*/ 1889090 w 11731364"/>
                <a:gd name="connsiteY28" fmla="*/ 2849053 h 2890922"/>
                <a:gd name="connsiteX29" fmla="*/ 522515 w 11731364"/>
                <a:gd name="connsiteY29" fmla="*/ 2869149 h 2890922"/>
                <a:gd name="connsiteX30" fmla="*/ 251209 w 11731364"/>
                <a:gd name="connsiteY30" fmla="*/ 2828956 h 2890922"/>
                <a:gd name="connsiteX31" fmla="*/ 10048 w 11731364"/>
                <a:gd name="connsiteY31" fmla="*/ 2839005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235948 w 11731364"/>
                <a:gd name="connsiteY3" fmla="*/ 85756 h 2890922"/>
                <a:gd name="connsiteX4" fmla="*/ 1637882 w 11731364"/>
                <a:gd name="connsiteY4" fmla="*/ 45562 h 2890922"/>
                <a:gd name="connsiteX5" fmla="*/ 2019719 w 11731364"/>
                <a:gd name="connsiteY5" fmla="*/ 45562 h 2890922"/>
                <a:gd name="connsiteX6" fmla="*/ 4531807 w 11731364"/>
                <a:gd name="connsiteY6" fmla="*/ 65659 h 2890922"/>
                <a:gd name="connsiteX7" fmla="*/ 4572000 w 11731364"/>
                <a:gd name="connsiteY7" fmla="*/ 75708 h 2890922"/>
                <a:gd name="connsiteX8" fmla="*/ 6300317 w 11731364"/>
                <a:gd name="connsiteY8" fmla="*/ 95804 h 2890922"/>
                <a:gd name="connsiteX9" fmla="*/ 7063991 w 11731364"/>
                <a:gd name="connsiteY9" fmla="*/ 65659 h 2890922"/>
                <a:gd name="connsiteX10" fmla="*/ 7807570 w 11731364"/>
                <a:gd name="connsiteY10" fmla="*/ 65659 h 2890922"/>
                <a:gd name="connsiteX11" fmla="*/ 8098972 w 11731364"/>
                <a:gd name="connsiteY11" fmla="*/ 95804 h 2890922"/>
                <a:gd name="connsiteX12" fmla="*/ 9485644 w 11731364"/>
                <a:gd name="connsiteY12" fmla="*/ 95804 h 2890922"/>
                <a:gd name="connsiteX13" fmla="*/ 9827288 w 11731364"/>
                <a:gd name="connsiteY13" fmla="*/ 65659 h 2890922"/>
                <a:gd name="connsiteX14" fmla="*/ 10671350 w 11731364"/>
                <a:gd name="connsiteY14" fmla="*/ 35514 h 2890922"/>
                <a:gd name="connsiteX15" fmla="*/ 11615895 w 11731364"/>
                <a:gd name="connsiteY15" fmla="*/ 55611 h 2890922"/>
                <a:gd name="connsiteX16" fmla="*/ 11686233 w 11731364"/>
                <a:gd name="connsiteY16" fmla="*/ 769044 h 2890922"/>
                <a:gd name="connsiteX17" fmla="*/ 11696282 w 11731364"/>
                <a:gd name="connsiteY17" fmla="*/ 2336587 h 2890922"/>
                <a:gd name="connsiteX18" fmla="*/ 11686233 w 11731364"/>
                <a:gd name="connsiteY18" fmla="*/ 2828956 h 2890922"/>
                <a:gd name="connsiteX19" fmla="*/ 10912510 w 11731364"/>
                <a:gd name="connsiteY19" fmla="*/ 2859101 h 2890922"/>
                <a:gd name="connsiteX20" fmla="*/ 10008159 w 11731364"/>
                <a:gd name="connsiteY20" fmla="*/ 2859101 h 2890922"/>
                <a:gd name="connsiteX21" fmla="*/ 9435402 w 11731364"/>
                <a:gd name="connsiteY21" fmla="*/ 2859101 h 2890922"/>
                <a:gd name="connsiteX22" fmla="*/ 7365442 w 11731364"/>
                <a:gd name="connsiteY22" fmla="*/ 2818908 h 2890922"/>
                <a:gd name="connsiteX23" fmla="*/ 6742444 w 11731364"/>
                <a:gd name="connsiteY23" fmla="*/ 2839004 h 2890922"/>
                <a:gd name="connsiteX24" fmla="*/ 6601767 w 11731364"/>
                <a:gd name="connsiteY24" fmla="*/ 2828956 h 2890922"/>
                <a:gd name="connsiteX25" fmla="*/ 4783016 w 11731364"/>
                <a:gd name="connsiteY25" fmla="*/ 2879198 h 2890922"/>
                <a:gd name="connsiteX26" fmla="*/ 3938954 w 11731364"/>
                <a:gd name="connsiteY26" fmla="*/ 2859101 h 2890922"/>
                <a:gd name="connsiteX27" fmla="*/ 2944167 w 11731364"/>
                <a:gd name="connsiteY27" fmla="*/ 2839004 h 2890922"/>
                <a:gd name="connsiteX28" fmla="*/ 1889090 w 11731364"/>
                <a:gd name="connsiteY28" fmla="*/ 2849053 h 2890922"/>
                <a:gd name="connsiteX29" fmla="*/ 522515 w 11731364"/>
                <a:gd name="connsiteY29" fmla="*/ 2869149 h 2890922"/>
                <a:gd name="connsiteX30" fmla="*/ 10048 w 11731364"/>
                <a:gd name="connsiteY30" fmla="*/ 2839005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637882 w 11731364"/>
                <a:gd name="connsiteY3" fmla="*/ 45562 h 2890922"/>
                <a:gd name="connsiteX4" fmla="*/ 2019719 w 11731364"/>
                <a:gd name="connsiteY4" fmla="*/ 45562 h 2890922"/>
                <a:gd name="connsiteX5" fmla="*/ 4531807 w 11731364"/>
                <a:gd name="connsiteY5" fmla="*/ 65659 h 2890922"/>
                <a:gd name="connsiteX6" fmla="*/ 4572000 w 11731364"/>
                <a:gd name="connsiteY6" fmla="*/ 75708 h 2890922"/>
                <a:gd name="connsiteX7" fmla="*/ 6300317 w 11731364"/>
                <a:gd name="connsiteY7" fmla="*/ 95804 h 2890922"/>
                <a:gd name="connsiteX8" fmla="*/ 7063991 w 11731364"/>
                <a:gd name="connsiteY8" fmla="*/ 65659 h 2890922"/>
                <a:gd name="connsiteX9" fmla="*/ 7807570 w 11731364"/>
                <a:gd name="connsiteY9" fmla="*/ 65659 h 2890922"/>
                <a:gd name="connsiteX10" fmla="*/ 8098972 w 11731364"/>
                <a:gd name="connsiteY10" fmla="*/ 95804 h 2890922"/>
                <a:gd name="connsiteX11" fmla="*/ 9485644 w 11731364"/>
                <a:gd name="connsiteY11" fmla="*/ 95804 h 2890922"/>
                <a:gd name="connsiteX12" fmla="*/ 9827288 w 11731364"/>
                <a:gd name="connsiteY12" fmla="*/ 65659 h 2890922"/>
                <a:gd name="connsiteX13" fmla="*/ 10671350 w 11731364"/>
                <a:gd name="connsiteY13" fmla="*/ 35514 h 2890922"/>
                <a:gd name="connsiteX14" fmla="*/ 11615895 w 11731364"/>
                <a:gd name="connsiteY14" fmla="*/ 55611 h 2890922"/>
                <a:gd name="connsiteX15" fmla="*/ 11686233 w 11731364"/>
                <a:gd name="connsiteY15" fmla="*/ 769044 h 2890922"/>
                <a:gd name="connsiteX16" fmla="*/ 11696282 w 11731364"/>
                <a:gd name="connsiteY16" fmla="*/ 2336587 h 2890922"/>
                <a:gd name="connsiteX17" fmla="*/ 11686233 w 11731364"/>
                <a:gd name="connsiteY17" fmla="*/ 2828956 h 2890922"/>
                <a:gd name="connsiteX18" fmla="*/ 10912510 w 11731364"/>
                <a:gd name="connsiteY18" fmla="*/ 2859101 h 2890922"/>
                <a:gd name="connsiteX19" fmla="*/ 10008159 w 11731364"/>
                <a:gd name="connsiteY19" fmla="*/ 2859101 h 2890922"/>
                <a:gd name="connsiteX20" fmla="*/ 9435402 w 11731364"/>
                <a:gd name="connsiteY20" fmla="*/ 2859101 h 2890922"/>
                <a:gd name="connsiteX21" fmla="*/ 7365442 w 11731364"/>
                <a:gd name="connsiteY21" fmla="*/ 2818908 h 2890922"/>
                <a:gd name="connsiteX22" fmla="*/ 6742444 w 11731364"/>
                <a:gd name="connsiteY22" fmla="*/ 2839004 h 2890922"/>
                <a:gd name="connsiteX23" fmla="*/ 6601767 w 11731364"/>
                <a:gd name="connsiteY23" fmla="*/ 2828956 h 2890922"/>
                <a:gd name="connsiteX24" fmla="*/ 4783016 w 11731364"/>
                <a:gd name="connsiteY24" fmla="*/ 2879198 h 2890922"/>
                <a:gd name="connsiteX25" fmla="*/ 3938954 w 11731364"/>
                <a:gd name="connsiteY25" fmla="*/ 2859101 h 2890922"/>
                <a:gd name="connsiteX26" fmla="*/ 2944167 w 11731364"/>
                <a:gd name="connsiteY26" fmla="*/ 2839004 h 2890922"/>
                <a:gd name="connsiteX27" fmla="*/ 1889090 w 11731364"/>
                <a:gd name="connsiteY27" fmla="*/ 2849053 h 2890922"/>
                <a:gd name="connsiteX28" fmla="*/ 522515 w 11731364"/>
                <a:gd name="connsiteY28" fmla="*/ 2869149 h 2890922"/>
                <a:gd name="connsiteX29" fmla="*/ 10048 w 11731364"/>
                <a:gd name="connsiteY29" fmla="*/ 2839005 h 2890922"/>
                <a:gd name="connsiteX0" fmla="*/ 0 w 11731364"/>
                <a:gd name="connsiteY0" fmla="*/ 55611 h 2890922"/>
                <a:gd name="connsiteX1" fmla="*/ 552660 w 11731364"/>
                <a:gd name="connsiteY1" fmla="*/ 35514 h 2890922"/>
                <a:gd name="connsiteX2" fmla="*/ 1637882 w 11731364"/>
                <a:gd name="connsiteY2" fmla="*/ 45562 h 2890922"/>
                <a:gd name="connsiteX3" fmla="*/ 2019719 w 11731364"/>
                <a:gd name="connsiteY3" fmla="*/ 45562 h 2890922"/>
                <a:gd name="connsiteX4" fmla="*/ 4531807 w 11731364"/>
                <a:gd name="connsiteY4" fmla="*/ 65659 h 2890922"/>
                <a:gd name="connsiteX5" fmla="*/ 4572000 w 11731364"/>
                <a:gd name="connsiteY5" fmla="*/ 75708 h 2890922"/>
                <a:gd name="connsiteX6" fmla="*/ 6300317 w 11731364"/>
                <a:gd name="connsiteY6" fmla="*/ 95804 h 2890922"/>
                <a:gd name="connsiteX7" fmla="*/ 7063991 w 11731364"/>
                <a:gd name="connsiteY7" fmla="*/ 65659 h 2890922"/>
                <a:gd name="connsiteX8" fmla="*/ 7807570 w 11731364"/>
                <a:gd name="connsiteY8" fmla="*/ 65659 h 2890922"/>
                <a:gd name="connsiteX9" fmla="*/ 8098972 w 11731364"/>
                <a:gd name="connsiteY9" fmla="*/ 95804 h 2890922"/>
                <a:gd name="connsiteX10" fmla="*/ 9485644 w 11731364"/>
                <a:gd name="connsiteY10" fmla="*/ 95804 h 2890922"/>
                <a:gd name="connsiteX11" fmla="*/ 9827288 w 11731364"/>
                <a:gd name="connsiteY11" fmla="*/ 65659 h 2890922"/>
                <a:gd name="connsiteX12" fmla="*/ 10671350 w 11731364"/>
                <a:gd name="connsiteY12" fmla="*/ 35514 h 2890922"/>
                <a:gd name="connsiteX13" fmla="*/ 11615895 w 11731364"/>
                <a:gd name="connsiteY13" fmla="*/ 55611 h 2890922"/>
                <a:gd name="connsiteX14" fmla="*/ 11686233 w 11731364"/>
                <a:gd name="connsiteY14" fmla="*/ 769044 h 2890922"/>
                <a:gd name="connsiteX15" fmla="*/ 11696282 w 11731364"/>
                <a:gd name="connsiteY15" fmla="*/ 2336587 h 2890922"/>
                <a:gd name="connsiteX16" fmla="*/ 11686233 w 11731364"/>
                <a:gd name="connsiteY16" fmla="*/ 2828956 h 2890922"/>
                <a:gd name="connsiteX17" fmla="*/ 10912510 w 11731364"/>
                <a:gd name="connsiteY17" fmla="*/ 2859101 h 2890922"/>
                <a:gd name="connsiteX18" fmla="*/ 10008159 w 11731364"/>
                <a:gd name="connsiteY18" fmla="*/ 2859101 h 2890922"/>
                <a:gd name="connsiteX19" fmla="*/ 9435402 w 11731364"/>
                <a:gd name="connsiteY19" fmla="*/ 2859101 h 2890922"/>
                <a:gd name="connsiteX20" fmla="*/ 7365442 w 11731364"/>
                <a:gd name="connsiteY20" fmla="*/ 2818908 h 2890922"/>
                <a:gd name="connsiteX21" fmla="*/ 6742444 w 11731364"/>
                <a:gd name="connsiteY21" fmla="*/ 2839004 h 2890922"/>
                <a:gd name="connsiteX22" fmla="*/ 6601767 w 11731364"/>
                <a:gd name="connsiteY22" fmla="*/ 2828956 h 2890922"/>
                <a:gd name="connsiteX23" fmla="*/ 4783016 w 11731364"/>
                <a:gd name="connsiteY23" fmla="*/ 2879198 h 2890922"/>
                <a:gd name="connsiteX24" fmla="*/ 3938954 w 11731364"/>
                <a:gd name="connsiteY24" fmla="*/ 2859101 h 2890922"/>
                <a:gd name="connsiteX25" fmla="*/ 2944167 w 11731364"/>
                <a:gd name="connsiteY25" fmla="*/ 2839004 h 2890922"/>
                <a:gd name="connsiteX26" fmla="*/ 1889090 w 11731364"/>
                <a:gd name="connsiteY26" fmla="*/ 2849053 h 2890922"/>
                <a:gd name="connsiteX27" fmla="*/ 522515 w 11731364"/>
                <a:gd name="connsiteY27" fmla="*/ 2869149 h 2890922"/>
                <a:gd name="connsiteX28" fmla="*/ 10048 w 11731364"/>
                <a:gd name="connsiteY28" fmla="*/ 2839005 h 2890922"/>
                <a:gd name="connsiteX0" fmla="*/ 0 w 11731364"/>
                <a:gd name="connsiteY0" fmla="*/ 55611 h 2890922"/>
                <a:gd name="connsiteX1" fmla="*/ 552660 w 11731364"/>
                <a:gd name="connsiteY1" fmla="*/ 35514 h 2890922"/>
                <a:gd name="connsiteX2" fmla="*/ 1637882 w 11731364"/>
                <a:gd name="connsiteY2" fmla="*/ 45562 h 2890922"/>
                <a:gd name="connsiteX3" fmla="*/ 2019719 w 11731364"/>
                <a:gd name="connsiteY3" fmla="*/ 45562 h 2890922"/>
                <a:gd name="connsiteX4" fmla="*/ 4531807 w 11731364"/>
                <a:gd name="connsiteY4" fmla="*/ 65659 h 2890922"/>
                <a:gd name="connsiteX5" fmla="*/ 6300317 w 11731364"/>
                <a:gd name="connsiteY5" fmla="*/ 95804 h 2890922"/>
                <a:gd name="connsiteX6" fmla="*/ 7063991 w 11731364"/>
                <a:gd name="connsiteY6" fmla="*/ 65659 h 2890922"/>
                <a:gd name="connsiteX7" fmla="*/ 7807570 w 11731364"/>
                <a:gd name="connsiteY7" fmla="*/ 65659 h 2890922"/>
                <a:gd name="connsiteX8" fmla="*/ 8098972 w 11731364"/>
                <a:gd name="connsiteY8" fmla="*/ 95804 h 2890922"/>
                <a:gd name="connsiteX9" fmla="*/ 9485644 w 11731364"/>
                <a:gd name="connsiteY9" fmla="*/ 95804 h 2890922"/>
                <a:gd name="connsiteX10" fmla="*/ 9827288 w 11731364"/>
                <a:gd name="connsiteY10" fmla="*/ 65659 h 2890922"/>
                <a:gd name="connsiteX11" fmla="*/ 10671350 w 11731364"/>
                <a:gd name="connsiteY11" fmla="*/ 35514 h 2890922"/>
                <a:gd name="connsiteX12" fmla="*/ 11615895 w 11731364"/>
                <a:gd name="connsiteY12" fmla="*/ 55611 h 2890922"/>
                <a:gd name="connsiteX13" fmla="*/ 11686233 w 11731364"/>
                <a:gd name="connsiteY13" fmla="*/ 769044 h 2890922"/>
                <a:gd name="connsiteX14" fmla="*/ 11696282 w 11731364"/>
                <a:gd name="connsiteY14" fmla="*/ 2336587 h 2890922"/>
                <a:gd name="connsiteX15" fmla="*/ 11686233 w 11731364"/>
                <a:gd name="connsiteY15" fmla="*/ 2828956 h 2890922"/>
                <a:gd name="connsiteX16" fmla="*/ 10912510 w 11731364"/>
                <a:gd name="connsiteY16" fmla="*/ 2859101 h 2890922"/>
                <a:gd name="connsiteX17" fmla="*/ 10008159 w 11731364"/>
                <a:gd name="connsiteY17" fmla="*/ 2859101 h 2890922"/>
                <a:gd name="connsiteX18" fmla="*/ 9435402 w 11731364"/>
                <a:gd name="connsiteY18" fmla="*/ 2859101 h 2890922"/>
                <a:gd name="connsiteX19" fmla="*/ 7365442 w 11731364"/>
                <a:gd name="connsiteY19" fmla="*/ 2818908 h 2890922"/>
                <a:gd name="connsiteX20" fmla="*/ 6742444 w 11731364"/>
                <a:gd name="connsiteY20" fmla="*/ 2839004 h 2890922"/>
                <a:gd name="connsiteX21" fmla="*/ 6601767 w 11731364"/>
                <a:gd name="connsiteY21" fmla="*/ 2828956 h 2890922"/>
                <a:gd name="connsiteX22" fmla="*/ 4783016 w 11731364"/>
                <a:gd name="connsiteY22" fmla="*/ 2879198 h 2890922"/>
                <a:gd name="connsiteX23" fmla="*/ 3938954 w 11731364"/>
                <a:gd name="connsiteY23" fmla="*/ 2859101 h 2890922"/>
                <a:gd name="connsiteX24" fmla="*/ 2944167 w 11731364"/>
                <a:gd name="connsiteY24" fmla="*/ 2839004 h 2890922"/>
                <a:gd name="connsiteX25" fmla="*/ 1889090 w 11731364"/>
                <a:gd name="connsiteY25" fmla="*/ 2849053 h 2890922"/>
                <a:gd name="connsiteX26" fmla="*/ 522515 w 11731364"/>
                <a:gd name="connsiteY26" fmla="*/ 2869149 h 2890922"/>
                <a:gd name="connsiteX27" fmla="*/ 10048 w 11731364"/>
                <a:gd name="connsiteY27" fmla="*/ 2839005 h 2890922"/>
                <a:gd name="connsiteX0" fmla="*/ 0 w 11731364"/>
                <a:gd name="connsiteY0" fmla="*/ 55611 h 2890922"/>
                <a:gd name="connsiteX1" fmla="*/ 552660 w 11731364"/>
                <a:gd name="connsiteY1" fmla="*/ 35514 h 2890922"/>
                <a:gd name="connsiteX2" fmla="*/ 1637882 w 11731364"/>
                <a:gd name="connsiteY2" fmla="*/ 45562 h 2890922"/>
                <a:gd name="connsiteX3" fmla="*/ 2019719 w 11731364"/>
                <a:gd name="connsiteY3" fmla="*/ 45562 h 2890922"/>
                <a:gd name="connsiteX4" fmla="*/ 4531807 w 11731364"/>
                <a:gd name="connsiteY4" fmla="*/ 65659 h 2890922"/>
                <a:gd name="connsiteX5" fmla="*/ 6300317 w 11731364"/>
                <a:gd name="connsiteY5" fmla="*/ 95804 h 2890922"/>
                <a:gd name="connsiteX6" fmla="*/ 7063991 w 11731364"/>
                <a:gd name="connsiteY6" fmla="*/ 65659 h 2890922"/>
                <a:gd name="connsiteX7" fmla="*/ 8098972 w 11731364"/>
                <a:gd name="connsiteY7" fmla="*/ 95804 h 2890922"/>
                <a:gd name="connsiteX8" fmla="*/ 9485644 w 11731364"/>
                <a:gd name="connsiteY8" fmla="*/ 95804 h 2890922"/>
                <a:gd name="connsiteX9" fmla="*/ 9827288 w 11731364"/>
                <a:gd name="connsiteY9" fmla="*/ 65659 h 2890922"/>
                <a:gd name="connsiteX10" fmla="*/ 10671350 w 11731364"/>
                <a:gd name="connsiteY10" fmla="*/ 35514 h 2890922"/>
                <a:gd name="connsiteX11" fmla="*/ 11615895 w 11731364"/>
                <a:gd name="connsiteY11" fmla="*/ 55611 h 2890922"/>
                <a:gd name="connsiteX12" fmla="*/ 11686233 w 11731364"/>
                <a:gd name="connsiteY12" fmla="*/ 769044 h 2890922"/>
                <a:gd name="connsiteX13" fmla="*/ 11696282 w 11731364"/>
                <a:gd name="connsiteY13" fmla="*/ 2336587 h 2890922"/>
                <a:gd name="connsiteX14" fmla="*/ 11686233 w 11731364"/>
                <a:gd name="connsiteY14" fmla="*/ 2828956 h 2890922"/>
                <a:gd name="connsiteX15" fmla="*/ 10912510 w 11731364"/>
                <a:gd name="connsiteY15" fmla="*/ 2859101 h 2890922"/>
                <a:gd name="connsiteX16" fmla="*/ 10008159 w 11731364"/>
                <a:gd name="connsiteY16" fmla="*/ 2859101 h 2890922"/>
                <a:gd name="connsiteX17" fmla="*/ 9435402 w 11731364"/>
                <a:gd name="connsiteY17" fmla="*/ 2859101 h 2890922"/>
                <a:gd name="connsiteX18" fmla="*/ 7365442 w 11731364"/>
                <a:gd name="connsiteY18" fmla="*/ 2818908 h 2890922"/>
                <a:gd name="connsiteX19" fmla="*/ 6742444 w 11731364"/>
                <a:gd name="connsiteY19" fmla="*/ 2839004 h 2890922"/>
                <a:gd name="connsiteX20" fmla="*/ 6601767 w 11731364"/>
                <a:gd name="connsiteY20" fmla="*/ 2828956 h 2890922"/>
                <a:gd name="connsiteX21" fmla="*/ 4783016 w 11731364"/>
                <a:gd name="connsiteY21" fmla="*/ 2879198 h 2890922"/>
                <a:gd name="connsiteX22" fmla="*/ 3938954 w 11731364"/>
                <a:gd name="connsiteY22" fmla="*/ 2859101 h 2890922"/>
                <a:gd name="connsiteX23" fmla="*/ 2944167 w 11731364"/>
                <a:gd name="connsiteY23" fmla="*/ 2839004 h 2890922"/>
                <a:gd name="connsiteX24" fmla="*/ 1889090 w 11731364"/>
                <a:gd name="connsiteY24" fmla="*/ 2849053 h 2890922"/>
                <a:gd name="connsiteX25" fmla="*/ 522515 w 11731364"/>
                <a:gd name="connsiteY25" fmla="*/ 2869149 h 2890922"/>
                <a:gd name="connsiteX26" fmla="*/ 10048 w 11731364"/>
                <a:gd name="connsiteY26" fmla="*/ 2839005 h 2890922"/>
                <a:gd name="connsiteX0" fmla="*/ 0 w 11731364"/>
                <a:gd name="connsiteY0" fmla="*/ 36371 h 2871682"/>
                <a:gd name="connsiteX1" fmla="*/ 552660 w 11731364"/>
                <a:gd name="connsiteY1" fmla="*/ 16274 h 2871682"/>
                <a:gd name="connsiteX2" fmla="*/ 1637882 w 11731364"/>
                <a:gd name="connsiteY2" fmla="*/ 26322 h 2871682"/>
                <a:gd name="connsiteX3" fmla="*/ 2019719 w 11731364"/>
                <a:gd name="connsiteY3" fmla="*/ 26322 h 2871682"/>
                <a:gd name="connsiteX4" fmla="*/ 4531807 w 11731364"/>
                <a:gd name="connsiteY4" fmla="*/ 46419 h 2871682"/>
                <a:gd name="connsiteX5" fmla="*/ 6300317 w 11731364"/>
                <a:gd name="connsiteY5" fmla="*/ 76564 h 2871682"/>
                <a:gd name="connsiteX6" fmla="*/ 7063991 w 11731364"/>
                <a:gd name="connsiteY6" fmla="*/ 46419 h 2871682"/>
                <a:gd name="connsiteX7" fmla="*/ 8098972 w 11731364"/>
                <a:gd name="connsiteY7" fmla="*/ 76564 h 2871682"/>
                <a:gd name="connsiteX8" fmla="*/ 9485644 w 11731364"/>
                <a:gd name="connsiteY8" fmla="*/ 76564 h 2871682"/>
                <a:gd name="connsiteX9" fmla="*/ 9827288 w 11731364"/>
                <a:gd name="connsiteY9" fmla="*/ 46419 h 2871682"/>
                <a:gd name="connsiteX10" fmla="*/ 10671350 w 11731364"/>
                <a:gd name="connsiteY10" fmla="*/ 16274 h 2871682"/>
                <a:gd name="connsiteX11" fmla="*/ 11615895 w 11731364"/>
                <a:gd name="connsiteY11" fmla="*/ 66517 h 2871682"/>
                <a:gd name="connsiteX12" fmla="*/ 11686233 w 11731364"/>
                <a:gd name="connsiteY12" fmla="*/ 749804 h 2871682"/>
                <a:gd name="connsiteX13" fmla="*/ 11696282 w 11731364"/>
                <a:gd name="connsiteY13" fmla="*/ 2317347 h 2871682"/>
                <a:gd name="connsiteX14" fmla="*/ 11686233 w 11731364"/>
                <a:gd name="connsiteY14" fmla="*/ 2809716 h 2871682"/>
                <a:gd name="connsiteX15" fmla="*/ 10912510 w 11731364"/>
                <a:gd name="connsiteY15" fmla="*/ 2839861 h 2871682"/>
                <a:gd name="connsiteX16" fmla="*/ 10008159 w 11731364"/>
                <a:gd name="connsiteY16" fmla="*/ 2839861 h 2871682"/>
                <a:gd name="connsiteX17" fmla="*/ 9435402 w 11731364"/>
                <a:gd name="connsiteY17" fmla="*/ 2839861 h 2871682"/>
                <a:gd name="connsiteX18" fmla="*/ 7365442 w 11731364"/>
                <a:gd name="connsiteY18" fmla="*/ 2799668 h 2871682"/>
                <a:gd name="connsiteX19" fmla="*/ 6742444 w 11731364"/>
                <a:gd name="connsiteY19" fmla="*/ 2819764 h 2871682"/>
                <a:gd name="connsiteX20" fmla="*/ 6601767 w 11731364"/>
                <a:gd name="connsiteY20" fmla="*/ 2809716 h 2871682"/>
                <a:gd name="connsiteX21" fmla="*/ 4783016 w 11731364"/>
                <a:gd name="connsiteY21" fmla="*/ 2859958 h 2871682"/>
                <a:gd name="connsiteX22" fmla="*/ 3938954 w 11731364"/>
                <a:gd name="connsiteY22" fmla="*/ 2839861 h 2871682"/>
                <a:gd name="connsiteX23" fmla="*/ 2944167 w 11731364"/>
                <a:gd name="connsiteY23" fmla="*/ 2819764 h 2871682"/>
                <a:gd name="connsiteX24" fmla="*/ 1889090 w 11731364"/>
                <a:gd name="connsiteY24" fmla="*/ 2829813 h 2871682"/>
                <a:gd name="connsiteX25" fmla="*/ 522515 w 11731364"/>
                <a:gd name="connsiteY25" fmla="*/ 2849909 h 2871682"/>
                <a:gd name="connsiteX26" fmla="*/ 10048 w 11731364"/>
                <a:gd name="connsiteY26" fmla="*/ 2819765 h 2871682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522515 w 11731364"/>
                <a:gd name="connsiteY25" fmla="*/ 2853113 h 2874886"/>
                <a:gd name="connsiteX26" fmla="*/ 10048 w 11731364"/>
                <a:gd name="connsiteY26" fmla="*/ 2822969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522515 w 11731364"/>
                <a:gd name="connsiteY25" fmla="*/ 2853113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1311934 w 11731364"/>
                <a:gd name="connsiteY25" fmla="*/ 2812919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72846 w 11731364"/>
                <a:gd name="connsiteY25" fmla="*/ 2772725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22882 w 11731364"/>
                <a:gd name="connsiteY25" fmla="*/ 2843063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12890 w 11731364"/>
                <a:gd name="connsiteY25" fmla="*/ 2812918 h 2874886"/>
                <a:gd name="connsiteX0" fmla="*/ 0 w 11795893"/>
                <a:gd name="connsiteY0" fmla="*/ 28410 h 2863721"/>
                <a:gd name="connsiteX1" fmla="*/ 552660 w 11795893"/>
                <a:gd name="connsiteY1" fmla="*/ 8313 h 2863721"/>
                <a:gd name="connsiteX2" fmla="*/ 1637882 w 11795893"/>
                <a:gd name="connsiteY2" fmla="*/ 18361 h 2863721"/>
                <a:gd name="connsiteX3" fmla="*/ 2019719 w 11795893"/>
                <a:gd name="connsiteY3" fmla="*/ 18361 h 2863721"/>
                <a:gd name="connsiteX4" fmla="*/ 4531807 w 11795893"/>
                <a:gd name="connsiteY4" fmla="*/ 38458 h 2863721"/>
                <a:gd name="connsiteX5" fmla="*/ 6300317 w 11795893"/>
                <a:gd name="connsiteY5" fmla="*/ 68603 h 2863721"/>
                <a:gd name="connsiteX6" fmla="*/ 7063991 w 11795893"/>
                <a:gd name="connsiteY6" fmla="*/ 38458 h 2863721"/>
                <a:gd name="connsiteX7" fmla="*/ 8098972 w 11795893"/>
                <a:gd name="connsiteY7" fmla="*/ 68603 h 2863721"/>
                <a:gd name="connsiteX8" fmla="*/ 9485644 w 11795893"/>
                <a:gd name="connsiteY8" fmla="*/ 68603 h 2863721"/>
                <a:gd name="connsiteX9" fmla="*/ 9827288 w 11795893"/>
                <a:gd name="connsiteY9" fmla="*/ 38458 h 2863721"/>
                <a:gd name="connsiteX10" fmla="*/ 10671350 w 11795893"/>
                <a:gd name="connsiteY10" fmla="*/ 8313 h 2863721"/>
                <a:gd name="connsiteX11" fmla="*/ 11615895 w 11795893"/>
                <a:gd name="connsiteY11" fmla="*/ 58556 h 2863721"/>
                <a:gd name="connsiteX12" fmla="*/ 11686233 w 11795893"/>
                <a:gd name="connsiteY12" fmla="*/ 741843 h 2863721"/>
                <a:gd name="connsiteX13" fmla="*/ 11696282 w 11795893"/>
                <a:gd name="connsiteY13" fmla="*/ 2309386 h 2863721"/>
                <a:gd name="connsiteX14" fmla="*/ 11686233 w 11795893"/>
                <a:gd name="connsiteY14" fmla="*/ 2801755 h 2863721"/>
                <a:gd name="connsiteX15" fmla="*/ 10912510 w 11795893"/>
                <a:gd name="connsiteY15" fmla="*/ 2831900 h 2863721"/>
                <a:gd name="connsiteX16" fmla="*/ 10008159 w 11795893"/>
                <a:gd name="connsiteY16" fmla="*/ 2831900 h 2863721"/>
                <a:gd name="connsiteX17" fmla="*/ 9435402 w 11795893"/>
                <a:gd name="connsiteY17" fmla="*/ 2831900 h 2863721"/>
                <a:gd name="connsiteX18" fmla="*/ 7365442 w 11795893"/>
                <a:gd name="connsiteY18" fmla="*/ 2791707 h 2863721"/>
                <a:gd name="connsiteX19" fmla="*/ 6742444 w 11795893"/>
                <a:gd name="connsiteY19" fmla="*/ 2811803 h 2863721"/>
                <a:gd name="connsiteX20" fmla="*/ 6601767 w 11795893"/>
                <a:gd name="connsiteY20" fmla="*/ 2801755 h 2863721"/>
                <a:gd name="connsiteX21" fmla="*/ 4783016 w 11795893"/>
                <a:gd name="connsiteY21" fmla="*/ 2851997 h 2863721"/>
                <a:gd name="connsiteX22" fmla="*/ 3938954 w 11795893"/>
                <a:gd name="connsiteY22" fmla="*/ 2831900 h 2863721"/>
                <a:gd name="connsiteX23" fmla="*/ 2944167 w 11795893"/>
                <a:gd name="connsiteY23" fmla="*/ 2811803 h 2863721"/>
                <a:gd name="connsiteX24" fmla="*/ 1889090 w 11795893"/>
                <a:gd name="connsiteY24" fmla="*/ 2821852 h 2863721"/>
                <a:gd name="connsiteX25" fmla="*/ 12890 w 11795893"/>
                <a:gd name="connsiteY25" fmla="*/ 2801753 h 2863721"/>
                <a:gd name="connsiteX0" fmla="*/ 0 w 11731364"/>
                <a:gd name="connsiteY0" fmla="*/ 152690 h 2988001"/>
                <a:gd name="connsiteX1" fmla="*/ 552660 w 11731364"/>
                <a:gd name="connsiteY1" fmla="*/ 132593 h 2988001"/>
                <a:gd name="connsiteX2" fmla="*/ 1637882 w 11731364"/>
                <a:gd name="connsiteY2" fmla="*/ 142641 h 2988001"/>
                <a:gd name="connsiteX3" fmla="*/ 2019719 w 11731364"/>
                <a:gd name="connsiteY3" fmla="*/ 142641 h 2988001"/>
                <a:gd name="connsiteX4" fmla="*/ 4531807 w 11731364"/>
                <a:gd name="connsiteY4" fmla="*/ 162738 h 2988001"/>
                <a:gd name="connsiteX5" fmla="*/ 6300317 w 11731364"/>
                <a:gd name="connsiteY5" fmla="*/ 192883 h 2988001"/>
                <a:gd name="connsiteX6" fmla="*/ 7063991 w 11731364"/>
                <a:gd name="connsiteY6" fmla="*/ 162738 h 2988001"/>
                <a:gd name="connsiteX7" fmla="*/ 8098972 w 11731364"/>
                <a:gd name="connsiteY7" fmla="*/ 192883 h 2988001"/>
                <a:gd name="connsiteX8" fmla="*/ 9485644 w 11731364"/>
                <a:gd name="connsiteY8" fmla="*/ 192883 h 2988001"/>
                <a:gd name="connsiteX9" fmla="*/ 9827288 w 11731364"/>
                <a:gd name="connsiteY9" fmla="*/ 162738 h 2988001"/>
                <a:gd name="connsiteX10" fmla="*/ 10671350 w 11731364"/>
                <a:gd name="connsiteY10" fmla="*/ 132593 h 2988001"/>
                <a:gd name="connsiteX11" fmla="*/ 11615895 w 11731364"/>
                <a:gd name="connsiteY11" fmla="*/ 182836 h 2988001"/>
                <a:gd name="connsiteX12" fmla="*/ 11696282 w 11731364"/>
                <a:gd name="connsiteY12" fmla="*/ 2433666 h 2988001"/>
                <a:gd name="connsiteX13" fmla="*/ 11686233 w 11731364"/>
                <a:gd name="connsiteY13" fmla="*/ 2926035 h 2988001"/>
                <a:gd name="connsiteX14" fmla="*/ 10912510 w 11731364"/>
                <a:gd name="connsiteY14" fmla="*/ 2956180 h 2988001"/>
                <a:gd name="connsiteX15" fmla="*/ 10008159 w 11731364"/>
                <a:gd name="connsiteY15" fmla="*/ 2956180 h 2988001"/>
                <a:gd name="connsiteX16" fmla="*/ 9435402 w 11731364"/>
                <a:gd name="connsiteY16" fmla="*/ 2956180 h 2988001"/>
                <a:gd name="connsiteX17" fmla="*/ 7365442 w 11731364"/>
                <a:gd name="connsiteY17" fmla="*/ 2915987 h 2988001"/>
                <a:gd name="connsiteX18" fmla="*/ 6742444 w 11731364"/>
                <a:gd name="connsiteY18" fmla="*/ 2936083 h 2988001"/>
                <a:gd name="connsiteX19" fmla="*/ 6601767 w 11731364"/>
                <a:gd name="connsiteY19" fmla="*/ 2926035 h 2988001"/>
                <a:gd name="connsiteX20" fmla="*/ 4783016 w 11731364"/>
                <a:gd name="connsiteY20" fmla="*/ 2976277 h 2988001"/>
                <a:gd name="connsiteX21" fmla="*/ 3938954 w 11731364"/>
                <a:gd name="connsiteY21" fmla="*/ 2956180 h 2988001"/>
                <a:gd name="connsiteX22" fmla="*/ 2944167 w 11731364"/>
                <a:gd name="connsiteY22" fmla="*/ 2936083 h 2988001"/>
                <a:gd name="connsiteX23" fmla="*/ 1889090 w 11731364"/>
                <a:gd name="connsiteY23" fmla="*/ 2946132 h 2988001"/>
                <a:gd name="connsiteX24" fmla="*/ 12890 w 11731364"/>
                <a:gd name="connsiteY24" fmla="*/ 2926033 h 2988001"/>
                <a:gd name="connsiteX0" fmla="*/ 0 w 11761041"/>
                <a:gd name="connsiteY0" fmla="*/ 189003 h 3175501"/>
                <a:gd name="connsiteX1" fmla="*/ 552660 w 11761041"/>
                <a:gd name="connsiteY1" fmla="*/ 168906 h 3175501"/>
                <a:gd name="connsiteX2" fmla="*/ 1637882 w 11761041"/>
                <a:gd name="connsiteY2" fmla="*/ 178954 h 3175501"/>
                <a:gd name="connsiteX3" fmla="*/ 2019719 w 11761041"/>
                <a:gd name="connsiteY3" fmla="*/ 178954 h 3175501"/>
                <a:gd name="connsiteX4" fmla="*/ 4531807 w 11761041"/>
                <a:gd name="connsiteY4" fmla="*/ 199051 h 3175501"/>
                <a:gd name="connsiteX5" fmla="*/ 6300317 w 11761041"/>
                <a:gd name="connsiteY5" fmla="*/ 229196 h 3175501"/>
                <a:gd name="connsiteX6" fmla="*/ 7063991 w 11761041"/>
                <a:gd name="connsiteY6" fmla="*/ 199051 h 3175501"/>
                <a:gd name="connsiteX7" fmla="*/ 8098972 w 11761041"/>
                <a:gd name="connsiteY7" fmla="*/ 229196 h 3175501"/>
                <a:gd name="connsiteX8" fmla="*/ 9485644 w 11761041"/>
                <a:gd name="connsiteY8" fmla="*/ 229196 h 3175501"/>
                <a:gd name="connsiteX9" fmla="*/ 9827288 w 11761041"/>
                <a:gd name="connsiteY9" fmla="*/ 199051 h 3175501"/>
                <a:gd name="connsiteX10" fmla="*/ 10671350 w 11761041"/>
                <a:gd name="connsiteY10" fmla="*/ 168906 h 3175501"/>
                <a:gd name="connsiteX11" fmla="*/ 11615895 w 11761041"/>
                <a:gd name="connsiteY11" fmla="*/ 219149 h 3175501"/>
                <a:gd name="connsiteX12" fmla="*/ 11686233 w 11761041"/>
                <a:gd name="connsiteY12" fmla="*/ 2962348 h 3175501"/>
                <a:gd name="connsiteX13" fmla="*/ 10912510 w 11761041"/>
                <a:gd name="connsiteY13" fmla="*/ 2992493 h 3175501"/>
                <a:gd name="connsiteX14" fmla="*/ 10008159 w 11761041"/>
                <a:gd name="connsiteY14" fmla="*/ 2992493 h 3175501"/>
                <a:gd name="connsiteX15" fmla="*/ 9435402 w 11761041"/>
                <a:gd name="connsiteY15" fmla="*/ 2992493 h 3175501"/>
                <a:gd name="connsiteX16" fmla="*/ 7365442 w 11761041"/>
                <a:gd name="connsiteY16" fmla="*/ 2952300 h 3175501"/>
                <a:gd name="connsiteX17" fmla="*/ 6742444 w 11761041"/>
                <a:gd name="connsiteY17" fmla="*/ 2972396 h 3175501"/>
                <a:gd name="connsiteX18" fmla="*/ 6601767 w 11761041"/>
                <a:gd name="connsiteY18" fmla="*/ 2962348 h 3175501"/>
                <a:gd name="connsiteX19" fmla="*/ 4783016 w 11761041"/>
                <a:gd name="connsiteY19" fmla="*/ 3012590 h 3175501"/>
                <a:gd name="connsiteX20" fmla="*/ 3938954 w 11761041"/>
                <a:gd name="connsiteY20" fmla="*/ 2992493 h 3175501"/>
                <a:gd name="connsiteX21" fmla="*/ 2944167 w 11761041"/>
                <a:gd name="connsiteY21" fmla="*/ 2972396 h 3175501"/>
                <a:gd name="connsiteX22" fmla="*/ 1889090 w 11761041"/>
                <a:gd name="connsiteY22" fmla="*/ 2982445 h 3175501"/>
                <a:gd name="connsiteX23" fmla="*/ 12890 w 11761041"/>
                <a:gd name="connsiteY23" fmla="*/ 2962346 h 3175501"/>
                <a:gd name="connsiteX0" fmla="*/ 0 w 11837985"/>
                <a:gd name="connsiteY0" fmla="*/ 32082 h 2997028"/>
                <a:gd name="connsiteX1" fmla="*/ 552660 w 11837985"/>
                <a:gd name="connsiteY1" fmla="*/ 11985 h 2997028"/>
                <a:gd name="connsiteX2" fmla="*/ 1637882 w 11837985"/>
                <a:gd name="connsiteY2" fmla="*/ 22033 h 2997028"/>
                <a:gd name="connsiteX3" fmla="*/ 2019719 w 11837985"/>
                <a:gd name="connsiteY3" fmla="*/ 22033 h 2997028"/>
                <a:gd name="connsiteX4" fmla="*/ 4531807 w 11837985"/>
                <a:gd name="connsiteY4" fmla="*/ 42130 h 2997028"/>
                <a:gd name="connsiteX5" fmla="*/ 6300317 w 11837985"/>
                <a:gd name="connsiteY5" fmla="*/ 72275 h 2997028"/>
                <a:gd name="connsiteX6" fmla="*/ 7063991 w 11837985"/>
                <a:gd name="connsiteY6" fmla="*/ 42130 h 2997028"/>
                <a:gd name="connsiteX7" fmla="*/ 8098972 w 11837985"/>
                <a:gd name="connsiteY7" fmla="*/ 72275 h 2997028"/>
                <a:gd name="connsiteX8" fmla="*/ 9485644 w 11837985"/>
                <a:gd name="connsiteY8" fmla="*/ 72275 h 2997028"/>
                <a:gd name="connsiteX9" fmla="*/ 9827288 w 11837985"/>
                <a:gd name="connsiteY9" fmla="*/ 42130 h 2997028"/>
                <a:gd name="connsiteX10" fmla="*/ 10671350 w 11837985"/>
                <a:gd name="connsiteY10" fmla="*/ 11985 h 2997028"/>
                <a:gd name="connsiteX11" fmla="*/ 11745799 w 11837985"/>
                <a:gd name="connsiteY11" fmla="*/ 353631 h 2997028"/>
                <a:gd name="connsiteX12" fmla="*/ 11686233 w 11837985"/>
                <a:gd name="connsiteY12" fmla="*/ 2805427 h 2997028"/>
                <a:gd name="connsiteX13" fmla="*/ 10912510 w 11837985"/>
                <a:gd name="connsiteY13" fmla="*/ 2835572 h 2997028"/>
                <a:gd name="connsiteX14" fmla="*/ 10008159 w 11837985"/>
                <a:gd name="connsiteY14" fmla="*/ 2835572 h 2997028"/>
                <a:gd name="connsiteX15" fmla="*/ 9435402 w 11837985"/>
                <a:gd name="connsiteY15" fmla="*/ 2835572 h 2997028"/>
                <a:gd name="connsiteX16" fmla="*/ 7365442 w 11837985"/>
                <a:gd name="connsiteY16" fmla="*/ 2795379 h 2997028"/>
                <a:gd name="connsiteX17" fmla="*/ 6742444 w 11837985"/>
                <a:gd name="connsiteY17" fmla="*/ 2815475 h 2997028"/>
                <a:gd name="connsiteX18" fmla="*/ 6601767 w 11837985"/>
                <a:gd name="connsiteY18" fmla="*/ 2805427 h 2997028"/>
                <a:gd name="connsiteX19" fmla="*/ 4783016 w 11837985"/>
                <a:gd name="connsiteY19" fmla="*/ 2855669 h 2997028"/>
                <a:gd name="connsiteX20" fmla="*/ 3938954 w 11837985"/>
                <a:gd name="connsiteY20" fmla="*/ 2835572 h 2997028"/>
                <a:gd name="connsiteX21" fmla="*/ 2944167 w 11837985"/>
                <a:gd name="connsiteY21" fmla="*/ 2815475 h 2997028"/>
                <a:gd name="connsiteX22" fmla="*/ 1889090 w 11837985"/>
                <a:gd name="connsiteY22" fmla="*/ 2825524 h 2997028"/>
                <a:gd name="connsiteX23" fmla="*/ 12890 w 11837985"/>
                <a:gd name="connsiteY23" fmla="*/ 2805425 h 2997028"/>
                <a:gd name="connsiteX0" fmla="*/ 0 w 11890507"/>
                <a:gd name="connsiteY0" fmla="*/ 20097 h 2985043"/>
                <a:gd name="connsiteX1" fmla="*/ 552660 w 11890507"/>
                <a:gd name="connsiteY1" fmla="*/ 0 h 2985043"/>
                <a:gd name="connsiteX2" fmla="*/ 1637882 w 11890507"/>
                <a:gd name="connsiteY2" fmla="*/ 10048 h 2985043"/>
                <a:gd name="connsiteX3" fmla="*/ 2019719 w 11890507"/>
                <a:gd name="connsiteY3" fmla="*/ 10048 h 2985043"/>
                <a:gd name="connsiteX4" fmla="*/ 4531807 w 11890507"/>
                <a:gd name="connsiteY4" fmla="*/ 30145 h 2985043"/>
                <a:gd name="connsiteX5" fmla="*/ 6300317 w 11890507"/>
                <a:gd name="connsiteY5" fmla="*/ 60290 h 2985043"/>
                <a:gd name="connsiteX6" fmla="*/ 7063991 w 11890507"/>
                <a:gd name="connsiteY6" fmla="*/ 30145 h 2985043"/>
                <a:gd name="connsiteX7" fmla="*/ 8098972 w 11890507"/>
                <a:gd name="connsiteY7" fmla="*/ 60290 h 2985043"/>
                <a:gd name="connsiteX8" fmla="*/ 9485644 w 11890507"/>
                <a:gd name="connsiteY8" fmla="*/ 60290 h 2985043"/>
                <a:gd name="connsiteX9" fmla="*/ 9827288 w 11890507"/>
                <a:gd name="connsiteY9" fmla="*/ 30145 h 2985043"/>
                <a:gd name="connsiteX10" fmla="*/ 10671350 w 11890507"/>
                <a:gd name="connsiteY10" fmla="*/ 0 h 2985043"/>
                <a:gd name="connsiteX11" fmla="*/ 11745799 w 11890507"/>
                <a:gd name="connsiteY11" fmla="*/ 341646 h 2985043"/>
                <a:gd name="connsiteX12" fmla="*/ 11686233 w 11890507"/>
                <a:gd name="connsiteY12" fmla="*/ 2793442 h 2985043"/>
                <a:gd name="connsiteX13" fmla="*/ 10912510 w 11890507"/>
                <a:gd name="connsiteY13" fmla="*/ 2823587 h 2985043"/>
                <a:gd name="connsiteX14" fmla="*/ 10008159 w 11890507"/>
                <a:gd name="connsiteY14" fmla="*/ 2823587 h 2985043"/>
                <a:gd name="connsiteX15" fmla="*/ 9435402 w 11890507"/>
                <a:gd name="connsiteY15" fmla="*/ 2823587 h 2985043"/>
                <a:gd name="connsiteX16" fmla="*/ 7365442 w 11890507"/>
                <a:gd name="connsiteY16" fmla="*/ 2783394 h 2985043"/>
                <a:gd name="connsiteX17" fmla="*/ 6742444 w 11890507"/>
                <a:gd name="connsiteY17" fmla="*/ 2803490 h 2985043"/>
                <a:gd name="connsiteX18" fmla="*/ 6601767 w 11890507"/>
                <a:gd name="connsiteY18" fmla="*/ 2793442 h 2985043"/>
                <a:gd name="connsiteX19" fmla="*/ 4783016 w 11890507"/>
                <a:gd name="connsiteY19" fmla="*/ 2843684 h 2985043"/>
                <a:gd name="connsiteX20" fmla="*/ 3938954 w 11890507"/>
                <a:gd name="connsiteY20" fmla="*/ 2823587 h 2985043"/>
                <a:gd name="connsiteX21" fmla="*/ 2944167 w 11890507"/>
                <a:gd name="connsiteY21" fmla="*/ 2803490 h 2985043"/>
                <a:gd name="connsiteX22" fmla="*/ 1889090 w 11890507"/>
                <a:gd name="connsiteY22" fmla="*/ 2813539 h 2985043"/>
                <a:gd name="connsiteX23" fmla="*/ 12890 w 11890507"/>
                <a:gd name="connsiteY23" fmla="*/ 2793440 h 2985043"/>
                <a:gd name="connsiteX0" fmla="*/ 0 w 11888066"/>
                <a:gd name="connsiteY0" fmla="*/ 24726 h 2863208"/>
                <a:gd name="connsiteX1" fmla="*/ 552660 w 11888066"/>
                <a:gd name="connsiteY1" fmla="*/ 4629 h 2863208"/>
                <a:gd name="connsiteX2" fmla="*/ 1637882 w 11888066"/>
                <a:gd name="connsiteY2" fmla="*/ 14677 h 2863208"/>
                <a:gd name="connsiteX3" fmla="*/ 2019719 w 11888066"/>
                <a:gd name="connsiteY3" fmla="*/ 14677 h 2863208"/>
                <a:gd name="connsiteX4" fmla="*/ 4531807 w 11888066"/>
                <a:gd name="connsiteY4" fmla="*/ 34774 h 2863208"/>
                <a:gd name="connsiteX5" fmla="*/ 6300317 w 11888066"/>
                <a:gd name="connsiteY5" fmla="*/ 64919 h 2863208"/>
                <a:gd name="connsiteX6" fmla="*/ 7063991 w 11888066"/>
                <a:gd name="connsiteY6" fmla="*/ 34774 h 2863208"/>
                <a:gd name="connsiteX7" fmla="*/ 8098972 w 11888066"/>
                <a:gd name="connsiteY7" fmla="*/ 64919 h 2863208"/>
                <a:gd name="connsiteX8" fmla="*/ 9485644 w 11888066"/>
                <a:gd name="connsiteY8" fmla="*/ 64919 h 2863208"/>
                <a:gd name="connsiteX9" fmla="*/ 9827288 w 11888066"/>
                <a:gd name="connsiteY9" fmla="*/ 34774 h 2863208"/>
                <a:gd name="connsiteX10" fmla="*/ 10671350 w 11888066"/>
                <a:gd name="connsiteY10" fmla="*/ 4629 h 2863208"/>
                <a:gd name="connsiteX11" fmla="*/ 11745799 w 11888066"/>
                <a:gd name="connsiteY11" fmla="*/ 346275 h 2863208"/>
                <a:gd name="connsiteX12" fmla="*/ 11786160 w 11888066"/>
                <a:gd name="connsiteY12" fmla="*/ 2587055 h 2863208"/>
                <a:gd name="connsiteX13" fmla="*/ 10912510 w 11888066"/>
                <a:gd name="connsiteY13" fmla="*/ 2828216 h 2863208"/>
                <a:gd name="connsiteX14" fmla="*/ 10008159 w 11888066"/>
                <a:gd name="connsiteY14" fmla="*/ 2828216 h 2863208"/>
                <a:gd name="connsiteX15" fmla="*/ 9435402 w 11888066"/>
                <a:gd name="connsiteY15" fmla="*/ 2828216 h 2863208"/>
                <a:gd name="connsiteX16" fmla="*/ 7365442 w 11888066"/>
                <a:gd name="connsiteY16" fmla="*/ 2788023 h 2863208"/>
                <a:gd name="connsiteX17" fmla="*/ 6742444 w 11888066"/>
                <a:gd name="connsiteY17" fmla="*/ 2808119 h 2863208"/>
                <a:gd name="connsiteX18" fmla="*/ 6601767 w 11888066"/>
                <a:gd name="connsiteY18" fmla="*/ 2798071 h 2863208"/>
                <a:gd name="connsiteX19" fmla="*/ 4783016 w 11888066"/>
                <a:gd name="connsiteY19" fmla="*/ 2848313 h 2863208"/>
                <a:gd name="connsiteX20" fmla="*/ 3938954 w 11888066"/>
                <a:gd name="connsiteY20" fmla="*/ 2828216 h 2863208"/>
                <a:gd name="connsiteX21" fmla="*/ 2944167 w 11888066"/>
                <a:gd name="connsiteY21" fmla="*/ 2808119 h 2863208"/>
                <a:gd name="connsiteX22" fmla="*/ 1889090 w 11888066"/>
                <a:gd name="connsiteY22" fmla="*/ 2818168 h 2863208"/>
                <a:gd name="connsiteX23" fmla="*/ 12890 w 11888066"/>
                <a:gd name="connsiteY23" fmla="*/ 2798069 h 2863208"/>
                <a:gd name="connsiteX0" fmla="*/ 0 w 11848891"/>
                <a:gd name="connsiteY0" fmla="*/ 24726 h 2849235"/>
                <a:gd name="connsiteX1" fmla="*/ 552660 w 11848891"/>
                <a:gd name="connsiteY1" fmla="*/ 4629 h 2849235"/>
                <a:gd name="connsiteX2" fmla="*/ 1637882 w 11848891"/>
                <a:gd name="connsiteY2" fmla="*/ 14677 h 2849235"/>
                <a:gd name="connsiteX3" fmla="*/ 2019719 w 11848891"/>
                <a:gd name="connsiteY3" fmla="*/ 14677 h 2849235"/>
                <a:gd name="connsiteX4" fmla="*/ 4531807 w 11848891"/>
                <a:gd name="connsiteY4" fmla="*/ 34774 h 2849235"/>
                <a:gd name="connsiteX5" fmla="*/ 6300317 w 11848891"/>
                <a:gd name="connsiteY5" fmla="*/ 64919 h 2849235"/>
                <a:gd name="connsiteX6" fmla="*/ 7063991 w 11848891"/>
                <a:gd name="connsiteY6" fmla="*/ 34774 h 2849235"/>
                <a:gd name="connsiteX7" fmla="*/ 8098972 w 11848891"/>
                <a:gd name="connsiteY7" fmla="*/ 64919 h 2849235"/>
                <a:gd name="connsiteX8" fmla="*/ 9485644 w 11848891"/>
                <a:gd name="connsiteY8" fmla="*/ 64919 h 2849235"/>
                <a:gd name="connsiteX9" fmla="*/ 9827288 w 11848891"/>
                <a:gd name="connsiteY9" fmla="*/ 34774 h 2849235"/>
                <a:gd name="connsiteX10" fmla="*/ 10671350 w 11848891"/>
                <a:gd name="connsiteY10" fmla="*/ 4629 h 2849235"/>
                <a:gd name="connsiteX11" fmla="*/ 11745799 w 11848891"/>
                <a:gd name="connsiteY11" fmla="*/ 346275 h 2849235"/>
                <a:gd name="connsiteX12" fmla="*/ 11786160 w 11848891"/>
                <a:gd name="connsiteY12" fmla="*/ 2587055 h 2849235"/>
                <a:gd name="connsiteX13" fmla="*/ 10912510 w 11848891"/>
                <a:gd name="connsiteY13" fmla="*/ 2828216 h 2849235"/>
                <a:gd name="connsiteX14" fmla="*/ 10008159 w 11848891"/>
                <a:gd name="connsiteY14" fmla="*/ 2828216 h 2849235"/>
                <a:gd name="connsiteX15" fmla="*/ 9435402 w 11848891"/>
                <a:gd name="connsiteY15" fmla="*/ 2828216 h 2849235"/>
                <a:gd name="connsiteX16" fmla="*/ 7365442 w 11848891"/>
                <a:gd name="connsiteY16" fmla="*/ 2788023 h 2849235"/>
                <a:gd name="connsiteX17" fmla="*/ 6742444 w 11848891"/>
                <a:gd name="connsiteY17" fmla="*/ 2808119 h 2849235"/>
                <a:gd name="connsiteX18" fmla="*/ 6601767 w 11848891"/>
                <a:gd name="connsiteY18" fmla="*/ 2798071 h 2849235"/>
                <a:gd name="connsiteX19" fmla="*/ 4783016 w 11848891"/>
                <a:gd name="connsiteY19" fmla="*/ 2848313 h 2849235"/>
                <a:gd name="connsiteX20" fmla="*/ 3938954 w 11848891"/>
                <a:gd name="connsiteY20" fmla="*/ 2828216 h 2849235"/>
                <a:gd name="connsiteX21" fmla="*/ 2944167 w 11848891"/>
                <a:gd name="connsiteY21" fmla="*/ 2808119 h 2849235"/>
                <a:gd name="connsiteX22" fmla="*/ 1889090 w 11848891"/>
                <a:gd name="connsiteY22" fmla="*/ 2818168 h 2849235"/>
                <a:gd name="connsiteX23" fmla="*/ 12890 w 11848891"/>
                <a:gd name="connsiteY23" fmla="*/ 2798069 h 2849235"/>
                <a:gd name="connsiteX0" fmla="*/ 0 w 11916572"/>
                <a:gd name="connsiteY0" fmla="*/ 24726 h 2849235"/>
                <a:gd name="connsiteX1" fmla="*/ 552660 w 11916572"/>
                <a:gd name="connsiteY1" fmla="*/ 4629 h 2849235"/>
                <a:gd name="connsiteX2" fmla="*/ 1637882 w 11916572"/>
                <a:gd name="connsiteY2" fmla="*/ 14677 h 2849235"/>
                <a:gd name="connsiteX3" fmla="*/ 2019719 w 11916572"/>
                <a:gd name="connsiteY3" fmla="*/ 14677 h 2849235"/>
                <a:gd name="connsiteX4" fmla="*/ 4531807 w 11916572"/>
                <a:gd name="connsiteY4" fmla="*/ 34774 h 2849235"/>
                <a:gd name="connsiteX5" fmla="*/ 6300317 w 11916572"/>
                <a:gd name="connsiteY5" fmla="*/ 64919 h 2849235"/>
                <a:gd name="connsiteX6" fmla="*/ 7063991 w 11916572"/>
                <a:gd name="connsiteY6" fmla="*/ 34774 h 2849235"/>
                <a:gd name="connsiteX7" fmla="*/ 8098972 w 11916572"/>
                <a:gd name="connsiteY7" fmla="*/ 64919 h 2849235"/>
                <a:gd name="connsiteX8" fmla="*/ 9485644 w 11916572"/>
                <a:gd name="connsiteY8" fmla="*/ 64919 h 2849235"/>
                <a:gd name="connsiteX9" fmla="*/ 9827288 w 11916572"/>
                <a:gd name="connsiteY9" fmla="*/ 34774 h 2849235"/>
                <a:gd name="connsiteX10" fmla="*/ 10671350 w 11916572"/>
                <a:gd name="connsiteY10" fmla="*/ 4629 h 2849235"/>
                <a:gd name="connsiteX11" fmla="*/ 11745799 w 11916572"/>
                <a:gd name="connsiteY11" fmla="*/ 346275 h 2849235"/>
                <a:gd name="connsiteX12" fmla="*/ 11786160 w 11916572"/>
                <a:gd name="connsiteY12" fmla="*/ 2587055 h 2849235"/>
                <a:gd name="connsiteX13" fmla="*/ 10912510 w 11916572"/>
                <a:gd name="connsiteY13" fmla="*/ 2828216 h 2849235"/>
                <a:gd name="connsiteX14" fmla="*/ 10008159 w 11916572"/>
                <a:gd name="connsiteY14" fmla="*/ 2828216 h 2849235"/>
                <a:gd name="connsiteX15" fmla="*/ 9435402 w 11916572"/>
                <a:gd name="connsiteY15" fmla="*/ 2828216 h 2849235"/>
                <a:gd name="connsiteX16" fmla="*/ 7365442 w 11916572"/>
                <a:gd name="connsiteY16" fmla="*/ 2788023 h 2849235"/>
                <a:gd name="connsiteX17" fmla="*/ 6742444 w 11916572"/>
                <a:gd name="connsiteY17" fmla="*/ 2808119 h 2849235"/>
                <a:gd name="connsiteX18" fmla="*/ 6601767 w 11916572"/>
                <a:gd name="connsiteY18" fmla="*/ 2798071 h 2849235"/>
                <a:gd name="connsiteX19" fmla="*/ 4783016 w 11916572"/>
                <a:gd name="connsiteY19" fmla="*/ 2848313 h 2849235"/>
                <a:gd name="connsiteX20" fmla="*/ 3938954 w 11916572"/>
                <a:gd name="connsiteY20" fmla="*/ 2828216 h 2849235"/>
                <a:gd name="connsiteX21" fmla="*/ 2944167 w 11916572"/>
                <a:gd name="connsiteY21" fmla="*/ 2808119 h 2849235"/>
                <a:gd name="connsiteX22" fmla="*/ 1889090 w 11916572"/>
                <a:gd name="connsiteY22" fmla="*/ 2818168 h 2849235"/>
                <a:gd name="connsiteX23" fmla="*/ 12890 w 11916572"/>
                <a:gd name="connsiteY23" fmla="*/ 2798069 h 2849235"/>
                <a:gd name="connsiteX0" fmla="*/ 0 w 11936930"/>
                <a:gd name="connsiteY0" fmla="*/ 24726 h 2849235"/>
                <a:gd name="connsiteX1" fmla="*/ 552660 w 11936930"/>
                <a:gd name="connsiteY1" fmla="*/ 4629 h 2849235"/>
                <a:gd name="connsiteX2" fmla="*/ 1637882 w 11936930"/>
                <a:gd name="connsiteY2" fmla="*/ 14677 h 2849235"/>
                <a:gd name="connsiteX3" fmla="*/ 2019719 w 11936930"/>
                <a:gd name="connsiteY3" fmla="*/ 14677 h 2849235"/>
                <a:gd name="connsiteX4" fmla="*/ 4531807 w 11936930"/>
                <a:gd name="connsiteY4" fmla="*/ 34774 h 2849235"/>
                <a:gd name="connsiteX5" fmla="*/ 6300317 w 11936930"/>
                <a:gd name="connsiteY5" fmla="*/ 64919 h 2849235"/>
                <a:gd name="connsiteX6" fmla="*/ 7063991 w 11936930"/>
                <a:gd name="connsiteY6" fmla="*/ 34774 h 2849235"/>
                <a:gd name="connsiteX7" fmla="*/ 8098972 w 11936930"/>
                <a:gd name="connsiteY7" fmla="*/ 64919 h 2849235"/>
                <a:gd name="connsiteX8" fmla="*/ 9485644 w 11936930"/>
                <a:gd name="connsiteY8" fmla="*/ 64919 h 2849235"/>
                <a:gd name="connsiteX9" fmla="*/ 9827288 w 11936930"/>
                <a:gd name="connsiteY9" fmla="*/ 34774 h 2849235"/>
                <a:gd name="connsiteX10" fmla="*/ 10311615 w 11936930"/>
                <a:gd name="connsiteY10" fmla="*/ 4629 h 2849235"/>
                <a:gd name="connsiteX11" fmla="*/ 11745799 w 11936930"/>
                <a:gd name="connsiteY11" fmla="*/ 346275 h 2849235"/>
                <a:gd name="connsiteX12" fmla="*/ 11786160 w 11936930"/>
                <a:gd name="connsiteY12" fmla="*/ 2587055 h 2849235"/>
                <a:gd name="connsiteX13" fmla="*/ 10912510 w 11936930"/>
                <a:gd name="connsiteY13" fmla="*/ 2828216 h 2849235"/>
                <a:gd name="connsiteX14" fmla="*/ 10008159 w 11936930"/>
                <a:gd name="connsiteY14" fmla="*/ 2828216 h 2849235"/>
                <a:gd name="connsiteX15" fmla="*/ 9435402 w 11936930"/>
                <a:gd name="connsiteY15" fmla="*/ 2828216 h 2849235"/>
                <a:gd name="connsiteX16" fmla="*/ 7365442 w 11936930"/>
                <a:gd name="connsiteY16" fmla="*/ 2788023 h 2849235"/>
                <a:gd name="connsiteX17" fmla="*/ 6742444 w 11936930"/>
                <a:gd name="connsiteY17" fmla="*/ 2808119 h 2849235"/>
                <a:gd name="connsiteX18" fmla="*/ 6601767 w 11936930"/>
                <a:gd name="connsiteY18" fmla="*/ 2798071 h 2849235"/>
                <a:gd name="connsiteX19" fmla="*/ 4783016 w 11936930"/>
                <a:gd name="connsiteY19" fmla="*/ 2848313 h 2849235"/>
                <a:gd name="connsiteX20" fmla="*/ 3938954 w 11936930"/>
                <a:gd name="connsiteY20" fmla="*/ 2828216 h 2849235"/>
                <a:gd name="connsiteX21" fmla="*/ 2944167 w 11936930"/>
                <a:gd name="connsiteY21" fmla="*/ 2808119 h 2849235"/>
                <a:gd name="connsiteX22" fmla="*/ 1889090 w 11936930"/>
                <a:gd name="connsiteY22" fmla="*/ 2818168 h 2849235"/>
                <a:gd name="connsiteX23" fmla="*/ 12890 w 11936930"/>
                <a:gd name="connsiteY23" fmla="*/ 2798069 h 2849235"/>
                <a:gd name="connsiteX0" fmla="*/ 0 w 11936930"/>
                <a:gd name="connsiteY0" fmla="*/ 24726 h 2849235"/>
                <a:gd name="connsiteX1" fmla="*/ 552660 w 11936930"/>
                <a:gd name="connsiteY1" fmla="*/ 4629 h 2849235"/>
                <a:gd name="connsiteX2" fmla="*/ 1637882 w 11936930"/>
                <a:gd name="connsiteY2" fmla="*/ 14677 h 2849235"/>
                <a:gd name="connsiteX3" fmla="*/ 2019719 w 11936930"/>
                <a:gd name="connsiteY3" fmla="*/ 14677 h 2849235"/>
                <a:gd name="connsiteX4" fmla="*/ 4531807 w 11936930"/>
                <a:gd name="connsiteY4" fmla="*/ 34774 h 2849235"/>
                <a:gd name="connsiteX5" fmla="*/ 6300317 w 11936930"/>
                <a:gd name="connsiteY5" fmla="*/ 64919 h 2849235"/>
                <a:gd name="connsiteX6" fmla="*/ 7063991 w 11936930"/>
                <a:gd name="connsiteY6" fmla="*/ 34774 h 2849235"/>
                <a:gd name="connsiteX7" fmla="*/ 8098972 w 11936930"/>
                <a:gd name="connsiteY7" fmla="*/ 64919 h 2849235"/>
                <a:gd name="connsiteX8" fmla="*/ 9485644 w 11936930"/>
                <a:gd name="connsiteY8" fmla="*/ 64919 h 2849235"/>
                <a:gd name="connsiteX9" fmla="*/ 10311615 w 11936930"/>
                <a:gd name="connsiteY9" fmla="*/ 4629 h 2849235"/>
                <a:gd name="connsiteX10" fmla="*/ 11745799 w 11936930"/>
                <a:gd name="connsiteY10" fmla="*/ 346275 h 2849235"/>
                <a:gd name="connsiteX11" fmla="*/ 11786160 w 11936930"/>
                <a:gd name="connsiteY11" fmla="*/ 2587055 h 2849235"/>
                <a:gd name="connsiteX12" fmla="*/ 10912510 w 11936930"/>
                <a:gd name="connsiteY12" fmla="*/ 2828216 h 2849235"/>
                <a:gd name="connsiteX13" fmla="*/ 10008159 w 11936930"/>
                <a:gd name="connsiteY13" fmla="*/ 2828216 h 2849235"/>
                <a:gd name="connsiteX14" fmla="*/ 9435402 w 11936930"/>
                <a:gd name="connsiteY14" fmla="*/ 2828216 h 2849235"/>
                <a:gd name="connsiteX15" fmla="*/ 7365442 w 11936930"/>
                <a:gd name="connsiteY15" fmla="*/ 2788023 h 2849235"/>
                <a:gd name="connsiteX16" fmla="*/ 6742444 w 11936930"/>
                <a:gd name="connsiteY16" fmla="*/ 2808119 h 2849235"/>
                <a:gd name="connsiteX17" fmla="*/ 6601767 w 11936930"/>
                <a:gd name="connsiteY17" fmla="*/ 2798071 h 2849235"/>
                <a:gd name="connsiteX18" fmla="*/ 4783016 w 11936930"/>
                <a:gd name="connsiteY18" fmla="*/ 2848313 h 2849235"/>
                <a:gd name="connsiteX19" fmla="*/ 3938954 w 11936930"/>
                <a:gd name="connsiteY19" fmla="*/ 2828216 h 2849235"/>
                <a:gd name="connsiteX20" fmla="*/ 2944167 w 11936930"/>
                <a:gd name="connsiteY20" fmla="*/ 2808119 h 2849235"/>
                <a:gd name="connsiteX21" fmla="*/ 1889090 w 11936930"/>
                <a:gd name="connsiteY21" fmla="*/ 2818168 h 2849235"/>
                <a:gd name="connsiteX22" fmla="*/ 12890 w 11936930"/>
                <a:gd name="connsiteY22" fmla="*/ 2798069 h 2849235"/>
                <a:gd name="connsiteX0" fmla="*/ 0 w 11936930"/>
                <a:gd name="connsiteY0" fmla="*/ 24726 h 2849235"/>
                <a:gd name="connsiteX1" fmla="*/ 552660 w 11936930"/>
                <a:gd name="connsiteY1" fmla="*/ 4629 h 2849235"/>
                <a:gd name="connsiteX2" fmla="*/ 1637882 w 11936930"/>
                <a:gd name="connsiteY2" fmla="*/ 14677 h 2849235"/>
                <a:gd name="connsiteX3" fmla="*/ 2019719 w 11936930"/>
                <a:gd name="connsiteY3" fmla="*/ 14677 h 2849235"/>
                <a:gd name="connsiteX4" fmla="*/ 4531807 w 11936930"/>
                <a:gd name="connsiteY4" fmla="*/ 34774 h 2849235"/>
                <a:gd name="connsiteX5" fmla="*/ 6300317 w 11936930"/>
                <a:gd name="connsiteY5" fmla="*/ 64919 h 2849235"/>
                <a:gd name="connsiteX6" fmla="*/ 7063991 w 11936930"/>
                <a:gd name="connsiteY6" fmla="*/ 34774 h 2849235"/>
                <a:gd name="connsiteX7" fmla="*/ 8098972 w 11936930"/>
                <a:gd name="connsiteY7" fmla="*/ 64919 h 2849235"/>
                <a:gd name="connsiteX8" fmla="*/ 8956033 w 11936930"/>
                <a:gd name="connsiteY8" fmla="*/ 64919 h 2849235"/>
                <a:gd name="connsiteX9" fmla="*/ 10311615 w 11936930"/>
                <a:gd name="connsiteY9" fmla="*/ 4629 h 2849235"/>
                <a:gd name="connsiteX10" fmla="*/ 11745799 w 11936930"/>
                <a:gd name="connsiteY10" fmla="*/ 346275 h 2849235"/>
                <a:gd name="connsiteX11" fmla="*/ 11786160 w 11936930"/>
                <a:gd name="connsiteY11" fmla="*/ 2587055 h 2849235"/>
                <a:gd name="connsiteX12" fmla="*/ 10912510 w 11936930"/>
                <a:gd name="connsiteY12" fmla="*/ 2828216 h 2849235"/>
                <a:gd name="connsiteX13" fmla="*/ 10008159 w 11936930"/>
                <a:gd name="connsiteY13" fmla="*/ 2828216 h 2849235"/>
                <a:gd name="connsiteX14" fmla="*/ 9435402 w 11936930"/>
                <a:gd name="connsiteY14" fmla="*/ 2828216 h 2849235"/>
                <a:gd name="connsiteX15" fmla="*/ 7365442 w 11936930"/>
                <a:gd name="connsiteY15" fmla="*/ 2788023 h 2849235"/>
                <a:gd name="connsiteX16" fmla="*/ 6742444 w 11936930"/>
                <a:gd name="connsiteY16" fmla="*/ 2808119 h 2849235"/>
                <a:gd name="connsiteX17" fmla="*/ 6601767 w 11936930"/>
                <a:gd name="connsiteY17" fmla="*/ 2798071 h 2849235"/>
                <a:gd name="connsiteX18" fmla="*/ 4783016 w 11936930"/>
                <a:gd name="connsiteY18" fmla="*/ 2848313 h 2849235"/>
                <a:gd name="connsiteX19" fmla="*/ 3938954 w 11936930"/>
                <a:gd name="connsiteY19" fmla="*/ 2828216 h 2849235"/>
                <a:gd name="connsiteX20" fmla="*/ 2944167 w 11936930"/>
                <a:gd name="connsiteY20" fmla="*/ 2808119 h 2849235"/>
                <a:gd name="connsiteX21" fmla="*/ 1889090 w 11936930"/>
                <a:gd name="connsiteY21" fmla="*/ 2818168 h 2849235"/>
                <a:gd name="connsiteX22" fmla="*/ 12890 w 11936930"/>
                <a:gd name="connsiteY22" fmla="*/ 2798069 h 2849235"/>
                <a:gd name="connsiteX0" fmla="*/ 0 w 11949661"/>
                <a:gd name="connsiteY0" fmla="*/ 24726 h 2849235"/>
                <a:gd name="connsiteX1" fmla="*/ 552660 w 11949661"/>
                <a:gd name="connsiteY1" fmla="*/ 4629 h 2849235"/>
                <a:gd name="connsiteX2" fmla="*/ 1637882 w 11949661"/>
                <a:gd name="connsiteY2" fmla="*/ 14677 h 2849235"/>
                <a:gd name="connsiteX3" fmla="*/ 2019719 w 11949661"/>
                <a:gd name="connsiteY3" fmla="*/ 14677 h 2849235"/>
                <a:gd name="connsiteX4" fmla="*/ 4531807 w 11949661"/>
                <a:gd name="connsiteY4" fmla="*/ 34774 h 2849235"/>
                <a:gd name="connsiteX5" fmla="*/ 6300317 w 11949661"/>
                <a:gd name="connsiteY5" fmla="*/ 64919 h 2849235"/>
                <a:gd name="connsiteX6" fmla="*/ 7063991 w 11949661"/>
                <a:gd name="connsiteY6" fmla="*/ 34774 h 2849235"/>
                <a:gd name="connsiteX7" fmla="*/ 8098972 w 11949661"/>
                <a:gd name="connsiteY7" fmla="*/ 64919 h 2849235"/>
                <a:gd name="connsiteX8" fmla="*/ 8956033 w 11949661"/>
                <a:gd name="connsiteY8" fmla="*/ 64919 h 2849235"/>
                <a:gd name="connsiteX9" fmla="*/ 10101769 w 11949661"/>
                <a:gd name="connsiteY9" fmla="*/ 4629 h 2849235"/>
                <a:gd name="connsiteX10" fmla="*/ 11745799 w 11949661"/>
                <a:gd name="connsiteY10" fmla="*/ 346275 h 2849235"/>
                <a:gd name="connsiteX11" fmla="*/ 11786160 w 11949661"/>
                <a:gd name="connsiteY11" fmla="*/ 2587055 h 2849235"/>
                <a:gd name="connsiteX12" fmla="*/ 10912510 w 11949661"/>
                <a:gd name="connsiteY12" fmla="*/ 2828216 h 2849235"/>
                <a:gd name="connsiteX13" fmla="*/ 10008159 w 11949661"/>
                <a:gd name="connsiteY13" fmla="*/ 2828216 h 2849235"/>
                <a:gd name="connsiteX14" fmla="*/ 9435402 w 11949661"/>
                <a:gd name="connsiteY14" fmla="*/ 2828216 h 2849235"/>
                <a:gd name="connsiteX15" fmla="*/ 7365442 w 11949661"/>
                <a:gd name="connsiteY15" fmla="*/ 2788023 h 2849235"/>
                <a:gd name="connsiteX16" fmla="*/ 6742444 w 11949661"/>
                <a:gd name="connsiteY16" fmla="*/ 2808119 h 2849235"/>
                <a:gd name="connsiteX17" fmla="*/ 6601767 w 11949661"/>
                <a:gd name="connsiteY17" fmla="*/ 2798071 h 2849235"/>
                <a:gd name="connsiteX18" fmla="*/ 4783016 w 11949661"/>
                <a:gd name="connsiteY18" fmla="*/ 2848313 h 2849235"/>
                <a:gd name="connsiteX19" fmla="*/ 3938954 w 11949661"/>
                <a:gd name="connsiteY19" fmla="*/ 2828216 h 2849235"/>
                <a:gd name="connsiteX20" fmla="*/ 2944167 w 11949661"/>
                <a:gd name="connsiteY20" fmla="*/ 2808119 h 2849235"/>
                <a:gd name="connsiteX21" fmla="*/ 1889090 w 11949661"/>
                <a:gd name="connsiteY21" fmla="*/ 2818168 h 2849235"/>
                <a:gd name="connsiteX22" fmla="*/ 12890 w 11949661"/>
                <a:gd name="connsiteY22" fmla="*/ 2798069 h 2849235"/>
                <a:gd name="connsiteX0" fmla="*/ 0 w 11981169"/>
                <a:gd name="connsiteY0" fmla="*/ 24726 h 2849235"/>
                <a:gd name="connsiteX1" fmla="*/ 552660 w 11981169"/>
                <a:gd name="connsiteY1" fmla="*/ 4629 h 2849235"/>
                <a:gd name="connsiteX2" fmla="*/ 1637882 w 11981169"/>
                <a:gd name="connsiteY2" fmla="*/ 14677 h 2849235"/>
                <a:gd name="connsiteX3" fmla="*/ 2019719 w 11981169"/>
                <a:gd name="connsiteY3" fmla="*/ 14677 h 2849235"/>
                <a:gd name="connsiteX4" fmla="*/ 4531807 w 11981169"/>
                <a:gd name="connsiteY4" fmla="*/ 34774 h 2849235"/>
                <a:gd name="connsiteX5" fmla="*/ 6300317 w 11981169"/>
                <a:gd name="connsiteY5" fmla="*/ 64919 h 2849235"/>
                <a:gd name="connsiteX6" fmla="*/ 7063991 w 11981169"/>
                <a:gd name="connsiteY6" fmla="*/ 34774 h 2849235"/>
                <a:gd name="connsiteX7" fmla="*/ 8098972 w 11981169"/>
                <a:gd name="connsiteY7" fmla="*/ 64919 h 2849235"/>
                <a:gd name="connsiteX8" fmla="*/ 8956033 w 11981169"/>
                <a:gd name="connsiteY8" fmla="*/ 64919 h 2849235"/>
                <a:gd name="connsiteX9" fmla="*/ 10101769 w 11981169"/>
                <a:gd name="connsiteY9" fmla="*/ 4629 h 2849235"/>
                <a:gd name="connsiteX10" fmla="*/ 11745799 w 11981169"/>
                <a:gd name="connsiteY10" fmla="*/ 346275 h 2849235"/>
                <a:gd name="connsiteX11" fmla="*/ 11786160 w 11981169"/>
                <a:gd name="connsiteY11" fmla="*/ 2587055 h 2849235"/>
                <a:gd name="connsiteX12" fmla="*/ 10008159 w 11981169"/>
                <a:gd name="connsiteY12" fmla="*/ 2828216 h 2849235"/>
                <a:gd name="connsiteX13" fmla="*/ 9435402 w 11981169"/>
                <a:gd name="connsiteY13" fmla="*/ 2828216 h 2849235"/>
                <a:gd name="connsiteX14" fmla="*/ 7365442 w 11981169"/>
                <a:gd name="connsiteY14" fmla="*/ 2788023 h 2849235"/>
                <a:gd name="connsiteX15" fmla="*/ 6742444 w 11981169"/>
                <a:gd name="connsiteY15" fmla="*/ 2808119 h 2849235"/>
                <a:gd name="connsiteX16" fmla="*/ 6601767 w 11981169"/>
                <a:gd name="connsiteY16" fmla="*/ 2798071 h 2849235"/>
                <a:gd name="connsiteX17" fmla="*/ 4783016 w 11981169"/>
                <a:gd name="connsiteY17" fmla="*/ 2848313 h 2849235"/>
                <a:gd name="connsiteX18" fmla="*/ 3938954 w 11981169"/>
                <a:gd name="connsiteY18" fmla="*/ 2828216 h 2849235"/>
                <a:gd name="connsiteX19" fmla="*/ 2944167 w 11981169"/>
                <a:gd name="connsiteY19" fmla="*/ 2808119 h 2849235"/>
                <a:gd name="connsiteX20" fmla="*/ 1889090 w 11981169"/>
                <a:gd name="connsiteY20" fmla="*/ 2818168 h 2849235"/>
                <a:gd name="connsiteX21" fmla="*/ 12890 w 11981169"/>
                <a:gd name="connsiteY21" fmla="*/ 2798069 h 2849235"/>
                <a:gd name="connsiteX0" fmla="*/ 0 w 11940760"/>
                <a:gd name="connsiteY0" fmla="*/ 24144 h 2848653"/>
                <a:gd name="connsiteX1" fmla="*/ 552660 w 11940760"/>
                <a:gd name="connsiteY1" fmla="*/ 4047 h 2848653"/>
                <a:gd name="connsiteX2" fmla="*/ 1637882 w 11940760"/>
                <a:gd name="connsiteY2" fmla="*/ 14095 h 2848653"/>
                <a:gd name="connsiteX3" fmla="*/ 2019719 w 11940760"/>
                <a:gd name="connsiteY3" fmla="*/ 14095 h 2848653"/>
                <a:gd name="connsiteX4" fmla="*/ 4531807 w 11940760"/>
                <a:gd name="connsiteY4" fmla="*/ 34192 h 2848653"/>
                <a:gd name="connsiteX5" fmla="*/ 6300317 w 11940760"/>
                <a:gd name="connsiteY5" fmla="*/ 64337 h 2848653"/>
                <a:gd name="connsiteX6" fmla="*/ 7063991 w 11940760"/>
                <a:gd name="connsiteY6" fmla="*/ 34192 h 2848653"/>
                <a:gd name="connsiteX7" fmla="*/ 8098972 w 11940760"/>
                <a:gd name="connsiteY7" fmla="*/ 64337 h 2848653"/>
                <a:gd name="connsiteX8" fmla="*/ 8956033 w 11940760"/>
                <a:gd name="connsiteY8" fmla="*/ 64337 h 2848653"/>
                <a:gd name="connsiteX9" fmla="*/ 10101769 w 11940760"/>
                <a:gd name="connsiteY9" fmla="*/ 4047 h 2848653"/>
                <a:gd name="connsiteX10" fmla="*/ 11745799 w 11940760"/>
                <a:gd name="connsiteY10" fmla="*/ 345693 h 2848653"/>
                <a:gd name="connsiteX11" fmla="*/ 11716211 w 11940760"/>
                <a:gd name="connsiteY11" fmla="*/ 2566377 h 2848653"/>
                <a:gd name="connsiteX12" fmla="*/ 10008159 w 11940760"/>
                <a:gd name="connsiteY12" fmla="*/ 2827634 h 2848653"/>
                <a:gd name="connsiteX13" fmla="*/ 9435402 w 11940760"/>
                <a:gd name="connsiteY13" fmla="*/ 2827634 h 2848653"/>
                <a:gd name="connsiteX14" fmla="*/ 7365442 w 11940760"/>
                <a:gd name="connsiteY14" fmla="*/ 2787441 h 2848653"/>
                <a:gd name="connsiteX15" fmla="*/ 6742444 w 11940760"/>
                <a:gd name="connsiteY15" fmla="*/ 2807537 h 2848653"/>
                <a:gd name="connsiteX16" fmla="*/ 6601767 w 11940760"/>
                <a:gd name="connsiteY16" fmla="*/ 2797489 h 2848653"/>
                <a:gd name="connsiteX17" fmla="*/ 4783016 w 11940760"/>
                <a:gd name="connsiteY17" fmla="*/ 2847731 h 2848653"/>
                <a:gd name="connsiteX18" fmla="*/ 3938954 w 11940760"/>
                <a:gd name="connsiteY18" fmla="*/ 2827634 h 2848653"/>
                <a:gd name="connsiteX19" fmla="*/ 2944167 w 11940760"/>
                <a:gd name="connsiteY19" fmla="*/ 2807537 h 2848653"/>
                <a:gd name="connsiteX20" fmla="*/ 1889090 w 11940760"/>
                <a:gd name="connsiteY20" fmla="*/ 2817586 h 2848653"/>
                <a:gd name="connsiteX21" fmla="*/ 12890 w 11940760"/>
                <a:gd name="connsiteY21" fmla="*/ 2797487 h 2848653"/>
                <a:gd name="connsiteX0" fmla="*/ 0 w 12001276"/>
                <a:gd name="connsiteY0" fmla="*/ 24144 h 2848653"/>
                <a:gd name="connsiteX1" fmla="*/ 552660 w 12001276"/>
                <a:gd name="connsiteY1" fmla="*/ 4047 h 2848653"/>
                <a:gd name="connsiteX2" fmla="*/ 1637882 w 12001276"/>
                <a:gd name="connsiteY2" fmla="*/ 14095 h 2848653"/>
                <a:gd name="connsiteX3" fmla="*/ 2019719 w 12001276"/>
                <a:gd name="connsiteY3" fmla="*/ 14095 h 2848653"/>
                <a:gd name="connsiteX4" fmla="*/ 4531807 w 12001276"/>
                <a:gd name="connsiteY4" fmla="*/ 34192 h 2848653"/>
                <a:gd name="connsiteX5" fmla="*/ 6300317 w 12001276"/>
                <a:gd name="connsiteY5" fmla="*/ 64337 h 2848653"/>
                <a:gd name="connsiteX6" fmla="*/ 7063991 w 12001276"/>
                <a:gd name="connsiteY6" fmla="*/ 34192 h 2848653"/>
                <a:gd name="connsiteX7" fmla="*/ 8098972 w 12001276"/>
                <a:gd name="connsiteY7" fmla="*/ 64337 h 2848653"/>
                <a:gd name="connsiteX8" fmla="*/ 8956033 w 12001276"/>
                <a:gd name="connsiteY8" fmla="*/ 64337 h 2848653"/>
                <a:gd name="connsiteX9" fmla="*/ 10101769 w 12001276"/>
                <a:gd name="connsiteY9" fmla="*/ 4047 h 2848653"/>
                <a:gd name="connsiteX10" fmla="*/ 11745799 w 12001276"/>
                <a:gd name="connsiteY10" fmla="*/ 345693 h 2848653"/>
                <a:gd name="connsiteX11" fmla="*/ 11716211 w 12001276"/>
                <a:gd name="connsiteY11" fmla="*/ 2566377 h 2848653"/>
                <a:gd name="connsiteX12" fmla="*/ 10008159 w 12001276"/>
                <a:gd name="connsiteY12" fmla="*/ 2827634 h 2848653"/>
                <a:gd name="connsiteX13" fmla="*/ 9435402 w 12001276"/>
                <a:gd name="connsiteY13" fmla="*/ 2827634 h 2848653"/>
                <a:gd name="connsiteX14" fmla="*/ 7365442 w 12001276"/>
                <a:gd name="connsiteY14" fmla="*/ 2787441 h 2848653"/>
                <a:gd name="connsiteX15" fmla="*/ 6742444 w 12001276"/>
                <a:gd name="connsiteY15" fmla="*/ 2807537 h 2848653"/>
                <a:gd name="connsiteX16" fmla="*/ 6601767 w 12001276"/>
                <a:gd name="connsiteY16" fmla="*/ 2797489 h 2848653"/>
                <a:gd name="connsiteX17" fmla="*/ 4783016 w 12001276"/>
                <a:gd name="connsiteY17" fmla="*/ 2847731 h 2848653"/>
                <a:gd name="connsiteX18" fmla="*/ 3938954 w 12001276"/>
                <a:gd name="connsiteY18" fmla="*/ 2827634 h 2848653"/>
                <a:gd name="connsiteX19" fmla="*/ 2944167 w 12001276"/>
                <a:gd name="connsiteY19" fmla="*/ 2807537 h 2848653"/>
                <a:gd name="connsiteX20" fmla="*/ 1889090 w 12001276"/>
                <a:gd name="connsiteY20" fmla="*/ 2817586 h 2848653"/>
                <a:gd name="connsiteX21" fmla="*/ 12890 w 12001276"/>
                <a:gd name="connsiteY21" fmla="*/ 2797487 h 2848653"/>
                <a:gd name="connsiteX0" fmla="*/ 0 w 11892644"/>
                <a:gd name="connsiteY0" fmla="*/ 20953 h 2845462"/>
                <a:gd name="connsiteX1" fmla="*/ 552660 w 11892644"/>
                <a:gd name="connsiteY1" fmla="*/ 856 h 2845462"/>
                <a:gd name="connsiteX2" fmla="*/ 1637882 w 11892644"/>
                <a:gd name="connsiteY2" fmla="*/ 10904 h 2845462"/>
                <a:gd name="connsiteX3" fmla="*/ 2019719 w 11892644"/>
                <a:gd name="connsiteY3" fmla="*/ 10904 h 2845462"/>
                <a:gd name="connsiteX4" fmla="*/ 4531807 w 11892644"/>
                <a:gd name="connsiteY4" fmla="*/ 31001 h 2845462"/>
                <a:gd name="connsiteX5" fmla="*/ 6300317 w 11892644"/>
                <a:gd name="connsiteY5" fmla="*/ 61146 h 2845462"/>
                <a:gd name="connsiteX6" fmla="*/ 7063991 w 11892644"/>
                <a:gd name="connsiteY6" fmla="*/ 31001 h 2845462"/>
                <a:gd name="connsiteX7" fmla="*/ 8098972 w 11892644"/>
                <a:gd name="connsiteY7" fmla="*/ 61146 h 2845462"/>
                <a:gd name="connsiteX8" fmla="*/ 8956033 w 11892644"/>
                <a:gd name="connsiteY8" fmla="*/ 61146 h 2845462"/>
                <a:gd name="connsiteX9" fmla="*/ 10101769 w 11892644"/>
                <a:gd name="connsiteY9" fmla="*/ 856 h 2845462"/>
                <a:gd name="connsiteX10" fmla="*/ 11655866 w 11892644"/>
                <a:gd name="connsiteY10" fmla="*/ 362598 h 2845462"/>
                <a:gd name="connsiteX11" fmla="*/ 11716211 w 11892644"/>
                <a:gd name="connsiteY11" fmla="*/ 2563186 h 2845462"/>
                <a:gd name="connsiteX12" fmla="*/ 10008159 w 11892644"/>
                <a:gd name="connsiteY12" fmla="*/ 2824443 h 2845462"/>
                <a:gd name="connsiteX13" fmla="*/ 9435402 w 11892644"/>
                <a:gd name="connsiteY13" fmla="*/ 2824443 h 2845462"/>
                <a:gd name="connsiteX14" fmla="*/ 7365442 w 11892644"/>
                <a:gd name="connsiteY14" fmla="*/ 2784250 h 2845462"/>
                <a:gd name="connsiteX15" fmla="*/ 6742444 w 11892644"/>
                <a:gd name="connsiteY15" fmla="*/ 2804346 h 2845462"/>
                <a:gd name="connsiteX16" fmla="*/ 6601767 w 11892644"/>
                <a:gd name="connsiteY16" fmla="*/ 2794298 h 2845462"/>
                <a:gd name="connsiteX17" fmla="*/ 4783016 w 11892644"/>
                <a:gd name="connsiteY17" fmla="*/ 2844540 h 2845462"/>
                <a:gd name="connsiteX18" fmla="*/ 3938954 w 11892644"/>
                <a:gd name="connsiteY18" fmla="*/ 2824443 h 2845462"/>
                <a:gd name="connsiteX19" fmla="*/ 2944167 w 11892644"/>
                <a:gd name="connsiteY19" fmla="*/ 2804346 h 2845462"/>
                <a:gd name="connsiteX20" fmla="*/ 1889090 w 11892644"/>
                <a:gd name="connsiteY20" fmla="*/ 2814395 h 2845462"/>
                <a:gd name="connsiteX21" fmla="*/ 12890 w 11892644"/>
                <a:gd name="connsiteY21" fmla="*/ 2794296 h 2845462"/>
                <a:gd name="connsiteX0" fmla="*/ 0 w 11834291"/>
                <a:gd name="connsiteY0" fmla="*/ 20767 h 2845276"/>
                <a:gd name="connsiteX1" fmla="*/ 552660 w 11834291"/>
                <a:gd name="connsiteY1" fmla="*/ 670 h 2845276"/>
                <a:gd name="connsiteX2" fmla="*/ 1637882 w 11834291"/>
                <a:gd name="connsiteY2" fmla="*/ 10718 h 2845276"/>
                <a:gd name="connsiteX3" fmla="*/ 2019719 w 11834291"/>
                <a:gd name="connsiteY3" fmla="*/ 10718 h 2845276"/>
                <a:gd name="connsiteX4" fmla="*/ 4531807 w 11834291"/>
                <a:gd name="connsiteY4" fmla="*/ 30815 h 2845276"/>
                <a:gd name="connsiteX5" fmla="*/ 6300317 w 11834291"/>
                <a:gd name="connsiteY5" fmla="*/ 60960 h 2845276"/>
                <a:gd name="connsiteX6" fmla="*/ 7063991 w 11834291"/>
                <a:gd name="connsiteY6" fmla="*/ 30815 h 2845276"/>
                <a:gd name="connsiteX7" fmla="*/ 8098972 w 11834291"/>
                <a:gd name="connsiteY7" fmla="*/ 60960 h 2845276"/>
                <a:gd name="connsiteX8" fmla="*/ 8956033 w 11834291"/>
                <a:gd name="connsiteY8" fmla="*/ 60960 h 2845276"/>
                <a:gd name="connsiteX9" fmla="*/ 10101769 w 11834291"/>
                <a:gd name="connsiteY9" fmla="*/ 670 h 2845276"/>
                <a:gd name="connsiteX10" fmla="*/ 11655866 w 11834291"/>
                <a:gd name="connsiteY10" fmla="*/ 362412 h 2845276"/>
                <a:gd name="connsiteX11" fmla="*/ 11616285 w 11834291"/>
                <a:gd name="connsiteY11" fmla="*/ 2552952 h 2845276"/>
                <a:gd name="connsiteX12" fmla="*/ 10008159 w 11834291"/>
                <a:gd name="connsiteY12" fmla="*/ 2824257 h 2845276"/>
                <a:gd name="connsiteX13" fmla="*/ 9435402 w 11834291"/>
                <a:gd name="connsiteY13" fmla="*/ 2824257 h 2845276"/>
                <a:gd name="connsiteX14" fmla="*/ 7365442 w 11834291"/>
                <a:gd name="connsiteY14" fmla="*/ 2784064 h 2845276"/>
                <a:gd name="connsiteX15" fmla="*/ 6742444 w 11834291"/>
                <a:gd name="connsiteY15" fmla="*/ 2804160 h 2845276"/>
                <a:gd name="connsiteX16" fmla="*/ 6601767 w 11834291"/>
                <a:gd name="connsiteY16" fmla="*/ 2794112 h 2845276"/>
                <a:gd name="connsiteX17" fmla="*/ 4783016 w 11834291"/>
                <a:gd name="connsiteY17" fmla="*/ 2844354 h 2845276"/>
                <a:gd name="connsiteX18" fmla="*/ 3938954 w 11834291"/>
                <a:gd name="connsiteY18" fmla="*/ 2824257 h 2845276"/>
                <a:gd name="connsiteX19" fmla="*/ 2944167 w 11834291"/>
                <a:gd name="connsiteY19" fmla="*/ 2804160 h 2845276"/>
                <a:gd name="connsiteX20" fmla="*/ 1889090 w 11834291"/>
                <a:gd name="connsiteY20" fmla="*/ 2814209 h 2845276"/>
                <a:gd name="connsiteX21" fmla="*/ 12890 w 11834291"/>
                <a:gd name="connsiteY21" fmla="*/ 2794110 h 2845276"/>
                <a:gd name="connsiteX0" fmla="*/ 0 w 11903126"/>
                <a:gd name="connsiteY0" fmla="*/ 20767 h 2845276"/>
                <a:gd name="connsiteX1" fmla="*/ 552660 w 11903126"/>
                <a:gd name="connsiteY1" fmla="*/ 670 h 2845276"/>
                <a:gd name="connsiteX2" fmla="*/ 1637882 w 11903126"/>
                <a:gd name="connsiteY2" fmla="*/ 10718 h 2845276"/>
                <a:gd name="connsiteX3" fmla="*/ 2019719 w 11903126"/>
                <a:gd name="connsiteY3" fmla="*/ 10718 h 2845276"/>
                <a:gd name="connsiteX4" fmla="*/ 4531807 w 11903126"/>
                <a:gd name="connsiteY4" fmla="*/ 30815 h 2845276"/>
                <a:gd name="connsiteX5" fmla="*/ 6300317 w 11903126"/>
                <a:gd name="connsiteY5" fmla="*/ 60960 h 2845276"/>
                <a:gd name="connsiteX6" fmla="*/ 7063991 w 11903126"/>
                <a:gd name="connsiteY6" fmla="*/ 30815 h 2845276"/>
                <a:gd name="connsiteX7" fmla="*/ 8098972 w 11903126"/>
                <a:gd name="connsiteY7" fmla="*/ 60960 h 2845276"/>
                <a:gd name="connsiteX8" fmla="*/ 8956033 w 11903126"/>
                <a:gd name="connsiteY8" fmla="*/ 60960 h 2845276"/>
                <a:gd name="connsiteX9" fmla="*/ 10101769 w 11903126"/>
                <a:gd name="connsiteY9" fmla="*/ 670 h 2845276"/>
                <a:gd name="connsiteX10" fmla="*/ 11655866 w 11903126"/>
                <a:gd name="connsiteY10" fmla="*/ 362412 h 2845276"/>
                <a:gd name="connsiteX11" fmla="*/ 11616285 w 11903126"/>
                <a:gd name="connsiteY11" fmla="*/ 2552952 h 2845276"/>
                <a:gd name="connsiteX12" fmla="*/ 10008159 w 11903126"/>
                <a:gd name="connsiteY12" fmla="*/ 2824257 h 2845276"/>
                <a:gd name="connsiteX13" fmla="*/ 9435402 w 11903126"/>
                <a:gd name="connsiteY13" fmla="*/ 2824257 h 2845276"/>
                <a:gd name="connsiteX14" fmla="*/ 7365442 w 11903126"/>
                <a:gd name="connsiteY14" fmla="*/ 2784064 h 2845276"/>
                <a:gd name="connsiteX15" fmla="*/ 6742444 w 11903126"/>
                <a:gd name="connsiteY15" fmla="*/ 2804160 h 2845276"/>
                <a:gd name="connsiteX16" fmla="*/ 6601767 w 11903126"/>
                <a:gd name="connsiteY16" fmla="*/ 2794112 h 2845276"/>
                <a:gd name="connsiteX17" fmla="*/ 4783016 w 11903126"/>
                <a:gd name="connsiteY17" fmla="*/ 2844354 h 2845276"/>
                <a:gd name="connsiteX18" fmla="*/ 3938954 w 11903126"/>
                <a:gd name="connsiteY18" fmla="*/ 2824257 h 2845276"/>
                <a:gd name="connsiteX19" fmla="*/ 2944167 w 11903126"/>
                <a:gd name="connsiteY19" fmla="*/ 2804160 h 2845276"/>
                <a:gd name="connsiteX20" fmla="*/ 1889090 w 11903126"/>
                <a:gd name="connsiteY20" fmla="*/ 2814209 h 2845276"/>
                <a:gd name="connsiteX21" fmla="*/ 12890 w 11903126"/>
                <a:gd name="connsiteY21" fmla="*/ 2794110 h 2845276"/>
                <a:gd name="connsiteX0" fmla="*/ 0 w 11949884"/>
                <a:gd name="connsiteY0" fmla="*/ 20097 h 2844606"/>
                <a:gd name="connsiteX1" fmla="*/ 552660 w 11949884"/>
                <a:gd name="connsiteY1" fmla="*/ 0 h 2844606"/>
                <a:gd name="connsiteX2" fmla="*/ 1637882 w 11949884"/>
                <a:gd name="connsiteY2" fmla="*/ 10048 h 2844606"/>
                <a:gd name="connsiteX3" fmla="*/ 2019719 w 11949884"/>
                <a:gd name="connsiteY3" fmla="*/ 10048 h 2844606"/>
                <a:gd name="connsiteX4" fmla="*/ 4531807 w 11949884"/>
                <a:gd name="connsiteY4" fmla="*/ 30145 h 2844606"/>
                <a:gd name="connsiteX5" fmla="*/ 6300317 w 11949884"/>
                <a:gd name="connsiteY5" fmla="*/ 60290 h 2844606"/>
                <a:gd name="connsiteX6" fmla="*/ 7063991 w 11949884"/>
                <a:gd name="connsiteY6" fmla="*/ 30145 h 2844606"/>
                <a:gd name="connsiteX7" fmla="*/ 8098972 w 11949884"/>
                <a:gd name="connsiteY7" fmla="*/ 60290 h 2844606"/>
                <a:gd name="connsiteX8" fmla="*/ 8956033 w 11949884"/>
                <a:gd name="connsiteY8" fmla="*/ 60290 h 2844606"/>
                <a:gd name="connsiteX9" fmla="*/ 10101769 w 11949884"/>
                <a:gd name="connsiteY9" fmla="*/ 0 h 2844606"/>
                <a:gd name="connsiteX10" fmla="*/ 11655866 w 11949884"/>
                <a:gd name="connsiteY10" fmla="*/ 361742 h 2844606"/>
                <a:gd name="connsiteX11" fmla="*/ 11616285 w 11949884"/>
                <a:gd name="connsiteY11" fmla="*/ 2552282 h 2844606"/>
                <a:gd name="connsiteX12" fmla="*/ 10008159 w 11949884"/>
                <a:gd name="connsiteY12" fmla="*/ 2823587 h 2844606"/>
                <a:gd name="connsiteX13" fmla="*/ 9435402 w 11949884"/>
                <a:gd name="connsiteY13" fmla="*/ 2823587 h 2844606"/>
                <a:gd name="connsiteX14" fmla="*/ 7365442 w 11949884"/>
                <a:gd name="connsiteY14" fmla="*/ 2783394 h 2844606"/>
                <a:gd name="connsiteX15" fmla="*/ 6742444 w 11949884"/>
                <a:gd name="connsiteY15" fmla="*/ 2803490 h 2844606"/>
                <a:gd name="connsiteX16" fmla="*/ 6601767 w 11949884"/>
                <a:gd name="connsiteY16" fmla="*/ 2793442 h 2844606"/>
                <a:gd name="connsiteX17" fmla="*/ 4783016 w 11949884"/>
                <a:gd name="connsiteY17" fmla="*/ 2843684 h 2844606"/>
                <a:gd name="connsiteX18" fmla="*/ 3938954 w 11949884"/>
                <a:gd name="connsiteY18" fmla="*/ 2823587 h 2844606"/>
                <a:gd name="connsiteX19" fmla="*/ 2944167 w 11949884"/>
                <a:gd name="connsiteY19" fmla="*/ 2803490 h 2844606"/>
                <a:gd name="connsiteX20" fmla="*/ 1889090 w 11949884"/>
                <a:gd name="connsiteY20" fmla="*/ 2813539 h 2844606"/>
                <a:gd name="connsiteX21" fmla="*/ 12890 w 11949884"/>
                <a:gd name="connsiteY21" fmla="*/ 2793440 h 2844606"/>
                <a:gd name="connsiteX0" fmla="*/ 0 w 11868023"/>
                <a:gd name="connsiteY0" fmla="*/ 20097 h 2844606"/>
                <a:gd name="connsiteX1" fmla="*/ 552660 w 11868023"/>
                <a:gd name="connsiteY1" fmla="*/ 0 h 2844606"/>
                <a:gd name="connsiteX2" fmla="*/ 1637882 w 11868023"/>
                <a:gd name="connsiteY2" fmla="*/ 10048 h 2844606"/>
                <a:gd name="connsiteX3" fmla="*/ 2019719 w 11868023"/>
                <a:gd name="connsiteY3" fmla="*/ 10048 h 2844606"/>
                <a:gd name="connsiteX4" fmla="*/ 4531807 w 11868023"/>
                <a:gd name="connsiteY4" fmla="*/ 30145 h 2844606"/>
                <a:gd name="connsiteX5" fmla="*/ 6300317 w 11868023"/>
                <a:gd name="connsiteY5" fmla="*/ 60290 h 2844606"/>
                <a:gd name="connsiteX6" fmla="*/ 7063991 w 11868023"/>
                <a:gd name="connsiteY6" fmla="*/ 30145 h 2844606"/>
                <a:gd name="connsiteX7" fmla="*/ 8098972 w 11868023"/>
                <a:gd name="connsiteY7" fmla="*/ 60290 h 2844606"/>
                <a:gd name="connsiteX8" fmla="*/ 8956033 w 11868023"/>
                <a:gd name="connsiteY8" fmla="*/ 60290 h 2844606"/>
                <a:gd name="connsiteX9" fmla="*/ 10101769 w 11868023"/>
                <a:gd name="connsiteY9" fmla="*/ 0 h 2844606"/>
                <a:gd name="connsiteX10" fmla="*/ 11625888 w 11868023"/>
                <a:gd name="connsiteY10" fmla="*/ 351694 h 2844606"/>
                <a:gd name="connsiteX11" fmla="*/ 11616285 w 11868023"/>
                <a:gd name="connsiteY11" fmla="*/ 2552282 h 2844606"/>
                <a:gd name="connsiteX12" fmla="*/ 10008159 w 11868023"/>
                <a:gd name="connsiteY12" fmla="*/ 2823587 h 2844606"/>
                <a:gd name="connsiteX13" fmla="*/ 9435402 w 11868023"/>
                <a:gd name="connsiteY13" fmla="*/ 2823587 h 2844606"/>
                <a:gd name="connsiteX14" fmla="*/ 7365442 w 11868023"/>
                <a:gd name="connsiteY14" fmla="*/ 2783394 h 2844606"/>
                <a:gd name="connsiteX15" fmla="*/ 6742444 w 11868023"/>
                <a:gd name="connsiteY15" fmla="*/ 2803490 h 2844606"/>
                <a:gd name="connsiteX16" fmla="*/ 6601767 w 11868023"/>
                <a:gd name="connsiteY16" fmla="*/ 2793442 h 2844606"/>
                <a:gd name="connsiteX17" fmla="*/ 4783016 w 11868023"/>
                <a:gd name="connsiteY17" fmla="*/ 2843684 h 2844606"/>
                <a:gd name="connsiteX18" fmla="*/ 3938954 w 11868023"/>
                <a:gd name="connsiteY18" fmla="*/ 2823587 h 2844606"/>
                <a:gd name="connsiteX19" fmla="*/ 2944167 w 11868023"/>
                <a:gd name="connsiteY19" fmla="*/ 2803490 h 2844606"/>
                <a:gd name="connsiteX20" fmla="*/ 1889090 w 11868023"/>
                <a:gd name="connsiteY20" fmla="*/ 2813539 h 2844606"/>
                <a:gd name="connsiteX21" fmla="*/ 12890 w 11868023"/>
                <a:gd name="connsiteY21" fmla="*/ 2793440 h 2844606"/>
                <a:gd name="connsiteX0" fmla="*/ 0 w 11911375"/>
                <a:gd name="connsiteY0" fmla="*/ 20097 h 2844606"/>
                <a:gd name="connsiteX1" fmla="*/ 552660 w 11911375"/>
                <a:gd name="connsiteY1" fmla="*/ 0 h 2844606"/>
                <a:gd name="connsiteX2" fmla="*/ 1637882 w 11911375"/>
                <a:gd name="connsiteY2" fmla="*/ 10048 h 2844606"/>
                <a:gd name="connsiteX3" fmla="*/ 2019719 w 11911375"/>
                <a:gd name="connsiteY3" fmla="*/ 10048 h 2844606"/>
                <a:gd name="connsiteX4" fmla="*/ 4531807 w 11911375"/>
                <a:gd name="connsiteY4" fmla="*/ 30145 h 2844606"/>
                <a:gd name="connsiteX5" fmla="*/ 6300317 w 11911375"/>
                <a:gd name="connsiteY5" fmla="*/ 60290 h 2844606"/>
                <a:gd name="connsiteX6" fmla="*/ 7063991 w 11911375"/>
                <a:gd name="connsiteY6" fmla="*/ 30145 h 2844606"/>
                <a:gd name="connsiteX7" fmla="*/ 8098972 w 11911375"/>
                <a:gd name="connsiteY7" fmla="*/ 60290 h 2844606"/>
                <a:gd name="connsiteX8" fmla="*/ 8956033 w 11911375"/>
                <a:gd name="connsiteY8" fmla="*/ 60290 h 2844606"/>
                <a:gd name="connsiteX9" fmla="*/ 10101769 w 11911375"/>
                <a:gd name="connsiteY9" fmla="*/ 0 h 2844606"/>
                <a:gd name="connsiteX10" fmla="*/ 11625888 w 11911375"/>
                <a:gd name="connsiteY10" fmla="*/ 351694 h 2844606"/>
                <a:gd name="connsiteX11" fmla="*/ 11616285 w 11911375"/>
                <a:gd name="connsiteY11" fmla="*/ 2552282 h 2844606"/>
                <a:gd name="connsiteX12" fmla="*/ 10008159 w 11911375"/>
                <a:gd name="connsiteY12" fmla="*/ 2823587 h 2844606"/>
                <a:gd name="connsiteX13" fmla="*/ 9435402 w 11911375"/>
                <a:gd name="connsiteY13" fmla="*/ 2823587 h 2844606"/>
                <a:gd name="connsiteX14" fmla="*/ 7365442 w 11911375"/>
                <a:gd name="connsiteY14" fmla="*/ 2783394 h 2844606"/>
                <a:gd name="connsiteX15" fmla="*/ 6742444 w 11911375"/>
                <a:gd name="connsiteY15" fmla="*/ 2803490 h 2844606"/>
                <a:gd name="connsiteX16" fmla="*/ 6601767 w 11911375"/>
                <a:gd name="connsiteY16" fmla="*/ 2793442 h 2844606"/>
                <a:gd name="connsiteX17" fmla="*/ 4783016 w 11911375"/>
                <a:gd name="connsiteY17" fmla="*/ 2843684 h 2844606"/>
                <a:gd name="connsiteX18" fmla="*/ 3938954 w 11911375"/>
                <a:gd name="connsiteY18" fmla="*/ 2823587 h 2844606"/>
                <a:gd name="connsiteX19" fmla="*/ 2944167 w 11911375"/>
                <a:gd name="connsiteY19" fmla="*/ 2803490 h 2844606"/>
                <a:gd name="connsiteX20" fmla="*/ 1889090 w 11911375"/>
                <a:gd name="connsiteY20" fmla="*/ 2813539 h 2844606"/>
                <a:gd name="connsiteX21" fmla="*/ 12890 w 11911375"/>
                <a:gd name="connsiteY21" fmla="*/ 2793440 h 2844606"/>
                <a:gd name="connsiteX0" fmla="*/ 0 w 11932818"/>
                <a:gd name="connsiteY0" fmla="*/ 20097 h 2844606"/>
                <a:gd name="connsiteX1" fmla="*/ 552660 w 11932818"/>
                <a:gd name="connsiteY1" fmla="*/ 0 h 2844606"/>
                <a:gd name="connsiteX2" fmla="*/ 1637882 w 11932818"/>
                <a:gd name="connsiteY2" fmla="*/ 10048 h 2844606"/>
                <a:gd name="connsiteX3" fmla="*/ 2019719 w 11932818"/>
                <a:gd name="connsiteY3" fmla="*/ 10048 h 2844606"/>
                <a:gd name="connsiteX4" fmla="*/ 4531807 w 11932818"/>
                <a:gd name="connsiteY4" fmla="*/ 30145 h 2844606"/>
                <a:gd name="connsiteX5" fmla="*/ 6300317 w 11932818"/>
                <a:gd name="connsiteY5" fmla="*/ 60290 h 2844606"/>
                <a:gd name="connsiteX6" fmla="*/ 7063991 w 11932818"/>
                <a:gd name="connsiteY6" fmla="*/ 30145 h 2844606"/>
                <a:gd name="connsiteX7" fmla="*/ 8098972 w 11932818"/>
                <a:gd name="connsiteY7" fmla="*/ 60290 h 2844606"/>
                <a:gd name="connsiteX8" fmla="*/ 8956033 w 11932818"/>
                <a:gd name="connsiteY8" fmla="*/ 60290 h 2844606"/>
                <a:gd name="connsiteX9" fmla="*/ 10101769 w 11932818"/>
                <a:gd name="connsiteY9" fmla="*/ 0 h 2844606"/>
                <a:gd name="connsiteX10" fmla="*/ 11625888 w 11932818"/>
                <a:gd name="connsiteY10" fmla="*/ 351694 h 2844606"/>
                <a:gd name="connsiteX11" fmla="*/ 11616285 w 11932818"/>
                <a:gd name="connsiteY11" fmla="*/ 2552282 h 2844606"/>
                <a:gd name="connsiteX12" fmla="*/ 10008159 w 11932818"/>
                <a:gd name="connsiteY12" fmla="*/ 2823587 h 2844606"/>
                <a:gd name="connsiteX13" fmla="*/ 9435402 w 11932818"/>
                <a:gd name="connsiteY13" fmla="*/ 2823587 h 2844606"/>
                <a:gd name="connsiteX14" fmla="*/ 7365442 w 11932818"/>
                <a:gd name="connsiteY14" fmla="*/ 2783394 h 2844606"/>
                <a:gd name="connsiteX15" fmla="*/ 6742444 w 11932818"/>
                <a:gd name="connsiteY15" fmla="*/ 2803490 h 2844606"/>
                <a:gd name="connsiteX16" fmla="*/ 6601767 w 11932818"/>
                <a:gd name="connsiteY16" fmla="*/ 2793442 h 2844606"/>
                <a:gd name="connsiteX17" fmla="*/ 4783016 w 11932818"/>
                <a:gd name="connsiteY17" fmla="*/ 2843684 h 2844606"/>
                <a:gd name="connsiteX18" fmla="*/ 3938954 w 11932818"/>
                <a:gd name="connsiteY18" fmla="*/ 2823587 h 2844606"/>
                <a:gd name="connsiteX19" fmla="*/ 2944167 w 11932818"/>
                <a:gd name="connsiteY19" fmla="*/ 2803490 h 2844606"/>
                <a:gd name="connsiteX20" fmla="*/ 1889090 w 11932818"/>
                <a:gd name="connsiteY20" fmla="*/ 2813539 h 2844606"/>
                <a:gd name="connsiteX21" fmla="*/ 12890 w 11932818"/>
                <a:gd name="connsiteY21" fmla="*/ 2793440 h 2844606"/>
                <a:gd name="connsiteX0" fmla="*/ 0 w 11932818"/>
                <a:gd name="connsiteY0" fmla="*/ 20097 h 2844606"/>
                <a:gd name="connsiteX1" fmla="*/ 552660 w 11932818"/>
                <a:gd name="connsiteY1" fmla="*/ 0 h 2844606"/>
                <a:gd name="connsiteX2" fmla="*/ 1637882 w 11932818"/>
                <a:gd name="connsiteY2" fmla="*/ 10048 h 2844606"/>
                <a:gd name="connsiteX3" fmla="*/ 2019719 w 11932818"/>
                <a:gd name="connsiteY3" fmla="*/ 10048 h 2844606"/>
                <a:gd name="connsiteX4" fmla="*/ 4531807 w 11932818"/>
                <a:gd name="connsiteY4" fmla="*/ 30145 h 2844606"/>
                <a:gd name="connsiteX5" fmla="*/ 6300317 w 11932818"/>
                <a:gd name="connsiteY5" fmla="*/ 60290 h 2844606"/>
                <a:gd name="connsiteX6" fmla="*/ 7063991 w 11932818"/>
                <a:gd name="connsiteY6" fmla="*/ 30145 h 2844606"/>
                <a:gd name="connsiteX7" fmla="*/ 8098972 w 11932818"/>
                <a:gd name="connsiteY7" fmla="*/ 60290 h 2844606"/>
                <a:gd name="connsiteX8" fmla="*/ 8956033 w 11932818"/>
                <a:gd name="connsiteY8" fmla="*/ 60290 h 2844606"/>
                <a:gd name="connsiteX9" fmla="*/ 10101769 w 11932818"/>
                <a:gd name="connsiteY9" fmla="*/ 0 h 2844606"/>
                <a:gd name="connsiteX10" fmla="*/ 11625888 w 11932818"/>
                <a:gd name="connsiteY10" fmla="*/ 351694 h 2844606"/>
                <a:gd name="connsiteX11" fmla="*/ 11616285 w 11932818"/>
                <a:gd name="connsiteY11" fmla="*/ 2552282 h 2844606"/>
                <a:gd name="connsiteX12" fmla="*/ 10008159 w 11932818"/>
                <a:gd name="connsiteY12" fmla="*/ 2823587 h 2844606"/>
                <a:gd name="connsiteX13" fmla="*/ 9435402 w 11932818"/>
                <a:gd name="connsiteY13" fmla="*/ 2823587 h 2844606"/>
                <a:gd name="connsiteX14" fmla="*/ 8174614 w 11932818"/>
                <a:gd name="connsiteY14" fmla="*/ 2820454 h 2844606"/>
                <a:gd name="connsiteX15" fmla="*/ 7365442 w 11932818"/>
                <a:gd name="connsiteY15" fmla="*/ 2783394 h 2844606"/>
                <a:gd name="connsiteX16" fmla="*/ 6742444 w 11932818"/>
                <a:gd name="connsiteY16" fmla="*/ 2803490 h 2844606"/>
                <a:gd name="connsiteX17" fmla="*/ 6601767 w 11932818"/>
                <a:gd name="connsiteY17" fmla="*/ 2793442 h 2844606"/>
                <a:gd name="connsiteX18" fmla="*/ 4783016 w 11932818"/>
                <a:gd name="connsiteY18" fmla="*/ 2843684 h 2844606"/>
                <a:gd name="connsiteX19" fmla="*/ 3938954 w 11932818"/>
                <a:gd name="connsiteY19" fmla="*/ 2823587 h 2844606"/>
                <a:gd name="connsiteX20" fmla="*/ 2944167 w 11932818"/>
                <a:gd name="connsiteY20" fmla="*/ 2803490 h 2844606"/>
                <a:gd name="connsiteX21" fmla="*/ 1889090 w 11932818"/>
                <a:gd name="connsiteY21" fmla="*/ 2813539 h 2844606"/>
                <a:gd name="connsiteX22" fmla="*/ 12890 w 11932818"/>
                <a:gd name="connsiteY22" fmla="*/ 2793440 h 2844606"/>
                <a:gd name="connsiteX0" fmla="*/ 0 w 11932818"/>
                <a:gd name="connsiteY0" fmla="*/ 20097 h 2844606"/>
                <a:gd name="connsiteX1" fmla="*/ 552660 w 11932818"/>
                <a:gd name="connsiteY1" fmla="*/ 0 h 2844606"/>
                <a:gd name="connsiteX2" fmla="*/ 1637882 w 11932818"/>
                <a:gd name="connsiteY2" fmla="*/ 10048 h 2844606"/>
                <a:gd name="connsiteX3" fmla="*/ 2019719 w 11932818"/>
                <a:gd name="connsiteY3" fmla="*/ 10048 h 2844606"/>
                <a:gd name="connsiteX4" fmla="*/ 4531807 w 11932818"/>
                <a:gd name="connsiteY4" fmla="*/ 30145 h 2844606"/>
                <a:gd name="connsiteX5" fmla="*/ 6300317 w 11932818"/>
                <a:gd name="connsiteY5" fmla="*/ 60290 h 2844606"/>
                <a:gd name="connsiteX6" fmla="*/ 7063991 w 11932818"/>
                <a:gd name="connsiteY6" fmla="*/ 30145 h 2844606"/>
                <a:gd name="connsiteX7" fmla="*/ 8098972 w 11932818"/>
                <a:gd name="connsiteY7" fmla="*/ 60290 h 2844606"/>
                <a:gd name="connsiteX8" fmla="*/ 8956033 w 11932818"/>
                <a:gd name="connsiteY8" fmla="*/ 60290 h 2844606"/>
                <a:gd name="connsiteX9" fmla="*/ 10101769 w 11932818"/>
                <a:gd name="connsiteY9" fmla="*/ 0 h 2844606"/>
                <a:gd name="connsiteX10" fmla="*/ 11625888 w 11932818"/>
                <a:gd name="connsiteY10" fmla="*/ 351694 h 2844606"/>
                <a:gd name="connsiteX11" fmla="*/ 11616285 w 11932818"/>
                <a:gd name="connsiteY11" fmla="*/ 2552282 h 2844606"/>
                <a:gd name="connsiteX12" fmla="*/ 10008159 w 11932818"/>
                <a:gd name="connsiteY12" fmla="*/ 2823587 h 2844606"/>
                <a:gd name="connsiteX13" fmla="*/ 8174614 w 11932818"/>
                <a:gd name="connsiteY13" fmla="*/ 2820454 h 2844606"/>
                <a:gd name="connsiteX14" fmla="*/ 7365442 w 11932818"/>
                <a:gd name="connsiteY14" fmla="*/ 2783394 h 2844606"/>
                <a:gd name="connsiteX15" fmla="*/ 6742444 w 11932818"/>
                <a:gd name="connsiteY15" fmla="*/ 2803490 h 2844606"/>
                <a:gd name="connsiteX16" fmla="*/ 6601767 w 11932818"/>
                <a:gd name="connsiteY16" fmla="*/ 2793442 h 2844606"/>
                <a:gd name="connsiteX17" fmla="*/ 4783016 w 11932818"/>
                <a:gd name="connsiteY17" fmla="*/ 2843684 h 2844606"/>
                <a:gd name="connsiteX18" fmla="*/ 3938954 w 11932818"/>
                <a:gd name="connsiteY18" fmla="*/ 2823587 h 2844606"/>
                <a:gd name="connsiteX19" fmla="*/ 2944167 w 11932818"/>
                <a:gd name="connsiteY19" fmla="*/ 2803490 h 2844606"/>
                <a:gd name="connsiteX20" fmla="*/ 1889090 w 11932818"/>
                <a:gd name="connsiteY20" fmla="*/ 2813539 h 2844606"/>
                <a:gd name="connsiteX21" fmla="*/ 12890 w 11932818"/>
                <a:gd name="connsiteY21" fmla="*/ 2793440 h 2844606"/>
                <a:gd name="connsiteX0" fmla="*/ 0 w 12002404"/>
                <a:gd name="connsiteY0" fmla="*/ 20097 h 2844606"/>
                <a:gd name="connsiteX1" fmla="*/ 552660 w 12002404"/>
                <a:gd name="connsiteY1" fmla="*/ 0 h 2844606"/>
                <a:gd name="connsiteX2" fmla="*/ 1637882 w 12002404"/>
                <a:gd name="connsiteY2" fmla="*/ 10048 h 2844606"/>
                <a:gd name="connsiteX3" fmla="*/ 2019719 w 12002404"/>
                <a:gd name="connsiteY3" fmla="*/ 10048 h 2844606"/>
                <a:gd name="connsiteX4" fmla="*/ 4531807 w 12002404"/>
                <a:gd name="connsiteY4" fmla="*/ 30145 h 2844606"/>
                <a:gd name="connsiteX5" fmla="*/ 6300317 w 12002404"/>
                <a:gd name="connsiteY5" fmla="*/ 60290 h 2844606"/>
                <a:gd name="connsiteX6" fmla="*/ 7063991 w 12002404"/>
                <a:gd name="connsiteY6" fmla="*/ 30145 h 2844606"/>
                <a:gd name="connsiteX7" fmla="*/ 8098972 w 12002404"/>
                <a:gd name="connsiteY7" fmla="*/ 60290 h 2844606"/>
                <a:gd name="connsiteX8" fmla="*/ 8956033 w 12002404"/>
                <a:gd name="connsiteY8" fmla="*/ 60290 h 2844606"/>
                <a:gd name="connsiteX9" fmla="*/ 10101769 w 12002404"/>
                <a:gd name="connsiteY9" fmla="*/ 0 h 2844606"/>
                <a:gd name="connsiteX10" fmla="*/ 11625888 w 12002404"/>
                <a:gd name="connsiteY10" fmla="*/ 351694 h 2844606"/>
                <a:gd name="connsiteX11" fmla="*/ 11616285 w 12002404"/>
                <a:gd name="connsiteY11" fmla="*/ 2552282 h 2844606"/>
                <a:gd name="connsiteX12" fmla="*/ 8174614 w 12002404"/>
                <a:gd name="connsiteY12" fmla="*/ 2820454 h 2844606"/>
                <a:gd name="connsiteX13" fmla="*/ 7365442 w 12002404"/>
                <a:gd name="connsiteY13" fmla="*/ 2783394 h 2844606"/>
                <a:gd name="connsiteX14" fmla="*/ 6742444 w 12002404"/>
                <a:gd name="connsiteY14" fmla="*/ 2803490 h 2844606"/>
                <a:gd name="connsiteX15" fmla="*/ 6601767 w 12002404"/>
                <a:gd name="connsiteY15" fmla="*/ 2793442 h 2844606"/>
                <a:gd name="connsiteX16" fmla="*/ 4783016 w 12002404"/>
                <a:gd name="connsiteY16" fmla="*/ 2843684 h 2844606"/>
                <a:gd name="connsiteX17" fmla="*/ 3938954 w 12002404"/>
                <a:gd name="connsiteY17" fmla="*/ 2823587 h 2844606"/>
                <a:gd name="connsiteX18" fmla="*/ 2944167 w 12002404"/>
                <a:gd name="connsiteY18" fmla="*/ 2803490 h 2844606"/>
                <a:gd name="connsiteX19" fmla="*/ 1889090 w 12002404"/>
                <a:gd name="connsiteY19" fmla="*/ 2813539 h 2844606"/>
                <a:gd name="connsiteX20" fmla="*/ 12890 w 12002404"/>
                <a:gd name="connsiteY20" fmla="*/ 2793440 h 2844606"/>
                <a:gd name="connsiteX0" fmla="*/ 0 w 11669928"/>
                <a:gd name="connsiteY0" fmla="*/ 30402 h 2854911"/>
                <a:gd name="connsiteX1" fmla="*/ 552660 w 11669928"/>
                <a:gd name="connsiteY1" fmla="*/ 10305 h 2854911"/>
                <a:gd name="connsiteX2" fmla="*/ 1637882 w 11669928"/>
                <a:gd name="connsiteY2" fmla="*/ 20353 h 2854911"/>
                <a:gd name="connsiteX3" fmla="*/ 2019719 w 11669928"/>
                <a:gd name="connsiteY3" fmla="*/ 20353 h 2854911"/>
                <a:gd name="connsiteX4" fmla="*/ 4531807 w 11669928"/>
                <a:gd name="connsiteY4" fmla="*/ 40450 h 2854911"/>
                <a:gd name="connsiteX5" fmla="*/ 6300317 w 11669928"/>
                <a:gd name="connsiteY5" fmla="*/ 70595 h 2854911"/>
                <a:gd name="connsiteX6" fmla="*/ 7063991 w 11669928"/>
                <a:gd name="connsiteY6" fmla="*/ 40450 h 2854911"/>
                <a:gd name="connsiteX7" fmla="*/ 8098972 w 11669928"/>
                <a:gd name="connsiteY7" fmla="*/ 70595 h 2854911"/>
                <a:gd name="connsiteX8" fmla="*/ 8956033 w 11669928"/>
                <a:gd name="connsiteY8" fmla="*/ 70595 h 2854911"/>
                <a:gd name="connsiteX9" fmla="*/ 10101769 w 11669928"/>
                <a:gd name="connsiteY9" fmla="*/ 10305 h 2854911"/>
                <a:gd name="connsiteX10" fmla="*/ 11625888 w 11669928"/>
                <a:gd name="connsiteY10" fmla="*/ 361999 h 2854911"/>
                <a:gd name="connsiteX11" fmla="*/ 8174614 w 11669928"/>
                <a:gd name="connsiteY11" fmla="*/ 2830759 h 2854911"/>
                <a:gd name="connsiteX12" fmla="*/ 7365442 w 11669928"/>
                <a:gd name="connsiteY12" fmla="*/ 2793699 h 2854911"/>
                <a:gd name="connsiteX13" fmla="*/ 6742444 w 11669928"/>
                <a:gd name="connsiteY13" fmla="*/ 2813795 h 2854911"/>
                <a:gd name="connsiteX14" fmla="*/ 6601767 w 11669928"/>
                <a:gd name="connsiteY14" fmla="*/ 2803747 h 2854911"/>
                <a:gd name="connsiteX15" fmla="*/ 4783016 w 11669928"/>
                <a:gd name="connsiteY15" fmla="*/ 2853989 h 2854911"/>
                <a:gd name="connsiteX16" fmla="*/ 3938954 w 11669928"/>
                <a:gd name="connsiteY16" fmla="*/ 2833892 h 2854911"/>
                <a:gd name="connsiteX17" fmla="*/ 2944167 w 11669928"/>
                <a:gd name="connsiteY17" fmla="*/ 2813795 h 2854911"/>
                <a:gd name="connsiteX18" fmla="*/ 1889090 w 11669928"/>
                <a:gd name="connsiteY18" fmla="*/ 2823844 h 2854911"/>
                <a:gd name="connsiteX19" fmla="*/ 12890 w 11669928"/>
                <a:gd name="connsiteY19" fmla="*/ 2803745 h 2854911"/>
                <a:gd name="connsiteX0" fmla="*/ 0 w 10101769"/>
                <a:gd name="connsiteY0" fmla="*/ 20097 h 2844606"/>
                <a:gd name="connsiteX1" fmla="*/ 552660 w 10101769"/>
                <a:gd name="connsiteY1" fmla="*/ 0 h 2844606"/>
                <a:gd name="connsiteX2" fmla="*/ 1637882 w 10101769"/>
                <a:gd name="connsiteY2" fmla="*/ 10048 h 2844606"/>
                <a:gd name="connsiteX3" fmla="*/ 2019719 w 10101769"/>
                <a:gd name="connsiteY3" fmla="*/ 10048 h 2844606"/>
                <a:gd name="connsiteX4" fmla="*/ 4531807 w 10101769"/>
                <a:gd name="connsiteY4" fmla="*/ 30145 h 2844606"/>
                <a:gd name="connsiteX5" fmla="*/ 6300317 w 10101769"/>
                <a:gd name="connsiteY5" fmla="*/ 60290 h 2844606"/>
                <a:gd name="connsiteX6" fmla="*/ 7063991 w 10101769"/>
                <a:gd name="connsiteY6" fmla="*/ 30145 h 2844606"/>
                <a:gd name="connsiteX7" fmla="*/ 8098972 w 10101769"/>
                <a:gd name="connsiteY7" fmla="*/ 60290 h 2844606"/>
                <a:gd name="connsiteX8" fmla="*/ 8956033 w 10101769"/>
                <a:gd name="connsiteY8" fmla="*/ 60290 h 2844606"/>
                <a:gd name="connsiteX9" fmla="*/ 10101769 w 10101769"/>
                <a:gd name="connsiteY9" fmla="*/ 0 h 2844606"/>
                <a:gd name="connsiteX10" fmla="*/ 8174614 w 10101769"/>
                <a:gd name="connsiteY10" fmla="*/ 2820454 h 2844606"/>
                <a:gd name="connsiteX11" fmla="*/ 7365442 w 10101769"/>
                <a:gd name="connsiteY11" fmla="*/ 2783394 h 2844606"/>
                <a:gd name="connsiteX12" fmla="*/ 6742444 w 10101769"/>
                <a:gd name="connsiteY12" fmla="*/ 2803490 h 2844606"/>
                <a:gd name="connsiteX13" fmla="*/ 6601767 w 10101769"/>
                <a:gd name="connsiteY13" fmla="*/ 2793442 h 2844606"/>
                <a:gd name="connsiteX14" fmla="*/ 4783016 w 10101769"/>
                <a:gd name="connsiteY14" fmla="*/ 2843684 h 2844606"/>
                <a:gd name="connsiteX15" fmla="*/ 3938954 w 10101769"/>
                <a:gd name="connsiteY15" fmla="*/ 2823587 h 2844606"/>
                <a:gd name="connsiteX16" fmla="*/ 2944167 w 10101769"/>
                <a:gd name="connsiteY16" fmla="*/ 2803490 h 2844606"/>
                <a:gd name="connsiteX17" fmla="*/ 1889090 w 10101769"/>
                <a:gd name="connsiteY17" fmla="*/ 2813539 h 2844606"/>
                <a:gd name="connsiteX18" fmla="*/ 12890 w 10101769"/>
                <a:gd name="connsiteY18" fmla="*/ 2793440 h 2844606"/>
                <a:gd name="connsiteX0" fmla="*/ 0 w 10101769"/>
                <a:gd name="connsiteY0" fmla="*/ 210999 h 3035508"/>
                <a:gd name="connsiteX1" fmla="*/ 552660 w 10101769"/>
                <a:gd name="connsiteY1" fmla="*/ 190902 h 3035508"/>
                <a:gd name="connsiteX2" fmla="*/ 1637882 w 10101769"/>
                <a:gd name="connsiteY2" fmla="*/ 200950 h 3035508"/>
                <a:gd name="connsiteX3" fmla="*/ 2019719 w 10101769"/>
                <a:gd name="connsiteY3" fmla="*/ 200950 h 3035508"/>
                <a:gd name="connsiteX4" fmla="*/ 4531807 w 10101769"/>
                <a:gd name="connsiteY4" fmla="*/ 221047 h 3035508"/>
                <a:gd name="connsiteX5" fmla="*/ 6300317 w 10101769"/>
                <a:gd name="connsiteY5" fmla="*/ 251192 h 3035508"/>
                <a:gd name="connsiteX6" fmla="*/ 7063991 w 10101769"/>
                <a:gd name="connsiteY6" fmla="*/ 221047 h 3035508"/>
                <a:gd name="connsiteX7" fmla="*/ 8098972 w 10101769"/>
                <a:gd name="connsiteY7" fmla="*/ 251192 h 3035508"/>
                <a:gd name="connsiteX8" fmla="*/ 10101769 w 10101769"/>
                <a:gd name="connsiteY8" fmla="*/ 190902 h 3035508"/>
                <a:gd name="connsiteX9" fmla="*/ 8174614 w 10101769"/>
                <a:gd name="connsiteY9" fmla="*/ 3011356 h 3035508"/>
                <a:gd name="connsiteX10" fmla="*/ 7365442 w 10101769"/>
                <a:gd name="connsiteY10" fmla="*/ 2974296 h 3035508"/>
                <a:gd name="connsiteX11" fmla="*/ 6742444 w 10101769"/>
                <a:gd name="connsiteY11" fmla="*/ 2994392 h 3035508"/>
                <a:gd name="connsiteX12" fmla="*/ 6601767 w 10101769"/>
                <a:gd name="connsiteY12" fmla="*/ 2984344 h 3035508"/>
                <a:gd name="connsiteX13" fmla="*/ 4783016 w 10101769"/>
                <a:gd name="connsiteY13" fmla="*/ 3034586 h 3035508"/>
                <a:gd name="connsiteX14" fmla="*/ 3938954 w 10101769"/>
                <a:gd name="connsiteY14" fmla="*/ 3014489 h 3035508"/>
                <a:gd name="connsiteX15" fmla="*/ 2944167 w 10101769"/>
                <a:gd name="connsiteY15" fmla="*/ 2994392 h 3035508"/>
                <a:gd name="connsiteX16" fmla="*/ 1889090 w 10101769"/>
                <a:gd name="connsiteY16" fmla="*/ 3004441 h 3035508"/>
                <a:gd name="connsiteX17" fmla="*/ 12890 w 10101769"/>
                <a:gd name="connsiteY17" fmla="*/ 2984342 h 3035508"/>
                <a:gd name="connsiteX0" fmla="*/ 0 w 8254452"/>
                <a:gd name="connsiteY0" fmla="*/ 174612 h 2999121"/>
                <a:gd name="connsiteX1" fmla="*/ 552660 w 8254452"/>
                <a:gd name="connsiteY1" fmla="*/ 154515 h 2999121"/>
                <a:gd name="connsiteX2" fmla="*/ 1637882 w 8254452"/>
                <a:gd name="connsiteY2" fmla="*/ 164563 h 2999121"/>
                <a:gd name="connsiteX3" fmla="*/ 2019719 w 8254452"/>
                <a:gd name="connsiteY3" fmla="*/ 164563 h 2999121"/>
                <a:gd name="connsiteX4" fmla="*/ 4531807 w 8254452"/>
                <a:gd name="connsiteY4" fmla="*/ 184660 h 2999121"/>
                <a:gd name="connsiteX5" fmla="*/ 6300317 w 8254452"/>
                <a:gd name="connsiteY5" fmla="*/ 214805 h 2999121"/>
                <a:gd name="connsiteX6" fmla="*/ 7063991 w 8254452"/>
                <a:gd name="connsiteY6" fmla="*/ 184660 h 2999121"/>
                <a:gd name="connsiteX7" fmla="*/ 8098972 w 8254452"/>
                <a:gd name="connsiteY7" fmla="*/ 214805 h 2999121"/>
                <a:gd name="connsiteX8" fmla="*/ 8174614 w 8254452"/>
                <a:gd name="connsiteY8" fmla="*/ 2974969 h 2999121"/>
                <a:gd name="connsiteX9" fmla="*/ 7365442 w 8254452"/>
                <a:gd name="connsiteY9" fmla="*/ 2937909 h 2999121"/>
                <a:gd name="connsiteX10" fmla="*/ 6742444 w 8254452"/>
                <a:gd name="connsiteY10" fmla="*/ 2958005 h 2999121"/>
                <a:gd name="connsiteX11" fmla="*/ 6601767 w 8254452"/>
                <a:gd name="connsiteY11" fmla="*/ 2947957 h 2999121"/>
                <a:gd name="connsiteX12" fmla="*/ 4783016 w 8254452"/>
                <a:gd name="connsiteY12" fmla="*/ 2998199 h 2999121"/>
                <a:gd name="connsiteX13" fmla="*/ 3938954 w 8254452"/>
                <a:gd name="connsiteY13" fmla="*/ 2978102 h 2999121"/>
                <a:gd name="connsiteX14" fmla="*/ 2944167 w 8254452"/>
                <a:gd name="connsiteY14" fmla="*/ 2958005 h 2999121"/>
                <a:gd name="connsiteX15" fmla="*/ 1889090 w 8254452"/>
                <a:gd name="connsiteY15" fmla="*/ 2968054 h 2999121"/>
                <a:gd name="connsiteX16" fmla="*/ 12890 w 8254452"/>
                <a:gd name="connsiteY16" fmla="*/ 2947955 h 2999121"/>
                <a:gd name="connsiteX0" fmla="*/ 0 w 8254452"/>
                <a:gd name="connsiteY0" fmla="*/ 174612 h 2999121"/>
                <a:gd name="connsiteX1" fmla="*/ 552660 w 8254452"/>
                <a:gd name="connsiteY1" fmla="*/ 154515 h 2999121"/>
                <a:gd name="connsiteX2" fmla="*/ 1637882 w 8254452"/>
                <a:gd name="connsiteY2" fmla="*/ 164563 h 2999121"/>
                <a:gd name="connsiteX3" fmla="*/ 2019719 w 8254452"/>
                <a:gd name="connsiteY3" fmla="*/ 164563 h 2999121"/>
                <a:gd name="connsiteX4" fmla="*/ 4531807 w 8254452"/>
                <a:gd name="connsiteY4" fmla="*/ 184660 h 2999121"/>
                <a:gd name="connsiteX5" fmla="*/ 7063991 w 8254452"/>
                <a:gd name="connsiteY5" fmla="*/ 184660 h 2999121"/>
                <a:gd name="connsiteX6" fmla="*/ 8098972 w 8254452"/>
                <a:gd name="connsiteY6" fmla="*/ 214805 h 2999121"/>
                <a:gd name="connsiteX7" fmla="*/ 8174614 w 8254452"/>
                <a:gd name="connsiteY7" fmla="*/ 2974969 h 2999121"/>
                <a:gd name="connsiteX8" fmla="*/ 7365442 w 8254452"/>
                <a:gd name="connsiteY8" fmla="*/ 2937909 h 2999121"/>
                <a:gd name="connsiteX9" fmla="*/ 6742444 w 8254452"/>
                <a:gd name="connsiteY9" fmla="*/ 2958005 h 2999121"/>
                <a:gd name="connsiteX10" fmla="*/ 6601767 w 8254452"/>
                <a:gd name="connsiteY10" fmla="*/ 2947957 h 2999121"/>
                <a:gd name="connsiteX11" fmla="*/ 4783016 w 8254452"/>
                <a:gd name="connsiteY11" fmla="*/ 2998199 h 2999121"/>
                <a:gd name="connsiteX12" fmla="*/ 3938954 w 8254452"/>
                <a:gd name="connsiteY12" fmla="*/ 2978102 h 2999121"/>
                <a:gd name="connsiteX13" fmla="*/ 2944167 w 8254452"/>
                <a:gd name="connsiteY13" fmla="*/ 2958005 h 2999121"/>
                <a:gd name="connsiteX14" fmla="*/ 1889090 w 8254452"/>
                <a:gd name="connsiteY14" fmla="*/ 2968054 h 2999121"/>
                <a:gd name="connsiteX15" fmla="*/ 12890 w 8254452"/>
                <a:gd name="connsiteY15" fmla="*/ 2947955 h 2999121"/>
                <a:gd name="connsiteX0" fmla="*/ 0 w 8254452"/>
                <a:gd name="connsiteY0" fmla="*/ 174612 h 2999121"/>
                <a:gd name="connsiteX1" fmla="*/ 552660 w 8254452"/>
                <a:gd name="connsiteY1" fmla="*/ 154515 h 2999121"/>
                <a:gd name="connsiteX2" fmla="*/ 1637882 w 8254452"/>
                <a:gd name="connsiteY2" fmla="*/ 164563 h 2999121"/>
                <a:gd name="connsiteX3" fmla="*/ 4531807 w 8254452"/>
                <a:gd name="connsiteY3" fmla="*/ 184660 h 2999121"/>
                <a:gd name="connsiteX4" fmla="*/ 7063991 w 8254452"/>
                <a:gd name="connsiteY4" fmla="*/ 184660 h 2999121"/>
                <a:gd name="connsiteX5" fmla="*/ 8098972 w 8254452"/>
                <a:gd name="connsiteY5" fmla="*/ 214805 h 2999121"/>
                <a:gd name="connsiteX6" fmla="*/ 8174614 w 8254452"/>
                <a:gd name="connsiteY6" fmla="*/ 2974969 h 2999121"/>
                <a:gd name="connsiteX7" fmla="*/ 7365442 w 8254452"/>
                <a:gd name="connsiteY7" fmla="*/ 2937909 h 2999121"/>
                <a:gd name="connsiteX8" fmla="*/ 6742444 w 8254452"/>
                <a:gd name="connsiteY8" fmla="*/ 2958005 h 2999121"/>
                <a:gd name="connsiteX9" fmla="*/ 6601767 w 8254452"/>
                <a:gd name="connsiteY9" fmla="*/ 2947957 h 2999121"/>
                <a:gd name="connsiteX10" fmla="*/ 4783016 w 8254452"/>
                <a:gd name="connsiteY10" fmla="*/ 2998199 h 2999121"/>
                <a:gd name="connsiteX11" fmla="*/ 3938954 w 8254452"/>
                <a:gd name="connsiteY11" fmla="*/ 2978102 h 2999121"/>
                <a:gd name="connsiteX12" fmla="*/ 2944167 w 8254452"/>
                <a:gd name="connsiteY12" fmla="*/ 2958005 h 2999121"/>
                <a:gd name="connsiteX13" fmla="*/ 1889090 w 8254452"/>
                <a:gd name="connsiteY13" fmla="*/ 2968054 h 2999121"/>
                <a:gd name="connsiteX14" fmla="*/ 12890 w 8254452"/>
                <a:gd name="connsiteY14" fmla="*/ 2947955 h 2999121"/>
                <a:gd name="connsiteX0" fmla="*/ 0 w 8254452"/>
                <a:gd name="connsiteY0" fmla="*/ 174612 h 2999121"/>
                <a:gd name="connsiteX1" fmla="*/ 552660 w 8254452"/>
                <a:gd name="connsiteY1" fmla="*/ 154515 h 2999121"/>
                <a:gd name="connsiteX2" fmla="*/ 4531807 w 8254452"/>
                <a:gd name="connsiteY2" fmla="*/ 184660 h 2999121"/>
                <a:gd name="connsiteX3" fmla="*/ 7063991 w 8254452"/>
                <a:gd name="connsiteY3" fmla="*/ 184660 h 2999121"/>
                <a:gd name="connsiteX4" fmla="*/ 8098972 w 8254452"/>
                <a:gd name="connsiteY4" fmla="*/ 214805 h 2999121"/>
                <a:gd name="connsiteX5" fmla="*/ 8174614 w 8254452"/>
                <a:gd name="connsiteY5" fmla="*/ 2974969 h 2999121"/>
                <a:gd name="connsiteX6" fmla="*/ 7365442 w 8254452"/>
                <a:gd name="connsiteY6" fmla="*/ 2937909 h 2999121"/>
                <a:gd name="connsiteX7" fmla="*/ 6742444 w 8254452"/>
                <a:gd name="connsiteY7" fmla="*/ 2958005 h 2999121"/>
                <a:gd name="connsiteX8" fmla="*/ 6601767 w 8254452"/>
                <a:gd name="connsiteY8" fmla="*/ 2947957 h 2999121"/>
                <a:gd name="connsiteX9" fmla="*/ 4783016 w 8254452"/>
                <a:gd name="connsiteY9" fmla="*/ 2998199 h 2999121"/>
                <a:gd name="connsiteX10" fmla="*/ 3938954 w 8254452"/>
                <a:gd name="connsiteY10" fmla="*/ 2978102 h 2999121"/>
                <a:gd name="connsiteX11" fmla="*/ 2944167 w 8254452"/>
                <a:gd name="connsiteY11" fmla="*/ 2958005 h 2999121"/>
                <a:gd name="connsiteX12" fmla="*/ 1889090 w 8254452"/>
                <a:gd name="connsiteY12" fmla="*/ 2968054 h 2999121"/>
                <a:gd name="connsiteX13" fmla="*/ 12890 w 8254452"/>
                <a:gd name="connsiteY13" fmla="*/ 2947955 h 2999121"/>
                <a:gd name="connsiteX0" fmla="*/ 0 w 8254452"/>
                <a:gd name="connsiteY0" fmla="*/ 174612 h 2999121"/>
                <a:gd name="connsiteX1" fmla="*/ 4531807 w 8254452"/>
                <a:gd name="connsiteY1" fmla="*/ 184660 h 2999121"/>
                <a:gd name="connsiteX2" fmla="*/ 7063991 w 8254452"/>
                <a:gd name="connsiteY2" fmla="*/ 184660 h 2999121"/>
                <a:gd name="connsiteX3" fmla="*/ 8098972 w 8254452"/>
                <a:gd name="connsiteY3" fmla="*/ 214805 h 2999121"/>
                <a:gd name="connsiteX4" fmla="*/ 8174614 w 8254452"/>
                <a:gd name="connsiteY4" fmla="*/ 2974969 h 2999121"/>
                <a:gd name="connsiteX5" fmla="*/ 7365442 w 8254452"/>
                <a:gd name="connsiteY5" fmla="*/ 2937909 h 2999121"/>
                <a:gd name="connsiteX6" fmla="*/ 6742444 w 8254452"/>
                <a:gd name="connsiteY6" fmla="*/ 2958005 h 2999121"/>
                <a:gd name="connsiteX7" fmla="*/ 6601767 w 8254452"/>
                <a:gd name="connsiteY7" fmla="*/ 2947957 h 2999121"/>
                <a:gd name="connsiteX8" fmla="*/ 4783016 w 8254452"/>
                <a:gd name="connsiteY8" fmla="*/ 2998199 h 2999121"/>
                <a:gd name="connsiteX9" fmla="*/ 3938954 w 8254452"/>
                <a:gd name="connsiteY9" fmla="*/ 2978102 h 2999121"/>
                <a:gd name="connsiteX10" fmla="*/ 2944167 w 8254452"/>
                <a:gd name="connsiteY10" fmla="*/ 2958005 h 2999121"/>
                <a:gd name="connsiteX11" fmla="*/ 1889090 w 8254452"/>
                <a:gd name="connsiteY11" fmla="*/ 2968054 h 2999121"/>
                <a:gd name="connsiteX12" fmla="*/ 12890 w 8254452"/>
                <a:gd name="connsiteY12" fmla="*/ 2947955 h 2999121"/>
                <a:gd name="connsiteX0" fmla="*/ 4518917 w 8241562"/>
                <a:gd name="connsiteY0" fmla="*/ 184660 h 2999121"/>
                <a:gd name="connsiteX1" fmla="*/ 7051101 w 8241562"/>
                <a:gd name="connsiteY1" fmla="*/ 184660 h 2999121"/>
                <a:gd name="connsiteX2" fmla="*/ 8086082 w 8241562"/>
                <a:gd name="connsiteY2" fmla="*/ 214805 h 2999121"/>
                <a:gd name="connsiteX3" fmla="*/ 8161724 w 8241562"/>
                <a:gd name="connsiteY3" fmla="*/ 2974969 h 2999121"/>
                <a:gd name="connsiteX4" fmla="*/ 7352552 w 8241562"/>
                <a:gd name="connsiteY4" fmla="*/ 2937909 h 2999121"/>
                <a:gd name="connsiteX5" fmla="*/ 6729554 w 8241562"/>
                <a:gd name="connsiteY5" fmla="*/ 2958005 h 2999121"/>
                <a:gd name="connsiteX6" fmla="*/ 6588877 w 8241562"/>
                <a:gd name="connsiteY6" fmla="*/ 2947957 h 2999121"/>
                <a:gd name="connsiteX7" fmla="*/ 4770126 w 8241562"/>
                <a:gd name="connsiteY7" fmla="*/ 2998199 h 2999121"/>
                <a:gd name="connsiteX8" fmla="*/ 3926064 w 8241562"/>
                <a:gd name="connsiteY8" fmla="*/ 2978102 h 2999121"/>
                <a:gd name="connsiteX9" fmla="*/ 2931277 w 8241562"/>
                <a:gd name="connsiteY9" fmla="*/ 2958005 h 2999121"/>
                <a:gd name="connsiteX10" fmla="*/ 1876200 w 8241562"/>
                <a:gd name="connsiteY10" fmla="*/ 2968054 h 2999121"/>
                <a:gd name="connsiteX11" fmla="*/ 0 w 8241562"/>
                <a:gd name="connsiteY11" fmla="*/ 2947955 h 2999121"/>
                <a:gd name="connsiteX0" fmla="*/ 7051101 w 8241562"/>
                <a:gd name="connsiteY0" fmla="*/ 184660 h 2999121"/>
                <a:gd name="connsiteX1" fmla="*/ 8086082 w 8241562"/>
                <a:gd name="connsiteY1" fmla="*/ 214805 h 2999121"/>
                <a:gd name="connsiteX2" fmla="*/ 8161724 w 8241562"/>
                <a:gd name="connsiteY2" fmla="*/ 2974969 h 2999121"/>
                <a:gd name="connsiteX3" fmla="*/ 7352552 w 8241562"/>
                <a:gd name="connsiteY3" fmla="*/ 2937909 h 2999121"/>
                <a:gd name="connsiteX4" fmla="*/ 6729554 w 8241562"/>
                <a:gd name="connsiteY4" fmla="*/ 2958005 h 2999121"/>
                <a:gd name="connsiteX5" fmla="*/ 6588877 w 8241562"/>
                <a:gd name="connsiteY5" fmla="*/ 2947957 h 2999121"/>
                <a:gd name="connsiteX6" fmla="*/ 4770126 w 8241562"/>
                <a:gd name="connsiteY6" fmla="*/ 2998199 h 2999121"/>
                <a:gd name="connsiteX7" fmla="*/ 3926064 w 8241562"/>
                <a:gd name="connsiteY7" fmla="*/ 2978102 h 2999121"/>
                <a:gd name="connsiteX8" fmla="*/ 2931277 w 8241562"/>
                <a:gd name="connsiteY8" fmla="*/ 2958005 h 2999121"/>
                <a:gd name="connsiteX9" fmla="*/ 1876200 w 8241562"/>
                <a:gd name="connsiteY9" fmla="*/ 2968054 h 2999121"/>
                <a:gd name="connsiteX10" fmla="*/ 0 w 8241562"/>
                <a:gd name="connsiteY10" fmla="*/ 2947955 h 2999121"/>
                <a:gd name="connsiteX0" fmla="*/ 8086082 w 8241562"/>
                <a:gd name="connsiteY0" fmla="*/ 0 h 2784316"/>
                <a:gd name="connsiteX1" fmla="*/ 8161724 w 8241562"/>
                <a:gd name="connsiteY1" fmla="*/ 2760164 h 2784316"/>
                <a:gd name="connsiteX2" fmla="*/ 7352552 w 8241562"/>
                <a:gd name="connsiteY2" fmla="*/ 2723104 h 2784316"/>
                <a:gd name="connsiteX3" fmla="*/ 6729554 w 8241562"/>
                <a:gd name="connsiteY3" fmla="*/ 2743200 h 2784316"/>
                <a:gd name="connsiteX4" fmla="*/ 6588877 w 8241562"/>
                <a:gd name="connsiteY4" fmla="*/ 2733152 h 2784316"/>
                <a:gd name="connsiteX5" fmla="*/ 4770126 w 8241562"/>
                <a:gd name="connsiteY5" fmla="*/ 2783394 h 2784316"/>
                <a:gd name="connsiteX6" fmla="*/ 3926064 w 8241562"/>
                <a:gd name="connsiteY6" fmla="*/ 2763297 h 2784316"/>
                <a:gd name="connsiteX7" fmla="*/ 2931277 w 8241562"/>
                <a:gd name="connsiteY7" fmla="*/ 2743200 h 2784316"/>
                <a:gd name="connsiteX8" fmla="*/ 1876200 w 8241562"/>
                <a:gd name="connsiteY8" fmla="*/ 2753249 h 2784316"/>
                <a:gd name="connsiteX9" fmla="*/ 0 w 8241562"/>
                <a:gd name="connsiteY9" fmla="*/ 2733150 h 2784316"/>
                <a:gd name="connsiteX0" fmla="*/ 8161724 w 8161724"/>
                <a:gd name="connsiteY0" fmla="*/ 37498 h 61650"/>
                <a:gd name="connsiteX1" fmla="*/ 7352552 w 8161724"/>
                <a:gd name="connsiteY1" fmla="*/ 438 h 61650"/>
                <a:gd name="connsiteX2" fmla="*/ 6729554 w 8161724"/>
                <a:gd name="connsiteY2" fmla="*/ 20534 h 61650"/>
                <a:gd name="connsiteX3" fmla="*/ 6588877 w 8161724"/>
                <a:gd name="connsiteY3" fmla="*/ 10486 h 61650"/>
                <a:gd name="connsiteX4" fmla="*/ 4770126 w 8161724"/>
                <a:gd name="connsiteY4" fmla="*/ 60728 h 61650"/>
                <a:gd name="connsiteX5" fmla="*/ 3926064 w 8161724"/>
                <a:gd name="connsiteY5" fmla="*/ 40631 h 61650"/>
                <a:gd name="connsiteX6" fmla="*/ 2931277 w 8161724"/>
                <a:gd name="connsiteY6" fmla="*/ 20534 h 61650"/>
                <a:gd name="connsiteX7" fmla="*/ 1876200 w 8161724"/>
                <a:gd name="connsiteY7" fmla="*/ 30583 h 61650"/>
                <a:gd name="connsiteX8" fmla="*/ 0 w 8161724"/>
                <a:gd name="connsiteY8" fmla="*/ 10484 h 61650"/>
                <a:gd name="connsiteX0" fmla="*/ 8161724 w 8161724"/>
                <a:gd name="connsiteY0" fmla="*/ 37498 h 75874"/>
                <a:gd name="connsiteX1" fmla="*/ 7352552 w 8161724"/>
                <a:gd name="connsiteY1" fmla="*/ 438 h 75874"/>
                <a:gd name="connsiteX2" fmla="*/ 6729554 w 8161724"/>
                <a:gd name="connsiteY2" fmla="*/ 20534 h 75874"/>
                <a:gd name="connsiteX3" fmla="*/ 6588877 w 8161724"/>
                <a:gd name="connsiteY3" fmla="*/ 10486 h 75874"/>
                <a:gd name="connsiteX4" fmla="*/ 4770126 w 8161724"/>
                <a:gd name="connsiteY4" fmla="*/ 60728 h 75874"/>
                <a:gd name="connsiteX5" fmla="*/ 4437577 w 8161724"/>
                <a:gd name="connsiteY5" fmla="*/ 75023 h 75874"/>
                <a:gd name="connsiteX6" fmla="*/ 3926064 w 8161724"/>
                <a:gd name="connsiteY6" fmla="*/ 40631 h 75874"/>
                <a:gd name="connsiteX7" fmla="*/ 2931277 w 8161724"/>
                <a:gd name="connsiteY7" fmla="*/ 20534 h 75874"/>
                <a:gd name="connsiteX8" fmla="*/ 1876200 w 8161724"/>
                <a:gd name="connsiteY8" fmla="*/ 30583 h 75874"/>
                <a:gd name="connsiteX9" fmla="*/ 0 w 8161724"/>
                <a:gd name="connsiteY9" fmla="*/ 10484 h 75874"/>
                <a:gd name="connsiteX0" fmla="*/ 8161724 w 8161724"/>
                <a:gd name="connsiteY0" fmla="*/ 37498 h 75023"/>
                <a:gd name="connsiteX1" fmla="*/ 7352552 w 8161724"/>
                <a:gd name="connsiteY1" fmla="*/ 438 h 75023"/>
                <a:gd name="connsiteX2" fmla="*/ 6729554 w 8161724"/>
                <a:gd name="connsiteY2" fmla="*/ 20534 h 75023"/>
                <a:gd name="connsiteX3" fmla="*/ 6588877 w 8161724"/>
                <a:gd name="connsiteY3" fmla="*/ 10486 h 75023"/>
                <a:gd name="connsiteX4" fmla="*/ 4437577 w 8161724"/>
                <a:gd name="connsiteY4" fmla="*/ 75023 h 75023"/>
                <a:gd name="connsiteX5" fmla="*/ 3926064 w 8161724"/>
                <a:gd name="connsiteY5" fmla="*/ 40631 h 75023"/>
                <a:gd name="connsiteX6" fmla="*/ 2931277 w 8161724"/>
                <a:gd name="connsiteY6" fmla="*/ 20534 h 75023"/>
                <a:gd name="connsiteX7" fmla="*/ 1876200 w 8161724"/>
                <a:gd name="connsiteY7" fmla="*/ 30583 h 75023"/>
                <a:gd name="connsiteX8" fmla="*/ 0 w 8161724"/>
                <a:gd name="connsiteY8" fmla="*/ 10484 h 75023"/>
                <a:gd name="connsiteX0" fmla="*/ 8161724 w 8161724"/>
                <a:gd name="connsiteY0" fmla="*/ 37498 h 75023"/>
                <a:gd name="connsiteX1" fmla="*/ 7352552 w 8161724"/>
                <a:gd name="connsiteY1" fmla="*/ 438 h 75023"/>
                <a:gd name="connsiteX2" fmla="*/ 6729554 w 8161724"/>
                <a:gd name="connsiteY2" fmla="*/ 20534 h 75023"/>
                <a:gd name="connsiteX3" fmla="*/ 4437577 w 8161724"/>
                <a:gd name="connsiteY3" fmla="*/ 75023 h 75023"/>
                <a:gd name="connsiteX4" fmla="*/ 3926064 w 8161724"/>
                <a:gd name="connsiteY4" fmla="*/ 40631 h 75023"/>
                <a:gd name="connsiteX5" fmla="*/ 2931277 w 8161724"/>
                <a:gd name="connsiteY5" fmla="*/ 20534 h 75023"/>
                <a:gd name="connsiteX6" fmla="*/ 1876200 w 8161724"/>
                <a:gd name="connsiteY6" fmla="*/ 30583 h 75023"/>
                <a:gd name="connsiteX7" fmla="*/ 0 w 8161724"/>
                <a:gd name="connsiteY7" fmla="*/ 10484 h 75023"/>
                <a:gd name="connsiteX0" fmla="*/ 8161724 w 8161724"/>
                <a:gd name="connsiteY0" fmla="*/ 37060 h 74585"/>
                <a:gd name="connsiteX1" fmla="*/ 7352552 w 8161724"/>
                <a:gd name="connsiteY1" fmla="*/ 0 h 74585"/>
                <a:gd name="connsiteX2" fmla="*/ 4437577 w 8161724"/>
                <a:gd name="connsiteY2" fmla="*/ 74585 h 74585"/>
                <a:gd name="connsiteX3" fmla="*/ 3926064 w 8161724"/>
                <a:gd name="connsiteY3" fmla="*/ 40193 h 74585"/>
                <a:gd name="connsiteX4" fmla="*/ 2931277 w 8161724"/>
                <a:gd name="connsiteY4" fmla="*/ 20096 h 74585"/>
                <a:gd name="connsiteX5" fmla="*/ 1876200 w 8161724"/>
                <a:gd name="connsiteY5" fmla="*/ 30145 h 74585"/>
                <a:gd name="connsiteX6" fmla="*/ 0 w 8161724"/>
                <a:gd name="connsiteY6" fmla="*/ 10046 h 74585"/>
                <a:gd name="connsiteX0" fmla="*/ 8161724 w 8161724"/>
                <a:gd name="connsiteY0" fmla="*/ 27014 h 64539"/>
                <a:gd name="connsiteX1" fmla="*/ 4437577 w 8161724"/>
                <a:gd name="connsiteY1" fmla="*/ 64539 h 64539"/>
                <a:gd name="connsiteX2" fmla="*/ 3926064 w 8161724"/>
                <a:gd name="connsiteY2" fmla="*/ 30147 h 64539"/>
                <a:gd name="connsiteX3" fmla="*/ 2931277 w 8161724"/>
                <a:gd name="connsiteY3" fmla="*/ 10050 h 64539"/>
                <a:gd name="connsiteX4" fmla="*/ 1876200 w 8161724"/>
                <a:gd name="connsiteY4" fmla="*/ 20099 h 64539"/>
                <a:gd name="connsiteX5" fmla="*/ 0 w 8161724"/>
                <a:gd name="connsiteY5" fmla="*/ 0 h 64539"/>
                <a:gd name="connsiteX0" fmla="*/ 4437577 w 4437577"/>
                <a:gd name="connsiteY0" fmla="*/ 64539 h 64539"/>
                <a:gd name="connsiteX1" fmla="*/ 3926064 w 4437577"/>
                <a:gd name="connsiteY1" fmla="*/ 30147 h 64539"/>
                <a:gd name="connsiteX2" fmla="*/ 2931277 w 4437577"/>
                <a:gd name="connsiteY2" fmla="*/ 10050 h 64539"/>
                <a:gd name="connsiteX3" fmla="*/ 1876200 w 4437577"/>
                <a:gd name="connsiteY3" fmla="*/ 20099 h 64539"/>
                <a:gd name="connsiteX4" fmla="*/ 0 w 4437577"/>
                <a:gd name="connsiteY4" fmla="*/ 0 h 645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37577" h="64539">
                  <a:moveTo>
                    <a:pt x="4437577" y="64539"/>
                  </a:moveTo>
                  <a:cubicBezTo>
                    <a:pt x="4296900" y="61190"/>
                    <a:pt x="4177114" y="39229"/>
                    <a:pt x="3926064" y="30147"/>
                  </a:cubicBezTo>
                  <a:lnTo>
                    <a:pt x="2931277" y="10050"/>
                  </a:lnTo>
                  <a:lnTo>
                    <a:pt x="1876200" y="20099"/>
                  </a:lnTo>
                  <a:lnTo>
                    <a:pt x="0" y="0"/>
                  </a:lnTo>
                </a:path>
              </a:pathLst>
            </a:custGeom>
            <a:noFill/>
            <a:ln w="200025"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F6F725E0-087D-CB4C-389B-E018508AB15D}"/>
                </a:ext>
              </a:extLst>
            </p:cNvPr>
            <p:cNvSpPr/>
            <p:nvPr/>
          </p:nvSpPr>
          <p:spPr>
            <a:xfrm rot="10800000">
              <a:off x="96386" y="1275535"/>
              <a:ext cx="4310514" cy="73776"/>
            </a:xfrm>
            <a:custGeom>
              <a:avLst/>
              <a:gdLst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884255 w 11867103"/>
                <a:gd name="connsiteY5" fmla="*/ 60290 h 2964609"/>
                <a:gd name="connsiteX6" fmla="*/ 964642 w 11867103"/>
                <a:gd name="connsiteY6" fmla="*/ 70339 h 2964609"/>
                <a:gd name="connsiteX7" fmla="*/ 994787 w 11867103"/>
                <a:gd name="connsiteY7" fmla="*/ 80387 h 2964609"/>
                <a:gd name="connsiteX8" fmla="*/ 1356528 w 11867103"/>
                <a:gd name="connsiteY8" fmla="*/ 80387 h 2964609"/>
                <a:gd name="connsiteX9" fmla="*/ 1758462 w 11867103"/>
                <a:gd name="connsiteY9" fmla="*/ 40193 h 2964609"/>
                <a:gd name="connsiteX10" fmla="*/ 1889090 w 11867103"/>
                <a:gd name="connsiteY10" fmla="*/ 20097 h 2964609"/>
                <a:gd name="connsiteX11" fmla="*/ 2140299 w 11867103"/>
                <a:gd name="connsiteY11" fmla="*/ 40193 h 2964609"/>
                <a:gd name="connsiteX12" fmla="*/ 2200589 w 11867103"/>
                <a:gd name="connsiteY12" fmla="*/ 50242 h 2964609"/>
                <a:gd name="connsiteX13" fmla="*/ 4652387 w 11867103"/>
                <a:gd name="connsiteY13" fmla="*/ 60290 h 2964609"/>
                <a:gd name="connsiteX14" fmla="*/ 4692580 w 11867103"/>
                <a:gd name="connsiteY14" fmla="*/ 70339 h 2964609"/>
                <a:gd name="connsiteX15" fmla="*/ 4843306 w 11867103"/>
                <a:gd name="connsiteY15" fmla="*/ 90435 h 2964609"/>
                <a:gd name="connsiteX16" fmla="*/ 5677319 w 11867103"/>
                <a:gd name="connsiteY16" fmla="*/ 80387 h 2964609"/>
                <a:gd name="connsiteX17" fmla="*/ 6169688 w 11867103"/>
                <a:gd name="connsiteY17" fmla="*/ 110532 h 2964609"/>
                <a:gd name="connsiteX18" fmla="*/ 6420897 w 11867103"/>
                <a:gd name="connsiteY18" fmla="*/ 90435 h 2964609"/>
                <a:gd name="connsiteX19" fmla="*/ 6511332 w 11867103"/>
                <a:gd name="connsiteY19" fmla="*/ 30145 h 2964609"/>
                <a:gd name="connsiteX20" fmla="*/ 6571622 w 11867103"/>
                <a:gd name="connsiteY20" fmla="*/ 20097 h 2964609"/>
                <a:gd name="connsiteX21" fmla="*/ 6641961 w 11867103"/>
                <a:gd name="connsiteY21" fmla="*/ 0 h 2964609"/>
                <a:gd name="connsiteX22" fmla="*/ 7204668 w 11867103"/>
                <a:gd name="connsiteY22" fmla="*/ 10048 h 2964609"/>
                <a:gd name="connsiteX23" fmla="*/ 7285055 w 11867103"/>
                <a:gd name="connsiteY23" fmla="*/ 30145 h 2964609"/>
                <a:gd name="connsiteX24" fmla="*/ 7375490 w 11867103"/>
                <a:gd name="connsiteY24" fmla="*/ 40193 h 2964609"/>
                <a:gd name="connsiteX25" fmla="*/ 7928150 w 11867103"/>
                <a:gd name="connsiteY25" fmla="*/ 60290 h 2964609"/>
                <a:gd name="connsiteX26" fmla="*/ 8109020 w 11867103"/>
                <a:gd name="connsiteY26" fmla="*/ 80387 h 2964609"/>
                <a:gd name="connsiteX27" fmla="*/ 8219552 w 11867103"/>
                <a:gd name="connsiteY27" fmla="*/ 90435 h 2964609"/>
                <a:gd name="connsiteX28" fmla="*/ 8299939 w 11867103"/>
                <a:gd name="connsiteY28" fmla="*/ 100484 h 2964609"/>
                <a:gd name="connsiteX29" fmla="*/ 8521002 w 11867103"/>
                <a:gd name="connsiteY29" fmla="*/ 110532 h 2964609"/>
                <a:gd name="connsiteX30" fmla="*/ 9515789 w 11867103"/>
                <a:gd name="connsiteY30" fmla="*/ 100484 h 2964609"/>
                <a:gd name="connsiteX31" fmla="*/ 9606224 w 11867103"/>
                <a:gd name="connsiteY31" fmla="*/ 90435 h 2964609"/>
                <a:gd name="connsiteX32" fmla="*/ 9716756 w 11867103"/>
                <a:gd name="connsiteY32" fmla="*/ 80387 h 2964609"/>
                <a:gd name="connsiteX33" fmla="*/ 9797143 w 11867103"/>
                <a:gd name="connsiteY33" fmla="*/ 70339 h 2964609"/>
                <a:gd name="connsiteX34" fmla="*/ 9947868 w 11867103"/>
                <a:gd name="connsiteY34" fmla="*/ 60290 h 2964609"/>
                <a:gd name="connsiteX35" fmla="*/ 10791930 w 11867103"/>
                <a:gd name="connsiteY35" fmla="*/ 30145 h 2964609"/>
                <a:gd name="connsiteX36" fmla="*/ 11736475 w 11867103"/>
                <a:gd name="connsiteY36" fmla="*/ 50242 h 2964609"/>
                <a:gd name="connsiteX37" fmla="*/ 11766620 w 11867103"/>
                <a:gd name="connsiteY37" fmla="*/ 80387 h 2964609"/>
                <a:gd name="connsiteX38" fmla="*/ 11786717 w 11867103"/>
                <a:gd name="connsiteY38" fmla="*/ 120580 h 2964609"/>
                <a:gd name="connsiteX39" fmla="*/ 11806813 w 11867103"/>
                <a:gd name="connsiteY39" fmla="*/ 211015 h 2964609"/>
                <a:gd name="connsiteX40" fmla="*/ 11816862 w 11867103"/>
                <a:gd name="connsiteY40" fmla="*/ 251209 h 2964609"/>
                <a:gd name="connsiteX41" fmla="*/ 11826910 w 11867103"/>
                <a:gd name="connsiteY41" fmla="*/ 341644 h 2964609"/>
                <a:gd name="connsiteX42" fmla="*/ 11836958 w 11867103"/>
                <a:gd name="connsiteY42" fmla="*/ 422031 h 2964609"/>
                <a:gd name="connsiteX43" fmla="*/ 11826910 w 11867103"/>
                <a:gd name="connsiteY43" fmla="*/ 733530 h 2964609"/>
                <a:gd name="connsiteX44" fmla="*/ 11816862 w 11867103"/>
                <a:gd name="connsiteY44" fmla="*/ 793820 h 2964609"/>
                <a:gd name="connsiteX45" fmla="*/ 11806813 w 11867103"/>
                <a:gd name="connsiteY45" fmla="*/ 864158 h 2964609"/>
                <a:gd name="connsiteX46" fmla="*/ 11816862 w 11867103"/>
                <a:gd name="connsiteY46" fmla="*/ 2331218 h 2964609"/>
                <a:gd name="connsiteX47" fmla="*/ 11826910 w 11867103"/>
                <a:gd name="connsiteY47" fmla="*/ 2401556 h 2964609"/>
                <a:gd name="connsiteX48" fmla="*/ 11836958 w 11867103"/>
                <a:gd name="connsiteY48" fmla="*/ 2431701 h 2964609"/>
                <a:gd name="connsiteX49" fmla="*/ 11857055 w 11867103"/>
                <a:gd name="connsiteY49" fmla="*/ 2562330 h 2964609"/>
                <a:gd name="connsiteX50" fmla="*/ 11867103 w 11867103"/>
                <a:gd name="connsiteY50" fmla="*/ 2602523 h 2964609"/>
                <a:gd name="connsiteX51" fmla="*/ 11857055 w 11867103"/>
                <a:gd name="connsiteY51" fmla="*/ 2833635 h 2964609"/>
                <a:gd name="connsiteX52" fmla="*/ 11836958 w 11867103"/>
                <a:gd name="connsiteY52" fmla="*/ 2863780 h 2964609"/>
                <a:gd name="connsiteX53" fmla="*/ 11033090 w 11867103"/>
                <a:gd name="connsiteY53" fmla="*/ 2853732 h 2964609"/>
                <a:gd name="connsiteX54" fmla="*/ 10621108 w 11867103"/>
                <a:gd name="connsiteY54" fmla="*/ 2843684 h 2964609"/>
                <a:gd name="connsiteX55" fmla="*/ 10128739 w 11867103"/>
                <a:gd name="connsiteY55" fmla="*/ 2853732 h 2964609"/>
                <a:gd name="connsiteX56" fmla="*/ 10048352 w 11867103"/>
                <a:gd name="connsiteY56" fmla="*/ 2863780 h 2964609"/>
                <a:gd name="connsiteX57" fmla="*/ 9555982 w 11867103"/>
                <a:gd name="connsiteY57" fmla="*/ 2853732 h 2964609"/>
                <a:gd name="connsiteX58" fmla="*/ 9445451 w 11867103"/>
                <a:gd name="connsiteY58" fmla="*/ 2843684 h 2964609"/>
                <a:gd name="connsiteX59" fmla="*/ 9415306 w 11867103"/>
                <a:gd name="connsiteY59" fmla="*/ 2823587 h 2964609"/>
                <a:gd name="connsiteX60" fmla="*/ 9204290 w 11867103"/>
                <a:gd name="connsiteY60" fmla="*/ 2803490 h 2964609"/>
                <a:gd name="connsiteX61" fmla="*/ 9073662 w 11867103"/>
                <a:gd name="connsiteY61" fmla="*/ 2783393 h 2964609"/>
                <a:gd name="connsiteX62" fmla="*/ 8812404 w 11867103"/>
                <a:gd name="connsiteY62" fmla="*/ 2773345 h 2964609"/>
                <a:gd name="connsiteX63" fmla="*/ 8400422 w 11867103"/>
                <a:gd name="connsiteY63" fmla="*/ 2763297 h 2964609"/>
                <a:gd name="connsiteX64" fmla="*/ 8269793 w 11867103"/>
                <a:gd name="connsiteY64" fmla="*/ 2753248 h 2964609"/>
                <a:gd name="connsiteX65" fmla="*/ 7797521 w 11867103"/>
                <a:gd name="connsiteY65" fmla="*/ 2773345 h 2964609"/>
                <a:gd name="connsiteX66" fmla="*/ 7717134 w 11867103"/>
                <a:gd name="connsiteY66" fmla="*/ 2783393 h 2964609"/>
                <a:gd name="connsiteX67" fmla="*/ 7486022 w 11867103"/>
                <a:gd name="connsiteY67" fmla="*/ 2813539 h 2964609"/>
                <a:gd name="connsiteX68" fmla="*/ 7395587 w 11867103"/>
                <a:gd name="connsiteY68" fmla="*/ 2833635 h 2964609"/>
                <a:gd name="connsiteX69" fmla="*/ 7325248 w 11867103"/>
                <a:gd name="connsiteY69" fmla="*/ 2843684 h 2964609"/>
                <a:gd name="connsiteX70" fmla="*/ 6863024 w 11867103"/>
                <a:gd name="connsiteY70" fmla="*/ 2833635 h 2964609"/>
                <a:gd name="connsiteX71" fmla="*/ 6722347 w 11867103"/>
                <a:gd name="connsiteY71" fmla="*/ 2823587 h 2964609"/>
                <a:gd name="connsiteX72" fmla="*/ 4903596 w 11867103"/>
                <a:gd name="connsiteY72" fmla="*/ 2873829 h 2964609"/>
                <a:gd name="connsiteX73" fmla="*/ 4722725 w 11867103"/>
                <a:gd name="connsiteY73" fmla="*/ 2914022 h 2964609"/>
                <a:gd name="connsiteX74" fmla="*/ 4300695 w 11867103"/>
                <a:gd name="connsiteY74" fmla="*/ 2893925 h 2964609"/>
                <a:gd name="connsiteX75" fmla="*/ 4059534 w 11867103"/>
                <a:gd name="connsiteY75" fmla="*/ 2853732 h 2964609"/>
                <a:gd name="connsiteX76" fmla="*/ 3768132 w 11867103"/>
                <a:gd name="connsiteY76" fmla="*/ 2823587 h 2964609"/>
                <a:gd name="connsiteX77" fmla="*/ 3627455 w 11867103"/>
                <a:gd name="connsiteY77" fmla="*/ 2813539 h 2964609"/>
                <a:gd name="connsiteX78" fmla="*/ 3125037 w 11867103"/>
                <a:gd name="connsiteY78" fmla="*/ 2823587 h 2964609"/>
                <a:gd name="connsiteX79" fmla="*/ 3064747 w 11867103"/>
                <a:gd name="connsiteY79" fmla="*/ 2833635 h 2964609"/>
                <a:gd name="connsiteX80" fmla="*/ 2009670 w 11867103"/>
                <a:gd name="connsiteY80" fmla="*/ 2843684 h 2964609"/>
                <a:gd name="connsiteX81" fmla="*/ 1678075 w 11867103"/>
                <a:gd name="connsiteY81" fmla="*/ 2934119 h 2964609"/>
                <a:gd name="connsiteX82" fmla="*/ 1607736 w 11867103"/>
                <a:gd name="connsiteY82" fmla="*/ 2964264 h 2964609"/>
                <a:gd name="connsiteX83" fmla="*/ 1135464 w 11867103"/>
                <a:gd name="connsiteY83" fmla="*/ 2944167 h 2964609"/>
                <a:gd name="connsiteX84" fmla="*/ 944545 w 11867103"/>
                <a:gd name="connsiteY84" fmla="*/ 2914022 h 2964609"/>
                <a:gd name="connsiteX85" fmla="*/ 723481 w 11867103"/>
                <a:gd name="connsiteY85" fmla="*/ 2873829 h 2964609"/>
                <a:gd name="connsiteX86" fmla="*/ 643095 w 11867103"/>
                <a:gd name="connsiteY86" fmla="*/ 2863780 h 2964609"/>
                <a:gd name="connsiteX87" fmla="*/ 371789 w 11867103"/>
                <a:gd name="connsiteY87" fmla="*/ 2823587 h 2964609"/>
                <a:gd name="connsiteX88" fmla="*/ 0 w 11867103"/>
                <a:gd name="connsiteY88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884255 w 11867103"/>
                <a:gd name="connsiteY5" fmla="*/ 60290 h 2964609"/>
                <a:gd name="connsiteX6" fmla="*/ 964642 w 11867103"/>
                <a:gd name="connsiteY6" fmla="*/ 70339 h 2964609"/>
                <a:gd name="connsiteX7" fmla="*/ 1356528 w 11867103"/>
                <a:gd name="connsiteY7" fmla="*/ 80387 h 2964609"/>
                <a:gd name="connsiteX8" fmla="*/ 1758462 w 11867103"/>
                <a:gd name="connsiteY8" fmla="*/ 40193 h 2964609"/>
                <a:gd name="connsiteX9" fmla="*/ 1889090 w 11867103"/>
                <a:gd name="connsiteY9" fmla="*/ 20097 h 2964609"/>
                <a:gd name="connsiteX10" fmla="*/ 2140299 w 11867103"/>
                <a:gd name="connsiteY10" fmla="*/ 40193 h 2964609"/>
                <a:gd name="connsiteX11" fmla="*/ 2200589 w 11867103"/>
                <a:gd name="connsiteY11" fmla="*/ 50242 h 2964609"/>
                <a:gd name="connsiteX12" fmla="*/ 4652387 w 11867103"/>
                <a:gd name="connsiteY12" fmla="*/ 60290 h 2964609"/>
                <a:gd name="connsiteX13" fmla="*/ 4692580 w 11867103"/>
                <a:gd name="connsiteY13" fmla="*/ 70339 h 2964609"/>
                <a:gd name="connsiteX14" fmla="*/ 4843306 w 11867103"/>
                <a:gd name="connsiteY14" fmla="*/ 90435 h 2964609"/>
                <a:gd name="connsiteX15" fmla="*/ 5677319 w 11867103"/>
                <a:gd name="connsiteY15" fmla="*/ 80387 h 2964609"/>
                <a:gd name="connsiteX16" fmla="*/ 6169688 w 11867103"/>
                <a:gd name="connsiteY16" fmla="*/ 110532 h 2964609"/>
                <a:gd name="connsiteX17" fmla="*/ 6420897 w 11867103"/>
                <a:gd name="connsiteY17" fmla="*/ 90435 h 2964609"/>
                <a:gd name="connsiteX18" fmla="*/ 6511332 w 11867103"/>
                <a:gd name="connsiteY18" fmla="*/ 30145 h 2964609"/>
                <a:gd name="connsiteX19" fmla="*/ 6571622 w 11867103"/>
                <a:gd name="connsiteY19" fmla="*/ 20097 h 2964609"/>
                <a:gd name="connsiteX20" fmla="*/ 6641961 w 11867103"/>
                <a:gd name="connsiteY20" fmla="*/ 0 h 2964609"/>
                <a:gd name="connsiteX21" fmla="*/ 7204668 w 11867103"/>
                <a:gd name="connsiteY21" fmla="*/ 10048 h 2964609"/>
                <a:gd name="connsiteX22" fmla="*/ 7285055 w 11867103"/>
                <a:gd name="connsiteY22" fmla="*/ 30145 h 2964609"/>
                <a:gd name="connsiteX23" fmla="*/ 7375490 w 11867103"/>
                <a:gd name="connsiteY23" fmla="*/ 40193 h 2964609"/>
                <a:gd name="connsiteX24" fmla="*/ 7928150 w 11867103"/>
                <a:gd name="connsiteY24" fmla="*/ 60290 h 2964609"/>
                <a:gd name="connsiteX25" fmla="*/ 8109020 w 11867103"/>
                <a:gd name="connsiteY25" fmla="*/ 80387 h 2964609"/>
                <a:gd name="connsiteX26" fmla="*/ 8219552 w 11867103"/>
                <a:gd name="connsiteY26" fmla="*/ 90435 h 2964609"/>
                <a:gd name="connsiteX27" fmla="*/ 8299939 w 11867103"/>
                <a:gd name="connsiteY27" fmla="*/ 100484 h 2964609"/>
                <a:gd name="connsiteX28" fmla="*/ 8521002 w 11867103"/>
                <a:gd name="connsiteY28" fmla="*/ 110532 h 2964609"/>
                <a:gd name="connsiteX29" fmla="*/ 9515789 w 11867103"/>
                <a:gd name="connsiteY29" fmla="*/ 100484 h 2964609"/>
                <a:gd name="connsiteX30" fmla="*/ 9606224 w 11867103"/>
                <a:gd name="connsiteY30" fmla="*/ 90435 h 2964609"/>
                <a:gd name="connsiteX31" fmla="*/ 9716756 w 11867103"/>
                <a:gd name="connsiteY31" fmla="*/ 80387 h 2964609"/>
                <a:gd name="connsiteX32" fmla="*/ 9797143 w 11867103"/>
                <a:gd name="connsiteY32" fmla="*/ 70339 h 2964609"/>
                <a:gd name="connsiteX33" fmla="*/ 9947868 w 11867103"/>
                <a:gd name="connsiteY33" fmla="*/ 60290 h 2964609"/>
                <a:gd name="connsiteX34" fmla="*/ 10791930 w 11867103"/>
                <a:gd name="connsiteY34" fmla="*/ 30145 h 2964609"/>
                <a:gd name="connsiteX35" fmla="*/ 11736475 w 11867103"/>
                <a:gd name="connsiteY35" fmla="*/ 50242 h 2964609"/>
                <a:gd name="connsiteX36" fmla="*/ 11766620 w 11867103"/>
                <a:gd name="connsiteY36" fmla="*/ 80387 h 2964609"/>
                <a:gd name="connsiteX37" fmla="*/ 11786717 w 11867103"/>
                <a:gd name="connsiteY37" fmla="*/ 120580 h 2964609"/>
                <a:gd name="connsiteX38" fmla="*/ 11806813 w 11867103"/>
                <a:gd name="connsiteY38" fmla="*/ 211015 h 2964609"/>
                <a:gd name="connsiteX39" fmla="*/ 11816862 w 11867103"/>
                <a:gd name="connsiteY39" fmla="*/ 251209 h 2964609"/>
                <a:gd name="connsiteX40" fmla="*/ 11826910 w 11867103"/>
                <a:gd name="connsiteY40" fmla="*/ 341644 h 2964609"/>
                <a:gd name="connsiteX41" fmla="*/ 11836958 w 11867103"/>
                <a:gd name="connsiteY41" fmla="*/ 422031 h 2964609"/>
                <a:gd name="connsiteX42" fmla="*/ 11826910 w 11867103"/>
                <a:gd name="connsiteY42" fmla="*/ 733530 h 2964609"/>
                <a:gd name="connsiteX43" fmla="*/ 11816862 w 11867103"/>
                <a:gd name="connsiteY43" fmla="*/ 793820 h 2964609"/>
                <a:gd name="connsiteX44" fmla="*/ 11806813 w 11867103"/>
                <a:gd name="connsiteY44" fmla="*/ 864158 h 2964609"/>
                <a:gd name="connsiteX45" fmla="*/ 11816862 w 11867103"/>
                <a:gd name="connsiteY45" fmla="*/ 2331218 h 2964609"/>
                <a:gd name="connsiteX46" fmla="*/ 11826910 w 11867103"/>
                <a:gd name="connsiteY46" fmla="*/ 2401556 h 2964609"/>
                <a:gd name="connsiteX47" fmla="*/ 11836958 w 11867103"/>
                <a:gd name="connsiteY47" fmla="*/ 2431701 h 2964609"/>
                <a:gd name="connsiteX48" fmla="*/ 11857055 w 11867103"/>
                <a:gd name="connsiteY48" fmla="*/ 2562330 h 2964609"/>
                <a:gd name="connsiteX49" fmla="*/ 11867103 w 11867103"/>
                <a:gd name="connsiteY49" fmla="*/ 2602523 h 2964609"/>
                <a:gd name="connsiteX50" fmla="*/ 11857055 w 11867103"/>
                <a:gd name="connsiteY50" fmla="*/ 2833635 h 2964609"/>
                <a:gd name="connsiteX51" fmla="*/ 11836958 w 11867103"/>
                <a:gd name="connsiteY51" fmla="*/ 2863780 h 2964609"/>
                <a:gd name="connsiteX52" fmla="*/ 11033090 w 11867103"/>
                <a:gd name="connsiteY52" fmla="*/ 2853732 h 2964609"/>
                <a:gd name="connsiteX53" fmla="*/ 10621108 w 11867103"/>
                <a:gd name="connsiteY53" fmla="*/ 2843684 h 2964609"/>
                <a:gd name="connsiteX54" fmla="*/ 10128739 w 11867103"/>
                <a:gd name="connsiteY54" fmla="*/ 2853732 h 2964609"/>
                <a:gd name="connsiteX55" fmla="*/ 10048352 w 11867103"/>
                <a:gd name="connsiteY55" fmla="*/ 2863780 h 2964609"/>
                <a:gd name="connsiteX56" fmla="*/ 9555982 w 11867103"/>
                <a:gd name="connsiteY56" fmla="*/ 2853732 h 2964609"/>
                <a:gd name="connsiteX57" fmla="*/ 9445451 w 11867103"/>
                <a:gd name="connsiteY57" fmla="*/ 2843684 h 2964609"/>
                <a:gd name="connsiteX58" fmla="*/ 9415306 w 11867103"/>
                <a:gd name="connsiteY58" fmla="*/ 2823587 h 2964609"/>
                <a:gd name="connsiteX59" fmla="*/ 9204290 w 11867103"/>
                <a:gd name="connsiteY59" fmla="*/ 2803490 h 2964609"/>
                <a:gd name="connsiteX60" fmla="*/ 9073662 w 11867103"/>
                <a:gd name="connsiteY60" fmla="*/ 2783393 h 2964609"/>
                <a:gd name="connsiteX61" fmla="*/ 8812404 w 11867103"/>
                <a:gd name="connsiteY61" fmla="*/ 2773345 h 2964609"/>
                <a:gd name="connsiteX62" fmla="*/ 8400422 w 11867103"/>
                <a:gd name="connsiteY62" fmla="*/ 2763297 h 2964609"/>
                <a:gd name="connsiteX63" fmla="*/ 8269793 w 11867103"/>
                <a:gd name="connsiteY63" fmla="*/ 2753248 h 2964609"/>
                <a:gd name="connsiteX64" fmla="*/ 7797521 w 11867103"/>
                <a:gd name="connsiteY64" fmla="*/ 2773345 h 2964609"/>
                <a:gd name="connsiteX65" fmla="*/ 7717134 w 11867103"/>
                <a:gd name="connsiteY65" fmla="*/ 2783393 h 2964609"/>
                <a:gd name="connsiteX66" fmla="*/ 7486022 w 11867103"/>
                <a:gd name="connsiteY66" fmla="*/ 2813539 h 2964609"/>
                <a:gd name="connsiteX67" fmla="*/ 7395587 w 11867103"/>
                <a:gd name="connsiteY67" fmla="*/ 2833635 h 2964609"/>
                <a:gd name="connsiteX68" fmla="*/ 7325248 w 11867103"/>
                <a:gd name="connsiteY68" fmla="*/ 2843684 h 2964609"/>
                <a:gd name="connsiteX69" fmla="*/ 6863024 w 11867103"/>
                <a:gd name="connsiteY69" fmla="*/ 2833635 h 2964609"/>
                <a:gd name="connsiteX70" fmla="*/ 6722347 w 11867103"/>
                <a:gd name="connsiteY70" fmla="*/ 2823587 h 2964609"/>
                <a:gd name="connsiteX71" fmla="*/ 4903596 w 11867103"/>
                <a:gd name="connsiteY71" fmla="*/ 2873829 h 2964609"/>
                <a:gd name="connsiteX72" fmla="*/ 4722725 w 11867103"/>
                <a:gd name="connsiteY72" fmla="*/ 2914022 h 2964609"/>
                <a:gd name="connsiteX73" fmla="*/ 4300695 w 11867103"/>
                <a:gd name="connsiteY73" fmla="*/ 2893925 h 2964609"/>
                <a:gd name="connsiteX74" fmla="*/ 4059534 w 11867103"/>
                <a:gd name="connsiteY74" fmla="*/ 2853732 h 2964609"/>
                <a:gd name="connsiteX75" fmla="*/ 3768132 w 11867103"/>
                <a:gd name="connsiteY75" fmla="*/ 2823587 h 2964609"/>
                <a:gd name="connsiteX76" fmla="*/ 3627455 w 11867103"/>
                <a:gd name="connsiteY76" fmla="*/ 2813539 h 2964609"/>
                <a:gd name="connsiteX77" fmla="*/ 3125037 w 11867103"/>
                <a:gd name="connsiteY77" fmla="*/ 2823587 h 2964609"/>
                <a:gd name="connsiteX78" fmla="*/ 3064747 w 11867103"/>
                <a:gd name="connsiteY78" fmla="*/ 2833635 h 2964609"/>
                <a:gd name="connsiteX79" fmla="*/ 2009670 w 11867103"/>
                <a:gd name="connsiteY79" fmla="*/ 2843684 h 2964609"/>
                <a:gd name="connsiteX80" fmla="*/ 1678075 w 11867103"/>
                <a:gd name="connsiteY80" fmla="*/ 2934119 h 2964609"/>
                <a:gd name="connsiteX81" fmla="*/ 1607736 w 11867103"/>
                <a:gd name="connsiteY81" fmla="*/ 2964264 h 2964609"/>
                <a:gd name="connsiteX82" fmla="*/ 1135464 w 11867103"/>
                <a:gd name="connsiteY82" fmla="*/ 2944167 h 2964609"/>
                <a:gd name="connsiteX83" fmla="*/ 944545 w 11867103"/>
                <a:gd name="connsiteY83" fmla="*/ 2914022 h 2964609"/>
                <a:gd name="connsiteX84" fmla="*/ 723481 w 11867103"/>
                <a:gd name="connsiteY84" fmla="*/ 2873829 h 2964609"/>
                <a:gd name="connsiteX85" fmla="*/ 643095 w 11867103"/>
                <a:gd name="connsiteY85" fmla="*/ 2863780 h 2964609"/>
                <a:gd name="connsiteX86" fmla="*/ 371789 w 11867103"/>
                <a:gd name="connsiteY86" fmla="*/ 2823587 h 2964609"/>
                <a:gd name="connsiteX87" fmla="*/ 0 w 11867103"/>
                <a:gd name="connsiteY87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884255 w 11867103"/>
                <a:gd name="connsiteY5" fmla="*/ 60290 h 2964609"/>
                <a:gd name="connsiteX6" fmla="*/ 1356528 w 11867103"/>
                <a:gd name="connsiteY6" fmla="*/ 80387 h 2964609"/>
                <a:gd name="connsiteX7" fmla="*/ 1758462 w 11867103"/>
                <a:gd name="connsiteY7" fmla="*/ 40193 h 2964609"/>
                <a:gd name="connsiteX8" fmla="*/ 1889090 w 11867103"/>
                <a:gd name="connsiteY8" fmla="*/ 20097 h 2964609"/>
                <a:gd name="connsiteX9" fmla="*/ 2140299 w 11867103"/>
                <a:gd name="connsiteY9" fmla="*/ 40193 h 2964609"/>
                <a:gd name="connsiteX10" fmla="*/ 2200589 w 11867103"/>
                <a:gd name="connsiteY10" fmla="*/ 50242 h 2964609"/>
                <a:gd name="connsiteX11" fmla="*/ 4652387 w 11867103"/>
                <a:gd name="connsiteY11" fmla="*/ 60290 h 2964609"/>
                <a:gd name="connsiteX12" fmla="*/ 4692580 w 11867103"/>
                <a:gd name="connsiteY12" fmla="*/ 70339 h 2964609"/>
                <a:gd name="connsiteX13" fmla="*/ 4843306 w 11867103"/>
                <a:gd name="connsiteY13" fmla="*/ 90435 h 2964609"/>
                <a:gd name="connsiteX14" fmla="*/ 5677319 w 11867103"/>
                <a:gd name="connsiteY14" fmla="*/ 80387 h 2964609"/>
                <a:gd name="connsiteX15" fmla="*/ 6169688 w 11867103"/>
                <a:gd name="connsiteY15" fmla="*/ 110532 h 2964609"/>
                <a:gd name="connsiteX16" fmla="*/ 6420897 w 11867103"/>
                <a:gd name="connsiteY16" fmla="*/ 90435 h 2964609"/>
                <a:gd name="connsiteX17" fmla="*/ 6511332 w 11867103"/>
                <a:gd name="connsiteY17" fmla="*/ 30145 h 2964609"/>
                <a:gd name="connsiteX18" fmla="*/ 6571622 w 11867103"/>
                <a:gd name="connsiteY18" fmla="*/ 20097 h 2964609"/>
                <a:gd name="connsiteX19" fmla="*/ 6641961 w 11867103"/>
                <a:gd name="connsiteY19" fmla="*/ 0 h 2964609"/>
                <a:gd name="connsiteX20" fmla="*/ 7204668 w 11867103"/>
                <a:gd name="connsiteY20" fmla="*/ 10048 h 2964609"/>
                <a:gd name="connsiteX21" fmla="*/ 7285055 w 11867103"/>
                <a:gd name="connsiteY21" fmla="*/ 30145 h 2964609"/>
                <a:gd name="connsiteX22" fmla="*/ 7375490 w 11867103"/>
                <a:gd name="connsiteY22" fmla="*/ 40193 h 2964609"/>
                <a:gd name="connsiteX23" fmla="*/ 7928150 w 11867103"/>
                <a:gd name="connsiteY23" fmla="*/ 60290 h 2964609"/>
                <a:gd name="connsiteX24" fmla="*/ 8109020 w 11867103"/>
                <a:gd name="connsiteY24" fmla="*/ 80387 h 2964609"/>
                <a:gd name="connsiteX25" fmla="*/ 8219552 w 11867103"/>
                <a:gd name="connsiteY25" fmla="*/ 90435 h 2964609"/>
                <a:gd name="connsiteX26" fmla="*/ 8299939 w 11867103"/>
                <a:gd name="connsiteY26" fmla="*/ 100484 h 2964609"/>
                <a:gd name="connsiteX27" fmla="*/ 8521002 w 11867103"/>
                <a:gd name="connsiteY27" fmla="*/ 110532 h 2964609"/>
                <a:gd name="connsiteX28" fmla="*/ 9515789 w 11867103"/>
                <a:gd name="connsiteY28" fmla="*/ 100484 h 2964609"/>
                <a:gd name="connsiteX29" fmla="*/ 9606224 w 11867103"/>
                <a:gd name="connsiteY29" fmla="*/ 90435 h 2964609"/>
                <a:gd name="connsiteX30" fmla="*/ 9716756 w 11867103"/>
                <a:gd name="connsiteY30" fmla="*/ 80387 h 2964609"/>
                <a:gd name="connsiteX31" fmla="*/ 9797143 w 11867103"/>
                <a:gd name="connsiteY31" fmla="*/ 70339 h 2964609"/>
                <a:gd name="connsiteX32" fmla="*/ 9947868 w 11867103"/>
                <a:gd name="connsiteY32" fmla="*/ 60290 h 2964609"/>
                <a:gd name="connsiteX33" fmla="*/ 10791930 w 11867103"/>
                <a:gd name="connsiteY33" fmla="*/ 30145 h 2964609"/>
                <a:gd name="connsiteX34" fmla="*/ 11736475 w 11867103"/>
                <a:gd name="connsiteY34" fmla="*/ 50242 h 2964609"/>
                <a:gd name="connsiteX35" fmla="*/ 11766620 w 11867103"/>
                <a:gd name="connsiteY35" fmla="*/ 80387 h 2964609"/>
                <a:gd name="connsiteX36" fmla="*/ 11786717 w 11867103"/>
                <a:gd name="connsiteY36" fmla="*/ 120580 h 2964609"/>
                <a:gd name="connsiteX37" fmla="*/ 11806813 w 11867103"/>
                <a:gd name="connsiteY37" fmla="*/ 211015 h 2964609"/>
                <a:gd name="connsiteX38" fmla="*/ 11816862 w 11867103"/>
                <a:gd name="connsiteY38" fmla="*/ 251209 h 2964609"/>
                <a:gd name="connsiteX39" fmla="*/ 11826910 w 11867103"/>
                <a:gd name="connsiteY39" fmla="*/ 341644 h 2964609"/>
                <a:gd name="connsiteX40" fmla="*/ 11836958 w 11867103"/>
                <a:gd name="connsiteY40" fmla="*/ 422031 h 2964609"/>
                <a:gd name="connsiteX41" fmla="*/ 11826910 w 11867103"/>
                <a:gd name="connsiteY41" fmla="*/ 733530 h 2964609"/>
                <a:gd name="connsiteX42" fmla="*/ 11816862 w 11867103"/>
                <a:gd name="connsiteY42" fmla="*/ 793820 h 2964609"/>
                <a:gd name="connsiteX43" fmla="*/ 11806813 w 11867103"/>
                <a:gd name="connsiteY43" fmla="*/ 864158 h 2964609"/>
                <a:gd name="connsiteX44" fmla="*/ 11816862 w 11867103"/>
                <a:gd name="connsiteY44" fmla="*/ 2331218 h 2964609"/>
                <a:gd name="connsiteX45" fmla="*/ 11826910 w 11867103"/>
                <a:gd name="connsiteY45" fmla="*/ 2401556 h 2964609"/>
                <a:gd name="connsiteX46" fmla="*/ 11836958 w 11867103"/>
                <a:gd name="connsiteY46" fmla="*/ 2431701 h 2964609"/>
                <a:gd name="connsiteX47" fmla="*/ 11857055 w 11867103"/>
                <a:gd name="connsiteY47" fmla="*/ 2562330 h 2964609"/>
                <a:gd name="connsiteX48" fmla="*/ 11867103 w 11867103"/>
                <a:gd name="connsiteY48" fmla="*/ 2602523 h 2964609"/>
                <a:gd name="connsiteX49" fmla="*/ 11857055 w 11867103"/>
                <a:gd name="connsiteY49" fmla="*/ 2833635 h 2964609"/>
                <a:gd name="connsiteX50" fmla="*/ 11836958 w 11867103"/>
                <a:gd name="connsiteY50" fmla="*/ 2863780 h 2964609"/>
                <a:gd name="connsiteX51" fmla="*/ 11033090 w 11867103"/>
                <a:gd name="connsiteY51" fmla="*/ 2853732 h 2964609"/>
                <a:gd name="connsiteX52" fmla="*/ 10621108 w 11867103"/>
                <a:gd name="connsiteY52" fmla="*/ 2843684 h 2964609"/>
                <a:gd name="connsiteX53" fmla="*/ 10128739 w 11867103"/>
                <a:gd name="connsiteY53" fmla="*/ 2853732 h 2964609"/>
                <a:gd name="connsiteX54" fmla="*/ 10048352 w 11867103"/>
                <a:gd name="connsiteY54" fmla="*/ 2863780 h 2964609"/>
                <a:gd name="connsiteX55" fmla="*/ 9555982 w 11867103"/>
                <a:gd name="connsiteY55" fmla="*/ 2853732 h 2964609"/>
                <a:gd name="connsiteX56" fmla="*/ 9445451 w 11867103"/>
                <a:gd name="connsiteY56" fmla="*/ 2843684 h 2964609"/>
                <a:gd name="connsiteX57" fmla="*/ 9415306 w 11867103"/>
                <a:gd name="connsiteY57" fmla="*/ 2823587 h 2964609"/>
                <a:gd name="connsiteX58" fmla="*/ 9204290 w 11867103"/>
                <a:gd name="connsiteY58" fmla="*/ 2803490 h 2964609"/>
                <a:gd name="connsiteX59" fmla="*/ 9073662 w 11867103"/>
                <a:gd name="connsiteY59" fmla="*/ 2783393 h 2964609"/>
                <a:gd name="connsiteX60" fmla="*/ 8812404 w 11867103"/>
                <a:gd name="connsiteY60" fmla="*/ 2773345 h 2964609"/>
                <a:gd name="connsiteX61" fmla="*/ 8400422 w 11867103"/>
                <a:gd name="connsiteY61" fmla="*/ 2763297 h 2964609"/>
                <a:gd name="connsiteX62" fmla="*/ 8269793 w 11867103"/>
                <a:gd name="connsiteY62" fmla="*/ 2753248 h 2964609"/>
                <a:gd name="connsiteX63" fmla="*/ 7797521 w 11867103"/>
                <a:gd name="connsiteY63" fmla="*/ 2773345 h 2964609"/>
                <a:gd name="connsiteX64" fmla="*/ 7717134 w 11867103"/>
                <a:gd name="connsiteY64" fmla="*/ 2783393 h 2964609"/>
                <a:gd name="connsiteX65" fmla="*/ 7486022 w 11867103"/>
                <a:gd name="connsiteY65" fmla="*/ 2813539 h 2964609"/>
                <a:gd name="connsiteX66" fmla="*/ 7395587 w 11867103"/>
                <a:gd name="connsiteY66" fmla="*/ 2833635 h 2964609"/>
                <a:gd name="connsiteX67" fmla="*/ 7325248 w 11867103"/>
                <a:gd name="connsiteY67" fmla="*/ 2843684 h 2964609"/>
                <a:gd name="connsiteX68" fmla="*/ 6863024 w 11867103"/>
                <a:gd name="connsiteY68" fmla="*/ 2833635 h 2964609"/>
                <a:gd name="connsiteX69" fmla="*/ 6722347 w 11867103"/>
                <a:gd name="connsiteY69" fmla="*/ 2823587 h 2964609"/>
                <a:gd name="connsiteX70" fmla="*/ 4903596 w 11867103"/>
                <a:gd name="connsiteY70" fmla="*/ 2873829 h 2964609"/>
                <a:gd name="connsiteX71" fmla="*/ 4722725 w 11867103"/>
                <a:gd name="connsiteY71" fmla="*/ 2914022 h 2964609"/>
                <a:gd name="connsiteX72" fmla="*/ 4300695 w 11867103"/>
                <a:gd name="connsiteY72" fmla="*/ 2893925 h 2964609"/>
                <a:gd name="connsiteX73" fmla="*/ 4059534 w 11867103"/>
                <a:gd name="connsiteY73" fmla="*/ 2853732 h 2964609"/>
                <a:gd name="connsiteX74" fmla="*/ 3768132 w 11867103"/>
                <a:gd name="connsiteY74" fmla="*/ 2823587 h 2964609"/>
                <a:gd name="connsiteX75" fmla="*/ 3627455 w 11867103"/>
                <a:gd name="connsiteY75" fmla="*/ 2813539 h 2964609"/>
                <a:gd name="connsiteX76" fmla="*/ 3125037 w 11867103"/>
                <a:gd name="connsiteY76" fmla="*/ 2823587 h 2964609"/>
                <a:gd name="connsiteX77" fmla="*/ 3064747 w 11867103"/>
                <a:gd name="connsiteY77" fmla="*/ 2833635 h 2964609"/>
                <a:gd name="connsiteX78" fmla="*/ 2009670 w 11867103"/>
                <a:gd name="connsiteY78" fmla="*/ 2843684 h 2964609"/>
                <a:gd name="connsiteX79" fmla="*/ 1678075 w 11867103"/>
                <a:gd name="connsiteY79" fmla="*/ 2934119 h 2964609"/>
                <a:gd name="connsiteX80" fmla="*/ 1607736 w 11867103"/>
                <a:gd name="connsiteY80" fmla="*/ 2964264 h 2964609"/>
                <a:gd name="connsiteX81" fmla="*/ 1135464 w 11867103"/>
                <a:gd name="connsiteY81" fmla="*/ 2944167 h 2964609"/>
                <a:gd name="connsiteX82" fmla="*/ 944545 w 11867103"/>
                <a:gd name="connsiteY82" fmla="*/ 2914022 h 2964609"/>
                <a:gd name="connsiteX83" fmla="*/ 723481 w 11867103"/>
                <a:gd name="connsiteY83" fmla="*/ 2873829 h 2964609"/>
                <a:gd name="connsiteX84" fmla="*/ 643095 w 11867103"/>
                <a:gd name="connsiteY84" fmla="*/ 2863780 h 2964609"/>
                <a:gd name="connsiteX85" fmla="*/ 371789 w 11867103"/>
                <a:gd name="connsiteY85" fmla="*/ 2823587 h 2964609"/>
                <a:gd name="connsiteX86" fmla="*/ 0 w 11867103"/>
                <a:gd name="connsiteY86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854110 w 11867103"/>
                <a:gd name="connsiteY4" fmla="*/ 50242 h 2964609"/>
                <a:gd name="connsiteX5" fmla="*/ 1356528 w 11867103"/>
                <a:gd name="connsiteY5" fmla="*/ 80387 h 2964609"/>
                <a:gd name="connsiteX6" fmla="*/ 1758462 w 11867103"/>
                <a:gd name="connsiteY6" fmla="*/ 40193 h 2964609"/>
                <a:gd name="connsiteX7" fmla="*/ 1889090 w 11867103"/>
                <a:gd name="connsiteY7" fmla="*/ 20097 h 2964609"/>
                <a:gd name="connsiteX8" fmla="*/ 2140299 w 11867103"/>
                <a:gd name="connsiteY8" fmla="*/ 40193 h 2964609"/>
                <a:gd name="connsiteX9" fmla="*/ 2200589 w 11867103"/>
                <a:gd name="connsiteY9" fmla="*/ 50242 h 2964609"/>
                <a:gd name="connsiteX10" fmla="*/ 4652387 w 11867103"/>
                <a:gd name="connsiteY10" fmla="*/ 60290 h 2964609"/>
                <a:gd name="connsiteX11" fmla="*/ 4692580 w 11867103"/>
                <a:gd name="connsiteY11" fmla="*/ 70339 h 2964609"/>
                <a:gd name="connsiteX12" fmla="*/ 4843306 w 11867103"/>
                <a:gd name="connsiteY12" fmla="*/ 90435 h 2964609"/>
                <a:gd name="connsiteX13" fmla="*/ 5677319 w 11867103"/>
                <a:gd name="connsiteY13" fmla="*/ 80387 h 2964609"/>
                <a:gd name="connsiteX14" fmla="*/ 6169688 w 11867103"/>
                <a:gd name="connsiteY14" fmla="*/ 110532 h 2964609"/>
                <a:gd name="connsiteX15" fmla="*/ 6420897 w 11867103"/>
                <a:gd name="connsiteY15" fmla="*/ 90435 h 2964609"/>
                <a:gd name="connsiteX16" fmla="*/ 6511332 w 11867103"/>
                <a:gd name="connsiteY16" fmla="*/ 30145 h 2964609"/>
                <a:gd name="connsiteX17" fmla="*/ 6571622 w 11867103"/>
                <a:gd name="connsiteY17" fmla="*/ 20097 h 2964609"/>
                <a:gd name="connsiteX18" fmla="*/ 6641961 w 11867103"/>
                <a:gd name="connsiteY18" fmla="*/ 0 h 2964609"/>
                <a:gd name="connsiteX19" fmla="*/ 7204668 w 11867103"/>
                <a:gd name="connsiteY19" fmla="*/ 10048 h 2964609"/>
                <a:gd name="connsiteX20" fmla="*/ 7285055 w 11867103"/>
                <a:gd name="connsiteY20" fmla="*/ 30145 h 2964609"/>
                <a:gd name="connsiteX21" fmla="*/ 7375490 w 11867103"/>
                <a:gd name="connsiteY21" fmla="*/ 40193 h 2964609"/>
                <a:gd name="connsiteX22" fmla="*/ 7928150 w 11867103"/>
                <a:gd name="connsiteY22" fmla="*/ 60290 h 2964609"/>
                <a:gd name="connsiteX23" fmla="*/ 8109020 w 11867103"/>
                <a:gd name="connsiteY23" fmla="*/ 80387 h 2964609"/>
                <a:gd name="connsiteX24" fmla="*/ 8219552 w 11867103"/>
                <a:gd name="connsiteY24" fmla="*/ 90435 h 2964609"/>
                <a:gd name="connsiteX25" fmla="*/ 8299939 w 11867103"/>
                <a:gd name="connsiteY25" fmla="*/ 100484 h 2964609"/>
                <a:gd name="connsiteX26" fmla="*/ 8521002 w 11867103"/>
                <a:gd name="connsiteY26" fmla="*/ 110532 h 2964609"/>
                <a:gd name="connsiteX27" fmla="*/ 9515789 w 11867103"/>
                <a:gd name="connsiteY27" fmla="*/ 100484 h 2964609"/>
                <a:gd name="connsiteX28" fmla="*/ 9606224 w 11867103"/>
                <a:gd name="connsiteY28" fmla="*/ 90435 h 2964609"/>
                <a:gd name="connsiteX29" fmla="*/ 9716756 w 11867103"/>
                <a:gd name="connsiteY29" fmla="*/ 80387 h 2964609"/>
                <a:gd name="connsiteX30" fmla="*/ 9797143 w 11867103"/>
                <a:gd name="connsiteY30" fmla="*/ 70339 h 2964609"/>
                <a:gd name="connsiteX31" fmla="*/ 9947868 w 11867103"/>
                <a:gd name="connsiteY31" fmla="*/ 60290 h 2964609"/>
                <a:gd name="connsiteX32" fmla="*/ 10791930 w 11867103"/>
                <a:gd name="connsiteY32" fmla="*/ 30145 h 2964609"/>
                <a:gd name="connsiteX33" fmla="*/ 11736475 w 11867103"/>
                <a:gd name="connsiteY33" fmla="*/ 50242 h 2964609"/>
                <a:gd name="connsiteX34" fmla="*/ 11766620 w 11867103"/>
                <a:gd name="connsiteY34" fmla="*/ 80387 h 2964609"/>
                <a:gd name="connsiteX35" fmla="*/ 11786717 w 11867103"/>
                <a:gd name="connsiteY35" fmla="*/ 120580 h 2964609"/>
                <a:gd name="connsiteX36" fmla="*/ 11806813 w 11867103"/>
                <a:gd name="connsiteY36" fmla="*/ 211015 h 2964609"/>
                <a:gd name="connsiteX37" fmla="*/ 11816862 w 11867103"/>
                <a:gd name="connsiteY37" fmla="*/ 251209 h 2964609"/>
                <a:gd name="connsiteX38" fmla="*/ 11826910 w 11867103"/>
                <a:gd name="connsiteY38" fmla="*/ 341644 h 2964609"/>
                <a:gd name="connsiteX39" fmla="*/ 11836958 w 11867103"/>
                <a:gd name="connsiteY39" fmla="*/ 422031 h 2964609"/>
                <a:gd name="connsiteX40" fmla="*/ 11826910 w 11867103"/>
                <a:gd name="connsiteY40" fmla="*/ 733530 h 2964609"/>
                <a:gd name="connsiteX41" fmla="*/ 11816862 w 11867103"/>
                <a:gd name="connsiteY41" fmla="*/ 793820 h 2964609"/>
                <a:gd name="connsiteX42" fmla="*/ 11806813 w 11867103"/>
                <a:gd name="connsiteY42" fmla="*/ 864158 h 2964609"/>
                <a:gd name="connsiteX43" fmla="*/ 11816862 w 11867103"/>
                <a:gd name="connsiteY43" fmla="*/ 2331218 h 2964609"/>
                <a:gd name="connsiteX44" fmla="*/ 11826910 w 11867103"/>
                <a:gd name="connsiteY44" fmla="*/ 2401556 h 2964609"/>
                <a:gd name="connsiteX45" fmla="*/ 11836958 w 11867103"/>
                <a:gd name="connsiteY45" fmla="*/ 2431701 h 2964609"/>
                <a:gd name="connsiteX46" fmla="*/ 11857055 w 11867103"/>
                <a:gd name="connsiteY46" fmla="*/ 2562330 h 2964609"/>
                <a:gd name="connsiteX47" fmla="*/ 11867103 w 11867103"/>
                <a:gd name="connsiteY47" fmla="*/ 2602523 h 2964609"/>
                <a:gd name="connsiteX48" fmla="*/ 11857055 w 11867103"/>
                <a:gd name="connsiteY48" fmla="*/ 2833635 h 2964609"/>
                <a:gd name="connsiteX49" fmla="*/ 11836958 w 11867103"/>
                <a:gd name="connsiteY49" fmla="*/ 2863780 h 2964609"/>
                <a:gd name="connsiteX50" fmla="*/ 11033090 w 11867103"/>
                <a:gd name="connsiteY50" fmla="*/ 2853732 h 2964609"/>
                <a:gd name="connsiteX51" fmla="*/ 10621108 w 11867103"/>
                <a:gd name="connsiteY51" fmla="*/ 2843684 h 2964609"/>
                <a:gd name="connsiteX52" fmla="*/ 10128739 w 11867103"/>
                <a:gd name="connsiteY52" fmla="*/ 2853732 h 2964609"/>
                <a:gd name="connsiteX53" fmla="*/ 10048352 w 11867103"/>
                <a:gd name="connsiteY53" fmla="*/ 2863780 h 2964609"/>
                <a:gd name="connsiteX54" fmla="*/ 9555982 w 11867103"/>
                <a:gd name="connsiteY54" fmla="*/ 2853732 h 2964609"/>
                <a:gd name="connsiteX55" fmla="*/ 9445451 w 11867103"/>
                <a:gd name="connsiteY55" fmla="*/ 2843684 h 2964609"/>
                <a:gd name="connsiteX56" fmla="*/ 9415306 w 11867103"/>
                <a:gd name="connsiteY56" fmla="*/ 2823587 h 2964609"/>
                <a:gd name="connsiteX57" fmla="*/ 9204290 w 11867103"/>
                <a:gd name="connsiteY57" fmla="*/ 2803490 h 2964609"/>
                <a:gd name="connsiteX58" fmla="*/ 9073662 w 11867103"/>
                <a:gd name="connsiteY58" fmla="*/ 2783393 h 2964609"/>
                <a:gd name="connsiteX59" fmla="*/ 8812404 w 11867103"/>
                <a:gd name="connsiteY59" fmla="*/ 2773345 h 2964609"/>
                <a:gd name="connsiteX60" fmla="*/ 8400422 w 11867103"/>
                <a:gd name="connsiteY60" fmla="*/ 2763297 h 2964609"/>
                <a:gd name="connsiteX61" fmla="*/ 8269793 w 11867103"/>
                <a:gd name="connsiteY61" fmla="*/ 2753248 h 2964609"/>
                <a:gd name="connsiteX62" fmla="*/ 7797521 w 11867103"/>
                <a:gd name="connsiteY62" fmla="*/ 2773345 h 2964609"/>
                <a:gd name="connsiteX63" fmla="*/ 7717134 w 11867103"/>
                <a:gd name="connsiteY63" fmla="*/ 2783393 h 2964609"/>
                <a:gd name="connsiteX64" fmla="*/ 7486022 w 11867103"/>
                <a:gd name="connsiteY64" fmla="*/ 2813539 h 2964609"/>
                <a:gd name="connsiteX65" fmla="*/ 7395587 w 11867103"/>
                <a:gd name="connsiteY65" fmla="*/ 2833635 h 2964609"/>
                <a:gd name="connsiteX66" fmla="*/ 7325248 w 11867103"/>
                <a:gd name="connsiteY66" fmla="*/ 2843684 h 2964609"/>
                <a:gd name="connsiteX67" fmla="*/ 6863024 w 11867103"/>
                <a:gd name="connsiteY67" fmla="*/ 2833635 h 2964609"/>
                <a:gd name="connsiteX68" fmla="*/ 6722347 w 11867103"/>
                <a:gd name="connsiteY68" fmla="*/ 2823587 h 2964609"/>
                <a:gd name="connsiteX69" fmla="*/ 4903596 w 11867103"/>
                <a:gd name="connsiteY69" fmla="*/ 2873829 h 2964609"/>
                <a:gd name="connsiteX70" fmla="*/ 4722725 w 11867103"/>
                <a:gd name="connsiteY70" fmla="*/ 2914022 h 2964609"/>
                <a:gd name="connsiteX71" fmla="*/ 4300695 w 11867103"/>
                <a:gd name="connsiteY71" fmla="*/ 2893925 h 2964609"/>
                <a:gd name="connsiteX72" fmla="*/ 4059534 w 11867103"/>
                <a:gd name="connsiteY72" fmla="*/ 2853732 h 2964609"/>
                <a:gd name="connsiteX73" fmla="*/ 3768132 w 11867103"/>
                <a:gd name="connsiteY73" fmla="*/ 2823587 h 2964609"/>
                <a:gd name="connsiteX74" fmla="*/ 3627455 w 11867103"/>
                <a:gd name="connsiteY74" fmla="*/ 2813539 h 2964609"/>
                <a:gd name="connsiteX75" fmla="*/ 3125037 w 11867103"/>
                <a:gd name="connsiteY75" fmla="*/ 2823587 h 2964609"/>
                <a:gd name="connsiteX76" fmla="*/ 3064747 w 11867103"/>
                <a:gd name="connsiteY76" fmla="*/ 2833635 h 2964609"/>
                <a:gd name="connsiteX77" fmla="*/ 2009670 w 11867103"/>
                <a:gd name="connsiteY77" fmla="*/ 2843684 h 2964609"/>
                <a:gd name="connsiteX78" fmla="*/ 1678075 w 11867103"/>
                <a:gd name="connsiteY78" fmla="*/ 2934119 h 2964609"/>
                <a:gd name="connsiteX79" fmla="*/ 1607736 w 11867103"/>
                <a:gd name="connsiteY79" fmla="*/ 2964264 h 2964609"/>
                <a:gd name="connsiteX80" fmla="*/ 1135464 w 11867103"/>
                <a:gd name="connsiteY80" fmla="*/ 2944167 h 2964609"/>
                <a:gd name="connsiteX81" fmla="*/ 944545 w 11867103"/>
                <a:gd name="connsiteY81" fmla="*/ 2914022 h 2964609"/>
                <a:gd name="connsiteX82" fmla="*/ 723481 w 11867103"/>
                <a:gd name="connsiteY82" fmla="*/ 2873829 h 2964609"/>
                <a:gd name="connsiteX83" fmla="*/ 643095 w 11867103"/>
                <a:gd name="connsiteY83" fmla="*/ 2863780 h 2964609"/>
                <a:gd name="connsiteX84" fmla="*/ 371789 w 11867103"/>
                <a:gd name="connsiteY84" fmla="*/ 2823587 h 2964609"/>
                <a:gd name="connsiteX85" fmla="*/ 0 w 11867103"/>
                <a:gd name="connsiteY85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331596 w 11867103"/>
                <a:gd name="connsiteY2" fmla="*/ 20097 h 2964609"/>
                <a:gd name="connsiteX3" fmla="*/ 673240 w 11867103"/>
                <a:gd name="connsiteY3" fmla="*/ 30145 h 2964609"/>
                <a:gd name="connsiteX4" fmla="*/ 1356528 w 11867103"/>
                <a:gd name="connsiteY4" fmla="*/ 80387 h 2964609"/>
                <a:gd name="connsiteX5" fmla="*/ 1758462 w 11867103"/>
                <a:gd name="connsiteY5" fmla="*/ 40193 h 2964609"/>
                <a:gd name="connsiteX6" fmla="*/ 1889090 w 11867103"/>
                <a:gd name="connsiteY6" fmla="*/ 20097 h 2964609"/>
                <a:gd name="connsiteX7" fmla="*/ 2140299 w 11867103"/>
                <a:gd name="connsiteY7" fmla="*/ 40193 h 2964609"/>
                <a:gd name="connsiteX8" fmla="*/ 2200589 w 11867103"/>
                <a:gd name="connsiteY8" fmla="*/ 50242 h 2964609"/>
                <a:gd name="connsiteX9" fmla="*/ 4652387 w 11867103"/>
                <a:gd name="connsiteY9" fmla="*/ 60290 h 2964609"/>
                <a:gd name="connsiteX10" fmla="*/ 4692580 w 11867103"/>
                <a:gd name="connsiteY10" fmla="*/ 70339 h 2964609"/>
                <a:gd name="connsiteX11" fmla="*/ 4843306 w 11867103"/>
                <a:gd name="connsiteY11" fmla="*/ 90435 h 2964609"/>
                <a:gd name="connsiteX12" fmla="*/ 5677319 w 11867103"/>
                <a:gd name="connsiteY12" fmla="*/ 80387 h 2964609"/>
                <a:gd name="connsiteX13" fmla="*/ 6169688 w 11867103"/>
                <a:gd name="connsiteY13" fmla="*/ 110532 h 2964609"/>
                <a:gd name="connsiteX14" fmla="*/ 6420897 w 11867103"/>
                <a:gd name="connsiteY14" fmla="*/ 90435 h 2964609"/>
                <a:gd name="connsiteX15" fmla="*/ 6511332 w 11867103"/>
                <a:gd name="connsiteY15" fmla="*/ 30145 h 2964609"/>
                <a:gd name="connsiteX16" fmla="*/ 6571622 w 11867103"/>
                <a:gd name="connsiteY16" fmla="*/ 20097 h 2964609"/>
                <a:gd name="connsiteX17" fmla="*/ 6641961 w 11867103"/>
                <a:gd name="connsiteY17" fmla="*/ 0 h 2964609"/>
                <a:gd name="connsiteX18" fmla="*/ 7204668 w 11867103"/>
                <a:gd name="connsiteY18" fmla="*/ 10048 h 2964609"/>
                <a:gd name="connsiteX19" fmla="*/ 7285055 w 11867103"/>
                <a:gd name="connsiteY19" fmla="*/ 30145 h 2964609"/>
                <a:gd name="connsiteX20" fmla="*/ 7375490 w 11867103"/>
                <a:gd name="connsiteY20" fmla="*/ 40193 h 2964609"/>
                <a:gd name="connsiteX21" fmla="*/ 7928150 w 11867103"/>
                <a:gd name="connsiteY21" fmla="*/ 60290 h 2964609"/>
                <a:gd name="connsiteX22" fmla="*/ 8109020 w 11867103"/>
                <a:gd name="connsiteY22" fmla="*/ 80387 h 2964609"/>
                <a:gd name="connsiteX23" fmla="*/ 8219552 w 11867103"/>
                <a:gd name="connsiteY23" fmla="*/ 90435 h 2964609"/>
                <a:gd name="connsiteX24" fmla="*/ 8299939 w 11867103"/>
                <a:gd name="connsiteY24" fmla="*/ 100484 h 2964609"/>
                <a:gd name="connsiteX25" fmla="*/ 8521002 w 11867103"/>
                <a:gd name="connsiteY25" fmla="*/ 110532 h 2964609"/>
                <a:gd name="connsiteX26" fmla="*/ 9515789 w 11867103"/>
                <a:gd name="connsiteY26" fmla="*/ 100484 h 2964609"/>
                <a:gd name="connsiteX27" fmla="*/ 9606224 w 11867103"/>
                <a:gd name="connsiteY27" fmla="*/ 90435 h 2964609"/>
                <a:gd name="connsiteX28" fmla="*/ 9716756 w 11867103"/>
                <a:gd name="connsiteY28" fmla="*/ 80387 h 2964609"/>
                <a:gd name="connsiteX29" fmla="*/ 9797143 w 11867103"/>
                <a:gd name="connsiteY29" fmla="*/ 70339 h 2964609"/>
                <a:gd name="connsiteX30" fmla="*/ 9947868 w 11867103"/>
                <a:gd name="connsiteY30" fmla="*/ 60290 h 2964609"/>
                <a:gd name="connsiteX31" fmla="*/ 10791930 w 11867103"/>
                <a:gd name="connsiteY31" fmla="*/ 30145 h 2964609"/>
                <a:gd name="connsiteX32" fmla="*/ 11736475 w 11867103"/>
                <a:gd name="connsiteY32" fmla="*/ 50242 h 2964609"/>
                <a:gd name="connsiteX33" fmla="*/ 11766620 w 11867103"/>
                <a:gd name="connsiteY33" fmla="*/ 80387 h 2964609"/>
                <a:gd name="connsiteX34" fmla="*/ 11786717 w 11867103"/>
                <a:gd name="connsiteY34" fmla="*/ 120580 h 2964609"/>
                <a:gd name="connsiteX35" fmla="*/ 11806813 w 11867103"/>
                <a:gd name="connsiteY35" fmla="*/ 211015 h 2964609"/>
                <a:gd name="connsiteX36" fmla="*/ 11816862 w 11867103"/>
                <a:gd name="connsiteY36" fmla="*/ 251209 h 2964609"/>
                <a:gd name="connsiteX37" fmla="*/ 11826910 w 11867103"/>
                <a:gd name="connsiteY37" fmla="*/ 341644 h 2964609"/>
                <a:gd name="connsiteX38" fmla="*/ 11836958 w 11867103"/>
                <a:gd name="connsiteY38" fmla="*/ 422031 h 2964609"/>
                <a:gd name="connsiteX39" fmla="*/ 11826910 w 11867103"/>
                <a:gd name="connsiteY39" fmla="*/ 733530 h 2964609"/>
                <a:gd name="connsiteX40" fmla="*/ 11816862 w 11867103"/>
                <a:gd name="connsiteY40" fmla="*/ 793820 h 2964609"/>
                <a:gd name="connsiteX41" fmla="*/ 11806813 w 11867103"/>
                <a:gd name="connsiteY41" fmla="*/ 864158 h 2964609"/>
                <a:gd name="connsiteX42" fmla="*/ 11816862 w 11867103"/>
                <a:gd name="connsiteY42" fmla="*/ 2331218 h 2964609"/>
                <a:gd name="connsiteX43" fmla="*/ 11826910 w 11867103"/>
                <a:gd name="connsiteY43" fmla="*/ 2401556 h 2964609"/>
                <a:gd name="connsiteX44" fmla="*/ 11836958 w 11867103"/>
                <a:gd name="connsiteY44" fmla="*/ 2431701 h 2964609"/>
                <a:gd name="connsiteX45" fmla="*/ 11857055 w 11867103"/>
                <a:gd name="connsiteY45" fmla="*/ 2562330 h 2964609"/>
                <a:gd name="connsiteX46" fmla="*/ 11867103 w 11867103"/>
                <a:gd name="connsiteY46" fmla="*/ 2602523 h 2964609"/>
                <a:gd name="connsiteX47" fmla="*/ 11857055 w 11867103"/>
                <a:gd name="connsiteY47" fmla="*/ 2833635 h 2964609"/>
                <a:gd name="connsiteX48" fmla="*/ 11836958 w 11867103"/>
                <a:gd name="connsiteY48" fmla="*/ 2863780 h 2964609"/>
                <a:gd name="connsiteX49" fmla="*/ 11033090 w 11867103"/>
                <a:gd name="connsiteY49" fmla="*/ 2853732 h 2964609"/>
                <a:gd name="connsiteX50" fmla="*/ 10621108 w 11867103"/>
                <a:gd name="connsiteY50" fmla="*/ 2843684 h 2964609"/>
                <a:gd name="connsiteX51" fmla="*/ 10128739 w 11867103"/>
                <a:gd name="connsiteY51" fmla="*/ 2853732 h 2964609"/>
                <a:gd name="connsiteX52" fmla="*/ 10048352 w 11867103"/>
                <a:gd name="connsiteY52" fmla="*/ 2863780 h 2964609"/>
                <a:gd name="connsiteX53" fmla="*/ 9555982 w 11867103"/>
                <a:gd name="connsiteY53" fmla="*/ 2853732 h 2964609"/>
                <a:gd name="connsiteX54" fmla="*/ 9445451 w 11867103"/>
                <a:gd name="connsiteY54" fmla="*/ 2843684 h 2964609"/>
                <a:gd name="connsiteX55" fmla="*/ 9415306 w 11867103"/>
                <a:gd name="connsiteY55" fmla="*/ 2823587 h 2964609"/>
                <a:gd name="connsiteX56" fmla="*/ 9204290 w 11867103"/>
                <a:gd name="connsiteY56" fmla="*/ 2803490 h 2964609"/>
                <a:gd name="connsiteX57" fmla="*/ 9073662 w 11867103"/>
                <a:gd name="connsiteY57" fmla="*/ 2783393 h 2964609"/>
                <a:gd name="connsiteX58" fmla="*/ 8812404 w 11867103"/>
                <a:gd name="connsiteY58" fmla="*/ 2773345 h 2964609"/>
                <a:gd name="connsiteX59" fmla="*/ 8400422 w 11867103"/>
                <a:gd name="connsiteY59" fmla="*/ 2763297 h 2964609"/>
                <a:gd name="connsiteX60" fmla="*/ 8269793 w 11867103"/>
                <a:gd name="connsiteY60" fmla="*/ 2753248 h 2964609"/>
                <a:gd name="connsiteX61" fmla="*/ 7797521 w 11867103"/>
                <a:gd name="connsiteY61" fmla="*/ 2773345 h 2964609"/>
                <a:gd name="connsiteX62" fmla="*/ 7717134 w 11867103"/>
                <a:gd name="connsiteY62" fmla="*/ 2783393 h 2964609"/>
                <a:gd name="connsiteX63" fmla="*/ 7486022 w 11867103"/>
                <a:gd name="connsiteY63" fmla="*/ 2813539 h 2964609"/>
                <a:gd name="connsiteX64" fmla="*/ 7395587 w 11867103"/>
                <a:gd name="connsiteY64" fmla="*/ 2833635 h 2964609"/>
                <a:gd name="connsiteX65" fmla="*/ 7325248 w 11867103"/>
                <a:gd name="connsiteY65" fmla="*/ 2843684 h 2964609"/>
                <a:gd name="connsiteX66" fmla="*/ 6863024 w 11867103"/>
                <a:gd name="connsiteY66" fmla="*/ 2833635 h 2964609"/>
                <a:gd name="connsiteX67" fmla="*/ 6722347 w 11867103"/>
                <a:gd name="connsiteY67" fmla="*/ 2823587 h 2964609"/>
                <a:gd name="connsiteX68" fmla="*/ 4903596 w 11867103"/>
                <a:gd name="connsiteY68" fmla="*/ 2873829 h 2964609"/>
                <a:gd name="connsiteX69" fmla="*/ 4722725 w 11867103"/>
                <a:gd name="connsiteY69" fmla="*/ 2914022 h 2964609"/>
                <a:gd name="connsiteX70" fmla="*/ 4300695 w 11867103"/>
                <a:gd name="connsiteY70" fmla="*/ 2893925 h 2964609"/>
                <a:gd name="connsiteX71" fmla="*/ 4059534 w 11867103"/>
                <a:gd name="connsiteY71" fmla="*/ 2853732 h 2964609"/>
                <a:gd name="connsiteX72" fmla="*/ 3768132 w 11867103"/>
                <a:gd name="connsiteY72" fmla="*/ 2823587 h 2964609"/>
                <a:gd name="connsiteX73" fmla="*/ 3627455 w 11867103"/>
                <a:gd name="connsiteY73" fmla="*/ 2813539 h 2964609"/>
                <a:gd name="connsiteX74" fmla="*/ 3125037 w 11867103"/>
                <a:gd name="connsiteY74" fmla="*/ 2823587 h 2964609"/>
                <a:gd name="connsiteX75" fmla="*/ 3064747 w 11867103"/>
                <a:gd name="connsiteY75" fmla="*/ 2833635 h 2964609"/>
                <a:gd name="connsiteX76" fmla="*/ 2009670 w 11867103"/>
                <a:gd name="connsiteY76" fmla="*/ 2843684 h 2964609"/>
                <a:gd name="connsiteX77" fmla="*/ 1678075 w 11867103"/>
                <a:gd name="connsiteY77" fmla="*/ 2934119 h 2964609"/>
                <a:gd name="connsiteX78" fmla="*/ 1607736 w 11867103"/>
                <a:gd name="connsiteY78" fmla="*/ 2964264 h 2964609"/>
                <a:gd name="connsiteX79" fmla="*/ 1135464 w 11867103"/>
                <a:gd name="connsiteY79" fmla="*/ 2944167 h 2964609"/>
                <a:gd name="connsiteX80" fmla="*/ 944545 w 11867103"/>
                <a:gd name="connsiteY80" fmla="*/ 2914022 h 2964609"/>
                <a:gd name="connsiteX81" fmla="*/ 723481 w 11867103"/>
                <a:gd name="connsiteY81" fmla="*/ 2873829 h 2964609"/>
                <a:gd name="connsiteX82" fmla="*/ 643095 w 11867103"/>
                <a:gd name="connsiteY82" fmla="*/ 2863780 h 2964609"/>
                <a:gd name="connsiteX83" fmla="*/ 371789 w 11867103"/>
                <a:gd name="connsiteY83" fmla="*/ 2823587 h 2964609"/>
                <a:gd name="connsiteX84" fmla="*/ 0 w 11867103"/>
                <a:gd name="connsiteY84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1889090 w 11867103"/>
                <a:gd name="connsiteY5" fmla="*/ 20097 h 2964609"/>
                <a:gd name="connsiteX6" fmla="*/ 2140299 w 11867103"/>
                <a:gd name="connsiteY6" fmla="*/ 40193 h 2964609"/>
                <a:gd name="connsiteX7" fmla="*/ 2200589 w 11867103"/>
                <a:gd name="connsiteY7" fmla="*/ 50242 h 2964609"/>
                <a:gd name="connsiteX8" fmla="*/ 4652387 w 11867103"/>
                <a:gd name="connsiteY8" fmla="*/ 60290 h 2964609"/>
                <a:gd name="connsiteX9" fmla="*/ 4692580 w 11867103"/>
                <a:gd name="connsiteY9" fmla="*/ 70339 h 2964609"/>
                <a:gd name="connsiteX10" fmla="*/ 4843306 w 11867103"/>
                <a:gd name="connsiteY10" fmla="*/ 90435 h 2964609"/>
                <a:gd name="connsiteX11" fmla="*/ 5677319 w 11867103"/>
                <a:gd name="connsiteY11" fmla="*/ 80387 h 2964609"/>
                <a:gd name="connsiteX12" fmla="*/ 6169688 w 11867103"/>
                <a:gd name="connsiteY12" fmla="*/ 110532 h 2964609"/>
                <a:gd name="connsiteX13" fmla="*/ 6420897 w 11867103"/>
                <a:gd name="connsiteY13" fmla="*/ 90435 h 2964609"/>
                <a:gd name="connsiteX14" fmla="*/ 6511332 w 11867103"/>
                <a:gd name="connsiteY14" fmla="*/ 30145 h 2964609"/>
                <a:gd name="connsiteX15" fmla="*/ 6571622 w 11867103"/>
                <a:gd name="connsiteY15" fmla="*/ 20097 h 2964609"/>
                <a:gd name="connsiteX16" fmla="*/ 6641961 w 11867103"/>
                <a:gd name="connsiteY16" fmla="*/ 0 h 2964609"/>
                <a:gd name="connsiteX17" fmla="*/ 7204668 w 11867103"/>
                <a:gd name="connsiteY17" fmla="*/ 10048 h 2964609"/>
                <a:gd name="connsiteX18" fmla="*/ 7285055 w 11867103"/>
                <a:gd name="connsiteY18" fmla="*/ 30145 h 2964609"/>
                <a:gd name="connsiteX19" fmla="*/ 7375490 w 11867103"/>
                <a:gd name="connsiteY19" fmla="*/ 40193 h 2964609"/>
                <a:gd name="connsiteX20" fmla="*/ 7928150 w 11867103"/>
                <a:gd name="connsiteY20" fmla="*/ 60290 h 2964609"/>
                <a:gd name="connsiteX21" fmla="*/ 8109020 w 11867103"/>
                <a:gd name="connsiteY21" fmla="*/ 80387 h 2964609"/>
                <a:gd name="connsiteX22" fmla="*/ 8219552 w 11867103"/>
                <a:gd name="connsiteY22" fmla="*/ 90435 h 2964609"/>
                <a:gd name="connsiteX23" fmla="*/ 8299939 w 11867103"/>
                <a:gd name="connsiteY23" fmla="*/ 100484 h 2964609"/>
                <a:gd name="connsiteX24" fmla="*/ 8521002 w 11867103"/>
                <a:gd name="connsiteY24" fmla="*/ 110532 h 2964609"/>
                <a:gd name="connsiteX25" fmla="*/ 9515789 w 11867103"/>
                <a:gd name="connsiteY25" fmla="*/ 100484 h 2964609"/>
                <a:gd name="connsiteX26" fmla="*/ 9606224 w 11867103"/>
                <a:gd name="connsiteY26" fmla="*/ 90435 h 2964609"/>
                <a:gd name="connsiteX27" fmla="*/ 9716756 w 11867103"/>
                <a:gd name="connsiteY27" fmla="*/ 80387 h 2964609"/>
                <a:gd name="connsiteX28" fmla="*/ 9797143 w 11867103"/>
                <a:gd name="connsiteY28" fmla="*/ 70339 h 2964609"/>
                <a:gd name="connsiteX29" fmla="*/ 9947868 w 11867103"/>
                <a:gd name="connsiteY29" fmla="*/ 60290 h 2964609"/>
                <a:gd name="connsiteX30" fmla="*/ 10791930 w 11867103"/>
                <a:gd name="connsiteY30" fmla="*/ 30145 h 2964609"/>
                <a:gd name="connsiteX31" fmla="*/ 11736475 w 11867103"/>
                <a:gd name="connsiteY31" fmla="*/ 50242 h 2964609"/>
                <a:gd name="connsiteX32" fmla="*/ 11766620 w 11867103"/>
                <a:gd name="connsiteY32" fmla="*/ 80387 h 2964609"/>
                <a:gd name="connsiteX33" fmla="*/ 11786717 w 11867103"/>
                <a:gd name="connsiteY33" fmla="*/ 120580 h 2964609"/>
                <a:gd name="connsiteX34" fmla="*/ 11806813 w 11867103"/>
                <a:gd name="connsiteY34" fmla="*/ 211015 h 2964609"/>
                <a:gd name="connsiteX35" fmla="*/ 11816862 w 11867103"/>
                <a:gd name="connsiteY35" fmla="*/ 251209 h 2964609"/>
                <a:gd name="connsiteX36" fmla="*/ 11826910 w 11867103"/>
                <a:gd name="connsiteY36" fmla="*/ 341644 h 2964609"/>
                <a:gd name="connsiteX37" fmla="*/ 11836958 w 11867103"/>
                <a:gd name="connsiteY37" fmla="*/ 422031 h 2964609"/>
                <a:gd name="connsiteX38" fmla="*/ 11826910 w 11867103"/>
                <a:gd name="connsiteY38" fmla="*/ 733530 h 2964609"/>
                <a:gd name="connsiteX39" fmla="*/ 11816862 w 11867103"/>
                <a:gd name="connsiteY39" fmla="*/ 793820 h 2964609"/>
                <a:gd name="connsiteX40" fmla="*/ 11806813 w 11867103"/>
                <a:gd name="connsiteY40" fmla="*/ 864158 h 2964609"/>
                <a:gd name="connsiteX41" fmla="*/ 11816862 w 11867103"/>
                <a:gd name="connsiteY41" fmla="*/ 2331218 h 2964609"/>
                <a:gd name="connsiteX42" fmla="*/ 11826910 w 11867103"/>
                <a:gd name="connsiteY42" fmla="*/ 2401556 h 2964609"/>
                <a:gd name="connsiteX43" fmla="*/ 11836958 w 11867103"/>
                <a:gd name="connsiteY43" fmla="*/ 2431701 h 2964609"/>
                <a:gd name="connsiteX44" fmla="*/ 11857055 w 11867103"/>
                <a:gd name="connsiteY44" fmla="*/ 2562330 h 2964609"/>
                <a:gd name="connsiteX45" fmla="*/ 11867103 w 11867103"/>
                <a:gd name="connsiteY45" fmla="*/ 2602523 h 2964609"/>
                <a:gd name="connsiteX46" fmla="*/ 11857055 w 11867103"/>
                <a:gd name="connsiteY46" fmla="*/ 2833635 h 2964609"/>
                <a:gd name="connsiteX47" fmla="*/ 11836958 w 11867103"/>
                <a:gd name="connsiteY47" fmla="*/ 2863780 h 2964609"/>
                <a:gd name="connsiteX48" fmla="*/ 11033090 w 11867103"/>
                <a:gd name="connsiteY48" fmla="*/ 2853732 h 2964609"/>
                <a:gd name="connsiteX49" fmla="*/ 10621108 w 11867103"/>
                <a:gd name="connsiteY49" fmla="*/ 2843684 h 2964609"/>
                <a:gd name="connsiteX50" fmla="*/ 10128739 w 11867103"/>
                <a:gd name="connsiteY50" fmla="*/ 2853732 h 2964609"/>
                <a:gd name="connsiteX51" fmla="*/ 10048352 w 11867103"/>
                <a:gd name="connsiteY51" fmla="*/ 2863780 h 2964609"/>
                <a:gd name="connsiteX52" fmla="*/ 9555982 w 11867103"/>
                <a:gd name="connsiteY52" fmla="*/ 2853732 h 2964609"/>
                <a:gd name="connsiteX53" fmla="*/ 9445451 w 11867103"/>
                <a:gd name="connsiteY53" fmla="*/ 2843684 h 2964609"/>
                <a:gd name="connsiteX54" fmla="*/ 9415306 w 11867103"/>
                <a:gd name="connsiteY54" fmla="*/ 2823587 h 2964609"/>
                <a:gd name="connsiteX55" fmla="*/ 9204290 w 11867103"/>
                <a:gd name="connsiteY55" fmla="*/ 2803490 h 2964609"/>
                <a:gd name="connsiteX56" fmla="*/ 9073662 w 11867103"/>
                <a:gd name="connsiteY56" fmla="*/ 2783393 h 2964609"/>
                <a:gd name="connsiteX57" fmla="*/ 8812404 w 11867103"/>
                <a:gd name="connsiteY57" fmla="*/ 2773345 h 2964609"/>
                <a:gd name="connsiteX58" fmla="*/ 8400422 w 11867103"/>
                <a:gd name="connsiteY58" fmla="*/ 2763297 h 2964609"/>
                <a:gd name="connsiteX59" fmla="*/ 8269793 w 11867103"/>
                <a:gd name="connsiteY59" fmla="*/ 2753248 h 2964609"/>
                <a:gd name="connsiteX60" fmla="*/ 7797521 w 11867103"/>
                <a:gd name="connsiteY60" fmla="*/ 2773345 h 2964609"/>
                <a:gd name="connsiteX61" fmla="*/ 7717134 w 11867103"/>
                <a:gd name="connsiteY61" fmla="*/ 2783393 h 2964609"/>
                <a:gd name="connsiteX62" fmla="*/ 7486022 w 11867103"/>
                <a:gd name="connsiteY62" fmla="*/ 2813539 h 2964609"/>
                <a:gd name="connsiteX63" fmla="*/ 7395587 w 11867103"/>
                <a:gd name="connsiteY63" fmla="*/ 2833635 h 2964609"/>
                <a:gd name="connsiteX64" fmla="*/ 7325248 w 11867103"/>
                <a:gd name="connsiteY64" fmla="*/ 2843684 h 2964609"/>
                <a:gd name="connsiteX65" fmla="*/ 6863024 w 11867103"/>
                <a:gd name="connsiteY65" fmla="*/ 2833635 h 2964609"/>
                <a:gd name="connsiteX66" fmla="*/ 6722347 w 11867103"/>
                <a:gd name="connsiteY66" fmla="*/ 2823587 h 2964609"/>
                <a:gd name="connsiteX67" fmla="*/ 4903596 w 11867103"/>
                <a:gd name="connsiteY67" fmla="*/ 2873829 h 2964609"/>
                <a:gd name="connsiteX68" fmla="*/ 4722725 w 11867103"/>
                <a:gd name="connsiteY68" fmla="*/ 2914022 h 2964609"/>
                <a:gd name="connsiteX69" fmla="*/ 4300695 w 11867103"/>
                <a:gd name="connsiteY69" fmla="*/ 2893925 h 2964609"/>
                <a:gd name="connsiteX70" fmla="*/ 4059534 w 11867103"/>
                <a:gd name="connsiteY70" fmla="*/ 2853732 h 2964609"/>
                <a:gd name="connsiteX71" fmla="*/ 3768132 w 11867103"/>
                <a:gd name="connsiteY71" fmla="*/ 2823587 h 2964609"/>
                <a:gd name="connsiteX72" fmla="*/ 3627455 w 11867103"/>
                <a:gd name="connsiteY72" fmla="*/ 2813539 h 2964609"/>
                <a:gd name="connsiteX73" fmla="*/ 3125037 w 11867103"/>
                <a:gd name="connsiteY73" fmla="*/ 2823587 h 2964609"/>
                <a:gd name="connsiteX74" fmla="*/ 3064747 w 11867103"/>
                <a:gd name="connsiteY74" fmla="*/ 2833635 h 2964609"/>
                <a:gd name="connsiteX75" fmla="*/ 2009670 w 11867103"/>
                <a:gd name="connsiteY75" fmla="*/ 2843684 h 2964609"/>
                <a:gd name="connsiteX76" fmla="*/ 1678075 w 11867103"/>
                <a:gd name="connsiteY76" fmla="*/ 2934119 h 2964609"/>
                <a:gd name="connsiteX77" fmla="*/ 1607736 w 11867103"/>
                <a:gd name="connsiteY77" fmla="*/ 2964264 h 2964609"/>
                <a:gd name="connsiteX78" fmla="*/ 1135464 w 11867103"/>
                <a:gd name="connsiteY78" fmla="*/ 2944167 h 2964609"/>
                <a:gd name="connsiteX79" fmla="*/ 944545 w 11867103"/>
                <a:gd name="connsiteY79" fmla="*/ 2914022 h 2964609"/>
                <a:gd name="connsiteX80" fmla="*/ 723481 w 11867103"/>
                <a:gd name="connsiteY80" fmla="*/ 2873829 h 2964609"/>
                <a:gd name="connsiteX81" fmla="*/ 643095 w 11867103"/>
                <a:gd name="connsiteY81" fmla="*/ 2863780 h 2964609"/>
                <a:gd name="connsiteX82" fmla="*/ 371789 w 11867103"/>
                <a:gd name="connsiteY82" fmla="*/ 2823587 h 2964609"/>
                <a:gd name="connsiteX83" fmla="*/ 0 w 11867103"/>
                <a:gd name="connsiteY83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2200589 w 11867103"/>
                <a:gd name="connsiteY6" fmla="*/ 50242 h 2964609"/>
                <a:gd name="connsiteX7" fmla="*/ 4652387 w 11867103"/>
                <a:gd name="connsiteY7" fmla="*/ 60290 h 2964609"/>
                <a:gd name="connsiteX8" fmla="*/ 4692580 w 11867103"/>
                <a:gd name="connsiteY8" fmla="*/ 70339 h 2964609"/>
                <a:gd name="connsiteX9" fmla="*/ 4843306 w 11867103"/>
                <a:gd name="connsiteY9" fmla="*/ 90435 h 2964609"/>
                <a:gd name="connsiteX10" fmla="*/ 5677319 w 11867103"/>
                <a:gd name="connsiteY10" fmla="*/ 80387 h 2964609"/>
                <a:gd name="connsiteX11" fmla="*/ 6169688 w 11867103"/>
                <a:gd name="connsiteY11" fmla="*/ 110532 h 2964609"/>
                <a:gd name="connsiteX12" fmla="*/ 6420897 w 11867103"/>
                <a:gd name="connsiteY12" fmla="*/ 90435 h 2964609"/>
                <a:gd name="connsiteX13" fmla="*/ 6511332 w 11867103"/>
                <a:gd name="connsiteY13" fmla="*/ 30145 h 2964609"/>
                <a:gd name="connsiteX14" fmla="*/ 6571622 w 11867103"/>
                <a:gd name="connsiteY14" fmla="*/ 20097 h 2964609"/>
                <a:gd name="connsiteX15" fmla="*/ 6641961 w 11867103"/>
                <a:gd name="connsiteY15" fmla="*/ 0 h 2964609"/>
                <a:gd name="connsiteX16" fmla="*/ 7204668 w 11867103"/>
                <a:gd name="connsiteY16" fmla="*/ 10048 h 2964609"/>
                <a:gd name="connsiteX17" fmla="*/ 7285055 w 11867103"/>
                <a:gd name="connsiteY17" fmla="*/ 30145 h 2964609"/>
                <a:gd name="connsiteX18" fmla="*/ 7375490 w 11867103"/>
                <a:gd name="connsiteY18" fmla="*/ 40193 h 2964609"/>
                <a:gd name="connsiteX19" fmla="*/ 7928150 w 11867103"/>
                <a:gd name="connsiteY19" fmla="*/ 60290 h 2964609"/>
                <a:gd name="connsiteX20" fmla="*/ 8109020 w 11867103"/>
                <a:gd name="connsiteY20" fmla="*/ 80387 h 2964609"/>
                <a:gd name="connsiteX21" fmla="*/ 8219552 w 11867103"/>
                <a:gd name="connsiteY21" fmla="*/ 90435 h 2964609"/>
                <a:gd name="connsiteX22" fmla="*/ 8299939 w 11867103"/>
                <a:gd name="connsiteY22" fmla="*/ 100484 h 2964609"/>
                <a:gd name="connsiteX23" fmla="*/ 8521002 w 11867103"/>
                <a:gd name="connsiteY23" fmla="*/ 110532 h 2964609"/>
                <a:gd name="connsiteX24" fmla="*/ 9515789 w 11867103"/>
                <a:gd name="connsiteY24" fmla="*/ 100484 h 2964609"/>
                <a:gd name="connsiteX25" fmla="*/ 9606224 w 11867103"/>
                <a:gd name="connsiteY25" fmla="*/ 90435 h 2964609"/>
                <a:gd name="connsiteX26" fmla="*/ 9716756 w 11867103"/>
                <a:gd name="connsiteY26" fmla="*/ 80387 h 2964609"/>
                <a:gd name="connsiteX27" fmla="*/ 9797143 w 11867103"/>
                <a:gd name="connsiteY27" fmla="*/ 70339 h 2964609"/>
                <a:gd name="connsiteX28" fmla="*/ 9947868 w 11867103"/>
                <a:gd name="connsiteY28" fmla="*/ 60290 h 2964609"/>
                <a:gd name="connsiteX29" fmla="*/ 10791930 w 11867103"/>
                <a:gd name="connsiteY29" fmla="*/ 30145 h 2964609"/>
                <a:gd name="connsiteX30" fmla="*/ 11736475 w 11867103"/>
                <a:gd name="connsiteY30" fmla="*/ 50242 h 2964609"/>
                <a:gd name="connsiteX31" fmla="*/ 11766620 w 11867103"/>
                <a:gd name="connsiteY31" fmla="*/ 80387 h 2964609"/>
                <a:gd name="connsiteX32" fmla="*/ 11786717 w 11867103"/>
                <a:gd name="connsiteY32" fmla="*/ 120580 h 2964609"/>
                <a:gd name="connsiteX33" fmla="*/ 11806813 w 11867103"/>
                <a:gd name="connsiteY33" fmla="*/ 211015 h 2964609"/>
                <a:gd name="connsiteX34" fmla="*/ 11816862 w 11867103"/>
                <a:gd name="connsiteY34" fmla="*/ 251209 h 2964609"/>
                <a:gd name="connsiteX35" fmla="*/ 11826910 w 11867103"/>
                <a:gd name="connsiteY35" fmla="*/ 341644 h 2964609"/>
                <a:gd name="connsiteX36" fmla="*/ 11836958 w 11867103"/>
                <a:gd name="connsiteY36" fmla="*/ 422031 h 2964609"/>
                <a:gd name="connsiteX37" fmla="*/ 11826910 w 11867103"/>
                <a:gd name="connsiteY37" fmla="*/ 733530 h 2964609"/>
                <a:gd name="connsiteX38" fmla="*/ 11816862 w 11867103"/>
                <a:gd name="connsiteY38" fmla="*/ 793820 h 2964609"/>
                <a:gd name="connsiteX39" fmla="*/ 11806813 w 11867103"/>
                <a:gd name="connsiteY39" fmla="*/ 864158 h 2964609"/>
                <a:gd name="connsiteX40" fmla="*/ 11816862 w 11867103"/>
                <a:gd name="connsiteY40" fmla="*/ 2331218 h 2964609"/>
                <a:gd name="connsiteX41" fmla="*/ 11826910 w 11867103"/>
                <a:gd name="connsiteY41" fmla="*/ 2401556 h 2964609"/>
                <a:gd name="connsiteX42" fmla="*/ 11836958 w 11867103"/>
                <a:gd name="connsiteY42" fmla="*/ 2431701 h 2964609"/>
                <a:gd name="connsiteX43" fmla="*/ 11857055 w 11867103"/>
                <a:gd name="connsiteY43" fmla="*/ 2562330 h 2964609"/>
                <a:gd name="connsiteX44" fmla="*/ 11867103 w 11867103"/>
                <a:gd name="connsiteY44" fmla="*/ 2602523 h 2964609"/>
                <a:gd name="connsiteX45" fmla="*/ 11857055 w 11867103"/>
                <a:gd name="connsiteY45" fmla="*/ 2833635 h 2964609"/>
                <a:gd name="connsiteX46" fmla="*/ 11836958 w 11867103"/>
                <a:gd name="connsiteY46" fmla="*/ 2863780 h 2964609"/>
                <a:gd name="connsiteX47" fmla="*/ 11033090 w 11867103"/>
                <a:gd name="connsiteY47" fmla="*/ 2853732 h 2964609"/>
                <a:gd name="connsiteX48" fmla="*/ 10621108 w 11867103"/>
                <a:gd name="connsiteY48" fmla="*/ 2843684 h 2964609"/>
                <a:gd name="connsiteX49" fmla="*/ 10128739 w 11867103"/>
                <a:gd name="connsiteY49" fmla="*/ 2853732 h 2964609"/>
                <a:gd name="connsiteX50" fmla="*/ 10048352 w 11867103"/>
                <a:gd name="connsiteY50" fmla="*/ 2863780 h 2964609"/>
                <a:gd name="connsiteX51" fmla="*/ 9555982 w 11867103"/>
                <a:gd name="connsiteY51" fmla="*/ 2853732 h 2964609"/>
                <a:gd name="connsiteX52" fmla="*/ 9445451 w 11867103"/>
                <a:gd name="connsiteY52" fmla="*/ 2843684 h 2964609"/>
                <a:gd name="connsiteX53" fmla="*/ 9415306 w 11867103"/>
                <a:gd name="connsiteY53" fmla="*/ 2823587 h 2964609"/>
                <a:gd name="connsiteX54" fmla="*/ 9204290 w 11867103"/>
                <a:gd name="connsiteY54" fmla="*/ 2803490 h 2964609"/>
                <a:gd name="connsiteX55" fmla="*/ 9073662 w 11867103"/>
                <a:gd name="connsiteY55" fmla="*/ 2783393 h 2964609"/>
                <a:gd name="connsiteX56" fmla="*/ 8812404 w 11867103"/>
                <a:gd name="connsiteY56" fmla="*/ 2773345 h 2964609"/>
                <a:gd name="connsiteX57" fmla="*/ 8400422 w 11867103"/>
                <a:gd name="connsiteY57" fmla="*/ 2763297 h 2964609"/>
                <a:gd name="connsiteX58" fmla="*/ 8269793 w 11867103"/>
                <a:gd name="connsiteY58" fmla="*/ 2753248 h 2964609"/>
                <a:gd name="connsiteX59" fmla="*/ 7797521 w 11867103"/>
                <a:gd name="connsiteY59" fmla="*/ 2773345 h 2964609"/>
                <a:gd name="connsiteX60" fmla="*/ 7717134 w 11867103"/>
                <a:gd name="connsiteY60" fmla="*/ 2783393 h 2964609"/>
                <a:gd name="connsiteX61" fmla="*/ 7486022 w 11867103"/>
                <a:gd name="connsiteY61" fmla="*/ 2813539 h 2964609"/>
                <a:gd name="connsiteX62" fmla="*/ 7395587 w 11867103"/>
                <a:gd name="connsiteY62" fmla="*/ 2833635 h 2964609"/>
                <a:gd name="connsiteX63" fmla="*/ 7325248 w 11867103"/>
                <a:gd name="connsiteY63" fmla="*/ 2843684 h 2964609"/>
                <a:gd name="connsiteX64" fmla="*/ 6863024 w 11867103"/>
                <a:gd name="connsiteY64" fmla="*/ 2833635 h 2964609"/>
                <a:gd name="connsiteX65" fmla="*/ 6722347 w 11867103"/>
                <a:gd name="connsiteY65" fmla="*/ 2823587 h 2964609"/>
                <a:gd name="connsiteX66" fmla="*/ 4903596 w 11867103"/>
                <a:gd name="connsiteY66" fmla="*/ 2873829 h 2964609"/>
                <a:gd name="connsiteX67" fmla="*/ 4722725 w 11867103"/>
                <a:gd name="connsiteY67" fmla="*/ 2914022 h 2964609"/>
                <a:gd name="connsiteX68" fmla="*/ 4300695 w 11867103"/>
                <a:gd name="connsiteY68" fmla="*/ 2893925 h 2964609"/>
                <a:gd name="connsiteX69" fmla="*/ 4059534 w 11867103"/>
                <a:gd name="connsiteY69" fmla="*/ 2853732 h 2964609"/>
                <a:gd name="connsiteX70" fmla="*/ 3768132 w 11867103"/>
                <a:gd name="connsiteY70" fmla="*/ 2823587 h 2964609"/>
                <a:gd name="connsiteX71" fmla="*/ 3627455 w 11867103"/>
                <a:gd name="connsiteY71" fmla="*/ 2813539 h 2964609"/>
                <a:gd name="connsiteX72" fmla="*/ 3125037 w 11867103"/>
                <a:gd name="connsiteY72" fmla="*/ 2823587 h 2964609"/>
                <a:gd name="connsiteX73" fmla="*/ 3064747 w 11867103"/>
                <a:gd name="connsiteY73" fmla="*/ 2833635 h 2964609"/>
                <a:gd name="connsiteX74" fmla="*/ 2009670 w 11867103"/>
                <a:gd name="connsiteY74" fmla="*/ 2843684 h 2964609"/>
                <a:gd name="connsiteX75" fmla="*/ 1678075 w 11867103"/>
                <a:gd name="connsiteY75" fmla="*/ 2934119 h 2964609"/>
                <a:gd name="connsiteX76" fmla="*/ 1607736 w 11867103"/>
                <a:gd name="connsiteY76" fmla="*/ 2964264 h 2964609"/>
                <a:gd name="connsiteX77" fmla="*/ 1135464 w 11867103"/>
                <a:gd name="connsiteY77" fmla="*/ 2944167 h 2964609"/>
                <a:gd name="connsiteX78" fmla="*/ 944545 w 11867103"/>
                <a:gd name="connsiteY78" fmla="*/ 2914022 h 2964609"/>
                <a:gd name="connsiteX79" fmla="*/ 723481 w 11867103"/>
                <a:gd name="connsiteY79" fmla="*/ 2873829 h 2964609"/>
                <a:gd name="connsiteX80" fmla="*/ 643095 w 11867103"/>
                <a:gd name="connsiteY80" fmla="*/ 2863780 h 2964609"/>
                <a:gd name="connsiteX81" fmla="*/ 371789 w 11867103"/>
                <a:gd name="connsiteY81" fmla="*/ 2823587 h 2964609"/>
                <a:gd name="connsiteX82" fmla="*/ 0 w 11867103"/>
                <a:gd name="connsiteY82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4652387 w 11867103"/>
                <a:gd name="connsiteY6" fmla="*/ 60290 h 2964609"/>
                <a:gd name="connsiteX7" fmla="*/ 4692580 w 11867103"/>
                <a:gd name="connsiteY7" fmla="*/ 70339 h 2964609"/>
                <a:gd name="connsiteX8" fmla="*/ 4843306 w 11867103"/>
                <a:gd name="connsiteY8" fmla="*/ 90435 h 2964609"/>
                <a:gd name="connsiteX9" fmla="*/ 5677319 w 11867103"/>
                <a:gd name="connsiteY9" fmla="*/ 80387 h 2964609"/>
                <a:gd name="connsiteX10" fmla="*/ 6169688 w 11867103"/>
                <a:gd name="connsiteY10" fmla="*/ 110532 h 2964609"/>
                <a:gd name="connsiteX11" fmla="*/ 6420897 w 11867103"/>
                <a:gd name="connsiteY11" fmla="*/ 90435 h 2964609"/>
                <a:gd name="connsiteX12" fmla="*/ 6511332 w 11867103"/>
                <a:gd name="connsiteY12" fmla="*/ 30145 h 2964609"/>
                <a:gd name="connsiteX13" fmla="*/ 6571622 w 11867103"/>
                <a:gd name="connsiteY13" fmla="*/ 20097 h 2964609"/>
                <a:gd name="connsiteX14" fmla="*/ 6641961 w 11867103"/>
                <a:gd name="connsiteY14" fmla="*/ 0 h 2964609"/>
                <a:gd name="connsiteX15" fmla="*/ 7204668 w 11867103"/>
                <a:gd name="connsiteY15" fmla="*/ 10048 h 2964609"/>
                <a:gd name="connsiteX16" fmla="*/ 7285055 w 11867103"/>
                <a:gd name="connsiteY16" fmla="*/ 30145 h 2964609"/>
                <a:gd name="connsiteX17" fmla="*/ 7375490 w 11867103"/>
                <a:gd name="connsiteY17" fmla="*/ 40193 h 2964609"/>
                <a:gd name="connsiteX18" fmla="*/ 7928150 w 11867103"/>
                <a:gd name="connsiteY18" fmla="*/ 60290 h 2964609"/>
                <a:gd name="connsiteX19" fmla="*/ 8109020 w 11867103"/>
                <a:gd name="connsiteY19" fmla="*/ 80387 h 2964609"/>
                <a:gd name="connsiteX20" fmla="*/ 8219552 w 11867103"/>
                <a:gd name="connsiteY20" fmla="*/ 90435 h 2964609"/>
                <a:gd name="connsiteX21" fmla="*/ 8299939 w 11867103"/>
                <a:gd name="connsiteY21" fmla="*/ 100484 h 2964609"/>
                <a:gd name="connsiteX22" fmla="*/ 8521002 w 11867103"/>
                <a:gd name="connsiteY22" fmla="*/ 110532 h 2964609"/>
                <a:gd name="connsiteX23" fmla="*/ 9515789 w 11867103"/>
                <a:gd name="connsiteY23" fmla="*/ 100484 h 2964609"/>
                <a:gd name="connsiteX24" fmla="*/ 9606224 w 11867103"/>
                <a:gd name="connsiteY24" fmla="*/ 90435 h 2964609"/>
                <a:gd name="connsiteX25" fmla="*/ 9716756 w 11867103"/>
                <a:gd name="connsiteY25" fmla="*/ 80387 h 2964609"/>
                <a:gd name="connsiteX26" fmla="*/ 9797143 w 11867103"/>
                <a:gd name="connsiteY26" fmla="*/ 70339 h 2964609"/>
                <a:gd name="connsiteX27" fmla="*/ 9947868 w 11867103"/>
                <a:gd name="connsiteY27" fmla="*/ 60290 h 2964609"/>
                <a:gd name="connsiteX28" fmla="*/ 10791930 w 11867103"/>
                <a:gd name="connsiteY28" fmla="*/ 30145 h 2964609"/>
                <a:gd name="connsiteX29" fmla="*/ 11736475 w 11867103"/>
                <a:gd name="connsiteY29" fmla="*/ 50242 h 2964609"/>
                <a:gd name="connsiteX30" fmla="*/ 11766620 w 11867103"/>
                <a:gd name="connsiteY30" fmla="*/ 80387 h 2964609"/>
                <a:gd name="connsiteX31" fmla="*/ 11786717 w 11867103"/>
                <a:gd name="connsiteY31" fmla="*/ 120580 h 2964609"/>
                <a:gd name="connsiteX32" fmla="*/ 11806813 w 11867103"/>
                <a:gd name="connsiteY32" fmla="*/ 211015 h 2964609"/>
                <a:gd name="connsiteX33" fmla="*/ 11816862 w 11867103"/>
                <a:gd name="connsiteY33" fmla="*/ 251209 h 2964609"/>
                <a:gd name="connsiteX34" fmla="*/ 11826910 w 11867103"/>
                <a:gd name="connsiteY34" fmla="*/ 341644 h 2964609"/>
                <a:gd name="connsiteX35" fmla="*/ 11836958 w 11867103"/>
                <a:gd name="connsiteY35" fmla="*/ 422031 h 2964609"/>
                <a:gd name="connsiteX36" fmla="*/ 11826910 w 11867103"/>
                <a:gd name="connsiteY36" fmla="*/ 733530 h 2964609"/>
                <a:gd name="connsiteX37" fmla="*/ 11816862 w 11867103"/>
                <a:gd name="connsiteY37" fmla="*/ 793820 h 2964609"/>
                <a:gd name="connsiteX38" fmla="*/ 11806813 w 11867103"/>
                <a:gd name="connsiteY38" fmla="*/ 864158 h 2964609"/>
                <a:gd name="connsiteX39" fmla="*/ 11816862 w 11867103"/>
                <a:gd name="connsiteY39" fmla="*/ 2331218 h 2964609"/>
                <a:gd name="connsiteX40" fmla="*/ 11826910 w 11867103"/>
                <a:gd name="connsiteY40" fmla="*/ 2401556 h 2964609"/>
                <a:gd name="connsiteX41" fmla="*/ 11836958 w 11867103"/>
                <a:gd name="connsiteY41" fmla="*/ 2431701 h 2964609"/>
                <a:gd name="connsiteX42" fmla="*/ 11857055 w 11867103"/>
                <a:gd name="connsiteY42" fmla="*/ 2562330 h 2964609"/>
                <a:gd name="connsiteX43" fmla="*/ 11867103 w 11867103"/>
                <a:gd name="connsiteY43" fmla="*/ 2602523 h 2964609"/>
                <a:gd name="connsiteX44" fmla="*/ 11857055 w 11867103"/>
                <a:gd name="connsiteY44" fmla="*/ 2833635 h 2964609"/>
                <a:gd name="connsiteX45" fmla="*/ 11836958 w 11867103"/>
                <a:gd name="connsiteY45" fmla="*/ 2863780 h 2964609"/>
                <a:gd name="connsiteX46" fmla="*/ 11033090 w 11867103"/>
                <a:gd name="connsiteY46" fmla="*/ 2853732 h 2964609"/>
                <a:gd name="connsiteX47" fmla="*/ 10621108 w 11867103"/>
                <a:gd name="connsiteY47" fmla="*/ 2843684 h 2964609"/>
                <a:gd name="connsiteX48" fmla="*/ 10128739 w 11867103"/>
                <a:gd name="connsiteY48" fmla="*/ 2853732 h 2964609"/>
                <a:gd name="connsiteX49" fmla="*/ 10048352 w 11867103"/>
                <a:gd name="connsiteY49" fmla="*/ 2863780 h 2964609"/>
                <a:gd name="connsiteX50" fmla="*/ 9555982 w 11867103"/>
                <a:gd name="connsiteY50" fmla="*/ 2853732 h 2964609"/>
                <a:gd name="connsiteX51" fmla="*/ 9445451 w 11867103"/>
                <a:gd name="connsiteY51" fmla="*/ 2843684 h 2964609"/>
                <a:gd name="connsiteX52" fmla="*/ 9415306 w 11867103"/>
                <a:gd name="connsiteY52" fmla="*/ 2823587 h 2964609"/>
                <a:gd name="connsiteX53" fmla="*/ 9204290 w 11867103"/>
                <a:gd name="connsiteY53" fmla="*/ 2803490 h 2964609"/>
                <a:gd name="connsiteX54" fmla="*/ 9073662 w 11867103"/>
                <a:gd name="connsiteY54" fmla="*/ 2783393 h 2964609"/>
                <a:gd name="connsiteX55" fmla="*/ 8812404 w 11867103"/>
                <a:gd name="connsiteY55" fmla="*/ 2773345 h 2964609"/>
                <a:gd name="connsiteX56" fmla="*/ 8400422 w 11867103"/>
                <a:gd name="connsiteY56" fmla="*/ 2763297 h 2964609"/>
                <a:gd name="connsiteX57" fmla="*/ 8269793 w 11867103"/>
                <a:gd name="connsiteY57" fmla="*/ 2753248 h 2964609"/>
                <a:gd name="connsiteX58" fmla="*/ 7797521 w 11867103"/>
                <a:gd name="connsiteY58" fmla="*/ 2773345 h 2964609"/>
                <a:gd name="connsiteX59" fmla="*/ 7717134 w 11867103"/>
                <a:gd name="connsiteY59" fmla="*/ 2783393 h 2964609"/>
                <a:gd name="connsiteX60" fmla="*/ 7486022 w 11867103"/>
                <a:gd name="connsiteY60" fmla="*/ 2813539 h 2964609"/>
                <a:gd name="connsiteX61" fmla="*/ 7395587 w 11867103"/>
                <a:gd name="connsiteY61" fmla="*/ 2833635 h 2964609"/>
                <a:gd name="connsiteX62" fmla="*/ 7325248 w 11867103"/>
                <a:gd name="connsiteY62" fmla="*/ 2843684 h 2964609"/>
                <a:gd name="connsiteX63" fmla="*/ 6863024 w 11867103"/>
                <a:gd name="connsiteY63" fmla="*/ 2833635 h 2964609"/>
                <a:gd name="connsiteX64" fmla="*/ 6722347 w 11867103"/>
                <a:gd name="connsiteY64" fmla="*/ 2823587 h 2964609"/>
                <a:gd name="connsiteX65" fmla="*/ 4903596 w 11867103"/>
                <a:gd name="connsiteY65" fmla="*/ 2873829 h 2964609"/>
                <a:gd name="connsiteX66" fmla="*/ 4722725 w 11867103"/>
                <a:gd name="connsiteY66" fmla="*/ 2914022 h 2964609"/>
                <a:gd name="connsiteX67" fmla="*/ 4300695 w 11867103"/>
                <a:gd name="connsiteY67" fmla="*/ 2893925 h 2964609"/>
                <a:gd name="connsiteX68" fmla="*/ 4059534 w 11867103"/>
                <a:gd name="connsiteY68" fmla="*/ 2853732 h 2964609"/>
                <a:gd name="connsiteX69" fmla="*/ 3768132 w 11867103"/>
                <a:gd name="connsiteY69" fmla="*/ 2823587 h 2964609"/>
                <a:gd name="connsiteX70" fmla="*/ 3627455 w 11867103"/>
                <a:gd name="connsiteY70" fmla="*/ 2813539 h 2964609"/>
                <a:gd name="connsiteX71" fmla="*/ 3125037 w 11867103"/>
                <a:gd name="connsiteY71" fmla="*/ 2823587 h 2964609"/>
                <a:gd name="connsiteX72" fmla="*/ 3064747 w 11867103"/>
                <a:gd name="connsiteY72" fmla="*/ 2833635 h 2964609"/>
                <a:gd name="connsiteX73" fmla="*/ 2009670 w 11867103"/>
                <a:gd name="connsiteY73" fmla="*/ 2843684 h 2964609"/>
                <a:gd name="connsiteX74" fmla="*/ 1678075 w 11867103"/>
                <a:gd name="connsiteY74" fmla="*/ 2934119 h 2964609"/>
                <a:gd name="connsiteX75" fmla="*/ 1607736 w 11867103"/>
                <a:gd name="connsiteY75" fmla="*/ 2964264 h 2964609"/>
                <a:gd name="connsiteX76" fmla="*/ 1135464 w 11867103"/>
                <a:gd name="connsiteY76" fmla="*/ 2944167 h 2964609"/>
                <a:gd name="connsiteX77" fmla="*/ 944545 w 11867103"/>
                <a:gd name="connsiteY77" fmla="*/ 2914022 h 2964609"/>
                <a:gd name="connsiteX78" fmla="*/ 723481 w 11867103"/>
                <a:gd name="connsiteY78" fmla="*/ 2873829 h 2964609"/>
                <a:gd name="connsiteX79" fmla="*/ 643095 w 11867103"/>
                <a:gd name="connsiteY79" fmla="*/ 2863780 h 2964609"/>
                <a:gd name="connsiteX80" fmla="*/ 371789 w 11867103"/>
                <a:gd name="connsiteY80" fmla="*/ 2823587 h 2964609"/>
                <a:gd name="connsiteX81" fmla="*/ 0 w 11867103"/>
                <a:gd name="connsiteY81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4652387 w 11867103"/>
                <a:gd name="connsiteY6" fmla="*/ 60290 h 2964609"/>
                <a:gd name="connsiteX7" fmla="*/ 4692580 w 11867103"/>
                <a:gd name="connsiteY7" fmla="*/ 70339 h 2964609"/>
                <a:gd name="connsiteX8" fmla="*/ 5677319 w 11867103"/>
                <a:gd name="connsiteY8" fmla="*/ 80387 h 2964609"/>
                <a:gd name="connsiteX9" fmla="*/ 6169688 w 11867103"/>
                <a:gd name="connsiteY9" fmla="*/ 110532 h 2964609"/>
                <a:gd name="connsiteX10" fmla="*/ 6420897 w 11867103"/>
                <a:gd name="connsiteY10" fmla="*/ 90435 h 2964609"/>
                <a:gd name="connsiteX11" fmla="*/ 6511332 w 11867103"/>
                <a:gd name="connsiteY11" fmla="*/ 30145 h 2964609"/>
                <a:gd name="connsiteX12" fmla="*/ 6571622 w 11867103"/>
                <a:gd name="connsiteY12" fmla="*/ 20097 h 2964609"/>
                <a:gd name="connsiteX13" fmla="*/ 6641961 w 11867103"/>
                <a:gd name="connsiteY13" fmla="*/ 0 h 2964609"/>
                <a:gd name="connsiteX14" fmla="*/ 7204668 w 11867103"/>
                <a:gd name="connsiteY14" fmla="*/ 10048 h 2964609"/>
                <a:gd name="connsiteX15" fmla="*/ 7285055 w 11867103"/>
                <a:gd name="connsiteY15" fmla="*/ 30145 h 2964609"/>
                <a:gd name="connsiteX16" fmla="*/ 7375490 w 11867103"/>
                <a:gd name="connsiteY16" fmla="*/ 40193 h 2964609"/>
                <a:gd name="connsiteX17" fmla="*/ 7928150 w 11867103"/>
                <a:gd name="connsiteY17" fmla="*/ 60290 h 2964609"/>
                <a:gd name="connsiteX18" fmla="*/ 8109020 w 11867103"/>
                <a:gd name="connsiteY18" fmla="*/ 80387 h 2964609"/>
                <a:gd name="connsiteX19" fmla="*/ 8219552 w 11867103"/>
                <a:gd name="connsiteY19" fmla="*/ 90435 h 2964609"/>
                <a:gd name="connsiteX20" fmla="*/ 8299939 w 11867103"/>
                <a:gd name="connsiteY20" fmla="*/ 100484 h 2964609"/>
                <a:gd name="connsiteX21" fmla="*/ 8521002 w 11867103"/>
                <a:gd name="connsiteY21" fmla="*/ 110532 h 2964609"/>
                <a:gd name="connsiteX22" fmla="*/ 9515789 w 11867103"/>
                <a:gd name="connsiteY22" fmla="*/ 100484 h 2964609"/>
                <a:gd name="connsiteX23" fmla="*/ 9606224 w 11867103"/>
                <a:gd name="connsiteY23" fmla="*/ 90435 h 2964609"/>
                <a:gd name="connsiteX24" fmla="*/ 9716756 w 11867103"/>
                <a:gd name="connsiteY24" fmla="*/ 80387 h 2964609"/>
                <a:gd name="connsiteX25" fmla="*/ 9797143 w 11867103"/>
                <a:gd name="connsiteY25" fmla="*/ 70339 h 2964609"/>
                <a:gd name="connsiteX26" fmla="*/ 9947868 w 11867103"/>
                <a:gd name="connsiteY26" fmla="*/ 60290 h 2964609"/>
                <a:gd name="connsiteX27" fmla="*/ 10791930 w 11867103"/>
                <a:gd name="connsiteY27" fmla="*/ 30145 h 2964609"/>
                <a:gd name="connsiteX28" fmla="*/ 11736475 w 11867103"/>
                <a:gd name="connsiteY28" fmla="*/ 50242 h 2964609"/>
                <a:gd name="connsiteX29" fmla="*/ 11766620 w 11867103"/>
                <a:gd name="connsiteY29" fmla="*/ 80387 h 2964609"/>
                <a:gd name="connsiteX30" fmla="*/ 11786717 w 11867103"/>
                <a:gd name="connsiteY30" fmla="*/ 120580 h 2964609"/>
                <a:gd name="connsiteX31" fmla="*/ 11806813 w 11867103"/>
                <a:gd name="connsiteY31" fmla="*/ 211015 h 2964609"/>
                <a:gd name="connsiteX32" fmla="*/ 11816862 w 11867103"/>
                <a:gd name="connsiteY32" fmla="*/ 251209 h 2964609"/>
                <a:gd name="connsiteX33" fmla="*/ 11826910 w 11867103"/>
                <a:gd name="connsiteY33" fmla="*/ 341644 h 2964609"/>
                <a:gd name="connsiteX34" fmla="*/ 11836958 w 11867103"/>
                <a:gd name="connsiteY34" fmla="*/ 422031 h 2964609"/>
                <a:gd name="connsiteX35" fmla="*/ 11826910 w 11867103"/>
                <a:gd name="connsiteY35" fmla="*/ 733530 h 2964609"/>
                <a:gd name="connsiteX36" fmla="*/ 11816862 w 11867103"/>
                <a:gd name="connsiteY36" fmla="*/ 793820 h 2964609"/>
                <a:gd name="connsiteX37" fmla="*/ 11806813 w 11867103"/>
                <a:gd name="connsiteY37" fmla="*/ 864158 h 2964609"/>
                <a:gd name="connsiteX38" fmla="*/ 11816862 w 11867103"/>
                <a:gd name="connsiteY38" fmla="*/ 2331218 h 2964609"/>
                <a:gd name="connsiteX39" fmla="*/ 11826910 w 11867103"/>
                <a:gd name="connsiteY39" fmla="*/ 2401556 h 2964609"/>
                <a:gd name="connsiteX40" fmla="*/ 11836958 w 11867103"/>
                <a:gd name="connsiteY40" fmla="*/ 2431701 h 2964609"/>
                <a:gd name="connsiteX41" fmla="*/ 11857055 w 11867103"/>
                <a:gd name="connsiteY41" fmla="*/ 2562330 h 2964609"/>
                <a:gd name="connsiteX42" fmla="*/ 11867103 w 11867103"/>
                <a:gd name="connsiteY42" fmla="*/ 2602523 h 2964609"/>
                <a:gd name="connsiteX43" fmla="*/ 11857055 w 11867103"/>
                <a:gd name="connsiteY43" fmla="*/ 2833635 h 2964609"/>
                <a:gd name="connsiteX44" fmla="*/ 11836958 w 11867103"/>
                <a:gd name="connsiteY44" fmla="*/ 2863780 h 2964609"/>
                <a:gd name="connsiteX45" fmla="*/ 11033090 w 11867103"/>
                <a:gd name="connsiteY45" fmla="*/ 2853732 h 2964609"/>
                <a:gd name="connsiteX46" fmla="*/ 10621108 w 11867103"/>
                <a:gd name="connsiteY46" fmla="*/ 2843684 h 2964609"/>
                <a:gd name="connsiteX47" fmla="*/ 10128739 w 11867103"/>
                <a:gd name="connsiteY47" fmla="*/ 2853732 h 2964609"/>
                <a:gd name="connsiteX48" fmla="*/ 10048352 w 11867103"/>
                <a:gd name="connsiteY48" fmla="*/ 2863780 h 2964609"/>
                <a:gd name="connsiteX49" fmla="*/ 9555982 w 11867103"/>
                <a:gd name="connsiteY49" fmla="*/ 2853732 h 2964609"/>
                <a:gd name="connsiteX50" fmla="*/ 9445451 w 11867103"/>
                <a:gd name="connsiteY50" fmla="*/ 2843684 h 2964609"/>
                <a:gd name="connsiteX51" fmla="*/ 9415306 w 11867103"/>
                <a:gd name="connsiteY51" fmla="*/ 2823587 h 2964609"/>
                <a:gd name="connsiteX52" fmla="*/ 9204290 w 11867103"/>
                <a:gd name="connsiteY52" fmla="*/ 2803490 h 2964609"/>
                <a:gd name="connsiteX53" fmla="*/ 9073662 w 11867103"/>
                <a:gd name="connsiteY53" fmla="*/ 2783393 h 2964609"/>
                <a:gd name="connsiteX54" fmla="*/ 8812404 w 11867103"/>
                <a:gd name="connsiteY54" fmla="*/ 2773345 h 2964609"/>
                <a:gd name="connsiteX55" fmla="*/ 8400422 w 11867103"/>
                <a:gd name="connsiteY55" fmla="*/ 2763297 h 2964609"/>
                <a:gd name="connsiteX56" fmla="*/ 8269793 w 11867103"/>
                <a:gd name="connsiteY56" fmla="*/ 2753248 h 2964609"/>
                <a:gd name="connsiteX57" fmla="*/ 7797521 w 11867103"/>
                <a:gd name="connsiteY57" fmla="*/ 2773345 h 2964609"/>
                <a:gd name="connsiteX58" fmla="*/ 7717134 w 11867103"/>
                <a:gd name="connsiteY58" fmla="*/ 2783393 h 2964609"/>
                <a:gd name="connsiteX59" fmla="*/ 7486022 w 11867103"/>
                <a:gd name="connsiteY59" fmla="*/ 2813539 h 2964609"/>
                <a:gd name="connsiteX60" fmla="*/ 7395587 w 11867103"/>
                <a:gd name="connsiteY60" fmla="*/ 2833635 h 2964609"/>
                <a:gd name="connsiteX61" fmla="*/ 7325248 w 11867103"/>
                <a:gd name="connsiteY61" fmla="*/ 2843684 h 2964609"/>
                <a:gd name="connsiteX62" fmla="*/ 6863024 w 11867103"/>
                <a:gd name="connsiteY62" fmla="*/ 2833635 h 2964609"/>
                <a:gd name="connsiteX63" fmla="*/ 6722347 w 11867103"/>
                <a:gd name="connsiteY63" fmla="*/ 2823587 h 2964609"/>
                <a:gd name="connsiteX64" fmla="*/ 4903596 w 11867103"/>
                <a:gd name="connsiteY64" fmla="*/ 2873829 h 2964609"/>
                <a:gd name="connsiteX65" fmla="*/ 4722725 w 11867103"/>
                <a:gd name="connsiteY65" fmla="*/ 2914022 h 2964609"/>
                <a:gd name="connsiteX66" fmla="*/ 4300695 w 11867103"/>
                <a:gd name="connsiteY66" fmla="*/ 2893925 h 2964609"/>
                <a:gd name="connsiteX67" fmla="*/ 4059534 w 11867103"/>
                <a:gd name="connsiteY67" fmla="*/ 2853732 h 2964609"/>
                <a:gd name="connsiteX68" fmla="*/ 3768132 w 11867103"/>
                <a:gd name="connsiteY68" fmla="*/ 2823587 h 2964609"/>
                <a:gd name="connsiteX69" fmla="*/ 3627455 w 11867103"/>
                <a:gd name="connsiteY69" fmla="*/ 2813539 h 2964609"/>
                <a:gd name="connsiteX70" fmla="*/ 3125037 w 11867103"/>
                <a:gd name="connsiteY70" fmla="*/ 2823587 h 2964609"/>
                <a:gd name="connsiteX71" fmla="*/ 3064747 w 11867103"/>
                <a:gd name="connsiteY71" fmla="*/ 2833635 h 2964609"/>
                <a:gd name="connsiteX72" fmla="*/ 2009670 w 11867103"/>
                <a:gd name="connsiteY72" fmla="*/ 2843684 h 2964609"/>
                <a:gd name="connsiteX73" fmla="*/ 1678075 w 11867103"/>
                <a:gd name="connsiteY73" fmla="*/ 2934119 h 2964609"/>
                <a:gd name="connsiteX74" fmla="*/ 1607736 w 11867103"/>
                <a:gd name="connsiteY74" fmla="*/ 2964264 h 2964609"/>
                <a:gd name="connsiteX75" fmla="*/ 1135464 w 11867103"/>
                <a:gd name="connsiteY75" fmla="*/ 2944167 h 2964609"/>
                <a:gd name="connsiteX76" fmla="*/ 944545 w 11867103"/>
                <a:gd name="connsiteY76" fmla="*/ 2914022 h 2964609"/>
                <a:gd name="connsiteX77" fmla="*/ 723481 w 11867103"/>
                <a:gd name="connsiteY77" fmla="*/ 2873829 h 2964609"/>
                <a:gd name="connsiteX78" fmla="*/ 643095 w 11867103"/>
                <a:gd name="connsiteY78" fmla="*/ 2863780 h 2964609"/>
                <a:gd name="connsiteX79" fmla="*/ 371789 w 11867103"/>
                <a:gd name="connsiteY79" fmla="*/ 2823587 h 2964609"/>
                <a:gd name="connsiteX80" fmla="*/ 0 w 11867103"/>
                <a:gd name="connsiteY80" fmla="*/ 2813539 h 2964609"/>
                <a:gd name="connsiteX0" fmla="*/ 120580 w 11867103"/>
                <a:gd name="connsiteY0" fmla="*/ 50242 h 2964609"/>
                <a:gd name="connsiteX1" fmla="*/ 281354 w 11867103"/>
                <a:gd name="connsiteY1" fmla="*/ 40193 h 2964609"/>
                <a:gd name="connsiteX2" fmla="*/ 673240 w 11867103"/>
                <a:gd name="connsiteY2" fmla="*/ 30145 h 2964609"/>
                <a:gd name="connsiteX3" fmla="*/ 1356528 w 11867103"/>
                <a:gd name="connsiteY3" fmla="*/ 80387 h 2964609"/>
                <a:gd name="connsiteX4" fmla="*/ 1758462 w 11867103"/>
                <a:gd name="connsiteY4" fmla="*/ 40193 h 2964609"/>
                <a:gd name="connsiteX5" fmla="*/ 2140299 w 11867103"/>
                <a:gd name="connsiteY5" fmla="*/ 40193 h 2964609"/>
                <a:gd name="connsiteX6" fmla="*/ 4652387 w 11867103"/>
                <a:gd name="connsiteY6" fmla="*/ 60290 h 2964609"/>
                <a:gd name="connsiteX7" fmla="*/ 4692580 w 11867103"/>
                <a:gd name="connsiteY7" fmla="*/ 70339 h 2964609"/>
                <a:gd name="connsiteX8" fmla="*/ 6169688 w 11867103"/>
                <a:gd name="connsiteY8" fmla="*/ 110532 h 2964609"/>
                <a:gd name="connsiteX9" fmla="*/ 6420897 w 11867103"/>
                <a:gd name="connsiteY9" fmla="*/ 90435 h 2964609"/>
                <a:gd name="connsiteX10" fmla="*/ 6511332 w 11867103"/>
                <a:gd name="connsiteY10" fmla="*/ 30145 h 2964609"/>
                <a:gd name="connsiteX11" fmla="*/ 6571622 w 11867103"/>
                <a:gd name="connsiteY11" fmla="*/ 20097 h 2964609"/>
                <a:gd name="connsiteX12" fmla="*/ 6641961 w 11867103"/>
                <a:gd name="connsiteY12" fmla="*/ 0 h 2964609"/>
                <a:gd name="connsiteX13" fmla="*/ 7204668 w 11867103"/>
                <a:gd name="connsiteY13" fmla="*/ 10048 h 2964609"/>
                <a:gd name="connsiteX14" fmla="*/ 7285055 w 11867103"/>
                <a:gd name="connsiteY14" fmla="*/ 30145 h 2964609"/>
                <a:gd name="connsiteX15" fmla="*/ 7375490 w 11867103"/>
                <a:gd name="connsiteY15" fmla="*/ 40193 h 2964609"/>
                <a:gd name="connsiteX16" fmla="*/ 7928150 w 11867103"/>
                <a:gd name="connsiteY16" fmla="*/ 60290 h 2964609"/>
                <a:gd name="connsiteX17" fmla="*/ 8109020 w 11867103"/>
                <a:gd name="connsiteY17" fmla="*/ 80387 h 2964609"/>
                <a:gd name="connsiteX18" fmla="*/ 8219552 w 11867103"/>
                <a:gd name="connsiteY18" fmla="*/ 90435 h 2964609"/>
                <a:gd name="connsiteX19" fmla="*/ 8299939 w 11867103"/>
                <a:gd name="connsiteY19" fmla="*/ 100484 h 2964609"/>
                <a:gd name="connsiteX20" fmla="*/ 8521002 w 11867103"/>
                <a:gd name="connsiteY20" fmla="*/ 110532 h 2964609"/>
                <a:gd name="connsiteX21" fmla="*/ 9515789 w 11867103"/>
                <a:gd name="connsiteY21" fmla="*/ 100484 h 2964609"/>
                <a:gd name="connsiteX22" fmla="*/ 9606224 w 11867103"/>
                <a:gd name="connsiteY22" fmla="*/ 90435 h 2964609"/>
                <a:gd name="connsiteX23" fmla="*/ 9716756 w 11867103"/>
                <a:gd name="connsiteY23" fmla="*/ 80387 h 2964609"/>
                <a:gd name="connsiteX24" fmla="*/ 9797143 w 11867103"/>
                <a:gd name="connsiteY24" fmla="*/ 70339 h 2964609"/>
                <a:gd name="connsiteX25" fmla="*/ 9947868 w 11867103"/>
                <a:gd name="connsiteY25" fmla="*/ 60290 h 2964609"/>
                <a:gd name="connsiteX26" fmla="*/ 10791930 w 11867103"/>
                <a:gd name="connsiteY26" fmla="*/ 30145 h 2964609"/>
                <a:gd name="connsiteX27" fmla="*/ 11736475 w 11867103"/>
                <a:gd name="connsiteY27" fmla="*/ 50242 h 2964609"/>
                <a:gd name="connsiteX28" fmla="*/ 11766620 w 11867103"/>
                <a:gd name="connsiteY28" fmla="*/ 80387 h 2964609"/>
                <a:gd name="connsiteX29" fmla="*/ 11786717 w 11867103"/>
                <a:gd name="connsiteY29" fmla="*/ 120580 h 2964609"/>
                <a:gd name="connsiteX30" fmla="*/ 11806813 w 11867103"/>
                <a:gd name="connsiteY30" fmla="*/ 211015 h 2964609"/>
                <a:gd name="connsiteX31" fmla="*/ 11816862 w 11867103"/>
                <a:gd name="connsiteY31" fmla="*/ 251209 h 2964609"/>
                <a:gd name="connsiteX32" fmla="*/ 11826910 w 11867103"/>
                <a:gd name="connsiteY32" fmla="*/ 341644 h 2964609"/>
                <a:gd name="connsiteX33" fmla="*/ 11836958 w 11867103"/>
                <a:gd name="connsiteY33" fmla="*/ 422031 h 2964609"/>
                <a:gd name="connsiteX34" fmla="*/ 11826910 w 11867103"/>
                <a:gd name="connsiteY34" fmla="*/ 733530 h 2964609"/>
                <a:gd name="connsiteX35" fmla="*/ 11816862 w 11867103"/>
                <a:gd name="connsiteY35" fmla="*/ 793820 h 2964609"/>
                <a:gd name="connsiteX36" fmla="*/ 11806813 w 11867103"/>
                <a:gd name="connsiteY36" fmla="*/ 864158 h 2964609"/>
                <a:gd name="connsiteX37" fmla="*/ 11816862 w 11867103"/>
                <a:gd name="connsiteY37" fmla="*/ 2331218 h 2964609"/>
                <a:gd name="connsiteX38" fmla="*/ 11826910 w 11867103"/>
                <a:gd name="connsiteY38" fmla="*/ 2401556 h 2964609"/>
                <a:gd name="connsiteX39" fmla="*/ 11836958 w 11867103"/>
                <a:gd name="connsiteY39" fmla="*/ 2431701 h 2964609"/>
                <a:gd name="connsiteX40" fmla="*/ 11857055 w 11867103"/>
                <a:gd name="connsiteY40" fmla="*/ 2562330 h 2964609"/>
                <a:gd name="connsiteX41" fmla="*/ 11867103 w 11867103"/>
                <a:gd name="connsiteY41" fmla="*/ 2602523 h 2964609"/>
                <a:gd name="connsiteX42" fmla="*/ 11857055 w 11867103"/>
                <a:gd name="connsiteY42" fmla="*/ 2833635 h 2964609"/>
                <a:gd name="connsiteX43" fmla="*/ 11836958 w 11867103"/>
                <a:gd name="connsiteY43" fmla="*/ 2863780 h 2964609"/>
                <a:gd name="connsiteX44" fmla="*/ 11033090 w 11867103"/>
                <a:gd name="connsiteY44" fmla="*/ 2853732 h 2964609"/>
                <a:gd name="connsiteX45" fmla="*/ 10621108 w 11867103"/>
                <a:gd name="connsiteY45" fmla="*/ 2843684 h 2964609"/>
                <a:gd name="connsiteX46" fmla="*/ 10128739 w 11867103"/>
                <a:gd name="connsiteY46" fmla="*/ 2853732 h 2964609"/>
                <a:gd name="connsiteX47" fmla="*/ 10048352 w 11867103"/>
                <a:gd name="connsiteY47" fmla="*/ 2863780 h 2964609"/>
                <a:gd name="connsiteX48" fmla="*/ 9555982 w 11867103"/>
                <a:gd name="connsiteY48" fmla="*/ 2853732 h 2964609"/>
                <a:gd name="connsiteX49" fmla="*/ 9445451 w 11867103"/>
                <a:gd name="connsiteY49" fmla="*/ 2843684 h 2964609"/>
                <a:gd name="connsiteX50" fmla="*/ 9415306 w 11867103"/>
                <a:gd name="connsiteY50" fmla="*/ 2823587 h 2964609"/>
                <a:gd name="connsiteX51" fmla="*/ 9204290 w 11867103"/>
                <a:gd name="connsiteY51" fmla="*/ 2803490 h 2964609"/>
                <a:gd name="connsiteX52" fmla="*/ 9073662 w 11867103"/>
                <a:gd name="connsiteY52" fmla="*/ 2783393 h 2964609"/>
                <a:gd name="connsiteX53" fmla="*/ 8812404 w 11867103"/>
                <a:gd name="connsiteY53" fmla="*/ 2773345 h 2964609"/>
                <a:gd name="connsiteX54" fmla="*/ 8400422 w 11867103"/>
                <a:gd name="connsiteY54" fmla="*/ 2763297 h 2964609"/>
                <a:gd name="connsiteX55" fmla="*/ 8269793 w 11867103"/>
                <a:gd name="connsiteY55" fmla="*/ 2753248 h 2964609"/>
                <a:gd name="connsiteX56" fmla="*/ 7797521 w 11867103"/>
                <a:gd name="connsiteY56" fmla="*/ 2773345 h 2964609"/>
                <a:gd name="connsiteX57" fmla="*/ 7717134 w 11867103"/>
                <a:gd name="connsiteY57" fmla="*/ 2783393 h 2964609"/>
                <a:gd name="connsiteX58" fmla="*/ 7486022 w 11867103"/>
                <a:gd name="connsiteY58" fmla="*/ 2813539 h 2964609"/>
                <a:gd name="connsiteX59" fmla="*/ 7395587 w 11867103"/>
                <a:gd name="connsiteY59" fmla="*/ 2833635 h 2964609"/>
                <a:gd name="connsiteX60" fmla="*/ 7325248 w 11867103"/>
                <a:gd name="connsiteY60" fmla="*/ 2843684 h 2964609"/>
                <a:gd name="connsiteX61" fmla="*/ 6863024 w 11867103"/>
                <a:gd name="connsiteY61" fmla="*/ 2833635 h 2964609"/>
                <a:gd name="connsiteX62" fmla="*/ 6722347 w 11867103"/>
                <a:gd name="connsiteY62" fmla="*/ 2823587 h 2964609"/>
                <a:gd name="connsiteX63" fmla="*/ 4903596 w 11867103"/>
                <a:gd name="connsiteY63" fmla="*/ 2873829 h 2964609"/>
                <a:gd name="connsiteX64" fmla="*/ 4722725 w 11867103"/>
                <a:gd name="connsiteY64" fmla="*/ 2914022 h 2964609"/>
                <a:gd name="connsiteX65" fmla="*/ 4300695 w 11867103"/>
                <a:gd name="connsiteY65" fmla="*/ 2893925 h 2964609"/>
                <a:gd name="connsiteX66" fmla="*/ 4059534 w 11867103"/>
                <a:gd name="connsiteY66" fmla="*/ 2853732 h 2964609"/>
                <a:gd name="connsiteX67" fmla="*/ 3768132 w 11867103"/>
                <a:gd name="connsiteY67" fmla="*/ 2823587 h 2964609"/>
                <a:gd name="connsiteX68" fmla="*/ 3627455 w 11867103"/>
                <a:gd name="connsiteY68" fmla="*/ 2813539 h 2964609"/>
                <a:gd name="connsiteX69" fmla="*/ 3125037 w 11867103"/>
                <a:gd name="connsiteY69" fmla="*/ 2823587 h 2964609"/>
                <a:gd name="connsiteX70" fmla="*/ 3064747 w 11867103"/>
                <a:gd name="connsiteY70" fmla="*/ 2833635 h 2964609"/>
                <a:gd name="connsiteX71" fmla="*/ 2009670 w 11867103"/>
                <a:gd name="connsiteY71" fmla="*/ 2843684 h 2964609"/>
                <a:gd name="connsiteX72" fmla="*/ 1678075 w 11867103"/>
                <a:gd name="connsiteY72" fmla="*/ 2934119 h 2964609"/>
                <a:gd name="connsiteX73" fmla="*/ 1607736 w 11867103"/>
                <a:gd name="connsiteY73" fmla="*/ 2964264 h 2964609"/>
                <a:gd name="connsiteX74" fmla="*/ 1135464 w 11867103"/>
                <a:gd name="connsiteY74" fmla="*/ 2944167 h 2964609"/>
                <a:gd name="connsiteX75" fmla="*/ 944545 w 11867103"/>
                <a:gd name="connsiteY75" fmla="*/ 2914022 h 2964609"/>
                <a:gd name="connsiteX76" fmla="*/ 723481 w 11867103"/>
                <a:gd name="connsiteY76" fmla="*/ 2873829 h 2964609"/>
                <a:gd name="connsiteX77" fmla="*/ 643095 w 11867103"/>
                <a:gd name="connsiteY77" fmla="*/ 2863780 h 2964609"/>
                <a:gd name="connsiteX78" fmla="*/ 371789 w 11867103"/>
                <a:gd name="connsiteY78" fmla="*/ 2823587 h 2964609"/>
                <a:gd name="connsiteX79" fmla="*/ 0 w 11867103"/>
                <a:gd name="connsiteY79" fmla="*/ 2813539 h 2964609"/>
                <a:gd name="connsiteX0" fmla="*/ 120580 w 11867103"/>
                <a:gd name="connsiteY0" fmla="*/ 51336 h 2965703"/>
                <a:gd name="connsiteX1" fmla="*/ 281354 w 11867103"/>
                <a:gd name="connsiteY1" fmla="*/ 41287 h 2965703"/>
                <a:gd name="connsiteX2" fmla="*/ 673240 w 11867103"/>
                <a:gd name="connsiteY2" fmla="*/ 31239 h 2965703"/>
                <a:gd name="connsiteX3" fmla="*/ 1356528 w 11867103"/>
                <a:gd name="connsiteY3" fmla="*/ 81481 h 2965703"/>
                <a:gd name="connsiteX4" fmla="*/ 1758462 w 11867103"/>
                <a:gd name="connsiteY4" fmla="*/ 41287 h 2965703"/>
                <a:gd name="connsiteX5" fmla="*/ 2140299 w 11867103"/>
                <a:gd name="connsiteY5" fmla="*/ 41287 h 2965703"/>
                <a:gd name="connsiteX6" fmla="*/ 4652387 w 11867103"/>
                <a:gd name="connsiteY6" fmla="*/ 61384 h 2965703"/>
                <a:gd name="connsiteX7" fmla="*/ 4692580 w 11867103"/>
                <a:gd name="connsiteY7" fmla="*/ 71433 h 2965703"/>
                <a:gd name="connsiteX8" fmla="*/ 6169688 w 11867103"/>
                <a:gd name="connsiteY8" fmla="*/ 111626 h 2965703"/>
                <a:gd name="connsiteX9" fmla="*/ 6420897 w 11867103"/>
                <a:gd name="connsiteY9" fmla="*/ 91529 h 2965703"/>
                <a:gd name="connsiteX10" fmla="*/ 6511332 w 11867103"/>
                <a:gd name="connsiteY10" fmla="*/ 31239 h 2965703"/>
                <a:gd name="connsiteX11" fmla="*/ 6641961 w 11867103"/>
                <a:gd name="connsiteY11" fmla="*/ 1094 h 2965703"/>
                <a:gd name="connsiteX12" fmla="*/ 7204668 w 11867103"/>
                <a:gd name="connsiteY12" fmla="*/ 11142 h 2965703"/>
                <a:gd name="connsiteX13" fmla="*/ 7285055 w 11867103"/>
                <a:gd name="connsiteY13" fmla="*/ 31239 h 2965703"/>
                <a:gd name="connsiteX14" fmla="*/ 7375490 w 11867103"/>
                <a:gd name="connsiteY14" fmla="*/ 41287 h 2965703"/>
                <a:gd name="connsiteX15" fmla="*/ 7928150 w 11867103"/>
                <a:gd name="connsiteY15" fmla="*/ 61384 h 2965703"/>
                <a:gd name="connsiteX16" fmla="*/ 8109020 w 11867103"/>
                <a:gd name="connsiteY16" fmla="*/ 81481 h 2965703"/>
                <a:gd name="connsiteX17" fmla="*/ 8219552 w 11867103"/>
                <a:gd name="connsiteY17" fmla="*/ 91529 h 2965703"/>
                <a:gd name="connsiteX18" fmla="*/ 8299939 w 11867103"/>
                <a:gd name="connsiteY18" fmla="*/ 101578 h 2965703"/>
                <a:gd name="connsiteX19" fmla="*/ 8521002 w 11867103"/>
                <a:gd name="connsiteY19" fmla="*/ 111626 h 2965703"/>
                <a:gd name="connsiteX20" fmla="*/ 9515789 w 11867103"/>
                <a:gd name="connsiteY20" fmla="*/ 101578 h 2965703"/>
                <a:gd name="connsiteX21" fmla="*/ 9606224 w 11867103"/>
                <a:gd name="connsiteY21" fmla="*/ 91529 h 2965703"/>
                <a:gd name="connsiteX22" fmla="*/ 9716756 w 11867103"/>
                <a:gd name="connsiteY22" fmla="*/ 81481 h 2965703"/>
                <a:gd name="connsiteX23" fmla="*/ 9797143 w 11867103"/>
                <a:gd name="connsiteY23" fmla="*/ 71433 h 2965703"/>
                <a:gd name="connsiteX24" fmla="*/ 9947868 w 11867103"/>
                <a:gd name="connsiteY24" fmla="*/ 61384 h 2965703"/>
                <a:gd name="connsiteX25" fmla="*/ 10791930 w 11867103"/>
                <a:gd name="connsiteY25" fmla="*/ 31239 h 2965703"/>
                <a:gd name="connsiteX26" fmla="*/ 11736475 w 11867103"/>
                <a:gd name="connsiteY26" fmla="*/ 51336 h 2965703"/>
                <a:gd name="connsiteX27" fmla="*/ 11766620 w 11867103"/>
                <a:gd name="connsiteY27" fmla="*/ 81481 h 2965703"/>
                <a:gd name="connsiteX28" fmla="*/ 11786717 w 11867103"/>
                <a:gd name="connsiteY28" fmla="*/ 121674 h 2965703"/>
                <a:gd name="connsiteX29" fmla="*/ 11806813 w 11867103"/>
                <a:gd name="connsiteY29" fmla="*/ 212109 h 2965703"/>
                <a:gd name="connsiteX30" fmla="*/ 11816862 w 11867103"/>
                <a:gd name="connsiteY30" fmla="*/ 252303 h 2965703"/>
                <a:gd name="connsiteX31" fmla="*/ 11826910 w 11867103"/>
                <a:gd name="connsiteY31" fmla="*/ 342738 h 2965703"/>
                <a:gd name="connsiteX32" fmla="*/ 11836958 w 11867103"/>
                <a:gd name="connsiteY32" fmla="*/ 423125 h 2965703"/>
                <a:gd name="connsiteX33" fmla="*/ 11826910 w 11867103"/>
                <a:gd name="connsiteY33" fmla="*/ 734624 h 2965703"/>
                <a:gd name="connsiteX34" fmla="*/ 11816862 w 11867103"/>
                <a:gd name="connsiteY34" fmla="*/ 794914 h 2965703"/>
                <a:gd name="connsiteX35" fmla="*/ 11806813 w 11867103"/>
                <a:gd name="connsiteY35" fmla="*/ 865252 h 2965703"/>
                <a:gd name="connsiteX36" fmla="*/ 11816862 w 11867103"/>
                <a:gd name="connsiteY36" fmla="*/ 2332312 h 2965703"/>
                <a:gd name="connsiteX37" fmla="*/ 11826910 w 11867103"/>
                <a:gd name="connsiteY37" fmla="*/ 2402650 h 2965703"/>
                <a:gd name="connsiteX38" fmla="*/ 11836958 w 11867103"/>
                <a:gd name="connsiteY38" fmla="*/ 2432795 h 2965703"/>
                <a:gd name="connsiteX39" fmla="*/ 11857055 w 11867103"/>
                <a:gd name="connsiteY39" fmla="*/ 2563424 h 2965703"/>
                <a:gd name="connsiteX40" fmla="*/ 11867103 w 11867103"/>
                <a:gd name="connsiteY40" fmla="*/ 2603617 h 2965703"/>
                <a:gd name="connsiteX41" fmla="*/ 11857055 w 11867103"/>
                <a:gd name="connsiteY41" fmla="*/ 2834729 h 2965703"/>
                <a:gd name="connsiteX42" fmla="*/ 11836958 w 11867103"/>
                <a:gd name="connsiteY42" fmla="*/ 2864874 h 2965703"/>
                <a:gd name="connsiteX43" fmla="*/ 11033090 w 11867103"/>
                <a:gd name="connsiteY43" fmla="*/ 2854826 h 2965703"/>
                <a:gd name="connsiteX44" fmla="*/ 10621108 w 11867103"/>
                <a:gd name="connsiteY44" fmla="*/ 2844778 h 2965703"/>
                <a:gd name="connsiteX45" fmla="*/ 10128739 w 11867103"/>
                <a:gd name="connsiteY45" fmla="*/ 2854826 h 2965703"/>
                <a:gd name="connsiteX46" fmla="*/ 10048352 w 11867103"/>
                <a:gd name="connsiteY46" fmla="*/ 2864874 h 2965703"/>
                <a:gd name="connsiteX47" fmla="*/ 9555982 w 11867103"/>
                <a:gd name="connsiteY47" fmla="*/ 2854826 h 2965703"/>
                <a:gd name="connsiteX48" fmla="*/ 9445451 w 11867103"/>
                <a:gd name="connsiteY48" fmla="*/ 2844778 h 2965703"/>
                <a:gd name="connsiteX49" fmla="*/ 9415306 w 11867103"/>
                <a:gd name="connsiteY49" fmla="*/ 2824681 h 2965703"/>
                <a:gd name="connsiteX50" fmla="*/ 9204290 w 11867103"/>
                <a:gd name="connsiteY50" fmla="*/ 2804584 h 2965703"/>
                <a:gd name="connsiteX51" fmla="*/ 9073662 w 11867103"/>
                <a:gd name="connsiteY51" fmla="*/ 2784487 h 2965703"/>
                <a:gd name="connsiteX52" fmla="*/ 8812404 w 11867103"/>
                <a:gd name="connsiteY52" fmla="*/ 2774439 h 2965703"/>
                <a:gd name="connsiteX53" fmla="*/ 8400422 w 11867103"/>
                <a:gd name="connsiteY53" fmla="*/ 2764391 h 2965703"/>
                <a:gd name="connsiteX54" fmla="*/ 8269793 w 11867103"/>
                <a:gd name="connsiteY54" fmla="*/ 2754342 h 2965703"/>
                <a:gd name="connsiteX55" fmla="*/ 7797521 w 11867103"/>
                <a:gd name="connsiteY55" fmla="*/ 2774439 h 2965703"/>
                <a:gd name="connsiteX56" fmla="*/ 7717134 w 11867103"/>
                <a:gd name="connsiteY56" fmla="*/ 2784487 h 2965703"/>
                <a:gd name="connsiteX57" fmla="*/ 7486022 w 11867103"/>
                <a:gd name="connsiteY57" fmla="*/ 2814633 h 2965703"/>
                <a:gd name="connsiteX58" fmla="*/ 7395587 w 11867103"/>
                <a:gd name="connsiteY58" fmla="*/ 2834729 h 2965703"/>
                <a:gd name="connsiteX59" fmla="*/ 7325248 w 11867103"/>
                <a:gd name="connsiteY59" fmla="*/ 2844778 h 2965703"/>
                <a:gd name="connsiteX60" fmla="*/ 6863024 w 11867103"/>
                <a:gd name="connsiteY60" fmla="*/ 2834729 h 2965703"/>
                <a:gd name="connsiteX61" fmla="*/ 6722347 w 11867103"/>
                <a:gd name="connsiteY61" fmla="*/ 2824681 h 2965703"/>
                <a:gd name="connsiteX62" fmla="*/ 4903596 w 11867103"/>
                <a:gd name="connsiteY62" fmla="*/ 2874923 h 2965703"/>
                <a:gd name="connsiteX63" fmla="*/ 4722725 w 11867103"/>
                <a:gd name="connsiteY63" fmla="*/ 2915116 h 2965703"/>
                <a:gd name="connsiteX64" fmla="*/ 4300695 w 11867103"/>
                <a:gd name="connsiteY64" fmla="*/ 2895019 h 2965703"/>
                <a:gd name="connsiteX65" fmla="*/ 4059534 w 11867103"/>
                <a:gd name="connsiteY65" fmla="*/ 2854826 h 2965703"/>
                <a:gd name="connsiteX66" fmla="*/ 3768132 w 11867103"/>
                <a:gd name="connsiteY66" fmla="*/ 2824681 h 2965703"/>
                <a:gd name="connsiteX67" fmla="*/ 3627455 w 11867103"/>
                <a:gd name="connsiteY67" fmla="*/ 2814633 h 2965703"/>
                <a:gd name="connsiteX68" fmla="*/ 3125037 w 11867103"/>
                <a:gd name="connsiteY68" fmla="*/ 2824681 h 2965703"/>
                <a:gd name="connsiteX69" fmla="*/ 3064747 w 11867103"/>
                <a:gd name="connsiteY69" fmla="*/ 2834729 h 2965703"/>
                <a:gd name="connsiteX70" fmla="*/ 2009670 w 11867103"/>
                <a:gd name="connsiteY70" fmla="*/ 2844778 h 2965703"/>
                <a:gd name="connsiteX71" fmla="*/ 1678075 w 11867103"/>
                <a:gd name="connsiteY71" fmla="*/ 2935213 h 2965703"/>
                <a:gd name="connsiteX72" fmla="*/ 1607736 w 11867103"/>
                <a:gd name="connsiteY72" fmla="*/ 2965358 h 2965703"/>
                <a:gd name="connsiteX73" fmla="*/ 1135464 w 11867103"/>
                <a:gd name="connsiteY73" fmla="*/ 2945261 h 2965703"/>
                <a:gd name="connsiteX74" fmla="*/ 944545 w 11867103"/>
                <a:gd name="connsiteY74" fmla="*/ 2915116 h 2965703"/>
                <a:gd name="connsiteX75" fmla="*/ 723481 w 11867103"/>
                <a:gd name="connsiteY75" fmla="*/ 2874923 h 2965703"/>
                <a:gd name="connsiteX76" fmla="*/ 643095 w 11867103"/>
                <a:gd name="connsiteY76" fmla="*/ 2864874 h 2965703"/>
                <a:gd name="connsiteX77" fmla="*/ 371789 w 11867103"/>
                <a:gd name="connsiteY77" fmla="*/ 2824681 h 2965703"/>
                <a:gd name="connsiteX78" fmla="*/ 0 w 11867103"/>
                <a:gd name="connsiteY78" fmla="*/ 2814633 h 2965703"/>
                <a:gd name="connsiteX0" fmla="*/ 120580 w 11867103"/>
                <a:gd name="connsiteY0" fmla="*/ 40194 h 2954561"/>
                <a:gd name="connsiteX1" fmla="*/ 281354 w 11867103"/>
                <a:gd name="connsiteY1" fmla="*/ 30145 h 2954561"/>
                <a:gd name="connsiteX2" fmla="*/ 673240 w 11867103"/>
                <a:gd name="connsiteY2" fmla="*/ 20097 h 2954561"/>
                <a:gd name="connsiteX3" fmla="*/ 1356528 w 11867103"/>
                <a:gd name="connsiteY3" fmla="*/ 70339 h 2954561"/>
                <a:gd name="connsiteX4" fmla="*/ 1758462 w 11867103"/>
                <a:gd name="connsiteY4" fmla="*/ 30145 h 2954561"/>
                <a:gd name="connsiteX5" fmla="*/ 2140299 w 11867103"/>
                <a:gd name="connsiteY5" fmla="*/ 30145 h 2954561"/>
                <a:gd name="connsiteX6" fmla="*/ 4652387 w 11867103"/>
                <a:gd name="connsiteY6" fmla="*/ 50242 h 2954561"/>
                <a:gd name="connsiteX7" fmla="*/ 4692580 w 11867103"/>
                <a:gd name="connsiteY7" fmla="*/ 60291 h 2954561"/>
                <a:gd name="connsiteX8" fmla="*/ 6169688 w 11867103"/>
                <a:gd name="connsiteY8" fmla="*/ 100484 h 2954561"/>
                <a:gd name="connsiteX9" fmla="*/ 6420897 w 11867103"/>
                <a:gd name="connsiteY9" fmla="*/ 80387 h 2954561"/>
                <a:gd name="connsiteX10" fmla="*/ 6511332 w 11867103"/>
                <a:gd name="connsiteY10" fmla="*/ 20097 h 2954561"/>
                <a:gd name="connsiteX11" fmla="*/ 7204668 w 11867103"/>
                <a:gd name="connsiteY11" fmla="*/ 0 h 2954561"/>
                <a:gd name="connsiteX12" fmla="*/ 7285055 w 11867103"/>
                <a:gd name="connsiteY12" fmla="*/ 20097 h 2954561"/>
                <a:gd name="connsiteX13" fmla="*/ 7375490 w 11867103"/>
                <a:gd name="connsiteY13" fmla="*/ 30145 h 2954561"/>
                <a:gd name="connsiteX14" fmla="*/ 7928150 w 11867103"/>
                <a:gd name="connsiteY14" fmla="*/ 50242 h 2954561"/>
                <a:gd name="connsiteX15" fmla="*/ 8109020 w 11867103"/>
                <a:gd name="connsiteY15" fmla="*/ 70339 h 2954561"/>
                <a:gd name="connsiteX16" fmla="*/ 8219552 w 11867103"/>
                <a:gd name="connsiteY16" fmla="*/ 80387 h 2954561"/>
                <a:gd name="connsiteX17" fmla="*/ 8299939 w 11867103"/>
                <a:gd name="connsiteY17" fmla="*/ 90436 h 2954561"/>
                <a:gd name="connsiteX18" fmla="*/ 8521002 w 11867103"/>
                <a:gd name="connsiteY18" fmla="*/ 100484 h 2954561"/>
                <a:gd name="connsiteX19" fmla="*/ 9515789 w 11867103"/>
                <a:gd name="connsiteY19" fmla="*/ 90436 h 2954561"/>
                <a:gd name="connsiteX20" fmla="*/ 9606224 w 11867103"/>
                <a:gd name="connsiteY20" fmla="*/ 80387 h 2954561"/>
                <a:gd name="connsiteX21" fmla="*/ 9716756 w 11867103"/>
                <a:gd name="connsiteY21" fmla="*/ 70339 h 2954561"/>
                <a:gd name="connsiteX22" fmla="*/ 9797143 w 11867103"/>
                <a:gd name="connsiteY22" fmla="*/ 60291 h 2954561"/>
                <a:gd name="connsiteX23" fmla="*/ 9947868 w 11867103"/>
                <a:gd name="connsiteY23" fmla="*/ 50242 h 2954561"/>
                <a:gd name="connsiteX24" fmla="*/ 10791930 w 11867103"/>
                <a:gd name="connsiteY24" fmla="*/ 20097 h 2954561"/>
                <a:gd name="connsiteX25" fmla="*/ 11736475 w 11867103"/>
                <a:gd name="connsiteY25" fmla="*/ 40194 h 2954561"/>
                <a:gd name="connsiteX26" fmla="*/ 11766620 w 11867103"/>
                <a:gd name="connsiteY26" fmla="*/ 70339 h 2954561"/>
                <a:gd name="connsiteX27" fmla="*/ 11786717 w 11867103"/>
                <a:gd name="connsiteY27" fmla="*/ 110532 h 2954561"/>
                <a:gd name="connsiteX28" fmla="*/ 11806813 w 11867103"/>
                <a:gd name="connsiteY28" fmla="*/ 200967 h 2954561"/>
                <a:gd name="connsiteX29" fmla="*/ 11816862 w 11867103"/>
                <a:gd name="connsiteY29" fmla="*/ 241161 h 2954561"/>
                <a:gd name="connsiteX30" fmla="*/ 11826910 w 11867103"/>
                <a:gd name="connsiteY30" fmla="*/ 331596 h 2954561"/>
                <a:gd name="connsiteX31" fmla="*/ 11836958 w 11867103"/>
                <a:gd name="connsiteY31" fmla="*/ 411983 h 2954561"/>
                <a:gd name="connsiteX32" fmla="*/ 11826910 w 11867103"/>
                <a:gd name="connsiteY32" fmla="*/ 723482 h 2954561"/>
                <a:gd name="connsiteX33" fmla="*/ 11816862 w 11867103"/>
                <a:gd name="connsiteY33" fmla="*/ 783772 h 2954561"/>
                <a:gd name="connsiteX34" fmla="*/ 11806813 w 11867103"/>
                <a:gd name="connsiteY34" fmla="*/ 854110 h 2954561"/>
                <a:gd name="connsiteX35" fmla="*/ 11816862 w 11867103"/>
                <a:gd name="connsiteY35" fmla="*/ 2321170 h 2954561"/>
                <a:gd name="connsiteX36" fmla="*/ 11826910 w 11867103"/>
                <a:gd name="connsiteY36" fmla="*/ 2391508 h 2954561"/>
                <a:gd name="connsiteX37" fmla="*/ 11836958 w 11867103"/>
                <a:gd name="connsiteY37" fmla="*/ 2421653 h 2954561"/>
                <a:gd name="connsiteX38" fmla="*/ 11857055 w 11867103"/>
                <a:gd name="connsiteY38" fmla="*/ 2552282 h 2954561"/>
                <a:gd name="connsiteX39" fmla="*/ 11867103 w 11867103"/>
                <a:gd name="connsiteY39" fmla="*/ 2592475 h 2954561"/>
                <a:gd name="connsiteX40" fmla="*/ 11857055 w 11867103"/>
                <a:gd name="connsiteY40" fmla="*/ 2823587 h 2954561"/>
                <a:gd name="connsiteX41" fmla="*/ 11836958 w 11867103"/>
                <a:gd name="connsiteY41" fmla="*/ 2853732 h 2954561"/>
                <a:gd name="connsiteX42" fmla="*/ 11033090 w 11867103"/>
                <a:gd name="connsiteY42" fmla="*/ 2843684 h 2954561"/>
                <a:gd name="connsiteX43" fmla="*/ 10621108 w 11867103"/>
                <a:gd name="connsiteY43" fmla="*/ 2833636 h 2954561"/>
                <a:gd name="connsiteX44" fmla="*/ 10128739 w 11867103"/>
                <a:gd name="connsiteY44" fmla="*/ 2843684 h 2954561"/>
                <a:gd name="connsiteX45" fmla="*/ 10048352 w 11867103"/>
                <a:gd name="connsiteY45" fmla="*/ 2853732 h 2954561"/>
                <a:gd name="connsiteX46" fmla="*/ 9555982 w 11867103"/>
                <a:gd name="connsiteY46" fmla="*/ 2843684 h 2954561"/>
                <a:gd name="connsiteX47" fmla="*/ 9445451 w 11867103"/>
                <a:gd name="connsiteY47" fmla="*/ 2833636 h 2954561"/>
                <a:gd name="connsiteX48" fmla="*/ 9415306 w 11867103"/>
                <a:gd name="connsiteY48" fmla="*/ 2813539 h 2954561"/>
                <a:gd name="connsiteX49" fmla="*/ 9204290 w 11867103"/>
                <a:gd name="connsiteY49" fmla="*/ 2793442 h 2954561"/>
                <a:gd name="connsiteX50" fmla="*/ 9073662 w 11867103"/>
                <a:gd name="connsiteY50" fmla="*/ 2773345 h 2954561"/>
                <a:gd name="connsiteX51" fmla="*/ 8812404 w 11867103"/>
                <a:gd name="connsiteY51" fmla="*/ 2763297 h 2954561"/>
                <a:gd name="connsiteX52" fmla="*/ 8400422 w 11867103"/>
                <a:gd name="connsiteY52" fmla="*/ 2753249 h 2954561"/>
                <a:gd name="connsiteX53" fmla="*/ 8269793 w 11867103"/>
                <a:gd name="connsiteY53" fmla="*/ 2743200 h 2954561"/>
                <a:gd name="connsiteX54" fmla="*/ 7797521 w 11867103"/>
                <a:gd name="connsiteY54" fmla="*/ 2763297 h 2954561"/>
                <a:gd name="connsiteX55" fmla="*/ 7717134 w 11867103"/>
                <a:gd name="connsiteY55" fmla="*/ 2773345 h 2954561"/>
                <a:gd name="connsiteX56" fmla="*/ 7486022 w 11867103"/>
                <a:gd name="connsiteY56" fmla="*/ 2803491 h 2954561"/>
                <a:gd name="connsiteX57" fmla="*/ 7395587 w 11867103"/>
                <a:gd name="connsiteY57" fmla="*/ 2823587 h 2954561"/>
                <a:gd name="connsiteX58" fmla="*/ 7325248 w 11867103"/>
                <a:gd name="connsiteY58" fmla="*/ 2833636 h 2954561"/>
                <a:gd name="connsiteX59" fmla="*/ 6863024 w 11867103"/>
                <a:gd name="connsiteY59" fmla="*/ 2823587 h 2954561"/>
                <a:gd name="connsiteX60" fmla="*/ 6722347 w 11867103"/>
                <a:gd name="connsiteY60" fmla="*/ 2813539 h 2954561"/>
                <a:gd name="connsiteX61" fmla="*/ 4903596 w 11867103"/>
                <a:gd name="connsiteY61" fmla="*/ 2863781 h 2954561"/>
                <a:gd name="connsiteX62" fmla="*/ 4722725 w 11867103"/>
                <a:gd name="connsiteY62" fmla="*/ 2903974 h 2954561"/>
                <a:gd name="connsiteX63" fmla="*/ 4300695 w 11867103"/>
                <a:gd name="connsiteY63" fmla="*/ 2883877 h 2954561"/>
                <a:gd name="connsiteX64" fmla="*/ 4059534 w 11867103"/>
                <a:gd name="connsiteY64" fmla="*/ 2843684 h 2954561"/>
                <a:gd name="connsiteX65" fmla="*/ 3768132 w 11867103"/>
                <a:gd name="connsiteY65" fmla="*/ 2813539 h 2954561"/>
                <a:gd name="connsiteX66" fmla="*/ 3627455 w 11867103"/>
                <a:gd name="connsiteY66" fmla="*/ 2803491 h 2954561"/>
                <a:gd name="connsiteX67" fmla="*/ 3125037 w 11867103"/>
                <a:gd name="connsiteY67" fmla="*/ 2813539 h 2954561"/>
                <a:gd name="connsiteX68" fmla="*/ 3064747 w 11867103"/>
                <a:gd name="connsiteY68" fmla="*/ 2823587 h 2954561"/>
                <a:gd name="connsiteX69" fmla="*/ 2009670 w 11867103"/>
                <a:gd name="connsiteY69" fmla="*/ 2833636 h 2954561"/>
                <a:gd name="connsiteX70" fmla="*/ 1678075 w 11867103"/>
                <a:gd name="connsiteY70" fmla="*/ 2924071 h 2954561"/>
                <a:gd name="connsiteX71" fmla="*/ 1607736 w 11867103"/>
                <a:gd name="connsiteY71" fmla="*/ 2954216 h 2954561"/>
                <a:gd name="connsiteX72" fmla="*/ 1135464 w 11867103"/>
                <a:gd name="connsiteY72" fmla="*/ 2934119 h 2954561"/>
                <a:gd name="connsiteX73" fmla="*/ 944545 w 11867103"/>
                <a:gd name="connsiteY73" fmla="*/ 2903974 h 2954561"/>
                <a:gd name="connsiteX74" fmla="*/ 723481 w 11867103"/>
                <a:gd name="connsiteY74" fmla="*/ 2863781 h 2954561"/>
                <a:gd name="connsiteX75" fmla="*/ 643095 w 11867103"/>
                <a:gd name="connsiteY75" fmla="*/ 2853732 h 2954561"/>
                <a:gd name="connsiteX76" fmla="*/ 371789 w 11867103"/>
                <a:gd name="connsiteY76" fmla="*/ 2813539 h 2954561"/>
                <a:gd name="connsiteX77" fmla="*/ 0 w 11867103"/>
                <a:gd name="connsiteY77" fmla="*/ 2803491 h 2954561"/>
                <a:gd name="connsiteX0" fmla="*/ 120580 w 11867103"/>
                <a:gd name="connsiteY0" fmla="*/ 42528 h 2956895"/>
                <a:gd name="connsiteX1" fmla="*/ 281354 w 11867103"/>
                <a:gd name="connsiteY1" fmla="*/ 32479 h 2956895"/>
                <a:gd name="connsiteX2" fmla="*/ 673240 w 11867103"/>
                <a:gd name="connsiteY2" fmla="*/ 22431 h 2956895"/>
                <a:gd name="connsiteX3" fmla="*/ 1356528 w 11867103"/>
                <a:gd name="connsiteY3" fmla="*/ 72673 h 2956895"/>
                <a:gd name="connsiteX4" fmla="*/ 1758462 w 11867103"/>
                <a:gd name="connsiteY4" fmla="*/ 32479 h 2956895"/>
                <a:gd name="connsiteX5" fmla="*/ 2140299 w 11867103"/>
                <a:gd name="connsiteY5" fmla="*/ 32479 h 2956895"/>
                <a:gd name="connsiteX6" fmla="*/ 4652387 w 11867103"/>
                <a:gd name="connsiteY6" fmla="*/ 52576 h 2956895"/>
                <a:gd name="connsiteX7" fmla="*/ 4692580 w 11867103"/>
                <a:gd name="connsiteY7" fmla="*/ 62625 h 2956895"/>
                <a:gd name="connsiteX8" fmla="*/ 6169688 w 11867103"/>
                <a:gd name="connsiteY8" fmla="*/ 102818 h 2956895"/>
                <a:gd name="connsiteX9" fmla="*/ 6420897 w 11867103"/>
                <a:gd name="connsiteY9" fmla="*/ 82721 h 2956895"/>
                <a:gd name="connsiteX10" fmla="*/ 7204668 w 11867103"/>
                <a:gd name="connsiteY10" fmla="*/ 2334 h 2956895"/>
                <a:gd name="connsiteX11" fmla="*/ 7285055 w 11867103"/>
                <a:gd name="connsiteY11" fmla="*/ 22431 h 2956895"/>
                <a:gd name="connsiteX12" fmla="*/ 7375490 w 11867103"/>
                <a:gd name="connsiteY12" fmla="*/ 32479 h 2956895"/>
                <a:gd name="connsiteX13" fmla="*/ 7928150 w 11867103"/>
                <a:gd name="connsiteY13" fmla="*/ 52576 h 2956895"/>
                <a:gd name="connsiteX14" fmla="*/ 8109020 w 11867103"/>
                <a:gd name="connsiteY14" fmla="*/ 72673 h 2956895"/>
                <a:gd name="connsiteX15" fmla="*/ 8219552 w 11867103"/>
                <a:gd name="connsiteY15" fmla="*/ 82721 h 2956895"/>
                <a:gd name="connsiteX16" fmla="*/ 8299939 w 11867103"/>
                <a:gd name="connsiteY16" fmla="*/ 92770 h 2956895"/>
                <a:gd name="connsiteX17" fmla="*/ 8521002 w 11867103"/>
                <a:gd name="connsiteY17" fmla="*/ 102818 h 2956895"/>
                <a:gd name="connsiteX18" fmla="*/ 9515789 w 11867103"/>
                <a:gd name="connsiteY18" fmla="*/ 92770 h 2956895"/>
                <a:gd name="connsiteX19" fmla="*/ 9606224 w 11867103"/>
                <a:gd name="connsiteY19" fmla="*/ 82721 h 2956895"/>
                <a:gd name="connsiteX20" fmla="*/ 9716756 w 11867103"/>
                <a:gd name="connsiteY20" fmla="*/ 72673 h 2956895"/>
                <a:gd name="connsiteX21" fmla="*/ 9797143 w 11867103"/>
                <a:gd name="connsiteY21" fmla="*/ 62625 h 2956895"/>
                <a:gd name="connsiteX22" fmla="*/ 9947868 w 11867103"/>
                <a:gd name="connsiteY22" fmla="*/ 52576 h 2956895"/>
                <a:gd name="connsiteX23" fmla="*/ 10791930 w 11867103"/>
                <a:gd name="connsiteY23" fmla="*/ 22431 h 2956895"/>
                <a:gd name="connsiteX24" fmla="*/ 11736475 w 11867103"/>
                <a:gd name="connsiteY24" fmla="*/ 42528 h 2956895"/>
                <a:gd name="connsiteX25" fmla="*/ 11766620 w 11867103"/>
                <a:gd name="connsiteY25" fmla="*/ 72673 h 2956895"/>
                <a:gd name="connsiteX26" fmla="*/ 11786717 w 11867103"/>
                <a:gd name="connsiteY26" fmla="*/ 112866 h 2956895"/>
                <a:gd name="connsiteX27" fmla="*/ 11806813 w 11867103"/>
                <a:gd name="connsiteY27" fmla="*/ 203301 h 2956895"/>
                <a:gd name="connsiteX28" fmla="*/ 11816862 w 11867103"/>
                <a:gd name="connsiteY28" fmla="*/ 243495 h 2956895"/>
                <a:gd name="connsiteX29" fmla="*/ 11826910 w 11867103"/>
                <a:gd name="connsiteY29" fmla="*/ 333930 h 2956895"/>
                <a:gd name="connsiteX30" fmla="*/ 11836958 w 11867103"/>
                <a:gd name="connsiteY30" fmla="*/ 414317 h 2956895"/>
                <a:gd name="connsiteX31" fmla="*/ 11826910 w 11867103"/>
                <a:gd name="connsiteY31" fmla="*/ 725816 h 2956895"/>
                <a:gd name="connsiteX32" fmla="*/ 11816862 w 11867103"/>
                <a:gd name="connsiteY32" fmla="*/ 786106 h 2956895"/>
                <a:gd name="connsiteX33" fmla="*/ 11806813 w 11867103"/>
                <a:gd name="connsiteY33" fmla="*/ 856444 h 2956895"/>
                <a:gd name="connsiteX34" fmla="*/ 11816862 w 11867103"/>
                <a:gd name="connsiteY34" fmla="*/ 2323504 h 2956895"/>
                <a:gd name="connsiteX35" fmla="*/ 11826910 w 11867103"/>
                <a:gd name="connsiteY35" fmla="*/ 2393842 h 2956895"/>
                <a:gd name="connsiteX36" fmla="*/ 11836958 w 11867103"/>
                <a:gd name="connsiteY36" fmla="*/ 2423987 h 2956895"/>
                <a:gd name="connsiteX37" fmla="*/ 11857055 w 11867103"/>
                <a:gd name="connsiteY37" fmla="*/ 2554616 h 2956895"/>
                <a:gd name="connsiteX38" fmla="*/ 11867103 w 11867103"/>
                <a:gd name="connsiteY38" fmla="*/ 2594809 h 2956895"/>
                <a:gd name="connsiteX39" fmla="*/ 11857055 w 11867103"/>
                <a:gd name="connsiteY39" fmla="*/ 2825921 h 2956895"/>
                <a:gd name="connsiteX40" fmla="*/ 11836958 w 11867103"/>
                <a:gd name="connsiteY40" fmla="*/ 2856066 h 2956895"/>
                <a:gd name="connsiteX41" fmla="*/ 11033090 w 11867103"/>
                <a:gd name="connsiteY41" fmla="*/ 2846018 h 2956895"/>
                <a:gd name="connsiteX42" fmla="*/ 10621108 w 11867103"/>
                <a:gd name="connsiteY42" fmla="*/ 2835970 h 2956895"/>
                <a:gd name="connsiteX43" fmla="*/ 10128739 w 11867103"/>
                <a:gd name="connsiteY43" fmla="*/ 2846018 h 2956895"/>
                <a:gd name="connsiteX44" fmla="*/ 10048352 w 11867103"/>
                <a:gd name="connsiteY44" fmla="*/ 2856066 h 2956895"/>
                <a:gd name="connsiteX45" fmla="*/ 9555982 w 11867103"/>
                <a:gd name="connsiteY45" fmla="*/ 2846018 h 2956895"/>
                <a:gd name="connsiteX46" fmla="*/ 9445451 w 11867103"/>
                <a:gd name="connsiteY46" fmla="*/ 2835970 h 2956895"/>
                <a:gd name="connsiteX47" fmla="*/ 9415306 w 11867103"/>
                <a:gd name="connsiteY47" fmla="*/ 2815873 h 2956895"/>
                <a:gd name="connsiteX48" fmla="*/ 9204290 w 11867103"/>
                <a:gd name="connsiteY48" fmla="*/ 2795776 h 2956895"/>
                <a:gd name="connsiteX49" fmla="*/ 9073662 w 11867103"/>
                <a:gd name="connsiteY49" fmla="*/ 2775679 h 2956895"/>
                <a:gd name="connsiteX50" fmla="*/ 8812404 w 11867103"/>
                <a:gd name="connsiteY50" fmla="*/ 2765631 h 2956895"/>
                <a:gd name="connsiteX51" fmla="*/ 8400422 w 11867103"/>
                <a:gd name="connsiteY51" fmla="*/ 2755583 h 2956895"/>
                <a:gd name="connsiteX52" fmla="*/ 8269793 w 11867103"/>
                <a:gd name="connsiteY52" fmla="*/ 2745534 h 2956895"/>
                <a:gd name="connsiteX53" fmla="*/ 7797521 w 11867103"/>
                <a:gd name="connsiteY53" fmla="*/ 2765631 h 2956895"/>
                <a:gd name="connsiteX54" fmla="*/ 7717134 w 11867103"/>
                <a:gd name="connsiteY54" fmla="*/ 2775679 h 2956895"/>
                <a:gd name="connsiteX55" fmla="*/ 7486022 w 11867103"/>
                <a:gd name="connsiteY55" fmla="*/ 2805825 h 2956895"/>
                <a:gd name="connsiteX56" fmla="*/ 7395587 w 11867103"/>
                <a:gd name="connsiteY56" fmla="*/ 2825921 h 2956895"/>
                <a:gd name="connsiteX57" fmla="*/ 7325248 w 11867103"/>
                <a:gd name="connsiteY57" fmla="*/ 2835970 h 2956895"/>
                <a:gd name="connsiteX58" fmla="*/ 6863024 w 11867103"/>
                <a:gd name="connsiteY58" fmla="*/ 2825921 h 2956895"/>
                <a:gd name="connsiteX59" fmla="*/ 6722347 w 11867103"/>
                <a:gd name="connsiteY59" fmla="*/ 2815873 h 2956895"/>
                <a:gd name="connsiteX60" fmla="*/ 4903596 w 11867103"/>
                <a:gd name="connsiteY60" fmla="*/ 2866115 h 2956895"/>
                <a:gd name="connsiteX61" fmla="*/ 4722725 w 11867103"/>
                <a:gd name="connsiteY61" fmla="*/ 2906308 h 2956895"/>
                <a:gd name="connsiteX62" fmla="*/ 4300695 w 11867103"/>
                <a:gd name="connsiteY62" fmla="*/ 2886211 h 2956895"/>
                <a:gd name="connsiteX63" fmla="*/ 4059534 w 11867103"/>
                <a:gd name="connsiteY63" fmla="*/ 2846018 h 2956895"/>
                <a:gd name="connsiteX64" fmla="*/ 3768132 w 11867103"/>
                <a:gd name="connsiteY64" fmla="*/ 2815873 h 2956895"/>
                <a:gd name="connsiteX65" fmla="*/ 3627455 w 11867103"/>
                <a:gd name="connsiteY65" fmla="*/ 2805825 h 2956895"/>
                <a:gd name="connsiteX66" fmla="*/ 3125037 w 11867103"/>
                <a:gd name="connsiteY66" fmla="*/ 2815873 h 2956895"/>
                <a:gd name="connsiteX67" fmla="*/ 3064747 w 11867103"/>
                <a:gd name="connsiteY67" fmla="*/ 2825921 h 2956895"/>
                <a:gd name="connsiteX68" fmla="*/ 2009670 w 11867103"/>
                <a:gd name="connsiteY68" fmla="*/ 2835970 h 2956895"/>
                <a:gd name="connsiteX69" fmla="*/ 1678075 w 11867103"/>
                <a:gd name="connsiteY69" fmla="*/ 2926405 h 2956895"/>
                <a:gd name="connsiteX70" fmla="*/ 1607736 w 11867103"/>
                <a:gd name="connsiteY70" fmla="*/ 2956550 h 2956895"/>
                <a:gd name="connsiteX71" fmla="*/ 1135464 w 11867103"/>
                <a:gd name="connsiteY71" fmla="*/ 2936453 h 2956895"/>
                <a:gd name="connsiteX72" fmla="*/ 944545 w 11867103"/>
                <a:gd name="connsiteY72" fmla="*/ 2906308 h 2956895"/>
                <a:gd name="connsiteX73" fmla="*/ 723481 w 11867103"/>
                <a:gd name="connsiteY73" fmla="*/ 2866115 h 2956895"/>
                <a:gd name="connsiteX74" fmla="*/ 643095 w 11867103"/>
                <a:gd name="connsiteY74" fmla="*/ 2856066 h 2956895"/>
                <a:gd name="connsiteX75" fmla="*/ 371789 w 11867103"/>
                <a:gd name="connsiteY75" fmla="*/ 2815873 h 2956895"/>
                <a:gd name="connsiteX76" fmla="*/ 0 w 11867103"/>
                <a:gd name="connsiteY76" fmla="*/ 2805825 h 2956895"/>
                <a:gd name="connsiteX0" fmla="*/ 120580 w 11867103"/>
                <a:gd name="connsiteY0" fmla="*/ 42528 h 2956895"/>
                <a:gd name="connsiteX1" fmla="*/ 281354 w 11867103"/>
                <a:gd name="connsiteY1" fmla="*/ 32479 h 2956895"/>
                <a:gd name="connsiteX2" fmla="*/ 673240 w 11867103"/>
                <a:gd name="connsiteY2" fmla="*/ 22431 h 2956895"/>
                <a:gd name="connsiteX3" fmla="*/ 1356528 w 11867103"/>
                <a:gd name="connsiteY3" fmla="*/ 72673 h 2956895"/>
                <a:gd name="connsiteX4" fmla="*/ 1758462 w 11867103"/>
                <a:gd name="connsiteY4" fmla="*/ 32479 h 2956895"/>
                <a:gd name="connsiteX5" fmla="*/ 2140299 w 11867103"/>
                <a:gd name="connsiteY5" fmla="*/ 32479 h 2956895"/>
                <a:gd name="connsiteX6" fmla="*/ 4652387 w 11867103"/>
                <a:gd name="connsiteY6" fmla="*/ 52576 h 2956895"/>
                <a:gd name="connsiteX7" fmla="*/ 4692580 w 11867103"/>
                <a:gd name="connsiteY7" fmla="*/ 62625 h 2956895"/>
                <a:gd name="connsiteX8" fmla="*/ 6420897 w 11867103"/>
                <a:gd name="connsiteY8" fmla="*/ 82721 h 2956895"/>
                <a:gd name="connsiteX9" fmla="*/ 7204668 w 11867103"/>
                <a:gd name="connsiteY9" fmla="*/ 2334 h 2956895"/>
                <a:gd name="connsiteX10" fmla="*/ 7285055 w 11867103"/>
                <a:gd name="connsiteY10" fmla="*/ 22431 h 2956895"/>
                <a:gd name="connsiteX11" fmla="*/ 7375490 w 11867103"/>
                <a:gd name="connsiteY11" fmla="*/ 32479 h 2956895"/>
                <a:gd name="connsiteX12" fmla="*/ 7928150 w 11867103"/>
                <a:gd name="connsiteY12" fmla="*/ 52576 h 2956895"/>
                <a:gd name="connsiteX13" fmla="*/ 8109020 w 11867103"/>
                <a:gd name="connsiteY13" fmla="*/ 72673 h 2956895"/>
                <a:gd name="connsiteX14" fmla="*/ 8219552 w 11867103"/>
                <a:gd name="connsiteY14" fmla="*/ 82721 h 2956895"/>
                <a:gd name="connsiteX15" fmla="*/ 8299939 w 11867103"/>
                <a:gd name="connsiteY15" fmla="*/ 92770 h 2956895"/>
                <a:gd name="connsiteX16" fmla="*/ 8521002 w 11867103"/>
                <a:gd name="connsiteY16" fmla="*/ 102818 h 2956895"/>
                <a:gd name="connsiteX17" fmla="*/ 9515789 w 11867103"/>
                <a:gd name="connsiteY17" fmla="*/ 92770 h 2956895"/>
                <a:gd name="connsiteX18" fmla="*/ 9606224 w 11867103"/>
                <a:gd name="connsiteY18" fmla="*/ 82721 h 2956895"/>
                <a:gd name="connsiteX19" fmla="*/ 9716756 w 11867103"/>
                <a:gd name="connsiteY19" fmla="*/ 72673 h 2956895"/>
                <a:gd name="connsiteX20" fmla="*/ 9797143 w 11867103"/>
                <a:gd name="connsiteY20" fmla="*/ 62625 h 2956895"/>
                <a:gd name="connsiteX21" fmla="*/ 9947868 w 11867103"/>
                <a:gd name="connsiteY21" fmla="*/ 52576 h 2956895"/>
                <a:gd name="connsiteX22" fmla="*/ 10791930 w 11867103"/>
                <a:gd name="connsiteY22" fmla="*/ 22431 h 2956895"/>
                <a:gd name="connsiteX23" fmla="*/ 11736475 w 11867103"/>
                <a:gd name="connsiteY23" fmla="*/ 42528 h 2956895"/>
                <a:gd name="connsiteX24" fmla="*/ 11766620 w 11867103"/>
                <a:gd name="connsiteY24" fmla="*/ 72673 h 2956895"/>
                <a:gd name="connsiteX25" fmla="*/ 11786717 w 11867103"/>
                <a:gd name="connsiteY25" fmla="*/ 112866 h 2956895"/>
                <a:gd name="connsiteX26" fmla="*/ 11806813 w 11867103"/>
                <a:gd name="connsiteY26" fmla="*/ 203301 h 2956895"/>
                <a:gd name="connsiteX27" fmla="*/ 11816862 w 11867103"/>
                <a:gd name="connsiteY27" fmla="*/ 243495 h 2956895"/>
                <a:gd name="connsiteX28" fmla="*/ 11826910 w 11867103"/>
                <a:gd name="connsiteY28" fmla="*/ 333930 h 2956895"/>
                <a:gd name="connsiteX29" fmla="*/ 11836958 w 11867103"/>
                <a:gd name="connsiteY29" fmla="*/ 414317 h 2956895"/>
                <a:gd name="connsiteX30" fmla="*/ 11826910 w 11867103"/>
                <a:gd name="connsiteY30" fmla="*/ 725816 h 2956895"/>
                <a:gd name="connsiteX31" fmla="*/ 11816862 w 11867103"/>
                <a:gd name="connsiteY31" fmla="*/ 786106 h 2956895"/>
                <a:gd name="connsiteX32" fmla="*/ 11806813 w 11867103"/>
                <a:gd name="connsiteY32" fmla="*/ 856444 h 2956895"/>
                <a:gd name="connsiteX33" fmla="*/ 11816862 w 11867103"/>
                <a:gd name="connsiteY33" fmla="*/ 2323504 h 2956895"/>
                <a:gd name="connsiteX34" fmla="*/ 11826910 w 11867103"/>
                <a:gd name="connsiteY34" fmla="*/ 2393842 h 2956895"/>
                <a:gd name="connsiteX35" fmla="*/ 11836958 w 11867103"/>
                <a:gd name="connsiteY35" fmla="*/ 2423987 h 2956895"/>
                <a:gd name="connsiteX36" fmla="*/ 11857055 w 11867103"/>
                <a:gd name="connsiteY36" fmla="*/ 2554616 h 2956895"/>
                <a:gd name="connsiteX37" fmla="*/ 11867103 w 11867103"/>
                <a:gd name="connsiteY37" fmla="*/ 2594809 h 2956895"/>
                <a:gd name="connsiteX38" fmla="*/ 11857055 w 11867103"/>
                <a:gd name="connsiteY38" fmla="*/ 2825921 h 2956895"/>
                <a:gd name="connsiteX39" fmla="*/ 11836958 w 11867103"/>
                <a:gd name="connsiteY39" fmla="*/ 2856066 h 2956895"/>
                <a:gd name="connsiteX40" fmla="*/ 11033090 w 11867103"/>
                <a:gd name="connsiteY40" fmla="*/ 2846018 h 2956895"/>
                <a:gd name="connsiteX41" fmla="*/ 10621108 w 11867103"/>
                <a:gd name="connsiteY41" fmla="*/ 2835970 h 2956895"/>
                <a:gd name="connsiteX42" fmla="*/ 10128739 w 11867103"/>
                <a:gd name="connsiteY42" fmla="*/ 2846018 h 2956895"/>
                <a:gd name="connsiteX43" fmla="*/ 10048352 w 11867103"/>
                <a:gd name="connsiteY43" fmla="*/ 2856066 h 2956895"/>
                <a:gd name="connsiteX44" fmla="*/ 9555982 w 11867103"/>
                <a:gd name="connsiteY44" fmla="*/ 2846018 h 2956895"/>
                <a:gd name="connsiteX45" fmla="*/ 9445451 w 11867103"/>
                <a:gd name="connsiteY45" fmla="*/ 2835970 h 2956895"/>
                <a:gd name="connsiteX46" fmla="*/ 9415306 w 11867103"/>
                <a:gd name="connsiteY46" fmla="*/ 2815873 h 2956895"/>
                <a:gd name="connsiteX47" fmla="*/ 9204290 w 11867103"/>
                <a:gd name="connsiteY47" fmla="*/ 2795776 h 2956895"/>
                <a:gd name="connsiteX48" fmla="*/ 9073662 w 11867103"/>
                <a:gd name="connsiteY48" fmla="*/ 2775679 h 2956895"/>
                <a:gd name="connsiteX49" fmla="*/ 8812404 w 11867103"/>
                <a:gd name="connsiteY49" fmla="*/ 2765631 h 2956895"/>
                <a:gd name="connsiteX50" fmla="*/ 8400422 w 11867103"/>
                <a:gd name="connsiteY50" fmla="*/ 2755583 h 2956895"/>
                <a:gd name="connsiteX51" fmla="*/ 8269793 w 11867103"/>
                <a:gd name="connsiteY51" fmla="*/ 2745534 h 2956895"/>
                <a:gd name="connsiteX52" fmla="*/ 7797521 w 11867103"/>
                <a:gd name="connsiteY52" fmla="*/ 2765631 h 2956895"/>
                <a:gd name="connsiteX53" fmla="*/ 7717134 w 11867103"/>
                <a:gd name="connsiteY53" fmla="*/ 2775679 h 2956895"/>
                <a:gd name="connsiteX54" fmla="*/ 7486022 w 11867103"/>
                <a:gd name="connsiteY54" fmla="*/ 2805825 h 2956895"/>
                <a:gd name="connsiteX55" fmla="*/ 7395587 w 11867103"/>
                <a:gd name="connsiteY55" fmla="*/ 2825921 h 2956895"/>
                <a:gd name="connsiteX56" fmla="*/ 7325248 w 11867103"/>
                <a:gd name="connsiteY56" fmla="*/ 2835970 h 2956895"/>
                <a:gd name="connsiteX57" fmla="*/ 6863024 w 11867103"/>
                <a:gd name="connsiteY57" fmla="*/ 2825921 h 2956895"/>
                <a:gd name="connsiteX58" fmla="*/ 6722347 w 11867103"/>
                <a:gd name="connsiteY58" fmla="*/ 2815873 h 2956895"/>
                <a:gd name="connsiteX59" fmla="*/ 4903596 w 11867103"/>
                <a:gd name="connsiteY59" fmla="*/ 2866115 h 2956895"/>
                <a:gd name="connsiteX60" fmla="*/ 4722725 w 11867103"/>
                <a:gd name="connsiteY60" fmla="*/ 2906308 h 2956895"/>
                <a:gd name="connsiteX61" fmla="*/ 4300695 w 11867103"/>
                <a:gd name="connsiteY61" fmla="*/ 2886211 h 2956895"/>
                <a:gd name="connsiteX62" fmla="*/ 4059534 w 11867103"/>
                <a:gd name="connsiteY62" fmla="*/ 2846018 h 2956895"/>
                <a:gd name="connsiteX63" fmla="*/ 3768132 w 11867103"/>
                <a:gd name="connsiteY63" fmla="*/ 2815873 h 2956895"/>
                <a:gd name="connsiteX64" fmla="*/ 3627455 w 11867103"/>
                <a:gd name="connsiteY64" fmla="*/ 2805825 h 2956895"/>
                <a:gd name="connsiteX65" fmla="*/ 3125037 w 11867103"/>
                <a:gd name="connsiteY65" fmla="*/ 2815873 h 2956895"/>
                <a:gd name="connsiteX66" fmla="*/ 3064747 w 11867103"/>
                <a:gd name="connsiteY66" fmla="*/ 2825921 h 2956895"/>
                <a:gd name="connsiteX67" fmla="*/ 2009670 w 11867103"/>
                <a:gd name="connsiteY67" fmla="*/ 2835970 h 2956895"/>
                <a:gd name="connsiteX68" fmla="*/ 1678075 w 11867103"/>
                <a:gd name="connsiteY68" fmla="*/ 2926405 h 2956895"/>
                <a:gd name="connsiteX69" fmla="*/ 1607736 w 11867103"/>
                <a:gd name="connsiteY69" fmla="*/ 2956550 h 2956895"/>
                <a:gd name="connsiteX70" fmla="*/ 1135464 w 11867103"/>
                <a:gd name="connsiteY70" fmla="*/ 2936453 h 2956895"/>
                <a:gd name="connsiteX71" fmla="*/ 944545 w 11867103"/>
                <a:gd name="connsiteY71" fmla="*/ 2906308 h 2956895"/>
                <a:gd name="connsiteX72" fmla="*/ 723481 w 11867103"/>
                <a:gd name="connsiteY72" fmla="*/ 2866115 h 2956895"/>
                <a:gd name="connsiteX73" fmla="*/ 643095 w 11867103"/>
                <a:gd name="connsiteY73" fmla="*/ 2856066 h 2956895"/>
                <a:gd name="connsiteX74" fmla="*/ 371789 w 11867103"/>
                <a:gd name="connsiteY74" fmla="*/ 2815873 h 2956895"/>
                <a:gd name="connsiteX75" fmla="*/ 0 w 11867103"/>
                <a:gd name="connsiteY75" fmla="*/ 2805825 h 2956895"/>
                <a:gd name="connsiteX0" fmla="*/ 120580 w 11867103"/>
                <a:gd name="connsiteY0" fmla="*/ 42790 h 2957157"/>
                <a:gd name="connsiteX1" fmla="*/ 281354 w 11867103"/>
                <a:gd name="connsiteY1" fmla="*/ 32741 h 2957157"/>
                <a:gd name="connsiteX2" fmla="*/ 673240 w 11867103"/>
                <a:gd name="connsiteY2" fmla="*/ 22693 h 2957157"/>
                <a:gd name="connsiteX3" fmla="*/ 1356528 w 11867103"/>
                <a:gd name="connsiteY3" fmla="*/ 72935 h 2957157"/>
                <a:gd name="connsiteX4" fmla="*/ 1758462 w 11867103"/>
                <a:gd name="connsiteY4" fmla="*/ 32741 h 2957157"/>
                <a:gd name="connsiteX5" fmla="*/ 2140299 w 11867103"/>
                <a:gd name="connsiteY5" fmla="*/ 32741 h 2957157"/>
                <a:gd name="connsiteX6" fmla="*/ 4652387 w 11867103"/>
                <a:gd name="connsiteY6" fmla="*/ 52838 h 2957157"/>
                <a:gd name="connsiteX7" fmla="*/ 4692580 w 11867103"/>
                <a:gd name="connsiteY7" fmla="*/ 62887 h 2957157"/>
                <a:gd name="connsiteX8" fmla="*/ 6420897 w 11867103"/>
                <a:gd name="connsiteY8" fmla="*/ 82983 h 2957157"/>
                <a:gd name="connsiteX9" fmla="*/ 7204668 w 11867103"/>
                <a:gd name="connsiteY9" fmla="*/ 2596 h 2957157"/>
                <a:gd name="connsiteX10" fmla="*/ 7285055 w 11867103"/>
                <a:gd name="connsiteY10" fmla="*/ 22693 h 2957157"/>
                <a:gd name="connsiteX11" fmla="*/ 7928150 w 11867103"/>
                <a:gd name="connsiteY11" fmla="*/ 52838 h 2957157"/>
                <a:gd name="connsiteX12" fmla="*/ 8109020 w 11867103"/>
                <a:gd name="connsiteY12" fmla="*/ 72935 h 2957157"/>
                <a:gd name="connsiteX13" fmla="*/ 8219552 w 11867103"/>
                <a:gd name="connsiteY13" fmla="*/ 82983 h 2957157"/>
                <a:gd name="connsiteX14" fmla="*/ 8299939 w 11867103"/>
                <a:gd name="connsiteY14" fmla="*/ 93032 h 2957157"/>
                <a:gd name="connsiteX15" fmla="*/ 8521002 w 11867103"/>
                <a:gd name="connsiteY15" fmla="*/ 103080 h 2957157"/>
                <a:gd name="connsiteX16" fmla="*/ 9515789 w 11867103"/>
                <a:gd name="connsiteY16" fmla="*/ 93032 h 2957157"/>
                <a:gd name="connsiteX17" fmla="*/ 9606224 w 11867103"/>
                <a:gd name="connsiteY17" fmla="*/ 82983 h 2957157"/>
                <a:gd name="connsiteX18" fmla="*/ 9716756 w 11867103"/>
                <a:gd name="connsiteY18" fmla="*/ 72935 h 2957157"/>
                <a:gd name="connsiteX19" fmla="*/ 9797143 w 11867103"/>
                <a:gd name="connsiteY19" fmla="*/ 62887 h 2957157"/>
                <a:gd name="connsiteX20" fmla="*/ 9947868 w 11867103"/>
                <a:gd name="connsiteY20" fmla="*/ 52838 h 2957157"/>
                <a:gd name="connsiteX21" fmla="*/ 10791930 w 11867103"/>
                <a:gd name="connsiteY21" fmla="*/ 22693 h 2957157"/>
                <a:gd name="connsiteX22" fmla="*/ 11736475 w 11867103"/>
                <a:gd name="connsiteY22" fmla="*/ 42790 h 2957157"/>
                <a:gd name="connsiteX23" fmla="*/ 11766620 w 11867103"/>
                <a:gd name="connsiteY23" fmla="*/ 72935 h 2957157"/>
                <a:gd name="connsiteX24" fmla="*/ 11786717 w 11867103"/>
                <a:gd name="connsiteY24" fmla="*/ 113128 h 2957157"/>
                <a:gd name="connsiteX25" fmla="*/ 11806813 w 11867103"/>
                <a:gd name="connsiteY25" fmla="*/ 203563 h 2957157"/>
                <a:gd name="connsiteX26" fmla="*/ 11816862 w 11867103"/>
                <a:gd name="connsiteY26" fmla="*/ 243757 h 2957157"/>
                <a:gd name="connsiteX27" fmla="*/ 11826910 w 11867103"/>
                <a:gd name="connsiteY27" fmla="*/ 334192 h 2957157"/>
                <a:gd name="connsiteX28" fmla="*/ 11836958 w 11867103"/>
                <a:gd name="connsiteY28" fmla="*/ 414579 h 2957157"/>
                <a:gd name="connsiteX29" fmla="*/ 11826910 w 11867103"/>
                <a:gd name="connsiteY29" fmla="*/ 726078 h 2957157"/>
                <a:gd name="connsiteX30" fmla="*/ 11816862 w 11867103"/>
                <a:gd name="connsiteY30" fmla="*/ 786368 h 2957157"/>
                <a:gd name="connsiteX31" fmla="*/ 11806813 w 11867103"/>
                <a:gd name="connsiteY31" fmla="*/ 856706 h 2957157"/>
                <a:gd name="connsiteX32" fmla="*/ 11816862 w 11867103"/>
                <a:gd name="connsiteY32" fmla="*/ 2323766 h 2957157"/>
                <a:gd name="connsiteX33" fmla="*/ 11826910 w 11867103"/>
                <a:gd name="connsiteY33" fmla="*/ 2394104 h 2957157"/>
                <a:gd name="connsiteX34" fmla="*/ 11836958 w 11867103"/>
                <a:gd name="connsiteY34" fmla="*/ 2424249 h 2957157"/>
                <a:gd name="connsiteX35" fmla="*/ 11857055 w 11867103"/>
                <a:gd name="connsiteY35" fmla="*/ 2554878 h 2957157"/>
                <a:gd name="connsiteX36" fmla="*/ 11867103 w 11867103"/>
                <a:gd name="connsiteY36" fmla="*/ 2595071 h 2957157"/>
                <a:gd name="connsiteX37" fmla="*/ 11857055 w 11867103"/>
                <a:gd name="connsiteY37" fmla="*/ 2826183 h 2957157"/>
                <a:gd name="connsiteX38" fmla="*/ 11836958 w 11867103"/>
                <a:gd name="connsiteY38" fmla="*/ 2856328 h 2957157"/>
                <a:gd name="connsiteX39" fmla="*/ 11033090 w 11867103"/>
                <a:gd name="connsiteY39" fmla="*/ 2846280 h 2957157"/>
                <a:gd name="connsiteX40" fmla="*/ 10621108 w 11867103"/>
                <a:gd name="connsiteY40" fmla="*/ 2836232 h 2957157"/>
                <a:gd name="connsiteX41" fmla="*/ 10128739 w 11867103"/>
                <a:gd name="connsiteY41" fmla="*/ 2846280 h 2957157"/>
                <a:gd name="connsiteX42" fmla="*/ 10048352 w 11867103"/>
                <a:gd name="connsiteY42" fmla="*/ 2856328 h 2957157"/>
                <a:gd name="connsiteX43" fmla="*/ 9555982 w 11867103"/>
                <a:gd name="connsiteY43" fmla="*/ 2846280 h 2957157"/>
                <a:gd name="connsiteX44" fmla="*/ 9445451 w 11867103"/>
                <a:gd name="connsiteY44" fmla="*/ 2836232 h 2957157"/>
                <a:gd name="connsiteX45" fmla="*/ 9415306 w 11867103"/>
                <a:gd name="connsiteY45" fmla="*/ 2816135 h 2957157"/>
                <a:gd name="connsiteX46" fmla="*/ 9204290 w 11867103"/>
                <a:gd name="connsiteY46" fmla="*/ 2796038 h 2957157"/>
                <a:gd name="connsiteX47" fmla="*/ 9073662 w 11867103"/>
                <a:gd name="connsiteY47" fmla="*/ 2775941 h 2957157"/>
                <a:gd name="connsiteX48" fmla="*/ 8812404 w 11867103"/>
                <a:gd name="connsiteY48" fmla="*/ 2765893 h 2957157"/>
                <a:gd name="connsiteX49" fmla="*/ 8400422 w 11867103"/>
                <a:gd name="connsiteY49" fmla="*/ 2755845 h 2957157"/>
                <a:gd name="connsiteX50" fmla="*/ 8269793 w 11867103"/>
                <a:gd name="connsiteY50" fmla="*/ 2745796 h 2957157"/>
                <a:gd name="connsiteX51" fmla="*/ 7797521 w 11867103"/>
                <a:gd name="connsiteY51" fmla="*/ 2765893 h 2957157"/>
                <a:gd name="connsiteX52" fmla="*/ 7717134 w 11867103"/>
                <a:gd name="connsiteY52" fmla="*/ 2775941 h 2957157"/>
                <a:gd name="connsiteX53" fmla="*/ 7486022 w 11867103"/>
                <a:gd name="connsiteY53" fmla="*/ 2806087 h 2957157"/>
                <a:gd name="connsiteX54" fmla="*/ 7395587 w 11867103"/>
                <a:gd name="connsiteY54" fmla="*/ 2826183 h 2957157"/>
                <a:gd name="connsiteX55" fmla="*/ 7325248 w 11867103"/>
                <a:gd name="connsiteY55" fmla="*/ 2836232 h 2957157"/>
                <a:gd name="connsiteX56" fmla="*/ 6863024 w 11867103"/>
                <a:gd name="connsiteY56" fmla="*/ 2826183 h 2957157"/>
                <a:gd name="connsiteX57" fmla="*/ 6722347 w 11867103"/>
                <a:gd name="connsiteY57" fmla="*/ 2816135 h 2957157"/>
                <a:gd name="connsiteX58" fmla="*/ 4903596 w 11867103"/>
                <a:gd name="connsiteY58" fmla="*/ 2866377 h 2957157"/>
                <a:gd name="connsiteX59" fmla="*/ 4722725 w 11867103"/>
                <a:gd name="connsiteY59" fmla="*/ 2906570 h 2957157"/>
                <a:gd name="connsiteX60" fmla="*/ 4300695 w 11867103"/>
                <a:gd name="connsiteY60" fmla="*/ 2886473 h 2957157"/>
                <a:gd name="connsiteX61" fmla="*/ 4059534 w 11867103"/>
                <a:gd name="connsiteY61" fmla="*/ 2846280 h 2957157"/>
                <a:gd name="connsiteX62" fmla="*/ 3768132 w 11867103"/>
                <a:gd name="connsiteY62" fmla="*/ 2816135 h 2957157"/>
                <a:gd name="connsiteX63" fmla="*/ 3627455 w 11867103"/>
                <a:gd name="connsiteY63" fmla="*/ 2806087 h 2957157"/>
                <a:gd name="connsiteX64" fmla="*/ 3125037 w 11867103"/>
                <a:gd name="connsiteY64" fmla="*/ 2816135 h 2957157"/>
                <a:gd name="connsiteX65" fmla="*/ 3064747 w 11867103"/>
                <a:gd name="connsiteY65" fmla="*/ 2826183 h 2957157"/>
                <a:gd name="connsiteX66" fmla="*/ 2009670 w 11867103"/>
                <a:gd name="connsiteY66" fmla="*/ 2836232 h 2957157"/>
                <a:gd name="connsiteX67" fmla="*/ 1678075 w 11867103"/>
                <a:gd name="connsiteY67" fmla="*/ 2926667 h 2957157"/>
                <a:gd name="connsiteX68" fmla="*/ 1607736 w 11867103"/>
                <a:gd name="connsiteY68" fmla="*/ 2956812 h 2957157"/>
                <a:gd name="connsiteX69" fmla="*/ 1135464 w 11867103"/>
                <a:gd name="connsiteY69" fmla="*/ 2936715 h 2957157"/>
                <a:gd name="connsiteX70" fmla="*/ 944545 w 11867103"/>
                <a:gd name="connsiteY70" fmla="*/ 2906570 h 2957157"/>
                <a:gd name="connsiteX71" fmla="*/ 723481 w 11867103"/>
                <a:gd name="connsiteY71" fmla="*/ 2866377 h 2957157"/>
                <a:gd name="connsiteX72" fmla="*/ 643095 w 11867103"/>
                <a:gd name="connsiteY72" fmla="*/ 2856328 h 2957157"/>
                <a:gd name="connsiteX73" fmla="*/ 371789 w 11867103"/>
                <a:gd name="connsiteY73" fmla="*/ 2816135 h 2957157"/>
                <a:gd name="connsiteX74" fmla="*/ 0 w 11867103"/>
                <a:gd name="connsiteY74" fmla="*/ 2806087 h 2957157"/>
                <a:gd name="connsiteX0" fmla="*/ 120580 w 11867103"/>
                <a:gd name="connsiteY0" fmla="*/ 40596 h 2954963"/>
                <a:gd name="connsiteX1" fmla="*/ 281354 w 11867103"/>
                <a:gd name="connsiteY1" fmla="*/ 30547 h 2954963"/>
                <a:gd name="connsiteX2" fmla="*/ 673240 w 11867103"/>
                <a:gd name="connsiteY2" fmla="*/ 20499 h 2954963"/>
                <a:gd name="connsiteX3" fmla="*/ 1356528 w 11867103"/>
                <a:gd name="connsiteY3" fmla="*/ 70741 h 2954963"/>
                <a:gd name="connsiteX4" fmla="*/ 1758462 w 11867103"/>
                <a:gd name="connsiteY4" fmla="*/ 30547 h 2954963"/>
                <a:gd name="connsiteX5" fmla="*/ 2140299 w 11867103"/>
                <a:gd name="connsiteY5" fmla="*/ 30547 h 2954963"/>
                <a:gd name="connsiteX6" fmla="*/ 4652387 w 11867103"/>
                <a:gd name="connsiteY6" fmla="*/ 50644 h 2954963"/>
                <a:gd name="connsiteX7" fmla="*/ 4692580 w 11867103"/>
                <a:gd name="connsiteY7" fmla="*/ 60693 h 2954963"/>
                <a:gd name="connsiteX8" fmla="*/ 6420897 w 11867103"/>
                <a:gd name="connsiteY8" fmla="*/ 80789 h 2954963"/>
                <a:gd name="connsiteX9" fmla="*/ 7204668 w 11867103"/>
                <a:gd name="connsiteY9" fmla="*/ 402 h 2954963"/>
                <a:gd name="connsiteX10" fmla="*/ 7928150 w 11867103"/>
                <a:gd name="connsiteY10" fmla="*/ 50644 h 2954963"/>
                <a:gd name="connsiteX11" fmla="*/ 8109020 w 11867103"/>
                <a:gd name="connsiteY11" fmla="*/ 70741 h 2954963"/>
                <a:gd name="connsiteX12" fmla="*/ 8219552 w 11867103"/>
                <a:gd name="connsiteY12" fmla="*/ 80789 h 2954963"/>
                <a:gd name="connsiteX13" fmla="*/ 8299939 w 11867103"/>
                <a:gd name="connsiteY13" fmla="*/ 90838 h 2954963"/>
                <a:gd name="connsiteX14" fmla="*/ 8521002 w 11867103"/>
                <a:gd name="connsiteY14" fmla="*/ 100886 h 2954963"/>
                <a:gd name="connsiteX15" fmla="*/ 9515789 w 11867103"/>
                <a:gd name="connsiteY15" fmla="*/ 90838 h 2954963"/>
                <a:gd name="connsiteX16" fmla="*/ 9606224 w 11867103"/>
                <a:gd name="connsiteY16" fmla="*/ 80789 h 2954963"/>
                <a:gd name="connsiteX17" fmla="*/ 9716756 w 11867103"/>
                <a:gd name="connsiteY17" fmla="*/ 70741 h 2954963"/>
                <a:gd name="connsiteX18" fmla="*/ 9797143 w 11867103"/>
                <a:gd name="connsiteY18" fmla="*/ 60693 h 2954963"/>
                <a:gd name="connsiteX19" fmla="*/ 9947868 w 11867103"/>
                <a:gd name="connsiteY19" fmla="*/ 50644 h 2954963"/>
                <a:gd name="connsiteX20" fmla="*/ 10791930 w 11867103"/>
                <a:gd name="connsiteY20" fmla="*/ 20499 h 2954963"/>
                <a:gd name="connsiteX21" fmla="*/ 11736475 w 11867103"/>
                <a:gd name="connsiteY21" fmla="*/ 40596 h 2954963"/>
                <a:gd name="connsiteX22" fmla="*/ 11766620 w 11867103"/>
                <a:gd name="connsiteY22" fmla="*/ 70741 h 2954963"/>
                <a:gd name="connsiteX23" fmla="*/ 11786717 w 11867103"/>
                <a:gd name="connsiteY23" fmla="*/ 110934 h 2954963"/>
                <a:gd name="connsiteX24" fmla="*/ 11806813 w 11867103"/>
                <a:gd name="connsiteY24" fmla="*/ 201369 h 2954963"/>
                <a:gd name="connsiteX25" fmla="*/ 11816862 w 11867103"/>
                <a:gd name="connsiteY25" fmla="*/ 241563 h 2954963"/>
                <a:gd name="connsiteX26" fmla="*/ 11826910 w 11867103"/>
                <a:gd name="connsiteY26" fmla="*/ 331998 h 2954963"/>
                <a:gd name="connsiteX27" fmla="*/ 11836958 w 11867103"/>
                <a:gd name="connsiteY27" fmla="*/ 412385 h 2954963"/>
                <a:gd name="connsiteX28" fmla="*/ 11826910 w 11867103"/>
                <a:gd name="connsiteY28" fmla="*/ 723884 h 2954963"/>
                <a:gd name="connsiteX29" fmla="*/ 11816862 w 11867103"/>
                <a:gd name="connsiteY29" fmla="*/ 784174 h 2954963"/>
                <a:gd name="connsiteX30" fmla="*/ 11806813 w 11867103"/>
                <a:gd name="connsiteY30" fmla="*/ 854512 h 2954963"/>
                <a:gd name="connsiteX31" fmla="*/ 11816862 w 11867103"/>
                <a:gd name="connsiteY31" fmla="*/ 2321572 h 2954963"/>
                <a:gd name="connsiteX32" fmla="*/ 11826910 w 11867103"/>
                <a:gd name="connsiteY32" fmla="*/ 2391910 h 2954963"/>
                <a:gd name="connsiteX33" fmla="*/ 11836958 w 11867103"/>
                <a:gd name="connsiteY33" fmla="*/ 2422055 h 2954963"/>
                <a:gd name="connsiteX34" fmla="*/ 11857055 w 11867103"/>
                <a:gd name="connsiteY34" fmla="*/ 2552684 h 2954963"/>
                <a:gd name="connsiteX35" fmla="*/ 11867103 w 11867103"/>
                <a:gd name="connsiteY35" fmla="*/ 2592877 h 2954963"/>
                <a:gd name="connsiteX36" fmla="*/ 11857055 w 11867103"/>
                <a:gd name="connsiteY36" fmla="*/ 2823989 h 2954963"/>
                <a:gd name="connsiteX37" fmla="*/ 11836958 w 11867103"/>
                <a:gd name="connsiteY37" fmla="*/ 2854134 h 2954963"/>
                <a:gd name="connsiteX38" fmla="*/ 11033090 w 11867103"/>
                <a:gd name="connsiteY38" fmla="*/ 2844086 h 2954963"/>
                <a:gd name="connsiteX39" fmla="*/ 10621108 w 11867103"/>
                <a:gd name="connsiteY39" fmla="*/ 2834038 h 2954963"/>
                <a:gd name="connsiteX40" fmla="*/ 10128739 w 11867103"/>
                <a:gd name="connsiteY40" fmla="*/ 2844086 h 2954963"/>
                <a:gd name="connsiteX41" fmla="*/ 10048352 w 11867103"/>
                <a:gd name="connsiteY41" fmla="*/ 2854134 h 2954963"/>
                <a:gd name="connsiteX42" fmla="*/ 9555982 w 11867103"/>
                <a:gd name="connsiteY42" fmla="*/ 2844086 h 2954963"/>
                <a:gd name="connsiteX43" fmla="*/ 9445451 w 11867103"/>
                <a:gd name="connsiteY43" fmla="*/ 2834038 h 2954963"/>
                <a:gd name="connsiteX44" fmla="*/ 9415306 w 11867103"/>
                <a:gd name="connsiteY44" fmla="*/ 2813941 h 2954963"/>
                <a:gd name="connsiteX45" fmla="*/ 9204290 w 11867103"/>
                <a:gd name="connsiteY45" fmla="*/ 2793844 h 2954963"/>
                <a:gd name="connsiteX46" fmla="*/ 9073662 w 11867103"/>
                <a:gd name="connsiteY46" fmla="*/ 2773747 h 2954963"/>
                <a:gd name="connsiteX47" fmla="*/ 8812404 w 11867103"/>
                <a:gd name="connsiteY47" fmla="*/ 2763699 h 2954963"/>
                <a:gd name="connsiteX48" fmla="*/ 8400422 w 11867103"/>
                <a:gd name="connsiteY48" fmla="*/ 2753651 h 2954963"/>
                <a:gd name="connsiteX49" fmla="*/ 8269793 w 11867103"/>
                <a:gd name="connsiteY49" fmla="*/ 2743602 h 2954963"/>
                <a:gd name="connsiteX50" fmla="*/ 7797521 w 11867103"/>
                <a:gd name="connsiteY50" fmla="*/ 2763699 h 2954963"/>
                <a:gd name="connsiteX51" fmla="*/ 7717134 w 11867103"/>
                <a:gd name="connsiteY51" fmla="*/ 2773747 h 2954963"/>
                <a:gd name="connsiteX52" fmla="*/ 7486022 w 11867103"/>
                <a:gd name="connsiteY52" fmla="*/ 2803893 h 2954963"/>
                <a:gd name="connsiteX53" fmla="*/ 7395587 w 11867103"/>
                <a:gd name="connsiteY53" fmla="*/ 2823989 h 2954963"/>
                <a:gd name="connsiteX54" fmla="*/ 7325248 w 11867103"/>
                <a:gd name="connsiteY54" fmla="*/ 2834038 h 2954963"/>
                <a:gd name="connsiteX55" fmla="*/ 6863024 w 11867103"/>
                <a:gd name="connsiteY55" fmla="*/ 2823989 h 2954963"/>
                <a:gd name="connsiteX56" fmla="*/ 6722347 w 11867103"/>
                <a:gd name="connsiteY56" fmla="*/ 2813941 h 2954963"/>
                <a:gd name="connsiteX57" fmla="*/ 4903596 w 11867103"/>
                <a:gd name="connsiteY57" fmla="*/ 2864183 h 2954963"/>
                <a:gd name="connsiteX58" fmla="*/ 4722725 w 11867103"/>
                <a:gd name="connsiteY58" fmla="*/ 2904376 h 2954963"/>
                <a:gd name="connsiteX59" fmla="*/ 4300695 w 11867103"/>
                <a:gd name="connsiteY59" fmla="*/ 2884279 h 2954963"/>
                <a:gd name="connsiteX60" fmla="*/ 4059534 w 11867103"/>
                <a:gd name="connsiteY60" fmla="*/ 2844086 h 2954963"/>
                <a:gd name="connsiteX61" fmla="*/ 3768132 w 11867103"/>
                <a:gd name="connsiteY61" fmla="*/ 2813941 h 2954963"/>
                <a:gd name="connsiteX62" fmla="*/ 3627455 w 11867103"/>
                <a:gd name="connsiteY62" fmla="*/ 2803893 h 2954963"/>
                <a:gd name="connsiteX63" fmla="*/ 3125037 w 11867103"/>
                <a:gd name="connsiteY63" fmla="*/ 2813941 h 2954963"/>
                <a:gd name="connsiteX64" fmla="*/ 3064747 w 11867103"/>
                <a:gd name="connsiteY64" fmla="*/ 2823989 h 2954963"/>
                <a:gd name="connsiteX65" fmla="*/ 2009670 w 11867103"/>
                <a:gd name="connsiteY65" fmla="*/ 2834038 h 2954963"/>
                <a:gd name="connsiteX66" fmla="*/ 1678075 w 11867103"/>
                <a:gd name="connsiteY66" fmla="*/ 2924473 h 2954963"/>
                <a:gd name="connsiteX67" fmla="*/ 1607736 w 11867103"/>
                <a:gd name="connsiteY67" fmla="*/ 2954618 h 2954963"/>
                <a:gd name="connsiteX68" fmla="*/ 1135464 w 11867103"/>
                <a:gd name="connsiteY68" fmla="*/ 2934521 h 2954963"/>
                <a:gd name="connsiteX69" fmla="*/ 944545 w 11867103"/>
                <a:gd name="connsiteY69" fmla="*/ 2904376 h 2954963"/>
                <a:gd name="connsiteX70" fmla="*/ 723481 w 11867103"/>
                <a:gd name="connsiteY70" fmla="*/ 2864183 h 2954963"/>
                <a:gd name="connsiteX71" fmla="*/ 643095 w 11867103"/>
                <a:gd name="connsiteY71" fmla="*/ 2854134 h 2954963"/>
                <a:gd name="connsiteX72" fmla="*/ 371789 w 11867103"/>
                <a:gd name="connsiteY72" fmla="*/ 2813941 h 2954963"/>
                <a:gd name="connsiteX73" fmla="*/ 0 w 11867103"/>
                <a:gd name="connsiteY73" fmla="*/ 2803893 h 2954963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109020 w 11867103"/>
                <a:gd name="connsiteY11" fmla="*/ 52092 h 2936314"/>
                <a:gd name="connsiteX12" fmla="*/ 8219552 w 11867103"/>
                <a:gd name="connsiteY12" fmla="*/ 62140 h 2936314"/>
                <a:gd name="connsiteX13" fmla="*/ 8299939 w 11867103"/>
                <a:gd name="connsiteY13" fmla="*/ 72189 h 2936314"/>
                <a:gd name="connsiteX14" fmla="*/ 8521002 w 11867103"/>
                <a:gd name="connsiteY14" fmla="*/ 82237 h 2936314"/>
                <a:gd name="connsiteX15" fmla="*/ 9515789 w 11867103"/>
                <a:gd name="connsiteY15" fmla="*/ 72189 h 2936314"/>
                <a:gd name="connsiteX16" fmla="*/ 9606224 w 11867103"/>
                <a:gd name="connsiteY16" fmla="*/ 62140 h 2936314"/>
                <a:gd name="connsiteX17" fmla="*/ 9716756 w 11867103"/>
                <a:gd name="connsiteY17" fmla="*/ 52092 h 2936314"/>
                <a:gd name="connsiteX18" fmla="*/ 9797143 w 11867103"/>
                <a:gd name="connsiteY18" fmla="*/ 42044 h 2936314"/>
                <a:gd name="connsiteX19" fmla="*/ 9947868 w 11867103"/>
                <a:gd name="connsiteY19" fmla="*/ 31995 h 2936314"/>
                <a:gd name="connsiteX20" fmla="*/ 10791930 w 11867103"/>
                <a:gd name="connsiteY20" fmla="*/ 1850 h 2936314"/>
                <a:gd name="connsiteX21" fmla="*/ 11736475 w 11867103"/>
                <a:gd name="connsiteY21" fmla="*/ 21947 h 2936314"/>
                <a:gd name="connsiteX22" fmla="*/ 11766620 w 11867103"/>
                <a:gd name="connsiteY22" fmla="*/ 52092 h 2936314"/>
                <a:gd name="connsiteX23" fmla="*/ 11786717 w 11867103"/>
                <a:gd name="connsiteY23" fmla="*/ 92285 h 2936314"/>
                <a:gd name="connsiteX24" fmla="*/ 11806813 w 11867103"/>
                <a:gd name="connsiteY24" fmla="*/ 182720 h 2936314"/>
                <a:gd name="connsiteX25" fmla="*/ 11816862 w 11867103"/>
                <a:gd name="connsiteY25" fmla="*/ 222914 h 2936314"/>
                <a:gd name="connsiteX26" fmla="*/ 11826910 w 11867103"/>
                <a:gd name="connsiteY26" fmla="*/ 313349 h 2936314"/>
                <a:gd name="connsiteX27" fmla="*/ 11836958 w 11867103"/>
                <a:gd name="connsiteY27" fmla="*/ 393736 h 2936314"/>
                <a:gd name="connsiteX28" fmla="*/ 11826910 w 11867103"/>
                <a:gd name="connsiteY28" fmla="*/ 705235 h 2936314"/>
                <a:gd name="connsiteX29" fmla="*/ 11816862 w 11867103"/>
                <a:gd name="connsiteY29" fmla="*/ 765525 h 2936314"/>
                <a:gd name="connsiteX30" fmla="*/ 11806813 w 11867103"/>
                <a:gd name="connsiteY30" fmla="*/ 835863 h 2936314"/>
                <a:gd name="connsiteX31" fmla="*/ 11816862 w 11867103"/>
                <a:gd name="connsiteY31" fmla="*/ 2302923 h 2936314"/>
                <a:gd name="connsiteX32" fmla="*/ 11826910 w 11867103"/>
                <a:gd name="connsiteY32" fmla="*/ 2373261 h 2936314"/>
                <a:gd name="connsiteX33" fmla="*/ 11836958 w 11867103"/>
                <a:gd name="connsiteY33" fmla="*/ 2403406 h 2936314"/>
                <a:gd name="connsiteX34" fmla="*/ 11857055 w 11867103"/>
                <a:gd name="connsiteY34" fmla="*/ 2534035 h 2936314"/>
                <a:gd name="connsiteX35" fmla="*/ 11867103 w 11867103"/>
                <a:gd name="connsiteY35" fmla="*/ 2574228 h 2936314"/>
                <a:gd name="connsiteX36" fmla="*/ 11857055 w 11867103"/>
                <a:gd name="connsiteY36" fmla="*/ 2805340 h 2936314"/>
                <a:gd name="connsiteX37" fmla="*/ 11836958 w 11867103"/>
                <a:gd name="connsiteY37" fmla="*/ 2835485 h 2936314"/>
                <a:gd name="connsiteX38" fmla="*/ 11033090 w 11867103"/>
                <a:gd name="connsiteY38" fmla="*/ 2825437 h 2936314"/>
                <a:gd name="connsiteX39" fmla="*/ 10621108 w 11867103"/>
                <a:gd name="connsiteY39" fmla="*/ 2815389 h 2936314"/>
                <a:gd name="connsiteX40" fmla="*/ 10128739 w 11867103"/>
                <a:gd name="connsiteY40" fmla="*/ 2825437 h 2936314"/>
                <a:gd name="connsiteX41" fmla="*/ 10048352 w 11867103"/>
                <a:gd name="connsiteY41" fmla="*/ 2835485 h 2936314"/>
                <a:gd name="connsiteX42" fmla="*/ 9555982 w 11867103"/>
                <a:gd name="connsiteY42" fmla="*/ 2825437 h 2936314"/>
                <a:gd name="connsiteX43" fmla="*/ 9445451 w 11867103"/>
                <a:gd name="connsiteY43" fmla="*/ 2815389 h 2936314"/>
                <a:gd name="connsiteX44" fmla="*/ 9415306 w 11867103"/>
                <a:gd name="connsiteY44" fmla="*/ 2795292 h 2936314"/>
                <a:gd name="connsiteX45" fmla="*/ 9204290 w 11867103"/>
                <a:gd name="connsiteY45" fmla="*/ 2775195 h 2936314"/>
                <a:gd name="connsiteX46" fmla="*/ 9073662 w 11867103"/>
                <a:gd name="connsiteY46" fmla="*/ 2755098 h 2936314"/>
                <a:gd name="connsiteX47" fmla="*/ 8812404 w 11867103"/>
                <a:gd name="connsiteY47" fmla="*/ 2745050 h 2936314"/>
                <a:gd name="connsiteX48" fmla="*/ 8400422 w 11867103"/>
                <a:gd name="connsiteY48" fmla="*/ 2735002 h 2936314"/>
                <a:gd name="connsiteX49" fmla="*/ 8269793 w 11867103"/>
                <a:gd name="connsiteY49" fmla="*/ 2724953 h 2936314"/>
                <a:gd name="connsiteX50" fmla="*/ 7797521 w 11867103"/>
                <a:gd name="connsiteY50" fmla="*/ 2745050 h 2936314"/>
                <a:gd name="connsiteX51" fmla="*/ 7717134 w 11867103"/>
                <a:gd name="connsiteY51" fmla="*/ 2755098 h 2936314"/>
                <a:gd name="connsiteX52" fmla="*/ 7486022 w 11867103"/>
                <a:gd name="connsiteY52" fmla="*/ 2785244 h 2936314"/>
                <a:gd name="connsiteX53" fmla="*/ 7395587 w 11867103"/>
                <a:gd name="connsiteY53" fmla="*/ 2805340 h 2936314"/>
                <a:gd name="connsiteX54" fmla="*/ 7325248 w 11867103"/>
                <a:gd name="connsiteY54" fmla="*/ 2815389 h 2936314"/>
                <a:gd name="connsiteX55" fmla="*/ 6863024 w 11867103"/>
                <a:gd name="connsiteY55" fmla="*/ 2805340 h 2936314"/>
                <a:gd name="connsiteX56" fmla="*/ 6722347 w 11867103"/>
                <a:gd name="connsiteY56" fmla="*/ 2795292 h 2936314"/>
                <a:gd name="connsiteX57" fmla="*/ 4903596 w 11867103"/>
                <a:gd name="connsiteY57" fmla="*/ 2845534 h 2936314"/>
                <a:gd name="connsiteX58" fmla="*/ 4722725 w 11867103"/>
                <a:gd name="connsiteY58" fmla="*/ 2885727 h 2936314"/>
                <a:gd name="connsiteX59" fmla="*/ 4300695 w 11867103"/>
                <a:gd name="connsiteY59" fmla="*/ 2865630 h 2936314"/>
                <a:gd name="connsiteX60" fmla="*/ 4059534 w 11867103"/>
                <a:gd name="connsiteY60" fmla="*/ 2825437 h 2936314"/>
                <a:gd name="connsiteX61" fmla="*/ 3768132 w 11867103"/>
                <a:gd name="connsiteY61" fmla="*/ 2795292 h 2936314"/>
                <a:gd name="connsiteX62" fmla="*/ 3627455 w 11867103"/>
                <a:gd name="connsiteY62" fmla="*/ 2785244 h 2936314"/>
                <a:gd name="connsiteX63" fmla="*/ 3125037 w 11867103"/>
                <a:gd name="connsiteY63" fmla="*/ 2795292 h 2936314"/>
                <a:gd name="connsiteX64" fmla="*/ 3064747 w 11867103"/>
                <a:gd name="connsiteY64" fmla="*/ 2805340 h 2936314"/>
                <a:gd name="connsiteX65" fmla="*/ 2009670 w 11867103"/>
                <a:gd name="connsiteY65" fmla="*/ 2815389 h 2936314"/>
                <a:gd name="connsiteX66" fmla="*/ 1678075 w 11867103"/>
                <a:gd name="connsiteY66" fmla="*/ 2905824 h 2936314"/>
                <a:gd name="connsiteX67" fmla="*/ 1607736 w 11867103"/>
                <a:gd name="connsiteY67" fmla="*/ 2935969 h 2936314"/>
                <a:gd name="connsiteX68" fmla="*/ 1135464 w 11867103"/>
                <a:gd name="connsiteY68" fmla="*/ 2915872 h 2936314"/>
                <a:gd name="connsiteX69" fmla="*/ 944545 w 11867103"/>
                <a:gd name="connsiteY69" fmla="*/ 2885727 h 2936314"/>
                <a:gd name="connsiteX70" fmla="*/ 723481 w 11867103"/>
                <a:gd name="connsiteY70" fmla="*/ 2845534 h 2936314"/>
                <a:gd name="connsiteX71" fmla="*/ 643095 w 11867103"/>
                <a:gd name="connsiteY71" fmla="*/ 2835485 h 2936314"/>
                <a:gd name="connsiteX72" fmla="*/ 371789 w 11867103"/>
                <a:gd name="connsiteY72" fmla="*/ 2795292 h 2936314"/>
                <a:gd name="connsiteX73" fmla="*/ 0 w 11867103"/>
                <a:gd name="connsiteY73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8299939 w 11867103"/>
                <a:gd name="connsiteY12" fmla="*/ 72189 h 2936314"/>
                <a:gd name="connsiteX13" fmla="*/ 8521002 w 11867103"/>
                <a:gd name="connsiteY13" fmla="*/ 82237 h 2936314"/>
                <a:gd name="connsiteX14" fmla="*/ 9515789 w 11867103"/>
                <a:gd name="connsiteY14" fmla="*/ 72189 h 2936314"/>
                <a:gd name="connsiteX15" fmla="*/ 9606224 w 11867103"/>
                <a:gd name="connsiteY15" fmla="*/ 62140 h 2936314"/>
                <a:gd name="connsiteX16" fmla="*/ 9716756 w 11867103"/>
                <a:gd name="connsiteY16" fmla="*/ 52092 h 2936314"/>
                <a:gd name="connsiteX17" fmla="*/ 9797143 w 11867103"/>
                <a:gd name="connsiteY17" fmla="*/ 42044 h 2936314"/>
                <a:gd name="connsiteX18" fmla="*/ 9947868 w 11867103"/>
                <a:gd name="connsiteY18" fmla="*/ 31995 h 2936314"/>
                <a:gd name="connsiteX19" fmla="*/ 10791930 w 11867103"/>
                <a:gd name="connsiteY19" fmla="*/ 1850 h 2936314"/>
                <a:gd name="connsiteX20" fmla="*/ 11736475 w 11867103"/>
                <a:gd name="connsiteY20" fmla="*/ 21947 h 2936314"/>
                <a:gd name="connsiteX21" fmla="*/ 11766620 w 11867103"/>
                <a:gd name="connsiteY21" fmla="*/ 52092 h 2936314"/>
                <a:gd name="connsiteX22" fmla="*/ 11786717 w 11867103"/>
                <a:gd name="connsiteY22" fmla="*/ 92285 h 2936314"/>
                <a:gd name="connsiteX23" fmla="*/ 11806813 w 11867103"/>
                <a:gd name="connsiteY23" fmla="*/ 182720 h 2936314"/>
                <a:gd name="connsiteX24" fmla="*/ 11816862 w 11867103"/>
                <a:gd name="connsiteY24" fmla="*/ 222914 h 2936314"/>
                <a:gd name="connsiteX25" fmla="*/ 11826910 w 11867103"/>
                <a:gd name="connsiteY25" fmla="*/ 313349 h 2936314"/>
                <a:gd name="connsiteX26" fmla="*/ 11836958 w 11867103"/>
                <a:gd name="connsiteY26" fmla="*/ 393736 h 2936314"/>
                <a:gd name="connsiteX27" fmla="*/ 11826910 w 11867103"/>
                <a:gd name="connsiteY27" fmla="*/ 705235 h 2936314"/>
                <a:gd name="connsiteX28" fmla="*/ 11816862 w 11867103"/>
                <a:gd name="connsiteY28" fmla="*/ 765525 h 2936314"/>
                <a:gd name="connsiteX29" fmla="*/ 11806813 w 11867103"/>
                <a:gd name="connsiteY29" fmla="*/ 835863 h 2936314"/>
                <a:gd name="connsiteX30" fmla="*/ 11816862 w 11867103"/>
                <a:gd name="connsiteY30" fmla="*/ 2302923 h 2936314"/>
                <a:gd name="connsiteX31" fmla="*/ 11826910 w 11867103"/>
                <a:gd name="connsiteY31" fmla="*/ 2373261 h 2936314"/>
                <a:gd name="connsiteX32" fmla="*/ 11836958 w 11867103"/>
                <a:gd name="connsiteY32" fmla="*/ 2403406 h 2936314"/>
                <a:gd name="connsiteX33" fmla="*/ 11857055 w 11867103"/>
                <a:gd name="connsiteY33" fmla="*/ 2534035 h 2936314"/>
                <a:gd name="connsiteX34" fmla="*/ 11867103 w 11867103"/>
                <a:gd name="connsiteY34" fmla="*/ 2574228 h 2936314"/>
                <a:gd name="connsiteX35" fmla="*/ 11857055 w 11867103"/>
                <a:gd name="connsiteY35" fmla="*/ 2805340 h 2936314"/>
                <a:gd name="connsiteX36" fmla="*/ 11836958 w 11867103"/>
                <a:gd name="connsiteY36" fmla="*/ 2835485 h 2936314"/>
                <a:gd name="connsiteX37" fmla="*/ 11033090 w 11867103"/>
                <a:gd name="connsiteY37" fmla="*/ 2825437 h 2936314"/>
                <a:gd name="connsiteX38" fmla="*/ 10621108 w 11867103"/>
                <a:gd name="connsiteY38" fmla="*/ 2815389 h 2936314"/>
                <a:gd name="connsiteX39" fmla="*/ 10128739 w 11867103"/>
                <a:gd name="connsiteY39" fmla="*/ 2825437 h 2936314"/>
                <a:gd name="connsiteX40" fmla="*/ 10048352 w 11867103"/>
                <a:gd name="connsiteY40" fmla="*/ 2835485 h 2936314"/>
                <a:gd name="connsiteX41" fmla="*/ 9555982 w 11867103"/>
                <a:gd name="connsiteY41" fmla="*/ 2825437 h 2936314"/>
                <a:gd name="connsiteX42" fmla="*/ 9445451 w 11867103"/>
                <a:gd name="connsiteY42" fmla="*/ 2815389 h 2936314"/>
                <a:gd name="connsiteX43" fmla="*/ 9415306 w 11867103"/>
                <a:gd name="connsiteY43" fmla="*/ 2795292 h 2936314"/>
                <a:gd name="connsiteX44" fmla="*/ 9204290 w 11867103"/>
                <a:gd name="connsiteY44" fmla="*/ 2775195 h 2936314"/>
                <a:gd name="connsiteX45" fmla="*/ 9073662 w 11867103"/>
                <a:gd name="connsiteY45" fmla="*/ 2755098 h 2936314"/>
                <a:gd name="connsiteX46" fmla="*/ 8812404 w 11867103"/>
                <a:gd name="connsiteY46" fmla="*/ 2745050 h 2936314"/>
                <a:gd name="connsiteX47" fmla="*/ 8400422 w 11867103"/>
                <a:gd name="connsiteY47" fmla="*/ 2735002 h 2936314"/>
                <a:gd name="connsiteX48" fmla="*/ 8269793 w 11867103"/>
                <a:gd name="connsiteY48" fmla="*/ 2724953 h 2936314"/>
                <a:gd name="connsiteX49" fmla="*/ 7797521 w 11867103"/>
                <a:gd name="connsiteY49" fmla="*/ 2745050 h 2936314"/>
                <a:gd name="connsiteX50" fmla="*/ 7717134 w 11867103"/>
                <a:gd name="connsiteY50" fmla="*/ 2755098 h 2936314"/>
                <a:gd name="connsiteX51" fmla="*/ 7486022 w 11867103"/>
                <a:gd name="connsiteY51" fmla="*/ 2785244 h 2936314"/>
                <a:gd name="connsiteX52" fmla="*/ 7395587 w 11867103"/>
                <a:gd name="connsiteY52" fmla="*/ 2805340 h 2936314"/>
                <a:gd name="connsiteX53" fmla="*/ 7325248 w 11867103"/>
                <a:gd name="connsiteY53" fmla="*/ 2815389 h 2936314"/>
                <a:gd name="connsiteX54" fmla="*/ 6863024 w 11867103"/>
                <a:gd name="connsiteY54" fmla="*/ 2805340 h 2936314"/>
                <a:gd name="connsiteX55" fmla="*/ 6722347 w 11867103"/>
                <a:gd name="connsiteY55" fmla="*/ 2795292 h 2936314"/>
                <a:gd name="connsiteX56" fmla="*/ 4903596 w 11867103"/>
                <a:gd name="connsiteY56" fmla="*/ 2845534 h 2936314"/>
                <a:gd name="connsiteX57" fmla="*/ 4722725 w 11867103"/>
                <a:gd name="connsiteY57" fmla="*/ 2885727 h 2936314"/>
                <a:gd name="connsiteX58" fmla="*/ 4300695 w 11867103"/>
                <a:gd name="connsiteY58" fmla="*/ 2865630 h 2936314"/>
                <a:gd name="connsiteX59" fmla="*/ 4059534 w 11867103"/>
                <a:gd name="connsiteY59" fmla="*/ 2825437 h 2936314"/>
                <a:gd name="connsiteX60" fmla="*/ 3768132 w 11867103"/>
                <a:gd name="connsiteY60" fmla="*/ 2795292 h 2936314"/>
                <a:gd name="connsiteX61" fmla="*/ 3627455 w 11867103"/>
                <a:gd name="connsiteY61" fmla="*/ 2785244 h 2936314"/>
                <a:gd name="connsiteX62" fmla="*/ 3125037 w 11867103"/>
                <a:gd name="connsiteY62" fmla="*/ 2795292 h 2936314"/>
                <a:gd name="connsiteX63" fmla="*/ 3064747 w 11867103"/>
                <a:gd name="connsiteY63" fmla="*/ 2805340 h 2936314"/>
                <a:gd name="connsiteX64" fmla="*/ 2009670 w 11867103"/>
                <a:gd name="connsiteY64" fmla="*/ 2815389 h 2936314"/>
                <a:gd name="connsiteX65" fmla="*/ 1678075 w 11867103"/>
                <a:gd name="connsiteY65" fmla="*/ 2905824 h 2936314"/>
                <a:gd name="connsiteX66" fmla="*/ 1607736 w 11867103"/>
                <a:gd name="connsiteY66" fmla="*/ 2935969 h 2936314"/>
                <a:gd name="connsiteX67" fmla="*/ 1135464 w 11867103"/>
                <a:gd name="connsiteY67" fmla="*/ 2915872 h 2936314"/>
                <a:gd name="connsiteX68" fmla="*/ 944545 w 11867103"/>
                <a:gd name="connsiteY68" fmla="*/ 2885727 h 2936314"/>
                <a:gd name="connsiteX69" fmla="*/ 723481 w 11867103"/>
                <a:gd name="connsiteY69" fmla="*/ 2845534 h 2936314"/>
                <a:gd name="connsiteX70" fmla="*/ 643095 w 11867103"/>
                <a:gd name="connsiteY70" fmla="*/ 2835485 h 2936314"/>
                <a:gd name="connsiteX71" fmla="*/ 371789 w 11867103"/>
                <a:gd name="connsiteY71" fmla="*/ 2795292 h 2936314"/>
                <a:gd name="connsiteX72" fmla="*/ 0 w 11867103"/>
                <a:gd name="connsiteY72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8521002 w 11867103"/>
                <a:gd name="connsiteY12" fmla="*/ 82237 h 2936314"/>
                <a:gd name="connsiteX13" fmla="*/ 9515789 w 11867103"/>
                <a:gd name="connsiteY13" fmla="*/ 72189 h 2936314"/>
                <a:gd name="connsiteX14" fmla="*/ 9606224 w 11867103"/>
                <a:gd name="connsiteY14" fmla="*/ 62140 h 2936314"/>
                <a:gd name="connsiteX15" fmla="*/ 9716756 w 11867103"/>
                <a:gd name="connsiteY15" fmla="*/ 52092 h 2936314"/>
                <a:gd name="connsiteX16" fmla="*/ 9797143 w 11867103"/>
                <a:gd name="connsiteY16" fmla="*/ 42044 h 2936314"/>
                <a:gd name="connsiteX17" fmla="*/ 9947868 w 11867103"/>
                <a:gd name="connsiteY17" fmla="*/ 31995 h 2936314"/>
                <a:gd name="connsiteX18" fmla="*/ 10791930 w 11867103"/>
                <a:gd name="connsiteY18" fmla="*/ 1850 h 2936314"/>
                <a:gd name="connsiteX19" fmla="*/ 11736475 w 11867103"/>
                <a:gd name="connsiteY19" fmla="*/ 21947 h 2936314"/>
                <a:gd name="connsiteX20" fmla="*/ 11766620 w 11867103"/>
                <a:gd name="connsiteY20" fmla="*/ 52092 h 2936314"/>
                <a:gd name="connsiteX21" fmla="*/ 11786717 w 11867103"/>
                <a:gd name="connsiteY21" fmla="*/ 92285 h 2936314"/>
                <a:gd name="connsiteX22" fmla="*/ 11806813 w 11867103"/>
                <a:gd name="connsiteY22" fmla="*/ 182720 h 2936314"/>
                <a:gd name="connsiteX23" fmla="*/ 11816862 w 11867103"/>
                <a:gd name="connsiteY23" fmla="*/ 222914 h 2936314"/>
                <a:gd name="connsiteX24" fmla="*/ 11826910 w 11867103"/>
                <a:gd name="connsiteY24" fmla="*/ 313349 h 2936314"/>
                <a:gd name="connsiteX25" fmla="*/ 11836958 w 11867103"/>
                <a:gd name="connsiteY25" fmla="*/ 393736 h 2936314"/>
                <a:gd name="connsiteX26" fmla="*/ 11826910 w 11867103"/>
                <a:gd name="connsiteY26" fmla="*/ 705235 h 2936314"/>
                <a:gd name="connsiteX27" fmla="*/ 11816862 w 11867103"/>
                <a:gd name="connsiteY27" fmla="*/ 765525 h 2936314"/>
                <a:gd name="connsiteX28" fmla="*/ 11806813 w 11867103"/>
                <a:gd name="connsiteY28" fmla="*/ 835863 h 2936314"/>
                <a:gd name="connsiteX29" fmla="*/ 11816862 w 11867103"/>
                <a:gd name="connsiteY29" fmla="*/ 2302923 h 2936314"/>
                <a:gd name="connsiteX30" fmla="*/ 11826910 w 11867103"/>
                <a:gd name="connsiteY30" fmla="*/ 2373261 h 2936314"/>
                <a:gd name="connsiteX31" fmla="*/ 11836958 w 11867103"/>
                <a:gd name="connsiteY31" fmla="*/ 2403406 h 2936314"/>
                <a:gd name="connsiteX32" fmla="*/ 11857055 w 11867103"/>
                <a:gd name="connsiteY32" fmla="*/ 2534035 h 2936314"/>
                <a:gd name="connsiteX33" fmla="*/ 11867103 w 11867103"/>
                <a:gd name="connsiteY33" fmla="*/ 2574228 h 2936314"/>
                <a:gd name="connsiteX34" fmla="*/ 11857055 w 11867103"/>
                <a:gd name="connsiteY34" fmla="*/ 2805340 h 2936314"/>
                <a:gd name="connsiteX35" fmla="*/ 11836958 w 11867103"/>
                <a:gd name="connsiteY35" fmla="*/ 2835485 h 2936314"/>
                <a:gd name="connsiteX36" fmla="*/ 11033090 w 11867103"/>
                <a:gd name="connsiteY36" fmla="*/ 2825437 h 2936314"/>
                <a:gd name="connsiteX37" fmla="*/ 10621108 w 11867103"/>
                <a:gd name="connsiteY37" fmla="*/ 2815389 h 2936314"/>
                <a:gd name="connsiteX38" fmla="*/ 10128739 w 11867103"/>
                <a:gd name="connsiteY38" fmla="*/ 2825437 h 2936314"/>
                <a:gd name="connsiteX39" fmla="*/ 10048352 w 11867103"/>
                <a:gd name="connsiteY39" fmla="*/ 2835485 h 2936314"/>
                <a:gd name="connsiteX40" fmla="*/ 9555982 w 11867103"/>
                <a:gd name="connsiteY40" fmla="*/ 2825437 h 2936314"/>
                <a:gd name="connsiteX41" fmla="*/ 9445451 w 11867103"/>
                <a:gd name="connsiteY41" fmla="*/ 2815389 h 2936314"/>
                <a:gd name="connsiteX42" fmla="*/ 9415306 w 11867103"/>
                <a:gd name="connsiteY42" fmla="*/ 2795292 h 2936314"/>
                <a:gd name="connsiteX43" fmla="*/ 9204290 w 11867103"/>
                <a:gd name="connsiteY43" fmla="*/ 2775195 h 2936314"/>
                <a:gd name="connsiteX44" fmla="*/ 9073662 w 11867103"/>
                <a:gd name="connsiteY44" fmla="*/ 2755098 h 2936314"/>
                <a:gd name="connsiteX45" fmla="*/ 8812404 w 11867103"/>
                <a:gd name="connsiteY45" fmla="*/ 2745050 h 2936314"/>
                <a:gd name="connsiteX46" fmla="*/ 8400422 w 11867103"/>
                <a:gd name="connsiteY46" fmla="*/ 2735002 h 2936314"/>
                <a:gd name="connsiteX47" fmla="*/ 8269793 w 11867103"/>
                <a:gd name="connsiteY47" fmla="*/ 2724953 h 2936314"/>
                <a:gd name="connsiteX48" fmla="*/ 7797521 w 11867103"/>
                <a:gd name="connsiteY48" fmla="*/ 2745050 h 2936314"/>
                <a:gd name="connsiteX49" fmla="*/ 7717134 w 11867103"/>
                <a:gd name="connsiteY49" fmla="*/ 2755098 h 2936314"/>
                <a:gd name="connsiteX50" fmla="*/ 7486022 w 11867103"/>
                <a:gd name="connsiteY50" fmla="*/ 2785244 h 2936314"/>
                <a:gd name="connsiteX51" fmla="*/ 7395587 w 11867103"/>
                <a:gd name="connsiteY51" fmla="*/ 2805340 h 2936314"/>
                <a:gd name="connsiteX52" fmla="*/ 7325248 w 11867103"/>
                <a:gd name="connsiteY52" fmla="*/ 2815389 h 2936314"/>
                <a:gd name="connsiteX53" fmla="*/ 6863024 w 11867103"/>
                <a:gd name="connsiteY53" fmla="*/ 2805340 h 2936314"/>
                <a:gd name="connsiteX54" fmla="*/ 6722347 w 11867103"/>
                <a:gd name="connsiteY54" fmla="*/ 2795292 h 2936314"/>
                <a:gd name="connsiteX55" fmla="*/ 4903596 w 11867103"/>
                <a:gd name="connsiteY55" fmla="*/ 2845534 h 2936314"/>
                <a:gd name="connsiteX56" fmla="*/ 4722725 w 11867103"/>
                <a:gd name="connsiteY56" fmla="*/ 2885727 h 2936314"/>
                <a:gd name="connsiteX57" fmla="*/ 4300695 w 11867103"/>
                <a:gd name="connsiteY57" fmla="*/ 2865630 h 2936314"/>
                <a:gd name="connsiteX58" fmla="*/ 4059534 w 11867103"/>
                <a:gd name="connsiteY58" fmla="*/ 2825437 h 2936314"/>
                <a:gd name="connsiteX59" fmla="*/ 3768132 w 11867103"/>
                <a:gd name="connsiteY59" fmla="*/ 2795292 h 2936314"/>
                <a:gd name="connsiteX60" fmla="*/ 3627455 w 11867103"/>
                <a:gd name="connsiteY60" fmla="*/ 2785244 h 2936314"/>
                <a:gd name="connsiteX61" fmla="*/ 3125037 w 11867103"/>
                <a:gd name="connsiteY61" fmla="*/ 2795292 h 2936314"/>
                <a:gd name="connsiteX62" fmla="*/ 3064747 w 11867103"/>
                <a:gd name="connsiteY62" fmla="*/ 2805340 h 2936314"/>
                <a:gd name="connsiteX63" fmla="*/ 2009670 w 11867103"/>
                <a:gd name="connsiteY63" fmla="*/ 2815389 h 2936314"/>
                <a:gd name="connsiteX64" fmla="*/ 1678075 w 11867103"/>
                <a:gd name="connsiteY64" fmla="*/ 2905824 h 2936314"/>
                <a:gd name="connsiteX65" fmla="*/ 1607736 w 11867103"/>
                <a:gd name="connsiteY65" fmla="*/ 2935969 h 2936314"/>
                <a:gd name="connsiteX66" fmla="*/ 1135464 w 11867103"/>
                <a:gd name="connsiteY66" fmla="*/ 2915872 h 2936314"/>
                <a:gd name="connsiteX67" fmla="*/ 944545 w 11867103"/>
                <a:gd name="connsiteY67" fmla="*/ 2885727 h 2936314"/>
                <a:gd name="connsiteX68" fmla="*/ 723481 w 11867103"/>
                <a:gd name="connsiteY68" fmla="*/ 2845534 h 2936314"/>
                <a:gd name="connsiteX69" fmla="*/ 643095 w 11867103"/>
                <a:gd name="connsiteY69" fmla="*/ 2835485 h 2936314"/>
                <a:gd name="connsiteX70" fmla="*/ 371789 w 11867103"/>
                <a:gd name="connsiteY70" fmla="*/ 2795292 h 2936314"/>
                <a:gd name="connsiteX71" fmla="*/ 0 w 11867103"/>
                <a:gd name="connsiteY71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515789 w 11867103"/>
                <a:gd name="connsiteY12" fmla="*/ 72189 h 2936314"/>
                <a:gd name="connsiteX13" fmla="*/ 9606224 w 11867103"/>
                <a:gd name="connsiteY13" fmla="*/ 62140 h 2936314"/>
                <a:gd name="connsiteX14" fmla="*/ 9716756 w 11867103"/>
                <a:gd name="connsiteY14" fmla="*/ 52092 h 2936314"/>
                <a:gd name="connsiteX15" fmla="*/ 9797143 w 11867103"/>
                <a:gd name="connsiteY15" fmla="*/ 42044 h 2936314"/>
                <a:gd name="connsiteX16" fmla="*/ 9947868 w 11867103"/>
                <a:gd name="connsiteY16" fmla="*/ 31995 h 2936314"/>
                <a:gd name="connsiteX17" fmla="*/ 10791930 w 11867103"/>
                <a:gd name="connsiteY17" fmla="*/ 1850 h 2936314"/>
                <a:gd name="connsiteX18" fmla="*/ 11736475 w 11867103"/>
                <a:gd name="connsiteY18" fmla="*/ 21947 h 2936314"/>
                <a:gd name="connsiteX19" fmla="*/ 11766620 w 11867103"/>
                <a:gd name="connsiteY19" fmla="*/ 52092 h 2936314"/>
                <a:gd name="connsiteX20" fmla="*/ 11786717 w 11867103"/>
                <a:gd name="connsiteY20" fmla="*/ 92285 h 2936314"/>
                <a:gd name="connsiteX21" fmla="*/ 11806813 w 11867103"/>
                <a:gd name="connsiteY21" fmla="*/ 182720 h 2936314"/>
                <a:gd name="connsiteX22" fmla="*/ 11816862 w 11867103"/>
                <a:gd name="connsiteY22" fmla="*/ 222914 h 2936314"/>
                <a:gd name="connsiteX23" fmla="*/ 11826910 w 11867103"/>
                <a:gd name="connsiteY23" fmla="*/ 313349 h 2936314"/>
                <a:gd name="connsiteX24" fmla="*/ 11836958 w 11867103"/>
                <a:gd name="connsiteY24" fmla="*/ 393736 h 2936314"/>
                <a:gd name="connsiteX25" fmla="*/ 11826910 w 11867103"/>
                <a:gd name="connsiteY25" fmla="*/ 705235 h 2936314"/>
                <a:gd name="connsiteX26" fmla="*/ 11816862 w 11867103"/>
                <a:gd name="connsiteY26" fmla="*/ 765525 h 2936314"/>
                <a:gd name="connsiteX27" fmla="*/ 11806813 w 11867103"/>
                <a:gd name="connsiteY27" fmla="*/ 835863 h 2936314"/>
                <a:gd name="connsiteX28" fmla="*/ 11816862 w 11867103"/>
                <a:gd name="connsiteY28" fmla="*/ 2302923 h 2936314"/>
                <a:gd name="connsiteX29" fmla="*/ 11826910 w 11867103"/>
                <a:gd name="connsiteY29" fmla="*/ 2373261 h 2936314"/>
                <a:gd name="connsiteX30" fmla="*/ 11836958 w 11867103"/>
                <a:gd name="connsiteY30" fmla="*/ 2403406 h 2936314"/>
                <a:gd name="connsiteX31" fmla="*/ 11857055 w 11867103"/>
                <a:gd name="connsiteY31" fmla="*/ 2534035 h 2936314"/>
                <a:gd name="connsiteX32" fmla="*/ 11867103 w 11867103"/>
                <a:gd name="connsiteY32" fmla="*/ 2574228 h 2936314"/>
                <a:gd name="connsiteX33" fmla="*/ 11857055 w 11867103"/>
                <a:gd name="connsiteY33" fmla="*/ 2805340 h 2936314"/>
                <a:gd name="connsiteX34" fmla="*/ 11836958 w 11867103"/>
                <a:gd name="connsiteY34" fmla="*/ 2835485 h 2936314"/>
                <a:gd name="connsiteX35" fmla="*/ 11033090 w 11867103"/>
                <a:gd name="connsiteY35" fmla="*/ 2825437 h 2936314"/>
                <a:gd name="connsiteX36" fmla="*/ 10621108 w 11867103"/>
                <a:gd name="connsiteY36" fmla="*/ 2815389 h 2936314"/>
                <a:gd name="connsiteX37" fmla="*/ 10128739 w 11867103"/>
                <a:gd name="connsiteY37" fmla="*/ 2825437 h 2936314"/>
                <a:gd name="connsiteX38" fmla="*/ 10048352 w 11867103"/>
                <a:gd name="connsiteY38" fmla="*/ 2835485 h 2936314"/>
                <a:gd name="connsiteX39" fmla="*/ 9555982 w 11867103"/>
                <a:gd name="connsiteY39" fmla="*/ 2825437 h 2936314"/>
                <a:gd name="connsiteX40" fmla="*/ 9445451 w 11867103"/>
                <a:gd name="connsiteY40" fmla="*/ 2815389 h 2936314"/>
                <a:gd name="connsiteX41" fmla="*/ 9415306 w 11867103"/>
                <a:gd name="connsiteY41" fmla="*/ 2795292 h 2936314"/>
                <a:gd name="connsiteX42" fmla="*/ 9204290 w 11867103"/>
                <a:gd name="connsiteY42" fmla="*/ 2775195 h 2936314"/>
                <a:gd name="connsiteX43" fmla="*/ 9073662 w 11867103"/>
                <a:gd name="connsiteY43" fmla="*/ 2755098 h 2936314"/>
                <a:gd name="connsiteX44" fmla="*/ 8812404 w 11867103"/>
                <a:gd name="connsiteY44" fmla="*/ 2745050 h 2936314"/>
                <a:gd name="connsiteX45" fmla="*/ 8400422 w 11867103"/>
                <a:gd name="connsiteY45" fmla="*/ 2735002 h 2936314"/>
                <a:gd name="connsiteX46" fmla="*/ 8269793 w 11867103"/>
                <a:gd name="connsiteY46" fmla="*/ 2724953 h 2936314"/>
                <a:gd name="connsiteX47" fmla="*/ 7797521 w 11867103"/>
                <a:gd name="connsiteY47" fmla="*/ 2745050 h 2936314"/>
                <a:gd name="connsiteX48" fmla="*/ 7717134 w 11867103"/>
                <a:gd name="connsiteY48" fmla="*/ 2755098 h 2936314"/>
                <a:gd name="connsiteX49" fmla="*/ 7486022 w 11867103"/>
                <a:gd name="connsiteY49" fmla="*/ 2785244 h 2936314"/>
                <a:gd name="connsiteX50" fmla="*/ 7395587 w 11867103"/>
                <a:gd name="connsiteY50" fmla="*/ 2805340 h 2936314"/>
                <a:gd name="connsiteX51" fmla="*/ 7325248 w 11867103"/>
                <a:gd name="connsiteY51" fmla="*/ 2815389 h 2936314"/>
                <a:gd name="connsiteX52" fmla="*/ 6863024 w 11867103"/>
                <a:gd name="connsiteY52" fmla="*/ 2805340 h 2936314"/>
                <a:gd name="connsiteX53" fmla="*/ 6722347 w 11867103"/>
                <a:gd name="connsiteY53" fmla="*/ 2795292 h 2936314"/>
                <a:gd name="connsiteX54" fmla="*/ 4903596 w 11867103"/>
                <a:gd name="connsiteY54" fmla="*/ 2845534 h 2936314"/>
                <a:gd name="connsiteX55" fmla="*/ 4722725 w 11867103"/>
                <a:gd name="connsiteY55" fmla="*/ 2885727 h 2936314"/>
                <a:gd name="connsiteX56" fmla="*/ 4300695 w 11867103"/>
                <a:gd name="connsiteY56" fmla="*/ 2865630 h 2936314"/>
                <a:gd name="connsiteX57" fmla="*/ 4059534 w 11867103"/>
                <a:gd name="connsiteY57" fmla="*/ 2825437 h 2936314"/>
                <a:gd name="connsiteX58" fmla="*/ 3768132 w 11867103"/>
                <a:gd name="connsiteY58" fmla="*/ 2795292 h 2936314"/>
                <a:gd name="connsiteX59" fmla="*/ 3627455 w 11867103"/>
                <a:gd name="connsiteY59" fmla="*/ 2785244 h 2936314"/>
                <a:gd name="connsiteX60" fmla="*/ 3125037 w 11867103"/>
                <a:gd name="connsiteY60" fmla="*/ 2795292 h 2936314"/>
                <a:gd name="connsiteX61" fmla="*/ 3064747 w 11867103"/>
                <a:gd name="connsiteY61" fmla="*/ 2805340 h 2936314"/>
                <a:gd name="connsiteX62" fmla="*/ 2009670 w 11867103"/>
                <a:gd name="connsiteY62" fmla="*/ 2815389 h 2936314"/>
                <a:gd name="connsiteX63" fmla="*/ 1678075 w 11867103"/>
                <a:gd name="connsiteY63" fmla="*/ 2905824 h 2936314"/>
                <a:gd name="connsiteX64" fmla="*/ 1607736 w 11867103"/>
                <a:gd name="connsiteY64" fmla="*/ 2935969 h 2936314"/>
                <a:gd name="connsiteX65" fmla="*/ 1135464 w 11867103"/>
                <a:gd name="connsiteY65" fmla="*/ 2915872 h 2936314"/>
                <a:gd name="connsiteX66" fmla="*/ 944545 w 11867103"/>
                <a:gd name="connsiteY66" fmla="*/ 2885727 h 2936314"/>
                <a:gd name="connsiteX67" fmla="*/ 723481 w 11867103"/>
                <a:gd name="connsiteY67" fmla="*/ 2845534 h 2936314"/>
                <a:gd name="connsiteX68" fmla="*/ 643095 w 11867103"/>
                <a:gd name="connsiteY68" fmla="*/ 2835485 h 2936314"/>
                <a:gd name="connsiteX69" fmla="*/ 371789 w 11867103"/>
                <a:gd name="connsiteY69" fmla="*/ 2795292 h 2936314"/>
                <a:gd name="connsiteX70" fmla="*/ 0 w 11867103"/>
                <a:gd name="connsiteY70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716756 w 11867103"/>
                <a:gd name="connsiteY13" fmla="*/ 52092 h 2936314"/>
                <a:gd name="connsiteX14" fmla="*/ 9797143 w 11867103"/>
                <a:gd name="connsiteY14" fmla="*/ 42044 h 2936314"/>
                <a:gd name="connsiteX15" fmla="*/ 9947868 w 11867103"/>
                <a:gd name="connsiteY15" fmla="*/ 31995 h 2936314"/>
                <a:gd name="connsiteX16" fmla="*/ 10791930 w 11867103"/>
                <a:gd name="connsiteY16" fmla="*/ 1850 h 2936314"/>
                <a:gd name="connsiteX17" fmla="*/ 11736475 w 11867103"/>
                <a:gd name="connsiteY17" fmla="*/ 21947 h 2936314"/>
                <a:gd name="connsiteX18" fmla="*/ 11766620 w 11867103"/>
                <a:gd name="connsiteY18" fmla="*/ 52092 h 2936314"/>
                <a:gd name="connsiteX19" fmla="*/ 11786717 w 11867103"/>
                <a:gd name="connsiteY19" fmla="*/ 92285 h 2936314"/>
                <a:gd name="connsiteX20" fmla="*/ 11806813 w 11867103"/>
                <a:gd name="connsiteY20" fmla="*/ 182720 h 2936314"/>
                <a:gd name="connsiteX21" fmla="*/ 11816862 w 11867103"/>
                <a:gd name="connsiteY21" fmla="*/ 222914 h 2936314"/>
                <a:gd name="connsiteX22" fmla="*/ 11826910 w 11867103"/>
                <a:gd name="connsiteY22" fmla="*/ 313349 h 2936314"/>
                <a:gd name="connsiteX23" fmla="*/ 11836958 w 11867103"/>
                <a:gd name="connsiteY23" fmla="*/ 393736 h 2936314"/>
                <a:gd name="connsiteX24" fmla="*/ 11826910 w 11867103"/>
                <a:gd name="connsiteY24" fmla="*/ 705235 h 2936314"/>
                <a:gd name="connsiteX25" fmla="*/ 11816862 w 11867103"/>
                <a:gd name="connsiteY25" fmla="*/ 765525 h 2936314"/>
                <a:gd name="connsiteX26" fmla="*/ 11806813 w 11867103"/>
                <a:gd name="connsiteY26" fmla="*/ 835863 h 2936314"/>
                <a:gd name="connsiteX27" fmla="*/ 11816862 w 11867103"/>
                <a:gd name="connsiteY27" fmla="*/ 2302923 h 2936314"/>
                <a:gd name="connsiteX28" fmla="*/ 11826910 w 11867103"/>
                <a:gd name="connsiteY28" fmla="*/ 2373261 h 2936314"/>
                <a:gd name="connsiteX29" fmla="*/ 11836958 w 11867103"/>
                <a:gd name="connsiteY29" fmla="*/ 2403406 h 2936314"/>
                <a:gd name="connsiteX30" fmla="*/ 11857055 w 11867103"/>
                <a:gd name="connsiteY30" fmla="*/ 2534035 h 2936314"/>
                <a:gd name="connsiteX31" fmla="*/ 11867103 w 11867103"/>
                <a:gd name="connsiteY31" fmla="*/ 2574228 h 2936314"/>
                <a:gd name="connsiteX32" fmla="*/ 11857055 w 11867103"/>
                <a:gd name="connsiteY32" fmla="*/ 2805340 h 2936314"/>
                <a:gd name="connsiteX33" fmla="*/ 11836958 w 11867103"/>
                <a:gd name="connsiteY33" fmla="*/ 2835485 h 2936314"/>
                <a:gd name="connsiteX34" fmla="*/ 11033090 w 11867103"/>
                <a:gd name="connsiteY34" fmla="*/ 2825437 h 2936314"/>
                <a:gd name="connsiteX35" fmla="*/ 10621108 w 11867103"/>
                <a:gd name="connsiteY35" fmla="*/ 2815389 h 2936314"/>
                <a:gd name="connsiteX36" fmla="*/ 10128739 w 11867103"/>
                <a:gd name="connsiteY36" fmla="*/ 2825437 h 2936314"/>
                <a:gd name="connsiteX37" fmla="*/ 10048352 w 11867103"/>
                <a:gd name="connsiteY37" fmla="*/ 2835485 h 2936314"/>
                <a:gd name="connsiteX38" fmla="*/ 9555982 w 11867103"/>
                <a:gd name="connsiteY38" fmla="*/ 2825437 h 2936314"/>
                <a:gd name="connsiteX39" fmla="*/ 9445451 w 11867103"/>
                <a:gd name="connsiteY39" fmla="*/ 2815389 h 2936314"/>
                <a:gd name="connsiteX40" fmla="*/ 9415306 w 11867103"/>
                <a:gd name="connsiteY40" fmla="*/ 2795292 h 2936314"/>
                <a:gd name="connsiteX41" fmla="*/ 9204290 w 11867103"/>
                <a:gd name="connsiteY41" fmla="*/ 2775195 h 2936314"/>
                <a:gd name="connsiteX42" fmla="*/ 9073662 w 11867103"/>
                <a:gd name="connsiteY42" fmla="*/ 2755098 h 2936314"/>
                <a:gd name="connsiteX43" fmla="*/ 8812404 w 11867103"/>
                <a:gd name="connsiteY43" fmla="*/ 2745050 h 2936314"/>
                <a:gd name="connsiteX44" fmla="*/ 8400422 w 11867103"/>
                <a:gd name="connsiteY44" fmla="*/ 2735002 h 2936314"/>
                <a:gd name="connsiteX45" fmla="*/ 8269793 w 11867103"/>
                <a:gd name="connsiteY45" fmla="*/ 2724953 h 2936314"/>
                <a:gd name="connsiteX46" fmla="*/ 7797521 w 11867103"/>
                <a:gd name="connsiteY46" fmla="*/ 2745050 h 2936314"/>
                <a:gd name="connsiteX47" fmla="*/ 7717134 w 11867103"/>
                <a:gd name="connsiteY47" fmla="*/ 2755098 h 2936314"/>
                <a:gd name="connsiteX48" fmla="*/ 7486022 w 11867103"/>
                <a:gd name="connsiteY48" fmla="*/ 2785244 h 2936314"/>
                <a:gd name="connsiteX49" fmla="*/ 7395587 w 11867103"/>
                <a:gd name="connsiteY49" fmla="*/ 2805340 h 2936314"/>
                <a:gd name="connsiteX50" fmla="*/ 7325248 w 11867103"/>
                <a:gd name="connsiteY50" fmla="*/ 2815389 h 2936314"/>
                <a:gd name="connsiteX51" fmla="*/ 6863024 w 11867103"/>
                <a:gd name="connsiteY51" fmla="*/ 2805340 h 2936314"/>
                <a:gd name="connsiteX52" fmla="*/ 6722347 w 11867103"/>
                <a:gd name="connsiteY52" fmla="*/ 2795292 h 2936314"/>
                <a:gd name="connsiteX53" fmla="*/ 4903596 w 11867103"/>
                <a:gd name="connsiteY53" fmla="*/ 2845534 h 2936314"/>
                <a:gd name="connsiteX54" fmla="*/ 4722725 w 11867103"/>
                <a:gd name="connsiteY54" fmla="*/ 2885727 h 2936314"/>
                <a:gd name="connsiteX55" fmla="*/ 4300695 w 11867103"/>
                <a:gd name="connsiteY55" fmla="*/ 2865630 h 2936314"/>
                <a:gd name="connsiteX56" fmla="*/ 4059534 w 11867103"/>
                <a:gd name="connsiteY56" fmla="*/ 2825437 h 2936314"/>
                <a:gd name="connsiteX57" fmla="*/ 3768132 w 11867103"/>
                <a:gd name="connsiteY57" fmla="*/ 2795292 h 2936314"/>
                <a:gd name="connsiteX58" fmla="*/ 3627455 w 11867103"/>
                <a:gd name="connsiteY58" fmla="*/ 2785244 h 2936314"/>
                <a:gd name="connsiteX59" fmla="*/ 3125037 w 11867103"/>
                <a:gd name="connsiteY59" fmla="*/ 2795292 h 2936314"/>
                <a:gd name="connsiteX60" fmla="*/ 3064747 w 11867103"/>
                <a:gd name="connsiteY60" fmla="*/ 2805340 h 2936314"/>
                <a:gd name="connsiteX61" fmla="*/ 2009670 w 11867103"/>
                <a:gd name="connsiteY61" fmla="*/ 2815389 h 2936314"/>
                <a:gd name="connsiteX62" fmla="*/ 1678075 w 11867103"/>
                <a:gd name="connsiteY62" fmla="*/ 2905824 h 2936314"/>
                <a:gd name="connsiteX63" fmla="*/ 1607736 w 11867103"/>
                <a:gd name="connsiteY63" fmla="*/ 2935969 h 2936314"/>
                <a:gd name="connsiteX64" fmla="*/ 1135464 w 11867103"/>
                <a:gd name="connsiteY64" fmla="*/ 2915872 h 2936314"/>
                <a:gd name="connsiteX65" fmla="*/ 944545 w 11867103"/>
                <a:gd name="connsiteY65" fmla="*/ 2885727 h 2936314"/>
                <a:gd name="connsiteX66" fmla="*/ 723481 w 11867103"/>
                <a:gd name="connsiteY66" fmla="*/ 2845534 h 2936314"/>
                <a:gd name="connsiteX67" fmla="*/ 643095 w 11867103"/>
                <a:gd name="connsiteY67" fmla="*/ 2835485 h 2936314"/>
                <a:gd name="connsiteX68" fmla="*/ 371789 w 11867103"/>
                <a:gd name="connsiteY68" fmla="*/ 2795292 h 2936314"/>
                <a:gd name="connsiteX69" fmla="*/ 0 w 11867103"/>
                <a:gd name="connsiteY69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797143 w 11867103"/>
                <a:gd name="connsiteY13" fmla="*/ 42044 h 2936314"/>
                <a:gd name="connsiteX14" fmla="*/ 9947868 w 11867103"/>
                <a:gd name="connsiteY14" fmla="*/ 31995 h 2936314"/>
                <a:gd name="connsiteX15" fmla="*/ 10791930 w 11867103"/>
                <a:gd name="connsiteY15" fmla="*/ 1850 h 2936314"/>
                <a:gd name="connsiteX16" fmla="*/ 11736475 w 11867103"/>
                <a:gd name="connsiteY16" fmla="*/ 21947 h 2936314"/>
                <a:gd name="connsiteX17" fmla="*/ 11766620 w 11867103"/>
                <a:gd name="connsiteY17" fmla="*/ 52092 h 2936314"/>
                <a:gd name="connsiteX18" fmla="*/ 11786717 w 11867103"/>
                <a:gd name="connsiteY18" fmla="*/ 92285 h 2936314"/>
                <a:gd name="connsiteX19" fmla="*/ 11806813 w 11867103"/>
                <a:gd name="connsiteY19" fmla="*/ 182720 h 2936314"/>
                <a:gd name="connsiteX20" fmla="*/ 11816862 w 11867103"/>
                <a:gd name="connsiteY20" fmla="*/ 222914 h 2936314"/>
                <a:gd name="connsiteX21" fmla="*/ 11826910 w 11867103"/>
                <a:gd name="connsiteY21" fmla="*/ 313349 h 2936314"/>
                <a:gd name="connsiteX22" fmla="*/ 11836958 w 11867103"/>
                <a:gd name="connsiteY22" fmla="*/ 393736 h 2936314"/>
                <a:gd name="connsiteX23" fmla="*/ 11826910 w 11867103"/>
                <a:gd name="connsiteY23" fmla="*/ 705235 h 2936314"/>
                <a:gd name="connsiteX24" fmla="*/ 11816862 w 11867103"/>
                <a:gd name="connsiteY24" fmla="*/ 765525 h 2936314"/>
                <a:gd name="connsiteX25" fmla="*/ 11806813 w 11867103"/>
                <a:gd name="connsiteY25" fmla="*/ 835863 h 2936314"/>
                <a:gd name="connsiteX26" fmla="*/ 11816862 w 11867103"/>
                <a:gd name="connsiteY26" fmla="*/ 2302923 h 2936314"/>
                <a:gd name="connsiteX27" fmla="*/ 11826910 w 11867103"/>
                <a:gd name="connsiteY27" fmla="*/ 2373261 h 2936314"/>
                <a:gd name="connsiteX28" fmla="*/ 11836958 w 11867103"/>
                <a:gd name="connsiteY28" fmla="*/ 2403406 h 2936314"/>
                <a:gd name="connsiteX29" fmla="*/ 11857055 w 11867103"/>
                <a:gd name="connsiteY29" fmla="*/ 2534035 h 2936314"/>
                <a:gd name="connsiteX30" fmla="*/ 11867103 w 11867103"/>
                <a:gd name="connsiteY30" fmla="*/ 2574228 h 2936314"/>
                <a:gd name="connsiteX31" fmla="*/ 11857055 w 11867103"/>
                <a:gd name="connsiteY31" fmla="*/ 2805340 h 2936314"/>
                <a:gd name="connsiteX32" fmla="*/ 11836958 w 11867103"/>
                <a:gd name="connsiteY32" fmla="*/ 2835485 h 2936314"/>
                <a:gd name="connsiteX33" fmla="*/ 11033090 w 11867103"/>
                <a:gd name="connsiteY33" fmla="*/ 2825437 h 2936314"/>
                <a:gd name="connsiteX34" fmla="*/ 10621108 w 11867103"/>
                <a:gd name="connsiteY34" fmla="*/ 2815389 h 2936314"/>
                <a:gd name="connsiteX35" fmla="*/ 10128739 w 11867103"/>
                <a:gd name="connsiteY35" fmla="*/ 2825437 h 2936314"/>
                <a:gd name="connsiteX36" fmla="*/ 10048352 w 11867103"/>
                <a:gd name="connsiteY36" fmla="*/ 2835485 h 2936314"/>
                <a:gd name="connsiteX37" fmla="*/ 9555982 w 11867103"/>
                <a:gd name="connsiteY37" fmla="*/ 2825437 h 2936314"/>
                <a:gd name="connsiteX38" fmla="*/ 9445451 w 11867103"/>
                <a:gd name="connsiteY38" fmla="*/ 2815389 h 2936314"/>
                <a:gd name="connsiteX39" fmla="*/ 9415306 w 11867103"/>
                <a:gd name="connsiteY39" fmla="*/ 2795292 h 2936314"/>
                <a:gd name="connsiteX40" fmla="*/ 9204290 w 11867103"/>
                <a:gd name="connsiteY40" fmla="*/ 2775195 h 2936314"/>
                <a:gd name="connsiteX41" fmla="*/ 9073662 w 11867103"/>
                <a:gd name="connsiteY41" fmla="*/ 2755098 h 2936314"/>
                <a:gd name="connsiteX42" fmla="*/ 8812404 w 11867103"/>
                <a:gd name="connsiteY42" fmla="*/ 2745050 h 2936314"/>
                <a:gd name="connsiteX43" fmla="*/ 8400422 w 11867103"/>
                <a:gd name="connsiteY43" fmla="*/ 2735002 h 2936314"/>
                <a:gd name="connsiteX44" fmla="*/ 8269793 w 11867103"/>
                <a:gd name="connsiteY44" fmla="*/ 2724953 h 2936314"/>
                <a:gd name="connsiteX45" fmla="*/ 7797521 w 11867103"/>
                <a:gd name="connsiteY45" fmla="*/ 2745050 h 2936314"/>
                <a:gd name="connsiteX46" fmla="*/ 7717134 w 11867103"/>
                <a:gd name="connsiteY46" fmla="*/ 2755098 h 2936314"/>
                <a:gd name="connsiteX47" fmla="*/ 7486022 w 11867103"/>
                <a:gd name="connsiteY47" fmla="*/ 2785244 h 2936314"/>
                <a:gd name="connsiteX48" fmla="*/ 7395587 w 11867103"/>
                <a:gd name="connsiteY48" fmla="*/ 2805340 h 2936314"/>
                <a:gd name="connsiteX49" fmla="*/ 7325248 w 11867103"/>
                <a:gd name="connsiteY49" fmla="*/ 2815389 h 2936314"/>
                <a:gd name="connsiteX50" fmla="*/ 6863024 w 11867103"/>
                <a:gd name="connsiteY50" fmla="*/ 2805340 h 2936314"/>
                <a:gd name="connsiteX51" fmla="*/ 6722347 w 11867103"/>
                <a:gd name="connsiteY51" fmla="*/ 2795292 h 2936314"/>
                <a:gd name="connsiteX52" fmla="*/ 4903596 w 11867103"/>
                <a:gd name="connsiteY52" fmla="*/ 2845534 h 2936314"/>
                <a:gd name="connsiteX53" fmla="*/ 4722725 w 11867103"/>
                <a:gd name="connsiteY53" fmla="*/ 2885727 h 2936314"/>
                <a:gd name="connsiteX54" fmla="*/ 4300695 w 11867103"/>
                <a:gd name="connsiteY54" fmla="*/ 2865630 h 2936314"/>
                <a:gd name="connsiteX55" fmla="*/ 4059534 w 11867103"/>
                <a:gd name="connsiteY55" fmla="*/ 2825437 h 2936314"/>
                <a:gd name="connsiteX56" fmla="*/ 3768132 w 11867103"/>
                <a:gd name="connsiteY56" fmla="*/ 2795292 h 2936314"/>
                <a:gd name="connsiteX57" fmla="*/ 3627455 w 11867103"/>
                <a:gd name="connsiteY57" fmla="*/ 2785244 h 2936314"/>
                <a:gd name="connsiteX58" fmla="*/ 3125037 w 11867103"/>
                <a:gd name="connsiteY58" fmla="*/ 2795292 h 2936314"/>
                <a:gd name="connsiteX59" fmla="*/ 3064747 w 11867103"/>
                <a:gd name="connsiteY59" fmla="*/ 2805340 h 2936314"/>
                <a:gd name="connsiteX60" fmla="*/ 2009670 w 11867103"/>
                <a:gd name="connsiteY60" fmla="*/ 2815389 h 2936314"/>
                <a:gd name="connsiteX61" fmla="*/ 1678075 w 11867103"/>
                <a:gd name="connsiteY61" fmla="*/ 2905824 h 2936314"/>
                <a:gd name="connsiteX62" fmla="*/ 1607736 w 11867103"/>
                <a:gd name="connsiteY62" fmla="*/ 2935969 h 2936314"/>
                <a:gd name="connsiteX63" fmla="*/ 1135464 w 11867103"/>
                <a:gd name="connsiteY63" fmla="*/ 2915872 h 2936314"/>
                <a:gd name="connsiteX64" fmla="*/ 944545 w 11867103"/>
                <a:gd name="connsiteY64" fmla="*/ 2885727 h 2936314"/>
                <a:gd name="connsiteX65" fmla="*/ 723481 w 11867103"/>
                <a:gd name="connsiteY65" fmla="*/ 2845534 h 2936314"/>
                <a:gd name="connsiteX66" fmla="*/ 643095 w 11867103"/>
                <a:gd name="connsiteY66" fmla="*/ 2835485 h 2936314"/>
                <a:gd name="connsiteX67" fmla="*/ 371789 w 11867103"/>
                <a:gd name="connsiteY67" fmla="*/ 2795292 h 2936314"/>
                <a:gd name="connsiteX68" fmla="*/ 0 w 11867103"/>
                <a:gd name="connsiteY68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16862 w 11867103"/>
                <a:gd name="connsiteY19" fmla="*/ 222914 h 2936314"/>
                <a:gd name="connsiteX20" fmla="*/ 11826910 w 11867103"/>
                <a:gd name="connsiteY20" fmla="*/ 313349 h 2936314"/>
                <a:gd name="connsiteX21" fmla="*/ 11836958 w 11867103"/>
                <a:gd name="connsiteY21" fmla="*/ 393736 h 2936314"/>
                <a:gd name="connsiteX22" fmla="*/ 11826910 w 11867103"/>
                <a:gd name="connsiteY22" fmla="*/ 705235 h 2936314"/>
                <a:gd name="connsiteX23" fmla="*/ 11816862 w 11867103"/>
                <a:gd name="connsiteY23" fmla="*/ 765525 h 2936314"/>
                <a:gd name="connsiteX24" fmla="*/ 11806813 w 11867103"/>
                <a:gd name="connsiteY24" fmla="*/ 835863 h 2936314"/>
                <a:gd name="connsiteX25" fmla="*/ 11816862 w 11867103"/>
                <a:gd name="connsiteY25" fmla="*/ 2302923 h 2936314"/>
                <a:gd name="connsiteX26" fmla="*/ 11826910 w 11867103"/>
                <a:gd name="connsiteY26" fmla="*/ 2373261 h 2936314"/>
                <a:gd name="connsiteX27" fmla="*/ 11836958 w 11867103"/>
                <a:gd name="connsiteY27" fmla="*/ 2403406 h 2936314"/>
                <a:gd name="connsiteX28" fmla="*/ 11857055 w 11867103"/>
                <a:gd name="connsiteY28" fmla="*/ 2534035 h 2936314"/>
                <a:gd name="connsiteX29" fmla="*/ 11867103 w 11867103"/>
                <a:gd name="connsiteY29" fmla="*/ 2574228 h 2936314"/>
                <a:gd name="connsiteX30" fmla="*/ 11857055 w 11867103"/>
                <a:gd name="connsiteY30" fmla="*/ 2805340 h 2936314"/>
                <a:gd name="connsiteX31" fmla="*/ 11836958 w 11867103"/>
                <a:gd name="connsiteY31" fmla="*/ 2835485 h 2936314"/>
                <a:gd name="connsiteX32" fmla="*/ 11033090 w 11867103"/>
                <a:gd name="connsiteY32" fmla="*/ 2825437 h 2936314"/>
                <a:gd name="connsiteX33" fmla="*/ 10621108 w 11867103"/>
                <a:gd name="connsiteY33" fmla="*/ 2815389 h 2936314"/>
                <a:gd name="connsiteX34" fmla="*/ 10128739 w 11867103"/>
                <a:gd name="connsiteY34" fmla="*/ 2825437 h 2936314"/>
                <a:gd name="connsiteX35" fmla="*/ 10048352 w 11867103"/>
                <a:gd name="connsiteY35" fmla="*/ 2835485 h 2936314"/>
                <a:gd name="connsiteX36" fmla="*/ 9555982 w 11867103"/>
                <a:gd name="connsiteY36" fmla="*/ 2825437 h 2936314"/>
                <a:gd name="connsiteX37" fmla="*/ 9445451 w 11867103"/>
                <a:gd name="connsiteY37" fmla="*/ 2815389 h 2936314"/>
                <a:gd name="connsiteX38" fmla="*/ 9415306 w 11867103"/>
                <a:gd name="connsiteY38" fmla="*/ 2795292 h 2936314"/>
                <a:gd name="connsiteX39" fmla="*/ 9204290 w 11867103"/>
                <a:gd name="connsiteY39" fmla="*/ 2775195 h 2936314"/>
                <a:gd name="connsiteX40" fmla="*/ 9073662 w 11867103"/>
                <a:gd name="connsiteY40" fmla="*/ 2755098 h 2936314"/>
                <a:gd name="connsiteX41" fmla="*/ 8812404 w 11867103"/>
                <a:gd name="connsiteY41" fmla="*/ 2745050 h 2936314"/>
                <a:gd name="connsiteX42" fmla="*/ 8400422 w 11867103"/>
                <a:gd name="connsiteY42" fmla="*/ 2735002 h 2936314"/>
                <a:gd name="connsiteX43" fmla="*/ 8269793 w 11867103"/>
                <a:gd name="connsiteY43" fmla="*/ 2724953 h 2936314"/>
                <a:gd name="connsiteX44" fmla="*/ 7797521 w 11867103"/>
                <a:gd name="connsiteY44" fmla="*/ 2745050 h 2936314"/>
                <a:gd name="connsiteX45" fmla="*/ 7717134 w 11867103"/>
                <a:gd name="connsiteY45" fmla="*/ 2755098 h 2936314"/>
                <a:gd name="connsiteX46" fmla="*/ 7486022 w 11867103"/>
                <a:gd name="connsiteY46" fmla="*/ 2785244 h 2936314"/>
                <a:gd name="connsiteX47" fmla="*/ 7395587 w 11867103"/>
                <a:gd name="connsiteY47" fmla="*/ 2805340 h 2936314"/>
                <a:gd name="connsiteX48" fmla="*/ 7325248 w 11867103"/>
                <a:gd name="connsiteY48" fmla="*/ 2815389 h 2936314"/>
                <a:gd name="connsiteX49" fmla="*/ 6863024 w 11867103"/>
                <a:gd name="connsiteY49" fmla="*/ 2805340 h 2936314"/>
                <a:gd name="connsiteX50" fmla="*/ 6722347 w 11867103"/>
                <a:gd name="connsiteY50" fmla="*/ 2795292 h 2936314"/>
                <a:gd name="connsiteX51" fmla="*/ 4903596 w 11867103"/>
                <a:gd name="connsiteY51" fmla="*/ 2845534 h 2936314"/>
                <a:gd name="connsiteX52" fmla="*/ 4722725 w 11867103"/>
                <a:gd name="connsiteY52" fmla="*/ 2885727 h 2936314"/>
                <a:gd name="connsiteX53" fmla="*/ 4300695 w 11867103"/>
                <a:gd name="connsiteY53" fmla="*/ 2865630 h 2936314"/>
                <a:gd name="connsiteX54" fmla="*/ 4059534 w 11867103"/>
                <a:gd name="connsiteY54" fmla="*/ 2825437 h 2936314"/>
                <a:gd name="connsiteX55" fmla="*/ 3768132 w 11867103"/>
                <a:gd name="connsiteY55" fmla="*/ 2795292 h 2936314"/>
                <a:gd name="connsiteX56" fmla="*/ 3627455 w 11867103"/>
                <a:gd name="connsiteY56" fmla="*/ 2785244 h 2936314"/>
                <a:gd name="connsiteX57" fmla="*/ 3125037 w 11867103"/>
                <a:gd name="connsiteY57" fmla="*/ 2795292 h 2936314"/>
                <a:gd name="connsiteX58" fmla="*/ 3064747 w 11867103"/>
                <a:gd name="connsiteY58" fmla="*/ 2805340 h 2936314"/>
                <a:gd name="connsiteX59" fmla="*/ 2009670 w 11867103"/>
                <a:gd name="connsiteY59" fmla="*/ 2815389 h 2936314"/>
                <a:gd name="connsiteX60" fmla="*/ 1678075 w 11867103"/>
                <a:gd name="connsiteY60" fmla="*/ 2905824 h 2936314"/>
                <a:gd name="connsiteX61" fmla="*/ 1607736 w 11867103"/>
                <a:gd name="connsiteY61" fmla="*/ 2935969 h 2936314"/>
                <a:gd name="connsiteX62" fmla="*/ 1135464 w 11867103"/>
                <a:gd name="connsiteY62" fmla="*/ 2915872 h 2936314"/>
                <a:gd name="connsiteX63" fmla="*/ 944545 w 11867103"/>
                <a:gd name="connsiteY63" fmla="*/ 2885727 h 2936314"/>
                <a:gd name="connsiteX64" fmla="*/ 723481 w 11867103"/>
                <a:gd name="connsiteY64" fmla="*/ 2845534 h 2936314"/>
                <a:gd name="connsiteX65" fmla="*/ 643095 w 11867103"/>
                <a:gd name="connsiteY65" fmla="*/ 2835485 h 2936314"/>
                <a:gd name="connsiteX66" fmla="*/ 371789 w 11867103"/>
                <a:gd name="connsiteY66" fmla="*/ 2795292 h 2936314"/>
                <a:gd name="connsiteX67" fmla="*/ 0 w 11867103"/>
                <a:gd name="connsiteY67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313349 h 2936314"/>
                <a:gd name="connsiteX20" fmla="*/ 11836958 w 11867103"/>
                <a:gd name="connsiteY20" fmla="*/ 393736 h 2936314"/>
                <a:gd name="connsiteX21" fmla="*/ 11826910 w 11867103"/>
                <a:gd name="connsiteY21" fmla="*/ 705235 h 2936314"/>
                <a:gd name="connsiteX22" fmla="*/ 11816862 w 11867103"/>
                <a:gd name="connsiteY22" fmla="*/ 765525 h 2936314"/>
                <a:gd name="connsiteX23" fmla="*/ 11806813 w 11867103"/>
                <a:gd name="connsiteY23" fmla="*/ 835863 h 2936314"/>
                <a:gd name="connsiteX24" fmla="*/ 11816862 w 11867103"/>
                <a:gd name="connsiteY24" fmla="*/ 2302923 h 2936314"/>
                <a:gd name="connsiteX25" fmla="*/ 11826910 w 11867103"/>
                <a:gd name="connsiteY25" fmla="*/ 2373261 h 2936314"/>
                <a:gd name="connsiteX26" fmla="*/ 11836958 w 11867103"/>
                <a:gd name="connsiteY26" fmla="*/ 2403406 h 2936314"/>
                <a:gd name="connsiteX27" fmla="*/ 11857055 w 11867103"/>
                <a:gd name="connsiteY27" fmla="*/ 2534035 h 2936314"/>
                <a:gd name="connsiteX28" fmla="*/ 11867103 w 11867103"/>
                <a:gd name="connsiteY28" fmla="*/ 2574228 h 2936314"/>
                <a:gd name="connsiteX29" fmla="*/ 11857055 w 11867103"/>
                <a:gd name="connsiteY29" fmla="*/ 2805340 h 2936314"/>
                <a:gd name="connsiteX30" fmla="*/ 11836958 w 11867103"/>
                <a:gd name="connsiteY30" fmla="*/ 2835485 h 2936314"/>
                <a:gd name="connsiteX31" fmla="*/ 11033090 w 11867103"/>
                <a:gd name="connsiteY31" fmla="*/ 2825437 h 2936314"/>
                <a:gd name="connsiteX32" fmla="*/ 10621108 w 11867103"/>
                <a:gd name="connsiteY32" fmla="*/ 2815389 h 2936314"/>
                <a:gd name="connsiteX33" fmla="*/ 10128739 w 11867103"/>
                <a:gd name="connsiteY33" fmla="*/ 2825437 h 2936314"/>
                <a:gd name="connsiteX34" fmla="*/ 10048352 w 11867103"/>
                <a:gd name="connsiteY34" fmla="*/ 2835485 h 2936314"/>
                <a:gd name="connsiteX35" fmla="*/ 9555982 w 11867103"/>
                <a:gd name="connsiteY35" fmla="*/ 2825437 h 2936314"/>
                <a:gd name="connsiteX36" fmla="*/ 9445451 w 11867103"/>
                <a:gd name="connsiteY36" fmla="*/ 2815389 h 2936314"/>
                <a:gd name="connsiteX37" fmla="*/ 9415306 w 11867103"/>
                <a:gd name="connsiteY37" fmla="*/ 2795292 h 2936314"/>
                <a:gd name="connsiteX38" fmla="*/ 9204290 w 11867103"/>
                <a:gd name="connsiteY38" fmla="*/ 2775195 h 2936314"/>
                <a:gd name="connsiteX39" fmla="*/ 9073662 w 11867103"/>
                <a:gd name="connsiteY39" fmla="*/ 2755098 h 2936314"/>
                <a:gd name="connsiteX40" fmla="*/ 8812404 w 11867103"/>
                <a:gd name="connsiteY40" fmla="*/ 2745050 h 2936314"/>
                <a:gd name="connsiteX41" fmla="*/ 8400422 w 11867103"/>
                <a:gd name="connsiteY41" fmla="*/ 2735002 h 2936314"/>
                <a:gd name="connsiteX42" fmla="*/ 8269793 w 11867103"/>
                <a:gd name="connsiteY42" fmla="*/ 2724953 h 2936314"/>
                <a:gd name="connsiteX43" fmla="*/ 7797521 w 11867103"/>
                <a:gd name="connsiteY43" fmla="*/ 2745050 h 2936314"/>
                <a:gd name="connsiteX44" fmla="*/ 7717134 w 11867103"/>
                <a:gd name="connsiteY44" fmla="*/ 2755098 h 2936314"/>
                <a:gd name="connsiteX45" fmla="*/ 7486022 w 11867103"/>
                <a:gd name="connsiteY45" fmla="*/ 2785244 h 2936314"/>
                <a:gd name="connsiteX46" fmla="*/ 7395587 w 11867103"/>
                <a:gd name="connsiteY46" fmla="*/ 2805340 h 2936314"/>
                <a:gd name="connsiteX47" fmla="*/ 7325248 w 11867103"/>
                <a:gd name="connsiteY47" fmla="*/ 2815389 h 2936314"/>
                <a:gd name="connsiteX48" fmla="*/ 6863024 w 11867103"/>
                <a:gd name="connsiteY48" fmla="*/ 2805340 h 2936314"/>
                <a:gd name="connsiteX49" fmla="*/ 6722347 w 11867103"/>
                <a:gd name="connsiteY49" fmla="*/ 2795292 h 2936314"/>
                <a:gd name="connsiteX50" fmla="*/ 4903596 w 11867103"/>
                <a:gd name="connsiteY50" fmla="*/ 2845534 h 2936314"/>
                <a:gd name="connsiteX51" fmla="*/ 4722725 w 11867103"/>
                <a:gd name="connsiteY51" fmla="*/ 2885727 h 2936314"/>
                <a:gd name="connsiteX52" fmla="*/ 4300695 w 11867103"/>
                <a:gd name="connsiteY52" fmla="*/ 2865630 h 2936314"/>
                <a:gd name="connsiteX53" fmla="*/ 4059534 w 11867103"/>
                <a:gd name="connsiteY53" fmla="*/ 2825437 h 2936314"/>
                <a:gd name="connsiteX54" fmla="*/ 3768132 w 11867103"/>
                <a:gd name="connsiteY54" fmla="*/ 2795292 h 2936314"/>
                <a:gd name="connsiteX55" fmla="*/ 3627455 w 11867103"/>
                <a:gd name="connsiteY55" fmla="*/ 2785244 h 2936314"/>
                <a:gd name="connsiteX56" fmla="*/ 3125037 w 11867103"/>
                <a:gd name="connsiteY56" fmla="*/ 2795292 h 2936314"/>
                <a:gd name="connsiteX57" fmla="*/ 3064747 w 11867103"/>
                <a:gd name="connsiteY57" fmla="*/ 2805340 h 2936314"/>
                <a:gd name="connsiteX58" fmla="*/ 2009670 w 11867103"/>
                <a:gd name="connsiteY58" fmla="*/ 2815389 h 2936314"/>
                <a:gd name="connsiteX59" fmla="*/ 1678075 w 11867103"/>
                <a:gd name="connsiteY59" fmla="*/ 2905824 h 2936314"/>
                <a:gd name="connsiteX60" fmla="*/ 1607736 w 11867103"/>
                <a:gd name="connsiteY60" fmla="*/ 2935969 h 2936314"/>
                <a:gd name="connsiteX61" fmla="*/ 1135464 w 11867103"/>
                <a:gd name="connsiteY61" fmla="*/ 2915872 h 2936314"/>
                <a:gd name="connsiteX62" fmla="*/ 944545 w 11867103"/>
                <a:gd name="connsiteY62" fmla="*/ 2885727 h 2936314"/>
                <a:gd name="connsiteX63" fmla="*/ 723481 w 11867103"/>
                <a:gd name="connsiteY63" fmla="*/ 2845534 h 2936314"/>
                <a:gd name="connsiteX64" fmla="*/ 643095 w 11867103"/>
                <a:gd name="connsiteY64" fmla="*/ 2835485 h 2936314"/>
                <a:gd name="connsiteX65" fmla="*/ 371789 w 11867103"/>
                <a:gd name="connsiteY65" fmla="*/ 2795292 h 2936314"/>
                <a:gd name="connsiteX66" fmla="*/ 0 w 11867103"/>
                <a:gd name="connsiteY66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36958 w 11867103"/>
                <a:gd name="connsiteY19" fmla="*/ 393736 h 2936314"/>
                <a:gd name="connsiteX20" fmla="*/ 11826910 w 11867103"/>
                <a:gd name="connsiteY20" fmla="*/ 705235 h 2936314"/>
                <a:gd name="connsiteX21" fmla="*/ 11816862 w 11867103"/>
                <a:gd name="connsiteY21" fmla="*/ 765525 h 2936314"/>
                <a:gd name="connsiteX22" fmla="*/ 11806813 w 11867103"/>
                <a:gd name="connsiteY22" fmla="*/ 835863 h 2936314"/>
                <a:gd name="connsiteX23" fmla="*/ 11816862 w 11867103"/>
                <a:gd name="connsiteY23" fmla="*/ 2302923 h 2936314"/>
                <a:gd name="connsiteX24" fmla="*/ 11826910 w 11867103"/>
                <a:gd name="connsiteY24" fmla="*/ 2373261 h 2936314"/>
                <a:gd name="connsiteX25" fmla="*/ 11836958 w 11867103"/>
                <a:gd name="connsiteY25" fmla="*/ 2403406 h 2936314"/>
                <a:gd name="connsiteX26" fmla="*/ 11857055 w 11867103"/>
                <a:gd name="connsiteY26" fmla="*/ 2534035 h 2936314"/>
                <a:gd name="connsiteX27" fmla="*/ 11867103 w 11867103"/>
                <a:gd name="connsiteY27" fmla="*/ 2574228 h 2936314"/>
                <a:gd name="connsiteX28" fmla="*/ 11857055 w 11867103"/>
                <a:gd name="connsiteY28" fmla="*/ 2805340 h 2936314"/>
                <a:gd name="connsiteX29" fmla="*/ 11836958 w 11867103"/>
                <a:gd name="connsiteY29" fmla="*/ 2835485 h 2936314"/>
                <a:gd name="connsiteX30" fmla="*/ 11033090 w 11867103"/>
                <a:gd name="connsiteY30" fmla="*/ 2825437 h 2936314"/>
                <a:gd name="connsiteX31" fmla="*/ 10621108 w 11867103"/>
                <a:gd name="connsiteY31" fmla="*/ 2815389 h 2936314"/>
                <a:gd name="connsiteX32" fmla="*/ 10128739 w 11867103"/>
                <a:gd name="connsiteY32" fmla="*/ 2825437 h 2936314"/>
                <a:gd name="connsiteX33" fmla="*/ 10048352 w 11867103"/>
                <a:gd name="connsiteY33" fmla="*/ 2835485 h 2936314"/>
                <a:gd name="connsiteX34" fmla="*/ 9555982 w 11867103"/>
                <a:gd name="connsiteY34" fmla="*/ 2825437 h 2936314"/>
                <a:gd name="connsiteX35" fmla="*/ 9445451 w 11867103"/>
                <a:gd name="connsiteY35" fmla="*/ 2815389 h 2936314"/>
                <a:gd name="connsiteX36" fmla="*/ 9415306 w 11867103"/>
                <a:gd name="connsiteY36" fmla="*/ 2795292 h 2936314"/>
                <a:gd name="connsiteX37" fmla="*/ 9204290 w 11867103"/>
                <a:gd name="connsiteY37" fmla="*/ 2775195 h 2936314"/>
                <a:gd name="connsiteX38" fmla="*/ 9073662 w 11867103"/>
                <a:gd name="connsiteY38" fmla="*/ 2755098 h 2936314"/>
                <a:gd name="connsiteX39" fmla="*/ 8812404 w 11867103"/>
                <a:gd name="connsiteY39" fmla="*/ 2745050 h 2936314"/>
                <a:gd name="connsiteX40" fmla="*/ 8400422 w 11867103"/>
                <a:gd name="connsiteY40" fmla="*/ 2735002 h 2936314"/>
                <a:gd name="connsiteX41" fmla="*/ 8269793 w 11867103"/>
                <a:gd name="connsiteY41" fmla="*/ 2724953 h 2936314"/>
                <a:gd name="connsiteX42" fmla="*/ 7797521 w 11867103"/>
                <a:gd name="connsiteY42" fmla="*/ 2745050 h 2936314"/>
                <a:gd name="connsiteX43" fmla="*/ 7717134 w 11867103"/>
                <a:gd name="connsiteY43" fmla="*/ 2755098 h 2936314"/>
                <a:gd name="connsiteX44" fmla="*/ 7486022 w 11867103"/>
                <a:gd name="connsiteY44" fmla="*/ 2785244 h 2936314"/>
                <a:gd name="connsiteX45" fmla="*/ 7395587 w 11867103"/>
                <a:gd name="connsiteY45" fmla="*/ 2805340 h 2936314"/>
                <a:gd name="connsiteX46" fmla="*/ 7325248 w 11867103"/>
                <a:gd name="connsiteY46" fmla="*/ 2815389 h 2936314"/>
                <a:gd name="connsiteX47" fmla="*/ 6863024 w 11867103"/>
                <a:gd name="connsiteY47" fmla="*/ 2805340 h 2936314"/>
                <a:gd name="connsiteX48" fmla="*/ 6722347 w 11867103"/>
                <a:gd name="connsiteY48" fmla="*/ 2795292 h 2936314"/>
                <a:gd name="connsiteX49" fmla="*/ 4903596 w 11867103"/>
                <a:gd name="connsiteY49" fmla="*/ 2845534 h 2936314"/>
                <a:gd name="connsiteX50" fmla="*/ 4722725 w 11867103"/>
                <a:gd name="connsiteY50" fmla="*/ 2885727 h 2936314"/>
                <a:gd name="connsiteX51" fmla="*/ 4300695 w 11867103"/>
                <a:gd name="connsiteY51" fmla="*/ 2865630 h 2936314"/>
                <a:gd name="connsiteX52" fmla="*/ 4059534 w 11867103"/>
                <a:gd name="connsiteY52" fmla="*/ 2825437 h 2936314"/>
                <a:gd name="connsiteX53" fmla="*/ 3768132 w 11867103"/>
                <a:gd name="connsiteY53" fmla="*/ 2795292 h 2936314"/>
                <a:gd name="connsiteX54" fmla="*/ 3627455 w 11867103"/>
                <a:gd name="connsiteY54" fmla="*/ 2785244 h 2936314"/>
                <a:gd name="connsiteX55" fmla="*/ 3125037 w 11867103"/>
                <a:gd name="connsiteY55" fmla="*/ 2795292 h 2936314"/>
                <a:gd name="connsiteX56" fmla="*/ 3064747 w 11867103"/>
                <a:gd name="connsiteY56" fmla="*/ 2805340 h 2936314"/>
                <a:gd name="connsiteX57" fmla="*/ 2009670 w 11867103"/>
                <a:gd name="connsiteY57" fmla="*/ 2815389 h 2936314"/>
                <a:gd name="connsiteX58" fmla="*/ 1678075 w 11867103"/>
                <a:gd name="connsiteY58" fmla="*/ 2905824 h 2936314"/>
                <a:gd name="connsiteX59" fmla="*/ 1607736 w 11867103"/>
                <a:gd name="connsiteY59" fmla="*/ 2935969 h 2936314"/>
                <a:gd name="connsiteX60" fmla="*/ 1135464 w 11867103"/>
                <a:gd name="connsiteY60" fmla="*/ 2915872 h 2936314"/>
                <a:gd name="connsiteX61" fmla="*/ 944545 w 11867103"/>
                <a:gd name="connsiteY61" fmla="*/ 2885727 h 2936314"/>
                <a:gd name="connsiteX62" fmla="*/ 723481 w 11867103"/>
                <a:gd name="connsiteY62" fmla="*/ 2845534 h 2936314"/>
                <a:gd name="connsiteX63" fmla="*/ 643095 w 11867103"/>
                <a:gd name="connsiteY63" fmla="*/ 2835485 h 2936314"/>
                <a:gd name="connsiteX64" fmla="*/ 371789 w 11867103"/>
                <a:gd name="connsiteY64" fmla="*/ 2795292 h 2936314"/>
                <a:gd name="connsiteX65" fmla="*/ 0 w 11867103"/>
                <a:gd name="connsiteY65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705235 h 2936314"/>
                <a:gd name="connsiteX20" fmla="*/ 11816862 w 11867103"/>
                <a:gd name="connsiteY20" fmla="*/ 765525 h 2936314"/>
                <a:gd name="connsiteX21" fmla="*/ 11806813 w 11867103"/>
                <a:gd name="connsiteY21" fmla="*/ 835863 h 2936314"/>
                <a:gd name="connsiteX22" fmla="*/ 11816862 w 11867103"/>
                <a:gd name="connsiteY22" fmla="*/ 2302923 h 2936314"/>
                <a:gd name="connsiteX23" fmla="*/ 11826910 w 11867103"/>
                <a:gd name="connsiteY23" fmla="*/ 2373261 h 2936314"/>
                <a:gd name="connsiteX24" fmla="*/ 11836958 w 11867103"/>
                <a:gd name="connsiteY24" fmla="*/ 2403406 h 2936314"/>
                <a:gd name="connsiteX25" fmla="*/ 11857055 w 11867103"/>
                <a:gd name="connsiteY25" fmla="*/ 2534035 h 2936314"/>
                <a:gd name="connsiteX26" fmla="*/ 11867103 w 11867103"/>
                <a:gd name="connsiteY26" fmla="*/ 2574228 h 2936314"/>
                <a:gd name="connsiteX27" fmla="*/ 11857055 w 11867103"/>
                <a:gd name="connsiteY27" fmla="*/ 2805340 h 2936314"/>
                <a:gd name="connsiteX28" fmla="*/ 11836958 w 11867103"/>
                <a:gd name="connsiteY28" fmla="*/ 2835485 h 2936314"/>
                <a:gd name="connsiteX29" fmla="*/ 11033090 w 11867103"/>
                <a:gd name="connsiteY29" fmla="*/ 2825437 h 2936314"/>
                <a:gd name="connsiteX30" fmla="*/ 10621108 w 11867103"/>
                <a:gd name="connsiteY30" fmla="*/ 2815389 h 2936314"/>
                <a:gd name="connsiteX31" fmla="*/ 10128739 w 11867103"/>
                <a:gd name="connsiteY31" fmla="*/ 2825437 h 2936314"/>
                <a:gd name="connsiteX32" fmla="*/ 10048352 w 11867103"/>
                <a:gd name="connsiteY32" fmla="*/ 2835485 h 2936314"/>
                <a:gd name="connsiteX33" fmla="*/ 9555982 w 11867103"/>
                <a:gd name="connsiteY33" fmla="*/ 2825437 h 2936314"/>
                <a:gd name="connsiteX34" fmla="*/ 9445451 w 11867103"/>
                <a:gd name="connsiteY34" fmla="*/ 2815389 h 2936314"/>
                <a:gd name="connsiteX35" fmla="*/ 9415306 w 11867103"/>
                <a:gd name="connsiteY35" fmla="*/ 2795292 h 2936314"/>
                <a:gd name="connsiteX36" fmla="*/ 9204290 w 11867103"/>
                <a:gd name="connsiteY36" fmla="*/ 2775195 h 2936314"/>
                <a:gd name="connsiteX37" fmla="*/ 9073662 w 11867103"/>
                <a:gd name="connsiteY37" fmla="*/ 2755098 h 2936314"/>
                <a:gd name="connsiteX38" fmla="*/ 8812404 w 11867103"/>
                <a:gd name="connsiteY38" fmla="*/ 2745050 h 2936314"/>
                <a:gd name="connsiteX39" fmla="*/ 8400422 w 11867103"/>
                <a:gd name="connsiteY39" fmla="*/ 2735002 h 2936314"/>
                <a:gd name="connsiteX40" fmla="*/ 8269793 w 11867103"/>
                <a:gd name="connsiteY40" fmla="*/ 2724953 h 2936314"/>
                <a:gd name="connsiteX41" fmla="*/ 7797521 w 11867103"/>
                <a:gd name="connsiteY41" fmla="*/ 2745050 h 2936314"/>
                <a:gd name="connsiteX42" fmla="*/ 7717134 w 11867103"/>
                <a:gd name="connsiteY42" fmla="*/ 2755098 h 2936314"/>
                <a:gd name="connsiteX43" fmla="*/ 7486022 w 11867103"/>
                <a:gd name="connsiteY43" fmla="*/ 2785244 h 2936314"/>
                <a:gd name="connsiteX44" fmla="*/ 7395587 w 11867103"/>
                <a:gd name="connsiteY44" fmla="*/ 2805340 h 2936314"/>
                <a:gd name="connsiteX45" fmla="*/ 7325248 w 11867103"/>
                <a:gd name="connsiteY45" fmla="*/ 2815389 h 2936314"/>
                <a:gd name="connsiteX46" fmla="*/ 6863024 w 11867103"/>
                <a:gd name="connsiteY46" fmla="*/ 2805340 h 2936314"/>
                <a:gd name="connsiteX47" fmla="*/ 6722347 w 11867103"/>
                <a:gd name="connsiteY47" fmla="*/ 2795292 h 2936314"/>
                <a:gd name="connsiteX48" fmla="*/ 4903596 w 11867103"/>
                <a:gd name="connsiteY48" fmla="*/ 2845534 h 2936314"/>
                <a:gd name="connsiteX49" fmla="*/ 4722725 w 11867103"/>
                <a:gd name="connsiteY49" fmla="*/ 2885727 h 2936314"/>
                <a:gd name="connsiteX50" fmla="*/ 4300695 w 11867103"/>
                <a:gd name="connsiteY50" fmla="*/ 2865630 h 2936314"/>
                <a:gd name="connsiteX51" fmla="*/ 4059534 w 11867103"/>
                <a:gd name="connsiteY51" fmla="*/ 2825437 h 2936314"/>
                <a:gd name="connsiteX52" fmla="*/ 3768132 w 11867103"/>
                <a:gd name="connsiteY52" fmla="*/ 2795292 h 2936314"/>
                <a:gd name="connsiteX53" fmla="*/ 3627455 w 11867103"/>
                <a:gd name="connsiteY53" fmla="*/ 2785244 h 2936314"/>
                <a:gd name="connsiteX54" fmla="*/ 3125037 w 11867103"/>
                <a:gd name="connsiteY54" fmla="*/ 2795292 h 2936314"/>
                <a:gd name="connsiteX55" fmla="*/ 3064747 w 11867103"/>
                <a:gd name="connsiteY55" fmla="*/ 2805340 h 2936314"/>
                <a:gd name="connsiteX56" fmla="*/ 2009670 w 11867103"/>
                <a:gd name="connsiteY56" fmla="*/ 2815389 h 2936314"/>
                <a:gd name="connsiteX57" fmla="*/ 1678075 w 11867103"/>
                <a:gd name="connsiteY57" fmla="*/ 2905824 h 2936314"/>
                <a:gd name="connsiteX58" fmla="*/ 1607736 w 11867103"/>
                <a:gd name="connsiteY58" fmla="*/ 2935969 h 2936314"/>
                <a:gd name="connsiteX59" fmla="*/ 1135464 w 11867103"/>
                <a:gd name="connsiteY59" fmla="*/ 2915872 h 2936314"/>
                <a:gd name="connsiteX60" fmla="*/ 944545 w 11867103"/>
                <a:gd name="connsiteY60" fmla="*/ 2885727 h 2936314"/>
                <a:gd name="connsiteX61" fmla="*/ 723481 w 11867103"/>
                <a:gd name="connsiteY61" fmla="*/ 2845534 h 2936314"/>
                <a:gd name="connsiteX62" fmla="*/ 643095 w 11867103"/>
                <a:gd name="connsiteY62" fmla="*/ 2835485 h 2936314"/>
                <a:gd name="connsiteX63" fmla="*/ 371789 w 11867103"/>
                <a:gd name="connsiteY63" fmla="*/ 2795292 h 2936314"/>
                <a:gd name="connsiteX64" fmla="*/ 0 w 11867103"/>
                <a:gd name="connsiteY64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705235 h 2936314"/>
                <a:gd name="connsiteX20" fmla="*/ 11806813 w 11867103"/>
                <a:gd name="connsiteY20" fmla="*/ 835863 h 2936314"/>
                <a:gd name="connsiteX21" fmla="*/ 11816862 w 11867103"/>
                <a:gd name="connsiteY21" fmla="*/ 2302923 h 2936314"/>
                <a:gd name="connsiteX22" fmla="*/ 11826910 w 11867103"/>
                <a:gd name="connsiteY22" fmla="*/ 2373261 h 2936314"/>
                <a:gd name="connsiteX23" fmla="*/ 11836958 w 11867103"/>
                <a:gd name="connsiteY23" fmla="*/ 2403406 h 2936314"/>
                <a:gd name="connsiteX24" fmla="*/ 11857055 w 11867103"/>
                <a:gd name="connsiteY24" fmla="*/ 2534035 h 2936314"/>
                <a:gd name="connsiteX25" fmla="*/ 11867103 w 11867103"/>
                <a:gd name="connsiteY25" fmla="*/ 2574228 h 2936314"/>
                <a:gd name="connsiteX26" fmla="*/ 11857055 w 11867103"/>
                <a:gd name="connsiteY26" fmla="*/ 2805340 h 2936314"/>
                <a:gd name="connsiteX27" fmla="*/ 11836958 w 11867103"/>
                <a:gd name="connsiteY27" fmla="*/ 2835485 h 2936314"/>
                <a:gd name="connsiteX28" fmla="*/ 11033090 w 11867103"/>
                <a:gd name="connsiteY28" fmla="*/ 2825437 h 2936314"/>
                <a:gd name="connsiteX29" fmla="*/ 10621108 w 11867103"/>
                <a:gd name="connsiteY29" fmla="*/ 2815389 h 2936314"/>
                <a:gd name="connsiteX30" fmla="*/ 10128739 w 11867103"/>
                <a:gd name="connsiteY30" fmla="*/ 2825437 h 2936314"/>
                <a:gd name="connsiteX31" fmla="*/ 10048352 w 11867103"/>
                <a:gd name="connsiteY31" fmla="*/ 2835485 h 2936314"/>
                <a:gd name="connsiteX32" fmla="*/ 9555982 w 11867103"/>
                <a:gd name="connsiteY32" fmla="*/ 2825437 h 2936314"/>
                <a:gd name="connsiteX33" fmla="*/ 9445451 w 11867103"/>
                <a:gd name="connsiteY33" fmla="*/ 2815389 h 2936314"/>
                <a:gd name="connsiteX34" fmla="*/ 9415306 w 11867103"/>
                <a:gd name="connsiteY34" fmla="*/ 2795292 h 2936314"/>
                <a:gd name="connsiteX35" fmla="*/ 9204290 w 11867103"/>
                <a:gd name="connsiteY35" fmla="*/ 2775195 h 2936314"/>
                <a:gd name="connsiteX36" fmla="*/ 9073662 w 11867103"/>
                <a:gd name="connsiteY36" fmla="*/ 2755098 h 2936314"/>
                <a:gd name="connsiteX37" fmla="*/ 8812404 w 11867103"/>
                <a:gd name="connsiteY37" fmla="*/ 2745050 h 2936314"/>
                <a:gd name="connsiteX38" fmla="*/ 8400422 w 11867103"/>
                <a:gd name="connsiteY38" fmla="*/ 2735002 h 2936314"/>
                <a:gd name="connsiteX39" fmla="*/ 8269793 w 11867103"/>
                <a:gd name="connsiteY39" fmla="*/ 2724953 h 2936314"/>
                <a:gd name="connsiteX40" fmla="*/ 7797521 w 11867103"/>
                <a:gd name="connsiteY40" fmla="*/ 2745050 h 2936314"/>
                <a:gd name="connsiteX41" fmla="*/ 7717134 w 11867103"/>
                <a:gd name="connsiteY41" fmla="*/ 2755098 h 2936314"/>
                <a:gd name="connsiteX42" fmla="*/ 7486022 w 11867103"/>
                <a:gd name="connsiteY42" fmla="*/ 2785244 h 2936314"/>
                <a:gd name="connsiteX43" fmla="*/ 7395587 w 11867103"/>
                <a:gd name="connsiteY43" fmla="*/ 2805340 h 2936314"/>
                <a:gd name="connsiteX44" fmla="*/ 7325248 w 11867103"/>
                <a:gd name="connsiteY44" fmla="*/ 2815389 h 2936314"/>
                <a:gd name="connsiteX45" fmla="*/ 6863024 w 11867103"/>
                <a:gd name="connsiteY45" fmla="*/ 2805340 h 2936314"/>
                <a:gd name="connsiteX46" fmla="*/ 6722347 w 11867103"/>
                <a:gd name="connsiteY46" fmla="*/ 2795292 h 2936314"/>
                <a:gd name="connsiteX47" fmla="*/ 4903596 w 11867103"/>
                <a:gd name="connsiteY47" fmla="*/ 2845534 h 2936314"/>
                <a:gd name="connsiteX48" fmla="*/ 4722725 w 11867103"/>
                <a:gd name="connsiteY48" fmla="*/ 2885727 h 2936314"/>
                <a:gd name="connsiteX49" fmla="*/ 4300695 w 11867103"/>
                <a:gd name="connsiteY49" fmla="*/ 2865630 h 2936314"/>
                <a:gd name="connsiteX50" fmla="*/ 4059534 w 11867103"/>
                <a:gd name="connsiteY50" fmla="*/ 2825437 h 2936314"/>
                <a:gd name="connsiteX51" fmla="*/ 3768132 w 11867103"/>
                <a:gd name="connsiteY51" fmla="*/ 2795292 h 2936314"/>
                <a:gd name="connsiteX52" fmla="*/ 3627455 w 11867103"/>
                <a:gd name="connsiteY52" fmla="*/ 2785244 h 2936314"/>
                <a:gd name="connsiteX53" fmla="*/ 3125037 w 11867103"/>
                <a:gd name="connsiteY53" fmla="*/ 2795292 h 2936314"/>
                <a:gd name="connsiteX54" fmla="*/ 3064747 w 11867103"/>
                <a:gd name="connsiteY54" fmla="*/ 2805340 h 2936314"/>
                <a:gd name="connsiteX55" fmla="*/ 2009670 w 11867103"/>
                <a:gd name="connsiteY55" fmla="*/ 2815389 h 2936314"/>
                <a:gd name="connsiteX56" fmla="*/ 1678075 w 11867103"/>
                <a:gd name="connsiteY56" fmla="*/ 2905824 h 2936314"/>
                <a:gd name="connsiteX57" fmla="*/ 1607736 w 11867103"/>
                <a:gd name="connsiteY57" fmla="*/ 2935969 h 2936314"/>
                <a:gd name="connsiteX58" fmla="*/ 1135464 w 11867103"/>
                <a:gd name="connsiteY58" fmla="*/ 2915872 h 2936314"/>
                <a:gd name="connsiteX59" fmla="*/ 944545 w 11867103"/>
                <a:gd name="connsiteY59" fmla="*/ 2885727 h 2936314"/>
                <a:gd name="connsiteX60" fmla="*/ 723481 w 11867103"/>
                <a:gd name="connsiteY60" fmla="*/ 2845534 h 2936314"/>
                <a:gd name="connsiteX61" fmla="*/ 643095 w 11867103"/>
                <a:gd name="connsiteY61" fmla="*/ 2835485 h 2936314"/>
                <a:gd name="connsiteX62" fmla="*/ 371789 w 11867103"/>
                <a:gd name="connsiteY62" fmla="*/ 2795292 h 2936314"/>
                <a:gd name="connsiteX63" fmla="*/ 0 w 11867103"/>
                <a:gd name="connsiteY63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26910 w 11867103"/>
                <a:gd name="connsiteY19" fmla="*/ 705235 h 2936314"/>
                <a:gd name="connsiteX20" fmla="*/ 11816862 w 11867103"/>
                <a:gd name="connsiteY20" fmla="*/ 2302923 h 2936314"/>
                <a:gd name="connsiteX21" fmla="*/ 11826910 w 11867103"/>
                <a:gd name="connsiteY21" fmla="*/ 2373261 h 2936314"/>
                <a:gd name="connsiteX22" fmla="*/ 11836958 w 11867103"/>
                <a:gd name="connsiteY22" fmla="*/ 2403406 h 2936314"/>
                <a:gd name="connsiteX23" fmla="*/ 11857055 w 11867103"/>
                <a:gd name="connsiteY23" fmla="*/ 2534035 h 2936314"/>
                <a:gd name="connsiteX24" fmla="*/ 11867103 w 11867103"/>
                <a:gd name="connsiteY24" fmla="*/ 2574228 h 2936314"/>
                <a:gd name="connsiteX25" fmla="*/ 11857055 w 11867103"/>
                <a:gd name="connsiteY25" fmla="*/ 2805340 h 2936314"/>
                <a:gd name="connsiteX26" fmla="*/ 11836958 w 11867103"/>
                <a:gd name="connsiteY26" fmla="*/ 2835485 h 2936314"/>
                <a:gd name="connsiteX27" fmla="*/ 11033090 w 11867103"/>
                <a:gd name="connsiteY27" fmla="*/ 2825437 h 2936314"/>
                <a:gd name="connsiteX28" fmla="*/ 10621108 w 11867103"/>
                <a:gd name="connsiteY28" fmla="*/ 2815389 h 2936314"/>
                <a:gd name="connsiteX29" fmla="*/ 10128739 w 11867103"/>
                <a:gd name="connsiteY29" fmla="*/ 2825437 h 2936314"/>
                <a:gd name="connsiteX30" fmla="*/ 10048352 w 11867103"/>
                <a:gd name="connsiteY30" fmla="*/ 2835485 h 2936314"/>
                <a:gd name="connsiteX31" fmla="*/ 9555982 w 11867103"/>
                <a:gd name="connsiteY31" fmla="*/ 2825437 h 2936314"/>
                <a:gd name="connsiteX32" fmla="*/ 9445451 w 11867103"/>
                <a:gd name="connsiteY32" fmla="*/ 2815389 h 2936314"/>
                <a:gd name="connsiteX33" fmla="*/ 9415306 w 11867103"/>
                <a:gd name="connsiteY33" fmla="*/ 2795292 h 2936314"/>
                <a:gd name="connsiteX34" fmla="*/ 9204290 w 11867103"/>
                <a:gd name="connsiteY34" fmla="*/ 2775195 h 2936314"/>
                <a:gd name="connsiteX35" fmla="*/ 9073662 w 11867103"/>
                <a:gd name="connsiteY35" fmla="*/ 2755098 h 2936314"/>
                <a:gd name="connsiteX36" fmla="*/ 8812404 w 11867103"/>
                <a:gd name="connsiteY36" fmla="*/ 2745050 h 2936314"/>
                <a:gd name="connsiteX37" fmla="*/ 8400422 w 11867103"/>
                <a:gd name="connsiteY37" fmla="*/ 2735002 h 2936314"/>
                <a:gd name="connsiteX38" fmla="*/ 8269793 w 11867103"/>
                <a:gd name="connsiteY38" fmla="*/ 2724953 h 2936314"/>
                <a:gd name="connsiteX39" fmla="*/ 7797521 w 11867103"/>
                <a:gd name="connsiteY39" fmla="*/ 2745050 h 2936314"/>
                <a:gd name="connsiteX40" fmla="*/ 7717134 w 11867103"/>
                <a:gd name="connsiteY40" fmla="*/ 2755098 h 2936314"/>
                <a:gd name="connsiteX41" fmla="*/ 7486022 w 11867103"/>
                <a:gd name="connsiteY41" fmla="*/ 2785244 h 2936314"/>
                <a:gd name="connsiteX42" fmla="*/ 7395587 w 11867103"/>
                <a:gd name="connsiteY42" fmla="*/ 2805340 h 2936314"/>
                <a:gd name="connsiteX43" fmla="*/ 7325248 w 11867103"/>
                <a:gd name="connsiteY43" fmla="*/ 2815389 h 2936314"/>
                <a:gd name="connsiteX44" fmla="*/ 6863024 w 11867103"/>
                <a:gd name="connsiteY44" fmla="*/ 2805340 h 2936314"/>
                <a:gd name="connsiteX45" fmla="*/ 6722347 w 11867103"/>
                <a:gd name="connsiteY45" fmla="*/ 2795292 h 2936314"/>
                <a:gd name="connsiteX46" fmla="*/ 4903596 w 11867103"/>
                <a:gd name="connsiteY46" fmla="*/ 2845534 h 2936314"/>
                <a:gd name="connsiteX47" fmla="*/ 4722725 w 11867103"/>
                <a:gd name="connsiteY47" fmla="*/ 2885727 h 2936314"/>
                <a:gd name="connsiteX48" fmla="*/ 4300695 w 11867103"/>
                <a:gd name="connsiteY48" fmla="*/ 2865630 h 2936314"/>
                <a:gd name="connsiteX49" fmla="*/ 4059534 w 11867103"/>
                <a:gd name="connsiteY49" fmla="*/ 2825437 h 2936314"/>
                <a:gd name="connsiteX50" fmla="*/ 3768132 w 11867103"/>
                <a:gd name="connsiteY50" fmla="*/ 2795292 h 2936314"/>
                <a:gd name="connsiteX51" fmla="*/ 3627455 w 11867103"/>
                <a:gd name="connsiteY51" fmla="*/ 2785244 h 2936314"/>
                <a:gd name="connsiteX52" fmla="*/ 3125037 w 11867103"/>
                <a:gd name="connsiteY52" fmla="*/ 2795292 h 2936314"/>
                <a:gd name="connsiteX53" fmla="*/ 3064747 w 11867103"/>
                <a:gd name="connsiteY53" fmla="*/ 2805340 h 2936314"/>
                <a:gd name="connsiteX54" fmla="*/ 2009670 w 11867103"/>
                <a:gd name="connsiteY54" fmla="*/ 2815389 h 2936314"/>
                <a:gd name="connsiteX55" fmla="*/ 1678075 w 11867103"/>
                <a:gd name="connsiteY55" fmla="*/ 2905824 h 2936314"/>
                <a:gd name="connsiteX56" fmla="*/ 1607736 w 11867103"/>
                <a:gd name="connsiteY56" fmla="*/ 2935969 h 2936314"/>
                <a:gd name="connsiteX57" fmla="*/ 1135464 w 11867103"/>
                <a:gd name="connsiteY57" fmla="*/ 2915872 h 2936314"/>
                <a:gd name="connsiteX58" fmla="*/ 944545 w 11867103"/>
                <a:gd name="connsiteY58" fmla="*/ 2885727 h 2936314"/>
                <a:gd name="connsiteX59" fmla="*/ 723481 w 11867103"/>
                <a:gd name="connsiteY59" fmla="*/ 2845534 h 2936314"/>
                <a:gd name="connsiteX60" fmla="*/ 643095 w 11867103"/>
                <a:gd name="connsiteY60" fmla="*/ 2835485 h 2936314"/>
                <a:gd name="connsiteX61" fmla="*/ 371789 w 11867103"/>
                <a:gd name="connsiteY61" fmla="*/ 2795292 h 2936314"/>
                <a:gd name="connsiteX62" fmla="*/ 0 w 11867103"/>
                <a:gd name="connsiteY62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06813 w 11867103"/>
                <a:gd name="connsiteY18" fmla="*/ 182720 h 2936314"/>
                <a:gd name="connsiteX19" fmla="*/ 11816862 w 11867103"/>
                <a:gd name="connsiteY19" fmla="*/ 2302923 h 2936314"/>
                <a:gd name="connsiteX20" fmla="*/ 11826910 w 11867103"/>
                <a:gd name="connsiteY20" fmla="*/ 2373261 h 2936314"/>
                <a:gd name="connsiteX21" fmla="*/ 11836958 w 11867103"/>
                <a:gd name="connsiteY21" fmla="*/ 2403406 h 2936314"/>
                <a:gd name="connsiteX22" fmla="*/ 11857055 w 11867103"/>
                <a:gd name="connsiteY22" fmla="*/ 2534035 h 2936314"/>
                <a:gd name="connsiteX23" fmla="*/ 11867103 w 11867103"/>
                <a:gd name="connsiteY23" fmla="*/ 2574228 h 2936314"/>
                <a:gd name="connsiteX24" fmla="*/ 11857055 w 11867103"/>
                <a:gd name="connsiteY24" fmla="*/ 2805340 h 2936314"/>
                <a:gd name="connsiteX25" fmla="*/ 11836958 w 11867103"/>
                <a:gd name="connsiteY25" fmla="*/ 2835485 h 2936314"/>
                <a:gd name="connsiteX26" fmla="*/ 11033090 w 11867103"/>
                <a:gd name="connsiteY26" fmla="*/ 2825437 h 2936314"/>
                <a:gd name="connsiteX27" fmla="*/ 10621108 w 11867103"/>
                <a:gd name="connsiteY27" fmla="*/ 2815389 h 2936314"/>
                <a:gd name="connsiteX28" fmla="*/ 10128739 w 11867103"/>
                <a:gd name="connsiteY28" fmla="*/ 2825437 h 2936314"/>
                <a:gd name="connsiteX29" fmla="*/ 10048352 w 11867103"/>
                <a:gd name="connsiteY29" fmla="*/ 2835485 h 2936314"/>
                <a:gd name="connsiteX30" fmla="*/ 9555982 w 11867103"/>
                <a:gd name="connsiteY30" fmla="*/ 2825437 h 2936314"/>
                <a:gd name="connsiteX31" fmla="*/ 9445451 w 11867103"/>
                <a:gd name="connsiteY31" fmla="*/ 2815389 h 2936314"/>
                <a:gd name="connsiteX32" fmla="*/ 9415306 w 11867103"/>
                <a:gd name="connsiteY32" fmla="*/ 2795292 h 2936314"/>
                <a:gd name="connsiteX33" fmla="*/ 9204290 w 11867103"/>
                <a:gd name="connsiteY33" fmla="*/ 2775195 h 2936314"/>
                <a:gd name="connsiteX34" fmla="*/ 9073662 w 11867103"/>
                <a:gd name="connsiteY34" fmla="*/ 2755098 h 2936314"/>
                <a:gd name="connsiteX35" fmla="*/ 8812404 w 11867103"/>
                <a:gd name="connsiteY35" fmla="*/ 2745050 h 2936314"/>
                <a:gd name="connsiteX36" fmla="*/ 8400422 w 11867103"/>
                <a:gd name="connsiteY36" fmla="*/ 2735002 h 2936314"/>
                <a:gd name="connsiteX37" fmla="*/ 8269793 w 11867103"/>
                <a:gd name="connsiteY37" fmla="*/ 2724953 h 2936314"/>
                <a:gd name="connsiteX38" fmla="*/ 7797521 w 11867103"/>
                <a:gd name="connsiteY38" fmla="*/ 2745050 h 2936314"/>
                <a:gd name="connsiteX39" fmla="*/ 7717134 w 11867103"/>
                <a:gd name="connsiteY39" fmla="*/ 2755098 h 2936314"/>
                <a:gd name="connsiteX40" fmla="*/ 7486022 w 11867103"/>
                <a:gd name="connsiteY40" fmla="*/ 2785244 h 2936314"/>
                <a:gd name="connsiteX41" fmla="*/ 7395587 w 11867103"/>
                <a:gd name="connsiteY41" fmla="*/ 2805340 h 2936314"/>
                <a:gd name="connsiteX42" fmla="*/ 7325248 w 11867103"/>
                <a:gd name="connsiteY42" fmla="*/ 2815389 h 2936314"/>
                <a:gd name="connsiteX43" fmla="*/ 6863024 w 11867103"/>
                <a:gd name="connsiteY43" fmla="*/ 2805340 h 2936314"/>
                <a:gd name="connsiteX44" fmla="*/ 6722347 w 11867103"/>
                <a:gd name="connsiteY44" fmla="*/ 2795292 h 2936314"/>
                <a:gd name="connsiteX45" fmla="*/ 4903596 w 11867103"/>
                <a:gd name="connsiteY45" fmla="*/ 2845534 h 2936314"/>
                <a:gd name="connsiteX46" fmla="*/ 4722725 w 11867103"/>
                <a:gd name="connsiteY46" fmla="*/ 2885727 h 2936314"/>
                <a:gd name="connsiteX47" fmla="*/ 4300695 w 11867103"/>
                <a:gd name="connsiteY47" fmla="*/ 2865630 h 2936314"/>
                <a:gd name="connsiteX48" fmla="*/ 4059534 w 11867103"/>
                <a:gd name="connsiteY48" fmla="*/ 2825437 h 2936314"/>
                <a:gd name="connsiteX49" fmla="*/ 3768132 w 11867103"/>
                <a:gd name="connsiteY49" fmla="*/ 2795292 h 2936314"/>
                <a:gd name="connsiteX50" fmla="*/ 3627455 w 11867103"/>
                <a:gd name="connsiteY50" fmla="*/ 2785244 h 2936314"/>
                <a:gd name="connsiteX51" fmla="*/ 3125037 w 11867103"/>
                <a:gd name="connsiteY51" fmla="*/ 2795292 h 2936314"/>
                <a:gd name="connsiteX52" fmla="*/ 3064747 w 11867103"/>
                <a:gd name="connsiteY52" fmla="*/ 2805340 h 2936314"/>
                <a:gd name="connsiteX53" fmla="*/ 2009670 w 11867103"/>
                <a:gd name="connsiteY53" fmla="*/ 2815389 h 2936314"/>
                <a:gd name="connsiteX54" fmla="*/ 1678075 w 11867103"/>
                <a:gd name="connsiteY54" fmla="*/ 2905824 h 2936314"/>
                <a:gd name="connsiteX55" fmla="*/ 1607736 w 11867103"/>
                <a:gd name="connsiteY55" fmla="*/ 2935969 h 2936314"/>
                <a:gd name="connsiteX56" fmla="*/ 1135464 w 11867103"/>
                <a:gd name="connsiteY56" fmla="*/ 2915872 h 2936314"/>
                <a:gd name="connsiteX57" fmla="*/ 944545 w 11867103"/>
                <a:gd name="connsiteY57" fmla="*/ 2885727 h 2936314"/>
                <a:gd name="connsiteX58" fmla="*/ 723481 w 11867103"/>
                <a:gd name="connsiteY58" fmla="*/ 2845534 h 2936314"/>
                <a:gd name="connsiteX59" fmla="*/ 643095 w 11867103"/>
                <a:gd name="connsiteY59" fmla="*/ 2835485 h 2936314"/>
                <a:gd name="connsiteX60" fmla="*/ 371789 w 11867103"/>
                <a:gd name="connsiteY60" fmla="*/ 2795292 h 2936314"/>
                <a:gd name="connsiteX61" fmla="*/ 0 w 11867103"/>
                <a:gd name="connsiteY61" fmla="*/ 2785244 h 2936314"/>
                <a:gd name="connsiteX0" fmla="*/ 120580 w 11867103"/>
                <a:gd name="connsiteY0" fmla="*/ 21947 h 2936314"/>
                <a:gd name="connsiteX1" fmla="*/ 281354 w 11867103"/>
                <a:gd name="connsiteY1" fmla="*/ 11898 h 2936314"/>
                <a:gd name="connsiteX2" fmla="*/ 673240 w 11867103"/>
                <a:gd name="connsiteY2" fmla="*/ 1850 h 2936314"/>
                <a:gd name="connsiteX3" fmla="*/ 1356528 w 11867103"/>
                <a:gd name="connsiteY3" fmla="*/ 52092 h 2936314"/>
                <a:gd name="connsiteX4" fmla="*/ 1758462 w 11867103"/>
                <a:gd name="connsiteY4" fmla="*/ 11898 h 2936314"/>
                <a:gd name="connsiteX5" fmla="*/ 2140299 w 11867103"/>
                <a:gd name="connsiteY5" fmla="*/ 11898 h 2936314"/>
                <a:gd name="connsiteX6" fmla="*/ 4652387 w 11867103"/>
                <a:gd name="connsiteY6" fmla="*/ 31995 h 2936314"/>
                <a:gd name="connsiteX7" fmla="*/ 4692580 w 11867103"/>
                <a:gd name="connsiteY7" fmla="*/ 42044 h 2936314"/>
                <a:gd name="connsiteX8" fmla="*/ 6420897 w 11867103"/>
                <a:gd name="connsiteY8" fmla="*/ 62140 h 2936314"/>
                <a:gd name="connsiteX9" fmla="*/ 7184571 w 11867103"/>
                <a:gd name="connsiteY9" fmla="*/ 31995 h 2936314"/>
                <a:gd name="connsiteX10" fmla="*/ 7928150 w 11867103"/>
                <a:gd name="connsiteY10" fmla="*/ 31995 h 2936314"/>
                <a:gd name="connsiteX11" fmla="*/ 8219552 w 11867103"/>
                <a:gd name="connsiteY11" fmla="*/ 62140 h 2936314"/>
                <a:gd name="connsiteX12" fmla="*/ 9606224 w 11867103"/>
                <a:gd name="connsiteY12" fmla="*/ 62140 h 2936314"/>
                <a:gd name="connsiteX13" fmla="*/ 9947868 w 11867103"/>
                <a:gd name="connsiteY13" fmla="*/ 31995 h 2936314"/>
                <a:gd name="connsiteX14" fmla="*/ 10791930 w 11867103"/>
                <a:gd name="connsiteY14" fmla="*/ 1850 h 2936314"/>
                <a:gd name="connsiteX15" fmla="*/ 11736475 w 11867103"/>
                <a:gd name="connsiteY15" fmla="*/ 21947 h 2936314"/>
                <a:gd name="connsiteX16" fmla="*/ 11766620 w 11867103"/>
                <a:gd name="connsiteY16" fmla="*/ 52092 h 2936314"/>
                <a:gd name="connsiteX17" fmla="*/ 11786717 w 11867103"/>
                <a:gd name="connsiteY17" fmla="*/ 92285 h 2936314"/>
                <a:gd name="connsiteX18" fmla="*/ 11816862 w 11867103"/>
                <a:gd name="connsiteY18" fmla="*/ 2302923 h 2936314"/>
                <a:gd name="connsiteX19" fmla="*/ 11826910 w 11867103"/>
                <a:gd name="connsiteY19" fmla="*/ 2373261 h 2936314"/>
                <a:gd name="connsiteX20" fmla="*/ 11836958 w 11867103"/>
                <a:gd name="connsiteY20" fmla="*/ 2403406 h 2936314"/>
                <a:gd name="connsiteX21" fmla="*/ 11857055 w 11867103"/>
                <a:gd name="connsiteY21" fmla="*/ 2534035 h 2936314"/>
                <a:gd name="connsiteX22" fmla="*/ 11867103 w 11867103"/>
                <a:gd name="connsiteY22" fmla="*/ 2574228 h 2936314"/>
                <a:gd name="connsiteX23" fmla="*/ 11857055 w 11867103"/>
                <a:gd name="connsiteY23" fmla="*/ 2805340 h 2936314"/>
                <a:gd name="connsiteX24" fmla="*/ 11836958 w 11867103"/>
                <a:gd name="connsiteY24" fmla="*/ 2835485 h 2936314"/>
                <a:gd name="connsiteX25" fmla="*/ 11033090 w 11867103"/>
                <a:gd name="connsiteY25" fmla="*/ 2825437 h 2936314"/>
                <a:gd name="connsiteX26" fmla="*/ 10621108 w 11867103"/>
                <a:gd name="connsiteY26" fmla="*/ 2815389 h 2936314"/>
                <a:gd name="connsiteX27" fmla="*/ 10128739 w 11867103"/>
                <a:gd name="connsiteY27" fmla="*/ 2825437 h 2936314"/>
                <a:gd name="connsiteX28" fmla="*/ 10048352 w 11867103"/>
                <a:gd name="connsiteY28" fmla="*/ 2835485 h 2936314"/>
                <a:gd name="connsiteX29" fmla="*/ 9555982 w 11867103"/>
                <a:gd name="connsiteY29" fmla="*/ 2825437 h 2936314"/>
                <a:gd name="connsiteX30" fmla="*/ 9445451 w 11867103"/>
                <a:gd name="connsiteY30" fmla="*/ 2815389 h 2936314"/>
                <a:gd name="connsiteX31" fmla="*/ 9415306 w 11867103"/>
                <a:gd name="connsiteY31" fmla="*/ 2795292 h 2936314"/>
                <a:gd name="connsiteX32" fmla="*/ 9204290 w 11867103"/>
                <a:gd name="connsiteY32" fmla="*/ 2775195 h 2936314"/>
                <a:gd name="connsiteX33" fmla="*/ 9073662 w 11867103"/>
                <a:gd name="connsiteY33" fmla="*/ 2755098 h 2936314"/>
                <a:gd name="connsiteX34" fmla="*/ 8812404 w 11867103"/>
                <a:gd name="connsiteY34" fmla="*/ 2745050 h 2936314"/>
                <a:gd name="connsiteX35" fmla="*/ 8400422 w 11867103"/>
                <a:gd name="connsiteY35" fmla="*/ 2735002 h 2936314"/>
                <a:gd name="connsiteX36" fmla="*/ 8269793 w 11867103"/>
                <a:gd name="connsiteY36" fmla="*/ 2724953 h 2936314"/>
                <a:gd name="connsiteX37" fmla="*/ 7797521 w 11867103"/>
                <a:gd name="connsiteY37" fmla="*/ 2745050 h 2936314"/>
                <a:gd name="connsiteX38" fmla="*/ 7717134 w 11867103"/>
                <a:gd name="connsiteY38" fmla="*/ 2755098 h 2936314"/>
                <a:gd name="connsiteX39" fmla="*/ 7486022 w 11867103"/>
                <a:gd name="connsiteY39" fmla="*/ 2785244 h 2936314"/>
                <a:gd name="connsiteX40" fmla="*/ 7395587 w 11867103"/>
                <a:gd name="connsiteY40" fmla="*/ 2805340 h 2936314"/>
                <a:gd name="connsiteX41" fmla="*/ 7325248 w 11867103"/>
                <a:gd name="connsiteY41" fmla="*/ 2815389 h 2936314"/>
                <a:gd name="connsiteX42" fmla="*/ 6863024 w 11867103"/>
                <a:gd name="connsiteY42" fmla="*/ 2805340 h 2936314"/>
                <a:gd name="connsiteX43" fmla="*/ 6722347 w 11867103"/>
                <a:gd name="connsiteY43" fmla="*/ 2795292 h 2936314"/>
                <a:gd name="connsiteX44" fmla="*/ 4903596 w 11867103"/>
                <a:gd name="connsiteY44" fmla="*/ 2845534 h 2936314"/>
                <a:gd name="connsiteX45" fmla="*/ 4722725 w 11867103"/>
                <a:gd name="connsiteY45" fmla="*/ 2885727 h 2936314"/>
                <a:gd name="connsiteX46" fmla="*/ 4300695 w 11867103"/>
                <a:gd name="connsiteY46" fmla="*/ 2865630 h 2936314"/>
                <a:gd name="connsiteX47" fmla="*/ 4059534 w 11867103"/>
                <a:gd name="connsiteY47" fmla="*/ 2825437 h 2936314"/>
                <a:gd name="connsiteX48" fmla="*/ 3768132 w 11867103"/>
                <a:gd name="connsiteY48" fmla="*/ 2795292 h 2936314"/>
                <a:gd name="connsiteX49" fmla="*/ 3627455 w 11867103"/>
                <a:gd name="connsiteY49" fmla="*/ 2785244 h 2936314"/>
                <a:gd name="connsiteX50" fmla="*/ 3125037 w 11867103"/>
                <a:gd name="connsiteY50" fmla="*/ 2795292 h 2936314"/>
                <a:gd name="connsiteX51" fmla="*/ 3064747 w 11867103"/>
                <a:gd name="connsiteY51" fmla="*/ 2805340 h 2936314"/>
                <a:gd name="connsiteX52" fmla="*/ 2009670 w 11867103"/>
                <a:gd name="connsiteY52" fmla="*/ 2815389 h 2936314"/>
                <a:gd name="connsiteX53" fmla="*/ 1678075 w 11867103"/>
                <a:gd name="connsiteY53" fmla="*/ 2905824 h 2936314"/>
                <a:gd name="connsiteX54" fmla="*/ 1607736 w 11867103"/>
                <a:gd name="connsiteY54" fmla="*/ 2935969 h 2936314"/>
                <a:gd name="connsiteX55" fmla="*/ 1135464 w 11867103"/>
                <a:gd name="connsiteY55" fmla="*/ 2915872 h 2936314"/>
                <a:gd name="connsiteX56" fmla="*/ 944545 w 11867103"/>
                <a:gd name="connsiteY56" fmla="*/ 2885727 h 2936314"/>
                <a:gd name="connsiteX57" fmla="*/ 723481 w 11867103"/>
                <a:gd name="connsiteY57" fmla="*/ 2845534 h 2936314"/>
                <a:gd name="connsiteX58" fmla="*/ 643095 w 11867103"/>
                <a:gd name="connsiteY58" fmla="*/ 2835485 h 2936314"/>
                <a:gd name="connsiteX59" fmla="*/ 371789 w 11867103"/>
                <a:gd name="connsiteY59" fmla="*/ 2795292 h 2936314"/>
                <a:gd name="connsiteX60" fmla="*/ 0 w 11867103"/>
                <a:gd name="connsiteY60" fmla="*/ 2785244 h 2936314"/>
                <a:gd name="connsiteX0" fmla="*/ 120580 w 11867103"/>
                <a:gd name="connsiteY0" fmla="*/ 146825 h 3061192"/>
                <a:gd name="connsiteX1" fmla="*/ 281354 w 11867103"/>
                <a:gd name="connsiteY1" fmla="*/ 136776 h 3061192"/>
                <a:gd name="connsiteX2" fmla="*/ 673240 w 11867103"/>
                <a:gd name="connsiteY2" fmla="*/ 126728 h 3061192"/>
                <a:gd name="connsiteX3" fmla="*/ 1356528 w 11867103"/>
                <a:gd name="connsiteY3" fmla="*/ 176970 h 3061192"/>
                <a:gd name="connsiteX4" fmla="*/ 1758462 w 11867103"/>
                <a:gd name="connsiteY4" fmla="*/ 136776 h 3061192"/>
                <a:gd name="connsiteX5" fmla="*/ 2140299 w 11867103"/>
                <a:gd name="connsiteY5" fmla="*/ 136776 h 3061192"/>
                <a:gd name="connsiteX6" fmla="*/ 4652387 w 11867103"/>
                <a:gd name="connsiteY6" fmla="*/ 156873 h 3061192"/>
                <a:gd name="connsiteX7" fmla="*/ 4692580 w 11867103"/>
                <a:gd name="connsiteY7" fmla="*/ 166922 h 3061192"/>
                <a:gd name="connsiteX8" fmla="*/ 6420897 w 11867103"/>
                <a:gd name="connsiteY8" fmla="*/ 187018 h 3061192"/>
                <a:gd name="connsiteX9" fmla="*/ 7184571 w 11867103"/>
                <a:gd name="connsiteY9" fmla="*/ 156873 h 3061192"/>
                <a:gd name="connsiteX10" fmla="*/ 7928150 w 11867103"/>
                <a:gd name="connsiteY10" fmla="*/ 156873 h 3061192"/>
                <a:gd name="connsiteX11" fmla="*/ 8219552 w 11867103"/>
                <a:gd name="connsiteY11" fmla="*/ 187018 h 3061192"/>
                <a:gd name="connsiteX12" fmla="*/ 9606224 w 11867103"/>
                <a:gd name="connsiteY12" fmla="*/ 187018 h 3061192"/>
                <a:gd name="connsiteX13" fmla="*/ 9947868 w 11867103"/>
                <a:gd name="connsiteY13" fmla="*/ 156873 h 3061192"/>
                <a:gd name="connsiteX14" fmla="*/ 10791930 w 11867103"/>
                <a:gd name="connsiteY14" fmla="*/ 126728 h 3061192"/>
                <a:gd name="connsiteX15" fmla="*/ 11736475 w 11867103"/>
                <a:gd name="connsiteY15" fmla="*/ 146825 h 3061192"/>
                <a:gd name="connsiteX16" fmla="*/ 11766620 w 11867103"/>
                <a:gd name="connsiteY16" fmla="*/ 176970 h 3061192"/>
                <a:gd name="connsiteX17" fmla="*/ 11816862 w 11867103"/>
                <a:gd name="connsiteY17" fmla="*/ 2427801 h 3061192"/>
                <a:gd name="connsiteX18" fmla="*/ 11826910 w 11867103"/>
                <a:gd name="connsiteY18" fmla="*/ 2498139 h 3061192"/>
                <a:gd name="connsiteX19" fmla="*/ 11836958 w 11867103"/>
                <a:gd name="connsiteY19" fmla="*/ 2528284 h 3061192"/>
                <a:gd name="connsiteX20" fmla="*/ 11857055 w 11867103"/>
                <a:gd name="connsiteY20" fmla="*/ 2658913 h 3061192"/>
                <a:gd name="connsiteX21" fmla="*/ 11867103 w 11867103"/>
                <a:gd name="connsiteY21" fmla="*/ 2699106 h 3061192"/>
                <a:gd name="connsiteX22" fmla="*/ 11857055 w 11867103"/>
                <a:gd name="connsiteY22" fmla="*/ 2930218 h 3061192"/>
                <a:gd name="connsiteX23" fmla="*/ 11836958 w 11867103"/>
                <a:gd name="connsiteY23" fmla="*/ 2960363 h 3061192"/>
                <a:gd name="connsiteX24" fmla="*/ 11033090 w 11867103"/>
                <a:gd name="connsiteY24" fmla="*/ 2950315 h 3061192"/>
                <a:gd name="connsiteX25" fmla="*/ 10621108 w 11867103"/>
                <a:gd name="connsiteY25" fmla="*/ 2940267 h 3061192"/>
                <a:gd name="connsiteX26" fmla="*/ 10128739 w 11867103"/>
                <a:gd name="connsiteY26" fmla="*/ 2950315 h 3061192"/>
                <a:gd name="connsiteX27" fmla="*/ 10048352 w 11867103"/>
                <a:gd name="connsiteY27" fmla="*/ 2960363 h 3061192"/>
                <a:gd name="connsiteX28" fmla="*/ 9555982 w 11867103"/>
                <a:gd name="connsiteY28" fmla="*/ 2950315 h 3061192"/>
                <a:gd name="connsiteX29" fmla="*/ 9445451 w 11867103"/>
                <a:gd name="connsiteY29" fmla="*/ 2940267 h 3061192"/>
                <a:gd name="connsiteX30" fmla="*/ 9415306 w 11867103"/>
                <a:gd name="connsiteY30" fmla="*/ 2920170 h 3061192"/>
                <a:gd name="connsiteX31" fmla="*/ 9204290 w 11867103"/>
                <a:gd name="connsiteY31" fmla="*/ 2900073 h 3061192"/>
                <a:gd name="connsiteX32" fmla="*/ 9073662 w 11867103"/>
                <a:gd name="connsiteY32" fmla="*/ 2879976 h 3061192"/>
                <a:gd name="connsiteX33" fmla="*/ 8812404 w 11867103"/>
                <a:gd name="connsiteY33" fmla="*/ 2869928 h 3061192"/>
                <a:gd name="connsiteX34" fmla="*/ 8400422 w 11867103"/>
                <a:gd name="connsiteY34" fmla="*/ 2859880 h 3061192"/>
                <a:gd name="connsiteX35" fmla="*/ 8269793 w 11867103"/>
                <a:gd name="connsiteY35" fmla="*/ 2849831 h 3061192"/>
                <a:gd name="connsiteX36" fmla="*/ 7797521 w 11867103"/>
                <a:gd name="connsiteY36" fmla="*/ 2869928 h 3061192"/>
                <a:gd name="connsiteX37" fmla="*/ 7717134 w 11867103"/>
                <a:gd name="connsiteY37" fmla="*/ 2879976 h 3061192"/>
                <a:gd name="connsiteX38" fmla="*/ 7486022 w 11867103"/>
                <a:gd name="connsiteY38" fmla="*/ 2910122 h 3061192"/>
                <a:gd name="connsiteX39" fmla="*/ 7395587 w 11867103"/>
                <a:gd name="connsiteY39" fmla="*/ 2930218 h 3061192"/>
                <a:gd name="connsiteX40" fmla="*/ 7325248 w 11867103"/>
                <a:gd name="connsiteY40" fmla="*/ 2940267 h 3061192"/>
                <a:gd name="connsiteX41" fmla="*/ 6863024 w 11867103"/>
                <a:gd name="connsiteY41" fmla="*/ 2930218 h 3061192"/>
                <a:gd name="connsiteX42" fmla="*/ 6722347 w 11867103"/>
                <a:gd name="connsiteY42" fmla="*/ 2920170 h 3061192"/>
                <a:gd name="connsiteX43" fmla="*/ 4903596 w 11867103"/>
                <a:gd name="connsiteY43" fmla="*/ 2970412 h 3061192"/>
                <a:gd name="connsiteX44" fmla="*/ 4722725 w 11867103"/>
                <a:gd name="connsiteY44" fmla="*/ 3010605 h 3061192"/>
                <a:gd name="connsiteX45" fmla="*/ 4300695 w 11867103"/>
                <a:gd name="connsiteY45" fmla="*/ 2990508 h 3061192"/>
                <a:gd name="connsiteX46" fmla="*/ 4059534 w 11867103"/>
                <a:gd name="connsiteY46" fmla="*/ 2950315 h 3061192"/>
                <a:gd name="connsiteX47" fmla="*/ 3768132 w 11867103"/>
                <a:gd name="connsiteY47" fmla="*/ 2920170 h 3061192"/>
                <a:gd name="connsiteX48" fmla="*/ 3627455 w 11867103"/>
                <a:gd name="connsiteY48" fmla="*/ 2910122 h 3061192"/>
                <a:gd name="connsiteX49" fmla="*/ 3125037 w 11867103"/>
                <a:gd name="connsiteY49" fmla="*/ 2920170 h 3061192"/>
                <a:gd name="connsiteX50" fmla="*/ 3064747 w 11867103"/>
                <a:gd name="connsiteY50" fmla="*/ 2930218 h 3061192"/>
                <a:gd name="connsiteX51" fmla="*/ 2009670 w 11867103"/>
                <a:gd name="connsiteY51" fmla="*/ 2940267 h 3061192"/>
                <a:gd name="connsiteX52" fmla="*/ 1678075 w 11867103"/>
                <a:gd name="connsiteY52" fmla="*/ 3030702 h 3061192"/>
                <a:gd name="connsiteX53" fmla="*/ 1607736 w 11867103"/>
                <a:gd name="connsiteY53" fmla="*/ 3060847 h 3061192"/>
                <a:gd name="connsiteX54" fmla="*/ 1135464 w 11867103"/>
                <a:gd name="connsiteY54" fmla="*/ 3040750 h 3061192"/>
                <a:gd name="connsiteX55" fmla="*/ 944545 w 11867103"/>
                <a:gd name="connsiteY55" fmla="*/ 3010605 h 3061192"/>
                <a:gd name="connsiteX56" fmla="*/ 723481 w 11867103"/>
                <a:gd name="connsiteY56" fmla="*/ 2970412 h 3061192"/>
                <a:gd name="connsiteX57" fmla="*/ 643095 w 11867103"/>
                <a:gd name="connsiteY57" fmla="*/ 2960363 h 3061192"/>
                <a:gd name="connsiteX58" fmla="*/ 371789 w 11867103"/>
                <a:gd name="connsiteY58" fmla="*/ 2920170 h 3061192"/>
                <a:gd name="connsiteX59" fmla="*/ 0 w 11867103"/>
                <a:gd name="connsiteY59" fmla="*/ 2910122 h 3061192"/>
                <a:gd name="connsiteX0" fmla="*/ 120580 w 11867103"/>
                <a:gd name="connsiteY0" fmla="*/ 58358 h 2972725"/>
                <a:gd name="connsiteX1" fmla="*/ 281354 w 11867103"/>
                <a:gd name="connsiteY1" fmla="*/ 48309 h 2972725"/>
                <a:gd name="connsiteX2" fmla="*/ 673240 w 11867103"/>
                <a:gd name="connsiteY2" fmla="*/ 38261 h 2972725"/>
                <a:gd name="connsiteX3" fmla="*/ 1356528 w 11867103"/>
                <a:gd name="connsiteY3" fmla="*/ 88503 h 2972725"/>
                <a:gd name="connsiteX4" fmla="*/ 1758462 w 11867103"/>
                <a:gd name="connsiteY4" fmla="*/ 48309 h 2972725"/>
                <a:gd name="connsiteX5" fmla="*/ 2140299 w 11867103"/>
                <a:gd name="connsiteY5" fmla="*/ 48309 h 2972725"/>
                <a:gd name="connsiteX6" fmla="*/ 4652387 w 11867103"/>
                <a:gd name="connsiteY6" fmla="*/ 68406 h 2972725"/>
                <a:gd name="connsiteX7" fmla="*/ 4692580 w 11867103"/>
                <a:gd name="connsiteY7" fmla="*/ 78455 h 2972725"/>
                <a:gd name="connsiteX8" fmla="*/ 6420897 w 11867103"/>
                <a:gd name="connsiteY8" fmla="*/ 98551 h 2972725"/>
                <a:gd name="connsiteX9" fmla="*/ 7184571 w 11867103"/>
                <a:gd name="connsiteY9" fmla="*/ 68406 h 2972725"/>
                <a:gd name="connsiteX10" fmla="*/ 7928150 w 11867103"/>
                <a:gd name="connsiteY10" fmla="*/ 68406 h 2972725"/>
                <a:gd name="connsiteX11" fmla="*/ 8219552 w 11867103"/>
                <a:gd name="connsiteY11" fmla="*/ 98551 h 2972725"/>
                <a:gd name="connsiteX12" fmla="*/ 9606224 w 11867103"/>
                <a:gd name="connsiteY12" fmla="*/ 98551 h 2972725"/>
                <a:gd name="connsiteX13" fmla="*/ 9947868 w 11867103"/>
                <a:gd name="connsiteY13" fmla="*/ 68406 h 2972725"/>
                <a:gd name="connsiteX14" fmla="*/ 10791930 w 11867103"/>
                <a:gd name="connsiteY14" fmla="*/ 38261 h 2972725"/>
                <a:gd name="connsiteX15" fmla="*/ 11736475 w 11867103"/>
                <a:gd name="connsiteY15" fmla="*/ 58358 h 2972725"/>
                <a:gd name="connsiteX16" fmla="*/ 11806813 w 11867103"/>
                <a:gd name="connsiteY16" fmla="*/ 771791 h 2972725"/>
                <a:gd name="connsiteX17" fmla="*/ 11816862 w 11867103"/>
                <a:gd name="connsiteY17" fmla="*/ 2339334 h 2972725"/>
                <a:gd name="connsiteX18" fmla="*/ 11826910 w 11867103"/>
                <a:gd name="connsiteY18" fmla="*/ 2409672 h 2972725"/>
                <a:gd name="connsiteX19" fmla="*/ 11836958 w 11867103"/>
                <a:gd name="connsiteY19" fmla="*/ 2439817 h 2972725"/>
                <a:gd name="connsiteX20" fmla="*/ 11857055 w 11867103"/>
                <a:gd name="connsiteY20" fmla="*/ 2570446 h 2972725"/>
                <a:gd name="connsiteX21" fmla="*/ 11867103 w 11867103"/>
                <a:gd name="connsiteY21" fmla="*/ 2610639 h 2972725"/>
                <a:gd name="connsiteX22" fmla="*/ 11857055 w 11867103"/>
                <a:gd name="connsiteY22" fmla="*/ 2841751 h 2972725"/>
                <a:gd name="connsiteX23" fmla="*/ 11836958 w 11867103"/>
                <a:gd name="connsiteY23" fmla="*/ 2871896 h 2972725"/>
                <a:gd name="connsiteX24" fmla="*/ 11033090 w 11867103"/>
                <a:gd name="connsiteY24" fmla="*/ 2861848 h 2972725"/>
                <a:gd name="connsiteX25" fmla="*/ 10621108 w 11867103"/>
                <a:gd name="connsiteY25" fmla="*/ 2851800 h 2972725"/>
                <a:gd name="connsiteX26" fmla="*/ 10128739 w 11867103"/>
                <a:gd name="connsiteY26" fmla="*/ 2861848 h 2972725"/>
                <a:gd name="connsiteX27" fmla="*/ 10048352 w 11867103"/>
                <a:gd name="connsiteY27" fmla="*/ 2871896 h 2972725"/>
                <a:gd name="connsiteX28" fmla="*/ 9555982 w 11867103"/>
                <a:gd name="connsiteY28" fmla="*/ 2861848 h 2972725"/>
                <a:gd name="connsiteX29" fmla="*/ 9445451 w 11867103"/>
                <a:gd name="connsiteY29" fmla="*/ 2851800 h 2972725"/>
                <a:gd name="connsiteX30" fmla="*/ 9415306 w 11867103"/>
                <a:gd name="connsiteY30" fmla="*/ 2831703 h 2972725"/>
                <a:gd name="connsiteX31" fmla="*/ 9204290 w 11867103"/>
                <a:gd name="connsiteY31" fmla="*/ 2811606 h 2972725"/>
                <a:gd name="connsiteX32" fmla="*/ 9073662 w 11867103"/>
                <a:gd name="connsiteY32" fmla="*/ 2791509 h 2972725"/>
                <a:gd name="connsiteX33" fmla="*/ 8812404 w 11867103"/>
                <a:gd name="connsiteY33" fmla="*/ 2781461 h 2972725"/>
                <a:gd name="connsiteX34" fmla="*/ 8400422 w 11867103"/>
                <a:gd name="connsiteY34" fmla="*/ 2771413 h 2972725"/>
                <a:gd name="connsiteX35" fmla="*/ 8269793 w 11867103"/>
                <a:gd name="connsiteY35" fmla="*/ 2761364 h 2972725"/>
                <a:gd name="connsiteX36" fmla="*/ 7797521 w 11867103"/>
                <a:gd name="connsiteY36" fmla="*/ 2781461 h 2972725"/>
                <a:gd name="connsiteX37" fmla="*/ 7717134 w 11867103"/>
                <a:gd name="connsiteY37" fmla="*/ 2791509 h 2972725"/>
                <a:gd name="connsiteX38" fmla="*/ 7486022 w 11867103"/>
                <a:gd name="connsiteY38" fmla="*/ 2821655 h 2972725"/>
                <a:gd name="connsiteX39" fmla="*/ 7395587 w 11867103"/>
                <a:gd name="connsiteY39" fmla="*/ 2841751 h 2972725"/>
                <a:gd name="connsiteX40" fmla="*/ 7325248 w 11867103"/>
                <a:gd name="connsiteY40" fmla="*/ 2851800 h 2972725"/>
                <a:gd name="connsiteX41" fmla="*/ 6863024 w 11867103"/>
                <a:gd name="connsiteY41" fmla="*/ 2841751 h 2972725"/>
                <a:gd name="connsiteX42" fmla="*/ 6722347 w 11867103"/>
                <a:gd name="connsiteY42" fmla="*/ 2831703 h 2972725"/>
                <a:gd name="connsiteX43" fmla="*/ 4903596 w 11867103"/>
                <a:gd name="connsiteY43" fmla="*/ 2881945 h 2972725"/>
                <a:gd name="connsiteX44" fmla="*/ 4722725 w 11867103"/>
                <a:gd name="connsiteY44" fmla="*/ 2922138 h 2972725"/>
                <a:gd name="connsiteX45" fmla="*/ 4300695 w 11867103"/>
                <a:gd name="connsiteY45" fmla="*/ 2902041 h 2972725"/>
                <a:gd name="connsiteX46" fmla="*/ 4059534 w 11867103"/>
                <a:gd name="connsiteY46" fmla="*/ 2861848 h 2972725"/>
                <a:gd name="connsiteX47" fmla="*/ 3768132 w 11867103"/>
                <a:gd name="connsiteY47" fmla="*/ 2831703 h 2972725"/>
                <a:gd name="connsiteX48" fmla="*/ 3627455 w 11867103"/>
                <a:gd name="connsiteY48" fmla="*/ 2821655 h 2972725"/>
                <a:gd name="connsiteX49" fmla="*/ 3125037 w 11867103"/>
                <a:gd name="connsiteY49" fmla="*/ 2831703 h 2972725"/>
                <a:gd name="connsiteX50" fmla="*/ 3064747 w 11867103"/>
                <a:gd name="connsiteY50" fmla="*/ 2841751 h 2972725"/>
                <a:gd name="connsiteX51" fmla="*/ 2009670 w 11867103"/>
                <a:gd name="connsiteY51" fmla="*/ 2851800 h 2972725"/>
                <a:gd name="connsiteX52" fmla="*/ 1678075 w 11867103"/>
                <a:gd name="connsiteY52" fmla="*/ 2942235 h 2972725"/>
                <a:gd name="connsiteX53" fmla="*/ 1607736 w 11867103"/>
                <a:gd name="connsiteY53" fmla="*/ 2972380 h 2972725"/>
                <a:gd name="connsiteX54" fmla="*/ 1135464 w 11867103"/>
                <a:gd name="connsiteY54" fmla="*/ 2952283 h 2972725"/>
                <a:gd name="connsiteX55" fmla="*/ 944545 w 11867103"/>
                <a:gd name="connsiteY55" fmla="*/ 2922138 h 2972725"/>
                <a:gd name="connsiteX56" fmla="*/ 723481 w 11867103"/>
                <a:gd name="connsiteY56" fmla="*/ 2881945 h 2972725"/>
                <a:gd name="connsiteX57" fmla="*/ 643095 w 11867103"/>
                <a:gd name="connsiteY57" fmla="*/ 2871896 h 2972725"/>
                <a:gd name="connsiteX58" fmla="*/ 371789 w 11867103"/>
                <a:gd name="connsiteY58" fmla="*/ 2831703 h 2972725"/>
                <a:gd name="connsiteX59" fmla="*/ 0 w 11867103"/>
                <a:gd name="connsiteY59" fmla="*/ 2821655 h 2972725"/>
                <a:gd name="connsiteX0" fmla="*/ 120580 w 11867103"/>
                <a:gd name="connsiteY0" fmla="*/ 91200 h 3005567"/>
                <a:gd name="connsiteX1" fmla="*/ 281354 w 11867103"/>
                <a:gd name="connsiteY1" fmla="*/ 81151 h 3005567"/>
                <a:gd name="connsiteX2" fmla="*/ 673240 w 11867103"/>
                <a:gd name="connsiteY2" fmla="*/ 71103 h 3005567"/>
                <a:gd name="connsiteX3" fmla="*/ 1356528 w 11867103"/>
                <a:gd name="connsiteY3" fmla="*/ 121345 h 3005567"/>
                <a:gd name="connsiteX4" fmla="*/ 1758462 w 11867103"/>
                <a:gd name="connsiteY4" fmla="*/ 81151 h 3005567"/>
                <a:gd name="connsiteX5" fmla="*/ 2140299 w 11867103"/>
                <a:gd name="connsiteY5" fmla="*/ 81151 h 3005567"/>
                <a:gd name="connsiteX6" fmla="*/ 4652387 w 11867103"/>
                <a:gd name="connsiteY6" fmla="*/ 101248 h 3005567"/>
                <a:gd name="connsiteX7" fmla="*/ 4692580 w 11867103"/>
                <a:gd name="connsiteY7" fmla="*/ 111297 h 3005567"/>
                <a:gd name="connsiteX8" fmla="*/ 6420897 w 11867103"/>
                <a:gd name="connsiteY8" fmla="*/ 131393 h 3005567"/>
                <a:gd name="connsiteX9" fmla="*/ 7184571 w 11867103"/>
                <a:gd name="connsiteY9" fmla="*/ 101248 h 3005567"/>
                <a:gd name="connsiteX10" fmla="*/ 7928150 w 11867103"/>
                <a:gd name="connsiteY10" fmla="*/ 101248 h 3005567"/>
                <a:gd name="connsiteX11" fmla="*/ 8219552 w 11867103"/>
                <a:gd name="connsiteY11" fmla="*/ 131393 h 3005567"/>
                <a:gd name="connsiteX12" fmla="*/ 9606224 w 11867103"/>
                <a:gd name="connsiteY12" fmla="*/ 131393 h 3005567"/>
                <a:gd name="connsiteX13" fmla="*/ 9947868 w 11867103"/>
                <a:gd name="connsiteY13" fmla="*/ 101248 h 3005567"/>
                <a:gd name="connsiteX14" fmla="*/ 10791930 w 11867103"/>
                <a:gd name="connsiteY14" fmla="*/ 71103 h 3005567"/>
                <a:gd name="connsiteX15" fmla="*/ 11736475 w 11867103"/>
                <a:gd name="connsiteY15" fmla="*/ 91200 h 3005567"/>
                <a:gd name="connsiteX16" fmla="*/ 11806813 w 11867103"/>
                <a:gd name="connsiteY16" fmla="*/ 804633 h 3005567"/>
                <a:gd name="connsiteX17" fmla="*/ 11816862 w 11867103"/>
                <a:gd name="connsiteY17" fmla="*/ 2372176 h 3005567"/>
                <a:gd name="connsiteX18" fmla="*/ 11826910 w 11867103"/>
                <a:gd name="connsiteY18" fmla="*/ 2442514 h 3005567"/>
                <a:gd name="connsiteX19" fmla="*/ 11836958 w 11867103"/>
                <a:gd name="connsiteY19" fmla="*/ 2472659 h 3005567"/>
                <a:gd name="connsiteX20" fmla="*/ 11857055 w 11867103"/>
                <a:gd name="connsiteY20" fmla="*/ 2603288 h 3005567"/>
                <a:gd name="connsiteX21" fmla="*/ 11867103 w 11867103"/>
                <a:gd name="connsiteY21" fmla="*/ 2643481 h 3005567"/>
                <a:gd name="connsiteX22" fmla="*/ 11857055 w 11867103"/>
                <a:gd name="connsiteY22" fmla="*/ 2874593 h 3005567"/>
                <a:gd name="connsiteX23" fmla="*/ 11836958 w 11867103"/>
                <a:gd name="connsiteY23" fmla="*/ 2904738 h 3005567"/>
                <a:gd name="connsiteX24" fmla="*/ 11033090 w 11867103"/>
                <a:gd name="connsiteY24" fmla="*/ 2894690 h 3005567"/>
                <a:gd name="connsiteX25" fmla="*/ 10621108 w 11867103"/>
                <a:gd name="connsiteY25" fmla="*/ 2884642 h 3005567"/>
                <a:gd name="connsiteX26" fmla="*/ 10128739 w 11867103"/>
                <a:gd name="connsiteY26" fmla="*/ 2894690 h 3005567"/>
                <a:gd name="connsiteX27" fmla="*/ 10048352 w 11867103"/>
                <a:gd name="connsiteY27" fmla="*/ 2904738 h 3005567"/>
                <a:gd name="connsiteX28" fmla="*/ 9555982 w 11867103"/>
                <a:gd name="connsiteY28" fmla="*/ 2894690 h 3005567"/>
                <a:gd name="connsiteX29" fmla="*/ 9445451 w 11867103"/>
                <a:gd name="connsiteY29" fmla="*/ 2884642 h 3005567"/>
                <a:gd name="connsiteX30" fmla="*/ 9415306 w 11867103"/>
                <a:gd name="connsiteY30" fmla="*/ 2864545 h 3005567"/>
                <a:gd name="connsiteX31" fmla="*/ 9204290 w 11867103"/>
                <a:gd name="connsiteY31" fmla="*/ 2844448 h 3005567"/>
                <a:gd name="connsiteX32" fmla="*/ 9073662 w 11867103"/>
                <a:gd name="connsiteY32" fmla="*/ 2824351 h 3005567"/>
                <a:gd name="connsiteX33" fmla="*/ 8812404 w 11867103"/>
                <a:gd name="connsiteY33" fmla="*/ 2814303 h 3005567"/>
                <a:gd name="connsiteX34" fmla="*/ 8400422 w 11867103"/>
                <a:gd name="connsiteY34" fmla="*/ 2804255 h 3005567"/>
                <a:gd name="connsiteX35" fmla="*/ 8269793 w 11867103"/>
                <a:gd name="connsiteY35" fmla="*/ 2794206 h 3005567"/>
                <a:gd name="connsiteX36" fmla="*/ 7797521 w 11867103"/>
                <a:gd name="connsiteY36" fmla="*/ 2814303 h 3005567"/>
                <a:gd name="connsiteX37" fmla="*/ 7717134 w 11867103"/>
                <a:gd name="connsiteY37" fmla="*/ 2824351 h 3005567"/>
                <a:gd name="connsiteX38" fmla="*/ 7486022 w 11867103"/>
                <a:gd name="connsiteY38" fmla="*/ 2854497 h 3005567"/>
                <a:gd name="connsiteX39" fmla="*/ 7395587 w 11867103"/>
                <a:gd name="connsiteY39" fmla="*/ 2874593 h 3005567"/>
                <a:gd name="connsiteX40" fmla="*/ 7325248 w 11867103"/>
                <a:gd name="connsiteY40" fmla="*/ 2884642 h 3005567"/>
                <a:gd name="connsiteX41" fmla="*/ 6863024 w 11867103"/>
                <a:gd name="connsiteY41" fmla="*/ 2874593 h 3005567"/>
                <a:gd name="connsiteX42" fmla="*/ 6722347 w 11867103"/>
                <a:gd name="connsiteY42" fmla="*/ 2864545 h 3005567"/>
                <a:gd name="connsiteX43" fmla="*/ 4903596 w 11867103"/>
                <a:gd name="connsiteY43" fmla="*/ 2914787 h 3005567"/>
                <a:gd name="connsiteX44" fmla="*/ 4722725 w 11867103"/>
                <a:gd name="connsiteY44" fmla="*/ 2954980 h 3005567"/>
                <a:gd name="connsiteX45" fmla="*/ 4300695 w 11867103"/>
                <a:gd name="connsiteY45" fmla="*/ 2934883 h 3005567"/>
                <a:gd name="connsiteX46" fmla="*/ 4059534 w 11867103"/>
                <a:gd name="connsiteY46" fmla="*/ 2894690 h 3005567"/>
                <a:gd name="connsiteX47" fmla="*/ 3768132 w 11867103"/>
                <a:gd name="connsiteY47" fmla="*/ 2864545 h 3005567"/>
                <a:gd name="connsiteX48" fmla="*/ 3627455 w 11867103"/>
                <a:gd name="connsiteY48" fmla="*/ 2854497 h 3005567"/>
                <a:gd name="connsiteX49" fmla="*/ 3125037 w 11867103"/>
                <a:gd name="connsiteY49" fmla="*/ 2864545 h 3005567"/>
                <a:gd name="connsiteX50" fmla="*/ 3064747 w 11867103"/>
                <a:gd name="connsiteY50" fmla="*/ 2874593 h 3005567"/>
                <a:gd name="connsiteX51" fmla="*/ 2009670 w 11867103"/>
                <a:gd name="connsiteY51" fmla="*/ 2884642 h 3005567"/>
                <a:gd name="connsiteX52" fmla="*/ 1678075 w 11867103"/>
                <a:gd name="connsiteY52" fmla="*/ 2975077 h 3005567"/>
                <a:gd name="connsiteX53" fmla="*/ 1607736 w 11867103"/>
                <a:gd name="connsiteY53" fmla="*/ 3005222 h 3005567"/>
                <a:gd name="connsiteX54" fmla="*/ 1135464 w 11867103"/>
                <a:gd name="connsiteY54" fmla="*/ 2985125 h 3005567"/>
                <a:gd name="connsiteX55" fmla="*/ 944545 w 11867103"/>
                <a:gd name="connsiteY55" fmla="*/ 2954980 h 3005567"/>
                <a:gd name="connsiteX56" fmla="*/ 723481 w 11867103"/>
                <a:gd name="connsiteY56" fmla="*/ 2914787 h 3005567"/>
                <a:gd name="connsiteX57" fmla="*/ 643095 w 11867103"/>
                <a:gd name="connsiteY57" fmla="*/ 2904738 h 3005567"/>
                <a:gd name="connsiteX58" fmla="*/ 371789 w 11867103"/>
                <a:gd name="connsiteY58" fmla="*/ 2864545 h 3005567"/>
                <a:gd name="connsiteX59" fmla="*/ 0 w 11867103"/>
                <a:gd name="connsiteY59" fmla="*/ 2854497 h 3005567"/>
                <a:gd name="connsiteX0" fmla="*/ 120580 w 11867103"/>
                <a:gd name="connsiteY0" fmla="*/ 55611 h 2969978"/>
                <a:gd name="connsiteX1" fmla="*/ 281354 w 11867103"/>
                <a:gd name="connsiteY1" fmla="*/ 45562 h 2969978"/>
                <a:gd name="connsiteX2" fmla="*/ 673240 w 11867103"/>
                <a:gd name="connsiteY2" fmla="*/ 35514 h 2969978"/>
                <a:gd name="connsiteX3" fmla="*/ 1356528 w 11867103"/>
                <a:gd name="connsiteY3" fmla="*/ 85756 h 2969978"/>
                <a:gd name="connsiteX4" fmla="*/ 1758462 w 11867103"/>
                <a:gd name="connsiteY4" fmla="*/ 45562 h 2969978"/>
                <a:gd name="connsiteX5" fmla="*/ 2140299 w 11867103"/>
                <a:gd name="connsiteY5" fmla="*/ 45562 h 2969978"/>
                <a:gd name="connsiteX6" fmla="*/ 4652387 w 11867103"/>
                <a:gd name="connsiteY6" fmla="*/ 65659 h 2969978"/>
                <a:gd name="connsiteX7" fmla="*/ 4692580 w 11867103"/>
                <a:gd name="connsiteY7" fmla="*/ 75708 h 2969978"/>
                <a:gd name="connsiteX8" fmla="*/ 6420897 w 11867103"/>
                <a:gd name="connsiteY8" fmla="*/ 95804 h 2969978"/>
                <a:gd name="connsiteX9" fmla="*/ 7184571 w 11867103"/>
                <a:gd name="connsiteY9" fmla="*/ 65659 h 2969978"/>
                <a:gd name="connsiteX10" fmla="*/ 7928150 w 11867103"/>
                <a:gd name="connsiteY10" fmla="*/ 65659 h 2969978"/>
                <a:gd name="connsiteX11" fmla="*/ 8219552 w 11867103"/>
                <a:gd name="connsiteY11" fmla="*/ 95804 h 2969978"/>
                <a:gd name="connsiteX12" fmla="*/ 9606224 w 11867103"/>
                <a:gd name="connsiteY12" fmla="*/ 95804 h 2969978"/>
                <a:gd name="connsiteX13" fmla="*/ 9947868 w 11867103"/>
                <a:gd name="connsiteY13" fmla="*/ 65659 h 2969978"/>
                <a:gd name="connsiteX14" fmla="*/ 10791930 w 11867103"/>
                <a:gd name="connsiteY14" fmla="*/ 35514 h 2969978"/>
                <a:gd name="connsiteX15" fmla="*/ 11736475 w 11867103"/>
                <a:gd name="connsiteY15" fmla="*/ 55611 h 2969978"/>
                <a:gd name="connsiteX16" fmla="*/ 11806813 w 11867103"/>
                <a:gd name="connsiteY16" fmla="*/ 769044 h 2969978"/>
                <a:gd name="connsiteX17" fmla="*/ 11816862 w 11867103"/>
                <a:gd name="connsiteY17" fmla="*/ 2336587 h 2969978"/>
                <a:gd name="connsiteX18" fmla="*/ 11826910 w 11867103"/>
                <a:gd name="connsiteY18" fmla="*/ 2406925 h 2969978"/>
                <a:gd name="connsiteX19" fmla="*/ 11836958 w 11867103"/>
                <a:gd name="connsiteY19" fmla="*/ 2437070 h 2969978"/>
                <a:gd name="connsiteX20" fmla="*/ 11857055 w 11867103"/>
                <a:gd name="connsiteY20" fmla="*/ 2567699 h 2969978"/>
                <a:gd name="connsiteX21" fmla="*/ 11867103 w 11867103"/>
                <a:gd name="connsiteY21" fmla="*/ 2607892 h 2969978"/>
                <a:gd name="connsiteX22" fmla="*/ 11857055 w 11867103"/>
                <a:gd name="connsiteY22" fmla="*/ 2839004 h 2969978"/>
                <a:gd name="connsiteX23" fmla="*/ 11836958 w 11867103"/>
                <a:gd name="connsiteY23" fmla="*/ 2869149 h 2969978"/>
                <a:gd name="connsiteX24" fmla="*/ 11033090 w 11867103"/>
                <a:gd name="connsiteY24" fmla="*/ 2859101 h 2969978"/>
                <a:gd name="connsiteX25" fmla="*/ 10621108 w 11867103"/>
                <a:gd name="connsiteY25" fmla="*/ 2849053 h 2969978"/>
                <a:gd name="connsiteX26" fmla="*/ 10128739 w 11867103"/>
                <a:gd name="connsiteY26" fmla="*/ 2859101 h 2969978"/>
                <a:gd name="connsiteX27" fmla="*/ 10048352 w 11867103"/>
                <a:gd name="connsiteY27" fmla="*/ 2869149 h 2969978"/>
                <a:gd name="connsiteX28" fmla="*/ 9555982 w 11867103"/>
                <a:gd name="connsiteY28" fmla="*/ 2859101 h 2969978"/>
                <a:gd name="connsiteX29" fmla="*/ 9445451 w 11867103"/>
                <a:gd name="connsiteY29" fmla="*/ 2849053 h 2969978"/>
                <a:gd name="connsiteX30" fmla="*/ 9415306 w 11867103"/>
                <a:gd name="connsiteY30" fmla="*/ 2828956 h 2969978"/>
                <a:gd name="connsiteX31" fmla="*/ 9204290 w 11867103"/>
                <a:gd name="connsiteY31" fmla="*/ 2808859 h 2969978"/>
                <a:gd name="connsiteX32" fmla="*/ 9073662 w 11867103"/>
                <a:gd name="connsiteY32" fmla="*/ 2788762 h 2969978"/>
                <a:gd name="connsiteX33" fmla="*/ 8812404 w 11867103"/>
                <a:gd name="connsiteY33" fmla="*/ 2778714 h 2969978"/>
                <a:gd name="connsiteX34" fmla="*/ 8400422 w 11867103"/>
                <a:gd name="connsiteY34" fmla="*/ 2768666 h 2969978"/>
                <a:gd name="connsiteX35" fmla="*/ 8269793 w 11867103"/>
                <a:gd name="connsiteY35" fmla="*/ 2758617 h 2969978"/>
                <a:gd name="connsiteX36" fmla="*/ 7797521 w 11867103"/>
                <a:gd name="connsiteY36" fmla="*/ 2778714 h 2969978"/>
                <a:gd name="connsiteX37" fmla="*/ 7717134 w 11867103"/>
                <a:gd name="connsiteY37" fmla="*/ 2788762 h 2969978"/>
                <a:gd name="connsiteX38" fmla="*/ 7486022 w 11867103"/>
                <a:gd name="connsiteY38" fmla="*/ 2818908 h 2969978"/>
                <a:gd name="connsiteX39" fmla="*/ 7395587 w 11867103"/>
                <a:gd name="connsiteY39" fmla="*/ 2839004 h 2969978"/>
                <a:gd name="connsiteX40" fmla="*/ 7325248 w 11867103"/>
                <a:gd name="connsiteY40" fmla="*/ 2849053 h 2969978"/>
                <a:gd name="connsiteX41" fmla="*/ 6863024 w 11867103"/>
                <a:gd name="connsiteY41" fmla="*/ 2839004 h 2969978"/>
                <a:gd name="connsiteX42" fmla="*/ 6722347 w 11867103"/>
                <a:gd name="connsiteY42" fmla="*/ 2828956 h 2969978"/>
                <a:gd name="connsiteX43" fmla="*/ 4903596 w 11867103"/>
                <a:gd name="connsiteY43" fmla="*/ 2879198 h 2969978"/>
                <a:gd name="connsiteX44" fmla="*/ 4722725 w 11867103"/>
                <a:gd name="connsiteY44" fmla="*/ 2919391 h 2969978"/>
                <a:gd name="connsiteX45" fmla="*/ 4300695 w 11867103"/>
                <a:gd name="connsiteY45" fmla="*/ 2899294 h 2969978"/>
                <a:gd name="connsiteX46" fmla="*/ 4059534 w 11867103"/>
                <a:gd name="connsiteY46" fmla="*/ 2859101 h 2969978"/>
                <a:gd name="connsiteX47" fmla="*/ 3768132 w 11867103"/>
                <a:gd name="connsiteY47" fmla="*/ 2828956 h 2969978"/>
                <a:gd name="connsiteX48" fmla="*/ 3627455 w 11867103"/>
                <a:gd name="connsiteY48" fmla="*/ 2818908 h 2969978"/>
                <a:gd name="connsiteX49" fmla="*/ 3125037 w 11867103"/>
                <a:gd name="connsiteY49" fmla="*/ 2828956 h 2969978"/>
                <a:gd name="connsiteX50" fmla="*/ 3064747 w 11867103"/>
                <a:gd name="connsiteY50" fmla="*/ 2839004 h 2969978"/>
                <a:gd name="connsiteX51" fmla="*/ 2009670 w 11867103"/>
                <a:gd name="connsiteY51" fmla="*/ 2849053 h 2969978"/>
                <a:gd name="connsiteX52" fmla="*/ 1678075 w 11867103"/>
                <a:gd name="connsiteY52" fmla="*/ 2939488 h 2969978"/>
                <a:gd name="connsiteX53" fmla="*/ 1607736 w 11867103"/>
                <a:gd name="connsiteY53" fmla="*/ 2969633 h 2969978"/>
                <a:gd name="connsiteX54" fmla="*/ 1135464 w 11867103"/>
                <a:gd name="connsiteY54" fmla="*/ 2949536 h 2969978"/>
                <a:gd name="connsiteX55" fmla="*/ 944545 w 11867103"/>
                <a:gd name="connsiteY55" fmla="*/ 2919391 h 2969978"/>
                <a:gd name="connsiteX56" fmla="*/ 723481 w 11867103"/>
                <a:gd name="connsiteY56" fmla="*/ 2879198 h 2969978"/>
                <a:gd name="connsiteX57" fmla="*/ 643095 w 11867103"/>
                <a:gd name="connsiteY57" fmla="*/ 2869149 h 2969978"/>
                <a:gd name="connsiteX58" fmla="*/ 371789 w 11867103"/>
                <a:gd name="connsiteY58" fmla="*/ 2828956 h 2969978"/>
                <a:gd name="connsiteX59" fmla="*/ 0 w 11867103"/>
                <a:gd name="connsiteY59" fmla="*/ 2818908 h 2969978"/>
                <a:gd name="connsiteX0" fmla="*/ 120580 w 11867103"/>
                <a:gd name="connsiteY0" fmla="*/ 55611 h 2969978"/>
                <a:gd name="connsiteX1" fmla="*/ 281354 w 11867103"/>
                <a:gd name="connsiteY1" fmla="*/ 45562 h 2969978"/>
                <a:gd name="connsiteX2" fmla="*/ 673240 w 11867103"/>
                <a:gd name="connsiteY2" fmla="*/ 35514 h 2969978"/>
                <a:gd name="connsiteX3" fmla="*/ 1356528 w 11867103"/>
                <a:gd name="connsiteY3" fmla="*/ 85756 h 2969978"/>
                <a:gd name="connsiteX4" fmla="*/ 1758462 w 11867103"/>
                <a:gd name="connsiteY4" fmla="*/ 45562 h 2969978"/>
                <a:gd name="connsiteX5" fmla="*/ 2140299 w 11867103"/>
                <a:gd name="connsiteY5" fmla="*/ 45562 h 2969978"/>
                <a:gd name="connsiteX6" fmla="*/ 4652387 w 11867103"/>
                <a:gd name="connsiteY6" fmla="*/ 65659 h 2969978"/>
                <a:gd name="connsiteX7" fmla="*/ 4692580 w 11867103"/>
                <a:gd name="connsiteY7" fmla="*/ 75708 h 2969978"/>
                <a:gd name="connsiteX8" fmla="*/ 6420897 w 11867103"/>
                <a:gd name="connsiteY8" fmla="*/ 95804 h 2969978"/>
                <a:gd name="connsiteX9" fmla="*/ 7184571 w 11867103"/>
                <a:gd name="connsiteY9" fmla="*/ 65659 h 2969978"/>
                <a:gd name="connsiteX10" fmla="*/ 7928150 w 11867103"/>
                <a:gd name="connsiteY10" fmla="*/ 65659 h 2969978"/>
                <a:gd name="connsiteX11" fmla="*/ 8219552 w 11867103"/>
                <a:gd name="connsiteY11" fmla="*/ 95804 h 2969978"/>
                <a:gd name="connsiteX12" fmla="*/ 9606224 w 11867103"/>
                <a:gd name="connsiteY12" fmla="*/ 95804 h 2969978"/>
                <a:gd name="connsiteX13" fmla="*/ 9947868 w 11867103"/>
                <a:gd name="connsiteY13" fmla="*/ 65659 h 2969978"/>
                <a:gd name="connsiteX14" fmla="*/ 10791930 w 11867103"/>
                <a:gd name="connsiteY14" fmla="*/ 35514 h 2969978"/>
                <a:gd name="connsiteX15" fmla="*/ 11736475 w 11867103"/>
                <a:gd name="connsiteY15" fmla="*/ 55611 h 2969978"/>
                <a:gd name="connsiteX16" fmla="*/ 11806813 w 11867103"/>
                <a:gd name="connsiteY16" fmla="*/ 769044 h 2969978"/>
                <a:gd name="connsiteX17" fmla="*/ 11816862 w 11867103"/>
                <a:gd name="connsiteY17" fmla="*/ 2336587 h 2969978"/>
                <a:gd name="connsiteX18" fmla="*/ 11826910 w 11867103"/>
                <a:gd name="connsiteY18" fmla="*/ 2406925 h 2969978"/>
                <a:gd name="connsiteX19" fmla="*/ 11857055 w 11867103"/>
                <a:gd name="connsiteY19" fmla="*/ 2567699 h 2969978"/>
                <a:gd name="connsiteX20" fmla="*/ 11867103 w 11867103"/>
                <a:gd name="connsiteY20" fmla="*/ 2607892 h 2969978"/>
                <a:gd name="connsiteX21" fmla="*/ 11857055 w 11867103"/>
                <a:gd name="connsiteY21" fmla="*/ 2839004 h 2969978"/>
                <a:gd name="connsiteX22" fmla="*/ 11836958 w 11867103"/>
                <a:gd name="connsiteY22" fmla="*/ 2869149 h 2969978"/>
                <a:gd name="connsiteX23" fmla="*/ 11033090 w 11867103"/>
                <a:gd name="connsiteY23" fmla="*/ 2859101 h 2969978"/>
                <a:gd name="connsiteX24" fmla="*/ 10621108 w 11867103"/>
                <a:gd name="connsiteY24" fmla="*/ 2849053 h 2969978"/>
                <a:gd name="connsiteX25" fmla="*/ 10128739 w 11867103"/>
                <a:gd name="connsiteY25" fmla="*/ 2859101 h 2969978"/>
                <a:gd name="connsiteX26" fmla="*/ 10048352 w 11867103"/>
                <a:gd name="connsiteY26" fmla="*/ 2869149 h 2969978"/>
                <a:gd name="connsiteX27" fmla="*/ 9555982 w 11867103"/>
                <a:gd name="connsiteY27" fmla="*/ 2859101 h 2969978"/>
                <a:gd name="connsiteX28" fmla="*/ 9445451 w 11867103"/>
                <a:gd name="connsiteY28" fmla="*/ 2849053 h 2969978"/>
                <a:gd name="connsiteX29" fmla="*/ 9415306 w 11867103"/>
                <a:gd name="connsiteY29" fmla="*/ 2828956 h 2969978"/>
                <a:gd name="connsiteX30" fmla="*/ 9204290 w 11867103"/>
                <a:gd name="connsiteY30" fmla="*/ 2808859 h 2969978"/>
                <a:gd name="connsiteX31" fmla="*/ 9073662 w 11867103"/>
                <a:gd name="connsiteY31" fmla="*/ 2788762 h 2969978"/>
                <a:gd name="connsiteX32" fmla="*/ 8812404 w 11867103"/>
                <a:gd name="connsiteY32" fmla="*/ 2778714 h 2969978"/>
                <a:gd name="connsiteX33" fmla="*/ 8400422 w 11867103"/>
                <a:gd name="connsiteY33" fmla="*/ 2768666 h 2969978"/>
                <a:gd name="connsiteX34" fmla="*/ 8269793 w 11867103"/>
                <a:gd name="connsiteY34" fmla="*/ 2758617 h 2969978"/>
                <a:gd name="connsiteX35" fmla="*/ 7797521 w 11867103"/>
                <a:gd name="connsiteY35" fmla="*/ 2778714 h 2969978"/>
                <a:gd name="connsiteX36" fmla="*/ 7717134 w 11867103"/>
                <a:gd name="connsiteY36" fmla="*/ 2788762 h 2969978"/>
                <a:gd name="connsiteX37" fmla="*/ 7486022 w 11867103"/>
                <a:gd name="connsiteY37" fmla="*/ 2818908 h 2969978"/>
                <a:gd name="connsiteX38" fmla="*/ 7395587 w 11867103"/>
                <a:gd name="connsiteY38" fmla="*/ 2839004 h 2969978"/>
                <a:gd name="connsiteX39" fmla="*/ 7325248 w 11867103"/>
                <a:gd name="connsiteY39" fmla="*/ 2849053 h 2969978"/>
                <a:gd name="connsiteX40" fmla="*/ 6863024 w 11867103"/>
                <a:gd name="connsiteY40" fmla="*/ 2839004 h 2969978"/>
                <a:gd name="connsiteX41" fmla="*/ 6722347 w 11867103"/>
                <a:gd name="connsiteY41" fmla="*/ 2828956 h 2969978"/>
                <a:gd name="connsiteX42" fmla="*/ 4903596 w 11867103"/>
                <a:gd name="connsiteY42" fmla="*/ 2879198 h 2969978"/>
                <a:gd name="connsiteX43" fmla="*/ 4722725 w 11867103"/>
                <a:gd name="connsiteY43" fmla="*/ 2919391 h 2969978"/>
                <a:gd name="connsiteX44" fmla="*/ 4300695 w 11867103"/>
                <a:gd name="connsiteY44" fmla="*/ 2899294 h 2969978"/>
                <a:gd name="connsiteX45" fmla="*/ 4059534 w 11867103"/>
                <a:gd name="connsiteY45" fmla="*/ 2859101 h 2969978"/>
                <a:gd name="connsiteX46" fmla="*/ 3768132 w 11867103"/>
                <a:gd name="connsiteY46" fmla="*/ 2828956 h 2969978"/>
                <a:gd name="connsiteX47" fmla="*/ 3627455 w 11867103"/>
                <a:gd name="connsiteY47" fmla="*/ 2818908 h 2969978"/>
                <a:gd name="connsiteX48" fmla="*/ 3125037 w 11867103"/>
                <a:gd name="connsiteY48" fmla="*/ 2828956 h 2969978"/>
                <a:gd name="connsiteX49" fmla="*/ 3064747 w 11867103"/>
                <a:gd name="connsiteY49" fmla="*/ 2839004 h 2969978"/>
                <a:gd name="connsiteX50" fmla="*/ 2009670 w 11867103"/>
                <a:gd name="connsiteY50" fmla="*/ 2849053 h 2969978"/>
                <a:gd name="connsiteX51" fmla="*/ 1678075 w 11867103"/>
                <a:gd name="connsiteY51" fmla="*/ 2939488 h 2969978"/>
                <a:gd name="connsiteX52" fmla="*/ 1607736 w 11867103"/>
                <a:gd name="connsiteY52" fmla="*/ 2969633 h 2969978"/>
                <a:gd name="connsiteX53" fmla="*/ 1135464 w 11867103"/>
                <a:gd name="connsiteY53" fmla="*/ 2949536 h 2969978"/>
                <a:gd name="connsiteX54" fmla="*/ 944545 w 11867103"/>
                <a:gd name="connsiteY54" fmla="*/ 2919391 h 2969978"/>
                <a:gd name="connsiteX55" fmla="*/ 723481 w 11867103"/>
                <a:gd name="connsiteY55" fmla="*/ 2879198 h 2969978"/>
                <a:gd name="connsiteX56" fmla="*/ 643095 w 11867103"/>
                <a:gd name="connsiteY56" fmla="*/ 2869149 h 2969978"/>
                <a:gd name="connsiteX57" fmla="*/ 371789 w 11867103"/>
                <a:gd name="connsiteY57" fmla="*/ 2828956 h 2969978"/>
                <a:gd name="connsiteX58" fmla="*/ 0 w 11867103"/>
                <a:gd name="connsiteY58" fmla="*/ 2818908 h 2969978"/>
                <a:gd name="connsiteX0" fmla="*/ 120580 w 11867103"/>
                <a:gd name="connsiteY0" fmla="*/ 55611 h 2969978"/>
                <a:gd name="connsiteX1" fmla="*/ 281354 w 11867103"/>
                <a:gd name="connsiteY1" fmla="*/ 45562 h 2969978"/>
                <a:gd name="connsiteX2" fmla="*/ 673240 w 11867103"/>
                <a:gd name="connsiteY2" fmla="*/ 35514 h 2969978"/>
                <a:gd name="connsiteX3" fmla="*/ 1356528 w 11867103"/>
                <a:gd name="connsiteY3" fmla="*/ 85756 h 2969978"/>
                <a:gd name="connsiteX4" fmla="*/ 1758462 w 11867103"/>
                <a:gd name="connsiteY4" fmla="*/ 45562 h 2969978"/>
                <a:gd name="connsiteX5" fmla="*/ 2140299 w 11867103"/>
                <a:gd name="connsiteY5" fmla="*/ 45562 h 2969978"/>
                <a:gd name="connsiteX6" fmla="*/ 4652387 w 11867103"/>
                <a:gd name="connsiteY6" fmla="*/ 65659 h 2969978"/>
                <a:gd name="connsiteX7" fmla="*/ 4692580 w 11867103"/>
                <a:gd name="connsiteY7" fmla="*/ 75708 h 2969978"/>
                <a:gd name="connsiteX8" fmla="*/ 6420897 w 11867103"/>
                <a:gd name="connsiteY8" fmla="*/ 95804 h 2969978"/>
                <a:gd name="connsiteX9" fmla="*/ 7184571 w 11867103"/>
                <a:gd name="connsiteY9" fmla="*/ 65659 h 2969978"/>
                <a:gd name="connsiteX10" fmla="*/ 7928150 w 11867103"/>
                <a:gd name="connsiteY10" fmla="*/ 65659 h 2969978"/>
                <a:gd name="connsiteX11" fmla="*/ 8219552 w 11867103"/>
                <a:gd name="connsiteY11" fmla="*/ 95804 h 2969978"/>
                <a:gd name="connsiteX12" fmla="*/ 9606224 w 11867103"/>
                <a:gd name="connsiteY12" fmla="*/ 95804 h 2969978"/>
                <a:gd name="connsiteX13" fmla="*/ 9947868 w 11867103"/>
                <a:gd name="connsiteY13" fmla="*/ 65659 h 2969978"/>
                <a:gd name="connsiteX14" fmla="*/ 10791930 w 11867103"/>
                <a:gd name="connsiteY14" fmla="*/ 35514 h 2969978"/>
                <a:gd name="connsiteX15" fmla="*/ 11736475 w 11867103"/>
                <a:gd name="connsiteY15" fmla="*/ 55611 h 2969978"/>
                <a:gd name="connsiteX16" fmla="*/ 11806813 w 11867103"/>
                <a:gd name="connsiteY16" fmla="*/ 769044 h 2969978"/>
                <a:gd name="connsiteX17" fmla="*/ 11816862 w 11867103"/>
                <a:gd name="connsiteY17" fmla="*/ 2336587 h 2969978"/>
                <a:gd name="connsiteX18" fmla="*/ 11857055 w 11867103"/>
                <a:gd name="connsiteY18" fmla="*/ 2567699 h 2969978"/>
                <a:gd name="connsiteX19" fmla="*/ 11867103 w 11867103"/>
                <a:gd name="connsiteY19" fmla="*/ 2607892 h 2969978"/>
                <a:gd name="connsiteX20" fmla="*/ 11857055 w 11867103"/>
                <a:gd name="connsiteY20" fmla="*/ 2839004 h 2969978"/>
                <a:gd name="connsiteX21" fmla="*/ 11836958 w 11867103"/>
                <a:gd name="connsiteY21" fmla="*/ 2869149 h 2969978"/>
                <a:gd name="connsiteX22" fmla="*/ 11033090 w 11867103"/>
                <a:gd name="connsiteY22" fmla="*/ 2859101 h 2969978"/>
                <a:gd name="connsiteX23" fmla="*/ 10621108 w 11867103"/>
                <a:gd name="connsiteY23" fmla="*/ 2849053 h 2969978"/>
                <a:gd name="connsiteX24" fmla="*/ 10128739 w 11867103"/>
                <a:gd name="connsiteY24" fmla="*/ 2859101 h 2969978"/>
                <a:gd name="connsiteX25" fmla="*/ 10048352 w 11867103"/>
                <a:gd name="connsiteY25" fmla="*/ 2869149 h 2969978"/>
                <a:gd name="connsiteX26" fmla="*/ 9555982 w 11867103"/>
                <a:gd name="connsiteY26" fmla="*/ 2859101 h 2969978"/>
                <a:gd name="connsiteX27" fmla="*/ 9445451 w 11867103"/>
                <a:gd name="connsiteY27" fmla="*/ 2849053 h 2969978"/>
                <a:gd name="connsiteX28" fmla="*/ 9415306 w 11867103"/>
                <a:gd name="connsiteY28" fmla="*/ 2828956 h 2969978"/>
                <a:gd name="connsiteX29" fmla="*/ 9204290 w 11867103"/>
                <a:gd name="connsiteY29" fmla="*/ 2808859 h 2969978"/>
                <a:gd name="connsiteX30" fmla="*/ 9073662 w 11867103"/>
                <a:gd name="connsiteY30" fmla="*/ 2788762 h 2969978"/>
                <a:gd name="connsiteX31" fmla="*/ 8812404 w 11867103"/>
                <a:gd name="connsiteY31" fmla="*/ 2778714 h 2969978"/>
                <a:gd name="connsiteX32" fmla="*/ 8400422 w 11867103"/>
                <a:gd name="connsiteY32" fmla="*/ 2768666 h 2969978"/>
                <a:gd name="connsiteX33" fmla="*/ 8269793 w 11867103"/>
                <a:gd name="connsiteY33" fmla="*/ 2758617 h 2969978"/>
                <a:gd name="connsiteX34" fmla="*/ 7797521 w 11867103"/>
                <a:gd name="connsiteY34" fmla="*/ 2778714 h 2969978"/>
                <a:gd name="connsiteX35" fmla="*/ 7717134 w 11867103"/>
                <a:gd name="connsiteY35" fmla="*/ 2788762 h 2969978"/>
                <a:gd name="connsiteX36" fmla="*/ 7486022 w 11867103"/>
                <a:gd name="connsiteY36" fmla="*/ 2818908 h 2969978"/>
                <a:gd name="connsiteX37" fmla="*/ 7395587 w 11867103"/>
                <a:gd name="connsiteY37" fmla="*/ 2839004 h 2969978"/>
                <a:gd name="connsiteX38" fmla="*/ 7325248 w 11867103"/>
                <a:gd name="connsiteY38" fmla="*/ 2849053 h 2969978"/>
                <a:gd name="connsiteX39" fmla="*/ 6863024 w 11867103"/>
                <a:gd name="connsiteY39" fmla="*/ 2839004 h 2969978"/>
                <a:gd name="connsiteX40" fmla="*/ 6722347 w 11867103"/>
                <a:gd name="connsiteY40" fmla="*/ 2828956 h 2969978"/>
                <a:gd name="connsiteX41" fmla="*/ 4903596 w 11867103"/>
                <a:gd name="connsiteY41" fmla="*/ 2879198 h 2969978"/>
                <a:gd name="connsiteX42" fmla="*/ 4722725 w 11867103"/>
                <a:gd name="connsiteY42" fmla="*/ 2919391 h 2969978"/>
                <a:gd name="connsiteX43" fmla="*/ 4300695 w 11867103"/>
                <a:gd name="connsiteY43" fmla="*/ 2899294 h 2969978"/>
                <a:gd name="connsiteX44" fmla="*/ 4059534 w 11867103"/>
                <a:gd name="connsiteY44" fmla="*/ 2859101 h 2969978"/>
                <a:gd name="connsiteX45" fmla="*/ 3768132 w 11867103"/>
                <a:gd name="connsiteY45" fmla="*/ 2828956 h 2969978"/>
                <a:gd name="connsiteX46" fmla="*/ 3627455 w 11867103"/>
                <a:gd name="connsiteY46" fmla="*/ 2818908 h 2969978"/>
                <a:gd name="connsiteX47" fmla="*/ 3125037 w 11867103"/>
                <a:gd name="connsiteY47" fmla="*/ 2828956 h 2969978"/>
                <a:gd name="connsiteX48" fmla="*/ 3064747 w 11867103"/>
                <a:gd name="connsiteY48" fmla="*/ 2839004 h 2969978"/>
                <a:gd name="connsiteX49" fmla="*/ 2009670 w 11867103"/>
                <a:gd name="connsiteY49" fmla="*/ 2849053 h 2969978"/>
                <a:gd name="connsiteX50" fmla="*/ 1678075 w 11867103"/>
                <a:gd name="connsiteY50" fmla="*/ 2939488 h 2969978"/>
                <a:gd name="connsiteX51" fmla="*/ 1607736 w 11867103"/>
                <a:gd name="connsiteY51" fmla="*/ 2969633 h 2969978"/>
                <a:gd name="connsiteX52" fmla="*/ 1135464 w 11867103"/>
                <a:gd name="connsiteY52" fmla="*/ 2949536 h 2969978"/>
                <a:gd name="connsiteX53" fmla="*/ 944545 w 11867103"/>
                <a:gd name="connsiteY53" fmla="*/ 2919391 h 2969978"/>
                <a:gd name="connsiteX54" fmla="*/ 723481 w 11867103"/>
                <a:gd name="connsiteY54" fmla="*/ 2879198 h 2969978"/>
                <a:gd name="connsiteX55" fmla="*/ 643095 w 11867103"/>
                <a:gd name="connsiteY55" fmla="*/ 2869149 h 2969978"/>
                <a:gd name="connsiteX56" fmla="*/ 371789 w 11867103"/>
                <a:gd name="connsiteY56" fmla="*/ 2828956 h 2969978"/>
                <a:gd name="connsiteX57" fmla="*/ 0 w 11867103"/>
                <a:gd name="connsiteY57" fmla="*/ 2818908 h 2969978"/>
                <a:gd name="connsiteX0" fmla="*/ 120580 w 11860922"/>
                <a:gd name="connsiteY0" fmla="*/ 55611 h 2969978"/>
                <a:gd name="connsiteX1" fmla="*/ 281354 w 11860922"/>
                <a:gd name="connsiteY1" fmla="*/ 45562 h 2969978"/>
                <a:gd name="connsiteX2" fmla="*/ 673240 w 11860922"/>
                <a:gd name="connsiteY2" fmla="*/ 35514 h 2969978"/>
                <a:gd name="connsiteX3" fmla="*/ 1356528 w 11860922"/>
                <a:gd name="connsiteY3" fmla="*/ 85756 h 2969978"/>
                <a:gd name="connsiteX4" fmla="*/ 1758462 w 11860922"/>
                <a:gd name="connsiteY4" fmla="*/ 45562 h 2969978"/>
                <a:gd name="connsiteX5" fmla="*/ 2140299 w 11860922"/>
                <a:gd name="connsiteY5" fmla="*/ 45562 h 2969978"/>
                <a:gd name="connsiteX6" fmla="*/ 4652387 w 11860922"/>
                <a:gd name="connsiteY6" fmla="*/ 65659 h 2969978"/>
                <a:gd name="connsiteX7" fmla="*/ 4692580 w 11860922"/>
                <a:gd name="connsiteY7" fmla="*/ 75708 h 2969978"/>
                <a:gd name="connsiteX8" fmla="*/ 6420897 w 11860922"/>
                <a:gd name="connsiteY8" fmla="*/ 95804 h 2969978"/>
                <a:gd name="connsiteX9" fmla="*/ 7184571 w 11860922"/>
                <a:gd name="connsiteY9" fmla="*/ 65659 h 2969978"/>
                <a:gd name="connsiteX10" fmla="*/ 7928150 w 11860922"/>
                <a:gd name="connsiteY10" fmla="*/ 65659 h 2969978"/>
                <a:gd name="connsiteX11" fmla="*/ 8219552 w 11860922"/>
                <a:gd name="connsiteY11" fmla="*/ 95804 h 2969978"/>
                <a:gd name="connsiteX12" fmla="*/ 9606224 w 11860922"/>
                <a:gd name="connsiteY12" fmla="*/ 95804 h 2969978"/>
                <a:gd name="connsiteX13" fmla="*/ 9947868 w 11860922"/>
                <a:gd name="connsiteY13" fmla="*/ 65659 h 2969978"/>
                <a:gd name="connsiteX14" fmla="*/ 10791930 w 11860922"/>
                <a:gd name="connsiteY14" fmla="*/ 35514 h 2969978"/>
                <a:gd name="connsiteX15" fmla="*/ 11736475 w 11860922"/>
                <a:gd name="connsiteY15" fmla="*/ 55611 h 2969978"/>
                <a:gd name="connsiteX16" fmla="*/ 11806813 w 11860922"/>
                <a:gd name="connsiteY16" fmla="*/ 769044 h 2969978"/>
                <a:gd name="connsiteX17" fmla="*/ 11816862 w 11860922"/>
                <a:gd name="connsiteY17" fmla="*/ 2336587 h 2969978"/>
                <a:gd name="connsiteX18" fmla="*/ 11857055 w 11860922"/>
                <a:gd name="connsiteY18" fmla="*/ 2567699 h 2969978"/>
                <a:gd name="connsiteX19" fmla="*/ 11857055 w 11860922"/>
                <a:gd name="connsiteY19" fmla="*/ 2839004 h 2969978"/>
                <a:gd name="connsiteX20" fmla="*/ 11836958 w 11860922"/>
                <a:gd name="connsiteY20" fmla="*/ 2869149 h 2969978"/>
                <a:gd name="connsiteX21" fmla="*/ 11033090 w 11860922"/>
                <a:gd name="connsiteY21" fmla="*/ 2859101 h 2969978"/>
                <a:gd name="connsiteX22" fmla="*/ 10621108 w 11860922"/>
                <a:gd name="connsiteY22" fmla="*/ 2849053 h 2969978"/>
                <a:gd name="connsiteX23" fmla="*/ 10128739 w 11860922"/>
                <a:gd name="connsiteY23" fmla="*/ 2859101 h 2969978"/>
                <a:gd name="connsiteX24" fmla="*/ 10048352 w 11860922"/>
                <a:gd name="connsiteY24" fmla="*/ 2869149 h 2969978"/>
                <a:gd name="connsiteX25" fmla="*/ 9555982 w 11860922"/>
                <a:gd name="connsiteY25" fmla="*/ 2859101 h 2969978"/>
                <a:gd name="connsiteX26" fmla="*/ 9445451 w 11860922"/>
                <a:gd name="connsiteY26" fmla="*/ 2849053 h 2969978"/>
                <a:gd name="connsiteX27" fmla="*/ 9415306 w 11860922"/>
                <a:gd name="connsiteY27" fmla="*/ 2828956 h 2969978"/>
                <a:gd name="connsiteX28" fmla="*/ 9204290 w 11860922"/>
                <a:gd name="connsiteY28" fmla="*/ 2808859 h 2969978"/>
                <a:gd name="connsiteX29" fmla="*/ 9073662 w 11860922"/>
                <a:gd name="connsiteY29" fmla="*/ 2788762 h 2969978"/>
                <a:gd name="connsiteX30" fmla="*/ 8812404 w 11860922"/>
                <a:gd name="connsiteY30" fmla="*/ 2778714 h 2969978"/>
                <a:gd name="connsiteX31" fmla="*/ 8400422 w 11860922"/>
                <a:gd name="connsiteY31" fmla="*/ 2768666 h 2969978"/>
                <a:gd name="connsiteX32" fmla="*/ 8269793 w 11860922"/>
                <a:gd name="connsiteY32" fmla="*/ 2758617 h 2969978"/>
                <a:gd name="connsiteX33" fmla="*/ 7797521 w 11860922"/>
                <a:gd name="connsiteY33" fmla="*/ 2778714 h 2969978"/>
                <a:gd name="connsiteX34" fmla="*/ 7717134 w 11860922"/>
                <a:gd name="connsiteY34" fmla="*/ 2788762 h 2969978"/>
                <a:gd name="connsiteX35" fmla="*/ 7486022 w 11860922"/>
                <a:gd name="connsiteY35" fmla="*/ 2818908 h 2969978"/>
                <a:gd name="connsiteX36" fmla="*/ 7395587 w 11860922"/>
                <a:gd name="connsiteY36" fmla="*/ 2839004 h 2969978"/>
                <a:gd name="connsiteX37" fmla="*/ 7325248 w 11860922"/>
                <a:gd name="connsiteY37" fmla="*/ 2849053 h 2969978"/>
                <a:gd name="connsiteX38" fmla="*/ 6863024 w 11860922"/>
                <a:gd name="connsiteY38" fmla="*/ 2839004 h 2969978"/>
                <a:gd name="connsiteX39" fmla="*/ 6722347 w 11860922"/>
                <a:gd name="connsiteY39" fmla="*/ 2828956 h 2969978"/>
                <a:gd name="connsiteX40" fmla="*/ 4903596 w 11860922"/>
                <a:gd name="connsiteY40" fmla="*/ 2879198 h 2969978"/>
                <a:gd name="connsiteX41" fmla="*/ 4722725 w 11860922"/>
                <a:gd name="connsiteY41" fmla="*/ 2919391 h 2969978"/>
                <a:gd name="connsiteX42" fmla="*/ 4300695 w 11860922"/>
                <a:gd name="connsiteY42" fmla="*/ 2899294 h 2969978"/>
                <a:gd name="connsiteX43" fmla="*/ 4059534 w 11860922"/>
                <a:gd name="connsiteY43" fmla="*/ 2859101 h 2969978"/>
                <a:gd name="connsiteX44" fmla="*/ 3768132 w 11860922"/>
                <a:gd name="connsiteY44" fmla="*/ 2828956 h 2969978"/>
                <a:gd name="connsiteX45" fmla="*/ 3627455 w 11860922"/>
                <a:gd name="connsiteY45" fmla="*/ 2818908 h 2969978"/>
                <a:gd name="connsiteX46" fmla="*/ 3125037 w 11860922"/>
                <a:gd name="connsiteY46" fmla="*/ 2828956 h 2969978"/>
                <a:gd name="connsiteX47" fmla="*/ 3064747 w 11860922"/>
                <a:gd name="connsiteY47" fmla="*/ 2839004 h 2969978"/>
                <a:gd name="connsiteX48" fmla="*/ 2009670 w 11860922"/>
                <a:gd name="connsiteY48" fmla="*/ 2849053 h 2969978"/>
                <a:gd name="connsiteX49" fmla="*/ 1678075 w 11860922"/>
                <a:gd name="connsiteY49" fmla="*/ 2939488 h 2969978"/>
                <a:gd name="connsiteX50" fmla="*/ 1607736 w 11860922"/>
                <a:gd name="connsiteY50" fmla="*/ 2969633 h 2969978"/>
                <a:gd name="connsiteX51" fmla="*/ 1135464 w 11860922"/>
                <a:gd name="connsiteY51" fmla="*/ 2949536 h 2969978"/>
                <a:gd name="connsiteX52" fmla="*/ 944545 w 11860922"/>
                <a:gd name="connsiteY52" fmla="*/ 2919391 h 2969978"/>
                <a:gd name="connsiteX53" fmla="*/ 723481 w 11860922"/>
                <a:gd name="connsiteY53" fmla="*/ 2879198 h 2969978"/>
                <a:gd name="connsiteX54" fmla="*/ 643095 w 11860922"/>
                <a:gd name="connsiteY54" fmla="*/ 2869149 h 2969978"/>
                <a:gd name="connsiteX55" fmla="*/ 371789 w 11860922"/>
                <a:gd name="connsiteY55" fmla="*/ 2828956 h 2969978"/>
                <a:gd name="connsiteX56" fmla="*/ 0 w 11860922"/>
                <a:gd name="connsiteY56" fmla="*/ 2818908 h 2969978"/>
                <a:gd name="connsiteX0" fmla="*/ 120580 w 11857648"/>
                <a:gd name="connsiteY0" fmla="*/ 55611 h 2969978"/>
                <a:gd name="connsiteX1" fmla="*/ 281354 w 11857648"/>
                <a:gd name="connsiteY1" fmla="*/ 45562 h 2969978"/>
                <a:gd name="connsiteX2" fmla="*/ 673240 w 11857648"/>
                <a:gd name="connsiteY2" fmla="*/ 35514 h 2969978"/>
                <a:gd name="connsiteX3" fmla="*/ 1356528 w 11857648"/>
                <a:gd name="connsiteY3" fmla="*/ 85756 h 2969978"/>
                <a:gd name="connsiteX4" fmla="*/ 1758462 w 11857648"/>
                <a:gd name="connsiteY4" fmla="*/ 45562 h 2969978"/>
                <a:gd name="connsiteX5" fmla="*/ 2140299 w 11857648"/>
                <a:gd name="connsiteY5" fmla="*/ 45562 h 2969978"/>
                <a:gd name="connsiteX6" fmla="*/ 4652387 w 11857648"/>
                <a:gd name="connsiteY6" fmla="*/ 65659 h 2969978"/>
                <a:gd name="connsiteX7" fmla="*/ 4692580 w 11857648"/>
                <a:gd name="connsiteY7" fmla="*/ 75708 h 2969978"/>
                <a:gd name="connsiteX8" fmla="*/ 6420897 w 11857648"/>
                <a:gd name="connsiteY8" fmla="*/ 95804 h 2969978"/>
                <a:gd name="connsiteX9" fmla="*/ 7184571 w 11857648"/>
                <a:gd name="connsiteY9" fmla="*/ 65659 h 2969978"/>
                <a:gd name="connsiteX10" fmla="*/ 7928150 w 11857648"/>
                <a:gd name="connsiteY10" fmla="*/ 65659 h 2969978"/>
                <a:gd name="connsiteX11" fmla="*/ 8219552 w 11857648"/>
                <a:gd name="connsiteY11" fmla="*/ 95804 h 2969978"/>
                <a:gd name="connsiteX12" fmla="*/ 9606224 w 11857648"/>
                <a:gd name="connsiteY12" fmla="*/ 95804 h 2969978"/>
                <a:gd name="connsiteX13" fmla="*/ 9947868 w 11857648"/>
                <a:gd name="connsiteY13" fmla="*/ 65659 h 2969978"/>
                <a:gd name="connsiteX14" fmla="*/ 10791930 w 11857648"/>
                <a:gd name="connsiteY14" fmla="*/ 35514 h 2969978"/>
                <a:gd name="connsiteX15" fmla="*/ 11736475 w 11857648"/>
                <a:gd name="connsiteY15" fmla="*/ 55611 h 2969978"/>
                <a:gd name="connsiteX16" fmla="*/ 11806813 w 11857648"/>
                <a:gd name="connsiteY16" fmla="*/ 769044 h 2969978"/>
                <a:gd name="connsiteX17" fmla="*/ 11816862 w 11857648"/>
                <a:gd name="connsiteY17" fmla="*/ 2336587 h 2969978"/>
                <a:gd name="connsiteX18" fmla="*/ 11857055 w 11857648"/>
                <a:gd name="connsiteY18" fmla="*/ 2839004 h 2969978"/>
                <a:gd name="connsiteX19" fmla="*/ 11836958 w 11857648"/>
                <a:gd name="connsiteY19" fmla="*/ 2869149 h 2969978"/>
                <a:gd name="connsiteX20" fmla="*/ 11033090 w 11857648"/>
                <a:gd name="connsiteY20" fmla="*/ 2859101 h 2969978"/>
                <a:gd name="connsiteX21" fmla="*/ 10621108 w 11857648"/>
                <a:gd name="connsiteY21" fmla="*/ 2849053 h 2969978"/>
                <a:gd name="connsiteX22" fmla="*/ 10128739 w 11857648"/>
                <a:gd name="connsiteY22" fmla="*/ 2859101 h 2969978"/>
                <a:gd name="connsiteX23" fmla="*/ 10048352 w 11857648"/>
                <a:gd name="connsiteY23" fmla="*/ 2869149 h 2969978"/>
                <a:gd name="connsiteX24" fmla="*/ 9555982 w 11857648"/>
                <a:gd name="connsiteY24" fmla="*/ 2859101 h 2969978"/>
                <a:gd name="connsiteX25" fmla="*/ 9445451 w 11857648"/>
                <a:gd name="connsiteY25" fmla="*/ 2849053 h 2969978"/>
                <a:gd name="connsiteX26" fmla="*/ 9415306 w 11857648"/>
                <a:gd name="connsiteY26" fmla="*/ 2828956 h 2969978"/>
                <a:gd name="connsiteX27" fmla="*/ 9204290 w 11857648"/>
                <a:gd name="connsiteY27" fmla="*/ 2808859 h 2969978"/>
                <a:gd name="connsiteX28" fmla="*/ 9073662 w 11857648"/>
                <a:gd name="connsiteY28" fmla="*/ 2788762 h 2969978"/>
                <a:gd name="connsiteX29" fmla="*/ 8812404 w 11857648"/>
                <a:gd name="connsiteY29" fmla="*/ 2778714 h 2969978"/>
                <a:gd name="connsiteX30" fmla="*/ 8400422 w 11857648"/>
                <a:gd name="connsiteY30" fmla="*/ 2768666 h 2969978"/>
                <a:gd name="connsiteX31" fmla="*/ 8269793 w 11857648"/>
                <a:gd name="connsiteY31" fmla="*/ 2758617 h 2969978"/>
                <a:gd name="connsiteX32" fmla="*/ 7797521 w 11857648"/>
                <a:gd name="connsiteY32" fmla="*/ 2778714 h 2969978"/>
                <a:gd name="connsiteX33" fmla="*/ 7717134 w 11857648"/>
                <a:gd name="connsiteY33" fmla="*/ 2788762 h 2969978"/>
                <a:gd name="connsiteX34" fmla="*/ 7486022 w 11857648"/>
                <a:gd name="connsiteY34" fmla="*/ 2818908 h 2969978"/>
                <a:gd name="connsiteX35" fmla="*/ 7395587 w 11857648"/>
                <a:gd name="connsiteY35" fmla="*/ 2839004 h 2969978"/>
                <a:gd name="connsiteX36" fmla="*/ 7325248 w 11857648"/>
                <a:gd name="connsiteY36" fmla="*/ 2849053 h 2969978"/>
                <a:gd name="connsiteX37" fmla="*/ 6863024 w 11857648"/>
                <a:gd name="connsiteY37" fmla="*/ 2839004 h 2969978"/>
                <a:gd name="connsiteX38" fmla="*/ 6722347 w 11857648"/>
                <a:gd name="connsiteY38" fmla="*/ 2828956 h 2969978"/>
                <a:gd name="connsiteX39" fmla="*/ 4903596 w 11857648"/>
                <a:gd name="connsiteY39" fmla="*/ 2879198 h 2969978"/>
                <a:gd name="connsiteX40" fmla="*/ 4722725 w 11857648"/>
                <a:gd name="connsiteY40" fmla="*/ 2919391 h 2969978"/>
                <a:gd name="connsiteX41" fmla="*/ 4300695 w 11857648"/>
                <a:gd name="connsiteY41" fmla="*/ 2899294 h 2969978"/>
                <a:gd name="connsiteX42" fmla="*/ 4059534 w 11857648"/>
                <a:gd name="connsiteY42" fmla="*/ 2859101 h 2969978"/>
                <a:gd name="connsiteX43" fmla="*/ 3768132 w 11857648"/>
                <a:gd name="connsiteY43" fmla="*/ 2828956 h 2969978"/>
                <a:gd name="connsiteX44" fmla="*/ 3627455 w 11857648"/>
                <a:gd name="connsiteY44" fmla="*/ 2818908 h 2969978"/>
                <a:gd name="connsiteX45" fmla="*/ 3125037 w 11857648"/>
                <a:gd name="connsiteY45" fmla="*/ 2828956 h 2969978"/>
                <a:gd name="connsiteX46" fmla="*/ 3064747 w 11857648"/>
                <a:gd name="connsiteY46" fmla="*/ 2839004 h 2969978"/>
                <a:gd name="connsiteX47" fmla="*/ 2009670 w 11857648"/>
                <a:gd name="connsiteY47" fmla="*/ 2849053 h 2969978"/>
                <a:gd name="connsiteX48" fmla="*/ 1678075 w 11857648"/>
                <a:gd name="connsiteY48" fmla="*/ 2939488 h 2969978"/>
                <a:gd name="connsiteX49" fmla="*/ 1607736 w 11857648"/>
                <a:gd name="connsiteY49" fmla="*/ 2969633 h 2969978"/>
                <a:gd name="connsiteX50" fmla="*/ 1135464 w 11857648"/>
                <a:gd name="connsiteY50" fmla="*/ 2949536 h 2969978"/>
                <a:gd name="connsiteX51" fmla="*/ 944545 w 11857648"/>
                <a:gd name="connsiteY51" fmla="*/ 2919391 h 2969978"/>
                <a:gd name="connsiteX52" fmla="*/ 723481 w 11857648"/>
                <a:gd name="connsiteY52" fmla="*/ 2879198 h 2969978"/>
                <a:gd name="connsiteX53" fmla="*/ 643095 w 11857648"/>
                <a:gd name="connsiteY53" fmla="*/ 2869149 h 2969978"/>
                <a:gd name="connsiteX54" fmla="*/ 371789 w 11857648"/>
                <a:gd name="connsiteY54" fmla="*/ 2828956 h 2969978"/>
                <a:gd name="connsiteX55" fmla="*/ 0 w 11857648"/>
                <a:gd name="connsiteY55" fmla="*/ 2818908 h 2969978"/>
                <a:gd name="connsiteX0" fmla="*/ 120580 w 11907678"/>
                <a:gd name="connsiteY0" fmla="*/ 55611 h 2969978"/>
                <a:gd name="connsiteX1" fmla="*/ 281354 w 11907678"/>
                <a:gd name="connsiteY1" fmla="*/ 45562 h 2969978"/>
                <a:gd name="connsiteX2" fmla="*/ 673240 w 11907678"/>
                <a:gd name="connsiteY2" fmla="*/ 35514 h 2969978"/>
                <a:gd name="connsiteX3" fmla="*/ 1356528 w 11907678"/>
                <a:gd name="connsiteY3" fmla="*/ 85756 h 2969978"/>
                <a:gd name="connsiteX4" fmla="*/ 1758462 w 11907678"/>
                <a:gd name="connsiteY4" fmla="*/ 45562 h 2969978"/>
                <a:gd name="connsiteX5" fmla="*/ 2140299 w 11907678"/>
                <a:gd name="connsiteY5" fmla="*/ 45562 h 2969978"/>
                <a:gd name="connsiteX6" fmla="*/ 4652387 w 11907678"/>
                <a:gd name="connsiteY6" fmla="*/ 65659 h 2969978"/>
                <a:gd name="connsiteX7" fmla="*/ 4692580 w 11907678"/>
                <a:gd name="connsiteY7" fmla="*/ 75708 h 2969978"/>
                <a:gd name="connsiteX8" fmla="*/ 6420897 w 11907678"/>
                <a:gd name="connsiteY8" fmla="*/ 95804 h 2969978"/>
                <a:gd name="connsiteX9" fmla="*/ 7184571 w 11907678"/>
                <a:gd name="connsiteY9" fmla="*/ 65659 h 2969978"/>
                <a:gd name="connsiteX10" fmla="*/ 7928150 w 11907678"/>
                <a:gd name="connsiteY10" fmla="*/ 65659 h 2969978"/>
                <a:gd name="connsiteX11" fmla="*/ 8219552 w 11907678"/>
                <a:gd name="connsiteY11" fmla="*/ 95804 h 2969978"/>
                <a:gd name="connsiteX12" fmla="*/ 9606224 w 11907678"/>
                <a:gd name="connsiteY12" fmla="*/ 95804 h 2969978"/>
                <a:gd name="connsiteX13" fmla="*/ 9947868 w 11907678"/>
                <a:gd name="connsiteY13" fmla="*/ 65659 h 2969978"/>
                <a:gd name="connsiteX14" fmla="*/ 10791930 w 11907678"/>
                <a:gd name="connsiteY14" fmla="*/ 35514 h 2969978"/>
                <a:gd name="connsiteX15" fmla="*/ 11736475 w 11907678"/>
                <a:gd name="connsiteY15" fmla="*/ 55611 h 2969978"/>
                <a:gd name="connsiteX16" fmla="*/ 11806813 w 11907678"/>
                <a:gd name="connsiteY16" fmla="*/ 769044 h 2969978"/>
                <a:gd name="connsiteX17" fmla="*/ 11816862 w 11907678"/>
                <a:gd name="connsiteY17" fmla="*/ 2336587 h 2969978"/>
                <a:gd name="connsiteX18" fmla="*/ 11857055 w 11907678"/>
                <a:gd name="connsiteY18" fmla="*/ 2839004 h 2969978"/>
                <a:gd name="connsiteX19" fmla="*/ 11033090 w 11907678"/>
                <a:gd name="connsiteY19" fmla="*/ 2859101 h 2969978"/>
                <a:gd name="connsiteX20" fmla="*/ 10621108 w 11907678"/>
                <a:gd name="connsiteY20" fmla="*/ 2849053 h 2969978"/>
                <a:gd name="connsiteX21" fmla="*/ 10128739 w 11907678"/>
                <a:gd name="connsiteY21" fmla="*/ 2859101 h 2969978"/>
                <a:gd name="connsiteX22" fmla="*/ 10048352 w 11907678"/>
                <a:gd name="connsiteY22" fmla="*/ 2869149 h 2969978"/>
                <a:gd name="connsiteX23" fmla="*/ 9555982 w 11907678"/>
                <a:gd name="connsiteY23" fmla="*/ 2859101 h 2969978"/>
                <a:gd name="connsiteX24" fmla="*/ 9445451 w 11907678"/>
                <a:gd name="connsiteY24" fmla="*/ 2849053 h 2969978"/>
                <a:gd name="connsiteX25" fmla="*/ 9415306 w 11907678"/>
                <a:gd name="connsiteY25" fmla="*/ 2828956 h 2969978"/>
                <a:gd name="connsiteX26" fmla="*/ 9204290 w 11907678"/>
                <a:gd name="connsiteY26" fmla="*/ 2808859 h 2969978"/>
                <a:gd name="connsiteX27" fmla="*/ 9073662 w 11907678"/>
                <a:gd name="connsiteY27" fmla="*/ 2788762 h 2969978"/>
                <a:gd name="connsiteX28" fmla="*/ 8812404 w 11907678"/>
                <a:gd name="connsiteY28" fmla="*/ 2778714 h 2969978"/>
                <a:gd name="connsiteX29" fmla="*/ 8400422 w 11907678"/>
                <a:gd name="connsiteY29" fmla="*/ 2768666 h 2969978"/>
                <a:gd name="connsiteX30" fmla="*/ 8269793 w 11907678"/>
                <a:gd name="connsiteY30" fmla="*/ 2758617 h 2969978"/>
                <a:gd name="connsiteX31" fmla="*/ 7797521 w 11907678"/>
                <a:gd name="connsiteY31" fmla="*/ 2778714 h 2969978"/>
                <a:gd name="connsiteX32" fmla="*/ 7717134 w 11907678"/>
                <a:gd name="connsiteY32" fmla="*/ 2788762 h 2969978"/>
                <a:gd name="connsiteX33" fmla="*/ 7486022 w 11907678"/>
                <a:gd name="connsiteY33" fmla="*/ 2818908 h 2969978"/>
                <a:gd name="connsiteX34" fmla="*/ 7395587 w 11907678"/>
                <a:gd name="connsiteY34" fmla="*/ 2839004 h 2969978"/>
                <a:gd name="connsiteX35" fmla="*/ 7325248 w 11907678"/>
                <a:gd name="connsiteY35" fmla="*/ 2849053 h 2969978"/>
                <a:gd name="connsiteX36" fmla="*/ 6863024 w 11907678"/>
                <a:gd name="connsiteY36" fmla="*/ 2839004 h 2969978"/>
                <a:gd name="connsiteX37" fmla="*/ 6722347 w 11907678"/>
                <a:gd name="connsiteY37" fmla="*/ 2828956 h 2969978"/>
                <a:gd name="connsiteX38" fmla="*/ 4903596 w 11907678"/>
                <a:gd name="connsiteY38" fmla="*/ 2879198 h 2969978"/>
                <a:gd name="connsiteX39" fmla="*/ 4722725 w 11907678"/>
                <a:gd name="connsiteY39" fmla="*/ 2919391 h 2969978"/>
                <a:gd name="connsiteX40" fmla="*/ 4300695 w 11907678"/>
                <a:gd name="connsiteY40" fmla="*/ 2899294 h 2969978"/>
                <a:gd name="connsiteX41" fmla="*/ 4059534 w 11907678"/>
                <a:gd name="connsiteY41" fmla="*/ 2859101 h 2969978"/>
                <a:gd name="connsiteX42" fmla="*/ 3768132 w 11907678"/>
                <a:gd name="connsiteY42" fmla="*/ 2828956 h 2969978"/>
                <a:gd name="connsiteX43" fmla="*/ 3627455 w 11907678"/>
                <a:gd name="connsiteY43" fmla="*/ 2818908 h 2969978"/>
                <a:gd name="connsiteX44" fmla="*/ 3125037 w 11907678"/>
                <a:gd name="connsiteY44" fmla="*/ 2828956 h 2969978"/>
                <a:gd name="connsiteX45" fmla="*/ 3064747 w 11907678"/>
                <a:gd name="connsiteY45" fmla="*/ 2839004 h 2969978"/>
                <a:gd name="connsiteX46" fmla="*/ 2009670 w 11907678"/>
                <a:gd name="connsiteY46" fmla="*/ 2849053 h 2969978"/>
                <a:gd name="connsiteX47" fmla="*/ 1678075 w 11907678"/>
                <a:gd name="connsiteY47" fmla="*/ 2939488 h 2969978"/>
                <a:gd name="connsiteX48" fmla="*/ 1607736 w 11907678"/>
                <a:gd name="connsiteY48" fmla="*/ 2969633 h 2969978"/>
                <a:gd name="connsiteX49" fmla="*/ 1135464 w 11907678"/>
                <a:gd name="connsiteY49" fmla="*/ 2949536 h 2969978"/>
                <a:gd name="connsiteX50" fmla="*/ 944545 w 11907678"/>
                <a:gd name="connsiteY50" fmla="*/ 2919391 h 2969978"/>
                <a:gd name="connsiteX51" fmla="*/ 723481 w 11907678"/>
                <a:gd name="connsiteY51" fmla="*/ 2879198 h 2969978"/>
                <a:gd name="connsiteX52" fmla="*/ 643095 w 11907678"/>
                <a:gd name="connsiteY52" fmla="*/ 2869149 h 2969978"/>
                <a:gd name="connsiteX53" fmla="*/ 371789 w 11907678"/>
                <a:gd name="connsiteY53" fmla="*/ 2828956 h 2969978"/>
                <a:gd name="connsiteX54" fmla="*/ 0 w 11907678"/>
                <a:gd name="connsiteY54" fmla="*/ 2818908 h 2969978"/>
                <a:gd name="connsiteX0" fmla="*/ 120580 w 11869655"/>
                <a:gd name="connsiteY0" fmla="*/ 55611 h 2969978"/>
                <a:gd name="connsiteX1" fmla="*/ 281354 w 11869655"/>
                <a:gd name="connsiteY1" fmla="*/ 45562 h 2969978"/>
                <a:gd name="connsiteX2" fmla="*/ 673240 w 11869655"/>
                <a:gd name="connsiteY2" fmla="*/ 35514 h 2969978"/>
                <a:gd name="connsiteX3" fmla="*/ 1356528 w 11869655"/>
                <a:gd name="connsiteY3" fmla="*/ 85756 h 2969978"/>
                <a:gd name="connsiteX4" fmla="*/ 1758462 w 11869655"/>
                <a:gd name="connsiteY4" fmla="*/ 45562 h 2969978"/>
                <a:gd name="connsiteX5" fmla="*/ 2140299 w 11869655"/>
                <a:gd name="connsiteY5" fmla="*/ 45562 h 2969978"/>
                <a:gd name="connsiteX6" fmla="*/ 4652387 w 11869655"/>
                <a:gd name="connsiteY6" fmla="*/ 65659 h 2969978"/>
                <a:gd name="connsiteX7" fmla="*/ 4692580 w 11869655"/>
                <a:gd name="connsiteY7" fmla="*/ 75708 h 2969978"/>
                <a:gd name="connsiteX8" fmla="*/ 6420897 w 11869655"/>
                <a:gd name="connsiteY8" fmla="*/ 95804 h 2969978"/>
                <a:gd name="connsiteX9" fmla="*/ 7184571 w 11869655"/>
                <a:gd name="connsiteY9" fmla="*/ 65659 h 2969978"/>
                <a:gd name="connsiteX10" fmla="*/ 7928150 w 11869655"/>
                <a:gd name="connsiteY10" fmla="*/ 65659 h 2969978"/>
                <a:gd name="connsiteX11" fmla="*/ 8219552 w 11869655"/>
                <a:gd name="connsiteY11" fmla="*/ 95804 h 2969978"/>
                <a:gd name="connsiteX12" fmla="*/ 9606224 w 11869655"/>
                <a:gd name="connsiteY12" fmla="*/ 95804 h 2969978"/>
                <a:gd name="connsiteX13" fmla="*/ 9947868 w 11869655"/>
                <a:gd name="connsiteY13" fmla="*/ 65659 h 2969978"/>
                <a:gd name="connsiteX14" fmla="*/ 10791930 w 11869655"/>
                <a:gd name="connsiteY14" fmla="*/ 35514 h 2969978"/>
                <a:gd name="connsiteX15" fmla="*/ 11736475 w 11869655"/>
                <a:gd name="connsiteY15" fmla="*/ 55611 h 2969978"/>
                <a:gd name="connsiteX16" fmla="*/ 11806813 w 11869655"/>
                <a:gd name="connsiteY16" fmla="*/ 769044 h 2969978"/>
                <a:gd name="connsiteX17" fmla="*/ 11816862 w 11869655"/>
                <a:gd name="connsiteY17" fmla="*/ 2336587 h 2969978"/>
                <a:gd name="connsiteX18" fmla="*/ 11806813 w 11869655"/>
                <a:gd name="connsiteY18" fmla="*/ 2828956 h 2969978"/>
                <a:gd name="connsiteX19" fmla="*/ 11033090 w 11869655"/>
                <a:gd name="connsiteY19" fmla="*/ 2859101 h 2969978"/>
                <a:gd name="connsiteX20" fmla="*/ 10621108 w 11869655"/>
                <a:gd name="connsiteY20" fmla="*/ 2849053 h 2969978"/>
                <a:gd name="connsiteX21" fmla="*/ 10128739 w 11869655"/>
                <a:gd name="connsiteY21" fmla="*/ 2859101 h 2969978"/>
                <a:gd name="connsiteX22" fmla="*/ 10048352 w 11869655"/>
                <a:gd name="connsiteY22" fmla="*/ 2869149 h 2969978"/>
                <a:gd name="connsiteX23" fmla="*/ 9555982 w 11869655"/>
                <a:gd name="connsiteY23" fmla="*/ 2859101 h 2969978"/>
                <a:gd name="connsiteX24" fmla="*/ 9445451 w 11869655"/>
                <a:gd name="connsiteY24" fmla="*/ 2849053 h 2969978"/>
                <a:gd name="connsiteX25" fmla="*/ 9415306 w 11869655"/>
                <a:gd name="connsiteY25" fmla="*/ 2828956 h 2969978"/>
                <a:gd name="connsiteX26" fmla="*/ 9204290 w 11869655"/>
                <a:gd name="connsiteY26" fmla="*/ 2808859 h 2969978"/>
                <a:gd name="connsiteX27" fmla="*/ 9073662 w 11869655"/>
                <a:gd name="connsiteY27" fmla="*/ 2788762 h 2969978"/>
                <a:gd name="connsiteX28" fmla="*/ 8812404 w 11869655"/>
                <a:gd name="connsiteY28" fmla="*/ 2778714 h 2969978"/>
                <a:gd name="connsiteX29" fmla="*/ 8400422 w 11869655"/>
                <a:gd name="connsiteY29" fmla="*/ 2768666 h 2969978"/>
                <a:gd name="connsiteX30" fmla="*/ 8269793 w 11869655"/>
                <a:gd name="connsiteY30" fmla="*/ 2758617 h 2969978"/>
                <a:gd name="connsiteX31" fmla="*/ 7797521 w 11869655"/>
                <a:gd name="connsiteY31" fmla="*/ 2778714 h 2969978"/>
                <a:gd name="connsiteX32" fmla="*/ 7717134 w 11869655"/>
                <a:gd name="connsiteY32" fmla="*/ 2788762 h 2969978"/>
                <a:gd name="connsiteX33" fmla="*/ 7486022 w 11869655"/>
                <a:gd name="connsiteY33" fmla="*/ 2818908 h 2969978"/>
                <a:gd name="connsiteX34" fmla="*/ 7395587 w 11869655"/>
                <a:gd name="connsiteY34" fmla="*/ 2839004 h 2969978"/>
                <a:gd name="connsiteX35" fmla="*/ 7325248 w 11869655"/>
                <a:gd name="connsiteY35" fmla="*/ 2849053 h 2969978"/>
                <a:gd name="connsiteX36" fmla="*/ 6863024 w 11869655"/>
                <a:gd name="connsiteY36" fmla="*/ 2839004 h 2969978"/>
                <a:gd name="connsiteX37" fmla="*/ 6722347 w 11869655"/>
                <a:gd name="connsiteY37" fmla="*/ 2828956 h 2969978"/>
                <a:gd name="connsiteX38" fmla="*/ 4903596 w 11869655"/>
                <a:gd name="connsiteY38" fmla="*/ 2879198 h 2969978"/>
                <a:gd name="connsiteX39" fmla="*/ 4722725 w 11869655"/>
                <a:gd name="connsiteY39" fmla="*/ 2919391 h 2969978"/>
                <a:gd name="connsiteX40" fmla="*/ 4300695 w 11869655"/>
                <a:gd name="connsiteY40" fmla="*/ 2899294 h 2969978"/>
                <a:gd name="connsiteX41" fmla="*/ 4059534 w 11869655"/>
                <a:gd name="connsiteY41" fmla="*/ 2859101 h 2969978"/>
                <a:gd name="connsiteX42" fmla="*/ 3768132 w 11869655"/>
                <a:gd name="connsiteY42" fmla="*/ 2828956 h 2969978"/>
                <a:gd name="connsiteX43" fmla="*/ 3627455 w 11869655"/>
                <a:gd name="connsiteY43" fmla="*/ 2818908 h 2969978"/>
                <a:gd name="connsiteX44" fmla="*/ 3125037 w 11869655"/>
                <a:gd name="connsiteY44" fmla="*/ 2828956 h 2969978"/>
                <a:gd name="connsiteX45" fmla="*/ 3064747 w 11869655"/>
                <a:gd name="connsiteY45" fmla="*/ 2839004 h 2969978"/>
                <a:gd name="connsiteX46" fmla="*/ 2009670 w 11869655"/>
                <a:gd name="connsiteY46" fmla="*/ 2849053 h 2969978"/>
                <a:gd name="connsiteX47" fmla="*/ 1678075 w 11869655"/>
                <a:gd name="connsiteY47" fmla="*/ 2939488 h 2969978"/>
                <a:gd name="connsiteX48" fmla="*/ 1607736 w 11869655"/>
                <a:gd name="connsiteY48" fmla="*/ 2969633 h 2969978"/>
                <a:gd name="connsiteX49" fmla="*/ 1135464 w 11869655"/>
                <a:gd name="connsiteY49" fmla="*/ 2949536 h 2969978"/>
                <a:gd name="connsiteX50" fmla="*/ 944545 w 11869655"/>
                <a:gd name="connsiteY50" fmla="*/ 2919391 h 2969978"/>
                <a:gd name="connsiteX51" fmla="*/ 723481 w 11869655"/>
                <a:gd name="connsiteY51" fmla="*/ 2879198 h 2969978"/>
                <a:gd name="connsiteX52" fmla="*/ 643095 w 11869655"/>
                <a:gd name="connsiteY52" fmla="*/ 2869149 h 2969978"/>
                <a:gd name="connsiteX53" fmla="*/ 371789 w 11869655"/>
                <a:gd name="connsiteY53" fmla="*/ 2828956 h 2969978"/>
                <a:gd name="connsiteX54" fmla="*/ 0 w 11869655"/>
                <a:gd name="connsiteY54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621108 w 11851944"/>
                <a:gd name="connsiteY20" fmla="*/ 2849053 h 2969978"/>
                <a:gd name="connsiteX21" fmla="*/ 10128739 w 11851944"/>
                <a:gd name="connsiteY21" fmla="*/ 2859101 h 2969978"/>
                <a:gd name="connsiteX22" fmla="*/ 10048352 w 11851944"/>
                <a:gd name="connsiteY22" fmla="*/ 2869149 h 2969978"/>
                <a:gd name="connsiteX23" fmla="*/ 9555982 w 11851944"/>
                <a:gd name="connsiteY23" fmla="*/ 2859101 h 2969978"/>
                <a:gd name="connsiteX24" fmla="*/ 9445451 w 11851944"/>
                <a:gd name="connsiteY24" fmla="*/ 2849053 h 2969978"/>
                <a:gd name="connsiteX25" fmla="*/ 9415306 w 11851944"/>
                <a:gd name="connsiteY25" fmla="*/ 2828956 h 2969978"/>
                <a:gd name="connsiteX26" fmla="*/ 9204290 w 11851944"/>
                <a:gd name="connsiteY26" fmla="*/ 2808859 h 2969978"/>
                <a:gd name="connsiteX27" fmla="*/ 9073662 w 11851944"/>
                <a:gd name="connsiteY27" fmla="*/ 2788762 h 2969978"/>
                <a:gd name="connsiteX28" fmla="*/ 8812404 w 11851944"/>
                <a:gd name="connsiteY28" fmla="*/ 2778714 h 2969978"/>
                <a:gd name="connsiteX29" fmla="*/ 8400422 w 11851944"/>
                <a:gd name="connsiteY29" fmla="*/ 2768666 h 2969978"/>
                <a:gd name="connsiteX30" fmla="*/ 8269793 w 11851944"/>
                <a:gd name="connsiteY30" fmla="*/ 2758617 h 2969978"/>
                <a:gd name="connsiteX31" fmla="*/ 7797521 w 11851944"/>
                <a:gd name="connsiteY31" fmla="*/ 2778714 h 2969978"/>
                <a:gd name="connsiteX32" fmla="*/ 7717134 w 11851944"/>
                <a:gd name="connsiteY32" fmla="*/ 2788762 h 2969978"/>
                <a:gd name="connsiteX33" fmla="*/ 7486022 w 11851944"/>
                <a:gd name="connsiteY33" fmla="*/ 2818908 h 2969978"/>
                <a:gd name="connsiteX34" fmla="*/ 7395587 w 11851944"/>
                <a:gd name="connsiteY34" fmla="*/ 2839004 h 2969978"/>
                <a:gd name="connsiteX35" fmla="*/ 7325248 w 11851944"/>
                <a:gd name="connsiteY35" fmla="*/ 2849053 h 2969978"/>
                <a:gd name="connsiteX36" fmla="*/ 6863024 w 11851944"/>
                <a:gd name="connsiteY36" fmla="*/ 2839004 h 2969978"/>
                <a:gd name="connsiteX37" fmla="*/ 6722347 w 11851944"/>
                <a:gd name="connsiteY37" fmla="*/ 2828956 h 2969978"/>
                <a:gd name="connsiteX38" fmla="*/ 4903596 w 11851944"/>
                <a:gd name="connsiteY38" fmla="*/ 2879198 h 2969978"/>
                <a:gd name="connsiteX39" fmla="*/ 4722725 w 11851944"/>
                <a:gd name="connsiteY39" fmla="*/ 2919391 h 2969978"/>
                <a:gd name="connsiteX40" fmla="*/ 4300695 w 11851944"/>
                <a:gd name="connsiteY40" fmla="*/ 2899294 h 2969978"/>
                <a:gd name="connsiteX41" fmla="*/ 4059534 w 11851944"/>
                <a:gd name="connsiteY41" fmla="*/ 2859101 h 2969978"/>
                <a:gd name="connsiteX42" fmla="*/ 3768132 w 11851944"/>
                <a:gd name="connsiteY42" fmla="*/ 2828956 h 2969978"/>
                <a:gd name="connsiteX43" fmla="*/ 3627455 w 11851944"/>
                <a:gd name="connsiteY43" fmla="*/ 2818908 h 2969978"/>
                <a:gd name="connsiteX44" fmla="*/ 3125037 w 11851944"/>
                <a:gd name="connsiteY44" fmla="*/ 2828956 h 2969978"/>
                <a:gd name="connsiteX45" fmla="*/ 3064747 w 11851944"/>
                <a:gd name="connsiteY45" fmla="*/ 2839004 h 2969978"/>
                <a:gd name="connsiteX46" fmla="*/ 2009670 w 11851944"/>
                <a:gd name="connsiteY46" fmla="*/ 2849053 h 2969978"/>
                <a:gd name="connsiteX47" fmla="*/ 1678075 w 11851944"/>
                <a:gd name="connsiteY47" fmla="*/ 2939488 h 2969978"/>
                <a:gd name="connsiteX48" fmla="*/ 1607736 w 11851944"/>
                <a:gd name="connsiteY48" fmla="*/ 2969633 h 2969978"/>
                <a:gd name="connsiteX49" fmla="*/ 1135464 w 11851944"/>
                <a:gd name="connsiteY49" fmla="*/ 2949536 h 2969978"/>
                <a:gd name="connsiteX50" fmla="*/ 944545 w 11851944"/>
                <a:gd name="connsiteY50" fmla="*/ 2919391 h 2969978"/>
                <a:gd name="connsiteX51" fmla="*/ 723481 w 11851944"/>
                <a:gd name="connsiteY51" fmla="*/ 2879198 h 2969978"/>
                <a:gd name="connsiteX52" fmla="*/ 643095 w 11851944"/>
                <a:gd name="connsiteY52" fmla="*/ 2869149 h 2969978"/>
                <a:gd name="connsiteX53" fmla="*/ 371789 w 11851944"/>
                <a:gd name="connsiteY53" fmla="*/ 2828956 h 2969978"/>
                <a:gd name="connsiteX54" fmla="*/ 0 w 11851944"/>
                <a:gd name="connsiteY54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10048352 w 11851944"/>
                <a:gd name="connsiteY21" fmla="*/ 2869149 h 2969978"/>
                <a:gd name="connsiteX22" fmla="*/ 9555982 w 11851944"/>
                <a:gd name="connsiteY22" fmla="*/ 2859101 h 2969978"/>
                <a:gd name="connsiteX23" fmla="*/ 9445451 w 11851944"/>
                <a:gd name="connsiteY23" fmla="*/ 2849053 h 2969978"/>
                <a:gd name="connsiteX24" fmla="*/ 9415306 w 11851944"/>
                <a:gd name="connsiteY24" fmla="*/ 2828956 h 2969978"/>
                <a:gd name="connsiteX25" fmla="*/ 9204290 w 11851944"/>
                <a:gd name="connsiteY25" fmla="*/ 2808859 h 2969978"/>
                <a:gd name="connsiteX26" fmla="*/ 9073662 w 11851944"/>
                <a:gd name="connsiteY26" fmla="*/ 2788762 h 2969978"/>
                <a:gd name="connsiteX27" fmla="*/ 8812404 w 11851944"/>
                <a:gd name="connsiteY27" fmla="*/ 2778714 h 2969978"/>
                <a:gd name="connsiteX28" fmla="*/ 8400422 w 11851944"/>
                <a:gd name="connsiteY28" fmla="*/ 2768666 h 2969978"/>
                <a:gd name="connsiteX29" fmla="*/ 8269793 w 11851944"/>
                <a:gd name="connsiteY29" fmla="*/ 2758617 h 2969978"/>
                <a:gd name="connsiteX30" fmla="*/ 7797521 w 11851944"/>
                <a:gd name="connsiteY30" fmla="*/ 2778714 h 2969978"/>
                <a:gd name="connsiteX31" fmla="*/ 7717134 w 11851944"/>
                <a:gd name="connsiteY31" fmla="*/ 2788762 h 2969978"/>
                <a:gd name="connsiteX32" fmla="*/ 7486022 w 11851944"/>
                <a:gd name="connsiteY32" fmla="*/ 2818908 h 2969978"/>
                <a:gd name="connsiteX33" fmla="*/ 7395587 w 11851944"/>
                <a:gd name="connsiteY33" fmla="*/ 2839004 h 2969978"/>
                <a:gd name="connsiteX34" fmla="*/ 7325248 w 11851944"/>
                <a:gd name="connsiteY34" fmla="*/ 2849053 h 2969978"/>
                <a:gd name="connsiteX35" fmla="*/ 6863024 w 11851944"/>
                <a:gd name="connsiteY35" fmla="*/ 2839004 h 2969978"/>
                <a:gd name="connsiteX36" fmla="*/ 6722347 w 11851944"/>
                <a:gd name="connsiteY36" fmla="*/ 2828956 h 2969978"/>
                <a:gd name="connsiteX37" fmla="*/ 4903596 w 11851944"/>
                <a:gd name="connsiteY37" fmla="*/ 2879198 h 2969978"/>
                <a:gd name="connsiteX38" fmla="*/ 4722725 w 11851944"/>
                <a:gd name="connsiteY38" fmla="*/ 2919391 h 2969978"/>
                <a:gd name="connsiteX39" fmla="*/ 4300695 w 11851944"/>
                <a:gd name="connsiteY39" fmla="*/ 2899294 h 2969978"/>
                <a:gd name="connsiteX40" fmla="*/ 4059534 w 11851944"/>
                <a:gd name="connsiteY40" fmla="*/ 2859101 h 2969978"/>
                <a:gd name="connsiteX41" fmla="*/ 3768132 w 11851944"/>
                <a:gd name="connsiteY41" fmla="*/ 2828956 h 2969978"/>
                <a:gd name="connsiteX42" fmla="*/ 3627455 w 11851944"/>
                <a:gd name="connsiteY42" fmla="*/ 2818908 h 2969978"/>
                <a:gd name="connsiteX43" fmla="*/ 3125037 w 11851944"/>
                <a:gd name="connsiteY43" fmla="*/ 2828956 h 2969978"/>
                <a:gd name="connsiteX44" fmla="*/ 3064747 w 11851944"/>
                <a:gd name="connsiteY44" fmla="*/ 2839004 h 2969978"/>
                <a:gd name="connsiteX45" fmla="*/ 2009670 w 11851944"/>
                <a:gd name="connsiteY45" fmla="*/ 2849053 h 2969978"/>
                <a:gd name="connsiteX46" fmla="*/ 1678075 w 11851944"/>
                <a:gd name="connsiteY46" fmla="*/ 2939488 h 2969978"/>
                <a:gd name="connsiteX47" fmla="*/ 1607736 w 11851944"/>
                <a:gd name="connsiteY47" fmla="*/ 2969633 h 2969978"/>
                <a:gd name="connsiteX48" fmla="*/ 1135464 w 11851944"/>
                <a:gd name="connsiteY48" fmla="*/ 2949536 h 2969978"/>
                <a:gd name="connsiteX49" fmla="*/ 944545 w 11851944"/>
                <a:gd name="connsiteY49" fmla="*/ 2919391 h 2969978"/>
                <a:gd name="connsiteX50" fmla="*/ 723481 w 11851944"/>
                <a:gd name="connsiteY50" fmla="*/ 2879198 h 2969978"/>
                <a:gd name="connsiteX51" fmla="*/ 643095 w 11851944"/>
                <a:gd name="connsiteY51" fmla="*/ 2869149 h 2969978"/>
                <a:gd name="connsiteX52" fmla="*/ 371789 w 11851944"/>
                <a:gd name="connsiteY52" fmla="*/ 2828956 h 2969978"/>
                <a:gd name="connsiteX53" fmla="*/ 0 w 11851944"/>
                <a:gd name="connsiteY53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10048352 w 11851944"/>
                <a:gd name="connsiteY21" fmla="*/ 2869149 h 2969978"/>
                <a:gd name="connsiteX22" fmla="*/ 9555982 w 11851944"/>
                <a:gd name="connsiteY22" fmla="*/ 2859101 h 2969978"/>
                <a:gd name="connsiteX23" fmla="*/ 9445451 w 11851944"/>
                <a:gd name="connsiteY23" fmla="*/ 2849053 h 2969978"/>
                <a:gd name="connsiteX24" fmla="*/ 9204290 w 11851944"/>
                <a:gd name="connsiteY24" fmla="*/ 2808859 h 2969978"/>
                <a:gd name="connsiteX25" fmla="*/ 9073662 w 11851944"/>
                <a:gd name="connsiteY25" fmla="*/ 2788762 h 2969978"/>
                <a:gd name="connsiteX26" fmla="*/ 8812404 w 11851944"/>
                <a:gd name="connsiteY26" fmla="*/ 2778714 h 2969978"/>
                <a:gd name="connsiteX27" fmla="*/ 8400422 w 11851944"/>
                <a:gd name="connsiteY27" fmla="*/ 2768666 h 2969978"/>
                <a:gd name="connsiteX28" fmla="*/ 8269793 w 11851944"/>
                <a:gd name="connsiteY28" fmla="*/ 2758617 h 2969978"/>
                <a:gd name="connsiteX29" fmla="*/ 7797521 w 11851944"/>
                <a:gd name="connsiteY29" fmla="*/ 2778714 h 2969978"/>
                <a:gd name="connsiteX30" fmla="*/ 7717134 w 11851944"/>
                <a:gd name="connsiteY30" fmla="*/ 2788762 h 2969978"/>
                <a:gd name="connsiteX31" fmla="*/ 7486022 w 11851944"/>
                <a:gd name="connsiteY31" fmla="*/ 2818908 h 2969978"/>
                <a:gd name="connsiteX32" fmla="*/ 7395587 w 11851944"/>
                <a:gd name="connsiteY32" fmla="*/ 2839004 h 2969978"/>
                <a:gd name="connsiteX33" fmla="*/ 7325248 w 11851944"/>
                <a:gd name="connsiteY33" fmla="*/ 2849053 h 2969978"/>
                <a:gd name="connsiteX34" fmla="*/ 6863024 w 11851944"/>
                <a:gd name="connsiteY34" fmla="*/ 2839004 h 2969978"/>
                <a:gd name="connsiteX35" fmla="*/ 6722347 w 11851944"/>
                <a:gd name="connsiteY35" fmla="*/ 2828956 h 2969978"/>
                <a:gd name="connsiteX36" fmla="*/ 4903596 w 11851944"/>
                <a:gd name="connsiteY36" fmla="*/ 2879198 h 2969978"/>
                <a:gd name="connsiteX37" fmla="*/ 4722725 w 11851944"/>
                <a:gd name="connsiteY37" fmla="*/ 2919391 h 2969978"/>
                <a:gd name="connsiteX38" fmla="*/ 4300695 w 11851944"/>
                <a:gd name="connsiteY38" fmla="*/ 2899294 h 2969978"/>
                <a:gd name="connsiteX39" fmla="*/ 4059534 w 11851944"/>
                <a:gd name="connsiteY39" fmla="*/ 2859101 h 2969978"/>
                <a:gd name="connsiteX40" fmla="*/ 3768132 w 11851944"/>
                <a:gd name="connsiteY40" fmla="*/ 2828956 h 2969978"/>
                <a:gd name="connsiteX41" fmla="*/ 3627455 w 11851944"/>
                <a:gd name="connsiteY41" fmla="*/ 2818908 h 2969978"/>
                <a:gd name="connsiteX42" fmla="*/ 3125037 w 11851944"/>
                <a:gd name="connsiteY42" fmla="*/ 2828956 h 2969978"/>
                <a:gd name="connsiteX43" fmla="*/ 3064747 w 11851944"/>
                <a:gd name="connsiteY43" fmla="*/ 2839004 h 2969978"/>
                <a:gd name="connsiteX44" fmla="*/ 2009670 w 11851944"/>
                <a:gd name="connsiteY44" fmla="*/ 2849053 h 2969978"/>
                <a:gd name="connsiteX45" fmla="*/ 1678075 w 11851944"/>
                <a:gd name="connsiteY45" fmla="*/ 2939488 h 2969978"/>
                <a:gd name="connsiteX46" fmla="*/ 1607736 w 11851944"/>
                <a:gd name="connsiteY46" fmla="*/ 2969633 h 2969978"/>
                <a:gd name="connsiteX47" fmla="*/ 1135464 w 11851944"/>
                <a:gd name="connsiteY47" fmla="*/ 2949536 h 2969978"/>
                <a:gd name="connsiteX48" fmla="*/ 944545 w 11851944"/>
                <a:gd name="connsiteY48" fmla="*/ 2919391 h 2969978"/>
                <a:gd name="connsiteX49" fmla="*/ 723481 w 11851944"/>
                <a:gd name="connsiteY49" fmla="*/ 2879198 h 2969978"/>
                <a:gd name="connsiteX50" fmla="*/ 643095 w 11851944"/>
                <a:gd name="connsiteY50" fmla="*/ 2869149 h 2969978"/>
                <a:gd name="connsiteX51" fmla="*/ 371789 w 11851944"/>
                <a:gd name="connsiteY51" fmla="*/ 2828956 h 2969978"/>
                <a:gd name="connsiteX52" fmla="*/ 0 w 11851944"/>
                <a:gd name="connsiteY52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10048352 w 11851944"/>
                <a:gd name="connsiteY21" fmla="*/ 2869149 h 2969978"/>
                <a:gd name="connsiteX22" fmla="*/ 9555982 w 11851944"/>
                <a:gd name="connsiteY22" fmla="*/ 2859101 h 2969978"/>
                <a:gd name="connsiteX23" fmla="*/ 9204290 w 11851944"/>
                <a:gd name="connsiteY23" fmla="*/ 2808859 h 2969978"/>
                <a:gd name="connsiteX24" fmla="*/ 9073662 w 11851944"/>
                <a:gd name="connsiteY24" fmla="*/ 2788762 h 2969978"/>
                <a:gd name="connsiteX25" fmla="*/ 8812404 w 11851944"/>
                <a:gd name="connsiteY25" fmla="*/ 2778714 h 2969978"/>
                <a:gd name="connsiteX26" fmla="*/ 8400422 w 11851944"/>
                <a:gd name="connsiteY26" fmla="*/ 2768666 h 2969978"/>
                <a:gd name="connsiteX27" fmla="*/ 8269793 w 11851944"/>
                <a:gd name="connsiteY27" fmla="*/ 2758617 h 2969978"/>
                <a:gd name="connsiteX28" fmla="*/ 7797521 w 11851944"/>
                <a:gd name="connsiteY28" fmla="*/ 2778714 h 2969978"/>
                <a:gd name="connsiteX29" fmla="*/ 7717134 w 11851944"/>
                <a:gd name="connsiteY29" fmla="*/ 2788762 h 2969978"/>
                <a:gd name="connsiteX30" fmla="*/ 7486022 w 11851944"/>
                <a:gd name="connsiteY30" fmla="*/ 2818908 h 2969978"/>
                <a:gd name="connsiteX31" fmla="*/ 7395587 w 11851944"/>
                <a:gd name="connsiteY31" fmla="*/ 2839004 h 2969978"/>
                <a:gd name="connsiteX32" fmla="*/ 7325248 w 11851944"/>
                <a:gd name="connsiteY32" fmla="*/ 2849053 h 2969978"/>
                <a:gd name="connsiteX33" fmla="*/ 6863024 w 11851944"/>
                <a:gd name="connsiteY33" fmla="*/ 2839004 h 2969978"/>
                <a:gd name="connsiteX34" fmla="*/ 6722347 w 11851944"/>
                <a:gd name="connsiteY34" fmla="*/ 2828956 h 2969978"/>
                <a:gd name="connsiteX35" fmla="*/ 4903596 w 11851944"/>
                <a:gd name="connsiteY35" fmla="*/ 2879198 h 2969978"/>
                <a:gd name="connsiteX36" fmla="*/ 4722725 w 11851944"/>
                <a:gd name="connsiteY36" fmla="*/ 2919391 h 2969978"/>
                <a:gd name="connsiteX37" fmla="*/ 4300695 w 11851944"/>
                <a:gd name="connsiteY37" fmla="*/ 2899294 h 2969978"/>
                <a:gd name="connsiteX38" fmla="*/ 4059534 w 11851944"/>
                <a:gd name="connsiteY38" fmla="*/ 2859101 h 2969978"/>
                <a:gd name="connsiteX39" fmla="*/ 3768132 w 11851944"/>
                <a:gd name="connsiteY39" fmla="*/ 2828956 h 2969978"/>
                <a:gd name="connsiteX40" fmla="*/ 3627455 w 11851944"/>
                <a:gd name="connsiteY40" fmla="*/ 2818908 h 2969978"/>
                <a:gd name="connsiteX41" fmla="*/ 3125037 w 11851944"/>
                <a:gd name="connsiteY41" fmla="*/ 2828956 h 2969978"/>
                <a:gd name="connsiteX42" fmla="*/ 3064747 w 11851944"/>
                <a:gd name="connsiteY42" fmla="*/ 2839004 h 2969978"/>
                <a:gd name="connsiteX43" fmla="*/ 2009670 w 11851944"/>
                <a:gd name="connsiteY43" fmla="*/ 2849053 h 2969978"/>
                <a:gd name="connsiteX44" fmla="*/ 1678075 w 11851944"/>
                <a:gd name="connsiteY44" fmla="*/ 2939488 h 2969978"/>
                <a:gd name="connsiteX45" fmla="*/ 1607736 w 11851944"/>
                <a:gd name="connsiteY45" fmla="*/ 2969633 h 2969978"/>
                <a:gd name="connsiteX46" fmla="*/ 1135464 w 11851944"/>
                <a:gd name="connsiteY46" fmla="*/ 2949536 h 2969978"/>
                <a:gd name="connsiteX47" fmla="*/ 944545 w 11851944"/>
                <a:gd name="connsiteY47" fmla="*/ 2919391 h 2969978"/>
                <a:gd name="connsiteX48" fmla="*/ 723481 w 11851944"/>
                <a:gd name="connsiteY48" fmla="*/ 2879198 h 2969978"/>
                <a:gd name="connsiteX49" fmla="*/ 643095 w 11851944"/>
                <a:gd name="connsiteY49" fmla="*/ 2869149 h 2969978"/>
                <a:gd name="connsiteX50" fmla="*/ 371789 w 11851944"/>
                <a:gd name="connsiteY50" fmla="*/ 2828956 h 2969978"/>
                <a:gd name="connsiteX51" fmla="*/ 0 w 11851944"/>
                <a:gd name="connsiteY51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8400422 w 11851944"/>
                <a:gd name="connsiteY25" fmla="*/ 2768666 h 2969978"/>
                <a:gd name="connsiteX26" fmla="*/ 8269793 w 11851944"/>
                <a:gd name="connsiteY26" fmla="*/ 2758617 h 2969978"/>
                <a:gd name="connsiteX27" fmla="*/ 7797521 w 11851944"/>
                <a:gd name="connsiteY27" fmla="*/ 2778714 h 2969978"/>
                <a:gd name="connsiteX28" fmla="*/ 7717134 w 11851944"/>
                <a:gd name="connsiteY28" fmla="*/ 2788762 h 2969978"/>
                <a:gd name="connsiteX29" fmla="*/ 7486022 w 11851944"/>
                <a:gd name="connsiteY29" fmla="*/ 2818908 h 2969978"/>
                <a:gd name="connsiteX30" fmla="*/ 7395587 w 11851944"/>
                <a:gd name="connsiteY30" fmla="*/ 2839004 h 2969978"/>
                <a:gd name="connsiteX31" fmla="*/ 7325248 w 11851944"/>
                <a:gd name="connsiteY31" fmla="*/ 2849053 h 2969978"/>
                <a:gd name="connsiteX32" fmla="*/ 6863024 w 11851944"/>
                <a:gd name="connsiteY32" fmla="*/ 2839004 h 2969978"/>
                <a:gd name="connsiteX33" fmla="*/ 6722347 w 11851944"/>
                <a:gd name="connsiteY33" fmla="*/ 2828956 h 2969978"/>
                <a:gd name="connsiteX34" fmla="*/ 4903596 w 11851944"/>
                <a:gd name="connsiteY34" fmla="*/ 2879198 h 2969978"/>
                <a:gd name="connsiteX35" fmla="*/ 4722725 w 11851944"/>
                <a:gd name="connsiteY35" fmla="*/ 2919391 h 2969978"/>
                <a:gd name="connsiteX36" fmla="*/ 4300695 w 11851944"/>
                <a:gd name="connsiteY36" fmla="*/ 2899294 h 2969978"/>
                <a:gd name="connsiteX37" fmla="*/ 4059534 w 11851944"/>
                <a:gd name="connsiteY37" fmla="*/ 2859101 h 2969978"/>
                <a:gd name="connsiteX38" fmla="*/ 3768132 w 11851944"/>
                <a:gd name="connsiteY38" fmla="*/ 2828956 h 2969978"/>
                <a:gd name="connsiteX39" fmla="*/ 3627455 w 11851944"/>
                <a:gd name="connsiteY39" fmla="*/ 2818908 h 2969978"/>
                <a:gd name="connsiteX40" fmla="*/ 3125037 w 11851944"/>
                <a:gd name="connsiteY40" fmla="*/ 2828956 h 2969978"/>
                <a:gd name="connsiteX41" fmla="*/ 3064747 w 11851944"/>
                <a:gd name="connsiteY41" fmla="*/ 2839004 h 2969978"/>
                <a:gd name="connsiteX42" fmla="*/ 2009670 w 11851944"/>
                <a:gd name="connsiteY42" fmla="*/ 2849053 h 2969978"/>
                <a:gd name="connsiteX43" fmla="*/ 1678075 w 11851944"/>
                <a:gd name="connsiteY43" fmla="*/ 2939488 h 2969978"/>
                <a:gd name="connsiteX44" fmla="*/ 1607736 w 11851944"/>
                <a:gd name="connsiteY44" fmla="*/ 2969633 h 2969978"/>
                <a:gd name="connsiteX45" fmla="*/ 1135464 w 11851944"/>
                <a:gd name="connsiteY45" fmla="*/ 2949536 h 2969978"/>
                <a:gd name="connsiteX46" fmla="*/ 944545 w 11851944"/>
                <a:gd name="connsiteY46" fmla="*/ 2919391 h 2969978"/>
                <a:gd name="connsiteX47" fmla="*/ 723481 w 11851944"/>
                <a:gd name="connsiteY47" fmla="*/ 2879198 h 2969978"/>
                <a:gd name="connsiteX48" fmla="*/ 643095 w 11851944"/>
                <a:gd name="connsiteY48" fmla="*/ 2869149 h 2969978"/>
                <a:gd name="connsiteX49" fmla="*/ 371789 w 11851944"/>
                <a:gd name="connsiteY49" fmla="*/ 2828956 h 2969978"/>
                <a:gd name="connsiteX50" fmla="*/ 0 w 11851944"/>
                <a:gd name="connsiteY50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8269793 w 11851944"/>
                <a:gd name="connsiteY25" fmla="*/ 2758617 h 2969978"/>
                <a:gd name="connsiteX26" fmla="*/ 7797521 w 11851944"/>
                <a:gd name="connsiteY26" fmla="*/ 2778714 h 2969978"/>
                <a:gd name="connsiteX27" fmla="*/ 7717134 w 11851944"/>
                <a:gd name="connsiteY27" fmla="*/ 2788762 h 2969978"/>
                <a:gd name="connsiteX28" fmla="*/ 7486022 w 11851944"/>
                <a:gd name="connsiteY28" fmla="*/ 2818908 h 2969978"/>
                <a:gd name="connsiteX29" fmla="*/ 7395587 w 11851944"/>
                <a:gd name="connsiteY29" fmla="*/ 2839004 h 2969978"/>
                <a:gd name="connsiteX30" fmla="*/ 7325248 w 11851944"/>
                <a:gd name="connsiteY30" fmla="*/ 2849053 h 2969978"/>
                <a:gd name="connsiteX31" fmla="*/ 6863024 w 11851944"/>
                <a:gd name="connsiteY31" fmla="*/ 2839004 h 2969978"/>
                <a:gd name="connsiteX32" fmla="*/ 6722347 w 11851944"/>
                <a:gd name="connsiteY32" fmla="*/ 2828956 h 2969978"/>
                <a:gd name="connsiteX33" fmla="*/ 4903596 w 11851944"/>
                <a:gd name="connsiteY33" fmla="*/ 2879198 h 2969978"/>
                <a:gd name="connsiteX34" fmla="*/ 4722725 w 11851944"/>
                <a:gd name="connsiteY34" fmla="*/ 2919391 h 2969978"/>
                <a:gd name="connsiteX35" fmla="*/ 4300695 w 11851944"/>
                <a:gd name="connsiteY35" fmla="*/ 2899294 h 2969978"/>
                <a:gd name="connsiteX36" fmla="*/ 4059534 w 11851944"/>
                <a:gd name="connsiteY36" fmla="*/ 2859101 h 2969978"/>
                <a:gd name="connsiteX37" fmla="*/ 3768132 w 11851944"/>
                <a:gd name="connsiteY37" fmla="*/ 2828956 h 2969978"/>
                <a:gd name="connsiteX38" fmla="*/ 3627455 w 11851944"/>
                <a:gd name="connsiteY38" fmla="*/ 2818908 h 2969978"/>
                <a:gd name="connsiteX39" fmla="*/ 3125037 w 11851944"/>
                <a:gd name="connsiteY39" fmla="*/ 2828956 h 2969978"/>
                <a:gd name="connsiteX40" fmla="*/ 3064747 w 11851944"/>
                <a:gd name="connsiteY40" fmla="*/ 2839004 h 2969978"/>
                <a:gd name="connsiteX41" fmla="*/ 2009670 w 11851944"/>
                <a:gd name="connsiteY41" fmla="*/ 2849053 h 2969978"/>
                <a:gd name="connsiteX42" fmla="*/ 1678075 w 11851944"/>
                <a:gd name="connsiteY42" fmla="*/ 2939488 h 2969978"/>
                <a:gd name="connsiteX43" fmla="*/ 1607736 w 11851944"/>
                <a:gd name="connsiteY43" fmla="*/ 2969633 h 2969978"/>
                <a:gd name="connsiteX44" fmla="*/ 1135464 w 11851944"/>
                <a:gd name="connsiteY44" fmla="*/ 2949536 h 2969978"/>
                <a:gd name="connsiteX45" fmla="*/ 944545 w 11851944"/>
                <a:gd name="connsiteY45" fmla="*/ 2919391 h 2969978"/>
                <a:gd name="connsiteX46" fmla="*/ 723481 w 11851944"/>
                <a:gd name="connsiteY46" fmla="*/ 2879198 h 2969978"/>
                <a:gd name="connsiteX47" fmla="*/ 643095 w 11851944"/>
                <a:gd name="connsiteY47" fmla="*/ 2869149 h 2969978"/>
                <a:gd name="connsiteX48" fmla="*/ 371789 w 11851944"/>
                <a:gd name="connsiteY48" fmla="*/ 2828956 h 2969978"/>
                <a:gd name="connsiteX49" fmla="*/ 0 w 11851944"/>
                <a:gd name="connsiteY49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7797521 w 11851944"/>
                <a:gd name="connsiteY25" fmla="*/ 2778714 h 2969978"/>
                <a:gd name="connsiteX26" fmla="*/ 7717134 w 11851944"/>
                <a:gd name="connsiteY26" fmla="*/ 2788762 h 2969978"/>
                <a:gd name="connsiteX27" fmla="*/ 7486022 w 11851944"/>
                <a:gd name="connsiteY27" fmla="*/ 2818908 h 2969978"/>
                <a:gd name="connsiteX28" fmla="*/ 7395587 w 11851944"/>
                <a:gd name="connsiteY28" fmla="*/ 2839004 h 2969978"/>
                <a:gd name="connsiteX29" fmla="*/ 7325248 w 11851944"/>
                <a:gd name="connsiteY29" fmla="*/ 2849053 h 2969978"/>
                <a:gd name="connsiteX30" fmla="*/ 6863024 w 11851944"/>
                <a:gd name="connsiteY30" fmla="*/ 2839004 h 2969978"/>
                <a:gd name="connsiteX31" fmla="*/ 6722347 w 11851944"/>
                <a:gd name="connsiteY31" fmla="*/ 2828956 h 2969978"/>
                <a:gd name="connsiteX32" fmla="*/ 4903596 w 11851944"/>
                <a:gd name="connsiteY32" fmla="*/ 2879198 h 2969978"/>
                <a:gd name="connsiteX33" fmla="*/ 4722725 w 11851944"/>
                <a:gd name="connsiteY33" fmla="*/ 2919391 h 2969978"/>
                <a:gd name="connsiteX34" fmla="*/ 4300695 w 11851944"/>
                <a:gd name="connsiteY34" fmla="*/ 2899294 h 2969978"/>
                <a:gd name="connsiteX35" fmla="*/ 4059534 w 11851944"/>
                <a:gd name="connsiteY35" fmla="*/ 2859101 h 2969978"/>
                <a:gd name="connsiteX36" fmla="*/ 3768132 w 11851944"/>
                <a:gd name="connsiteY36" fmla="*/ 2828956 h 2969978"/>
                <a:gd name="connsiteX37" fmla="*/ 3627455 w 11851944"/>
                <a:gd name="connsiteY37" fmla="*/ 2818908 h 2969978"/>
                <a:gd name="connsiteX38" fmla="*/ 3125037 w 11851944"/>
                <a:gd name="connsiteY38" fmla="*/ 2828956 h 2969978"/>
                <a:gd name="connsiteX39" fmla="*/ 3064747 w 11851944"/>
                <a:gd name="connsiteY39" fmla="*/ 2839004 h 2969978"/>
                <a:gd name="connsiteX40" fmla="*/ 2009670 w 11851944"/>
                <a:gd name="connsiteY40" fmla="*/ 2849053 h 2969978"/>
                <a:gd name="connsiteX41" fmla="*/ 1678075 w 11851944"/>
                <a:gd name="connsiteY41" fmla="*/ 2939488 h 2969978"/>
                <a:gd name="connsiteX42" fmla="*/ 1607736 w 11851944"/>
                <a:gd name="connsiteY42" fmla="*/ 2969633 h 2969978"/>
                <a:gd name="connsiteX43" fmla="*/ 1135464 w 11851944"/>
                <a:gd name="connsiteY43" fmla="*/ 2949536 h 2969978"/>
                <a:gd name="connsiteX44" fmla="*/ 944545 w 11851944"/>
                <a:gd name="connsiteY44" fmla="*/ 2919391 h 2969978"/>
                <a:gd name="connsiteX45" fmla="*/ 723481 w 11851944"/>
                <a:gd name="connsiteY45" fmla="*/ 2879198 h 2969978"/>
                <a:gd name="connsiteX46" fmla="*/ 643095 w 11851944"/>
                <a:gd name="connsiteY46" fmla="*/ 2869149 h 2969978"/>
                <a:gd name="connsiteX47" fmla="*/ 371789 w 11851944"/>
                <a:gd name="connsiteY47" fmla="*/ 2828956 h 2969978"/>
                <a:gd name="connsiteX48" fmla="*/ 0 w 11851944"/>
                <a:gd name="connsiteY48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7797521 w 11851944"/>
                <a:gd name="connsiteY25" fmla="*/ 2778714 h 2969978"/>
                <a:gd name="connsiteX26" fmla="*/ 7486022 w 11851944"/>
                <a:gd name="connsiteY26" fmla="*/ 2818908 h 2969978"/>
                <a:gd name="connsiteX27" fmla="*/ 7395587 w 11851944"/>
                <a:gd name="connsiteY27" fmla="*/ 2839004 h 2969978"/>
                <a:gd name="connsiteX28" fmla="*/ 7325248 w 11851944"/>
                <a:gd name="connsiteY28" fmla="*/ 2849053 h 2969978"/>
                <a:gd name="connsiteX29" fmla="*/ 6863024 w 11851944"/>
                <a:gd name="connsiteY29" fmla="*/ 2839004 h 2969978"/>
                <a:gd name="connsiteX30" fmla="*/ 6722347 w 11851944"/>
                <a:gd name="connsiteY30" fmla="*/ 2828956 h 2969978"/>
                <a:gd name="connsiteX31" fmla="*/ 4903596 w 11851944"/>
                <a:gd name="connsiteY31" fmla="*/ 2879198 h 2969978"/>
                <a:gd name="connsiteX32" fmla="*/ 4722725 w 11851944"/>
                <a:gd name="connsiteY32" fmla="*/ 2919391 h 2969978"/>
                <a:gd name="connsiteX33" fmla="*/ 4300695 w 11851944"/>
                <a:gd name="connsiteY33" fmla="*/ 2899294 h 2969978"/>
                <a:gd name="connsiteX34" fmla="*/ 4059534 w 11851944"/>
                <a:gd name="connsiteY34" fmla="*/ 2859101 h 2969978"/>
                <a:gd name="connsiteX35" fmla="*/ 3768132 w 11851944"/>
                <a:gd name="connsiteY35" fmla="*/ 2828956 h 2969978"/>
                <a:gd name="connsiteX36" fmla="*/ 3627455 w 11851944"/>
                <a:gd name="connsiteY36" fmla="*/ 2818908 h 2969978"/>
                <a:gd name="connsiteX37" fmla="*/ 3125037 w 11851944"/>
                <a:gd name="connsiteY37" fmla="*/ 2828956 h 2969978"/>
                <a:gd name="connsiteX38" fmla="*/ 3064747 w 11851944"/>
                <a:gd name="connsiteY38" fmla="*/ 2839004 h 2969978"/>
                <a:gd name="connsiteX39" fmla="*/ 2009670 w 11851944"/>
                <a:gd name="connsiteY39" fmla="*/ 2849053 h 2969978"/>
                <a:gd name="connsiteX40" fmla="*/ 1678075 w 11851944"/>
                <a:gd name="connsiteY40" fmla="*/ 2939488 h 2969978"/>
                <a:gd name="connsiteX41" fmla="*/ 1607736 w 11851944"/>
                <a:gd name="connsiteY41" fmla="*/ 2969633 h 2969978"/>
                <a:gd name="connsiteX42" fmla="*/ 1135464 w 11851944"/>
                <a:gd name="connsiteY42" fmla="*/ 2949536 h 2969978"/>
                <a:gd name="connsiteX43" fmla="*/ 944545 w 11851944"/>
                <a:gd name="connsiteY43" fmla="*/ 2919391 h 2969978"/>
                <a:gd name="connsiteX44" fmla="*/ 723481 w 11851944"/>
                <a:gd name="connsiteY44" fmla="*/ 2879198 h 2969978"/>
                <a:gd name="connsiteX45" fmla="*/ 643095 w 11851944"/>
                <a:gd name="connsiteY45" fmla="*/ 2869149 h 2969978"/>
                <a:gd name="connsiteX46" fmla="*/ 371789 w 11851944"/>
                <a:gd name="connsiteY46" fmla="*/ 2828956 h 2969978"/>
                <a:gd name="connsiteX47" fmla="*/ 0 w 11851944"/>
                <a:gd name="connsiteY47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8812404 w 11851944"/>
                <a:gd name="connsiteY24" fmla="*/ 2778714 h 2969978"/>
                <a:gd name="connsiteX25" fmla="*/ 7486022 w 11851944"/>
                <a:gd name="connsiteY25" fmla="*/ 2818908 h 2969978"/>
                <a:gd name="connsiteX26" fmla="*/ 7395587 w 11851944"/>
                <a:gd name="connsiteY26" fmla="*/ 2839004 h 2969978"/>
                <a:gd name="connsiteX27" fmla="*/ 7325248 w 11851944"/>
                <a:gd name="connsiteY27" fmla="*/ 2849053 h 2969978"/>
                <a:gd name="connsiteX28" fmla="*/ 6863024 w 11851944"/>
                <a:gd name="connsiteY28" fmla="*/ 2839004 h 2969978"/>
                <a:gd name="connsiteX29" fmla="*/ 6722347 w 11851944"/>
                <a:gd name="connsiteY29" fmla="*/ 2828956 h 2969978"/>
                <a:gd name="connsiteX30" fmla="*/ 4903596 w 11851944"/>
                <a:gd name="connsiteY30" fmla="*/ 2879198 h 2969978"/>
                <a:gd name="connsiteX31" fmla="*/ 4722725 w 11851944"/>
                <a:gd name="connsiteY31" fmla="*/ 2919391 h 2969978"/>
                <a:gd name="connsiteX32" fmla="*/ 4300695 w 11851944"/>
                <a:gd name="connsiteY32" fmla="*/ 2899294 h 2969978"/>
                <a:gd name="connsiteX33" fmla="*/ 4059534 w 11851944"/>
                <a:gd name="connsiteY33" fmla="*/ 2859101 h 2969978"/>
                <a:gd name="connsiteX34" fmla="*/ 3768132 w 11851944"/>
                <a:gd name="connsiteY34" fmla="*/ 2828956 h 2969978"/>
                <a:gd name="connsiteX35" fmla="*/ 3627455 w 11851944"/>
                <a:gd name="connsiteY35" fmla="*/ 2818908 h 2969978"/>
                <a:gd name="connsiteX36" fmla="*/ 3125037 w 11851944"/>
                <a:gd name="connsiteY36" fmla="*/ 2828956 h 2969978"/>
                <a:gd name="connsiteX37" fmla="*/ 3064747 w 11851944"/>
                <a:gd name="connsiteY37" fmla="*/ 2839004 h 2969978"/>
                <a:gd name="connsiteX38" fmla="*/ 2009670 w 11851944"/>
                <a:gd name="connsiteY38" fmla="*/ 2849053 h 2969978"/>
                <a:gd name="connsiteX39" fmla="*/ 1678075 w 11851944"/>
                <a:gd name="connsiteY39" fmla="*/ 2939488 h 2969978"/>
                <a:gd name="connsiteX40" fmla="*/ 1607736 w 11851944"/>
                <a:gd name="connsiteY40" fmla="*/ 2969633 h 2969978"/>
                <a:gd name="connsiteX41" fmla="*/ 1135464 w 11851944"/>
                <a:gd name="connsiteY41" fmla="*/ 2949536 h 2969978"/>
                <a:gd name="connsiteX42" fmla="*/ 944545 w 11851944"/>
                <a:gd name="connsiteY42" fmla="*/ 2919391 h 2969978"/>
                <a:gd name="connsiteX43" fmla="*/ 723481 w 11851944"/>
                <a:gd name="connsiteY43" fmla="*/ 2879198 h 2969978"/>
                <a:gd name="connsiteX44" fmla="*/ 643095 w 11851944"/>
                <a:gd name="connsiteY44" fmla="*/ 2869149 h 2969978"/>
                <a:gd name="connsiteX45" fmla="*/ 371789 w 11851944"/>
                <a:gd name="connsiteY45" fmla="*/ 2828956 h 2969978"/>
                <a:gd name="connsiteX46" fmla="*/ 0 w 11851944"/>
                <a:gd name="connsiteY46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7486022 w 11851944"/>
                <a:gd name="connsiteY24" fmla="*/ 2818908 h 2969978"/>
                <a:gd name="connsiteX25" fmla="*/ 7395587 w 11851944"/>
                <a:gd name="connsiteY25" fmla="*/ 2839004 h 2969978"/>
                <a:gd name="connsiteX26" fmla="*/ 7325248 w 11851944"/>
                <a:gd name="connsiteY26" fmla="*/ 2849053 h 2969978"/>
                <a:gd name="connsiteX27" fmla="*/ 6863024 w 11851944"/>
                <a:gd name="connsiteY27" fmla="*/ 2839004 h 2969978"/>
                <a:gd name="connsiteX28" fmla="*/ 6722347 w 11851944"/>
                <a:gd name="connsiteY28" fmla="*/ 2828956 h 2969978"/>
                <a:gd name="connsiteX29" fmla="*/ 4903596 w 11851944"/>
                <a:gd name="connsiteY29" fmla="*/ 2879198 h 2969978"/>
                <a:gd name="connsiteX30" fmla="*/ 4722725 w 11851944"/>
                <a:gd name="connsiteY30" fmla="*/ 2919391 h 2969978"/>
                <a:gd name="connsiteX31" fmla="*/ 4300695 w 11851944"/>
                <a:gd name="connsiteY31" fmla="*/ 2899294 h 2969978"/>
                <a:gd name="connsiteX32" fmla="*/ 4059534 w 11851944"/>
                <a:gd name="connsiteY32" fmla="*/ 2859101 h 2969978"/>
                <a:gd name="connsiteX33" fmla="*/ 3768132 w 11851944"/>
                <a:gd name="connsiteY33" fmla="*/ 2828956 h 2969978"/>
                <a:gd name="connsiteX34" fmla="*/ 3627455 w 11851944"/>
                <a:gd name="connsiteY34" fmla="*/ 2818908 h 2969978"/>
                <a:gd name="connsiteX35" fmla="*/ 3125037 w 11851944"/>
                <a:gd name="connsiteY35" fmla="*/ 2828956 h 2969978"/>
                <a:gd name="connsiteX36" fmla="*/ 3064747 w 11851944"/>
                <a:gd name="connsiteY36" fmla="*/ 2839004 h 2969978"/>
                <a:gd name="connsiteX37" fmla="*/ 2009670 w 11851944"/>
                <a:gd name="connsiteY37" fmla="*/ 2849053 h 2969978"/>
                <a:gd name="connsiteX38" fmla="*/ 1678075 w 11851944"/>
                <a:gd name="connsiteY38" fmla="*/ 2939488 h 2969978"/>
                <a:gd name="connsiteX39" fmla="*/ 1607736 w 11851944"/>
                <a:gd name="connsiteY39" fmla="*/ 2969633 h 2969978"/>
                <a:gd name="connsiteX40" fmla="*/ 1135464 w 11851944"/>
                <a:gd name="connsiteY40" fmla="*/ 2949536 h 2969978"/>
                <a:gd name="connsiteX41" fmla="*/ 944545 w 11851944"/>
                <a:gd name="connsiteY41" fmla="*/ 2919391 h 2969978"/>
                <a:gd name="connsiteX42" fmla="*/ 723481 w 11851944"/>
                <a:gd name="connsiteY42" fmla="*/ 2879198 h 2969978"/>
                <a:gd name="connsiteX43" fmla="*/ 643095 w 11851944"/>
                <a:gd name="connsiteY43" fmla="*/ 2869149 h 2969978"/>
                <a:gd name="connsiteX44" fmla="*/ 371789 w 11851944"/>
                <a:gd name="connsiteY44" fmla="*/ 2828956 h 2969978"/>
                <a:gd name="connsiteX45" fmla="*/ 0 w 11851944"/>
                <a:gd name="connsiteY45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7486022 w 11851944"/>
                <a:gd name="connsiteY24" fmla="*/ 2818908 h 2969978"/>
                <a:gd name="connsiteX25" fmla="*/ 7395587 w 11851944"/>
                <a:gd name="connsiteY25" fmla="*/ 2839004 h 2969978"/>
                <a:gd name="connsiteX26" fmla="*/ 6863024 w 11851944"/>
                <a:gd name="connsiteY26" fmla="*/ 2839004 h 2969978"/>
                <a:gd name="connsiteX27" fmla="*/ 6722347 w 11851944"/>
                <a:gd name="connsiteY27" fmla="*/ 2828956 h 2969978"/>
                <a:gd name="connsiteX28" fmla="*/ 4903596 w 11851944"/>
                <a:gd name="connsiteY28" fmla="*/ 2879198 h 2969978"/>
                <a:gd name="connsiteX29" fmla="*/ 4722725 w 11851944"/>
                <a:gd name="connsiteY29" fmla="*/ 2919391 h 2969978"/>
                <a:gd name="connsiteX30" fmla="*/ 4300695 w 11851944"/>
                <a:gd name="connsiteY30" fmla="*/ 2899294 h 2969978"/>
                <a:gd name="connsiteX31" fmla="*/ 4059534 w 11851944"/>
                <a:gd name="connsiteY31" fmla="*/ 2859101 h 2969978"/>
                <a:gd name="connsiteX32" fmla="*/ 3768132 w 11851944"/>
                <a:gd name="connsiteY32" fmla="*/ 2828956 h 2969978"/>
                <a:gd name="connsiteX33" fmla="*/ 3627455 w 11851944"/>
                <a:gd name="connsiteY33" fmla="*/ 2818908 h 2969978"/>
                <a:gd name="connsiteX34" fmla="*/ 3125037 w 11851944"/>
                <a:gd name="connsiteY34" fmla="*/ 2828956 h 2969978"/>
                <a:gd name="connsiteX35" fmla="*/ 3064747 w 11851944"/>
                <a:gd name="connsiteY35" fmla="*/ 2839004 h 2969978"/>
                <a:gd name="connsiteX36" fmla="*/ 2009670 w 11851944"/>
                <a:gd name="connsiteY36" fmla="*/ 2849053 h 2969978"/>
                <a:gd name="connsiteX37" fmla="*/ 1678075 w 11851944"/>
                <a:gd name="connsiteY37" fmla="*/ 2939488 h 2969978"/>
                <a:gd name="connsiteX38" fmla="*/ 1607736 w 11851944"/>
                <a:gd name="connsiteY38" fmla="*/ 2969633 h 2969978"/>
                <a:gd name="connsiteX39" fmla="*/ 1135464 w 11851944"/>
                <a:gd name="connsiteY39" fmla="*/ 2949536 h 2969978"/>
                <a:gd name="connsiteX40" fmla="*/ 944545 w 11851944"/>
                <a:gd name="connsiteY40" fmla="*/ 2919391 h 2969978"/>
                <a:gd name="connsiteX41" fmla="*/ 723481 w 11851944"/>
                <a:gd name="connsiteY41" fmla="*/ 2879198 h 2969978"/>
                <a:gd name="connsiteX42" fmla="*/ 643095 w 11851944"/>
                <a:gd name="connsiteY42" fmla="*/ 2869149 h 2969978"/>
                <a:gd name="connsiteX43" fmla="*/ 371789 w 11851944"/>
                <a:gd name="connsiteY43" fmla="*/ 2828956 h 2969978"/>
                <a:gd name="connsiteX44" fmla="*/ 0 w 11851944"/>
                <a:gd name="connsiteY44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9073662 w 11851944"/>
                <a:gd name="connsiteY23" fmla="*/ 2788762 h 2969978"/>
                <a:gd name="connsiteX24" fmla="*/ 7486022 w 11851944"/>
                <a:gd name="connsiteY24" fmla="*/ 2818908 h 2969978"/>
                <a:gd name="connsiteX25" fmla="*/ 6863024 w 11851944"/>
                <a:gd name="connsiteY25" fmla="*/ 2839004 h 2969978"/>
                <a:gd name="connsiteX26" fmla="*/ 6722347 w 11851944"/>
                <a:gd name="connsiteY26" fmla="*/ 2828956 h 2969978"/>
                <a:gd name="connsiteX27" fmla="*/ 4903596 w 11851944"/>
                <a:gd name="connsiteY27" fmla="*/ 2879198 h 2969978"/>
                <a:gd name="connsiteX28" fmla="*/ 4722725 w 11851944"/>
                <a:gd name="connsiteY28" fmla="*/ 2919391 h 2969978"/>
                <a:gd name="connsiteX29" fmla="*/ 4300695 w 11851944"/>
                <a:gd name="connsiteY29" fmla="*/ 2899294 h 2969978"/>
                <a:gd name="connsiteX30" fmla="*/ 4059534 w 11851944"/>
                <a:gd name="connsiteY30" fmla="*/ 2859101 h 2969978"/>
                <a:gd name="connsiteX31" fmla="*/ 3768132 w 11851944"/>
                <a:gd name="connsiteY31" fmla="*/ 2828956 h 2969978"/>
                <a:gd name="connsiteX32" fmla="*/ 3627455 w 11851944"/>
                <a:gd name="connsiteY32" fmla="*/ 2818908 h 2969978"/>
                <a:gd name="connsiteX33" fmla="*/ 3125037 w 11851944"/>
                <a:gd name="connsiteY33" fmla="*/ 2828956 h 2969978"/>
                <a:gd name="connsiteX34" fmla="*/ 3064747 w 11851944"/>
                <a:gd name="connsiteY34" fmla="*/ 2839004 h 2969978"/>
                <a:gd name="connsiteX35" fmla="*/ 2009670 w 11851944"/>
                <a:gd name="connsiteY35" fmla="*/ 2849053 h 2969978"/>
                <a:gd name="connsiteX36" fmla="*/ 1678075 w 11851944"/>
                <a:gd name="connsiteY36" fmla="*/ 2939488 h 2969978"/>
                <a:gd name="connsiteX37" fmla="*/ 1607736 w 11851944"/>
                <a:gd name="connsiteY37" fmla="*/ 2969633 h 2969978"/>
                <a:gd name="connsiteX38" fmla="*/ 1135464 w 11851944"/>
                <a:gd name="connsiteY38" fmla="*/ 2949536 h 2969978"/>
                <a:gd name="connsiteX39" fmla="*/ 944545 w 11851944"/>
                <a:gd name="connsiteY39" fmla="*/ 2919391 h 2969978"/>
                <a:gd name="connsiteX40" fmla="*/ 723481 w 11851944"/>
                <a:gd name="connsiteY40" fmla="*/ 2879198 h 2969978"/>
                <a:gd name="connsiteX41" fmla="*/ 643095 w 11851944"/>
                <a:gd name="connsiteY41" fmla="*/ 2869149 h 2969978"/>
                <a:gd name="connsiteX42" fmla="*/ 371789 w 11851944"/>
                <a:gd name="connsiteY42" fmla="*/ 2828956 h 2969978"/>
                <a:gd name="connsiteX43" fmla="*/ 0 w 11851944"/>
                <a:gd name="connsiteY43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722725 w 11851944"/>
                <a:gd name="connsiteY27" fmla="*/ 2919391 h 2969978"/>
                <a:gd name="connsiteX28" fmla="*/ 4300695 w 11851944"/>
                <a:gd name="connsiteY28" fmla="*/ 2899294 h 2969978"/>
                <a:gd name="connsiteX29" fmla="*/ 4059534 w 11851944"/>
                <a:gd name="connsiteY29" fmla="*/ 2859101 h 2969978"/>
                <a:gd name="connsiteX30" fmla="*/ 3768132 w 11851944"/>
                <a:gd name="connsiteY30" fmla="*/ 2828956 h 2969978"/>
                <a:gd name="connsiteX31" fmla="*/ 3627455 w 11851944"/>
                <a:gd name="connsiteY31" fmla="*/ 2818908 h 2969978"/>
                <a:gd name="connsiteX32" fmla="*/ 3125037 w 11851944"/>
                <a:gd name="connsiteY32" fmla="*/ 2828956 h 2969978"/>
                <a:gd name="connsiteX33" fmla="*/ 3064747 w 11851944"/>
                <a:gd name="connsiteY33" fmla="*/ 2839004 h 2969978"/>
                <a:gd name="connsiteX34" fmla="*/ 2009670 w 11851944"/>
                <a:gd name="connsiteY34" fmla="*/ 2849053 h 2969978"/>
                <a:gd name="connsiteX35" fmla="*/ 1678075 w 11851944"/>
                <a:gd name="connsiteY35" fmla="*/ 2939488 h 2969978"/>
                <a:gd name="connsiteX36" fmla="*/ 1607736 w 11851944"/>
                <a:gd name="connsiteY36" fmla="*/ 2969633 h 2969978"/>
                <a:gd name="connsiteX37" fmla="*/ 1135464 w 11851944"/>
                <a:gd name="connsiteY37" fmla="*/ 2949536 h 2969978"/>
                <a:gd name="connsiteX38" fmla="*/ 944545 w 11851944"/>
                <a:gd name="connsiteY38" fmla="*/ 2919391 h 2969978"/>
                <a:gd name="connsiteX39" fmla="*/ 723481 w 11851944"/>
                <a:gd name="connsiteY39" fmla="*/ 2879198 h 2969978"/>
                <a:gd name="connsiteX40" fmla="*/ 643095 w 11851944"/>
                <a:gd name="connsiteY40" fmla="*/ 2869149 h 2969978"/>
                <a:gd name="connsiteX41" fmla="*/ 371789 w 11851944"/>
                <a:gd name="connsiteY41" fmla="*/ 2828956 h 2969978"/>
                <a:gd name="connsiteX42" fmla="*/ 0 w 11851944"/>
                <a:gd name="connsiteY42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300695 w 11851944"/>
                <a:gd name="connsiteY27" fmla="*/ 2899294 h 2969978"/>
                <a:gd name="connsiteX28" fmla="*/ 4059534 w 11851944"/>
                <a:gd name="connsiteY28" fmla="*/ 2859101 h 2969978"/>
                <a:gd name="connsiteX29" fmla="*/ 3768132 w 11851944"/>
                <a:gd name="connsiteY29" fmla="*/ 2828956 h 2969978"/>
                <a:gd name="connsiteX30" fmla="*/ 3627455 w 11851944"/>
                <a:gd name="connsiteY30" fmla="*/ 2818908 h 2969978"/>
                <a:gd name="connsiteX31" fmla="*/ 3125037 w 11851944"/>
                <a:gd name="connsiteY31" fmla="*/ 2828956 h 2969978"/>
                <a:gd name="connsiteX32" fmla="*/ 3064747 w 11851944"/>
                <a:gd name="connsiteY32" fmla="*/ 2839004 h 2969978"/>
                <a:gd name="connsiteX33" fmla="*/ 2009670 w 11851944"/>
                <a:gd name="connsiteY33" fmla="*/ 2849053 h 2969978"/>
                <a:gd name="connsiteX34" fmla="*/ 1678075 w 11851944"/>
                <a:gd name="connsiteY34" fmla="*/ 2939488 h 2969978"/>
                <a:gd name="connsiteX35" fmla="*/ 1607736 w 11851944"/>
                <a:gd name="connsiteY35" fmla="*/ 2969633 h 2969978"/>
                <a:gd name="connsiteX36" fmla="*/ 1135464 w 11851944"/>
                <a:gd name="connsiteY36" fmla="*/ 2949536 h 2969978"/>
                <a:gd name="connsiteX37" fmla="*/ 944545 w 11851944"/>
                <a:gd name="connsiteY37" fmla="*/ 2919391 h 2969978"/>
                <a:gd name="connsiteX38" fmla="*/ 723481 w 11851944"/>
                <a:gd name="connsiteY38" fmla="*/ 2879198 h 2969978"/>
                <a:gd name="connsiteX39" fmla="*/ 643095 w 11851944"/>
                <a:gd name="connsiteY39" fmla="*/ 2869149 h 2969978"/>
                <a:gd name="connsiteX40" fmla="*/ 371789 w 11851944"/>
                <a:gd name="connsiteY40" fmla="*/ 2828956 h 2969978"/>
                <a:gd name="connsiteX41" fmla="*/ 0 w 11851944"/>
                <a:gd name="connsiteY41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768132 w 11851944"/>
                <a:gd name="connsiteY28" fmla="*/ 2828956 h 2969978"/>
                <a:gd name="connsiteX29" fmla="*/ 3627455 w 11851944"/>
                <a:gd name="connsiteY29" fmla="*/ 2818908 h 2969978"/>
                <a:gd name="connsiteX30" fmla="*/ 3125037 w 11851944"/>
                <a:gd name="connsiteY30" fmla="*/ 2828956 h 2969978"/>
                <a:gd name="connsiteX31" fmla="*/ 3064747 w 11851944"/>
                <a:gd name="connsiteY31" fmla="*/ 2839004 h 2969978"/>
                <a:gd name="connsiteX32" fmla="*/ 2009670 w 11851944"/>
                <a:gd name="connsiteY32" fmla="*/ 2849053 h 2969978"/>
                <a:gd name="connsiteX33" fmla="*/ 1678075 w 11851944"/>
                <a:gd name="connsiteY33" fmla="*/ 2939488 h 2969978"/>
                <a:gd name="connsiteX34" fmla="*/ 1607736 w 11851944"/>
                <a:gd name="connsiteY34" fmla="*/ 2969633 h 2969978"/>
                <a:gd name="connsiteX35" fmla="*/ 1135464 w 11851944"/>
                <a:gd name="connsiteY35" fmla="*/ 2949536 h 2969978"/>
                <a:gd name="connsiteX36" fmla="*/ 944545 w 11851944"/>
                <a:gd name="connsiteY36" fmla="*/ 2919391 h 2969978"/>
                <a:gd name="connsiteX37" fmla="*/ 723481 w 11851944"/>
                <a:gd name="connsiteY37" fmla="*/ 2879198 h 2969978"/>
                <a:gd name="connsiteX38" fmla="*/ 643095 w 11851944"/>
                <a:gd name="connsiteY38" fmla="*/ 2869149 h 2969978"/>
                <a:gd name="connsiteX39" fmla="*/ 371789 w 11851944"/>
                <a:gd name="connsiteY39" fmla="*/ 2828956 h 2969978"/>
                <a:gd name="connsiteX40" fmla="*/ 0 w 11851944"/>
                <a:gd name="connsiteY40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627455 w 11851944"/>
                <a:gd name="connsiteY28" fmla="*/ 2818908 h 2969978"/>
                <a:gd name="connsiteX29" fmla="*/ 3125037 w 11851944"/>
                <a:gd name="connsiteY29" fmla="*/ 2828956 h 2969978"/>
                <a:gd name="connsiteX30" fmla="*/ 3064747 w 11851944"/>
                <a:gd name="connsiteY30" fmla="*/ 2839004 h 2969978"/>
                <a:gd name="connsiteX31" fmla="*/ 2009670 w 11851944"/>
                <a:gd name="connsiteY31" fmla="*/ 2849053 h 2969978"/>
                <a:gd name="connsiteX32" fmla="*/ 1678075 w 11851944"/>
                <a:gd name="connsiteY32" fmla="*/ 2939488 h 2969978"/>
                <a:gd name="connsiteX33" fmla="*/ 1607736 w 11851944"/>
                <a:gd name="connsiteY33" fmla="*/ 2969633 h 2969978"/>
                <a:gd name="connsiteX34" fmla="*/ 1135464 w 11851944"/>
                <a:gd name="connsiteY34" fmla="*/ 2949536 h 2969978"/>
                <a:gd name="connsiteX35" fmla="*/ 944545 w 11851944"/>
                <a:gd name="connsiteY35" fmla="*/ 2919391 h 2969978"/>
                <a:gd name="connsiteX36" fmla="*/ 723481 w 11851944"/>
                <a:gd name="connsiteY36" fmla="*/ 2879198 h 2969978"/>
                <a:gd name="connsiteX37" fmla="*/ 643095 w 11851944"/>
                <a:gd name="connsiteY37" fmla="*/ 2869149 h 2969978"/>
                <a:gd name="connsiteX38" fmla="*/ 371789 w 11851944"/>
                <a:gd name="connsiteY38" fmla="*/ 2828956 h 2969978"/>
                <a:gd name="connsiteX39" fmla="*/ 0 w 11851944"/>
                <a:gd name="connsiteY39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125037 w 11851944"/>
                <a:gd name="connsiteY28" fmla="*/ 2828956 h 2969978"/>
                <a:gd name="connsiteX29" fmla="*/ 3064747 w 11851944"/>
                <a:gd name="connsiteY29" fmla="*/ 2839004 h 2969978"/>
                <a:gd name="connsiteX30" fmla="*/ 2009670 w 11851944"/>
                <a:gd name="connsiteY30" fmla="*/ 2849053 h 2969978"/>
                <a:gd name="connsiteX31" fmla="*/ 1678075 w 11851944"/>
                <a:gd name="connsiteY31" fmla="*/ 2939488 h 2969978"/>
                <a:gd name="connsiteX32" fmla="*/ 1607736 w 11851944"/>
                <a:gd name="connsiteY32" fmla="*/ 2969633 h 2969978"/>
                <a:gd name="connsiteX33" fmla="*/ 1135464 w 11851944"/>
                <a:gd name="connsiteY33" fmla="*/ 2949536 h 2969978"/>
                <a:gd name="connsiteX34" fmla="*/ 944545 w 11851944"/>
                <a:gd name="connsiteY34" fmla="*/ 2919391 h 2969978"/>
                <a:gd name="connsiteX35" fmla="*/ 723481 w 11851944"/>
                <a:gd name="connsiteY35" fmla="*/ 2879198 h 2969978"/>
                <a:gd name="connsiteX36" fmla="*/ 643095 w 11851944"/>
                <a:gd name="connsiteY36" fmla="*/ 2869149 h 2969978"/>
                <a:gd name="connsiteX37" fmla="*/ 371789 w 11851944"/>
                <a:gd name="connsiteY37" fmla="*/ 2828956 h 2969978"/>
                <a:gd name="connsiteX38" fmla="*/ 0 w 11851944"/>
                <a:gd name="connsiteY38" fmla="*/ 2818908 h 2969978"/>
                <a:gd name="connsiteX0" fmla="*/ 120580 w 11851944"/>
                <a:gd name="connsiteY0" fmla="*/ 55611 h 2969978"/>
                <a:gd name="connsiteX1" fmla="*/ 281354 w 11851944"/>
                <a:gd name="connsiteY1" fmla="*/ 45562 h 2969978"/>
                <a:gd name="connsiteX2" fmla="*/ 673240 w 11851944"/>
                <a:gd name="connsiteY2" fmla="*/ 35514 h 2969978"/>
                <a:gd name="connsiteX3" fmla="*/ 1356528 w 11851944"/>
                <a:gd name="connsiteY3" fmla="*/ 85756 h 2969978"/>
                <a:gd name="connsiteX4" fmla="*/ 1758462 w 11851944"/>
                <a:gd name="connsiteY4" fmla="*/ 45562 h 2969978"/>
                <a:gd name="connsiteX5" fmla="*/ 2140299 w 11851944"/>
                <a:gd name="connsiteY5" fmla="*/ 45562 h 2969978"/>
                <a:gd name="connsiteX6" fmla="*/ 4652387 w 11851944"/>
                <a:gd name="connsiteY6" fmla="*/ 65659 h 2969978"/>
                <a:gd name="connsiteX7" fmla="*/ 4692580 w 11851944"/>
                <a:gd name="connsiteY7" fmla="*/ 75708 h 2969978"/>
                <a:gd name="connsiteX8" fmla="*/ 6420897 w 11851944"/>
                <a:gd name="connsiteY8" fmla="*/ 95804 h 2969978"/>
                <a:gd name="connsiteX9" fmla="*/ 7184571 w 11851944"/>
                <a:gd name="connsiteY9" fmla="*/ 65659 h 2969978"/>
                <a:gd name="connsiteX10" fmla="*/ 7928150 w 11851944"/>
                <a:gd name="connsiteY10" fmla="*/ 65659 h 2969978"/>
                <a:gd name="connsiteX11" fmla="*/ 8219552 w 11851944"/>
                <a:gd name="connsiteY11" fmla="*/ 95804 h 2969978"/>
                <a:gd name="connsiteX12" fmla="*/ 9606224 w 11851944"/>
                <a:gd name="connsiteY12" fmla="*/ 95804 h 2969978"/>
                <a:gd name="connsiteX13" fmla="*/ 9947868 w 11851944"/>
                <a:gd name="connsiteY13" fmla="*/ 65659 h 2969978"/>
                <a:gd name="connsiteX14" fmla="*/ 10791930 w 11851944"/>
                <a:gd name="connsiteY14" fmla="*/ 35514 h 2969978"/>
                <a:gd name="connsiteX15" fmla="*/ 11736475 w 11851944"/>
                <a:gd name="connsiteY15" fmla="*/ 55611 h 2969978"/>
                <a:gd name="connsiteX16" fmla="*/ 11806813 w 11851944"/>
                <a:gd name="connsiteY16" fmla="*/ 769044 h 2969978"/>
                <a:gd name="connsiteX17" fmla="*/ 11816862 w 11851944"/>
                <a:gd name="connsiteY17" fmla="*/ 2336587 h 2969978"/>
                <a:gd name="connsiteX18" fmla="*/ 11806813 w 11851944"/>
                <a:gd name="connsiteY18" fmla="*/ 2828956 h 2969978"/>
                <a:gd name="connsiteX19" fmla="*/ 11033090 w 11851944"/>
                <a:gd name="connsiteY19" fmla="*/ 2859101 h 2969978"/>
                <a:gd name="connsiteX20" fmla="*/ 10128739 w 11851944"/>
                <a:gd name="connsiteY20" fmla="*/ 2859101 h 2969978"/>
                <a:gd name="connsiteX21" fmla="*/ 9555982 w 11851944"/>
                <a:gd name="connsiteY21" fmla="*/ 2859101 h 2969978"/>
                <a:gd name="connsiteX22" fmla="*/ 9204290 w 11851944"/>
                <a:gd name="connsiteY22" fmla="*/ 2808859 h 2969978"/>
                <a:gd name="connsiteX23" fmla="*/ 7486022 w 11851944"/>
                <a:gd name="connsiteY23" fmla="*/ 2818908 h 2969978"/>
                <a:gd name="connsiteX24" fmla="*/ 6863024 w 11851944"/>
                <a:gd name="connsiteY24" fmla="*/ 2839004 h 2969978"/>
                <a:gd name="connsiteX25" fmla="*/ 6722347 w 11851944"/>
                <a:gd name="connsiteY25" fmla="*/ 2828956 h 2969978"/>
                <a:gd name="connsiteX26" fmla="*/ 4903596 w 11851944"/>
                <a:gd name="connsiteY26" fmla="*/ 2879198 h 2969978"/>
                <a:gd name="connsiteX27" fmla="*/ 4059534 w 11851944"/>
                <a:gd name="connsiteY27" fmla="*/ 2859101 h 2969978"/>
                <a:gd name="connsiteX28" fmla="*/ 3064747 w 11851944"/>
                <a:gd name="connsiteY28" fmla="*/ 2839004 h 2969978"/>
                <a:gd name="connsiteX29" fmla="*/ 2009670 w 11851944"/>
                <a:gd name="connsiteY29" fmla="*/ 2849053 h 2969978"/>
                <a:gd name="connsiteX30" fmla="*/ 1678075 w 11851944"/>
                <a:gd name="connsiteY30" fmla="*/ 2939488 h 2969978"/>
                <a:gd name="connsiteX31" fmla="*/ 1607736 w 11851944"/>
                <a:gd name="connsiteY31" fmla="*/ 2969633 h 2969978"/>
                <a:gd name="connsiteX32" fmla="*/ 1135464 w 11851944"/>
                <a:gd name="connsiteY32" fmla="*/ 2949536 h 2969978"/>
                <a:gd name="connsiteX33" fmla="*/ 944545 w 11851944"/>
                <a:gd name="connsiteY33" fmla="*/ 2919391 h 2969978"/>
                <a:gd name="connsiteX34" fmla="*/ 723481 w 11851944"/>
                <a:gd name="connsiteY34" fmla="*/ 2879198 h 2969978"/>
                <a:gd name="connsiteX35" fmla="*/ 643095 w 11851944"/>
                <a:gd name="connsiteY35" fmla="*/ 2869149 h 2969978"/>
                <a:gd name="connsiteX36" fmla="*/ 371789 w 11851944"/>
                <a:gd name="connsiteY36" fmla="*/ 2828956 h 2969978"/>
                <a:gd name="connsiteX37" fmla="*/ 0 w 11851944"/>
                <a:gd name="connsiteY37" fmla="*/ 2818908 h 2969978"/>
                <a:gd name="connsiteX0" fmla="*/ 120580 w 11851944"/>
                <a:gd name="connsiteY0" fmla="*/ 55611 h 2974631"/>
                <a:gd name="connsiteX1" fmla="*/ 281354 w 11851944"/>
                <a:gd name="connsiteY1" fmla="*/ 45562 h 2974631"/>
                <a:gd name="connsiteX2" fmla="*/ 673240 w 11851944"/>
                <a:gd name="connsiteY2" fmla="*/ 35514 h 2974631"/>
                <a:gd name="connsiteX3" fmla="*/ 1356528 w 11851944"/>
                <a:gd name="connsiteY3" fmla="*/ 85756 h 2974631"/>
                <a:gd name="connsiteX4" fmla="*/ 1758462 w 11851944"/>
                <a:gd name="connsiteY4" fmla="*/ 45562 h 2974631"/>
                <a:gd name="connsiteX5" fmla="*/ 2140299 w 11851944"/>
                <a:gd name="connsiteY5" fmla="*/ 45562 h 2974631"/>
                <a:gd name="connsiteX6" fmla="*/ 4652387 w 11851944"/>
                <a:gd name="connsiteY6" fmla="*/ 65659 h 2974631"/>
                <a:gd name="connsiteX7" fmla="*/ 4692580 w 11851944"/>
                <a:gd name="connsiteY7" fmla="*/ 75708 h 2974631"/>
                <a:gd name="connsiteX8" fmla="*/ 6420897 w 11851944"/>
                <a:gd name="connsiteY8" fmla="*/ 95804 h 2974631"/>
                <a:gd name="connsiteX9" fmla="*/ 7184571 w 11851944"/>
                <a:gd name="connsiteY9" fmla="*/ 65659 h 2974631"/>
                <a:gd name="connsiteX10" fmla="*/ 7928150 w 11851944"/>
                <a:gd name="connsiteY10" fmla="*/ 65659 h 2974631"/>
                <a:gd name="connsiteX11" fmla="*/ 8219552 w 11851944"/>
                <a:gd name="connsiteY11" fmla="*/ 95804 h 2974631"/>
                <a:gd name="connsiteX12" fmla="*/ 9606224 w 11851944"/>
                <a:gd name="connsiteY12" fmla="*/ 95804 h 2974631"/>
                <a:gd name="connsiteX13" fmla="*/ 9947868 w 11851944"/>
                <a:gd name="connsiteY13" fmla="*/ 65659 h 2974631"/>
                <a:gd name="connsiteX14" fmla="*/ 10791930 w 11851944"/>
                <a:gd name="connsiteY14" fmla="*/ 35514 h 2974631"/>
                <a:gd name="connsiteX15" fmla="*/ 11736475 w 11851944"/>
                <a:gd name="connsiteY15" fmla="*/ 55611 h 2974631"/>
                <a:gd name="connsiteX16" fmla="*/ 11806813 w 11851944"/>
                <a:gd name="connsiteY16" fmla="*/ 769044 h 2974631"/>
                <a:gd name="connsiteX17" fmla="*/ 11816862 w 11851944"/>
                <a:gd name="connsiteY17" fmla="*/ 2336587 h 2974631"/>
                <a:gd name="connsiteX18" fmla="*/ 11806813 w 11851944"/>
                <a:gd name="connsiteY18" fmla="*/ 2828956 h 2974631"/>
                <a:gd name="connsiteX19" fmla="*/ 11033090 w 11851944"/>
                <a:gd name="connsiteY19" fmla="*/ 2859101 h 2974631"/>
                <a:gd name="connsiteX20" fmla="*/ 10128739 w 11851944"/>
                <a:gd name="connsiteY20" fmla="*/ 2859101 h 2974631"/>
                <a:gd name="connsiteX21" fmla="*/ 9555982 w 11851944"/>
                <a:gd name="connsiteY21" fmla="*/ 2859101 h 2974631"/>
                <a:gd name="connsiteX22" fmla="*/ 9204290 w 11851944"/>
                <a:gd name="connsiteY22" fmla="*/ 2808859 h 2974631"/>
                <a:gd name="connsiteX23" fmla="*/ 7486022 w 11851944"/>
                <a:gd name="connsiteY23" fmla="*/ 2818908 h 2974631"/>
                <a:gd name="connsiteX24" fmla="*/ 6863024 w 11851944"/>
                <a:gd name="connsiteY24" fmla="*/ 2839004 h 2974631"/>
                <a:gd name="connsiteX25" fmla="*/ 6722347 w 11851944"/>
                <a:gd name="connsiteY25" fmla="*/ 2828956 h 2974631"/>
                <a:gd name="connsiteX26" fmla="*/ 4903596 w 11851944"/>
                <a:gd name="connsiteY26" fmla="*/ 2879198 h 2974631"/>
                <a:gd name="connsiteX27" fmla="*/ 4059534 w 11851944"/>
                <a:gd name="connsiteY27" fmla="*/ 2859101 h 2974631"/>
                <a:gd name="connsiteX28" fmla="*/ 3064747 w 11851944"/>
                <a:gd name="connsiteY28" fmla="*/ 2839004 h 2974631"/>
                <a:gd name="connsiteX29" fmla="*/ 2009670 w 11851944"/>
                <a:gd name="connsiteY29" fmla="*/ 2849053 h 2974631"/>
                <a:gd name="connsiteX30" fmla="*/ 1607736 w 11851944"/>
                <a:gd name="connsiteY30" fmla="*/ 2969633 h 2974631"/>
                <a:gd name="connsiteX31" fmla="*/ 1135464 w 11851944"/>
                <a:gd name="connsiteY31" fmla="*/ 2949536 h 2974631"/>
                <a:gd name="connsiteX32" fmla="*/ 944545 w 11851944"/>
                <a:gd name="connsiteY32" fmla="*/ 2919391 h 2974631"/>
                <a:gd name="connsiteX33" fmla="*/ 723481 w 11851944"/>
                <a:gd name="connsiteY33" fmla="*/ 2879198 h 2974631"/>
                <a:gd name="connsiteX34" fmla="*/ 643095 w 11851944"/>
                <a:gd name="connsiteY34" fmla="*/ 2869149 h 2974631"/>
                <a:gd name="connsiteX35" fmla="*/ 371789 w 11851944"/>
                <a:gd name="connsiteY35" fmla="*/ 2828956 h 2974631"/>
                <a:gd name="connsiteX36" fmla="*/ 0 w 11851944"/>
                <a:gd name="connsiteY36" fmla="*/ 2818908 h 2974631"/>
                <a:gd name="connsiteX0" fmla="*/ 120580 w 11851944"/>
                <a:gd name="connsiteY0" fmla="*/ 55611 h 2949536"/>
                <a:gd name="connsiteX1" fmla="*/ 281354 w 11851944"/>
                <a:gd name="connsiteY1" fmla="*/ 45562 h 2949536"/>
                <a:gd name="connsiteX2" fmla="*/ 673240 w 11851944"/>
                <a:gd name="connsiteY2" fmla="*/ 35514 h 2949536"/>
                <a:gd name="connsiteX3" fmla="*/ 1356528 w 11851944"/>
                <a:gd name="connsiteY3" fmla="*/ 85756 h 2949536"/>
                <a:gd name="connsiteX4" fmla="*/ 1758462 w 11851944"/>
                <a:gd name="connsiteY4" fmla="*/ 45562 h 2949536"/>
                <a:gd name="connsiteX5" fmla="*/ 2140299 w 11851944"/>
                <a:gd name="connsiteY5" fmla="*/ 45562 h 2949536"/>
                <a:gd name="connsiteX6" fmla="*/ 4652387 w 11851944"/>
                <a:gd name="connsiteY6" fmla="*/ 65659 h 2949536"/>
                <a:gd name="connsiteX7" fmla="*/ 4692580 w 11851944"/>
                <a:gd name="connsiteY7" fmla="*/ 75708 h 2949536"/>
                <a:gd name="connsiteX8" fmla="*/ 6420897 w 11851944"/>
                <a:gd name="connsiteY8" fmla="*/ 95804 h 2949536"/>
                <a:gd name="connsiteX9" fmla="*/ 7184571 w 11851944"/>
                <a:gd name="connsiteY9" fmla="*/ 65659 h 2949536"/>
                <a:gd name="connsiteX10" fmla="*/ 7928150 w 11851944"/>
                <a:gd name="connsiteY10" fmla="*/ 65659 h 2949536"/>
                <a:gd name="connsiteX11" fmla="*/ 8219552 w 11851944"/>
                <a:gd name="connsiteY11" fmla="*/ 95804 h 2949536"/>
                <a:gd name="connsiteX12" fmla="*/ 9606224 w 11851944"/>
                <a:gd name="connsiteY12" fmla="*/ 95804 h 2949536"/>
                <a:gd name="connsiteX13" fmla="*/ 9947868 w 11851944"/>
                <a:gd name="connsiteY13" fmla="*/ 65659 h 2949536"/>
                <a:gd name="connsiteX14" fmla="*/ 10791930 w 11851944"/>
                <a:gd name="connsiteY14" fmla="*/ 35514 h 2949536"/>
                <a:gd name="connsiteX15" fmla="*/ 11736475 w 11851944"/>
                <a:gd name="connsiteY15" fmla="*/ 55611 h 2949536"/>
                <a:gd name="connsiteX16" fmla="*/ 11806813 w 11851944"/>
                <a:gd name="connsiteY16" fmla="*/ 769044 h 2949536"/>
                <a:gd name="connsiteX17" fmla="*/ 11816862 w 11851944"/>
                <a:gd name="connsiteY17" fmla="*/ 2336587 h 2949536"/>
                <a:gd name="connsiteX18" fmla="*/ 11806813 w 11851944"/>
                <a:gd name="connsiteY18" fmla="*/ 2828956 h 2949536"/>
                <a:gd name="connsiteX19" fmla="*/ 11033090 w 11851944"/>
                <a:gd name="connsiteY19" fmla="*/ 2859101 h 2949536"/>
                <a:gd name="connsiteX20" fmla="*/ 10128739 w 11851944"/>
                <a:gd name="connsiteY20" fmla="*/ 2859101 h 2949536"/>
                <a:gd name="connsiteX21" fmla="*/ 9555982 w 11851944"/>
                <a:gd name="connsiteY21" fmla="*/ 2859101 h 2949536"/>
                <a:gd name="connsiteX22" fmla="*/ 9204290 w 11851944"/>
                <a:gd name="connsiteY22" fmla="*/ 2808859 h 2949536"/>
                <a:gd name="connsiteX23" fmla="*/ 7486022 w 11851944"/>
                <a:gd name="connsiteY23" fmla="*/ 2818908 h 2949536"/>
                <a:gd name="connsiteX24" fmla="*/ 6863024 w 11851944"/>
                <a:gd name="connsiteY24" fmla="*/ 2839004 h 2949536"/>
                <a:gd name="connsiteX25" fmla="*/ 6722347 w 11851944"/>
                <a:gd name="connsiteY25" fmla="*/ 2828956 h 2949536"/>
                <a:gd name="connsiteX26" fmla="*/ 4903596 w 11851944"/>
                <a:gd name="connsiteY26" fmla="*/ 2879198 h 2949536"/>
                <a:gd name="connsiteX27" fmla="*/ 4059534 w 11851944"/>
                <a:gd name="connsiteY27" fmla="*/ 2859101 h 2949536"/>
                <a:gd name="connsiteX28" fmla="*/ 3064747 w 11851944"/>
                <a:gd name="connsiteY28" fmla="*/ 2839004 h 2949536"/>
                <a:gd name="connsiteX29" fmla="*/ 2009670 w 11851944"/>
                <a:gd name="connsiteY29" fmla="*/ 2849053 h 2949536"/>
                <a:gd name="connsiteX30" fmla="*/ 1135464 w 11851944"/>
                <a:gd name="connsiteY30" fmla="*/ 2949536 h 2949536"/>
                <a:gd name="connsiteX31" fmla="*/ 944545 w 11851944"/>
                <a:gd name="connsiteY31" fmla="*/ 2919391 h 2949536"/>
                <a:gd name="connsiteX32" fmla="*/ 723481 w 11851944"/>
                <a:gd name="connsiteY32" fmla="*/ 2879198 h 2949536"/>
                <a:gd name="connsiteX33" fmla="*/ 643095 w 11851944"/>
                <a:gd name="connsiteY33" fmla="*/ 2869149 h 2949536"/>
                <a:gd name="connsiteX34" fmla="*/ 371789 w 11851944"/>
                <a:gd name="connsiteY34" fmla="*/ 2828956 h 2949536"/>
                <a:gd name="connsiteX35" fmla="*/ 0 w 11851944"/>
                <a:gd name="connsiteY35" fmla="*/ 2818908 h 2949536"/>
                <a:gd name="connsiteX0" fmla="*/ 120580 w 11851944"/>
                <a:gd name="connsiteY0" fmla="*/ 55611 h 2949840"/>
                <a:gd name="connsiteX1" fmla="*/ 281354 w 11851944"/>
                <a:gd name="connsiteY1" fmla="*/ 45562 h 2949840"/>
                <a:gd name="connsiteX2" fmla="*/ 673240 w 11851944"/>
                <a:gd name="connsiteY2" fmla="*/ 35514 h 2949840"/>
                <a:gd name="connsiteX3" fmla="*/ 1356528 w 11851944"/>
                <a:gd name="connsiteY3" fmla="*/ 85756 h 2949840"/>
                <a:gd name="connsiteX4" fmla="*/ 1758462 w 11851944"/>
                <a:gd name="connsiteY4" fmla="*/ 45562 h 2949840"/>
                <a:gd name="connsiteX5" fmla="*/ 2140299 w 11851944"/>
                <a:gd name="connsiteY5" fmla="*/ 45562 h 2949840"/>
                <a:gd name="connsiteX6" fmla="*/ 4652387 w 11851944"/>
                <a:gd name="connsiteY6" fmla="*/ 65659 h 2949840"/>
                <a:gd name="connsiteX7" fmla="*/ 4692580 w 11851944"/>
                <a:gd name="connsiteY7" fmla="*/ 75708 h 2949840"/>
                <a:gd name="connsiteX8" fmla="*/ 6420897 w 11851944"/>
                <a:gd name="connsiteY8" fmla="*/ 95804 h 2949840"/>
                <a:gd name="connsiteX9" fmla="*/ 7184571 w 11851944"/>
                <a:gd name="connsiteY9" fmla="*/ 65659 h 2949840"/>
                <a:gd name="connsiteX10" fmla="*/ 7928150 w 11851944"/>
                <a:gd name="connsiteY10" fmla="*/ 65659 h 2949840"/>
                <a:gd name="connsiteX11" fmla="*/ 8219552 w 11851944"/>
                <a:gd name="connsiteY11" fmla="*/ 95804 h 2949840"/>
                <a:gd name="connsiteX12" fmla="*/ 9606224 w 11851944"/>
                <a:gd name="connsiteY12" fmla="*/ 95804 h 2949840"/>
                <a:gd name="connsiteX13" fmla="*/ 9947868 w 11851944"/>
                <a:gd name="connsiteY13" fmla="*/ 65659 h 2949840"/>
                <a:gd name="connsiteX14" fmla="*/ 10791930 w 11851944"/>
                <a:gd name="connsiteY14" fmla="*/ 35514 h 2949840"/>
                <a:gd name="connsiteX15" fmla="*/ 11736475 w 11851944"/>
                <a:gd name="connsiteY15" fmla="*/ 55611 h 2949840"/>
                <a:gd name="connsiteX16" fmla="*/ 11806813 w 11851944"/>
                <a:gd name="connsiteY16" fmla="*/ 769044 h 2949840"/>
                <a:gd name="connsiteX17" fmla="*/ 11816862 w 11851944"/>
                <a:gd name="connsiteY17" fmla="*/ 2336587 h 2949840"/>
                <a:gd name="connsiteX18" fmla="*/ 11806813 w 11851944"/>
                <a:gd name="connsiteY18" fmla="*/ 2828956 h 2949840"/>
                <a:gd name="connsiteX19" fmla="*/ 11033090 w 11851944"/>
                <a:gd name="connsiteY19" fmla="*/ 2859101 h 2949840"/>
                <a:gd name="connsiteX20" fmla="*/ 10128739 w 11851944"/>
                <a:gd name="connsiteY20" fmla="*/ 2859101 h 2949840"/>
                <a:gd name="connsiteX21" fmla="*/ 9555982 w 11851944"/>
                <a:gd name="connsiteY21" fmla="*/ 2859101 h 2949840"/>
                <a:gd name="connsiteX22" fmla="*/ 9204290 w 11851944"/>
                <a:gd name="connsiteY22" fmla="*/ 2808859 h 2949840"/>
                <a:gd name="connsiteX23" fmla="*/ 7486022 w 11851944"/>
                <a:gd name="connsiteY23" fmla="*/ 2818908 h 2949840"/>
                <a:gd name="connsiteX24" fmla="*/ 6863024 w 11851944"/>
                <a:gd name="connsiteY24" fmla="*/ 2839004 h 2949840"/>
                <a:gd name="connsiteX25" fmla="*/ 6722347 w 11851944"/>
                <a:gd name="connsiteY25" fmla="*/ 2828956 h 2949840"/>
                <a:gd name="connsiteX26" fmla="*/ 4903596 w 11851944"/>
                <a:gd name="connsiteY26" fmla="*/ 2879198 h 2949840"/>
                <a:gd name="connsiteX27" fmla="*/ 4059534 w 11851944"/>
                <a:gd name="connsiteY27" fmla="*/ 2859101 h 2949840"/>
                <a:gd name="connsiteX28" fmla="*/ 3064747 w 11851944"/>
                <a:gd name="connsiteY28" fmla="*/ 2839004 h 2949840"/>
                <a:gd name="connsiteX29" fmla="*/ 2009670 w 11851944"/>
                <a:gd name="connsiteY29" fmla="*/ 2849053 h 2949840"/>
                <a:gd name="connsiteX30" fmla="*/ 1205803 w 11851944"/>
                <a:gd name="connsiteY30" fmla="*/ 2929437 h 2949840"/>
                <a:gd name="connsiteX31" fmla="*/ 1135464 w 11851944"/>
                <a:gd name="connsiteY31" fmla="*/ 2949536 h 2949840"/>
                <a:gd name="connsiteX32" fmla="*/ 944545 w 11851944"/>
                <a:gd name="connsiteY32" fmla="*/ 2919391 h 2949840"/>
                <a:gd name="connsiteX33" fmla="*/ 723481 w 11851944"/>
                <a:gd name="connsiteY33" fmla="*/ 2879198 h 2949840"/>
                <a:gd name="connsiteX34" fmla="*/ 643095 w 11851944"/>
                <a:gd name="connsiteY34" fmla="*/ 2869149 h 2949840"/>
                <a:gd name="connsiteX35" fmla="*/ 371789 w 11851944"/>
                <a:gd name="connsiteY35" fmla="*/ 2828956 h 2949840"/>
                <a:gd name="connsiteX36" fmla="*/ 0 w 11851944"/>
                <a:gd name="connsiteY36" fmla="*/ 2818908 h 2949840"/>
                <a:gd name="connsiteX0" fmla="*/ 120580 w 11851944"/>
                <a:gd name="connsiteY0" fmla="*/ 55611 h 2934038"/>
                <a:gd name="connsiteX1" fmla="*/ 281354 w 11851944"/>
                <a:gd name="connsiteY1" fmla="*/ 45562 h 2934038"/>
                <a:gd name="connsiteX2" fmla="*/ 673240 w 11851944"/>
                <a:gd name="connsiteY2" fmla="*/ 35514 h 2934038"/>
                <a:gd name="connsiteX3" fmla="*/ 1356528 w 11851944"/>
                <a:gd name="connsiteY3" fmla="*/ 85756 h 2934038"/>
                <a:gd name="connsiteX4" fmla="*/ 1758462 w 11851944"/>
                <a:gd name="connsiteY4" fmla="*/ 45562 h 2934038"/>
                <a:gd name="connsiteX5" fmla="*/ 2140299 w 11851944"/>
                <a:gd name="connsiteY5" fmla="*/ 45562 h 2934038"/>
                <a:gd name="connsiteX6" fmla="*/ 4652387 w 11851944"/>
                <a:gd name="connsiteY6" fmla="*/ 65659 h 2934038"/>
                <a:gd name="connsiteX7" fmla="*/ 4692580 w 11851944"/>
                <a:gd name="connsiteY7" fmla="*/ 75708 h 2934038"/>
                <a:gd name="connsiteX8" fmla="*/ 6420897 w 11851944"/>
                <a:gd name="connsiteY8" fmla="*/ 95804 h 2934038"/>
                <a:gd name="connsiteX9" fmla="*/ 7184571 w 11851944"/>
                <a:gd name="connsiteY9" fmla="*/ 65659 h 2934038"/>
                <a:gd name="connsiteX10" fmla="*/ 7928150 w 11851944"/>
                <a:gd name="connsiteY10" fmla="*/ 65659 h 2934038"/>
                <a:gd name="connsiteX11" fmla="*/ 8219552 w 11851944"/>
                <a:gd name="connsiteY11" fmla="*/ 95804 h 2934038"/>
                <a:gd name="connsiteX12" fmla="*/ 9606224 w 11851944"/>
                <a:gd name="connsiteY12" fmla="*/ 95804 h 2934038"/>
                <a:gd name="connsiteX13" fmla="*/ 9947868 w 11851944"/>
                <a:gd name="connsiteY13" fmla="*/ 65659 h 2934038"/>
                <a:gd name="connsiteX14" fmla="*/ 10791930 w 11851944"/>
                <a:gd name="connsiteY14" fmla="*/ 35514 h 2934038"/>
                <a:gd name="connsiteX15" fmla="*/ 11736475 w 11851944"/>
                <a:gd name="connsiteY15" fmla="*/ 55611 h 2934038"/>
                <a:gd name="connsiteX16" fmla="*/ 11806813 w 11851944"/>
                <a:gd name="connsiteY16" fmla="*/ 769044 h 2934038"/>
                <a:gd name="connsiteX17" fmla="*/ 11816862 w 11851944"/>
                <a:gd name="connsiteY17" fmla="*/ 2336587 h 2934038"/>
                <a:gd name="connsiteX18" fmla="*/ 11806813 w 11851944"/>
                <a:gd name="connsiteY18" fmla="*/ 2828956 h 2934038"/>
                <a:gd name="connsiteX19" fmla="*/ 11033090 w 11851944"/>
                <a:gd name="connsiteY19" fmla="*/ 2859101 h 2934038"/>
                <a:gd name="connsiteX20" fmla="*/ 10128739 w 11851944"/>
                <a:gd name="connsiteY20" fmla="*/ 2859101 h 2934038"/>
                <a:gd name="connsiteX21" fmla="*/ 9555982 w 11851944"/>
                <a:gd name="connsiteY21" fmla="*/ 2859101 h 2934038"/>
                <a:gd name="connsiteX22" fmla="*/ 9204290 w 11851944"/>
                <a:gd name="connsiteY22" fmla="*/ 2808859 h 2934038"/>
                <a:gd name="connsiteX23" fmla="*/ 7486022 w 11851944"/>
                <a:gd name="connsiteY23" fmla="*/ 2818908 h 2934038"/>
                <a:gd name="connsiteX24" fmla="*/ 6863024 w 11851944"/>
                <a:gd name="connsiteY24" fmla="*/ 2839004 h 2934038"/>
                <a:gd name="connsiteX25" fmla="*/ 6722347 w 11851944"/>
                <a:gd name="connsiteY25" fmla="*/ 2828956 h 2934038"/>
                <a:gd name="connsiteX26" fmla="*/ 4903596 w 11851944"/>
                <a:gd name="connsiteY26" fmla="*/ 2879198 h 2934038"/>
                <a:gd name="connsiteX27" fmla="*/ 4059534 w 11851944"/>
                <a:gd name="connsiteY27" fmla="*/ 2859101 h 2934038"/>
                <a:gd name="connsiteX28" fmla="*/ 3064747 w 11851944"/>
                <a:gd name="connsiteY28" fmla="*/ 2839004 h 2934038"/>
                <a:gd name="connsiteX29" fmla="*/ 2009670 w 11851944"/>
                <a:gd name="connsiteY29" fmla="*/ 2849053 h 2934038"/>
                <a:gd name="connsiteX30" fmla="*/ 1205803 w 11851944"/>
                <a:gd name="connsiteY30" fmla="*/ 2929437 h 2934038"/>
                <a:gd name="connsiteX31" fmla="*/ 944545 w 11851944"/>
                <a:gd name="connsiteY31" fmla="*/ 2919391 h 2934038"/>
                <a:gd name="connsiteX32" fmla="*/ 723481 w 11851944"/>
                <a:gd name="connsiteY32" fmla="*/ 2879198 h 2934038"/>
                <a:gd name="connsiteX33" fmla="*/ 643095 w 11851944"/>
                <a:gd name="connsiteY33" fmla="*/ 2869149 h 2934038"/>
                <a:gd name="connsiteX34" fmla="*/ 371789 w 11851944"/>
                <a:gd name="connsiteY34" fmla="*/ 2828956 h 2934038"/>
                <a:gd name="connsiteX35" fmla="*/ 0 w 11851944"/>
                <a:gd name="connsiteY35" fmla="*/ 2818908 h 2934038"/>
                <a:gd name="connsiteX0" fmla="*/ 120580 w 11851944"/>
                <a:gd name="connsiteY0" fmla="*/ 55611 h 2919923"/>
                <a:gd name="connsiteX1" fmla="*/ 281354 w 11851944"/>
                <a:gd name="connsiteY1" fmla="*/ 45562 h 2919923"/>
                <a:gd name="connsiteX2" fmla="*/ 673240 w 11851944"/>
                <a:gd name="connsiteY2" fmla="*/ 35514 h 2919923"/>
                <a:gd name="connsiteX3" fmla="*/ 1356528 w 11851944"/>
                <a:gd name="connsiteY3" fmla="*/ 85756 h 2919923"/>
                <a:gd name="connsiteX4" fmla="*/ 1758462 w 11851944"/>
                <a:gd name="connsiteY4" fmla="*/ 45562 h 2919923"/>
                <a:gd name="connsiteX5" fmla="*/ 2140299 w 11851944"/>
                <a:gd name="connsiteY5" fmla="*/ 45562 h 2919923"/>
                <a:gd name="connsiteX6" fmla="*/ 4652387 w 11851944"/>
                <a:gd name="connsiteY6" fmla="*/ 65659 h 2919923"/>
                <a:gd name="connsiteX7" fmla="*/ 4692580 w 11851944"/>
                <a:gd name="connsiteY7" fmla="*/ 75708 h 2919923"/>
                <a:gd name="connsiteX8" fmla="*/ 6420897 w 11851944"/>
                <a:gd name="connsiteY8" fmla="*/ 95804 h 2919923"/>
                <a:gd name="connsiteX9" fmla="*/ 7184571 w 11851944"/>
                <a:gd name="connsiteY9" fmla="*/ 65659 h 2919923"/>
                <a:gd name="connsiteX10" fmla="*/ 7928150 w 11851944"/>
                <a:gd name="connsiteY10" fmla="*/ 65659 h 2919923"/>
                <a:gd name="connsiteX11" fmla="*/ 8219552 w 11851944"/>
                <a:gd name="connsiteY11" fmla="*/ 95804 h 2919923"/>
                <a:gd name="connsiteX12" fmla="*/ 9606224 w 11851944"/>
                <a:gd name="connsiteY12" fmla="*/ 95804 h 2919923"/>
                <a:gd name="connsiteX13" fmla="*/ 9947868 w 11851944"/>
                <a:gd name="connsiteY13" fmla="*/ 65659 h 2919923"/>
                <a:gd name="connsiteX14" fmla="*/ 10791930 w 11851944"/>
                <a:gd name="connsiteY14" fmla="*/ 35514 h 2919923"/>
                <a:gd name="connsiteX15" fmla="*/ 11736475 w 11851944"/>
                <a:gd name="connsiteY15" fmla="*/ 55611 h 2919923"/>
                <a:gd name="connsiteX16" fmla="*/ 11806813 w 11851944"/>
                <a:gd name="connsiteY16" fmla="*/ 769044 h 2919923"/>
                <a:gd name="connsiteX17" fmla="*/ 11816862 w 11851944"/>
                <a:gd name="connsiteY17" fmla="*/ 2336587 h 2919923"/>
                <a:gd name="connsiteX18" fmla="*/ 11806813 w 11851944"/>
                <a:gd name="connsiteY18" fmla="*/ 2828956 h 2919923"/>
                <a:gd name="connsiteX19" fmla="*/ 11033090 w 11851944"/>
                <a:gd name="connsiteY19" fmla="*/ 2859101 h 2919923"/>
                <a:gd name="connsiteX20" fmla="*/ 10128739 w 11851944"/>
                <a:gd name="connsiteY20" fmla="*/ 2859101 h 2919923"/>
                <a:gd name="connsiteX21" fmla="*/ 9555982 w 11851944"/>
                <a:gd name="connsiteY21" fmla="*/ 2859101 h 2919923"/>
                <a:gd name="connsiteX22" fmla="*/ 9204290 w 11851944"/>
                <a:gd name="connsiteY22" fmla="*/ 2808859 h 2919923"/>
                <a:gd name="connsiteX23" fmla="*/ 7486022 w 11851944"/>
                <a:gd name="connsiteY23" fmla="*/ 2818908 h 2919923"/>
                <a:gd name="connsiteX24" fmla="*/ 6863024 w 11851944"/>
                <a:gd name="connsiteY24" fmla="*/ 2839004 h 2919923"/>
                <a:gd name="connsiteX25" fmla="*/ 6722347 w 11851944"/>
                <a:gd name="connsiteY25" fmla="*/ 2828956 h 2919923"/>
                <a:gd name="connsiteX26" fmla="*/ 4903596 w 11851944"/>
                <a:gd name="connsiteY26" fmla="*/ 2879198 h 2919923"/>
                <a:gd name="connsiteX27" fmla="*/ 4059534 w 11851944"/>
                <a:gd name="connsiteY27" fmla="*/ 2859101 h 2919923"/>
                <a:gd name="connsiteX28" fmla="*/ 3064747 w 11851944"/>
                <a:gd name="connsiteY28" fmla="*/ 2839004 h 2919923"/>
                <a:gd name="connsiteX29" fmla="*/ 2009670 w 11851944"/>
                <a:gd name="connsiteY29" fmla="*/ 2849053 h 2919923"/>
                <a:gd name="connsiteX30" fmla="*/ 944545 w 11851944"/>
                <a:gd name="connsiteY30" fmla="*/ 2919391 h 2919923"/>
                <a:gd name="connsiteX31" fmla="*/ 723481 w 11851944"/>
                <a:gd name="connsiteY31" fmla="*/ 2879198 h 2919923"/>
                <a:gd name="connsiteX32" fmla="*/ 643095 w 11851944"/>
                <a:gd name="connsiteY32" fmla="*/ 2869149 h 2919923"/>
                <a:gd name="connsiteX33" fmla="*/ 371789 w 11851944"/>
                <a:gd name="connsiteY33" fmla="*/ 2828956 h 2919923"/>
                <a:gd name="connsiteX34" fmla="*/ 0 w 11851944"/>
                <a:gd name="connsiteY34" fmla="*/ 2818908 h 2919923"/>
                <a:gd name="connsiteX0" fmla="*/ 120580 w 11851944"/>
                <a:gd name="connsiteY0" fmla="*/ 55611 h 2890922"/>
                <a:gd name="connsiteX1" fmla="*/ 281354 w 11851944"/>
                <a:gd name="connsiteY1" fmla="*/ 45562 h 2890922"/>
                <a:gd name="connsiteX2" fmla="*/ 673240 w 11851944"/>
                <a:gd name="connsiteY2" fmla="*/ 35514 h 2890922"/>
                <a:gd name="connsiteX3" fmla="*/ 1356528 w 11851944"/>
                <a:gd name="connsiteY3" fmla="*/ 85756 h 2890922"/>
                <a:gd name="connsiteX4" fmla="*/ 1758462 w 11851944"/>
                <a:gd name="connsiteY4" fmla="*/ 45562 h 2890922"/>
                <a:gd name="connsiteX5" fmla="*/ 2140299 w 11851944"/>
                <a:gd name="connsiteY5" fmla="*/ 45562 h 2890922"/>
                <a:gd name="connsiteX6" fmla="*/ 4652387 w 11851944"/>
                <a:gd name="connsiteY6" fmla="*/ 65659 h 2890922"/>
                <a:gd name="connsiteX7" fmla="*/ 4692580 w 11851944"/>
                <a:gd name="connsiteY7" fmla="*/ 75708 h 2890922"/>
                <a:gd name="connsiteX8" fmla="*/ 6420897 w 11851944"/>
                <a:gd name="connsiteY8" fmla="*/ 95804 h 2890922"/>
                <a:gd name="connsiteX9" fmla="*/ 7184571 w 11851944"/>
                <a:gd name="connsiteY9" fmla="*/ 65659 h 2890922"/>
                <a:gd name="connsiteX10" fmla="*/ 7928150 w 11851944"/>
                <a:gd name="connsiteY10" fmla="*/ 65659 h 2890922"/>
                <a:gd name="connsiteX11" fmla="*/ 8219552 w 11851944"/>
                <a:gd name="connsiteY11" fmla="*/ 95804 h 2890922"/>
                <a:gd name="connsiteX12" fmla="*/ 9606224 w 11851944"/>
                <a:gd name="connsiteY12" fmla="*/ 95804 h 2890922"/>
                <a:gd name="connsiteX13" fmla="*/ 9947868 w 11851944"/>
                <a:gd name="connsiteY13" fmla="*/ 65659 h 2890922"/>
                <a:gd name="connsiteX14" fmla="*/ 10791930 w 11851944"/>
                <a:gd name="connsiteY14" fmla="*/ 35514 h 2890922"/>
                <a:gd name="connsiteX15" fmla="*/ 11736475 w 11851944"/>
                <a:gd name="connsiteY15" fmla="*/ 55611 h 2890922"/>
                <a:gd name="connsiteX16" fmla="*/ 11806813 w 11851944"/>
                <a:gd name="connsiteY16" fmla="*/ 769044 h 2890922"/>
                <a:gd name="connsiteX17" fmla="*/ 11816862 w 11851944"/>
                <a:gd name="connsiteY17" fmla="*/ 2336587 h 2890922"/>
                <a:gd name="connsiteX18" fmla="*/ 11806813 w 11851944"/>
                <a:gd name="connsiteY18" fmla="*/ 2828956 h 2890922"/>
                <a:gd name="connsiteX19" fmla="*/ 11033090 w 11851944"/>
                <a:gd name="connsiteY19" fmla="*/ 2859101 h 2890922"/>
                <a:gd name="connsiteX20" fmla="*/ 10128739 w 11851944"/>
                <a:gd name="connsiteY20" fmla="*/ 2859101 h 2890922"/>
                <a:gd name="connsiteX21" fmla="*/ 9555982 w 11851944"/>
                <a:gd name="connsiteY21" fmla="*/ 2859101 h 2890922"/>
                <a:gd name="connsiteX22" fmla="*/ 9204290 w 11851944"/>
                <a:gd name="connsiteY22" fmla="*/ 2808859 h 2890922"/>
                <a:gd name="connsiteX23" fmla="*/ 7486022 w 11851944"/>
                <a:gd name="connsiteY23" fmla="*/ 2818908 h 2890922"/>
                <a:gd name="connsiteX24" fmla="*/ 6863024 w 11851944"/>
                <a:gd name="connsiteY24" fmla="*/ 2839004 h 2890922"/>
                <a:gd name="connsiteX25" fmla="*/ 6722347 w 11851944"/>
                <a:gd name="connsiteY25" fmla="*/ 2828956 h 2890922"/>
                <a:gd name="connsiteX26" fmla="*/ 4903596 w 11851944"/>
                <a:gd name="connsiteY26" fmla="*/ 2879198 h 2890922"/>
                <a:gd name="connsiteX27" fmla="*/ 4059534 w 11851944"/>
                <a:gd name="connsiteY27" fmla="*/ 2859101 h 2890922"/>
                <a:gd name="connsiteX28" fmla="*/ 3064747 w 11851944"/>
                <a:gd name="connsiteY28" fmla="*/ 2839004 h 2890922"/>
                <a:gd name="connsiteX29" fmla="*/ 2009670 w 11851944"/>
                <a:gd name="connsiteY29" fmla="*/ 2849053 h 2890922"/>
                <a:gd name="connsiteX30" fmla="*/ 723481 w 11851944"/>
                <a:gd name="connsiteY30" fmla="*/ 2879198 h 2890922"/>
                <a:gd name="connsiteX31" fmla="*/ 643095 w 11851944"/>
                <a:gd name="connsiteY31" fmla="*/ 2869149 h 2890922"/>
                <a:gd name="connsiteX32" fmla="*/ 371789 w 11851944"/>
                <a:gd name="connsiteY32" fmla="*/ 2828956 h 2890922"/>
                <a:gd name="connsiteX33" fmla="*/ 0 w 11851944"/>
                <a:gd name="connsiteY33" fmla="*/ 2818908 h 2890922"/>
                <a:gd name="connsiteX0" fmla="*/ 120580 w 11851944"/>
                <a:gd name="connsiteY0" fmla="*/ 55611 h 2890922"/>
                <a:gd name="connsiteX1" fmla="*/ 281354 w 11851944"/>
                <a:gd name="connsiteY1" fmla="*/ 45562 h 2890922"/>
                <a:gd name="connsiteX2" fmla="*/ 673240 w 11851944"/>
                <a:gd name="connsiteY2" fmla="*/ 35514 h 2890922"/>
                <a:gd name="connsiteX3" fmla="*/ 1356528 w 11851944"/>
                <a:gd name="connsiteY3" fmla="*/ 85756 h 2890922"/>
                <a:gd name="connsiteX4" fmla="*/ 1758462 w 11851944"/>
                <a:gd name="connsiteY4" fmla="*/ 45562 h 2890922"/>
                <a:gd name="connsiteX5" fmla="*/ 2140299 w 11851944"/>
                <a:gd name="connsiteY5" fmla="*/ 45562 h 2890922"/>
                <a:gd name="connsiteX6" fmla="*/ 4652387 w 11851944"/>
                <a:gd name="connsiteY6" fmla="*/ 65659 h 2890922"/>
                <a:gd name="connsiteX7" fmla="*/ 4692580 w 11851944"/>
                <a:gd name="connsiteY7" fmla="*/ 75708 h 2890922"/>
                <a:gd name="connsiteX8" fmla="*/ 6420897 w 11851944"/>
                <a:gd name="connsiteY8" fmla="*/ 95804 h 2890922"/>
                <a:gd name="connsiteX9" fmla="*/ 7184571 w 11851944"/>
                <a:gd name="connsiteY9" fmla="*/ 65659 h 2890922"/>
                <a:gd name="connsiteX10" fmla="*/ 7928150 w 11851944"/>
                <a:gd name="connsiteY10" fmla="*/ 65659 h 2890922"/>
                <a:gd name="connsiteX11" fmla="*/ 8219552 w 11851944"/>
                <a:gd name="connsiteY11" fmla="*/ 95804 h 2890922"/>
                <a:gd name="connsiteX12" fmla="*/ 9606224 w 11851944"/>
                <a:gd name="connsiteY12" fmla="*/ 95804 h 2890922"/>
                <a:gd name="connsiteX13" fmla="*/ 9947868 w 11851944"/>
                <a:gd name="connsiteY13" fmla="*/ 65659 h 2890922"/>
                <a:gd name="connsiteX14" fmla="*/ 10791930 w 11851944"/>
                <a:gd name="connsiteY14" fmla="*/ 35514 h 2890922"/>
                <a:gd name="connsiteX15" fmla="*/ 11736475 w 11851944"/>
                <a:gd name="connsiteY15" fmla="*/ 55611 h 2890922"/>
                <a:gd name="connsiteX16" fmla="*/ 11806813 w 11851944"/>
                <a:gd name="connsiteY16" fmla="*/ 769044 h 2890922"/>
                <a:gd name="connsiteX17" fmla="*/ 11816862 w 11851944"/>
                <a:gd name="connsiteY17" fmla="*/ 2336587 h 2890922"/>
                <a:gd name="connsiteX18" fmla="*/ 11806813 w 11851944"/>
                <a:gd name="connsiteY18" fmla="*/ 2828956 h 2890922"/>
                <a:gd name="connsiteX19" fmla="*/ 11033090 w 11851944"/>
                <a:gd name="connsiteY19" fmla="*/ 2859101 h 2890922"/>
                <a:gd name="connsiteX20" fmla="*/ 10128739 w 11851944"/>
                <a:gd name="connsiteY20" fmla="*/ 2859101 h 2890922"/>
                <a:gd name="connsiteX21" fmla="*/ 9555982 w 11851944"/>
                <a:gd name="connsiteY21" fmla="*/ 2859101 h 2890922"/>
                <a:gd name="connsiteX22" fmla="*/ 9204290 w 11851944"/>
                <a:gd name="connsiteY22" fmla="*/ 2808859 h 2890922"/>
                <a:gd name="connsiteX23" fmla="*/ 7486022 w 11851944"/>
                <a:gd name="connsiteY23" fmla="*/ 2818908 h 2890922"/>
                <a:gd name="connsiteX24" fmla="*/ 6863024 w 11851944"/>
                <a:gd name="connsiteY24" fmla="*/ 2839004 h 2890922"/>
                <a:gd name="connsiteX25" fmla="*/ 6722347 w 11851944"/>
                <a:gd name="connsiteY25" fmla="*/ 2828956 h 2890922"/>
                <a:gd name="connsiteX26" fmla="*/ 4903596 w 11851944"/>
                <a:gd name="connsiteY26" fmla="*/ 2879198 h 2890922"/>
                <a:gd name="connsiteX27" fmla="*/ 4059534 w 11851944"/>
                <a:gd name="connsiteY27" fmla="*/ 2859101 h 2890922"/>
                <a:gd name="connsiteX28" fmla="*/ 3064747 w 11851944"/>
                <a:gd name="connsiteY28" fmla="*/ 2839004 h 2890922"/>
                <a:gd name="connsiteX29" fmla="*/ 2009670 w 11851944"/>
                <a:gd name="connsiteY29" fmla="*/ 2849053 h 2890922"/>
                <a:gd name="connsiteX30" fmla="*/ 643095 w 11851944"/>
                <a:gd name="connsiteY30" fmla="*/ 2869149 h 2890922"/>
                <a:gd name="connsiteX31" fmla="*/ 371789 w 11851944"/>
                <a:gd name="connsiteY31" fmla="*/ 2828956 h 2890922"/>
                <a:gd name="connsiteX32" fmla="*/ 0 w 11851944"/>
                <a:gd name="connsiteY32" fmla="*/ 2818908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235948 w 11731364"/>
                <a:gd name="connsiteY3" fmla="*/ 85756 h 2890922"/>
                <a:gd name="connsiteX4" fmla="*/ 1637882 w 11731364"/>
                <a:gd name="connsiteY4" fmla="*/ 45562 h 2890922"/>
                <a:gd name="connsiteX5" fmla="*/ 2019719 w 11731364"/>
                <a:gd name="connsiteY5" fmla="*/ 45562 h 2890922"/>
                <a:gd name="connsiteX6" fmla="*/ 4531807 w 11731364"/>
                <a:gd name="connsiteY6" fmla="*/ 65659 h 2890922"/>
                <a:gd name="connsiteX7" fmla="*/ 4572000 w 11731364"/>
                <a:gd name="connsiteY7" fmla="*/ 75708 h 2890922"/>
                <a:gd name="connsiteX8" fmla="*/ 6300317 w 11731364"/>
                <a:gd name="connsiteY8" fmla="*/ 95804 h 2890922"/>
                <a:gd name="connsiteX9" fmla="*/ 7063991 w 11731364"/>
                <a:gd name="connsiteY9" fmla="*/ 65659 h 2890922"/>
                <a:gd name="connsiteX10" fmla="*/ 7807570 w 11731364"/>
                <a:gd name="connsiteY10" fmla="*/ 65659 h 2890922"/>
                <a:gd name="connsiteX11" fmla="*/ 8098972 w 11731364"/>
                <a:gd name="connsiteY11" fmla="*/ 95804 h 2890922"/>
                <a:gd name="connsiteX12" fmla="*/ 9485644 w 11731364"/>
                <a:gd name="connsiteY12" fmla="*/ 95804 h 2890922"/>
                <a:gd name="connsiteX13" fmla="*/ 9827288 w 11731364"/>
                <a:gd name="connsiteY13" fmla="*/ 65659 h 2890922"/>
                <a:gd name="connsiteX14" fmla="*/ 10671350 w 11731364"/>
                <a:gd name="connsiteY14" fmla="*/ 35514 h 2890922"/>
                <a:gd name="connsiteX15" fmla="*/ 11615895 w 11731364"/>
                <a:gd name="connsiteY15" fmla="*/ 55611 h 2890922"/>
                <a:gd name="connsiteX16" fmla="*/ 11686233 w 11731364"/>
                <a:gd name="connsiteY16" fmla="*/ 769044 h 2890922"/>
                <a:gd name="connsiteX17" fmla="*/ 11696282 w 11731364"/>
                <a:gd name="connsiteY17" fmla="*/ 2336587 h 2890922"/>
                <a:gd name="connsiteX18" fmla="*/ 11686233 w 11731364"/>
                <a:gd name="connsiteY18" fmla="*/ 2828956 h 2890922"/>
                <a:gd name="connsiteX19" fmla="*/ 10912510 w 11731364"/>
                <a:gd name="connsiteY19" fmla="*/ 2859101 h 2890922"/>
                <a:gd name="connsiteX20" fmla="*/ 10008159 w 11731364"/>
                <a:gd name="connsiteY20" fmla="*/ 2859101 h 2890922"/>
                <a:gd name="connsiteX21" fmla="*/ 9435402 w 11731364"/>
                <a:gd name="connsiteY21" fmla="*/ 2859101 h 2890922"/>
                <a:gd name="connsiteX22" fmla="*/ 9083710 w 11731364"/>
                <a:gd name="connsiteY22" fmla="*/ 2808859 h 2890922"/>
                <a:gd name="connsiteX23" fmla="*/ 7365442 w 11731364"/>
                <a:gd name="connsiteY23" fmla="*/ 2818908 h 2890922"/>
                <a:gd name="connsiteX24" fmla="*/ 6742444 w 11731364"/>
                <a:gd name="connsiteY24" fmla="*/ 2839004 h 2890922"/>
                <a:gd name="connsiteX25" fmla="*/ 6601767 w 11731364"/>
                <a:gd name="connsiteY25" fmla="*/ 2828956 h 2890922"/>
                <a:gd name="connsiteX26" fmla="*/ 4783016 w 11731364"/>
                <a:gd name="connsiteY26" fmla="*/ 2879198 h 2890922"/>
                <a:gd name="connsiteX27" fmla="*/ 3938954 w 11731364"/>
                <a:gd name="connsiteY27" fmla="*/ 2859101 h 2890922"/>
                <a:gd name="connsiteX28" fmla="*/ 2944167 w 11731364"/>
                <a:gd name="connsiteY28" fmla="*/ 2839004 h 2890922"/>
                <a:gd name="connsiteX29" fmla="*/ 1889090 w 11731364"/>
                <a:gd name="connsiteY29" fmla="*/ 2849053 h 2890922"/>
                <a:gd name="connsiteX30" fmla="*/ 522515 w 11731364"/>
                <a:gd name="connsiteY30" fmla="*/ 2869149 h 2890922"/>
                <a:gd name="connsiteX31" fmla="*/ 251209 w 11731364"/>
                <a:gd name="connsiteY31" fmla="*/ 2828956 h 2890922"/>
                <a:gd name="connsiteX32" fmla="*/ 10048 w 11731364"/>
                <a:gd name="connsiteY32" fmla="*/ 2839005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235948 w 11731364"/>
                <a:gd name="connsiteY3" fmla="*/ 85756 h 2890922"/>
                <a:gd name="connsiteX4" fmla="*/ 1637882 w 11731364"/>
                <a:gd name="connsiteY4" fmla="*/ 45562 h 2890922"/>
                <a:gd name="connsiteX5" fmla="*/ 2019719 w 11731364"/>
                <a:gd name="connsiteY5" fmla="*/ 45562 h 2890922"/>
                <a:gd name="connsiteX6" fmla="*/ 4531807 w 11731364"/>
                <a:gd name="connsiteY6" fmla="*/ 65659 h 2890922"/>
                <a:gd name="connsiteX7" fmla="*/ 4572000 w 11731364"/>
                <a:gd name="connsiteY7" fmla="*/ 75708 h 2890922"/>
                <a:gd name="connsiteX8" fmla="*/ 6300317 w 11731364"/>
                <a:gd name="connsiteY8" fmla="*/ 95804 h 2890922"/>
                <a:gd name="connsiteX9" fmla="*/ 7063991 w 11731364"/>
                <a:gd name="connsiteY9" fmla="*/ 65659 h 2890922"/>
                <a:gd name="connsiteX10" fmla="*/ 7807570 w 11731364"/>
                <a:gd name="connsiteY10" fmla="*/ 65659 h 2890922"/>
                <a:gd name="connsiteX11" fmla="*/ 8098972 w 11731364"/>
                <a:gd name="connsiteY11" fmla="*/ 95804 h 2890922"/>
                <a:gd name="connsiteX12" fmla="*/ 9485644 w 11731364"/>
                <a:gd name="connsiteY12" fmla="*/ 95804 h 2890922"/>
                <a:gd name="connsiteX13" fmla="*/ 9827288 w 11731364"/>
                <a:gd name="connsiteY13" fmla="*/ 65659 h 2890922"/>
                <a:gd name="connsiteX14" fmla="*/ 10671350 w 11731364"/>
                <a:gd name="connsiteY14" fmla="*/ 35514 h 2890922"/>
                <a:gd name="connsiteX15" fmla="*/ 11615895 w 11731364"/>
                <a:gd name="connsiteY15" fmla="*/ 55611 h 2890922"/>
                <a:gd name="connsiteX16" fmla="*/ 11686233 w 11731364"/>
                <a:gd name="connsiteY16" fmla="*/ 769044 h 2890922"/>
                <a:gd name="connsiteX17" fmla="*/ 11696282 w 11731364"/>
                <a:gd name="connsiteY17" fmla="*/ 2336587 h 2890922"/>
                <a:gd name="connsiteX18" fmla="*/ 11686233 w 11731364"/>
                <a:gd name="connsiteY18" fmla="*/ 2828956 h 2890922"/>
                <a:gd name="connsiteX19" fmla="*/ 10912510 w 11731364"/>
                <a:gd name="connsiteY19" fmla="*/ 2859101 h 2890922"/>
                <a:gd name="connsiteX20" fmla="*/ 10008159 w 11731364"/>
                <a:gd name="connsiteY20" fmla="*/ 2859101 h 2890922"/>
                <a:gd name="connsiteX21" fmla="*/ 9435402 w 11731364"/>
                <a:gd name="connsiteY21" fmla="*/ 2859101 h 2890922"/>
                <a:gd name="connsiteX22" fmla="*/ 7365442 w 11731364"/>
                <a:gd name="connsiteY22" fmla="*/ 2818908 h 2890922"/>
                <a:gd name="connsiteX23" fmla="*/ 6742444 w 11731364"/>
                <a:gd name="connsiteY23" fmla="*/ 2839004 h 2890922"/>
                <a:gd name="connsiteX24" fmla="*/ 6601767 w 11731364"/>
                <a:gd name="connsiteY24" fmla="*/ 2828956 h 2890922"/>
                <a:gd name="connsiteX25" fmla="*/ 4783016 w 11731364"/>
                <a:gd name="connsiteY25" fmla="*/ 2879198 h 2890922"/>
                <a:gd name="connsiteX26" fmla="*/ 3938954 w 11731364"/>
                <a:gd name="connsiteY26" fmla="*/ 2859101 h 2890922"/>
                <a:gd name="connsiteX27" fmla="*/ 2944167 w 11731364"/>
                <a:gd name="connsiteY27" fmla="*/ 2839004 h 2890922"/>
                <a:gd name="connsiteX28" fmla="*/ 1889090 w 11731364"/>
                <a:gd name="connsiteY28" fmla="*/ 2849053 h 2890922"/>
                <a:gd name="connsiteX29" fmla="*/ 522515 w 11731364"/>
                <a:gd name="connsiteY29" fmla="*/ 2869149 h 2890922"/>
                <a:gd name="connsiteX30" fmla="*/ 251209 w 11731364"/>
                <a:gd name="connsiteY30" fmla="*/ 2828956 h 2890922"/>
                <a:gd name="connsiteX31" fmla="*/ 10048 w 11731364"/>
                <a:gd name="connsiteY31" fmla="*/ 2839005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235948 w 11731364"/>
                <a:gd name="connsiteY3" fmla="*/ 85756 h 2890922"/>
                <a:gd name="connsiteX4" fmla="*/ 1637882 w 11731364"/>
                <a:gd name="connsiteY4" fmla="*/ 45562 h 2890922"/>
                <a:gd name="connsiteX5" fmla="*/ 2019719 w 11731364"/>
                <a:gd name="connsiteY5" fmla="*/ 45562 h 2890922"/>
                <a:gd name="connsiteX6" fmla="*/ 4531807 w 11731364"/>
                <a:gd name="connsiteY6" fmla="*/ 65659 h 2890922"/>
                <a:gd name="connsiteX7" fmla="*/ 4572000 w 11731364"/>
                <a:gd name="connsiteY7" fmla="*/ 75708 h 2890922"/>
                <a:gd name="connsiteX8" fmla="*/ 6300317 w 11731364"/>
                <a:gd name="connsiteY8" fmla="*/ 95804 h 2890922"/>
                <a:gd name="connsiteX9" fmla="*/ 7063991 w 11731364"/>
                <a:gd name="connsiteY9" fmla="*/ 65659 h 2890922"/>
                <a:gd name="connsiteX10" fmla="*/ 7807570 w 11731364"/>
                <a:gd name="connsiteY10" fmla="*/ 65659 h 2890922"/>
                <a:gd name="connsiteX11" fmla="*/ 8098972 w 11731364"/>
                <a:gd name="connsiteY11" fmla="*/ 95804 h 2890922"/>
                <a:gd name="connsiteX12" fmla="*/ 9485644 w 11731364"/>
                <a:gd name="connsiteY12" fmla="*/ 95804 h 2890922"/>
                <a:gd name="connsiteX13" fmla="*/ 9827288 w 11731364"/>
                <a:gd name="connsiteY13" fmla="*/ 65659 h 2890922"/>
                <a:gd name="connsiteX14" fmla="*/ 10671350 w 11731364"/>
                <a:gd name="connsiteY14" fmla="*/ 35514 h 2890922"/>
                <a:gd name="connsiteX15" fmla="*/ 11615895 w 11731364"/>
                <a:gd name="connsiteY15" fmla="*/ 55611 h 2890922"/>
                <a:gd name="connsiteX16" fmla="*/ 11686233 w 11731364"/>
                <a:gd name="connsiteY16" fmla="*/ 769044 h 2890922"/>
                <a:gd name="connsiteX17" fmla="*/ 11696282 w 11731364"/>
                <a:gd name="connsiteY17" fmla="*/ 2336587 h 2890922"/>
                <a:gd name="connsiteX18" fmla="*/ 11686233 w 11731364"/>
                <a:gd name="connsiteY18" fmla="*/ 2828956 h 2890922"/>
                <a:gd name="connsiteX19" fmla="*/ 10912510 w 11731364"/>
                <a:gd name="connsiteY19" fmla="*/ 2859101 h 2890922"/>
                <a:gd name="connsiteX20" fmla="*/ 10008159 w 11731364"/>
                <a:gd name="connsiteY20" fmla="*/ 2859101 h 2890922"/>
                <a:gd name="connsiteX21" fmla="*/ 9435402 w 11731364"/>
                <a:gd name="connsiteY21" fmla="*/ 2859101 h 2890922"/>
                <a:gd name="connsiteX22" fmla="*/ 7365442 w 11731364"/>
                <a:gd name="connsiteY22" fmla="*/ 2818908 h 2890922"/>
                <a:gd name="connsiteX23" fmla="*/ 6742444 w 11731364"/>
                <a:gd name="connsiteY23" fmla="*/ 2839004 h 2890922"/>
                <a:gd name="connsiteX24" fmla="*/ 6601767 w 11731364"/>
                <a:gd name="connsiteY24" fmla="*/ 2828956 h 2890922"/>
                <a:gd name="connsiteX25" fmla="*/ 4783016 w 11731364"/>
                <a:gd name="connsiteY25" fmla="*/ 2879198 h 2890922"/>
                <a:gd name="connsiteX26" fmla="*/ 3938954 w 11731364"/>
                <a:gd name="connsiteY26" fmla="*/ 2859101 h 2890922"/>
                <a:gd name="connsiteX27" fmla="*/ 2944167 w 11731364"/>
                <a:gd name="connsiteY27" fmla="*/ 2839004 h 2890922"/>
                <a:gd name="connsiteX28" fmla="*/ 1889090 w 11731364"/>
                <a:gd name="connsiteY28" fmla="*/ 2849053 h 2890922"/>
                <a:gd name="connsiteX29" fmla="*/ 522515 w 11731364"/>
                <a:gd name="connsiteY29" fmla="*/ 2869149 h 2890922"/>
                <a:gd name="connsiteX30" fmla="*/ 10048 w 11731364"/>
                <a:gd name="connsiteY30" fmla="*/ 2839005 h 2890922"/>
                <a:gd name="connsiteX0" fmla="*/ 0 w 11731364"/>
                <a:gd name="connsiteY0" fmla="*/ 55611 h 2890922"/>
                <a:gd name="connsiteX1" fmla="*/ 160774 w 11731364"/>
                <a:gd name="connsiteY1" fmla="*/ 45562 h 2890922"/>
                <a:gd name="connsiteX2" fmla="*/ 552660 w 11731364"/>
                <a:gd name="connsiteY2" fmla="*/ 35514 h 2890922"/>
                <a:gd name="connsiteX3" fmla="*/ 1637882 w 11731364"/>
                <a:gd name="connsiteY3" fmla="*/ 45562 h 2890922"/>
                <a:gd name="connsiteX4" fmla="*/ 2019719 w 11731364"/>
                <a:gd name="connsiteY4" fmla="*/ 45562 h 2890922"/>
                <a:gd name="connsiteX5" fmla="*/ 4531807 w 11731364"/>
                <a:gd name="connsiteY5" fmla="*/ 65659 h 2890922"/>
                <a:gd name="connsiteX6" fmla="*/ 4572000 w 11731364"/>
                <a:gd name="connsiteY6" fmla="*/ 75708 h 2890922"/>
                <a:gd name="connsiteX7" fmla="*/ 6300317 w 11731364"/>
                <a:gd name="connsiteY7" fmla="*/ 95804 h 2890922"/>
                <a:gd name="connsiteX8" fmla="*/ 7063991 w 11731364"/>
                <a:gd name="connsiteY8" fmla="*/ 65659 h 2890922"/>
                <a:gd name="connsiteX9" fmla="*/ 7807570 w 11731364"/>
                <a:gd name="connsiteY9" fmla="*/ 65659 h 2890922"/>
                <a:gd name="connsiteX10" fmla="*/ 8098972 w 11731364"/>
                <a:gd name="connsiteY10" fmla="*/ 95804 h 2890922"/>
                <a:gd name="connsiteX11" fmla="*/ 9485644 w 11731364"/>
                <a:gd name="connsiteY11" fmla="*/ 95804 h 2890922"/>
                <a:gd name="connsiteX12" fmla="*/ 9827288 w 11731364"/>
                <a:gd name="connsiteY12" fmla="*/ 65659 h 2890922"/>
                <a:gd name="connsiteX13" fmla="*/ 10671350 w 11731364"/>
                <a:gd name="connsiteY13" fmla="*/ 35514 h 2890922"/>
                <a:gd name="connsiteX14" fmla="*/ 11615895 w 11731364"/>
                <a:gd name="connsiteY14" fmla="*/ 55611 h 2890922"/>
                <a:gd name="connsiteX15" fmla="*/ 11686233 w 11731364"/>
                <a:gd name="connsiteY15" fmla="*/ 769044 h 2890922"/>
                <a:gd name="connsiteX16" fmla="*/ 11696282 w 11731364"/>
                <a:gd name="connsiteY16" fmla="*/ 2336587 h 2890922"/>
                <a:gd name="connsiteX17" fmla="*/ 11686233 w 11731364"/>
                <a:gd name="connsiteY17" fmla="*/ 2828956 h 2890922"/>
                <a:gd name="connsiteX18" fmla="*/ 10912510 w 11731364"/>
                <a:gd name="connsiteY18" fmla="*/ 2859101 h 2890922"/>
                <a:gd name="connsiteX19" fmla="*/ 10008159 w 11731364"/>
                <a:gd name="connsiteY19" fmla="*/ 2859101 h 2890922"/>
                <a:gd name="connsiteX20" fmla="*/ 9435402 w 11731364"/>
                <a:gd name="connsiteY20" fmla="*/ 2859101 h 2890922"/>
                <a:gd name="connsiteX21" fmla="*/ 7365442 w 11731364"/>
                <a:gd name="connsiteY21" fmla="*/ 2818908 h 2890922"/>
                <a:gd name="connsiteX22" fmla="*/ 6742444 w 11731364"/>
                <a:gd name="connsiteY22" fmla="*/ 2839004 h 2890922"/>
                <a:gd name="connsiteX23" fmla="*/ 6601767 w 11731364"/>
                <a:gd name="connsiteY23" fmla="*/ 2828956 h 2890922"/>
                <a:gd name="connsiteX24" fmla="*/ 4783016 w 11731364"/>
                <a:gd name="connsiteY24" fmla="*/ 2879198 h 2890922"/>
                <a:gd name="connsiteX25" fmla="*/ 3938954 w 11731364"/>
                <a:gd name="connsiteY25" fmla="*/ 2859101 h 2890922"/>
                <a:gd name="connsiteX26" fmla="*/ 2944167 w 11731364"/>
                <a:gd name="connsiteY26" fmla="*/ 2839004 h 2890922"/>
                <a:gd name="connsiteX27" fmla="*/ 1889090 w 11731364"/>
                <a:gd name="connsiteY27" fmla="*/ 2849053 h 2890922"/>
                <a:gd name="connsiteX28" fmla="*/ 522515 w 11731364"/>
                <a:gd name="connsiteY28" fmla="*/ 2869149 h 2890922"/>
                <a:gd name="connsiteX29" fmla="*/ 10048 w 11731364"/>
                <a:gd name="connsiteY29" fmla="*/ 2839005 h 2890922"/>
                <a:gd name="connsiteX0" fmla="*/ 0 w 11731364"/>
                <a:gd name="connsiteY0" fmla="*/ 55611 h 2890922"/>
                <a:gd name="connsiteX1" fmla="*/ 552660 w 11731364"/>
                <a:gd name="connsiteY1" fmla="*/ 35514 h 2890922"/>
                <a:gd name="connsiteX2" fmla="*/ 1637882 w 11731364"/>
                <a:gd name="connsiteY2" fmla="*/ 45562 h 2890922"/>
                <a:gd name="connsiteX3" fmla="*/ 2019719 w 11731364"/>
                <a:gd name="connsiteY3" fmla="*/ 45562 h 2890922"/>
                <a:gd name="connsiteX4" fmla="*/ 4531807 w 11731364"/>
                <a:gd name="connsiteY4" fmla="*/ 65659 h 2890922"/>
                <a:gd name="connsiteX5" fmla="*/ 4572000 w 11731364"/>
                <a:gd name="connsiteY5" fmla="*/ 75708 h 2890922"/>
                <a:gd name="connsiteX6" fmla="*/ 6300317 w 11731364"/>
                <a:gd name="connsiteY6" fmla="*/ 95804 h 2890922"/>
                <a:gd name="connsiteX7" fmla="*/ 7063991 w 11731364"/>
                <a:gd name="connsiteY7" fmla="*/ 65659 h 2890922"/>
                <a:gd name="connsiteX8" fmla="*/ 7807570 w 11731364"/>
                <a:gd name="connsiteY8" fmla="*/ 65659 h 2890922"/>
                <a:gd name="connsiteX9" fmla="*/ 8098972 w 11731364"/>
                <a:gd name="connsiteY9" fmla="*/ 95804 h 2890922"/>
                <a:gd name="connsiteX10" fmla="*/ 9485644 w 11731364"/>
                <a:gd name="connsiteY10" fmla="*/ 95804 h 2890922"/>
                <a:gd name="connsiteX11" fmla="*/ 9827288 w 11731364"/>
                <a:gd name="connsiteY11" fmla="*/ 65659 h 2890922"/>
                <a:gd name="connsiteX12" fmla="*/ 10671350 w 11731364"/>
                <a:gd name="connsiteY12" fmla="*/ 35514 h 2890922"/>
                <a:gd name="connsiteX13" fmla="*/ 11615895 w 11731364"/>
                <a:gd name="connsiteY13" fmla="*/ 55611 h 2890922"/>
                <a:gd name="connsiteX14" fmla="*/ 11686233 w 11731364"/>
                <a:gd name="connsiteY14" fmla="*/ 769044 h 2890922"/>
                <a:gd name="connsiteX15" fmla="*/ 11696282 w 11731364"/>
                <a:gd name="connsiteY15" fmla="*/ 2336587 h 2890922"/>
                <a:gd name="connsiteX16" fmla="*/ 11686233 w 11731364"/>
                <a:gd name="connsiteY16" fmla="*/ 2828956 h 2890922"/>
                <a:gd name="connsiteX17" fmla="*/ 10912510 w 11731364"/>
                <a:gd name="connsiteY17" fmla="*/ 2859101 h 2890922"/>
                <a:gd name="connsiteX18" fmla="*/ 10008159 w 11731364"/>
                <a:gd name="connsiteY18" fmla="*/ 2859101 h 2890922"/>
                <a:gd name="connsiteX19" fmla="*/ 9435402 w 11731364"/>
                <a:gd name="connsiteY19" fmla="*/ 2859101 h 2890922"/>
                <a:gd name="connsiteX20" fmla="*/ 7365442 w 11731364"/>
                <a:gd name="connsiteY20" fmla="*/ 2818908 h 2890922"/>
                <a:gd name="connsiteX21" fmla="*/ 6742444 w 11731364"/>
                <a:gd name="connsiteY21" fmla="*/ 2839004 h 2890922"/>
                <a:gd name="connsiteX22" fmla="*/ 6601767 w 11731364"/>
                <a:gd name="connsiteY22" fmla="*/ 2828956 h 2890922"/>
                <a:gd name="connsiteX23" fmla="*/ 4783016 w 11731364"/>
                <a:gd name="connsiteY23" fmla="*/ 2879198 h 2890922"/>
                <a:gd name="connsiteX24" fmla="*/ 3938954 w 11731364"/>
                <a:gd name="connsiteY24" fmla="*/ 2859101 h 2890922"/>
                <a:gd name="connsiteX25" fmla="*/ 2944167 w 11731364"/>
                <a:gd name="connsiteY25" fmla="*/ 2839004 h 2890922"/>
                <a:gd name="connsiteX26" fmla="*/ 1889090 w 11731364"/>
                <a:gd name="connsiteY26" fmla="*/ 2849053 h 2890922"/>
                <a:gd name="connsiteX27" fmla="*/ 522515 w 11731364"/>
                <a:gd name="connsiteY27" fmla="*/ 2869149 h 2890922"/>
                <a:gd name="connsiteX28" fmla="*/ 10048 w 11731364"/>
                <a:gd name="connsiteY28" fmla="*/ 2839005 h 2890922"/>
                <a:gd name="connsiteX0" fmla="*/ 0 w 11731364"/>
                <a:gd name="connsiteY0" fmla="*/ 55611 h 2890922"/>
                <a:gd name="connsiteX1" fmla="*/ 552660 w 11731364"/>
                <a:gd name="connsiteY1" fmla="*/ 35514 h 2890922"/>
                <a:gd name="connsiteX2" fmla="*/ 1637882 w 11731364"/>
                <a:gd name="connsiteY2" fmla="*/ 45562 h 2890922"/>
                <a:gd name="connsiteX3" fmla="*/ 2019719 w 11731364"/>
                <a:gd name="connsiteY3" fmla="*/ 45562 h 2890922"/>
                <a:gd name="connsiteX4" fmla="*/ 4531807 w 11731364"/>
                <a:gd name="connsiteY4" fmla="*/ 65659 h 2890922"/>
                <a:gd name="connsiteX5" fmla="*/ 6300317 w 11731364"/>
                <a:gd name="connsiteY5" fmla="*/ 95804 h 2890922"/>
                <a:gd name="connsiteX6" fmla="*/ 7063991 w 11731364"/>
                <a:gd name="connsiteY6" fmla="*/ 65659 h 2890922"/>
                <a:gd name="connsiteX7" fmla="*/ 7807570 w 11731364"/>
                <a:gd name="connsiteY7" fmla="*/ 65659 h 2890922"/>
                <a:gd name="connsiteX8" fmla="*/ 8098972 w 11731364"/>
                <a:gd name="connsiteY8" fmla="*/ 95804 h 2890922"/>
                <a:gd name="connsiteX9" fmla="*/ 9485644 w 11731364"/>
                <a:gd name="connsiteY9" fmla="*/ 95804 h 2890922"/>
                <a:gd name="connsiteX10" fmla="*/ 9827288 w 11731364"/>
                <a:gd name="connsiteY10" fmla="*/ 65659 h 2890922"/>
                <a:gd name="connsiteX11" fmla="*/ 10671350 w 11731364"/>
                <a:gd name="connsiteY11" fmla="*/ 35514 h 2890922"/>
                <a:gd name="connsiteX12" fmla="*/ 11615895 w 11731364"/>
                <a:gd name="connsiteY12" fmla="*/ 55611 h 2890922"/>
                <a:gd name="connsiteX13" fmla="*/ 11686233 w 11731364"/>
                <a:gd name="connsiteY13" fmla="*/ 769044 h 2890922"/>
                <a:gd name="connsiteX14" fmla="*/ 11696282 w 11731364"/>
                <a:gd name="connsiteY14" fmla="*/ 2336587 h 2890922"/>
                <a:gd name="connsiteX15" fmla="*/ 11686233 w 11731364"/>
                <a:gd name="connsiteY15" fmla="*/ 2828956 h 2890922"/>
                <a:gd name="connsiteX16" fmla="*/ 10912510 w 11731364"/>
                <a:gd name="connsiteY16" fmla="*/ 2859101 h 2890922"/>
                <a:gd name="connsiteX17" fmla="*/ 10008159 w 11731364"/>
                <a:gd name="connsiteY17" fmla="*/ 2859101 h 2890922"/>
                <a:gd name="connsiteX18" fmla="*/ 9435402 w 11731364"/>
                <a:gd name="connsiteY18" fmla="*/ 2859101 h 2890922"/>
                <a:gd name="connsiteX19" fmla="*/ 7365442 w 11731364"/>
                <a:gd name="connsiteY19" fmla="*/ 2818908 h 2890922"/>
                <a:gd name="connsiteX20" fmla="*/ 6742444 w 11731364"/>
                <a:gd name="connsiteY20" fmla="*/ 2839004 h 2890922"/>
                <a:gd name="connsiteX21" fmla="*/ 6601767 w 11731364"/>
                <a:gd name="connsiteY21" fmla="*/ 2828956 h 2890922"/>
                <a:gd name="connsiteX22" fmla="*/ 4783016 w 11731364"/>
                <a:gd name="connsiteY22" fmla="*/ 2879198 h 2890922"/>
                <a:gd name="connsiteX23" fmla="*/ 3938954 w 11731364"/>
                <a:gd name="connsiteY23" fmla="*/ 2859101 h 2890922"/>
                <a:gd name="connsiteX24" fmla="*/ 2944167 w 11731364"/>
                <a:gd name="connsiteY24" fmla="*/ 2839004 h 2890922"/>
                <a:gd name="connsiteX25" fmla="*/ 1889090 w 11731364"/>
                <a:gd name="connsiteY25" fmla="*/ 2849053 h 2890922"/>
                <a:gd name="connsiteX26" fmla="*/ 522515 w 11731364"/>
                <a:gd name="connsiteY26" fmla="*/ 2869149 h 2890922"/>
                <a:gd name="connsiteX27" fmla="*/ 10048 w 11731364"/>
                <a:gd name="connsiteY27" fmla="*/ 2839005 h 2890922"/>
                <a:gd name="connsiteX0" fmla="*/ 0 w 11731364"/>
                <a:gd name="connsiteY0" fmla="*/ 55611 h 2890922"/>
                <a:gd name="connsiteX1" fmla="*/ 552660 w 11731364"/>
                <a:gd name="connsiteY1" fmla="*/ 35514 h 2890922"/>
                <a:gd name="connsiteX2" fmla="*/ 1637882 w 11731364"/>
                <a:gd name="connsiteY2" fmla="*/ 45562 h 2890922"/>
                <a:gd name="connsiteX3" fmla="*/ 2019719 w 11731364"/>
                <a:gd name="connsiteY3" fmla="*/ 45562 h 2890922"/>
                <a:gd name="connsiteX4" fmla="*/ 4531807 w 11731364"/>
                <a:gd name="connsiteY4" fmla="*/ 65659 h 2890922"/>
                <a:gd name="connsiteX5" fmla="*/ 6300317 w 11731364"/>
                <a:gd name="connsiteY5" fmla="*/ 95804 h 2890922"/>
                <a:gd name="connsiteX6" fmla="*/ 7063991 w 11731364"/>
                <a:gd name="connsiteY6" fmla="*/ 65659 h 2890922"/>
                <a:gd name="connsiteX7" fmla="*/ 8098972 w 11731364"/>
                <a:gd name="connsiteY7" fmla="*/ 95804 h 2890922"/>
                <a:gd name="connsiteX8" fmla="*/ 9485644 w 11731364"/>
                <a:gd name="connsiteY8" fmla="*/ 95804 h 2890922"/>
                <a:gd name="connsiteX9" fmla="*/ 9827288 w 11731364"/>
                <a:gd name="connsiteY9" fmla="*/ 65659 h 2890922"/>
                <a:gd name="connsiteX10" fmla="*/ 10671350 w 11731364"/>
                <a:gd name="connsiteY10" fmla="*/ 35514 h 2890922"/>
                <a:gd name="connsiteX11" fmla="*/ 11615895 w 11731364"/>
                <a:gd name="connsiteY11" fmla="*/ 55611 h 2890922"/>
                <a:gd name="connsiteX12" fmla="*/ 11686233 w 11731364"/>
                <a:gd name="connsiteY12" fmla="*/ 769044 h 2890922"/>
                <a:gd name="connsiteX13" fmla="*/ 11696282 w 11731364"/>
                <a:gd name="connsiteY13" fmla="*/ 2336587 h 2890922"/>
                <a:gd name="connsiteX14" fmla="*/ 11686233 w 11731364"/>
                <a:gd name="connsiteY14" fmla="*/ 2828956 h 2890922"/>
                <a:gd name="connsiteX15" fmla="*/ 10912510 w 11731364"/>
                <a:gd name="connsiteY15" fmla="*/ 2859101 h 2890922"/>
                <a:gd name="connsiteX16" fmla="*/ 10008159 w 11731364"/>
                <a:gd name="connsiteY16" fmla="*/ 2859101 h 2890922"/>
                <a:gd name="connsiteX17" fmla="*/ 9435402 w 11731364"/>
                <a:gd name="connsiteY17" fmla="*/ 2859101 h 2890922"/>
                <a:gd name="connsiteX18" fmla="*/ 7365442 w 11731364"/>
                <a:gd name="connsiteY18" fmla="*/ 2818908 h 2890922"/>
                <a:gd name="connsiteX19" fmla="*/ 6742444 w 11731364"/>
                <a:gd name="connsiteY19" fmla="*/ 2839004 h 2890922"/>
                <a:gd name="connsiteX20" fmla="*/ 6601767 w 11731364"/>
                <a:gd name="connsiteY20" fmla="*/ 2828956 h 2890922"/>
                <a:gd name="connsiteX21" fmla="*/ 4783016 w 11731364"/>
                <a:gd name="connsiteY21" fmla="*/ 2879198 h 2890922"/>
                <a:gd name="connsiteX22" fmla="*/ 3938954 w 11731364"/>
                <a:gd name="connsiteY22" fmla="*/ 2859101 h 2890922"/>
                <a:gd name="connsiteX23" fmla="*/ 2944167 w 11731364"/>
                <a:gd name="connsiteY23" fmla="*/ 2839004 h 2890922"/>
                <a:gd name="connsiteX24" fmla="*/ 1889090 w 11731364"/>
                <a:gd name="connsiteY24" fmla="*/ 2849053 h 2890922"/>
                <a:gd name="connsiteX25" fmla="*/ 522515 w 11731364"/>
                <a:gd name="connsiteY25" fmla="*/ 2869149 h 2890922"/>
                <a:gd name="connsiteX26" fmla="*/ 10048 w 11731364"/>
                <a:gd name="connsiteY26" fmla="*/ 2839005 h 2890922"/>
                <a:gd name="connsiteX0" fmla="*/ 0 w 11731364"/>
                <a:gd name="connsiteY0" fmla="*/ 36371 h 2871682"/>
                <a:gd name="connsiteX1" fmla="*/ 552660 w 11731364"/>
                <a:gd name="connsiteY1" fmla="*/ 16274 h 2871682"/>
                <a:gd name="connsiteX2" fmla="*/ 1637882 w 11731364"/>
                <a:gd name="connsiteY2" fmla="*/ 26322 h 2871682"/>
                <a:gd name="connsiteX3" fmla="*/ 2019719 w 11731364"/>
                <a:gd name="connsiteY3" fmla="*/ 26322 h 2871682"/>
                <a:gd name="connsiteX4" fmla="*/ 4531807 w 11731364"/>
                <a:gd name="connsiteY4" fmla="*/ 46419 h 2871682"/>
                <a:gd name="connsiteX5" fmla="*/ 6300317 w 11731364"/>
                <a:gd name="connsiteY5" fmla="*/ 76564 h 2871682"/>
                <a:gd name="connsiteX6" fmla="*/ 7063991 w 11731364"/>
                <a:gd name="connsiteY6" fmla="*/ 46419 h 2871682"/>
                <a:gd name="connsiteX7" fmla="*/ 8098972 w 11731364"/>
                <a:gd name="connsiteY7" fmla="*/ 76564 h 2871682"/>
                <a:gd name="connsiteX8" fmla="*/ 9485644 w 11731364"/>
                <a:gd name="connsiteY8" fmla="*/ 76564 h 2871682"/>
                <a:gd name="connsiteX9" fmla="*/ 9827288 w 11731364"/>
                <a:gd name="connsiteY9" fmla="*/ 46419 h 2871682"/>
                <a:gd name="connsiteX10" fmla="*/ 10671350 w 11731364"/>
                <a:gd name="connsiteY10" fmla="*/ 16274 h 2871682"/>
                <a:gd name="connsiteX11" fmla="*/ 11615895 w 11731364"/>
                <a:gd name="connsiteY11" fmla="*/ 66517 h 2871682"/>
                <a:gd name="connsiteX12" fmla="*/ 11686233 w 11731364"/>
                <a:gd name="connsiteY12" fmla="*/ 749804 h 2871682"/>
                <a:gd name="connsiteX13" fmla="*/ 11696282 w 11731364"/>
                <a:gd name="connsiteY13" fmla="*/ 2317347 h 2871682"/>
                <a:gd name="connsiteX14" fmla="*/ 11686233 w 11731364"/>
                <a:gd name="connsiteY14" fmla="*/ 2809716 h 2871682"/>
                <a:gd name="connsiteX15" fmla="*/ 10912510 w 11731364"/>
                <a:gd name="connsiteY15" fmla="*/ 2839861 h 2871682"/>
                <a:gd name="connsiteX16" fmla="*/ 10008159 w 11731364"/>
                <a:gd name="connsiteY16" fmla="*/ 2839861 h 2871682"/>
                <a:gd name="connsiteX17" fmla="*/ 9435402 w 11731364"/>
                <a:gd name="connsiteY17" fmla="*/ 2839861 h 2871682"/>
                <a:gd name="connsiteX18" fmla="*/ 7365442 w 11731364"/>
                <a:gd name="connsiteY18" fmla="*/ 2799668 h 2871682"/>
                <a:gd name="connsiteX19" fmla="*/ 6742444 w 11731364"/>
                <a:gd name="connsiteY19" fmla="*/ 2819764 h 2871682"/>
                <a:gd name="connsiteX20" fmla="*/ 6601767 w 11731364"/>
                <a:gd name="connsiteY20" fmla="*/ 2809716 h 2871682"/>
                <a:gd name="connsiteX21" fmla="*/ 4783016 w 11731364"/>
                <a:gd name="connsiteY21" fmla="*/ 2859958 h 2871682"/>
                <a:gd name="connsiteX22" fmla="*/ 3938954 w 11731364"/>
                <a:gd name="connsiteY22" fmla="*/ 2839861 h 2871682"/>
                <a:gd name="connsiteX23" fmla="*/ 2944167 w 11731364"/>
                <a:gd name="connsiteY23" fmla="*/ 2819764 h 2871682"/>
                <a:gd name="connsiteX24" fmla="*/ 1889090 w 11731364"/>
                <a:gd name="connsiteY24" fmla="*/ 2829813 h 2871682"/>
                <a:gd name="connsiteX25" fmla="*/ 522515 w 11731364"/>
                <a:gd name="connsiteY25" fmla="*/ 2849909 h 2871682"/>
                <a:gd name="connsiteX26" fmla="*/ 10048 w 11731364"/>
                <a:gd name="connsiteY26" fmla="*/ 2819765 h 2871682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522515 w 11731364"/>
                <a:gd name="connsiteY25" fmla="*/ 2853113 h 2874886"/>
                <a:gd name="connsiteX26" fmla="*/ 10048 w 11731364"/>
                <a:gd name="connsiteY26" fmla="*/ 2822969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522515 w 11731364"/>
                <a:gd name="connsiteY25" fmla="*/ 2853113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1311934 w 11731364"/>
                <a:gd name="connsiteY25" fmla="*/ 2812919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72846 w 11731364"/>
                <a:gd name="connsiteY25" fmla="*/ 2772725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22882 w 11731364"/>
                <a:gd name="connsiteY25" fmla="*/ 2843063 h 2874886"/>
                <a:gd name="connsiteX0" fmla="*/ 0 w 11731364"/>
                <a:gd name="connsiteY0" fmla="*/ 39575 h 2874886"/>
                <a:gd name="connsiteX1" fmla="*/ 552660 w 11731364"/>
                <a:gd name="connsiteY1" fmla="*/ 19478 h 2874886"/>
                <a:gd name="connsiteX2" fmla="*/ 1637882 w 11731364"/>
                <a:gd name="connsiteY2" fmla="*/ 29526 h 2874886"/>
                <a:gd name="connsiteX3" fmla="*/ 2019719 w 11731364"/>
                <a:gd name="connsiteY3" fmla="*/ 29526 h 2874886"/>
                <a:gd name="connsiteX4" fmla="*/ 4531807 w 11731364"/>
                <a:gd name="connsiteY4" fmla="*/ 49623 h 2874886"/>
                <a:gd name="connsiteX5" fmla="*/ 6300317 w 11731364"/>
                <a:gd name="connsiteY5" fmla="*/ 79768 h 2874886"/>
                <a:gd name="connsiteX6" fmla="*/ 7063991 w 11731364"/>
                <a:gd name="connsiteY6" fmla="*/ 49623 h 2874886"/>
                <a:gd name="connsiteX7" fmla="*/ 8098972 w 11731364"/>
                <a:gd name="connsiteY7" fmla="*/ 79768 h 2874886"/>
                <a:gd name="connsiteX8" fmla="*/ 9485644 w 11731364"/>
                <a:gd name="connsiteY8" fmla="*/ 79768 h 2874886"/>
                <a:gd name="connsiteX9" fmla="*/ 9827288 w 11731364"/>
                <a:gd name="connsiteY9" fmla="*/ 49623 h 2874886"/>
                <a:gd name="connsiteX10" fmla="*/ 10671350 w 11731364"/>
                <a:gd name="connsiteY10" fmla="*/ 19478 h 2874886"/>
                <a:gd name="connsiteX11" fmla="*/ 11615895 w 11731364"/>
                <a:gd name="connsiteY11" fmla="*/ 69721 h 2874886"/>
                <a:gd name="connsiteX12" fmla="*/ 11686233 w 11731364"/>
                <a:gd name="connsiteY12" fmla="*/ 753008 h 2874886"/>
                <a:gd name="connsiteX13" fmla="*/ 11696282 w 11731364"/>
                <a:gd name="connsiteY13" fmla="*/ 2320551 h 2874886"/>
                <a:gd name="connsiteX14" fmla="*/ 11686233 w 11731364"/>
                <a:gd name="connsiteY14" fmla="*/ 2812920 h 2874886"/>
                <a:gd name="connsiteX15" fmla="*/ 10912510 w 11731364"/>
                <a:gd name="connsiteY15" fmla="*/ 2843065 h 2874886"/>
                <a:gd name="connsiteX16" fmla="*/ 10008159 w 11731364"/>
                <a:gd name="connsiteY16" fmla="*/ 2843065 h 2874886"/>
                <a:gd name="connsiteX17" fmla="*/ 9435402 w 11731364"/>
                <a:gd name="connsiteY17" fmla="*/ 2843065 h 2874886"/>
                <a:gd name="connsiteX18" fmla="*/ 7365442 w 11731364"/>
                <a:gd name="connsiteY18" fmla="*/ 2802872 h 2874886"/>
                <a:gd name="connsiteX19" fmla="*/ 6742444 w 11731364"/>
                <a:gd name="connsiteY19" fmla="*/ 2822968 h 2874886"/>
                <a:gd name="connsiteX20" fmla="*/ 6601767 w 11731364"/>
                <a:gd name="connsiteY20" fmla="*/ 2812920 h 2874886"/>
                <a:gd name="connsiteX21" fmla="*/ 4783016 w 11731364"/>
                <a:gd name="connsiteY21" fmla="*/ 2863162 h 2874886"/>
                <a:gd name="connsiteX22" fmla="*/ 3938954 w 11731364"/>
                <a:gd name="connsiteY22" fmla="*/ 2843065 h 2874886"/>
                <a:gd name="connsiteX23" fmla="*/ 2944167 w 11731364"/>
                <a:gd name="connsiteY23" fmla="*/ 2822968 h 2874886"/>
                <a:gd name="connsiteX24" fmla="*/ 1889090 w 11731364"/>
                <a:gd name="connsiteY24" fmla="*/ 2833017 h 2874886"/>
                <a:gd name="connsiteX25" fmla="*/ 12890 w 11731364"/>
                <a:gd name="connsiteY25" fmla="*/ 2812918 h 2874886"/>
                <a:gd name="connsiteX0" fmla="*/ 0 w 11795893"/>
                <a:gd name="connsiteY0" fmla="*/ 28410 h 2863721"/>
                <a:gd name="connsiteX1" fmla="*/ 552660 w 11795893"/>
                <a:gd name="connsiteY1" fmla="*/ 8313 h 2863721"/>
                <a:gd name="connsiteX2" fmla="*/ 1637882 w 11795893"/>
                <a:gd name="connsiteY2" fmla="*/ 18361 h 2863721"/>
                <a:gd name="connsiteX3" fmla="*/ 2019719 w 11795893"/>
                <a:gd name="connsiteY3" fmla="*/ 18361 h 2863721"/>
                <a:gd name="connsiteX4" fmla="*/ 4531807 w 11795893"/>
                <a:gd name="connsiteY4" fmla="*/ 38458 h 2863721"/>
                <a:gd name="connsiteX5" fmla="*/ 6300317 w 11795893"/>
                <a:gd name="connsiteY5" fmla="*/ 68603 h 2863721"/>
                <a:gd name="connsiteX6" fmla="*/ 7063991 w 11795893"/>
                <a:gd name="connsiteY6" fmla="*/ 38458 h 2863721"/>
                <a:gd name="connsiteX7" fmla="*/ 8098972 w 11795893"/>
                <a:gd name="connsiteY7" fmla="*/ 68603 h 2863721"/>
                <a:gd name="connsiteX8" fmla="*/ 9485644 w 11795893"/>
                <a:gd name="connsiteY8" fmla="*/ 68603 h 2863721"/>
                <a:gd name="connsiteX9" fmla="*/ 9827288 w 11795893"/>
                <a:gd name="connsiteY9" fmla="*/ 38458 h 2863721"/>
                <a:gd name="connsiteX10" fmla="*/ 10671350 w 11795893"/>
                <a:gd name="connsiteY10" fmla="*/ 8313 h 2863721"/>
                <a:gd name="connsiteX11" fmla="*/ 11615895 w 11795893"/>
                <a:gd name="connsiteY11" fmla="*/ 58556 h 2863721"/>
                <a:gd name="connsiteX12" fmla="*/ 11686233 w 11795893"/>
                <a:gd name="connsiteY12" fmla="*/ 741843 h 2863721"/>
                <a:gd name="connsiteX13" fmla="*/ 11696282 w 11795893"/>
                <a:gd name="connsiteY13" fmla="*/ 2309386 h 2863721"/>
                <a:gd name="connsiteX14" fmla="*/ 11686233 w 11795893"/>
                <a:gd name="connsiteY14" fmla="*/ 2801755 h 2863721"/>
                <a:gd name="connsiteX15" fmla="*/ 10912510 w 11795893"/>
                <a:gd name="connsiteY15" fmla="*/ 2831900 h 2863721"/>
                <a:gd name="connsiteX16" fmla="*/ 10008159 w 11795893"/>
                <a:gd name="connsiteY16" fmla="*/ 2831900 h 2863721"/>
                <a:gd name="connsiteX17" fmla="*/ 9435402 w 11795893"/>
                <a:gd name="connsiteY17" fmla="*/ 2831900 h 2863721"/>
                <a:gd name="connsiteX18" fmla="*/ 7365442 w 11795893"/>
                <a:gd name="connsiteY18" fmla="*/ 2791707 h 2863721"/>
                <a:gd name="connsiteX19" fmla="*/ 6742444 w 11795893"/>
                <a:gd name="connsiteY19" fmla="*/ 2811803 h 2863721"/>
                <a:gd name="connsiteX20" fmla="*/ 6601767 w 11795893"/>
                <a:gd name="connsiteY20" fmla="*/ 2801755 h 2863721"/>
                <a:gd name="connsiteX21" fmla="*/ 4783016 w 11795893"/>
                <a:gd name="connsiteY21" fmla="*/ 2851997 h 2863721"/>
                <a:gd name="connsiteX22" fmla="*/ 3938954 w 11795893"/>
                <a:gd name="connsiteY22" fmla="*/ 2831900 h 2863721"/>
                <a:gd name="connsiteX23" fmla="*/ 2944167 w 11795893"/>
                <a:gd name="connsiteY23" fmla="*/ 2811803 h 2863721"/>
                <a:gd name="connsiteX24" fmla="*/ 1889090 w 11795893"/>
                <a:gd name="connsiteY24" fmla="*/ 2821852 h 2863721"/>
                <a:gd name="connsiteX25" fmla="*/ 12890 w 11795893"/>
                <a:gd name="connsiteY25" fmla="*/ 2801753 h 2863721"/>
                <a:gd name="connsiteX0" fmla="*/ 0 w 11731364"/>
                <a:gd name="connsiteY0" fmla="*/ 152690 h 2988001"/>
                <a:gd name="connsiteX1" fmla="*/ 552660 w 11731364"/>
                <a:gd name="connsiteY1" fmla="*/ 132593 h 2988001"/>
                <a:gd name="connsiteX2" fmla="*/ 1637882 w 11731364"/>
                <a:gd name="connsiteY2" fmla="*/ 142641 h 2988001"/>
                <a:gd name="connsiteX3" fmla="*/ 2019719 w 11731364"/>
                <a:gd name="connsiteY3" fmla="*/ 142641 h 2988001"/>
                <a:gd name="connsiteX4" fmla="*/ 4531807 w 11731364"/>
                <a:gd name="connsiteY4" fmla="*/ 162738 h 2988001"/>
                <a:gd name="connsiteX5" fmla="*/ 6300317 w 11731364"/>
                <a:gd name="connsiteY5" fmla="*/ 192883 h 2988001"/>
                <a:gd name="connsiteX6" fmla="*/ 7063991 w 11731364"/>
                <a:gd name="connsiteY6" fmla="*/ 162738 h 2988001"/>
                <a:gd name="connsiteX7" fmla="*/ 8098972 w 11731364"/>
                <a:gd name="connsiteY7" fmla="*/ 192883 h 2988001"/>
                <a:gd name="connsiteX8" fmla="*/ 9485644 w 11731364"/>
                <a:gd name="connsiteY8" fmla="*/ 192883 h 2988001"/>
                <a:gd name="connsiteX9" fmla="*/ 9827288 w 11731364"/>
                <a:gd name="connsiteY9" fmla="*/ 162738 h 2988001"/>
                <a:gd name="connsiteX10" fmla="*/ 10671350 w 11731364"/>
                <a:gd name="connsiteY10" fmla="*/ 132593 h 2988001"/>
                <a:gd name="connsiteX11" fmla="*/ 11615895 w 11731364"/>
                <a:gd name="connsiteY11" fmla="*/ 182836 h 2988001"/>
                <a:gd name="connsiteX12" fmla="*/ 11696282 w 11731364"/>
                <a:gd name="connsiteY12" fmla="*/ 2433666 h 2988001"/>
                <a:gd name="connsiteX13" fmla="*/ 11686233 w 11731364"/>
                <a:gd name="connsiteY13" fmla="*/ 2926035 h 2988001"/>
                <a:gd name="connsiteX14" fmla="*/ 10912510 w 11731364"/>
                <a:gd name="connsiteY14" fmla="*/ 2956180 h 2988001"/>
                <a:gd name="connsiteX15" fmla="*/ 10008159 w 11731364"/>
                <a:gd name="connsiteY15" fmla="*/ 2956180 h 2988001"/>
                <a:gd name="connsiteX16" fmla="*/ 9435402 w 11731364"/>
                <a:gd name="connsiteY16" fmla="*/ 2956180 h 2988001"/>
                <a:gd name="connsiteX17" fmla="*/ 7365442 w 11731364"/>
                <a:gd name="connsiteY17" fmla="*/ 2915987 h 2988001"/>
                <a:gd name="connsiteX18" fmla="*/ 6742444 w 11731364"/>
                <a:gd name="connsiteY18" fmla="*/ 2936083 h 2988001"/>
                <a:gd name="connsiteX19" fmla="*/ 6601767 w 11731364"/>
                <a:gd name="connsiteY19" fmla="*/ 2926035 h 2988001"/>
                <a:gd name="connsiteX20" fmla="*/ 4783016 w 11731364"/>
                <a:gd name="connsiteY20" fmla="*/ 2976277 h 2988001"/>
                <a:gd name="connsiteX21" fmla="*/ 3938954 w 11731364"/>
                <a:gd name="connsiteY21" fmla="*/ 2956180 h 2988001"/>
                <a:gd name="connsiteX22" fmla="*/ 2944167 w 11731364"/>
                <a:gd name="connsiteY22" fmla="*/ 2936083 h 2988001"/>
                <a:gd name="connsiteX23" fmla="*/ 1889090 w 11731364"/>
                <a:gd name="connsiteY23" fmla="*/ 2946132 h 2988001"/>
                <a:gd name="connsiteX24" fmla="*/ 12890 w 11731364"/>
                <a:gd name="connsiteY24" fmla="*/ 2926033 h 2988001"/>
                <a:gd name="connsiteX0" fmla="*/ 0 w 11761041"/>
                <a:gd name="connsiteY0" fmla="*/ 189003 h 3175501"/>
                <a:gd name="connsiteX1" fmla="*/ 552660 w 11761041"/>
                <a:gd name="connsiteY1" fmla="*/ 168906 h 3175501"/>
                <a:gd name="connsiteX2" fmla="*/ 1637882 w 11761041"/>
                <a:gd name="connsiteY2" fmla="*/ 178954 h 3175501"/>
                <a:gd name="connsiteX3" fmla="*/ 2019719 w 11761041"/>
                <a:gd name="connsiteY3" fmla="*/ 178954 h 3175501"/>
                <a:gd name="connsiteX4" fmla="*/ 4531807 w 11761041"/>
                <a:gd name="connsiteY4" fmla="*/ 199051 h 3175501"/>
                <a:gd name="connsiteX5" fmla="*/ 6300317 w 11761041"/>
                <a:gd name="connsiteY5" fmla="*/ 229196 h 3175501"/>
                <a:gd name="connsiteX6" fmla="*/ 7063991 w 11761041"/>
                <a:gd name="connsiteY6" fmla="*/ 199051 h 3175501"/>
                <a:gd name="connsiteX7" fmla="*/ 8098972 w 11761041"/>
                <a:gd name="connsiteY7" fmla="*/ 229196 h 3175501"/>
                <a:gd name="connsiteX8" fmla="*/ 9485644 w 11761041"/>
                <a:gd name="connsiteY8" fmla="*/ 229196 h 3175501"/>
                <a:gd name="connsiteX9" fmla="*/ 9827288 w 11761041"/>
                <a:gd name="connsiteY9" fmla="*/ 199051 h 3175501"/>
                <a:gd name="connsiteX10" fmla="*/ 10671350 w 11761041"/>
                <a:gd name="connsiteY10" fmla="*/ 168906 h 3175501"/>
                <a:gd name="connsiteX11" fmla="*/ 11615895 w 11761041"/>
                <a:gd name="connsiteY11" fmla="*/ 219149 h 3175501"/>
                <a:gd name="connsiteX12" fmla="*/ 11686233 w 11761041"/>
                <a:gd name="connsiteY12" fmla="*/ 2962348 h 3175501"/>
                <a:gd name="connsiteX13" fmla="*/ 10912510 w 11761041"/>
                <a:gd name="connsiteY13" fmla="*/ 2992493 h 3175501"/>
                <a:gd name="connsiteX14" fmla="*/ 10008159 w 11761041"/>
                <a:gd name="connsiteY14" fmla="*/ 2992493 h 3175501"/>
                <a:gd name="connsiteX15" fmla="*/ 9435402 w 11761041"/>
                <a:gd name="connsiteY15" fmla="*/ 2992493 h 3175501"/>
                <a:gd name="connsiteX16" fmla="*/ 7365442 w 11761041"/>
                <a:gd name="connsiteY16" fmla="*/ 2952300 h 3175501"/>
                <a:gd name="connsiteX17" fmla="*/ 6742444 w 11761041"/>
                <a:gd name="connsiteY17" fmla="*/ 2972396 h 3175501"/>
                <a:gd name="connsiteX18" fmla="*/ 6601767 w 11761041"/>
                <a:gd name="connsiteY18" fmla="*/ 2962348 h 3175501"/>
                <a:gd name="connsiteX19" fmla="*/ 4783016 w 11761041"/>
                <a:gd name="connsiteY19" fmla="*/ 3012590 h 3175501"/>
                <a:gd name="connsiteX20" fmla="*/ 3938954 w 11761041"/>
                <a:gd name="connsiteY20" fmla="*/ 2992493 h 3175501"/>
                <a:gd name="connsiteX21" fmla="*/ 2944167 w 11761041"/>
                <a:gd name="connsiteY21" fmla="*/ 2972396 h 3175501"/>
                <a:gd name="connsiteX22" fmla="*/ 1889090 w 11761041"/>
                <a:gd name="connsiteY22" fmla="*/ 2982445 h 3175501"/>
                <a:gd name="connsiteX23" fmla="*/ 12890 w 11761041"/>
                <a:gd name="connsiteY23" fmla="*/ 2962346 h 3175501"/>
                <a:gd name="connsiteX0" fmla="*/ 0 w 11837985"/>
                <a:gd name="connsiteY0" fmla="*/ 32082 h 2997028"/>
                <a:gd name="connsiteX1" fmla="*/ 552660 w 11837985"/>
                <a:gd name="connsiteY1" fmla="*/ 11985 h 2997028"/>
                <a:gd name="connsiteX2" fmla="*/ 1637882 w 11837985"/>
                <a:gd name="connsiteY2" fmla="*/ 22033 h 2997028"/>
                <a:gd name="connsiteX3" fmla="*/ 2019719 w 11837985"/>
                <a:gd name="connsiteY3" fmla="*/ 22033 h 2997028"/>
                <a:gd name="connsiteX4" fmla="*/ 4531807 w 11837985"/>
                <a:gd name="connsiteY4" fmla="*/ 42130 h 2997028"/>
                <a:gd name="connsiteX5" fmla="*/ 6300317 w 11837985"/>
                <a:gd name="connsiteY5" fmla="*/ 72275 h 2997028"/>
                <a:gd name="connsiteX6" fmla="*/ 7063991 w 11837985"/>
                <a:gd name="connsiteY6" fmla="*/ 42130 h 2997028"/>
                <a:gd name="connsiteX7" fmla="*/ 8098972 w 11837985"/>
                <a:gd name="connsiteY7" fmla="*/ 72275 h 2997028"/>
                <a:gd name="connsiteX8" fmla="*/ 9485644 w 11837985"/>
                <a:gd name="connsiteY8" fmla="*/ 72275 h 2997028"/>
                <a:gd name="connsiteX9" fmla="*/ 9827288 w 11837985"/>
                <a:gd name="connsiteY9" fmla="*/ 42130 h 2997028"/>
                <a:gd name="connsiteX10" fmla="*/ 10671350 w 11837985"/>
                <a:gd name="connsiteY10" fmla="*/ 11985 h 2997028"/>
                <a:gd name="connsiteX11" fmla="*/ 11745799 w 11837985"/>
                <a:gd name="connsiteY11" fmla="*/ 353631 h 2997028"/>
                <a:gd name="connsiteX12" fmla="*/ 11686233 w 11837985"/>
                <a:gd name="connsiteY12" fmla="*/ 2805427 h 2997028"/>
                <a:gd name="connsiteX13" fmla="*/ 10912510 w 11837985"/>
                <a:gd name="connsiteY13" fmla="*/ 2835572 h 2997028"/>
                <a:gd name="connsiteX14" fmla="*/ 10008159 w 11837985"/>
                <a:gd name="connsiteY14" fmla="*/ 2835572 h 2997028"/>
                <a:gd name="connsiteX15" fmla="*/ 9435402 w 11837985"/>
                <a:gd name="connsiteY15" fmla="*/ 2835572 h 2997028"/>
                <a:gd name="connsiteX16" fmla="*/ 7365442 w 11837985"/>
                <a:gd name="connsiteY16" fmla="*/ 2795379 h 2997028"/>
                <a:gd name="connsiteX17" fmla="*/ 6742444 w 11837985"/>
                <a:gd name="connsiteY17" fmla="*/ 2815475 h 2997028"/>
                <a:gd name="connsiteX18" fmla="*/ 6601767 w 11837985"/>
                <a:gd name="connsiteY18" fmla="*/ 2805427 h 2997028"/>
                <a:gd name="connsiteX19" fmla="*/ 4783016 w 11837985"/>
                <a:gd name="connsiteY19" fmla="*/ 2855669 h 2997028"/>
                <a:gd name="connsiteX20" fmla="*/ 3938954 w 11837985"/>
                <a:gd name="connsiteY20" fmla="*/ 2835572 h 2997028"/>
                <a:gd name="connsiteX21" fmla="*/ 2944167 w 11837985"/>
                <a:gd name="connsiteY21" fmla="*/ 2815475 h 2997028"/>
                <a:gd name="connsiteX22" fmla="*/ 1889090 w 11837985"/>
                <a:gd name="connsiteY22" fmla="*/ 2825524 h 2997028"/>
                <a:gd name="connsiteX23" fmla="*/ 12890 w 11837985"/>
                <a:gd name="connsiteY23" fmla="*/ 2805425 h 2997028"/>
                <a:gd name="connsiteX0" fmla="*/ 0 w 11890507"/>
                <a:gd name="connsiteY0" fmla="*/ 20097 h 2985043"/>
                <a:gd name="connsiteX1" fmla="*/ 552660 w 11890507"/>
                <a:gd name="connsiteY1" fmla="*/ 0 h 2985043"/>
                <a:gd name="connsiteX2" fmla="*/ 1637882 w 11890507"/>
                <a:gd name="connsiteY2" fmla="*/ 10048 h 2985043"/>
                <a:gd name="connsiteX3" fmla="*/ 2019719 w 11890507"/>
                <a:gd name="connsiteY3" fmla="*/ 10048 h 2985043"/>
                <a:gd name="connsiteX4" fmla="*/ 4531807 w 11890507"/>
                <a:gd name="connsiteY4" fmla="*/ 30145 h 2985043"/>
                <a:gd name="connsiteX5" fmla="*/ 6300317 w 11890507"/>
                <a:gd name="connsiteY5" fmla="*/ 60290 h 2985043"/>
                <a:gd name="connsiteX6" fmla="*/ 7063991 w 11890507"/>
                <a:gd name="connsiteY6" fmla="*/ 30145 h 2985043"/>
                <a:gd name="connsiteX7" fmla="*/ 8098972 w 11890507"/>
                <a:gd name="connsiteY7" fmla="*/ 60290 h 2985043"/>
                <a:gd name="connsiteX8" fmla="*/ 9485644 w 11890507"/>
                <a:gd name="connsiteY8" fmla="*/ 60290 h 2985043"/>
                <a:gd name="connsiteX9" fmla="*/ 9827288 w 11890507"/>
                <a:gd name="connsiteY9" fmla="*/ 30145 h 2985043"/>
                <a:gd name="connsiteX10" fmla="*/ 10671350 w 11890507"/>
                <a:gd name="connsiteY10" fmla="*/ 0 h 2985043"/>
                <a:gd name="connsiteX11" fmla="*/ 11745799 w 11890507"/>
                <a:gd name="connsiteY11" fmla="*/ 341646 h 2985043"/>
                <a:gd name="connsiteX12" fmla="*/ 11686233 w 11890507"/>
                <a:gd name="connsiteY12" fmla="*/ 2793442 h 2985043"/>
                <a:gd name="connsiteX13" fmla="*/ 10912510 w 11890507"/>
                <a:gd name="connsiteY13" fmla="*/ 2823587 h 2985043"/>
                <a:gd name="connsiteX14" fmla="*/ 10008159 w 11890507"/>
                <a:gd name="connsiteY14" fmla="*/ 2823587 h 2985043"/>
                <a:gd name="connsiteX15" fmla="*/ 9435402 w 11890507"/>
                <a:gd name="connsiteY15" fmla="*/ 2823587 h 2985043"/>
                <a:gd name="connsiteX16" fmla="*/ 7365442 w 11890507"/>
                <a:gd name="connsiteY16" fmla="*/ 2783394 h 2985043"/>
                <a:gd name="connsiteX17" fmla="*/ 6742444 w 11890507"/>
                <a:gd name="connsiteY17" fmla="*/ 2803490 h 2985043"/>
                <a:gd name="connsiteX18" fmla="*/ 6601767 w 11890507"/>
                <a:gd name="connsiteY18" fmla="*/ 2793442 h 2985043"/>
                <a:gd name="connsiteX19" fmla="*/ 4783016 w 11890507"/>
                <a:gd name="connsiteY19" fmla="*/ 2843684 h 2985043"/>
                <a:gd name="connsiteX20" fmla="*/ 3938954 w 11890507"/>
                <a:gd name="connsiteY20" fmla="*/ 2823587 h 2985043"/>
                <a:gd name="connsiteX21" fmla="*/ 2944167 w 11890507"/>
                <a:gd name="connsiteY21" fmla="*/ 2803490 h 2985043"/>
                <a:gd name="connsiteX22" fmla="*/ 1889090 w 11890507"/>
                <a:gd name="connsiteY22" fmla="*/ 2813539 h 2985043"/>
                <a:gd name="connsiteX23" fmla="*/ 12890 w 11890507"/>
                <a:gd name="connsiteY23" fmla="*/ 2793440 h 2985043"/>
                <a:gd name="connsiteX0" fmla="*/ 0 w 11888066"/>
                <a:gd name="connsiteY0" fmla="*/ 24726 h 2863208"/>
                <a:gd name="connsiteX1" fmla="*/ 552660 w 11888066"/>
                <a:gd name="connsiteY1" fmla="*/ 4629 h 2863208"/>
                <a:gd name="connsiteX2" fmla="*/ 1637882 w 11888066"/>
                <a:gd name="connsiteY2" fmla="*/ 14677 h 2863208"/>
                <a:gd name="connsiteX3" fmla="*/ 2019719 w 11888066"/>
                <a:gd name="connsiteY3" fmla="*/ 14677 h 2863208"/>
                <a:gd name="connsiteX4" fmla="*/ 4531807 w 11888066"/>
                <a:gd name="connsiteY4" fmla="*/ 34774 h 2863208"/>
                <a:gd name="connsiteX5" fmla="*/ 6300317 w 11888066"/>
                <a:gd name="connsiteY5" fmla="*/ 64919 h 2863208"/>
                <a:gd name="connsiteX6" fmla="*/ 7063991 w 11888066"/>
                <a:gd name="connsiteY6" fmla="*/ 34774 h 2863208"/>
                <a:gd name="connsiteX7" fmla="*/ 8098972 w 11888066"/>
                <a:gd name="connsiteY7" fmla="*/ 64919 h 2863208"/>
                <a:gd name="connsiteX8" fmla="*/ 9485644 w 11888066"/>
                <a:gd name="connsiteY8" fmla="*/ 64919 h 2863208"/>
                <a:gd name="connsiteX9" fmla="*/ 9827288 w 11888066"/>
                <a:gd name="connsiteY9" fmla="*/ 34774 h 2863208"/>
                <a:gd name="connsiteX10" fmla="*/ 10671350 w 11888066"/>
                <a:gd name="connsiteY10" fmla="*/ 4629 h 2863208"/>
                <a:gd name="connsiteX11" fmla="*/ 11745799 w 11888066"/>
                <a:gd name="connsiteY11" fmla="*/ 346275 h 2863208"/>
                <a:gd name="connsiteX12" fmla="*/ 11786160 w 11888066"/>
                <a:gd name="connsiteY12" fmla="*/ 2587055 h 2863208"/>
                <a:gd name="connsiteX13" fmla="*/ 10912510 w 11888066"/>
                <a:gd name="connsiteY13" fmla="*/ 2828216 h 2863208"/>
                <a:gd name="connsiteX14" fmla="*/ 10008159 w 11888066"/>
                <a:gd name="connsiteY14" fmla="*/ 2828216 h 2863208"/>
                <a:gd name="connsiteX15" fmla="*/ 9435402 w 11888066"/>
                <a:gd name="connsiteY15" fmla="*/ 2828216 h 2863208"/>
                <a:gd name="connsiteX16" fmla="*/ 7365442 w 11888066"/>
                <a:gd name="connsiteY16" fmla="*/ 2788023 h 2863208"/>
                <a:gd name="connsiteX17" fmla="*/ 6742444 w 11888066"/>
                <a:gd name="connsiteY17" fmla="*/ 2808119 h 2863208"/>
                <a:gd name="connsiteX18" fmla="*/ 6601767 w 11888066"/>
                <a:gd name="connsiteY18" fmla="*/ 2798071 h 2863208"/>
                <a:gd name="connsiteX19" fmla="*/ 4783016 w 11888066"/>
                <a:gd name="connsiteY19" fmla="*/ 2848313 h 2863208"/>
                <a:gd name="connsiteX20" fmla="*/ 3938954 w 11888066"/>
                <a:gd name="connsiteY20" fmla="*/ 2828216 h 2863208"/>
                <a:gd name="connsiteX21" fmla="*/ 2944167 w 11888066"/>
                <a:gd name="connsiteY21" fmla="*/ 2808119 h 2863208"/>
                <a:gd name="connsiteX22" fmla="*/ 1889090 w 11888066"/>
                <a:gd name="connsiteY22" fmla="*/ 2818168 h 2863208"/>
                <a:gd name="connsiteX23" fmla="*/ 12890 w 11888066"/>
                <a:gd name="connsiteY23" fmla="*/ 2798069 h 2863208"/>
                <a:gd name="connsiteX0" fmla="*/ 0 w 11848891"/>
                <a:gd name="connsiteY0" fmla="*/ 24726 h 2849235"/>
                <a:gd name="connsiteX1" fmla="*/ 552660 w 11848891"/>
                <a:gd name="connsiteY1" fmla="*/ 4629 h 2849235"/>
                <a:gd name="connsiteX2" fmla="*/ 1637882 w 11848891"/>
                <a:gd name="connsiteY2" fmla="*/ 14677 h 2849235"/>
                <a:gd name="connsiteX3" fmla="*/ 2019719 w 11848891"/>
                <a:gd name="connsiteY3" fmla="*/ 14677 h 2849235"/>
                <a:gd name="connsiteX4" fmla="*/ 4531807 w 11848891"/>
                <a:gd name="connsiteY4" fmla="*/ 34774 h 2849235"/>
                <a:gd name="connsiteX5" fmla="*/ 6300317 w 11848891"/>
                <a:gd name="connsiteY5" fmla="*/ 64919 h 2849235"/>
                <a:gd name="connsiteX6" fmla="*/ 7063991 w 11848891"/>
                <a:gd name="connsiteY6" fmla="*/ 34774 h 2849235"/>
                <a:gd name="connsiteX7" fmla="*/ 8098972 w 11848891"/>
                <a:gd name="connsiteY7" fmla="*/ 64919 h 2849235"/>
                <a:gd name="connsiteX8" fmla="*/ 9485644 w 11848891"/>
                <a:gd name="connsiteY8" fmla="*/ 64919 h 2849235"/>
                <a:gd name="connsiteX9" fmla="*/ 9827288 w 11848891"/>
                <a:gd name="connsiteY9" fmla="*/ 34774 h 2849235"/>
                <a:gd name="connsiteX10" fmla="*/ 10671350 w 11848891"/>
                <a:gd name="connsiteY10" fmla="*/ 4629 h 2849235"/>
                <a:gd name="connsiteX11" fmla="*/ 11745799 w 11848891"/>
                <a:gd name="connsiteY11" fmla="*/ 346275 h 2849235"/>
                <a:gd name="connsiteX12" fmla="*/ 11786160 w 11848891"/>
                <a:gd name="connsiteY12" fmla="*/ 2587055 h 2849235"/>
                <a:gd name="connsiteX13" fmla="*/ 10912510 w 11848891"/>
                <a:gd name="connsiteY13" fmla="*/ 2828216 h 2849235"/>
                <a:gd name="connsiteX14" fmla="*/ 10008159 w 11848891"/>
                <a:gd name="connsiteY14" fmla="*/ 2828216 h 2849235"/>
                <a:gd name="connsiteX15" fmla="*/ 9435402 w 11848891"/>
                <a:gd name="connsiteY15" fmla="*/ 2828216 h 2849235"/>
                <a:gd name="connsiteX16" fmla="*/ 7365442 w 11848891"/>
                <a:gd name="connsiteY16" fmla="*/ 2788023 h 2849235"/>
                <a:gd name="connsiteX17" fmla="*/ 6742444 w 11848891"/>
                <a:gd name="connsiteY17" fmla="*/ 2808119 h 2849235"/>
                <a:gd name="connsiteX18" fmla="*/ 6601767 w 11848891"/>
                <a:gd name="connsiteY18" fmla="*/ 2798071 h 2849235"/>
                <a:gd name="connsiteX19" fmla="*/ 4783016 w 11848891"/>
                <a:gd name="connsiteY19" fmla="*/ 2848313 h 2849235"/>
                <a:gd name="connsiteX20" fmla="*/ 3938954 w 11848891"/>
                <a:gd name="connsiteY20" fmla="*/ 2828216 h 2849235"/>
                <a:gd name="connsiteX21" fmla="*/ 2944167 w 11848891"/>
                <a:gd name="connsiteY21" fmla="*/ 2808119 h 2849235"/>
                <a:gd name="connsiteX22" fmla="*/ 1889090 w 11848891"/>
                <a:gd name="connsiteY22" fmla="*/ 2818168 h 2849235"/>
                <a:gd name="connsiteX23" fmla="*/ 12890 w 11848891"/>
                <a:gd name="connsiteY23" fmla="*/ 2798069 h 2849235"/>
                <a:gd name="connsiteX0" fmla="*/ 0 w 11916572"/>
                <a:gd name="connsiteY0" fmla="*/ 24726 h 2849235"/>
                <a:gd name="connsiteX1" fmla="*/ 552660 w 11916572"/>
                <a:gd name="connsiteY1" fmla="*/ 4629 h 2849235"/>
                <a:gd name="connsiteX2" fmla="*/ 1637882 w 11916572"/>
                <a:gd name="connsiteY2" fmla="*/ 14677 h 2849235"/>
                <a:gd name="connsiteX3" fmla="*/ 2019719 w 11916572"/>
                <a:gd name="connsiteY3" fmla="*/ 14677 h 2849235"/>
                <a:gd name="connsiteX4" fmla="*/ 4531807 w 11916572"/>
                <a:gd name="connsiteY4" fmla="*/ 34774 h 2849235"/>
                <a:gd name="connsiteX5" fmla="*/ 6300317 w 11916572"/>
                <a:gd name="connsiteY5" fmla="*/ 64919 h 2849235"/>
                <a:gd name="connsiteX6" fmla="*/ 7063991 w 11916572"/>
                <a:gd name="connsiteY6" fmla="*/ 34774 h 2849235"/>
                <a:gd name="connsiteX7" fmla="*/ 8098972 w 11916572"/>
                <a:gd name="connsiteY7" fmla="*/ 64919 h 2849235"/>
                <a:gd name="connsiteX8" fmla="*/ 9485644 w 11916572"/>
                <a:gd name="connsiteY8" fmla="*/ 64919 h 2849235"/>
                <a:gd name="connsiteX9" fmla="*/ 9827288 w 11916572"/>
                <a:gd name="connsiteY9" fmla="*/ 34774 h 2849235"/>
                <a:gd name="connsiteX10" fmla="*/ 10671350 w 11916572"/>
                <a:gd name="connsiteY10" fmla="*/ 4629 h 2849235"/>
                <a:gd name="connsiteX11" fmla="*/ 11745799 w 11916572"/>
                <a:gd name="connsiteY11" fmla="*/ 346275 h 2849235"/>
                <a:gd name="connsiteX12" fmla="*/ 11786160 w 11916572"/>
                <a:gd name="connsiteY12" fmla="*/ 2587055 h 2849235"/>
                <a:gd name="connsiteX13" fmla="*/ 10912510 w 11916572"/>
                <a:gd name="connsiteY13" fmla="*/ 2828216 h 2849235"/>
                <a:gd name="connsiteX14" fmla="*/ 10008159 w 11916572"/>
                <a:gd name="connsiteY14" fmla="*/ 2828216 h 2849235"/>
                <a:gd name="connsiteX15" fmla="*/ 9435402 w 11916572"/>
                <a:gd name="connsiteY15" fmla="*/ 2828216 h 2849235"/>
                <a:gd name="connsiteX16" fmla="*/ 7365442 w 11916572"/>
                <a:gd name="connsiteY16" fmla="*/ 2788023 h 2849235"/>
                <a:gd name="connsiteX17" fmla="*/ 6742444 w 11916572"/>
                <a:gd name="connsiteY17" fmla="*/ 2808119 h 2849235"/>
                <a:gd name="connsiteX18" fmla="*/ 6601767 w 11916572"/>
                <a:gd name="connsiteY18" fmla="*/ 2798071 h 2849235"/>
                <a:gd name="connsiteX19" fmla="*/ 4783016 w 11916572"/>
                <a:gd name="connsiteY19" fmla="*/ 2848313 h 2849235"/>
                <a:gd name="connsiteX20" fmla="*/ 3938954 w 11916572"/>
                <a:gd name="connsiteY20" fmla="*/ 2828216 h 2849235"/>
                <a:gd name="connsiteX21" fmla="*/ 2944167 w 11916572"/>
                <a:gd name="connsiteY21" fmla="*/ 2808119 h 2849235"/>
                <a:gd name="connsiteX22" fmla="*/ 1889090 w 11916572"/>
                <a:gd name="connsiteY22" fmla="*/ 2818168 h 2849235"/>
                <a:gd name="connsiteX23" fmla="*/ 12890 w 11916572"/>
                <a:gd name="connsiteY23" fmla="*/ 2798069 h 2849235"/>
                <a:gd name="connsiteX0" fmla="*/ 0 w 11936930"/>
                <a:gd name="connsiteY0" fmla="*/ 24726 h 2849235"/>
                <a:gd name="connsiteX1" fmla="*/ 552660 w 11936930"/>
                <a:gd name="connsiteY1" fmla="*/ 4629 h 2849235"/>
                <a:gd name="connsiteX2" fmla="*/ 1637882 w 11936930"/>
                <a:gd name="connsiteY2" fmla="*/ 14677 h 2849235"/>
                <a:gd name="connsiteX3" fmla="*/ 2019719 w 11936930"/>
                <a:gd name="connsiteY3" fmla="*/ 14677 h 2849235"/>
                <a:gd name="connsiteX4" fmla="*/ 4531807 w 11936930"/>
                <a:gd name="connsiteY4" fmla="*/ 34774 h 2849235"/>
                <a:gd name="connsiteX5" fmla="*/ 6300317 w 11936930"/>
                <a:gd name="connsiteY5" fmla="*/ 64919 h 2849235"/>
                <a:gd name="connsiteX6" fmla="*/ 7063991 w 11936930"/>
                <a:gd name="connsiteY6" fmla="*/ 34774 h 2849235"/>
                <a:gd name="connsiteX7" fmla="*/ 8098972 w 11936930"/>
                <a:gd name="connsiteY7" fmla="*/ 64919 h 2849235"/>
                <a:gd name="connsiteX8" fmla="*/ 9485644 w 11936930"/>
                <a:gd name="connsiteY8" fmla="*/ 64919 h 2849235"/>
                <a:gd name="connsiteX9" fmla="*/ 9827288 w 11936930"/>
                <a:gd name="connsiteY9" fmla="*/ 34774 h 2849235"/>
                <a:gd name="connsiteX10" fmla="*/ 10311615 w 11936930"/>
                <a:gd name="connsiteY10" fmla="*/ 4629 h 2849235"/>
                <a:gd name="connsiteX11" fmla="*/ 11745799 w 11936930"/>
                <a:gd name="connsiteY11" fmla="*/ 346275 h 2849235"/>
                <a:gd name="connsiteX12" fmla="*/ 11786160 w 11936930"/>
                <a:gd name="connsiteY12" fmla="*/ 2587055 h 2849235"/>
                <a:gd name="connsiteX13" fmla="*/ 10912510 w 11936930"/>
                <a:gd name="connsiteY13" fmla="*/ 2828216 h 2849235"/>
                <a:gd name="connsiteX14" fmla="*/ 10008159 w 11936930"/>
                <a:gd name="connsiteY14" fmla="*/ 2828216 h 2849235"/>
                <a:gd name="connsiteX15" fmla="*/ 9435402 w 11936930"/>
                <a:gd name="connsiteY15" fmla="*/ 2828216 h 2849235"/>
                <a:gd name="connsiteX16" fmla="*/ 7365442 w 11936930"/>
                <a:gd name="connsiteY16" fmla="*/ 2788023 h 2849235"/>
                <a:gd name="connsiteX17" fmla="*/ 6742444 w 11936930"/>
                <a:gd name="connsiteY17" fmla="*/ 2808119 h 2849235"/>
                <a:gd name="connsiteX18" fmla="*/ 6601767 w 11936930"/>
                <a:gd name="connsiteY18" fmla="*/ 2798071 h 2849235"/>
                <a:gd name="connsiteX19" fmla="*/ 4783016 w 11936930"/>
                <a:gd name="connsiteY19" fmla="*/ 2848313 h 2849235"/>
                <a:gd name="connsiteX20" fmla="*/ 3938954 w 11936930"/>
                <a:gd name="connsiteY20" fmla="*/ 2828216 h 2849235"/>
                <a:gd name="connsiteX21" fmla="*/ 2944167 w 11936930"/>
                <a:gd name="connsiteY21" fmla="*/ 2808119 h 2849235"/>
                <a:gd name="connsiteX22" fmla="*/ 1889090 w 11936930"/>
                <a:gd name="connsiteY22" fmla="*/ 2818168 h 2849235"/>
                <a:gd name="connsiteX23" fmla="*/ 12890 w 11936930"/>
                <a:gd name="connsiteY23" fmla="*/ 2798069 h 2849235"/>
                <a:gd name="connsiteX0" fmla="*/ 0 w 11936930"/>
                <a:gd name="connsiteY0" fmla="*/ 24726 h 2849235"/>
                <a:gd name="connsiteX1" fmla="*/ 552660 w 11936930"/>
                <a:gd name="connsiteY1" fmla="*/ 4629 h 2849235"/>
                <a:gd name="connsiteX2" fmla="*/ 1637882 w 11936930"/>
                <a:gd name="connsiteY2" fmla="*/ 14677 h 2849235"/>
                <a:gd name="connsiteX3" fmla="*/ 2019719 w 11936930"/>
                <a:gd name="connsiteY3" fmla="*/ 14677 h 2849235"/>
                <a:gd name="connsiteX4" fmla="*/ 4531807 w 11936930"/>
                <a:gd name="connsiteY4" fmla="*/ 34774 h 2849235"/>
                <a:gd name="connsiteX5" fmla="*/ 6300317 w 11936930"/>
                <a:gd name="connsiteY5" fmla="*/ 64919 h 2849235"/>
                <a:gd name="connsiteX6" fmla="*/ 7063991 w 11936930"/>
                <a:gd name="connsiteY6" fmla="*/ 34774 h 2849235"/>
                <a:gd name="connsiteX7" fmla="*/ 8098972 w 11936930"/>
                <a:gd name="connsiteY7" fmla="*/ 64919 h 2849235"/>
                <a:gd name="connsiteX8" fmla="*/ 9485644 w 11936930"/>
                <a:gd name="connsiteY8" fmla="*/ 64919 h 2849235"/>
                <a:gd name="connsiteX9" fmla="*/ 10311615 w 11936930"/>
                <a:gd name="connsiteY9" fmla="*/ 4629 h 2849235"/>
                <a:gd name="connsiteX10" fmla="*/ 11745799 w 11936930"/>
                <a:gd name="connsiteY10" fmla="*/ 346275 h 2849235"/>
                <a:gd name="connsiteX11" fmla="*/ 11786160 w 11936930"/>
                <a:gd name="connsiteY11" fmla="*/ 2587055 h 2849235"/>
                <a:gd name="connsiteX12" fmla="*/ 10912510 w 11936930"/>
                <a:gd name="connsiteY12" fmla="*/ 2828216 h 2849235"/>
                <a:gd name="connsiteX13" fmla="*/ 10008159 w 11936930"/>
                <a:gd name="connsiteY13" fmla="*/ 2828216 h 2849235"/>
                <a:gd name="connsiteX14" fmla="*/ 9435402 w 11936930"/>
                <a:gd name="connsiteY14" fmla="*/ 2828216 h 2849235"/>
                <a:gd name="connsiteX15" fmla="*/ 7365442 w 11936930"/>
                <a:gd name="connsiteY15" fmla="*/ 2788023 h 2849235"/>
                <a:gd name="connsiteX16" fmla="*/ 6742444 w 11936930"/>
                <a:gd name="connsiteY16" fmla="*/ 2808119 h 2849235"/>
                <a:gd name="connsiteX17" fmla="*/ 6601767 w 11936930"/>
                <a:gd name="connsiteY17" fmla="*/ 2798071 h 2849235"/>
                <a:gd name="connsiteX18" fmla="*/ 4783016 w 11936930"/>
                <a:gd name="connsiteY18" fmla="*/ 2848313 h 2849235"/>
                <a:gd name="connsiteX19" fmla="*/ 3938954 w 11936930"/>
                <a:gd name="connsiteY19" fmla="*/ 2828216 h 2849235"/>
                <a:gd name="connsiteX20" fmla="*/ 2944167 w 11936930"/>
                <a:gd name="connsiteY20" fmla="*/ 2808119 h 2849235"/>
                <a:gd name="connsiteX21" fmla="*/ 1889090 w 11936930"/>
                <a:gd name="connsiteY21" fmla="*/ 2818168 h 2849235"/>
                <a:gd name="connsiteX22" fmla="*/ 12890 w 11936930"/>
                <a:gd name="connsiteY22" fmla="*/ 2798069 h 2849235"/>
                <a:gd name="connsiteX0" fmla="*/ 0 w 11936930"/>
                <a:gd name="connsiteY0" fmla="*/ 24726 h 2849235"/>
                <a:gd name="connsiteX1" fmla="*/ 552660 w 11936930"/>
                <a:gd name="connsiteY1" fmla="*/ 4629 h 2849235"/>
                <a:gd name="connsiteX2" fmla="*/ 1637882 w 11936930"/>
                <a:gd name="connsiteY2" fmla="*/ 14677 h 2849235"/>
                <a:gd name="connsiteX3" fmla="*/ 2019719 w 11936930"/>
                <a:gd name="connsiteY3" fmla="*/ 14677 h 2849235"/>
                <a:gd name="connsiteX4" fmla="*/ 4531807 w 11936930"/>
                <a:gd name="connsiteY4" fmla="*/ 34774 h 2849235"/>
                <a:gd name="connsiteX5" fmla="*/ 6300317 w 11936930"/>
                <a:gd name="connsiteY5" fmla="*/ 64919 h 2849235"/>
                <a:gd name="connsiteX6" fmla="*/ 7063991 w 11936930"/>
                <a:gd name="connsiteY6" fmla="*/ 34774 h 2849235"/>
                <a:gd name="connsiteX7" fmla="*/ 8098972 w 11936930"/>
                <a:gd name="connsiteY7" fmla="*/ 64919 h 2849235"/>
                <a:gd name="connsiteX8" fmla="*/ 8956033 w 11936930"/>
                <a:gd name="connsiteY8" fmla="*/ 64919 h 2849235"/>
                <a:gd name="connsiteX9" fmla="*/ 10311615 w 11936930"/>
                <a:gd name="connsiteY9" fmla="*/ 4629 h 2849235"/>
                <a:gd name="connsiteX10" fmla="*/ 11745799 w 11936930"/>
                <a:gd name="connsiteY10" fmla="*/ 346275 h 2849235"/>
                <a:gd name="connsiteX11" fmla="*/ 11786160 w 11936930"/>
                <a:gd name="connsiteY11" fmla="*/ 2587055 h 2849235"/>
                <a:gd name="connsiteX12" fmla="*/ 10912510 w 11936930"/>
                <a:gd name="connsiteY12" fmla="*/ 2828216 h 2849235"/>
                <a:gd name="connsiteX13" fmla="*/ 10008159 w 11936930"/>
                <a:gd name="connsiteY13" fmla="*/ 2828216 h 2849235"/>
                <a:gd name="connsiteX14" fmla="*/ 9435402 w 11936930"/>
                <a:gd name="connsiteY14" fmla="*/ 2828216 h 2849235"/>
                <a:gd name="connsiteX15" fmla="*/ 7365442 w 11936930"/>
                <a:gd name="connsiteY15" fmla="*/ 2788023 h 2849235"/>
                <a:gd name="connsiteX16" fmla="*/ 6742444 w 11936930"/>
                <a:gd name="connsiteY16" fmla="*/ 2808119 h 2849235"/>
                <a:gd name="connsiteX17" fmla="*/ 6601767 w 11936930"/>
                <a:gd name="connsiteY17" fmla="*/ 2798071 h 2849235"/>
                <a:gd name="connsiteX18" fmla="*/ 4783016 w 11936930"/>
                <a:gd name="connsiteY18" fmla="*/ 2848313 h 2849235"/>
                <a:gd name="connsiteX19" fmla="*/ 3938954 w 11936930"/>
                <a:gd name="connsiteY19" fmla="*/ 2828216 h 2849235"/>
                <a:gd name="connsiteX20" fmla="*/ 2944167 w 11936930"/>
                <a:gd name="connsiteY20" fmla="*/ 2808119 h 2849235"/>
                <a:gd name="connsiteX21" fmla="*/ 1889090 w 11936930"/>
                <a:gd name="connsiteY21" fmla="*/ 2818168 h 2849235"/>
                <a:gd name="connsiteX22" fmla="*/ 12890 w 11936930"/>
                <a:gd name="connsiteY22" fmla="*/ 2798069 h 2849235"/>
                <a:gd name="connsiteX0" fmla="*/ 0 w 11949661"/>
                <a:gd name="connsiteY0" fmla="*/ 24726 h 2849235"/>
                <a:gd name="connsiteX1" fmla="*/ 552660 w 11949661"/>
                <a:gd name="connsiteY1" fmla="*/ 4629 h 2849235"/>
                <a:gd name="connsiteX2" fmla="*/ 1637882 w 11949661"/>
                <a:gd name="connsiteY2" fmla="*/ 14677 h 2849235"/>
                <a:gd name="connsiteX3" fmla="*/ 2019719 w 11949661"/>
                <a:gd name="connsiteY3" fmla="*/ 14677 h 2849235"/>
                <a:gd name="connsiteX4" fmla="*/ 4531807 w 11949661"/>
                <a:gd name="connsiteY4" fmla="*/ 34774 h 2849235"/>
                <a:gd name="connsiteX5" fmla="*/ 6300317 w 11949661"/>
                <a:gd name="connsiteY5" fmla="*/ 64919 h 2849235"/>
                <a:gd name="connsiteX6" fmla="*/ 7063991 w 11949661"/>
                <a:gd name="connsiteY6" fmla="*/ 34774 h 2849235"/>
                <a:gd name="connsiteX7" fmla="*/ 8098972 w 11949661"/>
                <a:gd name="connsiteY7" fmla="*/ 64919 h 2849235"/>
                <a:gd name="connsiteX8" fmla="*/ 8956033 w 11949661"/>
                <a:gd name="connsiteY8" fmla="*/ 64919 h 2849235"/>
                <a:gd name="connsiteX9" fmla="*/ 10101769 w 11949661"/>
                <a:gd name="connsiteY9" fmla="*/ 4629 h 2849235"/>
                <a:gd name="connsiteX10" fmla="*/ 11745799 w 11949661"/>
                <a:gd name="connsiteY10" fmla="*/ 346275 h 2849235"/>
                <a:gd name="connsiteX11" fmla="*/ 11786160 w 11949661"/>
                <a:gd name="connsiteY11" fmla="*/ 2587055 h 2849235"/>
                <a:gd name="connsiteX12" fmla="*/ 10912510 w 11949661"/>
                <a:gd name="connsiteY12" fmla="*/ 2828216 h 2849235"/>
                <a:gd name="connsiteX13" fmla="*/ 10008159 w 11949661"/>
                <a:gd name="connsiteY13" fmla="*/ 2828216 h 2849235"/>
                <a:gd name="connsiteX14" fmla="*/ 9435402 w 11949661"/>
                <a:gd name="connsiteY14" fmla="*/ 2828216 h 2849235"/>
                <a:gd name="connsiteX15" fmla="*/ 7365442 w 11949661"/>
                <a:gd name="connsiteY15" fmla="*/ 2788023 h 2849235"/>
                <a:gd name="connsiteX16" fmla="*/ 6742444 w 11949661"/>
                <a:gd name="connsiteY16" fmla="*/ 2808119 h 2849235"/>
                <a:gd name="connsiteX17" fmla="*/ 6601767 w 11949661"/>
                <a:gd name="connsiteY17" fmla="*/ 2798071 h 2849235"/>
                <a:gd name="connsiteX18" fmla="*/ 4783016 w 11949661"/>
                <a:gd name="connsiteY18" fmla="*/ 2848313 h 2849235"/>
                <a:gd name="connsiteX19" fmla="*/ 3938954 w 11949661"/>
                <a:gd name="connsiteY19" fmla="*/ 2828216 h 2849235"/>
                <a:gd name="connsiteX20" fmla="*/ 2944167 w 11949661"/>
                <a:gd name="connsiteY20" fmla="*/ 2808119 h 2849235"/>
                <a:gd name="connsiteX21" fmla="*/ 1889090 w 11949661"/>
                <a:gd name="connsiteY21" fmla="*/ 2818168 h 2849235"/>
                <a:gd name="connsiteX22" fmla="*/ 12890 w 11949661"/>
                <a:gd name="connsiteY22" fmla="*/ 2798069 h 2849235"/>
                <a:gd name="connsiteX0" fmla="*/ 0 w 11981169"/>
                <a:gd name="connsiteY0" fmla="*/ 24726 h 2849235"/>
                <a:gd name="connsiteX1" fmla="*/ 552660 w 11981169"/>
                <a:gd name="connsiteY1" fmla="*/ 4629 h 2849235"/>
                <a:gd name="connsiteX2" fmla="*/ 1637882 w 11981169"/>
                <a:gd name="connsiteY2" fmla="*/ 14677 h 2849235"/>
                <a:gd name="connsiteX3" fmla="*/ 2019719 w 11981169"/>
                <a:gd name="connsiteY3" fmla="*/ 14677 h 2849235"/>
                <a:gd name="connsiteX4" fmla="*/ 4531807 w 11981169"/>
                <a:gd name="connsiteY4" fmla="*/ 34774 h 2849235"/>
                <a:gd name="connsiteX5" fmla="*/ 6300317 w 11981169"/>
                <a:gd name="connsiteY5" fmla="*/ 64919 h 2849235"/>
                <a:gd name="connsiteX6" fmla="*/ 7063991 w 11981169"/>
                <a:gd name="connsiteY6" fmla="*/ 34774 h 2849235"/>
                <a:gd name="connsiteX7" fmla="*/ 8098972 w 11981169"/>
                <a:gd name="connsiteY7" fmla="*/ 64919 h 2849235"/>
                <a:gd name="connsiteX8" fmla="*/ 8956033 w 11981169"/>
                <a:gd name="connsiteY8" fmla="*/ 64919 h 2849235"/>
                <a:gd name="connsiteX9" fmla="*/ 10101769 w 11981169"/>
                <a:gd name="connsiteY9" fmla="*/ 4629 h 2849235"/>
                <a:gd name="connsiteX10" fmla="*/ 11745799 w 11981169"/>
                <a:gd name="connsiteY10" fmla="*/ 346275 h 2849235"/>
                <a:gd name="connsiteX11" fmla="*/ 11786160 w 11981169"/>
                <a:gd name="connsiteY11" fmla="*/ 2587055 h 2849235"/>
                <a:gd name="connsiteX12" fmla="*/ 10008159 w 11981169"/>
                <a:gd name="connsiteY12" fmla="*/ 2828216 h 2849235"/>
                <a:gd name="connsiteX13" fmla="*/ 9435402 w 11981169"/>
                <a:gd name="connsiteY13" fmla="*/ 2828216 h 2849235"/>
                <a:gd name="connsiteX14" fmla="*/ 7365442 w 11981169"/>
                <a:gd name="connsiteY14" fmla="*/ 2788023 h 2849235"/>
                <a:gd name="connsiteX15" fmla="*/ 6742444 w 11981169"/>
                <a:gd name="connsiteY15" fmla="*/ 2808119 h 2849235"/>
                <a:gd name="connsiteX16" fmla="*/ 6601767 w 11981169"/>
                <a:gd name="connsiteY16" fmla="*/ 2798071 h 2849235"/>
                <a:gd name="connsiteX17" fmla="*/ 4783016 w 11981169"/>
                <a:gd name="connsiteY17" fmla="*/ 2848313 h 2849235"/>
                <a:gd name="connsiteX18" fmla="*/ 3938954 w 11981169"/>
                <a:gd name="connsiteY18" fmla="*/ 2828216 h 2849235"/>
                <a:gd name="connsiteX19" fmla="*/ 2944167 w 11981169"/>
                <a:gd name="connsiteY19" fmla="*/ 2808119 h 2849235"/>
                <a:gd name="connsiteX20" fmla="*/ 1889090 w 11981169"/>
                <a:gd name="connsiteY20" fmla="*/ 2818168 h 2849235"/>
                <a:gd name="connsiteX21" fmla="*/ 12890 w 11981169"/>
                <a:gd name="connsiteY21" fmla="*/ 2798069 h 2849235"/>
                <a:gd name="connsiteX0" fmla="*/ 0 w 11940760"/>
                <a:gd name="connsiteY0" fmla="*/ 24144 h 2848653"/>
                <a:gd name="connsiteX1" fmla="*/ 552660 w 11940760"/>
                <a:gd name="connsiteY1" fmla="*/ 4047 h 2848653"/>
                <a:gd name="connsiteX2" fmla="*/ 1637882 w 11940760"/>
                <a:gd name="connsiteY2" fmla="*/ 14095 h 2848653"/>
                <a:gd name="connsiteX3" fmla="*/ 2019719 w 11940760"/>
                <a:gd name="connsiteY3" fmla="*/ 14095 h 2848653"/>
                <a:gd name="connsiteX4" fmla="*/ 4531807 w 11940760"/>
                <a:gd name="connsiteY4" fmla="*/ 34192 h 2848653"/>
                <a:gd name="connsiteX5" fmla="*/ 6300317 w 11940760"/>
                <a:gd name="connsiteY5" fmla="*/ 64337 h 2848653"/>
                <a:gd name="connsiteX6" fmla="*/ 7063991 w 11940760"/>
                <a:gd name="connsiteY6" fmla="*/ 34192 h 2848653"/>
                <a:gd name="connsiteX7" fmla="*/ 8098972 w 11940760"/>
                <a:gd name="connsiteY7" fmla="*/ 64337 h 2848653"/>
                <a:gd name="connsiteX8" fmla="*/ 8956033 w 11940760"/>
                <a:gd name="connsiteY8" fmla="*/ 64337 h 2848653"/>
                <a:gd name="connsiteX9" fmla="*/ 10101769 w 11940760"/>
                <a:gd name="connsiteY9" fmla="*/ 4047 h 2848653"/>
                <a:gd name="connsiteX10" fmla="*/ 11745799 w 11940760"/>
                <a:gd name="connsiteY10" fmla="*/ 345693 h 2848653"/>
                <a:gd name="connsiteX11" fmla="*/ 11716211 w 11940760"/>
                <a:gd name="connsiteY11" fmla="*/ 2566377 h 2848653"/>
                <a:gd name="connsiteX12" fmla="*/ 10008159 w 11940760"/>
                <a:gd name="connsiteY12" fmla="*/ 2827634 h 2848653"/>
                <a:gd name="connsiteX13" fmla="*/ 9435402 w 11940760"/>
                <a:gd name="connsiteY13" fmla="*/ 2827634 h 2848653"/>
                <a:gd name="connsiteX14" fmla="*/ 7365442 w 11940760"/>
                <a:gd name="connsiteY14" fmla="*/ 2787441 h 2848653"/>
                <a:gd name="connsiteX15" fmla="*/ 6742444 w 11940760"/>
                <a:gd name="connsiteY15" fmla="*/ 2807537 h 2848653"/>
                <a:gd name="connsiteX16" fmla="*/ 6601767 w 11940760"/>
                <a:gd name="connsiteY16" fmla="*/ 2797489 h 2848653"/>
                <a:gd name="connsiteX17" fmla="*/ 4783016 w 11940760"/>
                <a:gd name="connsiteY17" fmla="*/ 2847731 h 2848653"/>
                <a:gd name="connsiteX18" fmla="*/ 3938954 w 11940760"/>
                <a:gd name="connsiteY18" fmla="*/ 2827634 h 2848653"/>
                <a:gd name="connsiteX19" fmla="*/ 2944167 w 11940760"/>
                <a:gd name="connsiteY19" fmla="*/ 2807537 h 2848653"/>
                <a:gd name="connsiteX20" fmla="*/ 1889090 w 11940760"/>
                <a:gd name="connsiteY20" fmla="*/ 2817586 h 2848653"/>
                <a:gd name="connsiteX21" fmla="*/ 12890 w 11940760"/>
                <a:gd name="connsiteY21" fmla="*/ 2797487 h 2848653"/>
                <a:gd name="connsiteX0" fmla="*/ 0 w 12001276"/>
                <a:gd name="connsiteY0" fmla="*/ 24144 h 2848653"/>
                <a:gd name="connsiteX1" fmla="*/ 552660 w 12001276"/>
                <a:gd name="connsiteY1" fmla="*/ 4047 h 2848653"/>
                <a:gd name="connsiteX2" fmla="*/ 1637882 w 12001276"/>
                <a:gd name="connsiteY2" fmla="*/ 14095 h 2848653"/>
                <a:gd name="connsiteX3" fmla="*/ 2019719 w 12001276"/>
                <a:gd name="connsiteY3" fmla="*/ 14095 h 2848653"/>
                <a:gd name="connsiteX4" fmla="*/ 4531807 w 12001276"/>
                <a:gd name="connsiteY4" fmla="*/ 34192 h 2848653"/>
                <a:gd name="connsiteX5" fmla="*/ 6300317 w 12001276"/>
                <a:gd name="connsiteY5" fmla="*/ 64337 h 2848653"/>
                <a:gd name="connsiteX6" fmla="*/ 7063991 w 12001276"/>
                <a:gd name="connsiteY6" fmla="*/ 34192 h 2848653"/>
                <a:gd name="connsiteX7" fmla="*/ 8098972 w 12001276"/>
                <a:gd name="connsiteY7" fmla="*/ 64337 h 2848653"/>
                <a:gd name="connsiteX8" fmla="*/ 8956033 w 12001276"/>
                <a:gd name="connsiteY8" fmla="*/ 64337 h 2848653"/>
                <a:gd name="connsiteX9" fmla="*/ 10101769 w 12001276"/>
                <a:gd name="connsiteY9" fmla="*/ 4047 h 2848653"/>
                <a:gd name="connsiteX10" fmla="*/ 11745799 w 12001276"/>
                <a:gd name="connsiteY10" fmla="*/ 345693 h 2848653"/>
                <a:gd name="connsiteX11" fmla="*/ 11716211 w 12001276"/>
                <a:gd name="connsiteY11" fmla="*/ 2566377 h 2848653"/>
                <a:gd name="connsiteX12" fmla="*/ 10008159 w 12001276"/>
                <a:gd name="connsiteY12" fmla="*/ 2827634 h 2848653"/>
                <a:gd name="connsiteX13" fmla="*/ 9435402 w 12001276"/>
                <a:gd name="connsiteY13" fmla="*/ 2827634 h 2848653"/>
                <a:gd name="connsiteX14" fmla="*/ 7365442 w 12001276"/>
                <a:gd name="connsiteY14" fmla="*/ 2787441 h 2848653"/>
                <a:gd name="connsiteX15" fmla="*/ 6742444 w 12001276"/>
                <a:gd name="connsiteY15" fmla="*/ 2807537 h 2848653"/>
                <a:gd name="connsiteX16" fmla="*/ 6601767 w 12001276"/>
                <a:gd name="connsiteY16" fmla="*/ 2797489 h 2848653"/>
                <a:gd name="connsiteX17" fmla="*/ 4783016 w 12001276"/>
                <a:gd name="connsiteY17" fmla="*/ 2847731 h 2848653"/>
                <a:gd name="connsiteX18" fmla="*/ 3938954 w 12001276"/>
                <a:gd name="connsiteY18" fmla="*/ 2827634 h 2848653"/>
                <a:gd name="connsiteX19" fmla="*/ 2944167 w 12001276"/>
                <a:gd name="connsiteY19" fmla="*/ 2807537 h 2848653"/>
                <a:gd name="connsiteX20" fmla="*/ 1889090 w 12001276"/>
                <a:gd name="connsiteY20" fmla="*/ 2817586 h 2848653"/>
                <a:gd name="connsiteX21" fmla="*/ 12890 w 12001276"/>
                <a:gd name="connsiteY21" fmla="*/ 2797487 h 2848653"/>
                <a:gd name="connsiteX0" fmla="*/ 0 w 11892644"/>
                <a:gd name="connsiteY0" fmla="*/ 20953 h 2845462"/>
                <a:gd name="connsiteX1" fmla="*/ 552660 w 11892644"/>
                <a:gd name="connsiteY1" fmla="*/ 856 h 2845462"/>
                <a:gd name="connsiteX2" fmla="*/ 1637882 w 11892644"/>
                <a:gd name="connsiteY2" fmla="*/ 10904 h 2845462"/>
                <a:gd name="connsiteX3" fmla="*/ 2019719 w 11892644"/>
                <a:gd name="connsiteY3" fmla="*/ 10904 h 2845462"/>
                <a:gd name="connsiteX4" fmla="*/ 4531807 w 11892644"/>
                <a:gd name="connsiteY4" fmla="*/ 31001 h 2845462"/>
                <a:gd name="connsiteX5" fmla="*/ 6300317 w 11892644"/>
                <a:gd name="connsiteY5" fmla="*/ 61146 h 2845462"/>
                <a:gd name="connsiteX6" fmla="*/ 7063991 w 11892644"/>
                <a:gd name="connsiteY6" fmla="*/ 31001 h 2845462"/>
                <a:gd name="connsiteX7" fmla="*/ 8098972 w 11892644"/>
                <a:gd name="connsiteY7" fmla="*/ 61146 h 2845462"/>
                <a:gd name="connsiteX8" fmla="*/ 8956033 w 11892644"/>
                <a:gd name="connsiteY8" fmla="*/ 61146 h 2845462"/>
                <a:gd name="connsiteX9" fmla="*/ 10101769 w 11892644"/>
                <a:gd name="connsiteY9" fmla="*/ 856 h 2845462"/>
                <a:gd name="connsiteX10" fmla="*/ 11655866 w 11892644"/>
                <a:gd name="connsiteY10" fmla="*/ 362598 h 2845462"/>
                <a:gd name="connsiteX11" fmla="*/ 11716211 w 11892644"/>
                <a:gd name="connsiteY11" fmla="*/ 2563186 h 2845462"/>
                <a:gd name="connsiteX12" fmla="*/ 10008159 w 11892644"/>
                <a:gd name="connsiteY12" fmla="*/ 2824443 h 2845462"/>
                <a:gd name="connsiteX13" fmla="*/ 9435402 w 11892644"/>
                <a:gd name="connsiteY13" fmla="*/ 2824443 h 2845462"/>
                <a:gd name="connsiteX14" fmla="*/ 7365442 w 11892644"/>
                <a:gd name="connsiteY14" fmla="*/ 2784250 h 2845462"/>
                <a:gd name="connsiteX15" fmla="*/ 6742444 w 11892644"/>
                <a:gd name="connsiteY15" fmla="*/ 2804346 h 2845462"/>
                <a:gd name="connsiteX16" fmla="*/ 6601767 w 11892644"/>
                <a:gd name="connsiteY16" fmla="*/ 2794298 h 2845462"/>
                <a:gd name="connsiteX17" fmla="*/ 4783016 w 11892644"/>
                <a:gd name="connsiteY17" fmla="*/ 2844540 h 2845462"/>
                <a:gd name="connsiteX18" fmla="*/ 3938954 w 11892644"/>
                <a:gd name="connsiteY18" fmla="*/ 2824443 h 2845462"/>
                <a:gd name="connsiteX19" fmla="*/ 2944167 w 11892644"/>
                <a:gd name="connsiteY19" fmla="*/ 2804346 h 2845462"/>
                <a:gd name="connsiteX20" fmla="*/ 1889090 w 11892644"/>
                <a:gd name="connsiteY20" fmla="*/ 2814395 h 2845462"/>
                <a:gd name="connsiteX21" fmla="*/ 12890 w 11892644"/>
                <a:gd name="connsiteY21" fmla="*/ 2794296 h 2845462"/>
                <a:gd name="connsiteX0" fmla="*/ 0 w 11834291"/>
                <a:gd name="connsiteY0" fmla="*/ 20767 h 2845276"/>
                <a:gd name="connsiteX1" fmla="*/ 552660 w 11834291"/>
                <a:gd name="connsiteY1" fmla="*/ 670 h 2845276"/>
                <a:gd name="connsiteX2" fmla="*/ 1637882 w 11834291"/>
                <a:gd name="connsiteY2" fmla="*/ 10718 h 2845276"/>
                <a:gd name="connsiteX3" fmla="*/ 2019719 w 11834291"/>
                <a:gd name="connsiteY3" fmla="*/ 10718 h 2845276"/>
                <a:gd name="connsiteX4" fmla="*/ 4531807 w 11834291"/>
                <a:gd name="connsiteY4" fmla="*/ 30815 h 2845276"/>
                <a:gd name="connsiteX5" fmla="*/ 6300317 w 11834291"/>
                <a:gd name="connsiteY5" fmla="*/ 60960 h 2845276"/>
                <a:gd name="connsiteX6" fmla="*/ 7063991 w 11834291"/>
                <a:gd name="connsiteY6" fmla="*/ 30815 h 2845276"/>
                <a:gd name="connsiteX7" fmla="*/ 8098972 w 11834291"/>
                <a:gd name="connsiteY7" fmla="*/ 60960 h 2845276"/>
                <a:gd name="connsiteX8" fmla="*/ 8956033 w 11834291"/>
                <a:gd name="connsiteY8" fmla="*/ 60960 h 2845276"/>
                <a:gd name="connsiteX9" fmla="*/ 10101769 w 11834291"/>
                <a:gd name="connsiteY9" fmla="*/ 670 h 2845276"/>
                <a:gd name="connsiteX10" fmla="*/ 11655866 w 11834291"/>
                <a:gd name="connsiteY10" fmla="*/ 362412 h 2845276"/>
                <a:gd name="connsiteX11" fmla="*/ 11616285 w 11834291"/>
                <a:gd name="connsiteY11" fmla="*/ 2552952 h 2845276"/>
                <a:gd name="connsiteX12" fmla="*/ 10008159 w 11834291"/>
                <a:gd name="connsiteY12" fmla="*/ 2824257 h 2845276"/>
                <a:gd name="connsiteX13" fmla="*/ 9435402 w 11834291"/>
                <a:gd name="connsiteY13" fmla="*/ 2824257 h 2845276"/>
                <a:gd name="connsiteX14" fmla="*/ 7365442 w 11834291"/>
                <a:gd name="connsiteY14" fmla="*/ 2784064 h 2845276"/>
                <a:gd name="connsiteX15" fmla="*/ 6742444 w 11834291"/>
                <a:gd name="connsiteY15" fmla="*/ 2804160 h 2845276"/>
                <a:gd name="connsiteX16" fmla="*/ 6601767 w 11834291"/>
                <a:gd name="connsiteY16" fmla="*/ 2794112 h 2845276"/>
                <a:gd name="connsiteX17" fmla="*/ 4783016 w 11834291"/>
                <a:gd name="connsiteY17" fmla="*/ 2844354 h 2845276"/>
                <a:gd name="connsiteX18" fmla="*/ 3938954 w 11834291"/>
                <a:gd name="connsiteY18" fmla="*/ 2824257 h 2845276"/>
                <a:gd name="connsiteX19" fmla="*/ 2944167 w 11834291"/>
                <a:gd name="connsiteY19" fmla="*/ 2804160 h 2845276"/>
                <a:gd name="connsiteX20" fmla="*/ 1889090 w 11834291"/>
                <a:gd name="connsiteY20" fmla="*/ 2814209 h 2845276"/>
                <a:gd name="connsiteX21" fmla="*/ 12890 w 11834291"/>
                <a:gd name="connsiteY21" fmla="*/ 2794110 h 2845276"/>
                <a:gd name="connsiteX0" fmla="*/ 0 w 11903126"/>
                <a:gd name="connsiteY0" fmla="*/ 20767 h 2845276"/>
                <a:gd name="connsiteX1" fmla="*/ 552660 w 11903126"/>
                <a:gd name="connsiteY1" fmla="*/ 670 h 2845276"/>
                <a:gd name="connsiteX2" fmla="*/ 1637882 w 11903126"/>
                <a:gd name="connsiteY2" fmla="*/ 10718 h 2845276"/>
                <a:gd name="connsiteX3" fmla="*/ 2019719 w 11903126"/>
                <a:gd name="connsiteY3" fmla="*/ 10718 h 2845276"/>
                <a:gd name="connsiteX4" fmla="*/ 4531807 w 11903126"/>
                <a:gd name="connsiteY4" fmla="*/ 30815 h 2845276"/>
                <a:gd name="connsiteX5" fmla="*/ 6300317 w 11903126"/>
                <a:gd name="connsiteY5" fmla="*/ 60960 h 2845276"/>
                <a:gd name="connsiteX6" fmla="*/ 7063991 w 11903126"/>
                <a:gd name="connsiteY6" fmla="*/ 30815 h 2845276"/>
                <a:gd name="connsiteX7" fmla="*/ 8098972 w 11903126"/>
                <a:gd name="connsiteY7" fmla="*/ 60960 h 2845276"/>
                <a:gd name="connsiteX8" fmla="*/ 8956033 w 11903126"/>
                <a:gd name="connsiteY8" fmla="*/ 60960 h 2845276"/>
                <a:gd name="connsiteX9" fmla="*/ 10101769 w 11903126"/>
                <a:gd name="connsiteY9" fmla="*/ 670 h 2845276"/>
                <a:gd name="connsiteX10" fmla="*/ 11655866 w 11903126"/>
                <a:gd name="connsiteY10" fmla="*/ 362412 h 2845276"/>
                <a:gd name="connsiteX11" fmla="*/ 11616285 w 11903126"/>
                <a:gd name="connsiteY11" fmla="*/ 2552952 h 2845276"/>
                <a:gd name="connsiteX12" fmla="*/ 10008159 w 11903126"/>
                <a:gd name="connsiteY12" fmla="*/ 2824257 h 2845276"/>
                <a:gd name="connsiteX13" fmla="*/ 9435402 w 11903126"/>
                <a:gd name="connsiteY13" fmla="*/ 2824257 h 2845276"/>
                <a:gd name="connsiteX14" fmla="*/ 7365442 w 11903126"/>
                <a:gd name="connsiteY14" fmla="*/ 2784064 h 2845276"/>
                <a:gd name="connsiteX15" fmla="*/ 6742444 w 11903126"/>
                <a:gd name="connsiteY15" fmla="*/ 2804160 h 2845276"/>
                <a:gd name="connsiteX16" fmla="*/ 6601767 w 11903126"/>
                <a:gd name="connsiteY16" fmla="*/ 2794112 h 2845276"/>
                <a:gd name="connsiteX17" fmla="*/ 4783016 w 11903126"/>
                <a:gd name="connsiteY17" fmla="*/ 2844354 h 2845276"/>
                <a:gd name="connsiteX18" fmla="*/ 3938954 w 11903126"/>
                <a:gd name="connsiteY18" fmla="*/ 2824257 h 2845276"/>
                <a:gd name="connsiteX19" fmla="*/ 2944167 w 11903126"/>
                <a:gd name="connsiteY19" fmla="*/ 2804160 h 2845276"/>
                <a:gd name="connsiteX20" fmla="*/ 1889090 w 11903126"/>
                <a:gd name="connsiteY20" fmla="*/ 2814209 h 2845276"/>
                <a:gd name="connsiteX21" fmla="*/ 12890 w 11903126"/>
                <a:gd name="connsiteY21" fmla="*/ 2794110 h 2845276"/>
                <a:gd name="connsiteX0" fmla="*/ 0 w 11949884"/>
                <a:gd name="connsiteY0" fmla="*/ 20097 h 2844606"/>
                <a:gd name="connsiteX1" fmla="*/ 552660 w 11949884"/>
                <a:gd name="connsiteY1" fmla="*/ 0 h 2844606"/>
                <a:gd name="connsiteX2" fmla="*/ 1637882 w 11949884"/>
                <a:gd name="connsiteY2" fmla="*/ 10048 h 2844606"/>
                <a:gd name="connsiteX3" fmla="*/ 2019719 w 11949884"/>
                <a:gd name="connsiteY3" fmla="*/ 10048 h 2844606"/>
                <a:gd name="connsiteX4" fmla="*/ 4531807 w 11949884"/>
                <a:gd name="connsiteY4" fmla="*/ 30145 h 2844606"/>
                <a:gd name="connsiteX5" fmla="*/ 6300317 w 11949884"/>
                <a:gd name="connsiteY5" fmla="*/ 60290 h 2844606"/>
                <a:gd name="connsiteX6" fmla="*/ 7063991 w 11949884"/>
                <a:gd name="connsiteY6" fmla="*/ 30145 h 2844606"/>
                <a:gd name="connsiteX7" fmla="*/ 8098972 w 11949884"/>
                <a:gd name="connsiteY7" fmla="*/ 60290 h 2844606"/>
                <a:gd name="connsiteX8" fmla="*/ 8956033 w 11949884"/>
                <a:gd name="connsiteY8" fmla="*/ 60290 h 2844606"/>
                <a:gd name="connsiteX9" fmla="*/ 10101769 w 11949884"/>
                <a:gd name="connsiteY9" fmla="*/ 0 h 2844606"/>
                <a:gd name="connsiteX10" fmla="*/ 11655866 w 11949884"/>
                <a:gd name="connsiteY10" fmla="*/ 361742 h 2844606"/>
                <a:gd name="connsiteX11" fmla="*/ 11616285 w 11949884"/>
                <a:gd name="connsiteY11" fmla="*/ 2552282 h 2844606"/>
                <a:gd name="connsiteX12" fmla="*/ 10008159 w 11949884"/>
                <a:gd name="connsiteY12" fmla="*/ 2823587 h 2844606"/>
                <a:gd name="connsiteX13" fmla="*/ 9435402 w 11949884"/>
                <a:gd name="connsiteY13" fmla="*/ 2823587 h 2844606"/>
                <a:gd name="connsiteX14" fmla="*/ 7365442 w 11949884"/>
                <a:gd name="connsiteY14" fmla="*/ 2783394 h 2844606"/>
                <a:gd name="connsiteX15" fmla="*/ 6742444 w 11949884"/>
                <a:gd name="connsiteY15" fmla="*/ 2803490 h 2844606"/>
                <a:gd name="connsiteX16" fmla="*/ 6601767 w 11949884"/>
                <a:gd name="connsiteY16" fmla="*/ 2793442 h 2844606"/>
                <a:gd name="connsiteX17" fmla="*/ 4783016 w 11949884"/>
                <a:gd name="connsiteY17" fmla="*/ 2843684 h 2844606"/>
                <a:gd name="connsiteX18" fmla="*/ 3938954 w 11949884"/>
                <a:gd name="connsiteY18" fmla="*/ 2823587 h 2844606"/>
                <a:gd name="connsiteX19" fmla="*/ 2944167 w 11949884"/>
                <a:gd name="connsiteY19" fmla="*/ 2803490 h 2844606"/>
                <a:gd name="connsiteX20" fmla="*/ 1889090 w 11949884"/>
                <a:gd name="connsiteY20" fmla="*/ 2813539 h 2844606"/>
                <a:gd name="connsiteX21" fmla="*/ 12890 w 11949884"/>
                <a:gd name="connsiteY21" fmla="*/ 2793440 h 2844606"/>
                <a:gd name="connsiteX0" fmla="*/ 0 w 11868023"/>
                <a:gd name="connsiteY0" fmla="*/ 20097 h 2844606"/>
                <a:gd name="connsiteX1" fmla="*/ 552660 w 11868023"/>
                <a:gd name="connsiteY1" fmla="*/ 0 h 2844606"/>
                <a:gd name="connsiteX2" fmla="*/ 1637882 w 11868023"/>
                <a:gd name="connsiteY2" fmla="*/ 10048 h 2844606"/>
                <a:gd name="connsiteX3" fmla="*/ 2019719 w 11868023"/>
                <a:gd name="connsiteY3" fmla="*/ 10048 h 2844606"/>
                <a:gd name="connsiteX4" fmla="*/ 4531807 w 11868023"/>
                <a:gd name="connsiteY4" fmla="*/ 30145 h 2844606"/>
                <a:gd name="connsiteX5" fmla="*/ 6300317 w 11868023"/>
                <a:gd name="connsiteY5" fmla="*/ 60290 h 2844606"/>
                <a:gd name="connsiteX6" fmla="*/ 7063991 w 11868023"/>
                <a:gd name="connsiteY6" fmla="*/ 30145 h 2844606"/>
                <a:gd name="connsiteX7" fmla="*/ 8098972 w 11868023"/>
                <a:gd name="connsiteY7" fmla="*/ 60290 h 2844606"/>
                <a:gd name="connsiteX8" fmla="*/ 8956033 w 11868023"/>
                <a:gd name="connsiteY8" fmla="*/ 60290 h 2844606"/>
                <a:gd name="connsiteX9" fmla="*/ 10101769 w 11868023"/>
                <a:gd name="connsiteY9" fmla="*/ 0 h 2844606"/>
                <a:gd name="connsiteX10" fmla="*/ 11625888 w 11868023"/>
                <a:gd name="connsiteY10" fmla="*/ 351694 h 2844606"/>
                <a:gd name="connsiteX11" fmla="*/ 11616285 w 11868023"/>
                <a:gd name="connsiteY11" fmla="*/ 2552282 h 2844606"/>
                <a:gd name="connsiteX12" fmla="*/ 10008159 w 11868023"/>
                <a:gd name="connsiteY12" fmla="*/ 2823587 h 2844606"/>
                <a:gd name="connsiteX13" fmla="*/ 9435402 w 11868023"/>
                <a:gd name="connsiteY13" fmla="*/ 2823587 h 2844606"/>
                <a:gd name="connsiteX14" fmla="*/ 7365442 w 11868023"/>
                <a:gd name="connsiteY14" fmla="*/ 2783394 h 2844606"/>
                <a:gd name="connsiteX15" fmla="*/ 6742444 w 11868023"/>
                <a:gd name="connsiteY15" fmla="*/ 2803490 h 2844606"/>
                <a:gd name="connsiteX16" fmla="*/ 6601767 w 11868023"/>
                <a:gd name="connsiteY16" fmla="*/ 2793442 h 2844606"/>
                <a:gd name="connsiteX17" fmla="*/ 4783016 w 11868023"/>
                <a:gd name="connsiteY17" fmla="*/ 2843684 h 2844606"/>
                <a:gd name="connsiteX18" fmla="*/ 3938954 w 11868023"/>
                <a:gd name="connsiteY18" fmla="*/ 2823587 h 2844606"/>
                <a:gd name="connsiteX19" fmla="*/ 2944167 w 11868023"/>
                <a:gd name="connsiteY19" fmla="*/ 2803490 h 2844606"/>
                <a:gd name="connsiteX20" fmla="*/ 1889090 w 11868023"/>
                <a:gd name="connsiteY20" fmla="*/ 2813539 h 2844606"/>
                <a:gd name="connsiteX21" fmla="*/ 12890 w 11868023"/>
                <a:gd name="connsiteY21" fmla="*/ 2793440 h 2844606"/>
                <a:gd name="connsiteX0" fmla="*/ 0 w 11911375"/>
                <a:gd name="connsiteY0" fmla="*/ 20097 h 2844606"/>
                <a:gd name="connsiteX1" fmla="*/ 552660 w 11911375"/>
                <a:gd name="connsiteY1" fmla="*/ 0 h 2844606"/>
                <a:gd name="connsiteX2" fmla="*/ 1637882 w 11911375"/>
                <a:gd name="connsiteY2" fmla="*/ 10048 h 2844606"/>
                <a:gd name="connsiteX3" fmla="*/ 2019719 w 11911375"/>
                <a:gd name="connsiteY3" fmla="*/ 10048 h 2844606"/>
                <a:gd name="connsiteX4" fmla="*/ 4531807 w 11911375"/>
                <a:gd name="connsiteY4" fmla="*/ 30145 h 2844606"/>
                <a:gd name="connsiteX5" fmla="*/ 6300317 w 11911375"/>
                <a:gd name="connsiteY5" fmla="*/ 60290 h 2844606"/>
                <a:gd name="connsiteX6" fmla="*/ 7063991 w 11911375"/>
                <a:gd name="connsiteY6" fmla="*/ 30145 h 2844606"/>
                <a:gd name="connsiteX7" fmla="*/ 8098972 w 11911375"/>
                <a:gd name="connsiteY7" fmla="*/ 60290 h 2844606"/>
                <a:gd name="connsiteX8" fmla="*/ 8956033 w 11911375"/>
                <a:gd name="connsiteY8" fmla="*/ 60290 h 2844606"/>
                <a:gd name="connsiteX9" fmla="*/ 10101769 w 11911375"/>
                <a:gd name="connsiteY9" fmla="*/ 0 h 2844606"/>
                <a:gd name="connsiteX10" fmla="*/ 11625888 w 11911375"/>
                <a:gd name="connsiteY10" fmla="*/ 351694 h 2844606"/>
                <a:gd name="connsiteX11" fmla="*/ 11616285 w 11911375"/>
                <a:gd name="connsiteY11" fmla="*/ 2552282 h 2844606"/>
                <a:gd name="connsiteX12" fmla="*/ 10008159 w 11911375"/>
                <a:gd name="connsiteY12" fmla="*/ 2823587 h 2844606"/>
                <a:gd name="connsiteX13" fmla="*/ 9435402 w 11911375"/>
                <a:gd name="connsiteY13" fmla="*/ 2823587 h 2844606"/>
                <a:gd name="connsiteX14" fmla="*/ 7365442 w 11911375"/>
                <a:gd name="connsiteY14" fmla="*/ 2783394 h 2844606"/>
                <a:gd name="connsiteX15" fmla="*/ 6742444 w 11911375"/>
                <a:gd name="connsiteY15" fmla="*/ 2803490 h 2844606"/>
                <a:gd name="connsiteX16" fmla="*/ 6601767 w 11911375"/>
                <a:gd name="connsiteY16" fmla="*/ 2793442 h 2844606"/>
                <a:gd name="connsiteX17" fmla="*/ 4783016 w 11911375"/>
                <a:gd name="connsiteY17" fmla="*/ 2843684 h 2844606"/>
                <a:gd name="connsiteX18" fmla="*/ 3938954 w 11911375"/>
                <a:gd name="connsiteY18" fmla="*/ 2823587 h 2844606"/>
                <a:gd name="connsiteX19" fmla="*/ 2944167 w 11911375"/>
                <a:gd name="connsiteY19" fmla="*/ 2803490 h 2844606"/>
                <a:gd name="connsiteX20" fmla="*/ 1889090 w 11911375"/>
                <a:gd name="connsiteY20" fmla="*/ 2813539 h 2844606"/>
                <a:gd name="connsiteX21" fmla="*/ 12890 w 11911375"/>
                <a:gd name="connsiteY21" fmla="*/ 2793440 h 2844606"/>
                <a:gd name="connsiteX0" fmla="*/ 0 w 11932818"/>
                <a:gd name="connsiteY0" fmla="*/ 20097 h 2844606"/>
                <a:gd name="connsiteX1" fmla="*/ 552660 w 11932818"/>
                <a:gd name="connsiteY1" fmla="*/ 0 h 2844606"/>
                <a:gd name="connsiteX2" fmla="*/ 1637882 w 11932818"/>
                <a:gd name="connsiteY2" fmla="*/ 10048 h 2844606"/>
                <a:gd name="connsiteX3" fmla="*/ 2019719 w 11932818"/>
                <a:gd name="connsiteY3" fmla="*/ 10048 h 2844606"/>
                <a:gd name="connsiteX4" fmla="*/ 4531807 w 11932818"/>
                <a:gd name="connsiteY4" fmla="*/ 30145 h 2844606"/>
                <a:gd name="connsiteX5" fmla="*/ 6300317 w 11932818"/>
                <a:gd name="connsiteY5" fmla="*/ 60290 h 2844606"/>
                <a:gd name="connsiteX6" fmla="*/ 7063991 w 11932818"/>
                <a:gd name="connsiteY6" fmla="*/ 30145 h 2844606"/>
                <a:gd name="connsiteX7" fmla="*/ 8098972 w 11932818"/>
                <a:gd name="connsiteY7" fmla="*/ 60290 h 2844606"/>
                <a:gd name="connsiteX8" fmla="*/ 8956033 w 11932818"/>
                <a:gd name="connsiteY8" fmla="*/ 60290 h 2844606"/>
                <a:gd name="connsiteX9" fmla="*/ 10101769 w 11932818"/>
                <a:gd name="connsiteY9" fmla="*/ 0 h 2844606"/>
                <a:gd name="connsiteX10" fmla="*/ 11625888 w 11932818"/>
                <a:gd name="connsiteY10" fmla="*/ 351694 h 2844606"/>
                <a:gd name="connsiteX11" fmla="*/ 11616285 w 11932818"/>
                <a:gd name="connsiteY11" fmla="*/ 2552282 h 2844606"/>
                <a:gd name="connsiteX12" fmla="*/ 10008159 w 11932818"/>
                <a:gd name="connsiteY12" fmla="*/ 2823587 h 2844606"/>
                <a:gd name="connsiteX13" fmla="*/ 9435402 w 11932818"/>
                <a:gd name="connsiteY13" fmla="*/ 2823587 h 2844606"/>
                <a:gd name="connsiteX14" fmla="*/ 7365442 w 11932818"/>
                <a:gd name="connsiteY14" fmla="*/ 2783394 h 2844606"/>
                <a:gd name="connsiteX15" fmla="*/ 6742444 w 11932818"/>
                <a:gd name="connsiteY15" fmla="*/ 2803490 h 2844606"/>
                <a:gd name="connsiteX16" fmla="*/ 6601767 w 11932818"/>
                <a:gd name="connsiteY16" fmla="*/ 2793442 h 2844606"/>
                <a:gd name="connsiteX17" fmla="*/ 4783016 w 11932818"/>
                <a:gd name="connsiteY17" fmla="*/ 2843684 h 2844606"/>
                <a:gd name="connsiteX18" fmla="*/ 3938954 w 11932818"/>
                <a:gd name="connsiteY18" fmla="*/ 2823587 h 2844606"/>
                <a:gd name="connsiteX19" fmla="*/ 2944167 w 11932818"/>
                <a:gd name="connsiteY19" fmla="*/ 2803490 h 2844606"/>
                <a:gd name="connsiteX20" fmla="*/ 1889090 w 11932818"/>
                <a:gd name="connsiteY20" fmla="*/ 2813539 h 2844606"/>
                <a:gd name="connsiteX21" fmla="*/ 12890 w 11932818"/>
                <a:gd name="connsiteY21" fmla="*/ 2793440 h 2844606"/>
                <a:gd name="connsiteX0" fmla="*/ 0 w 11932818"/>
                <a:gd name="connsiteY0" fmla="*/ 20097 h 2844606"/>
                <a:gd name="connsiteX1" fmla="*/ 552660 w 11932818"/>
                <a:gd name="connsiteY1" fmla="*/ 0 h 2844606"/>
                <a:gd name="connsiteX2" fmla="*/ 1637882 w 11932818"/>
                <a:gd name="connsiteY2" fmla="*/ 10048 h 2844606"/>
                <a:gd name="connsiteX3" fmla="*/ 2019719 w 11932818"/>
                <a:gd name="connsiteY3" fmla="*/ 10048 h 2844606"/>
                <a:gd name="connsiteX4" fmla="*/ 4531807 w 11932818"/>
                <a:gd name="connsiteY4" fmla="*/ 30145 h 2844606"/>
                <a:gd name="connsiteX5" fmla="*/ 6300317 w 11932818"/>
                <a:gd name="connsiteY5" fmla="*/ 60290 h 2844606"/>
                <a:gd name="connsiteX6" fmla="*/ 7063991 w 11932818"/>
                <a:gd name="connsiteY6" fmla="*/ 30145 h 2844606"/>
                <a:gd name="connsiteX7" fmla="*/ 8098972 w 11932818"/>
                <a:gd name="connsiteY7" fmla="*/ 60290 h 2844606"/>
                <a:gd name="connsiteX8" fmla="*/ 8956033 w 11932818"/>
                <a:gd name="connsiteY8" fmla="*/ 60290 h 2844606"/>
                <a:gd name="connsiteX9" fmla="*/ 10101769 w 11932818"/>
                <a:gd name="connsiteY9" fmla="*/ 0 h 2844606"/>
                <a:gd name="connsiteX10" fmla="*/ 11625888 w 11932818"/>
                <a:gd name="connsiteY10" fmla="*/ 351694 h 2844606"/>
                <a:gd name="connsiteX11" fmla="*/ 11616285 w 11932818"/>
                <a:gd name="connsiteY11" fmla="*/ 2552282 h 2844606"/>
                <a:gd name="connsiteX12" fmla="*/ 10008159 w 11932818"/>
                <a:gd name="connsiteY12" fmla="*/ 2823587 h 2844606"/>
                <a:gd name="connsiteX13" fmla="*/ 9435402 w 11932818"/>
                <a:gd name="connsiteY13" fmla="*/ 2823587 h 2844606"/>
                <a:gd name="connsiteX14" fmla="*/ 7365442 w 11932818"/>
                <a:gd name="connsiteY14" fmla="*/ 2783394 h 2844606"/>
                <a:gd name="connsiteX15" fmla="*/ 7438490 w 11932818"/>
                <a:gd name="connsiteY15" fmla="*/ 2776911 h 2844606"/>
                <a:gd name="connsiteX16" fmla="*/ 6742444 w 11932818"/>
                <a:gd name="connsiteY16" fmla="*/ 2803490 h 2844606"/>
                <a:gd name="connsiteX17" fmla="*/ 6601767 w 11932818"/>
                <a:gd name="connsiteY17" fmla="*/ 2793442 h 2844606"/>
                <a:gd name="connsiteX18" fmla="*/ 4783016 w 11932818"/>
                <a:gd name="connsiteY18" fmla="*/ 2843684 h 2844606"/>
                <a:gd name="connsiteX19" fmla="*/ 3938954 w 11932818"/>
                <a:gd name="connsiteY19" fmla="*/ 2823587 h 2844606"/>
                <a:gd name="connsiteX20" fmla="*/ 2944167 w 11932818"/>
                <a:gd name="connsiteY20" fmla="*/ 2803490 h 2844606"/>
                <a:gd name="connsiteX21" fmla="*/ 1889090 w 11932818"/>
                <a:gd name="connsiteY21" fmla="*/ 2813539 h 2844606"/>
                <a:gd name="connsiteX22" fmla="*/ 12890 w 11932818"/>
                <a:gd name="connsiteY22" fmla="*/ 2793440 h 2844606"/>
                <a:gd name="connsiteX0" fmla="*/ 0 w 11932818"/>
                <a:gd name="connsiteY0" fmla="*/ 20097 h 2844606"/>
                <a:gd name="connsiteX1" fmla="*/ 552660 w 11932818"/>
                <a:gd name="connsiteY1" fmla="*/ 0 h 2844606"/>
                <a:gd name="connsiteX2" fmla="*/ 1637882 w 11932818"/>
                <a:gd name="connsiteY2" fmla="*/ 10048 h 2844606"/>
                <a:gd name="connsiteX3" fmla="*/ 2019719 w 11932818"/>
                <a:gd name="connsiteY3" fmla="*/ 10048 h 2844606"/>
                <a:gd name="connsiteX4" fmla="*/ 4531807 w 11932818"/>
                <a:gd name="connsiteY4" fmla="*/ 30145 h 2844606"/>
                <a:gd name="connsiteX5" fmla="*/ 6300317 w 11932818"/>
                <a:gd name="connsiteY5" fmla="*/ 60290 h 2844606"/>
                <a:gd name="connsiteX6" fmla="*/ 7063991 w 11932818"/>
                <a:gd name="connsiteY6" fmla="*/ 30145 h 2844606"/>
                <a:gd name="connsiteX7" fmla="*/ 8098972 w 11932818"/>
                <a:gd name="connsiteY7" fmla="*/ 60290 h 2844606"/>
                <a:gd name="connsiteX8" fmla="*/ 8956033 w 11932818"/>
                <a:gd name="connsiteY8" fmla="*/ 60290 h 2844606"/>
                <a:gd name="connsiteX9" fmla="*/ 10101769 w 11932818"/>
                <a:gd name="connsiteY9" fmla="*/ 0 h 2844606"/>
                <a:gd name="connsiteX10" fmla="*/ 11625888 w 11932818"/>
                <a:gd name="connsiteY10" fmla="*/ 351694 h 2844606"/>
                <a:gd name="connsiteX11" fmla="*/ 11616285 w 11932818"/>
                <a:gd name="connsiteY11" fmla="*/ 2552282 h 2844606"/>
                <a:gd name="connsiteX12" fmla="*/ 10008159 w 11932818"/>
                <a:gd name="connsiteY12" fmla="*/ 2823587 h 2844606"/>
                <a:gd name="connsiteX13" fmla="*/ 7365442 w 11932818"/>
                <a:gd name="connsiteY13" fmla="*/ 2783394 h 2844606"/>
                <a:gd name="connsiteX14" fmla="*/ 7438490 w 11932818"/>
                <a:gd name="connsiteY14" fmla="*/ 2776911 h 2844606"/>
                <a:gd name="connsiteX15" fmla="*/ 6742444 w 11932818"/>
                <a:gd name="connsiteY15" fmla="*/ 2803490 h 2844606"/>
                <a:gd name="connsiteX16" fmla="*/ 6601767 w 11932818"/>
                <a:gd name="connsiteY16" fmla="*/ 2793442 h 2844606"/>
                <a:gd name="connsiteX17" fmla="*/ 4783016 w 11932818"/>
                <a:gd name="connsiteY17" fmla="*/ 2843684 h 2844606"/>
                <a:gd name="connsiteX18" fmla="*/ 3938954 w 11932818"/>
                <a:gd name="connsiteY18" fmla="*/ 2823587 h 2844606"/>
                <a:gd name="connsiteX19" fmla="*/ 2944167 w 11932818"/>
                <a:gd name="connsiteY19" fmla="*/ 2803490 h 2844606"/>
                <a:gd name="connsiteX20" fmla="*/ 1889090 w 11932818"/>
                <a:gd name="connsiteY20" fmla="*/ 2813539 h 2844606"/>
                <a:gd name="connsiteX21" fmla="*/ 12890 w 11932818"/>
                <a:gd name="connsiteY21" fmla="*/ 2793440 h 2844606"/>
                <a:gd name="connsiteX0" fmla="*/ 0 w 12056788"/>
                <a:gd name="connsiteY0" fmla="*/ 20097 h 2844606"/>
                <a:gd name="connsiteX1" fmla="*/ 552660 w 12056788"/>
                <a:gd name="connsiteY1" fmla="*/ 0 h 2844606"/>
                <a:gd name="connsiteX2" fmla="*/ 1637882 w 12056788"/>
                <a:gd name="connsiteY2" fmla="*/ 10048 h 2844606"/>
                <a:gd name="connsiteX3" fmla="*/ 2019719 w 12056788"/>
                <a:gd name="connsiteY3" fmla="*/ 10048 h 2844606"/>
                <a:gd name="connsiteX4" fmla="*/ 4531807 w 12056788"/>
                <a:gd name="connsiteY4" fmla="*/ 30145 h 2844606"/>
                <a:gd name="connsiteX5" fmla="*/ 6300317 w 12056788"/>
                <a:gd name="connsiteY5" fmla="*/ 60290 h 2844606"/>
                <a:gd name="connsiteX6" fmla="*/ 7063991 w 12056788"/>
                <a:gd name="connsiteY6" fmla="*/ 30145 h 2844606"/>
                <a:gd name="connsiteX7" fmla="*/ 8098972 w 12056788"/>
                <a:gd name="connsiteY7" fmla="*/ 60290 h 2844606"/>
                <a:gd name="connsiteX8" fmla="*/ 8956033 w 12056788"/>
                <a:gd name="connsiteY8" fmla="*/ 60290 h 2844606"/>
                <a:gd name="connsiteX9" fmla="*/ 10101769 w 12056788"/>
                <a:gd name="connsiteY9" fmla="*/ 0 h 2844606"/>
                <a:gd name="connsiteX10" fmla="*/ 11625888 w 12056788"/>
                <a:gd name="connsiteY10" fmla="*/ 351694 h 2844606"/>
                <a:gd name="connsiteX11" fmla="*/ 11616285 w 12056788"/>
                <a:gd name="connsiteY11" fmla="*/ 2552282 h 2844606"/>
                <a:gd name="connsiteX12" fmla="*/ 7365442 w 12056788"/>
                <a:gd name="connsiteY12" fmla="*/ 2783394 h 2844606"/>
                <a:gd name="connsiteX13" fmla="*/ 7438490 w 12056788"/>
                <a:gd name="connsiteY13" fmla="*/ 2776911 h 2844606"/>
                <a:gd name="connsiteX14" fmla="*/ 6742444 w 12056788"/>
                <a:gd name="connsiteY14" fmla="*/ 2803490 h 2844606"/>
                <a:gd name="connsiteX15" fmla="*/ 6601767 w 12056788"/>
                <a:gd name="connsiteY15" fmla="*/ 2793442 h 2844606"/>
                <a:gd name="connsiteX16" fmla="*/ 4783016 w 12056788"/>
                <a:gd name="connsiteY16" fmla="*/ 2843684 h 2844606"/>
                <a:gd name="connsiteX17" fmla="*/ 3938954 w 12056788"/>
                <a:gd name="connsiteY17" fmla="*/ 2823587 h 2844606"/>
                <a:gd name="connsiteX18" fmla="*/ 2944167 w 12056788"/>
                <a:gd name="connsiteY18" fmla="*/ 2803490 h 2844606"/>
                <a:gd name="connsiteX19" fmla="*/ 1889090 w 12056788"/>
                <a:gd name="connsiteY19" fmla="*/ 2813539 h 2844606"/>
                <a:gd name="connsiteX20" fmla="*/ 12890 w 12056788"/>
                <a:gd name="connsiteY20" fmla="*/ 2793440 h 2844606"/>
                <a:gd name="connsiteX0" fmla="*/ 0 w 11704427"/>
                <a:gd name="connsiteY0" fmla="*/ 29047 h 2853556"/>
                <a:gd name="connsiteX1" fmla="*/ 552660 w 11704427"/>
                <a:gd name="connsiteY1" fmla="*/ 8950 h 2853556"/>
                <a:gd name="connsiteX2" fmla="*/ 1637882 w 11704427"/>
                <a:gd name="connsiteY2" fmla="*/ 18998 h 2853556"/>
                <a:gd name="connsiteX3" fmla="*/ 2019719 w 11704427"/>
                <a:gd name="connsiteY3" fmla="*/ 18998 h 2853556"/>
                <a:gd name="connsiteX4" fmla="*/ 4531807 w 11704427"/>
                <a:gd name="connsiteY4" fmla="*/ 39095 h 2853556"/>
                <a:gd name="connsiteX5" fmla="*/ 6300317 w 11704427"/>
                <a:gd name="connsiteY5" fmla="*/ 69240 h 2853556"/>
                <a:gd name="connsiteX6" fmla="*/ 7063991 w 11704427"/>
                <a:gd name="connsiteY6" fmla="*/ 39095 h 2853556"/>
                <a:gd name="connsiteX7" fmla="*/ 8098972 w 11704427"/>
                <a:gd name="connsiteY7" fmla="*/ 69240 h 2853556"/>
                <a:gd name="connsiteX8" fmla="*/ 8956033 w 11704427"/>
                <a:gd name="connsiteY8" fmla="*/ 69240 h 2853556"/>
                <a:gd name="connsiteX9" fmla="*/ 10101769 w 11704427"/>
                <a:gd name="connsiteY9" fmla="*/ 8950 h 2853556"/>
                <a:gd name="connsiteX10" fmla="*/ 11625888 w 11704427"/>
                <a:gd name="connsiteY10" fmla="*/ 360644 h 2853556"/>
                <a:gd name="connsiteX11" fmla="*/ 7365442 w 11704427"/>
                <a:gd name="connsiteY11" fmla="*/ 2792344 h 2853556"/>
                <a:gd name="connsiteX12" fmla="*/ 7438490 w 11704427"/>
                <a:gd name="connsiteY12" fmla="*/ 2785861 h 2853556"/>
                <a:gd name="connsiteX13" fmla="*/ 6742444 w 11704427"/>
                <a:gd name="connsiteY13" fmla="*/ 2812440 h 2853556"/>
                <a:gd name="connsiteX14" fmla="*/ 6601767 w 11704427"/>
                <a:gd name="connsiteY14" fmla="*/ 2802392 h 2853556"/>
                <a:gd name="connsiteX15" fmla="*/ 4783016 w 11704427"/>
                <a:gd name="connsiteY15" fmla="*/ 2852634 h 2853556"/>
                <a:gd name="connsiteX16" fmla="*/ 3938954 w 11704427"/>
                <a:gd name="connsiteY16" fmla="*/ 2832537 h 2853556"/>
                <a:gd name="connsiteX17" fmla="*/ 2944167 w 11704427"/>
                <a:gd name="connsiteY17" fmla="*/ 2812440 h 2853556"/>
                <a:gd name="connsiteX18" fmla="*/ 1889090 w 11704427"/>
                <a:gd name="connsiteY18" fmla="*/ 2822489 h 2853556"/>
                <a:gd name="connsiteX19" fmla="*/ 12890 w 11704427"/>
                <a:gd name="connsiteY19" fmla="*/ 2802390 h 2853556"/>
                <a:gd name="connsiteX0" fmla="*/ 0 w 10101769"/>
                <a:gd name="connsiteY0" fmla="*/ 20097 h 2844606"/>
                <a:gd name="connsiteX1" fmla="*/ 552660 w 10101769"/>
                <a:gd name="connsiteY1" fmla="*/ 0 h 2844606"/>
                <a:gd name="connsiteX2" fmla="*/ 1637882 w 10101769"/>
                <a:gd name="connsiteY2" fmla="*/ 10048 h 2844606"/>
                <a:gd name="connsiteX3" fmla="*/ 2019719 w 10101769"/>
                <a:gd name="connsiteY3" fmla="*/ 10048 h 2844606"/>
                <a:gd name="connsiteX4" fmla="*/ 4531807 w 10101769"/>
                <a:gd name="connsiteY4" fmla="*/ 30145 h 2844606"/>
                <a:gd name="connsiteX5" fmla="*/ 6300317 w 10101769"/>
                <a:gd name="connsiteY5" fmla="*/ 60290 h 2844606"/>
                <a:gd name="connsiteX6" fmla="*/ 7063991 w 10101769"/>
                <a:gd name="connsiteY6" fmla="*/ 30145 h 2844606"/>
                <a:gd name="connsiteX7" fmla="*/ 8098972 w 10101769"/>
                <a:gd name="connsiteY7" fmla="*/ 60290 h 2844606"/>
                <a:gd name="connsiteX8" fmla="*/ 8956033 w 10101769"/>
                <a:gd name="connsiteY8" fmla="*/ 60290 h 2844606"/>
                <a:gd name="connsiteX9" fmla="*/ 10101769 w 10101769"/>
                <a:gd name="connsiteY9" fmla="*/ 0 h 2844606"/>
                <a:gd name="connsiteX10" fmla="*/ 7365442 w 10101769"/>
                <a:gd name="connsiteY10" fmla="*/ 2783394 h 2844606"/>
                <a:gd name="connsiteX11" fmla="*/ 7438490 w 10101769"/>
                <a:gd name="connsiteY11" fmla="*/ 2776911 h 2844606"/>
                <a:gd name="connsiteX12" fmla="*/ 6742444 w 10101769"/>
                <a:gd name="connsiteY12" fmla="*/ 2803490 h 2844606"/>
                <a:gd name="connsiteX13" fmla="*/ 6601767 w 10101769"/>
                <a:gd name="connsiteY13" fmla="*/ 2793442 h 2844606"/>
                <a:gd name="connsiteX14" fmla="*/ 4783016 w 10101769"/>
                <a:gd name="connsiteY14" fmla="*/ 2843684 h 2844606"/>
                <a:gd name="connsiteX15" fmla="*/ 3938954 w 10101769"/>
                <a:gd name="connsiteY15" fmla="*/ 2823587 h 2844606"/>
                <a:gd name="connsiteX16" fmla="*/ 2944167 w 10101769"/>
                <a:gd name="connsiteY16" fmla="*/ 2803490 h 2844606"/>
                <a:gd name="connsiteX17" fmla="*/ 1889090 w 10101769"/>
                <a:gd name="connsiteY17" fmla="*/ 2813539 h 2844606"/>
                <a:gd name="connsiteX18" fmla="*/ 12890 w 10101769"/>
                <a:gd name="connsiteY18" fmla="*/ 2793440 h 2844606"/>
                <a:gd name="connsiteX0" fmla="*/ 0 w 8956033"/>
                <a:gd name="connsiteY0" fmla="*/ 20097 h 2844606"/>
                <a:gd name="connsiteX1" fmla="*/ 552660 w 8956033"/>
                <a:gd name="connsiteY1" fmla="*/ 0 h 2844606"/>
                <a:gd name="connsiteX2" fmla="*/ 1637882 w 8956033"/>
                <a:gd name="connsiteY2" fmla="*/ 10048 h 2844606"/>
                <a:gd name="connsiteX3" fmla="*/ 2019719 w 8956033"/>
                <a:gd name="connsiteY3" fmla="*/ 10048 h 2844606"/>
                <a:gd name="connsiteX4" fmla="*/ 4531807 w 8956033"/>
                <a:gd name="connsiteY4" fmla="*/ 30145 h 2844606"/>
                <a:gd name="connsiteX5" fmla="*/ 6300317 w 8956033"/>
                <a:gd name="connsiteY5" fmla="*/ 60290 h 2844606"/>
                <a:gd name="connsiteX6" fmla="*/ 7063991 w 8956033"/>
                <a:gd name="connsiteY6" fmla="*/ 30145 h 2844606"/>
                <a:gd name="connsiteX7" fmla="*/ 8098972 w 8956033"/>
                <a:gd name="connsiteY7" fmla="*/ 60290 h 2844606"/>
                <a:gd name="connsiteX8" fmla="*/ 8956033 w 8956033"/>
                <a:gd name="connsiteY8" fmla="*/ 60290 h 2844606"/>
                <a:gd name="connsiteX9" fmla="*/ 7365442 w 8956033"/>
                <a:gd name="connsiteY9" fmla="*/ 2783394 h 2844606"/>
                <a:gd name="connsiteX10" fmla="*/ 7438490 w 8956033"/>
                <a:gd name="connsiteY10" fmla="*/ 2776911 h 2844606"/>
                <a:gd name="connsiteX11" fmla="*/ 6742444 w 8956033"/>
                <a:gd name="connsiteY11" fmla="*/ 2803490 h 2844606"/>
                <a:gd name="connsiteX12" fmla="*/ 6601767 w 8956033"/>
                <a:gd name="connsiteY12" fmla="*/ 2793442 h 2844606"/>
                <a:gd name="connsiteX13" fmla="*/ 4783016 w 8956033"/>
                <a:gd name="connsiteY13" fmla="*/ 2843684 h 2844606"/>
                <a:gd name="connsiteX14" fmla="*/ 3938954 w 8956033"/>
                <a:gd name="connsiteY14" fmla="*/ 2823587 h 2844606"/>
                <a:gd name="connsiteX15" fmla="*/ 2944167 w 8956033"/>
                <a:gd name="connsiteY15" fmla="*/ 2803490 h 2844606"/>
                <a:gd name="connsiteX16" fmla="*/ 1889090 w 8956033"/>
                <a:gd name="connsiteY16" fmla="*/ 2813539 h 2844606"/>
                <a:gd name="connsiteX17" fmla="*/ 12890 w 8956033"/>
                <a:gd name="connsiteY17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2006829 w 8943143"/>
                <a:gd name="connsiteY2" fmla="*/ 10048 h 2844606"/>
                <a:gd name="connsiteX3" fmla="*/ 4518917 w 8943143"/>
                <a:gd name="connsiteY3" fmla="*/ 30145 h 2844606"/>
                <a:gd name="connsiteX4" fmla="*/ 6287427 w 8943143"/>
                <a:gd name="connsiteY4" fmla="*/ 60290 h 2844606"/>
                <a:gd name="connsiteX5" fmla="*/ 7051101 w 8943143"/>
                <a:gd name="connsiteY5" fmla="*/ 30145 h 2844606"/>
                <a:gd name="connsiteX6" fmla="*/ 8086082 w 8943143"/>
                <a:gd name="connsiteY6" fmla="*/ 60290 h 2844606"/>
                <a:gd name="connsiteX7" fmla="*/ 8943143 w 8943143"/>
                <a:gd name="connsiteY7" fmla="*/ 60290 h 2844606"/>
                <a:gd name="connsiteX8" fmla="*/ 7352552 w 8943143"/>
                <a:gd name="connsiteY8" fmla="*/ 2783394 h 2844606"/>
                <a:gd name="connsiteX9" fmla="*/ 7425600 w 8943143"/>
                <a:gd name="connsiteY9" fmla="*/ 2776911 h 2844606"/>
                <a:gd name="connsiteX10" fmla="*/ 6729554 w 8943143"/>
                <a:gd name="connsiteY10" fmla="*/ 2803490 h 2844606"/>
                <a:gd name="connsiteX11" fmla="*/ 6588877 w 8943143"/>
                <a:gd name="connsiteY11" fmla="*/ 2793442 h 2844606"/>
                <a:gd name="connsiteX12" fmla="*/ 4770126 w 8943143"/>
                <a:gd name="connsiteY12" fmla="*/ 2843684 h 2844606"/>
                <a:gd name="connsiteX13" fmla="*/ 3926064 w 8943143"/>
                <a:gd name="connsiteY13" fmla="*/ 2823587 h 2844606"/>
                <a:gd name="connsiteX14" fmla="*/ 2931277 w 8943143"/>
                <a:gd name="connsiteY14" fmla="*/ 2803490 h 2844606"/>
                <a:gd name="connsiteX15" fmla="*/ 1876200 w 8943143"/>
                <a:gd name="connsiteY15" fmla="*/ 2813539 h 2844606"/>
                <a:gd name="connsiteX16" fmla="*/ 0 w 8943143"/>
                <a:gd name="connsiteY16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2006829 w 8943143"/>
                <a:gd name="connsiteY2" fmla="*/ 10048 h 2844606"/>
                <a:gd name="connsiteX3" fmla="*/ 6287427 w 8943143"/>
                <a:gd name="connsiteY3" fmla="*/ 60290 h 2844606"/>
                <a:gd name="connsiteX4" fmla="*/ 7051101 w 8943143"/>
                <a:gd name="connsiteY4" fmla="*/ 30145 h 2844606"/>
                <a:gd name="connsiteX5" fmla="*/ 8086082 w 8943143"/>
                <a:gd name="connsiteY5" fmla="*/ 60290 h 2844606"/>
                <a:gd name="connsiteX6" fmla="*/ 8943143 w 8943143"/>
                <a:gd name="connsiteY6" fmla="*/ 60290 h 2844606"/>
                <a:gd name="connsiteX7" fmla="*/ 7352552 w 8943143"/>
                <a:gd name="connsiteY7" fmla="*/ 2783394 h 2844606"/>
                <a:gd name="connsiteX8" fmla="*/ 7425600 w 8943143"/>
                <a:gd name="connsiteY8" fmla="*/ 2776911 h 2844606"/>
                <a:gd name="connsiteX9" fmla="*/ 6729554 w 8943143"/>
                <a:gd name="connsiteY9" fmla="*/ 2803490 h 2844606"/>
                <a:gd name="connsiteX10" fmla="*/ 6588877 w 8943143"/>
                <a:gd name="connsiteY10" fmla="*/ 2793442 h 2844606"/>
                <a:gd name="connsiteX11" fmla="*/ 4770126 w 8943143"/>
                <a:gd name="connsiteY11" fmla="*/ 2843684 h 2844606"/>
                <a:gd name="connsiteX12" fmla="*/ 3926064 w 8943143"/>
                <a:gd name="connsiteY12" fmla="*/ 2823587 h 2844606"/>
                <a:gd name="connsiteX13" fmla="*/ 2931277 w 8943143"/>
                <a:gd name="connsiteY13" fmla="*/ 2803490 h 2844606"/>
                <a:gd name="connsiteX14" fmla="*/ 1876200 w 8943143"/>
                <a:gd name="connsiteY14" fmla="*/ 2813539 h 2844606"/>
                <a:gd name="connsiteX15" fmla="*/ 0 w 8943143"/>
                <a:gd name="connsiteY15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2006829 w 8943143"/>
                <a:gd name="connsiteY2" fmla="*/ 10048 h 2844606"/>
                <a:gd name="connsiteX3" fmla="*/ 6287427 w 8943143"/>
                <a:gd name="connsiteY3" fmla="*/ 60290 h 2844606"/>
                <a:gd name="connsiteX4" fmla="*/ 8086082 w 8943143"/>
                <a:gd name="connsiteY4" fmla="*/ 60290 h 2844606"/>
                <a:gd name="connsiteX5" fmla="*/ 8943143 w 8943143"/>
                <a:gd name="connsiteY5" fmla="*/ 60290 h 2844606"/>
                <a:gd name="connsiteX6" fmla="*/ 7352552 w 8943143"/>
                <a:gd name="connsiteY6" fmla="*/ 2783394 h 2844606"/>
                <a:gd name="connsiteX7" fmla="*/ 7425600 w 8943143"/>
                <a:gd name="connsiteY7" fmla="*/ 2776911 h 2844606"/>
                <a:gd name="connsiteX8" fmla="*/ 6729554 w 8943143"/>
                <a:gd name="connsiteY8" fmla="*/ 2803490 h 2844606"/>
                <a:gd name="connsiteX9" fmla="*/ 6588877 w 8943143"/>
                <a:gd name="connsiteY9" fmla="*/ 2793442 h 2844606"/>
                <a:gd name="connsiteX10" fmla="*/ 4770126 w 8943143"/>
                <a:gd name="connsiteY10" fmla="*/ 2843684 h 2844606"/>
                <a:gd name="connsiteX11" fmla="*/ 3926064 w 8943143"/>
                <a:gd name="connsiteY11" fmla="*/ 2823587 h 2844606"/>
                <a:gd name="connsiteX12" fmla="*/ 2931277 w 8943143"/>
                <a:gd name="connsiteY12" fmla="*/ 2803490 h 2844606"/>
                <a:gd name="connsiteX13" fmla="*/ 1876200 w 8943143"/>
                <a:gd name="connsiteY13" fmla="*/ 2813539 h 2844606"/>
                <a:gd name="connsiteX14" fmla="*/ 0 w 8943143"/>
                <a:gd name="connsiteY14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2006829 w 8943143"/>
                <a:gd name="connsiteY2" fmla="*/ 10048 h 2844606"/>
                <a:gd name="connsiteX3" fmla="*/ 8086082 w 8943143"/>
                <a:gd name="connsiteY3" fmla="*/ 60290 h 2844606"/>
                <a:gd name="connsiteX4" fmla="*/ 8943143 w 8943143"/>
                <a:gd name="connsiteY4" fmla="*/ 60290 h 2844606"/>
                <a:gd name="connsiteX5" fmla="*/ 7352552 w 8943143"/>
                <a:gd name="connsiteY5" fmla="*/ 2783394 h 2844606"/>
                <a:gd name="connsiteX6" fmla="*/ 7425600 w 8943143"/>
                <a:gd name="connsiteY6" fmla="*/ 2776911 h 2844606"/>
                <a:gd name="connsiteX7" fmla="*/ 6729554 w 8943143"/>
                <a:gd name="connsiteY7" fmla="*/ 2803490 h 2844606"/>
                <a:gd name="connsiteX8" fmla="*/ 6588877 w 8943143"/>
                <a:gd name="connsiteY8" fmla="*/ 2793442 h 2844606"/>
                <a:gd name="connsiteX9" fmla="*/ 4770126 w 8943143"/>
                <a:gd name="connsiteY9" fmla="*/ 2843684 h 2844606"/>
                <a:gd name="connsiteX10" fmla="*/ 3926064 w 8943143"/>
                <a:gd name="connsiteY10" fmla="*/ 2823587 h 2844606"/>
                <a:gd name="connsiteX11" fmla="*/ 2931277 w 8943143"/>
                <a:gd name="connsiteY11" fmla="*/ 2803490 h 2844606"/>
                <a:gd name="connsiteX12" fmla="*/ 1876200 w 8943143"/>
                <a:gd name="connsiteY12" fmla="*/ 2813539 h 2844606"/>
                <a:gd name="connsiteX13" fmla="*/ 0 w 8943143"/>
                <a:gd name="connsiteY13" fmla="*/ 2793440 h 2844606"/>
                <a:gd name="connsiteX0" fmla="*/ 539770 w 8943143"/>
                <a:gd name="connsiteY0" fmla="*/ 0 h 2844606"/>
                <a:gd name="connsiteX1" fmla="*/ 1624992 w 8943143"/>
                <a:gd name="connsiteY1" fmla="*/ 10048 h 2844606"/>
                <a:gd name="connsiteX2" fmla="*/ 8086082 w 8943143"/>
                <a:gd name="connsiteY2" fmla="*/ 60290 h 2844606"/>
                <a:gd name="connsiteX3" fmla="*/ 8943143 w 8943143"/>
                <a:gd name="connsiteY3" fmla="*/ 60290 h 2844606"/>
                <a:gd name="connsiteX4" fmla="*/ 7352552 w 8943143"/>
                <a:gd name="connsiteY4" fmla="*/ 2783394 h 2844606"/>
                <a:gd name="connsiteX5" fmla="*/ 7425600 w 8943143"/>
                <a:gd name="connsiteY5" fmla="*/ 2776911 h 2844606"/>
                <a:gd name="connsiteX6" fmla="*/ 6729554 w 8943143"/>
                <a:gd name="connsiteY6" fmla="*/ 2803490 h 2844606"/>
                <a:gd name="connsiteX7" fmla="*/ 6588877 w 8943143"/>
                <a:gd name="connsiteY7" fmla="*/ 2793442 h 2844606"/>
                <a:gd name="connsiteX8" fmla="*/ 4770126 w 8943143"/>
                <a:gd name="connsiteY8" fmla="*/ 2843684 h 2844606"/>
                <a:gd name="connsiteX9" fmla="*/ 3926064 w 8943143"/>
                <a:gd name="connsiteY9" fmla="*/ 2823587 h 2844606"/>
                <a:gd name="connsiteX10" fmla="*/ 2931277 w 8943143"/>
                <a:gd name="connsiteY10" fmla="*/ 2803490 h 2844606"/>
                <a:gd name="connsiteX11" fmla="*/ 1876200 w 8943143"/>
                <a:gd name="connsiteY11" fmla="*/ 2813539 h 2844606"/>
                <a:gd name="connsiteX12" fmla="*/ 0 w 8943143"/>
                <a:gd name="connsiteY12" fmla="*/ 2793440 h 2844606"/>
                <a:gd name="connsiteX0" fmla="*/ 539770 w 8943143"/>
                <a:gd name="connsiteY0" fmla="*/ 0 h 2844606"/>
                <a:gd name="connsiteX1" fmla="*/ 8086082 w 8943143"/>
                <a:gd name="connsiteY1" fmla="*/ 60290 h 2844606"/>
                <a:gd name="connsiteX2" fmla="*/ 8943143 w 8943143"/>
                <a:gd name="connsiteY2" fmla="*/ 60290 h 2844606"/>
                <a:gd name="connsiteX3" fmla="*/ 7352552 w 8943143"/>
                <a:gd name="connsiteY3" fmla="*/ 2783394 h 2844606"/>
                <a:gd name="connsiteX4" fmla="*/ 7425600 w 8943143"/>
                <a:gd name="connsiteY4" fmla="*/ 2776911 h 2844606"/>
                <a:gd name="connsiteX5" fmla="*/ 6729554 w 8943143"/>
                <a:gd name="connsiteY5" fmla="*/ 2803490 h 2844606"/>
                <a:gd name="connsiteX6" fmla="*/ 6588877 w 8943143"/>
                <a:gd name="connsiteY6" fmla="*/ 2793442 h 2844606"/>
                <a:gd name="connsiteX7" fmla="*/ 4770126 w 8943143"/>
                <a:gd name="connsiteY7" fmla="*/ 2843684 h 2844606"/>
                <a:gd name="connsiteX8" fmla="*/ 3926064 w 8943143"/>
                <a:gd name="connsiteY8" fmla="*/ 2823587 h 2844606"/>
                <a:gd name="connsiteX9" fmla="*/ 2931277 w 8943143"/>
                <a:gd name="connsiteY9" fmla="*/ 2803490 h 2844606"/>
                <a:gd name="connsiteX10" fmla="*/ 1876200 w 8943143"/>
                <a:gd name="connsiteY10" fmla="*/ 2813539 h 2844606"/>
                <a:gd name="connsiteX11" fmla="*/ 0 w 8943143"/>
                <a:gd name="connsiteY11" fmla="*/ 2793440 h 2844606"/>
                <a:gd name="connsiteX0" fmla="*/ 8086082 w 8943143"/>
                <a:gd name="connsiteY0" fmla="*/ 0 h 2784316"/>
                <a:gd name="connsiteX1" fmla="*/ 8943143 w 8943143"/>
                <a:gd name="connsiteY1" fmla="*/ 0 h 2784316"/>
                <a:gd name="connsiteX2" fmla="*/ 7352552 w 8943143"/>
                <a:gd name="connsiteY2" fmla="*/ 2723104 h 2784316"/>
                <a:gd name="connsiteX3" fmla="*/ 7425600 w 8943143"/>
                <a:gd name="connsiteY3" fmla="*/ 2716621 h 2784316"/>
                <a:gd name="connsiteX4" fmla="*/ 6729554 w 8943143"/>
                <a:gd name="connsiteY4" fmla="*/ 2743200 h 2784316"/>
                <a:gd name="connsiteX5" fmla="*/ 6588877 w 8943143"/>
                <a:gd name="connsiteY5" fmla="*/ 2733152 h 2784316"/>
                <a:gd name="connsiteX6" fmla="*/ 4770126 w 8943143"/>
                <a:gd name="connsiteY6" fmla="*/ 2783394 h 2784316"/>
                <a:gd name="connsiteX7" fmla="*/ 3926064 w 8943143"/>
                <a:gd name="connsiteY7" fmla="*/ 2763297 h 2784316"/>
                <a:gd name="connsiteX8" fmla="*/ 2931277 w 8943143"/>
                <a:gd name="connsiteY8" fmla="*/ 2743200 h 2784316"/>
                <a:gd name="connsiteX9" fmla="*/ 1876200 w 8943143"/>
                <a:gd name="connsiteY9" fmla="*/ 2753249 h 2784316"/>
                <a:gd name="connsiteX10" fmla="*/ 0 w 8943143"/>
                <a:gd name="connsiteY10" fmla="*/ 2733150 h 2784316"/>
                <a:gd name="connsiteX0" fmla="*/ 8943143 w 8943143"/>
                <a:gd name="connsiteY0" fmla="*/ 0 h 2784316"/>
                <a:gd name="connsiteX1" fmla="*/ 7352552 w 8943143"/>
                <a:gd name="connsiteY1" fmla="*/ 2723104 h 2784316"/>
                <a:gd name="connsiteX2" fmla="*/ 7425600 w 8943143"/>
                <a:gd name="connsiteY2" fmla="*/ 2716621 h 2784316"/>
                <a:gd name="connsiteX3" fmla="*/ 6729554 w 8943143"/>
                <a:gd name="connsiteY3" fmla="*/ 2743200 h 2784316"/>
                <a:gd name="connsiteX4" fmla="*/ 6588877 w 8943143"/>
                <a:gd name="connsiteY4" fmla="*/ 2733152 h 2784316"/>
                <a:gd name="connsiteX5" fmla="*/ 4770126 w 8943143"/>
                <a:gd name="connsiteY5" fmla="*/ 2783394 h 2784316"/>
                <a:gd name="connsiteX6" fmla="*/ 3926064 w 8943143"/>
                <a:gd name="connsiteY6" fmla="*/ 2763297 h 2784316"/>
                <a:gd name="connsiteX7" fmla="*/ 2931277 w 8943143"/>
                <a:gd name="connsiteY7" fmla="*/ 2743200 h 2784316"/>
                <a:gd name="connsiteX8" fmla="*/ 1876200 w 8943143"/>
                <a:gd name="connsiteY8" fmla="*/ 2753249 h 2784316"/>
                <a:gd name="connsiteX9" fmla="*/ 0 w 8943143"/>
                <a:gd name="connsiteY9" fmla="*/ 2733150 h 2784316"/>
                <a:gd name="connsiteX0" fmla="*/ 7352552 w 7439829"/>
                <a:gd name="connsiteY0" fmla="*/ 8031 h 69243"/>
                <a:gd name="connsiteX1" fmla="*/ 7425600 w 7439829"/>
                <a:gd name="connsiteY1" fmla="*/ 1548 h 69243"/>
                <a:gd name="connsiteX2" fmla="*/ 6729554 w 7439829"/>
                <a:gd name="connsiteY2" fmla="*/ 28127 h 69243"/>
                <a:gd name="connsiteX3" fmla="*/ 6588877 w 7439829"/>
                <a:gd name="connsiteY3" fmla="*/ 18079 h 69243"/>
                <a:gd name="connsiteX4" fmla="*/ 4770126 w 7439829"/>
                <a:gd name="connsiteY4" fmla="*/ 68321 h 69243"/>
                <a:gd name="connsiteX5" fmla="*/ 3926064 w 7439829"/>
                <a:gd name="connsiteY5" fmla="*/ 48224 h 69243"/>
                <a:gd name="connsiteX6" fmla="*/ 2931277 w 7439829"/>
                <a:gd name="connsiteY6" fmla="*/ 28127 h 69243"/>
                <a:gd name="connsiteX7" fmla="*/ 1876200 w 7439829"/>
                <a:gd name="connsiteY7" fmla="*/ 38176 h 69243"/>
                <a:gd name="connsiteX8" fmla="*/ 0 w 7439829"/>
                <a:gd name="connsiteY8" fmla="*/ 18077 h 69243"/>
                <a:gd name="connsiteX0" fmla="*/ 7352552 w 7439829"/>
                <a:gd name="connsiteY0" fmla="*/ 8031 h 92339"/>
                <a:gd name="connsiteX1" fmla="*/ 7425600 w 7439829"/>
                <a:gd name="connsiteY1" fmla="*/ 1548 h 92339"/>
                <a:gd name="connsiteX2" fmla="*/ 6729554 w 7439829"/>
                <a:gd name="connsiteY2" fmla="*/ 28127 h 92339"/>
                <a:gd name="connsiteX3" fmla="*/ 6588877 w 7439829"/>
                <a:gd name="connsiteY3" fmla="*/ 18079 h 92339"/>
                <a:gd name="connsiteX4" fmla="*/ 4770126 w 7439829"/>
                <a:gd name="connsiteY4" fmla="*/ 68321 h 92339"/>
                <a:gd name="connsiteX5" fmla="*/ 4538615 w 7439829"/>
                <a:gd name="connsiteY5" fmla="*/ 91853 h 92339"/>
                <a:gd name="connsiteX6" fmla="*/ 3926064 w 7439829"/>
                <a:gd name="connsiteY6" fmla="*/ 48224 h 92339"/>
                <a:gd name="connsiteX7" fmla="*/ 2931277 w 7439829"/>
                <a:gd name="connsiteY7" fmla="*/ 28127 h 92339"/>
                <a:gd name="connsiteX8" fmla="*/ 1876200 w 7439829"/>
                <a:gd name="connsiteY8" fmla="*/ 38176 h 92339"/>
                <a:gd name="connsiteX9" fmla="*/ 0 w 7439829"/>
                <a:gd name="connsiteY9" fmla="*/ 18077 h 92339"/>
                <a:gd name="connsiteX0" fmla="*/ 7352552 w 7439829"/>
                <a:gd name="connsiteY0" fmla="*/ 8031 h 91853"/>
                <a:gd name="connsiteX1" fmla="*/ 7425600 w 7439829"/>
                <a:gd name="connsiteY1" fmla="*/ 1548 h 91853"/>
                <a:gd name="connsiteX2" fmla="*/ 6729554 w 7439829"/>
                <a:gd name="connsiteY2" fmla="*/ 28127 h 91853"/>
                <a:gd name="connsiteX3" fmla="*/ 6588877 w 7439829"/>
                <a:gd name="connsiteY3" fmla="*/ 18079 h 91853"/>
                <a:gd name="connsiteX4" fmla="*/ 4538615 w 7439829"/>
                <a:gd name="connsiteY4" fmla="*/ 91853 h 91853"/>
                <a:gd name="connsiteX5" fmla="*/ 3926064 w 7439829"/>
                <a:gd name="connsiteY5" fmla="*/ 48224 h 91853"/>
                <a:gd name="connsiteX6" fmla="*/ 2931277 w 7439829"/>
                <a:gd name="connsiteY6" fmla="*/ 28127 h 91853"/>
                <a:gd name="connsiteX7" fmla="*/ 1876200 w 7439829"/>
                <a:gd name="connsiteY7" fmla="*/ 38176 h 91853"/>
                <a:gd name="connsiteX8" fmla="*/ 0 w 7439829"/>
                <a:gd name="connsiteY8" fmla="*/ 18077 h 91853"/>
                <a:gd name="connsiteX0" fmla="*/ 7352552 w 7439829"/>
                <a:gd name="connsiteY0" fmla="*/ 8031 h 91853"/>
                <a:gd name="connsiteX1" fmla="*/ 7425600 w 7439829"/>
                <a:gd name="connsiteY1" fmla="*/ 1548 h 91853"/>
                <a:gd name="connsiteX2" fmla="*/ 6729554 w 7439829"/>
                <a:gd name="connsiteY2" fmla="*/ 28127 h 91853"/>
                <a:gd name="connsiteX3" fmla="*/ 4538615 w 7439829"/>
                <a:gd name="connsiteY3" fmla="*/ 91853 h 91853"/>
                <a:gd name="connsiteX4" fmla="*/ 3926064 w 7439829"/>
                <a:gd name="connsiteY4" fmla="*/ 48224 h 91853"/>
                <a:gd name="connsiteX5" fmla="*/ 2931277 w 7439829"/>
                <a:gd name="connsiteY5" fmla="*/ 28127 h 91853"/>
                <a:gd name="connsiteX6" fmla="*/ 1876200 w 7439829"/>
                <a:gd name="connsiteY6" fmla="*/ 38176 h 91853"/>
                <a:gd name="connsiteX7" fmla="*/ 0 w 7439829"/>
                <a:gd name="connsiteY7" fmla="*/ 18077 h 91853"/>
                <a:gd name="connsiteX0" fmla="*/ 7352552 w 7439829"/>
                <a:gd name="connsiteY0" fmla="*/ 8031 h 91853"/>
                <a:gd name="connsiteX1" fmla="*/ 7425600 w 7439829"/>
                <a:gd name="connsiteY1" fmla="*/ 1548 h 91853"/>
                <a:gd name="connsiteX2" fmla="*/ 4538615 w 7439829"/>
                <a:gd name="connsiteY2" fmla="*/ 91853 h 91853"/>
                <a:gd name="connsiteX3" fmla="*/ 3926064 w 7439829"/>
                <a:gd name="connsiteY3" fmla="*/ 48224 h 91853"/>
                <a:gd name="connsiteX4" fmla="*/ 2931277 w 7439829"/>
                <a:gd name="connsiteY4" fmla="*/ 28127 h 91853"/>
                <a:gd name="connsiteX5" fmla="*/ 1876200 w 7439829"/>
                <a:gd name="connsiteY5" fmla="*/ 38176 h 91853"/>
                <a:gd name="connsiteX6" fmla="*/ 0 w 7439829"/>
                <a:gd name="connsiteY6" fmla="*/ 18077 h 91853"/>
                <a:gd name="connsiteX0" fmla="*/ 7352552 w 7352552"/>
                <a:gd name="connsiteY0" fmla="*/ 0 h 83822"/>
                <a:gd name="connsiteX1" fmla="*/ 4538615 w 7352552"/>
                <a:gd name="connsiteY1" fmla="*/ 83822 h 83822"/>
                <a:gd name="connsiteX2" fmla="*/ 3926064 w 7352552"/>
                <a:gd name="connsiteY2" fmla="*/ 40193 h 83822"/>
                <a:gd name="connsiteX3" fmla="*/ 2931277 w 7352552"/>
                <a:gd name="connsiteY3" fmla="*/ 20096 h 83822"/>
                <a:gd name="connsiteX4" fmla="*/ 1876200 w 7352552"/>
                <a:gd name="connsiteY4" fmla="*/ 30145 h 83822"/>
                <a:gd name="connsiteX5" fmla="*/ 0 w 7352552"/>
                <a:gd name="connsiteY5" fmla="*/ 10046 h 83822"/>
                <a:gd name="connsiteX0" fmla="*/ 4538615 w 4538615"/>
                <a:gd name="connsiteY0" fmla="*/ 73776 h 73776"/>
                <a:gd name="connsiteX1" fmla="*/ 3926064 w 4538615"/>
                <a:gd name="connsiteY1" fmla="*/ 30147 h 73776"/>
                <a:gd name="connsiteX2" fmla="*/ 2931277 w 4538615"/>
                <a:gd name="connsiteY2" fmla="*/ 10050 h 73776"/>
                <a:gd name="connsiteX3" fmla="*/ 1876200 w 4538615"/>
                <a:gd name="connsiteY3" fmla="*/ 20099 h 73776"/>
                <a:gd name="connsiteX4" fmla="*/ 0 w 4538615"/>
                <a:gd name="connsiteY4" fmla="*/ 0 h 73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38615" h="73776">
                  <a:moveTo>
                    <a:pt x="4538615" y="73776"/>
                  </a:moveTo>
                  <a:cubicBezTo>
                    <a:pt x="4397938" y="70427"/>
                    <a:pt x="4193954" y="40768"/>
                    <a:pt x="3926064" y="30147"/>
                  </a:cubicBezTo>
                  <a:lnTo>
                    <a:pt x="2931277" y="10050"/>
                  </a:lnTo>
                  <a:lnTo>
                    <a:pt x="1876200" y="20099"/>
                  </a:lnTo>
                  <a:lnTo>
                    <a:pt x="0" y="0"/>
                  </a:lnTo>
                </a:path>
              </a:pathLst>
            </a:custGeom>
            <a:noFill/>
            <a:ln w="19050"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/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3C0B63C9-0A50-0D44-17B9-95E632B19821}"/>
              </a:ext>
            </a:extLst>
          </p:cNvPr>
          <p:cNvGrpSpPr/>
          <p:nvPr/>
        </p:nvGrpSpPr>
        <p:grpSpPr>
          <a:xfrm rot="10800000">
            <a:off x="4292575" y="1434106"/>
            <a:ext cx="424644" cy="514736"/>
            <a:chOff x="352424" y="3433220"/>
            <a:chExt cx="1582577" cy="1918336"/>
          </a:xfrm>
        </p:grpSpPr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0337A905-2C46-390A-0809-263C297E0663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65F8C245-B144-D6D4-9D3A-1D5B818CEFD6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</p:grpSp>
      <p:grpSp>
        <p:nvGrpSpPr>
          <p:cNvPr id="435" name="Group 434">
            <a:extLst>
              <a:ext uri="{FF2B5EF4-FFF2-40B4-BE49-F238E27FC236}">
                <a16:creationId xmlns:a16="http://schemas.microsoft.com/office/drawing/2014/main" id="{AE456365-8367-6A0F-F995-08EBD427E08F}"/>
              </a:ext>
            </a:extLst>
          </p:cNvPr>
          <p:cNvGrpSpPr/>
          <p:nvPr/>
        </p:nvGrpSpPr>
        <p:grpSpPr>
          <a:xfrm>
            <a:off x="1218431" y="1988846"/>
            <a:ext cx="2103523" cy="1850668"/>
            <a:chOff x="-2569950" y="654050"/>
            <a:chExt cx="2225312" cy="2142108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F022E3A0-13C9-66DD-C3E2-AC493DEBB4EA}"/>
                </a:ext>
              </a:extLst>
            </p:cNvPr>
            <p:cNvGrpSpPr/>
            <p:nvPr/>
          </p:nvGrpSpPr>
          <p:grpSpPr>
            <a:xfrm>
              <a:off x="-2569950" y="654050"/>
              <a:ext cx="2225312" cy="2142108"/>
              <a:chOff x="-2404065" y="813733"/>
              <a:chExt cx="1893541" cy="1822742"/>
            </a:xfrm>
          </p:grpSpPr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214BA63D-A01E-E9EC-69E5-8A06A27BFF8A}"/>
                  </a:ext>
                </a:extLst>
              </p:cNvPr>
              <p:cNvSpPr/>
              <p:nvPr/>
            </p:nvSpPr>
            <p:spPr>
              <a:xfrm rot="18000000">
                <a:off x="-2029093" y="1282706"/>
                <a:ext cx="503531" cy="576558"/>
              </a:xfrm>
              <a:custGeom>
                <a:avLst/>
                <a:gdLst>
                  <a:gd name="connsiteX0" fmla="*/ 251556 w 503531"/>
                  <a:gd name="connsiteY0" fmla="*/ 0 h 576558"/>
                  <a:gd name="connsiteX1" fmla="*/ 273836 w 503531"/>
                  <a:gd name="connsiteY1" fmla="*/ 13925 h 576558"/>
                  <a:gd name="connsiteX2" fmla="*/ 323921 w 503531"/>
                  <a:gd name="connsiteY2" fmla="*/ 48808 h 576558"/>
                  <a:gd name="connsiteX3" fmla="*/ 378687 w 503531"/>
                  <a:gd name="connsiteY3" fmla="*/ 109212 h 576558"/>
                  <a:gd name="connsiteX4" fmla="*/ 413319 w 503531"/>
                  <a:gd name="connsiteY4" fmla="*/ 152702 h 576558"/>
                  <a:gd name="connsiteX5" fmla="*/ 435064 w 503531"/>
                  <a:gd name="connsiteY5" fmla="*/ 191361 h 576558"/>
                  <a:gd name="connsiteX6" fmla="*/ 449561 w 503531"/>
                  <a:gd name="connsiteY6" fmla="*/ 222771 h 576558"/>
                  <a:gd name="connsiteX7" fmla="*/ 459226 w 503531"/>
                  <a:gd name="connsiteY7" fmla="*/ 246933 h 576558"/>
                  <a:gd name="connsiteX8" fmla="*/ 471307 w 503531"/>
                  <a:gd name="connsiteY8" fmla="*/ 295256 h 576558"/>
                  <a:gd name="connsiteX9" fmla="*/ 480971 w 503531"/>
                  <a:gd name="connsiteY9" fmla="*/ 329082 h 576558"/>
                  <a:gd name="connsiteX10" fmla="*/ 503522 w 503531"/>
                  <a:gd name="connsiteY10" fmla="*/ 454722 h 576558"/>
                  <a:gd name="connsiteX11" fmla="*/ 490384 w 503531"/>
                  <a:gd name="connsiteY11" fmla="*/ 573076 h 576558"/>
                  <a:gd name="connsiteX12" fmla="*/ 489772 w 503531"/>
                  <a:gd name="connsiteY12" fmla="*/ 576558 h 576558"/>
                  <a:gd name="connsiteX13" fmla="*/ 480275 w 503531"/>
                  <a:gd name="connsiteY13" fmla="*/ 571018 h 576558"/>
                  <a:gd name="connsiteX14" fmla="*/ 466382 w 503531"/>
                  <a:gd name="connsiteY14" fmla="*/ 563921 h 576558"/>
                  <a:gd name="connsiteX15" fmla="*/ 410811 w 503531"/>
                  <a:gd name="connsiteY15" fmla="*/ 542175 h 576558"/>
                  <a:gd name="connsiteX16" fmla="*/ 335910 w 503531"/>
                  <a:gd name="connsiteY16" fmla="*/ 524457 h 576558"/>
                  <a:gd name="connsiteX17" fmla="*/ 253760 w 503531"/>
                  <a:gd name="connsiteY17" fmla="*/ 520430 h 576558"/>
                  <a:gd name="connsiteX18" fmla="*/ 247317 w 503531"/>
                  <a:gd name="connsiteY18" fmla="*/ 523652 h 576558"/>
                  <a:gd name="connsiteX19" fmla="*/ 87046 w 503531"/>
                  <a:gd name="connsiteY19" fmla="*/ 548619 h 576558"/>
                  <a:gd name="connsiteX20" fmla="*/ 58052 w 503531"/>
                  <a:gd name="connsiteY20" fmla="*/ 559089 h 576558"/>
                  <a:gd name="connsiteX21" fmla="*/ 39188 w 503531"/>
                  <a:gd name="connsiteY21" fmla="*/ 566853 h 576558"/>
                  <a:gd name="connsiteX22" fmla="*/ 16627 w 503531"/>
                  <a:gd name="connsiteY22" fmla="*/ 576201 h 576558"/>
                  <a:gd name="connsiteX23" fmla="*/ 15677 w 503531"/>
                  <a:gd name="connsiteY23" fmla="*/ 572409 h 576558"/>
                  <a:gd name="connsiteX24" fmla="*/ 3999 w 503531"/>
                  <a:gd name="connsiteY24" fmla="*/ 502240 h 576558"/>
                  <a:gd name="connsiteX25" fmla="*/ 5610 w 503531"/>
                  <a:gd name="connsiteY25" fmla="*/ 375794 h 576558"/>
                  <a:gd name="connsiteX26" fmla="*/ 46684 w 503531"/>
                  <a:gd name="connsiteY26" fmla="*/ 236463 h 576558"/>
                  <a:gd name="connsiteX27" fmla="*/ 73262 w 503531"/>
                  <a:gd name="connsiteY27" fmla="*/ 184112 h 576558"/>
                  <a:gd name="connsiteX28" fmla="*/ 154606 w 503531"/>
                  <a:gd name="connsiteY28" fmla="*/ 72969 h 576558"/>
                  <a:gd name="connsiteX29" fmla="*/ 210178 w 503531"/>
                  <a:gd name="connsiteY29" fmla="*/ 29478 h 576558"/>
                  <a:gd name="connsiteX30" fmla="*/ 243047 w 503531"/>
                  <a:gd name="connsiteY30" fmla="*/ 5669 h 576558"/>
                  <a:gd name="connsiteX31" fmla="*/ 251556 w 503531"/>
                  <a:gd name="connsiteY31" fmla="*/ 0 h 57655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503531" h="576558">
                    <a:moveTo>
                      <a:pt x="251556" y="0"/>
                    </a:moveTo>
                    <a:lnTo>
                      <a:pt x="273836" y="13925"/>
                    </a:lnTo>
                    <a:cubicBezTo>
                      <a:pt x="292377" y="25754"/>
                      <a:pt x="311102" y="38338"/>
                      <a:pt x="323921" y="48808"/>
                    </a:cubicBezTo>
                    <a:cubicBezTo>
                      <a:pt x="349559" y="69748"/>
                      <a:pt x="363788" y="91896"/>
                      <a:pt x="378687" y="109212"/>
                    </a:cubicBezTo>
                    <a:cubicBezTo>
                      <a:pt x="393587" y="126528"/>
                      <a:pt x="403923" y="139011"/>
                      <a:pt x="413319" y="152702"/>
                    </a:cubicBezTo>
                    <a:cubicBezTo>
                      <a:pt x="422715" y="166394"/>
                      <a:pt x="431037" y="182905"/>
                      <a:pt x="435064" y="191361"/>
                    </a:cubicBezTo>
                    <a:cubicBezTo>
                      <a:pt x="441105" y="203039"/>
                      <a:pt x="445534" y="213509"/>
                      <a:pt x="449561" y="222771"/>
                    </a:cubicBezTo>
                    <a:cubicBezTo>
                      <a:pt x="453588" y="232033"/>
                      <a:pt x="455602" y="234852"/>
                      <a:pt x="459226" y="246933"/>
                    </a:cubicBezTo>
                    <a:cubicBezTo>
                      <a:pt x="462850" y="259013"/>
                      <a:pt x="467683" y="281564"/>
                      <a:pt x="471307" y="295256"/>
                    </a:cubicBezTo>
                    <a:cubicBezTo>
                      <a:pt x="474931" y="308947"/>
                      <a:pt x="475602" y="302504"/>
                      <a:pt x="480971" y="329082"/>
                    </a:cubicBezTo>
                    <a:cubicBezTo>
                      <a:pt x="486341" y="355660"/>
                      <a:pt x="503119" y="404386"/>
                      <a:pt x="503522" y="454722"/>
                    </a:cubicBezTo>
                    <a:cubicBezTo>
                      <a:pt x="503824" y="492475"/>
                      <a:pt x="496500" y="538155"/>
                      <a:pt x="490384" y="573076"/>
                    </a:cubicBezTo>
                    <a:lnTo>
                      <a:pt x="489772" y="576558"/>
                    </a:lnTo>
                    <a:lnTo>
                      <a:pt x="480275" y="571018"/>
                    </a:lnTo>
                    <a:cubicBezTo>
                      <a:pt x="476852" y="568955"/>
                      <a:pt x="473228" y="566941"/>
                      <a:pt x="466382" y="563921"/>
                    </a:cubicBezTo>
                    <a:cubicBezTo>
                      <a:pt x="455510" y="559491"/>
                      <a:pt x="432556" y="548753"/>
                      <a:pt x="410811" y="542175"/>
                    </a:cubicBezTo>
                    <a:cubicBezTo>
                      <a:pt x="395911" y="538014"/>
                      <a:pt x="362085" y="528081"/>
                      <a:pt x="335910" y="524457"/>
                    </a:cubicBezTo>
                    <a:cubicBezTo>
                      <a:pt x="309735" y="520833"/>
                      <a:pt x="281144" y="521772"/>
                      <a:pt x="253760" y="520430"/>
                    </a:cubicBezTo>
                    <a:lnTo>
                      <a:pt x="247317" y="523652"/>
                    </a:lnTo>
                    <a:cubicBezTo>
                      <a:pt x="179397" y="518551"/>
                      <a:pt x="145302" y="537612"/>
                      <a:pt x="87046" y="548619"/>
                    </a:cubicBezTo>
                    <a:cubicBezTo>
                      <a:pt x="55502" y="554525"/>
                      <a:pt x="78052" y="550632"/>
                      <a:pt x="58052" y="559089"/>
                    </a:cubicBezTo>
                    <a:cubicBezTo>
                      <a:pt x="53052" y="561203"/>
                      <a:pt x="46550" y="563846"/>
                      <a:pt x="39188" y="566853"/>
                    </a:cubicBezTo>
                    <a:lnTo>
                      <a:pt x="16627" y="576201"/>
                    </a:lnTo>
                    <a:lnTo>
                      <a:pt x="15677" y="572409"/>
                    </a:lnTo>
                    <a:cubicBezTo>
                      <a:pt x="10912" y="549691"/>
                      <a:pt x="6818" y="525731"/>
                      <a:pt x="3999" y="502240"/>
                    </a:cubicBezTo>
                    <a:cubicBezTo>
                      <a:pt x="-1639" y="455259"/>
                      <a:pt x="-1505" y="420091"/>
                      <a:pt x="5610" y="375794"/>
                    </a:cubicBezTo>
                    <a:cubicBezTo>
                      <a:pt x="12724" y="331498"/>
                      <a:pt x="35409" y="268410"/>
                      <a:pt x="46684" y="236463"/>
                    </a:cubicBezTo>
                    <a:cubicBezTo>
                      <a:pt x="57960" y="204516"/>
                      <a:pt x="55275" y="211361"/>
                      <a:pt x="73262" y="184112"/>
                    </a:cubicBezTo>
                    <a:cubicBezTo>
                      <a:pt x="91249" y="156864"/>
                      <a:pt x="131787" y="98742"/>
                      <a:pt x="154606" y="72969"/>
                    </a:cubicBezTo>
                    <a:cubicBezTo>
                      <a:pt x="177425" y="47197"/>
                      <a:pt x="189103" y="44915"/>
                      <a:pt x="210178" y="29478"/>
                    </a:cubicBezTo>
                    <a:cubicBezTo>
                      <a:pt x="220715" y="21760"/>
                      <a:pt x="231453" y="13841"/>
                      <a:pt x="243047" y="5669"/>
                    </a:cubicBezTo>
                    <a:lnTo>
                      <a:pt x="251556" y="0"/>
                    </a:lnTo>
                    <a:close/>
                  </a:path>
                </a:pathLst>
              </a:custGeom>
              <a:solidFill>
                <a:schemeClr val="accent2">
                  <a:lumMod val="40000"/>
                  <a:lumOff val="60000"/>
                  <a:alpha val="62000"/>
                </a:schemeClr>
              </a:solidFill>
              <a:ln w="5213" cap="flat">
                <a:noFill/>
                <a:prstDash val="solid"/>
                <a:miter/>
              </a:ln>
            </p:spPr>
            <p:txBody>
              <a:bodyPr wrap="square" rtlCol="0" anchor="t">
                <a:noAutofit/>
              </a:bodyPr>
              <a:lstStyle/>
              <a:p>
                <a:pPr algn="ctr"/>
                <a:endPara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3FCE24EA-A007-E4DF-2801-349F148531CA}"/>
                  </a:ext>
                </a:extLst>
              </p:cNvPr>
              <p:cNvSpPr/>
              <p:nvPr/>
            </p:nvSpPr>
            <p:spPr>
              <a:xfrm rot="18000000">
                <a:off x="-1751028" y="1839962"/>
                <a:ext cx="560844" cy="448777"/>
              </a:xfrm>
              <a:custGeom>
                <a:avLst/>
                <a:gdLst>
                  <a:gd name="connsiteX0" fmla="*/ 319190 w 560844"/>
                  <a:gd name="connsiteY0" fmla="*/ 0 h 448777"/>
                  <a:gd name="connsiteX1" fmla="*/ 333945 w 560844"/>
                  <a:gd name="connsiteY1" fmla="*/ 58928 h 448777"/>
                  <a:gd name="connsiteX2" fmla="*/ 372604 w 560844"/>
                  <a:gd name="connsiteY2" fmla="*/ 148325 h 448777"/>
                  <a:gd name="connsiteX3" fmla="*/ 405624 w 560844"/>
                  <a:gd name="connsiteY3" fmla="*/ 205508 h 448777"/>
                  <a:gd name="connsiteX4" fmla="*/ 442672 w 560844"/>
                  <a:gd name="connsiteY4" fmla="*/ 253025 h 448777"/>
                  <a:gd name="connsiteX5" fmla="*/ 527237 w 560844"/>
                  <a:gd name="connsiteY5" fmla="*/ 331953 h 448777"/>
                  <a:gd name="connsiteX6" fmla="*/ 557641 w 560844"/>
                  <a:gd name="connsiteY6" fmla="*/ 353346 h 448777"/>
                  <a:gd name="connsiteX7" fmla="*/ 560844 w 560844"/>
                  <a:gd name="connsiteY7" fmla="*/ 355236 h 448777"/>
                  <a:gd name="connsiteX8" fmla="*/ 551583 w 560844"/>
                  <a:gd name="connsiteY8" fmla="*/ 360947 h 448777"/>
                  <a:gd name="connsiteX9" fmla="*/ 476683 w 560844"/>
                  <a:gd name="connsiteY9" fmla="*/ 396384 h 448777"/>
                  <a:gd name="connsiteX10" fmla="*/ 438024 w 560844"/>
                  <a:gd name="connsiteY10" fmla="*/ 412492 h 448777"/>
                  <a:gd name="connsiteX11" fmla="*/ 404198 w 560844"/>
                  <a:gd name="connsiteY11" fmla="*/ 424573 h 448777"/>
                  <a:gd name="connsiteX12" fmla="*/ 372788 w 560844"/>
                  <a:gd name="connsiteY12" fmla="*/ 434237 h 448777"/>
                  <a:gd name="connsiteX13" fmla="*/ 313995 w 560844"/>
                  <a:gd name="connsiteY13" fmla="*/ 439070 h 448777"/>
                  <a:gd name="connsiteX14" fmla="*/ 198825 w 560844"/>
                  <a:gd name="connsiteY14" fmla="*/ 448734 h 448777"/>
                  <a:gd name="connsiteX15" fmla="*/ 150502 w 560844"/>
                  <a:gd name="connsiteY15" fmla="*/ 441486 h 448777"/>
                  <a:gd name="connsiteX16" fmla="*/ 58688 w 560844"/>
                  <a:gd name="connsiteY16" fmla="*/ 417324 h 448777"/>
                  <a:gd name="connsiteX17" fmla="*/ 26170 w 560844"/>
                  <a:gd name="connsiteY17" fmla="*/ 405948 h 448777"/>
                  <a:gd name="connsiteX18" fmla="*/ 0 w 560844"/>
                  <a:gd name="connsiteY18" fmla="*/ 395755 h 448777"/>
                  <a:gd name="connsiteX19" fmla="*/ 13142 w 560844"/>
                  <a:gd name="connsiteY19" fmla="*/ 344305 h 448777"/>
                  <a:gd name="connsiteX20" fmla="*/ 35239 w 560844"/>
                  <a:gd name="connsiteY20" fmla="*/ 279270 h 448777"/>
                  <a:gd name="connsiteX21" fmla="*/ 61817 w 560844"/>
                  <a:gd name="connsiteY21" fmla="*/ 226919 h 448777"/>
                  <a:gd name="connsiteX22" fmla="*/ 143161 w 560844"/>
                  <a:gd name="connsiteY22" fmla="*/ 115776 h 448777"/>
                  <a:gd name="connsiteX23" fmla="*/ 198733 w 560844"/>
                  <a:gd name="connsiteY23" fmla="*/ 72285 h 448777"/>
                  <a:gd name="connsiteX24" fmla="*/ 269606 w 560844"/>
                  <a:gd name="connsiteY24" fmla="*/ 23157 h 448777"/>
                  <a:gd name="connsiteX25" fmla="*/ 317728 w 560844"/>
                  <a:gd name="connsiteY25" fmla="*/ 606 h 448777"/>
                  <a:gd name="connsiteX26" fmla="*/ 319190 w 560844"/>
                  <a:gd name="connsiteY26" fmla="*/ 0 h 4487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560844" h="448777">
                    <a:moveTo>
                      <a:pt x="319190" y="0"/>
                    </a:moveTo>
                    <a:lnTo>
                      <a:pt x="333945" y="58928"/>
                    </a:lnTo>
                    <a:cubicBezTo>
                      <a:pt x="344952" y="95975"/>
                      <a:pt x="360657" y="123895"/>
                      <a:pt x="372604" y="148325"/>
                    </a:cubicBezTo>
                    <a:cubicBezTo>
                      <a:pt x="384550" y="172755"/>
                      <a:pt x="393946" y="188058"/>
                      <a:pt x="405624" y="205508"/>
                    </a:cubicBezTo>
                    <a:cubicBezTo>
                      <a:pt x="417302" y="222958"/>
                      <a:pt x="422403" y="231951"/>
                      <a:pt x="442672" y="253025"/>
                    </a:cubicBezTo>
                    <a:cubicBezTo>
                      <a:pt x="462941" y="274100"/>
                      <a:pt x="503881" y="312758"/>
                      <a:pt x="527237" y="331953"/>
                    </a:cubicBezTo>
                    <a:cubicBezTo>
                      <a:pt x="538916" y="341551"/>
                      <a:pt x="548715" y="347994"/>
                      <a:pt x="557641" y="353346"/>
                    </a:cubicBezTo>
                    <a:lnTo>
                      <a:pt x="560844" y="355236"/>
                    </a:lnTo>
                    <a:lnTo>
                      <a:pt x="551583" y="360947"/>
                    </a:lnTo>
                    <a:cubicBezTo>
                      <a:pt x="533059" y="371551"/>
                      <a:pt x="495609" y="387793"/>
                      <a:pt x="476683" y="396384"/>
                    </a:cubicBezTo>
                    <a:cubicBezTo>
                      <a:pt x="457756" y="404975"/>
                      <a:pt x="445224" y="411892"/>
                      <a:pt x="438024" y="412492"/>
                    </a:cubicBezTo>
                    <a:cubicBezTo>
                      <a:pt x="422344" y="418764"/>
                      <a:pt x="423901" y="418415"/>
                      <a:pt x="404198" y="424573"/>
                    </a:cubicBezTo>
                    <a:cubicBezTo>
                      <a:pt x="398330" y="426406"/>
                      <a:pt x="387822" y="431821"/>
                      <a:pt x="372788" y="434237"/>
                    </a:cubicBezTo>
                    <a:cubicBezTo>
                      <a:pt x="357754" y="436653"/>
                      <a:pt x="342989" y="436653"/>
                      <a:pt x="313995" y="439070"/>
                    </a:cubicBezTo>
                    <a:cubicBezTo>
                      <a:pt x="285001" y="441486"/>
                      <a:pt x="226074" y="448332"/>
                      <a:pt x="198825" y="448734"/>
                    </a:cubicBezTo>
                    <a:cubicBezTo>
                      <a:pt x="171576" y="449137"/>
                      <a:pt x="173858" y="446721"/>
                      <a:pt x="150502" y="441486"/>
                    </a:cubicBezTo>
                    <a:cubicBezTo>
                      <a:pt x="127145" y="436251"/>
                      <a:pt x="84192" y="425110"/>
                      <a:pt x="58688" y="417324"/>
                    </a:cubicBezTo>
                    <a:cubicBezTo>
                      <a:pt x="45936" y="413432"/>
                      <a:pt x="35734" y="409673"/>
                      <a:pt x="26170" y="405948"/>
                    </a:cubicBezTo>
                    <a:lnTo>
                      <a:pt x="0" y="395755"/>
                    </a:lnTo>
                    <a:lnTo>
                      <a:pt x="13142" y="344305"/>
                    </a:lnTo>
                    <a:cubicBezTo>
                      <a:pt x="21111" y="319002"/>
                      <a:pt x="29601" y="295244"/>
                      <a:pt x="35239" y="279270"/>
                    </a:cubicBezTo>
                    <a:cubicBezTo>
                      <a:pt x="46515" y="247323"/>
                      <a:pt x="43830" y="254168"/>
                      <a:pt x="61817" y="226919"/>
                    </a:cubicBezTo>
                    <a:cubicBezTo>
                      <a:pt x="79804" y="199671"/>
                      <a:pt x="120342" y="141549"/>
                      <a:pt x="143161" y="115776"/>
                    </a:cubicBezTo>
                    <a:cubicBezTo>
                      <a:pt x="165980" y="90004"/>
                      <a:pt x="177658" y="87722"/>
                      <a:pt x="198733" y="72285"/>
                    </a:cubicBezTo>
                    <a:cubicBezTo>
                      <a:pt x="219807" y="56849"/>
                      <a:pt x="241686" y="40607"/>
                      <a:pt x="269606" y="23157"/>
                    </a:cubicBezTo>
                    <a:cubicBezTo>
                      <a:pt x="283096" y="15707"/>
                      <a:pt x="300848" y="7754"/>
                      <a:pt x="317728" y="606"/>
                    </a:cubicBezTo>
                    <a:lnTo>
                      <a:pt x="319190" y="0"/>
                    </a:lnTo>
                    <a:close/>
                  </a:path>
                </a:pathLst>
              </a:custGeom>
              <a:solidFill>
                <a:schemeClr val="accent3">
                  <a:lumMod val="60000"/>
                  <a:lumOff val="40000"/>
                  <a:alpha val="62000"/>
                </a:schemeClr>
              </a:solidFill>
              <a:ln w="5213" cap="flat">
                <a:noFill/>
                <a:prstDash val="solid"/>
                <a:miter/>
              </a:ln>
            </p:spPr>
            <p:txBody>
              <a:bodyPr wrap="square" rtlCol="0" anchor="t">
                <a:noAutofit/>
              </a:bodyPr>
              <a:lstStyle/>
              <a:p>
                <a:pPr algn="ctr"/>
                <a:endPara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D1D2AC2D-FB95-2AF2-E9F6-A080C5F0CAA1}"/>
                  </a:ext>
                </a:extLst>
              </p:cNvPr>
              <p:cNvSpPr/>
              <p:nvPr/>
            </p:nvSpPr>
            <p:spPr>
              <a:xfrm rot="18000000">
                <a:off x="-1465925" y="1362365"/>
                <a:ext cx="542737" cy="448420"/>
              </a:xfrm>
              <a:custGeom>
                <a:avLst/>
                <a:gdLst>
                  <a:gd name="connsiteX0" fmla="*/ 231491 w 542737"/>
                  <a:gd name="connsiteY0" fmla="*/ 0 h 448420"/>
                  <a:gd name="connsiteX1" fmla="*/ 234679 w 542737"/>
                  <a:gd name="connsiteY1" fmla="*/ 1860 h 448420"/>
                  <a:gd name="connsiteX2" fmla="*/ 280586 w 542737"/>
                  <a:gd name="connsiteY2" fmla="*/ 26021 h 448420"/>
                  <a:gd name="connsiteX3" fmla="*/ 379648 w 542737"/>
                  <a:gd name="connsiteY3" fmla="*/ 91258 h 448420"/>
                  <a:gd name="connsiteX4" fmla="*/ 434414 w 542737"/>
                  <a:gd name="connsiteY4" fmla="*/ 151662 h 448420"/>
                  <a:gd name="connsiteX5" fmla="*/ 469046 w 542737"/>
                  <a:gd name="connsiteY5" fmla="*/ 195152 h 448420"/>
                  <a:gd name="connsiteX6" fmla="*/ 490791 w 542737"/>
                  <a:gd name="connsiteY6" fmla="*/ 233811 h 448420"/>
                  <a:gd name="connsiteX7" fmla="*/ 505288 w 542737"/>
                  <a:gd name="connsiteY7" fmla="*/ 265221 h 448420"/>
                  <a:gd name="connsiteX8" fmla="*/ 514953 w 542737"/>
                  <a:gd name="connsiteY8" fmla="*/ 289383 h 448420"/>
                  <a:gd name="connsiteX9" fmla="*/ 527034 w 542737"/>
                  <a:gd name="connsiteY9" fmla="*/ 337706 h 448420"/>
                  <a:gd name="connsiteX10" fmla="*/ 536698 w 542737"/>
                  <a:gd name="connsiteY10" fmla="*/ 371532 h 448420"/>
                  <a:gd name="connsiteX11" fmla="*/ 542430 w 542737"/>
                  <a:gd name="connsiteY11" fmla="*/ 395297 h 448420"/>
                  <a:gd name="connsiteX12" fmla="*/ 542737 w 542737"/>
                  <a:gd name="connsiteY12" fmla="*/ 396548 h 448420"/>
                  <a:gd name="connsiteX13" fmla="*/ 520128 w 542737"/>
                  <a:gd name="connsiteY13" fmla="*/ 407078 h 448420"/>
                  <a:gd name="connsiteX14" fmla="*/ 505196 w 542737"/>
                  <a:gd name="connsiteY14" fmla="*/ 412135 h 448420"/>
                  <a:gd name="connsiteX15" fmla="*/ 471370 w 542737"/>
                  <a:gd name="connsiteY15" fmla="*/ 424216 h 448420"/>
                  <a:gd name="connsiteX16" fmla="*/ 439960 w 542737"/>
                  <a:gd name="connsiteY16" fmla="*/ 433880 h 448420"/>
                  <a:gd name="connsiteX17" fmla="*/ 381167 w 542737"/>
                  <a:gd name="connsiteY17" fmla="*/ 438713 h 448420"/>
                  <a:gd name="connsiteX18" fmla="*/ 265997 w 542737"/>
                  <a:gd name="connsiteY18" fmla="*/ 448377 h 448420"/>
                  <a:gd name="connsiteX19" fmla="*/ 217674 w 542737"/>
                  <a:gd name="connsiteY19" fmla="*/ 441129 h 448420"/>
                  <a:gd name="connsiteX20" fmla="*/ 125860 w 542737"/>
                  <a:gd name="connsiteY20" fmla="*/ 416967 h 448420"/>
                  <a:gd name="connsiteX21" fmla="*/ 64650 w 542737"/>
                  <a:gd name="connsiteY21" fmla="*/ 394416 h 448420"/>
                  <a:gd name="connsiteX22" fmla="*/ 21965 w 542737"/>
                  <a:gd name="connsiteY22" fmla="*/ 367839 h 448420"/>
                  <a:gd name="connsiteX23" fmla="*/ 0 w 542737"/>
                  <a:gd name="connsiteY23" fmla="*/ 354879 h 448420"/>
                  <a:gd name="connsiteX24" fmla="*/ 8861 w 542737"/>
                  <a:gd name="connsiteY24" fmla="*/ 349415 h 448420"/>
                  <a:gd name="connsiteX25" fmla="*/ 26982 w 542737"/>
                  <a:gd name="connsiteY25" fmla="*/ 332402 h 448420"/>
                  <a:gd name="connsiteX26" fmla="*/ 101882 w 542737"/>
                  <a:gd name="connsiteY26" fmla="*/ 250252 h 448420"/>
                  <a:gd name="connsiteX27" fmla="*/ 128460 w 542737"/>
                  <a:gd name="connsiteY27" fmla="*/ 221258 h 448420"/>
                  <a:gd name="connsiteX28" fmla="*/ 159870 w 542737"/>
                  <a:gd name="connsiteY28" fmla="*/ 187432 h 448420"/>
                  <a:gd name="connsiteX29" fmla="*/ 184032 w 542737"/>
                  <a:gd name="connsiteY29" fmla="*/ 148774 h 448420"/>
                  <a:gd name="connsiteX30" fmla="*/ 210610 w 542737"/>
                  <a:gd name="connsiteY30" fmla="*/ 83537 h 448420"/>
                  <a:gd name="connsiteX31" fmla="*/ 226717 w 542737"/>
                  <a:gd name="connsiteY31" fmla="*/ 27160 h 448420"/>
                  <a:gd name="connsiteX32" fmla="*/ 231491 w 542737"/>
                  <a:gd name="connsiteY32" fmla="*/ 0 h 44842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542737" h="448420">
                    <a:moveTo>
                      <a:pt x="231491" y="0"/>
                    </a:moveTo>
                    <a:lnTo>
                      <a:pt x="234679" y="1860"/>
                    </a:lnTo>
                    <a:cubicBezTo>
                      <a:pt x="246760" y="8303"/>
                      <a:pt x="256424" y="11122"/>
                      <a:pt x="280586" y="26021"/>
                    </a:cubicBezTo>
                    <a:cubicBezTo>
                      <a:pt x="304747" y="40921"/>
                      <a:pt x="354010" y="70318"/>
                      <a:pt x="379648" y="91258"/>
                    </a:cubicBezTo>
                    <a:cubicBezTo>
                      <a:pt x="405286" y="112198"/>
                      <a:pt x="419515" y="134346"/>
                      <a:pt x="434414" y="151662"/>
                    </a:cubicBezTo>
                    <a:cubicBezTo>
                      <a:pt x="449314" y="168978"/>
                      <a:pt x="459650" y="181461"/>
                      <a:pt x="469046" y="195152"/>
                    </a:cubicBezTo>
                    <a:cubicBezTo>
                      <a:pt x="478442" y="208844"/>
                      <a:pt x="486764" y="225355"/>
                      <a:pt x="490791" y="233811"/>
                    </a:cubicBezTo>
                    <a:cubicBezTo>
                      <a:pt x="496832" y="245489"/>
                      <a:pt x="501261" y="255959"/>
                      <a:pt x="505288" y="265221"/>
                    </a:cubicBezTo>
                    <a:cubicBezTo>
                      <a:pt x="509315" y="274483"/>
                      <a:pt x="511329" y="277302"/>
                      <a:pt x="514953" y="289383"/>
                    </a:cubicBezTo>
                    <a:cubicBezTo>
                      <a:pt x="518577" y="301463"/>
                      <a:pt x="523410" y="324014"/>
                      <a:pt x="527034" y="337706"/>
                    </a:cubicBezTo>
                    <a:cubicBezTo>
                      <a:pt x="530658" y="351397"/>
                      <a:pt x="531329" y="344954"/>
                      <a:pt x="536698" y="371532"/>
                    </a:cubicBezTo>
                    <a:cubicBezTo>
                      <a:pt x="538041" y="378177"/>
                      <a:pt x="540096" y="386205"/>
                      <a:pt x="542430" y="395297"/>
                    </a:cubicBezTo>
                    <a:lnTo>
                      <a:pt x="542737" y="396548"/>
                    </a:lnTo>
                    <a:lnTo>
                      <a:pt x="520128" y="407078"/>
                    </a:lnTo>
                    <a:cubicBezTo>
                      <a:pt x="513729" y="409956"/>
                      <a:pt x="508796" y="411835"/>
                      <a:pt x="505196" y="412135"/>
                    </a:cubicBezTo>
                    <a:cubicBezTo>
                      <a:pt x="489516" y="418407"/>
                      <a:pt x="491073" y="418058"/>
                      <a:pt x="471370" y="424216"/>
                    </a:cubicBezTo>
                    <a:cubicBezTo>
                      <a:pt x="465502" y="426049"/>
                      <a:pt x="454994" y="431464"/>
                      <a:pt x="439960" y="433880"/>
                    </a:cubicBezTo>
                    <a:cubicBezTo>
                      <a:pt x="424926" y="436296"/>
                      <a:pt x="410161" y="436296"/>
                      <a:pt x="381167" y="438713"/>
                    </a:cubicBezTo>
                    <a:cubicBezTo>
                      <a:pt x="352173" y="441129"/>
                      <a:pt x="293246" y="447975"/>
                      <a:pt x="265997" y="448377"/>
                    </a:cubicBezTo>
                    <a:cubicBezTo>
                      <a:pt x="238748" y="448780"/>
                      <a:pt x="241030" y="446364"/>
                      <a:pt x="217674" y="441129"/>
                    </a:cubicBezTo>
                    <a:cubicBezTo>
                      <a:pt x="194317" y="435894"/>
                      <a:pt x="151364" y="424753"/>
                      <a:pt x="125860" y="416967"/>
                    </a:cubicBezTo>
                    <a:cubicBezTo>
                      <a:pt x="100356" y="409182"/>
                      <a:pt x="85053" y="401933"/>
                      <a:pt x="64650" y="394416"/>
                    </a:cubicBezTo>
                    <a:cubicBezTo>
                      <a:pt x="47737" y="387168"/>
                      <a:pt x="38341" y="378309"/>
                      <a:pt x="21965" y="367839"/>
                    </a:cubicBezTo>
                    <a:lnTo>
                      <a:pt x="0" y="354879"/>
                    </a:lnTo>
                    <a:lnTo>
                      <a:pt x="8861" y="349415"/>
                    </a:lnTo>
                    <a:cubicBezTo>
                      <a:pt x="13290" y="345993"/>
                      <a:pt x="17720" y="341597"/>
                      <a:pt x="26982" y="332402"/>
                    </a:cubicBezTo>
                    <a:cubicBezTo>
                      <a:pt x="45506" y="314012"/>
                      <a:pt x="76916" y="277635"/>
                      <a:pt x="101882" y="250252"/>
                    </a:cubicBezTo>
                    <a:lnTo>
                      <a:pt x="128460" y="221258"/>
                    </a:lnTo>
                    <a:cubicBezTo>
                      <a:pt x="138125" y="210788"/>
                      <a:pt x="150608" y="199513"/>
                      <a:pt x="159870" y="187432"/>
                    </a:cubicBezTo>
                    <a:cubicBezTo>
                      <a:pt x="169132" y="175351"/>
                      <a:pt x="175575" y="166089"/>
                      <a:pt x="184032" y="148774"/>
                    </a:cubicBezTo>
                    <a:cubicBezTo>
                      <a:pt x="192488" y="131458"/>
                      <a:pt x="203495" y="103806"/>
                      <a:pt x="210610" y="83537"/>
                    </a:cubicBezTo>
                    <a:cubicBezTo>
                      <a:pt x="217724" y="63269"/>
                      <a:pt x="220945" y="61389"/>
                      <a:pt x="226717" y="27160"/>
                    </a:cubicBezTo>
                    <a:lnTo>
                      <a:pt x="231491" y="0"/>
                    </a:lnTo>
                    <a:close/>
                  </a:path>
                </a:pathLst>
              </a:custGeom>
              <a:solidFill>
                <a:schemeClr val="accent1">
                  <a:alpha val="62000"/>
                </a:schemeClr>
              </a:solidFill>
              <a:ln w="5213" cap="flat">
                <a:noFill/>
                <a:prstDash val="solid"/>
                <a:miter/>
              </a:ln>
            </p:spPr>
            <p:txBody>
              <a:bodyPr wrap="square" rtlCol="0" anchor="t">
                <a:noAutofit/>
              </a:bodyPr>
              <a:lstStyle/>
              <a:p>
                <a:pPr algn="ctr"/>
                <a:endPara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1A322D19-BF45-44FA-BC2A-A0830B5CEDE7}"/>
                  </a:ext>
                </a:extLst>
              </p:cNvPr>
              <p:cNvSpPr/>
              <p:nvPr/>
            </p:nvSpPr>
            <p:spPr>
              <a:xfrm rot="18000000">
                <a:off x="-2308584" y="1490970"/>
                <a:ext cx="879572" cy="1070534"/>
              </a:xfrm>
              <a:custGeom>
                <a:avLst/>
                <a:gdLst>
                  <a:gd name="connsiteX0" fmla="*/ 567768 w 879572"/>
                  <a:gd name="connsiteY0" fmla="*/ 0 h 1070534"/>
                  <a:gd name="connsiteX1" fmla="*/ 649918 w 879572"/>
                  <a:gd name="connsiteY1" fmla="*/ 4027 h 1070534"/>
                  <a:gd name="connsiteX2" fmla="*/ 724819 w 879572"/>
                  <a:gd name="connsiteY2" fmla="*/ 21745 h 1070534"/>
                  <a:gd name="connsiteX3" fmla="*/ 780390 w 879572"/>
                  <a:gd name="connsiteY3" fmla="*/ 43491 h 1070534"/>
                  <a:gd name="connsiteX4" fmla="*/ 806968 w 879572"/>
                  <a:gd name="connsiteY4" fmla="*/ 57988 h 1070534"/>
                  <a:gd name="connsiteX5" fmla="*/ 852875 w 879572"/>
                  <a:gd name="connsiteY5" fmla="*/ 82149 h 1070534"/>
                  <a:gd name="connsiteX6" fmla="*/ 874941 w 879572"/>
                  <a:gd name="connsiteY6" fmla="*/ 95684 h 1070534"/>
                  <a:gd name="connsiteX7" fmla="*/ 879572 w 879572"/>
                  <a:gd name="connsiteY7" fmla="*/ 98578 h 1070534"/>
                  <a:gd name="connsiteX8" fmla="*/ 871063 w 879572"/>
                  <a:gd name="connsiteY8" fmla="*/ 104247 h 1070534"/>
                  <a:gd name="connsiteX9" fmla="*/ 838194 w 879572"/>
                  <a:gd name="connsiteY9" fmla="*/ 128056 h 1070534"/>
                  <a:gd name="connsiteX10" fmla="*/ 782622 w 879572"/>
                  <a:gd name="connsiteY10" fmla="*/ 171547 h 1070534"/>
                  <a:gd name="connsiteX11" fmla="*/ 701278 w 879572"/>
                  <a:gd name="connsiteY11" fmla="*/ 282690 h 1070534"/>
                  <a:gd name="connsiteX12" fmla="*/ 674700 w 879572"/>
                  <a:gd name="connsiteY12" fmla="*/ 335041 h 1070534"/>
                  <a:gd name="connsiteX13" fmla="*/ 633626 w 879572"/>
                  <a:gd name="connsiteY13" fmla="*/ 474372 h 1070534"/>
                  <a:gd name="connsiteX14" fmla="*/ 632015 w 879572"/>
                  <a:gd name="connsiteY14" fmla="*/ 600818 h 1070534"/>
                  <a:gd name="connsiteX15" fmla="*/ 643693 w 879572"/>
                  <a:gd name="connsiteY15" fmla="*/ 670987 h 1070534"/>
                  <a:gd name="connsiteX16" fmla="*/ 644643 w 879572"/>
                  <a:gd name="connsiteY16" fmla="*/ 674779 h 1070534"/>
                  <a:gd name="connsiteX17" fmla="*/ 643181 w 879572"/>
                  <a:gd name="connsiteY17" fmla="*/ 675385 h 1070534"/>
                  <a:gd name="connsiteX18" fmla="*/ 595059 w 879572"/>
                  <a:gd name="connsiteY18" fmla="*/ 697936 h 1070534"/>
                  <a:gd name="connsiteX19" fmla="*/ 524186 w 879572"/>
                  <a:gd name="connsiteY19" fmla="*/ 747064 h 1070534"/>
                  <a:gd name="connsiteX20" fmla="*/ 468614 w 879572"/>
                  <a:gd name="connsiteY20" fmla="*/ 790555 h 1070534"/>
                  <a:gd name="connsiteX21" fmla="*/ 387270 w 879572"/>
                  <a:gd name="connsiteY21" fmla="*/ 901698 h 1070534"/>
                  <a:gd name="connsiteX22" fmla="*/ 360692 w 879572"/>
                  <a:gd name="connsiteY22" fmla="*/ 954049 h 1070534"/>
                  <a:gd name="connsiteX23" fmla="*/ 338595 w 879572"/>
                  <a:gd name="connsiteY23" fmla="*/ 1019084 h 1070534"/>
                  <a:gd name="connsiteX24" fmla="*/ 325453 w 879572"/>
                  <a:gd name="connsiteY24" fmla="*/ 1070534 h 1070534"/>
                  <a:gd name="connsiteX25" fmla="*/ 322931 w 879572"/>
                  <a:gd name="connsiteY25" fmla="*/ 1069552 h 1070534"/>
                  <a:gd name="connsiteX26" fmla="*/ 280246 w 879572"/>
                  <a:gd name="connsiteY26" fmla="*/ 1042975 h 1070534"/>
                  <a:gd name="connsiteX27" fmla="*/ 224674 w 879572"/>
                  <a:gd name="connsiteY27" fmla="*/ 1006732 h 1070534"/>
                  <a:gd name="connsiteX28" fmla="*/ 140109 w 879572"/>
                  <a:gd name="connsiteY28" fmla="*/ 927804 h 1070534"/>
                  <a:gd name="connsiteX29" fmla="*/ 103061 w 879572"/>
                  <a:gd name="connsiteY29" fmla="*/ 880287 h 1070534"/>
                  <a:gd name="connsiteX30" fmla="*/ 70040 w 879572"/>
                  <a:gd name="connsiteY30" fmla="*/ 823104 h 1070534"/>
                  <a:gd name="connsiteX31" fmla="*/ 31382 w 879572"/>
                  <a:gd name="connsiteY31" fmla="*/ 733707 h 1070534"/>
                  <a:gd name="connsiteX32" fmla="*/ 3999 w 879572"/>
                  <a:gd name="connsiteY32" fmla="*/ 600818 h 1070534"/>
                  <a:gd name="connsiteX33" fmla="*/ 5610 w 879572"/>
                  <a:gd name="connsiteY33" fmla="*/ 474372 h 1070534"/>
                  <a:gd name="connsiteX34" fmla="*/ 46684 w 879572"/>
                  <a:gd name="connsiteY34" fmla="*/ 335041 h 1070534"/>
                  <a:gd name="connsiteX35" fmla="*/ 73262 w 879572"/>
                  <a:gd name="connsiteY35" fmla="*/ 282690 h 1070534"/>
                  <a:gd name="connsiteX36" fmla="*/ 154606 w 879572"/>
                  <a:gd name="connsiteY36" fmla="*/ 171547 h 1070534"/>
                  <a:gd name="connsiteX37" fmla="*/ 210178 w 879572"/>
                  <a:gd name="connsiteY37" fmla="*/ 128056 h 1070534"/>
                  <a:gd name="connsiteX38" fmla="*/ 281051 w 879572"/>
                  <a:gd name="connsiteY38" fmla="*/ 78928 h 1070534"/>
                  <a:gd name="connsiteX39" fmla="*/ 372060 w 879572"/>
                  <a:gd name="connsiteY39" fmla="*/ 38659 h 1070534"/>
                  <a:gd name="connsiteX40" fmla="*/ 401054 w 879572"/>
                  <a:gd name="connsiteY40" fmla="*/ 28189 h 1070534"/>
                  <a:gd name="connsiteX41" fmla="*/ 561325 w 879572"/>
                  <a:gd name="connsiteY41" fmla="*/ 3222 h 1070534"/>
                  <a:gd name="connsiteX42" fmla="*/ 567768 w 879572"/>
                  <a:gd name="connsiteY42" fmla="*/ 0 h 10705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</a:cxnLst>
                <a:rect l="l" t="t" r="r" b="b"/>
                <a:pathLst>
                  <a:path w="879572" h="1070534">
                    <a:moveTo>
                      <a:pt x="567768" y="0"/>
                    </a:moveTo>
                    <a:cubicBezTo>
                      <a:pt x="595152" y="1342"/>
                      <a:pt x="623743" y="403"/>
                      <a:pt x="649918" y="4027"/>
                    </a:cubicBezTo>
                    <a:cubicBezTo>
                      <a:pt x="676093" y="7651"/>
                      <a:pt x="709919" y="17584"/>
                      <a:pt x="724819" y="21745"/>
                    </a:cubicBezTo>
                    <a:cubicBezTo>
                      <a:pt x="746564" y="28323"/>
                      <a:pt x="769518" y="39061"/>
                      <a:pt x="780390" y="43491"/>
                    </a:cubicBezTo>
                    <a:cubicBezTo>
                      <a:pt x="794082" y="49531"/>
                      <a:pt x="794887" y="51545"/>
                      <a:pt x="806968" y="57988"/>
                    </a:cubicBezTo>
                    <a:cubicBezTo>
                      <a:pt x="819049" y="64431"/>
                      <a:pt x="828713" y="67250"/>
                      <a:pt x="852875" y="82149"/>
                    </a:cubicBezTo>
                    <a:cubicBezTo>
                      <a:pt x="858915" y="85874"/>
                      <a:pt x="866524" y="90505"/>
                      <a:pt x="874941" y="95684"/>
                    </a:cubicBezTo>
                    <a:lnTo>
                      <a:pt x="879572" y="98578"/>
                    </a:lnTo>
                    <a:lnTo>
                      <a:pt x="871063" y="104247"/>
                    </a:lnTo>
                    <a:cubicBezTo>
                      <a:pt x="859469" y="112419"/>
                      <a:pt x="848731" y="120338"/>
                      <a:pt x="838194" y="128056"/>
                    </a:cubicBezTo>
                    <a:cubicBezTo>
                      <a:pt x="817119" y="143493"/>
                      <a:pt x="805441" y="145775"/>
                      <a:pt x="782622" y="171547"/>
                    </a:cubicBezTo>
                    <a:cubicBezTo>
                      <a:pt x="759803" y="197320"/>
                      <a:pt x="719265" y="255442"/>
                      <a:pt x="701278" y="282690"/>
                    </a:cubicBezTo>
                    <a:cubicBezTo>
                      <a:pt x="683291" y="309939"/>
                      <a:pt x="685976" y="303094"/>
                      <a:pt x="674700" y="335041"/>
                    </a:cubicBezTo>
                    <a:cubicBezTo>
                      <a:pt x="663425" y="366988"/>
                      <a:pt x="640740" y="430076"/>
                      <a:pt x="633626" y="474372"/>
                    </a:cubicBezTo>
                    <a:cubicBezTo>
                      <a:pt x="626511" y="518669"/>
                      <a:pt x="626377" y="553837"/>
                      <a:pt x="632015" y="600818"/>
                    </a:cubicBezTo>
                    <a:cubicBezTo>
                      <a:pt x="634834" y="624309"/>
                      <a:pt x="638928" y="648269"/>
                      <a:pt x="643693" y="670987"/>
                    </a:cubicBezTo>
                    <a:lnTo>
                      <a:pt x="644643" y="674779"/>
                    </a:lnTo>
                    <a:lnTo>
                      <a:pt x="643181" y="675385"/>
                    </a:lnTo>
                    <a:cubicBezTo>
                      <a:pt x="626301" y="682533"/>
                      <a:pt x="608549" y="690486"/>
                      <a:pt x="595059" y="697936"/>
                    </a:cubicBezTo>
                    <a:cubicBezTo>
                      <a:pt x="567139" y="715386"/>
                      <a:pt x="545260" y="731628"/>
                      <a:pt x="524186" y="747064"/>
                    </a:cubicBezTo>
                    <a:cubicBezTo>
                      <a:pt x="503111" y="762501"/>
                      <a:pt x="491433" y="764783"/>
                      <a:pt x="468614" y="790555"/>
                    </a:cubicBezTo>
                    <a:cubicBezTo>
                      <a:pt x="445795" y="816328"/>
                      <a:pt x="405257" y="874450"/>
                      <a:pt x="387270" y="901698"/>
                    </a:cubicBezTo>
                    <a:cubicBezTo>
                      <a:pt x="369283" y="928947"/>
                      <a:pt x="371968" y="922102"/>
                      <a:pt x="360692" y="954049"/>
                    </a:cubicBezTo>
                    <a:cubicBezTo>
                      <a:pt x="355054" y="970023"/>
                      <a:pt x="346564" y="993781"/>
                      <a:pt x="338595" y="1019084"/>
                    </a:cubicBezTo>
                    <a:lnTo>
                      <a:pt x="325453" y="1070534"/>
                    </a:lnTo>
                    <a:lnTo>
                      <a:pt x="322931" y="1069552"/>
                    </a:lnTo>
                    <a:cubicBezTo>
                      <a:pt x="306018" y="1062304"/>
                      <a:pt x="296622" y="1053445"/>
                      <a:pt x="280246" y="1042975"/>
                    </a:cubicBezTo>
                    <a:cubicBezTo>
                      <a:pt x="263870" y="1032505"/>
                      <a:pt x="248031" y="1025927"/>
                      <a:pt x="224674" y="1006732"/>
                    </a:cubicBezTo>
                    <a:cubicBezTo>
                      <a:pt x="201318" y="987537"/>
                      <a:pt x="160378" y="948879"/>
                      <a:pt x="140109" y="927804"/>
                    </a:cubicBezTo>
                    <a:cubicBezTo>
                      <a:pt x="119840" y="906730"/>
                      <a:pt x="114739" y="897737"/>
                      <a:pt x="103061" y="880287"/>
                    </a:cubicBezTo>
                    <a:cubicBezTo>
                      <a:pt x="91383" y="862837"/>
                      <a:pt x="81987" y="847534"/>
                      <a:pt x="70040" y="823104"/>
                    </a:cubicBezTo>
                    <a:cubicBezTo>
                      <a:pt x="58094" y="798674"/>
                      <a:pt x="42389" y="770754"/>
                      <a:pt x="31382" y="733707"/>
                    </a:cubicBezTo>
                    <a:cubicBezTo>
                      <a:pt x="20375" y="696659"/>
                      <a:pt x="9637" y="647799"/>
                      <a:pt x="3999" y="600818"/>
                    </a:cubicBezTo>
                    <a:cubicBezTo>
                      <a:pt x="-1639" y="553837"/>
                      <a:pt x="-1505" y="518669"/>
                      <a:pt x="5610" y="474372"/>
                    </a:cubicBezTo>
                    <a:cubicBezTo>
                      <a:pt x="12724" y="430076"/>
                      <a:pt x="35409" y="366988"/>
                      <a:pt x="46684" y="335041"/>
                    </a:cubicBezTo>
                    <a:cubicBezTo>
                      <a:pt x="57960" y="303094"/>
                      <a:pt x="55275" y="309939"/>
                      <a:pt x="73262" y="282690"/>
                    </a:cubicBezTo>
                    <a:cubicBezTo>
                      <a:pt x="91249" y="255442"/>
                      <a:pt x="131787" y="197320"/>
                      <a:pt x="154606" y="171547"/>
                    </a:cubicBezTo>
                    <a:cubicBezTo>
                      <a:pt x="177425" y="145775"/>
                      <a:pt x="189103" y="143493"/>
                      <a:pt x="210178" y="128056"/>
                    </a:cubicBezTo>
                    <a:cubicBezTo>
                      <a:pt x="231252" y="112620"/>
                      <a:pt x="253131" y="96378"/>
                      <a:pt x="281051" y="78928"/>
                    </a:cubicBezTo>
                    <a:cubicBezTo>
                      <a:pt x="308032" y="64028"/>
                      <a:pt x="352059" y="47115"/>
                      <a:pt x="372060" y="38659"/>
                    </a:cubicBezTo>
                    <a:cubicBezTo>
                      <a:pt x="392060" y="30202"/>
                      <a:pt x="369510" y="34095"/>
                      <a:pt x="401054" y="28189"/>
                    </a:cubicBezTo>
                    <a:cubicBezTo>
                      <a:pt x="459310" y="17182"/>
                      <a:pt x="493405" y="-1879"/>
                      <a:pt x="561325" y="3222"/>
                    </a:cubicBezTo>
                    <a:lnTo>
                      <a:pt x="567768" y="0"/>
                    </a:lnTo>
                    <a:close/>
                  </a:path>
                </a:pathLst>
              </a:custGeom>
              <a:solidFill>
                <a:schemeClr val="accent2">
                  <a:lumMod val="60000"/>
                  <a:lumOff val="40000"/>
                  <a:alpha val="70000"/>
                </a:schemeClr>
              </a:solidFill>
              <a:ln w="5213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pPr algn="ctr"/>
                <a:endPara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CA7A8DD8-D1F0-FAE9-365B-3364408AC94D}"/>
                  </a:ext>
                </a:extLst>
              </p:cNvPr>
              <p:cNvSpPr/>
              <p:nvPr/>
            </p:nvSpPr>
            <p:spPr>
              <a:xfrm rot="18000000">
                <a:off x="-1868405" y="728769"/>
                <a:ext cx="879991" cy="1071684"/>
              </a:xfrm>
              <a:custGeom>
                <a:avLst/>
                <a:gdLst>
                  <a:gd name="connsiteX0" fmla="*/ 316213 w 879991"/>
                  <a:gd name="connsiteY0" fmla="*/ 0 h 1071684"/>
                  <a:gd name="connsiteX1" fmla="*/ 398362 w 879991"/>
                  <a:gd name="connsiteY1" fmla="*/ 4027 h 1071684"/>
                  <a:gd name="connsiteX2" fmla="*/ 473263 w 879991"/>
                  <a:gd name="connsiteY2" fmla="*/ 21745 h 1071684"/>
                  <a:gd name="connsiteX3" fmla="*/ 528834 w 879991"/>
                  <a:gd name="connsiteY3" fmla="*/ 43491 h 1071684"/>
                  <a:gd name="connsiteX4" fmla="*/ 555412 w 879991"/>
                  <a:gd name="connsiteY4" fmla="*/ 57988 h 1071684"/>
                  <a:gd name="connsiteX5" fmla="*/ 601319 w 879991"/>
                  <a:gd name="connsiteY5" fmla="*/ 82149 h 1071684"/>
                  <a:gd name="connsiteX6" fmla="*/ 700381 w 879991"/>
                  <a:gd name="connsiteY6" fmla="*/ 147386 h 1071684"/>
                  <a:gd name="connsiteX7" fmla="*/ 755147 w 879991"/>
                  <a:gd name="connsiteY7" fmla="*/ 207790 h 1071684"/>
                  <a:gd name="connsiteX8" fmla="*/ 789779 w 879991"/>
                  <a:gd name="connsiteY8" fmla="*/ 251280 h 1071684"/>
                  <a:gd name="connsiteX9" fmla="*/ 811524 w 879991"/>
                  <a:gd name="connsiteY9" fmla="*/ 289939 h 1071684"/>
                  <a:gd name="connsiteX10" fmla="*/ 826021 w 879991"/>
                  <a:gd name="connsiteY10" fmla="*/ 321349 h 1071684"/>
                  <a:gd name="connsiteX11" fmla="*/ 835686 w 879991"/>
                  <a:gd name="connsiteY11" fmla="*/ 345511 h 1071684"/>
                  <a:gd name="connsiteX12" fmla="*/ 847767 w 879991"/>
                  <a:gd name="connsiteY12" fmla="*/ 393834 h 1071684"/>
                  <a:gd name="connsiteX13" fmla="*/ 857431 w 879991"/>
                  <a:gd name="connsiteY13" fmla="*/ 427660 h 1071684"/>
                  <a:gd name="connsiteX14" fmla="*/ 879982 w 879991"/>
                  <a:gd name="connsiteY14" fmla="*/ 553300 h 1071684"/>
                  <a:gd name="connsiteX15" fmla="*/ 861458 w 879991"/>
                  <a:gd name="connsiteY15" fmla="*/ 702296 h 1071684"/>
                  <a:gd name="connsiteX16" fmla="*/ 845351 w 879991"/>
                  <a:gd name="connsiteY16" fmla="*/ 758673 h 1071684"/>
                  <a:gd name="connsiteX17" fmla="*/ 818773 w 879991"/>
                  <a:gd name="connsiteY17" fmla="*/ 823910 h 1071684"/>
                  <a:gd name="connsiteX18" fmla="*/ 794611 w 879991"/>
                  <a:gd name="connsiteY18" fmla="*/ 862568 h 1071684"/>
                  <a:gd name="connsiteX19" fmla="*/ 763201 w 879991"/>
                  <a:gd name="connsiteY19" fmla="*/ 896394 h 1071684"/>
                  <a:gd name="connsiteX20" fmla="*/ 736624 w 879991"/>
                  <a:gd name="connsiteY20" fmla="*/ 925388 h 1071684"/>
                  <a:gd name="connsiteX21" fmla="*/ 661723 w 879991"/>
                  <a:gd name="connsiteY21" fmla="*/ 1007538 h 1071684"/>
                  <a:gd name="connsiteX22" fmla="*/ 625480 w 879991"/>
                  <a:gd name="connsiteY22" fmla="*/ 1035726 h 1071684"/>
                  <a:gd name="connsiteX23" fmla="*/ 550580 w 879991"/>
                  <a:gd name="connsiteY23" fmla="*/ 1071163 h 1071684"/>
                  <a:gd name="connsiteX24" fmla="*/ 549462 w 879991"/>
                  <a:gd name="connsiteY24" fmla="*/ 1071684 h 1071684"/>
                  <a:gd name="connsiteX25" fmla="*/ 549155 w 879991"/>
                  <a:gd name="connsiteY25" fmla="*/ 1070433 h 1071684"/>
                  <a:gd name="connsiteX26" fmla="*/ 543423 w 879991"/>
                  <a:gd name="connsiteY26" fmla="*/ 1046668 h 1071684"/>
                  <a:gd name="connsiteX27" fmla="*/ 533759 w 879991"/>
                  <a:gd name="connsiteY27" fmla="*/ 1012842 h 1071684"/>
                  <a:gd name="connsiteX28" fmla="*/ 521678 w 879991"/>
                  <a:gd name="connsiteY28" fmla="*/ 964519 h 1071684"/>
                  <a:gd name="connsiteX29" fmla="*/ 512013 w 879991"/>
                  <a:gd name="connsiteY29" fmla="*/ 940357 h 1071684"/>
                  <a:gd name="connsiteX30" fmla="*/ 497516 w 879991"/>
                  <a:gd name="connsiteY30" fmla="*/ 908947 h 1071684"/>
                  <a:gd name="connsiteX31" fmla="*/ 475771 w 879991"/>
                  <a:gd name="connsiteY31" fmla="*/ 870288 h 1071684"/>
                  <a:gd name="connsiteX32" fmla="*/ 441139 w 879991"/>
                  <a:gd name="connsiteY32" fmla="*/ 826798 h 1071684"/>
                  <a:gd name="connsiteX33" fmla="*/ 386373 w 879991"/>
                  <a:gd name="connsiteY33" fmla="*/ 766394 h 1071684"/>
                  <a:gd name="connsiteX34" fmla="*/ 287311 w 879991"/>
                  <a:gd name="connsiteY34" fmla="*/ 701157 h 1071684"/>
                  <a:gd name="connsiteX35" fmla="*/ 241404 w 879991"/>
                  <a:gd name="connsiteY35" fmla="*/ 676996 h 1071684"/>
                  <a:gd name="connsiteX36" fmla="*/ 238216 w 879991"/>
                  <a:gd name="connsiteY36" fmla="*/ 675136 h 1071684"/>
                  <a:gd name="connsiteX37" fmla="*/ 238828 w 879991"/>
                  <a:gd name="connsiteY37" fmla="*/ 671654 h 1071684"/>
                  <a:gd name="connsiteX38" fmla="*/ 251966 w 879991"/>
                  <a:gd name="connsiteY38" fmla="*/ 553300 h 1071684"/>
                  <a:gd name="connsiteX39" fmla="*/ 229415 w 879991"/>
                  <a:gd name="connsiteY39" fmla="*/ 427660 h 1071684"/>
                  <a:gd name="connsiteX40" fmla="*/ 219751 w 879991"/>
                  <a:gd name="connsiteY40" fmla="*/ 393834 h 1071684"/>
                  <a:gd name="connsiteX41" fmla="*/ 207670 w 879991"/>
                  <a:gd name="connsiteY41" fmla="*/ 345511 h 1071684"/>
                  <a:gd name="connsiteX42" fmla="*/ 198005 w 879991"/>
                  <a:gd name="connsiteY42" fmla="*/ 321349 h 1071684"/>
                  <a:gd name="connsiteX43" fmla="*/ 183508 w 879991"/>
                  <a:gd name="connsiteY43" fmla="*/ 289939 h 1071684"/>
                  <a:gd name="connsiteX44" fmla="*/ 161763 w 879991"/>
                  <a:gd name="connsiteY44" fmla="*/ 251280 h 1071684"/>
                  <a:gd name="connsiteX45" fmla="*/ 127131 w 879991"/>
                  <a:gd name="connsiteY45" fmla="*/ 207790 h 1071684"/>
                  <a:gd name="connsiteX46" fmla="*/ 72365 w 879991"/>
                  <a:gd name="connsiteY46" fmla="*/ 147386 h 1071684"/>
                  <a:gd name="connsiteX47" fmla="*/ 22280 w 879991"/>
                  <a:gd name="connsiteY47" fmla="*/ 112503 h 1071684"/>
                  <a:gd name="connsiteX48" fmla="*/ 0 w 879991"/>
                  <a:gd name="connsiteY48" fmla="*/ 98578 h 1071684"/>
                  <a:gd name="connsiteX49" fmla="*/ 29495 w 879991"/>
                  <a:gd name="connsiteY49" fmla="*/ 78928 h 1071684"/>
                  <a:gd name="connsiteX50" fmla="*/ 120504 w 879991"/>
                  <a:gd name="connsiteY50" fmla="*/ 38659 h 1071684"/>
                  <a:gd name="connsiteX51" fmla="*/ 149498 w 879991"/>
                  <a:gd name="connsiteY51" fmla="*/ 28189 h 1071684"/>
                  <a:gd name="connsiteX52" fmla="*/ 309769 w 879991"/>
                  <a:gd name="connsiteY52" fmla="*/ 3222 h 1071684"/>
                  <a:gd name="connsiteX53" fmla="*/ 316213 w 879991"/>
                  <a:gd name="connsiteY53" fmla="*/ 0 h 10716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879991" h="1071684">
                    <a:moveTo>
                      <a:pt x="316213" y="0"/>
                    </a:moveTo>
                    <a:cubicBezTo>
                      <a:pt x="343596" y="1342"/>
                      <a:pt x="372187" y="403"/>
                      <a:pt x="398362" y="4027"/>
                    </a:cubicBezTo>
                    <a:cubicBezTo>
                      <a:pt x="424537" y="7651"/>
                      <a:pt x="458363" y="17584"/>
                      <a:pt x="473263" y="21745"/>
                    </a:cubicBezTo>
                    <a:cubicBezTo>
                      <a:pt x="495008" y="28323"/>
                      <a:pt x="517962" y="39061"/>
                      <a:pt x="528834" y="43491"/>
                    </a:cubicBezTo>
                    <a:cubicBezTo>
                      <a:pt x="542526" y="49531"/>
                      <a:pt x="543331" y="51545"/>
                      <a:pt x="555412" y="57988"/>
                    </a:cubicBezTo>
                    <a:cubicBezTo>
                      <a:pt x="567493" y="64431"/>
                      <a:pt x="577157" y="67250"/>
                      <a:pt x="601319" y="82149"/>
                    </a:cubicBezTo>
                    <a:cubicBezTo>
                      <a:pt x="625480" y="97049"/>
                      <a:pt x="674743" y="126446"/>
                      <a:pt x="700381" y="147386"/>
                    </a:cubicBezTo>
                    <a:cubicBezTo>
                      <a:pt x="726019" y="168326"/>
                      <a:pt x="740248" y="190474"/>
                      <a:pt x="755147" y="207790"/>
                    </a:cubicBezTo>
                    <a:cubicBezTo>
                      <a:pt x="770047" y="225106"/>
                      <a:pt x="780383" y="237589"/>
                      <a:pt x="789779" y="251280"/>
                    </a:cubicBezTo>
                    <a:cubicBezTo>
                      <a:pt x="799175" y="264972"/>
                      <a:pt x="807497" y="281483"/>
                      <a:pt x="811524" y="289939"/>
                    </a:cubicBezTo>
                    <a:cubicBezTo>
                      <a:pt x="817565" y="301617"/>
                      <a:pt x="821994" y="312087"/>
                      <a:pt x="826021" y="321349"/>
                    </a:cubicBezTo>
                    <a:cubicBezTo>
                      <a:pt x="830048" y="330611"/>
                      <a:pt x="832062" y="333430"/>
                      <a:pt x="835686" y="345511"/>
                    </a:cubicBezTo>
                    <a:cubicBezTo>
                      <a:pt x="839310" y="357591"/>
                      <a:pt x="844143" y="380142"/>
                      <a:pt x="847767" y="393834"/>
                    </a:cubicBezTo>
                    <a:cubicBezTo>
                      <a:pt x="851391" y="407525"/>
                      <a:pt x="852062" y="401082"/>
                      <a:pt x="857431" y="427660"/>
                    </a:cubicBezTo>
                    <a:cubicBezTo>
                      <a:pt x="862801" y="454238"/>
                      <a:pt x="879579" y="502964"/>
                      <a:pt x="879982" y="553300"/>
                    </a:cubicBezTo>
                    <a:cubicBezTo>
                      <a:pt x="880385" y="603637"/>
                      <a:pt x="867230" y="668068"/>
                      <a:pt x="861458" y="702296"/>
                    </a:cubicBezTo>
                    <a:cubicBezTo>
                      <a:pt x="855686" y="736525"/>
                      <a:pt x="852465" y="738405"/>
                      <a:pt x="845351" y="758673"/>
                    </a:cubicBezTo>
                    <a:cubicBezTo>
                      <a:pt x="838236" y="778942"/>
                      <a:pt x="827229" y="806594"/>
                      <a:pt x="818773" y="823910"/>
                    </a:cubicBezTo>
                    <a:cubicBezTo>
                      <a:pt x="810316" y="841225"/>
                      <a:pt x="803873" y="850487"/>
                      <a:pt x="794611" y="862568"/>
                    </a:cubicBezTo>
                    <a:cubicBezTo>
                      <a:pt x="785349" y="874649"/>
                      <a:pt x="772866" y="885924"/>
                      <a:pt x="763201" y="896394"/>
                    </a:cubicBezTo>
                    <a:lnTo>
                      <a:pt x="736624" y="925388"/>
                    </a:lnTo>
                    <a:cubicBezTo>
                      <a:pt x="711657" y="952771"/>
                      <a:pt x="680247" y="989148"/>
                      <a:pt x="661723" y="1007538"/>
                    </a:cubicBezTo>
                    <a:cubicBezTo>
                      <a:pt x="643199" y="1025927"/>
                      <a:pt x="644004" y="1025122"/>
                      <a:pt x="625480" y="1035726"/>
                    </a:cubicBezTo>
                    <a:cubicBezTo>
                      <a:pt x="606957" y="1046330"/>
                      <a:pt x="569506" y="1062572"/>
                      <a:pt x="550580" y="1071163"/>
                    </a:cubicBezTo>
                    <a:lnTo>
                      <a:pt x="549462" y="1071684"/>
                    </a:lnTo>
                    <a:lnTo>
                      <a:pt x="549155" y="1070433"/>
                    </a:lnTo>
                    <a:cubicBezTo>
                      <a:pt x="546821" y="1061341"/>
                      <a:pt x="544766" y="1053313"/>
                      <a:pt x="543423" y="1046668"/>
                    </a:cubicBezTo>
                    <a:cubicBezTo>
                      <a:pt x="538054" y="1020090"/>
                      <a:pt x="537383" y="1026533"/>
                      <a:pt x="533759" y="1012842"/>
                    </a:cubicBezTo>
                    <a:cubicBezTo>
                      <a:pt x="530135" y="999150"/>
                      <a:pt x="525302" y="976599"/>
                      <a:pt x="521678" y="964519"/>
                    </a:cubicBezTo>
                    <a:cubicBezTo>
                      <a:pt x="518054" y="952438"/>
                      <a:pt x="516040" y="949619"/>
                      <a:pt x="512013" y="940357"/>
                    </a:cubicBezTo>
                    <a:cubicBezTo>
                      <a:pt x="507986" y="931095"/>
                      <a:pt x="503557" y="920625"/>
                      <a:pt x="497516" y="908947"/>
                    </a:cubicBezTo>
                    <a:cubicBezTo>
                      <a:pt x="493489" y="900491"/>
                      <a:pt x="485167" y="883980"/>
                      <a:pt x="475771" y="870288"/>
                    </a:cubicBezTo>
                    <a:cubicBezTo>
                      <a:pt x="466375" y="856597"/>
                      <a:pt x="456039" y="844114"/>
                      <a:pt x="441139" y="826798"/>
                    </a:cubicBezTo>
                    <a:cubicBezTo>
                      <a:pt x="426240" y="809482"/>
                      <a:pt x="412011" y="787334"/>
                      <a:pt x="386373" y="766394"/>
                    </a:cubicBezTo>
                    <a:cubicBezTo>
                      <a:pt x="360735" y="745454"/>
                      <a:pt x="311472" y="716057"/>
                      <a:pt x="287311" y="701157"/>
                    </a:cubicBezTo>
                    <a:cubicBezTo>
                      <a:pt x="263149" y="686258"/>
                      <a:pt x="253485" y="683439"/>
                      <a:pt x="241404" y="676996"/>
                    </a:cubicBezTo>
                    <a:lnTo>
                      <a:pt x="238216" y="675136"/>
                    </a:lnTo>
                    <a:lnTo>
                      <a:pt x="238828" y="671654"/>
                    </a:lnTo>
                    <a:cubicBezTo>
                      <a:pt x="244944" y="636733"/>
                      <a:pt x="252268" y="591053"/>
                      <a:pt x="251966" y="553300"/>
                    </a:cubicBezTo>
                    <a:cubicBezTo>
                      <a:pt x="251563" y="502964"/>
                      <a:pt x="234785" y="454238"/>
                      <a:pt x="229415" y="427660"/>
                    </a:cubicBezTo>
                    <a:cubicBezTo>
                      <a:pt x="224046" y="401082"/>
                      <a:pt x="223375" y="407525"/>
                      <a:pt x="219751" y="393834"/>
                    </a:cubicBezTo>
                    <a:cubicBezTo>
                      <a:pt x="216127" y="380142"/>
                      <a:pt x="211294" y="357591"/>
                      <a:pt x="207670" y="345511"/>
                    </a:cubicBezTo>
                    <a:cubicBezTo>
                      <a:pt x="204046" y="333430"/>
                      <a:pt x="202032" y="330611"/>
                      <a:pt x="198005" y="321349"/>
                    </a:cubicBezTo>
                    <a:cubicBezTo>
                      <a:pt x="193978" y="312087"/>
                      <a:pt x="189549" y="301617"/>
                      <a:pt x="183508" y="289939"/>
                    </a:cubicBezTo>
                    <a:cubicBezTo>
                      <a:pt x="179481" y="281483"/>
                      <a:pt x="171159" y="264972"/>
                      <a:pt x="161763" y="251280"/>
                    </a:cubicBezTo>
                    <a:cubicBezTo>
                      <a:pt x="152367" y="237589"/>
                      <a:pt x="142031" y="225106"/>
                      <a:pt x="127131" y="207790"/>
                    </a:cubicBezTo>
                    <a:cubicBezTo>
                      <a:pt x="112232" y="190474"/>
                      <a:pt x="98003" y="168326"/>
                      <a:pt x="72365" y="147386"/>
                    </a:cubicBezTo>
                    <a:cubicBezTo>
                      <a:pt x="59546" y="136916"/>
                      <a:pt x="40821" y="124332"/>
                      <a:pt x="22280" y="112503"/>
                    </a:cubicBezTo>
                    <a:lnTo>
                      <a:pt x="0" y="98578"/>
                    </a:lnTo>
                    <a:lnTo>
                      <a:pt x="29495" y="78928"/>
                    </a:lnTo>
                    <a:cubicBezTo>
                      <a:pt x="56476" y="64028"/>
                      <a:pt x="100503" y="47115"/>
                      <a:pt x="120504" y="38659"/>
                    </a:cubicBezTo>
                    <a:cubicBezTo>
                      <a:pt x="140504" y="30202"/>
                      <a:pt x="117954" y="34095"/>
                      <a:pt x="149498" y="28189"/>
                    </a:cubicBezTo>
                    <a:cubicBezTo>
                      <a:pt x="207754" y="17182"/>
                      <a:pt x="241849" y="-1879"/>
                      <a:pt x="309769" y="3222"/>
                    </a:cubicBezTo>
                    <a:lnTo>
                      <a:pt x="316213" y="0"/>
                    </a:lnTo>
                    <a:close/>
                  </a:path>
                </a:pathLst>
              </a:custGeom>
              <a:solidFill>
                <a:schemeClr val="bg2">
                  <a:lumMod val="50000"/>
                  <a:alpha val="80000"/>
                </a:schemeClr>
              </a:solidFill>
              <a:ln w="5213" cap="flat">
                <a:noFill/>
                <a:prstDash val="solid"/>
                <a:miter/>
              </a:ln>
            </p:spPr>
            <p:txBody>
              <a:bodyPr rtlCol="0" anchor="t"/>
              <a:lstStyle/>
              <a:p>
                <a:pPr algn="ctr"/>
                <a:endPara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912CBD0E-5DA4-0820-A81F-F5A77702F8BA}"/>
                  </a:ext>
                </a:extLst>
              </p:cNvPr>
              <p:cNvSpPr/>
              <p:nvPr/>
            </p:nvSpPr>
            <p:spPr>
              <a:xfrm rot="18000000">
                <a:off x="-1634162" y="1583067"/>
                <a:ext cx="473145" cy="411007"/>
              </a:xfrm>
              <a:custGeom>
                <a:avLst/>
                <a:gdLst>
                  <a:gd name="connsiteX0" fmla="*/ 237133 w 473145"/>
                  <a:gd name="connsiteY0" fmla="*/ 0 h 411007"/>
                  <a:gd name="connsiteX1" fmla="*/ 319283 w 473145"/>
                  <a:gd name="connsiteY1" fmla="*/ 4027 h 411007"/>
                  <a:gd name="connsiteX2" fmla="*/ 394184 w 473145"/>
                  <a:gd name="connsiteY2" fmla="*/ 21745 h 411007"/>
                  <a:gd name="connsiteX3" fmla="*/ 449755 w 473145"/>
                  <a:gd name="connsiteY3" fmla="*/ 43491 h 411007"/>
                  <a:gd name="connsiteX4" fmla="*/ 463648 w 473145"/>
                  <a:gd name="connsiteY4" fmla="*/ 50588 h 411007"/>
                  <a:gd name="connsiteX5" fmla="*/ 473145 w 473145"/>
                  <a:gd name="connsiteY5" fmla="*/ 56128 h 411007"/>
                  <a:gd name="connsiteX6" fmla="*/ 468371 w 473145"/>
                  <a:gd name="connsiteY6" fmla="*/ 83288 h 411007"/>
                  <a:gd name="connsiteX7" fmla="*/ 452264 w 473145"/>
                  <a:gd name="connsiteY7" fmla="*/ 139665 h 411007"/>
                  <a:gd name="connsiteX8" fmla="*/ 425686 w 473145"/>
                  <a:gd name="connsiteY8" fmla="*/ 204902 h 411007"/>
                  <a:gd name="connsiteX9" fmla="*/ 401524 w 473145"/>
                  <a:gd name="connsiteY9" fmla="*/ 243560 h 411007"/>
                  <a:gd name="connsiteX10" fmla="*/ 370114 w 473145"/>
                  <a:gd name="connsiteY10" fmla="*/ 277386 h 411007"/>
                  <a:gd name="connsiteX11" fmla="*/ 343536 w 473145"/>
                  <a:gd name="connsiteY11" fmla="*/ 306380 h 411007"/>
                  <a:gd name="connsiteX12" fmla="*/ 268636 w 473145"/>
                  <a:gd name="connsiteY12" fmla="*/ 388530 h 411007"/>
                  <a:gd name="connsiteX13" fmla="*/ 250515 w 473145"/>
                  <a:gd name="connsiteY13" fmla="*/ 405543 h 411007"/>
                  <a:gd name="connsiteX14" fmla="*/ 241654 w 473145"/>
                  <a:gd name="connsiteY14" fmla="*/ 411007 h 411007"/>
                  <a:gd name="connsiteX15" fmla="*/ 238451 w 473145"/>
                  <a:gd name="connsiteY15" fmla="*/ 409117 h 411007"/>
                  <a:gd name="connsiteX16" fmla="*/ 208047 w 473145"/>
                  <a:gd name="connsiteY16" fmla="*/ 387724 h 411007"/>
                  <a:gd name="connsiteX17" fmla="*/ 123482 w 473145"/>
                  <a:gd name="connsiteY17" fmla="*/ 308796 h 411007"/>
                  <a:gd name="connsiteX18" fmla="*/ 86434 w 473145"/>
                  <a:gd name="connsiteY18" fmla="*/ 261279 h 411007"/>
                  <a:gd name="connsiteX19" fmla="*/ 53414 w 473145"/>
                  <a:gd name="connsiteY19" fmla="*/ 204096 h 411007"/>
                  <a:gd name="connsiteX20" fmla="*/ 14755 w 473145"/>
                  <a:gd name="connsiteY20" fmla="*/ 114699 h 411007"/>
                  <a:gd name="connsiteX21" fmla="*/ 0 w 473145"/>
                  <a:gd name="connsiteY21" fmla="*/ 55771 h 411007"/>
                  <a:gd name="connsiteX22" fmla="*/ 22561 w 473145"/>
                  <a:gd name="connsiteY22" fmla="*/ 46423 h 411007"/>
                  <a:gd name="connsiteX23" fmla="*/ 41425 w 473145"/>
                  <a:gd name="connsiteY23" fmla="*/ 38659 h 411007"/>
                  <a:gd name="connsiteX24" fmla="*/ 70419 w 473145"/>
                  <a:gd name="connsiteY24" fmla="*/ 28189 h 411007"/>
                  <a:gd name="connsiteX25" fmla="*/ 230690 w 473145"/>
                  <a:gd name="connsiteY25" fmla="*/ 3222 h 411007"/>
                  <a:gd name="connsiteX26" fmla="*/ 237133 w 473145"/>
                  <a:gd name="connsiteY26" fmla="*/ 0 h 4110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</a:cxnLst>
                <a:rect l="l" t="t" r="r" b="b"/>
                <a:pathLst>
                  <a:path w="473145" h="411007">
                    <a:moveTo>
                      <a:pt x="237133" y="0"/>
                    </a:moveTo>
                    <a:cubicBezTo>
                      <a:pt x="264517" y="1342"/>
                      <a:pt x="293108" y="403"/>
                      <a:pt x="319283" y="4027"/>
                    </a:cubicBezTo>
                    <a:cubicBezTo>
                      <a:pt x="345458" y="7651"/>
                      <a:pt x="379284" y="17584"/>
                      <a:pt x="394184" y="21745"/>
                    </a:cubicBezTo>
                    <a:cubicBezTo>
                      <a:pt x="415929" y="28323"/>
                      <a:pt x="438883" y="39061"/>
                      <a:pt x="449755" y="43491"/>
                    </a:cubicBezTo>
                    <a:cubicBezTo>
                      <a:pt x="456601" y="46511"/>
                      <a:pt x="460225" y="48525"/>
                      <a:pt x="463648" y="50588"/>
                    </a:cubicBezTo>
                    <a:lnTo>
                      <a:pt x="473145" y="56128"/>
                    </a:lnTo>
                    <a:lnTo>
                      <a:pt x="468371" y="83288"/>
                    </a:lnTo>
                    <a:cubicBezTo>
                      <a:pt x="462599" y="117517"/>
                      <a:pt x="459378" y="119397"/>
                      <a:pt x="452264" y="139665"/>
                    </a:cubicBezTo>
                    <a:cubicBezTo>
                      <a:pt x="445149" y="159934"/>
                      <a:pt x="434142" y="187586"/>
                      <a:pt x="425686" y="204902"/>
                    </a:cubicBezTo>
                    <a:cubicBezTo>
                      <a:pt x="417229" y="222217"/>
                      <a:pt x="410786" y="231479"/>
                      <a:pt x="401524" y="243560"/>
                    </a:cubicBezTo>
                    <a:cubicBezTo>
                      <a:pt x="392262" y="255641"/>
                      <a:pt x="379779" y="266916"/>
                      <a:pt x="370114" y="277386"/>
                    </a:cubicBezTo>
                    <a:lnTo>
                      <a:pt x="343536" y="306380"/>
                    </a:lnTo>
                    <a:cubicBezTo>
                      <a:pt x="318570" y="333763"/>
                      <a:pt x="287160" y="370140"/>
                      <a:pt x="268636" y="388530"/>
                    </a:cubicBezTo>
                    <a:cubicBezTo>
                      <a:pt x="259374" y="397725"/>
                      <a:pt x="254944" y="402121"/>
                      <a:pt x="250515" y="405543"/>
                    </a:cubicBezTo>
                    <a:lnTo>
                      <a:pt x="241654" y="411007"/>
                    </a:lnTo>
                    <a:lnTo>
                      <a:pt x="238451" y="409117"/>
                    </a:lnTo>
                    <a:cubicBezTo>
                      <a:pt x="229525" y="403765"/>
                      <a:pt x="219726" y="397322"/>
                      <a:pt x="208047" y="387724"/>
                    </a:cubicBezTo>
                    <a:cubicBezTo>
                      <a:pt x="184691" y="368529"/>
                      <a:pt x="143751" y="329871"/>
                      <a:pt x="123482" y="308796"/>
                    </a:cubicBezTo>
                    <a:cubicBezTo>
                      <a:pt x="103213" y="287722"/>
                      <a:pt x="98112" y="278729"/>
                      <a:pt x="86434" y="261279"/>
                    </a:cubicBezTo>
                    <a:cubicBezTo>
                      <a:pt x="74756" y="243829"/>
                      <a:pt x="65360" y="228526"/>
                      <a:pt x="53414" y="204096"/>
                    </a:cubicBezTo>
                    <a:cubicBezTo>
                      <a:pt x="41467" y="179666"/>
                      <a:pt x="25762" y="151746"/>
                      <a:pt x="14755" y="114699"/>
                    </a:cubicBezTo>
                    <a:lnTo>
                      <a:pt x="0" y="55771"/>
                    </a:lnTo>
                    <a:lnTo>
                      <a:pt x="22561" y="46423"/>
                    </a:lnTo>
                    <a:cubicBezTo>
                      <a:pt x="29923" y="43416"/>
                      <a:pt x="36425" y="40773"/>
                      <a:pt x="41425" y="38659"/>
                    </a:cubicBezTo>
                    <a:cubicBezTo>
                      <a:pt x="61425" y="30202"/>
                      <a:pt x="38875" y="34095"/>
                      <a:pt x="70419" y="28189"/>
                    </a:cubicBezTo>
                    <a:cubicBezTo>
                      <a:pt x="128675" y="17182"/>
                      <a:pt x="162770" y="-1879"/>
                      <a:pt x="230690" y="3222"/>
                    </a:cubicBezTo>
                    <a:lnTo>
                      <a:pt x="237133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  <a:alpha val="70000"/>
                </a:schemeClr>
              </a:solidFill>
              <a:ln w="5213" cap="flat">
                <a:noFill/>
                <a:prstDash val="solid"/>
                <a:miter/>
              </a:ln>
            </p:spPr>
            <p:txBody>
              <a:bodyPr wrap="square" rtlCol="0" anchor="ctr">
                <a:noAutofit/>
              </a:bodyPr>
              <a:lstStyle/>
              <a:p>
                <a:pPr algn="ctr"/>
                <a:endPara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27B45E52-4272-5585-66F3-484FACA57125}"/>
                  </a:ext>
                </a:extLst>
              </p:cNvPr>
              <p:cNvSpPr/>
              <p:nvPr/>
            </p:nvSpPr>
            <p:spPr>
              <a:xfrm rot="18000000">
                <a:off x="-1477566" y="1714427"/>
                <a:ext cx="1131547" cy="712549"/>
              </a:xfrm>
              <a:custGeom>
                <a:avLst/>
                <a:gdLst>
                  <a:gd name="connsiteX0" fmla="*/ 572289 w 1131547"/>
                  <a:gd name="connsiteY0" fmla="*/ 0 h 712549"/>
                  <a:gd name="connsiteX1" fmla="*/ 594254 w 1131547"/>
                  <a:gd name="connsiteY1" fmla="*/ 12960 h 712549"/>
                  <a:gd name="connsiteX2" fmla="*/ 636939 w 1131547"/>
                  <a:gd name="connsiteY2" fmla="*/ 39537 h 712549"/>
                  <a:gd name="connsiteX3" fmla="*/ 698149 w 1131547"/>
                  <a:gd name="connsiteY3" fmla="*/ 62088 h 712549"/>
                  <a:gd name="connsiteX4" fmla="*/ 789963 w 1131547"/>
                  <a:gd name="connsiteY4" fmla="*/ 86250 h 712549"/>
                  <a:gd name="connsiteX5" fmla="*/ 838286 w 1131547"/>
                  <a:gd name="connsiteY5" fmla="*/ 93498 h 712549"/>
                  <a:gd name="connsiteX6" fmla="*/ 953456 w 1131547"/>
                  <a:gd name="connsiteY6" fmla="*/ 83834 h 712549"/>
                  <a:gd name="connsiteX7" fmla="*/ 1012249 w 1131547"/>
                  <a:gd name="connsiteY7" fmla="*/ 79001 h 712549"/>
                  <a:gd name="connsiteX8" fmla="*/ 1043659 w 1131547"/>
                  <a:gd name="connsiteY8" fmla="*/ 69337 h 712549"/>
                  <a:gd name="connsiteX9" fmla="*/ 1077485 w 1131547"/>
                  <a:gd name="connsiteY9" fmla="*/ 57256 h 712549"/>
                  <a:gd name="connsiteX10" fmla="*/ 1092417 w 1131547"/>
                  <a:gd name="connsiteY10" fmla="*/ 52199 h 712549"/>
                  <a:gd name="connsiteX11" fmla="*/ 1115026 w 1131547"/>
                  <a:gd name="connsiteY11" fmla="*/ 41669 h 712549"/>
                  <a:gd name="connsiteX12" fmla="*/ 1122125 w 1131547"/>
                  <a:gd name="connsiteY12" fmla="*/ 70564 h 712549"/>
                  <a:gd name="connsiteX13" fmla="*/ 1131538 w 1131547"/>
                  <a:gd name="connsiteY13" fmla="*/ 142293 h 712549"/>
                  <a:gd name="connsiteX14" fmla="*/ 1113014 w 1131547"/>
                  <a:gd name="connsiteY14" fmla="*/ 291290 h 712549"/>
                  <a:gd name="connsiteX15" fmla="*/ 1096907 w 1131547"/>
                  <a:gd name="connsiteY15" fmla="*/ 347667 h 712549"/>
                  <a:gd name="connsiteX16" fmla="*/ 1070329 w 1131547"/>
                  <a:gd name="connsiteY16" fmla="*/ 412903 h 712549"/>
                  <a:gd name="connsiteX17" fmla="*/ 1046167 w 1131547"/>
                  <a:gd name="connsiteY17" fmla="*/ 451561 h 712549"/>
                  <a:gd name="connsiteX18" fmla="*/ 1014757 w 1131547"/>
                  <a:gd name="connsiteY18" fmla="*/ 485388 h 712549"/>
                  <a:gd name="connsiteX19" fmla="*/ 988180 w 1131547"/>
                  <a:gd name="connsiteY19" fmla="*/ 514381 h 712549"/>
                  <a:gd name="connsiteX20" fmla="*/ 913279 w 1131547"/>
                  <a:gd name="connsiteY20" fmla="*/ 596531 h 712549"/>
                  <a:gd name="connsiteX21" fmla="*/ 877036 w 1131547"/>
                  <a:gd name="connsiteY21" fmla="*/ 624719 h 712549"/>
                  <a:gd name="connsiteX22" fmla="*/ 802136 w 1131547"/>
                  <a:gd name="connsiteY22" fmla="*/ 660156 h 712549"/>
                  <a:gd name="connsiteX23" fmla="*/ 763477 w 1131547"/>
                  <a:gd name="connsiteY23" fmla="*/ 676264 h 712549"/>
                  <a:gd name="connsiteX24" fmla="*/ 729651 w 1131547"/>
                  <a:gd name="connsiteY24" fmla="*/ 688345 h 712549"/>
                  <a:gd name="connsiteX25" fmla="*/ 698241 w 1131547"/>
                  <a:gd name="connsiteY25" fmla="*/ 698009 h 712549"/>
                  <a:gd name="connsiteX26" fmla="*/ 639448 w 1131547"/>
                  <a:gd name="connsiteY26" fmla="*/ 702842 h 712549"/>
                  <a:gd name="connsiteX27" fmla="*/ 524278 w 1131547"/>
                  <a:gd name="connsiteY27" fmla="*/ 712506 h 712549"/>
                  <a:gd name="connsiteX28" fmla="*/ 475955 w 1131547"/>
                  <a:gd name="connsiteY28" fmla="*/ 705258 h 712549"/>
                  <a:gd name="connsiteX29" fmla="*/ 384141 w 1131547"/>
                  <a:gd name="connsiteY29" fmla="*/ 681096 h 712549"/>
                  <a:gd name="connsiteX30" fmla="*/ 322931 w 1131547"/>
                  <a:gd name="connsiteY30" fmla="*/ 658545 h 712549"/>
                  <a:gd name="connsiteX31" fmla="*/ 280246 w 1131547"/>
                  <a:gd name="connsiteY31" fmla="*/ 631968 h 712549"/>
                  <a:gd name="connsiteX32" fmla="*/ 224674 w 1131547"/>
                  <a:gd name="connsiteY32" fmla="*/ 595725 h 712549"/>
                  <a:gd name="connsiteX33" fmla="*/ 140109 w 1131547"/>
                  <a:gd name="connsiteY33" fmla="*/ 516798 h 712549"/>
                  <a:gd name="connsiteX34" fmla="*/ 103061 w 1131547"/>
                  <a:gd name="connsiteY34" fmla="*/ 469280 h 712549"/>
                  <a:gd name="connsiteX35" fmla="*/ 70041 w 1131547"/>
                  <a:gd name="connsiteY35" fmla="*/ 412097 h 712549"/>
                  <a:gd name="connsiteX36" fmla="*/ 31382 w 1131547"/>
                  <a:gd name="connsiteY36" fmla="*/ 322700 h 712549"/>
                  <a:gd name="connsiteX37" fmla="*/ 3999 w 1131547"/>
                  <a:gd name="connsiteY37" fmla="*/ 189811 h 712549"/>
                  <a:gd name="connsiteX38" fmla="*/ 5610 w 1131547"/>
                  <a:gd name="connsiteY38" fmla="*/ 63365 h 712549"/>
                  <a:gd name="connsiteX39" fmla="*/ 11445 w 1131547"/>
                  <a:gd name="connsiteY39" fmla="*/ 40519 h 712549"/>
                  <a:gd name="connsiteX40" fmla="*/ 37615 w 1131547"/>
                  <a:gd name="connsiteY40" fmla="*/ 50712 h 712549"/>
                  <a:gd name="connsiteX41" fmla="*/ 70133 w 1131547"/>
                  <a:gd name="connsiteY41" fmla="*/ 62088 h 712549"/>
                  <a:gd name="connsiteX42" fmla="*/ 161947 w 1131547"/>
                  <a:gd name="connsiteY42" fmla="*/ 86250 h 712549"/>
                  <a:gd name="connsiteX43" fmla="*/ 210270 w 1131547"/>
                  <a:gd name="connsiteY43" fmla="*/ 93498 h 712549"/>
                  <a:gd name="connsiteX44" fmla="*/ 325440 w 1131547"/>
                  <a:gd name="connsiteY44" fmla="*/ 83834 h 712549"/>
                  <a:gd name="connsiteX45" fmla="*/ 384233 w 1131547"/>
                  <a:gd name="connsiteY45" fmla="*/ 79001 h 712549"/>
                  <a:gd name="connsiteX46" fmla="*/ 415643 w 1131547"/>
                  <a:gd name="connsiteY46" fmla="*/ 69337 h 712549"/>
                  <a:gd name="connsiteX47" fmla="*/ 449469 w 1131547"/>
                  <a:gd name="connsiteY47" fmla="*/ 57256 h 712549"/>
                  <a:gd name="connsiteX48" fmla="*/ 488128 w 1131547"/>
                  <a:gd name="connsiteY48" fmla="*/ 41148 h 712549"/>
                  <a:gd name="connsiteX49" fmla="*/ 563028 w 1131547"/>
                  <a:gd name="connsiteY49" fmla="*/ 5711 h 712549"/>
                  <a:gd name="connsiteX50" fmla="*/ 572289 w 1131547"/>
                  <a:gd name="connsiteY50" fmla="*/ 0 h 7125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131547" h="712549">
                    <a:moveTo>
                      <a:pt x="572289" y="0"/>
                    </a:moveTo>
                    <a:lnTo>
                      <a:pt x="594254" y="12960"/>
                    </a:lnTo>
                    <a:cubicBezTo>
                      <a:pt x="610630" y="23430"/>
                      <a:pt x="620026" y="32289"/>
                      <a:pt x="636939" y="39537"/>
                    </a:cubicBezTo>
                    <a:cubicBezTo>
                      <a:pt x="657342" y="47054"/>
                      <a:pt x="672645" y="54303"/>
                      <a:pt x="698149" y="62088"/>
                    </a:cubicBezTo>
                    <a:cubicBezTo>
                      <a:pt x="723653" y="69874"/>
                      <a:pt x="766606" y="81015"/>
                      <a:pt x="789963" y="86250"/>
                    </a:cubicBezTo>
                    <a:cubicBezTo>
                      <a:pt x="813319" y="91485"/>
                      <a:pt x="811037" y="93901"/>
                      <a:pt x="838286" y="93498"/>
                    </a:cubicBezTo>
                    <a:cubicBezTo>
                      <a:pt x="865535" y="93096"/>
                      <a:pt x="924462" y="86250"/>
                      <a:pt x="953456" y="83834"/>
                    </a:cubicBezTo>
                    <a:cubicBezTo>
                      <a:pt x="982450" y="81417"/>
                      <a:pt x="997215" y="81417"/>
                      <a:pt x="1012249" y="79001"/>
                    </a:cubicBezTo>
                    <a:cubicBezTo>
                      <a:pt x="1027283" y="76585"/>
                      <a:pt x="1037791" y="71170"/>
                      <a:pt x="1043659" y="69337"/>
                    </a:cubicBezTo>
                    <a:cubicBezTo>
                      <a:pt x="1063362" y="63179"/>
                      <a:pt x="1061805" y="63528"/>
                      <a:pt x="1077485" y="57256"/>
                    </a:cubicBezTo>
                    <a:cubicBezTo>
                      <a:pt x="1081085" y="56956"/>
                      <a:pt x="1086018" y="55077"/>
                      <a:pt x="1092417" y="52199"/>
                    </a:cubicBezTo>
                    <a:lnTo>
                      <a:pt x="1115026" y="41669"/>
                    </a:lnTo>
                    <a:lnTo>
                      <a:pt x="1122125" y="70564"/>
                    </a:lnTo>
                    <a:cubicBezTo>
                      <a:pt x="1127041" y="92360"/>
                      <a:pt x="1131337" y="117125"/>
                      <a:pt x="1131538" y="142293"/>
                    </a:cubicBezTo>
                    <a:cubicBezTo>
                      <a:pt x="1131941" y="192630"/>
                      <a:pt x="1118786" y="257061"/>
                      <a:pt x="1113014" y="291290"/>
                    </a:cubicBezTo>
                    <a:cubicBezTo>
                      <a:pt x="1107242" y="325518"/>
                      <a:pt x="1104021" y="327398"/>
                      <a:pt x="1096907" y="347667"/>
                    </a:cubicBezTo>
                    <a:cubicBezTo>
                      <a:pt x="1089792" y="367935"/>
                      <a:pt x="1078785" y="395587"/>
                      <a:pt x="1070329" y="412903"/>
                    </a:cubicBezTo>
                    <a:cubicBezTo>
                      <a:pt x="1061872" y="430218"/>
                      <a:pt x="1055429" y="439481"/>
                      <a:pt x="1046167" y="451561"/>
                    </a:cubicBezTo>
                    <a:cubicBezTo>
                      <a:pt x="1036905" y="463642"/>
                      <a:pt x="1024422" y="474917"/>
                      <a:pt x="1014757" y="485388"/>
                    </a:cubicBezTo>
                    <a:lnTo>
                      <a:pt x="988180" y="514381"/>
                    </a:lnTo>
                    <a:cubicBezTo>
                      <a:pt x="963213" y="541765"/>
                      <a:pt x="931803" y="578141"/>
                      <a:pt x="913279" y="596531"/>
                    </a:cubicBezTo>
                    <a:cubicBezTo>
                      <a:pt x="894755" y="614920"/>
                      <a:pt x="895560" y="614115"/>
                      <a:pt x="877036" y="624719"/>
                    </a:cubicBezTo>
                    <a:cubicBezTo>
                      <a:pt x="858512" y="635323"/>
                      <a:pt x="821062" y="651565"/>
                      <a:pt x="802136" y="660156"/>
                    </a:cubicBezTo>
                    <a:cubicBezTo>
                      <a:pt x="783209" y="668747"/>
                      <a:pt x="770677" y="675664"/>
                      <a:pt x="763477" y="676264"/>
                    </a:cubicBezTo>
                    <a:cubicBezTo>
                      <a:pt x="747797" y="682536"/>
                      <a:pt x="749354" y="682188"/>
                      <a:pt x="729651" y="688345"/>
                    </a:cubicBezTo>
                    <a:cubicBezTo>
                      <a:pt x="723783" y="690178"/>
                      <a:pt x="713275" y="695593"/>
                      <a:pt x="698241" y="698009"/>
                    </a:cubicBezTo>
                    <a:cubicBezTo>
                      <a:pt x="683207" y="700426"/>
                      <a:pt x="668442" y="700426"/>
                      <a:pt x="639448" y="702842"/>
                    </a:cubicBezTo>
                    <a:cubicBezTo>
                      <a:pt x="610454" y="705258"/>
                      <a:pt x="551527" y="712104"/>
                      <a:pt x="524278" y="712506"/>
                    </a:cubicBezTo>
                    <a:cubicBezTo>
                      <a:pt x="497029" y="712909"/>
                      <a:pt x="499311" y="710493"/>
                      <a:pt x="475955" y="705258"/>
                    </a:cubicBezTo>
                    <a:cubicBezTo>
                      <a:pt x="452598" y="700023"/>
                      <a:pt x="409645" y="688882"/>
                      <a:pt x="384141" y="681096"/>
                    </a:cubicBezTo>
                    <a:cubicBezTo>
                      <a:pt x="358637" y="673311"/>
                      <a:pt x="343334" y="666062"/>
                      <a:pt x="322931" y="658545"/>
                    </a:cubicBezTo>
                    <a:cubicBezTo>
                      <a:pt x="306018" y="651297"/>
                      <a:pt x="296622" y="642438"/>
                      <a:pt x="280246" y="631968"/>
                    </a:cubicBezTo>
                    <a:cubicBezTo>
                      <a:pt x="263870" y="621498"/>
                      <a:pt x="248031" y="614920"/>
                      <a:pt x="224674" y="595725"/>
                    </a:cubicBezTo>
                    <a:cubicBezTo>
                      <a:pt x="201318" y="576530"/>
                      <a:pt x="160378" y="537872"/>
                      <a:pt x="140109" y="516798"/>
                    </a:cubicBezTo>
                    <a:cubicBezTo>
                      <a:pt x="119840" y="495723"/>
                      <a:pt x="114739" y="486730"/>
                      <a:pt x="103061" y="469280"/>
                    </a:cubicBezTo>
                    <a:cubicBezTo>
                      <a:pt x="91383" y="451830"/>
                      <a:pt x="81987" y="436527"/>
                      <a:pt x="70041" y="412097"/>
                    </a:cubicBezTo>
                    <a:cubicBezTo>
                      <a:pt x="58094" y="387667"/>
                      <a:pt x="42389" y="359747"/>
                      <a:pt x="31382" y="322700"/>
                    </a:cubicBezTo>
                    <a:cubicBezTo>
                      <a:pt x="20375" y="285652"/>
                      <a:pt x="9637" y="236792"/>
                      <a:pt x="3999" y="189811"/>
                    </a:cubicBezTo>
                    <a:cubicBezTo>
                      <a:pt x="-1639" y="142830"/>
                      <a:pt x="-1505" y="107662"/>
                      <a:pt x="5610" y="63365"/>
                    </a:cubicBezTo>
                    <a:lnTo>
                      <a:pt x="11445" y="40519"/>
                    </a:lnTo>
                    <a:lnTo>
                      <a:pt x="37615" y="50712"/>
                    </a:lnTo>
                    <a:cubicBezTo>
                      <a:pt x="47179" y="54437"/>
                      <a:pt x="57381" y="58196"/>
                      <a:pt x="70133" y="62088"/>
                    </a:cubicBezTo>
                    <a:cubicBezTo>
                      <a:pt x="95637" y="69874"/>
                      <a:pt x="138590" y="81015"/>
                      <a:pt x="161947" y="86250"/>
                    </a:cubicBezTo>
                    <a:cubicBezTo>
                      <a:pt x="185303" y="91485"/>
                      <a:pt x="183021" y="93901"/>
                      <a:pt x="210270" y="93498"/>
                    </a:cubicBezTo>
                    <a:cubicBezTo>
                      <a:pt x="237519" y="93096"/>
                      <a:pt x="296446" y="86250"/>
                      <a:pt x="325440" y="83834"/>
                    </a:cubicBezTo>
                    <a:cubicBezTo>
                      <a:pt x="354434" y="81417"/>
                      <a:pt x="369199" y="81417"/>
                      <a:pt x="384233" y="79001"/>
                    </a:cubicBezTo>
                    <a:cubicBezTo>
                      <a:pt x="399267" y="76585"/>
                      <a:pt x="409775" y="71170"/>
                      <a:pt x="415643" y="69337"/>
                    </a:cubicBezTo>
                    <a:cubicBezTo>
                      <a:pt x="435346" y="63179"/>
                      <a:pt x="433789" y="63528"/>
                      <a:pt x="449469" y="57256"/>
                    </a:cubicBezTo>
                    <a:cubicBezTo>
                      <a:pt x="456669" y="56656"/>
                      <a:pt x="469201" y="49739"/>
                      <a:pt x="488128" y="41148"/>
                    </a:cubicBezTo>
                    <a:cubicBezTo>
                      <a:pt x="507054" y="32557"/>
                      <a:pt x="544504" y="16315"/>
                      <a:pt x="563028" y="5711"/>
                    </a:cubicBezTo>
                    <a:lnTo>
                      <a:pt x="572289" y="0"/>
                    </a:lnTo>
                    <a:close/>
                  </a:path>
                </a:pathLst>
              </a:custGeom>
              <a:solidFill>
                <a:schemeClr val="accent3">
                  <a:lumMod val="75000"/>
                  <a:alpha val="80000"/>
                </a:schemeClr>
              </a:solidFill>
              <a:ln w="5213" cap="flat">
                <a:noFill/>
                <a:prstDash val="solid"/>
                <a:miter/>
              </a:ln>
            </p:spPr>
            <p:txBody>
              <a:bodyPr wrap="square" rtlCol="0" anchor="t">
                <a:noAutofit/>
              </a:bodyPr>
              <a:lstStyle/>
              <a:p>
                <a:pPr algn="ctr"/>
                <a:endPara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E06E3FB6-57F1-C3FE-B495-FBCE34A07FFC}"/>
                  </a:ext>
                </a:extLst>
              </p:cNvPr>
              <p:cNvSpPr/>
              <p:nvPr/>
            </p:nvSpPr>
            <p:spPr>
              <a:xfrm>
                <a:off x="-2360134" y="1391843"/>
                <a:ext cx="1131547" cy="1123556"/>
              </a:xfrm>
              <a:custGeom>
                <a:avLst/>
                <a:gdLst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944902 w 4469152"/>
                  <a:gd name="connsiteY150" fmla="*/ 476250 h 4496940"/>
                  <a:gd name="connsiteX151" fmla="*/ 1087777 w 4469152"/>
                  <a:gd name="connsiteY151" fmla="*/ 409575 h 4496940"/>
                  <a:gd name="connsiteX152" fmla="*/ 1202077 w 4469152"/>
                  <a:gd name="connsiteY152" fmla="*/ 314325 h 4496940"/>
                  <a:gd name="connsiteX153" fmla="*/ 1268752 w 4469152"/>
                  <a:gd name="connsiteY153" fmla="*/ 285750 h 4496940"/>
                  <a:gd name="connsiteX154" fmla="*/ 1411627 w 4469152"/>
                  <a:gd name="connsiteY154" fmla="*/ 190500 h 4496940"/>
                  <a:gd name="connsiteX155" fmla="*/ 1449727 w 4469152"/>
                  <a:gd name="connsiteY155" fmla="*/ 161925 h 4496940"/>
                  <a:gd name="connsiteX156" fmla="*/ 1525927 w 4469152"/>
                  <a:gd name="connsiteY156" fmla="*/ 152400 h 4496940"/>
                  <a:gd name="connsiteX157" fmla="*/ 1583077 w 4469152"/>
                  <a:gd name="connsiteY157" fmla="*/ 142875 h 4496940"/>
                  <a:gd name="connsiteX158" fmla="*/ 1716427 w 4469152"/>
                  <a:gd name="connsiteY158" fmla="*/ 123825 h 4496940"/>
                  <a:gd name="connsiteX159" fmla="*/ 1811677 w 4469152"/>
                  <a:gd name="connsiteY159" fmla="*/ 114300 h 4496940"/>
                  <a:gd name="connsiteX160" fmla="*/ 1859302 w 4469152"/>
                  <a:gd name="connsiteY160" fmla="*/ 104775 h 4496940"/>
                  <a:gd name="connsiteX161" fmla="*/ 1916452 w 4469152"/>
                  <a:gd name="connsiteY161" fmla="*/ 95250 h 4496940"/>
                  <a:gd name="connsiteX162" fmla="*/ 2030752 w 4469152"/>
                  <a:gd name="connsiteY162" fmla="*/ 66675 h 4496940"/>
                  <a:gd name="connsiteX163" fmla="*/ 2097427 w 4469152"/>
                  <a:gd name="connsiteY163" fmla="*/ 47625 h 4496940"/>
                  <a:gd name="connsiteX164" fmla="*/ 2164102 w 4469152"/>
                  <a:gd name="connsiteY164" fmla="*/ 38100 h 4496940"/>
                  <a:gd name="connsiteX165" fmla="*/ 2392702 w 4469152"/>
                  <a:gd name="connsiteY165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087777 w 4469152"/>
                  <a:gd name="connsiteY150" fmla="*/ 409575 h 4496940"/>
                  <a:gd name="connsiteX151" fmla="*/ 1202077 w 4469152"/>
                  <a:gd name="connsiteY151" fmla="*/ 314325 h 4496940"/>
                  <a:gd name="connsiteX152" fmla="*/ 1268752 w 4469152"/>
                  <a:gd name="connsiteY152" fmla="*/ 285750 h 4496940"/>
                  <a:gd name="connsiteX153" fmla="*/ 1411627 w 4469152"/>
                  <a:gd name="connsiteY153" fmla="*/ 190500 h 4496940"/>
                  <a:gd name="connsiteX154" fmla="*/ 1449727 w 4469152"/>
                  <a:gd name="connsiteY154" fmla="*/ 161925 h 4496940"/>
                  <a:gd name="connsiteX155" fmla="*/ 1525927 w 4469152"/>
                  <a:gd name="connsiteY155" fmla="*/ 152400 h 4496940"/>
                  <a:gd name="connsiteX156" fmla="*/ 1583077 w 4469152"/>
                  <a:gd name="connsiteY156" fmla="*/ 142875 h 4496940"/>
                  <a:gd name="connsiteX157" fmla="*/ 1716427 w 4469152"/>
                  <a:gd name="connsiteY157" fmla="*/ 123825 h 4496940"/>
                  <a:gd name="connsiteX158" fmla="*/ 1811677 w 4469152"/>
                  <a:gd name="connsiteY158" fmla="*/ 114300 h 4496940"/>
                  <a:gd name="connsiteX159" fmla="*/ 1859302 w 4469152"/>
                  <a:gd name="connsiteY159" fmla="*/ 104775 h 4496940"/>
                  <a:gd name="connsiteX160" fmla="*/ 1916452 w 4469152"/>
                  <a:gd name="connsiteY160" fmla="*/ 95250 h 4496940"/>
                  <a:gd name="connsiteX161" fmla="*/ 2030752 w 4469152"/>
                  <a:gd name="connsiteY161" fmla="*/ 66675 h 4496940"/>
                  <a:gd name="connsiteX162" fmla="*/ 2097427 w 4469152"/>
                  <a:gd name="connsiteY162" fmla="*/ 47625 h 4496940"/>
                  <a:gd name="connsiteX163" fmla="*/ 2164102 w 4469152"/>
                  <a:gd name="connsiteY163" fmla="*/ 38100 h 4496940"/>
                  <a:gd name="connsiteX164" fmla="*/ 2392702 w 4469152"/>
                  <a:gd name="connsiteY164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202077 w 4469152"/>
                  <a:gd name="connsiteY150" fmla="*/ 314325 h 4496940"/>
                  <a:gd name="connsiteX151" fmla="*/ 1268752 w 4469152"/>
                  <a:gd name="connsiteY151" fmla="*/ 285750 h 4496940"/>
                  <a:gd name="connsiteX152" fmla="*/ 1411627 w 4469152"/>
                  <a:gd name="connsiteY152" fmla="*/ 190500 h 4496940"/>
                  <a:gd name="connsiteX153" fmla="*/ 1449727 w 4469152"/>
                  <a:gd name="connsiteY153" fmla="*/ 161925 h 4496940"/>
                  <a:gd name="connsiteX154" fmla="*/ 1525927 w 4469152"/>
                  <a:gd name="connsiteY154" fmla="*/ 152400 h 4496940"/>
                  <a:gd name="connsiteX155" fmla="*/ 1583077 w 4469152"/>
                  <a:gd name="connsiteY155" fmla="*/ 142875 h 4496940"/>
                  <a:gd name="connsiteX156" fmla="*/ 1716427 w 4469152"/>
                  <a:gd name="connsiteY156" fmla="*/ 123825 h 4496940"/>
                  <a:gd name="connsiteX157" fmla="*/ 1811677 w 4469152"/>
                  <a:gd name="connsiteY157" fmla="*/ 114300 h 4496940"/>
                  <a:gd name="connsiteX158" fmla="*/ 1859302 w 4469152"/>
                  <a:gd name="connsiteY158" fmla="*/ 104775 h 4496940"/>
                  <a:gd name="connsiteX159" fmla="*/ 1916452 w 4469152"/>
                  <a:gd name="connsiteY159" fmla="*/ 95250 h 4496940"/>
                  <a:gd name="connsiteX160" fmla="*/ 2030752 w 4469152"/>
                  <a:gd name="connsiteY160" fmla="*/ 66675 h 4496940"/>
                  <a:gd name="connsiteX161" fmla="*/ 2097427 w 4469152"/>
                  <a:gd name="connsiteY161" fmla="*/ 47625 h 4496940"/>
                  <a:gd name="connsiteX162" fmla="*/ 2164102 w 4469152"/>
                  <a:gd name="connsiteY162" fmla="*/ 38100 h 4496940"/>
                  <a:gd name="connsiteX163" fmla="*/ 2392702 w 4469152"/>
                  <a:gd name="connsiteY163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268752 w 4469152"/>
                  <a:gd name="connsiteY150" fmla="*/ 285750 h 4496940"/>
                  <a:gd name="connsiteX151" fmla="*/ 1411627 w 4469152"/>
                  <a:gd name="connsiteY151" fmla="*/ 190500 h 4496940"/>
                  <a:gd name="connsiteX152" fmla="*/ 1449727 w 4469152"/>
                  <a:gd name="connsiteY152" fmla="*/ 161925 h 4496940"/>
                  <a:gd name="connsiteX153" fmla="*/ 1525927 w 4469152"/>
                  <a:gd name="connsiteY153" fmla="*/ 152400 h 4496940"/>
                  <a:gd name="connsiteX154" fmla="*/ 1583077 w 4469152"/>
                  <a:gd name="connsiteY154" fmla="*/ 142875 h 4496940"/>
                  <a:gd name="connsiteX155" fmla="*/ 1716427 w 4469152"/>
                  <a:gd name="connsiteY155" fmla="*/ 123825 h 4496940"/>
                  <a:gd name="connsiteX156" fmla="*/ 1811677 w 4469152"/>
                  <a:gd name="connsiteY156" fmla="*/ 114300 h 4496940"/>
                  <a:gd name="connsiteX157" fmla="*/ 1859302 w 4469152"/>
                  <a:gd name="connsiteY157" fmla="*/ 104775 h 4496940"/>
                  <a:gd name="connsiteX158" fmla="*/ 1916452 w 4469152"/>
                  <a:gd name="connsiteY158" fmla="*/ 95250 h 4496940"/>
                  <a:gd name="connsiteX159" fmla="*/ 2030752 w 4469152"/>
                  <a:gd name="connsiteY159" fmla="*/ 66675 h 4496940"/>
                  <a:gd name="connsiteX160" fmla="*/ 2097427 w 4469152"/>
                  <a:gd name="connsiteY160" fmla="*/ 47625 h 4496940"/>
                  <a:gd name="connsiteX161" fmla="*/ 2164102 w 4469152"/>
                  <a:gd name="connsiteY161" fmla="*/ 38100 h 4496940"/>
                  <a:gd name="connsiteX162" fmla="*/ 2392702 w 4469152"/>
                  <a:gd name="connsiteY162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167152 w 4469152"/>
                  <a:gd name="connsiteY150" fmla="*/ 311150 h 4496940"/>
                  <a:gd name="connsiteX151" fmla="*/ 1268752 w 4469152"/>
                  <a:gd name="connsiteY151" fmla="*/ 285750 h 4496940"/>
                  <a:gd name="connsiteX152" fmla="*/ 1411627 w 4469152"/>
                  <a:gd name="connsiteY152" fmla="*/ 190500 h 4496940"/>
                  <a:gd name="connsiteX153" fmla="*/ 1449727 w 4469152"/>
                  <a:gd name="connsiteY153" fmla="*/ 161925 h 4496940"/>
                  <a:gd name="connsiteX154" fmla="*/ 1525927 w 4469152"/>
                  <a:gd name="connsiteY154" fmla="*/ 152400 h 4496940"/>
                  <a:gd name="connsiteX155" fmla="*/ 1583077 w 4469152"/>
                  <a:gd name="connsiteY155" fmla="*/ 142875 h 4496940"/>
                  <a:gd name="connsiteX156" fmla="*/ 1716427 w 4469152"/>
                  <a:gd name="connsiteY156" fmla="*/ 123825 h 4496940"/>
                  <a:gd name="connsiteX157" fmla="*/ 1811677 w 4469152"/>
                  <a:gd name="connsiteY157" fmla="*/ 114300 h 4496940"/>
                  <a:gd name="connsiteX158" fmla="*/ 1859302 w 4469152"/>
                  <a:gd name="connsiteY158" fmla="*/ 104775 h 4496940"/>
                  <a:gd name="connsiteX159" fmla="*/ 1916452 w 4469152"/>
                  <a:gd name="connsiteY159" fmla="*/ 95250 h 4496940"/>
                  <a:gd name="connsiteX160" fmla="*/ 2030752 w 4469152"/>
                  <a:gd name="connsiteY160" fmla="*/ 66675 h 4496940"/>
                  <a:gd name="connsiteX161" fmla="*/ 2097427 w 4469152"/>
                  <a:gd name="connsiteY161" fmla="*/ 47625 h 4496940"/>
                  <a:gd name="connsiteX162" fmla="*/ 2164102 w 4469152"/>
                  <a:gd name="connsiteY162" fmla="*/ 38100 h 4496940"/>
                  <a:gd name="connsiteX163" fmla="*/ 2392702 w 4469152"/>
                  <a:gd name="connsiteY163" fmla="*/ 28575 h 4496940"/>
                  <a:gd name="connsiteX0" fmla="*/ 2297452 w 4519952"/>
                  <a:gd name="connsiteY0" fmla="*/ 0 h 4496940"/>
                  <a:gd name="connsiteX1" fmla="*/ 2421277 w 4519952"/>
                  <a:gd name="connsiteY1" fmla="*/ 28575 h 4496940"/>
                  <a:gd name="connsiteX2" fmla="*/ 2497477 w 4519952"/>
                  <a:gd name="connsiteY2" fmla="*/ 47625 h 4496940"/>
                  <a:gd name="connsiteX3" fmla="*/ 2754652 w 4519952"/>
                  <a:gd name="connsiteY3" fmla="*/ 66675 h 4496940"/>
                  <a:gd name="connsiteX4" fmla="*/ 2830852 w 4519952"/>
                  <a:gd name="connsiteY4" fmla="*/ 76200 h 4496940"/>
                  <a:gd name="connsiteX5" fmla="*/ 2916577 w 4519952"/>
                  <a:gd name="connsiteY5" fmla="*/ 85725 h 4496940"/>
                  <a:gd name="connsiteX6" fmla="*/ 2973727 w 4519952"/>
                  <a:gd name="connsiteY6" fmla="*/ 114300 h 4496940"/>
                  <a:gd name="connsiteX7" fmla="*/ 3011827 w 4519952"/>
                  <a:gd name="connsiteY7" fmla="*/ 123825 h 4496940"/>
                  <a:gd name="connsiteX8" fmla="*/ 3135652 w 4519952"/>
                  <a:gd name="connsiteY8" fmla="*/ 171450 h 4496940"/>
                  <a:gd name="connsiteX9" fmla="*/ 3173752 w 4519952"/>
                  <a:gd name="connsiteY9" fmla="*/ 190500 h 4496940"/>
                  <a:gd name="connsiteX10" fmla="*/ 3240427 w 4519952"/>
                  <a:gd name="connsiteY10" fmla="*/ 228600 h 4496940"/>
                  <a:gd name="connsiteX11" fmla="*/ 3269002 w 4519952"/>
                  <a:gd name="connsiteY11" fmla="*/ 238125 h 4496940"/>
                  <a:gd name="connsiteX12" fmla="*/ 3297577 w 4519952"/>
                  <a:gd name="connsiteY12" fmla="*/ 257175 h 4496940"/>
                  <a:gd name="connsiteX13" fmla="*/ 3326152 w 4519952"/>
                  <a:gd name="connsiteY13" fmla="*/ 266700 h 4496940"/>
                  <a:gd name="connsiteX14" fmla="*/ 3354727 w 4519952"/>
                  <a:gd name="connsiteY14" fmla="*/ 285750 h 4496940"/>
                  <a:gd name="connsiteX15" fmla="*/ 3421402 w 4519952"/>
                  <a:gd name="connsiteY15" fmla="*/ 323850 h 4496940"/>
                  <a:gd name="connsiteX16" fmla="*/ 3469027 w 4519952"/>
                  <a:gd name="connsiteY16" fmla="*/ 361950 h 4496940"/>
                  <a:gd name="connsiteX17" fmla="*/ 3516652 w 4519952"/>
                  <a:gd name="connsiteY17" fmla="*/ 390525 h 4496940"/>
                  <a:gd name="connsiteX18" fmla="*/ 3545227 w 4519952"/>
                  <a:gd name="connsiteY18" fmla="*/ 419100 h 4496940"/>
                  <a:gd name="connsiteX19" fmla="*/ 3602377 w 4519952"/>
                  <a:gd name="connsiteY19" fmla="*/ 457200 h 4496940"/>
                  <a:gd name="connsiteX20" fmla="*/ 3630952 w 4519952"/>
                  <a:gd name="connsiteY20" fmla="*/ 485775 h 4496940"/>
                  <a:gd name="connsiteX21" fmla="*/ 3678577 w 4519952"/>
                  <a:gd name="connsiteY21" fmla="*/ 504825 h 4496940"/>
                  <a:gd name="connsiteX22" fmla="*/ 3745252 w 4519952"/>
                  <a:gd name="connsiteY22" fmla="*/ 542925 h 4496940"/>
                  <a:gd name="connsiteX23" fmla="*/ 3811927 w 4519952"/>
                  <a:gd name="connsiteY23" fmla="*/ 581025 h 4496940"/>
                  <a:gd name="connsiteX24" fmla="*/ 3840502 w 4519952"/>
                  <a:gd name="connsiteY24" fmla="*/ 600075 h 4496940"/>
                  <a:gd name="connsiteX25" fmla="*/ 3869077 w 4519952"/>
                  <a:gd name="connsiteY25" fmla="*/ 628650 h 4496940"/>
                  <a:gd name="connsiteX26" fmla="*/ 3907177 w 4519952"/>
                  <a:gd name="connsiteY26" fmla="*/ 647700 h 4496940"/>
                  <a:gd name="connsiteX27" fmla="*/ 3935752 w 4519952"/>
                  <a:gd name="connsiteY27" fmla="*/ 676275 h 4496940"/>
                  <a:gd name="connsiteX28" fmla="*/ 3992902 w 4519952"/>
                  <a:gd name="connsiteY28" fmla="*/ 714375 h 4496940"/>
                  <a:gd name="connsiteX29" fmla="*/ 4050052 w 4519952"/>
                  <a:gd name="connsiteY29" fmla="*/ 790575 h 4496940"/>
                  <a:gd name="connsiteX30" fmla="*/ 4078627 w 4519952"/>
                  <a:gd name="connsiteY30" fmla="*/ 838200 h 4496940"/>
                  <a:gd name="connsiteX31" fmla="*/ 4107202 w 4519952"/>
                  <a:gd name="connsiteY31" fmla="*/ 876300 h 4496940"/>
                  <a:gd name="connsiteX32" fmla="*/ 4116727 w 4519952"/>
                  <a:gd name="connsiteY32" fmla="*/ 904875 h 4496940"/>
                  <a:gd name="connsiteX33" fmla="*/ 4135777 w 4519952"/>
                  <a:gd name="connsiteY33" fmla="*/ 933450 h 4496940"/>
                  <a:gd name="connsiteX34" fmla="*/ 4164352 w 4519952"/>
                  <a:gd name="connsiteY34" fmla="*/ 990600 h 4496940"/>
                  <a:gd name="connsiteX35" fmla="*/ 4173877 w 4519952"/>
                  <a:gd name="connsiteY35" fmla="*/ 1019175 h 4496940"/>
                  <a:gd name="connsiteX36" fmla="*/ 4192927 w 4519952"/>
                  <a:gd name="connsiteY36" fmla="*/ 1057275 h 4496940"/>
                  <a:gd name="connsiteX37" fmla="*/ 4202452 w 4519952"/>
                  <a:gd name="connsiteY37" fmla="*/ 1085850 h 4496940"/>
                  <a:gd name="connsiteX38" fmla="*/ 4250077 w 4519952"/>
                  <a:gd name="connsiteY38" fmla="*/ 1143000 h 4496940"/>
                  <a:gd name="connsiteX39" fmla="*/ 4259602 w 4519952"/>
                  <a:gd name="connsiteY39" fmla="*/ 1190625 h 4496940"/>
                  <a:gd name="connsiteX40" fmla="*/ 4307227 w 4519952"/>
                  <a:gd name="connsiteY40" fmla="*/ 1266825 h 4496940"/>
                  <a:gd name="connsiteX41" fmla="*/ 4345327 w 4519952"/>
                  <a:gd name="connsiteY41" fmla="*/ 1362075 h 4496940"/>
                  <a:gd name="connsiteX42" fmla="*/ 4373902 w 4519952"/>
                  <a:gd name="connsiteY42" fmla="*/ 1428750 h 4496940"/>
                  <a:gd name="connsiteX43" fmla="*/ 4392952 w 4519952"/>
                  <a:gd name="connsiteY43" fmla="*/ 1552575 h 4496940"/>
                  <a:gd name="connsiteX44" fmla="*/ 4402477 w 4519952"/>
                  <a:gd name="connsiteY44" fmla="*/ 1590675 h 4496940"/>
                  <a:gd name="connsiteX45" fmla="*/ 4431052 w 4519952"/>
                  <a:gd name="connsiteY45" fmla="*/ 1685925 h 4496940"/>
                  <a:gd name="connsiteX46" fmla="*/ 4440577 w 4519952"/>
                  <a:gd name="connsiteY46" fmla="*/ 1762125 h 4496940"/>
                  <a:gd name="connsiteX47" fmla="*/ 4459627 w 4519952"/>
                  <a:gd name="connsiteY47" fmla="*/ 1828800 h 4496940"/>
                  <a:gd name="connsiteX48" fmla="*/ 4519952 w 4519952"/>
                  <a:gd name="connsiteY48" fmla="*/ 2181225 h 4496940"/>
                  <a:gd name="connsiteX49" fmla="*/ 4440577 w 4519952"/>
                  <a:gd name="connsiteY49" fmla="*/ 2876550 h 4496940"/>
                  <a:gd name="connsiteX50" fmla="*/ 4383427 w 4519952"/>
                  <a:gd name="connsiteY50" fmla="*/ 2990850 h 4496940"/>
                  <a:gd name="connsiteX51" fmla="*/ 4354852 w 4519952"/>
                  <a:gd name="connsiteY51" fmla="*/ 3057525 h 4496940"/>
                  <a:gd name="connsiteX52" fmla="*/ 4335802 w 4519952"/>
                  <a:gd name="connsiteY52" fmla="*/ 3095625 h 4496940"/>
                  <a:gd name="connsiteX53" fmla="*/ 4278652 w 4519952"/>
                  <a:gd name="connsiteY53" fmla="*/ 3248025 h 4496940"/>
                  <a:gd name="connsiteX54" fmla="*/ 4259602 w 4519952"/>
                  <a:gd name="connsiteY54" fmla="*/ 3276600 h 4496940"/>
                  <a:gd name="connsiteX55" fmla="*/ 4221502 w 4519952"/>
                  <a:gd name="connsiteY55" fmla="*/ 3333750 h 4496940"/>
                  <a:gd name="connsiteX56" fmla="*/ 4211977 w 4519952"/>
                  <a:gd name="connsiteY56" fmla="*/ 3362325 h 4496940"/>
                  <a:gd name="connsiteX57" fmla="*/ 4183402 w 4519952"/>
                  <a:gd name="connsiteY57" fmla="*/ 3400425 h 4496940"/>
                  <a:gd name="connsiteX58" fmla="*/ 4164352 w 4519952"/>
                  <a:gd name="connsiteY58" fmla="*/ 3429000 h 4496940"/>
                  <a:gd name="connsiteX59" fmla="*/ 4088152 w 4519952"/>
                  <a:gd name="connsiteY59" fmla="*/ 3495675 h 4496940"/>
                  <a:gd name="connsiteX60" fmla="*/ 4059577 w 4519952"/>
                  <a:gd name="connsiteY60" fmla="*/ 3533775 h 4496940"/>
                  <a:gd name="connsiteX61" fmla="*/ 4002427 w 4519952"/>
                  <a:gd name="connsiteY61" fmla="*/ 3600450 h 4496940"/>
                  <a:gd name="connsiteX62" fmla="*/ 3983377 w 4519952"/>
                  <a:gd name="connsiteY62" fmla="*/ 3629025 h 4496940"/>
                  <a:gd name="connsiteX63" fmla="*/ 3954802 w 4519952"/>
                  <a:gd name="connsiteY63" fmla="*/ 3648075 h 4496940"/>
                  <a:gd name="connsiteX64" fmla="*/ 3907177 w 4519952"/>
                  <a:gd name="connsiteY64" fmla="*/ 3686175 h 4496940"/>
                  <a:gd name="connsiteX65" fmla="*/ 3869077 w 4519952"/>
                  <a:gd name="connsiteY65" fmla="*/ 3724275 h 4496940"/>
                  <a:gd name="connsiteX66" fmla="*/ 3792877 w 4519952"/>
                  <a:gd name="connsiteY66" fmla="*/ 3781425 h 4496940"/>
                  <a:gd name="connsiteX67" fmla="*/ 3783352 w 4519952"/>
                  <a:gd name="connsiteY67" fmla="*/ 3810000 h 4496940"/>
                  <a:gd name="connsiteX68" fmla="*/ 3745252 w 4519952"/>
                  <a:gd name="connsiteY68" fmla="*/ 3819525 h 4496940"/>
                  <a:gd name="connsiteX69" fmla="*/ 3678577 w 4519952"/>
                  <a:gd name="connsiteY69" fmla="*/ 3848100 h 4496940"/>
                  <a:gd name="connsiteX70" fmla="*/ 3659527 w 4519952"/>
                  <a:gd name="connsiteY70" fmla="*/ 3971925 h 4496940"/>
                  <a:gd name="connsiteX71" fmla="*/ 3630952 w 4519952"/>
                  <a:gd name="connsiteY71" fmla="*/ 4010025 h 4496940"/>
                  <a:gd name="connsiteX72" fmla="*/ 3621427 w 4519952"/>
                  <a:gd name="connsiteY72" fmla="*/ 4038600 h 4496940"/>
                  <a:gd name="connsiteX73" fmla="*/ 3554752 w 4519952"/>
                  <a:gd name="connsiteY73" fmla="*/ 4095750 h 4496940"/>
                  <a:gd name="connsiteX74" fmla="*/ 3516652 w 4519952"/>
                  <a:gd name="connsiteY74" fmla="*/ 4114800 h 4496940"/>
                  <a:gd name="connsiteX75" fmla="*/ 3497602 w 4519952"/>
                  <a:gd name="connsiteY75" fmla="*/ 4143375 h 4496940"/>
                  <a:gd name="connsiteX76" fmla="*/ 3383302 w 4519952"/>
                  <a:gd name="connsiteY76" fmla="*/ 4210050 h 4496940"/>
                  <a:gd name="connsiteX77" fmla="*/ 3335677 w 4519952"/>
                  <a:gd name="connsiteY77" fmla="*/ 4238625 h 4496940"/>
                  <a:gd name="connsiteX78" fmla="*/ 3288052 w 4519952"/>
                  <a:gd name="connsiteY78" fmla="*/ 4248150 h 4496940"/>
                  <a:gd name="connsiteX79" fmla="*/ 3240427 w 4519952"/>
                  <a:gd name="connsiteY79" fmla="*/ 4267200 h 4496940"/>
                  <a:gd name="connsiteX80" fmla="*/ 3068977 w 4519952"/>
                  <a:gd name="connsiteY80" fmla="*/ 4286250 h 4496940"/>
                  <a:gd name="connsiteX81" fmla="*/ 2935627 w 4519952"/>
                  <a:gd name="connsiteY81" fmla="*/ 4333875 h 4496940"/>
                  <a:gd name="connsiteX82" fmla="*/ 2811802 w 4519952"/>
                  <a:gd name="connsiteY82" fmla="*/ 4371975 h 4496940"/>
                  <a:gd name="connsiteX83" fmla="*/ 2745127 w 4519952"/>
                  <a:gd name="connsiteY83" fmla="*/ 4410075 h 4496940"/>
                  <a:gd name="connsiteX84" fmla="*/ 2697502 w 4519952"/>
                  <a:gd name="connsiteY84" fmla="*/ 4429125 h 4496940"/>
                  <a:gd name="connsiteX85" fmla="*/ 2640352 w 4519952"/>
                  <a:gd name="connsiteY85" fmla="*/ 4457700 h 4496940"/>
                  <a:gd name="connsiteX86" fmla="*/ 2583202 w 4519952"/>
                  <a:gd name="connsiteY86" fmla="*/ 4467225 h 4496940"/>
                  <a:gd name="connsiteX87" fmla="*/ 2545102 w 4519952"/>
                  <a:gd name="connsiteY87" fmla="*/ 4486275 h 4496940"/>
                  <a:gd name="connsiteX88" fmla="*/ 2306977 w 4519952"/>
                  <a:gd name="connsiteY88" fmla="*/ 4476750 h 4496940"/>
                  <a:gd name="connsiteX89" fmla="*/ 2202202 w 4519952"/>
                  <a:gd name="connsiteY89" fmla="*/ 4457700 h 4496940"/>
                  <a:gd name="connsiteX90" fmla="*/ 2126002 w 4519952"/>
                  <a:gd name="connsiteY90" fmla="*/ 4429125 h 4496940"/>
                  <a:gd name="connsiteX91" fmla="*/ 1935502 w 4519952"/>
                  <a:gd name="connsiteY91" fmla="*/ 4400550 h 4496940"/>
                  <a:gd name="connsiteX92" fmla="*/ 1821202 w 4519952"/>
                  <a:gd name="connsiteY92" fmla="*/ 4371975 h 4496940"/>
                  <a:gd name="connsiteX93" fmla="*/ 1754527 w 4519952"/>
                  <a:gd name="connsiteY93" fmla="*/ 4352925 h 4496940"/>
                  <a:gd name="connsiteX94" fmla="*/ 1687852 w 4519952"/>
                  <a:gd name="connsiteY94" fmla="*/ 4343400 h 4496940"/>
                  <a:gd name="connsiteX95" fmla="*/ 1573552 w 4519952"/>
                  <a:gd name="connsiteY95" fmla="*/ 4305300 h 4496940"/>
                  <a:gd name="connsiteX96" fmla="*/ 1402102 w 4519952"/>
                  <a:gd name="connsiteY96" fmla="*/ 4276725 h 4496940"/>
                  <a:gd name="connsiteX97" fmla="*/ 1287802 w 4519952"/>
                  <a:gd name="connsiteY97" fmla="*/ 4229100 h 4496940"/>
                  <a:gd name="connsiteX98" fmla="*/ 1221127 w 4519952"/>
                  <a:gd name="connsiteY98" fmla="*/ 4200525 h 4496940"/>
                  <a:gd name="connsiteX99" fmla="*/ 1144927 w 4519952"/>
                  <a:gd name="connsiteY99" fmla="*/ 4171950 h 4496940"/>
                  <a:gd name="connsiteX100" fmla="*/ 1087777 w 4519952"/>
                  <a:gd name="connsiteY100" fmla="*/ 4143375 h 4496940"/>
                  <a:gd name="connsiteX101" fmla="*/ 1030627 w 4519952"/>
                  <a:gd name="connsiteY101" fmla="*/ 4124325 h 4496940"/>
                  <a:gd name="connsiteX102" fmla="*/ 925852 w 4519952"/>
                  <a:gd name="connsiteY102" fmla="*/ 4067175 h 4496940"/>
                  <a:gd name="connsiteX103" fmla="*/ 830602 w 4519952"/>
                  <a:gd name="connsiteY103" fmla="*/ 3981450 h 4496940"/>
                  <a:gd name="connsiteX104" fmla="*/ 763927 w 4519952"/>
                  <a:gd name="connsiteY104" fmla="*/ 3914775 h 4496940"/>
                  <a:gd name="connsiteX105" fmla="*/ 725827 w 4519952"/>
                  <a:gd name="connsiteY105" fmla="*/ 3876675 h 4496940"/>
                  <a:gd name="connsiteX106" fmla="*/ 697252 w 4519952"/>
                  <a:gd name="connsiteY106" fmla="*/ 3838575 h 4496940"/>
                  <a:gd name="connsiteX107" fmla="*/ 640102 w 4519952"/>
                  <a:gd name="connsiteY107" fmla="*/ 3781425 h 4496940"/>
                  <a:gd name="connsiteX108" fmla="*/ 611527 w 4519952"/>
                  <a:gd name="connsiteY108" fmla="*/ 3733800 h 4496940"/>
                  <a:gd name="connsiteX109" fmla="*/ 554377 w 4519952"/>
                  <a:gd name="connsiteY109" fmla="*/ 3657600 h 4496940"/>
                  <a:gd name="connsiteX110" fmla="*/ 525802 w 4519952"/>
                  <a:gd name="connsiteY110" fmla="*/ 3609975 h 4496940"/>
                  <a:gd name="connsiteX111" fmla="*/ 497227 w 4519952"/>
                  <a:gd name="connsiteY111" fmla="*/ 3552825 h 4496940"/>
                  <a:gd name="connsiteX112" fmla="*/ 440077 w 4519952"/>
                  <a:gd name="connsiteY112" fmla="*/ 3495675 h 4496940"/>
                  <a:gd name="connsiteX113" fmla="*/ 411502 w 4519952"/>
                  <a:gd name="connsiteY113" fmla="*/ 3448050 h 4496940"/>
                  <a:gd name="connsiteX114" fmla="*/ 278152 w 4519952"/>
                  <a:gd name="connsiteY114" fmla="*/ 3257550 h 4496940"/>
                  <a:gd name="connsiteX115" fmla="*/ 249577 w 4519952"/>
                  <a:gd name="connsiteY115" fmla="*/ 3200400 h 4496940"/>
                  <a:gd name="connsiteX116" fmla="*/ 240052 w 4519952"/>
                  <a:gd name="connsiteY116" fmla="*/ 3162300 h 4496940"/>
                  <a:gd name="connsiteX117" fmla="*/ 221002 w 4519952"/>
                  <a:gd name="connsiteY117" fmla="*/ 3105150 h 4496940"/>
                  <a:gd name="connsiteX118" fmla="*/ 173377 w 4519952"/>
                  <a:gd name="connsiteY118" fmla="*/ 3019425 h 4496940"/>
                  <a:gd name="connsiteX119" fmla="*/ 144802 w 4519952"/>
                  <a:gd name="connsiteY119" fmla="*/ 2924175 h 4496940"/>
                  <a:gd name="connsiteX120" fmla="*/ 68602 w 4519952"/>
                  <a:gd name="connsiteY120" fmla="*/ 2724150 h 4496940"/>
                  <a:gd name="connsiteX121" fmla="*/ 49552 w 4519952"/>
                  <a:gd name="connsiteY121" fmla="*/ 2638425 h 4496940"/>
                  <a:gd name="connsiteX122" fmla="*/ 40027 w 4519952"/>
                  <a:gd name="connsiteY122" fmla="*/ 2562225 h 4496940"/>
                  <a:gd name="connsiteX123" fmla="*/ 30502 w 4519952"/>
                  <a:gd name="connsiteY123" fmla="*/ 2514600 h 4496940"/>
                  <a:gd name="connsiteX124" fmla="*/ 11452 w 4519952"/>
                  <a:gd name="connsiteY124" fmla="*/ 2400300 h 4496940"/>
                  <a:gd name="connsiteX125" fmla="*/ 20977 w 4519952"/>
                  <a:gd name="connsiteY125" fmla="*/ 1905000 h 4496940"/>
                  <a:gd name="connsiteX126" fmla="*/ 30502 w 4519952"/>
                  <a:gd name="connsiteY126" fmla="*/ 1838325 h 4496940"/>
                  <a:gd name="connsiteX127" fmla="*/ 49552 w 4519952"/>
                  <a:gd name="connsiteY127" fmla="*/ 1781175 h 4496940"/>
                  <a:gd name="connsiteX128" fmla="*/ 59077 w 4519952"/>
                  <a:gd name="connsiteY128" fmla="*/ 1743075 h 4496940"/>
                  <a:gd name="connsiteX129" fmla="*/ 78127 w 4519952"/>
                  <a:gd name="connsiteY129" fmla="*/ 1685925 h 4496940"/>
                  <a:gd name="connsiteX130" fmla="*/ 87652 w 4519952"/>
                  <a:gd name="connsiteY130" fmla="*/ 1638300 h 4496940"/>
                  <a:gd name="connsiteX131" fmla="*/ 106702 w 4519952"/>
                  <a:gd name="connsiteY131" fmla="*/ 1590675 h 4496940"/>
                  <a:gd name="connsiteX132" fmla="*/ 135277 w 4519952"/>
                  <a:gd name="connsiteY132" fmla="*/ 1504950 h 4496940"/>
                  <a:gd name="connsiteX133" fmla="*/ 154327 w 4519952"/>
                  <a:gd name="connsiteY133" fmla="*/ 1419225 h 4496940"/>
                  <a:gd name="connsiteX134" fmla="*/ 230527 w 4519952"/>
                  <a:gd name="connsiteY134" fmla="*/ 1276350 h 4496940"/>
                  <a:gd name="connsiteX135" fmla="*/ 240052 w 4519952"/>
                  <a:gd name="connsiteY135" fmla="*/ 1247775 h 4496940"/>
                  <a:gd name="connsiteX136" fmla="*/ 268627 w 4519952"/>
                  <a:gd name="connsiteY136" fmla="*/ 1200150 h 4496940"/>
                  <a:gd name="connsiteX137" fmla="*/ 287677 w 4519952"/>
                  <a:gd name="connsiteY137" fmla="*/ 1152525 h 4496940"/>
                  <a:gd name="connsiteX138" fmla="*/ 316252 w 4519952"/>
                  <a:gd name="connsiteY138" fmla="*/ 1114425 h 4496940"/>
                  <a:gd name="connsiteX139" fmla="*/ 363877 w 4519952"/>
                  <a:gd name="connsiteY139" fmla="*/ 1038225 h 4496940"/>
                  <a:gd name="connsiteX140" fmla="*/ 382927 w 4519952"/>
                  <a:gd name="connsiteY140" fmla="*/ 1009650 h 4496940"/>
                  <a:gd name="connsiteX141" fmla="*/ 440077 w 4519952"/>
                  <a:gd name="connsiteY141" fmla="*/ 904875 h 4496940"/>
                  <a:gd name="connsiteX142" fmla="*/ 478177 w 4519952"/>
                  <a:gd name="connsiteY142" fmla="*/ 857250 h 4496940"/>
                  <a:gd name="connsiteX143" fmla="*/ 497227 w 4519952"/>
                  <a:gd name="connsiteY143" fmla="*/ 828675 h 4496940"/>
                  <a:gd name="connsiteX144" fmla="*/ 535327 w 4519952"/>
                  <a:gd name="connsiteY144" fmla="*/ 800100 h 4496940"/>
                  <a:gd name="connsiteX145" fmla="*/ 602002 w 4519952"/>
                  <a:gd name="connsiteY145" fmla="*/ 733425 h 4496940"/>
                  <a:gd name="connsiteX146" fmla="*/ 668677 w 4519952"/>
                  <a:gd name="connsiteY146" fmla="*/ 676275 h 4496940"/>
                  <a:gd name="connsiteX147" fmla="*/ 697252 w 4519952"/>
                  <a:gd name="connsiteY147" fmla="*/ 657225 h 4496940"/>
                  <a:gd name="connsiteX148" fmla="*/ 840127 w 4519952"/>
                  <a:gd name="connsiteY148" fmla="*/ 533400 h 4496940"/>
                  <a:gd name="connsiteX149" fmla="*/ 887752 w 4519952"/>
                  <a:gd name="connsiteY149" fmla="*/ 504825 h 4496940"/>
                  <a:gd name="connsiteX150" fmla="*/ 1167152 w 4519952"/>
                  <a:gd name="connsiteY150" fmla="*/ 311150 h 4496940"/>
                  <a:gd name="connsiteX151" fmla="*/ 1268752 w 4519952"/>
                  <a:gd name="connsiteY151" fmla="*/ 285750 h 4496940"/>
                  <a:gd name="connsiteX152" fmla="*/ 1411627 w 4519952"/>
                  <a:gd name="connsiteY152" fmla="*/ 190500 h 4496940"/>
                  <a:gd name="connsiteX153" fmla="*/ 1449727 w 4519952"/>
                  <a:gd name="connsiteY153" fmla="*/ 161925 h 4496940"/>
                  <a:gd name="connsiteX154" fmla="*/ 1525927 w 4519952"/>
                  <a:gd name="connsiteY154" fmla="*/ 152400 h 4496940"/>
                  <a:gd name="connsiteX155" fmla="*/ 1583077 w 4519952"/>
                  <a:gd name="connsiteY155" fmla="*/ 142875 h 4496940"/>
                  <a:gd name="connsiteX156" fmla="*/ 1716427 w 4519952"/>
                  <a:gd name="connsiteY156" fmla="*/ 123825 h 4496940"/>
                  <a:gd name="connsiteX157" fmla="*/ 1811677 w 4519952"/>
                  <a:gd name="connsiteY157" fmla="*/ 114300 h 4496940"/>
                  <a:gd name="connsiteX158" fmla="*/ 1859302 w 4519952"/>
                  <a:gd name="connsiteY158" fmla="*/ 104775 h 4496940"/>
                  <a:gd name="connsiteX159" fmla="*/ 1916452 w 4519952"/>
                  <a:gd name="connsiteY159" fmla="*/ 95250 h 4496940"/>
                  <a:gd name="connsiteX160" fmla="*/ 2030752 w 4519952"/>
                  <a:gd name="connsiteY160" fmla="*/ 66675 h 4496940"/>
                  <a:gd name="connsiteX161" fmla="*/ 2097427 w 4519952"/>
                  <a:gd name="connsiteY161" fmla="*/ 47625 h 4496940"/>
                  <a:gd name="connsiteX162" fmla="*/ 2164102 w 4519952"/>
                  <a:gd name="connsiteY162" fmla="*/ 38100 h 4496940"/>
                  <a:gd name="connsiteX163" fmla="*/ 2392702 w 4519952"/>
                  <a:gd name="connsiteY163" fmla="*/ 28575 h 4496940"/>
                  <a:gd name="connsiteX0" fmla="*/ 2297452 w 4519952"/>
                  <a:gd name="connsiteY0" fmla="*/ 0 h 4496940"/>
                  <a:gd name="connsiteX1" fmla="*/ 2421277 w 4519952"/>
                  <a:gd name="connsiteY1" fmla="*/ 28575 h 4496940"/>
                  <a:gd name="connsiteX2" fmla="*/ 2497477 w 4519952"/>
                  <a:gd name="connsiteY2" fmla="*/ 47625 h 4496940"/>
                  <a:gd name="connsiteX3" fmla="*/ 2754652 w 4519952"/>
                  <a:gd name="connsiteY3" fmla="*/ 66675 h 4496940"/>
                  <a:gd name="connsiteX4" fmla="*/ 2830852 w 4519952"/>
                  <a:gd name="connsiteY4" fmla="*/ 76200 h 4496940"/>
                  <a:gd name="connsiteX5" fmla="*/ 2916577 w 4519952"/>
                  <a:gd name="connsiteY5" fmla="*/ 85725 h 4496940"/>
                  <a:gd name="connsiteX6" fmla="*/ 2973727 w 4519952"/>
                  <a:gd name="connsiteY6" fmla="*/ 114300 h 4496940"/>
                  <a:gd name="connsiteX7" fmla="*/ 3011827 w 4519952"/>
                  <a:gd name="connsiteY7" fmla="*/ 123825 h 4496940"/>
                  <a:gd name="connsiteX8" fmla="*/ 3135652 w 4519952"/>
                  <a:gd name="connsiteY8" fmla="*/ 171450 h 4496940"/>
                  <a:gd name="connsiteX9" fmla="*/ 3173752 w 4519952"/>
                  <a:gd name="connsiteY9" fmla="*/ 190500 h 4496940"/>
                  <a:gd name="connsiteX10" fmla="*/ 3240427 w 4519952"/>
                  <a:gd name="connsiteY10" fmla="*/ 228600 h 4496940"/>
                  <a:gd name="connsiteX11" fmla="*/ 3269002 w 4519952"/>
                  <a:gd name="connsiteY11" fmla="*/ 238125 h 4496940"/>
                  <a:gd name="connsiteX12" fmla="*/ 3297577 w 4519952"/>
                  <a:gd name="connsiteY12" fmla="*/ 257175 h 4496940"/>
                  <a:gd name="connsiteX13" fmla="*/ 3326152 w 4519952"/>
                  <a:gd name="connsiteY13" fmla="*/ 266700 h 4496940"/>
                  <a:gd name="connsiteX14" fmla="*/ 3354727 w 4519952"/>
                  <a:gd name="connsiteY14" fmla="*/ 285750 h 4496940"/>
                  <a:gd name="connsiteX15" fmla="*/ 3421402 w 4519952"/>
                  <a:gd name="connsiteY15" fmla="*/ 323850 h 4496940"/>
                  <a:gd name="connsiteX16" fmla="*/ 3469027 w 4519952"/>
                  <a:gd name="connsiteY16" fmla="*/ 361950 h 4496940"/>
                  <a:gd name="connsiteX17" fmla="*/ 3516652 w 4519952"/>
                  <a:gd name="connsiteY17" fmla="*/ 390525 h 4496940"/>
                  <a:gd name="connsiteX18" fmla="*/ 3545227 w 4519952"/>
                  <a:gd name="connsiteY18" fmla="*/ 419100 h 4496940"/>
                  <a:gd name="connsiteX19" fmla="*/ 3602377 w 4519952"/>
                  <a:gd name="connsiteY19" fmla="*/ 457200 h 4496940"/>
                  <a:gd name="connsiteX20" fmla="*/ 3630952 w 4519952"/>
                  <a:gd name="connsiteY20" fmla="*/ 485775 h 4496940"/>
                  <a:gd name="connsiteX21" fmla="*/ 3678577 w 4519952"/>
                  <a:gd name="connsiteY21" fmla="*/ 504825 h 4496940"/>
                  <a:gd name="connsiteX22" fmla="*/ 3745252 w 4519952"/>
                  <a:gd name="connsiteY22" fmla="*/ 542925 h 4496940"/>
                  <a:gd name="connsiteX23" fmla="*/ 3811927 w 4519952"/>
                  <a:gd name="connsiteY23" fmla="*/ 581025 h 4496940"/>
                  <a:gd name="connsiteX24" fmla="*/ 3840502 w 4519952"/>
                  <a:gd name="connsiteY24" fmla="*/ 600075 h 4496940"/>
                  <a:gd name="connsiteX25" fmla="*/ 3869077 w 4519952"/>
                  <a:gd name="connsiteY25" fmla="*/ 628650 h 4496940"/>
                  <a:gd name="connsiteX26" fmla="*/ 3907177 w 4519952"/>
                  <a:gd name="connsiteY26" fmla="*/ 647700 h 4496940"/>
                  <a:gd name="connsiteX27" fmla="*/ 3935752 w 4519952"/>
                  <a:gd name="connsiteY27" fmla="*/ 676275 h 4496940"/>
                  <a:gd name="connsiteX28" fmla="*/ 3992902 w 4519952"/>
                  <a:gd name="connsiteY28" fmla="*/ 714375 h 4496940"/>
                  <a:gd name="connsiteX29" fmla="*/ 4050052 w 4519952"/>
                  <a:gd name="connsiteY29" fmla="*/ 790575 h 4496940"/>
                  <a:gd name="connsiteX30" fmla="*/ 4078627 w 4519952"/>
                  <a:gd name="connsiteY30" fmla="*/ 838200 h 4496940"/>
                  <a:gd name="connsiteX31" fmla="*/ 4107202 w 4519952"/>
                  <a:gd name="connsiteY31" fmla="*/ 876300 h 4496940"/>
                  <a:gd name="connsiteX32" fmla="*/ 4116727 w 4519952"/>
                  <a:gd name="connsiteY32" fmla="*/ 904875 h 4496940"/>
                  <a:gd name="connsiteX33" fmla="*/ 4135777 w 4519952"/>
                  <a:gd name="connsiteY33" fmla="*/ 933450 h 4496940"/>
                  <a:gd name="connsiteX34" fmla="*/ 4164352 w 4519952"/>
                  <a:gd name="connsiteY34" fmla="*/ 990600 h 4496940"/>
                  <a:gd name="connsiteX35" fmla="*/ 4173877 w 4519952"/>
                  <a:gd name="connsiteY35" fmla="*/ 1019175 h 4496940"/>
                  <a:gd name="connsiteX36" fmla="*/ 4192927 w 4519952"/>
                  <a:gd name="connsiteY36" fmla="*/ 1057275 h 4496940"/>
                  <a:gd name="connsiteX37" fmla="*/ 4202452 w 4519952"/>
                  <a:gd name="connsiteY37" fmla="*/ 1085850 h 4496940"/>
                  <a:gd name="connsiteX38" fmla="*/ 4250077 w 4519952"/>
                  <a:gd name="connsiteY38" fmla="*/ 1143000 h 4496940"/>
                  <a:gd name="connsiteX39" fmla="*/ 4259602 w 4519952"/>
                  <a:gd name="connsiteY39" fmla="*/ 1190625 h 4496940"/>
                  <a:gd name="connsiteX40" fmla="*/ 4307227 w 4519952"/>
                  <a:gd name="connsiteY40" fmla="*/ 1266825 h 4496940"/>
                  <a:gd name="connsiteX41" fmla="*/ 4345327 w 4519952"/>
                  <a:gd name="connsiteY41" fmla="*/ 1362075 h 4496940"/>
                  <a:gd name="connsiteX42" fmla="*/ 4373902 w 4519952"/>
                  <a:gd name="connsiteY42" fmla="*/ 1428750 h 4496940"/>
                  <a:gd name="connsiteX43" fmla="*/ 4392952 w 4519952"/>
                  <a:gd name="connsiteY43" fmla="*/ 1552575 h 4496940"/>
                  <a:gd name="connsiteX44" fmla="*/ 4402477 w 4519952"/>
                  <a:gd name="connsiteY44" fmla="*/ 1590675 h 4496940"/>
                  <a:gd name="connsiteX45" fmla="*/ 4431052 w 4519952"/>
                  <a:gd name="connsiteY45" fmla="*/ 1685925 h 4496940"/>
                  <a:gd name="connsiteX46" fmla="*/ 4459627 w 4519952"/>
                  <a:gd name="connsiteY46" fmla="*/ 1828800 h 4496940"/>
                  <a:gd name="connsiteX47" fmla="*/ 4519952 w 4519952"/>
                  <a:gd name="connsiteY47" fmla="*/ 2181225 h 4496940"/>
                  <a:gd name="connsiteX48" fmla="*/ 4440577 w 4519952"/>
                  <a:gd name="connsiteY48" fmla="*/ 2876550 h 4496940"/>
                  <a:gd name="connsiteX49" fmla="*/ 4383427 w 4519952"/>
                  <a:gd name="connsiteY49" fmla="*/ 2990850 h 4496940"/>
                  <a:gd name="connsiteX50" fmla="*/ 4354852 w 4519952"/>
                  <a:gd name="connsiteY50" fmla="*/ 3057525 h 4496940"/>
                  <a:gd name="connsiteX51" fmla="*/ 4335802 w 4519952"/>
                  <a:gd name="connsiteY51" fmla="*/ 3095625 h 4496940"/>
                  <a:gd name="connsiteX52" fmla="*/ 4278652 w 4519952"/>
                  <a:gd name="connsiteY52" fmla="*/ 3248025 h 4496940"/>
                  <a:gd name="connsiteX53" fmla="*/ 4259602 w 4519952"/>
                  <a:gd name="connsiteY53" fmla="*/ 3276600 h 4496940"/>
                  <a:gd name="connsiteX54" fmla="*/ 4221502 w 4519952"/>
                  <a:gd name="connsiteY54" fmla="*/ 3333750 h 4496940"/>
                  <a:gd name="connsiteX55" fmla="*/ 4211977 w 4519952"/>
                  <a:gd name="connsiteY55" fmla="*/ 3362325 h 4496940"/>
                  <a:gd name="connsiteX56" fmla="*/ 4183402 w 4519952"/>
                  <a:gd name="connsiteY56" fmla="*/ 3400425 h 4496940"/>
                  <a:gd name="connsiteX57" fmla="*/ 4164352 w 4519952"/>
                  <a:gd name="connsiteY57" fmla="*/ 3429000 h 4496940"/>
                  <a:gd name="connsiteX58" fmla="*/ 4088152 w 4519952"/>
                  <a:gd name="connsiteY58" fmla="*/ 3495675 h 4496940"/>
                  <a:gd name="connsiteX59" fmla="*/ 4059577 w 4519952"/>
                  <a:gd name="connsiteY59" fmla="*/ 3533775 h 4496940"/>
                  <a:gd name="connsiteX60" fmla="*/ 4002427 w 4519952"/>
                  <a:gd name="connsiteY60" fmla="*/ 3600450 h 4496940"/>
                  <a:gd name="connsiteX61" fmla="*/ 3983377 w 4519952"/>
                  <a:gd name="connsiteY61" fmla="*/ 3629025 h 4496940"/>
                  <a:gd name="connsiteX62" fmla="*/ 3954802 w 4519952"/>
                  <a:gd name="connsiteY62" fmla="*/ 3648075 h 4496940"/>
                  <a:gd name="connsiteX63" fmla="*/ 3907177 w 4519952"/>
                  <a:gd name="connsiteY63" fmla="*/ 3686175 h 4496940"/>
                  <a:gd name="connsiteX64" fmla="*/ 3869077 w 4519952"/>
                  <a:gd name="connsiteY64" fmla="*/ 3724275 h 4496940"/>
                  <a:gd name="connsiteX65" fmla="*/ 3792877 w 4519952"/>
                  <a:gd name="connsiteY65" fmla="*/ 3781425 h 4496940"/>
                  <a:gd name="connsiteX66" fmla="*/ 3783352 w 4519952"/>
                  <a:gd name="connsiteY66" fmla="*/ 3810000 h 4496940"/>
                  <a:gd name="connsiteX67" fmla="*/ 3745252 w 4519952"/>
                  <a:gd name="connsiteY67" fmla="*/ 3819525 h 4496940"/>
                  <a:gd name="connsiteX68" fmla="*/ 3678577 w 4519952"/>
                  <a:gd name="connsiteY68" fmla="*/ 3848100 h 4496940"/>
                  <a:gd name="connsiteX69" fmla="*/ 3659527 w 4519952"/>
                  <a:gd name="connsiteY69" fmla="*/ 3971925 h 4496940"/>
                  <a:gd name="connsiteX70" fmla="*/ 3630952 w 4519952"/>
                  <a:gd name="connsiteY70" fmla="*/ 4010025 h 4496940"/>
                  <a:gd name="connsiteX71" fmla="*/ 3621427 w 4519952"/>
                  <a:gd name="connsiteY71" fmla="*/ 4038600 h 4496940"/>
                  <a:gd name="connsiteX72" fmla="*/ 3554752 w 4519952"/>
                  <a:gd name="connsiteY72" fmla="*/ 4095750 h 4496940"/>
                  <a:gd name="connsiteX73" fmla="*/ 3516652 w 4519952"/>
                  <a:gd name="connsiteY73" fmla="*/ 4114800 h 4496940"/>
                  <a:gd name="connsiteX74" fmla="*/ 3497602 w 4519952"/>
                  <a:gd name="connsiteY74" fmla="*/ 4143375 h 4496940"/>
                  <a:gd name="connsiteX75" fmla="*/ 3383302 w 4519952"/>
                  <a:gd name="connsiteY75" fmla="*/ 4210050 h 4496940"/>
                  <a:gd name="connsiteX76" fmla="*/ 3335677 w 4519952"/>
                  <a:gd name="connsiteY76" fmla="*/ 4238625 h 4496940"/>
                  <a:gd name="connsiteX77" fmla="*/ 3288052 w 4519952"/>
                  <a:gd name="connsiteY77" fmla="*/ 4248150 h 4496940"/>
                  <a:gd name="connsiteX78" fmla="*/ 3240427 w 4519952"/>
                  <a:gd name="connsiteY78" fmla="*/ 4267200 h 4496940"/>
                  <a:gd name="connsiteX79" fmla="*/ 3068977 w 4519952"/>
                  <a:gd name="connsiteY79" fmla="*/ 4286250 h 4496940"/>
                  <a:gd name="connsiteX80" fmla="*/ 2935627 w 4519952"/>
                  <a:gd name="connsiteY80" fmla="*/ 4333875 h 4496940"/>
                  <a:gd name="connsiteX81" fmla="*/ 2811802 w 4519952"/>
                  <a:gd name="connsiteY81" fmla="*/ 4371975 h 4496940"/>
                  <a:gd name="connsiteX82" fmla="*/ 2745127 w 4519952"/>
                  <a:gd name="connsiteY82" fmla="*/ 4410075 h 4496940"/>
                  <a:gd name="connsiteX83" fmla="*/ 2697502 w 4519952"/>
                  <a:gd name="connsiteY83" fmla="*/ 4429125 h 4496940"/>
                  <a:gd name="connsiteX84" fmla="*/ 2640352 w 4519952"/>
                  <a:gd name="connsiteY84" fmla="*/ 4457700 h 4496940"/>
                  <a:gd name="connsiteX85" fmla="*/ 2583202 w 4519952"/>
                  <a:gd name="connsiteY85" fmla="*/ 4467225 h 4496940"/>
                  <a:gd name="connsiteX86" fmla="*/ 2545102 w 4519952"/>
                  <a:gd name="connsiteY86" fmla="*/ 4486275 h 4496940"/>
                  <a:gd name="connsiteX87" fmla="*/ 2306977 w 4519952"/>
                  <a:gd name="connsiteY87" fmla="*/ 4476750 h 4496940"/>
                  <a:gd name="connsiteX88" fmla="*/ 2202202 w 4519952"/>
                  <a:gd name="connsiteY88" fmla="*/ 4457700 h 4496940"/>
                  <a:gd name="connsiteX89" fmla="*/ 2126002 w 4519952"/>
                  <a:gd name="connsiteY89" fmla="*/ 4429125 h 4496940"/>
                  <a:gd name="connsiteX90" fmla="*/ 1935502 w 4519952"/>
                  <a:gd name="connsiteY90" fmla="*/ 4400550 h 4496940"/>
                  <a:gd name="connsiteX91" fmla="*/ 1821202 w 4519952"/>
                  <a:gd name="connsiteY91" fmla="*/ 4371975 h 4496940"/>
                  <a:gd name="connsiteX92" fmla="*/ 1754527 w 4519952"/>
                  <a:gd name="connsiteY92" fmla="*/ 4352925 h 4496940"/>
                  <a:gd name="connsiteX93" fmla="*/ 1687852 w 4519952"/>
                  <a:gd name="connsiteY93" fmla="*/ 4343400 h 4496940"/>
                  <a:gd name="connsiteX94" fmla="*/ 1573552 w 4519952"/>
                  <a:gd name="connsiteY94" fmla="*/ 4305300 h 4496940"/>
                  <a:gd name="connsiteX95" fmla="*/ 1402102 w 4519952"/>
                  <a:gd name="connsiteY95" fmla="*/ 4276725 h 4496940"/>
                  <a:gd name="connsiteX96" fmla="*/ 1287802 w 4519952"/>
                  <a:gd name="connsiteY96" fmla="*/ 4229100 h 4496940"/>
                  <a:gd name="connsiteX97" fmla="*/ 1221127 w 4519952"/>
                  <a:gd name="connsiteY97" fmla="*/ 4200525 h 4496940"/>
                  <a:gd name="connsiteX98" fmla="*/ 1144927 w 4519952"/>
                  <a:gd name="connsiteY98" fmla="*/ 4171950 h 4496940"/>
                  <a:gd name="connsiteX99" fmla="*/ 1087777 w 4519952"/>
                  <a:gd name="connsiteY99" fmla="*/ 4143375 h 4496940"/>
                  <a:gd name="connsiteX100" fmla="*/ 1030627 w 4519952"/>
                  <a:gd name="connsiteY100" fmla="*/ 4124325 h 4496940"/>
                  <a:gd name="connsiteX101" fmla="*/ 925852 w 4519952"/>
                  <a:gd name="connsiteY101" fmla="*/ 4067175 h 4496940"/>
                  <a:gd name="connsiteX102" fmla="*/ 830602 w 4519952"/>
                  <a:gd name="connsiteY102" fmla="*/ 3981450 h 4496940"/>
                  <a:gd name="connsiteX103" fmla="*/ 763927 w 4519952"/>
                  <a:gd name="connsiteY103" fmla="*/ 3914775 h 4496940"/>
                  <a:gd name="connsiteX104" fmla="*/ 725827 w 4519952"/>
                  <a:gd name="connsiteY104" fmla="*/ 3876675 h 4496940"/>
                  <a:gd name="connsiteX105" fmla="*/ 697252 w 4519952"/>
                  <a:gd name="connsiteY105" fmla="*/ 3838575 h 4496940"/>
                  <a:gd name="connsiteX106" fmla="*/ 640102 w 4519952"/>
                  <a:gd name="connsiteY106" fmla="*/ 3781425 h 4496940"/>
                  <a:gd name="connsiteX107" fmla="*/ 611527 w 4519952"/>
                  <a:gd name="connsiteY107" fmla="*/ 3733800 h 4496940"/>
                  <a:gd name="connsiteX108" fmla="*/ 554377 w 4519952"/>
                  <a:gd name="connsiteY108" fmla="*/ 3657600 h 4496940"/>
                  <a:gd name="connsiteX109" fmla="*/ 525802 w 4519952"/>
                  <a:gd name="connsiteY109" fmla="*/ 3609975 h 4496940"/>
                  <a:gd name="connsiteX110" fmla="*/ 497227 w 4519952"/>
                  <a:gd name="connsiteY110" fmla="*/ 3552825 h 4496940"/>
                  <a:gd name="connsiteX111" fmla="*/ 440077 w 4519952"/>
                  <a:gd name="connsiteY111" fmla="*/ 3495675 h 4496940"/>
                  <a:gd name="connsiteX112" fmla="*/ 411502 w 4519952"/>
                  <a:gd name="connsiteY112" fmla="*/ 3448050 h 4496940"/>
                  <a:gd name="connsiteX113" fmla="*/ 278152 w 4519952"/>
                  <a:gd name="connsiteY113" fmla="*/ 3257550 h 4496940"/>
                  <a:gd name="connsiteX114" fmla="*/ 249577 w 4519952"/>
                  <a:gd name="connsiteY114" fmla="*/ 3200400 h 4496940"/>
                  <a:gd name="connsiteX115" fmla="*/ 240052 w 4519952"/>
                  <a:gd name="connsiteY115" fmla="*/ 3162300 h 4496940"/>
                  <a:gd name="connsiteX116" fmla="*/ 221002 w 4519952"/>
                  <a:gd name="connsiteY116" fmla="*/ 3105150 h 4496940"/>
                  <a:gd name="connsiteX117" fmla="*/ 173377 w 4519952"/>
                  <a:gd name="connsiteY117" fmla="*/ 3019425 h 4496940"/>
                  <a:gd name="connsiteX118" fmla="*/ 144802 w 4519952"/>
                  <a:gd name="connsiteY118" fmla="*/ 2924175 h 4496940"/>
                  <a:gd name="connsiteX119" fmla="*/ 68602 w 4519952"/>
                  <a:gd name="connsiteY119" fmla="*/ 2724150 h 4496940"/>
                  <a:gd name="connsiteX120" fmla="*/ 49552 w 4519952"/>
                  <a:gd name="connsiteY120" fmla="*/ 2638425 h 4496940"/>
                  <a:gd name="connsiteX121" fmla="*/ 40027 w 4519952"/>
                  <a:gd name="connsiteY121" fmla="*/ 2562225 h 4496940"/>
                  <a:gd name="connsiteX122" fmla="*/ 30502 w 4519952"/>
                  <a:gd name="connsiteY122" fmla="*/ 2514600 h 4496940"/>
                  <a:gd name="connsiteX123" fmla="*/ 11452 w 4519952"/>
                  <a:gd name="connsiteY123" fmla="*/ 2400300 h 4496940"/>
                  <a:gd name="connsiteX124" fmla="*/ 20977 w 4519952"/>
                  <a:gd name="connsiteY124" fmla="*/ 1905000 h 4496940"/>
                  <a:gd name="connsiteX125" fmla="*/ 30502 w 4519952"/>
                  <a:gd name="connsiteY125" fmla="*/ 1838325 h 4496940"/>
                  <a:gd name="connsiteX126" fmla="*/ 49552 w 4519952"/>
                  <a:gd name="connsiteY126" fmla="*/ 1781175 h 4496940"/>
                  <a:gd name="connsiteX127" fmla="*/ 59077 w 4519952"/>
                  <a:gd name="connsiteY127" fmla="*/ 1743075 h 4496940"/>
                  <a:gd name="connsiteX128" fmla="*/ 78127 w 4519952"/>
                  <a:gd name="connsiteY128" fmla="*/ 1685925 h 4496940"/>
                  <a:gd name="connsiteX129" fmla="*/ 87652 w 4519952"/>
                  <a:gd name="connsiteY129" fmla="*/ 1638300 h 4496940"/>
                  <a:gd name="connsiteX130" fmla="*/ 106702 w 4519952"/>
                  <a:gd name="connsiteY130" fmla="*/ 1590675 h 4496940"/>
                  <a:gd name="connsiteX131" fmla="*/ 135277 w 4519952"/>
                  <a:gd name="connsiteY131" fmla="*/ 1504950 h 4496940"/>
                  <a:gd name="connsiteX132" fmla="*/ 154327 w 4519952"/>
                  <a:gd name="connsiteY132" fmla="*/ 1419225 h 4496940"/>
                  <a:gd name="connsiteX133" fmla="*/ 230527 w 4519952"/>
                  <a:gd name="connsiteY133" fmla="*/ 1276350 h 4496940"/>
                  <a:gd name="connsiteX134" fmla="*/ 240052 w 4519952"/>
                  <a:gd name="connsiteY134" fmla="*/ 1247775 h 4496940"/>
                  <a:gd name="connsiteX135" fmla="*/ 268627 w 4519952"/>
                  <a:gd name="connsiteY135" fmla="*/ 1200150 h 4496940"/>
                  <a:gd name="connsiteX136" fmla="*/ 287677 w 4519952"/>
                  <a:gd name="connsiteY136" fmla="*/ 1152525 h 4496940"/>
                  <a:gd name="connsiteX137" fmla="*/ 316252 w 4519952"/>
                  <a:gd name="connsiteY137" fmla="*/ 1114425 h 4496940"/>
                  <a:gd name="connsiteX138" fmla="*/ 363877 w 4519952"/>
                  <a:gd name="connsiteY138" fmla="*/ 1038225 h 4496940"/>
                  <a:gd name="connsiteX139" fmla="*/ 382927 w 4519952"/>
                  <a:gd name="connsiteY139" fmla="*/ 1009650 h 4496940"/>
                  <a:gd name="connsiteX140" fmla="*/ 440077 w 4519952"/>
                  <a:gd name="connsiteY140" fmla="*/ 904875 h 4496940"/>
                  <a:gd name="connsiteX141" fmla="*/ 478177 w 4519952"/>
                  <a:gd name="connsiteY141" fmla="*/ 857250 h 4496940"/>
                  <a:gd name="connsiteX142" fmla="*/ 497227 w 4519952"/>
                  <a:gd name="connsiteY142" fmla="*/ 828675 h 4496940"/>
                  <a:gd name="connsiteX143" fmla="*/ 535327 w 4519952"/>
                  <a:gd name="connsiteY143" fmla="*/ 800100 h 4496940"/>
                  <a:gd name="connsiteX144" fmla="*/ 602002 w 4519952"/>
                  <a:gd name="connsiteY144" fmla="*/ 733425 h 4496940"/>
                  <a:gd name="connsiteX145" fmla="*/ 668677 w 4519952"/>
                  <a:gd name="connsiteY145" fmla="*/ 676275 h 4496940"/>
                  <a:gd name="connsiteX146" fmla="*/ 697252 w 4519952"/>
                  <a:gd name="connsiteY146" fmla="*/ 657225 h 4496940"/>
                  <a:gd name="connsiteX147" fmla="*/ 840127 w 4519952"/>
                  <a:gd name="connsiteY147" fmla="*/ 533400 h 4496940"/>
                  <a:gd name="connsiteX148" fmla="*/ 887752 w 4519952"/>
                  <a:gd name="connsiteY148" fmla="*/ 504825 h 4496940"/>
                  <a:gd name="connsiteX149" fmla="*/ 1167152 w 4519952"/>
                  <a:gd name="connsiteY149" fmla="*/ 311150 h 4496940"/>
                  <a:gd name="connsiteX150" fmla="*/ 1268752 w 4519952"/>
                  <a:gd name="connsiteY150" fmla="*/ 285750 h 4496940"/>
                  <a:gd name="connsiteX151" fmla="*/ 1411627 w 4519952"/>
                  <a:gd name="connsiteY151" fmla="*/ 190500 h 4496940"/>
                  <a:gd name="connsiteX152" fmla="*/ 1449727 w 4519952"/>
                  <a:gd name="connsiteY152" fmla="*/ 161925 h 4496940"/>
                  <a:gd name="connsiteX153" fmla="*/ 1525927 w 4519952"/>
                  <a:gd name="connsiteY153" fmla="*/ 152400 h 4496940"/>
                  <a:gd name="connsiteX154" fmla="*/ 1583077 w 4519952"/>
                  <a:gd name="connsiteY154" fmla="*/ 142875 h 4496940"/>
                  <a:gd name="connsiteX155" fmla="*/ 1716427 w 4519952"/>
                  <a:gd name="connsiteY155" fmla="*/ 123825 h 4496940"/>
                  <a:gd name="connsiteX156" fmla="*/ 1811677 w 4519952"/>
                  <a:gd name="connsiteY156" fmla="*/ 114300 h 4496940"/>
                  <a:gd name="connsiteX157" fmla="*/ 1859302 w 4519952"/>
                  <a:gd name="connsiteY157" fmla="*/ 104775 h 4496940"/>
                  <a:gd name="connsiteX158" fmla="*/ 1916452 w 4519952"/>
                  <a:gd name="connsiteY158" fmla="*/ 95250 h 4496940"/>
                  <a:gd name="connsiteX159" fmla="*/ 2030752 w 4519952"/>
                  <a:gd name="connsiteY159" fmla="*/ 66675 h 4496940"/>
                  <a:gd name="connsiteX160" fmla="*/ 2097427 w 4519952"/>
                  <a:gd name="connsiteY160" fmla="*/ 47625 h 4496940"/>
                  <a:gd name="connsiteX161" fmla="*/ 2164102 w 4519952"/>
                  <a:gd name="connsiteY161" fmla="*/ 38100 h 4496940"/>
                  <a:gd name="connsiteX162" fmla="*/ 2392702 w 4519952"/>
                  <a:gd name="connsiteY162" fmla="*/ 28575 h 4496940"/>
                  <a:gd name="connsiteX0" fmla="*/ 2297452 w 4519983"/>
                  <a:gd name="connsiteY0" fmla="*/ 0 h 4496940"/>
                  <a:gd name="connsiteX1" fmla="*/ 2421277 w 4519983"/>
                  <a:gd name="connsiteY1" fmla="*/ 28575 h 4496940"/>
                  <a:gd name="connsiteX2" fmla="*/ 2497477 w 4519983"/>
                  <a:gd name="connsiteY2" fmla="*/ 47625 h 4496940"/>
                  <a:gd name="connsiteX3" fmla="*/ 2754652 w 4519983"/>
                  <a:gd name="connsiteY3" fmla="*/ 66675 h 4496940"/>
                  <a:gd name="connsiteX4" fmla="*/ 2830852 w 4519983"/>
                  <a:gd name="connsiteY4" fmla="*/ 76200 h 4496940"/>
                  <a:gd name="connsiteX5" fmla="*/ 2916577 w 4519983"/>
                  <a:gd name="connsiteY5" fmla="*/ 85725 h 4496940"/>
                  <a:gd name="connsiteX6" fmla="*/ 2973727 w 4519983"/>
                  <a:gd name="connsiteY6" fmla="*/ 114300 h 4496940"/>
                  <a:gd name="connsiteX7" fmla="*/ 3011827 w 4519983"/>
                  <a:gd name="connsiteY7" fmla="*/ 123825 h 4496940"/>
                  <a:gd name="connsiteX8" fmla="*/ 3135652 w 4519983"/>
                  <a:gd name="connsiteY8" fmla="*/ 171450 h 4496940"/>
                  <a:gd name="connsiteX9" fmla="*/ 3173752 w 4519983"/>
                  <a:gd name="connsiteY9" fmla="*/ 190500 h 4496940"/>
                  <a:gd name="connsiteX10" fmla="*/ 3240427 w 4519983"/>
                  <a:gd name="connsiteY10" fmla="*/ 228600 h 4496940"/>
                  <a:gd name="connsiteX11" fmla="*/ 3269002 w 4519983"/>
                  <a:gd name="connsiteY11" fmla="*/ 238125 h 4496940"/>
                  <a:gd name="connsiteX12" fmla="*/ 3297577 w 4519983"/>
                  <a:gd name="connsiteY12" fmla="*/ 257175 h 4496940"/>
                  <a:gd name="connsiteX13" fmla="*/ 3326152 w 4519983"/>
                  <a:gd name="connsiteY13" fmla="*/ 266700 h 4496940"/>
                  <a:gd name="connsiteX14" fmla="*/ 3354727 w 4519983"/>
                  <a:gd name="connsiteY14" fmla="*/ 285750 h 4496940"/>
                  <a:gd name="connsiteX15" fmla="*/ 3421402 w 4519983"/>
                  <a:gd name="connsiteY15" fmla="*/ 323850 h 4496940"/>
                  <a:gd name="connsiteX16" fmla="*/ 3469027 w 4519983"/>
                  <a:gd name="connsiteY16" fmla="*/ 361950 h 4496940"/>
                  <a:gd name="connsiteX17" fmla="*/ 3516652 w 4519983"/>
                  <a:gd name="connsiteY17" fmla="*/ 390525 h 4496940"/>
                  <a:gd name="connsiteX18" fmla="*/ 3545227 w 4519983"/>
                  <a:gd name="connsiteY18" fmla="*/ 419100 h 4496940"/>
                  <a:gd name="connsiteX19" fmla="*/ 3602377 w 4519983"/>
                  <a:gd name="connsiteY19" fmla="*/ 457200 h 4496940"/>
                  <a:gd name="connsiteX20" fmla="*/ 3630952 w 4519983"/>
                  <a:gd name="connsiteY20" fmla="*/ 485775 h 4496940"/>
                  <a:gd name="connsiteX21" fmla="*/ 3678577 w 4519983"/>
                  <a:gd name="connsiteY21" fmla="*/ 504825 h 4496940"/>
                  <a:gd name="connsiteX22" fmla="*/ 3745252 w 4519983"/>
                  <a:gd name="connsiteY22" fmla="*/ 542925 h 4496940"/>
                  <a:gd name="connsiteX23" fmla="*/ 3811927 w 4519983"/>
                  <a:gd name="connsiteY23" fmla="*/ 581025 h 4496940"/>
                  <a:gd name="connsiteX24" fmla="*/ 3840502 w 4519983"/>
                  <a:gd name="connsiteY24" fmla="*/ 600075 h 4496940"/>
                  <a:gd name="connsiteX25" fmla="*/ 3869077 w 4519983"/>
                  <a:gd name="connsiteY25" fmla="*/ 628650 h 4496940"/>
                  <a:gd name="connsiteX26" fmla="*/ 3907177 w 4519983"/>
                  <a:gd name="connsiteY26" fmla="*/ 647700 h 4496940"/>
                  <a:gd name="connsiteX27" fmla="*/ 3935752 w 4519983"/>
                  <a:gd name="connsiteY27" fmla="*/ 676275 h 4496940"/>
                  <a:gd name="connsiteX28" fmla="*/ 3992902 w 4519983"/>
                  <a:gd name="connsiteY28" fmla="*/ 714375 h 4496940"/>
                  <a:gd name="connsiteX29" fmla="*/ 4050052 w 4519983"/>
                  <a:gd name="connsiteY29" fmla="*/ 790575 h 4496940"/>
                  <a:gd name="connsiteX30" fmla="*/ 4078627 w 4519983"/>
                  <a:gd name="connsiteY30" fmla="*/ 838200 h 4496940"/>
                  <a:gd name="connsiteX31" fmla="*/ 4107202 w 4519983"/>
                  <a:gd name="connsiteY31" fmla="*/ 876300 h 4496940"/>
                  <a:gd name="connsiteX32" fmla="*/ 4116727 w 4519983"/>
                  <a:gd name="connsiteY32" fmla="*/ 904875 h 4496940"/>
                  <a:gd name="connsiteX33" fmla="*/ 4135777 w 4519983"/>
                  <a:gd name="connsiteY33" fmla="*/ 933450 h 4496940"/>
                  <a:gd name="connsiteX34" fmla="*/ 4164352 w 4519983"/>
                  <a:gd name="connsiteY34" fmla="*/ 990600 h 4496940"/>
                  <a:gd name="connsiteX35" fmla="*/ 4173877 w 4519983"/>
                  <a:gd name="connsiteY35" fmla="*/ 1019175 h 4496940"/>
                  <a:gd name="connsiteX36" fmla="*/ 4192927 w 4519983"/>
                  <a:gd name="connsiteY36" fmla="*/ 1057275 h 4496940"/>
                  <a:gd name="connsiteX37" fmla="*/ 4202452 w 4519983"/>
                  <a:gd name="connsiteY37" fmla="*/ 1085850 h 4496940"/>
                  <a:gd name="connsiteX38" fmla="*/ 4250077 w 4519983"/>
                  <a:gd name="connsiteY38" fmla="*/ 1143000 h 4496940"/>
                  <a:gd name="connsiteX39" fmla="*/ 4259602 w 4519983"/>
                  <a:gd name="connsiteY39" fmla="*/ 1190625 h 4496940"/>
                  <a:gd name="connsiteX40" fmla="*/ 4307227 w 4519983"/>
                  <a:gd name="connsiteY40" fmla="*/ 1266825 h 4496940"/>
                  <a:gd name="connsiteX41" fmla="*/ 4345327 w 4519983"/>
                  <a:gd name="connsiteY41" fmla="*/ 1362075 h 4496940"/>
                  <a:gd name="connsiteX42" fmla="*/ 4373902 w 4519983"/>
                  <a:gd name="connsiteY42" fmla="*/ 1428750 h 4496940"/>
                  <a:gd name="connsiteX43" fmla="*/ 4392952 w 4519983"/>
                  <a:gd name="connsiteY43" fmla="*/ 1552575 h 4496940"/>
                  <a:gd name="connsiteX44" fmla="*/ 4402477 w 4519983"/>
                  <a:gd name="connsiteY44" fmla="*/ 1590675 h 4496940"/>
                  <a:gd name="connsiteX45" fmla="*/ 4431052 w 4519983"/>
                  <a:gd name="connsiteY45" fmla="*/ 1685925 h 4496940"/>
                  <a:gd name="connsiteX46" fmla="*/ 4519952 w 4519983"/>
                  <a:gd name="connsiteY46" fmla="*/ 2181225 h 4496940"/>
                  <a:gd name="connsiteX47" fmla="*/ 4440577 w 4519983"/>
                  <a:gd name="connsiteY47" fmla="*/ 2876550 h 4496940"/>
                  <a:gd name="connsiteX48" fmla="*/ 4383427 w 4519983"/>
                  <a:gd name="connsiteY48" fmla="*/ 2990850 h 4496940"/>
                  <a:gd name="connsiteX49" fmla="*/ 4354852 w 4519983"/>
                  <a:gd name="connsiteY49" fmla="*/ 3057525 h 4496940"/>
                  <a:gd name="connsiteX50" fmla="*/ 4335802 w 4519983"/>
                  <a:gd name="connsiteY50" fmla="*/ 3095625 h 4496940"/>
                  <a:gd name="connsiteX51" fmla="*/ 4278652 w 4519983"/>
                  <a:gd name="connsiteY51" fmla="*/ 3248025 h 4496940"/>
                  <a:gd name="connsiteX52" fmla="*/ 4259602 w 4519983"/>
                  <a:gd name="connsiteY52" fmla="*/ 3276600 h 4496940"/>
                  <a:gd name="connsiteX53" fmla="*/ 4221502 w 4519983"/>
                  <a:gd name="connsiteY53" fmla="*/ 3333750 h 4496940"/>
                  <a:gd name="connsiteX54" fmla="*/ 4211977 w 4519983"/>
                  <a:gd name="connsiteY54" fmla="*/ 3362325 h 4496940"/>
                  <a:gd name="connsiteX55" fmla="*/ 4183402 w 4519983"/>
                  <a:gd name="connsiteY55" fmla="*/ 3400425 h 4496940"/>
                  <a:gd name="connsiteX56" fmla="*/ 4164352 w 4519983"/>
                  <a:gd name="connsiteY56" fmla="*/ 3429000 h 4496940"/>
                  <a:gd name="connsiteX57" fmla="*/ 4088152 w 4519983"/>
                  <a:gd name="connsiteY57" fmla="*/ 3495675 h 4496940"/>
                  <a:gd name="connsiteX58" fmla="*/ 4059577 w 4519983"/>
                  <a:gd name="connsiteY58" fmla="*/ 3533775 h 4496940"/>
                  <a:gd name="connsiteX59" fmla="*/ 4002427 w 4519983"/>
                  <a:gd name="connsiteY59" fmla="*/ 3600450 h 4496940"/>
                  <a:gd name="connsiteX60" fmla="*/ 3983377 w 4519983"/>
                  <a:gd name="connsiteY60" fmla="*/ 3629025 h 4496940"/>
                  <a:gd name="connsiteX61" fmla="*/ 3954802 w 4519983"/>
                  <a:gd name="connsiteY61" fmla="*/ 3648075 h 4496940"/>
                  <a:gd name="connsiteX62" fmla="*/ 3907177 w 4519983"/>
                  <a:gd name="connsiteY62" fmla="*/ 3686175 h 4496940"/>
                  <a:gd name="connsiteX63" fmla="*/ 3869077 w 4519983"/>
                  <a:gd name="connsiteY63" fmla="*/ 3724275 h 4496940"/>
                  <a:gd name="connsiteX64" fmla="*/ 3792877 w 4519983"/>
                  <a:gd name="connsiteY64" fmla="*/ 3781425 h 4496940"/>
                  <a:gd name="connsiteX65" fmla="*/ 3783352 w 4519983"/>
                  <a:gd name="connsiteY65" fmla="*/ 3810000 h 4496940"/>
                  <a:gd name="connsiteX66" fmla="*/ 3745252 w 4519983"/>
                  <a:gd name="connsiteY66" fmla="*/ 3819525 h 4496940"/>
                  <a:gd name="connsiteX67" fmla="*/ 3678577 w 4519983"/>
                  <a:gd name="connsiteY67" fmla="*/ 3848100 h 4496940"/>
                  <a:gd name="connsiteX68" fmla="*/ 3659527 w 4519983"/>
                  <a:gd name="connsiteY68" fmla="*/ 3971925 h 4496940"/>
                  <a:gd name="connsiteX69" fmla="*/ 3630952 w 4519983"/>
                  <a:gd name="connsiteY69" fmla="*/ 4010025 h 4496940"/>
                  <a:gd name="connsiteX70" fmla="*/ 3621427 w 4519983"/>
                  <a:gd name="connsiteY70" fmla="*/ 4038600 h 4496940"/>
                  <a:gd name="connsiteX71" fmla="*/ 3554752 w 4519983"/>
                  <a:gd name="connsiteY71" fmla="*/ 4095750 h 4496940"/>
                  <a:gd name="connsiteX72" fmla="*/ 3516652 w 4519983"/>
                  <a:gd name="connsiteY72" fmla="*/ 4114800 h 4496940"/>
                  <a:gd name="connsiteX73" fmla="*/ 3497602 w 4519983"/>
                  <a:gd name="connsiteY73" fmla="*/ 4143375 h 4496940"/>
                  <a:gd name="connsiteX74" fmla="*/ 3383302 w 4519983"/>
                  <a:gd name="connsiteY74" fmla="*/ 4210050 h 4496940"/>
                  <a:gd name="connsiteX75" fmla="*/ 3335677 w 4519983"/>
                  <a:gd name="connsiteY75" fmla="*/ 4238625 h 4496940"/>
                  <a:gd name="connsiteX76" fmla="*/ 3288052 w 4519983"/>
                  <a:gd name="connsiteY76" fmla="*/ 4248150 h 4496940"/>
                  <a:gd name="connsiteX77" fmla="*/ 3240427 w 4519983"/>
                  <a:gd name="connsiteY77" fmla="*/ 4267200 h 4496940"/>
                  <a:gd name="connsiteX78" fmla="*/ 3068977 w 4519983"/>
                  <a:gd name="connsiteY78" fmla="*/ 4286250 h 4496940"/>
                  <a:gd name="connsiteX79" fmla="*/ 2935627 w 4519983"/>
                  <a:gd name="connsiteY79" fmla="*/ 4333875 h 4496940"/>
                  <a:gd name="connsiteX80" fmla="*/ 2811802 w 4519983"/>
                  <a:gd name="connsiteY80" fmla="*/ 4371975 h 4496940"/>
                  <a:gd name="connsiteX81" fmla="*/ 2745127 w 4519983"/>
                  <a:gd name="connsiteY81" fmla="*/ 4410075 h 4496940"/>
                  <a:gd name="connsiteX82" fmla="*/ 2697502 w 4519983"/>
                  <a:gd name="connsiteY82" fmla="*/ 4429125 h 4496940"/>
                  <a:gd name="connsiteX83" fmla="*/ 2640352 w 4519983"/>
                  <a:gd name="connsiteY83" fmla="*/ 4457700 h 4496940"/>
                  <a:gd name="connsiteX84" fmla="*/ 2583202 w 4519983"/>
                  <a:gd name="connsiteY84" fmla="*/ 4467225 h 4496940"/>
                  <a:gd name="connsiteX85" fmla="*/ 2545102 w 4519983"/>
                  <a:gd name="connsiteY85" fmla="*/ 4486275 h 4496940"/>
                  <a:gd name="connsiteX86" fmla="*/ 2306977 w 4519983"/>
                  <a:gd name="connsiteY86" fmla="*/ 4476750 h 4496940"/>
                  <a:gd name="connsiteX87" fmla="*/ 2202202 w 4519983"/>
                  <a:gd name="connsiteY87" fmla="*/ 4457700 h 4496940"/>
                  <a:gd name="connsiteX88" fmla="*/ 2126002 w 4519983"/>
                  <a:gd name="connsiteY88" fmla="*/ 4429125 h 4496940"/>
                  <a:gd name="connsiteX89" fmla="*/ 1935502 w 4519983"/>
                  <a:gd name="connsiteY89" fmla="*/ 4400550 h 4496940"/>
                  <a:gd name="connsiteX90" fmla="*/ 1821202 w 4519983"/>
                  <a:gd name="connsiteY90" fmla="*/ 4371975 h 4496940"/>
                  <a:gd name="connsiteX91" fmla="*/ 1754527 w 4519983"/>
                  <a:gd name="connsiteY91" fmla="*/ 4352925 h 4496940"/>
                  <a:gd name="connsiteX92" fmla="*/ 1687852 w 4519983"/>
                  <a:gd name="connsiteY92" fmla="*/ 4343400 h 4496940"/>
                  <a:gd name="connsiteX93" fmla="*/ 1573552 w 4519983"/>
                  <a:gd name="connsiteY93" fmla="*/ 4305300 h 4496940"/>
                  <a:gd name="connsiteX94" fmla="*/ 1402102 w 4519983"/>
                  <a:gd name="connsiteY94" fmla="*/ 4276725 h 4496940"/>
                  <a:gd name="connsiteX95" fmla="*/ 1287802 w 4519983"/>
                  <a:gd name="connsiteY95" fmla="*/ 4229100 h 4496940"/>
                  <a:gd name="connsiteX96" fmla="*/ 1221127 w 4519983"/>
                  <a:gd name="connsiteY96" fmla="*/ 4200525 h 4496940"/>
                  <a:gd name="connsiteX97" fmla="*/ 1144927 w 4519983"/>
                  <a:gd name="connsiteY97" fmla="*/ 4171950 h 4496940"/>
                  <a:gd name="connsiteX98" fmla="*/ 1087777 w 4519983"/>
                  <a:gd name="connsiteY98" fmla="*/ 4143375 h 4496940"/>
                  <a:gd name="connsiteX99" fmla="*/ 1030627 w 4519983"/>
                  <a:gd name="connsiteY99" fmla="*/ 4124325 h 4496940"/>
                  <a:gd name="connsiteX100" fmla="*/ 925852 w 4519983"/>
                  <a:gd name="connsiteY100" fmla="*/ 4067175 h 4496940"/>
                  <a:gd name="connsiteX101" fmla="*/ 830602 w 4519983"/>
                  <a:gd name="connsiteY101" fmla="*/ 3981450 h 4496940"/>
                  <a:gd name="connsiteX102" fmla="*/ 763927 w 4519983"/>
                  <a:gd name="connsiteY102" fmla="*/ 3914775 h 4496940"/>
                  <a:gd name="connsiteX103" fmla="*/ 725827 w 4519983"/>
                  <a:gd name="connsiteY103" fmla="*/ 3876675 h 4496940"/>
                  <a:gd name="connsiteX104" fmla="*/ 697252 w 4519983"/>
                  <a:gd name="connsiteY104" fmla="*/ 3838575 h 4496940"/>
                  <a:gd name="connsiteX105" fmla="*/ 640102 w 4519983"/>
                  <a:gd name="connsiteY105" fmla="*/ 3781425 h 4496940"/>
                  <a:gd name="connsiteX106" fmla="*/ 611527 w 4519983"/>
                  <a:gd name="connsiteY106" fmla="*/ 3733800 h 4496940"/>
                  <a:gd name="connsiteX107" fmla="*/ 554377 w 4519983"/>
                  <a:gd name="connsiteY107" fmla="*/ 3657600 h 4496940"/>
                  <a:gd name="connsiteX108" fmla="*/ 525802 w 4519983"/>
                  <a:gd name="connsiteY108" fmla="*/ 3609975 h 4496940"/>
                  <a:gd name="connsiteX109" fmla="*/ 497227 w 4519983"/>
                  <a:gd name="connsiteY109" fmla="*/ 3552825 h 4496940"/>
                  <a:gd name="connsiteX110" fmla="*/ 440077 w 4519983"/>
                  <a:gd name="connsiteY110" fmla="*/ 3495675 h 4496940"/>
                  <a:gd name="connsiteX111" fmla="*/ 411502 w 4519983"/>
                  <a:gd name="connsiteY111" fmla="*/ 3448050 h 4496940"/>
                  <a:gd name="connsiteX112" fmla="*/ 278152 w 4519983"/>
                  <a:gd name="connsiteY112" fmla="*/ 3257550 h 4496940"/>
                  <a:gd name="connsiteX113" fmla="*/ 249577 w 4519983"/>
                  <a:gd name="connsiteY113" fmla="*/ 3200400 h 4496940"/>
                  <a:gd name="connsiteX114" fmla="*/ 240052 w 4519983"/>
                  <a:gd name="connsiteY114" fmla="*/ 3162300 h 4496940"/>
                  <a:gd name="connsiteX115" fmla="*/ 221002 w 4519983"/>
                  <a:gd name="connsiteY115" fmla="*/ 3105150 h 4496940"/>
                  <a:gd name="connsiteX116" fmla="*/ 173377 w 4519983"/>
                  <a:gd name="connsiteY116" fmla="*/ 3019425 h 4496940"/>
                  <a:gd name="connsiteX117" fmla="*/ 144802 w 4519983"/>
                  <a:gd name="connsiteY117" fmla="*/ 2924175 h 4496940"/>
                  <a:gd name="connsiteX118" fmla="*/ 68602 w 4519983"/>
                  <a:gd name="connsiteY118" fmla="*/ 2724150 h 4496940"/>
                  <a:gd name="connsiteX119" fmla="*/ 49552 w 4519983"/>
                  <a:gd name="connsiteY119" fmla="*/ 2638425 h 4496940"/>
                  <a:gd name="connsiteX120" fmla="*/ 40027 w 4519983"/>
                  <a:gd name="connsiteY120" fmla="*/ 2562225 h 4496940"/>
                  <a:gd name="connsiteX121" fmla="*/ 30502 w 4519983"/>
                  <a:gd name="connsiteY121" fmla="*/ 2514600 h 4496940"/>
                  <a:gd name="connsiteX122" fmla="*/ 11452 w 4519983"/>
                  <a:gd name="connsiteY122" fmla="*/ 2400300 h 4496940"/>
                  <a:gd name="connsiteX123" fmla="*/ 20977 w 4519983"/>
                  <a:gd name="connsiteY123" fmla="*/ 1905000 h 4496940"/>
                  <a:gd name="connsiteX124" fmla="*/ 30502 w 4519983"/>
                  <a:gd name="connsiteY124" fmla="*/ 1838325 h 4496940"/>
                  <a:gd name="connsiteX125" fmla="*/ 49552 w 4519983"/>
                  <a:gd name="connsiteY125" fmla="*/ 1781175 h 4496940"/>
                  <a:gd name="connsiteX126" fmla="*/ 59077 w 4519983"/>
                  <a:gd name="connsiteY126" fmla="*/ 1743075 h 4496940"/>
                  <a:gd name="connsiteX127" fmla="*/ 78127 w 4519983"/>
                  <a:gd name="connsiteY127" fmla="*/ 1685925 h 4496940"/>
                  <a:gd name="connsiteX128" fmla="*/ 87652 w 4519983"/>
                  <a:gd name="connsiteY128" fmla="*/ 1638300 h 4496940"/>
                  <a:gd name="connsiteX129" fmla="*/ 106702 w 4519983"/>
                  <a:gd name="connsiteY129" fmla="*/ 1590675 h 4496940"/>
                  <a:gd name="connsiteX130" fmla="*/ 135277 w 4519983"/>
                  <a:gd name="connsiteY130" fmla="*/ 1504950 h 4496940"/>
                  <a:gd name="connsiteX131" fmla="*/ 154327 w 4519983"/>
                  <a:gd name="connsiteY131" fmla="*/ 1419225 h 4496940"/>
                  <a:gd name="connsiteX132" fmla="*/ 230527 w 4519983"/>
                  <a:gd name="connsiteY132" fmla="*/ 1276350 h 4496940"/>
                  <a:gd name="connsiteX133" fmla="*/ 240052 w 4519983"/>
                  <a:gd name="connsiteY133" fmla="*/ 1247775 h 4496940"/>
                  <a:gd name="connsiteX134" fmla="*/ 268627 w 4519983"/>
                  <a:gd name="connsiteY134" fmla="*/ 1200150 h 4496940"/>
                  <a:gd name="connsiteX135" fmla="*/ 287677 w 4519983"/>
                  <a:gd name="connsiteY135" fmla="*/ 1152525 h 4496940"/>
                  <a:gd name="connsiteX136" fmla="*/ 316252 w 4519983"/>
                  <a:gd name="connsiteY136" fmla="*/ 1114425 h 4496940"/>
                  <a:gd name="connsiteX137" fmla="*/ 363877 w 4519983"/>
                  <a:gd name="connsiteY137" fmla="*/ 1038225 h 4496940"/>
                  <a:gd name="connsiteX138" fmla="*/ 382927 w 4519983"/>
                  <a:gd name="connsiteY138" fmla="*/ 1009650 h 4496940"/>
                  <a:gd name="connsiteX139" fmla="*/ 440077 w 4519983"/>
                  <a:gd name="connsiteY139" fmla="*/ 904875 h 4496940"/>
                  <a:gd name="connsiteX140" fmla="*/ 478177 w 4519983"/>
                  <a:gd name="connsiteY140" fmla="*/ 857250 h 4496940"/>
                  <a:gd name="connsiteX141" fmla="*/ 497227 w 4519983"/>
                  <a:gd name="connsiteY141" fmla="*/ 828675 h 4496940"/>
                  <a:gd name="connsiteX142" fmla="*/ 535327 w 4519983"/>
                  <a:gd name="connsiteY142" fmla="*/ 800100 h 4496940"/>
                  <a:gd name="connsiteX143" fmla="*/ 602002 w 4519983"/>
                  <a:gd name="connsiteY143" fmla="*/ 733425 h 4496940"/>
                  <a:gd name="connsiteX144" fmla="*/ 668677 w 4519983"/>
                  <a:gd name="connsiteY144" fmla="*/ 676275 h 4496940"/>
                  <a:gd name="connsiteX145" fmla="*/ 697252 w 4519983"/>
                  <a:gd name="connsiteY145" fmla="*/ 657225 h 4496940"/>
                  <a:gd name="connsiteX146" fmla="*/ 840127 w 4519983"/>
                  <a:gd name="connsiteY146" fmla="*/ 533400 h 4496940"/>
                  <a:gd name="connsiteX147" fmla="*/ 887752 w 4519983"/>
                  <a:gd name="connsiteY147" fmla="*/ 504825 h 4496940"/>
                  <a:gd name="connsiteX148" fmla="*/ 1167152 w 4519983"/>
                  <a:gd name="connsiteY148" fmla="*/ 311150 h 4496940"/>
                  <a:gd name="connsiteX149" fmla="*/ 1268752 w 4519983"/>
                  <a:gd name="connsiteY149" fmla="*/ 285750 h 4496940"/>
                  <a:gd name="connsiteX150" fmla="*/ 1411627 w 4519983"/>
                  <a:gd name="connsiteY150" fmla="*/ 190500 h 4496940"/>
                  <a:gd name="connsiteX151" fmla="*/ 1449727 w 4519983"/>
                  <a:gd name="connsiteY151" fmla="*/ 161925 h 4496940"/>
                  <a:gd name="connsiteX152" fmla="*/ 1525927 w 4519983"/>
                  <a:gd name="connsiteY152" fmla="*/ 152400 h 4496940"/>
                  <a:gd name="connsiteX153" fmla="*/ 1583077 w 4519983"/>
                  <a:gd name="connsiteY153" fmla="*/ 142875 h 4496940"/>
                  <a:gd name="connsiteX154" fmla="*/ 1716427 w 4519983"/>
                  <a:gd name="connsiteY154" fmla="*/ 123825 h 4496940"/>
                  <a:gd name="connsiteX155" fmla="*/ 1811677 w 4519983"/>
                  <a:gd name="connsiteY155" fmla="*/ 114300 h 4496940"/>
                  <a:gd name="connsiteX156" fmla="*/ 1859302 w 4519983"/>
                  <a:gd name="connsiteY156" fmla="*/ 104775 h 4496940"/>
                  <a:gd name="connsiteX157" fmla="*/ 1916452 w 4519983"/>
                  <a:gd name="connsiteY157" fmla="*/ 95250 h 4496940"/>
                  <a:gd name="connsiteX158" fmla="*/ 2030752 w 4519983"/>
                  <a:gd name="connsiteY158" fmla="*/ 66675 h 4496940"/>
                  <a:gd name="connsiteX159" fmla="*/ 2097427 w 4519983"/>
                  <a:gd name="connsiteY159" fmla="*/ 47625 h 4496940"/>
                  <a:gd name="connsiteX160" fmla="*/ 2164102 w 4519983"/>
                  <a:gd name="connsiteY160" fmla="*/ 38100 h 4496940"/>
                  <a:gd name="connsiteX161" fmla="*/ 2392702 w 4519983"/>
                  <a:gd name="connsiteY16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3992902 w 4519987"/>
                  <a:gd name="connsiteY28" fmla="*/ 714375 h 4496940"/>
                  <a:gd name="connsiteX29" fmla="*/ 4050052 w 4519987"/>
                  <a:gd name="connsiteY29" fmla="*/ 790575 h 4496940"/>
                  <a:gd name="connsiteX30" fmla="*/ 4078627 w 4519987"/>
                  <a:gd name="connsiteY30" fmla="*/ 838200 h 4496940"/>
                  <a:gd name="connsiteX31" fmla="*/ 4107202 w 4519987"/>
                  <a:gd name="connsiteY31" fmla="*/ 876300 h 4496940"/>
                  <a:gd name="connsiteX32" fmla="*/ 4116727 w 4519987"/>
                  <a:gd name="connsiteY32" fmla="*/ 904875 h 4496940"/>
                  <a:gd name="connsiteX33" fmla="*/ 4135777 w 4519987"/>
                  <a:gd name="connsiteY33" fmla="*/ 933450 h 4496940"/>
                  <a:gd name="connsiteX34" fmla="*/ 4164352 w 4519987"/>
                  <a:gd name="connsiteY34" fmla="*/ 990600 h 4496940"/>
                  <a:gd name="connsiteX35" fmla="*/ 4173877 w 4519987"/>
                  <a:gd name="connsiteY35" fmla="*/ 1019175 h 4496940"/>
                  <a:gd name="connsiteX36" fmla="*/ 4192927 w 4519987"/>
                  <a:gd name="connsiteY36" fmla="*/ 1057275 h 4496940"/>
                  <a:gd name="connsiteX37" fmla="*/ 4202452 w 4519987"/>
                  <a:gd name="connsiteY37" fmla="*/ 1085850 h 4496940"/>
                  <a:gd name="connsiteX38" fmla="*/ 4250077 w 4519987"/>
                  <a:gd name="connsiteY38" fmla="*/ 1143000 h 4496940"/>
                  <a:gd name="connsiteX39" fmla="*/ 4259602 w 4519987"/>
                  <a:gd name="connsiteY39" fmla="*/ 1190625 h 4496940"/>
                  <a:gd name="connsiteX40" fmla="*/ 4307227 w 4519987"/>
                  <a:gd name="connsiteY40" fmla="*/ 1266825 h 4496940"/>
                  <a:gd name="connsiteX41" fmla="*/ 4345327 w 4519987"/>
                  <a:gd name="connsiteY41" fmla="*/ 1362075 h 4496940"/>
                  <a:gd name="connsiteX42" fmla="*/ 4373902 w 4519987"/>
                  <a:gd name="connsiteY42" fmla="*/ 1428750 h 4496940"/>
                  <a:gd name="connsiteX43" fmla="*/ 4392952 w 4519987"/>
                  <a:gd name="connsiteY43" fmla="*/ 1552575 h 4496940"/>
                  <a:gd name="connsiteX44" fmla="*/ 4402477 w 4519987"/>
                  <a:gd name="connsiteY44" fmla="*/ 1590675 h 4496940"/>
                  <a:gd name="connsiteX45" fmla="*/ 4431052 w 4519987"/>
                  <a:gd name="connsiteY45" fmla="*/ 1685925 h 4496940"/>
                  <a:gd name="connsiteX46" fmla="*/ 4519952 w 4519987"/>
                  <a:gd name="connsiteY46" fmla="*/ 2181225 h 4496940"/>
                  <a:gd name="connsiteX47" fmla="*/ 4446927 w 4519987"/>
                  <a:gd name="connsiteY47" fmla="*/ 2768600 h 4496940"/>
                  <a:gd name="connsiteX48" fmla="*/ 4383427 w 4519987"/>
                  <a:gd name="connsiteY48" fmla="*/ 2990850 h 4496940"/>
                  <a:gd name="connsiteX49" fmla="*/ 4354852 w 4519987"/>
                  <a:gd name="connsiteY49" fmla="*/ 3057525 h 4496940"/>
                  <a:gd name="connsiteX50" fmla="*/ 4335802 w 4519987"/>
                  <a:gd name="connsiteY50" fmla="*/ 3095625 h 4496940"/>
                  <a:gd name="connsiteX51" fmla="*/ 4278652 w 4519987"/>
                  <a:gd name="connsiteY51" fmla="*/ 3248025 h 4496940"/>
                  <a:gd name="connsiteX52" fmla="*/ 4259602 w 4519987"/>
                  <a:gd name="connsiteY52" fmla="*/ 3276600 h 4496940"/>
                  <a:gd name="connsiteX53" fmla="*/ 4221502 w 4519987"/>
                  <a:gd name="connsiteY53" fmla="*/ 3333750 h 4496940"/>
                  <a:gd name="connsiteX54" fmla="*/ 4211977 w 4519987"/>
                  <a:gd name="connsiteY54" fmla="*/ 3362325 h 4496940"/>
                  <a:gd name="connsiteX55" fmla="*/ 4183402 w 4519987"/>
                  <a:gd name="connsiteY55" fmla="*/ 3400425 h 4496940"/>
                  <a:gd name="connsiteX56" fmla="*/ 4164352 w 4519987"/>
                  <a:gd name="connsiteY56" fmla="*/ 3429000 h 4496940"/>
                  <a:gd name="connsiteX57" fmla="*/ 4088152 w 4519987"/>
                  <a:gd name="connsiteY57" fmla="*/ 3495675 h 4496940"/>
                  <a:gd name="connsiteX58" fmla="*/ 4059577 w 4519987"/>
                  <a:gd name="connsiteY58" fmla="*/ 3533775 h 4496940"/>
                  <a:gd name="connsiteX59" fmla="*/ 4002427 w 4519987"/>
                  <a:gd name="connsiteY59" fmla="*/ 3600450 h 4496940"/>
                  <a:gd name="connsiteX60" fmla="*/ 3983377 w 4519987"/>
                  <a:gd name="connsiteY60" fmla="*/ 3629025 h 4496940"/>
                  <a:gd name="connsiteX61" fmla="*/ 3954802 w 4519987"/>
                  <a:gd name="connsiteY61" fmla="*/ 3648075 h 4496940"/>
                  <a:gd name="connsiteX62" fmla="*/ 3907177 w 4519987"/>
                  <a:gd name="connsiteY62" fmla="*/ 3686175 h 4496940"/>
                  <a:gd name="connsiteX63" fmla="*/ 3869077 w 4519987"/>
                  <a:gd name="connsiteY63" fmla="*/ 3724275 h 4496940"/>
                  <a:gd name="connsiteX64" fmla="*/ 3792877 w 4519987"/>
                  <a:gd name="connsiteY64" fmla="*/ 3781425 h 4496940"/>
                  <a:gd name="connsiteX65" fmla="*/ 3783352 w 4519987"/>
                  <a:gd name="connsiteY65" fmla="*/ 3810000 h 4496940"/>
                  <a:gd name="connsiteX66" fmla="*/ 3745252 w 4519987"/>
                  <a:gd name="connsiteY66" fmla="*/ 3819525 h 4496940"/>
                  <a:gd name="connsiteX67" fmla="*/ 3678577 w 4519987"/>
                  <a:gd name="connsiteY67" fmla="*/ 3848100 h 4496940"/>
                  <a:gd name="connsiteX68" fmla="*/ 3659527 w 4519987"/>
                  <a:gd name="connsiteY68" fmla="*/ 3971925 h 4496940"/>
                  <a:gd name="connsiteX69" fmla="*/ 3630952 w 4519987"/>
                  <a:gd name="connsiteY69" fmla="*/ 4010025 h 4496940"/>
                  <a:gd name="connsiteX70" fmla="*/ 3621427 w 4519987"/>
                  <a:gd name="connsiteY70" fmla="*/ 4038600 h 4496940"/>
                  <a:gd name="connsiteX71" fmla="*/ 3554752 w 4519987"/>
                  <a:gd name="connsiteY71" fmla="*/ 4095750 h 4496940"/>
                  <a:gd name="connsiteX72" fmla="*/ 3516652 w 4519987"/>
                  <a:gd name="connsiteY72" fmla="*/ 4114800 h 4496940"/>
                  <a:gd name="connsiteX73" fmla="*/ 3497602 w 4519987"/>
                  <a:gd name="connsiteY73" fmla="*/ 4143375 h 4496940"/>
                  <a:gd name="connsiteX74" fmla="*/ 3383302 w 4519987"/>
                  <a:gd name="connsiteY74" fmla="*/ 4210050 h 4496940"/>
                  <a:gd name="connsiteX75" fmla="*/ 3335677 w 4519987"/>
                  <a:gd name="connsiteY75" fmla="*/ 4238625 h 4496940"/>
                  <a:gd name="connsiteX76" fmla="*/ 3288052 w 4519987"/>
                  <a:gd name="connsiteY76" fmla="*/ 4248150 h 4496940"/>
                  <a:gd name="connsiteX77" fmla="*/ 3240427 w 4519987"/>
                  <a:gd name="connsiteY77" fmla="*/ 4267200 h 4496940"/>
                  <a:gd name="connsiteX78" fmla="*/ 3068977 w 4519987"/>
                  <a:gd name="connsiteY78" fmla="*/ 4286250 h 4496940"/>
                  <a:gd name="connsiteX79" fmla="*/ 2935627 w 4519987"/>
                  <a:gd name="connsiteY79" fmla="*/ 4333875 h 4496940"/>
                  <a:gd name="connsiteX80" fmla="*/ 2811802 w 4519987"/>
                  <a:gd name="connsiteY80" fmla="*/ 4371975 h 4496940"/>
                  <a:gd name="connsiteX81" fmla="*/ 2745127 w 4519987"/>
                  <a:gd name="connsiteY81" fmla="*/ 4410075 h 4496940"/>
                  <a:gd name="connsiteX82" fmla="*/ 2697502 w 4519987"/>
                  <a:gd name="connsiteY82" fmla="*/ 4429125 h 4496940"/>
                  <a:gd name="connsiteX83" fmla="*/ 2640352 w 4519987"/>
                  <a:gd name="connsiteY83" fmla="*/ 4457700 h 4496940"/>
                  <a:gd name="connsiteX84" fmla="*/ 2583202 w 4519987"/>
                  <a:gd name="connsiteY84" fmla="*/ 4467225 h 4496940"/>
                  <a:gd name="connsiteX85" fmla="*/ 2545102 w 4519987"/>
                  <a:gd name="connsiteY85" fmla="*/ 4486275 h 4496940"/>
                  <a:gd name="connsiteX86" fmla="*/ 2306977 w 4519987"/>
                  <a:gd name="connsiteY86" fmla="*/ 4476750 h 4496940"/>
                  <a:gd name="connsiteX87" fmla="*/ 2202202 w 4519987"/>
                  <a:gd name="connsiteY87" fmla="*/ 4457700 h 4496940"/>
                  <a:gd name="connsiteX88" fmla="*/ 2126002 w 4519987"/>
                  <a:gd name="connsiteY88" fmla="*/ 4429125 h 4496940"/>
                  <a:gd name="connsiteX89" fmla="*/ 1935502 w 4519987"/>
                  <a:gd name="connsiteY89" fmla="*/ 4400550 h 4496940"/>
                  <a:gd name="connsiteX90" fmla="*/ 1821202 w 4519987"/>
                  <a:gd name="connsiteY90" fmla="*/ 4371975 h 4496940"/>
                  <a:gd name="connsiteX91" fmla="*/ 1754527 w 4519987"/>
                  <a:gd name="connsiteY91" fmla="*/ 4352925 h 4496940"/>
                  <a:gd name="connsiteX92" fmla="*/ 1687852 w 4519987"/>
                  <a:gd name="connsiteY92" fmla="*/ 4343400 h 4496940"/>
                  <a:gd name="connsiteX93" fmla="*/ 1573552 w 4519987"/>
                  <a:gd name="connsiteY93" fmla="*/ 4305300 h 4496940"/>
                  <a:gd name="connsiteX94" fmla="*/ 1402102 w 4519987"/>
                  <a:gd name="connsiteY94" fmla="*/ 4276725 h 4496940"/>
                  <a:gd name="connsiteX95" fmla="*/ 1287802 w 4519987"/>
                  <a:gd name="connsiteY95" fmla="*/ 4229100 h 4496940"/>
                  <a:gd name="connsiteX96" fmla="*/ 1221127 w 4519987"/>
                  <a:gd name="connsiteY96" fmla="*/ 4200525 h 4496940"/>
                  <a:gd name="connsiteX97" fmla="*/ 1144927 w 4519987"/>
                  <a:gd name="connsiteY97" fmla="*/ 4171950 h 4496940"/>
                  <a:gd name="connsiteX98" fmla="*/ 1087777 w 4519987"/>
                  <a:gd name="connsiteY98" fmla="*/ 4143375 h 4496940"/>
                  <a:gd name="connsiteX99" fmla="*/ 1030627 w 4519987"/>
                  <a:gd name="connsiteY99" fmla="*/ 4124325 h 4496940"/>
                  <a:gd name="connsiteX100" fmla="*/ 925852 w 4519987"/>
                  <a:gd name="connsiteY100" fmla="*/ 4067175 h 4496940"/>
                  <a:gd name="connsiteX101" fmla="*/ 830602 w 4519987"/>
                  <a:gd name="connsiteY101" fmla="*/ 3981450 h 4496940"/>
                  <a:gd name="connsiteX102" fmla="*/ 763927 w 4519987"/>
                  <a:gd name="connsiteY102" fmla="*/ 3914775 h 4496940"/>
                  <a:gd name="connsiteX103" fmla="*/ 725827 w 4519987"/>
                  <a:gd name="connsiteY103" fmla="*/ 3876675 h 4496940"/>
                  <a:gd name="connsiteX104" fmla="*/ 697252 w 4519987"/>
                  <a:gd name="connsiteY104" fmla="*/ 3838575 h 4496940"/>
                  <a:gd name="connsiteX105" fmla="*/ 640102 w 4519987"/>
                  <a:gd name="connsiteY105" fmla="*/ 3781425 h 4496940"/>
                  <a:gd name="connsiteX106" fmla="*/ 611527 w 4519987"/>
                  <a:gd name="connsiteY106" fmla="*/ 3733800 h 4496940"/>
                  <a:gd name="connsiteX107" fmla="*/ 554377 w 4519987"/>
                  <a:gd name="connsiteY107" fmla="*/ 3657600 h 4496940"/>
                  <a:gd name="connsiteX108" fmla="*/ 525802 w 4519987"/>
                  <a:gd name="connsiteY108" fmla="*/ 3609975 h 4496940"/>
                  <a:gd name="connsiteX109" fmla="*/ 497227 w 4519987"/>
                  <a:gd name="connsiteY109" fmla="*/ 3552825 h 4496940"/>
                  <a:gd name="connsiteX110" fmla="*/ 440077 w 4519987"/>
                  <a:gd name="connsiteY110" fmla="*/ 3495675 h 4496940"/>
                  <a:gd name="connsiteX111" fmla="*/ 411502 w 4519987"/>
                  <a:gd name="connsiteY111" fmla="*/ 3448050 h 4496940"/>
                  <a:gd name="connsiteX112" fmla="*/ 278152 w 4519987"/>
                  <a:gd name="connsiteY112" fmla="*/ 3257550 h 4496940"/>
                  <a:gd name="connsiteX113" fmla="*/ 249577 w 4519987"/>
                  <a:gd name="connsiteY113" fmla="*/ 3200400 h 4496940"/>
                  <a:gd name="connsiteX114" fmla="*/ 240052 w 4519987"/>
                  <a:gd name="connsiteY114" fmla="*/ 3162300 h 4496940"/>
                  <a:gd name="connsiteX115" fmla="*/ 221002 w 4519987"/>
                  <a:gd name="connsiteY115" fmla="*/ 3105150 h 4496940"/>
                  <a:gd name="connsiteX116" fmla="*/ 173377 w 4519987"/>
                  <a:gd name="connsiteY116" fmla="*/ 3019425 h 4496940"/>
                  <a:gd name="connsiteX117" fmla="*/ 144802 w 4519987"/>
                  <a:gd name="connsiteY117" fmla="*/ 2924175 h 4496940"/>
                  <a:gd name="connsiteX118" fmla="*/ 68602 w 4519987"/>
                  <a:gd name="connsiteY118" fmla="*/ 2724150 h 4496940"/>
                  <a:gd name="connsiteX119" fmla="*/ 49552 w 4519987"/>
                  <a:gd name="connsiteY119" fmla="*/ 2638425 h 4496940"/>
                  <a:gd name="connsiteX120" fmla="*/ 40027 w 4519987"/>
                  <a:gd name="connsiteY120" fmla="*/ 2562225 h 4496940"/>
                  <a:gd name="connsiteX121" fmla="*/ 30502 w 4519987"/>
                  <a:gd name="connsiteY121" fmla="*/ 2514600 h 4496940"/>
                  <a:gd name="connsiteX122" fmla="*/ 11452 w 4519987"/>
                  <a:gd name="connsiteY122" fmla="*/ 2400300 h 4496940"/>
                  <a:gd name="connsiteX123" fmla="*/ 20977 w 4519987"/>
                  <a:gd name="connsiteY123" fmla="*/ 1905000 h 4496940"/>
                  <a:gd name="connsiteX124" fmla="*/ 30502 w 4519987"/>
                  <a:gd name="connsiteY124" fmla="*/ 1838325 h 4496940"/>
                  <a:gd name="connsiteX125" fmla="*/ 49552 w 4519987"/>
                  <a:gd name="connsiteY125" fmla="*/ 1781175 h 4496940"/>
                  <a:gd name="connsiteX126" fmla="*/ 59077 w 4519987"/>
                  <a:gd name="connsiteY126" fmla="*/ 1743075 h 4496940"/>
                  <a:gd name="connsiteX127" fmla="*/ 78127 w 4519987"/>
                  <a:gd name="connsiteY127" fmla="*/ 1685925 h 4496940"/>
                  <a:gd name="connsiteX128" fmla="*/ 87652 w 4519987"/>
                  <a:gd name="connsiteY128" fmla="*/ 1638300 h 4496940"/>
                  <a:gd name="connsiteX129" fmla="*/ 106702 w 4519987"/>
                  <a:gd name="connsiteY129" fmla="*/ 1590675 h 4496940"/>
                  <a:gd name="connsiteX130" fmla="*/ 135277 w 4519987"/>
                  <a:gd name="connsiteY130" fmla="*/ 1504950 h 4496940"/>
                  <a:gd name="connsiteX131" fmla="*/ 154327 w 4519987"/>
                  <a:gd name="connsiteY131" fmla="*/ 1419225 h 4496940"/>
                  <a:gd name="connsiteX132" fmla="*/ 230527 w 4519987"/>
                  <a:gd name="connsiteY132" fmla="*/ 1276350 h 4496940"/>
                  <a:gd name="connsiteX133" fmla="*/ 240052 w 4519987"/>
                  <a:gd name="connsiteY133" fmla="*/ 1247775 h 4496940"/>
                  <a:gd name="connsiteX134" fmla="*/ 268627 w 4519987"/>
                  <a:gd name="connsiteY134" fmla="*/ 1200150 h 4496940"/>
                  <a:gd name="connsiteX135" fmla="*/ 287677 w 4519987"/>
                  <a:gd name="connsiteY135" fmla="*/ 1152525 h 4496940"/>
                  <a:gd name="connsiteX136" fmla="*/ 316252 w 4519987"/>
                  <a:gd name="connsiteY136" fmla="*/ 1114425 h 4496940"/>
                  <a:gd name="connsiteX137" fmla="*/ 363877 w 4519987"/>
                  <a:gd name="connsiteY137" fmla="*/ 1038225 h 4496940"/>
                  <a:gd name="connsiteX138" fmla="*/ 382927 w 4519987"/>
                  <a:gd name="connsiteY138" fmla="*/ 1009650 h 4496940"/>
                  <a:gd name="connsiteX139" fmla="*/ 440077 w 4519987"/>
                  <a:gd name="connsiteY139" fmla="*/ 904875 h 4496940"/>
                  <a:gd name="connsiteX140" fmla="*/ 478177 w 4519987"/>
                  <a:gd name="connsiteY140" fmla="*/ 857250 h 4496940"/>
                  <a:gd name="connsiteX141" fmla="*/ 497227 w 4519987"/>
                  <a:gd name="connsiteY141" fmla="*/ 828675 h 4496940"/>
                  <a:gd name="connsiteX142" fmla="*/ 535327 w 4519987"/>
                  <a:gd name="connsiteY142" fmla="*/ 800100 h 4496940"/>
                  <a:gd name="connsiteX143" fmla="*/ 602002 w 4519987"/>
                  <a:gd name="connsiteY143" fmla="*/ 733425 h 4496940"/>
                  <a:gd name="connsiteX144" fmla="*/ 668677 w 4519987"/>
                  <a:gd name="connsiteY144" fmla="*/ 676275 h 4496940"/>
                  <a:gd name="connsiteX145" fmla="*/ 697252 w 4519987"/>
                  <a:gd name="connsiteY145" fmla="*/ 657225 h 4496940"/>
                  <a:gd name="connsiteX146" fmla="*/ 840127 w 4519987"/>
                  <a:gd name="connsiteY146" fmla="*/ 533400 h 4496940"/>
                  <a:gd name="connsiteX147" fmla="*/ 887752 w 4519987"/>
                  <a:gd name="connsiteY147" fmla="*/ 504825 h 4496940"/>
                  <a:gd name="connsiteX148" fmla="*/ 1167152 w 4519987"/>
                  <a:gd name="connsiteY148" fmla="*/ 311150 h 4496940"/>
                  <a:gd name="connsiteX149" fmla="*/ 1268752 w 4519987"/>
                  <a:gd name="connsiteY149" fmla="*/ 285750 h 4496940"/>
                  <a:gd name="connsiteX150" fmla="*/ 1411627 w 4519987"/>
                  <a:gd name="connsiteY150" fmla="*/ 190500 h 4496940"/>
                  <a:gd name="connsiteX151" fmla="*/ 1449727 w 4519987"/>
                  <a:gd name="connsiteY151" fmla="*/ 161925 h 4496940"/>
                  <a:gd name="connsiteX152" fmla="*/ 1525927 w 4519987"/>
                  <a:gd name="connsiteY152" fmla="*/ 152400 h 4496940"/>
                  <a:gd name="connsiteX153" fmla="*/ 1583077 w 4519987"/>
                  <a:gd name="connsiteY153" fmla="*/ 142875 h 4496940"/>
                  <a:gd name="connsiteX154" fmla="*/ 1716427 w 4519987"/>
                  <a:gd name="connsiteY154" fmla="*/ 123825 h 4496940"/>
                  <a:gd name="connsiteX155" fmla="*/ 1811677 w 4519987"/>
                  <a:gd name="connsiteY155" fmla="*/ 114300 h 4496940"/>
                  <a:gd name="connsiteX156" fmla="*/ 1859302 w 4519987"/>
                  <a:gd name="connsiteY156" fmla="*/ 104775 h 4496940"/>
                  <a:gd name="connsiteX157" fmla="*/ 1916452 w 4519987"/>
                  <a:gd name="connsiteY157" fmla="*/ 95250 h 4496940"/>
                  <a:gd name="connsiteX158" fmla="*/ 2030752 w 4519987"/>
                  <a:gd name="connsiteY158" fmla="*/ 66675 h 4496940"/>
                  <a:gd name="connsiteX159" fmla="*/ 2097427 w 4519987"/>
                  <a:gd name="connsiteY159" fmla="*/ 47625 h 4496940"/>
                  <a:gd name="connsiteX160" fmla="*/ 2164102 w 4519987"/>
                  <a:gd name="connsiteY160" fmla="*/ 38100 h 4496940"/>
                  <a:gd name="connsiteX161" fmla="*/ 2392702 w 4519987"/>
                  <a:gd name="connsiteY16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3992902 w 4519987"/>
                  <a:gd name="connsiteY28" fmla="*/ 714375 h 4496940"/>
                  <a:gd name="connsiteX29" fmla="*/ 4050052 w 4519987"/>
                  <a:gd name="connsiteY29" fmla="*/ 790575 h 4496940"/>
                  <a:gd name="connsiteX30" fmla="*/ 4078627 w 4519987"/>
                  <a:gd name="connsiteY30" fmla="*/ 838200 h 4496940"/>
                  <a:gd name="connsiteX31" fmla="*/ 4107202 w 4519987"/>
                  <a:gd name="connsiteY31" fmla="*/ 876300 h 4496940"/>
                  <a:gd name="connsiteX32" fmla="*/ 4116727 w 4519987"/>
                  <a:gd name="connsiteY32" fmla="*/ 904875 h 4496940"/>
                  <a:gd name="connsiteX33" fmla="*/ 4135777 w 4519987"/>
                  <a:gd name="connsiteY33" fmla="*/ 933450 h 4496940"/>
                  <a:gd name="connsiteX34" fmla="*/ 4164352 w 4519987"/>
                  <a:gd name="connsiteY34" fmla="*/ 990600 h 4496940"/>
                  <a:gd name="connsiteX35" fmla="*/ 4173877 w 4519987"/>
                  <a:gd name="connsiteY35" fmla="*/ 1019175 h 4496940"/>
                  <a:gd name="connsiteX36" fmla="*/ 4192927 w 4519987"/>
                  <a:gd name="connsiteY36" fmla="*/ 1057275 h 4496940"/>
                  <a:gd name="connsiteX37" fmla="*/ 4202452 w 4519987"/>
                  <a:gd name="connsiteY37" fmla="*/ 1085850 h 4496940"/>
                  <a:gd name="connsiteX38" fmla="*/ 4250077 w 4519987"/>
                  <a:gd name="connsiteY38" fmla="*/ 1143000 h 4496940"/>
                  <a:gd name="connsiteX39" fmla="*/ 4259602 w 4519987"/>
                  <a:gd name="connsiteY39" fmla="*/ 1190625 h 4496940"/>
                  <a:gd name="connsiteX40" fmla="*/ 4307227 w 4519987"/>
                  <a:gd name="connsiteY40" fmla="*/ 1266825 h 4496940"/>
                  <a:gd name="connsiteX41" fmla="*/ 4345327 w 4519987"/>
                  <a:gd name="connsiteY41" fmla="*/ 1362075 h 4496940"/>
                  <a:gd name="connsiteX42" fmla="*/ 4373902 w 4519987"/>
                  <a:gd name="connsiteY42" fmla="*/ 1428750 h 4496940"/>
                  <a:gd name="connsiteX43" fmla="*/ 4392952 w 4519987"/>
                  <a:gd name="connsiteY43" fmla="*/ 1552575 h 4496940"/>
                  <a:gd name="connsiteX44" fmla="*/ 4402477 w 4519987"/>
                  <a:gd name="connsiteY44" fmla="*/ 1590675 h 4496940"/>
                  <a:gd name="connsiteX45" fmla="*/ 4431052 w 4519987"/>
                  <a:gd name="connsiteY45" fmla="*/ 1685925 h 4496940"/>
                  <a:gd name="connsiteX46" fmla="*/ 4519952 w 4519987"/>
                  <a:gd name="connsiteY46" fmla="*/ 2181225 h 4496940"/>
                  <a:gd name="connsiteX47" fmla="*/ 4446927 w 4519987"/>
                  <a:gd name="connsiteY47" fmla="*/ 2768600 h 4496940"/>
                  <a:gd name="connsiteX48" fmla="*/ 4383427 w 4519987"/>
                  <a:gd name="connsiteY48" fmla="*/ 2990850 h 4496940"/>
                  <a:gd name="connsiteX49" fmla="*/ 4354852 w 4519987"/>
                  <a:gd name="connsiteY49" fmla="*/ 3057525 h 4496940"/>
                  <a:gd name="connsiteX50" fmla="*/ 4278652 w 4519987"/>
                  <a:gd name="connsiteY50" fmla="*/ 3248025 h 4496940"/>
                  <a:gd name="connsiteX51" fmla="*/ 4259602 w 4519987"/>
                  <a:gd name="connsiteY51" fmla="*/ 3276600 h 4496940"/>
                  <a:gd name="connsiteX52" fmla="*/ 4221502 w 4519987"/>
                  <a:gd name="connsiteY52" fmla="*/ 3333750 h 4496940"/>
                  <a:gd name="connsiteX53" fmla="*/ 4211977 w 4519987"/>
                  <a:gd name="connsiteY53" fmla="*/ 3362325 h 4496940"/>
                  <a:gd name="connsiteX54" fmla="*/ 4183402 w 4519987"/>
                  <a:gd name="connsiteY54" fmla="*/ 3400425 h 4496940"/>
                  <a:gd name="connsiteX55" fmla="*/ 4164352 w 4519987"/>
                  <a:gd name="connsiteY55" fmla="*/ 3429000 h 4496940"/>
                  <a:gd name="connsiteX56" fmla="*/ 4088152 w 4519987"/>
                  <a:gd name="connsiteY56" fmla="*/ 3495675 h 4496940"/>
                  <a:gd name="connsiteX57" fmla="*/ 4059577 w 4519987"/>
                  <a:gd name="connsiteY57" fmla="*/ 3533775 h 4496940"/>
                  <a:gd name="connsiteX58" fmla="*/ 4002427 w 4519987"/>
                  <a:gd name="connsiteY58" fmla="*/ 3600450 h 4496940"/>
                  <a:gd name="connsiteX59" fmla="*/ 3983377 w 4519987"/>
                  <a:gd name="connsiteY59" fmla="*/ 3629025 h 4496940"/>
                  <a:gd name="connsiteX60" fmla="*/ 3954802 w 4519987"/>
                  <a:gd name="connsiteY60" fmla="*/ 3648075 h 4496940"/>
                  <a:gd name="connsiteX61" fmla="*/ 3907177 w 4519987"/>
                  <a:gd name="connsiteY61" fmla="*/ 3686175 h 4496940"/>
                  <a:gd name="connsiteX62" fmla="*/ 3869077 w 4519987"/>
                  <a:gd name="connsiteY62" fmla="*/ 3724275 h 4496940"/>
                  <a:gd name="connsiteX63" fmla="*/ 3792877 w 4519987"/>
                  <a:gd name="connsiteY63" fmla="*/ 3781425 h 4496940"/>
                  <a:gd name="connsiteX64" fmla="*/ 3783352 w 4519987"/>
                  <a:gd name="connsiteY64" fmla="*/ 3810000 h 4496940"/>
                  <a:gd name="connsiteX65" fmla="*/ 3745252 w 4519987"/>
                  <a:gd name="connsiteY65" fmla="*/ 3819525 h 4496940"/>
                  <a:gd name="connsiteX66" fmla="*/ 3678577 w 4519987"/>
                  <a:gd name="connsiteY66" fmla="*/ 3848100 h 4496940"/>
                  <a:gd name="connsiteX67" fmla="*/ 3659527 w 4519987"/>
                  <a:gd name="connsiteY67" fmla="*/ 3971925 h 4496940"/>
                  <a:gd name="connsiteX68" fmla="*/ 3630952 w 4519987"/>
                  <a:gd name="connsiteY68" fmla="*/ 4010025 h 4496940"/>
                  <a:gd name="connsiteX69" fmla="*/ 3621427 w 4519987"/>
                  <a:gd name="connsiteY69" fmla="*/ 4038600 h 4496940"/>
                  <a:gd name="connsiteX70" fmla="*/ 3554752 w 4519987"/>
                  <a:gd name="connsiteY70" fmla="*/ 4095750 h 4496940"/>
                  <a:gd name="connsiteX71" fmla="*/ 3516652 w 4519987"/>
                  <a:gd name="connsiteY71" fmla="*/ 4114800 h 4496940"/>
                  <a:gd name="connsiteX72" fmla="*/ 3497602 w 4519987"/>
                  <a:gd name="connsiteY72" fmla="*/ 4143375 h 4496940"/>
                  <a:gd name="connsiteX73" fmla="*/ 3383302 w 4519987"/>
                  <a:gd name="connsiteY73" fmla="*/ 4210050 h 4496940"/>
                  <a:gd name="connsiteX74" fmla="*/ 3335677 w 4519987"/>
                  <a:gd name="connsiteY74" fmla="*/ 4238625 h 4496940"/>
                  <a:gd name="connsiteX75" fmla="*/ 3288052 w 4519987"/>
                  <a:gd name="connsiteY75" fmla="*/ 4248150 h 4496940"/>
                  <a:gd name="connsiteX76" fmla="*/ 3240427 w 4519987"/>
                  <a:gd name="connsiteY76" fmla="*/ 4267200 h 4496940"/>
                  <a:gd name="connsiteX77" fmla="*/ 3068977 w 4519987"/>
                  <a:gd name="connsiteY77" fmla="*/ 4286250 h 4496940"/>
                  <a:gd name="connsiteX78" fmla="*/ 2935627 w 4519987"/>
                  <a:gd name="connsiteY78" fmla="*/ 4333875 h 4496940"/>
                  <a:gd name="connsiteX79" fmla="*/ 2811802 w 4519987"/>
                  <a:gd name="connsiteY79" fmla="*/ 4371975 h 4496940"/>
                  <a:gd name="connsiteX80" fmla="*/ 2745127 w 4519987"/>
                  <a:gd name="connsiteY80" fmla="*/ 4410075 h 4496940"/>
                  <a:gd name="connsiteX81" fmla="*/ 2697502 w 4519987"/>
                  <a:gd name="connsiteY81" fmla="*/ 4429125 h 4496940"/>
                  <a:gd name="connsiteX82" fmla="*/ 2640352 w 4519987"/>
                  <a:gd name="connsiteY82" fmla="*/ 4457700 h 4496940"/>
                  <a:gd name="connsiteX83" fmla="*/ 2583202 w 4519987"/>
                  <a:gd name="connsiteY83" fmla="*/ 4467225 h 4496940"/>
                  <a:gd name="connsiteX84" fmla="*/ 2545102 w 4519987"/>
                  <a:gd name="connsiteY84" fmla="*/ 4486275 h 4496940"/>
                  <a:gd name="connsiteX85" fmla="*/ 2306977 w 4519987"/>
                  <a:gd name="connsiteY85" fmla="*/ 4476750 h 4496940"/>
                  <a:gd name="connsiteX86" fmla="*/ 2202202 w 4519987"/>
                  <a:gd name="connsiteY86" fmla="*/ 4457700 h 4496940"/>
                  <a:gd name="connsiteX87" fmla="*/ 2126002 w 4519987"/>
                  <a:gd name="connsiteY87" fmla="*/ 4429125 h 4496940"/>
                  <a:gd name="connsiteX88" fmla="*/ 1935502 w 4519987"/>
                  <a:gd name="connsiteY88" fmla="*/ 4400550 h 4496940"/>
                  <a:gd name="connsiteX89" fmla="*/ 1821202 w 4519987"/>
                  <a:gd name="connsiteY89" fmla="*/ 4371975 h 4496940"/>
                  <a:gd name="connsiteX90" fmla="*/ 1754527 w 4519987"/>
                  <a:gd name="connsiteY90" fmla="*/ 4352925 h 4496940"/>
                  <a:gd name="connsiteX91" fmla="*/ 1687852 w 4519987"/>
                  <a:gd name="connsiteY91" fmla="*/ 4343400 h 4496940"/>
                  <a:gd name="connsiteX92" fmla="*/ 1573552 w 4519987"/>
                  <a:gd name="connsiteY92" fmla="*/ 4305300 h 4496940"/>
                  <a:gd name="connsiteX93" fmla="*/ 1402102 w 4519987"/>
                  <a:gd name="connsiteY93" fmla="*/ 4276725 h 4496940"/>
                  <a:gd name="connsiteX94" fmla="*/ 1287802 w 4519987"/>
                  <a:gd name="connsiteY94" fmla="*/ 4229100 h 4496940"/>
                  <a:gd name="connsiteX95" fmla="*/ 1221127 w 4519987"/>
                  <a:gd name="connsiteY95" fmla="*/ 4200525 h 4496940"/>
                  <a:gd name="connsiteX96" fmla="*/ 1144927 w 4519987"/>
                  <a:gd name="connsiteY96" fmla="*/ 4171950 h 4496940"/>
                  <a:gd name="connsiteX97" fmla="*/ 1087777 w 4519987"/>
                  <a:gd name="connsiteY97" fmla="*/ 4143375 h 4496940"/>
                  <a:gd name="connsiteX98" fmla="*/ 1030627 w 4519987"/>
                  <a:gd name="connsiteY98" fmla="*/ 4124325 h 4496940"/>
                  <a:gd name="connsiteX99" fmla="*/ 925852 w 4519987"/>
                  <a:gd name="connsiteY99" fmla="*/ 4067175 h 4496940"/>
                  <a:gd name="connsiteX100" fmla="*/ 830602 w 4519987"/>
                  <a:gd name="connsiteY100" fmla="*/ 3981450 h 4496940"/>
                  <a:gd name="connsiteX101" fmla="*/ 763927 w 4519987"/>
                  <a:gd name="connsiteY101" fmla="*/ 3914775 h 4496940"/>
                  <a:gd name="connsiteX102" fmla="*/ 725827 w 4519987"/>
                  <a:gd name="connsiteY102" fmla="*/ 3876675 h 4496940"/>
                  <a:gd name="connsiteX103" fmla="*/ 697252 w 4519987"/>
                  <a:gd name="connsiteY103" fmla="*/ 3838575 h 4496940"/>
                  <a:gd name="connsiteX104" fmla="*/ 640102 w 4519987"/>
                  <a:gd name="connsiteY104" fmla="*/ 3781425 h 4496940"/>
                  <a:gd name="connsiteX105" fmla="*/ 611527 w 4519987"/>
                  <a:gd name="connsiteY105" fmla="*/ 3733800 h 4496940"/>
                  <a:gd name="connsiteX106" fmla="*/ 554377 w 4519987"/>
                  <a:gd name="connsiteY106" fmla="*/ 3657600 h 4496940"/>
                  <a:gd name="connsiteX107" fmla="*/ 525802 w 4519987"/>
                  <a:gd name="connsiteY107" fmla="*/ 3609975 h 4496940"/>
                  <a:gd name="connsiteX108" fmla="*/ 497227 w 4519987"/>
                  <a:gd name="connsiteY108" fmla="*/ 3552825 h 4496940"/>
                  <a:gd name="connsiteX109" fmla="*/ 440077 w 4519987"/>
                  <a:gd name="connsiteY109" fmla="*/ 3495675 h 4496940"/>
                  <a:gd name="connsiteX110" fmla="*/ 411502 w 4519987"/>
                  <a:gd name="connsiteY110" fmla="*/ 3448050 h 4496940"/>
                  <a:gd name="connsiteX111" fmla="*/ 278152 w 4519987"/>
                  <a:gd name="connsiteY111" fmla="*/ 3257550 h 4496940"/>
                  <a:gd name="connsiteX112" fmla="*/ 249577 w 4519987"/>
                  <a:gd name="connsiteY112" fmla="*/ 3200400 h 4496940"/>
                  <a:gd name="connsiteX113" fmla="*/ 240052 w 4519987"/>
                  <a:gd name="connsiteY113" fmla="*/ 3162300 h 4496940"/>
                  <a:gd name="connsiteX114" fmla="*/ 221002 w 4519987"/>
                  <a:gd name="connsiteY114" fmla="*/ 3105150 h 4496940"/>
                  <a:gd name="connsiteX115" fmla="*/ 173377 w 4519987"/>
                  <a:gd name="connsiteY115" fmla="*/ 3019425 h 4496940"/>
                  <a:gd name="connsiteX116" fmla="*/ 144802 w 4519987"/>
                  <a:gd name="connsiteY116" fmla="*/ 2924175 h 4496940"/>
                  <a:gd name="connsiteX117" fmla="*/ 68602 w 4519987"/>
                  <a:gd name="connsiteY117" fmla="*/ 2724150 h 4496940"/>
                  <a:gd name="connsiteX118" fmla="*/ 49552 w 4519987"/>
                  <a:gd name="connsiteY118" fmla="*/ 2638425 h 4496940"/>
                  <a:gd name="connsiteX119" fmla="*/ 40027 w 4519987"/>
                  <a:gd name="connsiteY119" fmla="*/ 2562225 h 4496940"/>
                  <a:gd name="connsiteX120" fmla="*/ 30502 w 4519987"/>
                  <a:gd name="connsiteY120" fmla="*/ 2514600 h 4496940"/>
                  <a:gd name="connsiteX121" fmla="*/ 11452 w 4519987"/>
                  <a:gd name="connsiteY121" fmla="*/ 2400300 h 4496940"/>
                  <a:gd name="connsiteX122" fmla="*/ 20977 w 4519987"/>
                  <a:gd name="connsiteY122" fmla="*/ 1905000 h 4496940"/>
                  <a:gd name="connsiteX123" fmla="*/ 30502 w 4519987"/>
                  <a:gd name="connsiteY123" fmla="*/ 1838325 h 4496940"/>
                  <a:gd name="connsiteX124" fmla="*/ 49552 w 4519987"/>
                  <a:gd name="connsiteY124" fmla="*/ 1781175 h 4496940"/>
                  <a:gd name="connsiteX125" fmla="*/ 59077 w 4519987"/>
                  <a:gd name="connsiteY125" fmla="*/ 1743075 h 4496940"/>
                  <a:gd name="connsiteX126" fmla="*/ 78127 w 4519987"/>
                  <a:gd name="connsiteY126" fmla="*/ 1685925 h 4496940"/>
                  <a:gd name="connsiteX127" fmla="*/ 87652 w 4519987"/>
                  <a:gd name="connsiteY127" fmla="*/ 1638300 h 4496940"/>
                  <a:gd name="connsiteX128" fmla="*/ 106702 w 4519987"/>
                  <a:gd name="connsiteY128" fmla="*/ 1590675 h 4496940"/>
                  <a:gd name="connsiteX129" fmla="*/ 135277 w 4519987"/>
                  <a:gd name="connsiteY129" fmla="*/ 1504950 h 4496940"/>
                  <a:gd name="connsiteX130" fmla="*/ 154327 w 4519987"/>
                  <a:gd name="connsiteY130" fmla="*/ 1419225 h 4496940"/>
                  <a:gd name="connsiteX131" fmla="*/ 230527 w 4519987"/>
                  <a:gd name="connsiteY131" fmla="*/ 1276350 h 4496940"/>
                  <a:gd name="connsiteX132" fmla="*/ 240052 w 4519987"/>
                  <a:gd name="connsiteY132" fmla="*/ 1247775 h 4496940"/>
                  <a:gd name="connsiteX133" fmla="*/ 268627 w 4519987"/>
                  <a:gd name="connsiteY133" fmla="*/ 1200150 h 4496940"/>
                  <a:gd name="connsiteX134" fmla="*/ 287677 w 4519987"/>
                  <a:gd name="connsiteY134" fmla="*/ 1152525 h 4496940"/>
                  <a:gd name="connsiteX135" fmla="*/ 316252 w 4519987"/>
                  <a:gd name="connsiteY135" fmla="*/ 1114425 h 4496940"/>
                  <a:gd name="connsiteX136" fmla="*/ 363877 w 4519987"/>
                  <a:gd name="connsiteY136" fmla="*/ 1038225 h 4496940"/>
                  <a:gd name="connsiteX137" fmla="*/ 382927 w 4519987"/>
                  <a:gd name="connsiteY137" fmla="*/ 1009650 h 4496940"/>
                  <a:gd name="connsiteX138" fmla="*/ 440077 w 4519987"/>
                  <a:gd name="connsiteY138" fmla="*/ 904875 h 4496940"/>
                  <a:gd name="connsiteX139" fmla="*/ 478177 w 4519987"/>
                  <a:gd name="connsiteY139" fmla="*/ 857250 h 4496940"/>
                  <a:gd name="connsiteX140" fmla="*/ 497227 w 4519987"/>
                  <a:gd name="connsiteY140" fmla="*/ 828675 h 4496940"/>
                  <a:gd name="connsiteX141" fmla="*/ 535327 w 4519987"/>
                  <a:gd name="connsiteY141" fmla="*/ 800100 h 4496940"/>
                  <a:gd name="connsiteX142" fmla="*/ 602002 w 4519987"/>
                  <a:gd name="connsiteY142" fmla="*/ 733425 h 4496940"/>
                  <a:gd name="connsiteX143" fmla="*/ 668677 w 4519987"/>
                  <a:gd name="connsiteY143" fmla="*/ 676275 h 4496940"/>
                  <a:gd name="connsiteX144" fmla="*/ 697252 w 4519987"/>
                  <a:gd name="connsiteY144" fmla="*/ 657225 h 4496940"/>
                  <a:gd name="connsiteX145" fmla="*/ 840127 w 4519987"/>
                  <a:gd name="connsiteY145" fmla="*/ 533400 h 4496940"/>
                  <a:gd name="connsiteX146" fmla="*/ 887752 w 4519987"/>
                  <a:gd name="connsiteY146" fmla="*/ 504825 h 4496940"/>
                  <a:gd name="connsiteX147" fmla="*/ 1167152 w 4519987"/>
                  <a:gd name="connsiteY147" fmla="*/ 311150 h 4496940"/>
                  <a:gd name="connsiteX148" fmla="*/ 1268752 w 4519987"/>
                  <a:gd name="connsiteY148" fmla="*/ 285750 h 4496940"/>
                  <a:gd name="connsiteX149" fmla="*/ 1411627 w 4519987"/>
                  <a:gd name="connsiteY149" fmla="*/ 190500 h 4496940"/>
                  <a:gd name="connsiteX150" fmla="*/ 1449727 w 4519987"/>
                  <a:gd name="connsiteY150" fmla="*/ 161925 h 4496940"/>
                  <a:gd name="connsiteX151" fmla="*/ 1525927 w 4519987"/>
                  <a:gd name="connsiteY151" fmla="*/ 152400 h 4496940"/>
                  <a:gd name="connsiteX152" fmla="*/ 1583077 w 4519987"/>
                  <a:gd name="connsiteY152" fmla="*/ 142875 h 4496940"/>
                  <a:gd name="connsiteX153" fmla="*/ 1716427 w 4519987"/>
                  <a:gd name="connsiteY153" fmla="*/ 123825 h 4496940"/>
                  <a:gd name="connsiteX154" fmla="*/ 1811677 w 4519987"/>
                  <a:gd name="connsiteY154" fmla="*/ 114300 h 4496940"/>
                  <a:gd name="connsiteX155" fmla="*/ 1859302 w 4519987"/>
                  <a:gd name="connsiteY155" fmla="*/ 104775 h 4496940"/>
                  <a:gd name="connsiteX156" fmla="*/ 1916452 w 4519987"/>
                  <a:gd name="connsiteY156" fmla="*/ 95250 h 4496940"/>
                  <a:gd name="connsiteX157" fmla="*/ 2030752 w 4519987"/>
                  <a:gd name="connsiteY157" fmla="*/ 66675 h 4496940"/>
                  <a:gd name="connsiteX158" fmla="*/ 2097427 w 4519987"/>
                  <a:gd name="connsiteY158" fmla="*/ 47625 h 4496940"/>
                  <a:gd name="connsiteX159" fmla="*/ 2164102 w 4519987"/>
                  <a:gd name="connsiteY159" fmla="*/ 38100 h 4496940"/>
                  <a:gd name="connsiteX160" fmla="*/ 2392702 w 4519987"/>
                  <a:gd name="connsiteY16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3992902 w 4519987"/>
                  <a:gd name="connsiteY28" fmla="*/ 714375 h 4496940"/>
                  <a:gd name="connsiteX29" fmla="*/ 4050052 w 4519987"/>
                  <a:gd name="connsiteY29" fmla="*/ 790575 h 4496940"/>
                  <a:gd name="connsiteX30" fmla="*/ 4078627 w 4519987"/>
                  <a:gd name="connsiteY30" fmla="*/ 838200 h 4496940"/>
                  <a:gd name="connsiteX31" fmla="*/ 4107202 w 4519987"/>
                  <a:gd name="connsiteY31" fmla="*/ 876300 h 4496940"/>
                  <a:gd name="connsiteX32" fmla="*/ 4116727 w 4519987"/>
                  <a:gd name="connsiteY32" fmla="*/ 904875 h 4496940"/>
                  <a:gd name="connsiteX33" fmla="*/ 4135777 w 4519987"/>
                  <a:gd name="connsiteY33" fmla="*/ 933450 h 4496940"/>
                  <a:gd name="connsiteX34" fmla="*/ 4164352 w 4519987"/>
                  <a:gd name="connsiteY34" fmla="*/ 990600 h 4496940"/>
                  <a:gd name="connsiteX35" fmla="*/ 4173877 w 4519987"/>
                  <a:gd name="connsiteY35" fmla="*/ 1019175 h 4496940"/>
                  <a:gd name="connsiteX36" fmla="*/ 4192927 w 4519987"/>
                  <a:gd name="connsiteY36" fmla="*/ 1057275 h 4496940"/>
                  <a:gd name="connsiteX37" fmla="*/ 4202452 w 4519987"/>
                  <a:gd name="connsiteY37" fmla="*/ 1085850 h 4496940"/>
                  <a:gd name="connsiteX38" fmla="*/ 4250077 w 4519987"/>
                  <a:gd name="connsiteY38" fmla="*/ 1143000 h 4496940"/>
                  <a:gd name="connsiteX39" fmla="*/ 4259602 w 4519987"/>
                  <a:gd name="connsiteY39" fmla="*/ 1190625 h 4496940"/>
                  <a:gd name="connsiteX40" fmla="*/ 4307227 w 4519987"/>
                  <a:gd name="connsiteY40" fmla="*/ 1266825 h 4496940"/>
                  <a:gd name="connsiteX41" fmla="*/ 4345327 w 4519987"/>
                  <a:gd name="connsiteY41" fmla="*/ 1362075 h 4496940"/>
                  <a:gd name="connsiteX42" fmla="*/ 4373902 w 4519987"/>
                  <a:gd name="connsiteY42" fmla="*/ 1428750 h 4496940"/>
                  <a:gd name="connsiteX43" fmla="*/ 4392952 w 4519987"/>
                  <a:gd name="connsiteY43" fmla="*/ 1552575 h 4496940"/>
                  <a:gd name="connsiteX44" fmla="*/ 4402477 w 4519987"/>
                  <a:gd name="connsiteY44" fmla="*/ 1590675 h 4496940"/>
                  <a:gd name="connsiteX45" fmla="*/ 4431052 w 4519987"/>
                  <a:gd name="connsiteY45" fmla="*/ 1685925 h 4496940"/>
                  <a:gd name="connsiteX46" fmla="*/ 4519952 w 4519987"/>
                  <a:gd name="connsiteY46" fmla="*/ 2181225 h 4496940"/>
                  <a:gd name="connsiteX47" fmla="*/ 4446927 w 4519987"/>
                  <a:gd name="connsiteY47" fmla="*/ 2768600 h 4496940"/>
                  <a:gd name="connsiteX48" fmla="*/ 4383427 w 4519987"/>
                  <a:gd name="connsiteY48" fmla="*/ 2990850 h 4496940"/>
                  <a:gd name="connsiteX49" fmla="*/ 4278652 w 4519987"/>
                  <a:gd name="connsiteY49" fmla="*/ 3248025 h 4496940"/>
                  <a:gd name="connsiteX50" fmla="*/ 4259602 w 4519987"/>
                  <a:gd name="connsiteY50" fmla="*/ 3276600 h 4496940"/>
                  <a:gd name="connsiteX51" fmla="*/ 4221502 w 4519987"/>
                  <a:gd name="connsiteY51" fmla="*/ 3333750 h 4496940"/>
                  <a:gd name="connsiteX52" fmla="*/ 4211977 w 4519987"/>
                  <a:gd name="connsiteY52" fmla="*/ 3362325 h 4496940"/>
                  <a:gd name="connsiteX53" fmla="*/ 4183402 w 4519987"/>
                  <a:gd name="connsiteY53" fmla="*/ 3400425 h 4496940"/>
                  <a:gd name="connsiteX54" fmla="*/ 4164352 w 4519987"/>
                  <a:gd name="connsiteY54" fmla="*/ 3429000 h 4496940"/>
                  <a:gd name="connsiteX55" fmla="*/ 4088152 w 4519987"/>
                  <a:gd name="connsiteY55" fmla="*/ 3495675 h 4496940"/>
                  <a:gd name="connsiteX56" fmla="*/ 4059577 w 4519987"/>
                  <a:gd name="connsiteY56" fmla="*/ 3533775 h 4496940"/>
                  <a:gd name="connsiteX57" fmla="*/ 4002427 w 4519987"/>
                  <a:gd name="connsiteY57" fmla="*/ 3600450 h 4496940"/>
                  <a:gd name="connsiteX58" fmla="*/ 3983377 w 4519987"/>
                  <a:gd name="connsiteY58" fmla="*/ 3629025 h 4496940"/>
                  <a:gd name="connsiteX59" fmla="*/ 3954802 w 4519987"/>
                  <a:gd name="connsiteY59" fmla="*/ 3648075 h 4496940"/>
                  <a:gd name="connsiteX60" fmla="*/ 3907177 w 4519987"/>
                  <a:gd name="connsiteY60" fmla="*/ 3686175 h 4496940"/>
                  <a:gd name="connsiteX61" fmla="*/ 3869077 w 4519987"/>
                  <a:gd name="connsiteY61" fmla="*/ 3724275 h 4496940"/>
                  <a:gd name="connsiteX62" fmla="*/ 3792877 w 4519987"/>
                  <a:gd name="connsiteY62" fmla="*/ 3781425 h 4496940"/>
                  <a:gd name="connsiteX63" fmla="*/ 3783352 w 4519987"/>
                  <a:gd name="connsiteY63" fmla="*/ 3810000 h 4496940"/>
                  <a:gd name="connsiteX64" fmla="*/ 3745252 w 4519987"/>
                  <a:gd name="connsiteY64" fmla="*/ 3819525 h 4496940"/>
                  <a:gd name="connsiteX65" fmla="*/ 3678577 w 4519987"/>
                  <a:gd name="connsiteY65" fmla="*/ 3848100 h 4496940"/>
                  <a:gd name="connsiteX66" fmla="*/ 3659527 w 4519987"/>
                  <a:gd name="connsiteY66" fmla="*/ 3971925 h 4496940"/>
                  <a:gd name="connsiteX67" fmla="*/ 3630952 w 4519987"/>
                  <a:gd name="connsiteY67" fmla="*/ 4010025 h 4496940"/>
                  <a:gd name="connsiteX68" fmla="*/ 3621427 w 4519987"/>
                  <a:gd name="connsiteY68" fmla="*/ 4038600 h 4496940"/>
                  <a:gd name="connsiteX69" fmla="*/ 3554752 w 4519987"/>
                  <a:gd name="connsiteY69" fmla="*/ 4095750 h 4496940"/>
                  <a:gd name="connsiteX70" fmla="*/ 3516652 w 4519987"/>
                  <a:gd name="connsiteY70" fmla="*/ 4114800 h 4496940"/>
                  <a:gd name="connsiteX71" fmla="*/ 3497602 w 4519987"/>
                  <a:gd name="connsiteY71" fmla="*/ 4143375 h 4496940"/>
                  <a:gd name="connsiteX72" fmla="*/ 3383302 w 4519987"/>
                  <a:gd name="connsiteY72" fmla="*/ 4210050 h 4496940"/>
                  <a:gd name="connsiteX73" fmla="*/ 3335677 w 4519987"/>
                  <a:gd name="connsiteY73" fmla="*/ 4238625 h 4496940"/>
                  <a:gd name="connsiteX74" fmla="*/ 3288052 w 4519987"/>
                  <a:gd name="connsiteY74" fmla="*/ 4248150 h 4496940"/>
                  <a:gd name="connsiteX75" fmla="*/ 3240427 w 4519987"/>
                  <a:gd name="connsiteY75" fmla="*/ 4267200 h 4496940"/>
                  <a:gd name="connsiteX76" fmla="*/ 3068977 w 4519987"/>
                  <a:gd name="connsiteY76" fmla="*/ 4286250 h 4496940"/>
                  <a:gd name="connsiteX77" fmla="*/ 2935627 w 4519987"/>
                  <a:gd name="connsiteY77" fmla="*/ 4333875 h 4496940"/>
                  <a:gd name="connsiteX78" fmla="*/ 2811802 w 4519987"/>
                  <a:gd name="connsiteY78" fmla="*/ 4371975 h 4496940"/>
                  <a:gd name="connsiteX79" fmla="*/ 2745127 w 4519987"/>
                  <a:gd name="connsiteY79" fmla="*/ 4410075 h 4496940"/>
                  <a:gd name="connsiteX80" fmla="*/ 2697502 w 4519987"/>
                  <a:gd name="connsiteY80" fmla="*/ 4429125 h 4496940"/>
                  <a:gd name="connsiteX81" fmla="*/ 2640352 w 4519987"/>
                  <a:gd name="connsiteY81" fmla="*/ 4457700 h 4496940"/>
                  <a:gd name="connsiteX82" fmla="*/ 2583202 w 4519987"/>
                  <a:gd name="connsiteY82" fmla="*/ 4467225 h 4496940"/>
                  <a:gd name="connsiteX83" fmla="*/ 2545102 w 4519987"/>
                  <a:gd name="connsiteY83" fmla="*/ 4486275 h 4496940"/>
                  <a:gd name="connsiteX84" fmla="*/ 2306977 w 4519987"/>
                  <a:gd name="connsiteY84" fmla="*/ 4476750 h 4496940"/>
                  <a:gd name="connsiteX85" fmla="*/ 2202202 w 4519987"/>
                  <a:gd name="connsiteY85" fmla="*/ 4457700 h 4496940"/>
                  <a:gd name="connsiteX86" fmla="*/ 2126002 w 4519987"/>
                  <a:gd name="connsiteY86" fmla="*/ 4429125 h 4496940"/>
                  <a:gd name="connsiteX87" fmla="*/ 1935502 w 4519987"/>
                  <a:gd name="connsiteY87" fmla="*/ 4400550 h 4496940"/>
                  <a:gd name="connsiteX88" fmla="*/ 1821202 w 4519987"/>
                  <a:gd name="connsiteY88" fmla="*/ 4371975 h 4496940"/>
                  <a:gd name="connsiteX89" fmla="*/ 1754527 w 4519987"/>
                  <a:gd name="connsiteY89" fmla="*/ 4352925 h 4496940"/>
                  <a:gd name="connsiteX90" fmla="*/ 1687852 w 4519987"/>
                  <a:gd name="connsiteY90" fmla="*/ 4343400 h 4496940"/>
                  <a:gd name="connsiteX91" fmla="*/ 1573552 w 4519987"/>
                  <a:gd name="connsiteY91" fmla="*/ 4305300 h 4496940"/>
                  <a:gd name="connsiteX92" fmla="*/ 1402102 w 4519987"/>
                  <a:gd name="connsiteY92" fmla="*/ 4276725 h 4496940"/>
                  <a:gd name="connsiteX93" fmla="*/ 1287802 w 4519987"/>
                  <a:gd name="connsiteY93" fmla="*/ 4229100 h 4496940"/>
                  <a:gd name="connsiteX94" fmla="*/ 1221127 w 4519987"/>
                  <a:gd name="connsiteY94" fmla="*/ 4200525 h 4496940"/>
                  <a:gd name="connsiteX95" fmla="*/ 1144927 w 4519987"/>
                  <a:gd name="connsiteY95" fmla="*/ 4171950 h 4496940"/>
                  <a:gd name="connsiteX96" fmla="*/ 1087777 w 4519987"/>
                  <a:gd name="connsiteY96" fmla="*/ 4143375 h 4496940"/>
                  <a:gd name="connsiteX97" fmla="*/ 1030627 w 4519987"/>
                  <a:gd name="connsiteY97" fmla="*/ 4124325 h 4496940"/>
                  <a:gd name="connsiteX98" fmla="*/ 925852 w 4519987"/>
                  <a:gd name="connsiteY98" fmla="*/ 4067175 h 4496940"/>
                  <a:gd name="connsiteX99" fmla="*/ 830602 w 4519987"/>
                  <a:gd name="connsiteY99" fmla="*/ 3981450 h 4496940"/>
                  <a:gd name="connsiteX100" fmla="*/ 763927 w 4519987"/>
                  <a:gd name="connsiteY100" fmla="*/ 3914775 h 4496940"/>
                  <a:gd name="connsiteX101" fmla="*/ 725827 w 4519987"/>
                  <a:gd name="connsiteY101" fmla="*/ 3876675 h 4496940"/>
                  <a:gd name="connsiteX102" fmla="*/ 697252 w 4519987"/>
                  <a:gd name="connsiteY102" fmla="*/ 3838575 h 4496940"/>
                  <a:gd name="connsiteX103" fmla="*/ 640102 w 4519987"/>
                  <a:gd name="connsiteY103" fmla="*/ 3781425 h 4496940"/>
                  <a:gd name="connsiteX104" fmla="*/ 611527 w 4519987"/>
                  <a:gd name="connsiteY104" fmla="*/ 3733800 h 4496940"/>
                  <a:gd name="connsiteX105" fmla="*/ 554377 w 4519987"/>
                  <a:gd name="connsiteY105" fmla="*/ 3657600 h 4496940"/>
                  <a:gd name="connsiteX106" fmla="*/ 525802 w 4519987"/>
                  <a:gd name="connsiteY106" fmla="*/ 3609975 h 4496940"/>
                  <a:gd name="connsiteX107" fmla="*/ 497227 w 4519987"/>
                  <a:gd name="connsiteY107" fmla="*/ 3552825 h 4496940"/>
                  <a:gd name="connsiteX108" fmla="*/ 440077 w 4519987"/>
                  <a:gd name="connsiteY108" fmla="*/ 3495675 h 4496940"/>
                  <a:gd name="connsiteX109" fmla="*/ 411502 w 4519987"/>
                  <a:gd name="connsiteY109" fmla="*/ 3448050 h 4496940"/>
                  <a:gd name="connsiteX110" fmla="*/ 278152 w 4519987"/>
                  <a:gd name="connsiteY110" fmla="*/ 3257550 h 4496940"/>
                  <a:gd name="connsiteX111" fmla="*/ 249577 w 4519987"/>
                  <a:gd name="connsiteY111" fmla="*/ 3200400 h 4496940"/>
                  <a:gd name="connsiteX112" fmla="*/ 240052 w 4519987"/>
                  <a:gd name="connsiteY112" fmla="*/ 3162300 h 4496940"/>
                  <a:gd name="connsiteX113" fmla="*/ 221002 w 4519987"/>
                  <a:gd name="connsiteY113" fmla="*/ 3105150 h 4496940"/>
                  <a:gd name="connsiteX114" fmla="*/ 173377 w 4519987"/>
                  <a:gd name="connsiteY114" fmla="*/ 3019425 h 4496940"/>
                  <a:gd name="connsiteX115" fmla="*/ 144802 w 4519987"/>
                  <a:gd name="connsiteY115" fmla="*/ 2924175 h 4496940"/>
                  <a:gd name="connsiteX116" fmla="*/ 68602 w 4519987"/>
                  <a:gd name="connsiteY116" fmla="*/ 2724150 h 4496940"/>
                  <a:gd name="connsiteX117" fmla="*/ 49552 w 4519987"/>
                  <a:gd name="connsiteY117" fmla="*/ 2638425 h 4496940"/>
                  <a:gd name="connsiteX118" fmla="*/ 40027 w 4519987"/>
                  <a:gd name="connsiteY118" fmla="*/ 2562225 h 4496940"/>
                  <a:gd name="connsiteX119" fmla="*/ 30502 w 4519987"/>
                  <a:gd name="connsiteY119" fmla="*/ 2514600 h 4496940"/>
                  <a:gd name="connsiteX120" fmla="*/ 11452 w 4519987"/>
                  <a:gd name="connsiteY120" fmla="*/ 2400300 h 4496940"/>
                  <a:gd name="connsiteX121" fmla="*/ 20977 w 4519987"/>
                  <a:gd name="connsiteY121" fmla="*/ 1905000 h 4496940"/>
                  <a:gd name="connsiteX122" fmla="*/ 30502 w 4519987"/>
                  <a:gd name="connsiteY122" fmla="*/ 1838325 h 4496940"/>
                  <a:gd name="connsiteX123" fmla="*/ 49552 w 4519987"/>
                  <a:gd name="connsiteY123" fmla="*/ 1781175 h 4496940"/>
                  <a:gd name="connsiteX124" fmla="*/ 59077 w 4519987"/>
                  <a:gd name="connsiteY124" fmla="*/ 1743075 h 4496940"/>
                  <a:gd name="connsiteX125" fmla="*/ 78127 w 4519987"/>
                  <a:gd name="connsiteY125" fmla="*/ 1685925 h 4496940"/>
                  <a:gd name="connsiteX126" fmla="*/ 87652 w 4519987"/>
                  <a:gd name="connsiteY126" fmla="*/ 1638300 h 4496940"/>
                  <a:gd name="connsiteX127" fmla="*/ 106702 w 4519987"/>
                  <a:gd name="connsiteY127" fmla="*/ 1590675 h 4496940"/>
                  <a:gd name="connsiteX128" fmla="*/ 135277 w 4519987"/>
                  <a:gd name="connsiteY128" fmla="*/ 1504950 h 4496940"/>
                  <a:gd name="connsiteX129" fmla="*/ 154327 w 4519987"/>
                  <a:gd name="connsiteY129" fmla="*/ 1419225 h 4496940"/>
                  <a:gd name="connsiteX130" fmla="*/ 230527 w 4519987"/>
                  <a:gd name="connsiteY130" fmla="*/ 1276350 h 4496940"/>
                  <a:gd name="connsiteX131" fmla="*/ 240052 w 4519987"/>
                  <a:gd name="connsiteY131" fmla="*/ 1247775 h 4496940"/>
                  <a:gd name="connsiteX132" fmla="*/ 268627 w 4519987"/>
                  <a:gd name="connsiteY132" fmla="*/ 1200150 h 4496940"/>
                  <a:gd name="connsiteX133" fmla="*/ 287677 w 4519987"/>
                  <a:gd name="connsiteY133" fmla="*/ 1152525 h 4496940"/>
                  <a:gd name="connsiteX134" fmla="*/ 316252 w 4519987"/>
                  <a:gd name="connsiteY134" fmla="*/ 1114425 h 4496940"/>
                  <a:gd name="connsiteX135" fmla="*/ 363877 w 4519987"/>
                  <a:gd name="connsiteY135" fmla="*/ 1038225 h 4496940"/>
                  <a:gd name="connsiteX136" fmla="*/ 382927 w 4519987"/>
                  <a:gd name="connsiteY136" fmla="*/ 1009650 h 4496940"/>
                  <a:gd name="connsiteX137" fmla="*/ 440077 w 4519987"/>
                  <a:gd name="connsiteY137" fmla="*/ 904875 h 4496940"/>
                  <a:gd name="connsiteX138" fmla="*/ 478177 w 4519987"/>
                  <a:gd name="connsiteY138" fmla="*/ 857250 h 4496940"/>
                  <a:gd name="connsiteX139" fmla="*/ 497227 w 4519987"/>
                  <a:gd name="connsiteY139" fmla="*/ 828675 h 4496940"/>
                  <a:gd name="connsiteX140" fmla="*/ 535327 w 4519987"/>
                  <a:gd name="connsiteY140" fmla="*/ 800100 h 4496940"/>
                  <a:gd name="connsiteX141" fmla="*/ 602002 w 4519987"/>
                  <a:gd name="connsiteY141" fmla="*/ 733425 h 4496940"/>
                  <a:gd name="connsiteX142" fmla="*/ 668677 w 4519987"/>
                  <a:gd name="connsiteY142" fmla="*/ 676275 h 4496940"/>
                  <a:gd name="connsiteX143" fmla="*/ 697252 w 4519987"/>
                  <a:gd name="connsiteY143" fmla="*/ 657225 h 4496940"/>
                  <a:gd name="connsiteX144" fmla="*/ 840127 w 4519987"/>
                  <a:gd name="connsiteY144" fmla="*/ 533400 h 4496940"/>
                  <a:gd name="connsiteX145" fmla="*/ 887752 w 4519987"/>
                  <a:gd name="connsiteY145" fmla="*/ 504825 h 4496940"/>
                  <a:gd name="connsiteX146" fmla="*/ 1167152 w 4519987"/>
                  <a:gd name="connsiteY146" fmla="*/ 311150 h 4496940"/>
                  <a:gd name="connsiteX147" fmla="*/ 1268752 w 4519987"/>
                  <a:gd name="connsiteY147" fmla="*/ 285750 h 4496940"/>
                  <a:gd name="connsiteX148" fmla="*/ 1411627 w 4519987"/>
                  <a:gd name="connsiteY148" fmla="*/ 190500 h 4496940"/>
                  <a:gd name="connsiteX149" fmla="*/ 1449727 w 4519987"/>
                  <a:gd name="connsiteY149" fmla="*/ 161925 h 4496940"/>
                  <a:gd name="connsiteX150" fmla="*/ 1525927 w 4519987"/>
                  <a:gd name="connsiteY150" fmla="*/ 152400 h 4496940"/>
                  <a:gd name="connsiteX151" fmla="*/ 1583077 w 4519987"/>
                  <a:gd name="connsiteY151" fmla="*/ 142875 h 4496940"/>
                  <a:gd name="connsiteX152" fmla="*/ 1716427 w 4519987"/>
                  <a:gd name="connsiteY152" fmla="*/ 123825 h 4496940"/>
                  <a:gd name="connsiteX153" fmla="*/ 1811677 w 4519987"/>
                  <a:gd name="connsiteY153" fmla="*/ 114300 h 4496940"/>
                  <a:gd name="connsiteX154" fmla="*/ 1859302 w 4519987"/>
                  <a:gd name="connsiteY154" fmla="*/ 104775 h 4496940"/>
                  <a:gd name="connsiteX155" fmla="*/ 1916452 w 4519987"/>
                  <a:gd name="connsiteY155" fmla="*/ 95250 h 4496940"/>
                  <a:gd name="connsiteX156" fmla="*/ 2030752 w 4519987"/>
                  <a:gd name="connsiteY156" fmla="*/ 66675 h 4496940"/>
                  <a:gd name="connsiteX157" fmla="*/ 2097427 w 4519987"/>
                  <a:gd name="connsiteY157" fmla="*/ 47625 h 4496940"/>
                  <a:gd name="connsiteX158" fmla="*/ 2164102 w 4519987"/>
                  <a:gd name="connsiteY158" fmla="*/ 38100 h 4496940"/>
                  <a:gd name="connsiteX159" fmla="*/ 2392702 w 4519987"/>
                  <a:gd name="connsiteY15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50052 w 4519987"/>
                  <a:gd name="connsiteY28" fmla="*/ 790575 h 4496940"/>
                  <a:gd name="connsiteX29" fmla="*/ 4078627 w 4519987"/>
                  <a:gd name="connsiteY29" fmla="*/ 838200 h 4496940"/>
                  <a:gd name="connsiteX30" fmla="*/ 4107202 w 4519987"/>
                  <a:gd name="connsiteY30" fmla="*/ 876300 h 4496940"/>
                  <a:gd name="connsiteX31" fmla="*/ 4116727 w 4519987"/>
                  <a:gd name="connsiteY31" fmla="*/ 904875 h 4496940"/>
                  <a:gd name="connsiteX32" fmla="*/ 4135777 w 4519987"/>
                  <a:gd name="connsiteY32" fmla="*/ 933450 h 4496940"/>
                  <a:gd name="connsiteX33" fmla="*/ 4164352 w 4519987"/>
                  <a:gd name="connsiteY33" fmla="*/ 990600 h 4496940"/>
                  <a:gd name="connsiteX34" fmla="*/ 4173877 w 4519987"/>
                  <a:gd name="connsiteY34" fmla="*/ 1019175 h 4496940"/>
                  <a:gd name="connsiteX35" fmla="*/ 4192927 w 4519987"/>
                  <a:gd name="connsiteY35" fmla="*/ 1057275 h 4496940"/>
                  <a:gd name="connsiteX36" fmla="*/ 4202452 w 4519987"/>
                  <a:gd name="connsiteY36" fmla="*/ 1085850 h 4496940"/>
                  <a:gd name="connsiteX37" fmla="*/ 4250077 w 4519987"/>
                  <a:gd name="connsiteY37" fmla="*/ 1143000 h 4496940"/>
                  <a:gd name="connsiteX38" fmla="*/ 4259602 w 4519987"/>
                  <a:gd name="connsiteY38" fmla="*/ 1190625 h 4496940"/>
                  <a:gd name="connsiteX39" fmla="*/ 4307227 w 4519987"/>
                  <a:gd name="connsiteY39" fmla="*/ 1266825 h 4496940"/>
                  <a:gd name="connsiteX40" fmla="*/ 4345327 w 4519987"/>
                  <a:gd name="connsiteY40" fmla="*/ 1362075 h 4496940"/>
                  <a:gd name="connsiteX41" fmla="*/ 4373902 w 4519987"/>
                  <a:gd name="connsiteY41" fmla="*/ 1428750 h 4496940"/>
                  <a:gd name="connsiteX42" fmla="*/ 4392952 w 4519987"/>
                  <a:gd name="connsiteY42" fmla="*/ 1552575 h 4496940"/>
                  <a:gd name="connsiteX43" fmla="*/ 4402477 w 4519987"/>
                  <a:gd name="connsiteY43" fmla="*/ 1590675 h 4496940"/>
                  <a:gd name="connsiteX44" fmla="*/ 4431052 w 4519987"/>
                  <a:gd name="connsiteY44" fmla="*/ 1685925 h 4496940"/>
                  <a:gd name="connsiteX45" fmla="*/ 4519952 w 4519987"/>
                  <a:gd name="connsiteY45" fmla="*/ 2181225 h 4496940"/>
                  <a:gd name="connsiteX46" fmla="*/ 4446927 w 4519987"/>
                  <a:gd name="connsiteY46" fmla="*/ 2768600 h 4496940"/>
                  <a:gd name="connsiteX47" fmla="*/ 4383427 w 4519987"/>
                  <a:gd name="connsiteY47" fmla="*/ 2990850 h 4496940"/>
                  <a:gd name="connsiteX48" fmla="*/ 4278652 w 4519987"/>
                  <a:gd name="connsiteY48" fmla="*/ 3248025 h 4496940"/>
                  <a:gd name="connsiteX49" fmla="*/ 4259602 w 4519987"/>
                  <a:gd name="connsiteY49" fmla="*/ 3276600 h 4496940"/>
                  <a:gd name="connsiteX50" fmla="*/ 4221502 w 4519987"/>
                  <a:gd name="connsiteY50" fmla="*/ 3333750 h 4496940"/>
                  <a:gd name="connsiteX51" fmla="*/ 4211977 w 4519987"/>
                  <a:gd name="connsiteY51" fmla="*/ 3362325 h 4496940"/>
                  <a:gd name="connsiteX52" fmla="*/ 4183402 w 4519987"/>
                  <a:gd name="connsiteY52" fmla="*/ 3400425 h 4496940"/>
                  <a:gd name="connsiteX53" fmla="*/ 4164352 w 4519987"/>
                  <a:gd name="connsiteY53" fmla="*/ 3429000 h 4496940"/>
                  <a:gd name="connsiteX54" fmla="*/ 4088152 w 4519987"/>
                  <a:gd name="connsiteY54" fmla="*/ 3495675 h 4496940"/>
                  <a:gd name="connsiteX55" fmla="*/ 4059577 w 4519987"/>
                  <a:gd name="connsiteY55" fmla="*/ 3533775 h 4496940"/>
                  <a:gd name="connsiteX56" fmla="*/ 4002427 w 4519987"/>
                  <a:gd name="connsiteY56" fmla="*/ 3600450 h 4496940"/>
                  <a:gd name="connsiteX57" fmla="*/ 3983377 w 4519987"/>
                  <a:gd name="connsiteY57" fmla="*/ 3629025 h 4496940"/>
                  <a:gd name="connsiteX58" fmla="*/ 3954802 w 4519987"/>
                  <a:gd name="connsiteY58" fmla="*/ 3648075 h 4496940"/>
                  <a:gd name="connsiteX59" fmla="*/ 3907177 w 4519987"/>
                  <a:gd name="connsiteY59" fmla="*/ 3686175 h 4496940"/>
                  <a:gd name="connsiteX60" fmla="*/ 3869077 w 4519987"/>
                  <a:gd name="connsiteY60" fmla="*/ 3724275 h 4496940"/>
                  <a:gd name="connsiteX61" fmla="*/ 3792877 w 4519987"/>
                  <a:gd name="connsiteY61" fmla="*/ 3781425 h 4496940"/>
                  <a:gd name="connsiteX62" fmla="*/ 3783352 w 4519987"/>
                  <a:gd name="connsiteY62" fmla="*/ 3810000 h 4496940"/>
                  <a:gd name="connsiteX63" fmla="*/ 3745252 w 4519987"/>
                  <a:gd name="connsiteY63" fmla="*/ 3819525 h 4496940"/>
                  <a:gd name="connsiteX64" fmla="*/ 3678577 w 4519987"/>
                  <a:gd name="connsiteY64" fmla="*/ 3848100 h 4496940"/>
                  <a:gd name="connsiteX65" fmla="*/ 3659527 w 4519987"/>
                  <a:gd name="connsiteY65" fmla="*/ 3971925 h 4496940"/>
                  <a:gd name="connsiteX66" fmla="*/ 3630952 w 4519987"/>
                  <a:gd name="connsiteY66" fmla="*/ 4010025 h 4496940"/>
                  <a:gd name="connsiteX67" fmla="*/ 3621427 w 4519987"/>
                  <a:gd name="connsiteY67" fmla="*/ 4038600 h 4496940"/>
                  <a:gd name="connsiteX68" fmla="*/ 3554752 w 4519987"/>
                  <a:gd name="connsiteY68" fmla="*/ 4095750 h 4496940"/>
                  <a:gd name="connsiteX69" fmla="*/ 3516652 w 4519987"/>
                  <a:gd name="connsiteY69" fmla="*/ 4114800 h 4496940"/>
                  <a:gd name="connsiteX70" fmla="*/ 3497602 w 4519987"/>
                  <a:gd name="connsiteY70" fmla="*/ 4143375 h 4496940"/>
                  <a:gd name="connsiteX71" fmla="*/ 3383302 w 4519987"/>
                  <a:gd name="connsiteY71" fmla="*/ 4210050 h 4496940"/>
                  <a:gd name="connsiteX72" fmla="*/ 3335677 w 4519987"/>
                  <a:gd name="connsiteY72" fmla="*/ 4238625 h 4496940"/>
                  <a:gd name="connsiteX73" fmla="*/ 3288052 w 4519987"/>
                  <a:gd name="connsiteY73" fmla="*/ 4248150 h 4496940"/>
                  <a:gd name="connsiteX74" fmla="*/ 3240427 w 4519987"/>
                  <a:gd name="connsiteY74" fmla="*/ 4267200 h 4496940"/>
                  <a:gd name="connsiteX75" fmla="*/ 3068977 w 4519987"/>
                  <a:gd name="connsiteY75" fmla="*/ 4286250 h 4496940"/>
                  <a:gd name="connsiteX76" fmla="*/ 2935627 w 4519987"/>
                  <a:gd name="connsiteY76" fmla="*/ 4333875 h 4496940"/>
                  <a:gd name="connsiteX77" fmla="*/ 2811802 w 4519987"/>
                  <a:gd name="connsiteY77" fmla="*/ 4371975 h 4496940"/>
                  <a:gd name="connsiteX78" fmla="*/ 2745127 w 4519987"/>
                  <a:gd name="connsiteY78" fmla="*/ 4410075 h 4496940"/>
                  <a:gd name="connsiteX79" fmla="*/ 2697502 w 4519987"/>
                  <a:gd name="connsiteY79" fmla="*/ 4429125 h 4496940"/>
                  <a:gd name="connsiteX80" fmla="*/ 2640352 w 4519987"/>
                  <a:gd name="connsiteY80" fmla="*/ 4457700 h 4496940"/>
                  <a:gd name="connsiteX81" fmla="*/ 2583202 w 4519987"/>
                  <a:gd name="connsiteY81" fmla="*/ 4467225 h 4496940"/>
                  <a:gd name="connsiteX82" fmla="*/ 2545102 w 4519987"/>
                  <a:gd name="connsiteY82" fmla="*/ 4486275 h 4496940"/>
                  <a:gd name="connsiteX83" fmla="*/ 2306977 w 4519987"/>
                  <a:gd name="connsiteY83" fmla="*/ 4476750 h 4496940"/>
                  <a:gd name="connsiteX84" fmla="*/ 2202202 w 4519987"/>
                  <a:gd name="connsiteY84" fmla="*/ 4457700 h 4496940"/>
                  <a:gd name="connsiteX85" fmla="*/ 2126002 w 4519987"/>
                  <a:gd name="connsiteY85" fmla="*/ 4429125 h 4496940"/>
                  <a:gd name="connsiteX86" fmla="*/ 1935502 w 4519987"/>
                  <a:gd name="connsiteY86" fmla="*/ 4400550 h 4496940"/>
                  <a:gd name="connsiteX87" fmla="*/ 1821202 w 4519987"/>
                  <a:gd name="connsiteY87" fmla="*/ 4371975 h 4496940"/>
                  <a:gd name="connsiteX88" fmla="*/ 1754527 w 4519987"/>
                  <a:gd name="connsiteY88" fmla="*/ 4352925 h 4496940"/>
                  <a:gd name="connsiteX89" fmla="*/ 1687852 w 4519987"/>
                  <a:gd name="connsiteY89" fmla="*/ 4343400 h 4496940"/>
                  <a:gd name="connsiteX90" fmla="*/ 1573552 w 4519987"/>
                  <a:gd name="connsiteY90" fmla="*/ 4305300 h 4496940"/>
                  <a:gd name="connsiteX91" fmla="*/ 1402102 w 4519987"/>
                  <a:gd name="connsiteY91" fmla="*/ 4276725 h 4496940"/>
                  <a:gd name="connsiteX92" fmla="*/ 1287802 w 4519987"/>
                  <a:gd name="connsiteY92" fmla="*/ 4229100 h 4496940"/>
                  <a:gd name="connsiteX93" fmla="*/ 1221127 w 4519987"/>
                  <a:gd name="connsiteY93" fmla="*/ 4200525 h 4496940"/>
                  <a:gd name="connsiteX94" fmla="*/ 1144927 w 4519987"/>
                  <a:gd name="connsiteY94" fmla="*/ 4171950 h 4496940"/>
                  <a:gd name="connsiteX95" fmla="*/ 1087777 w 4519987"/>
                  <a:gd name="connsiteY95" fmla="*/ 4143375 h 4496940"/>
                  <a:gd name="connsiteX96" fmla="*/ 1030627 w 4519987"/>
                  <a:gd name="connsiteY96" fmla="*/ 4124325 h 4496940"/>
                  <a:gd name="connsiteX97" fmla="*/ 925852 w 4519987"/>
                  <a:gd name="connsiteY97" fmla="*/ 4067175 h 4496940"/>
                  <a:gd name="connsiteX98" fmla="*/ 830602 w 4519987"/>
                  <a:gd name="connsiteY98" fmla="*/ 3981450 h 4496940"/>
                  <a:gd name="connsiteX99" fmla="*/ 763927 w 4519987"/>
                  <a:gd name="connsiteY99" fmla="*/ 3914775 h 4496940"/>
                  <a:gd name="connsiteX100" fmla="*/ 725827 w 4519987"/>
                  <a:gd name="connsiteY100" fmla="*/ 3876675 h 4496940"/>
                  <a:gd name="connsiteX101" fmla="*/ 697252 w 4519987"/>
                  <a:gd name="connsiteY101" fmla="*/ 3838575 h 4496940"/>
                  <a:gd name="connsiteX102" fmla="*/ 640102 w 4519987"/>
                  <a:gd name="connsiteY102" fmla="*/ 3781425 h 4496940"/>
                  <a:gd name="connsiteX103" fmla="*/ 611527 w 4519987"/>
                  <a:gd name="connsiteY103" fmla="*/ 3733800 h 4496940"/>
                  <a:gd name="connsiteX104" fmla="*/ 554377 w 4519987"/>
                  <a:gd name="connsiteY104" fmla="*/ 3657600 h 4496940"/>
                  <a:gd name="connsiteX105" fmla="*/ 525802 w 4519987"/>
                  <a:gd name="connsiteY105" fmla="*/ 3609975 h 4496940"/>
                  <a:gd name="connsiteX106" fmla="*/ 497227 w 4519987"/>
                  <a:gd name="connsiteY106" fmla="*/ 3552825 h 4496940"/>
                  <a:gd name="connsiteX107" fmla="*/ 440077 w 4519987"/>
                  <a:gd name="connsiteY107" fmla="*/ 3495675 h 4496940"/>
                  <a:gd name="connsiteX108" fmla="*/ 411502 w 4519987"/>
                  <a:gd name="connsiteY108" fmla="*/ 3448050 h 4496940"/>
                  <a:gd name="connsiteX109" fmla="*/ 278152 w 4519987"/>
                  <a:gd name="connsiteY109" fmla="*/ 3257550 h 4496940"/>
                  <a:gd name="connsiteX110" fmla="*/ 249577 w 4519987"/>
                  <a:gd name="connsiteY110" fmla="*/ 3200400 h 4496940"/>
                  <a:gd name="connsiteX111" fmla="*/ 240052 w 4519987"/>
                  <a:gd name="connsiteY111" fmla="*/ 3162300 h 4496940"/>
                  <a:gd name="connsiteX112" fmla="*/ 221002 w 4519987"/>
                  <a:gd name="connsiteY112" fmla="*/ 3105150 h 4496940"/>
                  <a:gd name="connsiteX113" fmla="*/ 173377 w 4519987"/>
                  <a:gd name="connsiteY113" fmla="*/ 3019425 h 4496940"/>
                  <a:gd name="connsiteX114" fmla="*/ 144802 w 4519987"/>
                  <a:gd name="connsiteY114" fmla="*/ 2924175 h 4496940"/>
                  <a:gd name="connsiteX115" fmla="*/ 68602 w 4519987"/>
                  <a:gd name="connsiteY115" fmla="*/ 2724150 h 4496940"/>
                  <a:gd name="connsiteX116" fmla="*/ 49552 w 4519987"/>
                  <a:gd name="connsiteY116" fmla="*/ 2638425 h 4496940"/>
                  <a:gd name="connsiteX117" fmla="*/ 40027 w 4519987"/>
                  <a:gd name="connsiteY117" fmla="*/ 2562225 h 4496940"/>
                  <a:gd name="connsiteX118" fmla="*/ 30502 w 4519987"/>
                  <a:gd name="connsiteY118" fmla="*/ 2514600 h 4496940"/>
                  <a:gd name="connsiteX119" fmla="*/ 11452 w 4519987"/>
                  <a:gd name="connsiteY119" fmla="*/ 2400300 h 4496940"/>
                  <a:gd name="connsiteX120" fmla="*/ 20977 w 4519987"/>
                  <a:gd name="connsiteY120" fmla="*/ 1905000 h 4496940"/>
                  <a:gd name="connsiteX121" fmla="*/ 30502 w 4519987"/>
                  <a:gd name="connsiteY121" fmla="*/ 1838325 h 4496940"/>
                  <a:gd name="connsiteX122" fmla="*/ 49552 w 4519987"/>
                  <a:gd name="connsiteY122" fmla="*/ 1781175 h 4496940"/>
                  <a:gd name="connsiteX123" fmla="*/ 59077 w 4519987"/>
                  <a:gd name="connsiteY123" fmla="*/ 1743075 h 4496940"/>
                  <a:gd name="connsiteX124" fmla="*/ 78127 w 4519987"/>
                  <a:gd name="connsiteY124" fmla="*/ 1685925 h 4496940"/>
                  <a:gd name="connsiteX125" fmla="*/ 87652 w 4519987"/>
                  <a:gd name="connsiteY125" fmla="*/ 1638300 h 4496940"/>
                  <a:gd name="connsiteX126" fmla="*/ 106702 w 4519987"/>
                  <a:gd name="connsiteY126" fmla="*/ 1590675 h 4496940"/>
                  <a:gd name="connsiteX127" fmla="*/ 135277 w 4519987"/>
                  <a:gd name="connsiteY127" fmla="*/ 1504950 h 4496940"/>
                  <a:gd name="connsiteX128" fmla="*/ 154327 w 4519987"/>
                  <a:gd name="connsiteY128" fmla="*/ 1419225 h 4496940"/>
                  <a:gd name="connsiteX129" fmla="*/ 230527 w 4519987"/>
                  <a:gd name="connsiteY129" fmla="*/ 1276350 h 4496940"/>
                  <a:gd name="connsiteX130" fmla="*/ 240052 w 4519987"/>
                  <a:gd name="connsiteY130" fmla="*/ 1247775 h 4496940"/>
                  <a:gd name="connsiteX131" fmla="*/ 268627 w 4519987"/>
                  <a:gd name="connsiteY131" fmla="*/ 1200150 h 4496940"/>
                  <a:gd name="connsiteX132" fmla="*/ 287677 w 4519987"/>
                  <a:gd name="connsiteY132" fmla="*/ 1152525 h 4496940"/>
                  <a:gd name="connsiteX133" fmla="*/ 316252 w 4519987"/>
                  <a:gd name="connsiteY133" fmla="*/ 1114425 h 4496940"/>
                  <a:gd name="connsiteX134" fmla="*/ 363877 w 4519987"/>
                  <a:gd name="connsiteY134" fmla="*/ 1038225 h 4496940"/>
                  <a:gd name="connsiteX135" fmla="*/ 382927 w 4519987"/>
                  <a:gd name="connsiteY135" fmla="*/ 1009650 h 4496940"/>
                  <a:gd name="connsiteX136" fmla="*/ 440077 w 4519987"/>
                  <a:gd name="connsiteY136" fmla="*/ 904875 h 4496940"/>
                  <a:gd name="connsiteX137" fmla="*/ 478177 w 4519987"/>
                  <a:gd name="connsiteY137" fmla="*/ 857250 h 4496940"/>
                  <a:gd name="connsiteX138" fmla="*/ 497227 w 4519987"/>
                  <a:gd name="connsiteY138" fmla="*/ 828675 h 4496940"/>
                  <a:gd name="connsiteX139" fmla="*/ 535327 w 4519987"/>
                  <a:gd name="connsiteY139" fmla="*/ 800100 h 4496940"/>
                  <a:gd name="connsiteX140" fmla="*/ 602002 w 4519987"/>
                  <a:gd name="connsiteY140" fmla="*/ 733425 h 4496940"/>
                  <a:gd name="connsiteX141" fmla="*/ 668677 w 4519987"/>
                  <a:gd name="connsiteY141" fmla="*/ 676275 h 4496940"/>
                  <a:gd name="connsiteX142" fmla="*/ 697252 w 4519987"/>
                  <a:gd name="connsiteY142" fmla="*/ 657225 h 4496940"/>
                  <a:gd name="connsiteX143" fmla="*/ 840127 w 4519987"/>
                  <a:gd name="connsiteY143" fmla="*/ 533400 h 4496940"/>
                  <a:gd name="connsiteX144" fmla="*/ 887752 w 4519987"/>
                  <a:gd name="connsiteY144" fmla="*/ 504825 h 4496940"/>
                  <a:gd name="connsiteX145" fmla="*/ 1167152 w 4519987"/>
                  <a:gd name="connsiteY145" fmla="*/ 311150 h 4496940"/>
                  <a:gd name="connsiteX146" fmla="*/ 1268752 w 4519987"/>
                  <a:gd name="connsiteY146" fmla="*/ 285750 h 4496940"/>
                  <a:gd name="connsiteX147" fmla="*/ 1411627 w 4519987"/>
                  <a:gd name="connsiteY147" fmla="*/ 190500 h 4496940"/>
                  <a:gd name="connsiteX148" fmla="*/ 1449727 w 4519987"/>
                  <a:gd name="connsiteY148" fmla="*/ 161925 h 4496940"/>
                  <a:gd name="connsiteX149" fmla="*/ 1525927 w 4519987"/>
                  <a:gd name="connsiteY149" fmla="*/ 152400 h 4496940"/>
                  <a:gd name="connsiteX150" fmla="*/ 1583077 w 4519987"/>
                  <a:gd name="connsiteY150" fmla="*/ 142875 h 4496940"/>
                  <a:gd name="connsiteX151" fmla="*/ 1716427 w 4519987"/>
                  <a:gd name="connsiteY151" fmla="*/ 123825 h 4496940"/>
                  <a:gd name="connsiteX152" fmla="*/ 1811677 w 4519987"/>
                  <a:gd name="connsiteY152" fmla="*/ 114300 h 4496940"/>
                  <a:gd name="connsiteX153" fmla="*/ 1859302 w 4519987"/>
                  <a:gd name="connsiteY153" fmla="*/ 104775 h 4496940"/>
                  <a:gd name="connsiteX154" fmla="*/ 1916452 w 4519987"/>
                  <a:gd name="connsiteY154" fmla="*/ 95250 h 4496940"/>
                  <a:gd name="connsiteX155" fmla="*/ 2030752 w 4519987"/>
                  <a:gd name="connsiteY155" fmla="*/ 66675 h 4496940"/>
                  <a:gd name="connsiteX156" fmla="*/ 2097427 w 4519987"/>
                  <a:gd name="connsiteY156" fmla="*/ 47625 h 4496940"/>
                  <a:gd name="connsiteX157" fmla="*/ 2164102 w 4519987"/>
                  <a:gd name="connsiteY157" fmla="*/ 38100 h 4496940"/>
                  <a:gd name="connsiteX158" fmla="*/ 2392702 w 4519987"/>
                  <a:gd name="connsiteY15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78627 w 4519987"/>
                  <a:gd name="connsiteY28" fmla="*/ 838200 h 4496940"/>
                  <a:gd name="connsiteX29" fmla="*/ 4107202 w 4519987"/>
                  <a:gd name="connsiteY29" fmla="*/ 876300 h 4496940"/>
                  <a:gd name="connsiteX30" fmla="*/ 4116727 w 4519987"/>
                  <a:gd name="connsiteY30" fmla="*/ 904875 h 4496940"/>
                  <a:gd name="connsiteX31" fmla="*/ 4135777 w 4519987"/>
                  <a:gd name="connsiteY31" fmla="*/ 933450 h 4496940"/>
                  <a:gd name="connsiteX32" fmla="*/ 4164352 w 4519987"/>
                  <a:gd name="connsiteY32" fmla="*/ 990600 h 4496940"/>
                  <a:gd name="connsiteX33" fmla="*/ 4173877 w 4519987"/>
                  <a:gd name="connsiteY33" fmla="*/ 1019175 h 4496940"/>
                  <a:gd name="connsiteX34" fmla="*/ 4192927 w 4519987"/>
                  <a:gd name="connsiteY34" fmla="*/ 1057275 h 4496940"/>
                  <a:gd name="connsiteX35" fmla="*/ 4202452 w 4519987"/>
                  <a:gd name="connsiteY35" fmla="*/ 1085850 h 4496940"/>
                  <a:gd name="connsiteX36" fmla="*/ 4250077 w 4519987"/>
                  <a:gd name="connsiteY36" fmla="*/ 1143000 h 4496940"/>
                  <a:gd name="connsiteX37" fmla="*/ 4259602 w 4519987"/>
                  <a:gd name="connsiteY37" fmla="*/ 1190625 h 4496940"/>
                  <a:gd name="connsiteX38" fmla="*/ 4307227 w 4519987"/>
                  <a:gd name="connsiteY38" fmla="*/ 1266825 h 4496940"/>
                  <a:gd name="connsiteX39" fmla="*/ 4345327 w 4519987"/>
                  <a:gd name="connsiteY39" fmla="*/ 1362075 h 4496940"/>
                  <a:gd name="connsiteX40" fmla="*/ 4373902 w 4519987"/>
                  <a:gd name="connsiteY40" fmla="*/ 1428750 h 4496940"/>
                  <a:gd name="connsiteX41" fmla="*/ 4392952 w 4519987"/>
                  <a:gd name="connsiteY41" fmla="*/ 1552575 h 4496940"/>
                  <a:gd name="connsiteX42" fmla="*/ 4402477 w 4519987"/>
                  <a:gd name="connsiteY42" fmla="*/ 1590675 h 4496940"/>
                  <a:gd name="connsiteX43" fmla="*/ 4431052 w 4519987"/>
                  <a:gd name="connsiteY43" fmla="*/ 1685925 h 4496940"/>
                  <a:gd name="connsiteX44" fmla="*/ 4519952 w 4519987"/>
                  <a:gd name="connsiteY44" fmla="*/ 2181225 h 4496940"/>
                  <a:gd name="connsiteX45" fmla="*/ 4446927 w 4519987"/>
                  <a:gd name="connsiteY45" fmla="*/ 2768600 h 4496940"/>
                  <a:gd name="connsiteX46" fmla="*/ 4383427 w 4519987"/>
                  <a:gd name="connsiteY46" fmla="*/ 2990850 h 4496940"/>
                  <a:gd name="connsiteX47" fmla="*/ 4278652 w 4519987"/>
                  <a:gd name="connsiteY47" fmla="*/ 3248025 h 4496940"/>
                  <a:gd name="connsiteX48" fmla="*/ 4259602 w 4519987"/>
                  <a:gd name="connsiteY48" fmla="*/ 3276600 h 4496940"/>
                  <a:gd name="connsiteX49" fmla="*/ 4221502 w 4519987"/>
                  <a:gd name="connsiteY49" fmla="*/ 3333750 h 4496940"/>
                  <a:gd name="connsiteX50" fmla="*/ 4211977 w 4519987"/>
                  <a:gd name="connsiteY50" fmla="*/ 3362325 h 4496940"/>
                  <a:gd name="connsiteX51" fmla="*/ 4183402 w 4519987"/>
                  <a:gd name="connsiteY51" fmla="*/ 3400425 h 4496940"/>
                  <a:gd name="connsiteX52" fmla="*/ 4164352 w 4519987"/>
                  <a:gd name="connsiteY52" fmla="*/ 3429000 h 4496940"/>
                  <a:gd name="connsiteX53" fmla="*/ 4088152 w 4519987"/>
                  <a:gd name="connsiteY53" fmla="*/ 3495675 h 4496940"/>
                  <a:gd name="connsiteX54" fmla="*/ 4059577 w 4519987"/>
                  <a:gd name="connsiteY54" fmla="*/ 3533775 h 4496940"/>
                  <a:gd name="connsiteX55" fmla="*/ 4002427 w 4519987"/>
                  <a:gd name="connsiteY55" fmla="*/ 3600450 h 4496940"/>
                  <a:gd name="connsiteX56" fmla="*/ 3983377 w 4519987"/>
                  <a:gd name="connsiteY56" fmla="*/ 3629025 h 4496940"/>
                  <a:gd name="connsiteX57" fmla="*/ 3954802 w 4519987"/>
                  <a:gd name="connsiteY57" fmla="*/ 3648075 h 4496940"/>
                  <a:gd name="connsiteX58" fmla="*/ 3907177 w 4519987"/>
                  <a:gd name="connsiteY58" fmla="*/ 3686175 h 4496940"/>
                  <a:gd name="connsiteX59" fmla="*/ 3869077 w 4519987"/>
                  <a:gd name="connsiteY59" fmla="*/ 3724275 h 4496940"/>
                  <a:gd name="connsiteX60" fmla="*/ 3792877 w 4519987"/>
                  <a:gd name="connsiteY60" fmla="*/ 3781425 h 4496940"/>
                  <a:gd name="connsiteX61" fmla="*/ 3783352 w 4519987"/>
                  <a:gd name="connsiteY61" fmla="*/ 3810000 h 4496940"/>
                  <a:gd name="connsiteX62" fmla="*/ 3745252 w 4519987"/>
                  <a:gd name="connsiteY62" fmla="*/ 3819525 h 4496940"/>
                  <a:gd name="connsiteX63" fmla="*/ 3678577 w 4519987"/>
                  <a:gd name="connsiteY63" fmla="*/ 3848100 h 4496940"/>
                  <a:gd name="connsiteX64" fmla="*/ 3659527 w 4519987"/>
                  <a:gd name="connsiteY64" fmla="*/ 3971925 h 4496940"/>
                  <a:gd name="connsiteX65" fmla="*/ 3630952 w 4519987"/>
                  <a:gd name="connsiteY65" fmla="*/ 4010025 h 4496940"/>
                  <a:gd name="connsiteX66" fmla="*/ 3621427 w 4519987"/>
                  <a:gd name="connsiteY66" fmla="*/ 4038600 h 4496940"/>
                  <a:gd name="connsiteX67" fmla="*/ 3554752 w 4519987"/>
                  <a:gd name="connsiteY67" fmla="*/ 4095750 h 4496940"/>
                  <a:gd name="connsiteX68" fmla="*/ 3516652 w 4519987"/>
                  <a:gd name="connsiteY68" fmla="*/ 4114800 h 4496940"/>
                  <a:gd name="connsiteX69" fmla="*/ 3497602 w 4519987"/>
                  <a:gd name="connsiteY69" fmla="*/ 4143375 h 4496940"/>
                  <a:gd name="connsiteX70" fmla="*/ 3383302 w 4519987"/>
                  <a:gd name="connsiteY70" fmla="*/ 4210050 h 4496940"/>
                  <a:gd name="connsiteX71" fmla="*/ 3335677 w 4519987"/>
                  <a:gd name="connsiteY71" fmla="*/ 4238625 h 4496940"/>
                  <a:gd name="connsiteX72" fmla="*/ 3288052 w 4519987"/>
                  <a:gd name="connsiteY72" fmla="*/ 4248150 h 4496940"/>
                  <a:gd name="connsiteX73" fmla="*/ 3240427 w 4519987"/>
                  <a:gd name="connsiteY73" fmla="*/ 4267200 h 4496940"/>
                  <a:gd name="connsiteX74" fmla="*/ 3068977 w 4519987"/>
                  <a:gd name="connsiteY74" fmla="*/ 4286250 h 4496940"/>
                  <a:gd name="connsiteX75" fmla="*/ 2935627 w 4519987"/>
                  <a:gd name="connsiteY75" fmla="*/ 4333875 h 4496940"/>
                  <a:gd name="connsiteX76" fmla="*/ 2811802 w 4519987"/>
                  <a:gd name="connsiteY76" fmla="*/ 4371975 h 4496940"/>
                  <a:gd name="connsiteX77" fmla="*/ 2745127 w 4519987"/>
                  <a:gd name="connsiteY77" fmla="*/ 4410075 h 4496940"/>
                  <a:gd name="connsiteX78" fmla="*/ 2697502 w 4519987"/>
                  <a:gd name="connsiteY78" fmla="*/ 4429125 h 4496940"/>
                  <a:gd name="connsiteX79" fmla="*/ 2640352 w 4519987"/>
                  <a:gd name="connsiteY79" fmla="*/ 4457700 h 4496940"/>
                  <a:gd name="connsiteX80" fmla="*/ 2583202 w 4519987"/>
                  <a:gd name="connsiteY80" fmla="*/ 4467225 h 4496940"/>
                  <a:gd name="connsiteX81" fmla="*/ 2545102 w 4519987"/>
                  <a:gd name="connsiteY81" fmla="*/ 4486275 h 4496940"/>
                  <a:gd name="connsiteX82" fmla="*/ 2306977 w 4519987"/>
                  <a:gd name="connsiteY82" fmla="*/ 4476750 h 4496940"/>
                  <a:gd name="connsiteX83" fmla="*/ 2202202 w 4519987"/>
                  <a:gd name="connsiteY83" fmla="*/ 4457700 h 4496940"/>
                  <a:gd name="connsiteX84" fmla="*/ 2126002 w 4519987"/>
                  <a:gd name="connsiteY84" fmla="*/ 4429125 h 4496940"/>
                  <a:gd name="connsiteX85" fmla="*/ 1935502 w 4519987"/>
                  <a:gd name="connsiteY85" fmla="*/ 4400550 h 4496940"/>
                  <a:gd name="connsiteX86" fmla="*/ 1821202 w 4519987"/>
                  <a:gd name="connsiteY86" fmla="*/ 4371975 h 4496940"/>
                  <a:gd name="connsiteX87" fmla="*/ 1754527 w 4519987"/>
                  <a:gd name="connsiteY87" fmla="*/ 4352925 h 4496940"/>
                  <a:gd name="connsiteX88" fmla="*/ 1687852 w 4519987"/>
                  <a:gd name="connsiteY88" fmla="*/ 4343400 h 4496940"/>
                  <a:gd name="connsiteX89" fmla="*/ 1573552 w 4519987"/>
                  <a:gd name="connsiteY89" fmla="*/ 4305300 h 4496940"/>
                  <a:gd name="connsiteX90" fmla="*/ 1402102 w 4519987"/>
                  <a:gd name="connsiteY90" fmla="*/ 4276725 h 4496940"/>
                  <a:gd name="connsiteX91" fmla="*/ 1287802 w 4519987"/>
                  <a:gd name="connsiteY91" fmla="*/ 4229100 h 4496940"/>
                  <a:gd name="connsiteX92" fmla="*/ 1221127 w 4519987"/>
                  <a:gd name="connsiteY92" fmla="*/ 4200525 h 4496940"/>
                  <a:gd name="connsiteX93" fmla="*/ 1144927 w 4519987"/>
                  <a:gd name="connsiteY93" fmla="*/ 4171950 h 4496940"/>
                  <a:gd name="connsiteX94" fmla="*/ 1087777 w 4519987"/>
                  <a:gd name="connsiteY94" fmla="*/ 4143375 h 4496940"/>
                  <a:gd name="connsiteX95" fmla="*/ 1030627 w 4519987"/>
                  <a:gd name="connsiteY95" fmla="*/ 4124325 h 4496940"/>
                  <a:gd name="connsiteX96" fmla="*/ 925852 w 4519987"/>
                  <a:gd name="connsiteY96" fmla="*/ 4067175 h 4496940"/>
                  <a:gd name="connsiteX97" fmla="*/ 830602 w 4519987"/>
                  <a:gd name="connsiteY97" fmla="*/ 3981450 h 4496940"/>
                  <a:gd name="connsiteX98" fmla="*/ 763927 w 4519987"/>
                  <a:gd name="connsiteY98" fmla="*/ 3914775 h 4496940"/>
                  <a:gd name="connsiteX99" fmla="*/ 725827 w 4519987"/>
                  <a:gd name="connsiteY99" fmla="*/ 3876675 h 4496940"/>
                  <a:gd name="connsiteX100" fmla="*/ 697252 w 4519987"/>
                  <a:gd name="connsiteY100" fmla="*/ 3838575 h 4496940"/>
                  <a:gd name="connsiteX101" fmla="*/ 640102 w 4519987"/>
                  <a:gd name="connsiteY101" fmla="*/ 3781425 h 4496940"/>
                  <a:gd name="connsiteX102" fmla="*/ 611527 w 4519987"/>
                  <a:gd name="connsiteY102" fmla="*/ 3733800 h 4496940"/>
                  <a:gd name="connsiteX103" fmla="*/ 554377 w 4519987"/>
                  <a:gd name="connsiteY103" fmla="*/ 3657600 h 4496940"/>
                  <a:gd name="connsiteX104" fmla="*/ 525802 w 4519987"/>
                  <a:gd name="connsiteY104" fmla="*/ 3609975 h 4496940"/>
                  <a:gd name="connsiteX105" fmla="*/ 497227 w 4519987"/>
                  <a:gd name="connsiteY105" fmla="*/ 3552825 h 4496940"/>
                  <a:gd name="connsiteX106" fmla="*/ 440077 w 4519987"/>
                  <a:gd name="connsiteY106" fmla="*/ 3495675 h 4496940"/>
                  <a:gd name="connsiteX107" fmla="*/ 411502 w 4519987"/>
                  <a:gd name="connsiteY107" fmla="*/ 3448050 h 4496940"/>
                  <a:gd name="connsiteX108" fmla="*/ 278152 w 4519987"/>
                  <a:gd name="connsiteY108" fmla="*/ 3257550 h 4496940"/>
                  <a:gd name="connsiteX109" fmla="*/ 249577 w 4519987"/>
                  <a:gd name="connsiteY109" fmla="*/ 3200400 h 4496940"/>
                  <a:gd name="connsiteX110" fmla="*/ 240052 w 4519987"/>
                  <a:gd name="connsiteY110" fmla="*/ 3162300 h 4496940"/>
                  <a:gd name="connsiteX111" fmla="*/ 221002 w 4519987"/>
                  <a:gd name="connsiteY111" fmla="*/ 3105150 h 4496940"/>
                  <a:gd name="connsiteX112" fmla="*/ 173377 w 4519987"/>
                  <a:gd name="connsiteY112" fmla="*/ 3019425 h 4496940"/>
                  <a:gd name="connsiteX113" fmla="*/ 144802 w 4519987"/>
                  <a:gd name="connsiteY113" fmla="*/ 2924175 h 4496940"/>
                  <a:gd name="connsiteX114" fmla="*/ 68602 w 4519987"/>
                  <a:gd name="connsiteY114" fmla="*/ 2724150 h 4496940"/>
                  <a:gd name="connsiteX115" fmla="*/ 49552 w 4519987"/>
                  <a:gd name="connsiteY115" fmla="*/ 2638425 h 4496940"/>
                  <a:gd name="connsiteX116" fmla="*/ 40027 w 4519987"/>
                  <a:gd name="connsiteY116" fmla="*/ 2562225 h 4496940"/>
                  <a:gd name="connsiteX117" fmla="*/ 30502 w 4519987"/>
                  <a:gd name="connsiteY117" fmla="*/ 2514600 h 4496940"/>
                  <a:gd name="connsiteX118" fmla="*/ 11452 w 4519987"/>
                  <a:gd name="connsiteY118" fmla="*/ 2400300 h 4496940"/>
                  <a:gd name="connsiteX119" fmla="*/ 20977 w 4519987"/>
                  <a:gd name="connsiteY119" fmla="*/ 1905000 h 4496940"/>
                  <a:gd name="connsiteX120" fmla="*/ 30502 w 4519987"/>
                  <a:gd name="connsiteY120" fmla="*/ 1838325 h 4496940"/>
                  <a:gd name="connsiteX121" fmla="*/ 49552 w 4519987"/>
                  <a:gd name="connsiteY121" fmla="*/ 1781175 h 4496940"/>
                  <a:gd name="connsiteX122" fmla="*/ 59077 w 4519987"/>
                  <a:gd name="connsiteY122" fmla="*/ 1743075 h 4496940"/>
                  <a:gd name="connsiteX123" fmla="*/ 78127 w 4519987"/>
                  <a:gd name="connsiteY123" fmla="*/ 1685925 h 4496940"/>
                  <a:gd name="connsiteX124" fmla="*/ 87652 w 4519987"/>
                  <a:gd name="connsiteY124" fmla="*/ 1638300 h 4496940"/>
                  <a:gd name="connsiteX125" fmla="*/ 106702 w 4519987"/>
                  <a:gd name="connsiteY125" fmla="*/ 1590675 h 4496940"/>
                  <a:gd name="connsiteX126" fmla="*/ 135277 w 4519987"/>
                  <a:gd name="connsiteY126" fmla="*/ 1504950 h 4496940"/>
                  <a:gd name="connsiteX127" fmla="*/ 154327 w 4519987"/>
                  <a:gd name="connsiteY127" fmla="*/ 1419225 h 4496940"/>
                  <a:gd name="connsiteX128" fmla="*/ 230527 w 4519987"/>
                  <a:gd name="connsiteY128" fmla="*/ 1276350 h 4496940"/>
                  <a:gd name="connsiteX129" fmla="*/ 240052 w 4519987"/>
                  <a:gd name="connsiteY129" fmla="*/ 1247775 h 4496940"/>
                  <a:gd name="connsiteX130" fmla="*/ 268627 w 4519987"/>
                  <a:gd name="connsiteY130" fmla="*/ 1200150 h 4496940"/>
                  <a:gd name="connsiteX131" fmla="*/ 287677 w 4519987"/>
                  <a:gd name="connsiteY131" fmla="*/ 1152525 h 4496940"/>
                  <a:gd name="connsiteX132" fmla="*/ 316252 w 4519987"/>
                  <a:gd name="connsiteY132" fmla="*/ 1114425 h 4496940"/>
                  <a:gd name="connsiteX133" fmla="*/ 363877 w 4519987"/>
                  <a:gd name="connsiteY133" fmla="*/ 1038225 h 4496940"/>
                  <a:gd name="connsiteX134" fmla="*/ 382927 w 4519987"/>
                  <a:gd name="connsiteY134" fmla="*/ 1009650 h 4496940"/>
                  <a:gd name="connsiteX135" fmla="*/ 440077 w 4519987"/>
                  <a:gd name="connsiteY135" fmla="*/ 904875 h 4496940"/>
                  <a:gd name="connsiteX136" fmla="*/ 478177 w 4519987"/>
                  <a:gd name="connsiteY136" fmla="*/ 857250 h 4496940"/>
                  <a:gd name="connsiteX137" fmla="*/ 497227 w 4519987"/>
                  <a:gd name="connsiteY137" fmla="*/ 828675 h 4496940"/>
                  <a:gd name="connsiteX138" fmla="*/ 535327 w 4519987"/>
                  <a:gd name="connsiteY138" fmla="*/ 800100 h 4496940"/>
                  <a:gd name="connsiteX139" fmla="*/ 602002 w 4519987"/>
                  <a:gd name="connsiteY139" fmla="*/ 733425 h 4496940"/>
                  <a:gd name="connsiteX140" fmla="*/ 668677 w 4519987"/>
                  <a:gd name="connsiteY140" fmla="*/ 676275 h 4496940"/>
                  <a:gd name="connsiteX141" fmla="*/ 697252 w 4519987"/>
                  <a:gd name="connsiteY141" fmla="*/ 657225 h 4496940"/>
                  <a:gd name="connsiteX142" fmla="*/ 840127 w 4519987"/>
                  <a:gd name="connsiteY142" fmla="*/ 533400 h 4496940"/>
                  <a:gd name="connsiteX143" fmla="*/ 887752 w 4519987"/>
                  <a:gd name="connsiteY143" fmla="*/ 504825 h 4496940"/>
                  <a:gd name="connsiteX144" fmla="*/ 1167152 w 4519987"/>
                  <a:gd name="connsiteY144" fmla="*/ 311150 h 4496940"/>
                  <a:gd name="connsiteX145" fmla="*/ 1268752 w 4519987"/>
                  <a:gd name="connsiteY145" fmla="*/ 285750 h 4496940"/>
                  <a:gd name="connsiteX146" fmla="*/ 1411627 w 4519987"/>
                  <a:gd name="connsiteY146" fmla="*/ 190500 h 4496940"/>
                  <a:gd name="connsiteX147" fmla="*/ 1449727 w 4519987"/>
                  <a:gd name="connsiteY147" fmla="*/ 161925 h 4496940"/>
                  <a:gd name="connsiteX148" fmla="*/ 1525927 w 4519987"/>
                  <a:gd name="connsiteY148" fmla="*/ 152400 h 4496940"/>
                  <a:gd name="connsiteX149" fmla="*/ 1583077 w 4519987"/>
                  <a:gd name="connsiteY149" fmla="*/ 142875 h 4496940"/>
                  <a:gd name="connsiteX150" fmla="*/ 1716427 w 4519987"/>
                  <a:gd name="connsiteY150" fmla="*/ 123825 h 4496940"/>
                  <a:gd name="connsiteX151" fmla="*/ 1811677 w 4519987"/>
                  <a:gd name="connsiteY151" fmla="*/ 114300 h 4496940"/>
                  <a:gd name="connsiteX152" fmla="*/ 1859302 w 4519987"/>
                  <a:gd name="connsiteY152" fmla="*/ 104775 h 4496940"/>
                  <a:gd name="connsiteX153" fmla="*/ 1916452 w 4519987"/>
                  <a:gd name="connsiteY153" fmla="*/ 95250 h 4496940"/>
                  <a:gd name="connsiteX154" fmla="*/ 2030752 w 4519987"/>
                  <a:gd name="connsiteY154" fmla="*/ 66675 h 4496940"/>
                  <a:gd name="connsiteX155" fmla="*/ 2097427 w 4519987"/>
                  <a:gd name="connsiteY155" fmla="*/ 47625 h 4496940"/>
                  <a:gd name="connsiteX156" fmla="*/ 2164102 w 4519987"/>
                  <a:gd name="connsiteY156" fmla="*/ 38100 h 4496940"/>
                  <a:gd name="connsiteX157" fmla="*/ 2392702 w 4519987"/>
                  <a:gd name="connsiteY15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78627 w 4519987"/>
                  <a:gd name="connsiteY28" fmla="*/ 838200 h 4496940"/>
                  <a:gd name="connsiteX29" fmla="*/ 4107202 w 4519987"/>
                  <a:gd name="connsiteY29" fmla="*/ 876300 h 4496940"/>
                  <a:gd name="connsiteX30" fmla="*/ 4135777 w 4519987"/>
                  <a:gd name="connsiteY30" fmla="*/ 933450 h 4496940"/>
                  <a:gd name="connsiteX31" fmla="*/ 4164352 w 4519987"/>
                  <a:gd name="connsiteY31" fmla="*/ 990600 h 4496940"/>
                  <a:gd name="connsiteX32" fmla="*/ 4173877 w 4519987"/>
                  <a:gd name="connsiteY32" fmla="*/ 1019175 h 4496940"/>
                  <a:gd name="connsiteX33" fmla="*/ 4192927 w 4519987"/>
                  <a:gd name="connsiteY33" fmla="*/ 1057275 h 4496940"/>
                  <a:gd name="connsiteX34" fmla="*/ 4202452 w 4519987"/>
                  <a:gd name="connsiteY34" fmla="*/ 1085850 h 4496940"/>
                  <a:gd name="connsiteX35" fmla="*/ 4250077 w 4519987"/>
                  <a:gd name="connsiteY35" fmla="*/ 1143000 h 4496940"/>
                  <a:gd name="connsiteX36" fmla="*/ 4259602 w 4519987"/>
                  <a:gd name="connsiteY36" fmla="*/ 1190625 h 4496940"/>
                  <a:gd name="connsiteX37" fmla="*/ 4307227 w 4519987"/>
                  <a:gd name="connsiteY37" fmla="*/ 1266825 h 4496940"/>
                  <a:gd name="connsiteX38" fmla="*/ 4345327 w 4519987"/>
                  <a:gd name="connsiteY38" fmla="*/ 1362075 h 4496940"/>
                  <a:gd name="connsiteX39" fmla="*/ 4373902 w 4519987"/>
                  <a:gd name="connsiteY39" fmla="*/ 1428750 h 4496940"/>
                  <a:gd name="connsiteX40" fmla="*/ 4392952 w 4519987"/>
                  <a:gd name="connsiteY40" fmla="*/ 1552575 h 4496940"/>
                  <a:gd name="connsiteX41" fmla="*/ 4402477 w 4519987"/>
                  <a:gd name="connsiteY41" fmla="*/ 1590675 h 4496940"/>
                  <a:gd name="connsiteX42" fmla="*/ 4431052 w 4519987"/>
                  <a:gd name="connsiteY42" fmla="*/ 1685925 h 4496940"/>
                  <a:gd name="connsiteX43" fmla="*/ 4519952 w 4519987"/>
                  <a:gd name="connsiteY43" fmla="*/ 2181225 h 4496940"/>
                  <a:gd name="connsiteX44" fmla="*/ 4446927 w 4519987"/>
                  <a:gd name="connsiteY44" fmla="*/ 2768600 h 4496940"/>
                  <a:gd name="connsiteX45" fmla="*/ 4383427 w 4519987"/>
                  <a:gd name="connsiteY45" fmla="*/ 2990850 h 4496940"/>
                  <a:gd name="connsiteX46" fmla="*/ 4278652 w 4519987"/>
                  <a:gd name="connsiteY46" fmla="*/ 3248025 h 4496940"/>
                  <a:gd name="connsiteX47" fmla="*/ 4259602 w 4519987"/>
                  <a:gd name="connsiteY47" fmla="*/ 3276600 h 4496940"/>
                  <a:gd name="connsiteX48" fmla="*/ 4221502 w 4519987"/>
                  <a:gd name="connsiteY48" fmla="*/ 3333750 h 4496940"/>
                  <a:gd name="connsiteX49" fmla="*/ 4211977 w 4519987"/>
                  <a:gd name="connsiteY49" fmla="*/ 3362325 h 4496940"/>
                  <a:gd name="connsiteX50" fmla="*/ 4183402 w 4519987"/>
                  <a:gd name="connsiteY50" fmla="*/ 3400425 h 4496940"/>
                  <a:gd name="connsiteX51" fmla="*/ 4164352 w 4519987"/>
                  <a:gd name="connsiteY51" fmla="*/ 3429000 h 4496940"/>
                  <a:gd name="connsiteX52" fmla="*/ 4088152 w 4519987"/>
                  <a:gd name="connsiteY52" fmla="*/ 3495675 h 4496940"/>
                  <a:gd name="connsiteX53" fmla="*/ 4059577 w 4519987"/>
                  <a:gd name="connsiteY53" fmla="*/ 3533775 h 4496940"/>
                  <a:gd name="connsiteX54" fmla="*/ 4002427 w 4519987"/>
                  <a:gd name="connsiteY54" fmla="*/ 3600450 h 4496940"/>
                  <a:gd name="connsiteX55" fmla="*/ 3983377 w 4519987"/>
                  <a:gd name="connsiteY55" fmla="*/ 3629025 h 4496940"/>
                  <a:gd name="connsiteX56" fmla="*/ 3954802 w 4519987"/>
                  <a:gd name="connsiteY56" fmla="*/ 3648075 h 4496940"/>
                  <a:gd name="connsiteX57" fmla="*/ 3907177 w 4519987"/>
                  <a:gd name="connsiteY57" fmla="*/ 3686175 h 4496940"/>
                  <a:gd name="connsiteX58" fmla="*/ 3869077 w 4519987"/>
                  <a:gd name="connsiteY58" fmla="*/ 3724275 h 4496940"/>
                  <a:gd name="connsiteX59" fmla="*/ 3792877 w 4519987"/>
                  <a:gd name="connsiteY59" fmla="*/ 3781425 h 4496940"/>
                  <a:gd name="connsiteX60" fmla="*/ 3783352 w 4519987"/>
                  <a:gd name="connsiteY60" fmla="*/ 3810000 h 4496940"/>
                  <a:gd name="connsiteX61" fmla="*/ 3745252 w 4519987"/>
                  <a:gd name="connsiteY61" fmla="*/ 3819525 h 4496940"/>
                  <a:gd name="connsiteX62" fmla="*/ 3678577 w 4519987"/>
                  <a:gd name="connsiteY62" fmla="*/ 3848100 h 4496940"/>
                  <a:gd name="connsiteX63" fmla="*/ 3659527 w 4519987"/>
                  <a:gd name="connsiteY63" fmla="*/ 3971925 h 4496940"/>
                  <a:gd name="connsiteX64" fmla="*/ 3630952 w 4519987"/>
                  <a:gd name="connsiteY64" fmla="*/ 4010025 h 4496940"/>
                  <a:gd name="connsiteX65" fmla="*/ 3621427 w 4519987"/>
                  <a:gd name="connsiteY65" fmla="*/ 4038600 h 4496940"/>
                  <a:gd name="connsiteX66" fmla="*/ 3554752 w 4519987"/>
                  <a:gd name="connsiteY66" fmla="*/ 4095750 h 4496940"/>
                  <a:gd name="connsiteX67" fmla="*/ 3516652 w 4519987"/>
                  <a:gd name="connsiteY67" fmla="*/ 4114800 h 4496940"/>
                  <a:gd name="connsiteX68" fmla="*/ 3497602 w 4519987"/>
                  <a:gd name="connsiteY68" fmla="*/ 4143375 h 4496940"/>
                  <a:gd name="connsiteX69" fmla="*/ 3383302 w 4519987"/>
                  <a:gd name="connsiteY69" fmla="*/ 4210050 h 4496940"/>
                  <a:gd name="connsiteX70" fmla="*/ 3335677 w 4519987"/>
                  <a:gd name="connsiteY70" fmla="*/ 4238625 h 4496940"/>
                  <a:gd name="connsiteX71" fmla="*/ 3288052 w 4519987"/>
                  <a:gd name="connsiteY71" fmla="*/ 4248150 h 4496940"/>
                  <a:gd name="connsiteX72" fmla="*/ 3240427 w 4519987"/>
                  <a:gd name="connsiteY72" fmla="*/ 4267200 h 4496940"/>
                  <a:gd name="connsiteX73" fmla="*/ 3068977 w 4519987"/>
                  <a:gd name="connsiteY73" fmla="*/ 4286250 h 4496940"/>
                  <a:gd name="connsiteX74" fmla="*/ 2935627 w 4519987"/>
                  <a:gd name="connsiteY74" fmla="*/ 4333875 h 4496940"/>
                  <a:gd name="connsiteX75" fmla="*/ 2811802 w 4519987"/>
                  <a:gd name="connsiteY75" fmla="*/ 4371975 h 4496940"/>
                  <a:gd name="connsiteX76" fmla="*/ 2745127 w 4519987"/>
                  <a:gd name="connsiteY76" fmla="*/ 4410075 h 4496940"/>
                  <a:gd name="connsiteX77" fmla="*/ 2697502 w 4519987"/>
                  <a:gd name="connsiteY77" fmla="*/ 4429125 h 4496940"/>
                  <a:gd name="connsiteX78" fmla="*/ 2640352 w 4519987"/>
                  <a:gd name="connsiteY78" fmla="*/ 4457700 h 4496940"/>
                  <a:gd name="connsiteX79" fmla="*/ 2583202 w 4519987"/>
                  <a:gd name="connsiteY79" fmla="*/ 4467225 h 4496940"/>
                  <a:gd name="connsiteX80" fmla="*/ 2545102 w 4519987"/>
                  <a:gd name="connsiteY80" fmla="*/ 4486275 h 4496940"/>
                  <a:gd name="connsiteX81" fmla="*/ 2306977 w 4519987"/>
                  <a:gd name="connsiteY81" fmla="*/ 4476750 h 4496940"/>
                  <a:gd name="connsiteX82" fmla="*/ 2202202 w 4519987"/>
                  <a:gd name="connsiteY82" fmla="*/ 4457700 h 4496940"/>
                  <a:gd name="connsiteX83" fmla="*/ 2126002 w 4519987"/>
                  <a:gd name="connsiteY83" fmla="*/ 4429125 h 4496940"/>
                  <a:gd name="connsiteX84" fmla="*/ 1935502 w 4519987"/>
                  <a:gd name="connsiteY84" fmla="*/ 4400550 h 4496940"/>
                  <a:gd name="connsiteX85" fmla="*/ 1821202 w 4519987"/>
                  <a:gd name="connsiteY85" fmla="*/ 4371975 h 4496940"/>
                  <a:gd name="connsiteX86" fmla="*/ 1754527 w 4519987"/>
                  <a:gd name="connsiteY86" fmla="*/ 4352925 h 4496940"/>
                  <a:gd name="connsiteX87" fmla="*/ 1687852 w 4519987"/>
                  <a:gd name="connsiteY87" fmla="*/ 4343400 h 4496940"/>
                  <a:gd name="connsiteX88" fmla="*/ 1573552 w 4519987"/>
                  <a:gd name="connsiteY88" fmla="*/ 4305300 h 4496940"/>
                  <a:gd name="connsiteX89" fmla="*/ 1402102 w 4519987"/>
                  <a:gd name="connsiteY89" fmla="*/ 4276725 h 4496940"/>
                  <a:gd name="connsiteX90" fmla="*/ 1287802 w 4519987"/>
                  <a:gd name="connsiteY90" fmla="*/ 4229100 h 4496940"/>
                  <a:gd name="connsiteX91" fmla="*/ 1221127 w 4519987"/>
                  <a:gd name="connsiteY91" fmla="*/ 4200525 h 4496940"/>
                  <a:gd name="connsiteX92" fmla="*/ 1144927 w 4519987"/>
                  <a:gd name="connsiteY92" fmla="*/ 4171950 h 4496940"/>
                  <a:gd name="connsiteX93" fmla="*/ 1087777 w 4519987"/>
                  <a:gd name="connsiteY93" fmla="*/ 4143375 h 4496940"/>
                  <a:gd name="connsiteX94" fmla="*/ 1030627 w 4519987"/>
                  <a:gd name="connsiteY94" fmla="*/ 4124325 h 4496940"/>
                  <a:gd name="connsiteX95" fmla="*/ 925852 w 4519987"/>
                  <a:gd name="connsiteY95" fmla="*/ 4067175 h 4496940"/>
                  <a:gd name="connsiteX96" fmla="*/ 830602 w 4519987"/>
                  <a:gd name="connsiteY96" fmla="*/ 3981450 h 4496940"/>
                  <a:gd name="connsiteX97" fmla="*/ 763927 w 4519987"/>
                  <a:gd name="connsiteY97" fmla="*/ 3914775 h 4496940"/>
                  <a:gd name="connsiteX98" fmla="*/ 725827 w 4519987"/>
                  <a:gd name="connsiteY98" fmla="*/ 3876675 h 4496940"/>
                  <a:gd name="connsiteX99" fmla="*/ 697252 w 4519987"/>
                  <a:gd name="connsiteY99" fmla="*/ 3838575 h 4496940"/>
                  <a:gd name="connsiteX100" fmla="*/ 640102 w 4519987"/>
                  <a:gd name="connsiteY100" fmla="*/ 3781425 h 4496940"/>
                  <a:gd name="connsiteX101" fmla="*/ 611527 w 4519987"/>
                  <a:gd name="connsiteY101" fmla="*/ 3733800 h 4496940"/>
                  <a:gd name="connsiteX102" fmla="*/ 554377 w 4519987"/>
                  <a:gd name="connsiteY102" fmla="*/ 3657600 h 4496940"/>
                  <a:gd name="connsiteX103" fmla="*/ 525802 w 4519987"/>
                  <a:gd name="connsiteY103" fmla="*/ 3609975 h 4496940"/>
                  <a:gd name="connsiteX104" fmla="*/ 497227 w 4519987"/>
                  <a:gd name="connsiteY104" fmla="*/ 3552825 h 4496940"/>
                  <a:gd name="connsiteX105" fmla="*/ 440077 w 4519987"/>
                  <a:gd name="connsiteY105" fmla="*/ 3495675 h 4496940"/>
                  <a:gd name="connsiteX106" fmla="*/ 411502 w 4519987"/>
                  <a:gd name="connsiteY106" fmla="*/ 3448050 h 4496940"/>
                  <a:gd name="connsiteX107" fmla="*/ 278152 w 4519987"/>
                  <a:gd name="connsiteY107" fmla="*/ 3257550 h 4496940"/>
                  <a:gd name="connsiteX108" fmla="*/ 249577 w 4519987"/>
                  <a:gd name="connsiteY108" fmla="*/ 3200400 h 4496940"/>
                  <a:gd name="connsiteX109" fmla="*/ 240052 w 4519987"/>
                  <a:gd name="connsiteY109" fmla="*/ 3162300 h 4496940"/>
                  <a:gd name="connsiteX110" fmla="*/ 221002 w 4519987"/>
                  <a:gd name="connsiteY110" fmla="*/ 3105150 h 4496940"/>
                  <a:gd name="connsiteX111" fmla="*/ 173377 w 4519987"/>
                  <a:gd name="connsiteY111" fmla="*/ 3019425 h 4496940"/>
                  <a:gd name="connsiteX112" fmla="*/ 144802 w 4519987"/>
                  <a:gd name="connsiteY112" fmla="*/ 2924175 h 4496940"/>
                  <a:gd name="connsiteX113" fmla="*/ 68602 w 4519987"/>
                  <a:gd name="connsiteY113" fmla="*/ 2724150 h 4496940"/>
                  <a:gd name="connsiteX114" fmla="*/ 49552 w 4519987"/>
                  <a:gd name="connsiteY114" fmla="*/ 2638425 h 4496940"/>
                  <a:gd name="connsiteX115" fmla="*/ 40027 w 4519987"/>
                  <a:gd name="connsiteY115" fmla="*/ 2562225 h 4496940"/>
                  <a:gd name="connsiteX116" fmla="*/ 30502 w 4519987"/>
                  <a:gd name="connsiteY116" fmla="*/ 2514600 h 4496940"/>
                  <a:gd name="connsiteX117" fmla="*/ 11452 w 4519987"/>
                  <a:gd name="connsiteY117" fmla="*/ 2400300 h 4496940"/>
                  <a:gd name="connsiteX118" fmla="*/ 20977 w 4519987"/>
                  <a:gd name="connsiteY118" fmla="*/ 1905000 h 4496940"/>
                  <a:gd name="connsiteX119" fmla="*/ 30502 w 4519987"/>
                  <a:gd name="connsiteY119" fmla="*/ 1838325 h 4496940"/>
                  <a:gd name="connsiteX120" fmla="*/ 49552 w 4519987"/>
                  <a:gd name="connsiteY120" fmla="*/ 1781175 h 4496940"/>
                  <a:gd name="connsiteX121" fmla="*/ 59077 w 4519987"/>
                  <a:gd name="connsiteY121" fmla="*/ 1743075 h 4496940"/>
                  <a:gd name="connsiteX122" fmla="*/ 78127 w 4519987"/>
                  <a:gd name="connsiteY122" fmla="*/ 1685925 h 4496940"/>
                  <a:gd name="connsiteX123" fmla="*/ 87652 w 4519987"/>
                  <a:gd name="connsiteY123" fmla="*/ 1638300 h 4496940"/>
                  <a:gd name="connsiteX124" fmla="*/ 106702 w 4519987"/>
                  <a:gd name="connsiteY124" fmla="*/ 1590675 h 4496940"/>
                  <a:gd name="connsiteX125" fmla="*/ 135277 w 4519987"/>
                  <a:gd name="connsiteY125" fmla="*/ 1504950 h 4496940"/>
                  <a:gd name="connsiteX126" fmla="*/ 154327 w 4519987"/>
                  <a:gd name="connsiteY126" fmla="*/ 1419225 h 4496940"/>
                  <a:gd name="connsiteX127" fmla="*/ 230527 w 4519987"/>
                  <a:gd name="connsiteY127" fmla="*/ 1276350 h 4496940"/>
                  <a:gd name="connsiteX128" fmla="*/ 240052 w 4519987"/>
                  <a:gd name="connsiteY128" fmla="*/ 1247775 h 4496940"/>
                  <a:gd name="connsiteX129" fmla="*/ 268627 w 4519987"/>
                  <a:gd name="connsiteY129" fmla="*/ 1200150 h 4496940"/>
                  <a:gd name="connsiteX130" fmla="*/ 287677 w 4519987"/>
                  <a:gd name="connsiteY130" fmla="*/ 1152525 h 4496940"/>
                  <a:gd name="connsiteX131" fmla="*/ 316252 w 4519987"/>
                  <a:gd name="connsiteY131" fmla="*/ 1114425 h 4496940"/>
                  <a:gd name="connsiteX132" fmla="*/ 363877 w 4519987"/>
                  <a:gd name="connsiteY132" fmla="*/ 1038225 h 4496940"/>
                  <a:gd name="connsiteX133" fmla="*/ 382927 w 4519987"/>
                  <a:gd name="connsiteY133" fmla="*/ 1009650 h 4496940"/>
                  <a:gd name="connsiteX134" fmla="*/ 440077 w 4519987"/>
                  <a:gd name="connsiteY134" fmla="*/ 904875 h 4496940"/>
                  <a:gd name="connsiteX135" fmla="*/ 478177 w 4519987"/>
                  <a:gd name="connsiteY135" fmla="*/ 857250 h 4496940"/>
                  <a:gd name="connsiteX136" fmla="*/ 497227 w 4519987"/>
                  <a:gd name="connsiteY136" fmla="*/ 828675 h 4496940"/>
                  <a:gd name="connsiteX137" fmla="*/ 535327 w 4519987"/>
                  <a:gd name="connsiteY137" fmla="*/ 800100 h 4496940"/>
                  <a:gd name="connsiteX138" fmla="*/ 602002 w 4519987"/>
                  <a:gd name="connsiteY138" fmla="*/ 733425 h 4496940"/>
                  <a:gd name="connsiteX139" fmla="*/ 668677 w 4519987"/>
                  <a:gd name="connsiteY139" fmla="*/ 676275 h 4496940"/>
                  <a:gd name="connsiteX140" fmla="*/ 697252 w 4519987"/>
                  <a:gd name="connsiteY140" fmla="*/ 657225 h 4496940"/>
                  <a:gd name="connsiteX141" fmla="*/ 840127 w 4519987"/>
                  <a:gd name="connsiteY141" fmla="*/ 533400 h 4496940"/>
                  <a:gd name="connsiteX142" fmla="*/ 887752 w 4519987"/>
                  <a:gd name="connsiteY142" fmla="*/ 504825 h 4496940"/>
                  <a:gd name="connsiteX143" fmla="*/ 1167152 w 4519987"/>
                  <a:gd name="connsiteY143" fmla="*/ 311150 h 4496940"/>
                  <a:gd name="connsiteX144" fmla="*/ 1268752 w 4519987"/>
                  <a:gd name="connsiteY144" fmla="*/ 285750 h 4496940"/>
                  <a:gd name="connsiteX145" fmla="*/ 1411627 w 4519987"/>
                  <a:gd name="connsiteY145" fmla="*/ 190500 h 4496940"/>
                  <a:gd name="connsiteX146" fmla="*/ 1449727 w 4519987"/>
                  <a:gd name="connsiteY146" fmla="*/ 161925 h 4496940"/>
                  <a:gd name="connsiteX147" fmla="*/ 1525927 w 4519987"/>
                  <a:gd name="connsiteY147" fmla="*/ 152400 h 4496940"/>
                  <a:gd name="connsiteX148" fmla="*/ 1583077 w 4519987"/>
                  <a:gd name="connsiteY148" fmla="*/ 142875 h 4496940"/>
                  <a:gd name="connsiteX149" fmla="*/ 1716427 w 4519987"/>
                  <a:gd name="connsiteY149" fmla="*/ 123825 h 4496940"/>
                  <a:gd name="connsiteX150" fmla="*/ 1811677 w 4519987"/>
                  <a:gd name="connsiteY150" fmla="*/ 114300 h 4496940"/>
                  <a:gd name="connsiteX151" fmla="*/ 1859302 w 4519987"/>
                  <a:gd name="connsiteY151" fmla="*/ 104775 h 4496940"/>
                  <a:gd name="connsiteX152" fmla="*/ 1916452 w 4519987"/>
                  <a:gd name="connsiteY152" fmla="*/ 95250 h 4496940"/>
                  <a:gd name="connsiteX153" fmla="*/ 2030752 w 4519987"/>
                  <a:gd name="connsiteY153" fmla="*/ 66675 h 4496940"/>
                  <a:gd name="connsiteX154" fmla="*/ 2097427 w 4519987"/>
                  <a:gd name="connsiteY154" fmla="*/ 47625 h 4496940"/>
                  <a:gd name="connsiteX155" fmla="*/ 2164102 w 4519987"/>
                  <a:gd name="connsiteY155" fmla="*/ 38100 h 4496940"/>
                  <a:gd name="connsiteX156" fmla="*/ 2392702 w 4519987"/>
                  <a:gd name="connsiteY15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78627 w 4519987"/>
                  <a:gd name="connsiteY28" fmla="*/ 838200 h 4496940"/>
                  <a:gd name="connsiteX29" fmla="*/ 4135777 w 4519987"/>
                  <a:gd name="connsiteY29" fmla="*/ 933450 h 4496940"/>
                  <a:gd name="connsiteX30" fmla="*/ 4164352 w 4519987"/>
                  <a:gd name="connsiteY30" fmla="*/ 990600 h 4496940"/>
                  <a:gd name="connsiteX31" fmla="*/ 4173877 w 4519987"/>
                  <a:gd name="connsiteY31" fmla="*/ 1019175 h 4496940"/>
                  <a:gd name="connsiteX32" fmla="*/ 4192927 w 4519987"/>
                  <a:gd name="connsiteY32" fmla="*/ 1057275 h 4496940"/>
                  <a:gd name="connsiteX33" fmla="*/ 4202452 w 4519987"/>
                  <a:gd name="connsiteY33" fmla="*/ 1085850 h 4496940"/>
                  <a:gd name="connsiteX34" fmla="*/ 4250077 w 4519987"/>
                  <a:gd name="connsiteY34" fmla="*/ 1143000 h 4496940"/>
                  <a:gd name="connsiteX35" fmla="*/ 4259602 w 4519987"/>
                  <a:gd name="connsiteY35" fmla="*/ 1190625 h 4496940"/>
                  <a:gd name="connsiteX36" fmla="*/ 4307227 w 4519987"/>
                  <a:gd name="connsiteY36" fmla="*/ 1266825 h 4496940"/>
                  <a:gd name="connsiteX37" fmla="*/ 4345327 w 4519987"/>
                  <a:gd name="connsiteY37" fmla="*/ 1362075 h 4496940"/>
                  <a:gd name="connsiteX38" fmla="*/ 4373902 w 4519987"/>
                  <a:gd name="connsiteY38" fmla="*/ 1428750 h 4496940"/>
                  <a:gd name="connsiteX39" fmla="*/ 4392952 w 4519987"/>
                  <a:gd name="connsiteY39" fmla="*/ 1552575 h 4496940"/>
                  <a:gd name="connsiteX40" fmla="*/ 4402477 w 4519987"/>
                  <a:gd name="connsiteY40" fmla="*/ 1590675 h 4496940"/>
                  <a:gd name="connsiteX41" fmla="*/ 4431052 w 4519987"/>
                  <a:gd name="connsiteY41" fmla="*/ 1685925 h 4496940"/>
                  <a:gd name="connsiteX42" fmla="*/ 4519952 w 4519987"/>
                  <a:gd name="connsiteY42" fmla="*/ 2181225 h 4496940"/>
                  <a:gd name="connsiteX43" fmla="*/ 4446927 w 4519987"/>
                  <a:gd name="connsiteY43" fmla="*/ 2768600 h 4496940"/>
                  <a:gd name="connsiteX44" fmla="*/ 4383427 w 4519987"/>
                  <a:gd name="connsiteY44" fmla="*/ 2990850 h 4496940"/>
                  <a:gd name="connsiteX45" fmla="*/ 4278652 w 4519987"/>
                  <a:gd name="connsiteY45" fmla="*/ 3248025 h 4496940"/>
                  <a:gd name="connsiteX46" fmla="*/ 4259602 w 4519987"/>
                  <a:gd name="connsiteY46" fmla="*/ 3276600 h 4496940"/>
                  <a:gd name="connsiteX47" fmla="*/ 4221502 w 4519987"/>
                  <a:gd name="connsiteY47" fmla="*/ 3333750 h 4496940"/>
                  <a:gd name="connsiteX48" fmla="*/ 4211977 w 4519987"/>
                  <a:gd name="connsiteY48" fmla="*/ 3362325 h 4496940"/>
                  <a:gd name="connsiteX49" fmla="*/ 4183402 w 4519987"/>
                  <a:gd name="connsiteY49" fmla="*/ 3400425 h 4496940"/>
                  <a:gd name="connsiteX50" fmla="*/ 4164352 w 4519987"/>
                  <a:gd name="connsiteY50" fmla="*/ 3429000 h 4496940"/>
                  <a:gd name="connsiteX51" fmla="*/ 4088152 w 4519987"/>
                  <a:gd name="connsiteY51" fmla="*/ 3495675 h 4496940"/>
                  <a:gd name="connsiteX52" fmla="*/ 4059577 w 4519987"/>
                  <a:gd name="connsiteY52" fmla="*/ 3533775 h 4496940"/>
                  <a:gd name="connsiteX53" fmla="*/ 4002427 w 4519987"/>
                  <a:gd name="connsiteY53" fmla="*/ 3600450 h 4496940"/>
                  <a:gd name="connsiteX54" fmla="*/ 3983377 w 4519987"/>
                  <a:gd name="connsiteY54" fmla="*/ 3629025 h 4496940"/>
                  <a:gd name="connsiteX55" fmla="*/ 3954802 w 4519987"/>
                  <a:gd name="connsiteY55" fmla="*/ 3648075 h 4496940"/>
                  <a:gd name="connsiteX56" fmla="*/ 3907177 w 4519987"/>
                  <a:gd name="connsiteY56" fmla="*/ 3686175 h 4496940"/>
                  <a:gd name="connsiteX57" fmla="*/ 3869077 w 4519987"/>
                  <a:gd name="connsiteY57" fmla="*/ 3724275 h 4496940"/>
                  <a:gd name="connsiteX58" fmla="*/ 3792877 w 4519987"/>
                  <a:gd name="connsiteY58" fmla="*/ 3781425 h 4496940"/>
                  <a:gd name="connsiteX59" fmla="*/ 3783352 w 4519987"/>
                  <a:gd name="connsiteY59" fmla="*/ 3810000 h 4496940"/>
                  <a:gd name="connsiteX60" fmla="*/ 3745252 w 4519987"/>
                  <a:gd name="connsiteY60" fmla="*/ 3819525 h 4496940"/>
                  <a:gd name="connsiteX61" fmla="*/ 3678577 w 4519987"/>
                  <a:gd name="connsiteY61" fmla="*/ 3848100 h 4496940"/>
                  <a:gd name="connsiteX62" fmla="*/ 3659527 w 4519987"/>
                  <a:gd name="connsiteY62" fmla="*/ 3971925 h 4496940"/>
                  <a:gd name="connsiteX63" fmla="*/ 3630952 w 4519987"/>
                  <a:gd name="connsiteY63" fmla="*/ 4010025 h 4496940"/>
                  <a:gd name="connsiteX64" fmla="*/ 3621427 w 4519987"/>
                  <a:gd name="connsiteY64" fmla="*/ 4038600 h 4496940"/>
                  <a:gd name="connsiteX65" fmla="*/ 3554752 w 4519987"/>
                  <a:gd name="connsiteY65" fmla="*/ 4095750 h 4496940"/>
                  <a:gd name="connsiteX66" fmla="*/ 3516652 w 4519987"/>
                  <a:gd name="connsiteY66" fmla="*/ 4114800 h 4496940"/>
                  <a:gd name="connsiteX67" fmla="*/ 3497602 w 4519987"/>
                  <a:gd name="connsiteY67" fmla="*/ 4143375 h 4496940"/>
                  <a:gd name="connsiteX68" fmla="*/ 3383302 w 4519987"/>
                  <a:gd name="connsiteY68" fmla="*/ 4210050 h 4496940"/>
                  <a:gd name="connsiteX69" fmla="*/ 3335677 w 4519987"/>
                  <a:gd name="connsiteY69" fmla="*/ 4238625 h 4496940"/>
                  <a:gd name="connsiteX70" fmla="*/ 3288052 w 4519987"/>
                  <a:gd name="connsiteY70" fmla="*/ 4248150 h 4496940"/>
                  <a:gd name="connsiteX71" fmla="*/ 3240427 w 4519987"/>
                  <a:gd name="connsiteY71" fmla="*/ 4267200 h 4496940"/>
                  <a:gd name="connsiteX72" fmla="*/ 3068977 w 4519987"/>
                  <a:gd name="connsiteY72" fmla="*/ 4286250 h 4496940"/>
                  <a:gd name="connsiteX73" fmla="*/ 2935627 w 4519987"/>
                  <a:gd name="connsiteY73" fmla="*/ 4333875 h 4496940"/>
                  <a:gd name="connsiteX74" fmla="*/ 2811802 w 4519987"/>
                  <a:gd name="connsiteY74" fmla="*/ 4371975 h 4496940"/>
                  <a:gd name="connsiteX75" fmla="*/ 2745127 w 4519987"/>
                  <a:gd name="connsiteY75" fmla="*/ 4410075 h 4496940"/>
                  <a:gd name="connsiteX76" fmla="*/ 2697502 w 4519987"/>
                  <a:gd name="connsiteY76" fmla="*/ 4429125 h 4496940"/>
                  <a:gd name="connsiteX77" fmla="*/ 2640352 w 4519987"/>
                  <a:gd name="connsiteY77" fmla="*/ 4457700 h 4496940"/>
                  <a:gd name="connsiteX78" fmla="*/ 2583202 w 4519987"/>
                  <a:gd name="connsiteY78" fmla="*/ 4467225 h 4496940"/>
                  <a:gd name="connsiteX79" fmla="*/ 2545102 w 4519987"/>
                  <a:gd name="connsiteY79" fmla="*/ 4486275 h 4496940"/>
                  <a:gd name="connsiteX80" fmla="*/ 2306977 w 4519987"/>
                  <a:gd name="connsiteY80" fmla="*/ 4476750 h 4496940"/>
                  <a:gd name="connsiteX81" fmla="*/ 2202202 w 4519987"/>
                  <a:gd name="connsiteY81" fmla="*/ 4457700 h 4496940"/>
                  <a:gd name="connsiteX82" fmla="*/ 2126002 w 4519987"/>
                  <a:gd name="connsiteY82" fmla="*/ 4429125 h 4496940"/>
                  <a:gd name="connsiteX83" fmla="*/ 1935502 w 4519987"/>
                  <a:gd name="connsiteY83" fmla="*/ 4400550 h 4496940"/>
                  <a:gd name="connsiteX84" fmla="*/ 1821202 w 4519987"/>
                  <a:gd name="connsiteY84" fmla="*/ 4371975 h 4496940"/>
                  <a:gd name="connsiteX85" fmla="*/ 1754527 w 4519987"/>
                  <a:gd name="connsiteY85" fmla="*/ 4352925 h 4496940"/>
                  <a:gd name="connsiteX86" fmla="*/ 1687852 w 4519987"/>
                  <a:gd name="connsiteY86" fmla="*/ 4343400 h 4496940"/>
                  <a:gd name="connsiteX87" fmla="*/ 1573552 w 4519987"/>
                  <a:gd name="connsiteY87" fmla="*/ 4305300 h 4496940"/>
                  <a:gd name="connsiteX88" fmla="*/ 1402102 w 4519987"/>
                  <a:gd name="connsiteY88" fmla="*/ 4276725 h 4496940"/>
                  <a:gd name="connsiteX89" fmla="*/ 1287802 w 4519987"/>
                  <a:gd name="connsiteY89" fmla="*/ 4229100 h 4496940"/>
                  <a:gd name="connsiteX90" fmla="*/ 1221127 w 4519987"/>
                  <a:gd name="connsiteY90" fmla="*/ 4200525 h 4496940"/>
                  <a:gd name="connsiteX91" fmla="*/ 1144927 w 4519987"/>
                  <a:gd name="connsiteY91" fmla="*/ 4171950 h 4496940"/>
                  <a:gd name="connsiteX92" fmla="*/ 1087777 w 4519987"/>
                  <a:gd name="connsiteY92" fmla="*/ 4143375 h 4496940"/>
                  <a:gd name="connsiteX93" fmla="*/ 1030627 w 4519987"/>
                  <a:gd name="connsiteY93" fmla="*/ 4124325 h 4496940"/>
                  <a:gd name="connsiteX94" fmla="*/ 925852 w 4519987"/>
                  <a:gd name="connsiteY94" fmla="*/ 4067175 h 4496940"/>
                  <a:gd name="connsiteX95" fmla="*/ 830602 w 4519987"/>
                  <a:gd name="connsiteY95" fmla="*/ 3981450 h 4496940"/>
                  <a:gd name="connsiteX96" fmla="*/ 763927 w 4519987"/>
                  <a:gd name="connsiteY96" fmla="*/ 3914775 h 4496940"/>
                  <a:gd name="connsiteX97" fmla="*/ 725827 w 4519987"/>
                  <a:gd name="connsiteY97" fmla="*/ 3876675 h 4496940"/>
                  <a:gd name="connsiteX98" fmla="*/ 697252 w 4519987"/>
                  <a:gd name="connsiteY98" fmla="*/ 3838575 h 4496940"/>
                  <a:gd name="connsiteX99" fmla="*/ 640102 w 4519987"/>
                  <a:gd name="connsiteY99" fmla="*/ 3781425 h 4496940"/>
                  <a:gd name="connsiteX100" fmla="*/ 611527 w 4519987"/>
                  <a:gd name="connsiteY100" fmla="*/ 3733800 h 4496940"/>
                  <a:gd name="connsiteX101" fmla="*/ 554377 w 4519987"/>
                  <a:gd name="connsiteY101" fmla="*/ 3657600 h 4496940"/>
                  <a:gd name="connsiteX102" fmla="*/ 525802 w 4519987"/>
                  <a:gd name="connsiteY102" fmla="*/ 3609975 h 4496940"/>
                  <a:gd name="connsiteX103" fmla="*/ 497227 w 4519987"/>
                  <a:gd name="connsiteY103" fmla="*/ 3552825 h 4496940"/>
                  <a:gd name="connsiteX104" fmla="*/ 440077 w 4519987"/>
                  <a:gd name="connsiteY104" fmla="*/ 3495675 h 4496940"/>
                  <a:gd name="connsiteX105" fmla="*/ 411502 w 4519987"/>
                  <a:gd name="connsiteY105" fmla="*/ 3448050 h 4496940"/>
                  <a:gd name="connsiteX106" fmla="*/ 278152 w 4519987"/>
                  <a:gd name="connsiteY106" fmla="*/ 3257550 h 4496940"/>
                  <a:gd name="connsiteX107" fmla="*/ 249577 w 4519987"/>
                  <a:gd name="connsiteY107" fmla="*/ 3200400 h 4496940"/>
                  <a:gd name="connsiteX108" fmla="*/ 240052 w 4519987"/>
                  <a:gd name="connsiteY108" fmla="*/ 3162300 h 4496940"/>
                  <a:gd name="connsiteX109" fmla="*/ 221002 w 4519987"/>
                  <a:gd name="connsiteY109" fmla="*/ 3105150 h 4496940"/>
                  <a:gd name="connsiteX110" fmla="*/ 173377 w 4519987"/>
                  <a:gd name="connsiteY110" fmla="*/ 3019425 h 4496940"/>
                  <a:gd name="connsiteX111" fmla="*/ 144802 w 4519987"/>
                  <a:gd name="connsiteY111" fmla="*/ 2924175 h 4496940"/>
                  <a:gd name="connsiteX112" fmla="*/ 68602 w 4519987"/>
                  <a:gd name="connsiteY112" fmla="*/ 2724150 h 4496940"/>
                  <a:gd name="connsiteX113" fmla="*/ 49552 w 4519987"/>
                  <a:gd name="connsiteY113" fmla="*/ 2638425 h 4496940"/>
                  <a:gd name="connsiteX114" fmla="*/ 40027 w 4519987"/>
                  <a:gd name="connsiteY114" fmla="*/ 2562225 h 4496940"/>
                  <a:gd name="connsiteX115" fmla="*/ 30502 w 4519987"/>
                  <a:gd name="connsiteY115" fmla="*/ 2514600 h 4496940"/>
                  <a:gd name="connsiteX116" fmla="*/ 11452 w 4519987"/>
                  <a:gd name="connsiteY116" fmla="*/ 2400300 h 4496940"/>
                  <a:gd name="connsiteX117" fmla="*/ 20977 w 4519987"/>
                  <a:gd name="connsiteY117" fmla="*/ 1905000 h 4496940"/>
                  <a:gd name="connsiteX118" fmla="*/ 30502 w 4519987"/>
                  <a:gd name="connsiteY118" fmla="*/ 1838325 h 4496940"/>
                  <a:gd name="connsiteX119" fmla="*/ 49552 w 4519987"/>
                  <a:gd name="connsiteY119" fmla="*/ 1781175 h 4496940"/>
                  <a:gd name="connsiteX120" fmla="*/ 59077 w 4519987"/>
                  <a:gd name="connsiteY120" fmla="*/ 1743075 h 4496940"/>
                  <a:gd name="connsiteX121" fmla="*/ 78127 w 4519987"/>
                  <a:gd name="connsiteY121" fmla="*/ 1685925 h 4496940"/>
                  <a:gd name="connsiteX122" fmla="*/ 87652 w 4519987"/>
                  <a:gd name="connsiteY122" fmla="*/ 1638300 h 4496940"/>
                  <a:gd name="connsiteX123" fmla="*/ 106702 w 4519987"/>
                  <a:gd name="connsiteY123" fmla="*/ 1590675 h 4496940"/>
                  <a:gd name="connsiteX124" fmla="*/ 135277 w 4519987"/>
                  <a:gd name="connsiteY124" fmla="*/ 1504950 h 4496940"/>
                  <a:gd name="connsiteX125" fmla="*/ 154327 w 4519987"/>
                  <a:gd name="connsiteY125" fmla="*/ 1419225 h 4496940"/>
                  <a:gd name="connsiteX126" fmla="*/ 230527 w 4519987"/>
                  <a:gd name="connsiteY126" fmla="*/ 1276350 h 4496940"/>
                  <a:gd name="connsiteX127" fmla="*/ 240052 w 4519987"/>
                  <a:gd name="connsiteY127" fmla="*/ 1247775 h 4496940"/>
                  <a:gd name="connsiteX128" fmla="*/ 268627 w 4519987"/>
                  <a:gd name="connsiteY128" fmla="*/ 1200150 h 4496940"/>
                  <a:gd name="connsiteX129" fmla="*/ 287677 w 4519987"/>
                  <a:gd name="connsiteY129" fmla="*/ 1152525 h 4496940"/>
                  <a:gd name="connsiteX130" fmla="*/ 316252 w 4519987"/>
                  <a:gd name="connsiteY130" fmla="*/ 1114425 h 4496940"/>
                  <a:gd name="connsiteX131" fmla="*/ 363877 w 4519987"/>
                  <a:gd name="connsiteY131" fmla="*/ 1038225 h 4496940"/>
                  <a:gd name="connsiteX132" fmla="*/ 382927 w 4519987"/>
                  <a:gd name="connsiteY132" fmla="*/ 1009650 h 4496940"/>
                  <a:gd name="connsiteX133" fmla="*/ 440077 w 4519987"/>
                  <a:gd name="connsiteY133" fmla="*/ 904875 h 4496940"/>
                  <a:gd name="connsiteX134" fmla="*/ 478177 w 4519987"/>
                  <a:gd name="connsiteY134" fmla="*/ 857250 h 4496940"/>
                  <a:gd name="connsiteX135" fmla="*/ 497227 w 4519987"/>
                  <a:gd name="connsiteY135" fmla="*/ 828675 h 4496940"/>
                  <a:gd name="connsiteX136" fmla="*/ 535327 w 4519987"/>
                  <a:gd name="connsiteY136" fmla="*/ 800100 h 4496940"/>
                  <a:gd name="connsiteX137" fmla="*/ 602002 w 4519987"/>
                  <a:gd name="connsiteY137" fmla="*/ 733425 h 4496940"/>
                  <a:gd name="connsiteX138" fmla="*/ 668677 w 4519987"/>
                  <a:gd name="connsiteY138" fmla="*/ 676275 h 4496940"/>
                  <a:gd name="connsiteX139" fmla="*/ 697252 w 4519987"/>
                  <a:gd name="connsiteY139" fmla="*/ 657225 h 4496940"/>
                  <a:gd name="connsiteX140" fmla="*/ 840127 w 4519987"/>
                  <a:gd name="connsiteY140" fmla="*/ 533400 h 4496940"/>
                  <a:gd name="connsiteX141" fmla="*/ 887752 w 4519987"/>
                  <a:gd name="connsiteY141" fmla="*/ 504825 h 4496940"/>
                  <a:gd name="connsiteX142" fmla="*/ 1167152 w 4519987"/>
                  <a:gd name="connsiteY142" fmla="*/ 311150 h 4496940"/>
                  <a:gd name="connsiteX143" fmla="*/ 1268752 w 4519987"/>
                  <a:gd name="connsiteY143" fmla="*/ 285750 h 4496940"/>
                  <a:gd name="connsiteX144" fmla="*/ 1411627 w 4519987"/>
                  <a:gd name="connsiteY144" fmla="*/ 190500 h 4496940"/>
                  <a:gd name="connsiteX145" fmla="*/ 1449727 w 4519987"/>
                  <a:gd name="connsiteY145" fmla="*/ 161925 h 4496940"/>
                  <a:gd name="connsiteX146" fmla="*/ 1525927 w 4519987"/>
                  <a:gd name="connsiteY146" fmla="*/ 152400 h 4496940"/>
                  <a:gd name="connsiteX147" fmla="*/ 1583077 w 4519987"/>
                  <a:gd name="connsiteY147" fmla="*/ 142875 h 4496940"/>
                  <a:gd name="connsiteX148" fmla="*/ 1716427 w 4519987"/>
                  <a:gd name="connsiteY148" fmla="*/ 123825 h 4496940"/>
                  <a:gd name="connsiteX149" fmla="*/ 1811677 w 4519987"/>
                  <a:gd name="connsiteY149" fmla="*/ 114300 h 4496940"/>
                  <a:gd name="connsiteX150" fmla="*/ 1859302 w 4519987"/>
                  <a:gd name="connsiteY150" fmla="*/ 104775 h 4496940"/>
                  <a:gd name="connsiteX151" fmla="*/ 1916452 w 4519987"/>
                  <a:gd name="connsiteY151" fmla="*/ 95250 h 4496940"/>
                  <a:gd name="connsiteX152" fmla="*/ 2030752 w 4519987"/>
                  <a:gd name="connsiteY152" fmla="*/ 66675 h 4496940"/>
                  <a:gd name="connsiteX153" fmla="*/ 2097427 w 4519987"/>
                  <a:gd name="connsiteY153" fmla="*/ 47625 h 4496940"/>
                  <a:gd name="connsiteX154" fmla="*/ 2164102 w 4519987"/>
                  <a:gd name="connsiteY154" fmla="*/ 38100 h 4496940"/>
                  <a:gd name="connsiteX155" fmla="*/ 2392702 w 4519987"/>
                  <a:gd name="connsiteY15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907177 w 4519987"/>
                  <a:gd name="connsiteY25" fmla="*/ 647700 h 4496940"/>
                  <a:gd name="connsiteX26" fmla="*/ 3935752 w 4519987"/>
                  <a:gd name="connsiteY26" fmla="*/ 676275 h 4496940"/>
                  <a:gd name="connsiteX27" fmla="*/ 4078627 w 4519987"/>
                  <a:gd name="connsiteY27" fmla="*/ 838200 h 4496940"/>
                  <a:gd name="connsiteX28" fmla="*/ 4135777 w 4519987"/>
                  <a:gd name="connsiteY28" fmla="*/ 933450 h 4496940"/>
                  <a:gd name="connsiteX29" fmla="*/ 4164352 w 4519987"/>
                  <a:gd name="connsiteY29" fmla="*/ 990600 h 4496940"/>
                  <a:gd name="connsiteX30" fmla="*/ 4173877 w 4519987"/>
                  <a:gd name="connsiteY30" fmla="*/ 1019175 h 4496940"/>
                  <a:gd name="connsiteX31" fmla="*/ 4192927 w 4519987"/>
                  <a:gd name="connsiteY31" fmla="*/ 1057275 h 4496940"/>
                  <a:gd name="connsiteX32" fmla="*/ 4202452 w 4519987"/>
                  <a:gd name="connsiteY32" fmla="*/ 1085850 h 4496940"/>
                  <a:gd name="connsiteX33" fmla="*/ 4250077 w 4519987"/>
                  <a:gd name="connsiteY33" fmla="*/ 1143000 h 4496940"/>
                  <a:gd name="connsiteX34" fmla="*/ 4259602 w 4519987"/>
                  <a:gd name="connsiteY34" fmla="*/ 1190625 h 4496940"/>
                  <a:gd name="connsiteX35" fmla="*/ 4307227 w 4519987"/>
                  <a:gd name="connsiteY35" fmla="*/ 1266825 h 4496940"/>
                  <a:gd name="connsiteX36" fmla="*/ 4345327 w 4519987"/>
                  <a:gd name="connsiteY36" fmla="*/ 1362075 h 4496940"/>
                  <a:gd name="connsiteX37" fmla="*/ 4373902 w 4519987"/>
                  <a:gd name="connsiteY37" fmla="*/ 1428750 h 4496940"/>
                  <a:gd name="connsiteX38" fmla="*/ 4392952 w 4519987"/>
                  <a:gd name="connsiteY38" fmla="*/ 1552575 h 4496940"/>
                  <a:gd name="connsiteX39" fmla="*/ 4402477 w 4519987"/>
                  <a:gd name="connsiteY39" fmla="*/ 1590675 h 4496940"/>
                  <a:gd name="connsiteX40" fmla="*/ 4431052 w 4519987"/>
                  <a:gd name="connsiteY40" fmla="*/ 1685925 h 4496940"/>
                  <a:gd name="connsiteX41" fmla="*/ 4519952 w 4519987"/>
                  <a:gd name="connsiteY41" fmla="*/ 2181225 h 4496940"/>
                  <a:gd name="connsiteX42" fmla="*/ 4446927 w 4519987"/>
                  <a:gd name="connsiteY42" fmla="*/ 2768600 h 4496940"/>
                  <a:gd name="connsiteX43" fmla="*/ 4383427 w 4519987"/>
                  <a:gd name="connsiteY43" fmla="*/ 2990850 h 4496940"/>
                  <a:gd name="connsiteX44" fmla="*/ 4278652 w 4519987"/>
                  <a:gd name="connsiteY44" fmla="*/ 3248025 h 4496940"/>
                  <a:gd name="connsiteX45" fmla="*/ 4259602 w 4519987"/>
                  <a:gd name="connsiteY45" fmla="*/ 3276600 h 4496940"/>
                  <a:gd name="connsiteX46" fmla="*/ 4221502 w 4519987"/>
                  <a:gd name="connsiteY46" fmla="*/ 3333750 h 4496940"/>
                  <a:gd name="connsiteX47" fmla="*/ 4211977 w 4519987"/>
                  <a:gd name="connsiteY47" fmla="*/ 3362325 h 4496940"/>
                  <a:gd name="connsiteX48" fmla="*/ 4183402 w 4519987"/>
                  <a:gd name="connsiteY48" fmla="*/ 3400425 h 4496940"/>
                  <a:gd name="connsiteX49" fmla="*/ 4164352 w 4519987"/>
                  <a:gd name="connsiteY49" fmla="*/ 3429000 h 4496940"/>
                  <a:gd name="connsiteX50" fmla="*/ 4088152 w 4519987"/>
                  <a:gd name="connsiteY50" fmla="*/ 3495675 h 4496940"/>
                  <a:gd name="connsiteX51" fmla="*/ 4059577 w 4519987"/>
                  <a:gd name="connsiteY51" fmla="*/ 3533775 h 4496940"/>
                  <a:gd name="connsiteX52" fmla="*/ 4002427 w 4519987"/>
                  <a:gd name="connsiteY52" fmla="*/ 3600450 h 4496940"/>
                  <a:gd name="connsiteX53" fmla="*/ 3983377 w 4519987"/>
                  <a:gd name="connsiteY53" fmla="*/ 3629025 h 4496940"/>
                  <a:gd name="connsiteX54" fmla="*/ 3954802 w 4519987"/>
                  <a:gd name="connsiteY54" fmla="*/ 3648075 h 4496940"/>
                  <a:gd name="connsiteX55" fmla="*/ 3907177 w 4519987"/>
                  <a:gd name="connsiteY55" fmla="*/ 3686175 h 4496940"/>
                  <a:gd name="connsiteX56" fmla="*/ 3869077 w 4519987"/>
                  <a:gd name="connsiteY56" fmla="*/ 3724275 h 4496940"/>
                  <a:gd name="connsiteX57" fmla="*/ 3792877 w 4519987"/>
                  <a:gd name="connsiteY57" fmla="*/ 3781425 h 4496940"/>
                  <a:gd name="connsiteX58" fmla="*/ 3783352 w 4519987"/>
                  <a:gd name="connsiteY58" fmla="*/ 3810000 h 4496940"/>
                  <a:gd name="connsiteX59" fmla="*/ 3745252 w 4519987"/>
                  <a:gd name="connsiteY59" fmla="*/ 3819525 h 4496940"/>
                  <a:gd name="connsiteX60" fmla="*/ 3678577 w 4519987"/>
                  <a:gd name="connsiteY60" fmla="*/ 3848100 h 4496940"/>
                  <a:gd name="connsiteX61" fmla="*/ 3659527 w 4519987"/>
                  <a:gd name="connsiteY61" fmla="*/ 3971925 h 4496940"/>
                  <a:gd name="connsiteX62" fmla="*/ 3630952 w 4519987"/>
                  <a:gd name="connsiteY62" fmla="*/ 4010025 h 4496940"/>
                  <a:gd name="connsiteX63" fmla="*/ 3621427 w 4519987"/>
                  <a:gd name="connsiteY63" fmla="*/ 4038600 h 4496940"/>
                  <a:gd name="connsiteX64" fmla="*/ 3554752 w 4519987"/>
                  <a:gd name="connsiteY64" fmla="*/ 4095750 h 4496940"/>
                  <a:gd name="connsiteX65" fmla="*/ 3516652 w 4519987"/>
                  <a:gd name="connsiteY65" fmla="*/ 4114800 h 4496940"/>
                  <a:gd name="connsiteX66" fmla="*/ 3497602 w 4519987"/>
                  <a:gd name="connsiteY66" fmla="*/ 4143375 h 4496940"/>
                  <a:gd name="connsiteX67" fmla="*/ 3383302 w 4519987"/>
                  <a:gd name="connsiteY67" fmla="*/ 4210050 h 4496940"/>
                  <a:gd name="connsiteX68" fmla="*/ 3335677 w 4519987"/>
                  <a:gd name="connsiteY68" fmla="*/ 4238625 h 4496940"/>
                  <a:gd name="connsiteX69" fmla="*/ 3288052 w 4519987"/>
                  <a:gd name="connsiteY69" fmla="*/ 4248150 h 4496940"/>
                  <a:gd name="connsiteX70" fmla="*/ 3240427 w 4519987"/>
                  <a:gd name="connsiteY70" fmla="*/ 4267200 h 4496940"/>
                  <a:gd name="connsiteX71" fmla="*/ 3068977 w 4519987"/>
                  <a:gd name="connsiteY71" fmla="*/ 4286250 h 4496940"/>
                  <a:gd name="connsiteX72" fmla="*/ 2935627 w 4519987"/>
                  <a:gd name="connsiteY72" fmla="*/ 4333875 h 4496940"/>
                  <a:gd name="connsiteX73" fmla="*/ 2811802 w 4519987"/>
                  <a:gd name="connsiteY73" fmla="*/ 4371975 h 4496940"/>
                  <a:gd name="connsiteX74" fmla="*/ 2745127 w 4519987"/>
                  <a:gd name="connsiteY74" fmla="*/ 4410075 h 4496940"/>
                  <a:gd name="connsiteX75" fmla="*/ 2697502 w 4519987"/>
                  <a:gd name="connsiteY75" fmla="*/ 4429125 h 4496940"/>
                  <a:gd name="connsiteX76" fmla="*/ 2640352 w 4519987"/>
                  <a:gd name="connsiteY76" fmla="*/ 4457700 h 4496940"/>
                  <a:gd name="connsiteX77" fmla="*/ 2583202 w 4519987"/>
                  <a:gd name="connsiteY77" fmla="*/ 4467225 h 4496940"/>
                  <a:gd name="connsiteX78" fmla="*/ 2545102 w 4519987"/>
                  <a:gd name="connsiteY78" fmla="*/ 4486275 h 4496940"/>
                  <a:gd name="connsiteX79" fmla="*/ 2306977 w 4519987"/>
                  <a:gd name="connsiteY79" fmla="*/ 4476750 h 4496940"/>
                  <a:gd name="connsiteX80" fmla="*/ 2202202 w 4519987"/>
                  <a:gd name="connsiteY80" fmla="*/ 4457700 h 4496940"/>
                  <a:gd name="connsiteX81" fmla="*/ 2126002 w 4519987"/>
                  <a:gd name="connsiteY81" fmla="*/ 4429125 h 4496940"/>
                  <a:gd name="connsiteX82" fmla="*/ 1935502 w 4519987"/>
                  <a:gd name="connsiteY82" fmla="*/ 4400550 h 4496940"/>
                  <a:gd name="connsiteX83" fmla="*/ 1821202 w 4519987"/>
                  <a:gd name="connsiteY83" fmla="*/ 4371975 h 4496940"/>
                  <a:gd name="connsiteX84" fmla="*/ 1754527 w 4519987"/>
                  <a:gd name="connsiteY84" fmla="*/ 4352925 h 4496940"/>
                  <a:gd name="connsiteX85" fmla="*/ 1687852 w 4519987"/>
                  <a:gd name="connsiteY85" fmla="*/ 4343400 h 4496940"/>
                  <a:gd name="connsiteX86" fmla="*/ 1573552 w 4519987"/>
                  <a:gd name="connsiteY86" fmla="*/ 4305300 h 4496940"/>
                  <a:gd name="connsiteX87" fmla="*/ 1402102 w 4519987"/>
                  <a:gd name="connsiteY87" fmla="*/ 4276725 h 4496940"/>
                  <a:gd name="connsiteX88" fmla="*/ 1287802 w 4519987"/>
                  <a:gd name="connsiteY88" fmla="*/ 4229100 h 4496940"/>
                  <a:gd name="connsiteX89" fmla="*/ 1221127 w 4519987"/>
                  <a:gd name="connsiteY89" fmla="*/ 4200525 h 4496940"/>
                  <a:gd name="connsiteX90" fmla="*/ 1144927 w 4519987"/>
                  <a:gd name="connsiteY90" fmla="*/ 4171950 h 4496940"/>
                  <a:gd name="connsiteX91" fmla="*/ 1087777 w 4519987"/>
                  <a:gd name="connsiteY91" fmla="*/ 4143375 h 4496940"/>
                  <a:gd name="connsiteX92" fmla="*/ 1030627 w 4519987"/>
                  <a:gd name="connsiteY92" fmla="*/ 4124325 h 4496940"/>
                  <a:gd name="connsiteX93" fmla="*/ 925852 w 4519987"/>
                  <a:gd name="connsiteY93" fmla="*/ 4067175 h 4496940"/>
                  <a:gd name="connsiteX94" fmla="*/ 830602 w 4519987"/>
                  <a:gd name="connsiteY94" fmla="*/ 3981450 h 4496940"/>
                  <a:gd name="connsiteX95" fmla="*/ 763927 w 4519987"/>
                  <a:gd name="connsiteY95" fmla="*/ 3914775 h 4496940"/>
                  <a:gd name="connsiteX96" fmla="*/ 725827 w 4519987"/>
                  <a:gd name="connsiteY96" fmla="*/ 3876675 h 4496940"/>
                  <a:gd name="connsiteX97" fmla="*/ 697252 w 4519987"/>
                  <a:gd name="connsiteY97" fmla="*/ 3838575 h 4496940"/>
                  <a:gd name="connsiteX98" fmla="*/ 640102 w 4519987"/>
                  <a:gd name="connsiteY98" fmla="*/ 3781425 h 4496940"/>
                  <a:gd name="connsiteX99" fmla="*/ 611527 w 4519987"/>
                  <a:gd name="connsiteY99" fmla="*/ 3733800 h 4496940"/>
                  <a:gd name="connsiteX100" fmla="*/ 554377 w 4519987"/>
                  <a:gd name="connsiteY100" fmla="*/ 3657600 h 4496940"/>
                  <a:gd name="connsiteX101" fmla="*/ 525802 w 4519987"/>
                  <a:gd name="connsiteY101" fmla="*/ 3609975 h 4496940"/>
                  <a:gd name="connsiteX102" fmla="*/ 497227 w 4519987"/>
                  <a:gd name="connsiteY102" fmla="*/ 3552825 h 4496940"/>
                  <a:gd name="connsiteX103" fmla="*/ 440077 w 4519987"/>
                  <a:gd name="connsiteY103" fmla="*/ 3495675 h 4496940"/>
                  <a:gd name="connsiteX104" fmla="*/ 411502 w 4519987"/>
                  <a:gd name="connsiteY104" fmla="*/ 3448050 h 4496940"/>
                  <a:gd name="connsiteX105" fmla="*/ 278152 w 4519987"/>
                  <a:gd name="connsiteY105" fmla="*/ 3257550 h 4496940"/>
                  <a:gd name="connsiteX106" fmla="*/ 249577 w 4519987"/>
                  <a:gd name="connsiteY106" fmla="*/ 3200400 h 4496940"/>
                  <a:gd name="connsiteX107" fmla="*/ 240052 w 4519987"/>
                  <a:gd name="connsiteY107" fmla="*/ 3162300 h 4496940"/>
                  <a:gd name="connsiteX108" fmla="*/ 221002 w 4519987"/>
                  <a:gd name="connsiteY108" fmla="*/ 3105150 h 4496940"/>
                  <a:gd name="connsiteX109" fmla="*/ 173377 w 4519987"/>
                  <a:gd name="connsiteY109" fmla="*/ 3019425 h 4496940"/>
                  <a:gd name="connsiteX110" fmla="*/ 144802 w 4519987"/>
                  <a:gd name="connsiteY110" fmla="*/ 2924175 h 4496940"/>
                  <a:gd name="connsiteX111" fmla="*/ 68602 w 4519987"/>
                  <a:gd name="connsiteY111" fmla="*/ 2724150 h 4496940"/>
                  <a:gd name="connsiteX112" fmla="*/ 49552 w 4519987"/>
                  <a:gd name="connsiteY112" fmla="*/ 2638425 h 4496940"/>
                  <a:gd name="connsiteX113" fmla="*/ 40027 w 4519987"/>
                  <a:gd name="connsiteY113" fmla="*/ 2562225 h 4496940"/>
                  <a:gd name="connsiteX114" fmla="*/ 30502 w 4519987"/>
                  <a:gd name="connsiteY114" fmla="*/ 2514600 h 4496940"/>
                  <a:gd name="connsiteX115" fmla="*/ 11452 w 4519987"/>
                  <a:gd name="connsiteY115" fmla="*/ 2400300 h 4496940"/>
                  <a:gd name="connsiteX116" fmla="*/ 20977 w 4519987"/>
                  <a:gd name="connsiteY116" fmla="*/ 1905000 h 4496940"/>
                  <a:gd name="connsiteX117" fmla="*/ 30502 w 4519987"/>
                  <a:gd name="connsiteY117" fmla="*/ 1838325 h 4496940"/>
                  <a:gd name="connsiteX118" fmla="*/ 49552 w 4519987"/>
                  <a:gd name="connsiteY118" fmla="*/ 1781175 h 4496940"/>
                  <a:gd name="connsiteX119" fmla="*/ 59077 w 4519987"/>
                  <a:gd name="connsiteY119" fmla="*/ 1743075 h 4496940"/>
                  <a:gd name="connsiteX120" fmla="*/ 78127 w 4519987"/>
                  <a:gd name="connsiteY120" fmla="*/ 1685925 h 4496940"/>
                  <a:gd name="connsiteX121" fmla="*/ 87652 w 4519987"/>
                  <a:gd name="connsiteY121" fmla="*/ 1638300 h 4496940"/>
                  <a:gd name="connsiteX122" fmla="*/ 106702 w 4519987"/>
                  <a:gd name="connsiteY122" fmla="*/ 1590675 h 4496940"/>
                  <a:gd name="connsiteX123" fmla="*/ 135277 w 4519987"/>
                  <a:gd name="connsiteY123" fmla="*/ 1504950 h 4496940"/>
                  <a:gd name="connsiteX124" fmla="*/ 154327 w 4519987"/>
                  <a:gd name="connsiteY124" fmla="*/ 1419225 h 4496940"/>
                  <a:gd name="connsiteX125" fmla="*/ 230527 w 4519987"/>
                  <a:gd name="connsiteY125" fmla="*/ 1276350 h 4496940"/>
                  <a:gd name="connsiteX126" fmla="*/ 240052 w 4519987"/>
                  <a:gd name="connsiteY126" fmla="*/ 1247775 h 4496940"/>
                  <a:gd name="connsiteX127" fmla="*/ 268627 w 4519987"/>
                  <a:gd name="connsiteY127" fmla="*/ 1200150 h 4496940"/>
                  <a:gd name="connsiteX128" fmla="*/ 287677 w 4519987"/>
                  <a:gd name="connsiteY128" fmla="*/ 1152525 h 4496940"/>
                  <a:gd name="connsiteX129" fmla="*/ 316252 w 4519987"/>
                  <a:gd name="connsiteY129" fmla="*/ 1114425 h 4496940"/>
                  <a:gd name="connsiteX130" fmla="*/ 363877 w 4519987"/>
                  <a:gd name="connsiteY130" fmla="*/ 1038225 h 4496940"/>
                  <a:gd name="connsiteX131" fmla="*/ 382927 w 4519987"/>
                  <a:gd name="connsiteY131" fmla="*/ 1009650 h 4496940"/>
                  <a:gd name="connsiteX132" fmla="*/ 440077 w 4519987"/>
                  <a:gd name="connsiteY132" fmla="*/ 904875 h 4496940"/>
                  <a:gd name="connsiteX133" fmla="*/ 478177 w 4519987"/>
                  <a:gd name="connsiteY133" fmla="*/ 857250 h 4496940"/>
                  <a:gd name="connsiteX134" fmla="*/ 497227 w 4519987"/>
                  <a:gd name="connsiteY134" fmla="*/ 828675 h 4496940"/>
                  <a:gd name="connsiteX135" fmla="*/ 535327 w 4519987"/>
                  <a:gd name="connsiteY135" fmla="*/ 800100 h 4496940"/>
                  <a:gd name="connsiteX136" fmla="*/ 602002 w 4519987"/>
                  <a:gd name="connsiteY136" fmla="*/ 733425 h 4496940"/>
                  <a:gd name="connsiteX137" fmla="*/ 668677 w 4519987"/>
                  <a:gd name="connsiteY137" fmla="*/ 676275 h 4496940"/>
                  <a:gd name="connsiteX138" fmla="*/ 697252 w 4519987"/>
                  <a:gd name="connsiteY138" fmla="*/ 657225 h 4496940"/>
                  <a:gd name="connsiteX139" fmla="*/ 840127 w 4519987"/>
                  <a:gd name="connsiteY139" fmla="*/ 533400 h 4496940"/>
                  <a:gd name="connsiteX140" fmla="*/ 887752 w 4519987"/>
                  <a:gd name="connsiteY140" fmla="*/ 504825 h 4496940"/>
                  <a:gd name="connsiteX141" fmla="*/ 1167152 w 4519987"/>
                  <a:gd name="connsiteY141" fmla="*/ 311150 h 4496940"/>
                  <a:gd name="connsiteX142" fmla="*/ 1268752 w 4519987"/>
                  <a:gd name="connsiteY142" fmla="*/ 285750 h 4496940"/>
                  <a:gd name="connsiteX143" fmla="*/ 1411627 w 4519987"/>
                  <a:gd name="connsiteY143" fmla="*/ 190500 h 4496940"/>
                  <a:gd name="connsiteX144" fmla="*/ 1449727 w 4519987"/>
                  <a:gd name="connsiteY144" fmla="*/ 161925 h 4496940"/>
                  <a:gd name="connsiteX145" fmla="*/ 1525927 w 4519987"/>
                  <a:gd name="connsiteY145" fmla="*/ 152400 h 4496940"/>
                  <a:gd name="connsiteX146" fmla="*/ 1583077 w 4519987"/>
                  <a:gd name="connsiteY146" fmla="*/ 142875 h 4496940"/>
                  <a:gd name="connsiteX147" fmla="*/ 1716427 w 4519987"/>
                  <a:gd name="connsiteY147" fmla="*/ 123825 h 4496940"/>
                  <a:gd name="connsiteX148" fmla="*/ 1811677 w 4519987"/>
                  <a:gd name="connsiteY148" fmla="*/ 114300 h 4496940"/>
                  <a:gd name="connsiteX149" fmla="*/ 1859302 w 4519987"/>
                  <a:gd name="connsiteY149" fmla="*/ 104775 h 4496940"/>
                  <a:gd name="connsiteX150" fmla="*/ 1916452 w 4519987"/>
                  <a:gd name="connsiteY150" fmla="*/ 95250 h 4496940"/>
                  <a:gd name="connsiteX151" fmla="*/ 2030752 w 4519987"/>
                  <a:gd name="connsiteY151" fmla="*/ 66675 h 4496940"/>
                  <a:gd name="connsiteX152" fmla="*/ 2097427 w 4519987"/>
                  <a:gd name="connsiteY152" fmla="*/ 47625 h 4496940"/>
                  <a:gd name="connsiteX153" fmla="*/ 2164102 w 4519987"/>
                  <a:gd name="connsiteY153" fmla="*/ 38100 h 4496940"/>
                  <a:gd name="connsiteX154" fmla="*/ 2392702 w 4519987"/>
                  <a:gd name="connsiteY15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907177 w 4519987"/>
                  <a:gd name="connsiteY24" fmla="*/ 647700 h 4496940"/>
                  <a:gd name="connsiteX25" fmla="*/ 3935752 w 4519987"/>
                  <a:gd name="connsiteY25" fmla="*/ 676275 h 4496940"/>
                  <a:gd name="connsiteX26" fmla="*/ 4078627 w 4519987"/>
                  <a:gd name="connsiteY26" fmla="*/ 838200 h 4496940"/>
                  <a:gd name="connsiteX27" fmla="*/ 4135777 w 4519987"/>
                  <a:gd name="connsiteY27" fmla="*/ 933450 h 4496940"/>
                  <a:gd name="connsiteX28" fmla="*/ 4164352 w 4519987"/>
                  <a:gd name="connsiteY28" fmla="*/ 990600 h 4496940"/>
                  <a:gd name="connsiteX29" fmla="*/ 4173877 w 4519987"/>
                  <a:gd name="connsiteY29" fmla="*/ 1019175 h 4496940"/>
                  <a:gd name="connsiteX30" fmla="*/ 4192927 w 4519987"/>
                  <a:gd name="connsiteY30" fmla="*/ 1057275 h 4496940"/>
                  <a:gd name="connsiteX31" fmla="*/ 4202452 w 4519987"/>
                  <a:gd name="connsiteY31" fmla="*/ 1085850 h 4496940"/>
                  <a:gd name="connsiteX32" fmla="*/ 4250077 w 4519987"/>
                  <a:gd name="connsiteY32" fmla="*/ 1143000 h 4496940"/>
                  <a:gd name="connsiteX33" fmla="*/ 4259602 w 4519987"/>
                  <a:gd name="connsiteY33" fmla="*/ 1190625 h 4496940"/>
                  <a:gd name="connsiteX34" fmla="*/ 4307227 w 4519987"/>
                  <a:gd name="connsiteY34" fmla="*/ 1266825 h 4496940"/>
                  <a:gd name="connsiteX35" fmla="*/ 4345327 w 4519987"/>
                  <a:gd name="connsiteY35" fmla="*/ 1362075 h 4496940"/>
                  <a:gd name="connsiteX36" fmla="*/ 4373902 w 4519987"/>
                  <a:gd name="connsiteY36" fmla="*/ 1428750 h 4496940"/>
                  <a:gd name="connsiteX37" fmla="*/ 4392952 w 4519987"/>
                  <a:gd name="connsiteY37" fmla="*/ 1552575 h 4496940"/>
                  <a:gd name="connsiteX38" fmla="*/ 4402477 w 4519987"/>
                  <a:gd name="connsiteY38" fmla="*/ 1590675 h 4496940"/>
                  <a:gd name="connsiteX39" fmla="*/ 4431052 w 4519987"/>
                  <a:gd name="connsiteY39" fmla="*/ 1685925 h 4496940"/>
                  <a:gd name="connsiteX40" fmla="*/ 4519952 w 4519987"/>
                  <a:gd name="connsiteY40" fmla="*/ 2181225 h 4496940"/>
                  <a:gd name="connsiteX41" fmla="*/ 4446927 w 4519987"/>
                  <a:gd name="connsiteY41" fmla="*/ 2768600 h 4496940"/>
                  <a:gd name="connsiteX42" fmla="*/ 4383427 w 4519987"/>
                  <a:gd name="connsiteY42" fmla="*/ 2990850 h 4496940"/>
                  <a:gd name="connsiteX43" fmla="*/ 4278652 w 4519987"/>
                  <a:gd name="connsiteY43" fmla="*/ 3248025 h 4496940"/>
                  <a:gd name="connsiteX44" fmla="*/ 4259602 w 4519987"/>
                  <a:gd name="connsiteY44" fmla="*/ 3276600 h 4496940"/>
                  <a:gd name="connsiteX45" fmla="*/ 4221502 w 4519987"/>
                  <a:gd name="connsiteY45" fmla="*/ 3333750 h 4496940"/>
                  <a:gd name="connsiteX46" fmla="*/ 4211977 w 4519987"/>
                  <a:gd name="connsiteY46" fmla="*/ 3362325 h 4496940"/>
                  <a:gd name="connsiteX47" fmla="*/ 4183402 w 4519987"/>
                  <a:gd name="connsiteY47" fmla="*/ 3400425 h 4496940"/>
                  <a:gd name="connsiteX48" fmla="*/ 4164352 w 4519987"/>
                  <a:gd name="connsiteY48" fmla="*/ 3429000 h 4496940"/>
                  <a:gd name="connsiteX49" fmla="*/ 4088152 w 4519987"/>
                  <a:gd name="connsiteY49" fmla="*/ 3495675 h 4496940"/>
                  <a:gd name="connsiteX50" fmla="*/ 4059577 w 4519987"/>
                  <a:gd name="connsiteY50" fmla="*/ 3533775 h 4496940"/>
                  <a:gd name="connsiteX51" fmla="*/ 4002427 w 4519987"/>
                  <a:gd name="connsiteY51" fmla="*/ 3600450 h 4496940"/>
                  <a:gd name="connsiteX52" fmla="*/ 3983377 w 4519987"/>
                  <a:gd name="connsiteY52" fmla="*/ 3629025 h 4496940"/>
                  <a:gd name="connsiteX53" fmla="*/ 3954802 w 4519987"/>
                  <a:gd name="connsiteY53" fmla="*/ 3648075 h 4496940"/>
                  <a:gd name="connsiteX54" fmla="*/ 3907177 w 4519987"/>
                  <a:gd name="connsiteY54" fmla="*/ 3686175 h 4496940"/>
                  <a:gd name="connsiteX55" fmla="*/ 3869077 w 4519987"/>
                  <a:gd name="connsiteY55" fmla="*/ 3724275 h 4496940"/>
                  <a:gd name="connsiteX56" fmla="*/ 3792877 w 4519987"/>
                  <a:gd name="connsiteY56" fmla="*/ 3781425 h 4496940"/>
                  <a:gd name="connsiteX57" fmla="*/ 3783352 w 4519987"/>
                  <a:gd name="connsiteY57" fmla="*/ 3810000 h 4496940"/>
                  <a:gd name="connsiteX58" fmla="*/ 3745252 w 4519987"/>
                  <a:gd name="connsiteY58" fmla="*/ 3819525 h 4496940"/>
                  <a:gd name="connsiteX59" fmla="*/ 3678577 w 4519987"/>
                  <a:gd name="connsiteY59" fmla="*/ 3848100 h 4496940"/>
                  <a:gd name="connsiteX60" fmla="*/ 3659527 w 4519987"/>
                  <a:gd name="connsiteY60" fmla="*/ 3971925 h 4496940"/>
                  <a:gd name="connsiteX61" fmla="*/ 3630952 w 4519987"/>
                  <a:gd name="connsiteY61" fmla="*/ 4010025 h 4496940"/>
                  <a:gd name="connsiteX62" fmla="*/ 3621427 w 4519987"/>
                  <a:gd name="connsiteY62" fmla="*/ 4038600 h 4496940"/>
                  <a:gd name="connsiteX63" fmla="*/ 3554752 w 4519987"/>
                  <a:gd name="connsiteY63" fmla="*/ 4095750 h 4496940"/>
                  <a:gd name="connsiteX64" fmla="*/ 3516652 w 4519987"/>
                  <a:gd name="connsiteY64" fmla="*/ 4114800 h 4496940"/>
                  <a:gd name="connsiteX65" fmla="*/ 3497602 w 4519987"/>
                  <a:gd name="connsiteY65" fmla="*/ 4143375 h 4496940"/>
                  <a:gd name="connsiteX66" fmla="*/ 3383302 w 4519987"/>
                  <a:gd name="connsiteY66" fmla="*/ 4210050 h 4496940"/>
                  <a:gd name="connsiteX67" fmla="*/ 3335677 w 4519987"/>
                  <a:gd name="connsiteY67" fmla="*/ 4238625 h 4496940"/>
                  <a:gd name="connsiteX68" fmla="*/ 3288052 w 4519987"/>
                  <a:gd name="connsiteY68" fmla="*/ 4248150 h 4496940"/>
                  <a:gd name="connsiteX69" fmla="*/ 3240427 w 4519987"/>
                  <a:gd name="connsiteY69" fmla="*/ 4267200 h 4496940"/>
                  <a:gd name="connsiteX70" fmla="*/ 3068977 w 4519987"/>
                  <a:gd name="connsiteY70" fmla="*/ 4286250 h 4496940"/>
                  <a:gd name="connsiteX71" fmla="*/ 2935627 w 4519987"/>
                  <a:gd name="connsiteY71" fmla="*/ 4333875 h 4496940"/>
                  <a:gd name="connsiteX72" fmla="*/ 2811802 w 4519987"/>
                  <a:gd name="connsiteY72" fmla="*/ 4371975 h 4496940"/>
                  <a:gd name="connsiteX73" fmla="*/ 2745127 w 4519987"/>
                  <a:gd name="connsiteY73" fmla="*/ 4410075 h 4496940"/>
                  <a:gd name="connsiteX74" fmla="*/ 2697502 w 4519987"/>
                  <a:gd name="connsiteY74" fmla="*/ 4429125 h 4496940"/>
                  <a:gd name="connsiteX75" fmla="*/ 2640352 w 4519987"/>
                  <a:gd name="connsiteY75" fmla="*/ 4457700 h 4496940"/>
                  <a:gd name="connsiteX76" fmla="*/ 2583202 w 4519987"/>
                  <a:gd name="connsiteY76" fmla="*/ 4467225 h 4496940"/>
                  <a:gd name="connsiteX77" fmla="*/ 2545102 w 4519987"/>
                  <a:gd name="connsiteY77" fmla="*/ 4486275 h 4496940"/>
                  <a:gd name="connsiteX78" fmla="*/ 2306977 w 4519987"/>
                  <a:gd name="connsiteY78" fmla="*/ 4476750 h 4496940"/>
                  <a:gd name="connsiteX79" fmla="*/ 2202202 w 4519987"/>
                  <a:gd name="connsiteY79" fmla="*/ 4457700 h 4496940"/>
                  <a:gd name="connsiteX80" fmla="*/ 2126002 w 4519987"/>
                  <a:gd name="connsiteY80" fmla="*/ 4429125 h 4496940"/>
                  <a:gd name="connsiteX81" fmla="*/ 1935502 w 4519987"/>
                  <a:gd name="connsiteY81" fmla="*/ 4400550 h 4496940"/>
                  <a:gd name="connsiteX82" fmla="*/ 1821202 w 4519987"/>
                  <a:gd name="connsiteY82" fmla="*/ 4371975 h 4496940"/>
                  <a:gd name="connsiteX83" fmla="*/ 1754527 w 4519987"/>
                  <a:gd name="connsiteY83" fmla="*/ 4352925 h 4496940"/>
                  <a:gd name="connsiteX84" fmla="*/ 1687852 w 4519987"/>
                  <a:gd name="connsiteY84" fmla="*/ 4343400 h 4496940"/>
                  <a:gd name="connsiteX85" fmla="*/ 1573552 w 4519987"/>
                  <a:gd name="connsiteY85" fmla="*/ 4305300 h 4496940"/>
                  <a:gd name="connsiteX86" fmla="*/ 1402102 w 4519987"/>
                  <a:gd name="connsiteY86" fmla="*/ 4276725 h 4496940"/>
                  <a:gd name="connsiteX87" fmla="*/ 1287802 w 4519987"/>
                  <a:gd name="connsiteY87" fmla="*/ 4229100 h 4496940"/>
                  <a:gd name="connsiteX88" fmla="*/ 1221127 w 4519987"/>
                  <a:gd name="connsiteY88" fmla="*/ 4200525 h 4496940"/>
                  <a:gd name="connsiteX89" fmla="*/ 1144927 w 4519987"/>
                  <a:gd name="connsiteY89" fmla="*/ 4171950 h 4496940"/>
                  <a:gd name="connsiteX90" fmla="*/ 1087777 w 4519987"/>
                  <a:gd name="connsiteY90" fmla="*/ 4143375 h 4496940"/>
                  <a:gd name="connsiteX91" fmla="*/ 1030627 w 4519987"/>
                  <a:gd name="connsiteY91" fmla="*/ 4124325 h 4496940"/>
                  <a:gd name="connsiteX92" fmla="*/ 925852 w 4519987"/>
                  <a:gd name="connsiteY92" fmla="*/ 4067175 h 4496940"/>
                  <a:gd name="connsiteX93" fmla="*/ 830602 w 4519987"/>
                  <a:gd name="connsiteY93" fmla="*/ 3981450 h 4496940"/>
                  <a:gd name="connsiteX94" fmla="*/ 763927 w 4519987"/>
                  <a:gd name="connsiteY94" fmla="*/ 3914775 h 4496940"/>
                  <a:gd name="connsiteX95" fmla="*/ 725827 w 4519987"/>
                  <a:gd name="connsiteY95" fmla="*/ 3876675 h 4496940"/>
                  <a:gd name="connsiteX96" fmla="*/ 697252 w 4519987"/>
                  <a:gd name="connsiteY96" fmla="*/ 3838575 h 4496940"/>
                  <a:gd name="connsiteX97" fmla="*/ 640102 w 4519987"/>
                  <a:gd name="connsiteY97" fmla="*/ 3781425 h 4496940"/>
                  <a:gd name="connsiteX98" fmla="*/ 611527 w 4519987"/>
                  <a:gd name="connsiteY98" fmla="*/ 3733800 h 4496940"/>
                  <a:gd name="connsiteX99" fmla="*/ 554377 w 4519987"/>
                  <a:gd name="connsiteY99" fmla="*/ 3657600 h 4496940"/>
                  <a:gd name="connsiteX100" fmla="*/ 525802 w 4519987"/>
                  <a:gd name="connsiteY100" fmla="*/ 3609975 h 4496940"/>
                  <a:gd name="connsiteX101" fmla="*/ 497227 w 4519987"/>
                  <a:gd name="connsiteY101" fmla="*/ 3552825 h 4496940"/>
                  <a:gd name="connsiteX102" fmla="*/ 440077 w 4519987"/>
                  <a:gd name="connsiteY102" fmla="*/ 3495675 h 4496940"/>
                  <a:gd name="connsiteX103" fmla="*/ 411502 w 4519987"/>
                  <a:gd name="connsiteY103" fmla="*/ 3448050 h 4496940"/>
                  <a:gd name="connsiteX104" fmla="*/ 278152 w 4519987"/>
                  <a:gd name="connsiteY104" fmla="*/ 3257550 h 4496940"/>
                  <a:gd name="connsiteX105" fmla="*/ 249577 w 4519987"/>
                  <a:gd name="connsiteY105" fmla="*/ 3200400 h 4496940"/>
                  <a:gd name="connsiteX106" fmla="*/ 240052 w 4519987"/>
                  <a:gd name="connsiteY106" fmla="*/ 3162300 h 4496940"/>
                  <a:gd name="connsiteX107" fmla="*/ 221002 w 4519987"/>
                  <a:gd name="connsiteY107" fmla="*/ 3105150 h 4496940"/>
                  <a:gd name="connsiteX108" fmla="*/ 173377 w 4519987"/>
                  <a:gd name="connsiteY108" fmla="*/ 3019425 h 4496940"/>
                  <a:gd name="connsiteX109" fmla="*/ 144802 w 4519987"/>
                  <a:gd name="connsiteY109" fmla="*/ 2924175 h 4496940"/>
                  <a:gd name="connsiteX110" fmla="*/ 68602 w 4519987"/>
                  <a:gd name="connsiteY110" fmla="*/ 2724150 h 4496940"/>
                  <a:gd name="connsiteX111" fmla="*/ 49552 w 4519987"/>
                  <a:gd name="connsiteY111" fmla="*/ 2638425 h 4496940"/>
                  <a:gd name="connsiteX112" fmla="*/ 40027 w 4519987"/>
                  <a:gd name="connsiteY112" fmla="*/ 2562225 h 4496940"/>
                  <a:gd name="connsiteX113" fmla="*/ 30502 w 4519987"/>
                  <a:gd name="connsiteY113" fmla="*/ 2514600 h 4496940"/>
                  <a:gd name="connsiteX114" fmla="*/ 11452 w 4519987"/>
                  <a:gd name="connsiteY114" fmla="*/ 2400300 h 4496940"/>
                  <a:gd name="connsiteX115" fmla="*/ 20977 w 4519987"/>
                  <a:gd name="connsiteY115" fmla="*/ 1905000 h 4496940"/>
                  <a:gd name="connsiteX116" fmla="*/ 30502 w 4519987"/>
                  <a:gd name="connsiteY116" fmla="*/ 1838325 h 4496940"/>
                  <a:gd name="connsiteX117" fmla="*/ 49552 w 4519987"/>
                  <a:gd name="connsiteY117" fmla="*/ 1781175 h 4496940"/>
                  <a:gd name="connsiteX118" fmla="*/ 59077 w 4519987"/>
                  <a:gd name="connsiteY118" fmla="*/ 1743075 h 4496940"/>
                  <a:gd name="connsiteX119" fmla="*/ 78127 w 4519987"/>
                  <a:gd name="connsiteY119" fmla="*/ 1685925 h 4496940"/>
                  <a:gd name="connsiteX120" fmla="*/ 87652 w 4519987"/>
                  <a:gd name="connsiteY120" fmla="*/ 1638300 h 4496940"/>
                  <a:gd name="connsiteX121" fmla="*/ 106702 w 4519987"/>
                  <a:gd name="connsiteY121" fmla="*/ 1590675 h 4496940"/>
                  <a:gd name="connsiteX122" fmla="*/ 135277 w 4519987"/>
                  <a:gd name="connsiteY122" fmla="*/ 1504950 h 4496940"/>
                  <a:gd name="connsiteX123" fmla="*/ 154327 w 4519987"/>
                  <a:gd name="connsiteY123" fmla="*/ 1419225 h 4496940"/>
                  <a:gd name="connsiteX124" fmla="*/ 230527 w 4519987"/>
                  <a:gd name="connsiteY124" fmla="*/ 1276350 h 4496940"/>
                  <a:gd name="connsiteX125" fmla="*/ 240052 w 4519987"/>
                  <a:gd name="connsiteY125" fmla="*/ 1247775 h 4496940"/>
                  <a:gd name="connsiteX126" fmla="*/ 268627 w 4519987"/>
                  <a:gd name="connsiteY126" fmla="*/ 1200150 h 4496940"/>
                  <a:gd name="connsiteX127" fmla="*/ 287677 w 4519987"/>
                  <a:gd name="connsiteY127" fmla="*/ 1152525 h 4496940"/>
                  <a:gd name="connsiteX128" fmla="*/ 316252 w 4519987"/>
                  <a:gd name="connsiteY128" fmla="*/ 1114425 h 4496940"/>
                  <a:gd name="connsiteX129" fmla="*/ 363877 w 4519987"/>
                  <a:gd name="connsiteY129" fmla="*/ 1038225 h 4496940"/>
                  <a:gd name="connsiteX130" fmla="*/ 382927 w 4519987"/>
                  <a:gd name="connsiteY130" fmla="*/ 1009650 h 4496940"/>
                  <a:gd name="connsiteX131" fmla="*/ 440077 w 4519987"/>
                  <a:gd name="connsiteY131" fmla="*/ 904875 h 4496940"/>
                  <a:gd name="connsiteX132" fmla="*/ 478177 w 4519987"/>
                  <a:gd name="connsiteY132" fmla="*/ 857250 h 4496940"/>
                  <a:gd name="connsiteX133" fmla="*/ 497227 w 4519987"/>
                  <a:gd name="connsiteY133" fmla="*/ 828675 h 4496940"/>
                  <a:gd name="connsiteX134" fmla="*/ 535327 w 4519987"/>
                  <a:gd name="connsiteY134" fmla="*/ 800100 h 4496940"/>
                  <a:gd name="connsiteX135" fmla="*/ 602002 w 4519987"/>
                  <a:gd name="connsiteY135" fmla="*/ 733425 h 4496940"/>
                  <a:gd name="connsiteX136" fmla="*/ 668677 w 4519987"/>
                  <a:gd name="connsiteY136" fmla="*/ 676275 h 4496940"/>
                  <a:gd name="connsiteX137" fmla="*/ 697252 w 4519987"/>
                  <a:gd name="connsiteY137" fmla="*/ 657225 h 4496940"/>
                  <a:gd name="connsiteX138" fmla="*/ 840127 w 4519987"/>
                  <a:gd name="connsiteY138" fmla="*/ 533400 h 4496940"/>
                  <a:gd name="connsiteX139" fmla="*/ 887752 w 4519987"/>
                  <a:gd name="connsiteY139" fmla="*/ 504825 h 4496940"/>
                  <a:gd name="connsiteX140" fmla="*/ 1167152 w 4519987"/>
                  <a:gd name="connsiteY140" fmla="*/ 311150 h 4496940"/>
                  <a:gd name="connsiteX141" fmla="*/ 1268752 w 4519987"/>
                  <a:gd name="connsiteY141" fmla="*/ 285750 h 4496940"/>
                  <a:gd name="connsiteX142" fmla="*/ 1411627 w 4519987"/>
                  <a:gd name="connsiteY142" fmla="*/ 190500 h 4496940"/>
                  <a:gd name="connsiteX143" fmla="*/ 1449727 w 4519987"/>
                  <a:gd name="connsiteY143" fmla="*/ 161925 h 4496940"/>
                  <a:gd name="connsiteX144" fmla="*/ 1525927 w 4519987"/>
                  <a:gd name="connsiteY144" fmla="*/ 152400 h 4496940"/>
                  <a:gd name="connsiteX145" fmla="*/ 1583077 w 4519987"/>
                  <a:gd name="connsiteY145" fmla="*/ 142875 h 4496940"/>
                  <a:gd name="connsiteX146" fmla="*/ 1716427 w 4519987"/>
                  <a:gd name="connsiteY146" fmla="*/ 123825 h 4496940"/>
                  <a:gd name="connsiteX147" fmla="*/ 1811677 w 4519987"/>
                  <a:gd name="connsiteY147" fmla="*/ 114300 h 4496940"/>
                  <a:gd name="connsiteX148" fmla="*/ 1859302 w 4519987"/>
                  <a:gd name="connsiteY148" fmla="*/ 104775 h 4496940"/>
                  <a:gd name="connsiteX149" fmla="*/ 1916452 w 4519987"/>
                  <a:gd name="connsiteY149" fmla="*/ 95250 h 4496940"/>
                  <a:gd name="connsiteX150" fmla="*/ 2030752 w 4519987"/>
                  <a:gd name="connsiteY150" fmla="*/ 66675 h 4496940"/>
                  <a:gd name="connsiteX151" fmla="*/ 2097427 w 4519987"/>
                  <a:gd name="connsiteY151" fmla="*/ 47625 h 4496940"/>
                  <a:gd name="connsiteX152" fmla="*/ 2164102 w 4519987"/>
                  <a:gd name="connsiteY152" fmla="*/ 38100 h 4496940"/>
                  <a:gd name="connsiteX153" fmla="*/ 2392702 w 4519987"/>
                  <a:gd name="connsiteY15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02377 w 4519987"/>
                  <a:gd name="connsiteY18" fmla="*/ 457200 h 4496940"/>
                  <a:gd name="connsiteX19" fmla="*/ 3630952 w 4519987"/>
                  <a:gd name="connsiteY19" fmla="*/ 485775 h 4496940"/>
                  <a:gd name="connsiteX20" fmla="*/ 3678577 w 4519987"/>
                  <a:gd name="connsiteY20" fmla="*/ 504825 h 4496940"/>
                  <a:gd name="connsiteX21" fmla="*/ 3745252 w 4519987"/>
                  <a:gd name="connsiteY21" fmla="*/ 542925 h 4496940"/>
                  <a:gd name="connsiteX22" fmla="*/ 3811927 w 4519987"/>
                  <a:gd name="connsiteY22" fmla="*/ 581025 h 4496940"/>
                  <a:gd name="connsiteX23" fmla="*/ 3907177 w 4519987"/>
                  <a:gd name="connsiteY23" fmla="*/ 647700 h 4496940"/>
                  <a:gd name="connsiteX24" fmla="*/ 3935752 w 4519987"/>
                  <a:gd name="connsiteY24" fmla="*/ 676275 h 4496940"/>
                  <a:gd name="connsiteX25" fmla="*/ 4078627 w 4519987"/>
                  <a:gd name="connsiteY25" fmla="*/ 838200 h 4496940"/>
                  <a:gd name="connsiteX26" fmla="*/ 4135777 w 4519987"/>
                  <a:gd name="connsiteY26" fmla="*/ 933450 h 4496940"/>
                  <a:gd name="connsiteX27" fmla="*/ 4164352 w 4519987"/>
                  <a:gd name="connsiteY27" fmla="*/ 990600 h 4496940"/>
                  <a:gd name="connsiteX28" fmla="*/ 4173877 w 4519987"/>
                  <a:gd name="connsiteY28" fmla="*/ 1019175 h 4496940"/>
                  <a:gd name="connsiteX29" fmla="*/ 4192927 w 4519987"/>
                  <a:gd name="connsiteY29" fmla="*/ 1057275 h 4496940"/>
                  <a:gd name="connsiteX30" fmla="*/ 4202452 w 4519987"/>
                  <a:gd name="connsiteY30" fmla="*/ 1085850 h 4496940"/>
                  <a:gd name="connsiteX31" fmla="*/ 4250077 w 4519987"/>
                  <a:gd name="connsiteY31" fmla="*/ 1143000 h 4496940"/>
                  <a:gd name="connsiteX32" fmla="*/ 4259602 w 4519987"/>
                  <a:gd name="connsiteY32" fmla="*/ 1190625 h 4496940"/>
                  <a:gd name="connsiteX33" fmla="*/ 4307227 w 4519987"/>
                  <a:gd name="connsiteY33" fmla="*/ 1266825 h 4496940"/>
                  <a:gd name="connsiteX34" fmla="*/ 4345327 w 4519987"/>
                  <a:gd name="connsiteY34" fmla="*/ 1362075 h 4496940"/>
                  <a:gd name="connsiteX35" fmla="*/ 4373902 w 4519987"/>
                  <a:gd name="connsiteY35" fmla="*/ 1428750 h 4496940"/>
                  <a:gd name="connsiteX36" fmla="*/ 4392952 w 4519987"/>
                  <a:gd name="connsiteY36" fmla="*/ 1552575 h 4496940"/>
                  <a:gd name="connsiteX37" fmla="*/ 4402477 w 4519987"/>
                  <a:gd name="connsiteY37" fmla="*/ 1590675 h 4496940"/>
                  <a:gd name="connsiteX38" fmla="*/ 4431052 w 4519987"/>
                  <a:gd name="connsiteY38" fmla="*/ 1685925 h 4496940"/>
                  <a:gd name="connsiteX39" fmla="*/ 4519952 w 4519987"/>
                  <a:gd name="connsiteY39" fmla="*/ 2181225 h 4496940"/>
                  <a:gd name="connsiteX40" fmla="*/ 4446927 w 4519987"/>
                  <a:gd name="connsiteY40" fmla="*/ 2768600 h 4496940"/>
                  <a:gd name="connsiteX41" fmla="*/ 4383427 w 4519987"/>
                  <a:gd name="connsiteY41" fmla="*/ 2990850 h 4496940"/>
                  <a:gd name="connsiteX42" fmla="*/ 4278652 w 4519987"/>
                  <a:gd name="connsiteY42" fmla="*/ 3248025 h 4496940"/>
                  <a:gd name="connsiteX43" fmla="*/ 4259602 w 4519987"/>
                  <a:gd name="connsiteY43" fmla="*/ 3276600 h 4496940"/>
                  <a:gd name="connsiteX44" fmla="*/ 4221502 w 4519987"/>
                  <a:gd name="connsiteY44" fmla="*/ 3333750 h 4496940"/>
                  <a:gd name="connsiteX45" fmla="*/ 4211977 w 4519987"/>
                  <a:gd name="connsiteY45" fmla="*/ 3362325 h 4496940"/>
                  <a:gd name="connsiteX46" fmla="*/ 4183402 w 4519987"/>
                  <a:gd name="connsiteY46" fmla="*/ 3400425 h 4496940"/>
                  <a:gd name="connsiteX47" fmla="*/ 4164352 w 4519987"/>
                  <a:gd name="connsiteY47" fmla="*/ 3429000 h 4496940"/>
                  <a:gd name="connsiteX48" fmla="*/ 4088152 w 4519987"/>
                  <a:gd name="connsiteY48" fmla="*/ 3495675 h 4496940"/>
                  <a:gd name="connsiteX49" fmla="*/ 4059577 w 4519987"/>
                  <a:gd name="connsiteY49" fmla="*/ 3533775 h 4496940"/>
                  <a:gd name="connsiteX50" fmla="*/ 4002427 w 4519987"/>
                  <a:gd name="connsiteY50" fmla="*/ 3600450 h 4496940"/>
                  <a:gd name="connsiteX51" fmla="*/ 3983377 w 4519987"/>
                  <a:gd name="connsiteY51" fmla="*/ 3629025 h 4496940"/>
                  <a:gd name="connsiteX52" fmla="*/ 3954802 w 4519987"/>
                  <a:gd name="connsiteY52" fmla="*/ 3648075 h 4496940"/>
                  <a:gd name="connsiteX53" fmla="*/ 3907177 w 4519987"/>
                  <a:gd name="connsiteY53" fmla="*/ 3686175 h 4496940"/>
                  <a:gd name="connsiteX54" fmla="*/ 3869077 w 4519987"/>
                  <a:gd name="connsiteY54" fmla="*/ 3724275 h 4496940"/>
                  <a:gd name="connsiteX55" fmla="*/ 3792877 w 4519987"/>
                  <a:gd name="connsiteY55" fmla="*/ 3781425 h 4496940"/>
                  <a:gd name="connsiteX56" fmla="*/ 3783352 w 4519987"/>
                  <a:gd name="connsiteY56" fmla="*/ 3810000 h 4496940"/>
                  <a:gd name="connsiteX57" fmla="*/ 3745252 w 4519987"/>
                  <a:gd name="connsiteY57" fmla="*/ 3819525 h 4496940"/>
                  <a:gd name="connsiteX58" fmla="*/ 3678577 w 4519987"/>
                  <a:gd name="connsiteY58" fmla="*/ 3848100 h 4496940"/>
                  <a:gd name="connsiteX59" fmla="*/ 3659527 w 4519987"/>
                  <a:gd name="connsiteY59" fmla="*/ 3971925 h 4496940"/>
                  <a:gd name="connsiteX60" fmla="*/ 3630952 w 4519987"/>
                  <a:gd name="connsiteY60" fmla="*/ 4010025 h 4496940"/>
                  <a:gd name="connsiteX61" fmla="*/ 3621427 w 4519987"/>
                  <a:gd name="connsiteY61" fmla="*/ 4038600 h 4496940"/>
                  <a:gd name="connsiteX62" fmla="*/ 3554752 w 4519987"/>
                  <a:gd name="connsiteY62" fmla="*/ 4095750 h 4496940"/>
                  <a:gd name="connsiteX63" fmla="*/ 3516652 w 4519987"/>
                  <a:gd name="connsiteY63" fmla="*/ 4114800 h 4496940"/>
                  <a:gd name="connsiteX64" fmla="*/ 3497602 w 4519987"/>
                  <a:gd name="connsiteY64" fmla="*/ 4143375 h 4496940"/>
                  <a:gd name="connsiteX65" fmla="*/ 3383302 w 4519987"/>
                  <a:gd name="connsiteY65" fmla="*/ 4210050 h 4496940"/>
                  <a:gd name="connsiteX66" fmla="*/ 3335677 w 4519987"/>
                  <a:gd name="connsiteY66" fmla="*/ 4238625 h 4496940"/>
                  <a:gd name="connsiteX67" fmla="*/ 3288052 w 4519987"/>
                  <a:gd name="connsiteY67" fmla="*/ 4248150 h 4496940"/>
                  <a:gd name="connsiteX68" fmla="*/ 3240427 w 4519987"/>
                  <a:gd name="connsiteY68" fmla="*/ 4267200 h 4496940"/>
                  <a:gd name="connsiteX69" fmla="*/ 3068977 w 4519987"/>
                  <a:gd name="connsiteY69" fmla="*/ 4286250 h 4496940"/>
                  <a:gd name="connsiteX70" fmla="*/ 2935627 w 4519987"/>
                  <a:gd name="connsiteY70" fmla="*/ 4333875 h 4496940"/>
                  <a:gd name="connsiteX71" fmla="*/ 2811802 w 4519987"/>
                  <a:gd name="connsiteY71" fmla="*/ 4371975 h 4496940"/>
                  <a:gd name="connsiteX72" fmla="*/ 2745127 w 4519987"/>
                  <a:gd name="connsiteY72" fmla="*/ 4410075 h 4496940"/>
                  <a:gd name="connsiteX73" fmla="*/ 2697502 w 4519987"/>
                  <a:gd name="connsiteY73" fmla="*/ 4429125 h 4496940"/>
                  <a:gd name="connsiteX74" fmla="*/ 2640352 w 4519987"/>
                  <a:gd name="connsiteY74" fmla="*/ 4457700 h 4496940"/>
                  <a:gd name="connsiteX75" fmla="*/ 2583202 w 4519987"/>
                  <a:gd name="connsiteY75" fmla="*/ 4467225 h 4496940"/>
                  <a:gd name="connsiteX76" fmla="*/ 2545102 w 4519987"/>
                  <a:gd name="connsiteY76" fmla="*/ 4486275 h 4496940"/>
                  <a:gd name="connsiteX77" fmla="*/ 2306977 w 4519987"/>
                  <a:gd name="connsiteY77" fmla="*/ 4476750 h 4496940"/>
                  <a:gd name="connsiteX78" fmla="*/ 2202202 w 4519987"/>
                  <a:gd name="connsiteY78" fmla="*/ 4457700 h 4496940"/>
                  <a:gd name="connsiteX79" fmla="*/ 2126002 w 4519987"/>
                  <a:gd name="connsiteY79" fmla="*/ 4429125 h 4496940"/>
                  <a:gd name="connsiteX80" fmla="*/ 1935502 w 4519987"/>
                  <a:gd name="connsiteY80" fmla="*/ 4400550 h 4496940"/>
                  <a:gd name="connsiteX81" fmla="*/ 1821202 w 4519987"/>
                  <a:gd name="connsiteY81" fmla="*/ 4371975 h 4496940"/>
                  <a:gd name="connsiteX82" fmla="*/ 1754527 w 4519987"/>
                  <a:gd name="connsiteY82" fmla="*/ 4352925 h 4496940"/>
                  <a:gd name="connsiteX83" fmla="*/ 1687852 w 4519987"/>
                  <a:gd name="connsiteY83" fmla="*/ 4343400 h 4496940"/>
                  <a:gd name="connsiteX84" fmla="*/ 1573552 w 4519987"/>
                  <a:gd name="connsiteY84" fmla="*/ 4305300 h 4496940"/>
                  <a:gd name="connsiteX85" fmla="*/ 1402102 w 4519987"/>
                  <a:gd name="connsiteY85" fmla="*/ 4276725 h 4496940"/>
                  <a:gd name="connsiteX86" fmla="*/ 1287802 w 4519987"/>
                  <a:gd name="connsiteY86" fmla="*/ 4229100 h 4496940"/>
                  <a:gd name="connsiteX87" fmla="*/ 1221127 w 4519987"/>
                  <a:gd name="connsiteY87" fmla="*/ 4200525 h 4496940"/>
                  <a:gd name="connsiteX88" fmla="*/ 1144927 w 4519987"/>
                  <a:gd name="connsiteY88" fmla="*/ 4171950 h 4496940"/>
                  <a:gd name="connsiteX89" fmla="*/ 1087777 w 4519987"/>
                  <a:gd name="connsiteY89" fmla="*/ 4143375 h 4496940"/>
                  <a:gd name="connsiteX90" fmla="*/ 1030627 w 4519987"/>
                  <a:gd name="connsiteY90" fmla="*/ 4124325 h 4496940"/>
                  <a:gd name="connsiteX91" fmla="*/ 925852 w 4519987"/>
                  <a:gd name="connsiteY91" fmla="*/ 4067175 h 4496940"/>
                  <a:gd name="connsiteX92" fmla="*/ 830602 w 4519987"/>
                  <a:gd name="connsiteY92" fmla="*/ 3981450 h 4496940"/>
                  <a:gd name="connsiteX93" fmla="*/ 763927 w 4519987"/>
                  <a:gd name="connsiteY93" fmla="*/ 3914775 h 4496940"/>
                  <a:gd name="connsiteX94" fmla="*/ 725827 w 4519987"/>
                  <a:gd name="connsiteY94" fmla="*/ 3876675 h 4496940"/>
                  <a:gd name="connsiteX95" fmla="*/ 697252 w 4519987"/>
                  <a:gd name="connsiteY95" fmla="*/ 3838575 h 4496940"/>
                  <a:gd name="connsiteX96" fmla="*/ 640102 w 4519987"/>
                  <a:gd name="connsiteY96" fmla="*/ 3781425 h 4496940"/>
                  <a:gd name="connsiteX97" fmla="*/ 611527 w 4519987"/>
                  <a:gd name="connsiteY97" fmla="*/ 3733800 h 4496940"/>
                  <a:gd name="connsiteX98" fmla="*/ 554377 w 4519987"/>
                  <a:gd name="connsiteY98" fmla="*/ 3657600 h 4496940"/>
                  <a:gd name="connsiteX99" fmla="*/ 525802 w 4519987"/>
                  <a:gd name="connsiteY99" fmla="*/ 3609975 h 4496940"/>
                  <a:gd name="connsiteX100" fmla="*/ 497227 w 4519987"/>
                  <a:gd name="connsiteY100" fmla="*/ 3552825 h 4496940"/>
                  <a:gd name="connsiteX101" fmla="*/ 440077 w 4519987"/>
                  <a:gd name="connsiteY101" fmla="*/ 3495675 h 4496940"/>
                  <a:gd name="connsiteX102" fmla="*/ 411502 w 4519987"/>
                  <a:gd name="connsiteY102" fmla="*/ 3448050 h 4496940"/>
                  <a:gd name="connsiteX103" fmla="*/ 278152 w 4519987"/>
                  <a:gd name="connsiteY103" fmla="*/ 3257550 h 4496940"/>
                  <a:gd name="connsiteX104" fmla="*/ 249577 w 4519987"/>
                  <a:gd name="connsiteY104" fmla="*/ 3200400 h 4496940"/>
                  <a:gd name="connsiteX105" fmla="*/ 240052 w 4519987"/>
                  <a:gd name="connsiteY105" fmla="*/ 3162300 h 4496940"/>
                  <a:gd name="connsiteX106" fmla="*/ 221002 w 4519987"/>
                  <a:gd name="connsiteY106" fmla="*/ 3105150 h 4496940"/>
                  <a:gd name="connsiteX107" fmla="*/ 173377 w 4519987"/>
                  <a:gd name="connsiteY107" fmla="*/ 3019425 h 4496940"/>
                  <a:gd name="connsiteX108" fmla="*/ 144802 w 4519987"/>
                  <a:gd name="connsiteY108" fmla="*/ 2924175 h 4496940"/>
                  <a:gd name="connsiteX109" fmla="*/ 68602 w 4519987"/>
                  <a:gd name="connsiteY109" fmla="*/ 2724150 h 4496940"/>
                  <a:gd name="connsiteX110" fmla="*/ 49552 w 4519987"/>
                  <a:gd name="connsiteY110" fmla="*/ 2638425 h 4496940"/>
                  <a:gd name="connsiteX111" fmla="*/ 40027 w 4519987"/>
                  <a:gd name="connsiteY111" fmla="*/ 2562225 h 4496940"/>
                  <a:gd name="connsiteX112" fmla="*/ 30502 w 4519987"/>
                  <a:gd name="connsiteY112" fmla="*/ 2514600 h 4496940"/>
                  <a:gd name="connsiteX113" fmla="*/ 11452 w 4519987"/>
                  <a:gd name="connsiteY113" fmla="*/ 2400300 h 4496940"/>
                  <a:gd name="connsiteX114" fmla="*/ 20977 w 4519987"/>
                  <a:gd name="connsiteY114" fmla="*/ 1905000 h 4496940"/>
                  <a:gd name="connsiteX115" fmla="*/ 30502 w 4519987"/>
                  <a:gd name="connsiteY115" fmla="*/ 1838325 h 4496940"/>
                  <a:gd name="connsiteX116" fmla="*/ 49552 w 4519987"/>
                  <a:gd name="connsiteY116" fmla="*/ 1781175 h 4496940"/>
                  <a:gd name="connsiteX117" fmla="*/ 59077 w 4519987"/>
                  <a:gd name="connsiteY117" fmla="*/ 1743075 h 4496940"/>
                  <a:gd name="connsiteX118" fmla="*/ 78127 w 4519987"/>
                  <a:gd name="connsiteY118" fmla="*/ 1685925 h 4496940"/>
                  <a:gd name="connsiteX119" fmla="*/ 87652 w 4519987"/>
                  <a:gd name="connsiteY119" fmla="*/ 1638300 h 4496940"/>
                  <a:gd name="connsiteX120" fmla="*/ 106702 w 4519987"/>
                  <a:gd name="connsiteY120" fmla="*/ 1590675 h 4496940"/>
                  <a:gd name="connsiteX121" fmla="*/ 135277 w 4519987"/>
                  <a:gd name="connsiteY121" fmla="*/ 1504950 h 4496940"/>
                  <a:gd name="connsiteX122" fmla="*/ 154327 w 4519987"/>
                  <a:gd name="connsiteY122" fmla="*/ 1419225 h 4496940"/>
                  <a:gd name="connsiteX123" fmla="*/ 230527 w 4519987"/>
                  <a:gd name="connsiteY123" fmla="*/ 1276350 h 4496940"/>
                  <a:gd name="connsiteX124" fmla="*/ 240052 w 4519987"/>
                  <a:gd name="connsiteY124" fmla="*/ 1247775 h 4496940"/>
                  <a:gd name="connsiteX125" fmla="*/ 268627 w 4519987"/>
                  <a:gd name="connsiteY125" fmla="*/ 1200150 h 4496940"/>
                  <a:gd name="connsiteX126" fmla="*/ 287677 w 4519987"/>
                  <a:gd name="connsiteY126" fmla="*/ 1152525 h 4496940"/>
                  <a:gd name="connsiteX127" fmla="*/ 316252 w 4519987"/>
                  <a:gd name="connsiteY127" fmla="*/ 1114425 h 4496940"/>
                  <a:gd name="connsiteX128" fmla="*/ 363877 w 4519987"/>
                  <a:gd name="connsiteY128" fmla="*/ 1038225 h 4496940"/>
                  <a:gd name="connsiteX129" fmla="*/ 382927 w 4519987"/>
                  <a:gd name="connsiteY129" fmla="*/ 1009650 h 4496940"/>
                  <a:gd name="connsiteX130" fmla="*/ 440077 w 4519987"/>
                  <a:gd name="connsiteY130" fmla="*/ 904875 h 4496940"/>
                  <a:gd name="connsiteX131" fmla="*/ 478177 w 4519987"/>
                  <a:gd name="connsiteY131" fmla="*/ 857250 h 4496940"/>
                  <a:gd name="connsiteX132" fmla="*/ 497227 w 4519987"/>
                  <a:gd name="connsiteY132" fmla="*/ 828675 h 4496940"/>
                  <a:gd name="connsiteX133" fmla="*/ 535327 w 4519987"/>
                  <a:gd name="connsiteY133" fmla="*/ 800100 h 4496940"/>
                  <a:gd name="connsiteX134" fmla="*/ 602002 w 4519987"/>
                  <a:gd name="connsiteY134" fmla="*/ 733425 h 4496940"/>
                  <a:gd name="connsiteX135" fmla="*/ 668677 w 4519987"/>
                  <a:gd name="connsiteY135" fmla="*/ 676275 h 4496940"/>
                  <a:gd name="connsiteX136" fmla="*/ 697252 w 4519987"/>
                  <a:gd name="connsiteY136" fmla="*/ 657225 h 4496940"/>
                  <a:gd name="connsiteX137" fmla="*/ 840127 w 4519987"/>
                  <a:gd name="connsiteY137" fmla="*/ 533400 h 4496940"/>
                  <a:gd name="connsiteX138" fmla="*/ 887752 w 4519987"/>
                  <a:gd name="connsiteY138" fmla="*/ 504825 h 4496940"/>
                  <a:gd name="connsiteX139" fmla="*/ 1167152 w 4519987"/>
                  <a:gd name="connsiteY139" fmla="*/ 311150 h 4496940"/>
                  <a:gd name="connsiteX140" fmla="*/ 1268752 w 4519987"/>
                  <a:gd name="connsiteY140" fmla="*/ 285750 h 4496940"/>
                  <a:gd name="connsiteX141" fmla="*/ 1411627 w 4519987"/>
                  <a:gd name="connsiteY141" fmla="*/ 190500 h 4496940"/>
                  <a:gd name="connsiteX142" fmla="*/ 1449727 w 4519987"/>
                  <a:gd name="connsiteY142" fmla="*/ 161925 h 4496940"/>
                  <a:gd name="connsiteX143" fmla="*/ 1525927 w 4519987"/>
                  <a:gd name="connsiteY143" fmla="*/ 152400 h 4496940"/>
                  <a:gd name="connsiteX144" fmla="*/ 1583077 w 4519987"/>
                  <a:gd name="connsiteY144" fmla="*/ 142875 h 4496940"/>
                  <a:gd name="connsiteX145" fmla="*/ 1716427 w 4519987"/>
                  <a:gd name="connsiteY145" fmla="*/ 123825 h 4496940"/>
                  <a:gd name="connsiteX146" fmla="*/ 1811677 w 4519987"/>
                  <a:gd name="connsiteY146" fmla="*/ 114300 h 4496940"/>
                  <a:gd name="connsiteX147" fmla="*/ 1859302 w 4519987"/>
                  <a:gd name="connsiteY147" fmla="*/ 104775 h 4496940"/>
                  <a:gd name="connsiteX148" fmla="*/ 1916452 w 4519987"/>
                  <a:gd name="connsiteY148" fmla="*/ 95250 h 4496940"/>
                  <a:gd name="connsiteX149" fmla="*/ 2030752 w 4519987"/>
                  <a:gd name="connsiteY149" fmla="*/ 66675 h 4496940"/>
                  <a:gd name="connsiteX150" fmla="*/ 2097427 w 4519987"/>
                  <a:gd name="connsiteY150" fmla="*/ 47625 h 4496940"/>
                  <a:gd name="connsiteX151" fmla="*/ 2164102 w 4519987"/>
                  <a:gd name="connsiteY151" fmla="*/ 38100 h 4496940"/>
                  <a:gd name="connsiteX152" fmla="*/ 2392702 w 4519987"/>
                  <a:gd name="connsiteY15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02377 w 4519987"/>
                  <a:gd name="connsiteY18" fmla="*/ 457200 h 4496940"/>
                  <a:gd name="connsiteX19" fmla="*/ 3630952 w 4519987"/>
                  <a:gd name="connsiteY19" fmla="*/ 485775 h 4496940"/>
                  <a:gd name="connsiteX20" fmla="*/ 3745252 w 4519987"/>
                  <a:gd name="connsiteY20" fmla="*/ 542925 h 4496940"/>
                  <a:gd name="connsiteX21" fmla="*/ 3811927 w 4519987"/>
                  <a:gd name="connsiteY21" fmla="*/ 581025 h 4496940"/>
                  <a:gd name="connsiteX22" fmla="*/ 3907177 w 4519987"/>
                  <a:gd name="connsiteY22" fmla="*/ 647700 h 4496940"/>
                  <a:gd name="connsiteX23" fmla="*/ 3935752 w 4519987"/>
                  <a:gd name="connsiteY23" fmla="*/ 676275 h 4496940"/>
                  <a:gd name="connsiteX24" fmla="*/ 4078627 w 4519987"/>
                  <a:gd name="connsiteY24" fmla="*/ 838200 h 4496940"/>
                  <a:gd name="connsiteX25" fmla="*/ 4135777 w 4519987"/>
                  <a:gd name="connsiteY25" fmla="*/ 933450 h 4496940"/>
                  <a:gd name="connsiteX26" fmla="*/ 4164352 w 4519987"/>
                  <a:gd name="connsiteY26" fmla="*/ 990600 h 4496940"/>
                  <a:gd name="connsiteX27" fmla="*/ 4173877 w 4519987"/>
                  <a:gd name="connsiteY27" fmla="*/ 1019175 h 4496940"/>
                  <a:gd name="connsiteX28" fmla="*/ 4192927 w 4519987"/>
                  <a:gd name="connsiteY28" fmla="*/ 1057275 h 4496940"/>
                  <a:gd name="connsiteX29" fmla="*/ 4202452 w 4519987"/>
                  <a:gd name="connsiteY29" fmla="*/ 1085850 h 4496940"/>
                  <a:gd name="connsiteX30" fmla="*/ 4250077 w 4519987"/>
                  <a:gd name="connsiteY30" fmla="*/ 1143000 h 4496940"/>
                  <a:gd name="connsiteX31" fmla="*/ 4259602 w 4519987"/>
                  <a:gd name="connsiteY31" fmla="*/ 1190625 h 4496940"/>
                  <a:gd name="connsiteX32" fmla="*/ 4307227 w 4519987"/>
                  <a:gd name="connsiteY32" fmla="*/ 1266825 h 4496940"/>
                  <a:gd name="connsiteX33" fmla="*/ 4345327 w 4519987"/>
                  <a:gd name="connsiteY33" fmla="*/ 1362075 h 4496940"/>
                  <a:gd name="connsiteX34" fmla="*/ 4373902 w 4519987"/>
                  <a:gd name="connsiteY34" fmla="*/ 1428750 h 4496940"/>
                  <a:gd name="connsiteX35" fmla="*/ 4392952 w 4519987"/>
                  <a:gd name="connsiteY35" fmla="*/ 1552575 h 4496940"/>
                  <a:gd name="connsiteX36" fmla="*/ 4402477 w 4519987"/>
                  <a:gd name="connsiteY36" fmla="*/ 1590675 h 4496940"/>
                  <a:gd name="connsiteX37" fmla="*/ 4431052 w 4519987"/>
                  <a:gd name="connsiteY37" fmla="*/ 1685925 h 4496940"/>
                  <a:gd name="connsiteX38" fmla="*/ 4519952 w 4519987"/>
                  <a:gd name="connsiteY38" fmla="*/ 2181225 h 4496940"/>
                  <a:gd name="connsiteX39" fmla="*/ 4446927 w 4519987"/>
                  <a:gd name="connsiteY39" fmla="*/ 2768600 h 4496940"/>
                  <a:gd name="connsiteX40" fmla="*/ 4383427 w 4519987"/>
                  <a:gd name="connsiteY40" fmla="*/ 2990850 h 4496940"/>
                  <a:gd name="connsiteX41" fmla="*/ 4278652 w 4519987"/>
                  <a:gd name="connsiteY41" fmla="*/ 3248025 h 4496940"/>
                  <a:gd name="connsiteX42" fmla="*/ 4259602 w 4519987"/>
                  <a:gd name="connsiteY42" fmla="*/ 3276600 h 4496940"/>
                  <a:gd name="connsiteX43" fmla="*/ 4221502 w 4519987"/>
                  <a:gd name="connsiteY43" fmla="*/ 3333750 h 4496940"/>
                  <a:gd name="connsiteX44" fmla="*/ 4211977 w 4519987"/>
                  <a:gd name="connsiteY44" fmla="*/ 3362325 h 4496940"/>
                  <a:gd name="connsiteX45" fmla="*/ 4183402 w 4519987"/>
                  <a:gd name="connsiteY45" fmla="*/ 3400425 h 4496940"/>
                  <a:gd name="connsiteX46" fmla="*/ 4164352 w 4519987"/>
                  <a:gd name="connsiteY46" fmla="*/ 3429000 h 4496940"/>
                  <a:gd name="connsiteX47" fmla="*/ 4088152 w 4519987"/>
                  <a:gd name="connsiteY47" fmla="*/ 3495675 h 4496940"/>
                  <a:gd name="connsiteX48" fmla="*/ 4059577 w 4519987"/>
                  <a:gd name="connsiteY48" fmla="*/ 3533775 h 4496940"/>
                  <a:gd name="connsiteX49" fmla="*/ 4002427 w 4519987"/>
                  <a:gd name="connsiteY49" fmla="*/ 3600450 h 4496940"/>
                  <a:gd name="connsiteX50" fmla="*/ 3983377 w 4519987"/>
                  <a:gd name="connsiteY50" fmla="*/ 3629025 h 4496940"/>
                  <a:gd name="connsiteX51" fmla="*/ 3954802 w 4519987"/>
                  <a:gd name="connsiteY51" fmla="*/ 3648075 h 4496940"/>
                  <a:gd name="connsiteX52" fmla="*/ 3907177 w 4519987"/>
                  <a:gd name="connsiteY52" fmla="*/ 3686175 h 4496940"/>
                  <a:gd name="connsiteX53" fmla="*/ 3869077 w 4519987"/>
                  <a:gd name="connsiteY53" fmla="*/ 3724275 h 4496940"/>
                  <a:gd name="connsiteX54" fmla="*/ 3792877 w 4519987"/>
                  <a:gd name="connsiteY54" fmla="*/ 3781425 h 4496940"/>
                  <a:gd name="connsiteX55" fmla="*/ 3783352 w 4519987"/>
                  <a:gd name="connsiteY55" fmla="*/ 3810000 h 4496940"/>
                  <a:gd name="connsiteX56" fmla="*/ 3745252 w 4519987"/>
                  <a:gd name="connsiteY56" fmla="*/ 3819525 h 4496940"/>
                  <a:gd name="connsiteX57" fmla="*/ 3678577 w 4519987"/>
                  <a:gd name="connsiteY57" fmla="*/ 3848100 h 4496940"/>
                  <a:gd name="connsiteX58" fmla="*/ 3659527 w 4519987"/>
                  <a:gd name="connsiteY58" fmla="*/ 3971925 h 4496940"/>
                  <a:gd name="connsiteX59" fmla="*/ 3630952 w 4519987"/>
                  <a:gd name="connsiteY59" fmla="*/ 4010025 h 4496940"/>
                  <a:gd name="connsiteX60" fmla="*/ 3621427 w 4519987"/>
                  <a:gd name="connsiteY60" fmla="*/ 4038600 h 4496940"/>
                  <a:gd name="connsiteX61" fmla="*/ 3554752 w 4519987"/>
                  <a:gd name="connsiteY61" fmla="*/ 4095750 h 4496940"/>
                  <a:gd name="connsiteX62" fmla="*/ 3516652 w 4519987"/>
                  <a:gd name="connsiteY62" fmla="*/ 4114800 h 4496940"/>
                  <a:gd name="connsiteX63" fmla="*/ 3497602 w 4519987"/>
                  <a:gd name="connsiteY63" fmla="*/ 4143375 h 4496940"/>
                  <a:gd name="connsiteX64" fmla="*/ 3383302 w 4519987"/>
                  <a:gd name="connsiteY64" fmla="*/ 4210050 h 4496940"/>
                  <a:gd name="connsiteX65" fmla="*/ 3335677 w 4519987"/>
                  <a:gd name="connsiteY65" fmla="*/ 4238625 h 4496940"/>
                  <a:gd name="connsiteX66" fmla="*/ 3288052 w 4519987"/>
                  <a:gd name="connsiteY66" fmla="*/ 4248150 h 4496940"/>
                  <a:gd name="connsiteX67" fmla="*/ 3240427 w 4519987"/>
                  <a:gd name="connsiteY67" fmla="*/ 4267200 h 4496940"/>
                  <a:gd name="connsiteX68" fmla="*/ 3068977 w 4519987"/>
                  <a:gd name="connsiteY68" fmla="*/ 4286250 h 4496940"/>
                  <a:gd name="connsiteX69" fmla="*/ 2935627 w 4519987"/>
                  <a:gd name="connsiteY69" fmla="*/ 4333875 h 4496940"/>
                  <a:gd name="connsiteX70" fmla="*/ 2811802 w 4519987"/>
                  <a:gd name="connsiteY70" fmla="*/ 4371975 h 4496940"/>
                  <a:gd name="connsiteX71" fmla="*/ 2745127 w 4519987"/>
                  <a:gd name="connsiteY71" fmla="*/ 4410075 h 4496940"/>
                  <a:gd name="connsiteX72" fmla="*/ 2697502 w 4519987"/>
                  <a:gd name="connsiteY72" fmla="*/ 4429125 h 4496940"/>
                  <a:gd name="connsiteX73" fmla="*/ 2640352 w 4519987"/>
                  <a:gd name="connsiteY73" fmla="*/ 4457700 h 4496940"/>
                  <a:gd name="connsiteX74" fmla="*/ 2583202 w 4519987"/>
                  <a:gd name="connsiteY74" fmla="*/ 4467225 h 4496940"/>
                  <a:gd name="connsiteX75" fmla="*/ 2545102 w 4519987"/>
                  <a:gd name="connsiteY75" fmla="*/ 4486275 h 4496940"/>
                  <a:gd name="connsiteX76" fmla="*/ 2306977 w 4519987"/>
                  <a:gd name="connsiteY76" fmla="*/ 4476750 h 4496940"/>
                  <a:gd name="connsiteX77" fmla="*/ 2202202 w 4519987"/>
                  <a:gd name="connsiteY77" fmla="*/ 4457700 h 4496940"/>
                  <a:gd name="connsiteX78" fmla="*/ 2126002 w 4519987"/>
                  <a:gd name="connsiteY78" fmla="*/ 4429125 h 4496940"/>
                  <a:gd name="connsiteX79" fmla="*/ 1935502 w 4519987"/>
                  <a:gd name="connsiteY79" fmla="*/ 4400550 h 4496940"/>
                  <a:gd name="connsiteX80" fmla="*/ 1821202 w 4519987"/>
                  <a:gd name="connsiteY80" fmla="*/ 4371975 h 4496940"/>
                  <a:gd name="connsiteX81" fmla="*/ 1754527 w 4519987"/>
                  <a:gd name="connsiteY81" fmla="*/ 4352925 h 4496940"/>
                  <a:gd name="connsiteX82" fmla="*/ 1687852 w 4519987"/>
                  <a:gd name="connsiteY82" fmla="*/ 4343400 h 4496940"/>
                  <a:gd name="connsiteX83" fmla="*/ 1573552 w 4519987"/>
                  <a:gd name="connsiteY83" fmla="*/ 4305300 h 4496940"/>
                  <a:gd name="connsiteX84" fmla="*/ 1402102 w 4519987"/>
                  <a:gd name="connsiteY84" fmla="*/ 4276725 h 4496940"/>
                  <a:gd name="connsiteX85" fmla="*/ 1287802 w 4519987"/>
                  <a:gd name="connsiteY85" fmla="*/ 4229100 h 4496940"/>
                  <a:gd name="connsiteX86" fmla="*/ 1221127 w 4519987"/>
                  <a:gd name="connsiteY86" fmla="*/ 4200525 h 4496940"/>
                  <a:gd name="connsiteX87" fmla="*/ 1144927 w 4519987"/>
                  <a:gd name="connsiteY87" fmla="*/ 4171950 h 4496940"/>
                  <a:gd name="connsiteX88" fmla="*/ 1087777 w 4519987"/>
                  <a:gd name="connsiteY88" fmla="*/ 4143375 h 4496940"/>
                  <a:gd name="connsiteX89" fmla="*/ 1030627 w 4519987"/>
                  <a:gd name="connsiteY89" fmla="*/ 4124325 h 4496940"/>
                  <a:gd name="connsiteX90" fmla="*/ 925852 w 4519987"/>
                  <a:gd name="connsiteY90" fmla="*/ 4067175 h 4496940"/>
                  <a:gd name="connsiteX91" fmla="*/ 830602 w 4519987"/>
                  <a:gd name="connsiteY91" fmla="*/ 3981450 h 4496940"/>
                  <a:gd name="connsiteX92" fmla="*/ 763927 w 4519987"/>
                  <a:gd name="connsiteY92" fmla="*/ 3914775 h 4496940"/>
                  <a:gd name="connsiteX93" fmla="*/ 725827 w 4519987"/>
                  <a:gd name="connsiteY93" fmla="*/ 3876675 h 4496940"/>
                  <a:gd name="connsiteX94" fmla="*/ 697252 w 4519987"/>
                  <a:gd name="connsiteY94" fmla="*/ 3838575 h 4496940"/>
                  <a:gd name="connsiteX95" fmla="*/ 640102 w 4519987"/>
                  <a:gd name="connsiteY95" fmla="*/ 3781425 h 4496940"/>
                  <a:gd name="connsiteX96" fmla="*/ 611527 w 4519987"/>
                  <a:gd name="connsiteY96" fmla="*/ 3733800 h 4496940"/>
                  <a:gd name="connsiteX97" fmla="*/ 554377 w 4519987"/>
                  <a:gd name="connsiteY97" fmla="*/ 3657600 h 4496940"/>
                  <a:gd name="connsiteX98" fmla="*/ 525802 w 4519987"/>
                  <a:gd name="connsiteY98" fmla="*/ 3609975 h 4496940"/>
                  <a:gd name="connsiteX99" fmla="*/ 497227 w 4519987"/>
                  <a:gd name="connsiteY99" fmla="*/ 3552825 h 4496940"/>
                  <a:gd name="connsiteX100" fmla="*/ 440077 w 4519987"/>
                  <a:gd name="connsiteY100" fmla="*/ 3495675 h 4496940"/>
                  <a:gd name="connsiteX101" fmla="*/ 411502 w 4519987"/>
                  <a:gd name="connsiteY101" fmla="*/ 3448050 h 4496940"/>
                  <a:gd name="connsiteX102" fmla="*/ 278152 w 4519987"/>
                  <a:gd name="connsiteY102" fmla="*/ 3257550 h 4496940"/>
                  <a:gd name="connsiteX103" fmla="*/ 249577 w 4519987"/>
                  <a:gd name="connsiteY103" fmla="*/ 3200400 h 4496940"/>
                  <a:gd name="connsiteX104" fmla="*/ 240052 w 4519987"/>
                  <a:gd name="connsiteY104" fmla="*/ 3162300 h 4496940"/>
                  <a:gd name="connsiteX105" fmla="*/ 221002 w 4519987"/>
                  <a:gd name="connsiteY105" fmla="*/ 3105150 h 4496940"/>
                  <a:gd name="connsiteX106" fmla="*/ 173377 w 4519987"/>
                  <a:gd name="connsiteY106" fmla="*/ 3019425 h 4496940"/>
                  <a:gd name="connsiteX107" fmla="*/ 144802 w 4519987"/>
                  <a:gd name="connsiteY107" fmla="*/ 2924175 h 4496940"/>
                  <a:gd name="connsiteX108" fmla="*/ 68602 w 4519987"/>
                  <a:gd name="connsiteY108" fmla="*/ 2724150 h 4496940"/>
                  <a:gd name="connsiteX109" fmla="*/ 49552 w 4519987"/>
                  <a:gd name="connsiteY109" fmla="*/ 2638425 h 4496940"/>
                  <a:gd name="connsiteX110" fmla="*/ 40027 w 4519987"/>
                  <a:gd name="connsiteY110" fmla="*/ 2562225 h 4496940"/>
                  <a:gd name="connsiteX111" fmla="*/ 30502 w 4519987"/>
                  <a:gd name="connsiteY111" fmla="*/ 2514600 h 4496940"/>
                  <a:gd name="connsiteX112" fmla="*/ 11452 w 4519987"/>
                  <a:gd name="connsiteY112" fmla="*/ 2400300 h 4496940"/>
                  <a:gd name="connsiteX113" fmla="*/ 20977 w 4519987"/>
                  <a:gd name="connsiteY113" fmla="*/ 1905000 h 4496940"/>
                  <a:gd name="connsiteX114" fmla="*/ 30502 w 4519987"/>
                  <a:gd name="connsiteY114" fmla="*/ 1838325 h 4496940"/>
                  <a:gd name="connsiteX115" fmla="*/ 49552 w 4519987"/>
                  <a:gd name="connsiteY115" fmla="*/ 1781175 h 4496940"/>
                  <a:gd name="connsiteX116" fmla="*/ 59077 w 4519987"/>
                  <a:gd name="connsiteY116" fmla="*/ 1743075 h 4496940"/>
                  <a:gd name="connsiteX117" fmla="*/ 78127 w 4519987"/>
                  <a:gd name="connsiteY117" fmla="*/ 1685925 h 4496940"/>
                  <a:gd name="connsiteX118" fmla="*/ 87652 w 4519987"/>
                  <a:gd name="connsiteY118" fmla="*/ 1638300 h 4496940"/>
                  <a:gd name="connsiteX119" fmla="*/ 106702 w 4519987"/>
                  <a:gd name="connsiteY119" fmla="*/ 1590675 h 4496940"/>
                  <a:gd name="connsiteX120" fmla="*/ 135277 w 4519987"/>
                  <a:gd name="connsiteY120" fmla="*/ 1504950 h 4496940"/>
                  <a:gd name="connsiteX121" fmla="*/ 154327 w 4519987"/>
                  <a:gd name="connsiteY121" fmla="*/ 1419225 h 4496940"/>
                  <a:gd name="connsiteX122" fmla="*/ 230527 w 4519987"/>
                  <a:gd name="connsiteY122" fmla="*/ 1276350 h 4496940"/>
                  <a:gd name="connsiteX123" fmla="*/ 240052 w 4519987"/>
                  <a:gd name="connsiteY123" fmla="*/ 1247775 h 4496940"/>
                  <a:gd name="connsiteX124" fmla="*/ 268627 w 4519987"/>
                  <a:gd name="connsiteY124" fmla="*/ 1200150 h 4496940"/>
                  <a:gd name="connsiteX125" fmla="*/ 287677 w 4519987"/>
                  <a:gd name="connsiteY125" fmla="*/ 1152525 h 4496940"/>
                  <a:gd name="connsiteX126" fmla="*/ 316252 w 4519987"/>
                  <a:gd name="connsiteY126" fmla="*/ 1114425 h 4496940"/>
                  <a:gd name="connsiteX127" fmla="*/ 363877 w 4519987"/>
                  <a:gd name="connsiteY127" fmla="*/ 1038225 h 4496940"/>
                  <a:gd name="connsiteX128" fmla="*/ 382927 w 4519987"/>
                  <a:gd name="connsiteY128" fmla="*/ 1009650 h 4496940"/>
                  <a:gd name="connsiteX129" fmla="*/ 440077 w 4519987"/>
                  <a:gd name="connsiteY129" fmla="*/ 904875 h 4496940"/>
                  <a:gd name="connsiteX130" fmla="*/ 478177 w 4519987"/>
                  <a:gd name="connsiteY130" fmla="*/ 857250 h 4496940"/>
                  <a:gd name="connsiteX131" fmla="*/ 497227 w 4519987"/>
                  <a:gd name="connsiteY131" fmla="*/ 828675 h 4496940"/>
                  <a:gd name="connsiteX132" fmla="*/ 535327 w 4519987"/>
                  <a:gd name="connsiteY132" fmla="*/ 800100 h 4496940"/>
                  <a:gd name="connsiteX133" fmla="*/ 602002 w 4519987"/>
                  <a:gd name="connsiteY133" fmla="*/ 733425 h 4496940"/>
                  <a:gd name="connsiteX134" fmla="*/ 668677 w 4519987"/>
                  <a:gd name="connsiteY134" fmla="*/ 676275 h 4496940"/>
                  <a:gd name="connsiteX135" fmla="*/ 697252 w 4519987"/>
                  <a:gd name="connsiteY135" fmla="*/ 657225 h 4496940"/>
                  <a:gd name="connsiteX136" fmla="*/ 840127 w 4519987"/>
                  <a:gd name="connsiteY136" fmla="*/ 533400 h 4496940"/>
                  <a:gd name="connsiteX137" fmla="*/ 887752 w 4519987"/>
                  <a:gd name="connsiteY137" fmla="*/ 504825 h 4496940"/>
                  <a:gd name="connsiteX138" fmla="*/ 1167152 w 4519987"/>
                  <a:gd name="connsiteY138" fmla="*/ 311150 h 4496940"/>
                  <a:gd name="connsiteX139" fmla="*/ 1268752 w 4519987"/>
                  <a:gd name="connsiteY139" fmla="*/ 285750 h 4496940"/>
                  <a:gd name="connsiteX140" fmla="*/ 1411627 w 4519987"/>
                  <a:gd name="connsiteY140" fmla="*/ 190500 h 4496940"/>
                  <a:gd name="connsiteX141" fmla="*/ 1449727 w 4519987"/>
                  <a:gd name="connsiteY141" fmla="*/ 161925 h 4496940"/>
                  <a:gd name="connsiteX142" fmla="*/ 1525927 w 4519987"/>
                  <a:gd name="connsiteY142" fmla="*/ 152400 h 4496940"/>
                  <a:gd name="connsiteX143" fmla="*/ 1583077 w 4519987"/>
                  <a:gd name="connsiteY143" fmla="*/ 142875 h 4496940"/>
                  <a:gd name="connsiteX144" fmla="*/ 1716427 w 4519987"/>
                  <a:gd name="connsiteY144" fmla="*/ 123825 h 4496940"/>
                  <a:gd name="connsiteX145" fmla="*/ 1811677 w 4519987"/>
                  <a:gd name="connsiteY145" fmla="*/ 114300 h 4496940"/>
                  <a:gd name="connsiteX146" fmla="*/ 1859302 w 4519987"/>
                  <a:gd name="connsiteY146" fmla="*/ 104775 h 4496940"/>
                  <a:gd name="connsiteX147" fmla="*/ 1916452 w 4519987"/>
                  <a:gd name="connsiteY147" fmla="*/ 95250 h 4496940"/>
                  <a:gd name="connsiteX148" fmla="*/ 2030752 w 4519987"/>
                  <a:gd name="connsiteY148" fmla="*/ 66675 h 4496940"/>
                  <a:gd name="connsiteX149" fmla="*/ 2097427 w 4519987"/>
                  <a:gd name="connsiteY149" fmla="*/ 47625 h 4496940"/>
                  <a:gd name="connsiteX150" fmla="*/ 2164102 w 4519987"/>
                  <a:gd name="connsiteY150" fmla="*/ 38100 h 4496940"/>
                  <a:gd name="connsiteX151" fmla="*/ 2392702 w 4519987"/>
                  <a:gd name="connsiteY15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3907177 w 4519987"/>
                  <a:gd name="connsiteY21" fmla="*/ 647700 h 4496940"/>
                  <a:gd name="connsiteX22" fmla="*/ 3935752 w 4519987"/>
                  <a:gd name="connsiteY22" fmla="*/ 676275 h 4496940"/>
                  <a:gd name="connsiteX23" fmla="*/ 4078627 w 4519987"/>
                  <a:gd name="connsiteY23" fmla="*/ 838200 h 4496940"/>
                  <a:gd name="connsiteX24" fmla="*/ 4135777 w 4519987"/>
                  <a:gd name="connsiteY24" fmla="*/ 933450 h 4496940"/>
                  <a:gd name="connsiteX25" fmla="*/ 4164352 w 4519987"/>
                  <a:gd name="connsiteY25" fmla="*/ 990600 h 4496940"/>
                  <a:gd name="connsiteX26" fmla="*/ 4173877 w 4519987"/>
                  <a:gd name="connsiteY26" fmla="*/ 1019175 h 4496940"/>
                  <a:gd name="connsiteX27" fmla="*/ 4192927 w 4519987"/>
                  <a:gd name="connsiteY27" fmla="*/ 1057275 h 4496940"/>
                  <a:gd name="connsiteX28" fmla="*/ 4202452 w 4519987"/>
                  <a:gd name="connsiteY28" fmla="*/ 1085850 h 4496940"/>
                  <a:gd name="connsiteX29" fmla="*/ 4250077 w 4519987"/>
                  <a:gd name="connsiteY29" fmla="*/ 1143000 h 4496940"/>
                  <a:gd name="connsiteX30" fmla="*/ 4259602 w 4519987"/>
                  <a:gd name="connsiteY30" fmla="*/ 1190625 h 4496940"/>
                  <a:gd name="connsiteX31" fmla="*/ 4307227 w 4519987"/>
                  <a:gd name="connsiteY31" fmla="*/ 1266825 h 4496940"/>
                  <a:gd name="connsiteX32" fmla="*/ 4345327 w 4519987"/>
                  <a:gd name="connsiteY32" fmla="*/ 1362075 h 4496940"/>
                  <a:gd name="connsiteX33" fmla="*/ 4373902 w 4519987"/>
                  <a:gd name="connsiteY33" fmla="*/ 1428750 h 4496940"/>
                  <a:gd name="connsiteX34" fmla="*/ 4392952 w 4519987"/>
                  <a:gd name="connsiteY34" fmla="*/ 1552575 h 4496940"/>
                  <a:gd name="connsiteX35" fmla="*/ 4402477 w 4519987"/>
                  <a:gd name="connsiteY35" fmla="*/ 1590675 h 4496940"/>
                  <a:gd name="connsiteX36" fmla="*/ 4431052 w 4519987"/>
                  <a:gd name="connsiteY36" fmla="*/ 1685925 h 4496940"/>
                  <a:gd name="connsiteX37" fmla="*/ 4519952 w 4519987"/>
                  <a:gd name="connsiteY37" fmla="*/ 2181225 h 4496940"/>
                  <a:gd name="connsiteX38" fmla="*/ 4446927 w 4519987"/>
                  <a:gd name="connsiteY38" fmla="*/ 2768600 h 4496940"/>
                  <a:gd name="connsiteX39" fmla="*/ 4383427 w 4519987"/>
                  <a:gd name="connsiteY39" fmla="*/ 2990850 h 4496940"/>
                  <a:gd name="connsiteX40" fmla="*/ 4278652 w 4519987"/>
                  <a:gd name="connsiteY40" fmla="*/ 3248025 h 4496940"/>
                  <a:gd name="connsiteX41" fmla="*/ 4259602 w 4519987"/>
                  <a:gd name="connsiteY41" fmla="*/ 3276600 h 4496940"/>
                  <a:gd name="connsiteX42" fmla="*/ 4221502 w 4519987"/>
                  <a:gd name="connsiteY42" fmla="*/ 3333750 h 4496940"/>
                  <a:gd name="connsiteX43" fmla="*/ 4211977 w 4519987"/>
                  <a:gd name="connsiteY43" fmla="*/ 3362325 h 4496940"/>
                  <a:gd name="connsiteX44" fmla="*/ 4183402 w 4519987"/>
                  <a:gd name="connsiteY44" fmla="*/ 3400425 h 4496940"/>
                  <a:gd name="connsiteX45" fmla="*/ 4164352 w 4519987"/>
                  <a:gd name="connsiteY45" fmla="*/ 3429000 h 4496940"/>
                  <a:gd name="connsiteX46" fmla="*/ 4088152 w 4519987"/>
                  <a:gd name="connsiteY46" fmla="*/ 3495675 h 4496940"/>
                  <a:gd name="connsiteX47" fmla="*/ 4059577 w 4519987"/>
                  <a:gd name="connsiteY47" fmla="*/ 3533775 h 4496940"/>
                  <a:gd name="connsiteX48" fmla="*/ 4002427 w 4519987"/>
                  <a:gd name="connsiteY48" fmla="*/ 3600450 h 4496940"/>
                  <a:gd name="connsiteX49" fmla="*/ 3983377 w 4519987"/>
                  <a:gd name="connsiteY49" fmla="*/ 3629025 h 4496940"/>
                  <a:gd name="connsiteX50" fmla="*/ 3954802 w 4519987"/>
                  <a:gd name="connsiteY50" fmla="*/ 3648075 h 4496940"/>
                  <a:gd name="connsiteX51" fmla="*/ 3907177 w 4519987"/>
                  <a:gd name="connsiteY51" fmla="*/ 3686175 h 4496940"/>
                  <a:gd name="connsiteX52" fmla="*/ 3869077 w 4519987"/>
                  <a:gd name="connsiteY52" fmla="*/ 3724275 h 4496940"/>
                  <a:gd name="connsiteX53" fmla="*/ 3792877 w 4519987"/>
                  <a:gd name="connsiteY53" fmla="*/ 3781425 h 4496940"/>
                  <a:gd name="connsiteX54" fmla="*/ 3783352 w 4519987"/>
                  <a:gd name="connsiteY54" fmla="*/ 3810000 h 4496940"/>
                  <a:gd name="connsiteX55" fmla="*/ 3745252 w 4519987"/>
                  <a:gd name="connsiteY55" fmla="*/ 3819525 h 4496940"/>
                  <a:gd name="connsiteX56" fmla="*/ 3678577 w 4519987"/>
                  <a:gd name="connsiteY56" fmla="*/ 3848100 h 4496940"/>
                  <a:gd name="connsiteX57" fmla="*/ 3659527 w 4519987"/>
                  <a:gd name="connsiteY57" fmla="*/ 3971925 h 4496940"/>
                  <a:gd name="connsiteX58" fmla="*/ 3630952 w 4519987"/>
                  <a:gd name="connsiteY58" fmla="*/ 4010025 h 4496940"/>
                  <a:gd name="connsiteX59" fmla="*/ 3621427 w 4519987"/>
                  <a:gd name="connsiteY59" fmla="*/ 4038600 h 4496940"/>
                  <a:gd name="connsiteX60" fmla="*/ 3554752 w 4519987"/>
                  <a:gd name="connsiteY60" fmla="*/ 4095750 h 4496940"/>
                  <a:gd name="connsiteX61" fmla="*/ 3516652 w 4519987"/>
                  <a:gd name="connsiteY61" fmla="*/ 4114800 h 4496940"/>
                  <a:gd name="connsiteX62" fmla="*/ 3497602 w 4519987"/>
                  <a:gd name="connsiteY62" fmla="*/ 4143375 h 4496940"/>
                  <a:gd name="connsiteX63" fmla="*/ 3383302 w 4519987"/>
                  <a:gd name="connsiteY63" fmla="*/ 4210050 h 4496940"/>
                  <a:gd name="connsiteX64" fmla="*/ 3335677 w 4519987"/>
                  <a:gd name="connsiteY64" fmla="*/ 4238625 h 4496940"/>
                  <a:gd name="connsiteX65" fmla="*/ 3288052 w 4519987"/>
                  <a:gd name="connsiteY65" fmla="*/ 4248150 h 4496940"/>
                  <a:gd name="connsiteX66" fmla="*/ 3240427 w 4519987"/>
                  <a:gd name="connsiteY66" fmla="*/ 4267200 h 4496940"/>
                  <a:gd name="connsiteX67" fmla="*/ 3068977 w 4519987"/>
                  <a:gd name="connsiteY67" fmla="*/ 4286250 h 4496940"/>
                  <a:gd name="connsiteX68" fmla="*/ 2935627 w 4519987"/>
                  <a:gd name="connsiteY68" fmla="*/ 4333875 h 4496940"/>
                  <a:gd name="connsiteX69" fmla="*/ 2811802 w 4519987"/>
                  <a:gd name="connsiteY69" fmla="*/ 4371975 h 4496940"/>
                  <a:gd name="connsiteX70" fmla="*/ 2745127 w 4519987"/>
                  <a:gd name="connsiteY70" fmla="*/ 4410075 h 4496940"/>
                  <a:gd name="connsiteX71" fmla="*/ 2697502 w 4519987"/>
                  <a:gd name="connsiteY71" fmla="*/ 4429125 h 4496940"/>
                  <a:gd name="connsiteX72" fmla="*/ 2640352 w 4519987"/>
                  <a:gd name="connsiteY72" fmla="*/ 4457700 h 4496940"/>
                  <a:gd name="connsiteX73" fmla="*/ 2583202 w 4519987"/>
                  <a:gd name="connsiteY73" fmla="*/ 4467225 h 4496940"/>
                  <a:gd name="connsiteX74" fmla="*/ 2545102 w 4519987"/>
                  <a:gd name="connsiteY74" fmla="*/ 4486275 h 4496940"/>
                  <a:gd name="connsiteX75" fmla="*/ 2306977 w 4519987"/>
                  <a:gd name="connsiteY75" fmla="*/ 4476750 h 4496940"/>
                  <a:gd name="connsiteX76" fmla="*/ 2202202 w 4519987"/>
                  <a:gd name="connsiteY76" fmla="*/ 4457700 h 4496940"/>
                  <a:gd name="connsiteX77" fmla="*/ 2126002 w 4519987"/>
                  <a:gd name="connsiteY77" fmla="*/ 4429125 h 4496940"/>
                  <a:gd name="connsiteX78" fmla="*/ 1935502 w 4519987"/>
                  <a:gd name="connsiteY78" fmla="*/ 4400550 h 4496940"/>
                  <a:gd name="connsiteX79" fmla="*/ 1821202 w 4519987"/>
                  <a:gd name="connsiteY79" fmla="*/ 4371975 h 4496940"/>
                  <a:gd name="connsiteX80" fmla="*/ 1754527 w 4519987"/>
                  <a:gd name="connsiteY80" fmla="*/ 4352925 h 4496940"/>
                  <a:gd name="connsiteX81" fmla="*/ 1687852 w 4519987"/>
                  <a:gd name="connsiteY81" fmla="*/ 4343400 h 4496940"/>
                  <a:gd name="connsiteX82" fmla="*/ 1573552 w 4519987"/>
                  <a:gd name="connsiteY82" fmla="*/ 4305300 h 4496940"/>
                  <a:gd name="connsiteX83" fmla="*/ 1402102 w 4519987"/>
                  <a:gd name="connsiteY83" fmla="*/ 4276725 h 4496940"/>
                  <a:gd name="connsiteX84" fmla="*/ 1287802 w 4519987"/>
                  <a:gd name="connsiteY84" fmla="*/ 4229100 h 4496940"/>
                  <a:gd name="connsiteX85" fmla="*/ 1221127 w 4519987"/>
                  <a:gd name="connsiteY85" fmla="*/ 4200525 h 4496940"/>
                  <a:gd name="connsiteX86" fmla="*/ 1144927 w 4519987"/>
                  <a:gd name="connsiteY86" fmla="*/ 4171950 h 4496940"/>
                  <a:gd name="connsiteX87" fmla="*/ 1087777 w 4519987"/>
                  <a:gd name="connsiteY87" fmla="*/ 4143375 h 4496940"/>
                  <a:gd name="connsiteX88" fmla="*/ 1030627 w 4519987"/>
                  <a:gd name="connsiteY88" fmla="*/ 4124325 h 4496940"/>
                  <a:gd name="connsiteX89" fmla="*/ 925852 w 4519987"/>
                  <a:gd name="connsiteY89" fmla="*/ 4067175 h 4496940"/>
                  <a:gd name="connsiteX90" fmla="*/ 830602 w 4519987"/>
                  <a:gd name="connsiteY90" fmla="*/ 3981450 h 4496940"/>
                  <a:gd name="connsiteX91" fmla="*/ 763927 w 4519987"/>
                  <a:gd name="connsiteY91" fmla="*/ 3914775 h 4496940"/>
                  <a:gd name="connsiteX92" fmla="*/ 725827 w 4519987"/>
                  <a:gd name="connsiteY92" fmla="*/ 3876675 h 4496940"/>
                  <a:gd name="connsiteX93" fmla="*/ 697252 w 4519987"/>
                  <a:gd name="connsiteY93" fmla="*/ 3838575 h 4496940"/>
                  <a:gd name="connsiteX94" fmla="*/ 640102 w 4519987"/>
                  <a:gd name="connsiteY94" fmla="*/ 3781425 h 4496940"/>
                  <a:gd name="connsiteX95" fmla="*/ 611527 w 4519987"/>
                  <a:gd name="connsiteY95" fmla="*/ 3733800 h 4496940"/>
                  <a:gd name="connsiteX96" fmla="*/ 554377 w 4519987"/>
                  <a:gd name="connsiteY96" fmla="*/ 3657600 h 4496940"/>
                  <a:gd name="connsiteX97" fmla="*/ 525802 w 4519987"/>
                  <a:gd name="connsiteY97" fmla="*/ 3609975 h 4496940"/>
                  <a:gd name="connsiteX98" fmla="*/ 497227 w 4519987"/>
                  <a:gd name="connsiteY98" fmla="*/ 3552825 h 4496940"/>
                  <a:gd name="connsiteX99" fmla="*/ 440077 w 4519987"/>
                  <a:gd name="connsiteY99" fmla="*/ 3495675 h 4496940"/>
                  <a:gd name="connsiteX100" fmla="*/ 411502 w 4519987"/>
                  <a:gd name="connsiteY100" fmla="*/ 3448050 h 4496940"/>
                  <a:gd name="connsiteX101" fmla="*/ 278152 w 4519987"/>
                  <a:gd name="connsiteY101" fmla="*/ 3257550 h 4496940"/>
                  <a:gd name="connsiteX102" fmla="*/ 249577 w 4519987"/>
                  <a:gd name="connsiteY102" fmla="*/ 3200400 h 4496940"/>
                  <a:gd name="connsiteX103" fmla="*/ 240052 w 4519987"/>
                  <a:gd name="connsiteY103" fmla="*/ 3162300 h 4496940"/>
                  <a:gd name="connsiteX104" fmla="*/ 221002 w 4519987"/>
                  <a:gd name="connsiteY104" fmla="*/ 3105150 h 4496940"/>
                  <a:gd name="connsiteX105" fmla="*/ 173377 w 4519987"/>
                  <a:gd name="connsiteY105" fmla="*/ 3019425 h 4496940"/>
                  <a:gd name="connsiteX106" fmla="*/ 144802 w 4519987"/>
                  <a:gd name="connsiteY106" fmla="*/ 2924175 h 4496940"/>
                  <a:gd name="connsiteX107" fmla="*/ 68602 w 4519987"/>
                  <a:gd name="connsiteY107" fmla="*/ 2724150 h 4496940"/>
                  <a:gd name="connsiteX108" fmla="*/ 49552 w 4519987"/>
                  <a:gd name="connsiteY108" fmla="*/ 2638425 h 4496940"/>
                  <a:gd name="connsiteX109" fmla="*/ 40027 w 4519987"/>
                  <a:gd name="connsiteY109" fmla="*/ 2562225 h 4496940"/>
                  <a:gd name="connsiteX110" fmla="*/ 30502 w 4519987"/>
                  <a:gd name="connsiteY110" fmla="*/ 2514600 h 4496940"/>
                  <a:gd name="connsiteX111" fmla="*/ 11452 w 4519987"/>
                  <a:gd name="connsiteY111" fmla="*/ 2400300 h 4496940"/>
                  <a:gd name="connsiteX112" fmla="*/ 20977 w 4519987"/>
                  <a:gd name="connsiteY112" fmla="*/ 1905000 h 4496940"/>
                  <a:gd name="connsiteX113" fmla="*/ 30502 w 4519987"/>
                  <a:gd name="connsiteY113" fmla="*/ 1838325 h 4496940"/>
                  <a:gd name="connsiteX114" fmla="*/ 49552 w 4519987"/>
                  <a:gd name="connsiteY114" fmla="*/ 1781175 h 4496940"/>
                  <a:gd name="connsiteX115" fmla="*/ 59077 w 4519987"/>
                  <a:gd name="connsiteY115" fmla="*/ 1743075 h 4496940"/>
                  <a:gd name="connsiteX116" fmla="*/ 78127 w 4519987"/>
                  <a:gd name="connsiteY116" fmla="*/ 1685925 h 4496940"/>
                  <a:gd name="connsiteX117" fmla="*/ 87652 w 4519987"/>
                  <a:gd name="connsiteY117" fmla="*/ 1638300 h 4496940"/>
                  <a:gd name="connsiteX118" fmla="*/ 106702 w 4519987"/>
                  <a:gd name="connsiteY118" fmla="*/ 1590675 h 4496940"/>
                  <a:gd name="connsiteX119" fmla="*/ 135277 w 4519987"/>
                  <a:gd name="connsiteY119" fmla="*/ 1504950 h 4496940"/>
                  <a:gd name="connsiteX120" fmla="*/ 154327 w 4519987"/>
                  <a:gd name="connsiteY120" fmla="*/ 1419225 h 4496940"/>
                  <a:gd name="connsiteX121" fmla="*/ 230527 w 4519987"/>
                  <a:gd name="connsiteY121" fmla="*/ 1276350 h 4496940"/>
                  <a:gd name="connsiteX122" fmla="*/ 240052 w 4519987"/>
                  <a:gd name="connsiteY122" fmla="*/ 1247775 h 4496940"/>
                  <a:gd name="connsiteX123" fmla="*/ 268627 w 4519987"/>
                  <a:gd name="connsiteY123" fmla="*/ 1200150 h 4496940"/>
                  <a:gd name="connsiteX124" fmla="*/ 287677 w 4519987"/>
                  <a:gd name="connsiteY124" fmla="*/ 1152525 h 4496940"/>
                  <a:gd name="connsiteX125" fmla="*/ 316252 w 4519987"/>
                  <a:gd name="connsiteY125" fmla="*/ 1114425 h 4496940"/>
                  <a:gd name="connsiteX126" fmla="*/ 363877 w 4519987"/>
                  <a:gd name="connsiteY126" fmla="*/ 1038225 h 4496940"/>
                  <a:gd name="connsiteX127" fmla="*/ 382927 w 4519987"/>
                  <a:gd name="connsiteY127" fmla="*/ 1009650 h 4496940"/>
                  <a:gd name="connsiteX128" fmla="*/ 440077 w 4519987"/>
                  <a:gd name="connsiteY128" fmla="*/ 904875 h 4496940"/>
                  <a:gd name="connsiteX129" fmla="*/ 478177 w 4519987"/>
                  <a:gd name="connsiteY129" fmla="*/ 857250 h 4496940"/>
                  <a:gd name="connsiteX130" fmla="*/ 497227 w 4519987"/>
                  <a:gd name="connsiteY130" fmla="*/ 828675 h 4496940"/>
                  <a:gd name="connsiteX131" fmla="*/ 535327 w 4519987"/>
                  <a:gd name="connsiteY131" fmla="*/ 800100 h 4496940"/>
                  <a:gd name="connsiteX132" fmla="*/ 602002 w 4519987"/>
                  <a:gd name="connsiteY132" fmla="*/ 733425 h 4496940"/>
                  <a:gd name="connsiteX133" fmla="*/ 668677 w 4519987"/>
                  <a:gd name="connsiteY133" fmla="*/ 676275 h 4496940"/>
                  <a:gd name="connsiteX134" fmla="*/ 697252 w 4519987"/>
                  <a:gd name="connsiteY134" fmla="*/ 657225 h 4496940"/>
                  <a:gd name="connsiteX135" fmla="*/ 840127 w 4519987"/>
                  <a:gd name="connsiteY135" fmla="*/ 533400 h 4496940"/>
                  <a:gd name="connsiteX136" fmla="*/ 887752 w 4519987"/>
                  <a:gd name="connsiteY136" fmla="*/ 504825 h 4496940"/>
                  <a:gd name="connsiteX137" fmla="*/ 1167152 w 4519987"/>
                  <a:gd name="connsiteY137" fmla="*/ 311150 h 4496940"/>
                  <a:gd name="connsiteX138" fmla="*/ 1268752 w 4519987"/>
                  <a:gd name="connsiteY138" fmla="*/ 285750 h 4496940"/>
                  <a:gd name="connsiteX139" fmla="*/ 1411627 w 4519987"/>
                  <a:gd name="connsiteY139" fmla="*/ 190500 h 4496940"/>
                  <a:gd name="connsiteX140" fmla="*/ 1449727 w 4519987"/>
                  <a:gd name="connsiteY140" fmla="*/ 161925 h 4496940"/>
                  <a:gd name="connsiteX141" fmla="*/ 1525927 w 4519987"/>
                  <a:gd name="connsiteY141" fmla="*/ 152400 h 4496940"/>
                  <a:gd name="connsiteX142" fmla="*/ 1583077 w 4519987"/>
                  <a:gd name="connsiteY142" fmla="*/ 142875 h 4496940"/>
                  <a:gd name="connsiteX143" fmla="*/ 1716427 w 4519987"/>
                  <a:gd name="connsiteY143" fmla="*/ 123825 h 4496940"/>
                  <a:gd name="connsiteX144" fmla="*/ 1811677 w 4519987"/>
                  <a:gd name="connsiteY144" fmla="*/ 114300 h 4496940"/>
                  <a:gd name="connsiteX145" fmla="*/ 1859302 w 4519987"/>
                  <a:gd name="connsiteY145" fmla="*/ 104775 h 4496940"/>
                  <a:gd name="connsiteX146" fmla="*/ 1916452 w 4519987"/>
                  <a:gd name="connsiteY146" fmla="*/ 95250 h 4496940"/>
                  <a:gd name="connsiteX147" fmla="*/ 2030752 w 4519987"/>
                  <a:gd name="connsiteY147" fmla="*/ 66675 h 4496940"/>
                  <a:gd name="connsiteX148" fmla="*/ 2097427 w 4519987"/>
                  <a:gd name="connsiteY148" fmla="*/ 47625 h 4496940"/>
                  <a:gd name="connsiteX149" fmla="*/ 2164102 w 4519987"/>
                  <a:gd name="connsiteY149" fmla="*/ 38100 h 4496940"/>
                  <a:gd name="connsiteX150" fmla="*/ 2392702 w 4519987"/>
                  <a:gd name="connsiteY15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3907177 w 4519987"/>
                  <a:gd name="connsiteY21" fmla="*/ 647700 h 4496940"/>
                  <a:gd name="connsiteX22" fmla="*/ 4078627 w 4519987"/>
                  <a:gd name="connsiteY22" fmla="*/ 838200 h 4496940"/>
                  <a:gd name="connsiteX23" fmla="*/ 4135777 w 4519987"/>
                  <a:gd name="connsiteY23" fmla="*/ 933450 h 4496940"/>
                  <a:gd name="connsiteX24" fmla="*/ 4164352 w 4519987"/>
                  <a:gd name="connsiteY24" fmla="*/ 990600 h 4496940"/>
                  <a:gd name="connsiteX25" fmla="*/ 4173877 w 4519987"/>
                  <a:gd name="connsiteY25" fmla="*/ 1019175 h 4496940"/>
                  <a:gd name="connsiteX26" fmla="*/ 4192927 w 4519987"/>
                  <a:gd name="connsiteY26" fmla="*/ 1057275 h 4496940"/>
                  <a:gd name="connsiteX27" fmla="*/ 4202452 w 4519987"/>
                  <a:gd name="connsiteY27" fmla="*/ 1085850 h 4496940"/>
                  <a:gd name="connsiteX28" fmla="*/ 4250077 w 4519987"/>
                  <a:gd name="connsiteY28" fmla="*/ 1143000 h 4496940"/>
                  <a:gd name="connsiteX29" fmla="*/ 4259602 w 4519987"/>
                  <a:gd name="connsiteY29" fmla="*/ 1190625 h 4496940"/>
                  <a:gd name="connsiteX30" fmla="*/ 4307227 w 4519987"/>
                  <a:gd name="connsiteY30" fmla="*/ 1266825 h 4496940"/>
                  <a:gd name="connsiteX31" fmla="*/ 4345327 w 4519987"/>
                  <a:gd name="connsiteY31" fmla="*/ 1362075 h 4496940"/>
                  <a:gd name="connsiteX32" fmla="*/ 4373902 w 4519987"/>
                  <a:gd name="connsiteY32" fmla="*/ 1428750 h 4496940"/>
                  <a:gd name="connsiteX33" fmla="*/ 4392952 w 4519987"/>
                  <a:gd name="connsiteY33" fmla="*/ 1552575 h 4496940"/>
                  <a:gd name="connsiteX34" fmla="*/ 4402477 w 4519987"/>
                  <a:gd name="connsiteY34" fmla="*/ 1590675 h 4496940"/>
                  <a:gd name="connsiteX35" fmla="*/ 4431052 w 4519987"/>
                  <a:gd name="connsiteY35" fmla="*/ 1685925 h 4496940"/>
                  <a:gd name="connsiteX36" fmla="*/ 4519952 w 4519987"/>
                  <a:gd name="connsiteY36" fmla="*/ 2181225 h 4496940"/>
                  <a:gd name="connsiteX37" fmla="*/ 4446927 w 4519987"/>
                  <a:gd name="connsiteY37" fmla="*/ 2768600 h 4496940"/>
                  <a:gd name="connsiteX38" fmla="*/ 4383427 w 4519987"/>
                  <a:gd name="connsiteY38" fmla="*/ 2990850 h 4496940"/>
                  <a:gd name="connsiteX39" fmla="*/ 4278652 w 4519987"/>
                  <a:gd name="connsiteY39" fmla="*/ 3248025 h 4496940"/>
                  <a:gd name="connsiteX40" fmla="*/ 4259602 w 4519987"/>
                  <a:gd name="connsiteY40" fmla="*/ 3276600 h 4496940"/>
                  <a:gd name="connsiteX41" fmla="*/ 4221502 w 4519987"/>
                  <a:gd name="connsiteY41" fmla="*/ 3333750 h 4496940"/>
                  <a:gd name="connsiteX42" fmla="*/ 4211977 w 4519987"/>
                  <a:gd name="connsiteY42" fmla="*/ 3362325 h 4496940"/>
                  <a:gd name="connsiteX43" fmla="*/ 4183402 w 4519987"/>
                  <a:gd name="connsiteY43" fmla="*/ 3400425 h 4496940"/>
                  <a:gd name="connsiteX44" fmla="*/ 4164352 w 4519987"/>
                  <a:gd name="connsiteY44" fmla="*/ 3429000 h 4496940"/>
                  <a:gd name="connsiteX45" fmla="*/ 4088152 w 4519987"/>
                  <a:gd name="connsiteY45" fmla="*/ 3495675 h 4496940"/>
                  <a:gd name="connsiteX46" fmla="*/ 4059577 w 4519987"/>
                  <a:gd name="connsiteY46" fmla="*/ 3533775 h 4496940"/>
                  <a:gd name="connsiteX47" fmla="*/ 4002427 w 4519987"/>
                  <a:gd name="connsiteY47" fmla="*/ 3600450 h 4496940"/>
                  <a:gd name="connsiteX48" fmla="*/ 3983377 w 4519987"/>
                  <a:gd name="connsiteY48" fmla="*/ 3629025 h 4496940"/>
                  <a:gd name="connsiteX49" fmla="*/ 3954802 w 4519987"/>
                  <a:gd name="connsiteY49" fmla="*/ 3648075 h 4496940"/>
                  <a:gd name="connsiteX50" fmla="*/ 3907177 w 4519987"/>
                  <a:gd name="connsiteY50" fmla="*/ 3686175 h 4496940"/>
                  <a:gd name="connsiteX51" fmla="*/ 3869077 w 4519987"/>
                  <a:gd name="connsiteY51" fmla="*/ 3724275 h 4496940"/>
                  <a:gd name="connsiteX52" fmla="*/ 3792877 w 4519987"/>
                  <a:gd name="connsiteY52" fmla="*/ 3781425 h 4496940"/>
                  <a:gd name="connsiteX53" fmla="*/ 3783352 w 4519987"/>
                  <a:gd name="connsiteY53" fmla="*/ 3810000 h 4496940"/>
                  <a:gd name="connsiteX54" fmla="*/ 3745252 w 4519987"/>
                  <a:gd name="connsiteY54" fmla="*/ 3819525 h 4496940"/>
                  <a:gd name="connsiteX55" fmla="*/ 3678577 w 4519987"/>
                  <a:gd name="connsiteY55" fmla="*/ 3848100 h 4496940"/>
                  <a:gd name="connsiteX56" fmla="*/ 3659527 w 4519987"/>
                  <a:gd name="connsiteY56" fmla="*/ 3971925 h 4496940"/>
                  <a:gd name="connsiteX57" fmla="*/ 3630952 w 4519987"/>
                  <a:gd name="connsiteY57" fmla="*/ 4010025 h 4496940"/>
                  <a:gd name="connsiteX58" fmla="*/ 3621427 w 4519987"/>
                  <a:gd name="connsiteY58" fmla="*/ 4038600 h 4496940"/>
                  <a:gd name="connsiteX59" fmla="*/ 3554752 w 4519987"/>
                  <a:gd name="connsiteY59" fmla="*/ 4095750 h 4496940"/>
                  <a:gd name="connsiteX60" fmla="*/ 3516652 w 4519987"/>
                  <a:gd name="connsiteY60" fmla="*/ 4114800 h 4496940"/>
                  <a:gd name="connsiteX61" fmla="*/ 3497602 w 4519987"/>
                  <a:gd name="connsiteY61" fmla="*/ 4143375 h 4496940"/>
                  <a:gd name="connsiteX62" fmla="*/ 3383302 w 4519987"/>
                  <a:gd name="connsiteY62" fmla="*/ 4210050 h 4496940"/>
                  <a:gd name="connsiteX63" fmla="*/ 3335677 w 4519987"/>
                  <a:gd name="connsiteY63" fmla="*/ 4238625 h 4496940"/>
                  <a:gd name="connsiteX64" fmla="*/ 3288052 w 4519987"/>
                  <a:gd name="connsiteY64" fmla="*/ 4248150 h 4496940"/>
                  <a:gd name="connsiteX65" fmla="*/ 3240427 w 4519987"/>
                  <a:gd name="connsiteY65" fmla="*/ 4267200 h 4496940"/>
                  <a:gd name="connsiteX66" fmla="*/ 3068977 w 4519987"/>
                  <a:gd name="connsiteY66" fmla="*/ 4286250 h 4496940"/>
                  <a:gd name="connsiteX67" fmla="*/ 2935627 w 4519987"/>
                  <a:gd name="connsiteY67" fmla="*/ 4333875 h 4496940"/>
                  <a:gd name="connsiteX68" fmla="*/ 2811802 w 4519987"/>
                  <a:gd name="connsiteY68" fmla="*/ 4371975 h 4496940"/>
                  <a:gd name="connsiteX69" fmla="*/ 2745127 w 4519987"/>
                  <a:gd name="connsiteY69" fmla="*/ 4410075 h 4496940"/>
                  <a:gd name="connsiteX70" fmla="*/ 2697502 w 4519987"/>
                  <a:gd name="connsiteY70" fmla="*/ 4429125 h 4496940"/>
                  <a:gd name="connsiteX71" fmla="*/ 2640352 w 4519987"/>
                  <a:gd name="connsiteY71" fmla="*/ 4457700 h 4496940"/>
                  <a:gd name="connsiteX72" fmla="*/ 2583202 w 4519987"/>
                  <a:gd name="connsiteY72" fmla="*/ 4467225 h 4496940"/>
                  <a:gd name="connsiteX73" fmla="*/ 2545102 w 4519987"/>
                  <a:gd name="connsiteY73" fmla="*/ 4486275 h 4496940"/>
                  <a:gd name="connsiteX74" fmla="*/ 2306977 w 4519987"/>
                  <a:gd name="connsiteY74" fmla="*/ 4476750 h 4496940"/>
                  <a:gd name="connsiteX75" fmla="*/ 2202202 w 4519987"/>
                  <a:gd name="connsiteY75" fmla="*/ 4457700 h 4496940"/>
                  <a:gd name="connsiteX76" fmla="*/ 2126002 w 4519987"/>
                  <a:gd name="connsiteY76" fmla="*/ 4429125 h 4496940"/>
                  <a:gd name="connsiteX77" fmla="*/ 1935502 w 4519987"/>
                  <a:gd name="connsiteY77" fmla="*/ 4400550 h 4496940"/>
                  <a:gd name="connsiteX78" fmla="*/ 1821202 w 4519987"/>
                  <a:gd name="connsiteY78" fmla="*/ 4371975 h 4496940"/>
                  <a:gd name="connsiteX79" fmla="*/ 1754527 w 4519987"/>
                  <a:gd name="connsiteY79" fmla="*/ 4352925 h 4496940"/>
                  <a:gd name="connsiteX80" fmla="*/ 1687852 w 4519987"/>
                  <a:gd name="connsiteY80" fmla="*/ 4343400 h 4496940"/>
                  <a:gd name="connsiteX81" fmla="*/ 1573552 w 4519987"/>
                  <a:gd name="connsiteY81" fmla="*/ 4305300 h 4496940"/>
                  <a:gd name="connsiteX82" fmla="*/ 1402102 w 4519987"/>
                  <a:gd name="connsiteY82" fmla="*/ 4276725 h 4496940"/>
                  <a:gd name="connsiteX83" fmla="*/ 1287802 w 4519987"/>
                  <a:gd name="connsiteY83" fmla="*/ 4229100 h 4496940"/>
                  <a:gd name="connsiteX84" fmla="*/ 1221127 w 4519987"/>
                  <a:gd name="connsiteY84" fmla="*/ 4200525 h 4496940"/>
                  <a:gd name="connsiteX85" fmla="*/ 1144927 w 4519987"/>
                  <a:gd name="connsiteY85" fmla="*/ 4171950 h 4496940"/>
                  <a:gd name="connsiteX86" fmla="*/ 1087777 w 4519987"/>
                  <a:gd name="connsiteY86" fmla="*/ 4143375 h 4496940"/>
                  <a:gd name="connsiteX87" fmla="*/ 1030627 w 4519987"/>
                  <a:gd name="connsiteY87" fmla="*/ 4124325 h 4496940"/>
                  <a:gd name="connsiteX88" fmla="*/ 925852 w 4519987"/>
                  <a:gd name="connsiteY88" fmla="*/ 4067175 h 4496940"/>
                  <a:gd name="connsiteX89" fmla="*/ 830602 w 4519987"/>
                  <a:gd name="connsiteY89" fmla="*/ 3981450 h 4496940"/>
                  <a:gd name="connsiteX90" fmla="*/ 763927 w 4519987"/>
                  <a:gd name="connsiteY90" fmla="*/ 3914775 h 4496940"/>
                  <a:gd name="connsiteX91" fmla="*/ 725827 w 4519987"/>
                  <a:gd name="connsiteY91" fmla="*/ 3876675 h 4496940"/>
                  <a:gd name="connsiteX92" fmla="*/ 697252 w 4519987"/>
                  <a:gd name="connsiteY92" fmla="*/ 3838575 h 4496940"/>
                  <a:gd name="connsiteX93" fmla="*/ 640102 w 4519987"/>
                  <a:gd name="connsiteY93" fmla="*/ 3781425 h 4496940"/>
                  <a:gd name="connsiteX94" fmla="*/ 611527 w 4519987"/>
                  <a:gd name="connsiteY94" fmla="*/ 3733800 h 4496940"/>
                  <a:gd name="connsiteX95" fmla="*/ 554377 w 4519987"/>
                  <a:gd name="connsiteY95" fmla="*/ 3657600 h 4496940"/>
                  <a:gd name="connsiteX96" fmla="*/ 525802 w 4519987"/>
                  <a:gd name="connsiteY96" fmla="*/ 3609975 h 4496940"/>
                  <a:gd name="connsiteX97" fmla="*/ 497227 w 4519987"/>
                  <a:gd name="connsiteY97" fmla="*/ 3552825 h 4496940"/>
                  <a:gd name="connsiteX98" fmla="*/ 440077 w 4519987"/>
                  <a:gd name="connsiteY98" fmla="*/ 3495675 h 4496940"/>
                  <a:gd name="connsiteX99" fmla="*/ 411502 w 4519987"/>
                  <a:gd name="connsiteY99" fmla="*/ 3448050 h 4496940"/>
                  <a:gd name="connsiteX100" fmla="*/ 278152 w 4519987"/>
                  <a:gd name="connsiteY100" fmla="*/ 3257550 h 4496940"/>
                  <a:gd name="connsiteX101" fmla="*/ 249577 w 4519987"/>
                  <a:gd name="connsiteY101" fmla="*/ 3200400 h 4496940"/>
                  <a:gd name="connsiteX102" fmla="*/ 240052 w 4519987"/>
                  <a:gd name="connsiteY102" fmla="*/ 3162300 h 4496940"/>
                  <a:gd name="connsiteX103" fmla="*/ 221002 w 4519987"/>
                  <a:gd name="connsiteY103" fmla="*/ 3105150 h 4496940"/>
                  <a:gd name="connsiteX104" fmla="*/ 173377 w 4519987"/>
                  <a:gd name="connsiteY104" fmla="*/ 3019425 h 4496940"/>
                  <a:gd name="connsiteX105" fmla="*/ 144802 w 4519987"/>
                  <a:gd name="connsiteY105" fmla="*/ 2924175 h 4496940"/>
                  <a:gd name="connsiteX106" fmla="*/ 68602 w 4519987"/>
                  <a:gd name="connsiteY106" fmla="*/ 2724150 h 4496940"/>
                  <a:gd name="connsiteX107" fmla="*/ 49552 w 4519987"/>
                  <a:gd name="connsiteY107" fmla="*/ 2638425 h 4496940"/>
                  <a:gd name="connsiteX108" fmla="*/ 40027 w 4519987"/>
                  <a:gd name="connsiteY108" fmla="*/ 2562225 h 4496940"/>
                  <a:gd name="connsiteX109" fmla="*/ 30502 w 4519987"/>
                  <a:gd name="connsiteY109" fmla="*/ 2514600 h 4496940"/>
                  <a:gd name="connsiteX110" fmla="*/ 11452 w 4519987"/>
                  <a:gd name="connsiteY110" fmla="*/ 2400300 h 4496940"/>
                  <a:gd name="connsiteX111" fmla="*/ 20977 w 4519987"/>
                  <a:gd name="connsiteY111" fmla="*/ 1905000 h 4496940"/>
                  <a:gd name="connsiteX112" fmla="*/ 30502 w 4519987"/>
                  <a:gd name="connsiteY112" fmla="*/ 1838325 h 4496940"/>
                  <a:gd name="connsiteX113" fmla="*/ 49552 w 4519987"/>
                  <a:gd name="connsiteY113" fmla="*/ 1781175 h 4496940"/>
                  <a:gd name="connsiteX114" fmla="*/ 59077 w 4519987"/>
                  <a:gd name="connsiteY114" fmla="*/ 1743075 h 4496940"/>
                  <a:gd name="connsiteX115" fmla="*/ 78127 w 4519987"/>
                  <a:gd name="connsiteY115" fmla="*/ 1685925 h 4496940"/>
                  <a:gd name="connsiteX116" fmla="*/ 87652 w 4519987"/>
                  <a:gd name="connsiteY116" fmla="*/ 1638300 h 4496940"/>
                  <a:gd name="connsiteX117" fmla="*/ 106702 w 4519987"/>
                  <a:gd name="connsiteY117" fmla="*/ 1590675 h 4496940"/>
                  <a:gd name="connsiteX118" fmla="*/ 135277 w 4519987"/>
                  <a:gd name="connsiteY118" fmla="*/ 1504950 h 4496940"/>
                  <a:gd name="connsiteX119" fmla="*/ 154327 w 4519987"/>
                  <a:gd name="connsiteY119" fmla="*/ 1419225 h 4496940"/>
                  <a:gd name="connsiteX120" fmla="*/ 230527 w 4519987"/>
                  <a:gd name="connsiteY120" fmla="*/ 1276350 h 4496940"/>
                  <a:gd name="connsiteX121" fmla="*/ 240052 w 4519987"/>
                  <a:gd name="connsiteY121" fmla="*/ 1247775 h 4496940"/>
                  <a:gd name="connsiteX122" fmla="*/ 268627 w 4519987"/>
                  <a:gd name="connsiteY122" fmla="*/ 1200150 h 4496940"/>
                  <a:gd name="connsiteX123" fmla="*/ 287677 w 4519987"/>
                  <a:gd name="connsiteY123" fmla="*/ 1152525 h 4496940"/>
                  <a:gd name="connsiteX124" fmla="*/ 316252 w 4519987"/>
                  <a:gd name="connsiteY124" fmla="*/ 1114425 h 4496940"/>
                  <a:gd name="connsiteX125" fmla="*/ 363877 w 4519987"/>
                  <a:gd name="connsiteY125" fmla="*/ 1038225 h 4496940"/>
                  <a:gd name="connsiteX126" fmla="*/ 382927 w 4519987"/>
                  <a:gd name="connsiteY126" fmla="*/ 1009650 h 4496940"/>
                  <a:gd name="connsiteX127" fmla="*/ 440077 w 4519987"/>
                  <a:gd name="connsiteY127" fmla="*/ 904875 h 4496940"/>
                  <a:gd name="connsiteX128" fmla="*/ 478177 w 4519987"/>
                  <a:gd name="connsiteY128" fmla="*/ 857250 h 4496940"/>
                  <a:gd name="connsiteX129" fmla="*/ 497227 w 4519987"/>
                  <a:gd name="connsiteY129" fmla="*/ 828675 h 4496940"/>
                  <a:gd name="connsiteX130" fmla="*/ 535327 w 4519987"/>
                  <a:gd name="connsiteY130" fmla="*/ 800100 h 4496940"/>
                  <a:gd name="connsiteX131" fmla="*/ 602002 w 4519987"/>
                  <a:gd name="connsiteY131" fmla="*/ 733425 h 4496940"/>
                  <a:gd name="connsiteX132" fmla="*/ 668677 w 4519987"/>
                  <a:gd name="connsiteY132" fmla="*/ 676275 h 4496940"/>
                  <a:gd name="connsiteX133" fmla="*/ 697252 w 4519987"/>
                  <a:gd name="connsiteY133" fmla="*/ 657225 h 4496940"/>
                  <a:gd name="connsiteX134" fmla="*/ 840127 w 4519987"/>
                  <a:gd name="connsiteY134" fmla="*/ 533400 h 4496940"/>
                  <a:gd name="connsiteX135" fmla="*/ 887752 w 4519987"/>
                  <a:gd name="connsiteY135" fmla="*/ 504825 h 4496940"/>
                  <a:gd name="connsiteX136" fmla="*/ 1167152 w 4519987"/>
                  <a:gd name="connsiteY136" fmla="*/ 311150 h 4496940"/>
                  <a:gd name="connsiteX137" fmla="*/ 1268752 w 4519987"/>
                  <a:gd name="connsiteY137" fmla="*/ 285750 h 4496940"/>
                  <a:gd name="connsiteX138" fmla="*/ 1411627 w 4519987"/>
                  <a:gd name="connsiteY138" fmla="*/ 190500 h 4496940"/>
                  <a:gd name="connsiteX139" fmla="*/ 1449727 w 4519987"/>
                  <a:gd name="connsiteY139" fmla="*/ 161925 h 4496940"/>
                  <a:gd name="connsiteX140" fmla="*/ 1525927 w 4519987"/>
                  <a:gd name="connsiteY140" fmla="*/ 152400 h 4496940"/>
                  <a:gd name="connsiteX141" fmla="*/ 1583077 w 4519987"/>
                  <a:gd name="connsiteY141" fmla="*/ 142875 h 4496940"/>
                  <a:gd name="connsiteX142" fmla="*/ 1716427 w 4519987"/>
                  <a:gd name="connsiteY142" fmla="*/ 123825 h 4496940"/>
                  <a:gd name="connsiteX143" fmla="*/ 1811677 w 4519987"/>
                  <a:gd name="connsiteY143" fmla="*/ 114300 h 4496940"/>
                  <a:gd name="connsiteX144" fmla="*/ 1859302 w 4519987"/>
                  <a:gd name="connsiteY144" fmla="*/ 104775 h 4496940"/>
                  <a:gd name="connsiteX145" fmla="*/ 1916452 w 4519987"/>
                  <a:gd name="connsiteY145" fmla="*/ 95250 h 4496940"/>
                  <a:gd name="connsiteX146" fmla="*/ 2030752 w 4519987"/>
                  <a:gd name="connsiteY146" fmla="*/ 66675 h 4496940"/>
                  <a:gd name="connsiteX147" fmla="*/ 2097427 w 4519987"/>
                  <a:gd name="connsiteY147" fmla="*/ 47625 h 4496940"/>
                  <a:gd name="connsiteX148" fmla="*/ 2164102 w 4519987"/>
                  <a:gd name="connsiteY148" fmla="*/ 38100 h 4496940"/>
                  <a:gd name="connsiteX149" fmla="*/ 2392702 w 4519987"/>
                  <a:gd name="connsiteY14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78627 w 4519987"/>
                  <a:gd name="connsiteY21" fmla="*/ 838200 h 4496940"/>
                  <a:gd name="connsiteX22" fmla="*/ 4135777 w 4519987"/>
                  <a:gd name="connsiteY22" fmla="*/ 933450 h 4496940"/>
                  <a:gd name="connsiteX23" fmla="*/ 4164352 w 4519987"/>
                  <a:gd name="connsiteY23" fmla="*/ 990600 h 4496940"/>
                  <a:gd name="connsiteX24" fmla="*/ 4173877 w 4519987"/>
                  <a:gd name="connsiteY24" fmla="*/ 1019175 h 4496940"/>
                  <a:gd name="connsiteX25" fmla="*/ 4192927 w 4519987"/>
                  <a:gd name="connsiteY25" fmla="*/ 1057275 h 4496940"/>
                  <a:gd name="connsiteX26" fmla="*/ 4202452 w 4519987"/>
                  <a:gd name="connsiteY26" fmla="*/ 1085850 h 4496940"/>
                  <a:gd name="connsiteX27" fmla="*/ 4250077 w 4519987"/>
                  <a:gd name="connsiteY27" fmla="*/ 1143000 h 4496940"/>
                  <a:gd name="connsiteX28" fmla="*/ 4259602 w 4519987"/>
                  <a:gd name="connsiteY28" fmla="*/ 1190625 h 4496940"/>
                  <a:gd name="connsiteX29" fmla="*/ 4307227 w 4519987"/>
                  <a:gd name="connsiteY29" fmla="*/ 1266825 h 4496940"/>
                  <a:gd name="connsiteX30" fmla="*/ 4345327 w 4519987"/>
                  <a:gd name="connsiteY30" fmla="*/ 1362075 h 4496940"/>
                  <a:gd name="connsiteX31" fmla="*/ 4373902 w 4519987"/>
                  <a:gd name="connsiteY31" fmla="*/ 1428750 h 4496940"/>
                  <a:gd name="connsiteX32" fmla="*/ 4392952 w 4519987"/>
                  <a:gd name="connsiteY32" fmla="*/ 1552575 h 4496940"/>
                  <a:gd name="connsiteX33" fmla="*/ 4402477 w 4519987"/>
                  <a:gd name="connsiteY33" fmla="*/ 1590675 h 4496940"/>
                  <a:gd name="connsiteX34" fmla="*/ 4431052 w 4519987"/>
                  <a:gd name="connsiteY34" fmla="*/ 1685925 h 4496940"/>
                  <a:gd name="connsiteX35" fmla="*/ 4519952 w 4519987"/>
                  <a:gd name="connsiteY35" fmla="*/ 2181225 h 4496940"/>
                  <a:gd name="connsiteX36" fmla="*/ 4446927 w 4519987"/>
                  <a:gd name="connsiteY36" fmla="*/ 2768600 h 4496940"/>
                  <a:gd name="connsiteX37" fmla="*/ 4383427 w 4519987"/>
                  <a:gd name="connsiteY37" fmla="*/ 2990850 h 4496940"/>
                  <a:gd name="connsiteX38" fmla="*/ 4278652 w 4519987"/>
                  <a:gd name="connsiteY38" fmla="*/ 3248025 h 4496940"/>
                  <a:gd name="connsiteX39" fmla="*/ 4259602 w 4519987"/>
                  <a:gd name="connsiteY39" fmla="*/ 3276600 h 4496940"/>
                  <a:gd name="connsiteX40" fmla="*/ 4221502 w 4519987"/>
                  <a:gd name="connsiteY40" fmla="*/ 3333750 h 4496940"/>
                  <a:gd name="connsiteX41" fmla="*/ 4211977 w 4519987"/>
                  <a:gd name="connsiteY41" fmla="*/ 3362325 h 4496940"/>
                  <a:gd name="connsiteX42" fmla="*/ 4183402 w 4519987"/>
                  <a:gd name="connsiteY42" fmla="*/ 3400425 h 4496940"/>
                  <a:gd name="connsiteX43" fmla="*/ 4164352 w 4519987"/>
                  <a:gd name="connsiteY43" fmla="*/ 3429000 h 4496940"/>
                  <a:gd name="connsiteX44" fmla="*/ 4088152 w 4519987"/>
                  <a:gd name="connsiteY44" fmla="*/ 3495675 h 4496940"/>
                  <a:gd name="connsiteX45" fmla="*/ 4059577 w 4519987"/>
                  <a:gd name="connsiteY45" fmla="*/ 3533775 h 4496940"/>
                  <a:gd name="connsiteX46" fmla="*/ 4002427 w 4519987"/>
                  <a:gd name="connsiteY46" fmla="*/ 3600450 h 4496940"/>
                  <a:gd name="connsiteX47" fmla="*/ 3983377 w 4519987"/>
                  <a:gd name="connsiteY47" fmla="*/ 3629025 h 4496940"/>
                  <a:gd name="connsiteX48" fmla="*/ 3954802 w 4519987"/>
                  <a:gd name="connsiteY48" fmla="*/ 3648075 h 4496940"/>
                  <a:gd name="connsiteX49" fmla="*/ 3907177 w 4519987"/>
                  <a:gd name="connsiteY49" fmla="*/ 3686175 h 4496940"/>
                  <a:gd name="connsiteX50" fmla="*/ 3869077 w 4519987"/>
                  <a:gd name="connsiteY50" fmla="*/ 3724275 h 4496940"/>
                  <a:gd name="connsiteX51" fmla="*/ 3792877 w 4519987"/>
                  <a:gd name="connsiteY51" fmla="*/ 3781425 h 4496940"/>
                  <a:gd name="connsiteX52" fmla="*/ 3783352 w 4519987"/>
                  <a:gd name="connsiteY52" fmla="*/ 3810000 h 4496940"/>
                  <a:gd name="connsiteX53" fmla="*/ 3745252 w 4519987"/>
                  <a:gd name="connsiteY53" fmla="*/ 3819525 h 4496940"/>
                  <a:gd name="connsiteX54" fmla="*/ 3678577 w 4519987"/>
                  <a:gd name="connsiteY54" fmla="*/ 3848100 h 4496940"/>
                  <a:gd name="connsiteX55" fmla="*/ 3659527 w 4519987"/>
                  <a:gd name="connsiteY55" fmla="*/ 3971925 h 4496940"/>
                  <a:gd name="connsiteX56" fmla="*/ 3630952 w 4519987"/>
                  <a:gd name="connsiteY56" fmla="*/ 4010025 h 4496940"/>
                  <a:gd name="connsiteX57" fmla="*/ 3621427 w 4519987"/>
                  <a:gd name="connsiteY57" fmla="*/ 4038600 h 4496940"/>
                  <a:gd name="connsiteX58" fmla="*/ 3554752 w 4519987"/>
                  <a:gd name="connsiteY58" fmla="*/ 4095750 h 4496940"/>
                  <a:gd name="connsiteX59" fmla="*/ 3516652 w 4519987"/>
                  <a:gd name="connsiteY59" fmla="*/ 4114800 h 4496940"/>
                  <a:gd name="connsiteX60" fmla="*/ 3497602 w 4519987"/>
                  <a:gd name="connsiteY60" fmla="*/ 4143375 h 4496940"/>
                  <a:gd name="connsiteX61" fmla="*/ 3383302 w 4519987"/>
                  <a:gd name="connsiteY61" fmla="*/ 4210050 h 4496940"/>
                  <a:gd name="connsiteX62" fmla="*/ 3335677 w 4519987"/>
                  <a:gd name="connsiteY62" fmla="*/ 4238625 h 4496940"/>
                  <a:gd name="connsiteX63" fmla="*/ 3288052 w 4519987"/>
                  <a:gd name="connsiteY63" fmla="*/ 4248150 h 4496940"/>
                  <a:gd name="connsiteX64" fmla="*/ 3240427 w 4519987"/>
                  <a:gd name="connsiteY64" fmla="*/ 4267200 h 4496940"/>
                  <a:gd name="connsiteX65" fmla="*/ 3068977 w 4519987"/>
                  <a:gd name="connsiteY65" fmla="*/ 4286250 h 4496940"/>
                  <a:gd name="connsiteX66" fmla="*/ 2935627 w 4519987"/>
                  <a:gd name="connsiteY66" fmla="*/ 4333875 h 4496940"/>
                  <a:gd name="connsiteX67" fmla="*/ 2811802 w 4519987"/>
                  <a:gd name="connsiteY67" fmla="*/ 4371975 h 4496940"/>
                  <a:gd name="connsiteX68" fmla="*/ 2745127 w 4519987"/>
                  <a:gd name="connsiteY68" fmla="*/ 4410075 h 4496940"/>
                  <a:gd name="connsiteX69" fmla="*/ 2697502 w 4519987"/>
                  <a:gd name="connsiteY69" fmla="*/ 4429125 h 4496940"/>
                  <a:gd name="connsiteX70" fmla="*/ 2640352 w 4519987"/>
                  <a:gd name="connsiteY70" fmla="*/ 4457700 h 4496940"/>
                  <a:gd name="connsiteX71" fmla="*/ 2583202 w 4519987"/>
                  <a:gd name="connsiteY71" fmla="*/ 4467225 h 4496940"/>
                  <a:gd name="connsiteX72" fmla="*/ 2545102 w 4519987"/>
                  <a:gd name="connsiteY72" fmla="*/ 4486275 h 4496940"/>
                  <a:gd name="connsiteX73" fmla="*/ 2306977 w 4519987"/>
                  <a:gd name="connsiteY73" fmla="*/ 4476750 h 4496940"/>
                  <a:gd name="connsiteX74" fmla="*/ 2202202 w 4519987"/>
                  <a:gd name="connsiteY74" fmla="*/ 4457700 h 4496940"/>
                  <a:gd name="connsiteX75" fmla="*/ 2126002 w 4519987"/>
                  <a:gd name="connsiteY75" fmla="*/ 4429125 h 4496940"/>
                  <a:gd name="connsiteX76" fmla="*/ 1935502 w 4519987"/>
                  <a:gd name="connsiteY76" fmla="*/ 4400550 h 4496940"/>
                  <a:gd name="connsiteX77" fmla="*/ 1821202 w 4519987"/>
                  <a:gd name="connsiteY77" fmla="*/ 4371975 h 4496940"/>
                  <a:gd name="connsiteX78" fmla="*/ 1754527 w 4519987"/>
                  <a:gd name="connsiteY78" fmla="*/ 4352925 h 4496940"/>
                  <a:gd name="connsiteX79" fmla="*/ 1687852 w 4519987"/>
                  <a:gd name="connsiteY79" fmla="*/ 4343400 h 4496940"/>
                  <a:gd name="connsiteX80" fmla="*/ 1573552 w 4519987"/>
                  <a:gd name="connsiteY80" fmla="*/ 4305300 h 4496940"/>
                  <a:gd name="connsiteX81" fmla="*/ 1402102 w 4519987"/>
                  <a:gd name="connsiteY81" fmla="*/ 4276725 h 4496940"/>
                  <a:gd name="connsiteX82" fmla="*/ 1287802 w 4519987"/>
                  <a:gd name="connsiteY82" fmla="*/ 4229100 h 4496940"/>
                  <a:gd name="connsiteX83" fmla="*/ 1221127 w 4519987"/>
                  <a:gd name="connsiteY83" fmla="*/ 4200525 h 4496940"/>
                  <a:gd name="connsiteX84" fmla="*/ 1144927 w 4519987"/>
                  <a:gd name="connsiteY84" fmla="*/ 4171950 h 4496940"/>
                  <a:gd name="connsiteX85" fmla="*/ 1087777 w 4519987"/>
                  <a:gd name="connsiteY85" fmla="*/ 4143375 h 4496940"/>
                  <a:gd name="connsiteX86" fmla="*/ 1030627 w 4519987"/>
                  <a:gd name="connsiteY86" fmla="*/ 4124325 h 4496940"/>
                  <a:gd name="connsiteX87" fmla="*/ 925852 w 4519987"/>
                  <a:gd name="connsiteY87" fmla="*/ 4067175 h 4496940"/>
                  <a:gd name="connsiteX88" fmla="*/ 830602 w 4519987"/>
                  <a:gd name="connsiteY88" fmla="*/ 3981450 h 4496940"/>
                  <a:gd name="connsiteX89" fmla="*/ 763927 w 4519987"/>
                  <a:gd name="connsiteY89" fmla="*/ 3914775 h 4496940"/>
                  <a:gd name="connsiteX90" fmla="*/ 725827 w 4519987"/>
                  <a:gd name="connsiteY90" fmla="*/ 3876675 h 4496940"/>
                  <a:gd name="connsiteX91" fmla="*/ 697252 w 4519987"/>
                  <a:gd name="connsiteY91" fmla="*/ 3838575 h 4496940"/>
                  <a:gd name="connsiteX92" fmla="*/ 640102 w 4519987"/>
                  <a:gd name="connsiteY92" fmla="*/ 3781425 h 4496940"/>
                  <a:gd name="connsiteX93" fmla="*/ 611527 w 4519987"/>
                  <a:gd name="connsiteY93" fmla="*/ 3733800 h 4496940"/>
                  <a:gd name="connsiteX94" fmla="*/ 554377 w 4519987"/>
                  <a:gd name="connsiteY94" fmla="*/ 3657600 h 4496940"/>
                  <a:gd name="connsiteX95" fmla="*/ 525802 w 4519987"/>
                  <a:gd name="connsiteY95" fmla="*/ 3609975 h 4496940"/>
                  <a:gd name="connsiteX96" fmla="*/ 497227 w 4519987"/>
                  <a:gd name="connsiteY96" fmla="*/ 3552825 h 4496940"/>
                  <a:gd name="connsiteX97" fmla="*/ 440077 w 4519987"/>
                  <a:gd name="connsiteY97" fmla="*/ 3495675 h 4496940"/>
                  <a:gd name="connsiteX98" fmla="*/ 411502 w 4519987"/>
                  <a:gd name="connsiteY98" fmla="*/ 3448050 h 4496940"/>
                  <a:gd name="connsiteX99" fmla="*/ 278152 w 4519987"/>
                  <a:gd name="connsiteY99" fmla="*/ 3257550 h 4496940"/>
                  <a:gd name="connsiteX100" fmla="*/ 249577 w 4519987"/>
                  <a:gd name="connsiteY100" fmla="*/ 3200400 h 4496940"/>
                  <a:gd name="connsiteX101" fmla="*/ 240052 w 4519987"/>
                  <a:gd name="connsiteY101" fmla="*/ 3162300 h 4496940"/>
                  <a:gd name="connsiteX102" fmla="*/ 221002 w 4519987"/>
                  <a:gd name="connsiteY102" fmla="*/ 3105150 h 4496940"/>
                  <a:gd name="connsiteX103" fmla="*/ 173377 w 4519987"/>
                  <a:gd name="connsiteY103" fmla="*/ 3019425 h 4496940"/>
                  <a:gd name="connsiteX104" fmla="*/ 144802 w 4519987"/>
                  <a:gd name="connsiteY104" fmla="*/ 2924175 h 4496940"/>
                  <a:gd name="connsiteX105" fmla="*/ 68602 w 4519987"/>
                  <a:gd name="connsiteY105" fmla="*/ 2724150 h 4496940"/>
                  <a:gd name="connsiteX106" fmla="*/ 49552 w 4519987"/>
                  <a:gd name="connsiteY106" fmla="*/ 2638425 h 4496940"/>
                  <a:gd name="connsiteX107" fmla="*/ 40027 w 4519987"/>
                  <a:gd name="connsiteY107" fmla="*/ 2562225 h 4496940"/>
                  <a:gd name="connsiteX108" fmla="*/ 30502 w 4519987"/>
                  <a:gd name="connsiteY108" fmla="*/ 2514600 h 4496940"/>
                  <a:gd name="connsiteX109" fmla="*/ 11452 w 4519987"/>
                  <a:gd name="connsiteY109" fmla="*/ 2400300 h 4496940"/>
                  <a:gd name="connsiteX110" fmla="*/ 20977 w 4519987"/>
                  <a:gd name="connsiteY110" fmla="*/ 1905000 h 4496940"/>
                  <a:gd name="connsiteX111" fmla="*/ 30502 w 4519987"/>
                  <a:gd name="connsiteY111" fmla="*/ 1838325 h 4496940"/>
                  <a:gd name="connsiteX112" fmla="*/ 49552 w 4519987"/>
                  <a:gd name="connsiteY112" fmla="*/ 1781175 h 4496940"/>
                  <a:gd name="connsiteX113" fmla="*/ 59077 w 4519987"/>
                  <a:gd name="connsiteY113" fmla="*/ 1743075 h 4496940"/>
                  <a:gd name="connsiteX114" fmla="*/ 78127 w 4519987"/>
                  <a:gd name="connsiteY114" fmla="*/ 1685925 h 4496940"/>
                  <a:gd name="connsiteX115" fmla="*/ 87652 w 4519987"/>
                  <a:gd name="connsiteY115" fmla="*/ 1638300 h 4496940"/>
                  <a:gd name="connsiteX116" fmla="*/ 106702 w 4519987"/>
                  <a:gd name="connsiteY116" fmla="*/ 1590675 h 4496940"/>
                  <a:gd name="connsiteX117" fmla="*/ 135277 w 4519987"/>
                  <a:gd name="connsiteY117" fmla="*/ 1504950 h 4496940"/>
                  <a:gd name="connsiteX118" fmla="*/ 154327 w 4519987"/>
                  <a:gd name="connsiteY118" fmla="*/ 1419225 h 4496940"/>
                  <a:gd name="connsiteX119" fmla="*/ 230527 w 4519987"/>
                  <a:gd name="connsiteY119" fmla="*/ 1276350 h 4496940"/>
                  <a:gd name="connsiteX120" fmla="*/ 240052 w 4519987"/>
                  <a:gd name="connsiteY120" fmla="*/ 1247775 h 4496940"/>
                  <a:gd name="connsiteX121" fmla="*/ 268627 w 4519987"/>
                  <a:gd name="connsiteY121" fmla="*/ 1200150 h 4496940"/>
                  <a:gd name="connsiteX122" fmla="*/ 287677 w 4519987"/>
                  <a:gd name="connsiteY122" fmla="*/ 1152525 h 4496940"/>
                  <a:gd name="connsiteX123" fmla="*/ 316252 w 4519987"/>
                  <a:gd name="connsiteY123" fmla="*/ 1114425 h 4496940"/>
                  <a:gd name="connsiteX124" fmla="*/ 363877 w 4519987"/>
                  <a:gd name="connsiteY124" fmla="*/ 1038225 h 4496940"/>
                  <a:gd name="connsiteX125" fmla="*/ 382927 w 4519987"/>
                  <a:gd name="connsiteY125" fmla="*/ 1009650 h 4496940"/>
                  <a:gd name="connsiteX126" fmla="*/ 440077 w 4519987"/>
                  <a:gd name="connsiteY126" fmla="*/ 904875 h 4496940"/>
                  <a:gd name="connsiteX127" fmla="*/ 478177 w 4519987"/>
                  <a:gd name="connsiteY127" fmla="*/ 857250 h 4496940"/>
                  <a:gd name="connsiteX128" fmla="*/ 497227 w 4519987"/>
                  <a:gd name="connsiteY128" fmla="*/ 828675 h 4496940"/>
                  <a:gd name="connsiteX129" fmla="*/ 535327 w 4519987"/>
                  <a:gd name="connsiteY129" fmla="*/ 800100 h 4496940"/>
                  <a:gd name="connsiteX130" fmla="*/ 602002 w 4519987"/>
                  <a:gd name="connsiteY130" fmla="*/ 733425 h 4496940"/>
                  <a:gd name="connsiteX131" fmla="*/ 668677 w 4519987"/>
                  <a:gd name="connsiteY131" fmla="*/ 676275 h 4496940"/>
                  <a:gd name="connsiteX132" fmla="*/ 697252 w 4519987"/>
                  <a:gd name="connsiteY132" fmla="*/ 657225 h 4496940"/>
                  <a:gd name="connsiteX133" fmla="*/ 840127 w 4519987"/>
                  <a:gd name="connsiteY133" fmla="*/ 533400 h 4496940"/>
                  <a:gd name="connsiteX134" fmla="*/ 887752 w 4519987"/>
                  <a:gd name="connsiteY134" fmla="*/ 504825 h 4496940"/>
                  <a:gd name="connsiteX135" fmla="*/ 1167152 w 4519987"/>
                  <a:gd name="connsiteY135" fmla="*/ 311150 h 4496940"/>
                  <a:gd name="connsiteX136" fmla="*/ 1268752 w 4519987"/>
                  <a:gd name="connsiteY136" fmla="*/ 285750 h 4496940"/>
                  <a:gd name="connsiteX137" fmla="*/ 1411627 w 4519987"/>
                  <a:gd name="connsiteY137" fmla="*/ 190500 h 4496940"/>
                  <a:gd name="connsiteX138" fmla="*/ 1449727 w 4519987"/>
                  <a:gd name="connsiteY138" fmla="*/ 161925 h 4496940"/>
                  <a:gd name="connsiteX139" fmla="*/ 1525927 w 4519987"/>
                  <a:gd name="connsiteY139" fmla="*/ 152400 h 4496940"/>
                  <a:gd name="connsiteX140" fmla="*/ 1583077 w 4519987"/>
                  <a:gd name="connsiteY140" fmla="*/ 142875 h 4496940"/>
                  <a:gd name="connsiteX141" fmla="*/ 1716427 w 4519987"/>
                  <a:gd name="connsiteY141" fmla="*/ 123825 h 4496940"/>
                  <a:gd name="connsiteX142" fmla="*/ 1811677 w 4519987"/>
                  <a:gd name="connsiteY142" fmla="*/ 114300 h 4496940"/>
                  <a:gd name="connsiteX143" fmla="*/ 1859302 w 4519987"/>
                  <a:gd name="connsiteY143" fmla="*/ 104775 h 4496940"/>
                  <a:gd name="connsiteX144" fmla="*/ 1916452 w 4519987"/>
                  <a:gd name="connsiteY144" fmla="*/ 95250 h 4496940"/>
                  <a:gd name="connsiteX145" fmla="*/ 2030752 w 4519987"/>
                  <a:gd name="connsiteY145" fmla="*/ 66675 h 4496940"/>
                  <a:gd name="connsiteX146" fmla="*/ 2097427 w 4519987"/>
                  <a:gd name="connsiteY146" fmla="*/ 47625 h 4496940"/>
                  <a:gd name="connsiteX147" fmla="*/ 2164102 w 4519987"/>
                  <a:gd name="connsiteY147" fmla="*/ 38100 h 4496940"/>
                  <a:gd name="connsiteX148" fmla="*/ 2392702 w 4519987"/>
                  <a:gd name="connsiteY14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135777 w 4519987"/>
                  <a:gd name="connsiteY21" fmla="*/ 9334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192927 w 4519987"/>
                  <a:gd name="connsiteY24" fmla="*/ 1057275 h 4496940"/>
                  <a:gd name="connsiteX25" fmla="*/ 4202452 w 4519987"/>
                  <a:gd name="connsiteY25" fmla="*/ 1085850 h 4496940"/>
                  <a:gd name="connsiteX26" fmla="*/ 4250077 w 4519987"/>
                  <a:gd name="connsiteY26" fmla="*/ 1143000 h 4496940"/>
                  <a:gd name="connsiteX27" fmla="*/ 4259602 w 4519987"/>
                  <a:gd name="connsiteY27" fmla="*/ 1190625 h 4496940"/>
                  <a:gd name="connsiteX28" fmla="*/ 4307227 w 4519987"/>
                  <a:gd name="connsiteY28" fmla="*/ 1266825 h 4496940"/>
                  <a:gd name="connsiteX29" fmla="*/ 4345327 w 4519987"/>
                  <a:gd name="connsiteY29" fmla="*/ 1362075 h 4496940"/>
                  <a:gd name="connsiteX30" fmla="*/ 4373902 w 4519987"/>
                  <a:gd name="connsiteY30" fmla="*/ 1428750 h 4496940"/>
                  <a:gd name="connsiteX31" fmla="*/ 4392952 w 4519987"/>
                  <a:gd name="connsiteY31" fmla="*/ 1552575 h 4496940"/>
                  <a:gd name="connsiteX32" fmla="*/ 4402477 w 4519987"/>
                  <a:gd name="connsiteY32" fmla="*/ 1590675 h 4496940"/>
                  <a:gd name="connsiteX33" fmla="*/ 4431052 w 4519987"/>
                  <a:gd name="connsiteY33" fmla="*/ 1685925 h 4496940"/>
                  <a:gd name="connsiteX34" fmla="*/ 4519952 w 4519987"/>
                  <a:gd name="connsiteY34" fmla="*/ 2181225 h 4496940"/>
                  <a:gd name="connsiteX35" fmla="*/ 4446927 w 4519987"/>
                  <a:gd name="connsiteY35" fmla="*/ 2768600 h 4496940"/>
                  <a:gd name="connsiteX36" fmla="*/ 4383427 w 4519987"/>
                  <a:gd name="connsiteY36" fmla="*/ 2990850 h 4496940"/>
                  <a:gd name="connsiteX37" fmla="*/ 4278652 w 4519987"/>
                  <a:gd name="connsiteY37" fmla="*/ 3248025 h 4496940"/>
                  <a:gd name="connsiteX38" fmla="*/ 4259602 w 4519987"/>
                  <a:gd name="connsiteY38" fmla="*/ 3276600 h 4496940"/>
                  <a:gd name="connsiteX39" fmla="*/ 4221502 w 4519987"/>
                  <a:gd name="connsiteY39" fmla="*/ 3333750 h 4496940"/>
                  <a:gd name="connsiteX40" fmla="*/ 4211977 w 4519987"/>
                  <a:gd name="connsiteY40" fmla="*/ 3362325 h 4496940"/>
                  <a:gd name="connsiteX41" fmla="*/ 4183402 w 4519987"/>
                  <a:gd name="connsiteY41" fmla="*/ 3400425 h 4496940"/>
                  <a:gd name="connsiteX42" fmla="*/ 4164352 w 4519987"/>
                  <a:gd name="connsiteY42" fmla="*/ 3429000 h 4496940"/>
                  <a:gd name="connsiteX43" fmla="*/ 4088152 w 4519987"/>
                  <a:gd name="connsiteY43" fmla="*/ 3495675 h 4496940"/>
                  <a:gd name="connsiteX44" fmla="*/ 4059577 w 4519987"/>
                  <a:gd name="connsiteY44" fmla="*/ 3533775 h 4496940"/>
                  <a:gd name="connsiteX45" fmla="*/ 4002427 w 4519987"/>
                  <a:gd name="connsiteY45" fmla="*/ 3600450 h 4496940"/>
                  <a:gd name="connsiteX46" fmla="*/ 3983377 w 4519987"/>
                  <a:gd name="connsiteY46" fmla="*/ 3629025 h 4496940"/>
                  <a:gd name="connsiteX47" fmla="*/ 3954802 w 4519987"/>
                  <a:gd name="connsiteY47" fmla="*/ 3648075 h 4496940"/>
                  <a:gd name="connsiteX48" fmla="*/ 3907177 w 4519987"/>
                  <a:gd name="connsiteY48" fmla="*/ 3686175 h 4496940"/>
                  <a:gd name="connsiteX49" fmla="*/ 3869077 w 4519987"/>
                  <a:gd name="connsiteY49" fmla="*/ 3724275 h 4496940"/>
                  <a:gd name="connsiteX50" fmla="*/ 3792877 w 4519987"/>
                  <a:gd name="connsiteY50" fmla="*/ 3781425 h 4496940"/>
                  <a:gd name="connsiteX51" fmla="*/ 3783352 w 4519987"/>
                  <a:gd name="connsiteY51" fmla="*/ 3810000 h 4496940"/>
                  <a:gd name="connsiteX52" fmla="*/ 3745252 w 4519987"/>
                  <a:gd name="connsiteY52" fmla="*/ 3819525 h 4496940"/>
                  <a:gd name="connsiteX53" fmla="*/ 3678577 w 4519987"/>
                  <a:gd name="connsiteY53" fmla="*/ 3848100 h 4496940"/>
                  <a:gd name="connsiteX54" fmla="*/ 3659527 w 4519987"/>
                  <a:gd name="connsiteY54" fmla="*/ 3971925 h 4496940"/>
                  <a:gd name="connsiteX55" fmla="*/ 3630952 w 4519987"/>
                  <a:gd name="connsiteY55" fmla="*/ 4010025 h 4496940"/>
                  <a:gd name="connsiteX56" fmla="*/ 3621427 w 4519987"/>
                  <a:gd name="connsiteY56" fmla="*/ 4038600 h 4496940"/>
                  <a:gd name="connsiteX57" fmla="*/ 3554752 w 4519987"/>
                  <a:gd name="connsiteY57" fmla="*/ 4095750 h 4496940"/>
                  <a:gd name="connsiteX58" fmla="*/ 3516652 w 4519987"/>
                  <a:gd name="connsiteY58" fmla="*/ 4114800 h 4496940"/>
                  <a:gd name="connsiteX59" fmla="*/ 3497602 w 4519987"/>
                  <a:gd name="connsiteY59" fmla="*/ 4143375 h 4496940"/>
                  <a:gd name="connsiteX60" fmla="*/ 3383302 w 4519987"/>
                  <a:gd name="connsiteY60" fmla="*/ 4210050 h 4496940"/>
                  <a:gd name="connsiteX61" fmla="*/ 3335677 w 4519987"/>
                  <a:gd name="connsiteY61" fmla="*/ 4238625 h 4496940"/>
                  <a:gd name="connsiteX62" fmla="*/ 3288052 w 4519987"/>
                  <a:gd name="connsiteY62" fmla="*/ 4248150 h 4496940"/>
                  <a:gd name="connsiteX63" fmla="*/ 3240427 w 4519987"/>
                  <a:gd name="connsiteY63" fmla="*/ 4267200 h 4496940"/>
                  <a:gd name="connsiteX64" fmla="*/ 3068977 w 4519987"/>
                  <a:gd name="connsiteY64" fmla="*/ 4286250 h 4496940"/>
                  <a:gd name="connsiteX65" fmla="*/ 2935627 w 4519987"/>
                  <a:gd name="connsiteY65" fmla="*/ 4333875 h 4496940"/>
                  <a:gd name="connsiteX66" fmla="*/ 2811802 w 4519987"/>
                  <a:gd name="connsiteY66" fmla="*/ 4371975 h 4496940"/>
                  <a:gd name="connsiteX67" fmla="*/ 2745127 w 4519987"/>
                  <a:gd name="connsiteY67" fmla="*/ 4410075 h 4496940"/>
                  <a:gd name="connsiteX68" fmla="*/ 2697502 w 4519987"/>
                  <a:gd name="connsiteY68" fmla="*/ 4429125 h 4496940"/>
                  <a:gd name="connsiteX69" fmla="*/ 2640352 w 4519987"/>
                  <a:gd name="connsiteY69" fmla="*/ 4457700 h 4496940"/>
                  <a:gd name="connsiteX70" fmla="*/ 2583202 w 4519987"/>
                  <a:gd name="connsiteY70" fmla="*/ 4467225 h 4496940"/>
                  <a:gd name="connsiteX71" fmla="*/ 2545102 w 4519987"/>
                  <a:gd name="connsiteY71" fmla="*/ 4486275 h 4496940"/>
                  <a:gd name="connsiteX72" fmla="*/ 2306977 w 4519987"/>
                  <a:gd name="connsiteY72" fmla="*/ 4476750 h 4496940"/>
                  <a:gd name="connsiteX73" fmla="*/ 2202202 w 4519987"/>
                  <a:gd name="connsiteY73" fmla="*/ 4457700 h 4496940"/>
                  <a:gd name="connsiteX74" fmla="*/ 2126002 w 4519987"/>
                  <a:gd name="connsiteY74" fmla="*/ 4429125 h 4496940"/>
                  <a:gd name="connsiteX75" fmla="*/ 1935502 w 4519987"/>
                  <a:gd name="connsiteY75" fmla="*/ 4400550 h 4496940"/>
                  <a:gd name="connsiteX76" fmla="*/ 1821202 w 4519987"/>
                  <a:gd name="connsiteY76" fmla="*/ 4371975 h 4496940"/>
                  <a:gd name="connsiteX77" fmla="*/ 1754527 w 4519987"/>
                  <a:gd name="connsiteY77" fmla="*/ 4352925 h 4496940"/>
                  <a:gd name="connsiteX78" fmla="*/ 1687852 w 4519987"/>
                  <a:gd name="connsiteY78" fmla="*/ 4343400 h 4496940"/>
                  <a:gd name="connsiteX79" fmla="*/ 1573552 w 4519987"/>
                  <a:gd name="connsiteY79" fmla="*/ 4305300 h 4496940"/>
                  <a:gd name="connsiteX80" fmla="*/ 1402102 w 4519987"/>
                  <a:gd name="connsiteY80" fmla="*/ 4276725 h 4496940"/>
                  <a:gd name="connsiteX81" fmla="*/ 1287802 w 4519987"/>
                  <a:gd name="connsiteY81" fmla="*/ 4229100 h 4496940"/>
                  <a:gd name="connsiteX82" fmla="*/ 1221127 w 4519987"/>
                  <a:gd name="connsiteY82" fmla="*/ 4200525 h 4496940"/>
                  <a:gd name="connsiteX83" fmla="*/ 1144927 w 4519987"/>
                  <a:gd name="connsiteY83" fmla="*/ 4171950 h 4496940"/>
                  <a:gd name="connsiteX84" fmla="*/ 1087777 w 4519987"/>
                  <a:gd name="connsiteY84" fmla="*/ 4143375 h 4496940"/>
                  <a:gd name="connsiteX85" fmla="*/ 1030627 w 4519987"/>
                  <a:gd name="connsiteY85" fmla="*/ 4124325 h 4496940"/>
                  <a:gd name="connsiteX86" fmla="*/ 925852 w 4519987"/>
                  <a:gd name="connsiteY86" fmla="*/ 4067175 h 4496940"/>
                  <a:gd name="connsiteX87" fmla="*/ 830602 w 4519987"/>
                  <a:gd name="connsiteY87" fmla="*/ 3981450 h 4496940"/>
                  <a:gd name="connsiteX88" fmla="*/ 763927 w 4519987"/>
                  <a:gd name="connsiteY88" fmla="*/ 3914775 h 4496940"/>
                  <a:gd name="connsiteX89" fmla="*/ 725827 w 4519987"/>
                  <a:gd name="connsiteY89" fmla="*/ 3876675 h 4496940"/>
                  <a:gd name="connsiteX90" fmla="*/ 697252 w 4519987"/>
                  <a:gd name="connsiteY90" fmla="*/ 3838575 h 4496940"/>
                  <a:gd name="connsiteX91" fmla="*/ 640102 w 4519987"/>
                  <a:gd name="connsiteY91" fmla="*/ 3781425 h 4496940"/>
                  <a:gd name="connsiteX92" fmla="*/ 611527 w 4519987"/>
                  <a:gd name="connsiteY92" fmla="*/ 3733800 h 4496940"/>
                  <a:gd name="connsiteX93" fmla="*/ 554377 w 4519987"/>
                  <a:gd name="connsiteY93" fmla="*/ 3657600 h 4496940"/>
                  <a:gd name="connsiteX94" fmla="*/ 525802 w 4519987"/>
                  <a:gd name="connsiteY94" fmla="*/ 3609975 h 4496940"/>
                  <a:gd name="connsiteX95" fmla="*/ 497227 w 4519987"/>
                  <a:gd name="connsiteY95" fmla="*/ 3552825 h 4496940"/>
                  <a:gd name="connsiteX96" fmla="*/ 440077 w 4519987"/>
                  <a:gd name="connsiteY96" fmla="*/ 3495675 h 4496940"/>
                  <a:gd name="connsiteX97" fmla="*/ 411502 w 4519987"/>
                  <a:gd name="connsiteY97" fmla="*/ 3448050 h 4496940"/>
                  <a:gd name="connsiteX98" fmla="*/ 278152 w 4519987"/>
                  <a:gd name="connsiteY98" fmla="*/ 3257550 h 4496940"/>
                  <a:gd name="connsiteX99" fmla="*/ 249577 w 4519987"/>
                  <a:gd name="connsiteY99" fmla="*/ 3200400 h 4496940"/>
                  <a:gd name="connsiteX100" fmla="*/ 240052 w 4519987"/>
                  <a:gd name="connsiteY100" fmla="*/ 3162300 h 4496940"/>
                  <a:gd name="connsiteX101" fmla="*/ 221002 w 4519987"/>
                  <a:gd name="connsiteY101" fmla="*/ 3105150 h 4496940"/>
                  <a:gd name="connsiteX102" fmla="*/ 173377 w 4519987"/>
                  <a:gd name="connsiteY102" fmla="*/ 3019425 h 4496940"/>
                  <a:gd name="connsiteX103" fmla="*/ 144802 w 4519987"/>
                  <a:gd name="connsiteY103" fmla="*/ 2924175 h 4496940"/>
                  <a:gd name="connsiteX104" fmla="*/ 68602 w 4519987"/>
                  <a:gd name="connsiteY104" fmla="*/ 2724150 h 4496940"/>
                  <a:gd name="connsiteX105" fmla="*/ 49552 w 4519987"/>
                  <a:gd name="connsiteY105" fmla="*/ 2638425 h 4496940"/>
                  <a:gd name="connsiteX106" fmla="*/ 40027 w 4519987"/>
                  <a:gd name="connsiteY106" fmla="*/ 2562225 h 4496940"/>
                  <a:gd name="connsiteX107" fmla="*/ 30502 w 4519987"/>
                  <a:gd name="connsiteY107" fmla="*/ 2514600 h 4496940"/>
                  <a:gd name="connsiteX108" fmla="*/ 11452 w 4519987"/>
                  <a:gd name="connsiteY108" fmla="*/ 2400300 h 4496940"/>
                  <a:gd name="connsiteX109" fmla="*/ 20977 w 4519987"/>
                  <a:gd name="connsiteY109" fmla="*/ 1905000 h 4496940"/>
                  <a:gd name="connsiteX110" fmla="*/ 30502 w 4519987"/>
                  <a:gd name="connsiteY110" fmla="*/ 1838325 h 4496940"/>
                  <a:gd name="connsiteX111" fmla="*/ 49552 w 4519987"/>
                  <a:gd name="connsiteY111" fmla="*/ 1781175 h 4496940"/>
                  <a:gd name="connsiteX112" fmla="*/ 59077 w 4519987"/>
                  <a:gd name="connsiteY112" fmla="*/ 1743075 h 4496940"/>
                  <a:gd name="connsiteX113" fmla="*/ 78127 w 4519987"/>
                  <a:gd name="connsiteY113" fmla="*/ 1685925 h 4496940"/>
                  <a:gd name="connsiteX114" fmla="*/ 87652 w 4519987"/>
                  <a:gd name="connsiteY114" fmla="*/ 1638300 h 4496940"/>
                  <a:gd name="connsiteX115" fmla="*/ 106702 w 4519987"/>
                  <a:gd name="connsiteY115" fmla="*/ 1590675 h 4496940"/>
                  <a:gd name="connsiteX116" fmla="*/ 135277 w 4519987"/>
                  <a:gd name="connsiteY116" fmla="*/ 1504950 h 4496940"/>
                  <a:gd name="connsiteX117" fmla="*/ 154327 w 4519987"/>
                  <a:gd name="connsiteY117" fmla="*/ 1419225 h 4496940"/>
                  <a:gd name="connsiteX118" fmla="*/ 230527 w 4519987"/>
                  <a:gd name="connsiteY118" fmla="*/ 1276350 h 4496940"/>
                  <a:gd name="connsiteX119" fmla="*/ 240052 w 4519987"/>
                  <a:gd name="connsiteY119" fmla="*/ 1247775 h 4496940"/>
                  <a:gd name="connsiteX120" fmla="*/ 268627 w 4519987"/>
                  <a:gd name="connsiteY120" fmla="*/ 1200150 h 4496940"/>
                  <a:gd name="connsiteX121" fmla="*/ 287677 w 4519987"/>
                  <a:gd name="connsiteY121" fmla="*/ 1152525 h 4496940"/>
                  <a:gd name="connsiteX122" fmla="*/ 316252 w 4519987"/>
                  <a:gd name="connsiteY122" fmla="*/ 1114425 h 4496940"/>
                  <a:gd name="connsiteX123" fmla="*/ 363877 w 4519987"/>
                  <a:gd name="connsiteY123" fmla="*/ 1038225 h 4496940"/>
                  <a:gd name="connsiteX124" fmla="*/ 382927 w 4519987"/>
                  <a:gd name="connsiteY124" fmla="*/ 1009650 h 4496940"/>
                  <a:gd name="connsiteX125" fmla="*/ 440077 w 4519987"/>
                  <a:gd name="connsiteY125" fmla="*/ 904875 h 4496940"/>
                  <a:gd name="connsiteX126" fmla="*/ 478177 w 4519987"/>
                  <a:gd name="connsiteY126" fmla="*/ 857250 h 4496940"/>
                  <a:gd name="connsiteX127" fmla="*/ 497227 w 4519987"/>
                  <a:gd name="connsiteY127" fmla="*/ 828675 h 4496940"/>
                  <a:gd name="connsiteX128" fmla="*/ 535327 w 4519987"/>
                  <a:gd name="connsiteY128" fmla="*/ 800100 h 4496940"/>
                  <a:gd name="connsiteX129" fmla="*/ 602002 w 4519987"/>
                  <a:gd name="connsiteY129" fmla="*/ 733425 h 4496940"/>
                  <a:gd name="connsiteX130" fmla="*/ 668677 w 4519987"/>
                  <a:gd name="connsiteY130" fmla="*/ 676275 h 4496940"/>
                  <a:gd name="connsiteX131" fmla="*/ 697252 w 4519987"/>
                  <a:gd name="connsiteY131" fmla="*/ 657225 h 4496940"/>
                  <a:gd name="connsiteX132" fmla="*/ 840127 w 4519987"/>
                  <a:gd name="connsiteY132" fmla="*/ 533400 h 4496940"/>
                  <a:gd name="connsiteX133" fmla="*/ 887752 w 4519987"/>
                  <a:gd name="connsiteY133" fmla="*/ 504825 h 4496940"/>
                  <a:gd name="connsiteX134" fmla="*/ 1167152 w 4519987"/>
                  <a:gd name="connsiteY134" fmla="*/ 311150 h 4496940"/>
                  <a:gd name="connsiteX135" fmla="*/ 1268752 w 4519987"/>
                  <a:gd name="connsiteY135" fmla="*/ 285750 h 4496940"/>
                  <a:gd name="connsiteX136" fmla="*/ 1411627 w 4519987"/>
                  <a:gd name="connsiteY136" fmla="*/ 190500 h 4496940"/>
                  <a:gd name="connsiteX137" fmla="*/ 1449727 w 4519987"/>
                  <a:gd name="connsiteY137" fmla="*/ 161925 h 4496940"/>
                  <a:gd name="connsiteX138" fmla="*/ 1525927 w 4519987"/>
                  <a:gd name="connsiteY138" fmla="*/ 152400 h 4496940"/>
                  <a:gd name="connsiteX139" fmla="*/ 1583077 w 4519987"/>
                  <a:gd name="connsiteY139" fmla="*/ 142875 h 4496940"/>
                  <a:gd name="connsiteX140" fmla="*/ 1716427 w 4519987"/>
                  <a:gd name="connsiteY140" fmla="*/ 123825 h 4496940"/>
                  <a:gd name="connsiteX141" fmla="*/ 1811677 w 4519987"/>
                  <a:gd name="connsiteY141" fmla="*/ 114300 h 4496940"/>
                  <a:gd name="connsiteX142" fmla="*/ 1859302 w 4519987"/>
                  <a:gd name="connsiteY142" fmla="*/ 104775 h 4496940"/>
                  <a:gd name="connsiteX143" fmla="*/ 1916452 w 4519987"/>
                  <a:gd name="connsiteY143" fmla="*/ 95250 h 4496940"/>
                  <a:gd name="connsiteX144" fmla="*/ 2030752 w 4519987"/>
                  <a:gd name="connsiteY144" fmla="*/ 66675 h 4496940"/>
                  <a:gd name="connsiteX145" fmla="*/ 2097427 w 4519987"/>
                  <a:gd name="connsiteY145" fmla="*/ 47625 h 4496940"/>
                  <a:gd name="connsiteX146" fmla="*/ 2164102 w 4519987"/>
                  <a:gd name="connsiteY146" fmla="*/ 38100 h 4496940"/>
                  <a:gd name="connsiteX147" fmla="*/ 2392702 w 4519987"/>
                  <a:gd name="connsiteY14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192927 w 4519987"/>
                  <a:gd name="connsiteY24" fmla="*/ 1057275 h 4496940"/>
                  <a:gd name="connsiteX25" fmla="*/ 4202452 w 4519987"/>
                  <a:gd name="connsiteY25" fmla="*/ 1085850 h 4496940"/>
                  <a:gd name="connsiteX26" fmla="*/ 4250077 w 4519987"/>
                  <a:gd name="connsiteY26" fmla="*/ 1143000 h 4496940"/>
                  <a:gd name="connsiteX27" fmla="*/ 4259602 w 4519987"/>
                  <a:gd name="connsiteY27" fmla="*/ 1190625 h 4496940"/>
                  <a:gd name="connsiteX28" fmla="*/ 4307227 w 4519987"/>
                  <a:gd name="connsiteY28" fmla="*/ 1266825 h 4496940"/>
                  <a:gd name="connsiteX29" fmla="*/ 4345327 w 4519987"/>
                  <a:gd name="connsiteY29" fmla="*/ 1362075 h 4496940"/>
                  <a:gd name="connsiteX30" fmla="*/ 4373902 w 4519987"/>
                  <a:gd name="connsiteY30" fmla="*/ 1428750 h 4496940"/>
                  <a:gd name="connsiteX31" fmla="*/ 4392952 w 4519987"/>
                  <a:gd name="connsiteY31" fmla="*/ 1552575 h 4496940"/>
                  <a:gd name="connsiteX32" fmla="*/ 4402477 w 4519987"/>
                  <a:gd name="connsiteY32" fmla="*/ 1590675 h 4496940"/>
                  <a:gd name="connsiteX33" fmla="*/ 4431052 w 4519987"/>
                  <a:gd name="connsiteY33" fmla="*/ 1685925 h 4496940"/>
                  <a:gd name="connsiteX34" fmla="*/ 4519952 w 4519987"/>
                  <a:gd name="connsiteY34" fmla="*/ 2181225 h 4496940"/>
                  <a:gd name="connsiteX35" fmla="*/ 4446927 w 4519987"/>
                  <a:gd name="connsiteY35" fmla="*/ 2768600 h 4496940"/>
                  <a:gd name="connsiteX36" fmla="*/ 4383427 w 4519987"/>
                  <a:gd name="connsiteY36" fmla="*/ 2990850 h 4496940"/>
                  <a:gd name="connsiteX37" fmla="*/ 4278652 w 4519987"/>
                  <a:gd name="connsiteY37" fmla="*/ 3248025 h 4496940"/>
                  <a:gd name="connsiteX38" fmla="*/ 4259602 w 4519987"/>
                  <a:gd name="connsiteY38" fmla="*/ 3276600 h 4496940"/>
                  <a:gd name="connsiteX39" fmla="*/ 4221502 w 4519987"/>
                  <a:gd name="connsiteY39" fmla="*/ 3333750 h 4496940"/>
                  <a:gd name="connsiteX40" fmla="*/ 4211977 w 4519987"/>
                  <a:gd name="connsiteY40" fmla="*/ 3362325 h 4496940"/>
                  <a:gd name="connsiteX41" fmla="*/ 4183402 w 4519987"/>
                  <a:gd name="connsiteY41" fmla="*/ 3400425 h 4496940"/>
                  <a:gd name="connsiteX42" fmla="*/ 4164352 w 4519987"/>
                  <a:gd name="connsiteY42" fmla="*/ 3429000 h 4496940"/>
                  <a:gd name="connsiteX43" fmla="*/ 4088152 w 4519987"/>
                  <a:gd name="connsiteY43" fmla="*/ 3495675 h 4496940"/>
                  <a:gd name="connsiteX44" fmla="*/ 4059577 w 4519987"/>
                  <a:gd name="connsiteY44" fmla="*/ 3533775 h 4496940"/>
                  <a:gd name="connsiteX45" fmla="*/ 4002427 w 4519987"/>
                  <a:gd name="connsiteY45" fmla="*/ 3600450 h 4496940"/>
                  <a:gd name="connsiteX46" fmla="*/ 3983377 w 4519987"/>
                  <a:gd name="connsiteY46" fmla="*/ 3629025 h 4496940"/>
                  <a:gd name="connsiteX47" fmla="*/ 3954802 w 4519987"/>
                  <a:gd name="connsiteY47" fmla="*/ 3648075 h 4496940"/>
                  <a:gd name="connsiteX48" fmla="*/ 3907177 w 4519987"/>
                  <a:gd name="connsiteY48" fmla="*/ 3686175 h 4496940"/>
                  <a:gd name="connsiteX49" fmla="*/ 3869077 w 4519987"/>
                  <a:gd name="connsiteY49" fmla="*/ 3724275 h 4496940"/>
                  <a:gd name="connsiteX50" fmla="*/ 3792877 w 4519987"/>
                  <a:gd name="connsiteY50" fmla="*/ 3781425 h 4496940"/>
                  <a:gd name="connsiteX51" fmla="*/ 3783352 w 4519987"/>
                  <a:gd name="connsiteY51" fmla="*/ 3810000 h 4496940"/>
                  <a:gd name="connsiteX52" fmla="*/ 3745252 w 4519987"/>
                  <a:gd name="connsiteY52" fmla="*/ 3819525 h 4496940"/>
                  <a:gd name="connsiteX53" fmla="*/ 3678577 w 4519987"/>
                  <a:gd name="connsiteY53" fmla="*/ 3848100 h 4496940"/>
                  <a:gd name="connsiteX54" fmla="*/ 3659527 w 4519987"/>
                  <a:gd name="connsiteY54" fmla="*/ 3971925 h 4496940"/>
                  <a:gd name="connsiteX55" fmla="*/ 3630952 w 4519987"/>
                  <a:gd name="connsiteY55" fmla="*/ 4010025 h 4496940"/>
                  <a:gd name="connsiteX56" fmla="*/ 3621427 w 4519987"/>
                  <a:gd name="connsiteY56" fmla="*/ 4038600 h 4496940"/>
                  <a:gd name="connsiteX57" fmla="*/ 3554752 w 4519987"/>
                  <a:gd name="connsiteY57" fmla="*/ 4095750 h 4496940"/>
                  <a:gd name="connsiteX58" fmla="*/ 3516652 w 4519987"/>
                  <a:gd name="connsiteY58" fmla="*/ 4114800 h 4496940"/>
                  <a:gd name="connsiteX59" fmla="*/ 3497602 w 4519987"/>
                  <a:gd name="connsiteY59" fmla="*/ 4143375 h 4496940"/>
                  <a:gd name="connsiteX60" fmla="*/ 3383302 w 4519987"/>
                  <a:gd name="connsiteY60" fmla="*/ 4210050 h 4496940"/>
                  <a:gd name="connsiteX61" fmla="*/ 3335677 w 4519987"/>
                  <a:gd name="connsiteY61" fmla="*/ 4238625 h 4496940"/>
                  <a:gd name="connsiteX62" fmla="*/ 3288052 w 4519987"/>
                  <a:gd name="connsiteY62" fmla="*/ 4248150 h 4496940"/>
                  <a:gd name="connsiteX63" fmla="*/ 3240427 w 4519987"/>
                  <a:gd name="connsiteY63" fmla="*/ 4267200 h 4496940"/>
                  <a:gd name="connsiteX64" fmla="*/ 3068977 w 4519987"/>
                  <a:gd name="connsiteY64" fmla="*/ 4286250 h 4496940"/>
                  <a:gd name="connsiteX65" fmla="*/ 2935627 w 4519987"/>
                  <a:gd name="connsiteY65" fmla="*/ 4333875 h 4496940"/>
                  <a:gd name="connsiteX66" fmla="*/ 2811802 w 4519987"/>
                  <a:gd name="connsiteY66" fmla="*/ 4371975 h 4496940"/>
                  <a:gd name="connsiteX67" fmla="*/ 2745127 w 4519987"/>
                  <a:gd name="connsiteY67" fmla="*/ 4410075 h 4496940"/>
                  <a:gd name="connsiteX68" fmla="*/ 2697502 w 4519987"/>
                  <a:gd name="connsiteY68" fmla="*/ 4429125 h 4496940"/>
                  <a:gd name="connsiteX69" fmla="*/ 2640352 w 4519987"/>
                  <a:gd name="connsiteY69" fmla="*/ 4457700 h 4496940"/>
                  <a:gd name="connsiteX70" fmla="*/ 2583202 w 4519987"/>
                  <a:gd name="connsiteY70" fmla="*/ 4467225 h 4496940"/>
                  <a:gd name="connsiteX71" fmla="*/ 2545102 w 4519987"/>
                  <a:gd name="connsiteY71" fmla="*/ 4486275 h 4496940"/>
                  <a:gd name="connsiteX72" fmla="*/ 2306977 w 4519987"/>
                  <a:gd name="connsiteY72" fmla="*/ 4476750 h 4496940"/>
                  <a:gd name="connsiteX73" fmla="*/ 2202202 w 4519987"/>
                  <a:gd name="connsiteY73" fmla="*/ 4457700 h 4496940"/>
                  <a:gd name="connsiteX74" fmla="*/ 2126002 w 4519987"/>
                  <a:gd name="connsiteY74" fmla="*/ 4429125 h 4496940"/>
                  <a:gd name="connsiteX75" fmla="*/ 1935502 w 4519987"/>
                  <a:gd name="connsiteY75" fmla="*/ 4400550 h 4496940"/>
                  <a:gd name="connsiteX76" fmla="*/ 1821202 w 4519987"/>
                  <a:gd name="connsiteY76" fmla="*/ 4371975 h 4496940"/>
                  <a:gd name="connsiteX77" fmla="*/ 1754527 w 4519987"/>
                  <a:gd name="connsiteY77" fmla="*/ 4352925 h 4496940"/>
                  <a:gd name="connsiteX78" fmla="*/ 1687852 w 4519987"/>
                  <a:gd name="connsiteY78" fmla="*/ 4343400 h 4496940"/>
                  <a:gd name="connsiteX79" fmla="*/ 1573552 w 4519987"/>
                  <a:gd name="connsiteY79" fmla="*/ 4305300 h 4496940"/>
                  <a:gd name="connsiteX80" fmla="*/ 1402102 w 4519987"/>
                  <a:gd name="connsiteY80" fmla="*/ 4276725 h 4496940"/>
                  <a:gd name="connsiteX81" fmla="*/ 1287802 w 4519987"/>
                  <a:gd name="connsiteY81" fmla="*/ 4229100 h 4496940"/>
                  <a:gd name="connsiteX82" fmla="*/ 1221127 w 4519987"/>
                  <a:gd name="connsiteY82" fmla="*/ 4200525 h 4496940"/>
                  <a:gd name="connsiteX83" fmla="*/ 1144927 w 4519987"/>
                  <a:gd name="connsiteY83" fmla="*/ 4171950 h 4496940"/>
                  <a:gd name="connsiteX84" fmla="*/ 1087777 w 4519987"/>
                  <a:gd name="connsiteY84" fmla="*/ 4143375 h 4496940"/>
                  <a:gd name="connsiteX85" fmla="*/ 1030627 w 4519987"/>
                  <a:gd name="connsiteY85" fmla="*/ 4124325 h 4496940"/>
                  <a:gd name="connsiteX86" fmla="*/ 925852 w 4519987"/>
                  <a:gd name="connsiteY86" fmla="*/ 4067175 h 4496940"/>
                  <a:gd name="connsiteX87" fmla="*/ 830602 w 4519987"/>
                  <a:gd name="connsiteY87" fmla="*/ 3981450 h 4496940"/>
                  <a:gd name="connsiteX88" fmla="*/ 763927 w 4519987"/>
                  <a:gd name="connsiteY88" fmla="*/ 3914775 h 4496940"/>
                  <a:gd name="connsiteX89" fmla="*/ 725827 w 4519987"/>
                  <a:gd name="connsiteY89" fmla="*/ 3876675 h 4496940"/>
                  <a:gd name="connsiteX90" fmla="*/ 697252 w 4519987"/>
                  <a:gd name="connsiteY90" fmla="*/ 3838575 h 4496940"/>
                  <a:gd name="connsiteX91" fmla="*/ 640102 w 4519987"/>
                  <a:gd name="connsiteY91" fmla="*/ 3781425 h 4496940"/>
                  <a:gd name="connsiteX92" fmla="*/ 611527 w 4519987"/>
                  <a:gd name="connsiteY92" fmla="*/ 3733800 h 4496940"/>
                  <a:gd name="connsiteX93" fmla="*/ 554377 w 4519987"/>
                  <a:gd name="connsiteY93" fmla="*/ 3657600 h 4496940"/>
                  <a:gd name="connsiteX94" fmla="*/ 525802 w 4519987"/>
                  <a:gd name="connsiteY94" fmla="*/ 3609975 h 4496940"/>
                  <a:gd name="connsiteX95" fmla="*/ 497227 w 4519987"/>
                  <a:gd name="connsiteY95" fmla="*/ 3552825 h 4496940"/>
                  <a:gd name="connsiteX96" fmla="*/ 440077 w 4519987"/>
                  <a:gd name="connsiteY96" fmla="*/ 3495675 h 4496940"/>
                  <a:gd name="connsiteX97" fmla="*/ 411502 w 4519987"/>
                  <a:gd name="connsiteY97" fmla="*/ 3448050 h 4496940"/>
                  <a:gd name="connsiteX98" fmla="*/ 278152 w 4519987"/>
                  <a:gd name="connsiteY98" fmla="*/ 3257550 h 4496940"/>
                  <a:gd name="connsiteX99" fmla="*/ 249577 w 4519987"/>
                  <a:gd name="connsiteY99" fmla="*/ 3200400 h 4496940"/>
                  <a:gd name="connsiteX100" fmla="*/ 240052 w 4519987"/>
                  <a:gd name="connsiteY100" fmla="*/ 3162300 h 4496940"/>
                  <a:gd name="connsiteX101" fmla="*/ 221002 w 4519987"/>
                  <a:gd name="connsiteY101" fmla="*/ 3105150 h 4496940"/>
                  <a:gd name="connsiteX102" fmla="*/ 173377 w 4519987"/>
                  <a:gd name="connsiteY102" fmla="*/ 3019425 h 4496940"/>
                  <a:gd name="connsiteX103" fmla="*/ 144802 w 4519987"/>
                  <a:gd name="connsiteY103" fmla="*/ 2924175 h 4496940"/>
                  <a:gd name="connsiteX104" fmla="*/ 68602 w 4519987"/>
                  <a:gd name="connsiteY104" fmla="*/ 2724150 h 4496940"/>
                  <a:gd name="connsiteX105" fmla="*/ 49552 w 4519987"/>
                  <a:gd name="connsiteY105" fmla="*/ 2638425 h 4496940"/>
                  <a:gd name="connsiteX106" fmla="*/ 40027 w 4519987"/>
                  <a:gd name="connsiteY106" fmla="*/ 2562225 h 4496940"/>
                  <a:gd name="connsiteX107" fmla="*/ 30502 w 4519987"/>
                  <a:gd name="connsiteY107" fmla="*/ 2514600 h 4496940"/>
                  <a:gd name="connsiteX108" fmla="*/ 11452 w 4519987"/>
                  <a:gd name="connsiteY108" fmla="*/ 2400300 h 4496940"/>
                  <a:gd name="connsiteX109" fmla="*/ 20977 w 4519987"/>
                  <a:gd name="connsiteY109" fmla="*/ 1905000 h 4496940"/>
                  <a:gd name="connsiteX110" fmla="*/ 30502 w 4519987"/>
                  <a:gd name="connsiteY110" fmla="*/ 1838325 h 4496940"/>
                  <a:gd name="connsiteX111" fmla="*/ 49552 w 4519987"/>
                  <a:gd name="connsiteY111" fmla="*/ 1781175 h 4496940"/>
                  <a:gd name="connsiteX112" fmla="*/ 59077 w 4519987"/>
                  <a:gd name="connsiteY112" fmla="*/ 1743075 h 4496940"/>
                  <a:gd name="connsiteX113" fmla="*/ 78127 w 4519987"/>
                  <a:gd name="connsiteY113" fmla="*/ 1685925 h 4496940"/>
                  <a:gd name="connsiteX114" fmla="*/ 87652 w 4519987"/>
                  <a:gd name="connsiteY114" fmla="*/ 1638300 h 4496940"/>
                  <a:gd name="connsiteX115" fmla="*/ 106702 w 4519987"/>
                  <a:gd name="connsiteY115" fmla="*/ 1590675 h 4496940"/>
                  <a:gd name="connsiteX116" fmla="*/ 135277 w 4519987"/>
                  <a:gd name="connsiteY116" fmla="*/ 1504950 h 4496940"/>
                  <a:gd name="connsiteX117" fmla="*/ 154327 w 4519987"/>
                  <a:gd name="connsiteY117" fmla="*/ 1419225 h 4496940"/>
                  <a:gd name="connsiteX118" fmla="*/ 230527 w 4519987"/>
                  <a:gd name="connsiteY118" fmla="*/ 1276350 h 4496940"/>
                  <a:gd name="connsiteX119" fmla="*/ 240052 w 4519987"/>
                  <a:gd name="connsiteY119" fmla="*/ 1247775 h 4496940"/>
                  <a:gd name="connsiteX120" fmla="*/ 268627 w 4519987"/>
                  <a:gd name="connsiteY120" fmla="*/ 1200150 h 4496940"/>
                  <a:gd name="connsiteX121" fmla="*/ 287677 w 4519987"/>
                  <a:gd name="connsiteY121" fmla="*/ 1152525 h 4496940"/>
                  <a:gd name="connsiteX122" fmla="*/ 316252 w 4519987"/>
                  <a:gd name="connsiteY122" fmla="*/ 1114425 h 4496940"/>
                  <a:gd name="connsiteX123" fmla="*/ 363877 w 4519987"/>
                  <a:gd name="connsiteY123" fmla="*/ 1038225 h 4496940"/>
                  <a:gd name="connsiteX124" fmla="*/ 382927 w 4519987"/>
                  <a:gd name="connsiteY124" fmla="*/ 1009650 h 4496940"/>
                  <a:gd name="connsiteX125" fmla="*/ 440077 w 4519987"/>
                  <a:gd name="connsiteY125" fmla="*/ 904875 h 4496940"/>
                  <a:gd name="connsiteX126" fmla="*/ 478177 w 4519987"/>
                  <a:gd name="connsiteY126" fmla="*/ 857250 h 4496940"/>
                  <a:gd name="connsiteX127" fmla="*/ 497227 w 4519987"/>
                  <a:gd name="connsiteY127" fmla="*/ 828675 h 4496940"/>
                  <a:gd name="connsiteX128" fmla="*/ 535327 w 4519987"/>
                  <a:gd name="connsiteY128" fmla="*/ 800100 h 4496940"/>
                  <a:gd name="connsiteX129" fmla="*/ 602002 w 4519987"/>
                  <a:gd name="connsiteY129" fmla="*/ 733425 h 4496940"/>
                  <a:gd name="connsiteX130" fmla="*/ 668677 w 4519987"/>
                  <a:gd name="connsiteY130" fmla="*/ 676275 h 4496940"/>
                  <a:gd name="connsiteX131" fmla="*/ 697252 w 4519987"/>
                  <a:gd name="connsiteY131" fmla="*/ 657225 h 4496940"/>
                  <a:gd name="connsiteX132" fmla="*/ 840127 w 4519987"/>
                  <a:gd name="connsiteY132" fmla="*/ 533400 h 4496940"/>
                  <a:gd name="connsiteX133" fmla="*/ 887752 w 4519987"/>
                  <a:gd name="connsiteY133" fmla="*/ 504825 h 4496940"/>
                  <a:gd name="connsiteX134" fmla="*/ 1167152 w 4519987"/>
                  <a:gd name="connsiteY134" fmla="*/ 311150 h 4496940"/>
                  <a:gd name="connsiteX135" fmla="*/ 1268752 w 4519987"/>
                  <a:gd name="connsiteY135" fmla="*/ 285750 h 4496940"/>
                  <a:gd name="connsiteX136" fmla="*/ 1411627 w 4519987"/>
                  <a:gd name="connsiteY136" fmla="*/ 190500 h 4496940"/>
                  <a:gd name="connsiteX137" fmla="*/ 1449727 w 4519987"/>
                  <a:gd name="connsiteY137" fmla="*/ 161925 h 4496940"/>
                  <a:gd name="connsiteX138" fmla="*/ 1525927 w 4519987"/>
                  <a:gd name="connsiteY138" fmla="*/ 152400 h 4496940"/>
                  <a:gd name="connsiteX139" fmla="*/ 1583077 w 4519987"/>
                  <a:gd name="connsiteY139" fmla="*/ 142875 h 4496940"/>
                  <a:gd name="connsiteX140" fmla="*/ 1716427 w 4519987"/>
                  <a:gd name="connsiteY140" fmla="*/ 123825 h 4496940"/>
                  <a:gd name="connsiteX141" fmla="*/ 1811677 w 4519987"/>
                  <a:gd name="connsiteY141" fmla="*/ 114300 h 4496940"/>
                  <a:gd name="connsiteX142" fmla="*/ 1859302 w 4519987"/>
                  <a:gd name="connsiteY142" fmla="*/ 104775 h 4496940"/>
                  <a:gd name="connsiteX143" fmla="*/ 1916452 w 4519987"/>
                  <a:gd name="connsiteY143" fmla="*/ 95250 h 4496940"/>
                  <a:gd name="connsiteX144" fmla="*/ 2030752 w 4519987"/>
                  <a:gd name="connsiteY144" fmla="*/ 66675 h 4496940"/>
                  <a:gd name="connsiteX145" fmla="*/ 2097427 w 4519987"/>
                  <a:gd name="connsiteY145" fmla="*/ 47625 h 4496940"/>
                  <a:gd name="connsiteX146" fmla="*/ 2164102 w 4519987"/>
                  <a:gd name="connsiteY146" fmla="*/ 38100 h 4496940"/>
                  <a:gd name="connsiteX147" fmla="*/ 2392702 w 4519987"/>
                  <a:gd name="connsiteY14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202452 w 4519987"/>
                  <a:gd name="connsiteY24" fmla="*/ 1085850 h 4496940"/>
                  <a:gd name="connsiteX25" fmla="*/ 4250077 w 4519987"/>
                  <a:gd name="connsiteY25" fmla="*/ 1143000 h 4496940"/>
                  <a:gd name="connsiteX26" fmla="*/ 4259602 w 4519987"/>
                  <a:gd name="connsiteY26" fmla="*/ 1190625 h 4496940"/>
                  <a:gd name="connsiteX27" fmla="*/ 4307227 w 4519987"/>
                  <a:gd name="connsiteY27" fmla="*/ 1266825 h 4496940"/>
                  <a:gd name="connsiteX28" fmla="*/ 4345327 w 4519987"/>
                  <a:gd name="connsiteY28" fmla="*/ 1362075 h 4496940"/>
                  <a:gd name="connsiteX29" fmla="*/ 4373902 w 4519987"/>
                  <a:gd name="connsiteY29" fmla="*/ 1428750 h 4496940"/>
                  <a:gd name="connsiteX30" fmla="*/ 4392952 w 4519987"/>
                  <a:gd name="connsiteY30" fmla="*/ 1552575 h 4496940"/>
                  <a:gd name="connsiteX31" fmla="*/ 4402477 w 4519987"/>
                  <a:gd name="connsiteY31" fmla="*/ 1590675 h 4496940"/>
                  <a:gd name="connsiteX32" fmla="*/ 4431052 w 4519987"/>
                  <a:gd name="connsiteY32" fmla="*/ 1685925 h 4496940"/>
                  <a:gd name="connsiteX33" fmla="*/ 4519952 w 4519987"/>
                  <a:gd name="connsiteY33" fmla="*/ 2181225 h 4496940"/>
                  <a:gd name="connsiteX34" fmla="*/ 4446927 w 4519987"/>
                  <a:gd name="connsiteY34" fmla="*/ 2768600 h 4496940"/>
                  <a:gd name="connsiteX35" fmla="*/ 4383427 w 4519987"/>
                  <a:gd name="connsiteY35" fmla="*/ 2990850 h 4496940"/>
                  <a:gd name="connsiteX36" fmla="*/ 4278652 w 4519987"/>
                  <a:gd name="connsiteY36" fmla="*/ 3248025 h 4496940"/>
                  <a:gd name="connsiteX37" fmla="*/ 4259602 w 4519987"/>
                  <a:gd name="connsiteY37" fmla="*/ 3276600 h 4496940"/>
                  <a:gd name="connsiteX38" fmla="*/ 4221502 w 4519987"/>
                  <a:gd name="connsiteY38" fmla="*/ 3333750 h 4496940"/>
                  <a:gd name="connsiteX39" fmla="*/ 4211977 w 4519987"/>
                  <a:gd name="connsiteY39" fmla="*/ 3362325 h 4496940"/>
                  <a:gd name="connsiteX40" fmla="*/ 4183402 w 4519987"/>
                  <a:gd name="connsiteY40" fmla="*/ 3400425 h 4496940"/>
                  <a:gd name="connsiteX41" fmla="*/ 4164352 w 4519987"/>
                  <a:gd name="connsiteY41" fmla="*/ 3429000 h 4496940"/>
                  <a:gd name="connsiteX42" fmla="*/ 4088152 w 4519987"/>
                  <a:gd name="connsiteY42" fmla="*/ 3495675 h 4496940"/>
                  <a:gd name="connsiteX43" fmla="*/ 4059577 w 4519987"/>
                  <a:gd name="connsiteY43" fmla="*/ 3533775 h 4496940"/>
                  <a:gd name="connsiteX44" fmla="*/ 4002427 w 4519987"/>
                  <a:gd name="connsiteY44" fmla="*/ 3600450 h 4496940"/>
                  <a:gd name="connsiteX45" fmla="*/ 3983377 w 4519987"/>
                  <a:gd name="connsiteY45" fmla="*/ 3629025 h 4496940"/>
                  <a:gd name="connsiteX46" fmla="*/ 3954802 w 4519987"/>
                  <a:gd name="connsiteY46" fmla="*/ 3648075 h 4496940"/>
                  <a:gd name="connsiteX47" fmla="*/ 3907177 w 4519987"/>
                  <a:gd name="connsiteY47" fmla="*/ 3686175 h 4496940"/>
                  <a:gd name="connsiteX48" fmla="*/ 3869077 w 4519987"/>
                  <a:gd name="connsiteY48" fmla="*/ 3724275 h 4496940"/>
                  <a:gd name="connsiteX49" fmla="*/ 3792877 w 4519987"/>
                  <a:gd name="connsiteY49" fmla="*/ 3781425 h 4496940"/>
                  <a:gd name="connsiteX50" fmla="*/ 3783352 w 4519987"/>
                  <a:gd name="connsiteY50" fmla="*/ 3810000 h 4496940"/>
                  <a:gd name="connsiteX51" fmla="*/ 3745252 w 4519987"/>
                  <a:gd name="connsiteY51" fmla="*/ 3819525 h 4496940"/>
                  <a:gd name="connsiteX52" fmla="*/ 3678577 w 4519987"/>
                  <a:gd name="connsiteY52" fmla="*/ 3848100 h 4496940"/>
                  <a:gd name="connsiteX53" fmla="*/ 3659527 w 4519987"/>
                  <a:gd name="connsiteY53" fmla="*/ 3971925 h 4496940"/>
                  <a:gd name="connsiteX54" fmla="*/ 3630952 w 4519987"/>
                  <a:gd name="connsiteY54" fmla="*/ 4010025 h 4496940"/>
                  <a:gd name="connsiteX55" fmla="*/ 3621427 w 4519987"/>
                  <a:gd name="connsiteY55" fmla="*/ 4038600 h 4496940"/>
                  <a:gd name="connsiteX56" fmla="*/ 3554752 w 4519987"/>
                  <a:gd name="connsiteY56" fmla="*/ 4095750 h 4496940"/>
                  <a:gd name="connsiteX57" fmla="*/ 3516652 w 4519987"/>
                  <a:gd name="connsiteY57" fmla="*/ 4114800 h 4496940"/>
                  <a:gd name="connsiteX58" fmla="*/ 3497602 w 4519987"/>
                  <a:gd name="connsiteY58" fmla="*/ 4143375 h 4496940"/>
                  <a:gd name="connsiteX59" fmla="*/ 3383302 w 4519987"/>
                  <a:gd name="connsiteY59" fmla="*/ 4210050 h 4496940"/>
                  <a:gd name="connsiteX60" fmla="*/ 3335677 w 4519987"/>
                  <a:gd name="connsiteY60" fmla="*/ 4238625 h 4496940"/>
                  <a:gd name="connsiteX61" fmla="*/ 3288052 w 4519987"/>
                  <a:gd name="connsiteY61" fmla="*/ 4248150 h 4496940"/>
                  <a:gd name="connsiteX62" fmla="*/ 3240427 w 4519987"/>
                  <a:gd name="connsiteY62" fmla="*/ 4267200 h 4496940"/>
                  <a:gd name="connsiteX63" fmla="*/ 3068977 w 4519987"/>
                  <a:gd name="connsiteY63" fmla="*/ 4286250 h 4496940"/>
                  <a:gd name="connsiteX64" fmla="*/ 2935627 w 4519987"/>
                  <a:gd name="connsiteY64" fmla="*/ 4333875 h 4496940"/>
                  <a:gd name="connsiteX65" fmla="*/ 2811802 w 4519987"/>
                  <a:gd name="connsiteY65" fmla="*/ 4371975 h 4496940"/>
                  <a:gd name="connsiteX66" fmla="*/ 2745127 w 4519987"/>
                  <a:gd name="connsiteY66" fmla="*/ 4410075 h 4496940"/>
                  <a:gd name="connsiteX67" fmla="*/ 2697502 w 4519987"/>
                  <a:gd name="connsiteY67" fmla="*/ 4429125 h 4496940"/>
                  <a:gd name="connsiteX68" fmla="*/ 2640352 w 4519987"/>
                  <a:gd name="connsiteY68" fmla="*/ 4457700 h 4496940"/>
                  <a:gd name="connsiteX69" fmla="*/ 2583202 w 4519987"/>
                  <a:gd name="connsiteY69" fmla="*/ 4467225 h 4496940"/>
                  <a:gd name="connsiteX70" fmla="*/ 2545102 w 4519987"/>
                  <a:gd name="connsiteY70" fmla="*/ 4486275 h 4496940"/>
                  <a:gd name="connsiteX71" fmla="*/ 2306977 w 4519987"/>
                  <a:gd name="connsiteY71" fmla="*/ 4476750 h 4496940"/>
                  <a:gd name="connsiteX72" fmla="*/ 2202202 w 4519987"/>
                  <a:gd name="connsiteY72" fmla="*/ 4457700 h 4496940"/>
                  <a:gd name="connsiteX73" fmla="*/ 2126002 w 4519987"/>
                  <a:gd name="connsiteY73" fmla="*/ 4429125 h 4496940"/>
                  <a:gd name="connsiteX74" fmla="*/ 1935502 w 4519987"/>
                  <a:gd name="connsiteY74" fmla="*/ 4400550 h 4496940"/>
                  <a:gd name="connsiteX75" fmla="*/ 1821202 w 4519987"/>
                  <a:gd name="connsiteY75" fmla="*/ 4371975 h 4496940"/>
                  <a:gd name="connsiteX76" fmla="*/ 1754527 w 4519987"/>
                  <a:gd name="connsiteY76" fmla="*/ 4352925 h 4496940"/>
                  <a:gd name="connsiteX77" fmla="*/ 1687852 w 4519987"/>
                  <a:gd name="connsiteY77" fmla="*/ 4343400 h 4496940"/>
                  <a:gd name="connsiteX78" fmla="*/ 1573552 w 4519987"/>
                  <a:gd name="connsiteY78" fmla="*/ 4305300 h 4496940"/>
                  <a:gd name="connsiteX79" fmla="*/ 1402102 w 4519987"/>
                  <a:gd name="connsiteY79" fmla="*/ 4276725 h 4496940"/>
                  <a:gd name="connsiteX80" fmla="*/ 1287802 w 4519987"/>
                  <a:gd name="connsiteY80" fmla="*/ 4229100 h 4496940"/>
                  <a:gd name="connsiteX81" fmla="*/ 1221127 w 4519987"/>
                  <a:gd name="connsiteY81" fmla="*/ 4200525 h 4496940"/>
                  <a:gd name="connsiteX82" fmla="*/ 1144927 w 4519987"/>
                  <a:gd name="connsiteY82" fmla="*/ 4171950 h 4496940"/>
                  <a:gd name="connsiteX83" fmla="*/ 1087777 w 4519987"/>
                  <a:gd name="connsiteY83" fmla="*/ 4143375 h 4496940"/>
                  <a:gd name="connsiteX84" fmla="*/ 1030627 w 4519987"/>
                  <a:gd name="connsiteY84" fmla="*/ 4124325 h 4496940"/>
                  <a:gd name="connsiteX85" fmla="*/ 925852 w 4519987"/>
                  <a:gd name="connsiteY85" fmla="*/ 4067175 h 4496940"/>
                  <a:gd name="connsiteX86" fmla="*/ 830602 w 4519987"/>
                  <a:gd name="connsiteY86" fmla="*/ 3981450 h 4496940"/>
                  <a:gd name="connsiteX87" fmla="*/ 763927 w 4519987"/>
                  <a:gd name="connsiteY87" fmla="*/ 3914775 h 4496940"/>
                  <a:gd name="connsiteX88" fmla="*/ 725827 w 4519987"/>
                  <a:gd name="connsiteY88" fmla="*/ 3876675 h 4496940"/>
                  <a:gd name="connsiteX89" fmla="*/ 697252 w 4519987"/>
                  <a:gd name="connsiteY89" fmla="*/ 3838575 h 4496940"/>
                  <a:gd name="connsiteX90" fmla="*/ 640102 w 4519987"/>
                  <a:gd name="connsiteY90" fmla="*/ 3781425 h 4496940"/>
                  <a:gd name="connsiteX91" fmla="*/ 611527 w 4519987"/>
                  <a:gd name="connsiteY91" fmla="*/ 3733800 h 4496940"/>
                  <a:gd name="connsiteX92" fmla="*/ 554377 w 4519987"/>
                  <a:gd name="connsiteY92" fmla="*/ 3657600 h 4496940"/>
                  <a:gd name="connsiteX93" fmla="*/ 525802 w 4519987"/>
                  <a:gd name="connsiteY93" fmla="*/ 3609975 h 4496940"/>
                  <a:gd name="connsiteX94" fmla="*/ 497227 w 4519987"/>
                  <a:gd name="connsiteY94" fmla="*/ 3552825 h 4496940"/>
                  <a:gd name="connsiteX95" fmla="*/ 440077 w 4519987"/>
                  <a:gd name="connsiteY95" fmla="*/ 3495675 h 4496940"/>
                  <a:gd name="connsiteX96" fmla="*/ 411502 w 4519987"/>
                  <a:gd name="connsiteY96" fmla="*/ 3448050 h 4496940"/>
                  <a:gd name="connsiteX97" fmla="*/ 278152 w 4519987"/>
                  <a:gd name="connsiteY97" fmla="*/ 3257550 h 4496940"/>
                  <a:gd name="connsiteX98" fmla="*/ 249577 w 4519987"/>
                  <a:gd name="connsiteY98" fmla="*/ 3200400 h 4496940"/>
                  <a:gd name="connsiteX99" fmla="*/ 240052 w 4519987"/>
                  <a:gd name="connsiteY99" fmla="*/ 3162300 h 4496940"/>
                  <a:gd name="connsiteX100" fmla="*/ 221002 w 4519987"/>
                  <a:gd name="connsiteY100" fmla="*/ 3105150 h 4496940"/>
                  <a:gd name="connsiteX101" fmla="*/ 173377 w 4519987"/>
                  <a:gd name="connsiteY101" fmla="*/ 3019425 h 4496940"/>
                  <a:gd name="connsiteX102" fmla="*/ 144802 w 4519987"/>
                  <a:gd name="connsiteY102" fmla="*/ 2924175 h 4496940"/>
                  <a:gd name="connsiteX103" fmla="*/ 68602 w 4519987"/>
                  <a:gd name="connsiteY103" fmla="*/ 2724150 h 4496940"/>
                  <a:gd name="connsiteX104" fmla="*/ 49552 w 4519987"/>
                  <a:gd name="connsiteY104" fmla="*/ 2638425 h 4496940"/>
                  <a:gd name="connsiteX105" fmla="*/ 40027 w 4519987"/>
                  <a:gd name="connsiteY105" fmla="*/ 2562225 h 4496940"/>
                  <a:gd name="connsiteX106" fmla="*/ 30502 w 4519987"/>
                  <a:gd name="connsiteY106" fmla="*/ 2514600 h 4496940"/>
                  <a:gd name="connsiteX107" fmla="*/ 11452 w 4519987"/>
                  <a:gd name="connsiteY107" fmla="*/ 2400300 h 4496940"/>
                  <a:gd name="connsiteX108" fmla="*/ 20977 w 4519987"/>
                  <a:gd name="connsiteY108" fmla="*/ 1905000 h 4496940"/>
                  <a:gd name="connsiteX109" fmla="*/ 30502 w 4519987"/>
                  <a:gd name="connsiteY109" fmla="*/ 1838325 h 4496940"/>
                  <a:gd name="connsiteX110" fmla="*/ 49552 w 4519987"/>
                  <a:gd name="connsiteY110" fmla="*/ 1781175 h 4496940"/>
                  <a:gd name="connsiteX111" fmla="*/ 59077 w 4519987"/>
                  <a:gd name="connsiteY111" fmla="*/ 1743075 h 4496940"/>
                  <a:gd name="connsiteX112" fmla="*/ 78127 w 4519987"/>
                  <a:gd name="connsiteY112" fmla="*/ 1685925 h 4496940"/>
                  <a:gd name="connsiteX113" fmla="*/ 87652 w 4519987"/>
                  <a:gd name="connsiteY113" fmla="*/ 1638300 h 4496940"/>
                  <a:gd name="connsiteX114" fmla="*/ 106702 w 4519987"/>
                  <a:gd name="connsiteY114" fmla="*/ 1590675 h 4496940"/>
                  <a:gd name="connsiteX115" fmla="*/ 135277 w 4519987"/>
                  <a:gd name="connsiteY115" fmla="*/ 1504950 h 4496940"/>
                  <a:gd name="connsiteX116" fmla="*/ 154327 w 4519987"/>
                  <a:gd name="connsiteY116" fmla="*/ 1419225 h 4496940"/>
                  <a:gd name="connsiteX117" fmla="*/ 230527 w 4519987"/>
                  <a:gd name="connsiteY117" fmla="*/ 1276350 h 4496940"/>
                  <a:gd name="connsiteX118" fmla="*/ 240052 w 4519987"/>
                  <a:gd name="connsiteY118" fmla="*/ 1247775 h 4496940"/>
                  <a:gd name="connsiteX119" fmla="*/ 268627 w 4519987"/>
                  <a:gd name="connsiteY119" fmla="*/ 1200150 h 4496940"/>
                  <a:gd name="connsiteX120" fmla="*/ 287677 w 4519987"/>
                  <a:gd name="connsiteY120" fmla="*/ 1152525 h 4496940"/>
                  <a:gd name="connsiteX121" fmla="*/ 316252 w 4519987"/>
                  <a:gd name="connsiteY121" fmla="*/ 1114425 h 4496940"/>
                  <a:gd name="connsiteX122" fmla="*/ 363877 w 4519987"/>
                  <a:gd name="connsiteY122" fmla="*/ 1038225 h 4496940"/>
                  <a:gd name="connsiteX123" fmla="*/ 382927 w 4519987"/>
                  <a:gd name="connsiteY123" fmla="*/ 1009650 h 4496940"/>
                  <a:gd name="connsiteX124" fmla="*/ 440077 w 4519987"/>
                  <a:gd name="connsiteY124" fmla="*/ 904875 h 4496940"/>
                  <a:gd name="connsiteX125" fmla="*/ 478177 w 4519987"/>
                  <a:gd name="connsiteY125" fmla="*/ 857250 h 4496940"/>
                  <a:gd name="connsiteX126" fmla="*/ 497227 w 4519987"/>
                  <a:gd name="connsiteY126" fmla="*/ 828675 h 4496940"/>
                  <a:gd name="connsiteX127" fmla="*/ 535327 w 4519987"/>
                  <a:gd name="connsiteY127" fmla="*/ 800100 h 4496940"/>
                  <a:gd name="connsiteX128" fmla="*/ 602002 w 4519987"/>
                  <a:gd name="connsiteY128" fmla="*/ 733425 h 4496940"/>
                  <a:gd name="connsiteX129" fmla="*/ 668677 w 4519987"/>
                  <a:gd name="connsiteY129" fmla="*/ 676275 h 4496940"/>
                  <a:gd name="connsiteX130" fmla="*/ 697252 w 4519987"/>
                  <a:gd name="connsiteY130" fmla="*/ 657225 h 4496940"/>
                  <a:gd name="connsiteX131" fmla="*/ 840127 w 4519987"/>
                  <a:gd name="connsiteY131" fmla="*/ 533400 h 4496940"/>
                  <a:gd name="connsiteX132" fmla="*/ 887752 w 4519987"/>
                  <a:gd name="connsiteY132" fmla="*/ 504825 h 4496940"/>
                  <a:gd name="connsiteX133" fmla="*/ 1167152 w 4519987"/>
                  <a:gd name="connsiteY133" fmla="*/ 311150 h 4496940"/>
                  <a:gd name="connsiteX134" fmla="*/ 1268752 w 4519987"/>
                  <a:gd name="connsiteY134" fmla="*/ 285750 h 4496940"/>
                  <a:gd name="connsiteX135" fmla="*/ 1411627 w 4519987"/>
                  <a:gd name="connsiteY135" fmla="*/ 190500 h 4496940"/>
                  <a:gd name="connsiteX136" fmla="*/ 1449727 w 4519987"/>
                  <a:gd name="connsiteY136" fmla="*/ 161925 h 4496940"/>
                  <a:gd name="connsiteX137" fmla="*/ 1525927 w 4519987"/>
                  <a:gd name="connsiteY137" fmla="*/ 152400 h 4496940"/>
                  <a:gd name="connsiteX138" fmla="*/ 1583077 w 4519987"/>
                  <a:gd name="connsiteY138" fmla="*/ 142875 h 4496940"/>
                  <a:gd name="connsiteX139" fmla="*/ 1716427 w 4519987"/>
                  <a:gd name="connsiteY139" fmla="*/ 123825 h 4496940"/>
                  <a:gd name="connsiteX140" fmla="*/ 1811677 w 4519987"/>
                  <a:gd name="connsiteY140" fmla="*/ 114300 h 4496940"/>
                  <a:gd name="connsiteX141" fmla="*/ 1859302 w 4519987"/>
                  <a:gd name="connsiteY141" fmla="*/ 104775 h 4496940"/>
                  <a:gd name="connsiteX142" fmla="*/ 1916452 w 4519987"/>
                  <a:gd name="connsiteY142" fmla="*/ 95250 h 4496940"/>
                  <a:gd name="connsiteX143" fmla="*/ 2030752 w 4519987"/>
                  <a:gd name="connsiteY143" fmla="*/ 66675 h 4496940"/>
                  <a:gd name="connsiteX144" fmla="*/ 2097427 w 4519987"/>
                  <a:gd name="connsiteY144" fmla="*/ 47625 h 4496940"/>
                  <a:gd name="connsiteX145" fmla="*/ 2164102 w 4519987"/>
                  <a:gd name="connsiteY145" fmla="*/ 38100 h 4496940"/>
                  <a:gd name="connsiteX146" fmla="*/ 2392702 w 4519987"/>
                  <a:gd name="connsiteY14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250077 w 4519987"/>
                  <a:gd name="connsiteY24" fmla="*/ 1143000 h 4496940"/>
                  <a:gd name="connsiteX25" fmla="*/ 4259602 w 4519987"/>
                  <a:gd name="connsiteY25" fmla="*/ 1190625 h 4496940"/>
                  <a:gd name="connsiteX26" fmla="*/ 4307227 w 4519987"/>
                  <a:gd name="connsiteY26" fmla="*/ 1266825 h 4496940"/>
                  <a:gd name="connsiteX27" fmla="*/ 4345327 w 4519987"/>
                  <a:gd name="connsiteY27" fmla="*/ 1362075 h 4496940"/>
                  <a:gd name="connsiteX28" fmla="*/ 4373902 w 4519987"/>
                  <a:gd name="connsiteY28" fmla="*/ 1428750 h 4496940"/>
                  <a:gd name="connsiteX29" fmla="*/ 4392952 w 4519987"/>
                  <a:gd name="connsiteY29" fmla="*/ 1552575 h 4496940"/>
                  <a:gd name="connsiteX30" fmla="*/ 4402477 w 4519987"/>
                  <a:gd name="connsiteY30" fmla="*/ 1590675 h 4496940"/>
                  <a:gd name="connsiteX31" fmla="*/ 4431052 w 4519987"/>
                  <a:gd name="connsiteY31" fmla="*/ 1685925 h 4496940"/>
                  <a:gd name="connsiteX32" fmla="*/ 4519952 w 4519987"/>
                  <a:gd name="connsiteY32" fmla="*/ 2181225 h 4496940"/>
                  <a:gd name="connsiteX33" fmla="*/ 4446927 w 4519987"/>
                  <a:gd name="connsiteY33" fmla="*/ 2768600 h 4496940"/>
                  <a:gd name="connsiteX34" fmla="*/ 4383427 w 4519987"/>
                  <a:gd name="connsiteY34" fmla="*/ 2990850 h 4496940"/>
                  <a:gd name="connsiteX35" fmla="*/ 4278652 w 4519987"/>
                  <a:gd name="connsiteY35" fmla="*/ 3248025 h 4496940"/>
                  <a:gd name="connsiteX36" fmla="*/ 4259602 w 4519987"/>
                  <a:gd name="connsiteY36" fmla="*/ 3276600 h 4496940"/>
                  <a:gd name="connsiteX37" fmla="*/ 4221502 w 4519987"/>
                  <a:gd name="connsiteY37" fmla="*/ 3333750 h 4496940"/>
                  <a:gd name="connsiteX38" fmla="*/ 4211977 w 4519987"/>
                  <a:gd name="connsiteY38" fmla="*/ 3362325 h 4496940"/>
                  <a:gd name="connsiteX39" fmla="*/ 4183402 w 4519987"/>
                  <a:gd name="connsiteY39" fmla="*/ 3400425 h 4496940"/>
                  <a:gd name="connsiteX40" fmla="*/ 4164352 w 4519987"/>
                  <a:gd name="connsiteY40" fmla="*/ 3429000 h 4496940"/>
                  <a:gd name="connsiteX41" fmla="*/ 4088152 w 4519987"/>
                  <a:gd name="connsiteY41" fmla="*/ 3495675 h 4496940"/>
                  <a:gd name="connsiteX42" fmla="*/ 4059577 w 4519987"/>
                  <a:gd name="connsiteY42" fmla="*/ 3533775 h 4496940"/>
                  <a:gd name="connsiteX43" fmla="*/ 4002427 w 4519987"/>
                  <a:gd name="connsiteY43" fmla="*/ 3600450 h 4496940"/>
                  <a:gd name="connsiteX44" fmla="*/ 3983377 w 4519987"/>
                  <a:gd name="connsiteY44" fmla="*/ 3629025 h 4496940"/>
                  <a:gd name="connsiteX45" fmla="*/ 3954802 w 4519987"/>
                  <a:gd name="connsiteY45" fmla="*/ 3648075 h 4496940"/>
                  <a:gd name="connsiteX46" fmla="*/ 3907177 w 4519987"/>
                  <a:gd name="connsiteY46" fmla="*/ 3686175 h 4496940"/>
                  <a:gd name="connsiteX47" fmla="*/ 3869077 w 4519987"/>
                  <a:gd name="connsiteY47" fmla="*/ 3724275 h 4496940"/>
                  <a:gd name="connsiteX48" fmla="*/ 3792877 w 4519987"/>
                  <a:gd name="connsiteY48" fmla="*/ 3781425 h 4496940"/>
                  <a:gd name="connsiteX49" fmla="*/ 3783352 w 4519987"/>
                  <a:gd name="connsiteY49" fmla="*/ 3810000 h 4496940"/>
                  <a:gd name="connsiteX50" fmla="*/ 3745252 w 4519987"/>
                  <a:gd name="connsiteY50" fmla="*/ 3819525 h 4496940"/>
                  <a:gd name="connsiteX51" fmla="*/ 3678577 w 4519987"/>
                  <a:gd name="connsiteY51" fmla="*/ 3848100 h 4496940"/>
                  <a:gd name="connsiteX52" fmla="*/ 3659527 w 4519987"/>
                  <a:gd name="connsiteY52" fmla="*/ 3971925 h 4496940"/>
                  <a:gd name="connsiteX53" fmla="*/ 3630952 w 4519987"/>
                  <a:gd name="connsiteY53" fmla="*/ 4010025 h 4496940"/>
                  <a:gd name="connsiteX54" fmla="*/ 3621427 w 4519987"/>
                  <a:gd name="connsiteY54" fmla="*/ 4038600 h 4496940"/>
                  <a:gd name="connsiteX55" fmla="*/ 3554752 w 4519987"/>
                  <a:gd name="connsiteY55" fmla="*/ 4095750 h 4496940"/>
                  <a:gd name="connsiteX56" fmla="*/ 3516652 w 4519987"/>
                  <a:gd name="connsiteY56" fmla="*/ 4114800 h 4496940"/>
                  <a:gd name="connsiteX57" fmla="*/ 3497602 w 4519987"/>
                  <a:gd name="connsiteY57" fmla="*/ 4143375 h 4496940"/>
                  <a:gd name="connsiteX58" fmla="*/ 3383302 w 4519987"/>
                  <a:gd name="connsiteY58" fmla="*/ 4210050 h 4496940"/>
                  <a:gd name="connsiteX59" fmla="*/ 3335677 w 4519987"/>
                  <a:gd name="connsiteY59" fmla="*/ 4238625 h 4496940"/>
                  <a:gd name="connsiteX60" fmla="*/ 3288052 w 4519987"/>
                  <a:gd name="connsiteY60" fmla="*/ 4248150 h 4496940"/>
                  <a:gd name="connsiteX61" fmla="*/ 3240427 w 4519987"/>
                  <a:gd name="connsiteY61" fmla="*/ 4267200 h 4496940"/>
                  <a:gd name="connsiteX62" fmla="*/ 3068977 w 4519987"/>
                  <a:gd name="connsiteY62" fmla="*/ 4286250 h 4496940"/>
                  <a:gd name="connsiteX63" fmla="*/ 2935627 w 4519987"/>
                  <a:gd name="connsiteY63" fmla="*/ 4333875 h 4496940"/>
                  <a:gd name="connsiteX64" fmla="*/ 2811802 w 4519987"/>
                  <a:gd name="connsiteY64" fmla="*/ 4371975 h 4496940"/>
                  <a:gd name="connsiteX65" fmla="*/ 2745127 w 4519987"/>
                  <a:gd name="connsiteY65" fmla="*/ 4410075 h 4496940"/>
                  <a:gd name="connsiteX66" fmla="*/ 2697502 w 4519987"/>
                  <a:gd name="connsiteY66" fmla="*/ 4429125 h 4496940"/>
                  <a:gd name="connsiteX67" fmla="*/ 2640352 w 4519987"/>
                  <a:gd name="connsiteY67" fmla="*/ 4457700 h 4496940"/>
                  <a:gd name="connsiteX68" fmla="*/ 2583202 w 4519987"/>
                  <a:gd name="connsiteY68" fmla="*/ 4467225 h 4496940"/>
                  <a:gd name="connsiteX69" fmla="*/ 2545102 w 4519987"/>
                  <a:gd name="connsiteY69" fmla="*/ 4486275 h 4496940"/>
                  <a:gd name="connsiteX70" fmla="*/ 2306977 w 4519987"/>
                  <a:gd name="connsiteY70" fmla="*/ 4476750 h 4496940"/>
                  <a:gd name="connsiteX71" fmla="*/ 2202202 w 4519987"/>
                  <a:gd name="connsiteY71" fmla="*/ 4457700 h 4496940"/>
                  <a:gd name="connsiteX72" fmla="*/ 2126002 w 4519987"/>
                  <a:gd name="connsiteY72" fmla="*/ 4429125 h 4496940"/>
                  <a:gd name="connsiteX73" fmla="*/ 1935502 w 4519987"/>
                  <a:gd name="connsiteY73" fmla="*/ 4400550 h 4496940"/>
                  <a:gd name="connsiteX74" fmla="*/ 1821202 w 4519987"/>
                  <a:gd name="connsiteY74" fmla="*/ 4371975 h 4496940"/>
                  <a:gd name="connsiteX75" fmla="*/ 1754527 w 4519987"/>
                  <a:gd name="connsiteY75" fmla="*/ 4352925 h 4496940"/>
                  <a:gd name="connsiteX76" fmla="*/ 1687852 w 4519987"/>
                  <a:gd name="connsiteY76" fmla="*/ 4343400 h 4496940"/>
                  <a:gd name="connsiteX77" fmla="*/ 1573552 w 4519987"/>
                  <a:gd name="connsiteY77" fmla="*/ 4305300 h 4496940"/>
                  <a:gd name="connsiteX78" fmla="*/ 1402102 w 4519987"/>
                  <a:gd name="connsiteY78" fmla="*/ 4276725 h 4496940"/>
                  <a:gd name="connsiteX79" fmla="*/ 1287802 w 4519987"/>
                  <a:gd name="connsiteY79" fmla="*/ 4229100 h 4496940"/>
                  <a:gd name="connsiteX80" fmla="*/ 1221127 w 4519987"/>
                  <a:gd name="connsiteY80" fmla="*/ 4200525 h 4496940"/>
                  <a:gd name="connsiteX81" fmla="*/ 1144927 w 4519987"/>
                  <a:gd name="connsiteY81" fmla="*/ 4171950 h 4496940"/>
                  <a:gd name="connsiteX82" fmla="*/ 1087777 w 4519987"/>
                  <a:gd name="connsiteY82" fmla="*/ 4143375 h 4496940"/>
                  <a:gd name="connsiteX83" fmla="*/ 1030627 w 4519987"/>
                  <a:gd name="connsiteY83" fmla="*/ 4124325 h 4496940"/>
                  <a:gd name="connsiteX84" fmla="*/ 925852 w 4519987"/>
                  <a:gd name="connsiteY84" fmla="*/ 4067175 h 4496940"/>
                  <a:gd name="connsiteX85" fmla="*/ 830602 w 4519987"/>
                  <a:gd name="connsiteY85" fmla="*/ 3981450 h 4496940"/>
                  <a:gd name="connsiteX86" fmla="*/ 763927 w 4519987"/>
                  <a:gd name="connsiteY86" fmla="*/ 3914775 h 4496940"/>
                  <a:gd name="connsiteX87" fmla="*/ 725827 w 4519987"/>
                  <a:gd name="connsiteY87" fmla="*/ 3876675 h 4496940"/>
                  <a:gd name="connsiteX88" fmla="*/ 697252 w 4519987"/>
                  <a:gd name="connsiteY88" fmla="*/ 3838575 h 4496940"/>
                  <a:gd name="connsiteX89" fmla="*/ 640102 w 4519987"/>
                  <a:gd name="connsiteY89" fmla="*/ 3781425 h 4496940"/>
                  <a:gd name="connsiteX90" fmla="*/ 611527 w 4519987"/>
                  <a:gd name="connsiteY90" fmla="*/ 3733800 h 4496940"/>
                  <a:gd name="connsiteX91" fmla="*/ 554377 w 4519987"/>
                  <a:gd name="connsiteY91" fmla="*/ 3657600 h 4496940"/>
                  <a:gd name="connsiteX92" fmla="*/ 525802 w 4519987"/>
                  <a:gd name="connsiteY92" fmla="*/ 3609975 h 4496940"/>
                  <a:gd name="connsiteX93" fmla="*/ 497227 w 4519987"/>
                  <a:gd name="connsiteY93" fmla="*/ 3552825 h 4496940"/>
                  <a:gd name="connsiteX94" fmla="*/ 440077 w 4519987"/>
                  <a:gd name="connsiteY94" fmla="*/ 3495675 h 4496940"/>
                  <a:gd name="connsiteX95" fmla="*/ 411502 w 4519987"/>
                  <a:gd name="connsiteY95" fmla="*/ 3448050 h 4496940"/>
                  <a:gd name="connsiteX96" fmla="*/ 278152 w 4519987"/>
                  <a:gd name="connsiteY96" fmla="*/ 3257550 h 4496940"/>
                  <a:gd name="connsiteX97" fmla="*/ 249577 w 4519987"/>
                  <a:gd name="connsiteY97" fmla="*/ 3200400 h 4496940"/>
                  <a:gd name="connsiteX98" fmla="*/ 240052 w 4519987"/>
                  <a:gd name="connsiteY98" fmla="*/ 3162300 h 4496940"/>
                  <a:gd name="connsiteX99" fmla="*/ 221002 w 4519987"/>
                  <a:gd name="connsiteY99" fmla="*/ 3105150 h 4496940"/>
                  <a:gd name="connsiteX100" fmla="*/ 173377 w 4519987"/>
                  <a:gd name="connsiteY100" fmla="*/ 3019425 h 4496940"/>
                  <a:gd name="connsiteX101" fmla="*/ 144802 w 4519987"/>
                  <a:gd name="connsiteY101" fmla="*/ 2924175 h 4496940"/>
                  <a:gd name="connsiteX102" fmla="*/ 68602 w 4519987"/>
                  <a:gd name="connsiteY102" fmla="*/ 2724150 h 4496940"/>
                  <a:gd name="connsiteX103" fmla="*/ 49552 w 4519987"/>
                  <a:gd name="connsiteY103" fmla="*/ 2638425 h 4496940"/>
                  <a:gd name="connsiteX104" fmla="*/ 40027 w 4519987"/>
                  <a:gd name="connsiteY104" fmla="*/ 2562225 h 4496940"/>
                  <a:gd name="connsiteX105" fmla="*/ 30502 w 4519987"/>
                  <a:gd name="connsiteY105" fmla="*/ 2514600 h 4496940"/>
                  <a:gd name="connsiteX106" fmla="*/ 11452 w 4519987"/>
                  <a:gd name="connsiteY106" fmla="*/ 2400300 h 4496940"/>
                  <a:gd name="connsiteX107" fmla="*/ 20977 w 4519987"/>
                  <a:gd name="connsiteY107" fmla="*/ 1905000 h 4496940"/>
                  <a:gd name="connsiteX108" fmla="*/ 30502 w 4519987"/>
                  <a:gd name="connsiteY108" fmla="*/ 1838325 h 4496940"/>
                  <a:gd name="connsiteX109" fmla="*/ 49552 w 4519987"/>
                  <a:gd name="connsiteY109" fmla="*/ 1781175 h 4496940"/>
                  <a:gd name="connsiteX110" fmla="*/ 59077 w 4519987"/>
                  <a:gd name="connsiteY110" fmla="*/ 1743075 h 4496940"/>
                  <a:gd name="connsiteX111" fmla="*/ 78127 w 4519987"/>
                  <a:gd name="connsiteY111" fmla="*/ 1685925 h 4496940"/>
                  <a:gd name="connsiteX112" fmla="*/ 87652 w 4519987"/>
                  <a:gd name="connsiteY112" fmla="*/ 1638300 h 4496940"/>
                  <a:gd name="connsiteX113" fmla="*/ 106702 w 4519987"/>
                  <a:gd name="connsiteY113" fmla="*/ 1590675 h 4496940"/>
                  <a:gd name="connsiteX114" fmla="*/ 135277 w 4519987"/>
                  <a:gd name="connsiteY114" fmla="*/ 1504950 h 4496940"/>
                  <a:gd name="connsiteX115" fmla="*/ 154327 w 4519987"/>
                  <a:gd name="connsiteY115" fmla="*/ 1419225 h 4496940"/>
                  <a:gd name="connsiteX116" fmla="*/ 230527 w 4519987"/>
                  <a:gd name="connsiteY116" fmla="*/ 1276350 h 4496940"/>
                  <a:gd name="connsiteX117" fmla="*/ 240052 w 4519987"/>
                  <a:gd name="connsiteY117" fmla="*/ 1247775 h 4496940"/>
                  <a:gd name="connsiteX118" fmla="*/ 268627 w 4519987"/>
                  <a:gd name="connsiteY118" fmla="*/ 1200150 h 4496940"/>
                  <a:gd name="connsiteX119" fmla="*/ 287677 w 4519987"/>
                  <a:gd name="connsiteY119" fmla="*/ 1152525 h 4496940"/>
                  <a:gd name="connsiteX120" fmla="*/ 316252 w 4519987"/>
                  <a:gd name="connsiteY120" fmla="*/ 1114425 h 4496940"/>
                  <a:gd name="connsiteX121" fmla="*/ 363877 w 4519987"/>
                  <a:gd name="connsiteY121" fmla="*/ 1038225 h 4496940"/>
                  <a:gd name="connsiteX122" fmla="*/ 382927 w 4519987"/>
                  <a:gd name="connsiteY122" fmla="*/ 1009650 h 4496940"/>
                  <a:gd name="connsiteX123" fmla="*/ 440077 w 4519987"/>
                  <a:gd name="connsiteY123" fmla="*/ 904875 h 4496940"/>
                  <a:gd name="connsiteX124" fmla="*/ 478177 w 4519987"/>
                  <a:gd name="connsiteY124" fmla="*/ 857250 h 4496940"/>
                  <a:gd name="connsiteX125" fmla="*/ 497227 w 4519987"/>
                  <a:gd name="connsiteY125" fmla="*/ 828675 h 4496940"/>
                  <a:gd name="connsiteX126" fmla="*/ 535327 w 4519987"/>
                  <a:gd name="connsiteY126" fmla="*/ 800100 h 4496940"/>
                  <a:gd name="connsiteX127" fmla="*/ 602002 w 4519987"/>
                  <a:gd name="connsiteY127" fmla="*/ 733425 h 4496940"/>
                  <a:gd name="connsiteX128" fmla="*/ 668677 w 4519987"/>
                  <a:gd name="connsiteY128" fmla="*/ 676275 h 4496940"/>
                  <a:gd name="connsiteX129" fmla="*/ 697252 w 4519987"/>
                  <a:gd name="connsiteY129" fmla="*/ 657225 h 4496940"/>
                  <a:gd name="connsiteX130" fmla="*/ 840127 w 4519987"/>
                  <a:gd name="connsiteY130" fmla="*/ 533400 h 4496940"/>
                  <a:gd name="connsiteX131" fmla="*/ 887752 w 4519987"/>
                  <a:gd name="connsiteY131" fmla="*/ 504825 h 4496940"/>
                  <a:gd name="connsiteX132" fmla="*/ 1167152 w 4519987"/>
                  <a:gd name="connsiteY132" fmla="*/ 311150 h 4496940"/>
                  <a:gd name="connsiteX133" fmla="*/ 1268752 w 4519987"/>
                  <a:gd name="connsiteY133" fmla="*/ 285750 h 4496940"/>
                  <a:gd name="connsiteX134" fmla="*/ 1411627 w 4519987"/>
                  <a:gd name="connsiteY134" fmla="*/ 190500 h 4496940"/>
                  <a:gd name="connsiteX135" fmla="*/ 1449727 w 4519987"/>
                  <a:gd name="connsiteY135" fmla="*/ 161925 h 4496940"/>
                  <a:gd name="connsiteX136" fmla="*/ 1525927 w 4519987"/>
                  <a:gd name="connsiteY136" fmla="*/ 152400 h 4496940"/>
                  <a:gd name="connsiteX137" fmla="*/ 1583077 w 4519987"/>
                  <a:gd name="connsiteY137" fmla="*/ 142875 h 4496940"/>
                  <a:gd name="connsiteX138" fmla="*/ 1716427 w 4519987"/>
                  <a:gd name="connsiteY138" fmla="*/ 123825 h 4496940"/>
                  <a:gd name="connsiteX139" fmla="*/ 1811677 w 4519987"/>
                  <a:gd name="connsiteY139" fmla="*/ 114300 h 4496940"/>
                  <a:gd name="connsiteX140" fmla="*/ 1859302 w 4519987"/>
                  <a:gd name="connsiteY140" fmla="*/ 104775 h 4496940"/>
                  <a:gd name="connsiteX141" fmla="*/ 1916452 w 4519987"/>
                  <a:gd name="connsiteY141" fmla="*/ 95250 h 4496940"/>
                  <a:gd name="connsiteX142" fmla="*/ 2030752 w 4519987"/>
                  <a:gd name="connsiteY142" fmla="*/ 66675 h 4496940"/>
                  <a:gd name="connsiteX143" fmla="*/ 2097427 w 4519987"/>
                  <a:gd name="connsiteY143" fmla="*/ 47625 h 4496940"/>
                  <a:gd name="connsiteX144" fmla="*/ 2164102 w 4519987"/>
                  <a:gd name="connsiteY144" fmla="*/ 38100 h 4496940"/>
                  <a:gd name="connsiteX145" fmla="*/ 2392702 w 4519987"/>
                  <a:gd name="connsiteY14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259602 w 4519987"/>
                  <a:gd name="connsiteY24" fmla="*/ 1190625 h 4496940"/>
                  <a:gd name="connsiteX25" fmla="*/ 4307227 w 4519987"/>
                  <a:gd name="connsiteY25" fmla="*/ 1266825 h 4496940"/>
                  <a:gd name="connsiteX26" fmla="*/ 4345327 w 4519987"/>
                  <a:gd name="connsiteY26" fmla="*/ 1362075 h 4496940"/>
                  <a:gd name="connsiteX27" fmla="*/ 4373902 w 4519987"/>
                  <a:gd name="connsiteY27" fmla="*/ 1428750 h 4496940"/>
                  <a:gd name="connsiteX28" fmla="*/ 4392952 w 4519987"/>
                  <a:gd name="connsiteY28" fmla="*/ 1552575 h 4496940"/>
                  <a:gd name="connsiteX29" fmla="*/ 4402477 w 4519987"/>
                  <a:gd name="connsiteY29" fmla="*/ 1590675 h 4496940"/>
                  <a:gd name="connsiteX30" fmla="*/ 4431052 w 4519987"/>
                  <a:gd name="connsiteY30" fmla="*/ 1685925 h 4496940"/>
                  <a:gd name="connsiteX31" fmla="*/ 4519952 w 4519987"/>
                  <a:gd name="connsiteY31" fmla="*/ 2181225 h 4496940"/>
                  <a:gd name="connsiteX32" fmla="*/ 4446927 w 4519987"/>
                  <a:gd name="connsiteY32" fmla="*/ 2768600 h 4496940"/>
                  <a:gd name="connsiteX33" fmla="*/ 4383427 w 4519987"/>
                  <a:gd name="connsiteY33" fmla="*/ 2990850 h 4496940"/>
                  <a:gd name="connsiteX34" fmla="*/ 4278652 w 4519987"/>
                  <a:gd name="connsiteY34" fmla="*/ 3248025 h 4496940"/>
                  <a:gd name="connsiteX35" fmla="*/ 4259602 w 4519987"/>
                  <a:gd name="connsiteY35" fmla="*/ 3276600 h 4496940"/>
                  <a:gd name="connsiteX36" fmla="*/ 4221502 w 4519987"/>
                  <a:gd name="connsiteY36" fmla="*/ 3333750 h 4496940"/>
                  <a:gd name="connsiteX37" fmla="*/ 4211977 w 4519987"/>
                  <a:gd name="connsiteY37" fmla="*/ 3362325 h 4496940"/>
                  <a:gd name="connsiteX38" fmla="*/ 4183402 w 4519987"/>
                  <a:gd name="connsiteY38" fmla="*/ 3400425 h 4496940"/>
                  <a:gd name="connsiteX39" fmla="*/ 4164352 w 4519987"/>
                  <a:gd name="connsiteY39" fmla="*/ 3429000 h 4496940"/>
                  <a:gd name="connsiteX40" fmla="*/ 4088152 w 4519987"/>
                  <a:gd name="connsiteY40" fmla="*/ 3495675 h 4496940"/>
                  <a:gd name="connsiteX41" fmla="*/ 4059577 w 4519987"/>
                  <a:gd name="connsiteY41" fmla="*/ 3533775 h 4496940"/>
                  <a:gd name="connsiteX42" fmla="*/ 4002427 w 4519987"/>
                  <a:gd name="connsiteY42" fmla="*/ 3600450 h 4496940"/>
                  <a:gd name="connsiteX43" fmla="*/ 3983377 w 4519987"/>
                  <a:gd name="connsiteY43" fmla="*/ 3629025 h 4496940"/>
                  <a:gd name="connsiteX44" fmla="*/ 3954802 w 4519987"/>
                  <a:gd name="connsiteY44" fmla="*/ 3648075 h 4496940"/>
                  <a:gd name="connsiteX45" fmla="*/ 3907177 w 4519987"/>
                  <a:gd name="connsiteY45" fmla="*/ 3686175 h 4496940"/>
                  <a:gd name="connsiteX46" fmla="*/ 3869077 w 4519987"/>
                  <a:gd name="connsiteY46" fmla="*/ 3724275 h 4496940"/>
                  <a:gd name="connsiteX47" fmla="*/ 3792877 w 4519987"/>
                  <a:gd name="connsiteY47" fmla="*/ 3781425 h 4496940"/>
                  <a:gd name="connsiteX48" fmla="*/ 3783352 w 4519987"/>
                  <a:gd name="connsiteY48" fmla="*/ 3810000 h 4496940"/>
                  <a:gd name="connsiteX49" fmla="*/ 3745252 w 4519987"/>
                  <a:gd name="connsiteY49" fmla="*/ 3819525 h 4496940"/>
                  <a:gd name="connsiteX50" fmla="*/ 3678577 w 4519987"/>
                  <a:gd name="connsiteY50" fmla="*/ 3848100 h 4496940"/>
                  <a:gd name="connsiteX51" fmla="*/ 3659527 w 4519987"/>
                  <a:gd name="connsiteY51" fmla="*/ 3971925 h 4496940"/>
                  <a:gd name="connsiteX52" fmla="*/ 3630952 w 4519987"/>
                  <a:gd name="connsiteY52" fmla="*/ 4010025 h 4496940"/>
                  <a:gd name="connsiteX53" fmla="*/ 3621427 w 4519987"/>
                  <a:gd name="connsiteY53" fmla="*/ 4038600 h 4496940"/>
                  <a:gd name="connsiteX54" fmla="*/ 3554752 w 4519987"/>
                  <a:gd name="connsiteY54" fmla="*/ 4095750 h 4496940"/>
                  <a:gd name="connsiteX55" fmla="*/ 3516652 w 4519987"/>
                  <a:gd name="connsiteY55" fmla="*/ 4114800 h 4496940"/>
                  <a:gd name="connsiteX56" fmla="*/ 3497602 w 4519987"/>
                  <a:gd name="connsiteY56" fmla="*/ 4143375 h 4496940"/>
                  <a:gd name="connsiteX57" fmla="*/ 3383302 w 4519987"/>
                  <a:gd name="connsiteY57" fmla="*/ 4210050 h 4496940"/>
                  <a:gd name="connsiteX58" fmla="*/ 3335677 w 4519987"/>
                  <a:gd name="connsiteY58" fmla="*/ 4238625 h 4496940"/>
                  <a:gd name="connsiteX59" fmla="*/ 3288052 w 4519987"/>
                  <a:gd name="connsiteY59" fmla="*/ 4248150 h 4496940"/>
                  <a:gd name="connsiteX60" fmla="*/ 3240427 w 4519987"/>
                  <a:gd name="connsiteY60" fmla="*/ 4267200 h 4496940"/>
                  <a:gd name="connsiteX61" fmla="*/ 3068977 w 4519987"/>
                  <a:gd name="connsiteY61" fmla="*/ 4286250 h 4496940"/>
                  <a:gd name="connsiteX62" fmla="*/ 2935627 w 4519987"/>
                  <a:gd name="connsiteY62" fmla="*/ 4333875 h 4496940"/>
                  <a:gd name="connsiteX63" fmla="*/ 2811802 w 4519987"/>
                  <a:gd name="connsiteY63" fmla="*/ 4371975 h 4496940"/>
                  <a:gd name="connsiteX64" fmla="*/ 2745127 w 4519987"/>
                  <a:gd name="connsiteY64" fmla="*/ 4410075 h 4496940"/>
                  <a:gd name="connsiteX65" fmla="*/ 2697502 w 4519987"/>
                  <a:gd name="connsiteY65" fmla="*/ 4429125 h 4496940"/>
                  <a:gd name="connsiteX66" fmla="*/ 2640352 w 4519987"/>
                  <a:gd name="connsiteY66" fmla="*/ 4457700 h 4496940"/>
                  <a:gd name="connsiteX67" fmla="*/ 2583202 w 4519987"/>
                  <a:gd name="connsiteY67" fmla="*/ 4467225 h 4496940"/>
                  <a:gd name="connsiteX68" fmla="*/ 2545102 w 4519987"/>
                  <a:gd name="connsiteY68" fmla="*/ 4486275 h 4496940"/>
                  <a:gd name="connsiteX69" fmla="*/ 2306977 w 4519987"/>
                  <a:gd name="connsiteY69" fmla="*/ 4476750 h 4496940"/>
                  <a:gd name="connsiteX70" fmla="*/ 2202202 w 4519987"/>
                  <a:gd name="connsiteY70" fmla="*/ 4457700 h 4496940"/>
                  <a:gd name="connsiteX71" fmla="*/ 2126002 w 4519987"/>
                  <a:gd name="connsiteY71" fmla="*/ 4429125 h 4496940"/>
                  <a:gd name="connsiteX72" fmla="*/ 1935502 w 4519987"/>
                  <a:gd name="connsiteY72" fmla="*/ 4400550 h 4496940"/>
                  <a:gd name="connsiteX73" fmla="*/ 1821202 w 4519987"/>
                  <a:gd name="connsiteY73" fmla="*/ 4371975 h 4496940"/>
                  <a:gd name="connsiteX74" fmla="*/ 1754527 w 4519987"/>
                  <a:gd name="connsiteY74" fmla="*/ 4352925 h 4496940"/>
                  <a:gd name="connsiteX75" fmla="*/ 1687852 w 4519987"/>
                  <a:gd name="connsiteY75" fmla="*/ 4343400 h 4496940"/>
                  <a:gd name="connsiteX76" fmla="*/ 1573552 w 4519987"/>
                  <a:gd name="connsiteY76" fmla="*/ 4305300 h 4496940"/>
                  <a:gd name="connsiteX77" fmla="*/ 1402102 w 4519987"/>
                  <a:gd name="connsiteY77" fmla="*/ 4276725 h 4496940"/>
                  <a:gd name="connsiteX78" fmla="*/ 1287802 w 4519987"/>
                  <a:gd name="connsiteY78" fmla="*/ 4229100 h 4496940"/>
                  <a:gd name="connsiteX79" fmla="*/ 1221127 w 4519987"/>
                  <a:gd name="connsiteY79" fmla="*/ 4200525 h 4496940"/>
                  <a:gd name="connsiteX80" fmla="*/ 1144927 w 4519987"/>
                  <a:gd name="connsiteY80" fmla="*/ 4171950 h 4496940"/>
                  <a:gd name="connsiteX81" fmla="*/ 1087777 w 4519987"/>
                  <a:gd name="connsiteY81" fmla="*/ 4143375 h 4496940"/>
                  <a:gd name="connsiteX82" fmla="*/ 1030627 w 4519987"/>
                  <a:gd name="connsiteY82" fmla="*/ 4124325 h 4496940"/>
                  <a:gd name="connsiteX83" fmla="*/ 925852 w 4519987"/>
                  <a:gd name="connsiteY83" fmla="*/ 4067175 h 4496940"/>
                  <a:gd name="connsiteX84" fmla="*/ 830602 w 4519987"/>
                  <a:gd name="connsiteY84" fmla="*/ 3981450 h 4496940"/>
                  <a:gd name="connsiteX85" fmla="*/ 763927 w 4519987"/>
                  <a:gd name="connsiteY85" fmla="*/ 3914775 h 4496940"/>
                  <a:gd name="connsiteX86" fmla="*/ 725827 w 4519987"/>
                  <a:gd name="connsiteY86" fmla="*/ 3876675 h 4496940"/>
                  <a:gd name="connsiteX87" fmla="*/ 697252 w 4519987"/>
                  <a:gd name="connsiteY87" fmla="*/ 3838575 h 4496940"/>
                  <a:gd name="connsiteX88" fmla="*/ 640102 w 4519987"/>
                  <a:gd name="connsiteY88" fmla="*/ 3781425 h 4496940"/>
                  <a:gd name="connsiteX89" fmla="*/ 611527 w 4519987"/>
                  <a:gd name="connsiteY89" fmla="*/ 3733800 h 4496940"/>
                  <a:gd name="connsiteX90" fmla="*/ 554377 w 4519987"/>
                  <a:gd name="connsiteY90" fmla="*/ 3657600 h 4496940"/>
                  <a:gd name="connsiteX91" fmla="*/ 525802 w 4519987"/>
                  <a:gd name="connsiteY91" fmla="*/ 3609975 h 4496940"/>
                  <a:gd name="connsiteX92" fmla="*/ 497227 w 4519987"/>
                  <a:gd name="connsiteY92" fmla="*/ 3552825 h 4496940"/>
                  <a:gd name="connsiteX93" fmla="*/ 440077 w 4519987"/>
                  <a:gd name="connsiteY93" fmla="*/ 3495675 h 4496940"/>
                  <a:gd name="connsiteX94" fmla="*/ 411502 w 4519987"/>
                  <a:gd name="connsiteY94" fmla="*/ 3448050 h 4496940"/>
                  <a:gd name="connsiteX95" fmla="*/ 278152 w 4519987"/>
                  <a:gd name="connsiteY95" fmla="*/ 3257550 h 4496940"/>
                  <a:gd name="connsiteX96" fmla="*/ 249577 w 4519987"/>
                  <a:gd name="connsiteY96" fmla="*/ 3200400 h 4496940"/>
                  <a:gd name="connsiteX97" fmla="*/ 240052 w 4519987"/>
                  <a:gd name="connsiteY97" fmla="*/ 3162300 h 4496940"/>
                  <a:gd name="connsiteX98" fmla="*/ 221002 w 4519987"/>
                  <a:gd name="connsiteY98" fmla="*/ 3105150 h 4496940"/>
                  <a:gd name="connsiteX99" fmla="*/ 173377 w 4519987"/>
                  <a:gd name="connsiteY99" fmla="*/ 3019425 h 4496940"/>
                  <a:gd name="connsiteX100" fmla="*/ 144802 w 4519987"/>
                  <a:gd name="connsiteY100" fmla="*/ 2924175 h 4496940"/>
                  <a:gd name="connsiteX101" fmla="*/ 68602 w 4519987"/>
                  <a:gd name="connsiteY101" fmla="*/ 2724150 h 4496940"/>
                  <a:gd name="connsiteX102" fmla="*/ 49552 w 4519987"/>
                  <a:gd name="connsiteY102" fmla="*/ 2638425 h 4496940"/>
                  <a:gd name="connsiteX103" fmla="*/ 40027 w 4519987"/>
                  <a:gd name="connsiteY103" fmla="*/ 2562225 h 4496940"/>
                  <a:gd name="connsiteX104" fmla="*/ 30502 w 4519987"/>
                  <a:gd name="connsiteY104" fmla="*/ 2514600 h 4496940"/>
                  <a:gd name="connsiteX105" fmla="*/ 11452 w 4519987"/>
                  <a:gd name="connsiteY105" fmla="*/ 2400300 h 4496940"/>
                  <a:gd name="connsiteX106" fmla="*/ 20977 w 4519987"/>
                  <a:gd name="connsiteY106" fmla="*/ 1905000 h 4496940"/>
                  <a:gd name="connsiteX107" fmla="*/ 30502 w 4519987"/>
                  <a:gd name="connsiteY107" fmla="*/ 1838325 h 4496940"/>
                  <a:gd name="connsiteX108" fmla="*/ 49552 w 4519987"/>
                  <a:gd name="connsiteY108" fmla="*/ 1781175 h 4496940"/>
                  <a:gd name="connsiteX109" fmla="*/ 59077 w 4519987"/>
                  <a:gd name="connsiteY109" fmla="*/ 1743075 h 4496940"/>
                  <a:gd name="connsiteX110" fmla="*/ 78127 w 4519987"/>
                  <a:gd name="connsiteY110" fmla="*/ 1685925 h 4496940"/>
                  <a:gd name="connsiteX111" fmla="*/ 87652 w 4519987"/>
                  <a:gd name="connsiteY111" fmla="*/ 1638300 h 4496940"/>
                  <a:gd name="connsiteX112" fmla="*/ 106702 w 4519987"/>
                  <a:gd name="connsiteY112" fmla="*/ 1590675 h 4496940"/>
                  <a:gd name="connsiteX113" fmla="*/ 135277 w 4519987"/>
                  <a:gd name="connsiteY113" fmla="*/ 1504950 h 4496940"/>
                  <a:gd name="connsiteX114" fmla="*/ 154327 w 4519987"/>
                  <a:gd name="connsiteY114" fmla="*/ 1419225 h 4496940"/>
                  <a:gd name="connsiteX115" fmla="*/ 230527 w 4519987"/>
                  <a:gd name="connsiteY115" fmla="*/ 1276350 h 4496940"/>
                  <a:gd name="connsiteX116" fmla="*/ 240052 w 4519987"/>
                  <a:gd name="connsiteY116" fmla="*/ 1247775 h 4496940"/>
                  <a:gd name="connsiteX117" fmla="*/ 268627 w 4519987"/>
                  <a:gd name="connsiteY117" fmla="*/ 1200150 h 4496940"/>
                  <a:gd name="connsiteX118" fmla="*/ 287677 w 4519987"/>
                  <a:gd name="connsiteY118" fmla="*/ 1152525 h 4496940"/>
                  <a:gd name="connsiteX119" fmla="*/ 316252 w 4519987"/>
                  <a:gd name="connsiteY119" fmla="*/ 1114425 h 4496940"/>
                  <a:gd name="connsiteX120" fmla="*/ 363877 w 4519987"/>
                  <a:gd name="connsiteY120" fmla="*/ 1038225 h 4496940"/>
                  <a:gd name="connsiteX121" fmla="*/ 382927 w 4519987"/>
                  <a:gd name="connsiteY121" fmla="*/ 1009650 h 4496940"/>
                  <a:gd name="connsiteX122" fmla="*/ 440077 w 4519987"/>
                  <a:gd name="connsiteY122" fmla="*/ 904875 h 4496940"/>
                  <a:gd name="connsiteX123" fmla="*/ 478177 w 4519987"/>
                  <a:gd name="connsiteY123" fmla="*/ 857250 h 4496940"/>
                  <a:gd name="connsiteX124" fmla="*/ 497227 w 4519987"/>
                  <a:gd name="connsiteY124" fmla="*/ 828675 h 4496940"/>
                  <a:gd name="connsiteX125" fmla="*/ 535327 w 4519987"/>
                  <a:gd name="connsiteY125" fmla="*/ 800100 h 4496940"/>
                  <a:gd name="connsiteX126" fmla="*/ 602002 w 4519987"/>
                  <a:gd name="connsiteY126" fmla="*/ 733425 h 4496940"/>
                  <a:gd name="connsiteX127" fmla="*/ 668677 w 4519987"/>
                  <a:gd name="connsiteY127" fmla="*/ 676275 h 4496940"/>
                  <a:gd name="connsiteX128" fmla="*/ 697252 w 4519987"/>
                  <a:gd name="connsiteY128" fmla="*/ 657225 h 4496940"/>
                  <a:gd name="connsiteX129" fmla="*/ 840127 w 4519987"/>
                  <a:gd name="connsiteY129" fmla="*/ 533400 h 4496940"/>
                  <a:gd name="connsiteX130" fmla="*/ 887752 w 4519987"/>
                  <a:gd name="connsiteY130" fmla="*/ 504825 h 4496940"/>
                  <a:gd name="connsiteX131" fmla="*/ 1167152 w 4519987"/>
                  <a:gd name="connsiteY131" fmla="*/ 311150 h 4496940"/>
                  <a:gd name="connsiteX132" fmla="*/ 1268752 w 4519987"/>
                  <a:gd name="connsiteY132" fmla="*/ 285750 h 4496940"/>
                  <a:gd name="connsiteX133" fmla="*/ 1411627 w 4519987"/>
                  <a:gd name="connsiteY133" fmla="*/ 190500 h 4496940"/>
                  <a:gd name="connsiteX134" fmla="*/ 1449727 w 4519987"/>
                  <a:gd name="connsiteY134" fmla="*/ 161925 h 4496940"/>
                  <a:gd name="connsiteX135" fmla="*/ 1525927 w 4519987"/>
                  <a:gd name="connsiteY135" fmla="*/ 152400 h 4496940"/>
                  <a:gd name="connsiteX136" fmla="*/ 1583077 w 4519987"/>
                  <a:gd name="connsiteY136" fmla="*/ 142875 h 4496940"/>
                  <a:gd name="connsiteX137" fmla="*/ 1716427 w 4519987"/>
                  <a:gd name="connsiteY137" fmla="*/ 123825 h 4496940"/>
                  <a:gd name="connsiteX138" fmla="*/ 1811677 w 4519987"/>
                  <a:gd name="connsiteY138" fmla="*/ 114300 h 4496940"/>
                  <a:gd name="connsiteX139" fmla="*/ 1859302 w 4519987"/>
                  <a:gd name="connsiteY139" fmla="*/ 104775 h 4496940"/>
                  <a:gd name="connsiteX140" fmla="*/ 1916452 w 4519987"/>
                  <a:gd name="connsiteY140" fmla="*/ 95250 h 4496940"/>
                  <a:gd name="connsiteX141" fmla="*/ 2030752 w 4519987"/>
                  <a:gd name="connsiteY141" fmla="*/ 66675 h 4496940"/>
                  <a:gd name="connsiteX142" fmla="*/ 2097427 w 4519987"/>
                  <a:gd name="connsiteY142" fmla="*/ 47625 h 4496940"/>
                  <a:gd name="connsiteX143" fmla="*/ 2164102 w 4519987"/>
                  <a:gd name="connsiteY143" fmla="*/ 38100 h 4496940"/>
                  <a:gd name="connsiteX144" fmla="*/ 2392702 w 4519987"/>
                  <a:gd name="connsiteY14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73902 w 4519987"/>
                  <a:gd name="connsiteY26" fmla="*/ 1428750 h 4496940"/>
                  <a:gd name="connsiteX27" fmla="*/ 4392952 w 4519987"/>
                  <a:gd name="connsiteY27" fmla="*/ 1552575 h 4496940"/>
                  <a:gd name="connsiteX28" fmla="*/ 4402477 w 4519987"/>
                  <a:gd name="connsiteY28" fmla="*/ 1590675 h 4496940"/>
                  <a:gd name="connsiteX29" fmla="*/ 4431052 w 4519987"/>
                  <a:gd name="connsiteY29" fmla="*/ 1685925 h 4496940"/>
                  <a:gd name="connsiteX30" fmla="*/ 4519952 w 4519987"/>
                  <a:gd name="connsiteY30" fmla="*/ 2181225 h 4496940"/>
                  <a:gd name="connsiteX31" fmla="*/ 4446927 w 4519987"/>
                  <a:gd name="connsiteY31" fmla="*/ 2768600 h 4496940"/>
                  <a:gd name="connsiteX32" fmla="*/ 4383427 w 4519987"/>
                  <a:gd name="connsiteY32" fmla="*/ 2990850 h 4496940"/>
                  <a:gd name="connsiteX33" fmla="*/ 4278652 w 4519987"/>
                  <a:gd name="connsiteY33" fmla="*/ 3248025 h 4496940"/>
                  <a:gd name="connsiteX34" fmla="*/ 4259602 w 4519987"/>
                  <a:gd name="connsiteY34" fmla="*/ 3276600 h 4496940"/>
                  <a:gd name="connsiteX35" fmla="*/ 4221502 w 4519987"/>
                  <a:gd name="connsiteY35" fmla="*/ 3333750 h 4496940"/>
                  <a:gd name="connsiteX36" fmla="*/ 4211977 w 4519987"/>
                  <a:gd name="connsiteY36" fmla="*/ 3362325 h 4496940"/>
                  <a:gd name="connsiteX37" fmla="*/ 4183402 w 4519987"/>
                  <a:gd name="connsiteY37" fmla="*/ 3400425 h 4496940"/>
                  <a:gd name="connsiteX38" fmla="*/ 4164352 w 4519987"/>
                  <a:gd name="connsiteY38" fmla="*/ 3429000 h 4496940"/>
                  <a:gd name="connsiteX39" fmla="*/ 4088152 w 4519987"/>
                  <a:gd name="connsiteY39" fmla="*/ 3495675 h 4496940"/>
                  <a:gd name="connsiteX40" fmla="*/ 4059577 w 4519987"/>
                  <a:gd name="connsiteY40" fmla="*/ 3533775 h 4496940"/>
                  <a:gd name="connsiteX41" fmla="*/ 4002427 w 4519987"/>
                  <a:gd name="connsiteY41" fmla="*/ 3600450 h 4496940"/>
                  <a:gd name="connsiteX42" fmla="*/ 3983377 w 4519987"/>
                  <a:gd name="connsiteY42" fmla="*/ 3629025 h 4496940"/>
                  <a:gd name="connsiteX43" fmla="*/ 3954802 w 4519987"/>
                  <a:gd name="connsiteY43" fmla="*/ 3648075 h 4496940"/>
                  <a:gd name="connsiteX44" fmla="*/ 3907177 w 4519987"/>
                  <a:gd name="connsiteY44" fmla="*/ 3686175 h 4496940"/>
                  <a:gd name="connsiteX45" fmla="*/ 3869077 w 4519987"/>
                  <a:gd name="connsiteY45" fmla="*/ 3724275 h 4496940"/>
                  <a:gd name="connsiteX46" fmla="*/ 3792877 w 4519987"/>
                  <a:gd name="connsiteY46" fmla="*/ 3781425 h 4496940"/>
                  <a:gd name="connsiteX47" fmla="*/ 3783352 w 4519987"/>
                  <a:gd name="connsiteY47" fmla="*/ 3810000 h 4496940"/>
                  <a:gd name="connsiteX48" fmla="*/ 3745252 w 4519987"/>
                  <a:gd name="connsiteY48" fmla="*/ 3819525 h 4496940"/>
                  <a:gd name="connsiteX49" fmla="*/ 3678577 w 4519987"/>
                  <a:gd name="connsiteY49" fmla="*/ 3848100 h 4496940"/>
                  <a:gd name="connsiteX50" fmla="*/ 3659527 w 4519987"/>
                  <a:gd name="connsiteY50" fmla="*/ 3971925 h 4496940"/>
                  <a:gd name="connsiteX51" fmla="*/ 3630952 w 4519987"/>
                  <a:gd name="connsiteY51" fmla="*/ 4010025 h 4496940"/>
                  <a:gd name="connsiteX52" fmla="*/ 3621427 w 4519987"/>
                  <a:gd name="connsiteY52" fmla="*/ 4038600 h 4496940"/>
                  <a:gd name="connsiteX53" fmla="*/ 3554752 w 4519987"/>
                  <a:gd name="connsiteY53" fmla="*/ 4095750 h 4496940"/>
                  <a:gd name="connsiteX54" fmla="*/ 3516652 w 4519987"/>
                  <a:gd name="connsiteY54" fmla="*/ 4114800 h 4496940"/>
                  <a:gd name="connsiteX55" fmla="*/ 3497602 w 4519987"/>
                  <a:gd name="connsiteY55" fmla="*/ 4143375 h 4496940"/>
                  <a:gd name="connsiteX56" fmla="*/ 3383302 w 4519987"/>
                  <a:gd name="connsiteY56" fmla="*/ 4210050 h 4496940"/>
                  <a:gd name="connsiteX57" fmla="*/ 3335677 w 4519987"/>
                  <a:gd name="connsiteY57" fmla="*/ 4238625 h 4496940"/>
                  <a:gd name="connsiteX58" fmla="*/ 3288052 w 4519987"/>
                  <a:gd name="connsiteY58" fmla="*/ 4248150 h 4496940"/>
                  <a:gd name="connsiteX59" fmla="*/ 3240427 w 4519987"/>
                  <a:gd name="connsiteY59" fmla="*/ 4267200 h 4496940"/>
                  <a:gd name="connsiteX60" fmla="*/ 3068977 w 4519987"/>
                  <a:gd name="connsiteY60" fmla="*/ 4286250 h 4496940"/>
                  <a:gd name="connsiteX61" fmla="*/ 2935627 w 4519987"/>
                  <a:gd name="connsiteY61" fmla="*/ 4333875 h 4496940"/>
                  <a:gd name="connsiteX62" fmla="*/ 2811802 w 4519987"/>
                  <a:gd name="connsiteY62" fmla="*/ 4371975 h 4496940"/>
                  <a:gd name="connsiteX63" fmla="*/ 2745127 w 4519987"/>
                  <a:gd name="connsiteY63" fmla="*/ 4410075 h 4496940"/>
                  <a:gd name="connsiteX64" fmla="*/ 2697502 w 4519987"/>
                  <a:gd name="connsiteY64" fmla="*/ 4429125 h 4496940"/>
                  <a:gd name="connsiteX65" fmla="*/ 2640352 w 4519987"/>
                  <a:gd name="connsiteY65" fmla="*/ 4457700 h 4496940"/>
                  <a:gd name="connsiteX66" fmla="*/ 2583202 w 4519987"/>
                  <a:gd name="connsiteY66" fmla="*/ 4467225 h 4496940"/>
                  <a:gd name="connsiteX67" fmla="*/ 2545102 w 4519987"/>
                  <a:gd name="connsiteY67" fmla="*/ 4486275 h 4496940"/>
                  <a:gd name="connsiteX68" fmla="*/ 2306977 w 4519987"/>
                  <a:gd name="connsiteY68" fmla="*/ 4476750 h 4496940"/>
                  <a:gd name="connsiteX69" fmla="*/ 2202202 w 4519987"/>
                  <a:gd name="connsiteY69" fmla="*/ 4457700 h 4496940"/>
                  <a:gd name="connsiteX70" fmla="*/ 2126002 w 4519987"/>
                  <a:gd name="connsiteY70" fmla="*/ 4429125 h 4496940"/>
                  <a:gd name="connsiteX71" fmla="*/ 1935502 w 4519987"/>
                  <a:gd name="connsiteY71" fmla="*/ 4400550 h 4496940"/>
                  <a:gd name="connsiteX72" fmla="*/ 1821202 w 4519987"/>
                  <a:gd name="connsiteY72" fmla="*/ 4371975 h 4496940"/>
                  <a:gd name="connsiteX73" fmla="*/ 1754527 w 4519987"/>
                  <a:gd name="connsiteY73" fmla="*/ 4352925 h 4496940"/>
                  <a:gd name="connsiteX74" fmla="*/ 1687852 w 4519987"/>
                  <a:gd name="connsiteY74" fmla="*/ 4343400 h 4496940"/>
                  <a:gd name="connsiteX75" fmla="*/ 1573552 w 4519987"/>
                  <a:gd name="connsiteY75" fmla="*/ 4305300 h 4496940"/>
                  <a:gd name="connsiteX76" fmla="*/ 1402102 w 4519987"/>
                  <a:gd name="connsiteY76" fmla="*/ 4276725 h 4496940"/>
                  <a:gd name="connsiteX77" fmla="*/ 1287802 w 4519987"/>
                  <a:gd name="connsiteY77" fmla="*/ 4229100 h 4496940"/>
                  <a:gd name="connsiteX78" fmla="*/ 1221127 w 4519987"/>
                  <a:gd name="connsiteY78" fmla="*/ 4200525 h 4496940"/>
                  <a:gd name="connsiteX79" fmla="*/ 1144927 w 4519987"/>
                  <a:gd name="connsiteY79" fmla="*/ 4171950 h 4496940"/>
                  <a:gd name="connsiteX80" fmla="*/ 1087777 w 4519987"/>
                  <a:gd name="connsiteY80" fmla="*/ 4143375 h 4496940"/>
                  <a:gd name="connsiteX81" fmla="*/ 1030627 w 4519987"/>
                  <a:gd name="connsiteY81" fmla="*/ 4124325 h 4496940"/>
                  <a:gd name="connsiteX82" fmla="*/ 925852 w 4519987"/>
                  <a:gd name="connsiteY82" fmla="*/ 4067175 h 4496940"/>
                  <a:gd name="connsiteX83" fmla="*/ 830602 w 4519987"/>
                  <a:gd name="connsiteY83" fmla="*/ 3981450 h 4496940"/>
                  <a:gd name="connsiteX84" fmla="*/ 763927 w 4519987"/>
                  <a:gd name="connsiteY84" fmla="*/ 3914775 h 4496940"/>
                  <a:gd name="connsiteX85" fmla="*/ 725827 w 4519987"/>
                  <a:gd name="connsiteY85" fmla="*/ 3876675 h 4496940"/>
                  <a:gd name="connsiteX86" fmla="*/ 697252 w 4519987"/>
                  <a:gd name="connsiteY86" fmla="*/ 3838575 h 4496940"/>
                  <a:gd name="connsiteX87" fmla="*/ 640102 w 4519987"/>
                  <a:gd name="connsiteY87" fmla="*/ 3781425 h 4496940"/>
                  <a:gd name="connsiteX88" fmla="*/ 611527 w 4519987"/>
                  <a:gd name="connsiteY88" fmla="*/ 3733800 h 4496940"/>
                  <a:gd name="connsiteX89" fmla="*/ 554377 w 4519987"/>
                  <a:gd name="connsiteY89" fmla="*/ 3657600 h 4496940"/>
                  <a:gd name="connsiteX90" fmla="*/ 525802 w 4519987"/>
                  <a:gd name="connsiteY90" fmla="*/ 3609975 h 4496940"/>
                  <a:gd name="connsiteX91" fmla="*/ 497227 w 4519987"/>
                  <a:gd name="connsiteY91" fmla="*/ 3552825 h 4496940"/>
                  <a:gd name="connsiteX92" fmla="*/ 440077 w 4519987"/>
                  <a:gd name="connsiteY92" fmla="*/ 3495675 h 4496940"/>
                  <a:gd name="connsiteX93" fmla="*/ 411502 w 4519987"/>
                  <a:gd name="connsiteY93" fmla="*/ 3448050 h 4496940"/>
                  <a:gd name="connsiteX94" fmla="*/ 278152 w 4519987"/>
                  <a:gd name="connsiteY94" fmla="*/ 3257550 h 4496940"/>
                  <a:gd name="connsiteX95" fmla="*/ 249577 w 4519987"/>
                  <a:gd name="connsiteY95" fmla="*/ 3200400 h 4496940"/>
                  <a:gd name="connsiteX96" fmla="*/ 240052 w 4519987"/>
                  <a:gd name="connsiteY96" fmla="*/ 3162300 h 4496940"/>
                  <a:gd name="connsiteX97" fmla="*/ 221002 w 4519987"/>
                  <a:gd name="connsiteY97" fmla="*/ 3105150 h 4496940"/>
                  <a:gd name="connsiteX98" fmla="*/ 173377 w 4519987"/>
                  <a:gd name="connsiteY98" fmla="*/ 3019425 h 4496940"/>
                  <a:gd name="connsiteX99" fmla="*/ 144802 w 4519987"/>
                  <a:gd name="connsiteY99" fmla="*/ 2924175 h 4496940"/>
                  <a:gd name="connsiteX100" fmla="*/ 68602 w 4519987"/>
                  <a:gd name="connsiteY100" fmla="*/ 2724150 h 4496940"/>
                  <a:gd name="connsiteX101" fmla="*/ 49552 w 4519987"/>
                  <a:gd name="connsiteY101" fmla="*/ 2638425 h 4496940"/>
                  <a:gd name="connsiteX102" fmla="*/ 40027 w 4519987"/>
                  <a:gd name="connsiteY102" fmla="*/ 2562225 h 4496940"/>
                  <a:gd name="connsiteX103" fmla="*/ 30502 w 4519987"/>
                  <a:gd name="connsiteY103" fmla="*/ 2514600 h 4496940"/>
                  <a:gd name="connsiteX104" fmla="*/ 11452 w 4519987"/>
                  <a:gd name="connsiteY104" fmla="*/ 2400300 h 4496940"/>
                  <a:gd name="connsiteX105" fmla="*/ 20977 w 4519987"/>
                  <a:gd name="connsiteY105" fmla="*/ 1905000 h 4496940"/>
                  <a:gd name="connsiteX106" fmla="*/ 30502 w 4519987"/>
                  <a:gd name="connsiteY106" fmla="*/ 1838325 h 4496940"/>
                  <a:gd name="connsiteX107" fmla="*/ 49552 w 4519987"/>
                  <a:gd name="connsiteY107" fmla="*/ 1781175 h 4496940"/>
                  <a:gd name="connsiteX108" fmla="*/ 59077 w 4519987"/>
                  <a:gd name="connsiteY108" fmla="*/ 1743075 h 4496940"/>
                  <a:gd name="connsiteX109" fmla="*/ 78127 w 4519987"/>
                  <a:gd name="connsiteY109" fmla="*/ 1685925 h 4496940"/>
                  <a:gd name="connsiteX110" fmla="*/ 87652 w 4519987"/>
                  <a:gd name="connsiteY110" fmla="*/ 1638300 h 4496940"/>
                  <a:gd name="connsiteX111" fmla="*/ 106702 w 4519987"/>
                  <a:gd name="connsiteY111" fmla="*/ 1590675 h 4496940"/>
                  <a:gd name="connsiteX112" fmla="*/ 135277 w 4519987"/>
                  <a:gd name="connsiteY112" fmla="*/ 1504950 h 4496940"/>
                  <a:gd name="connsiteX113" fmla="*/ 154327 w 4519987"/>
                  <a:gd name="connsiteY113" fmla="*/ 1419225 h 4496940"/>
                  <a:gd name="connsiteX114" fmla="*/ 230527 w 4519987"/>
                  <a:gd name="connsiteY114" fmla="*/ 1276350 h 4496940"/>
                  <a:gd name="connsiteX115" fmla="*/ 240052 w 4519987"/>
                  <a:gd name="connsiteY115" fmla="*/ 1247775 h 4496940"/>
                  <a:gd name="connsiteX116" fmla="*/ 268627 w 4519987"/>
                  <a:gd name="connsiteY116" fmla="*/ 1200150 h 4496940"/>
                  <a:gd name="connsiteX117" fmla="*/ 287677 w 4519987"/>
                  <a:gd name="connsiteY117" fmla="*/ 1152525 h 4496940"/>
                  <a:gd name="connsiteX118" fmla="*/ 316252 w 4519987"/>
                  <a:gd name="connsiteY118" fmla="*/ 1114425 h 4496940"/>
                  <a:gd name="connsiteX119" fmla="*/ 363877 w 4519987"/>
                  <a:gd name="connsiteY119" fmla="*/ 1038225 h 4496940"/>
                  <a:gd name="connsiteX120" fmla="*/ 382927 w 4519987"/>
                  <a:gd name="connsiteY120" fmla="*/ 1009650 h 4496940"/>
                  <a:gd name="connsiteX121" fmla="*/ 440077 w 4519987"/>
                  <a:gd name="connsiteY121" fmla="*/ 904875 h 4496940"/>
                  <a:gd name="connsiteX122" fmla="*/ 478177 w 4519987"/>
                  <a:gd name="connsiteY122" fmla="*/ 857250 h 4496940"/>
                  <a:gd name="connsiteX123" fmla="*/ 497227 w 4519987"/>
                  <a:gd name="connsiteY123" fmla="*/ 828675 h 4496940"/>
                  <a:gd name="connsiteX124" fmla="*/ 535327 w 4519987"/>
                  <a:gd name="connsiteY124" fmla="*/ 800100 h 4496940"/>
                  <a:gd name="connsiteX125" fmla="*/ 602002 w 4519987"/>
                  <a:gd name="connsiteY125" fmla="*/ 733425 h 4496940"/>
                  <a:gd name="connsiteX126" fmla="*/ 668677 w 4519987"/>
                  <a:gd name="connsiteY126" fmla="*/ 676275 h 4496940"/>
                  <a:gd name="connsiteX127" fmla="*/ 697252 w 4519987"/>
                  <a:gd name="connsiteY127" fmla="*/ 657225 h 4496940"/>
                  <a:gd name="connsiteX128" fmla="*/ 840127 w 4519987"/>
                  <a:gd name="connsiteY128" fmla="*/ 533400 h 4496940"/>
                  <a:gd name="connsiteX129" fmla="*/ 887752 w 4519987"/>
                  <a:gd name="connsiteY129" fmla="*/ 504825 h 4496940"/>
                  <a:gd name="connsiteX130" fmla="*/ 1167152 w 4519987"/>
                  <a:gd name="connsiteY130" fmla="*/ 311150 h 4496940"/>
                  <a:gd name="connsiteX131" fmla="*/ 1268752 w 4519987"/>
                  <a:gd name="connsiteY131" fmla="*/ 285750 h 4496940"/>
                  <a:gd name="connsiteX132" fmla="*/ 1411627 w 4519987"/>
                  <a:gd name="connsiteY132" fmla="*/ 190500 h 4496940"/>
                  <a:gd name="connsiteX133" fmla="*/ 1449727 w 4519987"/>
                  <a:gd name="connsiteY133" fmla="*/ 161925 h 4496940"/>
                  <a:gd name="connsiteX134" fmla="*/ 1525927 w 4519987"/>
                  <a:gd name="connsiteY134" fmla="*/ 152400 h 4496940"/>
                  <a:gd name="connsiteX135" fmla="*/ 1583077 w 4519987"/>
                  <a:gd name="connsiteY135" fmla="*/ 142875 h 4496940"/>
                  <a:gd name="connsiteX136" fmla="*/ 1716427 w 4519987"/>
                  <a:gd name="connsiteY136" fmla="*/ 123825 h 4496940"/>
                  <a:gd name="connsiteX137" fmla="*/ 1811677 w 4519987"/>
                  <a:gd name="connsiteY137" fmla="*/ 114300 h 4496940"/>
                  <a:gd name="connsiteX138" fmla="*/ 1859302 w 4519987"/>
                  <a:gd name="connsiteY138" fmla="*/ 104775 h 4496940"/>
                  <a:gd name="connsiteX139" fmla="*/ 1916452 w 4519987"/>
                  <a:gd name="connsiteY139" fmla="*/ 95250 h 4496940"/>
                  <a:gd name="connsiteX140" fmla="*/ 2030752 w 4519987"/>
                  <a:gd name="connsiteY140" fmla="*/ 66675 h 4496940"/>
                  <a:gd name="connsiteX141" fmla="*/ 2097427 w 4519987"/>
                  <a:gd name="connsiteY141" fmla="*/ 47625 h 4496940"/>
                  <a:gd name="connsiteX142" fmla="*/ 2164102 w 4519987"/>
                  <a:gd name="connsiteY142" fmla="*/ 38100 h 4496940"/>
                  <a:gd name="connsiteX143" fmla="*/ 2392702 w 4519987"/>
                  <a:gd name="connsiteY14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02477 w 4519987"/>
                  <a:gd name="connsiteY27" fmla="*/ 1590675 h 4496940"/>
                  <a:gd name="connsiteX28" fmla="*/ 4431052 w 4519987"/>
                  <a:gd name="connsiteY28" fmla="*/ 1685925 h 4496940"/>
                  <a:gd name="connsiteX29" fmla="*/ 4519952 w 4519987"/>
                  <a:gd name="connsiteY29" fmla="*/ 2181225 h 4496940"/>
                  <a:gd name="connsiteX30" fmla="*/ 4446927 w 4519987"/>
                  <a:gd name="connsiteY30" fmla="*/ 2768600 h 4496940"/>
                  <a:gd name="connsiteX31" fmla="*/ 4383427 w 4519987"/>
                  <a:gd name="connsiteY31" fmla="*/ 2990850 h 4496940"/>
                  <a:gd name="connsiteX32" fmla="*/ 4278652 w 4519987"/>
                  <a:gd name="connsiteY32" fmla="*/ 3248025 h 4496940"/>
                  <a:gd name="connsiteX33" fmla="*/ 4259602 w 4519987"/>
                  <a:gd name="connsiteY33" fmla="*/ 3276600 h 4496940"/>
                  <a:gd name="connsiteX34" fmla="*/ 4221502 w 4519987"/>
                  <a:gd name="connsiteY34" fmla="*/ 3333750 h 4496940"/>
                  <a:gd name="connsiteX35" fmla="*/ 4211977 w 4519987"/>
                  <a:gd name="connsiteY35" fmla="*/ 3362325 h 4496940"/>
                  <a:gd name="connsiteX36" fmla="*/ 4183402 w 4519987"/>
                  <a:gd name="connsiteY36" fmla="*/ 3400425 h 4496940"/>
                  <a:gd name="connsiteX37" fmla="*/ 4164352 w 4519987"/>
                  <a:gd name="connsiteY37" fmla="*/ 3429000 h 4496940"/>
                  <a:gd name="connsiteX38" fmla="*/ 4088152 w 4519987"/>
                  <a:gd name="connsiteY38" fmla="*/ 3495675 h 4496940"/>
                  <a:gd name="connsiteX39" fmla="*/ 4059577 w 4519987"/>
                  <a:gd name="connsiteY39" fmla="*/ 3533775 h 4496940"/>
                  <a:gd name="connsiteX40" fmla="*/ 4002427 w 4519987"/>
                  <a:gd name="connsiteY40" fmla="*/ 3600450 h 4496940"/>
                  <a:gd name="connsiteX41" fmla="*/ 3983377 w 4519987"/>
                  <a:gd name="connsiteY41" fmla="*/ 3629025 h 4496940"/>
                  <a:gd name="connsiteX42" fmla="*/ 3954802 w 4519987"/>
                  <a:gd name="connsiteY42" fmla="*/ 3648075 h 4496940"/>
                  <a:gd name="connsiteX43" fmla="*/ 3907177 w 4519987"/>
                  <a:gd name="connsiteY43" fmla="*/ 3686175 h 4496940"/>
                  <a:gd name="connsiteX44" fmla="*/ 3869077 w 4519987"/>
                  <a:gd name="connsiteY44" fmla="*/ 3724275 h 4496940"/>
                  <a:gd name="connsiteX45" fmla="*/ 3792877 w 4519987"/>
                  <a:gd name="connsiteY45" fmla="*/ 3781425 h 4496940"/>
                  <a:gd name="connsiteX46" fmla="*/ 3783352 w 4519987"/>
                  <a:gd name="connsiteY46" fmla="*/ 3810000 h 4496940"/>
                  <a:gd name="connsiteX47" fmla="*/ 3745252 w 4519987"/>
                  <a:gd name="connsiteY47" fmla="*/ 3819525 h 4496940"/>
                  <a:gd name="connsiteX48" fmla="*/ 3678577 w 4519987"/>
                  <a:gd name="connsiteY48" fmla="*/ 3848100 h 4496940"/>
                  <a:gd name="connsiteX49" fmla="*/ 3659527 w 4519987"/>
                  <a:gd name="connsiteY49" fmla="*/ 3971925 h 4496940"/>
                  <a:gd name="connsiteX50" fmla="*/ 3630952 w 4519987"/>
                  <a:gd name="connsiteY50" fmla="*/ 4010025 h 4496940"/>
                  <a:gd name="connsiteX51" fmla="*/ 3621427 w 4519987"/>
                  <a:gd name="connsiteY51" fmla="*/ 4038600 h 4496940"/>
                  <a:gd name="connsiteX52" fmla="*/ 3554752 w 4519987"/>
                  <a:gd name="connsiteY52" fmla="*/ 4095750 h 4496940"/>
                  <a:gd name="connsiteX53" fmla="*/ 3516652 w 4519987"/>
                  <a:gd name="connsiteY53" fmla="*/ 4114800 h 4496940"/>
                  <a:gd name="connsiteX54" fmla="*/ 3497602 w 4519987"/>
                  <a:gd name="connsiteY54" fmla="*/ 4143375 h 4496940"/>
                  <a:gd name="connsiteX55" fmla="*/ 3383302 w 4519987"/>
                  <a:gd name="connsiteY55" fmla="*/ 4210050 h 4496940"/>
                  <a:gd name="connsiteX56" fmla="*/ 3335677 w 4519987"/>
                  <a:gd name="connsiteY56" fmla="*/ 4238625 h 4496940"/>
                  <a:gd name="connsiteX57" fmla="*/ 3288052 w 4519987"/>
                  <a:gd name="connsiteY57" fmla="*/ 4248150 h 4496940"/>
                  <a:gd name="connsiteX58" fmla="*/ 3240427 w 4519987"/>
                  <a:gd name="connsiteY58" fmla="*/ 4267200 h 4496940"/>
                  <a:gd name="connsiteX59" fmla="*/ 3068977 w 4519987"/>
                  <a:gd name="connsiteY59" fmla="*/ 4286250 h 4496940"/>
                  <a:gd name="connsiteX60" fmla="*/ 2935627 w 4519987"/>
                  <a:gd name="connsiteY60" fmla="*/ 4333875 h 4496940"/>
                  <a:gd name="connsiteX61" fmla="*/ 2811802 w 4519987"/>
                  <a:gd name="connsiteY61" fmla="*/ 4371975 h 4496940"/>
                  <a:gd name="connsiteX62" fmla="*/ 2745127 w 4519987"/>
                  <a:gd name="connsiteY62" fmla="*/ 4410075 h 4496940"/>
                  <a:gd name="connsiteX63" fmla="*/ 2697502 w 4519987"/>
                  <a:gd name="connsiteY63" fmla="*/ 4429125 h 4496940"/>
                  <a:gd name="connsiteX64" fmla="*/ 2640352 w 4519987"/>
                  <a:gd name="connsiteY64" fmla="*/ 4457700 h 4496940"/>
                  <a:gd name="connsiteX65" fmla="*/ 2583202 w 4519987"/>
                  <a:gd name="connsiteY65" fmla="*/ 4467225 h 4496940"/>
                  <a:gd name="connsiteX66" fmla="*/ 2545102 w 4519987"/>
                  <a:gd name="connsiteY66" fmla="*/ 4486275 h 4496940"/>
                  <a:gd name="connsiteX67" fmla="*/ 2306977 w 4519987"/>
                  <a:gd name="connsiteY67" fmla="*/ 4476750 h 4496940"/>
                  <a:gd name="connsiteX68" fmla="*/ 2202202 w 4519987"/>
                  <a:gd name="connsiteY68" fmla="*/ 4457700 h 4496940"/>
                  <a:gd name="connsiteX69" fmla="*/ 2126002 w 4519987"/>
                  <a:gd name="connsiteY69" fmla="*/ 4429125 h 4496940"/>
                  <a:gd name="connsiteX70" fmla="*/ 1935502 w 4519987"/>
                  <a:gd name="connsiteY70" fmla="*/ 4400550 h 4496940"/>
                  <a:gd name="connsiteX71" fmla="*/ 1821202 w 4519987"/>
                  <a:gd name="connsiteY71" fmla="*/ 4371975 h 4496940"/>
                  <a:gd name="connsiteX72" fmla="*/ 1754527 w 4519987"/>
                  <a:gd name="connsiteY72" fmla="*/ 4352925 h 4496940"/>
                  <a:gd name="connsiteX73" fmla="*/ 1687852 w 4519987"/>
                  <a:gd name="connsiteY73" fmla="*/ 4343400 h 4496940"/>
                  <a:gd name="connsiteX74" fmla="*/ 1573552 w 4519987"/>
                  <a:gd name="connsiteY74" fmla="*/ 4305300 h 4496940"/>
                  <a:gd name="connsiteX75" fmla="*/ 1402102 w 4519987"/>
                  <a:gd name="connsiteY75" fmla="*/ 4276725 h 4496940"/>
                  <a:gd name="connsiteX76" fmla="*/ 1287802 w 4519987"/>
                  <a:gd name="connsiteY76" fmla="*/ 4229100 h 4496940"/>
                  <a:gd name="connsiteX77" fmla="*/ 1221127 w 4519987"/>
                  <a:gd name="connsiteY77" fmla="*/ 4200525 h 4496940"/>
                  <a:gd name="connsiteX78" fmla="*/ 1144927 w 4519987"/>
                  <a:gd name="connsiteY78" fmla="*/ 4171950 h 4496940"/>
                  <a:gd name="connsiteX79" fmla="*/ 1087777 w 4519987"/>
                  <a:gd name="connsiteY79" fmla="*/ 4143375 h 4496940"/>
                  <a:gd name="connsiteX80" fmla="*/ 1030627 w 4519987"/>
                  <a:gd name="connsiteY80" fmla="*/ 4124325 h 4496940"/>
                  <a:gd name="connsiteX81" fmla="*/ 925852 w 4519987"/>
                  <a:gd name="connsiteY81" fmla="*/ 4067175 h 4496940"/>
                  <a:gd name="connsiteX82" fmla="*/ 830602 w 4519987"/>
                  <a:gd name="connsiteY82" fmla="*/ 3981450 h 4496940"/>
                  <a:gd name="connsiteX83" fmla="*/ 763927 w 4519987"/>
                  <a:gd name="connsiteY83" fmla="*/ 3914775 h 4496940"/>
                  <a:gd name="connsiteX84" fmla="*/ 725827 w 4519987"/>
                  <a:gd name="connsiteY84" fmla="*/ 3876675 h 4496940"/>
                  <a:gd name="connsiteX85" fmla="*/ 697252 w 4519987"/>
                  <a:gd name="connsiteY85" fmla="*/ 3838575 h 4496940"/>
                  <a:gd name="connsiteX86" fmla="*/ 640102 w 4519987"/>
                  <a:gd name="connsiteY86" fmla="*/ 3781425 h 4496940"/>
                  <a:gd name="connsiteX87" fmla="*/ 611527 w 4519987"/>
                  <a:gd name="connsiteY87" fmla="*/ 3733800 h 4496940"/>
                  <a:gd name="connsiteX88" fmla="*/ 554377 w 4519987"/>
                  <a:gd name="connsiteY88" fmla="*/ 3657600 h 4496940"/>
                  <a:gd name="connsiteX89" fmla="*/ 525802 w 4519987"/>
                  <a:gd name="connsiteY89" fmla="*/ 3609975 h 4496940"/>
                  <a:gd name="connsiteX90" fmla="*/ 497227 w 4519987"/>
                  <a:gd name="connsiteY90" fmla="*/ 3552825 h 4496940"/>
                  <a:gd name="connsiteX91" fmla="*/ 440077 w 4519987"/>
                  <a:gd name="connsiteY91" fmla="*/ 3495675 h 4496940"/>
                  <a:gd name="connsiteX92" fmla="*/ 411502 w 4519987"/>
                  <a:gd name="connsiteY92" fmla="*/ 3448050 h 4496940"/>
                  <a:gd name="connsiteX93" fmla="*/ 278152 w 4519987"/>
                  <a:gd name="connsiteY93" fmla="*/ 3257550 h 4496940"/>
                  <a:gd name="connsiteX94" fmla="*/ 249577 w 4519987"/>
                  <a:gd name="connsiteY94" fmla="*/ 3200400 h 4496940"/>
                  <a:gd name="connsiteX95" fmla="*/ 240052 w 4519987"/>
                  <a:gd name="connsiteY95" fmla="*/ 3162300 h 4496940"/>
                  <a:gd name="connsiteX96" fmla="*/ 221002 w 4519987"/>
                  <a:gd name="connsiteY96" fmla="*/ 3105150 h 4496940"/>
                  <a:gd name="connsiteX97" fmla="*/ 173377 w 4519987"/>
                  <a:gd name="connsiteY97" fmla="*/ 3019425 h 4496940"/>
                  <a:gd name="connsiteX98" fmla="*/ 144802 w 4519987"/>
                  <a:gd name="connsiteY98" fmla="*/ 2924175 h 4496940"/>
                  <a:gd name="connsiteX99" fmla="*/ 68602 w 4519987"/>
                  <a:gd name="connsiteY99" fmla="*/ 2724150 h 4496940"/>
                  <a:gd name="connsiteX100" fmla="*/ 49552 w 4519987"/>
                  <a:gd name="connsiteY100" fmla="*/ 2638425 h 4496940"/>
                  <a:gd name="connsiteX101" fmla="*/ 40027 w 4519987"/>
                  <a:gd name="connsiteY101" fmla="*/ 2562225 h 4496940"/>
                  <a:gd name="connsiteX102" fmla="*/ 30502 w 4519987"/>
                  <a:gd name="connsiteY102" fmla="*/ 2514600 h 4496940"/>
                  <a:gd name="connsiteX103" fmla="*/ 11452 w 4519987"/>
                  <a:gd name="connsiteY103" fmla="*/ 2400300 h 4496940"/>
                  <a:gd name="connsiteX104" fmla="*/ 20977 w 4519987"/>
                  <a:gd name="connsiteY104" fmla="*/ 1905000 h 4496940"/>
                  <a:gd name="connsiteX105" fmla="*/ 30502 w 4519987"/>
                  <a:gd name="connsiteY105" fmla="*/ 1838325 h 4496940"/>
                  <a:gd name="connsiteX106" fmla="*/ 49552 w 4519987"/>
                  <a:gd name="connsiteY106" fmla="*/ 1781175 h 4496940"/>
                  <a:gd name="connsiteX107" fmla="*/ 59077 w 4519987"/>
                  <a:gd name="connsiteY107" fmla="*/ 1743075 h 4496940"/>
                  <a:gd name="connsiteX108" fmla="*/ 78127 w 4519987"/>
                  <a:gd name="connsiteY108" fmla="*/ 1685925 h 4496940"/>
                  <a:gd name="connsiteX109" fmla="*/ 87652 w 4519987"/>
                  <a:gd name="connsiteY109" fmla="*/ 1638300 h 4496940"/>
                  <a:gd name="connsiteX110" fmla="*/ 106702 w 4519987"/>
                  <a:gd name="connsiteY110" fmla="*/ 1590675 h 4496940"/>
                  <a:gd name="connsiteX111" fmla="*/ 135277 w 4519987"/>
                  <a:gd name="connsiteY111" fmla="*/ 1504950 h 4496940"/>
                  <a:gd name="connsiteX112" fmla="*/ 154327 w 4519987"/>
                  <a:gd name="connsiteY112" fmla="*/ 1419225 h 4496940"/>
                  <a:gd name="connsiteX113" fmla="*/ 230527 w 4519987"/>
                  <a:gd name="connsiteY113" fmla="*/ 1276350 h 4496940"/>
                  <a:gd name="connsiteX114" fmla="*/ 240052 w 4519987"/>
                  <a:gd name="connsiteY114" fmla="*/ 1247775 h 4496940"/>
                  <a:gd name="connsiteX115" fmla="*/ 268627 w 4519987"/>
                  <a:gd name="connsiteY115" fmla="*/ 1200150 h 4496940"/>
                  <a:gd name="connsiteX116" fmla="*/ 287677 w 4519987"/>
                  <a:gd name="connsiteY116" fmla="*/ 1152525 h 4496940"/>
                  <a:gd name="connsiteX117" fmla="*/ 316252 w 4519987"/>
                  <a:gd name="connsiteY117" fmla="*/ 1114425 h 4496940"/>
                  <a:gd name="connsiteX118" fmla="*/ 363877 w 4519987"/>
                  <a:gd name="connsiteY118" fmla="*/ 1038225 h 4496940"/>
                  <a:gd name="connsiteX119" fmla="*/ 382927 w 4519987"/>
                  <a:gd name="connsiteY119" fmla="*/ 1009650 h 4496940"/>
                  <a:gd name="connsiteX120" fmla="*/ 440077 w 4519987"/>
                  <a:gd name="connsiteY120" fmla="*/ 904875 h 4496940"/>
                  <a:gd name="connsiteX121" fmla="*/ 478177 w 4519987"/>
                  <a:gd name="connsiteY121" fmla="*/ 857250 h 4496940"/>
                  <a:gd name="connsiteX122" fmla="*/ 497227 w 4519987"/>
                  <a:gd name="connsiteY122" fmla="*/ 828675 h 4496940"/>
                  <a:gd name="connsiteX123" fmla="*/ 535327 w 4519987"/>
                  <a:gd name="connsiteY123" fmla="*/ 800100 h 4496940"/>
                  <a:gd name="connsiteX124" fmla="*/ 602002 w 4519987"/>
                  <a:gd name="connsiteY124" fmla="*/ 733425 h 4496940"/>
                  <a:gd name="connsiteX125" fmla="*/ 668677 w 4519987"/>
                  <a:gd name="connsiteY125" fmla="*/ 676275 h 4496940"/>
                  <a:gd name="connsiteX126" fmla="*/ 697252 w 4519987"/>
                  <a:gd name="connsiteY126" fmla="*/ 657225 h 4496940"/>
                  <a:gd name="connsiteX127" fmla="*/ 840127 w 4519987"/>
                  <a:gd name="connsiteY127" fmla="*/ 533400 h 4496940"/>
                  <a:gd name="connsiteX128" fmla="*/ 887752 w 4519987"/>
                  <a:gd name="connsiteY128" fmla="*/ 504825 h 4496940"/>
                  <a:gd name="connsiteX129" fmla="*/ 1167152 w 4519987"/>
                  <a:gd name="connsiteY129" fmla="*/ 311150 h 4496940"/>
                  <a:gd name="connsiteX130" fmla="*/ 1268752 w 4519987"/>
                  <a:gd name="connsiteY130" fmla="*/ 285750 h 4496940"/>
                  <a:gd name="connsiteX131" fmla="*/ 1411627 w 4519987"/>
                  <a:gd name="connsiteY131" fmla="*/ 190500 h 4496940"/>
                  <a:gd name="connsiteX132" fmla="*/ 1449727 w 4519987"/>
                  <a:gd name="connsiteY132" fmla="*/ 161925 h 4496940"/>
                  <a:gd name="connsiteX133" fmla="*/ 1525927 w 4519987"/>
                  <a:gd name="connsiteY133" fmla="*/ 152400 h 4496940"/>
                  <a:gd name="connsiteX134" fmla="*/ 1583077 w 4519987"/>
                  <a:gd name="connsiteY134" fmla="*/ 142875 h 4496940"/>
                  <a:gd name="connsiteX135" fmla="*/ 1716427 w 4519987"/>
                  <a:gd name="connsiteY135" fmla="*/ 123825 h 4496940"/>
                  <a:gd name="connsiteX136" fmla="*/ 1811677 w 4519987"/>
                  <a:gd name="connsiteY136" fmla="*/ 114300 h 4496940"/>
                  <a:gd name="connsiteX137" fmla="*/ 1859302 w 4519987"/>
                  <a:gd name="connsiteY137" fmla="*/ 104775 h 4496940"/>
                  <a:gd name="connsiteX138" fmla="*/ 1916452 w 4519987"/>
                  <a:gd name="connsiteY138" fmla="*/ 95250 h 4496940"/>
                  <a:gd name="connsiteX139" fmla="*/ 2030752 w 4519987"/>
                  <a:gd name="connsiteY139" fmla="*/ 66675 h 4496940"/>
                  <a:gd name="connsiteX140" fmla="*/ 2097427 w 4519987"/>
                  <a:gd name="connsiteY140" fmla="*/ 47625 h 4496940"/>
                  <a:gd name="connsiteX141" fmla="*/ 2164102 w 4519987"/>
                  <a:gd name="connsiteY141" fmla="*/ 38100 h 4496940"/>
                  <a:gd name="connsiteX142" fmla="*/ 2392702 w 4519987"/>
                  <a:gd name="connsiteY14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221502 w 4519987"/>
                  <a:gd name="connsiteY33" fmla="*/ 3333750 h 4496940"/>
                  <a:gd name="connsiteX34" fmla="*/ 4211977 w 4519987"/>
                  <a:gd name="connsiteY34" fmla="*/ 3362325 h 4496940"/>
                  <a:gd name="connsiteX35" fmla="*/ 4183402 w 4519987"/>
                  <a:gd name="connsiteY35" fmla="*/ 3400425 h 4496940"/>
                  <a:gd name="connsiteX36" fmla="*/ 4164352 w 4519987"/>
                  <a:gd name="connsiteY36" fmla="*/ 3429000 h 4496940"/>
                  <a:gd name="connsiteX37" fmla="*/ 4088152 w 4519987"/>
                  <a:gd name="connsiteY37" fmla="*/ 3495675 h 4496940"/>
                  <a:gd name="connsiteX38" fmla="*/ 4059577 w 4519987"/>
                  <a:gd name="connsiteY38" fmla="*/ 3533775 h 4496940"/>
                  <a:gd name="connsiteX39" fmla="*/ 4002427 w 4519987"/>
                  <a:gd name="connsiteY39" fmla="*/ 3600450 h 4496940"/>
                  <a:gd name="connsiteX40" fmla="*/ 3983377 w 4519987"/>
                  <a:gd name="connsiteY40" fmla="*/ 3629025 h 4496940"/>
                  <a:gd name="connsiteX41" fmla="*/ 3954802 w 4519987"/>
                  <a:gd name="connsiteY41" fmla="*/ 3648075 h 4496940"/>
                  <a:gd name="connsiteX42" fmla="*/ 3907177 w 4519987"/>
                  <a:gd name="connsiteY42" fmla="*/ 3686175 h 4496940"/>
                  <a:gd name="connsiteX43" fmla="*/ 3869077 w 4519987"/>
                  <a:gd name="connsiteY43" fmla="*/ 3724275 h 4496940"/>
                  <a:gd name="connsiteX44" fmla="*/ 3792877 w 4519987"/>
                  <a:gd name="connsiteY44" fmla="*/ 3781425 h 4496940"/>
                  <a:gd name="connsiteX45" fmla="*/ 3783352 w 4519987"/>
                  <a:gd name="connsiteY45" fmla="*/ 3810000 h 4496940"/>
                  <a:gd name="connsiteX46" fmla="*/ 3745252 w 4519987"/>
                  <a:gd name="connsiteY46" fmla="*/ 3819525 h 4496940"/>
                  <a:gd name="connsiteX47" fmla="*/ 3678577 w 4519987"/>
                  <a:gd name="connsiteY47" fmla="*/ 3848100 h 4496940"/>
                  <a:gd name="connsiteX48" fmla="*/ 3659527 w 4519987"/>
                  <a:gd name="connsiteY48" fmla="*/ 3971925 h 4496940"/>
                  <a:gd name="connsiteX49" fmla="*/ 3630952 w 4519987"/>
                  <a:gd name="connsiteY49" fmla="*/ 4010025 h 4496940"/>
                  <a:gd name="connsiteX50" fmla="*/ 3621427 w 4519987"/>
                  <a:gd name="connsiteY50" fmla="*/ 4038600 h 4496940"/>
                  <a:gd name="connsiteX51" fmla="*/ 3554752 w 4519987"/>
                  <a:gd name="connsiteY51" fmla="*/ 4095750 h 4496940"/>
                  <a:gd name="connsiteX52" fmla="*/ 3516652 w 4519987"/>
                  <a:gd name="connsiteY52" fmla="*/ 4114800 h 4496940"/>
                  <a:gd name="connsiteX53" fmla="*/ 3497602 w 4519987"/>
                  <a:gd name="connsiteY53" fmla="*/ 4143375 h 4496940"/>
                  <a:gd name="connsiteX54" fmla="*/ 3383302 w 4519987"/>
                  <a:gd name="connsiteY54" fmla="*/ 4210050 h 4496940"/>
                  <a:gd name="connsiteX55" fmla="*/ 3335677 w 4519987"/>
                  <a:gd name="connsiteY55" fmla="*/ 4238625 h 4496940"/>
                  <a:gd name="connsiteX56" fmla="*/ 3288052 w 4519987"/>
                  <a:gd name="connsiteY56" fmla="*/ 4248150 h 4496940"/>
                  <a:gd name="connsiteX57" fmla="*/ 3240427 w 4519987"/>
                  <a:gd name="connsiteY57" fmla="*/ 4267200 h 4496940"/>
                  <a:gd name="connsiteX58" fmla="*/ 3068977 w 4519987"/>
                  <a:gd name="connsiteY58" fmla="*/ 4286250 h 4496940"/>
                  <a:gd name="connsiteX59" fmla="*/ 2935627 w 4519987"/>
                  <a:gd name="connsiteY59" fmla="*/ 4333875 h 4496940"/>
                  <a:gd name="connsiteX60" fmla="*/ 2811802 w 4519987"/>
                  <a:gd name="connsiteY60" fmla="*/ 4371975 h 4496940"/>
                  <a:gd name="connsiteX61" fmla="*/ 2745127 w 4519987"/>
                  <a:gd name="connsiteY61" fmla="*/ 4410075 h 4496940"/>
                  <a:gd name="connsiteX62" fmla="*/ 2697502 w 4519987"/>
                  <a:gd name="connsiteY62" fmla="*/ 4429125 h 4496940"/>
                  <a:gd name="connsiteX63" fmla="*/ 2640352 w 4519987"/>
                  <a:gd name="connsiteY63" fmla="*/ 4457700 h 4496940"/>
                  <a:gd name="connsiteX64" fmla="*/ 2583202 w 4519987"/>
                  <a:gd name="connsiteY64" fmla="*/ 4467225 h 4496940"/>
                  <a:gd name="connsiteX65" fmla="*/ 2545102 w 4519987"/>
                  <a:gd name="connsiteY65" fmla="*/ 4486275 h 4496940"/>
                  <a:gd name="connsiteX66" fmla="*/ 2306977 w 4519987"/>
                  <a:gd name="connsiteY66" fmla="*/ 4476750 h 4496940"/>
                  <a:gd name="connsiteX67" fmla="*/ 2202202 w 4519987"/>
                  <a:gd name="connsiteY67" fmla="*/ 4457700 h 4496940"/>
                  <a:gd name="connsiteX68" fmla="*/ 2126002 w 4519987"/>
                  <a:gd name="connsiteY68" fmla="*/ 4429125 h 4496940"/>
                  <a:gd name="connsiteX69" fmla="*/ 1935502 w 4519987"/>
                  <a:gd name="connsiteY69" fmla="*/ 4400550 h 4496940"/>
                  <a:gd name="connsiteX70" fmla="*/ 1821202 w 4519987"/>
                  <a:gd name="connsiteY70" fmla="*/ 4371975 h 4496940"/>
                  <a:gd name="connsiteX71" fmla="*/ 1754527 w 4519987"/>
                  <a:gd name="connsiteY71" fmla="*/ 4352925 h 4496940"/>
                  <a:gd name="connsiteX72" fmla="*/ 1687852 w 4519987"/>
                  <a:gd name="connsiteY72" fmla="*/ 4343400 h 4496940"/>
                  <a:gd name="connsiteX73" fmla="*/ 1573552 w 4519987"/>
                  <a:gd name="connsiteY73" fmla="*/ 4305300 h 4496940"/>
                  <a:gd name="connsiteX74" fmla="*/ 1402102 w 4519987"/>
                  <a:gd name="connsiteY74" fmla="*/ 4276725 h 4496940"/>
                  <a:gd name="connsiteX75" fmla="*/ 1287802 w 4519987"/>
                  <a:gd name="connsiteY75" fmla="*/ 4229100 h 4496940"/>
                  <a:gd name="connsiteX76" fmla="*/ 1221127 w 4519987"/>
                  <a:gd name="connsiteY76" fmla="*/ 4200525 h 4496940"/>
                  <a:gd name="connsiteX77" fmla="*/ 1144927 w 4519987"/>
                  <a:gd name="connsiteY77" fmla="*/ 4171950 h 4496940"/>
                  <a:gd name="connsiteX78" fmla="*/ 1087777 w 4519987"/>
                  <a:gd name="connsiteY78" fmla="*/ 4143375 h 4496940"/>
                  <a:gd name="connsiteX79" fmla="*/ 1030627 w 4519987"/>
                  <a:gd name="connsiteY79" fmla="*/ 4124325 h 4496940"/>
                  <a:gd name="connsiteX80" fmla="*/ 925852 w 4519987"/>
                  <a:gd name="connsiteY80" fmla="*/ 4067175 h 4496940"/>
                  <a:gd name="connsiteX81" fmla="*/ 830602 w 4519987"/>
                  <a:gd name="connsiteY81" fmla="*/ 3981450 h 4496940"/>
                  <a:gd name="connsiteX82" fmla="*/ 763927 w 4519987"/>
                  <a:gd name="connsiteY82" fmla="*/ 3914775 h 4496940"/>
                  <a:gd name="connsiteX83" fmla="*/ 725827 w 4519987"/>
                  <a:gd name="connsiteY83" fmla="*/ 3876675 h 4496940"/>
                  <a:gd name="connsiteX84" fmla="*/ 697252 w 4519987"/>
                  <a:gd name="connsiteY84" fmla="*/ 3838575 h 4496940"/>
                  <a:gd name="connsiteX85" fmla="*/ 640102 w 4519987"/>
                  <a:gd name="connsiteY85" fmla="*/ 3781425 h 4496940"/>
                  <a:gd name="connsiteX86" fmla="*/ 611527 w 4519987"/>
                  <a:gd name="connsiteY86" fmla="*/ 3733800 h 4496940"/>
                  <a:gd name="connsiteX87" fmla="*/ 554377 w 4519987"/>
                  <a:gd name="connsiteY87" fmla="*/ 3657600 h 4496940"/>
                  <a:gd name="connsiteX88" fmla="*/ 525802 w 4519987"/>
                  <a:gd name="connsiteY88" fmla="*/ 3609975 h 4496940"/>
                  <a:gd name="connsiteX89" fmla="*/ 497227 w 4519987"/>
                  <a:gd name="connsiteY89" fmla="*/ 3552825 h 4496940"/>
                  <a:gd name="connsiteX90" fmla="*/ 440077 w 4519987"/>
                  <a:gd name="connsiteY90" fmla="*/ 3495675 h 4496940"/>
                  <a:gd name="connsiteX91" fmla="*/ 411502 w 4519987"/>
                  <a:gd name="connsiteY91" fmla="*/ 3448050 h 4496940"/>
                  <a:gd name="connsiteX92" fmla="*/ 278152 w 4519987"/>
                  <a:gd name="connsiteY92" fmla="*/ 3257550 h 4496940"/>
                  <a:gd name="connsiteX93" fmla="*/ 249577 w 4519987"/>
                  <a:gd name="connsiteY93" fmla="*/ 3200400 h 4496940"/>
                  <a:gd name="connsiteX94" fmla="*/ 240052 w 4519987"/>
                  <a:gd name="connsiteY94" fmla="*/ 3162300 h 4496940"/>
                  <a:gd name="connsiteX95" fmla="*/ 221002 w 4519987"/>
                  <a:gd name="connsiteY95" fmla="*/ 3105150 h 4496940"/>
                  <a:gd name="connsiteX96" fmla="*/ 173377 w 4519987"/>
                  <a:gd name="connsiteY96" fmla="*/ 3019425 h 4496940"/>
                  <a:gd name="connsiteX97" fmla="*/ 144802 w 4519987"/>
                  <a:gd name="connsiteY97" fmla="*/ 2924175 h 4496940"/>
                  <a:gd name="connsiteX98" fmla="*/ 68602 w 4519987"/>
                  <a:gd name="connsiteY98" fmla="*/ 2724150 h 4496940"/>
                  <a:gd name="connsiteX99" fmla="*/ 49552 w 4519987"/>
                  <a:gd name="connsiteY99" fmla="*/ 2638425 h 4496940"/>
                  <a:gd name="connsiteX100" fmla="*/ 40027 w 4519987"/>
                  <a:gd name="connsiteY100" fmla="*/ 2562225 h 4496940"/>
                  <a:gd name="connsiteX101" fmla="*/ 30502 w 4519987"/>
                  <a:gd name="connsiteY101" fmla="*/ 2514600 h 4496940"/>
                  <a:gd name="connsiteX102" fmla="*/ 11452 w 4519987"/>
                  <a:gd name="connsiteY102" fmla="*/ 2400300 h 4496940"/>
                  <a:gd name="connsiteX103" fmla="*/ 20977 w 4519987"/>
                  <a:gd name="connsiteY103" fmla="*/ 1905000 h 4496940"/>
                  <a:gd name="connsiteX104" fmla="*/ 30502 w 4519987"/>
                  <a:gd name="connsiteY104" fmla="*/ 1838325 h 4496940"/>
                  <a:gd name="connsiteX105" fmla="*/ 49552 w 4519987"/>
                  <a:gd name="connsiteY105" fmla="*/ 1781175 h 4496940"/>
                  <a:gd name="connsiteX106" fmla="*/ 59077 w 4519987"/>
                  <a:gd name="connsiteY106" fmla="*/ 1743075 h 4496940"/>
                  <a:gd name="connsiteX107" fmla="*/ 78127 w 4519987"/>
                  <a:gd name="connsiteY107" fmla="*/ 1685925 h 4496940"/>
                  <a:gd name="connsiteX108" fmla="*/ 87652 w 4519987"/>
                  <a:gd name="connsiteY108" fmla="*/ 1638300 h 4496940"/>
                  <a:gd name="connsiteX109" fmla="*/ 106702 w 4519987"/>
                  <a:gd name="connsiteY109" fmla="*/ 1590675 h 4496940"/>
                  <a:gd name="connsiteX110" fmla="*/ 135277 w 4519987"/>
                  <a:gd name="connsiteY110" fmla="*/ 1504950 h 4496940"/>
                  <a:gd name="connsiteX111" fmla="*/ 154327 w 4519987"/>
                  <a:gd name="connsiteY111" fmla="*/ 1419225 h 4496940"/>
                  <a:gd name="connsiteX112" fmla="*/ 230527 w 4519987"/>
                  <a:gd name="connsiteY112" fmla="*/ 1276350 h 4496940"/>
                  <a:gd name="connsiteX113" fmla="*/ 240052 w 4519987"/>
                  <a:gd name="connsiteY113" fmla="*/ 1247775 h 4496940"/>
                  <a:gd name="connsiteX114" fmla="*/ 268627 w 4519987"/>
                  <a:gd name="connsiteY114" fmla="*/ 1200150 h 4496940"/>
                  <a:gd name="connsiteX115" fmla="*/ 287677 w 4519987"/>
                  <a:gd name="connsiteY115" fmla="*/ 1152525 h 4496940"/>
                  <a:gd name="connsiteX116" fmla="*/ 316252 w 4519987"/>
                  <a:gd name="connsiteY116" fmla="*/ 1114425 h 4496940"/>
                  <a:gd name="connsiteX117" fmla="*/ 363877 w 4519987"/>
                  <a:gd name="connsiteY117" fmla="*/ 1038225 h 4496940"/>
                  <a:gd name="connsiteX118" fmla="*/ 382927 w 4519987"/>
                  <a:gd name="connsiteY118" fmla="*/ 1009650 h 4496940"/>
                  <a:gd name="connsiteX119" fmla="*/ 440077 w 4519987"/>
                  <a:gd name="connsiteY119" fmla="*/ 904875 h 4496940"/>
                  <a:gd name="connsiteX120" fmla="*/ 478177 w 4519987"/>
                  <a:gd name="connsiteY120" fmla="*/ 857250 h 4496940"/>
                  <a:gd name="connsiteX121" fmla="*/ 497227 w 4519987"/>
                  <a:gd name="connsiteY121" fmla="*/ 828675 h 4496940"/>
                  <a:gd name="connsiteX122" fmla="*/ 535327 w 4519987"/>
                  <a:gd name="connsiteY122" fmla="*/ 800100 h 4496940"/>
                  <a:gd name="connsiteX123" fmla="*/ 602002 w 4519987"/>
                  <a:gd name="connsiteY123" fmla="*/ 733425 h 4496940"/>
                  <a:gd name="connsiteX124" fmla="*/ 668677 w 4519987"/>
                  <a:gd name="connsiteY124" fmla="*/ 676275 h 4496940"/>
                  <a:gd name="connsiteX125" fmla="*/ 697252 w 4519987"/>
                  <a:gd name="connsiteY125" fmla="*/ 657225 h 4496940"/>
                  <a:gd name="connsiteX126" fmla="*/ 840127 w 4519987"/>
                  <a:gd name="connsiteY126" fmla="*/ 533400 h 4496940"/>
                  <a:gd name="connsiteX127" fmla="*/ 887752 w 4519987"/>
                  <a:gd name="connsiteY127" fmla="*/ 504825 h 4496940"/>
                  <a:gd name="connsiteX128" fmla="*/ 1167152 w 4519987"/>
                  <a:gd name="connsiteY128" fmla="*/ 311150 h 4496940"/>
                  <a:gd name="connsiteX129" fmla="*/ 1268752 w 4519987"/>
                  <a:gd name="connsiteY129" fmla="*/ 285750 h 4496940"/>
                  <a:gd name="connsiteX130" fmla="*/ 1411627 w 4519987"/>
                  <a:gd name="connsiteY130" fmla="*/ 190500 h 4496940"/>
                  <a:gd name="connsiteX131" fmla="*/ 1449727 w 4519987"/>
                  <a:gd name="connsiteY131" fmla="*/ 161925 h 4496940"/>
                  <a:gd name="connsiteX132" fmla="*/ 1525927 w 4519987"/>
                  <a:gd name="connsiteY132" fmla="*/ 152400 h 4496940"/>
                  <a:gd name="connsiteX133" fmla="*/ 1583077 w 4519987"/>
                  <a:gd name="connsiteY133" fmla="*/ 142875 h 4496940"/>
                  <a:gd name="connsiteX134" fmla="*/ 1716427 w 4519987"/>
                  <a:gd name="connsiteY134" fmla="*/ 123825 h 4496940"/>
                  <a:gd name="connsiteX135" fmla="*/ 1811677 w 4519987"/>
                  <a:gd name="connsiteY135" fmla="*/ 114300 h 4496940"/>
                  <a:gd name="connsiteX136" fmla="*/ 1859302 w 4519987"/>
                  <a:gd name="connsiteY136" fmla="*/ 104775 h 4496940"/>
                  <a:gd name="connsiteX137" fmla="*/ 1916452 w 4519987"/>
                  <a:gd name="connsiteY137" fmla="*/ 95250 h 4496940"/>
                  <a:gd name="connsiteX138" fmla="*/ 2030752 w 4519987"/>
                  <a:gd name="connsiteY138" fmla="*/ 66675 h 4496940"/>
                  <a:gd name="connsiteX139" fmla="*/ 2097427 w 4519987"/>
                  <a:gd name="connsiteY139" fmla="*/ 47625 h 4496940"/>
                  <a:gd name="connsiteX140" fmla="*/ 2164102 w 4519987"/>
                  <a:gd name="connsiteY140" fmla="*/ 38100 h 4496940"/>
                  <a:gd name="connsiteX141" fmla="*/ 2392702 w 4519987"/>
                  <a:gd name="connsiteY14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221502 w 4519987"/>
                  <a:gd name="connsiteY33" fmla="*/ 3333750 h 4496940"/>
                  <a:gd name="connsiteX34" fmla="*/ 4211977 w 4519987"/>
                  <a:gd name="connsiteY34" fmla="*/ 3362325 h 4496940"/>
                  <a:gd name="connsiteX35" fmla="*/ 4183402 w 4519987"/>
                  <a:gd name="connsiteY35" fmla="*/ 3400425 h 4496940"/>
                  <a:gd name="connsiteX36" fmla="*/ 4088152 w 4519987"/>
                  <a:gd name="connsiteY36" fmla="*/ 3495675 h 4496940"/>
                  <a:gd name="connsiteX37" fmla="*/ 4059577 w 4519987"/>
                  <a:gd name="connsiteY37" fmla="*/ 3533775 h 4496940"/>
                  <a:gd name="connsiteX38" fmla="*/ 4002427 w 4519987"/>
                  <a:gd name="connsiteY38" fmla="*/ 3600450 h 4496940"/>
                  <a:gd name="connsiteX39" fmla="*/ 3983377 w 4519987"/>
                  <a:gd name="connsiteY39" fmla="*/ 3629025 h 4496940"/>
                  <a:gd name="connsiteX40" fmla="*/ 3954802 w 4519987"/>
                  <a:gd name="connsiteY40" fmla="*/ 3648075 h 4496940"/>
                  <a:gd name="connsiteX41" fmla="*/ 3907177 w 4519987"/>
                  <a:gd name="connsiteY41" fmla="*/ 3686175 h 4496940"/>
                  <a:gd name="connsiteX42" fmla="*/ 3869077 w 4519987"/>
                  <a:gd name="connsiteY42" fmla="*/ 3724275 h 4496940"/>
                  <a:gd name="connsiteX43" fmla="*/ 3792877 w 4519987"/>
                  <a:gd name="connsiteY43" fmla="*/ 3781425 h 4496940"/>
                  <a:gd name="connsiteX44" fmla="*/ 3783352 w 4519987"/>
                  <a:gd name="connsiteY44" fmla="*/ 3810000 h 4496940"/>
                  <a:gd name="connsiteX45" fmla="*/ 3745252 w 4519987"/>
                  <a:gd name="connsiteY45" fmla="*/ 3819525 h 4496940"/>
                  <a:gd name="connsiteX46" fmla="*/ 3678577 w 4519987"/>
                  <a:gd name="connsiteY46" fmla="*/ 3848100 h 4496940"/>
                  <a:gd name="connsiteX47" fmla="*/ 3659527 w 4519987"/>
                  <a:gd name="connsiteY47" fmla="*/ 3971925 h 4496940"/>
                  <a:gd name="connsiteX48" fmla="*/ 3630952 w 4519987"/>
                  <a:gd name="connsiteY48" fmla="*/ 4010025 h 4496940"/>
                  <a:gd name="connsiteX49" fmla="*/ 3621427 w 4519987"/>
                  <a:gd name="connsiteY49" fmla="*/ 4038600 h 4496940"/>
                  <a:gd name="connsiteX50" fmla="*/ 3554752 w 4519987"/>
                  <a:gd name="connsiteY50" fmla="*/ 4095750 h 4496940"/>
                  <a:gd name="connsiteX51" fmla="*/ 3516652 w 4519987"/>
                  <a:gd name="connsiteY51" fmla="*/ 4114800 h 4496940"/>
                  <a:gd name="connsiteX52" fmla="*/ 3497602 w 4519987"/>
                  <a:gd name="connsiteY52" fmla="*/ 4143375 h 4496940"/>
                  <a:gd name="connsiteX53" fmla="*/ 3383302 w 4519987"/>
                  <a:gd name="connsiteY53" fmla="*/ 4210050 h 4496940"/>
                  <a:gd name="connsiteX54" fmla="*/ 3335677 w 4519987"/>
                  <a:gd name="connsiteY54" fmla="*/ 4238625 h 4496940"/>
                  <a:gd name="connsiteX55" fmla="*/ 3288052 w 4519987"/>
                  <a:gd name="connsiteY55" fmla="*/ 4248150 h 4496940"/>
                  <a:gd name="connsiteX56" fmla="*/ 3240427 w 4519987"/>
                  <a:gd name="connsiteY56" fmla="*/ 4267200 h 4496940"/>
                  <a:gd name="connsiteX57" fmla="*/ 3068977 w 4519987"/>
                  <a:gd name="connsiteY57" fmla="*/ 4286250 h 4496940"/>
                  <a:gd name="connsiteX58" fmla="*/ 2935627 w 4519987"/>
                  <a:gd name="connsiteY58" fmla="*/ 4333875 h 4496940"/>
                  <a:gd name="connsiteX59" fmla="*/ 2811802 w 4519987"/>
                  <a:gd name="connsiteY59" fmla="*/ 4371975 h 4496940"/>
                  <a:gd name="connsiteX60" fmla="*/ 2745127 w 4519987"/>
                  <a:gd name="connsiteY60" fmla="*/ 4410075 h 4496940"/>
                  <a:gd name="connsiteX61" fmla="*/ 2697502 w 4519987"/>
                  <a:gd name="connsiteY61" fmla="*/ 4429125 h 4496940"/>
                  <a:gd name="connsiteX62" fmla="*/ 2640352 w 4519987"/>
                  <a:gd name="connsiteY62" fmla="*/ 4457700 h 4496940"/>
                  <a:gd name="connsiteX63" fmla="*/ 2583202 w 4519987"/>
                  <a:gd name="connsiteY63" fmla="*/ 4467225 h 4496940"/>
                  <a:gd name="connsiteX64" fmla="*/ 2545102 w 4519987"/>
                  <a:gd name="connsiteY64" fmla="*/ 4486275 h 4496940"/>
                  <a:gd name="connsiteX65" fmla="*/ 2306977 w 4519987"/>
                  <a:gd name="connsiteY65" fmla="*/ 4476750 h 4496940"/>
                  <a:gd name="connsiteX66" fmla="*/ 2202202 w 4519987"/>
                  <a:gd name="connsiteY66" fmla="*/ 4457700 h 4496940"/>
                  <a:gd name="connsiteX67" fmla="*/ 2126002 w 4519987"/>
                  <a:gd name="connsiteY67" fmla="*/ 4429125 h 4496940"/>
                  <a:gd name="connsiteX68" fmla="*/ 1935502 w 4519987"/>
                  <a:gd name="connsiteY68" fmla="*/ 4400550 h 4496940"/>
                  <a:gd name="connsiteX69" fmla="*/ 1821202 w 4519987"/>
                  <a:gd name="connsiteY69" fmla="*/ 4371975 h 4496940"/>
                  <a:gd name="connsiteX70" fmla="*/ 1754527 w 4519987"/>
                  <a:gd name="connsiteY70" fmla="*/ 4352925 h 4496940"/>
                  <a:gd name="connsiteX71" fmla="*/ 1687852 w 4519987"/>
                  <a:gd name="connsiteY71" fmla="*/ 4343400 h 4496940"/>
                  <a:gd name="connsiteX72" fmla="*/ 1573552 w 4519987"/>
                  <a:gd name="connsiteY72" fmla="*/ 4305300 h 4496940"/>
                  <a:gd name="connsiteX73" fmla="*/ 1402102 w 4519987"/>
                  <a:gd name="connsiteY73" fmla="*/ 4276725 h 4496940"/>
                  <a:gd name="connsiteX74" fmla="*/ 1287802 w 4519987"/>
                  <a:gd name="connsiteY74" fmla="*/ 4229100 h 4496940"/>
                  <a:gd name="connsiteX75" fmla="*/ 1221127 w 4519987"/>
                  <a:gd name="connsiteY75" fmla="*/ 4200525 h 4496940"/>
                  <a:gd name="connsiteX76" fmla="*/ 1144927 w 4519987"/>
                  <a:gd name="connsiteY76" fmla="*/ 4171950 h 4496940"/>
                  <a:gd name="connsiteX77" fmla="*/ 1087777 w 4519987"/>
                  <a:gd name="connsiteY77" fmla="*/ 4143375 h 4496940"/>
                  <a:gd name="connsiteX78" fmla="*/ 1030627 w 4519987"/>
                  <a:gd name="connsiteY78" fmla="*/ 4124325 h 4496940"/>
                  <a:gd name="connsiteX79" fmla="*/ 925852 w 4519987"/>
                  <a:gd name="connsiteY79" fmla="*/ 4067175 h 4496940"/>
                  <a:gd name="connsiteX80" fmla="*/ 830602 w 4519987"/>
                  <a:gd name="connsiteY80" fmla="*/ 3981450 h 4496940"/>
                  <a:gd name="connsiteX81" fmla="*/ 763927 w 4519987"/>
                  <a:gd name="connsiteY81" fmla="*/ 3914775 h 4496940"/>
                  <a:gd name="connsiteX82" fmla="*/ 725827 w 4519987"/>
                  <a:gd name="connsiteY82" fmla="*/ 3876675 h 4496940"/>
                  <a:gd name="connsiteX83" fmla="*/ 697252 w 4519987"/>
                  <a:gd name="connsiteY83" fmla="*/ 3838575 h 4496940"/>
                  <a:gd name="connsiteX84" fmla="*/ 640102 w 4519987"/>
                  <a:gd name="connsiteY84" fmla="*/ 3781425 h 4496940"/>
                  <a:gd name="connsiteX85" fmla="*/ 611527 w 4519987"/>
                  <a:gd name="connsiteY85" fmla="*/ 3733800 h 4496940"/>
                  <a:gd name="connsiteX86" fmla="*/ 554377 w 4519987"/>
                  <a:gd name="connsiteY86" fmla="*/ 3657600 h 4496940"/>
                  <a:gd name="connsiteX87" fmla="*/ 525802 w 4519987"/>
                  <a:gd name="connsiteY87" fmla="*/ 3609975 h 4496940"/>
                  <a:gd name="connsiteX88" fmla="*/ 497227 w 4519987"/>
                  <a:gd name="connsiteY88" fmla="*/ 3552825 h 4496940"/>
                  <a:gd name="connsiteX89" fmla="*/ 440077 w 4519987"/>
                  <a:gd name="connsiteY89" fmla="*/ 3495675 h 4496940"/>
                  <a:gd name="connsiteX90" fmla="*/ 411502 w 4519987"/>
                  <a:gd name="connsiteY90" fmla="*/ 3448050 h 4496940"/>
                  <a:gd name="connsiteX91" fmla="*/ 278152 w 4519987"/>
                  <a:gd name="connsiteY91" fmla="*/ 3257550 h 4496940"/>
                  <a:gd name="connsiteX92" fmla="*/ 249577 w 4519987"/>
                  <a:gd name="connsiteY92" fmla="*/ 3200400 h 4496940"/>
                  <a:gd name="connsiteX93" fmla="*/ 240052 w 4519987"/>
                  <a:gd name="connsiteY93" fmla="*/ 3162300 h 4496940"/>
                  <a:gd name="connsiteX94" fmla="*/ 221002 w 4519987"/>
                  <a:gd name="connsiteY94" fmla="*/ 3105150 h 4496940"/>
                  <a:gd name="connsiteX95" fmla="*/ 173377 w 4519987"/>
                  <a:gd name="connsiteY95" fmla="*/ 3019425 h 4496940"/>
                  <a:gd name="connsiteX96" fmla="*/ 144802 w 4519987"/>
                  <a:gd name="connsiteY96" fmla="*/ 2924175 h 4496940"/>
                  <a:gd name="connsiteX97" fmla="*/ 68602 w 4519987"/>
                  <a:gd name="connsiteY97" fmla="*/ 2724150 h 4496940"/>
                  <a:gd name="connsiteX98" fmla="*/ 49552 w 4519987"/>
                  <a:gd name="connsiteY98" fmla="*/ 2638425 h 4496940"/>
                  <a:gd name="connsiteX99" fmla="*/ 40027 w 4519987"/>
                  <a:gd name="connsiteY99" fmla="*/ 2562225 h 4496940"/>
                  <a:gd name="connsiteX100" fmla="*/ 30502 w 4519987"/>
                  <a:gd name="connsiteY100" fmla="*/ 2514600 h 4496940"/>
                  <a:gd name="connsiteX101" fmla="*/ 11452 w 4519987"/>
                  <a:gd name="connsiteY101" fmla="*/ 2400300 h 4496940"/>
                  <a:gd name="connsiteX102" fmla="*/ 20977 w 4519987"/>
                  <a:gd name="connsiteY102" fmla="*/ 1905000 h 4496940"/>
                  <a:gd name="connsiteX103" fmla="*/ 30502 w 4519987"/>
                  <a:gd name="connsiteY103" fmla="*/ 1838325 h 4496940"/>
                  <a:gd name="connsiteX104" fmla="*/ 49552 w 4519987"/>
                  <a:gd name="connsiteY104" fmla="*/ 1781175 h 4496940"/>
                  <a:gd name="connsiteX105" fmla="*/ 59077 w 4519987"/>
                  <a:gd name="connsiteY105" fmla="*/ 1743075 h 4496940"/>
                  <a:gd name="connsiteX106" fmla="*/ 78127 w 4519987"/>
                  <a:gd name="connsiteY106" fmla="*/ 1685925 h 4496940"/>
                  <a:gd name="connsiteX107" fmla="*/ 87652 w 4519987"/>
                  <a:gd name="connsiteY107" fmla="*/ 1638300 h 4496940"/>
                  <a:gd name="connsiteX108" fmla="*/ 106702 w 4519987"/>
                  <a:gd name="connsiteY108" fmla="*/ 1590675 h 4496940"/>
                  <a:gd name="connsiteX109" fmla="*/ 135277 w 4519987"/>
                  <a:gd name="connsiteY109" fmla="*/ 1504950 h 4496940"/>
                  <a:gd name="connsiteX110" fmla="*/ 154327 w 4519987"/>
                  <a:gd name="connsiteY110" fmla="*/ 1419225 h 4496940"/>
                  <a:gd name="connsiteX111" fmla="*/ 230527 w 4519987"/>
                  <a:gd name="connsiteY111" fmla="*/ 1276350 h 4496940"/>
                  <a:gd name="connsiteX112" fmla="*/ 240052 w 4519987"/>
                  <a:gd name="connsiteY112" fmla="*/ 1247775 h 4496940"/>
                  <a:gd name="connsiteX113" fmla="*/ 268627 w 4519987"/>
                  <a:gd name="connsiteY113" fmla="*/ 1200150 h 4496940"/>
                  <a:gd name="connsiteX114" fmla="*/ 287677 w 4519987"/>
                  <a:gd name="connsiteY114" fmla="*/ 1152525 h 4496940"/>
                  <a:gd name="connsiteX115" fmla="*/ 316252 w 4519987"/>
                  <a:gd name="connsiteY115" fmla="*/ 1114425 h 4496940"/>
                  <a:gd name="connsiteX116" fmla="*/ 363877 w 4519987"/>
                  <a:gd name="connsiteY116" fmla="*/ 1038225 h 4496940"/>
                  <a:gd name="connsiteX117" fmla="*/ 382927 w 4519987"/>
                  <a:gd name="connsiteY117" fmla="*/ 1009650 h 4496940"/>
                  <a:gd name="connsiteX118" fmla="*/ 440077 w 4519987"/>
                  <a:gd name="connsiteY118" fmla="*/ 904875 h 4496940"/>
                  <a:gd name="connsiteX119" fmla="*/ 478177 w 4519987"/>
                  <a:gd name="connsiteY119" fmla="*/ 857250 h 4496940"/>
                  <a:gd name="connsiteX120" fmla="*/ 497227 w 4519987"/>
                  <a:gd name="connsiteY120" fmla="*/ 828675 h 4496940"/>
                  <a:gd name="connsiteX121" fmla="*/ 535327 w 4519987"/>
                  <a:gd name="connsiteY121" fmla="*/ 800100 h 4496940"/>
                  <a:gd name="connsiteX122" fmla="*/ 602002 w 4519987"/>
                  <a:gd name="connsiteY122" fmla="*/ 733425 h 4496940"/>
                  <a:gd name="connsiteX123" fmla="*/ 668677 w 4519987"/>
                  <a:gd name="connsiteY123" fmla="*/ 676275 h 4496940"/>
                  <a:gd name="connsiteX124" fmla="*/ 697252 w 4519987"/>
                  <a:gd name="connsiteY124" fmla="*/ 657225 h 4496940"/>
                  <a:gd name="connsiteX125" fmla="*/ 840127 w 4519987"/>
                  <a:gd name="connsiteY125" fmla="*/ 533400 h 4496940"/>
                  <a:gd name="connsiteX126" fmla="*/ 887752 w 4519987"/>
                  <a:gd name="connsiteY126" fmla="*/ 504825 h 4496940"/>
                  <a:gd name="connsiteX127" fmla="*/ 1167152 w 4519987"/>
                  <a:gd name="connsiteY127" fmla="*/ 311150 h 4496940"/>
                  <a:gd name="connsiteX128" fmla="*/ 1268752 w 4519987"/>
                  <a:gd name="connsiteY128" fmla="*/ 285750 h 4496940"/>
                  <a:gd name="connsiteX129" fmla="*/ 1411627 w 4519987"/>
                  <a:gd name="connsiteY129" fmla="*/ 190500 h 4496940"/>
                  <a:gd name="connsiteX130" fmla="*/ 1449727 w 4519987"/>
                  <a:gd name="connsiteY130" fmla="*/ 161925 h 4496940"/>
                  <a:gd name="connsiteX131" fmla="*/ 1525927 w 4519987"/>
                  <a:gd name="connsiteY131" fmla="*/ 152400 h 4496940"/>
                  <a:gd name="connsiteX132" fmla="*/ 1583077 w 4519987"/>
                  <a:gd name="connsiteY132" fmla="*/ 142875 h 4496940"/>
                  <a:gd name="connsiteX133" fmla="*/ 1716427 w 4519987"/>
                  <a:gd name="connsiteY133" fmla="*/ 123825 h 4496940"/>
                  <a:gd name="connsiteX134" fmla="*/ 1811677 w 4519987"/>
                  <a:gd name="connsiteY134" fmla="*/ 114300 h 4496940"/>
                  <a:gd name="connsiteX135" fmla="*/ 1859302 w 4519987"/>
                  <a:gd name="connsiteY135" fmla="*/ 104775 h 4496940"/>
                  <a:gd name="connsiteX136" fmla="*/ 1916452 w 4519987"/>
                  <a:gd name="connsiteY136" fmla="*/ 95250 h 4496940"/>
                  <a:gd name="connsiteX137" fmla="*/ 2030752 w 4519987"/>
                  <a:gd name="connsiteY137" fmla="*/ 66675 h 4496940"/>
                  <a:gd name="connsiteX138" fmla="*/ 2097427 w 4519987"/>
                  <a:gd name="connsiteY138" fmla="*/ 47625 h 4496940"/>
                  <a:gd name="connsiteX139" fmla="*/ 2164102 w 4519987"/>
                  <a:gd name="connsiteY139" fmla="*/ 38100 h 4496940"/>
                  <a:gd name="connsiteX140" fmla="*/ 2392702 w 4519987"/>
                  <a:gd name="connsiteY14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221502 w 4519987"/>
                  <a:gd name="connsiteY33" fmla="*/ 3333750 h 4496940"/>
                  <a:gd name="connsiteX34" fmla="*/ 4183402 w 4519987"/>
                  <a:gd name="connsiteY34" fmla="*/ 3400425 h 4496940"/>
                  <a:gd name="connsiteX35" fmla="*/ 4088152 w 4519987"/>
                  <a:gd name="connsiteY35" fmla="*/ 3495675 h 4496940"/>
                  <a:gd name="connsiteX36" fmla="*/ 4059577 w 4519987"/>
                  <a:gd name="connsiteY36" fmla="*/ 3533775 h 4496940"/>
                  <a:gd name="connsiteX37" fmla="*/ 4002427 w 4519987"/>
                  <a:gd name="connsiteY37" fmla="*/ 3600450 h 4496940"/>
                  <a:gd name="connsiteX38" fmla="*/ 3983377 w 4519987"/>
                  <a:gd name="connsiteY38" fmla="*/ 3629025 h 4496940"/>
                  <a:gd name="connsiteX39" fmla="*/ 3954802 w 4519987"/>
                  <a:gd name="connsiteY39" fmla="*/ 3648075 h 4496940"/>
                  <a:gd name="connsiteX40" fmla="*/ 3907177 w 4519987"/>
                  <a:gd name="connsiteY40" fmla="*/ 3686175 h 4496940"/>
                  <a:gd name="connsiteX41" fmla="*/ 3869077 w 4519987"/>
                  <a:gd name="connsiteY41" fmla="*/ 3724275 h 4496940"/>
                  <a:gd name="connsiteX42" fmla="*/ 3792877 w 4519987"/>
                  <a:gd name="connsiteY42" fmla="*/ 3781425 h 4496940"/>
                  <a:gd name="connsiteX43" fmla="*/ 3783352 w 4519987"/>
                  <a:gd name="connsiteY43" fmla="*/ 3810000 h 4496940"/>
                  <a:gd name="connsiteX44" fmla="*/ 3745252 w 4519987"/>
                  <a:gd name="connsiteY44" fmla="*/ 3819525 h 4496940"/>
                  <a:gd name="connsiteX45" fmla="*/ 3678577 w 4519987"/>
                  <a:gd name="connsiteY45" fmla="*/ 3848100 h 4496940"/>
                  <a:gd name="connsiteX46" fmla="*/ 3659527 w 4519987"/>
                  <a:gd name="connsiteY46" fmla="*/ 3971925 h 4496940"/>
                  <a:gd name="connsiteX47" fmla="*/ 3630952 w 4519987"/>
                  <a:gd name="connsiteY47" fmla="*/ 4010025 h 4496940"/>
                  <a:gd name="connsiteX48" fmla="*/ 3621427 w 4519987"/>
                  <a:gd name="connsiteY48" fmla="*/ 4038600 h 4496940"/>
                  <a:gd name="connsiteX49" fmla="*/ 3554752 w 4519987"/>
                  <a:gd name="connsiteY49" fmla="*/ 4095750 h 4496940"/>
                  <a:gd name="connsiteX50" fmla="*/ 3516652 w 4519987"/>
                  <a:gd name="connsiteY50" fmla="*/ 4114800 h 4496940"/>
                  <a:gd name="connsiteX51" fmla="*/ 3497602 w 4519987"/>
                  <a:gd name="connsiteY51" fmla="*/ 4143375 h 4496940"/>
                  <a:gd name="connsiteX52" fmla="*/ 3383302 w 4519987"/>
                  <a:gd name="connsiteY52" fmla="*/ 4210050 h 4496940"/>
                  <a:gd name="connsiteX53" fmla="*/ 3335677 w 4519987"/>
                  <a:gd name="connsiteY53" fmla="*/ 4238625 h 4496940"/>
                  <a:gd name="connsiteX54" fmla="*/ 3288052 w 4519987"/>
                  <a:gd name="connsiteY54" fmla="*/ 4248150 h 4496940"/>
                  <a:gd name="connsiteX55" fmla="*/ 3240427 w 4519987"/>
                  <a:gd name="connsiteY55" fmla="*/ 4267200 h 4496940"/>
                  <a:gd name="connsiteX56" fmla="*/ 3068977 w 4519987"/>
                  <a:gd name="connsiteY56" fmla="*/ 4286250 h 4496940"/>
                  <a:gd name="connsiteX57" fmla="*/ 2935627 w 4519987"/>
                  <a:gd name="connsiteY57" fmla="*/ 4333875 h 4496940"/>
                  <a:gd name="connsiteX58" fmla="*/ 2811802 w 4519987"/>
                  <a:gd name="connsiteY58" fmla="*/ 4371975 h 4496940"/>
                  <a:gd name="connsiteX59" fmla="*/ 2745127 w 4519987"/>
                  <a:gd name="connsiteY59" fmla="*/ 4410075 h 4496940"/>
                  <a:gd name="connsiteX60" fmla="*/ 2697502 w 4519987"/>
                  <a:gd name="connsiteY60" fmla="*/ 4429125 h 4496940"/>
                  <a:gd name="connsiteX61" fmla="*/ 2640352 w 4519987"/>
                  <a:gd name="connsiteY61" fmla="*/ 4457700 h 4496940"/>
                  <a:gd name="connsiteX62" fmla="*/ 2583202 w 4519987"/>
                  <a:gd name="connsiteY62" fmla="*/ 4467225 h 4496940"/>
                  <a:gd name="connsiteX63" fmla="*/ 2545102 w 4519987"/>
                  <a:gd name="connsiteY63" fmla="*/ 4486275 h 4496940"/>
                  <a:gd name="connsiteX64" fmla="*/ 2306977 w 4519987"/>
                  <a:gd name="connsiteY64" fmla="*/ 4476750 h 4496940"/>
                  <a:gd name="connsiteX65" fmla="*/ 2202202 w 4519987"/>
                  <a:gd name="connsiteY65" fmla="*/ 4457700 h 4496940"/>
                  <a:gd name="connsiteX66" fmla="*/ 2126002 w 4519987"/>
                  <a:gd name="connsiteY66" fmla="*/ 4429125 h 4496940"/>
                  <a:gd name="connsiteX67" fmla="*/ 1935502 w 4519987"/>
                  <a:gd name="connsiteY67" fmla="*/ 4400550 h 4496940"/>
                  <a:gd name="connsiteX68" fmla="*/ 1821202 w 4519987"/>
                  <a:gd name="connsiteY68" fmla="*/ 4371975 h 4496940"/>
                  <a:gd name="connsiteX69" fmla="*/ 1754527 w 4519987"/>
                  <a:gd name="connsiteY69" fmla="*/ 4352925 h 4496940"/>
                  <a:gd name="connsiteX70" fmla="*/ 1687852 w 4519987"/>
                  <a:gd name="connsiteY70" fmla="*/ 4343400 h 4496940"/>
                  <a:gd name="connsiteX71" fmla="*/ 1573552 w 4519987"/>
                  <a:gd name="connsiteY71" fmla="*/ 4305300 h 4496940"/>
                  <a:gd name="connsiteX72" fmla="*/ 1402102 w 4519987"/>
                  <a:gd name="connsiteY72" fmla="*/ 4276725 h 4496940"/>
                  <a:gd name="connsiteX73" fmla="*/ 1287802 w 4519987"/>
                  <a:gd name="connsiteY73" fmla="*/ 4229100 h 4496940"/>
                  <a:gd name="connsiteX74" fmla="*/ 1221127 w 4519987"/>
                  <a:gd name="connsiteY74" fmla="*/ 4200525 h 4496940"/>
                  <a:gd name="connsiteX75" fmla="*/ 1144927 w 4519987"/>
                  <a:gd name="connsiteY75" fmla="*/ 4171950 h 4496940"/>
                  <a:gd name="connsiteX76" fmla="*/ 1087777 w 4519987"/>
                  <a:gd name="connsiteY76" fmla="*/ 4143375 h 4496940"/>
                  <a:gd name="connsiteX77" fmla="*/ 1030627 w 4519987"/>
                  <a:gd name="connsiteY77" fmla="*/ 4124325 h 4496940"/>
                  <a:gd name="connsiteX78" fmla="*/ 925852 w 4519987"/>
                  <a:gd name="connsiteY78" fmla="*/ 4067175 h 4496940"/>
                  <a:gd name="connsiteX79" fmla="*/ 830602 w 4519987"/>
                  <a:gd name="connsiteY79" fmla="*/ 3981450 h 4496940"/>
                  <a:gd name="connsiteX80" fmla="*/ 763927 w 4519987"/>
                  <a:gd name="connsiteY80" fmla="*/ 3914775 h 4496940"/>
                  <a:gd name="connsiteX81" fmla="*/ 725827 w 4519987"/>
                  <a:gd name="connsiteY81" fmla="*/ 3876675 h 4496940"/>
                  <a:gd name="connsiteX82" fmla="*/ 697252 w 4519987"/>
                  <a:gd name="connsiteY82" fmla="*/ 3838575 h 4496940"/>
                  <a:gd name="connsiteX83" fmla="*/ 640102 w 4519987"/>
                  <a:gd name="connsiteY83" fmla="*/ 3781425 h 4496940"/>
                  <a:gd name="connsiteX84" fmla="*/ 611527 w 4519987"/>
                  <a:gd name="connsiteY84" fmla="*/ 3733800 h 4496940"/>
                  <a:gd name="connsiteX85" fmla="*/ 554377 w 4519987"/>
                  <a:gd name="connsiteY85" fmla="*/ 3657600 h 4496940"/>
                  <a:gd name="connsiteX86" fmla="*/ 525802 w 4519987"/>
                  <a:gd name="connsiteY86" fmla="*/ 3609975 h 4496940"/>
                  <a:gd name="connsiteX87" fmla="*/ 497227 w 4519987"/>
                  <a:gd name="connsiteY87" fmla="*/ 3552825 h 4496940"/>
                  <a:gd name="connsiteX88" fmla="*/ 440077 w 4519987"/>
                  <a:gd name="connsiteY88" fmla="*/ 3495675 h 4496940"/>
                  <a:gd name="connsiteX89" fmla="*/ 411502 w 4519987"/>
                  <a:gd name="connsiteY89" fmla="*/ 3448050 h 4496940"/>
                  <a:gd name="connsiteX90" fmla="*/ 278152 w 4519987"/>
                  <a:gd name="connsiteY90" fmla="*/ 3257550 h 4496940"/>
                  <a:gd name="connsiteX91" fmla="*/ 249577 w 4519987"/>
                  <a:gd name="connsiteY91" fmla="*/ 3200400 h 4496940"/>
                  <a:gd name="connsiteX92" fmla="*/ 240052 w 4519987"/>
                  <a:gd name="connsiteY92" fmla="*/ 3162300 h 4496940"/>
                  <a:gd name="connsiteX93" fmla="*/ 221002 w 4519987"/>
                  <a:gd name="connsiteY93" fmla="*/ 3105150 h 4496940"/>
                  <a:gd name="connsiteX94" fmla="*/ 173377 w 4519987"/>
                  <a:gd name="connsiteY94" fmla="*/ 3019425 h 4496940"/>
                  <a:gd name="connsiteX95" fmla="*/ 144802 w 4519987"/>
                  <a:gd name="connsiteY95" fmla="*/ 2924175 h 4496940"/>
                  <a:gd name="connsiteX96" fmla="*/ 68602 w 4519987"/>
                  <a:gd name="connsiteY96" fmla="*/ 2724150 h 4496940"/>
                  <a:gd name="connsiteX97" fmla="*/ 49552 w 4519987"/>
                  <a:gd name="connsiteY97" fmla="*/ 2638425 h 4496940"/>
                  <a:gd name="connsiteX98" fmla="*/ 40027 w 4519987"/>
                  <a:gd name="connsiteY98" fmla="*/ 2562225 h 4496940"/>
                  <a:gd name="connsiteX99" fmla="*/ 30502 w 4519987"/>
                  <a:gd name="connsiteY99" fmla="*/ 2514600 h 4496940"/>
                  <a:gd name="connsiteX100" fmla="*/ 11452 w 4519987"/>
                  <a:gd name="connsiteY100" fmla="*/ 2400300 h 4496940"/>
                  <a:gd name="connsiteX101" fmla="*/ 20977 w 4519987"/>
                  <a:gd name="connsiteY101" fmla="*/ 1905000 h 4496940"/>
                  <a:gd name="connsiteX102" fmla="*/ 30502 w 4519987"/>
                  <a:gd name="connsiteY102" fmla="*/ 1838325 h 4496940"/>
                  <a:gd name="connsiteX103" fmla="*/ 49552 w 4519987"/>
                  <a:gd name="connsiteY103" fmla="*/ 1781175 h 4496940"/>
                  <a:gd name="connsiteX104" fmla="*/ 59077 w 4519987"/>
                  <a:gd name="connsiteY104" fmla="*/ 1743075 h 4496940"/>
                  <a:gd name="connsiteX105" fmla="*/ 78127 w 4519987"/>
                  <a:gd name="connsiteY105" fmla="*/ 1685925 h 4496940"/>
                  <a:gd name="connsiteX106" fmla="*/ 87652 w 4519987"/>
                  <a:gd name="connsiteY106" fmla="*/ 1638300 h 4496940"/>
                  <a:gd name="connsiteX107" fmla="*/ 106702 w 4519987"/>
                  <a:gd name="connsiteY107" fmla="*/ 1590675 h 4496940"/>
                  <a:gd name="connsiteX108" fmla="*/ 135277 w 4519987"/>
                  <a:gd name="connsiteY108" fmla="*/ 1504950 h 4496940"/>
                  <a:gd name="connsiteX109" fmla="*/ 154327 w 4519987"/>
                  <a:gd name="connsiteY109" fmla="*/ 1419225 h 4496940"/>
                  <a:gd name="connsiteX110" fmla="*/ 230527 w 4519987"/>
                  <a:gd name="connsiteY110" fmla="*/ 1276350 h 4496940"/>
                  <a:gd name="connsiteX111" fmla="*/ 240052 w 4519987"/>
                  <a:gd name="connsiteY111" fmla="*/ 1247775 h 4496940"/>
                  <a:gd name="connsiteX112" fmla="*/ 268627 w 4519987"/>
                  <a:gd name="connsiteY112" fmla="*/ 1200150 h 4496940"/>
                  <a:gd name="connsiteX113" fmla="*/ 287677 w 4519987"/>
                  <a:gd name="connsiteY113" fmla="*/ 1152525 h 4496940"/>
                  <a:gd name="connsiteX114" fmla="*/ 316252 w 4519987"/>
                  <a:gd name="connsiteY114" fmla="*/ 1114425 h 4496940"/>
                  <a:gd name="connsiteX115" fmla="*/ 363877 w 4519987"/>
                  <a:gd name="connsiteY115" fmla="*/ 1038225 h 4496940"/>
                  <a:gd name="connsiteX116" fmla="*/ 382927 w 4519987"/>
                  <a:gd name="connsiteY116" fmla="*/ 1009650 h 4496940"/>
                  <a:gd name="connsiteX117" fmla="*/ 440077 w 4519987"/>
                  <a:gd name="connsiteY117" fmla="*/ 904875 h 4496940"/>
                  <a:gd name="connsiteX118" fmla="*/ 478177 w 4519987"/>
                  <a:gd name="connsiteY118" fmla="*/ 857250 h 4496940"/>
                  <a:gd name="connsiteX119" fmla="*/ 497227 w 4519987"/>
                  <a:gd name="connsiteY119" fmla="*/ 828675 h 4496940"/>
                  <a:gd name="connsiteX120" fmla="*/ 535327 w 4519987"/>
                  <a:gd name="connsiteY120" fmla="*/ 800100 h 4496940"/>
                  <a:gd name="connsiteX121" fmla="*/ 602002 w 4519987"/>
                  <a:gd name="connsiteY121" fmla="*/ 733425 h 4496940"/>
                  <a:gd name="connsiteX122" fmla="*/ 668677 w 4519987"/>
                  <a:gd name="connsiteY122" fmla="*/ 676275 h 4496940"/>
                  <a:gd name="connsiteX123" fmla="*/ 697252 w 4519987"/>
                  <a:gd name="connsiteY123" fmla="*/ 657225 h 4496940"/>
                  <a:gd name="connsiteX124" fmla="*/ 840127 w 4519987"/>
                  <a:gd name="connsiteY124" fmla="*/ 533400 h 4496940"/>
                  <a:gd name="connsiteX125" fmla="*/ 887752 w 4519987"/>
                  <a:gd name="connsiteY125" fmla="*/ 504825 h 4496940"/>
                  <a:gd name="connsiteX126" fmla="*/ 1167152 w 4519987"/>
                  <a:gd name="connsiteY126" fmla="*/ 311150 h 4496940"/>
                  <a:gd name="connsiteX127" fmla="*/ 1268752 w 4519987"/>
                  <a:gd name="connsiteY127" fmla="*/ 285750 h 4496940"/>
                  <a:gd name="connsiteX128" fmla="*/ 1411627 w 4519987"/>
                  <a:gd name="connsiteY128" fmla="*/ 190500 h 4496940"/>
                  <a:gd name="connsiteX129" fmla="*/ 1449727 w 4519987"/>
                  <a:gd name="connsiteY129" fmla="*/ 161925 h 4496940"/>
                  <a:gd name="connsiteX130" fmla="*/ 1525927 w 4519987"/>
                  <a:gd name="connsiteY130" fmla="*/ 152400 h 4496940"/>
                  <a:gd name="connsiteX131" fmla="*/ 1583077 w 4519987"/>
                  <a:gd name="connsiteY131" fmla="*/ 142875 h 4496940"/>
                  <a:gd name="connsiteX132" fmla="*/ 1716427 w 4519987"/>
                  <a:gd name="connsiteY132" fmla="*/ 123825 h 4496940"/>
                  <a:gd name="connsiteX133" fmla="*/ 1811677 w 4519987"/>
                  <a:gd name="connsiteY133" fmla="*/ 114300 h 4496940"/>
                  <a:gd name="connsiteX134" fmla="*/ 1859302 w 4519987"/>
                  <a:gd name="connsiteY134" fmla="*/ 104775 h 4496940"/>
                  <a:gd name="connsiteX135" fmla="*/ 1916452 w 4519987"/>
                  <a:gd name="connsiteY135" fmla="*/ 95250 h 4496940"/>
                  <a:gd name="connsiteX136" fmla="*/ 2030752 w 4519987"/>
                  <a:gd name="connsiteY136" fmla="*/ 66675 h 4496940"/>
                  <a:gd name="connsiteX137" fmla="*/ 2097427 w 4519987"/>
                  <a:gd name="connsiteY137" fmla="*/ 47625 h 4496940"/>
                  <a:gd name="connsiteX138" fmla="*/ 2164102 w 4519987"/>
                  <a:gd name="connsiteY138" fmla="*/ 38100 h 4496940"/>
                  <a:gd name="connsiteX139" fmla="*/ 2392702 w 4519987"/>
                  <a:gd name="connsiteY13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83377 w 4519987"/>
                  <a:gd name="connsiteY37" fmla="*/ 3629025 h 4496940"/>
                  <a:gd name="connsiteX38" fmla="*/ 3954802 w 4519987"/>
                  <a:gd name="connsiteY38" fmla="*/ 3648075 h 4496940"/>
                  <a:gd name="connsiteX39" fmla="*/ 3907177 w 4519987"/>
                  <a:gd name="connsiteY39" fmla="*/ 3686175 h 4496940"/>
                  <a:gd name="connsiteX40" fmla="*/ 3869077 w 4519987"/>
                  <a:gd name="connsiteY40" fmla="*/ 3724275 h 4496940"/>
                  <a:gd name="connsiteX41" fmla="*/ 3792877 w 4519987"/>
                  <a:gd name="connsiteY41" fmla="*/ 3781425 h 4496940"/>
                  <a:gd name="connsiteX42" fmla="*/ 3783352 w 4519987"/>
                  <a:gd name="connsiteY42" fmla="*/ 3810000 h 4496940"/>
                  <a:gd name="connsiteX43" fmla="*/ 3745252 w 4519987"/>
                  <a:gd name="connsiteY43" fmla="*/ 3819525 h 4496940"/>
                  <a:gd name="connsiteX44" fmla="*/ 3678577 w 4519987"/>
                  <a:gd name="connsiteY44" fmla="*/ 3848100 h 4496940"/>
                  <a:gd name="connsiteX45" fmla="*/ 3659527 w 4519987"/>
                  <a:gd name="connsiteY45" fmla="*/ 3971925 h 4496940"/>
                  <a:gd name="connsiteX46" fmla="*/ 3630952 w 4519987"/>
                  <a:gd name="connsiteY46" fmla="*/ 4010025 h 4496940"/>
                  <a:gd name="connsiteX47" fmla="*/ 3621427 w 4519987"/>
                  <a:gd name="connsiteY47" fmla="*/ 4038600 h 4496940"/>
                  <a:gd name="connsiteX48" fmla="*/ 3554752 w 4519987"/>
                  <a:gd name="connsiteY48" fmla="*/ 4095750 h 4496940"/>
                  <a:gd name="connsiteX49" fmla="*/ 3516652 w 4519987"/>
                  <a:gd name="connsiteY49" fmla="*/ 4114800 h 4496940"/>
                  <a:gd name="connsiteX50" fmla="*/ 3497602 w 4519987"/>
                  <a:gd name="connsiteY50" fmla="*/ 4143375 h 4496940"/>
                  <a:gd name="connsiteX51" fmla="*/ 3383302 w 4519987"/>
                  <a:gd name="connsiteY51" fmla="*/ 4210050 h 4496940"/>
                  <a:gd name="connsiteX52" fmla="*/ 3335677 w 4519987"/>
                  <a:gd name="connsiteY52" fmla="*/ 4238625 h 4496940"/>
                  <a:gd name="connsiteX53" fmla="*/ 3288052 w 4519987"/>
                  <a:gd name="connsiteY53" fmla="*/ 4248150 h 4496940"/>
                  <a:gd name="connsiteX54" fmla="*/ 3240427 w 4519987"/>
                  <a:gd name="connsiteY54" fmla="*/ 4267200 h 4496940"/>
                  <a:gd name="connsiteX55" fmla="*/ 3068977 w 4519987"/>
                  <a:gd name="connsiteY55" fmla="*/ 4286250 h 4496940"/>
                  <a:gd name="connsiteX56" fmla="*/ 2935627 w 4519987"/>
                  <a:gd name="connsiteY56" fmla="*/ 4333875 h 4496940"/>
                  <a:gd name="connsiteX57" fmla="*/ 2811802 w 4519987"/>
                  <a:gd name="connsiteY57" fmla="*/ 4371975 h 4496940"/>
                  <a:gd name="connsiteX58" fmla="*/ 2745127 w 4519987"/>
                  <a:gd name="connsiteY58" fmla="*/ 4410075 h 4496940"/>
                  <a:gd name="connsiteX59" fmla="*/ 2697502 w 4519987"/>
                  <a:gd name="connsiteY59" fmla="*/ 4429125 h 4496940"/>
                  <a:gd name="connsiteX60" fmla="*/ 2640352 w 4519987"/>
                  <a:gd name="connsiteY60" fmla="*/ 4457700 h 4496940"/>
                  <a:gd name="connsiteX61" fmla="*/ 2583202 w 4519987"/>
                  <a:gd name="connsiteY61" fmla="*/ 4467225 h 4496940"/>
                  <a:gd name="connsiteX62" fmla="*/ 2545102 w 4519987"/>
                  <a:gd name="connsiteY62" fmla="*/ 4486275 h 4496940"/>
                  <a:gd name="connsiteX63" fmla="*/ 2306977 w 4519987"/>
                  <a:gd name="connsiteY63" fmla="*/ 4476750 h 4496940"/>
                  <a:gd name="connsiteX64" fmla="*/ 2202202 w 4519987"/>
                  <a:gd name="connsiteY64" fmla="*/ 4457700 h 4496940"/>
                  <a:gd name="connsiteX65" fmla="*/ 2126002 w 4519987"/>
                  <a:gd name="connsiteY65" fmla="*/ 4429125 h 4496940"/>
                  <a:gd name="connsiteX66" fmla="*/ 1935502 w 4519987"/>
                  <a:gd name="connsiteY66" fmla="*/ 4400550 h 4496940"/>
                  <a:gd name="connsiteX67" fmla="*/ 1821202 w 4519987"/>
                  <a:gd name="connsiteY67" fmla="*/ 4371975 h 4496940"/>
                  <a:gd name="connsiteX68" fmla="*/ 1754527 w 4519987"/>
                  <a:gd name="connsiteY68" fmla="*/ 4352925 h 4496940"/>
                  <a:gd name="connsiteX69" fmla="*/ 1687852 w 4519987"/>
                  <a:gd name="connsiteY69" fmla="*/ 4343400 h 4496940"/>
                  <a:gd name="connsiteX70" fmla="*/ 1573552 w 4519987"/>
                  <a:gd name="connsiteY70" fmla="*/ 4305300 h 4496940"/>
                  <a:gd name="connsiteX71" fmla="*/ 1402102 w 4519987"/>
                  <a:gd name="connsiteY71" fmla="*/ 4276725 h 4496940"/>
                  <a:gd name="connsiteX72" fmla="*/ 1287802 w 4519987"/>
                  <a:gd name="connsiteY72" fmla="*/ 4229100 h 4496940"/>
                  <a:gd name="connsiteX73" fmla="*/ 1221127 w 4519987"/>
                  <a:gd name="connsiteY73" fmla="*/ 4200525 h 4496940"/>
                  <a:gd name="connsiteX74" fmla="*/ 1144927 w 4519987"/>
                  <a:gd name="connsiteY74" fmla="*/ 4171950 h 4496940"/>
                  <a:gd name="connsiteX75" fmla="*/ 1087777 w 4519987"/>
                  <a:gd name="connsiteY75" fmla="*/ 4143375 h 4496940"/>
                  <a:gd name="connsiteX76" fmla="*/ 1030627 w 4519987"/>
                  <a:gd name="connsiteY76" fmla="*/ 4124325 h 4496940"/>
                  <a:gd name="connsiteX77" fmla="*/ 925852 w 4519987"/>
                  <a:gd name="connsiteY77" fmla="*/ 4067175 h 4496940"/>
                  <a:gd name="connsiteX78" fmla="*/ 830602 w 4519987"/>
                  <a:gd name="connsiteY78" fmla="*/ 3981450 h 4496940"/>
                  <a:gd name="connsiteX79" fmla="*/ 763927 w 4519987"/>
                  <a:gd name="connsiteY79" fmla="*/ 3914775 h 4496940"/>
                  <a:gd name="connsiteX80" fmla="*/ 725827 w 4519987"/>
                  <a:gd name="connsiteY80" fmla="*/ 3876675 h 4496940"/>
                  <a:gd name="connsiteX81" fmla="*/ 697252 w 4519987"/>
                  <a:gd name="connsiteY81" fmla="*/ 3838575 h 4496940"/>
                  <a:gd name="connsiteX82" fmla="*/ 640102 w 4519987"/>
                  <a:gd name="connsiteY82" fmla="*/ 3781425 h 4496940"/>
                  <a:gd name="connsiteX83" fmla="*/ 611527 w 4519987"/>
                  <a:gd name="connsiteY83" fmla="*/ 3733800 h 4496940"/>
                  <a:gd name="connsiteX84" fmla="*/ 554377 w 4519987"/>
                  <a:gd name="connsiteY84" fmla="*/ 3657600 h 4496940"/>
                  <a:gd name="connsiteX85" fmla="*/ 525802 w 4519987"/>
                  <a:gd name="connsiteY85" fmla="*/ 3609975 h 4496940"/>
                  <a:gd name="connsiteX86" fmla="*/ 497227 w 4519987"/>
                  <a:gd name="connsiteY86" fmla="*/ 3552825 h 4496940"/>
                  <a:gd name="connsiteX87" fmla="*/ 440077 w 4519987"/>
                  <a:gd name="connsiteY87" fmla="*/ 3495675 h 4496940"/>
                  <a:gd name="connsiteX88" fmla="*/ 411502 w 4519987"/>
                  <a:gd name="connsiteY88" fmla="*/ 3448050 h 4496940"/>
                  <a:gd name="connsiteX89" fmla="*/ 278152 w 4519987"/>
                  <a:gd name="connsiteY89" fmla="*/ 3257550 h 4496940"/>
                  <a:gd name="connsiteX90" fmla="*/ 249577 w 4519987"/>
                  <a:gd name="connsiteY90" fmla="*/ 3200400 h 4496940"/>
                  <a:gd name="connsiteX91" fmla="*/ 240052 w 4519987"/>
                  <a:gd name="connsiteY91" fmla="*/ 3162300 h 4496940"/>
                  <a:gd name="connsiteX92" fmla="*/ 221002 w 4519987"/>
                  <a:gd name="connsiteY92" fmla="*/ 3105150 h 4496940"/>
                  <a:gd name="connsiteX93" fmla="*/ 173377 w 4519987"/>
                  <a:gd name="connsiteY93" fmla="*/ 3019425 h 4496940"/>
                  <a:gd name="connsiteX94" fmla="*/ 144802 w 4519987"/>
                  <a:gd name="connsiteY94" fmla="*/ 2924175 h 4496940"/>
                  <a:gd name="connsiteX95" fmla="*/ 68602 w 4519987"/>
                  <a:gd name="connsiteY95" fmla="*/ 2724150 h 4496940"/>
                  <a:gd name="connsiteX96" fmla="*/ 49552 w 4519987"/>
                  <a:gd name="connsiteY96" fmla="*/ 2638425 h 4496940"/>
                  <a:gd name="connsiteX97" fmla="*/ 40027 w 4519987"/>
                  <a:gd name="connsiteY97" fmla="*/ 2562225 h 4496940"/>
                  <a:gd name="connsiteX98" fmla="*/ 30502 w 4519987"/>
                  <a:gd name="connsiteY98" fmla="*/ 2514600 h 4496940"/>
                  <a:gd name="connsiteX99" fmla="*/ 11452 w 4519987"/>
                  <a:gd name="connsiteY99" fmla="*/ 2400300 h 4496940"/>
                  <a:gd name="connsiteX100" fmla="*/ 20977 w 4519987"/>
                  <a:gd name="connsiteY100" fmla="*/ 1905000 h 4496940"/>
                  <a:gd name="connsiteX101" fmla="*/ 30502 w 4519987"/>
                  <a:gd name="connsiteY101" fmla="*/ 1838325 h 4496940"/>
                  <a:gd name="connsiteX102" fmla="*/ 49552 w 4519987"/>
                  <a:gd name="connsiteY102" fmla="*/ 1781175 h 4496940"/>
                  <a:gd name="connsiteX103" fmla="*/ 59077 w 4519987"/>
                  <a:gd name="connsiteY103" fmla="*/ 1743075 h 4496940"/>
                  <a:gd name="connsiteX104" fmla="*/ 78127 w 4519987"/>
                  <a:gd name="connsiteY104" fmla="*/ 1685925 h 4496940"/>
                  <a:gd name="connsiteX105" fmla="*/ 87652 w 4519987"/>
                  <a:gd name="connsiteY105" fmla="*/ 1638300 h 4496940"/>
                  <a:gd name="connsiteX106" fmla="*/ 106702 w 4519987"/>
                  <a:gd name="connsiteY106" fmla="*/ 1590675 h 4496940"/>
                  <a:gd name="connsiteX107" fmla="*/ 135277 w 4519987"/>
                  <a:gd name="connsiteY107" fmla="*/ 1504950 h 4496940"/>
                  <a:gd name="connsiteX108" fmla="*/ 154327 w 4519987"/>
                  <a:gd name="connsiteY108" fmla="*/ 1419225 h 4496940"/>
                  <a:gd name="connsiteX109" fmla="*/ 230527 w 4519987"/>
                  <a:gd name="connsiteY109" fmla="*/ 1276350 h 4496940"/>
                  <a:gd name="connsiteX110" fmla="*/ 240052 w 4519987"/>
                  <a:gd name="connsiteY110" fmla="*/ 1247775 h 4496940"/>
                  <a:gd name="connsiteX111" fmla="*/ 268627 w 4519987"/>
                  <a:gd name="connsiteY111" fmla="*/ 1200150 h 4496940"/>
                  <a:gd name="connsiteX112" fmla="*/ 287677 w 4519987"/>
                  <a:gd name="connsiteY112" fmla="*/ 1152525 h 4496940"/>
                  <a:gd name="connsiteX113" fmla="*/ 316252 w 4519987"/>
                  <a:gd name="connsiteY113" fmla="*/ 1114425 h 4496940"/>
                  <a:gd name="connsiteX114" fmla="*/ 363877 w 4519987"/>
                  <a:gd name="connsiteY114" fmla="*/ 1038225 h 4496940"/>
                  <a:gd name="connsiteX115" fmla="*/ 382927 w 4519987"/>
                  <a:gd name="connsiteY115" fmla="*/ 1009650 h 4496940"/>
                  <a:gd name="connsiteX116" fmla="*/ 440077 w 4519987"/>
                  <a:gd name="connsiteY116" fmla="*/ 904875 h 4496940"/>
                  <a:gd name="connsiteX117" fmla="*/ 478177 w 4519987"/>
                  <a:gd name="connsiteY117" fmla="*/ 857250 h 4496940"/>
                  <a:gd name="connsiteX118" fmla="*/ 497227 w 4519987"/>
                  <a:gd name="connsiteY118" fmla="*/ 828675 h 4496940"/>
                  <a:gd name="connsiteX119" fmla="*/ 535327 w 4519987"/>
                  <a:gd name="connsiteY119" fmla="*/ 800100 h 4496940"/>
                  <a:gd name="connsiteX120" fmla="*/ 602002 w 4519987"/>
                  <a:gd name="connsiteY120" fmla="*/ 733425 h 4496940"/>
                  <a:gd name="connsiteX121" fmla="*/ 668677 w 4519987"/>
                  <a:gd name="connsiteY121" fmla="*/ 676275 h 4496940"/>
                  <a:gd name="connsiteX122" fmla="*/ 697252 w 4519987"/>
                  <a:gd name="connsiteY122" fmla="*/ 657225 h 4496940"/>
                  <a:gd name="connsiteX123" fmla="*/ 840127 w 4519987"/>
                  <a:gd name="connsiteY123" fmla="*/ 533400 h 4496940"/>
                  <a:gd name="connsiteX124" fmla="*/ 887752 w 4519987"/>
                  <a:gd name="connsiteY124" fmla="*/ 504825 h 4496940"/>
                  <a:gd name="connsiteX125" fmla="*/ 1167152 w 4519987"/>
                  <a:gd name="connsiteY125" fmla="*/ 311150 h 4496940"/>
                  <a:gd name="connsiteX126" fmla="*/ 1268752 w 4519987"/>
                  <a:gd name="connsiteY126" fmla="*/ 285750 h 4496940"/>
                  <a:gd name="connsiteX127" fmla="*/ 1411627 w 4519987"/>
                  <a:gd name="connsiteY127" fmla="*/ 190500 h 4496940"/>
                  <a:gd name="connsiteX128" fmla="*/ 1449727 w 4519987"/>
                  <a:gd name="connsiteY128" fmla="*/ 161925 h 4496940"/>
                  <a:gd name="connsiteX129" fmla="*/ 1525927 w 4519987"/>
                  <a:gd name="connsiteY129" fmla="*/ 152400 h 4496940"/>
                  <a:gd name="connsiteX130" fmla="*/ 1583077 w 4519987"/>
                  <a:gd name="connsiteY130" fmla="*/ 142875 h 4496940"/>
                  <a:gd name="connsiteX131" fmla="*/ 1716427 w 4519987"/>
                  <a:gd name="connsiteY131" fmla="*/ 123825 h 4496940"/>
                  <a:gd name="connsiteX132" fmla="*/ 1811677 w 4519987"/>
                  <a:gd name="connsiteY132" fmla="*/ 114300 h 4496940"/>
                  <a:gd name="connsiteX133" fmla="*/ 1859302 w 4519987"/>
                  <a:gd name="connsiteY133" fmla="*/ 104775 h 4496940"/>
                  <a:gd name="connsiteX134" fmla="*/ 1916452 w 4519987"/>
                  <a:gd name="connsiteY134" fmla="*/ 95250 h 4496940"/>
                  <a:gd name="connsiteX135" fmla="*/ 2030752 w 4519987"/>
                  <a:gd name="connsiteY135" fmla="*/ 66675 h 4496940"/>
                  <a:gd name="connsiteX136" fmla="*/ 2097427 w 4519987"/>
                  <a:gd name="connsiteY136" fmla="*/ 47625 h 4496940"/>
                  <a:gd name="connsiteX137" fmla="*/ 2164102 w 4519987"/>
                  <a:gd name="connsiteY137" fmla="*/ 38100 h 4496940"/>
                  <a:gd name="connsiteX138" fmla="*/ 2392702 w 4519987"/>
                  <a:gd name="connsiteY13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869077 w 4519987"/>
                  <a:gd name="connsiteY39" fmla="*/ 3724275 h 4496940"/>
                  <a:gd name="connsiteX40" fmla="*/ 3792877 w 4519987"/>
                  <a:gd name="connsiteY40" fmla="*/ 3781425 h 4496940"/>
                  <a:gd name="connsiteX41" fmla="*/ 3783352 w 4519987"/>
                  <a:gd name="connsiteY41" fmla="*/ 3810000 h 4496940"/>
                  <a:gd name="connsiteX42" fmla="*/ 3745252 w 4519987"/>
                  <a:gd name="connsiteY42" fmla="*/ 3819525 h 4496940"/>
                  <a:gd name="connsiteX43" fmla="*/ 3678577 w 4519987"/>
                  <a:gd name="connsiteY43" fmla="*/ 3848100 h 4496940"/>
                  <a:gd name="connsiteX44" fmla="*/ 3659527 w 4519987"/>
                  <a:gd name="connsiteY44" fmla="*/ 3971925 h 4496940"/>
                  <a:gd name="connsiteX45" fmla="*/ 3630952 w 4519987"/>
                  <a:gd name="connsiteY45" fmla="*/ 4010025 h 4496940"/>
                  <a:gd name="connsiteX46" fmla="*/ 3621427 w 4519987"/>
                  <a:gd name="connsiteY46" fmla="*/ 4038600 h 4496940"/>
                  <a:gd name="connsiteX47" fmla="*/ 3554752 w 4519987"/>
                  <a:gd name="connsiteY47" fmla="*/ 4095750 h 4496940"/>
                  <a:gd name="connsiteX48" fmla="*/ 3516652 w 4519987"/>
                  <a:gd name="connsiteY48" fmla="*/ 4114800 h 4496940"/>
                  <a:gd name="connsiteX49" fmla="*/ 3497602 w 4519987"/>
                  <a:gd name="connsiteY49" fmla="*/ 4143375 h 4496940"/>
                  <a:gd name="connsiteX50" fmla="*/ 3383302 w 4519987"/>
                  <a:gd name="connsiteY50" fmla="*/ 4210050 h 4496940"/>
                  <a:gd name="connsiteX51" fmla="*/ 3335677 w 4519987"/>
                  <a:gd name="connsiteY51" fmla="*/ 4238625 h 4496940"/>
                  <a:gd name="connsiteX52" fmla="*/ 3288052 w 4519987"/>
                  <a:gd name="connsiteY52" fmla="*/ 4248150 h 4496940"/>
                  <a:gd name="connsiteX53" fmla="*/ 3240427 w 4519987"/>
                  <a:gd name="connsiteY53" fmla="*/ 4267200 h 4496940"/>
                  <a:gd name="connsiteX54" fmla="*/ 3068977 w 4519987"/>
                  <a:gd name="connsiteY54" fmla="*/ 4286250 h 4496940"/>
                  <a:gd name="connsiteX55" fmla="*/ 2935627 w 4519987"/>
                  <a:gd name="connsiteY55" fmla="*/ 4333875 h 4496940"/>
                  <a:gd name="connsiteX56" fmla="*/ 2811802 w 4519987"/>
                  <a:gd name="connsiteY56" fmla="*/ 4371975 h 4496940"/>
                  <a:gd name="connsiteX57" fmla="*/ 2745127 w 4519987"/>
                  <a:gd name="connsiteY57" fmla="*/ 4410075 h 4496940"/>
                  <a:gd name="connsiteX58" fmla="*/ 2697502 w 4519987"/>
                  <a:gd name="connsiteY58" fmla="*/ 4429125 h 4496940"/>
                  <a:gd name="connsiteX59" fmla="*/ 2640352 w 4519987"/>
                  <a:gd name="connsiteY59" fmla="*/ 4457700 h 4496940"/>
                  <a:gd name="connsiteX60" fmla="*/ 2583202 w 4519987"/>
                  <a:gd name="connsiteY60" fmla="*/ 4467225 h 4496940"/>
                  <a:gd name="connsiteX61" fmla="*/ 2545102 w 4519987"/>
                  <a:gd name="connsiteY61" fmla="*/ 4486275 h 4496940"/>
                  <a:gd name="connsiteX62" fmla="*/ 2306977 w 4519987"/>
                  <a:gd name="connsiteY62" fmla="*/ 4476750 h 4496940"/>
                  <a:gd name="connsiteX63" fmla="*/ 2202202 w 4519987"/>
                  <a:gd name="connsiteY63" fmla="*/ 4457700 h 4496940"/>
                  <a:gd name="connsiteX64" fmla="*/ 2126002 w 4519987"/>
                  <a:gd name="connsiteY64" fmla="*/ 4429125 h 4496940"/>
                  <a:gd name="connsiteX65" fmla="*/ 1935502 w 4519987"/>
                  <a:gd name="connsiteY65" fmla="*/ 4400550 h 4496940"/>
                  <a:gd name="connsiteX66" fmla="*/ 1821202 w 4519987"/>
                  <a:gd name="connsiteY66" fmla="*/ 4371975 h 4496940"/>
                  <a:gd name="connsiteX67" fmla="*/ 1754527 w 4519987"/>
                  <a:gd name="connsiteY67" fmla="*/ 4352925 h 4496940"/>
                  <a:gd name="connsiteX68" fmla="*/ 1687852 w 4519987"/>
                  <a:gd name="connsiteY68" fmla="*/ 4343400 h 4496940"/>
                  <a:gd name="connsiteX69" fmla="*/ 1573552 w 4519987"/>
                  <a:gd name="connsiteY69" fmla="*/ 4305300 h 4496940"/>
                  <a:gd name="connsiteX70" fmla="*/ 1402102 w 4519987"/>
                  <a:gd name="connsiteY70" fmla="*/ 4276725 h 4496940"/>
                  <a:gd name="connsiteX71" fmla="*/ 1287802 w 4519987"/>
                  <a:gd name="connsiteY71" fmla="*/ 4229100 h 4496940"/>
                  <a:gd name="connsiteX72" fmla="*/ 1221127 w 4519987"/>
                  <a:gd name="connsiteY72" fmla="*/ 4200525 h 4496940"/>
                  <a:gd name="connsiteX73" fmla="*/ 1144927 w 4519987"/>
                  <a:gd name="connsiteY73" fmla="*/ 4171950 h 4496940"/>
                  <a:gd name="connsiteX74" fmla="*/ 1087777 w 4519987"/>
                  <a:gd name="connsiteY74" fmla="*/ 4143375 h 4496940"/>
                  <a:gd name="connsiteX75" fmla="*/ 1030627 w 4519987"/>
                  <a:gd name="connsiteY75" fmla="*/ 4124325 h 4496940"/>
                  <a:gd name="connsiteX76" fmla="*/ 925852 w 4519987"/>
                  <a:gd name="connsiteY76" fmla="*/ 4067175 h 4496940"/>
                  <a:gd name="connsiteX77" fmla="*/ 830602 w 4519987"/>
                  <a:gd name="connsiteY77" fmla="*/ 3981450 h 4496940"/>
                  <a:gd name="connsiteX78" fmla="*/ 763927 w 4519987"/>
                  <a:gd name="connsiteY78" fmla="*/ 3914775 h 4496940"/>
                  <a:gd name="connsiteX79" fmla="*/ 725827 w 4519987"/>
                  <a:gd name="connsiteY79" fmla="*/ 3876675 h 4496940"/>
                  <a:gd name="connsiteX80" fmla="*/ 697252 w 4519987"/>
                  <a:gd name="connsiteY80" fmla="*/ 3838575 h 4496940"/>
                  <a:gd name="connsiteX81" fmla="*/ 640102 w 4519987"/>
                  <a:gd name="connsiteY81" fmla="*/ 3781425 h 4496940"/>
                  <a:gd name="connsiteX82" fmla="*/ 611527 w 4519987"/>
                  <a:gd name="connsiteY82" fmla="*/ 3733800 h 4496940"/>
                  <a:gd name="connsiteX83" fmla="*/ 554377 w 4519987"/>
                  <a:gd name="connsiteY83" fmla="*/ 3657600 h 4496940"/>
                  <a:gd name="connsiteX84" fmla="*/ 525802 w 4519987"/>
                  <a:gd name="connsiteY84" fmla="*/ 3609975 h 4496940"/>
                  <a:gd name="connsiteX85" fmla="*/ 497227 w 4519987"/>
                  <a:gd name="connsiteY85" fmla="*/ 3552825 h 4496940"/>
                  <a:gd name="connsiteX86" fmla="*/ 440077 w 4519987"/>
                  <a:gd name="connsiteY86" fmla="*/ 3495675 h 4496940"/>
                  <a:gd name="connsiteX87" fmla="*/ 411502 w 4519987"/>
                  <a:gd name="connsiteY87" fmla="*/ 3448050 h 4496940"/>
                  <a:gd name="connsiteX88" fmla="*/ 278152 w 4519987"/>
                  <a:gd name="connsiteY88" fmla="*/ 3257550 h 4496940"/>
                  <a:gd name="connsiteX89" fmla="*/ 249577 w 4519987"/>
                  <a:gd name="connsiteY89" fmla="*/ 3200400 h 4496940"/>
                  <a:gd name="connsiteX90" fmla="*/ 240052 w 4519987"/>
                  <a:gd name="connsiteY90" fmla="*/ 3162300 h 4496940"/>
                  <a:gd name="connsiteX91" fmla="*/ 221002 w 4519987"/>
                  <a:gd name="connsiteY91" fmla="*/ 3105150 h 4496940"/>
                  <a:gd name="connsiteX92" fmla="*/ 173377 w 4519987"/>
                  <a:gd name="connsiteY92" fmla="*/ 3019425 h 4496940"/>
                  <a:gd name="connsiteX93" fmla="*/ 144802 w 4519987"/>
                  <a:gd name="connsiteY93" fmla="*/ 2924175 h 4496940"/>
                  <a:gd name="connsiteX94" fmla="*/ 68602 w 4519987"/>
                  <a:gd name="connsiteY94" fmla="*/ 2724150 h 4496940"/>
                  <a:gd name="connsiteX95" fmla="*/ 49552 w 4519987"/>
                  <a:gd name="connsiteY95" fmla="*/ 2638425 h 4496940"/>
                  <a:gd name="connsiteX96" fmla="*/ 40027 w 4519987"/>
                  <a:gd name="connsiteY96" fmla="*/ 2562225 h 4496940"/>
                  <a:gd name="connsiteX97" fmla="*/ 30502 w 4519987"/>
                  <a:gd name="connsiteY97" fmla="*/ 2514600 h 4496940"/>
                  <a:gd name="connsiteX98" fmla="*/ 11452 w 4519987"/>
                  <a:gd name="connsiteY98" fmla="*/ 2400300 h 4496940"/>
                  <a:gd name="connsiteX99" fmla="*/ 20977 w 4519987"/>
                  <a:gd name="connsiteY99" fmla="*/ 1905000 h 4496940"/>
                  <a:gd name="connsiteX100" fmla="*/ 30502 w 4519987"/>
                  <a:gd name="connsiteY100" fmla="*/ 1838325 h 4496940"/>
                  <a:gd name="connsiteX101" fmla="*/ 49552 w 4519987"/>
                  <a:gd name="connsiteY101" fmla="*/ 1781175 h 4496940"/>
                  <a:gd name="connsiteX102" fmla="*/ 59077 w 4519987"/>
                  <a:gd name="connsiteY102" fmla="*/ 1743075 h 4496940"/>
                  <a:gd name="connsiteX103" fmla="*/ 78127 w 4519987"/>
                  <a:gd name="connsiteY103" fmla="*/ 1685925 h 4496940"/>
                  <a:gd name="connsiteX104" fmla="*/ 87652 w 4519987"/>
                  <a:gd name="connsiteY104" fmla="*/ 1638300 h 4496940"/>
                  <a:gd name="connsiteX105" fmla="*/ 106702 w 4519987"/>
                  <a:gd name="connsiteY105" fmla="*/ 1590675 h 4496940"/>
                  <a:gd name="connsiteX106" fmla="*/ 135277 w 4519987"/>
                  <a:gd name="connsiteY106" fmla="*/ 1504950 h 4496940"/>
                  <a:gd name="connsiteX107" fmla="*/ 154327 w 4519987"/>
                  <a:gd name="connsiteY107" fmla="*/ 1419225 h 4496940"/>
                  <a:gd name="connsiteX108" fmla="*/ 230527 w 4519987"/>
                  <a:gd name="connsiteY108" fmla="*/ 1276350 h 4496940"/>
                  <a:gd name="connsiteX109" fmla="*/ 240052 w 4519987"/>
                  <a:gd name="connsiteY109" fmla="*/ 1247775 h 4496940"/>
                  <a:gd name="connsiteX110" fmla="*/ 268627 w 4519987"/>
                  <a:gd name="connsiteY110" fmla="*/ 1200150 h 4496940"/>
                  <a:gd name="connsiteX111" fmla="*/ 287677 w 4519987"/>
                  <a:gd name="connsiteY111" fmla="*/ 1152525 h 4496940"/>
                  <a:gd name="connsiteX112" fmla="*/ 316252 w 4519987"/>
                  <a:gd name="connsiteY112" fmla="*/ 1114425 h 4496940"/>
                  <a:gd name="connsiteX113" fmla="*/ 363877 w 4519987"/>
                  <a:gd name="connsiteY113" fmla="*/ 1038225 h 4496940"/>
                  <a:gd name="connsiteX114" fmla="*/ 382927 w 4519987"/>
                  <a:gd name="connsiteY114" fmla="*/ 1009650 h 4496940"/>
                  <a:gd name="connsiteX115" fmla="*/ 440077 w 4519987"/>
                  <a:gd name="connsiteY115" fmla="*/ 904875 h 4496940"/>
                  <a:gd name="connsiteX116" fmla="*/ 478177 w 4519987"/>
                  <a:gd name="connsiteY116" fmla="*/ 857250 h 4496940"/>
                  <a:gd name="connsiteX117" fmla="*/ 497227 w 4519987"/>
                  <a:gd name="connsiteY117" fmla="*/ 828675 h 4496940"/>
                  <a:gd name="connsiteX118" fmla="*/ 535327 w 4519987"/>
                  <a:gd name="connsiteY118" fmla="*/ 800100 h 4496940"/>
                  <a:gd name="connsiteX119" fmla="*/ 602002 w 4519987"/>
                  <a:gd name="connsiteY119" fmla="*/ 733425 h 4496940"/>
                  <a:gd name="connsiteX120" fmla="*/ 668677 w 4519987"/>
                  <a:gd name="connsiteY120" fmla="*/ 676275 h 4496940"/>
                  <a:gd name="connsiteX121" fmla="*/ 697252 w 4519987"/>
                  <a:gd name="connsiteY121" fmla="*/ 657225 h 4496940"/>
                  <a:gd name="connsiteX122" fmla="*/ 840127 w 4519987"/>
                  <a:gd name="connsiteY122" fmla="*/ 533400 h 4496940"/>
                  <a:gd name="connsiteX123" fmla="*/ 887752 w 4519987"/>
                  <a:gd name="connsiteY123" fmla="*/ 504825 h 4496940"/>
                  <a:gd name="connsiteX124" fmla="*/ 1167152 w 4519987"/>
                  <a:gd name="connsiteY124" fmla="*/ 311150 h 4496940"/>
                  <a:gd name="connsiteX125" fmla="*/ 1268752 w 4519987"/>
                  <a:gd name="connsiteY125" fmla="*/ 285750 h 4496940"/>
                  <a:gd name="connsiteX126" fmla="*/ 1411627 w 4519987"/>
                  <a:gd name="connsiteY126" fmla="*/ 190500 h 4496940"/>
                  <a:gd name="connsiteX127" fmla="*/ 1449727 w 4519987"/>
                  <a:gd name="connsiteY127" fmla="*/ 161925 h 4496940"/>
                  <a:gd name="connsiteX128" fmla="*/ 1525927 w 4519987"/>
                  <a:gd name="connsiteY128" fmla="*/ 152400 h 4496940"/>
                  <a:gd name="connsiteX129" fmla="*/ 1583077 w 4519987"/>
                  <a:gd name="connsiteY129" fmla="*/ 142875 h 4496940"/>
                  <a:gd name="connsiteX130" fmla="*/ 1716427 w 4519987"/>
                  <a:gd name="connsiteY130" fmla="*/ 123825 h 4496940"/>
                  <a:gd name="connsiteX131" fmla="*/ 1811677 w 4519987"/>
                  <a:gd name="connsiteY131" fmla="*/ 114300 h 4496940"/>
                  <a:gd name="connsiteX132" fmla="*/ 1859302 w 4519987"/>
                  <a:gd name="connsiteY132" fmla="*/ 104775 h 4496940"/>
                  <a:gd name="connsiteX133" fmla="*/ 1916452 w 4519987"/>
                  <a:gd name="connsiteY133" fmla="*/ 95250 h 4496940"/>
                  <a:gd name="connsiteX134" fmla="*/ 2030752 w 4519987"/>
                  <a:gd name="connsiteY134" fmla="*/ 66675 h 4496940"/>
                  <a:gd name="connsiteX135" fmla="*/ 2097427 w 4519987"/>
                  <a:gd name="connsiteY135" fmla="*/ 47625 h 4496940"/>
                  <a:gd name="connsiteX136" fmla="*/ 2164102 w 4519987"/>
                  <a:gd name="connsiteY136" fmla="*/ 38100 h 4496940"/>
                  <a:gd name="connsiteX137" fmla="*/ 2392702 w 4519987"/>
                  <a:gd name="connsiteY13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783352 w 4519987"/>
                  <a:gd name="connsiteY40" fmla="*/ 3810000 h 4496940"/>
                  <a:gd name="connsiteX41" fmla="*/ 3745252 w 4519987"/>
                  <a:gd name="connsiteY41" fmla="*/ 3819525 h 4496940"/>
                  <a:gd name="connsiteX42" fmla="*/ 3678577 w 4519987"/>
                  <a:gd name="connsiteY42" fmla="*/ 3848100 h 4496940"/>
                  <a:gd name="connsiteX43" fmla="*/ 3659527 w 4519987"/>
                  <a:gd name="connsiteY43" fmla="*/ 3971925 h 4496940"/>
                  <a:gd name="connsiteX44" fmla="*/ 3630952 w 4519987"/>
                  <a:gd name="connsiteY44" fmla="*/ 4010025 h 4496940"/>
                  <a:gd name="connsiteX45" fmla="*/ 3621427 w 4519987"/>
                  <a:gd name="connsiteY45" fmla="*/ 4038600 h 4496940"/>
                  <a:gd name="connsiteX46" fmla="*/ 3554752 w 4519987"/>
                  <a:gd name="connsiteY46" fmla="*/ 4095750 h 4496940"/>
                  <a:gd name="connsiteX47" fmla="*/ 3516652 w 4519987"/>
                  <a:gd name="connsiteY47" fmla="*/ 4114800 h 4496940"/>
                  <a:gd name="connsiteX48" fmla="*/ 3497602 w 4519987"/>
                  <a:gd name="connsiteY48" fmla="*/ 4143375 h 4496940"/>
                  <a:gd name="connsiteX49" fmla="*/ 3383302 w 4519987"/>
                  <a:gd name="connsiteY49" fmla="*/ 4210050 h 4496940"/>
                  <a:gd name="connsiteX50" fmla="*/ 3335677 w 4519987"/>
                  <a:gd name="connsiteY50" fmla="*/ 4238625 h 4496940"/>
                  <a:gd name="connsiteX51" fmla="*/ 3288052 w 4519987"/>
                  <a:gd name="connsiteY51" fmla="*/ 4248150 h 4496940"/>
                  <a:gd name="connsiteX52" fmla="*/ 3240427 w 4519987"/>
                  <a:gd name="connsiteY52" fmla="*/ 4267200 h 4496940"/>
                  <a:gd name="connsiteX53" fmla="*/ 3068977 w 4519987"/>
                  <a:gd name="connsiteY53" fmla="*/ 4286250 h 4496940"/>
                  <a:gd name="connsiteX54" fmla="*/ 2935627 w 4519987"/>
                  <a:gd name="connsiteY54" fmla="*/ 4333875 h 4496940"/>
                  <a:gd name="connsiteX55" fmla="*/ 2811802 w 4519987"/>
                  <a:gd name="connsiteY55" fmla="*/ 4371975 h 4496940"/>
                  <a:gd name="connsiteX56" fmla="*/ 2745127 w 4519987"/>
                  <a:gd name="connsiteY56" fmla="*/ 4410075 h 4496940"/>
                  <a:gd name="connsiteX57" fmla="*/ 2697502 w 4519987"/>
                  <a:gd name="connsiteY57" fmla="*/ 4429125 h 4496940"/>
                  <a:gd name="connsiteX58" fmla="*/ 2640352 w 4519987"/>
                  <a:gd name="connsiteY58" fmla="*/ 4457700 h 4496940"/>
                  <a:gd name="connsiteX59" fmla="*/ 2583202 w 4519987"/>
                  <a:gd name="connsiteY59" fmla="*/ 4467225 h 4496940"/>
                  <a:gd name="connsiteX60" fmla="*/ 2545102 w 4519987"/>
                  <a:gd name="connsiteY60" fmla="*/ 4486275 h 4496940"/>
                  <a:gd name="connsiteX61" fmla="*/ 2306977 w 4519987"/>
                  <a:gd name="connsiteY61" fmla="*/ 4476750 h 4496940"/>
                  <a:gd name="connsiteX62" fmla="*/ 2202202 w 4519987"/>
                  <a:gd name="connsiteY62" fmla="*/ 4457700 h 4496940"/>
                  <a:gd name="connsiteX63" fmla="*/ 2126002 w 4519987"/>
                  <a:gd name="connsiteY63" fmla="*/ 4429125 h 4496940"/>
                  <a:gd name="connsiteX64" fmla="*/ 1935502 w 4519987"/>
                  <a:gd name="connsiteY64" fmla="*/ 4400550 h 4496940"/>
                  <a:gd name="connsiteX65" fmla="*/ 1821202 w 4519987"/>
                  <a:gd name="connsiteY65" fmla="*/ 4371975 h 4496940"/>
                  <a:gd name="connsiteX66" fmla="*/ 1754527 w 4519987"/>
                  <a:gd name="connsiteY66" fmla="*/ 4352925 h 4496940"/>
                  <a:gd name="connsiteX67" fmla="*/ 1687852 w 4519987"/>
                  <a:gd name="connsiteY67" fmla="*/ 4343400 h 4496940"/>
                  <a:gd name="connsiteX68" fmla="*/ 1573552 w 4519987"/>
                  <a:gd name="connsiteY68" fmla="*/ 4305300 h 4496940"/>
                  <a:gd name="connsiteX69" fmla="*/ 1402102 w 4519987"/>
                  <a:gd name="connsiteY69" fmla="*/ 4276725 h 4496940"/>
                  <a:gd name="connsiteX70" fmla="*/ 1287802 w 4519987"/>
                  <a:gd name="connsiteY70" fmla="*/ 4229100 h 4496940"/>
                  <a:gd name="connsiteX71" fmla="*/ 1221127 w 4519987"/>
                  <a:gd name="connsiteY71" fmla="*/ 4200525 h 4496940"/>
                  <a:gd name="connsiteX72" fmla="*/ 1144927 w 4519987"/>
                  <a:gd name="connsiteY72" fmla="*/ 4171950 h 4496940"/>
                  <a:gd name="connsiteX73" fmla="*/ 1087777 w 4519987"/>
                  <a:gd name="connsiteY73" fmla="*/ 4143375 h 4496940"/>
                  <a:gd name="connsiteX74" fmla="*/ 1030627 w 4519987"/>
                  <a:gd name="connsiteY74" fmla="*/ 4124325 h 4496940"/>
                  <a:gd name="connsiteX75" fmla="*/ 925852 w 4519987"/>
                  <a:gd name="connsiteY75" fmla="*/ 4067175 h 4496940"/>
                  <a:gd name="connsiteX76" fmla="*/ 830602 w 4519987"/>
                  <a:gd name="connsiteY76" fmla="*/ 3981450 h 4496940"/>
                  <a:gd name="connsiteX77" fmla="*/ 763927 w 4519987"/>
                  <a:gd name="connsiteY77" fmla="*/ 3914775 h 4496940"/>
                  <a:gd name="connsiteX78" fmla="*/ 725827 w 4519987"/>
                  <a:gd name="connsiteY78" fmla="*/ 3876675 h 4496940"/>
                  <a:gd name="connsiteX79" fmla="*/ 697252 w 4519987"/>
                  <a:gd name="connsiteY79" fmla="*/ 3838575 h 4496940"/>
                  <a:gd name="connsiteX80" fmla="*/ 640102 w 4519987"/>
                  <a:gd name="connsiteY80" fmla="*/ 3781425 h 4496940"/>
                  <a:gd name="connsiteX81" fmla="*/ 611527 w 4519987"/>
                  <a:gd name="connsiteY81" fmla="*/ 3733800 h 4496940"/>
                  <a:gd name="connsiteX82" fmla="*/ 554377 w 4519987"/>
                  <a:gd name="connsiteY82" fmla="*/ 3657600 h 4496940"/>
                  <a:gd name="connsiteX83" fmla="*/ 525802 w 4519987"/>
                  <a:gd name="connsiteY83" fmla="*/ 3609975 h 4496940"/>
                  <a:gd name="connsiteX84" fmla="*/ 497227 w 4519987"/>
                  <a:gd name="connsiteY84" fmla="*/ 3552825 h 4496940"/>
                  <a:gd name="connsiteX85" fmla="*/ 440077 w 4519987"/>
                  <a:gd name="connsiteY85" fmla="*/ 3495675 h 4496940"/>
                  <a:gd name="connsiteX86" fmla="*/ 411502 w 4519987"/>
                  <a:gd name="connsiteY86" fmla="*/ 3448050 h 4496940"/>
                  <a:gd name="connsiteX87" fmla="*/ 278152 w 4519987"/>
                  <a:gd name="connsiteY87" fmla="*/ 3257550 h 4496940"/>
                  <a:gd name="connsiteX88" fmla="*/ 249577 w 4519987"/>
                  <a:gd name="connsiteY88" fmla="*/ 3200400 h 4496940"/>
                  <a:gd name="connsiteX89" fmla="*/ 240052 w 4519987"/>
                  <a:gd name="connsiteY89" fmla="*/ 3162300 h 4496940"/>
                  <a:gd name="connsiteX90" fmla="*/ 221002 w 4519987"/>
                  <a:gd name="connsiteY90" fmla="*/ 3105150 h 4496940"/>
                  <a:gd name="connsiteX91" fmla="*/ 173377 w 4519987"/>
                  <a:gd name="connsiteY91" fmla="*/ 3019425 h 4496940"/>
                  <a:gd name="connsiteX92" fmla="*/ 144802 w 4519987"/>
                  <a:gd name="connsiteY92" fmla="*/ 2924175 h 4496940"/>
                  <a:gd name="connsiteX93" fmla="*/ 68602 w 4519987"/>
                  <a:gd name="connsiteY93" fmla="*/ 2724150 h 4496940"/>
                  <a:gd name="connsiteX94" fmla="*/ 49552 w 4519987"/>
                  <a:gd name="connsiteY94" fmla="*/ 2638425 h 4496940"/>
                  <a:gd name="connsiteX95" fmla="*/ 40027 w 4519987"/>
                  <a:gd name="connsiteY95" fmla="*/ 2562225 h 4496940"/>
                  <a:gd name="connsiteX96" fmla="*/ 30502 w 4519987"/>
                  <a:gd name="connsiteY96" fmla="*/ 2514600 h 4496940"/>
                  <a:gd name="connsiteX97" fmla="*/ 11452 w 4519987"/>
                  <a:gd name="connsiteY97" fmla="*/ 2400300 h 4496940"/>
                  <a:gd name="connsiteX98" fmla="*/ 20977 w 4519987"/>
                  <a:gd name="connsiteY98" fmla="*/ 1905000 h 4496940"/>
                  <a:gd name="connsiteX99" fmla="*/ 30502 w 4519987"/>
                  <a:gd name="connsiteY99" fmla="*/ 1838325 h 4496940"/>
                  <a:gd name="connsiteX100" fmla="*/ 49552 w 4519987"/>
                  <a:gd name="connsiteY100" fmla="*/ 1781175 h 4496940"/>
                  <a:gd name="connsiteX101" fmla="*/ 59077 w 4519987"/>
                  <a:gd name="connsiteY101" fmla="*/ 1743075 h 4496940"/>
                  <a:gd name="connsiteX102" fmla="*/ 78127 w 4519987"/>
                  <a:gd name="connsiteY102" fmla="*/ 1685925 h 4496940"/>
                  <a:gd name="connsiteX103" fmla="*/ 87652 w 4519987"/>
                  <a:gd name="connsiteY103" fmla="*/ 1638300 h 4496940"/>
                  <a:gd name="connsiteX104" fmla="*/ 106702 w 4519987"/>
                  <a:gd name="connsiteY104" fmla="*/ 1590675 h 4496940"/>
                  <a:gd name="connsiteX105" fmla="*/ 135277 w 4519987"/>
                  <a:gd name="connsiteY105" fmla="*/ 1504950 h 4496940"/>
                  <a:gd name="connsiteX106" fmla="*/ 154327 w 4519987"/>
                  <a:gd name="connsiteY106" fmla="*/ 1419225 h 4496940"/>
                  <a:gd name="connsiteX107" fmla="*/ 230527 w 4519987"/>
                  <a:gd name="connsiteY107" fmla="*/ 1276350 h 4496940"/>
                  <a:gd name="connsiteX108" fmla="*/ 240052 w 4519987"/>
                  <a:gd name="connsiteY108" fmla="*/ 1247775 h 4496940"/>
                  <a:gd name="connsiteX109" fmla="*/ 268627 w 4519987"/>
                  <a:gd name="connsiteY109" fmla="*/ 1200150 h 4496940"/>
                  <a:gd name="connsiteX110" fmla="*/ 287677 w 4519987"/>
                  <a:gd name="connsiteY110" fmla="*/ 1152525 h 4496940"/>
                  <a:gd name="connsiteX111" fmla="*/ 316252 w 4519987"/>
                  <a:gd name="connsiteY111" fmla="*/ 1114425 h 4496940"/>
                  <a:gd name="connsiteX112" fmla="*/ 363877 w 4519987"/>
                  <a:gd name="connsiteY112" fmla="*/ 1038225 h 4496940"/>
                  <a:gd name="connsiteX113" fmla="*/ 382927 w 4519987"/>
                  <a:gd name="connsiteY113" fmla="*/ 1009650 h 4496940"/>
                  <a:gd name="connsiteX114" fmla="*/ 440077 w 4519987"/>
                  <a:gd name="connsiteY114" fmla="*/ 904875 h 4496940"/>
                  <a:gd name="connsiteX115" fmla="*/ 478177 w 4519987"/>
                  <a:gd name="connsiteY115" fmla="*/ 857250 h 4496940"/>
                  <a:gd name="connsiteX116" fmla="*/ 497227 w 4519987"/>
                  <a:gd name="connsiteY116" fmla="*/ 828675 h 4496940"/>
                  <a:gd name="connsiteX117" fmla="*/ 535327 w 4519987"/>
                  <a:gd name="connsiteY117" fmla="*/ 800100 h 4496940"/>
                  <a:gd name="connsiteX118" fmla="*/ 602002 w 4519987"/>
                  <a:gd name="connsiteY118" fmla="*/ 733425 h 4496940"/>
                  <a:gd name="connsiteX119" fmla="*/ 668677 w 4519987"/>
                  <a:gd name="connsiteY119" fmla="*/ 676275 h 4496940"/>
                  <a:gd name="connsiteX120" fmla="*/ 697252 w 4519987"/>
                  <a:gd name="connsiteY120" fmla="*/ 657225 h 4496940"/>
                  <a:gd name="connsiteX121" fmla="*/ 840127 w 4519987"/>
                  <a:gd name="connsiteY121" fmla="*/ 533400 h 4496940"/>
                  <a:gd name="connsiteX122" fmla="*/ 887752 w 4519987"/>
                  <a:gd name="connsiteY122" fmla="*/ 504825 h 4496940"/>
                  <a:gd name="connsiteX123" fmla="*/ 1167152 w 4519987"/>
                  <a:gd name="connsiteY123" fmla="*/ 311150 h 4496940"/>
                  <a:gd name="connsiteX124" fmla="*/ 1268752 w 4519987"/>
                  <a:gd name="connsiteY124" fmla="*/ 285750 h 4496940"/>
                  <a:gd name="connsiteX125" fmla="*/ 1411627 w 4519987"/>
                  <a:gd name="connsiteY125" fmla="*/ 190500 h 4496940"/>
                  <a:gd name="connsiteX126" fmla="*/ 1449727 w 4519987"/>
                  <a:gd name="connsiteY126" fmla="*/ 161925 h 4496940"/>
                  <a:gd name="connsiteX127" fmla="*/ 1525927 w 4519987"/>
                  <a:gd name="connsiteY127" fmla="*/ 152400 h 4496940"/>
                  <a:gd name="connsiteX128" fmla="*/ 1583077 w 4519987"/>
                  <a:gd name="connsiteY128" fmla="*/ 142875 h 4496940"/>
                  <a:gd name="connsiteX129" fmla="*/ 1716427 w 4519987"/>
                  <a:gd name="connsiteY129" fmla="*/ 123825 h 4496940"/>
                  <a:gd name="connsiteX130" fmla="*/ 1811677 w 4519987"/>
                  <a:gd name="connsiteY130" fmla="*/ 114300 h 4496940"/>
                  <a:gd name="connsiteX131" fmla="*/ 1859302 w 4519987"/>
                  <a:gd name="connsiteY131" fmla="*/ 104775 h 4496940"/>
                  <a:gd name="connsiteX132" fmla="*/ 1916452 w 4519987"/>
                  <a:gd name="connsiteY132" fmla="*/ 95250 h 4496940"/>
                  <a:gd name="connsiteX133" fmla="*/ 2030752 w 4519987"/>
                  <a:gd name="connsiteY133" fmla="*/ 66675 h 4496940"/>
                  <a:gd name="connsiteX134" fmla="*/ 2097427 w 4519987"/>
                  <a:gd name="connsiteY134" fmla="*/ 47625 h 4496940"/>
                  <a:gd name="connsiteX135" fmla="*/ 2164102 w 4519987"/>
                  <a:gd name="connsiteY135" fmla="*/ 38100 h 4496940"/>
                  <a:gd name="connsiteX136" fmla="*/ 2392702 w 4519987"/>
                  <a:gd name="connsiteY13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783352 w 4519987"/>
                  <a:gd name="connsiteY40" fmla="*/ 3810000 h 4496940"/>
                  <a:gd name="connsiteX41" fmla="*/ 3678577 w 4519987"/>
                  <a:gd name="connsiteY41" fmla="*/ 3848100 h 4496940"/>
                  <a:gd name="connsiteX42" fmla="*/ 3659527 w 4519987"/>
                  <a:gd name="connsiteY42" fmla="*/ 3971925 h 4496940"/>
                  <a:gd name="connsiteX43" fmla="*/ 3630952 w 4519987"/>
                  <a:gd name="connsiteY43" fmla="*/ 4010025 h 4496940"/>
                  <a:gd name="connsiteX44" fmla="*/ 3621427 w 4519987"/>
                  <a:gd name="connsiteY44" fmla="*/ 4038600 h 4496940"/>
                  <a:gd name="connsiteX45" fmla="*/ 3554752 w 4519987"/>
                  <a:gd name="connsiteY45" fmla="*/ 4095750 h 4496940"/>
                  <a:gd name="connsiteX46" fmla="*/ 3516652 w 4519987"/>
                  <a:gd name="connsiteY46" fmla="*/ 4114800 h 4496940"/>
                  <a:gd name="connsiteX47" fmla="*/ 3497602 w 4519987"/>
                  <a:gd name="connsiteY47" fmla="*/ 4143375 h 4496940"/>
                  <a:gd name="connsiteX48" fmla="*/ 3383302 w 4519987"/>
                  <a:gd name="connsiteY48" fmla="*/ 4210050 h 4496940"/>
                  <a:gd name="connsiteX49" fmla="*/ 3335677 w 4519987"/>
                  <a:gd name="connsiteY49" fmla="*/ 4238625 h 4496940"/>
                  <a:gd name="connsiteX50" fmla="*/ 3288052 w 4519987"/>
                  <a:gd name="connsiteY50" fmla="*/ 4248150 h 4496940"/>
                  <a:gd name="connsiteX51" fmla="*/ 3240427 w 4519987"/>
                  <a:gd name="connsiteY51" fmla="*/ 4267200 h 4496940"/>
                  <a:gd name="connsiteX52" fmla="*/ 3068977 w 4519987"/>
                  <a:gd name="connsiteY52" fmla="*/ 4286250 h 4496940"/>
                  <a:gd name="connsiteX53" fmla="*/ 2935627 w 4519987"/>
                  <a:gd name="connsiteY53" fmla="*/ 4333875 h 4496940"/>
                  <a:gd name="connsiteX54" fmla="*/ 2811802 w 4519987"/>
                  <a:gd name="connsiteY54" fmla="*/ 4371975 h 4496940"/>
                  <a:gd name="connsiteX55" fmla="*/ 2745127 w 4519987"/>
                  <a:gd name="connsiteY55" fmla="*/ 4410075 h 4496940"/>
                  <a:gd name="connsiteX56" fmla="*/ 2697502 w 4519987"/>
                  <a:gd name="connsiteY56" fmla="*/ 4429125 h 4496940"/>
                  <a:gd name="connsiteX57" fmla="*/ 2640352 w 4519987"/>
                  <a:gd name="connsiteY57" fmla="*/ 4457700 h 4496940"/>
                  <a:gd name="connsiteX58" fmla="*/ 2583202 w 4519987"/>
                  <a:gd name="connsiteY58" fmla="*/ 4467225 h 4496940"/>
                  <a:gd name="connsiteX59" fmla="*/ 2545102 w 4519987"/>
                  <a:gd name="connsiteY59" fmla="*/ 4486275 h 4496940"/>
                  <a:gd name="connsiteX60" fmla="*/ 2306977 w 4519987"/>
                  <a:gd name="connsiteY60" fmla="*/ 4476750 h 4496940"/>
                  <a:gd name="connsiteX61" fmla="*/ 2202202 w 4519987"/>
                  <a:gd name="connsiteY61" fmla="*/ 4457700 h 4496940"/>
                  <a:gd name="connsiteX62" fmla="*/ 2126002 w 4519987"/>
                  <a:gd name="connsiteY62" fmla="*/ 4429125 h 4496940"/>
                  <a:gd name="connsiteX63" fmla="*/ 1935502 w 4519987"/>
                  <a:gd name="connsiteY63" fmla="*/ 4400550 h 4496940"/>
                  <a:gd name="connsiteX64" fmla="*/ 1821202 w 4519987"/>
                  <a:gd name="connsiteY64" fmla="*/ 4371975 h 4496940"/>
                  <a:gd name="connsiteX65" fmla="*/ 1754527 w 4519987"/>
                  <a:gd name="connsiteY65" fmla="*/ 4352925 h 4496940"/>
                  <a:gd name="connsiteX66" fmla="*/ 1687852 w 4519987"/>
                  <a:gd name="connsiteY66" fmla="*/ 4343400 h 4496940"/>
                  <a:gd name="connsiteX67" fmla="*/ 1573552 w 4519987"/>
                  <a:gd name="connsiteY67" fmla="*/ 4305300 h 4496940"/>
                  <a:gd name="connsiteX68" fmla="*/ 1402102 w 4519987"/>
                  <a:gd name="connsiteY68" fmla="*/ 4276725 h 4496940"/>
                  <a:gd name="connsiteX69" fmla="*/ 1287802 w 4519987"/>
                  <a:gd name="connsiteY69" fmla="*/ 4229100 h 4496940"/>
                  <a:gd name="connsiteX70" fmla="*/ 1221127 w 4519987"/>
                  <a:gd name="connsiteY70" fmla="*/ 4200525 h 4496940"/>
                  <a:gd name="connsiteX71" fmla="*/ 1144927 w 4519987"/>
                  <a:gd name="connsiteY71" fmla="*/ 4171950 h 4496940"/>
                  <a:gd name="connsiteX72" fmla="*/ 1087777 w 4519987"/>
                  <a:gd name="connsiteY72" fmla="*/ 4143375 h 4496940"/>
                  <a:gd name="connsiteX73" fmla="*/ 1030627 w 4519987"/>
                  <a:gd name="connsiteY73" fmla="*/ 4124325 h 4496940"/>
                  <a:gd name="connsiteX74" fmla="*/ 925852 w 4519987"/>
                  <a:gd name="connsiteY74" fmla="*/ 4067175 h 4496940"/>
                  <a:gd name="connsiteX75" fmla="*/ 830602 w 4519987"/>
                  <a:gd name="connsiteY75" fmla="*/ 3981450 h 4496940"/>
                  <a:gd name="connsiteX76" fmla="*/ 763927 w 4519987"/>
                  <a:gd name="connsiteY76" fmla="*/ 3914775 h 4496940"/>
                  <a:gd name="connsiteX77" fmla="*/ 725827 w 4519987"/>
                  <a:gd name="connsiteY77" fmla="*/ 3876675 h 4496940"/>
                  <a:gd name="connsiteX78" fmla="*/ 697252 w 4519987"/>
                  <a:gd name="connsiteY78" fmla="*/ 3838575 h 4496940"/>
                  <a:gd name="connsiteX79" fmla="*/ 640102 w 4519987"/>
                  <a:gd name="connsiteY79" fmla="*/ 3781425 h 4496940"/>
                  <a:gd name="connsiteX80" fmla="*/ 611527 w 4519987"/>
                  <a:gd name="connsiteY80" fmla="*/ 3733800 h 4496940"/>
                  <a:gd name="connsiteX81" fmla="*/ 554377 w 4519987"/>
                  <a:gd name="connsiteY81" fmla="*/ 3657600 h 4496940"/>
                  <a:gd name="connsiteX82" fmla="*/ 525802 w 4519987"/>
                  <a:gd name="connsiteY82" fmla="*/ 3609975 h 4496940"/>
                  <a:gd name="connsiteX83" fmla="*/ 497227 w 4519987"/>
                  <a:gd name="connsiteY83" fmla="*/ 3552825 h 4496940"/>
                  <a:gd name="connsiteX84" fmla="*/ 440077 w 4519987"/>
                  <a:gd name="connsiteY84" fmla="*/ 3495675 h 4496940"/>
                  <a:gd name="connsiteX85" fmla="*/ 411502 w 4519987"/>
                  <a:gd name="connsiteY85" fmla="*/ 3448050 h 4496940"/>
                  <a:gd name="connsiteX86" fmla="*/ 278152 w 4519987"/>
                  <a:gd name="connsiteY86" fmla="*/ 3257550 h 4496940"/>
                  <a:gd name="connsiteX87" fmla="*/ 249577 w 4519987"/>
                  <a:gd name="connsiteY87" fmla="*/ 3200400 h 4496940"/>
                  <a:gd name="connsiteX88" fmla="*/ 240052 w 4519987"/>
                  <a:gd name="connsiteY88" fmla="*/ 3162300 h 4496940"/>
                  <a:gd name="connsiteX89" fmla="*/ 221002 w 4519987"/>
                  <a:gd name="connsiteY89" fmla="*/ 3105150 h 4496940"/>
                  <a:gd name="connsiteX90" fmla="*/ 173377 w 4519987"/>
                  <a:gd name="connsiteY90" fmla="*/ 3019425 h 4496940"/>
                  <a:gd name="connsiteX91" fmla="*/ 144802 w 4519987"/>
                  <a:gd name="connsiteY91" fmla="*/ 2924175 h 4496940"/>
                  <a:gd name="connsiteX92" fmla="*/ 68602 w 4519987"/>
                  <a:gd name="connsiteY92" fmla="*/ 2724150 h 4496940"/>
                  <a:gd name="connsiteX93" fmla="*/ 49552 w 4519987"/>
                  <a:gd name="connsiteY93" fmla="*/ 2638425 h 4496940"/>
                  <a:gd name="connsiteX94" fmla="*/ 40027 w 4519987"/>
                  <a:gd name="connsiteY94" fmla="*/ 2562225 h 4496940"/>
                  <a:gd name="connsiteX95" fmla="*/ 30502 w 4519987"/>
                  <a:gd name="connsiteY95" fmla="*/ 2514600 h 4496940"/>
                  <a:gd name="connsiteX96" fmla="*/ 11452 w 4519987"/>
                  <a:gd name="connsiteY96" fmla="*/ 2400300 h 4496940"/>
                  <a:gd name="connsiteX97" fmla="*/ 20977 w 4519987"/>
                  <a:gd name="connsiteY97" fmla="*/ 1905000 h 4496940"/>
                  <a:gd name="connsiteX98" fmla="*/ 30502 w 4519987"/>
                  <a:gd name="connsiteY98" fmla="*/ 1838325 h 4496940"/>
                  <a:gd name="connsiteX99" fmla="*/ 49552 w 4519987"/>
                  <a:gd name="connsiteY99" fmla="*/ 1781175 h 4496940"/>
                  <a:gd name="connsiteX100" fmla="*/ 59077 w 4519987"/>
                  <a:gd name="connsiteY100" fmla="*/ 1743075 h 4496940"/>
                  <a:gd name="connsiteX101" fmla="*/ 78127 w 4519987"/>
                  <a:gd name="connsiteY101" fmla="*/ 1685925 h 4496940"/>
                  <a:gd name="connsiteX102" fmla="*/ 87652 w 4519987"/>
                  <a:gd name="connsiteY102" fmla="*/ 1638300 h 4496940"/>
                  <a:gd name="connsiteX103" fmla="*/ 106702 w 4519987"/>
                  <a:gd name="connsiteY103" fmla="*/ 1590675 h 4496940"/>
                  <a:gd name="connsiteX104" fmla="*/ 135277 w 4519987"/>
                  <a:gd name="connsiteY104" fmla="*/ 1504950 h 4496940"/>
                  <a:gd name="connsiteX105" fmla="*/ 154327 w 4519987"/>
                  <a:gd name="connsiteY105" fmla="*/ 1419225 h 4496940"/>
                  <a:gd name="connsiteX106" fmla="*/ 230527 w 4519987"/>
                  <a:gd name="connsiteY106" fmla="*/ 1276350 h 4496940"/>
                  <a:gd name="connsiteX107" fmla="*/ 240052 w 4519987"/>
                  <a:gd name="connsiteY107" fmla="*/ 1247775 h 4496940"/>
                  <a:gd name="connsiteX108" fmla="*/ 268627 w 4519987"/>
                  <a:gd name="connsiteY108" fmla="*/ 1200150 h 4496940"/>
                  <a:gd name="connsiteX109" fmla="*/ 287677 w 4519987"/>
                  <a:gd name="connsiteY109" fmla="*/ 1152525 h 4496940"/>
                  <a:gd name="connsiteX110" fmla="*/ 316252 w 4519987"/>
                  <a:gd name="connsiteY110" fmla="*/ 1114425 h 4496940"/>
                  <a:gd name="connsiteX111" fmla="*/ 363877 w 4519987"/>
                  <a:gd name="connsiteY111" fmla="*/ 1038225 h 4496940"/>
                  <a:gd name="connsiteX112" fmla="*/ 382927 w 4519987"/>
                  <a:gd name="connsiteY112" fmla="*/ 1009650 h 4496940"/>
                  <a:gd name="connsiteX113" fmla="*/ 440077 w 4519987"/>
                  <a:gd name="connsiteY113" fmla="*/ 904875 h 4496940"/>
                  <a:gd name="connsiteX114" fmla="*/ 478177 w 4519987"/>
                  <a:gd name="connsiteY114" fmla="*/ 857250 h 4496940"/>
                  <a:gd name="connsiteX115" fmla="*/ 497227 w 4519987"/>
                  <a:gd name="connsiteY115" fmla="*/ 828675 h 4496940"/>
                  <a:gd name="connsiteX116" fmla="*/ 535327 w 4519987"/>
                  <a:gd name="connsiteY116" fmla="*/ 800100 h 4496940"/>
                  <a:gd name="connsiteX117" fmla="*/ 602002 w 4519987"/>
                  <a:gd name="connsiteY117" fmla="*/ 733425 h 4496940"/>
                  <a:gd name="connsiteX118" fmla="*/ 668677 w 4519987"/>
                  <a:gd name="connsiteY118" fmla="*/ 676275 h 4496940"/>
                  <a:gd name="connsiteX119" fmla="*/ 697252 w 4519987"/>
                  <a:gd name="connsiteY119" fmla="*/ 657225 h 4496940"/>
                  <a:gd name="connsiteX120" fmla="*/ 840127 w 4519987"/>
                  <a:gd name="connsiteY120" fmla="*/ 533400 h 4496940"/>
                  <a:gd name="connsiteX121" fmla="*/ 887752 w 4519987"/>
                  <a:gd name="connsiteY121" fmla="*/ 504825 h 4496940"/>
                  <a:gd name="connsiteX122" fmla="*/ 1167152 w 4519987"/>
                  <a:gd name="connsiteY122" fmla="*/ 311150 h 4496940"/>
                  <a:gd name="connsiteX123" fmla="*/ 1268752 w 4519987"/>
                  <a:gd name="connsiteY123" fmla="*/ 285750 h 4496940"/>
                  <a:gd name="connsiteX124" fmla="*/ 1411627 w 4519987"/>
                  <a:gd name="connsiteY124" fmla="*/ 190500 h 4496940"/>
                  <a:gd name="connsiteX125" fmla="*/ 1449727 w 4519987"/>
                  <a:gd name="connsiteY125" fmla="*/ 161925 h 4496940"/>
                  <a:gd name="connsiteX126" fmla="*/ 1525927 w 4519987"/>
                  <a:gd name="connsiteY126" fmla="*/ 152400 h 4496940"/>
                  <a:gd name="connsiteX127" fmla="*/ 1583077 w 4519987"/>
                  <a:gd name="connsiteY127" fmla="*/ 142875 h 4496940"/>
                  <a:gd name="connsiteX128" fmla="*/ 1716427 w 4519987"/>
                  <a:gd name="connsiteY128" fmla="*/ 123825 h 4496940"/>
                  <a:gd name="connsiteX129" fmla="*/ 1811677 w 4519987"/>
                  <a:gd name="connsiteY129" fmla="*/ 114300 h 4496940"/>
                  <a:gd name="connsiteX130" fmla="*/ 1859302 w 4519987"/>
                  <a:gd name="connsiteY130" fmla="*/ 104775 h 4496940"/>
                  <a:gd name="connsiteX131" fmla="*/ 1916452 w 4519987"/>
                  <a:gd name="connsiteY131" fmla="*/ 95250 h 4496940"/>
                  <a:gd name="connsiteX132" fmla="*/ 2030752 w 4519987"/>
                  <a:gd name="connsiteY132" fmla="*/ 66675 h 4496940"/>
                  <a:gd name="connsiteX133" fmla="*/ 2097427 w 4519987"/>
                  <a:gd name="connsiteY133" fmla="*/ 47625 h 4496940"/>
                  <a:gd name="connsiteX134" fmla="*/ 2164102 w 4519987"/>
                  <a:gd name="connsiteY134" fmla="*/ 38100 h 4496940"/>
                  <a:gd name="connsiteX135" fmla="*/ 2392702 w 4519987"/>
                  <a:gd name="connsiteY13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678577 w 4519987"/>
                  <a:gd name="connsiteY40" fmla="*/ 3848100 h 4496940"/>
                  <a:gd name="connsiteX41" fmla="*/ 3659527 w 4519987"/>
                  <a:gd name="connsiteY41" fmla="*/ 3971925 h 4496940"/>
                  <a:gd name="connsiteX42" fmla="*/ 3630952 w 4519987"/>
                  <a:gd name="connsiteY42" fmla="*/ 4010025 h 4496940"/>
                  <a:gd name="connsiteX43" fmla="*/ 3621427 w 4519987"/>
                  <a:gd name="connsiteY43" fmla="*/ 4038600 h 4496940"/>
                  <a:gd name="connsiteX44" fmla="*/ 3554752 w 4519987"/>
                  <a:gd name="connsiteY44" fmla="*/ 4095750 h 4496940"/>
                  <a:gd name="connsiteX45" fmla="*/ 3516652 w 4519987"/>
                  <a:gd name="connsiteY45" fmla="*/ 4114800 h 4496940"/>
                  <a:gd name="connsiteX46" fmla="*/ 3497602 w 4519987"/>
                  <a:gd name="connsiteY46" fmla="*/ 4143375 h 4496940"/>
                  <a:gd name="connsiteX47" fmla="*/ 3383302 w 4519987"/>
                  <a:gd name="connsiteY47" fmla="*/ 4210050 h 4496940"/>
                  <a:gd name="connsiteX48" fmla="*/ 3335677 w 4519987"/>
                  <a:gd name="connsiteY48" fmla="*/ 4238625 h 4496940"/>
                  <a:gd name="connsiteX49" fmla="*/ 3288052 w 4519987"/>
                  <a:gd name="connsiteY49" fmla="*/ 4248150 h 4496940"/>
                  <a:gd name="connsiteX50" fmla="*/ 3240427 w 4519987"/>
                  <a:gd name="connsiteY50" fmla="*/ 4267200 h 4496940"/>
                  <a:gd name="connsiteX51" fmla="*/ 3068977 w 4519987"/>
                  <a:gd name="connsiteY51" fmla="*/ 4286250 h 4496940"/>
                  <a:gd name="connsiteX52" fmla="*/ 2935627 w 4519987"/>
                  <a:gd name="connsiteY52" fmla="*/ 4333875 h 4496940"/>
                  <a:gd name="connsiteX53" fmla="*/ 2811802 w 4519987"/>
                  <a:gd name="connsiteY53" fmla="*/ 4371975 h 4496940"/>
                  <a:gd name="connsiteX54" fmla="*/ 2745127 w 4519987"/>
                  <a:gd name="connsiteY54" fmla="*/ 4410075 h 4496940"/>
                  <a:gd name="connsiteX55" fmla="*/ 2697502 w 4519987"/>
                  <a:gd name="connsiteY55" fmla="*/ 4429125 h 4496940"/>
                  <a:gd name="connsiteX56" fmla="*/ 2640352 w 4519987"/>
                  <a:gd name="connsiteY56" fmla="*/ 4457700 h 4496940"/>
                  <a:gd name="connsiteX57" fmla="*/ 2583202 w 4519987"/>
                  <a:gd name="connsiteY57" fmla="*/ 4467225 h 4496940"/>
                  <a:gd name="connsiteX58" fmla="*/ 2545102 w 4519987"/>
                  <a:gd name="connsiteY58" fmla="*/ 4486275 h 4496940"/>
                  <a:gd name="connsiteX59" fmla="*/ 2306977 w 4519987"/>
                  <a:gd name="connsiteY59" fmla="*/ 4476750 h 4496940"/>
                  <a:gd name="connsiteX60" fmla="*/ 2202202 w 4519987"/>
                  <a:gd name="connsiteY60" fmla="*/ 4457700 h 4496940"/>
                  <a:gd name="connsiteX61" fmla="*/ 2126002 w 4519987"/>
                  <a:gd name="connsiteY61" fmla="*/ 4429125 h 4496940"/>
                  <a:gd name="connsiteX62" fmla="*/ 1935502 w 4519987"/>
                  <a:gd name="connsiteY62" fmla="*/ 4400550 h 4496940"/>
                  <a:gd name="connsiteX63" fmla="*/ 1821202 w 4519987"/>
                  <a:gd name="connsiteY63" fmla="*/ 4371975 h 4496940"/>
                  <a:gd name="connsiteX64" fmla="*/ 1754527 w 4519987"/>
                  <a:gd name="connsiteY64" fmla="*/ 4352925 h 4496940"/>
                  <a:gd name="connsiteX65" fmla="*/ 1687852 w 4519987"/>
                  <a:gd name="connsiteY65" fmla="*/ 4343400 h 4496940"/>
                  <a:gd name="connsiteX66" fmla="*/ 1573552 w 4519987"/>
                  <a:gd name="connsiteY66" fmla="*/ 4305300 h 4496940"/>
                  <a:gd name="connsiteX67" fmla="*/ 1402102 w 4519987"/>
                  <a:gd name="connsiteY67" fmla="*/ 4276725 h 4496940"/>
                  <a:gd name="connsiteX68" fmla="*/ 1287802 w 4519987"/>
                  <a:gd name="connsiteY68" fmla="*/ 4229100 h 4496940"/>
                  <a:gd name="connsiteX69" fmla="*/ 1221127 w 4519987"/>
                  <a:gd name="connsiteY69" fmla="*/ 4200525 h 4496940"/>
                  <a:gd name="connsiteX70" fmla="*/ 1144927 w 4519987"/>
                  <a:gd name="connsiteY70" fmla="*/ 4171950 h 4496940"/>
                  <a:gd name="connsiteX71" fmla="*/ 1087777 w 4519987"/>
                  <a:gd name="connsiteY71" fmla="*/ 4143375 h 4496940"/>
                  <a:gd name="connsiteX72" fmla="*/ 1030627 w 4519987"/>
                  <a:gd name="connsiteY72" fmla="*/ 4124325 h 4496940"/>
                  <a:gd name="connsiteX73" fmla="*/ 925852 w 4519987"/>
                  <a:gd name="connsiteY73" fmla="*/ 4067175 h 4496940"/>
                  <a:gd name="connsiteX74" fmla="*/ 830602 w 4519987"/>
                  <a:gd name="connsiteY74" fmla="*/ 3981450 h 4496940"/>
                  <a:gd name="connsiteX75" fmla="*/ 763927 w 4519987"/>
                  <a:gd name="connsiteY75" fmla="*/ 3914775 h 4496940"/>
                  <a:gd name="connsiteX76" fmla="*/ 725827 w 4519987"/>
                  <a:gd name="connsiteY76" fmla="*/ 3876675 h 4496940"/>
                  <a:gd name="connsiteX77" fmla="*/ 697252 w 4519987"/>
                  <a:gd name="connsiteY77" fmla="*/ 3838575 h 4496940"/>
                  <a:gd name="connsiteX78" fmla="*/ 640102 w 4519987"/>
                  <a:gd name="connsiteY78" fmla="*/ 3781425 h 4496940"/>
                  <a:gd name="connsiteX79" fmla="*/ 611527 w 4519987"/>
                  <a:gd name="connsiteY79" fmla="*/ 3733800 h 4496940"/>
                  <a:gd name="connsiteX80" fmla="*/ 554377 w 4519987"/>
                  <a:gd name="connsiteY80" fmla="*/ 3657600 h 4496940"/>
                  <a:gd name="connsiteX81" fmla="*/ 525802 w 4519987"/>
                  <a:gd name="connsiteY81" fmla="*/ 3609975 h 4496940"/>
                  <a:gd name="connsiteX82" fmla="*/ 497227 w 4519987"/>
                  <a:gd name="connsiteY82" fmla="*/ 3552825 h 4496940"/>
                  <a:gd name="connsiteX83" fmla="*/ 440077 w 4519987"/>
                  <a:gd name="connsiteY83" fmla="*/ 3495675 h 4496940"/>
                  <a:gd name="connsiteX84" fmla="*/ 411502 w 4519987"/>
                  <a:gd name="connsiteY84" fmla="*/ 3448050 h 4496940"/>
                  <a:gd name="connsiteX85" fmla="*/ 278152 w 4519987"/>
                  <a:gd name="connsiteY85" fmla="*/ 3257550 h 4496940"/>
                  <a:gd name="connsiteX86" fmla="*/ 249577 w 4519987"/>
                  <a:gd name="connsiteY86" fmla="*/ 3200400 h 4496940"/>
                  <a:gd name="connsiteX87" fmla="*/ 240052 w 4519987"/>
                  <a:gd name="connsiteY87" fmla="*/ 3162300 h 4496940"/>
                  <a:gd name="connsiteX88" fmla="*/ 221002 w 4519987"/>
                  <a:gd name="connsiteY88" fmla="*/ 3105150 h 4496940"/>
                  <a:gd name="connsiteX89" fmla="*/ 173377 w 4519987"/>
                  <a:gd name="connsiteY89" fmla="*/ 3019425 h 4496940"/>
                  <a:gd name="connsiteX90" fmla="*/ 144802 w 4519987"/>
                  <a:gd name="connsiteY90" fmla="*/ 2924175 h 4496940"/>
                  <a:gd name="connsiteX91" fmla="*/ 68602 w 4519987"/>
                  <a:gd name="connsiteY91" fmla="*/ 2724150 h 4496940"/>
                  <a:gd name="connsiteX92" fmla="*/ 49552 w 4519987"/>
                  <a:gd name="connsiteY92" fmla="*/ 2638425 h 4496940"/>
                  <a:gd name="connsiteX93" fmla="*/ 40027 w 4519987"/>
                  <a:gd name="connsiteY93" fmla="*/ 2562225 h 4496940"/>
                  <a:gd name="connsiteX94" fmla="*/ 30502 w 4519987"/>
                  <a:gd name="connsiteY94" fmla="*/ 2514600 h 4496940"/>
                  <a:gd name="connsiteX95" fmla="*/ 11452 w 4519987"/>
                  <a:gd name="connsiteY95" fmla="*/ 2400300 h 4496940"/>
                  <a:gd name="connsiteX96" fmla="*/ 20977 w 4519987"/>
                  <a:gd name="connsiteY96" fmla="*/ 1905000 h 4496940"/>
                  <a:gd name="connsiteX97" fmla="*/ 30502 w 4519987"/>
                  <a:gd name="connsiteY97" fmla="*/ 1838325 h 4496940"/>
                  <a:gd name="connsiteX98" fmla="*/ 49552 w 4519987"/>
                  <a:gd name="connsiteY98" fmla="*/ 1781175 h 4496940"/>
                  <a:gd name="connsiteX99" fmla="*/ 59077 w 4519987"/>
                  <a:gd name="connsiteY99" fmla="*/ 1743075 h 4496940"/>
                  <a:gd name="connsiteX100" fmla="*/ 78127 w 4519987"/>
                  <a:gd name="connsiteY100" fmla="*/ 1685925 h 4496940"/>
                  <a:gd name="connsiteX101" fmla="*/ 87652 w 4519987"/>
                  <a:gd name="connsiteY101" fmla="*/ 1638300 h 4496940"/>
                  <a:gd name="connsiteX102" fmla="*/ 106702 w 4519987"/>
                  <a:gd name="connsiteY102" fmla="*/ 1590675 h 4496940"/>
                  <a:gd name="connsiteX103" fmla="*/ 135277 w 4519987"/>
                  <a:gd name="connsiteY103" fmla="*/ 1504950 h 4496940"/>
                  <a:gd name="connsiteX104" fmla="*/ 154327 w 4519987"/>
                  <a:gd name="connsiteY104" fmla="*/ 1419225 h 4496940"/>
                  <a:gd name="connsiteX105" fmla="*/ 230527 w 4519987"/>
                  <a:gd name="connsiteY105" fmla="*/ 1276350 h 4496940"/>
                  <a:gd name="connsiteX106" fmla="*/ 240052 w 4519987"/>
                  <a:gd name="connsiteY106" fmla="*/ 1247775 h 4496940"/>
                  <a:gd name="connsiteX107" fmla="*/ 268627 w 4519987"/>
                  <a:gd name="connsiteY107" fmla="*/ 1200150 h 4496940"/>
                  <a:gd name="connsiteX108" fmla="*/ 287677 w 4519987"/>
                  <a:gd name="connsiteY108" fmla="*/ 1152525 h 4496940"/>
                  <a:gd name="connsiteX109" fmla="*/ 316252 w 4519987"/>
                  <a:gd name="connsiteY109" fmla="*/ 1114425 h 4496940"/>
                  <a:gd name="connsiteX110" fmla="*/ 363877 w 4519987"/>
                  <a:gd name="connsiteY110" fmla="*/ 1038225 h 4496940"/>
                  <a:gd name="connsiteX111" fmla="*/ 382927 w 4519987"/>
                  <a:gd name="connsiteY111" fmla="*/ 1009650 h 4496940"/>
                  <a:gd name="connsiteX112" fmla="*/ 440077 w 4519987"/>
                  <a:gd name="connsiteY112" fmla="*/ 904875 h 4496940"/>
                  <a:gd name="connsiteX113" fmla="*/ 478177 w 4519987"/>
                  <a:gd name="connsiteY113" fmla="*/ 857250 h 4496940"/>
                  <a:gd name="connsiteX114" fmla="*/ 497227 w 4519987"/>
                  <a:gd name="connsiteY114" fmla="*/ 828675 h 4496940"/>
                  <a:gd name="connsiteX115" fmla="*/ 535327 w 4519987"/>
                  <a:gd name="connsiteY115" fmla="*/ 800100 h 4496940"/>
                  <a:gd name="connsiteX116" fmla="*/ 602002 w 4519987"/>
                  <a:gd name="connsiteY116" fmla="*/ 733425 h 4496940"/>
                  <a:gd name="connsiteX117" fmla="*/ 668677 w 4519987"/>
                  <a:gd name="connsiteY117" fmla="*/ 676275 h 4496940"/>
                  <a:gd name="connsiteX118" fmla="*/ 697252 w 4519987"/>
                  <a:gd name="connsiteY118" fmla="*/ 657225 h 4496940"/>
                  <a:gd name="connsiteX119" fmla="*/ 840127 w 4519987"/>
                  <a:gd name="connsiteY119" fmla="*/ 533400 h 4496940"/>
                  <a:gd name="connsiteX120" fmla="*/ 887752 w 4519987"/>
                  <a:gd name="connsiteY120" fmla="*/ 504825 h 4496940"/>
                  <a:gd name="connsiteX121" fmla="*/ 1167152 w 4519987"/>
                  <a:gd name="connsiteY121" fmla="*/ 311150 h 4496940"/>
                  <a:gd name="connsiteX122" fmla="*/ 1268752 w 4519987"/>
                  <a:gd name="connsiteY122" fmla="*/ 285750 h 4496940"/>
                  <a:gd name="connsiteX123" fmla="*/ 1411627 w 4519987"/>
                  <a:gd name="connsiteY123" fmla="*/ 190500 h 4496940"/>
                  <a:gd name="connsiteX124" fmla="*/ 1449727 w 4519987"/>
                  <a:gd name="connsiteY124" fmla="*/ 161925 h 4496940"/>
                  <a:gd name="connsiteX125" fmla="*/ 1525927 w 4519987"/>
                  <a:gd name="connsiteY125" fmla="*/ 152400 h 4496940"/>
                  <a:gd name="connsiteX126" fmla="*/ 1583077 w 4519987"/>
                  <a:gd name="connsiteY126" fmla="*/ 142875 h 4496940"/>
                  <a:gd name="connsiteX127" fmla="*/ 1716427 w 4519987"/>
                  <a:gd name="connsiteY127" fmla="*/ 123825 h 4496940"/>
                  <a:gd name="connsiteX128" fmla="*/ 1811677 w 4519987"/>
                  <a:gd name="connsiteY128" fmla="*/ 114300 h 4496940"/>
                  <a:gd name="connsiteX129" fmla="*/ 1859302 w 4519987"/>
                  <a:gd name="connsiteY129" fmla="*/ 104775 h 4496940"/>
                  <a:gd name="connsiteX130" fmla="*/ 1916452 w 4519987"/>
                  <a:gd name="connsiteY130" fmla="*/ 95250 h 4496940"/>
                  <a:gd name="connsiteX131" fmla="*/ 2030752 w 4519987"/>
                  <a:gd name="connsiteY131" fmla="*/ 66675 h 4496940"/>
                  <a:gd name="connsiteX132" fmla="*/ 2097427 w 4519987"/>
                  <a:gd name="connsiteY132" fmla="*/ 47625 h 4496940"/>
                  <a:gd name="connsiteX133" fmla="*/ 2164102 w 4519987"/>
                  <a:gd name="connsiteY133" fmla="*/ 38100 h 4496940"/>
                  <a:gd name="connsiteX134" fmla="*/ 2392702 w 4519987"/>
                  <a:gd name="connsiteY13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659527 w 4519987"/>
                  <a:gd name="connsiteY40" fmla="*/ 3971925 h 4496940"/>
                  <a:gd name="connsiteX41" fmla="*/ 3630952 w 4519987"/>
                  <a:gd name="connsiteY41" fmla="*/ 4010025 h 4496940"/>
                  <a:gd name="connsiteX42" fmla="*/ 3621427 w 4519987"/>
                  <a:gd name="connsiteY42" fmla="*/ 4038600 h 4496940"/>
                  <a:gd name="connsiteX43" fmla="*/ 3554752 w 4519987"/>
                  <a:gd name="connsiteY43" fmla="*/ 4095750 h 4496940"/>
                  <a:gd name="connsiteX44" fmla="*/ 3516652 w 4519987"/>
                  <a:gd name="connsiteY44" fmla="*/ 4114800 h 4496940"/>
                  <a:gd name="connsiteX45" fmla="*/ 3497602 w 4519987"/>
                  <a:gd name="connsiteY45" fmla="*/ 4143375 h 4496940"/>
                  <a:gd name="connsiteX46" fmla="*/ 3383302 w 4519987"/>
                  <a:gd name="connsiteY46" fmla="*/ 4210050 h 4496940"/>
                  <a:gd name="connsiteX47" fmla="*/ 3335677 w 4519987"/>
                  <a:gd name="connsiteY47" fmla="*/ 4238625 h 4496940"/>
                  <a:gd name="connsiteX48" fmla="*/ 3288052 w 4519987"/>
                  <a:gd name="connsiteY48" fmla="*/ 4248150 h 4496940"/>
                  <a:gd name="connsiteX49" fmla="*/ 3240427 w 4519987"/>
                  <a:gd name="connsiteY49" fmla="*/ 4267200 h 4496940"/>
                  <a:gd name="connsiteX50" fmla="*/ 3068977 w 4519987"/>
                  <a:gd name="connsiteY50" fmla="*/ 4286250 h 4496940"/>
                  <a:gd name="connsiteX51" fmla="*/ 2935627 w 4519987"/>
                  <a:gd name="connsiteY51" fmla="*/ 4333875 h 4496940"/>
                  <a:gd name="connsiteX52" fmla="*/ 2811802 w 4519987"/>
                  <a:gd name="connsiteY52" fmla="*/ 4371975 h 4496940"/>
                  <a:gd name="connsiteX53" fmla="*/ 2745127 w 4519987"/>
                  <a:gd name="connsiteY53" fmla="*/ 4410075 h 4496940"/>
                  <a:gd name="connsiteX54" fmla="*/ 2697502 w 4519987"/>
                  <a:gd name="connsiteY54" fmla="*/ 4429125 h 4496940"/>
                  <a:gd name="connsiteX55" fmla="*/ 2640352 w 4519987"/>
                  <a:gd name="connsiteY55" fmla="*/ 4457700 h 4496940"/>
                  <a:gd name="connsiteX56" fmla="*/ 2583202 w 4519987"/>
                  <a:gd name="connsiteY56" fmla="*/ 4467225 h 4496940"/>
                  <a:gd name="connsiteX57" fmla="*/ 2545102 w 4519987"/>
                  <a:gd name="connsiteY57" fmla="*/ 4486275 h 4496940"/>
                  <a:gd name="connsiteX58" fmla="*/ 2306977 w 4519987"/>
                  <a:gd name="connsiteY58" fmla="*/ 4476750 h 4496940"/>
                  <a:gd name="connsiteX59" fmla="*/ 2202202 w 4519987"/>
                  <a:gd name="connsiteY59" fmla="*/ 4457700 h 4496940"/>
                  <a:gd name="connsiteX60" fmla="*/ 2126002 w 4519987"/>
                  <a:gd name="connsiteY60" fmla="*/ 4429125 h 4496940"/>
                  <a:gd name="connsiteX61" fmla="*/ 1935502 w 4519987"/>
                  <a:gd name="connsiteY61" fmla="*/ 4400550 h 4496940"/>
                  <a:gd name="connsiteX62" fmla="*/ 1821202 w 4519987"/>
                  <a:gd name="connsiteY62" fmla="*/ 4371975 h 4496940"/>
                  <a:gd name="connsiteX63" fmla="*/ 1754527 w 4519987"/>
                  <a:gd name="connsiteY63" fmla="*/ 4352925 h 4496940"/>
                  <a:gd name="connsiteX64" fmla="*/ 1687852 w 4519987"/>
                  <a:gd name="connsiteY64" fmla="*/ 4343400 h 4496940"/>
                  <a:gd name="connsiteX65" fmla="*/ 1573552 w 4519987"/>
                  <a:gd name="connsiteY65" fmla="*/ 4305300 h 4496940"/>
                  <a:gd name="connsiteX66" fmla="*/ 1402102 w 4519987"/>
                  <a:gd name="connsiteY66" fmla="*/ 4276725 h 4496940"/>
                  <a:gd name="connsiteX67" fmla="*/ 1287802 w 4519987"/>
                  <a:gd name="connsiteY67" fmla="*/ 4229100 h 4496940"/>
                  <a:gd name="connsiteX68" fmla="*/ 1221127 w 4519987"/>
                  <a:gd name="connsiteY68" fmla="*/ 4200525 h 4496940"/>
                  <a:gd name="connsiteX69" fmla="*/ 1144927 w 4519987"/>
                  <a:gd name="connsiteY69" fmla="*/ 4171950 h 4496940"/>
                  <a:gd name="connsiteX70" fmla="*/ 1087777 w 4519987"/>
                  <a:gd name="connsiteY70" fmla="*/ 4143375 h 4496940"/>
                  <a:gd name="connsiteX71" fmla="*/ 1030627 w 4519987"/>
                  <a:gd name="connsiteY71" fmla="*/ 4124325 h 4496940"/>
                  <a:gd name="connsiteX72" fmla="*/ 925852 w 4519987"/>
                  <a:gd name="connsiteY72" fmla="*/ 4067175 h 4496940"/>
                  <a:gd name="connsiteX73" fmla="*/ 830602 w 4519987"/>
                  <a:gd name="connsiteY73" fmla="*/ 3981450 h 4496940"/>
                  <a:gd name="connsiteX74" fmla="*/ 763927 w 4519987"/>
                  <a:gd name="connsiteY74" fmla="*/ 3914775 h 4496940"/>
                  <a:gd name="connsiteX75" fmla="*/ 725827 w 4519987"/>
                  <a:gd name="connsiteY75" fmla="*/ 3876675 h 4496940"/>
                  <a:gd name="connsiteX76" fmla="*/ 697252 w 4519987"/>
                  <a:gd name="connsiteY76" fmla="*/ 3838575 h 4496940"/>
                  <a:gd name="connsiteX77" fmla="*/ 640102 w 4519987"/>
                  <a:gd name="connsiteY77" fmla="*/ 3781425 h 4496940"/>
                  <a:gd name="connsiteX78" fmla="*/ 611527 w 4519987"/>
                  <a:gd name="connsiteY78" fmla="*/ 3733800 h 4496940"/>
                  <a:gd name="connsiteX79" fmla="*/ 554377 w 4519987"/>
                  <a:gd name="connsiteY79" fmla="*/ 3657600 h 4496940"/>
                  <a:gd name="connsiteX80" fmla="*/ 525802 w 4519987"/>
                  <a:gd name="connsiteY80" fmla="*/ 3609975 h 4496940"/>
                  <a:gd name="connsiteX81" fmla="*/ 497227 w 4519987"/>
                  <a:gd name="connsiteY81" fmla="*/ 3552825 h 4496940"/>
                  <a:gd name="connsiteX82" fmla="*/ 440077 w 4519987"/>
                  <a:gd name="connsiteY82" fmla="*/ 3495675 h 4496940"/>
                  <a:gd name="connsiteX83" fmla="*/ 411502 w 4519987"/>
                  <a:gd name="connsiteY83" fmla="*/ 3448050 h 4496940"/>
                  <a:gd name="connsiteX84" fmla="*/ 278152 w 4519987"/>
                  <a:gd name="connsiteY84" fmla="*/ 3257550 h 4496940"/>
                  <a:gd name="connsiteX85" fmla="*/ 249577 w 4519987"/>
                  <a:gd name="connsiteY85" fmla="*/ 3200400 h 4496940"/>
                  <a:gd name="connsiteX86" fmla="*/ 240052 w 4519987"/>
                  <a:gd name="connsiteY86" fmla="*/ 3162300 h 4496940"/>
                  <a:gd name="connsiteX87" fmla="*/ 221002 w 4519987"/>
                  <a:gd name="connsiteY87" fmla="*/ 3105150 h 4496940"/>
                  <a:gd name="connsiteX88" fmla="*/ 173377 w 4519987"/>
                  <a:gd name="connsiteY88" fmla="*/ 3019425 h 4496940"/>
                  <a:gd name="connsiteX89" fmla="*/ 144802 w 4519987"/>
                  <a:gd name="connsiteY89" fmla="*/ 2924175 h 4496940"/>
                  <a:gd name="connsiteX90" fmla="*/ 68602 w 4519987"/>
                  <a:gd name="connsiteY90" fmla="*/ 2724150 h 4496940"/>
                  <a:gd name="connsiteX91" fmla="*/ 49552 w 4519987"/>
                  <a:gd name="connsiteY91" fmla="*/ 2638425 h 4496940"/>
                  <a:gd name="connsiteX92" fmla="*/ 40027 w 4519987"/>
                  <a:gd name="connsiteY92" fmla="*/ 2562225 h 4496940"/>
                  <a:gd name="connsiteX93" fmla="*/ 30502 w 4519987"/>
                  <a:gd name="connsiteY93" fmla="*/ 2514600 h 4496940"/>
                  <a:gd name="connsiteX94" fmla="*/ 11452 w 4519987"/>
                  <a:gd name="connsiteY94" fmla="*/ 2400300 h 4496940"/>
                  <a:gd name="connsiteX95" fmla="*/ 20977 w 4519987"/>
                  <a:gd name="connsiteY95" fmla="*/ 1905000 h 4496940"/>
                  <a:gd name="connsiteX96" fmla="*/ 30502 w 4519987"/>
                  <a:gd name="connsiteY96" fmla="*/ 1838325 h 4496940"/>
                  <a:gd name="connsiteX97" fmla="*/ 49552 w 4519987"/>
                  <a:gd name="connsiteY97" fmla="*/ 1781175 h 4496940"/>
                  <a:gd name="connsiteX98" fmla="*/ 59077 w 4519987"/>
                  <a:gd name="connsiteY98" fmla="*/ 1743075 h 4496940"/>
                  <a:gd name="connsiteX99" fmla="*/ 78127 w 4519987"/>
                  <a:gd name="connsiteY99" fmla="*/ 1685925 h 4496940"/>
                  <a:gd name="connsiteX100" fmla="*/ 87652 w 4519987"/>
                  <a:gd name="connsiteY100" fmla="*/ 1638300 h 4496940"/>
                  <a:gd name="connsiteX101" fmla="*/ 106702 w 4519987"/>
                  <a:gd name="connsiteY101" fmla="*/ 1590675 h 4496940"/>
                  <a:gd name="connsiteX102" fmla="*/ 135277 w 4519987"/>
                  <a:gd name="connsiteY102" fmla="*/ 1504950 h 4496940"/>
                  <a:gd name="connsiteX103" fmla="*/ 154327 w 4519987"/>
                  <a:gd name="connsiteY103" fmla="*/ 1419225 h 4496940"/>
                  <a:gd name="connsiteX104" fmla="*/ 230527 w 4519987"/>
                  <a:gd name="connsiteY104" fmla="*/ 1276350 h 4496940"/>
                  <a:gd name="connsiteX105" fmla="*/ 240052 w 4519987"/>
                  <a:gd name="connsiteY105" fmla="*/ 1247775 h 4496940"/>
                  <a:gd name="connsiteX106" fmla="*/ 268627 w 4519987"/>
                  <a:gd name="connsiteY106" fmla="*/ 1200150 h 4496940"/>
                  <a:gd name="connsiteX107" fmla="*/ 287677 w 4519987"/>
                  <a:gd name="connsiteY107" fmla="*/ 1152525 h 4496940"/>
                  <a:gd name="connsiteX108" fmla="*/ 316252 w 4519987"/>
                  <a:gd name="connsiteY108" fmla="*/ 1114425 h 4496940"/>
                  <a:gd name="connsiteX109" fmla="*/ 363877 w 4519987"/>
                  <a:gd name="connsiteY109" fmla="*/ 1038225 h 4496940"/>
                  <a:gd name="connsiteX110" fmla="*/ 382927 w 4519987"/>
                  <a:gd name="connsiteY110" fmla="*/ 1009650 h 4496940"/>
                  <a:gd name="connsiteX111" fmla="*/ 440077 w 4519987"/>
                  <a:gd name="connsiteY111" fmla="*/ 904875 h 4496940"/>
                  <a:gd name="connsiteX112" fmla="*/ 478177 w 4519987"/>
                  <a:gd name="connsiteY112" fmla="*/ 857250 h 4496940"/>
                  <a:gd name="connsiteX113" fmla="*/ 497227 w 4519987"/>
                  <a:gd name="connsiteY113" fmla="*/ 828675 h 4496940"/>
                  <a:gd name="connsiteX114" fmla="*/ 535327 w 4519987"/>
                  <a:gd name="connsiteY114" fmla="*/ 800100 h 4496940"/>
                  <a:gd name="connsiteX115" fmla="*/ 602002 w 4519987"/>
                  <a:gd name="connsiteY115" fmla="*/ 733425 h 4496940"/>
                  <a:gd name="connsiteX116" fmla="*/ 668677 w 4519987"/>
                  <a:gd name="connsiteY116" fmla="*/ 676275 h 4496940"/>
                  <a:gd name="connsiteX117" fmla="*/ 697252 w 4519987"/>
                  <a:gd name="connsiteY117" fmla="*/ 657225 h 4496940"/>
                  <a:gd name="connsiteX118" fmla="*/ 840127 w 4519987"/>
                  <a:gd name="connsiteY118" fmla="*/ 533400 h 4496940"/>
                  <a:gd name="connsiteX119" fmla="*/ 887752 w 4519987"/>
                  <a:gd name="connsiteY119" fmla="*/ 504825 h 4496940"/>
                  <a:gd name="connsiteX120" fmla="*/ 1167152 w 4519987"/>
                  <a:gd name="connsiteY120" fmla="*/ 311150 h 4496940"/>
                  <a:gd name="connsiteX121" fmla="*/ 1268752 w 4519987"/>
                  <a:gd name="connsiteY121" fmla="*/ 285750 h 4496940"/>
                  <a:gd name="connsiteX122" fmla="*/ 1411627 w 4519987"/>
                  <a:gd name="connsiteY122" fmla="*/ 190500 h 4496940"/>
                  <a:gd name="connsiteX123" fmla="*/ 1449727 w 4519987"/>
                  <a:gd name="connsiteY123" fmla="*/ 161925 h 4496940"/>
                  <a:gd name="connsiteX124" fmla="*/ 1525927 w 4519987"/>
                  <a:gd name="connsiteY124" fmla="*/ 152400 h 4496940"/>
                  <a:gd name="connsiteX125" fmla="*/ 1583077 w 4519987"/>
                  <a:gd name="connsiteY125" fmla="*/ 142875 h 4496940"/>
                  <a:gd name="connsiteX126" fmla="*/ 1716427 w 4519987"/>
                  <a:gd name="connsiteY126" fmla="*/ 123825 h 4496940"/>
                  <a:gd name="connsiteX127" fmla="*/ 1811677 w 4519987"/>
                  <a:gd name="connsiteY127" fmla="*/ 114300 h 4496940"/>
                  <a:gd name="connsiteX128" fmla="*/ 1859302 w 4519987"/>
                  <a:gd name="connsiteY128" fmla="*/ 104775 h 4496940"/>
                  <a:gd name="connsiteX129" fmla="*/ 1916452 w 4519987"/>
                  <a:gd name="connsiteY129" fmla="*/ 95250 h 4496940"/>
                  <a:gd name="connsiteX130" fmla="*/ 2030752 w 4519987"/>
                  <a:gd name="connsiteY130" fmla="*/ 66675 h 4496940"/>
                  <a:gd name="connsiteX131" fmla="*/ 2097427 w 4519987"/>
                  <a:gd name="connsiteY131" fmla="*/ 47625 h 4496940"/>
                  <a:gd name="connsiteX132" fmla="*/ 2164102 w 4519987"/>
                  <a:gd name="connsiteY132" fmla="*/ 38100 h 4496940"/>
                  <a:gd name="connsiteX133" fmla="*/ 2392702 w 4519987"/>
                  <a:gd name="connsiteY13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659527 w 4519987"/>
                  <a:gd name="connsiteY39" fmla="*/ 3971925 h 4496940"/>
                  <a:gd name="connsiteX40" fmla="*/ 3630952 w 4519987"/>
                  <a:gd name="connsiteY40" fmla="*/ 4010025 h 4496940"/>
                  <a:gd name="connsiteX41" fmla="*/ 3621427 w 4519987"/>
                  <a:gd name="connsiteY41" fmla="*/ 4038600 h 4496940"/>
                  <a:gd name="connsiteX42" fmla="*/ 3554752 w 4519987"/>
                  <a:gd name="connsiteY42" fmla="*/ 4095750 h 4496940"/>
                  <a:gd name="connsiteX43" fmla="*/ 3516652 w 4519987"/>
                  <a:gd name="connsiteY43" fmla="*/ 4114800 h 4496940"/>
                  <a:gd name="connsiteX44" fmla="*/ 3497602 w 4519987"/>
                  <a:gd name="connsiteY44" fmla="*/ 4143375 h 4496940"/>
                  <a:gd name="connsiteX45" fmla="*/ 3383302 w 4519987"/>
                  <a:gd name="connsiteY45" fmla="*/ 4210050 h 4496940"/>
                  <a:gd name="connsiteX46" fmla="*/ 3335677 w 4519987"/>
                  <a:gd name="connsiteY46" fmla="*/ 4238625 h 4496940"/>
                  <a:gd name="connsiteX47" fmla="*/ 3288052 w 4519987"/>
                  <a:gd name="connsiteY47" fmla="*/ 4248150 h 4496940"/>
                  <a:gd name="connsiteX48" fmla="*/ 3240427 w 4519987"/>
                  <a:gd name="connsiteY48" fmla="*/ 4267200 h 4496940"/>
                  <a:gd name="connsiteX49" fmla="*/ 3068977 w 4519987"/>
                  <a:gd name="connsiteY49" fmla="*/ 4286250 h 4496940"/>
                  <a:gd name="connsiteX50" fmla="*/ 2935627 w 4519987"/>
                  <a:gd name="connsiteY50" fmla="*/ 4333875 h 4496940"/>
                  <a:gd name="connsiteX51" fmla="*/ 2811802 w 4519987"/>
                  <a:gd name="connsiteY51" fmla="*/ 4371975 h 4496940"/>
                  <a:gd name="connsiteX52" fmla="*/ 2745127 w 4519987"/>
                  <a:gd name="connsiteY52" fmla="*/ 4410075 h 4496940"/>
                  <a:gd name="connsiteX53" fmla="*/ 2697502 w 4519987"/>
                  <a:gd name="connsiteY53" fmla="*/ 4429125 h 4496940"/>
                  <a:gd name="connsiteX54" fmla="*/ 2640352 w 4519987"/>
                  <a:gd name="connsiteY54" fmla="*/ 4457700 h 4496940"/>
                  <a:gd name="connsiteX55" fmla="*/ 2583202 w 4519987"/>
                  <a:gd name="connsiteY55" fmla="*/ 4467225 h 4496940"/>
                  <a:gd name="connsiteX56" fmla="*/ 2545102 w 4519987"/>
                  <a:gd name="connsiteY56" fmla="*/ 4486275 h 4496940"/>
                  <a:gd name="connsiteX57" fmla="*/ 2306977 w 4519987"/>
                  <a:gd name="connsiteY57" fmla="*/ 4476750 h 4496940"/>
                  <a:gd name="connsiteX58" fmla="*/ 2202202 w 4519987"/>
                  <a:gd name="connsiteY58" fmla="*/ 4457700 h 4496940"/>
                  <a:gd name="connsiteX59" fmla="*/ 2126002 w 4519987"/>
                  <a:gd name="connsiteY59" fmla="*/ 4429125 h 4496940"/>
                  <a:gd name="connsiteX60" fmla="*/ 1935502 w 4519987"/>
                  <a:gd name="connsiteY60" fmla="*/ 4400550 h 4496940"/>
                  <a:gd name="connsiteX61" fmla="*/ 1821202 w 4519987"/>
                  <a:gd name="connsiteY61" fmla="*/ 4371975 h 4496940"/>
                  <a:gd name="connsiteX62" fmla="*/ 1754527 w 4519987"/>
                  <a:gd name="connsiteY62" fmla="*/ 4352925 h 4496940"/>
                  <a:gd name="connsiteX63" fmla="*/ 1687852 w 4519987"/>
                  <a:gd name="connsiteY63" fmla="*/ 4343400 h 4496940"/>
                  <a:gd name="connsiteX64" fmla="*/ 1573552 w 4519987"/>
                  <a:gd name="connsiteY64" fmla="*/ 4305300 h 4496940"/>
                  <a:gd name="connsiteX65" fmla="*/ 1402102 w 4519987"/>
                  <a:gd name="connsiteY65" fmla="*/ 4276725 h 4496940"/>
                  <a:gd name="connsiteX66" fmla="*/ 1287802 w 4519987"/>
                  <a:gd name="connsiteY66" fmla="*/ 4229100 h 4496940"/>
                  <a:gd name="connsiteX67" fmla="*/ 1221127 w 4519987"/>
                  <a:gd name="connsiteY67" fmla="*/ 4200525 h 4496940"/>
                  <a:gd name="connsiteX68" fmla="*/ 1144927 w 4519987"/>
                  <a:gd name="connsiteY68" fmla="*/ 4171950 h 4496940"/>
                  <a:gd name="connsiteX69" fmla="*/ 1087777 w 4519987"/>
                  <a:gd name="connsiteY69" fmla="*/ 4143375 h 4496940"/>
                  <a:gd name="connsiteX70" fmla="*/ 1030627 w 4519987"/>
                  <a:gd name="connsiteY70" fmla="*/ 4124325 h 4496940"/>
                  <a:gd name="connsiteX71" fmla="*/ 925852 w 4519987"/>
                  <a:gd name="connsiteY71" fmla="*/ 4067175 h 4496940"/>
                  <a:gd name="connsiteX72" fmla="*/ 830602 w 4519987"/>
                  <a:gd name="connsiteY72" fmla="*/ 3981450 h 4496940"/>
                  <a:gd name="connsiteX73" fmla="*/ 763927 w 4519987"/>
                  <a:gd name="connsiteY73" fmla="*/ 3914775 h 4496940"/>
                  <a:gd name="connsiteX74" fmla="*/ 725827 w 4519987"/>
                  <a:gd name="connsiteY74" fmla="*/ 3876675 h 4496940"/>
                  <a:gd name="connsiteX75" fmla="*/ 697252 w 4519987"/>
                  <a:gd name="connsiteY75" fmla="*/ 3838575 h 4496940"/>
                  <a:gd name="connsiteX76" fmla="*/ 640102 w 4519987"/>
                  <a:gd name="connsiteY76" fmla="*/ 3781425 h 4496940"/>
                  <a:gd name="connsiteX77" fmla="*/ 611527 w 4519987"/>
                  <a:gd name="connsiteY77" fmla="*/ 3733800 h 4496940"/>
                  <a:gd name="connsiteX78" fmla="*/ 554377 w 4519987"/>
                  <a:gd name="connsiteY78" fmla="*/ 3657600 h 4496940"/>
                  <a:gd name="connsiteX79" fmla="*/ 525802 w 4519987"/>
                  <a:gd name="connsiteY79" fmla="*/ 3609975 h 4496940"/>
                  <a:gd name="connsiteX80" fmla="*/ 497227 w 4519987"/>
                  <a:gd name="connsiteY80" fmla="*/ 3552825 h 4496940"/>
                  <a:gd name="connsiteX81" fmla="*/ 440077 w 4519987"/>
                  <a:gd name="connsiteY81" fmla="*/ 3495675 h 4496940"/>
                  <a:gd name="connsiteX82" fmla="*/ 411502 w 4519987"/>
                  <a:gd name="connsiteY82" fmla="*/ 3448050 h 4496940"/>
                  <a:gd name="connsiteX83" fmla="*/ 278152 w 4519987"/>
                  <a:gd name="connsiteY83" fmla="*/ 3257550 h 4496940"/>
                  <a:gd name="connsiteX84" fmla="*/ 249577 w 4519987"/>
                  <a:gd name="connsiteY84" fmla="*/ 3200400 h 4496940"/>
                  <a:gd name="connsiteX85" fmla="*/ 240052 w 4519987"/>
                  <a:gd name="connsiteY85" fmla="*/ 3162300 h 4496940"/>
                  <a:gd name="connsiteX86" fmla="*/ 221002 w 4519987"/>
                  <a:gd name="connsiteY86" fmla="*/ 3105150 h 4496940"/>
                  <a:gd name="connsiteX87" fmla="*/ 173377 w 4519987"/>
                  <a:gd name="connsiteY87" fmla="*/ 3019425 h 4496940"/>
                  <a:gd name="connsiteX88" fmla="*/ 144802 w 4519987"/>
                  <a:gd name="connsiteY88" fmla="*/ 2924175 h 4496940"/>
                  <a:gd name="connsiteX89" fmla="*/ 68602 w 4519987"/>
                  <a:gd name="connsiteY89" fmla="*/ 2724150 h 4496940"/>
                  <a:gd name="connsiteX90" fmla="*/ 49552 w 4519987"/>
                  <a:gd name="connsiteY90" fmla="*/ 2638425 h 4496940"/>
                  <a:gd name="connsiteX91" fmla="*/ 40027 w 4519987"/>
                  <a:gd name="connsiteY91" fmla="*/ 2562225 h 4496940"/>
                  <a:gd name="connsiteX92" fmla="*/ 30502 w 4519987"/>
                  <a:gd name="connsiteY92" fmla="*/ 2514600 h 4496940"/>
                  <a:gd name="connsiteX93" fmla="*/ 11452 w 4519987"/>
                  <a:gd name="connsiteY93" fmla="*/ 2400300 h 4496940"/>
                  <a:gd name="connsiteX94" fmla="*/ 20977 w 4519987"/>
                  <a:gd name="connsiteY94" fmla="*/ 1905000 h 4496940"/>
                  <a:gd name="connsiteX95" fmla="*/ 30502 w 4519987"/>
                  <a:gd name="connsiteY95" fmla="*/ 1838325 h 4496940"/>
                  <a:gd name="connsiteX96" fmla="*/ 49552 w 4519987"/>
                  <a:gd name="connsiteY96" fmla="*/ 1781175 h 4496940"/>
                  <a:gd name="connsiteX97" fmla="*/ 59077 w 4519987"/>
                  <a:gd name="connsiteY97" fmla="*/ 1743075 h 4496940"/>
                  <a:gd name="connsiteX98" fmla="*/ 78127 w 4519987"/>
                  <a:gd name="connsiteY98" fmla="*/ 1685925 h 4496940"/>
                  <a:gd name="connsiteX99" fmla="*/ 87652 w 4519987"/>
                  <a:gd name="connsiteY99" fmla="*/ 1638300 h 4496940"/>
                  <a:gd name="connsiteX100" fmla="*/ 106702 w 4519987"/>
                  <a:gd name="connsiteY100" fmla="*/ 1590675 h 4496940"/>
                  <a:gd name="connsiteX101" fmla="*/ 135277 w 4519987"/>
                  <a:gd name="connsiteY101" fmla="*/ 1504950 h 4496940"/>
                  <a:gd name="connsiteX102" fmla="*/ 154327 w 4519987"/>
                  <a:gd name="connsiteY102" fmla="*/ 1419225 h 4496940"/>
                  <a:gd name="connsiteX103" fmla="*/ 230527 w 4519987"/>
                  <a:gd name="connsiteY103" fmla="*/ 1276350 h 4496940"/>
                  <a:gd name="connsiteX104" fmla="*/ 240052 w 4519987"/>
                  <a:gd name="connsiteY104" fmla="*/ 1247775 h 4496940"/>
                  <a:gd name="connsiteX105" fmla="*/ 268627 w 4519987"/>
                  <a:gd name="connsiteY105" fmla="*/ 1200150 h 4496940"/>
                  <a:gd name="connsiteX106" fmla="*/ 287677 w 4519987"/>
                  <a:gd name="connsiteY106" fmla="*/ 1152525 h 4496940"/>
                  <a:gd name="connsiteX107" fmla="*/ 316252 w 4519987"/>
                  <a:gd name="connsiteY107" fmla="*/ 1114425 h 4496940"/>
                  <a:gd name="connsiteX108" fmla="*/ 363877 w 4519987"/>
                  <a:gd name="connsiteY108" fmla="*/ 1038225 h 4496940"/>
                  <a:gd name="connsiteX109" fmla="*/ 382927 w 4519987"/>
                  <a:gd name="connsiteY109" fmla="*/ 1009650 h 4496940"/>
                  <a:gd name="connsiteX110" fmla="*/ 440077 w 4519987"/>
                  <a:gd name="connsiteY110" fmla="*/ 904875 h 4496940"/>
                  <a:gd name="connsiteX111" fmla="*/ 478177 w 4519987"/>
                  <a:gd name="connsiteY111" fmla="*/ 857250 h 4496940"/>
                  <a:gd name="connsiteX112" fmla="*/ 497227 w 4519987"/>
                  <a:gd name="connsiteY112" fmla="*/ 828675 h 4496940"/>
                  <a:gd name="connsiteX113" fmla="*/ 535327 w 4519987"/>
                  <a:gd name="connsiteY113" fmla="*/ 800100 h 4496940"/>
                  <a:gd name="connsiteX114" fmla="*/ 602002 w 4519987"/>
                  <a:gd name="connsiteY114" fmla="*/ 733425 h 4496940"/>
                  <a:gd name="connsiteX115" fmla="*/ 668677 w 4519987"/>
                  <a:gd name="connsiteY115" fmla="*/ 676275 h 4496940"/>
                  <a:gd name="connsiteX116" fmla="*/ 697252 w 4519987"/>
                  <a:gd name="connsiteY116" fmla="*/ 657225 h 4496940"/>
                  <a:gd name="connsiteX117" fmla="*/ 840127 w 4519987"/>
                  <a:gd name="connsiteY117" fmla="*/ 533400 h 4496940"/>
                  <a:gd name="connsiteX118" fmla="*/ 887752 w 4519987"/>
                  <a:gd name="connsiteY118" fmla="*/ 504825 h 4496940"/>
                  <a:gd name="connsiteX119" fmla="*/ 1167152 w 4519987"/>
                  <a:gd name="connsiteY119" fmla="*/ 311150 h 4496940"/>
                  <a:gd name="connsiteX120" fmla="*/ 1268752 w 4519987"/>
                  <a:gd name="connsiteY120" fmla="*/ 285750 h 4496940"/>
                  <a:gd name="connsiteX121" fmla="*/ 1411627 w 4519987"/>
                  <a:gd name="connsiteY121" fmla="*/ 190500 h 4496940"/>
                  <a:gd name="connsiteX122" fmla="*/ 1449727 w 4519987"/>
                  <a:gd name="connsiteY122" fmla="*/ 161925 h 4496940"/>
                  <a:gd name="connsiteX123" fmla="*/ 1525927 w 4519987"/>
                  <a:gd name="connsiteY123" fmla="*/ 152400 h 4496940"/>
                  <a:gd name="connsiteX124" fmla="*/ 1583077 w 4519987"/>
                  <a:gd name="connsiteY124" fmla="*/ 142875 h 4496940"/>
                  <a:gd name="connsiteX125" fmla="*/ 1716427 w 4519987"/>
                  <a:gd name="connsiteY125" fmla="*/ 123825 h 4496940"/>
                  <a:gd name="connsiteX126" fmla="*/ 1811677 w 4519987"/>
                  <a:gd name="connsiteY126" fmla="*/ 114300 h 4496940"/>
                  <a:gd name="connsiteX127" fmla="*/ 1859302 w 4519987"/>
                  <a:gd name="connsiteY127" fmla="*/ 104775 h 4496940"/>
                  <a:gd name="connsiteX128" fmla="*/ 1916452 w 4519987"/>
                  <a:gd name="connsiteY128" fmla="*/ 95250 h 4496940"/>
                  <a:gd name="connsiteX129" fmla="*/ 2030752 w 4519987"/>
                  <a:gd name="connsiteY129" fmla="*/ 66675 h 4496940"/>
                  <a:gd name="connsiteX130" fmla="*/ 2097427 w 4519987"/>
                  <a:gd name="connsiteY130" fmla="*/ 47625 h 4496940"/>
                  <a:gd name="connsiteX131" fmla="*/ 2164102 w 4519987"/>
                  <a:gd name="connsiteY131" fmla="*/ 38100 h 4496940"/>
                  <a:gd name="connsiteX132" fmla="*/ 2392702 w 4519987"/>
                  <a:gd name="connsiteY13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659527 w 4519987"/>
                  <a:gd name="connsiteY38" fmla="*/ 3971925 h 4496940"/>
                  <a:gd name="connsiteX39" fmla="*/ 3630952 w 4519987"/>
                  <a:gd name="connsiteY39" fmla="*/ 4010025 h 4496940"/>
                  <a:gd name="connsiteX40" fmla="*/ 3621427 w 4519987"/>
                  <a:gd name="connsiteY40" fmla="*/ 4038600 h 4496940"/>
                  <a:gd name="connsiteX41" fmla="*/ 3554752 w 4519987"/>
                  <a:gd name="connsiteY41" fmla="*/ 4095750 h 4496940"/>
                  <a:gd name="connsiteX42" fmla="*/ 3516652 w 4519987"/>
                  <a:gd name="connsiteY42" fmla="*/ 4114800 h 4496940"/>
                  <a:gd name="connsiteX43" fmla="*/ 3497602 w 4519987"/>
                  <a:gd name="connsiteY43" fmla="*/ 4143375 h 4496940"/>
                  <a:gd name="connsiteX44" fmla="*/ 3383302 w 4519987"/>
                  <a:gd name="connsiteY44" fmla="*/ 4210050 h 4496940"/>
                  <a:gd name="connsiteX45" fmla="*/ 3335677 w 4519987"/>
                  <a:gd name="connsiteY45" fmla="*/ 4238625 h 4496940"/>
                  <a:gd name="connsiteX46" fmla="*/ 3288052 w 4519987"/>
                  <a:gd name="connsiteY46" fmla="*/ 4248150 h 4496940"/>
                  <a:gd name="connsiteX47" fmla="*/ 3240427 w 4519987"/>
                  <a:gd name="connsiteY47" fmla="*/ 4267200 h 4496940"/>
                  <a:gd name="connsiteX48" fmla="*/ 3068977 w 4519987"/>
                  <a:gd name="connsiteY48" fmla="*/ 4286250 h 4496940"/>
                  <a:gd name="connsiteX49" fmla="*/ 2935627 w 4519987"/>
                  <a:gd name="connsiteY49" fmla="*/ 4333875 h 4496940"/>
                  <a:gd name="connsiteX50" fmla="*/ 2811802 w 4519987"/>
                  <a:gd name="connsiteY50" fmla="*/ 4371975 h 4496940"/>
                  <a:gd name="connsiteX51" fmla="*/ 2745127 w 4519987"/>
                  <a:gd name="connsiteY51" fmla="*/ 4410075 h 4496940"/>
                  <a:gd name="connsiteX52" fmla="*/ 2697502 w 4519987"/>
                  <a:gd name="connsiteY52" fmla="*/ 4429125 h 4496940"/>
                  <a:gd name="connsiteX53" fmla="*/ 2640352 w 4519987"/>
                  <a:gd name="connsiteY53" fmla="*/ 4457700 h 4496940"/>
                  <a:gd name="connsiteX54" fmla="*/ 2583202 w 4519987"/>
                  <a:gd name="connsiteY54" fmla="*/ 4467225 h 4496940"/>
                  <a:gd name="connsiteX55" fmla="*/ 2545102 w 4519987"/>
                  <a:gd name="connsiteY55" fmla="*/ 4486275 h 4496940"/>
                  <a:gd name="connsiteX56" fmla="*/ 2306977 w 4519987"/>
                  <a:gd name="connsiteY56" fmla="*/ 4476750 h 4496940"/>
                  <a:gd name="connsiteX57" fmla="*/ 2202202 w 4519987"/>
                  <a:gd name="connsiteY57" fmla="*/ 4457700 h 4496940"/>
                  <a:gd name="connsiteX58" fmla="*/ 2126002 w 4519987"/>
                  <a:gd name="connsiteY58" fmla="*/ 4429125 h 4496940"/>
                  <a:gd name="connsiteX59" fmla="*/ 1935502 w 4519987"/>
                  <a:gd name="connsiteY59" fmla="*/ 4400550 h 4496940"/>
                  <a:gd name="connsiteX60" fmla="*/ 1821202 w 4519987"/>
                  <a:gd name="connsiteY60" fmla="*/ 4371975 h 4496940"/>
                  <a:gd name="connsiteX61" fmla="*/ 1754527 w 4519987"/>
                  <a:gd name="connsiteY61" fmla="*/ 4352925 h 4496940"/>
                  <a:gd name="connsiteX62" fmla="*/ 1687852 w 4519987"/>
                  <a:gd name="connsiteY62" fmla="*/ 4343400 h 4496940"/>
                  <a:gd name="connsiteX63" fmla="*/ 1573552 w 4519987"/>
                  <a:gd name="connsiteY63" fmla="*/ 4305300 h 4496940"/>
                  <a:gd name="connsiteX64" fmla="*/ 1402102 w 4519987"/>
                  <a:gd name="connsiteY64" fmla="*/ 4276725 h 4496940"/>
                  <a:gd name="connsiteX65" fmla="*/ 1287802 w 4519987"/>
                  <a:gd name="connsiteY65" fmla="*/ 4229100 h 4496940"/>
                  <a:gd name="connsiteX66" fmla="*/ 1221127 w 4519987"/>
                  <a:gd name="connsiteY66" fmla="*/ 4200525 h 4496940"/>
                  <a:gd name="connsiteX67" fmla="*/ 1144927 w 4519987"/>
                  <a:gd name="connsiteY67" fmla="*/ 4171950 h 4496940"/>
                  <a:gd name="connsiteX68" fmla="*/ 1087777 w 4519987"/>
                  <a:gd name="connsiteY68" fmla="*/ 4143375 h 4496940"/>
                  <a:gd name="connsiteX69" fmla="*/ 1030627 w 4519987"/>
                  <a:gd name="connsiteY69" fmla="*/ 4124325 h 4496940"/>
                  <a:gd name="connsiteX70" fmla="*/ 925852 w 4519987"/>
                  <a:gd name="connsiteY70" fmla="*/ 4067175 h 4496940"/>
                  <a:gd name="connsiteX71" fmla="*/ 830602 w 4519987"/>
                  <a:gd name="connsiteY71" fmla="*/ 3981450 h 4496940"/>
                  <a:gd name="connsiteX72" fmla="*/ 763927 w 4519987"/>
                  <a:gd name="connsiteY72" fmla="*/ 3914775 h 4496940"/>
                  <a:gd name="connsiteX73" fmla="*/ 725827 w 4519987"/>
                  <a:gd name="connsiteY73" fmla="*/ 3876675 h 4496940"/>
                  <a:gd name="connsiteX74" fmla="*/ 697252 w 4519987"/>
                  <a:gd name="connsiteY74" fmla="*/ 3838575 h 4496940"/>
                  <a:gd name="connsiteX75" fmla="*/ 640102 w 4519987"/>
                  <a:gd name="connsiteY75" fmla="*/ 3781425 h 4496940"/>
                  <a:gd name="connsiteX76" fmla="*/ 611527 w 4519987"/>
                  <a:gd name="connsiteY76" fmla="*/ 3733800 h 4496940"/>
                  <a:gd name="connsiteX77" fmla="*/ 554377 w 4519987"/>
                  <a:gd name="connsiteY77" fmla="*/ 3657600 h 4496940"/>
                  <a:gd name="connsiteX78" fmla="*/ 525802 w 4519987"/>
                  <a:gd name="connsiteY78" fmla="*/ 3609975 h 4496940"/>
                  <a:gd name="connsiteX79" fmla="*/ 497227 w 4519987"/>
                  <a:gd name="connsiteY79" fmla="*/ 3552825 h 4496940"/>
                  <a:gd name="connsiteX80" fmla="*/ 440077 w 4519987"/>
                  <a:gd name="connsiteY80" fmla="*/ 3495675 h 4496940"/>
                  <a:gd name="connsiteX81" fmla="*/ 411502 w 4519987"/>
                  <a:gd name="connsiteY81" fmla="*/ 3448050 h 4496940"/>
                  <a:gd name="connsiteX82" fmla="*/ 278152 w 4519987"/>
                  <a:gd name="connsiteY82" fmla="*/ 3257550 h 4496940"/>
                  <a:gd name="connsiteX83" fmla="*/ 249577 w 4519987"/>
                  <a:gd name="connsiteY83" fmla="*/ 3200400 h 4496940"/>
                  <a:gd name="connsiteX84" fmla="*/ 240052 w 4519987"/>
                  <a:gd name="connsiteY84" fmla="*/ 3162300 h 4496940"/>
                  <a:gd name="connsiteX85" fmla="*/ 221002 w 4519987"/>
                  <a:gd name="connsiteY85" fmla="*/ 3105150 h 4496940"/>
                  <a:gd name="connsiteX86" fmla="*/ 173377 w 4519987"/>
                  <a:gd name="connsiteY86" fmla="*/ 3019425 h 4496940"/>
                  <a:gd name="connsiteX87" fmla="*/ 144802 w 4519987"/>
                  <a:gd name="connsiteY87" fmla="*/ 2924175 h 4496940"/>
                  <a:gd name="connsiteX88" fmla="*/ 68602 w 4519987"/>
                  <a:gd name="connsiteY88" fmla="*/ 2724150 h 4496940"/>
                  <a:gd name="connsiteX89" fmla="*/ 49552 w 4519987"/>
                  <a:gd name="connsiteY89" fmla="*/ 2638425 h 4496940"/>
                  <a:gd name="connsiteX90" fmla="*/ 40027 w 4519987"/>
                  <a:gd name="connsiteY90" fmla="*/ 2562225 h 4496940"/>
                  <a:gd name="connsiteX91" fmla="*/ 30502 w 4519987"/>
                  <a:gd name="connsiteY91" fmla="*/ 2514600 h 4496940"/>
                  <a:gd name="connsiteX92" fmla="*/ 11452 w 4519987"/>
                  <a:gd name="connsiteY92" fmla="*/ 2400300 h 4496940"/>
                  <a:gd name="connsiteX93" fmla="*/ 20977 w 4519987"/>
                  <a:gd name="connsiteY93" fmla="*/ 1905000 h 4496940"/>
                  <a:gd name="connsiteX94" fmla="*/ 30502 w 4519987"/>
                  <a:gd name="connsiteY94" fmla="*/ 1838325 h 4496940"/>
                  <a:gd name="connsiteX95" fmla="*/ 49552 w 4519987"/>
                  <a:gd name="connsiteY95" fmla="*/ 1781175 h 4496940"/>
                  <a:gd name="connsiteX96" fmla="*/ 59077 w 4519987"/>
                  <a:gd name="connsiteY96" fmla="*/ 1743075 h 4496940"/>
                  <a:gd name="connsiteX97" fmla="*/ 78127 w 4519987"/>
                  <a:gd name="connsiteY97" fmla="*/ 1685925 h 4496940"/>
                  <a:gd name="connsiteX98" fmla="*/ 87652 w 4519987"/>
                  <a:gd name="connsiteY98" fmla="*/ 1638300 h 4496940"/>
                  <a:gd name="connsiteX99" fmla="*/ 106702 w 4519987"/>
                  <a:gd name="connsiteY99" fmla="*/ 1590675 h 4496940"/>
                  <a:gd name="connsiteX100" fmla="*/ 135277 w 4519987"/>
                  <a:gd name="connsiteY100" fmla="*/ 1504950 h 4496940"/>
                  <a:gd name="connsiteX101" fmla="*/ 154327 w 4519987"/>
                  <a:gd name="connsiteY101" fmla="*/ 1419225 h 4496940"/>
                  <a:gd name="connsiteX102" fmla="*/ 230527 w 4519987"/>
                  <a:gd name="connsiteY102" fmla="*/ 1276350 h 4496940"/>
                  <a:gd name="connsiteX103" fmla="*/ 240052 w 4519987"/>
                  <a:gd name="connsiteY103" fmla="*/ 1247775 h 4496940"/>
                  <a:gd name="connsiteX104" fmla="*/ 268627 w 4519987"/>
                  <a:gd name="connsiteY104" fmla="*/ 1200150 h 4496940"/>
                  <a:gd name="connsiteX105" fmla="*/ 287677 w 4519987"/>
                  <a:gd name="connsiteY105" fmla="*/ 1152525 h 4496940"/>
                  <a:gd name="connsiteX106" fmla="*/ 316252 w 4519987"/>
                  <a:gd name="connsiteY106" fmla="*/ 1114425 h 4496940"/>
                  <a:gd name="connsiteX107" fmla="*/ 363877 w 4519987"/>
                  <a:gd name="connsiteY107" fmla="*/ 1038225 h 4496940"/>
                  <a:gd name="connsiteX108" fmla="*/ 382927 w 4519987"/>
                  <a:gd name="connsiteY108" fmla="*/ 1009650 h 4496940"/>
                  <a:gd name="connsiteX109" fmla="*/ 440077 w 4519987"/>
                  <a:gd name="connsiteY109" fmla="*/ 904875 h 4496940"/>
                  <a:gd name="connsiteX110" fmla="*/ 478177 w 4519987"/>
                  <a:gd name="connsiteY110" fmla="*/ 857250 h 4496940"/>
                  <a:gd name="connsiteX111" fmla="*/ 497227 w 4519987"/>
                  <a:gd name="connsiteY111" fmla="*/ 828675 h 4496940"/>
                  <a:gd name="connsiteX112" fmla="*/ 535327 w 4519987"/>
                  <a:gd name="connsiteY112" fmla="*/ 800100 h 4496940"/>
                  <a:gd name="connsiteX113" fmla="*/ 602002 w 4519987"/>
                  <a:gd name="connsiteY113" fmla="*/ 733425 h 4496940"/>
                  <a:gd name="connsiteX114" fmla="*/ 668677 w 4519987"/>
                  <a:gd name="connsiteY114" fmla="*/ 676275 h 4496940"/>
                  <a:gd name="connsiteX115" fmla="*/ 697252 w 4519987"/>
                  <a:gd name="connsiteY115" fmla="*/ 657225 h 4496940"/>
                  <a:gd name="connsiteX116" fmla="*/ 840127 w 4519987"/>
                  <a:gd name="connsiteY116" fmla="*/ 533400 h 4496940"/>
                  <a:gd name="connsiteX117" fmla="*/ 887752 w 4519987"/>
                  <a:gd name="connsiteY117" fmla="*/ 504825 h 4496940"/>
                  <a:gd name="connsiteX118" fmla="*/ 1167152 w 4519987"/>
                  <a:gd name="connsiteY118" fmla="*/ 311150 h 4496940"/>
                  <a:gd name="connsiteX119" fmla="*/ 1268752 w 4519987"/>
                  <a:gd name="connsiteY119" fmla="*/ 285750 h 4496940"/>
                  <a:gd name="connsiteX120" fmla="*/ 1411627 w 4519987"/>
                  <a:gd name="connsiteY120" fmla="*/ 190500 h 4496940"/>
                  <a:gd name="connsiteX121" fmla="*/ 1449727 w 4519987"/>
                  <a:gd name="connsiteY121" fmla="*/ 161925 h 4496940"/>
                  <a:gd name="connsiteX122" fmla="*/ 1525927 w 4519987"/>
                  <a:gd name="connsiteY122" fmla="*/ 152400 h 4496940"/>
                  <a:gd name="connsiteX123" fmla="*/ 1583077 w 4519987"/>
                  <a:gd name="connsiteY123" fmla="*/ 142875 h 4496940"/>
                  <a:gd name="connsiteX124" fmla="*/ 1716427 w 4519987"/>
                  <a:gd name="connsiteY124" fmla="*/ 123825 h 4496940"/>
                  <a:gd name="connsiteX125" fmla="*/ 1811677 w 4519987"/>
                  <a:gd name="connsiteY125" fmla="*/ 114300 h 4496940"/>
                  <a:gd name="connsiteX126" fmla="*/ 1859302 w 4519987"/>
                  <a:gd name="connsiteY126" fmla="*/ 104775 h 4496940"/>
                  <a:gd name="connsiteX127" fmla="*/ 1916452 w 4519987"/>
                  <a:gd name="connsiteY127" fmla="*/ 95250 h 4496940"/>
                  <a:gd name="connsiteX128" fmla="*/ 2030752 w 4519987"/>
                  <a:gd name="connsiteY128" fmla="*/ 66675 h 4496940"/>
                  <a:gd name="connsiteX129" fmla="*/ 2097427 w 4519987"/>
                  <a:gd name="connsiteY129" fmla="*/ 47625 h 4496940"/>
                  <a:gd name="connsiteX130" fmla="*/ 2164102 w 4519987"/>
                  <a:gd name="connsiteY130" fmla="*/ 38100 h 4496940"/>
                  <a:gd name="connsiteX131" fmla="*/ 2392702 w 4519987"/>
                  <a:gd name="connsiteY13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88152 w 4519987"/>
                  <a:gd name="connsiteY33" fmla="*/ 3495675 h 4496940"/>
                  <a:gd name="connsiteX34" fmla="*/ 4059577 w 4519987"/>
                  <a:gd name="connsiteY34" fmla="*/ 3533775 h 4496940"/>
                  <a:gd name="connsiteX35" fmla="*/ 4002427 w 4519987"/>
                  <a:gd name="connsiteY35" fmla="*/ 3600450 h 4496940"/>
                  <a:gd name="connsiteX36" fmla="*/ 3954802 w 4519987"/>
                  <a:gd name="connsiteY36" fmla="*/ 3648075 h 4496940"/>
                  <a:gd name="connsiteX37" fmla="*/ 3659527 w 4519987"/>
                  <a:gd name="connsiteY37" fmla="*/ 3971925 h 4496940"/>
                  <a:gd name="connsiteX38" fmla="*/ 3630952 w 4519987"/>
                  <a:gd name="connsiteY38" fmla="*/ 4010025 h 4496940"/>
                  <a:gd name="connsiteX39" fmla="*/ 3621427 w 4519987"/>
                  <a:gd name="connsiteY39" fmla="*/ 4038600 h 4496940"/>
                  <a:gd name="connsiteX40" fmla="*/ 3554752 w 4519987"/>
                  <a:gd name="connsiteY40" fmla="*/ 4095750 h 4496940"/>
                  <a:gd name="connsiteX41" fmla="*/ 3516652 w 4519987"/>
                  <a:gd name="connsiteY41" fmla="*/ 4114800 h 4496940"/>
                  <a:gd name="connsiteX42" fmla="*/ 3497602 w 4519987"/>
                  <a:gd name="connsiteY42" fmla="*/ 4143375 h 4496940"/>
                  <a:gd name="connsiteX43" fmla="*/ 3383302 w 4519987"/>
                  <a:gd name="connsiteY43" fmla="*/ 4210050 h 4496940"/>
                  <a:gd name="connsiteX44" fmla="*/ 3335677 w 4519987"/>
                  <a:gd name="connsiteY44" fmla="*/ 4238625 h 4496940"/>
                  <a:gd name="connsiteX45" fmla="*/ 3288052 w 4519987"/>
                  <a:gd name="connsiteY45" fmla="*/ 4248150 h 4496940"/>
                  <a:gd name="connsiteX46" fmla="*/ 3240427 w 4519987"/>
                  <a:gd name="connsiteY46" fmla="*/ 4267200 h 4496940"/>
                  <a:gd name="connsiteX47" fmla="*/ 3068977 w 4519987"/>
                  <a:gd name="connsiteY47" fmla="*/ 4286250 h 4496940"/>
                  <a:gd name="connsiteX48" fmla="*/ 2935627 w 4519987"/>
                  <a:gd name="connsiteY48" fmla="*/ 4333875 h 4496940"/>
                  <a:gd name="connsiteX49" fmla="*/ 2811802 w 4519987"/>
                  <a:gd name="connsiteY49" fmla="*/ 4371975 h 4496940"/>
                  <a:gd name="connsiteX50" fmla="*/ 2745127 w 4519987"/>
                  <a:gd name="connsiteY50" fmla="*/ 4410075 h 4496940"/>
                  <a:gd name="connsiteX51" fmla="*/ 2697502 w 4519987"/>
                  <a:gd name="connsiteY51" fmla="*/ 4429125 h 4496940"/>
                  <a:gd name="connsiteX52" fmla="*/ 2640352 w 4519987"/>
                  <a:gd name="connsiteY52" fmla="*/ 4457700 h 4496940"/>
                  <a:gd name="connsiteX53" fmla="*/ 2583202 w 4519987"/>
                  <a:gd name="connsiteY53" fmla="*/ 4467225 h 4496940"/>
                  <a:gd name="connsiteX54" fmla="*/ 2545102 w 4519987"/>
                  <a:gd name="connsiteY54" fmla="*/ 4486275 h 4496940"/>
                  <a:gd name="connsiteX55" fmla="*/ 2306977 w 4519987"/>
                  <a:gd name="connsiteY55" fmla="*/ 4476750 h 4496940"/>
                  <a:gd name="connsiteX56" fmla="*/ 2202202 w 4519987"/>
                  <a:gd name="connsiteY56" fmla="*/ 4457700 h 4496940"/>
                  <a:gd name="connsiteX57" fmla="*/ 2126002 w 4519987"/>
                  <a:gd name="connsiteY57" fmla="*/ 4429125 h 4496940"/>
                  <a:gd name="connsiteX58" fmla="*/ 1935502 w 4519987"/>
                  <a:gd name="connsiteY58" fmla="*/ 4400550 h 4496940"/>
                  <a:gd name="connsiteX59" fmla="*/ 1821202 w 4519987"/>
                  <a:gd name="connsiteY59" fmla="*/ 4371975 h 4496940"/>
                  <a:gd name="connsiteX60" fmla="*/ 1754527 w 4519987"/>
                  <a:gd name="connsiteY60" fmla="*/ 4352925 h 4496940"/>
                  <a:gd name="connsiteX61" fmla="*/ 1687852 w 4519987"/>
                  <a:gd name="connsiteY61" fmla="*/ 4343400 h 4496940"/>
                  <a:gd name="connsiteX62" fmla="*/ 1573552 w 4519987"/>
                  <a:gd name="connsiteY62" fmla="*/ 4305300 h 4496940"/>
                  <a:gd name="connsiteX63" fmla="*/ 1402102 w 4519987"/>
                  <a:gd name="connsiteY63" fmla="*/ 4276725 h 4496940"/>
                  <a:gd name="connsiteX64" fmla="*/ 1287802 w 4519987"/>
                  <a:gd name="connsiteY64" fmla="*/ 4229100 h 4496940"/>
                  <a:gd name="connsiteX65" fmla="*/ 1221127 w 4519987"/>
                  <a:gd name="connsiteY65" fmla="*/ 4200525 h 4496940"/>
                  <a:gd name="connsiteX66" fmla="*/ 1144927 w 4519987"/>
                  <a:gd name="connsiteY66" fmla="*/ 4171950 h 4496940"/>
                  <a:gd name="connsiteX67" fmla="*/ 1087777 w 4519987"/>
                  <a:gd name="connsiteY67" fmla="*/ 4143375 h 4496940"/>
                  <a:gd name="connsiteX68" fmla="*/ 1030627 w 4519987"/>
                  <a:gd name="connsiteY68" fmla="*/ 4124325 h 4496940"/>
                  <a:gd name="connsiteX69" fmla="*/ 925852 w 4519987"/>
                  <a:gd name="connsiteY69" fmla="*/ 4067175 h 4496940"/>
                  <a:gd name="connsiteX70" fmla="*/ 830602 w 4519987"/>
                  <a:gd name="connsiteY70" fmla="*/ 3981450 h 4496940"/>
                  <a:gd name="connsiteX71" fmla="*/ 763927 w 4519987"/>
                  <a:gd name="connsiteY71" fmla="*/ 3914775 h 4496940"/>
                  <a:gd name="connsiteX72" fmla="*/ 725827 w 4519987"/>
                  <a:gd name="connsiteY72" fmla="*/ 3876675 h 4496940"/>
                  <a:gd name="connsiteX73" fmla="*/ 697252 w 4519987"/>
                  <a:gd name="connsiteY73" fmla="*/ 3838575 h 4496940"/>
                  <a:gd name="connsiteX74" fmla="*/ 640102 w 4519987"/>
                  <a:gd name="connsiteY74" fmla="*/ 3781425 h 4496940"/>
                  <a:gd name="connsiteX75" fmla="*/ 611527 w 4519987"/>
                  <a:gd name="connsiteY75" fmla="*/ 3733800 h 4496940"/>
                  <a:gd name="connsiteX76" fmla="*/ 554377 w 4519987"/>
                  <a:gd name="connsiteY76" fmla="*/ 3657600 h 4496940"/>
                  <a:gd name="connsiteX77" fmla="*/ 525802 w 4519987"/>
                  <a:gd name="connsiteY77" fmla="*/ 3609975 h 4496940"/>
                  <a:gd name="connsiteX78" fmla="*/ 497227 w 4519987"/>
                  <a:gd name="connsiteY78" fmla="*/ 3552825 h 4496940"/>
                  <a:gd name="connsiteX79" fmla="*/ 440077 w 4519987"/>
                  <a:gd name="connsiteY79" fmla="*/ 3495675 h 4496940"/>
                  <a:gd name="connsiteX80" fmla="*/ 411502 w 4519987"/>
                  <a:gd name="connsiteY80" fmla="*/ 3448050 h 4496940"/>
                  <a:gd name="connsiteX81" fmla="*/ 278152 w 4519987"/>
                  <a:gd name="connsiteY81" fmla="*/ 3257550 h 4496940"/>
                  <a:gd name="connsiteX82" fmla="*/ 249577 w 4519987"/>
                  <a:gd name="connsiteY82" fmla="*/ 3200400 h 4496940"/>
                  <a:gd name="connsiteX83" fmla="*/ 240052 w 4519987"/>
                  <a:gd name="connsiteY83" fmla="*/ 3162300 h 4496940"/>
                  <a:gd name="connsiteX84" fmla="*/ 221002 w 4519987"/>
                  <a:gd name="connsiteY84" fmla="*/ 3105150 h 4496940"/>
                  <a:gd name="connsiteX85" fmla="*/ 173377 w 4519987"/>
                  <a:gd name="connsiteY85" fmla="*/ 3019425 h 4496940"/>
                  <a:gd name="connsiteX86" fmla="*/ 144802 w 4519987"/>
                  <a:gd name="connsiteY86" fmla="*/ 2924175 h 4496940"/>
                  <a:gd name="connsiteX87" fmla="*/ 68602 w 4519987"/>
                  <a:gd name="connsiteY87" fmla="*/ 2724150 h 4496940"/>
                  <a:gd name="connsiteX88" fmla="*/ 49552 w 4519987"/>
                  <a:gd name="connsiteY88" fmla="*/ 2638425 h 4496940"/>
                  <a:gd name="connsiteX89" fmla="*/ 40027 w 4519987"/>
                  <a:gd name="connsiteY89" fmla="*/ 2562225 h 4496940"/>
                  <a:gd name="connsiteX90" fmla="*/ 30502 w 4519987"/>
                  <a:gd name="connsiteY90" fmla="*/ 2514600 h 4496940"/>
                  <a:gd name="connsiteX91" fmla="*/ 11452 w 4519987"/>
                  <a:gd name="connsiteY91" fmla="*/ 2400300 h 4496940"/>
                  <a:gd name="connsiteX92" fmla="*/ 20977 w 4519987"/>
                  <a:gd name="connsiteY92" fmla="*/ 1905000 h 4496940"/>
                  <a:gd name="connsiteX93" fmla="*/ 30502 w 4519987"/>
                  <a:gd name="connsiteY93" fmla="*/ 1838325 h 4496940"/>
                  <a:gd name="connsiteX94" fmla="*/ 49552 w 4519987"/>
                  <a:gd name="connsiteY94" fmla="*/ 1781175 h 4496940"/>
                  <a:gd name="connsiteX95" fmla="*/ 59077 w 4519987"/>
                  <a:gd name="connsiteY95" fmla="*/ 1743075 h 4496940"/>
                  <a:gd name="connsiteX96" fmla="*/ 78127 w 4519987"/>
                  <a:gd name="connsiteY96" fmla="*/ 1685925 h 4496940"/>
                  <a:gd name="connsiteX97" fmla="*/ 87652 w 4519987"/>
                  <a:gd name="connsiteY97" fmla="*/ 1638300 h 4496940"/>
                  <a:gd name="connsiteX98" fmla="*/ 106702 w 4519987"/>
                  <a:gd name="connsiteY98" fmla="*/ 1590675 h 4496940"/>
                  <a:gd name="connsiteX99" fmla="*/ 135277 w 4519987"/>
                  <a:gd name="connsiteY99" fmla="*/ 1504950 h 4496940"/>
                  <a:gd name="connsiteX100" fmla="*/ 154327 w 4519987"/>
                  <a:gd name="connsiteY100" fmla="*/ 1419225 h 4496940"/>
                  <a:gd name="connsiteX101" fmla="*/ 230527 w 4519987"/>
                  <a:gd name="connsiteY101" fmla="*/ 1276350 h 4496940"/>
                  <a:gd name="connsiteX102" fmla="*/ 240052 w 4519987"/>
                  <a:gd name="connsiteY102" fmla="*/ 1247775 h 4496940"/>
                  <a:gd name="connsiteX103" fmla="*/ 268627 w 4519987"/>
                  <a:gd name="connsiteY103" fmla="*/ 1200150 h 4496940"/>
                  <a:gd name="connsiteX104" fmla="*/ 287677 w 4519987"/>
                  <a:gd name="connsiteY104" fmla="*/ 1152525 h 4496940"/>
                  <a:gd name="connsiteX105" fmla="*/ 316252 w 4519987"/>
                  <a:gd name="connsiteY105" fmla="*/ 1114425 h 4496940"/>
                  <a:gd name="connsiteX106" fmla="*/ 363877 w 4519987"/>
                  <a:gd name="connsiteY106" fmla="*/ 1038225 h 4496940"/>
                  <a:gd name="connsiteX107" fmla="*/ 382927 w 4519987"/>
                  <a:gd name="connsiteY107" fmla="*/ 1009650 h 4496940"/>
                  <a:gd name="connsiteX108" fmla="*/ 440077 w 4519987"/>
                  <a:gd name="connsiteY108" fmla="*/ 904875 h 4496940"/>
                  <a:gd name="connsiteX109" fmla="*/ 478177 w 4519987"/>
                  <a:gd name="connsiteY109" fmla="*/ 857250 h 4496940"/>
                  <a:gd name="connsiteX110" fmla="*/ 497227 w 4519987"/>
                  <a:gd name="connsiteY110" fmla="*/ 828675 h 4496940"/>
                  <a:gd name="connsiteX111" fmla="*/ 535327 w 4519987"/>
                  <a:gd name="connsiteY111" fmla="*/ 800100 h 4496940"/>
                  <a:gd name="connsiteX112" fmla="*/ 602002 w 4519987"/>
                  <a:gd name="connsiteY112" fmla="*/ 733425 h 4496940"/>
                  <a:gd name="connsiteX113" fmla="*/ 668677 w 4519987"/>
                  <a:gd name="connsiteY113" fmla="*/ 676275 h 4496940"/>
                  <a:gd name="connsiteX114" fmla="*/ 697252 w 4519987"/>
                  <a:gd name="connsiteY114" fmla="*/ 657225 h 4496940"/>
                  <a:gd name="connsiteX115" fmla="*/ 840127 w 4519987"/>
                  <a:gd name="connsiteY115" fmla="*/ 533400 h 4496940"/>
                  <a:gd name="connsiteX116" fmla="*/ 887752 w 4519987"/>
                  <a:gd name="connsiteY116" fmla="*/ 504825 h 4496940"/>
                  <a:gd name="connsiteX117" fmla="*/ 1167152 w 4519987"/>
                  <a:gd name="connsiteY117" fmla="*/ 311150 h 4496940"/>
                  <a:gd name="connsiteX118" fmla="*/ 1268752 w 4519987"/>
                  <a:gd name="connsiteY118" fmla="*/ 285750 h 4496940"/>
                  <a:gd name="connsiteX119" fmla="*/ 1411627 w 4519987"/>
                  <a:gd name="connsiteY119" fmla="*/ 190500 h 4496940"/>
                  <a:gd name="connsiteX120" fmla="*/ 1449727 w 4519987"/>
                  <a:gd name="connsiteY120" fmla="*/ 161925 h 4496940"/>
                  <a:gd name="connsiteX121" fmla="*/ 1525927 w 4519987"/>
                  <a:gd name="connsiteY121" fmla="*/ 152400 h 4496940"/>
                  <a:gd name="connsiteX122" fmla="*/ 1583077 w 4519987"/>
                  <a:gd name="connsiteY122" fmla="*/ 142875 h 4496940"/>
                  <a:gd name="connsiteX123" fmla="*/ 1716427 w 4519987"/>
                  <a:gd name="connsiteY123" fmla="*/ 123825 h 4496940"/>
                  <a:gd name="connsiteX124" fmla="*/ 1811677 w 4519987"/>
                  <a:gd name="connsiteY124" fmla="*/ 114300 h 4496940"/>
                  <a:gd name="connsiteX125" fmla="*/ 1859302 w 4519987"/>
                  <a:gd name="connsiteY125" fmla="*/ 104775 h 4496940"/>
                  <a:gd name="connsiteX126" fmla="*/ 1916452 w 4519987"/>
                  <a:gd name="connsiteY126" fmla="*/ 95250 h 4496940"/>
                  <a:gd name="connsiteX127" fmla="*/ 2030752 w 4519987"/>
                  <a:gd name="connsiteY127" fmla="*/ 66675 h 4496940"/>
                  <a:gd name="connsiteX128" fmla="*/ 2097427 w 4519987"/>
                  <a:gd name="connsiteY128" fmla="*/ 47625 h 4496940"/>
                  <a:gd name="connsiteX129" fmla="*/ 2164102 w 4519987"/>
                  <a:gd name="connsiteY129" fmla="*/ 38100 h 4496940"/>
                  <a:gd name="connsiteX130" fmla="*/ 2392702 w 4519987"/>
                  <a:gd name="connsiteY13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4002427 w 4519987"/>
                  <a:gd name="connsiteY34" fmla="*/ 3600450 h 4496940"/>
                  <a:gd name="connsiteX35" fmla="*/ 3954802 w 4519987"/>
                  <a:gd name="connsiteY35" fmla="*/ 3648075 h 4496940"/>
                  <a:gd name="connsiteX36" fmla="*/ 3659527 w 4519987"/>
                  <a:gd name="connsiteY36" fmla="*/ 3971925 h 4496940"/>
                  <a:gd name="connsiteX37" fmla="*/ 3630952 w 4519987"/>
                  <a:gd name="connsiteY37" fmla="*/ 4010025 h 4496940"/>
                  <a:gd name="connsiteX38" fmla="*/ 3621427 w 4519987"/>
                  <a:gd name="connsiteY38" fmla="*/ 4038600 h 4496940"/>
                  <a:gd name="connsiteX39" fmla="*/ 3554752 w 4519987"/>
                  <a:gd name="connsiteY39" fmla="*/ 4095750 h 4496940"/>
                  <a:gd name="connsiteX40" fmla="*/ 3516652 w 4519987"/>
                  <a:gd name="connsiteY40" fmla="*/ 4114800 h 4496940"/>
                  <a:gd name="connsiteX41" fmla="*/ 3497602 w 4519987"/>
                  <a:gd name="connsiteY41" fmla="*/ 4143375 h 4496940"/>
                  <a:gd name="connsiteX42" fmla="*/ 3383302 w 4519987"/>
                  <a:gd name="connsiteY42" fmla="*/ 4210050 h 4496940"/>
                  <a:gd name="connsiteX43" fmla="*/ 3335677 w 4519987"/>
                  <a:gd name="connsiteY43" fmla="*/ 4238625 h 4496940"/>
                  <a:gd name="connsiteX44" fmla="*/ 3288052 w 4519987"/>
                  <a:gd name="connsiteY44" fmla="*/ 4248150 h 4496940"/>
                  <a:gd name="connsiteX45" fmla="*/ 3240427 w 4519987"/>
                  <a:gd name="connsiteY45" fmla="*/ 4267200 h 4496940"/>
                  <a:gd name="connsiteX46" fmla="*/ 3068977 w 4519987"/>
                  <a:gd name="connsiteY46" fmla="*/ 4286250 h 4496940"/>
                  <a:gd name="connsiteX47" fmla="*/ 2935627 w 4519987"/>
                  <a:gd name="connsiteY47" fmla="*/ 4333875 h 4496940"/>
                  <a:gd name="connsiteX48" fmla="*/ 2811802 w 4519987"/>
                  <a:gd name="connsiteY48" fmla="*/ 4371975 h 4496940"/>
                  <a:gd name="connsiteX49" fmla="*/ 2745127 w 4519987"/>
                  <a:gd name="connsiteY49" fmla="*/ 4410075 h 4496940"/>
                  <a:gd name="connsiteX50" fmla="*/ 2697502 w 4519987"/>
                  <a:gd name="connsiteY50" fmla="*/ 4429125 h 4496940"/>
                  <a:gd name="connsiteX51" fmla="*/ 2640352 w 4519987"/>
                  <a:gd name="connsiteY51" fmla="*/ 4457700 h 4496940"/>
                  <a:gd name="connsiteX52" fmla="*/ 2583202 w 4519987"/>
                  <a:gd name="connsiteY52" fmla="*/ 4467225 h 4496940"/>
                  <a:gd name="connsiteX53" fmla="*/ 2545102 w 4519987"/>
                  <a:gd name="connsiteY53" fmla="*/ 4486275 h 4496940"/>
                  <a:gd name="connsiteX54" fmla="*/ 2306977 w 4519987"/>
                  <a:gd name="connsiteY54" fmla="*/ 4476750 h 4496940"/>
                  <a:gd name="connsiteX55" fmla="*/ 2202202 w 4519987"/>
                  <a:gd name="connsiteY55" fmla="*/ 4457700 h 4496940"/>
                  <a:gd name="connsiteX56" fmla="*/ 2126002 w 4519987"/>
                  <a:gd name="connsiteY56" fmla="*/ 4429125 h 4496940"/>
                  <a:gd name="connsiteX57" fmla="*/ 1935502 w 4519987"/>
                  <a:gd name="connsiteY57" fmla="*/ 4400550 h 4496940"/>
                  <a:gd name="connsiteX58" fmla="*/ 1821202 w 4519987"/>
                  <a:gd name="connsiteY58" fmla="*/ 4371975 h 4496940"/>
                  <a:gd name="connsiteX59" fmla="*/ 1754527 w 4519987"/>
                  <a:gd name="connsiteY59" fmla="*/ 4352925 h 4496940"/>
                  <a:gd name="connsiteX60" fmla="*/ 1687852 w 4519987"/>
                  <a:gd name="connsiteY60" fmla="*/ 4343400 h 4496940"/>
                  <a:gd name="connsiteX61" fmla="*/ 1573552 w 4519987"/>
                  <a:gd name="connsiteY61" fmla="*/ 4305300 h 4496940"/>
                  <a:gd name="connsiteX62" fmla="*/ 1402102 w 4519987"/>
                  <a:gd name="connsiteY62" fmla="*/ 4276725 h 4496940"/>
                  <a:gd name="connsiteX63" fmla="*/ 1287802 w 4519987"/>
                  <a:gd name="connsiteY63" fmla="*/ 4229100 h 4496940"/>
                  <a:gd name="connsiteX64" fmla="*/ 1221127 w 4519987"/>
                  <a:gd name="connsiteY64" fmla="*/ 4200525 h 4496940"/>
                  <a:gd name="connsiteX65" fmla="*/ 1144927 w 4519987"/>
                  <a:gd name="connsiteY65" fmla="*/ 4171950 h 4496940"/>
                  <a:gd name="connsiteX66" fmla="*/ 1087777 w 4519987"/>
                  <a:gd name="connsiteY66" fmla="*/ 4143375 h 4496940"/>
                  <a:gd name="connsiteX67" fmla="*/ 1030627 w 4519987"/>
                  <a:gd name="connsiteY67" fmla="*/ 4124325 h 4496940"/>
                  <a:gd name="connsiteX68" fmla="*/ 925852 w 4519987"/>
                  <a:gd name="connsiteY68" fmla="*/ 4067175 h 4496940"/>
                  <a:gd name="connsiteX69" fmla="*/ 830602 w 4519987"/>
                  <a:gd name="connsiteY69" fmla="*/ 3981450 h 4496940"/>
                  <a:gd name="connsiteX70" fmla="*/ 763927 w 4519987"/>
                  <a:gd name="connsiteY70" fmla="*/ 3914775 h 4496940"/>
                  <a:gd name="connsiteX71" fmla="*/ 725827 w 4519987"/>
                  <a:gd name="connsiteY71" fmla="*/ 3876675 h 4496940"/>
                  <a:gd name="connsiteX72" fmla="*/ 697252 w 4519987"/>
                  <a:gd name="connsiteY72" fmla="*/ 3838575 h 4496940"/>
                  <a:gd name="connsiteX73" fmla="*/ 640102 w 4519987"/>
                  <a:gd name="connsiteY73" fmla="*/ 3781425 h 4496940"/>
                  <a:gd name="connsiteX74" fmla="*/ 611527 w 4519987"/>
                  <a:gd name="connsiteY74" fmla="*/ 3733800 h 4496940"/>
                  <a:gd name="connsiteX75" fmla="*/ 554377 w 4519987"/>
                  <a:gd name="connsiteY75" fmla="*/ 3657600 h 4496940"/>
                  <a:gd name="connsiteX76" fmla="*/ 525802 w 4519987"/>
                  <a:gd name="connsiteY76" fmla="*/ 3609975 h 4496940"/>
                  <a:gd name="connsiteX77" fmla="*/ 497227 w 4519987"/>
                  <a:gd name="connsiteY77" fmla="*/ 3552825 h 4496940"/>
                  <a:gd name="connsiteX78" fmla="*/ 440077 w 4519987"/>
                  <a:gd name="connsiteY78" fmla="*/ 3495675 h 4496940"/>
                  <a:gd name="connsiteX79" fmla="*/ 411502 w 4519987"/>
                  <a:gd name="connsiteY79" fmla="*/ 3448050 h 4496940"/>
                  <a:gd name="connsiteX80" fmla="*/ 278152 w 4519987"/>
                  <a:gd name="connsiteY80" fmla="*/ 3257550 h 4496940"/>
                  <a:gd name="connsiteX81" fmla="*/ 249577 w 4519987"/>
                  <a:gd name="connsiteY81" fmla="*/ 3200400 h 4496940"/>
                  <a:gd name="connsiteX82" fmla="*/ 240052 w 4519987"/>
                  <a:gd name="connsiteY82" fmla="*/ 3162300 h 4496940"/>
                  <a:gd name="connsiteX83" fmla="*/ 221002 w 4519987"/>
                  <a:gd name="connsiteY83" fmla="*/ 3105150 h 4496940"/>
                  <a:gd name="connsiteX84" fmla="*/ 173377 w 4519987"/>
                  <a:gd name="connsiteY84" fmla="*/ 3019425 h 4496940"/>
                  <a:gd name="connsiteX85" fmla="*/ 144802 w 4519987"/>
                  <a:gd name="connsiteY85" fmla="*/ 2924175 h 4496940"/>
                  <a:gd name="connsiteX86" fmla="*/ 68602 w 4519987"/>
                  <a:gd name="connsiteY86" fmla="*/ 2724150 h 4496940"/>
                  <a:gd name="connsiteX87" fmla="*/ 49552 w 4519987"/>
                  <a:gd name="connsiteY87" fmla="*/ 2638425 h 4496940"/>
                  <a:gd name="connsiteX88" fmla="*/ 40027 w 4519987"/>
                  <a:gd name="connsiteY88" fmla="*/ 2562225 h 4496940"/>
                  <a:gd name="connsiteX89" fmla="*/ 30502 w 4519987"/>
                  <a:gd name="connsiteY89" fmla="*/ 2514600 h 4496940"/>
                  <a:gd name="connsiteX90" fmla="*/ 11452 w 4519987"/>
                  <a:gd name="connsiteY90" fmla="*/ 2400300 h 4496940"/>
                  <a:gd name="connsiteX91" fmla="*/ 20977 w 4519987"/>
                  <a:gd name="connsiteY91" fmla="*/ 1905000 h 4496940"/>
                  <a:gd name="connsiteX92" fmla="*/ 30502 w 4519987"/>
                  <a:gd name="connsiteY92" fmla="*/ 1838325 h 4496940"/>
                  <a:gd name="connsiteX93" fmla="*/ 49552 w 4519987"/>
                  <a:gd name="connsiteY93" fmla="*/ 1781175 h 4496940"/>
                  <a:gd name="connsiteX94" fmla="*/ 59077 w 4519987"/>
                  <a:gd name="connsiteY94" fmla="*/ 1743075 h 4496940"/>
                  <a:gd name="connsiteX95" fmla="*/ 78127 w 4519987"/>
                  <a:gd name="connsiteY95" fmla="*/ 1685925 h 4496940"/>
                  <a:gd name="connsiteX96" fmla="*/ 87652 w 4519987"/>
                  <a:gd name="connsiteY96" fmla="*/ 1638300 h 4496940"/>
                  <a:gd name="connsiteX97" fmla="*/ 106702 w 4519987"/>
                  <a:gd name="connsiteY97" fmla="*/ 1590675 h 4496940"/>
                  <a:gd name="connsiteX98" fmla="*/ 135277 w 4519987"/>
                  <a:gd name="connsiteY98" fmla="*/ 1504950 h 4496940"/>
                  <a:gd name="connsiteX99" fmla="*/ 154327 w 4519987"/>
                  <a:gd name="connsiteY99" fmla="*/ 1419225 h 4496940"/>
                  <a:gd name="connsiteX100" fmla="*/ 230527 w 4519987"/>
                  <a:gd name="connsiteY100" fmla="*/ 1276350 h 4496940"/>
                  <a:gd name="connsiteX101" fmla="*/ 240052 w 4519987"/>
                  <a:gd name="connsiteY101" fmla="*/ 1247775 h 4496940"/>
                  <a:gd name="connsiteX102" fmla="*/ 268627 w 4519987"/>
                  <a:gd name="connsiteY102" fmla="*/ 1200150 h 4496940"/>
                  <a:gd name="connsiteX103" fmla="*/ 287677 w 4519987"/>
                  <a:gd name="connsiteY103" fmla="*/ 1152525 h 4496940"/>
                  <a:gd name="connsiteX104" fmla="*/ 316252 w 4519987"/>
                  <a:gd name="connsiteY104" fmla="*/ 1114425 h 4496940"/>
                  <a:gd name="connsiteX105" fmla="*/ 363877 w 4519987"/>
                  <a:gd name="connsiteY105" fmla="*/ 1038225 h 4496940"/>
                  <a:gd name="connsiteX106" fmla="*/ 382927 w 4519987"/>
                  <a:gd name="connsiteY106" fmla="*/ 1009650 h 4496940"/>
                  <a:gd name="connsiteX107" fmla="*/ 440077 w 4519987"/>
                  <a:gd name="connsiteY107" fmla="*/ 904875 h 4496940"/>
                  <a:gd name="connsiteX108" fmla="*/ 478177 w 4519987"/>
                  <a:gd name="connsiteY108" fmla="*/ 857250 h 4496940"/>
                  <a:gd name="connsiteX109" fmla="*/ 497227 w 4519987"/>
                  <a:gd name="connsiteY109" fmla="*/ 828675 h 4496940"/>
                  <a:gd name="connsiteX110" fmla="*/ 535327 w 4519987"/>
                  <a:gd name="connsiteY110" fmla="*/ 800100 h 4496940"/>
                  <a:gd name="connsiteX111" fmla="*/ 602002 w 4519987"/>
                  <a:gd name="connsiteY111" fmla="*/ 733425 h 4496940"/>
                  <a:gd name="connsiteX112" fmla="*/ 668677 w 4519987"/>
                  <a:gd name="connsiteY112" fmla="*/ 676275 h 4496940"/>
                  <a:gd name="connsiteX113" fmla="*/ 697252 w 4519987"/>
                  <a:gd name="connsiteY113" fmla="*/ 657225 h 4496940"/>
                  <a:gd name="connsiteX114" fmla="*/ 840127 w 4519987"/>
                  <a:gd name="connsiteY114" fmla="*/ 533400 h 4496940"/>
                  <a:gd name="connsiteX115" fmla="*/ 887752 w 4519987"/>
                  <a:gd name="connsiteY115" fmla="*/ 504825 h 4496940"/>
                  <a:gd name="connsiteX116" fmla="*/ 1167152 w 4519987"/>
                  <a:gd name="connsiteY116" fmla="*/ 311150 h 4496940"/>
                  <a:gd name="connsiteX117" fmla="*/ 1268752 w 4519987"/>
                  <a:gd name="connsiteY117" fmla="*/ 285750 h 4496940"/>
                  <a:gd name="connsiteX118" fmla="*/ 1411627 w 4519987"/>
                  <a:gd name="connsiteY118" fmla="*/ 190500 h 4496940"/>
                  <a:gd name="connsiteX119" fmla="*/ 1449727 w 4519987"/>
                  <a:gd name="connsiteY119" fmla="*/ 161925 h 4496940"/>
                  <a:gd name="connsiteX120" fmla="*/ 1525927 w 4519987"/>
                  <a:gd name="connsiteY120" fmla="*/ 152400 h 4496940"/>
                  <a:gd name="connsiteX121" fmla="*/ 1583077 w 4519987"/>
                  <a:gd name="connsiteY121" fmla="*/ 142875 h 4496940"/>
                  <a:gd name="connsiteX122" fmla="*/ 1716427 w 4519987"/>
                  <a:gd name="connsiteY122" fmla="*/ 123825 h 4496940"/>
                  <a:gd name="connsiteX123" fmla="*/ 1811677 w 4519987"/>
                  <a:gd name="connsiteY123" fmla="*/ 114300 h 4496940"/>
                  <a:gd name="connsiteX124" fmla="*/ 1859302 w 4519987"/>
                  <a:gd name="connsiteY124" fmla="*/ 104775 h 4496940"/>
                  <a:gd name="connsiteX125" fmla="*/ 1916452 w 4519987"/>
                  <a:gd name="connsiteY125" fmla="*/ 95250 h 4496940"/>
                  <a:gd name="connsiteX126" fmla="*/ 2030752 w 4519987"/>
                  <a:gd name="connsiteY126" fmla="*/ 66675 h 4496940"/>
                  <a:gd name="connsiteX127" fmla="*/ 2097427 w 4519987"/>
                  <a:gd name="connsiteY127" fmla="*/ 47625 h 4496940"/>
                  <a:gd name="connsiteX128" fmla="*/ 2164102 w 4519987"/>
                  <a:gd name="connsiteY128" fmla="*/ 38100 h 4496940"/>
                  <a:gd name="connsiteX129" fmla="*/ 2392702 w 4519987"/>
                  <a:gd name="connsiteY12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621427 w 4519987"/>
                  <a:gd name="connsiteY37" fmla="*/ 4038600 h 4496940"/>
                  <a:gd name="connsiteX38" fmla="*/ 3554752 w 4519987"/>
                  <a:gd name="connsiteY38" fmla="*/ 4095750 h 4496940"/>
                  <a:gd name="connsiteX39" fmla="*/ 3516652 w 4519987"/>
                  <a:gd name="connsiteY39" fmla="*/ 4114800 h 4496940"/>
                  <a:gd name="connsiteX40" fmla="*/ 3497602 w 4519987"/>
                  <a:gd name="connsiteY40" fmla="*/ 4143375 h 4496940"/>
                  <a:gd name="connsiteX41" fmla="*/ 3383302 w 4519987"/>
                  <a:gd name="connsiteY41" fmla="*/ 4210050 h 4496940"/>
                  <a:gd name="connsiteX42" fmla="*/ 3335677 w 4519987"/>
                  <a:gd name="connsiteY42" fmla="*/ 4238625 h 4496940"/>
                  <a:gd name="connsiteX43" fmla="*/ 3288052 w 4519987"/>
                  <a:gd name="connsiteY43" fmla="*/ 4248150 h 4496940"/>
                  <a:gd name="connsiteX44" fmla="*/ 3240427 w 4519987"/>
                  <a:gd name="connsiteY44" fmla="*/ 4267200 h 4496940"/>
                  <a:gd name="connsiteX45" fmla="*/ 3068977 w 4519987"/>
                  <a:gd name="connsiteY45" fmla="*/ 4286250 h 4496940"/>
                  <a:gd name="connsiteX46" fmla="*/ 2935627 w 4519987"/>
                  <a:gd name="connsiteY46" fmla="*/ 4333875 h 4496940"/>
                  <a:gd name="connsiteX47" fmla="*/ 2811802 w 4519987"/>
                  <a:gd name="connsiteY47" fmla="*/ 4371975 h 4496940"/>
                  <a:gd name="connsiteX48" fmla="*/ 2745127 w 4519987"/>
                  <a:gd name="connsiteY48" fmla="*/ 4410075 h 4496940"/>
                  <a:gd name="connsiteX49" fmla="*/ 2697502 w 4519987"/>
                  <a:gd name="connsiteY49" fmla="*/ 4429125 h 4496940"/>
                  <a:gd name="connsiteX50" fmla="*/ 2640352 w 4519987"/>
                  <a:gd name="connsiteY50" fmla="*/ 4457700 h 4496940"/>
                  <a:gd name="connsiteX51" fmla="*/ 2583202 w 4519987"/>
                  <a:gd name="connsiteY51" fmla="*/ 4467225 h 4496940"/>
                  <a:gd name="connsiteX52" fmla="*/ 2545102 w 4519987"/>
                  <a:gd name="connsiteY52" fmla="*/ 4486275 h 4496940"/>
                  <a:gd name="connsiteX53" fmla="*/ 2306977 w 4519987"/>
                  <a:gd name="connsiteY53" fmla="*/ 4476750 h 4496940"/>
                  <a:gd name="connsiteX54" fmla="*/ 2202202 w 4519987"/>
                  <a:gd name="connsiteY54" fmla="*/ 4457700 h 4496940"/>
                  <a:gd name="connsiteX55" fmla="*/ 2126002 w 4519987"/>
                  <a:gd name="connsiteY55" fmla="*/ 4429125 h 4496940"/>
                  <a:gd name="connsiteX56" fmla="*/ 1935502 w 4519987"/>
                  <a:gd name="connsiteY56" fmla="*/ 4400550 h 4496940"/>
                  <a:gd name="connsiteX57" fmla="*/ 1821202 w 4519987"/>
                  <a:gd name="connsiteY57" fmla="*/ 4371975 h 4496940"/>
                  <a:gd name="connsiteX58" fmla="*/ 1754527 w 4519987"/>
                  <a:gd name="connsiteY58" fmla="*/ 4352925 h 4496940"/>
                  <a:gd name="connsiteX59" fmla="*/ 1687852 w 4519987"/>
                  <a:gd name="connsiteY59" fmla="*/ 4343400 h 4496940"/>
                  <a:gd name="connsiteX60" fmla="*/ 1573552 w 4519987"/>
                  <a:gd name="connsiteY60" fmla="*/ 4305300 h 4496940"/>
                  <a:gd name="connsiteX61" fmla="*/ 1402102 w 4519987"/>
                  <a:gd name="connsiteY61" fmla="*/ 4276725 h 4496940"/>
                  <a:gd name="connsiteX62" fmla="*/ 1287802 w 4519987"/>
                  <a:gd name="connsiteY62" fmla="*/ 4229100 h 4496940"/>
                  <a:gd name="connsiteX63" fmla="*/ 1221127 w 4519987"/>
                  <a:gd name="connsiteY63" fmla="*/ 4200525 h 4496940"/>
                  <a:gd name="connsiteX64" fmla="*/ 1144927 w 4519987"/>
                  <a:gd name="connsiteY64" fmla="*/ 4171950 h 4496940"/>
                  <a:gd name="connsiteX65" fmla="*/ 1087777 w 4519987"/>
                  <a:gd name="connsiteY65" fmla="*/ 4143375 h 4496940"/>
                  <a:gd name="connsiteX66" fmla="*/ 1030627 w 4519987"/>
                  <a:gd name="connsiteY66" fmla="*/ 4124325 h 4496940"/>
                  <a:gd name="connsiteX67" fmla="*/ 925852 w 4519987"/>
                  <a:gd name="connsiteY67" fmla="*/ 4067175 h 4496940"/>
                  <a:gd name="connsiteX68" fmla="*/ 830602 w 4519987"/>
                  <a:gd name="connsiteY68" fmla="*/ 3981450 h 4496940"/>
                  <a:gd name="connsiteX69" fmla="*/ 763927 w 4519987"/>
                  <a:gd name="connsiteY69" fmla="*/ 3914775 h 4496940"/>
                  <a:gd name="connsiteX70" fmla="*/ 725827 w 4519987"/>
                  <a:gd name="connsiteY70" fmla="*/ 3876675 h 4496940"/>
                  <a:gd name="connsiteX71" fmla="*/ 697252 w 4519987"/>
                  <a:gd name="connsiteY71" fmla="*/ 3838575 h 4496940"/>
                  <a:gd name="connsiteX72" fmla="*/ 640102 w 4519987"/>
                  <a:gd name="connsiteY72" fmla="*/ 3781425 h 4496940"/>
                  <a:gd name="connsiteX73" fmla="*/ 611527 w 4519987"/>
                  <a:gd name="connsiteY73" fmla="*/ 3733800 h 4496940"/>
                  <a:gd name="connsiteX74" fmla="*/ 554377 w 4519987"/>
                  <a:gd name="connsiteY74" fmla="*/ 3657600 h 4496940"/>
                  <a:gd name="connsiteX75" fmla="*/ 525802 w 4519987"/>
                  <a:gd name="connsiteY75" fmla="*/ 3609975 h 4496940"/>
                  <a:gd name="connsiteX76" fmla="*/ 497227 w 4519987"/>
                  <a:gd name="connsiteY76" fmla="*/ 3552825 h 4496940"/>
                  <a:gd name="connsiteX77" fmla="*/ 440077 w 4519987"/>
                  <a:gd name="connsiteY77" fmla="*/ 3495675 h 4496940"/>
                  <a:gd name="connsiteX78" fmla="*/ 411502 w 4519987"/>
                  <a:gd name="connsiteY78" fmla="*/ 3448050 h 4496940"/>
                  <a:gd name="connsiteX79" fmla="*/ 278152 w 4519987"/>
                  <a:gd name="connsiteY79" fmla="*/ 3257550 h 4496940"/>
                  <a:gd name="connsiteX80" fmla="*/ 249577 w 4519987"/>
                  <a:gd name="connsiteY80" fmla="*/ 3200400 h 4496940"/>
                  <a:gd name="connsiteX81" fmla="*/ 240052 w 4519987"/>
                  <a:gd name="connsiteY81" fmla="*/ 3162300 h 4496940"/>
                  <a:gd name="connsiteX82" fmla="*/ 221002 w 4519987"/>
                  <a:gd name="connsiteY82" fmla="*/ 3105150 h 4496940"/>
                  <a:gd name="connsiteX83" fmla="*/ 173377 w 4519987"/>
                  <a:gd name="connsiteY83" fmla="*/ 3019425 h 4496940"/>
                  <a:gd name="connsiteX84" fmla="*/ 144802 w 4519987"/>
                  <a:gd name="connsiteY84" fmla="*/ 2924175 h 4496940"/>
                  <a:gd name="connsiteX85" fmla="*/ 68602 w 4519987"/>
                  <a:gd name="connsiteY85" fmla="*/ 2724150 h 4496940"/>
                  <a:gd name="connsiteX86" fmla="*/ 49552 w 4519987"/>
                  <a:gd name="connsiteY86" fmla="*/ 2638425 h 4496940"/>
                  <a:gd name="connsiteX87" fmla="*/ 40027 w 4519987"/>
                  <a:gd name="connsiteY87" fmla="*/ 2562225 h 4496940"/>
                  <a:gd name="connsiteX88" fmla="*/ 30502 w 4519987"/>
                  <a:gd name="connsiteY88" fmla="*/ 2514600 h 4496940"/>
                  <a:gd name="connsiteX89" fmla="*/ 11452 w 4519987"/>
                  <a:gd name="connsiteY89" fmla="*/ 2400300 h 4496940"/>
                  <a:gd name="connsiteX90" fmla="*/ 20977 w 4519987"/>
                  <a:gd name="connsiteY90" fmla="*/ 1905000 h 4496940"/>
                  <a:gd name="connsiteX91" fmla="*/ 30502 w 4519987"/>
                  <a:gd name="connsiteY91" fmla="*/ 1838325 h 4496940"/>
                  <a:gd name="connsiteX92" fmla="*/ 49552 w 4519987"/>
                  <a:gd name="connsiteY92" fmla="*/ 1781175 h 4496940"/>
                  <a:gd name="connsiteX93" fmla="*/ 59077 w 4519987"/>
                  <a:gd name="connsiteY93" fmla="*/ 1743075 h 4496940"/>
                  <a:gd name="connsiteX94" fmla="*/ 78127 w 4519987"/>
                  <a:gd name="connsiteY94" fmla="*/ 1685925 h 4496940"/>
                  <a:gd name="connsiteX95" fmla="*/ 87652 w 4519987"/>
                  <a:gd name="connsiteY95" fmla="*/ 1638300 h 4496940"/>
                  <a:gd name="connsiteX96" fmla="*/ 106702 w 4519987"/>
                  <a:gd name="connsiteY96" fmla="*/ 1590675 h 4496940"/>
                  <a:gd name="connsiteX97" fmla="*/ 135277 w 4519987"/>
                  <a:gd name="connsiteY97" fmla="*/ 1504950 h 4496940"/>
                  <a:gd name="connsiteX98" fmla="*/ 154327 w 4519987"/>
                  <a:gd name="connsiteY98" fmla="*/ 1419225 h 4496940"/>
                  <a:gd name="connsiteX99" fmla="*/ 230527 w 4519987"/>
                  <a:gd name="connsiteY99" fmla="*/ 1276350 h 4496940"/>
                  <a:gd name="connsiteX100" fmla="*/ 240052 w 4519987"/>
                  <a:gd name="connsiteY100" fmla="*/ 1247775 h 4496940"/>
                  <a:gd name="connsiteX101" fmla="*/ 268627 w 4519987"/>
                  <a:gd name="connsiteY101" fmla="*/ 1200150 h 4496940"/>
                  <a:gd name="connsiteX102" fmla="*/ 287677 w 4519987"/>
                  <a:gd name="connsiteY102" fmla="*/ 1152525 h 4496940"/>
                  <a:gd name="connsiteX103" fmla="*/ 316252 w 4519987"/>
                  <a:gd name="connsiteY103" fmla="*/ 1114425 h 4496940"/>
                  <a:gd name="connsiteX104" fmla="*/ 363877 w 4519987"/>
                  <a:gd name="connsiteY104" fmla="*/ 1038225 h 4496940"/>
                  <a:gd name="connsiteX105" fmla="*/ 382927 w 4519987"/>
                  <a:gd name="connsiteY105" fmla="*/ 1009650 h 4496940"/>
                  <a:gd name="connsiteX106" fmla="*/ 440077 w 4519987"/>
                  <a:gd name="connsiteY106" fmla="*/ 904875 h 4496940"/>
                  <a:gd name="connsiteX107" fmla="*/ 478177 w 4519987"/>
                  <a:gd name="connsiteY107" fmla="*/ 857250 h 4496940"/>
                  <a:gd name="connsiteX108" fmla="*/ 497227 w 4519987"/>
                  <a:gd name="connsiteY108" fmla="*/ 828675 h 4496940"/>
                  <a:gd name="connsiteX109" fmla="*/ 535327 w 4519987"/>
                  <a:gd name="connsiteY109" fmla="*/ 800100 h 4496940"/>
                  <a:gd name="connsiteX110" fmla="*/ 602002 w 4519987"/>
                  <a:gd name="connsiteY110" fmla="*/ 733425 h 4496940"/>
                  <a:gd name="connsiteX111" fmla="*/ 668677 w 4519987"/>
                  <a:gd name="connsiteY111" fmla="*/ 676275 h 4496940"/>
                  <a:gd name="connsiteX112" fmla="*/ 697252 w 4519987"/>
                  <a:gd name="connsiteY112" fmla="*/ 657225 h 4496940"/>
                  <a:gd name="connsiteX113" fmla="*/ 840127 w 4519987"/>
                  <a:gd name="connsiteY113" fmla="*/ 533400 h 4496940"/>
                  <a:gd name="connsiteX114" fmla="*/ 887752 w 4519987"/>
                  <a:gd name="connsiteY114" fmla="*/ 504825 h 4496940"/>
                  <a:gd name="connsiteX115" fmla="*/ 1167152 w 4519987"/>
                  <a:gd name="connsiteY115" fmla="*/ 311150 h 4496940"/>
                  <a:gd name="connsiteX116" fmla="*/ 1268752 w 4519987"/>
                  <a:gd name="connsiteY116" fmla="*/ 285750 h 4496940"/>
                  <a:gd name="connsiteX117" fmla="*/ 1411627 w 4519987"/>
                  <a:gd name="connsiteY117" fmla="*/ 190500 h 4496940"/>
                  <a:gd name="connsiteX118" fmla="*/ 1449727 w 4519987"/>
                  <a:gd name="connsiteY118" fmla="*/ 161925 h 4496940"/>
                  <a:gd name="connsiteX119" fmla="*/ 1525927 w 4519987"/>
                  <a:gd name="connsiteY119" fmla="*/ 152400 h 4496940"/>
                  <a:gd name="connsiteX120" fmla="*/ 1583077 w 4519987"/>
                  <a:gd name="connsiteY120" fmla="*/ 142875 h 4496940"/>
                  <a:gd name="connsiteX121" fmla="*/ 1716427 w 4519987"/>
                  <a:gd name="connsiteY121" fmla="*/ 123825 h 4496940"/>
                  <a:gd name="connsiteX122" fmla="*/ 1811677 w 4519987"/>
                  <a:gd name="connsiteY122" fmla="*/ 114300 h 4496940"/>
                  <a:gd name="connsiteX123" fmla="*/ 1859302 w 4519987"/>
                  <a:gd name="connsiteY123" fmla="*/ 104775 h 4496940"/>
                  <a:gd name="connsiteX124" fmla="*/ 1916452 w 4519987"/>
                  <a:gd name="connsiteY124" fmla="*/ 95250 h 4496940"/>
                  <a:gd name="connsiteX125" fmla="*/ 2030752 w 4519987"/>
                  <a:gd name="connsiteY125" fmla="*/ 66675 h 4496940"/>
                  <a:gd name="connsiteX126" fmla="*/ 2097427 w 4519987"/>
                  <a:gd name="connsiteY126" fmla="*/ 47625 h 4496940"/>
                  <a:gd name="connsiteX127" fmla="*/ 2164102 w 4519987"/>
                  <a:gd name="connsiteY127" fmla="*/ 38100 h 4496940"/>
                  <a:gd name="connsiteX128" fmla="*/ 2392702 w 4519987"/>
                  <a:gd name="connsiteY12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621427 w 4519987"/>
                  <a:gd name="connsiteY37" fmla="*/ 4038600 h 4496940"/>
                  <a:gd name="connsiteX38" fmla="*/ 3554752 w 4519987"/>
                  <a:gd name="connsiteY38" fmla="*/ 4095750 h 4496940"/>
                  <a:gd name="connsiteX39" fmla="*/ 3516652 w 4519987"/>
                  <a:gd name="connsiteY39" fmla="*/ 4114800 h 4496940"/>
                  <a:gd name="connsiteX40" fmla="*/ 3383302 w 4519987"/>
                  <a:gd name="connsiteY40" fmla="*/ 4210050 h 4496940"/>
                  <a:gd name="connsiteX41" fmla="*/ 3335677 w 4519987"/>
                  <a:gd name="connsiteY41" fmla="*/ 4238625 h 4496940"/>
                  <a:gd name="connsiteX42" fmla="*/ 3288052 w 4519987"/>
                  <a:gd name="connsiteY42" fmla="*/ 4248150 h 4496940"/>
                  <a:gd name="connsiteX43" fmla="*/ 3240427 w 4519987"/>
                  <a:gd name="connsiteY43" fmla="*/ 4267200 h 4496940"/>
                  <a:gd name="connsiteX44" fmla="*/ 3068977 w 4519987"/>
                  <a:gd name="connsiteY44" fmla="*/ 4286250 h 4496940"/>
                  <a:gd name="connsiteX45" fmla="*/ 2935627 w 4519987"/>
                  <a:gd name="connsiteY45" fmla="*/ 4333875 h 4496940"/>
                  <a:gd name="connsiteX46" fmla="*/ 2811802 w 4519987"/>
                  <a:gd name="connsiteY46" fmla="*/ 4371975 h 4496940"/>
                  <a:gd name="connsiteX47" fmla="*/ 2745127 w 4519987"/>
                  <a:gd name="connsiteY47" fmla="*/ 4410075 h 4496940"/>
                  <a:gd name="connsiteX48" fmla="*/ 2697502 w 4519987"/>
                  <a:gd name="connsiteY48" fmla="*/ 4429125 h 4496940"/>
                  <a:gd name="connsiteX49" fmla="*/ 2640352 w 4519987"/>
                  <a:gd name="connsiteY49" fmla="*/ 4457700 h 4496940"/>
                  <a:gd name="connsiteX50" fmla="*/ 2583202 w 4519987"/>
                  <a:gd name="connsiteY50" fmla="*/ 4467225 h 4496940"/>
                  <a:gd name="connsiteX51" fmla="*/ 2545102 w 4519987"/>
                  <a:gd name="connsiteY51" fmla="*/ 4486275 h 4496940"/>
                  <a:gd name="connsiteX52" fmla="*/ 2306977 w 4519987"/>
                  <a:gd name="connsiteY52" fmla="*/ 4476750 h 4496940"/>
                  <a:gd name="connsiteX53" fmla="*/ 2202202 w 4519987"/>
                  <a:gd name="connsiteY53" fmla="*/ 4457700 h 4496940"/>
                  <a:gd name="connsiteX54" fmla="*/ 2126002 w 4519987"/>
                  <a:gd name="connsiteY54" fmla="*/ 4429125 h 4496940"/>
                  <a:gd name="connsiteX55" fmla="*/ 1935502 w 4519987"/>
                  <a:gd name="connsiteY55" fmla="*/ 4400550 h 4496940"/>
                  <a:gd name="connsiteX56" fmla="*/ 1821202 w 4519987"/>
                  <a:gd name="connsiteY56" fmla="*/ 4371975 h 4496940"/>
                  <a:gd name="connsiteX57" fmla="*/ 1754527 w 4519987"/>
                  <a:gd name="connsiteY57" fmla="*/ 4352925 h 4496940"/>
                  <a:gd name="connsiteX58" fmla="*/ 1687852 w 4519987"/>
                  <a:gd name="connsiteY58" fmla="*/ 4343400 h 4496940"/>
                  <a:gd name="connsiteX59" fmla="*/ 1573552 w 4519987"/>
                  <a:gd name="connsiteY59" fmla="*/ 4305300 h 4496940"/>
                  <a:gd name="connsiteX60" fmla="*/ 1402102 w 4519987"/>
                  <a:gd name="connsiteY60" fmla="*/ 4276725 h 4496940"/>
                  <a:gd name="connsiteX61" fmla="*/ 1287802 w 4519987"/>
                  <a:gd name="connsiteY61" fmla="*/ 4229100 h 4496940"/>
                  <a:gd name="connsiteX62" fmla="*/ 1221127 w 4519987"/>
                  <a:gd name="connsiteY62" fmla="*/ 4200525 h 4496940"/>
                  <a:gd name="connsiteX63" fmla="*/ 1144927 w 4519987"/>
                  <a:gd name="connsiteY63" fmla="*/ 4171950 h 4496940"/>
                  <a:gd name="connsiteX64" fmla="*/ 1087777 w 4519987"/>
                  <a:gd name="connsiteY64" fmla="*/ 4143375 h 4496940"/>
                  <a:gd name="connsiteX65" fmla="*/ 1030627 w 4519987"/>
                  <a:gd name="connsiteY65" fmla="*/ 4124325 h 4496940"/>
                  <a:gd name="connsiteX66" fmla="*/ 925852 w 4519987"/>
                  <a:gd name="connsiteY66" fmla="*/ 4067175 h 4496940"/>
                  <a:gd name="connsiteX67" fmla="*/ 830602 w 4519987"/>
                  <a:gd name="connsiteY67" fmla="*/ 3981450 h 4496940"/>
                  <a:gd name="connsiteX68" fmla="*/ 763927 w 4519987"/>
                  <a:gd name="connsiteY68" fmla="*/ 3914775 h 4496940"/>
                  <a:gd name="connsiteX69" fmla="*/ 725827 w 4519987"/>
                  <a:gd name="connsiteY69" fmla="*/ 3876675 h 4496940"/>
                  <a:gd name="connsiteX70" fmla="*/ 697252 w 4519987"/>
                  <a:gd name="connsiteY70" fmla="*/ 3838575 h 4496940"/>
                  <a:gd name="connsiteX71" fmla="*/ 640102 w 4519987"/>
                  <a:gd name="connsiteY71" fmla="*/ 3781425 h 4496940"/>
                  <a:gd name="connsiteX72" fmla="*/ 611527 w 4519987"/>
                  <a:gd name="connsiteY72" fmla="*/ 3733800 h 4496940"/>
                  <a:gd name="connsiteX73" fmla="*/ 554377 w 4519987"/>
                  <a:gd name="connsiteY73" fmla="*/ 3657600 h 4496940"/>
                  <a:gd name="connsiteX74" fmla="*/ 525802 w 4519987"/>
                  <a:gd name="connsiteY74" fmla="*/ 3609975 h 4496940"/>
                  <a:gd name="connsiteX75" fmla="*/ 497227 w 4519987"/>
                  <a:gd name="connsiteY75" fmla="*/ 3552825 h 4496940"/>
                  <a:gd name="connsiteX76" fmla="*/ 440077 w 4519987"/>
                  <a:gd name="connsiteY76" fmla="*/ 3495675 h 4496940"/>
                  <a:gd name="connsiteX77" fmla="*/ 411502 w 4519987"/>
                  <a:gd name="connsiteY77" fmla="*/ 3448050 h 4496940"/>
                  <a:gd name="connsiteX78" fmla="*/ 278152 w 4519987"/>
                  <a:gd name="connsiteY78" fmla="*/ 3257550 h 4496940"/>
                  <a:gd name="connsiteX79" fmla="*/ 249577 w 4519987"/>
                  <a:gd name="connsiteY79" fmla="*/ 3200400 h 4496940"/>
                  <a:gd name="connsiteX80" fmla="*/ 240052 w 4519987"/>
                  <a:gd name="connsiteY80" fmla="*/ 3162300 h 4496940"/>
                  <a:gd name="connsiteX81" fmla="*/ 221002 w 4519987"/>
                  <a:gd name="connsiteY81" fmla="*/ 3105150 h 4496940"/>
                  <a:gd name="connsiteX82" fmla="*/ 173377 w 4519987"/>
                  <a:gd name="connsiteY82" fmla="*/ 3019425 h 4496940"/>
                  <a:gd name="connsiteX83" fmla="*/ 144802 w 4519987"/>
                  <a:gd name="connsiteY83" fmla="*/ 2924175 h 4496940"/>
                  <a:gd name="connsiteX84" fmla="*/ 68602 w 4519987"/>
                  <a:gd name="connsiteY84" fmla="*/ 2724150 h 4496940"/>
                  <a:gd name="connsiteX85" fmla="*/ 49552 w 4519987"/>
                  <a:gd name="connsiteY85" fmla="*/ 2638425 h 4496940"/>
                  <a:gd name="connsiteX86" fmla="*/ 40027 w 4519987"/>
                  <a:gd name="connsiteY86" fmla="*/ 2562225 h 4496940"/>
                  <a:gd name="connsiteX87" fmla="*/ 30502 w 4519987"/>
                  <a:gd name="connsiteY87" fmla="*/ 2514600 h 4496940"/>
                  <a:gd name="connsiteX88" fmla="*/ 11452 w 4519987"/>
                  <a:gd name="connsiteY88" fmla="*/ 2400300 h 4496940"/>
                  <a:gd name="connsiteX89" fmla="*/ 20977 w 4519987"/>
                  <a:gd name="connsiteY89" fmla="*/ 1905000 h 4496940"/>
                  <a:gd name="connsiteX90" fmla="*/ 30502 w 4519987"/>
                  <a:gd name="connsiteY90" fmla="*/ 1838325 h 4496940"/>
                  <a:gd name="connsiteX91" fmla="*/ 49552 w 4519987"/>
                  <a:gd name="connsiteY91" fmla="*/ 1781175 h 4496940"/>
                  <a:gd name="connsiteX92" fmla="*/ 59077 w 4519987"/>
                  <a:gd name="connsiteY92" fmla="*/ 1743075 h 4496940"/>
                  <a:gd name="connsiteX93" fmla="*/ 78127 w 4519987"/>
                  <a:gd name="connsiteY93" fmla="*/ 1685925 h 4496940"/>
                  <a:gd name="connsiteX94" fmla="*/ 87652 w 4519987"/>
                  <a:gd name="connsiteY94" fmla="*/ 1638300 h 4496940"/>
                  <a:gd name="connsiteX95" fmla="*/ 106702 w 4519987"/>
                  <a:gd name="connsiteY95" fmla="*/ 1590675 h 4496940"/>
                  <a:gd name="connsiteX96" fmla="*/ 135277 w 4519987"/>
                  <a:gd name="connsiteY96" fmla="*/ 1504950 h 4496940"/>
                  <a:gd name="connsiteX97" fmla="*/ 154327 w 4519987"/>
                  <a:gd name="connsiteY97" fmla="*/ 1419225 h 4496940"/>
                  <a:gd name="connsiteX98" fmla="*/ 230527 w 4519987"/>
                  <a:gd name="connsiteY98" fmla="*/ 1276350 h 4496940"/>
                  <a:gd name="connsiteX99" fmla="*/ 240052 w 4519987"/>
                  <a:gd name="connsiteY99" fmla="*/ 1247775 h 4496940"/>
                  <a:gd name="connsiteX100" fmla="*/ 268627 w 4519987"/>
                  <a:gd name="connsiteY100" fmla="*/ 1200150 h 4496940"/>
                  <a:gd name="connsiteX101" fmla="*/ 287677 w 4519987"/>
                  <a:gd name="connsiteY101" fmla="*/ 1152525 h 4496940"/>
                  <a:gd name="connsiteX102" fmla="*/ 316252 w 4519987"/>
                  <a:gd name="connsiteY102" fmla="*/ 1114425 h 4496940"/>
                  <a:gd name="connsiteX103" fmla="*/ 363877 w 4519987"/>
                  <a:gd name="connsiteY103" fmla="*/ 1038225 h 4496940"/>
                  <a:gd name="connsiteX104" fmla="*/ 382927 w 4519987"/>
                  <a:gd name="connsiteY104" fmla="*/ 1009650 h 4496940"/>
                  <a:gd name="connsiteX105" fmla="*/ 440077 w 4519987"/>
                  <a:gd name="connsiteY105" fmla="*/ 904875 h 4496940"/>
                  <a:gd name="connsiteX106" fmla="*/ 478177 w 4519987"/>
                  <a:gd name="connsiteY106" fmla="*/ 857250 h 4496940"/>
                  <a:gd name="connsiteX107" fmla="*/ 497227 w 4519987"/>
                  <a:gd name="connsiteY107" fmla="*/ 828675 h 4496940"/>
                  <a:gd name="connsiteX108" fmla="*/ 535327 w 4519987"/>
                  <a:gd name="connsiteY108" fmla="*/ 800100 h 4496940"/>
                  <a:gd name="connsiteX109" fmla="*/ 602002 w 4519987"/>
                  <a:gd name="connsiteY109" fmla="*/ 733425 h 4496940"/>
                  <a:gd name="connsiteX110" fmla="*/ 668677 w 4519987"/>
                  <a:gd name="connsiteY110" fmla="*/ 676275 h 4496940"/>
                  <a:gd name="connsiteX111" fmla="*/ 697252 w 4519987"/>
                  <a:gd name="connsiteY111" fmla="*/ 657225 h 4496940"/>
                  <a:gd name="connsiteX112" fmla="*/ 840127 w 4519987"/>
                  <a:gd name="connsiteY112" fmla="*/ 533400 h 4496940"/>
                  <a:gd name="connsiteX113" fmla="*/ 887752 w 4519987"/>
                  <a:gd name="connsiteY113" fmla="*/ 504825 h 4496940"/>
                  <a:gd name="connsiteX114" fmla="*/ 1167152 w 4519987"/>
                  <a:gd name="connsiteY114" fmla="*/ 311150 h 4496940"/>
                  <a:gd name="connsiteX115" fmla="*/ 1268752 w 4519987"/>
                  <a:gd name="connsiteY115" fmla="*/ 285750 h 4496940"/>
                  <a:gd name="connsiteX116" fmla="*/ 1411627 w 4519987"/>
                  <a:gd name="connsiteY116" fmla="*/ 190500 h 4496940"/>
                  <a:gd name="connsiteX117" fmla="*/ 1449727 w 4519987"/>
                  <a:gd name="connsiteY117" fmla="*/ 161925 h 4496940"/>
                  <a:gd name="connsiteX118" fmla="*/ 1525927 w 4519987"/>
                  <a:gd name="connsiteY118" fmla="*/ 152400 h 4496940"/>
                  <a:gd name="connsiteX119" fmla="*/ 1583077 w 4519987"/>
                  <a:gd name="connsiteY119" fmla="*/ 142875 h 4496940"/>
                  <a:gd name="connsiteX120" fmla="*/ 1716427 w 4519987"/>
                  <a:gd name="connsiteY120" fmla="*/ 123825 h 4496940"/>
                  <a:gd name="connsiteX121" fmla="*/ 1811677 w 4519987"/>
                  <a:gd name="connsiteY121" fmla="*/ 114300 h 4496940"/>
                  <a:gd name="connsiteX122" fmla="*/ 1859302 w 4519987"/>
                  <a:gd name="connsiteY122" fmla="*/ 104775 h 4496940"/>
                  <a:gd name="connsiteX123" fmla="*/ 1916452 w 4519987"/>
                  <a:gd name="connsiteY123" fmla="*/ 95250 h 4496940"/>
                  <a:gd name="connsiteX124" fmla="*/ 2030752 w 4519987"/>
                  <a:gd name="connsiteY124" fmla="*/ 66675 h 4496940"/>
                  <a:gd name="connsiteX125" fmla="*/ 2097427 w 4519987"/>
                  <a:gd name="connsiteY125" fmla="*/ 47625 h 4496940"/>
                  <a:gd name="connsiteX126" fmla="*/ 2164102 w 4519987"/>
                  <a:gd name="connsiteY126" fmla="*/ 38100 h 4496940"/>
                  <a:gd name="connsiteX127" fmla="*/ 2392702 w 4519987"/>
                  <a:gd name="connsiteY12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621427 w 4519987"/>
                  <a:gd name="connsiteY37" fmla="*/ 4038600 h 4496940"/>
                  <a:gd name="connsiteX38" fmla="*/ 3554752 w 4519987"/>
                  <a:gd name="connsiteY38" fmla="*/ 4095750 h 4496940"/>
                  <a:gd name="connsiteX39" fmla="*/ 3383302 w 4519987"/>
                  <a:gd name="connsiteY39" fmla="*/ 4210050 h 4496940"/>
                  <a:gd name="connsiteX40" fmla="*/ 3335677 w 4519987"/>
                  <a:gd name="connsiteY40" fmla="*/ 4238625 h 4496940"/>
                  <a:gd name="connsiteX41" fmla="*/ 3288052 w 4519987"/>
                  <a:gd name="connsiteY41" fmla="*/ 4248150 h 4496940"/>
                  <a:gd name="connsiteX42" fmla="*/ 3240427 w 4519987"/>
                  <a:gd name="connsiteY42" fmla="*/ 4267200 h 4496940"/>
                  <a:gd name="connsiteX43" fmla="*/ 3068977 w 4519987"/>
                  <a:gd name="connsiteY43" fmla="*/ 4286250 h 4496940"/>
                  <a:gd name="connsiteX44" fmla="*/ 2935627 w 4519987"/>
                  <a:gd name="connsiteY44" fmla="*/ 4333875 h 4496940"/>
                  <a:gd name="connsiteX45" fmla="*/ 2811802 w 4519987"/>
                  <a:gd name="connsiteY45" fmla="*/ 4371975 h 4496940"/>
                  <a:gd name="connsiteX46" fmla="*/ 2745127 w 4519987"/>
                  <a:gd name="connsiteY46" fmla="*/ 4410075 h 4496940"/>
                  <a:gd name="connsiteX47" fmla="*/ 2697502 w 4519987"/>
                  <a:gd name="connsiteY47" fmla="*/ 4429125 h 4496940"/>
                  <a:gd name="connsiteX48" fmla="*/ 2640352 w 4519987"/>
                  <a:gd name="connsiteY48" fmla="*/ 4457700 h 4496940"/>
                  <a:gd name="connsiteX49" fmla="*/ 2583202 w 4519987"/>
                  <a:gd name="connsiteY49" fmla="*/ 4467225 h 4496940"/>
                  <a:gd name="connsiteX50" fmla="*/ 2545102 w 4519987"/>
                  <a:gd name="connsiteY50" fmla="*/ 4486275 h 4496940"/>
                  <a:gd name="connsiteX51" fmla="*/ 2306977 w 4519987"/>
                  <a:gd name="connsiteY51" fmla="*/ 4476750 h 4496940"/>
                  <a:gd name="connsiteX52" fmla="*/ 2202202 w 4519987"/>
                  <a:gd name="connsiteY52" fmla="*/ 4457700 h 4496940"/>
                  <a:gd name="connsiteX53" fmla="*/ 2126002 w 4519987"/>
                  <a:gd name="connsiteY53" fmla="*/ 4429125 h 4496940"/>
                  <a:gd name="connsiteX54" fmla="*/ 1935502 w 4519987"/>
                  <a:gd name="connsiteY54" fmla="*/ 4400550 h 4496940"/>
                  <a:gd name="connsiteX55" fmla="*/ 1821202 w 4519987"/>
                  <a:gd name="connsiteY55" fmla="*/ 4371975 h 4496940"/>
                  <a:gd name="connsiteX56" fmla="*/ 1754527 w 4519987"/>
                  <a:gd name="connsiteY56" fmla="*/ 4352925 h 4496940"/>
                  <a:gd name="connsiteX57" fmla="*/ 1687852 w 4519987"/>
                  <a:gd name="connsiteY57" fmla="*/ 4343400 h 4496940"/>
                  <a:gd name="connsiteX58" fmla="*/ 1573552 w 4519987"/>
                  <a:gd name="connsiteY58" fmla="*/ 4305300 h 4496940"/>
                  <a:gd name="connsiteX59" fmla="*/ 1402102 w 4519987"/>
                  <a:gd name="connsiteY59" fmla="*/ 4276725 h 4496940"/>
                  <a:gd name="connsiteX60" fmla="*/ 1287802 w 4519987"/>
                  <a:gd name="connsiteY60" fmla="*/ 4229100 h 4496940"/>
                  <a:gd name="connsiteX61" fmla="*/ 1221127 w 4519987"/>
                  <a:gd name="connsiteY61" fmla="*/ 4200525 h 4496940"/>
                  <a:gd name="connsiteX62" fmla="*/ 1144927 w 4519987"/>
                  <a:gd name="connsiteY62" fmla="*/ 4171950 h 4496940"/>
                  <a:gd name="connsiteX63" fmla="*/ 1087777 w 4519987"/>
                  <a:gd name="connsiteY63" fmla="*/ 4143375 h 4496940"/>
                  <a:gd name="connsiteX64" fmla="*/ 1030627 w 4519987"/>
                  <a:gd name="connsiteY64" fmla="*/ 4124325 h 4496940"/>
                  <a:gd name="connsiteX65" fmla="*/ 925852 w 4519987"/>
                  <a:gd name="connsiteY65" fmla="*/ 4067175 h 4496940"/>
                  <a:gd name="connsiteX66" fmla="*/ 830602 w 4519987"/>
                  <a:gd name="connsiteY66" fmla="*/ 3981450 h 4496940"/>
                  <a:gd name="connsiteX67" fmla="*/ 763927 w 4519987"/>
                  <a:gd name="connsiteY67" fmla="*/ 3914775 h 4496940"/>
                  <a:gd name="connsiteX68" fmla="*/ 725827 w 4519987"/>
                  <a:gd name="connsiteY68" fmla="*/ 3876675 h 4496940"/>
                  <a:gd name="connsiteX69" fmla="*/ 697252 w 4519987"/>
                  <a:gd name="connsiteY69" fmla="*/ 3838575 h 4496940"/>
                  <a:gd name="connsiteX70" fmla="*/ 640102 w 4519987"/>
                  <a:gd name="connsiteY70" fmla="*/ 3781425 h 4496940"/>
                  <a:gd name="connsiteX71" fmla="*/ 611527 w 4519987"/>
                  <a:gd name="connsiteY71" fmla="*/ 3733800 h 4496940"/>
                  <a:gd name="connsiteX72" fmla="*/ 554377 w 4519987"/>
                  <a:gd name="connsiteY72" fmla="*/ 3657600 h 4496940"/>
                  <a:gd name="connsiteX73" fmla="*/ 525802 w 4519987"/>
                  <a:gd name="connsiteY73" fmla="*/ 3609975 h 4496940"/>
                  <a:gd name="connsiteX74" fmla="*/ 497227 w 4519987"/>
                  <a:gd name="connsiteY74" fmla="*/ 3552825 h 4496940"/>
                  <a:gd name="connsiteX75" fmla="*/ 440077 w 4519987"/>
                  <a:gd name="connsiteY75" fmla="*/ 3495675 h 4496940"/>
                  <a:gd name="connsiteX76" fmla="*/ 411502 w 4519987"/>
                  <a:gd name="connsiteY76" fmla="*/ 3448050 h 4496940"/>
                  <a:gd name="connsiteX77" fmla="*/ 278152 w 4519987"/>
                  <a:gd name="connsiteY77" fmla="*/ 3257550 h 4496940"/>
                  <a:gd name="connsiteX78" fmla="*/ 249577 w 4519987"/>
                  <a:gd name="connsiteY78" fmla="*/ 3200400 h 4496940"/>
                  <a:gd name="connsiteX79" fmla="*/ 240052 w 4519987"/>
                  <a:gd name="connsiteY79" fmla="*/ 3162300 h 4496940"/>
                  <a:gd name="connsiteX80" fmla="*/ 221002 w 4519987"/>
                  <a:gd name="connsiteY80" fmla="*/ 3105150 h 4496940"/>
                  <a:gd name="connsiteX81" fmla="*/ 173377 w 4519987"/>
                  <a:gd name="connsiteY81" fmla="*/ 3019425 h 4496940"/>
                  <a:gd name="connsiteX82" fmla="*/ 144802 w 4519987"/>
                  <a:gd name="connsiteY82" fmla="*/ 2924175 h 4496940"/>
                  <a:gd name="connsiteX83" fmla="*/ 68602 w 4519987"/>
                  <a:gd name="connsiteY83" fmla="*/ 2724150 h 4496940"/>
                  <a:gd name="connsiteX84" fmla="*/ 49552 w 4519987"/>
                  <a:gd name="connsiteY84" fmla="*/ 2638425 h 4496940"/>
                  <a:gd name="connsiteX85" fmla="*/ 40027 w 4519987"/>
                  <a:gd name="connsiteY85" fmla="*/ 2562225 h 4496940"/>
                  <a:gd name="connsiteX86" fmla="*/ 30502 w 4519987"/>
                  <a:gd name="connsiteY86" fmla="*/ 2514600 h 4496940"/>
                  <a:gd name="connsiteX87" fmla="*/ 11452 w 4519987"/>
                  <a:gd name="connsiteY87" fmla="*/ 2400300 h 4496940"/>
                  <a:gd name="connsiteX88" fmla="*/ 20977 w 4519987"/>
                  <a:gd name="connsiteY88" fmla="*/ 1905000 h 4496940"/>
                  <a:gd name="connsiteX89" fmla="*/ 30502 w 4519987"/>
                  <a:gd name="connsiteY89" fmla="*/ 1838325 h 4496940"/>
                  <a:gd name="connsiteX90" fmla="*/ 49552 w 4519987"/>
                  <a:gd name="connsiteY90" fmla="*/ 1781175 h 4496940"/>
                  <a:gd name="connsiteX91" fmla="*/ 59077 w 4519987"/>
                  <a:gd name="connsiteY91" fmla="*/ 1743075 h 4496940"/>
                  <a:gd name="connsiteX92" fmla="*/ 78127 w 4519987"/>
                  <a:gd name="connsiteY92" fmla="*/ 1685925 h 4496940"/>
                  <a:gd name="connsiteX93" fmla="*/ 87652 w 4519987"/>
                  <a:gd name="connsiteY93" fmla="*/ 1638300 h 4496940"/>
                  <a:gd name="connsiteX94" fmla="*/ 106702 w 4519987"/>
                  <a:gd name="connsiteY94" fmla="*/ 1590675 h 4496940"/>
                  <a:gd name="connsiteX95" fmla="*/ 135277 w 4519987"/>
                  <a:gd name="connsiteY95" fmla="*/ 1504950 h 4496940"/>
                  <a:gd name="connsiteX96" fmla="*/ 154327 w 4519987"/>
                  <a:gd name="connsiteY96" fmla="*/ 1419225 h 4496940"/>
                  <a:gd name="connsiteX97" fmla="*/ 230527 w 4519987"/>
                  <a:gd name="connsiteY97" fmla="*/ 1276350 h 4496940"/>
                  <a:gd name="connsiteX98" fmla="*/ 240052 w 4519987"/>
                  <a:gd name="connsiteY98" fmla="*/ 1247775 h 4496940"/>
                  <a:gd name="connsiteX99" fmla="*/ 268627 w 4519987"/>
                  <a:gd name="connsiteY99" fmla="*/ 1200150 h 4496940"/>
                  <a:gd name="connsiteX100" fmla="*/ 287677 w 4519987"/>
                  <a:gd name="connsiteY100" fmla="*/ 1152525 h 4496940"/>
                  <a:gd name="connsiteX101" fmla="*/ 316252 w 4519987"/>
                  <a:gd name="connsiteY101" fmla="*/ 1114425 h 4496940"/>
                  <a:gd name="connsiteX102" fmla="*/ 363877 w 4519987"/>
                  <a:gd name="connsiteY102" fmla="*/ 1038225 h 4496940"/>
                  <a:gd name="connsiteX103" fmla="*/ 382927 w 4519987"/>
                  <a:gd name="connsiteY103" fmla="*/ 1009650 h 4496940"/>
                  <a:gd name="connsiteX104" fmla="*/ 440077 w 4519987"/>
                  <a:gd name="connsiteY104" fmla="*/ 904875 h 4496940"/>
                  <a:gd name="connsiteX105" fmla="*/ 478177 w 4519987"/>
                  <a:gd name="connsiteY105" fmla="*/ 857250 h 4496940"/>
                  <a:gd name="connsiteX106" fmla="*/ 497227 w 4519987"/>
                  <a:gd name="connsiteY106" fmla="*/ 828675 h 4496940"/>
                  <a:gd name="connsiteX107" fmla="*/ 535327 w 4519987"/>
                  <a:gd name="connsiteY107" fmla="*/ 800100 h 4496940"/>
                  <a:gd name="connsiteX108" fmla="*/ 602002 w 4519987"/>
                  <a:gd name="connsiteY108" fmla="*/ 733425 h 4496940"/>
                  <a:gd name="connsiteX109" fmla="*/ 668677 w 4519987"/>
                  <a:gd name="connsiteY109" fmla="*/ 676275 h 4496940"/>
                  <a:gd name="connsiteX110" fmla="*/ 697252 w 4519987"/>
                  <a:gd name="connsiteY110" fmla="*/ 657225 h 4496940"/>
                  <a:gd name="connsiteX111" fmla="*/ 840127 w 4519987"/>
                  <a:gd name="connsiteY111" fmla="*/ 533400 h 4496940"/>
                  <a:gd name="connsiteX112" fmla="*/ 887752 w 4519987"/>
                  <a:gd name="connsiteY112" fmla="*/ 504825 h 4496940"/>
                  <a:gd name="connsiteX113" fmla="*/ 1167152 w 4519987"/>
                  <a:gd name="connsiteY113" fmla="*/ 311150 h 4496940"/>
                  <a:gd name="connsiteX114" fmla="*/ 1268752 w 4519987"/>
                  <a:gd name="connsiteY114" fmla="*/ 285750 h 4496940"/>
                  <a:gd name="connsiteX115" fmla="*/ 1411627 w 4519987"/>
                  <a:gd name="connsiteY115" fmla="*/ 190500 h 4496940"/>
                  <a:gd name="connsiteX116" fmla="*/ 1449727 w 4519987"/>
                  <a:gd name="connsiteY116" fmla="*/ 161925 h 4496940"/>
                  <a:gd name="connsiteX117" fmla="*/ 1525927 w 4519987"/>
                  <a:gd name="connsiteY117" fmla="*/ 152400 h 4496940"/>
                  <a:gd name="connsiteX118" fmla="*/ 1583077 w 4519987"/>
                  <a:gd name="connsiteY118" fmla="*/ 142875 h 4496940"/>
                  <a:gd name="connsiteX119" fmla="*/ 1716427 w 4519987"/>
                  <a:gd name="connsiteY119" fmla="*/ 123825 h 4496940"/>
                  <a:gd name="connsiteX120" fmla="*/ 1811677 w 4519987"/>
                  <a:gd name="connsiteY120" fmla="*/ 114300 h 4496940"/>
                  <a:gd name="connsiteX121" fmla="*/ 1859302 w 4519987"/>
                  <a:gd name="connsiteY121" fmla="*/ 104775 h 4496940"/>
                  <a:gd name="connsiteX122" fmla="*/ 1916452 w 4519987"/>
                  <a:gd name="connsiteY122" fmla="*/ 95250 h 4496940"/>
                  <a:gd name="connsiteX123" fmla="*/ 2030752 w 4519987"/>
                  <a:gd name="connsiteY123" fmla="*/ 66675 h 4496940"/>
                  <a:gd name="connsiteX124" fmla="*/ 2097427 w 4519987"/>
                  <a:gd name="connsiteY124" fmla="*/ 47625 h 4496940"/>
                  <a:gd name="connsiteX125" fmla="*/ 2164102 w 4519987"/>
                  <a:gd name="connsiteY125" fmla="*/ 38100 h 4496940"/>
                  <a:gd name="connsiteX126" fmla="*/ 2392702 w 4519987"/>
                  <a:gd name="connsiteY12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554752 w 4519987"/>
                  <a:gd name="connsiteY37" fmla="*/ 4095750 h 4496940"/>
                  <a:gd name="connsiteX38" fmla="*/ 3383302 w 4519987"/>
                  <a:gd name="connsiteY38" fmla="*/ 4210050 h 4496940"/>
                  <a:gd name="connsiteX39" fmla="*/ 3335677 w 4519987"/>
                  <a:gd name="connsiteY39" fmla="*/ 4238625 h 4496940"/>
                  <a:gd name="connsiteX40" fmla="*/ 3288052 w 4519987"/>
                  <a:gd name="connsiteY40" fmla="*/ 4248150 h 4496940"/>
                  <a:gd name="connsiteX41" fmla="*/ 3240427 w 4519987"/>
                  <a:gd name="connsiteY41" fmla="*/ 4267200 h 4496940"/>
                  <a:gd name="connsiteX42" fmla="*/ 3068977 w 4519987"/>
                  <a:gd name="connsiteY42" fmla="*/ 4286250 h 4496940"/>
                  <a:gd name="connsiteX43" fmla="*/ 2935627 w 4519987"/>
                  <a:gd name="connsiteY43" fmla="*/ 4333875 h 4496940"/>
                  <a:gd name="connsiteX44" fmla="*/ 2811802 w 4519987"/>
                  <a:gd name="connsiteY44" fmla="*/ 4371975 h 4496940"/>
                  <a:gd name="connsiteX45" fmla="*/ 2745127 w 4519987"/>
                  <a:gd name="connsiteY45" fmla="*/ 4410075 h 4496940"/>
                  <a:gd name="connsiteX46" fmla="*/ 2697502 w 4519987"/>
                  <a:gd name="connsiteY46" fmla="*/ 4429125 h 4496940"/>
                  <a:gd name="connsiteX47" fmla="*/ 2640352 w 4519987"/>
                  <a:gd name="connsiteY47" fmla="*/ 4457700 h 4496940"/>
                  <a:gd name="connsiteX48" fmla="*/ 2583202 w 4519987"/>
                  <a:gd name="connsiteY48" fmla="*/ 4467225 h 4496940"/>
                  <a:gd name="connsiteX49" fmla="*/ 2545102 w 4519987"/>
                  <a:gd name="connsiteY49" fmla="*/ 4486275 h 4496940"/>
                  <a:gd name="connsiteX50" fmla="*/ 2306977 w 4519987"/>
                  <a:gd name="connsiteY50" fmla="*/ 4476750 h 4496940"/>
                  <a:gd name="connsiteX51" fmla="*/ 2202202 w 4519987"/>
                  <a:gd name="connsiteY51" fmla="*/ 4457700 h 4496940"/>
                  <a:gd name="connsiteX52" fmla="*/ 2126002 w 4519987"/>
                  <a:gd name="connsiteY52" fmla="*/ 4429125 h 4496940"/>
                  <a:gd name="connsiteX53" fmla="*/ 1935502 w 4519987"/>
                  <a:gd name="connsiteY53" fmla="*/ 4400550 h 4496940"/>
                  <a:gd name="connsiteX54" fmla="*/ 1821202 w 4519987"/>
                  <a:gd name="connsiteY54" fmla="*/ 4371975 h 4496940"/>
                  <a:gd name="connsiteX55" fmla="*/ 1754527 w 4519987"/>
                  <a:gd name="connsiteY55" fmla="*/ 4352925 h 4496940"/>
                  <a:gd name="connsiteX56" fmla="*/ 1687852 w 4519987"/>
                  <a:gd name="connsiteY56" fmla="*/ 4343400 h 4496940"/>
                  <a:gd name="connsiteX57" fmla="*/ 1573552 w 4519987"/>
                  <a:gd name="connsiteY57" fmla="*/ 4305300 h 4496940"/>
                  <a:gd name="connsiteX58" fmla="*/ 1402102 w 4519987"/>
                  <a:gd name="connsiteY58" fmla="*/ 4276725 h 4496940"/>
                  <a:gd name="connsiteX59" fmla="*/ 1287802 w 4519987"/>
                  <a:gd name="connsiteY59" fmla="*/ 4229100 h 4496940"/>
                  <a:gd name="connsiteX60" fmla="*/ 1221127 w 4519987"/>
                  <a:gd name="connsiteY60" fmla="*/ 4200525 h 4496940"/>
                  <a:gd name="connsiteX61" fmla="*/ 1144927 w 4519987"/>
                  <a:gd name="connsiteY61" fmla="*/ 4171950 h 4496940"/>
                  <a:gd name="connsiteX62" fmla="*/ 1087777 w 4519987"/>
                  <a:gd name="connsiteY62" fmla="*/ 4143375 h 4496940"/>
                  <a:gd name="connsiteX63" fmla="*/ 1030627 w 4519987"/>
                  <a:gd name="connsiteY63" fmla="*/ 4124325 h 4496940"/>
                  <a:gd name="connsiteX64" fmla="*/ 925852 w 4519987"/>
                  <a:gd name="connsiteY64" fmla="*/ 4067175 h 4496940"/>
                  <a:gd name="connsiteX65" fmla="*/ 830602 w 4519987"/>
                  <a:gd name="connsiteY65" fmla="*/ 3981450 h 4496940"/>
                  <a:gd name="connsiteX66" fmla="*/ 763927 w 4519987"/>
                  <a:gd name="connsiteY66" fmla="*/ 3914775 h 4496940"/>
                  <a:gd name="connsiteX67" fmla="*/ 725827 w 4519987"/>
                  <a:gd name="connsiteY67" fmla="*/ 3876675 h 4496940"/>
                  <a:gd name="connsiteX68" fmla="*/ 697252 w 4519987"/>
                  <a:gd name="connsiteY68" fmla="*/ 3838575 h 4496940"/>
                  <a:gd name="connsiteX69" fmla="*/ 640102 w 4519987"/>
                  <a:gd name="connsiteY69" fmla="*/ 3781425 h 4496940"/>
                  <a:gd name="connsiteX70" fmla="*/ 611527 w 4519987"/>
                  <a:gd name="connsiteY70" fmla="*/ 3733800 h 4496940"/>
                  <a:gd name="connsiteX71" fmla="*/ 554377 w 4519987"/>
                  <a:gd name="connsiteY71" fmla="*/ 3657600 h 4496940"/>
                  <a:gd name="connsiteX72" fmla="*/ 525802 w 4519987"/>
                  <a:gd name="connsiteY72" fmla="*/ 3609975 h 4496940"/>
                  <a:gd name="connsiteX73" fmla="*/ 497227 w 4519987"/>
                  <a:gd name="connsiteY73" fmla="*/ 3552825 h 4496940"/>
                  <a:gd name="connsiteX74" fmla="*/ 440077 w 4519987"/>
                  <a:gd name="connsiteY74" fmla="*/ 3495675 h 4496940"/>
                  <a:gd name="connsiteX75" fmla="*/ 411502 w 4519987"/>
                  <a:gd name="connsiteY75" fmla="*/ 3448050 h 4496940"/>
                  <a:gd name="connsiteX76" fmla="*/ 278152 w 4519987"/>
                  <a:gd name="connsiteY76" fmla="*/ 3257550 h 4496940"/>
                  <a:gd name="connsiteX77" fmla="*/ 249577 w 4519987"/>
                  <a:gd name="connsiteY77" fmla="*/ 3200400 h 4496940"/>
                  <a:gd name="connsiteX78" fmla="*/ 240052 w 4519987"/>
                  <a:gd name="connsiteY78" fmla="*/ 3162300 h 4496940"/>
                  <a:gd name="connsiteX79" fmla="*/ 221002 w 4519987"/>
                  <a:gd name="connsiteY79" fmla="*/ 3105150 h 4496940"/>
                  <a:gd name="connsiteX80" fmla="*/ 173377 w 4519987"/>
                  <a:gd name="connsiteY80" fmla="*/ 3019425 h 4496940"/>
                  <a:gd name="connsiteX81" fmla="*/ 144802 w 4519987"/>
                  <a:gd name="connsiteY81" fmla="*/ 2924175 h 4496940"/>
                  <a:gd name="connsiteX82" fmla="*/ 68602 w 4519987"/>
                  <a:gd name="connsiteY82" fmla="*/ 2724150 h 4496940"/>
                  <a:gd name="connsiteX83" fmla="*/ 49552 w 4519987"/>
                  <a:gd name="connsiteY83" fmla="*/ 2638425 h 4496940"/>
                  <a:gd name="connsiteX84" fmla="*/ 40027 w 4519987"/>
                  <a:gd name="connsiteY84" fmla="*/ 2562225 h 4496940"/>
                  <a:gd name="connsiteX85" fmla="*/ 30502 w 4519987"/>
                  <a:gd name="connsiteY85" fmla="*/ 2514600 h 4496940"/>
                  <a:gd name="connsiteX86" fmla="*/ 11452 w 4519987"/>
                  <a:gd name="connsiteY86" fmla="*/ 2400300 h 4496940"/>
                  <a:gd name="connsiteX87" fmla="*/ 20977 w 4519987"/>
                  <a:gd name="connsiteY87" fmla="*/ 1905000 h 4496940"/>
                  <a:gd name="connsiteX88" fmla="*/ 30502 w 4519987"/>
                  <a:gd name="connsiteY88" fmla="*/ 1838325 h 4496940"/>
                  <a:gd name="connsiteX89" fmla="*/ 49552 w 4519987"/>
                  <a:gd name="connsiteY89" fmla="*/ 1781175 h 4496940"/>
                  <a:gd name="connsiteX90" fmla="*/ 59077 w 4519987"/>
                  <a:gd name="connsiteY90" fmla="*/ 1743075 h 4496940"/>
                  <a:gd name="connsiteX91" fmla="*/ 78127 w 4519987"/>
                  <a:gd name="connsiteY91" fmla="*/ 1685925 h 4496940"/>
                  <a:gd name="connsiteX92" fmla="*/ 87652 w 4519987"/>
                  <a:gd name="connsiteY92" fmla="*/ 1638300 h 4496940"/>
                  <a:gd name="connsiteX93" fmla="*/ 106702 w 4519987"/>
                  <a:gd name="connsiteY93" fmla="*/ 1590675 h 4496940"/>
                  <a:gd name="connsiteX94" fmla="*/ 135277 w 4519987"/>
                  <a:gd name="connsiteY94" fmla="*/ 1504950 h 4496940"/>
                  <a:gd name="connsiteX95" fmla="*/ 154327 w 4519987"/>
                  <a:gd name="connsiteY95" fmla="*/ 1419225 h 4496940"/>
                  <a:gd name="connsiteX96" fmla="*/ 230527 w 4519987"/>
                  <a:gd name="connsiteY96" fmla="*/ 1276350 h 4496940"/>
                  <a:gd name="connsiteX97" fmla="*/ 240052 w 4519987"/>
                  <a:gd name="connsiteY97" fmla="*/ 1247775 h 4496940"/>
                  <a:gd name="connsiteX98" fmla="*/ 268627 w 4519987"/>
                  <a:gd name="connsiteY98" fmla="*/ 1200150 h 4496940"/>
                  <a:gd name="connsiteX99" fmla="*/ 287677 w 4519987"/>
                  <a:gd name="connsiteY99" fmla="*/ 1152525 h 4496940"/>
                  <a:gd name="connsiteX100" fmla="*/ 316252 w 4519987"/>
                  <a:gd name="connsiteY100" fmla="*/ 1114425 h 4496940"/>
                  <a:gd name="connsiteX101" fmla="*/ 363877 w 4519987"/>
                  <a:gd name="connsiteY101" fmla="*/ 1038225 h 4496940"/>
                  <a:gd name="connsiteX102" fmla="*/ 382927 w 4519987"/>
                  <a:gd name="connsiteY102" fmla="*/ 1009650 h 4496940"/>
                  <a:gd name="connsiteX103" fmla="*/ 440077 w 4519987"/>
                  <a:gd name="connsiteY103" fmla="*/ 904875 h 4496940"/>
                  <a:gd name="connsiteX104" fmla="*/ 478177 w 4519987"/>
                  <a:gd name="connsiteY104" fmla="*/ 857250 h 4496940"/>
                  <a:gd name="connsiteX105" fmla="*/ 497227 w 4519987"/>
                  <a:gd name="connsiteY105" fmla="*/ 828675 h 4496940"/>
                  <a:gd name="connsiteX106" fmla="*/ 535327 w 4519987"/>
                  <a:gd name="connsiteY106" fmla="*/ 800100 h 4496940"/>
                  <a:gd name="connsiteX107" fmla="*/ 602002 w 4519987"/>
                  <a:gd name="connsiteY107" fmla="*/ 733425 h 4496940"/>
                  <a:gd name="connsiteX108" fmla="*/ 668677 w 4519987"/>
                  <a:gd name="connsiteY108" fmla="*/ 676275 h 4496940"/>
                  <a:gd name="connsiteX109" fmla="*/ 697252 w 4519987"/>
                  <a:gd name="connsiteY109" fmla="*/ 657225 h 4496940"/>
                  <a:gd name="connsiteX110" fmla="*/ 840127 w 4519987"/>
                  <a:gd name="connsiteY110" fmla="*/ 533400 h 4496940"/>
                  <a:gd name="connsiteX111" fmla="*/ 887752 w 4519987"/>
                  <a:gd name="connsiteY111" fmla="*/ 504825 h 4496940"/>
                  <a:gd name="connsiteX112" fmla="*/ 1167152 w 4519987"/>
                  <a:gd name="connsiteY112" fmla="*/ 311150 h 4496940"/>
                  <a:gd name="connsiteX113" fmla="*/ 1268752 w 4519987"/>
                  <a:gd name="connsiteY113" fmla="*/ 285750 h 4496940"/>
                  <a:gd name="connsiteX114" fmla="*/ 1411627 w 4519987"/>
                  <a:gd name="connsiteY114" fmla="*/ 190500 h 4496940"/>
                  <a:gd name="connsiteX115" fmla="*/ 1449727 w 4519987"/>
                  <a:gd name="connsiteY115" fmla="*/ 161925 h 4496940"/>
                  <a:gd name="connsiteX116" fmla="*/ 1525927 w 4519987"/>
                  <a:gd name="connsiteY116" fmla="*/ 152400 h 4496940"/>
                  <a:gd name="connsiteX117" fmla="*/ 1583077 w 4519987"/>
                  <a:gd name="connsiteY117" fmla="*/ 142875 h 4496940"/>
                  <a:gd name="connsiteX118" fmla="*/ 1716427 w 4519987"/>
                  <a:gd name="connsiteY118" fmla="*/ 123825 h 4496940"/>
                  <a:gd name="connsiteX119" fmla="*/ 1811677 w 4519987"/>
                  <a:gd name="connsiteY119" fmla="*/ 114300 h 4496940"/>
                  <a:gd name="connsiteX120" fmla="*/ 1859302 w 4519987"/>
                  <a:gd name="connsiteY120" fmla="*/ 104775 h 4496940"/>
                  <a:gd name="connsiteX121" fmla="*/ 1916452 w 4519987"/>
                  <a:gd name="connsiteY121" fmla="*/ 95250 h 4496940"/>
                  <a:gd name="connsiteX122" fmla="*/ 2030752 w 4519987"/>
                  <a:gd name="connsiteY122" fmla="*/ 66675 h 4496940"/>
                  <a:gd name="connsiteX123" fmla="*/ 2097427 w 4519987"/>
                  <a:gd name="connsiteY123" fmla="*/ 47625 h 4496940"/>
                  <a:gd name="connsiteX124" fmla="*/ 2164102 w 4519987"/>
                  <a:gd name="connsiteY124" fmla="*/ 38100 h 4496940"/>
                  <a:gd name="connsiteX125" fmla="*/ 2392702 w 4519987"/>
                  <a:gd name="connsiteY12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54752 w 4519987"/>
                  <a:gd name="connsiteY36" fmla="*/ 4095750 h 4496940"/>
                  <a:gd name="connsiteX37" fmla="*/ 3383302 w 4519987"/>
                  <a:gd name="connsiteY37" fmla="*/ 4210050 h 4496940"/>
                  <a:gd name="connsiteX38" fmla="*/ 3335677 w 4519987"/>
                  <a:gd name="connsiteY38" fmla="*/ 4238625 h 4496940"/>
                  <a:gd name="connsiteX39" fmla="*/ 3288052 w 4519987"/>
                  <a:gd name="connsiteY39" fmla="*/ 4248150 h 4496940"/>
                  <a:gd name="connsiteX40" fmla="*/ 3240427 w 4519987"/>
                  <a:gd name="connsiteY40" fmla="*/ 4267200 h 4496940"/>
                  <a:gd name="connsiteX41" fmla="*/ 3068977 w 4519987"/>
                  <a:gd name="connsiteY41" fmla="*/ 4286250 h 4496940"/>
                  <a:gd name="connsiteX42" fmla="*/ 2935627 w 4519987"/>
                  <a:gd name="connsiteY42" fmla="*/ 4333875 h 4496940"/>
                  <a:gd name="connsiteX43" fmla="*/ 2811802 w 4519987"/>
                  <a:gd name="connsiteY43" fmla="*/ 4371975 h 4496940"/>
                  <a:gd name="connsiteX44" fmla="*/ 2745127 w 4519987"/>
                  <a:gd name="connsiteY44" fmla="*/ 4410075 h 4496940"/>
                  <a:gd name="connsiteX45" fmla="*/ 2697502 w 4519987"/>
                  <a:gd name="connsiteY45" fmla="*/ 4429125 h 4496940"/>
                  <a:gd name="connsiteX46" fmla="*/ 2640352 w 4519987"/>
                  <a:gd name="connsiteY46" fmla="*/ 4457700 h 4496940"/>
                  <a:gd name="connsiteX47" fmla="*/ 2583202 w 4519987"/>
                  <a:gd name="connsiteY47" fmla="*/ 4467225 h 4496940"/>
                  <a:gd name="connsiteX48" fmla="*/ 2545102 w 4519987"/>
                  <a:gd name="connsiteY48" fmla="*/ 4486275 h 4496940"/>
                  <a:gd name="connsiteX49" fmla="*/ 2306977 w 4519987"/>
                  <a:gd name="connsiteY49" fmla="*/ 4476750 h 4496940"/>
                  <a:gd name="connsiteX50" fmla="*/ 2202202 w 4519987"/>
                  <a:gd name="connsiteY50" fmla="*/ 4457700 h 4496940"/>
                  <a:gd name="connsiteX51" fmla="*/ 2126002 w 4519987"/>
                  <a:gd name="connsiteY51" fmla="*/ 4429125 h 4496940"/>
                  <a:gd name="connsiteX52" fmla="*/ 1935502 w 4519987"/>
                  <a:gd name="connsiteY52" fmla="*/ 4400550 h 4496940"/>
                  <a:gd name="connsiteX53" fmla="*/ 1821202 w 4519987"/>
                  <a:gd name="connsiteY53" fmla="*/ 4371975 h 4496940"/>
                  <a:gd name="connsiteX54" fmla="*/ 1754527 w 4519987"/>
                  <a:gd name="connsiteY54" fmla="*/ 4352925 h 4496940"/>
                  <a:gd name="connsiteX55" fmla="*/ 1687852 w 4519987"/>
                  <a:gd name="connsiteY55" fmla="*/ 4343400 h 4496940"/>
                  <a:gd name="connsiteX56" fmla="*/ 1573552 w 4519987"/>
                  <a:gd name="connsiteY56" fmla="*/ 4305300 h 4496940"/>
                  <a:gd name="connsiteX57" fmla="*/ 1402102 w 4519987"/>
                  <a:gd name="connsiteY57" fmla="*/ 4276725 h 4496940"/>
                  <a:gd name="connsiteX58" fmla="*/ 1287802 w 4519987"/>
                  <a:gd name="connsiteY58" fmla="*/ 4229100 h 4496940"/>
                  <a:gd name="connsiteX59" fmla="*/ 1221127 w 4519987"/>
                  <a:gd name="connsiteY59" fmla="*/ 4200525 h 4496940"/>
                  <a:gd name="connsiteX60" fmla="*/ 1144927 w 4519987"/>
                  <a:gd name="connsiteY60" fmla="*/ 4171950 h 4496940"/>
                  <a:gd name="connsiteX61" fmla="*/ 1087777 w 4519987"/>
                  <a:gd name="connsiteY61" fmla="*/ 4143375 h 4496940"/>
                  <a:gd name="connsiteX62" fmla="*/ 1030627 w 4519987"/>
                  <a:gd name="connsiteY62" fmla="*/ 4124325 h 4496940"/>
                  <a:gd name="connsiteX63" fmla="*/ 925852 w 4519987"/>
                  <a:gd name="connsiteY63" fmla="*/ 4067175 h 4496940"/>
                  <a:gd name="connsiteX64" fmla="*/ 830602 w 4519987"/>
                  <a:gd name="connsiteY64" fmla="*/ 3981450 h 4496940"/>
                  <a:gd name="connsiteX65" fmla="*/ 763927 w 4519987"/>
                  <a:gd name="connsiteY65" fmla="*/ 3914775 h 4496940"/>
                  <a:gd name="connsiteX66" fmla="*/ 725827 w 4519987"/>
                  <a:gd name="connsiteY66" fmla="*/ 3876675 h 4496940"/>
                  <a:gd name="connsiteX67" fmla="*/ 697252 w 4519987"/>
                  <a:gd name="connsiteY67" fmla="*/ 3838575 h 4496940"/>
                  <a:gd name="connsiteX68" fmla="*/ 640102 w 4519987"/>
                  <a:gd name="connsiteY68" fmla="*/ 3781425 h 4496940"/>
                  <a:gd name="connsiteX69" fmla="*/ 611527 w 4519987"/>
                  <a:gd name="connsiteY69" fmla="*/ 3733800 h 4496940"/>
                  <a:gd name="connsiteX70" fmla="*/ 554377 w 4519987"/>
                  <a:gd name="connsiteY70" fmla="*/ 3657600 h 4496940"/>
                  <a:gd name="connsiteX71" fmla="*/ 525802 w 4519987"/>
                  <a:gd name="connsiteY71" fmla="*/ 3609975 h 4496940"/>
                  <a:gd name="connsiteX72" fmla="*/ 497227 w 4519987"/>
                  <a:gd name="connsiteY72" fmla="*/ 3552825 h 4496940"/>
                  <a:gd name="connsiteX73" fmla="*/ 440077 w 4519987"/>
                  <a:gd name="connsiteY73" fmla="*/ 3495675 h 4496940"/>
                  <a:gd name="connsiteX74" fmla="*/ 411502 w 4519987"/>
                  <a:gd name="connsiteY74" fmla="*/ 3448050 h 4496940"/>
                  <a:gd name="connsiteX75" fmla="*/ 278152 w 4519987"/>
                  <a:gd name="connsiteY75" fmla="*/ 3257550 h 4496940"/>
                  <a:gd name="connsiteX76" fmla="*/ 249577 w 4519987"/>
                  <a:gd name="connsiteY76" fmla="*/ 3200400 h 4496940"/>
                  <a:gd name="connsiteX77" fmla="*/ 240052 w 4519987"/>
                  <a:gd name="connsiteY77" fmla="*/ 3162300 h 4496940"/>
                  <a:gd name="connsiteX78" fmla="*/ 221002 w 4519987"/>
                  <a:gd name="connsiteY78" fmla="*/ 3105150 h 4496940"/>
                  <a:gd name="connsiteX79" fmla="*/ 173377 w 4519987"/>
                  <a:gd name="connsiteY79" fmla="*/ 3019425 h 4496940"/>
                  <a:gd name="connsiteX80" fmla="*/ 144802 w 4519987"/>
                  <a:gd name="connsiteY80" fmla="*/ 2924175 h 4496940"/>
                  <a:gd name="connsiteX81" fmla="*/ 68602 w 4519987"/>
                  <a:gd name="connsiteY81" fmla="*/ 2724150 h 4496940"/>
                  <a:gd name="connsiteX82" fmla="*/ 49552 w 4519987"/>
                  <a:gd name="connsiteY82" fmla="*/ 2638425 h 4496940"/>
                  <a:gd name="connsiteX83" fmla="*/ 40027 w 4519987"/>
                  <a:gd name="connsiteY83" fmla="*/ 2562225 h 4496940"/>
                  <a:gd name="connsiteX84" fmla="*/ 30502 w 4519987"/>
                  <a:gd name="connsiteY84" fmla="*/ 2514600 h 4496940"/>
                  <a:gd name="connsiteX85" fmla="*/ 11452 w 4519987"/>
                  <a:gd name="connsiteY85" fmla="*/ 2400300 h 4496940"/>
                  <a:gd name="connsiteX86" fmla="*/ 20977 w 4519987"/>
                  <a:gd name="connsiteY86" fmla="*/ 1905000 h 4496940"/>
                  <a:gd name="connsiteX87" fmla="*/ 30502 w 4519987"/>
                  <a:gd name="connsiteY87" fmla="*/ 1838325 h 4496940"/>
                  <a:gd name="connsiteX88" fmla="*/ 49552 w 4519987"/>
                  <a:gd name="connsiteY88" fmla="*/ 1781175 h 4496940"/>
                  <a:gd name="connsiteX89" fmla="*/ 59077 w 4519987"/>
                  <a:gd name="connsiteY89" fmla="*/ 1743075 h 4496940"/>
                  <a:gd name="connsiteX90" fmla="*/ 78127 w 4519987"/>
                  <a:gd name="connsiteY90" fmla="*/ 1685925 h 4496940"/>
                  <a:gd name="connsiteX91" fmla="*/ 87652 w 4519987"/>
                  <a:gd name="connsiteY91" fmla="*/ 1638300 h 4496940"/>
                  <a:gd name="connsiteX92" fmla="*/ 106702 w 4519987"/>
                  <a:gd name="connsiteY92" fmla="*/ 1590675 h 4496940"/>
                  <a:gd name="connsiteX93" fmla="*/ 135277 w 4519987"/>
                  <a:gd name="connsiteY93" fmla="*/ 1504950 h 4496940"/>
                  <a:gd name="connsiteX94" fmla="*/ 154327 w 4519987"/>
                  <a:gd name="connsiteY94" fmla="*/ 1419225 h 4496940"/>
                  <a:gd name="connsiteX95" fmla="*/ 230527 w 4519987"/>
                  <a:gd name="connsiteY95" fmla="*/ 1276350 h 4496940"/>
                  <a:gd name="connsiteX96" fmla="*/ 240052 w 4519987"/>
                  <a:gd name="connsiteY96" fmla="*/ 1247775 h 4496940"/>
                  <a:gd name="connsiteX97" fmla="*/ 268627 w 4519987"/>
                  <a:gd name="connsiteY97" fmla="*/ 1200150 h 4496940"/>
                  <a:gd name="connsiteX98" fmla="*/ 287677 w 4519987"/>
                  <a:gd name="connsiteY98" fmla="*/ 1152525 h 4496940"/>
                  <a:gd name="connsiteX99" fmla="*/ 316252 w 4519987"/>
                  <a:gd name="connsiteY99" fmla="*/ 1114425 h 4496940"/>
                  <a:gd name="connsiteX100" fmla="*/ 363877 w 4519987"/>
                  <a:gd name="connsiteY100" fmla="*/ 1038225 h 4496940"/>
                  <a:gd name="connsiteX101" fmla="*/ 382927 w 4519987"/>
                  <a:gd name="connsiteY101" fmla="*/ 1009650 h 4496940"/>
                  <a:gd name="connsiteX102" fmla="*/ 440077 w 4519987"/>
                  <a:gd name="connsiteY102" fmla="*/ 904875 h 4496940"/>
                  <a:gd name="connsiteX103" fmla="*/ 478177 w 4519987"/>
                  <a:gd name="connsiteY103" fmla="*/ 857250 h 4496940"/>
                  <a:gd name="connsiteX104" fmla="*/ 497227 w 4519987"/>
                  <a:gd name="connsiteY104" fmla="*/ 828675 h 4496940"/>
                  <a:gd name="connsiteX105" fmla="*/ 535327 w 4519987"/>
                  <a:gd name="connsiteY105" fmla="*/ 800100 h 4496940"/>
                  <a:gd name="connsiteX106" fmla="*/ 602002 w 4519987"/>
                  <a:gd name="connsiteY106" fmla="*/ 733425 h 4496940"/>
                  <a:gd name="connsiteX107" fmla="*/ 668677 w 4519987"/>
                  <a:gd name="connsiteY107" fmla="*/ 676275 h 4496940"/>
                  <a:gd name="connsiteX108" fmla="*/ 697252 w 4519987"/>
                  <a:gd name="connsiteY108" fmla="*/ 657225 h 4496940"/>
                  <a:gd name="connsiteX109" fmla="*/ 840127 w 4519987"/>
                  <a:gd name="connsiteY109" fmla="*/ 533400 h 4496940"/>
                  <a:gd name="connsiteX110" fmla="*/ 887752 w 4519987"/>
                  <a:gd name="connsiteY110" fmla="*/ 504825 h 4496940"/>
                  <a:gd name="connsiteX111" fmla="*/ 1167152 w 4519987"/>
                  <a:gd name="connsiteY111" fmla="*/ 311150 h 4496940"/>
                  <a:gd name="connsiteX112" fmla="*/ 1268752 w 4519987"/>
                  <a:gd name="connsiteY112" fmla="*/ 285750 h 4496940"/>
                  <a:gd name="connsiteX113" fmla="*/ 1411627 w 4519987"/>
                  <a:gd name="connsiteY113" fmla="*/ 190500 h 4496940"/>
                  <a:gd name="connsiteX114" fmla="*/ 1449727 w 4519987"/>
                  <a:gd name="connsiteY114" fmla="*/ 161925 h 4496940"/>
                  <a:gd name="connsiteX115" fmla="*/ 1525927 w 4519987"/>
                  <a:gd name="connsiteY115" fmla="*/ 152400 h 4496940"/>
                  <a:gd name="connsiteX116" fmla="*/ 1583077 w 4519987"/>
                  <a:gd name="connsiteY116" fmla="*/ 142875 h 4496940"/>
                  <a:gd name="connsiteX117" fmla="*/ 1716427 w 4519987"/>
                  <a:gd name="connsiteY117" fmla="*/ 123825 h 4496940"/>
                  <a:gd name="connsiteX118" fmla="*/ 1811677 w 4519987"/>
                  <a:gd name="connsiteY118" fmla="*/ 114300 h 4496940"/>
                  <a:gd name="connsiteX119" fmla="*/ 1859302 w 4519987"/>
                  <a:gd name="connsiteY119" fmla="*/ 104775 h 4496940"/>
                  <a:gd name="connsiteX120" fmla="*/ 1916452 w 4519987"/>
                  <a:gd name="connsiteY120" fmla="*/ 95250 h 4496940"/>
                  <a:gd name="connsiteX121" fmla="*/ 2030752 w 4519987"/>
                  <a:gd name="connsiteY121" fmla="*/ 66675 h 4496940"/>
                  <a:gd name="connsiteX122" fmla="*/ 2097427 w 4519987"/>
                  <a:gd name="connsiteY122" fmla="*/ 47625 h 4496940"/>
                  <a:gd name="connsiteX123" fmla="*/ 2164102 w 4519987"/>
                  <a:gd name="connsiteY123" fmla="*/ 38100 h 4496940"/>
                  <a:gd name="connsiteX124" fmla="*/ 2392702 w 4519987"/>
                  <a:gd name="connsiteY12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383302 w 4519987"/>
                  <a:gd name="connsiteY37" fmla="*/ 4210050 h 4496940"/>
                  <a:gd name="connsiteX38" fmla="*/ 3335677 w 4519987"/>
                  <a:gd name="connsiteY38" fmla="*/ 4238625 h 4496940"/>
                  <a:gd name="connsiteX39" fmla="*/ 3288052 w 4519987"/>
                  <a:gd name="connsiteY39" fmla="*/ 4248150 h 4496940"/>
                  <a:gd name="connsiteX40" fmla="*/ 3240427 w 4519987"/>
                  <a:gd name="connsiteY40" fmla="*/ 4267200 h 4496940"/>
                  <a:gd name="connsiteX41" fmla="*/ 3068977 w 4519987"/>
                  <a:gd name="connsiteY41" fmla="*/ 4286250 h 4496940"/>
                  <a:gd name="connsiteX42" fmla="*/ 2935627 w 4519987"/>
                  <a:gd name="connsiteY42" fmla="*/ 4333875 h 4496940"/>
                  <a:gd name="connsiteX43" fmla="*/ 2811802 w 4519987"/>
                  <a:gd name="connsiteY43" fmla="*/ 4371975 h 4496940"/>
                  <a:gd name="connsiteX44" fmla="*/ 2745127 w 4519987"/>
                  <a:gd name="connsiteY44" fmla="*/ 4410075 h 4496940"/>
                  <a:gd name="connsiteX45" fmla="*/ 2697502 w 4519987"/>
                  <a:gd name="connsiteY45" fmla="*/ 4429125 h 4496940"/>
                  <a:gd name="connsiteX46" fmla="*/ 2640352 w 4519987"/>
                  <a:gd name="connsiteY46" fmla="*/ 4457700 h 4496940"/>
                  <a:gd name="connsiteX47" fmla="*/ 2583202 w 4519987"/>
                  <a:gd name="connsiteY47" fmla="*/ 4467225 h 4496940"/>
                  <a:gd name="connsiteX48" fmla="*/ 2545102 w 4519987"/>
                  <a:gd name="connsiteY48" fmla="*/ 4486275 h 4496940"/>
                  <a:gd name="connsiteX49" fmla="*/ 2306977 w 4519987"/>
                  <a:gd name="connsiteY49" fmla="*/ 4476750 h 4496940"/>
                  <a:gd name="connsiteX50" fmla="*/ 2202202 w 4519987"/>
                  <a:gd name="connsiteY50" fmla="*/ 4457700 h 4496940"/>
                  <a:gd name="connsiteX51" fmla="*/ 2126002 w 4519987"/>
                  <a:gd name="connsiteY51" fmla="*/ 4429125 h 4496940"/>
                  <a:gd name="connsiteX52" fmla="*/ 1935502 w 4519987"/>
                  <a:gd name="connsiteY52" fmla="*/ 4400550 h 4496940"/>
                  <a:gd name="connsiteX53" fmla="*/ 1821202 w 4519987"/>
                  <a:gd name="connsiteY53" fmla="*/ 4371975 h 4496940"/>
                  <a:gd name="connsiteX54" fmla="*/ 1754527 w 4519987"/>
                  <a:gd name="connsiteY54" fmla="*/ 4352925 h 4496940"/>
                  <a:gd name="connsiteX55" fmla="*/ 1687852 w 4519987"/>
                  <a:gd name="connsiteY55" fmla="*/ 4343400 h 4496940"/>
                  <a:gd name="connsiteX56" fmla="*/ 1573552 w 4519987"/>
                  <a:gd name="connsiteY56" fmla="*/ 4305300 h 4496940"/>
                  <a:gd name="connsiteX57" fmla="*/ 1402102 w 4519987"/>
                  <a:gd name="connsiteY57" fmla="*/ 4276725 h 4496940"/>
                  <a:gd name="connsiteX58" fmla="*/ 1287802 w 4519987"/>
                  <a:gd name="connsiteY58" fmla="*/ 4229100 h 4496940"/>
                  <a:gd name="connsiteX59" fmla="*/ 1221127 w 4519987"/>
                  <a:gd name="connsiteY59" fmla="*/ 4200525 h 4496940"/>
                  <a:gd name="connsiteX60" fmla="*/ 1144927 w 4519987"/>
                  <a:gd name="connsiteY60" fmla="*/ 4171950 h 4496940"/>
                  <a:gd name="connsiteX61" fmla="*/ 1087777 w 4519987"/>
                  <a:gd name="connsiteY61" fmla="*/ 4143375 h 4496940"/>
                  <a:gd name="connsiteX62" fmla="*/ 1030627 w 4519987"/>
                  <a:gd name="connsiteY62" fmla="*/ 4124325 h 4496940"/>
                  <a:gd name="connsiteX63" fmla="*/ 925852 w 4519987"/>
                  <a:gd name="connsiteY63" fmla="*/ 4067175 h 4496940"/>
                  <a:gd name="connsiteX64" fmla="*/ 830602 w 4519987"/>
                  <a:gd name="connsiteY64" fmla="*/ 3981450 h 4496940"/>
                  <a:gd name="connsiteX65" fmla="*/ 763927 w 4519987"/>
                  <a:gd name="connsiteY65" fmla="*/ 3914775 h 4496940"/>
                  <a:gd name="connsiteX66" fmla="*/ 725827 w 4519987"/>
                  <a:gd name="connsiteY66" fmla="*/ 3876675 h 4496940"/>
                  <a:gd name="connsiteX67" fmla="*/ 697252 w 4519987"/>
                  <a:gd name="connsiteY67" fmla="*/ 3838575 h 4496940"/>
                  <a:gd name="connsiteX68" fmla="*/ 640102 w 4519987"/>
                  <a:gd name="connsiteY68" fmla="*/ 3781425 h 4496940"/>
                  <a:gd name="connsiteX69" fmla="*/ 611527 w 4519987"/>
                  <a:gd name="connsiteY69" fmla="*/ 3733800 h 4496940"/>
                  <a:gd name="connsiteX70" fmla="*/ 554377 w 4519987"/>
                  <a:gd name="connsiteY70" fmla="*/ 3657600 h 4496940"/>
                  <a:gd name="connsiteX71" fmla="*/ 525802 w 4519987"/>
                  <a:gd name="connsiteY71" fmla="*/ 3609975 h 4496940"/>
                  <a:gd name="connsiteX72" fmla="*/ 497227 w 4519987"/>
                  <a:gd name="connsiteY72" fmla="*/ 3552825 h 4496940"/>
                  <a:gd name="connsiteX73" fmla="*/ 440077 w 4519987"/>
                  <a:gd name="connsiteY73" fmla="*/ 3495675 h 4496940"/>
                  <a:gd name="connsiteX74" fmla="*/ 411502 w 4519987"/>
                  <a:gd name="connsiteY74" fmla="*/ 3448050 h 4496940"/>
                  <a:gd name="connsiteX75" fmla="*/ 278152 w 4519987"/>
                  <a:gd name="connsiteY75" fmla="*/ 3257550 h 4496940"/>
                  <a:gd name="connsiteX76" fmla="*/ 249577 w 4519987"/>
                  <a:gd name="connsiteY76" fmla="*/ 3200400 h 4496940"/>
                  <a:gd name="connsiteX77" fmla="*/ 240052 w 4519987"/>
                  <a:gd name="connsiteY77" fmla="*/ 3162300 h 4496940"/>
                  <a:gd name="connsiteX78" fmla="*/ 221002 w 4519987"/>
                  <a:gd name="connsiteY78" fmla="*/ 3105150 h 4496940"/>
                  <a:gd name="connsiteX79" fmla="*/ 173377 w 4519987"/>
                  <a:gd name="connsiteY79" fmla="*/ 3019425 h 4496940"/>
                  <a:gd name="connsiteX80" fmla="*/ 144802 w 4519987"/>
                  <a:gd name="connsiteY80" fmla="*/ 2924175 h 4496940"/>
                  <a:gd name="connsiteX81" fmla="*/ 68602 w 4519987"/>
                  <a:gd name="connsiteY81" fmla="*/ 2724150 h 4496940"/>
                  <a:gd name="connsiteX82" fmla="*/ 49552 w 4519987"/>
                  <a:gd name="connsiteY82" fmla="*/ 2638425 h 4496940"/>
                  <a:gd name="connsiteX83" fmla="*/ 40027 w 4519987"/>
                  <a:gd name="connsiteY83" fmla="*/ 2562225 h 4496940"/>
                  <a:gd name="connsiteX84" fmla="*/ 30502 w 4519987"/>
                  <a:gd name="connsiteY84" fmla="*/ 2514600 h 4496940"/>
                  <a:gd name="connsiteX85" fmla="*/ 11452 w 4519987"/>
                  <a:gd name="connsiteY85" fmla="*/ 2400300 h 4496940"/>
                  <a:gd name="connsiteX86" fmla="*/ 20977 w 4519987"/>
                  <a:gd name="connsiteY86" fmla="*/ 1905000 h 4496940"/>
                  <a:gd name="connsiteX87" fmla="*/ 30502 w 4519987"/>
                  <a:gd name="connsiteY87" fmla="*/ 1838325 h 4496940"/>
                  <a:gd name="connsiteX88" fmla="*/ 49552 w 4519987"/>
                  <a:gd name="connsiteY88" fmla="*/ 1781175 h 4496940"/>
                  <a:gd name="connsiteX89" fmla="*/ 59077 w 4519987"/>
                  <a:gd name="connsiteY89" fmla="*/ 1743075 h 4496940"/>
                  <a:gd name="connsiteX90" fmla="*/ 78127 w 4519987"/>
                  <a:gd name="connsiteY90" fmla="*/ 1685925 h 4496940"/>
                  <a:gd name="connsiteX91" fmla="*/ 87652 w 4519987"/>
                  <a:gd name="connsiteY91" fmla="*/ 1638300 h 4496940"/>
                  <a:gd name="connsiteX92" fmla="*/ 106702 w 4519987"/>
                  <a:gd name="connsiteY92" fmla="*/ 1590675 h 4496940"/>
                  <a:gd name="connsiteX93" fmla="*/ 135277 w 4519987"/>
                  <a:gd name="connsiteY93" fmla="*/ 1504950 h 4496940"/>
                  <a:gd name="connsiteX94" fmla="*/ 154327 w 4519987"/>
                  <a:gd name="connsiteY94" fmla="*/ 1419225 h 4496940"/>
                  <a:gd name="connsiteX95" fmla="*/ 230527 w 4519987"/>
                  <a:gd name="connsiteY95" fmla="*/ 1276350 h 4496940"/>
                  <a:gd name="connsiteX96" fmla="*/ 240052 w 4519987"/>
                  <a:gd name="connsiteY96" fmla="*/ 1247775 h 4496940"/>
                  <a:gd name="connsiteX97" fmla="*/ 268627 w 4519987"/>
                  <a:gd name="connsiteY97" fmla="*/ 1200150 h 4496940"/>
                  <a:gd name="connsiteX98" fmla="*/ 287677 w 4519987"/>
                  <a:gd name="connsiteY98" fmla="*/ 1152525 h 4496940"/>
                  <a:gd name="connsiteX99" fmla="*/ 316252 w 4519987"/>
                  <a:gd name="connsiteY99" fmla="*/ 1114425 h 4496940"/>
                  <a:gd name="connsiteX100" fmla="*/ 363877 w 4519987"/>
                  <a:gd name="connsiteY100" fmla="*/ 1038225 h 4496940"/>
                  <a:gd name="connsiteX101" fmla="*/ 382927 w 4519987"/>
                  <a:gd name="connsiteY101" fmla="*/ 1009650 h 4496940"/>
                  <a:gd name="connsiteX102" fmla="*/ 440077 w 4519987"/>
                  <a:gd name="connsiteY102" fmla="*/ 904875 h 4496940"/>
                  <a:gd name="connsiteX103" fmla="*/ 478177 w 4519987"/>
                  <a:gd name="connsiteY103" fmla="*/ 857250 h 4496940"/>
                  <a:gd name="connsiteX104" fmla="*/ 497227 w 4519987"/>
                  <a:gd name="connsiteY104" fmla="*/ 828675 h 4496940"/>
                  <a:gd name="connsiteX105" fmla="*/ 535327 w 4519987"/>
                  <a:gd name="connsiteY105" fmla="*/ 800100 h 4496940"/>
                  <a:gd name="connsiteX106" fmla="*/ 602002 w 4519987"/>
                  <a:gd name="connsiteY106" fmla="*/ 733425 h 4496940"/>
                  <a:gd name="connsiteX107" fmla="*/ 668677 w 4519987"/>
                  <a:gd name="connsiteY107" fmla="*/ 676275 h 4496940"/>
                  <a:gd name="connsiteX108" fmla="*/ 697252 w 4519987"/>
                  <a:gd name="connsiteY108" fmla="*/ 657225 h 4496940"/>
                  <a:gd name="connsiteX109" fmla="*/ 840127 w 4519987"/>
                  <a:gd name="connsiteY109" fmla="*/ 533400 h 4496940"/>
                  <a:gd name="connsiteX110" fmla="*/ 887752 w 4519987"/>
                  <a:gd name="connsiteY110" fmla="*/ 504825 h 4496940"/>
                  <a:gd name="connsiteX111" fmla="*/ 1167152 w 4519987"/>
                  <a:gd name="connsiteY111" fmla="*/ 311150 h 4496940"/>
                  <a:gd name="connsiteX112" fmla="*/ 1268752 w 4519987"/>
                  <a:gd name="connsiteY112" fmla="*/ 285750 h 4496940"/>
                  <a:gd name="connsiteX113" fmla="*/ 1411627 w 4519987"/>
                  <a:gd name="connsiteY113" fmla="*/ 190500 h 4496940"/>
                  <a:gd name="connsiteX114" fmla="*/ 1449727 w 4519987"/>
                  <a:gd name="connsiteY114" fmla="*/ 161925 h 4496940"/>
                  <a:gd name="connsiteX115" fmla="*/ 1525927 w 4519987"/>
                  <a:gd name="connsiteY115" fmla="*/ 152400 h 4496940"/>
                  <a:gd name="connsiteX116" fmla="*/ 1583077 w 4519987"/>
                  <a:gd name="connsiteY116" fmla="*/ 142875 h 4496940"/>
                  <a:gd name="connsiteX117" fmla="*/ 1716427 w 4519987"/>
                  <a:gd name="connsiteY117" fmla="*/ 123825 h 4496940"/>
                  <a:gd name="connsiteX118" fmla="*/ 1811677 w 4519987"/>
                  <a:gd name="connsiteY118" fmla="*/ 114300 h 4496940"/>
                  <a:gd name="connsiteX119" fmla="*/ 1859302 w 4519987"/>
                  <a:gd name="connsiteY119" fmla="*/ 104775 h 4496940"/>
                  <a:gd name="connsiteX120" fmla="*/ 1916452 w 4519987"/>
                  <a:gd name="connsiteY120" fmla="*/ 95250 h 4496940"/>
                  <a:gd name="connsiteX121" fmla="*/ 2030752 w 4519987"/>
                  <a:gd name="connsiteY121" fmla="*/ 66675 h 4496940"/>
                  <a:gd name="connsiteX122" fmla="*/ 2097427 w 4519987"/>
                  <a:gd name="connsiteY122" fmla="*/ 47625 h 4496940"/>
                  <a:gd name="connsiteX123" fmla="*/ 2164102 w 4519987"/>
                  <a:gd name="connsiteY123" fmla="*/ 38100 h 4496940"/>
                  <a:gd name="connsiteX124" fmla="*/ 2392702 w 4519987"/>
                  <a:gd name="connsiteY12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335677 w 4519987"/>
                  <a:gd name="connsiteY37" fmla="*/ 4238625 h 4496940"/>
                  <a:gd name="connsiteX38" fmla="*/ 3288052 w 4519987"/>
                  <a:gd name="connsiteY38" fmla="*/ 4248150 h 4496940"/>
                  <a:gd name="connsiteX39" fmla="*/ 3240427 w 4519987"/>
                  <a:gd name="connsiteY39" fmla="*/ 4267200 h 4496940"/>
                  <a:gd name="connsiteX40" fmla="*/ 3068977 w 4519987"/>
                  <a:gd name="connsiteY40" fmla="*/ 4286250 h 4496940"/>
                  <a:gd name="connsiteX41" fmla="*/ 2935627 w 4519987"/>
                  <a:gd name="connsiteY41" fmla="*/ 4333875 h 4496940"/>
                  <a:gd name="connsiteX42" fmla="*/ 2811802 w 4519987"/>
                  <a:gd name="connsiteY42" fmla="*/ 4371975 h 4496940"/>
                  <a:gd name="connsiteX43" fmla="*/ 2745127 w 4519987"/>
                  <a:gd name="connsiteY43" fmla="*/ 4410075 h 4496940"/>
                  <a:gd name="connsiteX44" fmla="*/ 2697502 w 4519987"/>
                  <a:gd name="connsiteY44" fmla="*/ 4429125 h 4496940"/>
                  <a:gd name="connsiteX45" fmla="*/ 2640352 w 4519987"/>
                  <a:gd name="connsiteY45" fmla="*/ 4457700 h 4496940"/>
                  <a:gd name="connsiteX46" fmla="*/ 2583202 w 4519987"/>
                  <a:gd name="connsiteY46" fmla="*/ 4467225 h 4496940"/>
                  <a:gd name="connsiteX47" fmla="*/ 2545102 w 4519987"/>
                  <a:gd name="connsiteY47" fmla="*/ 4486275 h 4496940"/>
                  <a:gd name="connsiteX48" fmla="*/ 2306977 w 4519987"/>
                  <a:gd name="connsiteY48" fmla="*/ 4476750 h 4496940"/>
                  <a:gd name="connsiteX49" fmla="*/ 2202202 w 4519987"/>
                  <a:gd name="connsiteY49" fmla="*/ 4457700 h 4496940"/>
                  <a:gd name="connsiteX50" fmla="*/ 2126002 w 4519987"/>
                  <a:gd name="connsiteY50" fmla="*/ 4429125 h 4496940"/>
                  <a:gd name="connsiteX51" fmla="*/ 1935502 w 4519987"/>
                  <a:gd name="connsiteY51" fmla="*/ 4400550 h 4496940"/>
                  <a:gd name="connsiteX52" fmla="*/ 1821202 w 4519987"/>
                  <a:gd name="connsiteY52" fmla="*/ 4371975 h 4496940"/>
                  <a:gd name="connsiteX53" fmla="*/ 1754527 w 4519987"/>
                  <a:gd name="connsiteY53" fmla="*/ 4352925 h 4496940"/>
                  <a:gd name="connsiteX54" fmla="*/ 1687852 w 4519987"/>
                  <a:gd name="connsiteY54" fmla="*/ 4343400 h 4496940"/>
                  <a:gd name="connsiteX55" fmla="*/ 1573552 w 4519987"/>
                  <a:gd name="connsiteY55" fmla="*/ 4305300 h 4496940"/>
                  <a:gd name="connsiteX56" fmla="*/ 1402102 w 4519987"/>
                  <a:gd name="connsiteY56" fmla="*/ 4276725 h 4496940"/>
                  <a:gd name="connsiteX57" fmla="*/ 1287802 w 4519987"/>
                  <a:gd name="connsiteY57" fmla="*/ 4229100 h 4496940"/>
                  <a:gd name="connsiteX58" fmla="*/ 1221127 w 4519987"/>
                  <a:gd name="connsiteY58" fmla="*/ 4200525 h 4496940"/>
                  <a:gd name="connsiteX59" fmla="*/ 1144927 w 4519987"/>
                  <a:gd name="connsiteY59" fmla="*/ 4171950 h 4496940"/>
                  <a:gd name="connsiteX60" fmla="*/ 1087777 w 4519987"/>
                  <a:gd name="connsiteY60" fmla="*/ 4143375 h 4496940"/>
                  <a:gd name="connsiteX61" fmla="*/ 1030627 w 4519987"/>
                  <a:gd name="connsiteY61" fmla="*/ 4124325 h 4496940"/>
                  <a:gd name="connsiteX62" fmla="*/ 925852 w 4519987"/>
                  <a:gd name="connsiteY62" fmla="*/ 4067175 h 4496940"/>
                  <a:gd name="connsiteX63" fmla="*/ 830602 w 4519987"/>
                  <a:gd name="connsiteY63" fmla="*/ 3981450 h 4496940"/>
                  <a:gd name="connsiteX64" fmla="*/ 763927 w 4519987"/>
                  <a:gd name="connsiteY64" fmla="*/ 3914775 h 4496940"/>
                  <a:gd name="connsiteX65" fmla="*/ 725827 w 4519987"/>
                  <a:gd name="connsiteY65" fmla="*/ 3876675 h 4496940"/>
                  <a:gd name="connsiteX66" fmla="*/ 697252 w 4519987"/>
                  <a:gd name="connsiteY66" fmla="*/ 3838575 h 4496940"/>
                  <a:gd name="connsiteX67" fmla="*/ 640102 w 4519987"/>
                  <a:gd name="connsiteY67" fmla="*/ 3781425 h 4496940"/>
                  <a:gd name="connsiteX68" fmla="*/ 611527 w 4519987"/>
                  <a:gd name="connsiteY68" fmla="*/ 3733800 h 4496940"/>
                  <a:gd name="connsiteX69" fmla="*/ 554377 w 4519987"/>
                  <a:gd name="connsiteY69" fmla="*/ 3657600 h 4496940"/>
                  <a:gd name="connsiteX70" fmla="*/ 525802 w 4519987"/>
                  <a:gd name="connsiteY70" fmla="*/ 3609975 h 4496940"/>
                  <a:gd name="connsiteX71" fmla="*/ 497227 w 4519987"/>
                  <a:gd name="connsiteY71" fmla="*/ 3552825 h 4496940"/>
                  <a:gd name="connsiteX72" fmla="*/ 440077 w 4519987"/>
                  <a:gd name="connsiteY72" fmla="*/ 3495675 h 4496940"/>
                  <a:gd name="connsiteX73" fmla="*/ 411502 w 4519987"/>
                  <a:gd name="connsiteY73" fmla="*/ 3448050 h 4496940"/>
                  <a:gd name="connsiteX74" fmla="*/ 278152 w 4519987"/>
                  <a:gd name="connsiteY74" fmla="*/ 3257550 h 4496940"/>
                  <a:gd name="connsiteX75" fmla="*/ 249577 w 4519987"/>
                  <a:gd name="connsiteY75" fmla="*/ 3200400 h 4496940"/>
                  <a:gd name="connsiteX76" fmla="*/ 240052 w 4519987"/>
                  <a:gd name="connsiteY76" fmla="*/ 3162300 h 4496940"/>
                  <a:gd name="connsiteX77" fmla="*/ 221002 w 4519987"/>
                  <a:gd name="connsiteY77" fmla="*/ 3105150 h 4496940"/>
                  <a:gd name="connsiteX78" fmla="*/ 173377 w 4519987"/>
                  <a:gd name="connsiteY78" fmla="*/ 3019425 h 4496940"/>
                  <a:gd name="connsiteX79" fmla="*/ 144802 w 4519987"/>
                  <a:gd name="connsiteY79" fmla="*/ 2924175 h 4496940"/>
                  <a:gd name="connsiteX80" fmla="*/ 68602 w 4519987"/>
                  <a:gd name="connsiteY80" fmla="*/ 2724150 h 4496940"/>
                  <a:gd name="connsiteX81" fmla="*/ 49552 w 4519987"/>
                  <a:gd name="connsiteY81" fmla="*/ 2638425 h 4496940"/>
                  <a:gd name="connsiteX82" fmla="*/ 40027 w 4519987"/>
                  <a:gd name="connsiteY82" fmla="*/ 2562225 h 4496940"/>
                  <a:gd name="connsiteX83" fmla="*/ 30502 w 4519987"/>
                  <a:gd name="connsiteY83" fmla="*/ 2514600 h 4496940"/>
                  <a:gd name="connsiteX84" fmla="*/ 11452 w 4519987"/>
                  <a:gd name="connsiteY84" fmla="*/ 2400300 h 4496940"/>
                  <a:gd name="connsiteX85" fmla="*/ 20977 w 4519987"/>
                  <a:gd name="connsiteY85" fmla="*/ 1905000 h 4496940"/>
                  <a:gd name="connsiteX86" fmla="*/ 30502 w 4519987"/>
                  <a:gd name="connsiteY86" fmla="*/ 1838325 h 4496940"/>
                  <a:gd name="connsiteX87" fmla="*/ 49552 w 4519987"/>
                  <a:gd name="connsiteY87" fmla="*/ 1781175 h 4496940"/>
                  <a:gd name="connsiteX88" fmla="*/ 59077 w 4519987"/>
                  <a:gd name="connsiteY88" fmla="*/ 1743075 h 4496940"/>
                  <a:gd name="connsiteX89" fmla="*/ 78127 w 4519987"/>
                  <a:gd name="connsiteY89" fmla="*/ 1685925 h 4496940"/>
                  <a:gd name="connsiteX90" fmla="*/ 87652 w 4519987"/>
                  <a:gd name="connsiteY90" fmla="*/ 1638300 h 4496940"/>
                  <a:gd name="connsiteX91" fmla="*/ 106702 w 4519987"/>
                  <a:gd name="connsiteY91" fmla="*/ 1590675 h 4496940"/>
                  <a:gd name="connsiteX92" fmla="*/ 135277 w 4519987"/>
                  <a:gd name="connsiteY92" fmla="*/ 1504950 h 4496940"/>
                  <a:gd name="connsiteX93" fmla="*/ 154327 w 4519987"/>
                  <a:gd name="connsiteY93" fmla="*/ 1419225 h 4496940"/>
                  <a:gd name="connsiteX94" fmla="*/ 230527 w 4519987"/>
                  <a:gd name="connsiteY94" fmla="*/ 1276350 h 4496940"/>
                  <a:gd name="connsiteX95" fmla="*/ 240052 w 4519987"/>
                  <a:gd name="connsiteY95" fmla="*/ 1247775 h 4496940"/>
                  <a:gd name="connsiteX96" fmla="*/ 268627 w 4519987"/>
                  <a:gd name="connsiteY96" fmla="*/ 1200150 h 4496940"/>
                  <a:gd name="connsiteX97" fmla="*/ 287677 w 4519987"/>
                  <a:gd name="connsiteY97" fmla="*/ 1152525 h 4496940"/>
                  <a:gd name="connsiteX98" fmla="*/ 316252 w 4519987"/>
                  <a:gd name="connsiteY98" fmla="*/ 1114425 h 4496940"/>
                  <a:gd name="connsiteX99" fmla="*/ 363877 w 4519987"/>
                  <a:gd name="connsiteY99" fmla="*/ 1038225 h 4496940"/>
                  <a:gd name="connsiteX100" fmla="*/ 382927 w 4519987"/>
                  <a:gd name="connsiteY100" fmla="*/ 1009650 h 4496940"/>
                  <a:gd name="connsiteX101" fmla="*/ 440077 w 4519987"/>
                  <a:gd name="connsiteY101" fmla="*/ 904875 h 4496940"/>
                  <a:gd name="connsiteX102" fmla="*/ 478177 w 4519987"/>
                  <a:gd name="connsiteY102" fmla="*/ 857250 h 4496940"/>
                  <a:gd name="connsiteX103" fmla="*/ 497227 w 4519987"/>
                  <a:gd name="connsiteY103" fmla="*/ 828675 h 4496940"/>
                  <a:gd name="connsiteX104" fmla="*/ 535327 w 4519987"/>
                  <a:gd name="connsiteY104" fmla="*/ 800100 h 4496940"/>
                  <a:gd name="connsiteX105" fmla="*/ 602002 w 4519987"/>
                  <a:gd name="connsiteY105" fmla="*/ 733425 h 4496940"/>
                  <a:gd name="connsiteX106" fmla="*/ 668677 w 4519987"/>
                  <a:gd name="connsiteY106" fmla="*/ 676275 h 4496940"/>
                  <a:gd name="connsiteX107" fmla="*/ 697252 w 4519987"/>
                  <a:gd name="connsiteY107" fmla="*/ 657225 h 4496940"/>
                  <a:gd name="connsiteX108" fmla="*/ 840127 w 4519987"/>
                  <a:gd name="connsiteY108" fmla="*/ 533400 h 4496940"/>
                  <a:gd name="connsiteX109" fmla="*/ 887752 w 4519987"/>
                  <a:gd name="connsiteY109" fmla="*/ 504825 h 4496940"/>
                  <a:gd name="connsiteX110" fmla="*/ 1167152 w 4519987"/>
                  <a:gd name="connsiteY110" fmla="*/ 311150 h 4496940"/>
                  <a:gd name="connsiteX111" fmla="*/ 1268752 w 4519987"/>
                  <a:gd name="connsiteY111" fmla="*/ 285750 h 4496940"/>
                  <a:gd name="connsiteX112" fmla="*/ 1411627 w 4519987"/>
                  <a:gd name="connsiteY112" fmla="*/ 190500 h 4496940"/>
                  <a:gd name="connsiteX113" fmla="*/ 1449727 w 4519987"/>
                  <a:gd name="connsiteY113" fmla="*/ 161925 h 4496940"/>
                  <a:gd name="connsiteX114" fmla="*/ 1525927 w 4519987"/>
                  <a:gd name="connsiteY114" fmla="*/ 152400 h 4496940"/>
                  <a:gd name="connsiteX115" fmla="*/ 1583077 w 4519987"/>
                  <a:gd name="connsiteY115" fmla="*/ 142875 h 4496940"/>
                  <a:gd name="connsiteX116" fmla="*/ 1716427 w 4519987"/>
                  <a:gd name="connsiteY116" fmla="*/ 123825 h 4496940"/>
                  <a:gd name="connsiteX117" fmla="*/ 1811677 w 4519987"/>
                  <a:gd name="connsiteY117" fmla="*/ 114300 h 4496940"/>
                  <a:gd name="connsiteX118" fmla="*/ 1859302 w 4519987"/>
                  <a:gd name="connsiteY118" fmla="*/ 104775 h 4496940"/>
                  <a:gd name="connsiteX119" fmla="*/ 1916452 w 4519987"/>
                  <a:gd name="connsiteY119" fmla="*/ 95250 h 4496940"/>
                  <a:gd name="connsiteX120" fmla="*/ 2030752 w 4519987"/>
                  <a:gd name="connsiteY120" fmla="*/ 66675 h 4496940"/>
                  <a:gd name="connsiteX121" fmla="*/ 2097427 w 4519987"/>
                  <a:gd name="connsiteY121" fmla="*/ 47625 h 4496940"/>
                  <a:gd name="connsiteX122" fmla="*/ 2164102 w 4519987"/>
                  <a:gd name="connsiteY122" fmla="*/ 38100 h 4496940"/>
                  <a:gd name="connsiteX123" fmla="*/ 2392702 w 4519987"/>
                  <a:gd name="connsiteY12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335677 w 4519987"/>
                  <a:gd name="connsiteY37" fmla="*/ 4238625 h 4496940"/>
                  <a:gd name="connsiteX38" fmla="*/ 3240427 w 4519987"/>
                  <a:gd name="connsiteY38" fmla="*/ 4267200 h 4496940"/>
                  <a:gd name="connsiteX39" fmla="*/ 3068977 w 4519987"/>
                  <a:gd name="connsiteY39" fmla="*/ 4286250 h 4496940"/>
                  <a:gd name="connsiteX40" fmla="*/ 2935627 w 4519987"/>
                  <a:gd name="connsiteY40" fmla="*/ 4333875 h 4496940"/>
                  <a:gd name="connsiteX41" fmla="*/ 2811802 w 4519987"/>
                  <a:gd name="connsiteY41" fmla="*/ 4371975 h 4496940"/>
                  <a:gd name="connsiteX42" fmla="*/ 2745127 w 4519987"/>
                  <a:gd name="connsiteY42" fmla="*/ 4410075 h 4496940"/>
                  <a:gd name="connsiteX43" fmla="*/ 2697502 w 4519987"/>
                  <a:gd name="connsiteY43" fmla="*/ 4429125 h 4496940"/>
                  <a:gd name="connsiteX44" fmla="*/ 2640352 w 4519987"/>
                  <a:gd name="connsiteY44" fmla="*/ 4457700 h 4496940"/>
                  <a:gd name="connsiteX45" fmla="*/ 2583202 w 4519987"/>
                  <a:gd name="connsiteY45" fmla="*/ 4467225 h 4496940"/>
                  <a:gd name="connsiteX46" fmla="*/ 2545102 w 4519987"/>
                  <a:gd name="connsiteY46" fmla="*/ 4486275 h 4496940"/>
                  <a:gd name="connsiteX47" fmla="*/ 2306977 w 4519987"/>
                  <a:gd name="connsiteY47" fmla="*/ 4476750 h 4496940"/>
                  <a:gd name="connsiteX48" fmla="*/ 2202202 w 4519987"/>
                  <a:gd name="connsiteY48" fmla="*/ 4457700 h 4496940"/>
                  <a:gd name="connsiteX49" fmla="*/ 2126002 w 4519987"/>
                  <a:gd name="connsiteY49" fmla="*/ 4429125 h 4496940"/>
                  <a:gd name="connsiteX50" fmla="*/ 1935502 w 4519987"/>
                  <a:gd name="connsiteY50" fmla="*/ 4400550 h 4496940"/>
                  <a:gd name="connsiteX51" fmla="*/ 1821202 w 4519987"/>
                  <a:gd name="connsiteY51" fmla="*/ 4371975 h 4496940"/>
                  <a:gd name="connsiteX52" fmla="*/ 1754527 w 4519987"/>
                  <a:gd name="connsiteY52" fmla="*/ 4352925 h 4496940"/>
                  <a:gd name="connsiteX53" fmla="*/ 1687852 w 4519987"/>
                  <a:gd name="connsiteY53" fmla="*/ 4343400 h 4496940"/>
                  <a:gd name="connsiteX54" fmla="*/ 1573552 w 4519987"/>
                  <a:gd name="connsiteY54" fmla="*/ 4305300 h 4496940"/>
                  <a:gd name="connsiteX55" fmla="*/ 1402102 w 4519987"/>
                  <a:gd name="connsiteY55" fmla="*/ 4276725 h 4496940"/>
                  <a:gd name="connsiteX56" fmla="*/ 1287802 w 4519987"/>
                  <a:gd name="connsiteY56" fmla="*/ 4229100 h 4496940"/>
                  <a:gd name="connsiteX57" fmla="*/ 1221127 w 4519987"/>
                  <a:gd name="connsiteY57" fmla="*/ 4200525 h 4496940"/>
                  <a:gd name="connsiteX58" fmla="*/ 1144927 w 4519987"/>
                  <a:gd name="connsiteY58" fmla="*/ 4171950 h 4496940"/>
                  <a:gd name="connsiteX59" fmla="*/ 1087777 w 4519987"/>
                  <a:gd name="connsiteY59" fmla="*/ 4143375 h 4496940"/>
                  <a:gd name="connsiteX60" fmla="*/ 1030627 w 4519987"/>
                  <a:gd name="connsiteY60" fmla="*/ 4124325 h 4496940"/>
                  <a:gd name="connsiteX61" fmla="*/ 925852 w 4519987"/>
                  <a:gd name="connsiteY61" fmla="*/ 4067175 h 4496940"/>
                  <a:gd name="connsiteX62" fmla="*/ 830602 w 4519987"/>
                  <a:gd name="connsiteY62" fmla="*/ 3981450 h 4496940"/>
                  <a:gd name="connsiteX63" fmla="*/ 763927 w 4519987"/>
                  <a:gd name="connsiteY63" fmla="*/ 3914775 h 4496940"/>
                  <a:gd name="connsiteX64" fmla="*/ 725827 w 4519987"/>
                  <a:gd name="connsiteY64" fmla="*/ 3876675 h 4496940"/>
                  <a:gd name="connsiteX65" fmla="*/ 697252 w 4519987"/>
                  <a:gd name="connsiteY65" fmla="*/ 3838575 h 4496940"/>
                  <a:gd name="connsiteX66" fmla="*/ 640102 w 4519987"/>
                  <a:gd name="connsiteY66" fmla="*/ 3781425 h 4496940"/>
                  <a:gd name="connsiteX67" fmla="*/ 611527 w 4519987"/>
                  <a:gd name="connsiteY67" fmla="*/ 3733800 h 4496940"/>
                  <a:gd name="connsiteX68" fmla="*/ 554377 w 4519987"/>
                  <a:gd name="connsiteY68" fmla="*/ 3657600 h 4496940"/>
                  <a:gd name="connsiteX69" fmla="*/ 525802 w 4519987"/>
                  <a:gd name="connsiteY69" fmla="*/ 3609975 h 4496940"/>
                  <a:gd name="connsiteX70" fmla="*/ 497227 w 4519987"/>
                  <a:gd name="connsiteY70" fmla="*/ 3552825 h 4496940"/>
                  <a:gd name="connsiteX71" fmla="*/ 440077 w 4519987"/>
                  <a:gd name="connsiteY71" fmla="*/ 3495675 h 4496940"/>
                  <a:gd name="connsiteX72" fmla="*/ 411502 w 4519987"/>
                  <a:gd name="connsiteY72" fmla="*/ 3448050 h 4496940"/>
                  <a:gd name="connsiteX73" fmla="*/ 278152 w 4519987"/>
                  <a:gd name="connsiteY73" fmla="*/ 3257550 h 4496940"/>
                  <a:gd name="connsiteX74" fmla="*/ 249577 w 4519987"/>
                  <a:gd name="connsiteY74" fmla="*/ 3200400 h 4496940"/>
                  <a:gd name="connsiteX75" fmla="*/ 240052 w 4519987"/>
                  <a:gd name="connsiteY75" fmla="*/ 3162300 h 4496940"/>
                  <a:gd name="connsiteX76" fmla="*/ 221002 w 4519987"/>
                  <a:gd name="connsiteY76" fmla="*/ 3105150 h 4496940"/>
                  <a:gd name="connsiteX77" fmla="*/ 173377 w 4519987"/>
                  <a:gd name="connsiteY77" fmla="*/ 3019425 h 4496940"/>
                  <a:gd name="connsiteX78" fmla="*/ 144802 w 4519987"/>
                  <a:gd name="connsiteY78" fmla="*/ 2924175 h 4496940"/>
                  <a:gd name="connsiteX79" fmla="*/ 68602 w 4519987"/>
                  <a:gd name="connsiteY79" fmla="*/ 2724150 h 4496940"/>
                  <a:gd name="connsiteX80" fmla="*/ 49552 w 4519987"/>
                  <a:gd name="connsiteY80" fmla="*/ 2638425 h 4496940"/>
                  <a:gd name="connsiteX81" fmla="*/ 40027 w 4519987"/>
                  <a:gd name="connsiteY81" fmla="*/ 2562225 h 4496940"/>
                  <a:gd name="connsiteX82" fmla="*/ 30502 w 4519987"/>
                  <a:gd name="connsiteY82" fmla="*/ 2514600 h 4496940"/>
                  <a:gd name="connsiteX83" fmla="*/ 11452 w 4519987"/>
                  <a:gd name="connsiteY83" fmla="*/ 2400300 h 4496940"/>
                  <a:gd name="connsiteX84" fmla="*/ 20977 w 4519987"/>
                  <a:gd name="connsiteY84" fmla="*/ 1905000 h 4496940"/>
                  <a:gd name="connsiteX85" fmla="*/ 30502 w 4519987"/>
                  <a:gd name="connsiteY85" fmla="*/ 1838325 h 4496940"/>
                  <a:gd name="connsiteX86" fmla="*/ 49552 w 4519987"/>
                  <a:gd name="connsiteY86" fmla="*/ 1781175 h 4496940"/>
                  <a:gd name="connsiteX87" fmla="*/ 59077 w 4519987"/>
                  <a:gd name="connsiteY87" fmla="*/ 1743075 h 4496940"/>
                  <a:gd name="connsiteX88" fmla="*/ 78127 w 4519987"/>
                  <a:gd name="connsiteY88" fmla="*/ 1685925 h 4496940"/>
                  <a:gd name="connsiteX89" fmla="*/ 87652 w 4519987"/>
                  <a:gd name="connsiteY89" fmla="*/ 1638300 h 4496940"/>
                  <a:gd name="connsiteX90" fmla="*/ 106702 w 4519987"/>
                  <a:gd name="connsiteY90" fmla="*/ 1590675 h 4496940"/>
                  <a:gd name="connsiteX91" fmla="*/ 135277 w 4519987"/>
                  <a:gd name="connsiteY91" fmla="*/ 1504950 h 4496940"/>
                  <a:gd name="connsiteX92" fmla="*/ 154327 w 4519987"/>
                  <a:gd name="connsiteY92" fmla="*/ 1419225 h 4496940"/>
                  <a:gd name="connsiteX93" fmla="*/ 230527 w 4519987"/>
                  <a:gd name="connsiteY93" fmla="*/ 1276350 h 4496940"/>
                  <a:gd name="connsiteX94" fmla="*/ 240052 w 4519987"/>
                  <a:gd name="connsiteY94" fmla="*/ 1247775 h 4496940"/>
                  <a:gd name="connsiteX95" fmla="*/ 268627 w 4519987"/>
                  <a:gd name="connsiteY95" fmla="*/ 1200150 h 4496940"/>
                  <a:gd name="connsiteX96" fmla="*/ 287677 w 4519987"/>
                  <a:gd name="connsiteY96" fmla="*/ 1152525 h 4496940"/>
                  <a:gd name="connsiteX97" fmla="*/ 316252 w 4519987"/>
                  <a:gd name="connsiteY97" fmla="*/ 1114425 h 4496940"/>
                  <a:gd name="connsiteX98" fmla="*/ 363877 w 4519987"/>
                  <a:gd name="connsiteY98" fmla="*/ 1038225 h 4496940"/>
                  <a:gd name="connsiteX99" fmla="*/ 382927 w 4519987"/>
                  <a:gd name="connsiteY99" fmla="*/ 1009650 h 4496940"/>
                  <a:gd name="connsiteX100" fmla="*/ 440077 w 4519987"/>
                  <a:gd name="connsiteY100" fmla="*/ 904875 h 4496940"/>
                  <a:gd name="connsiteX101" fmla="*/ 478177 w 4519987"/>
                  <a:gd name="connsiteY101" fmla="*/ 857250 h 4496940"/>
                  <a:gd name="connsiteX102" fmla="*/ 497227 w 4519987"/>
                  <a:gd name="connsiteY102" fmla="*/ 828675 h 4496940"/>
                  <a:gd name="connsiteX103" fmla="*/ 535327 w 4519987"/>
                  <a:gd name="connsiteY103" fmla="*/ 800100 h 4496940"/>
                  <a:gd name="connsiteX104" fmla="*/ 602002 w 4519987"/>
                  <a:gd name="connsiteY104" fmla="*/ 733425 h 4496940"/>
                  <a:gd name="connsiteX105" fmla="*/ 668677 w 4519987"/>
                  <a:gd name="connsiteY105" fmla="*/ 676275 h 4496940"/>
                  <a:gd name="connsiteX106" fmla="*/ 697252 w 4519987"/>
                  <a:gd name="connsiteY106" fmla="*/ 657225 h 4496940"/>
                  <a:gd name="connsiteX107" fmla="*/ 840127 w 4519987"/>
                  <a:gd name="connsiteY107" fmla="*/ 533400 h 4496940"/>
                  <a:gd name="connsiteX108" fmla="*/ 887752 w 4519987"/>
                  <a:gd name="connsiteY108" fmla="*/ 504825 h 4496940"/>
                  <a:gd name="connsiteX109" fmla="*/ 1167152 w 4519987"/>
                  <a:gd name="connsiteY109" fmla="*/ 311150 h 4496940"/>
                  <a:gd name="connsiteX110" fmla="*/ 1268752 w 4519987"/>
                  <a:gd name="connsiteY110" fmla="*/ 285750 h 4496940"/>
                  <a:gd name="connsiteX111" fmla="*/ 1411627 w 4519987"/>
                  <a:gd name="connsiteY111" fmla="*/ 190500 h 4496940"/>
                  <a:gd name="connsiteX112" fmla="*/ 1449727 w 4519987"/>
                  <a:gd name="connsiteY112" fmla="*/ 161925 h 4496940"/>
                  <a:gd name="connsiteX113" fmla="*/ 1525927 w 4519987"/>
                  <a:gd name="connsiteY113" fmla="*/ 152400 h 4496940"/>
                  <a:gd name="connsiteX114" fmla="*/ 1583077 w 4519987"/>
                  <a:gd name="connsiteY114" fmla="*/ 142875 h 4496940"/>
                  <a:gd name="connsiteX115" fmla="*/ 1716427 w 4519987"/>
                  <a:gd name="connsiteY115" fmla="*/ 123825 h 4496940"/>
                  <a:gd name="connsiteX116" fmla="*/ 1811677 w 4519987"/>
                  <a:gd name="connsiteY116" fmla="*/ 114300 h 4496940"/>
                  <a:gd name="connsiteX117" fmla="*/ 1859302 w 4519987"/>
                  <a:gd name="connsiteY117" fmla="*/ 104775 h 4496940"/>
                  <a:gd name="connsiteX118" fmla="*/ 1916452 w 4519987"/>
                  <a:gd name="connsiteY118" fmla="*/ 95250 h 4496940"/>
                  <a:gd name="connsiteX119" fmla="*/ 2030752 w 4519987"/>
                  <a:gd name="connsiteY119" fmla="*/ 66675 h 4496940"/>
                  <a:gd name="connsiteX120" fmla="*/ 2097427 w 4519987"/>
                  <a:gd name="connsiteY120" fmla="*/ 47625 h 4496940"/>
                  <a:gd name="connsiteX121" fmla="*/ 2164102 w 4519987"/>
                  <a:gd name="connsiteY121" fmla="*/ 38100 h 4496940"/>
                  <a:gd name="connsiteX122" fmla="*/ 2392702 w 4519987"/>
                  <a:gd name="connsiteY12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240427 w 4519987"/>
                  <a:gd name="connsiteY37" fmla="*/ 4267200 h 4496940"/>
                  <a:gd name="connsiteX38" fmla="*/ 3068977 w 4519987"/>
                  <a:gd name="connsiteY38" fmla="*/ 4286250 h 4496940"/>
                  <a:gd name="connsiteX39" fmla="*/ 2935627 w 4519987"/>
                  <a:gd name="connsiteY39" fmla="*/ 4333875 h 4496940"/>
                  <a:gd name="connsiteX40" fmla="*/ 2811802 w 4519987"/>
                  <a:gd name="connsiteY40" fmla="*/ 4371975 h 4496940"/>
                  <a:gd name="connsiteX41" fmla="*/ 2745127 w 4519987"/>
                  <a:gd name="connsiteY41" fmla="*/ 4410075 h 4496940"/>
                  <a:gd name="connsiteX42" fmla="*/ 2697502 w 4519987"/>
                  <a:gd name="connsiteY42" fmla="*/ 4429125 h 4496940"/>
                  <a:gd name="connsiteX43" fmla="*/ 2640352 w 4519987"/>
                  <a:gd name="connsiteY43" fmla="*/ 4457700 h 4496940"/>
                  <a:gd name="connsiteX44" fmla="*/ 2583202 w 4519987"/>
                  <a:gd name="connsiteY44" fmla="*/ 4467225 h 4496940"/>
                  <a:gd name="connsiteX45" fmla="*/ 2545102 w 4519987"/>
                  <a:gd name="connsiteY45" fmla="*/ 4486275 h 4496940"/>
                  <a:gd name="connsiteX46" fmla="*/ 2306977 w 4519987"/>
                  <a:gd name="connsiteY46" fmla="*/ 4476750 h 4496940"/>
                  <a:gd name="connsiteX47" fmla="*/ 2202202 w 4519987"/>
                  <a:gd name="connsiteY47" fmla="*/ 4457700 h 4496940"/>
                  <a:gd name="connsiteX48" fmla="*/ 2126002 w 4519987"/>
                  <a:gd name="connsiteY48" fmla="*/ 4429125 h 4496940"/>
                  <a:gd name="connsiteX49" fmla="*/ 1935502 w 4519987"/>
                  <a:gd name="connsiteY49" fmla="*/ 4400550 h 4496940"/>
                  <a:gd name="connsiteX50" fmla="*/ 1821202 w 4519987"/>
                  <a:gd name="connsiteY50" fmla="*/ 4371975 h 4496940"/>
                  <a:gd name="connsiteX51" fmla="*/ 1754527 w 4519987"/>
                  <a:gd name="connsiteY51" fmla="*/ 4352925 h 4496940"/>
                  <a:gd name="connsiteX52" fmla="*/ 1687852 w 4519987"/>
                  <a:gd name="connsiteY52" fmla="*/ 4343400 h 4496940"/>
                  <a:gd name="connsiteX53" fmla="*/ 1573552 w 4519987"/>
                  <a:gd name="connsiteY53" fmla="*/ 4305300 h 4496940"/>
                  <a:gd name="connsiteX54" fmla="*/ 1402102 w 4519987"/>
                  <a:gd name="connsiteY54" fmla="*/ 4276725 h 4496940"/>
                  <a:gd name="connsiteX55" fmla="*/ 1287802 w 4519987"/>
                  <a:gd name="connsiteY55" fmla="*/ 4229100 h 4496940"/>
                  <a:gd name="connsiteX56" fmla="*/ 1221127 w 4519987"/>
                  <a:gd name="connsiteY56" fmla="*/ 4200525 h 4496940"/>
                  <a:gd name="connsiteX57" fmla="*/ 1144927 w 4519987"/>
                  <a:gd name="connsiteY57" fmla="*/ 4171950 h 4496940"/>
                  <a:gd name="connsiteX58" fmla="*/ 1087777 w 4519987"/>
                  <a:gd name="connsiteY58" fmla="*/ 4143375 h 4496940"/>
                  <a:gd name="connsiteX59" fmla="*/ 1030627 w 4519987"/>
                  <a:gd name="connsiteY59" fmla="*/ 4124325 h 4496940"/>
                  <a:gd name="connsiteX60" fmla="*/ 925852 w 4519987"/>
                  <a:gd name="connsiteY60" fmla="*/ 4067175 h 4496940"/>
                  <a:gd name="connsiteX61" fmla="*/ 830602 w 4519987"/>
                  <a:gd name="connsiteY61" fmla="*/ 3981450 h 4496940"/>
                  <a:gd name="connsiteX62" fmla="*/ 763927 w 4519987"/>
                  <a:gd name="connsiteY62" fmla="*/ 3914775 h 4496940"/>
                  <a:gd name="connsiteX63" fmla="*/ 725827 w 4519987"/>
                  <a:gd name="connsiteY63" fmla="*/ 3876675 h 4496940"/>
                  <a:gd name="connsiteX64" fmla="*/ 697252 w 4519987"/>
                  <a:gd name="connsiteY64" fmla="*/ 3838575 h 4496940"/>
                  <a:gd name="connsiteX65" fmla="*/ 640102 w 4519987"/>
                  <a:gd name="connsiteY65" fmla="*/ 3781425 h 4496940"/>
                  <a:gd name="connsiteX66" fmla="*/ 611527 w 4519987"/>
                  <a:gd name="connsiteY66" fmla="*/ 3733800 h 4496940"/>
                  <a:gd name="connsiteX67" fmla="*/ 554377 w 4519987"/>
                  <a:gd name="connsiteY67" fmla="*/ 3657600 h 4496940"/>
                  <a:gd name="connsiteX68" fmla="*/ 525802 w 4519987"/>
                  <a:gd name="connsiteY68" fmla="*/ 3609975 h 4496940"/>
                  <a:gd name="connsiteX69" fmla="*/ 497227 w 4519987"/>
                  <a:gd name="connsiteY69" fmla="*/ 3552825 h 4496940"/>
                  <a:gd name="connsiteX70" fmla="*/ 440077 w 4519987"/>
                  <a:gd name="connsiteY70" fmla="*/ 3495675 h 4496940"/>
                  <a:gd name="connsiteX71" fmla="*/ 411502 w 4519987"/>
                  <a:gd name="connsiteY71" fmla="*/ 3448050 h 4496940"/>
                  <a:gd name="connsiteX72" fmla="*/ 278152 w 4519987"/>
                  <a:gd name="connsiteY72" fmla="*/ 3257550 h 4496940"/>
                  <a:gd name="connsiteX73" fmla="*/ 249577 w 4519987"/>
                  <a:gd name="connsiteY73" fmla="*/ 3200400 h 4496940"/>
                  <a:gd name="connsiteX74" fmla="*/ 240052 w 4519987"/>
                  <a:gd name="connsiteY74" fmla="*/ 3162300 h 4496940"/>
                  <a:gd name="connsiteX75" fmla="*/ 221002 w 4519987"/>
                  <a:gd name="connsiteY75" fmla="*/ 3105150 h 4496940"/>
                  <a:gd name="connsiteX76" fmla="*/ 173377 w 4519987"/>
                  <a:gd name="connsiteY76" fmla="*/ 3019425 h 4496940"/>
                  <a:gd name="connsiteX77" fmla="*/ 144802 w 4519987"/>
                  <a:gd name="connsiteY77" fmla="*/ 2924175 h 4496940"/>
                  <a:gd name="connsiteX78" fmla="*/ 68602 w 4519987"/>
                  <a:gd name="connsiteY78" fmla="*/ 2724150 h 4496940"/>
                  <a:gd name="connsiteX79" fmla="*/ 49552 w 4519987"/>
                  <a:gd name="connsiteY79" fmla="*/ 2638425 h 4496940"/>
                  <a:gd name="connsiteX80" fmla="*/ 40027 w 4519987"/>
                  <a:gd name="connsiteY80" fmla="*/ 2562225 h 4496940"/>
                  <a:gd name="connsiteX81" fmla="*/ 30502 w 4519987"/>
                  <a:gd name="connsiteY81" fmla="*/ 2514600 h 4496940"/>
                  <a:gd name="connsiteX82" fmla="*/ 11452 w 4519987"/>
                  <a:gd name="connsiteY82" fmla="*/ 2400300 h 4496940"/>
                  <a:gd name="connsiteX83" fmla="*/ 20977 w 4519987"/>
                  <a:gd name="connsiteY83" fmla="*/ 1905000 h 4496940"/>
                  <a:gd name="connsiteX84" fmla="*/ 30502 w 4519987"/>
                  <a:gd name="connsiteY84" fmla="*/ 1838325 h 4496940"/>
                  <a:gd name="connsiteX85" fmla="*/ 49552 w 4519987"/>
                  <a:gd name="connsiteY85" fmla="*/ 1781175 h 4496940"/>
                  <a:gd name="connsiteX86" fmla="*/ 59077 w 4519987"/>
                  <a:gd name="connsiteY86" fmla="*/ 1743075 h 4496940"/>
                  <a:gd name="connsiteX87" fmla="*/ 78127 w 4519987"/>
                  <a:gd name="connsiteY87" fmla="*/ 1685925 h 4496940"/>
                  <a:gd name="connsiteX88" fmla="*/ 87652 w 4519987"/>
                  <a:gd name="connsiteY88" fmla="*/ 1638300 h 4496940"/>
                  <a:gd name="connsiteX89" fmla="*/ 106702 w 4519987"/>
                  <a:gd name="connsiteY89" fmla="*/ 1590675 h 4496940"/>
                  <a:gd name="connsiteX90" fmla="*/ 135277 w 4519987"/>
                  <a:gd name="connsiteY90" fmla="*/ 1504950 h 4496940"/>
                  <a:gd name="connsiteX91" fmla="*/ 154327 w 4519987"/>
                  <a:gd name="connsiteY91" fmla="*/ 1419225 h 4496940"/>
                  <a:gd name="connsiteX92" fmla="*/ 230527 w 4519987"/>
                  <a:gd name="connsiteY92" fmla="*/ 1276350 h 4496940"/>
                  <a:gd name="connsiteX93" fmla="*/ 240052 w 4519987"/>
                  <a:gd name="connsiteY93" fmla="*/ 1247775 h 4496940"/>
                  <a:gd name="connsiteX94" fmla="*/ 268627 w 4519987"/>
                  <a:gd name="connsiteY94" fmla="*/ 1200150 h 4496940"/>
                  <a:gd name="connsiteX95" fmla="*/ 287677 w 4519987"/>
                  <a:gd name="connsiteY95" fmla="*/ 1152525 h 4496940"/>
                  <a:gd name="connsiteX96" fmla="*/ 316252 w 4519987"/>
                  <a:gd name="connsiteY96" fmla="*/ 1114425 h 4496940"/>
                  <a:gd name="connsiteX97" fmla="*/ 363877 w 4519987"/>
                  <a:gd name="connsiteY97" fmla="*/ 1038225 h 4496940"/>
                  <a:gd name="connsiteX98" fmla="*/ 382927 w 4519987"/>
                  <a:gd name="connsiteY98" fmla="*/ 1009650 h 4496940"/>
                  <a:gd name="connsiteX99" fmla="*/ 440077 w 4519987"/>
                  <a:gd name="connsiteY99" fmla="*/ 904875 h 4496940"/>
                  <a:gd name="connsiteX100" fmla="*/ 478177 w 4519987"/>
                  <a:gd name="connsiteY100" fmla="*/ 857250 h 4496940"/>
                  <a:gd name="connsiteX101" fmla="*/ 497227 w 4519987"/>
                  <a:gd name="connsiteY101" fmla="*/ 828675 h 4496940"/>
                  <a:gd name="connsiteX102" fmla="*/ 535327 w 4519987"/>
                  <a:gd name="connsiteY102" fmla="*/ 800100 h 4496940"/>
                  <a:gd name="connsiteX103" fmla="*/ 602002 w 4519987"/>
                  <a:gd name="connsiteY103" fmla="*/ 733425 h 4496940"/>
                  <a:gd name="connsiteX104" fmla="*/ 668677 w 4519987"/>
                  <a:gd name="connsiteY104" fmla="*/ 676275 h 4496940"/>
                  <a:gd name="connsiteX105" fmla="*/ 697252 w 4519987"/>
                  <a:gd name="connsiteY105" fmla="*/ 657225 h 4496940"/>
                  <a:gd name="connsiteX106" fmla="*/ 840127 w 4519987"/>
                  <a:gd name="connsiteY106" fmla="*/ 533400 h 4496940"/>
                  <a:gd name="connsiteX107" fmla="*/ 887752 w 4519987"/>
                  <a:gd name="connsiteY107" fmla="*/ 504825 h 4496940"/>
                  <a:gd name="connsiteX108" fmla="*/ 1167152 w 4519987"/>
                  <a:gd name="connsiteY108" fmla="*/ 311150 h 4496940"/>
                  <a:gd name="connsiteX109" fmla="*/ 1268752 w 4519987"/>
                  <a:gd name="connsiteY109" fmla="*/ 285750 h 4496940"/>
                  <a:gd name="connsiteX110" fmla="*/ 1411627 w 4519987"/>
                  <a:gd name="connsiteY110" fmla="*/ 190500 h 4496940"/>
                  <a:gd name="connsiteX111" fmla="*/ 1449727 w 4519987"/>
                  <a:gd name="connsiteY111" fmla="*/ 161925 h 4496940"/>
                  <a:gd name="connsiteX112" fmla="*/ 1525927 w 4519987"/>
                  <a:gd name="connsiteY112" fmla="*/ 152400 h 4496940"/>
                  <a:gd name="connsiteX113" fmla="*/ 1583077 w 4519987"/>
                  <a:gd name="connsiteY113" fmla="*/ 142875 h 4496940"/>
                  <a:gd name="connsiteX114" fmla="*/ 1716427 w 4519987"/>
                  <a:gd name="connsiteY114" fmla="*/ 123825 h 4496940"/>
                  <a:gd name="connsiteX115" fmla="*/ 1811677 w 4519987"/>
                  <a:gd name="connsiteY115" fmla="*/ 114300 h 4496940"/>
                  <a:gd name="connsiteX116" fmla="*/ 1859302 w 4519987"/>
                  <a:gd name="connsiteY116" fmla="*/ 104775 h 4496940"/>
                  <a:gd name="connsiteX117" fmla="*/ 1916452 w 4519987"/>
                  <a:gd name="connsiteY117" fmla="*/ 95250 h 4496940"/>
                  <a:gd name="connsiteX118" fmla="*/ 2030752 w 4519987"/>
                  <a:gd name="connsiteY118" fmla="*/ 66675 h 4496940"/>
                  <a:gd name="connsiteX119" fmla="*/ 2097427 w 4519987"/>
                  <a:gd name="connsiteY119" fmla="*/ 47625 h 4496940"/>
                  <a:gd name="connsiteX120" fmla="*/ 2164102 w 4519987"/>
                  <a:gd name="connsiteY120" fmla="*/ 38100 h 4496940"/>
                  <a:gd name="connsiteX121" fmla="*/ 2392702 w 4519987"/>
                  <a:gd name="connsiteY12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221377 w 4519987"/>
                  <a:gd name="connsiteY37" fmla="*/ 4222750 h 4496940"/>
                  <a:gd name="connsiteX38" fmla="*/ 3068977 w 4519987"/>
                  <a:gd name="connsiteY38" fmla="*/ 4286250 h 4496940"/>
                  <a:gd name="connsiteX39" fmla="*/ 2935627 w 4519987"/>
                  <a:gd name="connsiteY39" fmla="*/ 4333875 h 4496940"/>
                  <a:gd name="connsiteX40" fmla="*/ 2811802 w 4519987"/>
                  <a:gd name="connsiteY40" fmla="*/ 4371975 h 4496940"/>
                  <a:gd name="connsiteX41" fmla="*/ 2745127 w 4519987"/>
                  <a:gd name="connsiteY41" fmla="*/ 4410075 h 4496940"/>
                  <a:gd name="connsiteX42" fmla="*/ 2697502 w 4519987"/>
                  <a:gd name="connsiteY42" fmla="*/ 4429125 h 4496940"/>
                  <a:gd name="connsiteX43" fmla="*/ 2640352 w 4519987"/>
                  <a:gd name="connsiteY43" fmla="*/ 4457700 h 4496940"/>
                  <a:gd name="connsiteX44" fmla="*/ 2583202 w 4519987"/>
                  <a:gd name="connsiteY44" fmla="*/ 4467225 h 4496940"/>
                  <a:gd name="connsiteX45" fmla="*/ 2545102 w 4519987"/>
                  <a:gd name="connsiteY45" fmla="*/ 4486275 h 4496940"/>
                  <a:gd name="connsiteX46" fmla="*/ 2306977 w 4519987"/>
                  <a:gd name="connsiteY46" fmla="*/ 4476750 h 4496940"/>
                  <a:gd name="connsiteX47" fmla="*/ 2202202 w 4519987"/>
                  <a:gd name="connsiteY47" fmla="*/ 4457700 h 4496940"/>
                  <a:gd name="connsiteX48" fmla="*/ 2126002 w 4519987"/>
                  <a:gd name="connsiteY48" fmla="*/ 4429125 h 4496940"/>
                  <a:gd name="connsiteX49" fmla="*/ 1935502 w 4519987"/>
                  <a:gd name="connsiteY49" fmla="*/ 4400550 h 4496940"/>
                  <a:gd name="connsiteX50" fmla="*/ 1821202 w 4519987"/>
                  <a:gd name="connsiteY50" fmla="*/ 4371975 h 4496940"/>
                  <a:gd name="connsiteX51" fmla="*/ 1754527 w 4519987"/>
                  <a:gd name="connsiteY51" fmla="*/ 4352925 h 4496940"/>
                  <a:gd name="connsiteX52" fmla="*/ 1687852 w 4519987"/>
                  <a:gd name="connsiteY52" fmla="*/ 4343400 h 4496940"/>
                  <a:gd name="connsiteX53" fmla="*/ 1573552 w 4519987"/>
                  <a:gd name="connsiteY53" fmla="*/ 4305300 h 4496940"/>
                  <a:gd name="connsiteX54" fmla="*/ 1402102 w 4519987"/>
                  <a:gd name="connsiteY54" fmla="*/ 4276725 h 4496940"/>
                  <a:gd name="connsiteX55" fmla="*/ 1287802 w 4519987"/>
                  <a:gd name="connsiteY55" fmla="*/ 4229100 h 4496940"/>
                  <a:gd name="connsiteX56" fmla="*/ 1221127 w 4519987"/>
                  <a:gd name="connsiteY56" fmla="*/ 4200525 h 4496940"/>
                  <a:gd name="connsiteX57" fmla="*/ 1144927 w 4519987"/>
                  <a:gd name="connsiteY57" fmla="*/ 4171950 h 4496940"/>
                  <a:gd name="connsiteX58" fmla="*/ 1087777 w 4519987"/>
                  <a:gd name="connsiteY58" fmla="*/ 4143375 h 4496940"/>
                  <a:gd name="connsiteX59" fmla="*/ 1030627 w 4519987"/>
                  <a:gd name="connsiteY59" fmla="*/ 4124325 h 4496940"/>
                  <a:gd name="connsiteX60" fmla="*/ 925852 w 4519987"/>
                  <a:gd name="connsiteY60" fmla="*/ 4067175 h 4496940"/>
                  <a:gd name="connsiteX61" fmla="*/ 830602 w 4519987"/>
                  <a:gd name="connsiteY61" fmla="*/ 3981450 h 4496940"/>
                  <a:gd name="connsiteX62" fmla="*/ 763927 w 4519987"/>
                  <a:gd name="connsiteY62" fmla="*/ 3914775 h 4496940"/>
                  <a:gd name="connsiteX63" fmla="*/ 725827 w 4519987"/>
                  <a:gd name="connsiteY63" fmla="*/ 3876675 h 4496940"/>
                  <a:gd name="connsiteX64" fmla="*/ 697252 w 4519987"/>
                  <a:gd name="connsiteY64" fmla="*/ 3838575 h 4496940"/>
                  <a:gd name="connsiteX65" fmla="*/ 640102 w 4519987"/>
                  <a:gd name="connsiteY65" fmla="*/ 3781425 h 4496940"/>
                  <a:gd name="connsiteX66" fmla="*/ 611527 w 4519987"/>
                  <a:gd name="connsiteY66" fmla="*/ 3733800 h 4496940"/>
                  <a:gd name="connsiteX67" fmla="*/ 554377 w 4519987"/>
                  <a:gd name="connsiteY67" fmla="*/ 3657600 h 4496940"/>
                  <a:gd name="connsiteX68" fmla="*/ 525802 w 4519987"/>
                  <a:gd name="connsiteY68" fmla="*/ 3609975 h 4496940"/>
                  <a:gd name="connsiteX69" fmla="*/ 497227 w 4519987"/>
                  <a:gd name="connsiteY69" fmla="*/ 3552825 h 4496940"/>
                  <a:gd name="connsiteX70" fmla="*/ 440077 w 4519987"/>
                  <a:gd name="connsiteY70" fmla="*/ 3495675 h 4496940"/>
                  <a:gd name="connsiteX71" fmla="*/ 411502 w 4519987"/>
                  <a:gd name="connsiteY71" fmla="*/ 3448050 h 4496940"/>
                  <a:gd name="connsiteX72" fmla="*/ 278152 w 4519987"/>
                  <a:gd name="connsiteY72" fmla="*/ 3257550 h 4496940"/>
                  <a:gd name="connsiteX73" fmla="*/ 249577 w 4519987"/>
                  <a:gd name="connsiteY73" fmla="*/ 3200400 h 4496940"/>
                  <a:gd name="connsiteX74" fmla="*/ 240052 w 4519987"/>
                  <a:gd name="connsiteY74" fmla="*/ 3162300 h 4496940"/>
                  <a:gd name="connsiteX75" fmla="*/ 221002 w 4519987"/>
                  <a:gd name="connsiteY75" fmla="*/ 3105150 h 4496940"/>
                  <a:gd name="connsiteX76" fmla="*/ 173377 w 4519987"/>
                  <a:gd name="connsiteY76" fmla="*/ 3019425 h 4496940"/>
                  <a:gd name="connsiteX77" fmla="*/ 144802 w 4519987"/>
                  <a:gd name="connsiteY77" fmla="*/ 2924175 h 4496940"/>
                  <a:gd name="connsiteX78" fmla="*/ 68602 w 4519987"/>
                  <a:gd name="connsiteY78" fmla="*/ 2724150 h 4496940"/>
                  <a:gd name="connsiteX79" fmla="*/ 49552 w 4519987"/>
                  <a:gd name="connsiteY79" fmla="*/ 2638425 h 4496940"/>
                  <a:gd name="connsiteX80" fmla="*/ 40027 w 4519987"/>
                  <a:gd name="connsiteY80" fmla="*/ 2562225 h 4496940"/>
                  <a:gd name="connsiteX81" fmla="*/ 30502 w 4519987"/>
                  <a:gd name="connsiteY81" fmla="*/ 2514600 h 4496940"/>
                  <a:gd name="connsiteX82" fmla="*/ 11452 w 4519987"/>
                  <a:gd name="connsiteY82" fmla="*/ 2400300 h 4496940"/>
                  <a:gd name="connsiteX83" fmla="*/ 20977 w 4519987"/>
                  <a:gd name="connsiteY83" fmla="*/ 1905000 h 4496940"/>
                  <a:gd name="connsiteX84" fmla="*/ 30502 w 4519987"/>
                  <a:gd name="connsiteY84" fmla="*/ 1838325 h 4496940"/>
                  <a:gd name="connsiteX85" fmla="*/ 49552 w 4519987"/>
                  <a:gd name="connsiteY85" fmla="*/ 1781175 h 4496940"/>
                  <a:gd name="connsiteX86" fmla="*/ 59077 w 4519987"/>
                  <a:gd name="connsiteY86" fmla="*/ 1743075 h 4496940"/>
                  <a:gd name="connsiteX87" fmla="*/ 78127 w 4519987"/>
                  <a:gd name="connsiteY87" fmla="*/ 1685925 h 4496940"/>
                  <a:gd name="connsiteX88" fmla="*/ 87652 w 4519987"/>
                  <a:gd name="connsiteY88" fmla="*/ 1638300 h 4496940"/>
                  <a:gd name="connsiteX89" fmla="*/ 106702 w 4519987"/>
                  <a:gd name="connsiteY89" fmla="*/ 1590675 h 4496940"/>
                  <a:gd name="connsiteX90" fmla="*/ 135277 w 4519987"/>
                  <a:gd name="connsiteY90" fmla="*/ 1504950 h 4496940"/>
                  <a:gd name="connsiteX91" fmla="*/ 154327 w 4519987"/>
                  <a:gd name="connsiteY91" fmla="*/ 1419225 h 4496940"/>
                  <a:gd name="connsiteX92" fmla="*/ 230527 w 4519987"/>
                  <a:gd name="connsiteY92" fmla="*/ 1276350 h 4496940"/>
                  <a:gd name="connsiteX93" fmla="*/ 240052 w 4519987"/>
                  <a:gd name="connsiteY93" fmla="*/ 1247775 h 4496940"/>
                  <a:gd name="connsiteX94" fmla="*/ 268627 w 4519987"/>
                  <a:gd name="connsiteY94" fmla="*/ 1200150 h 4496940"/>
                  <a:gd name="connsiteX95" fmla="*/ 287677 w 4519987"/>
                  <a:gd name="connsiteY95" fmla="*/ 1152525 h 4496940"/>
                  <a:gd name="connsiteX96" fmla="*/ 316252 w 4519987"/>
                  <a:gd name="connsiteY96" fmla="*/ 1114425 h 4496940"/>
                  <a:gd name="connsiteX97" fmla="*/ 363877 w 4519987"/>
                  <a:gd name="connsiteY97" fmla="*/ 1038225 h 4496940"/>
                  <a:gd name="connsiteX98" fmla="*/ 382927 w 4519987"/>
                  <a:gd name="connsiteY98" fmla="*/ 1009650 h 4496940"/>
                  <a:gd name="connsiteX99" fmla="*/ 440077 w 4519987"/>
                  <a:gd name="connsiteY99" fmla="*/ 904875 h 4496940"/>
                  <a:gd name="connsiteX100" fmla="*/ 478177 w 4519987"/>
                  <a:gd name="connsiteY100" fmla="*/ 857250 h 4496940"/>
                  <a:gd name="connsiteX101" fmla="*/ 497227 w 4519987"/>
                  <a:gd name="connsiteY101" fmla="*/ 828675 h 4496940"/>
                  <a:gd name="connsiteX102" fmla="*/ 535327 w 4519987"/>
                  <a:gd name="connsiteY102" fmla="*/ 800100 h 4496940"/>
                  <a:gd name="connsiteX103" fmla="*/ 602002 w 4519987"/>
                  <a:gd name="connsiteY103" fmla="*/ 733425 h 4496940"/>
                  <a:gd name="connsiteX104" fmla="*/ 668677 w 4519987"/>
                  <a:gd name="connsiteY104" fmla="*/ 676275 h 4496940"/>
                  <a:gd name="connsiteX105" fmla="*/ 697252 w 4519987"/>
                  <a:gd name="connsiteY105" fmla="*/ 657225 h 4496940"/>
                  <a:gd name="connsiteX106" fmla="*/ 840127 w 4519987"/>
                  <a:gd name="connsiteY106" fmla="*/ 533400 h 4496940"/>
                  <a:gd name="connsiteX107" fmla="*/ 887752 w 4519987"/>
                  <a:gd name="connsiteY107" fmla="*/ 504825 h 4496940"/>
                  <a:gd name="connsiteX108" fmla="*/ 1167152 w 4519987"/>
                  <a:gd name="connsiteY108" fmla="*/ 311150 h 4496940"/>
                  <a:gd name="connsiteX109" fmla="*/ 1268752 w 4519987"/>
                  <a:gd name="connsiteY109" fmla="*/ 285750 h 4496940"/>
                  <a:gd name="connsiteX110" fmla="*/ 1411627 w 4519987"/>
                  <a:gd name="connsiteY110" fmla="*/ 190500 h 4496940"/>
                  <a:gd name="connsiteX111" fmla="*/ 1449727 w 4519987"/>
                  <a:gd name="connsiteY111" fmla="*/ 161925 h 4496940"/>
                  <a:gd name="connsiteX112" fmla="*/ 1525927 w 4519987"/>
                  <a:gd name="connsiteY112" fmla="*/ 152400 h 4496940"/>
                  <a:gd name="connsiteX113" fmla="*/ 1583077 w 4519987"/>
                  <a:gd name="connsiteY113" fmla="*/ 142875 h 4496940"/>
                  <a:gd name="connsiteX114" fmla="*/ 1716427 w 4519987"/>
                  <a:gd name="connsiteY114" fmla="*/ 123825 h 4496940"/>
                  <a:gd name="connsiteX115" fmla="*/ 1811677 w 4519987"/>
                  <a:gd name="connsiteY115" fmla="*/ 114300 h 4496940"/>
                  <a:gd name="connsiteX116" fmla="*/ 1859302 w 4519987"/>
                  <a:gd name="connsiteY116" fmla="*/ 104775 h 4496940"/>
                  <a:gd name="connsiteX117" fmla="*/ 1916452 w 4519987"/>
                  <a:gd name="connsiteY117" fmla="*/ 95250 h 4496940"/>
                  <a:gd name="connsiteX118" fmla="*/ 2030752 w 4519987"/>
                  <a:gd name="connsiteY118" fmla="*/ 66675 h 4496940"/>
                  <a:gd name="connsiteX119" fmla="*/ 2097427 w 4519987"/>
                  <a:gd name="connsiteY119" fmla="*/ 47625 h 4496940"/>
                  <a:gd name="connsiteX120" fmla="*/ 2164102 w 4519987"/>
                  <a:gd name="connsiteY120" fmla="*/ 38100 h 4496940"/>
                  <a:gd name="connsiteX121" fmla="*/ 2392702 w 4519987"/>
                  <a:gd name="connsiteY12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221377 w 4519987"/>
                  <a:gd name="connsiteY37" fmla="*/ 4222750 h 4496940"/>
                  <a:gd name="connsiteX38" fmla="*/ 3068977 w 4519987"/>
                  <a:gd name="connsiteY38" fmla="*/ 4286250 h 4496940"/>
                  <a:gd name="connsiteX39" fmla="*/ 2935627 w 4519987"/>
                  <a:gd name="connsiteY39" fmla="*/ 4333875 h 4496940"/>
                  <a:gd name="connsiteX40" fmla="*/ 2811802 w 4519987"/>
                  <a:gd name="connsiteY40" fmla="*/ 4371975 h 4496940"/>
                  <a:gd name="connsiteX41" fmla="*/ 2745127 w 4519987"/>
                  <a:gd name="connsiteY41" fmla="*/ 4410075 h 4496940"/>
                  <a:gd name="connsiteX42" fmla="*/ 2640352 w 4519987"/>
                  <a:gd name="connsiteY42" fmla="*/ 4457700 h 4496940"/>
                  <a:gd name="connsiteX43" fmla="*/ 2583202 w 4519987"/>
                  <a:gd name="connsiteY43" fmla="*/ 4467225 h 4496940"/>
                  <a:gd name="connsiteX44" fmla="*/ 2545102 w 4519987"/>
                  <a:gd name="connsiteY44" fmla="*/ 4486275 h 4496940"/>
                  <a:gd name="connsiteX45" fmla="*/ 2306977 w 4519987"/>
                  <a:gd name="connsiteY45" fmla="*/ 4476750 h 4496940"/>
                  <a:gd name="connsiteX46" fmla="*/ 2202202 w 4519987"/>
                  <a:gd name="connsiteY46" fmla="*/ 4457700 h 4496940"/>
                  <a:gd name="connsiteX47" fmla="*/ 2126002 w 4519987"/>
                  <a:gd name="connsiteY47" fmla="*/ 4429125 h 4496940"/>
                  <a:gd name="connsiteX48" fmla="*/ 1935502 w 4519987"/>
                  <a:gd name="connsiteY48" fmla="*/ 4400550 h 4496940"/>
                  <a:gd name="connsiteX49" fmla="*/ 1821202 w 4519987"/>
                  <a:gd name="connsiteY49" fmla="*/ 4371975 h 4496940"/>
                  <a:gd name="connsiteX50" fmla="*/ 1754527 w 4519987"/>
                  <a:gd name="connsiteY50" fmla="*/ 4352925 h 4496940"/>
                  <a:gd name="connsiteX51" fmla="*/ 1687852 w 4519987"/>
                  <a:gd name="connsiteY51" fmla="*/ 4343400 h 4496940"/>
                  <a:gd name="connsiteX52" fmla="*/ 1573552 w 4519987"/>
                  <a:gd name="connsiteY52" fmla="*/ 4305300 h 4496940"/>
                  <a:gd name="connsiteX53" fmla="*/ 1402102 w 4519987"/>
                  <a:gd name="connsiteY53" fmla="*/ 4276725 h 4496940"/>
                  <a:gd name="connsiteX54" fmla="*/ 1287802 w 4519987"/>
                  <a:gd name="connsiteY54" fmla="*/ 4229100 h 4496940"/>
                  <a:gd name="connsiteX55" fmla="*/ 1221127 w 4519987"/>
                  <a:gd name="connsiteY55" fmla="*/ 4200525 h 4496940"/>
                  <a:gd name="connsiteX56" fmla="*/ 1144927 w 4519987"/>
                  <a:gd name="connsiteY56" fmla="*/ 4171950 h 4496940"/>
                  <a:gd name="connsiteX57" fmla="*/ 1087777 w 4519987"/>
                  <a:gd name="connsiteY57" fmla="*/ 4143375 h 4496940"/>
                  <a:gd name="connsiteX58" fmla="*/ 1030627 w 4519987"/>
                  <a:gd name="connsiteY58" fmla="*/ 4124325 h 4496940"/>
                  <a:gd name="connsiteX59" fmla="*/ 925852 w 4519987"/>
                  <a:gd name="connsiteY59" fmla="*/ 4067175 h 4496940"/>
                  <a:gd name="connsiteX60" fmla="*/ 830602 w 4519987"/>
                  <a:gd name="connsiteY60" fmla="*/ 3981450 h 4496940"/>
                  <a:gd name="connsiteX61" fmla="*/ 763927 w 4519987"/>
                  <a:gd name="connsiteY61" fmla="*/ 3914775 h 4496940"/>
                  <a:gd name="connsiteX62" fmla="*/ 725827 w 4519987"/>
                  <a:gd name="connsiteY62" fmla="*/ 3876675 h 4496940"/>
                  <a:gd name="connsiteX63" fmla="*/ 697252 w 4519987"/>
                  <a:gd name="connsiteY63" fmla="*/ 3838575 h 4496940"/>
                  <a:gd name="connsiteX64" fmla="*/ 640102 w 4519987"/>
                  <a:gd name="connsiteY64" fmla="*/ 3781425 h 4496940"/>
                  <a:gd name="connsiteX65" fmla="*/ 611527 w 4519987"/>
                  <a:gd name="connsiteY65" fmla="*/ 3733800 h 4496940"/>
                  <a:gd name="connsiteX66" fmla="*/ 554377 w 4519987"/>
                  <a:gd name="connsiteY66" fmla="*/ 3657600 h 4496940"/>
                  <a:gd name="connsiteX67" fmla="*/ 525802 w 4519987"/>
                  <a:gd name="connsiteY67" fmla="*/ 3609975 h 4496940"/>
                  <a:gd name="connsiteX68" fmla="*/ 497227 w 4519987"/>
                  <a:gd name="connsiteY68" fmla="*/ 3552825 h 4496940"/>
                  <a:gd name="connsiteX69" fmla="*/ 440077 w 4519987"/>
                  <a:gd name="connsiteY69" fmla="*/ 3495675 h 4496940"/>
                  <a:gd name="connsiteX70" fmla="*/ 411502 w 4519987"/>
                  <a:gd name="connsiteY70" fmla="*/ 3448050 h 4496940"/>
                  <a:gd name="connsiteX71" fmla="*/ 278152 w 4519987"/>
                  <a:gd name="connsiteY71" fmla="*/ 3257550 h 4496940"/>
                  <a:gd name="connsiteX72" fmla="*/ 249577 w 4519987"/>
                  <a:gd name="connsiteY72" fmla="*/ 3200400 h 4496940"/>
                  <a:gd name="connsiteX73" fmla="*/ 240052 w 4519987"/>
                  <a:gd name="connsiteY73" fmla="*/ 3162300 h 4496940"/>
                  <a:gd name="connsiteX74" fmla="*/ 221002 w 4519987"/>
                  <a:gd name="connsiteY74" fmla="*/ 3105150 h 4496940"/>
                  <a:gd name="connsiteX75" fmla="*/ 173377 w 4519987"/>
                  <a:gd name="connsiteY75" fmla="*/ 3019425 h 4496940"/>
                  <a:gd name="connsiteX76" fmla="*/ 144802 w 4519987"/>
                  <a:gd name="connsiteY76" fmla="*/ 2924175 h 4496940"/>
                  <a:gd name="connsiteX77" fmla="*/ 68602 w 4519987"/>
                  <a:gd name="connsiteY77" fmla="*/ 2724150 h 4496940"/>
                  <a:gd name="connsiteX78" fmla="*/ 49552 w 4519987"/>
                  <a:gd name="connsiteY78" fmla="*/ 2638425 h 4496940"/>
                  <a:gd name="connsiteX79" fmla="*/ 40027 w 4519987"/>
                  <a:gd name="connsiteY79" fmla="*/ 2562225 h 4496940"/>
                  <a:gd name="connsiteX80" fmla="*/ 30502 w 4519987"/>
                  <a:gd name="connsiteY80" fmla="*/ 2514600 h 4496940"/>
                  <a:gd name="connsiteX81" fmla="*/ 11452 w 4519987"/>
                  <a:gd name="connsiteY81" fmla="*/ 2400300 h 4496940"/>
                  <a:gd name="connsiteX82" fmla="*/ 20977 w 4519987"/>
                  <a:gd name="connsiteY82" fmla="*/ 1905000 h 4496940"/>
                  <a:gd name="connsiteX83" fmla="*/ 30502 w 4519987"/>
                  <a:gd name="connsiteY83" fmla="*/ 1838325 h 4496940"/>
                  <a:gd name="connsiteX84" fmla="*/ 49552 w 4519987"/>
                  <a:gd name="connsiteY84" fmla="*/ 1781175 h 4496940"/>
                  <a:gd name="connsiteX85" fmla="*/ 59077 w 4519987"/>
                  <a:gd name="connsiteY85" fmla="*/ 1743075 h 4496940"/>
                  <a:gd name="connsiteX86" fmla="*/ 78127 w 4519987"/>
                  <a:gd name="connsiteY86" fmla="*/ 1685925 h 4496940"/>
                  <a:gd name="connsiteX87" fmla="*/ 87652 w 4519987"/>
                  <a:gd name="connsiteY87" fmla="*/ 1638300 h 4496940"/>
                  <a:gd name="connsiteX88" fmla="*/ 106702 w 4519987"/>
                  <a:gd name="connsiteY88" fmla="*/ 1590675 h 4496940"/>
                  <a:gd name="connsiteX89" fmla="*/ 135277 w 4519987"/>
                  <a:gd name="connsiteY89" fmla="*/ 1504950 h 4496940"/>
                  <a:gd name="connsiteX90" fmla="*/ 154327 w 4519987"/>
                  <a:gd name="connsiteY90" fmla="*/ 1419225 h 4496940"/>
                  <a:gd name="connsiteX91" fmla="*/ 230527 w 4519987"/>
                  <a:gd name="connsiteY91" fmla="*/ 1276350 h 4496940"/>
                  <a:gd name="connsiteX92" fmla="*/ 240052 w 4519987"/>
                  <a:gd name="connsiteY92" fmla="*/ 1247775 h 4496940"/>
                  <a:gd name="connsiteX93" fmla="*/ 268627 w 4519987"/>
                  <a:gd name="connsiteY93" fmla="*/ 1200150 h 4496940"/>
                  <a:gd name="connsiteX94" fmla="*/ 287677 w 4519987"/>
                  <a:gd name="connsiteY94" fmla="*/ 1152525 h 4496940"/>
                  <a:gd name="connsiteX95" fmla="*/ 316252 w 4519987"/>
                  <a:gd name="connsiteY95" fmla="*/ 1114425 h 4496940"/>
                  <a:gd name="connsiteX96" fmla="*/ 363877 w 4519987"/>
                  <a:gd name="connsiteY96" fmla="*/ 1038225 h 4496940"/>
                  <a:gd name="connsiteX97" fmla="*/ 382927 w 4519987"/>
                  <a:gd name="connsiteY97" fmla="*/ 1009650 h 4496940"/>
                  <a:gd name="connsiteX98" fmla="*/ 440077 w 4519987"/>
                  <a:gd name="connsiteY98" fmla="*/ 904875 h 4496940"/>
                  <a:gd name="connsiteX99" fmla="*/ 478177 w 4519987"/>
                  <a:gd name="connsiteY99" fmla="*/ 857250 h 4496940"/>
                  <a:gd name="connsiteX100" fmla="*/ 497227 w 4519987"/>
                  <a:gd name="connsiteY100" fmla="*/ 828675 h 4496940"/>
                  <a:gd name="connsiteX101" fmla="*/ 535327 w 4519987"/>
                  <a:gd name="connsiteY101" fmla="*/ 800100 h 4496940"/>
                  <a:gd name="connsiteX102" fmla="*/ 602002 w 4519987"/>
                  <a:gd name="connsiteY102" fmla="*/ 733425 h 4496940"/>
                  <a:gd name="connsiteX103" fmla="*/ 668677 w 4519987"/>
                  <a:gd name="connsiteY103" fmla="*/ 676275 h 4496940"/>
                  <a:gd name="connsiteX104" fmla="*/ 697252 w 4519987"/>
                  <a:gd name="connsiteY104" fmla="*/ 657225 h 4496940"/>
                  <a:gd name="connsiteX105" fmla="*/ 840127 w 4519987"/>
                  <a:gd name="connsiteY105" fmla="*/ 533400 h 4496940"/>
                  <a:gd name="connsiteX106" fmla="*/ 887752 w 4519987"/>
                  <a:gd name="connsiteY106" fmla="*/ 504825 h 4496940"/>
                  <a:gd name="connsiteX107" fmla="*/ 1167152 w 4519987"/>
                  <a:gd name="connsiteY107" fmla="*/ 311150 h 4496940"/>
                  <a:gd name="connsiteX108" fmla="*/ 1268752 w 4519987"/>
                  <a:gd name="connsiteY108" fmla="*/ 285750 h 4496940"/>
                  <a:gd name="connsiteX109" fmla="*/ 1411627 w 4519987"/>
                  <a:gd name="connsiteY109" fmla="*/ 190500 h 4496940"/>
                  <a:gd name="connsiteX110" fmla="*/ 1449727 w 4519987"/>
                  <a:gd name="connsiteY110" fmla="*/ 161925 h 4496940"/>
                  <a:gd name="connsiteX111" fmla="*/ 1525927 w 4519987"/>
                  <a:gd name="connsiteY111" fmla="*/ 152400 h 4496940"/>
                  <a:gd name="connsiteX112" fmla="*/ 1583077 w 4519987"/>
                  <a:gd name="connsiteY112" fmla="*/ 142875 h 4496940"/>
                  <a:gd name="connsiteX113" fmla="*/ 1716427 w 4519987"/>
                  <a:gd name="connsiteY113" fmla="*/ 123825 h 4496940"/>
                  <a:gd name="connsiteX114" fmla="*/ 1811677 w 4519987"/>
                  <a:gd name="connsiteY114" fmla="*/ 114300 h 4496940"/>
                  <a:gd name="connsiteX115" fmla="*/ 1859302 w 4519987"/>
                  <a:gd name="connsiteY115" fmla="*/ 104775 h 4496940"/>
                  <a:gd name="connsiteX116" fmla="*/ 1916452 w 4519987"/>
                  <a:gd name="connsiteY116" fmla="*/ 95250 h 4496940"/>
                  <a:gd name="connsiteX117" fmla="*/ 2030752 w 4519987"/>
                  <a:gd name="connsiteY117" fmla="*/ 66675 h 4496940"/>
                  <a:gd name="connsiteX118" fmla="*/ 2097427 w 4519987"/>
                  <a:gd name="connsiteY118" fmla="*/ 47625 h 4496940"/>
                  <a:gd name="connsiteX119" fmla="*/ 2164102 w 4519987"/>
                  <a:gd name="connsiteY119" fmla="*/ 38100 h 4496940"/>
                  <a:gd name="connsiteX120" fmla="*/ 2392702 w 4519987"/>
                  <a:gd name="connsiteY120" fmla="*/ 28575 h 4496940"/>
                  <a:gd name="connsiteX0" fmla="*/ 2297452 w 4519987"/>
                  <a:gd name="connsiteY0" fmla="*/ 0 h 4487372"/>
                  <a:gd name="connsiteX1" fmla="*/ 2421277 w 4519987"/>
                  <a:gd name="connsiteY1" fmla="*/ 28575 h 4487372"/>
                  <a:gd name="connsiteX2" fmla="*/ 2497477 w 4519987"/>
                  <a:gd name="connsiteY2" fmla="*/ 47625 h 4487372"/>
                  <a:gd name="connsiteX3" fmla="*/ 2754652 w 4519987"/>
                  <a:gd name="connsiteY3" fmla="*/ 66675 h 4487372"/>
                  <a:gd name="connsiteX4" fmla="*/ 2830852 w 4519987"/>
                  <a:gd name="connsiteY4" fmla="*/ 76200 h 4487372"/>
                  <a:gd name="connsiteX5" fmla="*/ 2916577 w 4519987"/>
                  <a:gd name="connsiteY5" fmla="*/ 85725 h 4487372"/>
                  <a:gd name="connsiteX6" fmla="*/ 2973727 w 4519987"/>
                  <a:gd name="connsiteY6" fmla="*/ 114300 h 4487372"/>
                  <a:gd name="connsiteX7" fmla="*/ 3011827 w 4519987"/>
                  <a:gd name="connsiteY7" fmla="*/ 123825 h 4487372"/>
                  <a:gd name="connsiteX8" fmla="*/ 3135652 w 4519987"/>
                  <a:gd name="connsiteY8" fmla="*/ 171450 h 4487372"/>
                  <a:gd name="connsiteX9" fmla="*/ 3173752 w 4519987"/>
                  <a:gd name="connsiteY9" fmla="*/ 190500 h 4487372"/>
                  <a:gd name="connsiteX10" fmla="*/ 3240427 w 4519987"/>
                  <a:gd name="connsiteY10" fmla="*/ 228600 h 4487372"/>
                  <a:gd name="connsiteX11" fmla="*/ 3269002 w 4519987"/>
                  <a:gd name="connsiteY11" fmla="*/ 238125 h 4487372"/>
                  <a:gd name="connsiteX12" fmla="*/ 3297577 w 4519987"/>
                  <a:gd name="connsiteY12" fmla="*/ 257175 h 4487372"/>
                  <a:gd name="connsiteX13" fmla="*/ 3326152 w 4519987"/>
                  <a:gd name="connsiteY13" fmla="*/ 266700 h 4487372"/>
                  <a:gd name="connsiteX14" fmla="*/ 3354727 w 4519987"/>
                  <a:gd name="connsiteY14" fmla="*/ 285750 h 4487372"/>
                  <a:gd name="connsiteX15" fmla="*/ 3421402 w 4519987"/>
                  <a:gd name="connsiteY15" fmla="*/ 323850 h 4487372"/>
                  <a:gd name="connsiteX16" fmla="*/ 3469027 w 4519987"/>
                  <a:gd name="connsiteY16" fmla="*/ 361950 h 4487372"/>
                  <a:gd name="connsiteX17" fmla="*/ 3516652 w 4519987"/>
                  <a:gd name="connsiteY17" fmla="*/ 390525 h 4487372"/>
                  <a:gd name="connsiteX18" fmla="*/ 3630952 w 4519987"/>
                  <a:gd name="connsiteY18" fmla="*/ 485775 h 4487372"/>
                  <a:gd name="connsiteX19" fmla="*/ 3745252 w 4519987"/>
                  <a:gd name="connsiteY19" fmla="*/ 542925 h 4487372"/>
                  <a:gd name="connsiteX20" fmla="*/ 3811927 w 4519987"/>
                  <a:gd name="connsiteY20" fmla="*/ 581025 h 4487372"/>
                  <a:gd name="connsiteX21" fmla="*/ 4027827 w 4519987"/>
                  <a:gd name="connsiteY21" fmla="*/ 819150 h 4487372"/>
                  <a:gd name="connsiteX22" fmla="*/ 4164352 w 4519987"/>
                  <a:gd name="connsiteY22" fmla="*/ 990600 h 4487372"/>
                  <a:gd name="connsiteX23" fmla="*/ 4250077 w 4519987"/>
                  <a:gd name="connsiteY23" fmla="*/ 1143000 h 4487372"/>
                  <a:gd name="connsiteX24" fmla="*/ 4307227 w 4519987"/>
                  <a:gd name="connsiteY24" fmla="*/ 1266825 h 4487372"/>
                  <a:gd name="connsiteX25" fmla="*/ 4345327 w 4519987"/>
                  <a:gd name="connsiteY25" fmla="*/ 1362075 h 4487372"/>
                  <a:gd name="connsiteX26" fmla="*/ 4392952 w 4519987"/>
                  <a:gd name="connsiteY26" fmla="*/ 1552575 h 4487372"/>
                  <a:gd name="connsiteX27" fmla="*/ 4431052 w 4519987"/>
                  <a:gd name="connsiteY27" fmla="*/ 1685925 h 4487372"/>
                  <a:gd name="connsiteX28" fmla="*/ 4519952 w 4519987"/>
                  <a:gd name="connsiteY28" fmla="*/ 2181225 h 4487372"/>
                  <a:gd name="connsiteX29" fmla="*/ 4446927 w 4519987"/>
                  <a:gd name="connsiteY29" fmla="*/ 2768600 h 4487372"/>
                  <a:gd name="connsiteX30" fmla="*/ 4383427 w 4519987"/>
                  <a:gd name="connsiteY30" fmla="*/ 2990850 h 4487372"/>
                  <a:gd name="connsiteX31" fmla="*/ 4278652 w 4519987"/>
                  <a:gd name="connsiteY31" fmla="*/ 3248025 h 4487372"/>
                  <a:gd name="connsiteX32" fmla="*/ 4183402 w 4519987"/>
                  <a:gd name="connsiteY32" fmla="*/ 3400425 h 4487372"/>
                  <a:gd name="connsiteX33" fmla="*/ 4059577 w 4519987"/>
                  <a:gd name="connsiteY33" fmla="*/ 3533775 h 4487372"/>
                  <a:gd name="connsiteX34" fmla="*/ 3954802 w 4519987"/>
                  <a:gd name="connsiteY34" fmla="*/ 3648075 h 4487372"/>
                  <a:gd name="connsiteX35" fmla="*/ 3659527 w 4519987"/>
                  <a:gd name="connsiteY35" fmla="*/ 3971925 h 4487372"/>
                  <a:gd name="connsiteX36" fmla="*/ 3516652 w 4519987"/>
                  <a:gd name="connsiteY36" fmla="*/ 4083050 h 4487372"/>
                  <a:gd name="connsiteX37" fmla="*/ 3221377 w 4519987"/>
                  <a:gd name="connsiteY37" fmla="*/ 4222750 h 4487372"/>
                  <a:gd name="connsiteX38" fmla="*/ 3068977 w 4519987"/>
                  <a:gd name="connsiteY38" fmla="*/ 4286250 h 4487372"/>
                  <a:gd name="connsiteX39" fmla="*/ 2935627 w 4519987"/>
                  <a:gd name="connsiteY39" fmla="*/ 4333875 h 4487372"/>
                  <a:gd name="connsiteX40" fmla="*/ 2811802 w 4519987"/>
                  <a:gd name="connsiteY40" fmla="*/ 4371975 h 4487372"/>
                  <a:gd name="connsiteX41" fmla="*/ 2745127 w 4519987"/>
                  <a:gd name="connsiteY41" fmla="*/ 4410075 h 4487372"/>
                  <a:gd name="connsiteX42" fmla="*/ 2640352 w 4519987"/>
                  <a:gd name="connsiteY42" fmla="*/ 4457700 h 4487372"/>
                  <a:gd name="connsiteX43" fmla="*/ 2545102 w 4519987"/>
                  <a:gd name="connsiteY43" fmla="*/ 4486275 h 4487372"/>
                  <a:gd name="connsiteX44" fmla="*/ 2306977 w 4519987"/>
                  <a:gd name="connsiteY44" fmla="*/ 4476750 h 4487372"/>
                  <a:gd name="connsiteX45" fmla="*/ 2202202 w 4519987"/>
                  <a:gd name="connsiteY45" fmla="*/ 4457700 h 4487372"/>
                  <a:gd name="connsiteX46" fmla="*/ 2126002 w 4519987"/>
                  <a:gd name="connsiteY46" fmla="*/ 4429125 h 4487372"/>
                  <a:gd name="connsiteX47" fmla="*/ 1935502 w 4519987"/>
                  <a:gd name="connsiteY47" fmla="*/ 4400550 h 4487372"/>
                  <a:gd name="connsiteX48" fmla="*/ 1821202 w 4519987"/>
                  <a:gd name="connsiteY48" fmla="*/ 4371975 h 4487372"/>
                  <a:gd name="connsiteX49" fmla="*/ 1754527 w 4519987"/>
                  <a:gd name="connsiteY49" fmla="*/ 4352925 h 4487372"/>
                  <a:gd name="connsiteX50" fmla="*/ 1687852 w 4519987"/>
                  <a:gd name="connsiteY50" fmla="*/ 4343400 h 4487372"/>
                  <a:gd name="connsiteX51" fmla="*/ 1573552 w 4519987"/>
                  <a:gd name="connsiteY51" fmla="*/ 4305300 h 4487372"/>
                  <a:gd name="connsiteX52" fmla="*/ 1402102 w 4519987"/>
                  <a:gd name="connsiteY52" fmla="*/ 4276725 h 4487372"/>
                  <a:gd name="connsiteX53" fmla="*/ 1287802 w 4519987"/>
                  <a:gd name="connsiteY53" fmla="*/ 4229100 h 4487372"/>
                  <a:gd name="connsiteX54" fmla="*/ 1221127 w 4519987"/>
                  <a:gd name="connsiteY54" fmla="*/ 4200525 h 4487372"/>
                  <a:gd name="connsiteX55" fmla="*/ 1144927 w 4519987"/>
                  <a:gd name="connsiteY55" fmla="*/ 4171950 h 4487372"/>
                  <a:gd name="connsiteX56" fmla="*/ 1087777 w 4519987"/>
                  <a:gd name="connsiteY56" fmla="*/ 4143375 h 4487372"/>
                  <a:gd name="connsiteX57" fmla="*/ 1030627 w 4519987"/>
                  <a:gd name="connsiteY57" fmla="*/ 4124325 h 4487372"/>
                  <a:gd name="connsiteX58" fmla="*/ 925852 w 4519987"/>
                  <a:gd name="connsiteY58" fmla="*/ 4067175 h 4487372"/>
                  <a:gd name="connsiteX59" fmla="*/ 830602 w 4519987"/>
                  <a:gd name="connsiteY59" fmla="*/ 3981450 h 4487372"/>
                  <a:gd name="connsiteX60" fmla="*/ 763927 w 4519987"/>
                  <a:gd name="connsiteY60" fmla="*/ 3914775 h 4487372"/>
                  <a:gd name="connsiteX61" fmla="*/ 725827 w 4519987"/>
                  <a:gd name="connsiteY61" fmla="*/ 3876675 h 4487372"/>
                  <a:gd name="connsiteX62" fmla="*/ 697252 w 4519987"/>
                  <a:gd name="connsiteY62" fmla="*/ 3838575 h 4487372"/>
                  <a:gd name="connsiteX63" fmla="*/ 640102 w 4519987"/>
                  <a:gd name="connsiteY63" fmla="*/ 3781425 h 4487372"/>
                  <a:gd name="connsiteX64" fmla="*/ 611527 w 4519987"/>
                  <a:gd name="connsiteY64" fmla="*/ 3733800 h 4487372"/>
                  <a:gd name="connsiteX65" fmla="*/ 554377 w 4519987"/>
                  <a:gd name="connsiteY65" fmla="*/ 3657600 h 4487372"/>
                  <a:gd name="connsiteX66" fmla="*/ 525802 w 4519987"/>
                  <a:gd name="connsiteY66" fmla="*/ 3609975 h 4487372"/>
                  <a:gd name="connsiteX67" fmla="*/ 497227 w 4519987"/>
                  <a:gd name="connsiteY67" fmla="*/ 3552825 h 4487372"/>
                  <a:gd name="connsiteX68" fmla="*/ 440077 w 4519987"/>
                  <a:gd name="connsiteY68" fmla="*/ 3495675 h 4487372"/>
                  <a:gd name="connsiteX69" fmla="*/ 411502 w 4519987"/>
                  <a:gd name="connsiteY69" fmla="*/ 3448050 h 4487372"/>
                  <a:gd name="connsiteX70" fmla="*/ 278152 w 4519987"/>
                  <a:gd name="connsiteY70" fmla="*/ 3257550 h 4487372"/>
                  <a:gd name="connsiteX71" fmla="*/ 249577 w 4519987"/>
                  <a:gd name="connsiteY71" fmla="*/ 3200400 h 4487372"/>
                  <a:gd name="connsiteX72" fmla="*/ 240052 w 4519987"/>
                  <a:gd name="connsiteY72" fmla="*/ 3162300 h 4487372"/>
                  <a:gd name="connsiteX73" fmla="*/ 221002 w 4519987"/>
                  <a:gd name="connsiteY73" fmla="*/ 3105150 h 4487372"/>
                  <a:gd name="connsiteX74" fmla="*/ 173377 w 4519987"/>
                  <a:gd name="connsiteY74" fmla="*/ 3019425 h 4487372"/>
                  <a:gd name="connsiteX75" fmla="*/ 144802 w 4519987"/>
                  <a:gd name="connsiteY75" fmla="*/ 2924175 h 4487372"/>
                  <a:gd name="connsiteX76" fmla="*/ 68602 w 4519987"/>
                  <a:gd name="connsiteY76" fmla="*/ 2724150 h 4487372"/>
                  <a:gd name="connsiteX77" fmla="*/ 49552 w 4519987"/>
                  <a:gd name="connsiteY77" fmla="*/ 2638425 h 4487372"/>
                  <a:gd name="connsiteX78" fmla="*/ 40027 w 4519987"/>
                  <a:gd name="connsiteY78" fmla="*/ 2562225 h 4487372"/>
                  <a:gd name="connsiteX79" fmla="*/ 30502 w 4519987"/>
                  <a:gd name="connsiteY79" fmla="*/ 2514600 h 4487372"/>
                  <a:gd name="connsiteX80" fmla="*/ 11452 w 4519987"/>
                  <a:gd name="connsiteY80" fmla="*/ 2400300 h 4487372"/>
                  <a:gd name="connsiteX81" fmla="*/ 20977 w 4519987"/>
                  <a:gd name="connsiteY81" fmla="*/ 1905000 h 4487372"/>
                  <a:gd name="connsiteX82" fmla="*/ 30502 w 4519987"/>
                  <a:gd name="connsiteY82" fmla="*/ 1838325 h 4487372"/>
                  <a:gd name="connsiteX83" fmla="*/ 49552 w 4519987"/>
                  <a:gd name="connsiteY83" fmla="*/ 1781175 h 4487372"/>
                  <a:gd name="connsiteX84" fmla="*/ 59077 w 4519987"/>
                  <a:gd name="connsiteY84" fmla="*/ 1743075 h 4487372"/>
                  <a:gd name="connsiteX85" fmla="*/ 78127 w 4519987"/>
                  <a:gd name="connsiteY85" fmla="*/ 1685925 h 4487372"/>
                  <a:gd name="connsiteX86" fmla="*/ 87652 w 4519987"/>
                  <a:gd name="connsiteY86" fmla="*/ 1638300 h 4487372"/>
                  <a:gd name="connsiteX87" fmla="*/ 106702 w 4519987"/>
                  <a:gd name="connsiteY87" fmla="*/ 1590675 h 4487372"/>
                  <a:gd name="connsiteX88" fmla="*/ 135277 w 4519987"/>
                  <a:gd name="connsiteY88" fmla="*/ 1504950 h 4487372"/>
                  <a:gd name="connsiteX89" fmla="*/ 154327 w 4519987"/>
                  <a:gd name="connsiteY89" fmla="*/ 1419225 h 4487372"/>
                  <a:gd name="connsiteX90" fmla="*/ 230527 w 4519987"/>
                  <a:gd name="connsiteY90" fmla="*/ 1276350 h 4487372"/>
                  <a:gd name="connsiteX91" fmla="*/ 240052 w 4519987"/>
                  <a:gd name="connsiteY91" fmla="*/ 1247775 h 4487372"/>
                  <a:gd name="connsiteX92" fmla="*/ 268627 w 4519987"/>
                  <a:gd name="connsiteY92" fmla="*/ 1200150 h 4487372"/>
                  <a:gd name="connsiteX93" fmla="*/ 287677 w 4519987"/>
                  <a:gd name="connsiteY93" fmla="*/ 1152525 h 4487372"/>
                  <a:gd name="connsiteX94" fmla="*/ 316252 w 4519987"/>
                  <a:gd name="connsiteY94" fmla="*/ 1114425 h 4487372"/>
                  <a:gd name="connsiteX95" fmla="*/ 363877 w 4519987"/>
                  <a:gd name="connsiteY95" fmla="*/ 1038225 h 4487372"/>
                  <a:gd name="connsiteX96" fmla="*/ 382927 w 4519987"/>
                  <a:gd name="connsiteY96" fmla="*/ 1009650 h 4487372"/>
                  <a:gd name="connsiteX97" fmla="*/ 440077 w 4519987"/>
                  <a:gd name="connsiteY97" fmla="*/ 904875 h 4487372"/>
                  <a:gd name="connsiteX98" fmla="*/ 478177 w 4519987"/>
                  <a:gd name="connsiteY98" fmla="*/ 857250 h 4487372"/>
                  <a:gd name="connsiteX99" fmla="*/ 497227 w 4519987"/>
                  <a:gd name="connsiteY99" fmla="*/ 828675 h 4487372"/>
                  <a:gd name="connsiteX100" fmla="*/ 535327 w 4519987"/>
                  <a:gd name="connsiteY100" fmla="*/ 800100 h 4487372"/>
                  <a:gd name="connsiteX101" fmla="*/ 602002 w 4519987"/>
                  <a:gd name="connsiteY101" fmla="*/ 733425 h 4487372"/>
                  <a:gd name="connsiteX102" fmla="*/ 668677 w 4519987"/>
                  <a:gd name="connsiteY102" fmla="*/ 676275 h 4487372"/>
                  <a:gd name="connsiteX103" fmla="*/ 697252 w 4519987"/>
                  <a:gd name="connsiteY103" fmla="*/ 657225 h 4487372"/>
                  <a:gd name="connsiteX104" fmla="*/ 840127 w 4519987"/>
                  <a:gd name="connsiteY104" fmla="*/ 533400 h 4487372"/>
                  <a:gd name="connsiteX105" fmla="*/ 887752 w 4519987"/>
                  <a:gd name="connsiteY105" fmla="*/ 504825 h 4487372"/>
                  <a:gd name="connsiteX106" fmla="*/ 1167152 w 4519987"/>
                  <a:gd name="connsiteY106" fmla="*/ 311150 h 4487372"/>
                  <a:gd name="connsiteX107" fmla="*/ 1268752 w 4519987"/>
                  <a:gd name="connsiteY107" fmla="*/ 285750 h 4487372"/>
                  <a:gd name="connsiteX108" fmla="*/ 1411627 w 4519987"/>
                  <a:gd name="connsiteY108" fmla="*/ 190500 h 4487372"/>
                  <a:gd name="connsiteX109" fmla="*/ 1449727 w 4519987"/>
                  <a:gd name="connsiteY109" fmla="*/ 161925 h 4487372"/>
                  <a:gd name="connsiteX110" fmla="*/ 1525927 w 4519987"/>
                  <a:gd name="connsiteY110" fmla="*/ 152400 h 4487372"/>
                  <a:gd name="connsiteX111" fmla="*/ 1583077 w 4519987"/>
                  <a:gd name="connsiteY111" fmla="*/ 142875 h 4487372"/>
                  <a:gd name="connsiteX112" fmla="*/ 1716427 w 4519987"/>
                  <a:gd name="connsiteY112" fmla="*/ 123825 h 4487372"/>
                  <a:gd name="connsiteX113" fmla="*/ 1811677 w 4519987"/>
                  <a:gd name="connsiteY113" fmla="*/ 114300 h 4487372"/>
                  <a:gd name="connsiteX114" fmla="*/ 1859302 w 4519987"/>
                  <a:gd name="connsiteY114" fmla="*/ 104775 h 4487372"/>
                  <a:gd name="connsiteX115" fmla="*/ 1916452 w 4519987"/>
                  <a:gd name="connsiteY115" fmla="*/ 95250 h 4487372"/>
                  <a:gd name="connsiteX116" fmla="*/ 2030752 w 4519987"/>
                  <a:gd name="connsiteY116" fmla="*/ 66675 h 4487372"/>
                  <a:gd name="connsiteX117" fmla="*/ 2097427 w 4519987"/>
                  <a:gd name="connsiteY117" fmla="*/ 47625 h 4487372"/>
                  <a:gd name="connsiteX118" fmla="*/ 2164102 w 4519987"/>
                  <a:gd name="connsiteY118" fmla="*/ 38100 h 4487372"/>
                  <a:gd name="connsiteX119" fmla="*/ 2392702 w 4519987"/>
                  <a:gd name="connsiteY119" fmla="*/ 28575 h 4487372"/>
                  <a:gd name="connsiteX0" fmla="*/ 2297452 w 4519987"/>
                  <a:gd name="connsiteY0" fmla="*/ 0 h 4476750"/>
                  <a:gd name="connsiteX1" fmla="*/ 2421277 w 4519987"/>
                  <a:gd name="connsiteY1" fmla="*/ 28575 h 4476750"/>
                  <a:gd name="connsiteX2" fmla="*/ 2497477 w 4519987"/>
                  <a:gd name="connsiteY2" fmla="*/ 47625 h 4476750"/>
                  <a:gd name="connsiteX3" fmla="*/ 2754652 w 4519987"/>
                  <a:gd name="connsiteY3" fmla="*/ 66675 h 4476750"/>
                  <a:gd name="connsiteX4" fmla="*/ 2830852 w 4519987"/>
                  <a:gd name="connsiteY4" fmla="*/ 76200 h 4476750"/>
                  <a:gd name="connsiteX5" fmla="*/ 2916577 w 4519987"/>
                  <a:gd name="connsiteY5" fmla="*/ 85725 h 4476750"/>
                  <a:gd name="connsiteX6" fmla="*/ 2973727 w 4519987"/>
                  <a:gd name="connsiteY6" fmla="*/ 114300 h 4476750"/>
                  <a:gd name="connsiteX7" fmla="*/ 3011827 w 4519987"/>
                  <a:gd name="connsiteY7" fmla="*/ 123825 h 4476750"/>
                  <a:gd name="connsiteX8" fmla="*/ 3135652 w 4519987"/>
                  <a:gd name="connsiteY8" fmla="*/ 171450 h 4476750"/>
                  <a:gd name="connsiteX9" fmla="*/ 3173752 w 4519987"/>
                  <a:gd name="connsiteY9" fmla="*/ 190500 h 4476750"/>
                  <a:gd name="connsiteX10" fmla="*/ 3240427 w 4519987"/>
                  <a:gd name="connsiteY10" fmla="*/ 228600 h 4476750"/>
                  <a:gd name="connsiteX11" fmla="*/ 3269002 w 4519987"/>
                  <a:gd name="connsiteY11" fmla="*/ 238125 h 4476750"/>
                  <a:gd name="connsiteX12" fmla="*/ 3297577 w 4519987"/>
                  <a:gd name="connsiteY12" fmla="*/ 257175 h 4476750"/>
                  <a:gd name="connsiteX13" fmla="*/ 3326152 w 4519987"/>
                  <a:gd name="connsiteY13" fmla="*/ 266700 h 4476750"/>
                  <a:gd name="connsiteX14" fmla="*/ 3354727 w 4519987"/>
                  <a:gd name="connsiteY14" fmla="*/ 285750 h 4476750"/>
                  <a:gd name="connsiteX15" fmla="*/ 3421402 w 4519987"/>
                  <a:gd name="connsiteY15" fmla="*/ 323850 h 4476750"/>
                  <a:gd name="connsiteX16" fmla="*/ 3469027 w 4519987"/>
                  <a:gd name="connsiteY16" fmla="*/ 361950 h 4476750"/>
                  <a:gd name="connsiteX17" fmla="*/ 3516652 w 4519987"/>
                  <a:gd name="connsiteY17" fmla="*/ 390525 h 4476750"/>
                  <a:gd name="connsiteX18" fmla="*/ 3630952 w 4519987"/>
                  <a:gd name="connsiteY18" fmla="*/ 485775 h 4476750"/>
                  <a:gd name="connsiteX19" fmla="*/ 3745252 w 4519987"/>
                  <a:gd name="connsiteY19" fmla="*/ 542925 h 4476750"/>
                  <a:gd name="connsiteX20" fmla="*/ 3811927 w 4519987"/>
                  <a:gd name="connsiteY20" fmla="*/ 581025 h 4476750"/>
                  <a:gd name="connsiteX21" fmla="*/ 4027827 w 4519987"/>
                  <a:gd name="connsiteY21" fmla="*/ 819150 h 4476750"/>
                  <a:gd name="connsiteX22" fmla="*/ 4164352 w 4519987"/>
                  <a:gd name="connsiteY22" fmla="*/ 990600 h 4476750"/>
                  <a:gd name="connsiteX23" fmla="*/ 4250077 w 4519987"/>
                  <a:gd name="connsiteY23" fmla="*/ 1143000 h 4476750"/>
                  <a:gd name="connsiteX24" fmla="*/ 4307227 w 4519987"/>
                  <a:gd name="connsiteY24" fmla="*/ 1266825 h 4476750"/>
                  <a:gd name="connsiteX25" fmla="*/ 4345327 w 4519987"/>
                  <a:gd name="connsiteY25" fmla="*/ 1362075 h 4476750"/>
                  <a:gd name="connsiteX26" fmla="*/ 4392952 w 4519987"/>
                  <a:gd name="connsiteY26" fmla="*/ 1552575 h 4476750"/>
                  <a:gd name="connsiteX27" fmla="*/ 4431052 w 4519987"/>
                  <a:gd name="connsiteY27" fmla="*/ 1685925 h 4476750"/>
                  <a:gd name="connsiteX28" fmla="*/ 4519952 w 4519987"/>
                  <a:gd name="connsiteY28" fmla="*/ 2181225 h 4476750"/>
                  <a:gd name="connsiteX29" fmla="*/ 4446927 w 4519987"/>
                  <a:gd name="connsiteY29" fmla="*/ 2768600 h 4476750"/>
                  <a:gd name="connsiteX30" fmla="*/ 4383427 w 4519987"/>
                  <a:gd name="connsiteY30" fmla="*/ 2990850 h 4476750"/>
                  <a:gd name="connsiteX31" fmla="*/ 4278652 w 4519987"/>
                  <a:gd name="connsiteY31" fmla="*/ 3248025 h 4476750"/>
                  <a:gd name="connsiteX32" fmla="*/ 4183402 w 4519987"/>
                  <a:gd name="connsiteY32" fmla="*/ 3400425 h 4476750"/>
                  <a:gd name="connsiteX33" fmla="*/ 4059577 w 4519987"/>
                  <a:gd name="connsiteY33" fmla="*/ 3533775 h 4476750"/>
                  <a:gd name="connsiteX34" fmla="*/ 3954802 w 4519987"/>
                  <a:gd name="connsiteY34" fmla="*/ 3648075 h 4476750"/>
                  <a:gd name="connsiteX35" fmla="*/ 3659527 w 4519987"/>
                  <a:gd name="connsiteY35" fmla="*/ 3971925 h 4476750"/>
                  <a:gd name="connsiteX36" fmla="*/ 3516652 w 4519987"/>
                  <a:gd name="connsiteY36" fmla="*/ 4083050 h 4476750"/>
                  <a:gd name="connsiteX37" fmla="*/ 3221377 w 4519987"/>
                  <a:gd name="connsiteY37" fmla="*/ 4222750 h 4476750"/>
                  <a:gd name="connsiteX38" fmla="*/ 3068977 w 4519987"/>
                  <a:gd name="connsiteY38" fmla="*/ 4286250 h 4476750"/>
                  <a:gd name="connsiteX39" fmla="*/ 2935627 w 4519987"/>
                  <a:gd name="connsiteY39" fmla="*/ 4333875 h 4476750"/>
                  <a:gd name="connsiteX40" fmla="*/ 2811802 w 4519987"/>
                  <a:gd name="connsiteY40" fmla="*/ 4371975 h 4476750"/>
                  <a:gd name="connsiteX41" fmla="*/ 2745127 w 4519987"/>
                  <a:gd name="connsiteY41" fmla="*/ 4410075 h 4476750"/>
                  <a:gd name="connsiteX42" fmla="*/ 2640352 w 4519987"/>
                  <a:gd name="connsiteY42" fmla="*/ 4457700 h 4476750"/>
                  <a:gd name="connsiteX43" fmla="*/ 2306977 w 4519987"/>
                  <a:gd name="connsiteY43" fmla="*/ 4476750 h 4476750"/>
                  <a:gd name="connsiteX44" fmla="*/ 2202202 w 4519987"/>
                  <a:gd name="connsiteY44" fmla="*/ 4457700 h 4476750"/>
                  <a:gd name="connsiteX45" fmla="*/ 2126002 w 4519987"/>
                  <a:gd name="connsiteY45" fmla="*/ 4429125 h 4476750"/>
                  <a:gd name="connsiteX46" fmla="*/ 1935502 w 4519987"/>
                  <a:gd name="connsiteY46" fmla="*/ 4400550 h 4476750"/>
                  <a:gd name="connsiteX47" fmla="*/ 1821202 w 4519987"/>
                  <a:gd name="connsiteY47" fmla="*/ 4371975 h 4476750"/>
                  <a:gd name="connsiteX48" fmla="*/ 1754527 w 4519987"/>
                  <a:gd name="connsiteY48" fmla="*/ 4352925 h 4476750"/>
                  <a:gd name="connsiteX49" fmla="*/ 1687852 w 4519987"/>
                  <a:gd name="connsiteY49" fmla="*/ 4343400 h 4476750"/>
                  <a:gd name="connsiteX50" fmla="*/ 1573552 w 4519987"/>
                  <a:gd name="connsiteY50" fmla="*/ 4305300 h 4476750"/>
                  <a:gd name="connsiteX51" fmla="*/ 1402102 w 4519987"/>
                  <a:gd name="connsiteY51" fmla="*/ 4276725 h 4476750"/>
                  <a:gd name="connsiteX52" fmla="*/ 1287802 w 4519987"/>
                  <a:gd name="connsiteY52" fmla="*/ 4229100 h 4476750"/>
                  <a:gd name="connsiteX53" fmla="*/ 1221127 w 4519987"/>
                  <a:gd name="connsiteY53" fmla="*/ 4200525 h 4476750"/>
                  <a:gd name="connsiteX54" fmla="*/ 1144927 w 4519987"/>
                  <a:gd name="connsiteY54" fmla="*/ 4171950 h 4476750"/>
                  <a:gd name="connsiteX55" fmla="*/ 1087777 w 4519987"/>
                  <a:gd name="connsiteY55" fmla="*/ 4143375 h 4476750"/>
                  <a:gd name="connsiteX56" fmla="*/ 1030627 w 4519987"/>
                  <a:gd name="connsiteY56" fmla="*/ 4124325 h 4476750"/>
                  <a:gd name="connsiteX57" fmla="*/ 925852 w 4519987"/>
                  <a:gd name="connsiteY57" fmla="*/ 4067175 h 4476750"/>
                  <a:gd name="connsiteX58" fmla="*/ 830602 w 4519987"/>
                  <a:gd name="connsiteY58" fmla="*/ 3981450 h 4476750"/>
                  <a:gd name="connsiteX59" fmla="*/ 763927 w 4519987"/>
                  <a:gd name="connsiteY59" fmla="*/ 3914775 h 4476750"/>
                  <a:gd name="connsiteX60" fmla="*/ 725827 w 4519987"/>
                  <a:gd name="connsiteY60" fmla="*/ 3876675 h 4476750"/>
                  <a:gd name="connsiteX61" fmla="*/ 697252 w 4519987"/>
                  <a:gd name="connsiteY61" fmla="*/ 3838575 h 4476750"/>
                  <a:gd name="connsiteX62" fmla="*/ 640102 w 4519987"/>
                  <a:gd name="connsiteY62" fmla="*/ 3781425 h 4476750"/>
                  <a:gd name="connsiteX63" fmla="*/ 611527 w 4519987"/>
                  <a:gd name="connsiteY63" fmla="*/ 3733800 h 4476750"/>
                  <a:gd name="connsiteX64" fmla="*/ 554377 w 4519987"/>
                  <a:gd name="connsiteY64" fmla="*/ 3657600 h 4476750"/>
                  <a:gd name="connsiteX65" fmla="*/ 525802 w 4519987"/>
                  <a:gd name="connsiteY65" fmla="*/ 3609975 h 4476750"/>
                  <a:gd name="connsiteX66" fmla="*/ 497227 w 4519987"/>
                  <a:gd name="connsiteY66" fmla="*/ 3552825 h 4476750"/>
                  <a:gd name="connsiteX67" fmla="*/ 440077 w 4519987"/>
                  <a:gd name="connsiteY67" fmla="*/ 3495675 h 4476750"/>
                  <a:gd name="connsiteX68" fmla="*/ 411502 w 4519987"/>
                  <a:gd name="connsiteY68" fmla="*/ 3448050 h 4476750"/>
                  <a:gd name="connsiteX69" fmla="*/ 278152 w 4519987"/>
                  <a:gd name="connsiteY69" fmla="*/ 3257550 h 4476750"/>
                  <a:gd name="connsiteX70" fmla="*/ 249577 w 4519987"/>
                  <a:gd name="connsiteY70" fmla="*/ 3200400 h 4476750"/>
                  <a:gd name="connsiteX71" fmla="*/ 240052 w 4519987"/>
                  <a:gd name="connsiteY71" fmla="*/ 3162300 h 4476750"/>
                  <a:gd name="connsiteX72" fmla="*/ 221002 w 4519987"/>
                  <a:gd name="connsiteY72" fmla="*/ 3105150 h 4476750"/>
                  <a:gd name="connsiteX73" fmla="*/ 173377 w 4519987"/>
                  <a:gd name="connsiteY73" fmla="*/ 3019425 h 4476750"/>
                  <a:gd name="connsiteX74" fmla="*/ 144802 w 4519987"/>
                  <a:gd name="connsiteY74" fmla="*/ 2924175 h 4476750"/>
                  <a:gd name="connsiteX75" fmla="*/ 68602 w 4519987"/>
                  <a:gd name="connsiteY75" fmla="*/ 2724150 h 4476750"/>
                  <a:gd name="connsiteX76" fmla="*/ 49552 w 4519987"/>
                  <a:gd name="connsiteY76" fmla="*/ 2638425 h 4476750"/>
                  <a:gd name="connsiteX77" fmla="*/ 40027 w 4519987"/>
                  <a:gd name="connsiteY77" fmla="*/ 2562225 h 4476750"/>
                  <a:gd name="connsiteX78" fmla="*/ 30502 w 4519987"/>
                  <a:gd name="connsiteY78" fmla="*/ 2514600 h 4476750"/>
                  <a:gd name="connsiteX79" fmla="*/ 11452 w 4519987"/>
                  <a:gd name="connsiteY79" fmla="*/ 2400300 h 4476750"/>
                  <a:gd name="connsiteX80" fmla="*/ 20977 w 4519987"/>
                  <a:gd name="connsiteY80" fmla="*/ 1905000 h 4476750"/>
                  <a:gd name="connsiteX81" fmla="*/ 30502 w 4519987"/>
                  <a:gd name="connsiteY81" fmla="*/ 1838325 h 4476750"/>
                  <a:gd name="connsiteX82" fmla="*/ 49552 w 4519987"/>
                  <a:gd name="connsiteY82" fmla="*/ 1781175 h 4476750"/>
                  <a:gd name="connsiteX83" fmla="*/ 59077 w 4519987"/>
                  <a:gd name="connsiteY83" fmla="*/ 1743075 h 4476750"/>
                  <a:gd name="connsiteX84" fmla="*/ 78127 w 4519987"/>
                  <a:gd name="connsiteY84" fmla="*/ 1685925 h 4476750"/>
                  <a:gd name="connsiteX85" fmla="*/ 87652 w 4519987"/>
                  <a:gd name="connsiteY85" fmla="*/ 1638300 h 4476750"/>
                  <a:gd name="connsiteX86" fmla="*/ 106702 w 4519987"/>
                  <a:gd name="connsiteY86" fmla="*/ 1590675 h 4476750"/>
                  <a:gd name="connsiteX87" fmla="*/ 135277 w 4519987"/>
                  <a:gd name="connsiteY87" fmla="*/ 1504950 h 4476750"/>
                  <a:gd name="connsiteX88" fmla="*/ 154327 w 4519987"/>
                  <a:gd name="connsiteY88" fmla="*/ 1419225 h 4476750"/>
                  <a:gd name="connsiteX89" fmla="*/ 230527 w 4519987"/>
                  <a:gd name="connsiteY89" fmla="*/ 1276350 h 4476750"/>
                  <a:gd name="connsiteX90" fmla="*/ 240052 w 4519987"/>
                  <a:gd name="connsiteY90" fmla="*/ 1247775 h 4476750"/>
                  <a:gd name="connsiteX91" fmla="*/ 268627 w 4519987"/>
                  <a:gd name="connsiteY91" fmla="*/ 1200150 h 4476750"/>
                  <a:gd name="connsiteX92" fmla="*/ 287677 w 4519987"/>
                  <a:gd name="connsiteY92" fmla="*/ 1152525 h 4476750"/>
                  <a:gd name="connsiteX93" fmla="*/ 316252 w 4519987"/>
                  <a:gd name="connsiteY93" fmla="*/ 1114425 h 4476750"/>
                  <a:gd name="connsiteX94" fmla="*/ 363877 w 4519987"/>
                  <a:gd name="connsiteY94" fmla="*/ 1038225 h 4476750"/>
                  <a:gd name="connsiteX95" fmla="*/ 382927 w 4519987"/>
                  <a:gd name="connsiteY95" fmla="*/ 1009650 h 4476750"/>
                  <a:gd name="connsiteX96" fmla="*/ 440077 w 4519987"/>
                  <a:gd name="connsiteY96" fmla="*/ 904875 h 4476750"/>
                  <a:gd name="connsiteX97" fmla="*/ 478177 w 4519987"/>
                  <a:gd name="connsiteY97" fmla="*/ 857250 h 4476750"/>
                  <a:gd name="connsiteX98" fmla="*/ 497227 w 4519987"/>
                  <a:gd name="connsiteY98" fmla="*/ 828675 h 4476750"/>
                  <a:gd name="connsiteX99" fmla="*/ 535327 w 4519987"/>
                  <a:gd name="connsiteY99" fmla="*/ 800100 h 4476750"/>
                  <a:gd name="connsiteX100" fmla="*/ 602002 w 4519987"/>
                  <a:gd name="connsiteY100" fmla="*/ 733425 h 4476750"/>
                  <a:gd name="connsiteX101" fmla="*/ 668677 w 4519987"/>
                  <a:gd name="connsiteY101" fmla="*/ 676275 h 4476750"/>
                  <a:gd name="connsiteX102" fmla="*/ 697252 w 4519987"/>
                  <a:gd name="connsiteY102" fmla="*/ 657225 h 4476750"/>
                  <a:gd name="connsiteX103" fmla="*/ 840127 w 4519987"/>
                  <a:gd name="connsiteY103" fmla="*/ 533400 h 4476750"/>
                  <a:gd name="connsiteX104" fmla="*/ 887752 w 4519987"/>
                  <a:gd name="connsiteY104" fmla="*/ 504825 h 4476750"/>
                  <a:gd name="connsiteX105" fmla="*/ 1167152 w 4519987"/>
                  <a:gd name="connsiteY105" fmla="*/ 311150 h 4476750"/>
                  <a:gd name="connsiteX106" fmla="*/ 1268752 w 4519987"/>
                  <a:gd name="connsiteY106" fmla="*/ 285750 h 4476750"/>
                  <a:gd name="connsiteX107" fmla="*/ 1411627 w 4519987"/>
                  <a:gd name="connsiteY107" fmla="*/ 190500 h 4476750"/>
                  <a:gd name="connsiteX108" fmla="*/ 1449727 w 4519987"/>
                  <a:gd name="connsiteY108" fmla="*/ 161925 h 4476750"/>
                  <a:gd name="connsiteX109" fmla="*/ 1525927 w 4519987"/>
                  <a:gd name="connsiteY109" fmla="*/ 152400 h 4476750"/>
                  <a:gd name="connsiteX110" fmla="*/ 1583077 w 4519987"/>
                  <a:gd name="connsiteY110" fmla="*/ 142875 h 4476750"/>
                  <a:gd name="connsiteX111" fmla="*/ 1716427 w 4519987"/>
                  <a:gd name="connsiteY111" fmla="*/ 123825 h 4476750"/>
                  <a:gd name="connsiteX112" fmla="*/ 1811677 w 4519987"/>
                  <a:gd name="connsiteY112" fmla="*/ 114300 h 4476750"/>
                  <a:gd name="connsiteX113" fmla="*/ 1859302 w 4519987"/>
                  <a:gd name="connsiteY113" fmla="*/ 104775 h 4476750"/>
                  <a:gd name="connsiteX114" fmla="*/ 1916452 w 4519987"/>
                  <a:gd name="connsiteY114" fmla="*/ 95250 h 4476750"/>
                  <a:gd name="connsiteX115" fmla="*/ 2030752 w 4519987"/>
                  <a:gd name="connsiteY115" fmla="*/ 66675 h 4476750"/>
                  <a:gd name="connsiteX116" fmla="*/ 2097427 w 4519987"/>
                  <a:gd name="connsiteY116" fmla="*/ 47625 h 4476750"/>
                  <a:gd name="connsiteX117" fmla="*/ 2164102 w 4519987"/>
                  <a:gd name="connsiteY117" fmla="*/ 38100 h 4476750"/>
                  <a:gd name="connsiteX118" fmla="*/ 2392702 w 4519987"/>
                  <a:gd name="connsiteY118" fmla="*/ 28575 h 4476750"/>
                  <a:gd name="connsiteX0" fmla="*/ 2297452 w 4519987"/>
                  <a:gd name="connsiteY0" fmla="*/ 0 h 4478541"/>
                  <a:gd name="connsiteX1" fmla="*/ 2421277 w 4519987"/>
                  <a:gd name="connsiteY1" fmla="*/ 28575 h 4478541"/>
                  <a:gd name="connsiteX2" fmla="*/ 2497477 w 4519987"/>
                  <a:gd name="connsiteY2" fmla="*/ 47625 h 4478541"/>
                  <a:gd name="connsiteX3" fmla="*/ 2754652 w 4519987"/>
                  <a:gd name="connsiteY3" fmla="*/ 66675 h 4478541"/>
                  <a:gd name="connsiteX4" fmla="*/ 2830852 w 4519987"/>
                  <a:gd name="connsiteY4" fmla="*/ 76200 h 4478541"/>
                  <a:gd name="connsiteX5" fmla="*/ 2916577 w 4519987"/>
                  <a:gd name="connsiteY5" fmla="*/ 85725 h 4478541"/>
                  <a:gd name="connsiteX6" fmla="*/ 2973727 w 4519987"/>
                  <a:gd name="connsiteY6" fmla="*/ 114300 h 4478541"/>
                  <a:gd name="connsiteX7" fmla="*/ 3011827 w 4519987"/>
                  <a:gd name="connsiteY7" fmla="*/ 123825 h 4478541"/>
                  <a:gd name="connsiteX8" fmla="*/ 3135652 w 4519987"/>
                  <a:gd name="connsiteY8" fmla="*/ 171450 h 4478541"/>
                  <a:gd name="connsiteX9" fmla="*/ 3173752 w 4519987"/>
                  <a:gd name="connsiteY9" fmla="*/ 190500 h 4478541"/>
                  <a:gd name="connsiteX10" fmla="*/ 3240427 w 4519987"/>
                  <a:gd name="connsiteY10" fmla="*/ 228600 h 4478541"/>
                  <a:gd name="connsiteX11" fmla="*/ 3269002 w 4519987"/>
                  <a:gd name="connsiteY11" fmla="*/ 238125 h 4478541"/>
                  <a:gd name="connsiteX12" fmla="*/ 3297577 w 4519987"/>
                  <a:gd name="connsiteY12" fmla="*/ 257175 h 4478541"/>
                  <a:gd name="connsiteX13" fmla="*/ 3326152 w 4519987"/>
                  <a:gd name="connsiteY13" fmla="*/ 266700 h 4478541"/>
                  <a:gd name="connsiteX14" fmla="*/ 3354727 w 4519987"/>
                  <a:gd name="connsiteY14" fmla="*/ 285750 h 4478541"/>
                  <a:gd name="connsiteX15" fmla="*/ 3421402 w 4519987"/>
                  <a:gd name="connsiteY15" fmla="*/ 323850 h 4478541"/>
                  <a:gd name="connsiteX16" fmla="*/ 3469027 w 4519987"/>
                  <a:gd name="connsiteY16" fmla="*/ 361950 h 4478541"/>
                  <a:gd name="connsiteX17" fmla="*/ 3516652 w 4519987"/>
                  <a:gd name="connsiteY17" fmla="*/ 390525 h 4478541"/>
                  <a:gd name="connsiteX18" fmla="*/ 3630952 w 4519987"/>
                  <a:gd name="connsiteY18" fmla="*/ 485775 h 4478541"/>
                  <a:gd name="connsiteX19" fmla="*/ 3745252 w 4519987"/>
                  <a:gd name="connsiteY19" fmla="*/ 542925 h 4478541"/>
                  <a:gd name="connsiteX20" fmla="*/ 3811927 w 4519987"/>
                  <a:gd name="connsiteY20" fmla="*/ 581025 h 4478541"/>
                  <a:gd name="connsiteX21" fmla="*/ 4027827 w 4519987"/>
                  <a:gd name="connsiteY21" fmla="*/ 819150 h 4478541"/>
                  <a:gd name="connsiteX22" fmla="*/ 4164352 w 4519987"/>
                  <a:gd name="connsiteY22" fmla="*/ 990600 h 4478541"/>
                  <a:gd name="connsiteX23" fmla="*/ 4250077 w 4519987"/>
                  <a:gd name="connsiteY23" fmla="*/ 1143000 h 4478541"/>
                  <a:gd name="connsiteX24" fmla="*/ 4307227 w 4519987"/>
                  <a:gd name="connsiteY24" fmla="*/ 1266825 h 4478541"/>
                  <a:gd name="connsiteX25" fmla="*/ 4345327 w 4519987"/>
                  <a:gd name="connsiteY25" fmla="*/ 1362075 h 4478541"/>
                  <a:gd name="connsiteX26" fmla="*/ 4392952 w 4519987"/>
                  <a:gd name="connsiteY26" fmla="*/ 1552575 h 4478541"/>
                  <a:gd name="connsiteX27" fmla="*/ 4431052 w 4519987"/>
                  <a:gd name="connsiteY27" fmla="*/ 1685925 h 4478541"/>
                  <a:gd name="connsiteX28" fmla="*/ 4519952 w 4519987"/>
                  <a:gd name="connsiteY28" fmla="*/ 2181225 h 4478541"/>
                  <a:gd name="connsiteX29" fmla="*/ 4446927 w 4519987"/>
                  <a:gd name="connsiteY29" fmla="*/ 2768600 h 4478541"/>
                  <a:gd name="connsiteX30" fmla="*/ 4383427 w 4519987"/>
                  <a:gd name="connsiteY30" fmla="*/ 2990850 h 4478541"/>
                  <a:gd name="connsiteX31" fmla="*/ 4278652 w 4519987"/>
                  <a:gd name="connsiteY31" fmla="*/ 3248025 h 4478541"/>
                  <a:gd name="connsiteX32" fmla="*/ 4183402 w 4519987"/>
                  <a:gd name="connsiteY32" fmla="*/ 3400425 h 4478541"/>
                  <a:gd name="connsiteX33" fmla="*/ 4059577 w 4519987"/>
                  <a:gd name="connsiteY33" fmla="*/ 3533775 h 4478541"/>
                  <a:gd name="connsiteX34" fmla="*/ 3954802 w 4519987"/>
                  <a:gd name="connsiteY34" fmla="*/ 3648075 h 4478541"/>
                  <a:gd name="connsiteX35" fmla="*/ 3659527 w 4519987"/>
                  <a:gd name="connsiteY35" fmla="*/ 3971925 h 4478541"/>
                  <a:gd name="connsiteX36" fmla="*/ 3516652 w 4519987"/>
                  <a:gd name="connsiteY36" fmla="*/ 4083050 h 4478541"/>
                  <a:gd name="connsiteX37" fmla="*/ 3221377 w 4519987"/>
                  <a:gd name="connsiteY37" fmla="*/ 4222750 h 4478541"/>
                  <a:gd name="connsiteX38" fmla="*/ 3068977 w 4519987"/>
                  <a:gd name="connsiteY38" fmla="*/ 4286250 h 4478541"/>
                  <a:gd name="connsiteX39" fmla="*/ 2935627 w 4519987"/>
                  <a:gd name="connsiteY39" fmla="*/ 4333875 h 4478541"/>
                  <a:gd name="connsiteX40" fmla="*/ 2811802 w 4519987"/>
                  <a:gd name="connsiteY40" fmla="*/ 4371975 h 4478541"/>
                  <a:gd name="connsiteX41" fmla="*/ 2745127 w 4519987"/>
                  <a:gd name="connsiteY41" fmla="*/ 4410075 h 4478541"/>
                  <a:gd name="connsiteX42" fmla="*/ 2306977 w 4519987"/>
                  <a:gd name="connsiteY42" fmla="*/ 4476750 h 4478541"/>
                  <a:gd name="connsiteX43" fmla="*/ 2202202 w 4519987"/>
                  <a:gd name="connsiteY43" fmla="*/ 4457700 h 4478541"/>
                  <a:gd name="connsiteX44" fmla="*/ 2126002 w 4519987"/>
                  <a:gd name="connsiteY44" fmla="*/ 4429125 h 4478541"/>
                  <a:gd name="connsiteX45" fmla="*/ 1935502 w 4519987"/>
                  <a:gd name="connsiteY45" fmla="*/ 4400550 h 4478541"/>
                  <a:gd name="connsiteX46" fmla="*/ 1821202 w 4519987"/>
                  <a:gd name="connsiteY46" fmla="*/ 4371975 h 4478541"/>
                  <a:gd name="connsiteX47" fmla="*/ 1754527 w 4519987"/>
                  <a:gd name="connsiteY47" fmla="*/ 4352925 h 4478541"/>
                  <a:gd name="connsiteX48" fmla="*/ 1687852 w 4519987"/>
                  <a:gd name="connsiteY48" fmla="*/ 4343400 h 4478541"/>
                  <a:gd name="connsiteX49" fmla="*/ 1573552 w 4519987"/>
                  <a:gd name="connsiteY49" fmla="*/ 4305300 h 4478541"/>
                  <a:gd name="connsiteX50" fmla="*/ 1402102 w 4519987"/>
                  <a:gd name="connsiteY50" fmla="*/ 4276725 h 4478541"/>
                  <a:gd name="connsiteX51" fmla="*/ 1287802 w 4519987"/>
                  <a:gd name="connsiteY51" fmla="*/ 4229100 h 4478541"/>
                  <a:gd name="connsiteX52" fmla="*/ 1221127 w 4519987"/>
                  <a:gd name="connsiteY52" fmla="*/ 4200525 h 4478541"/>
                  <a:gd name="connsiteX53" fmla="*/ 1144927 w 4519987"/>
                  <a:gd name="connsiteY53" fmla="*/ 4171950 h 4478541"/>
                  <a:gd name="connsiteX54" fmla="*/ 1087777 w 4519987"/>
                  <a:gd name="connsiteY54" fmla="*/ 4143375 h 4478541"/>
                  <a:gd name="connsiteX55" fmla="*/ 1030627 w 4519987"/>
                  <a:gd name="connsiteY55" fmla="*/ 4124325 h 4478541"/>
                  <a:gd name="connsiteX56" fmla="*/ 925852 w 4519987"/>
                  <a:gd name="connsiteY56" fmla="*/ 4067175 h 4478541"/>
                  <a:gd name="connsiteX57" fmla="*/ 830602 w 4519987"/>
                  <a:gd name="connsiteY57" fmla="*/ 3981450 h 4478541"/>
                  <a:gd name="connsiteX58" fmla="*/ 763927 w 4519987"/>
                  <a:gd name="connsiteY58" fmla="*/ 3914775 h 4478541"/>
                  <a:gd name="connsiteX59" fmla="*/ 725827 w 4519987"/>
                  <a:gd name="connsiteY59" fmla="*/ 3876675 h 4478541"/>
                  <a:gd name="connsiteX60" fmla="*/ 697252 w 4519987"/>
                  <a:gd name="connsiteY60" fmla="*/ 3838575 h 4478541"/>
                  <a:gd name="connsiteX61" fmla="*/ 640102 w 4519987"/>
                  <a:gd name="connsiteY61" fmla="*/ 3781425 h 4478541"/>
                  <a:gd name="connsiteX62" fmla="*/ 611527 w 4519987"/>
                  <a:gd name="connsiteY62" fmla="*/ 3733800 h 4478541"/>
                  <a:gd name="connsiteX63" fmla="*/ 554377 w 4519987"/>
                  <a:gd name="connsiteY63" fmla="*/ 3657600 h 4478541"/>
                  <a:gd name="connsiteX64" fmla="*/ 525802 w 4519987"/>
                  <a:gd name="connsiteY64" fmla="*/ 3609975 h 4478541"/>
                  <a:gd name="connsiteX65" fmla="*/ 497227 w 4519987"/>
                  <a:gd name="connsiteY65" fmla="*/ 3552825 h 4478541"/>
                  <a:gd name="connsiteX66" fmla="*/ 440077 w 4519987"/>
                  <a:gd name="connsiteY66" fmla="*/ 3495675 h 4478541"/>
                  <a:gd name="connsiteX67" fmla="*/ 411502 w 4519987"/>
                  <a:gd name="connsiteY67" fmla="*/ 3448050 h 4478541"/>
                  <a:gd name="connsiteX68" fmla="*/ 278152 w 4519987"/>
                  <a:gd name="connsiteY68" fmla="*/ 3257550 h 4478541"/>
                  <a:gd name="connsiteX69" fmla="*/ 249577 w 4519987"/>
                  <a:gd name="connsiteY69" fmla="*/ 3200400 h 4478541"/>
                  <a:gd name="connsiteX70" fmla="*/ 240052 w 4519987"/>
                  <a:gd name="connsiteY70" fmla="*/ 3162300 h 4478541"/>
                  <a:gd name="connsiteX71" fmla="*/ 221002 w 4519987"/>
                  <a:gd name="connsiteY71" fmla="*/ 3105150 h 4478541"/>
                  <a:gd name="connsiteX72" fmla="*/ 173377 w 4519987"/>
                  <a:gd name="connsiteY72" fmla="*/ 3019425 h 4478541"/>
                  <a:gd name="connsiteX73" fmla="*/ 144802 w 4519987"/>
                  <a:gd name="connsiteY73" fmla="*/ 2924175 h 4478541"/>
                  <a:gd name="connsiteX74" fmla="*/ 68602 w 4519987"/>
                  <a:gd name="connsiteY74" fmla="*/ 2724150 h 4478541"/>
                  <a:gd name="connsiteX75" fmla="*/ 49552 w 4519987"/>
                  <a:gd name="connsiteY75" fmla="*/ 2638425 h 4478541"/>
                  <a:gd name="connsiteX76" fmla="*/ 40027 w 4519987"/>
                  <a:gd name="connsiteY76" fmla="*/ 2562225 h 4478541"/>
                  <a:gd name="connsiteX77" fmla="*/ 30502 w 4519987"/>
                  <a:gd name="connsiteY77" fmla="*/ 2514600 h 4478541"/>
                  <a:gd name="connsiteX78" fmla="*/ 11452 w 4519987"/>
                  <a:gd name="connsiteY78" fmla="*/ 2400300 h 4478541"/>
                  <a:gd name="connsiteX79" fmla="*/ 20977 w 4519987"/>
                  <a:gd name="connsiteY79" fmla="*/ 1905000 h 4478541"/>
                  <a:gd name="connsiteX80" fmla="*/ 30502 w 4519987"/>
                  <a:gd name="connsiteY80" fmla="*/ 1838325 h 4478541"/>
                  <a:gd name="connsiteX81" fmla="*/ 49552 w 4519987"/>
                  <a:gd name="connsiteY81" fmla="*/ 1781175 h 4478541"/>
                  <a:gd name="connsiteX82" fmla="*/ 59077 w 4519987"/>
                  <a:gd name="connsiteY82" fmla="*/ 1743075 h 4478541"/>
                  <a:gd name="connsiteX83" fmla="*/ 78127 w 4519987"/>
                  <a:gd name="connsiteY83" fmla="*/ 1685925 h 4478541"/>
                  <a:gd name="connsiteX84" fmla="*/ 87652 w 4519987"/>
                  <a:gd name="connsiteY84" fmla="*/ 1638300 h 4478541"/>
                  <a:gd name="connsiteX85" fmla="*/ 106702 w 4519987"/>
                  <a:gd name="connsiteY85" fmla="*/ 1590675 h 4478541"/>
                  <a:gd name="connsiteX86" fmla="*/ 135277 w 4519987"/>
                  <a:gd name="connsiteY86" fmla="*/ 1504950 h 4478541"/>
                  <a:gd name="connsiteX87" fmla="*/ 154327 w 4519987"/>
                  <a:gd name="connsiteY87" fmla="*/ 1419225 h 4478541"/>
                  <a:gd name="connsiteX88" fmla="*/ 230527 w 4519987"/>
                  <a:gd name="connsiteY88" fmla="*/ 1276350 h 4478541"/>
                  <a:gd name="connsiteX89" fmla="*/ 240052 w 4519987"/>
                  <a:gd name="connsiteY89" fmla="*/ 1247775 h 4478541"/>
                  <a:gd name="connsiteX90" fmla="*/ 268627 w 4519987"/>
                  <a:gd name="connsiteY90" fmla="*/ 1200150 h 4478541"/>
                  <a:gd name="connsiteX91" fmla="*/ 287677 w 4519987"/>
                  <a:gd name="connsiteY91" fmla="*/ 1152525 h 4478541"/>
                  <a:gd name="connsiteX92" fmla="*/ 316252 w 4519987"/>
                  <a:gd name="connsiteY92" fmla="*/ 1114425 h 4478541"/>
                  <a:gd name="connsiteX93" fmla="*/ 363877 w 4519987"/>
                  <a:gd name="connsiteY93" fmla="*/ 1038225 h 4478541"/>
                  <a:gd name="connsiteX94" fmla="*/ 382927 w 4519987"/>
                  <a:gd name="connsiteY94" fmla="*/ 1009650 h 4478541"/>
                  <a:gd name="connsiteX95" fmla="*/ 440077 w 4519987"/>
                  <a:gd name="connsiteY95" fmla="*/ 904875 h 4478541"/>
                  <a:gd name="connsiteX96" fmla="*/ 478177 w 4519987"/>
                  <a:gd name="connsiteY96" fmla="*/ 857250 h 4478541"/>
                  <a:gd name="connsiteX97" fmla="*/ 497227 w 4519987"/>
                  <a:gd name="connsiteY97" fmla="*/ 828675 h 4478541"/>
                  <a:gd name="connsiteX98" fmla="*/ 535327 w 4519987"/>
                  <a:gd name="connsiteY98" fmla="*/ 800100 h 4478541"/>
                  <a:gd name="connsiteX99" fmla="*/ 602002 w 4519987"/>
                  <a:gd name="connsiteY99" fmla="*/ 733425 h 4478541"/>
                  <a:gd name="connsiteX100" fmla="*/ 668677 w 4519987"/>
                  <a:gd name="connsiteY100" fmla="*/ 676275 h 4478541"/>
                  <a:gd name="connsiteX101" fmla="*/ 697252 w 4519987"/>
                  <a:gd name="connsiteY101" fmla="*/ 657225 h 4478541"/>
                  <a:gd name="connsiteX102" fmla="*/ 840127 w 4519987"/>
                  <a:gd name="connsiteY102" fmla="*/ 533400 h 4478541"/>
                  <a:gd name="connsiteX103" fmla="*/ 887752 w 4519987"/>
                  <a:gd name="connsiteY103" fmla="*/ 504825 h 4478541"/>
                  <a:gd name="connsiteX104" fmla="*/ 1167152 w 4519987"/>
                  <a:gd name="connsiteY104" fmla="*/ 311150 h 4478541"/>
                  <a:gd name="connsiteX105" fmla="*/ 1268752 w 4519987"/>
                  <a:gd name="connsiteY105" fmla="*/ 285750 h 4478541"/>
                  <a:gd name="connsiteX106" fmla="*/ 1411627 w 4519987"/>
                  <a:gd name="connsiteY106" fmla="*/ 190500 h 4478541"/>
                  <a:gd name="connsiteX107" fmla="*/ 1449727 w 4519987"/>
                  <a:gd name="connsiteY107" fmla="*/ 161925 h 4478541"/>
                  <a:gd name="connsiteX108" fmla="*/ 1525927 w 4519987"/>
                  <a:gd name="connsiteY108" fmla="*/ 152400 h 4478541"/>
                  <a:gd name="connsiteX109" fmla="*/ 1583077 w 4519987"/>
                  <a:gd name="connsiteY109" fmla="*/ 142875 h 4478541"/>
                  <a:gd name="connsiteX110" fmla="*/ 1716427 w 4519987"/>
                  <a:gd name="connsiteY110" fmla="*/ 123825 h 4478541"/>
                  <a:gd name="connsiteX111" fmla="*/ 1811677 w 4519987"/>
                  <a:gd name="connsiteY111" fmla="*/ 114300 h 4478541"/>
                  <a:gd name="connsiteX112" fmla="*/ 1859302 w 4519987"/>
                  <a:gd name="connsiteY112" fmla="*/ 104775 h 4478541"/>
                  <a:gd name="connsiteX113" fmla="*/ 1916452 w 4519987"/>
                  <a:gd name="connsiteY113" fmla="*/ 95250 h 4478541"/>
                  <a:gd name="connsiteX114" fmla="*/ 2030752 w 4519987"/>
                  <a:gd name="connsiteY114" fmla="*/ 66675 h 4478541"/>
                  <a:gd name="connsiteX115" fmla="*/ 2097427 w 4519987"/>
                  <a:gd name="connsiteY115" fmla="*/ 47625 h 4478541"/>
                  <a:gd name="connsiteX116" fmla="*/ 2164102 w 4519987"/>
                  <a:gd name="connsiteY116" fmla="*/ 38100 h 4478541"/>
                  <a:gd name="connsiteX117" fmla="*/ 2392702 w 4519987"/>
                  <a:gd name="connsiteY117" fmla="*/ 28575 h 4478541"/>
                  <a:gd name="connsiteX0" fmla="*/ 2297452 w 4519987"/>
                  <a:gd name="connsiteY0" fmla="*/ 0 h 4476750"/>
                  <a:gd name="connsiteX1" fmla="*/ 2421277 w 4519987"/>
                  <a:gd name="connsiteY1" fmla="*/ 28575 h 4476750"/>
                  <a:gd name="connsiteX2" fmla="*/ 2497477 w 4519987"/>
                  <a:gd name="connsiteY2" fmla="*/ 47625 h 4476750"/>
                  <a:gd name="connsiteX3" fmla="*/ 2754652 w 4519987"/>
                  <a:gd name="connsiteY3" fmla="*/ 66675 h 4476750"/>
                  <a:gd name="connsiteX4" fmla="*/ 2830852 w 4519987"/>
                  <a:gd name="connsiteY4" fmla="*/ 76200 h 4476750"/>
                  <a:gd name="connsiteX5" fmla="*/ 2916577 w 4519987"/>
                  <a:gd name="connsiteY5" fmla="*/ 85725 h 4476750"/>
                  <a:gd name="connsiteX6" fmla="*/ 2973727 w 4519987"/>
                  <a:gd name="connsiteY6" fmla="*/ 114300 h 4476750"/>
                  <a:gd name="connsiteX7" fmla="*/ 3011827 w 4519987"/>
                  <a:gd name="connsiteY7" fmla="*/ 123825 h 4476750"/>
                  <a:gd name="connsiteX8" fmla="*/ 3135652 w 4519987"/>
                  <a:gd name="connsiteY8" fmla="*/ 171450 h 4476750"/>
                  <a:gd name="connsiteX9" fmla="*/ 3173752 w 4519987"/>
                  <a:gd name="connsiteY9" fmla="*/ 190500 h 4476750"/>
                  <a:gd name="connsiteX10" fmla="*/ 3240427 w 4519987"/>
                  <a:gd name="connsiteY10" fmla="*/ 228600 h 4476750"/>
                  <a:gd name="connsiteX11" fmla="*/ 3269002 w 4519987"/>
                  <a:gd name="connsiteY11" fmla="*/ 238125 h 4476750"/>
                  <a:gd name="connsiteX12" fmla="*/ 3297577 w 4519987"/>
                  <a:gd name="connsiteY12" fmla="*/ 257175 h 4476750"/>
                  <a:gd name="connsiteX13" fmla="*/ 3326152 w 4519987"/>
                  <a:gd name="connsiteY13" fmla="*/ 266700 h 4476750"/>
                  <a:gd name="connsiteX14" fmla="*/ 3354727 w 4519987"/>
                  <a:gd name="connsiteY14" fmla="*/ 285750 h 4476750"/>
                  <a:gd name="connsiteX15" fmla="*/ 3421402 w 4519987"/>
                  <a:gd name="connsiteY15" fmla="*/ 323850 h 4476750"/>
                  <a:gd name="connsiteX16" fmla="*/ 3469027 w 4519987"/>
                  <a:gd name="connsiteY16" fmla="*/ 361950 h 4476750"/>
                  <a:gd name="connsiteX17" fmla="*/ 3516652 w 4519987"/>
                  <a:gd name="connsiteY17" fmla="*/ 390525 h 4476750"/>
                  <a:gd name="connsiteX18" fmla="*/ 3630952 w 4519987"/>
                  <a:gd name="connsiteY18" fmla="*/ 485775 h 4476750"/>
                  <a:gd name="connsiteX19" fmla="*/ 3745252 w 4519987"/>
                  <a:gd name="connsiteY19" fmla="*/ 542925 h 4476750"/>
                  <a:gd name="connsiteX20" fmla="*/ 3811927 w 4519987"/>
                  <a:gd name="connsiteY20" fmla="*/ 581025 h 4476750"/>
                  <a:gd name="connsiteX21" fmla="*/ 4027827 w 4519987"/>
                  <a:gd name="connsiteY21" fmla="*/ 819150 h 4476750"/>
                  <a:gd name="connsiteX22" fmla="*/ 4164352 w 4519987"/>
                  <a:gd name="connsiteY22" fmla="*/ 990600 h 4476750"/>
                  <a:gd name="connsiteX23" fmla="*/ 4250077 w 4519987"/>
                  <a:gd name="connsiteY23" fmla="*/ 1143000 h 4476750"/>
                  <a:gd name="connsiteX24" fmla="*/ 4307227 w 4519987"/>
                  <a:gd name="connsiteY24" fmla="*/ 1266825 h 4476750"/>
                  <a:gd name="connsiteX25" fmla="*/ 4345327 w 4519987"/>
                  <a:gd name="connsiteY25" fmla="*/ 1362075 h 4476750"/>
                  <a:gd name="connsiteX26" fmla="*/ 4392952 w 4519987"/>
                  <a:gd name="connsiteY26" fmla="*/ 1552575 h 4476750"/>
                  <a:gd name="connsiteX27" fmla="*/ 4431052 w 4519987"/>
                  <a:gd name="connsiteY27" fmla="*/ 1685925 h 4476750"/>
                  <a:gd name="connsiteX28" fmla="*/ 4519952 w 4519987"/>
                  <a:gd name="connsiteY28" fmla="*/ 2181225 h 4476750"/>
                  <a:gd name="connsiteX29" fmla="*/ 4446927 w 4519987"/>
                  <a:gd name="connsiteY29" fmla="*/ 2768600 h 4476750"/>
                  <a:gd name="connsiteX30" fmla="*/ 4383427 w 4519987"/>
                  <a:gd name="connsiteY30" fmla="*/ 2990850 h 4476750"/>
                  <a:gd name="connsiteX31" fmla="*/ 4278652 w 4519987"/>
                  <a:gd name="connsiteY31" fmla="*/ 3248025 h 4476750"/>
                  <a:gd name="connsiteX32" fmla="*/ 4183402 w 4519987"/>
                  <a:gd name="connsiteY32" fmla="*/ 3400425 h 4476750"/>
                  <a:gd name="connsiteX33" fmla="*/ 4059577 w 4519987"/>
                  <a:gd name="connsiteY33" fmla="*/ 3533775 h 4476750"/>
                  <a:gd name="connsiteX34" fmla="*/ 3954802 w 4519987"/>
                  <a:gd name="connsiteY34" fmla="*/ 3648075 h 4476750"/>
                  <a:gd name="connsiteX35" fmla="*/ 3659527 w 4519987"/>
                  <a:gd name="connsiteY35" fmla="*/ 3971925 h 4476750"/>
                  <a:gd name="connsiteX36" fmla="*/ 3516652 w 4519987"/>
                  <a:gd name="connsiteY36" fmla="*/ 4083050 h 4476750"/>
                  <a:gd name="connsiteX37" fmla="*/ 3221377 w 4519987"/>
                  <a:gd name="connsiteY37" fmla="*/ 4222750 h 4476750"/>
                  <a:gd name="connsiteX38" fmla="*/ 3068977 w 4519987"/>
                  <a:gd name="connsiteY38" fmla="*/ 4286250 h 4476750"/>
                  <a:gd name="connsiteX39" fmla="*/ 2935627 w 4519987"/>
                  <a:gd name="connsiteY39" fmla="*/ 4333875 h 4476750"/>
                  <a:gd name="connsiteX40" fmla="*/ 2811802 w 4519987"/>
                  <a:gd name="connsiteY40" fmla="*/ 4371975 h 4476750"/>
                  <a:gd name="connsiteX41" fmla="*/ 2580027 w 4519987"/>
                  <a:gd name="connsiteY41" fmla="*/ 4391025 h 4476750"/>
                  <a:gd name="connsiteX42" fmla="*/ 2306977 w 4519987"/>
                  <a:gd name="connsiteY42" fmla="*/ 4476750 h 4476750"/>
                  <a:gd name="connsiteX43" fmla="*/ 2202202 w 4519987"/>
                  <a:gd name="connsiteY43" fmla="*/ 4457700 h 4476750"/>
                  <a:gd name="connsiteX44" fmla="*/ 2126002 w 4519987"/>
                  <a:gd name="connsiteY44" fmla="*/ 4429125 h 4476750"/>
                  <a:gd name="connsiteX45" fmla="*/ 1935502 w 4519987"/>
                  <a:gd name="connsiteY45" fmla="*/ 4400550 h 4476750"/>
                  <a:gd name="connsiteX46" fmla="*/ 1821202 w 4519987"/>
                  <a:gd name="connsiteY46" fmla="*/ 4371975 h 4476750"/>
                  <a:gd name="connsiteX47" fmla="*/ 1754527 w 4519987"/>
                  <a:gd name="connsiteY47" fmla="*/ 4352925 h 4476750"/>
                  <a:gd name="connsiteX48" fmla="*/ 1687852 w 4519987"/>
                  <a:gd name="connsiteY48" fmla="*/ 4343400 h 4476750"/>
                  <a:gd name="connsiteX49" fmla="*/ 1573552 w 4519987"/>
                  <a:gd name="connsiteY49" fmla="*/ 4305300 h 4476750"/>
                  <a:gd name="connsiteX50" fmla="*/ 1402102 w 4519987"/>
                  <a:gd name="connsiteY50" fmla="*/ 4276725 h 4476750"/>
                  <a:gd name="connsiteX51" fmla="*/ 1287802 w 4519987"/>
                  <a:gd name="connsiteY51" fmla="*/ 4229100 h 4476750"/>
                  <a:gd name="connsiteX52" fmla="*/ 1221127 w 4519987"/>
                  <a:gd name="connsiteY52" fmla="*/ 4200525 h 4476750"/>
                  <a:gd name="connsiteX53" fmla="*/ 1144927 w 4519987"/>
                  <a:gd name="connsiteY53" fmla="*/ 4171950 h 4476750"/>
                  <a:gd name="connsiteX54" fmla="*/ 1087777 w 4519987"/>
                  <a:gd name="connsiteY54" fmla="*/ 4143375 h 4476750"/>
                  <a:gd name="connsiteX55" fmla="*/ 1030627 w 4519987"/>
                  <a:gd name="connsiteY55" fmla="*/ 4124325 h 4476750"/>
                  <a:gd name="connsiteX56" fmla="*/ 925852 w 4519987"/>
                  <a:gd name="connsiteY56" fmla="*/ 4067175 h 4476750"/>
                  <a:gd name="connsiteX57" fmla="*/ 830602 w 4519987"/>
                  <a:gd name="connsiteY57" fmla="*/ 3981450 h 4476750"/>
                  <a:gd name="connsiteX58" fmla="*/ 763927 w 4519987"/>
                  <a:gd name="connsiteY58" fmla="*/ 3914775 h 4476750"/>
                  <a:gd name="connsiteX59" fmla="*/ 725827 w 4519987"/>
                  <a:gd name="connsiteY59" fmla="*/ 3876675 h 4476750"/>
                  <a:gd name="connsiteX60" fmla="*/ 697252 w 4519987"/>
                  <a:gd name="connsiteY60" fmla="*/ 3838575 h 4476750"/>
                  <a:gd name="connsiteX61" fmla="*/ 640102 w 4519987"/>
                  <a:gd name="connsiteY61" fmla="*/ 3781425 h 4476750"/>
                  <a:gd name="connsiteX62" fmla="*/ 611527 w 4519987"/>
                  <a:gd name="connsiteY62" fmla="*/ 3733800 h 4476750"/>
                  <a:gd name="connsiteX63" fmla="*/ 554377 w 4519987"/>
                  <a:gd name="connsiteY63" fmla="*/ 3657600 h 4476750"/>
                  <a:gd name="connsiteX64" fmla="*/ 525802 w 4519987"/>
                  <a:gd name="connsiteY64" fmla="*/ 3609975 h 4476750"/>
                  <a:gd name="connsiteX65" fmla="*/ 497227 w 4519987"/>
                  <a:gd name="connsiteY65" fmla="*/ 3552825 h 4476750"/>
                  <a:gd name="connsiteX66" fmla="*/ 440077 w 4519987"/>
                  <a:gd name="connsiteY66" fmla="*/ 3495675 h 4476750"/>
                  <a:gd name="connsiteX67" fmla="*/ 411502 w 4519987"/>
                  <a:gd name="connsiteY67" fmla="*/ 3448050 h 4476750"/>
                  <a:gd name="connsiteX68" fmla="*/ 278152 w 4519987"/>
                  <a:gd name="connsiteY68" fmla="*/ 3257550 h 4476750"/>
                  <a:gd name="connsiteX69" fmla="*/ 249577 w 4519987"/>
                  <a:gd name="connsiteY69" fmla="*/ 3200400 h 4476750"/>
                  <a:gd name="connsiteX70" fmla="*/ 240052 w 4519987"/>
                  <a:gd name="connsiteY70" fmla="*/ 3162300 h 4476750"/>
                  <a:gd name="connsiteX71" fmla="*/ 221002 w 4519987"/>
                  <a:gd name="connsiteY71" fmla="*/ 3105150 h 4476750"/>
                  <a:gd name="connsiteX72" fmla="*/ 173377 w 4519987"/>
                  <a:gd name="connsiteY72" fmla="*/ 3019425 h 4476750"/>
                  <a:gd name="connsiteX73" fmla="*/ 144802 w 4519987"/>
                  <a:gd name="connsiteY73" fmla="*/ 2924175 h 4476750"/>
                  <a:gd name="connsiteX74" fmla="*/ 68602 w 4519987"/>
                  <a:gd name="connsiteY74" fmla="*/ 2724150 h 4476750"/>
                  <a:gd name="connsiteX75" fmla="*/ 49552 w 4519987"/>
                  <a:gd name="connsiteY75" fmla="*/ 2638425 h 4476750"/>
                  <a:gd name="connsiteX76" fmla="*/ 40027 w 4519987"/>
                  <a:gd name="connsiteY76" fmla="*/ 2562225 h 4476750"/>
                  <a:gd name="connsiteX77" fmla="*/ 30502 w 4519987"/>
                  <a:gd name="connsiteY77" fmla="*/ 2514600 h 4476750"/>
                  <a:gd name="connsiteX78" fmla="*/ 11452 w 4519987"/>
                  <a:gd name="connsiteY78" fmla="*/ 2400300 h 4476750"/>
                  <a:gd name="connsiteX79" fmla="*/ 20977 w 4519987"/>
                  <a:gd name="connsiteY79" fmla="*/ 1905000 h 4476750"/>
                  <a:gd name="connsiteX80" fmla="*/ 30502 w 4519987"/>
                  <a:gd name="connsiteY80" fmla="*/ 1838325 h 4476750"/>
                  <a:gd name="connsiteX81" fmla="*/ 49552 w 4519987"/>
                  <a:gd name="connsiteY81" fmla="*/ 1781175 h 4476750"/>
                  <a:gd name="connsiteX82" fmla="*/ 59077 w 4519987"/>
                  <a:gd name="connsiteY82" fmla="*/ 1743075 h 4476750"/>
                  <a:gd name="connsiteX83" fmla="*/ 78127 w 4519987"/>
                  <a:gd name="connsiteY83" fmla="*/ 1685925 h 4476750"/>
                  <a:gd name="connsiteX84" fmla="*/ 87652 w 4519987"/>
                  <a:gd name="connsiteY84" fmla="*/ 1638300 h 4476750"/>
                  <a:gd name="connsiteX85" fmla="*/ 106702 w 4519987"/>
                  <a:gd name="connsiteY85" fmla="*/ 1590675 h 4476750"/>
                  <a:gd name="connsiteX86" fmla="*/ 135277 w 4519987"/>
                  <a:gd name="connsiteY86" fmla="*/ 1504950 h 4476750"/>
                  <a:gd name="connsiteX87" fmla="*/ 154327 w 4519987"/>
                  <a:gd name="connsiteY87" fmla="*/ 1419225 h 4476750"/>
                  <a:gd name="connsiteX88" fmla="*/ 230527 w 4519987"/>
                  <a:gd name="connsiteY88" fmla="*/ 1276350 h 4476750"/>
                  <a:gd name="connsiteX89" fmla="*/ 240052 w 4519987"/>
                  <a:gd name="connsiteY89" fmla="*/ 1247775 h 4476750"/>
                  <a:gd name="connsiteX90" fmla="*/ 268627 w 4519987"/>
                  <a:gd name="connsiteY90" fmla="*/ 1200150 h 4476750"/>
                  <a:gd name="connsiteX91" fmla="*/ 287677 w 4519987"/>
                  <a:gd name="connsiteY91" fmla="*/ 1152525 h 4476750"/>
                  <a:gd name="connsiteX92" fmla="*/ 316252 w 4519987"/>
                  <a:gd name="connsiteY92" fmla="*/ 1114425 h 4476750"/>
                  <a:gd name="connsiteX93" fmla="*/ 363877 w 4519987"/>
                  <a:gd name="connsiteY93" fmla="*/ 1038225 h 4476750"/>
                  <a:gd name="connsiteX94" fmla="*/ 382927 w 4519987"/>
                  <a:gd name="connsiteY94" fmla="*/ 1009650 h 4476750"/>
                  <a:gd name="connsiteX95" fmla="*/ 440077 w 4519987"/>
                  <a:gd name="connsiteY95" fmla="*/ 904875 h 4476750"/>
                  <a:gd name="connsiteX96" fmla="*/ 478177 w 4519987"/>
                  <a:gd name="connsiteY96" fmla="*/ 857250 h 4476750"/>
                  <a:gd name="connsiteX97" fmla="*/ 497227 w 4519987"/>
                  <a:gd name="connsiteY97" fmla="*/ 828675 h 4476750"/>
                  <a:gd name="connsiteX98" fmla="*/ 535327 w 4519987"/>
                  <a:gd name="connsiteY98" fmla="*/ 800100 h 4476750"/>
                  <a:gd name="connsiteX99" fmla="*/ 602002 w 4519987"/>
                  <a:gd name="connsiteY99" fmla="*/ 733425 h 4476750"/>
                  <a:gd name="connsiteX100" fmla="*/ 668677 w 4519987"/>
                  <a:gd name="connsiteY100" fmla="*/ 676275 h 4476750"/>
                  <a:gd name="connsiteX101" fmla="*/ 697252 w 4519987"/>
                  <a:gd name="connsiteY101" fmla="*/ 657225 h 4476750"/>
                  <a:gd name="connsiteX102" fmla="*/ 840127 w 4519987"/>
                  <a:gd name="connsiteY102" fmla="*/ 533400 h 4476750"/>
                  <a:gd name="connsiteX103" fmla="*/ 887752 w 4519987"/>
                  <a:gd name="connsiteY103" fmla="*/ 504825 h 4476750"/>
                  <a:gd name="connsiteX104" fmla="*/ 1167152 w 4519987"/>
                  <a:gd name="connsiteY104" fmla="*/ 311150 h 4476750"/>
                  <a:gd name="connsiteX105" fmla="*/ 1268752 w 4519987"/>
                  <a:gd name="connsiteY105" fmla="*/ 285750 h 4476750"/>
                  <a:gd name="connsiteX106" fmla="*/ 1411627 w 4519987"/>
                  <a:gd name="connsiteY106" fmla="*/ 190500 h 4476750"/>
                  <a:gd name="connsiteX107" fmla="*/ 1449727 w 4519987"/>
                  <a:gd name="connsiteY107" fmla="*/ 161925 h 4476750"/>
                  <a:gd name="connsiteX108" fmla="*/ 1525927 w 4519987"/>
                  <a:gd name="connsiteY108" fmla="*/ 152400 h 4476750"/>
                  <a:gd name="connsiteX109" fmla="*/ 1583077 w 4519987"/>
                  <a:gd name="connsiteY109" fmla="*/ 142875 h 4476750"/>
                  <a:gd name="connsiteX110" fmla="*/ 1716427 w 4519987"/>
                  <a:gd name="connsiteY110" fmla="*/ 123825 h 4476750"/>
                  <a:gd name="connsiteX111" fmla="*/ 1811677 w 4519987"/>
                  <a:gd name="connsiteY111" fmla="*/ 114300 h 4476750"/>
                  <a:gd name="connsiteX112" fmla="*/ 1859302 w 4519987"/>
                  <a:gd name="connsiteY112" fmla="*/ 104775 h 4476750"/>
                  <a:gd name="connsiteX113" fmla="*/ 1916452 w 4519987"/>
                  <a:gd name="connsiteY113" fmla="*/ 95250 h 4476750"/>
                  <a:gd name="connsiteX114" fmla="*/ 2030752 w 4519987"/>
                  <a:gd name="connsiteY114" fmla="*/ 66675 h 4476750"/>
                  <a:gd name="connsiteX115" fmla="*/ 2097427 w 4519987"/>
                  <a:gd name="connsiteY115" fmla="*/ 47625 h 4476750"/>
                  <a:gd name="connsiteX116" fmla="*/ 2164102 w 4519987"/>
                  <a:gd name="connsiteY116" fmla="*/ 38100 h 4476750"/>
                  <a:gd name="connsiteX117" fmla="*/ 2392702 w 4519987"/>
                  <a:gd name="connsiteY117" fmla="*/ 28575 h 4476750"/>
                  <a:gd name="connsiteX0" fmla="*/ 2297452 w 4519987"/>
                  <a:gd name="connsiteY0" fmla="*/ 0 h 4457700"/>
                  <a:gd name="connsiteX1" fmla="*/ 2421277 w 4519987"/>
                  <a:gd name="connsiteY1" fmla="*/ 28575 h 4457700"/>
                  <a:gd name="connsiteX2" fmla="*/ 2497477 w 4519987"/>
                  <a:gd name="connsiteY2" fmla="*/ 47625 h 4457700"/>
                  <a:gd name="connsiteX3" fmla="*/ 2754652 w 4519987"/>
                  <a:gd name="connsiteY3" fmla="*/ 66675 h 4457700"/>
                  <a:gd name="connsiteX4" fmla="*/ 2830852 w 4519987"/>
                  <a:gd name="connsiteY4" fmla="*/ 76200 h 4457700"/>
                  <a:gd name="connsiteX5" fmla="*/ 2916577 w 4519987"/>
                  <a:gd name="connsiteY5" fmla="*/ 85725 h 4457700"/>
                  <a:gd name="connsiteX6" fmla="*/ 2973727 w 4519987"/>
                  <a:gd name="connsiteY6" fmla="*/ 114300 h 4457700"/>
                  <a:gd name="connsiteX7" fmla="*/ 3011827 w 4519987"/>
                  <a:gd name="connsiteY7" fmla="*/ 123825 h 4457700"/>
                  <a:gd name="connsiteX8" fmla="*/ 3135652 w 4519987"/>
                  <a:gd name="connsiteY8" fmla="*/ 171450 h 4457700"/>
                  <a:gd name="connsiteX9" fmla="*/ 3173752 w 4519987"/>
                  <a:gd name="connsiteY9" fmla="*/ 190500 h 4457700"/>
                  <a:gd name="connsiteX10" fmla="*/ 3240427 w 4519987"/>
                  <a:gd name="connsiteY10" fmla="*/ 228600 h 4457700"/>
                  <a:gd name="connsiteX11" fmla="*/ 3269002 w 4519987"/>
                  <a:gd name="connsiteY11" fmla="*/ 238125 h 4457700"/>
                  <a:gd name="connsiteX12" fmla="*/ 3297577 w 4519987"/>
                  <a:gd name="connsiteY12" fmla="*/ 257175 h 4457700"/>
                  <a:gd name="connsiteX13" fmla="*/ 3326152 w 4519987"/>
                  <a:gd name="connsiteY13" fmla="*/ 266700 h 4457700"/>
                  <a:gd name="connsiteX14" fmla="*/ 3354727 w 4519987"/>
                  <a:gd name="connsiteY14" fmla="*/ 285750 h 4457700"/>
                  <a:gd name="connsiteX15" fmla="*/ 3421402 w 4519987"/>
                  <a:gd name="connsiteY15" fmla="*/ 323850 h 4457700"/>
                  <a:gd name="connsiteX16" fmla="*/ 3469027 w 4519987"/>
                  <a:gd name="connsiteY16" fmla="*/ 361950 h 4457700"/>
                  <a:gd name="connsiteX17" fmla="*/ 3516652 w 4519987"/>
                  <a:gd name="connsiteY17" fmla="*/ 390525 h 4457700"/>
                  <a:gd name="connsiteX18" fmla="*/ 3630952 w 4519987"/>
                  <a:gd name="connsiteY18" fmla="*/ 485775 h 4457700"/>
                  <a:gd name="connsiteX19" fmla="*/ 3745252 w 4519987"/>
                  <a:gd name="connsiteY19" fmla="*/ 542925 h 4457700"/>
                  <a:gd name="connsiteX20" fmla="*/ 3811927 w 4519987"/>
                  <a:gd name="connsiteY20" fmla="*/ 581025 h 4457700"/>
                  <a:gd name="connsiteX21" fmla="*/ 4027827 w 4519987"/>
                  <a:gd name="connsiteY21" fmla="*/ 819150 h 4457700"/>
                  <a:gd name="connsiteX22" fmla="*/ 4164352 w 4519987"/>
                  <a:gd name="connsiteY22" fmla="*/ 990600 h 4457700"/>
                  <a:gd name="connsiteX23" fmla="*/ 4250077 w 4519987"/>
                  <a:gd name="connsiteY23" fmla="*/ 1143000 h 4457700"/>
                  <a:gd name="connsiteX24" fmla="*/ 4307227 w 4519987"/>
                  <a:gd name="connsiteY24" fmla="*/ 1266825 h 4457700"/>
                  <a:gd name="connsiteX25" fmla="*/ 4345327 w 4519987"/>
                  <a:gd name="connsiteY25" fmla="*/ 1362075 h 4457700"/>
                  <a:gd name="connsiteX26" fmla="*/ 4392952 w 4519987"/>
                  <a:gd name="connsiteY26" fmla="*/ 1552575 h 4457700"/>
                  <a:gd name="connsiteX27" fmla="*/ 4431052 w 4519987"/>
                  <a:gd name="connsiteY27" fmla="*/ 1685925 h 4457700"/>
                  <a:gd name="connsiteX28" fmla="*/ 4519952 w 4519987"/>
                  <a:gd name="connsiteY28" fmla="*/ 2181225 h 4457700"/>
                  <a:gd name="connsiteX29" fmla="*/ 4446927 w 4519987"/>
                  <a:gd name="connsiteY29" fmla="*/ 2768600 h 4457700"/>
                  <a:gd name="connsiteX30" fmla="*/ 4383427 w 4519987"/>
                  <a:gd name="connsiteY30" fmla="*/ 2990850 h 4457700"/>
                  <a:gd name="connsiteX31" fmla="*/ 4278652 w 4519987"/>
                  <a:gd name="connsiteY31" fmla="*/ 3248025 h 4457700"/>
                  <a:gd name="connsiteX32" fmla="*/ 4183402 w 4519987"/>
                  <a:gd name="connsiteY32" fmla="*/ 3400425 h 4457700"/>
                  <a:gd name="connsiteX33" fmla="*/ 4059577 w 4519987"/>
                  <a:gd name="connsiteY33" fmla="*/ 3533775 h 4457700"/>
                  <a:gd name="connsiteX34" fmla="*/ 3954802 w 4519987"/>
                  <a:gd name="connsiteY34" fmla="*/ 3648075 h 4457700"/>
                  <a:gd name="connsiteX35" fmla="*/ 3659527 w 4519987"/>
                  <a:gd name="connsiteY35" fmla="*/ 3971925 h 4457700"/>
                  <a:gd name="connsiteX36" fmla="*/ 3516652 w 4519987"/>
                  <a:gd name="connsiteY36" fmla="*/ 4083050 h 4457700"/>
                  <a:gd name="connsiteX37" fmla="*/ 3221377 w 4519987"/>
                  <a:gd name="connsiteY37" fmla="*/ 4222750 h 4457700"/>
                  <a:gd name="connsiteX38" fmla="*/ 3068977 w 4519987"/>
                  <a:gd name="connsiteY38" fmla="*/ 4286250 h 4457700"/>
                  <a:gd name="connsiteX39" fmla="*/ 2935627 w 4519987"/>
                  <a:gd name="connsiteY39" fmla="*/ 4333875 h 4457700"/>
                  <a:gd name="connsiteX40" fmla="*/ 2811802 w 4519987"/>
                  <a:gd name="connsiteY40" fmla="*/ 4371975 h 4457700"/>
                  <a:gd name="connsiteX41" fmla="*/ 2580027 w 4519987"/>
                  <a:gd name="connsiteY41" fmla="*/ 4391025 h 4457700"/>
                  <a:gd name="connsiteX42" fmla="*/ 2202202 w 4519987"/>
                  <a:gd name="connsiteY42" fmla="*/ 4457700 h 4457700"/>
                  <a:gd name="connsiteX43" fmla="*/ 2126002 w 4519987"/>
                  <a:gd name="connsiteY43" fmla="*/ 4429125 h 4457700"/>
                  <a:gd name="connsiteX44" fmla="*/ 1935502 w 4519987"/>
                  <a:gd name="connsiteY44" fmla="*/ 4400550 h 4457700"/>
                  <a:gd name="connsiteX45" fmla="*/ 1821202 w 4519987"/>
                  <a:gd name="connsiteY45" fmla="*/ 4371975 h 4457700"/>
                  <a:gd name="connsiteX46" fmla="*/ 1754527 w 4519987"/>
                  <a:gd name="connsiteY46" fmla="*/ 4352925 h 4457700"/>
                  <a:gd name="connsiteX47" fmla="*/ 1687852 w 4519987"/>
                  <a:gd name="connsiteY47" fmla="*/ 4343400 h 4457700"/>
                  <a:gd name="connsiteX48" fmla="*/ 1573552 w 4519987"/>
                  <a:gd name="connsiteY48" fmla="*/ 4305300 h 4457700"/>
                  <a:gd name="connsiteX49" fmla="*/ 1402102 w 4519987"/>
                  <a:gd name="connsiteY49" fmla="*/ 4276725 h 4457700"/>
                  <a:gd name="connsiteX50" fmla="*/ 1287802 w 4519987"/>
                  <a:gd name="connsiteY50" fmla="*/ 4229100 h 4457700"/>
                  <a:gd name="connsiteX51" fmla="*/ 1221127 w 4519987"/>
                  <a:gd name="connsiteY51" fmla="*/ 4200525 h 4457700"/>
                  <a:gd name="connsiteX52" fmla="*/ 1144927 w 4519987"/>
                  <a:gd name="connsiteY52" fmla="*/ 4171950 h 4457700"/>
                  <a:gd name="connsiteX53" fmla="*/ 1087777 w 4519987"/>
                  <a:gd name="connsiteY53" fmla="*/ 4143375 h 4457700"/>
                  <a:gd name="connsiteX54" fmla="*/ 1030627 w 4519987"/>
                  <a:gd name="connsiteY54" fmla="*/ 4124325 h 4457700"/>
                  <a:gd name="connsiteX55" fmla="*/ 925852 w 4519987"/>
                  <a:gd name="connsiteY55" fmla="*/ 4067175 h 4457700"/>
                  <a:gd name="connsiteX56" fmla="*/ 830602 w 4519987"/>
                  <a:gd name="connsiteY56" fmla="*/ 3981450 h 4457700"/>
                  <a:gd name="connsiteX57" fmla="*/ 763927 w 4519987"/>
                  <a:gd name="connsiteY57" fmla="*/ 3914775 h 4457700"/>
                  <a:gd name="connsiteX58" fmla="*/ 725827 w 4519987"/>
                  <a:gd name="connsiteY58" fmla="*/ 3876675 h 4457700"/>
                  <a:gd name="connsiteX59" fmla="*/ 697252 w 4519987"/>
                  <a:gd name="connsiteY59" fmla="*/ 3838575 h 4457700"/>
                  <a:gd name="connsiteX60" fmla="*/ 640102 w 4519987"/>
                  <a:gd name="connsiteY60" fmla="*/ 3781425 h 4457700"/>
                  <a:gd name="connsiteX61" fmla="*/ 611527 w 4519987"/>
                  <a:gd name="connsiteY61" fmla="*/ 3733800 h 4457700"/>
                  <a:gd name="connsiteX62" fmla="*/ 554377 w 4519987"/>
                  <a:gd name="connsiteY62" fmla="*/ 3657600 h 4457700"/>
                  <a:gd name="connsiteX63" fmla="*/ 525802 w 4519987"/>
                  <a:gd name="connsiteY63" fmla="*/ 3609975 h 4457700"/>
                  <a:gd name="connsiteX64" fmla="*/ 497227 w 4519987"/>
                  <a:gd name="connsiteY64" fmla="*/ 3552825 h 4457700"/>
                  <a:gd name="connsiteX65" fmla="*/ 440077 w 4519987"/>
                  <a:gd name="connsiteY65" fmla="*/ 3495675 h 4457700"/>
                  <a:gd name="connsiteX66" fmla="*/ 411502 w 4519987"/>
                  <a:gd name="connsiteY66" fmla="*/ 3448050 h 4457700"/>
                  <a:gd name="connsiteX67" fmla="*/ 278152 w 4519987"/>
                  <a:gd name="connsiteY67" fmla="*/ 3257550 h 4457700"/>
                  <a:gd name="connsiteX68" fmla="*/ 249577 w 4519987"/>
                  <a:gd name="connsiteY68" fmla="*/ 3200400 h 4457700"/>
                  <a:gd name="connsiteX69" fmla="*/ 240052 w 4519987"/>
                  <a:gd name="connsiteY69" fmla="*/ 3162300 h 4457700"/>
                  <a:gd name="connsiteX70" fmla="*/ 221002 w 4519987"/>
                  <a:gd name="connsiteY70" fmla="*/ 3105150 h 4457700"/>
                  <a:gd name="connsiteX71" fmla="*/ 173377 w 4519987"/>
                  <a:gd name="connsiteY71" fmla="*/ 3019425 h 4457700"/>
                  <a:gd name="connsiteX72" fmla="*/ 144802 w 4519987"/>
                  <a:gd name="connsiteY72" fmla="*/ 2924175 h 4457700"/>
                  <a:gd name="connsiteX73" fmla="*/ 68602 w 4519987"/>
                  <a:gd name="connsiteY73" fmla="*/ 2724150 h 4457700"/>
                  <a:gd name="connsiteX74" fmla="*/ 49552 w 4519987"/>
                  <a:gd name="connsiteY74" fmla="*/ 2638425 h 4457700"/>
                  <a:gd name="connsiteX75" fmla="*/ 40027 w 4519987"/>
                  <a:gd name="connsiteY75" fmla="*/ 2562225 h 4457700"/>
                  <a:gd name="connsiteX76" fmla="*/ 30502 w 4519987"/>
                  <a:gd name="connsiteY76" fmla="*/ 2514600 h 4457700"/>
                  <a:gd name="connsiteX77" fmla="*/ 11452 w 4519987"/>
                  <a:gd name="connsiteY77" fmla="*/ 2400300 h 4457700"/>
                  <a:gd name="connsiteX78" fmla="*/ 20977 w 4519987"/>
                  <a:gd name="connsiteY78" fmla="*/ 1905000 h 4457700"/>
                  <a:gd name="connsiteX79" fmla="*/ 30502 w 4519987"/>
                  <a:gd name="connsiteY79" fmla="*/ 1838325 h 4457700"/>
                  <a:gd name="connsiteX80" fmla="*/ 49552 w 4519987"/>
                  <a:gd name="connsiteY80" fmla="*/ 1781175 h 4457700"/>
                  <a:gd name="connsiteX81" fmla="*/ 59077 w 4519987"/>
                  <a:gd name="connsiteY81" fmla="*/ 1743075 h 4457700"/>
                  <a:gd name="connsiteX82" fmla="*/ 78127 w 4519987"/>
                  <a:gd name="connsiteY82" fmla="*/ 1685925 h 4457700"/>
                  <a:gd name="connsiteX83" fmla="*/ 87652 w 4519987"/>
                  <a:gd name="connsiteY83" fmla="*/ 1638300 h 4457700"/>
                  <a:gd name="connsiteX84" fmla="*/ 106702 w 4519987"/>
                  <a:gd name="connsiteY84" fmla="*/ 1590675 h 4457700"/>
                  <a:gd name="connsiteX85" fmla="*/ 135277 w 4519987"/>
                  <a:gd name="connsiteY85" fmla="*/ 1504950 h 4457700"/>
                  <a:gd name="connsiteX86" fmla="*/ 154327 w 4519987"/>
                  <a:gd name="connsiteY86" fmla="*/ 1419225 h 4457700"/>
                  <a:gd name="connsiteX87" fmla="*/ 230527 w 4519987"/>
                  <a:gd name="connsiteY87" fmla="*/ 1276350 h 4457700"/>
                  <a:gd name="connsiteX88" fmla="*/ 240052 w 4519987"/>
                  <a:gd name="connsiteY88" fmla="*/ 1247775 h 4457700"/>
                  <a:gd name="connsiteX89" fmla="*/ 268627 w 4519987"/>
                  <a:gd name="connsiteY89" fmla="*/ 1200150 h 4457700"/>
                  <a:gd name="connsiteX90" fmla="*/ 287677 w 4519987"/>
                  <a:gd name="connsiteY90" fmla="*/ 1152525 h 4457700"/>
                  <a:gd name="connsiteX91" fmla="*/ 316252 w 4519987"/>
                  <a:gd name="connsiteY91" fmla="*/ 1114425 h 4457700"/>
                  <a:gd name="connsiteX92" fmla="*/ 363877 w 4519987"/>
                  <a:gd name="connsiteY92" fmla="*/ 1038225 h 4457700"/>
                  <a:gd name="connsiteX93" fmla="*/ 382927 w 4519987"/>
                  <a:gd name="connsiteY93" fmla="*/ 1009650 h 4457700"/>
                  <a:gd name="connsiteX94" fmla="*/ 440077 w 4519987"/>
                  <a:gd name="connsiteY94" fmla="*/ 904875 h 4457700"/>
                  <a:gd name="connsiteX95" fmla="*/ 478177 w 4519987"/>
                  <a:gd name="connsiteY95" fmla="*/ 857250 h 4457700"/>
                  <a:gd name="connsiteX96" fmla="*/ 497227 w 4519987"/>
                  <a:gd name="connsiteY96" fmla="*/ 828675 h 4457700"/>
                  <a:gd name="connsiteX97" fmla="*/ 535327 w 4519987"/>
                  <a:gd name="connsiteY97" fmla="*/ 800100 h 4457700"/>
                  <a:gd name="connsiteX98" fmla="*/ 602002 w 4519987"/>
                  <a:gd name="connsiteY98" fmla="*/ 733425 h 4457700"/>
                  <a:gd name="connsiteX99" fmla="*/ 668677 w 4519987"/>
                  <a:gd name="connsiteY99" fmla="*/ 676275 h 4457700"/>
                  <a:gd name="connsiteX100" fmla="*/ 697252 w 4519987"/>
                  <a:gd name="connsiteY100" fmla="*/ 657225 h 4457700"/>
                  <a:gd name="connsiteX101" fmla="*/ 840127 w 4519987"/>
                  <a:gd name="connsiteY101" fmla="*/ 533400 h 4457700"/>
                  <a:gd name="connsiteX102" fmla="*/ 887752 w 4519987"/>
                  <a:gd name="connsiteY102" fmla="*/ 504825 h 4457700"/>
                  <a:gd name="connsiteX103" fmla="*/ 1167152 w 4519987"/>
                  <a:gd name="connsiteY103" fmla="*/ 311150 h 4457700"/>
                  <a:gd name="connsiteX104" fmla="*/ 1268752 w 4519987"/>
                  <a:gd name="connsiteY104" fmla="*/ 285750 h 4457700"/>
                  <a:gd name="connsiteX105" fmla="*/ 1411627 w 4519987"/>
                  <a:gd name="connsiteY105" fmla="*/ 190500 h 4457700"/>
                  <a:gd name="connsiteX106" fmla="*/ 1449727 w 4519987"/>
                  <a:gd name="connsiteY106" fmla="*/ 161925 h 4457700"/>
                  <a:gd name="connsiteX107" fmla="*/ 1525927 w 4519987"/>
                  <a:gd name="connsiteY107" fmla="*/ 152400 h 4457700"/>
                  <a:gd name="connsiteX108" fmla="*/ 1583077 w 4519987"/>
                  <a:gd name="connsiteY108" fmla="*/ 142875 h 4457700"/>
                  <a:gd name="connsiteX109" fmla="*/ 1716427 w 4519987"/>
                  <a:gd name="connsiteY109" fmla="*/ 123825 h 4457700"/>
                  <a:gd name="connsiteX110" fmla="*/ 1811677 w 4519987"/>
                  <a:gd name="connsiteY110" fmla="*/ 114300 h 4457700"/>
                  <a:gd name="connsiteX111" fmla="*/ 1859302 w 4519987"/>
                  <a:gd name="connsiteY111" fmla="*/ 104775 h 4457700"/>
                  <a:gd name="connsiteX112" fmla="*/ 1916452 w 4519987"/>
                  <a:gd name="connsiteY112" fmla="*/ 95250 h 4457700"/>
                  <a:gd name="connsiteX113" fmla="*/ 2030752 w 4519987"/>
                  <a:gd name="connsiteY113" fmla="*/ 66675 h 4457700"/>
                  <a:gd name="connsiteX114" fmla="*/ 2097427 w 4519987"/>
                  <a:gd name="connsiteY114" fmla="*/ 47625 h 4457700"/>
                  <a:gd name="connsiteX115" fmla="*/ 2164102 w 4519987"/>
                  <a:gd name="connsiteY115" fmla="*/ 38100 h 4457700"/>
                  <a:gd name="connsiteX116" fmla="*/ 2392702 w 4519987"/>
                  <a:gd name="connsiteY116" fmla="*/ 28575 h 4457700"/>
                  <a:gd name="connsiteX0" fmla="*/ 2297452 w 4519987"/>
                  <a:gd name="connsiteY0" fmla="*/ 0 h 4429260"/>
                  <a:gd name="connsiteX1" fmla="*/ 2421277 w 4519987"/>
                  <a:gd name="connsiteY1" fmla="*/ 28575 h 4429260"/>
                  <a:gd name="connsiteX2" fmla="*/ 2497477 w 4519987"/>
                  <a:gd name="connsiteY2" fmla="*/ 47625 h 4429260"/>
                  <a:gd name="connsiteX3" fmla="*/ 2754652 w 4519987"/>
                  <a:gd name="connsiteY3" fmla="*/ 66675 h 4429260"/>
                  <a:gd name="connsiteX4" fmla="*/ 2830852 w 4519987"/>
                  <a:gd name="connsiteY4" fmla="*/ 76200 h 4429260"/>
                  <a:gd name="connsiteX5" fmla="*/ 2916577 w 4519987"/>
                  <a:gd name="connsiteY5" fmla="*/ 85725 h 4429260"/>
                  <a:gd name="connsiteX6" fmla="*/ 2973727 w 4519987"/>
                  <a:gd name="connsiteY6" fmla="*/ 114300 h 4429260"/>
                  <a:gd name="connsiteX7" fmla="*/ 3011827 w 4519987"/>
                  <a:gd name="connsiteY7" fmla="*/ 123825 h 4429260"/>
                  <a:gd name="connsiteX8" fmla="*/ 3135652 w 4519987"/>
                  <a:gd name="connsiteY8" fmla="*/ 171450 h 4429260"/>
                  <a:gd name="connsiteX9" fmla="*/ 3173752 w 4519987"/>
                  <a:gd name="connsiteY9" fmla="*/ 190500 h 4429260"/>
                  <a:gd name="connsiteX10" fmla="*/ 3240427 w 4519987"/>
                  <a:gd name="connsiteY10" fmla="*/ 228600 h 4429260"/>
                  <a:gd name="connsiteX11" fmla="*/ 3269002 w 4519987"/>
                  <a:gd name="connsiteY11" fmla="*/ 238125 h 4429260"/>
                  <a:gd name="connsiteX12" fmla="*/ 3297577 w 4519987"/>
                  <a:gd name="connsiteY12" fmla="*/ 257175 h 4429260"/>
                  <a:gd name="connsiteX13" fmla="*/ 3326152 w 4519987"/>
                  <a:gd name="connsiteY13" fmla="*/ 266700 h 4429260"/>
                  <a:gd name="connsiteX14" fmla="*/ 3354727 w 4519987"/>
                  <a:gd name="connsiteY14" fmla="*/ 285750 h 4429260"/>
                  <a:gd name="connsiteX15" fmla="*/ 3421402 w 4519987"/>
                  <a:gd name="connsiteY15" fmla="*/ 323850 h 4429260"/>
                  <a:gd name="connsiteX16" fmla="*/ 3469027 w 4519987"/>
                  <a:gd name="connsiteY16" fmla="*/ 361950 h 4429260"/>
                  <a:gd name="connsiteX17" fmla="*/ 3516652 w 4519987"/>
                  <a:gd name="connsiteY17" fmla="*/ 390525 h 4429260"/>
                  <a:gd name="connsiteX18" fmla="*/ 3630952 w 4519987"/>
                  <a:gd name="connsiteY18" fmla="*/ 485775 h 4429260"/>
                  <a:gd name="connsiteX19" fmla="*/ 3745252 w 4519987"/>
                  <a:gd name="connsiteY19" fmla="*/ 542925 h 4429260"/>
                  <a:gd name="connsiteX20" fmla="*/ 3811927 w 4519987"/>
                  <a:gd name="connsiteY20" fmla="*/ 581025 h 4429260"/>
                  <a:gd name="connsiteX21" fmla="*/ 4027827 w 4519987"/>
                  <a:gd name="connsiteY21" fmla="*/ 819150 h 4429260"/>
                  <a:gd name="connsiteX22" fmla="*/ 4164352 w 4519987"/>
                  <a:gd name="connsiteY22" fmla="*/ 990600 h 4429260"/>
                  <a:gd name="connsiteX23" fmla="*/ 4250077 w 4519987"/>
                  <a:gd name="connsiteY23" fmla="*/ 1143000 h 4429260"/>
                  <a:gd name="connsiteX24" fmla="*/ 4307227 w 4519987"/>
                  <a:gd name="connsiteY24" fmla="*/ 1266825 h 4429260"/>
                  <a:gd name="connsiteX25" fmla="*/ 4345327 w 4519987"/>
                  <a:gd name="connsiteY25" fmla="*/ 1362075 h 4429260"/>
                  <a:gd name="connsiteX26" fmla="*/ 4392952 w 4519987"/>
                  <a:gd name="connsiteY26" fmla="*/ 1552575 h 4429260"/>
                  <a:gd name="connsiteX27" fmla="*/ 4431052 w 4519987"/>
                  <a:gd name="connsiteY27" fmla="*/ 1685925 h 4429260"/>
                  <a:gd name="connsiteX28" fmla="*/ 4519952 w 4519987"/>
                  <a:gd name="connsiteY28" fmla="*/ 2181225 h 4429260"/>
                  <a:gd name="connsiteX29" fmla="*/ 4446927 w 4519987"/>
                  <a:gd name="connsiteY29" fmla="*/ 2768600 h 4429260"/>
                  <a:gd name="connsiteX30" fmla="*/ 4383427 w 4519987"/>
                  <a:gd name="connsiteY30" fmla="*/ 2990850 h 4429260"/>
                  <a:gd name="connsiteX31" fmla="*/ 4278652 w 4519987"/>
                  <a:gd name="connsiteY31" fmla="*/ 3248025 h 4429260"/>
                  <a:gd name="connsiteX32" fmla="*/ 4183402 w 4519987"/>
                  <a:gd name="connsiteY32" fmla="*/ 3400425 h 4429260"/>
                  <a:gd name="connsiteX33" fmla="*/ 4059577 w 4519987"/>
                  <a:gd name="connsiteY33" fmla="*/ 3533775 h 4429260"/>
                  <a:gd name="connsiteX34" fmla="*/ 3954802 w 4519987"/>
                  <a:gd name="connsiteY34" fmla="*/ 3648075 h 4429260"/>
                  <a:gd name="connsiteX35" fmla="*/ 3659527 w 4519987"/>
                  <a:gd name="connsiteY35" fmla="*/ 3971925 h 4429260"/>
                  <a:gd name="connsiteX36" fmla="*/ 3516652 w 4519987"/>
                  <a:gd name="connsiteY36" fmla="*/ 4083050 h 4429260"/>
                  <a:gd name="connsiteX37" fmla="*/ 3221377 w 4519987"/>
                  <a:gd name="connsiteY37" fmla="*/ 4222750 h 4429260"/>
                  <a:gd name="connsiteX38" fmla="*/ 3068977 w 4519987"/>
                  <a:gd name="connsiteY38" fmla="*/ 4286250 h 4429260"/>
                  <a:gd name="connsiteX39" fmla="*/ 2935627 w 4519987"/>
                  <a:gd name="connsiteY39" fmla="*/ 4333875 h 4429260"/>
                  <a:gd name="connsiteX40" fmla="*/ 2811802 w 4519987"/>
                  <a:gd name="connsiteY40" fmla="*/ 4371975 h 4429260"/>
                  <a:gd name="connsiteX41" fmla="*/ 2580027 w 4519987"/>
                  <a:gd name="connsiteY41" fmla="*/ 4391025 h 4429260"/>
                  <a:gd name="connsiteX42" fmla="*/ 2126002 w 4519987"/>
                  <a:gd name="connsiteY42" fmla="*/ 4429125 h 4429260"/>
                  <a:gd name="connsiteX43" fmla="*/ 1935502 w 4519987"/>
                  <a:gd name="connsiteY43" fmla="*/ 4400550 h 4429260"/>
                  <a:gd name="connsiteX44" fmla="*/ 1821202 w 4519987"/>
                  <a:gd name="connsiteY44" fmla="*/ 4371975 h 4429260"/>
                  <a:gd name="connsiteX45" fmla="*/ 1754527 w 4519987"/>
                  <a:gd name="connsiteY45" fmla="*/ 4352925 h 4429260"/>
                  <a:gd name="connsiteX46" fmla="*/ 1687852 w 4519987"/>
                  <a:gd name="connsiteY46" fmla="*/ 4343400 h 4429260"/>
                  <a:gd name="connsiteX47" fmla="*/ 1573552 w 4519987"/>
                  <a:gd name="connsiteY47" fmla="*/ 4305300 h 4429260"/>
                  <a:gd name="connsiteX48" fmla="*/ 1402102 w 4519987"/>
                  <a:gd name="connsiteY48" fmla="*/ 4276725 h 4429260"/>
                  <a:gd name="connsiteX49" fmla="*/ 1287802 w 4519987"/>
                  <a:gd name="connsiteY49" fmla="*/ 4229100 h 4429260"/>
                  <a:gd name="connsiteX50" fmla="*/ 1221127 w 4519987"/>
                  <a:gd name="connsiteY50" fmla="*/ 4200525 h 4429260"/>
                  <a:gd name="connsiteX51" fmla="*/ 1144927 w 4519987"/>
                  <a:gd name="connsiteY51" fmla="*/ 4171950 h 4429260"/>
                  <a:gd name="connsiteX52" fmla="*/ 1087777 w 4519987"/>
                  <a:gd name="connsiteY52" fmla="*/ 4143375 h 4429260"/>
                  <a:gd name="connsiteX53" fmla="*/ 1030627 w 4519987"/>
                  <a:gd name="connsiteY53" fmla="*/ 4124325 h 4429260"/>
                  <a:gd name="connsiteX54" fmla="*/ 925852 w 4519987"/>
                  <a:gd name="connsiteY54" fmla="*/ 4067175 h 4429260"/>
                  <a:gd name="connsiteX55" fmla="*/ 830602 w 4519987"/>
                  <a:gd name="connsiteY55" fmla="*/ 3981450 h 4429260"/>
                  <a:gd name="connsiteX56" fmla="*/ 763927 w 4519987"/>
                  <a:gd name="connsiteY56" fmla="*/ 3914775 h 4429260"/>
                  <a:gd name="connsiteX57" fmla="*/ 725827 w 4519987"/>
                  <a:gd name="connsiteY57" fmla="*/ 3876675 h 4429260"/>
                  <a:gd name="connsiteX58" fmla="*/ 697252 w 4519987"/>
                  <a:gd name="connsiteY58" fmla="*/ 3838575 h 4429260"/>
                  <a:gd name="connsiteX59" fmla="*/ 640102 w 4519987"/>
                  <a:gd name="connsiteY59" fmla="*/ 3781425 h 4429260"/>
                  <a:gd name="connsiteX60" fmla="*/ 611527 w 4519987"/>
                  <a:gd name="connsiteY60" fmla="*/ 3733800 h 4429260"/>
                  <a:gd name="connsiteX61" fmla="*/ 554377 w 4519987"/>
                  <a:gd name="connsiteY61" fmla="*/ 3657600 h 4429260"/>
                  <a:gd name="connsiteX62" fmla="*/ 525802 w 4519987"/>
                  <a:gd name="connsiteY62" fmla="*/ 3609975 h 4429260"/>
                  <a:gd name="connsiteX63" fmla="*/ 497227 w 4519987"/>
                  <a:gd name="connsiteY63" fmla="*/ 3552825 h 4429260"/>
                  <a:gd name="connsiteX64" fmla="*/ 440077 w 4519987"/>
                  <a:gd name="connsiteY64" fmla="*/ 3495675 h 4429260"/>
                  <a:gd name="connsiteX65" fmla="*/ 411502 w 4519987"/>
                  <a:gd name="connsiteY65" fmla="*/ 3448050 h 4429260"/>
                  <a:gd name="connsiteX66" fmla="*/ 278152 w 4519987"/>
                  <a:gd name="connsiteY66" fmla="*/ 3257550 h 4429260"/>
                  <a:gd name="connsiteX67" fmla="*/ 249577 w 4519987"/>
                  <a:gd name="connsiteY67" fmla="*/ 3200400 h 4429260"/>
                  <a:gd name="connsiteX68" fmla="*/ 240052 w 4519987"/>
                  <a:gd name="connsiteY68" fmla="*/ 3162300 h 4429260"/>
                  <a:gd name="connsiteX69" fmla="*/ 221002 w 4519987"/>
                  <a:gd name="connsiteY69" fmla="*/ 3105150 h 4429260"/>
                  <a:gd name="connsiteX70" fmla="*/ 173377 w 4519987"/>
                  <a:gd name="connsiteY70" fmla="*/ 3019425 h 4429260"/>
                  <a:gd name="connsiteX71" fmla="*/ 144802 w 4519987"/>
                  <a:gd name="connsiteY71" fmla="*/ 2924175 h 4429260"/>
                  <a:gd name="connsiteX72" fmla="*/ 68602 w 4519987"/>
                  <a:gd name="connsiteY72" fmla="*/ 2724150 h 4429260"/>
                  <a:gd name="connsiteX73" fmla="*/ 49552 w 4519987"/>
                  <a:gd name="connsiteY73" fmla="*/ 2638425 h 4429260"/>
                  <a:gd name="connsiteX74" fmla="*/ 40027 w 4519987"/>
                  <a:gd name="connsiteY74" fmla="*/ 2562225 h 4429260"/>
                  <a:gd name="connsiteX75" fmla="*/ 30502 w 4519987"/>
                  <a:gd name="connsiteY75" fmla="*/ 2514600 h 4429260"/>
                  <a:gd name="connsiteX76" fmla="*/ 11452 w 4519987"/>
                  <a:gd name="connsiteY76" fmla="*/ 2400300 h 4429260"/>
                  <a:gd name="connsiteX77" fmla="*/ 20977 w 4519987"/>
                  <a:gd name="connsiteY77" fmla="*/ 1905000 h 4429260"/>
                  <a:gd name="connsiteX78" fmla="*/ 30502 w 4519987"/>
                  <a:gd name="connsiteY78" fmla="*/ 1838325 h 4429260"/>
                  <a:gd name="connsiteX79" fmla="*/ 49552 w 4519987"/>
                  <a:gd name="connsiteY79" fmla="*/ 1781175 h 4429260"/>
                  <a:gd name="connsiteX80" fmla="*/ 59077 w 4519987"/>
                  <a:gd name="connsiteY80" fmla="*/ 1743075 h 4429260"/>
                  <a:gd name="connsiteX81" fmla="*/ 78127 w 4519987"/>
                  <a:gd name="connsiteY81" fmla="*/ 1685925 h 4429260"/>
                  <a:gd name="connsiteX82" fmla="*/ 87652 w 4519987"/>
                  <a:gd name="connsiteY82" fmla="*/ 1638300 h 4429260"/>
                  <a:gd name="connsiteX83" fmla="*/ 106702 w 4519987"/>
                  <a:gd name="connsiteY83" fmla="*/ 1590675 h 4429260"/>
                  <a:gd name="connsiteX84" fmla="*/ 135277 w 4519987"/>
                  <a:gd name="connsiteY84" fmla="*/ 1504950 h 4429260"/>
                  <a:gd name="connsiteX85" fmla="*/ 154327 w 4519987"/>
                  <a:gd name="connsiteY85" fmla="*/ 1419225 h 4429260"/>
                  <a:gd name="connsiteX86" fmla="*/ 230527 w 4519987"/>
                  <a:gd name="connsiteY86" fmla="*/ 1276350 h 4429260"/>
                  <a:gd name="connsiteX87" fmla="*/ 240052 w 4519987"/>
                  <a:gd name="connsiteY87" fmla="*/ 1247775 h 4429260"/>
                  <a:gd name="connsiteX88" fmla="*/ 268627 w 4519987"/>
                  <a:gd name="connsiteY88" fmla="*/ 1200150 h 4429260"/>
                  <a:gd name="connsiteX89" fmla="*/ 287677 w 4519987"/>
                  <a:gd name="connsiteY89" fmla="*/ 1152525 h 4429260"/>
                  <a:gd name="connsiteX90" fmla="*/ 316252 w 4519987"/>
                  <a:gd name="connsiteY90" fmla="*/ 1114425 h 4429260"/>
                  <a:gd name="connsiteX91" fmla="*/ 363877 w 4519987"/>
                  <a:gd name="connsiteY91" fmla="*/ 1038225 h 4429260"/>
                  <a:gd name="connsiteX92" fmla="*/ 382927 w 4519987"/>
                  <a:gd name="connsiteY92" fmla="*/ 1009650 h 4429260"/>
                  <a:gd name="connsiteX93" fmla="*/ 440077 w 4519987"/>
                  <a:gd name="connsiteY93" fmla="*/ 904875 h 4429260"/>
                  <a:gd name="connsiteX94" fmla="*/ 478177 w 4519987"/>
                  <a:gd name="connsiteY94" fmla="*/ 857250 h 4429260"/>
                  <a:gd name="connsiteX95" fmla="*/ 497227 w 4519987"/>
                  <a:gd name="connsiteY95" fmla="*/ 828675 h 4429260"/>
                  <a:gd name="connsiteX96" fmla="*/ 535327 w 4519987"/>
                  <a:gd name="connsiteY96" fmla="*/ 800100 h 4429260"/>
                  <a:gd name="connsiteX97" fmla="*/ 602002 w 4519987"/>
                  <a:gd name="connsiteY97" fmla="*/ 733425 h 4429260"/>
                  <a:gd name="connsiteX98" fmla="*/ 668677 w 4519987"/>
                  <a:gd name="connsiteY98" fmla="*/ 676275 h 4429260"/>
                  <a:gd name="connsiteX99" fmla="*/ 697252 w 4519987"/>
                  <a:gd name="connsiteY99" fmla="*/ 657225 h 4429260"/>
                  <a:gd name="connsiteX100" fmla="*/ 840127 w 4519987"/>
                  <a:gd name="connsiteY100" fmla="*/ 533400 h 4429260"/>
                  <a:gd name="connsiteX101" fmla="*/ 887752 w 4519987"/>
                  <a:gd name="connsiteY101" fmla="*/ 504825 h 4429260"/>
                  <a:gd name="connsiteX102" fmla="*/ 1167152 w 4519987"/>
                  <a:gd name="connsiteY102" fmla="*/ 311150 h 4429260"/>
                  <a:gd name="connsiteX103" fmla="*/ 1268752 w 4519987"/>
                  <a:gd name="connsiteY103" fmla="*/ 285750 h 4429260"/>
                  <a:gd name="connsiteX104" fmla="*/ 1411627 w 4519987"/>
                  <a:gd name="connsiteY104" fmla="*/ 190500 h 4429260"/>
                  <a:gd name="connsiteX105" fmla="*/ 1449727 w 4519987"/>
                  <a:gd name="connsiteY105" fmla="*/ 161925 h 4429260"/>
                  <a:gd name="connsiteX106" fmla="*/ 1525927 w 4519987"/>
                  <a:gd name="connsiteY106" fmla="*/ 152400 h 4429260"/>
                  <a:gd name="connsiteX107" fmla="*/ 1583077 w 4519987"/>
                  <a:gd name="connsiteY107" fmla="*/ 142875 h 4429260"/>
                  <a:gd name="connsiteX108" fmla="*/ 1716427 w 4519987"/>
                  <a:gd name="connsiteY108" fmla="*/ 123825 h 4429260"/>
                  <a:gd name="connsiteX109" fmla="*/ 1811677 w 4519987"/>
                  <a:gd name="connsiteY109" fmla="*/ 114300 h 4429260"/>
                  <a:gd name="connsiteX110" fmla="*/ 1859302 w 4519987"/>
                  <a:gd name="connsiteY110" fmla="*/ 104775 h 4429260"/>
                  <a:gd name="connsiteX111" fmla="*/ 1916452 w 4519987"/>
                  <a:gd name="connsiteY111" fmla="*/ 95250 h 4429260"/>
                  <a:gd name="connsiteX112" fmla="*/ 2030752 w 4519987"/>
                  <a:gd name="connsiteY112" fmla="*/ 66675 h 4429260"/>
                  <a:gd name="connsiteX113" fmla="*/ 2097427 w 4519987"/>
                  <a:gd name="connsiteY113" fmla="*/ 47625 h 4429260"/>
                  <a:gd name="connsiteX114" fmla="*/ 2164102 w 4519987"/>
                  <a:gd name="connsiteY114" fmla="*/ 38100 h 4429260"/>
                  <a:gd name="connsiteX115" fmla="*/ 2392702 w 4519987"/>
                  <a:gd name="connsiteY115" fmla="*/ 28575 h 4429260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687852 w 4519987"/>
                  <a:gd name="connsiteY45" fmla="*/ 4343400 h 4429225"/>
                  <a:gd name="connsiteX46" fmla="*/ 1573552 w 4519987"/>
                  <a:gd name="connsiteY46" fmla="*/ 4305300 h 4429225"/>
                  <a:gd name="connsiteX47" fmla="*/ 1402102 w 4519987"/>
                  <a:gd name="connsiteY47" fmla="*/ 4276725 h 4429225"/>
                  <a:gd name="connsiteX48" fmla="*/ 1287802 w 4519987"/>
                  <a:gd name="connsiteY48" fmla="*/ 4229100 h 4429225"/>
                  <a:gd name="connsiteX49" fmla="*/ 1221127 w 4519987"/>
                  <a:gd name="connsiteY49" fmla="*/ 4200525 h 4429225"/>
                  <a:gd name="connsiteX50" fmla="*/ 1144927 w 4519987"/>
                  <a:gd name="connsiteY50" fmla="*/ 4171950 h 4429225"/>
                  <a:gd name="connsiteX51" fmla="*/ 1087777 w 4519987"/>
                  <a:gd name="connsiteY51" fmla="*/ 4143375 h 4429225"/>
                  <a:gd name="connsiteX52" fmla="*/ 1030627 w 4519987"/>
                  <a:gd name="connsiteY52" fmla="*/ 4124325 h 4429225"/>
                  <a:gd name="connsiteX53" fmla="*/ 925852 w 4519987"/>
                  <a:gd name="connsiteY53" fmla="*/ 4067175 h 4429225"/>
                  <a:gd name="connsiteX54" fmla="*/ 830602 w 4519987"/>
                  <a:gd name="connsiteY54" fmla="*/ 3981450 h 4429225"/>
                  <a:gd name="connsiteX55" fmla="*/ 763927 w 4519987"/>
                  <a:gd name="connsiteY55" fmla="*/ 3914775 h 4429225"/>
                  <a:gd name="connsiteX56" fmla="*/ 725827 w 4519987"/>
                  <a:gd name="connsiteY56" fmla="*/ 3876675 h 4429225"/>
                  <a:gd name="connsiteX57" fmla="*/ 697252 w 4519987"/>
                  <a:gd name="connsiteY57" fmla="*/ 3838575 h 4429225"/>
                  <a:gd name="connsiteX58" fmla="*/ 640102 w 4519987"/>
                  <a:gd name="connsiteY58" fmla="*/ 3781425 h 4429225"/>
                  <a:gd name="connsiteX59" fmla="*/ 611527 w 4519987"/>
                  <a:gd name="connsiteY59" fmla="*/ 3733800 h 4429225"/>
                  <a:gd name="connsiteX60" fmla="*/ 554377 w 4519987"/>
                  <a:gd name="connsiteY60" fmla="*/ 3657600 h 4429225"/>
                  <a:gd name="connsiteX61" fmla="*/ 525802 w 4519987"/>
                  <a:gd name="connsiteY61" fmla="*/ 3609975 h 4429225"/>
                  <a:gd name="connsiteX62" fmla="*/ 497227 w 4519987"/>
                  <a:gd name="connsiteY62" fmla="*/ 3552825 h 4429225"/>
                  <a:gd name="connsiteX63" fmla="*/ 440077 w 4519987"/>
                  <a:gd name="connsiteY63" fmla="*/ 3495675 h 4429225"/>
                  <a:gd name="connsiteX64" fmla="*/ 411502 w 4519987"/>
                  <a:gd name="connsiteY64" fmla="*/ 3448050 h 4429225"/>
                  <a:gd name="connsiteX65" fmla="*/ 278152 w 4519987"/>
                  <a:gd name="connsiteY65" fmla="*/ 3257550 h 4429225"/>
                  <a:gd name="connsiteX66" fmla="*/ 249577 w 4519987"/>
                  <a:gd name="connsiteY66" fmla="*/ 3200400 h 4429225"/>
                  <a:gd name="connsiteX67" fmla="*/ 240052 w 4519987"/>
                  <a:gd name="connsiteY67" fmla="*/ 3162300 h 4429225"/>
                  <a:gd name="connsiteX68" fmla="*/ 221002 w 4519987"/>
                  <a:gd name="connsiteY68" fmla="*/ 3105150 h 4429225"/>
                  <a:gd name="connsiteX69" fmla="*/ 173377 w 4519987"/>
                  <a:gd name="connsiteY69" fmla="*/ 3019425 h 4429225"/>
                  <a:gd name="connsiteX70" fmla="*/ 144802 w 4519987"/>
                  <a:gd name="connsiteY70" fmla="*/ 2924175 h 4429225"/>
                  <a:gd name="connsiteX71" fmla="*/ 68602 w 4519987"/>
                  <a:gd name="connsiteY71" fmla="*/ 2724150 h 4429225"/>
                  <a:gd name="connsiteX72" fmla="*/ 49552 w 4519987"/>
                  <a:gd name="connsiteY72" fmla="*/ 2638425 h 4429225"/>
                  <a:gd name="connsiteX73" fmla="*/ 40027 w 4519987"/>
                  <a:gd name="connsiteY73" fmla="*/ 2562225 h 4429225"/>
                  <a:gd name="connsiteX74" fmla="*/ 30502 w 4519987"/>
                  <a:gd name="connsiteY74" fmla="*/ 2514600 h 4429225"/>
                  <a:gd name="connsiteX75" fmla="*/ 11452 w 4519987"/>
                  <a:gd name="connsiteY75" fmla="*/ 2400300 h 4429225"/>
                  <a:gd name="connsiteX76" fmla="*/ 20977 w 4519987"/>
                  <a:gd name="connsiteY76" fmla="*/ 1905000 h 4429225"/>
                  <a:gd name="connsiteX77" fmla="*/ 30502 w 4519987"/>
                  <a:gd name="connsiteY77" fmla="*/ 1838325 h 4429225"/>
                  <a:gd name="connsiteX78" fmla="*/ 49552 w 4519987"/>
                  <a:gd name="connsiteY78" fmla="*/ 1781175 h 4429225"/>
                  <a:gd name="connsiteX79" fmla="*/ 59077 w 4519987"/>
                  <a:gd name="connsiteY79" fmla="*/ 1743075 h 4429225"/>
                  <a:gd name="connsiteX80" fmla="*/ 78127 w 4519987"/>
                  <a:gd name="connsiteY80" fmla="*/ 1685925 h 4429225"/>
                  <a:gd name="connsiteX81" fmla="*/ 87652 w 4519987"/>
                  <a:gd name="connsiteY81" fmla="*/ 1638300 h 4429225"/>
                  <a:gd name="connsiteX82" fmla="*/ 106702 w 4519987"/>
                  <a:gd name="connsiteY82" fmla="*/ 1590675 h 4429225"/>
                  <a:gd name="connsiteX83" fmla="*/ 135277 w 4519987"/>
                  <a:gd name="connsiteY83" fmla="*/ 1504950 h 4429225"/>
                  <a:gd name="connsiteX84" fmla="*/ 154327 w 4519987"/>
                  <a:gd name="connsiteY84" fmla="*/ 1419225 h 4429225"/>
                  <a:gd name="connsiteX85" fmla="*/ 230527 w 4519987"/>
                  <a:gd name="connsiteY85" fmla="*/ 1276350 h 4429225"/>
                  <a:gd name="connsiteX86" fmla="*/ 240052 w 4519987"/>
                  <a:gd name="connsiteY86" fmla="*/ 1247775 h 4429225"/>
                  <a:gd name="connsiteX87" fmla="*/ 268627 w 4519987"/>
                  <a:gd name="connsiteY87" fmla="*/ 1200150 h 4429225"/>
                  <a:gd name="connsiteX88" fmla="*/ 287677 w 4519987"/>
                  <a:gd name="connsiteY88" fmla="*/ 1152525 h 4429225"/>
                  <a:gd name="connsiteX89" fmla="*/ 316252 w 4519987"/>
                  <a:gd name="connsiteY89" fmla="*/ 1114425 h 4429225"/>
                  <a:gd name="connsiteX90" fmla="*/ 363877 w 4519987"/>
                  <a:gd name="connsiteY90" fmla="*/ 1038225 h 4429225"/>
                  <a:gd name="connsiteX91" fmla="*/ 382927 w 4519987"/>
                  <a:gd name="connsiteY91" fmla="*/ 1009650 h 4429225"/>
                  <a:gd name="connsiteX92" fmla="*/ 440077 w 4519987"/>
                  <a:gd name="connsiteY92" fmla="*/ 904875 h 4429225"/>
                  <a:gd name="connsiteX93" fmla="*/ 478177 w 4519987"/>
                  <a:gd name="connsiteY93" fmla="*/ 857250 h 4429225"/>
                  <a:gd name="connsiteX94" fmla="*/ 497227 w 4519987"/>
                  <a:gd name="connsiteY94" fmla="*/ 828675 h 4429225"/>
                  <a:gd name="connsiteX95" fmla="*/ 535327 w 4519987"/>
                  <a:gd name="connsiteY95" fmla="*/ 800100 h 4429225"/>
                  <a:gd name="connsiteX96" fmla="*/ 602002 w 4519987"/>
                  <a:gd name="connsiteY96" fmla="*/ 733425 h 4429225"/>
                  <a:gd name="connsiteX97" fmla="*/ 668677 w 4519987"/>
                  <a:gd name="connsiteY97" fmla="*/ 676275 h 4429225"/>
                  <a:gd name="connsiteX98" fmla="*/ 697252 w 4519987"/>
                  <a:gd name="connsiteY98" fmla="*/ 657225 h 4429225"/>
                  <a:gd name="connsiteX99" fmla="*/ 840127 w 4519987"/>
                  <a:gd name="connsiteY99" fmla="*/ 533400 h 4429225"/>
                  <a:gd name="connsiteX100" fmla="*/ 887752 w 4519987"/>
                  <a:gd name="connsiteY100" fmla="*/ 504825 h 4429225"/>
                  <a:gd name="connsiteX101" fmla="*/ 1167152 w 4519987"/>
                  <a:gd name="connsiteY101" fmla="*/ 311150 h 4429225"/>
                  <a:gd name="connsiteX102" fmla="*/ 1268752 w 4519987"/>
                  <a:gd name="connsiteY102" fmla="*/ 285750 h 4429225"/>
                  <a:gd name="connsiteX103" fmla="*/ 1411627 w 4519987"/>
                  <a:gd name="connsiteY103" fmla="*/ 190500 h 4429225"/>
                  <a:gd name="connsiteX104" fmla="*/ 1449727 w 4519987"/>
                  <a:gd name="connsiteY104" fmla="*/ 161925 h 4429225"/>
                  <a:gd name="connsiteX105" fmla="*/ 1525927 w 4519987"/>
                  <a:gd name="connsiteY105" fmla="*/ 152400 h 4429225"/>
                  <a:gd name="connsiteX106" fmla="*/ 1583077 w 4519987"/>
                  <a:gd name="connsiteY106" fmla="*/ 142875 h 4429225"/>
                  <a:gd name="connsiteX107" fmla="*/ 1716427 w 4519987"/>
                  <a:gd name="connsiteY107" fmla="*/ 123825 h 4429225"/>
                  <a:gd name="connsiteX108" fmla="*/ 1811677 w 4519987"/>
                  <a:gd name="connsiteY108" fmla="*/ 114300 h 4429225"/>
                  <a:gd name="connsiteX109" fmla="*/ 1859302 w 4519987"/>
                  <a:gd name="connsiteY109" fmla="*/ 104775 h 4429225"/>
                  <a:gd name="connsiteX110" fmla="*/ 1916452 w 4519987"/>
                  <a:gd name="connsiteY110" fmla="*/ 95250 h 4429225"/>
                  <a:gd name="connsiteX111" fmla="*/ 2030752 w 4519987"/>
                  <a:gd name="connsiteY111" fmla="*/ 66675 h 4429225"/>
                  <a:gd name="connsiteX112" fmla="*/ 2097427 w 4519987"/>
                  <a:gd name="connsiteY112" fmla="*/ 47625 h 4429225"/>
                  <a:gd name="connsiteX113" fmla="*/ 2164102 w 4519987"/>
                  <a:gd name="connsiteY113" fmla="*/ 38100 h 4429225"/>
                  <a:gd name="connsiteX114" fmla="*/ 2392702 w 4519987"/>
                  <a:gd name="connsiteY114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402102 w 4519987"/>
                  <a:gd name="connsiteY46" fmla="*/ 4276725 h 4429225"/>
                  <a:gd name="connsiteX47" fmla="*/ 1287802 w 4519987"/>
                  <a:gd name="connsiteY47" fmla="*/ 4229100 h 4429225"/>
                  <a:gd name="connsiteX48" fmla="*/ 1221127 w 4519987"/>
                  <a:gd name="connsiteY48" fmla="*/ 4200525 h 4429225"/>
                  <a:gd name="connsiteX49" fmla="*/ 1144927 w 4519987"/>
                  <a:gd name="connsiteY49" fmla="*/ 4171950 h 4429225"/>
                  <a:gd name="connsiteX50" fmla="*/ 1087777 w 4519987"/>
                  <a:gd name="connsiteY50" fmla="*/ 4143375 h 4429225"/>
                  <a:gd name="connsiteX51" fmla="*/ 1030627 w 4519987"/>
                  <a:gd name="connsiteY51" fmla="*/ 4124325 h 4429225"/>
                  <a:gd name="connsiteX52" fmla="*/ 925852 w 4519987"/>
                  <a:gd name="connsiteY52" fmla="*/ 4067175 h 4429225"/>
                  <a:gd name="connsiteX53" fmla="*/ 830602 w 4519987"/>
                  <a:gd name="connsiteY53" fmla="*/ 3981450 h 4429225"/>
                  <a:gd name="connsiteX54" fmla="*/ 763927 w 4519987"/>
                  <a:gd name="connsiteY54" fmla="*/ 3914775 h 4429225"/>
                  <a:gd name="connsiteX55" fmla="*/ 725827 w 4519987"/>
                  <a:gd name="connsiteY55" fmla="*/ 3876675 h 4429225"/>
                  <a:gd name="connsiteX56" fmla="*/ 697252 w 4519987"/>
                  <a:gd name="connsiteY56" fmla="*/ 3838575 h 4429225"/>
                  <a:gd name="connsiteX57" fmla="*/ 640102 w 4519987"/>
                  <a:gd name="connsiteY57" fmla="*/ 3781425 h 4429225"/>
                  <a:gd name="connsiteX58" fmla="*/ 611527 w 4519987"/>
                  <a:gd name="connsiteY58" fmla="*/ 3733800 h 4429225"/>
                  <a:gd name="connsiteX59" fmla="*/ 554377 w 4519987"/>
                  <a:gd name="connsiteY59" fmla="*/ 3657600 h 4429225"/>
                  <a:gd name="connsiteX60" fmla="*/ 525802 w 4519987"/>
                  <a:gd name="connsiteY60" fmla="*/ 3609975 h 4429225"/>
                  <a:gd name="connsiteX61" fmla="*/ 497227 w 4519987"/>
                  <a:gd name="connsiteY61" fmla="*/ 3552825 h 4429225"/>
                  <a:gd name="connsiteX62" fmla="*/ 440077 w 4519987"/>
                  <a:gd name="connsiteY62" fmla="*/ 3495675 h 4429225"/>
                  <a:gd name="connsiteX63" fmla="*/ 411502 w 4519987"/>
                  <a:gd name="connsiteY63" fmla="*/ 3448050 h 4429225"/>
                  <a:gd name="connsiteX64" fmla="*/ 278152 w 4519987"/>
                  <a:gd name="connsiteY64" fmla="*/ 3257550 h 4429225"/>
                  <a:gd name="connsiteX65" fmla="*/ 249577 w 4519987"/>
                  <a:gd name="connsiteY65" fmla="*/ 3200400 h 4429225"/>
                  <a:gd name="connsiteX66" fmla="*/ 240052 w 4519987"/>
                  <a:gd name="connsiteY66" fmla="*/ 3162300 h 4429225"/>
                  <a:gd name="connsiteX67" fmla="*/ 221002 w 4519987"/>
                  <a:gd name="connsiteY67" fmla="*/ 3105150 h 4429225"/>
                  <a:gd name="connsiteX68" fmla="*/ 173377 w 4519987"/>
                  <a:gd name="connsiteY68" fmla="*/ 3019425 h 4429225"/>
                  <a:gd name="connsiteX69" fmla="*/ 144802 w 4519987"/>
                  <a:gd name="connsiteY69" fmla="*/ 2924175 h 4429225"/>
                  <a:gd name="connsiteX70" fmla="*/ 68602 w 4519987"/>
                  <a:gd name="connsiteY70" fmla="*/ 2724150 h 4429225"/>
                  <a:gd name="connsiteX71" fmla="*/ 49552 w 4519987"/>
                  <a:gd name="connsiteY71" fmla="*/ 2638425 h 4429225"/>
                  <a:gd name="connsiteX72" fmla="*/ 40027 w 4519987"/>
                  <a:gd name="connsiteY72" fmla="*/ 2562225 h 4429225"/>
                  <a:gd name="connsiteX73" fmla="*/ 30502 w 4519987"/>
                  <a:gd name="connsiteY73" fmla="*/ 2514600 h 4429225"/>
                  <a:gd name="connsiteX74" fmla="*/ 11452 w 4519987"/>
                  <a:gd name="connsiteY74" fmla="*/ 2400300 h 4429225"/>
                  <a:gd name="connsiteX75" fmla="*/ 20977 w 4519987"/>
                  <a:gd name="connsiteY75" fmla="*/ 1905000 h 4429225"/>
                  <a:gd name="connsiteX76" fmla="*/ 30502 w 4519987"/>
                  <a:gd name="connsiteY76" fmla="*/ 1838325 h 4429225"/>
                  <a:gd name="connsiteX77" fmla="*/ 49552 w 4519987"/>
                  <a:gd name="connsiteY77" fmla="*/ 1781175 h 4429225"/>
                  <a:gd name="connsiteX78" fmla="*/ 59077 w 4519987"/>
                  <a:gd name="connsiteY78" fmla="*/ 1743075 h 4429225"/>
                  <a:gd name="connsiteX79" fmla="*/ 78127 w 4519987"/>
                  <a:gd name="connsiteY79" fmla="*/ 1685925 h 4429225"/>
                  <a:gd name="connsiteX80" fmla="*/ 87652 w 4519987"/>
                  <a:gd name="connsiteY80" fmla="*/ 1638300 h 4429225"/>
                  <a:gd name="connsiteX81" fmla="*/ 106702 w 4519987"/>
                  <a:gd name="connsiteY81" fmla="*/ 1590675 h 4429225"/>
                  <a:gd name="connsiteX82" fmla="*/ 135277 w 4519987"/>
                  <a:gd name="connsiteY82" fmla="*/ 1504950 h 4429225"/>
                  <a:gd name="connsiteX83" fmla="*/ 154327 w 4519987"/>
                  <a:gd name="connsiteY83" fmla="*/ 1419225 h 4429225"/>
                  <a:gd name="connsiteX84" fmla="*/ 230527 w 4519987"/>
                  <a:gd name="connsiteY84" fmla="*/ 1276350 h 4429225"/>
                  <a:gd name="connsiteX85" fmla="*/ 240052 w 4519987"/>
                  <a:gd name="connsiteY85" fmla="*/ 1247775 h 4429225"/>
                  <a:gd name="connsiteX86" fmla="*/ 268627 w 4519987"/>
                  <a:gd name="connsiteY86" fmla="*/ 1200150 h 4429225"/>
                  <a:gd name="connsiteX87" fmla="*/ 287677 w 4519987"/>
                  <a:gd name="connsiteY87" fmla="*/ 1152525 h 4429225"/>
                  <a:gd name="connsiteX88" fmla="*/ 316252 w 4519987"/>
                  <a:gd name="connsiteY88" fmla="*/ 1114425 h 4429225"/>
                  <a:gd name="connsiteX89" fmla="*/ 363877 w 4519987"/>
                  <a:gd name="connsiteY89" fmla="*/ 1038225 h 4429225"/>
                  <a:gd name="connsiteX90" fmla="*/ 382927 w 4519987"/>
                  <a:gd name="connsiteY90" fmla="*/ 1009650 h 4429225"/>
                  <a:gd name="connsiteX91" fmla="*/ 440077 w 4519987"/>
                  <a:gd name="connsiteY91" fmla="*/ 904875 h 4429225"/>
                  <a:gd name="connsiteX92" fmla="*/ 478177 w 4519987"/>
                  <a:gd name="connsiteY92" fmla="*/ 857250 h 4429225"/>
                  <a:gd name="connsiteX93" fmla="*/ 497227 w 4519987"/>
                  <a:gd name="connsiteY93" fmla="*/ 828675 h 4429225"/>
                  <a:gd name="connsiteX94" fmla="*/ 535327 w 4519987"/>
                  <a:gd name="connsiteY94" fmla="*/ 800100 h 4429225"/>
                  <a:gd name="connsiteX95" fmla="*/ 602002 w 4519987"/>
                  <a:gd name="connsiteY95" fmla="*/ 733425 h 4429225"/>
                  <a:gd name="connsiteX96" fmla="*/ 668677 w 4519987"/>
                  <a:gd name="connsiteY96" fmla="*/ 676275 h 4429225"/>
                  <a:gd name="connsiteX97" fmla="*/ 697252 w 4519987"/>
                  <a:gd name="connsiteY97" fmla="*/ 657225 h 4429225"/>
                  <a:gd name="connsiteX98" fmla="*/ 840127 w 4519987"/>
                  <a:gd name="connsiteY98" fmla="*/ 533400 h 4429225"/>
                  <a:gd name="connsiteX99" fmla="*/ 887752 w 4519987"/>
                  <a:gd name="connsiteY99" fmla="*/ 504825 h 4429225"/>
                  <a:gd name="connsiteX100" fmla="*/ 1167152 w 4519987"/>
                  <a:gd name="connsiteY100" fmla="*/ 311150 h 4429225"/>
                  <a:gd name="connsiteX101" fmla="*/ 1268752 w 4519987"/>
                  <a:gd name="connsiteY101" fmla="*/ 285750 h 4429225"/>
                  <a:gd name="connsiteX102" fmla="*/ 1411627 w 4519987"/>
                  <a:gd name="connsiteY102" fmla="*/ 190500 h 4429225"/>
                  <a:gd name="connsiteX103" fmla="*/ 1449727 w 4519987"/>
                  <a:gd name="connsiteY103" fmla="*/ 161925 h 4429225"/>
                  <a:gd name="connsiteX104" fmla="*/ 1525927 w 4519987"/>
                  <a:gd name="connsiteY104" fmla="*/ 152400 h 4429225"/>
                  <a:gd name="connsiteX105" fmla="*/ 1583077 w 4519987"/>
                  <a:gd name="connsiteY105" fmla="*/ 142875 h 4429225"/>
                  <a:gd name="connsiteX106" fmla="*/ 1716427 w 4519987"/>
                  <a:gd name="connsiteY106" fmla="*/ 123825 h 4429225"/>
                  <a:gd name="connsiteX107" fmla="*/ 1811677 w 4519987"/>
                  <a:gd name="connsiteY107" fmla="*/ 114300 h 4429225"/>
                  <a:gd name="connsiteX108" fmla="*/ 1859302 w 4519987"/>
                  <a:gd name="connsiteY108" fmla="*/ 104775 h 4429225"/>
                  <a:gd name="connsiteX109" fmla="*/ 1916452 w 4519987"/>
                  <a:gd name="connsiteY109" fmla="*/ 95250 h 4429225"/>
                  <a:gd name="connsiteX110" fmla="*/ 2030752 w 4519987"/>
                  <a:gd name="connsiteY110" fmla="*/ 66675 h 4429225"/>
                  <a:gd name="connsiteX111" fmla="*/ 2097427 w 4519987"/>
                  <a:gd name="connsiteY111" fmla="*/ 47625 h 4429225"/>
                  <a:gd name="connsiteX112" fmla="*/ 2164102 w 4519987"/>
                  <a:gd name="connsiteY112" fmla="*/ 38100 h 4429225"/>
                  <a:gd name="connsiteX113" fmla="*/ 2392702 w 4519987"/>
                  <a:gd name="connsiteY113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221127 w 4519987"/>
                  <a:gd name="connsiteY47" fmla="*/ 4200525 h 4429225"/>
                  <a:gd name="connsiteX48" fmla="*/ 1144927 w 4519987"/>
                  <a:gd name="connsiteY48" fmla="*/ 4171950 h 4429225"/>
                  <a:gd name="connsiteX49" fmla="*/ 1087777 w 4519987"/>
                  <a:gd name="connsiteY49" fmla="*/ 4143375 h 4429225"/>
                  <a:gd name="connsiteX50" fmla="*/ 1030627 w 4519987"/>
                  <a:gd name="connsiteY50" fmla="*/ 4124325 h 4429225"/>
                  <a:gd name="connsiteX51" fmla="*/ 925852 w 4519987"/>
                  <a:gd name="connsiteY51" fmla="*/ 4067175 h 4429225"/>
                  <a:gd name="connsiteX52" fmla="*/ 830602 w 4519987"/>
                  <a:gd name="connsiteY52" fmla="*/ 3981450 h 4429225"/>
                  <a:gd name="connsiteX53" fmla="*/ 763927 w 4519987"/>
                  <a:gd name="connsiteY53" fmla="*/ 3914775 h 4429225"/>
                  <a:gd name="connsiteX54" fmla="*/ 725827 w 4519987"/>
                  <a:gd name="connsiteY54" fmla="*/ 3876675 h 4429225"/>
                  <a:gd name="connsiteX55" fmla="*/ 697252 w 4519987"/>
                  <a:gd name="connsiteY55" fmla="*/ 3838575 h 4429225"/>
                  <a:gd name="connsiteX56" fmla="*/ 640102 w 4519987"/>
                  <a:gd name="connsiteY56" fmla="*/ 3781425 h 4429225"/>
                  <a:gd name="connsiteX57" fmla="*/ 611527 w 4519987"/>
                  <a:gd name="connsiteY57" fmla="*/ 3733800 h 4429225"/>
                  <a:gd name="connsiteX58" fmla="*/ 554377 w 4519987"/>
                  <a:gd name="connsiteY58" fmla="*/ 3657600 h 4429225"/>
                  <a:gd name="connsiteX59" fmla="*/ 525802 w 4519987"/>
                  <a:gd name="connsiteY59" fmla="*/ 3609975 h 4429225"/>
                  <a:gd name="connsiteX60" fmla="*/ 497227 w 4519987"/>
                  <a:gd name="connsiteY60" fmla="*/ 3552825 h 4429225"/>
                  <a:gd name="connsiteX61" fmla="*/ 440077 w 4519987"/>
                  <a:gd name="connsiteY61" fmla="*/ 3495675 h 4429225"/>
                  <a:gd name="connsiteX62" fmla="*/ 411502 w 4519987"/>
                  <a:gd name="connsiteY62" fmla="*/ 3448050 h 4429225"/>
                  <a:gd name="connsiteX63" fmla="*/ 278152 w 4519987"/>
                  <a:gd name="connsiteY63" fmla="*/ 3257550 h 4429225"/>
                  <a:gd name="connsiteX64" fmla="*/ 249577 w 4519987"/>
                  <a:gd name="connsiteY64" fmla="*/ 3200400 h 4429225"/>
                  <a:gd name="connsiteX65" fmla="*/ 240052 w 4519987"/>
                  <a:gd name="connsiteY65" fmla="*/ 3162300 h 4429225"/>
                  <a:gd name="connsiteX66" fmla="*/ 221002 w 4519987"/>
                  <a:gd name="connsiteY66" fmla="*/ 3105150 h 4429225"/>
                  <a:gd name="connsiteX67" fmla="*/ 173377 w 4519987"/>
                  <a:gd name="connsiteY67" fmla="*/ 3019425 h 4429225"/>
                  <a:gd name="connsiteX68" fmla="*/ 144802 w 4519987"/>
                  <a:gd name="connsiteY68" fmla="*/ 2924175 h 4429225"/>
                  <a:gd name="connsiteX69" fmla="*/ 68602 w 4519987"/>
                  <a:gd name="connsiteY69" fmla="*/ 2724150 h 4429225"/>
                  <a:gd name="connsiteX70" fmla="*/ 49552 w 4519987"/>
                  <a:gd name="connsiteY70" fmla="*/ 2638425 h 4429225"/>
                  <a:gd name="connsiteX71" fmla="*/ 40027 w 4519987"/>
                  <a:gd name="connsiteY71" fmla="*/ 2562225 h 4429225"/>
                  <a:gd name="connsiteX72" fmla="*/ 30502 w 4519987"/>
                  <a:gd name="connsiteY72" fmla="*/ 2514600 h 4429225"/>
                  <a:gd name="connsiteX73" fmla="*/ 11452 w 4519987"/>
                  <a:gd name="connsiteY73" fmla="*/ 2400300 h 4429225"/>
                  <a:gd name="connsiteX74" fmla="*/ 20977 w 4519987"/>
                  <a:gd name="connsiteY74" fmla="*/ 1905000 h 4429225"/>
                  <a:gd name="connsiteX75" fmla="*/ 30502 w 4519987"/>
                  <a:gd name="connsiteY75" fmla="*/ 1838325 h 4429225"/>
                  <a:gd name="connsiteX76" fmla="*/ 49552 w 4519987"/>
                  <a:gd name="connsiteY76" fmla="*/ 1781175 h 4429225"/>
                  <a:gd name="connsiteX77" fmla="*/ 59077 w 4519987"/>
                  <a:gd name="connsiteY77" fmla="*/ 1743075 h 4429225"/>
                  <a:gd name="connsiteX78" fmla="*/ 78127 w 4519987"/>
                  <a:gd name="connsiteY78" fmla="*/ 1685925 h 4429225"/>
                  <a:gd name="connsiteX79" fmla="*/ 87652 w 4519987"/>
                  <a:gd name="connsiteY79" fmla="*/ 1638300 h 4429225"/>
                  <a:gd name="connsiteX80" fmla="*/ 106702 w 4519987"/>
                  <a:gd name="connsiteY80" fmla="*/ 1590675 h 4429225"/>
                  <a:gd name="connsiteX81" fmla="*/ 135277 w 4519987"/>
                  <a:gd name="connsiteY81" fmla="*/ 1504950 h 4429225"/>
                  <a:gd name="connsiteX82" fmla="*/ 154327 w 4519987"/>
                  <a:gd name="connsiteY82" fmla="*/ 1419225 h 4429225"/>
                  <a:gd name="connsiteX83" fmla="*/ 230527 w 4519987"/>
                  <a:gd name="connsiteY83" fmla="*/ 1276350 h 4429225"/>
                  <a:gd name="connsiteX84" fmla="*/ 240052 w 4519987"/>
                  <a:gd name="connsiteY84" fmla="*/ 1247775 h 4429225"/>
                  <a:gd name="connsiteX85" fmla="*/ 268627 w 4519987"/>
                  <a:gd name="connsiteY85" fmla="*/ 1200150 h 4429225"/>
                  <a:gd name="connsiteX86" fmla="*/ 287677 w 4519987"/>
                  <a:gd name="connsiteY86" fmla="*/ 1152525 h 4429225"/>
                  <a:gd name="connsiteX87" fmla="*/ 316252 w 4519987"/>
                  <a:gd name="connsiteY87" fmla="*/ 1114425 h 4429225"/>
                  <a:gd name="connsiteX88" fmla="*/ 363877 w 4519987"/>
                  <a:gd name="connsiteY88" fmla="*/ 1038225 h 4429225"/>
                  <a:gd name="connsiteX89" fmla="*/ 382927 w 4519987"/>
                  <a:gd name="connsiteY89" fmla="*/ 1009650 h 4429225"/>
                  <a:gd name="connsiteX90" fmla="*/ 440077 w 4519987"/>
                  <a:gd name="connsiteY90" fmla="*/ 904875 h 4429225"/>
                  <a:gd name="connsiteX91" fmla="*/ 478177 w 4519987"/>
                  <a:gd name="connsiteY91" fmla="*/ 857250 h 4429225"/>
                  <a:gd name="connsiteX92" fmla="*/ 497227 w 4519987"/>
                  <a:gd name="connsiteY92" fmla="*/ 828675 h 4429225"/>
                  <a:gd name="connsiteX93" fmla="*/ 535327 w 4519987"/>
                  <a:gd name="connsiteY93" fmla="*/ 800100 h 4429225"/>
                  <a:gd name="connsiteX94" fmla="*/ 602002 w 4519987"/>
                  <a:gd name="connsiteY94" fmla="*/ 733425 h 4429225"/>
                  <a:gd name="connsiteX95" fmla="*/ 668677 w 4519987"/>
                  <a:gd name="connsiteY95" fmla="*/ 676275 h 4429225"/>
                  <a:gd name="connsiteX96" fmla="*/ 697252 w 4519987"/>
                  <a:gd name="connsiteY96" fmla="*/ 657225 h 4429225"/>
                  <a:gd name="connsiteX97" fmla="*/ 840127 w 4519987"/>
                  <a:gd name="connsiteY97" fmla="*/ 533400 h 4429225"/>
                  <a:gd name="connsiteX98" fmla="*/ 887752 w 4519987"/>
                  <a:gd name="connsiteY98" fmla="*/ 504825 h 4429225"/>
                  <a:gd name="connsiteX99" fmla="*/ 1167152 w 4519987"/>
                  <a:gd name="connsiteY99" fmla="*/ 311150 h 4429225"/>
                  <a:gd name="connsiteX100" fmla="*/ 1268752 w 4519987"/>
                  <a:gd name="connsiteY100" fmla="*/ 285750 h 4429225"/>
                  <a:gd name="connsiteX101" fmla="*/ 1411627 w 4519987"/>
                  <a:gd name="connsiteY101" fmla="*/ 190500 h 4429225"/>
                  <a:gd name="connsiteX102" fmla="*/ 1449727 w 4519987"/>
                  <a:gd name="connsiteY102" fmla="*/ 161925 h 4429225"/>
                  <a:gd name="connsiteX103" fmla="*/ 1525927 w 4519987"/>
                  <a:gd name="connsiteY103" fmla="*/ 152400 h 4429225"/>
                  <a:gd name="connsiteX104" fmla="*/ 1583077 w 4519987"/>
                  <a:gd name="connsiteY104" fmla="*/ 142875 h 4429225"/>
                  <a:gd name="connsiteX105" fmla="*/ 1716427 w 4519987"/>
                  <a:gd name="connsiteY105" fmla="*/ 123825 h 4429225"/>
                  <a:gd name="connsiteX106" fmla="*/ 1811677 w 4519987"/>
                  <a:gd name="connsiteY106" fmla="*/ 114300 h 4429225"/>
                  <a:gd name="connsiteX107" fmla="*/ 1859302 w 4519987"/>
                  <a:gd name="connsiteY107" fmla="*/ 104775 h 4429225"/>
                  <a:gd name="connsiteX108" fmla="*/ 1916452 w 4519987"/>
                  <a:gd name="connsiteY108" fmla="*/ 95250 h 4429225"/>
                  <a:gd name="connsiteX109" fmla="*/ 2030752 w 4519987"/>
                  <a:gd name="connsiteY109" fmla="*/ 66675 h 4429225"/>
                  <a:gd name="connsiteX110" fmla="*/ 2097427 w 4519987"/>
                  <a:gd name="connsiteY110" fmla="*/ 47625 h 4429225"/>
                  <a:gd name="connsiteX111" fmla="*/ 2164102 w 4519987"/>
                  <a:gd name="connsiteY111" fmla="*/ 38100 h 4429225"/>
                  <a:gd name="connsiteX112" fmla="*/ 2392702 w 4519987"/>
                  <a:gd name="connsiteY112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221127 w 4519987"/>
                  <a:gd name="connsiteY47" fmla="*/ 4200525 h 4429225"/>
                  <a:gd name="connsiteX48" fmla="*/ 1087777 w 4519987"/>
                  <a:gd name="connsiteY48" fmla="*/ 4143375 h 4429225"/>
                  <a:gd name="connsiteX49" fmla="*/ 1030627 w 4519987"/>
                  <a:gd name="connsiteY49" fmla="*/ 4124325 h 4429225"/>
                  <a:gd name="connsiteX50" fmla="*/ 925852 w 4519987"/>
                  <a:gd name="connsiteY50" fmla="*/ 4067175 h 4429225"/>
                  <a:gd name="connsiteX51" fmla="*/ 830602 w 4519987"/>
                  <a:gd name="connsiteY51" fmla="*/ 3981450 h 4429225"/>
                  <a:gd name="connsiteX52" fmla="*/ 763927 w 4519987"/>
                  <a:gd name="connsiteY52" fmla="*/ 3914775 h 4429225"/>
                  <a:gd name="connsiteX53" fmla="*/ 725827 w 4519987"/>
                  <a:gd name="connsiteY53" fmla="*/ 3876675 h 4429225"/>
                  <a:gd name="connsiteX54" fmla="*/ 697252 w 4519987"/>
                  <a:gd name="connsiteY54" fmla="*/ 3838575 h 4429225"/>
                  <a:gd name="connsiteX55" fmla="*/ 640102 w 4519987"/>
                  <a:gd name="connsiteY55" fmla="*/ 3781425 h 4429225"/>
                  <a:gd name="connsiteX56" fmla="*/ 611527 w 4519987"/>
                  <a:gd name="connsiteY56" fmla="*/ 3733800 h 4429225"/>
                  <a:gd name="connsiteX57" fmla="*/ 554377 w 4519987"/>
                  <a:gd name="connsiteY57" fmla="*/ 3657600 h 4429225"/>
                  <a:gd name="connsiteX58" fmla="*/ 525802 w 4519987"/>
                  <a:gd name="connsiteY58" fmla="*/ 3609975 h 4429225"/>
                  <a:gd name="connsiteX59" fmla="*/ 497227 w 4519987"/>
                  <a:gd name="connsiteY59" fmla="*/ 3552825 h 4429225"/>
                  <a:gd name="connsiteX60" fmla="*/ 440077 w 4519987"/>
                  <a:gd name="connsiteY60" fmla="*/ 3495675 h 4429225"/>
                  <a:gd name="connsiteX61" fmla="*/ 411502 w 4519987"/>
                  <a:gd name="connsiteY61" fmla="*/ 3448050 h 4429225"/>
                  <a:gd name="connsiteX62" fmla="*/ 278152 w 4519987"/>
                  <a:gd name="connsiteY62" fmla="*/ 3257550 h 4429225"/>
                  <a:gd name="connsiteX63" fmla="*/ 249577 w 4519987"/>
                  <a:gd name="connsiteY63" fmla="*/ 3200400 h 4429225"/>
                  <a:gd name="connsiteX64" fmla="*/ 240052 w 4519987"/>
                  <a:gd name="connsiteY64" fmla="*/ 3162300 h 4429225"/>
                  <a:gd name="connsiteX65" fmla="*/ 221002 w 4519987"/>
                  <a:gd name="connsiteY65" fmla="*/ 3105150 h 4429225"/>
                  <a:gd name="connsiteX66" fmla="*/ 173377 w 4519987"/>
                  <a:gd name="connsiteY66" fmla="*/ 3019425 h 4429225"/>
                  <a:gd name="connsiteX67" fmla="*/ 144802 w 4519987"/>
                  <a:gd name="connsiteY67" fmla="*/ 2924175 h 4429225"/>
                  <a:gd name="connsiteX68" fmla="*/ 68602 w 4519987"/>
                  <a:gd name="connsiteY68" fmla="*/ 2724150 h 4429225"/>
                  <a:gd name="connsiteX69" fmla="*/ 49552 w 4519987"/>
                  <a:gd name="connsiteY69" fmla="*/ 2638425 h 4429225"/>
                  <a:gd name="connsiteX70" fmla="*/ 40027 w 4519987"/>
                  <a:gd name="connsiteY70" fmla="*/ 2562225 h 4429225"/>
                  <a:gd name="connsiteX71" fmla="*/ 30502 w 4519987"/>
                  <a:gd name="connsiteY71" fmla="*/ 2514600 h 4429225"/>
                  <a:gd name="connsiteX72" fmla="*/ 11452 w 4519987"/>
                  <a:gd name="connsiteY72" fmla="*/ 2400300 h 4429225"/>
                  <a:gd name="connsiteX73" fmla="*/ 20977 w 4519987"/>
                  <a:gd name="connsiteY73" fmla="*/ 1905000 h 4429225"/>
                  <a:gd name="connsiteX74" fmla="*/ 30502 w 4519987"/>
                  <a:gd name="connsiteY74" fmla="*/ 1838325 h 4429225"/>
                  <a:gd name="connsiteX75" fmla="*/ 49552 w 4519987"/>
                  <a:gd name="connsiteY75" fmla="*/ 1781175 h 4429225"/>
                  <a:gd name="connsiteX76" fmla="*/ 59077 w 4519987"/>
                  <a:gd name="connsiteY76" fmla="*/ 1743075 h 4429225"/>
                  <a:gd name="connsiteX77" fmla="*/ 78127 w 4519987"/>
                  <a:gd name="connsiteY77" fmla="*/ 1685925 h 4429225"/>
                  <a:gd name="connsiteX78" fmla="*/ 87652 w 4519987"/>
                  <a:gd name="connsiteY78" fmla="*/ 1638300 h 4429225"/>
                  <a:gd name="connsiteX79" fmla="*/ 106702 w 4519987"/>
                  <a:gd name="connsiteY79" fmla="*/ 1590675 h 4429225"/>
                  <a:gd name="connsiteX80" fmla="*/ 135277 w 4519987"/>
                  <a:gd name="connsiteY80" fmla="*/ 1504950 h 4429225"/>
                  <a:gd name="connsiteX81" fmla="*/ 154327 w 4519987"/>
                  <a:gd name="connsiteY81" fmla="*/ 1419225 h 4429225"/>
                  <a:gd name="connsiteX82" fmla="*/ 230527 w 4519987"/>
                  <a:gd name="connsiteY82" fmla="*/ 1276350 h 4429225"/>
                  <a:gd name="connsiteX83" fmla="*/ 240052 w 4519987"/>
                  <a:gd name="connsiteY83" fmla="*/ 1247775 h 4429225"/>
                  <a:gd name="connsiteX84" fmla="*/ 268627 w 4519987"/>
                  <a:gd name="connsiteY84" fmla="*/ 1200150 h 4429225"/>
                  <a:gd name="connsiteX85" fmla="*/ 287677 w 4519987"/>
                  <a:gd name="connsiteY85" fmla="*/ 1152525 h 4429225"/>
                  <a:gd name="connsiteX86" fmla="*/ 316252 w 4519987"/>
                  <a:gd name="connsiteY86" fmla="*/ 1114425 h 4429225"/>
                  <a:gd name="connsiteX87" fmla="*/ 363877 w 4519987"/>
                  <a:gd name="connsiteY87" fmla="*/ 1038225 h 4429225"/>
                  <a:gd name="connsiteX88" fmla="*/ 382927 w 4519987"/>
                  <a:gd name="connsiteY88" fmla="*/ 1009650 h 4429225"/>
                  <a:gd name="connsiteX89" fmla="*/ 440077 w 4519987"/>
                  <a:gd name="connsiteY89" fmla="*/ 904875 h 4429225"/>
                  <a:gd name="connsiteX90" fmla="*/ 478177 w 4519987"/>
                  <a:gd name="connsiteY90" fmla="*/ 857250 h 4429225"/>
                  <a:gd name="connsiteX91" fmla="*/ 497227 w 4519987"/>
                  <a:gd name="connsiteY91" fmla="*/ 828675 h 4429225"/>
                  <a:gd name="connsiteX92" fmla="*/ 535327 w 4519987"/>
                  <a:gd name="connsiteY92" fmla="*/ 800100 h 4429225"/>
                  <a:gd name="connsiteX93" fmla="*/ 602002 w 4519987"/>
                  <a:gd name="connsiteY93" fmla="*/ 733425 h 4429225"/>
                  <a:gd name="connsiteX94" fmla="*/ 668677 w 4519987"/>
                  <a:gd name="connsiteY94" fmla="*/ 676275 h 4429225"/>
                  <a:gd name="connsiteX95" fmla="*/ 697252 w 4519987"/>
                  <a:gd name="connsiteY95" fmla="*/ 657225 h 4429225"/>
                  <a:gd name="connsiteX96" fmla="*/ 840127 w 4519987"/>
                  <a:gd name="connsiteY96" fmla="*/ 533400 h 4429225"/>
                  <a:gd name="connsiteX97" fmla="*/ 887752 w 4519987"/>
                  <a:gd name="connsiteY97" fmla="*/ 504825 h 4429225"/>
                  <a:gd name="connsiteX98" fmla="*/ 1167152 w 4519987"/>
                  <a:gd name="connsiteY98" fmla="*/ 311150 h 4429225"/>
                  <a:gd name="connsiteX99" fmla="*/ 1268752 w 4519987"/>
                  <a:gd name="connsiteY99" fmla="*/ 285750 h 4429225"/>
                  <a:gd name="connsiteX100" fmla="*/ 1411627 w 4519987"/>
                  <a:gd name="connsiteY100" fmla="*/ 190500 h 4429225"/>
                  <a:gd name="connsiteX101" fmla="*/ 1449727 w 4519987"/>
                  <a:gd name="connsiteY101" fmla="*/ 161925 h 4429225"/>
                  <a:gd name="connsiteX102" fmla="*/ 1525927 w 4519987"/>
                  <a:gd name="connsiteY102" fmla="*/ 152400 h 4429225"/>
                  <a:gd name="connsiteX103" fmla="*/ 1583077 w 4519987"/>
                  <a:gd name="connsiteY103" fmla="*/ 142875 h 4429225"/>
                  <a:gd name="connsiteX104" fmla="*/ 1716427 w 4519987"/>
                  <a:gd name="connsiteY104" fmla="*/ 123825 h 4429225"/>
                  <a:gd name="connsiteX105" fmla="*/ 1811677 w 4519987"/>
                  <a:gd name="connsiteY105" fmla="*/ 114300 h 4429225"/>
                  <a:gd name="connsiteX106" fmla="*/ 1859302 w 4519987"/>
                  <a:gd name="connsiteY106" fmla="*/ 104775 h 4429225"/>
                  <a:gd name="connsiteX107" fmla="*/ 1916452 w 4519987"/>
                  <a:gd name="connsiteY107" fmla="*/ 95250 h 4429225"/>
                  <a:gd name="connsiteX108" fmla="*/ 2030752 w 4519987"/>
                  <a:gd name="connsiteY108" fmla="*/ 66675 h 4429225"/>
                  <a:gd name="connsiteX109" fmla="*/ 2097427 w 4519987"/>
                  <a:gd name="connsiteY109" fmla="*/ 47625 h 4429225"/>
                  <a:gd name="connsiteX110" fmla="*/ 2164102 w 4519987"/>
                  <a:gd name="connsiteY110" fmla="*/ 38100 h 4429225"/>
                  <a:gd name="connsiteX111" fmla="*/ 2392702 w 4519987"/>
                  <a:gd name="connsiteY111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1030627 w 4519987"/>
                  <a:gd name="connsiteY48" fmla="*/ 4124325 h 4429225"/>
                  <a:gd name="connsiteX49" fmla="*/ 925852 w 4519987"/>
                  <a:gd name="connsiteY49" fmla="*/ 4067175 h 4429225"/>
                  <a:gd name="connsiteX50" fmla="*/ 830602 w 4519987"/>
                  <a:gd name="connsiteY50" fmla="*/ 3981450 h 4429225"/>
                  <a:gd name="connsiteX51" fmla="*/ 763927 w 4519987"/>
                  <a:gd name="connsiteY51" fmla="*/ 3914775 h 4429225"/>
                  <a:gd name="connsiteX52" fmla="*/ 725827 w 4519987"/>
                  <a:gd name="connsiteY52" fmla="*/ 3876675 h 4429225"/>
                  <a:gd name="connsiteX53" fmla="*/ 697252 w 4519987"/>
                  <a:gd name="connsiteY53" fmla="*/ 3838575 h 4429225"/>
                  <a:gd name="connsiteX54" fmla="*/ 640102 w 4519987"/>
                  <a:gd name="connsiteY54" fmla="*/ 3781425 h 4429225"/>
                  <a:gd name="connsiteX55" fmla="*/ 611527 w 4519987"/>
                  <a:gd name="connsiteY55" fmla="*/ 3733800 h 4429225"/>
                  <a:gd name="connsiteX56" fmla="*/ 554377 w 4519987"/>
                  <a:gd name="connsiteY56" fmla="*/ 3657600 h 4429225"/>
                  <a:gd name="connsiteX57" fmla="*/ 525802 w 4519987"/>
                  <a:gd name="connsiteY57" fmla="*/ 3609975 h 4429225"/>
                  <a:gd name="connsiteX58" fmla="*/ 497227 w 4519987"/>
                  <a:gd name="connsiteY58" fmla="*/ 3552825 h 4429225"/>
                  <a:gd name="connsiteX59" fmla="*/ 440077 w 4519987"/>
                  <a:gd name="connsiteY59" fmla="*/ 3495675 h 4429225"/>
                  <a:gd name="connsiteX60" fmla="*/ 411502 w 4519987"/>
                  <a:gd name="connsiteY60" fmla="*/ 3448050 h 4429225"/>
                  <a:gd name="connsiteX61" fmla="*/ 278152 w 4519987"/>
                  <a:gd name="connsiteY61" fmla="*/ 3257550 h 4429225"/>
                  <a:gd name="connsiteX62" fmla="*/ 249577 w 4519987"/>
                  <a:gd name="connsiteY62" fmla="*/ 3200400 h 4429225"/>
                  <a:gd name="connsiteX63" fmla="*/ 240052 w 4519987"/>
                  <a:gd name="connsiteY63" fmla="*/ 3162300 h 4429225"/>
                  <a:gd name="connsiteX64" fmla="*/ 221002 w 4519987"/>
                  <a:gd name="connsiteY64" fmla="*/ 3105150 h 4429225"/>
                  <a:gd name="connsiteX65" fmla="*/ 173377 w 4519987"/>
                  <a:gd name="connsiteY65" fmla="*/ 3019425 h 4429225"/>
                  <a:gd name="connsiteX66" fmla="*/ 144802 w 4519987"/>
                  <a:gd name="connsiteY66" fmla="*/ 2924175 h 4429225"/>
                  <a:gd name="connsiteX67" fmla="*/ 68602 w 4519987"/>
                  <a:gd name="connsiteY67" fmla="*/ 2724150 h 4429225"/>
                  <a:gd name="connsiteX68" fmla="*/ 49552 w 4519987"/>
                  <a:gd name="connsiteY68" fmla="*/ 2638425 h 4429225"/>
                  <a:gd name="connsiteX69" fmla="*/ 40027 w 4519987"/>
                  <a:gd name="connsiteY69" fmla="*/ 2562225 h 4429225"/>
                  <a:gd name="connsiteX70" fmla="*/ 30502 w 4519987"/>
                  <a:gd name="connsiteY70" fmla="*/ 2514600 h 4429225"/>
                  <a:gd name="connsiteX71" fmla="*/ 11452 w 4519987"/>
                  <a:gd name="connsiteY71" fmla="*/ 2400300 h 4429225"/>
                  <a:gd name="connsiteX72" fmla="*/ 20977 w 4519987"/>
                  <a:gd name="connsiteY72" fmla="*/ 1905000 h 4429225"/>
                  <a:gd name="connsiteX73" fmla="*/ 30502 w 4519987"/>
                  <a:gd name="connsiteY73" fmla="*/ 1838325 h 4429225"/>
                  <a:gd name="connsiteX74" fmla="*/ 49552 w 4519987"/>
                  <a:gd name="connsiteY74" fmla="*/ 1781175 h 4429225"/>
                  <a:gd name="connsiteX75" fmla="*/ 59077 w 4519987"/>
                  <a:gd name="connsiteY75" fmla="*/ 1743075 h 4429225"/>
                  <a:gd name="connsiteX76" fmla="*/ 78127 w 4519987"/>
                  <a:gd name="connsiteY76" fmla="*/ 1685925 h 4429225"/>
                  <a:gd name="connsiteX77" fmla="*/ 87652 w 4519987"/>
                  <a:gd name="connsiteY77" fmla="*/ 1638300 h 4429225"/>
                  <a:gd name="connsiteX78" fmla="*/ 106702 w 4519987"/>
                  <a:gd name="connsiteY78" fmla="*/ 1590675 h 4429225"/>
                  <a:gd name="connsiteX79" fmla="*/ 135277 w 4519987"/>
                  <a:gd name="connsiteY79" fmla="*/ 1504950 h 4429225"/>
                  <a:gd name="connsiteX80" fmla="*/ 154327 w 4519987"/>
                  <a:gd name="connsiteY80" fmla="*/ 1419225 h 4429225"/>
                  <a:gd name="connsiteX81" fmla="*/ 230527 w 4519987"/>
                  <a:gd name="connsiteY81" fmla="*/ 1276350 h 4429225"/>
                  <a:gd name="connsiteX82" fmla="*/ 240052 w 4519987"/>
                  <a:gd name="connsiteY82" fmla="*/ 1247775 h 4429225"/>
                  <a:gd name="connsiteX83" fmla="*/ 268627 w 4519987"/>
                  <a:gd name="connsiteY83" fmla="*/ 1200150 h 4429225"/>
                  <a:gd name="connsiteX84" fmla="*/ 287677 w 4519987"/>
                  <a:gd name="connsiteY84" fmla="*/ 1152525 h 4429225"/>
                  <a:gd name="connsiteX85" fmla="*/ 316252 w 4519987"/>
                  <a:gd name="connsiteY85" fmla="*/ 1114425 h 4429225"/>
                  <a:gd name="connsiteX86" fmla="*/ 363877 w 4519987"/>
                  <a:gd name="connsiteY86" fmla="*/ 1038225 h 4429225"/>
                  <a:gd name="connsiteX87" fmla="*/ 382927 w 4519987"/>
                  <a:gd name="connsiteY87" fmla="*/ 1009650 h 4429225"/>
                  <a:gd name="connsiteX88" fmla="*/ 440077 w 4519987"/>
                  <a:gd name="connsiteY88" fmla="*/ 904875 h 4429225"/>
                  <a:gd name="connsiteX89" fmla="*/ 478177 w 4519987"/>
                  <a:gd name="connsiteY89" fmla="*/ 857250 h 4429225"/>
                  <a:gd name="connsiteX90" fmla="*/ 497227 w 4519987"/>
                  <a:gd name="connsiteY90" fmla="*/ 828675 h 4429225"/>
                  <a:gd name="connsiteX91" fmla="*/ 535327 w 4519987"/>
                  <a:gd name="connsiteY91" fmla="*/ 800100 h 4429225"/>
                  <a:gd name="connsiteX92" fmla="*/ 602002 w 4519987"/>
                  <a:gd name="connsiteY92" fmla="*/ 733425 h 4429225"/>
                  <a:gd name="connsiteX93" fmla="*/ 668677 w 4519987"/>
                  <a:gd name="connsiteY93" fmla="*/ 676275 h 4429225"/>
                  <a:gd name="connsiteX94" fmla="*/ 697252 w 4519987"/>
                  <a:gd name="connsiteY94" fmla="*/ 657225 h 4429225"/>
                  <a:gd name="connsiteX95" fmla="*/ 840127 w 4519987"/>
                  <a:gd name="connsiteY95" fmla="*/ 533400 h 4429225"/>
                  <a:gd name="connsiteX96" fmla="*/ 887752 w 4519987"/>
                  <a:gd name="connsiteY96" fmla="*/ 504825 h 4429225"/>
                  <a:gd name="connsiteX97" fmla="*/ 1167152 w 4519987"/>
                  <a:gd name="connsiteY97" fmla="*/ 311150 h 4429225"/>
                  <a:gd name="connsiteX98" fmla="*/ 1268752 w 4519987"/>
                  <a:gd name="connsiteY98" fmla="*/ 285750 h 4429225"/>
                  <a:gd name="connsiteX99" fmla="*/ 1411627 w 4519987"/>
                  <a:gd name="connsiteY99" fmla="*/ 190500 h 4429225"/>
                  <a:gd name="connsiteX100" fmla="*/ 1449727 w 4519987"/>
                  <a:gd name="connsiteY100" fmla="*/ 161925 h 4429225"/>
                  <a:gd name="connsiteX101" fmla="*/ 1525927 w 4519987"/>
                  <a:gd name="connsiteY101" fmla="*/ 152400 h 4429225"/>
                  <a:gd name="connsiteX102" fmla="*/ 1583077 w 4519987"/>
                  <a:gd name="connsiteY102" fmla="*/ 142875 h 4429225"/>
                  <a:gd name="connsiteX103" fmla="*/ 1716427 w 4519987"/>
                  <a:gd name="connsiteY103" fmla="*/ 123825 h 4429225"/>
                  <a:gd name="connsiteX104" fmla="*/ 1811677 w 4519987"/>
                  <a:gd name="connsiteY104" fmla="*/ 114300 h 4429225"/>
                  <a:gd name="connsiteX105" fmla="*/ 1859302 w 4519987"/>
                  <a:gd name="connsiteY105" fmla="*/ 104775 h 4429225"/>
                  <a:gd name="connsiteX106" fmla="*/ 1916452 w 4519987"/>
                  <a:gd name="connsiteY106" fmla="*/ 95250 h 4429225"/>
                  <a:gd name="connsiteX107" fmla="*/ 2030752 w 4519987"/>
                  <a:gd name="connsiteY107" fmla="*/ 66675 h 4429225"/>
                  <a:gd name="connsiteX108" fmla="*/ 2097427 w 4519987"/>
                  <a:gd name="connsiteY108" fmla="*/ 47625 h 4429225"/>
                  <a:gd name="connsiteX109" fmla="*/ 2164102 w 4519987"/>
                  <a:gd name="connsiteY109" fmla="*/ 38100 h 4429225"/>
                  <a:gd name="connsiteX110" fmla="*/ 2392702 w 4519987"/>
                  <a:gd name="connsiteY110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925852 w 4519987"/>
                  <a:gd name="connsiteY48" fmla="*/ 4067175 h 4429225"/>
                  <a:gd name="connsiteX49" fmla="*/ 830602 w 4519987"/>
                  <a:gd name="connsiteY49" fmla="*/ 3981450 h 4429225"/>
                  <a:gd name="connsiteX50" fmla="*/ 763927 w 4519987"/>
                  <a:gd name="connsiteY50" fmla="*/ 3914775 h 4429225"/>
                  <a:gd name="connsiteX51" fmla="*/ 725827 w 4519987"/>
                  <a:gd name="connsiteY51" fmla="*/ 3876675 h 4429225"/>
                  <a:gd name="connsiteX52" fmla="*/ 697252 w 4519987"/>
                  <a:gd name="connsiteY52" fmla="*/ 3838575 h 4429225"/>
                  <a:gd name="connsiteX53" fmla="*/ 640102 w 4519987"/>
                  <a:gd name="connsiteY53" fmla="*/ 3781425 h 4429225"/>
                  <a:gd name="connsiteX54" fmla="*/ 611527 w 4519987"/>
                  <a:gd name="connsiteY54" fmla="*/ 3733800 h 4429225"/>
                  <a:gd name="connsiteX55" fmla="*/ 554377 w 4519987"/>
                  <a:gd name="connsiteY55" fmla="*/ 3657600 h 4429225"/>
                  <a:gd name="connsiteX56" fmla="*/ 525802 w 4519987"/>
                  <a:gd name="connsiteY56" fmla="*/ 3609975 h 4429225"/>
                  <a:gd name="connsiteX57" fmla="*/ 497227 w 4519987"/>
                  <a:gd name="connsiteY57" fmla="*/ 3552825 h 4429225"/>
                  <a:gd name="connsiteX58" fmla="*/ 440077 w 4519987"/>
                  <a:gd name="connsiteY58" fmla="*/ 3495675 h 4429225"/>
                  <a:gd name="connsiteX59" fmla="*/ 411502 w 4519987"/>
                  <a:gd name="connsiteY59" fmla="*/ 3448050 h 4429225"/>
                  <a:gd name="connsiteX60" fmla="*/ 278152 w 4519987"/>
                  <a:gd name="connsiteY60" fmla="*/ 3257550 h 4429225"/>
                  <a:gd name="connsiteX61" fmla="*/ 249577 w 4519987"/>
                  <a:gd name="connsiteY61" fmla="*/ 3200400 h 4429225"/>
                  <a:gd name="connsiteX62" fmla="*/ 240052 w 4519987"/>
                  <a:gd name="connsiteY62" fmla="*/ 3162300 h 4429225"/>
                  <a:gd name="connsiteX63" fmla="*/ 221002 w 4519987"/>
                  <a:gd name="connsiteY63" fmla="*/ 3105150 h 4429225"/>
                  <a:gd name="connsiteX64" fmla="*/ 173377 w 4519987"/>
                  <a:gd name="connsiteY64" fmla="*/ 3019425 h 4429225"/>
                  <a:gd name="connsiteX65" fmla="*/ 144802 w 4519987"/>
                  <a:gd name="connsiteY65" fmla="*/ 2924175 h 4429225"/>
                  <a:gd name="connsiteX66" fmla="*/ 68602 w 4519987"/>
                  <a:gd name="connsiteY66" fmla="*/ 2724150 h 4429225"/>
                  <a:gd name="connsiteX67" fmla="*/ 49552 w 4519987"/>
                  <a:gd name="connsiteY67" fmla="*/ 2638425 h 4429225"/>
                  <a:gd name="connsiteX68" fmla="*/ 40027 w 4519987"/>
                  <a:gd name="connsiteY68" fmla="*/ 2562225 h 4429225"/>
                  <a:gd name="connsiteX69" fmla="*/ 30502 w 4519987"/>
                  <a:gd name="connsiteY69" fmla="*/ 2514600 h 4429225"/>
                  <a:gd name="connsiteX70" fmla="*/ 11452 w 4519987"/>
                  <a:gd name="connsiteY70" fmla="*/ 2400300 h 4429225"/>
                  <a:gd name="connsiteX71" fmla="*/ 20977 w 4519987"/>
                  <a:gd name="connsiteY71" fmla="*/ 1905000 h 4429225"/>
                  <a:gd name="connsiteX72" fmla="*/ 30502 w 4519987"/>
                  <a:gd name="connsiteY72" fmla="*/ 1838325 h 4429225"/>
                  <a:gd name="connsiteX73" fmla="*/ 49552 w 4519987"/>
                  <a:gd name="connsiteY73" fmla="*/ 1781175 h 4429225"/>
                  <a:gd name="connsiteX74" fmla="*/ 59077 w 4519987"/>
                  <a:gd name="connsiteY74" fmla="*/ 1743075 h 4429225"/>
                  <a:gd name="connsiteX75" fmla="*/ 78127 w 4519987"/>
                  <a:gd name="connsiteY75" fmla="*/ 1685925 h 4429225"/>
                  <a:gd name="connsiteX76" fmla="*/ 87652 w 4519987"/>
                  <a:gd name="connsiteY76" fmla="*/ 1638300 h 4429225"/>
                  <a:gd name="connsiteX77" fmla="*/ 106702 w 4519987"/>
                  <a:gd name="connsiteY77" fmla="*/ 1590675 h 4429225"/>
                  <a:gd name="connsiteX78" fmla="*/ 135277 w 4519987"/>
                  <a:gd name="connsiteY78" fmla="*/ 1504950 h 4429225"/>
                  <a:gd name="connsiteX79" fmla="*/ 154327 w 4519987"/>
                  <a:gd name="connsiteY79" fmla="*/ 1419225 h 4429225"/>
                  <a:gd name="connsiteX80" fmla="*/ 230527 w 4519987"/>
                  <a:gd name="connsiteY80" fmla="*/ 1276350 h 4429225"/>
                  <a:gd name="connsiteX81" fmla="*/ 240052 w 4519987"/>
                  <a:gd name="connsiteY81" fmla="*/ 1247775 h 4429225"/>
                  <a:gd name="connsiteX82" fmla="*/ 268627 w 4519987"/>
                  <a:gd name="connsiteY82" fmla="*/ 1200150 h 4429225"/>
                  <a:gd name="connsiteX83" fmla="*/ 287677 w 4519987"/>
                  <a:gd name="connsiteY83" fmla="*/ 1152525 h 4429225"/>
                  <a:gd name="connsiteX84" fmla="*/ 316252 w 4519987"/>
                  <a:gd name="connsiteY84" fmla="*/ 1114425 h 4429225"/>
                  <a:gd name="connsiteX85" fmla="*/ 363877 w 4519987"/>
                  <a:gd name="connsiteY85" fmla="*/ 1038225 h 4429225"/>
                  <a:gd name="connsiteX86" fmla="*/ 382927 w 4519987"/>
                  <a:gd name="connsiteY86" fmla="*/ 1009650 h 4429225"/>
                  <a:gd name="connsiteX87" fmla="*/ 440077 w 4519987"/>
                  <a:gd name="connsiteY87" fmla="*/ 904875 h 4429225"/>
                  <a:gd name="connsiteX88" fmla="*/ 478177 w 4519987"/>
                  <a:gd name="connsiteY88" fmla="*/ 857250 h 4429225"/>
                  <a:gd name="connsiteX89" fmla="*/ 497227 w 4519987"/>
                  <a:gd name="connsiteY89" fmla="*/ 828675 h 4429225"/>
                  <a:gd name="connsiteX90" fmla="*/ 535327 w 4519987"/>
                  <a:gd name="connsiteY90" fmla="*/ 800100 h 4429225"/>
                  <a:gd name="connsiteX91" fmla="*/ 602002 w 4519987"/>
                  <a:gd name="connsiteY91" fmla="*/ 733425 h 4429225"/>
                  <a:gd name="connsiteX92" fmla="*/ 668677 w 4519987"/>
                  <a:gd name="connsiteY92" fmla="*/ 676275 h 4429225"/>
                  <a:gd name="connsiteX93" fmla="*/ 697252 w 4519987"/>
                  <a:gd name="connsiteY93" fmla="*/ 657225 h 4429225"/>
                  <a:gd name="connsiteX94" fmla="*/ 840127 w 4519987"/>
                  <a:gd name="connsiteY94" fmla="*/ 533400 h 4429225"/>
                  <a:gd name="connsiteX95" fmla="*/ 887752 w 4519987"/>
                  <a:gd name="connsiteY95" fmla="*/ 504825 h 4429225"/>
                  <a:gd name="connsiteX96" fmla="*/ 1167152 w 4519987"/>
                  <a:gd name="connsiteY96" fmla="*/ 311150 h 4429225"/>
                  <a:gd name="connsiteX97" fmla="*/ 1268752 w 4519987"/>
                  <a:gd name="connsiteY97" fmla="*/ 285750 h 4429225"/>
                  <a:gd name="connsiteX98" fmla="*/ 1411627 w 4519987"/>
                  <a:gd name="connsiteY98" fmla="*/ 190500 h 4429225"/>
                  <a:gd name="connsiteX99" fmla="*/ 1449727 w 4519987"/>
                  <a:gd name="connsiteY99" fmla="*/ 161925 h 4429225"/>
                  <a:gd name="connsiteX100" fmla="*/ 1525927 w 4519987"/>
                  <a:gd name="connsiteY100" fmla="*/ 152400 h 4429225"/>
                  <a:gd name="connsiteX101" fmla="*/ 1583077 w 4519987"/>
                  <a:gd name="connsiteY101" fmla="*/ 142875 h 4429225"/>
                  <a:gd name="connsiteX102" fmla="*/ 1716427 w 4519987"/>
                  <a:gd name="connsiteY102" fmla="*/ 123825 h 4429225"/>
                  <a:gd name="connsiteX103" fmla="*/ 1811677 w 4519987"/>
                  <a:gd name="connsiteY103" fmla="*/ 114300 h 4429225"/>
                  <a:gd name="connsiteX104" fmla="*/ 1859302 w 4519987"/>
                  <a:gd name="connsiteY104" fmla="*/ 104775 h 4429225"/>
                  <a:gd name="connsiteX105" fmla="*/ 1916452 w 4519987"/>
                  <a:gd name="connsiteY105" fmla="*/ 95250 h 4429225"/>
                  <a:gd name="connsiteX106" fmla="*/ 2030752 w 4519987"/>
                  <a:gd name="connsiteY106" fmla="*/ 66675 h 4429225"/>
                  <a:gd name="connsiteX107" fmla="*/ 2097427 w 4519987"/>
                  <a:gd name="connsiteY107" fmla="*/ 47625 h 4429225"/>
                  <a:gd name="connsiteX108" fmla="*/ 2164102 w 4519987"/>
                  <a:gd name="connsiteY108" fmla="*/ 38100 h 4429225"/>
                  <a:gd name="connsiteX109" fmla="*/ 2392702 w 4519987"/>
                  <a:gd name="connsiteY109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725827 w 4519987"/>
                  <a:gd name="connsiteY50" fmla="*/ 3876675 h 4429225"/>
                  <a:gd name="connsiteX51" fmla="*/ 697252 w 4519987"/>
                  <a:gd name="connsiteY51" fmla="*/ 3838575 h 4429225"/>
                  <a:gd name="connsiteX52" fmla="*/ 640102 w 4519987"/>
                  <a:gd name="connsiteY52" fmla="*/ 3781425 h 4429225"/>
                  <a:gd name="connsiteX53" fmla="*/ 611527 w 4519987"/>
                  <a:gd name="connsiteY53" fmla="*/ 3733800 h 4429225"/>
                  <a:gd name="connsiteX54" fmla="*/ 554377 w 4519987"/>
                  <a:gd name="connsiteY54" fmla="*/ 3657600 h 4429225"/>
                  <a:gd name="connsiteX55" fmla="*/ 525802 w 4519987"/>
                  <a:gd name="connsiteY55" fmla="*/ 3609975 h 4429225"/>
                  <a:gd name="connsiteX56" fmla="*/ 497227 w 4519987"/>
                  <a:gd name="connsiteY56" fmla="*/ 3552825 h 4429225"/>
                  <a:gd name="connsiteX57" fmla="*/ 440077 w 4519987"/>
                  <a:gd name="connsiteY57" fmla="*/ 3495675 h 4429225"/>
                  <a:gd name="connsiteX58" fmla="*/ 411502 w 4519987"/>
                  <a:gd name="connsiteY58" fmla="*/ 3448050 h 4429225"/>
                  <a:gd name="connsiteX59" fmla="*/ 278152 w 4519987"/>
                  <a:gd name="connsiteY59" fmla="*/ 3257550 h 4429225"/>
                  <a:gd name="connsiteX60" fmla="*/ 249577 w 4519987"/>
                  <a:gd name="connsiteY60" fmla="*/ 3200400 h 4429225"/>
                  <a:gd name="connsiteX61" fmla="*/ 240052 w 4519987"/>
                  <a:gd name="connsiteY61" fmla="*/ 3162300 h 4429225"/>
                  <a:gd name="connsiteX62" fmla="*/ 221002 w 4519987"/>
                  <a:gd name="connsiteY62" fmla="*/ 3105150 h 4429225"/>
                  <a:gd name="connsiteX63" fmla="*/ 173377 w 4519987"/>
                  <a:gd name="connsiteY63" fmla="*/ 3019425 h 4429225"/>
                  <a:gd name="connsiteX64" fmla="*/ 144802 w 4519987"/>
                  <a:gd name="connsiteY64" fmla="*/ 2924175 h 4429225"/>
                  <a:gd name="connsiteX65" fmla="*/ 68602 w 4519987"/>
                  <a:gd name="connsiteY65" fmla="*/ 2724150 h 4429225"/>
                  <a:gd name="connsiteX66" fmla="*/ 49552 w 4519987"/>
                  <a:gd name="connsiteY66" fmla="*/ 2638425 h 4429225"/>
                  <a:gd name="connsiteX67" fmla="*/ 40027 w 4519987"/>
                  <a:gd name="connsiteY67" fmla="*/ 2562225 h 4429225"/>
                  <a:gd name="connsiteX68" fmla="*/ 30502 w 4519987"/>
                  <a:gd name="connsiteY68" fmla="*/ 2514600 h 4429225"/>
                  <a:gd name="connsiteX69" fmla="*/ 11452 w 4519987"/>
                  <a:gd name="connsiteY69" fmla="*/ 2400300 h 4429225"/>
                  <a:gd name="connsiteX70" fmla="*/ 20977 w 4519987"/>
                  <a:gd name="connsiteY70" fmla="*/ 1905000 h 4429225"/>
                  <a:gd name="connsiteX71" fmla="*/ 30502 w 4519987"/>
                  <a:gd name="connsiteY71" fmla="*/ 1838325 h 4429225"/>
                  <a:gd name="connsiteX72" fmla="*/ 49552 w 4519987"/>
                  <a:gd name="connsiteY72" fmla="*/ 1781175 h 4429225"/>
                  <a:gd name="connsiteX73" fmla="*/ 59077 w 4519987"/>
                  <a:gd name="connsiteY73" fmla="*/ 1743075 h 4429225"/>
                  <a:gd name="connsiteX74" fmla="*/ 78127 w 4519987"/>
                  <a:gd name="connsiteY74" fmla="*/ 1685925 h 4429225"/>
                  <a:gd name="connsiteX75" fmla="*/ 87652 w 4519987"/>
                  <a:gd name="connsiteY75" fmla="*/ 1638300 h 4429225"/>
                  <a:gd name="connsiteX76" fmla="*/ 106702 w 4519987"/>
                  <a:gd name="connsiteY76" fmla="*/ 1590675 h 4429225"/>
                  <a:gd name="connsiteX77" fmla="*/ 135277 w 4519987"/>
                  <a:gd name="connsiteY77" fmla="*/ 1504950 h 4429225"/>
                  <a:gd name="connsiteX78" fmla="*/ 154327 w 4519987"/>
                  <a:gd name="connsiteY78" fmla="*/ 1419225 h 4429225"/>
                  <a:gd name="connsiteX79" fmla="*/ 230527 w 4519987"/>
                  <a:gd name="connsiteY79" fmla="*/ 1276350 h 4429225"/>
                  <a:gd name="connsiteX80" fmla="*/ 240052 w 4519987"/>
                  <a:gd name="connsiteY80" fmla="*/ 1247775 h 4429225"/>
                  <a:gd name="connsiteX81" fmla="*/ 268627 w 4519987"/>
                  <a:gd name="connsiteY81" fmla="*/ 1200150 h 4429225"/>
                  <a:gd name="connsiteX82" fmla="*/ 287677 w 4519987"/>
                  <a:gd name="connsiteY82" fmla="*/ 1152525 h 4429225"/>
                  <a:gd name="connsiteX83" fmla="*/ 316252 w 4519987"/>
                  <a:gd name="connsiteY83" fmla="*/ 1114425 h 4429225"/>
                  <a:gd name="connsiteX84" fmla="*/ 363877 w 4519987"/>
                  <a:gd name="connsiteY84" fmla="*/ 1038225 h 4429225"/>
                  <a:gd name="connsiteX85" fmla="*/ 382927 w 4519987"/>
                  <a:gd name="connsiteY85" fmla="*/ 1009650 h 4429225"/>
                  <a:gd name="connsiteX86" fmla="*/ 440077 w 4519987"/>
                  <a:gd name="connsiteY86" fmla="*/ 904875 h 4429225"/>
                  <a:gd name="connsiteX87" fmla="*/ 478177 w 4519987"/>
                  <a:gd name="connsiteY87" fmla="*/ 857250 h 4429225"/>
                  <a:gd name="connsiteX88" fmla="*/ 497227 w 4519987"/>
                  <a:gd name="connsiteY88" fmla="*/ 828675 h 4429225"/>
                  <a:gd name="connsiteX89" fmla="*/ 535327 w 4519987"/>
                  <a:gd name="connsiteY89" fmla="*/ 800100 h 4429225"/>
                  <a:gd name="connsiteX90" fmla="*/ 602002 w 4519987"/>
                  <a:gd name="connsiteY90" fmla="*/ 733425 h 4429225"/>
                  <a:gd name="connsiteX91" fmla="*/ 668677 w 4519987"/>
                  <a:gd name="connsiteY91" fmla="*/ 676275 h 4429225"/>
                  <a:gd name="connsiteX92" fmla="*/ 697252 w 4519987"/>
                  <a:gd name="connsiteY92" fmla="*/ 657225 h 4429225"/>
                  <a:gd name="connsiteX93" fmla="*/ 840127 w 4519987"/>
                  <a:gd name="connsiteY93" fmla="*/ 533400 h 4429225"/>
                  <a:gd name="connsiteX94" fmla="*/ 887752 w 4519987"/>
                  <a:gd name="connsiteY94" fmla="*/ 504825 h 4429225"/>
                  <a:gd name="connsiteX95" fmla="*/ 1167152 w 4519987"/>
                  <a:gd name="connsiteY95" fmla="*/ 311150 h 4429225"/>
                  <a:gd name="connsiteX96" fmla="*/ 1268752 w 4519987"/>
                  <a:gd name="connsiteY96" fmla="*/ 285750 h 4429225"/>
                  <a:gd name="connsiteX97" fmla="*/ 1411627 w 4519987"/>
                  <a:gd name="connsiteY97" fmla="*/ 190500 h 4429225"/>
                  <a:gd name="connsiteX98" fmla="*/ 1449727 w 4519987"/>
                  <a:gd name="connsiteY98" fmla="*/ 161925 h 4429225"/>
                  <a:gd name="connsiteX99" fmla="*/ 1525927 w 4519987"/>
                  <a:gd name="connsiteY99" fmla="*/ 152400 h 4429225"/>
                  <a:gd name="connsiteX100" fmla="*/ 1583077 w 4519987"/>
                  <a:gd name="connsiteY100" fmla="*/ 142875 h 4429225"/>
                  <a:gd name="connsiteX101" fmla="*/ 1716427 w 4519987"/>
                  <a:gd name="connsiteY101" fmla="*/ 123825 h 4429225"/>
                  <a:gd name="connsiteX102" fmla="*/ 1811677 w 4519987"/>
                  <a:gd name="connsiteY102" fmla="*/ 114300 h 4429225"/>
                  <a:gd name="connsiteX103" fmla="*/ 1859302 w 4519987"/>
                  <a:gd name="connsiteY103" fmla="*/ 104775 h 4429225"/>
                  <a:gd name="connsiteX104" fmla="*/ 1916452 w 4519987"/>
                  <a:gd name="connsiteY104" fmla="*/ 95250 h 4429225"/>
                  <a:gd name="connsiteX105" fmla="*/ 2030752 w 4519987"/>
                  <a:gd name="connsiteY105" fmla="*/ 66675 h 4429225"/>
                  <a:gd name="connsiteX106" fmla="*/ 2097427 w 4519987"/>
                  <a:gd name="connsiteY106" fmla="*/ 47625 h 4429225"/>
                  <a:gd name="connsiteX107" fmla="*/ 2164102 w 4519987"/>
                  <a:gd name="connsiteY107" fmla="*/ 38100 h 4429225"/>
                  <a:gd name="connsiteX108" fmla="*/ 2392702 w 4519987"/>
                  <a:gd name="connsiteY108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640102 w 4519987"/>
                  <a:gd name="connsiteY51" fmla="*/ 3781425 h 4429225"/>
                  <a:gd name="connsiteX52" fmla="*/ 611527 w 4519987"/>
                  <a:gd name="connsiteY52" fmla="*/ 3733800 h 4429225"/>
                  <a:gd name="connsiteX53" fmla="*/ 554377 w 4519987"/>
                  <a:gd name="connsiteY53" fmla="*/ 3657600 h 4429225"/>
                  <a:gd name="connsiteX54" fmla="*/ 525802 w 4519987"/>
                  <a:gd name="connsiteY54" fmla="*/ 3609975 h 4429225"/>
                  <a:gd name="connsiteX55" fmla="*/ 497227 w 4519987"/>
                  <a:gd name="connsiteY55" fmla="*/ 3552825 h 4429225"/>
                  <a:gd name="connsiteX56" fmla="*/ 440077 w 4519987"/>
                  <a:gd name="connsiteY56" fmla="*/ 3495675 h 4429225"/>
                  <a:gd name="connsiteX57" fmla="*/ 411502 w 4519987"/>
                  <a:gd name="connsiteY57" fmla="*/ 3448050 h 4429225"/>
                  <a:gd name="connsiteX58" fmla="*/ 278152 w 4519987"/>
                  <a:gd name="connsiteY58" fmla="*/ 3257550 h 4429225"/>
                  <a:gd name="connsiteX59" fmla="*/ 249577 w 4519987"/>
                  <a:gd name="connsiteY59" fmla="*/ 3200400 h 4429225"/>
                  <a:gd name="connsiteX60" fmla="*/ 240052 w 4519987"/>
                  <a:gd name="connsiteY60" fmla="*/ 3162300 h 4429225"/>
                  <a:gd name="connsiteX61" fmla="*/ 221002 w 4519987"/>
                  <a:gd name="connsiteY61" fmla="*/ 3105150 h 4429225"/>
                  <a:gd name="connsiteX62" fmla="*/ 173377 w 4519987"/>
                  <a:gd name="connsiteY62" fmla="*/ 3019425 h 4429225"/>
                  <a:gd name="connsiteX63" fmla="*/ 144802 w 4519987"/>
                  <a:gd name="connsiteY63" fmla="*/ 2924175 h 4429225"/>
                  <a:gd name="connsiteX64" fmla="*/ 68602 w 4519987"/>
                  <a:gd name="connsiteY64" fmla="*/ 2724150 h 4429225"/>
                  <a:gd name="connsiteX65" fmla="*/ 49552 w 4519987"/>
                  <a:gd name="connsiteY65" fmla="*/ 2638425 h 4429225"/>
                  <a:gd name="connsiteX66" fmla="*/ 40027 w 4519987"/>
                  <a:gd name="connsiteY66" fmla="*/ 2562225 h 4429225"/>
                  <a:gd name="connsiteX67" fmla="*/ 30502 w 4519987"/>
                  <a:gd name="connsiteY67" fmla="*/ 2514600 h 4429225"/>
                  <a:gd name="connsiteX68" fmla="*/ 11452 w 4519987"/>
                  <a:gd name="connsiteY68" fmla="*/ 2400300 h 4429225"/>
                  <a:gd name="connsiteX69" fmla="*/ 20977 w 4519987"/>
                  <a:gd name="connsiteY69" fmla="*/ 1905000 h 4429225"/>
                  <a:gd name="connsiteX70" fmla="*/ 30502 w 4519987"/>
                  <a:gd name="connsiteY70" fmla="*/ 1838325 h 4429225"/>
                  <a:gd name="connsiteX71" fmla="*/ 49552 w 4519987"/>
                  <a:gd name="connsiteY71" fmla="*/ 1781175 h 4429225"/>
                  <a:gd name="connsiteX72" fmla="*/ 59077 w 4519987"/>
                  <a:gd name="connsiteY72" fmla="*/ 1743075 h 4429225"/>
                  <a:gd name="connsiteX73" fmla="*/ 78127 w 4519987"/>
                  <a:gd name="connsiteY73" fmla="*/ 1685925 h 4429225"/>
                  <a:gd name="connsiteX74" fmla="*/ 87652 w 4519987"/>
                  <a:gd name="connsiteY74" fmla="*/ 1638300 h 4429225"/>
                  <a:gd name="connsiteX75" fmla="*/ 106702 w 4519987"/>
                  <a:gd name="connsiteY75" fmla="*/ 1590675 h 4429225"/>
                  <a:gd name="connsiteX76" fmla="*/ 135277 w 4519987"/>
                  <a:gd name="connsiteY76" fmla="*/ 1504950 h 4429225"/>
                  <a:gd name="connsiteX77" fmla="*/ 154327 w 4519987"/>
                  <a:gd name="connsiteY77" fmla="*/ 1419225 h 4429225"/>
                  <a:gd name="connsiteX78" fmla="*/ 230527 w 4519987"/>
                  <a:gd name="connsiteY78" fmla="*/ 1276350 h 4429225"/>
                  <a:gd name="connsiteX79" fmla="*/ 240052 w 4519987"/>
                  <a:gd name="connsiteY79" fmla="*/ 1247775 h 4429225"/>
                  <a:gd name="connsiteX80" fmla="*/ 268627 w 4519987"/>
                  <a:gd name="connsiteY80" fmla="*/ 1200150 h 4429225"/>
                  <a:gd name="connsiteX81" fmla="*/ 287677 w 4519987"/>
                  <a:gd name="connsiteY81" fmla="*/ 1152525 h 4429225"/>
                  <a:gd name="connsiteX82" fmla="*/ 316252 w 4519987"/>
                  <a:gd name="connsiteY82" fmla="*/ 1114425 h 4429225"/>
                  <a:gd name="connsiteX83" fmla="*/ 363877 w 4519987"/>
                  <a:gd name="connsiteY83" fmla="*/ 1038225 h 4429225"/>
                  <a:gd name="connsiteX84" fmla="*/ 382927 w 4519987"/>
                  <a:gd name="connsiteY84" fmla="*/ 1009650 h 4429225"/>
                  <a:gd name="connsiteX85" fmla="*/ 440077 w 4519987"/>
                  <a:gd name="connsiteY85" fmla="*/ 904875 h 4429225"/>
                  <a:gd name="connsiteX86" fmla="*/ 478177 w 4519987"/>
                  <a:gd name="connsiteY86" fmla="*/ 857250 h 4429225"/>
                  <a:gd name="connsiteX87" fmla="*/ 497227 w 4519987"/>
                  <a:gd name="connsiteY87" fmla="*/ 828675 h 4429225"/>
                  <a:gd name="connsiteX88" fmla="*/ 535327 w 4519987"/>
                  <a:gd name="connsiteY88" fmla="*/ 800100 h 4429225"/>
                  <a:gd name="connsiteX89" fmla="*/ 602002 w 4519987"/>
                  <a:gd name="connsiteY89" fmla="*/ 733425 h 4429225"/>
                  <a:gd name="connsiteX90" fmla="*/ 668677 w 4519987"/>
                  <a:gd name="connsiteY90" fmla="*/ 676275 h 4429225"/>
                  <a:gd name="connsiteX91" fmla="*/ 697252 w 4519987"/>
                  <a:gd name="connsiteY91" fmla="*/ 657225 h 4429225"/>
                  <a:gd name="connsiteX92" fmla="*/ 840127 w 4519987"/>
                  <a:gd name="connsiteY92" fmla="*/ 533400 h 4429225"/>
                  <a:gd name="connsiteX93" fmla="*/ 887752 w 4519987"/>
                  <a:gd name="connsiteY93" fmla="*/ 504825 h 4429225"/>
                  <a:gd name="connsiteX94" fmla="*/ 1167152 w 4519987"/>
                  <a:gd name="connsiteY94" fmla="*/ 311150 h 4429225"/>
                  <a:gd name="connsiteX95" fmla="*/ 1268752 w 4519987"/>
                  <a:gd name="connsiteY95" fmla="*/ 285750 h 4429225"/>
                  <a:gd name="connsiteX96" fmla="*/ 1411627 w 4519987"/>
                  <a:gd name="connsiteY96" fmla="*/ 190500 h 4429225"/>
                  <a:gd name="connsiteX97" fmla="*/ 1449727 w 4519987"/>
                  <a:gd name="connsiteY97" fmla="*/ 161925 h 4429225"/>
                  <a:gd name="connsiteX98" fmla="*/ 1525927 w 4519987"/>
                  <a:gd name="connsiteY98" fmla="*/ 152400 h 4429225"/>
                  <a:gd name="connsiteX99" fmla="*/ 1583077 w 4519987"/>
                  <a:gd name="connsiteY99" fmla="*/ 142875 h 4429225"/>
                  <a:gd name="connsiteX100" fmla="*/ 1716427 w 4519987"/>
                  <a:gd name="connsiteY100" fmla="*/ 123825 h 4429225"/>
                  <a:gd name="connsiteX101" fmla="*/ 1811677 w 4519987"/>
                  <a:gd name="connsiteY101" fmla="*/ 114300 h 4429225"/>
                  <a:gd name="connsiteX102" fmla="*/ 1859302 w 4519987"/>
                  <a:gd name="connsiteY102" fmla="*/ 104775 h 4429225"/>
                  <a:gd name="connsiteX103" fmla="*/ 1916452 w 4519987"/>
                  <a:gd name="connsiteY103" fmla="*/ 95250 h 4429225"/>
                  <a:gd name="connsiteX104" fmla="*/ 2030752 w 4519987"/>
                  <a:gd name="connsiteY104" fmla="*/ 66675 h 4429225"/>
                  <a:gd name="connsiteX105" fmla="*/ 2097427 w 4519987"/>
                  <a:gd name="connsiteY105" fmla="*/ 47625 h 4429225"/>
                  <a:gd name="connsiteX106" fmla="*/ 2164102 w 4519987"/>
                  <a:gd name="connsiteY106" fmla="*/ 38100 h 4429225"/>
                  <a:gd name="connsiteX107" fmla="*/ 2392702 w 4519987"/>
                  <a:gd name="connsiteY107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611527 w 4519987"/>
                  <a:gd name="connsiteY51" fmla="*/ 3733800 h 4429225"/>
                  <a:gd name="connsiteX52" fmla="*/ 554377 w 4519987"/>
                  <a:gd name="connsiteY52" fmla="*/ 3657600 h 4429225"/>
                  <a:gd name="connsiteX53" fmla="*/ 525802 w 4519987"/>
                  <a:gd name="connsiteY53" fmla="*/ 3609975 h 4429225"/>
                  <a:gd name="connsiteX54" fmla="*/ 497227 w 4519987"/>
                  <a:gd name="connsiteY54" fmla="*/ 3552825 h 4429225"/>
                  <a:gd name="connsiteX55" fmla="*/ 440077 w 4519987"/>
                  <a:gd name="connsiteY55" fmla="*/ 3495675 h 4429225"/>
                  <a:gd name="connsiteX56" fmla="*/ 411502 w 4519987"/>
                  <a:gd name="connsiteY56" fmla="*/ 3448050 h 4429225"/>
                  <a:gd name="connsiteX57" fmla="*/ 278152 w 4519987"/>
                  <a:gd name="connsiteY57" fmla="*/ 3257550 h 4429225"/>
                  <a:gd name="connsiteX58" fmla="*/ 249577 w 4519987"/>
                  <a:gd name="connsiteY58" fmla="*/ 3200400 h 4429225"/>
                  <a:gd name="connsiteX59" fmla="*/ 240052 w 4519987"/>
                  <a:gd name="connsiteY59" fmla="*/ 3162300 h 4429225"/>
                  <a:gd name="connsiteX60" fmla="*/ 221002 w 4519987"/>
                  <a:gd name="connsiteY60" fmla="*/ 3105150 h 4429225"/>
                  <a:gd name="connsiteX61" fmla="*/ 173377 w 4519987"/>
                  <a:gd name="connsiteY61" fmla="*/ 3019425 h 4429225"/>
                  <a:gd name="connsiteX62" fmla="*/ 144802 w 4519987"/>
                  <a:gd name="connsiteY62" fmla="*/ 2924175 h 4429225"/>
                  <a:gd name="connsiteX63" fmla="*/ 68602 w 4519987"/>
                  <a:gd name="connsiteY63" fmla="*/ 2724150 h 4429225"/>
                  <a:gd name="connsiteX64" fmla="*/ 49552 w 4519987"/>
                  <a:gd name="connsiteY64" fmla="*/ 2638425 h 4429225"/>
                  <a:gd name="connsiteX65" fmla="*/ 40027 w 4519987"/>
                  <a:gd name="connsiteY65" fmla="*/ 2562225 h 4429225"/>
                  <a:gd name="connsiteX66" fmla="*/ 30502 w 4519987"/>
                  <a:gd name="connsiteY66" fmla="*/ 2514600 h 4429225"/>
                  <a:gd name="connsiteX67" fmla="*/ 11452 w 4519987"/>
                  <a:gd name="connsiteY67" fmla="*/ 2400300 h 4429225"/>
                  <a:gd name="connsiteX68" fmla="*/ 20977 w 4519987"/>
                  <a:gd name="connsiteY68" fmla="*/ 1905000 h 4429225"/>
                  <a:gd name="connsiteX69" fmla="*/ 30502 w 4519987"/>
                  <a:gd name="connsiteY69" fmla="*/ 1838325 h 4429225"/>
                  <a:gd name="connsiteX70" fmla="*/ 49552 w 4519987"/>
                  <a:gd name="connsiteY70" fmla="*/ 1781175 h 4429225"/>
                  <a:gd name="connsiteX71" fmla="*/ 59077 w 4519987"/>
                  <a:gd name="connsiteY71" fmla="*/ 1743075 h 4429225"/>
                  <a:gd name="connsiteX72" fmla="*/ 78127 w 4519987"/>
                  <a:gd name="connsiteY72" fmla="*/ 1685925 h 4429225"/>
                  <a:gd name="connsiteX73" fmla="*/ 87652 w 4519987"/>
                  <a:gd name="connsiteY73" fmla="*/ 1638300 h 4429225"/>
                  <a:gd name="connsiteX74" fmla="*/ 106702 w 4519987"/>
                  <a:gd name="connsiteY74" fmla="*/ 1590675 h 4429225"/>
                  <a:gd name="connsiteX75" fmla="*/ 135277 w 4519987"/>
                  <a:gd name="connsiteY75" fmla="*/ 1504950 h 4429225"/>
                  <a:gd name="connsiteX76" fmla="*/ 154327 w 4519987"/>
                  <a:gd name="connsiteY76" fmla="*/ 1419225 h 4429225"/>
                  <a:gd name="connsiteX77" fmla="*/ 230527 w 4519987"/>
                  <a:gd name="connsiteY77" fmla="*/ 1276350 h 4429225"/>
                  <a:gd name="connsiteX78" fmla="*/ 240052 w 4519987"/>
                  <a:gd name="connsiteY78" fmla="*/ 1247775 h 4429225"/>
                  <a:gd name="connsiteX79" fmla="*/ 268627 w 4519987"/>
                  <a:gd name="connsiteY79" fmla="*/ 1200150 h 4429225"/>
                  <a:gd name="connsiteX80" fmla="*/ 287677 w 4519987"/>
                  <a:gd name="connsiteY80" fmla="*/ 1152525 h 4429225"/>
                  <a:gd name="connsiteX81" fmla="*/ 316252 w 4519987"/>
                  <a:gd name="connsiteY81" fmla="*/ 1114425 h 4429225"/>
                  <a:gd name="connsiteX82" fmla="*/ 363877 w 4519987"/>
                  <a:gd name="connsiteY82" fmla="*/ 1038225 h 4429225"/>
                  <a:gd name="connsiteX83" fmla="*/ 382927 w 4519987"/>
                  <a:gd name="connsiteY83" fmla="*/ 1009650 h 4429225"/>
                  <a:gd name="connsiteX84" fmla="*/ 440077 w 4519987"/>
                  <a:gd name="connsiteY84" fmla="*/ 904875 h 4429225"/>
                  <a:gd name="connsiteX85" fmla="*/ 478177 w 4519987"/>
                  <a:gd name="connsiteY85" fmla="*/ 857250 h 4429225"/>
                  <a:gd name="connsiteX86" fmla="*/ 497227 w 4519987"/>
                  <a:gd name="connsiteY86" fmla="*/ 828675 h 4429225"/>
                  <a:gd name="connsiteX87" fmla="*/ 535327 w 4519987"/>
                  <a:gd name="connsiteY87" fmla="*/ 800100 h 4429225"/>
                  <a:gd name="connsiteX88" fmla="*/ 602002 w 4519987"/>
                  <a:gd name="connsiteY88" fmla="*/ 733425 h 4429225"/>
                  <a:gd name="connsiteX89" fmla="*/ 668677 w 4519987"/>
                  <a:gd name="connsiteY89" fmla="*/ 676275 h 4429225"/>
                  <a:gd name="connsiteX90" fmla="*/ 697252 w 4519987"/>
                  <a:gd name="connsiteY90" fmla="*/ 657225 h 4429225"/>
                  <a:gd name="connsiteX91" fmla="*/ 840127 w 4519987"/>
                  <a:gd name="connsiteY91" fmla="*/ 533400 h 4429225"/>
                  <a:gd name="connsiteX92" fmla="*/ 887752 w 4519987"/>
                  <a:gd name="connsiteY92" fmla="*/ 504825 h 4429225"/>
                  <a:gd name="connsiteX93" fmla="*/ 1167152 w 4519987"/>
                  <a:gd name="connsiteY93" fmla="*/ 311150 h 4429225"/>
                  <a:gd name="connsiteX94" fmla="*/ 1268752 w 4519987"/>
                  <a:gd name="connsiteY94" fmla="*/ 285750 h 4429225"/>
                  <a:gd name="connsiteX95" fmla="*/ 1411627 w 4519987"/>
                  <a:gd name="connsiteY95" fmla="*/ 190500 h 4429225"/>
                  <a:gd name="connsiteX96" fmla="*/ 1449727 w 4519987"/>
                  <a:gd name="connsiteY96" fmla="*/ 161925 h 4429225"/>
                  <a:gd name="connsiteX97" fmla="*/ 1525927 w 4519987"/>
                  <a:gd name="connsiteY97" fmla="*/ 152400 h 4429225"/>
                  <a:gd name="connsiteX98" fmla="*/ 1583077 w 4519987"/>
                  <a:gd name="connsiteY98" fmla="*/ 142875 h 4429225"/>
                  <a:gd name="connsiteX99" fmla="*/ 1716427 w 4519987"/>
                  <a:gd name="connsiteY99" fmla="*/ 123825 h 4429225"/>
                  <a:gd name="connsiteX100" fmla="*/ 1811677 w 4519987"/>
                  <a:gd name="connsiteY100" fmla="*/ 114300 h 4429225"/>
                  <a:gd name="connsiteX101" fmla="*/ 1859302 w 4519987"/>
                  <a:gd name="connsiteY101" fmla="*/ 104775 h 4429225"/>
                  <a:gd name="connsiteX102" fmla="*/ 1916452 w 4519987"/>
                  <a:gd name="connsiteY102" fmla="*/ 95250 h 4429225"/>
                  <a:gd name="connsiteX103" fmla="*/ 2030752 w 4519987"/>
                  <a:gd name="connsiteY103" fmla="*/ 66675 h 4429225"/>
                  <a:gd name="connsiteX104" fmla="*/ 2097427 w 4519987"/>
                  <a:gd name="connsiteY104" fmla="*/ 47625 h 4429225"/>
                  <a:gd name="connsiteX105" fmla="*/ 2164102 w 4519987"/>
                  <a:gd name="connsiteY105" fmla="*/ 38100 h 4429225"/>
                  <a:gd name="connsiteX106" fmla="*/ 2392702 w 4519987"/>
                  <a:gd name="connsiteY106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525802 w 4519987"/>
                  <a:gd name="connsiteY52" fmla="*/ 3609975 h 4429225"/>
                  <a:gd name="connsiteX53" fmla="*/ 497227 w 4519987"/>
                  <a:gd name="connsiteY53" fmla="*/ 3552825 h 4429225"/>
                  <a:gd name="connsiteX54" fmla="*/ 440077 w 4519987"/>
                  <a:gd name="connsiteY54" fmla="*/ 3495675 h 4429225"/>
                  <a:gd name="connsiteX55" fmla="*/ 411502 w 4519987"/>
                  <a:gd name="connsiteY55" fmla="*/ 3448050 h 4429225"/>
                  <a:gd name="connsiteX56" fmla="*/ 278152 w 4519987"/>
                  <a:gd name="connsiteY56" fmla="*/ 3257550 h 4429225"/>
                  <a:gd name="connsiteX57" fmla="*/ 249577 w 4519987"/>
                  <a:gd name="connsiteY57" fmla="*/ 3200400 h 4429225"/>
                  <a:gd name="connsiteX58" fmla="*/ 240052 w 4519987"/>
                  <a:gd name="connsiteY58" fmla="*/ 3162300 h 4429225"/>
                  <a:gd name="connsiteX59" fmla="*/ 221002 w 4519987"/>
                  <a:gd name="connsiteY59" fmla="*/ 3105150 h 4429225"/>
                  <a:gd name="connsiteX60" fmla="*/ 173377 w 4519987"/>
                  <a:gd name="connsiteY60" fmla="*/ 3019425 h 4429225"/>
                  <a:gd name="connsiteX61" fmla="*/ 144802 w 4519987"/>
                  <a:gd name="connsiteY61" fmla="*/ 2924175 h 4429225"/>
                  <a:gd name="connsiteX62" fmla="*/ 68602 w 4519987"/>
                  <a:gd name="connsiteY62" fmla="*/ 2724150 h 4429225"/>
                  <a:gd name="connsiteX63" fmla="*/ 49552 w 4519987"/>
                  <a:gd name="connsiteY63" fmla="*/ 2638425 h 4429225"/>
                  <a:gd name="connsiteX64" fmla="*/ 40027 w 4519987"/>
                  <a:gd name="connsiteY64" fmla="*/ 2562225 h 4429225"/>
                  <a:gd name="connsiteX65" fmla="*/ 30502 w 4519987"/>
                  <a:gd name="connsiteY65" fmla="*/ 2514600 h 4429225"/>
                  <a:gd name="connsiteX66" fmla="*/ 11452 w 4519987"/>
                  <a:gd name="connsiteY66" fmla="*/ 2400300 h 4429225"/>
                  <a:gd name="connsiteX67" fmla="*/ 20977 w 4519987"/>
                  <a:gd name="connsiteY67" fmla="*/ 1905000 h 4429225"/>
                  <a:gd name="connsiteX68" fmla="*/ 30502 w 4519987"/>
                  <a:gd name="connsiteY68" fmla="*/ 1838325 h 4429225"/>
                  <a:gd name="connsiteX69" fmla="*/ 49552 w 4519987"/>
                  <a:gd name="connsiteY69" fmla="*/ 1781175 h 4429225"/>
                  <a:gd name="connsiteX70" fmla="*/ 59077 w 4519987"/>
                  <a:gd name="connsiteY70" fmla="*/ 1743075 h 4429225"/>
                  <a:gd name="connsiteX71" fmla="*/ 78127 w 4519987"/>
                  <a:gd name="connsiteY71" fmla="*/ 1685925 h 4429225"/>
                  <a:gd name="connsiteX72" fmla="*/ 87652 w 4519987"/>
                  <a:gd name="connsiteY72" fmla="*/ 1638300 h 4429225"/>
                  <a:gd name="connsiteX73" fmla="*/ 106702 w 4519987"/>
                  <a:gd name="connsiteY73" fmla="*/ 1590675 h 4429225"/>
                  <a:gd name="connsiteX74" fmla="*/ 135277 w 4519987"/>
                  <a:gd name="connsiteY74" fmla="*/ 1504950 h 4429225"/>
                  <a:gd name="connsiteX75" fmla="*/ 154327 w 4519987"/>
                  <a:gd name="connsiteY75" fmla="*/ 1419225 h 4429225"/>
                  <a:gd name="connsiteX76" fmla="*/ 230527 w 4519987"/>
                  <a:gd name="connsiteY76" fmla="*/ 1276350 h 4429225"/>
                  <a:gd name="connsiteX77" fmla="*/ 240052 w 4519987"/>
                  <a:gd name="connsiteY77" fmla="*/ 1247775 h 4429225"/>
                  <a:gd name="connsiteX78" fmla="*/ 268627 w 4519987"/>
                  <a:gd name="connsiteY78" fmla="*/ 1200150 h 4429225"/>
                  <a:gd name="connsiteX79" fmla="*/ 287677 w 4519987"/>
                  <a:gd name="connsiteY79" fmla="*/ 1152525 h 4429225"/>
                  <a:gd name="connsiteX80" fmla="*/ 316252 w 4519987"/>
                  <a:gd name="connsiteY80" fmla="*/ 1114425 h 4429225"/>
                  <a:gd name="connsiteX81" fmla="*/ 363877 w 4519987"/>
                  <a:gd name="connsiteY81" fmla="*/ 1038225 h 4429225"/>
                  <a:gd name="connsiteX82" fmla="*/ 382927 w 4519987"/>
                  <a:gd name="connsiteY82" fmla="*/ 1009650 h 4429225"/>
                  <a:gd name="connsiteX83" fmla="*/ 440077 w 4519987"/>
                  <a:gd name="connsiteY83" fmla="*/ 904875 h 4429225"/>
                  <a:gd name="connsiteX84" fmla="*/ 478177 w 4519987"/>
                  <a:gd name="connsiteY84" fmla="*/ 857250 h 4429225"/>
                  <a:gd name="connsiteX85" fmla="*/ 497227 w 4519987"/>
                  <a:gd name="connsiteY85" fmla="*/ 828675 h 4429225"/>
                  <a:gd name="connsiteX86" fmla="*/ 535327 w 4519987"/>
                  <a:gd name="connsiteY86" fmla="*/ 800100 h 4429225"/>
                  <a:gd name="connsiteX87" fmla="*/ 602002 w 4519987"/>
                  <a:gd name="connsiteY87" fmla="*/ 733425 h 4429225"/>
                  <a:gd name="connsiteX88" fmla="*/ 668677 w 4519987"/>
                  <a:gd name="connsiteY88" fmla="*/ 676275 h 4429225"/>
                  <a:gd name="connsiteX89" fmla="*/ 697252 w 4519987"/>
                  <a:gd name="connsiteY89" fmla="*/ 657225 h 4429225"/>
                  <a:gd name="connsiteX90" fmla="*/ 840127 w 4519987"/>
                  <a:gd name="connsiteY90" fmla="*/ 533400 h 4429225"/>
                  <a:gd name="connsiteX91" fmla="*/ 887752 w 4519987"/>
                  <a:gd name="connsiteY91" fmla="*/ 504825 h 4429225"/>
                  <a:gd name="connsiteX92" fmla="*/ 1167152 w 4519987"/>
                  <a:gd name="connsiteY92" fmla="*/ 311150 h 4429225"/>
                  <a:gd name="connsiteX93" fmla="*/ 1268752 w 4519987"/>
                  <a:gd name="connsiteY93" fmla="*/ 285750 h 4429225"/>
                  <a:gd name="connsiteX94" fmla="*/ 1411627 w 4519987"/>
                  <a:gd name="connsiteY94" fmla="*/ 190500 h 4429225"/>
                  <a:gd name="connsiteX95" fmla="*/ 1449727 w 4519987"/>
                  <a:gd name="connsiteY95" fmla="*/ 161925 h 4429225"/>
                  <a:gd name="connsiteX96" fmla="*/ 1525927 w 4519987"/>
                  <a:gd name="connsiteY96" fmla="*/ 152400 h 4429225"/>
                  <a:gd name="connsiteX97" fmla="*/ 1583077 w 4519987"/>
                  <a:gd name="connsiteY97" fmla="*/ 142875 h 4429225"/>
                  <a:gd name="connsiteX98" fmla="*/ 1716427 w 4519987"/>
                  <a:gd name="connsiteY98" fmla="*/ 123825 h 4429225"/>
                  <a:gd name="connsiteX99" fmla="*/ 1811677 w 4519987"/>
                  <a:gd name="connsiteY99" fmla="*/ 114300 h 4429225"/>
                  <a:gd name="connsiteX100" fmla="*/ 1859302 w 4519987"/>
                  <a:gd name="connsiteY100" fmla="*/ 104775 h 4429225"/>
                  <a:gd name="connsiteX101" fmla="*/ 1916452 w 4519987"/>
                  <a:gd name="connsiteY101" fmla="*/ 95250 h 4429225"/>
                  <a:gd name="connsiteX102" fmla="*/ 2030752 w 4519987"/>
                  <a:gd name="connsiteY102" fmla="*/ 66675 h 4429225"/>
                  <a:gd name="connsiteX103" fmla="*/ 2097427 w 4519987"/>
                  <a:gd name="connsiteY103" fmla="*/ 47625 h 4429225"/>
                  <a:gd name="connsiteX104" fmla="*/ 2164102 w 4519987"/>
                  <a:gd name="connsiteY104" fmla="*/ 38100 h 4429225"/>
                  <a:gd name="connsiteX105" fmla="*/ 2392702 w 4519987"/>
                  <a:gd name="connsiteY105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497227 w 4519987"/>
                  <a:gd name="connsiteY52" fmla="*/ 3552825 h 4429225"/>
                  <a:gd name="connsiteX53" fmla="*/ 440077 w 4519987"/>
                  <a:gd name="connsiteY53" fmla="*/ 3495675 h 4429225"/>
                  <a:gd name="connsiteX54" fmla="*/ 411502 w 4519987"/>
                  <a:gd name="connsiteY54" fmla="*/ 3448050 h 4429225"/>
                  <a:gd name="connsiteX55" fmla="*/ 278152 w 4519987"/>
                  <a:gd name="connsiteY55" fmla="*/ 3257550 h 4429225"/>
                  <a:gd name="connsiteX56" fmla="*/ 249577 w 4519987"/>
                  <a:gd name="connsiteY56" fmla="*/ 3200400 h 4429225"/>
                  <a:gd name="connsiteX57" fmla="*/ 240052 w 4519987"/>
                  <a:gd name="connsiteY57" fmla="*/ 3162300 h 4429225"/>
                  <a:gd name="connsiteX58" fmla="*/ 221002 w 4519987"/>
                  <a:gd name="connsiteY58" fmla="*/ 3105150 h 4429225"/>
                  <a:gd name="connsiteX59" fmla="*/ 173377 w 4519987"/>
                  <a:gd name="connsiteY59" fmla="*/ 3019425 h 4429225"/>
                  <a:gd name="connsiteX60" fmla="*/ 144802 w 4519987"/>
                  <a:gd name="connsiteY60" fmla="*/ 2924175 h 4429225"/>
                  <a:gd name="connsiteX61" fmla="*/ 68602 w 4519987"/>
                  <a:gd name="connsiteY61" fmla="*/ 2724150 h 4429225"/>
                  <a:gd name="connsiteX62" fmla="*/ 49552 w 4519987"/>
                  <a:gd name="connsiteY62" fmla="*/ 2638425 h 4429225"/>
                  <a:gd name="connsiteX63" fmla="*/ 40027 w 4519987"/>
                  <a:gd name="connsiteY63" fmla="*/ 2562225 h 4429225"/>
                  <a:gd name="connsiteX64" fmla="*/ 30502 w 4519987"/>
                  <a:gd name="connsiteY64" fmla="*/ 2514600 h 4429225"/>
                  <a:gd name="connsiteX65" fmla="*/ 11452 w 4519987"/>
                  <a:gd name="connsiteY65" fmla="*/ 2400300 h 4429225"/>
                  <a:gd name="connsiteX66" fmla="*/ 20977 w 4519987"/>
                  <a:gd name="connsiteY66" fmla="*/ 1905000 h 4429225"/>
                  <a:gd name="connsiteX67" fmla="*/ 30502 w 4519987"/>
                  <a:gd name="connsiteY67" fmla="*/ 1838325 h 4429225"/>
                  <a:gd name="connsiteX68" fmla="*/ 49552 w 4519987"/>
                  <a:gd name="connsiteY68" fmla="*/ 1781175 h 4429225"/>
                  <a:gd name="connsiteX69" fmla="*/ 59077 w 4519987"/>
                  <a:gd name="connsiteY69" fmla="*/ 1743075 h 4429225"/>
                  <a:gd name="connsiteX70" fmla="*/ 78127 w 4519987"/>
                  <a:gd name="connsiteY70" fmla="*/ 1685925 h 4429225"/>
                  <a:gd name="connsiteX71" fmla="*/ 87652 w 4519987"/>
                  <a:gd name="connsiteY71" fmla="*/ 1638300 h 4429225"/>
                  <a:gd name="connsiteX72" fmla="*/ 106702 w 4519987"/>
                  <a:gd name="connsiteY72" fmla="*/ 1590675 h 4429225"/>
                  <a:gd name="connsiteX73" fmla="*/ 135277 w 4519987"/>
                  <a:gd name="connsiteY73" fmla="*/ 1504950 h 4429225"/>
                  <a:gd name="connsiteX74" fmla="*/ 154327 w 4519987"/>
                  <a:gd name="connsiteY74" fmla="*/ 1419225 h 4429225"/>
                  <a:gd name="connsiteX75" fmla="*/ 230527 w 4519987"/>
                  <a:gd name="connsiteY75" fmla="*/ 1276350 h 4429225"/>
                  <a:gd name="connsiteX76" fmla="*/ 240052 w 4519987"/>
                  <a:gd name="connsiteY76" fmla="*/ 1247775 h 4429225"/>
                  <a:gd name="connsiteX77" fmla="*/ 268627 w 4519987"/>
                  <a:gd name="connsiteY77" fmla="*/ 1200150 h 4429225"/>
                  <a:gd name="connsiteX78" fmla="*/ 287677 w 4519987"/>
                  <a:gd name="connsiteY78" fmla="*/ 1152525 h 4429225"/>
                  <a:gd name="connsiteX79" fmla="*/ 316252 w 4519987"/>
                  <a:gd name="connsiteY79" fmla="*/ 1114425 h 4429225"/>
                  <a:gd name="connsiteX80" fmla="*/ 363877 w 4519987"/>
                  <a:gd name="connsiteY80" fmla="*/ 1038225 h 4429225"/>
                  <a:gd name="connsiteX81" fmla="*/ 382927 w 4519987"/>
                  <a:gd name="connsiteY81" fmla="*/ 1009650 h 4429225"/>
                  <a:gd name="connsiteX82" fmla="*/ 440077 w 4519987"/>
                  <a:gd name="connsiteY82" fmla="*/ 904875 h 4429225"/>
                  <a:gd name="connsiteX83" fmla="*/ 478177 w 4519987"/>
                  <a:gd name="connsiteY83" fmla="*/ 857250 h 4429225"/>
                  <a:gd name="connsiteX84" fmla="*/ 497227 w 4519987"/>
                  <a:gd name="connsiteY84" fmla="*/ 828675 h 4429225"/>
                  <a:gd name="connsiteX85" fmla="*/ 535327 w 4519987"/>
                  <a:gd name="connsiteY85" fmla="*/ 800100 h 4429225"/>
                  <a:gd name="connsiteX86" fmla="*/ 602002 w 4519987"/>
                  <a:gd name="connsiteY86" fmla="*/ 733425 h 4429225"/>
                  <a:gd name="connsiteX87" fmla="*/ 668677 w 4519987"/>
                  <a:gd name="connsiteY87" fmla="*/ 676275 h 4429225"/>
                  <a:gd name="connsiteX88" fmla="*/ 697252 w 4519987"/>
                  <a:gd name="connsiteY88" fmla="*/ 657225 h 4429225"/>
                  <a:gd name="connsiteX89" fmla="*/ 840127 w 4519987"/>
                  <a:gd name="connsiteY89" fmla="*/ 533400 h 4429225"/>
                  <a:gd name="connsiteX90" fmla="*/ 887752 w 4519987"/>
                  <a:gd name="connsiteY90" fmla="*/ 504825 h 4429225"/>
                  <a:gd name="connsiteX91" fmla="*/ 1167152 w 4519987"/>
                  <a:gd name="connsiteY91" fmla="*/ 311150 h 4429225"/>
                  <a:gd name="connsiteX92" fmla="*/ 1268752 w 4519987"/>
                  <a:gd name="connsiteY92" fmla="*/ 285750 h 4429225"/>
                  <a:gd name="connsiteX93" fmla="*/ 1411627 w 4519987"/>
                  <a:gd name="connsiteY93" fmla="*/ 190500 h 4429225"/>
                  <a:gd name="connsiteX94" fmla="*/ 1449727 w 4519987"/>
                  <a:gd name="connsiteY94" fmla="*/ 161925 h 4429225"/>
                  <a:gd name="connsiteX95" fmla="*/ 1525927 w 4519987"/>
                  <a:gd name="connsiteY95" fmla="*/ 152400 h 4429225"/>
                  <a:gd name="connsiteX96" fmla="*/ 1583077 w 4519987"/>
                  <a:gd name="connsiteY96" fmla="*/ 142875 h 4429225"/>
                  <a:gd name="connsiteX97" fmla="*/ 1716427 w 4519987"/>
                  <a:gd name="connsiteY97" fmla="*/ 123825 h 4429225"/>
                  <a:gd name="connsiteX98" fmla="*/ 1811677 w 4519987"/>
                  <a:gd name="connsiteY98" fmla="*/ 114300 h 4429225"/>
                  <a:gd name="connsiteX99" fmla="*/ 1859302 w 4519987"/>
                  <a:gd name="connsiteY99" fmla="*/ 104775 h 4429225"/>
                  <a:gd name="connsiteX100" fmla="*/ 1916452 w 4519987"/>
                  <a:gd name="connsiteY100" fmla="*/ 95250 h 4429225"/>
                  <a:gd name="connsiteX101" fmla="*/ 2030752 w 4519987"/>
                  <a:gd name="connsiteY101" fmla="*/ 66675 h 4429225"/>
                  <a:gd name="connsiteX102" fmla="*/ 2097427 w 4519987"/>
                  <a:gd name="connsiteY102" fmla="*/ 47625 h 4429225"/>
                  <a:gd name="connsiteX103" fmla="*/ 2164102 w 4519987"/>
                  <a:gd name="connsiteY103" fmla="*/ 38100 h 4429225"/>
                  <a:gd name="connsiteX104" fmla="*/ 2392702 w 4519987"/>
                  <a:gd name="connsiteY104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497227 w 4519987"/>
                  <a:gd name="connsiteY52" fmla="*/ 3552825 h 4429225"/>
                  <a:gd name="connsiteX53" fmla="*/ 440077 w 4519987"/>
                  <a:gd name="connsiteY53" fmla="*/ 3495675 h 4429225"/>
                  <a:gd name="connsiteX54" fmla="*/ 278152 w 4519987"/>
                  <a:gd name="connsiteY54" fmla="*/ 3257550 h 4429225"/>
                  <a:gd name="connsiteX55" fmla="*/ 249577 w 4519987"/>
                  <a:gd name="connsiteY55" fmla="*/ 3200400 h 4429225"/>
                  <a:gd name="connsiteX56" fmla="*/ 240052 w 4519987"/>
                  <a:gd name="connsiteY56" fmla="*/ 3162300 h 4429225"/>
                  <a:gd name="connsiteX57" fmla="*/ 221002 w 4519987"/>
                  <a:gd name="connsiteY57" fmla="*/ 3105150 h 4429225"/>
                  <a:gd name="connsiteX58" fmla="*/ 173377 w 4519987"/>
                  <a:gd name="connsiteY58" fmla="*/ 3019425 h 4429225"/>
                  <a:gd name="connsiteX59" fmla="*/ 144802 w 4519987"/>
                  <a:gd name="connsiteY59" fmla="*/ 2924175 h 4429225"/>
                  <a:gd name="connsiteX60" fmla="*/ 68602 w 4519987"/>
                  <a:gd name="connsiteY60" fmla="*/ 2724150 h 4429225"/>
                  <a:gd name="connsiteX61" fmla="*/ 49552 w 4519987"/>
                  <a:gd name="connsiteY61" fmla="*/ 2638425 h 4429225"/>
                  <a:gd name="connsiteX62" fmla="*/ 40027 w 4519987"/>
                  <a:gd name="connsiteY62" fmla="*/ 2562225 h 4429225"/>
                  <a:gd name="connsiteX63" fmla="*/ 30502 w 4519987"/>
                  <a:gd name="connsiteY63" fmla="*/ 2514600 h 4429225"/>
                  <a:gd name="connsiteX64" fmla="*/ 11452 w 4519987"/>
                  <a:gd name="connsiteY64" fmla="*/ 2400300 h 4429225"/>
                  <a:gd name="connsiteX65" fmla="*/ 20977 w 4519987"/>
                  <a:gd name="connsiteY65" fmla="*/ 1905000 h 4429225"/>
                  <a:gd name="connsiteX66" fmla="*/ 30502 w 4519987"/>
                  <a:gd name="connsiteY66" fmla="*/ 1838325 h 4429225"/>
                  <a:gd name="connsiteX67" fmla="*/ 49552 w 4519987"/>
                  <a:gd name="connsiteY67" fmla="*/ 1781175 h 4429225"/>
                  <a:gd name="connsiteX68" fmla="*/ 59077 w 4519987"/>
                  <a:gd name="connsiteY68" fmla="*/ 1743075 h 4429225"/>
                  <a:gd name="connsiteX69" fmla="*/ 78127 w 4519987"/>
                  <a:gd name="connsiteY69" fmla="*/ 1685925 h 4429225"/>
                  <a:gd name="connsiteX70" fmla="*/ 87652 w 4519987"/>
                  <a:gd name="connsiteY70" fmla="*/ 1638300 h 4429225"/>
                  <a:gd name="connsiteX71" fmla="*/ 106702 w 4519987"/>
                  <a:gd name="connsiteY71" fmla="*/ 1590675 h 4429225"/>
                  <a:gd name="connsiteX72" fmla="*/ 135277 w 4519987"/>
                  <a:gd name="connsiteY72" fmla="*/ 1504950 h 4429225"/>
                  <a:gd name="connsiteX73" fmla="*/ 154327 w 4519987"/>
                  <a:gd name="connsiteY73" fmla="*/ 1419225 h 4429225"/>
                  <a:gd name="connsiteX74" fmla="*/ 230527 w 4519987"/>
                  <a:gd name="connsiteY74" fmla="*/ 1276350 h 4429225"/>
                  <a:gd name="connsiteX75" fmla="*/ 240052 w 4519987"/>
                  <a:gd name="connsiteY75" fmla="*/ 1247775 h 4429225"/>
                  <a:gd name="connsiteX76" fmla="*/ 268627 w 4519987"/>
                  <a:gd name="connsiteY76" fmla="*/ 1200150 h 4429225"/>
                  <a:gd name="connsiteX77" fmla="*/ 287677 w 4519987"/>
                  <a:gd name="connsiteY77" fmla="*/ 1152525 h 4429225"/>
                  <a:gd name="connsiteX78" fmla="*/ 316252 w 4519987"/>
                  <a:gd name="connsiteY78" fmla="*/ 1114425 h 4429225"/>
                  <a:gd name="connsiteX79" fmla="*/ 363877 w 4519987"/>
                  <a:gd name="connsiteY79" fmla="*/ 1038225 h 4429225"/>
                  <a:gd name="connsiteX80" fmla="*/ 382927 w 4519987"/>
                  <a:gd name="connsiteY80" fmla="*/ 1009650 h 4429225"/>
                  <a:gd name="connsiteX81" fmla="*/ 440077 w 4519987"/>
                  <a:gd name="connsiteY81" fmla="*/ 904875 h 4429225"/>
                  <a:gd name="connsiteX82" fmla="*/ 478177 w 4519987"/>
                  <a:gd name="connsiteY82" fmla="*/ 857250 h 4429225"/>
                  <a:gd name="connsiteX83" fmla="*/ 497227 w 4519987"/>
                  <a:gd name="connsiteY83" fmla="*/ 828675 h 4429225"/>
                  <a:gd name="connsiteX84" fmla="*/ 535327 w 4519987"/>
                  <a:gd name="connsiteY84" fmla="*/ 800100 h 4429225"/>
                  <a:gd name="connsiteX85" fmla="*/ 602002 w 4519987"/>
                  <a:gd name="connsiteY85" fmla="*/ 733425 h 4429225"/>
                  <a:gd name="connsiteX86" fmla="*/ 668677 w 4519987"/>
                  <a:gd name="connsiteY86" fmla="*/ 676275 h 4429225"/>
                  <a:gd name="connsiteX87" fmla="*/ 697252 w 4519987"/>
                  <a:gd name="connsiteY87" fmla="*/ 657225 h 4429225"/>
                  <a:gd name="connsiteX88" fmla="*/ 840127 w 4519987"/>
                  <a:gd name="connsiteY88" fmla="*/ 533400 h 4429225"/>
                  <a:gd name="connsiteX89" fmla="*/ 887752 w 4519987"/>
                  <a:gd name="connsiteY89" fmla="*/ 504825 h 4429225"/>
                  <a:gd name="connsiteX90" fmla="*/ 1167152 w 4519987"/>
                  <a:gd name="connsiteY90" fmla="*/ 311150 h 4429225"/>
                  <a:gd name="connsiteX91" fmla="*/ 1268752 w 4519987"/>
                  <a:gd name="connsiteY91" fmla="*/ 285750 h 4429225"/>
                  <a:gd name="connsiteX92" fmla="*/ 1411627 w 4519987"/>
                  <a:gd name="connsiteY92" fmla="*/ 190500 h 4429225"/>
                  <a:gd name="connsiteX93" fmla="*/ 1449727 w 4519987"/>
                  <a:gd name="connsiteY93" fmla="*/ 161925 h 4429225"/>
                  <a:gd name="connsiteX94" fmla="*/ 1525927 w 4519987"/>
                  <a:gd name="connsiteY94" fmla="*/ 152400 h 4429225"/>
                  <a:gd name="connsiteX95" fmla="*/ 1583077 w 4519987"/>
                  <a:gd name="connsiteY95" fmla="*/ 142875 h 4429225"/>
                  <a:gd name="connsiteX96" fmla="*/ 1716427 w 4519987"/>
                  <a:gd name="connsiteY96" fmla="*/ 123825 h 4429225"/>
                  <a:gd name="connsiteX97" fmla="*/ 1811677 w 4519987"/>
                  <a:gd name="connsiteY97" fmla="*/ 114300 h 4429225"/>
                  <a:gd name="connsiteX98" fmla="*/ 1859302 w 4519987"/>
                  <a:gd name="connsiteY98" fmla="*/ 104775 h 4429225"/>
                  <a:gd name="connsiteX99" fmla="*/ 1916452 w 4519987"/>
                  <a:gd name="connsiteY99" fmla="*/ 95250 h 4429225"/>
                  <a:gd name="connsiteX100" fmla="*/ 2030752 w 4519987"/>
                  <a:gd name="connsiteY100" fmla="*/ 66675 h 4429225"/>
                  <a:gd name="connsiteX101" fmla="*/ 2097427 w 4519987"/>
                  <a:gd name="connsiteY101" fmla="*/ 47625 h 4429225"/>
                  <a:gd name="connsiteX102" fmla="*/ 2164102 w 4519987"/>
                  <a:gd name="connsiteY102" fmla="*/ 38100 h 4429225"/>
                  <a:gd name="connsiteX103" fmla="*/ 2392702 w 4519987"/>
                  <a:gd name="connsiteY103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440077 w 4519987"/>
                  <a:gd name="connsiteY52" fmla="*/ 3495675 h 4429225"/>
                  <a:gd name="connsiteX53" fmla="*/ 278152 w 4519987"/>
                  <a:gd name="connsiteY53" fmla="*/ 3257550 h 4429225"/>
                  <a:gd name="connsiteX54" fmla="*/ 249577 w 4519987"/>
                  <a:gd name="connsiteY54" fmla="*/ 3200400 h 4429225"/>
                  <a:gd name="connsiteX55" fmla="*/ 240052 w 4519987"/>
                  <a:gd name="connsiteY55" fmla="*/ 3162300 h 4429225"/>
                  <a:gd name="connsiteX56" fmla="*/ 221002 w 4519987"/>
                  <a:gd name="connsiteY56" fmla="*/ 3105150 h 4429225"/>
                  <a:gd name="connsiteX57" fmla="*/ 173377 w 4519987"/>
                  <a:gd name="connsiteY57" fmla="*/ 3019425 h 4429225"/>
                  <a:gd name="connsiteX58" fmla="*/ 144802 w 4519987"/>
                  <a:gd name="connsiteY58" fmla="*/ 2924175 h 4429225"/>
                  <a:gd name="connsiteX59" fmla="*/ 68602 w 4519987"/>
                  <a:gd name="connsiteY59" fmla="*/ 2724150 h 4429225"/>
                  <a:gd name="connsiteX60" fmla="*/ 49552 w 4519987"/>
                  <a:gd name="connsiteY60" fmla="*/ 2638425 h 4429225"/>
                  <a:gd name="connsiteX61" fmla="*/ 40027 w 4519987"/>
                  <a:gd name="connsiteY61" fmla="*/ 2562225 h 4429225"/>
                  <a:gd name="connsiteX62" fmla="*/ 30502 w 4519987"/>
                  <a:gd name="connsiteY62" fmla="*/ 2514600 h 4429225"/>
                  <a:gd name="connsiteX63" fmla="*/ 11452 w 4519987"/>
                  <a:gd name="connsiteY63" fmla="*/ 2400300 h 4429225"/>
                  <a:gd name="connsiteX64" fmla="*/ 20977 w 4519987"/>
                  <a:gd name="connsiteY64" fmla="*/ 1905000 h 4429225"/>
                  <a:gd name="connsiteX65" fmla="*/ 30502 w 4519987"/>
                  <a:gd name="connsiteY65" fmla="*/ 1838325 h 4429225"/>
                  <a:gd name="connsiteX66" fmla="*/ 49552 w 4519987"/>
                  <a:gd name="connsiteY66" fmla="*/ 1781175 h 4429225"/>
                  <a:gd name="connsiteX67" fmla="*/ 59077 w 4519987"/>
                  <a:gd name="connsiteY67" fmla="*/ 1743075 h 4429225"/>
                  <a:gd name="connsiteX68" fmla="*/ 78127 w 4519987"/>
                  <a:gd name="connsiteY68" fmla="*/ 1685925 h 4429225"/>
                  <a:gd name="connsiteX69" fmla="*/ 87652 w 4519987"/>
                  <a:gd name="connsiteY69" fmla="*/ 1638300 h 4429225"/>
                  <a:gd name="connsiteX70" fmla="*/ 106702 w 4519987"/>
                  <a:gd name="connsiteY70" fmla="*/ 1590675 h 4429225"/>
                  <a:gd name="connsiteX71" fmla="*/ 135277 w 4519987"/>
                  <a:gd name="connsiteY71" fmla="*/ 1504950 h 4429225"/>
                  <a:gd name="connsiteX72" fmla="*/ 154327 w 4519987"/>
                  <a:gd name="connsiteY72" fmla="*/ 1419225 h 4429225"/>
                  <a:gd name="connsiteX73" fmla="*/ 230527 w 4519987"/>
                  <a:gd name="connsiteY73" fmla="*/ 1276350 h 4429225"/>
                  <a:gd name="connsiteX74" fmla="*/ 240052 w 4519987"/>
                  <a:gd name="connsiteY74" fmla="*/ 1247775 h 4429225"/>
                  <a:gd name="connsiteX75" fmla="*/ 268627 w 4519987"/>
                  <a:gd name="connsiteY75" fmla="*/ 1200150 h 4429225"/>
                  <a:gd name="connsiteX76" fmla="*/ 287677 w 4519987"/>
                  <a:gd name="connsiteY76" fmla="*/ 1152525 h 4429225"/>
                  <a:gd name="connsiteX77" fmla="*/ 316252 w 4519987"/>
                  <a:gd name="connsiteY77" fmla="*/ 1114425 h 4429225"/>
                  <a:gd name="connsiteX78" fmla="*/ 363877 w 4519987"/>
                  <a:gd name="connsiteY78" fmla="*/ 1038225 h 4429225"/>
                  <a:gd name="connsiteX79" fmla="*/ 382927 w 4519987"/>
                  <a:gd name="connsiteY79" fmla="*/ 1009650 h 4429225"/>
                  <a:gd name="connsiteX80" fmla="*/ 440077 w 4519987"/>
                  <a:gd name="connsiteY80" fmla="*/ 904875 h 4429225"/>
                  <a:gd name="connsiteX81" fmla="*/ 478177 w 4519987"/>
                  <a:gd name="connsiteY81" fmla="*/ 857250 h 4429225"/>
                  <a:gd name="connsiteX82" fmla="*/ 497227 w 4519987"/>
                  <a:gd name="connsiteY82" fmla="*/ 828675 h 4429225"/>
                  <a:gd name="connsiteX83" fmla="*/ 535327 w 4519987"/>
                  <a:gd name="connsiteY83" fmla="*/ 800100 h 4429225"/>
                  <a:gd name="connsiteX84" fmla="*/ 602002 w 4519987"/>
                  <a:gd name="connsiteY84" fmla="*/ 733425 h 4429225"/>
                  <a:gd name="connsiteX85" fmla="*/ 668677 w 4519987"/>
                  <a:gd name="connsiteY85" fmla="*/ 676275 h 4429225"/>
                  <a:gd name="connsiteX86" fmla="*/ 697252 w 4519987"/>
                  <a:gd name="connsiteY86" fmla="*/ 657225 h 4429225"/>
                  <a:gd name="connsiteX87" fmla="*/ 840127 w 4519987"/>
                  <a:gd name="connsiteY87" fmla="*/ 533400 h 4429225"/>
                  <a:gd name="connsiteX88" fmla="*/ 887752 w 4519987"/>
                  <a:gd name="connsiteY88" fmla="*/ 504825 h 4429225"/>
                  <a:gd name="connsiteX89" fmla="*/ 1167152 w 4519987"/>
                  <a:gd name="connsiteY89" fmla="*/ 311150 h 4429225"/>
                  <a:gd name="connsiteX90" fmla="*/ 1268752 w 4519987"/>
                  <a:gd name="connsiteY90" fmla="*/ 285750 h 4429225"/>
                  <a:gd name="connsiteX91" fmla="*/ 1411627 w 4519987"/>
                  <a:gd name="connsiteY91" fmla="*/ 190500 h 4429225"/>
                  <a:gd name="connsiteX92" fmla="*/ 1449727 w 4519987"/>
                  <a:gd name="connsiteY92" fmla="*/ 161925 h 4429225"/>
                  <a:gd name="connsiteX93" fmla="*/ 1525927 w 4519987"/>
                  <a:gd name="connsiteY93" fmla="*/ 152400 h 4429225"/>
                  <a:gd name="connsiteX94" fmla="*/ 1583077 w 4519987"/>
                  <a:gd name="connsiteY94" fmla="*/ 142875 h 4429225"/>
                  <a:gd name="connsiteX95" fmla="*/ 1716427 w 4519987"/>
                  <a:gd name="connsiteY95" fmla="*/ 123825 h 4429225"/>
                  <a:gd name="connsiteX96" fmla="*/ 1811677 w 4519987"/>
                  <a:gd name="connsiteY96" fmla="*/ 114300 h 4429225"/>
                  <a:gd name="connsiteX97" fmla="*/ 1859302 w 4519987"/>
                  <a:gd name="connsiteY97" fmla="*/ 104775 h 4429225"/>
                  <a:gd name="connsiteX98" fmla="*/ 1916452 w 4519987"/>
                  <a:gd name="connsiteY98" fmla="*/ 95250 h 4429225"/>
                  <a:gd name="connsiteX99" fmla="*/ 2030752 w 4519987"/>
                  <a:gd name="connsiteY99" fmla="*/ 66675 h 4429225"/>
                  <a:gd name="connsiteX100" fmla="*/ 2097427 w 4519987"/>
                  <a:gd name="connsiteY100" fmla="*/ 47625 h 4429225"/>
                  <a:gd name="connsiteX101" fmla="*/ 2164102 w 4519987"/>
                  <a:gd name="connsiteY101" fmla="*/ 38100 h 4429225"/>
                  <a:gd name="connsiteX102" fmla="*/ 2392702 w 4519987"/>
                  <a:gd name="connsiteY102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49577 w 4519987"/>
                  <a:gd name="connsiteY53" fmla="*/ 3200400 h 4429225"/>
                  <a:gd name="connsiteX54" fmla="*/ 240052 w 4519987"/>
                  <a:gd name="connsiteY54" fmla="*/ 3162300 h 4429225"/>
                  <a:gd name="connsiteX55" fmla="*/ 221002 w 4519987"/>
                  <a:gd name="connsiteY55" fmla="*/ 3105150 h 4429225"/>
                  <a:gd name="connsiteX56" fmla="*/ 173377 w 4519987"/>
                  <a:gd name="connsiteY56" fmla="*/ 3019425 h 4429225"/>
                  <a:gd name="connsiteX57" fmla="*/ 144802 w 4519987"/>
                  <a:gd name="connsiteY57" fmla="*/ 2924175 h 4429225"/>
                  <a:gd name="connsiteX58" fmla="*/ 68602 w 4519987"/>
                  <a:gd name="connsiteY58" fmla="*/ 2724150 h 4429225"/>
                  <a:gd name="connsiteX59" fmla="*/ 49552 w 4519987"/>
                  <a:gd name="connsiteY59" fmla="*/ 2638425 h 4429225"/>
                  <a:gd name="connsiteX60" fmla="*/ 40027 w 4519987"/>
                  <a:gd name="connsiteY60" fmla="*/ 2562225 h 4429225"/>
                  <a:gd name="connsiteX61" fmla="*/ 30502 w 4519987"/>
                  <a:gd name="connsiteY61" fmla="*/ 2514600 h 4429225"/>
                  <a:gd name="connsiteX62" fmla="*/ 11452 w 4519987"/>
                  <a:gd name="connsiteY62" fmla="*/ 2400300 h 4429225"/>
                  <a:gd name="connsiteX63" fmla="*/ 20977 w 4519987"/>
                  <a:gd name="connsiteY63" fmla="*/ 1905000 h 4429225"/>
                  <a:gd name="connsiteX64" fmla="*/ 30502 w 4519987"/>
                  <a:gd name="connsiteY64" fmla="*/ 1838325 h 4429225"/>
                  <a:gd name="connsiteX65" fmla="*/ 49552 w 4519987"/>
                  <a:gd name="connsiteY65" fmla="*/ 1781175 h 4429225"/>
                  <a:gd name="connsiteX66" fmla="*/ 59077 w 4519987"/>
                  <a:gd name="connsiteY66" fmla="*/ 1743075 h 4429225"/>
                  <a:gd name="connsiteX67" fmla="*/ 78127 w 4519987"/>
                  <a:gd name="connsiteY67" fmla="*/ 1685925 h 4429225"/>
                  <a:gd name="connsiteX68" fmla="*/ 87652 w 4519987"/>
                  <a:gd name="connsiteY68" fmla="*/ 1638300 h 4429225"/>
                  <a:gd name="connsiteX69" fmla="*/ 106702 w 4519987"/>
                  <a:gd name="connsiteY69" fmla="*/ 1590675 h 4429225"/>
                  <a:gd name="connsiteX70" fmla="*/ 135277 w 4519987"/>
                  <a:gd name="connsiteY70" fmla="*/ 1504950 h 4429225"/>
                  <a:gd name="connsiteX71" fmla="*/ 154327 w 4519987"/>
                  <a:gd name="connsiteY71" fmla="*/ 1419225 h 4429225"/>
                  <a:gd name="connsiteX72" fmla="*/ 230527 w 4519987"/>
                  <a:gd name="connsiteY72" fmla="*/ 1276350 h 4429225"/>
                  <a:gd name="connsiteX73" fmla="*/ 240052 w 4519987"/>
                  <a:gd name="connsiteY73" fmla="*/ 1247775 h 4429225"/>
                  <a:gd name="connsiteX74" fmla="*/ 268627 w 4519987"/>
                  <a:gd name="connsiteY74" fmla="*/ 1200150 h 4429225"/>
                  <a:gd name="connsiteX75" fmla="*/ 287677 w 4519987"/>
                  <a:gd name="connsiteY75" fmla="*/ 1152525 h 4429225"/>
                  <a:gd name="connsiteX76" fmla="*/ 316252 w 4519987"/>
                  <a:gd name="connsiteY76" fmla="*/ 1114425 h 4429225"/>
                  <a:gd name="connsiteX77" fmla="*/ 363877 w 4519987"/>
                  <a:gd name="connsiteY77" fmla="*/ 1038225 h 4429225"/>
                  <a:gd name="connsiteX78" fmla="*/ 382927 w 4519987"/>
                  <a:gd name="connsiteY78" fmla="*/ 1009650 h 4429225"/>
                  <a:gd name="connsiteX79" fmla="*/ 440077 w 4519987"/>
                  <a:gd name="connsiteY79" fmla="*/ 904875 h 4429225"/>
                  <a:gd name="connsiteX80" fmla="*/ 478177 w 4519987"/>
                  <a:gd name="connsiteY80" fmla="*/ 857250 h 4429225"/>
                  <a:gd name="connsiteX81" fmla="*/ 497227 w 4519987"/>
                  <a:gd name="connsiteY81" fmla="*/ 828675 h 4429225"/>
                  <a:gd name="connsiteX82" fmla="*/ 535327 w 4519987"/>
                  <a:gd name="connsiteY82" fmla="*/ 800100 h 4429225"/>
                  <a:gd name="connsiteX83" fmla="*/ 602002 w 4519987"/>
                  <a:gd name="connsiteY83" fmla="*/ 733425 h 4429225"/>
                  <a:gd name="connsiteX84" fmla="*/ 668677 w 4519987"/>
                  <a:gd name="connsiteY84" fmla="*/ 676275 h 4429225"/>
                  <a:gd name="connsiteX85" fmla="*/ 697252 w 4519987"/>
                  <a:gd name="connsiteY85" fmla="*/ 657225 h 4429225"/>
                  <a:gd name="connsiteX86" fmla="*/ 840127 w 4519987"/>
                  <a:gd name="connsiteY86" fmla="*/ 533400 h 4429225"/>
                  <a:gd name="connsiteX87" fmla="*/ 887752 w 4519987"/>
                  <a:gd name="connsiteY87" fmla="*/ 504825 h 4429225"/>
                  <a:gd name="connsiteX88" fmla="*/ 1167152 w 4519987"/>
                  <a:gd name="connsiteY88" fmla="*/ 311150 h 4429225"/>
                  <a:gd name="connsiteX89" fmla="*/ 1268752 w 4519987"/>
                  <a:gd name="connsiteY89" fmla="*/ 285750 h 4429225"/>
                  <a:gd name="connsiteX90" fmla="*/ 1411627 w 4519987"/>
                  <a:gd name="connsiteY90" fmla="*/ 190500 h 4429225"/>
                  <a:gd name="connsiteX91" fmla="*/ 1449727 w 4519987"/>
                  <a:gd name="connsiteY91" fmla="*/ 161925 h 4429225"/>
                  <a:gd name="connsiteX92" fmla="*/ 1525927 w 4519987"/>
                  <a:gd name="connsiteY92" fmla="*/ 152400 h 4429225"/>
                  <a:gd name="connsiteX93" fmla="*/ 1583077 w 4519987"/>
                  <a:gd name="connsiteY93" fmla="*/ 142875 h 4429225"/>
                  <a:gd name="connsiteX94" fmla="*/ 1716427 w 4519987"/>
                  <a:gd name="connsiteY94" fmla="*/ 123825 h 4429225"/>
                  <a:gd name="connsiteX95" fmla="*/ 1811677 w 4519987"/>
                  <a:gd name="connsiteY95" fmla="*/ 114300 h 4429225"/>
                  <a:gd name="connsiteX96" fmla="*/ 1859302 w 4519987"/>
                  <a:gd name="connsiteY96" fmla="*/ 104775 h 4429225"/>
                  <a:gd name="connsiteX97" fmla="*/ 1916452 w 4519987"/>
                  <a:gd name="connsiteY97" fmla="*/ 95250 h 4429225"/>
                  <a:gd name="connsiteX98" fmla="*/ 2030752 w 4519987"/>
                  <a:gd name="connsiteY98" fmla="*/ 66675 h 4429225"/>
                  <a:gd name="connsiteX99" fmla="*/ 2097427 w 4519987"/>
                  <a:gd name="connsiteY99" fmla="*/ 47625 h 4429225"/>
                  <a:gd name="connsiteX100" fmla="*/ 2164102 w 4519987"/>
                  <a:gd name="connsiteY100" fmla="*/ 38100 h 4429225"/>
                  <a:gd name="connsiteX101" fmla="*/ 2392702 w 4519987"/>
                  <a:gd name="connsiteY101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49577 w 4519987"/>
                  <a:gd name="connsiteY53" fmla="*/ 3200400 h 4429225"/>
                  <a:gd name="connsiteX54" fmla="*/ 221002 w 4519987"/>
                  <a:gd name="connsiteY54" fmla="*/ 3105150 h 4429225"/>
                  <a:gd name="connsiteX55" fmla="*/ 173377 w 4519987"/>
                  <a:gd name="connsiteY55" fmla="*/ 3019425 h 4429225"/>
                  <a:gd name="connsiteX56" fmla="*/ 144802 w 4519987"/>
                  <a:gd name="connsiteY56" fmla="*/ 2924175 h 4429225"/>
                  <a:gd name="connsiteX57" fmla="*/ 68602 w 4519987"/>
                  <a:gd name="connsiteY57" fmla="*/ 2724150 h 4429225"/>
                  <a:gd name="connsiteX58" fmla="*/ 49552 w 4519987"/>
                  <a:gd name="connsiteY58" fmla="*/ 2638425 h 4429225"/>
                  <a:gd name="connsiteX59" fmla="*/ 40027 w 4519987"/>
                  <a:gd name="connsiteY59" fmla="*/ 2562225 h 4429225"/>
                  <a:gd name="connsiteX60" fmla="*/ 30502 w 4519987"/>
                  <a:gd name="connsiteY60" fmla="*/ 2514600 h 4429225"/>
                  <a:gd name="connsiteX61" fmla="*/ 11452 w 4519987"/>
                  <a:gd name="connsiteY61" fmla="*/ 2400300 h 4429225"/>
                  <a:gd name="connsiteX62" fmla="*/ 20977 w 4519987"/>
                  <a:gd name="connsiteY62" fmla="*/ 1905000 h 4429225"/>
                  <a:gd name="connsiteX63" fmla="*/ 30502 w 4519987"/>
                  <a:gd name="connsiteY63" fmla="*/ 1838325 h 4429225"/>
                  <a:gd name="connsiteX64" fmla="*/ 49552 w 4519987"/>
                  <a:gd name="connsiteY64" fmla="*/ 1781175 h 4429225"/>
                  <a:gd name="connsiteX65" fmla="*/ 59077 w 4519987"/>
                  <a:gd name="connsiteY65" fmla="*/ 1743075 h 4429225"/>
                  <a:gd name="connsiteX66" fmla="*/ 78127 w 4519987"/>
                  <a:gd name="connsiteY66" fmla="*/ 1685925 h 4429225"/>
                  <a:gd name="connsiteX67" fmla="*/ 87652 w 4519987"/>
                  <a:gd name="connsiteY67" fmla="*/ 1638300 h 4429225"/>
                  <a:gd name="connsiteX68" fmla="*/ 106702 w 4519987"/>
                  <a:gd name="connsiteY68" fmla="*/ 1590675 h 4429225"/>
                  <a:gd name="connsiteX69" fmla="*/ 135277 w 4519987"/>
                  <a:gd name="connsiteY69" fmla="*/ 1504950 h 4429225"/>
                  <a:gd name="connsiteX70" fmla="*/ 154327 w 4519987"/>
                  <a:gd name="connsiteY70" fmla="*/ 1419225 h 4429225"/>
                  <a:gd name="connsiteX71" fmla="*/ 230527 w 4519987"/>
                  <a:gd name="connsiteY71" fmla="*/ 1276350 h 4429225"/>
                  <a:gd name="connsiteX72" fmla="*/ 240052 w 4519987"/>
                  <a:gd name="connsiteY72" fmla="*/ 1247775 h 4429225"/>
                  <a:gd name="connsiteX73" fmla="*/ 268627 w 4519987"/>
                  <a:gd name="connsiteY73" fmla="*/ 1200150 h 4429225"/>
                  <a:gd name="connsiteX74" fmla="*/ 287677 w 4519987"/>
                  <a:gd name="connsiteY74" fmla="*/ 1152525 h 4429225"/>
                  <a:gd name="connsiteX75" fmla="*/ 316252 w 4519987"/>
                  <a:gd name="connsiteY75" fmla="*/ 1114425 h 4429225"/>
                  <a:gd name="connsiteX76" fmla="*/ 363877 w 4519987"/>
                  <a:gd name="connsiteY76" fmla="*/ 1038225 h 4429225"/>
                  <a:gd name="connsiteX77" fmla="*/ 382927 w 4519987"/>
                  <a:gd name="connsiteY77" fmla="*/ 1009650 h 4429225"/>
                  <a:gd name="connsiteX78" fmla="*/ 440077 w 4519987"/>
                  <a:gd name="connsiteY78" fmla="*/ 904875 h 4429225"/>
                  <a:gd name="connsiteX79" fmla="*/ 478177 w 4519987"/>
                  <a:gd name="connsiteY79" fmla="*/ 857250 h 4429225"/>
                  <a:gd name="connsiteX80" fmla="*/ 497227 w 4519987"/>
                  <a:gd name="connsiteY80" fmla="*/ 828675 h 4429225"/>
                  <a:gd name="connsiteX81" fmla="*/ 535327 w 4519987"/>
                  <a:gd name="connsiteY81" fmla="*/ 800100 h 4429225"/>
                  <a:gd name="connsiteX82" fmla="*/ 602002 w 4519987"/>
                  <a:gd name="connsiteY82" fmla="*/ 733425 h 4429225"/>
                  <a:gd name="connsiteX83" fmla="*/ 668677 w 4519987"/>
                  <a:gd name="connsiteY83" fmla="*/ 676275 h 4429225"/>
                  <a:gd name="connsiteX84" fmla="*/ 697252 w 4519987"/>
                  <a:gd name="connsiteY84" fmla="*/ 657225 h 4429225"/>
                  <a:gd name="connsiteX85" fmla="*/ 840127 w 4519987"/>
                  <a:gd name="connsiteY85" fmla="*/ 533400 h 4429225"/>
                  <a:gd name="connsiteX86" fmla="*/ 887752 w 4519987"/>
                  <a:gd name="connsiteY86" fmla="*/ 504825 h 4429225"/>
                  <a:gd name="connsiteX87" fmla="*/ 1167152 w 4519987"/>
                  <a:gd name="connsiteY87" fmla="*/ 311150 h 4429225"/>
                  <a:gd name="connsiteX88" fmla="*/ 1268752 w 4519987"/>
                  <a:gd name="connsiteY88" fmla="*/ 285750 h 4429225"/>
                  <a:gd name="connsiteX89" fmla="*/ 1411627 w 4519987"/>
                  <a:gd name="connsiteY89" fmla="*/ 190500 h 4429225"/>
                  <a:gd name="connsiteX90" fmla="*/ 1449727 w 4519987"/>
                  <a:gd name="connsiteY90" fmla="*/ 161925 h 4429225"/>
                  <a:gd name="connsiteX91" fmla="*/ 1525927 w 4519987"/>
                  <a:gd name="connsiteY91" fmla="*/ 152400 h 4429225"/>
                  <a:gd name="connsiteX92" fmla="*/ 1583077 w 4519987"/>
                  <a:gd name="connsiteY92" fmla="*/ 142875 h 4429225"/>
                  <a:gd name="connsiteX93" fmla="*/ 1716427 w 4519987"/>
                  <a:gd name="connsiteY93" fmla="*/ 123825 h 4429225"/>
                  <a:gd name="connsiteX94" fmla="*/ 1811677 w 4519987"/>
                  <a:gd name="connsiteY94" fmla="*/ 114300 h 4429225"/>
                  <a:gd name="connsiteX95" fmla="*/ 1859302 w 4519987"/>
                  <a:gd name="connsiteY95" fmla="*/ 104775 h 4429225"/>
                  <a:gd name="connsiteX96" fmla="*/ 1916452 w 4519987"/>
                  <a:gd name="connsiteY96" fmla="*/ 95250 h 4429225"/>
                  <a:gd name="connsiteX97" fmla="*/ 2030752 w 4519987"/>
                  <a:gd name="connsiteY97" fmla="*/ 66675 h 4429225"/>
                  <a:gd name="connsiteX98" fmla="*/ 2097427 w 4519987"/>
                  <a:gd name="connsiteY98" fmla="*/ 47625 h 4429225"/>
                  <a:gd name="connsiteX99" fmla="*/ 2164102 w 4519987"/>
                  <a:gd name="connsiteY99" fmla="*/ 38100 h 4429225"/>
                  <a:gd name="connsiteX100" fmla="*/ 2392702 w 4519987"/>
                  <a:gd name="connsiteY100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73377 w 4519987"/>
                  <a:gd name="connsiteY54" fmla="*/ 3019425 h 4429225"/>
                  <a:gd name="connsiteX55" fmla="*/ 144802 w 4519987"/>
                  <a:gd name="connsiteY55" fmla="*/ 2924175 h 4429225"/>
                  <a:gd name="connsiteX56" fmla="*/ 68602 w 4519987"/>
                  <a:gd name="connsiteY56" fmla="*/ 2724150 h 4429225"/>
                  <a:gd name="connsiteX57" fmla="*/ 49552 w 4519987"/>
                  <a:gd name="connsiteY57" fmla="*/ 2638425 h 4429225"/>
                  <a:gd name="connsiteX58" fmla="*/ 40027 w 4519987"/>
                  <a:gd name="connsiteY58" fmla="*/ 2562225 h 4429225"/>
                  <a:gd name="connsiteX59" fmla="*/ 30502 w 4519987"/>
                  <a:gd name="connsiteY59" fmla="*/ 2514600 h 4429225"/>
                  <a:gd name="connsiteX60" fmla="*/ 11452 w 4519987"/>
                  <a:gd name="connsiteY60" fmla="*/ 2400300 h 4429225"/>
                  <a:gd name="connsiteX61" fmla="*/ 20977 w 4519987"/>
                  <a:gd name="connsiteY61" fmla="*/ 1905000 h 4429225"/>
                  <a:gd name="connsiteX62" fmla="*/ 30502 w 4519987"/>
                  <a:gd name="connsiteY62" fmla="*/ 1838325 h 4429225"/>
                  <a:gd name="connsiteX63" fmla="*/ 49552 w 4519987"/>
                  <a:gd name="connsiteY63" fmla="*/ 1781175 h 4429225"/>
                  <a:gd name="connsiteX64" fmla="*/ 59077 w 4519987"/>
                  <a:gd name="connsiteY64" fmla="*/ 1743075 h 4429225"/>
                  <a:gd name="connsiteX65" fmla="*/ 78127 w 4519987"/>
                  <a:gd name="connsiteY65" fmla="*/ 1685925 h 4429225"/>
                  <a:gd name="connsiteX66" fmla="*/ 87652 w 4519987"/>
                  <a:gd name="connsiteY66" fmla="*/ 1638300 h 4429225"/>
                  <a:gd name="connsiteX67" fmla="*/ 106702 w 4519987"/>
                  <a:gd name="connsiteY67" fmla="*/ 1590675 h 4429225"/>
                  <a:gd name="connsiteX68" fmla="*/ 135277 w 4519987"/>
                  <a:gd name="connsiteY68" fmla="*/ 1504950 h 4429225"/>
                  <a:gd name="connsiteX69" fmla="*/ 154327 w 4519987"/>
                  <a:gd name="connsiteY69" fmla="*/ 1419225 h 4429225"/>
                  <a:gd name="connsiteX70" fmla="*/ 230527 w 4519987"/>
                  <a:gd name="connsiteY70" fmla="*/ 1276350 h 4429225"/>
                  <a:gd name="connsiteX71" fmla="*/ 240052 w 4519987"/>
                  <a:gd name="connsiteY71" fmla="*/ 1247775 h 4429225"/>
                  <a:gd name="connsiteX72" fmla="*/ 268627 w 4519987"/>
                  <a:gd name="connsiteY72" fmla="*/ 1200150 h 4429225"/>
                  <a:gd name="connsiteX73" fmla="*/ 287677 w 4519987"/>
                  <a:gd name="connsiteY73" fmla="*/ 1152525 h 4429225"/>
                  <a:gd name="connsiteX74" fmla="*/ 316252 w 4519987"/>
                  <a:gd name="connsiteY74" fmla="*/ 1114425 h 4429225"/>
                  <a:gd name="connsiteX75" fmla="*/ 363877 w 4519987"/>
                  <a:gd name="connsiteY75" fmla="*/ 1038225 h 4429225"/>
                  <a:gd name="connsiteX76" fmla="*/ 382927 w 4519987"/>
                  <a:gd name="connsiteY76" fmla="*/ 1009650 h 4429225"/>
                  <a:gd name="connsiteX77" fmla="*/ 440077 w 4519987"/>
                  <a:gd name="connsiteY77" fmla="*/ 904875 h 4429225"/>
                  <a:gd name="connsiteX78" fmla="*/ 478177 w 4519987"/>
                  <a:gd name="connsiteY78" fmla="*/ 857250 h 4429225"/>
                  <a:gd name="connsiteX79" fmla="*/ 497227 w 4519987"/>
                  <a:gd name="connsiteY79" fmla="*/ 828675 h 4429225"/>
                  <a:gd name="connsiteX80" fmla="*/ 535327 w 4519987"/>
                  <a:gd name="connsiteY80" fmla="*/ 800100 h 4429225"/>
                  <a:gd name="connsiteX81" fmla="*/ 602002 w 4519987"/>
                  <a:gd name="connsiteY81" fmla="*/ 733425 h 4429225"/>
                  <a:gd name="connsiteX82" fmla="*/ 668677 w 4519987"/>
                  <a:gd name="connsiteY82" fmla="*/ 676275 h 4429225"/>
                  <a:gd name="connsiteX83" fmla="*/ 697252 w 4519987"/>
                  <a:gd name="connsiteY83" fmla="*/ 657225 h 4429225"/>
                  <a:gd name="connsiteX84" fmla="*/ 840127 w 4519987"/>
                  <a:gd name="connsiteY84" fmla="*/ 533400 h 4429225"/>
                  <a:gd name="connsiteX85" fmla="*/ 887752 w 4519987"/>
                  <a:gd name="connsiteY85" fmla="*/ 504825 h 4429225"/>
                  <a:gd name="connsiteX86" fmla="*/ 1167152 w 4519987"/>
                  <a:gd name="connsiteY86" fmla="*/ 311150 h 4429225"/>
                  <a:gd name="connsiteX87" fmla="*/ 1268752 w 4519987"/>
                  <a:gd name="connsiteY87" fmla="*/ 285750 h 4429225"/>
                  <a:gd name="connsiteX88" fmla="*/ 1411627 w 4519987"/>
                  <a:gd name="connsiteY88" fmla="*/ 190500 h 4429225"/>
                  <a:gd name="connsiteX89" fmla="*/ 1449727 w 4519987"/>
                  <a:gd name="connsiteY89" fmla="*/ 161925 h 4429225"/>
                  <a:gd name="connsiteX90" fmla="*/ 1525927 w 4519987"/>
                  <a:gd name="connsiteY90" fmla="*/ 152400 h 4429225"/>
                  <a:gd name="connsiteX91" fmla="*/ 1583077 w 4519987"/>
                  <a:gd name="connsiteY91" fmla="*/ 142875 h 4429225"/>
                  <a:gd name="connsiteX92" fmla="*/ 1716427 w 4519987"/>
                  <a:gd name="connsiteY92" fmla="*/ 123825 h 4429225"/>
                  <a:gd name="connsiteX93" fmla="*/ 1811677 w 4519987"/>
                  <a:gd name="connsiteY93" fmla="*/ 114300 h 4429225"/>
                  <a:gd name="connsiteX94" fmla="*/ 1859302 w 4519987"/>
                  <a:gd name="connsiteY94" fmla="*/ 104775 h 4429225"/>
                  <a:gd name="connsiteX95" fmla="*/ 1916452 w 4519987"/>
                  <a:gd name="connsiteY95" fmla="*/ 95250 h 4429225"/>
                  <a:gd name="connsiteX96" fmla="*/ 2030752 w 4519987"/>
                  <a:gd name="connsiteY96" fmla="*/ 66675 h 4429225"/>
                  <a:gd name="connsiteX97" fmla="*/ 2097427 w 4519987"/>
                  <a:gd name="connsiteY97" fmla="*/ 47625 h 4429225"/>
                  <a:gd name="connsiteX98" fmla="*/ 2164102 w 4519987"/>
                  <a:gd name="connsiteY98" fmla="*/ 38100 h 4429225"/>
                  <a:gd name="connsiteX99" fmla="*/ 2392702 w 4519987"/>
                  <a:gd name="connsiteY99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49552 w 4519987"/>
                  <a:gd name="connsiteY56" fmla="*/ 2638425 h 4429225"/>
                  <a:gd name="connsiteX57" fmla="*/ 40027 w 4519987"/>
                  <a:gd name="connsiteY57" fmla="*/ 2562225 h 4429225"/>
                  <a:gd name="connsiteX58" fmla="*/ 30502 w 4519987"/>
                  <a:gd name="connsiteY58" fmla="*/ 2514600 h 4429225"/>
                  <a:gd name="connsiteX59" fmla="*/ 11452 w 4519987"/>
                  <a:gd name="connsiteY59" fmla="*/ 2400300 h 4429225"/>
                  <a:gd name="connsiteX60" fmla="*/ 20977 w 4519987"/>
                  <a:gd name="connsiteY60" fmla="*/ 1905000 h 4429225"/>
                  <a:gd name="connsiteX61" fmla="*/ 30502 w 4519987"/>
                  <a:gd name="connsiteY61" fmla="*/ 1838325 h 4429225"/>
                  <a:gd name="connsiteX62" fmla="*/ 49552 w 4519987"/>
                  <a:gd name="connsiteY62" fmla="*/ 1781175 h 4429225"/>
                  <a:gd name="connsiteX63" fmla="*/ 59077 w 4519987"/>
                  <a:gd name="connsiteY63" fmla="*/ 1743075 h 4429225"/>
                  <a:gd name="connsiteX64" fmla="*/ 78127 w 4519987"/>
                  <a:gd name="connsiteY64" fmla="*/ 1685925 h 4429225"/>
                  <a:gd name="connsiteX65" fmla="*/ 87652 w 4519987"/>
                  <a:gd name="connsiteY65" fmla="*/ 1638300 h 4429225"/>
                  <a:gd name="connsiteX66" fmla="*/ 106702 w 4519987"/>
                  <a:gd name="connsiteY66" fmla="*/ 1590675 h 4429225"/>
                  <a:gd name="connsiteX67" fmla="*/ 135277 w 4519987"/>
                  <a:gd name="connsiteY67" fmla="*/ 1504950 h 4429225"/>
                  <a:gd name="connsiteX68" fmla="*/ 154327 w 4519987"/>
                  <a:gd name="connsiteY68" fmla="*/ 1419225 h 4429225"/>
                  <a:gd name="connsiteX69" fmla="*/ 230527 w 4519987"/>
                  <a:gd name="connsiteY69" fmla="*/ 1276350 h 4429225"/>
                  <a:gd name="connsiteX70" fmla="*/ 240052 w 4519987"/>
                  <a:gd name="connsiteY70" fmla="*/ 1247775 h 4429225"/>
                  <a:gd name="connsiteX71" fmla="*/ 268627 w 4519987"/>
                  <a:gd name="connsiteY71" fmla="*/ 1200150 h 4429225"/>
                  <a:gd name="connsiteX72" fmla="*/ 287677 w 4519987"/>
                  <a:gd name="connsiteY72" fmla="*/ 1152525 h 4429225"/>
                  <a:gd name="connsiteX73" fmla="*/ 316252 w 4519987"/>
                  <a:gd name="connsiteY73" fmla="*/ 1114425 h 4429225"/>
                  <a:gd name="connsiteX74" fmla="*/ 363877 w 4519987"/>
                  <a:gd name="connsiteY74" fmla="*/ 1038225 h 4429225"/>
                  <a:gd name="connsiteX75" fmla="*/ 382927 w 4519987"/>
                  <a:gd name="connsiteY75" fmla="*/ 1009650 h 4429225"/>
                  <a:gd name="connsiteX76" fmla="*/ 440077 w 4519987"/>
                  <a:gd name="connsiteY76" fmla="*/ 904875 h 4429225"/>
                  <a:gd name="connsiteX77" fmla="*/ 478177 w 4519987"/>
                  <a:gd name="connsiteY77" fmla="*/ 857250 h 4429225"/>
                  <a:gd name="connsiteX78" fmla="*/ 497227 w 4519987"/>
                  <a:gd name="connsiteY78" fmla="*/ 828675 h 4429225"/>
                  <a:gd name="connsiteX79" fmla="*/ 535327 w 4519987"/>
                  <a:gd name="connsiteY79" fmla="*/ 800100 h 4429225"/>
                  <a:gd name="connsiteX80" fmla="*/ 602002 w 4519987"/>
                  <a:gd name="connsiteY80" fmla="*/ 733425 h 4429225"/>
                  <a:gd name="connsiteX81" fmla="*/ 668677 w 4519987"/>
                  <a:gd name="connsiteY81" fmla="*/ 676275 h 4429225"/>
                  <a:gd name="connsiteX82" fmla="*/ 697252 w 4519987"/>
                  <a:gd name="connsiteY82" fmla="*/ 657225 h 4429225"/>
                  <a:gd name="connsiteX83" fmla="*/ 840127 w 4519987"/>
                  <a:gd name="connsiteY83" fmla="*/ 533400 h 4429225"/>
                  <a:gd name="connsiteX84" fmla="*/ 887752 w 4519987"/>
                  <a:gd name="connsiteY84" fmla="*/ 504825 h 4429225"/>
                  <a:gd name="connsiteX85" fmla="*/ 1167152 w 4519987"/>
                  <a:gd name="connsiteY85" fmla="*/ 311150 h 4429225"/>
                  <a:gd name="connsiteX86" fmla="*/ 1268752 w 4519987"/>
                  <a:gd name="connsiteY86" fmla="*/ 285750 h 4429225"/>
                  <a:gd name="connsiteX87" fmla="*/ 1411627 w 4519987"/>
                  <a:gd name="connsiteY87" fmla="*/ 190500 h 4429225"/>
                  <a:gd name="connsiteX88" fmla="*/ 1449727 w 4519987"/>
                  <a:gd name="connsiteY88" fmla="*/ 161925 h 4429225"/>
                  <a:gd name="connsiteX89" fmla="*/ 1525927 w 4519987"/>
                  <a:gd name="connsiteY89" fmla="*/ 152400 h 4429225"/>
                  <a:gd name="connsiteX90" fmla="*/ 1583077 w 4519987"/>
                  <a:gd name="connsiteY90" fmla="*/ 142875 h 4429225"/>
                  <a:gd name="connsiteX91" fmla="*/ 1716427 w 4519987"/>
                  <a:gd name="connsiteY91" fmla="*/ 123825 h 4429225"/>
                  <a:gd name="connsiteX92" fmla="*/ 1811677 w 4519987"/>
                  <a:gd name="connsiteY92" fmla="*/ 114300 h 4429225"/>
                  <a:gd name="connsiteX93" fmla="*/ 1859302 w 4519987"/>
                  <a:gd name="connsiteY93" fmla="*/ 104775 h 4429225"/>
                  <a:gd name="connsiteX94" fmla="*/ 1916452 w 4519987"/>
                  <a:gd name="connsiteY94" fmla="*/ 95250 h 4429225"/>
                  <a:gd name="connsiteX95" fmla="*/ 2030752 w 4519987"/>
                  <a:gd name="connsiteY95" fmla="*/ 66675 h 4429225"/>
                  <a:gd name="connsiteX96" fmla="*/ 2097427 w 4519987"/>
                  <a:gd name="connsiteY96" fmla="*/ 47625 h 4429225"/>
                  <a:gd name="connsiteX97" fmla="*/ 2164102 w 4519987"/>
                  <a:gd name="connsiteY97" fmla="*/ 38100 h 4429225"/>
                  <a:gd name="connsiteX98" fmla="*/ 2392702 w 4519987"/>
                  <a:gd name="connsiteY98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40027 w 4519987"/>
                  <a:gd name="connsiteY56" fmla="*/ 2562225 h 4429225"/>
                  <a:gd name="connsiteX57" fmla="*/ 30502 w 4519987"/>
                  <a:gd name="connsiteY57" fmla="*/ 2514600 h 4429225"/>
                  <a:gd name="connsiteX58" fmla="*/ 11452 w 4519987"/>
                  <a:gd name="connsiteY58" fmla="*/ 2400300 h 4429225"/>
                  <a:gd name="connsiteX59" fmla="*/ 20977 w 4519987"/>
                  <a:gd name="connsiteY59" fmla="*/ 1905000 h 4429225"/>
                  <a:gd name="connsiteX60" fmla="*/ 30502 w 4519987"/>
                  <a:gd name="connsiteY60" fmla="*/ 1838325 h 4429225"/>
                  <a:gd name="connsiteX61" fmla="*/ 49552 w 4519987"/>
                  <a:gd name="connsiteY61" fmla="*/ 1781175 h 4429225"/>
                  <a:gd name="connsiteX62" fmla="*/ 59077 w 4519987"/>
                  <a:gd name="connsiteY62" fmla="*/ 1743075 h 4429225"/>
                  <a:gd name="connsiteX63" fmla="*/ 78127 w 4519987"/>
                  <a:gd name="connsiteY63" fmla="*/ 1685925 h 4429225"/>
                  <a:gd name="connsiteX64" fmla="*/ 87652 w 4519987"/>
                  <a:gd name="connsiteY64" fmla="*/ 1638300 h 4429225"/>
                  <a:gd name="connsiteX65" fmla="*/ 106702 w 4519987"/>
                  <a:gd name="connsiteY65" fmla="*/ 1590675 h 4429225"/>
                  <a:gd name="connsiteX66" fmla="*/ 135277 w 4519987"/>
                  <a:gd name="connsiteY66" fmla="*/ 1504950 h 4429225"/>
                  <a:gd name="connsiteX67" fmla="*/ 154327 w 4519987"/>
                  <a:gd name="connsiteY67" fmla="*/ 1419225 h 4429225"/>
                  <a:gd name="connsiteX68" fmla="*/ 230527 w 4519987"/>
                  <a:gd name="connsiteY68" fmla="*/ 1276350 h 4429225"/>
                  <a:gd name="connsiteX69" fmla="*/ 240052 w 4519987"/>
                  <a:gd name="connsiteY69" fmla="*/ 1247775 h 4429225"/>
                  <a:gd name="connsiteX70" fmla="*/ 268627 w 4519987"/>
                  <a:gd name="connsiteY70" fmla="*/ 1200150 h 4429225"/>
                  <a:gd name="connsiteX71" fmla="*/ 287677 w 4519987"/>
                  <a:gd name="connsiteY71" fmla="*/ 1152525 h 4429225"/>
                  <a:gd name="connsiteX72" fmla="*/ 316252 w 4519987"/>
                  <a:gd name="connsiteY72" fmla="*/ 1114425 h 4429225"/>
                  <a:gd name="connsiteX73" fmla="*/ 363877 w 4519987"/>
                  <a:gd name="connsiteY73" fmla="*/ 1038225 h 4429225"/>
                  <a:gd name="connsiteX74" fmla="*/ 382927 w 4519987"/>
                  <a:gd name="connsiteY74" fmla="*/ 1009650 h 4429225"/>
                  <a:gd name="connsiteX75" fmla="*/ 440077 w 4519987"/>
                  <a:gd name="connsiteY75" fmla="*/ 904875 h 4429225"/>
                  <a:gd name="connsiteX76" fmla="*/ 478177 w 4519987"/>
                  <a:gd name="connsiteY76" fmla="*/ 857250 h 4429225"/>
                  <a:gd name="connsiteX77" fmla="*/ 497227 w 4519987"/>
                  <a:gd name="connsiteY77" fmla="*/ 828675 h 4429225"/>
                  <a:gd name="connsiteX78" fmla="*/ 535327 w 4519987"/>
                  <a:gd name="connsiteY78" fmla="*/ 800100 h 4429225"/>
                  <a:gd name="connsiteX79" fmla="*/ 602002 w 4519987"/>
                  <a:gd name="connsiteY79" fmla="*/ 733425 h 4429225"/>
                  <a:gd name="connsiteX80" fmla="*/ 668677 w 4519987"/>
                  <a:gd name="connsiteY80" fmla="*/ 676275 h 4429225"/>
                  <a:gd name="connsiteX81" fmla="*/ 697252 w 4519987"/>
                  <a:gd name="connsiteY81" fmla="*/ 657225 h 4429225"/>
                  <a:gd name="connsiteX82" fmla="*/ 840127 w 4519987"/>
                  <a:gd name="connsiteY82" fmla="*/ 533400 h 4429225"/>
                  <a:gd name="connsiteX83" fmla="*/ 887752 w 4519987"/>
                  <a:gd name="connsiteY83" fmla="*/ 504825 h 4429225"/>
                  <a:gd name="connsiteX84" fmla="*/ 1167152 w 4519987"/>
                  <a:gd name="connsiteY84" fmla="*/ 311150 h 4429225"/>
                  <a:gd name="connsiteX85" fmla="*/ 1268752 w 4519987"/>
                  <a:gd name="connsiteY85" fmla="*/ 285750 h 4429225"/>
                  <a:gd name="connsiteX86" fmla="*/ 1411627 w 4519987"/>
                  <a:gd name="connsiteY86" fmla="*/ 190500 h 4429225"/>
                  <a:gd name="connsiteX87" fmla="*/ 1449727 w 4519987"/>
                  <a:gd name="connsiteY87" fmla="*/ 161925 h 4429225"/>
                  <a:gd name="connsiteX88" fmla="*/ 1525927 w 4519987"/>
                  <a:gd name="connsiteY88" fmla="*/ 152400 h 4429225"/>
                  <a:gd name="connsiteX89" fmla="*/ 1583077 w 4519987"/>
                  <a:gd name="connsiteY89" fmla="*/ 142875 h 4429225"/>
                  <a:gd name="connsiteX90" fmla="*/ 1716427 w 4519987"/>
                  <a:gd name="connsiteY90" fmla="*/ 123825 h 4429225"/>
                  <a:gd name="connsiteX91" fmla="*/ 1811677 w 4519987"/>
                  <a:gd name="connsiteY91" fmla="*/ 114300 h 4429225"/>
                  <a:gd name="connsiteX92" fmla="*/ 1859302 w 4519987"/>
                  <a:gd name="connsiteY92" fmla="*/ 104775 h 4429225"/>
                  <a:gd name="connsiteX93" fmla="*/ 1916452 w 4519987"/>
                  <a:gd name="connsiteY93" fmla="*/ 95250 h 4429225"/>
                  <a:gd name="connsiteX94" fmla="*/ 2030752 w 4519987"/>
                  <a:gd name="connsiteY94" fmla="*/ 66675 h 4429225"/>
                  <a:gd name="connsiteX95" fmla="*/ 2097427 w 4519987"/>
                  <a:gd name="connsiteY95" fmla="*/ 47625 h 4429225"/>
                  <a:gd name="connsiteX96" fmla="*/ 2164102 w 4519987"/>
                  <a:gd name="connsiteY96" fmla="*/ 38100 h 4429225"/>
                  <a:gd name="connsiteX97" fmla="*/ 2392702 w 4519987"/>
                  <a:gd name="connsiteY97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40027 w 4519987"/>
                  <a:gd name="connsiteY56" fmla="*/ 2562225 h 4429225"/>
                  <a:gd name="connsiteX57" fmla="*/ 11452 w 4519987"/>
                  <a:gd name="connsiteY57" fmla="*/ 2400300 h 4429225"/>
                  <a:gd name="connsiteX58" fmla="*/ 20977 w 4519987"/>
                  <a:gd name="connsiteY58" fmla="*/ 1905000 h 4429225"/>
                  <a:gd name="connsiteX59" fmla="*/ 30502 w 4519987"/>
                  <a:gd name="connsiteY59" fmla="*/ 1838325 h 4429225"/>
                  <a:gd name="connsiteX60" fmla="*/ 49552 w 4519987"/>
                  <a:gd name="connsiteY60" fmla="*/ 1781175 h 4429225"/>
                  <a:gd name="connsiteX61" fmla="*/ 59077 w 4519987"/>
                  <a:gd name="connsiteY61" fmla="*/ 1743075 h 4429225"/>
                  <a:gd name="connsiteX62" fmla="*/ 78127 w 4519987"/>
                  <a:gd name="connsiteY62" fmla="*/ 1685925 h 4429225"/>
                  <a:gd name="connsiteX63" fmla="*/ 87652 w 4519987"/>
                  <a:gd name="connsiteY63" fmla="*/ 1638300 h 4429225"/>
                  <a:gd name="connsiteX64" fmla="*/ 106702 w 4519987"/>
                  <a:gd name="connsiteY64" fmla="*/ 1590675 h 4429225"/>
                  <a:gd name="connsiteX65" fmla="*/ 135277 w 4519987"/>
                  <a:gd name="connsiteY65" fmla="*/ 1504950 h 4429225"/>
                  <a:gd name="connsiteX66" fmla="*/ 154327 w 4519987"/>
                  <a:gd name="connsiteY66" fmla="*/ 1419225 h 4429225"/>
                  <a:gd name="connsiteX67" fmla="*/ 230527 w 4519987"/>
                  <a:gd name="connsiteY67" fmla="*/ 1276350 h 4429225"/>
                  <a:gd name="connsiteX68" fmla="*/ 240052 w 4519987"/>
                  <a:gd name="connsiteY68" fmla="*/ 1247775 h 4429225"/>
                  <a:gd name="connsiteX69" fmla="*/ 268627 w 4519987"/>
                  <a:gd name="connsiteY69" fmla="*/ 1200150 h 4429225"/>
                  <a:gd name="connsiteX70" fmla="*/ 287677 w 4519987"/>
                  <a:gd name="connsiteY70" fmla="*/ 1152525 h 4429225"/>
                  <a:gd name="connsiteX71" fmla="*/ 316252 w 4519987"/>
                  <a:gd name="connsiteY71" fmla="*/ 1114425 h 4429225"/>
                  <a:gd name="connsiteX72" fmla="*/ 363877 w 4519987"/>
                  <a:gd name="connsiteY72" fmla="*/ 1038225 h 4429225"/>
                  <a:gd name="connsiteX73" fmla="*/ 382927 w 4519987"/>
                  <a:gd name="connsiteY73" fmla="*/ 1009650 h 4429225"/>
                  <a:gd name="connsiteX74" fmla="*/ 440077 w 4519987"/>
                  <a:gd name="connsiteY74" fmla="*/ 904875 h 4429225"/>
                  <a:gd name="connsiteX75" fmla="*/ 478177 w 4519987"/>
                  <a:gd name="connsiteY75" fmla="*/ 857250 h 4429225"/>
                  <a:gd name="connsiteX76" fmla="*/ 497227 w 4519987"/>
                  <a:gd name="connsiteY76" fmla="*/ 828675 h 4429225"/>
                  <a:gd name="connsiteX77" fmla="*/ 535327 w 4519987"/>
                  <a:gd name="connsiteY77" fmla="*/ 800100 h 4429225"/>
                  <a:gd name="connsiteX78" fmla="*/ 602002 w 4519987"/>
                  <a:gd name="connsiteY78" fmla="*/ 733425 h 4429225"/>
                  <a:gd name="connsiteX79" fmla="*/ 668677 w 4519987"/>
                  <a:gd name="connsiteY79" fmla="*/ 676275 h 4429225"/>
                  <a:gd name="connsiteX80" fmla="*/ 697252 w 4519987"/>
                  <a:gd name="connsiteY80" fmla="*/ 657225 h 4429225"/>
                  <a:gd name="connsiteX81" fmla="*/ 840127 w 4519987"/>
                  <a:gd name="connsiteY81" fmla="*/ 533400 h 4429225"/>
                  <a:gd name="connsiteX82" fmla="*/ 887752 w 4519987"/>
                  <a:gd name="connsiteY82" fmla="*/ 504825 h 4429225"/>
                  <a:gd name="connsiteX83" fmla="*/ 1167152 w 4519987"/>
                  <a:gd name="connsiteY83" fmla="*/ 311150 h 4429225"/>
                  <a:gd name="connsiteX84" fmla="*/ 1268752 w 4519987"/>
                  <a:gd name="connsiteY84" fmla="*/ 285750 h 4429225"/>
                  <a:gd name="connsiteX85" fmla="*/ 1411627 w 4519987"/>
                  <a:gd name="connsiteY85" fmla="*/ 190500 h 4429225"/>
                  <a:gd name="connsiteX86" fmla="*/ 1449727 w 4519987"/>
                  <a:gd name="connsiteY86" fmla="*/ 161925 h 4429225"/>
                  <a:gd name="connsiteX87" fmla="*/ 1525927 w 4519987"/>
                  <a:gd name="connsiteY87" fmla="*/ 152400 h 4429225"/>
                  <a:gd name="connsiteX88" fmla="*/ 1583077 w 4519987"/>
                  <a:gd name="connsiteY88" fmla="*/ 142875 h 4429225"/>
                  <a:gd name="connsiteX89" fmla="*/ 1716427 w 4519987"/>
                  <a:gd name="connsiteY89" fmla="*/ 123825 h 4429225"/>
                  <a:gd name="connsiteX90" fmla="*/ 1811677 w 4519987"/>
                  <a:gd name="connsiteY90" fmla="*/ 114300 h 4429225"/>
                  <a:gd name="connsiteX91" fmla="*/ 1859302 w 4519987"/>
                  <a:gd name="connsiteY91" fmla="*/ 104775 h 4429225"/>
                  <a:gd name="connsiteX92" fmla="*/ 1916452 w 4519987"/>
                  <a:gd name="connsiteY92" fmla="*/ 95250 h 4429225"/>
                  <a:gd name="connsiteX93" fmla="*/ 2030752 w 4519987"/>
                  <a:gd name="connsiteY93" fmla="*/ 66675 h 4429225"/>
                  <a:gd name="connsiteX94" fmla="*/ 2097427 w 4519987"/>
                  <a:gd name="connsiteY94" fmla="*/ 47625 h 4429225"/>
                  <a:gd name="connsiteX95" fmla="*/ 2164102 w 4519987"/>
                  <a:gd name="connsiteY95" fmla="*/ 38100 h 4429225"/>
                  <a:gd name="connsiteX96" fmla="*/ 2392702 w 4519987"/>
                  <a:gd name="connsiteY96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11452 w 4519987"/>
                  <a:gd name="connsiteY56" fmla="*/ 2400300 h 4429225"/>
                  <a:gd name="connsiteX57" fmla="*/ 20977 w 4519987"/>
                  <a:gd name="connsiteY57" fmla="*/ 1905000 h 4429225"/>
                  <a:gd name="connsiteX58" fmla="*/ 30502 w 4519987"/>
                  <a:gd name="connsiteY58" fmla="*/ 1838325 h 4429225"/>
                  <a:gd name="connsiteX59" fmla="*/ 49552 w 4519987"/>
                  <a:gd name="connsiteY59" fmla="*/ 1781175 h 4429225"/>
                  <a:gd name="connsiteX60" fmla="*/ 59077 w 4519987"/>
                  <a:gd name="connsiteY60" fmla="*/ 1743075 h 4429225"/>
                  <a:gd name="connsiteX61" fmla="*/ 78127 w 4519987"/>
                  <a:gd name="connsiteY61" fmla="*/ 1685925 h 4429225"/>
                  <a:gd name="connsiteX62" fmla="*/ 87652 w 4519987"/>
                  <a:gd name="connsiteY62" fmla="*/ 1638300 h 4429225"/>
                  <a:gd name="connsiteX63" fmla="*/ 106702 w 4519987"/>
                  <a:gd name="connsiteY63" fmla="*/ 1590675 h 4429225"/>
                  <a:gd name="connsiteX64" fmla="*/ 135277 w 4519987"/>
                  <a:gd name="connsiteY64" fmla="*/ 1504950 h 4429225"/>
                  <a:gd name="connsiteX65" fmla="*/ 154327 w 4519987"/>
                  <a:gd name="connsiteY65" fmla="*/ 1419225 h 4429225"/>
                  <a:gd name="connsiteX66" fmla="*/ 230527 w 4519987"/>
                  <a:gd name="connsiteY66" fmla="*/ 1276350 h 4429225"/>
                  <a:gd name="connsiteX67" fmla="*/ 240052 w 4519987"/>
                  <a:gd name="connsiteY67" fmla="*/ 1247775 h 4429225"/>
                  <a:gd name="connsiteX68" fmla="*/ 268627 w 4519987"/>
                  <a:gd name="connsiteY68" fmla="*/ 1200150 h 4429225"/>
                  <a:gd name="connsiteX69" fmla="*/ 287677 w 4519987"/>
                  <a:gd name="connsiteY69" fmla="*/ 1152525 h 4429225"/>
                  <a:gd name="connsiteX70" fmla="*/ 316252 w 4519987"/>
                  <a:gd name="connsiteY70" fmla="*/ 1114425 h 4429225"/>
                  <a:gd name="connsiteX71" fmla="*/ 363877 w 4519987"/>
                  <a:gd name="connsiteY71" fmla="*/ 1038225 h 4429225"/>
                  <a:gd name="connsiteX72" fmla="*/ 382927 w 4519987"/>
                  <a:gd name="connsiteY72" fmla="*/ 1009650 h 4429225"/>
                  <a:gd name="connsiteX73" fmla="*/ 440077 w 4519987"/>
                  <a:gd name="connsiteY73" fmla="*/ 904875 h 4429225"/>
                  <a:gd name="connsiteX74" fmla="*/ 478177 w 4519987"/>
                  <a:gd name="connsiteY74" fmla="*/ 857250 h 4429225"/>
                  <a:gd name="connsiteX75" fmla="*/ 497227 w 4519987"/>
                  <a:gd name="connsiteY75" fmla="*/ 828675 h 4429225"/>
                  <a:gd name="connsiteX76" fmla="*/ 535327 w 4519987"/>
                  <a:gd name="connsiteY76" fmla="*/ 800100 h 4429225"/>
                  <a:gd name="connsiteX77" fmla="*/ 602002 w 4519987"/>
                  <a:gd name="connsiteY77" fmla="*/ 733425 h 4429225"/>
                  <a:gd name="connsiteX78" fmla="*/ 668677 w 4519987"/>
                  <a:gd name="connsiteY78" fmla="*/ 676275 h 4429225"/>
                  <a:gd name="connsiteX79" fmla="*/ 697252 w 4519987"/>
                  <a:gd name="connsiteY79" fmla="*/ 657225 h 4429225"/>
                  <a:gd name="connsiteX80" fmla="*/ 840127 w 4519987"/>
                  <a:gd name="connsiteY80" fmla="*/ 533400 h 4429225"/>
                  <a:gd name="connsiteX81" fmla="*/ 887752 w 4519987"/>
                  <a:gd name="connsiteY81" fmla="*/ 504825 h 4429225"/>
                  <a:gd name="connsiteX82" fmla="*/ 1167152 w 4519987"/>
                  <a:gd name="connsiteY82" fmla="*/ 311150 h 4429225"/>
                  <a:gd name="connsiteX83" fmla="*/ 1268752 w 4519987"/>
                  <a:gd name="connsiteY83" fmla="*/ 285750 h 4429225"/>
                  <a:gd name="connsiteX84" fmla="*/ 1411627 w 4519987"/>
                  <a:gd name="connsiteY84" fmla="*/ 190500 h 4429225"/>
                  <a:gd name="connsiteX85" fmla="*/ 1449727 w 4519987"/>
                  <a:gd name="connsiteY85" fmla="*/ 161925 h 4429225"/>
                  <a:gd name="connsiteX86" fmla="*/ 1525927 w 4519987"/>
                  <a:gd name="connsiteY86" fmla="*/ 152400 h 4429225"/>
                  <a:gd name="connsiteX87" fmla="*/ 1583077 w 4519987"/>
                  <a:gd name="connsiteY87" fmla="*/ 142875 h 4429225"/>
                  <a:gd name="connsiteX88" fmla="*/ 1716427 w 4519987"/>
                  <a:gd name="connsiteY88" fmla="*/ 123825 h 4429225"/>
                  <a:gd name="connsiteX89" fmla="*/ 1811677 w 4519987"/>
                  <a:gd name="connsiteY89" fmla="*/ 114300 h 4429225"/>
                  <a:gd name="connsiteX90" fmla="*/ 1859302 w 4519987"/>
                  <a:gd name="connsiteY90" fmla="*/ 104775 h 4429225"/>
                  <a:gd name="connsiteX91" fmla="*/ 1916452 w 4519987"/>
                  <a:gd name="connsiteY91" fmla="*/ 95250 h 4429225"/>
                  <a:gd name="connsiteX92" fmla="*/ 2030752 w 4519987"/>
                  <a:gd name="connsiteY92" fmla="*/ 66675 h 4429225"/>
                  <a:gd name="connsiteX93" fmla="*/ 2097427 w 4519987"/>
                  <a:gd name="connsiteY93" fmla="*/ 47625 h 4429225"/>
                  <a:gd name="connsiteX94" fmla="*/ 2164102 w 4519987"/>
                  <a:gd name="connsiteY94" fmla="*/ 38100 h 4429225"/>
                  <a:gd name="connsiteX95" fmla="*/ 2392702 w 4519987"/>
                  <a:gd name="connsiteY95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202394 w 4501379"/>
                  <a:gd name="connsiteY53" fmla="*/ 3105150 h 4429225"/>
                  <a:gd name="connsiteX54" fmla="*/ 126194 w 4501379"/>
                  <a:gd name="connsiteY54" fmla="*/ 2924175 h 4429225"/>
                  <a:gd name="connsiteX55" fmla="*/ 49994 w 4501379"/>
                  <a:gd name="connsiteY55" fmla="*/ 2724150 h 4429225"/>
                  <a:gd name="connsiteX56" fmla="*/ 56344 w 4501379"/>
                  <a:gd name="connsiteY56" fmla="*/ 2368550 h 4429225"/>
                  <a:gd name="connsiteX57" fmla="*/ 2369 w 4501379"/>
                  <a:gd name="connsiteY57" fmla="*/ 1905000 h 4429225"/>
                  <a:gd name="connsiteX58" fmla="*/ 11894 w 4501379"/>
                  <a:gd name="connsiteY58" fmla="*/ 1838325 h 4429225"/>
                  <a:gd name="connsiteX59" fmla="*/ 30944 w 4501379"/>
                  <a:gd name="connsiteY59" fmla="*/ 1781175 h 4429225"/>
                  <a:gd name="connsiteX60" fmla="*/ 40469 w 4501379"/>
                  <a:gd name="connsiteY60" fmla="*/ 1743075 h 4429225"/>
                  <a:gd name="connsiteX61" fmla="*/ 59519 w 4501379"/>
                  <a:gd name="connsiteY61" fmla="*/ 1685925 h 4429225"/>
                  <a:gd name="connsiteX62" fmla="*/ 69044 w 4501379"/>
                  <a:gd name="connsiteY62" fmla="*/ 1638300 h 4429225"/>
                  <a:gd name="connsiteX63" fmla="*/ 88094 w 4501379"/>
                  <a:gd name="connsiteY63" fmla="*/ 1590675 h 4429225"/>
                  <a:gd name="connsiteX64" fmla="*/ 116669 w 4501379"/>
                  <a:gd name="connsiteY64" fmla="*/ 1504950 h 4429225"/>
                  <a:gd name="connsiteX65" fmla="*/ 135719 w 4501379"/>
                  <a:gd name="connsiteY65" fmla="*/ 1419225 h 4429225"/>
                  <a:gd name="connsiteX66" fmla="*/ 211919 w 4501379"/>
                  <a:gd name="connsiteY66" fmla="*/ 1276350 h 4429225"/>
                  <a:gd name="connsiteX67" fmla="*/ 221444 w 4501379"/>
                  <a:gd name="connsiteY67" fmla="*/ 1247775 h 4429225"/>
                  <a:gd name="connsiteX68" fmla="*/ 250019 w 4501379"/>
                  <a:gd name="connsiteY68" fmla="*/ 1200150 h 4429225"/>
                  <a:gd name="connsiteX69" fmla="*/ 269069 w 4501379"/>
                  <a:gd name="connsiteY69" fmla="*/ 1152525 h 4429225"/>
                  <a:gd name="connsiteX70" fmla="*/ 297644 w 4501379"/>
                  <a:gd name="connsiteY70" fmla="*/ 1114425 h 4429225"/>
                  <a:gd name="connsiteX71" fmla="*/ 345269 w 4501379"/>
                  <a:gd name="connsiteY71" fmla="*/ 1038225 h 4429225"/>
                  <a:gd name="connsiteX72" fmla="*/ 364319 w 4501379"/>
                  <a:gd name="connsiteY72" fmla="*/ 1009650 h 4429225"/>
                  <a:gd name="connsiteX73" fmla="*/ 421469 w 4501379"/>
                  <a:gd name="connsiteY73" fmla="*/ 904875 h 4429225"/>
                  <a:gd name="connsiteX74" fmla="*/ 459569 w 4501379"/>
                  <a:gd name="connsiteY74" fmla="*/ 857250 h 4429225"/>
                  <a:gd name="connsiteX75" fmla="*/ 478619 w 4501379"/>
                  <a:gd name="connsiteY75" fmla="*/ 828675 h 4429225"/>
                  <a:gd name="connsiteX76" fmla="*/ 516719 w 4501379"/>
                  <a:gd name="connsiteY76" fmla="*/ 800100 h 4429225"/>
                  <a:gd name="connsiteX77" fmla="*/ 583394 w 4501379"/>
                  <a:gd name="connsiteY77" fmla="*/ 733425 h 4429225"/>
                  <a:gd name="connsiteX78" fmla="*/ 650069 w 4501379"/>
                  <a:gd name="connsiteY78" fmla="*/ 676275 h 4429225"/>
                  <a:gd name="connsiteX79" fmla="*/ 678644 w 4501379"/>
                  <a:gd name="connsiteY79" fmla="*/ 657225 h 4429225"/>
                  <a:gd name="connsiteX80" fmla="*/ 821519 w 4501379"/>
                  <a:gd name="connsiteY80" fmla="*/ 533400 h 4429225"/>
                  <a:gd name="connsiteX81" fmla="*/ 869144 w 4501379"/>
                  <a:gd name="connsiteY81" fmla="*/ 504825 h 4429225"/>
                  <a:gd name="connsiteX82" fmla="*/ 1148544 w 4501379"/>
                  <a:gd name="connsiteY82" fmla="*/ 311150 h 4429225"/>
                  <a:gd name="connsiteX83" fmla="*/ 1250144 w 4501379"/>
                  <a:gd name="connsiteY83" fmla="*/ 285750 h 4429225"/>
                  <a:gd name="connsiteX84" fmla="*/ 1393019 w 4501379"/>
                  <a:gd name="connsiteY84" fmla="*/ 190500 h 4429225"/>
                  <a:gd name="connsiteX85" fmla="*/ 1431119 w 4501379"/>
                  <a:gd name="connsiteY85" fmla="*/ 161925 h 4429225"/>
                  <a:gd name="connsiteX86" fmla="*/ 1507319 w 4501379"/>
                  <a:gd name="connsiteY86" fmla="*/ 152400 h 4429225"/>
                  <a:gd name="connsiteX87" fmla="*/ 1564469 w 4501379"/>
                  <a:gd name="connsiteY87" fmla="*/ 142875 h 4429225"/>
                  <a:gd name="connsiteX88" fmla="*/ 1697819 w 4501379"/>
                  <a:gd name="connsiteY88" fmla="*/ 123825 h 4429225"/>
                  <a:gd name="connsiteX89" fmla="*/ 1793069 w 4501379"/>
                  <a:gd name="connsiteY89" fmla="*/ 114300 h 4429225"/>
                  <a:gd name="connsiteX90" fmla="*/ 1840694 w 4501379"/>
                  <a:gd name="connsiteY90" fmla="*/ 104775 h 4429225"/>
                  <a:gd name="connsiteX91" fmla="*/ 1897844 w 4501379"/>
                  <a:gd name="connsiteY91" fmla="*/ 95250 h 4429225"/>
                  <a:gd name="connsiteX92" fmla="*/ 2012144 w 4501379"/>
                  <a:gd name="connsiteY92" fmla="*/ 66675 h 4429225"/>
                  <a:gd name="connsiteX93" fmla="*/ 2078819 w 4501379"/>
                  <a:gd name="connsiteY93" fmla="*/ 47625 h 4429225"/>
                  <a:gd name="connsiteX94" fmla="*/ 2145494 w 4501379"/>
                  <a:gd name="connsiteY94" fmla="*/ 38100 h 4429225"/>
                  <a:gd name="connsiteX95" fmla="*/ 2374094 w 4501379"/>
                  <a:gd name="connsiteY95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202394 w 4501379"/>
                  <a:gd name="connsiteY53" fmla="*/ 3105150 h 4429225"/>
                  <a:gd name="connsiteX54" fmla="*/ 126194 w 4501379"/>
                  <a:gd name="connsiteY54" fmla="*/ 2924175 h 4429225"/>
                  <a:gd name="connsiteX55" fmla="*/ 56344 w 4501379"/>
                  <a:gd name="connsiteY55" fmla="*/ 2368550 h 4429225"/>
                  <a:gd name="connsiteX56" fmla="*/ 2369 w 4501379"/>
                  <a:gd name="connsiteY56" fmla="*/ 1905000 h 4429225"/>
                  <a:gd name="connsiteX57" fmla="*/ 11894 w 4501379"/>
                  <a:gd name="connsiteY57" fmla="*/ 1838325 h 4429225"/>
                  <a:gd name="connsiteX58" fmla="*/ 30944 w 4501379"/>
                  <a:gd name="connsiteY58" fmla="*/ 1781175 h 4429225"/>
                  <a:gd name="connsiteX59" fmla="*/ 40469 w 4501379"/>
                  <a:gd name="connsiteY59" fmla="*/ 1743075 h 4429225"/>
                  <a:gd name="connsiteX60" fmla="*/ 59519 w 4501379"/>
                  <a:gd name="connsiteY60" fmla="*/ 1685925 h 4429225"/>
                  <a:gd name="connsiteX61" fmla="*/ 69044 w 4501379"/>
                  <a:gd name="connsiteY61" fmla="*/ 1638300 h 4429225"/>
                  <a:gd name="connsiteX62" fmla="*/ 88094 w 4501379"/>
                  <a:gd name="connsiteY62" fmla="*/ 1590675 h 4429225"/>
                  <a:gd name="connsiteX63" fmla="*/ 116669 w 4501379"/>
                  <a:gd name="connsiteY63" fmla="*/ 1504950 h 4429225"/>
                  <a:gd name="connsiteX64" fmla="*/ 135719 w 4501379"/>
                  <a:gd name="connsiteY64" fmla="*/ 1419225 h 4429225"/>
                  <a:gd name="connsiteX65" fmla="*/ 211919 w 4501379"/>
                  <a:gd name="connsiteY65" fmla="*/ 1276350 h 4429225"/>
                  <a:gd name="connsiteX66" fmla="*/ 221444 w 4501379"/>
                  <a:gd name="connsiteY66" fmla="*/ 1247775 h 4429225"/>
                  <a:gd name="connsiteX67" fmla="*/ 250019 w 4501379"/>
                  <a:gd name="connsiteY67" fmla="*/ 1200150 h 4429225"/>
                  <a:gd name="connsiteX68" fmla="*/ 269069 w 4501379"/>
                  <a:gd name="connsiteY68" fmla="*/ 1152525 h 4429225"/>
                  <a:gd name="connsiteX69" fmla="*/ 297644 w 4501379"/>
                  <a:gd name="connsiteY69" fmla="*/ 1114425 h 4429225"/>
                  <a:gd name="connsiteX70" fmla="*/ 345269 w 4501379"/>
                  <a:gd name="connsiteY70" fmla="*/ 1038225 h 4429225"/>
                  <a:gd name="connsiteX71" fmla="*/ 364319 w 4501379"/>
                  <a:gd name="connsiteY71" fmla="*/ 1009650 h 4429225"/>
                  <a:gd name="connsiteX72" fmla="*/ 421469 w 4501379"/>
                  <a:gd name="connsiteY72" fmla="*/ 904875 h 4429225"/>
                  <a:gd name="connsiteX73" fmla="*/ 459569 w 4501379"/>
                  <a:gd name="connsiteY73" fmla="*/ 857250 h 4429225"/>
                  <a:gd name="connsiteX74" fmla="*/ 478619 w 4501379"/>
                  <a:gd name="connsiteY74" fmla="*/ 828675 h 4429225"/>
                  <a:gd name="connsiteX75" fmla="*/ 516719 w 4501379"/>
                  <a:gd name="connsiteY75" fmla="*/ 800100 h 4429225"/>
                  <a:gd name="connsiteX76" fmla="*/ 583394 w 4501379"/>
                  <a:gd name="connsiteY76" fmla="*/ 733425 h 4429225"/>
                  <a:gd name="connsiteX77" fmla="*/ 650069 w 4501379"/>
                  <a:gd name="connsiteY77" fmla="*/ 676275 h 4429225"/>
                  <a:gd name="connsiteX78" fmla="*/ 678644 w 4501379"/>
                  <a:gd name="connsiteY78" fmla="*/ 657225 h 4429225"/>
                  <a:gd name="connsiteX79" fmla="*/ 821519 w 4501379"/>
                  <a:gd name="connsiteY79" fmla="*/ 533400 h 4429225"/>
                  <a:gd name="connsiteX80" fmla="*/ 869144 w 4501379"/>
                  <a:gd name="connsiteY80" fmla="*/ 504825 h 4429225"/>
                  <a:gd name="connsiteX81" fmla="*/ 1148544 w 4501379"/>
                  <a:gd name="connsiteY81" fmla="*/ 311150 h 4429225"/>
                  <a:gd name="connsiteX82" fmla="*/ 1250144 w 4501379"/>
                  <a:gd name="connsiteY82" fmla="*/ 285750 h 4429225"/>
                  <a:gd name="connsiteX83" fmla="*/ 1393019 w 4501379"/>
                  <a:gd name="connsiteY83" fmla="*/ 190500 h 4429225"/>
                  <a:gd name="connsiteX84" fmla="*/ 1431119 w 4501379"/>
                  <a:gd name="connsiteY84" fmla="*/ 161925 h 4429225"/>
                  <a:gd name="connsiteX85" fmla="*/ 1507319 w 4501379"/>
                  <a:gd name="connsiteY85" fmla="*/ 152400 h 4429225"/>
                  <a:gd name="connsiteX86" fmla="*/ 1564469 w 4501379"/>
                  <a:gd name="connsiteY86" fmla="*/ 142875 h 4429225"/>
                  <a:gd name="connsiteX87" fmla="*/ 1697819 w 4501379"/>
                  <a:gd name="connsiteY87" fmla="*/ 123825 h 4429225"/>
                  <a:gd name="connsiteX88" fmla="*/ 1793069 w 4501379"/>
                  <a:gd name="connsiteY88" fmla="*/ 114300 h 4429225"/>
                  <a:gd name="connsiteX89" fmla="*/ 1840694 w 4501379"/>
                  <a:gd name="connsiteY89" fmla="*/ 104775 h 4429225"/>
                  <a:gd name="connsiteX90" fmla="*/ 1897844 w 4501379"/>
                  <a:gd name="connsiteY90" fmla="*/ 95250 h 4429225"/>
                  <a:gd name="connsiteX91" fmla="*/ 2012144 w 4501379"/>
                  <a:gd name="connsiteY91" fmla="*/ 66675 h 4429225"/>
                  <a:gd name="connsiteX92" fmla="*/ 2078819 w 4501379"/>
                  <a:gd name="connsiteY92" fmla="*/ 47625 h 4429225"/>
                  <a:gd name="connsiteX93" fmla="*/ 2145494 w 4501379"/>
                  <a:gd name="connsiteY93" fmla="*/ 38100 h 4429225"/>
                  <a:gd name="connsiteX94" fmla="*/ 2374094 w 4501379"/>
                  <a:gd name="connsiteY94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126194 w 4501379"/>
                  <a:gd name="connsiteY53" fmla="*/ 292417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40519 w 4501379"/>
                  <a:gd name="connsiteY51" fmla="*/ 34956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92919 w 4501379"/>
                  <a:gd name="connsiteY50" fmla="*/ 3657600 h 4429225"/>
                  <a:gd name="connsiteX51" fmla="*/ 440519 w 4501379"/>
                  <a:gd name="connsiteY51" fmla="*/ 34956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92919 w 4501379"/>
                  <a:gd name="connsiteY50" fmla="*/ 3657600 h 4429225"/>
                  <a:gd name="connsiteX51" fmla="*/ 446869 w 4501379"/>
                  <a:gd name="connsiteY51" fmla="*/ 34702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926294 w 4501379"/>
                  <a:gd name="connsiteY48" fmla="*/ 39687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145369 w 4501379"/>
                  <a:gd name="connsiteY47" fmla="*/ 4111625 h 4429225"/>
                  <a:gd name="connsiteX48" fmla="*/ 926294 w 4501379"/>
                  <a:gd name="connsiteY48" fmla="*/ 39687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313644 w 4501379"/>
                  <a:gd name="connsiteY46" fmla="*/ 4216400 h 4429225"/>
                  <a:gd name="connsiteX47" fmla="*/ 1145369 w 4501379"/>
                  <a:gd name="connsiteY47" fmla="*/ 4111625 h 4429225"/>
                  <a:gd name="connsiteX48" fmla="*/ 926294 w 4501379"/>
                  <a:gd name="connsiteY48" fmla="*/ 39687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94"/>
                  <a:gd name="connsiteX1" fmla="*/ 2402669 w 4501379"/>
                  <a:gd name="connsiteY1" fmla="*/ 28575 h 4429294"/>
                  <a:gd name="connsiteX2" fmla="*/ 2478869 w 4501379"/>
                  <a:gd name="connsiteY2" fmla="*/ 47625 h 4429294"/>
                  <a:gd name="connsiteX3" fmla="*/ 2736044 w 4501379"/>
                  <a:gd name="connsiteY3" fmla="*/ 66675 h 4429294"/>
                  <a:gd name="connsiteX4" fmla="*/ 2812244 w 4501379"/>
                  <a:gd name="connsiteY4" fmla="*/ 76200 h 4429294"/>
                  <a:gd name="connsiteX5" fmla="*/ 2897969 w 4501379"/>
                  <a:gd name="connsiteY5" fmla="*/ 85725 h 4429294"/>
                  <a:gd name="connsiteX6" fmla="*/ 2955119 w 4501379"/>
                  <a:gd name="connsiteY6" fmla="*/ 114300 h 4429294"/>
                  <a:gd name="connsiteX7" fmla="*/ 2993219 w 4501379"/>
                  <a:gd name="connsiteY7" fmla="*/ 123825 h 4429294"/>
                  <a:gd name="connsiteX8" fmla="*/ 3117044 w 4501379"/>
                  <a:gd name="connsiteY8" fmla="*/ 171450 h 4429294"/>
                  <a:gd name="connsiteX9" fmla="*/ 3155144 w 4501379"/>
                  <a:gd name="connsiteY9" fmla="*/ 190500 h 4429294"/>
                  <a:gd name="connsiteX10" fmla="*/ 3221819 w 4501379"/>
                  <a:gd name="connsiteY10" fmla="*/ 228600 h 4429294"/>
                  <a:gd name="connsiteX11" fmla="*/ 3250394 w 4501379"/>
                  <a:gd name="connsiteY11" fmla="*/ 238125 h 4429294"/>
                  <a:gd name="connsiteX12" fmla="*/ 3278969 w 4501379"/>
                  <a:gd name="connsiteY12" fmla="*/ 257175 h 4429294"/>
                  <a:gd name="connsiteX13" fmla="*/ 3307544 w 4501379"/>
                  <a:gd name="connsiteY13" fmla="*/ 266700 h 4429294"/>
                  <a:gd name="connsiteX14" fmla="*/ 3336119 w 4501379"/>
                  <a:gd name="connsiteY14" fmla="*/ 285750 h 4429294"/>
                  <a:gd name="connsiteX15" fmla="*/ 3402794 w 4501379"/>
                  <a:gd name="connsiteY15" fmla="*/ 323850 h 4429294"/>
                  <a:gd name="connsiteX16" fmla="*/ 3450419 w 4501379"/>
                  <a:gd name="connsiteY16" fmla="*/ 361950 h 4429294"/>
                  <a:gd name="connsiteX17" fmla="*/ 3498044 w 4501379"/>
                  <a:gd name="connsiteY17" fmla="*/ 390525 h 4429294"/>
                  <a:gd name="connsiteX18" fmla="*/ 3612344 w 4501379"/>
                  <a:gd name="connsiteY18" fmla="*/ 485775 h 4429294"/>
                  <a:gd name="connsiteX19" fmla="*/ 3726644 w 4501379"/>
                  <a:gd name="connsiteY19" fmla="*/ 542925 h 4429294"/>
                  <a:gd name="connsiteX20" fmla="*/ 3793319 w 4501379"/>
                  <a:gd name="connsiteY20" fmla="*/ 581025 h 4429294"/>
                  <a:gd name="connsiteX21" fmla="*/ 4009219 w 4501379"/>
                  <a:gd name="connsiteY21" fmla="*/ 819150 h 4429294"/>
                  <a:gd name="connsiteX22" fmla="*/ 4145744 w 4501379"/>
                  <a:gd name="connsiteY22" fmla="*/ 990600 h 4429294"/>
                  <a:gd name="connsiteX23" fmla="*/ 4231469 w 4501379"/>
                  <a:gd name="connsiteY23" fmla="*/ 1143000 h 4429294"/>
                  <a:gd name="connsiteX24" fmla="*/ 4288619 w 4501379"/>
                  <a:gd name="connsiteY24" fmla="*/ 1266825 h 4429294"/>
                  <a:gd name="connsiteX25" fmla="*/ 4326719 w 4501379"/>
                  <a:gd name="connsiteY25" fmla="*/ 1362075 h 4429294"/>
                  <a:gd name="connsiteX26" fmla="*/ 4374344 w 4501379"/>
                  <a:gd name="connsiteY26" fmla="*/ 1552575 h 4429294"/>
                  <a:gd name="connsiteX27" fmla="*/ 4412444 w 4501379"/>
                  <a:gd name="connsiteY27" fmla="*/ 1685925 h 4429294"/>
                  <a:gd name="connsiteX28" fmla="*/ 4501344 w 4501379"/>
                  <a:gd name="connsiteY28" fmla="*/ 2181225 h 4429294"/>
                  <a:gd name="connsiteX29" fmla="*/ 4428319 w 4501379"/>
                  <a:gd name="connsiteY29" fmla="*/ 2768600 h 4429294"/>
                  <a:gd name="connsiteX30" fmla="*/ 4364819 w 4501379"/>
                  <a:gd name="connsiteY30" fmla="*/ 2990850 h 4429294"/>
                  <a:gd name="connsiteX31" fmla="*/ 4260044 w 4501379"/>
                  <a:gd name="connsiteY31" fmla="*/ 3248025 h 4429294"/>
                  <a:gd name="connsiteX32" fmla="*/ 4164794 w 4501379"/>
                  <a:gd name="connsiteY32" fmla="*/ 3400425 h 4429294"/>
                  <a:gd name="connsiteX33" fmla="*/ 4040969 w 4501379"/>
                  <a:gd name="connsiteY33" fmla="*/ 3533775 h 4429294"/>
                  <a:gd name="connsiteX34" fmla="*/ 3936194 w 4501379"/>
                  <a:gd name="connsiteY34" fmla="*/ 3648075 h 4429294"/>
                  <a:gd name="connsiteX35" fmla="*/ 3640919 w 4501379"/>
                  <a:gd name="connsiteY35" fmla="*/ 3971925 h 4429294"/>
                  <a:gd name="connsiteX36" fmla="*/ 3498044 w 4501379"/>
                  <a:gd name="connsiteY36" fmla="*/ 4083050 h 4429294"/>
                  <a:gd name="connsiteX37" fmla="*/ 3202769 w 4501379"/>
                  <a:gd name="connsiteY37" fmla="*/ 4222750 h 4429294"/>
                  <a:gd name="connsiteX38" fmla="*/ 3050369 w 4501379"/>
                  <a:gd name="connsiteY38" fmla="*/ 4286250 h 4429294"/>
                  <a:gd name="connsiteX39" fmla="*/ 2917019 w 4501379"/>
                  <a:gd name="connsiteY39" fmla="*/ 4333875 h 4429294"/>
                  <a:gd name="connsiteX40" fmla="*/ 2793194 w 4501379"/>
                  <a:gd name="connsiteY40" fmla="*/ 4371975 h 4429294"/>
                  <a:gd name="connsiteX41" fmla="*/ 2561419 w 4501379"/>
                  <a:gd name="connsiteY41" fmla="*/ 4391025 h 4429294"/>
                  <a:gd name="connsiteX42" fmla="*/ 2107394 w 4501379"/>
                  <a:gd name="connsiteY42" fmla="*/ 4429125 h 4429294"/>
                  <a:gd name="connsiteX43" fmla="*/ 1916894 w 4501379"/>
                  <a:gd name="connsiteY43" fmla="*/ 4400550 h 4429294"/>
                  <a:gd name="connsiteX44" fmla="*/ 1554944 w 4501379"/>
                  <a:gd name="connsiteY44" fmla="*/ 4305300 h 4429294"/>
                  <a:gd name="connsiteX45" fmla="*/ 1313644 w 4501379"/>
                  <a:gd name="connsiteY45" fmla="*/ 4216400 h 4429294"/>
                  <a:gd name="connsiteX46" fmla="*/ 1145369 w 4501379"/>
                  <a:gd name="connsiteY46" fmla="*/ 4111625 h 4429294"/>
                  <a:gd name="connsiteX47" fmla="*/ 926294 w 4501379"/>
                  <a:gd name="connsiteY47" fmla="*/ 3968750 h 4429294"/>
                  <a:gd name="connsiteX48" fmla="*/ 592919 w 4501379"/>
                  <a:gd name="connsiteY48" fmla="*/ 3657600 h 4429294"/>
                  <a:gd name="connsiteX49" fmla="*/ 446869 w 4501379"/>
                  <a:gd name="connsiteY49" fmla="*/ 3470275 h 4429294"/>
                  <a:gd name="connsiteX50" fmla="*/ 316694 w 4501379"/>
                  <a:gd name="connsiteY50" fmla="*/ 3244850 h 4429294"/>
                  <a:gd name="connsiteX51" fmla="*/ 164294 w 4501379"/>
                  <a:gd name="connsiteY51" fmla="*/ 2892425 h 4429294"/>
                  <a:gd name="connsiteX52" fmla="*/ 56344 w 4501379"/>
                  <a:gd name="connsiteY52" fmla="*/ 2368550 h 4429294"/>
                  <a:gd name="connsiteX53" fmla="*/ 2369 w 4501379"/>
                  <a:gd name="connsiteY53" fmla="*/ 1905000 h 4429294"/>
                  <a:gd name="connsiteX54" fmla="*/ 11894 w 4501379"/>
                  <a:gd name="connsiteY54" fmla="*/ 1838325 h 4429294"/>
                  <a:gd name="connsiteX55" fmla="*/ 30944 w 4501379"/>
                  <a:gd name="connsiteY55" fmla="*/ 1781175 h 4429294"/>
                  <a:gd name="connsiteX56" fmla="*/ 40469 w 4501379"/>
                  <a:gd name="connsiteY56" fmla="*/ 1743075 h 4429294"/>
                  <a:gd name="connsiteX57" fmla="*/ 59519 w 4501379"/>
                  <a:gd name="connsiteY57" fmla="*/ 1685925 h 4429294"/>
                  <a:gd name="connsiteX58" fmla="*/ 69044 w 4501379"/>
                  <a:gd name="connsiteY58" fmla="*/ 1638300 h 4429294"/>
                  <a:gd name="connsiteX59" fmla="*/ 88094 w 4501379"/>
                  <a:gd name="connsiteY59" fmla="*/ 1590675 h 4429294"/>
                  <a:gd name="connsiteX60" fmla="*/ 116669 w 4501379"/>
                  <a:gd name="connsiteY60" fmla="*/ 1504950 h 4429294"/>
                  <a:gd name="connsiteX61" fmla="*/ 135719 w 4501379"/>
                  <a:gd name="connsiteY61" fmla="*/ 1419225 h 4429294"/>
                  <a:gd name="connsiteX62" fmla="*/ 211919 w 4501379"/>
                  <a:gd name="connsiteY62" fmla="*/ 1276350 h 4429294"/>
                  <a:gd name="connsiteX63" fmla="*/ 221444 w 4501379"/>
                  <a:gd name="connsiteY63" fmla="*/ 1247775 h 4429294"/>
                  <a:gd name="connsiteX64" fmla="*/ 250019 w 4501379"/>
                  <a:gd name="connsiteY64" fmla="*/ 1200150 h 4429294"/>
                  <a:gd name="connsiteX65" fmla="*/ 269069 w 4501379"/>
                  <a:gd name="connsiteY65" fmla="*/ 1152525 h 4429294"/>
                  <a:gd name="connsiteX66" fmla="*/ 297644 w 4501379"/>
                  <a:gd name="connsiteY66" fmla="*/ 1114425 h 4429294"/>
                  <a:gd name="connsiteX67" fmla="*/ 345269 w 4501379"/>
                  <a:gd name="connsiteY67" fmla="*/ 1038225 h 4429294"/>
                  <a:gd name="connsiteX68" fmla="*/ 364319 w 4501379"/>
                  <a:gd name="connsiteY68" fmla="*/ 1009650 h 4429294"/>
                  <a:gd name="connsiteX69" fmla="*/ 421469 w 4501379"/>
                  <a:gd name="connsiteY69" fmla="*/ 904875 h 4429294"/>
                  <a:gd name="connsiteX70" fmla="*/ 459569 w 4501379"/>
                  <a:gd name="connsiteY70" fmla="*/ 857250 h 4429294"/>
                  <a:gd name="connsiteX71" fmla="*/ 478619 w 4501379"/>
                  <a:gd name="connsiteY71" fmla="*/ 828675 h 4429294"/>
                  <a:gd name="connsiteX72" fmla="*/ 516719 w 4501379"/>
                  <a:gd name="connsiteY72" fmla="*/ 800100 h 4429294"/>
                  <a:gd name="connsiteX73" fmla="*/ 583394 w 4501379"/>
                  <a:gd name="connsiteY73" fmla="*/ 733425 h 4429294"/>
                  <a:gd name="connsiteX74" fmla="*/ 650069 w 4501379"/>
                  <a:gd name="connsiteY74" fmla="*/ 676275 h 4429294"/>
                  <a:gd name="connsiteX75" fmla="*/ 678644 w 4501379"/>
                  <a:gd name="connsiteY75" fmla="*/ 657225 h 4429294"/>
                  <a:gd name="connsiteX76" fmla="*/ 821519 w 4501379"/>
                  <a:gd name="connsiteY76" fmla="*/ 533400 h 4429294"/>
                  <a:gd name="connsiteX77" fmla="*/ 869144 w 4501379"/>
                  <a:gd name="connsiteY77" fmla="*/ 504825 h 4429294"/>
                  <a:gd name="connsiteX78" fmla="*/ 1148544 w 4501379"/>
                  <a:gd name="connsiteY78" fmla="*/ 311150 h 4429294"/>
                  <a:gd name="connsiteX79" fmla="*/ 1250144 w 4501379"/>
                  <a:gd name="connsiteY79" fmla="*/ 285750 h 4429294"/>
                  <a:gd name="connsiteX80" fmla="*/ 1393019 w 4501379"/>
                  <a:gd name="connsiteY80" fmla="*/ 190500 h 4429294"/>
                  <a:gd name="connsiteX81" fmla="*/ 1431119 w 4501379"/>
                  <a:gd name="connsiteY81" fmla="*/ 161925 h 4429294"/>
                  <a:gd name="connsiteX82" fmla="*/ 1507319 w 4501379"/>
                  <a:gd name="connsiteY82" fmla="*/ 152400 h 4429294"/>
                  <a:gd name="connsiteX83" fmla="*/ 1564469 w 4501379"/>
                  <a:gd name="connsiteY83" fmla="*/ 142875 h 4429294"/>
                  <a:gd name="connsiteX84" fmla="*/ 1697819 w 4501379"/>
                  <a:gd name="connsiteY84" fmla="*/ 123825 h 4429294"/>
                  <a:gd name="connsiteX85" fmla="*/ 1793069 w 4501379"/>
                  <a:gd name="connsiteY85" fmla="*/ 114300 h 4429294"/>
                  <a:gd name="connsiteX86" fmla="*/ 1840694 w 4501379"/>
                  <a:gd name="connsiteY86" fmla="*/ 104775 h 4429294"/>
                  <a:gd name="connsiteX87" fmla="*/ 1897844 w 4501379"/>
                  <a:gd name="connsiteY87" fmla="*/ 95250 h 4429294"/>
                  <a:gd name="connsiteX88" fmla="*/ 2012144 w 4501379"/>
                  <a:gd name="connsiteY88" fmla="*/ 66675 h 4429294"/>
                  <a:gd name="connsiteX89" fmla="*/ 2078819 w 4501379"/>
                  <a:gd name="connsiteY89" fmla="*/ 47625 h 4429294"/>
                  <a:gd name="connsiteX90" fmla="*/ 2145494 w 4501379"/>
                  <a:gd name="connsiteY90" fmla="*/ 38100 h 4429294"/>
                  <a:gd name="connsiteX91" fmla="*/ 2374094 w 4501379"/>
                  <a:gd name="connsiteY91" fmla="*/ 28575 h 4429294"/>
                  <a:gd name="connsiteX0" fmla="*/ 2278844 w 4501379"/>
                  <a:gd name="connsiteY0" fmla="*/ 0 h 4429294"/>
                  <a:gd name="connsiteX1" fmla="*/ 2402669 w 4501379"/>
                  <a:gd name="connsiteY1" fmla="*/ 28575 h 4429294"/>
                  <a:gd name="connsiteX2" fmla="*/ 2478869 w 4501379"/>
                  <a:gd name="connsiteY2" fmla="*/ 47625 h 4429294"/>
                  <a:gd name="connsiteX3" fmla="*/ 2736044 w 4501379"/>
                  <a:gd name="connsiteY3" fmla="*/ 66675 h 4429294"/>
                  <a:gd name="connsiteX4" fmla="*/ 2812244 w 4501379"/>
                  <a:gd name="connsiteY4" fmla="*/ 76200 h 4429294"/>
                  <a:gd name="connsiteX5" fmla="*/ 2897969 w 4501379"/>
                  <a:gd name="connsiteY5" fmla="*/ 85725 h 4429294"/>
                  <a:gd name="connsiteX6" fmla="*/ 2955119 w 4501379"/>
                  <a:gd name="connsiteY6" fmla="*/ 114300 h 4429294"/>
                  <a:gd name="connsiteX7" fmla="*/ 2993219 w 4501379"/>
                  <a:gd name="connsiteY7" fmla="*/ 123825 h 4429294"/>
                  <a:gd name="connsiteX8" fmla="*/ 3117044 w 4501379"/>
                  <a:gd name="connsiteY8" fmla="*/ 171450 h 4429294"/>
                  <a:gd name="connsiteX9" fmla="*/ 3155144 w 4501379"/>
                  <a:gd name="connsiteY9" fmla="*/ 190500 h 4429294"/>
                  <a:gd name="connsiteX10" fmla="*/ 3221819 w 4501379"/>
                  <a:gd name="connsiteY10" fmla="*/ 228600 h 4429294"/>
                  <a:gd name="connsiteX11" fmla="*/ 3250394 w 4501379"/>
                  <a:gd name="connsiteY11" fmla="*/ 238125 h 4429294"/>
                  <a:gd name="connsiteX12" fmla="*/ 3278969 w 4501379"/>
                  <a:gd name="connsiteY12" fmla="*/ 257175 h 4429294"/>
                  <a:gd name="connsiteX13" fmla="*/ 3307544 w 4501379"/>
                  <a:gd name="connsiteY13" fmla="*/ 266700 h 4429294"/>
                  <a:gd name="connsiteX14" fmla="*/ 3336119 w 4501379"/>
                  <a:gd name="connsiteY14" fmla="*/ 285750 h 4429294"/>
                  <a:gd name="connsiteX15" fmla="*/ 3402794 w 4501379"/>
                  <a:gd name="connsiteY15" fmla="*/ 323850 h 4429294"/>
                  <a:gd name="connsiteX16" fmla="*/ 3450419 w 4501379"/>
                  <a:gd name="connsiteY16" fmla="*/ 361950 h 4429294"/>
                  <a:gd name="connsiteX17" fmla="*/ 3498044 w 4501379"/>
                  <a:gd name="connsiteY17" fmla="*/ 390525 h 4429294"/>
                  <a:gd name="connsiteX18" fmla="*/ 3612344 w 4501379"/>
                  <a:gd name="connsiteY18" fmla="*/ 485775 h 4429294"/>
                  <a:gd name="connsiteX19" fmla="*/ 3726644 w 4501379"/>
                  <a:gd name="connsiteY19" fmla="*/ 542925 h 4429294"/>
                  <a:gd name="connsiteX20" fmla="*/ 3793319 w 4501379"/>
                  <a:gd name="connsiteY20" fmla="*/ 581025 h 4429294"/>
                  <a:gd name="connsiteX21" fmla="*/ 4009219 w 4501379"/>
                  <a:gd name="connsiteY21" fmla="*/ 819150 h 4429294"/>
                  <a:gd name="connsiteX22" fmla="*/ 4145744 w 4501379"/>
                  <a:gd name="connsiteY22" fmla="*/ 990600 h 4429294"/>
                  <a:gd name="connsiteX23" fmla="*/ 4231469 w 4501379"/>
                  <a:gd name="connsiteY23" fmla="*/ 1143000 h 4429294"/>
                  <a:gd name="connsiteX24" fmla="*/ 4288619 w 4501379"/>
                  <a:gd name="connsiteY24" fmla="*/ 1266825 h 4429294"/>
                  <a:gd name="connsiteX25" fmla="*/ 4326719 w 4501379"/>
                  <a:gd name="connsiteY25" fmla="*/ 1362075 h 4429294"/>
                  <a:gd name="connsiteX26" fmla="*/ 4374344 w 4501379"/>
                  <a:gd name="connsiteY26" fmla="*/ 1552575 h 4429294"/>
                  <a:gd name="connsiteX27" fmla="*/ 4412444 w 4501379"/>
                  <a:gd name="connsiteY27" fmla="*/ 1685925 h 4429294"/>
                  <a:gd name="connsiteX28" fmla="*/ 4501344 w 4501379"/>
                  <a:gd name="connsiteY28" fmla="*/ 2181225 h 4429294"/>
                  <a:gd name="connsiteX29" fmla="*/ 4428319 w 4501379"/>
                  <a:gd name="connsiteY29" fmla="*/ 2768600 h 4429294"/>
                  <a:gd name="connsiteX30" fmla="*/ 4364819 w 4501379"/>
                  <a:gd name="connsiteY30" fmla="*/ 2990850 h 4429294"/>
                  <a:gd name="connsiteX31" fmla="*/ 4260044 w 4501379"/>
                  <a:gd name="connsiteY31" fmla="*/ 3248025 h 4429294"/>
                  <a:gd name="connsiteX32" fmla="*/ 4164794 w 4501379"/>
                  <a:gd name="connsiteY32" fmla="*/ 3400425 h 4429294"/>
                  <a:gd name="connsiteX33" fmla="*/ 4040969 w 4501379"/>
                  <a:gd name="connsiteY33" fmla="*/ 3533775 h 4429294"/>
                  <a:gd name="connsiteX34" fmla="*/ 3936194 w 4501379"/>
                  <a:gd name="connsiteY34" fmla="*/ 3648075 h 4429294"/>
                  <a:gd name="connsiteX35" fmla="*/ 3640919 w 4501379"/>
                  <a:gd name="connsiteY35" fmla="*/ 3971925 h 4429294"/>
                  <a:gd name="connsiteX36" fmla="*/ 3498044 w 4501379"/>
                  <a:gd name="connsiteY36" fmla="*/ 4083050 h 4429294"/>
                  <a:gd name="connsiteX37" fmla="*/ 3202769 w 4501379"/>
                  <a:gd name="connsiteY37" fmla="*/ 4222750 h 4429294"/>
                  <a:gd name="connsiteX38" fmla="*/ 3050369 w 4501379"/>
                  <a:gd name="connsiteY38" fmla="*/ 4286250 h 4429294"/>
                  <a:gd name="connsiteX39" fmla="*/ 2917019 w 4501379"/>
                  <a:gd name="connsiteY39" fmla="*/ 4333875 h 4429294"/>
                  <a:gd name="connsiteX40" fmla="*/ 2793194 w 4501379"/>
                  <a:gd name="connsiteY40" fmla="*/ 4371975 h 4429294"/>
                  <a:gd name="connsiteX41" fmla="*/ 2561419 w 4501379"/>
                  <a:gd name="connsiteY41" fmla="*/ 4391025 h 4429294"/>
                  <a:gd name="connsiteX42" fmla="*/ 2107394 w 4501379"/>
                  <a:gd name="connsiteY42" fmla="*/ 4429125 h 4429294"/>
                  <a:gd name="connsiteX43" fmla="*/ 1916894 w 4501379"/>
                  <a:gd name="connsiteY43" fmla="*/ 4400550 h 4429294"/>
                  <a:gd name="connsiteX44" fmla="*/ 1554944 w 4501379"/>
                  <a:gd name="connsiteY44" fmla="*/ 4305300 h 4429294"/>
                  <a:gd name="connsiteX45" fmla="*/ 1313644 w 4501379"/>
                  <a:gd name="connsiteY45" fmla="*/ 4216400 h 4429294"/>
                  <a:gd name="connsiteX46" fmla="*/ 1145369 w 4501379"/>
                  <a:gd name="connsiteY46" fmla="*/ 4111625 h 4429294"/>
                  <a:gd name="connsiteX47" fmla="*/ 926294 w 4501379"/>
                  <a:gd name="connsiteY47" fmla="*/ 3968750 h 4429294"/>
                  <a:gd name="connsiteX48" fmla="*/ 592919 w 4501379"/>
                  <a:gd name="connsiteY48" fmla="*/ 3657600 h 4429294"/>
                  <a:gd name="connsiteX49" fmla="*/ 446869 w 4501379"/>
                  <a:gd name="connsiteY49" fmla="*/ 3470275 h 4429294"/>
                  <a:gd name="connsiteX50" fmla="*/ 316694 w 4501379"/>
                  <a:gd name="connsiteY50" fmla="*/ 3244850 h 4429294"/>
                  <a:gd name="connsiteX51" fmla="*/ 164294 w 4501379"/>
                  <a:gd name="connsiteY51" fmla="*/ 2892425 h 4429294"/>
                  <a:gd name="connsiteX52" fmla="*/ 56344 w 4501379"/>
                  <a:gd name="connsiteY52" fmla="*/ 2368550 h 4429294"/>
                  <a:gd name="connsiteX53" fmla="*/ 2369 w 4501379"/>
                  <a:gd name="connsiteY53" fmla="*/ 1905000 h 4429294"/>
                  <a:gd name="connsiteX54" fmla="*/ 11894 w 4501379"/>
                  <a:gd name="connsiteY54" fmla="*/ 1838325 h 4429294"/>
                  <a:gd name="connsiteX55" fmla="*/ 30944 w 4501379"/>
                  <a:gd name="connsiteY55" fmla="*/ 1781175 h 4429294"/>
                  <a:gd name="connsiteX56" fmla="*/ 40469 w 4501379"/>
                  <a:gd name="connsiteY56" fmla="*/ 1743075 h 4429294"/>
                  <a:gd name="connsiteX57" fmla="*/ 59519 w 4501379"/>
                  <a:gd name="connsiteY57" fmla="*/ 1685925 h 4429294"/>
                  <a:gd name="connsiteX58" fmla="*/ 69044 w 4501379"/>
                  <a:gd name="connsiteY58" fmla="*/ 1638300 h 4429294"/>
                  <a:gd name="connsiteX59" fmla="*/ 88094 w 4501379"/>
                  <a:gd name="connsiteY59" fmla="*/ 1590675 h 4429294"/>
                  <a:gd name="connsiteX60" fmla="*/ 116669 w 4501379"/>
                  <a:gd name="connsiteY60" fmla="*/ 1504950 h 4429294"/>
                  <a:gd name="connsiteX61" fmla="*/ 135719 w 4501379"/>
                  <a:gd name="connsiteY61" fmla="*/ 1419225 h 4429294"/>
                  <a:gd name="connsiteX62" fmla="*/ 211919 w 4501379"/>
                  <a:gd name="connsiteY62" fmla="*/ 1276350 h 4429294"/>
                  <a:gd name="connsiteX63" fmla="*/ 221444 w 4501379"/>
                  <a:gd name="connsiteY63" fmla="*/ 1247775 h 4429294"/>
                  <a:gd name="connsiteX64" fmla="*/ 250019 w 4501379"/>
                  <a:gd name="connsiteY64" fmla="*/ 1200150 h 4429294"/>
                  <a:gd name="connsiteX65" fmla="*/ 269069 w 4501379"/>
                  <a:gd name="connsiteY65" fmla="*/ 1152525 h 4429294"/>
                  <a:gd name="connsiteX66" fmla="*/ 297644 w 4501379"/>
                  <a:gd name="connsiteY66" fmla="*/ 1114425 h 4429294"/>
                  <a:gd name="connsiteX67" fmla="*/ 345269 w 4501379"/>
                  <a:gd name="connsiteY67" fmla="*/ 1038225 h 4429294"/>
                  <a:gd name="connsiteX68" fmla="*/ 364319 w 4501379"/>
                  <a:gd name="connsiteY68" fmla="*/ 1009650 h 4429294"/>
                  <a:gd name="connsiteX69" fmla="*/ 421469 w 4501379"/>
                  <a:gd name="connsiteY69" fmla="*/ 904875 h 4429294"/>
                  <a:gd name="connsiteX70" fmla="*/ 459569 w 4501379"/>
                  <a:gd name="connsiteY70" fmla="*/ 857250 h 4429294"/>
                  <a:gd name="connsiteX71" fmla="*/ 478619 w 4501379"/>
                  <a:gd name="connsiteY71" fmla="*/ 828675 h 4429294"/>
                  <a:gd name="connsiteX72" fmla="*/ 516719 w 4501379"/>
                  <a:gd name="connsiteY72" fmla="*/ 800100 h 4429294"/>
                  <a:gd name="connsiteX73" fmla="*/ 583394 w 4501379"/>
                  <a:gd name="connsiteY73" fmla="*/ 733425 h 4429294"/>
                  <a:gd name="connsiteX74" fmla="*/ 650069 w 4501379"/>
                  <a:gd name="connsiteY74" fmla="*/ 676275 h 4429294"/>
                  <a:gd name="connsiteX75" fmla="*/ 678644 w 4501379"/>
                  <a:gd name="connsiteY75" fmla="*/ 657225 h 4429294"/>
                  <a:gd name="connsiteX76" fmla="*/ 821519 w 4501379"/>
                  <a:gd name="connsiteY76" fmla="*/ 533400 h 4429294"/>
                  <a:gd name="connsiteX77" fmla="*/ 869144 w 4501379"/>
                  <a:gd name="connsiteY77" fmla="*/ 504825 h 4429294"/>
                  <a:gd name="connsiteX78" fmla="*/ 1148544 w 4501379"/>
                  <a:gd name="connsiteY78" fmla="*/ 311150 h 4429294"/>
                  <a:gd name="connsiteX79" fmla="*/ 1250144 w 4501379"/>
                  <a:gd name="connsiteY79" fmla="*/ 285750 h 4429294"/>
                  <a:gd name="connsiteX80" fmla="*/ 1393019 w 4501379"/>
                  <a:gd name="connsiteY80" fmla="*/ 190500 h 4429294"/>
                  <a:gd name="connsiteX81" fmla="*/ 1431119 w 4501379"/>
                  <a:gd name="connsiteY81" fmla="*/ 161925 h 4429294"/>
                  <a:gd name="connsiteX82" fmla="*/ 1507319 w 4501379"/>
                  <a:gd name="connsiteY82" fmla="*/ 152400 h 4429294"/>
                  <a:gd name="connsiteX83" fmla="*/ 1564469 w 4501379"/>
                  <a:gd name="connsiteY83" fmla="*/ 142875 h 4429294"/>
                  <a:gd name="connsiteX84" fmla="*/ 1697819 w 4501379"/>
                  <a:gd name="connsiteY84" fmla="*/ 123825 h 4429294"/>
                  <a:gd name="connsiteX85" fmla="*/ 1793069 w 4501379"/>
                  <a:gd name="connsiteY85" fmla="*/ 114300 h 4429294"/>
                  <a:gd name="connsiteX86" fmla="*/ 1840694 w 4501379"/>
                  <a:gd name="connsiteY86" fmla="*/ 104775 h 4429294"/>
                  <a:gd name="connsiteX87" fmla="*/ 1897844 w 4501379"/>
                  <a:gd name="connsiteY87" fmla="*/ 95250 h 4429294"/>
                  <a:gd name="connsiteX88" fmla="*/ 2012144 w 4501379"/>
                  <a:gd name="connsiteY88" fmla="*/ 66675 h 4429294"/>
                  <a:gd name="connsiteX89" fmla="*/ 2078819 w 4501379"/>
                  <a:gd name="connsiteY89" fmla="*/ 47625 h 4429294"/>
                  <a:gd name="connsiteX90" fmla="*/ 2145494 w 4501379"/>
                  <a:gd name="connsiteY90" fmla="*/ 38100 h 4429294"/>
                  <a:gd name="connsiteX0" fmla="*/ 2278844 w 4501379"/>
                  <a:gd name="connsiteY0" fmla="*/ 0 h 4429294"/>
                  <a:gd name="connsiteX1" fmla="*/ 2478869 w 4501379"/>
                  <a:gd name="connsiteY1" fmla="*/ 47625 h 4429294"/>
                  <a:gd name="connsiteX2" fmla="*/ 2736044 w 4501379"/>
                  <a:gd name="connsiteY2" fmla="*/ 66675 h 4429294"/>
                  <a:gd name="connsiteX3" fmla="*/ 2812244 w 4501379"/>
                  <a:gd name="connsiteY3" fmla="*/ 76200 h 4429294"/>
                  <a:gd name="connsiteX4" fmla="*/ 2897969 w 4501379"/>
                  <a:gd name="connsiteY4" fmla="*/ 85725 h 4429294"/>
                  <a:gd name="connsiteX5" fmla="*/ 2955119 w 4501379"/>
                  <a:gd name="connsiteY5" fmla="*/ 114300 h 4429294"/>
                  <a:gd name="connsiteX6" fmla="*/ 2993219 w 4501379"/>
                  <a:gd name="connsiteY6" fmla="*/ 123825 h 4429294"/>
                  <a:gd name="connsiteX7" fmla="*/ 3117044 w 4501379"/>
                  <a:gd name="connsiteY7" fmla="*/ 171450 h 4429294"/>
                  <a:gd name="connsiteX8" fmla="*/ 3155144 w 4501379"/>
                  <a:gd name="connsiteY8" fmla="*/ 190500 h 4429294"/>
                  <a:gd name="connsiteX9" fmla="*/ 3221819 w 4501379"/>
                  <a:gd name="connsiteY9" fmla="*/ 228600 h 4429294"/>
                  <a:gd name="connsiteX10" fmla="*/ 3250394 w 4501379"/>
                  <a:gd name="connsiteY10" fmla="*/ 238125 h 4429294"/>
                  <a:gd name="connsiteX11" fmla="*/ 3278969 w 4501379"/>
                  <a:gd name="connsiteY11" fmla="*/ 257175 h 4429294"/>
                  <a:gd name="connsiteX12" fmla="*/ 3307544 w 4501379"/>
                  <a:gd name="connsiteY12" fmla="*/ 266700 h 4429294"/>
                  <a:gd name="connsiteX13" fmla="*/ 3336119 w 4501379"/>
                  <a:gd name="connsiteY13" fmla="*/ 285750 h 4429294"/>
                  <a:gd name="connsiteX14" fmla="*/ 3402794 w 4501379"/>
                  <a:gd name="connsiteY14" fmla="*/ 323850 h 4429294"/>
                  <a:gd name="connsiteX15" fmla="*/ 3450419 w 4501379"/>
                  <a:gd name="connsiteY15" fmla="*/ 361950 h 4429294"/>
                  <a:gd name="connsiteX16" fmla="*/ 3498044 w 4501379"/>
                  <a:gd name="connsiteY16" fmla="*/ 390525 h 4429294"/>
                  <a:gd name="connsiteX17" fmla="*/ 3612344 w 4501379"/>
                  <a:gd name="connsiteY17" fmla="*/ 485775 h 4429294"/>
                  <a:gd name="connsiteX18" fmla="*/ 3726644 w 4501379"/>
                  <a:gd name="connsiteY18" fmla="*/ 542925 h 4429294"/>
                  <a:gd name="connsiteX19" fmla="*/ 3793319 w 4501379"/>
                  <a:gd name="connsiteY19" fmla="*/ 581025 h 4429294"/>
                  <a:gd name="connsiteX20" fmla="*/ 4009219 w 4501379"/>
                  <a:gd name="connsiteY20" fmla="*/ 819150 h 4429294"/>
                  <a:gd name="connsiteX21" fmla="*/ 4145744 w 4501379"/>
                  <a:gd name="connsiteY21" fmla="*/ 990600 h 4429294"/>
                  <a:gd name="connsiteX22" fmla="*/ 4231469 w 4501379"/>
                  <a:gd name="connsiteY22" fmla="*/ 1143000 h 4429294"/>
                  <a:gd name="connsiteX23" fmla="*/ 4288619 w 4501379"/>
                  <a:gd name="connsiteY23" fmla="*/ 1266825 h 4429294"/>
                  <a:gd name="connsiteX24" fmla="*/ 4326719 w 4501379"/>
                  <a:gd name="connsiteY24" fmla="*/ 1362075 h 4429294"/>
                  <a:gd name="connsiteX25" fmla="*/ 4374344 w 4501379"/>
                  <a:gd name="connsiteY25" fmla="*/ 1552575 h 4429294"/>
                  <a:gd name="connsiteX26" fmla="*/ 4412444 w 4501379"/>
                  <a:gd name="connsiteY26" fmla="*/ 1685925 h 4429294"/>
                  <a:gd name="connsiteX27" fmla="*/ 4501344 w 4501379"/>
                  <a:gd name="connsiteY27" fmla="*/ 2181225 h 4429294"/>
                  <a:gd name="connsiteX28" fmla="*/ 4428319 w 4501379"/>
                  <a:gd name="connsiteY28" fmla="*/ 2768600 h 4429294"/>
                  <a:gd name="connsiteX29" fmla="*/ 4364819 w 4501379"/>
                  <a:gd name="connsiteY29" fmla="*/ 2990850 h 4429294"/>
                  <a:gd name="connsiteX30" fmla="*/ 4260044 w 4501379"/>
                  <a:gd name="connsiteY30" fmla="*/ 3248025 h 4429294"/>
                  <a:gd name="connsiteX31" fmla="*/ 4164794 w 4501379"/>
                  <a:gd name="connsiteY31" fmla="*/ 3400425 h 4429294"/>
                  <a:gd name="connsiteX32" fmla="*/ 4040969 w 4501379"/>
                  <a:gd name="connsiteY32" fmla="*/ 3533775 h 4429294"/>
                  <a:gd name="connsiteX33" fmla="*/ 3936194 w 4501379"/>
                  <a:gd name="connsiteY33" fmla="*/ 3648075 h 4429294"/>
                  <a:gd name="connsiteX34" fmla="*/ 3640919 w 4501379"/>
                  <a:gd name="connsiteY34" fmla="*/ 3971925 h 4429294"/>
                  <a:gd name="connsiteX35" fmla="*/ 3498044 w 4501379"/>
                  <a:gd name="connsiteY35" fmla="*/ 4083050 h 4429294"/>
                  <a:gd name="connsiteX36" fmla="*/ 3202769 w 4501379"/>
                  <a:gd name="connsiteY36" fmla="*/ 4222750 h 4429294"/>
                  <a:gd name="connsiteX37" fmla="*/ 3050369 w 4501379"/>
                  <a:gd name="connsiteY37" fmla="*/ 4286250 h 4429294"/>
                  <a:gd name="connsiteX38" fmla="*/ 2917019 w 4501379"/>
                  <a:gd name="connsiteY38" fmla="*/ 4333875 h 4429294"/>
                  <a:gd name="connsiteX39" fmla="*/ 2793194 w 4501379"/>
                  <a:gd name="connsiteY39" fmla="*/ 4371975 h 4429294"/>
                  <a:gd name="connsiteX40" fmla="*/ 2561419 w 4501379"/>
                  <a:gd name="connsiteY40" fmla="*/ 4391025 h 4429294"/>
                  <a:gd name="connsiteX41" fmla="*/ 2107394 w 4501379"/>
                  <a:gd name="connsiteY41" fmla="*/ 4429125 h 4429294"/>
                  <a:gd name="connsiteX42" fmla="*/ 1916894 w 4501379"/>
                  <a:gd name="connsiteY42" fmla="*/ 4400550 h 4429294"/>
                  <a:gd name="connsiteX43" fmla="*/ 1554944 w 4501379"/>
                  <a:gd name="connsiteY43" fmla="*/ 4305300 h 4429294"/>
                  <a:gd name="connsiteX44" fmla="*/ 1313644 w 4501379"/>
                  <a:gd name="connsiteY44" fmla="*/ 4216400 h 4429294"/>
                  <a:gd name="connsiteX45" fmla="*/ 1145369 w 4501379"/>
                  <a:gd name="connsiteY45" fmla="*/ 4111625 h 4429294"/>
                  <a:gd name="connsiteX46" fmla="*/ 926294 w 4501379"/>
                  <a:gd name="connsiteY46" fmla="*/ 3968750 h 4429294"/>
                  <a:gd name="connsiteX47" fmla="*/ 592919 w 4501379"/>
                  <a:gd name="connsiteY47" fmla="*/ 3657600 h 4429294"/>
                  <a:gd name="connsiteX48" fmla="*/ 446869 w 4501379"/>
                  <a:gd name="connsiteY48" fmla="*/ 3470275 h 4429294"/>
                  <a:gd name="connsiteX49" fmla="*/ 316694 w 4501379"/>
                  <a:gd name="connsiteY49" fmla="*/ 3244850 h 4429294"/>
                  <a:gd name="connsiteX50" fmla="*/ 164294 w 4501379"/>
                  <a:gd name="connsiteY50" fmla="*/ 2892425 h 4429294"/>
                  <a:gd name="connsiteX51" fmla="*/ 56344 w 4501379"/>
                  <a:gd name="connsiteY51" fmla="*/ 2368550 h 4429294"/>
                  <a:gd name="connsiteX52" fmla="*/ 2369 w 4501379"/>
                  <a:gd name="connsiteY52" fmla="*/ 1905000 h 4429294"/>
                  <a:gd name="connsiteX53" fmla="*/ 11894 w 4501379"/>
                  <a:gd name="connsiteY53" fmla="*/ 1838325 h 4429294"/>
                  <a:gd name="connsiteX54" fmla="*/ 30944 w 4501379"/>
                  <a:gd name="connsiteY54" fmla="*/ 1781175 h 4429294"/>
                  <a:gd name="connsiteX55" fmla="*/ 40469 w 4501379"/>
                  <a:gd name="connsiteY55" fmla="*/ 1743075 h 4429294"/>
                  <a:gd name="connsiteX56" fmla="*/ 59519 w 4501379"/>
                  <a:gd name="connsiteY56" fmla="*/ 1685925 h 4429294"/>
                  <a:gd name="connsiteX57" fmla="*/ 69044 w 4501379"/>
                  <a:gd name="connsiteY57" fmla="*/ 1638300 h 4429294"/>
                  <a:gd name="connsiteX58" fmla="*/ 88094 w 4501379"/>
                  <a:gd name="connsiteY58" fmla="*/ 1590675 h 4429294"/>
                  <a:gd name="connsiteX59" fmla="*/ 116669 w 4501379"/>
                  <a:gd name="connsiteY59" fmla="*/ 1504950 h 4429294"/>
                  <a:gd name="connsiteX60" fmla="*/ 135719 w 4501379"/>
                  <a:gd name="connsiteY60" fmla="*/ 1419225 h 4429294"/>
                  <a:gd name="connsiteX61" fmla="*/ 211919 w 4501379"/>
                  <a:gd name="connsiteY61" fmla="*/ 1276350 h 4429294"/>
                  <a:gd name="connsiteX62" fmla="*/ 221444 w 4501379"/>
                  <a:gd name="connsiteY62" fmla="*/ 1247775 h 4429294"/>
                  <a:gd name="connsiteX63" fmla="*/ 250019 w 4501379"/>
                  <a:gd name="connsiteY63" fmla="*/ 1200150 h 4429294"/>
                  <a:gd name="connsiteX64" fmla="*/ 269069 w 4501379"/>
                  <a:gd name="connsiteY64" fmla="*/ 1152525 h 4429294"/>
                  <a:gd name="connsiteX65" fmla="*/ 297644 w 4501379"/>
                  <a:gd name="connsiteY65" fmla="*/ 1114425 h 4429294"/>
                  <a:gd name="connsiteX66" fmla="*/ 345269 w 4501379"/>
                  <a:gd name="connsiteY66" fmla="*/ 1038225 h 4429294"/>
                  <a:gd name="connsiteX67" fmla="*/ 364319 w 4501379"/>
                  <a:gd name="connsiteY67" fmla="*/ 1009650 h 4429294"/>
                  <a:gd name="connsiteX68" fmla="*/ 421469 w 4501379"/>
                  <a:gd name="connsiteY68" fmla="*/ 904875 h 4429294"/>
                  <a:gd name="connsiteX69" fmla="*/ 459569 w 4501379"/>
                  <a:gd name="connsiteY69" fmla="*/ 857250 h 4429294"/>
                  <a:gd name="connsiteX70" fmla="*/ 478619 w 4501379"/>
                  <a:gd name="connsiteY70" fmla="*/ 828675 h 4429294"/>
                  <a:gd name="connsiteX71" fmla="*/ 516719 w 4501379"/>
                  <a:gd name="connsiteY71" fmla="*/ 800100 h 4429294"/>
                  <a:gd name="connsiteX72" fmla="*/ 583394 w 4501379"/>
                  <a:gd name="connsiteY72" fmla="*/ 733425 h 4429294"/>
                  <a:gd name="connsiteX73" fmla="*/ 650069 w 4501379"/>
                  <a:gd name="connsiteY73" fmla="*/ 676275 h 4429294"/>
                  <a:gd name="connsiteX74" fmla="*/ 678644 w 4501379"/>
                  <a:gd name="connsiteY74" fmla="*/ 657225 h 4429294"/>
                  <a:gd name="connsiteX75" fmla="*/ 821519 w 4501379"/>
                  <a:gd name="connsiteY75" fmla="*/ 533400 h 4429294"/>
                  <a:gd name="connsiteX76" fmla="*/ 869144 w 4501379"/>
                  <a:gd name="connsiteY76" fmla="*/ 504825 h 4429294"/>
                  <a:gd name="connsiteX77" fmla="*/ 1148544 w 4501379"/>
                  <a:gd name="connsiteY77" fmla="*/ 311150 h 4429294"/>
                  <a:gd name="connsiteX78" fmla="*/ 1250144 w 4501379"/>
                  <a:gd name="connsiteY78" fmla="*/ 285750 h 4429294"/>
                  <a:gd name="connsiteX79" fmla="*/ 1393019 w 4501379"/>
                  <a:gd name="connsiteY79" fmla="*/ 190500 h 4429294"/>
                  <a:gd name="connsiteX80" fmla="*/ 1431119 w 4501379"/>
                  <a:gd name="connsiteY80" fmla="*/ 161925 h 4429294"/>
                  <a:gd name="connsiteX81" fmla="*/ 1507319 w 4501379"/>
                  <a:gd name="connsiteY81" fmla="*/ 152400 h 4429294"/>
                  <a:gd name="connsiteX82" fmla="*/ 1564469 w 4501379"/>
                  <a:gd name="connsiteY82" fmla="*/ 142875 h 4429294"/>
                  <a:gd name="connsiteX83" fmla="*/ 1697819 w 4501379"/>
                  <a:gd name="connsiteY83" fmla="*/ 123825 h 4429294"/>
                  <a:gd name="connsiteX84" fmla="*/ 1793069 w 4501379"/>
                  <a:gd name="connsiteY84" fmla="*/ 114300 h 4429294"/>
                  <a:gd name="connsiteX85" fmla="*/ 1840694 w 4501379"/>
                  <a:gd name="connsiteY85" fmla="*/ 104775 h 4429294"/>
                  <a:gd name="connsiteX86" fmla="*/ 1897844 w 4501379"/>
                  <a:gd name="connsiteY86" fmla="*/ 95250 h 4429294"/>
                  <a:gd name="connsiteX87" fmla="*/ 2012144 w 4501379"/>
                  <a:gd name="connsiteY87" fmla="*/ 66675 h 4429294"/>
                  <a:gd name="connsiteX88" fmla="*/ 2078819 w 4501379"/>
                  <a:gd name="connsiteY88" fmla="*/ 47625 h 4429294"/>
                  <a:gd name="connsiteX89" fmla="*/ 2145494 w 4501379"/>
                  <a:gd name="connsiteY89" fmla="*/ 38100 h 4429294"/>
                  <a:gd name="connsiteX0" fmla="*/ 2278844 w 4501379"/>
                  <a:gd name="connsiteY0" fmla="*/ 0 h 4429294"/>
                  <a:gd name="connsiteX1" fmla="*/ 2736044 w 4501379"/>
                  <a:gd name="connsiteY1" fmla="*/ 66675 h 4429294"/>
                  <a:gd name="connsiteX2" fmla="*/ 2812244 w 4501379"/>
                  <a:gd name="connsiteY2" fmla="*/ 76200 h 4429294"/>
                  <a:gd name="connsiteX3" fmla="*/ 2897969 w 4501379"/>
                  <a:gd name="connsiteY3" fmla="*/ 85725 h 4429294"/>
                  <a:gd name="connsiteX4" fmla="*/ 2955119 w 4501379"/>
                  <a:gd name="connsiteY4" fmla="*/ 114300 h 4429294"/>
                  <a:gd name="connsiteX5" fmla="*/ 2993219 w 4501379"/>
                  <a:gd name="connsiteY5" fmla="*/ 123825 h 4429294"/>
                  <a:gd name="connsiteX6" fmla="*/ 3117044 w 4501379"/>
                  <a:gd name="connsiteY6" fmla="*/ 171450 h 4429294"/>
                  <a:gd name="connsiteX7" fmla="*/ 3155144 w 4501379"/>
                  <a:gd name="connsiteY7" fmla="*/ 190500 h 4429294"/>
                  <a:gd name="connsiteX8" fmla="*/ 3221819 w 4501379"/>
                  <a:gd name="connsiteY8" fmla="*/ 228600 h 4429294"/>
                  <a:gd name="connsiteX9" fmla="*/ 3250394 w 4501379"/>
                  <a:gd name="connsiteY9" fmla="*/ 238125 h 4429294"/>
                  <a:gd name="connsiteX10" fmla="*/ 3278969 w 4501379"/>
                  <a:gd name="connsiteY10" fmla="*/ 257175 h 4429294"/>
                  <a:gd name="connsiteX11" fmla="*/ 3307544 w 4501379"/>
                  <a:gd name="connsiteY11" fmla="*/ 266700 h 4429294"/>
                  <a:gd name="connsiteX12" fmla="*/ 3336119 w 4501379"/>
                  <a:gd name="connsiteY12" fmla="*/ 285750 h 4429294"/>
                  <a:gd name="connsiteX13" fmla="*/ 3402794 w 4501379"/>
                  <a:gd name="connsiteY13" fmla="*/ 323850 h 4429294"/>
                  <a:gd name="connsiteX14" fmla="*/ 3450419 w 4501379"/>
                  <a:gd name="connsiteY14" fmla="*/ 361950 h 4429294"/>
                  <a:gd name="connsiteX15" fmla="*/ 3498044 w 4501379"/>
                  <a:gd name="connsiteY15" fmla="*/ 390525 h 4429294"/>
                  <a:gd name="connsiteX16" fmla="*/ 3612344 w 4501379"/>
                  <a:gd name="connsiteY16" fmla="*/ 485775 h 4429294"/>
                  <a:gd name="connsiteX17" fmla="*/ 3726644 w 4501379"/>
                  <a:gd name="connsiteY17" fmla="*/ 542925 h 4429294"/>
                  <a:gd name="connsiteX18" fmla="*/ 3793319 w 4501379"/>
                  <a:gd name="connsiteY18" fmla="*/ 581025 h 4429294"/>
                  <a:gd name="connsiteX19" fmla="*/ 4009219 w 4501379"/>
                  <a:gd name="connsiteY19" fmla="*/ 819150 h 4429294"/>
                  <a:gd name="connsiteX20" fmla="*/ 4145744 w 4501379"/>
                  <a:gd name="connsiteY20" fmla="*/ 990600 h 4429294"/>
                  <a:gd name="connsiteX21" fmla="*/ 4231469 w 4501379"/>
                  <a:gd name="connsiteY21" fmla="*/ 1143000 h 4429294"/>
                  <a:gd name="connsiteX22" fmla="*/ 4288619 w 4501379"/>
                  <a:gd name="connsiteY22" fmla="*/ 1266825 h 4429294"/>
                  <a:gd name="connsiteX23" fmla="*/ 4326719 w 4501379"/>
                  <a:gd name="connsiteY23" fmla="*/ 1362075 h 4429294"/>
                  <a:gd name="connsiteX24" fmla="*/ 4374344 w 4501379"/>
                  <a:gd name="connsiteY24" fmla="*/ 1552575 h 4429294"/>
                  <a:gd name="connsiteX25" fmla="*/ 4412444 w 4501379"/>
                  <a:gd name="connsiteY25" fmla="*/ 1685925 h 4429294"/>
                  <a:gd name="connsiteX26" fmla="*/ 4501344 w 4501379"/>
                  <a:gd name="connsiteY26" fmla="*/ 2181225 h 4429294"/>
                  <a:gd name="connsiteX27" fmla="*/ 4428319 w 4501379"/>
                  <a:gd name="connsiteY27" fmla="*/ 2768600 h 4429294"/>
                  <a:gd name="connsiteX28" fmla="*/ 4364819 w 4501379"/>
                  <a:gd name="connsiteY28" fmla="*/ 2990850 h 4429294"/>
                  <a:gd name="connsiteX29" fmla="*/ 4260044 w 4501379"/>
                  <a:gd name="connsiteY29" fmla="*/ 3248025 h 4429294"/>
                  <a:gd name="connsiteX30" fmla="*/ 4164794 w 4501379"/>
                  <a:gd name="connsiteY30" fmla="*/ 3400425 h 4429294"/>
                  <a:gd name="connsiteX31" fmla="*/ 4040969 w 4501379"/>
                  <a:gd name="connsiteY31" fmla="*/ 3533775 h 4429294"/>
                  <a:gd name="connsiteX32" fmla="*/ 3936194 w 4501379"/>
                  <a:gd name="connsiteY32" fmla="*/ 3648075 h 4429294"/>
                  <a:gd name="connsiteX33" fmla="*/ 3640919 w 4501379"/>
                  <a:gd name="connsiteY33" fmla="*/ 3971925 h 4429294"/>
                  <a:gd name="connsiteX34" fmla="*/ 3498044 w 4501379"/>
                  <a:gd name="connsiteY34" fmla="*/ 4083050 h 4429294"/>
                  <a:gd name="connsiteX35" fmla="*/ 3202769 w 4501379"/>
                  <a:gd name="connsiteY35" fmla="*/ 4222750 h 4429294"/>
                  <a:gd name="connsiteX36" fmla="*/ 3050369 w 4501379"/>
                  <a:gd name="connsiteY36" fmla="*/ 4286250 h 4429294"/>
                  <a:gd name="connsiteX37" fmla="*/ 2917019 w 4501379"/>
                  <a:gd name="connsiteY37" fmla="*/ 4333875 h 4429294"/>
                  <a:gd name="connsiteX38" fmla="*/ 2793194 w 4501379"/>
                  <a:gd name="connsiteY38" fmla="*/ 4371975 h 4429294"/>
                  <a:gd name="connsiteX39" fmla="*/ 2561419 w 4501379"/>
                  <a:gd name="connsiteY39" fmla="*/ 4391025 h 4429294"/>
                  <a:gd name="connsiteX40" fmla="*/ 2107394 w 4501379"/>
                  <a:gd name="connsiteY40" fmla="*/ 4429125 h 4429294"/>
                  <a:gd name="connsiteX41" fmla="*/ 1916894 w 4501379"/>
                  <a:gd name="connsiteY41" fmla="*/ 4400550 h 4429294"/>
                  <a:gd name="connsiteX42" fmla="*/ 1554944 w 4501379"/>
                  <a:gd name="connsiteY42" fmla="*/ 4305300 h 4429294"/>
                  <a:gd name="connsiteX43" fmla="*/ 1313644 w 4501379"/>
                  <a:gd name="connsiteY43" fmla="*/ 4216400 h 4429294"/>
                  <a:gd name="connsiteX44" fmla="*/ 1145369 w 4501379"/>
                  <a:gd name="connsiteY44" fmla="*/ 4111625 h 4429294"/>
                  <a:gd name="connsiteX45" fmla="*/ 926294 w 4501379"/>
                  <a:gd name="connsiteY45" fmla="*/ 3968750 h 4429294"/>
                  <a:gd name="connsiteX46" fmla="*/ 592919 w 4501379"/>
                  <a:gd name="connsiteY46" fmla="*/ 3657600 h 4429294"/>
                  <a:gd name="connsiteX47" fmla="*/ 446869 w 4501379"/>
                  <a:gd name="connsiteY47" fmla="*/ 3470275 h 4429294"/>
                  <a:gd name="connsiteX48" fmla="*/ 316694 w 4501379"/>
                  <a:gd name="connsiteY48" fmla="*/ 3244850 h 4429294"/>
                  <a:gd name="connsiteX49" fmla="*/ 164294 w 4501379"/>
                  <a:gd name="connsiteY49" fmla="*/ 2892425 h 4429294"/>
                  <a:gd name="connsiteX50" fmla="*/ 56344 w 4501379"/>
                  <a:gd name="connsiteY50" fmla="*/ 2368550 h 4429294"/>
                  <a:gd name="connsiteX51" fmla="*/ 2369 w 4501379"/>
                  <a:gd name="connsiteY51" fmla="*/ 1905000 h 4429294"/>
                  <a:gd name="connsiteX52" fmla="*/ 11894 w 4501379"/>
                  <a:gd name="connsiteY52" fmla="*/ 1838325 h 4429294"/>
                  <a:gd name="connsiteX53" fmla="*/ 30944 w 4501379"/>
                  <a:gd name="connsiteY53" fmla="*/ 1781175 h 4429294"/>
                  <a:gd name="connsiteX54" fmla="*/ 40469 w 4501379"/>
                  <a:gd name="connsiteY54" fmla="*/ 1743075 h 4429294"/>
                  <a:gd name="connsiteX55" fmla="*/ 59519 w 4501379"/>
                  <a:gd name="connsiteY55" fmla="*/ 1685925 h 4429294"/>
                  <a:gd name="connsiteX56" fmla="*/ 69044 w 4501379"/>
                  <a:gd name="connsiteY56" fmla="*/ 1638300 h 4429294"/>
                  <a:gd name="connsiteX57" fmla="*/ 88094 w 4501379"/>
                  <a:gd name="connsiteY57" fmla="*/ 1590675 h 4429294"/>
                  <a:gd name="connsiteX58" fmla="*/ 116669 w 4501379"/>
                  <a:gd name="connsiteY58" fmla="*/ 1504950 h 4429294"/>
                  <a:gd name="connsiteX59" fmla="*/ 135719 w 4501379"/>
                  <a:gd name="connsiteY59" fmla="*/ 1419225 h 4429294"/>
                  <a:gd name="connsiteX60" fmla="*/ 211919 w 4501379"/>
                  <a:gd name="connsiteY60" fmla="*/ 1276350 h 4429294"/>
                  <a:gd name="connsiteX61" fmla="*/ 221444 w 4501379"/>
                  <a:gd name="connsiteY61" fmla="*/ 1247775 h 4429294"/>
                  <a:gd name="connsiteX62" fmla="*/ 250019 w 4501379"/>
                  <a:gd name="connsiteY62" fmla="*/ 1200150 h 4429294"/>
                  <a:gd name="connsiteX63" fmla="*/ 269069 w 4501379"/>
                  <a:gd name="connsiteY63" fmla="*/ 1152525 h 4429294"/>
                  <a:gd name="connsiteX64" fmla="*/ 297644 w 4501379"/>
                  <a:gd name="connsiteY64" fmla="*/ 1114425 h 4429294"/>
                  <a:gd name="connsiteX65" fmla="*/ 345269 w 4501379"/>
                  <a:gd name="connsiteY65" fmla="*/ 1038225 h 4429294"/>
                  <a:gd name="connsiteX66" fmla="*/ 364319 w 4501379"/>
                  <a:gd name="connsiteY66" fmla="*/ 1009650 h 4429294"/>
                  <a:gd name="connsiteX67" fmla="*/ 421469 w 4501379"/>
                  <a:gd name="connsiteY67" fmla="*/ 904875 h 4429294"/>
                  <a:gd name="connsiteX68" fmla="*/ 459569 w 4501379"/>
                  <a:gd name="connsiteY68" fmla="*/ 857250 h 4429294"/>
                  <a:gd name="connsiteX69" fmla="*/ 478619 w 4501379"/>
                  <a:gd name="connsiteY69" fmla="*/ 828675 h 4429294"/>
                  <a:gd name="connsiteX70" fmla="*/ 516719 w 4501379"/>
                  <a:gd name="connsiteY70" fmla="*/ 800100 h 4429294"/>
                  <a:gd name="connsiteX71" fmla="*/ 583394 w 4501379"/>
                  <a:gd name="connsiteY71" fmla="*/ 733425 h 4429294"/>
                  <a:gd name="connsiteX72" fmla="*/ 650069 w 4501379"/>
                  <a:gd name="connsiteY72" fmla="*/ 676275 h 4429294"/>
                  <a:gd name="connsiteX73" fmla="*/ 678644 w 4501379"/>
                  <a:gd name="connsiteY73" fmla="*/ 657225 h 4429294"/>
                  <a:gd name="connsiteX74" fmla="*/ 821519 w 4501379"/>
                  <a:gd name="connsiteY74" fmla="*/ 533400 h 4429294"/>
                  <a:gd name="connsiteX75" fmla="*/ 869144 w 4501379"/>
                  <a:gd name="connsiteY75" fmla="*/ 504825 h 4429294"/>
                  <a:gd name="connsiteX76" fmla="*/ 1148544 w 4501379"/>
                  <a:gd name="connsiteY76" fmla="*/ 311150 h 4429294"/>
                  <a:gd name="connsiteX77" fmla="*/ 1250144 w 4501379"/>
                  <a:gd name="connsiteY77" fmla="*/ 285750 h 4429294"/>
                  <a:gd name="connsiteX78" fmla="*/ 1393019 w 4501379"/>
                  <a:gd name="connsiteY78" fmla="*/ 190500 h 4429294"/>
                  <a:gd name="connsiteX79" fmla="*/ 1431119 w 4501379"/>
                  <a:gd name="connsiteY79" fmla="*/ 161925 h 4429294"/>
                  <a:gd name="connsiteX80" fmla="*/ 1507319 w 4501379"/>
                  <a:gd name="connsiteY80" fmla="*/ 152400 h 4429294"/>
                  <a:gd name="connsiteX81" fmla="*/ 1564469 w 4501379"/>
                  <a:gd name="connsiteY81" fmla="*/ 142875 h 4429294"/>
                  <a:gd name="connsiteX82" fmla="*/ 1697819 w 4501379"/>
                  <a:gd name="connsiteY82" fmla="*/ 123825 h 4429294"/>
                  <a:gd name="connsiteX83" fmla="*/ 1793069 w 4501379"/>
                  <a:gd name="connsiteY83" fmla="*/ 114300 h 4429294"/>
                  <a:gd name="connsiteX84" fmla="*/ 1840694 w 4501379"/>
                  <a:gd name="connsiteY84" fmla="*/ 104775 h 4429294"/>
                  <a:gd name="connsiteX85" fmla="*/ 1897844 w 4501379"/>
                  <a:gd name="connsiteY85" fmla="*/ 95250 h 4429294"/>
                  <a:gd name="connsiteX86" fmla="*/ 2012144 w 4501379"/>
                  <a:gd name="connsiteY86" fmla="*/ 66675 h 4429294"/>
                  <a:gd name="connsiteX87" fmla="*/ 2078819 w 4501379"/>
                  <a:gd name="connsiteY87" fmla="*/ 47625 h 4429294"/>
                  <a:gd name="connsiteX88" fmla="*/ 2145494 w 4501379"/>
                  <a:gd name="connsiteY8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12244 w 4501379"/>
                  <a:gd name="connsiteY2" fmla="*/ 76200 h 4429294"/>
                  <a:gd name="connsiteX3" fmla="*/ 2897969 w 4501379"/>
                  <a:gd name="connsiteY3" fmla="*/ 85725 h 4429294"/>
                  <a:gd name="connsiteX4" fmla="*/ 2955119 w 4501379"/>
                  <a:gd name="connsiteY4" fmla="*/ 114300 h 4429294"/>
                  <a:gd name="connsiteX5" fmla="*/ 2993219 w 4501379"/>
                  <a:gd name="connsiteY5" fmla="*/ 123825 h 4429294"/>
                  <a:gd name="connsiteX6" fmla="*/ 3117044 w 4501379"/>
                  <a:gd name="connsiteY6" fmla="*/ 171450 h 4429294"/>
                  <a:gd name="connsiteX7" fmla="*/ 3155144 w 4501379"/>
                  <a:gd name="connsiteY7" fmla="*/ 190500 h 4429294"/>
                  <a:gd name="connsiteX8" fmla="*/ 3221819 w 4501379"/>
                  <a:gd name="connsiteY8" fmla="*/ 228600 h 4429294"/>
                  <a:gd name="connsiteX9" fmla="*/ 3250394 w 4501379"/>
                  <a:gd name="connsiteY9" fmla="*/ 238125 h 4429294"/>
                  <a:gd name="connsiteX10" fmla="*/ 3278969 w 4501379"/>
                  <a:gd name="connsiteY10" fmla="*/ 257175 h 4429294"/>
                  <a:gd name="connsiteX11" fmla="*/ 3307544 w 4501379"/>
                  <a:gd name="connsiteY11" fmla="*/ 266700 h 4429294"/>
                  <a:gd name="connsiteX12" fmla="*/ 3336119 w 4501379"/>
                  <a:gd name="connsiteY12" fmla="*/ 285750 h 4429294"/>
                  <a:gd name="connsiteX13" fmla="*/ 3402794 w 4501379"/>
                  <a:gd name="connsiteY13" fmla="*/ 323850 h 4429294"/>
                  <a:gd name="connsiteX14" fmla="*/ 3450419 w 4501379"/>
                  <a:gd name="connsiteY14" fmla="*/ 361950 h 4429294"/>
                  <a:gd name="connsiteX15" fmla="*/ 3498044 w 4501379"/>
                  <a:gd name="connsiteY15" fmla="*/ 390525 h 4429294"/>
                  <a:gd name="connsiteX16" fmla="*/ 3612344 w 4501379"/>
                  <a:gd name="connsiteY16" fmla="*/ 485775 h 4429294"/>
                  <a:gd name="connsiteX17" fmla="*/ 3726644 w 4501379"/>
                  <a:gd name="connsiteY17" fmla="*/ 542925 h 4429294"/>
                  <a:gd name="connsiteX18" fmla="*/ 3793319 w 4501379"/>
                  <a:gd name="connsiteY18" fmla="*/ 581025 h 4429294"/>
                  <a:gd name="connsiteX19" fmla="*/ 4009219 w 4501379"/>
                  <a:gd name="connsiteY19" fmla="*/ 819150 h 4429294"/>
                  <a:gd name="connsiteX20" fmla="*/ 4145744 w 4501379"/>
                  <a:gd name="connsiteY20" fmla="*/ 990600 h 4429294"/>
                  <a:gd name="connsiteX21" fmla="*/ 4231469 w 4501379"/>
                  <a:gd name="connsiteY21" fmla="*/ 1143000 h 4429294"/>
                  <a:gd name="connsiteX22" fmla="*/ 4288619 w 4501379"/>
                  <a:gd name="connsiteY22" fmla="*/ 1266825 h 4429294"/>
                  <a:gd name="connsiteX23" fmla="*/ 4326719 w 4501379"/>
                  <a:gd name="connsiteY23" fmla="*/ 1362075 h 4429294"/>
                  <a:gd name="connsiteX24" fmla="*/ 4374344 w 4501379"/>
                  <a:gd name="connsiteY24" fmla="*/ 1552575 h 4429294"/>
                  <a:gd name="connsiteX25" fmla="*/ 4412444 w 4501379"/>
                  <a:gd name="connsiteY25" fmla="*/ 1685925 h 4429294"/>
                  <a:gd name="connsiteX26" fmla="*/ 4501344 w 4501379"/>
                  <a:gd name="connsiteY26" fmla="*/ 2181225 h 4429294"/>
                  <a:gd name="connsiteX27" fmla="*/ 4428319 w 4501379"/>
                  <a:gd name="connsiteY27" fmla="*/ 2768600 h 4429294"/>
                  <a:gd name="connsiteX28" fmla="*/ 4364819 w 4501379"/>
                  <a:gd name="connsiteY28" fmla="*/ 2990850 h 4429294"/>
                  <a:gd name="connsiteX29" fmla="*/ 4260044 w 4501379"/>
                  <a:gd name="connsiteY29" fmla="*/ 3248025 h 4429294"/>
                  <a:gd name="connsiteX30" fmla="*/ 4164794 w 4501379"/>
                  <a:gd name="connsiteY30" fmla="*/ 3400425 h 4429294"/>
                  <a:gd name="connsiteX31" fmla="*/ 4040969 w 4501379"/>
                  <a:gd name="connsiteY31" fmla="*/ 3533775 h 4429294"/>
                  <a:gd name="connsiteX32" fmla="*/ 3936194 w 4501379"/>
                  <a:gd name="connsiteY32" fmla="*/ 3648075 h 4429294"/>
                  <a:gd name="connsiteX33" fmla="*/ 3640919 w 4501379"/>
                  <a:gd name="connsiteY33" fmla="*/ 3971925 h 4429294"/>
                  <a:gd name="connsiteX34" fmla="*/ 3498044 w 4501379"/>
                  <a:gd name="connsiteY34" fmla="*/ 4083050 h 4429294"/>
                  <a:gd name="connsiteX35" fmla="*/ 3202769 w 4501379"/>
                  <a:gd name="connsiteY35" fmla="*/ 4222750 h 4429294"/>
                  <a:gd name="connsiteX36" fmla="*/ 3050369 w 4501379"/>
                  <a:gd name="connsiteY36" fmla="*/ 4286250 h 4429294"/>
                  <a:gd name="connsiteX37" fmla="*/ 2917019 w 4501379"/>
                  <a:gd name="connsiteY37" fmla="*/ 4333875 h 4429294"/>
                  <a:gd name="connsiteX38" fmla="*/ 2793194 w 4501379"/>
                  <a:gd name="connsiteY38" fmla="*/ 4371975 h 4429294"/>
                  <a:gd name="connsiteX39" fmla="*/ 2561419 w 4501379"/>
                  <a:gd name="connsiteY39" fmla="*/ 4391025 h 4429294"/>
                  <a:gd name="connsiteX40" fmla="*/ 2107394 w 4501379"/>
                  <a:gd name="connsiteY40" fmla="*/ 4429125 h 4429294"/>
                  <a:gd name="connsiteX41" fmla="*/ 1916894 w 4501379"/>
                  <a:gd name="connsiteY41" fmla="*/ 4400550 h 4429294"/>
                  <a:gd name="connsiteX42" fmla="*/ 1554944 w 4501379"/>
                  <a:gd name="connsiteY42" fmla="*/ 4305300 h 4429294"/>
                  <a:gd name="connsiteX43" fmla="*/ 1313644 w 4501379"/>
                  <a:gd name="connsiteY43" fmla="*/ 4216400 h 4429294"/>
                  <a:gd name="connsiteX44" fmla="*/ 1145369 w 4501379"/>
                  <a:gd name="connsiteY44" fmla="*/ 4111625 h 4429294"/>
                  <a:gd name="connsiteX45" fmla="*/ 926294 w 4501379"/>
                  <a:gd name="connsiteY45" fmla="*/ 3968750 h 4429294"/>
                  <a:gd name="connsiteX46" fmla="*/ 592919 w 4501379"/>
                  <a:gd name="connsiteY46" fmla="*/ 3657600 h 4429294"/>
                  <a:gd name="connsiteX47" fmla="*/ 446869 w 4501379"/>
                  <a:gd name="connsiteY47" fmla="*/ 3470275 h 4429294"/>
                  <a:gd name="connsiteX48" fmla="*/ 316694 w 4501379"/>
                  <a:gd name="connsiteY48" fmla="*/ 3244850 h 4429294"/>
                  <a:gd name="connsiteX49" fmla="*/ 164294 w 4501379"/>
                  <a:gd name="connsiteY49" fmla="*/ 2892425 h 4429294"/>
                  <a:gd name="connsiteX50" fmla="*/ 56344 w 4501379"/>
                  <a:gd name="connsiteY50" fmla="*/ 2368550 h 4429294"/>
                  <a:gd name="connsiteX51" fmla="*/ 2369 w 4501379"/>
                  <a:gd name="connsiteY51" fmla="*/ 1905000 h 4429294"/>
                  <a:gd name="connsiteX52" fmla="*/ 11894 w 4501379"/>
                  <a:gd name="connsiteY52" fmla="*/ 1838325 h 4429294"/>
                  <a:gd name="connsiteX53" fmla="*/ 30944 w 4501379"/>
                  <a:gd name="connsiteY53" fmla="*/ 1781175 h 4429294"/>
                  <a:gd name="connsiteX54" fmla="*/ 40469 w 4501379"/>
                  <a:gd name="connsiteY54" fmla="*/ 1743075 h 4429294"/>
                  <a:gd name="connsiteX55" fmla="*/ 59519 w 4501379"/>
                  <a:gd name="connsiteY55" fmla="*/ 1685925 h 4429294"/>
                  <a:gd name="connsiteX56" fmla="*/ 69044 w 4501379"/>
                  <a:gd name="connsiteY56" fmla="*/ 1638300 h 4429294"/>
                  <a:gd name="connsiteX57" fmla="*/ 88094 w 4501379"/>
                  <a:gd name="connsiteY57" fmla="*/ 1590675 h 4429294"/>
                  <a:gd name="connsiteX58" fmla="*/ 116669 w 4501379"/>
                  <a:gd name="connsiteY58" fmla="*/ 1504950 h 4429294"/>
                  <a:gd name="connsiteX59" fmla="*/ 135719 w 4501379"/>
                  <a:gd name="connsiteY59" fmla="*/ 1419225 h 4429294"/>
                  <a:gd name="connsiteX60" fmla="*/ 211919 w 4501379"/>
                  <a:gd name="connsiteY60" fmla="*/ 1276350 h 4429294"/>
                  <a:gd name="connsiteX61" fmla="*/ 221444 w 4501379"/>
                  <a:gd name="connsiteY61" fmla="*/ 1247775 h 4429294"/>
                  <a:gd name="connsiteX62" fmla="*/ 250019 w 4501379"/>
                  <a:gd name="connsiteY62" fmla="*/ 1200150 h 4429294"/>
                  <a:gd name="connsiteX63" fmla="*/ 269069 w 4501379"/>
                  <a:gd name="connsiteY63" fmla="*/ 1152525 h 4429294"/>
                  <a:gd name="connsiteX64" fmla="*/ 297644 w 4501379"/>
                  <a:gd name="connsiteY64" fmla="*/ 1114425 h 4429294"/>
                  <a:gd name="connsiteX65" fmla="*/ 345269 w 4501379"/>
                  <a:gd name="connsiteY65" fmla="*/ 1038225 h 4429294"/>
                  <a:gd name="connsiteX66" fmla="*/ 364319 w 4501379"/>
                  <a:gd name="connsiteY66" fmla="*/ 1009650 h 4429294"/>
                  <a:gd name="connsiteX67" fmla="*/ 421469 w 4501379"/>
                  <a:gd name="connsiteY67" fmla="*/ 904875 h 4429294"/>
                  <a:gd name="connsiteX68" fmla="*/ 459569 w 4501379"/>
                  <a:gd name="connsiteY68" fmla="*/ 857250 h 4429294"/>
                  <a:gd name="connsiteX69" fmla="*/ 478619 w 4501379"/>
                  <a:gd name="connsiteY69" fmla="*/ 828675 h 4429294"/>
                  <a:gd name="connsiteX70" fmla="*/ 516719 w 4501379"/>
                  <a:gd name="connsiteY70" fmla="*/ 800100 h 4429294"/>
                  <a:gd name="connsiteX71" fmla="*/ 583394 w 4501379"/>
                  <a:gd name="connsiteY71" fmla="*/ 733425 h 4429294"/>
                  <a:gd name="connsiteX72" fmla="*/ 650069 w 4501379"/>
                  <a:gd name="connsiteY72" fmla="*/ 676275 h 4429294"/>
                  <a:gd name="connsiteX73" fmla="*/ 678644 w 4501379"/>
                  <a:gd name="connsiteY73" fmla="*/ 657225 h 4429294"/>
                  <a:gd name="connsiteX74" fmla="*/ 821519 w 4501379"/>
                  <a:gd name="connsiteY74" fmla="*/ 533400 h 4429294"/>
                  <a:gd name="connsiteX75" fmla="*/ 869144 w 4501379"/>
                  <a:gd name="connsiteY75" fmla="*/ 504825 h 4429294"/>
                  <a:gd name="connsiteX76" fmla="*/ 1148544 w 4501379"/>
                  <a:gd name="connsiteY76" fmla="*/ 311150 h 4429294"/>
                  <a:gd name="connsiteX77" fmla="*/ 1250144 w 4501379"/>
                  <a:gd name="connsiteY77" fmla="*/ 285750 h 4429294"/>
                  <a:gd name="connsiteX78" fmla="*/ 1393019 w 4501379"/>
                  <a:gd name="connsiteY78" fmla="*/ 190500 h 4429294"/>
                  <a:gd name="connsiteX79" fmla="*/ 1431119 w 4501379"/>
                  <a:gd name="connsiteY79" fmla="*/ 161925 h 4429294"/>
                  <a:gd name="connsiteX80" fmla="*/ 1507319 w 4501379"/>
                  <a:gd name="connsiteY80" fmla="*/ 152400 h 4429294"/>
                  <a:gd name="connsiteX81" fmla="*/ 1564469 w 4501379"/>
                  <a:gd name="connsiteY81" fmla="*/ 142875 h 4429294"/>
                  <a:gd name="connsiteX82" fmla="*/ 1697819 w 4501379"/>
                  <a:gd name="connsiteY82" fmla="*/ 123825 h 4429294"/>
                  <a:gd name="connsiteX83" fmla="*/ 1793069 w 4501379"/>
                  <a:gd name="connsiteY83" fmla="*/ 114300 h 4429294"/>
                  <a:gd name="connsiteX84" fmla="*/ 1840694 w 4501379"/>
                  <a:gd name="connsiteY84" fmla="*/ 104775 h 4429294"/>
                  <a:gd name="connsiteX85" fmla="*/ 1897844 w 4501379"/>
                  <a:gd name="connsiteY85" fmla="*/ 95250 h 4429294"/>
                  <a:gd name="connsiteX86" fmla="*/ 2012144 w 4501379"/>
                  <a:gd name="connsiteY86" fmla="*/ 66675 h 4429294"/>
                  <a:gd name="connsiteX87" fmla="*/ 2078819 w 4501379"/>
                  <a:gd name="connsiteY87" fmla="*/ 47625 h 4429294"/>
                  <a:gd name="connsiteX88" fmla="*/ 2145494 w 4501379"/>
                  <a:gd name="connsiteY8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2955119 w 4501379"/>
                  <a:gd name="connsiteY3" fmla="*/ 114300 h 4429294"/>
                  <a:gd name="connsiteX4" fmla="*/ 2993219 w 4501379"/>
                  <a:gd name="connsiteY4" fmla="*/ 123825 h 4429294"/>
                  <a:gd name="connsiteX5" fmla="*/ 3117044 w 4501379"/>
                  <a:gd name="connsiteY5" fmla="*/ 171450 h 4429294"/>
                  <a:gd name="connsiteX6" fmla="*/ 3155144 w 4501379"/>
                  <a:gd name="connsiteY6" fmla="*/ 190500 h 4429294"/>
                  <a:gd name="connsiteX7" fmla="*/ 3221819 w 4501379"/>
                  <a:gd name="connsiteY7" fmla="*/ 228600 h 4429294"/>
                  <a:gd name="connsiteX8" fmla="*/ 3250394 w 4501379"/>
                  <a:gd name="connsiteY8" fmla="*/ 238125 h 4429294"/>
                  <a:gd name="connsiteX9" fmla="*/ 3278969 w 4501379"/>
                  <a:gd name="connsiteY9" fmla="*/ 257175 h 4429294"/>
                  <a:gd name="connsiteX10" fmla="*/ 3307544 w 4501379"/>
                  <a:gd name="connsiteY10" fmla="*/ 266700 h 4429294"/>
                  <a:gd name="connsiteX11" fmla="*/ 3336119 w 4501379"/>
                  <a:gd name="connsiteY11" fmla="*/ 285750 h 4429294"/>
                  <a:gd name="connsiteX12" fmla="*/ 3402794 w 4501379"/>
                  <a:gd name="connsiteY12" fmla="*/ 323850 h 4429294"/>
                  <a:gd name="connsiteX13" fmla="*/ 3450419 w 4501379"/>
                  <a:gd name="connsiteY13" fmla="*/ 361950 h 4429294"/>
                  <a:gd name="connsiteX14" fmla="*/ 3498044 w 4501379"/>
                  <a:gd name="connsiteY14" fmla="*/ 390525 h 4429294"/>
                  <a:gd name="connsiteX15" fmla="*/ 3612344 w 4501379"/>
                  <a:gd name="connsiteY15" fmla="*/ 485775 h 4429294"/>
                  <a:gd name="connsiteX16" fmla="*/ 3726644 w 4501379"/>
                  <a:gd name="connsiteY16" fmla="*/ 542925 h 4429294"/>
                  <a:gd name="connsiteX17" fmla="*/ 3793319 w 4501379"/>
                  <a:gd name="connsiteY17" fmla="*/ 581025 h 4429294"/>
                  <a:gd name="connsiteX18" fmla="*/ 4009219 w 4501379"/>
                  <a:gd name="connsiteY18" fmla="*/ 819150 h 4429294"/>
                  <a:gd name="connsiteX19" fmla="*/ 4145744 w 4501379"/>
                  <a:gd name="connsiteY19" fmla="*/ 990600 h 4429294"/>
                  <a:gd name="connsiteX20" fmla="*/ 4231469 w 4501379"/>
                  <a:gd name="connsiteY20" fmla="*/ 1143000 h 4429294"/>
                  <a:gd name="connsiteX21" fmla="*/ 4288619 w 4501379"/>
                  <a:gd name="connsiteY21" fmla="*/ 1266825 h 4429294"/>
                  <a:gd name="connsiteX22" fmla="*/ 4326719 w 4501379"/>
                  <a:gd name="connsiteY22" fmla="*/ 1362075 h 4429294"/>
                  <a:gd name="connsiteX23" fmla="*/ 4374344 w 4501379"/>
                  <a:gd name="connsiteY23" fmla="*/ 1552575 h 4429294"/>
                  <a:gd name="connsiteX24" fmla="*/ 4412444 w 4501379"/>
                  <a:gd name="connsiteY24" fmla="*/ 1685925 h 4429294"/>
                  <a:gd name="connsiteX25" fmla="*/ 4501344 w 4501379"/>
                  <a:gd name="connsiteY25" fmla="*/ 2181225 h 4429294"/>
                  <a:gd name="connsiteX26" fmla="*/ 4428319 w 4501379"/>
                  <a:gd name="connsiteY26" fmla="*/ 2768600 h 4429294"/>
                  <a:gd name="connsiteX27" fmla="*/ 4364819 w 4501379"/>
                  <a:gd name="connsiteY27" fmla="*/ 2990850 h 4429294"/>
                  <a:gd name="connsiteX28" fmla="*/ 4260044 w 4501379"/>
                  <a:gd name="connsiteY28" fmla="*/ 3248025 h 4429294"/>
                  <a:gd name="connsiteX29" fmla="*/ 4164794 w 4501379"/>
                  <a:gd name="connsiteY29" fmla="*/ 3400425 h 4429294"/>
                  <a:gd name="connsiteX30" fmla="*/ 4040969 w 4501379"/>
                  <a:gd name="connsiteY30" fmla="*/ 3533775 h 4429294"/>
                  <a:gd name="connsiteX31" fmla="*/ 3936194 w 4501379"/>
                  <a:gd name="connsiteY31" fmla="*/ 3648075 h 4429294"/>
                  <a:gd name="connsiteX32" fmla="*/ 3640919 w 4501379"/>
                  <a:gd name="connsiteY32" fmla="*/ 3971925 h 4429294"/>
                  <a:gd name="connsiteX33" fmla="*/ 3498044 w 4501379"/>
                  <a:gd name="connsiteY33" fmla="*/ 4083050 h 4429294"/>
                  <a:gd name="connsiteX34" fmla="*/ 3202769 w 4501379"/>
                  <a:gd name="connsiteY34" fmla="*/ 4222750 h 4429294"/>
                  <a:gd name="connsiteX35" fmla="*/ 3050369 w 4501379"/>
                  <a:gd name="connsiteY35" fmla="*/ 4286250 h 4429294"/>
                  <a:gd name="connsiteX36" fmla="*/ 2917019 w 4501379"/>
                  <a:gd name="connsiteY36" fmla="*/ 4333875 h 4429294"/>
                  <a:gd name="connsiteX37" fmla="*/ 2793194 w 4501379"/>
                  <a:gd name="connsiteY37" fmla="*/ 4371975 h 4429294"/>
                  <a:gd name="connsiteX38" fmla="*/ 2561419 w 4501379"/>
                  <a:gd name="connsiteY38" fmla="*/ 4391025 h 4429294"/>
                  <a:gd name="connsiteX39" fmla="*/ 2107394 w 4501379"/>
                  <a:gd name="connsiteY39" fmla="*/ 4429125 h 4429294"/>
                  <a:gd name="connsiteX40" fmla="*/ 1916894 w 4501379"/>
                  <a:gd name="connsiteY40" fmla="*/ 4400550 h 4429294"/>
                  <a:gd name="connsiteX41" fmla="*/ 1554944 w 4501379"/>
                  <a:gd name="connsiteY41" fmla="*/ 4305300 h 4429294"/>
                  <a:gd name="connsiteX42" fmla="*/ 1313644 w 4501379"/>
                  <a:gd name="connsiteY42" fmla="*/ 4216400 h 4429294"/>
                  <a:gd name="connsiteX43" fmla="*/ 1145369 w 4501379"/>
                  <a:gd name="connsiteY43" fmla="*/ 4111625 h 4429294"/>
                  <a:gd name="connsiteX44" fmla="*/ 926294 w 4501379"/>
                  <a:gd name="connsiteY44" fmla="*/ 3968750 h 4429294"/>
                  <a:gd name="connsiteX45" fmla="*/ 592919 w 4501379"/>
                  <a:gd name="connsiteY45" fmla="*/ 3657600 h 4429294"/>
                  <a:gd name="connsiteX46" fmla="*/ 446869 w 4501379"/>
                  <a:gd name="connsiteY46" fmla="*/ 3470275 h 4429294"/>
                  <a:gd name="connsiteX47" fmla="*/ 316694 w 4501379"/>
                  <a:gd name="connsiteY47" fmla="*/ 3244850 h 4429294"/>
                  <a:gd name="connsiteX48" fmla="*/ 164294 w 4501379"/>
                  <a:gd name="connsiteY48" fmla="*/ 2892425 h 4429294"/>
                  <a:gd name="connsiteX49" fmla="*/ 56344 w 4501379"/>
                  <a:gd name="connsiteY49" fmla="*/ 2368550 h 4429294"/>
                  <a:gd name="connsiteX50" fmla="*/ 2369 w 4501379"/>
                  <a:gd name="connsiteY50" fmla="*/ 1905000 h 4429294"/>
                  <a:gd name="connsiteX51" fmla="*/ 11894 w 4501379"/>
                  <a:gd name="connsiteY51" fmla="*/ 1838325 h 4429294"/>
                  <a:gd name="connsiteX52" fmla="*/ 30944 w 4501379"/>
                  <a:gd name="connsiteY52" fmla="*/ 1781175 h 4429294"/>
                  <a:gd name="connsiteX53" fmla="*/ 40469 w 4501379"/>
                  <a:gd name="connsiteY53" fmla="*/ 1743075 h 4429294"/>
                  <a:gd name="connsiteX54" fmla="*/ 59519 w 4501379"/>
                  <a:gd name="connsiteY54" fmla="*/ 1685925 h 4429294"/>
                  <a:gd name="connsiteX55" fmla="*/ 69044 w 4501379"/>
                  <a:gd name="connsiteY55" fmla="*/ 1638300 h 4429294"/>
                  <a:gd name="connsiteX56" fmla="*/ 88094 w 4501379"/>
                  <a:gd name="connsiteY56" fmla="*/ 1590675 h 4429294"/>
                  <a:gd name="connsiteX57" fmla="*/ 116669 w 4501379"/>
                  <a:gd name="connsiteY57" fmla="*/ 1504950 h 4429294"/>
                  <a:gd name="connsiteX58" fmla="*/ 135719 w 4501379"/>
                  <a:gd name="connsiteY58" fmla="*/ 1419225 h 4429294"/>
                  <a:gd name="connsiteX59" fmla="*/ 211919 w 4501379"/>
                  <a:gd name="connsiteY59" fmla="*/ 1276350 h 4429294"/>
                  <a:gd name="connsiteX60" fmla="*/ 221444 w 4501379"/>
                  <a:gd name="connsiteY60" fmla="*/ 1247775 h 4429294"/>
                  <a:gd name="connsiteX61" fmla="*/ 250019 w 4501379"/>
                  <a:gd name="connsiteY61" fmla="*/ 1200150 h 4429294"/>
                  <a:gd name="connsiteX62" fmla="*/ 269069 w 4501379"/>
                  <a:gd name="connsiteY62" fmla="*/ 1152525 h 4429294"/>
                  <a:gd name="connsiteX63" fmla="*/ 297644 w 4501379"/>
                  <a:gd name="connsiteY63" fmla="*/ 1114425 h 4429294"/>
                  <a:gd name="connsiteX64" fmla="*/ 345269 w 4501379"/>
                  <a:gd name="connsiteY64" fmla="*/ 1038225 h 4429294"/>
                  <a:gd name="connsiteX65" fmla="*/ 364319 w 4501379"/>
                  <a:gd name="connsiteY65" fmla="*/ 1009650 h 4429294"/>
                  <a:gd name="connsiteX66" fmla="*/ 421469 w 4501379"/>
                  <a:gd name="connsiteY66" fmla="*/ 904875 h 4429294"/>
                  <a:gd name="connsiteX67" fmla="*/ 459569 w 4501379"/>
                  <a:gd name="connsiteY67" fmla="*/ 857250 h 4429294"/>
                  <a:gd name="connsiteX68" fmla="*/ 478619 w 4501379"/>
                  <a:gd name="connsiteY68" fmla="*/ 828675 h 4429294"/>
                  <a:gd name="connsiteX69" fmla="*/ 516719 w 4501379"/>
                  <a:gd name="connsiteY69" fmla="*/ 800100 h 4429294"/>
                  <a:gd name="connsiteX70" fmla="*/ 583394 w 4501379"/>
                  <a:gd name="connsiteY70" fmla="*/ 733425 h 4429294"/>
                  <a:gd name="connsiteX71" fmla="*/ 650069 w 4501379"/>
                  <a:gd name="connsiteY71" fmla="*/ 676275 h 4429294"/>
                  <a:gd name="connsiteX72" fmla="*/ 678644 w 4501379"/>
                  <a:gd name="connsiteY72" fmla="*/ 657225 h 4429294"/>
                  <a:gd name="connsiteX73" fmla="*/ 821519 w 4501379"/>
                  <a:gd name="connsiteY73" fmla="*/ 533400 h 4429294"/>
                  <a:gd name="connsiteX74" fmla="*/ 869144 w 4501379"/>
                  <a:gd name="connsiteY74" fmla="*/ 504825 h 4429294"/>
                  <a:gd name="connsiteX75" fmla="*/ 1148544 w 4501379"/>
                  <a:gd name="connsiteY75" fmla="*/ 311150 h 4429294"/>
                  <a:gd name="connsiteX76" fmla="*/ 1250144 w 4501379"/>
                  <a:gd name="connsiteY76" fmla="*/ 285750 h 4429294"/>
                  <a:gd name="connsiteX77" fmla="*/ 1393019 w 4501379"/>
                  <a:gd name="connsiteY77" fmla="*/ 190500 h 4429294"/>
                  <a:gd name="connsiteX78" fmla="*/ 1431119 w 4501379"/>
                  <a:gd name="connsiteY78" fmla="*/ 161925 h 4429294"/>
                  <a:gd name="connsiteX79" fmla="*/ 1507319 w 4501379"/>
                  <a:gd name="connsiteY79" fmla="*/ 152400 h 4429294"/>
                  <a:gd name="connsiteX80" fmla="*/ 1564469 w 4501379"/>
                  <a:gd name="connsiteY80" fmla="*/ 142875 h 4429294"/>
                  <a:gd name="connsiteX81" fmla="*/ 1697819 w 4501379"/>
                  <a:gd name="connsiteY81" fmla="*/ 123825 h 4429294"/>
                  <a:gd name="connsiteX82" fmla="*/ 1793069 w 4501379"/>
                  <a:gd name="connsiteY82" fmla="*/ 114300 h 4429294"/>
                  <a:gd name="connsiteX83" fmla="*/ 1840694 w 4501379"/>
                  <a:gd name="connsiteY83" fmla="*/ 104775 h 4429294"/>
                  <a:gd name="connsiteX84" fmla="*/ 1897844 w 4501379"/>
                  <a:gd name="connsiteY84" fmla="*/ 95250 h 4429294"/>
                  <a:gd name="connsiteX85" fmla="*/ 2012144 w 4501379"/>
                  <a:gd name="connsiteY85" fmla="*/ 66675 h 4429294"/>
                  <a:gd name="connsiteX86" fmla="*/ 2078819 w 4501379"/>
                  <a:gd name="connsiteY86" fmla="*/ 47625 h 4429294"/>
                  <a:gd name="connsiteX87" fmla="*/ 2145494 w 4501379"/>
                  <a:gd name="connsiteY87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2955119 w 4501379"/>
                  <a:gd name="connsiteY3" fmla="*/ 114300 h 4429294"/>
                  <a:gd name="connsiteX4" fmla="*/ 3117044 w 4501379"/>
                  <a:gd name="connsiteY4" fmla="*/ 171450 h 4429294"/>
                  <a:gd name="connsiteX5" fmla="*/ 3155144 w 4501379"/>
                  <a:gd name="connsiteY5" fmla="*/ 190500 h 4429294"/>
                  <a:gd name="connsiteX6" fmla="*/ 3221819 w 4501379"/>
                  <a:gd name="connsiteY6" fmla="*/ 228600 h 4429294"/>
                  <a:gd name="connsiteX7" fmla="*/ 3250394 w 4501379"/>
                  <a:gd name="connsiteY7" fmla="*/ 238125 h 4429294"/>
                  <a:gd name="connsiteX8" fmla="*/ 3278969 w 4501379"/>
                  <a:gd name="connsiteY8" fmla="*/ 257175 h 4429294"/>
                  <a:gd name="connsiteX9" fmla="*/ 3307544 w 4501379"/>
                  <a:gd name="connsiteY9" fmla="*/ 266700 h 4429294"/>
                  <a:gd name="connsiteX10" fmla="*/ 3336119 w 4501379"/>
                  <a:gd name="connsiteY10" fmla="*/ 285750 h 4429294"/>
                  <a:gd name="connsiteX11" fmla="*/ 3402794 w 4501379"/>
                  <a:gd name="connsiteY11" fmla="*/ 323850 h 4429294"/>
                  <a:gd name="connsiteX12" fmla="*/ 3450419 w 4501379"/>
                  <a:gd name="connsiteY12" fmla="*/ 361950 h 4429294"/>
                  <a:gd name="connsiteX13" fmla="*/ 3498044 w 4501379"/>
                  <a:gd name="connsiteY13" fmla="*/ 390525 h 4429294"/>
                  <a:gd name="connsiteX14" fmla="*/ 3612344 w 4501379"/>
                  <a:gd name="connsiteY14" fmla="*/ 485775 h 4429294"/>
                  <a:gd name="connsiteX15" fmla="*/ 3726644 w 4501379"/>
                  <a:gd name="connsiteY15" fmla="*/ 542925 h 4429294"/>
                  <a:gd name="connsiteX16" fmla="*/ 3793319 w 4501379"/>
                  <a:gd name="connsiteY16" fmla="*/ 581025 h 4429294"/>
                  <a:gd name="connsiteX17" fmla="*/ 4009219 w 4501379"/>
                  <a:gd name="connsiteY17" fmla="*/ 819150 h 4429294"/>
                  <a:gd name="connsiteX18" fmla="*/ 4145744 w 4501379"/>
                  <a:gd name="connsiteY18" fmla="*/ 990600 h 4429294"/>
                  <a:gd name="connsiteX19" fmla="*/ 4231469 w 4501379"/>
                  <a:gd name="connsiteY19" fmla="*/ 1143000 h 4429294"/>
                  <a:gd name="connsiteX20" fmla="*/ 4288619 w 4501379"/>
                  <a:gd name="connsiteY20" fmla="*/ 1266825 h 4429294"/>
                  <a:gd name="connsiteX21" fmla="*/ 4326719 w 4501379"/>
                  <a:gd name="connsiteY21" fmla="*/ 1362075 h 4429294"/>
                  <a:gd name="connsiteX22" fmla="*/ 4374344 w 4501379"/>
                  <a:gd name="connsiteY22" fmla="*/ 1552575 h 4429294"/>
                  <a:gd name="connsiteX23" fmla="*/ 4412444 w 4501379"/>
                  <a:gd name="connsiteY23" fmla="*/ 1685925 h 4429294"/>
                  <a:gd name="connsiteX24" fmla="*/ 4501344 w 4501379"/>
                  <a:gd name="connsiteY24" fmla="*/ 2181225 h 4429294"/>
                  <a:gd name="connsiteX25" fmla="*/ 4428319 w 4501379"/>
                  <a:gd name="connsiteY25" fmla="*/ 2768600 h 4429294"/>
                  <a:gd name="connsiteX26" fmla="*/ 4364819 w 4501379"/>
                  <a:gd name="connsiteY26" fmla="*/ 2990850 h 4429294"/>
                  <a:gd name="connsiteX27" fmla="*/ 4260044 w 4501379"/>
                  <a:gd name="connsiteY27" fmla="*/ 3248025 h 4429294"/>
                  <a:gd name="connsiteX28" fmla="*/ 4164794 w 4501379"/>
                  <a:gd name="connsiteY28" fmla="*/ 3400425 h 4429294"/>
                  <a:gd name="connsiteX29" fmla="*/ 4040969 w 4501379"/>
                  <a:gd name="connsiteY29" fmla="*/ 3533775 h 4429294"/>
                  <a:gd name="connsiteX30" fmla="*/ 3936194 w 4501379"/>
                  <a:gd name="connsiteY30" fmla="*/ 3648075 h 4429294"/>
                  <a:gd name="connsiteX31" fmla="*/ 3640919 w 4501379"/>
                  <a:gd name="connsiteY31" fmla="*/ 3971925 h 4429294"/>
                  <a:gd name="connsiteX32" fmla="*/ 3498044 w 4501379"/>
                  <a:gd name="connsiteY32" fmla="*/ 4083050 h 4429294"/>
                  <a:gd name="connsiteX33" fmla="*/ 3202769 w 4501379"/>
                  <a:gd name="connsiteY33" fmla="*/ 4222750 h 4429294"/>
                  <a:gd name="connsiteX34" fmla="*/ 3050369 w 4501379"/>
                  <a:gd name="connsiteY34" fmla="*/ 4286250 h 4429294"/>
                  <a:gd name="connsiteX35" fmla="*/ 2917019 w 4501379"/>
                  <a:gd name="connsiteY35" fmla="*/ 4333875 h 4429294"/>
                  <a:gd name="connsiteX36" fmla="*/ 2793194 w 4501379"/>
                  <a:gd name="connsiteY36" fmla="*/ 4371975 h 4429294"/>
                  <a:gd name="connsiteX37" fmla="*/ 2561419 w 4501379"/>
                  <a:gd name="connsiteY37" fmla="*/ 4391025 h 4429294"/>
                  <a:gd name="connsiteX38" fmla="*/ 2107394 w 4501379"/>
                  <a:gd name="connsiteY38" fmla="*/ 4429125 h 4429294"/>
                  <a:gd name="connsiteX39" fmla="*/ 1916894 w 4501379"/>
                  <a:gd name="connsiteY39" fmla="*/ 4400550 h 4429294"/>
                  <a:gd name="connsiteX40" fmla="*/ 1554944 w 4501379"/>
                  <a:gd name="connsiteY40" fmla="*/ 4305300 h 4429294"/>
                  <a:gd name="connsiteX41" fmla="*/ 1313644 w 4501379"/>
                  <a:gd name="connsiteY41" fmla="*/ 4216400 h 4429294"/>
                  <a:gd name="connsiteX42" fmla="*/ 1145369 w 4501379"/>
                  <a:gd name="connsiteY42" fmla="*/ 4111625 h 4429294"/>
                  <a:gd name="connsiteX43" fmla="*/ 926294 w 4501379"/>
                  <a:gd name="connsiteY43" fmla="*/ 3968750 h 4429294"/>
                  <a:gd name="connsiteX44" fmla="*/ 592919 w 4501379"/>
                  <a:gd name="connsiteY44" fmla="*/ 3657600 h 4429294"/>
                  <a:gd name="connsiteX45" fmla="*/ 446869 w 4501379"/>
                  <a:gd name="connsiteY45" fmla="*/ 3470275 h 4429294"/>
                  <a:gd name="connsiteX46" fmla="*/ 316694 w 4501379"/>
                  <a:gd name="connsiteY46" fmla="*/ 3244850 h 4429294"/>
                  <a:gd name="connsiteX47" fmla="*/ 164294 w 4501379"/>
                  <a:gd name="connsiteY47" fmla="*/ 2892425 h 4429294"/>
                  <a:gd name="connsiteX48" fmla="*/ 56344 w 4501379"/>
                  <a:gd name="connsiteY48" fmla="*/ 2368550 h 4429294"/>
                  <a:gd name="connsiteX49" fmla="*/ 2369 w 4501379"/>
                  <a:gd name="connsiteY49" fmla="*/ 1905000 h 4429294"/>
                  <a:gd name="connsiteX50" fmla="*/ 11894 w 4501379"/>
                  <a:gd name="connsiteY50" fmla="*/ 1838325 h 4429294"/>
                  <a:gd name="connsiteX51" fmla="*/ 30944 w 4501379"/>
                  <a:gd name="connsiteY51" fmla="*/ 1781175 h 4429294"/>
                  <a:gd name="connsiteX52" fmla="*/ 40469 w 4501379"/>
                  <a:gd name="connsiteY52" fmla="*/ 1743075 h 4429294"/>
                  <a:gd name="connsiteX53" fmla="*/ 59519 w 4501379"/>
                  <a:gd name="connsiteY53" fmla="*/ 1685925 h 4429294"/>
                  <a:gd name="connsiteX54" fmla="*/ 69044 w 4501379"/>
                  <a:gd name="connsiteY54" fmla="*/ 1638300 h 4429294"/>
                  <a:gd name="connsiteX55" fmla="*/ 88094 w 4501379"/>
                  <a:gd name="connsiteY55" fmla="*/ 1590675 h 4429294"/>
                  <a:gd name="connsiteX56" fmla="*/ 116669 w 4501379"/>
                  <a:gd name="connsiteY56" fmla="*/ 1504950 h 4429294"/>
                  <a:gd name="connsiteX57" fmla="*/ 135719 w 4501379"/>
                  <a:gd name="connsiteY57" fmla="*/ 1419225 h 4429294"/>
                  <a:gd name="connsiteX58" fmla="*/ 211919 w 4501379"/>
                  <a:gd name="connsiteY58" fmla="*/ 1276350 h 4429294"/>
                  <a:gd name="connsiteX59" fmla="*/ 221444 w 4501379"/>
                  <a:gd name="connsiteY59" fmla="*/ 1247775 h 4429294"/>
                  <a:gd name="connsiteX60" fmla="*/ 250019 w 4501379"/>
                  <a:gd name="connsiteY60" fmla="*/ 1200150 h 4429294"/>
                  <a:gd name="connsiteX61" fmla="*/ 269069 w 4501379"/>
                  <a:gd name="connsiteY61" fmla="*/ 1152525 h 4429294"/>
                  <a:gd name="connsiteX62" fmla="*/ 297644 w 4501379"/>
                  <a:gd name="connsiteY62" fmla="*/ 1114425 h 4429294"/>
                  <a:gd name="connsiteX63" fmla="*/ 345269 w 4501379"/>
                  <a:gd name="connsiteY63" fmla="*/ 1038225 h 4429294"/>
                  <a:gd name="connsiteX64" fmla="*/ 364319 w 4501379"/>
                  <a:gd name="connsiteY64" fmla="*/ 1009650 h 4429294"/>
                  <a:gd name="connsiteX65" fmla="*/ 421469 w 4501379"/>
                  <a:gd name="connsiteY65" fmla="*/ 904875 h 4429294"/>
                  <a:gd name="connsiteX66" fmla="*/ 459569 w 4501379"/>
                  <a:gd name="connsiteY66" fmla="*/ 857250 h 4429294"/>
                  <a:gd name="connsiteX67" fmla="*/ 478619 w 4501379"/>
                  <a:gd name="connsiteY67" fmla="*/ 828675 h 4429294"/>
                  <a:gd name="connsiteX68" fmla="*/ 516719 w 4501379"/>
                  <a:gd name="connsiteY68" fmla="*/ 800100 h 4429294"/>
                  <a:gd name="connsiteX69" fmla="*/ 583394 w 4501379"/>
                  <a:gd name="connsiteY69" fmla="*/ 733425 h 4429294"/>
                  <a:gd name="connsiteX70" fmla="*/ 650069 w 4501379"/>
                  <a:gd name="connsiteY70" fmla="*/ 676275 h 4429294"/>
                  <a:gd name="connsiteX71" fmla="*/ 678644 w 4501379"/>
                  <a:gd name="connsiteY71" fmla="*/ 657225 h 4429294"/>
                  <a:gd name="connsiteX72" fmla="*/ 821519 w 4501379"/>
                  <a:gd name="connsiteY72" fmla="*/ 533400 h 4429294"/>
                  <a:gd name="connsiteX73" fmla="*/ 869144 w 4501379"/>
                  <a:gd name="connsiteY73" fmla="*/ 504825 h 4429294"/>
                  <a:gd name="connsiteX74" fmla="*/ 1148544 w 4501379"/>
                  <a:gd name="connsiteY74" fmla="*/ 311150 h 4429294"/>
                  <a:gd name="connsiteX75" fmla="*/ 1250144 w 4501379"/>
                  <a:gd name="connsiteY75" fmla="*/ 285750 h 4429294"/>
                  <a:gd name="connsiteX76" fmla="*/ 1393019 w 4501379"/>
                  <a:gd name="connsiteY76" fmla="*/ 190500 h 4429294"/>
                  <a:gd name="connsiteX77" fmla="*/ 1431119 w 4501379"/>
                  <a:gd name="connsiteY77" fmla="*/ 161925 h 4429294"/>
                  <a:gd name="connsiteX78" fmla="*/ 1507319 w 4501379"/>
                  <a:gd name="connsiteY78" fmla="*/ 152400 h 4429294"/>
                  <a:gd name="connsiteX79" fmla="*/ 1564469 w 4501379"/>
                  <a:gd name="connsiteY79" fmla="*/ 142875 h 4429294"/>
                  <a:gd name="connsiteX80" fmla="*/ 1697819 w 4501379"/>
                  <a:gd name="connsiteY80" fmla="*/ 123825 h 4429294"/>
                  <a:gd name="connsiteX81" fmla="*/ 1793069 w 4501379"/>
                  <a:gd name="connsiteY81" fmla="*/ 114300 h 4429294"/>
                  <a:gd name="connsiteX82" fmla="*/ 1840694 w 4501379"/>
                  <a:gd name="connsiteY82" fmla="*/ 104775 h 4429294"/>
                  <a:gd name="connsiteX83" fmla="*/ 1897844 w 4501379"/>
                  <a:gd name="connsiteY83" fmla="*/ 95250 h 4429294"/>
                  <a:gd name="connsiteX84" fmla="*/ 2012144 w 4501379"/>
                  <a:gd name="connsiteY84" fmla="*/ 66675 h 4429294"/>
                  <a:gd name="connsiteX85" fmla="*/ 2078819 w 4501379"/>
                  <a:gd name="connsiteY85" fmla="*/ 47625 h 4429294"/>
                  <a:gd name="connsiteX86" fmla="*/ 2145494 w 4501379"/>
                  <a:gd name="connsiteY86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155144 w 4501379"/>
                  <a:gd name="connsiteY4" fmla="*/ 190500 h 4429294"/>
                  <a:gd name="connsiteX5" fmla="*/ 3221819 w 4501379"/>
                  <a:gd name="connsiteY5" fmla="*/ 228600 h 4429294"/>
                  <a:gd name="connsiteX6" fmla="*/ 3250394 w 4501379"/>
                  <a:gd name="connsiteY6" fmla="*/ 238125 h 4429294"/>
                  <a:gd name="connsiteX7" fmla="*/ 3278969 w 4501379"/>
                  <a:gd name="connsiteY7" fmla="*/ 257175 h 4429294"/>
                  <a:gd name="connsiteX8" fmla="*/ 3307544 w 4501379"/>
                  <a:gd name="connsiteY8" fmla="*/ 266700 h 4429294"/>
                  <a:gd name="connsiteX9" fmla="*/ 3336119 w 4501379"/>
                  <a:gd name="connsiteY9" fmla="*/ 285750 h 4429294"/>
                  <a:gd name="connsiteX10" fmla="*/ 3402794 w 4501379"/>
                  <a:gd name="connsiteY10" fmla="*/ 323850 h 4429294"/>
                  <a:gd name="connsiteX11" fmla="*/ 3450419 w 4501379"/>
                  <a:gd name="connsiteY11" fmla="*/ 361950 h 4429294"/>
                  <a:gd name="connsiteX12" fmla="*/ 3498044 w 4501379"/>
                  <a:gd name="connsiteY12" fmla="*/ 390525 h 4429294"/>
                  <a:gd name="connsiteX13" fmla="*/ 3612344 w 4501379"/>
                  <a:gd name="connsiteY13" fmla="*/ 485775 h 4429294"/>
                  <a:gd name="connsiteX14" fmla="*/ 3726644 w 4501379"/>
                  <a:gd name="connsiteY14" fmla="*/ 542925 h 4429294"/>
                  <a:gd name="connsiteX15" fmla="*/ 3793319 w 4501379"/>
                  <a:gd name="connsiteY15" fmla="*/ 581025 h 4429294"/>
                  <a:gd name="connsiteX16" fmla="*/ 4009219 w 4501379"/>
                  <a:gd name="connsiteY16" fmla="*/ 819150 h 4429294"/>
                  <a:gd name="connsiteX17" fmla="*/ 4145744 w 4501379"/>
                  <a:gd name="connsiteY17" fmla="*/ 990600 h 4429294"/>
                  <a:gd name="connsiteX18" fmla="*/ 4231469 w 4501379"/>
                  <a:gd name="connsiteY18" fmla="*/ 1143000 h 4429294"/>
                  <a:gd name="connsiteX19" fmla="*/ 4288619 w 4501379"/>
                  <a:gd name="connsiteY19" fmla="*/ 1266825 h 4429294"/>
                  <a:gd name="connsiteX20" fmla="*/ 4326719 w 4501379"/>
                  <a:gd name="connsiteY20" fmla="*/ 1362075 h 4429294"/>
                  <a:gd name="connsiteX21" fmla="*/ 4374344 w 4501379"/>
                  <a:gd name="connsiteY21" fmla="*/ 1552575 h 4429294"/>
                  <a:gd name="connsiteX22" fmla="*/ 4412444 w 4501379"/>
                  <a:gd name="connsiteY22" fmla="*/ 1685925 h 4429294"/>
                  <a:gd name="connsiteX23" fmla="*/ 4501344 w 4501379"/>
                  <a:gd name="connsiteY23" fmla="*/ 2181225 h 4429294"/>
                  <a:gd name="connsiteX24" fmla="*/ 4428319 w 4501379"/>
                  <a:gd name="connsiteY24" fmla="*/ 2768600 h 4429294"/>
                  <a:gd name="connsiteX25" fmla="*/ 4364819 w 4501379"/>
                  <a:gd name="connsiteY25" fmla="*/ 2990850 h 4429294"/>
                  <a:gd name="connsiteX26" fmla="*/ 4260044 w 4501379"/>
                  <a:gd name="connsiteY26" fmla="*/ 3248025 h 4429294"/>
                  <a:gd name="connsiteX27" fmla="*/ 4164794 w 4501379"/>
                  <a:gd name="connsiteY27" fmla="*/ 3400425 h 4429294"/>
                  <a:gd name="connsiteX28" fmla="*/ 4040969 w 4501379"/>
                  <a:gd name="connsiteY28" fmla="*/ 3533775 h 4429294"/>
                  <a:gd name="connsiteX29" fmla="*/ 3936194 w 4501379"/>
                  <a:gd name="connsiteY29" fmla="*/ 3648075 h 4429294"/>
                  <a:gd name="connsiteX30" fmla="*/ 3640919 w 4501379"/>
                  <a:gd name="connsiteY30" fmla="*/ 3971925 h 4429294"/>
                  <a:gd name="connsiteX31" fmla="*/ 3498044 w 4501379"/>
                  <a:gd name="connsiteY31" fmla="*/ 4083050 h 4429294"/>
                  <a:gd name="connsiteX32" fmla="*/ 3202769 w 4501379"/>
                  <a:gd name="connsiteY32" fmla="*/ 4222750 h 4429294"/>
                  <a:gd name="connsiteX33" fmla="*/ 3050369 w 4501379"/>
                  <a:gd name="connsiteY33" fmla="*/ 4286250 h 4429294"/>
                  <a:gd name="connsiteX34" fmla="*/ 2917019 w 4501379"/>
                  <a:gd name="connsiteY34" fmla="*/ 4333875 h 4429294"/>
                  <a:gd name="connsiteX35" fmla="*/ 2793194 w 4501379"/>
                  <a:gd name="connsiteY35" fmla="*/ 4371975 h 4429294"/>
                  <a:gd name="connsiteX36" fmla="*/ 2561419 w 4501379"/>
                  <a:gd name="connsiteY36" fmla="*/ 4391025 h 4429294"/>
                  <a:gd name="connsiteX37" fmla="*/ 2107394 w 4501379"/>
                  <a:gd name="connsiteY37" fmla="*/ 4429125 h 4429294"/>
                  <a:gd name="connsiteX38" fmla="*/ 1916894 w 4501379"/>
                  <a:gd name="connsiteY38" fmla="*/ 4400550 h 4429294"/>
                  <a:gd name="connsiteX39" fmla="*/ 1554944 w 4501379"/>
                  <a:gd name="connsiteY39" fmla="*/ 4305300 h 4429294"/>
                  <a:gd name="connsiteX40" fmla="*/ 1313644 w 4501379"/>
                  <a:gd name="connsiteY40" fmla="*/ 4216400 h 4429294"/>
                  <a:gd name="connsiteX41" fmla="*/ 1145369 w 4501379"/>
                  <a:gd name="connsiteY41" fmla="*/ 4111625 h 4429294"/>
                  <a:gd name="connsiteX42" fmla="*/ 926294 w 4501379"/>
                  <a:gd name="connsiteY42" fmla="*/ 3968750 h 4429294"/>
                  <a:gd name="connsiteX43" fmla="*/ 592919 w 4501379"/>
                  <a:gd name="connsiteY43" fmla="*/ 3657600 h 4429294"/>
                  <a:gd name="connsiteX44" fmla="*/ 446869 w 4501379"/>
                  <a:gd name="connsiteY44" fmla="*/ 3470275 h 4429294"/>
                  <a:gd name="connsiteX45" fmla="*/ 316694 w 4501379"/>
                  <a:gd name="connsiteY45" fmla="*/ 3244850 h 4429294"/>
                  <a:gd name="connsiteX46" fmla="*/ 164294 w 4501379"/>
                  <a:gd name="connsiteY46" fmla="*/ 2892425 h 4429294"/>
                  <a:gd name="connsiteX47" fmla="*/ 56344 w 4501379"/>
                  <a:gd name="connsiteY47" fmla="*/ 2368550 h 4429294"/>
                  <a:gd name="connsiteX48" fmla="*/ 2369 w 4501379"/>
                  <a:gd name="connsiteY48" fmla="*/ 1905000 h 4429294"/>
                  <a:gd name="connsiteX49" fmla="*/ 11894 w 4501379"/>
                  <a:gd name="connsiteY49" fmla="*/ 1838325 h 4429294"/>
                  <a:gd name="connsiteX50" fmla="*/ 30944 w 4501379"/>
                  <a:gd name="connsiteY50" fmla="*/ 1781175 h 4429294"/>
                  <a:gd name="connsiteX51" fmla="*/ 40469 w 4501379"/>
                  <a:gd name="connsiteY51" fmla="*/ 1743075 h 4429294"/>
                  <a:gd name="connsiteX52" fmla="*/ 59519 w 4501379"/>
                  <a:gd name="connsiteY52" fmla="*/ 1685925 h 4429294"/>
                  <a:gd name="connsiteX53" fmla="*/ 69044 w 4501379"/>
                  <a:gd name="connsiteY53" fmla="*/ 1638300 h 4429294"/>
                  <a:gd name="connsiteX54" fmla="*/ 88094 w 4501379"/>
                  <a:gd name="connsiteY54" fmla="*/ 1590675 h 4429294"/>
                  <a:gd name="connsiteX55" fmla="*/ 116669 w 4501379"/>
                  <a:gd name="connsiteY55" fmla="*/ 1504950 h 4429294"/>
                  <a:gd name="connsiteX56" fmla="*/ 135719 w 4501379"/>
                  <a:gd name="connsiteY56" fmla="*/ 1419225 h 4429294"/>
                  <a:gd name="connsiteX57" fmla="*/ 211919 w 4501379"/>
                  <a:gd name="connsiteY57" fmla="*/ 1276350 h 4429294"/>
                  <a:gd name="connsiteX58" fmla="*/ 221444 w 4501379"/>
                  <a:gd name="connsiteY58" fmla="*/ 1247775 h 4429294"/>
                  <a:gd name="connsiteX59" fmla="*/ 250019 w 4501379"/>
                  <a:gd name="connsiteY59" fmla="*/ 1200150 h 4429294"/>
                  <a:gd name="connsiteX60" fmla="*/ 269069 w 4501379"/>
                  <a:gd name="connsiteY60" fmla="*/ 1152525 h 4429294"/>
                  <a:gd name="connsiteX61" fmla="*/ 297644 w 4501379"/>
                  <a:gd name="connsiteY61" fmla="*/ 1114425 h 4429294"/>
                  <a:gd name="connsiteX62" fmla="*/ 345269 w 4501379"/>
                  <a:gd name="connsiteY62" fmla="*/ 1038225 h 4429294"/>
                  <a:gd name="connsiteX63" fmla="*/ 364319 w 4501379"/>
                  <a:gd name="connsiteY63" fmla="*/ 1009650 h 4429294"/>
                  <a:gd name="connsiteX64" fmla="*/ 421469 w 4501379"/>
                  <a:gd name="connsiteY64" fmla="*/ 904875 h 4429294"/>
                  <a:gd name="connsiteX65" fmla="*/ 459569 w 4501379"/>
                  <a:gd name="connsiteY65" fmla="*/ 857250 h 4429294"/>
                  <a:gd name="connsiteX66" fmla="*/ 478619 w 4501379"/>
                  <a:gd name="connsiteY66" fmla="*/ 828675 h 4429294"/>
                  <a:gd name="connsiteX67" fmla="*/ 516719 w 4501379"/>
                  <a:gd name="connsiteY67" fmla="*/ 800100 h 4429294"/>
                  <a:gd name="connsiteX68" fmla="*/ 583394 w 4501379"/>
                  <a:gd name="connsiteY68" fmla="*/ 733425 h 4429294"/>
                  <a:gd name="connsiteX69" fmla="*/ 650069 w 4501379"/>
                  <a:gd name="connsiteY69" fmla="*/ 676275 h 4429294"/>
                  <a:gd name="connsiteX70" fmla="*/ 678644 w 4501379"/>
                  <a:gd name="connsiteY70" fmla="*/ 657225 h 4429294"/>
                  <a:gd name="connsiteX71" fmla="*/ 821519 w 4501379"/>
                  <a:gd name="connsiteY71" fmla="*/ 533400 h 4429294"/>
                  <a:gd name="connsiteX72" fmla="*/ 869144 w 4501379"/>
                  <a:gd name="connsiteY72" fmla="*/ 504825 h 4429294"/>
                  <a:gd name="connsiteX73" fmla="*/ 1148544 w 4501379"/>
                  <a:gd name="connsiteY73" fmla="*/ 311150 h 4429294"/>
                  <a:gd name="connsiteX74" fmla="*/ 1250144 w 4501379"/>
                  <a:gd name="connsiteY74" fmla="*/ 285750 h 4429294"/>
                  <a:gd name="connsiteX75" fmla="*/ 1393019 w 4501379"/>
                  <a:gd name="connsiteY75" fmla="*/ 190500 h 4429294"/>
                  <a:gd name="connsiteX76" fmla="*/ 1431119 w 4501379"/>
                  <a:gd name="connsiteY76" fmla="*/ 161925 h 4429294"/>
                  <a:gd name="connsiteX77" fmla="*/ 1507319 w 4501379"/>
                  <a:gd name="connsiteY77" fmla="*/ 152400 h 4429294"/>
                  <a:gd name="connsiteX78" fmla="*/ 1564469 w 4501379"/>
                  <a:gd name="connsiteY78" fmla="*/ 142875 h 4429294"/>
                  <a:gd name="connsiteX79" fmla="*/ 1697819 w 4501379"/>
                  <a:gd name="connsiteY79" fmla="*/ 123825 h 4429294"/>
                  <a:gd name="connsiteX80" fmla="*/ 1793069 w 4501379"/>
                  <a:gd name="connsiteY80" fmla="*/ 114300 h 4429294"/>
                  <a:gd name="connsiteX81" fmla="*/ 1840694 w 4501379"/>
                  <a:gd name="connsiteY81" fmla="*/ 104775 h 4429294"/>
                  <a:gd name="connsiteX82" fmla="*/ 1897844 w 4501379"/>
                  <a:gd name="connsiteY82" fmla="*/ 95250 h 4429294"/>
                  <a:gd name="connsiteX83" fmla="*/ 2012144 w 4501379"/>
                  <a:gd name="connsiteY83" fmla="*/ 66675 h 4429294"/>
                  <a:gd name="connsiteX84" fmla="*/ 2078819 w 4501379"/>
                  <a:gd name="connsiteY84" fmla="*/ 47625 h 4429294"/>
                  <a:gd name="connsiteX85" fmla="*/ 2145494 w 4501379"/>
                  <a:gd name="connsiteY85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250394 w 4501379"/>
                  <a:gd name="connsiteY5" fmla="*/ 238125 h 4429294"/>
                  <a:gd name="connsiteX6" fmla="*/ 3278969 w 4501379"/>
                  <a:gd name="connsiteY6" fmla="*/ 257175 h 4429294"/>
                  <a:gd name="connsiteX7" fmla="*/ 3307544 w 4501379"/>
                  <a:gd name="connsiteY7" fmla="*/ 266700 h 4429294"/>
                  <a:gd name="connsiteX8" fmla="*/ 3336119 w 4501379"/>
                  <a:gd name="connsiteY8" fmla="*/ 285750 h 4429294"/>
                  <a:gd name="connsiteX9" fmla="*/ 3402794 w 4501379"/>
                  <a:gd name="connsiteY9" fmla="*/ 323850 h 4429294"/>
                  <a:gd name="connsiteX10" fmla="*/ 3450419 w 4501379"/>
                  <a:gd name="connsiteY10" fmla="*/ 361950 h 4429294"/>
                  <a:gd name="connsiteX11" fmla="*/ 3498044 w 4501379"/>
                  <a:gd name="connsiteY11" fmla="*/ 390525 h 4429294"/>
                  <a:gd name="connsiteX12" fmla="*/ 3612344 w 4501379"/>
                  <a:gd name="connsiteY12" fmla="*/ 485775 h 4429294"/>
                  <a:gd name="connsiteX13" fmla="*/ 3726644 w 4501379"/>
                  <a:gd name="connsiteY13" fmla="*/ 542925 h 4429294"/>
                  <a:gd name="connsiteX14" fmla="*/ 3793319 w 4501379"/>
                  <a:gd name="connsiteY14" fmla="*/ 581025 h 4429294"/>
                  <a:gd name="connsiteX15" fmla="*/ 4009219 w 4501379"/>
                  <a:gd name="connsiteY15" fmla="*/ 819150 h 4429294"/>
                  <a:gd name="connsiteX16" fmla="*/ 4145744 w 4501379"/>
                  <a:gd name="connsiteY16" fmla="*/ 990600 h 4429294"/>
                  <a:gd name="connsiteX17" fmla="*/ 4231469 w 4501379"/>
                  <a:gd name="connsiteY17" fmla="*/ 1143000 h 4429294"/>
                  <a:gd name="connsiteX18" fmla="*/ 4288619 w 4501379"/>
                  <a:gd name="connsiteY18" fmla="*/ 1266825 h 4429294"/>
                  <a:gd name="connsiteX19" fmla="*/ 4326719 w 4501379"/>
                  <a:gd name="connsiteY19" fmla="*/ 1362075 h 4429294"/>
                  <a:gd name="connsiteX20" fmla="*/ 4374344 w 4501379"/>
                  <a:gd name="connsiteY20" fmla="*/ 1552575 h 4429294"/>
                  <a:gd name="connsiteX21" fmla="*/ 4412444 w 4501379"/>
                  <a:gd name="connsiteY21" fmla="*/ 1685925 h 4429294"/>
                  <a:gd name="connsiteX22" fmla="*/ 4501344 w 4501379"/>
                  <a:gd name="connsiteY22" fmla="*/ 2181225 h 4429294"/>
                  <a:gd name="connsiteX23" fmla="*/ 4428319 w 4501379"/>
                  <a:gd name="connsiteY23" fmla="*/ 2768600 h 4429294"/>
                  <a:gd name="connsiteX24" fmla="*/ 4364819 w 4501379"/>
                  <a:gd name="connsiteY24" fmla="*/ 2990850 h 4429294"/>
                  <a:gd name="connsiteX25" fmla="*/ 4260044 w 4501379"/>
                  <a:gd name="connsiteY25" fmla="*/ 3248025 h 4429294"/>
                  <a:gd name="connsiteX26" fmla="*/ 4164794 w 4501379"/>
                  <a:gd name="connsiteY26" fmla="*/ 3400425 h 4429294"/>
                  <a:gd name="connsiteX27" fmla="*/ 4040969 w 4501379"/>
                  <a:gd name="connsiteY27" fmla="*/ 3533775 h 4429294"/>
                  <a:gd name="connsiteX28" fmla="*/ 3936194 w 4501379"/>
                  <a:gd name="connsiteY28" fmla="*/ 3648075 h 4429294"/>
                  <a:gd name="connsiteX29" fmla="*/ 3640919 w 4501379"/>
                  <a:gd name="connsiteY29" fmla="*/ 3971925 h 4429294"/>
                  <a:gd name="connsiteX30" fmla="*/ 3498044 w 4501379"/>
                  <a:gd name="connsiteY30" fmla="*/ 4083050 h 4429294"/>
                  <a:gd name="connsiteX31" fmla="*/ 3202769 w 4501379"/>
                  <a:gd name="connsiteY31" fmla="*/ 4222750 h 4429294"/>
                  <a:gd name="connsiteX32" fmla="*/ 3050369 w 4501379"/>
                  <a:gd name="connsiteY32" fmla="*/ 4286250 h 4429294"/>
                  <a:gd name="connsiteX33" fmla="*/ 2917019 w 4501379"/>
                  <a:gd name="connsiteY33" fmla="*/ 4333875 h 4429294"/>
                  <a:gd name="connsiteX34" fmla="*/ 2793194 w 4501379"/>
                  <a:gd name="connsiteY34" fmla="*/ 4371975 h 4429294"/>
                  <a:gd name="connsiteX35" fmla="*/ 2561419 w 4501379"/>
                  <a:gd name="connsiteY35" fmla="*/ 4391025 h 4429294"/>
                  <a:gd name="connsiteX36" fmla="*/ 2107394 w 4501379"/>
                  <a:gd name="connsiteY36" fmla="*/ 4429125 h 4429294"/>
                  <a:gd name="connsiteX37" fmla="*/ 1916894 w 4501379"/>
                  <a:gd name="connsiteY37" fmla="*/ 4400550 h 4429294"/>
                  <a:gd name="connsiteX38" fmla="*/ 1554944 w 4501379"/>
                  <a:gd name="connsiteY38" fmla="*/ 4305300 h 4429294"/>
                  <a:gd name="connsiteX39" fmla="*/ 1313644 w 4501379"/>
                  <a:gd name="connsiteY39" fmla="*/ 4216400 h 4429294"/>
                  <a:gd name="connsiteX40" fmla="*/ 1145369 w 4501379"/>
                  <a:gd name="connsiteY40" fmla="*/ 4111625 h 4429294"/>
                  <a:gd name="connsiteX41" fmla="*/ 926294 w 4501379"/>
                  <a:gd name="connsiteY41" fmla="*/ 3968750 h 4429294"/>
                  <a:gd name="connsiteX42" fmla="*/ 592919 w 4501379"/>
                  <a:gd name="connsiteY42" fmla="*/ 3657600 h 4429294"/>
                  <a:gd name="connsiteX43" fmla="*/ 446869 w 4501379"/>
                  <a:gd name="connsiteY43" fmla="*/ 3470275 h 4429294"/>
                  <a:gd name="connsiteX44" fmla="*/ 316694 w 4501379"/>
                  <a:gd name="connsiteY44" fmla="*/ 3244850 h 4429294"/>
                  <a:gd name="connsiteX45" fmla="*/ 164294 w 4501379"/>
                  <a:gd name="connsiteY45" fmla="*/ 2892425 h 4429294"/>
                  <a:gd name="connsiteX46" fmla="*/ 56344 w 4501379"/>
                  <a:gd name="connsiteY46" fmla="*/ 2368550 h 4429294"/>
                  <a:gd name="connsiteX47" fmla="*/ 2369 w 4501379"/>
                  <a:gd name="connsiteY47" fmla="*/ 1905000 h 4429294"/>
                  <a:gd name="connsiteX48" fmla="*/ 11894 w 4501379"/>
                  <a:gd name="connsiteY48" fmla="*/ 1838325 h 4429294"/>
                  <a:gd name="connsiteX49" fmla="*/ 30944 w 4501379"/>
                  <a:gd name="connsiteY49" fmla="*/ 1781175 h 4429294"/>
                  <a:gd name="connsiteX50" fmla="*/ 40469 w 4501379"/>
                  <a:gd name="connsiteY50" fmla="*/ 1743075 h 4429294"/>
                  <a:gd name="connsiteX51" fmla="*/ 59519 w 4501379"/>
                  <a:gd name="connsiteY51" fmla="*/ 1685925 h 4429294"/>
                  <a:gd name="connsiteX52" fmla="*/ 69044 w 4501379"/>
                  <a:gd name="connsiteY52" fmla="*/ 1638300 h 4429294"/>
                  <a:gd name="connsiteX53" fmla="*/ 88094 w 4501379"/>
                  <a:gd name="connsiteY53" fmla="*/ 1590675 h 4429294"/>
                  <a:gd name="connsiteX54" fmla="*/ 116669 w 4501379"/>
                  <a:gd name="connsiteY54" fmla="*/ 1504950 h 4429294"/>
                  <a:gd name="connsiteX55" fmla="*/ 135719 w 4501379"/>
                  <a:gd name="connsiteY55" fmla="*/ 1419225 h 4429294"/>
                  <a:gd name="connsiteX56" fmla="*/ 211919 w 4501379"/>
                  <a:gd name="connsiteY56" fmla="*/ 1276350 h 4429294"/>
                  <a:gd name="connsiteX57" fmla="*/ 221444 w 4501379"/>
                  <a:gd name="connsiteY57" fmla="*/ 1247775 h 4429294"/>
                  <a:gd name="connsiteX58" fmla="*/ 250019 w 4501379"/>
                  <a:gd name="connsiteY58" fmla="*/ 1200150 h 4429294"/>
                  <a:gd name="connsiteX59" fmla="*/ 269069 w 4501379"/>
                  <a:gd name="connsiteY59" fmla="*/ 1152525 h 4429294"/>
                  <a:gd name="connsiteX60" fmla="*/ 297644 w 4501379"/>
                  <a:gd name="connsiteY60" fmla="*/ 1114425 h 4429294"/>
                  <a:gd name="connsiteX61" fmla="*/ 345269 w 4501379"/>
                  <a:gd name="connsiteY61" fmla="*/ 1038225 h 4429294"/>
                  <a:gd name="connsiteX62" fmla="*/ 364319 w 4501379"/>
                  <a:gd name="connsiteY62" fmla="*/ 1009650 h 4429294"/>
                  <a:gd name="connsiteX63" fmla="*/ 421469 w 4501379"/>
                  <a:gd name="connsiteY63" fmla="*/ 904875 h 4429294"/>
                  <a:gd name="connsiteX64" fmla="*/ 459569 w 4501379"/>
                  <a:gd name="connsiteY64" fmla="*/ 857250 h 4429294"/>
                  <a:gd name="connsiteX65" fmla="*/ 478619 w 4501379"/>
                  <a:gd name="connsiteY65" fmla="*/ 828675 h 4429294"/>
                  <a:gd name="connsiteX66" fmla="*/ 516719 w 4501379"/>
                  <a:gd name="connsiteY66" fmla="*/ 800100 h 4429294"/>
                  <a:gd name="connsiteX67" fmla="*/ 583394 w 4501379"/>
                  <a:gd name="connsiteY67" fmla="*/ 733425 h 4429294"/>
                  <a:gd name="connsiteX68" fmla="*/ 650069 w 4501379"/>
                  <a:gd name="connsiteY68" fmla="*/ 676275 h 4429294"/>
                  <a:gd name="connsiteX69" fmla="*/ 678644 w 4501379"/>
                  <a:gd name="connsiteY69" fmla="*/ 657225 h 4429294"/>
                  <a:gd name="connsiteX70" fmla="*/ 821519 w 4501379"/>
                  <a:gd name="connsiteY70" fmla="*/ 533400 h 4429294"/>
                  <a:gd name="connsiteX71" fmla="*/ 869144 w 4501379"/>
                  <a:gd name="connsiteY71" fmla="*/ 504825 h 4429294"/>
                  <a:gd name="connsiteX72" fmla="*/ 1148544 w 4501379"/>
                  <a:gd name="connsiteY72" fmla="*/ 311150 h 4429294"/>
                  <a:gd name="connsiteX73" fmla="*/ 1250144 w 4501379"/>
                  <a:gd name="connsiteY73" fmla="*/ 285750 h 4429294"/>
                  <a:gd name="connsiteX74" fmla="*/ 1393019 w 4501379"/>
                  <a:gd name="connsiteY74" fmla="*/ 190500 h 4429294"/>
                  <a:gd name="connsiteX75" fmla="*/ 1431119 w 4501379"/>
                  <a:gd name="connsiteY75" fmla="*/ 161925 h 4429294"/>
                  <a:gd name="connsiteX76" fmla="*/ 1507319 w 4501379"/>
                  <a:gd name="connsiteY76" fmla="*/ 152400 h 4429294"/>
                  <a:gd name="connsiteX77" fmla="*/ 1564469 w 4501379"/>
                  <a:gd name="connsiteY77" fmla="*/ 142875 h 4429294"/>
                  <a:gd name="connsiteX78" fmla="*/ 1697819 w 4501379"/>
                  <a:gd name="connsiteY78" fmla="*/ 123825 h 4429294"/>
                  <a:gd name="connsiteX79" fmla="*/ 1793069 w 4501379"/>
                  <a:gd name="connsiteY79" fmla="*/ 114300 h 4429294"/>
                  <a:gd name="connsiteX80" fmla="*/ 1840694 w 4501379"/>
                  <a:gd name="connsiteY80" fmla="*/ 104775 h 4429294"/>
                  <a:gd name="connsiteX81" fmla="*/ 1897844 w 4501379"/>
                  <a:gd name="connsiteY81" fmla="*/ 95250 h 4429294"/>
                  <a:gd name="connsiteX82" fmla="*/ 2012144 w 4501379"/>
                  <a:gd name="connsiteY82" fmla="*/ 66675 h 4429294"/>
                  <a:gd name="connsiteX83" fmla="*/ 2078819 w 4501379"/>
                  <a:gd name="connsiteY83" fmla="*/ 47625 h 4429294"/>
                  <a:gd name="connsiteX84" fmla="*/ 2145494 w 4501379"/>
                  <a:gd name="connsiteY84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250394 w 4501379"/>
                  <a:gd name="connsiteY5" fmla="*/ 238125 h 4429294"/>
                  <a:gd name="connsiteX6" fmla="*/ 3307544 w 4501379"/>
                  <a:gd name="connsiteY6" fmla="*/ 266700 h 4429294"/>
                  <a:gd name="connsiteX7" fmla="*/ 3336119 w 4501379"/>
                  <a:gd name="connsiteY7" fmla="*/ 285750 h 4429294"/>
                  <a:gd name="connsiteX8" fmla="*/ 3402794 w 4501379"/>
                  <a:gd name="connsiteY8" fmla="*/ 323850 h 4429294"/>
                  <a:gd name="connsiteX9" fmla="*/ 3450419 w 4501379"/>
                  <a:gd name="connsiteY9" fmla="*/ 361950 h 4429294"/>
                  <a:gd name="connsiteX10" fmla="*/ 3498044 w 4501379"/>
                  <a:gd name="connsiteY10" fmla="*/ 390525 h 4429294"/>
                  <a:gd name="connsiteX11" fmla="*/ 3612344 w 4501379"/>
                  <a:gd name="connsiteY11" fmla="*/ 485775 h 4429294"/>
                  <a:gd name="connsiteX12" fmla="*/ 3726644 w 4501379"/>
                  <a:gd name="connsiteY12" fmla="*/ 542925 h 4429294"/>
                  <a:gd name="connsiteX13" fmla="*/ 3793319 w 4501379"/>
                  <a:gd name="connsiteY13" fmla="*/ 581025 h 4429294"/>
                  <a:gd name="connsiteX14" fmla="*/ 4009219 w 4501379"/>
                  <a:gd name="connsiteY14" fmla="*/ 819150 h 4429294"/>
                  <a:gd name="connsiteX15" fmla="*/ 4145744 w 4501379"/>
                  <a:gd name="connsiteY15" fmla="*/ 990600 h 4429294"/>
                  <a:gd name="connsiteX16" fmla="*/ 4231469 w 4501379"/>
                  <a:gd name="connsiteY16" fmla="*/ 1143000 h 4429294"/>
                  <a:gd name="connsiteX17" fmla="*/ 4288619 w 4501379"/>
                  <a:gd name="connsiteY17" fmla="*/ 1266825 h 4429294"/>
                  <a:gd name="connsiteX18" fmla="*/ 4326719 w 4501379"/>
                  <a:gd name="connsiteY18" fmla="*/ 1362075 h 4429294"/>
                  <a:gd name="connsiteX19" fmla="*/ 4374344 w 4501379"/>
                  <a:gd name="connsiteY19" fmla="*/ 1552575 h 4429294"/>
                  <a:gd name="connsiteX20" fmla="*/ 4412444 w 4501379"/>
                  <a:gd name="connsiteY20" fmla="*/ 1685925 h 4429294"/>
                  <a:gd name="connsiteX21" fmla="*/ 4501344 w 4501379"/>
                  <a:gd name="connsiteY21" fmla="*/ 2181225 h 4429294"/>
                  <a:gd name="connsiteX22" fmla="*/ 4428319 w 4501379"/>
                  <a:gd name="connsiteY22" fmla="*/ 2768600 h 4429294"/>
                  <a:gd name="connsiteX23" fmla="*/ 4364819 w 4501379"/>
                  <a:gd name="connsiteY23" fmla="*/ 2990850 h 4429294"/>
                  <a:gd name="connsiteX24" fmla="*/ 4260044 w 4501379"/>
                  <a:gd name="connsiteY24" fmla="*/ 3248025 h 4429294"/>
                  <a:gd name="connsiteX25" fmla="*/ 4164794 w 4501379"/>
                  <a:gd name="connsiteY25" fmla="*/ 3400425 h 4429294"/>
                  <a:gd name="connsiteX26" fmla="*/ 4040969 w 4501379"/>
                  <a:gd name="connsiteY26" fmla="*/ 3533775 h 4429294"/>
                  <a:gd name="connsiteX27" fmla="*/ 3936194 w 4501379"/>
                  <a:gd name="connsiteY27" fmla="*/ 3648075 h 4429294"/>
                  <a:gd name="connsiteX28" fmla="*/ 3640919 w 4501379"/>
                  <a:gd name="connsiteY28" fmla="*/ 3971925 h 4429294"/>
                  <a:gd name="connsiteX29" fmla="*/ 3498044 w 4501379"/>
                  <a:gd name="connsiteY29" fmla="*/ 4083050 h 4429294"/>
                  <a:gd name="connsiteX30" fmla="*/ 3202769 w 4501379"/>
                  <a:gd name="connsiteY30" fmla="*/ 4222750 h 4429294"/>
                  <a:gd name="connsiteX31" fmla="*/ 3050369 w 4501379"/>
                  <a:gd name="connsiteY31" fmla="*/ 4286250 h 4429294"/>
                  <a:gd name="connsiteX32" fmla="*/ 2917019 w 4501379"/>
                  <a:gd name="connsiteY32" fmla="*/ 4333875 h 4429294"/>
                  <a:gd name="connsiteX33" fmla="*/ 2793194 w 4501379"/>
                  <a:gd name="connsiteY33" fmla="*/ 4371975 h 4429294"/>
                  <a:gd name="connsiteX34" fmla="*/ 2561419 w 4501379"/>
                  <a:gd name="connsiteY34" fmla="*/ 4391025 h 4429294"/>
                  <a:gd name="connsiteX35" fmla="*/ 2107394 w 4501379"/>
                  <a:gd name="connsiteY35" fmla="*/ 4429125 h 4429294"/>
                  <a:gd name="connsiteX36" fmla="*/ 1916894 w 4501379"/>
                  <a:gd name="connsiteY36" fmla="*/ 4400550 h 4429294"/>
                  <a:gd name="connsiteX37" fmla="*/ 1554944 w 4501379"/>
                  <a:gd name="connsiteY37" fmla="*/ 4305300 h 4429294"/>
                  <a:gd name="connsiteX38" fmla="*/ 1313644 w 4501379"/>
                  <a:gd name="connsiteY38" fmla="*/ 4216400 h 4429294"/>
                  <a:gd name="connsiteX39" fmla="*/ 1145369 w 4501379"/>
                  <a:gd name="connsiteY39" fmla="*/ 4111625 h 4429294"/>
                  <a:gd name="connsiteX40" fmla="*/ 926294 w 4501379"/>
                  <a:gd name="connsiteY40" fmla="*/ 3968750 h 4429294"/>
                  <a:gd name="connsiteX41" fmla="*/ 592919 w 4501379"/>
                  <a:gd name="connsiteY41" fmla="*/ 3657600 h 4429294"/>
                  <a:gd name="connsiteX42" fmla="*/ 446869 w 4501379"/>
                  <a:gd name="connsiteY42" fmla="*/ 3470275 h 4429294"/>
                  <a:gd name="connsiteX43" fmla="*/ 316694 w 4501379"/>
                  <a:gd name="connsiteY43" fmla="*/ 3244850 h 4429294"/>
                  <a:gd name="connsiteX44" fmla="*/ 164294 w 4501379"/>
                  <a:gd name="connsiteY44" fmla="*/ 2892425 h 4429294"/>
                  <a:gd name="connsiteX45" fmla="*/ 56344 w 4501379"/>
                  <a:gd name="connsiteY45" fmla="*/ 2368550 h 4429294"/>
                  <a:gd name="connsiteX46" fmla="*/ 2369 w 4501379"/>
                  <a:gd name="connsiteY46" fmla="*/ 1905000 h 4429294"/>
                  <a:gd name="connsiteX47" fmla="*/ 11894 w 4501379"/>
                  <a:gd name="connsiteY47" fmla="*/ 1838325 h 4429294"/>
                  <a:gd name="connsiteX48" fmla="*/ 30944 w 4501379"/>
                  <a:gd name="connsiteY48" fmla="*/ 1781175 h 4429294"/>
                  <a:gd name="connsiteX49" fmla="*/ 40469 w 4501379"/>
                  <a:gd name="connsiteY49" fmla="*/ 1743075 h 4429294"/>
                  <a:gd name="connsiteX50" fmla="*/ 59519 w 4501379"/>
                  <a:gd name="connsiteY50" fmla="*/ 1685925 h 4429294"/>
                  <a:gd name="connsiteX51" fmla="*/ 69044 w 4501379"/>
                  <a:gd name="connsiteY51" fmla="*/ 1638300 h 4429294"/>
                  <a:gd name="connsiteX52" fmla="*/ 88094 w 4501379"/>
                  <a:gd name="connsiteY52" fmla="*/ 1590675 h 4429294"/>
                  <a:gd name="connsiteX53" fmla="*/ 116669 w 4501379"/>
                  <a:gd name="connsiteY53" fmla="*/ 1504950 h 4429294"/>
                  <a:gd name="connsiteX54" fmla="*/ 135719 w 4501379"/>
                  <a:gd name="connsiteY54" fmla="*/ 1419225 h 4429294"/>
                  <a:gd name="connsiteX55" fmla="*/ 211919 w 4501379"/>
                  <a:gd name="connsiteY55" fmla="*/ 1276350 h 4429294"/>
                  <a:gd name="connsiteX56" fmla="*/ 221444 w 4501379"/>
                  <a:gd name="connsiteY56" fmla="*/ 1247775 h 4429294"/>
                  <a:gd name="connsiteX57" fmla="*/ 250019 w 4501379"/>
                  <a:gd name="connsiteY57" fmla="*/ 1200150 h 4429294"/>
                  <a:gd name="connsiteX58" fmla="*/ 269069 w 4501379"/>
                  <a:gd name="connsiteY58" fmla="*/ 1152525 h 4429294"/>
                  <a:gd name="connsiteX59" fmla="*/ 297644 w 4501379"/>
                  <a:gd name="connsiteY59" fmla="*/ 1114425 h 4429294"/>
                  <a:gd name="connsiteX60" fmla="*/ 345269 w 4501379"/>
                  <a:gd name="connsiteY60" fmla="*/ 1038225 h 4429294"/>
                  <a:gd name="connsiteX61" fmla="*/ 364319 w 4501379"/>
                  <a:gd name="connsiteY61" fmla="*/ 1009650 h 4429294"/>
                  <a:gd name="connsiteX62" fmla="*/ 421469 w 4501379"/>
                  <a:gd name="connsiteY62" fmla="*/ 904875 h 4429294"/>
                  <a:gd name="connsiteX63" fmla="*/ 459569 w 4501379"/>
                  <a:gd name="connsiteY63" fmla="*/ 857250 h 4429294"/>
                  <a:gd name="connsiteX64" fmla="*/ 478619 w 4501379"/>
                  <a:gd name="connsiteY64" fmla="*/ 828675 h 4429294"/>
                  <a:gd name="connsiteX65" fmla="*/ 516719 w 4501379"/>
                  <a:gd name="connsiteY65" fmla="*/ 800100 h 4429294"/>
                  <a:gd name="connsiteX66" fmla="*/ 583394 w 4501379"/>
                  <a:gd name="connsiteY66" fmla="*/ 733425 h 4429294"/>
                  <a:gd name="connsiteX67" fmla="*/ 650069 w 4501379"/>
                  <a:gd name="connsiteY67" fmla="*/ 676275 h 4429294"/>
                  <a:gd name="connsiteX68" fmla="*/ 678644 w 4501379"/>
                  <a:gd name="connsiteY68" fmla="*/ 657225 h 4429294"/>
                  <a:gd name="connsiteX69" fmla="*/ 821519 w 4501379"/>
                  <a:gd name="connsiteY69" fmla="*/ 533400 h 4429294"/>
                  <a:gd name="connsiteX70" fmla="*/ 869144 w 4501379"/>
                  <a:gd name="connsiteY70" fmla="*/ 504825 h 4429294"/>
                  <a:gd name="connsiteX71" fmla="*/ 1148544 w 4501379"/>
                  <a:gd name="connsiteY71" fmla="*/ 311150 h 4429294"/>
                  <a:gd name="connsiteX72" fmla="*/ 1250144 w 4501379"/>
                  <a:gd name="connsiteY72" fmla="*/ 285750 h 4429294"/>
                  <a:gd name="connsiteX73" fmla="*/ 1393019 w 4501379"/>
                  <a:gd name="connsiteY73" fmla="*/ 190500 h 4429294"/>
                  <a:gd name="connsiteX74" fmla="*/ 1431119 w 4501379"/>
                  <a:gd name="connsiteY74" fmla="*/ 161925 h 4429294"/>
                  <a:gd name="connsiteX75" fmla="*/ 1507319 w 4501379"/>
                  <a:gd name="connsiteY75" fmla="*/ 152400 h 4429294"/>
                  <a:gd name="connsiteX76" fmla="*/ 1564469 w 4501379"/>
                  <a:gd name="connsiteY76" fmla="*/ 142875 h 4429294"/>
                  <a:gd name="connsiteX77" fmla="*/ 1697819 w 4501379"/>
                  <a:gd name="connsiteY77" fmla="*/ 123825 h 4429294"/>
                  <a:gd name="connsiteX78" fmla="*/ 1793069 w 4501379"/>
                  <a:gd name="connsiteY78" fmla="*/ 114300 h 4429294"/>
                  <a:gd name="connsiteX79" fmla="*/ 1840694 w 4501379"/>
                  <a:gd name="connsiteY79" fmla="*/ 104775 h 4429294"/>
                  <a:gd name="connsiteX80" fmla="*/ 1897844 w 4501379"/>
                  <a:gd name="connsiteY80" fmla="*/ 95250 h 4429294"/>
                  <a:gd name="connsiteX81" fmla="*/ 2012144 w 4501379"/>
                  <a:gd name="connsiteY81" fmla="*/ 66675 h 4429294"/>
                  <a:gd name="connsiteX82" fmla="*/ 2078819 w 4501379"/>
                  <a:gd name="connsiteY82" fmla="*/ 47625 h 4429294"/>
                  <a:gd name="connsiteX83" fmla="*/ 2145494 w 4501379"/>
                  <a:gd name="connsiteY83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250394 w 4501379"/>
                  <a:gd name="connsiteY5" fmla="*/ 238125 h 4429294"/>
                  <a:gd name="connsiteX6" fmla="*/ 3307544 w 4501379"/>
                  <a:gd name="connsiteY6" fmla="*/ 266700 h 4429294"/>
                  <a:gd name="connsiteX7" fmla="*/ 3402794 w 4501379"/>
                  <a:gd name="connsiteY7" fmla="*/ 323850 h 4429294"/>
                  <a:gd name="connsiteX8" fmla="*/ 3450419 w 4501379"/>
                  <a:gd name="connsiteY8" fmla="*/ 361950 h 4429294"/>
                  <a:gd name="connsiteX9" fmla="*/ 3498044 w 4501379"/>
                  <a:gd name="connsiteY9" fmla="*/ 390525 h 4429294"/>
                  <a:gd name="connsiteX10" fmla="*/ 3612344 w 4501379"/>
                  <a:gd name="connsiteY10" fmla="*/ 485775 h 4429294"/>
                  <a:gd name="connsiteX11" fmla="*/ 3726644 w 4501379"/>
                  <a:gd name="connsiteY11" fmla="*/ 542925 h 4429294"/>
                  <a:gd name="connsiteX12" fmla="*/ 3793319 w 4501379"/>
                  <a:gd name="connsiteY12" fmla="*/ 581025 h 4429294"/>
                  <a:gd name="connsiteX13" fmla="*/ 4009219 w 4501379"/>
                  <a:gd name="connsiteY13" fmla="*/ 819150 h 4429294"/>
                  <a:gd name="connsiteX14" fmla="*/ 4145744 w 4501379"/>
                  <a:gd name="connsiteY14" fmla="*/ 990600 h 4429294"/>
                  <a:gd name="connsiteX15" fmla="*/ 4231469 w 4501379"/>
                  <a:gd name="connsiteY15" fmla="*/ 1143000 h 4429294"/>
                  <a:gd name="connsiteX16" fmla="*/ 4288619 w 4501379"/>
                  <a:gd name="connsiteY16" fmla="*/ 1266825 h 4429294"/>
                  <a:gd name="connsiteX17" fmla="*/ 4326719 w 4501379"/>
                  <a:gd name="connsiteY17" fmla="*/ 1362075 h 4429294"/>
                  <a:gd name="connsiteX18" fmla="*/ 4374344 w 4501379"/>
                  <a:gd name="connsiteY18" fmla="*/ 1552575 h 4429294"/>
                  <a:gd name="connsiteX19" fmla="*/ 4412444 w 4501379"/>
                  <a:gd name="connsiteY19" fmla="*/ 1685925 h 4429294"/>
                  <a:gd name="connsiteX20" fmla="*/ 4501344 w 4501379"/>
                  <a:gd name="connsiteY20" fmla="*/ 2181225 h 4429294"/>
                  <a:gd name="connsiteX21" fmla="*/ 4428319 w 4501379"/>
                  <a:gd name="connsiteY21" fmla="*/ 2768600 h 4429294"/>
                  <a:gd name="connsiteX22" fmla="*/ 4364819 w 4501379"/>
                  <a:gd name="connsiteY22" fmla="*/ 2990850 h 4429294"/>
                  <a:gd name="connsiteX23" fmla="*/ 4260044 w 4501379"/>
                  <a:gd name="connsiteY23" fmla="*/ 3248025 h 4429294"/>
                  <a:gd name="connsiteX24" fmla="*/ 4164794 w 4501379"/>
                  <a:gd name="connsiteY24" fmla="*/ 3400425 h 4429294"/>
                  <a:gd name="connsiteX25" fmla="*/ 4040969 w 4501379"/>
                  <a:gd name="connsiteY25" fmla="*/ 3533775 h 4429294"/>
                  <a:gd name="connsiteX26" fmla="*/ 3936194 w 4501379"/>
                  <a:gd name="connsiteY26" fmla="*/ 3648075 h 4429294"/>
                  <a:gd name="connsiteX27" fmla="*/ 3640919 w 4501379"/>
                  <a:gd name="connsiteY27" fmla="*/ 3971925 h 4429294"/>
                  <a:gd name="connsiteX28" fmla="*/ 3498044 w 4501379"/>
                  <a:gd name="connsiteY28" fmla="*/ 4083050 h 4429294"/>
                  <a:gd name="connsiteX29" fmla="*/ 3202769 w 4501379"/>
                  <a:gd name="connsiteY29" fmla="*/ 4222750 h 4429294"/>
                  <a:gd name="connsiteX30" fmla="*/ 3050369 w 4501379"/>
                  <a:gd name="connsiteY30" fmla="*/ 4286250 h 4429294"/>
                  <a:gd name="connsiteX31" fmla="*/ 2917019 w 4501379"/>
                  <a:gd name="connsiteY31" fmla="*/ 4333875 h 4429294"/>
                  <a:gd name="connsiteX32" fmla="*/ 2793194 w 4501379"/>
                  <a:gd name="connsiteY32" fmla="*/ 4371975 h 4429294"/>
                  <a:gd name="connsiteX33" fmla="*/ 2561419 w 4501379"/>
                  <a:gd name="connsiteY33" fmla="*/ 4391025 h 4429294"/>
                  <a:gd name="connsiteX34" fmla="*/ 2107394 w 4501379"/>
                  <a:gd name="connsiteY34" fmla="*/ 4429125 h 4429294"/>
                  <a:gd name="connsiteX35" fmla="*/ 1916894 w 4501379"/>
                  <a:gd name="connsiteY35" fmla="*/ 4400550 h 4429294"/>
                  <a:gd name="connsiteX36" fmla="*/ 1554944 w 4501379"/>
                  <a:gd name="connsiteY36" fmla="*/ 4305300 h 4429294"/>
                  <a:gd name="connsiteX37" fmla="*/ 1313644 w 4501379"/>
                  <a:gd name="connsiteY37" fmla="*/ 4216400 h 4429294"/>
                  <a:gd name="connsiteX38" fmla="*/ 1145369 w 4501379"/>
                  <a:gd name="connsiteY38" fmla="*/ 4111625 h 4429294"/>
                  <a:gd name="connsiteX39" fmla="*/ 926294 w 4501379"/>
                  <a:gd name="connsiteY39" fmla="*/ 3968750 h 4429294"/>
                  <a:gd name="connsiteX40" fmla="*/ 592919 w 4501379"/>
                  <a:gd name="connsiteY40" fmla="*/ 3657600 h 4429294"/>
                  <a:gd name="connsiteX41" fmla="*/ 446869 w 4501379"/>
                  <a:gd name="connsiteY41" fmla="*/ 3470275 h 4429294"/>
                  <a:gd name="connsiteX42" fmla="*/ 316694 w 4501379"/>
                  <a:gd name="connsiteY42" fmla="*/ 3244850 h 4429294"/>
                  <a:gd name="connsiteX43" fmla="*/ 164294 w 4501379"/>
                  <a:gd name="connsiteY43" fmla="*/ 2892425 h 4429294"/>
                  <a:gd name="connsiteX44" fmla="*/ 56344 w 4501379"/>
                  <a:gd name="connsiteY44" fmla="*/ 2368550 h 4429294"/>
                  <a:gd name="connsiteX45" fmla="*/ 2369 w 4501379"/>
                  <a:gd name="connsiteY45" fmla="*/ 1905000 h 4429294"/>
                  <a:gd name="connsiteX46" fmla="*/ 11894 w 4501379"/>
                  <a:gd name="connsiteY46" fmla="*/ 1838325 h 4429294"/>
                  <a:gd name="connsiteX47" fmla="*/ 30944 w 4501379"/>
                  <a:gd name="connsiteY47" fmla="*/ 1781175 h 4429294"/>
                  <a:gd name="connsiteX48" fmla="*/ 40469 w 4501379"/>
                  <a:gd name="connsiteY48" fmla="*/ 1743075 h 4429294"/>
                  <a:gd name="connsiteX49" fmla="*/ 59519 w 4501379"/>
                  <a:gd name="connsiteY49" fmla="*/ 1685925 h 4429294"/>
                  <a:gd name="connsiteX50" fmla="*/ 69044 w 4501379"/>
                  <a:gd name="connsiteY50" fmla="*/ 1638300 h 4429294"/>
                  <a:gd name="connsiteX51" fmla="*/ 88094 w 4501379"/>
                  <a:gd name="connsiteY51" fmla="*/ 1590675 h 4429294"/>
                  <a:gd name="connsiteX52" fmla="*/ 116669 w 4501379"/>
                  <a:gd name="connsiteY52" fmla="*/ 1504950 h 4429294"/>
                  <a:gd name="connsiteX53" fmla="*/ 135719 w 4501379"/>
                  <a:gd name="connsiteY53" fmla="*/ 1419225 h 4429294"/>
                  <a:gd name="connsiteX54" fmla="*/ 211919 w 4501379"/>
                  <a:gd name="connsiteY54" fmla="*/ 1276350 h 4429294"/>
                  <a:gd name="connsiteX55" fmla="*/ 221444 w 4501379"/>
                  <a:gd name="connsiteY55" fmla="*/ 1247775 h 4429294"/>
                  <a:gd name="connsiteX56" fmla="*/ 250019 w 4501379"/>
                  <a:gd name="connsiteY56" fmla="*/ 1200150 h 4429294"/>
                  <a:gd name="connsiteX57" fmla="*/ 269069 w 4501379"/>
                  <a:gd name="connsiteY57" fmla="*/ 1152525 h 4429294"/>
                  <a:gd name="connsiteX58" fmla="*/ 297644 w 4501379"/>
                  <a:gd name="connsiteY58" fmla="*/ 1114425 h 4429294"/>
                  <a:gd name="connsiteX59" fmla="*/ 345269 w 4501379"/>
                  <a:gd name="connsiteY59" fmla="*/ 1038225 h 4429294"/>
                  <a:gd name="connsiteX60" fmla="*/ 364319 w 4501379"/>
                  <a:gd name="connsiteY60" fmla="*/ 1009650 h 4429294"/>
                  <a:gd name="connsiteX61" fmla="*/ 421469 w 4501379"/>
                  <a:gd name="connsiteY61" fmla="*/ 904875 h 4429294"/>
                  <a:gd name="connsiteX62" fmla="*/ 459569 w 4501379"/>
                  <a:gd name="connsiteY62" fmla="*/ 857250 h 4429294"/>
                  <a:gd name="connsiteX63" fmla="*/ 478619 w 4501379"/>
                  <a:gd name="connsiteY63" fmla="*/ 828675 h 4429294"/>
                  <a:gd name="connsiteX64" fmla="*/ 516719 w 4501379"/>
                  <a:gd name="connsiteY64" fmla="*/ 800100 h 4429294"/>
                  <a:gd name="connsiteX65" fmla="*/ 583394 w 4501379"/>
                  <a:gd name="connsiteY65" fmla="*/ 733425 h 4429294"/>
                  <a:gd name="connsiteX66" fmla="*/ 650069 w 4501379"/>
                  <a:gd name="connsiteY66" fmla="*/ 676275 h 4429294"/>
                  <a:gd name="connsiteX67" fmla="*/ 678644 w 4501379"/>
                  <a:gd name="connsiteY67" fmla="*/ 657225 h 4429294"/>
                  <a:gd name="connsiteX68" fmla="*/ 821519 w 4501379"/>
                  <a:gd name="connsiteY68" fmla="*/ 533400 h 4429294"/>
                  <a:gd name="connsiteX69" fmla="*/ 869144 w 4501379"/>
                  <a:gd name="connsiteY69" fmla="*/ 504825 h 4429294"/>
                  <a:gd name="connsiteX70" fmla="*/ 1148544 w 4501379"/>
                  <a:gd name="connsiteY70" fmla="*/ 311150 h 4429294"/>
                  <a:gd name="connsiteX71" fmla="*/ 1250144 w 4501379"/>
                  <a:gd name="connsiteY71" fmla="*/ 285750 h 4429294"/>
                  <a:gd name="connsiteX72" fmla="*/ 1393019 w 4501379"/>
                  <a:gd name="connsiteY72" fmla="*/ 190500 h 4429294"/>
                  <a:gd name="connsiteX73" fmla="*/ 1431119 w 4501379"/>
                  <a:gd name="connsiteY73" fmla="*/ 161925 h 4429294"/>
                  <a:gd name="connsiteX74" fmla="*/ 1507319 w 4501379"/>
                  <a:gd name="connsiteY74" fmla="*/ 152400 h 4429294"/>
                  <a:gd name="connsiteX75" fmla="*/ 1564469 w 4501379"/>
                  <a:gd name="connsiteY75" fmla="*/ 142875 h 4429294"/>
                  <a:gd name="connsiteX76" fmla="*/ 1697819 w 4501379"/>
                  <a:gd name="connsiteY76" fmla="*/ 123825 h 4429294"/>
                  <a:gd name="connsiteX77" fmla="*/ 1793069 w 4501379"/>
                  <a:gd name="connsiteY77" fmla="*/ 114300 h 4429294"/>
                  <a:gd name="connsiteX78" fmla="*/ 1840694 w 4501379"/>
                  <a:gd name="connsiteY78" fmla="*/ 104775 h 4429294"/>
                  <a:gd name="connsiteX79" fmla="*/ 1897844 w 4501379"/>
                  <a:gd name="connsiteY79" fmla="*/ 95250 h 4429294"/>
                  <a:gd name="connsiteX80" fmla="*/ 2012144 w 4501379"/>
                  <a:gd name="connsiteY80" fmla="*/ 66675 h 4429294"/>
                  <a:gd name="connsiteX81" fmla="*/ 2078819 w 4501379"/>
                  <a:gd name="connsiteY81" fmla="*/ 47625 h 4429294"/>
                  <a:gd name="connsiteX82" fmla="*/ 2145494 w 4501379"/>
                  <a:gd name="connsiteY82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307544 w 4501379"/>
                  <a:gd name="connsiteY5" fmla="*/ 266700 h 4429294"/>
                  <a:gd name="connsiteX6" fmla="*/ 3402794 w 4501379"/>
                  <a:gd name="connsiteY6" fmla="*/ 323850 h 4429294"/>
                  <a:gd name="connsiteX7" fmla="*/ 3450419 w 4501379"/>
                  <a:gd name="connsiteY7" fmla="*/ 361950 h 4429294"/>
                  <a:gd name="connsiteX8" fmla="*/ 3498044 w 4501379"/>
                  <a:gd name="connsiteY8" fmla="*/ 390525 h 4429294"/>
                  <a:gd name="connsiteX9" fmla="*/ 3612344 w 4501379"/>
                  <a:gd name="connsiteY9" fmla="*/ 485775 h 4429294"/>
                  <a:gd name="connsiteX10" fmla="*/ 3726644 w 4501379"/>
                  <a:gd name="connsiteY10" fmla="*/ 542925 h 4429294"/>
                  <a:gd name="connsiteX11" fmla="*/ 3793319 w 4501379"/>
                  <a:gd name="connsiteY11" fmla="*/ 581025 h 4429294"/>
                  <a:gd name="connsiteX12" fmla="*/ 4009219 w 4501379"/>
                  <a:gd name="connsiteY12" fmla="*/ 819150 h 4429294"/>
                  <a:gd name="connsiteX13" fmla="*/ 4145744 w 4501379"/>
                  <a:gd name="connsiteY13" fmla="*/ 990600 h 4429294"/>
                  <a:gd name="connsiteX14" fmla="*/ 4231469 w 4501379"/>
                  <a:gd name="connsiteY14" fmla="*/ 1143000 h 4429294"/>
                  <a:gd name="connsiteX15" fmla="*/ 4288619 w 4501379"/>
                  <a:gd name="connsiteY15" fmla="*/ 1266825 h 4429294"/>
                  <a:gd name="connsiteX16" fmla="*/ 4326719 w 4501379"/>
                  <a:gd name="connsiteY16" fmla="*/ 1362075 h 4429294"/>
                  <a:gd name="connsiteX17" fmla="*/ 4374344 w 4501379"/>
                  <a:gd name="connsiteY17" fmla="*/ 1552575 h 4429294"/>
                  <a:gd name="connsiteX18" fmla="*/ 4412444 w 4501379"/>
                  <a:gd name="connsiteY18" fmla="*/ 1685925 h 4429294"/>
                  <a:gd name="connsiteX19" fmla="*/ 4501344 w 4501379"/>
                  <a:gd name="connsiteY19" fmla="*/ 2181225 h 4429294"/>
                  <a:gd name="connsiteX20" fmla="*/ 4428319 w 4501379"/>
                  <a:gd name="connsiteY20" fmla="*/ 2768600 h 4429294"/>
                  <a:gd name="connsiteX21" fmla="*/ 4364819 w 4501379"/>
                  <a:gd name="connsiteY21" fmla="*/ 2990850 h 4429294"/>
                  <a:gd name="connsiteX22" fmla="*/ 4260044 w 4501379"/>
                  <a:gd name="connsiteY22" fmla="*/ 3248025 h 4429294"/>
                  <a:gd name="connsiteX23" fmla="*/ 4164794 w 4501379"/>
                  <a:gd name="connsiteY23" fmla="*/ 3400425 h 4429294"/>
                  <a:gd name="connsiteX24" fmla="*/ 4040969 w 4501379"/>
                  <a:gd name="connsiteY24" fmla="*/ 3533775 h 4429294"/>
                  <a:gd name="connsiteX25" fmla="*/ 3936194 w 4501379"/>
                  <a:gd name="connsiteY25" fmla="*/ 3648075 h 4429294"/>
                  <a:gd name="connsiteX26" fmla="*/ 3640919 w 4501379"/>
                  <a:gd name="connsiteY26" fmla="*/ 3971925 h 4429294"/>
                  <a:gd name="connsiteX27" fmla="*/ 3498044 w 4501379"/>
                  <a:gd name="connsiteY27" fmla="*/ 4083050 h 4429294"/>
                  <a:gd name="connsiteX28" fmla="*/ 3202769 w 4501379"/>
                  <a:gd name="connsiteY28" fmla="*/ 4222750 h 4429294"/>
                  <a:gd name="connsiteX29" fmla="*/ 3050369 w 4501379"/>
                  <a:gd name="connsiteY29" fmla="*/ 4286250 h 4429294"/>
                  <a:gd name="connsiteX30" fmla="*/ 2917019 w 4501379"/>
                  <a:gd name="connsiteY30" fmla="*/ 4333875 h 4429294"/>
                  <a:gd name="connsiteX31" fmla="*/ 2793194 w 4501379"/>
                  <a:gd name="connsiteY31" fmla="*/ 4371975 h 4429294"/>
                  <a:gd name="connsiteX32" fmla="*/ 2561419 w 4501379"/>
                  <a:gd name="connsiteY32" fmla="*/ 4391025 h 4429294"/>
                  <a:gd name="connsiteX33" fmla="*/ 2107394 w 4501379"/>
                  <a:gd name="connsiteY33" fmla="*/ 4429125 h 4429294"/>
                  <a:gd name="connsiteX34" fmla="*/ 1916894 w 4501379"/>
                  <a:gd name="connsiteY34" fmla="*/ 4400550 h 4429294"/>
                  <a:gd name="connsiteX35" fmla="*/ 1554944 w 4501379"/>
                  <a:gd name="connsiteY35" fmla="*/ 4305300 h 4429294"/>
                  <a:gd name="connsiteX36" fmla="*/ 1313644 w 4501379"/>
                  <a:gd name="connsiteY36" fmla="*/ 4216400 h 4429294"/>
                  <a:gd name="connsiteX37" fmla="*/ 1145369 w 4501379"/>
                  <a:gd name="connsiteY37" fmla="*/ 4111625 h 4429294"/>
                  <a:gd name="connsiteX38" fmla="*/ 926294 w 4501379"/>
                  <a:gd name="connsiteY38" fmla="*/ 3968750 h 4429294"/>
                  <a:gd name="connsiteX39" fmla="*/ 592919 w 4501379"/>
                  <a:gd name="connsiteY39" fmla="*/ 3657600 h 4429294"/>
                  <a:gd name="connsiteX40" fmla="*/ 446869 w 4501379"/>
                  <a:gd name="connsiteY40" fmla="*/ 3470275 h 4429294"/>
                  <a:gd name="connsiteX41" fmla="*/ 316694 w 4501379"/>
                  <a:gd name="connsiteY41" fmla="*/ 3244850 h 4429294"/>
                  <a:gd name="connsiteX42" fmla="*/ 164294 w 4501379"/>
                  <a:gd name="connsiteY42" fmla="*/ 2892425 h 4429294"/>
                  <a:gd name="connsiteX43" fmla="*/ 56344 w 4501379"/>
                  <a:gd name="connsiteY43" fmla="*/ 2368550 h 4429294"/>
                  <a:gd name="connsiteX44" fmla="*/ 2369 w 4501379"/>
                  <a:gd name="connsiteY44" fmla="*/ 1905000 h 4429294"/>
                  <a:gd name="connsiteX45" fmla="*/ 11894 w 4501379"/>
                  <a:gd name="connsiteY45" fmla="*/ 1838325 h 4429294"/>
                  <a:gd name="connsiteX46" fmla="*/ 30944 w 4501379"/>
                  <a:gd name="connsiteY46" fmla="*/ 1781175 h 4429294"/>
                  <a:gd name="connsiteX47" fmla="*/ 40469 w 4501379"/>
                  <a:gd name="connsiteY47" fmla="*/ 1743075 h 4429294"/>
                  <a:gd name="connsiteX48" fmla="*/ 59519 w 4501379"/>
                  <a:gd name="connsiteY48" fmla="*/ 1685925 h 4429294"/>
                  <a:gd name="connsiteX49" fmla="*/ 69044 w 4501379"/>
                  <a:gd name="connsiteY49" fmla="*/ 1638300 h 4429294"/>
                  <a:gd name="connsiteX50" fmla="*/ 88094 w 4501379"/>
                  <a:gd name="connsiteY50" fmla="*/ 1590675 h 4429294"/>
                  <a:gd name="connsiteX51" fmla="*/ 116669 w 4501379"/>
                  <a:gd name="connsiteY51" fmla="*/ 1504950 h 4429294"/>
                  <a:gd name="connsiteX52" fmla="*/ 135719 w 4501379"/>
                  <a:gd name="connsiteY52" fmla="*/ 1419225 h 4429294"/>
                  <a:gd name="connsiteX53" fmla="*/ 211919 w 4501379"/>
                  <a:gd name="connsiteY53" fmla="*/ 1276350 h 4429294"/>
                  <a:gd name="connsiteX54" fmla="*/ 221444 w 4501379"/>
                  <a:gd name="connsiteY54" fmla="*/ 1247775 h 4429294"/>
                  <a:gd name="connsiteX55" fmla="*/ 250019 w 4501379"/>
                  <a:gd name="connsiteY55" fmla="*/ 1200150 h 4429294"/>
                  <a:gd name="connsiteX56" fmla="*/ 269069 w 4501379"/>
                  <a:gd name="connsiteY56" fmla="*/ 1152525 h 4429294"/>
                  <a:gd name="connsiteX57" fmla="*/ 297644 w 4501379"/>
                  <a:gd name="connsiteY57" fmla="*/ 1114425 h 4429294"/>
                  <a:gd name="connsiteX58" fmla="*/ 345269 w 4501379"/>
                  <a:gd name="connsiteY58" fmla="*/ 1038225 h 4429294"/>
                  <a:gd name="connsiteX59" fmla="*/ 364319 w 4501379"/>
                  <a:gd name="connsiteY59" fmla="*/ 1009650 h 4429294"/>
                  <a:gd name="connsiteX60" fmla="*/ 421469 w 4501379"/>
                  <a:gd name="connsiteY60" fmla="*/ 904875 h 4429294"/>
                  <a:gd name="connsiteX61" fmla="*/ 459569 w 4501379"/>
                  <a:gd name="connsiteY61" fmla="*/ 857250 h 4429294"/>
                  <a:gd name="connsiteX62" fmla="*/ 478619 w 4501379"/>
                  <a:gd name="connsiteY62" fmla="*/ 828675 h 4429294"/>
                  <a:gd name="connsiteX63" fmla="*/ 516719 w 4501379"/>
                  <a:gd name="connsiteY63" fmla="*/ 800100 h 4429294"/>
                  <a:gd name="connsiteX64" fmla="*/ 583394 w 4501379"/>
                  <a:gd name="connsiteY64" fmla="*/ 733425 h 4429294"/>
                  <a:gd name="connsiteX65" fmla="*/ 650069 w 4501379"/>
                  <a:gd name="connsiteY65" fmla="*/ 676275 h 4429294"/>
                  <a:gd name="connsiteX66" fmla="*/ 678644 w 4501379"/>
                  <a:gd name="connsiteY66" fmla="*/ 657225 h 4429294"/>
                  <a:gd name="connsiteX67" fmla="*/ 821519 w 4501379"/>
                  <a:gd name="connsiteY67" fmla="*/ 533400 h 4429294"/>
                  <a:gd name="connsiteX68" fmla="*/ 869144 w 4501379"/>
                  <a:gd name="connsiteY68" fmla="*/ 504825 h 4429294"/>
                  <a:gd name="connsiteX69" fmla="*/ 1148544 w 4501379"/>
                  <a:gd name="connsiteY69" fmla="*/ 311150 h 4429294"/>
                  <a:gd name="connsiteX70" fmla="*/ 1250144 w 4501379"/>
                  <a:gd name="connsiteY70" fmla="*/ 285750 h 4429294"/>
                  <a:gd name="connsiteX71" fmla="*/ 1393019 w 4501379"/>
                  <a:gd name="connsiteY71" fmla="*/ 190500 h 4429294"/>
                  <a:gd name="connsiteX72" fmla="*/ 1431119 w 4501379"/>
                  <a:gd name="connsiteY72" fmla="*/ 161925 h 4429294"/>
                  <a:gd name="connsiteX73" fmla="*/ 1507319 w 4501379"/>
                  <a:gd name="connsiteY73" fmla="*/ 152400 h 4429294"/>
                  <a:gd name="connsiteX74" fmla="*/ 1564469 w 4501379"/>
                  <a:gd name="connsiteY74" fmla="*/ 142875 h 4429294"/>
                  <a:gd name="connsiteX75" fmla="*/ 1697819 w 4501379"/>
                  <a:gd name="connsiteY75" fmla="*/ 123825 h 4429294"/>
                  <a:gd name="connsiteX76" fmla="*/ 1793069 w 4501379"/>
                  <a:gd name="connsiteY76" fmla="*/ 114300 h 4429294"/>
                  <a:gd name="connsiteX77" fmla="*/ 1840694 w 4501379"/>
                  <a:gd name="connsiteY77" fmla="*/ 104775 h 4429294"/>
                  <a:gd name="connsiteX78" fmla="*/ 1897844 w 4501379"/>
                  <a:gd name="connsiteY78" fmla="*/ 95250 h 4429294"/>
                  <a:gd name="connsiteX79" fmla="*/ 2012144 w 4501379"/>
                  <a:gd name="connsiteY79" fmla="*/ 66675 h 4429294"/>
                  <a:gd name="connsiteX80" fmla="*/ 2078819 w 4501379"/>
                  <a:gd name="connsiteY80" fmla="*/ 47625 h 4429294"/>
                  <a:gd name="connsiteX81" fmla="*/ 2145494 w 4501379"/>
                  <a:gd name="connsiteY81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450419 w 4501379"/>
                  <a:gd name="connsiteY6" fmla="*/ 361950 h 4429294"/>
                  <a:gd name="connsiteX7" fmla="*/ 3498044 w 4501379"/>
                  <a:gd name="connsiteY7" fmla="*/ 390525 h 4429294"/>
                  <a:gd name="connsiteX8" fmla="*/ 3612344 w 4501379"/>
                  <a:gd name="connsiteY8" fmla="*/ 485775 h 4429294"/>
                  <a:gd name="connsiteX9" fmla="*/ 3726644 w 4501379"/>
                  <a:gd name="connsiteY9" fmla="*/ 542925 h 4429294"/>
                  <a:gd name="connsiteX10" fmla="*/ 3793319 w 4501379"/>
                  <a:gd name="connsiteY10" fmla="*/ 581025 h 4429294"/>
                  <a:gd name="connsiteX11" fmla="*/ 4009219 w 4501379"/>
                  <a:gd name="connsiteY11" fmla="*/ 819150 h 4429294"/>
                  <a:gd name="connsiteX12" fmla="*/ 4145744 w 4501379"/>
                  <a:gd name="connsiteY12" fmla="*/ 990600 h 4429294"/>
                  <a:gd name="connsiteX13" fmla="*/ 4231469 w 4501379"/>
                  <a:gd name="connsiteY13" fmla="*/ 1143000 h 4429294"/>
                  <a:gd name="connsiteX14" fmla="*/ 4288619 w 4501379"/>
                  <a:gd name="connsiteY14" fmla="*/ 1266825 h 4429294"/>
                  <a:gd name="connsiteX15" fmla="*/ 4326719 w 4501379"/>
                  <a:gd name="connsiteY15" fmla="*/ 1362075 h 4429294"/>
                  <a:gd name="connsiteX16" fmla="*/ 4374344 w 4501379"/>
                  <a:gd name="connsiteY16" fmla="*/ 1552575 h 4429294"/>
                  <a:gd name="connsiteX17" fmla="*/ 4412444 w 4501379"/>
                  <a:gd name="connsiteY17" fmla="*/ 1685925 h 4429294"/>
                  <a:gd name="connsiteX18" fmla="*/ 4501344 w 4501379"/>
                  <a:gd name="connsiteY18" fmla="*/ 2181225 h 4429294"/>
                  <a:gd name="connsiteX19" fmla="*/ 4428319 w 4501379"/>
                  <a:gd name="connsiteY19" fmla="*/ 2768600 h 4429294"/>
                  <a:gd name="connsiteX20" fmla="*/ 4364819 w 4501379"/>
                  <a:gd name="connsiteY20" fmla="*/ 2990850 h 4429294"/>
                  <a:gd name="connsiteX21" fmla="*/ 4260044 w 4501379"/>
                  <a:gd name="connsiteY21" fmla="*/ 3248025 h 4429294"/>
                  <a:gd name="connsiteX22" fmla="*/ 4164794 w 4501379"/>
                  <a:gd name="connsiteY22" fmla="*/ 3400425 h 4429294"/>
                  <a:gd name="connsiteX23" fmla="*/ 4040969 w 4501379"/>
                  <a:gd name="connsiteY23" fmla="*/ 3533775 h 4429294"/>
                  <a:gd name="connsiteX24" fmla="*/ 3936194 w 4501379"/>
                  <a:gd name="connsiteY24" fmla="*/ 3648075 h 4429294"/>
                  <a:gd name="connsiteX25" fmla="*/ 3640919 w 4501379"/>
                  <a:gd name="connsiteY25" fmla="*/ 3971925 h 4429294"/>
                  <a:gd name="connsiteX26" fmla="*/ 3498044 w 4501379"/>
                  <a:gd name="connsiteY26" fmla="*/ 4083050 h 4429294"/>
                  <a:gd name="connsiteX27" fmla="*/ 3202769 w 4501379"/>
                  <a:gd name="connsiteY27" fmla="*/ 4222750 h 4429294"/>
                  <a:gd name="connsiteX28" fmla="*/ 3050369 w 4501379"/>
                  <a:gd name="connsiteY28" fmla="*/ 4286250 h 4429294"/>
                  <a:gd name="connsiteX29" fmla="*/ 2917019 w 4501379"/>
                  <a:gd name="connsiteY29" fmla="*/ 4333875 h 4429294"/>
                  <a:gd name="connsiteX30" fmla="*/ 2793194 w 4501379"/>
                  <a:gd name="connsiteY30" fmla="*/ 4371975 h 4429294"/>
                  <a:gd name="connsiteX31" fmla="*/ 2561419 w 4501379"/>
                  <a:gd name="connsiteY31" fmla="*/ 4391025 h 4429294"/>
                  <a:gd name="connsiteX32" fmla="*/ 2107394 w 4501379"/>
                  <a:gd name="connsiteY32" fmla="*/ 4429125 h 4429294"/>
                  <a:gd name="connsiteX33" fmla="*/ 1916894 w 4501379"/>
                  <a:gd name="connsiteY33" fmla="*/ 4400550 h 4429294"/>
                  <a:gd name="connsiteX34" fmla="*/ 1554944 w 4501379"/>
                  <a:gd name="connsiteY34" fmla="*/ 4305300 h 4429294"/>
                  <a:gd name="connsiteX35" fmla="*/ 1313644 w 4501379"/>
                  <a:gd name="connsiteY35" fmla="*/ 4216400 h 4429294"/>
                  <a:gd name="connsiteX36" fmla="*/ 1145369 w 4501379"/>
                  <a:gd name="connsiteY36" fmla="*/ 4111625 h 4429294"/>
                  <a:gd name="connsiteX37" fmla="*/ 926294 w 4501379"/>
                  <a:gd name="connsiteY37" fmla="*/ 3968750 h 4429294"/>
                  <a:gd name="connsiteX38" fmla="*/ 592919 w 4501379"/>
                  <a:gd name="connsiteY38" fmla="*/ 3657600 h 4429294"/>
                  <a:gd name="connsiteX39" fmla="*/ 446869 w 4501379"/>
                  <a:gd name="connsiteY39" fmla="*/ 3470275 h 4429294"/>
                  <a:gd name="connsiteX40" fmla="*/ 316694 w 4501379"/>
                  <a:gd name="connsiteY40" fmla="*/ 3244850 h 4429294"/>
                  <a:gd name="connsiteX41" fmla="*/ 164294 w 4501379"/>
                  <a:gd name="connsiteY41" fmla="*/ 2892425 h 4429294"/>
                  <a:gd name="connsiteX42" fmla="*/ 56344 w 4501379"/>
                  <a:gd name="connsiteY42" fmla="*/ 2368550 h 4429294"/>
                  <a:gd name="connsiteX43" fmla="*/ 2369 w 4501379"/>
                  <a:gd name="connsiteY43" fmla="*/ 1905000 h 4429294"/>
                  <a:gd name="connsiteX44" fmla="*/ 11894 w 4501379"/>
                  <a:gd name="connsiteY44" fmla="*/ 1838325 h 4429294"/>
                  <a:gd name="connsiteX45" fmla="*/ 30944 w 4501379"/>
                  <a:gd name="connsiteY45" fmla="*/ 1781175 h 4429294"/>
                  <a:gd name="connsiteX46" fmla="*/ 40469 w 4501379"/>
                  <a:gd name="connsiteY46" fmla="*/ 1743075 h 4429294"/>
                  <a:gd name="connsiteX47" fmla="*/ 59519 w 4501379"/>
                  <a:gd name="connsiteY47" fmla="*/ 1685925 h 4429294"/>
                  <a:gd name="connsiteX48" fmla="*/ 69044 w 4501379"/>
                  <a:gd name="connsiteY48" fmla="*/ 1638300 h 4429294"/>
                  <a:gd name="connsiteX49" fmla="*/ 88094 w 4501379"/>
                  <a:gd name="connsiteY49" fmla="*/ 1590675 h 4429294"/>
                  <a:gd name="connsiteX50" fmla="*/ 116669 w 4501379"/>
                  <a:gd name="connsiteY50" fmla="*/ 1504950 h 4429294"/>
                  <a:gd name="connsiteX51" fmla="*/ 135719 w 4501379"/>
                  <a:gd name="connsiteY51" fmla="*/ 1419225 h 4429294"/>
                  <a:gd name="connsiteX52" fmla="*/ 211919 w 4501379"/>
                  <a:gd name="connsiteY52" fmla="*/ 1276350 h 4429294"/>
                  <a:gd name="connsiteX53" fmla="*/ 221444 w 4501379"/>
                  <a:gd name="connsiteY53" fmla="*/ 1247775 h 4429294"/>
                  <a:gd name="connsiteX54" fmla="*/ 250019 w 4501379"/>
                  <a:gd name="connsiteY54" fmla="*/ 1200150 h 4429294"/>
                  <a:gd name="connsiteX55" fmla="*/ 269069 w 4501379"/>
                  <a:gd name="connsiteY55" fmla="*/ 1152525 h 4429294"/>
                  <a:gd name="connsiteX56" fmla="*/ 297644 w 4501379"/>
                  <a:gd name="connsiteY56" fmla="*/ 1114425 h 4429294"/>
                  <a:gd name="connsiteX57" fmla="*/ 345269 w 4501379"/>
                  <a:gd name="connsiteY57" fmla="*/ 1038225 h 4429294"/>
                  <a:gd name="connsiteX58" fmla="*/ 364319 w 4501379"/>
                  <a:gd name="connsiteY58" fmla="*/ 1009650 h 4429294"/>
                  <a:gd name="connsiteX59" fmla="*/ 421469 w 4501379"/>
                  <a:gd name="connsiteY59" fmla="*/ 904875 h 4429294"/>
                  <a:gd name="connsiteX60" fmla="*/ 459569 w 4501379"/>
                  <a:gd name="connsiteY60" fmla="*/ 857250 h 4429294"/>
                  <a:gd name="connsiteX61" fmla="*/ 478619 w 4501379"/>
                  <a:gd name="connsiteY61" fmla="*/ 828675 h 4429294"/>
                  <a:gd name="connsiteX62" fmla="*/ 516719 w 4501379"/>
                  <a:gd name="connsiteY62" fmla="*/ 800100 h 4429294"/>
                  <a:gd name="connsiteX63" fmla="*/ 583394 w 4501379"/>
                  <a:gd name="connsiteY63" fmla="*/ 733425 h 4429294"/>
                  <a:gd name="connsiteX64" fmla="*/ 650069 w 4501379"/>
                  <a:gd name="connsiteY64" fmla="*/ 676275 h 4429294"/>
                  <a:gd name="connsiteX65" fmla="*/ 678644 w 4501379"/>
                  <a:gd name="connsiteY65" fmla="*/ 657225 h 4429294"/>
                  <a:gd name="connsiteX66" fmla="*/ 821519 w 4501379"/>
                  <a:gd name="connsiteY66" fmla="*/ 533400 h 4429294"/>
                  <a:gd name="connsiteX67" fmla="*/ 869144 w 4501379"/>
                  <a:gd name="connsiteY67" fmla="*/ 504825 h 4429294"/>
                  <a:gd name="connsiteX68" fmla="*/ 1148544 w 4501379"/>
                  <a:gd name="connsiteY68" fmla="*/ 311150 h 4429294"/>
                  <a:gd name="connsiteX69" fmla="*/ 1250144 w 4501379"/>
                  <a:gd name="connsiteY69" fmla="*/ 285750 h 4429294"/>
                  <a:gd name="connsiteX70" fmla="*/ 1393019 w 4501379"/>
                  <a:gd name="connsiteY70" fmla="*/ 190500 h 4429294"/>
                  <a:gd name="connsiteX71" fmla="*/ 1431119 w 4501379"/>
                  <a:gd name="connsiteY71" fmla="*/ 161925 h 4429294"/>
                  <a:gd name="connsiteX72" fmla="*/ 1507319 w 4501379"/>
                  <a:gd name="connsiteY72" fmla="*/ 152400 h 4429294"/>
                  <a:gd name="connsiteX73" fmla="*/ 1564469 w 4501379"/>
                  <a:gd name="connsiteY73" fmla="*/ 142875 h 4429294"/>
                  <a:gd name="connsiteX74" fmla="*/ 1697819 w 4501379"/>
                  <a:gd name="connsiteY74" fmla="*/ 123825 h 4429294"/>
                  <a:gd name="connsiteX75" fmla="*/ 1793069 w 4501379"/>
                  <a:gd name="connsiteY75" fmla="*/ 114300 h 4429294"/>
                  <a:gd name="connsiteX76" fmla="*/ 1840694 w 4501379"/>
                  <a:gd name="connsiteY76" fmla="*/ 104775 h 4429294"/>
                  <a:gd name="connsiteX77" fmla="*/ 1897844 w 4501379"/>
                  <a:gd name="connsiteY77" fmla="*/ 95250 h 4429294"/>
                  <a:gd name="connsiteX78" fmla="*/ 2012144 w 4501379"/>
                  <a:gd name="connsiteY78" fmla="*/ 66675 h 4429294"/>
                  <a:gd name="connsiteX79" fmla="*/ 2078819 w 4501379"/>
                  <a:gd name="connsiteY79" fmla="*/ 47625 h 4429294"/>
                  <a:gd name="connsiteX80" fmla="*/ 2145494 w 4501379"/>
                  <a:gd name="connsiteY80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450419 w 4501379"/>
                  <a:gd name="connsiteY6" fmla="*/ 361950 h 4429294"/>
                  <a:gd name="connsiteX7" fmla="*/ 3612344 w 4501379"/>
                  <a:gd name="connsiteY7" fmla="*/ 485775 h 4429294"/>
                  <a:gd name="connsiteX8" fmla="*/ 3726644 w 4501379"/>
                  <a:gd name="connsiteY8" fmla="*/ 542925 h 4429294"/>
                  <a:gd name="connsiteX9" fmla="*/ 3793319 w 4501379"/>
                  <a:gd name="connsiteY9" fmla="*/ 581025 h 4429294"/>
                  <a:gd name="connsiteX10" fmla="*/ 4009219 w 4501379"/>
                  <a:gd name="connsiteY10" fmla="*/ 819150 h 4429294"/>
                  <a:gd name="connsiteX11" fmla="*/ 4145744 w 4501379"/>
                  <a:gd name="connsiteY11" fmla="*/ 990600 h 4429294"/>
                  <a:gd name="connsiteX12" fmla="*/ 4231469 w 4501379"/>
                  <a:gd name="connsiteY12" fmla="*/ 1143000 h 4429294"/>
                  <a:gd name="connsiteX13" fmla="*/ 4288619 w 4501379"/>
                  <a:gd name="connsiteY13" fmla="*/ 1266825 h 4429294"/>
                  <a:gd name="connsiteX14" fmla="*/ 4326719 w 4501379"/>
                  <a:gd name="connsiteY14" fmla="*/ 1362075 h 4429294"/>
                  <a:gd name="connsiteX15" fmla="*/ 4374344 w 4501379"/>
                  <a:gd name="connsiteY15" fmla="*/ 1552575 h 4429294"/>
                  <a:gd name="connsiteX16" fmla="*/ 4412444 w 4501379"/>
                  <a:gd name="connsiteY16" fmla="*/ 1685925 h 4429294"/>
                  <a:gd name="connsiteX17" fmla="*/ 4501344 w 4501379"/>
                  <a:gd name="connsiteY17" fmla="*/ 2181225 h 4429294"/>
                  <a:gd name="connsiteX18" fmla="*/ 4428319 w 4501379"/>
                  <a:gd name="connsiteY18" fmla="*/ 2768600 h 4429294"/>
                  <a:gd name="connsiteX19" fmla="*/ 4364819 w 4501379"/>
                  <a:gd name="connsiteY19" fmla="*/ 2990850 h 4429294"/>
                  <a:gd name="connsiteX20" fmla="*/ 4260044 w 4501379"/>
                  <a:gd name="connsiteY20" fmla="*/ 3248025 h 4429294"/>
                  <a:gd name="connsiteX21" fmla="*/ 4164794 w 4501379"/>
                  <a:gd name="connsiteY21" fmla="*/ 3400425 h 4429294"/>
                  <a:gd name="connsiteX22" fmla="*/ 4040969 w 4501379"/>
                  <a:gd name="connsiteY22" fmla="*/ 3533775 h 4429294"/>
                  <a:gd name="connsiteX23" fmla="*/ 3936194 w 4501379"/>
                  <a:gd name="connsiteY23" fmla="*/ 3648075 h 4429294"/>
                  <a:gd name="connsiteX24" fmla="*/ 3640919 w 4501379"/>
                  <a:gd name="connsiteY24" fmla="*/ 3971925 h 4429294"/>
                  <a:gd name="connsiteX25" fmla="*/ 3498044 w 4501379"/>
                  <a:gd name="connsiteY25" fmla="*/ 4083050 h 4429294"/>
                  <a:gd name="connsiteX26" fmla="*/ 3202769 w 4501379"/>
                  <a:gd name="connsiteY26" fmla="*/ 4222750 h 4429294"/>
                  <a:gd name="connsiteX27" fmla="*/ 3050369 w 4501379"/>
                  <a:gd name="connsiteY27" fmla="*/ 4286250 h 4429294"/>
                  <a:gd name="connsiteX28" fmla="*/ 2917019 w 4501379"/>
                  <a:gd name="connsiteY28" fmla="*/ 4333875 h 4429294"/>
                  <a:gd name="connsiteX29" fmla="*/ 2793194 w 4501379"/>
                  <a:gd name="connsiteY29" fmla="*/ 4371975 h 4429294"/>
                  <a:gd name="connsiteX30" fmla="*/ 2561419 w 4501379"/>
                  <a:gd name="connsiteY30" fmla="*/ 4391025 h 4429294"/>
                  <a:gd name="connsiteX31" fmla="*/ 2107394 w 4501379"/>
                  <a:gd name="connsiteY31" fmla="*/ 4429125 h 4429294"/>
                  <a:gd name="connsiteX32" fmla="*/ 1916894 w 4501379"/>
                  <a:gd name="connsiteY32" fmla="*/ 4400550 h 4429294"/>
                  <a:gd name="connsiteX33" fmla="*/ 1554944 w 4501379"/>
                  <a:gd name="connsiteY33" fmla="*/ 4305300 h 4429294"/>
                  <a:gd name="connsiteX34" fmla="*/ 1313644 w 4501379"/>
                  <a:gd name="connsiteY34" fmla="*/ 4216400 h 4429294"/>
                  <a:gd name="connsiteX35" fmla="*/ 1145369 w 4501379"/>
                  <a:gd name="connsiteY35" fmla="*/ 4111625 h 4429294"/>
                  <a:gd name="connsiteX36" fmla="*/ 926294 w 4501379"/>
                  <a:gd name="connsiteY36" fmla="*/ 3968750 h 4429294"/>
                  <a:gd name="connsiteX37" fmla="*/ 592919 w 4501379"/>
                  <a:gd name="connsiteY37" fmla="*/ 3657600 h 4429294"/>
                  <a:gd name="connsiteX38" fmla="*/ 446869 w 4501379"/>
                  <a:gd name="connsiteY38" fmla="*/ 3470275 h 4429294"/>
                  <a:gd name="connsiteX39" fmla="*/ 316694 w 4501379"/>
                  <a:gd name="connsiteY39" fmla="*/ 3244850 h 4429294"/>
                  <a:gd name="connsiteX40" fmla="*/ 164294 w 4501379"/>
                  <a:gd name="connsiteY40" fmla="*/ 2892425 h 4429294"/>
                  <a:gd name="connsiteX41" fmla="*/ 56344 w 4501379"/>
                  <a:gd name="connsiteY41" fmla="*/ 2368550 h 4429294"/>
                  <a:gd name="connsiteX42" fmla="*/ 2369 w 4501379"/>
                  <a:gd name="connsiteY42" fmla="*/ 1905000 h 4429294"/>
                  <a:gd name="connsiteX43" fmla="*/ 11894 w 4501379"/>
                  <a:gd name="connsiteY43" fmla="*/ 1838325 h 4429294"/>
                  <a:gd name="connsiteX44" fmla="*/ 30944 w 4501379"/>
                  <a:gd name="connsiteY44" fmla="*/ 1781175 h 4429294"/>
                  <a:gd name="connsiteX45" fmla="*/ 40469 w 4501379"/>
                  <a:gd name="connsiteY45" fmla="*/ 1743075 h 4429294"/>
                  <a:gd name="connsiteX46" fmla="*/ 59519 w 4501379"/>
                  <a:gd name="connsiteY46" fmla="*/ 1685925 h 4429294"/>
                  <a:gd name="connsiteX47" fmla="*/ 69044 w 4501379"/>
                  <a:gd name="connsiteY47" fmla="*/ 1638300 h 4429294"/>
                  <a:gd name="connsiteX48" fmla="*/ 88094 w 4501379"/>
                  <a:gd name="connsiteY48" fmla="*/ 1590675 h 4429294"/>
                  <a:gd name="connsiteX49" fmla="*/ 116669 w 4501379"/>
                  <a:gd name="connsiteY49" fmla="*/ 1504950 h 4429294"/>
                  <a:gd name="connsiteX50" fmla="*/ 135719 w 4501379"/>
                  <a:gd name="connsiteY50" fmla="*/ 1419225 h 4429294"/>
                  <a:gd name="connsiteX51" fmla="*/ 211919 w 4501379"/>
                  <a:gd name="connsiteY51" fmla="*/ 1276350 h 4429294"/>
                  <a:gd name="connsiteX52" fmla="*/ 221444 w 4501379"/>
                  <a:gd name="connsiteY52" fmla="*/ 1247775 h 4429294"/>
                  <a:gd name="connsiteX53" fmla="*/ 250019 w 4501379"/>
                  <a:gd name="connsiteY53" fmla="*/ 1200150 h 4429294"/>
                  <a:gd name="connsiteX54" fmla="*/ 269069 w 4501379"/>
                  <a:gd name="connsiteY54" fmla="*/ 1152525 h 4429294"/>
                  <a:gd name="connsiteX55" fmla="*/ 297644 w 4501379"/>
                  <a:gd name="connsiteY55" fmla="*/ 1114425 h 4429294"/>
                  <a:gd name="connsiteX56" fmla="*/ 345269 w 4501379"/>
                  <a:gd name="connsiteY56" fmla="*/ 1038225 h 4429294"/>
                  <a:gd name="connsiteX57" fmla="*/ 364319 w 4501379"/>
                  <a:gd name="connsiteY57" fmla="*/ 1009650 h 4429294"/>
                  <a:gd name="connsiteX58" fmla="*/ 421469 w 4501379"/>
                  <a:gd name="connsiteY58" fmla="*/ 904875 h 4429294"/>
                  <a:gd name="connsiteX59" fmla="*/ 459569 w 4501379"/>
                  <a:gd name="connsiteY59" fmla="*/ 857250 h 4429294"/>
                  <a:gd name="connsiteX60" fmla="*/ 478619 w 4501379"/>
                  <a:gd name="connsiteY60" fmla="*/ 828675 h 4429294"/>
                  <a:gd name="connsiteX61" fmla="*/ 516719 w 4501379"/>
                  <a:gd name="connsiteY61" fmla="*/ 800100 h 4429294"/>
                  <a:gd name="connsiteX62" fmla="*/ 583394 w 4501379"/>
                  <a:gd name="connsiteY62" fmla="*/ 733425 h 4429294"/>
                  <a:gd name="connsiteX63" fmla="*/ 650069 w 4501379"/>
                  <a:gd name="connsiteY63" fmla="*/ 676275 h 4429294"/>
                  <a:gd name="connsiteX64" fmla="*/ 678644 w 4501379"/>
                  <a:gd name="connsiteY64" fmla="*/ 657225 h 4429294"/>
                  <a:gd name="connsiteX65" fmla="*/ 821519 w 4501379"/>
                  <a:gd name="connsiteY65" fmla="*/ 533400 h 4429294"/>
                  <a:gd name="connsiteX66" fmla="*/ 869144 w 4501379"/>
                  <a:gd name="connsiteY66" fmla="*/ 504825 h 4429294"/>
                  <a:gd name="connsiteX67" fmla="*/ 1148544 w 4501379"/>
                  <a:gd name="connsiteY67" fmla="*/ 311150 h 4429294"/>
                  <a:gd name="connsiteX68" fmla="*/ 1250144 w 4501379"/>
                  <a:gd name="connsiteY68" fmla="*/ 285750 h 4429294"/>
                  <a:gd name="connsiteX69" fmla="*/ 1393019 w 4501379"/>
                  <a:gd name="connsiteY69" fmla="*/ 190500 h 4429294"/>
                  <a:gd name="connsiteX70" fmla="*/ 1431119 w 4501379"/>
                  <a:gd name="connsiteY70" fmla="*/ 161925 h 4429294"/>
                  <a:gd name="connsiteX71" fmla="*/ 1507319 w 4501379"/>
                  <a:gd name="connsiteY71" fmla="*/ 152400 h 4429294"/>
                  <a:gd name="connsiteX72" fmla="*/ 1564469 w 4501379"/>
                  <a:gd name="connsiteY72" fmla="*/ 142875 h 4429294"/>
                  <a:gd name="connsiteX73" fmla="*/ 1697819 w 4501379"/>
                  <a:gd name="connsiteY73" fmla="*/ 123825 h 4429294"/>
                  <a:gd name="connsiteX74" fmla="*/ 1793069 w 4501379"/>
                  <a:gd name="connsiteY74" fmla="*/ 114300 h 4429294"/>
                  <a:gd name="connsiteX75" fmla="*/ 1840694 w 4501379"/>
                  <a:gd name="connsiteY75" fmla="*/ 104775 h 4429294"/>
                  <a:gd name="connsiteX76" fmla="*/ 1897844 w 4501379"/>
                  <a:gd name="connsiteY76" fmla="*/ 95250 h 4429294"/>
                  <a:gd name="connsiteX77" fmla="*/ 2012144 w 4501379"/>
                  <a:gd name="connsiteY77" fmla="*/ 66675 h 4429294"/>
                  <a:gd name="connsiteX78" fmla="*/ 2078819 w 4501379"/>
                  <a:gd name="connsiteY78" fmla="*/ 47625 h 4429294"/>
                  <a:gd name="connsiteX79" fmla="*/ 2145494 w 4501379"/>
                  <a:gd name="connsiteY79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612344 w 4501379"/>
                  <a:gd name="connsiteY6" fmla="*/ 485775 h 4429294"/>
                  <a:gd name="connsiteX7" fmla="*/ 3726644 w 4501379"/>
                  <a:gd name="connsiteY7" fmla="*/ 542925 h 4429294"/>
                  <a:gd name="connsiteX8" fmla="*/ 3793319 w 4501379"/>
                  <a:gd name="connsiteY8" fmla="*/ 581025 h 4429294"/>
                  <a:gd name="connsiteX9" fmla="*/ 4009219 w 4501379"/>
                  <a:gd name="connsiteY9" fmla="*/ 819150 h 4429294"/>
                  <a:gd name="connsiteX10" fmla="*/ 4145744 w 4501379"/>
                  <a:gd name="connsiteY10" fmla="*/ 990600 h 4429294"/>
                  <a:gd name="connsiteX11" fmla="*/ 4231469 w 4501379"/>
                  <a:gd name="connsiteY11" fmla="*/ 1143000 h 4429294"/>
                  <a:gd name="connsiteX12" fmla="*/ 4288619 w 4501379"/>
                  <a:gd name="connsiteY12" fmla="*/ 1266825 h 4429294"/>
                  <a:gd name="connsiteX13" fmla="*/ 4326719 w 4501379"/>
                  <a:gd name="connsiteY13" fmla="*/ 1362075 h 4429294"/>
                  <a:gd name="connsiteX14" fmla="*/ 4374344 w 4501379"/>
                  <a:gd name="connsiteY14" fmla="*/ 1552575 h 4429294"/>
                  <a:gd name="connsiteX15" fmla="*/ 4412444 w 4501379"/>
                  <a:gd name="connsiteY15" fmla="*/ 1685925 h 4429294"/>
                  <a:gd name="connsiteX16" fmla="*/ 4501344 w 4501379"/>
                  <a:gd name="connsiteY16" fmla="*/ 2181225 h 4429294"/>
                  <a:gd name="connsiteX17" fmla="*/ 4428319 w 4501379"/>
                  <a:gd name="connsiteY17" fmla="*/ 2768600 h 4429294"/>
                  <a:gd name="connsiteX18" fmla="*/ 4364819 w 4501379"/>
                  <a:gd name="connsiteY18" fmla="*/ 2990850 h 4429294"/>
                  <a:gd name="connsiteX19" fmla="*/ 4260044 w 4501379"/>
                  <a:gd name="connsiteY19" fmla="*/ 3248025 h 4429294"/>
                  <a:gd name="connsiteX20" fmla="*/ 4164794 w 4501379"/>
                  <a:gd name="connsiteY20" fmla="*/ 3400425 h 4429294"/>
                  <a:gd name="connsiteX21" fmla="*/ 4040969 w 4501379"/>
                  <a:gd name="connsiteY21" fmla="*/ 3533775 h 4429294"/>
                  <a:gd name="connsiteX22" fmla="*/ 3936194 w 4501379"/>
                  <a:gd name="connsiteY22" fmla="*/ 3648075 h 4429294"/>
                  <a:gd name="connsiteX23" fmla="*/ 3640919 w 4501379"/>
                  <a:gd name="connsiteY23" fmla="*/ 3971925 h 4429294"/>
                  <a:gd name="connsiteX24" fmla="*/ 3498044 w 4501379"/>
                  <a:gd name="connsiteY24" fmla="*/ 4083050 h 4429294"/>
                  <a:gd name="connsiteX25" fmla="*/ 3202769 w 4501379"/>
                  <a:gd name="connsiteY25" fmla="*/ 4222750 h 4429294"/>
                  <a:gd name="connsiteX26" fmla="*/ 3050369 w 4501379"/>
                  <a:gd name="connsiteY26" fmla="*/ 4286250 h 4429294"/>
                  <a:gd name="connsiteX27" fmla="*/ 2917019 w 4501379"/>
                  <a:gd name="connsiteY27" fmla="*/ 4333875 h 4429294"/>
                  <a:gd name="connsiteX28" fmla="*/ 2793194 w 4501379"/>
                  <a:gd name="connsiteY28" fmla="*/ 4371975 h 4429294"/>
                  <a:gd name="connsiteX29" fmla="*/ 2561419 w 4501379"/>
                  <a:gd name="connsiteY29" fmla="*/ 4391025 h 4429294"/>
                  <a:gd name="connsiteX30" fmla="*/ 2107394 w 4501379"/>
                  <a:gd name="connsiteY30" fmla="*/ 4429125 h 4429294"/>
                  <a:gd name="connsiteX31" fmla="*/ 1916894 w 4501379"/>
                  <a:gd name="connsiteY31" fmla="*/ 4400550 h 4429294"/>
                  <a:gd name="connsiteX32" fmla="*/ 1554944 w 4501379"/>
                  <a:gd name="connsiteY32" fmla="*/ 4305300 h 4429294"/>
                  <a:gd name="connsiteX33" fmla="*/ 1313644 w 4501379"/>
                  <a:gd name="connsiteY33" fmla="*/ 4216400 h 4429294"/>
                  <a:gd name="connsiteX34" fmla="*/ 1145369 w 4501379"/>
                  <a:gd name="connsiteY34" fmla="*/ 4111625 h 4429294"/>
                  <a:gd name="connsiteX35" fmla="*/ 926294 w 4501379"/>
                  <a:gd name="connsiteY35" fmla="*/ 3968750 h 4429294"/>
                  <a:gd name="connsiteX36" fmla="*/ 592919 w 4501379"/>
                  <a:gd name="connsiteY36" fmla="*/ 3657600 h 4429294"/>
                  <a:gd name="connsiteX37" fmla="*/ 446869 w 4501379"/>
                  <a:gd name="connsiteY37" fmla="*/ 3470275 h 4429294"/>
                  <a:gd name="connsiteX38" fmla="*/ 316694 w 4501379"/>
                  <a:gd name="connsiteY38" fmla="*/ 3244850 h 4429294"/>
                  <a:gd name="connsiteX39" fmla="*/ 164294 w 4501379"/>
                  <a:gd name="connsiteY39" fmla="*/ 2892425 h 4429294"/>
                  <a:gd name="connsiteX40" fmla="*/ 56344 w 4501379"/>
                  <a:gd name="connsiteY40" fmla="*/ 2368550 h 4429294"/>
                  <a:gd name="connsiteX41" fmla="*/ 2369 w 4501379"/>
                  <a:gd name="connsiteY41" fmla="*/ 1905000 h 4429294"/>
                  <a:gd name="connsiteX42" fmla="*/ 11894 w 4501379"/>
                  <a:gd name="connsiteY42" fmla="*/ 1838325 h 4429294"/>
                  <a:gd name="connsiteX43" fmla="*/ 30944 w 4501379"/>
                  <a:gd name="connsiteY43" fmla="*/ 1781175 h 4429294"/>
                  <a:gd name="connsiteX44" fmla="*/ 40469 w 4501379"/>
                  <a:gd name="connsiteY44" fmla="*/ 1743075 h 4429294"/>
                  <a:gd name="connsiteX45" fmla="*/ 59519 w 4501379"/>
                  <a:gd name="connsiteY45" fmla="*/ 1685925 h 4429294"/>
                  <a:gd name="connsiteX46" fmla="*/ 69044 w 4501379"/>
                  <a:gd name="connsiteY46" fmla="*/ 1638300 h 4429294"/>
                  <a:gd name="connsiteX47" fmla="*/ 88094 w 4501379"/>
                  <a:gd name="connsiteY47" fmla="*/ 1590675 h 4429294"/>
                  <a:gd name="connsiteX48" fmla="*/ 116669 w 4501379"/>
                  <a:gd name="connsiteY48" fmla="*/ 1504950 h 4429294"/>
                  <a:gd name="connsiteX49" fmla="*/ 135719 w 4501379"/>
                  <a:gd name="connsiteY49" fmla="*/ 1419225 h 4429294"/>
                  <a:gd name="connsiteX50" fmla="*/ 211919 w 4501379"/>
                  <a:gd name="connsiteY50" fmla="*/ 1276350 h 4429294"/>
                  <a:gd name="connsiteX51" fmla="*/ 221444 w 4501379"/>
                  <a:gd name="connsiteY51" fmla="*/ 1247775 h 4429294"/>
                  <a:gd name="connsiteX52" fmla="*/ 250019 w 4501379"/>
                  <a:gd name="connsiteY52" fmla="*/ 1200150 h 4429294"/>
                  <a:gd name="connsiteX53" fmla="*/ 269069 w 4501379"/>
                  <a:gd name="connsiteY53" fmla="*/ 1152525 h 4429294"/>
                  <a:gd name="connsiteX54" fmla="*/ 297644 w 4501379"/>
                  <a:gd name="connsiteY54" fmla="*/ 1114425 h 4429294"/>
                  <a:gd name="connsiteX55" fmla="*/ 345269 w 4501379"/>
                  <a:gd name="connsiteY55" fmla="*/ 1038225 h 4429294"/>
                  <a:gd name="connsiteX56" fmla="*/ 364319 w 4501379"/>
                  <a:gd name="connsiteY56" fmla="*/ 1009650 h 4429294"/>
                  <a:gd name="connsiteX57" fmla="*/ 421469 w 4501379"/>
                  <a:gd name="connsiteY57" fmla="*/ 904875 h 4429294"/>
                  <a:gd name="connsiteX58" fmla="*/ 459569 w 4501379"/>
                  <a:gd name="connsiteY58" fmla="*/ 857250 h 4429294"/>
                  <a:gd name="connsiteX59" fmla="*/ 478619 w 4501379"/>
                  <a:gd name="connsiteY59" fmla="*/ 828675 h 4429294"/>
                  <a:gd name="connsiteX60" fmla="*/ 516719 w 4501379"/>
                  <a:gd name="connsiteY60" fmla="*/ 800100 h 4429294"/>
                  <a:gd name="connsiteX61" fmla="*/ 583394 w 4501379"/>
                  <a:gd name="connsiteY61" fmla="*/ 733425 h 4429294"/>
                  <a:gd name="connsiteX62" fmla="*/ 650069 w 4501379"/>
                  <a:gd name="connsiteY62" fmla="*/ 676275 h 4429294"/>
                  <a:gd name="connsiteX63" fmla="*/ 678644 w 4501379"/>
                  <a:gd name="connsiteY63" fmla="*/ 657225 h 4429294"/>
                  <a:gd name="connsiteX64" fmla="*/ 821519 w 4501379"/>
                  <a:gd name="connsiteY64" fmla="*/ 533400 h 4429294"/>
                  <a:gd name="connsiteX65" fmla="*/ 869144 w 4501379"/>
                  <a:gd name="connsiteY65" fmla="*/ 504825 h 4429294"/>
                  <a:gd name="connsiteX66" fmla="*/ 1148544 w 4501379"/>
                  <a:gd name="connsiteY66" fmla="*/ 311150 h 4429294"/>
                  <a:gd name="connsiteX67" fmla="*/ 1250144 w 4501379"/>
                  <a:gd name="connsiteY67" fmla="*/ 285750 h 4429294"/>
                  <a:gd name="connsiteX68" fmla="*/ 1393019 w 4501379"/>
                  <a:gd name="connsiteY68" fmla="*/ 190500 h 4429294"/>
                  <a:gd name="connsiteX69" fmla="*/ 1431119 w 4501379"/>
                  <a:gd name="connsiteY69" fmla="*/ 161925 h 4429294"/>
                  <a:gd name="connsiteX70" fmla="*/ 1507319 w 4501379"/>
                  <a:gd name="connsiteY70" fmla="*/ 152400 h 4429294"/>
                  <a:gd name="connsiteX71" fmla="*/ 1564469 w 4501379"/>
                  <a:gd name="connsiteY71" fmla="*/ 142875 h 4429294"/>
                  <a:gd name="connsiteX72" fmla="*/ 1697819 w 4501379"/>
                  <a:gd name="connsiteY72" fmla="*/ 123825 h 4429294"/>
                  <a:gd name="connsiteX73" fmla="*/ 1793069 w 4501379"/>
                  <a:gd name="connsiteY73" fmla="*/ 114300 h 4429294"/>
                  <a:gd name="connsiteX74" fmla="*/ 1840694 w 4501379"/>
                  <a:gd name="connsiteY74" fmla="*/ 104775 h 4429294"/>
                  <a:gd name="connsiteX75" fmla="*/ 1897844 w 4501379"/>
                  <a:gd name="connsiteY75" fmla="*/ 95250 h 4429294"/>
                  <a:gd name="connsiteX76" fmla="*/ 2012144 w 4501379"/>
                  <a:gd name="connsiteY76" fmla="*/ 66675 h 4429294"/>
                  <a:gd name="connsiteX77" fmla="*/ 2078819 w 4501379"/>
                  <a:gd name="connsiteY77" fmla="*/ 47625 h 4429294"/>
                  <a:gd name="connsiteX78" fmla="*/ 2145494 w 4501379"/>
                  <a:gd name="connsiteY7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612344 w 4501379"/>
                  <a:gd name="connsiteY6" fmla="*/ 485775 h 4429294"/>
                  <a:gd name="connsiteX7" fmla="*/ 3793319 w 4501379"/>
                  <a:gd name="connsiteY7" fmla="*/ 581025 h 4429294"/>
                  <a:gd name="connsiteX8" fmla="*/ 4009219 w 4501379"/>
                  <a:gd name="connsiteY8" fmla="*/ 819150 h 4429294"/>
                  <a:gd name="connsiteX9" fmla="*/ 4145744 w 4501379"/>
                  <a:gd name="connsiteY9" fmla="*/ 990600 h 4429294"/>
                  <a:gd name="connsiteX10" fmla="*/ 4231469 w 4501379"/>
                  <a:gd name="connsiteY10" fmla="*/ 1143000 h 4429294"/>
                  <a:gd name="connsiteX11" fmla="*/ 4288619 w 4501379"/>
                  <a:gd name="connsiteY11" fmla="*/ 1266825 h 4429294"/>
                  <a:gd name="connsiteX12" fmla="*/ 4326719 w 4501379"/>
                  <a:gd name="connsiteY12" fmla="*/ 1362075 h 4429294"/>
                  <a:gd name="connsiteX13" fmla="*/ 4374344 w 4501379"/>
                  <a:gd name="connsiteY13" fmla="*/ 1552575 h 4429294"/>
                  <a:gd name="connsiteX14" fmla="*/ 4412444 w 4501379"/>
                  <a:gd name="connsiteY14" fmla="*/ 1685925 h 4429294"/>
                  <a:gd name="connsiteX15" fmla="*/ 4501344 w 4501379"/>
                  <a:gd name="connsiteY15" fmla="*/ 2181225 h 4429294"/>
                  <a:gd name="connsiteX16" fmla="*/ 4428319 w 4501379"/>
                  <a:gd name="connsiteY16" fmla="*/ 2768600 h 4429294"/>
                  <a:gd name="connsiteX17" fmla="*/ 4364819 w 4501379"/>
                  <a:gd name="connsiteY17" fmla="*/ 2990850 h 4429294"/>
                  <a:gd name="connsiteX18" fmla="*/ 4260044 w 4501379"/>
                  <a:gd name="connsiteY18" fmla="*/ 3248025 h 4429294"/>
                  <a:gd name="connsiteX19" fmla="*/ 4164794 w 4501379"/>
                  <a:gd name="connsiteY19" fmla="*/ 3400425 h 4429294"/>
                  <a:gd name="connsiteX20" fmla="*/ 4040969 w 4501379"/>
                  <a:gd name="connsiteY20" fmla="*/ 3533775 h 4429294"/>
                  <a:gd name="connsiteX21" fmla="*/ 3936194 w 4501379"/>
                  <a:gd name="connsiteY21" fmla="*/ 3648075 h 4429294"/>
                  <a:gd name="connsiteX22" fmla="*/ 3640919 w 4501379"/>
                  <a:gd name="connsiteY22" fmla="*/ 3971925 h 4429294"/>
                  <a:gd name="connsiteX23" fmla="*/ 3498044 w 4501379"/>
                  <a:gd name="connsiteY23" fmla="*/ 4083050 h 4429294"/>
                  <a:gd name="connsiteX24" fmla="*/ 3202769 w 4501379"/>
                  <a:gd name="connsiteY24" fmla="*/ 4222750 h 4429294"/>
                  <a:gd name="connsiteX25" fmla="*/ 3050369 w 4501379"/>
                  <a:gd name="connsiteY25" fmla="*/ 4286250 h 4429294"/>
                  <a:gd name="connsiteX26" fmla="*/ 2917019 w 4501379"/>
                  <a:gd name="connsiteY26" fmla="*/ 4333875 h 4429294"/>
                  <a:gd name="connsiteX27" fmla="*/ 2793194 w 4501379"/>
                  <a:gd name="connsiteY27" fmla="*/ 4371975 h 4429294"/>
                  <a:gd name="connsiteX28" fmla="*/ 2561419 w 4501379"/>
                  <a:gd name="connsiteY28" fmla="*/ 4391025 h 4429294"/>
                  <a:gd name="connsiteX29" fmla="*/ 2107394 w 4501379"/>
                  <a:gd name="connsiteY29" fmla="*/ 4429125 h 4429294"/>
                  <a:gd name="connsiteX30" fmla="*/ 1916894 w 4501379"/>
                  <a:gd name="connsiteY30" fmla="*/ 4400550 h 4429294"/>
                  <a:gd name="connsiteX31" fmla="*/ 1554944 w 4501379"/>
                  <a:gd name="connsiteY31" fmla="*/ 4305300 h 4429294"/>
                  <a:gd name="connsiteX32" fmla="*/ 1313644 w 4501379"/>
                  <a:gd name="connsiteY32" fmla="*/ 4216400 h 4429294"/>
                  <a:gd name="connsiteX33" fmla="*/ 1145369 w 4501379"/>
                  <a:gd name="connsiteY33" fmla="*/ 4111625 h 4429294"/>
                  <a:gd name="connsiteX34" fmla="*/ 926294 w 4501379"/>
                  <a:gd name="connsiteY34" fmla="*/ 3968750 h 4429294"/>
                  <a:gd name="connsiteX35" fmla="*/ 592919 w 4501379"/>
                  <a:gd name="connsiteY35" fmla="*/ 3657600 h 4429294"/>
                  <a:gd name="connsiteX36" fmla="*/ 446869 w 4501379"/>
                  <a:gd name="connsiteY36" fmla="*/ 3470275 h 4429294"/>
                  <a:gd name="connsiteX37" fmla="*/ 316694 w 4501379"/>
                  <a:gd name="connsiteY37" fmla="*/ 3244850 h 4429294"/>
                  <a:gd name="connsiteX38" fmla="*/ 164294 w 4501379"/>
                  <a:gd name="connsiteY38" fmla="*/ 2892425 h 4429294"/>
                  <a:gd name="connsiteX39" fmla="*/ 56344 w 4501379"/>
                  <a:gd name="connsiteY39" fmla="*/ 2368550 h 4429294"/>
                  <a:gd name="connsiteX40" fmla="*/ 2369 w 4501379"/>
                  <a:gd name="connsiteY40" fmla="*/ 1905000 h 4429294"/>
                  <a:gd name="connsiteX41" fmla="*/ 11894 w 4501379"/>
                  <a:gd name="connsiteY41" fmla="*/ 1838325 h 4429294"/>
                  <a:gd name="connsiteX42" fmla="*/ 30944 w 4501379"/>
                  <a:gd name="connsiteY42" fmla="*/ 1781175 h 4429294"/>
                  <a:gd name="connsiteX43" fmla="*/ 40469 w 4501379"/>
                  <a:gd name="connsiteY43" fmla="*/ 1743075 h 4429294"/>
                  <a:gd name="connsiteX44" fmla="*/ 59519 w 4501379"/>
                  <a:gd name="connsiteY44" fmla="*/ 1685925 h 4429294"/>
                  <a:gd name="connsiteX45" fmla="*/ 69044 w 4501379"/>
                  <a:gd name="connsiteY45" fmla="*/ 1638300 h 4429294"/>
                  <a:gd name="connsiteX46" fmla="*/ 88094 w 4501379"/>
                  <a:gd name="connsiteY46" fmla="*/ 1590675 h 4429294"/>
                  <a:gd name="connsiteX47" fmla="*/ 116669 w 4501379"/>
                  <a:gd name="connsiteY47" fmla="*/ 1504950 h 4429294"/>
                  <a:gd name="connsiteX48" fmla="*/ 135719 w 4501379"/>
                  <a:gd name="connsiteY48" fmla="*/ 1419225 h 4429294"/>
                  <a:gd name="connsiteX49" fmla="*/ 211919 w 4501379"/>
                  <a:gd name="connsiteY49" fmla="*/ 1276350 h 4429294"/>
                  <a:gd name="connsiteX50" fmla="*/ 221444 w 4501379"/>
                  <a:gd name="connsiteY50" fmla="*/ 1247775 h 4429294"/>
                  <a:gd name="connsiteX51" fmla="*/ 250019 w 4501379"/>
                  <a:gd name="connsiteY51" fmla="*/ 1200150 h 4429294"/>
                  <a:gd name="connsiteX52" fmla="*/ 269069 w 4501379"/>
                  <a:gd name="connsiteY52" fmla="*/ 1152525 h 4429294"/>
                  <a:gd name="connsiteX53" fmla="*/ 297644 w 4501379"/>
                  <a:gd name="connsiteY53" fmla="*/ 1114425 h 4429294"/>
                  <a:gd name="connsiteX54" fmla="*/ 345269 w 4501379"/>
                  <a:gd name="connsiteY54" fmla="*/ 1038225 h 4429294"/>
                  <a:gd name="connsiteX55" fmla="*/ 364319 w 4501379"/>
                  <a:gd name="connsiteY55" fmla="*/ 1009650 h 4429294"/>
                  <a:gd name="connsiteX56" fmla="*/ 421469 w 4501379"/>
                  <a:gd name="connsiteY56" fmla="*/ 904875 h 4429294"/>
                  <a:gd name="connsiteX57" fmla="*/ 459569 w 4501379"/>
                  <a:gd name="connsiteY57" fmla="*/ 857250 h 4429294"/>
                  <a:gd name="connsiteX58" fmla="*/ 478619 w 4501379"/>
                  <a:gd name="connsiteY58" fmla="*/ 828675 h 4429294"/>
                  <a:gd name="connsiteX59" fmla="*/ 516719 w 4501379"/>
                  <a:gd name="connsiteY59" fmla="*/ 800100 h 4429294"/>
                  <a:gd name="connsiteX60" fmla="*/ 583394 w 4501379"/>
                  <a:gd name="connsiteY60" fmla="*/ 733425 h 4429294"/>
                  <a:gd name="connsiteX61" fmla="*/ 650069 w 4501379"/>
                  <a:gd name="connsiteY61" fmla="*/ 676275 h 4429294"/>
                  <a:gd name="connsiteX62" fmla="*/ 678644 w 4501379"/>
                  <a:gd name="connsiteY62" fmla="*/ 657225 h 4429294"/>
                  <a:gd name="connsiteX63" fmla="*/ 821519 w 4501379"/>
                  <a:gd name="connsiteY63" fmla="*/ 533400 h 4429294"/>
                  <a:gd name="connsiteX64" fmla="*/ 869144 w 4501379"/>
                  <a:gd name="connsiteY64" fmla="*/ 504825 h 4429294"/>
                  <a:gd name="connsiteX65" fmla="*/ 1148544 w 4501379"/>
                  <a:gd name="connsiteY65" fmla="*/ 311150 h 4429294"/>
                  <a:gd name="connsiteX66" fmla="*/ 1250144 w 4501379"/>
                  <a:gd name="connsiteY66" fmla="*/ 285750 h 4429294"/>
                  <a:gd name="connsiteX67" fmla="*/ 1393019 w 4501379"/>
                  <a:gd name="connsiteY67" fmla="*/ 190500 h 4429294"/>
                  <a:gd name="connsiteX68" fmla="*/ 1431119 w 4501379"/>
                  <a:gd name="connsiteY68" fmla="*/ 161925 h 4429294"/>
                  <a:gd name="connsiteX69" fmla="*/ 1507319 w 4501379"/>
                  <a:gd name="connsiteY69" fmla="*/ 152400 h 4429294"/>
                  <a:gd name="connsiteX70" fmla="*/ 1564469 w 4501379"/>
                  <a:gd name="connsiteY70" fmla="*/ 142875 h 4429294"/>
                  <a:gd name="connsiteX71" fmla="*/ 1697819 w 4501379"/>
                  <a:gd name="connsiteY71" fmla="*/ 123825 h 4429294"/>
                  <a:gd name="connsiteX72" fmla="*/ 1793069 w 4501379"/>
                  <a:gd name="connsiteY72" fmla="*/ 114300 h 4429294"/>
                  <a:gd name="connsiteX73" fmla="*/ 1840694 w 4501379"/>
                  <a:gd name="connsiteY73" fmla="*/ 104775 h 4429294"/>
                  <a:gd name="connsiteX74" fmla="*/ 1897844 w 4501379"/>
                  <a:gd name="connsiteY74" fmla="*/ 95250 h 4429294"/>
                  <a:gd name="connsiteX75" fmla="*/ 2012144 w 4501379"/>
                  <a:gd name="connsiteY75" fmla="*/ 66675 h 4429294"/>
                  <a:gd name="connsiteX76" fmla="*/ 2078819 w 4501379"/>
                  <a:gd name="connsiteY76" fmla="*/ 47625 h 4429294"/>
                  <a:gd name="connsiteX77" fmla="*/ 2145494 w 4501379"/>
                  <a:gd name="connsiteY77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250144 w 4501379"/>
                  <a:gd name="connsiteY65" fmla="*/ 285750 h 4429294"/>
                  <a:gd name="connsiteX66" fmla="*/ 1393019 w 4501379"/>
                  <a:gd name="connsiteY66" fmla="*/ 190500 h 4429294"/>
                  <a:gd name="connsiteX67" fmla="*/ 1431119 w 4501379"/>
                  <a:gd name="connsiteY67" fmla="*/ 161925 h 4429294"/>
                  <a:gd name="connsiteX68" fmla="*/ 1507319 w 4501379"/>
                  <a:gd name="connsiteY68" fmla="*/ 152400 h 4429294"/>
                  <a:gd name="connsiteX69" fmla="*/ 1564469 w 4501379"/>
                  <a:gd name="connsiteY69" fmla="*/ 142875 h 4429294"/>
                  <a:gd name="connsiteX70" fmla="*/ 1697819 w 4501379"/>
                  <a:gd name="connsiteY70" fmla="*/ 123825 h 4429294"/>
                  <a:gd name="connsiteX71" fmla="*/ 1793069 w 4501379"/>
                  <a:gd name="connsiteY71" fmla="*/ 114300 h 4429294"/>
                  <a:gd name="connsiteX72" fmla="*/ 1840694 w 4501379"/>
                  <a:gd name="connsiteY72" fmla="*/ 104775 h 4429294"/>
                  <a:gd name="connsiteX73" fmla="*/ 1897844 w 4501379"/>
                  <a:gd name="connsiteY73" fmla="*/ 95250 h 4429294"/>
                  <a:gd name="connsiteX74" fmla="*/ 2012144 w 4501379"/>
                  <a:gd name="connsiteY74" fmla="*/ 66675 h 4429294"/>
                  <a:gd name="connsiteX75" fmla="*/ 2078819 w 4501379"/>
                  <a:gd name="connsiteY75" fmla="*/ 47625 h 4429294"/>
                  <a:gd name="connsiteX76" fmla="*/ 2145494 w 4501379"/>
                  <a:gd name="connsiteY76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250144 w 4501379"/>
                  <a:gd name="connsiteY65" fmla="*/ 285750 h 4429294"/>
                  <a:gd name="connsiteX66" fmla="*/ 1431119 w 4501379"/>
                  <a:gd name="connsiteY66" fmla="*/ 161925 h 4429294"/>
                  <a:gd name="connsiteX67" fmla="*/ 1507319 w 4501379"/>
                  <a:gd name="connsiteY67" fmla="*/ 152400 h 4429294"/>
                  <a:gd name="connsiteX68" fmla="*/ 1564469 w 4501379"/>
                  <a:gd name="connsiteY68" fmla="*/ 142875 h 4429294"/>
                  <a:gd name="connsiteX69" fmla="*/ 1697819 w 4501379"/>
                  <a:gd name="connsiteY69" fmla="*/ 123825 h 4429294"/>
                  <a:gd name="connsiteX70" fmla="*/ 1793069 w 4501379"/>
                  <a:gd name="connsiteY70" fmla="*/ 114300 h 4429294"/>
                  <a:gd name="connsiteX71" fmla="*/ 1840694 w 4501379"/>
                  <a:gd name="connsiteY71" fmla="*/ 104775 h 4429294"/>
                  <a:gd name="connsiteX72" fmla="*/ 1897844 w 4501379"/>
                  <a:gd name="connsiteY72" fmla="*/ 95250 h 4429294"/>
                  <a:gd name="connsiteX73" fmla="*/ 2012144 w 4501379"/>
                  <a:gd name="connsiteY73" fmla="*/ 66675 h 4429294"/>
                  <a:gd name="connsiteX74" fmla="*/ 2078819 w 4501379"/>
                  <a:gd name="connsiteY74" fmla="*/ 47625 h 4429294"/>
                  <a:gd name="connsiteX75" fmla="*/ 2145494 w 4501379"/>
                  <a:gd name="connsiteY75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250144 w 4501379"/>
                  <a:gd name="connsiteY65" fmla="*/ 285750 h 4429294"/>
                  <a:gd name="connsiteX66" fmla="*/ 1507319 w 4501379"/>
                  <a:gd name="connsiteY66" fmla="*/ 152400 h 4429294"/>
                  <a:gd name="connsiteX67" fmla="*/ 1564469 w 4501379"/>
                  <a:gd name="connsiteY67" fmla="*/ 142875 h 4429294"/>
                  <a:gd name="connsiteX68" fmla="*/ 1697819 w 4501379"/>
                  <a:gd name="connsiteY68" fmla="*/ 123825 h 4429294"/>
                  <a:gd name="connsiteX69" fmla="*/ 1793069 w 4501379"/>
                  <a:gd name="connsiteY69" fmla="*/ 114300 h 4429294"/>
                  <a:gd name="connsiteX70" fmla="*/ 1840694 w 4501379"/>
                  <a:gd name="connsiteY70" fmla="*/ 104775 h 4429294"/>
                  <a:gd name="connsiteX71" fmla="*/ 1897844 w 4501379"/>
                  <a:gd name="connsiteY71" fmla="*/ 95250 h 4429294"/>
                  <a:gd name="connsiteX72" fmla="*/ 2012144 w 4501379"/>
                  <a:gd name="connsiteY72" fmla="*/ 66675 h 4429294"/>
                  <a:gd name="connsiteX73" fmla="*/ 2078819 w 4501379"/>
                  <a:gd name="connsiteY73" fmla="*/ 47625 h 4429294"/>
                  <a:gd name="connsiteX74" fmla="*/ 2145494 w 4501379"/>
                  <a:gd name="connsiteY74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697819 w 4501379"/>
                  <a:gd name="connsiteY67" fmla="*/ 123825 h 4429294"/>
                  <a:gd name="connsiteX68" fmla="*/ 1793069 w 4501379"/>
                  <a:gd name="connsiteY68" fmla="*/ 114300 h 4429294"/>
                  <a:gd name="connsiteX69" fmla="*/ 1840694 w 4501379"/>
                  <a:gd name="connsiteY69" fmla="*/ 104775 h 4429294"/>
                  <a:gd name="connsiteX70" fmla="*/ 1897844 w 4501379"/>
                  <a:gd name="connsiteY70" fmla="*/ 95250 h 4429294"/>
                  <a:gd name="connsiteX71" fmla="*/ 2012144 w 4501379"/>
                  <a:gd name="connsiteY71" fmla="*/ 66675 h 4429294"/>
                  <a:gd name="connsiteX72" fmla="*/ 2078819 w 4501379"/>
                  <a:gd name="connsiteY72" fmla="*/ 47625 h 4429294"/>
                  <a:gd name="connsiteX73" fmla="*/ 2145494 w 4501379"/>
                  <a:gd name="connsiteY73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793069 w 4501379"/>
                  <a:gd name="connsiteY67" fmla="*/ 114300 h 4429294"/>
                  <a:gd name="connsiteX68" fmla="*/ 1840694 w 4501379"/>
                  <a:gd name="connsiteY68" fmla="*/ 104775 h 4429294"/>
                  <a:gd name="connsiteX69" fmla="*/ 1897844 w 4501379"/>
                  <a:gd name="connsiteY69" fmla="*/ 95250 h 4429294"/>
                  <a:gd name="connsiteX70" fmla="*/ 2012144 w 4501379"/>
                  <a:gd name="connsiteY70" fmla="*/ 66675 h 4429294"/>
                  <a:gd name="connsiteX71" fmla="*/ 2078819 w 4501379"/>
                  <a:gd name="connsiteY71" fmla="*/ 47625 h 4429294"/>
                  <a:gd name="connsiteX72" fmla="*/ 2145494 w 4501379"/>
                  <a:gd name="connsiteY72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840694 w 4501379"/>
                  <a:gd name="connsiteY67" fmla="*/ 104775 h 4429294"/>
                  <a:gd name="connsiteX68" fmla="*/ 1897844 w 4501379"/>
                  <a:gd name="connsiteY68" fmla="*/ 95250 h 4429294"/>
                  <a:gd name="connsiteX69" fmla="*/ 2012144 w 4501379"/>
                  <a:gd name="connsiteY69" fmla="*/ 66675 h 4429294"/>
                  <a:gd name="connsiteX70" fmla="*/ 2078819 w 4501379"/>
                  <a:gd name="connsiteY70" fmla="*/ 47625 h 4429294"/>
                  <a:gd name="connsiteX71" fmla="*/ 2145494 w 4501379"/>
                  <a:gd name="connsiteY71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897844 w 4501379"/>
                  <a:gd name="connsiteY67" fmla="*/ 95250 h 4429294"/>
                  <a:gd name="connsiteX68" fmla="*/ 2012144 w 4501379"/>
                  <a:gd name="connsiteY68" fmla="*/ 66675 h 4429294"/>
                  <a:gd name="connsiteX69" fmla="*/ 2078819 w 4501379"/>
                  <a:gd name="connsiteY69" fmla="*/ 47625 h 4429294"/>
                  <a:gd name="connsiteX70" fmla="*/ 2145494 w 4501379"/>
                  <a:gd name="connsiteY70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012144 w 4501379"/>
                  <a:gd name="connsiteY67" fmla="*/ 66675 h 4429294"/>
                  <a:gd name="connsiteX68" fmla="*/ 2078819 w 4501379"/>
                  <a:gd name="connsiteY68" fmla="*/ 47625 h 4429294"/>
                  <a:gd name="connsiteX69" fmla="*/ 2145494 w 4501379"/>
                  <a:gd name="connsiteY69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078819 w 4501379"/>
                  <a:gd name="connsiteY67" fmla="*/ 47625 h 4429294"/>
                  <a:gd name="connsiteX68" fmla="*/ 2145494 w 4501379"/>
                  <a:gd name="connsiteY6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145494 w 4501379"/>
                  <a:gd name="connsiteY67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253444 w 4501379"/>
                  <a:gd name="connsiteY6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253444 w 4501379"/>
                  <a:gd name="connsiteY6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621619 w 4501379"/>
                  <a:gd name="connsiteY66" fmla="*/ 111125 h 4429294"/>
                  <a:gd name="connsiteX67" fmla="*/ 2253444 w 4501379"/>
                  <a:gd name="connsiteY6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650069 w 4501379"/>
                  <a:gd name="connsiteY59" fmla="*/ 676275 h 4429294"/>
                  <a:gd name="connsiteX60" fmla="*/ 678644 w 4501379"/>
                  <a:gd name="connsiteY60" fmla="*/ 657225 h 4429294"/>
                  <a:gd name="connsiteX61" fmla="*/ 821519 w 4501379"/>
                  <a:gd name="connsiteY61" fmla="*/ 533400 h 4429294"/>
                  <a:gd name="connsiteX62" fmla="*/ 869144 w 4501379"/>
                  <a:gd name="connsiteY62" fmla="*/ 504825 h 4429294"/>
                  <a:gd name="connsiteX63" fmla="*/ 1148544 w 4501379"/>
                  <a:gd name="connsiteY63" fmla="*/ 311150 h 4429294"/>
                  <a:gd name="connsiteX64" fmla="*/ 1507319 w 4501379"/>
                  <a:gd name="connsiteY64" fmla="*/ 152400 h 4429294"/>
                  <a:gd name="connsiteX65" fmla="*/ 1621619 w 4501379"/>
                  <a:gd name="connsiteY65" fmla="*/ 111125 h 4429294"/>
                  <a:gd name="connsiteX66" fmla="*/ 2253444 w 4501379"/>
                  <a:gd name="connsiteY66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650069 w 4501379"/>
                  <a:gd name="connsiteY59" fmla="*/ 676275 h 4429294"/>
                  <a:gd name="connsiteX60" fmla="*/ 821519 w 4501379"/>
                  <a:gd name="connsiteY60" fmla="*/ 533400 h 4429294"/>
                  <a:gd name="connsiteX61" fmla="*/ 869144 w 4501379"/>
                  <a:gd name="connsiteY61" fmla="*/ 504825 h 4429294"/>
                  <a:gd name="connsiteX62" fmla="*/ 1148544 w 4501379"/>
                  <a:gd name="connsiteY62" fmla="*/ 311150 h 4429294"/>
                  <a:gd name="connsiteX63" fmla="*/ 1507319 w 4501379"/>
                  <a:gd name="connsiteY63" fmla="*/ 152400 h 4429294"/>
                  <a:gd name="connsiteX64" fmla="*/ 1621619 w 4501379"/>
                  <a:gd name="connsiteY64" fmla="*/ 111125 h 4429294"/>
                  <a:gd name="connsiteX65" fmla="*/ 2253444 w 4501379"/>
                  <a:gd name="connsiteY65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650069 w 4501379"/>
                  <a:gd name="connsiteY59" fmla="*/ 676275 h 4429294"/>
                  <a:gd name="connsiteX60" fmla="*/ 869144 w 4501379"/>
                  <a:gd name="connsiteY60" fmla="*/ 504825 h 4429294"/>
                  <a:gd name="connsiteX61" fmla="*/ 1148544 w 4501379"/>
                  <a:gd name="connsiteY61" fmla="*/ 311150 h 4429294"/>
                  <a:gd name="connsiteX62" fmla="*/ 1507319 w 4501379"/>
                  <a:gd name="connsiteY62" fmla="*/ 152400 h 4429294"/>
                  <a:gd name="connsiteX63" fmla="*/ 1621619 w 4501379"/>
                  <a:gd name="connsiteY63" fmla="*/ 111125 h 4429294"/>
                  <a:gd name="connsiteX64" fmla="*/ 2253444 w 4501379"/>
                  <a:gd name="connsiteY64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64319 w 4501379"/>
                  <a:gd name="connsiteY53" fmla="*/ 1009650 h 4429294"/>
                  <a:gd name="connsiteX54" fmla="*/ 421469 w 4501379"/>
                  <a:gd name="connsiteY54" fmla="*/ 904875 h 4429294"/>
                  <a:gd name="connsiteX55" fmla="*/ 459569 w 4501379"/>
                  <a:gd name="connsiteY55" fmla="*/ 857250 h 4429294"/>
                  <a:gd name="connsiteX56" fmla="*/ 478619 w 4501379"/>
                  <a:gd name="connsiteY56" fmla="*/ 828675 h 4429294"/>
                  <a:gd name="connsiteX57" fmla="*/ 516719 w 4501379"/>
                  <a:gd name="connsiteY57" fmla="*/ 800100 h 4429294"/>
                  <a:gd name="connsiteX58" fmla="*/ 650069 w 4501379"/>
                  <a:gd name="connsiteY58" fmla="*/ 676275 h 4429294"/>
                  <a:gd name="connsiteX59" fmla="*/ 869144 w 4501379"/>
                  <a:gd name="connsiteY59" fmla="*/ 504825 h 4429294"/>
                  <a:gd name="connsiteX60" fmla="*/ 1148544 w 4501379"/>
                  <a:gd name="connsiteY60" fmla="*/ 311150 h 4429294"/>
                  <a:gd name="connsiteX61" fmla="*/ 1507319 w 4501379"/>
                  <a:gd name="connsiteY61" fmla="*/ 152400 h 4429294"/>
                  <a:gd name="connsiteX62" fmla="*/ 1621619 w 4501379"/>
                  <a:gd name="connsiteY62" fmla="*/ 111125 h 4429294"/>
                  <a:gd name="connsiteX63" fmla="*/ 2253444 w 4501379"/>
                  <a:gd name="connsiteY63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421469 w 4501379"/>
                  <a:gd name="connsiteY53" fmla="*/ 904875 h 4429294"/>
                  <a:gd name="connsiteX54" fmla="*/ 459569 w 4501379"/>
                  <a:gd name="connsiteY54" fmla="*/ 857250 h 4429294"/>
                  <a:gd name="connsiteX55" fmla="*/ 478619 w 4501379"/>
                  <a:gd name="connsiteY55" fmla="*/ 828675 h 4429294"/>
                  <a:gd name="connsiteX56" fmla="*/ 516719 w 4501379"/>
                  <a:gd name="connsiteY56" fmla="*/ 800100 h 4429294"/>
                  <a:gd name="connsiteX57" fmla="*/ 650069 w 4501379"/>
                  <a:gd name="connsiteY57" fmla="*/ 676275 h 4429294"/>
                  <a:gd name="connsiteX58" fmla="*/ 869144 w 4501379"/>
                  <a:gd name="connsiteY58" fmla="*/ 504825 h 4429294"/>
                  <a:gd name="connsiteX59" fmla="*/ 1148544 w 4501379"/>
                  <a:gd name="connsiteY59" fmla="*/ 311150 h 4429294"/>
                  <a:gd name="connsiteX60" fmla="*/ 1507319 w 4501379"/>
                  <a:gd name="connsiteY60" fmla="*/ 152400 h 4429294"/>
                  <a:gd name="connsiteX61" fmla="*/ 1621619 w 4501379"/>
                  <a:gd name="connsiteY61" fmla="*/ 111125 h 4429294"/>
                  <a:gd name="connsiteX62" fmla="*/ 2253444 w 4501379"/>
                  <a:gd name="connsiteY62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459569 w 4501379"/>
                  <a:gd name="connsiteY53" fmla="*/ 857250 h 4429294"/>
                  <a:gd name="connsiteX54" fmla="*/ 478619 w 4501379"/>
                  <a:gd name="connsiteY54" fmla="*/ 828675 h 4429294"/>
                  <a:gd name="connsiteX55" fmla="*/ 516719 w 4501379"/>
                  <a:gd name="connsiteY55" fmla="*/ 800100 h 4429294"/>
                  <a:gd name="connsiteX56" fmla="*/ 650069 w 4501379"/>
                  <a:gd name="connsiteY56" fmla="*/ 676275 h 4429294"/>
                  <a:gd name="connsiteX57" fmla="*/ 869144 w 4501379"/>
                  <a:gd name="connsiteY57" fmla="*/ 504825 h 4429294"/>
                  <a:gd name="connsiteX58" fmla="*/ 1148544 w 4501379"/>
                  <a:gd name="connsiteY58" fmla="*/ 311150 h 4429294"/>
                  <a:gd name="connsiteX59" fmla="*/ 1507319 w 4501379"/>
                  <a:gd name="connsiteY59" fmla="*/ 152400 h 4429294"/>
                  <a:gd name="connsiteX60" fmla="*/ 1621619 w 4501379"/>
                  <a:gd name="connsiteY60" fmla="*/ 111125 h 4429294"/>
                  <a:gd name="connsiteX61" fmla="*/ 2253444 w 4501379"/>
                  <a:gd name="connsiteY61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459569 w 4501379"/>
                  <a:gd name="connsiteY53" fmla="*/ 857250 h 4429294"/>
                  <a:gd name="connsiteX54" fmla="*/ 516719 w 4501379"/>
                  <a:gd name="connsiteY54" fmla="*/ 800100 h 4429294"/>
                  <a:gd name="connsiteX55" fmla="*/ 650069 w 4501379"/>
                  <a:gd name="connsiteY55" fmla="*/ 676275 h 4429294"/>
                  <a:gd name="connsiteX56" fmla="*/ 869144 w 4501379"/>
                  <a:gd name="connsiteY56" fmla="*/ 504825 h 4429294"/>
                  <a:gd name="connsiteX57" fmla="*/ 1148544 w 4501379"/>
                  <a:gd name="connsiteY57" fmla="*/ 311150 h 4429294"/>
                  <a:gd name="connsiteX58" fmla="*/ 1507319 w 4501379"/>
                  <a:gd name="connsiteY58" fmla="*/ 152400 h 4429294"/>
                  <a:gd name="connsiteX59" fmla="*/ 1621619 w 4501379"/>
                  <a:gd name="connsiteY59" fmla="*/ 111125 h 4429294"/>
                  <a:gd name="connsiteX60" fmla="*/ 2253444 w 4501379"/>
                  <a:gd name="connsiteY60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69069 w 4501379"/>
                  <a:gd name="connsiteY50" fmla="*/ 1152525 h 4429294"/>
                  <a:gd name="connsiteX51" fmla="*/ 297644 w 4501379"/>
                  <a:gd name="connsiteY51" fmla="*/ 1114425 h 4429294"/>
                  <a:gd name="connsiteX52" fmla="*/ 459569 w 4501379"/>
                  <a:gd name="connsiteY52" fmla="*/ 857250 h 4429294"/>
                  <a:gd name="connsiteX53" fmla="*/ 516719 w 4501379"/>
                  <a:gd name="connsiteY53" fmla="*/ 800100 h 4429294"/>
                  <a:gd name="connsiteX54" fmla="*/ 650069 w 4501379"/>
                  <a:gd name="connsiteY54" fmla="*/ 676275 h 4429294"/>
                  <a:gd name="connsiteX55" fmla="*/ 869144 w 4501379"/>
                  <a:gd name="connsiteY55" fmla="*/ 504825 h 4429294"/>
                  <a:gd name="connsiteX56" fmla="*/ 1148544 w 4501379"/>
                  <a:gd name="connsiteY56" fmla="*/ 311150 h 4429294"/>
                  <a:gd name="connsiteX57" fmla="*/ 1507319 w 4501379"/>
                  <a:gd name="connsiteY57" fmla="*/ 152400 h 4429294"/>
                  <a:gd name="connsiteX58" fmla="*/ 1621619 w 4501379"/>
                  <a:gd name="connsiteY58" fmla="*/ 111125 h 4429294"/>
                  <a:gd name="connsiteX59" fmla="*/ 2253444 w 4501379"/>
                  <a:gd name="connsiteY59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97644 w 4501379"/>
                  <a:gd name="connsiteY50" fmla="*/ 1114425 h 4429294"/>
                  <a:gd name="connsiteX51" fmla="*/ 459569 w 4501379"/>
                  <a:gd name="connsiteY51" fmla="*/ 857250 h 4429294"/>
                  <a:gd name="connsiteX52" fmla="*/ 516719 w 4501379"/>
                  <a:gd name="connsiteY52" fmla="*/ 800100 h 4429294"/>
                  <a:gd name="connsiteX53" fmla="*/ 650069 w 4501379"/>
                  <a:gd name="connsiteY53" fmla="*/ 676275 h 4429294"/>
                  <a:gd name="connsiteX54" fmla="*/ 869144 w 4501379"/>
                  <a:gd name="connsiteY54" fmla="*/ 504825 h 4429294"/>
                  <a:gd name="connsiteX55" fmla="*/ 1148544 w 4501379"/>
                  <a:gd name="connsiteY55" fmla="*/ 311150 h 4429294"/>
                  <a:gd name="connsiteX56" fmla="*/ 1507319 w 4501379"/>
                  <a:gd name="connsiteY56" fmla="*/ 152400 h 4429294"/>
                  <a:gd name="connsiteX57" fmla="*/ 1621619 w 4501379"/>
                  <a:gd name="connsiteY57" fmla="*/ 111125 h 4429294"/>
                  <a:gd name="connsiteX58" fmla="*/ 2253444 w 4501379"/>
                  <a:gd name="connsiteY58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97644 w 4501379"/>
                  <a:gd name="connsiteY49" fmla="*/ 1114425 h 4429294"/>
                  <a:gd name="connsiteX50" fmla="*/ 459569 w 4501379"/>
                  <a:gd name="connsiteY50" fmla="*/ 857250 h 4429294"/>
                  <a:gd name="connsiteX51" fmla="*/ 516719 w 4501379"/>
                  <a:gd name="connsiteY51" fmla="*/ 800100 h 4429294"/>
                  <a:gd name="connsiteX52" fmla="*/ 650069 w 4501379"/>
                  <a:gd name="connsiteY52" fmla="*/ 676275 h 4429294"/>
                  <a:gd name="connsiteX53" fmla="*/ 869144 w 4501379"/>
                  <a:gd name="connsiteY53" fmla="*/ 504825 h 4429294"/>
                  <a:gd name="connsiteX54" fmla="*/ 1148544 w 4501379"/>
                  <a:gd name="connsiteY54" fmla="*/ 311150 h 4429294"/>
                  <a:gd name="connsiteX55" fmla="*/ 1507319 w 4501379"/>
                  <a:gd name="connsiteY55" fmla="*/ 152400 h 4429294"/>
                  <a:gd name="connsiteX56" fmla="*/ 1621619 w 4501379"/>
                  <a:gd name="connsiteY56" fmla="*/ 111125 h 4429294"/>
                  <a:gd name="connsiteX57" fmla="*/ 2253444 w 4501379"/>
                  <a:gd name="connsiteY5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35719 w 4501379"/>
                  <a:gd name="connsiteY46" fmla="*/ 1419225 h 4429294"/>
                  <a:gd name="connsiteX47" fmla="*/ 211919 w 4501379"/>
                  <a:gd name="connsiteY47" fmla="*/ 1276350 h 4429294"/>
                  <a:gd name="connsiteX48" fmla="*/ 297644 w 4501379"/>
                  <a:gd name="connsiteY48" fmla="*/ 1114425 h 4429294"/>
                  <a:gd name="connsiteX49" fmla="*/ 459569 w 4501379"/>
                  <a:gd name="connsiteY49" fmla="*/ 857250 h 4429294"/>
                  <a:gd name="connsiteX50" fmla="*/ 516719 w 4501379"/>
                  <a:gd name="connsiteY50" fmla="*/ 800100 h 4429294"/>
                  <a:gd name="connsiteX51" fmla="*/ 650069 w 4501379"/>
                  <a:gd name="connsiteY51" fmla="*/ 676275 h 4429294"/>
                  <a:gd name="connsiteX52" fmla="*/ 869144 w 4501379"/>
                  <a:gd name="connsiteY52" fmla="*/ 504825 h 4429294"/>
                  <a:gd name="connsiteX53" fmla="*/ 1148544 w 4501379"/>
                  <a:gd name="connsiteY53" fmla="*/ 311150 h 4429294"/>
                  <a:gd name="connsiteX54" fmla="*/ 1507319 w 4501379"/>
                  <a:gd name="connsiteY54" fmla="*/ 152400 h 4429294"/>
                  <a:gd name="connsiteX55" fmla="*/ 1621619 w 4501379"/>
                  <a:gd name="connsiteY55" fmla="*/ 111125 h 4429294"/>
                  <a:gd name="connsiteX56" fmla="*/ 2253444 w 4501379"/>
                  <a:gd name="connsiteY56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88094 w 4501379"/>
                  <a:gd name="connsiteY44" fmla="*/ 1590675 h 4429294"/>
                  <a:gd name="connsiteX45" fmla="*/ 135719 w 4501379"/>
                  <a:gd name="connsiteY45" fmla="*/ 1419225 h 4429294"/>
                  <a:gd name="connsiteX46" fmla="*/ 211919 w 4501379"/>
                  <a:gd name="connsiteY46" fmla="*/ 1276350 h 4429294"/>
                  <a:gd name="connsiteX47" fmla="*/ 297644 w 4501379"/>
                  <a:gd name="connsiteY47" fmla="*/ 1114425 h 4429294"/>
                  <a:gd name="connsiteX48" fmla="*/ 459569 w 4501379"/>
                  <a:gd name="connsiteY48" fmla="*/ 857250 h 4429294"/>
                  <a:gd name="connsiteX49" fmla="*/ 516719 w 4501379"/>
                  <a:gd name="connsiteY49" fmla="*/ 800100 h 4429294"/>
                  <a:gd name="connsiteX50" fmla="*/ 650069 w 4501379"/>
                  <a:gd name="connsiteY50" fmla="*/ 676275 h 4429294"/>
                  <a:gd name="connsiteX51" fmla="*/ 869144 w 4501379"/>
                  <a:gd name="connsiteY51" fmla="*/ 504825 h 4429294"/>
                  <a:gd name="connsiteX52" fmla="*/ 1148544 w 4501379"/>
                  <a:gd name="connsiteY52" fmla="*/ 311150 h 4429294"/>
                  <a:gd name="connsiteX53" fmla="*/ 1507319 w 4501379"/>
                  <a:gd name="connsiteY53" fmla="*/ 152400 h 4429294"/>
                  <a:gd name="connsiteX54" fmla="*/ 1621619 w 4501379"/>
                  <a:gd name="connsiteY54" fmla="*/ 111125 h 4429294"/>
                  <a:gd name="connsiteX55" fmla="*/ 2253444 w 4501379"/>
                  <a:gd name="connsiteY55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88094 w 4501379"/>
                  <a:gd name="connsiteY43" fmla="*/ 1590675 h 4429294"/>
                  <a:gd name="connsiteX44" fmla="*/ 135719 w 4501379"/>
                  <a:gd name="connsiteY44" fmla="*/ 1419225 h 4429294"/>
                  <a:gd name="connsiteX45" fmla="*/ 211919 w 4501379"/>
                  <a:gd name="connsiteY45" fmla="*/ 1276350 h 4429294"/>
                  <a:gd name="connsiteX46" fmla="*/ 297644 w 4501379"/>
                  <a:gd name="connsiteY46" fmla="*/ 1114425 h 4429294"/>
                  <a:gd name="connsiteX47" fmla="*/ 459569 w 4501379"/>
                  <a:gd name="connsiteY47" fmla="*/ 857250 h 4429294"/>
                  <a:gd name="connsiteX48" fmla="*/ 516719 w 4501379"/>
                  <a:gd name="connsiteY48" fmla="*/ 800100 h 4429294"/>
                  <a:gd name="connsiteX49" fmla="*/ 650069 w 4501379"/>
                  <a:gd name="connsiteY49" fmla="*/ 676275 h 4429294"/>
                  <a:gd name="connsiteX50" fmla="*/ 869144 w 4501379"/>
                  <a:gd name="connsiteY50" fmla="*/ 504825 h 4429294"/>
                  <a:gd name="connsiteX51" fmla="*/ 1148544 w 4501379"/>
                  <a:gd name="connsiteY51" fmla="*/ 311150 h 4429294"/>
                  <a:gd name="connsiteX52" fmla="*/ 1507319 w 4501379"/>
                  <a:gd name="connsiteY52" fmla="*/ 152400 h 4429294"/>
                  <a:gd name="connsiteX53" fmla="*/ 1621619 w 4501379"/>
                  <a:gd name="connsiteY53" fmla="*/ 111125 h 4429294"/>
                  <a:gd name="connsiteX54" fmla="*/ 2253444 w 4501379"/>
                  <a:gd name="connsiteY54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88094 w 4501379"/>
                  <a:gd name="connsiteY42" fmla="*/ 1590675 h 4429294"/>
                  <a:gd name="connsiteX43" fmla="*/ 135719 w 4501379"/>
                  <a:gd name="connsiteY43" fmla="*/ 1419225 h 4429294"/>
                  <a:gd name="connsiteX44" fmla="*/ 211919 w 4501379"/>
                  <a:gd name="connsiteY44" fmla="*/ 1276350 h 4429294"/>
                  <a:gd name="connsiteX45" fmla="*/ 297644 w 4501379"/>
                  <a:gd name="connsiteY45" fmla="*/ 1114425 h 4429294"/>
                  <a:gd name="connsiteX46" fmla="*/ 459569 w 4501379"/>
                  <a:gd name="connsiteY46" fmla="*/ 857250 h 4429294"/>
                  <a:gd name="connsiteX47" fmla="*/ 516719 w 4501379"/>
                  <a:gd name="connsiteY47" fmla="*/ 800100 h 4429294"/>
                  <a:gd name="connsiteX48" fmla="*/ 650069 w 4501379"/>
                  <a:gd name="connsiteY48" fmla="*/ 676275 h 4429294"/>
                  <a:gd name="connsiteX49" fmla="*/ 869144 w 4501379"/>
                  <a:gd name="connsiteY49" fmla="*/ 504825 h 4429294"/>
                  <a:gd name="connsiteX50" fmla="*/ 1148544 w 4501379"/>
                  <a:gd name="connsiteY50" fmla="*/ 311150 h 4429294"/>
                  <a:gd name="connsiteX51" fmla="*/ 1507319 w 4501379"/>
                  <a:gd name="connsiteY51" fmla="*/ 152400 h 4429294"/>
                  <a:gd name="connsiteX52" fmla="*/ 1621619 w 4501379"/>
                  <a:gd name="connsiteY52" fmla="*/ 111125 h 4429294"/>
                  <a:gd name="connsiteX53" fmla="*/ 2253444 w 4501379"/>
                  <a:gd name="connsiteY53" fmla="*/ 12700 h 4429294"/>
                  <a:gd name="connsiteX0" fmla="*/ 2277090 w 4499625"/>
                  <a:gd name="connsiteY0" fmla="*/ 0 h 4429294"/>
                  <a:gd name="connsiteX1" fmla="*/ 2600940 w 4499625"/>
                  <a:gd name="connsiteY1" fmla="*/ 15875 h 4429294"/>
                  <a:gd name="connsiteX2" fmla="*/ 2896215 w 4499625"/>
                  <a:gd name="connsiteY2" fmla="*/ 85725 h 4429294"/>
                  <a:gd name="connsiteX3" fmla="*/ 3115290 w 4499625"/>
                  <a:gd name="connsiteY3" fmla="*/ 171450 h 4429294"/>
                  <a:gd name="connsiteX4" fmla="*/ 3220065 w 4499625"/>
                  <a:gd name="connsiteY4" fmla="*/ 228600 h 4429294"/>
                  <a:gd name="connsiteX5" fmla="*/ 3401040 w 4499625"/>
                  <a:gd name="connsiteY5" fmla="*/ 323850 h 4429294"/>
                  <a:gd name="connsiteX6" fmla="*/ 3791565 w 4499625"/>
                  <a:gd name="connsiteY6" fmla="*/ 581025 h 4429294"/>
                  <a:gd name="connsiteX7" fmla="*/ 4007465 w 4499625"/>
                  <a:gd name="connsiteY7" fmla="*/ 819150 h 4429294"/>
                  <a:gd name="connsiteX8" fmla="*/ 4143990 w 4499625"/>
                  <a:gd name="connsiteY8" fmla="*/ 990600 h 4429294"/>
                  <a:gd name="connsiteX9" fmla="*/ 4229715 w 4499625"/>
                  <a:gd name="connsiteY9" fmla="*/ 1143000 h 4429294"/>
                  <a:gd name="connsiteX10" fmla="*/ 4286865 w 4499625"/>
                  <a:gd name="connsiteY10" fmla="*/ 1266825 h 4429294"/>
                  <a:gd name="connsiteX11" fmla="*/ 4324965 w 4499625"/>
                  <a:gd name="connsiteY11" fmla="*/ 1362075 h 4429294"/>
                  <a:gd name="connsiteX12" fmla="*/ 4372590 w 4499625"/>
                  <a:gd name="connsiteY12" fmla="*/ 1552575 h 4429294"/>
                  <a:gd name="connsiteX13" fmla="*/ 4410690 w 4499625"/>
                  <a:gd name="connsiteY13" fmla="*/ 1685925 h 4429294"/>
                  <a:gd name="connsiteX14" fmla="*/ 4499590 w 4499625"/>
                  <a:gd name="connsiteY14" fmla="*/ 2181225 h 4429294"/>
                  <a:gd name="connsiteX15" fmla="*/ 4426565 w 4499625"/>
                  <a:gd name="connsiteY15" fmla="*/ 2768600 h 4429294"/>
                  <a:gd name="connsiteX16" fmla="*/ 4363065 w 4499625"/>
                  <a:gd name="connsiteY16" fmla="*/ 2990850 h 4429294"/>
                  <a:gd name="connsiteX17" fmla="*/ 4258290 w 4499625"/>
                  <a:gd name="connsiteY17" fmla="*/ 3248025 h 4429294"/>
                  <a:gd name="connsiteX18" fmla="*/ 4163040 w 4499625"/>
                  <a:gd name="connsiteY18" fmla="*/ 3400425 h 4429294"/>
                  <a:gd name="connsiteX19" fmla="*/ 4039215 w 4499625"/>
                  <a:gd name="connsiteY19" fmla="*/ 3533775 h 4429294"/>
                  <a:gd name="connsiteX20" fmla="*/ 3934440 w 4499625"/>
                  <a:gd name="connsiteY20" fmla="*/ 3648075 h 4429294"/>
                  <a:gd name="connsiteX21" fmla="*/ 3639165 w 4499625"/>
                  <a:gd name="connsiteY21" fmla="*/ 3971925 h 4429294"/>
                  <a:gd name="connsiteX22" fmla="*/ 3496290 w 4499625"/>
                  <a:gd name="connsiteY22" fmla="*/ 4083050 h 4429294"/>
                  <a:gd name="connsiteX23" fmla="*/ 3201015 w 4499625"/>
                  <a:gd name="connsiteY23" fmla="*/ 4222750 h 4429294"/>
                  <a:gd name="connsiteX24" fmla="*/ 3048615 w 4499625"/>
                  <a:gd name="connsiteY24" fmla="*/ 4286250 h 4429294"/>
                  <a:gd name="connsiteX25" fmla="*/ 2915265 w 4499625"/>
                  <a:gd name="connsiteY25" fmla="*/ 4333875 h 4429294"/>
                  <a:gd name="connsiteX26" fmla="*/ 2791440 w 4499625"/>
                  <a:gd name="connsiteY26" fmla="*/ 4371975 h 4429294"/>
                  <a:gd name="connsiteX27" fmla="*/ 2559665 w 4499625"/>
                  <a:gd name="connsiteY27" fmla="*/ 4391025 h 4429294"/>
                  <a:gd name="connsiteX28" fmla="*/ 2105640 w 4499625"/>
                  <a:gd name="connsiteY28" fmla="*/ 4429125 h 4429294"/>
                  <a:gd name="connsiteX29" fmla="*/ 1915140 w 4499625"/>
                  <a:gd name="connsiteY29" fmla="*/ 4400550 h 4429294"/>
                  <a:gd name="connsiteX30" fmla="*/ 1553190 w 4499625"/>
                  <a:gd name="connsiteY30" fmla="*/ 4305300 h 4429294"/>
                  <a:gd name="connsiteX31" fmla="*/ 1311890 w 4499625"/>
                  <a:gd name="connsiteY31" fmla="*/ 4216400 h 4429294"/>
                  <a:gd name="connsiteX32" fmla="*/ 1143615 w 4499625"/>
                  <a:gd name="connsiteY32" fmla="*/ 4111625 h 4429294"/>
                  <a:gd name="connsiteX33" fmla="*/ 924540 w 4499625"/>
                  <a:gd name="connsiteY33" fmla="*/ 3968750 h 4429294"/>
                  <a:gd name="connsiteX34" fmla="*/ 591165 w 4499625"/>
                  <a:gd name="connsiteY34" fmla="*/ 3657600 h 4429294"/>
                  <a:gd name="connsiteX35" fmla="*/ 445115 w 4499625"/>
                  <a:gd name="connsiteY35" fmla="*/ 3470275 h 4429294"/>
                  <a:gd name="connsiteX36" fmla="*/ 314940 w 4499625"/>
                  <a:gd name="connsiteY36" fmla="*/ 3244850 h 4429294"/>
                  <a:gd name="connsiteX37" fmla="*/ 162540 w 4499625"/>
                  <a:gd name="connsiteY37" fmla="*/ 2892425 h 4429294"/>
                  <a:gd name="connsiteX38" fmla="*/ 54590 w 4499625"/>
                  <a:gd name="connsiteY38" fmla="*/ 2368550 h 4429294"/>
                  <a:gd name="connsiteX39" fmla="*/ 615 w 4499625"/>
                  <a:gd name="connsiteY39" fmla="*/ 1905000 h 4429294"/>
                  <a:gd name="connsiteX40" fmla="*/ 29190 w 4499625"/>
                  <a:gd name="connsiteY40" fmla="*/ 1781175 h 4429294"/>
                  <a:gd name="connsiteX41" fmla="*/ 86340 w 4499625"/>
                  <a:gd name="connsiteY41" fmla="*/ 1590675 h 4429294"/>
                  <a:gd name="connsiteX42" fmla="*/ 133965 w 4499625"/>
                  <a:gd name="connsiteY42" fmla="*/ 1419225 h 4429294"/>
                  <a:gd name="connsiteX43" fmla="*/ 210165 w 4499625"/>
                  <a:gd name="connsiteY43" fmla="*/ 1276350 h 4429294"/>
                  <a:gd name="connsiteX44" fmla="*/ 295890 w 4499625"/>
                  <a:gd name="connsiteY44" fmla="*/ 1114425 h 4429294"/>
                  <a:gd name="connsiteX45" fmla="*/ 457815 w 4499625"/>
                  <a:gd name="connsiteY45" fmla="*/ 857250 h 4429294"/>
                  <a:gd name="connsiteX46" fmla="*/ 514965 w 4499625"/>
                  <a:gd name="connsiteY46" fmla="*/ 800100 h 4429294"/>
                  <a:gd name="connsiteX47" fmla="*/ 648315 w 4499625"/>
                  <a:gd name="connsiteY47" fmla="*/ 676275 h 4429294"/>
                  <a:gd name="connsiteX48" fmla="*/ 867390 w 4499625"/>
                  <a:gd name="connsiteY48" fmla="*/ 504825 h 4429294"/>
                  <a:gd name="connsiteX49" fmla="*/ 1146790 w 4499625"/>
                  <a:gd name="connsiteY49" fmla="*/ 311150 h 4429294"/>
                  <a:gd name="connsiteX50" fmla="*/ 1505565 w 4499625"/>
                  <a:gd name="connsiteY50" fmla="*/ 152400 h 4429294"/>
                  <a:gd name="connsiteX51" fmla="*/ 1619865 w 4499625"/>
                  <a:gd name="connsiteY51" fmla="*/ 111125 h 4429294"/>
                  <a:gd name="connsiteX52" fmla="*/ 2251690 w 4499625"/>
                  <a:gd name="connsiteY52" fmla="*/ 12700 h 4429294"/>
                  <a:gd name="connsiteX0" fmla="*/ 2249427 w 4471962"/>
                  <a:gd name="connsiteY0" fmla="*/ 0 h 4429294"/>
                  <a:gd name="connsiteX1" fmla="*/ 2573277 w 4471962"/>
                  <a:gd name="connsiteY1" fmla="*/ 15875 h 4429294"/>
                  <a:gd name="connsiteX2" fmla="*/ 2868552 w 4471962"/>
                  <a:gd name="connsiteY2" fmla="*/ 85725 h 4429294"/>
                  <a:gd name="connsiteX3" fmla="*/ 3087627 w 4471962"/>
                  <a:gd name="connsiteY3" fmla="*/ 171450 h 4429294"/>
                  <a:gd name="connsiteX4" fmla="*/ 3192402 w 4471962"/>
                  <a:gd name="connsiteY4" fmla="*/ 228600 h 4429294"/>
                  <a:gd name="connsiteX5" fmla="*/ 3373377 w 4471962"/>
                  <a:gd name="connsiteY5" fmla="*/ 323850 h 4429294"/>
                  <a:gd name="connsiteX6" fmla="*/ 3763902 w 4471962"/>
                  <a:gd name="connsiteY6" fmla="*/ 581025 h 4429294"/>
                  <a:gd name="connsiteX7" fmla="*/ 3979802 w 4471962"/>
                  <a:gd name="connsiteY7" fmla="*/ 819150 h 4429294"/>
                  <a:gd name="connsiteX8" fmla="*/ 4116327 w 4471962"/>
                  <a:gd name="connsiteY8" fmla="*/ 990600 h 4429294"/>
                  <a:gd name="connsiteX9" fmla="*/ 4202052 w 4471962"/>
                  <a:gd name="connsiteY9" fmla="*/ 1143000 h 4429294"/>
                  <a:gd name="connsiteX10" fmla="*/ 4259202 w 4471962"/>
                  <a:gd name="connsiteY10" fmla="*/ 1266825 h 4429294"/>
                  <a:gd name="connsiteX11" fmla="*/ 4297302 w 4471962"/>
                  <a:gd name="connsiteY11" fmla="*/ 1362075 h 4429294"/>
                  <a:gd name="connsiteX12" fmla="*/ 4344927 w 4471962"/>
                  <a:gd name="connsiteY12" fmla="*/ 1552575 h 4429294"/>
                  <a:gd name="connsiteX13" fmla="*/ 4383027 w 4471962"/>
                  <a:gd name="connsiteY13" fmla="*/ 1685925 h 4429294"/>
                  <a:gd name="connsiteX14" fmla="*/ 4471927 w 4471962"/>
                  <a:gd name="connsiteY14" fmla="*/ 2181225 h 4429294"/>
                  <a:gd name="connsiteX15" fmla="*/ 4398902 w 4471962"/>
                  <a:gd name="connsiteY15" fmla="*/ 2768600 h 4429294"/>
                  <a:gd name="connsiteX16" fmla="*/ 4335402 w 4471962"/>
                  <a:gd name="connsiteY16" fmla="*/ 2990850 h 4429294"/>
                  <a:gd name="connsiteX17" fmla="*/ 4230627 w 4471962"/>
                  <a:gd name="connsiteY17" fmla="*/ 3248025 h 4429294"/>
                  <a:gd name="connsiteX18" fmla="*/ 4135377 w 4471962"/>
                  <a:gd name="connsiteY18" fmla="*/ 3400425 h 4429294"/>
                  <a:gd name="connsiteX19" fmla="*/ 4011552 w 4471962"/>
                  <a:gd name="connsiteY19" fmla="*/ 3533775 h 4429294"/>
                  <a:gd name="connsiteX20" fmla="*/ 3906777 w 4471962"/>
                  <a:gd name="connsiteY20" fmla="*/ 3648075 h 4429294"/>
                  <a:gd name="connsiteX21" fmla="*/ 3611502 w 4471962"/>
                  <a:gd name="connsiteY21" fmla="*/ 3971925 h 4429294"/>
                  <a:gd name="connsiteX22" fmla="*/ 3468627 w 4471962"/>
                  <a:gd name="connsiteY22" fmla="*/ 4083050 h 4429294"/>
                  <a:gd name="connsiteX23" fmla="*/ 3173352 w 4471962"/>
                  <a:gd name="connsiteY23" fmla="*/ 4222750 h 4429294"/>
                  <a:gd name="connsiteX24" fmla="*/ 3020952 w 4471962"/>
                  <a:gd name="connsiteY24" fmla="*/ 4286250 h 4429294"/>
                  <a:gd name="connsiteX25" fmla="*/ 2887602 w 4471962"/>
                  <a:gd name="connsiteY25" fmla="*/ 4333875 h 4429294"/>
                  <a:gd name="connsiteX26" fmla="*/ 2763777 w 4471962"/>
                  <a:gd name="connsiteY26" fmla="*/ 4371975 h 4429294"/>
                  <a:gd name="connsiteX27" fmla="*/ 2532002 w 4471962"/>
                  <a:gd name="connsiteY27" fmla="*/ 4391025 h 4429294"/>
                  <a:gd name="connsiteX28" fmla="*/ 2077977 w 4471962"/>
                  <a:gd name="connsiteY28" fmla="*/ 4429125 h 4429294"/>
                  <a:gd name="connsiteX29" fmla="*/ 1887477 w 4471962"/>
                  <a:gd name="connsiteY29" fmla="*/ 4400550 h 4429294"/>
                  <a:gd name="connsiteX30" fmla="*/ 1525527 w 4471962"/>
                  <a:gd name="connsiteY30" fmla="*/ 4305300 h 4429294"/>
                  <a:gd name="connsiteX31" fmla="*/ 1284227 w 4471962"/>
                  <a:gd name="connsiteY31" fmla="*/ 4216400 h 4429294"/>
                  <a:gd name="connsiteX32" fmla="*/ 1115952 w 4471962"/>
                  <a:gd name="connsiteY32" fmla="*/ 4111625 h 4429294"/>
                  <a:gd name="connsiteX33" fmla="*/ 896877 w 4471962"/>
                  <a:gd name="connsiteY33" fmla="*/ 3968750 h 4429294"/>
                  <a:gd name="connsiteX34" fmla="*/ 563502 w 4471962"/>
                  <a:gd name="connsiteY34" fmla="*/ 3657600 h 4429294"/>
                  <a:gd name="connsiteX35" fmla="*/ 417452 w 4471962"/>
                  <a:gd name="connsiteY35" fmla="*/ 3470275 h 4429294"/>
                  <a:gd name="connsiteX36" fmla="*/ 287277 w 4471962"/>
                  <a:gd name="connsiteY36" fmla="*/ 3244850 h 4429294"/>
                  <a:gd name="connsiteX37" fmla="*/ 134877 w 4471962"/>
                  <a:gd name="connsiteY37" fmla="*/ 2892425 h 4429294"/>
                  <a:gd name="connsiteX38" fmla="*/ 26927 w 4471962"/>
                  <a:gd name="connsiteY38" fmla="*/ 2368550 h 4429294"/>
                  <a:gd name="connsiteX39" fmla="*/ 1527 w 4471962"/>
                  <a:gd name="connsiteY39" fmla="*/ 1781175 h 4429294"/>
                  <a:gd name="connsiteX40" fmla="*/ 58677 w 4471962"/>
                  <a:gd name="connsiteY40" fmla="*/ 1590675 h 4429294"/>
                  <a:gd name="connsiteX41" fmla="*/ 106302 w 4471962"/>
                  <a:gd name="connsiteY41" fmla="*/ 1419225 h 4429294"/>
                  <a:gd name="connsiteX42" fmla="*/ 182502 w 4471962"/>
                  <a:gd name="connsiteY42" fmla="*/ 1276350 h 4429294"/>
                  <a:gd name="connsiteX43" fmla="*/ 268227 w 4471962"/>
                  <a:gd name="connsiteY43" fmla="*/ 1114425 h 4429294"/>
                  <a:gd name="connsiteX44" fmla="*/ 430152 w 4471962"/>
                  <a:gd name="connsiteY44" fmla="*/ 857250 h 4429294"/>
                  <a:gd name="connsiteX45" fmla="*/ 487302 w 4471962"/>
                  <a:gd name="connsiteY45" fmla="*/ 800100 h 4429294"/>
                  <a:gd name="connsiteX46" fmla="*/ 620652 w 4471962"/>
                  <a:gd name="connsiteY46" fmla="*/ 676275 h 4429294"/>
                  <a:gd name="connsiteX47" fmla="*/ 839727 w 4471962"/>
                  <a:gd name="connsiteY47" fmla="*/ 504825 h 4429294"/>
                  <a:gd name="connsiteX48" fmla="*/ 1119127 w 4471962"/>
                  <a:gd name="connsiteY48" fmla="*/ 311150 h 4429294"/>
                  <a:gd name="connsiteX49" fmla="*/ 1477902 w 4471962"/>
                  <a:gd name="connsiteY49" fmla="*/ 152400 h 4429294"/>
                  <a:gd name="connsiteX50" fmla="*/ 1592202 w 4471962"/>
                  <a:gd name="connsiteY50" fmla="*/ 111125 h 4429294"/>
                  <a:gd name="connsiteX51" fmla="*/ 2224027 w 4471962"/>
                  <a:gd name="connsiteY51" fmla="*/ 12700 h 4429294"/>
                  <a:gd name="connsiteX0" fmla="*/ 2231942 w 4454477"/>
                  <a:gd name="connsiteY0" fmla="*/ 0 h 4429294"/>
                  <a:gd name="connsiteX1" fmla="*/ 2555792 w 4454477"/>
                  <a:gd name="connsiteY1" fmla="*/ 15875 h 4429294"/>
                  <a:gd name="connsiteX2" fmla="*/ 2851067 w 4454477"/>
                  <a:gd name="connsiteY2" fmla="*/ 85725 h 4429294"/>
                  <a:gd name="connsiteX3" fmla="*/ 3070142 w 4454477"/>
                  <a:gd name="connsiteY3" fmla="*/ 171450 h 4429294"/>
                  <a:gd name="connsiteX4" fmla="*/ 3174917 w 4454477"/>
                  <a:gd name="connsiteY4" fmla="*/ 228600 h 4429294"/>
                  <a:gd name="connsiteX5" fmla="*/ 3355892 w 4454477"/>
                  <a:gd name="connsiteY5" fmla="*/ 323850 h 4429294"/>
                  <a:gd name="connsiteX6" fmla="*/ 3746417 w 4454477"/>
                  <a:gd name="connsiteY6" fmla="*/ 581025 h 4429294"/>
                  <a:gd name="connsiteX7" fmla="*/ 3962317 w 4454477"/>
                  <a:gd name="connsiteY7" fmla="*/ 819150 h 4429294"/>
                  <a:gd name="connsiteX8" fmla="*/ 4098842 w 4454477"/>
                  <a:gd name="connsiteY8" fmla="*/ 990600 h 4429294"/>
                  <a:gd name="connsiteX9" fmla="*/ 4184567 w 4454477"/>
                  <a:gd name="connsiteY9" fmla="*/ 1143000 h 4429294"/>
                  <a:gd name="connsiteX10" fmla="*/ 4241717 w 4454477"/>
                  <a:gd name="connsiteY10" fmla="*/ 1266825 h 4429294"/>
                  <a:gd name="connsiteX11" fmla="*/ 4279817 w 4454477"/>
                  <a:gd name="connsiteY11" fmla="*/ 1362075 h 4429294"/>
                  <a:gd name="connsiteX12" fmla="*/ 4327442 w 4454477"/>
                  <a:gd name="connsiteY12" fmla="*/ 1552575 h 4429294"/>
                  <a:gd name="connsiteX13" fmla="*/ 4365542 w 4454477"/>
                  <a:gd name="connsiteY13" fmla="*/ 1685925 h 4429294"/>
                  <a:gd name="connsiteX14" fmla="*/ 4454442 w 4454477"/>
                  <a:gd name="connsiteY14" fmla="*/ 2181225 h 4429294"/>
                  <a:gd name="connsiteX15" fmla="*/ 4381417 w 4454477"/>
                  <a:gd name="connsiteY15" fmla="*/ 2768600 h 4429294"/>
                  <a:gd name="connsiteX16" fmla="*/ 4317917 w 4454477"/>
                  <a:gd name="connsiteY16" fmla="*/ 2990850 h 4429294"/>
                  <a:gd name="connsiteX17" fmla="*/ 4213142 w 4454477"/>
                  <a:gd name="connsiteY17" fmla="*/ 3248025 h 4429294"/>
                  <a:gd name="connsiteX18" fmla="*/ 4117892 w 4454477"/>
                  <a:gd name="connsiteY18" fmla="*/ 3400425 h 4429294"/>
                  <a:gd name="connsiteX19" fmla="*/ 3994067 w 4454477"/>
                  <a:gd name="connsiteY19" fmla="*/ 3533775 h 4429294"/>
                  <a:gd name="connsiteX20" fmla="*/ 3889292 w 4454477"/>
                  <a:gd name="connsiteY20" fmla="*/ 3648075 h 4429294"/>
                  <a:gd name="connsiteX21" fmla="*/ 3594017 w 4454477"/>
                  <a:gd name="connsiteY21" fmla="*/ 3971925 h 4429294"/>
                  <a:gd name="connsiteX22" fmla="*/ 3451142 w 4454477"/>
                  <a:gd name="connsiteY22" fmla="*/ 4083050 h 4429294"/>
                  <a:gd name="connsiteX23" fmla="*/ 3155867 w 4454477"/>
                  <a:gd name="connsiteY23" fmla="*/ 4222750 h 4429294"/>
                  <a:gd name="connsiteX24" fmla="*/ 3003467 w 4454477"/>
                  <a:gd name="connsiteY24" fmla="*/ 4286250 h 4429294"/>
                  <a:gd name="connsiteX25" fmla="*/ 2870117 w 4454477"/>
                  <a:gd name="connsiteY25" fmla="*/ 4333875 h 4429294"/>
                  <a:gd name="connsiteX26" fmla="*/ 2746292 w 4454477"/>
                  <a:gd name="connsiteY26" fmla="*/ 4371975 h 4429294"/>
                  <a:gd name="connsiteX27" fmla="*/ 2514517 w 4454477"/>
                  <a:gd name="connsiteY27" fmla="*/ 4391025 h 4429294"/>
                  <a:gd name="connsiteX28" fmla="*/ 2060492 w 4454477"/>
                  <a:gd name="connsiteY28" fmla="*/ 4429125 h 4429294"/>
                  <a:gd name="connsiteX29" fmla="*/ 1869992 w 4454477"/>
                  <a:gd name="connsiteY29" fmla="*/ 4400550 h 4429294"/>
                  <a:gd name="connsiteX30" fmla="*/ 1508042 w 4454477"/>
                  <a:gd name="connsiteY30" fmla="*/ 4305300 h 4429294"/>
                  <a:gd name="connsiteX31" fmla="*/ 1266742 w 4454477"/>
                  <a:gd name="connsiteY31" fmla="*/ 4216400 h 4429294"/>
                  <a:gd name="connsiteX32" fmla="*/ 1098467 w 4454477"/>
                  <a:gd name="connsiteY32" fmla="*/ 4111625 h 4429294"/>
                  <a:gd name="connsiteX33" fmla="*/ 879392 w 4454477"/>
                  <a:gd name="connsiteY33" fmla="*/ 3968750 h 4429294"/>
                  <a:gd name="connsiteX34" fmla="*/ 546017 w 4454477"/>
                  <a:gd name="connsiteY34" fmla="*/ 3657600 h 4429294"/>
                  <a:gd name="connsiteX35" fmla="*/ 399967 w 4454477"/>
                  <a:gd name="connsiteY35" fmla="*/ 3470275 h 4429294"/>
                  <a:gd name="connsiteX36" fmla="*/ 269792 w 4454477"/>
                  <a:gd name="connsiteY36" fmla="*/ 3244850 h 4429294"/>
                  <a:gd name="connsiteX37" fmla="*/ 117392 w 4454477"/>
                  <a:gd name="connsiteY37" fmla="*/ 2892425 h 4429294"/>
                  <a:gd name="connsiteX38" fmla="*/ 9442 w 4454477"/>
                  <a:gd name="connsiteY38" fmla="*/ 2368550 h 4429294"/>
                  <a:gd name="connsiteX39" fmla="*/ 15792 w 4454477"/>
                  <a:gd name="connsiteY39" fmla="*/ 1870075 h 4429294"/>
                  <a:gd name="connsiteX40" fmla="*/ 41192 w 4454477"/>
                  <a:gd name="connsiteY40" fmla="*/ 1590675 h 4429294"/>
                  <a:gd name="connsiteX41" fmla="*/ 88817 w 4454477"/>
                  <a:gd name="connsiteY41" fmla="*/ 1419225 h 4429294"/>
                  <a:gd name="connsiteX42" fmla="*/ 165017 w 4454477"/>
                  <a:gd name="connsiteY42" fmla="*/ 1276350 h 4429294"/>
                  <a:gd name="connsiteX43" fmla="*/ 250742 w 4454477"/>
                  <a:gd name="connsiteY43" fmla="*/ 1114425 h 4429294"/>
                  <a:gd name="connsiteX44" fmla="*/ 412667 w 4454477"/>
                  <a:gd name="connsiteY44" fmla="*/ 857250 h 4429294"/>
                  <a:gd name="connsiteX45" fmla="*/ 469817 w 4454477"/>
                  <a:gd name="connsiteY45" fmla="*/ 800100 h 4429294"/>
                  <a:gd name="connsiteX46" fmla="*/ 603167 w 4454477"/>
                  <a:gd name="connsiteY46" fmla="*/ 676275 h 4429294"/>
                  <a:gd name="connsiteX47" fmla="*/ 822242 w 4454477"/>
                  <a:gd name="connsiteY47" fmla="*/ 504825 h 4429294"/>
                  <a:gd name="connsiteX48" fmla="*/ 1101642 w 4454477"/>
                  <a:gd name="connsiteY48" fmla="*/ 311150 h 4429294"/>
                  <a:gd name="connsiteX49" fmla="*/ 1460417 w 4454477"/>
                  <a:gd name="connsiteY49" fmla="*/ 152400 h 4429294"/>
                  <a:gd name="connsiteX50" fmla="*/ 1574717 w 4454477"/>
                  <a:gd name="connsiteY50" fmla="*/ 111125 h 4429294"/>
                  <a:gd name="connsiteX51" fmla="*/ 2206542 w 4454477"/>
                  <a:gd name="connsiteY51" fmla="*/ 12700 h 4429294"/>
                  <a:gd name="connsiteX0" fmla="*/ 2233750 w 4456285"/>
                  <a:gd name="connsiteY0" fmla="*/ 0 h 4429294"/>
                  <a:gd name="connsiteX1" fmla="*/ 2557600 w 4456285"/>
                  <a:gd name="connsiteY1" fmla="*/ 15875 h 4429294"/>
                  <a:gd name="connsiteX2" fmla="*/ 2852875 w 4456285"/>
                  <a:gd name="connsiteY2" fmla="*/ 85725 h 4429294"/>
                  <a:gd name="connsiteX3" fmla="*/ 3071950 w 4456285"/>
                  <a:gd name="connsiteY3" fmla="*/ 171450 h 4429294"/>
                  <a:gd name="connsiteX4" fmla="*/ 3176725 w 4456285"/>
                  <a:gd name="connsiteY4" fmla="*/ 228600 h 4429294"/>
                  <a:gd name="connsiteX5" fmla="*/ 3357700 w 4456285"/>
                  <a:gd name="connsiteY5" fmla="*/ 323850 h 4429294"/>
                  <a:gd name="connsiteX6" fmla="*/ 3748225 w 4456285"/>
                  <a:gd name="connsiteY6" fmla="*/ 581025 h 4429294"/>
                  <a:gd name="connsiteX7" fmla="*/ 3964125 w 4456285"/>
                  <a:gd name="connsiteY7" fmla="*/ 819150 h 4429294"/>
                  <a:gd name="connsiteX8" fmla="*/ 4100650 w 4456285"/>
                  <a:gd name="connsiteY8" fmla="*/ 990600 h 4429294"/>
                  <a:gd name="connsiteX9" fmla="*/ 4186375 w 4456285"/>
                  <a:gd name="connsiteY9" fmla="*/ 1143000 h 4429294"/>
                  <a:gd name="connsiteX10" fmla="*/ 4243525 w 4456285"/>
                  <a:gd name="connsiteY10" fmla="*/ 1266825 h 4429294"/>
                  <a:gd name="connsiteX11" fmla="*/ 4281625 w 4456285"/>
                  <a:gd name="connsiteY11" fmla="*/ 1362075 h 4429294"/>
                  <a:gd name="connsiteX12" fmla="*/ 4329250 w 4456285"/>
                  <a:gd name="connsiteY12" fmla="*/ 1552575 h 4429294"/>
                  <a:gd name="connsiteX13" fmla="*/ 4367350 w 4456285"/>
                  <a:gd name="connsiteY13" fmla="*/ 1685925 h 4429294"/>
                  <a:gd name="connsiteX14" fmla="*/ 4456250 w 4456285"/>
                  <a:gd name="connsiteY14" fmla="*/ 2181225 h 4429294"/>
                  <a:gd name="connsiteX15" fmla="*/ 4383225 w 4456285"/>
                  <a:gd name="connsiteY15" fmla="*/ 2768600 h 4429294"/>
                  <a:gd name="connsiteX16" fmla="*/ 4319725 w 4456285"/>
                  <a:gd name="connsiteY16" fmla="*/ 2990850 h 4429294"/>
                  <a:gd name="connsiteX17" fmla="*/ 4214950 w 4456285"/>
                  <a:gd name="connsiteY17" fmla="*/ 3248025 h 4429294"/>
                  <a:gd name="connsiteX18" fmla="*/ 4119700 w 4456285"/>
                  <a:gd name="connsiteY18" fmla="*/ 3400425 h 4429294"/>
                  <a:gd name="connsiteX19" fmla="*/ 3995875 w 4456285"/>
                  <a:gd name="connsiteY19" fmla="*/ 3533775 h 4429294"/>
                  <a:gd name="connsiteX20" fmla="*/ 3891100 w 4456285"/>
                  <a:gd name="connsiteY20" fmla="*/ 3648075 h 4429294"/>
                  <a:gd name="connsiteX21" fmla="*/ 3595825 w 4456285"/>
                  <a:gd name="connsiteY21" fmla="*/ 3971925 h 4429294"/>
                  <a:gd name="connsiteX22" fmla="*/ 3452950 w 4456285"/>
                  <a:gd name="connsiteY22" fmla="*/ 4083050 h 4429294"/>
                  <a:gd name="connsiteX23" fmla="*/ 3157675 w 4456285"/>
                  <a:gd name="connsiteY23" fmla="*/ 4222750 h 4429294"/>
                  <a:gd name="connsiteX24" fmla="*/ 3005275 w 4456285"/>
                  <a:gd name="connsiteY24" fmla="*/ 4286250 h 4429294"/>
                  <a:gd name="connsiteX25" fmla="*/ 2871925 w 4456285"/>
                  <a:gd name="connsiteY25" fmla="*/ 4333875 h 4429294"/>
                  <a:gd name="connsiteX26" fmla="*/ 2748100 w 4456285"/>
                  <a:gd name="connsiteY26" fmla="*/ 4371975 h 4429294"/>
                  <a:gd name="connsiteX27" fmla="*/ 2516325 w 4456285"/>
                  <a:gd name="connsiteY27" fmla="*/ 4391025 h 4429294"/>
                  <a:gd name="connsiteX28" fmla="*/ 2062300 w 4456285"/>
                  <a:gd name="connsiteY28" fmla="*/ 4429125 h 4429294"/>
                  <a:gd name="connsiteX29" fmla="*/ 1871800 w 4456285"/>
                  <a:gd name="connsiteY29" fmla="*/ 4400550 h 4429294"/>
                  <a:gd name="connsiteX30" fmla="*/ 1509850 w 4456285"/>
                  <a:gd name="connsiteY30" fmla="*/ 4305300 h 4429294"/>
                  <a:gd name="connsiteX31" fmla="*/ 1268550 w 4456285"/>
                  <a:gd name="connsiteY31" fmla="*/ 4216400 h 4429294"/>
                  <a:gd name="connsiteX32" fmla="*/ 1100275 w 4456285"/>
                  <a:gd name="connsiteY32" fmla="*/ 4111625 h 4429294"/>
                  <a:gd name="connsiteX33" fmla="*/ 881200 w 4456285"/>
                  <a:gd name="connsiteY33" fmla="*/ 3968750 h 4429294"/>
                  <a:gd name="connsiteX34" fmla="*/ 547825 w 4456285"/>
                  <a:gd name="connsiteY34" fmla="*/ 3657600 h 4429294"/>
                  <a:gd name="connsiteX35" fmla="*/ 401775 w 4456285"/>
                  <a:gd name="connsiteY35" fmla="*/ 3470275 h 4429294"/>
                  <a:gd name="connsiteX36" fmla="*/ 271600 w 4456285"/>
                  <a:gd name="connsiteY36" fmla="*/ 3244850 h 4429294"/>
                  <a:gd name="connsiteX37" fmla="*/ 119200 w 4456285"/>
                  <a:gd name="connsiteY37" fmla="*/ 2892425 h 4429294"/>
                  <a:gd name="connsiteX38" fmla="*/ 11250 w 4456285"/>
                  <a:gd name="connsiteY38" fmla="*/ 2368550 h 4429294"/>
                  <a:gd name="connsiteX39" fmla="*/ 17600 w 4456285"/>
                  <a:gd name="connsiteY39" fmla="*/ 1870075 h 4429294"/>
                  <a:gd name="connsiteX40" fmla="*/ 90625 w 4456285"/>
                  <a:gd name="connsiteY40" fmla="*/ 1419225 h 4429294"/>
                  <a:gd name="connsiteX41" fmla="*/ 166825 w 4456285"/>
                  <a:gd name="connsiteY41" fmla="*/ 1276350 h 4429294"/>
                  <a:gd name="connsiteX42" fmla="*/ 252550 w 4456285"/>
                  <a:gd name="connsiteY42" fmla="*/ 1114425 h 4429294"/>
                  <a:gd name="connsiteX43" fmla="*/ 414475 w 4456285"/>
                  <a:gd name="connsiteY43" fmla="*/ 857250 h 4429294"/>
                  <a:gd name="connsiteX44" fmla="*/ 471625 w 4456285"/>
                  <a:gd name="connsiteY44" fmla="*/ 800100 h 4429294"/>
                  <a:gd name="connsiteX45" fmla="*/ 604975 w 4456285"/>
                  <a:gd name="connsiteY45" fmla="*/ 676275 h 4429294"/>
                  <a:gd name="connsiteX46" fmla="*/ 824050 w 4456285"/>
                  <a:gd name="connsiteY46" fmla="*/ 504825 h 4429294"/>
                  <a:gd name="connsiteX47" fmla="*/ 1103450 w 4456285"/>
                  <a:gd name="connsiteY47" fmla="*/ 311150 h 4429294"/>
                  <a:gd name="connsiteX48" fmla="*/ 1462225 w 4456285"/>
                  <a:gd name="connsiteY48" fmla="*/ 152400 h 4429294"/>
                  <a:gd name="connsiteX49" fmla="*/ 1576525 w 4456285"/>
                  <a:gd name="connsiteY49" fmla="*/ 111125 h 4429294"/>
                  <a:gd name="connsiteX50" fmla="*/ 2208350 w 4456285"/>
                  <a:gd name="connsiteY50" fmla="*/ 12700 h 4429294"/>
                  <a:gd name="connsiteX0" fmla="*/ 2237540 w 4460075"/>
                  <a:gd name="connsiteY0" fmla="*/ 0 h 4429294"/>
                  <a:gd name="connsiteX1" fmla="*/ 2561390 w 4460075"/>
                  <a:gd name="connsiteY1" fmla="*/ 15875 h 4429294"/>
                  <a:gd name="connsiteX2" fmla="*/ 2856665 w 4460075"/>
                  <a:gd name="connsiteY2" fmla="*/ 85725 h 4429294"/>
                  <a:gd name="connsiteX3" fmla="*/ 3075740 w 4460075"/>
                  <a:gd name="connsiteY3" fmla="*/ 171450 h 4429294"/>
                  <a:gd name="connsiteX4" fmla="*/ 3180515 w 4460075"/>
                  <a:gd name="connsiteY4" fmla="*/ 228600 h 4429294"/>
                  <a:gd name="connsiteX5" fmla="*/ 3361490 w 4460075"/>
                  <a:gd name="connsiteY5" fmla="*/ 323850 h 4429294"/>
                  <a:gd name="connsiteX6" fmla="*/ 3752015 w 4460075"/>
                  <a:gd name="connsiteY6" fmla="*/ 581025 h 4429294"/>
                  <a:gd name="connsiteX7" fmla="*/ 3967915 w 4460075"/>
                  <a:gd name="connsiteY7" fmla="*/ 819150 h 4429294"/>
                  <a:gd name="connsiteX8" fmla="*/ 4104440 w 4460075"/>
                  <a:gd name="connsiteY8" fmla="*/ 990600 h 4429294"/>
                  <a:gd name="connsiteX9" fmla="*/ 4190165 w 4460075"/>
                  <a:gd name="connsiteY9" fmla="*/ 1143000 h 4429294"/>
                  <a:gd name="connsiteX10" fmla="*/ 4247315 w 4460075"/>
                  <a:gd name="connsiteY10" fmla="*/ 1266825 h 4429294"/>
                  <a:gd name="connsiteX11" fmla="*/ 4285415 w 4460075"/>
                  <a:gd name="connsiteY11" fmla="*/ 1362075 h 4429294"/>
                  <a:gd name="connsiteX12" fmla="*/ 4333040 w 4460075"/>
                  <a:gd name="connsiteY12" fmla="*/ 1552575 h 4429294"/>
                  <a:gd name="connsiteX13" fmla="*/ 4371140 w 4460075"/>
                  <a:gd name="connsiteY13" fmla="*/ 1685925 h 4429294"/>
                  <a:gd name="connsiteX14" fmla="*/ 4460040 w 4460075"/>
                  <a:gd name="connsiteY14" fmla="*/ 2181225 h 4429294"/>
                  <a:gd name="connsiteX15" fmla="*/ 4387015 w 4460075"/>
                  <a:gd name="connsiteY15" fmla="*/ 2768600 h 4429294"/>
                  <a:gd name="connsiteX16" fmla="*/ 4323515 w 4460075"/>
                  <a:gd name="connsiteY16" fmla="*/ 2990850 h 4429294"/>
                  <a:gd name="connsiteX17" fmla="*/ 4218740 w 4460075"/>
                  <a:gd name="connsiteY17" fmla="*/ 3248025 h 4429294"/>
                  <a:gd name="connsiteX18" fmla="*/ 4123490 w 4460075"/>
                  <a:gd name="connsiteY18" fmla="*/ 3400425 h 4429294"/>
                  <a:gd name="connsiteX19" fmla="*/ 3999665 w 4460075"/>
                  <a:gd name="connsiteY19" fmla="*/ 3533775 h 4429294"/>
                  <a:gd name="connsiteX20" fmla="*/ 3894890 w 4460075"/>
                  <a:gd name="connsiteY20" fmla="*/ 3648075 h 4429294"/>
                  <a:gd name="connsiteX21" fmla="*/ 3599615 w 4460075"/>
                  <a:gd name="connsiteY21" fmla="*/ 3971925 h 4429294"/>
                  <a:gd name="connsiteX22" fmla="*/ 3456740 w 4460075"/>
                  <a:gd name="connsiteY22" fmla="*/ 4083050 h 4429294"/>
                  <a:gd name="connsiteX23" fmla="*/ 3161465 w 4460075"/>
                  <a:gd name="connsiteY23" fmla="*/ 4222750 h 4429294"/>
                  <a:gd name="connsiteX24" fmla="*/ 3009065 w 4460075"/>
                  <a:gd name="connsiteY24" fmla="*/ 4286250 h 4429294"/>
                  <a:gd name="connsiteX25" fmla="*/ 2875715 w 4460075"/>
                  <a:gd name="connsiteY25" fmla="*/ 4333875 h 4429294"/>
                  <a:gd name="connsiteX26" fmla="*/ 2751890 w 4460075"/>
                  <a:gd name="connsiteY26" fmla="*/ 4371975 h 4429294"/>
                  <a:gd name="connsiteX27" fmla="*/ 2520115 w 4460075"/>
                  <a:gd name="connsiteY27" fmla="*/ 4391025 h 4429294"/>
                  <a:gd name="connsiteX28" fmla="*/ 2066090 w 4460075"/>
                  <a:gd name="connsiteY28" fmla="*/ 4429125 h 4429294"/>
                  <a:gd name="connsiteX29" fmla="*/ 1875590 w 4460075"/>
                  <a:gd name="connsiteY29" fmla="*/ 4400550 h 4429294"/>
                  <a:gd name="connsiteX30" fmla="*/ 1513640 w 4460075"/>
                  <a:gd name="connsiteY30" fmla="*/ 4305300 h 4429294"/>
                  <a:gd name="connsiteX31" fmla="*/ 1272340 w 4460075"/>
                  <a:gd name="connsiteY31" fmla="*/ 4216400 h 4429294"/>
                  <a:gd name="connsiteX32" fmla="*/ 1104065 w 4460075"/>
                  <a:gd name="connsiteY32" fmla="*/ 4111625 h 4429294"/>
                  <a:gd name="connsiteX33" fmla="*/ 884990 w 4460075"/>
                  <a:gd name="connsiteY33" fmla="*/ 3968750 h 4429294"/>
                  <a:gd name="connsiteX34" fmla="*/ 551615 w 4460075"/>
                  <a:gd name="connsiteY34" fmla="*/ 3657600 h 4429294"/>
                  <a:gd name="connsiteX35" fmla="*/ 405565 w 4460075"/>
                  <a:gd name="connsiteY35" fmla="*/ 3470275 h 4429294"/>
                  <a:gd name="connsiteX36" fmla="*/ 275390 w 4460075"/>
                  <a:gd name="connsiteY36" fmla="*/ 3244850 h 4429294"/>
                  <a:gd name="connsiteX37" fmla="*/ 122990 w 4460075"/>
                  <a:gd name="connsiteY37" fmla="*/ 2892425 h 4429294"/>
                  <a:gd name="connsiteX38" fmla="*/ 15040 w 4460075"/>
                  <a:gd name="connsiteY38" fmla="*/ 2368550 h 4429294"/>
                  <a:gd name="connsiteX39" fmla="*/ 21390 w 4460075"/>
                  <a:gd name="connsiteY39" fmla="*/ 1870075 h 4429294"/>
                  <a:gd name="connsiteX40" fmla="*/ 170615 w 4460075"/>
                  <a:gd name="connsiteY40" fmla="*/ 1276350 h 4429294"/>
                  <a:gd name="connsiteX41" fmla="*/ 256340 w 4460075"/>
                  <a:gd name="connsiteY41" fmla="*/ 1114425 h 4429294"/>
                  <a:gd name="connsiteX42" fmla="*/ 418265 w 4460075"/>
                  <a:gd name="connsiteY42" fmla="*/ 857250 h 4429294"/>
                  <a:gd name="connsiteX43" fmla="*/ 475415 w 4460075"/>
                  <a:gd name="connsiteY43" fmla="*/ 800100 h 4429294"/>
                  <a:gd name="connsiteX44" fmla="*/ 608765 w 4460075"/>
                  <a:gd name="connsiteY44" fmla="*/ 676275 h 4429294"/>
                  <a:gd name="connsiteX45" fmla="*/ 827840 w 4460075"/>
                  <a:gd name="connsiteY45" fmla="*/ 504825 h 4429294"/>
                  <a:gd name="connsiteX46" fmla="*/ 1107240 w 4460075"/>
                  <a:gd name="connsiteY46" fmla="*/ 311150 h 4429294"/>
                  <a:gd name="connsiteX47" fmla="*/ 1466015 w 4460075"/>
                  <a:gd name="connsiteY47" fmla="*/ 152400 h 4429294"/>
                  <a:gd name="connsiteX48" fmla="*/ 1580315 w 4460075"/>
                  <a:gd name="connsiteY48" fmla="*/ 111125 h 4429294"/>
                  <a:gd name="connsiteX49" fmla="*/ 2212140 w 4460075"/>
                  <a:gd name="connsiteY49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57065 w 4460800"/>
                  <a:gd name="connsiteY41" fmla="*/ 1114425 h 4429294"/>
                  <a:gd name="connsiteX42" fmla="*/ 418990 w 4460800"/>
                  <a:gd name="connsiteY42" fmla="*/ 857250 h 4429294"/>
                  <a:gd name="connsiteX43" fmla="*/ 476140 w 4460800"/>
                  <a:gd name="connsiteY43" fmla="*/ 800100 h 4429294"/>
                  <a:gd name="connsiteX44" fmla="*/ 609490 w 4460800"/>
                  <a:gd name="connsiteY44" fmla="*/ 676275 h 4429294"/>
                  <a:gd name="connsiteX45" fmla="*/ 828565 w 4460800"/>
                  <a:gd name="connsiteY45" fmla="*/ 504825 h 4429294"/>
                  <a:gd name="connsiteX46" fmla="*/ 1107965 w 4460800"/>
                  <a:gd name="connsiteY46" fmla="*/ 311150 h 4429294"/>
                  <a:gd name="connsiteX47" fmla="*/ 1466740 w 4460800"/>
                  <a:gd name="connsiteY47" fmla="*/ 152400 h 4429294"/>
                  <a:gd name="connsiteX48" fmla="*/ 1581040 w 4460800"/>
                  <a:gd name="connsiteY48" fmla="*/ 111125 h 4429294"/>
                  <a:gd name="connsiteX49" fmla="*/ 2212865 w 4460800"/>
                  <a:gd name="connsiteY49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418990 w 4460800"/>
                  <a:gd name="connsiteY42" fmla="*/ 857250 h 4429294"/>
                  <a:gd name="connsiteX43" fmla="*/ 476140 w 4460800"/>
                  <a:gd name="connsiteY43" fmla="*/ 800100 h 4429294"/>
                  <a:gd name="connsiteX44" fmla="*/ 609490 w 4460800"/>
                  <a:gd name="connsiteY44" fmla="*/ 676275 h 4429294"/>
                  <a:gd name="connsiteX45" fmla="*/ 828565 w 4460800"/>
                  <a:gd name="connsiteY45" fmla="*/ 504825 h 4429294"/>
                  <a:gd name="connsiteX46" fmla="*/ 1107965 w 4460800"/>
                  <a:gd name="connsiteY46" fmla="*/ 311150 h 4429294"/>
                  <a:gd name="connsiteX47" fmla="*/ 1466740 w 4460800"/>
                  <a:gd name="connsiteY47" fmla="*/ 152400 h 4429294"/>
                  <a:gd name="connsiteX48" fmla="*/ 1581040 w 4460800"/>
                  <a:gd name="connsiteY48" fmla="*/ 111125 h 4429294"/>
                  <a:gd name="connsiteX49" fmla="*/ 2212865 w 4460800"/>
                  <a:gd name="connsiteY49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476140 w 4460800"/>
                  <a:gd name="connsiteY42" fmla="*/ 800100 h 4429294"/>
                  <a:gd name="connsiteX43" fmla="*/ 609490 w 4460800"/>
                  <a:gd name="connsiteY43" fmla="*/ 676275 h 4429294"/>
                  <a:gd name="connsiteX44" fmla="*/ 828565 w 4460800"/>
                  <a:gd name="connsiteY44" fmla="*/ 504825 h 4429294"/>
                  <a:gd name="connsiteX45" fmla="*/ 1107965 w 4460800"/>
                  <a:gd name="connsiteY45" fmla="*/ 311150 h 4429294"/>
                  <a:gd name="connsiteX46" fmla="*/ 1466740 w 4460800"/>
                  <a:gd name="connsiteY46" fmla="*/ 152400 h 4429294"/>
                  <a:gd name="connsiteX47" fmla="*/ 1581040 w 4460800"/>
                  <a:gd name="connsiteY47" fmla="*/ 111125 h 4429294"/>
                  <a:gd name="connsiteX48" fmla="*/ 2212865 w 4460800"/>
                  <a:gd name="connsiteY48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609490 w 4460800"/>
                  <a:gd name="connsiteY42" fmla="*/ 676275 h 4429294"/>
                  <a:gd name="connsiteX43" fmla="*/ 828565 w 4460800"/>
                  <a:gd name="connsiteY43" fmla="*/ 504825 h 4429294"/>
                  <a:gd name="connsiteX44" fmla="*/ 1107965 w 4460800"/>
                  <a:gd name="connsiteY44" fmla="*/ 311150 h 4429294"/>
                  <a:gd name="connsiteX45" fmla="*/ 1466740 w 4460800"/>
                  <a:gd name="connsiteY45" fmla="*/ 152400 h 4429294"/>
                  <a:gd name="connsiteX46" fmla="*/ 1581040 w 4460800"/>
                  <a:gd name="connsiteY46" fmla="*/ 111125 h 4429294"/>
                  <a:gd name="connsiteX47" fmla="*/ 2212865 w 4460800"/>
                  <a:gd name="connsiteY47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609490 w 4460800"/>
                  <a:gd name="connsiteY42" fmla="*/ 676275 h 4429294"/>
                  <a:gd name="connsiteX43" fmla="*/ 828565 w 4460800"/>
                  <a:gd name="connsiteY43" fmla="*/ 504825 h 4429294"/>
                  <a:gd name="connsiteX44" fmla="*/ 1107965 w 4460800"/>
                  <a:gd name="connsiteY44" fmla="*/ 311150 h 4429294"/>
                  <a:gd name="connsiteX45" fmla="*/ 1466740 w 4460800"/>
                  <a:gd name="connsiteY45" fmla="*/ 152400 h 4429294"/>
                  <a:gd name="connsiteX46" fmla="*/ 1581040 w 4460800"/>
                  <a:gd name="connsiteY46" fmla="*/ 111125 h 4429294"/>
                  <a:gd name="connsiteX47" fmla="*/ 2212865 w 4460800"/>
                  <a:gd name="connsiteY47" fmla="*/ 12700 h 4429294"/>
                  <a:gd name="connsiteX48" fmla="*/ 2238265 w 4460800"/>
                  <a:gd name="connsiteY48" fmla="*/ 0 h 4429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4460800" h="4429294">
                    <a:moveTo>
                      <a:pt x="2238265" y="0"/>
                    </a:moveTo>
                    <a:cubicBezTo>
                      <a:pt x="2346215" y="5292"/>
                      <a:pt x="2458928" y="1588"/>
                      <a:pt x="2562115" y="15875"/>
                    </a:cubicBezTo>
                    <a:cubicBezTo>
                      <a:pt x="2665302" y="30162"/>
                      <a:pt x="2798653" y="69321"/>
                      <a:pt x="2857390" y="85725"/>
                    </a:cubicBezTo>
                    <a:cubicBezTo>
                      <a:pt x="2943115" y="111654"/>
                      <a:pt x="3033603" y="153988"/>
                      <a:pt x="3076465" y="171450"/>
                    </a:cubicBezTo>
                    <a:cubicBezTo>
                      <a:pt x="3130440" y="195262"/>
                      <a:pt x="3133615" y="203200"/>
                      <a:pt x="3181240" y="228600"/>
                    </a:cubicBezTo>
                    <a:cubicBezTo>
                      <a:pt x="3228865" y="254000"/>
                      <a:pt x="3266965" y="265113"/>
                      <a:pt x="3362215" y="323850"/>
                    </a:cubicBezTo>
                    <a:cubicBezTo>
                      <a:pt x="3457465" y="382588"/>
                      <a:pt x="3651669" y="498475"/>
                      <a:pt x="3752740" y="581025"/>
                    </a:cubicBezTo>
                    <a:cubicBezTo>
                      <a:pt x="3853811" y="663575"/>
                      <a:pt x="3909903" y="750888"/>
                      <a:pt x="3968640" y="819150"/>
                    </a:cubicBezTo>
                    <a:cubicBezTo>
                      <a:pt x="4027378" y="887413"/>
                      <a:pt x="4068123" y="936625"/>
                      <a:pt x="4105165" y="990600"/>
                    </a:cubicBezTo>
                    <a:cubicBezTo>
                      <a:pt x="4142207" y="1044575"/>
                      <a:pt x="4175015" y="1109663"/>
                      <a:pt x="4190890" y="1143000"/>
                    </a:cubicBezTo>
                    <a:cubicBezTo>
                      <a:pt x="4214703" y="1189038"/>
                      <a:pt x="4232165" y="1230313"/>
                      <a:pt x="4248040" y="1266825"/>
                    </a:cubicBezTo>
                    <a:cubicBezTo>
                      <a:pt x="4263915" y="1303338"/>
                      <a:pt x="4271853" y="1314450"/>
                      <a:pt x="4286140" y="1362075"/>
                    </a:cubicBezTo>
                    <a:cubicBezTo>
                      <a:pt x="4300427" y="1409700"/>
                      <a:pt x="4319478" y="1498600"/>
                      <a:pt x="4333765" y="1552575"/>
                    </a:cubicBezTo>
                    <a:cubicBezTo>
                      <a:pt x="4348053" y="1606550"/>
                      <a:pt x="4350698" y="1581150"/>
                      <a:pt x="4371865" y="1685925"/>
                    </a:cubicBezTo>
                    <a:cubicBezTo>
                      <a:pt x="4393032" y="1790700"/>
                      <a:pt x="4459178" y="1982788"/>
                      <a:pt x="4460765" y="2181225"/>
                    </a:cubicBezTo>
                    <a:cubicBezTo>
                      <a:pt x="4462352" y="2379662"/>
                      <a:pt x="4410494" y="2633663"/>
                      <a:pt x="4387740" y="2768600"/>
                    </a:cubicBezTo>
                    <a:cubicBezTo>
                      <a:pt x="4364986" y="2903537"/>
                      <a:pt x="4352286" y="2910946"/>
                      <a:pt x="4324240" y="2990850"/>
                    </a:cubicBezTo>
                    <a:cubicBezTo>
                      <a:pt x="4296194" y="3070754"/>
                      <a:pt x="4252802" y="3179763"/>
                      <a:pt x="4219465" y="3248025"/>
                    </a:cubicBezTo>
                    <a:cubicBezTo>
                      <a:pt x="4186128" y="3316287"/>
                      <a:pt x="4160728" y="3352800"/>
                      <a:pt x="4124215" y="3400425"/>
                    </a:cubicBezTo>
                    <a:cubicBezTo>
                      <a:pt x="4087703" y="3448050"/>
                      <a:pt x="4038490" y="3492500"/>
                      <a:pt x="4000390" y="3533775"/>
                    </a:cubicBezTo>
                    <a:lnTo>
                      <a:pt x="3895615" y="3648075"/>
                    </a:lnTo>
                    <a:cubicBezTo>
                      <a:pt x="3797190" y="3756025"/>
                      <a:pt x="3673365" y="3899429"/>
                      <a:pt x="3600340" y="3971925"/>
                    </a:cubicBezTo>
                    <a:cubicBezTo>
                      <a:pt x="3527315" y="4044421"/>
                      <a:pt x="3530490" y="4041246"/>
                      <a:pt x="3457465" y="4083050"/>
                    </a:cubicBezTo>
                    <a:cubicBezTo>
                      <a:pt x="3384440" y="4124854"/>
                      <a:pt x="3236802" y="4188883"/>
                      <a:pt x="3162190" y="4222750"/>
                    </a:cubicBezTo>
                    <a:cubicBezTo>
                      <a:pt x="3087578" y="4256617"/>
                      <a:pt x="3038173" y="4283885"/>
                      <a:pt x="3009790" y="4286250"/>
                    </a:cubicBezTo>
                    <a:cubicBezTo>
                      <a:pt x="2947977" y="4310975"/>
                      <a:pt x="2954113" y="4309602"/>
                      <a:pt x="2876440" y="4333875"/>
                    </a:cubicBezTo>
                    <a:cubicBezTo>
                      <a:pt x="2853306" y="4341104"/>
                      <a:pt x="2811882" y="4362450"/>
                      <a:pt x="2752615" y="4371975"/>
                    </a:cubicBezTo>
                    <a:cubicBezTo>
                      <a:pt x="2693348" y="4381500"/>
                      <a:pt x="2635140" y="4381500"/>
                      <a:pt x="2520840" y="4391025"/>
                    </a:cubicBezTo>
                    <a:cubicBezTo>
                      <a:pt x="2406540" y="4400550"/>
                      <a:pt x="2174236" y="4427538"/>
                      <a:pt x="2066815" y="4429125"/>
                    </a:cubicBezTo>
                    <a:cubicBezTo>
                      <a:pt x="1959394" y="4430712"/>
                      <a:pt x="1968390" y="4421187"/>
                      <a:pt x="1876315" y="4400550"/>
                    </a:cubicBezTo>
                    <a:cubicBezTo>
                      <a:pt x="1784240" y="4379913"/>
                      <a:pt x="1614907" y="4335992"/>
                      <a:pt x="1514365" y="4305300"/>
                    </a:cubicBezTo>
                    <a:cubicBezTo>
                      <a:pt x="1413823" y="4274608"/>
                      <a:pt x="1353498" y="4246033"/>
                      <a:pt x="1273065" y="4216400"/>
                    </a:cubicBezTo>
                    <a:cubicBezTo>
                      <a:pt x="1206390" y="4187825"/>
                      <a:pt x="1169348" y="4152900"/>
                      <a:pt x="1104790" y="4111625"/>
                    </a:cubicBezTo>
                    <a:cubicBezTo>
                      <a:pt x="1040232" y="4070350"/>
                      <a:pt x="977790" y="4044421"/>
                      <a:pt x="885715" y="3968750"/>
                    </a:cubicBezTo>
                    <a:cubicBezTo>
                      <a:pt x="793640" y="3893079"/>
                      <a:pt x="632244" y="3740679"/>
                      <a:pt x="552340" y="3657600"/>
                    </a:cubicBezTo>
                    <a:cubicBezTo>
                      <a:pt x="472436" y="3574521"/>
                      <a:pt x="452327" y="3539067"/>
                      <a:pt x="406290" y="3470275"/>
                    </a:cubicBezTo>
                    <a:cubicBezTo>
                      <a:pt x="360253" y="3401483"/>
                      <a:pt x="323211" y="3341158"/>
                      <a:pt x="276115" y="3244850"/>
                    </a:cubicBezTo>
                    <a:cubicBezTo>
                      <a:pt x="229019" y="3148542"/>
                      <a:pt x="167107" y="3038475"/>
                      <a:pt x="123715" y="2892425"/>
                    </a:cubicBezTo>
                    <a:cubicBezTo>
                      <a:pt x="80323" y="2746375"/>
                      <a:pt x="37990" y="2553758"/>
                      <a:pt x="15765" y="2368550"/>
                    </a:cubicBezTo>
                    <a:cubicBezTo>
                      <a:pt x="-6460" y="2183342"/>
                      <a:pt x="-5931" y="2044700"/>
                      <a:pt x="22115" y="1870075"/>
                    </a:cubicBezTo>
                    <a:cubicBezTo>
                      <a:pt x="50161" y="1695450"/>
                      <a:pt x="139590" y="1446742"/>
                      <a:pt x="184040" y="1320800"/>
                    </a:cubicBezTo>
                    <a:cubicBezTo>
                      <a:pt x="228490" y="1194858"/>
                      <a:pt x="217907" y="1221846"/>
                      <a:pt x="288815" y="1114425"/>
                    </a:cubicBezTo>
                    <a:cubicBezTo>
                      <a:pt x="359723" y="1007004"/>
                      <a:pt x="519532" y="777875"/>
                      <a:pt x="609490" y="676275"/>
                    </a:cubicBezTo>
                    <a:cubicBezTo>
                      <a:pt x="699448" y="574675"/>
                      <a:pt x="745486" y="565679"/>
                      <a:pt x="828565" y="504825"/>
                    </a:cubicBezTo>
                    <a:cubicBezTo>
                      <a:pt x="911644" y="443971"/>
                      <a:pt x="997898" y="379942"/>
                      <a:pt x="1107965" y="311150"/>
                    </a:cubicBezTo>
                    <a:cubicBezTo>
                      <a:pt x="1214328" y="252413"/>
                      <a:pt x="1387894" y="185737"/>
                      <a:pt x="1466740" y="152400"/>
                    </a:cubicBezTo>
                    <a:cubicBezTo>
                      <a:pt x="1545586" y="119063"/>
                      <a:pt x="1456686" y="134408"/>
                      <a:pt x="1581040" y="111125"/>
                    </a:cubicBezTo>
                    <a:cubicBezTo>
                      <a:pt x="1810698" y="67733"/>
                      <a:pt x="1945107" y="-7408"/>
                      <a:pt x="2212865" y="12700"/>
                    </a:cubicBezTo>
                    <a:lnTo>
                      <a:pt x="2238265" y="0"/>
                    </a:lnTo>
                    <a:close/>
                  </a:path>
                </a:pathLst>
              </a:custGeom>
              <a:ln w="6350">
                <a:solidFill>
                  <a:schemeClr val="accent2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A6594AD3-D11E-62F5-29C1-C8452DF5A529}"/>
                  </a:ext>
                </a:extLst>
              </p:cNvPr>
              <p:cNvSpPr/>
              <p:nvPr/>
            </p:nvSpPr>
            <p:spPr>
              <a:xfrm>
                <a:off x="-1642071" y="1410564"/>
                <a:ext cx="1131547" cy="1123556"/>
              </a:xfrm>
              <a:custGeom>
                <a:avLst/>
                <a:gdLst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944902 w 4469152"/>
                  <a:gd name="connsiteY150" fmla="*/ 476250 h 4496940"/>
                  <a:gd name="connsiteX151" fmla="*/ 1087777 w 4469152"/>
                  <a:gd name="connsiteY151" fmla="*/ 409575 h 4496940"/>
                  <a:gd name="connsiteX152" fmla="*/ 1202077 w 4469152"/>
                  <a:gd name="connsiteY152" fmla="*/ 314325 h 4496940"/>
                  <a:gd name="connsiteX153" fmla="*/ 1268752 w 4469152"/>
                  <a:gd name="connsiteY153" fmla="*/ 285750 h 4496940"/>
                  <a:gd name="connsiteX154" fmla="*/ 1411627 w 4469152"/>
                  <a:gd name="connsiteY154" fmla="*/ 190500 h 4496940"/>
                  <a:gd name="connsiteX155" fmla="*/ 1449727 w 4469152"/>
                  <a:gd name="connsiteY155" fmla="*/ 161925 h 4496940"/>
                  <a:gd name="connsiteX156" fmla="*/ 1525927 w 4469152"/>
                  <a:gd name="connsiteY156" fmla="*/ 152400 h 4496940"/>
                  <a:gd name="connsiteX157" fmla="*/ 1583077 w 4469152"/>
                  <a:gd name="connsiteY157" fmla="*/ 142875 h 4496940"/>
                  <a:gd name="connsiteX158" fmla="*/ 1716427 w 4469152"/>
                  <a:gd name="connsiteY158" fmla="*/ 123825 h 4496940"/>
                  <a:gd name="connsiteX159" fmla="*/ 1811677 w 4469152"/>
                  <a:gd name="connsiteY159" fmla="*/ 114300 h 4496940"/>
                  <a:gd name="connsiteX160" fmla="*/ 1859302 w 4469152"/>
                  <a:gd name="connsiteY160" fmla="*/ 104775 h 4496940"/>
                  <a:gd name="connsiteX161" fmla="*/ 1916452 w 4469152"/>
                  <a:gd name="connsiteY161" fmla="*/ 95250 h 4496940"/>
                  <a:gd name="connsiteX162" fmla="*/ 2030752 w 4469152"/>
                  <a:gd name="connsiteY162" fmla="*/ 66675 h 4496940"/>
                  <a:gd name="connsiteX163" fmla="*/ 2097427 w 4469152"/>
                  <a:gd name="connsiteY163" fmla="*/ 47625 h 4496940"/>
                  <a:gd name="connsiteX164" fmla="*/ 2164102 w 4469152"/>
                  <a:gd name="connsiteY164" fmla="*/ 38100 h 4496940"/>
                  <a:gd name="connsiteX165" fmla="*/ 2392702 w 4469152"/>
                  <a:gd name="connsiteY165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087777 w 4469152"/>
                  <a:gd name="connsiteY150" fmla="*/ 409575 h 4496940"/>
                  <a:gd name="connsiteX151" fmla="*/ 1202077 w 4469152"/>
                  <a:gd name="connsiteY151" fmla="*/ 314325 h 4496940"/>
                  <a:gd name="connsiteX152" fmla="*/ 1268752 w 4469152"/>
                  <a:gd name="connsiteY152" fmla="*/ 285750 h 4496940"/>
                  <a:gd name="connsiteX153" fmla="*/ 1411627 w 4469152"/>
                  <a:gd name="connsiteY153" fmla="*/ 190500 h 4496940"/>
                  <a:gd name="connsiteX154" fmla="*/ 1449727 w 4469152"/>
                  <a:gd name="connsiteY154" fmla="*/ 161925 h 4496940"/>
                  <a:gd name="connsiteX155" fmla="*/ 1525927 w 4469152"/>
                  <a:gd name="connsiteY155" fmla="*/ 152400 h 4496940"/>
                  <a:gd name="connsiteX156" fmla="*/ 1583077 w 4469152"/>
                  <a:gd name="connsiteY156" fmla="*/ 142875 h 4496940"/>
                  <a:gd name="connsiteX157" fmla="*/ 1716427 w 4469152"/>
                  <a:gd name="connsiteY157" fmla="*/ 123825 h 4496940"/>
                  <a:gd name="connsiteX158" fmla="*/ 1811677 w 4469152"/>
                  <a:gd name="connsiteY158" fmla="*/ 114300 h 4496940"/>
                  <a:gd name="connsiteX159" fmla="*/ 1859302 w 4469152"/>
                  <a:gd name="connsiteY159" fmla="*/ 104775 h 4496940"/>
                  <a:gd name="connsiteX160" fmla="*/ 1916452 w 4469152"/>
                  <a:gd name="connsiteY160" fmla="*/ 95250 h 4496940"/>
                  <a:gd name="connsiteX161" fmla="*/ 2030752 w 4469152"/>
                  <a:gd name="connsiteY161" fmla="*/ 66675 h 4496940"/>
                  <a:gd name="connsiteX162" fmla="*/ 2097427 w 4469152"/>
                  <a:gd name="connsiteY162" fmla="*/ 47625 h 4496940"/>
                  <a:gd name="connsiteX163" fmla="*/ 2164102 w 4469152"/>
                  <a:gd name="connsiteY163" fmla="*/ 38100 h 4496940"/>
                  <a:gd name="connsiteX164" fmla="*/ 2392702 w 4469152"/>
                  <a:gd name="connsiteY164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202077 w 4469152"/>
                  <a:gd name="connsiteY150" fmla="*/ 314325 h 4496940"/>
                  <a:gd name="connsiteX151" fmla="*/ 1268752 w 4469152"/>
                  <a:gd name="connsiteY151" fmla="*/ 285750 h 4496940"/>
                  <a:gd name="connsiteX152" fmla="*/ 1411627 w 4469152"/>
                  <a:gd name="connsiteY152" fmla="*/ 190500 h 4496940"/>
                  <a:gd name="connsiteX153" fmla="*/ 1449727 w 4469152"/>
                  <a:gd name="connsiteY153" fmla="*/ 161925 h 4496940"/>
                  <a:gd name="connsiteX154" fmla="*/ 1525927 w 4469152"/>
                  <a:gd name="connsiteY154" fmla="*/ 152400 h 4496940"/>
                  <a:gd name="connsiteX155" fmla="*/ 1583077 w 4469152"/>
                  <a:gd name="connsiteY155" fmla="*/ 142875 h 4496940"/>
                  <a:gd name="connsiteX156" fmla="*/ 1716427 w 4469152"/>
                  <a:gd name="connsiteY156" fmla="*/ 123825 h 4496940"/>
                  <a:gd name="connsiteX157" fmla="*/ 1811677 w 4469152"/>
                  <a:gd name="connsiteY157" fmla="*/ 114300 h 4496940"/>
                  <a:gd name="connsiteX158" fmla="*/ 1859302 w 4469152"/>
                  <a:gd name="connsiteY158" fmla="*/ 104775 h 4496940"/>
                  <a:gd name="connsiteX159" fmla="*/ 1916452 w 4469152"/>
                  <a:gd name="connsiteY159" fmla="*/ 95250 h 4496940"/>
                  <a:gd name="connsiteX160" fmla="*/ 2030752 w 4469152"/>
                  <a:gd name="connsiteY160" fmla="*/ 66675 h 4496940"/>
                  <a:gd name="connsiteX161" fmla="*/ 2097427 w 4469152"/>
                  <a:gd name="connsiteY161" fmla="*/ 47625 h 4496940"/>
                  <a:gd name="connsiteX162" fmla="*/ 2164102 w 4469152"/>
                  <a:gd name="connsiteY162" fmla="*/ 38100 h 4496940"/>
                  <a:gd name="connsiteX163" fmla="*/ 2392702 w 4469152"/>
                  <a:gd name="connsiteY163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268752 w 4469152"/>
                  <a:gd name="connsiteY150" fmla="*/ 285750 h 4496940"/>
                  <a:gd name="connsiteX151" fmla="*/ 1411627 w 4469152"/>
                  <a:gd name="connsiteY151" fmla="*/ 190500 h 4496940"/>
                  <a:gd name="connsiteX152" fmla="*/ 1449727 w 4469152"/>
                  <a:gd name="connsiteY152" fmla="*/ 161925 h 4496940"/>
                  <a:gd name="connsiteX153" fmla="*/ 1525927 w 4469152"/>
                  <a:gd name="connsiteY153" fmla="*/ 152400 h 4496940"/>
                  <a:gd name="connsiteX154" fmla="*/ 1583077 w 4469152"/>
                  <a:gd name="connsiteY154" fmla="*/ 142875 h 4496940"/>
                  <a:gd name="connsiteX155" fmla="*/ 1716427 w 4469152"/>
                  <a:gd name="connsiteY155" fmla="*/ 123825 h 4496940"/>
                  <a:gd name="connsiteX156" fmla="*/ 1811677 w 4469152"/>
                  <a:gd name="connsiteY156" fmla="*/ 114300 h 4496940"/>
                  <a:gd name="connsiteX157" fmla="*/ 1859302 w 4469152"/>
                  <a:gd name="connsiteY157" fmla="*/ 104775 h 4496940"/>
                  <a:gd name="connsiteX158" fmla="*/ 1916452 w 4469152"/>
                  <a:gd name="connsiteY158" fmla="*/ 95250 h 4496940"/>
                  <a:gd name="connsiteX159" fmla="*/ 2030752 w 4469152"/>
                  <a:gd name="connsiteY159" fmla="*/ 66675 h 4496940"/>
                  <a:gd name="connsiteX160" fmla="*/ 2097427 w 4469152"/>
                  <a:gd name="connsiteY160" fmla="*/ 47625 h 4496940"/>
                  <a:gd name="connsiteX161" fmla="*/ 2164102 w 4469152"/>
                  <a:gd name="connsiteY161" fmla="*/ 38100 h 4496940"/>
                  <a:gd name="connsiteX162" fmla="*/ 2392702 w 4469152"/>
                  <a:gd name="connsiteY162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167152 w 4469152"/>
                  <a:gd name="connsiteY150" fmla="*/ 311150 h 4496940"/>
                  <a:gd name="connsiteX151" fmla="*/ 1268752 w 4469152"/>
                  <a:gd name="connsiteY151" fmla="*/ 285750 h 4496940"/>
                  <a:gd name="connsiteX152" fmla="*/ 1411627 w 4469152"/>
                  <a:gd name="connsiteY152" fmla="*/ 190500 h 4496940"/>
                  <a:gd name="connsiteX153" fmla="*/ 1449727 w 4469152"/>
                  <a:gd name="connsiteY153" fmla="*/ 161925 h 4496940"/>
                  <a:gd name="connsiteX154" fmla="*/ 1525927 w 4469152"/>
                  <a:gd name="connsiteY154" fmla="*/ 152400 h 4496940"/>
                  <a:gd name="connsiteX155" fmla="*/ 1583077 w 4469152"/>
                  <a:gd name="connsiteY155" fmla="*/ 142875 h 4496940"/>
                  <a:gd name="connsiteX156" fmla="*/ 1716427 w 4469152"/>
                  <a:gd name="connsiteY156" fmla="*/ 123825 h 4496940"/>
                  <a:gd name="connsiteX157" fmla="*/ 1811677 w 4469152"/>
                  <a:gd name="connsiteY157" fmla="*/ 114300 h 4496940"/>
                  <a:gd name="connsiteX158" fmla="*/ 1859302 w 4469152"/>
                  <a:gd name="connsiteY158" fmla="*/ 104775 h 4496940"/>
                  <a:gd name="connsiteX159" fmla="*/ 1916452 w 4469152"/>
                  <a:gd name="connsiteY159" fmla="*/ 95250 h 4496940"/>
                  <a:gd name="connsiteX160" fmla="*/ 2030752 w 4469152"/>
                  <a:gd name="connsiteY160" fmla="*/ 66675 h 4496940"/>
                  <a:gd name="connsiteX161" fmla="*/ 2097427 w 4469152"/>
                  <a:gd name="connsiteY161" fmla="*/ 47625 h 4496940"/>
                  <a:gd name="connsiteX162" fmla="*/ 2164102 w 4469152"/>
                  <a:gd name="connsiteY162" fmla="*/ 38100 h 4496940"/>
                  <a:gd name="connsiteX163" fmla="*/ 2392702 w 4469152"/>
                  <a:gd name="connsiteY163" fmla="*/ 28575 h 4496940"/>
                  <a:gd name="connsiteX0" fmla="*/ 2297452 w 4519952"/>
                  <a:gd name="connsiteY0" fmla="*/ 0 h 4496940"/>
                  <a:gd name="connsiteX1" fmla="*/ 2421277 w 4519952"/>
                  <a:gd name="connsiteY1" fmla="*/ 28575 h 4496940"/>
                  <a:gd name="connsiteX2" fmla="*/ 2497477 w 4519952"/>
                  <a:gd name="connsiteY2" fmla="*/ 47625 h 4496940"/>
                  <a:gd name="connsiteX3" fmla="*/ 2754652 w 4519952"/>
                  <a:gd name="connsiteY3" fmla="*/ 66675 h 4496940"/>
                  <a:gd name="connsiteX4" fmla="*/ 2830852 w 4519952"/>
                  <a:gd name="connsiteY4" fmla="*/ 76200 h 4496940"/>
                  <a:gd name="connsiteX5" fmla="*/ 2916577 w 4519952"/>
                  <a:gd name="connsiteY5" fmla="*/ 85725 h 4496940"/>
                  <a:gd name="connsiteX6" fmla="*/ 2973727 w 4519952"/>
                  <a:gd name="connsiteY6" fmla="*/ 114300 h 4496940"/>
                  <a:gd name="connsiteX7" fmla="*/ 3011827 w 4519952"/>
                  <a:gd name="connsiteY7" fmla="*/ 123825 h 4496940"/>
                  <a:gd name="connsiteX8" fmla="*/ 3135652 w 4519952"/>
                  <a:gd name="connsiteY8" fmla="*/ 171450 h 4496940"/>
                  <a:gd name="connsiteX9" fmla="*/ 3173752 w 4519952"/>
                  <a:gd name="connsiteY9" fmla="*/ 190500 h 4496940"/>
                  <a:gd name="connsiteX10" fmla="*/ 3240427 w 4519952"/>
                  <a:gd name="connsiteY10" fmla="*/ 228600 h 4496940"/>
                  <a:gd name="connsiteX11" fmla="*/ 3269002 w 4519952"/>
                  <a:gd name="connsiteY11" fmla="*/ 238125 h 4496940"/>
                  <a:gd name="connsiteX12" fmla="*/ 3297577 w 4519952"/>
                  <a:gd name="connsiteY12" fmla="*/ 257175 h 4496940"/>
                  <a:gd name="connsiteX13" fmla="*/ 3326152 w 4519952"/>
                  <a:gd name="connsiteY13" fmla="*/ 266700 h 4496940"/>
                  <a:gd name="connsiteX14" fmla="*/ 3354727 w 4519952"/>
                  <a:gd name="connsiteY14" fmla="*/ 285750 h 4496940"/>
                  <a:gd name="connsiteX15" fmla="*/ 3421402 w 4519952"/>
                  <a:gd name="connsiteY15" fmla="*/ 323850 h 4496940"/>
                  <a:gd name="connsiteX16" fmla="*/ 3469027 w 4519952"/>
                  <a:gd name="connsiteY16" fmla="*/ 361950 h 4496940"/>
                  <a:gd name="connsiteX17" fmla="*/ 3516652 w 4519952"/>
                  <a:gd name="connsiteY17" fmla="*/ 390525 h 4496940"/>
                  <a:gd name="connsiteX18" fmla="*/ 3545227 w 4519952"/>
                  <a:gd name="connsiteY18" fmla="*/ 419100 h 4496940"/>
                  <a:gd name="connsiteX19" fmla="*/ 3602377 w 4519952"/>
                  <a:gd name="connsiteY19" fmla="*/ 457200 h 4496940"/>
                  <a:gd name="connsiteX20" fmla="*/ 3630952 w 4519952"/>
                  <a:gd name="connsiteY20" fmla="*/ 485775 h 4496940"/>
                  <a:gd name="connsiteX21" fmla="*/ 3678577 w 4519952"/>
                  <a:gd name="connsiteY21" fmla="*/ 504825 h 4496940"/>
                  <a:gd name="connsiteX22" fmla="*/ 3745252 w 4519952"/>
                  <a:gd name="connsiteY22" fmla="*/ 542925 h 4496940"/>
                  <a:gd name="connsiteX23" fmla="*/ 3811927 w 4519952"/>
                  <a:gd name="connsiteY23" fmla="*/ 581025 h 4496940"/>
                  <a:gd name="connsiteX24" fmla="*/ 3840502 w 4519952"/>
                  <a:gd name="connsiteY24" fmla="*/ 600075 h 4496940"/>
                  <a:gd name="connsiteX25" fmla="*/ 3869077 w 4519952"/>
                  <a:gd name="connsiteY25" fmla="*/ 628650 h 4496940"/>
                  <a:gd name="connsiteX26" fmla="*/ 3907177 w 4519952"/>
                  <a:gd name="connsiteY26" fmla="*/ 647700 h 4496940"/>
                  <a:gd name="connsiteX27" fmla="*/ 3935752 w 4519952"/>
                  <a:gd name="connsiteY27" fmla="*/ 676275 h 4496940"/>
                  <a:gd name="connsiteX28" fmla="*/ 3992902 w 4519952"/>
                  <a:gd name="connsiteY28" fmla="*/ 714375 h 4496940"/>
                  <a:gd name="connsiteX29" fmla="*/ 4050052 w 4519952"/>
                  <a:gd name="connsiteY29" fmla="*/ 790575 h 4496940"/>
                  <a:gd name="connsiteX30" fmla="*/ 4078627 w 4519952"/>
                  <a:gd name="connsiteY30" fmla="*/ 838200 h 4496940"/>
                  <a:gd name="connsiteX31" fmla="*/ 4107202 w 4519952"/>
                  <a:gd name="connsiteY31" fmla="*/ 876300 h 4496940"/>
                  <a:gd name="connsiteX32" fmla="*/ 4116727 w 4519952"/>
                  <a:gd name="connsiteY32" fmla="*/ 904875 h 4496940"/>
                  <a:gd name="connsiteX33" fmla="*/ 4135777 w 4519952"/>
                  <a:gd name="connsiteY33" fmla="*/ 933450 h 4496940"/>
                  <a:gd name="connsiteX34" fmla="*/ 4164352 w 4519952"/>
                  <a:gd name="connsiteY34" fmla="*/ 990600 h 4496940"/>
                  <a:gd name="connsiteX35" fmla="*/ 4173877 w 4519952"/>
                  <a:gd name="connsiteY35" fmla="*/ 1019175 h 4496940"/>
                  <a:gd name="connsiteX36" fmla="*/ 4192927 w 4519952"/>
                  <a:gd name="connsiteY36" fmla="*/ 1057275 h 4496940"/>
                  <a:gd name="connsiteX37" fmla="*/ 4202452 w 4519952"/>
                  <a:gd name="connsiteY37" fmla="*/ 1085850 h 4496940"/>
                  <a:gd name="connsiteX38" fmla="*/ 4250077 w 4519952"/>
                  <a:gd name="connsiteY38" fmla="*/ 1143000 h 4496940"/>
                  <a:gd name="connsiteX39" fmla="*/ 4259602 w 4519952"/>
                  <a:gd name="connsiteY39" fmla="*/ 1190625 h 4496940"/>
                  <a:gd name="connsiteX40" fmla="*/ 4307227 w 4519952"/>
                  <a:gd name="connsiteY40" fmla="*/ 1266825 h 4496940"/>
                  <a:gd name="connsiteX41" fmla="*/ 4345327 w 4519952"/>
                  <a:gd name="connsiteY41" fmla="*/ 1362075 h 4496940"/>
                  <a:gd name="connsiteX42" fmla="*/ 4373902 w 4519952"/>
                  <a:gd name="connsiteY42" fmla="*/ 1428750 h 4496940"/>
                  <a:gd name="connsiteX43" fmla="*/ 4392952 w 4519952"/>
                  <a:gd name="connsiteY43" fmla="*/ 1552575 h 4496940"/>
                  <a:gd name="connsiteX44" fmla="*/ 4402477 w 4519952"/>
                  <a:gd name="connsiteY44" fmla="*/ 1590675 h 4496940"/>
                  <a:gd name="connsiteX45" fmla="*/ 4431052 w 4519952"/>
                  <a:gd name="connsiteY45" fmla="*/ 1685925 h 4496940"/>
                  <a:gd name="connsiteX46" fmla="*/ 4440577 w 4519952"/>
                  <a:gd name="connsiteY46" fmla="*/ 1762125 h 4496940"/>
                  <a:gd name="connsiteX47" fmla="*/ 4459627 w 4519952"/>
                  <a:gd name="connsiteY47" fmla="*/ 1828800 h 4496940"/>
                  <a:gd name="connsiteX48" fmla="*/ 4519952 w 4519952"/>
                  <a:gd name="connsiteY48" fmla="*/ 2181225 h 4496940"/>
                  <a:gd name="connsiteX49" fmla="*/ 4440577 w 4519952"/>
                  <a:gd name="connsiteY49" fmla="*/ 2876550 h 4496940"/>
                  <a:gd name="connsiteX50" fmla="*/ 4383427 w 4519952"/>
                  <a:gd name="connsiteY50" fmla="*/ 2990850 h 4496940"/>
                  <a:gd name="connsiteX51" fmla="*/ 4354852 w 4519952"/>
                  <a:gd name="connsiteY51" fmla="*/ 3057525 h 4496940"/>
                  <a:gd name="connsiteX52" fmla="*/ 4335802 w 4519952"/>
                  <a:gd name="connsiteY52" fmla="*/ 3095625 h 4496940"/>
                  <a:gd name="connsiteX53" fmla="*/ 4278652 w 4519952"/>
                  <a:gd name="connsiteY53" fmla="*/ 3248025 h 4496940"/>
                  <a:gd name="connsiteX54" fmla="*/ 4259602 w 4519952"/>
                  <a:gd name="connsiteY54" fmla="*/ 3276600 h 4496940"/>
                  <a:gd name="connsiteX55" fmla="*/ 4221502 w 4519952"/>
                  <a:gd name="connsiteY55" fmla="*/ 3333750 h 4496940"/>
                  <a:gd name="connsiteX56" fmla="*/ 4211977 w 4519952"/>
                  <a:gd name="connsiteY56" fmla="*/ 3362325 h 4496940"/>
                  <a:gd name="connsiteX57" fmla="*/ 4183402 w 4519952"/>
                  <a:gd name="connsiteY57" fmla="*/ 3400425 h 4496940"/>
                  <a:gd name="connsiteX58" fmla="*/ 4164352 w 4519952"/>
                  <a:gd name="connsiteY58" fmla="*/ 3429000 h 4496940"/>
                  <a:gd name="connsiteX59" fmla="*/ 4088152 w 4519952"/>
                  <a:gd name="connsiteY59" fmla="*/ 3495675 h 4496940"/>
                  <a:gd name="connsiteX60" fmla="*/ 4059577 w 4519952"/>
                  <a:gd name="connsiteY60" fmla="*/ 3533775 h 4496940"/>
                  <a:gd name="connsiteX61" fmla="*/ 4002427 w 4519952"/>
                  <a:gd name="connsiteY61" fmla="*/ 3600450 h 4496940"/>
                  <a:gd name="connsiteX62" fmla="*/ 3983377 w 4519952"/>
                  <a:gd name="connsiteY62" fmla="*/ 3629025 h 4496940"/>
                  <a:gd name="connsiteX63" fmla="*/ 3954802 w 4519952"/>
                  <a:gd name="connsiteY63" fmla="*/ 3648075 h 4496940"/>
                  <a:gd name="connsiteX64" fmla="*/ 3907177 w 4519952"/>
                  <a:gd name="connsiteY64" fmla="*/ 3686175 h 4496940"/>
                  <a:gd name="connsiteX65" fmla="*/ 3869077 w 4519952"/>
                  <a:gd name="connsiteY65" fmla="*/ 3724275 h 4496940"/>
                  <a:gd name="connsiteX66" fmla="*/ 3792877 w 4519952"/>
                  <a:gd name="connsiteY66" fmla="*/ 3781425 h 4496940"/>
                  <a:gd name="connsiteX67" fmla="*/ 3783352 w 4519952"/>
                  <a:gd name="connsiteY67" fmla="*/ 3810000 h 4496940"/>
                  <a:gd name="connsiteX68" fmla="*/ 3745252 w 4519952"/>
                  <a:gd name="connsiteY68" fmla="*/ 3819525 h 4496940"/>
                  <a:gd name="connsiteX69" fmla="*/ 3678577 w 4519952"/>
                  <a:gd name="connsiteY69" fmla="*/ 3848100 h 4496940"/>
                  <a:gd name="connsiteX70" fmla="*/ 3659527 w 4519952"/>
                  <a:gd name="connsiteY70" fmla="*/ 3971925 h 4496940"/>
                  <a:gd name="connsiteX71" fmla="*/ 3630952 w 4519952"/>
                  <a:gd name="connsiteY71" fmla="*/ 4010025 h 4496940"/>
                  <a:gd name="connsiteX72" fmla="*/ 3621427 w 4519952"/>
                  <a:gd name="connsiteY72" fmla="*/ 4038600 h 4496940"/>
                  <a:gd name="connsiteX73" fmla="*/ 3554752 w 4519952"/>
                  <a:gd name="connsiteY73" fmla="*/ 4095750 h 4496940"/>
                  <a:gd name="connsiteX74" fmla="*/ 3516652 w 4519952"/>
                  <a:gd name="connsiteY74" fmla="*/ 4114800 h 4496940"/>
                  <a:gd name="connsiteX75" fmla="*/ 3497602 w 4519952"/>
                  <a:gd name="connsiteY75" fmla="*/ 4143375 h 4496940"/>
                  <a:gd name="connsiteX76" fmla="*/ 3383302 w 4519952"/>
                  <a:gd name="connsiteY76" fmla="*/ 4210050 h 4496940"/>
                  <a:gd name="connsiteX77" fmla="*/ 3335677 w 4519952"/>
                  <a:gd name="connsiteY77" fmla="*/ 4238625 h 4496940"/>
                  <a:gd name="connsiteX78" fmla="*/ 3288052 w 4519952"/>
                  <a:gd name="connsiteY78" fmla="*/ 4248150 h 4496940"/>
                  <a:gd name="connsiteX79" fmla="*/ 3240427 w 4519952"/>
                  <a:gd name="connsiteY79" fmla="*/ 4267200 h 4496940"/>
                  <a:gd name="connsiteX80" fmla="*/ 3068977 w 4519952"/>
                  <a:gd name="connsiteY80" fmla="*/ 4286250 h 4496940"/>
                  <a:gd name="connsiteX81" fmla="*/ 2935627 w 4519952"/>
                  <a:gd name="connsiteY81" fmla="*/ 4333875 h 4496940"/>
                  <a:gd name="connsiteX82" fmla="*/ 2811802 w 4519952"/>
                  <a:gd name="connsiteY82" fmla="*/ 4371975 h 4496940"/>
                  <a:gd name="connsiteX83" fmla="*/ 2745127 w 4519952"/>
                  <a:gd name="connsiteY83" fmla="*/ 4410075 h 4496940"/>
                  <a:gd name="connsiteX84" fmla="*/ 2697502 w 4519952"/>
                  <a:gd name="connsiteY84" fmla="*/ 4429125 h 4496940"/>
                  <a:gd name="connsiteX85" fmla="*/ 2640352 w 4519952"/>
                  <a:gd name="connsiteY85" fmla="*/ 4457700 h 4496940"/>
                  <a:gd name="connsiteX86" fmla="*/ 2583202 w 4519952"/>
                  <a:gd name="connsiteY86" fmla="*/ 4467225 h 4496940"/>
                  <a:gd name="connsiteX87" fmla="*/ 2545102 w 4519952"/>
                  <a:gd name="connsiteY87" fmla="*/ 4486275 h 4496940"/>
                  <a:gd name="connsiteX88" fmla="*/ 2306977 w 4519952"/>
                  <a:gd name="connsiteY88" fmla="*/ 4476750 h 4496940"/>
                  <a:gd name="connsiteX89" fmla="*/ 2202202 w 4519952"/>
                  <a:gd name="connsiteY89" fmla="*/ 4457700 h 4496940"/>
                  <a:gd name="connsiteX90" fmla="*/ 2126002 w 4519952"/>
                  <a:gd name="connsiteY90" fmla="*/ 4429125 h 4496940"/>
                  <a:gd name="connsiteX91" fmla="*/ 1935502 w 4519952"/>
                  <a:gd name="connsiteY91" fmla="*/ 4400550 h 4496940"/>
                  <a:gd name="connsiteX92" fmla="*/ 1821202 w 4519952"/>
                  <a:gd name="connsiteY92" fmla="*/ 4371975 h 4496940"/>
                  <a:gd name="connsiteX93" fmla="*/ 1754527 w 4519952"/>
                  <a:gd name="connsiteY93" fmla="*/ 4352925 h 4496940"/>
                  <a:gd name="connsiteX94" fmla="*/ 1687852 w 4519952"/>
                  <a:gd name="connsiteY94" fmla="*/ 4343400 h 4496940"/>
                  <a:gd name="connsiteX95" fmla="*/ 1573552 w 4519952"/>
                  <a:gd name="connsiteY95" fmla="*/ 4305300 h 4496940"/>
                  <a:gd name="connsiteX96" fmla="*/ 1402102 w 4519952"/>
                  <a:gd name="connsiteY96" fmla="*/ 4276725 h 4496940"/>
                  <a:gd name="connsiteX97" fmla="*/ 1287802 w 4519952"/>
                  <a:gd name="connsiteY97" fmla="*/ 4229100 h 4496940"/>
                  <a:gd name="connsiteX98" fmla="*/ 1221127 w 4519952"/>
                  <a:gd name="connsiteY98" fmla="*/ 4200525 h 4496940"/>
                  <a:gd name="connsiteX99" fmla="*/ 1144927 w 4519952"/>
                  <a:gd name="connsiteY99" fmla="*/ 4171950 h 4496940"/>
                  <a:gd name="connsiteX100" fmla="*/ 1087777 w 4519952"/>
                  <a:gd name="connsiteY100" fmla="*/ 4143375 h 4496940"/>
                  <a:gd name="connsiteX101" fmla="*/ 1030627 w 4519952"/>
                  <a:gd name="connsiteY101" fmla="*/ 4124325 h 4496940"/>
                  <a:gd name="connsiteX102" fmla="*/ 925852 w 4519952"/>
                  <a:gd name="connsiteY102" fmla="*/ 4067175 h 4496940"/>
                  <a:gd name="connsiteX103" fmla="*/ 830602 w 4519952"/>
                  <a:gd name="connsiteY103" fmla="*/ 3981450 h 4496940"/>
                  <a:gd name="connsiteX104" fmla="*/ 763927 w 4519952"/>
                  <a:gd name="connsiteY104" fmla="*/ 3914775 h 4496940"/>
                  <a:gd name="connsiteX105" fmla="*/ 725827 w 4519952"/>
                  <a:gd name="connsiteY105" fmla="*/ 3876675 h 4496940"/>
                  <a:gd name="connsiteX106" fmla="*/ 697252 w 4519952"/>
                  <a:gd name="connsiteY106" fmla="*/ 3838575 h 4496940"/>
                  <a:gd name="connsiteX107" fmla="*/ 640102 w 4519952"/>
                  <a:gd name="connsiteY107" fmla="*/ 3781425 h 4496940"/>
                  <a:gd name="connsiteX108" fmla="*/ 611527 w 4519952"/>
                  <a:gd name="connsiteY108" fmla="*/ 3733800 h 4496940"/>
                  <a:gd name="connsiteX109" fmla="*/ 554377 w 4519952"/>
                  <a:gd name="connsiteY109" fmla="*/ 3657600 h 4496940"/>
                  <a:gd name="connsiteX110" fmla="*/ 525802 w 4519952"/>
                  <a:gd name="connsiteY110" fmla="*/ 3609975 h 4496940"/>
                  <a:gd name="connsiteX111" fmla="*/ 497227 w 4519952"/>
                  <a:gd name="connsiteY111" fmla="*/ 3552825 h 4496940"/>
                  <a:gd name="connsiteX112" fmla="*/ 440077 w 4519952"/>
                  <a:gd name="connsiteY112" fmla="*/ 3495675 h 4496940"/>
                  <a:gd name="connsiteX113" fmla="*/ 411502 w 4519952"/>
                  <a:gd name="connsiteY113" fmla="*/ 3448050 h 4496940"/>
                  <a:gd name="connsiteX114" fmla="*/ 278152 w 4519952"/>
                  <a:gd name="connsiteY114" fmla="*/ 3257550 h 4496940"/>
                  <a:gd name="connsiteX115" fmla="*/ 249577 w 4519952"/>
                  <a:gd name="connsiteY115" fmla="*/ 3200400 h 4496940"/>
                  <a:gd name="connsiteX116" fmla="*/ 240052 w 4519952"/>
                  <a:gd name="connsiteY116" fmla="*/ 3162300 h 4496940"/>
                  <a:gd name="connsiteX117" fmla="*/ 221002 w 4519952"/>
                  <a:gd name="connsiteY117" fmla="*/ 3105150 h 4496940"/>
                  <a:gd name="connsiteX118" fmla="*/ 173377 w 4519952"/>
                  <a:gd name="connsiteY118" fmla="*/ 3019425 h 4496940"/>
                  <a:gd name="connsiteX119" fmla="*/ 144802 w 4519952"/>
                  <a:gd name="connsiteY119" fmla="*/ 2924175 h 4496940"/>
                  <a:gd name="connsiteX120" fmla="*/ 68602 w 4519952"/>
                  <a:gd name="connsiteY120" fmla="*/ 2724150 h 4496940"/>
                  <a:gd name="connsiteX121" fmla="*/ 49552 w 4519952"/>
                  <a:gd name="connsiteY121" fmla="*/ 2638425 h 4496940"/>
                  <a:gd name="connsiteX122" fmla="*/ 40027 w 4519952"/>
                  <a:gd name="connsiteY122" fmla="*/ 2562225 h 4496940"/>
                  <a:gd name="connsiteX123" fmla="*/ 30502 w 4519952"/>
                  <a:gd name="connsiteY123" fmla="*/ 2514600 h 4496940"/>
                  <a:gd name="connsiteX124" fmla="*/ 11452 w 4519952"/>
                  <a:gd name="connsiteY124" fmla="*/ 2400300 h 4496940"/>
                  <a:gd name="connsiteX125" fmla="*/ 20977 w 4519952"/>
                  <a:gd name="connsiteY125" fmla="*/ 1905000 h 4496940"/>
                  <a:gd name="connsiteX126" fmla="*/ 30502 w 4519952"/>
                  <a:gd name="connsiteY126" fmla="*/ 1838325 h 4496940"/>
                  <a:gd name="connsiteX127" fmla="*/ 49552 w 4519952"/>
                  <a:gd name="connsiteY127" fmla="*/ 1781175 h 4496940"/>
                  <a:gd name="connsiteX128" fmla="*/ 59077 w 4519952"/>
                  <a:gd name="connsiteY128" fmla="*/ 1743075 h 4496940"/>
                  <a:gd name="connsiteX129" fmla="*/ 78127 w 4519952"/>
                  <a:gd name="connsiteY129" fmla="*/ 1685925 h 4496940"/>
                  <a:gd name="connsiteX130" fmla="*/ 87652 w 4519952"/>
                  <a:gd name="connsiteY130" fmla="*/ 1638300 h 4496940"/>
                  <a:gd name="connsiteX131" fmla="*/ 106702 w 4519952"/>
                  <a:gd name="connsiteY131" fmla="*/ 1590675 h 4496940"/>
                  <a:gd name="connsiteX132" fmla="*/ 135277 w 4519952"/>
                  <a:gd name="connsiteY132" fmla="*/ 1504950 h 4496940"/>
                  <a:gd name="connsiteX133" fmla="*/ 154327 w 4519952"/>
                  <a:gd name="connsiteY133" fmla="*/ 1419225 h 4496940"/>
                  <a:gd name="connsiteX134" fmla="*/ 230527 w 4519952"/>
                  <a:gd name="connsiteY134" fmla="*/ 1276350 h 4496940"/>
                  <a:gd name="connsiteX135" fmla="*/ 240052 w 4519952"/>
                  <a:gd name="connsiteY135" fmla="*/ 1247775 h 4496940"/>
                  <a:gd name="connsiteX136" fmla="*/ 268627 w 4519952"/>
                  <a:gd name="connsiteY136" fmla="*/ 1200150 h 4496940"/>
                  <a:gd name="connsiteX137" fmla="*/ 287677 w 4519952"/>
                  <a:gd name="connsiteY137" fmla="*/ 1152525 h 4496940"/>
                  <a:gd name="connsiteX138" fmla="*/ 316252 w 4519952"/>
                  <a:gd name="connsiteY138" fmla="*/ 1114425 h 4496940"/>
                  <a:gd name="connsiteX139" fmla="*/ 363877 w 4519952"/>
                  <a:gd name="connsiteY139" fmla="*/ 1038225 h 4496940"/>
                  <a:gd name="connsiteX140" fmla="*/ 382927 w 4519952"/>
                  <a:gd name="connsiteY140" fmla="*/ 1009650 h 4496940"/>
                  <a:gd name="connsiteX141" fmla="*/ 440077 w 4519952"/>
                  <a:gd name="connsiteY141" fmla="*/ 904875 h 4496940"/>
                  <a:gd name="connsiteX142" fmla="*/ 478177 w 4519952"/>
                  <a:gd name="connsiteY142" fmla="*/ 857250 h 4496940"/>
                  <a:gd name="connsiteX143" fmla="*/ 497227 w 4519952"/>
                  <a:gd name="connsiteY143" fmla="*/ 828675 h 4496940"/>
                  <a:gd name="connsiteX144" fmla="*/ 535327 w 4519952"/>
                  <a:gd name="connsiteY144" fmla="*/ 800100 h 4496940"/>
                  <a:gd name="connsiteX145" fmla="*/ 602002 w 4519952"/>
                  <a:gd name="connsiteY145" fmla="*/ 733425 h 4496940"/>
                  <a:gd name="connsiteX146" fmla="*/ 668677 w 4519952"/>
                  <a:gd name="connsiteY146" fmla="*/ 676275 h 4496940"/>
                  <a:gd name="connsiteX147" fmla="*/ 697252 w 4519952"/>
                  <a:gd name="connsiteY147" fmla="*/ 657225 h 4496940"/>
                  <a:gd name="connsiteX148" fmla="*/ 840127 w 4519952"/>
                  <a:gd name="connsiteY148" fmla="*/ 533400 h 4496940"/>
                  <a:gd name="connsiteX149" fmla="*/ 887752 w 4519952"/>
                  <a:gd name="connsiteY149" fmla="*/ 504825 h 4496940"/>
                  <a:gd name="connsiteX150" fmla="*/ 1167152 w 4519952"/>
                  <a:gd name="connsiteY150" fmla="*/ 311150 h 4496940"/>
                  <a:gd name="connsiteX151" fmla="*/ 1268752 w 4519952"/>
                  <a:gd name="connsiteY151" fmla="*/ 285750 h 4496940"/>
                  <a:gd name="connsiteX152" fmla="*/ 1411627 w 4519952"/>
                  <a:gd name="connsiteY152" fmla="*/ 190500 h 4496940"/>
                  <a:gd name="connsiteX153" fmla="*/ 1449727 w 4519952"/>
                  <a:gd name="connsiteY153" fmla="*/ 161925 h 4496940"/>
                  <a:gd name="connsiteX154" fmla="*/ 1525927 w 4519952"/>
                  <a:gd name="connsiteY154" fmla="*/ 152400 h 4496940"/>
                  <a:gd name="connsiteX155" fmla="*/ 1583077 w 4519952"/>
                  <a:gd name="connsiteY155" fmla="*/ 142875 h 4496940"/>
                  <a:gd name="connsiteX156" fmla="*/ 1716427 w 4519952"/>
                  <a:gd name="connsiteY156" fmla="*/ 123825 h 4496940"/>
                  <a:gd name="connsiteX157" fmla="*/ 1811677 w 4519952"/>
                  <a:gd name="connsiteY157" fmla="*/ 114300 h 4496940"/>
                  <a:gd name="connsiteX158" fmla="*/ 1859302 w 4519952"/>
                  <a:gd name="connsiteY158" fmla="*/ 104775 h 4496940"/>
                  <a:gd name="connsiteX159" fmla="*/ 1916452 w 4519952"/>
                  <a:gd name="connsiteY159" fmla="*/ 95250 h 4496940"/>
                  <a:gd name="connsiteX160" fmla="*/ 2030752 w 4519952"/>
                  <a:gd name="connsiteY160" fmla="*/ 66675 h 4496940"/>
                  <a:gd name="connsiteX161" fmla="*/ 2097427 w 4519952"/>
                  <a:gd name="connsiteY161" fmla="*/ 47625 h 4496940"/>
                  <a:gd name="connsiteX162" fmla="*/ 2164102 w 4519952"/>
                  <a:gd name="connsiteY162" fmla="*/ 38100 h 4496940"/>
                  <a:gd name="connsiteX163" fmla="*/ 2392702 w 4519952"/>
                  <a:gd name="connsiteY163" fmla="*/ 28575 h 4496940"/>
                  <a:gd name="connsiteX0" fmla="*/ 2297452 w 4519952"/>
                  <a:gd name="connsiteY0" fmla="*/ 0 h 4496940"/>
                  <a:gd name="connsiteX1" fmla="*/ 2421277 w 4519952"/>
                  <a:gd name="connsiteY1" fmla="*/ 28575 h 4496940"/>
                  <a:gd name="connsiteX2" fmla="*/ 2497477 w 4519952"/>
                  <a:gd name="connsiteY2" fmla="*/ 47625 h 4496940"/>
                  <a:gd name="connsiteX3" fmla="*/ 2754652 w 4519952"/>
                  <a:gd name="connsiteY3" fmla="*/ 66675 h 4496940"/>
                  <a:gd name="connsiteX4" fmla="*/ 2830852 w 4519952"/>
                  <a:gd name="connsiteY4" fmla="*/ 76200 h 4496940"/>
                  <a:gd name="connsiteX5" fmla="*/ 2916577 w 4519952"/>
                  <a:gd name="connsiteY5" fmla="*/ 85725 h 4496940"/>
                  <a:gd name="connsiteX6" fmla="*/ 2973727 w 4519952"/>
                  <a:gd name="connsiteY6" fmla="*/ 114300 h 4496940"/>
                  <a:gd name="connsiteX7" fmla="*/ 3011827 w 4519952"/>
                  <a:gd name="connsiteY7" fmla="*/ 123825 h 4496940"/>
                  <a:gd name="connsiteX8" fmla="*/ 3135652 w 4519952"/>
                  <a:gd name="connsiteY8" fmla="*/ 171450 h 4496940"/>
                  <a:gd name="connsiteX9" fmla="*/ 3173752 w 4519952"/>
                  <a:gd name="connsiteY9" fmla="*/ 190500 h 4496940"/>
                  <a:gd name="connsiteX10" fmla="*/ 3240427 w 4519952"/>
                  <a:gd name="connsiteY10" fmla="*/ 228600 h 4496940"/>
                  <a:gd name="connsiteX11" fmla="*/ 3269002 w 4519952"/>
                  <a:gd name="connsiteY11" fmla="*/ 238125 h 4496940"/>
                  <a:gd name="connsiteX12" fmla="*/ 3297577 w 4519952"/>
                  <a:gd name="connsiteY12" fmla="*/ 257175 h 4496940"/>
                  <a:gd name="connsiteX13" fmla="*/ 3326152 w 4519952"/>
                  <a:gd name="connsiteY13" fmla="*/ 266700 h 4496940"/>
                  <a:gd name="connsiteX14" fmla="*/ 3354727 w 4519952"/>
                  <a:gd name="connsiteY14" fmla="*/ 285750 h 4496940"/>
                  <a:gd name="connsiteX15" fmla="*/ 3421402 w 4519952"/>
                  <a:gd name="connsiteY15" fmla="*/ 323850 h 4496940"/>
                  <a:gd name="connsiteX16" fmla="*/ 3469027 w 4519952"/>
                  <a:gd name="connsiteY16" fmla="*/ 361950 h 4496940"/>
                  <a:gd name="connsiteX17" fmla="*/ 3516652 w 4519952"/>
                  <a:gd name="connsiteY17" fmla="*/ 390525 h 4496940"/>
                  <a:gd name="connsiteX18" fmla="*/ 3545227 w 4519952"/>
                  <a:gd name="connsiteY18" fmla="*/ 419100 h 4496940"/>
                  <a:gd name="connsiteX19" fmla="*/ 3602377 w 4519952"/>
                  <a:gd name="connsiteY19" fmla="*/ 457200 h 4496940"/>
                  <a:gd name="connsiteX20" fmla="*/ 3630952 w 4519952"/>
                  <a:gd name="connsiteY20" fmla="*/ 485775 h 4496940"/>
                  <a:gd name="connsiteX21" fmla="*/ 3678577 w 4519952"/>
                  <a:gd name="connsiteY21" fmla="*/ 504825 h 4496940"/>
                  <a:gd name="connsiteX22" fmla="*/ 3745252 w 4519952"/>
                  <a:gd name="connsiteY22" fmla="*/ 542925 h 4496940"/>
                  <a:gd name="connsiteX23" fmla="*/ 3811927 w 4519952"/>
                  <a:gd name="connsiteY23" fmla="*/ 581025 h 4496940"/>
                  <a:gd name="connsiteX24" fmla="*/ 3840502 w 4519952"/>
                  <a:gd name="connsiteY24" fmla="*/ 600075 h 4496940"/>
                  <a:gd name="connsiteX25" fmla="*/ 3869077 w 4519952"/>
                  <a:gd name="connsiteY25" fmla="*/ 628650 h 4496940"/>
                  <a:gd name="connsiteX26" fmla="*/ 3907177 w 4519952"/>
                  <a:gd name="connsiteY26" fmla="*/ 647700 h 4496940"/>
                  <a:gd name="connsiteX27" fmla="*/ 3935752 w 4519952"/>
                  <a:gd name="connsiteY27" fmla="*/ 676275 h 4496940"/>
                  <a:gd name="connsiteX28" fmla="*/ 3992902 w 4519952"/>
                  <a:gd name="connsiteY28" fmla="*/ 714375 h 4496940"/>
                  <a:gd name="connsiteX29" fmla="*/ 4050052 w 4519952"/>
                  <a:gd name="connsiteY29" fmla="*/ 790575 h 4496940"/>
                  <a:gd name="connsiteX30" fmla="*/ 4078627 w 4519952"/>
                  <a:gd name="connsiteY30" fmla="*/ 838200 h 4496940"/>
                  <a:gd name="connsiteX31" fmla="*/ 4107202 w 4519952"/>
                  <a:gd name="connsiteY31" fmla="*/ 876300 h 4496940"/>
                  <a:gd name="connsiteX32" fmla="*/ 4116727 w 4519952"/>
                  <a:gd name="connsiteY32" fmla="*/ 904875 h 4496940"/>
                  <a:gd name="connsiteX33" fmla="*/ 4135777 w 4519952"/>
                  <a:gd name="connsiteY33" fmla="*/ 933450 h 4496940"/>
                  <a:gd name="connsiteX34" fmla="*/ 4164352 w 4519952"/>
                  <a:gd name="connsiteY34" fmla="*/ 990600 h 4496940"/>
                  <a:gd name="connsiteX35" fmla="*/ 4173877 w 4519952"/>
                  <a:gd name="connsiteY35" fmla="*/ 1019175 h 4496940"/>
                  <a:gd name="connsiteX36" fmla="*/ 4192927 w 4519952"/>
                  <a:gd name="connsiteY36" fmla="*/ 1057275 h 4496940"/>
                  <a:gd name="connsiteX37" fmla="*/ 4202452 w 4519952"/>
                  <a:gd name="connsiteY37" fmla="*/ 1085850 h 4496940"/>
                  <a:gd name="connsiteX38" fmla="*/ 4250077 w 4519952"/>
                  <a:gd name="connsiteY38" fmla="*/ 1143000 h 4496940"/>
                  <a:gd name="connsiteX39" fmla="*/ 4259602 w 4519952"/>
                  <a:gd name="connsiteY39" fmla="*/ 1190625 h 4496940"/>
                  <a:gd name="connsiteX40" fmla="*/ 4307227 w 4519952"/>
                  <a:gd name="connsiteY40" fmla="*/ 1266825 h 4496940"/>
                  <a:gd name="connsiteX41" fmla="*/ 4345327 w 4519952"/>
                  <a:gd name="connsiteY41" fmla="*/ 1362075 h 4496940"/>
                  <a:gd name="connsiteX42" fmla="*/ 4373902 w 4519952"/>
                  <a:gd name="connsiteY42" fmla="*/ 1428750 h 4496940"/>
                  <a:gd name="connsiteX43" fmla="*/ 4392952 w 4519952"/>
                  <a:gd name="connsiteY43" fmla="*/ 1552575 h 4496940"/>
                  <a:gd name="connsiteX44" fmla="*/ 4402477 w 4519952"/>
                  <a:gd name="connsiteY44" fmla="*/ 1590675 h 4496940"/>
                  <a:gd name="connsiteX45" fmla="*/ 4431052 w 4519952"/>
                  <a:gd name="connsiteY45" fmla="*/ 1685925 h 4496940"/>
                  <a:gd name="connsiteX46" fmla="*/ 4459627 w 4519952"/>
                  <a:gd name="connsiteY46" fmla="*/ 1828800 h 4496940"/>
                  <a:gd name="connsiteX47" fmla="*/ 4519952 w 4519952"/>
                  <a:gd name="connsiteY47" fmla="*/ 2181225 h 4496940"/>
                  <a:gd name="connsiteX48" fmla="*/ 4440577 w 4519952"/>
                  <a:gd name="connsiteY48" fmla="*/ 2876550 h 4496940"/>
                  <a:gd name="connsiteX49" fmla="*/ 4383427 w 4519952"/>
                  <a:gd name="connsiteY49" fmla="*/ 2990850 h 4496940"/>
                  <a:gd name="connsiteX50" fmla="*/ 4354852 w 4519952"/>
                  <a:gd name="connsiteY50" fmla="*/ 3057525 h 4496940"/>
                  <a:gd name="connsiteX51" fmla="*/ 4335802 w 4519952"/>
                  <a:gd name="connsiteY51" fmla="*/ 3095625 h 4496940"/>
                  <a:gd name="connsiteX52" fmla="*/ 4278652 w 4519952"/>
                  <a:gd name="connsiteY52" fmla="*/ 3248025 h 4496940"/>
                  <a:gd name="connsiteX53" fmla="*/ 4259602 w 4519952"/>
                  <a:gd name="connsiteY53" fmla="*/ 3276600 h 4496940"/>
                  <a:gd name="connsiteX54" fmla="*/ 4221502 w 4519952"/>
                  <a:gd name="connsiteY54" fmla="*/ 3333750 h 4496940"/>
                  <a:gd name="connsiteX55" fmla="*/ 4211977 w 4519952"/>
                  <a:gd name="connsiteY55" fmla="*/ 3362325 h 4496940"/>
                  <a:gd name="connsiteX56" fmla="*/ 4183402 w 4519952"/>
                  <a:gd name="connsiteY56" fmla="*/ 3400425 h 4496940"/>
                  <a:gd name="connsiteX57" fmla="*/ 4164352 w 4519952"/>
                  <a:gd name="connsiteY57" fmla="*/ 3429000 h 4496940"/>
                  <a:gd name="connsiteX58" fmla="*/ 4088152 w 4519952"/>
                  <a:gd name="connsiteY58" fmla="*/ 3495675 h 4496940"/>
                  <a:gd name="connsiteX59" fmla="*/ 4059577 w 4519952"/>
                  <a:gd name="connsiteY59" fmla="*/ 3533775 h 4496940"/>
                  <a:gd name="connsiteX60" fmla="*/ 4002427 w 4519952"/>
                  <a:gd name="connsiteY60" fmla="*/ 3600450 h 4496940"/>
                  <a:gd name="connsiteX61" fmla="*/ 3983377 w 4519952"/>
                  <a:gd name="connsiteY61" fmla="*/ 3629025 h 4496940"/>
                  <a:gd name="connsiteX62" fmla="*/ 3954802 w 4519952"/>
                  <a:gd name="connsiteY62" fmla="*/ 3648075 h 4496940"/>
                  <a:gd name="connsiteX63" fmla="*/ 3907177 w 4519952"/>
                  <a:gd name="connsiteY63" fmla="*/ 3686175 h 4496940"/>
                  <a:gd name="connsiteX64" fmla="*/ 3869077 w 4519952"/>
                  <a:gd name="connsiteY64" fmla="*/ 3724275 h 4496940"/>
                  <a:gd name="connsiteX65" fmla="*/ 3792877 w 4519952"/>
                  <a:gd name="connsiteY65" fmla="*/ 3781425 h 4496940"/>
                  <a:gd name="connsiteX66" fmla="*/ 3783352 w 4519952"/>
                  <a:gd name="connsiteY66" fmla="*/ 3810000 h 4496940"/>
                  <a:gd name="connsiteX67" fmla="*/ 3745252 w 4519952"/>
                  <a:gd name="connsiteY67" fmla="*/ 3819525 h 4496940"/>
                  <a:gd name="connsiteX68" fmla="*/ 3678577 w 4519952"/>
                  <a:gd name="connsiteY68" fmla="*/ 3848100 h 4496940"/>
                  <a:gd name="connsiteX69" fmla="*/ 3659527 w 4519952"/>
                  <a:gd name="connsiteY69" fmla="*/ 3971925 h 4496940"/>
                  <a:gd name="connsiteX70" fmla="*/ 3630952 w 4519952"/>
                  <a:gd name="connsiteY70" fmla="*/ 4010025 h 4496940"/>
                  <a:gd name="connsiteX71" fmla="*/ 3621427 w 4519952"/>
                  <a:gd name="connsiteY71" fmla="*/ 4038600 h 4496940"/>
                  <a:gd name="connsiteX72" fmla="*/ 3554752 w 4519952"/>
                  <a:gd name="connsiteY72" fmla="*/ 4095750 h 4496940"/>
                  <a:gd name="connsiteX73" fmla="*/ 3516652 w 4519952"/>
                  <a:gd name="connsiteY73" fmla="*/ 4114800 h 4496940"/>
                  <a:gd name="connsiteX74" fmla="*/ 3497602 w 4519952"/>
                  <a:gd name="connsiteY74" fmla="*/ 4143375 h 4496940"/>
                  <a:gd name="connsiteX75" fmla="*/ 3383302 w 4519952"/>
                  <a:gd name="connsiteY75" fmla="*/ 4210050 h 4496940"/>
                  <a:gd name="connsiteX76" fmla="*/ 3335677 w 4519952"/>
                  <a:gd name="connsiteY76" fmla="*/ 4238625 h 4496940"/>
                  <a:gd name="connsiteX77" fmla="*/ 3288052 w 4519952"/>
                  <a:gd name="connsiteY77" fmla="*/ 4248150 h 4496940"/>
                  <a:gd name="connsiteX78" fmla="*/ 3240427 w 4519952"/>
                  <a:gd name="connsiteY78" fmla="*/ 4267200 h 4496940"/>
                  <a:gd name="connsiteX79" fmla="*/ 3068977 w 4519952"/>
                  <a:gd name="connsiteY79" fmla="*/ 4286250 h 4496940"/>
                  <a:gd name="connsiteX80" fmla="*/ 2935627 w 4519952"/>
                  <a:gd name="connsiteY80" fmla="*/ 4333875 h 4496940"/>
                  <a:gd name="connsiteX81" fmla="*/ 2811802 w 4519952"/>
                  <a:gd name="connsiteY81" fmla="*/ 4371975 h 4496940"/>
                  <a:gd name="connsiteX82" fmla="*/ 2745127 w 4519952"/>
                  <a:gd name="connsiteY82" fmla="*/ 4410075 h 4496940"/>
                  <a:gd name="connsiteX83" fmla="*/ 2697502 w 4519952"/>
                  <a:gd name="connsiteY83" fmla="*/ 4429125 h 4496940"/>
                  <a:gd name="connsiteX84" fmla="*/ 2640352 w 4519952"/>
                  <a:gd name="connsiteY84" fmla="*/ 4457700 h 4496940"/>
                  <a:gd name="connsiteX85" fmla="*/ 2583202 w 4519952"/>
                  <a:gd name="connsiteY85" fmla="*/ 4467225 h 4496940"/>
                  <a:gd name="connsiteX86" fmla="*/ 2545102 w 4519952"/>
                  <a:gd name="connsiteY86" fmla="*/ 4486275 h 4496940"/>
                  <a:gd name="connsiteX87" fmla="*/ 2306977 w 4519952"/>
                  <a:gd name="connsiteY87" fmla="*/ 4476750 h 4496940"/>
                  <a:gd name="connsiteX88" fmla="*/ 2202202 w 4519952"/>
                  <a:gd name="connsiteY88" fmla="*/ 4457700 h 4496940"/>
                  <a:gd name="connsiteX89" fmla="*/ 2126002 w 4519952"/>
                  <a:gd name="connsiteY89" fmla="*/ 4429125 h 4496940"/>
                  <a:gd name="connsiteX90" fmla="*/ 1935502 w 4519952"/>
                  <a:gd name="connsiteY90" fmla="*/ 4400550 h 4496940"/>
                  <a:gd name="connsiteX91" fmla="*/ 1821202 w 4519952"/>
                  <a:gd name="connsiteY91" fmla="*/ 4371975 h 4496940"/>
                  <a:gd name="connsiteX92" fmla="*/ 1754527 w 4519952"/>
                  <a:gd name="connsiteY92" fmla="*/ 4352925 h 4496940"/>
                  <a:gd name="connsiteX93" fmla="*/ 1687852 w 4519952"/>
                  <a:gd name="connsiteY93" fmla="*/ 4343400 h 4496940"/>
                  <a:gd name="connsiteX94" fmla="*/ 1573552 w 4519952"/>
                  <a:gd name="connsiteY94" fmla="*/ 4305300 h 4496940"/>
                  <a:gd name="connsiteX95" fmla="*/ 1402102 w 4519952"/>
                  <a:gd name="connsiteY95" fmla="*/ 4276725 h 4496940"/>
                  <a:gd name="connsiteX96" fmla="*/ 1287802 w 4519952"/>
                  <a:gd name="connsiteY96" fmla="*/ 4229100 h 4496940"/>
                  <a:gd name="connsiteX97" fmla="*/ 1221127 w 4519952"/>
                  <a:gd name="connsiteY97" fmla="*/ 4200525 h 4496940"/>
                  <a:gd name="connsiteX98" fmla="*/ 1144927 w 4519952"/>
                  <a:gd name="connsiteY98" fmla="*/ 4171950 h 4496940"/>
                  <a:gd name="connsiteX99" fmla="*/ 1087777 w 4519952"/>
                  <a:gd name="connsiteY99" fmla="*/ 4143375 h 4496940"/>
                  <a:gd name="connsiteX100" fmla="*/ 1030627 w 4519952"/>
                  <a:gd name="connsiteY100" fmla="*/ 4124325 h 4496940"/>
                  <a:gd name="connsiteX101" fmla="*/ 925852 w 4519952"/>
                  <a:gd name="connsiteY101" fmla="*/ 4067175 h 4496940"/>
                  <a:gd name="connsiteX102" fmla="*/ 830602 w 4519952"/>
                  <a:gd name="connsiteY102" fmla="*/ 3981450 h 4496940"/>
                  <a:gd name="connsiteX103" fmla="*/ 763927 w 4519952"/>
                  <a:gd name="connsiteY103" fmla="*/ 3914775 h 4496940"/>
                  <a:gd name="connsiteX104" fmla="*/ 725827 w 4519952"/>
                  <a:gd name="connsiteY104" fmla="*/ 3876675 h 4496940"/>
                  <a:gd name="connsiteX105" fmla="*/ 697252 w 4519952"/>
                  <a:gd name="connsiteY105" fmla="*/ 3838575 h 4496940"/>
                  <a:gd name="connsiteX106" fmla="*/ 640102 w 4519952"/>
                  <a:gd name="connsiteY106" fmla="*/ 3781425 h 4496940"/>
                  <a:gd name="connsiteX107" fmla="*/ 611527 w 4519952"/>
                  <a:gd name="connsiteY107" fmla="*/ 3733800 h 4496940"/>
                  <a:gd name="connsiteX108" fmla="*/ 554377 w 4519952"/>
                  <a:gd name="connsiteY108" fmla="*/ 3657600 h 4496940"/>
                  <a:gd name="connsiteX109" fmla="*/ 525802 w 4519952"/>
                  <a:gd name="connsiteY109" fmla="*/ 3609975 h 4496940"/>
                  <a:gd name="connsiteX110" fmla="*/ 497227 w 4519952"/>
                  <a:gd name="connsiteY110" fmla="*/ 3552825 h 4496940"/>
                  <a:gd name="connsiteX111" fmla="*/ 440077 w 4519952"/>
                  <a:gd name="connsiteY111" fmla="*/ 3495675 h 4496940"/>
                  <a:gd name="connsiteX112" fmla="*/ 411502 w 4519952"/>
                  <a:gd name="connsiteY112" fmla="*/ 3448050 h 4496940"/>
                  <a:gd name="connsiteX113" fmla="*/ 278152 w 4519952"/>
                  <a:gd name="connsiteY113" fmla="*/ 3257550 h 4496940"/>
                  <a:gd name="connsiteX114" fmla="*/ 249577 w 4519952"/>
                  <a:gd name="connsiteY114" fmla="*/ 3200400 h 4496940"/>
                  <a:gd name="connsiteX115" fmla="*/ 240052 w 4519952"/>
                  <a:gd name="connsiteY115" fmla="*/ 3162300 h 4496940"/>
                  <a:gd name="connsiteX116" fmla="*/ 221002 w 4519952"/>
                  <a:gd name="connsiteY116" fmla="*/ 3105150 h 4496940"/>
                  <a:gd name="connsiteX117" fmla="*/ 173377 w 4519952"/>
                  <a:gd name="connsiteY117" fmla="*/ 3019425 h 4496940"/>
                  <a:gd name="connsiteX118" fmla="*/ 144802 w 4519952"/>
                  <a:gd name="connsiteY118" fmla="*/ 2924175 h 4496940"/>
                  <a:gd name="connsiteX119" fmla="*/ 68602 w 4519952"/>
                  <a:gd name="connsiteY119" fmla="*/ 2724150 h 4496940"/>
                  <a:gd name="connsiteX120" fmla="*/ 49552 w 4519952"/>
                  <a:gd name="connsiteY120" fmla="*/ 2638425 h 4496940"/>
                  <a:gd name="connsiteX121" fmla="*/ 40027 w 4519952"/>
                  <a:gd name="connsiteY121" fmla="*/ 2562225 h 4496940"/>
                  <a:gd name="connsiteX122" fmla="*/ 30502 w 4519952"/>
                  <a:gd name="connsiteY122" fmla="*/ 2514600 h 4496940"/>
                  <a:gd name="connsiteX123" fmla="*/ 11452 w 4519952"/>
                  <a:gd name="connsiteY123" fmla="*/ 2400300 h 4496940"/>
                  <a:gd name="connsiteX124" fmla="*/ 20977 w 4519952"/>
                  <a:gd name="connsiteY124" fmla="*/ 1905000 h 4496940"/>
                  <a:gd name="connsiteX125" fmla="*/ 30502 w 4519952"/>
                  <a:gd name="connsiteY125" fmla="*/ 1838325 h 4496940"/>
                  <a:gd name="connsiteX126" fmla="*/ 49552 w 4519952"/>
                  <a:gd name="connsiteY126" fmla="*/ 1781175 h 4496940"/>
                  <a:gd name="connsiteX127" fmla="*/ 59077 w 4519952"/>
                  <a:gd name="connsiteY127" fmla="*/ 1743075 h 4496940"/>
                  <a:gd name="connsiteX128" fmla="*/ 78127 w 4519952"/>
                  <a:gd name="connsiteY128" fmla="*/ 1685925 h 4496940"/>
                  <a:gd name="connsiteX129" fmla="*/ 87652 w 4519952"/>
                  <a:gd name="connsiteY129" fmla="*/ 1638300 h 4496940"/>
                  <a:gd name="connsiteX130" fmla="*/ 106702 w 4519952"/>
                  <a:gd name="connsiteY130" fmla="*/ 1590675 h 4496940"/>
                  <a:gd name="connsiteX131" fmla="*/ 135277 w 4519952"/>
                  <a:gd name="connsiteY131" fmla="*/ 1504950 h 4496940"/>
                  <a:gd name="connsiteX132" fmla="*/ 154327 w 4519952"/>
                  <a:gd name="connsiteY132" fmla="*/ 1419225 h 4496940"/>
                  <a:gd name="connsiteX133" fmla="*/ 230527 w 4519952"/>
                  <a:gd name="connsiteY133" fmla="*/ 1276350 h 4496940"/>
                  <a:gd name="connsiteX134" fmla="*/ 240052 w 4519952"/>
                  <a:gd name="connsiteY134" fmla="*/ 1247775 h 4496940"/>
                  <a:gd name="connsiteX135" fmla="*/ 268627 w 4519952"/>
                  <a:gd name="connsiteY135" fmla="*/ 1200150 h 4496940"/>
                  <a:gd name="connsiteX136" fmla="*/ 287677 w 4519952"/>
                  <a:gd name="connsiteY136" fmla="*/ 1152525 h 4496940"/>
                  <a:gd name="connsiteX137" fmla="*/ 316252 w 4519952"/>
                  <a:gd name="connsiteY137" fmla="*/ 1114425 h 4496940"/>
                  <a:gd name="connsiteX138" fmla="*/ 363877 w 4519952"/>
                  <a:gd name="connsiteY138" fmla="*/ 1038225 h 4496940"/>
                  <a:gd name="connsiteX139" fmla="*/ 382927 w 4519952"/>
                  <a:gd name="connsiteY139" fmla="*/ 1009650 h 4496940"/>
                  <a:gd name="connsiteX140" fmla="*/ 440077 w 4519952"/>
                  <a:gd name="connsiteY140" fmla="*/ 904875 h 4496940"/>
                  <a:gd name="connsiteX141" fmla="*/ 478177 w 4519952"/>
                  <a:gd name="connsiteY141" fmla="*/ 857250 h 4496940"/>
                  <a:gd name="connsiteX142" fmla="*/ 497227 w 4519952"/>
                  <a:gd name="connsiteY142" fmla="*/ 828675 h 4496940"/>
                  <a:gd name="connsiteX143" fmla="*/ 535327 w 4519952"/>
                  <a:gd name="connsiteY143" fmla="*/ 800100 h 4496940"/>
                  <a:gd name="connsiteX144" fmla="*/ 602002 w 4519952"/>
                  <a:gd name="connsiteY144" fmla="*/ 733425 h 4496940"/>
                  <a:gd name="connsiteX145" fmla="*/ 668677 w 4519952"/>
                  <a:gd name="connsiteY145" fmla="*/ 676275 h 4496940"/>
                  <a:gd name="connsiteX146" fmla="*/ 697252 w 4519952"/>
                  <a:gd name="connsiteY146" fmla="*/ 657225 h 4496940"/>
                  <a:gd name="connsiteX147" fmla="*/ 840127 w 4519952"/>
                  <a:gd name="connsiteY147" fmla="*/ 533400 h 4496940"/>
                  <a:gd name="connsiteX148" fmla="*/ 887752 w 4519952"/>
                  <a:gd name="connsiteY148" fmla="*/ 504825 h 4496940"/>
                  <a:gd name="connsiteX149" fmla="*/ 1167152 w 4519952"/>
                  <a:gd name="connsiteY149" fmla="*/ 311150 h 4496940"/>
                  <a:gd name="connsiteX150" fmla="*/ 1268752 w 4519952"/>
                  <a:gd name="connsiteY150" fmla="*/ 285750 h 4496940"/>
                  <a:gd name="connsiteX151" fmla="*/ 1411627 w 4519952"/>
                  <a:gd name="connsiteY151" fmla="*/ 190500 h 4496940"/>
                  <a:gd name="connsiteX152" fmla="*/ 1449727 w 4519952"/>
                  <a:gd name="connsiteY152" fmla="*/ 161925 h 4496940"/>
                  <a:gd name="connsiteX153" fmla="*/ 1525927 w 4519952"/>
                  <a:gd name="connsiteY153" fmla="*/ 152400 h 4496940"/>
                  <a:gd name="connsiteX154" fmla="*/ 1583077 w 4519952"/>
                  <a:gd name="connsiteY154" fmla="*/ 142875 h 4496940"/>
                  <a:gd name="connsiteX155" fmla="*/ 1716427 w 4519952"/>
                  <a:gd name="connsiteY155" fmla="*/ 123825 h 4496940"/>
                  <a:gd name="connsiteX156" fmla="*/ 1811677 w 4519952"/>
                  <a:gd name="connsiteY156" fmla="*/ 114300 h 4496940"/>
                  <a:gd name="connsiteX157" fmla="*/ 1859302 w 4519952"/>
                  <a:gd name="connsiteY157" fmla="*/ 104775 h 4496940"/>
                  <a:gd name="connsiteX158" fmla="*/ 1916452 w 4519952"/>
                  <a:gd name="connsiteY158" fmla="*/ 95250 h 4496940"/>
                  <a:gd name="connsiteX159" fmla="*/ 2030752 w 4519952"/>
                  <a:gd name="connsiteY159" fmla="*/ 66675 h 4496940"/>
                  <a:gd name="connsiteX160" fmla="*/ 2097427 w 4519952"/>
                  <a:gd name="connsiteY160" fmla="*/ 47625 h 4496940"/>
                  <a:gd name="connsiteX161" fmla="*/ 2164102 w 4519952"/>
                  <a:gd name="connsiteY161" fmla="*/ 38100 h 4496940"/>
                  <a:gd name="connsiteX162" fmla="*/ 2392702 w 4519952"/>
                  <a:gd name="connsiteY162" fmla="*/ 28575 h 4496940"/>
                  <a:gd name="connsiteX0" fmla="*/ 2297452 w 4519983"/>
                  <a:gd name="connsiteY0" fmla="*/ 0 h 4496940"/>
                  <a:gd name="connsiteX1" fmla="*/ 2421277 w 4519983"/>
                  <a:gd name="connsiteY1" fmla="*/ 28575 h 4496940"/>
                  <a:gd name="connsiteX2" fmla="*/ 2497477 w 4519983"/>
                  <a:gd name="connsiteY2" fmla="*/ 47625 h 4496940"/>
                  <a:gd name="connsiteX3" fmla="*/ 2754652 w 4519983"/>
                  <a:gd name="connsiteY3" fmla="*/ 66675 h 4496940"/>
                  <a:gd name="connsiteX4" fmla="*/ 2830852 w 4519983"/>
                  <a:gd name="connsiteY4" fmla="*/ 76200 h 4496940"/>
                  <a:gd name="connsiteX5" fmla="*/ 2916577 w 4519983"/>
                  <a:gd name="connsiteY5" fmla="*/ 85725 h 4496940"/>
                  <a:gd name="connsiteX6" fmla="*/ 2973727 w 4519983"/>
                  <a:gd name="connsiteY6" fmla="*/ 114300 h 4496940"/>
                  <a:gd name="connsiteX7" fmla="*/ 3011827 w 4519983"/>
                  <a:gd name="connsiteY7" fmla="*/ 123825 h 4496940"/>
                  <a:gd name="connsiteX8" fmla="*/ 3135652 w 4519983"/>
                  <a:gd name="connsiteY8" fmla="*/ 171450 h 4496940"/>
                  <a:gd name="connsiteX9" fmla="*/ 3173752 w 4519983"/>
                  <a:gd name="connsiteY9" fmla="*/ 190500 h 4496940"/>
                  <a:gd name="connsiteX10" fmla="*/ 3240427 w 4519983"/>
                  <a:gd name="connsiteY10" fmla="*/ 228600 h 4496940"/>
                  <a:gd name="connsiteX11" fmla="*/ 3269002 w 4519983"/>
                  <a:gd name="connsiteY11" fmla="*/ 238125 h 4496940"/>
                  <a:gd name="connsiteX12" fmla="*/ 3297577 w 4519983"/>
                  <a:gd name="connsiteY12" fmla="*/ 257175 h 4496940"/>
                  <a:gd name="connsiteX13" fmla="*/ 3326152 w 4519983"/>
                  <a:gd name="connsiteY13" fmla="*/ 266700 h 4496940"/>
                  <a:gd name="connsiteX14" fmla="*/ 3354727 w 4519983"/>
                  <a:gd name="connsiteY14" fmla="*/ 285750 h 4496940"/>
                  <a:gd name="connsiteX15" fmla="*/ 3421402 w 4519983"/>
                  <a:gd name="connsiteY15" fmla="*/ 323850 h 4496940"/>
                  <a:gd name="connsiteX16" fmla="*/ 3469027 w 4519983"/>
                  <a:gd name="connsiteY16" fmla="*/ 361950 h 4496940"/>
                  <a:gd name="connsiteX17" fmla="*/ 3516652 w 4519983"/>
                  <a:gd name="connsiteY17" fmla="*/ 390525 h 4496940"/>
                  <a:gd name="connsiteX18" fmla="*/ 3545227 w 4519983"/>
                  <a:gd name="connsiteY18" fmla="*/ 419100 h 4496940"/>
                  <a:gd name="connsiteX19" fmla="*/ 3602377 w 4519983"/>
                  <a:gd name="connsiteY19" fmla="*/ 457200 h 4496940"/>
                  <a:gd name="connsiteX20" fmla="*/ 3630952 w 4519983"/>
                  <a:gd name="connsiteY20" fmla="*/ 485775 h 4496940"/>
                  <a:gd name="connsiteX21" fmla="*/ 3678577 w 4519983"/>
                  <a:gd name="connsiteY21" fmla="*/ 504825 h 4496940"/>
                  <a:gd name="connsiteX22" fmla="*/ 3745252 w 4519983"/>
                  <a:gd name="connsiteY22" fmla="*/ 542925 h 4496940"/>
                  <a:gd name="connsiteX23" fmla="*/ 3811927 w 4519983"/>
                  <a:gd name="connsiteY23" fmla="*/ 581025 h 4496940"/>
                  <a:gd name="connsiteX24" fmla="*/ 3840502 w 4519983"/>
                  <a:gd name="connsiteY24" fmla="*/ 600075 h 4496940"/>
                  <a:gd name="connsiteX25" fmla="*/ 3869077 w 4519983"/>
                  <a:gd name="connsiteY25" fmla="*/ 628650 h 4496940"/>
                  <a:gd name="connsiteX26" fmla="*/ 3907177 w 4519983"/>
                  <a:gd name="connsiteY26" fmla="*/ 647700 h 4496940"/>
                  <a:gd name="connsiteX27" fmla="*/ 3935752 w 4519983"/>
                  <a:gd name="connsiteY27" fmla="*/ 676275 h 4496940"/>
                  <a:gd name="connsiteX28" fmla="*/ 3992902 w 4519983"/>
                  <a:gd name="connsiteY28" fmla="*/ 714375 h 4496940"/>
                  <a:gd name="connsiteX29" fmla="*/ 4050052 w 4519983"/>
                  <a:gd name="connsiteY29" fmla="*/ 790575 h 4496940"/>
                  <a:gd name="connsiteX30" fmla="*/ 4078627 w 4519983"/>
                  <a:gd name="connsiteY30" fmla="*/ 838200 h 4496940"/>
                  <a:gd name="connsiteX31" fmla="*/ 4107202 w 4519983"/>
                  <a:gd name="connsiteY31" fmla="*/ 876300 h 4496940"/>
                  <a:gd name="connsiteX32" fmla="*/ 4116727 w 4519983"/>
                  <a:gd name="connsiteY32" fmla="*/ 904875 h 4496940"/>
                  <a:gd name="connsiteX33" fmla="*/ 4135777 w 4519983"/>
                  <a:gd name="connsiteY33" fmla="*/ 933450 h 4496940"/>
                  <a:gd name="connsiteX34" fmla="*/ 4164352 w 4519983"/>
                  <a:gd name="connsiteY34" fmla="*/ 990600 h 4496940"/>
                  <a:gd name="connsiteX35" fmla="*/ 4173877 w 4519983"/>
                  <a:gd name="connsiteY35" fmla="*/ 1019175 h 4496940"/>
                  <a:gd name="connsiteX36" fmla="*/ 4192927 w 4519983"/>
                  <a:gd name="connsiteY36" fmla="*/ 1057275 h 4496940"/>
                  <a:gd name="connsiteX37" fmla="*/ 4202452 w 4519983"/>
                  <a:gd name="connsiteY37" fmla="*/ 1085850 h 4496940"/>
                  <a:gd name="connsiteX38" fmla="*/ 4250077 w 4519983"/>
                  <a:gd name="connsiteY38" fmla="*/ 1143000 h 4496940"/>
                  <a:gd name="connsiteX39" fmla="*/ 4259602 w 4519983"/>
                  <a:gd name="connsiteY39" fmla="*/ 1190625 h 4496940"/>
                  <a:gd name="connsiteX40" fmla="*/ 4307227 w 4519983"/>
                  <a:gd name="connsiteY40" fmla="*/ 1266825 h 4496940"/>
                  <a:gd name="connsiteX41" fmla="*/ 4345327 w 4519983"/>
                  <a:gd name="connsiteY41" fmla="*/ 1362075 h 4496940"/>
                  <a:gd name="connsiteX42" fmla="*/ 4373902 w 4519983"/>
                  <a:gd name="connsiteY42" fmla="*/ 1428750 h 4496940"/>
                  <a:gd name="connsiteX43" fmla="*/ 4392952 w 4519983"/>
                  <a:gd name="connsiteY43" fmla="*/ 1552575 h 4496940"/>
                  <a:gd name="connsiteX44" fmla="*/ 4402477 w 4519983"/>
                  <a:gd name="connsiteY44" fmla="*/ 1590675 h 4496940"/>
                  <a:gd name="connsiteX45" fmla="*/ 4431052 w 4519983"/>
                  <a:gd name="connsiteY45" fmla="*/ 1685925 h 4496940"/>
                  <a:gd name="connsiteX46" fmla="*/ 4519952 w 4519983"/>
                  <a:gd name="connsiteY46" fmla="*/ 2181225 h 4496940"/>
                  <a:gd name="connsiteX47" fmla="*/ 4440577 w 4519983"/>
                  <a:gd name="connsiteY47" fmla="*/ 2876550 h 4496940"/>
                  <a:gd name="connsiteX48" fmla="*/ 4383427 w 4519983"/>
                  <a:gd name="connsiteY48" fmla="*/ 2990850 h 4496940"/>
                  <a:gd name="connsiteX49" fmla="*/ 4354852 w 4519983"/>
                  <a:gd name="connsiteY49" fmla="*/ 3057525 h 4496940"/>
                  <a:gd name="connsiteX50" fmla="*/ 4335802 w 4519983"/>
                  <a:gd name="connsiteY50" fmla="*/ 3095625 h 4496940"/>
                  <a:gd name="connsiteX51" fmla="*/ 4278652 w 4519983"/>
                  <a:gd name="connsiteY51" fmla="*/ 3248025 h 4496940"/>
                  <a:gd name="connsiteX52" fmla="*/ 4259602 w 4519983"/>
                  <a:gd name="connsiteY52" fmla="*/ 3276600 h 4496940"/>
                  <a:gd name="connsiteX53" fmla="*/ 4221502 w 4519983"/>
                  <a:gd name="connsiteY53" fmla="*/ 3333750 h 4496940"/>
                  <a:gd name="connsiteX54" fmla="*/ 4211977 w 4519983"/>
                  <a:gd name="connsiteY54" fmla="*/ 3362325 h 4496940"/>
                  <a:gd name="connsiteX55" fmla="*/ 4183402 w 4519983"/>
                  <a:gd name="connsiteY55" fmla="*/ 3400425 h 4496940"/>
                  <a:gd name="connsiteX56" fmla="*/ 4164352 w 4519983"/>
                  <a:gd name="connsiteY56" fmla="*/ 3429000 h 4496940"/>
                  <a:gd name="connsiteX57" fmla="*/ 4088152 w 4519983"/>
                  <a:gd name="connsiteY57" fmla="*/ 3495675 h 4496940"/>
                  <a:gd name="connsiteX58" fmla="*/ 4059577 w 4519983"/>
                  <a:gd name="connsiteY58" fmla="*/ 3533775 h 4496940"/>
                  <a:gd name="connsiteX59" fmla="*/ 4002427 w 4519983"/>
                  <a:gd name="connsiteY59" fmla="*/ 3600450 h 4496940"/>
                  <a:gd name="connsiteX60" fmla="*/ 3983377 w 4519983"/>
                  <a:gd name="connsiteY60" fmla="*/ 3629025 h 4496940"/>
                  <a:gd name="connsiteX61" fmla="*/ 3954802 w 4519983"/>
                  <a:gd name="connsiteY61" fmla="*/ 3648075 h 4496940"/>
                  <a:gd name="connsiteX62" fmla="*/ 3907177 w 4519983"/>
                  <a:gd name="connsiteY62" fmla="*/ 3686175 h 4496940"/>
                  <a:gd name="connsiteX63" fmla="*/ 3869077 w 4519983"/>
                  <a:gd name="connsiteY63" fmla="*/ 3724275 h 4496940"/>
                  <a:gd name="connsiteX64" fmla="*/ 3792877 w 4519983"/>
                  <a:gd name="connsiteY64" fmla="*/ 3781425 h 4496940"/>
                  <a:gd name="connsiteX65" fmla="*/ 3783352 w 4519983"/>
                  <a:gd name="connsiteY65" fmla="*/ 3810000 h 4496940"/>
                  <a:gd name="connsiteX66" fmla="*/ 3745252 w 4519983"/>
                  <a:gd name="connsiteY66" fmla="*/ 3819525 h 4496940"/>
                  <a:gd name="connsiteX67" fmla="*/ 3678577 w 4519983"/>
                  <a:gd name="connsiteY67" fmla="*/ 3848100 h 4496940"/>
                  <a:gd name="connsiteX68" fmla="*/ 3659527 w 4519983"/>
                  <a:gd name="connsiteY68" fmla="*/ 3971925 h 4496940"/>
                  <a:gd name="connsiteX69" fmla="*/ 3630952 w 4519983"/>
                  <a:gd name="connsiteY69" fmla="*/ 4010025 h 4496940"/>
                  <a:gd name="connsiteX70" fmla="*/ 3621427 w 4519983"/>
                  <a:gd name="connsiteY70" fmla="*/ 4038600 h 4496940"/>
                  <a:gd name="connsiteX71" fmla="*/ 3554752 w 4519983"/>
                  <a:gd name="connsiteY71" fmla="*/ 4095750 h 4496940"/>
                  <a:gd name="connsiteX72" fmla="*/ 3516652 w 4519983"/>
                  <a:gd name="connsiteY72" fmla="*/ 4114800 h 4496940"/>
                  <a:gd name="connsiteX73" fmla="*/ 3497602 w 4519983"/>
                  <a:gd name="connsiteY73" fmla="*/ 4143375 h 4496940"/>
                  <a:gd name="connsiteX74" fmla="*/ 3383302 w 4519983"/>
                  <a:gd name="connsiteY74" fmla="*/ 4210050 h 4496940"/>
                  <a:gd name="connsiteX75" fmla="*/ 3335677 w 4519983"/>
                  <a:gd name="connsiteY75" fmla="*/ 4238625 h 4496940"/>
                  <a:gd name="connsiteX76" fmla="*/ 3288052 w 4519983"/>
                  <a:gd name="connsiteY76" fmla="*/ 4248150 h 4496940"/>
                  <a:gd name="connsiteX77" fmla="*/ 3240427 w 4519983"/>
                  <a:gd name="connsiteY77" fmla="*/ 4267200 h 4496940"/>
                  <a:gd name="connsiteX78" fmla="*/ 3068977 w 4519983"/>
                  <a:gd name="connsiteY78" fmla="*/ 4286250 h 4496940"/>
                  <a:gd name="connsiteX79" fmla="*/ 2935627 w 4519983"/>
                  <a:gd name="connsiteY79" fmla="*/ 4333875 h 4496940"/>
                  <a:gd name="connsiteX80" fmla="*/ 2811802 w 4519983"/>
                  <a:gd name="connsiteY80" fmla="*/ 4371975 h 4496940"/>
                  <a:gd name="connsiteX81" fmla="*/ 2745127 w 4519983"/>
                  <a:gd name="connsiteY81" fmla="*/ 4410075 h 4496940"/>
                  <a:gd name="connsiteX82" fmla="*/ 2697502 w 4519983"/>
                  <a:gd name="connsiteY82" fmla="*/ 4429125 h 4496940"/>
                  <a:gd name="connsiteX83" fmla="*/ 2640352 w 4519983"/>
                  <a:gd name="connsiteY83" fmla="*/ 4457700 h 4496940"/>
                  <a:gd name="connsiteX84" fmla="*/ 2583202 w 4519983"/>
                  <a:gd name="connsiteY84" fmla="*/ 4467225 h 4496940"/>
                  <a:gd name="connsiteX85" fmla="*/ 2545102 w 4519983"/>
                  <a:gd name="connsiteY85" fmla="*/ 4486275 h 4496940"/>
                  <a:gd name="connsiteX86" fmla="*/ 2306977 w 4519983"/>
                  <a:gd name="connsiteY86" fmla="*/ 4476750 h 4496940"/>
                  <a:gd name="connsiteX87" fmla="*/ 2202202 w 4519983"/>
                  <a:gd name="connsiteY87" fmla="*/ 4457700 h 4496940"/>
                  <a:gd name="connsiteX88" fmla="*/ 2126002 w 4519983"/>
                  <a:gd name="connsiteY88" fmla="*/ 4429125 h 4496940"/>
                  <a:gd name="connsiteX89" fmla="*/ 1935502 w 4519983"/>
                  <a:gd name="connsiteY89" fmla="*/ 4400550 h 4496940"/>
                  <a:gd name="connsiteX90" fmla="*/ 1821202 w 4519983"/>
                  <a:gd name="connsiteY90" fmla="*/ 4371975 h 4496940"/>
                  <a:gd name="connsiteX91" fmla="*/ 1754527 w 4519983"/>
                  <a:gd name="connsiteY91" fmla="*/ 4352925 h 4496940"/>
                  <a:gd name="connsiteX92" fmla="*/ 1687852 w 4519983"/>
                  <a:gd name="connsiteY92" fmla="*/ 4343400 h 4496940"/>
                  <a:gd name="connsiteX93" fmla="*/ 1573552 w 4519983"/>
                  <a:gd name="connsiteY93" fmla="*/ 4305300 h 4496940"/>
                  <a:gd name="connsiteX94" fmla="*/ 1402102 w 4519983"/>
                  <a:gd name="connsiteY94" fmla="*/ 4276725 h 4496940"/>
                  <a:gd name="connsiteX95" fmla="*/ 1287802 w 4519983"/>
                  <a:gd name="connsiteY95" fmla="*/ 4229100 h 4496940"/>
                  <a:gd name="connsiteX96" fmla="*/ 1221127 w 4519983"/>
                  <a:gd name="connsiteY96" fmla="*/ 4200525 h 4496940"/>
                  <a:gd name="connsiteX97" fmla="*/ 1144927 w 4519983"/>
                  <a:gd name="connsiteY97" fmla="*/ 4171950 h 4496940"/>
                  <a:gd name="connsiteX98" fmla="*/ 1087777 w 4519983"/>
                  <a:gd name="connsiteY98" fmla="*/ 4143375 h 4496940"/>
                  <a:gd name="connsiteX99" fmla="*/ 1030627 w 4519983"/>
                  <a:gd name="connsiteY99" fmla="*/ 4124325 h 4496940"/>
                  <a:gd name="connsiteX100" fmla="*/ 925852 w 4519983"/>
                  <a:gd name="connsiteY100" fmla="*/ 4067175 h 4496940"/>
                  <a:gd name="connsiteX101" fmla="*/ 830602 w 4519983"/>
                  <a:gd name="connsiteY101" fmla="*/ 3981450 h 4496940"/>
                  <a:gd name="connsiteX102" fmla="*/ 763927 w 4519983"/>
                  <a:gd name="connsiteY102" fmla="*/ 3914775 h 4496940"/>
                  <a:gd name="connsiteX103" fmla="*/ 725827 w 4519983"/>
                  <a:gd name="connsiteY103" fmla="*/ 3876675 h 4496940"/>
                  <a:gd name="connsiteX104" fmla="*/ 697252 w 4519983"/>
                  <a:gd name="connsiteY104" fmla="*/ 3838575 h 4496940"/>
                  <a:gd name="connsiteX105" fmla="*/ 640102 w 4519983"/>
                  <a:gd name="connsiteY105" fmla="*/ 3781425 h 4496940"/>
                  <a:gd name="connsiteX106" fmla="*/ 611527 w 4519983"/>
                  <a:gd name="connsiteY106" fmla="*/ 3733800 h 4496940"/>
                  <a:gd name="connsiteX107" fmla="*/ 554377 w 4519983"/>
                  <a:gd name="connsiteY107" fmla="*/ 3657600 h 4496940"/>
                  <a:gd name="connsiteX108" fmla="*/ 525802 w 4519983"/>
                  <a:gd name="connsiteY108" fmla="*/ 3609975 h 4496940"/>
                  <a:gd name="connsiteX109" fmla="*/ 497227 w 4519983"/>
                  <a:gd name="connsiteY109" fmla="*/ 3552825 h 4496940"/>
                  <a:gd name="connsiteX110" fmla="*/ 440077 w 4519983"/>
                  <a:gd name="connsiteY110" fmla="*/ 3495675 h 4496940"/>
                  <a:gd name="connsiteX111" fmla="*/ 411502 w 4519983"/>
                  <a:gd name="connsiteY111" fmla="*/ 3448050 h 4496940"/>
                  <a:gd name="connsiteX112" fmla="*/ 278152 w 4519983"/>
                  <a:gd name="connsiteY112" fmla="*/ 3257550 h 4496940"/>
                  <a:gd name="connsiteX113" fmla="*/ 249577 w 4519983"/>
                  <a:gd name="connsiteY113" fmla="*/ 3200400 h 4496940"/>
                  <a:gd name="connsiteX114" fmla="*/ 240052 w 4519983"/>
                  <a:gd name="connsiteY114" fmla="*/ 3162300 h 4496940"/>
                  <a:gd name="connsiteX115" fmla="*/ 221002 w 4519983"/>
                  <a:gd name="connsiteY115" fmla="*/ 3105150 h 4496940"/>
                  <a:gd name="connsiteX116" fmla="*/ 173377 w 4519983"/>
                  <a:gd name="connsiteY116" fmla="*/ 3019425 h 4496940"/>
                  <a:gd name="connsiteX117" fmla="*/ 144802 w 4519983"/>
                  <a:gd name="connsiteY117" fmla="*/ 2924175 h 4496940"/>
                  <a:gd name="connsiteX118" fmla="*/ 68602 w 4519983"/>
                  <a:gd name="connsiteY118" fmla="*/ 2724150 h 4496940"/>
                  <a:gd name="connsiteX119" fmla="*/ 49552 w 4519983"/>
                  <a:gd name="connsiteY119" fmla="*/ 2638425 h 4496940"/>
                  <a:gd name="connsiteX120" fmla="*/ 40027 w 4519983"/>
                  <a:gd name="connsiteY120" fmla="*/ 2562225 h 4496940"/>
                  <a:gd name="connsiteX121" fmla="*/ 30502 w 4519983"/>
                  <a:gd name="connsiteY121" fmla="*/ 2514600 h 4496940"/>
                  <a:gd name="connsiteX122" fmla="*/ 11452 w 4519983"/>
                  <a:gd name="connsiteY122" fmla="*/ 2400300 h 4496940"/>
                  <a:gd name="connsiteX123" fmla="*/ 20977 w 4519983"/>
                  <a:gd name="connsiteY123" fmla="*/ 1905000 h 4496940"/>
                  <a:gd name="connsiteX124" fmla="*/ 30502 w 4519983"/>
                  <a:gd name="connsiteY124" fmla="*/ 1838325 h 4496940"/>
                  <a:gd name="connsiteX125" fmla="*/ 49552 w 4519983"/>
                  <a:gd name="connsiteY125" fmla="*/ 1781175 h 4496940"/>
                  <a:gd name="connsiteX126" fmla="*/ 59077 w 4519983"/>
                  <a:gd name="connsiteY126" fmla="*/ 1743075 h 4496940"/>
                  <a:gd name="connsiteX127" fmla="*/ 78127 w 4519983"/>
                  <a:gd name="connsiteY127" fmla="*/ 1685925 h 4496940"/>
                  <a:gd name="connsiteX128" fmla="*/ 87652 w 4519983"/>
                  <a:gd name="connsiteY128" fmla="*/ 1638300 h 4496940"/>
                  <a:gd name="connsiteX129" fmla="*/ 106702 w 4519983"/>
                  <a:gd name="connsiteY129" fmla="*/ 1590675 h 4496940"/>
                  <a:gd name="connsiteX130" fmla="*/ 135277 w 4519983"/>
                  <a:gd name="connsiteY130" fmla="*/ 1504950 h 4496940"/>
                  <a:gd name="connsiteX131" fmla="*/ 154327 w 4519983"/>
                  <a:gd name="connsiteY131" fmla="*/ 1419225 h 4496940"/>
                  <a:gd name="connsiteX132" fmla="*/ 230527 w 4519983"/>
                  <a:gd name="connsiteY132" fmla="*/ 1276350 h 4496940"/>
                  <a:gd name="connsiteX133" fmla="*/ 240052 w 4519983"/>
                  <a:gd name="connsiteY133" fmla="*/ 1247775 h 4496940"/>
                  <a:gd name="connsiteX134" fmla="*/ 268627 w 4519983"/>
                  <a:gd name="connsiteY134" fmla="*/ 1200150 h 4496940"/>
                  <a:gd name="connsiteX135" fmla="*/ 287677 w 4519983"/>
                  <a:gd name="connsiteY135" fmla="*/ 1152525 h 4496940"/>
                  <a:gd name="connsiteX136" fmla="*/ 316252 w 4519983"/>
                  <a:gd name="connsiteY136" fmla="*/ 1114425 h 4496940"/>
                  <a:gd name="connsiteX137" fmla="*/ 363877 w 4519983"/>
                  <a:gd name="connsiteY137" fmla="*/ 1038225 h 4496940"/>
                  <a:gd name="connsiteX138" fmla="*/ 382927 w 4519983"/>
                  <a:gd name="connsiteY138" fmla="*/ 1009650 h 4496940"/>
                  <a:gd name="connsiteX139" fmla="*/ 440077 w 4519983"/>
                  <a:gd name="connsiteY139" fmla="*/ 904875 h 4496940"/>
                  <a:gd name="connsiteX140" fmla="*/ 478177 w 4519983"/>
                  <a:gd name="connsiteY140" fmla="*/ 857250 h 4496940"/>
                  <a:gd name="connsiteX141" fmla="*/ 497227 w 4519983"/>
                  <a:gd name="connsiteY141" fmla="*/ 828675 h 4496940"/>
                  <a:gd name="connsiteX142" fmla="*/ 535327 w 4519983"/>
                  <a:gd name="connsiteY142" fmla="*/ 800100 h 4496940"/>
                  <a:gd name="connsiteX143" fmla="*/ 602002 w 4519983"/>
                  <a:gd name="connsiteY143" fmla="*/ 733425 h 4496940"/>
                  <a:gd name="connsiteX144" fmla="*/ 668677 w 4519983"/>
                  <a:gd name="connsiteY144" fmla="*/ 676275 h 4496940"/>
                  <a:gd name="connsiteX145" fmla="*/ 697252 w 4519983"/>
                  <a:gd name="connsiteY145" fmla="*/ 657225 h 4496940"/>
                  <a:gd name="connsiteX146" fmla="*/ 840127 w 4519983"/>
                  <a:gd name="connsiteY146" fmla="*/ 533400 h 4496940"/>
                  <a:gd name="connsiteX147" fmla="*/ 887752 w 4519983"/>
                  <a:gd name="connsiteY147" fmla="*/ 504825 h 4496940"/>
                  <a:gd name="connsiteX148" fmla="*/ 1167152 w 4519983"/>
                  <a:gd name="connsiteY148" fmla="*/ 311150 h 4496940"/>
                  <a:gd name="connsiteX149" fmla="*/ 1268752 w 4519983"/>
                  <a:gd name="connsiteY149" fmla="*/ 285750 h 4496940"/>
                  <a:gd name="connsiteX150" fmla="*/ 1411627 w 4519983"/>
                  <a:gd name="connsiteY150" fmla="*/ 190500 h 4496940"/>
                  <a:gd name="connsiteX151" fmla="*/ 1449727 w 4519983"/>
                  <a:gd name="connsiteY151" fmla="*/ 161925 h 4496940"/>
                  <a:gd name="connsiteX152" fmla="*/ 1525927 w 4519983"/>
                  <a:gd name="connsiteY152" fmla="*/ 152400 h 4496940"/>
                  <a:gd name="connsiteX153" fmla="*/ 1583077 w 4519983"/>
                  <a:gd name="connsiteY153" fmla="*/ 142875 h 4496940"/>
                  <a:gd name="connsiteX154" fmla="*/ 1716427 w 4519983"/>
                  <a:gd name="connsiteY154" fmla="*/ 123825 h 4496940"/>
                  <a:gd name="connsiteX155" fmla="*/ 1811677 w 4519983"/>
                  <a:gd name="connsiteY155" fmla="*/ 114300 h 4496940"/>
                  <a:gd name="connsiteX156" fmla="*/ 1859302 w 4519983"/>
                  <a:gd name="connsiteY156" fmla="*/ 104775 h 4496940"/>
                  <a:gd name="connsiteX157" fmla="*/ 1916452 w 4519983"/>
                  <a:gd name="connsiteY157" fmla="*/ 95250 h 4496940"/>
                  <a:gd name="connsiteX158" fmla="*/ 2030752 w 4519983"/>
                  <a:gd name="connsiteY158" fmla="*/ 66675 h 4496940"/>
                  <a:gd name="connsiteX159" fmla="*/ 2097427 w 4519983"/>
                  <a:gd name="connsiteY159" fmla="*/ 47625 h 4496940"/>
                  <a:gd name="connsiteX160" fmla="*/ 2164102 w 4519983"/>
                  <a:gd name="connsiteY160" fmla="*/ 38100 h 4496940"/>
                  <a:gd name="connsiteX161" fmla="*/ 2392702 w 4519983"/>
                  <a:gd name="connsiteY16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3992902 w 4519987"/>
                  <a:gd name="connsiteY28" fmla="*/ 714375 h 4496940"/>
                  <a:gd name="connsiteX29" fmla="*/ 4050052 w 4519987"/>
                  <a:gd name="connsiteY29" fmla="*/ 790575 h 4496940"/>
                  <a:gd name="connsiteX30" fmla="*/ 4078627 w 4519987"/>
                  <a:gd name="connsiteY30" fmla="*/ 838200 h 4496940"/>
                  <a:gd name="connsiteX31" fmla="*/ 4107202 w 4519987"/>
                  <a:gd name="connsiteY31" fmla="*/ 876300 h 4496940"/>
                  <a:gd name="connsiteX32" fmla="*/ 4116727 w 4519987"/>
                  <a:gd name="connsiteY32" fmla="*/ 904875 h 4496940"/>
                  <a:gd name="connsiteX33" fmla="*/ 4135777 w 4519987"/>
                  <a:gd name="connsiteY33" fmla="*/ 933450 h 4496940"/>
                  <a:gd name="connsiteX34" fmla="*/ 4164352 w 4519987"/>
                  <a:gd name="connsiteY34" fmla="*/ 990600 h 4496940"/>
                  <a:gd name="connsiteX35" fmla="*/ 4173877 w 4519987"/>
                  <a:gd name="connsiteY35" fmla="*/ 1019175 h 4496940"/>
                  <a:gd name="connsiteX36" fmla="*/ 4192927 w 4519987"/>
                  <a:gd name="connsiteY36" fmla="*/ 1057275 h 4496940"/>
                  <a:gd name="connsiteX37" fmla="*/ 4202452 w 4519987"/>
                  <a:gd name="connsiteY37" fmla="*/ 1085850 h 4496940"/>
                  <a:gd name="connsiteX38" fmla="*/ 4250077 w 4519987"/>
                  <a:gd name="connsiteY38" fmla="*/ 1143000 h 4496940"/>
                  <a:gd name="connsiteX39" fmla="*/ 4259602 w 4519987"/>
                  <a:gd name="connsiteY39" fmla="*/ 1190625 h 4496940"/>
                  <a:gd name="connsiteX40" fmla="*/ 4307227 w 4519987"/>
                  <a:gd name="connsiteY40" fmla="*/ 1266825 h 4496940"/>
                  <a:gd name="connsiteX41" fmla="*/ 4345327 w 4519987"/>
                  <a:gd name="connsiteY41" fmla="*/ 1362075 h 4496940"/>
                  <a:gd name="connsiteX42" fmla="*/ 4373902 w 4519987"/>
                  <a:gd name="connsiteY42" fmla="*/ 1428750 h 4496940"/>
                  <a:gd name="connsiteX43" fmla="*/ 4392952 w 4519987"/>
                  <a:gd name="connsiteY43" fmla="*/ 1552575 h 4496940"/>
                  <a:gd name="connsiteX44" fmla="*/ 4402477 w 4519987"/>
                  <a:gd name="connsiteY44" fmla="*/ 1590675 h 4496940"/>
                  <a:gd name="connsiteX45" fmla="*/ 4431052 w 4519987"/>
                  <a:gd name="connsiteY45" fmla="*/ 1685925 h 4496940"/>
                  <a:gd name="connsiteX46" fmla="*/ 4519952 w 4519987"/>
                  <a:gd name="connsiteY46" fmla="*/ 2181225 h 4496940"/>
                  <a:gd name="connsiteX47" fmla="*/ 4446927 w 4519987"/>
                  <a:gd name="connsiteY47" fmla="*/ 2768600 h 4496940"/>
                  <a:gd name="connsiteX48" fmla="*/ 4383427 w 4519987"/>
                  <a:gd name="connsiteY48" fmla="*/ 2990850 h 4496940"/>
                  <a:gd name="connsiteX49" fmla="*/ 4354852 w 4519987"/>
                  <a:gd name="connsiteY49" fmla="*/ 3057525 h 4496940"/>
                  <a:gd name="connsiteX50" fmla="*/ 4335802 w 4519987"/>
                  <a:gd name="connsiteY50" fmla="*/ 3095625 h 4496940"/>
                  <a:gd name="connsiteX51" fmla="*/ 4278652 w 4519987"/>
                  <a:gd name="connsiteY51" fmla="*/ 3248025 h 4496940"/>
                  <a:gd name="connsiteX52" fmla="*/ 4259602 w 4519987"/>
                  <a:gd name="connsiteY52" fmla="*/ 3276600 h 4496940"/>
                  <a:gd name="connsiteX53" fmla="*/ 4221502 w 4519987"/>
                  <a:gd name="connsiteY53" fmla="*/ 3333750 h 4496940"/>
                  <a:gd name="connsiteX54" fmla="*/ 4211977 w 4519987"/>
                  <a:gd name="connsiteY54" fmla="*/ 3362325 h 4496940"/>
                  <a:gd name="connsiteX55" fmla="*/ 4183402 w 4519987"/>
                  <a:gd name="connsiteY55" fmla="*/ 3400425 h 4496940"/>
                  <a:gd name="connsiteX56" fmla="*/ 4164352 w 4519987"/>
                  <a:gd name="connsiteY56" fmla="*/ 3429000 h 4496940"/>
                  <a:gd name="connsiteX57" fmla="*/ 4088152 w 4519987"/>
                  <a:gd name="connsiteY57" fmla="*/ 3495675 h 4496940"/>
                  <a:gd name="connsiteX58" fmla="*/ 4059577 w 4519987"/>
                  <a:gd name="connsiteY58" fmla="*/ 3533775 h 4496940"/>
                  <a:gd name="connsiteX59" fmla="*/ 4002427 w 4519987"/>
                  <a:gd name="connsiteY59" fmla="*/ 3600450 h 4496940"/>
                  <a:gd name="connsiteX60" fmla="*/ 3983377 w 4519987"/>
                  <a:gd name="connsiteY60" fmla="*/ 3629025 h 4496940"/>
                  <a:gd name="connsiteX61" fmla="*/ 3954802 w 4519987"/>
                  <a:gd name="connsiteY61" fmla="*/ 3648075 h 4496940"/>
                  <a:gd name="connsiteX62" fmla="*/ 3907177 w 4519987"/>
                  <a:gd name="connsiteY62" fmla="*/ 3686175 h 4496940"/>
                  <a:gd name="connsiteX63" fmla="*/ 3869077 w 4519987"/>
                  <a:gd name="connsiteY63" fmla="*/ 3724275 h 4496940"/>
                  <a:gd name="connsiteX64" fmla="*/ 3792877 w 4519987"/>
                  <a:gd name="connsiteY64" fmla="*/ 3781425 h 4496940"/>
                  <a:gd name="connsiteX65" fmla="*/ 3783352 w 4519987"/>
                  <a:gd name="connsiteY65" fmla="*/ 3810000 h 4496940"/>
                  <a:gd name="connsiteX66" fmla="*/ 3745252 w 4519987"/>
                  <a:gd name="connsiteY66" fmla="*/ 3819525 h 4496940"/>
                  <a:gd name="connsiteX67" fmla="*/ 3678577 w 4519987"/>
                  <a:gd name="connsiteY67" fmla="*/ 3848100 h 4496940"/>
                  <a:gd name="connsiteX68" fmla="*/ 3659527 w 4519987"/>
                  <a:gd name="connsiteY68" fmla="*/ 3971925 h 4496940"/>
                  <a:gd name="connsiteX69" fmla="*/ 3630952 w 4519987"/>
                  <a:gd name="connsiteY69" fmla="*/ 4010025 h 4496940"/>
                  <a:gd name="connsiteX70" fmla="*/ 3621427 w 4519987"/>
                  <a:gd name="connsiteY70" fmla="*/ 4038600 h 4496940"/>
                  <a:gd name="connsiteX71" fmla="*/ 3554752 w 4519987"/>
                  <a:gd name="connsiteY71" fmla="*/ 4095750 h 4496940"/>
                  <a:gd name="connsiteX72" fmla="*/ 3516652 w 4519987"/>
                  <a:gd name="connsiteY72" fmla="*/ 4114800 h 4496940"/>
                  <a:gd name="connsiteX73" fmla="*/ 3497602 w 4519987"/>
                  <a:gd name="connsiteY73" fmla="*/ 4143375 h 4496940"/>
                  <a:gd name="connsiteX74" fmla="*/ 3383302 w 4519987"/>
                  <a:gd name="connsiteY74" fmla="*/ 4210050 h 4496940"/>
                  <a:gd name="connsiteX75" fmla="*/ 3335677 w 4519987"/>
                  <a:gd name="connsiteY75" fmla="*/ 4238625 h 4496940"/>
                  <a:gd name="connsiteX76" fmla="*/ 3288052 w 4519987"/>
                  <a:gd name="connsiteY76" fmla="*/ 4248150 h 4496940"/>
                  <a:gd name="connsiteX77" fmla="*/ 3240427 w 4519987"/>
                  <a:gd name="connsiteY77" fmla="*/ 4267200 h 4496940"/>
                  <a:gd name="connsiteX78" fmla="*/ 3068977 w 4519987"/>
                  <a:gd name="connsiteY78" fmla="*/ 4286250 h 4496940"/>
                  <a:gd name="connsiteX79" fmla="*/ 2935627 w 4519987"/>
                  <a:gd name="connsiteY79" fmla="*/ 4333875 h 4496940"/>
                  <a:gd name="connsiteX80" fmla="*/ 2811802 w 4519987"/>
                  <a:gd name="connsiteY80" fmla="*/ 4371975 h 4496940"/>
                  <a:gd name="connsiteX81" fmla="*/ 2745127 w 4519987"/>
                  <a:gd name="connsiteY81" fmla="*/ 4410075 h 4496940"/>
                  <a:gd name="connsiteX82" fmla="*/ 2697502 w 4519987"/>
                  <a:gd name="connsiteY82" fmla="*/ 4429125 h 4496940"/>
                  <a:gd name="connsiteX83" fmla="*/ 2640352 w 4519987"/>
                  <a:gd name="connsiteY83" fmla="*/ 4457700 h 4496940"/>
                  <a:gd name="connsiteX84" fmla="*/ 2583202 w 4519987"/>
                  <a:gd name="connsiteY84" fmla="*/ 4467225 h 4496940"/>
                  <a:gd name="connsiteX85" fmla="*/ 2545102 w 4519987"/>
                  <a:gd name="connsiteY85" fmla="*/ 4486275 h 4496940"/>
                  <a:gd name="connsiteX86" fmla="*/ 2306977 w 4519987"/>
                  <a:gd name="connsiteY86" fmla="*/ 4476750 h 4496940"/>
                  <a:gd name="connsiteX87" fmla="*/ 2202202 w 4519987"/>
                  <a:gd name="connsiteY87" fmla="*/ 4457700 h 4496940"/>
                  <a:gd name="connsiteX88" fmla="*/ 2126002 w 4519987"/>
                  <a:gd name="connsiteY88" fmla="*/ 4429125 h 4496940"/>
                  <a:gd name="connsiteX89" fmla="*/ 1935502 w 4519987"/>
                  <a:gd name="connsiteY89" fmla="*/ 4400550 h 4496940"/>
                  <a:gd name="connsiteX90" fmla="*/ 1821202 w 4519987"/>
                  <a:gd name="connsiteY90" fmla="*/ 4371975 h 4496940"/>
                  <a:gd name="connsiteX91" fmla="*/ 1754527 w 4519987"/>
                  <a:gd name="connsiteY91" fmla="*/ 4352925 h 4496940"/>
                  <a:gd name="connsiteX92" fmla="*/ 1687852 w 4519987"/>
                  <a:gd name="connsiteY92" fmla="*/ 4343400 h 4496940"/>
                  <a:gd name="connsiteX93" fmla="*/ 1573552 w 4519987"/>
                  <a:gd name="connsiteY93" fmla="*/ 4305300 h 4496940"/>
                  <a:gd name="connsiteX94" fmla="*/ 1402102 w 4519987"/>
                  <a:gd name="connsiteY94" fmla="*/ 4276725 h 4496940"/>
                  <a:gd name="connsiteX95" fmla="*/ 1287802 w 4519987"/>
                  <a:gd name="connsiteY95" fmla="*/ 4229100 h 4496940"/>
                  <a:gd name="connsiteX96" fmla="*/ 1221127 w 4519987"/>
                  <a:gd name="connsiteY96" fmla="*/ 4200525 h 4496940"/>
                  <a:gd name="connsiteX97" fmla="*/ 1144927 w 4519987"/>
                  <a:gd name="connsiteY97" fmla="*/ 4171950 h 4496940"/>
                  <a:gd name="connsiteX98" fmla="*/ 1087777 w 4519987"/>
                  <a:gd name="connsiteY98" fmla="*/ 4143375 h 4496940"/>
                  <a:gd name="connsiteX99" fmla="*/ 1030627 w 4519987"/>
                  <a:gd name="connsiteY99" fmla="*/ 4124325 h 4496940"/>
                  <a:gd name="connsiteX100" fmla="*/ 925852 w 4519987"/>
                  <a:gd name="connsiteY100" fmla="*/ 4067175 h 4496940"/>
                  <a:gd name="connsiteX101" fmla="*/ 830602 w 4519987"/>
                  <a:gd name="connsiteY101" fmla="*/ 3981450 h 4496940"/>
                  <a:gd name="connsiteX102" fmla="*/ 763927 w 4519987"/>
                  <a:gd name="connsiteY102" fmla="*/ 3914775 h 4496940"/>
                  <a:gd name="connsiteX103" fmla="*/ 725827 w 4519987"/>
                  <a:gd name="connsiteY103" fmla="*/ 3876675 h 4496940"/>
                  <a:gd name="connsiteX104" fmla="*/ 697252 w 4519987"/>
                  <a:gd name="connsiteY104" fmla="*/ 3838575 h 4496940"/>
                  <a:gd name="connsiteX105" fmla="*/ 640102 w 4519987"/>
                  <a:gd name="connsiteY105" fmla="*/ 3781425 h 4496940"/>
                  <a:gd name="connsiteX106" fmla="*/ 611527 w 4519987"/>
                  <a:gd name="connsiteY106" fmla="*/ 3733800 h 4496940"/>
                  <a:gd name="connsiteX107" fmla="*/ 554377 w 4519987"/>
                  <a:gd name="connsiteY107" fmla="*/ 3657600 h 4496940"/>
                  <a:gd name="connsiteX108" fmla="*/ 525802 w 4519987"/>
                  <a:gd name="connsiteY108" fmla="*/ 3609975 h 4496940"/>
                  <a:gd name="connsiteX109" fmla="*/ 497227 w 4519987"/>
                  <a:gd name="connsiteY109" fmla="*/ 3552825 h 4496940"/>
                  <a:gd name="connsiteX110" fmla="*/ 440077 w 4519987"/>
                  <a:gd name="connsiteY110" fmla="*/ 3495675 h 4496940"/>
                  <a:gd name="connsiteX111" fmla="*/ 411502 w 4519987"/>
                  <a:gd name="connsiteY111" fmla="*/ 3448050 h 4496940"/>
                  <a:gd name="connsiteX112" fmla="*/ 278152 w 4519987"/>
                  <a:gd name="connsiteY112" fmla="*/ 3257550 h 4496940"/>
                  <a:gd name="connsiteX113" fmla="*/ 249577 w 4519987"/>
                  <a:gd name="connsiteY113" fmla="*/ 3200400 h 4496940"/>
                  <a:gd name="connsiteX114" fmla="*/ 240052 w 4519987"/>
                  <a:gd name="connsiteY114" fmla="*/ 3162300 h 4496940"/>
                  <a:gd name="connsiteX115" fmla="*/ 221002 w 4519987"/>
                  <a:gd name="connsiteY115" fmla="*/ 3105150 h 4496940"/>
                  <a:gd name="connsiteX116" fmla="*/ 173377 w 4519987"/>
                  <a:gd name="connsiteY116" fmla="*/ 3019425 h 4496940"/>
                  <a:gd name="connsiteX117" fmla="*/ 144802 w 4519987"/>
                  <a:gd name="connsiteY117" fmla="*/ 2924175 h 4496940"/>
                  <a:gd name="connsiteX118" fmla="*/ 68602 w 4519987"/>
                  <a:gd name="connsiteY118" fmla="*/ 2724150 h 4496940"/>
                  <a:gd name="connsiteX119" fmla="*/ 49552 w 4519987"/>
                  <a:gd name="connsiteY119" fmla="*/ 2638425 h 4496940"/>
                  <a:gd name="connsiteX120" fmla="*/ 40027 w 4519987"/>
                  <a:gd name="connsiteY120" fmla="*/ 2562225 h 4496940"/>
                  <a:gd name="connsiteX121" fmla="*/ 30502 w 4519987"/>
                  <a:gd name="connsiteY121" fmla="*/ 2514600 h 4496940"/>
                  <a:gd name="connsiteX122" fmla="*/ 11452 w 4519987"/>
                  <a:gd name="connsiteY122" fmla="*/ 2400300 h 4496940"/>
                  <a:gd name="connsiteX123" fmla="*/ 20977 w 4519987"/>
                  <a:gd name="connsiteY123" fmla="*/ 1905000 h 4496940"/>
                  <a:gd name="connsiteX124" fmla="*/ 30502 w 4519987"/>
                  <a:gd name="connsiteY124" fmla="*/ 1838325 h 4496940"/>
                  <a:gd name="connsiteX125" fmla="*/ 49552 w 4519987"/>
                  <a:gd name="connsiteY125" fmla="*/ 1781175 h 4496940"/>
                  <a:gd name="connsiteX126" fmla="*/ 59077 w 4519987"/>
                  <a:gd name="connsiteY126" fmla="*/ 1743075 h 4496940"/>
                  <a:gd name="connsiteX127" fmla="*/ 78127 w 4519987"/>
                  <a:gd name="connsiteY127" fmla="*/ 1685925 h 4496940"/>
                  <a:gd name="connsiteX128" fmla="*/ 87652 w 4519987"/>
                  <a:gd name="connsiteY128" fmla="*/ 1638300 h 4496940"/>
                  <a:gd name="connsiteX129" fmla="*/ 106702 w 4519987"/>
                  <a:gd name="connsiteY129" fmla="*/ 1590675 h 4496940"/>
                  <a:gd name="connsiteX130" fmla="*/ 135277 w 4519987"/>
                  <a:gd name="connsiteY130" fmla="*/ 1504950 h 4496940"/>
                  <a:gd name="connsiteX131" fmla="*/ 154327 w 4519987"/>
                  <a:gd name="connsiteY131" fmla="*/ 1419225 h 4496940"/>
                  <a:gd name="connsiteX132" fmla="*/ 230527 w 4519987"/>
                  <a:gd name="connsiteY132" fmla="*/ 1276350 h 4496940"/>
                  <a:gd name="connsiteX133" fmla="*/ 240052 w 4519987"/>
                  <a:gd name="connsiteY133" fmla="*/ 1247775 h 4496940"/>
                  <a:gd name="connsiteX134" fmla="*/ 268627 w 4519987"/>
                  <a:gd name="connsiteY134" fmla="*/ 1200150 h 4496940"/>
                  <a:gd name="connsiteX135" fmla="*/ 287677 w 4519987"/>
                  <a:gd name="connsiteY135" fmla="*/ 1152525 h 4496940"/>
                  <a:gd name="connsiteX136" fmla="*/ 316252 w 4519987"/>
                  <a:gd name="connsiteY136" fmla="*/ 1114425 h 4496940"/>
                  <a:gd name="connsiteX137" fmla="*/ 363877 w 4519987"/>
                  <a:gd name="connsiteY137" fmla="*/ 1038225 h 4496940"/>
                  <a:gd name="connsiteX138" fmla="*/ 382927 w 4519987"/>
                  <a:gd name="connsiteY138" fmla="*/ 1009650 h 4496940"/>
                  <a:gd name="connsiteX139" fmla="*/ 440077 w 4519987"/>
                  <a:gd name="connsiteY139" fmla="*/ 904875 h 4496940"/>
                  <a:gd name="connsiteX140" fmla="*/ 478177 w 4519987"/>
                  <a:gd name="connsiteY140" fmla="*/ 857250 h 4496940"/>
                  <a:gd name="connsiteX141" fmla="*/ 497227 w 4519987"/>
                  <a:gd name="connsiteY141" fmla="*/ 828675 h 4496940"/>
                  <a:gd name="connsiteX142" fmla="*/ 535327 w 4519987"/>
                  <a:gd name="connsiteY142" fmla="*/ 800100 h 4496940"/>
                  <a:gd name="connsiteX143" fmla="*/ 602002 w 4519987"/>
                  <a:gd name="connsiteY143" fmla="*/ 733425 h 4496940"/>
                  <a:gd name="connsiteX144" fmla="*/ 668677 w 4519987"/>
                  <a:gd name="connsiteY144" fmla="*/ 676275 h 4496940"/>
                  <a:gd name="connsiteX145" fmla="*/ 697252 w 4519987"/>
                  <a:gd name="connsiteY145" fmla="*/ 657225 h 4496940"/>
                  <a:gd name="connsiteX146" fmla="*/ 840127 w 4519987"/>
                  <a:gd name="connsiteY146" fmla="*/ 533400 h 4496940"/>
                  <a:gd name="connsiteX147" fmla="*/ 887752 w 4519987"/>
                  <a:gd name="connsiteY147" fmla="*/ 504825 h 4496940"/>
                  <a:gd name="connsiteX148" fmla="*/ 1167152 w 4519987"/>
                  <a:gd name="connsiteY148" fmla="*/ 311150 h 4496940"/>
                  <a:gd name="connsiteX149" fmla="*/ 1268752 w 4519987"/>
                  <a:gd name="connsiteY149" fmla="*/ 285750 h 4496940"/>
                  <a:gd name="connsiteX150" fmla="*/ 1411627 w 4519987"/>
                  <a:gd name="connsiteY150" fmla="*/ 190500 h 4496940"/>
                  <a:gd name="connsiteX151" fmla="*/ 1449727 w 4519987"/>
                  <a:gd name="connsiteY151" fmla="*/ 161925 h 4496940"/>
                  <a:gd name="connsiteX152" fmla="*/ 1525927 w 4519987"/>
                  <a:gd name="connsiteY152" fmla="*/ 152400 h 4496940"/>
                  <a:gd name="connsiteX153" fmla="*/ 1583077 w 4519987"/>
                  <a:gd name="connsiteY153" fmla="*/ 142875 h 4496940"/>
                  <a:gd name="connsiteX154" fmla="*/ 1716427 w 4519987"/>
                  <a:gd name="connsiteY154" fmla="*/ 123825 h 4496940"/>
                  <a:gd name="connsiteX155" fmla="*/ 1811677 w 4519987"/>
                  <a:gd name="connsiteY155" fmla="*/ 114300 h 4496940"/>
                  <a:gd name="connsiteX156" fmla="*/ 1859302 w 4519987"/>
                  <a:gd name="connsiteY156" fmla="*/ 104775 h 4496940"/>
                  <a:gd name="connsiteX157" fmla="*/ 1916452 w 4519987"/>
                  <a:gd name="connsiteY157" fmla="*/ 95250 h 4496940"/>
                  <a:gd name="connsiteX158" fmla="*/ 2030752 w 4519987"/>
                  <a:gd name="connsiteY158" fmla="*/ 66675 h 4496940"/>
                  <a:gd name="connsiteX159" fmla="*/ 2097427 w 4519987"/>
                  <a:gd name="connsiteY159" fmla="*/ 47625 h 4496940"/>
                  <a:gd name="connsiteX160" fmla="*/ 2164102 w 4519987"/>
                  <a:gd name="connsiteY160" fmla="*/ 38100 h 4496940"/>
                  <a:gd name="connsiteX161" fmla="*/ 2392702 w 4519987"/>
                  <a:gd name="connsiteY16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3992902 w 4519987"/>
                  <a:gd name="connsiteY28" fmla="*/ 714375 h 4496940"/>
                  <a:gd name="connsiteX29" fmla="*/ 4050052 w 4519987"/>
                  <a:gd name="connsiteY29" fmla="*/ 790575 h 4496940"/>
                  <a:gd name="connsiteX30" fmla="*/ 4078627 w 4519987"/>
                  <a:gd name="connsiteY30" fmla="*/ 838200 h 4496940"/>
                  <a:gd name="connsiteX31" fmla="*/ 4107202 w 4519987"/>
                  <a:gd name="connsiteY31" fmla="*/ 876300 h 4496940"/>
                  <a:gd name="connsiteX32" fmla="*/ 4116727 w 4519987"/>
                  <a:gd name="connsiteY32" fmla="*/ 904875 h 4496940"/>
                  <a:gd name="connsiteX33" fmla="*/ 4135777 w 4519987"/>
                  <a:gd name="connsiteY33" fmla="*/ 933450 h 4496940"/>
                  <a:gd name="connsiteX34" fmla="*/ 4164352 w 4519987"/>
                  <a:gd name="connsiteY34" fmla="*/ 990600 h 4496940"/>
                  <a:gd name="connsiteX35" fmla="*/ 4173877 w 4519987"/>
                  <a:gd name="connsiteY35" fmla="*/ 1019175 h 4496940"/>
                  <a:gd name="connsiteX36" fmla="*/ 4192927 w 4519987"/>
                  <a:gd name="connsiteY36" fmla="*/ 1057275 h 4496940"/>
                  <a:gd name="connsiteX37" fmla="*/ 4202452 w 4519987"/>
                  <a:gd name="connsiteY37" fmla="*/ 1085850 h 4496940"/>
                  <a:gd name="connsiteX38" fmla="*/ 4250077 w 4519987"/>
                  <a:gd name="connsiteY38" fmla="*/ 1143000 h 4496940"/>
                  <a:gd name="connsiteX39" fmla="*/ 4259602 w 4519987"/>
                  <a:gd name="connsiteY39" fmla="*/ 1190625 h 4496940"/>
                  <a:gd name="connsiteX40" fmla="*/ 4307227 w 4519987"/>
                  <a:gd name="connsiteY40" fmla="*/ 1266825 h 4496940"/>
                  <a:gd name="connsiteX41" fmla="*/ 4345327 w 4519987"/>
                  <a:gd name="connsiteY41" fmla="*/ 1362075 h 4496940"/>
                  <a:gd name="connsiteX42" fmla="*/ 4373902 w 4519987"/>
                  <a:gd name="connsiteY42" fmla="*/ 1428750 h 4496940"/>
                  <a:gd name="connsiteX43" fmla="*/ 4392952 w 4519987"/>
                  <a:gd name="connsiteY43" fmla="*/ 1552575 h 4496940"/>
                  <a:gd name="connsiteX44" fmla="*/ 4402477 w 4519987"/>
                  <a:gd name="connsiteY44" fmla="*/ 1590675 h 4496940"/>
                  <a:gd name="connsiteX45" fmla="*/ 4431052 w 4519987"/>
                  <a:gd name="connsiteY45" fmla="*/ 1685925 h 4496940"/>
                  <a:gd name="connsiteX46" fmla="*/ 4519952 w 4519987"/>
                  <a:gd name="connsiteY46" fmla="*/ 2181225 h 4496940"/>
                  <a:gd name="connsiteX47" fmla="*/ 4446927 w 4519987"/>
                  <a:gd name="connsiteY47" fmla="*/ 2768600 h 4496940"/>
                  <a:gd name="connsiteX48" fmla="*/ 4383427 w 4519987"/>
                  <a:gd name="connsiteY48" fmla="*/ 2990850 h 4496940"/>
                  <a:gd name="connsiteX49" fmla="*/ 4354852 w 4519987"/>
                  <a:gd name="connsiteY49" fmla="*/ 3057525 h 4496940"/>
                  <a:gd name="connsiteX50" fmla="*/ 4278652 w 4519987"/>
                  <a:gd name="connsiteY50" fmla="*/ 3248025 h 4496940"/>
                  <a:gd name="connsiteX51" fmla="*/ 4259602 w 4519987"/>
                  <a:gd name="connsiteY51" fmla="*/ 3276600 h 4496940"/>
                  <a:gd name="connsiteX52" fmla="*/ 4221502 w 4519987"/>
                  <a:gd name="connsiteY52" fmla="*/ 3333750 h 4496940"/>
                  <a:gd name="connsiteX53" fmla="*/ 4211977 w 4519987"/>
                  <a:gd name="connsiteY53" fmla="*/ 3362325 h 4496940"/>
                  <a:gd name="connsiteX54" fmla="*/ 4183402 w 4519987"/>
                  <a:gd name="connsiteY54" fmla="*/ 3400425 h 4496940"/>
                  <a:gd name="connsiteX55" fmla="*/ 4164352 w 4519987"/>
                  <a:gd name="connsiteY55" fmla="*/ 3429000 h 4496940"/>
                  <a:gd name="connsiteX56" fmla="*/ 4088152 w 4519987"/>
                  <a:gd name="connsiteY56" fmla="*/ 3495675 h 4496940"/>
                  <a:gd name="connsiteX57" fmla="*/ 4059577 w 4519987"/>
                  <a:gd name="connsiteY57" fmla="*/ 3533775 h 4496940"/>
                  <a:gd name="connsiteX58" fmla="*/ 4002427 w 4519987"/>
                  <a:gd name="connsiteY58" fmla="*/ 3600450 h 4496940"/>
                  <a:gd name="connsiteX59" fmla="*/ 3983377 w 4519987"/>
                  <a:gd name="connsiteY59" fmla="*/ 3629025 h 4496940"/>
                  <a:gd name="connsiteX60" fmla="*/ 3954802 w 4519987"/>
                  <a:gd name="connsiteY60" fmla="*/ 3648075 h 4496940"/>
                  <a:gd name="connsiteX61" fmla="*/ 3907177 w 4519987"/>
                  <a:gd name="connsiteY61" fmla="*/ 3686175 h 4496940"/>
                  <a:gd name="connsiteX62" fmla="*/ 3869077 w 4519987"/>
                  <a:gd name="connsiteY62" fmla="*/ 3724275 h 4496940"/>
                  <a:gd name="connsiteX63" fmla="*/ 3792877 w 4519987"/>
                  <a:gd name="connsiteY63" fmla="*/ 3781425 h 4496940"/>
                  <a:gd name="connsiteX64" fmla="*/ 3783352 w 4519987"/>
                  <a:gd name="connsiteY64" fmla="*/ 3810000 h 4496940"/>
                  <a:gd name="connsiteX65" fmla="*/ 3745252 w 4519987"/>
                  <a:gd name="connsiteY65" fmla="*/ 3819525 h 4496940"/>
                  <a:gd name="connsiteX66" fmla="*/ 3678577 w 4519987"/>
                  <a:gd name="connsiteY66" fmla="*/ 3848100 h 4496940"/>
                  <a:gd name="connsiteX67" fmla="*/ 3659527 w 4519987"/>
                  <a:gd name="connsiteY67" fmla="*/ 3971925 h 4496940"/>
                  <a:gd name="connsiteX68" fmla="*/ 3630952 w 4519987"/>
                  <a:gd name="connsiteY68" fmla="*/ 4010025 h 4496940"/>
                  <a:gd name="connsiteX69" fmla="*/ 3621427 w 4519987"/>
                  <a:gd name="connsiteY69" fmla="*/ 4038600 h 4496940"/>
                  <a:gd name="connsiteX70" fmla="*/ 3554752 w 4519987"/>
                  <a:gd name="connsiteY70" fmla="*/ 4095750 h 4496940"/>
                  <a:gd name="connsiteX71" fmla="*/ 3516652 w 4519987"/>
                  <a:gd name="connsiteY71" fmla="*/ 4114800 h 4496940"/>
                  <a:gd name="connsiteX72" fmla="*/ 3497602 w 4519987"/>
                  <a:gd name="connsiteY72" fmla="*/ 4143375 h 4496940"/>
                  <a:gd name="connsiteX73" fmla="*/ 3383302 w 4519987"/>
                  <a:gd name="connsiteY73" fmla="*/ 4210050 h 4496940"/>
                  <a:gd name="connsiteX74" fmla="*/ 3335677 w 4519987"/>
                  <a:gd name="connsiteY74" fmla="*/ 4238625 h 4496940"/>
                  <a:gd name="connsiteX75" fmla="*/ 3288052 w 4519987"/>
                  <a:gd name="connsiteY75" fmla="*/ 4248150 h 4496940"/>
                  <a:gd name="connsiteX76" fmla="*/ 3240427 w 4519987"/>
                  <a:gd name="connsiteY76" fmla="*/ 4267200 h 4496940"/>
                  <a:gd name="connsiteX77" fmla="*/ 3068977 w 4519987"/>
                  <a:gd name="connsiteY77" fmla="*/ 4286250 h 4496940"/>
                  <a:gd name="connsiteX78" fmla="*/ 2935627 w 4519987"/>
                  <a:gd name="connsiteY78" fmla="*/ 4333875 h 4496940"/>
                  <a:gd name="connsiteX79" fmla="*/ 2811802 w 4519987"/>
                  <a:gd name="connsiteY79" fmla="*/ 4371975 h 4496940"/>
                  <a:gd name="connsiteX80" fmla="*/ 2745127 w 4519987"/>
                  <a:gd name="connsiteY80" fmla="*/ 4410075 h 4496940"/>
                  <a:gd name="connsiteX81" fmla="*/ 2697502 w 4519987"/>
                  <a:gd name="connsiteY81" fmla="*/ 4429125 h 4496940"/>
                  <a:gd name="connsiteX82" fmla="*/ 2640352 w 4519987"/>
                  <a:gd name="connsiteY82" fmla="*/ 4457700 h 4496940"/>
                  <a:gd name="connsiteX83" fmla="*/ 2583202 w 4519987"/>
                  <a:gd name="connsiteY83" fmla="*/ 4467225 h 4496940"/>
                  <a:gd name="connsiteX84" fmla="*/ 2545102 w 4519987"/>
                  <a:gd name="connsiteY84" fmla="*/ 4486275 h 4496940"/>
                  <a:gd name="connsiteX85" fmla="*/ 2306977 w 4519987"/>
                  <a:gd name="connsiteY85" fmla="*/ 4476750 h 4496940"/>
                  <a:gd name="connsiteX86" fmla="*/ 2202202 w 4519987"/>
                  <a:gd name="connsiteY86" fmla="*/ 4457700 h 4496940"/>
                  <a:gd name="connsiteX87" fmla="*/ 2126002 w 4519987"/>
                  <a:gd name="connsiteY87" fmla="*/ 4429125 h 4496940"/>
                  <a:gd name="connsiteX88" fmla="*/ 1935502 w 4519987"/>
                  <a:gd name="connsiteY88" fmla="*/ 4400550 h 4496940"/>
                  <a:gd name="connsiteX89" fmla="*/ 1821202 w 4519987"/>
                  <a:gd name="connsiteY89" fmla="*/ 4371975 h 4496940"/>
                  <a:gd name="connsiteX90" fmla="*/ 1754527 w 4519987"/>
                  <a:gd name="connsiteY90" fmla="*/ 4352925 h 4496940"/>
                  <a:gd name="connsiteX91" fmla="*/ 1687852 w 4519987"/>
                  <a:gd name="connsiteY91" fmla="*/ 4343400 h 4496940"/>
                  <a:gd name="connsiteX92" fmla="*/ 1573552 w 4519987"/>
                  <a:gd name="connsiteY92" fmla="*/ 4305300 h 4496940"/>
                  <a:gd name="connsiteX93" fmla="*/ 1402102 w 4519987"/>
                  <a:gd name="connsiteY93" fmla="*/ 4276725 h 4496940"/>
                  <a:gd name="connsiteX94" fmla="*/ 1287802 w 4519987"/>
                  <a:gd name="connsiteY94" fmla="*/ 4229100 h 4496940"/>
                  <a:gd name="connsiteX95" fmla="*/ 1221127 w 4519987"/>
                  <a:gd name="connsiteY95" fmla="*/ 4200525 h 4496940"/>
                  <a:gd name="connsiteX96" fmla="*/ 1144927 w 4519987"/>
                  <a:gd name="connsiteY96" fmla="*/ 4171950 h 4496940"/>
                  <a:gd name="connsiteX97" fmla="*/ 1087777 w 4519987"/>
                  <a:gd name="connsiteY97" fmla="*/ 4143375 h 4496940"/>
                  <a:gd name="connsiteX98" fmla="*/ 1030627 w 4519987"/>
                  <a:gd name="connsiteY98" fmla="*/ 4124325 h 4496940"/>
                  <a:gd name="connsiteX99" fmla="*/ 925852 w 4519987"/>
                  <a:gd name="connsiteY99" fmla="*/ 4067175 h 4496940"/>
                  <a:gd name="connsiteX100" fmla="*/ 830602 w 4519987"/>
                  <a:gd name="connsiteY100" fmla="*/ 3981450 h 4496940"/>
                  <a:gd name="connsiteX101" fmla="*/ 763927 w 4519987"/>
                  <a:gd name="connsiteY101" fmla="*/ 3914775 h 4496940"/>
                  <a:gd name="connsiteX102" fmla="*/ 725827 w 4519987"/>
                  <a:gd name="connsiteY102" fmla="*/ 3876675 h 4496940"/>
                  <a:gd name="connsiteX103" fmla="*/ 697252 w 4519987"/>
                  <a:gd name="connsiteY103" fmla="*/ 3838575 h 4496940"/>
                  <a:gd name="connsiteX104" fmla="*/ 640102 w 4519987"/>
                  <a:gd name="connsiteY104" fmla="*/ 3781425 h 4496940"/>
                  <a:gd name="connsiteX105" fmla="*/ 611527 w 4519987"/>
                  <a:gd name="connsiteY105" fmla="*/ 3733800 h 4496940"/>
                  <a:gd name="connsiteX106" fmla="*/ 554377 w 4519987"/>
                  <a:gd name="connsiteY106" fmla="*/ 3657600 h 4496940"/>
                  <a:gd name="connsiteX107" fmla="*/ 525802 w 4519987"/>
                  <a:gd name="connsiteY107" fmla="*/ 3609975 h 4496940"/>
                  <a:gd name="connsiteX108" fmla="*/ 497227 w 4519987"/>
                  <a:gd name="connsiteY108" fmla="*/ 3552825 h 4496940"/>
                  <a:gd name="connsiteX109" fmla="*/ 440077 w 4519987"/>
                  <a:gd name="connsiteY109" fmla="*/ 3495675 h 4496940"/>
                  <a:gd name="connsiteX110" fmla="*/ 411502 w 4519987"/>
                  <a:gd name="connsiteY110" fmla="*/ 3448050 h 4496940"/>
                  <a:gd name="connsiteX111" fmla="*/ 278152 w 4519987"/>
                  <a:gd name="connsiteY111" fmla="*/ 3257550 h 4496940"/>
                  <a:gd name="connsiteX112" fmla="*/ 249577 w 4519987"/>
                  <a:gd name="connsiteY112" fmla="*/ 3200400 h 4496940"/>
                  <a:gd name="connsiteX113" fmla="*/ 240052 w 4519987"/>
                  <a:gd name="connsiteY113" fmla="*/ 3162300 h 4496940"/>
                  <a:gd name="connsiteX114" fmla="*/ 221002 w 4519987"/>
                  <a:gd name="connsiteY114" fmla="*/ 3105150 h 4496940"/>
                  <a:gd name="connsiteX115" fmla="*/ 173377 w 4519987"/>
                  <a:gd name="connsiteY115" fmla="*/ 3019425 h 4496940"/>
                  <a:gd name="connsiteX116" fmla="*/ 144802 w 4519987"/>
                  <a:gd name="connsiteY116" fmla="*/ 2924175 h 4496940"/>
                  <a:gd name="connsiteX117" fmla="*/ 68602 w 4519987"/>
                  <a:gd name="connsiteY117" fmla="*/ 2724150 h 4496940"/>
                  <a:gd name="connsiteX118" fmla="*/ 49552 w 4519987"/>
                  <a:gd name="connsiteY118" fmla="*/ 2638425 h 4496940"/>
                  <a:gd name="connsiteX119" fmla="*/ 40027 w 4519987"/>
                  <a:gd name="connsiteY119" fmla="*/ 2562225 h 4496940"/>
                  <a:gd name="connsiteX120" fmla="*/ 30502 w 4519987"/>
                  <a:gd name="connsiteY120" fmla="*/ 2514600 h 4496940"/>
                  <a:gd name="connsiteX121" fmla="*/ 11452 w 4519987"/>
                  <a:gd name="connsiteY121" fmla="*/ 2400300 h 4496940"/>
                  <a:gd name="connsiteX122" fmla="*/ 20977 w 4519987"/>
                  <a:gd name="connsiteY122" fmla="*/ 1905000 h 4496940"/>
                  <a:gd name="connsiteX123" fmla="*/ 30502 w 4519987"/>
                  <a:gd name="connsiteY123" fmla="*/ 1838325 h 4496940"/>
                  <a:gd name="connsiteX124" fmla="*/ 49552 w 4519987"/>
                  <a:gd name="connsiteY124" fmla="*/ 1781175 h 4496940"/>
                  <a:gd name="connsiteX125" fmla="*/ 59077 w 4519987"/>
                  <a:gd name="connsiteY125" fmla="*/ 1743075 h 4496940"/>
                  <a:gd name="connsiteX126" fmla="*/ 78127 w 4519987"/>
                  <a:gd name="connsiteY126" fmla="*/ 1685925 h 4496940"/>
                  <a:gd name="connsiteX127" fmla="*/ 87652 w 4519987"/>
                  <a:gd name="connsiteY127" fmla="*/ 1638300 h 4496940"/>
                  <a:gd name="connsiteX128" fmla="*/ 106702 w 4519987"/>
                  <a:gd name="connsiteY128" fmla="*/ 1590675 h 4496940"/>
                  <a:gd name="connsiteX129" fmla="*/ 135277 w 4519987"/>
                  <a:gd name="connsiteY129" fmla="*/ 1504950 h 4496940"/>
                  <a:gd name="connsiteX130" fmla="*/ 154327 w 4519987"/>
                  <a:gd name="connsiteY130" fmla="*/ 1419225 h 4496940"/>
                  <a:gd name="connsiteX131" fmla="*/ 230527 w 4519987"/>
                  <a:gd name="connsiteY131" fmla="*/ 1276350 h 4496940"/>
                  <a:gd name="connsiteX132" fmla="*/ 240052 w 4519987"/>
                  <a:gd name="connsiteY132" fmla="*/ 1247775 h 4496940"/>
                  <a:gd name="connsiteX133" fmla="*/ 268627 w 4519987"/>
                  <a:gd name="connsiteY133" fmla="*/ 1200150 h 4496940"/>
                  <a:gd name="connsiteX134" fmla="*/ 287677 w 4519987"/>
                  <a:gd name="connsiteY134" fmla="*/ 1152525 h 4496940"/>
                  <a:gd name="connsiteX135" fmla="*/ 316252 w 4519987"/>
                  <a:gd name="connsiteY135" fmla="*/ 1114425 h 4496940"/>
                  <a:gd name="connsiteX136" fmla="*/ 363877 w 4519987"/>
                  <a:gd name="connsiteY136" fmla="*/ 1038225 h 4496940"/>
                  <a:gd name="connsiteX137" fmla="*/ 382927 w 4519987"/>
                  <a:gd name="connsiteY137" fmla="*/ 1009650 h 4496940"/>
                  <a:gd name="connsiteX138" fmla="*/ 440077 w 4519987"/>
                  <a:gd name="connsiteY138" fmla="*/ 904875 h 4496940"/>
                  <a:gd name="connsiteX139" fmla="*/ 478177 w 4519987"/>
                  <a:gd name="connsiteY139" fmla="*/ 857250 h 4496940"/>
                  <a:gd name="connsiteX140" fmla="*/ 497227 w 4519987"/>
                  <a:gd name="connsiteY140" fmla="*/ 828675 h 4496940"/>
                  <a:gd name="connsiteX141" fmla="*/ 535327 w 4519987"/>
                  <a:gd name="connsiteY141" fmla="*/ 800100 h 4496940"/>
                  <a:gd name="connsiteX142" fmla="*/ 602002 w 4519987"/>
                  <a:gd name="connsiteY142" fmla="*/ 733425 h 4496940"/>
                  <a:gd name="connsiteX143" fmla="*/ 668677 w 4519987"/>
                  <a:gd name="connsiteY143" fmla="*/ 676275 h 4496940"/>
                  <a:gd name="connsiteX144" fmla="*/ 697252 w 4519987"/>
                  <a:gd name="connsiteY144" fmla="*/ 657225 h 4496940"/>
                  <a:gd name="connsiteX145" fmla="*/ 840127 w 4519987"/>
                  <a:gd name="connsiteY145" fmla="*/ 533400 h 4496940"/>
                  <a:gd name="connsiteX146" fmla="*/ 887752 w 4519987"/>
                  <a:gd name="connsiteY146" fmla="*/ 504825 h 4496940"/>
                  <a:gd name="connsiteX147" fmla="*/ 1167152 w 4519987"/>
                  <a:gd name="connsiteY147" fmla="*/ 311150 h 4496940"/>
                  <a:gd name="connsiteX148" fmla="*/ 1268752 w 4519987"/>
                  <a:gd name="connsiteY148" fmla="*/ 285750 h 4496940"/>
                  <a:gd name="connsiteX149" fmla="*/ 1411627 w 4519987"/>
                  <a:gd name="connsiteY149" fmla="*/ 190500 h 4496940"/>
                  <a:gd name="connsiteX150" fmla="*/ 1449727 w 4519987"/>
                  <a:gd name="connsiteY150" fmla="*/ 161925 h 4496940"/>
                  <a:gd name="connsiteX151" fmla="*/ 1525927 w 4519987"/>
                  <a:gd name="connsiteY151" fmla="*/ 152400 h 4496940"/>
                  <a:gd name="connsiteX152" fmla="*/ 1583077 w 4519987"/>
                  <a:gd name="connsiteY152" fmla="*/ 142875 h 4496940"/>
                  <a:gd name="connsiteX153" fmla="*/ 1716427 w 4519987"/>
                  <a:gd name="connsiteY153" fmla="*/ 123825 h 4496940"/>
                  <a:gd name="connsiteX154" fmla="*/ 1811677 w 4519987"/>
                  <a:gd name="connsiteY154" fmla="*/ 114300 h 4496940"/>
                  <a:gd name="connsiteX155" fmla="*/ 1859302 w 4519987"/>
                  <a:gd name="connsiteY155" fmla="*/ 104775 h 4496940"/>
                  <a:gd name="connsiteX156" fmla="*/ 1916452 w 4519987"/>
                  <a:gd name="connsiteY156" fmla="*/ 95250 h 4496940"/>
                  <a:gd name="connsiteX157" fmla="*/ 2030752 w 4519987"/>
                  <a:gd name="connsiteY157" fmla="*/ 66675 h 4496940"/>
                  <a:gd name="connsiteX158" fmla="*/ 2097427 w 4519987"/>
                  <a:gd name="connsiteY158" fmla="*/ 47625 h 4496940"/>
                  <a:gd name="connsiteX159" fmla="*/ 2164102 w 4519987"/>
                  <a:gd name="connsiteY159" fmla="*/ 38100 h 4496940"/>
                  <a:gd name="connsiteX160" fmla="*/ 2392702 w 4519987"/>
                  <a:gd name="connsiteY16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3992902 w 4519987"/>
                  <a:gd name="connsiteY28" fmla="*/ 714375 h 4496940"/>
                  <a:gd name="connsiteX29" fmla="*/ 4050052 w 4519987"/>
                  <a:gd name="connsiteY29" fmla="*/ 790575 h 4496940"/>
                  <a:gd name="connsiteX30" fmla="*/ 4078627 w 4519987"/>
                  <a:gd name="connsiteY30" fmla="*/ 838200 h 4496940"/>
                  <a:gd name="connsiteX31" fmla="*/ 4107202 w 4519987"/>
                  <a:gd name="connsiteY31" fmla="*/ 876300 h 4496940"/>
                  <a:gd name="connsiteX32" fmla="*/ 4116727 w 4519987"/>
                  <a:gd name="connsiteY32" fmla="*/ 904875 h 4496940"/>
                  <a:gd name="connsiteX33" fmla="*/ 4135777 w 4519987"/>
                  <a:gd name="connsiteY33" fmla="*/ 933450 h 4496940"/>
                  <a:gd name="connsiteX34" fmla="*/ 4164352 w 4519987"/>
                  <a:gd name="connsiteY34" fmla="*/ 990600 h 4496940"/>
                  <a:gd name="connsiteX35" fmla="*/ 4173877 w 4519987"/>
                  <a:gd name="connsiteY35" fmla="*/ 1019175 h 4496940"/>
                  <a:gd name="connsiteX36" fmla="*/ 4192927 w 4519987"/>
                  <a:gd name="connsiteY36" fmla="*/ 1057275 h 4496940"/>
                  <a:gd name="connsiteX37" fmla="*/ 4202452 w 4519987"/>
                  <a:gd name="connsiteY37" fmla="*/ 1085850 h 4496940"/>
                  <a:gd name="connsiteX38" fmla="*/ 4250077 w 4519987"/>
                  <a:gd name="connsiteY38" fmla="*/ 1143000 h 4496940"/>
                  <a:gd name="connsiteX39" fmla="*/ 4259602 w 4519987"/>
                  <a:gd name="connsiteY39" fmla="*/ 1190625 h 4496940"/>
                  <a:gd name="connsiteX40" fmla="*/ 4307227 w 4519987"/>
                  <a:gd name="connsiteY40" fmla="*/ 1266825 h 4496940"/>
                  <a:gd name="connsiteX41" fmla="*/ 4345327 w 4519987"/>
                  <a:gd name="connsiteY41" fmla="*/ 1362075 h 4496940"/>
                  <a:gd name="connsiteX42" fmla="*/ 4373902 w 4519987"/>
                  <a:gd name="connsiteY42" fmla="*/ 1428750 h 4496940"/>
                  <a:gd name="connsiteX43" fmla="*/ 4392952 w 4519987"/>
                  <a:gd name="connsiteY43" fmla="*/ 1552575 h 4496940"/>
                  <a:gd name="connsiteX44" fmla="*/ 4402477 w 4519987"/>
                  <a:gd name="connsiteY44" fmla="*/ 1590675 h 4496940"/>
                  <a:gd name="connsiteX45" fmla="*/ 4431052 w 4519987"/>
                  <a:gd name="connsiteY45" fmla="*/ 1685925 h 4496940"/>
                  <a:gd name="connsiteX46" fmla="*/ 4519952 w 4519987"/>
                  <a:gd name="connsiteY46" fmla="*/ 2181225 h 4496940"/>
                  <a:gd name="connsiteX47" fmla="*/ 4446927 w 4519987"/>
                  <a:gd name="connsiteY47" fmla="*/ 2768600 h 4496940"/>
                  <a:gd name="connsiteX48" fmla="*/ 4383427 w 4519987"/>
                  <a:gd name="connsiteY48" fmla="*/ 2990850 h 4496940"/>
                  <a:gd name="connsiteX49" fmla="*/ 4278652 w 4519987"/>
                  <a:gd name="connsiteY49" fmla="*/ 3248025 h 4496940"/>
                  <a:gd name="connsiteX50" fmla="*/ 4259602 w 4519987"/>
                  <a:gd name="connsiteY50" fmla="*/ 3276600 h 4496940"/>
                  <a:gd name="connsiteX51" fmla="*/ 4221502 w 4519987"/>
                  <a:gd name="connsiteY51" fmla="*/ 3333750 h 4496940"/>
                  <a:gd name="connsiteX52" fmla="*/ 4211977 w 4519987"/>
                  <a:gd name="connsiteY52" fmla="*/ 3362325 h 4496940"/>
                  <a:gd name="connsiteX53" fmla="*/ 4183402 w 4519987"/>
                  <a:gd name="connsiteY53" fmla="*/ 3400425 h 4496940"/>
                  <a:gd name="connsiteX54" fmla="*/ 4164352 w 4519987"/>
                  <a:gd name="connsiteY54" fmla="*/ 3429000 h 4496940"/>
                  <a:gd name="connsiteX55" fmla="*/ 4088152 w 4519987"/>
                  <a:gd name="connsiteY55" fmla="*/ 3495675 h 4496940"/>
                  <a:gd name="connsiteX56" fmla="*/ 4059577 w 4519987"/>
                  <a:gd name="connsiteY56" fmla="*/ 3533775 h 4496940"/>
                  <a:gd name="connsiteX57" fmla="*/ 4002427 w 4519987"/>
                  <a:gd name="connsiteY57" fmla="*/ 3600450 h 4496940"/>
                  <a:gd name="connsiteX58" fmla="*/ 3983377 w 4519987"/>
                  <a:gd name="connsiteY58" fmla="*/ 3629025 h 4496940"/>
                  <a:gd name="connsiteX59" fmla="*/ 3954802 w 4519987"/>
                  <a:gd name="connsiteY59" fmla="*/ 3648075 h 4496940"/>
                  <a:gd name="connsiteX60" fmla="*/ 3907177 w 4519987"/>
                  <a:gd name="connsiteY60" fmla="*/ 3686175 h 4496940"/>
                  <a:gd name="connsiteX61" fmla="*/ 3869077 w 4519987"/>
                  <a:gd name="connsiteY61" fmla="*/ 3724275 h 4496940"/>
                  <a:gd name="connsiteX62" fmla="*/ 3792877 w 4519987"/>
                  <a:gd name="connsiteY62" fmla="*/ 3781425 h 4496940"/>
                  <a:gd name="connsiteX63" fmla="*/ 3783352 w 4519987"/>
                  <a:gd name="connsiteY63" fmla="*/ 3810000 h 4496940"/>
                  <a:gd name="connsiteX64" fmla="*/ 3745252 w 4519987"/>
                  <a:gd name="connsiteY64" fmla="*/ 3819525 h 4496940"/>
                  <a:gd name="connsiteX65" fmla="*/ 3678577 w 4519987"/>
                  <a:gd name="connsiteY65" fmla="*/ 3848100 h 4496940"/>
                  <a:gd name="connsiteX66" fmla="*/ 3659527 w 4519987"/>
                  <a:gd name="connsiteY66" fmla="*/ 3971925 h 4496940"/>
                  <a:gd name="connsiteX67" fmla="*/ 3630952 w 4519987"/>
                  <a:gd name="connsiteY67" fmla="*/ 4010025 h 4496940"/>
                  <a:gd name="connsiteX68" fmla="*/ 3621427 w 4519987"/>
                  <a:gd name="connsiteY68" fmla="*/ 4038600 h 4496940"/>
                  <a:gd name="connsiteX69" fmla="*/ 3554752 w 4519987"/>
                  <a:gd name="connsiteY69" fmla="*/ 4095750 h 4496940"/>
                  <a:gd name="connsiteX70" fmla="*/ 3516652 w 4519987"/>
                  <a:gd name="connsiteY70" fmla="*/ 4114800 h 4496940"/>
                  <a:gd name="connsiteX71" fmla="*/ 3497602 w 4519987"/>
                  <a:gd name="connsiteY71" fmla="*/ 4143375 h 4496940"/>
                  <a:gd name="connsiteX72" fmla="*/ 3383302 w 4519987"/>
                  <a:gd name="connsiteY72" fmla="*/ 4210050 h 4496940"/>
                  <a:gd name="connsiteX73" fmla="*/ 3335677 w 4519987"/>
                  <a:gd name="connsiteY73" fmla="*/ 4238625 h 4496940"/>
                  <a:gd name="connsiteX74" fmla="*/ 3288052 w 4519987"/>
                  <a:gd name="connsiteY74" fmla="*/ 4248150 h 4496940"/>
                  <a:gd name="connsiteX75" fmla="*/ 3240427 w 4519987"/>
                  <a:gd name="connsiteY75" fmla="*/ 4267200 h 4496940"/>
                  <a:gd name="connsiteX76" fmla="*/ 3068977 w 4519987"/>
                  <a:gd name="connsiteY76" fmla="*/ 4286250 h 4496940"/>
                  <a:gd name="connsiteX77" fmla="*/ 2935627 w 4519987"/>
                  <a:gd name="connsiteY77" fmla="*/ 4333875 h 4496940"/>
                  <a:gd name="connsiteX78" fmla="*/ 2811802 w 4519987"/>
                  <a:gd name="connsiteY78" fmla="*/ 4371975 h 4496940"/>
                  <a:gd name="connsiteX79" fmla="*/ 2745127 w 4519987"/>
                  <a:gd name="connsiteY79" fmla="*/ 4410075 h 4496940"/>
                  <a:gd name="connsiteX80" fmla="*/ 2697502 w 4519987"/>
                  <a:gd name="connsiteY80" fmla="*/ 4429125 h 4496940"/>
                  <a:gd name="connsiteX81" fmla="*/ 2640352 w 4519987"/>
                  <a:gd name="connsiteY81" fmla="*/ 4457700 h 4496940"/>
                  <a:gd name="connsiteX82" fmla="*/ 2583202 w 4519987"/>
                  <a:gd name="connsiteY82" fmla="*/ 4467225 h 4496940"/>
                  <a:gd name="connsiteX83" fmla="*/ 2545102 w 4519987"/>
                  <a:gd name="connsiteY83" fmla="*/ 4486275 h 4496940"/>
                  <a:gd name="connsiteX84" fmla="*/ 2306977 w 4519987"/>
                  <a:gd name="connsiteY84" fmla="*/ 4476750 h 4496940"/>
                  <a:gd name="connsiteX85" fmla="*/ 2202202 w 4519987"/>
                  <a:gd name="connsiteY85" fmla="*/ 4457700 h 4496940"/>
                  <a:gd name="connsiteX86" fmla="*/ 2126002 w 4519987"/>
                  <a:gd name="connsiteY86" fmla="*/ 4429125 h 4496940"/>
                  <a:gd name="connsiteX87" fmla="*/ 1935502 w 4519987"/>
                  <a:gd name="connsiteY87" fmla="*/ 4400550 h 4496940"/>
                  <a:gd name="connsiteX88" fmla="*/ 1821202 w 4519987"/>
                  <a:gd name="connsiteY88" fmla="*/ 4371975 h 4496940"/>
                  <a:gd name="connsiteX89" fmla="*/ 1754527 w 4519987"/>
                  <a:gd name="connsiteY89" fmla="*/ 4352925 h 4496940"/>
                  <a:gd name="connsiteX90" fmla="*/ 1687852 w 4519987"/>
                  <a:gd name="connsiteY90" fmla="*/ 4343400 h 4496940"/>
                  <a:gd name="connsiteX91" fmla="*/ 1573552 w 4519987"/>
                  <a:gd name="connsiteY91" fmla="*/ 4305300 h 4496940"/>
                  <a:gd name="connsiteX92" fmla="*/ 1402102 w 4519987"/>
                  <a:gd name="connsiteY92" fmla="*/ 4276725 h 4496940"/>
                  <a:gd name="connsiteX93" fmla="*/ 1287802 w 4519987"/>
                  <a:gd name="connsiteY93" fmla="*/ 4229100 h 4496940"/>
                  <a:gd name="connsiteX94" fmla="*/ 1221127 w 4519987"/>
                  <a:gd name="connsiteY94" fmla="*/ 4200525 h 4496940"/>
                  <a:gd name="connsiteX95" fmla="*/ 1144927 w 4519987"/>
                  <a:gd name="connsiteY95" fmla="*/ 4171950 h 4496940"/>
                  <a:gd name="connsiteX96" fmla="*/ 1087777 w 4519987"/>
                  <a:gd name="connsiteY96" fmla="*/ 4143375 h 4496940"/>
                  <a:gd name="connsiteX97" fmla="*/ 1030627 w 4519987"/>
                  <a:gd name="connsiteY97" fmla="*/ 4124325 h 4496940"/>
                  <a:gd name="connsiteX98" fmla="*/ 925852 w 4519987"/>
                  <a:gd name="connsiteY98" fmla="*/ 4067175 h 4496940"/>
                  <a:gd name="connsiteX99" fmla="*/ 830602 w 4519987"/>
                  <a:gd name="connsiteY99" fmla="*/ 3981450 h 4496940"/>
                  <a:gd name="connsiteX100" fmla="*/ 763927 w 4519987"/>
                  <a:gd name="connsiteY100" fmla="*/ 3914775 h 4496940"/>
                  <a:gd name="connsiteX101" fmla="*/ 725827 w 4519987"/>
                  <a:gd name="connsiteY101" fmla="*/ 3876675 h 4496940"/>
                  <a:gd name="connsiteX102" fmla="*/ 697252 w 4519987"/>
                  <a:gd name="connsiteY102" fmla="*/ 3838575 h 4496940"/>
                  <a:gd name="connsiteX103" fmla="*/ 640102 w 4519987"/>
                  <a:gd name="connsiteY103" fmla="*/ 3781425 h 4496940"/>
                  <a:gd name="connsiteX104" fmla="*/ 611527 w 4519987"/>
                  <a:gd name="connsiteY104" fmla="*/ 3733800 h 4496940"/>
                  <a:gd name="connsiteX105" fmla="*/ 554377 w 4519987"/>
                  <a:gd name="connsiteY105" fmla="*/ 3657600 h 4496940"/>
                  <a:gd name="connsiteX106" fmla="*/ 525802 w 4519987"/>
                  <a:gd name="connsiteY106" fmla="*/ 3609975 h 4496940"/>
                  <a:gd name="connsiteX107" fmla="*/ 497227 w 4519987"/>
                  <a:gd name="connsiteY107" fmla="*/ 3552825 h 4496940"/>
                  <a:gd name="connsiteX108" fmla="*/ 440077 w 4519987"/>
                  <a:gd name="connsiteY108" fmla="*/ 3495675 h 4496940"/>
                  <a:gd name="connsiteX109" fmla="*/ 411502 w 4519987"/>
                  <a:gd name="connsiteY109" fmla="*/ 3448050 h 4496940"/>
                  <a:gd name="connsiteX110" fmla="*/ 278152 w 4519987"/>
                  <a:gd name="connsiteY110" fmla="*/ 3257550 h 4496940"/>
                  <a:gd name="connsiteX111" fmla="*/ 249577 w 4519987"/>
                  <a:gd name="connsiteY111" fmla="*/ 3200400 h 4496940"/>
                  <a:gd name="connsiteX112" fmla="*/ 240052 w 4519987"/>
                  <a:gd name="connsiteY112" fmla="*/ 3162300 h 4496940"/>
                  <a:gd name="connsiteX113" fmla="*/ 221002 w 4519987"/>
                  <a:gd name="connsiteY113" fmla="*/ 3105150 h 4496940"/>
                  <a:gd name="connsiteX114" fmla="*/ 173377 w 4519987"/>
                  <a:gd name="connsiteY114" fmla="*/ 3019425 h 4496940"/>
                  <a:gd name="connsiteX115" fmla="*/ 144802 w 4519987"/>
                  <a:gd name="connsiteY115" fmla="*/ 2924175 h 4496940"/>
                  <a:gd name="connsiteX116" fmla="*/ 68602 w 4519987"/>
                  <a:gd name="connsiteY116" fmla="*/ 2724150 h 4496940"/>
                  <a:gd name="connsiteX117" fmla="*/ 49552 w 4519987"/>
                  <a:gd name="connsiteY117" fmla="*/ 2638425 h 4496940"/>
                  <a:gd name="connsiteX118" fmla="*/ 40027 w 4519987"/>
                  <a:gd name="connsiteY118" fmla="*/ 2562225 h 4496940"/>
                  <a:gd name="connsiteX119" fmla="*/ 30502 w 4519987"/>
                  <a:gd name="connsiteY119" fmla="*/ 2514600 h 4496940"/>
                  <a:gd name="connsiteX120" fmla="*/ 11452 w 4519987"/>
                  <a:gd name="connsiteY120" fmla="*/ 2400300 h 4496940"/>
                  <a:gd name="connsiteX121" fmla="*/ 20977 w 4519987"/>
                  <a:gd name="connsiteY121" fmla="*/ 1905000 h 4496940"/>
                  <a:gd name="connsiteX122" fmla="*/ 30502 w 4519987"/>
                  <a:gd name="connsiteY122" fmla="*/ 1838325 h 4496940"/>
                  <a:gd name="connsiteX123" fmla="*/ 49552 w 4519987"/>
                  <a:gd name="connsiteY123" fmla="*/ 1781175 h 4496940"/>
                  <a:gd name="connsiteX124" fmla="*/ 59077 w 4519987"/>
                  <a:gd name="connsiteY124" fmla="*/ 1743075 h 4496940"/>
                  <a:gd name="connsiteX125" fmla="*/ 78127 w 4519987"/>
                  <a:gd name="connsiteY125" fmla="*/ 1685925 h 4496940"/>
                  <a:gd name="connsiteX126" fmla="*/ 87652 w 4519987"/>
                  <a:gd name="connsiteY126" fmla="*/ 1638300 h 4496940"/>
                  <a:gd name="connsiteX127" fmla="*/ 106702 w 4519987"/>
                  <a:gd name="connsiteY127" fmla="*/ 1590675 h 4496940"/>
                  <a:gd name="connsiteX128" fmla="*/ 135277 w 4519987"/>
                  <a:gd name="connsiteY128" fmla="*/ 1504950 h 4496940"/>
                  <a:gd name="connsiteX129" fmla="*/ 154327 w 4519987"/>
                  <a:gd name="connsiteY129" fmla="*/ 1419225 h 4496940"/>
                  <a:gd name="connsiteX130" fmla="*/ 230527 w 4519987"/>
                  <a:gd name="connsiteY130" fmla="*/ 1276350 h 4496940"/>
                  <a:gd name="connsiteX131" fmla="*/ 240052 w 4519987"/>
                  <a:gd name="connsiteY131" fmla="*/ 1247775 h 4496940"/>
                  <a:gd name="connsiteX132" fmla="*/ 268627 w 4519987"/>
                  <a:gd name="connsiteY132" fmla="*/ 1200150 h 4496940"/>
                  <a:gd name="connsiteX133" fmla="*/ 287677 w 4519987"/>
                  <a:gd name="connsiteY133" fmla="*/ 1152525 h 4496940"/>
                  <a:gd name="connsiteX134" fmla="*/ 316252 w 4519987"/>
                  <a:gd name="connsiteY134" fmla="*/ 1114425 h 4496940"/>
                  <a:gd name="connsiteX135" fmla="*/ 363877 w 4519987"/>
                  <a:gd name="connsiteY135" fmla="*/ 1038225 h 4496940"/>
                  <a:gd name="connsiteX136" fmla="*/ 382927 w 4519987"/>
                  <a:gd name="connsiteY136" fmla="*/ 1009650 h 4496940"/>
                  <a:gd name="connsiteX137" fmla="*/ 440077 w 4519987"/>
                  <a:gd name="connsiteY137" fmla="*/ 904875 h 4496940"/>
                  <a:gd name="connsiteX138" fmla="*/ 478177 w 4519987"/>
                  <a:gd name="connsiteY138" fmla="*/ 857250 h 4496940"/>
                  <a:gd name="connsiteX139" fmla="*/ 497227 w 4519987"/>
                  <a:gd name="connsiteY139" fmla="*/ 828675 h 4496940"/>
                  <a:gd name="connsiteX140" fmla="*/ 535327 w 4519987"/>
                  <a:gd name="connsiteY140" fmla="*/ 800100 h 4496940"/>
                  <a:gd name="connsiteX141" fmla="*/ 602002 w 4519987"/>
                  <a:gd name="connsiteY141" fmla="*/ 733425 h 4496940"/>
                  <a:gd name="connsiteX142" fmla="*/ 668677 w 4519987"/>
                  <a:gd name="connsiteY142" fmla="*/ 676275 h 4496940"/>
                  <a:gd name="connsiteX143" fmla="*/ 697252 w 4519987"/>
                  <a:gd name="connsiteY143" fmla="*/ 657225 h 4496940"/>
                  <a:gd name="connsiteX144" fmla="*/ 840127 w 4519987"/>
                  <a:gd name="connsiteY144" fmla="*/ 533400 h 4496940"/>
                  <a:gd name="connsiteX145" fmla="*/ 887752 w 4519987"/>
                  <a:gd name="connsiteY145" fmla="*/ 504825 h 4496940"/>
                  <a:gd name="connsiteX146" fmla="*/ 1167152 w 4519987"/>
                  <a:gd name="connsiteY146" fmla="*/ 311150 h 4496940"/>
                  <a:gd name="connsiteX147" fmla="*/ 1268752 w 4519987"/>
                  <a:gd name="connsiteY147" fmla="*/ 285750 h 4496940"/>
                  <a:gd name="connsiteX148" fmla="*/ 1411627 w 4519987"/>
                  <a:gd name="connsiteY148" fmla="*/ 190500 h 4496940"/>
                  <a:gd name="connsiteX149" fmla="*/ 1449727 w 4519987"/>
                  <a:gd name="connsiteY149" fmla="*/ 161925 h 4496940"/>
                  <a:gd name="connsiteX150" fmla="*/ 1525927 w 4519987"/>
                  <a:gd name="connsiteY150" fmla="*/ 152400 h 4496940"/>
                  <a:gd name="connsiteX151" fmla="*/ 1583077 w 4519987"/>
                  <a:gd name="connsiteY151" fmla="*/ 142875 h 4496940"/>
                  <a:gd name="connsiteX152" fmla="*/ 1716427 w 4519987"/>
                  <a:gd name="connsiteY152" fmla="*/ 123825 h 4496940"/>
                  <a:gd name="connsiteX153" fmla="*/ 1811677 w 4519987"/>
                  <a:gd name="connsiteY153" fmla="*/ 114300 h 4496940"/>
                  <a:gd name="connsiteX154" fmla="*/ 1859302 w 4519987"/>
                  <a:gd name="connsiteY154" fmla="*/ 104775 h 4496940"/>
                  <a:gd name="connsiteX155" fmla="*/ 1916452 w 4519987"/>
                  <a:gd name="connsiteY155" fmla="*/ 95250 h 4496940"/>
                  <a:gd name="connsiteX156" fmla="*/ 2030752 w 4519987"/>
                  <a:gd name="connsiteY156" fmla="*/ 66675 h 4496940"/>
                  <a:gd name="connsiteX157" fmla="*/ 2097427 w 4519987"/>
                  <a:gd name="connsiteY157" fmla="*/ 47625 h 4496940"/>
                  <a:gd name="connsiteX158" fmla="*/ 2164102 w 4519987"/>
                  <a:gd name="connsiteY158" fmla="*/ 38100 h 4496940"/>
                  <a:gd name="connsiteX159" fmla="*/ 2392702 w 4519987"/>
                  <a:gd name="connsiteY15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50052 w 4519987"/>
                  <a:gd name="connsiteY28" fmla="*/ 790575 h 4496940"/>
                  <a:gd name="connsiteX29" fmla="*/ 4078627 w 4519987"/>
                  <a:gd name="connsiteY29" fmla="*/ 838200 h 4496940"/>
                  <a:gd name="connsiteX30" fmla="*/ 4107202 w 4519987"/>
                  <a:gd name="connsiteY30" fmla="*/ 876300 h 4496940"/>
                  <a:gd name="connsiteX31" fmla="*/ 4116727 w 4519987"/>
                  <a:gd name="connsiteY31" fmla="*/ 904875 h 4496940"/>
                  <a:gd name="connsiteX32" fmla="*/ 4135777 w 4519987"/>
                  <a:gd name="connsiteY32" fmla="*/ 933450 h 4496940"/>
                  <a:gd name="connsiteX33" fmla="*/ 4164352 w 4519987"/>
                  <a:gd name="connsiteY33" fmla="*/ 990600 h 4496940"/>
                  <a:gd name="connsiteX34" fmla="*/ 4173877 w 4519987"/>
                  <a:gd name="connsiteY34" fmla="*/ 1019175 h 4496940"/>
                  <a:gd name="connsiteX35" fmla="*/ 4192927 w 4519987"/>
                  <a:gd name="connsiteY35" fmla="*/ 1057275 h 4496940"/>
                  <a:gd name="connsiteX36" fmla="*/ 4202452 w 4519987"/>
                  <a:gd name="connsiteY36" fmla="*/ 1085850 h 4496940"/>
                  <a:gd name="connsiteX37" fmla="*/ 4250077 w 4519987"/>
                  <a:gd name="connsiteY37" fmla="*/ 1143000 h 4496940"/>
                  <a:gd name="connsiteX38" fmla="*/ 4259602 w 4519987"/>
                  <a:gd name="connsiteY38" fmla="*/ 1190625 h 4496940"/>
                  <a:gd name="connsiteX39" fmla="*/ 4307227 w 4519987"/>
                  <a:gd name="connsiteY39" fmla="*/ 1266825 h 4496940"/>
                  <a:gd name="connsiteX40" fmla="*/ 4345327 w 4519987"/>
                  <a:gd name="connsiteY40" fmla="*/ 1362075 h 4496940"/>
                  <a:gd name="connsiteX41" fmla="*/ 4373902 w 4519987"/>
                  <a:gd name="connsiteY41" fmla="*/ 1428750 h 4496940"/>
                  <a:gd name="connsiteX42" fmla="*/ 4392952 w 4519987"/>
                  <a:gd name="connsiteY42" fmla="*/ 1552575 h 4496940"/>
                  <a:gd name="connsiteX43" fmla="*/ 4402477 w 4519987"/>
                  <a:gd name="connsiteY43" fmla="*/ 1590675 h 4496940"/>
                  <a:gd name="connsiteX44" fmla="*/ 4431052 w 4519987"/>
                  <a:gd name="connsiteY44" fmla="*/ 1685925 h 4496940"/>
                  <a:gd name="connsiteX45" fmla="*/ 4519952 w 4519987"/>
                  <a:gd name="connsiteY45" fmla="*/ 2181225 h 4496940"/>
                  <a:gd name="connsiteX46" fmla="*/ 4446927 w 4519987"/>
                  <a:gd name="connsiteY46" fmla="*/ 2768600 h 4496940"/>
                  <a:gd name="connsiteX47" fmla="*/ 4383427 w 4519987"/>
                  <a:gd name="connsiteY47" fmla="*/ 2990850 h 4496940"/>
                  <a:gd name="connsiteX48" fmla="*/ 4278652 w 4519987"/>
                  <a:gd name="connsiteY48" fmla="*/ 3248025 h 4496940"/>
                  <a:gd name="connsiteX49" fmla="*/ 4259602 w 4519987"/>
                  <a:gd name="connsiteY49" fmla="*/ 3276600 h 4496940"/>
                  <a:gd name="connsiteX50" fmla="*/ 4221502 w 4519987"/>
                  <a:gd name="connsiteY50" fmla="*/ 3333750 h 4496940"/>
                  <a:gd name="connsiteX51" fmla="*/ 4211977 w 4519987"/>
                  <a:gd name="connsiteY51" fmla="*/ 3362325 h 4496940"/>
                  <a:gd name="connsiteX52" fmla="*/ 4183402 w 4519987"/>
                  <a:gd name="connsiteY52" fmla="*/ 3400425 h 4496940"/>
                  <a:gd name="connsiteX53" fmla="*/ 4164352 w 4519987"/>
                  <a:gd name="connsiteY53" fmla="*/ 3429000 h 4496940"/>
                  <a:gd name="connsiteX54" fmla="*/ 4088152 w 4519987"/>
                  <a:gd name="connsiteY54" fmla="*/ 3495675 h 4496940"/>
                  <a:gd name="connsiteX55" fmla="*/ 4059577 w 4519987"/>
                  <a:gd name="connsiteY55" fmla="*/ 3533775 h 4496940"/>
                  <a:gd name="connsiteX56" fmla="*/ 4002427 w 4519987"/>
                  <a:gd name="connsiteY56" fmla="*/ 3600450 h 4496940"/>
                  <a:gd name="connsiteX57" fmla="*/ 3983377 w 4519987"/>
                  <a:gd name="connsiteY57" fmla="*/ 3629025 h 4496940"/>
                  <a:gd name="connsiteX58" fmla="*/ 3954802 w 4519987"/>
                  <a:gd name="connsiteY58" fmla="*/ 3648075 h 4496940"/>
                  <a:gd name="connsiteX59" fmla="*/ 3907177 w 4519987"/>
                  <a:gd name="connsiteY59" fmla="*/ 3686175 h 4496940"/>
                  <a:gd name="connsiteX60" fmla="*/ 3869077 w 4519987"/>
                  <a:gd name="connsiteY60" fmla="*/ 3724275 h 4496940"/>
                  <a:gd name="connsiteX61" fmla="*/ 3792877 w 4519987"/>
                  <a:gd name="connsiteY61" fmla="*/ 3781425 h 4496940"/>
                  <a:gd name="connsiteX62" fmla="*/ 3783352 w 4519987"/>
                  <a:gd name="connsiteY62" fmla="*/ 3810000 h 4496940"/>
                  <a:gd name="connsiteX63" fmla="*/ 3745252 w 4519987"/>
                  <a:gd name="connsiteY63" fmla="*/ 3819525 h 4496940"/>
                  <a:gd name="connsiteX64" fmla="*/ 3678577 w 4519987"/>
                  <a:gd name="connsiteY64" fmla="*/ 3848100 h 4496940"/>
                  <a:gd name="connsiteX65" fmla="*/ 3659527 w 4519987"/>
                  <a:gd name="connsiteY65" fmla="*/ 3971925 h 4496940"/>
                  <a:gd name="connsiteX66" fmla="*/ 3630952 w 4519987"/>
                  <a:gd name="connsiteY66" fmla="*/ 4010025 h 4496940"/>
                  <a:gd name="connsiteX67" fmla="*/ 3621427 w 4519987"/>
                  <a:gd name="connsiteY67" fmla="*/ 4038600 h 4496940"/>
                  <a:gd name="connsiteX68" fmla="*/ 3554752 w 4519987"/>
                  <a:gd name="connsiteY68" fmla="*/ 4095750 h 4496940"/>
                  <a:gd name="connsiteX69" fmla="*/ 3516652 w 4519987"/>
                  <a:gd name="connsiteY69" fmla="*/ 4114800 h 4496940"/>
                  <a:gd name="connsiteX70" fmla="*/ 3497602 w 4519987"/>
                  <a:gd name="connsiteY70" fmla="*/ 4143375 h 4496940"/>
                  <a:gd name="connsiteX71" fmla="*/ 3383302 w 4519987"/>
                  <a:gd name="connsiteY71" fmla="*/ 4210050 h 4496940"/>
                  <a:gd name="connsiteX72" fmla="*/ 3335677 w 4519987"/>
                  <a:gd name="connsiteY72" fmla="*/ 4238625 h 4496940"/>
                  <a:gd name="connsiteX73" fmla="*/ 3288052 w 4519987"/>
                  <a:gd name="connsiteY73" fmla="*/ 4248150 h 4496940"/>
                  <a:gd name="connsiteX74" fmla="*/ 3240427 w 4519987"/>
                  <a:gd name="connsiteY74" fmla="*/ 4267200 h 4496940"/>
                  <a:gd name="connsiteX75" fmla="*/ 3068977 w 4519987"/>
                  <a:gd name="connsiteY75" fmla="*/ 4286250 h 4496940"/>
                  <a:gd name="connsiteX76" fmla="*/ 2935627 w 4519987"/>
                  <a:gd name="connsiteY76" fmla="*/ 4333875 h 4496940"/>
                  <a:gd name="connsiteX77" fmla="*/ 2811802 w 4519987"/>
                  <a:gd name="connsiteY77" fmla="*/ 4371975 h 4496940"/>
                  <a:gd name="connsiteX78" fmla="*/ 2745127 w 4519987"/>
                  <a:gd name="connsiteY78" fmla="*/ 4410075 h 4496940"/>
                  <a:gd name="connsiteX79" fmla="*/ 2697502 w 4519987"/>
                  <a:gd name="connsiteY79" fmla="*/ 4429125 h 4496940"/>
                  <a:gd name="connsiteX80" fmla="*/ 2640352 w 4519987"/>
                  <a:gd name="connsiteY80" fmla="*/ 4457700 h 4496940"/>
                  <a:gd name="connsiteX81" fmla="*/ 2583202 w 4519987"/>
                  <a:gd name="connsiteY81" fmla="*/ 4467225 h 4496940"/>
                  <a:gd name="connsiteX82" fmla="*/ 2545102 w 4519987"/>
                  <a:gd name="connsiteY82" fmla="*/ 4486275 h 4496940"/>
                  <a:gd name="connsiteX83" fmla="*/ 2306977 w 4519987"/>
                  <a:gd name="connsiteY83" fmla="*/ 4476750 h 4496940"/>
                  <a:gd name="connsiteX84" fmla="*/ 2202202 w 4519987"/>
                  <a:gd name="connsiteY84" fmla="*/ 4457700 h 4496940"/>
                  <a:gd name="connsiteX85" fmla="*/ 2126002 w 4519987"/>
                  <a:gd name="connsiteY85" fmla="*/ 4429125 h 4496940"/>
                  <a:gd name="connsiteX86" fmla="*/ 1935502 w 4519987"/>
                  <a:gd name="connsiteY86" fmla="*/ 4400550 h 4496940"/>
                  <a:gd name="connsiteX87" fmla="*/ 1821202 w 4519987"/>
                  <a:gd name="connsiteY87" fmla="*/ 4371975 h 4496940"/>
                  <a:gd name="connsiteX88" fmla="*/ 1754527 w 4519987"/>
                  <a:gd name="connsiteY88" fmla="*/ 4352925 h 4496940"/>
                  <a:gd name="connsiteX89" fmla="*/ 1687852 w 4519987"/>
                  <a:gd name="connsiteY89" fmla="*/ 4343400 h 4496940"/>
                  <a:gd name="connsiteX90" fmla="*/ 1573552 w 4519987"/>
                  <a:gd name="connsiteY90" fmla="*/ 4305300 h 4496940"/>
                  <a:gd name="connsiteX91" fmla="*/ 1402102 w 4519987"/>
                  <a:gd name="connsiteY91" fmla="*/ 4276725 h 4496940"/>
                  <a:gd name="connsiteX92" fmla="*/ 1287802 w 4519987"/>
                  <a:gd name="connsiteY92" fmla="*/ 4229100 h 4496940"/>
                  <a:gd name="connsiteX93" fmla="*/ 1221127 w 4519987"/>
                  <a:gd name="connsiteY93" fmla="*/ 4200525 h 4496940"/>
                  <a:gd name="connsiteX94" fmla="*/ 1144927 w 4519987"/>
                  <a:gd name="connsiteY94" fmla="*/ 4171950 h 4496940"/>
                  <a:gd name="connsiteX95" fmla="*/ 1087777 w 4519987"/>
                  <a:gd name="connsiteY95" fmla="*/ 4143375 h 4496940"/>
                  <a:gd name="connsiteX96" fmla="*/ 1030627 w 4519987"/>
                  <a:gd name="connsiteY96" fmla="*/ 4124325 h 4496940"/>
                  <a:gd name="connsiteX97" fmla="*/ 925852 w 4519987"/>
                  <a:gd name="connsiteY97" fmla="*/ 4067175 h 4496940"/>
                  <a:gd name="connsiteX98" fmla="*/ 830602 w 4519987"/>
                  <a:gd name="connsiteY98" fmla="*/ 3981450 h 4496940"/>
                  <a:gd name="connsiteX99" fmla="*/ 763927 w 4519987"/>
                  <a:gd name="connsiteY99" fmla="*/ 3914775 h 4496940"/>
                  <a:gd name="connsiteX100" fmla="*/ 725827 w 4519987"/>
                  <a:gd name="connsiteY100" fmla="*/ 3876675 h 4496940"/>
                  <a:gd name="connsiteX101" fmla="*/ 697252 w 4519987"/>
                  <a:gd name="connsiteY101" fmla="*/ 3838575 h 4496940"/>
                  <a:gd name="connsiteX102" fmla="*/ 640102 w 4519987"/>
                  <a:gd name="connsiteY102" fmla="*/ 3781425 h 4496940"/>
                  <a:gd name="connsiteX103" fmla="*/ 611527 w 4519987"/>
                  <a:gd name="connsiteY103" fmla="*/ 3733800 h 4496940"/>
                  <a:gd name="connsiteX104" fmla="*/ 554377 w 4519987"/>
                  <a:gd name="connsiteY104" fmla="*/ 3657600 h 4496940"/>
                  <a:gd name="connsiteX105" fmla="*/ 525802 w 4519987"/>
                  <a:gd name="connsiteY105" fmla="*/ 3609975 h 4496940"/>
                  <a:gd name="connsiteX106" fmla="*/ 497227 w 4519987"/>
                  <a:gd name="connsiteY106" fmla="*/ 3552825 h 4496940"/>
                  <a:gd name="connsiteX107" fmla="*/ 440077 w 4519987"/>
                  <a:gd name="connsiteY107" fmla="*/ 3495675 h 4496940"/>
                  <a:gd name="connsiteX108" fmla="*/ 411502 w 4519987"/>
                  <a:gd name="connsiteY108" fmla="*/ 3448050 h 4496940"/>
                  <a:gd name="connsiteX109" fmla="*/ 278152 w 4519987"/>
                  <a:gd name="connsiteY109" fmla="*/ 3257550 h 4496940"/>
                  <a:gd name="connsiteX110" fmla="*/ 249577 w 4519987"/>
                  <a:gd name="connsiteY110" fmla="*/ 3200400 h 4496940"/>
                  <a:gd name="connsiteX111" fmla="*/ 240052 w 4519987"/>
                  <a:gd name="connsiteY111" fmla="*/ 3162300 h 4496940"/>
                  <a:gd name="connsiteX112" fmla="*/ 221002 w 4519987"/>
                  <a:gd name="connsiteY112" fmla="*/ 3105150 h 4496940"/>
                  <a:gd name="connsiteX113" fmla="*/ 173377 w 4519987"/>
                  <a:gd name="connsiteY113" fmla="*/ 3019425 h 4496940"/>
                  <a:gd name="connsiteX114" fmla="*/ 144802 w 4519987"/>
                  <a:gd name="connsiteY114" fmla="*/ 2924175 h 4496940"/>
                  <a:gd name="connsiteX115" fmla="*/ 68602 w 4519987"/>
                  <a:gd name="connsiteY115" fmla="*/ 2724150 h 4496940"/>
                  <a:gd name="connsiteX116" fmla="*/ 49552 w 4519987"/>
                  <a:gd name="connsiteY116" fmla="*/ 2638425 h 4496940"/>
                  <a:gd name="connsiteX117" fmla="*/ 40027 w 4519987"/>
                  <a:gd name="connsiteY117" fmla="*/ 2562225 h 4496940"/>
                  <a:gd name="connsiteX118" fmla="*/ 30502 w 4519987"/>
                  <a:gd name="connsiteY118" fmla="*/ 2514600 h 4496940"/>
                  <a:gd name="connsiteX119" fmla="*/ 11452 w 4519987"/>
                  <a:gd name="connsiteY119" fmla="*/ 2400300 h 4496940"/>
                  <a:gd name="connsiteX120" fmla="*/ 20977 w 4519987"/>
                  <a:gd name="connsiteY120" fmla="*/ 1905000 h 4496940"/>
                  <a:gd name="connsiteX121" fmla="*/ 30502 w 4519987"/>
                  <a:gd name="connsiteY121" fmla="*/ 1838325 h 4496940"/>
                  <a:gd name="connsiteX122" fmla="*/ 49552 w 4519987"/>
                  <a:gd name="connsiteY122" fmla="*/ 1781175 h 4496940"/>
                  <a:gd name="connsiteX123" fmla="*/ 59077 w 4519987"/>
                  <a:gd name="connsiteY123" fmla="*/ 1743075 h 4496940"/>
                  <a:gd name="connsiteX124" fmla="*/ 78127 w 4519987"/>
                  <a:gd name="connsiteY124" fmla="*/ 1685925 h 4496940"/>
                  <a:gd name="connsiteX125" fmla="*/ 87652 w 4519987"/>
                  <a:gd name="connsiteY125" fmla="*/ 1638300 h 4496940"/>
                  <a:gd name="connsiteX126" fmla="*/ 106702 w 4519987"/>
                  <a:gd name="connsiteY126" fmla="*/ 1590675 h 4496940"/>
                  <a:gd name="connsiteX127" fmla="*/ 135277 w 4519987"/>
                  <a:gd name="connsiteY127" fmla="*/ 1504950 h 4496940"/>
                  <a:gd name="connsiteX128" fmla="*/ 154327 w 4519987"/>
                  <a:gd name="connsiteY128" fmla="*/ 1419225 h 4496940"/>
                  <a:gd name="connsiteX129" fmla="*/ 230527 w 4519987"/>
                  <a:gd name="connsiteY129" fmla="*/ 1276350 h 4496940"/>
                  <a:gd name="connsiteX130" fmla="*/ 240052 w 4519987"/>
                  <a:gd name="connsiteY130" fmla="*/ 1247775 h 4496940"/>
                  <a:gd name="connsiteX131" fmla="*/ 268627 w 4519987"/>
                  <a:gd name="connsiteY131" fmla="*/ 1200150 h 4496940"/>
                  <a:gd name="connsiteX132" fmla="*/ 287677 w 4519987"/>
                  <a:gd name="connsiteY132" fmla="*/ 1152525 h 4496940"/>
                  <a:gd name="connsiteX133" fmla="*/ 316252 w 4519987"/>
                  <a:gd name="connsiteY133" fmla="*/ 1114425 h 4496940"/>
                  <a:gd name="connsiteX134" fmla="*/ 363877 w 4519987"/>
                  <a:gd name="connsiteY134" fmla="*/ 1038225 h 4496940"/>
                  <a:gd name="connsiteX135" fmla="*/ 382927 w 4519987"/>
                  <a:gd name="connsiteY135" fmla="*/ 1009650 h 4496940"/>
                  <a:gd name="connsiteX136" fmla="*/ 440077 w 4519987"/>
                  <a:gd name="connsiteY136" fmla="*/ 904875 h 4496940"/>
                  <a:gd name="connsiteX137" fmla="*/ 478177 w 4519987"/>
                  <a:gd name="connsiteY137" fmla="*/ 857250 h 4496940"/>
                  <a:gd name="connsiteX138" fmla="*/ 497227 w 4519987"/>
                  <a:gd name="connsiteY138" fmla="*/ 828675 h 4496940"/>
                  <a:gd name="connsiteX139" fmla="*/ 535327 w 4519987"/>
                  <a:gd name="connsiteY139" fmla="*/ 800100 h 4496940"/>
                  <a:gd name="connsiteX140" fmla="*/ 602002 w 4519987"/>
                  <a:gd name="connsiteY140" fmla="*/ 733425 h 4496940"/>
                  <a:gd name="connsiteX141" fmla="*/ 668677 w 4519987"/>
                  <a:gd name="connsiteY141" fmla="*/ 676275 h 4496940"/>
                  <a:gd name="connsiteX142" fmla="*/ 697252 w 4519987"/>
                  <a:gd name="connsiteY142" fmla="*/ 657225 h 4496940"/>
                  <a:gd name="connsiteX143" fmla="*/ 840127 w 4519987"/>
                  <a:gd name="connsiteY143" fmla="*/ 533400 h 4496940"/>
                  <a:gd name="connsiteX144" fmla="*/ 887752 w 4519987"/>
                  <a:gd name="connsiteY144" fmla="*/ 504825 h 4496940"/>
                  <a:gd name="connsiteX145" fmla="*/ 1167152 w 4519987"/>
                  <a:gd name="connsiteY145" fmla="*/ 311150 h 4496940"/>
                  <a:gd name="connsiteX146" fmla="*/ 1268752 w 4519987"/>
                  <a:gd name="connsiteY146" fmla="*/ 285750 h 4496940"/>
                  <a:gd name="connsiteX147" fmla="*/ 1411627 w 4519987"/>
                  <a:gd name="connsiteY147" fmla="*/ 190500 h 4496940"/>
                  <a:gd name="connsiteX148" fmla="*/ 1449727 w 4519987"/>
                  <a:gd name="connsiteY148" fmla="*/ 161925 h 4496940"/>
                  <a:gd name="connsiteX149" fmla="*/ 1525927 w 4519987"/>
                  <a:gd name="connsiteY149" fmla="*/ 152400 h 4496940"/>
                  <a:gd name="connsiteX150" fmla="*/ 1583077 w 4519987"/>
                  <a:gd name="connsiteY150" fmla="*/ 142875 h 4496940"/>
                  <a:gd name="connsiteX151" fmla="*/ 1716427 w 4519987"/>
                  <a:gd name="connsiteY151" fmla="*/ 123825 h 4496940"/>
                  <a:gd name="connsiteX152" fmla="*/ 1811677 w 4519987"/>
                  <a:gd name="connsiteY152" fmla="*/ 114300 h 4496940"/>
                  <a:gd name="connsiteX153" fmla="*/ 1859302 w 4519987"/>
                  <a:gd name="connsiteY153" fmla="*/ 104775 h 4496940"/>
                  <a:gd name="connsiteX154" fmla="*/ 1916452 w 4519987"/>
                  <a:gd name="connsiteY154" fmla="*/ 95250 h 4496940"/>
                  <a:gd name="connsiteX155" fmla="*/ 2030752 w 4519987"/>
                  <a:gd name="connsiteY155" fmla="*/ 66675 h 4496940"/>
                  <a:gd name="connsiteX156" fmla="*/ 2097427 w 4519987"/>
                  <a:gd name="connsiteY156" fmla="*/ 47625 h 4496940"/>
                  <a:gd name="connsiteX157" fmla="*/ 2164102 w 4519987"/>
                  <a:gd name="connsiteY157" fmla="*/ 38100 h 4496940"/>
                  <a:gd name="connsiteX158" fmla="*/ 2392702 w 4519987"/>
                  <a:gd name="connsiteY15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78627 w 4519987"/>
                  <a:gd name="connsiteY28" fmla="*/ 838200 h 4496940"/>
                  <a:gd name="connsiteX29" fmla="*/ 4107202 w 4519987"/>
                  <a:gd name="connsiteY29" fmla="*/ 876300 h 4496940"/>
                  <a:gd name="connsiteX30" fmla="*/ 4116727 w 4519987"/>
                  <a:gd name="connsiteY30" fmla="*/ 904875 h 4496940"/>
                  <a:gd name="connsiteX31" fmla="*/ 4135777 w 4519987"/>
                  <a:gd name="connsiteY31" fmla="*/ 933450 h 4496940"/>
                  <a:gd name="connsiteX32" fmla="*/ 4164352 w 4519987"/>
                  <a:gd name="connsiteY32" fmla="*/ 990600 h 4496940"/>
                  <a:gd name="connsiteX33" fmla="*/ 4173877 w 4519987"/>
                  <a:gd name="connsiteY33" fmla="*/ 1019175 h 4496940"/>
                  <a:gd name="connsiteX34" fmla="*/ 4192927 w 4519987"/>
                  <a:gd name="connsiteY34" fmla="*/ 1057275 h 4496940"/>
                  <a:gd name="connsiteX35" fmla="*/ 4202452 w 4519987"/>
                  <a:gd name="connsiteY35" fmla="*/ 1085850 h 4496940"/>
                  <a:gd name="connsiteX36" fmla="*/ 4250077 w 4519987"/>
                  <a:gd name="connsiteY36" fmla="*/ 1143000 h 4496940"/>
                  <a:gd name="connsiteX37" fmla="*/ 4259602 w 4519987"/>
                  <a:gd name="connsiteY37" fmla="*/ 1190625 h 4496940"/>
                  <a:gd name="connsiteX38" fmla="*/ 4307227 w 4519987"/>
                  <a:gd name="connsiteY38" fmla="*/ 1266825 h 4496940"/>
                  <a:gd name="connsiteX39" fmla="*/ 4345327 w 4519987"/>
                  <a:gd name="connsiteY39" fmla="*/ 1362075 h 4496940"/>
                  <a:gd name="connsiteX40" fmla="*/ 4373902 w 4519987"/>
                  <a:gd name="connsiteY40" fmla="*/ 1428750 h 4496940"/>
                  <a:gd name="connsiteX41" fmla="*/ 4392952 w 4519987"/>
                  <a:gd name="connsiteY41" fmla="*/ 1552575 h 4496940"/>
                  <a:gd name="connsiteX42" fmla="*/ 4402477 w 4519987"/>
                  <a:gd name="connsiteY42" fmla="*/ 1590675 h 4496940"/>
                  <a:gd name="connsiteX43" fmla="*/ 4431052 w 4519987"/>
                  <a:gd name="connsiteY43" fmla="*/ 1685925 h 4496940"/>
                  <a:gd name="connsiteX44" fmla="*/ 4519952 w 4519987"/>
                  <a:gd name="connsiteY44" fmla="*/ 2181225 h 4496940"/>
                  <a:gd name="connsiteX45" fmla="*/ 4446927 w 4519987"/>
                  <a:gd name="connsiteY45" fmla="*/ 2768600 h 4496940"/>
                  <a:gd name="connsiteX46" fmla="*/ 4383427 w 4519987"/>
                  <a:gd name="connsiteY46" fmla="*/ 2990850 h 4496940"/>
                  <a:gd name="connsiteX47" fmla="*/ 4278652 w 4519987"/>
                  <a:gd name="connsiteY47" fmla="*/ 3248025 h 4496940"/>
                  <a:gd name="connsiteX48" fmla="*/ 4259602 w 4519987"/>
                  <a:gd name="connsiteY48" fmla="*/ 3276600 h 4496940"/>
                  <a:gd name="connsiteX49" fmla="*/ 4221502 w 4519987"/>
                  <a:gd name="connsiteY49" fmla="*/ 3333750 h 4496940"/>
                  <a:gd name="connsiteX50" fmla="*/ 4211977 w 4519987"/>
                  <a:gd name="connsiteY50" fmla="*/ 3362325 h 4496940"/>
                  <a:gd name="connsiteX51" fmla="*/ 4183402 w 4519987"/>
                  <a:gd name="connsiteY51" fmla="*/ 3400425 h 4496940"/>
                  <a:gd name="connsiteX52" fmla="*/ 4164352 w 4519987"/>
                  <a:gd name="connsiteY52" fmla="*/ 3429000 h 4496940"/>
                  <a:gd name="connsiteX53" fmla="*/ 4088152 w 4519987"/>
                  <a:gd name="connsiteY53" fmla="*/ 3495675 h 4496940"/>
                  <a:gd name="connsiteX54" fmla="*/ 4059577 w 4519987"/>
                  <a:gd name="connsiteY54" fmla="*/ 3533775 h 4496940"/>
                  <a:gd name="connsiteX55" fmla="*/ 4002427 w 4519987"/>
                  <a:gd name="connsiteY55" fmla="*/ 3600450 h 4496940"/>
                  <a:gd name="connsiteX56" fmla="*/ 3983377 w 4519987"/>
                  <a:gd name="connsiteY56" fmla="*/ 3629025 h 4496940"/>
                  <a:gd name="connsiteX57" fmla="*/ 3954802 w 4519987"/>
                  <a:gd name="connsiteY57" fmla="*/ 3648075 h 4496940"/>
                  <a:gd name="connsiteX58" fmla="*/ 3907177 w 4519987"/>
                  <a:gd name="connsiteY58" fmla="*/ 3686175 h 4496940"/>
                  <a:gd name="connsiteX59" fmla="*/ 3869077 w 4519987"/>
                  <a:gd name="connsiteY59" fmla="*/ 3724275 h 4496940"/>
                  <a:gd name="connsiteX60" fmla="*/ 3792877 w 4519987"/>
                  <a:gd name="connsiteY60" fmla="*/ 3781425 h 4496940"/>
                  <a:gd name="connsiteX61" fmla="*/ 3783352 w 4519987"/>
                  <a:gd name="connsiteY61" fmla="*/ 3810000 h 4496940"/>
                  <a:gd name="connsiteX62" fmla="*/ 3745252 w 4519987"/>
                  <a:gd name="connsiteY62" fmla="*/ 3819525 h 4496940"/>
                  <a:gd name="connsiteX63" fmla="*/ 3678577 w 4519987"/>
                  <a:gd name="connsiteY63" fmla="*/ 3848100 h 4496940"/>
                  <a:gd name="connsiteX64" fmla="*/ 3659527 w 4519987"/>
                  <a:gd name="connsiteY64" fmla="*/ 3971925 h 4496940"/>
                  <a:gd name="connsiteX65" fmla="*/ 3630952 w 4519987"/>
                  <a:gd name="connsiteY65" fmla="*/ 4010025 h 4496940"/>
                  <a:gd name="connsiteX66" fmla="*/ 3621427 w 4519987"/>
                  <a:gd name="connsiteY66" fmla="*/ 4038600 h 4496940"/>
                  <a:gd name="connsiteX67" fmla="*/ 3554752 w 4519987"/>
                  <a:gd name="connsiteY67" fmla="*/ 4095750 h 4496940"/>
                  <a:gd name="connsiteX68" fmla="*/ 3516652 w 4519987"/>
                  <a:gd name="connsiteY68" fmla="*/ 4114800 h 4496940"/>
                  <a:gd name="connsiteX69" fmla="*/ 3497602 w 4519987"/>
                  <a:gd name="connsiteY69" fmla="*/ 4143375 h 4496940"/>
                  <a:gd name="connsiteX70" fmla="*/ 3383302 w 4519987"/>
                  <a:gd name="connsiteY70" fmla="*/ 4210050 h 4496940"/>
                  <a:gd name="connsiteX71" fmla="*/ 3335677 w 4519987"/>
                  <a:gd name="connsiteY71" fmla="*/ 4238625 h 4496940"/>
                  <a:gd name="connsiteX72" fmla="*/ 3288052 w 4519987"/>
                  <a:gd name="connsiteY72" fmla="*/ 4248150 h 4496940"/>
                  <a:gd name="connsiteX73" fmla="*/ 3240427 w 4519987"/>
                  <a:gd name="connsiteY73" fmla="*/ 4267200 h 4496940"/>
                  <a:gd name="connsiteX74" fmla="*/ 3068977 w 4519987"/>
                  <a:gd name="connsiteY74" fmla="*/ 4286250 h 4496940"/>
                  <a:gd name="connsiteX75" fmla="*/ 2935627 w 4519987"/>
                  <a:gd name="connsiteY75" fmla="*/ 4333875 h 4496940"/>
                  <a:gd name="connsiteX76" fmla="*/ 2811802 w 4519987"/>
                  <a:gd name="connsiteY76" fmla="*/ 4371975 h 4496940"/>
                  <a:gd name="connsiteX77" fmla="*/ 2745127 w 4519987"/>
                  <a:gd name="connsiteY77" fmla="*/ 4410075 h 4496940"/>
                  <a:gd name="connsiteX78" fmla="*/ 2697502 w 4519987"/>
                  <a:gd name="connsiteY78" fmla="*/ 4429125 h 4496940"/>
                  <a:gd name="connsiteX79" fmla="*/ 2640352 w 4519987"/>
                  <a:gd name="connsiteY79" fmla="*/ 4457700 h 4496940"/>
                  <a:gd name="connsiteX80" fmla="*/ 2583202 w 4519987"/>
                  <a:gd name="connsiteY80" fmla="*/ 4467225 h 4496940"/>
                  <a:gd name="connsiteX81" fmla="*/ 2545102 w 4519987"/>
                  <a:gd name="connsiteY81" fmla="*/ 4486275 h 4496940"/>
                  <a:gd name="connsiteX82" fmla="*/ 2306977 w 4519987"/>
                  <a:gd name="connsiteY82" fmla="*/ 4476750 h 4496940"/>
                  <a:gd name="connsiteX83" fmla="*/ 2202202 w 4519987"/>
                  <a:gd name="connsiteY83" fmla="*/ 4457700 h 4496940"/>
                  <a:gd name="connsiteX84" fmla="*/ 2126002 w 4519987"/>
                  <a:gd name="connsiteY84" fmla="*/ 4429125 h 4496940"/>
                  <a:gd name="connsiteX85" fmla="*/ 1935502 w 4519987"/>
                  <a:gd name="connsiteY85" fmla="*/ 4400550 h 4496940"/>
                  <a:gd name="connsiteX86" fmla="*/ 1821202 w 4519987"/>
                  <a:gd name="connsiteY86" fmla="*/ 4371975 h 4496940"/>
                  <a:gd name="connsiteX87" fmla="*/ 1754527 w 4519987"/>
                  <a:gd name="connsiteY87" fmla="*/ 4352925 h 4496940"/>
                  <a:gd name="connsiteX88" fmla="*/ 1687852 w 4519987"/>
                  <a:gd name="connsiteY88" fmla="*/ 4343400 h 4496940"/>
                  <a:gd name="connsiteX89" fmla="*/ 1573552 w 4519987"/>
                  <a:gd name="connsiteY89" fmla="*/ 4305300 h 4496940"/>
                  <a:gd name="connsiteX90" fmla="*/ 1402102 w 4519987"/>
                  <a:gd name="connsiteY90" fmla="*/ 4276725 h 4496940"/>
                  <a:gd name="connsiteX91" fmla="*/ 1287802 w 4519987"/>
                  <a:gd name="connsiteY91" fmla="*/ 4229100 h 4496940"/>
                  <a:gd name="connsiteX92" fmla="*/ 1221127 w 4519987"/>
                  <a:gd name="connsiteY92" fmla="*/ 4200525 h 4496940"/>
                  <a:gd name="connsiteX93" fmla="*/ 1144927 w 4519987"/>
                  <a:gd name="connsiteY93" fmla="*/ 4171950 h 4496940"/>
                  <a:gd name="connsiteX94" fmla="*/ 1087777 w 4519987"/>
                  <a:gd name="connsiteY94" fmla="*/ 4143375 h 4496940"/>
                  <a:gd name="connsiteX95" fmla="*/ 1030627 w 4519987"/>
                  <a:gd name="connsiteY95" fmla="*/ 4124325 h 4496940"/>
                  <a:gd name="connsiteX96" fmla="*/ 925852 w 4519987"/>
                  <a:gd name="connsiteY96" fmla="*/ 4067175 h 4496940"/>
                  <a:gd name="connsiteX97" fmla="*/ 830602 w 4519987"/>
                  <a:gd name="connsiteY97" fmla="*/ 3981450 h 4496940"/>
                  <a:gd name="connsiteX98" fmla="*/ 763927 w 4519987"/>
                  <a:gd name="connsiteY98" fmla="*/ 3914775 h 4496940"/>
                  <a:gd name="connsiteX99" fmla="*/ 725827 w 4519987"/>
                  <a:gd name="connsiteY99" fmla="*/ 3876675 h 4496940"/>
                  <a:gd name="connsiteX100" fmla="*/ 697252 w 4519987"/>
                  <a:gd name="connsiteY100" fmla="*/ 3838575 h 4496940"/>
                  <a:gd name="connsiteX101" fmla="*/ 640102 w 4519987"/>
                  <a:gd name="connsiteY101" fmla="*/ 3781425 h 4496940"/>
                  <a:gd name="connsiteX102" fmla="*/ 611527 w 4519987"/>
                  <a:gd name="connsiteY102" fmla="*/ 3733800 h 4496940"/>
                  <a:gd name="connsiteX103" fmla="*/ 554377 w 4519987"/>
                  <a:gd name="connsiteY103" fmla="*/ 3657600 h 4496940"/>
                  <a:gd name="connsiteX104" fmla="*/ 525802 w 4519987"/>
                  <a:gd name="connsiteY104" fmla="*/ 3609975 h 4496940"/>
                  <a:gd name="connsiteX105" fmla="*/ 497227 w 4519987"/>
                  <a:gd name="connsiteY105" fmla="*/ 3552825 h 4496940"/>
                  <a:gd name="connsiteX106" fmla="*/ 440077 w 4519987"/>
                  <a:gd name="connsiteY106" fmla="*/ 3495675 h 4496940"/>
                  <a:gd name="connsiteX107" fmla="*/ 411502 w 4519987"/>
                  <a:gd name="connsiteY107" fmla="*/ 3448050 h 4496940"/>
                  <a:gd name="connsiteX108" fmla="*/ 278152 w 4519987"/>
                  <a:gd name="connsiteY108" fmla="*/ 3257550 h 4496940"/>
                  <a:gd name="connsiteX109" fmla="*/ 249577 w 4519987"/>
                  <a:gd name="connsiteY109" fmla="*/ 3200400 h 4496940"/>
                  <a:gd name="connsiteX110" fmla="*/ 240052 w 4519987"/>
                  <a:gd name="connsiteY110" fmla="*/ 3162300 h 4496940"/>
                  <a:gd name="connsiteX111" fmla="*/ 221002 w 4519987"/>
                  <a:gd name="connsiteY111" fmla="*/ 3105150 h 4496940"/>
                  <a:gd name="connsiteX112" fmla="*/ 173377 w 4519987"/>
                  <a:gd name="connsiteY112" fmla="*/ 3019425 h 4496940"/>
                  <a:gd name="connsiteX113" fmla="*/ 144802 w 4519987"/>
                  <a:gd name="connsiteY113" fmla="*/ 2924175 h 4496940"/>
                  <a:gd name="connsiteX114" fmla="*/ 68602 w 4519987"/>
                  <a:gd name="connsiteY114" fmla="*/ 2724150 h 4496940"/>
                  <a:gd name="connsiteX115" fmla="*/ 49552 w 4519987"/>
                  <a:gd name="connsiteY115" fmla="*/ 2638425 h 4496940"/>
                  <a:gd name="connsiteX116" fmla="*/ 40027 w 4519987"/>
                  <a:gd name="connsiteY116" fmla="*/ 2562225 h 4496940"/>
                  <a:gd name="connsiteX117" fmla="*/ 30502 w 4519987"/>
                  <a:gd name="connsiteY117" fmla="*/ 2514600 h 4496940"/>
                  <a:gd name="connsiteX118" fmla="*/ 11452 w 4519987"/>
                  <a:gd name="connsiteY118" fmla="*/ 2400300 h 4496940"/>
                  <a:gd name="connsiteX119" fmla="*/ 20977 w 4519987"/>
                  <a:gd name="connsiteY119" fmla="*/ 1905000 h 4496940"/>
                  <a:gd name="connsiteX120" fmla="*/ 30502 w 4519987"/>
                  <a:gd name="connsiteY120" fmla="*/ 1838325 h 4496940"/>
                  <a:gd name="connsiteX121" fmla="*/ 49552 w 4519987"/>
                  <a:gd name="connsiteY121" fmla="*/ 1781175 h 4496940"/>
                  <a:gd name="connsiteX122" fmla="*/ 59077 w 4519987"/>
                  <a:gd name="connsiteY122" fmla="*/ 1743075 h 4496940"/>
                  <a:gd name="connsiteX123" fmla="*/ 78127 w 4519987"/>
                  <a:gd name="connsiteY123" fmla="*/ 1685925 h 4496940"/>
                  <a:gd name="connsiteX124" fmla="*/ 87652 w 4519987"/>
                  <a:gd name="connsiteY124" fmla="*/ 1638300 h 4496940"/>
                  <a:gd name="connsiteX125" fmla="*/ 106702 w 4519987"/>
                  <a:gd name="connsiteY125" fmla="*/ 1590675 h 4496940"/>
                  <a:gd name="connsiteX126" fmla="*/ 135277 w 4519987"/>
                  <a:gd name="connsiteY126" fmla="*/ 1504950 h 4496940"/>
                  <a:gd name="connsiteX127" fmla="*/ 154327 w 4519987"/>
                  <a:gd name="connsiteY127" fmla="*/ 1419225 h 4496940"/>
                  <a:gd name="connsiteX128" fmla="*/ 230527 w 4519987"/>
                  <a:gd name="connsiteY128" fmla="*/ 1276350 h 4496940"/>
                  <a:gd name="connsiteX129" fmla="*/ 240052 w 4519987"/>
                  <a:gd name="connsiteY129" fmla="*/ 1247775 h 4496940"/>
                  <a:gd name="connsiteX130" fmla="*/ 268627 w 4519987"/>
                  <a:gd name="connsiteY130" fmla="*/ 1200150 h 4496940"/>
                  <a:gd name="connsiteX131" fmla="*/ 287677 w 4519987"/>
                  <a:gd name="connsiteY131" fmla="*/ 1152525 h 4496940"/>
                  <a:gd name="connsiteX132" fmla="*/ 316252 w 4519987"/>
                  <a:gd name="connsiteY132" fmla="*/ 1114425 h 4496940"/>
                  <a:gd name="connsiteX133" fmla="*/ 363877 w 4519987"/>
                  <a:gd name="connsiteY133" fmla="*/ 1038225 h 4496940"/>
                  <a:gd name="connsiteX134" fmla="*/ 382927 w 4519987"/>
                  <a:gd name="connsiteY134" fmla="*/ 1009650 h 4496940"/>
                  <a:gd name="connsiteX135" fmla="*/ 440077 w 4519987"/>
                  <a:gd name="connsiteY135" fmla="*/ 904875 h 4496940"/>
                  <a:gd name="connsiteX136" fmla="*/ 478177 w 4519987"/>
                  <a:gd name="connsiteY136" fmla="*/ 857250 h 4496940"/>
                  <a:gd name="connsiteX137" fmla="*/ 497227 w 4519987"/>
                  <a:gd name="connsiteY137" fmla="*/ 828675 h 4496940"/>
                  <a:gd name="connsiteX138" fmla="*/ 535327 w 4519987"/>
                  <a:gd name="connsiteY138" fmla="*/ 800100 h 4496940"/>
                  <a:gd name="connsiteX139" fmla="*/ 602002 w 4519987"/>
                  <a:gd name="connsiteY139" fmla="*/ 733425 h 4496940"/>
                  <a:gd name="connsiteX140" fmla="*/ 668677 w 4519987"/>
                  <a:gd name="connsiteY140" fmla="*/ 676275 h 4496940"/>
                  <a:gd name="connsiteX141" fmla="*/ 697252 w 4519987"/>
                  <a:gd name="connsiteY141" fmla="*/ 657225 h 4496940"/>
                  <a:gd name="connsiteX142" fmla="*/ 840127 w 4519987"/>
                  <a:gd name="connsiteY142" fmla="*/ 533400 h 4496940"/>
                  <a:gd name="connsiteX143" fmla="*/ 887752 w 4519987"/>
                  <a:gd name="connsiteY143" fmla="*/ 504825 h 4496940"/>
                  <a:gd name="connsiteX144" fmla="*/ 1167152 w 4519987"/>
                  <a:gd name="connsiteY144" fmla="*/ 311150 h 4496940"/>
                  <a:gd name="connsiteX145" fmla="*/ 1268752 w 4519987"/>
                  <a:gd name="connsiteY145" fmla="*/ 285750 h 4496940"/>
                  <a:gd name="connsiteX146" fmla="*/ 1411627 w 4519987"/>
                  <a:gd name="connsiteY146" fmla="*/ 190500 h 4496940"/>
                  <a:gd name="connsiteX147" fmla="*/ 1449727 w 4519987"/>
                  <a:gd name="connsiteY147" fmla="*/ 161925 h 4496940"/>
                  <a:gd name="connsiteX148" fmla="*/ 1525927 w 4519987"/>
                  <a:gd name="connsiteY148" fmla="*/ 152400 h 4496940"/>
                  <a:gd name="connsiteX149" fmla="*/ 1583077 w 4519987"/>
                  <a:gd name="connsiteY149" fmla="*/ 142875 h 4496940"/>
                  <a:gd name="connsiteX150" fmla="*/ 1716427 w 4519987"/>
                  <a:gd name="connsiteY150" fmla="*/ 123825 h 4496940"/>
                  <a:gd name="connsiteX151" fmla="*/ 1811677 w 4519987"/>
                  <a:gd name="connsiteY151" fmla="*/ 114300 h 4496940"/>
                  <a:gd name="connsiteX152" fmla="*/ 1859302 w 4519987"/>
                  <a:gd name="connsiteY152" fmla="*/ 104775 h 4496940"/>
                  <a:gd name="connsiteX153" fmla="*/ 1916452 w 4519987"/>
                  <a:gd name="connsiteY153" fmla="*/ 95250 h 4496940"/>
                  <a:gd name="connsiteX154" fmla="*/ 2030752 w 4519987"/>
                  <a:gd name="connsiteY154" fmla="*/ 66675 h 4496940"/>
                  <a:gd name="connsiteX155" fmla="*/ 2097427 w 4519987"/>
                  <a:gd name="connsiteY155" fmla="*/ 47625 h 4496940"/>
                  <a:gd name="connsiteX156" fmla="*/ 2164102 w 4519987"/>
                  <a:gd name="connsiteY156" fmla="*/ 38100 h 4496940"/>
                  <a:gd name="connsiteX157" fmla="*/ 2392702 w 4519987"/>
                  <a:gd name="connsiteY15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78627 w 4519987"/>
                  <a:gd name="connsiteY28" fmla="*/ 838200 h 4496940"/>
                  <a:gd name="connsiteX29" fmla="*/ 4107202 w 4519987"/>
                  <a:gd name="connsiteY29" fmla="*/ 876300 h 4496940"/>
                  <a:gd name="connsiteX30" fmla="*/ 4135777 w 4519987"/>
                  <a:gd name="connsiteY30" fmla="*/ 933450 h 4496940"/>
                  <a:gd name="connsiteX31" fmla="*/ 4164352 w 4519987"/>
                  <a:gd name="connsiteY31" fmla="*/ 990600 h 4496940"/>
                  <a:gd name="connsiteX32" fmla="*/ 4173877 w 4519987"/>
                  <a:gd name="connsiteY32" fmla="*/ 1019175 h 4496940"/>
                  <a:gd name="connsiteX33" fmla="*/ 4192927 w 4519987"/>
                  <a:gd name="connsiteY33" fmla="*/ 1057275 h 4496940"/>
                  <a:gd name="connsiteX34" fmla="*/ 4202452 w 4519987"/>
                  <a:gd name="connsiteY34" fmla="*/ 1085850 h 4496940"/>
                  <a:gd name="connsiteX35" fmla="*/ 4250077 w 4519987"/>
                  <a:gd name="connsiteY35" fmla="*/ 1143000 h 4496940"/>
                  <a:gd name="connsiteX36" fmla="*/ 4259602 w 4519987"/>
                  <a:gd name="connsiteY36" fmla="*/ 1190625 h 4496940"/>
                  <a:gd name="connsiteX37" fmla="*/ 4307227 w 4519987"/>
                  <a:gd name="connsiteY37" fmla="*/ 1266825 h 4496940"/>
                  <a:gd name="connsiteX38" fmla="*/ 4345327 w 4519987"/>
                  <a:gd name="connsiteY38" fmla="*/ 1362075 h 4496940"/>
                  <a:gd name="connsiteX39" fmla="*/ 4373902 w 4519987"/>
                  <a:gd name="connsiteY39" fmla="*/ 1428750 h 4496940"/>
                  <a:gd name="connsiteX40" fmla="*/ 4392952 w 4519987"/>
                  <a:gd name="connsiteY40" fmla="*/ 1552575 h 4496940"/>
                  <a:gd name="connsiteX41" fmla="*/ 4402477 w 4519987"/>
                  <a:gd name="connsiteY41" fmla="*/ 1590675 h 4496940"/>
                  <a:gd name="connsiteX42" fmla="*/ 4431052 w 4519987"/>
                  <a:gd name="connsiteY42" fmla="*/ 1685925 h 4496940"/>
                  <a:gd name="connsiteX43" fmla="*/ 4519952 w 4519987"/>
                  <a:gd name="connsiteY43" fmla="*/ 2181225 h 4496940"/>
                  <a:gd name="connsiteX44" fmla="*/ 4446927 w 4519987"/>
                  <a:gd name="connsiteY44" fmla="*/ 2768600 h 4496940"/>
                  <a:gd name="connsiteX45" fmla="*/ 4383427 w 4519987"/>
                  <a:gd name="connsiteY45" fmla="*/ 2990850 h 4496940"/>
                  <a:gd name="connsiteX46" fmla="*/ 4278652 w 4519987"/>
                  <a:gd name="connsiteY46" fmla="*/ 3248025 h 4496940"/>
                  <a:gd name="connsiteX47" fmla="*/ 4259602 w 4519987"/>
                  <a:gd name="connsiteY47" fmla="*/ 3276600 h 4496940"/>
                  <a:gd name="connsiteX48" fmla="*/ 4221502 w 4519987"/>
                  <a:gd name="connsiteY48" fmla="*/ 3333750 h 4496940"/>
                  <a:gd name="connsiteX49" fmla="*/ 4211977 w 4519987"/>
                  <a:gd name="connsiteY49" fmla="*/ 3362325 h 4496940"/>
                  <a:gd name="connsiteX50" fmla="*/ 4183402 w 4519987"/>
                  <a:gd name="connsiteY50" fmla="*/ 3400425 h 4496940"/>
                  <a:gd name="connsiteX51" fmla="*/ 4164352 w 4519987"/>
                  <a:gd name="connsiteY51" fmla="*/ 3429000 h 4496940"/>
                  <a:gd name="connsiteX52" fmla="*/ 4088152 w 4519987"/>
                  <a:gd name="connsiteY52" fmla="*/ 3495675 h 4496940"/>
                  <a:gd name="connsiteX53" fmla="*/ 4059577 w 4519987"/>
                  <a:gd name="connsiteY53" fmla="*/ 3533775 h 4496940"/>
                  <a:gd name="connsiteX54" fmla="*/ 4002427 w 4519987"/>
                  <a:gd name="connsiteY54" fmla="*/ 3600450 h 4496940"/>
                  <a:gd name="connsiteX55" fmla="*/ 3983377 w 4519987"/>
                  <a:gd name="connsiteY55" fmla="*/ 3629025 h 4496940"/>
                  <a:gd name="connsiteX56" fmla="*/ 3954802 w 4519987"/>
                  <a:gd name="connsiteY56" fmla="*/ 3648075 h 4496940"/>
                  <a:gd name="connsiteX57" fmla="*/ 3907177 w 4519987"/>
                  <a:gd name="connsiteY57" fmla="*/ 3686175 h 4496940"/>
                  <a:gd name="connsiteX58" fmla="*/ 3869077 w 4519987"/>
                  <a:gd name="connsiteY58" fmla="*/ 3724275 h 4496940"/>
                  <a:gd name="connsiteX59" fmla="*/ 3792877 w 4519987"/>
                  <a:gd name="connsiteY59" fmla="*/ 3781425 h 4496940"/>
                  <a:gd name="connsiteX60" fmla="*/ 3783352 w 4519987"/>
                  <a:gd name="connsiteY60" fmla="*/ 3810000 h 4496940"/>
                  <a:gd name="connsiteX61" fmla="*/ 3745252 w 4519987"/>
                  <a:gd name="connsiteY61" fmla="*/ 3819525 h 4496940"/>
                  <a:gd name="connsiteX62" fmla="*/ 3678577 w 4519987"/>
                  <a:gd name="connsiteY62" fmla="*/ 3848100 h 4496940"/>
                  <a:gd name="connsiteX63" fmla="*/ 3659527 w 4519987"/>
                  <a:gd name="connsiteY63" fmla="*/ 3971925 h 4496940"/>
                  <a:gd name="connsiteX64" fmla="*/ 3630952 w 4519987"/>
                  <a:gd name="connsiteY64" fmla="*/ 4010025 h 4496940"/>
                  <a:gd name="connsiteX65" fmla="*/ 3621427 w 4519987"/>
                  <a:gd name="connsiteY65" fmla="*/ 4038600 h 4496940"/>
                  <a:gd name="connsiteX66" fmla="*/ 3554752 w 4519987"/>
                  <a:gd name="connsiteY66" fmla="*/ 4095750 h 4496940"/>
                  <a:gd name="connsiteX67" fmla="*/ 3516652 w 4519987"/>
                  <a:gd name="connsiteY67" fmla="*/ 4114800 h 4496940"/>
                  <a:gd name="connsiteX68" fmla="*/ 3497602 w 4519987"/>
                  <a:gd name="connsiteY68" fmla="*/ 4143375 h 4496940"/>
                  <a:gd name="connsiteX69" fmla="*/ 3383302 w 4519987"/>
                  <a:gd name="connsiteY69" fmla="*/ 4210050 h 4496940"/>
                  <a:gd name="connsiteX70" fmla="*/ 3335677 w 4519987"/>
                  <a:gd name="connsiteY70" fmla="*/ 4238625 h 4496940"/>
                  <a:gd name="connsiteX71" fmla="*/ 3288052 w 4519987"/>
                  <a:gd name="connsiteY71" fmla="*/ 4248150 h 4496940"/>
                  <a:gd name="connsiteX72" fmla="*/ 3240427 w 4519987"/>
                  <a:gd name="connsiteY72" fmla="*/ 4267200 h 4496940"/>
                  <a:gd name="connsiteX73" fmla="*/ 3068977 w 4519987"/>
                  <a:gd name="connsiteY73" fmla="*/ 4286250 h 4496940"/>
                  <a:gd name="connsiteX74" fmla="*/ 2935627 w 4519987"/>
                  <a:gd name="connsiteY74" fmla="*/ 4333875 h 4496940"/>
                  <a:gd name="connsiteX75" fmla="*/ 2811802 w 4519987"/>
                  <a:gd name="connsiteY75" fmla="*/ 4371975 h 4496940"/>
                  <a:gd name="connsiteX76" fmla="*/ 2745127 w 4519987"/>
                  <a:gd name="connsiteY76" fmla="*/ 4410075 h 4496940"/>
                  <a:gd name="connsiteX77" fmla="*/ 2697502 w 4519987"/>
                  <a:gd name="connsiteY77" fmla="*/ 4429125 h 4496940"/>
                  <a:gd name="connsiteX78" fmla="*/ 2640352 w 4519987"/>
                  <a:gd name="connsiteY78" fmla="*/ 4457700 h 4496940"/>
                  <a:gd name="connsiteX79" fmla="*/ 2583202 w 4519987"/>
                  <a:gd name="connsiteY79" fmla="*/ 4467225 h 4496940"/>
                  <a:gd name="connsiteX80" fmla="*/ 2545102 w 4519987"/>
                  <a:gd name="connsiteY80" fmla="*/ 4486275 h 4496940"/>
                  <a:gd name="connsiteX81" fmla="*/ 2306977 w 4519987"/>
                  <a:gd name="connsiteY81" fmla="*/ 4476750 h 4496940"/>
                  <a:gd name="connsiteX82" fmla="*/ 2202202 w 4519987"/>
                  <a:gd name="connsiteY82" fmla="*/ 4457700 h 4496940"/>
                  <a:gd name="connsiteX83" fmla="*/ 2126002 w 4519987"/>
                  <a:gd name="connsiteY83" fmla="*/ 4429125 h 4496940"/>
                  <a:gd name="connsiteX84" fmla="*/ 1935502 w 4519987"/>
                  <a:gd name="connsiteY84" fmla="*/ 4400550 h 4496940"/>
                  <a:gd name="connsiteX85" fmla="*/ 1821202 w 4519987"/>
                  <a:gd name="connsiteY85" fmla="*/ 4371975 h 4496940"/>
                  <a:gd name="connsiteX86" fmla="*/ 1754527 w 4519987"/>
                  <a:gd name="connsiteY86" fmla="*/ 4352925 h 4496940"/>
                  <a:gd name="connsiteX87" fmla="*/ 1687852 w 4519987"/>
                  <a:gd name="connsiteY87" fmla="*/ 4343400 h 4496940"/>
                  <a:gd name="connsiteX88" fmla="*/ 1573552 w 4519987"/>
                  <a:gd name="connsiteY88" fmla="*/ 4305300 h 4496940"/>
                  <a:gd name="connsiteX89" fmla="*/ 1402102 w 4519987"/>
                  <a:gd name="connsiteY89" fmla="*/ 4276725 h 4496940"/>
                  <a:gd name="connsiteX90" fmla="*/ 1287802 w 4519987"/>
                  <a:gd name="connsiteY90" fmla="*/ 4229100 h 4496940"/>
                  <a:gd name="connsiteX91" fmla="*/ 1221127 w 4519987"/>
                  <a:gd name="connsiteY91" fmla="*/ 4200525 h 4496940"/>
                  <a:gd name="connsiteX92" fmla="*/ 1144927 w 4519987"/>
                  <a:gd name="connsiteY92" fmla="*/ 4171950 h 4496940"/>
                  <a:gd name="connsiteX93" fmla="*/ 1087777 w 4519987"/>
                  <a:gd name="connsiteY93" fmla="*/ 4143375 h 4496940"/>
                  <a:gd name="connsiteX94" fmla="*/ 1030627 w 4519987"/>
                  <a:gd name="connsiteY94" fmla="*/ 4124325 h 4496940"/>
                  <a:gd name="connsiteX95" fmla="*/ 925852 w 4519987"/>
                  <a:gd name="connsiteY95" fmla="*/ 4067175 h 4496940"/>
                  <a:gd name="connsiteX96" fmla="*/ 830602 w 4519987"/>
                  <a:gd name="connsiteY96" fmla="*/ 3981450 h 4496940"/>
                  <a:gd name="connsiteX97" fmla="*/ 763927 w 4519987"/>
                  <a:gd name="connsiteY97" fmla="*/ 3914775 h 4496940"/>
                  <a:gd name="connsiteX98" fmla="*/ 725827 w 4519987"/>
                  <a:gd name="connsiteY98" fmla="*/ 3876675 h 4496940"/>
                  <a:gd name="connsiteX99" fmla="*/ 697252 w 4519987"/>
                  <a:gd name="connsiteY99" fmla="*/ 3838575 h 4496940"/>
                  <a:gd name="connsiteX100" fmla="*/ 640102 w 4519987"/>
                  <a:gd name="connsiteY100" fmla="*/ 3781425 h 4496940"/>
                  <a:gd name="connsiteX101" fmla="*/ 611527 w 4519987"/>
                  <a:gd name="connsiteY101" fmla="*/ 3733800 h 4496940"/>
                  <a:gd name="connsiteX102" fmla="*/ 554377 w 4519987"/>
                  <a:gd name="connsiteY102" fmla="*/ 3657600 h 4496940"/>
                  <a:gd name="connsiteX103" fmla="*/ 525802 w 4519987"/>
                  <a:gd name="connsiteY103" fmla="*/ 3609975 h 4496940"/>
                  <a:gd name="connsiteX104" fmla="*/ 497227 w 4519987"/>
                  <a:gd name="connsiteY104" fmla="*/ 3552825 h 4496940"/>
                  <a:gd name="connsiteX105" fmla="*/ 440077 w 4519987"/>
                  <a:gd name="connsiteY105" fmla="*/ 3495675 h 4496940"/>
                  <a:gd name="connsiteX106" fmla="*/ 411502 w 4519987"/>
                  <a:gd name="connsiteY106" fmla="*/ 3448050 h 4496940"/>
                  <a:gd name="connsiteX107" fmla="*/ 278152 w 4519987"/>
                  <a:gd name="connsiteY107" fmla="*/ 3257550 h 4496940"/>
                  <a:gd name="connsiteX108" fmla="*/ 249577 w 4519987"/>
                  <a:gd name="connsiteY108" fmla="*/ 3200400 h 4496940"/>
                  <a:gd name="connsiteX109" fmla="*/ 240052 w 4519987"/>
                  <a:gd name="connsiteY109" fmla="*/ 3162300 h 4496940"/>
                  <a:gd name="connsiteX110" fmla="*/ 221002 w 4519987"/>
                  <a:gd name="connsiteY110" fmla="*/ 3105150 h 4496940"/>
                  <a:gd name="connsiteX111" fmla="*/ 173377 w 4519987"/>
                  <a:gd name="connsiteY111" fmla="*/ 3019425 h 4496940"/>
                  <a:gd name="connsiteX112" fmla="*/ 144802 w 4519987"/>
                  <a:gd name="connsiteY112" fmla="*/ 2924175 h 4496940"/>
                  <a:gd name="connsiteX113" fmla="*/ 68602 w 4519987"/>
                  <a:gd name="connsiteY113" fmla="*/ 2724150 h 4496940"/>
                  <a:gd name="connsiteX114" fmla="*/ 49552 w 4519987"/>
                  <a:gd name="connsiteY114" fmla="*/ 2638425 h 4496940"/>
                  <a:gd name="connsiteX115" fmla="*/ 40027 w 4519987"/>
                  <a:gd name="connsiteY115" fmla="*/ 2562225 h 4496940"/>
                  <a:gd name="connsiteX116" fmla="*/ 30502 w 4519987"/>
                  <a:gd name="connsiteY116" fmla="*/ 2514600 h 4496940"/>
                  <a:gd name="connsiteX117" fmla="*/ 11452 w 4519987"/>
                  <a:gd name="connsiteY117" fmla="*/ 2400300 h 4496940"/>
                  <a:gd name="connsiteX118" fmla="*/ 20977 w 4519987"/>
                  <a:gd name="connsiteY118" fmla="*/ 1905000 h 4496940"/>
                  <a:gd name="connsiteX119" fmla="*/ 30502 w 4519987"/>
                  <a:gd name="connsiteY119" fmla="*/ 1838325 h 4496940"/>
                  <a:gd name="connsiteX120" fmla="*/ 49552 w 4519987"/>
                  <a:gd name="connsiteY120" fmla="*/ 1781175 h 4496940"/>
                  <a:gd name="connsiteX121" fmla="*/ 59077 w 4519987"/>
                  <a:gd name="connsiteY121" fmla="*/ 1743075 h 4496940"/>
                  <a:gd name="connsiteX122" fmla="*/ 78127 w 4519987"/>
                  <a:gd name="connsiteY122" fmla="*/ 1685925 h 4496940"/>
                  <a:gd name="connsiteX123" fmla="*/ 87652 w 4519987"/>
                  <a:gd name="connsiteY123" fmla="*/ 1638300 h 4496940"/>
                  <a:gd name="connsiteX124" fmla="*/ 106702 w 4519987"/>
                  <a:gd name="connsiteY124" fmla="*/ 1590675 h 4496940"/>
                  <a:gd name="connsiteX125" fmla="*/ 135277 w 4519987"/>
                  <a:gd name="connsiteY125" fmla="*/ 1504950 h 4496940"/>
                  <a:gd name="connsiteX126" fmla="*/ 154327 w 4519987"/>
                  <a:gd name="connsiteY126" fmla="*/ 1419225 h 4496940"/>
                  <a:gd name="connsiteX127" fmla="*/ 230527 w 4519987"/>
                  <a:gd name="connsiteY127" fmla="*/ 1276350 h 4496940"/>
                  <a:gd name="connsiteX128" fmla="*/ 240052 w 4519987"/>
                  <a:gd name="connsiteY128" fmla="*/ 1247775 h 4496940"/>
                  <a:gd name="connsiteX129" fmla="*/ 268627 w 4519987"/>
                  <a:gd name="connsiteY129" fmla="*/ 1200150 h 4496940"/>
                  <a:gd name="connsiteX130" fmla="*/ 287677 w 4519987"/>
                  <a:gd name="connsiteY130" fmla="*/ 1152525 h 4496940"/>
                  <a:gd name="connsiteX131" fmla="*/ 316252 w 4519987"/>
                  <a:gd name="connsiteY131" fmla="*/ 1114425 h 4496940"/>
                  <a:gd name="connsiteX132" fmla="*/ 363877 w 4519987"/>
                  <a:gd name="connsiteY132" fmla="*/ 1038225 h 4496940"/>
                  <a:gd name="connsiteX133" fmla="*/ 382927 w 4519987"/>
                  <a:gd name="connsiteY133" fmla="*/ 1009650 h 4496940"/>
                  <a:gd name="connsiteX134" fmla="*/ 440077 w 4519987"/>
                  <a:gd name="connsiteY134" fmla="*/ 904875 h 4496940"/>
                  <a:gd name="connsiteX135" fmla="*/ 478177 w 4519987"/>
                  <a:gd name="connsiteY135" fmla="*/ 857250 h 4496940"/>
                  <a:gd name="connsiteX136" fmla="*/ 497227 w 4519987"/>
                  <a:gd name="connsiteY136" fmla="*/ 828675 h 4496940"/>
                  <a:gd name="connsiteX137" fmla="*/ 535327 w 4519987"/>
                  <a:gd name="connsiteY137" fmla="*/ 800100 h 4496940"/>
                  <a:gd name="connsiteX138" fmla="*/ 602002 w 4519987"/>
                  <a:gd name="connsiteY138" fmla="*/ 733425 h 4496940"/>
                  <a:gd name="connsiteX139" fmla="*/ 668677 w 4519987"/>
                  <a:gd name="connsiteY139" fmla="*/ 676275 h 4496940"/>
                  <a:gd name="connsiteX140" fmla="*/ 697252 w 4519987"/>
                  <a:gd name="connsiteY140" fmla="*/ 657225 h 4496940"/>
                  <a:gd name="connsiteX141" fmla="*/ 840127 w 4519987"/>
                  <a:gd name="connsiteY141" fmla="*/ 533400 h 4496940"/>
                  <a:gd name="connsiteX142" fmla="*/ 887752 w 4519987"/>
                  <a:gd name="connsiteY142" fmla="*/ 504825 h 4496940"/>
                  <a:gd name="connsiteX143" fmla="*/ 1167152 w 4519987"/>
                  <a:gd name="connsiteY143" fmla="*/ 311150 h 4496940"/>
                  <a:gd name="connsiteX144" fmla="*/ 1268752 w 4519987"/>
                  <a:gd name="connsiteY144" fmla="*/ 285750 h 4496940"/>
                  <a:gd name="connsiteX145" fmla="*/ 1411627 w 4519987"/>
                  <a:gd name="connsiteY145" fmla="*/ 190500 h 4496940"/>
                  <a:gd name="connsiteX146" fmla="*/ 1449727 w 4519987"/>
                  <a:gd name="connsiteY146" fmla="*/ 161925 h 4496940"/>
                  <a:gd name="connsiteX147" fmla="*/ 1525927 w 4519987"/>
                  <a:gd name="connsiteY147" fmla="*/ 152400 h 4496940"/>
                  <a:gd name="connsiteX148" fmla="*/ 1583077 w 4519987"/>
                  <a:gd name="connsiteY148" fmla="*/ 142875 h 4496940"/>
                  <a:gd name="connsiteX149" fmla="*/ 1716427 w 4519987"/>
                  <a:gd name="connsiteY149" fmla="*/ 123825 h 4496940"/>
                  <a:gd name="connsiteX150" fmla="*/ 1811677 w 4519987"/>
                  <a:gd name="connsiteY150" fmla="*/ 114300 h 4496940"/>
                  <a:gd name="connsiteX151" fmla="*/ 1859302 w 4519987"/>
                  <a:gd name="connsiteY151" fmla="*/ 104775 h 4496940"/>
                  <a:gd name="connsiteX152" fmla="*/ 1916452 w 4519987"/>
                  <a:gd name="connsiteY152" fmla="*/ 95250 h 4496940"/>
                  <a:gd name="connsiteX153" fmla="*/ 2030752 w 4519987"/>
                  <a:gd name="connsiteY153" fmla="*/ 66675 h 4496940"/>
                  <a:gd name="connsiteX154" fmla="*/ 2097427 w 4519987"/>
                  <a:gd name="connsiteY154" fmla="*/ 47625 h 4496940"/>
                  <a:gd name="connsiteX155" fmla="*/ 2164102 w 4519987"/>
                  <a:gd name="connsiteY155" fmla="*/ 38100 h 4496940"/>
                  <a:gd name="connsiteX156" fmla="*/ 2392702 w 4519987"/>
                  <a:gd name="connsiteY15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78627 w 4519987"/>
                  <a:gd name="connsiteY28" fmla="*/ 838200 h 4496940"/>
                  <a:gd name="connsiteX29" fmla="*/ 4135777 w 4519987"/>
                  <a:gd name="connsiteY29" fmla="*/ 933450 h 4496940"/>
                  <a:gd name="connsiteX30" fmla="*/ 4164352 w 4519987"/>
                  <a:gd name="connsiteY30" fmla="*/ 990600 h 4496940"/>
                  <a:gd name="connsiteX31" fmla="*/ 4173877 w 4519987"/>
                  <a:gd name="connsiteY31" fmla="*/ 1019175 h 4496940"/>
                  <a:gd name="connsiteX32" fmla="*/ 4192927 w 4519987"/>
                  <a:gd name="connsiteY32" fmla="*/ 1057275 h 4496940"/>
                  <a:gd name="connsiteX33" fmla="*/ 4202452 w 4519987"/>
                  <a:gd name="connsiteY33" fmla="*/ 1085850 h 4496940"/>
                  <a:gd name="connsiteX34" fmla="*/ 4250077 w 4519987"/>
                  <a:gd name="connsiteY34" fmla="*/ 1143000 h 4496940"/>
                  <a:gd name="connsiteX35" fmla="*/ 4259602 w 4519987"/>
                  <a:gd name="connsiteY35" fmla="*/ 1190625 h 4496940"/>
                  <a:gd name="connsiteX36" fmla="*/ 4307227 w 4519987"/>
                  <a:gd name="connsiteY36" fmla="*/ 1266825 h 4496940"/>
                  <a:gd name="connsiteX37" fmla="*/ 4345327 w 4519987"/>
                  <a:gd name="connsiteY37" fmla="*/ 1362075 h 4496940"/>
                  <a:gd name="connsiteX38" fmla="*/ 4373902 w 4519987"/>
                  <a:gd name="connsiteY38" fmla="*/ 1428750 h 4496940"/>
                  <a:gd name="connsiteX39" fmla="*/ 4392952 w 4519987"/>
                  <a:gd name="connsiteY39" fmla="*/ 1552575 h 4496940"/>
                  <a:gd name="connsiteX40" fmla="*/ 4402477 w 4519987"/>
                  <a:gd name="connsiteY40" fmla="*/ 1590675 h 4496940"/>
                  <a:gd name="connsiteX41" fmla="*/ 4431052 w 4519987"/>
                  <a:gd name="connsiteY41" fmla="*/ 1685925 h 4496940"/>
                  <a:gd name="connsiteX42" fmla="*/ 4519952 w 4519987"/>
                  <a:gd name="connsiteY42" fmla="*/ 2181225 h 4496940"/>
                  <a:gd name="connsiteX43" fmla="*/ 4446927 w 4519987"/>
                  <a:gd name="connsiteY43" fmla="*/ 2768600 h 4496940"/>
                  <a:gd name="connsiteX44" fmla="*/ 4383427 w 4519987"/>
                  <a:gd name="connsiteY44" fmla="*/ 2990850 h 4496940"/>
                  <a:gd name="connsiteX45" fmla="*/ 4278652 w 4519987"/>
                  <a:gd name="connsiteY45" fmla="*/ 3248025 h 4496940"/>
                  <a:gd name="connsiteX46" fmla="*/ 4259602 w 4519987"/>
                  <a:gd name="connsiteY46" fmla="*/ 3276600 h 4496940"/>
                  <a:gd name="connsiteX47" fmla="*/ 4221502 w 4519987"/>
                  <a:gd name="connsiteY47" fmla="*/ 3333750 h 4496940"/>
                  <a:gd name="connsiteX48" fmla="*/ 4211977 w 4519987"/>
                  <a:gd name="connsiteY48" fmla="*/ 3362325 h 4496940"/>
                  <a:gd name="connsiteX49" fmla="*/ 4183402 w 4519987"/>
                  <a:gd name="connsiteY49" fmla="*/ 3400425 h 4496940"/>
                  <a:gd name="connsiteX50" fmla="*/ 4164352 w 4519987"/>
                  <a:gd name="connsiteY50" fmla="*/ 3429000 h 4496940"/>
                  <a:gd name="connsiteX51" fmla="*/ 4088152 w 4519987"/>
                  <a:gd name="connsiteY51" fmla="*/ 3495675 h 4496940"/>
                  <a:gd name="connsiteX52" fmla="*/ 4059577 w 4519987"/>
                  <a:gd name="connsiteY52" fmla="*/ 3533775 h 4496940"/>
                  <a:gd name="connsiteX53" fmla="*/ 4002427 w 4519987"/>
                  <a:gd name="connsiteY53" fmla="*/ 3600450 h 4496940"/>
                  <a:gd name="connsiteX54" fmla="*/ 3983377 w 4519987"/>
                  <a:gd name="connsiteY54" fmla="*/ 3629025 h 4496940"/>
                  <a:gd name="connsiteX55" fmla="*/ 3954802 w 4519987"/>
                  <a:gd name="connsiteY55" fmla="*/ 3648075 h 4496940"/>
                  <a:gd name="connsiteX56" fmla="*/ 3907177 w 4519987"/>
                  <a:gd name="connsiteY56" fmla="*/ 3686175 h 4496940"/>
                  <a:gd name="connsiteX57" fmla="*/ 3869077 w 4519987"/>
                  <a:gd name="connsiteY57" fmla="*/ 3724275 h 4496940"/>
                  <a:gd name="connsiteX58" fmla="*/ 3792877 w 4519987"/>
                  <a:gd name="connsiteY58" fmla="*/ 3781425 h 4496940"/>
                  <a:gd name="connsiteX59" fmla="*/ 3783352 w 4519987"/>
                  <a:gd name="connsiteY59" fmla="*/ 3810000 h 4496940"/>
                  <a:gd name="connsiteX60" fmla="*/ 3745252 w 4519987"/>
                  <a:gd name="connsiteY60" fmla="*/ 3819525 h 4496940"/>
                  <a:gd name="connsiteX61" fmla="*/ 3678577 w 4519987"/>
                  <a:gd name="connsiteY61" fmla="*/ 3848100 h 4496940"/>
                  <a:gd name="connsiteX62" fmla="*/ 3659527 w 4519987"/>
                  <a:gd name="connsiteY62" fmla="*/ 3971925 h 4496940"/>
                  <a:gd name="connsiteX63" fmla="*/ 3630952 w 4519987"/>
                  <a:gd name="connsiteY63" fmla="*/ 4010025 h 4496940"/>
                  <a:gd name="connsiteX64" fmla="*/ 3621427 w 4519987"/>
                  <a:gd name="connsiteY64" fmla="*/ 4038600 h 4496940"/>
                  <a:gd name="connsiteX65" fmla="*/ 3554752 w 4519987"/>
                  <a:gd name="connsiteY65" fmla="*/ 4095750 h 4496940"/>
                  <a:gd name="connsiteX66" fmla="*/ 3516652 w 4519987"/>
                  <a:gd name="connsiteY66" fmla="*/ 4114800 h 4496940"/>
                  <a:gd name="connsiteX67" fmla="*/ 3497602 w 4519987"/>
                  <a:gd name="connsiteY67" fmla="*/ 4143375 h 4496940"/>
                  <a:gd name="connsiteX68" fmla="*/ 3383302 w 4519987"/>
                  <a:gd name="connsiteY68" fmla="*/ 4210050 h 4496940"/>
                  <a:gd name="connsiteX69" fmla="*/ 3335677 w 4519987"/>
                  <a:gd name="connsiteY69" fmla="*/ 4238625 h 4496940"/>
                  <a:gd name="connsiteX70" fmla="*/ 3288052 w 4519987"/>
                  <a:gd name="connsiteY70" fmla="*/ 4248150 h 4496940"/>
                  <a:gd name="connsiteX71" fmla="*/ 3240427 w 4519987"/>
                  <a:gd name="connsiteY71" fmla="*/ 4267200 h 4496940"/>
                  <a:gd name="connsiteX72" fmla="*/ 3068977 w 4519987"/>
                  <a:gd name="connsiteY72" fmla="*/ 4286250 h 4496940"/>
                  <a:gd name="connsiteX73" fmla="*/ 2935627 w 4519987"/>
                  <a:gd name="connsiteY73" fmla="*/ 4333875 h 4496940"/>
                  <a:gd name="connsiteX74" fmla="*/ 2811802 w 4519987"/>
                  <a:gd name="connsiteY74" fmla="*/ 4371975 h 4496940"/>
                  <a:gd name="connsiteX75" fmla="*/ 2745127 w 4519987"/>
                  <a:gd name="connsiteY75" fmla="*/ 4410075 h 4496940"/>
                  <a:gd name="connsiteX76" fmla="*/ 2697502 w 4519987"/>
                  <a:gd name="connsiteY76" fmla="*/ 4429125 h 4496940"/>
                  <a:gd name="connsiteX77" fmla="*/ 2640352 w 4519987"/>
                  <a:gd name="connsiteY77" fmla="*/ 4457700 h 4496940"/>
                  <a:gd name="connsiteX78" fmla="*/ 2583202 w 4519987"/>
                  <a:gd name="connsiteY78" fmla="*/ 4467225 h 4496940"/>
                  <a:gd name="connsiteX79" fmla="*/ 2545102 w 4519987"/>
                  <a:gd name="connsiteY79" fmla="*/ 4486275 h 4496940"/>
                  <a:gd name="connsiteX80" fmla="*/ 2306977 w 4519987"/>
                  <a:gd name="connsiteY80" fmla="*/ 4476750 h 4496940"/>
                  <a:gd name="connsiteX81" fmla="*/ 2202202 w 4519987"/>
                  <a:gd name="connsiteY81" fmla="*/ 4457700 h 4496940"/>
                  <a:gd name="connsiteX82" fmla="*/ 2126002 w 4519987"/>
                  <a:gd name="connsiteY82" fmla="*/ 4429125 h 4496940"/>
                  <a:gd name="connsiteX83" fmla="*/ 1935502 w 4519987"/>
                  <a:gd name="connsiteY83" fmla="*/ 4400550 h 4496940"/>
                  <a:gd name="connsiteX84" fmla="*/ 1821202 w 4519987"/>
                  <a:gd name="connsiteY84" fmla="*/ 4371975 h 4496940"/>
                  <a:gd name="connsiteX85" fmla="*/ 1754527 w 4519987"/>
                  <a:gd name="connsiteY85" fmla="*/ 4352925 h 4496940"/>
                  <a:gd name="connsiteX86" fmla="*/ 1687852 w 4519987"/>
                  <a:gd name="connsiteY86" fmla="*/ 4343400 h 4496940"/>
                  <a:gd name="connsiteX87" fmla="*/ 1573552 w 4519987"/>
                  <a:gd name="connsiteY87" fmla="*/ 4305300 h 4496940"/>
                  <a:gd name="connsiteX88" fmla="*/ 1402102 w 4519987"/>
                  <a:gd name="connsiteY88" fmla="*/ 4276725 h 4496940"/>
                  <a:gd name="connsiteX89" fmla="*/ 1287802 w 4519987"/>
                  <a:gd name="connsiteY89" fmla="*/ 4229100 h 4496940"/>
                  <a:gd name="connsiteX90" fmla="*/ 1221127 w 4519987"/>
                  <a:gd name="connsiteY90" fmla="*/ 4200525 h 4496940"/>
                  <a:gd name="connsiteX91" fmla="*/ 1144927 w 4519987"/>
                  <a:gd name="connsiteY91" fmla="*/ 4171950 h 4496940"/>
                  <a:gd name="connsiteX92" fmla="*/ 1087777 w 4519987"/>
                  <a:gd name="connsiteY92" fmla="*/ 4143375 h 4496940"/>
                  <a:gd name="connsiteX93" fmla="*/ 1030627 w 4519987"/>
                  <a:gd name="connsiteY93" fmla="*/ 4124325 h 4496940"/>
                  <a:gd name="connsiteX94" fmla="*/ 925852 w 4519987"/>
                  <a:gd name="connsiteY94" fmla="*/ 4067175 h 4496940"/>
                  <a:gd name="connsiteX95" fmla="*/ 830602 w 4519987"/>
                  <a:gd name="connsiteY95" fmla="*/ 3981450 h 4496940"/>
                  <a:gd name="connsiteX96" fmla="*/ 763927 w 4519987"/>
                  <a:gd name="connsiteY96" fmla="*/ 3914775 h 4496940"/>
                  <a:gd name="connsiteX97" fmla="*/ 725827 w 4519987"/>
                  <a:gd name="connsiteY97" fmla="*/ 3876675 h 4496940"/>
                  <a:gd name="connsiteX98" fmla="*/ 697252 w 4519987"/>
                  <a:gd name="connsiteY98" fmla="*/ 3838575 h 4496940"/>
                  <a:gd name="connsiteX99" fmla="*/ 640102 w 4519987"/>
                  <a:gd name="connsiteY99" fmla="*/ 3781425 h 4496940"/>
                  <a:gd name="connsiteX100" fmla="*/ 611527 w 4519987"/>
                  <a:gd name="connsiteY100" fmla="*/ 3733800 h 4496940"/>
                  <a:gd name="connsiteX101" fmla="*/ 554377 w 4519987"/>
                  <a:gd name="connsiteY101" fmla="*/ 3657600 h 4496940"/>
                  <a:gd name="connsiteX102" fmla="*/ 525802 w 4519987"/>
                  <a:gd name="connsiteY102" fmla="*/ 3609975 h 4496940"/>
                  <a:gd name="connsiteX103" fmla="*/ 497227 w 4519987"/>
                  <a:gd name="connsiteY103" fmla="*/ 3552825 h 4496940"/>
                  <a:gd name="connsiteX104" fmla="*/ 440077 w 4519987"/>
                  <a:gd name="connsiteY104" fmla="*/ 3495675 h 4496940"/>
                  <a:gd name="connsiteX105" fmla="*/ 411502 w 4519987"/>
                  <a:gd name="connsiteY105" fmla="*/ 3448050 h 4496940"/>
                  <a:gd name="connsiteX106" fmla="*/ 278152 w 4519987"/>
                  <a:gd name="connsiteY106" fmla="*/ 3257550 h 4496940"/>
                  <a:gd name="connsiteX107" fmla="*/ 249577 w 4519987"/>
                  <a:gd name="connsiteY107" fmla="*/ 3200400 h 4496940"/>
                  <a:gd name="connsiteX108" fmla="*/ 240052 w 4519987"/>
                  <a:gd name="connsiteY108" fmla="*/ 3162300 h 4496940"/>
                  <a:gd name="connsiteX109" fmla="*/ 221002 w 4519987"/>
                  <a:gd name="connsiteY109" fmla="*/ 3105150 h 4496940"/>
                  <a:gd name="connsiteX110" fmla="*/ 173377 w 4519987"/>
                  <a:gd name="connsiteY110" fmla="*/ 3019425 h 4496940"/>
                  <a:gd name="connsiteX111" fmla="*/ 144802 w 4519987"/>
                  <a:gd name="connsiteY111" fmla="*/ 2924175 h 4496940"/>
                  <a:gd name="connsiteX112" fmla="*/ 68602 w 4519987"/>
                  <a:gd name="connsiteY112" fmla="*/ 2724150 h 4496940"/>
                  <a:gd name="connsiteX113" fmla="*/ 49552 w 4519987"/>
                  <a:gd name="connsiteY113" fmla="*/ 2638425 h 4496940"/>
                  <a:gd name="connsiteX114" fmla="*/ 40027 w 4519987"/>
                  <a:gd name="connsiteY114" fmla="*/ 2562225 h 4496940"/>
                  <a:gd name="connsiteX115" fmla="*/ 30502 w 4519987"/>
                  <a:gd name="connsiteY115" fmla="*/ 2514600 h 4496940"/>
                  <a:gd name="connsiteX116" fmla="*/ 11452 w 4519987"/>
                  <a:gd name="connsiteY116" fmla="*/ 2400300 h 4496940"/>
                  <a:gd name="connsiteX117" fmla="*/ 20977 w 4519987"/>
                  <a:gd name="connsiteY117" fmla="*/ 1905000 h 4496940"/>
                  <a:gd name="connsiteX118" fmla="*/ 30502 w 4519987"/>
                  <a:gd name="connsiteY118" fmla="*/ 1838325 h 4496940"/>
                  <a:gd name="connsiteX119" fmla="*/ 49552 w 4519987"/>
                  <a:gd name="connsiteY119" fmla="*/ 1781175 h 4496940"/>
                  <a:gd name="connsiteX120" fmla="*/ 59077 w 4519987"/>
                  <a:gd name="connsiteY120" fmla="*/ 1743075 h 4496940"/>
                  <a:gd name="connsiteX121" fmla="*/ 78127 w 4519987"/>
                  <a:gd name="connsiteY121" fmla="*/ 1685925 h 4496940"/>
                  <a:gd name="connsiteX122" fmla="*/ 87652 w 4519987"/>
                  <a:gd name="connsiteY122" fmla="*/ 1638300 h 4496940"/>
                  <a:gd name="connsiteX123" fmla="*/ 106702 w 4519987"/>
                  <a:gd name="connsiteY123" fmla="*/ 1590675 h 4496940"/>
                  <a:gd name="connsiteX124" fmla="*/ 135277 w 4519987"/>
                  <a:gd name="connsiteY124" fmla="*/ 1504950 h 4496940"/>
                  <a:gd name="connsiteX125" fmla="*/ 154327 w 4519987"/>
                  <a:gd name="connsiteY125" fmla="*/ 1419225 h 4496940"/>
                  <a:gd name="connsiteX126" fmla="*/ 230527 w 4519987"/>
                  <a:gd name="connsiteY126" fmla="*/ 1276350 h 4496940"/>
                  <a:gd name="connsiteX127" fmla="*/ 240052 w 4519987"/>
                  <a:gd name="connsiteY127" fmla="*/ 1247775 h 4496940"/>
                  <a:gd name="connsiteX128" fmla="*/ 268627 w 4519987"/>
                  <a:gd name="connsiteY128" fmla="*/ 1200150 h 4496940"/>
                  <a:gd name="connsiteX129" fmla="*/ 287677 w 4519987"/>
                  <a:gd name="connsiteY129" fmla="*/ 1152525 h 4496940"/>
                  <a:gd name="connsiteX130" fmla="*/ 316252 w 4519987"/>
                  <a:gd name="connsiteY130" fmla="*/ 1114425 h 4496940"/>
                  <a:gd name="connsiteX131" fmla="*/ 363877 w 4519987"/>
                  <a:gd name="connsiteY131" fmla="*/ 1038225 h 4496940"/>
                  <a:gd name="connsiteX132" fmla="*/ 382927 w 4519987"/>
                  <a:gd name="connsiteY132" fmla="*/ 1009650 h 4496940"/>
                  <a:gd name="connsiteX133" fmla="*/ 440077 w 4519987"/>
                  <a:gd name="connsiteY133" fmla="*/ 904875 h 4496940"/>
                  <a:gd name="connsiteX134" fmla="*/ 478177 w 4519987"/>
                  <a:gd name="connsiteY134" fmla="*/ 857250 h 4496940"/>
                  <a:gd name="connsiteX135" fmla="*/ 497227 w 4519987"/>
                  <a:gd name="connsiteY135" fmla="*/ 828675 h 4496940"/>
                  <a:gd name="connsiteX136" fmla="*/ 535327 w 4519987"/>
                  <a:gd name="connsiteY136" fmla="*/ 800100 h 4496940"/>
                  <a:gd name="connsiteX137" fmla="*/ 602002 w 4519987"/>
                  <a:gd name="connsiteY137" fmla="*/ 733425 h 4496940"/>
                  <a:gd name="connsiteX138" fmla="*/ 668677 w 4519987"/>
                  <a:gd name="connsiteY138" fmla="*/ 676275 h 4496940"/>
                  <a:gd name="connsiteX139" fmla="*/ 697252 w 4519987"/>
                  <a:gd name="connsiteY139" fmla="*/ 657225 h 4496940"/>
                  <a:gd name="connsiteX140" fmla="*/ 840127 w 4519987"/>
                  <a:gd name="connsiteY140" fmla="*/ 533400 h 4496940"/>
                  <a:gd name="connsiteX141" fmla="*/ 887752 w 4519987"/>
                  <a:gd name="connsiteY141" fmla="*/ 504825 h 4496940"/>
                  <a:gd name="connsiteX142" fmla="*/ 1167152 w 4519987"/>
                  <a:gd name="connsiteY142" fmla="*/ 311150 h 4496940"/>
                  <a:gd name="connsiteX143" fmla="*/ 1268752 w 4519987"/>
                  <a:gd name="connsiteY143" fmla="*/ 285750 h 4496940"/>
                  <a:gd name="connsiteX144" fmla="*/ 1411627 w 4519987"/>
                  <a:gd name="connsiteY144" fmla="*/ 190500 h 4496940"/>
                  <a:gd name="connsiteX145" fmla="*/ 1449727 w 4519987"/>
                  <a:gd name="connsiteY145" fmla="*/ 161925 h 4496940"/>
                  <a:gd name="connsiteX146" fmla="*/ 1525927 w 4519987"/>
                  <a:gd name="connsiteY146" fmla="*/ 152400 h 4496940"/>
                  <a:gd name="connsiteX147" fmla="*/ 1583077 w 4519987"/>
                  <a:gd name="connsiteY147" fmla="*/ 142875 h 4496940"/>
                  <a:gd name="connsiteX148" fmla="*/ 1716427 w 4519987"/>
                  <a:gd name="connsiteY148" fmla="*/ 123825 h 4496940"/>
                  <a:gd name="connsiteX149" fmla="*/ 1811677 w 4519987"/>
                  <a:gd name="connsiteY149" fmla="*/ 114300 h 4496940"/>
                  <a:gd name="connsiteX150" fmla="*/ 1859302 w 4519987"/>
                  <a:gd name="connsiteY150" fmla="*/ 104775 h 4496940"/>
                  <a:gd name="connsiteX151" fmla="*/ 1916452 w 4519987"/>
                  <a:gd name="connsiteY151" fmla="*/ 95250 h 4496940"/>
                  <a:gd name="connsiteX152" fmla="*/ 2030752 w 4519987"/>
                  <a:gd name="connsiteY152" fmla="*/ 66675 h 4496940"/>
                  <a:gd name="connsiteX153" fmla="*/ 2097427 w 4519987"/>
                  <a:gd name="connsiteY153" fmla="*/ 47625 h 4496940"/>
                  <a:gd name="connsiteX154" fmla="*/ 2164102 w 4519987"/>
                  <a:gd name="connsiteY154" fmla="*/ 38100 h 4496940"/>
                  <a:gd name="connsiteX155" fmla="*/ 2392702 w 4519987"/>
                  <a:gd name="connsiteY15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907177 w 4519987"/>
                  <a:gd name="connsiteY25" fmla="*/ 647700 h 4496940"/>
                  <a:gd name="connsiteX26" fmla="*/ 3935752 w 4519987"/>
                  <a:gd name="connsiteY26" fmla="*/ 676275 h 4496940"/>
                  <a:gd name="connsiteX27" fmla="*/ 4078627 w 4519987"/>
                  <a:gd name="connsiteY27" fmla="*/ 838200 h 4496940"/>
                  <a:gd name="connsiteX28" fmla="*/ 4135777 w 4519987"/>
                  <a:gd name="connsiteY28" fmla="*/ 933450 h 4496940"/>
                  <a:gd name="connsiteX29" fmla="*/ 4164352 w 4519987"/>
                  <a:gd name="connsiteY29" fmla="*/ 990600 h 4496940"/>
                  <a:gd name="connsiteX30" fmla="*/ 4173877 w 4519987"/>
                  <a:gd name="connsiteY30" fmla="*/ 1019175 h 4496940"/>
                  <a:gd name="connsiteX31" fmla="*/ 4192927 w 4519987"/>
                  <a:gd name="connsiteY31" fmla="*/ 1057275 h 4496940"/>
                  <a:gd name="connsiteX32" fmla="*/ 4202452 w 4519987"/>
                  <a:gd name="connsiteY32" fmla="*/ 1085850 h 4496940"/>
                  <a:gd name="connsiteX33" fmla="*/ 4250077 w 4519987"/>
                  <a:gd name="connsiteY33" fmla="*/ 1143000 h 4496940"/>
                  <a:gd name="connsiteX34" fmla="*/ 4259602 w 4519987"/>
                  <a:gd name="connsiteY34" fmla="*/ 1190625 h 4496940"/>
                  <a:gd name="connsiteX35" fmla="*/ 4307227 w 4519987"/>
                  <a:gd name="connsiteY35" fmla="*/ 1266825 h 4496940"/>
                  <a:gd name="connsiteX36" fmla="*/ 4345327 w 4519987"/>
                  <a:gd name="connsiteY36" fmla="*/ 1362075 h 4496940"/>
                  <a:gd name="connsiteX37" fmla="*/ 4373902 w 4519987"/>
                  <a:gd name="connsiteY37" fmla="*/ 1428750 h 4496940"/>
                  <a:gd name="connsiteX38" fmla="*/ 4392952 w 4519987"/>
                  <a:gd name="connsiteY38" fmla="*/ 1552575 h 4496940"/>
                  <a:gd name="connsiteX39" fmla="*/ 4402477 w 4519987"/>
                  <a:gd name="connsiteY39" fmla="*/ 1590675 h 4496940"/>
                  <a:gd name="connsiteX40" fmla="*/ 4431052 w 4519987"/>
                  <a:gd name="connsiteY40" fmla="*/ 1685925 h 4496940"/>
                  <a:gd name="connsiteX41" fmla="*/ 4519952 w 4519987"/>
                  <a:gd name="connsiteY41" fmla="*/ 2181225 h 4496940"/>
                  <a:gd name="connsiteX42" fmla="*/ 4446927 w 4519987"/>
                  <a:gd name="connsiteY42" fmla="*/ 2768600 h 4496940"/>
                  <a:gd name="connsiteX43" fmla="*/ 4383427 w 4519987"/>
                  <a:gd name="connsiteY43" fmla="*/ 2990850 h 4496940"/>
                  <a:gd name="connsiteX44" fmla="*/ 4278652 w 4519987"/>
                  <a:gd name="connsiteY44" fmla="*/ 3248025 h 4496940"/>
                  <a:gd name="connsiteX45" fmla="*/ 4259602 w 4519987"/>
                  <a:gd name="connsiteY45" fmla="*/ 3276600 h 4496940"/>
                  <a:gd name="connsiteX46" fmla="*/ 4221502 w 4519987"/>
                  <a:gd name="connsiteY46" fmla="*/ 3333750 h 4496940"/>
                  <a:gd name="connsiteX47" fmla="*/ 4211977 w 4519987"/>
                  <a:gd name="connsiteY47" fmla="*/ 3362325 h 4496940"/>
                  <a:gd name="connsiteX48" fmla="*/ 4183402 w 4519987"/>
                  <a:gd name="connsiteY48" fmla="*/ 3400425 h 4496940"/>
                  <a:gd name="connsiteX49" fmla="*/ 4164352 w 4519987"/>
                  <a:gd name="connsiteY49" fmla="*/ 3429000 h 4496940"/>
                  <a:gd name="connsiteX50" fmla="*/ 4088152 w 4519987"/>
                  <a:gd name="connsiteY50" fmla="*/ 3495675 h 4496940"/>
                  <a:gd name="connsiteX51" fmla="*/ 4059577 w 4519987"/>
                  <a:gd name="connsiteY51" fmla="*/ 3533775 h 4496940"/>
                  <a:gd name="connsiteX52" fmla="*/ 4002427 w 4519987"/>
                  <a:gd name="connsiteY52" fmla="*/ 3600450 h 4496940"/>
                  <a:gd name="connsiteX53" fmla="*/ 3983377 w 4519987"/>
                  <a:gd name="connsiteY53" fmla="*/ 3629025 h 4496940"/>
                  <a:gd name="connsiteX54" fmla="*/ 3954802 w 4519987"/>
                  <a:gd name="connsiteY54" fmla="*/ 3648075 h 4496940"/>
                  <a:gd name="connsiteX55" fmla="*/ 3907177 w 4519987"/>
                  <a:gd name="connsiteY55" fmla="*/ 3686175 h 4496940"/>
                  <a:gd name="connsiteX56" fmla="*/ 3869077 w 4519987"/>
                  <a:gd name="connsiteY56" fmla="*/ 3724275 h 4496940"/>
                  <a:gd name="connsiteX57" fmla="*/ 3792877 w 4519987"/>
                  <a:gd name="connsiteY57" fmla="*/ 3781425 h 4496940"/>
                  <a:gd name="connsiteX58" fmla="*/ 3783352 w 4519987"/>
                  <a:gd name="connsiteY58" fmla="*/ 3810000 h 4496940"/>
                  <a:gd name="connsiteX59" fmla="*/ 3745252 w 4519987"/>
                  <a:gd name="connsiteY59" fmla="*/ 3819525 h 4496940"/>
                  <a:gd name="connsiteX60" fmla="*/ 3678577 w 4519987"/>
                  <a:gd name="connsiteY60" fmla="*/ 3848100 h 4496940"/>
                  <a:gd name="connsiteX61" fmla="*/ 3659527 w 4519987"/>
                  <a:gd name="connsiteY61" fmla="*/ 3971925 h 4496940"/>
                  <a:gd name="connsiteX62" fmla="*/ 3630952 w 4519987"/>
                  <a:gd name="connsiteY62" fmla="*/ 4010025 h 4496940"/>
                  <a:gd name="connsiteX63" fmla="*/ 3621427 w 4519987"/>
                  <a:gd name="connsiteY63" fmla="*/ 4038600 h 4496940"/>
                  <a:gd name="connsiteX64" fmla="*/ 3554752 w 4519987"/>
                  <a:gd name="connsiteY64" fmla="*/ 4095750 h 4496940"/>
                  <a:gd name="connsiteX65" fmla="*/ 3516652 w 4519987"/>
                  <a:gd name="connsiteY65" fmla="*/ 4114800 h 4496940"/>
                  <a:gd name="connsiteX66" fmla="*/ 3497602 w 4519987"/>
                  <a:gd name="connsiteY66" fmla="*/ 4143375 h 4496940"/>
                  <a:gd name="connsiteX67" fmla="*/ 3383302 w 4519987"/>
                  <a:gd name="connsiteY67" fmla="*/ 4210050 h 4496940"/>
                  <a:gd name="connsiteX68" fmla="*/ 3335677 w 4519987"/>
                  <a:gd name="connsiteY68" fmla="*/ 4238625 h 4496940"/>
                  <a:gd name="connsiteX69" fmla="*/ 3288052 w 4519987"/>
                  <a:gd name="connsiteY69" fmla="*/ 4248150 h 4496940"/>
                  <a:gd name="connsiteX70" fmla="*/ 3240427 w 4519987"/>
                  <a:gd name="connsiteY70" fmla="*/ 4267200 h 4496940"/>
                  <a:gd name="connsiteX71" fmla="*/ 3068977 w 4519987"/>
                  <a:gd name="connsiteY71" fmla="*/ 4286250 h 4496940"/>
                  <a:gd name="connsiteX72" fmla="*/ 2935627 w 4519987"/>
                  <a:gd name="connsiteY72" fmla="*/ 4333875 h 4496940"/>
                  <a:gd name="connsiteX73" fmla="*/ 2811802 w 4519987"/>
                  <a:gd name="connsiteY73" fmla="*/ 4371975 h 4496940"/>
                  <a:gd name="connsiteX74" fmla="*/ 2745127 w 4519987"/>
                  <a:gd name="connsiteY74" fmla="*/ 4410075 h 4496940"/>
                  <a:gd name="connsiteX75" fmla="*/ 2697502 w 4519987"/>
                  <a:gd name="connsiteY75" fmla="*/ 4429125 h 4496940"/>
                  <a:gd name="connsiteX76" fmla="*/ 2640352 w 4519987"/>
                  <a:gd name="connsiteY76" fmla="*/ 4457700 h 4496940"/>
                  <a:gd name="connsiteX77" fmla="*/ 2583202 w 4519987"/>
                  <a:gd name="connsiteY77" fmla="*/ 4467225 h 4496940"/>
                  <a:gd name="connsiteX78" fmla="*/ 2545102 w 4519987"/>
                  <a:gd name="connsiteY78" fmla="*/ 4486275 h 4496940"/>
                  <a:gd name="connsiteX79" fmla="*/ 2306977 w 4519987"/>
                  <a:gd name="connsiteY79" fmla="*/ 4476750 h 4496940"/>
                  <a:gd name="connsiteX80" fmla="*/ 2202202 w 4519987"/>
                  <a:gd name="connsiteY80" fmla="*/ 4457700 h 4496940"/>
                  <a:gd name="connsiteX81" fmla="*/ 2126002 w 4519987"/>
                  <a:gd name="connsiteY81" fmla="*/ 4429125 h 4496940"/>
                  <a:gd name="connsiteX82" fmla="*/ 1935502 w 4519987"/>
                  <a:gd name="connsiteY82" fmla="*/ 4400550 h 4496940"/>
                  <a:gd name="connsiteX83" fmla="*/ 1821202 w 4519987"/>
                  <a:gd name="connsiteY83" fmla="*/ 4371975 h 4496940"/>
                  <a:gd name="connsiteX84" fmla="*/ 1754527 w 4519987"/>
                  <a:gd name="connsiteY84" fmla="*/ 4352925 h 4496940"/>
                  <a:gd name="connsiteX85" fmla="*/ 1687852 w 4519987"/>
                  <a:gd name="connsiteY85" fmla="*/ 4343400 h 4496940"/>
                  <a:gd name="connsiteX86" fmla="*/ 1573552 w 4519987"/>
                  <a:gd name="connsiteY86" fmla="*/ 4305300 h 4496940"/>
                  <a:gd name="connsiteX87" fmla="*/ 1402102 w 4519987"/>
                  <a:gd name="connsiteY87" fmla="*/ 4276725 h 4496940"/>
                  <a:gd name="connsiteX88" fmla="*/ 1287802 w 4519987"/>
                  <a:gd name="connsiteY88" fmla="*/ 4229100 h 4496940"/>
                  <a:gd name="connsiteX89" fmla="*/ 1221127 w 4519987"/>
                  <a:gd name="connsiteY89" fmla="*/ 4200525 h 4496940"/>
                  <a:gd name="connsiteX90" fmla="*/ 1144927 w 4519987"/>
                  <a:gd name="connsiteY90" fmla="*/ 4171950 h 4496940"/>
                  <a:gd name="connsiteX91" fmla="*/ 1087777 w 4519987"/>
                  <a:gd name="connsiteY91" fmla="*/ 4143375 h 4496940"/>
                  <a:gd name="connsiteX92" fmla="*/ 1030627 w 4519987"/>
                  <a:gd name="connsiteY92" fmla="*/ 4124325 h 4496940"/>
                  <a:gd name="connsiteX93" fmla="*/ 925852 w 4519987"/>
                  <a:gd name="connsiteY93" fmla="*/ 4067175 h 4496940"/>
                  <a:gd name="connsiteX94" fmla="*/ 830602 w 4519987"/>
                  <a:gd name="connsiteY94" fmla="*/ 3981450 h 4496940"/>
                  <a:gd name="connsiteX95" fmla="*/ 763927 w 4519987"/>
                  <a:gd name="connsiteY95" fmla="*/ 3914775 h 4496940"/>
                  <a:gd name="connsiteX96" fmla="*/ 725827 w 4519987"/>
                  <a:gd name="connsiteY96" fmla="*/ 3876675 h 4496940"/>
                  <a:gd name="connsiteX97" fmla="*/ 697252 w 4519987"/>
                  <a:gd name="connsiteY97" fmla="*/ 3838575 h 4496940"/>
                  <a:gd name="connsiteX98" fmla="*/ 640102 w 4519987"/>
                  <a:gd name="connsiteY98" fmla="*/ 3781425 h 4496940"/>
                  <a:gd name="connsiteX99" fmla="*/ 611527 w 4519987"/>
                  <a:gd name="connsiteY99" fmla="*/ 3733800 h 4496940"/>
                  <a:gd name="connsiteX100" fmla="*/ 554377 w 4519987"/>
                  <a:gd name="connsiteY100" fmla="*/ 3657600 h 4496940"/>
                  <a:gd name="connsiteX101" fmla="*/ 525802 w 4519987"/>
                  <a:gd name="connsiteY101" fmla="*/ 3609975 h 4496940"/>
                  <a:gd name="connsiteX102" fmla="*/ 497227 w 4519987"/>
                  <a:gd name="connsiteY102" fmla="*/ 3552825 h 4496940"/>
                  <a:gd name="connsiteX103" fmla="*/ 440077 w 4519987"/>
                  <a:gd name="connsiteY103" fmla="*/ 3495675 h 4496940"/>
                  <a:gd name="connsiteX104" fmla="*/ 411502 w 4519987"/>
                  <a:gd name="connsiteY104" fmla="*/ 3448050 h 4496940"/>
                  <a:gd name="connsiteX105" fmla="*/ 278152 w 4519987"/>
                  <a:gd name="connsiteY105" fmla="*/ 3257550 h 4496940"/>
                  <a:gd name="connsiteX106" fmla="*/ 249577 w 4519987"/>
                  <a:gd name="connsiteY106" fmla="*/ 3200400 h 4496940"/>
                  <a:gd name="connsiteX107" fmla="*/ 240052 w 4519987"/>
                  <a:gd name="connsiteY107" fmla="*/ 3162300 h 4496940"/>
                  <a:gd name="connsiteX108" fmla="*/ 221002 w 4519987"/>
                  <a:gd name="connsiteY108" fmla="*/ 3105150 h 4496940"/>
                  <a:gd name="connsiteX109" fmla="*/ 173377 w 4519987"/>
                  <a:gd name="connsiteY109" fmla="*/ 3019425 h 4496940"/>
                  <a:gd name="connsiteX110" fmla="*/ 144802 w 4519987"/>
                  <a:gd name="connsiteY110" fmla="*/ 2924175 h 4496940"/>
                  <a:gd name="connsiteX111" fmla="*/ 68602 w 4519987"/>
                  <a:gd name="connsiteY111" fmla="*/ 2724150 h 4496940"/>
                  <a:gd name="connsiteX112" fmla="*/ 49552 w 4519987"/>
                  <a:gd name="connsiteY112" fmla="*/ 2638425 h 4496940"/>
                  <a:gd name="connsiteX113" fmla="*/ 40027 w 4519987"/>
                  <a:gd name="connsiteY113" fmla="*/ 2562225 h 4496940"/>
                  <a:gd name="connsiteX114" fmla="*/ 30502 w 4519987"/>
                  <a:gd name="connsiteY114" fmla="*/ 2514600 h 4496940"/>
                  <a:gd name="connsiteX115" fmla="*/ 11452 w 4519987"/>
                  <a:gd name="connsiteY115" fmla="*/ 2400300 h 4496940"/>
                  <a:gd name="connsiteX116" fmla="*/ 20977 w 4519987"/>
                  <a:gd name="connsiteY116" fmla="*/ 1905000 h 4496940"/>
                  <a:gd name="connsiteX117" fmla="*/ 30502 w 4519987"/>
                  <a:gd name="connsiteY117" fmla="*/ 1838325 h 4496940"/>
                  <a:gd name="connsiteX118" fmla="*/ 49552 w 4519987"/>
                  <a:gd name="connsiteY118" fmla="*/ 1781175 h 4496940"/>
                  <a:gd name="connsiteX119" fmla="*/ 59077 w 4519987"/>
                  <a:gd name="connsiteY119" fmla="*/ 1743075 h 4496940"/>
                  <a:gd name="connsiteX120" fmla="*/ 78127 w 4519987"/>
                  <a:gd name="connsiteY120" fmla="*/ 1685925 h 4496940"/>
                  <a:gd name="connsiteX121" fmla="*/ 87652 w 4519987"/>
                  <a:gd name="connsiteY121" fmla="*/ 1638300 h 4496940"/>
                  <a:gd name="connsiteX122" fmla="*/ 106702 w 4519987"/>
                  <a:gd name="connsiteY122" fmla="*/ 1590675 h 4496940"/>
                  <a:gd name="connsiteX123" fmla="*/ 135277 w 4519987"/>
                  <a:gd name="connsiteY123" fmla="*/ 1504950 h 4496940"/>
                  <a:gd name="connsiteX124" fmla="*/ 154327 w 4519987"/>
                  <a:gd name="connsiteY124" fmla="*/ 1419225 h 4496940"/>
                  <a:gd name="connsiteX125" fmla="*/ 230527 w 4519987"/>
                  <a:gd name="connsiteY125" fmla="*/ 1276350 h 4496940"/>
                  <a:gd name="connsiteX126" fmla="*/ 240052 w 4519987"/>
                  <a:gd name="connsiteY126" fmla="*/ 1247775 h 4496940"/>
                  <a:gd name="connsiteX127" fmla="*/ 268627 w 4519987"/>
                  <a:gd name="connsiteY127" fmla="*/ 1200150 h 4496940"/>
                  <a:gd name="connsiteX128" fmla="*/ 287677 w 4519987"/>
                  <a:gd name="connsiteY128" fmla="*/ 1152525 h 4496940"/>
                  <a:gd name="connsiteX129" fmla="*/ 316252 w 4519987"/>
                  <a:gd name="connsiteY129" fmla="*/ 1114425 h 4496940"/>
                  <a:gd name="connsiteX130" fmla="*/ 363877 w 4519987"/>
                  <a:gd name="connsiteY130" fmla="*/ 1038225 h 4496940"/>
                  <a:gd name="connsiteX131" fmla="*/ 382927 w 4519987"/>
                  <a:gd name="connsiteY131" fmla="*/ 1009650 h 4496940"/>
                  <a:gd name="connsiteX132" fmla="*/ 440077 w 4519987"/>
                  <a:gd name="connsiteY132" fmla="*/ 904875 h 4496940"/>
                  <a:gd name="connsiteX133" fmla="*/ 478177 w 4519987"/>
                  <a:gd name="connsiteY133" fmla="*/ 857250 h 4496940"/>
                  <a:gd name="connsiteX134" fmla="*/ 497227 w 4519987"/>
                  <a:gd name="connsiteY134" fmla="*/ 828675 h 4496940"/>
                  <a:gd name="connsiteX135" fmla="*/ 535327 w 4519987"/>
                  <a:gd name="connsiteY135" fmla="*/ 800100 h 4496940"/>
                  <a:gd name="connsiteX136" fmla="*/ 602002 w 4519987"/>
                  <a:gd name="connsiteY136" fmla="*/ 733425 h 4496940"/>
                  <a:gd name="connsiteX137" fmla="*/ 668677 w 4519987"/>
                  <a:gd name="connsiteY137" fmla="*/ 676275 h 4496940"/>
                  <a:gd name="connsiteX138" fmla="*/ 697252 w 4519987"/>
                  <a:gd name="connsiteY138" fmla="*/ 657225 h 4496940"/>
                  <a:gd name="connsiteX139" fmla="*/ 840127 w 4519987"/>
                  <a:gd name="connsiteY139" fmla="*/ 533400 h 4496940"/>
                  <a:gd name="connsiteX140" fmla="*/ 887752 w 4519987"/>
                  <a:gd name="connsiteY140" fmla="*/ 504825 h 4496940"/>
                  <a:gd name="connsiteX141" fmla="*/ 1167152 w 4519987"/>
                  <a:gd name="connsiteY141" fmla="*/ 311150 h 4496940"/>
                  <a:gd name="connsiteX142" fmla="*/ 1268752 w 4519987"/>
                  <a:gd name="connsiteY142" fmla="*/ 285750 h 4496940"/>
                  <a:gd name="connsiteX143" fmla="*/ 1411627 w 4519987"/>
                  <a:gd name="connsiteY143" fmla="*/ 190500 h 4496940"/>
                  <a:gd name="connsiteX144" fmla="*/ 1449727 w 4519987"/>
                  <a:gd name="connsiteY144" fmla="*/ 161925 h 4496940"/>
                  <a:gd name="connsiteX145" fmla="*/ 1525927 w 4519987"/>
                  <a:gd name="connsiteY145" fmla="*/ 152400 h 4496940"/>
                  <a:gd name="connsiteX146" fmla="*/ 1583077 w 4519987"/>
                  <a:gd name="connsiteY146" fmla="*/ 142875 h 4496940"/>
                  <a:gd name="connsiteX147" fmla="*/ 1716427 w 4519987"/>
                  <a:gd name="connsiteY147" fmla="*/ 123825 h 4496940"/>
                  <a:gd name="connsiteX148" fmla="*/ 1811677 w 4519987"/>
                  <a:gd name="connsiteY148" fmla="*/ 114300 h 4496940"/>
                  <a:gd name="connsiteX149" fmla="*/ 1859302 w 4519987"/>
                  <a:gd name="connsiteY149" fmla="*/ 104775 h 4496940"/>
                  <a:gd name="connsiteX150" fmla="*/ 1916452 w 4519987"/>
                  <a:gd name="connsiteY150" fmla="*/ 95250 h 4496940"/>
                  <a:gd name="connsiteX151" fmla="*/ 2030752 w 4519987"/>
                  <a:gd name="connsiteY151" fmla="*/ 66675 h 4496940"/>
                  <a:gd name="connsiteX152" fmla="*/ 2097427 w 4519987"/>
                  <a:gd name="connsiteY152" fmla="*/ 47625 h 4496940"/>
                  <a:gd name="connsiteX153" fmla="*/ 2164102 w 4519987"/>
                  <a:gd name="connsiteY153" fmla="*/ 38100 h 4496940"/>
                  <a:gd name="connsiteX154" fmla="*/ 2392702 w 4519987"/>
                  <a:gd name="connsiteY15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907177 w 4519987"/>
                  <a:gd name="connsiteY24" fmla="*/ 647700 h 4496940"/>
                  <a:gd name="connsiteX25" fmla="*/ 3935752 w 4519987"/>
                  <a:gd name="connsiteY25" fmla="*/ 676275 h 4496940"/>
                  <a:gd name="connsiteX26" fmla="*/ 4078627 w 4519987"/>
                  <a:gd name="connsiteY26" fmla="*/ 838200 h 4496940"/>
                  <a:gd name="connsiteX27" fmla="*/ 4135777 w 4519987"/>
                  <a:gd name="connsiteY27" fmla="*/ 933450 h 4496940"/>
                  <a:gd name="connsiteX28" fmla="*/ 4164352 w 4519987"/>
                  <a:gd name="connsiteY28" fmla="*/ 990600 h 4496940"/>
                  <a:gd name="connsiteX29" fmla="*/ 4173877 w 4519987"/>
                  <a:gd name="connsiteY29" fmla="*/ 1019175 h 4496940"/>
                  <a:gd name="connsiteX30" fmla="*/ 4192927 w 4519987"/>
                  <a:gd name="connsiteY30" fmla="*/ 1057275 h 4496940"/>
                  <a:gd name="connsiteX31" fmla="*/ 4202452 w 4519987"/>
                  <a:gd name="connsiteY31" fmla="*/ 1085850 h 4496940"/>
                  <a:gd name="connsiteX32" fmla="*/ 4250077 w 4519987"/>
                  <a:gd name="connsiteY32" fmla="*/ 1143000 h 4496940"/>
                  <a:gd name="connsiteX33" fmla="*/ 4259602 w 4519987"/>
                  <a:gd name="connsiteY33" fmla="*/ 1190625 h 4496940"/>
                  <a:gd name="connsiteX34" fmla="*/ 4307227 w 4519987"/>
                  <a:gd name="connsiteY34" fmla="*/ 1266825 h 4496940"/>
                  <a:gd name="connsiteX35" fmla="*/ 4345327 w 4519987"/>
                  <a:gd name="connsiteY35" fmla="*/ 1362075 h 4496940"/>
                  <a:gd name="connsiteX36" fmla="*/ 4373902 w 4519987"/>
                  <a:gd name="connsiteY36" fmla="*/ 1428750 h 4496940"/>
                  <a:gd name="connsiteX37" fmla="*/ 4392952 w 4519987"/>
                  <a:gd name="connsiteY37" fmla="*/ 1552575 h 4496940"/>
                  <a:gd name="connsiteX38" fmla="*/ 4402477 w 4519987"/>
                  <a:gd name="connsiteY38" fmla="*/ 1590675 h 4496940"/>
                  <a:gd name="connsiteX39" fmla="*/ 4431052 w 4519987"/>
                  <a:gd name="connsiteY39" fmla="*/ 1685925 h 4496940"/>
                  <a:gd name="connsiteX40" fmla="*/ 4519952 w 4519987"/>
                  <a:gd name="connsiteY40" fmla="*/ 2181225 h 4496940"/>
                  <a:gd name="connsiteX41" fmla="*/ 4446927 w 4519987"/>
                  <a:gd name="connsiteY41" fmla="*/ 2768600 h 4496940"/>
                  <a:gd name="connsiteX42" fmla="*/ 4383427 w 4519987"/>
                  <a:gd name="connsiteY42" fmla="*/ 2990850 h 4496940"/>
                  <a:gd name="connsiteX43" fmla="*/ 4278652 w 4519987"/>
                  <a:gd name="connsiteY43" fmla="*/ 3248025 h 4496940"/>
                  <a:gd name="connsiteX44" fmla="*/ 4259602 w 4519987"/>
                  <a:gd name="connsiteY44" fmla="*/ 3276600 h 4496940"/>
                  <a:gd name="connsiteX45" fmla="*/ 4221502 w 4519987"/>
                  <a:gd name="connsiteY45" fmla="*/ 3333750 h 4496940"/>
                  <a:gd name="connsiteX46" fmla="*/ 4211977 w 4519987"/>
                  <a:gd name="connsiteY46" fmla="*/ 3362325 h 4496940"/>
                  <a:gd name="connsiteX47" fmla="*/ 4183402 w 4519987"/>
                  <a:gd name="connsiteY47" fmla="*/ 3400425 h 4496940"/>
                  <a:gd name="connsiteX48" fmla="*/ 4164352 w 4519987"/>
                  <a:gd name="connsiteY48" fmla="*/ 3429000 h 4496940"/>
                  <a:gd name="connsiteX49" fmla="*/ 4088152 w 4519987"/>
                  <a:gd name="connsiteY49" fmla="*/ 3495675 h 4496940"/>
                  <a:gd name="connsiteX50" fmla="*/ 4059577 w 4519987"/>
                  <a:gd name="connsiteY50" fmla="*/ 3533775 h 4496940"/>
                  <a:gd name="connsiteX51" fmla="*/ 4002427 w 4519987"/>
                  <a:gd name="connsiteY51" fmla="*/ 3600450 h 4496940"/>
                  <a:gd name="connsiteX52" fmla="*/ 3983377 w 4519987"/>
                  <a:gd name="connsiteY52" fmla="*/ 3629025 h 4496940"/>
                  <a:gd name="connsiteX53" fmla="*/ 3954802 w 4519987"/>
                  <a:gd name="connsiteY53" fmla="*/ 3648075 h 4496940"/>
                  <a:gd name="connsiteX54" fmla="*/ 3907177 w 4519987"/>
                  <a:gd name="connsiteY54" fmla="*/ 3686175 h 4496940"/>
                  <a:gd name="connsiteX55" fmla="*/ 3869077 w 4519987"/>
                  <a:gd name="connsiteY55" fmla="*/ 3724275 h 4496940"/>
                  <a:gd name="connsiteX56" fmla="*/ 3792877 w 4519987"/>
                  <a:gd name="connsiteY56" fmla="*/ 3781425 h 4496940"/>
                  <a:gd name="connsiteX57" fmla="*/ 3783352 w 4519987"/>
                  <a:gd name="connsiteY57" fmla="*/ 3810000 h 4496940"/>
                  <a:gd name="connsiteX58" fmla="*/ 3745252 w 4519987"/>
                  <a:gd name="connsiteY58" fmla="*/ 3819525 h 4496940"/>
                  <a:gd name="connsiteX59" fmla="*/ 3678577 w 4519987"/>
                  <a:gd name="connsiteY59" fmla="*/ 3848100 h 4496940"/>
                  <a:gd name="connsiteX60" fmla="*/ 3659527 w 4519987"/>
                  <a:gd name="connsiteY60" fmla="*/ 3971925 h 4496940"/>
                  <a:gd name="connsiteX61" fmla="*/ 3630952 w 4519987"/>
                  <a:gd name="connsiteY61" fmla="*/ 4010025 h 4496940"/>
                  <a:gd name="connsiteX62" fmla="*/ 3621427 w 4519987"/>
                  <a:gd name="connsiteY62" fmla="*/ 4038600 h 4496940"/>
                  <a:gd name="connsiteX63" fmla="*/ 3554752 w 4519987"/>
                  <a:gd name="connsiteY63" fmla="*/ 4095750 h 4496940"/>
                  <a:gd name="connsiteX64" fmla="*/ 3516652 w 4519987"/>
                  <a:gd name="connsiteY64" fmla="*/ 4114800 h 4496940"/>
                  <a:gd name="connsiteX65" fmla="*/ 3497602 w 4519987"/>
                  <a:gd name="connsiteY65" fmla="*/ 4143375 h 4496940"/>
                  <a:gd name="connsiteX66" fmla="*/ 3383302 w 4519987"/>
                  <a:gd name="connsiteY66" fmla="*/ 4210050 h 4496940"/>
                  <a:gd name="connsiteX67" fmla="*/ 3335677 w 4519987"/>
                  <a:gd name="connsiteY67" fmla="*/ 4238625 h 4496940"/>
                  <a:gd name="connsiteX68" fmla="*/ 3288052 w 4519987"/>
                  <a:gd name="connsiteY68" fmla="*/ 4248150 h 4496940"/>
                  <a:gd name="connsiteX69" fmla="*/ 3240427 w 4519987"/>
                  <a:gd name="connsiteY69" fmla="*/ 4267200 h 4496940"/>
                  <a:gd name="connsiteX70" fmla="*/ 3068977 w 4519987"/>
                  <a:gd name="connsiteY70" fmla="*/ 4286250 h 4496940"/>
                  <a:gd name="connsiteX71" fmla="*/ 2935627 w 4519987"/>
                  <a:gd name="connsiteY71" fmla="*/ 4333875 h 4496940"/>
                  <a:gd name="connsiteX72" fmla="*/ 2811802 w 4519987"/>
                  <a:gd name="connsiteY72" fmla="*/ 4371975 h 4496940"/>
                  <a:gd name="connsiteX73" fmla="*/ 2745127 w 4519987"/>
                  <a:gd name="connsiteY73" fmla="*/ 4410075 h 4496940"/>
                  <a:gd name="connsiteX74" fmla="*/ 2697502 w 4519987"/>
                  <a:gd name="connsiteY74" fmla="*/ 4429125 h 4496940"/>
                  <a:gd name="connsiteX75" fmla="*/ 2640352 w 4519987"/>
                  <a:gd name="connsiteY75" fmla="*/ 4457700 h 4496940"/>
                  <a:gd name="connsiteX76" fmla="*/ 2583202 w 4519987"/>
                  <a:gd name="connsiteY76" fmla="*/ 4467225 h 4496940"/>
                  <a:gd name="connsiteX77" fmla="*/ 2545102 w 4519987"/>
                  <a:gd name="connsiteY77" fmla="*/ 4486275 h 4496940"/>
                  <a:gd name="connsiteX78" fmla="*/ 2306977 w 4519987"/>
                  <a:gd name="connsiteY78" fmla="*/ 4476750 h 4496940"/>
                  <a:gd name="connsiteX79" fmla="*/ 2202202 w 4519987"/>
                  <a:gd name="connsiteY79" fmla="*/ 4457700 h 4496940"/>
                  <a:gd name="connsiteX80" fmla="*/ 2126002 w 4519987"/>
                  <a:gd name="connsiteY80" fmla="*/ 4429125 h 4496940"/>
                  <a:gd name="connsiteX81" fmla="*/ 1935502 w 4519987"/>
                  <a:gd name="connsiteY81" fmla="*/ 4400550 h 4496940"/>
                  <a:gd name="connsiteX82" fmla="*/ 1821202 w 4519987"/>
                  <a:gd name="connsiteY82" fmla="*/ 4371975 h 4496940"/>
                  <a:gd name="connsiteX83" fmla="*/ 1754527 w 4519987"/>
                  <a:gd name="connsiteY83" fmla="*/ 4352925 h 4496940"/>
                  <a:gd name="connsiteX84" fmla="*/ 1687852 w 4519987"/>
                  <a:gd name="connsiteY84" fmla="*/ 4343400 h 4496940"/>
                  <a:gd name="connsiteX85" fmla="*/ 1573552 w 4519987"/>
                  <a:gd name="connsiteY85" fmla="*/ 4305300 h 4496940"/>
                  <a:gd name="connsiteX86" fmla="*/ 1402102 w 4519987"/>
                  <a:gd name="connsiteY86" fmla="*/ 4276725 h 4496940"/>
                  <a:gd name="connsiteX87" fmla="*/ 1287802 w 4519987"/>
                  <a:gd name="connsiteY87" fmla="*/ 4229100 h 4496940"/>
                  <a:gd name="connsiteX88" fmla="*/ 1221127 w 4519987"/>
                  <a:gd name="connsiteY88" fmla="*/ 4200525 h 4496940"/>
                  <a:gd name="connsiteX89" fmla="*/ 1144927 w 4519987"/>
                  <a:gd name="connsiteY89" fmla="*/ 4171950 h 4496940"/>
                  <a:gd name="connsiteX90" fmla="*/ 1087777 w 4519987"/>
                  <a:gd name="connsiteY90" fmla="*/ 4143375 h 4496940"/>
                  <a:gd name="connsiteX91" fmla="*/ 1030627 w 4519987"/>
                  <a:gd name="connsiteY91" fmla="*/ 4124325 h 4496940"/>
                  <a:gd name="connsiteX92" fmla="*/ 925852 w 4519987"/>
                  <a:gd name="connsiteY92" fmla="*/ 4067175 h 4496940"/>
                  <a:gd name="connsiteX93" fmla="*/ 830602 w 4519987"/>
                  <a:gd name="connsiteY93" fmla="*/ 3981450 h 4496940"/>
                  <a:gd name="connsiteX94" fmla="*/ 763927 w 4519987"/>
                  <a:gd name="connsiteY94" fmla="*/ 3914775 h 4496940"/>
                  <a:gd name="connsiteX95" fmla="*/ 725827 w 4519987"/>
                  <a:gd name="connsiteY95" fmla="*/ 3876675 h 4496940"/>
                  <a:gd name="connsiteX96" fmla="*/ 697252 w 4519987"/>
                  <a:gd name="connsiteY96" fmla="*/ 3838575 h 4496940"/>
                  <a:gd name="connsiteX97" fmla="*/ 640102 w 4519987"/>
                  <a:gd name="connsiteY97" fmla="*/ 3781425 h 4496940"/>
                  <a:gd name="connsiteX98" fmla="*/ 611527 w 4519987"/>
                  <a:gd name="connsiteY98" fmla="*/ 3733800 h 4496940"/>
                  <a:gd name="connsiteX99" fmla="*/ 554377 w 4519987"/>
                  <a:gd name="connsiteY99" fmla="*/ 3657600 h 4496940"/>
                  <a:gd name="connsiteX100" fmla="*/ 525802 w 4519987"/>
                  <a:gd name="connsiteY100" fmla="*/ 3609975 h 4496940"/>
                  <a:gd name="connsiteX101" fmla="*/ 497227 w 4519987"/>
                  <a:gd name="connsiteY101" fmla="*/ 3552825 h 4496940"/>
                  <a:gd name="connsiteX102" fmla="*/ 440077 w 4519987"/>
                  <a:gd name="connsiteY102" fmla="*/ 3495675 h 4496940"/>
                  <a:gd name="connsiteX103" fmla="*/ 411502 w 4519987"/>
                  <a:gd name="connsiteY103" fmla="*/ 3448050 h 4496940"/>
                  <a:gd name="connsiteX104" fmla="*/ 278152 w 4519987"/>
                  <a:gd name="connsiteY104" fmla="*/ 3257550 h 4496940"/>
                  <a:gd name="connsiteX105" fmla="*/ 249577 w 4519987"/>
                  <a:gd name="connsiteY105" fmla="*/ 3200400 h 4496940"/>
                  <a:gd name="connsiteX106" fmla="*/ 240052 w 4519987"/>
                  <a:gd name="connsiteY106" fmla="*/ 3162300 h 4496940"/>
                  <a:gd name="connsiteX107" fmla="*/ 221002 w 4519987"/>
                  <a:gd name="connsiteY107" fmla="*/ 3105150 h 4496940"/>
                  <a:gd name="connsiteX108" fmla="*/ 173377 w 4519987"/>
                  <a:gd name="connsiteY108" fmla="*/ 3019425 h 4496940"/>
                  <a:gd name="connsiteX109" fmla="*/ 144802 w 4519987"/>
                  <a:gd name="connsiteY109" fmla="*/ 2924175 h 4496940"/>
                  <a:gd name="connsiteX110" fmla="*/ 68602 w 4519987"/>
                  <a:gd name="connsiteY110" fmla="*/ 2724150 h 4496940"/>
                  <a:gd name="connsiteX111" fmla="*/ 49552 w 4519987"/>
                  <a:gd name="connsiteY111" fmla="*/ 2638425 h 4496940"/>
                  <a:gd name="connsiteX112" fmla="*/ 40027 w 4519987"/>
                  <a:gd name="connsiteY112" fmla="*/ 2562225 h 4496940"/>
                  <a:gd name="connsiteX113" fmla="*/ 30502 w 4519987"/>
                  <a:gd name="connsiteY113" fmla="*/ 2514600 h 4496940"/>
                  <a:gd name="connsiteX114" fmla="*/ 11452 w 4519987"/>
                  <a:gd name="connsiteY114" fmla="*/ 2400300 h 4496940"/>
                  <a:gd name="connsiteX115" fmla="*/ 20977 w 4519987"/>
                  <a:gd name="connsiteY115" fmla="*/ 1905000 h 4496940"/>
                  <a:gd name="connsiteX116" fmla="*/ 30502 w 4519987"/>
                  <a:gd name="connsiteY116" fmla="*/ 1838325 h 4496940"/>
                  <a:gd name="connsiteX117" fmla="*/ 49552 w 4519987"/>
                  <a:gd name="connsiteY117" fmla="*/ 1781175 h 4496940"/>
                  <a:gd name="connsiteX118" fmla="*/ 59077 w 4519987"/>
                  <a:gd name="connsiteY118" fmla="*/ 1743075 h 4496940"/>
                  <a:gd name="connsiteX119" fmla="*/ 78127 w 4519987"/>
                  <a:gd name="connsiteY119" fmla="*/ 1685925 h 4496940"/>
                  <a:gd name="connsiteX120" fmla="*/ 87652 w 4519987"/>
                  <a:gd name="connsiteY120" fmla="*/ 1638300 h 4496940"/>
                  <a:gd name="connsiteX121" fmla="*/ 106702 w 4519987"/>
                  <a:gd name="connsiteY121" fmla="*/ 1590675 h 4496940"/>
                  <a:gd name="connsiteX122" fmla="*/ 135277 w 4519987"/>
                  <a:gd name="connsiteY122" fmla="*/ 1504950 h 4496940"/>
                  <a:gd name="connsiteX123" fmla="*/ 154327 w 4519987"/>
                  <a:gd name="connsiteY123" fmla="*/ 1419225 h 4496940"/>
                  <a:gd name="connsiteX124" fmla="*/ 230527 w 4519987"/>
                  <a:gd name="connsiteY124" fmla="*/ 1276350 h 4496940"/>
                  <a:gd name="connsiteX125" fmla="*/ 240052 w 4519987"/>
                  <a:gd name="connsiteY125" fmla="*/ 1247775 h 4496940"/>
                  <a:gd name="connsiteX126" fmla="*/ 268627 w 4519987"/>
                  <a:gd name="connsiteY126" fmla="*/ 1200150 h 4496940"/>
                  <a:gd name="connsiteX127" fmla="*/ 287677 w 4519987"/>
                  <a:gd name="connsiteY127" fmla="*/ 1152525 h 4496940"/>
                  <a:gd name="connsiteX128" fmla="*/ 316252 w 4519987"/>
                  <a:gd name="connsiteY128" fmla="*/ 1114425 h 4496940"/>
                  <a:gd name="connsiteX129" fmla="*/ 363877 w 4519987"/>
                  <a:gd name="connsiteY129" fmla="*/ 1038225 h 4496940"/>
                  <a:gd name="connsiteX130" fmla="*/ 382927 w 4519987"/>
                  <a:gd name="connsiteY130" fmla="*/ 1009650 h 4496940"/>
                  <a:gd name="connsiteX131" fmla="*/ 440077 w 4519987"/>
                  <a:gd name="connsiteY131" fmla="*/ 904875 h 4496940"/>
                  <a:gd name="connsiteX132" fmla="*/ 478177 w 4519987"/>
                  <a:gd name="connsiteY132" fmla="*/ 857250 h 4496940"/>
                  <a:gd name="connsiteX133" fmla="*/ 497227 w 4519987"/>
                  <a:gd name="connsiteY133" fmla="*/ 828675 h 4496940"/>
                  <a:gd name="connsiteX134" fmla="*/ 535327 w 4519987"/>
                  <a:gd name="connsiteY134" fmla="*/ 800100 h 4496940"/>
                  <a:gd name="connsiteX135" fmla="*/ 602002 w 4519987"/>
                  <a:gd name="connsiteY135" fmla="*/ 733425 h 4496940"/>
                  <a:gd name="connsiteX136" fmla="*/ 668677 w 4519987"/>
                  <a:gd name="connsiteY136" fmla="*/ 676275 h 4496940"/>
                  <a:gd name="connsiteX137" fmla="*/ 697252 w 4519987"/>
                  <a:gd name="connsiteY137" fmla="*/ 657225 h 4496940"/>
                  <a:gd name="connsiteX138" fmla="*/ 840127 w 4519987"/>
                  <a:gd name="connsiteY138" fmla="*/ 533400 h 4496940"/>
                  <a:gd name="connsiteX139" fmla="*/ 887752 w 4519987"/>
                  <a:gd name="connsiteY139" fmla="*/ 504825 h 4496940"/>
                  <a:gd name="connsiteX140" fmla="*/ 1167152 w 4519987"/>
                  <a:gd name="connsiteY140" fmla="*/ 311150 h 4496940"/>
                  <a:gd name="connsiteX141" fmla="*/ 1268752 w 4519987"/>
                  <a:gd name="connsiteY141" fmla="*/ 285750 h 4496940"/>
                  <a:gd name="connsiteX142" fmla="*/ 1411627 w 4519987"/>
                  <a:gd name="connsiteY142" fmla="*/ 190500 h 4496940"/>
                  <a:gd name="connsiteX143" fmla="*/ 1449727 w 4519987"/>
                  <a:gd name="connsiteY143" fmla="*/ 161925 h 4496940"/>
                  <a:gd name="connsiteX144" fmla="*/ 1525927 w 4519987"/>
                  <a:gd name="connsiteY144" fmla="*/ 152400 h 4496940"/>
                  <a:gd name="connsiteX145" fmla="*/ 1583077 w 4519987"/>
                  <a:gd name="connsiteY145" fmla="*/ 142875 h 4496940"/>
                  <a:gd name="connsiteX146" fmla="*/ 1716427 w 4519987"/>
                  <a:gd name="connsiteY146" fmla="*/ 123825 h 4496940"/>
                  <a:gd name="connsiteX147" fmla="*/ 1811677 w 4519987"/>
                  <a:gd name="connsiteY147" fmla="*/ 114300 h 4496940"/>
                  <a:gd name="connsiteX148" fmla="*/ 1859302 w 4519987"/>
                  <a:gd name="connsiteY148" fmla="*/ 104775 h 4496940"/>
                  <a:gd name="connsiteX149" fmla="*/ 1916452 w 4519987"/>
                  <a:gd name="connsiteY149" fmla="*/ 95250 h 4496940"/>
                  <a:gd name="connsiteX150" fmla="*/ 2030752 w 4519987"/>
                  <a:gd name="connsiteY150" fmla="*/ 66675 h 4496940"/>
                  <a:gd name="connsiteX151" fmla="*/ 2097427 w 4519987"/>
                  <a:gd name="connsiteY151" fmla="*/ 47625 h 4496940"/>
                  <a:gd name="connsiteX152" fmla="*/ 2164102 w 4519987"/>
                  <a:gd name="connsiteY152" fmla="*/ 38100 h 4496940"/>
                  <a:gd name="connsiteX153" fmla="*/ 2392702 w 4519987"/>
                  <a:gd name="connsiteY15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02377 w 4519987"/>
                  <a:gd name="connsiteY18" fmla="*/ 457200 h 4496940"/>
                  <a:gd name="connsiteX19" fmla="*/ 3630952 w 4519987"/>
                  <a:gd name="connsiteY19" fmla="*/ 485775 h 4496940"/>
                  <a:gd name="connsiteX20" fmla="*/ 3678577 w 4519987"/>
                  <a:gd name="connsiteY20" fmla="*/ 504825 h 4496940"/>
                  <a:gd name="connsiteX21" fmla="*/ 3745252 w 4519987"/>
                  <a:gd name="connsiteY21" fmla="*/ 542925 h 4496940"/>
                  <a:gd name="connsiteX22" fmla="*/ 3811927 w 4519987"/>
                  <a:gd name="connsiteY22" fmla="*/ 581025 h 4496940"/>
                  <a:gd name="connsiteX23" fmla="*/ 3907177 w 4519987"/>
                  <a:gd name="connsiteY23" fmla="*/ 647700 h 4496940"/>
                  <a:gd name="connsiteX24" fmla="*/ 3935752 w 4519987"/>
                  <a:gd name="connsiteY24" fmla="*/ 676275 h 4496940"/>
                  <a:gd name="connsiteX25" fmla="*/ 4078627 w 4519987"/>
                  <a:gd name="connsiteY25" fmla="*/ 838200 h 4496940"/>
                  <a:gd name="connsiteX26" fmla="*/ 4135777 w 4519987"/>
                  <a:gd name="connsiteY26" fmla="*/ 933450 h 4496940"/>
                  <a:gd name="connsiteX27" fmla="*/ 4164352 w 4519987"/>
                  <a:gd name="connsiteY27" fmla="*/ 990600 h 4496940"/>
                  <a:gd name="connsiteX28" fmla="*/ 4173877 w 4519987"/>
                  <a:gd name="connsiteY28" fmla="*/ 1019175 h 4496940"/>
                  <a:gd name="connsiteX29" fmla="*/ 4192927 w 4519987"/>
                  <a:gd name="connsiteY29" fmla="*/ 1057275 h 4496940"/>
                  <a:gd name="connsiteX30" fmla="*/ 4202452 w 4519987"/>
                  <a:gd name="connsiteY30" fmla="*/ 1085850 h 4496940"/>
                  <a:gd name="connsiteX31" fmla="*/ 4250077 w 4519987"/>
                  <a:gd name="connsiteY31" fmla="*/ 1143000 h 4496940"/>
                  <a:gd name="connsiteX32" fmla="*/ 4259602 w 4519987"/>
                  <a:gd name="connsiteY32" fmla="*/ 1190625 h 4496940"/>
                  <a:gd name="connsiteX33" fmla="*/ 4307227 w 4519987"/>
                  <a:gd name="connsiteY33" fmla="*/ 1266825 h 4496940"/>
                  <a:gd name="connsiteX34" fmla="*/ 4345327 w 4519987"/>
                  <a:gd name="connsiteY34" fmla="*/ 1362075 h 4496940"/>
                  <a:gd name="connsiteX35" fmla="*/ 4373902 w 4519987"/>
                  <a:gd name="connsiteY35" fmla="*/ 1428750 h 4496940"/>
                  <a:gd name="connsiteX36" fmla="*/ 4392952 w 4519987"/>
                  <a:gd name="connsiteY36" fmla="*/ 1552575 h 4496940"/>
                  <a:gd name="connsiteX37" fmla="*/ 4402477 w 4519987"/>
                  <a:gd name="connsiteY37" fmla="*/ 1590675 h 4496940"/>
                  <a:gd name="connsiteX38" fmla="*/ 4431052 w 4519987"/>
                  <a:gd name="connsiteY38" fmla="*/ 1685925 h 4496940"/>
                  <a:gd name="connsiteX39" fmla="*/ 4519952 w 4519987"/>
                  <a:gd name="connsiteY39" fmla="*/ 2181225 h 4496940"/>
                  <a:gd name="connsiteX40" fmla="*/ 4446927 w 4519987"/>
                  <a:gd name="connsiteY40" fmla="*/ 2768600 h 4496940"/>
                  <a:gd name="connsiteX41" fmla="*/ 4383427 w 4519987"/>
                  <a:gd name="connsiteY41" fmla="*/ 2990850 h 4496940"/>
                  <a:gd name="connsiteX42" fmla="*/ 4278652 w 4519987"/>
                  <a:gd name="connsiteY42" fmla="*/ 3248025 h 4496940"/>
                  <a:gd name="connsiteX43" fmla="*/ 4259602 w 4519987"/>
                  <a:gd name="connsiteY43" fmla="*/ 3276600 h 4496940"/>
                  <a:gd name="connsiteX44" fmla="*/ 4221502 w 4519987"/>
                  <a:gd name="connsiteY44" fmla="*/ 3333750 h 4496940"/>
                  <a:gd name="connsiteX45" fmla="*/ 4211977 w 4519987"/>
                  <a:gd name="connsiteY45" fmla="*/ 3362325 h 4496940"/>
                  <a:gd name="connsiteX46" fmla="*/ 4183402 w 4519987"/>
                  <a:gd name="connsiteY46" fmla="*/ 3400425 h 4496940"/>
                  <a:gd name="connsiteX47" fmla="*/ 4164352 w 4519987"/>
                  <a:gd name="connsiteY47" fmla="*/ 3429000 h 4496940"/>
                  <a:gd name="connsiteX48" fmla="*/ 4088152 w 4519987"/>
                  <a:gd name="connsiteY48" fmla="*/ 3495675 h 4496940"/>
                  <a:gd name="connsiteX49" fmla="*/ 4059577 w 4519987"/>
                  <a:gd name="connsiteY49" fmla="*/ 3533775 h 4496940"/>
                  <a:gd name="connsiteX50" fmla="*/ 4002427 w 4519987"/>
                  <a:gd name="connsiteY50" fmla="*/ 3600450 h 4496940"/>
                  <a:gd name="connsiteX51" fmla="*/ 3983377 w 4519987"/>
                  <a:gd name="connsiteY51" fmla="*/ 3629025 h 4496940"/>
                  <a:gd name="connsiteX52" fmla="*/ 3954802 w 4519987"/>
                  <a:gd name="connsiteY52" fmla="*/ 3648075 h 4496940"/>
                  <a:gd name="connsiteX53" fmla="*/ 3907177 w 4519987"/>
                  <a:gd name="connsiteY53" fmla="*/ 3686175 h 4496940"/>
                  <a:gd name="connsiteX54" fmla="*/ 3869077 w 4519987"/>
                  <a:gd name="connsiteY54" fmla="*/ 3724275 h 4496940"/>
                  <a:gd name="connsiteX55" fmla="*/ 3792877 w 4519987"/>
                  <a:gd name="connsiteY55" fmla="*/ 3781425 h 4496940"/>
                  <a:gd name="connsiteX56" fmla="*/ 3783352 w 4519987"/>
                  <a:gd name="connsiteY56" fmla="*/ 3810000 h 4496940"/>
                  <a:gd name="connsiteX57" fmla="*/ 3745252 w 4519987"/>
                  <a:gd name="connsiteY57" fmla="*/ 3819525 h 4496940"/>
                  <a:gd name="connsiteX58" fmla="*/ 3678577 w 4519987"/>
                  <a:gd name="connsiteY58" fmla="*/ 3848100 h 4496940"/>
                  <a:gd name="connsiteX59" fmla="*/ 3659527 w 4519987"/>
                  <a:gd name="connsiteY59" fmla="*/ 3971925 h 4496940"/>
                  <a:gd name="connsiteX60" fmla="*/ 3630952 w 4519987"/>
                  <a:gd name="connsiteY60" fmla="*/ 4010025 h 4496940"/>
                  <a:gd name="connsiteX61" fmla="*/ 3621427 w 4519987"/>
                  <a:gd name="connsiteY61" fmla="*/ 4038600 h 4496940"/>
                  <a:gd name="connsiteX62" fmla="*/ 3554752 w 4519987"/>
                  <a:gd name="connsiteY62" fmla="*/ 4095750 h 4496940"/>
                  <a:gd name="connsiteX63" fmla="*/ 3516652 w 4519987"/>
                  <a:gd name="connsiteY63" fmla="*/ 4114800 h 4496940"/>
                  <a:gd name="connsiteX64" fmla="*/ 3497602 w 4519987"/>
                  <a:gd name="connsiteY64" fmla="*/ 4143375 h 4496940"/>
                  <a:gd name="connsiteX65" fmla="*/ 3383302 w 4519987"/>
                  <a:gd name="connsiteY65" fmla="*/ 4210050 h 4496940"/>
                  <a:gd name="connsiteX66" fmla="*/ 3335677 w 4519987"/>
                  <a:gd name="connsiteY66" fmla="*/ 4238625 h 4496940"/>
                  <a:gd name="connsiteX67" fmla="*/ 3288052 w 4519987"/>
                  <a:gd name="connsiteY67" fmla="*/ 4248150 h 4496940"/>
                  <a:gd name="connsiteX68" fmla="*/ 3240427 w 4519987"/>
                  <a:gd name="connsiteY68" fmla="*/ 4267200 h 4496940"/>
                  <a:gd name="connsiteX69" fmla="*/ 3068977 w 4519987"/>
                  <a:gd name="connsiteY69" fmla="*/ 4286250 h 4496940"/>
                  <a:gd name="connsiteX70" fmla="*/ 2935627 w 4519987"/>
                  <a:gd name="connsiteY70" fmla="*/ 4333875 h 4496940"/>
                  <a:gd name="connsiteX71" fmla="*/ 2811802 w 4519987"/>
                  <a:gd name="connsiteY71" fmla="*/ 4371975 h 4496940"/>
                  <a:gd name="connsiteX72" fmla="*/ 2745127 w 4519987"/>
                  <a:gd name="connsiteY72" fmla="*/ 4410075 h 4496940"/>
                  <a:gd name="connsiteX73" fmla="*/ 2697502 w 4519987"/>
                  <a:gd name="connsiteY73" fmla="*/ 4429125 h 4496940"/>
                  <a:gd name="connsiteX74" fmla="*/ 2640352 w 4519987"/>
                  <a:gd name="connsiteY74" fmla="*/ 4457700 h 4496940"/>
                  <a:gd name="connsiteX75" fmla="*/ 2583202 w 4519987"/>
                  <a:gd name="connsiteY75" fmla="*/ 4467225 h 4496940"/>
                  <a:gd name="connsiteX76" fmla="*/ 2545102 w 4519987"/>
                  <a:gd name="connsiteY76" fmla="*/ 4486275 h 4496940"/>
                  <a:gd name="connsiteX77" fmla="*/ 2306977 w 4519987"/>
                  <a:gd name="connsiteY77" fmla="*/ 4476750 h 4496940"/>
                  <a:gd name="connsiteX78" fmla="*/ 2202202 w 4519987"/>
                  <a:gd name="connsiteY78" fmla="*/ 4457700 h 4496940"/>
                  <a:gd name="connsiteX79" fmla="*/ 2126002 w 4519987"/>
                  <a:gd name="connsiteY79" fmla="*/ 4429125 h 4496940"/>
                  <a:gd name="connsiteX80" fmla="*/ 1935502 w 4519987"/>
                  <a:gd name="connsiteY80" fmla="*/ 4400550 h 4496940"/>
                  <a:gd name="connsiteX81" fmla="*/ 1821202 w 4519987"/>
                  <a:gd name="connsiteY81" fmla="*/ 4371975 h 4496940"/>
                  <a:gd name="connsiteX82" fmla="*/ 1754527 w 4519987"/>
                  <a:gd name="connsiteY82" fmla="*/ 4352925 h 4496940"/>
                  <a:gd name="connsiteX83" fmla="*/ 1687852 w 4519987"/>
                  <a:gd name="connsiteY83" fmla="*/ 4343400 h 4496940"/>
                  <a:gd name="connsiteX84" fmla="*/ 1573552 w 4519987"/>
                  <a:gd name="connsiteY84" fmla="*/ 4305300 h 4496940"/>
                  <a:gd name="connsiteX85" fmla="*/ 1402102 w 4519987"/>
                  <a:gd name="connsiteY85" fmla="*/ 4276725 h 4496940"/>
                  <a:gd name="connsiteX86" fmla="*/ 1287802 w 4519987"/>
                  <a:gd name="connsiteY86" fmla="*/ 4229100 h 4496940"/>
                  <a:gd name="connsiteX87" fmla="*/ 1221127 w 4519987"/>
                  <a:gd name="connsiteY87" fmla="*/ 4200525 h 4496940"/>
                  <a:gd name="connsiteX88" fmla="*/ 1144927 w 4519987"/>
                  <a:gd name="connsiteY88" fmla="*/ 4171950 h 4496940"/>
                  <a:gd name="connsiteX89" fmla="*/ 1087777 w 4519987"/>
                  <a:gd name="connsiteY89" fmla="*/ 4143375 h 4496940"/>
                  <a:gd name="connsiteX90" fmla="*/ 1030627 w 4519987"/>
                  <a:gd name="connsiteY90" fmla="*/ 4124325 h 4496940"/>
                  <a:gd name="connsiteX91" fmla="*/ 925852 w 4519987"/>
                  <a:gd name="connsiteY91" fmla="*/ 4067175 h 4496940"/>
                  <a:gd name="connsiteX92" fmla="*/ 830602 w 4519987"/>
                  <a:gd name="connsiteY92" fmla="*/ 3981450 h 4496940"/>
                  <a:gd name="connsiteX93" fmla="*/ 763927 w 4519987"/>
                  <a:gd name="connsiteY93" fmla="*/ 3914775 h 4496940"/>
                  <a:gd name="connsiteX94" fmla="*/ 725827 w 4519987"/>
                  <a:gd name="connsiteY94" fmla="*/ 3876675 h 4496940"/>
                  <a:gd name="connsiteX95" fmla="*/ 697252 w 4519987"/>
                  <a:gd name="connsiteY95" fmla="*/ 3838575 h 4496940"/>
                  <a:gd name="connsiteX96" fmla="*/ 640102 w 4519987"/>
                  <a:gd name="connsiteY96" fmla="*/ 3781425 h 4496940"/>
                  <a:gd name="connsiteX97" fmla="*/ 611527 w 4519987"/>
                  <a:gd name="connsiteY97" fmla="*/ 3733800 h 4496940"/>
                  <a:gd name="connsiteX98" fmla="*/ 554377 w 4519987"/>
                  <a:gd name="connsiteY98" fmla="*/ 3657600 h 4496940"/>
                  <a:gd name="connsiteX99" fmla="*/ 525802 w 4519987"/>
                  <a:gd name="connsiteY99" fmla="*/ 3609975 h 4496940"/>
                  <a:gd name="connsiteX100" fmla="*/ 497227 w 4519987"/>
                  <a:gd name="connsiteY100" fmla="*/ 3552825 h 4496940"/>
                  <a:gd name="connsiteX101" fmla="*/ 440077 w 4519987"/>
                  <a:gd name="connsiteY101" fmla="*/ 3495675 h 4496940"/>
                  <a:gd name="connsiteX102" fmla="*/ 411502 w 4519987"/>
                  <a:gd name="connsiteY102" fmla="*/ 3448050 h 4496940"/>
                  <a:gd name="connsiteX103" fmla="*/ 278152 w 4519987"/>
                  <a:gd name="connsiteY103" fmla="*/ 3257550 h 4496940"/>
                  <a:gd name="connsiteX104" fmla="*/ 249577 w 4519987"/>
                  <a:gd name="connsiteY104" fmla="*/ 3200400 h 4496940"/>
                  <a:gd name="connsiteX105" fmla="*/ 240052 w 4519987"/>
                  <a:gd name="connsiteY105" fmla="*/ 3162300 h 4496940"/>
                  <a:gd name="connsiteX106" fmla="*/ 221002 w 4519987"/>
                  <a:gd name="connsiteY106" fmla="*/ 3105150 h 4496940"/>
                  <a:gd name="connsiteX107" fmla="*/ 173377 w 4519987"/>
                  <a:gd name="connsiteY107" fmla="*/ 3019425 h 4496940"/>
                  <a:gd name="connsiteX108" fmla="*/ 144802 w 4519987"/>
                  <a:gd name="connsiteY108" fmla="*/ 2924175 h 4496940"/>
                  <a:gd name="connsiteX109" fmla="*/ 68602 w 4519987"/>
                  <a:gd name="connsiteY109" fmla="*/ 2724150 h 4496940"/>
                  <a:gd name="connsiteX110" fmla="*/ 49552 w 4519987"/>
                  <a:gd name="connsiteY110" fmla="*/ 2638425 h 4496940"/>
                  <a:gd name="connsiteX111" fmla="*/ 40027 w 4519987"/>
                  <a:gd name="connsiteY111" fmla="*/ 2562225 h 4496940"/>
                  <a:gd name="connsiteX112" fmla="*/ 30502 w 4519987"/>
                  <a:gd name="connsiteY112" fmla="*/ 2514600 h 4496940"/>
                  <a:gd name="connsiteX113" fmla="*/ 11452 w 4519987"/>
                  <a:gd name="connsiteY113" fmla="*/ 2400300 h 4496940"/>
                  <a:gd name="connsiteX114" fmla="*/ 20977 w 4519987"/>
                  <a:gd name="connsiteY114" fmla="*/ 1905000 h 4496940"/>
                  <a:gd name="connsiteX115" fmla="*/ 30502 w 4519987"/>
                  <a:gd name="connsiteY115" fmla="*/ 1838325 h 4496940"/>
                  <a:gd name="connsiteX116" fmla="*/ 49552 w 4519987"/>
                  <a:gd name="connsiteY116" fmla="*/ 1781175 h 4496940"/>
                  <a:gd name="connsiteX117" fmla="*/ 59077 w 4519987"/>
                  <a:gd name="connsiteY117" fmla="*/ 1743075 h 4496940"/>
                  <a:gd name="connsiteX118" fmla="*/ 78127 w 4519987"/>
                  <a:gd name="connsiteY118" fmla="*/ 1685925 h 4496940"/>
                  <a:gd name="connsiteX119" fmla="*/ 87652 w 4519987"/>
                  <a:gd name="connsiteY119" fmla="*/ 1638300 h 4496940"/>
                  <a:gd name="connsiteX120" fmla="*/ 106702 w 4519987"/>
                  <a:gd name="connsiteY120" fmla="*/ 1590675 h 4496940"/>
                  <a:gd name="connsiteX121" fmla="*/ 135277 w 4519987"/>
                  <a:gd name="connsiteY121" fmla="*/ 1504950 h 4496940"/>
                  <a:gd name="connsiteX122" fmla="*/ 154327 w 4519987"/>
                  <a:gd name="connsiteY122" fmla="*/ 1419225 h 4496940"/>
                  <a:gd name="connsiteX123" fmla="*/ 230527 w 4519987"/>
                  <a:gd name="connsiteY123" fmla="*/ 1276350 h 4496940"/>
                  <a:gd name="connsiteX124" fmla="*/ 240052 w 4519987"/>
                  <a:gd name="connsiteY124" fmla="*/ 1247775 h 4496940"/>
                  <a:gd name="connsiteX125" fmla="*/ 268627 w 4519987"/>
                  <a:gd name="connsiteY125" fmla="*/ 1200150 h 4496940"/>
                  <a:gd name="connsiteX126" fmla="*/ 287677 w 4519987"/>
                  <a:gd name="connsiteY126" fmla="*/ 1152525 h 4496940"/>
                  <a:gd name="connsiteX127" fmla="*/ 316252 w 4519987"/>
                  <a:gd name="connsiteY127" fmla="*/ 1114425 h 4496940"/>
                  <a:gd name="connsiteX128" fmla="*/ 363877 w 4519987"/>
                  <a:gd name="connsiteY128" fmla="*/ 1038225 h 4496940"/>
                  <a:gd name="connsiteX129" fmla="*/ 382927 w 4519987"/>
                  <a:gd name="connsiteY129" fmla="*/ 1009650 h 4496940"/>
                  <a:gd name="connsiteX130" fmla="*/ 440077 w 4519987"/>
                  <a:gd name="connsiteY130" fmla="*/ 904875 h 4496940"/>
                  <a:gd name="connsiteX131" fmla="*/ 478177 w 4519987"/>
                  <a:gd name="connsiteY131" fmla="*/ 857250 h 4496940"/>
                  <a:gd name="connsiteX132" fmla="*/ 497227 w 4519987"/>
                  <a:gd name="connsiteY132" fmla="*/ 828675 h 4496940"/>
                  <a:gd name="connsiteX133" fmla="*/ 535327 w 4519987"/>
                  <a:gd name="connsiteY133" fmla="*/ 800100 h 4496940"/>
                  <a:gd name="connsiteX134" fmla="*/ 602002 w 4519987"/>
                  <a:gd name="connsiteY134" fmla="*/ 733425 h 4496940"/>
                  <a:gd name="connsiteX135" fmla="*/ 668677 w 4519987"/>
                  <a:gd name="connsiteY135" fmla="*/ 676275 h 4496940"/>
                  <a:gd name="connsiteX136" fmla="*/ 697252 w 4519987"/>
                  <a:gd name="connsiteY136" fmla="*/ 657225 h 4496940"/>
                  <a:gd name="connsiteX137" fmla="*/ 840127 w 4519987"/>
                  <a:gd name="connsiteY137" fmla="*/ 533400 h 4496940"/>
                  <a:gd name="connsiteX138" fmla="*/ 887752 w 4519987"/>
                  <a:gd name="connsiteY138" fmla="*/ 504825 h 4496940"/>
                  <a:gd name="connsiteX139" fmla="*/ 1167152 w 4519987"/>
                  <a:gd name="connsiteY139" fmla="*/ 311150 h 4496940"/>
                  <a:gd name="connsiteX140" fmla="*/ 1268752 w 4519987"/>
                  <a:gd name="connsiteY140" fmla="*/ 285750 h 4496940"/>
                  <a:gd name="connsiteX141" fmla="*/ 1411627 w 4519987"/>
                  <a:gd name="connsiteY141" fmla="*/ 190500 h 4496940"/>
                  <a:gd name="connsiteX142" fmla="*/ 1449727 w 4519987"/>
                  <a:gd name="connsiteY142" fmla="*/ 161925 h 4496940"/>
                  <a:gd name="connsiteX143" fmla="*/ 1525927 w 4519987"/>
                  <a:gd name="connsiteY143" fmla="*/ 152400 h 4496940"/>
                  <a:gd name="connsiteX144" fmla="*/ 1583077 w 4519987"/>
                  <a:gd name="connsiteY144" fmla="*/ 142875 h 4496940"/>
                  <a:gd name="connsiteX145" fmla="*/ 1716427 w 4519987"/>
                  <a:gd name="connsiteY145" fmla="*/ 123825 h 4496940"/>
                  <a:gd name="connsiteX146" fmla="*/ 1811677 w 4519987"/>
                  <a:gd name="connsiteY146" fmla="*/ 114300 h 4496940"/>
                  <a:gd name="connsiteX147" fmla="*/ 1859302 w 4519987"/>
                  <a:gd name="connsiteY147" fmla="*/ 104775 h 4496940"/>
                  <a:gd name="connsiteX148" fmla="*/ 1916452 w 4519987"/>
                  <a:gd name="connsiteY148" fmla="*/ 95250 h 4496940"/>
                  <a:gd name="connsiteX149" fmla="*/ 2030752 w 4519987"/>
                  <a:gd name="connsiteY149" fmla="*/ 66675 h 4496940"/>
                  <a:gd name="connsiteX150" fmla="*/ 2097427 w 4519987"/>
                  <a:gd name="connsiteY150" fmla="*/ 47625 h 4496940"/>
                  <a:gd name="connsiteX151" fmla="*/ 2164102 w 4519987"/>
                  <a:gd name="connsiteY151" fmla="*/ 38100 h 4496940"/>
                  <a:gd name="connsiteX152" fmla="*/ 2392702 w 4519987"/>
                  <a:gd name="connsiteY15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02377 w 4519987"/>
                  <a:gd name="connsiteY18" fmla="*/ 457200 h 4496940"/>
                  <a:gd name="connsiteX19" fmla="*/ 3630952 w 4519987"/>
                  <a:gd name="connsiteY19" fmla="*/ 485775 h 4496940"/>
                  <a:gd name="connsiteX20" fmla="*/ 3745252 w 4519987"/>
                  <a:gd name="connsiteY20" fmla="*/ 542925 h 4496940"/>
                  <a:gd name="connsiteX21" fmla="*/ 3811927 w 4519987"/>
                  <a:gd name="connsiteY21" fmla="*/ 581025 h 4496940"/>
                  <a:gd name="connsiteX22" fmla="*/ 3907177 w 4519987"/>
                  <a:gd name="connsiteY22" fmla="*/ 647700 h 4496940"/>
                  <a:gd name="connsiteX23" fmla="*/ 3935752 w 4519987"/>
                  <a:gd name="connsiteY23" fmla="*/ 676275 h 4496940"/>
                  <a:gd name="connsiteX24" fmla="*/ 4078627 w 4519987"/>
                  <a:gd name="connsiteY24" fmla="*/ 838200 h 4496940"/>
                  <a:gd name="connsiteX25" fmla="*/ 4135777 w 4519987"/>
                  <a:gd name="connsiteY25" fmla="*/ 933450 h 4496940"/>
                  <a:gd name="connsiteX26" fmla="*/ 4164352 w 4519987"/>
                  <a:gd name="connsiteY26" fmla="*/ 990600 h 4496940"/>
                  <a:gd name="connsiteX27" fmla="*/ 4173877 w 4519987"/>
                  <a:gd name="connsiteY27" fmla="*/ 1019175 h 4496940"/>
                  <a:gd name="connsiteX28" fmla="*/ 4192927 w 4519987"/>
                  <a:gd name="connsiteY28" fmla="*/ 1057275 h 4496940"/>
                  <a:gd name="connsiteX29" fmla="*/ 4202452 w 4519987"/>
                  <a:gd name="connsiteY29" fmla="*/ 1085850 h 4496940"/>
                  <a:gd name="connsiteX30" fmla="*/ 4250077 w 4519987"/>
                  <a:gd name="connsiteY30" fmla="*/ 1143000 h 4496940"/>
                  <a:gd name="connsiteX31" fmla="*/ 4259602 w 4519987"/>
                  <a:gd name="connsiteY31" fmla="*/ 1190625 h 4496940"/>
                  <a:gd name="connsiteX32" fmla="*/ 4307227 w 4519987"/>
                  <a:gd name="connsiteY32" fmla="*/ 1266825 h 4496940"/>
                  <a:gd name="connsiteX33" fmla="*/ 4345327 w 4519987"/>
                  <a:gd name="connsiteY33" fmla="*/ 1362075 h 4496940"/>
                  <a:gd name="connsiteX34" fmla="*/ 4373902 w 4519987"/>
                  <a:gd name="connsiteY34" fmla="*/ 1428750 h 4496940"/>
                  <a:gd name="connsiteX35" fmla="*/ 4392952 w 4519987"/>
                  <a:gd name="connsiteY35" fmla="*/ 1552575 h 4496940"/>
                  <a:gd name="connsiteX36" fmla="*/ 4402477 w 4519987"/>
                  <a:gd name="connsiteY36" fmla="*/ 1590675 h 4496940"/>
                  <a:gd name="connsiteX37" fmla="*/ 4431052 w 4519987"/>
                  <a:gd name="connsiteY37" fmla="*/ 1685925 h 4496940"/>
                  <a:gd name="connsiteX38" fmla="*/ 4519952 w 4519987"/>
                  <a:gd name="connsiteY38" fmla="*/ 2181225 h 4496940"/>
                  <a:gd name="connsiteX39" fmla="*/ 4446927 w 4519987"/>
                  <a:gd name="connsiteY39" fmla="*/ 2768600 h 4496940"/>
                  <a:gd name="connsiteX40" fmla="*/ 4383427 w 4519987"/>
                  <a:gd name="connsiteY40" fmla="*/ 2990850 h 4496940"/>
                  <a:gd name="connsiteX41" fmla="*/ 4278652 w 4519987"/>
                  <a:gd name="connsiteY41" fmla="*/ 3248025 h 4496940"/>
                  <a:gd name="connsiteX42" fmla="*/ 4259602 w 4519987"/>
                  <a:gd name="connsiteY42" fmla="*/ 3276600 h 4496940"/>
                  <a:gd name="connsiteX43" fmla="*/ 4221502 w 4519987"/>
                  <a:gd name="connsiteY43" fmla="*/ 3333750 h 4496940"/>
                  <a:gd name="connsiteX44" fmla="*/ 4211977 w 4519987"/>
                  <a:gd name="connsiteY44" fmla="*/ 3362325 h 4496940"/>
                  <a:gd name="connsiteX45" fmla="*/ 4183402 w 4519987"/>
                  <a:gd name="connsiteY45" fmla="*/ 3400425 h 4496940"/>
                  <a:gd name="connsiteX46" fmla="*/ 4164352 w 4519987"/>
                  <a:gd name="connsiteY46" fmla="*/ 3429000 h 4496940"/>
                  <a:gd name="connsiteX47" fmla="*/ 4088152 w 4519987"/>
                  <a:gd name="connsiteY47" fmla="*/ 3495675 h 4496940"/>
                  <a:gd name="connsiteX48" fmla="*/ 4059577 w 4519987"/>
                  <a:gd name="connsiteY48" fmla="*/ 3533775 h 4496940"/>
                  <a:gd name="connsiteX49" fmla="*/ 4002427 w 4519987"/>
                  <a:gd name="connsiteY49" fmla="*/ 3600450 h 4496940"/>
                  <a:gd name="connsiteX50" fmla="*/ 3983377 w 4519987"/>
                  <a:gd name="connsiteY50" fmla="*/ 3629025 h 4496940"/>
                  <a:gd name="connsiteX51" fmla="*/ 3954802 w 4519987"/>
                  <a:gd name="connsiteY51" fmla="*/ 3648075 h 4496940"/>
                  <a:gd name="connsiteX52" fmla="*/ 3907177 w 4519987"/>
                  <a:gd name="connsiteY52" fmla="*/ 3686175 h 4496940"/>
                  <a:gd name="connsiteX53" fmla="*/ 3869077 w 4519987"/>
                  <a:gd name="connsiteY53" fmla="*/ 3724275 h 4496940"/>
                  <a:gd name="connsiteX54" fmla="*/ 3792877 w 4519987"/>
                  <a:gd name="connsiteY54" fmla="*/ 3781425 h 4496940"/>
                  <a:gd name="connsiteX55" fmla="*/ 3783352 w 4519987"/>
                  <a:gd name="connsiteY55" fmla="*/ 3810000 h 4496940"/>
                  <a:gd name="connsiteX56" fmla="*/ 3745252 w 4519987"/>
                  <a:gd name="connsiteY56" fmla="*/ 3819525 h 4496940"/>
                  <a:gd name="connsiteX57" fmla="*/ 3678577 w 4519987"/>
                  <a:gd name="connsiteY57" fmla="*/ 3848100 h 4496940"/>
                  <a:gd name="connsiteX58" fmla="*/ 3659527 w 4519987"/>
                  <a:gd name="connsiteY58" fmla="*/ 3971925 h 4496940"/>
                  <a:gd name="connsiteX59" fmla="*/ 3630952 w 4519987"/>
                  <a:gd name="connsiteY59" fmla="*/ 4010025 h 4496940"/>
                  <a:gd name="connsiteX60" fmla="*/ 3621427 w 4519987"/>
                  <a:gd name="connsiteY60" fmla="*/ 4038600 h 4496940"/>
                  <a:gd name="connsiteX61" fmla="*/ 3554752 w 4519987"/>
                  <a:gd name="connsiteY61" fmla="*/ 4095750 h 4496940"/>
                  <a:gd name="connsiteX62" fmla="*/ 3516652 w 4519987"/>
                  <a:gd name="connsiteY62" fmla="*/ 4114800 h 4496940"/>
                  <a:gd name="connsiteX63" fmla="*/ 3497602 w 4519987"/>
                  <a:gd name="connsiteY63" fmla="*/ 4143375 h 4496940"/>
                  <a:gd name="connsiteX64" fmla="*/ 3383302 w 4519987"/>
                  <a:gd name="connsiteY64" fmla="*/ 4210050 h 4496940"/>
                  <a:gd name="connsiteX65" fmla="*/ 3335677 w 4519987"/>
                  <a:gd name="connsiteY65" fmla="*/ 4238625 h 4496940"/>
                  <a:gd name="connsiteX66" fmla="*/ 3288052 w 4519987"/>
                  <a:gd name="connsiteY66" fmla="*/ 4248150 h 4496940"/>
                  <a:gd name="connsiteX67" fmla="*/ 3240427 w 4519987"/>
                  <a:gd name="connsiteY67" fmla="*/ 4267200 h 4496940"/>
                  <a:gd name="connsiteX68" fmla="*/ 3068977 w 4519987"/>
                  <a:gd name="connsiteY68" fmla="*/ 4286250 h 4496940"/>
                  <a:gd name="connsiteX69" fmla="*/ 2935627 w 4519987"/>
                  <a:gd name="connsiteY69" fmla="*/ 4333875 h 4496940"/>
                  <a:gd name="connsiteX70" fmla="*/ 2811802 w 4519987"/>
                  <a:gd name="connsiteY70" fmla="*/ 4371975 h 4496940"/>
                  <a:gd name="connsiteX71" fmla="*/ 2745127 w 4519987"/>
                  <a:gd name="connsiteY71" fmla="*/ 4410075 h 4496940"/>
                  <a:gd name="connsiteX72" fmla="*/ 2697502 w 4519987"/>
                  <a:gd name="connsiteY72" fmla="*/ 4429125 h 4496940"/>
                  <a:gd name="connsiteX73" fmla="*/ 2640352 w 4519987"/>
                  <a:gd name="connsiteY73" fmla="*/ 4457700 h 4496940"/>
                  <a:gd name="connsiteX74" fmla="*/ 2583202 w 4519987"/>
                  <a:gd name="connsiteY74" fmla="*/ 4467225 h 4496940"/>
                  <a:gd name="connsiteX75" fmla="*/ 2545102 w 4519987"/>
                  <a:gd name="connsiteY75" fmla="*/ 4486275 h 4496940"/>
                  <a:gd name="connsiteX76" fmla="*/ 2306977 w 4519987"/>
                  <a:gd name="connsiteY76" fmla="*/ 4476750 h 4496940"/>
                  <a:gd name="connsiteX77" fmla="*/ 2202202 w 4519987"/>
                  <a:gd name="connsiteY77" fmla="*/ 4457700 h 4496940"/>
                  <a:gd name="connsiteX78" fmla="*/ 2126002 w 4519987"/>
                  <a:gd name="connsiteY78" fmla="*/ 4429125 h 4496940"/>
                  <a:gd name="connsiteX79" fmla="*/ 1935502 w 4519987"/>
                  <a:gd name="connsiteY79" fmla="*/ 4400550 h 4496940"/>
                  <a:gd name="connsiteX80" fmla="*/ 1821202 w 4519987"/>
                  <a:gd name="connsiteY80" fmla="*/ 4371975 h 4496940"/>
                  <a:gd name="connsiteX81" fmla="*/ 1754527 w 4519987"/>
                  <a:gd name="connsiteY81" fmla="*/ 4352925 h 4496940"/>
                  <a:gd name="connsiteX82" fmla="*/ 1687852 w 4519987"/>
                  <a:gd name="connsiteY82" fmla="*/ 4343400 h 4496940"/>
                  <a:gd name="connsiteX83" fmla="*/ 1573552 w 4519987"/>
                  <a:gd name="connsiteY83" fmla="*/ 4305300 h 4496940"/>
                  <a:gd name="connsiteX84" fmla="*/ 1402102 w 4519987"/>
                  <a:gd name="connsiteY84" fmla="*/ 4276725 h 4496940"/>
                  <a:gd name="connsiteX85" fmla="*/ 1287802 w 4519987"/>
                  <a:gd name="connsiteY85" fmla="*/ 4229100 h 4496940"/>
                  <a:gd name="connsiteX86" fmla="*/ 1221127 w 4519987"/>
                  <a:gd name="connsiteY86" fmla="*/ 4200525 h 4496940"/>
                  <a:gd name="connsiteX87" fmla="*/ 1144927 w 4519987"/>
                  <a:gd name="connsiteY87" fmla="*/ 4171950 h 4496940"/>
                  <a:gd name="connsiteX88" fmla="*/ 1087777 w 4519987"/>
                  <a:gd name="connsiteY88" fmla="*/ 4143375 h 4496940"/>
                  <a:gd name="connsiteX89" fmla="*/ 1030627 w 4519987"/>
                  <a:gd name="connsiteY89" fmla="*/ 4124325 h 4496940"/>
                  <a:gd name="connsiteX90" fmla="*/ 925852 w 4519987"/>
                  <a:gd name="connsiteY90" fmla="*/ 4067175 h 4496940"/>
                  <a:gd name="connsiteX91" fmla="*/ 830602 w 4519987"/>
                  <a:gd name="connsiteY91" fmla="*/ 3981450 h 4496940"/>
                  <a:gd name="connsiteX92" fmla="*/ 763927 w 4519987"/>
                  <a:gd name="connsiteY92" fmla="*/ 3914775 h 4496940"/>
                  <a:gd name="connsiteX93" fmla="*/ 725827 w 4519987"/>
                  <a:gd name="connsiteY93" fmla="*/ 3876675 h 4496940"/>
                  <a:gd name="connsiteX94" fmla="*/ 697252 w 4519987"/>
                  <a:gd name="connsiteY94" fmla="*/ 3838575 h 4496940"/>
                  <a:gd name="connsiteX95" fmla="*/ 640102 w 4519987"/>
                  <a:gd name="connsiteY95" fmla="*/ 3781425 h 4496940"/>
                  <a:gd name="connsiteX96" fmla="*/ 611527 w 4519987"/>
                  <a:gd name="connsiteY96" fmla="*/ 3733800 h 4496940"/>
                  <a:gd name="connsiteX97" fmla="*/ 554377 w 4519987"/>
                  <a:gd name="connsiteY97" fmla="*/ 3657600 h 4496940"/>
                  <a:gd name="connsiteX98" fmla="*/ 525802 w 4519987"/>
                  <a:gd name="connsiteY98" fmla="*/ 3609975 h 4496940"/>
                  <a:gd name="connsiteX99" fmla="*/ 497227 w 4519987"/>
                  <a:gd name="connsiteY99" fmla="*/ 3552825 h 4496940"/>
                  <a:gd name="connsiteX100" fmla="*/ 440077 w 4519987"/>
                  <a:gd name="connsiteY100" fmla="*/ 3495675 h 4496940"/>
                  <a:gd name="connsiteX101" fmla="*/ 411502 w 4519987"/>
                  <a:gd name="connsiteY101" fmla="*/ 3448050 h 4496940"/>
                  <a:gd name="connsiteX102" fmla="*/ 278152 w 4519987"/>
                  <a:gd name="connsiteY102" fmla="*/ 3257550 h 4496940"/>
                  <a:gd name="connsiteX103" fmla="*/ 249577 w 4519987"/>
                  <a:gd name="connsiteY103" fmla="*/ 3200400 h 4496940"/>
                  <a:gd name="connsiteX104" fmla="*/ 240052 w 4519987"/>
                  <a:gd name="connsiteY104" fmla="*/ 3162300 h 4496940"/>
                  <a:gd name="connsiteX105" fmla="*/ 221002 w 4519987"/>
                  <a:gd name="connsiteY105" fmla="*/ 3105150 h 4496940"/>
                  <a:gd name="connsiteX106" fmla="*/ 173377 w 4519987"/>
                  <a:gd name="connsiteY106" fmla="*/ 3019425 h 4496940"/>
                  <a:gd name="connsiteX107" fmla="*/ 144802 w 4519987"/>
                  <a:gd name="connsiteY107" fmla="*/ 2924175 h 4496940"/>
                  <a:gd name="connsiteX108" fmla="*/ 68602 w 4519987"/>
                  <a:gd name="connsiteY108" fmla="*/ 2724150 h 4496940"/>
                  <a:gd name="connsiteX109" fmla="*/ 49552 w 4519987"/>
                  <a:gd name="connsiteY109" fmla="*/ 2638425 h 4496940"/>
                  <a:gd name="connsiteX110" fmla="*/ 40027 w 4519987"/>
                  <a:gd name="connsiteY110" fmla="*/ 2562225 h 4496940"/>
                  <a:gd name="connsiteX111" fmla="*/ 30502 w 4519987"/>
                  <a:gd name="connsiteY111" fmla="*/ 2514600 h 4496940"/>
                  <a:gd name="connsiteX112" fmla="*/ 11452 w 4519987"/>
                  <a:gd name="connsiteY112" fmla="*/ 2400300 h 4496940"/>
                  <a:gd name="connsiteX113" fmla="*/ 20977 w 4519987"/>
                  <a:gd name="connsiteY113" fmla="*/ 1905000 h 4496940"/>
                  <a:gd name="connsiteX114" fmla="*/ 30502 w 4519987"/>
                  <a:gd name="connsiteY114" fmla="*/ 1838325 h 4496940"/>
                  <a:gd name="connsiteX115" fmla="*/ 49552 w 4519987"/>
                  <a:gd name="connsiteY115" fmla="*/ 1781175 h 4496940"/>
                  <a:gd name="connsiteX116" fmla="*/ 59077 w 4519987"/>
                  <a:gd name="connsiteY116" fmla="*/ 1743075 h 4496940"/>
                  <a:gd name="connsiteX117" fmla="*/ 78127 w 4519987"/>
                  <a:gd name="connsiteY117" fmla="*/ 1685925 h 4496940"/>
                  <a:gd name="connsiteX118" fmla="*/ 87652 w 4519987"/>
                  <a:gd name="connsiteY118" fmla="*/ 1638300 h 4496940"/>
                  <a:gd name="connsiteX119" fmla="*/ 106702 w 4519987"/>
                  <a:gd name="connsiteY119" fmla="*/ 1590675 h 4496940"/>
                  <a:gd name="connsiteX120" fmla="*/ 135277 w 4519987"/>
                  <a:gd name="connsiteY120" fmla="*/ 1504950 h 4496940"/>
                  <a:gd name="connsiteX121" fmla="*/ 154327 w 4519987"/>
                  <a:gd name="connsiteY121" fmla="*/ 1419225 h 4496940"/>
                  <a:gd name="connsiteX122" fmla="*/ 230527 w 4519987"/>
                  <a:gd name="connsiteY122" fmla="*/ 1276350 h 4496940"/>
                  <a:gd name="connsiteX123" fmla="*/ 240052 w 4519987"/>
                  <a:gd name="connsiteY123" fmla="*/ 1247775 h 4496940"/>
                  <a:gd name="connsiteX124" fmla="*/ 268627 w 4519987"/>
                  <a:gd name="connsiteY124" fmla="*/ 1200150 h 4496940"/>
                  <a:gd name="connsiteX125" fmla="*/ 287677 w 4519987"/>
                  <a:gd name="connsiteY125" fmla="*/ 1152525 h 4496940"/>
                  <a:gd name="connsiteX126" fmla="*/ 316252 w 4519987"/>
                  <a:gd name="connsiteY126" fmla="*/ 1114425 h 4496940"/>
                  <a:gd name="connsiteX127" fmla="*/ 363877 w 4519987"/>
                  <a:gd name="connsiteY127" fmla="*/ 1038225 h 4496940"/>
                  <a:gd name="connsiteX128" fmla="*/ 382927 w 4519987"/>
                  <a:gd name="connsiteY128" fmla="*/ 1009650 h 4496940"/>
                  <a:gd name="connsiteX129" fmla="*/ 440077 w 4519987"/>
                  <a:gd name="connsiteY129" fmla="*/ 904875 h 4496940"/>
                  <a:gd name="connsiteX130" fmla="*/ 478177 w 4519987"/>
                  <a:gd name="connsiteY130" fmla="*/ 857250 h 4496940"/>
                  <a:gd name="connsiteX131" fmla="*/ 497227 w 4519987"/>
                  <a:gd name="connsiteY131" fmla="*/ 828675 h 4496940"/>
                  <a:gd name="connsiteX132" fmla="*/ 535327 w 4519987"/>
                  <a:gd name="connsiteY132" fmla="*/ 800100 h 4496940"/>
                  <a:gd name="connsiteX133" fmla="*/ 602002 w 4519987"/>
                  <a:gd name="connsiteY133" fmla="*/ 733425 h 4496940"/>
                  <a:gd name="connsiteX134" fmla="*/ 668677 w 4519987"/>
                  <a:gd name="connsiteY134" fmla="*/ 676275 h 4496940"/>
                  <a:gd name="connsiteX135" fmla="*/ 697252 w 4519987"/>
                  <a:gd name="connsiteY135" fmla="*/ 657225 h 4496940"/>
                  <a:gd name="connsiteX136" fmla="*/ 840127 w 4519987"/>
                  <a:gd name="connsiteY136" fmla="*/ 533400 h 4496940"/>
                  <a:gd name="connsiteX137" fmla="*/ 887752 w 4519987"/>
                  <a:gd name="connsiteY137" fmla="*/ 504825 h 4496940"/>
                  <a:gd name="connsiteX138" fmla="*/ 1167152 w 4519987"/>
                  <a:gd name="connsiteY138" fmla="*/ 311150 h 4496940"/>
                  <a:gd name="connsiteX139" fmla="*/ 1268752 w 4519987"/>
                  <a:gd name="connsiteY139" fmla="*/ 285750 h 4496940"/>
                  <a:gd name="connsiteX140" fmla="*/ 1411627 w 4519987"/>
                  <a:gd name="connsiteY140" fmla="*/ 190500 h 4496940"/>
                  <a:gd name="connsiteX141" fmla="*/ 1449727 w 4519987"/>
                  <a:gd name="connsiteY141" fmla="*/ 161925 h 4496940"/>
                  <a:gd name="connsiteX142" fmla="*/ 1525927 w 4519987"/>
                  <a:gd name="connsiteY142" fmla="*/ 152400 h 4496940"/>
                  <a:gd name="connsiteX143" fmla="*/ 1583077 w 4519987"/>
                  <a:gd name="connsiteY143" fmla="*/ 142875 h 4496940"/>
                  <a:gd name="connsiteX144" fmla="*/ 1716427 w 4519987"/>
                  <a:gd name="connsiteY144" fmla="*/ 123825 h 4496940"/>
                  <a:gd name="connsiteX145" fmla="*/ 1811677 w 4519987"/>
                  <a:gd name="connsiteY145" fmla="*/ 114300 h 4496940"/>
                  <a:gd name="connsiteX146" fmla="*/ 1859302 w 4519987"/>
                  <a:gd name="connsiteY146" fmla="*/ 104775 h 4496940"/>
                  <a:gd name="connsiteX147" fmla="*/ 1916452 w 4519987"/>
                  <a:gd name="connsiteY147" fmla="*/ 95250 h 4496940"/>
                  <a:gd name="connsiteX148" fmla="*/ 2030752 w 4519987"/>
                  <a:gd name="connsiteY148" fmla="*/ 66675 h 4496940"/>
                  <a:gd name="connsiteX149" fmla="*/ 2097427 w 4519987"/>
                  <a:gd name="connsiteY149" fmla="*/ 47625 h 4496940"/>
                  <a:gd name="connsiteX150" fmla="*/ 2164102 w 4519987"/>
                  <a:gd name="connsiteY150" fmla="*/ 38100 h 4496940"/>
                  <a:gd name="connsiteX151" fmla="*/ 2392702 w 4519987"/>
                  <a:gd name="connsiteY15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3907177 w 4519987"/>
                  <a:gd name="connsiteY21" fmla="*/ 647700 h 4496940"/>
                  <a:gd name="connsiteX22" fmla="*/ 3935752 w 4519987"/>
                  <a:gd name="connsiteY22" fmla="*/ 676275 h 4496940"/>
                  <a:gd name="connsiteX23" fmla="*/ 4078627 w 4519987"/>
                  <a:gd name="connsiteY23" fmla="*/ 838200 h 4496940"/>
                  <a:gd name="connsiteX24" fmla="*/ 4135777 w 4519987"/>
                  <a:gd name="connsiteY24" fmla="*/ 933450 h 4496940"/>
                  <a:gd name="connsiteX25" fmla="*/ 4164352 w 4519987"/>
                  <a:gd name="connsiteY25" fmla="*/ 990600 h 4496940"/>
                  <a:gd name="connsiteX26" fmla="*/ 4173877 w 4519987"/>
                  <a:gd name="connsiteY26" fmla="*/ 1019175 h 4496940"/>
                  <a:gd name="connsiteX27" fmla="*/ 4192927 w 4519987"/>
                  <a:gd name="connsiteY27" fmla="*/ 1057275 h 4496940"/>
                  <a:gd name="connsiteX28" fmla="*/ 4202452 w 4519987"/>
                  <a:gd name="connsiteY28" fmla="*/ 1085850 h 4496940"/>
                  <a:gd name="connsiteX29" fmla="*/ 4250077 w 4519987"/>
                  <a:gd name="connsiteY29" fmla="*/ 1143000 h 4496940"/>
                  <a:gd name="connsiteX30" fmla="*/ 4259602 w 4519987"/>
                  <a:gd name="connsiteY30" fmla="*/ 1190625 h 4496940"/>
                  <a:gd name="connsiteX31" fmla="*/ 4307227 w 4519987"/>
                  <a:gd name="connsiteY31" fmla="*/ 1266825 h 4496940"/>
                  <a:gd name="connsiteX32" fmla="*/ 4345327 w 4519987"/>
                  <a:gd name="connsiteY32" fmla="*/ 1362075 h 4496940"/>
                  <a:gd name="connsiteX33" fmla="*/ 4373902 w 4519987"/>
                  <a:gd name="connsiteY33" fmla="*/ 1428750 h 4496940"/>
                  <a:gd name="connsiteX34" fmla="*/ 4392952 w 4519987"/>
                  <a:gd name="connsiteY34" fmla="*/ 1552575 h 4496940"/>
                  <a:gd name="connsiteX35" fmla="*/ 4402477 w 4519987"/>
                  <a:gd name="connsiteY35" fmla="*/ 1590675 h 4496940"/>
                  <a:gd name="connsiteX36" fmla="*/ 4431052 w 4519987"/>
                  <a:gd name="connsiteY36" fmla="*/ 1685925 h 4496940"/>
                  <a:gd name="connsiteX37" fmla="*/ 4519952 w 4519987"/>
                  <a:gd name="connsiteY37" fmla="*/ 2181225 h 4496940"/>
                  <a:gd name="connsiteX38" fmla="*/ 4446927 w 4519987"/>
                  <a:gd name="connsiteY38" fmla="*/ 2768600 h 4496940"/>
                  <a:gd name="connsiteX39" fmla="*/ 4383427 w 4519987"/>
                  <a:gd name="connsiteY39" fmla="*/ 2990850 h 4496940"/>
                  <a:gd name="connsiteX40" fmla="*/ 4278652 w 4519987"/>
                  <a:gd name="connsiteY40" fmla="*/ 3248025 h 4496940"/>
                  <a:gd name="connsiteX41" fmla="*/ 4259602 w 4519987"/>
                  <a:gd name="connsiteY41" fmla="*/ 3276600 h 4496940"/>
                  <a:gd name="connsiteX42" fmla="*/ 4221502 w 4519987"/>
                  <a:gd name="connsiteY42" fmla="*/ 3333750 h 4496940"/>
                  <a:gd name="connsiteX43" fmla="*/ 4211977 w 4519987"/>
                  <a:gd name="connsiteY43" fmla="*/ 3362325 h 4496940"/>
                  <a:gd name="connsiteX44" fmla="*/ 4183402 w 4519987"/>
                  <a:gd name="connsiteY44" fmla="*/ 3400425 h 4496940"/>
                  <a:gd name="connsiteX45" fmla="*/ 4164352 w 4519987"/>
                  <a:gd name="connsiteY45" fmla="*/ 3429000 h 4496940"/>
                  <a:gd name="connsiteX46" fmla="*/ 4088152 w 4519987"/>
                  <a:gd name="connsiteY46" fmla="*/ 3495675 h 4496940"/>
                  <a:gd name="connsiteX47" fmla="*/ 4059577 w 4519987"/>
                  <a:gd name="connsiteY47" fmla="*/ 3533775 h 4496940"/>
                  <a:gd name="connsiteX48" fmla="*/ 4002427 w 4519987"/>
                  <a:gd name="connsiteY48" fmla="*/ 3600450 h 4496940"/>
                  <a:gd name="connsiteX49" fmla="*/ 3983377 w 4519987"/>
                  <a:gd name="connsiteY49" fmla="*/ 3629025 h 4496940"/>
                  <a:gd name="connsiteX50" fmla="*/ 3954802 w 4519987"/>
                  <a:gd name="connsiteY50" fmla="*/ 3648075 h 4496940"/>
                  <a:gd name="connsiteX51" fmla="*/ 3907177 w 4519987"/>
                  <a:gd name="connsiteY51" fmla="*/ 3686175 h 4496940"/>
                  <a:gd name="connsiteX52" fmla="*/ 3869077 w 4519987"/>
                  <a:gd name="connsiteY52" fmla="*/ 3724275 h 4496940"/>
                  <a:gd name="connsiteX53" fmla="*/ 3792877 w 4519987"/>
                  <a:gd name="connsiteY53" fmla="*/ 3781425 h 4496940"/>
                  <a:gd name="connsiteX54" fmla="*/ 3783352 w 4519987"/>
                  <a:gd name="connsiteY54" fmla="*/ 3810000 h 4496940"/>
                  <a:gd name="connsiteX55" fmla="*/ 3745252 w 4519987"/>
                  <a:gd name="connsiteY55" fmla="*/ 3819525 h 4496940"/>
                  <a:gd name="connsiteX56" fmla="*/ 3678577 w 4519987"/>
                  <a:gd name="connsiteY56" fmla="*/ 3848100 h 4496940"/>
                  <a:gd name="connsiteX57" fmla="*/ 3659527 w 4519987"/>
                  <a:gd name="connsiteY57" fmla="*/ 3971925 h 4496940"/>
                  <a:gd name="connsiteX58" fmla="*/ 3630952 w 4519987"/>
                  <a:gd name="connsiteY58" fmla="*/ 4010025 h 4496940"/>
                  <a:gd name="connsiteX59" fmla="*/ 3621427 w 4519987"/>
                  <a:gd name="connsiteY59" fmla="*/ 4038600 h 4496940"/>
                  <a:gd name="connsiteX60" fmla="*/ 3554752 w 4519987"/>
                  <a:gd name="connsiteY60" fmla="*/ 4095750 h 4496940"/>
                  <a:gd name="connsiteX61" fmla="*/ 3516652 w 4519987"/>
                  <a:gd name="connsiteY61" fmla="*/ 4114800 h 4496940"/>
                  <a:gd name="connsiteX62" fmla="*/ 3497602 w 4519987"/>
                  <a:gd name="connsiteY62" fmla="*/ 4143375 h 4496940"/>
                  <a:gd name="connsiteX63" fmla="*/ 3383302 w 4519987"/>
                  <a:gd name="connsiteY63" fmla="*/ 4210050 h 4496940"/>
                  <a:gd name="connsiteX64" fmla="*/ 3335677 w 4519987"/>
                  <a:gd name="connsiteY64" fmla="*/ 4238625 h 4496940"/>
                  <a:gd name="connsiteX65" fmla="*/ 3288052 w 4519987"/>
                  <a:gd name="connsiteY65" fmla="*/ 4248150 h 4496940"/>
                  <a:gd name="connsiteX66" fmla="*/ 3240427 w 4519987"/>
                  <a:gd name="connsiteY66" fmla="*/ 4267200 h 4496940"/>
                  <a:gd name="connsiteX67" fmla="*/ 3068977 w 4519987"/>
                  <a:gd name="connsiteY67" fmla="*/ 4286250 h 4496940"/>
                  <a:gd name="connsiteX68" fmla="*/ 2935627 w 4519987"/>
                  <a:gd name="connsiteY68" fmla="*/ 4333875 h 4496940"/>
                  <a:gd name="connsiteX69" fmla="*/ 2811802 w 4519987"/>
                  <a:gd name="connsiteY69" fmla="*/ 4371975 h 4496940"/>
                  <a:gd name="connsiteX70" fmla="*/ 2745127 w 4519987"/>
                  <a:gd name="connsiteY70" fmla="*/ 4410075 h 4496940"/>
                  <a:gd name="connsiteX71" fmla="*/ 2697502 w 4519987"/>
                  <a:gd name="connsiteY71" fmla="*/ 4429125 h 4496940"/>
                  <a:gd name="connsiteX72" fmla="*/ 2640352 w 4519987"/>
                  <a:gd name="connsiteY72" fmla="*/ 4457700 h 4496940"/>
                  <a:gd name="connsiteX73" fmla="*/ 2583202 w 4519987"/>
                  <a:gd name="connsiteY73" fmla="*/ 4467225 h 4496940"/>
                  <a:gd name="connsiteX74" fmla="*/ 2545102 w 4519987"/>
                  <a:gd name="connsiteY74" fmla="*/ 4486275 h 4496940"/>
                  <a:gd name="connsiteX75" fmla="*/ 2306977 w 4519987"/>
                  <a:gd name="connsiteY75" fmla="*/ 4476750 h 4496940"/>
                  <a:gd name="connsiteX76" fmla="*/ 2202202 w 4519987"/>
                  <a:gd name="connsiteY76" fmla="*/ 4457700 h 4496940"/>
                  <a:gd name="connsiteX77" fmla="*/ 2126002 w 4519987"/>
                  <a:gd name="connsiteY77" fmla="*/ 4429125 h 4496940"/>
                  <a:gd name="connsiteX78" fmla="*/ 1935502 w 4519987"/>
                  <a:gd name="connsiteY78" fmla="*/ 4400550 h 4496940"/>
                  <a:gd name="connsiteX79" fmla="*/ 1821202 w 4519987"/>
                  <a:gd name="connsiteY79" fmla="*/ 4371975 h 4496940"/>
                  <a:gd name="connsiteX80" fmla="*/ 1754527 w 4519987"/>
                  <a:gd name="connsiteY80" fmla="*/ 4352925 h 4496940"/>
                  <a:gd name="connsiteX81" fmla="*/ 1687852 w 4519987"/>
                  <a:gd name="connsiteY81" fmla="*/ 4343400 h 4496940"/>
                  <a:gd name="connsiteX82" fmla="*/ 1573552 w 4519987"/>
                  <a:gd name="connsiteY82" fmla="*/ 4305300 h 4496940"/>
                  <a:gd name="connsiteX83" fmla="*/ 1402102 w 4519987"/>
                  <a:gd name="connsiteY83" fmla="*/ 4276725 h 4496940"/>
                  <a:gd name="connsiteX84" fmla="*/ 1287802 w 4519987"/>
                  <a:gd name="connsiteY84" fmla="*/ 4229100 h 4496940"/>
                  <a:gd name="connsiteX85" fmla="*/ 1221127 w 4519987"/>
                  <a:gd name="connsiteY85" fmla="*/ 4200525 h 4496940"/>
                  <a:gd name="connsiteX86" fmla="*/ 1144927 w 4519987"/>
                  <a:gd name="connsiteY86" fmla="*/ 4171950 h 4496940"/>
                  <a:gd name="connsiteX87" fmla="*/ 1087777 w 4519987"/>
                  <a:gd name="connsiteY87" fmla="*/ 4143375 h 4496940"/>
                  <a:gd name="connsiteX88" fmla="*/ 1030627 w 4519987"/>
                  <a:gd name="connsiteY88" fmla="*/ 4124325 h 4496940"/>
                  <a:gd name="connsiteX89" fmla="*/ 925852 w 4519987"/>
                  <a:gd name="connsiteY89" fmla="*/ 4067175 h 4496940"/>
                  <a:gd name="connsiteX90" fmla="*/ 830602 w 4519987"/>
                  <a:gd name="connsiteY90" fmla="*/ 3981450 h 4496940"/>
                  <a:gd name="connsiteX91" fmla="*/ 763927 w 4519987"/>
                  <a:gd name="connsiteY91" fmla="*/ 3914775 h 4496940"/>
                  <a:gd name="connsiteX92" fmla="*/ 725827 w 4519987"/>
                  <a:gd name="connsiteY92" fmla="*/ 3876675 h 4496940"/>
                  <a:gd name="connsiteX93" fmla="*/ 697252 w 4519987"/>
                  <a:gd name="connsiteY93" fmla="*/ 3838575 h 4496940"/>
                  <a:gd name="connsiteX94" fmla="*/ 640102 w 4519987"/>
                  <a:gd name="connsiteY94" fmla="*/ 3781425 h 4496940"/>
                  <a:gd name="connsiteX95" fmla="*/ 611527 w 4519987"/>
                  <a:gd name="connsiteY95" fmla="*/ 3733800 h 4496940"/>
                  <a:gd name="connsiteX96" fmla="*/ 554377 w 4519987"/>
                  <a:gd name="connsiteY96" fmla="*/ 3657600 h 4496940"/>
                  <a:gd name="connsiteX97" fmla="*/ 525802 w 4519987"/>
                  <a:gd name="connsiteY97" fmla="*/ 3609975 h 4496940"/>
                  <a:gd name="connsiteX98" fmla="*/ 497227 w 4519987"/>
                  <a:gd name="connsiteY98" fmla="*/ 3552825 h 4496940"/>
                  <a:gd name="connsiteX99" fmla="*/ 440077 w 4519987"/>
                  <a:gd name="connsiteY99" fmla="*/ 3495675 h 4496940"/>
                  <a:gd name="connsiteX100" fmla="*/ 411502 w 4519987"/>
                  <a:gd name="connsiteY100" fmla="*/ 3448050 h 4496940"/>
                  <a:gd name="connsiteX101" fmla="*/ 278152 w 4519987"/>
                  <a:gd name="connsiteY101" fmla="*/ 3257550 h 4496940"/>
                  <a:gd name="connsiteX102" fmla="*/ 249577 w 4519987"/>
                  <a:gd name="connsiteY102" fmla="*/ 3200400 h 4496940"/>
                  <a:gd name="connsiteX103" fmla="*/ 240052 w 4519987"/>
                  <a:gd name="connsiteY103" fmla="*/ 3162300 h 4496940"/>
                  <a:gd name="connsiteX104" fmla="*/ 221002 w 4519987"/>
                  <a:gd name="connsiteY104" fmla="*/ 3105150 h 4496940"/>
                  <a:gd name="connsiteX105" fmla="*/ 173377 w 4519987"/>
                  <a:gd name="connsiteY105" fmla="*/ 3019425 h 4496940"/>
                  <a:gd name="connsiteX106" fmla="*/ 144802 w 4519987"/>
                  <a:gd name="connsiteY106" fmla="*/ 2924175 h 4496940"/>
                  <a:gd name="connsiteX107" fmla="*/ 68602 w 4519987"/>
                  <a:gd name="connsiteY107" fmla="*/ 2724150 h 4496940"/>
                  <a:gd name="connsiteX108" fmla="*/ 49552 w 4519987"/>
                  <a:gd name="connsiteY108" fmla="*/ 2638425 h 4496940"/>
                  <a:gd name="connsiteX109" fmla="*/ 40027 w 4519987"/>
                  <a:gd name="connsiteY109" fmla="*/ 2562225 h 4496940"/>
                  <a:gd name="connsiteX110" fmla="*/ 30502 w 4519987"/>
                  <a:gd name="connsiteY110" fmla="*/ 2514600 h 4496940"/>
                  <a:gd name="connsiteX111" fmla="*/ 11452 w 4519987"/>
                  <a:gd name="connsiteY111" fmla="*/ 2400300 h 4496940"/>
                  <a:gd name="connsiteX112" fmla="*/ 20977 w 4519987"/>
                  <a:gd name="connsiteY112" fmla="*/ 1905000 h 4496940"/>
                  <a:gd name="connsiteX113" fmla="*/ 30502 w 4519987"/>
                  <a:gd name="connsiteY113" fmla="*/ 1838325 h 4496940"/>
                  <a:gd name="connsiteX114" fmla="*/ 49552 w 4519987"/>
                  <a:gd name="connsiteY114" fmla="*/ 1781175 h 4496940"/>
                  <a:gd name="connsiteX115" fmla="*/ 59077 w 4519987"/>
                  <a:gd name="connsiteY115" fmla="*/ 1743075 h 4496940"/>
                  <a:gd name="connsiteX116" fmla="*/ 78127 w 4519987"/>
                  <a:gd name="connsiteY116" fmla="*/ 1685925 h 4496940"/>
                  <a:gd name="connsiteX117" fmla="*/ 87652 w 4519987"/>
                  <a:gd name="connsiteY117" fmla="*/ 1638300 h 4496940"/>
                  <a:gd name="connsiteX118" fmla="*/ 106702 w 4519987"/>
                  <a:gd name="connsiteY118" fmla="*/ 1590675 h 4496940"/>
                  <a:gd name="connsiteX119" fmla="*/ 135277 w 4519987"/>
                  <a:gd name="connsiteY119" fmla="*/ 1504950 h 4496940"/>
                  <a:gd name="connsiteX120" fmla="*/ 154327 w 4519987"/>
                  <a:gd name="connsiteY120" fmla="*/ 1419225 h 4496940"/>
                  <a:gd name="connsiteX121" fmla="*/ 230527 w 4519987"/>
                  <a:gd name="connsiteY121" fmla="*/ 1276350 h 4496940"/>
                  <a:gd name="connsiteX122" fmla="*/ 240052 w 4519987"/>
                  <a:gd name="connsiteY122" fmla="*/ 1247775 h 4496940"/>
                  <a:gd name="connsiteX123" fmla="*/ 268627 w 4519987"/>
                  <a:gd name="connsiteY123" fmla="*/ 1200150 h 4496940"/>
                  <a:gd name="connsiteX124" fmla="*/ 287677 w 4519987"/>
                  <a:gd name="connsiteY124" fmla="*/ 1152525 h 4496940"/>
                  <a:gd name="connsiteX125" fmla="*/ 316252 w 4519987"/>
                  <a:gd name="connsiteY125" fmla="*/ 1114425 h 4496940"/>
                  <a:gd name="connsiteX126" fmla="*/ 363877 w 4519987"/>
                  <a:gd name="connsiteY126" fmla="*/ 1038225 h 4496940"/>
                  <a:gd name="connsiteX127" fmla="*/ 382927 w 4519987"/>
                  <a:gd name="connsiteY127" fmla="*/ 1009650 h 4496940"/>
                  <a:gd name="connsiteX128" fmla="*/ 440077 w 4519987"/>
                  <a:gd name="connsiteY128" fmla="*/ 904875 h 4496940"/>
                  <a:gd name="connsiteX129" fmla="*/ 478177 w 4519987"/>
                  <a:gd name="connsiteY129" fmla="*/ 857250 h 4496940"/>
                  <a:gd name="connsiteX130" fmla="*/ 497227 w 4519987"/>
                  <a:gd name="connsiteY130" fmla="*/ 828675 h 4496940"/>
                  <a:gd name="connsiteX131" fmla="*/ 535327 w 4519987"/>
                  <a:gd name="connsiteY131" fmla="*/ 800100 h 4496940"/>
                  <a:gd name="connsiteX132" fmla="*/ 602002 w 4519987"/>
                  <a:gd name="connsiteY132" fmla="*/ 733425 h 4496940"/>
                  <a:gd name="connsiteX133" fmla="*/ 668677 w 4519987"/>
                  <a:gd name="connsiteY133" fmla="*/ 676275 h 4496940"/>
                  <a:gd name="connsiteX134" fmla="*/ 697252 w 4519987"/>
                  <a:gd name="connsiteY134" fmla="*/ 657225 h 4496940"/>
                  <a:gd name="connsiteX135" fmla="*/ 840127 w 4519987"/>
                  <a:gd name="connsiteY135" fmla="*/ 533400 h 4496940"/>
                  <a:gd name="connsiteX136" fmla="*/ 887752 w 4519987"/>
                  <a:gd name="connsiteY136" fmla="*/ 504825 h 4496940"/>
                  <a:gd name="connsiteX137" fmla="*/ 1167152 w 4519987"/>
                  <a:gd name="connsiteY137" fmla="*/ 311150 h 4496940"/>
                  <a:gd name="connsiteX138" fmla="*/ 1268752 w 4519987"/>
                  <a:gd name="connsiteY138" fmla="*/ 285750 h 4496940"/>
                  <a:gd name="connsiteX139" fmla="*/ 1411627 w 4519987"/>
                  <a:gd name="connsiteY139" fmla="*/ 190500 h 4496940"/>
                  <a:gd name="connsiteX140" fmla="*/ 1449727 w 4519987"/>
                  <a:gd name="connsiteY140" fmla="*/ 161925 h 4496940"/>
                  <a:gd name="connsiteX141" fmla="*/ 1525927 w 4519987"/>
                  <a:gd name="connsiteY141" fmla="*/ 152400 h 4496940"/>
                  <a:gd name="connsiteX142" fmla="*/ 1583077 w 4519987"/>
                  <a:gd name="connsiteY142" fmla="*/ 142875 h 4496940"/>
                  <a:gd name="connsiteX143" fmla="*/ 1716427 w 4519987"/>
                  <a:gd name="connsiteY143" fmla="*/ 123825 h 4496940"/>
                  <a:gd name="connsiteX144" fmla="*/ 1811677 w 4519987"/>
                  <a:gd name="connsiteY144" fmla="*/ 114300 h 4496940"/>
                  <a:gd name="connsiteX145" fmla="*/ 1859302 w 4519987"/>
                  <a:gd name="connsiteY145" fmla="*/ 104775 h 4496940"/>
                  <a:gd name="connsiteX146" fmla="*/ 1916452 w 4519987"/>
                  <a:gd name="connsiteY146" fmla="*/ 95250 h 4496940"/>
                  <a:gd name="connsiteX147" fmla="*/ 2030752 w 4519987"/>
                  <a:gd name="connsiteY147" fmla="*/ 66675 h 4496940"/>
                  <a:gd name="connsiteX148" fmla="*/ 2097427 w 4519987"/>
                  <a:gd name="connsiteY148" fmla="*/ 47625 h 4496940"/>
                  <a:gd name="connsiteX149" fmla="*/ 2164102 w 4519987"/>
                  <a:gd name="connsiteY149" fmla="*/ 38100 h 4496940"/>
                  <a:gd name="connsiteX150" fmla="*/ 2392702 w 4519987"/>
                  <a:gd name="connsiteY15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3907177 w 4519987"/>
                  <a:gd name="connsiteY21" fmla="*/ 647700 h 4496940"/>
                  <a:gd name="connsiteX22" fmla="*/ 4078627 w 4519987"/>
                  <a:gd name="connsiteY22" fmla="*/ 838200 h 4496940"/>
                  <a:gd name="connsiteX23" fmla="*/ 4135777 w 4519987"/>
                  <a:gd name="connsiteY23" fmla="*/ 933450 h 4496940"/>
                  <a:gd name="connsiteX24" fmla="*/ 4164352 w 4519987"/>
                  <a:gd name="connsiteY24" fmla="*/ 990600 h 4496940"/>
                  <a:gd name="connsiteX25" fmla="*/ 4173877 w 4519987"/>
                  <a:gd name="connsiteY25" fmla="*/ 1019175 h 4496940"/>
                  <a:gd name="connsiteX26" fmla="*/ 4192927 w 4519987"/>
                  <a:gd name="connsiteY26" fmla="*/ 1057275 h 4496940"/>
                  <a:gd name="connsiteX27" fmla="*/ 4202452 w 4519987"/>
                  <a:gd name="connsiteY27" fmla="*/ 1085850 h 4496940"/>
                  <a:gd name="connsiteX28" fmla="*/ 4250077 w 4519987"/>
                  <a:gd name="connsiteY28" fmla="*/ 1143000 h 4496940"/>
                  <a:gd name="connsiteX29" fmla="*/ 4259602 w 4519987"/>
                  <a:gd name="connsiteY29" fmla="*/ 1190625 h 4496940"/>
                  <a:gd name="connsiteX30" fmla="*/ 4307227 w 4519987"/>
                  <a:gd name="connsiteY30" fmla="*/ 1266825 h 4496940"/>
                  <a:gd name="connsiteX31" fmla="*/ 4345327 w 4519987"/>
                  <a:gd name="connsiteY31" fmla="*/ 1362075 h 4496940"/>
                  <a:gd name="connsiteX32" fmla="*/ 4373902 w 4519987"/>
                  <a:gd name="connsiteY32" fmla="*/ 1428750 h 4496940"/>
                  <a:gd name="connsiteX33" fmla="*/ 4392952 w 4519987"/>
                  <a:gd name="connsiteY33" fmla="*/ 1552575 h 4496940"/>
                  <a:gd name="connsiteX34" fmla="*/ 4402477 w 4519987"/>
                  <a:gd name="connsiteY34" fmla="*/ 1590675 h 4496940"/>
                  <a:gd name="connsiteX35" fmla="*/ 4431052 w 4519987"/>
                  <a:gd name="connsiteY35" fmla="*/ 1685925 h 4496940"/>
                  <a:gd name="connsiteX36" fmla="*/ 4519952 w 4519987"/>
                  <a:gd name="connsiteY36" fmla="*/ 2181225 h 4496940"/>
                  <a:gd name="connsiteX37" fmla="*/ 4446927 w 4519987"/>
                  <a:gd name="connsiteY37" fmla="*/ 2768600 h 4496940"/>
                  <a:gd name="connsiteX38" fmla="*/ 4383427 w 4519987"/>
                  <a:gd name="connsiteY38" fmla="*/ 2990850 h 4496940"/>
                  <a:gd name="connsiteX39" fmla="*/ 4278652 w 4519987"/>
                  <a:gd name="connsiteY39" fmla="*/ 3248025 h 4496940"/>
                  <a:gd name="connsiteX40" fmla="*/ 4259602 w 4519987"/>
                  <a:gd name="connsiteY40" fmla="*/ 3276600 h 4496940"/>
                  <a:gd name="connsiteX41" fmla="*/ 4221502 w 4519987"/>
                  <a:gd name="connsiteY41" fmla="*/ 3333750 h 4496940"/>
                  <a:gd name="connsiteX42" fmla="*/ 4211977 w 4519987"/>
                  <a:gd name="connsiteY42" fmla="*/ 3362325 h 4496940"/>
                  <a:gd name="connsiteX43" fmla="*/ 4183402 w 4519987"/>
                  <a:gd name="connsiteY43" fmla="*/ 3400425 h 4496940"/>
                  <a:gd name="connsiteX44" fmla="*/ 4164352 w 4519987"/>
                  <a:gd name="connsiteY44" fmla="*/ 3429000 h 4496940"/>
                  <a:gd name="connsiteX45" fmla="*/ 4088152 w 4519987"/>
                  <a:gd name="connsiteY45" fmla="*/ 3495675 h 4496940"/>
                  <a:gd name="connsiteX46" fmla="*/ 4059577 w 4519987"/>
                  <a:gd name="connsiteY46" fmla="*/ 3533775 h 4496940"/>
                  <a:gd name="connsiteX47" fmla="*/ 4002427 w 4519987"/>
                  <a:gd name="connsiteY47" fmla="*/ 3600450 h 4496940"/>
                  <a:gd name="connsiteX48" fmla="*/ 3983377 w 4519987"/>
                  <a:gd name="connsiteY48" fmla="*/ 3629025 h 4496940"/>
                  <a:gd name="connsiteX49" fmla="*/ 3954802 w 4519987"/>
                  <a:gd name="connsiteY49" fmla="*/ 3648075 h 4496940"/>
                  <a:gd name="connsiteX50" fmla="*/ 3907177 w 4519987"/>
                  <a:gd name="connsiteY50" fmla="*/ 3686175 h 4496940"/>
                  <a:gd name="connsiteX51" fmla="*/ 3869077 w 4519987"/>
                  <a:gd name="connsiteY51" fmla="*/ 3724275 h 4496940"/>
                  <a:gd name="connsiteX52" fmla="*/ 3792877 w 4519987"/>
                  <a:gd name="connsiteY52" fmla="*/ 3781425 h 4496940"/>
                  <a:gd name="connsiteX53" fmla="*/ 3783352 w 4519987"/>
                  <a:gd name="connsiteY53" fmla="*/ 3810000 h 4496940"/>
                  <a:gd name="connsiteX54" fmla="*/ 3745252 w 4519987"/>
                  <a:gd name="connsiteY54" fmla="*/ 3819525 h 4496940"/>
                  <a:gd name="connsiteX55" fmla="*/ 3678577 w 4519987"/>
                  <a:gd name="connsiteY55" fmla="*/ 3848100 h 4496940"/>
                  <a:gd name="connsiteX56" fmla="*/ 3659527 w 4519987"/>
                  <a:gd name="connsiteY56" fmla="*/ 3971925 h 4496940"/>
                  <a:gd name="connsiteX57" fmla="*/ 3630952 w 4519987"/>
                  <a:gd name="connsiteY57" fmla="*/ 4010025 h 4496940"/>
                  <a:gd name="connsiteX58" fmla="*/ 3621427 w 4519987"/>
                  <a:gd name="connsiteY58" fmla="*/ 4038600 h 4496940"/>
                  <a:gd name="connsiteX59" fmla="*/ 3554752 w 4519987"/>
                  <a:gd name="connsiteY59" fmla="*/ 4095750 h 4496940"/>
                  <a:gd name="connsiteX60" fmla="*/ 3516652 w 4519987"/>
                  <a:gd name="connsiteY60" fmla="*/ 4114800 h 4496940"/>
                  <a:gd name="connsiteX61" fmla="*/ 3497602 w 4519987"/>
                  <a:gd name="connsiteY61" fmla="*/ 4143375 h 4496940"/>
                  <a:gd name="connsiteX62" fmla="*/ 3383302 w 4519987"/>
                  <a:gd name="connsiteY62" fmla="*/ 4210050 h 4496940"/>
                  <a:gd name="connsiteX63" fmla="*/ 3335677 w 4519987"/>
                  <a:gd name="connsiteY63" fmla="*/ 4238625 h 4496940"/>
                  <a:gd name="connsiteX64" fmla="*/ 3288052 w 4519987"/>
                  <a:gd name="connsiteY64" fmla="*/ 4248150 h 4496940"/>
                  <a:gd name="connsiteX65" fmla="*/ 3240427 w 4519987"/>
                  <a:gd name="connsiteY65" fmla="*/ 4267200 h 4496940"/>
                  <a:gd name="connsiteX66" fmla="*/ 3068977 w 4519987"/>
                  <a:gd name="connsiteY66" fmla="*/ 4286250 h 4496940"/>
                  <a:gd name="connsiteX67" fmla="*/ 2935627 w 4519987"/>
                  <a:gd name="connsiteY67" fmla="*/ 4333875 h 4496940"/>
                  <a:gd name="connsiteX68" fmla="*/ 2811802 w 4519987"/>
                  <a:gd name="connsiteY68" fmla="*/ 4371975 h 4496940"/>
                  <a:gd name="connsiteX69" fmla="*/ 2745127 w 4519987"/>
                  <a:gd name="connsiteY69" fmla="*/ 4410075 h 4496940"/>
                  <a:gd name="connsiteX70" fmla="*/ 2697502 w 4519987"/>
                  <a:gd name="connsiteY70" fmla="*/ 4429125 h 4496940"/>
                  <a:gd name="connsiteX71" fmla="*/ 2640352 w 4519987"/>
                  <a:gd name="connsiteY71" fmla="*/ 4457700 h 4496940"/>
                  <a:gd name="connsiteX72" fmla="*/ 2583202 w 4519987"/>
                  <a:gd name="connsiteY72" fmla="*/ 4467225 h 4496940"/>
                  <a:gd name="connsiteX73" fmla="*/ 2545102 w 4519987"/>
                  <a:gd name="connsiteY73" fmla="*/ 4486275 h 4496940"/>
                  <a:gd name="connsiteX74" fmla="*/ 2306977 w 4519987"/>
                  <a:gd name="connsiteY74" fmla="*/ 4476750 h 4496940"/>
                  <a:gd name="connsiteX75" fmla="*/ 2202202 w 4519987"/>
                  <a:gd name="connsiteY75" fmla="*/ 4457700 h 4496940"/>
                  <a:gd name="connsiteX76" fmla="*/ 2126002 w 4519987"/>
                  <a:gd name="connsiteY76" fmla="*/ 4429125 h 4496940"/>
                  <a:gd name="connsiteX77" fmla="*/ 1935502 w 4519987"/>
                  <a:gd name="connsiteY77" fmla="*/ 4400550 h 4496940"/>
                  <a:gd name="connsiteX78" fmla="*/ 1821202 w 4519987"/>
                  <a:gd name="connsiteY78" fmla="*/ 4371975 h 4496940"/>
                  <a:gd name="connsiteX79" fmla="*/ 1754527 w 4519987"/>
                  <a:gd name="connsiteY79" fmla="*/ 4352925 h 4496940"/>
                  <a:gd name="connsiteX80" fmla="*/ 1687852 w 4519987"/>
                  <a:gd name="connsiteY80" fmla="*/ 4343400 h 4496940"/>
                  <a:gd name="connsiteX81" fmla="*/ 1573552 w 4519987"/>
                  <a:gd name="connsiteY81" fmla="*/ 4305300 h 4496940"/>
                  <a:gd name="connsiteX82" fmla="*/ 1402102 w 4519987"/>
                  <a:gd name="connsiteY82" fmla="*/ 4276725 h 4496940"/>
                  <a:gd name="connsiteX83" fmla="*/ 1287802 w 4519987"/>
                  <a:gd name="connsiteY83" fmla="*/ 4229100 h 4496940"/>
                  <a:gd name="connsiteX84" fmla="*/ 1221127 w 4519987"/>
                  <a:gd name="connsiteY84" fmla="*/ 4200525 h 4496940"/>
                  <a:gd name="connsiteX85" fmla="*/ 1144927 w 4519987"/>
                  <a:gd name="connsiteY85" fmla="*/ 4171950 h 4496940"/>
                  <a:gd name="connsiteX86" fmla="*/ 1087777 w 4519987"/>
                  <a:gd name="connsiteY86" fmla="*/ 4143375 h 4496940"/>
                  <a:gd name="connsiteX87" fmla="*/ 1030627 w 4519987"/>
                  <a:gd name="connsiteY87" fmla="*/ 4124325 h 4496940"/>
                  <a:gd name="connsiteX88" fmla="*/ 925852 w 4519987"/>
                  <a:gd name="connsiteY88" fmla="*/ 4067175 h 4496940"/>
                  <a:gd name="connsiteX89" fmla="*/ 830602 w 4519987"/>
                  <a:gd name="connsiteY89" fmla="*/ 3981450 h 4496940"/>
                  <a:gd name="connsiteX90" fmla="*/ 763927 w 4519987"/>
                  <a:gd name="connsiteY90" fmla="*/ 3914775 h 4496940"/>
                  <a:gd name="connsiteX91" fmla="*/ 725827 w 4519987"/>
                  <a:gd name="connsiteY91" fmla="*/ 3876675 h 4496940"/>
                  <a:gd name="connsiteX92" fmla="*/ 697252 w 4519987"/>
                  <a:gd name="connsiteY92" fmla="*/ 3838575 h 4496940"/>
                  <a:gd name="connsiteX93" fmla="*/ 640102 w 4519987"/>
                  <a:gd name="connsiteY93" fmla="*/ 3781425 h 4496940"/>
                  <a:gd name="connsiteX94" fmla="*/ 611527 w 4519987"/>
                  <a:gd name="connsiteY94" fmla="*/ 3733800 h 4496940"/>
                  <a:gd name="connsiteX95" fmla="*/ 554377 w 4519987"/>
                  <a:gd name="connsiteY95" fmla="*/ 3657600 h 4496940"/>
                  <a:gd name="connsiteX96" fmla="*/ 525802 w 4519987"/>
                  <a:gd name="connsiteY96" fmla="*/ 3609975 h 4496940"/>
                  <a:gd name="connsiteX97" fmla="*/ 497227 w 4519987"/>
                  <a:gd name="connsiteY97" fmla="*/ 3552825 h 4496940"/>
                  <a:gd name="connsiteX98" fmla="*/ 440077 w 4519987"/>
                  <a:gd name="connsiteY98" fmla="*/ 3495675 h 4496940"/>
                  <a:gd name="connsiteX99" fmla="*/ 411502 w 4519987"/>
                  <a:gd name="connsiteY99" fmla="*/ 3448050 h 4496940"/>
                  <a:gd name="connsiteX100" fmla="*/ 278152 w 4519987"/>
                  <a:gd name="connsiteY100" fmla="*/ 3257550 h 4496940"/>
                  <a:gd name="connsiteX101" fmla="*/ 249577 w 4519987"/>
                  <a:gd name="connsiteY101" fmla="*/ 3200400 h 4496940"/>
                  <a:gd name="connsiteX102" fmla="*/ 240052 w 4519987"/>
                  <a:gd name="connsiteY102" fmla="*/ 3162300 h 4496940"/>
                  <a:gd name="connsiteX103" fmla="*/ 221002 w 4519987"/>
                  <a:gd name="connsiteY103" fmla="*/ 3105150 h 4496940"/>
                  <a:gd name="connsiteX104" fmla="*/ 173377 w 4519987"/>
                  <a:gd name="connsiteY104" fmla="*/ 3019425 h 4496940"/>
                  <a:gd name="connsiteX105" fmla="*/ 144802 w 4519987"/>
                  <a:gd name="connsiteY105" fmla="*/ 2924175 h 4496940"/>
                  <a:gd name="connsiteX106" fmla="*/ 68602 w 4519987"/>
                  <a:gd name="connsiteY106" fmla="*/ 2724150 h 4496940"/>
                  <a:gd name="connsiteX107" fmla="*/ 49552 w 4519987"/>
                  <a:gd name="connsiteY107" fmla="*/ 2638425 h 4496940"/>
                  <a:gd name="connsiteX108" fmla="*/ 40027 w 4519987"/>
                  <a:gd name="connsiteY108" fmla="*/ 2562225 h 4496940"/>
                  <a:gd name="connsiteX109" fmla="*/ 30502 w 4519987"/>
                  <a:gd name="connsiteY109" fmla="*/ 2514600 h 4496940"/>
                  <a:gd name="connsiteX110" fmla="*/ 11452 w 4519987"/>
                  <a:gd name="connsiteY110" fmla="*/ 2400300 h 4496940"/>
                  <a:gd name="connsiteX111" fmla="*/ 20977 w 4519987"/>
                  <a:gd name="connsiteY111" fmla="*/ 1905000 h 4496940"/>
                  <a:gd name="connsiteX112" fmla="*/ 30502 w 4519987"/>
                  <a:gd name="connsiteY112" fmla="*/ 1838325 h 4496940"/>
                  <a:gd name="connsiteX113" fmla="*/ 49552 w 4519987"/>
                  <a:gd name="connsiteY113" fmla="*/ 1781175 h 4496940"/>
                  <a:gd name="connsiteX114" fmla="*/ 59077 w 4519987"/>
                  <a:gd name="connsiteY114" fmla="*/ 1743075 h 4496940"/>
                  <a:gd name="connsiteX115" fmla="*/ 78127 w 4519987"/>
                  <a:gd name="connsiteY115" fmla="*/ 1685925 h 4496940"/>
                  <a:gd name="connsiteX116" fmla="*/ 87652 w 4519987"/>
                  <a:gd name="connsiteY116" fmla="*/ 1638300 h 4496940"/>
                  <a:gd name="connsiteX117" fmla="*/ 106702 w 4519987"/>
                  <a:gd name="connsiteY117" fmla="*/ 1590675 h 4496940"/>
                  <a:gd name="connsiteX118" fmla="*/ 135277 w 4519987"/>
                  <a:gd name="connsiteY118" fmla="*/ 1504950 h 4496940"/>
                  <a:gd name="connsiteX119" fmla="*/ 154327 w 4519987"/>
                  <a:gd name="connsiteY119" fmla="*/ 1419225 h 4496940"/>
                  <a:gd name="connsiteX120" fmla="*/ 230527 w 4519987"/>
                  <a:gd name="connsiteY120" fmla="*/ 1276350 h 4496940"/>
                  <a:gd name="connsiteX121" fmla="*/ 240052 w 4519987"/>
                  <a:gd name="connsiteY121" fmla="*/ 1247775 h 4496940"/>
                  <a:gd name="connsiteX122" fmla="*/ 268627 w 4519987"/>
                  <a:gd name="connsiteY122" fmla="*/ 1200150 h 4496940"/>
                  <a:gd name="connsiteX123" fmla="*/ 287677 w 4519987"/>
                  <a:gd name="connsiteY123" fmla="*/ 1152525 h 4496940"/>
                  <a:gd name="connsiteX124" fmla="*/ 316252 w 4519987"/>
                  <a:gd name="connsiteY124" fmla="*/ 1114425 h 4496940"/>
                  <a:gd name="connsiteX125" fmla="*/ 363877 w 4519987"/>
                  <a:gd name="connsiteY125" fmla="*/ 1038225 h 4496940"/>
                  <a:gd name="connsiteX126" fmla="*/ 382927 w 4519987"/>
                  <a:gd name="connsiteY126" fmla="*/ 1009650 h 4496940"/>
                  <a:gd name="connsiteX127" fmla="*/ 440077 w 4519987"/>
                  <a:gd name="connsiteY127" fmla="*/ 904875 h 4496940"/>
                  <a:gd name="connsiteX128" fmla="*/ 478177 w 4519987"/>
                  <a:gd name="connsiteY128" fmla="*/ 857250 h 4496940"/>
                  <a:gd name="connsiteX129" fmla="*/ 497227 w 4519987"/>
                  <a:gd name="connsiteY129" fmla="*/ 828675 h 4496940"/>
                  <a:gd name="connsiteX130" fmla="*/ 535327 w 4519987"/>
                  <a:gd name="connsiteY130" fmla="*/ 800100 h 4496940"/>
                  <a:gd name="connsiteX131" fmla="*/ 602002 w 4519987"/>
                  <a:gd name="connsiteY131" fmla="*/ 733425 h 4496940"/>
                  <a:gd name="connsiteX132" fmla="*/ 668677 w 4519987"/>
                  <a:gd name="connsiteY132" fmla="*/ 676275 h 4496940"/>
                  <a:gd name="connsiteX133" fmla="*/ 697252 w 4519987"/>
                  <a:gd name="connsiteY133" fmla="*/ 657225 h 4496940"/>
                  <a:gd name="connsiteX134" fmla="*/ 840127 w 4519987"/>
                  <a:gd name="connsiteY134" fmla="*/ 533400 h 4496940"/>
                  <a:gd name="connsiteX135" fmla="*/ 887752 w 4519987"/>
                  <a:gd name="connsiteY135" fmla="*/ 504825 h 4496940"/>
                  <a:gd name="connsiteX136" fmla="*/ 1167152 w 4519987"/>
                  <a:gd name="connsiteY136" fmla="*/ 311150 h 4496940"/>
                  <a:gd name="connsiteX137" fmla="*/ 1268752 w 4519987"/>
                  <a:gd name="connsiteY137" fmla="*/ 285750 h 4496940"/>
                  <a:gd name="connsiteX138" fmla="*/ 1411627 w 4519987"/>
                  <a:gd name="connsiteY138" fmla="*/ 190500 h 4496940"/>
                  <a:gd name="connsiteX139" fmla="*/ 1449727 w 4519987"/>
                  <a:gd name="connsiteY139" fmla="*/ 161925 h 4496940"/>
                  <a:gd name="connsiteX140" fmla="*/ 1525927 w 4519987"/>
                  <a:gd name="connsiteY140" fmla="*/ 152400 h 4496940"/>
                  <a:gd name="connsiteX141" fmla="*/ 1583077 w 4519987"/>
                  <a:gd name="connsiteY141" fmla="*/ 142875 h 4496940"/>
                  <a:gd name="connsiteX142" fmla="*/ 1716427 w 4519987"/>
                  <a:gd name="connsiteY142" fmla="*/ 123825 h 4496940"/>
                  <a:gd name="connsiteX143" fmla="*/ 1811677 w 4519987"/>
                  <a:gd name="connsiteY143" fmla="*/ 114300 h 4496940"/>
                  <a:gd name="connsiteX144" fmla="*/ 1859302 w 4519987"/>
                  <a:gd name="connsiteY144" fmla="*/ 104775 h 4496940"/>
                  <a:gd name="connsiteX145" fmla="*/ 1916452 w 4519987"/>
                  <a:gd name="connsiteY145" fmla="*/ 95250 h 4496940"/>
                  <a:gd name="connsiteX146" fmla="*/ 2030752 w 4519987"/>
                  <a:gd name="connsiteY146" fmla="*/ 66675 h 4496940"/>
                  <a:gd name="connsiteX147" fmla="*/ 2097427 w 4519987"/>
                  <a:gd name="connsiteY147" fmla="*/ 47625 h 4496940"/>
                  <a:gd name="connsiteX148" fmla="*/ 2164102 w 4519987"/>
                  <a:gd name="connsiteY148" fmla="*/ 38100 h 4496940"/>
                  <a:gd name="connsiteX149" fmla="*/ 2392702 w 4519987"/>
                  <a:gd name="connsiteY14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78627 w 4519987"/>
                  <a:gd name="connsiteY21" fmla="*/ 838200 h 4496940"/>
                  <a:gd name="connsiteX22" fmla="*/ 4135777 w 4519987"/>
                  <a:gd name="connsiteY22" fmla="*/ 933450 h 4496940"/>
                  <a:gd name="connsiteX23" fmla="*/ 4164352 w 4519987"/>
                  <a:gd name="connsiteY23" fmla="*/ 990600 h 4496940"/>
                  <a:gd name="connsiteX24" fmla="*/ 4173877 w 4519987"/>
                  <a:gd name="connsiteY24" fmla="*/ 1019175 h 4496940"/>
                  <a:gd name="connsiteX25" fmla="*/ 4192927 w 4519987"/>
                  <a:gd name="connsiteY25" fmla="*/ 1057275 h 4496940"/>
                  <a:gd name="connsiteX26" fmla="*/ 4202452 w 4519987"/>
                  <a:gd name="connsiteY26" fmla="*/ 1085850 h 4496940"/>
                  <a:gd name="connsiteX27" fmla="*/ 4250077 w 4519987"/>
                  <a:gd name="connsiteY27" fmla="*/ 1143000 h 4496940"/>
                  <a:gd name="connsiteX28" fmla="*/ 4259602 w 4519987"/>
                  <a:gd name="connsiteY28" fmla="*/ 1190625 h 4496940"/>
                  <a:gd name="connsiteX29" fmla="*/ 4307227 w 4519987"/>
                  <a:gd name="connsiteY29" fmla="*/ 1266825 h 4496940"/>
                  <a:gd name="connsiteX30" fmla="*/ 4345327 w 4519987"/>
                  <a:gd name="connsiteY30" fmla="*/ 1362075 h 4496940"/>
                  <a:gd name="connsiteX31" fmla="*/ 4373902 w 4519987"/>
                  <a:gd name="connsiteY31" fmla="*/ 1428750 h 4496940"/>
                  <a:gd name="connsiteX32" fmla="*/ 4392952 w 4519987"/>
                  <a:gd name="connsiteY32" fmla="*/ 1552575 h 4496940"/>
                  <a:gd name="connsiteX33" fmla="*/ 4402477 w 4519987"/>
                  <a:gd name="connsiteY33" fmla="*/ 1590675 h 4496940"/>
                  <a:gd name="connsiteX34" fmla="*/ 4431052 w 4519987"/>
                  <a:gd name="connsiteY34" fmla="*/ 1685925 h 4496940"/>
                  <a:gd name="connsiteX35" fmla="*/ 4519952 w 4519987"/>
                  <a:gd name="connsiteY35" fmla="*/ 2181225 h 4496940"/>
                  <a:gd name="connsiteX36" fmla="*/ 4446927 w 4519987"/>
                  <a:gd name="connsiteY36" fmla="*/ 2768600 h 4496940"/>
                  <a:gd name="connsiteX37" fmla="*/ 4383427 w 4519987"/>
                  <a:gd name="connsiteY37" fmla="*/ 2990850 h 4496940"/>
                  <a:gd name="connsiteX38" fmla="*/ 4278652 w 4519987"/>
                  <a:gd name="connsiteY38" fmla="*/ 3248025 h 4496940"/>
                  <a:gd name="connsiteX39" fmla="*/ 4259602 w 4519987"/>
                  <a:gd name="connsiteY39" fmla="*/ 3276600 h 4496940"/>
                  <a:gd name="connsiteX40" fmla="*/ 4221502 w 4519987"/>
                  <a:gd name="connsiteY40" fmla="*/ 3333750 h 4496940"/>
                  <a:gd name="connsiteX41" fmla="*/ 4211977 w 4519987"/>
                  <a:gd name="connsiteY41" fmla="*/ 3362325 h 4496940"/>
                  <a:gd name="connsiteX42" fmla="*/ 4183402 w 4519987"/>
                  <a:gd name="connsiteY42" fmla="*/ 3400425 h 4496940"/>
                  <a:gd name="connsiteX43" fmla="*/ 4164352 w 4519987"/>
                  <a:gd name="connsiteY43" fmla="*/ 3429000 h 4496940"/>
                  <a:gd name="connsiteX44" fmla="*/ 4088152 w 4519987"/>
                  <a:gd name="connsiteY44" fmla="*/ 3495675 h 4496940"/>
                  <a:gd name="connsiteX45" fmla="*/ 4059577 w 4519987"/>
                  <a:gd name="connsiteY45" fmla="*/ 3533775 h 4496940"/>
                  <a:gd name="connsiteX46" fmla="*/ 4002427 w 4519987"/>
                  <a:gd name="connsiteY46" fmla="*/ 3600450 h 4496940"/>
                  <a:gd name="connsiteX47" fmla="*/ 3983377 w 4519987"/>
                  <a:gd name="connsiteY47" fmla="*/ 3629025 h 4496940"/>
                  <a:gd name="connsiteX48" fmla="*/ 3954802 w 4519987"/>
                  <a:gd name="connsiteY48" fmla="*/ 3648075 h 4496940"/>
                  <a:gd name="connsiteX49" fmla="*/ 3907177 w 4519987"/>
                  <a:gd name="connsiteY49" fmla="*/ 3686175 h 4496940"/>
                  <a:gd name="connsiteX50" fmla="*/ 3869077 w 4519987"/>
                  <a:gd name="connsiteY50" fmla="*/ 3724275 h 4496940"/>
                  <a:gd name="connsiteX51" fmla="*/ 3792877 w 4519987"/>
                  <a:gd name="connsiteY51" fmla="*/ 3781425 h 4496940"/>
                  <a:gd name="connsiteX52" fmla="*/ 3783352 w 4519987"/>
                  <a:gd name="connsiteY52" fmla="*/ 3810000 h 4496940"/>
                  <a:gd name="connsiteX53" fmla="*/ 3745252 w 4519987"/>
                  <a:gd name="connsiteY53" fmla="*/ 3819525 h 4496940"/>
                  <a:gd name="connsiteX54" fmla="*/ 3678577 w 4519987"/>
                  <a:gd name="connsiteY54" fmla="*/ 3848100 h 4496940"/>
                  <a:gd name="connsiteX55" fmla="*/ 3659527 w 4519987"/>
                  <a:gd name="connsiteY55" fmla="*/ 3971925 h 4496940"/>
                  <a:gd name="connsiteX56" fmla="*/ 3630952 w 4519987"/>
                  <a:gd name="connsiteY56" fmla="*/ 4010025 h 4496940"/>
                  <a:gd name="connsiteX57" fmla="*/ 3621427 w 4519987"/>
                  <a:gd name="connsiteY57" fmla="*/ 4038600 h 4496940"/>
                  <a:gd name="connsiteX58" fmla="*/ 3554752 w 4519987"/>
                  <a:gd name="connsiteY58" fmla="*/ 4095750 h 4496940"/>
                  <a:gd name="connsiteX59" fmla="*/ 3516652 w 4519987"/>
                  <a:gd name="connsiteY59" fmla="*/ 4114800 h 4496940"/>
                  <a:gd name="connsiteX60" fmla="*/ 3497602 w 4519987"/>
                  <a:gd name="connsiteY60" fmla="*/ 4143375 h 4496940"/>
                  <a:gd name="connsiteX61" fmla="*/ 3383302 w 4519987"/>
                  <a:gd name="connsiteY61" fmla="*/ 4210050 h 4496940"/>
                  <a:gd name="connsiteX62" fmla="*/ 3335677 w 4519987"/>
                  <a:gd name="connsiteY62" fmla="*/ 4238625 h 4496940"/>
                  <a:gd name="connsiteX63" fmla="*/ 3288052 w 4519987"/>
                  <a:gd name="connsiteY63" fmla="*/ 4248150 h 4496940"/>
                  <a:gd name="connsiteX64" fmla="*/ 3240427 w 4519987"/>
                  <a:gd name="connsiteY64" fmla="*/ 4267200 h 4496940"/>
                  <a:gd name="connsiteX65" fmla="*/ 3068977 w 4519987"/>
                  <a:gd name="connsiteY65" fmla="*/ 4286250 h 4496940"/>
                  <a:gd name="connsiteX66" fmla="*/ 2935627 w 4519987"/>
                  <a:gd name="connsiteY66" fmla="*/ 4333875 h 4496940"/>
                  <a:gd name="connsiteX67" fmla="*/ 2811802 w 4519987"/>
                  <a:gd name="connsiteY67" fmla="*/ 4371975 h 4496940"/>
                  <a:gd name="connsiteX68" fmla="*/ 2745127 w 4519987"/>
                  <a:gd name="connsiteY68" fmla="*/ 4410075 h 4496940"/>
                  <a:gd name="connsiteX69" fmla="*/ 2697502 w 4519987"/>
                  <a:gd name="connsiteY69" fmla="*/ 4429125 h 4496940"/>
                  <a:gd name="connsiteX70" fmla="*/ 2640352 w 4519987"/>
                  <a:gd name="connsiteY70" fmla="*/ 4457700 h 4496940"/>
                  <a:gd name="connsiteX71" fmla="*/ 2583202 w 4519987"/>
                  <a:gd name="connsiteY71" fmla="*/ 4467225 h 4496940"/>
                  <a:gd name="connsiteX72" fmla="*/ 2545102 w 4519987"/>
                  <a:gd name="connsiteY72" fmla="*/ 4486275 h 4496940"/>
                  <a:gd name="connsiteX73" fmla="*/ 2306977 w 4519987"/>
                  <a:gd name="connsiteY73" fmla="*/ 4476750 h 4496940"/>
                  <a:gd name="connsiteX74" fmla="*/ 2202202 w 4519987"/>
                  <a:gd name="connsiteY74" fmla="*/ 4457700 h 4496940"/>
                  <a:gd name="connsiteX75" fmla="*/ 2126002 w 4519987"/>
                  <a:gd name="connsiteY75" fmla="*/ 4429125 h 4496940"/>
                  <a:gd name="connsiteX76" fmla="*/ 1935502 w 4519987"/>
                  <a:gd name="connsiteY76" fmla="*/ 4400550 h 4496940"/>
                  <a:gd name="connsiteX77" fmla="*/ 1821202 w 4519987"/>
                  <a:gd name="connsiteY77" fmla="*/ 4371975 h 4496940"/>
                  <a:gd name="connsiteX78" fmla="*/ 1754527 w 4519987"/>
                  <a:gd name="connsiteY78" fmla="*/ 4352925 h 4496940"/>
                  <a:gd name="connsiteX79" fmla="*/ 1687852 w 4519987"/>
                  <a:gd name="connsiteY79" fmla="*/ 4343400 h 4496940"/>
                  <a:gd name="connsiteX80" fmla="*/ 1573552 w 4519987"/>
                  <a:gd name="connsiteY80" fmla="*/ 4305300 h 4496940"/>
                  <a:gd name="connsiteX81" fmla="*/ 1402102 w 4519987"/>
                  <a:gd name="connsiteY81" fmla="*/ 4276725 h 4496940"/>
                  <a:gd name="connsiteX82" fmla="*/ 1287802 w 4519987"/>
                  <a:gd name="connsiteY82" fmla="*/ 4229100 h 4496940"/>
                  <a:gd name="connsiteX83" fmla="*/ 1221127 w 4519987"/>
                  <a:gd name="connsiteY83" fmla="*/ 4200525 h 4496940"/>
                  <a:gd name="connsiteX84" fmla="*/ 1144927 w 4519987"/>
                  <a:gd name="connsiteY84" fmla="*/ 4171950 h 4496940"/>
                  <a:gd name="connsiteX85" fmla="*/ 1087777 w 4519987"/>
                  <a:gd name="connsiteY85" fmla="*/ 4143375 h 4496940"/>
                  <a:gd name="connsiteX86" fmla="*/ 1030627 w 4519987"/>
                  <a:gd name="connsiteY86" fmla="*/ 4124325 h 4496940"/>
                  <a:gd name="connsiteX87" fmla="*/ 925852 w 4519987"/>
                  <a:gd name="connsiteY87" fmla="*/ 4067175 h 4496940"/>
                  <a:gd name="connsiteX88" fmla="*/ 830602 w 4519987"/>
                  <a:gd name="connsiteY88" fmla="*/ 3981450 h 4496940"/>
                  <a:gd name="connsiteX89" fmla="*/ 763927 w 4519987"/>
                  <a:gd name="connsiteY89" fmla="*/ 3914775 h 4496940"/>
                  <a:gd name="connsiteX90" fmla="*/ 725827 w 4519987"/>
                  <a:gd name="connsiteY90" fmla="*/ 3876675 h 4496940"/>
                  <a:gd name="connsiteX91" fmla="*/ 697252 w 4519987"/>
                  <a:gd name="connsiteY91" fmla="*/ 3838575 h 4496940"/>
                  <a:gd name="connsiteX92" fmla="*/ 640102 w 4519987"/>
                  <a:gd name="connsiteY92" fmla="*/ 3781425 h 4496940"/>
                  <a:gd name="connsiteX93" fmla="*/ 611527 w 4519987"/>
                  <a:gd name="connsiteY93" fmla="*/ 3733800 h 4496940"/>
                  <a:gd name="connsiteX94" fmla="*/ 554377 w 4519987"/>
                  <a:gd name="connsiteY94" fmla="*/ 3657600 h 4496940"/>
                  <a:gd name="connsiteX95" fmla="*/ 525802 w 4519987"/>
                  <a:gd name="connsiteY95" fmla="*/ 3609975 h 4496940"/>
                  <a:gd name="connsiteX96" fmla="*/ 497227 w 4519987"/>
                  <a:gd name="connsiteY96" fmla="*/ 3552825 h 4496940"/>
                  <a:gd name="connsiteX97" fmla="*/ 440077 w 4519987"/>
                  <a:gd name="connsiteY97" fmla="*/ 3495675 h 4496940"/>
                  <a:gd name="connsiteX98" fmla="*/ 411502 w 4519987"/>
                  <a:gd name="connsiteY98" fmla="*/ 3448050 h 4496940"/>
                  <a:gd name="connsiteX99" fmla="*/ 278152 w 4519987"/>
                  <a:gd name="connsiteY99" fmla="*/ 3257550 h 4496940"/>
                  <a:gd name="connsiteX100" fmla="*/ 249577 w 4519987"/>
                  <a:gd name="connsiteY100" fmla="*/ 3200400 h 4496940"/>
                  <a:gd name="connsiteX101" fmla="*/ 240052 w 4519987"/>
                  <a:gd name="connsiteY101" fmla="*/ 3162300 h 4496940"/>
                  <a:gd name="connsiteX102" fmla="*/ 221002 w 4519987"/>
                  <a:gd name="connsiteY102" fmla="*/ 3105150 h 4496940"/>
                  <a:gd name="connsiteX103" fmla="*/ 173377 w 4519987"/>
                  <a:gd name="connsiteY103" fmla="*/ 3019425 h 4496940"/>
                  <a:gd name="connsiteX104" fmla="*/ 144802 w 4519987"/>
                  <a:gd name="connsiteY104" fmla="*/ 2924175 h 4496940"/>
                  <a:gd name="connsiteX105" fmla="*/ 68602 w 4519987"/>
                  <a:gd name="connsiteY105" fmla="*/ 2724150 h 4496940"/>
                  <a:gd name="connsiteX106" fmla="*/ 49552 w 4519987"/>
                  <a:gd name="connsiteY106" fmla="*/ 2638425 h 4496940"/>
                  <a:gd name="connsiteX107" fmla="*/ 40027 w 4519987"/>
                  <a:gd name="connsiteY107" fmla="*/ 2562225 h 4496940"/>
                  <a:gd name="connsiteX108" fmla="*/ 30502 w 4519987"/>
                  <a:gd name="connsiteY108" fmla="*/ 2514600 h 4496940"/>
                  <a:gd name="connsiteX109" fmla="*/ 11452 w 4519987"/>
                  <a:gd name="connsiteY109" fmla="*/ 2400300 h 4496940"/>
                  <a:gd name="connsiteX110" fmla="*/ 20977 w 4519987"/>
                  <a:gd name="connsiteY110" fmla="*/ 1905000 h 4496940"/>
                  <a:gd name="connsiteX111" fmla="*/ 30502 w 4519987"/>
                  <a:gd name="connsiteY111" fmla="*/ 1838325 h 4496940"/>
                  <a:gd name="connsiteX112" fmla="*/ 49552 w 4519987"/>
                  <a:gd name="connsiteY112" fmla="*/ 1781175 h 4496940"/>
                  <a:gd name="connsiteX113" fmla="*/ 59077 w 4519987"/>
                  <a:gd name="connsiteY113" fmla="*/ 1743075 h 4496940"/>
                  <a:gd name="connsiteX114" fmla="*/ 78127 w 4519987"/>
                  <a:gd name="connsiteY114" fmla="*/ 1685925 h 4496940"/>
                  <a:gd name="connsiteX115" fmla="*/ 87652 w 4519987"/>
                  <a:gd name="connsiteY115" fmla="*/ 1638300 h 4496940"/>
                  <a:gd name="connsiteX116" fmla="*/ 106702 w 4519987"/>
                  <a:gd name="connsiteY116" fmla="*/ 1590675 h 4496940"/>
                  <a:gd name="connsiteX117" fmla="*/ 135277 w 4519987"/>
                  <a:gd name="connsiteY117" fmla="*/ 1504950 h 4496940"/>
                  <a:gd name="connsiteX118" fmla="*/ 154327 w 4519987"/>
                  <a:gd name="connsiteY118" fmla="*/ 1419225 h 4496940"/>
                  <a:gd name="connsiteX119" fmla="*/ 230527 w 4519987"/>
                  <a:gd name="connsiteY119" fmla="*/ 1276350 h 4496940"/>
                  <a:gd name="connsiteX120" fmla="*/ 240052 w 4519987"/>
                  <a:gd name="connsiteY120" fmla="*/ 1247775 h 4496940"/>
                  <a:gd name="connsiteX121" fmla="*/ 268627 w 4519987"/>
                  <a:gd name="connsiteY121" fmla="*/ 1200150 h 4496940"/>
                  <a:gd name="connsiteX122" fmla="*/ 287677 w 4519987"/>
                  <a:gd name="connsiteY122" fmla="*/ 1152525 h 4496940"/>
                  <a:gd name="connsiteX123" fmla="*/ 316252 w 4519987"/>
                  <a:gd name="connsiteY123" fmla="*/ 1114425 h 4496940"/>
                  <a:gd name="connsiteX124" fmla="*/ 363877 w 4519987"/>
                  <a:gd name="connsiteY124" fmla="*/ 1038225 h 4496940"/>
                  <a:gd name="connsiteX125" fmla="*/ 382927 w 4519987"/>
                  <a:gd name="connsiteY125" fmla="*/ 1009650 h 4496940"/>
                  <a:gd name="connsiteX126" fmla="*/ 440077 w 4519987"/>
                  <a:gd name="connsiteY126" fmla="*/ 904875 h 4496940"/>
                  <a:gd name="connsiteX127" fmla="*/ 478177 w 4519987"/>
                  <a:gd name="connsiteY127" fmla="*/ 857250 h 4496940"/>
                  <a:gd name="connsiteX128" fmla="*/ 497227 w 4519987"/>
                  <a:gd name="connsiteY128" fmla="*/ 828675 h 4496940"/>
                  <a:gd name="connsiteX129" fmla="*/ 535327 w 4519987"/>
                  <a:gd name="connsiteY129" fmla="*/ 800100 h 4496940"/>
                  <a:gd name="connsiteX130" fmla="*/ 602002 w 4519987"/>
                  <a:gd name="connsiteY130" fmla="*/ 733425 h 4496940"/>
                  <a:gd name="connsiteX131" fmla="*/ 668677 w 4519987"/>
                  <a:gd name="connsiteY131" fmla="*/ 676275 h 4496940"/>
                  <a:gd name="connsiteX132" fmla="*/ 697252 w 4519987"/>
                  <a:gd name="connsiteY132" fmla="*/ 657225 h 4496940"/>
                  <a:gd name="connsiteX133" fmla="*/ 840127 w 4519987"/>
                  <a:gd name="connsiteY133" fmla="*/ 533400 h 4496940"/>
                  <a:gd name="connsiteX134" fmla="*/ 887752 w 4519987"/>
                  <a:gd name="connsiteY134" fmla="*/ 504825 h 4496940"/>
                  <a:gd name="connsiteX135" fmla="*/ 1167152 w 4519987"/>
                  <a:gd name="connsiteY135" fmla="*/ 311150 h 4496940"/>
                  <a:gd name="connsiteX136" fmla="*/ 1268752 w 4519987"/>
                  <a:gd name="connsiteY136" fmla="*/ 285750 h 4496940"/>
                  <a:gd name="connsiteX137" fmla="*/ 1411627 w 4519987"/>
                  <a:gd name="connsiteY137" fmla="*/ 190500 h 4496940"/>
                  <a:gd name="connsiteX138" fmla="*/ 1449727 w 4519987"/>
                  <a:gd name="connsiteY138" fmla="*/ 161925 h 4496940"/>
                  <a:gd name="connsiteX139" fmla="*/ 1525927 w 4519987"/>
                  <a:gd name="connsiteY139" fmla="*/ 152400 h 4496940"/>
                  <a:gd name="connsiteX140" fmla="*/ 1583077 w 4519987"/>
                  <a:gd name="connsiteY140" fmla="*/ 142875 h 4496940"/>
                  <a:gd name="connsiteX141" fmla="*/ 1716427 w 4519987"/>
                  <a:gd name="connsiteY141" fmla="*/ 123825 h 4496940"/>
                  <a:gd name="connsiteX142" fmla="*/ 1811677 w 4519987"/>
                  <a:gd name="connsiteY142" fmla="*/ 114300 h 4496940"/>
                  <a:gd name="connsiteX143" fmla="*/ 1859302 w 4519987"/>
                  <a:gd name="connsiteY143" fmla="*/ 104775 h 4496940"/>
                  <a:gd name="connsiteX144" fmla="*/ 1916452 w 4519987"/>
                  <a:gd name="connsiteY144" fmla="*/ 95250 h 4496940"/>
                  <a:gd name="connsiteX145" fmla="*/ 2030752 w 4519987"/>
                  <a:gd name="connsiteY145" fmla="*/ 66675 h 4496940"/>
                  <a:gd name="connsiteX146" fmla="*/ 2097427 w 4519987"/>
                  <a:gd name="connsiteY146" fmla="*/ 47625 h 4496940"/>
                  <a:gd name="connsiteX147" fmla="*/ 2164102 w 4519987"/>
                  <a:gd name="connsiteY147" fmla="*/ 38100 h 4496940"/>
                  <a:gd name="connsiteX148" fmla="*/ 2392702 w 4519987"/>
                  <a:gd name="connsiteY14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135777 w 4519987"/>
                  <a:gd name="connsiteY21" fmla="*/ 9334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192927 w 4519987"/>
                  <a:gd name="connsiteY24" fmla="*/ 1057275 h 4496940"/>
                  <a:gd name="connsiteX25" fmla="*/ 4202452 w 4519987"/>
                  <a:gd name="connsiteY25" fmla="*/ 1085850 h 4496940"/>
                  <a:gd name="connsiteX26" fmla="*/ 4250077 w 4519987"/>
                  <a:gd name="connsiteY26" fmla="*/ 1143000 h 4496940"/>
                  <a:gd name="connsiteX27" fmla="*/ 4259602 w 4519987"/>
                  <a:gd name="connsiteY27" fmla="*/ 1190625 h 4496940"/>
                  <a:gd name="connsiteX28" fmla="*/ 4307227 w 4519987"/>
                  <a:gd name="connsiteY28" fmla="*/ 1266825 h 4496940"/>
                  <a:gd name="connsiteX29" fmla="*/ 4345327 w 4519987"/>
                  <a:gd name="connsiteY29" fmla="*/ 1362075 h 4496940"/>
                  <a:gd name="connsiteX30" fmla="*/ 4373902 w 4519987"/>
                  <a:gd name="connsiteY30" fmla="*/ 1428750 h 4496940"/>
                  <a:gd name="connsiteX31" fmla="*/ 4392952 w 4519987"/>
                  <a:gd name="connsiteY31" fmla="*/ 1552575 h 4496940"/>
                  <a:gd name="connsiteX32" fmla="*/ 4402477 w 4519987"/>
                  <a:gd name="connsiteY32" fmla="*/ 1590675 h 4496940"/>
                  <a:gd name="connsiteX33" fmla="*/ 4431052 w 4519987"/>
                  <a:gd name="connsiteY33" fmla="*/ 1685925 h 4496940"/>
                  <a:gd name="connsiteX34" fmla="*/ 4519952 w 4519987"/>
                  <a:gd name="connsiteY34" fmla="*/ 2181225 h 4496940"/>
                  <a:gd name="connsiteX35" fmla="*/ 4446927 w 4519987"/>
                  <a:gd name="connsiteY35" fmla="*/ 2768600 h 4496940"/>
                  <a:gd name="connsiteX36" fmla="*/ 4383427 w 4519987"/>
                  <a:gd name="connsiteY36" fmla="*/ 2990850 h 4496940"/>
                  <a:gd name="connsiteX37" fmla="*/ 4278652 w 4519987"/>
                  <a:gd name="connsiteY37" fmla="*/ 3248025 h 4496940"/>
                  <a:gd name="connsiteX38" fmla="*/ 4259602 w 4519987"/>
                  <a:gd name="connsiteY38" fmla="*/ 3276600 h 4496940"/>
                  <a:gd name="connsiteX39" fmla="*/ 4221502 w 4519987"/>
                  <a:gd name="connsiteY39" fmla="*/ 3333750 h 4496940"/>
                  <a:gd name="connsiteX40" fmla="*/ 4211977 w 4519987"/>
                  <a:gd name="connsiteY40" fmla="*/ 3362325 h 4496940"/>
                  <a:gd name="connsiteX41" fmla="*/ 4183402 w 4519987"/>
                  <a:gd name="connsiteY41" fmla="*/ 3400425 h 4496940"/>
                  <a:gd name="connsiteX42" fmla="*/ 4164352 w 4519987"/>
                  <a:gd name="connsiteY42" fmla="*/ 3429000 h 4496940"/>
                  <a:gd name="connsiteX43" fmla="*/ 4088152 w 4519987"/>
                  <a:gd name="connsiteY43" fmla="*/ 3495675 h 4496940"/>
                  <a:gd name="connsiteX44" fmla="*/ 4059577 w 4519987"/>
                  <a:gd name="connsiteY44" fmla="*/ 3533775 h 4496940"/>
                  <a:gd name="connsiteX45" fmla="*/ 4002427 w 4519987"/>
                  <a:gd name="connsiteY45" fmla="*/ 3600450 h 4496940"/>
                  <a:gd name="connsiteX46" fmla="*/ 3983377 w 4519987"/>
                  <a:gd name="connsiteY46" fmla="*/ 3629025 h 4496940"/>
                  <a:gd name="connsiteX47" fmla="*/ 3954802 w 4519987"/>
                  <a:gd name="connsiteY47" fmla="*/ 3648075 h 4496940"/>
                  <a:gd name="connsiteX48" fmla="*/ 3907177 w 4519987"/>
                  <a:gd name="connsiteY48" fmla="*/ 3686175 h 4496940"/>
                  <a:gd name="connsiteX49" fmla="*/ 3869077 w 4519987"/>
                  <a:gd name="connsiteY49" fmla="*/ 3724275 h 4496940"/>
                  <a:gd name="connsiteX50" fmla="*/ 3792877 w 4519987"/>
                  <a:gd name="connsiteY50" fmla="*/ 3781425 h 4496940"/>
                  <a:gd name="connsiteX51" fmla="*/ 3783352 w 4519987"/>
                  <a:gd name="connsiteY51" fmla="*/ 3810000 h 4496940"/>
                  <a:gd name="connsiteX52" fmla="*/ 3745252 w 4519987"/>
                  <a:gd name="connsiteY52" fmla="*/ 3819525 h 4496940"/>
                  <a:gd name="connsiteX53" fmla="*/ 3678577 w 4519987"/>
                  <a:gd name="connsiteY53" fmla="*/ 3848100 h 4496940"/>
                  <a:gd name="connsiteX54" fmla="*/ 3659527 w 4519987"/>
                  <a:gd name="connsiteY54" fmla="*/ 3971925 h 4496940"/>
                  <a:gd name="connsiteX55" fmla="*/ 3630952 w 4519987"/>
                  <a:gd name="connsiteY55" fmla="*/ 4010025 h 4496940"/>
                  <a:gd name="connsiteX56" fmla="*/ 3621427 w 4519987"/>
                  <a:gd name="connsiteY56" fmla="*/ 4038600 h 4496940"/>
                  <a:gd name="connsiteX57" fmla="*/ 3554752 w 4519987"/>
                  <a:gd name="connsiteY57" fmla="*/ 4095750 h 4496940"/>
                  <a:gd name="connsiteX58" fmla="*/ 3516652 w 4519987"/>
                  <a:gd name="connsiteY58" fmla="*/ 4114800 h 4496940"/>
                  <a:gd name="connsiteX59" fmla="*/ 3497602 w 4519987"/>
                  <a:gd name="connsiteY59" fmla="*/ 4143375 h 4496940"/>
                  <a:gd name="connsiteX60" fmla="*/ 3383302 w 4519987"/>
                  <a:gd name="connsiteY60" fmla="*/ 4210050 h 4496940"/>
                  <a:gd name="connsiteX61" fmla="*/ 3335677 w 4519987"/>
                  <a:gd name="connsiteY61" fmla="*/ 4238625 h 4496940"/>
                  <a:gd name="connsiteX62" fmla="*/ 3288052 w 4519987"/>
                  <a:gd name="connsiteY62" fmla="*/ 4248150 h 4496940"/>
                  <a:gd name="connsiteX63" fmla="*/ 3240427 w 4519987"/>
                  <a:gd name="connsiteY63" fmla="*/ 4267200 h 4496940"/>
                  <a:gd name="connsiteX64" fmla="*/ 3068977 w 4519987"/>
                  <a:gd name="connsiteY64" fmla="*/ 4286250 h 4496940"/>
                  <a:gd name="connsiteX65" fmla="*/ 2935627 w 4519987"/>
                  <a:gd name="connsiteY65" fmla="*/ 4333875 h 4496940"/>
                  <a:gd name="connsiteX66" fmla="*/ 2811802 w 4519987"/>
                  <a:gd name="connsiteY66" fmla="*/ 4371975 h 4496940"/>
                  <a:gd name="connsiteX67" fmla="*/ 2745127 w 4519987"/>
                  <a:gd name="connsiteY67" fmla="*/ 4410075 h 4496940"/>
                  <a:gd name="connsiteX68" fmla="*/ 2697502 w 4519987"/>
                  <a:gd name="connsiteY68" fmla="*/ 4429125 h 4496940"/>
                  <a:gd name="connsiteX69" fmla="*/ 2640352 w 4519987"/>
                  <a:gd name="connsiteY69" fmla="*/ 4457700 h 4496940"/>
                  <a:gd name="connsiteX70" fmla="*/ 2583202 w 4519987"/>
                  <a:gd name="connsiteY70" fmla="*/ 4467225 h 4496940"/>
                  <a:gd name="connsiteX71" fmla="*/ 2545102 w 4519987"/>
                  <a:gd name="connsiteY71" fmla="*/ 4486275 h 4496940"/>
                  <a:gd name="connsiteX72" fmla="*/ 2306977 w 4519987"/>
                  <a:gd name="connsiteY72" fmla="*/ 4476750 h 4496940"/>
                  <a:gd name="connsiteX73" fmla="*/ 2202202 w 4519987"/>
                  <a:gd name="connsiteY73" fmla="*/ 4457700 h 4496940"/>
                  <a:gd name="connsiteX74" fmla="*/ 2126002 w 4519987"/>
                  <a:gd name="connsiteY74" fmla="*/ 4429125 h 4496940"/>
                  <a:gd name="connsiteX75" fmla="*/ 1935502 w 4519987"/>
                  <a:gd name="connsiteY75" fmla="*/ 4400550 h 4496940"/>
                  <a:gd name="connsiteX76" fmla="*/ 1821202 w 4519987"/>
                  <a:gd name="connsiteY76" fmla="*/ 4371975 h 4496940"/>
                  <a:gd name="connsiteX77" fmla="*/ 1754527 w 4519987"/>
                  <a:gd name="connsiteY77" fmla="*/ 4352925 h 4496940"/>
                  <a:gd name="connsiteX78" fmla="*/ 1687852 w 4519987"/>
                  <a:gd name="connsiteY78" fmla="*/ 4343400 h 4496940"/>
                  <a:gd name="connsiteX79" fmla="*/ 1573552 w 4519987"/>
                  <a:gd name="connsiteY79" fmla="*/ 4305300 h 4496940"/>
                  <a:gd name="connsiteX80" fmla="*/ 1402102 w 4519987"/>
                  <a:gd name="connsiteY80" fmla="*/ 4276725 h 4496940"/>
                  <a:gd name="connsiteX81" fmla="*/ 1287802 w 4519987"/>
                  <a:gd name="connsiteY81" fmla="*/ 4229100 h 4496940"/>
                  <a:gd name="connsiteX82" fmla="*/ 1221127 w 4519987"/>
                  <a:gd name="connsiteY82" fmla="*/ 4200525 h 4496940"/>
                  <a:gd name="connsiteX83" fmla="*/ 1144927 w 4519987"/>
                  <a:gd name="connsiteY83" fmla="*/ 4171950 h 4496940"/>
                  <a:gd name="connsiteX84" fmla="*/ 1087777 w 4519987"/>
                  <a:gd name="connsiteY84" fmla="*/ 4143375 h 4496940"/>
                  <a:gd name="connsiteX85" fmla="*/ 1030627 w 4519987"/>
                  <a:gd name="connsiteY85" fmla="*/ 4124325 h 4496940"/>
                  <a:gd name="connsiteX86" fmla="*/ 925852 w 4519987"/>
                  <a:gd name="connsiteY86" fmla="*/ 4067175 h 4496940"/>
                  <a:gd name="connsiteX87" fmla="*/ 830602 w 4519987"/>
                  <a:gd name="connsiteY87" fmla="*/ 3981450 h 4496940"/>
                  <a:gd name="connsiteX88" fmla="*/ 763927 w 4519987"/>
                  <a:gd name="connsiteY88" fmla="*/ 3914775 h 4496940"/>
                  <a:gd name="connsiteX89" fmla="*/ 725827 w 4519987"/>
                  <a:gd name="connsiteY89" fmla="*/ 3876675 h 4496940"/>
                  <a:gd name="connsiteX90" fmla="*/ 697252 w 4519987"/>
                  <a:gd name="connsiteY90" fmla="*/ 3838575 h 4496940"/>
                  <a:gd name="connsiteX91" fmla="*/ 640102 w 4519987"/>
                  <a:gd name="connsiteY91" fmla="*/ 3781425 h 4496940"/>
                  <a:gd name="connsiteX92" fmla="*/ 611527 w 4519987"/>
                  <a:gd name="connsiteY92" fmla="*/ 3733800 h 4496940"/>
                  <a:gd name="connsiteX93" fmla="*/ 554377 w 4519987"/>
                  <a:gd name="connsiteY93" fmla="*/ 3657600 h 4496940"/>
                  <a:gd name="connsiteX94" fmla="*/ 525802 w 4519987"/>
                  <a:gd name="connsiteY94" fmla="*/ 3609975 h 4496940"/>
                  <a:gd name="connsiteX95" fmla="*/ 497227 w 4519987"/>
                  <a:gd name="connsiteY95" fmla="*/ 3552825 h 4496940"/>
                  <a:gd name="connsiteX96" fmla="*/ 440077 w 4519987"/>
                  <a:gd name="connsiteY96" fmla="*/ 3495675 h 4496940"/>
                  <a:gd name="connsiteX97" fmla="*/ 411502 w 4519987"/>
                  <a:gd name="connsiteY97" fmla="*/ 3448050 h 4496940"/>
                  <a:gd name="connsiteX98" fmla="*/ 278152 w 4519987"/>
                  <a:gd name="connsiteY98" fmla="*/ 3257550 h 4496940"/>
                  <a:gd name="connsiteX99" fmla="*/ 249577 w 4519987"/>
                  <a:gd name="connsiteY99" fmla="*/ 3200400 h 4496940"/>
                  <a:gd name="connsiteX100" fmla="*/ 240052 w 4519987"/>
                  <a:gd name="connsiteY100" fmla="*/ 3162300 h 4496940"/>
                  <a:gd name="connsiteX101" fmla="*/ 221002 w 4519987"/>
                  <a:gd name="connsiteY101" fmla="*/ 3105150 h 4496940"/>
                  <a:gd name="connsiteX102" fmla="*/ 173377 w 4519987"/>
                  <a:gd name="connsiteY102" fmla="*/ 3019425 h 4496940"/>
                  <a:gd name="connsiteX103" fmla="*/ 144802 w 4519987"/>
                  <a:gd name="connsiteY103" fmla="*/ 2924175 h 4496940"/>
                  <a:gd name="connsiteX104" fmla="*/ 68602 w 4519987"/>
                  <a:gd name="connsiteY104" fmla="*/ 2724150 h 4496940"/>
                  <a:gd name="connsiteX105" fmla="*/ 49552 w 4519987"/>
                  <a:gd name="connsiteY105" fmla="*/ 2638425 h 4496940"/>
                  <a:gd name="connsiteX106" fmla="*/ 40027 w 4519987"/>
                  <a:gd name="connsiteY106" fmla="*/ 2562225 h 4496940"/>
                  <a:gd name="connsiteX107" fmla="*/ 30502 w 4519987"/>
                  <a:gd name="connsiteY107" fmla="*/ 2514600 h 4496940"/>
                  <a:gd name="connsiteX108" fmla="*/ 11452 w 4519987"/>
                  <a:gd name="connsiteY108" fmla="*/ 2400300 h 4496940"/>
                  <a:gd name="connsiteX109" fmla="*/ 20977 w 4519987"/>
                  <a:gd name="connsiteY109" fmla="*/ 1905000 h 4496940"/>
                  <a:gd name="connsiteX110" fmla="*/ 30502 w 4519987"/>
                  <a:gd name="connsiteY110" fmla="*/ 1838325 h 4496940"/>
                  <a:gd name="connsiteX111" fmla="*/ 49552 w 4519987"/>
                  <a:gd name="connsiteY111" fmla="*/ 1781175 h 4496940"/>
                  <a:gd name="connsiteX112" fmla="*/ 59077 w 4519987"/>
                  <a:gd name="connsiteY112" fmla="*/ 1743075 h 4496940"/>
                  <a:gd name="connsiteX113" fmla="*/ 78127 w 4519987"/>
                  <a:gd name="connsiteY113" fmla="*/ 1685925 h 4496940"/>
                  <a:gd name="connsiteX114" fmla="*/ 87652 w 4519987"/>
                  <a:gd name="connsiteY114" fmla="*/ 1638300 h 4496940"/>
                  <a:gd name="connsiteX115" fmla="*/ 106702 w 4519987"/>
                  <a:gd name="connsiteY115" fmla="*/ 1590675 h 4496940"/>
                  <a:gd name="connsiteX116" fmla="*/ 135277 w 4519987"/>
                  <a:gd name="connsiteY116" fmla="*/ 1504950 h 4496940"/>
                  <a:gd name="connsiteX117" fmla="*/ 154327 w 4519987"/>
                  <a:gd name="connsiteY117" fmla="*/ 1419225 h 4496940"/>
                  <a:gd name="connsiteX118" fmla="*/ 230527 w 4519987"/>
                  <a:gd name="connsiteY118" fmla="*/ 1276350 h 4496940"/>
                  <a:gd name="connsiteX119" fmla="*/ 240052 w 4519987"/>
                  <a:gd name="connsiteY119" fmla="*/ 1247775 h 4496940"/>
                  <a:gd name="connsiteX120" fmla="*/ 268627 w 4519987"/>
                  <a:gd name="connsiteY120" fmla="*/ 1200150 h 4496940"/>
                  <a:gd name="connsiteX121" fmla="*/ 287677 w 4519987"/>
                  <a:gd name="connsiteY121" fmla="*/ 1152525 h 4496940"/>
                  <a:gd name="connsiteX122" fmla="*/ 316252 w 4519987"/>
                  <a:gd name="connsiteY122" fmla="*/ 1114425 h 4496940"/>
                  <a:gd name="connsiteX123" fmla="*/ 363877 w 4519987"/>
                  <a:gd name="connsiteY123" fmla="*/ 1038225 h 4496940"/>
                  <a:gd name="connsiteX124" fmla="*/ 382927 w 4519987"/>
                  <a:gd name="connsiteY124" fmla="*/ 1009650 h 4496940"/>
                  <a:gd name="connsiteX125" fmla="*/ 440077 w 4519987"/>
                  <a:gd name="connsiteY125" fmla="*/ 904875 h 4496940"/>
                  <a:gd name="connsiteX126" fmla="*/ 478177 w 4519987"/>
                  <a:gd name="connsiteY126" fmla="*/ 857250 h 4496940"/>
                  <a:gd name="connsiteX127" fmla="*/ 497227 w 4519987"/>
                  <a:gd name="connsiteY127" fmla="*/ 828675 h 4496940"/>
                  <a:gd name="connsiteX128" fmla="*/ 535327 w 4519987"/>
                  <a:gd name="connsiteY128" fmla="*/ 800100 h 4496940"/>
                  <a:gd name="connsiteX129" fmla="*/ 602002 w 4519987"/>
                  <a:gd name="connsiteY129" fmla="*/ 733425 h 4496940"/>
                  <a:gd name="connsiteX130" fmla="*/ 668677 w 4519987"/>
                  <a:gd name="connsiteY130" fmla="*/ 676275 h 4496940"/>
                  <a:gd name="connsiteX131" fmla="*/ 697252 w 4519987"/>
                  <a:gd name="connsiteY131" fmla="*/ 657225 h 4496940"/>
                  <a:gd name="connsiteX132" fmla="*/ 840127 w 4519987"/>
                  <a:gd name="connsiteY132" fmla="*/ 533400 h 4496940"/>
                  <a:gd name="connsiteX133" fmla="*/ 887752 w 4519987"/>
                  <a:gd name="connsiteY133" fmla="*/ 504825 h 4496940"/>
                  <a:gd name="connsiteX134" fmla="*/ 1167152 w 4519987"/>
                  <a:gd name="connsiteY134" fmla="*/ 311150 h 4496940"/>
                  <a:gd name="connsiteX135" fmla="*/ 1268752 w 4519987"/>
                  <a:gd name="connsiteY135" fmla="*/ 285750 h 4496940"/>
                  <a:gd name="connsiteX136" fmla="*/ 1411627 w 4519987"/>
                  <a:gd name="connsiteY136" fmla="*/ 190500 h 4496940"/>
                  <a:gd name="connsiteX137" fmla="*/ 1449727 w 4519987"/>
                  <a:gd name="connsiteY137" fmla="*/ 161925 h 4496940"/>
                  <a:gd name="connsiteX138" fmla="*/ 1525927 w 4519987"/>
                  <a:gd name="connsiteY138" fmla="*/ 152400 h 4496940"/>
                  <a:gd name="connsiteX139" fmla="*/ 1583077 w 4519987"/>
                  <a:gd name="connsiteY139" fmla="*/ 142875 h 4496940"/>
                  <a:gd name="connsiteX140" fmla="*/ 1716427 w 4519987"/>
                  <a:gd name="connsiteY140" fmla="*/ 123825 h 4496940"/>
                  <a:gd name="connsiteX141" fmla="*/ 1811677 w 4519987"/>
                  <a:gd name="connsiteY141" fmla="*/ 114300 h 4496940"/>
                  <a:gd name="connsiteX142" fmla="*/ 1859302 w 4519987"/>
                  <a:gd name="connsiteY142" fmla="*/ 104775 h 4496940"/>
                  <a:gd name="connsiteX143" fmla="*/ 1916452 w 4519987"/>
                  <a:gd name="connsiteY143" fmla="*/ 95250 h 4496940"/>
                  <a:gd name="connsiteX144" fmla="*/ 2030752 w 4519987"/>
                  <a:gd name="connsiteY144" fmla="*/ 66675 h 4496940"/>
                  <a:gd name="connsiteX145" fmla="*/ 2097427 w 4519987"/>
                  <a:gd name="connsiteY145" fmla="*/ 47625 h 4496940"/>
                  <a:gd name="connsiteX146" fmla="*/ 2164102 w 4519987"/>
                  <a:gd name="connsiteY146" fmla="*/ 38100 h 4496940"/>
                  <a:gd name="connsiteX147" fmla="*/ 2392702 w 4519987"/>
                  <a:gd name="connsiteY14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192927 w 4519987"/>
                  <a:gd name="connsiteY24" fmla="*/ 1057275 h 4496940"/>
                  <a:gd name="connsiteX25" fmla="*/ 4202452 w 4519987"/>
                  <a:gd name="connsiteY25" fmla="*/ 1085850 h 4496940"/>
                  <a:gd name="connsiteX26" fmla="*/ 4250077 w 4519987"/>
                  <a:gd name="connsiteY26" fmla="*/ 1143000 h 4496940"/>
                  <a:gd name="connsiteX27" fmla="*/ 4259602 w 4519987"/>
                  <a:gd name="connsiteY27" fmla="*/ 1190625 h 4496940"/>
                  <a:gd name="connsiteX28" fmla="*/ 4307227 w 4519987"/>
                  <a:gd name="connsiteY28" fmla="*/ 1266825 h 4496940"/>
                  <a:gd name="connsiteX29" fmla="*/ 4345327 w 4519987"/>
                  <a:gd name="connsiteY29" fmla="*/ 1362075 h 4496940"/>
                  <a:gd name="connsiteX30" fmla="*/ 4373902 w 4519987"/>
                  <a:gd name="connsiteY30" fmla="*/ 1428750 h 4496940"/>
                  <a:gd name="connsiteX31" fmla="*/ 4392952 w 4519987"/>
                  <a:gd name="connsiteY31" fmla="*/ 1552575 h 4496940"/>
                  <a:gd name="connsiteX32" fmla="*/ 4402477 w 4519987"/>
                  <a:gd name="connsiteY32" fmla="*/ 1590675 h 4496940"/>
                  <a:gd name="connsiteX33" fmla="*/ 4431052 w 4519987"/>
                  <a:gd name="connsiteY33" fmla="*/ 1685925 h 4496940"/>
                  <a:gd name="connsiteX34" fmla="*/ 4519952 w 4519987"/>
                  <a:gd name="connsiteY34" fmla="*/ 2181225 h 4496940"/>
                  <a:gd name="connsiteX35" fmla="*/ 4446927 w 4519987"/>
                  <a:gd name="connsiteY35" fmla="*/ 2768600 h 4496940"/>
                  <a:gd name="connsiteX36" fmla="*/ 4383427 w 4519987"/>
                  <a:gd name="connsiteY36" fmla="*/ 2990850 h 4496940"/>
                  <a:gd name="connsiteX37" fmla="*/ 4278652 w 4519987"/>
                  <a:gd name="connsiteY37" fmla="*/ 3248025 h 4496940"/>
                  <a:gd name="connsiteX38" fmla="*/ 4259602 w 4519987"/>
                  <a:gd name="connsiteY38" fmla="*/ 3276600 h 4496940"/>
                  <a:gd name="connsiteX39" fmla="*/ 4221502 w 4519987"/>
                  <a:gd name="connsiteY39" fmla="*/ 3333750 h 4496940"/>
                  <a:gd name="connsiteX40" fmla="*/ 4211977 w 4519987"/>
                  <a:gd name="connsiteY40" fmla="*/ 3362325 h 4496940"/>
                  <a:gd name="connsiteX41" fmla="*/ 4183402 w 4519987"/>
                  <a:gd name="connsiteY41" fmla="*/ 3400425 h 4496940"/>
                  <a:gd name="connsiteX42" fmla="*/ 4164352 w 4519987"/>
                  <a:gd name="connsiteY42" fmla="*/ 3429000 h 4496940"/>
                  <a:gd name="connsiteX43" fmla="*/ 4088152 w 4519987"/>
                  <a:gd name="connsiteY43" fmla="*/ 3495675 h 4496940"/>
                  <a:gd name="connsiteX44" fmla="*/ 4059577 w 4519987"/>
                  <a:gd name="connsiteY44" fmla="*/ 3533775 h 4496940"/>
                  <a:gd name="connsiteX45" fmla="*/ 4002427 w 4519987"/>
                  <a:gd name="connsiteY45" fmla="*/ 3600450 h 4496940"/>
                  <a:gd name="connsiteX46" fmla="*/ 3983377 w 4519987"/>
                  <a:gd name="connsiteY46" fmla="*/ 3629025 h 4496940"/>
                  <a:gd name="connsiteX47" fmla="*/ 3954802 w 4519987"/>
                  <a:gd name="connsiteY47" fmla="*/ 3648075 h 4496940"/>
                  <a:gd name="connsiteX48" fmla="*/ 3907177 w 4519987"/>
                  <a:gd name="connsiteY48" fmla="*/ 3686175 h 4496940"/>
                  <a:gd name="connsiteX49" fmla="*/ 3869077 w 4519987"/>
                  <a:gd name="connsiteY49" fmla="*/ 3724275 h 4496940"/>
                  <a:gd name="connsiteX50" fmla="*/ 3792877 w 4519987"/>
                  <a:gd name="connsiteY50" fmla="*/ 3781425 h 4496940"/>
                  <a:gd name="connsiteX51" fmla="*/ 3783352 w 4519987"/>
                  <a:gd name="connsiteY51" fmla="*/ 3810000 h 4496940"/>
                  <a:gd name="connsiteX52" fmla="*/ 3745252 w 4519987"/>
                  <a:gd name="connsiteY52" fmla="*/ 3819525 h 4496940"/>
                  <a:gd name="connsiteX53" fmla="*/ 3678577 w 4519987"/>
                  <a:gd name="connsiteY53" fmla="*/ 3848100 h 4496940"/>
                  <a:gd name="connsiteX54" fmla="*/ 3659527 w 4519987"/>
                  <a:gd name="connsiteY54" fmla="*/ 3971925 h 4496940"/>
                  <a:gd name="connsiteX55" fmla="*/ 3630952 w 4519987"/>
                  <a:gd name="connsiteY55" fmla="*/ 4010025 h 4496940"/>
                  <a:gd name="connsiteX56" fmla="*/ 3621427 w 4519987"/>
                  <a:gd name="connsiteY56" fmla="*/ 4038600 h 4496940"/>
                  <a:gd name="connsiteX57" fmla="*/ 3554752 w 4519987"/>
                  <a:gd name="connsiteY57" fmla="*/ 4095750 h 4496940"/>
                  <a:gd name="connsiteX58" fmla="*/ 3516652 w 4519987"/>
                  <a:gd name="connsiteY58" fmla="*/ 4114800 h 4496940"/>
                  <a:gd name="connsiteX59" fmla="*/ 3497602 w 4519987"/>
                  <a:gd name="connsiteY59" fmla="*/ 4143375 h 4496940"/>
                  <a:gd name="connsiteX60" fmla="*/ 3383302 w 4519987"/>
                  <a:gd name="connsiteY60" fmla="*/ 4210050 h 4496940"/>
                  <a:gd name="connsiteX61" fmla="*/ 3335677 w 4519987"/>
                  <a:gd name="connsiteY61" fmla="*/ 4238625 h 4496940"/>
                  <a:gd name="connsiteX62" fmla="*/ 3288052 w 4519987"/>
                  <a:gd name="connsiteY62" fmla="*/ 4248150 h 4496940"/>
                  <a:gd name="connsiteX63" fmla="*/ 3240427 w 4519987"/>
                  <a:gd name="connsiteY63" fmla="*/ 4267200 h 4496940"/>
                  <a:gd name="connsiteX64" fmla="*/ 3068977 w 4519987"/>
                  <a:gd name="connsiteY64" fmla="*/ 4286250 h 4496940"/>
                  <a:gd name="connsiteX65" fmla="*/ 2935627 w 4519987"/>
                  <a:gd name="connsiteY65" fmla="*/ 4333875 h 4496940"/>
                  <a:gd name="connsiteX66" fmla="*/ 2811802 w 4519987"/>
                  <a:gd name="connsiteY66" fmla="*/ 4371975 h 4496940"/>
                  <a:gd name="connsiteX67" fmla="*/ 2745127 w 4519987"/>
                  <a:gd name="connsiteY67" fmla="*/ 4410075 h 4496940"/>
                  <a:gd name="connsiteX68" fmla="*/ 2697502 w 4519987"/>
                  <a:gd name="connsiteY68" fmla="*/ 4429125 h 4496940"/>
                  <a:gd name="connsiteX69" fmla="*/ 2640352 w 4519987"/>
                  <a:gd name="connsiteY69" fmla="*/ 4457700 h 4496940"/>
                  <a:gd name="connsiteX70" fmla="*/ 2583202 w 4519987"/>
                  <a:gd name="connsiteY70" fmla="*/ 4467225 h 4496940"/>
                  <a:gd name="connsiteX71" fmla="*/ 2545102 w 4519987"/>
                  <a:gd name="connsiteY71" fmla="*/ 4486275 h 4496940"/>
                  <a:gd name="connsiteX72" fmla="*/ 2306977 w 4519987"/>
                  <a:gd name="connsiteY72" fmla="*/ 4476750 h 4496940"/>
                  <a:gd name="connsiteX73" fmla="*/ 2202202 w 4519987"/>
                  <a:gd name="connsiteY73" fmla="*/ 4457700 h 4496940"/>
                  <a:gd name="connsiteX74" fmla="*/ 2126002 w 4519987"/>
                  <a:gd name="connsiteY74" fmla="*/ 4429125 h 4496940"/>
                  <a:gd name="connsiteX75" fmla="*/ 1935502 w 4519987"/>
                  <a:gd name="connsiteY75" fmla="*/ 4400550 h 4496940"/>
                  <a:gd name="connsiteX76" fmla="*/ 1821202 w 4519987"/>
                  <a:gd name="connsiteY76" fmla="*/ 4371975 h 4496940"/>
                  <a:gd name="connsiteX77" fmla="*/ 1754527 w 4519987"/>
                  <a:gd name="connsiteY77" fmla="*/ 4352925 h 4496940"/>
                  <a:gd name="connsiteX78" fmla="*/ 1687852 w 4519987"/>
                  <a:gd name="connsiteY78" fmla="*/ 4343400 h 4496940"/>
                  <a:gd name="connsiteX79" fmla="*/ 1573552 w 4519987"/>
                  <a:gd name="connsiteY79" fmla="*/ 4305300 h 4496940"/>
                  <a:gd name="connsiteX80" fmla="*/ 1402102 w 4519987"/>
                  <a:gd name="connsiteY80" fmla="*/ 4276725 h 4496940"/>
                  <a:gd name="connsiteX81" fmla="*/ 1287802 w 4519987"/>
                  <a:gd name="connsiteY81" fmla="*/ 4229100 h 4496940"/>
                  <a:gd name="connsiteX82" fmla="*/ 1221127 w 4519987"/>
                  <a:gd name="connsiteY82" fmla="*/ 4200525 h 4496940"/>
                  <a:gd name="connsiteX83" fmla="*/ 1144927 w 4519987"/>
                  <a:gd name="connsiteY83" fmla="*/ 4171950 h 4496940"/>
                  <a:gd name="connsiteX84" fmla="*/ 1087777 w 4519987"/>
                  <a:gd name="connsiteY84" fmla="*/ 4143375 h 4496940"/>
                  <a:gd name="connsiteX85" fmla="*/ 1030627 w 4519987"/>
                  <a:gd name="connsiteY85" fmla="*/ 4124325 h 4496940"/>
                  <a:gd name="connsiteX86" fmla="*/ 925852 w 4519987"/>
                  <a:gd name="connsiteY86" fmla="*/ 4067175 h 4496940"/>
                  <a:gd name="connsiteX87" fmla="*/ 830602 w 4519987"/>
                  <a:gd name="connsiteY87" fmla="*/ 3981450 h 4496940"/>
                  <a:gd name="connsiteX88" fmla="*/ 763927 w 4519987"/>
                  <a:gd name="connsiteY88" fmla="*/ 3914775 h 4496940"/>
                  <a:gd name="connsiteX89" fmla="*/ 725827 w 4519987"/>
                  <a:gd name="connsiteY89" fmla="*/ 3876675 h 4496940"/>
                  <a:gd name="connsiteX90" fmla="*/ 697252 w 4519987"/>
                  <a:gd name="connsiteY90" fmla="*/ 3838575 h 4496940"/>
                  <a:gd name="connsiteX91" fmla="*/ 640102 w 4519987"/>
                  <a:gd name="connsiteY91" fmla="*/ 3781425 h 4496940"/>
                  <a:gd name="connsiteX92" fmla="*/ 611527 w 4519987"/>
                  <a:gd name="connsiteY92" fmla="*/ 3733800 h 4496940"/>
                  <a:gd name="connsiteX93" fmla="*/ 554377 w 4519987"/>
                  <a:gd name="connsiteY93" fmla="*/ 3657600 h 4496940"/>
                  <a:gd name="connsiteX94" fmla="*/ 525802 w 4519987"/>
                  <a:gd name="connsiteY94" fmla="*/ 3609975 h 4496940"/>
                  <a:gd name="connsiteX95" fmla="*/ 497227 w 4519987"/>
                  <a:gd name="connsiteY95" fmla="*/ 3552825 h 4496940"/>
                  <a:gd name="connsiteX96" fmla="*/ 440077 w 4519987"/>
                  <a:gd name="connsiteY96" fmla="*/ 3495675 h 4496940"/>
                  <a:gd name="connsiteX97" fmla="*/ 411502 w 4519987"/>
                  <a:gd name="connsiteY97" fmla="*/ 3448050 h 4496940"/>
                  <a:gd name="connsiteX98" fmla="*/ 278152 w 4519987"/>
                  <a:gd name="connsiteY98" fmla="*/ 3257550 h 4496940"/>
                  <a:gd name="connsiteX99" fmla="*/ 249577 w 4519987"/>
                  <a:gd name="connsiteY99" fmla="*/ 3200400 h 4496940"/>
                  <a:gd name="connsiteX100" fmla="*/ 240052 w 4519987"/>
                  <a:gd name="connsiteY100" fmla="*/ 3162300 h 4496940"/>
                  <a:gd name="connsiteX101" fmla="*/ 221002 w 4519987"/>
                  <a:gd name="connsiteY101" fmla="*/ 3105150 h 4496940"/>
                  <a:gd name="connsiteX102" fmla="*/ 173377 w 4519987"/>
                  <a:gd name="connsiteY102" fmla="*/ 3019425 h 4496940"/>
                  <a:gd name="connsiteX103" fmla="*/ 144802 w 4519987"/>
                  <a:gd name="connsiteY103" fmla="*/ 2924175 h 4496940"/>
                  <a:gd name="connsiteX104" fmla="*/ 68602 w 4519987"/>
                  <a:gd name="connsiteY104" fmla="*/ 2724150 h 4496940"/>
                  <a:gd name="connsiteX105" fmla="*/ 49552 w 4519987"/>
                  <a:gd name="connsiteY105" fmla="*/ 2638425 h 4496940"/>
                  <a:gd name="connsiteX106" fmla="*/ 40027 w 4519987"/>
                  <a:gd name="connsiteY106" fmla="*/ 2562225 h 4496940"/>
                  <a:gd name="connsiteX107" fmla="*/ 30502 w 4519987"/>
                  <a:gd name="connsiteY107" fmla="*/ 2514600 h 4496940"/>
                  <a:gd name="connsiteX108" fmla="*/ 11452 w 4519987"/>
                  <a:gd name="connsiteY108" fmla="*/ 2400300 h 4496940"/>
                  <a:gd name="connsiteX109" fmla="*/ 20977 w 4519987"/>
                  <a:gd name="connsiteY109" fmla="*/ 1905000 h 4496940"/>
                  <a:gd name="connsiteX110" fmla="*/ 30502 w 4519987"/>
                  <a:gd name="connsiteY110" fmla="*/ 1838325 h 4496940"/>
                  <a:gd name="connsiteX111" fmla="*/ 49552 w 4519987"/>
                  <a:gd name="connsiteY111" fmla="*/ 1781175 h 4496940"/>
                  <a:gd name="connsiteX112" fmla="*/ 59077 w 4519987"/>
                  <a:gd name="connsiteY112" fmla="*/ 1743075 h 4496940"/>
                  <a:gd name="connsiteX113" fmla="*/ 78127 w 4519987"/>
                  <a:gd name="connsiteY113" fmla="*/ 1685925 h 4496940"/>
                  <a:gd name="connsiteX114" fmla="*/ 87652 w 4519987"/>
                  <a:gd name="connsiteY114" fmla="*/ 1638300 h 4496940"/>
                  <a:gd name="connsiteX115" fmla="*/ 106702 w 4519987"/>
                  <a:gd name="connsiteY115" fmla="*/ 1590675 h 4496940"/>
                  <a:gd name="connsiteX116" fmla="*/ 135277 w 4519987"/>
                  <a:gd name="connsiteY116" fmla="*/ 1504950 h 4496940"/>
                  <a:gd name="connsiteX117" fmla="*/ 154327 w 4519987"/>
                  <a:gd name="connsiteY117" fmla="*/ 1419225 h 4496940"/>
                  <a:gd name="connsiteX118" fmla="*/ 230527 w 4519987"/>
                  <a:gd name="connsiteY118" fmla="*/ 1276350 h 4496940"/>
                  <a:gd name="connsiteX119" fmla="*/ 240052 w 4519987"/>
                  <a:gd name="connsiteY119" fmla="*/ 1247775 h 4496940"/>
                  <a:gd name="connsiteX120" fmla="*/ 268627 w 4519987"/>
                  <a:gd name="connsiteY120" fmla="*/ 1200150 h 4496940"/>
                  <a:gd name="connsiteX121" fmla="*/ 287677 w 4519987"/>
                  <a:gd name="connsiteY121" fmla="*/ 1152525 h 4496940"/>
                  <a:gd name="connsiteX122" fmla="*/ 316252 w 4519987"/>
                  <a:gd name="connsiteY122" fmla="*/ 1114425 h 4496940"/>
                  <a:gd name="connsiteX123" fmla="*/ 363877 w 4519987"/>
                  <a:gd name="connsiteY123" fmla="*/ 1038225 h 4496940"/>
                  <a:gd name="connsiteX124" fmla="*/ 382927 w 4519987"/>
                  <a:gd name="connsiteY124" fmla="*/ 1009650 h 4496940"/>
                  <a:gd name="connsiteX125" fmla="*/ 440077 w 4519987"/>
                  <a:gd name="connsiteY125" fmla="*/ 904875 h 4496940"/>
                  <a:gd name="connsiteX126" fmla="*/ 478177 w 4519987"/>
                  <a:gd name="connsiteY126" fmla="*/ 857250 h 4496940"/>
                  <a:gd name="connsiteX127" fmla="*/ 497227 w 4519987"/>
                  <a:gd name="connsiteY127" fmla="*/ 828675 h 4496940"/>
                  <a:gd name="connsiteX128" fmla="*/ 535327 w 4519987"/>
                  <a:gd name="connsiteY128" fmla="*/ 800100 h 4496940"/>
                  <a:gd name="connsiteX129" fmla="*/ 602002 w 4519987"/>
                  <a:gd name="connsiteY129" fmla="*/ 733425 h 4496940"/>
                  <a:gd name="connsiteX130" fmla="*/ 668677 w 4519987"/>
                  <a:gd name="connsiteY130" fmla="*/ 676275 h 4496940"/>
                  <a:gd name="connsiteX131" fmla="*/ 697252 w 4519987"/>
                  <a:gd name="connsiteY131" fmla="*/ 657225 h 4496940"/>
                  <a:gd name="connsiteX132" fmla="*/ 840127 w 4519987"/>
                  <a:gd name="connsiteY132" fmla="*/ 533400 h 4496940"/>
                  <a:gd name="connsiteX133" fmla="*/ 887752 w 4519987"/>
                  <a:gd name="connsiteY133" fmla="*/ 504825 h 4496940"/>
                  <a:gd name="connsiteX134" fmla="*/ 1167152 w 4519987"/>
                  <a:gd name="connsiteY134" fmla="*/ 311150 h 4496940"/>
                  <a:gd name="connsiteX135" fmla="*/ 1268752 w 4519987"/>
                  <a:gd name="connsiteY135" fmla="*/ 285750 h 4496940"/>
                  <a:gd name="connsiteX136" fmla="*/ 1411627 w 4519987"/>
                  <a:gd name="connsiteY136" fmla="*/ 190500 h 4496940"/>
                  <a:gd name="connsiteX137" fmla="*/ 1449727 w 4519987"/>
                  <a:gd name="connsiteY137" fmla="*/ 161925 h 4496940"/>
                  <a:gd name="connsiteX138" fmla="*/ 1525927 w 4519987"/>
                  <a:gd name="connsiteY138" fmla="*/ 152400 h 4496940"/>
                  <a:gd name="connsiteX139" fmla="*/ 1583077 w 4519987"/>
                  <a:gd name="connsiteY139" fmla="*/ 142875 h 4496940"/>
                  <a:gd name="connsiteX140" fmla="*/ 1716427 w 4519987"/>
                  <a:gd name="connsiteY140" fmla="*/ 123825 h 4496940"/>
                  <a:gd name="connsiteX141" fmla="*/ 1811677 w 4519987"/>
                  <a:gd name="connsiteY141" fmla="*/ 114300 h 4496940"/>
                  <a:gd name="connsiteX142" fmla="*/ 1859302 w 4519987"/>
                  <a:gd name="connsiteY142" fmla="*/ 104775 h 4496940"/>
                  <a:gd name="connsiteX143" fmla="*/ 1916452 w 4519987"/>
                  <a:gd name="connsiteY143" fmla="*/ 95250 h 4496940"/>
                  <a:gd name="connsiteX144" fmla="*/ 2030752 w 4519987"/>
                  <a:gd name="connsiteY144" fmla="*/ 66675 h 4496940"/>
                  <a:gd name="connsiteX145" fmla="*/ 2097427 w 4519987"/>
                  <a:gd name="connsiteY145" fmla="*/ 47625 h 4496940"/>
                  <a:gd name="connsiteX146" fmla="*/ 2164102 w 4519987"/>
                  <a:gd name="connsiteY146" fmla="*/ 38100 h 4496940"/>
                  <a:gd name="connsiteX147" fmla="*/ 2392702 w 4519987"/>
                  <a:gd name="connsiteY14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202452 w 4519987"/>
                  <a:gd name="connsiteY24" fmla="*/ 1085850 h 4496940"/>
                  <a:gd name="connsiteX25" fmla="*/ 4250077 w 4519987"/>
                  <a:gd name="connsiteY25" fmla="*/ 1143000 h 4496940"/>
                  <a:gd name="connsiteX26" fmla="*/ 4259602 w 4519987"/>
                  <a:gd name="connsiteY26" fmla="*/ 1190625 h 4496940"/>
                  <a:gd name="connsiteX27" fmla="*/ 4307227 w 4519987"/>
                  <a:gd name="connsiteY27" fmla="*/ 1266825 h 4496940"/>
                  <a:gd name="connsiteX28" fmla="*/ 4345327 w 4519987"/>
                  <a:gd name="connsiteY28" fmla="*/ 1362075 h 4496940"/>
                  <a:gd name="connsiteX29" fmla="*/ 4373902 w 4519987"/>
                  <a:gd name="connsiteY29" fmla="*/ 1428750 h 4496940"/>
                  <a:gd name="connsiteX30" fmla="*/ 4392952 w 4519987"/>
                  <a:gd name="connsiteY30" fmla="*/ 1552575 h 4496940"/>
                  <a:gd name="connsiteX31" fmla="*/ 4402477 w 4519987"/>
                  <a:gd name="connsiteY31" fmla="*/ 1590675 h 4496940"/>
                  <a:gd name="connsiteX32" fmla="*/ 4431052 w 4519987"/>
                  <a:gd name="connsiteY32" fmla="*/ 1685925 h 4496940"/>
                  <a:gd name="connsiteX33" fmla="*/ 4519952 w 4519987"/>
                  <a:gd name="connsiteY33" fmla="*/ 2181225 h 4496940"/>
                  <a:gd name="connsiteX34" fmla="*/ 4446927 w 4519987"/>
                  <a:gd name="connsiteY34" fmla="*/ 2768600 h 4496940"/>
                  <a:gd name="connsiteX35" fmla="*/ 4383427 w 4519987"/>
                  <a:gd name="connsiteY35" fmla="*/ 2990850 h 4496940"/>
                  <a:gd name="connsiteX36" fmla="*/ 4278652 w 4519987"/>
                  <a:gd name="connsiteY36" fmla="*/ 3248025 h 4496940"/>
                  <a:gd name="connsiteX37" fmla="*/ 4259602 w 4519987"/>
                  <a:gd name="connsiteY37" fmla="*/ 3276600 h 4496940"/>
                  <a:gd name="connsiteX38" fmla="*/ 4221502 w 4519987"/>
                  <a:gd name="connsiteY38" fmla="*/ 3333750 h 4496940"/>
                  <a:gd name="connsiteX39" fmla="*/ 4211977 w 4519987"/>
                  <a:gd name="connsiteY39" fmla="*/ 3362325 h 4496940"/>
                  <a:gd name="connsiteX40" fmla="*/ 4183402 w 4519987"/>
                  <a:gd name="connsiteY40" fmla="*/ 3400425 h 4496940"/>
                  <a:gd name="connsiteX41" fmla="*/ 4164352 w 4519987"/>
                  <a:gd name="connsiteY41" fmla="*/ 3429000 h 4496940"/>
                  <a:gd name="connsiteX42" fmla="*/ 4088152 w 4519987"/>
                  <a:gd name="connsiteY42" fmla="*/ 3495675 h 4496940"/>
                  <a:gd name="connsiteX43" fmla="*/ 4059577 w 4519987"/>
                  <a:gd name="connsiteY43" fmla="*/ 3533775 h 4496940"/>
                  <a:gd name="connsiteX44" fmla="*/ 4002427 w 4519987"/>
                  <a:gd name="connsiteY44" fmla="*/ 3600450 h 4496940"/>
                  <a:gd name="connsiteX45" fmla="*/ 3983377 w 4519987"/>
                  <a:gd name="connsiteY45" fmla="*/ 3629025 h 4496940"/>
                  <a:gd name="connsiteX46" fmla="*/ 3954802 w 4519987"/>
                  <a:gd name="connsiteY46" fmla="*/ 3648075 h 4496940"/>
                  <a:gd name="connsiteX47" fmla="*/ 3907177 w 4519987"/>
                  <a:gd name="connsiteY47" fmla="*/ 3686175 h 4496940"/>
                  <a:gd name="connsiteX48" fmla="*/ 3869077 w 4519987"/>
                  <a:gd name="connsiteY48" fmla="*/ 3724275 h 4496940"/>
                  <a:gd name="connsiteX49" fmla="*/ 3792877 w 4519987"/>
                  <a:gd name="connsiteY49" fmla="*/ 3781425 h 4496940"/>
                  <a:gd name="connsiteX50" fmla="*/ 3783352 w 4519987"/>
                  <a:gd name="connsiteY50" fmla="*/ 3810000 h 4496940"/>
                  <a:gd name="connsiteX51" fmla="*/ 3745252 w 4519987"/>
                  <a:gd name="connsiteY51" fmla="*/ 3819525 h 4496940"/>
                  <a:gd name="connsiteX52" fmla="*/ 3678577 w 4519987"/>
                  <a:gd name="connsiteY52" fmla="*/ 3848100 h 4496940"/>
                  <a:gd name="connsiteX53" fmla="*/ 3659527 w 4519987"/>
                  <a:gd name="connsiteY53" fmla="*/ 3971925 h 4496940"/>
                  <a:gd name="connsiteX54" fmla="*/ 3630952 w 4519987"/>
                  <a:gd name="connsiteY54" fmla="*/ 4010025 h 4496940"/>
                  <a:gd name="connsiteX55" fmla="*/ 3621427 w 4519987"/>
                  <a:gd name="connsiteY55" fmla="*/ 4038600 h 4496940"/>
                  <a:gd name="connsiteX56" fmla="*/ 3554752 w 4519987"/>
                  <a:gd name="connsiteY56" fmla="*/ 4095750 h 4496940"/>
                  <a:gd name="connsiteX57" fmla="*/ 3516652 w 4519987"/>
                  <a:gd name="connsiteY57" fmla="*/ 4114800 h 4496940"/>
                  <a:gd name="connsiteX58" fmla="*/ 3497602 w 4519987"/>
                  <a:gd name="connsiteY58" fmla="*/ 4143375 h 4496940"/>
                  <a:gd name="connsiteX59" fmla="*/ 3383302 w 4519987"/>
                  <a:gd name="connsiteY59" fmla="*/ 4210050 h 4496940"/>
                  <a:gd name="connsiteX60" fmla="*/ 3335677 w 4519987"/>
                  <a:gd name="connsiteY60" fmla="*/ 4238625 h 4496940"/>
                  <a:gd name="connsiteX61" fmla="*/ 3288052 w 4519987"/>
                  <a:gd name="connsiteY61" fmla="*/ 4248150 h 4496940"/>
                  <a:gd name="connsiteX62" fmla="*/ 3240427 w 4519987"/>
                  <a:gd name="connsiteY62" fmla="*/ 4267200 h 4496940"/>
                  <a:gd name="connsiteX63" fmla="*/ 3068977 w 4519987"/>
                  <a:gd name="connsiteY63" fmla="*/ 4286250 h 4496940"/>
                  <a:gd name="connsiteX64" fmla="*/ 2935627 w 4519987"/>
                  <a:gd name="connsiteY64" fmla="*/ 4333875 h 4496940"/>
                  <a:gd name="connsiteX65" fmla="*/ 2811802 w 4519987"/>
                  <a:gd name="connsiteY65" fmla="*/ 4371975 h 4496940"/>
                  <a:gd name="connsiteX66" fmla="*/ 2745127 w 4519987"/>
                  <a:gd name="connsiteY66" fmla="*/ 4410075 h 4496940"/>
                  <a:gd name="connsiteX67" fmla="*/ 2697502 w 4519987"/>
                  <a:gd name="connsiteY67" fmla="*/ 4429125 h 4496940"/>
                  <a:gd name="connsiteX68" fmla="*/ 2640352 w 4519987"/>
                  <a:gd name="connsiteY68" fmla="*/ 4457700 h 4496940"/>
                  <a:gd name="connsiteX69" fmla="*/ 2583202 w 4519987"/>
                  <a:gd name="connsiteY69" fmla="*/ 4467225 h 4496940"/>
                  <a:gd name="connsiteX70" fmla="*/ 2545102 w 4519987"/>
                  <a:gd name="connsiteY70" fmla="*/ 4486275 h 4496940"/>
                  <a:gd name="connsiteX71" fmla="*/ 2306977 w 4519987"/>
                  <a:gd name="connsiteY71" fmla="*/ 4476750 h 4496940"/>
                  <a:gd name="connsiteX72" fmla="*/ 2202202 w 4519987"/>
                  <a:gd name="connsiteY72" fmla="*/ 4457700 h 4496940"/>
                  <a:gd name="connsiteX73" fmla="*/ 2126002 w 4519987"/>
                  <a:gd name="connsiteY73" fmla="*/ 4429125 h 4496940"/>
                  <a:gd name="connsiteX74" fmla="*/ 1935502 w 4519987"/>
                  <a:gd name="connsiteY74" fmla="*/ 4400550 h 4496940"/>
                  <a:gd name="connsiteX75" fmla="*/ 1821202 w 4519987"/>
                  <a:gd name="connsiteY75" fmla="*/ 4371975 h 4496940"/>
                  <a:gd name="connsiteX76" fmla="*/ 1754527 w 4519987"/>
                  <a:gd name="connsiteY76" fmla="*/ 4352925 h 4496940"/>
                  <a:gd name="connsiteX77" fmla="*/ 1687852 w 4519987"/>
                  <a:gd name="connsiteY77" fmla="*/ 4343400 h 4496940"/>
                  <a:gd name="connsiteX78" fmla="*/ 1573552 w 4519987"/>
                  <a:gd name="connsiteY78" fmla="*/ 4305300 h 4496940"/>
                  <a:gd name="connsiteX79" fmla="*/ 1402102 w 4519987"/>
                  <a:gd name="connsiteY79" fmla="*/ 4276725 h 4496940"/>
                  <a:gd name="connsiteX80" fmla="*/ 1287802 w 4519987"/>
                  <a:gd name="connsiteY80" fmla="*/ 4229100 h 4496940"/>
                  <a:gd name="connsiteX81" fmla="*/ 1221127 w 4519987"/>
                  <a:gd name="connsiteY81" fmla="*/ 4200525 h 4496940"/>
                  <a:gd name="connsiteX82" fmla="*/ 1144927 w 4519987"/>
                  <a:gd name="connsiteY82" fmla="*/ 4171950 h 4496940"/>
                  <a:gd name="connsiteX83" fmla="*/ 1087777 w 4519987"/>
                  <a:gd name="connsiteY83" fmla="*/ 4143375 h 4496940"/>
                  <a:gd name="connsiteX84" fmla="*/ 1030627 w 4519987"/>
                  <a:gd name="connsiteY84" fmla="*/ 4124325 h 4496940"/>
                  <a:gd name="connsiteX85" fmla="*/ 925852 w 4519987"/>
                  <a:gd name="connsiteY85" fmla="*/ 4067175 h 4496940"/>
                  <a:gd name="connsiteX86" fmla="*/ 830602 w 4519987"/>
                  <a:gd name="connsiteY86" fmla="*/ 3981450 h 4496940"/>
                  <a:gd name="connsiteX87" fmla="*/ 763927 w 4519987"/>
                  <a:gd name="connsiteY87" fmla="*/ 3914775 h 4496940"/>
                  <a:gd name="connsiteX88" fmla="*/ 725827 w 4519987"/>
                  <a:gd name="connsiteY88" fmla="*/ 3876675 h 4496940"/>
                  <a:gd name="connsiteX89" fmla="*/ 697252 w 4519987"/>
                  <a:gd name="connsiteY89" fmla="*/ 3838575 h 4496940"/>
                  <a:gd name="connsiteX90" fmla="*/ 640102 w 4519987"/>
                  <a:gd name="connsiteY90" fmla="*/ 3781425 h 4496940"/>
                  <a:gd name="connsiteX91" fmla="*/ 611527 w 4519987"/>
                  <a:gd name="connsiteY91" fmla="*/ 3733800 h 4496940"/>
                  <a:gd name="connsiteX92" fmla="*/ 554377 w 4519987"/>
                  <a:gd name="connsiteY92" fmla="*/ 3657600 h 4496940"/>
                  <a:gd name="connsiteX93" fmla="*/ 525802 w 4519987"/>
                  <a:gd name="connsiteY93" fmla="*/ 3609975 h 4496940"/>
                  <a:gd name="connsiteX94" fmla="*/ 497227 w 4519987"/>
                  <a:gd name="connsiteY94" fmla="*/ 3552825 h 4496940"/>
                  <a:gd name="connsiteX95" fmla="*/ 440077 w 4519987"/>
                  <a:gd name="connsiteY95" fmla="*/ 3495675 h 4496940"/>
                  <a:gd name="connsiteX96" fmla="*/ 411502 w 4519987"/>
                  <a:gd name="connsiteY96" fmla="*/ 3448050 h 4496940"/>
                  <a:gd name="connsiteX97" fmla="*/ 278152 w 4519987"/>
                  <a:gd name="connsiteY97" fmla="*/ 3257550 h 4496940"/>
                  <a:gd name="connsiteX98" fmla="*/ 249577 w 4519987"/>
                  <a:gd name="connsiteY98" fmla="*/ 3200400 h 4496940"/>
                  <a:gd name="connsiteX99" fmla="*/ 240052 w 4519987"/>
                  <a:gd name="connsiteY99" fmla="*/ 3162300 h 4496940"/>
                  <a:gd name="connsiteX100" fmla="*/ 221002 w 4519987"/>
                  <a:gd name="connsiteY100" fmla="*/ 3105150 h 4496940"/>
                  <a:gd name="connsiteX101" fmla="*/ 173377 w 4519987"/>
                  <a:gd name="connsiteY101" fmla="*/ 3019425 h 4496940"/>
                  <a:gd name="connsiteX102" fmla="*/ 144802 w 4519987"/>
                  <a:gd name="connsiteY102" fmla="*/ 2924175 h 4496940"/>
                  <a:gd name="connsiteX103" fmla="*/ 68602 w 4519987"/>
                  <a:gd name="connsiteY103" fmla="*/ 2724150 h 4496940"/>
                  <a:gd name="connsiteX104" fmla="*/ 49552 w 4519987"/>
                  <a:gd name="connsiteY104" fmla="*/ 2638425 h 4496940"/>
                  <a:gd name="connsiteX105" fmla="*/ 40027 w 4519987"/>
                  <a:gd name="connsiteY105" fmla="*/ 2562225 h 4496940"/>
                  <a:gd name="connsiteX106" fmla="*/ 30502 w 4519987"/>
                  <a:gd name="connsiteY106" fmla="*/ 2514600 h 4496940"/>
                  <a:gd name="connsiteX107" fmla="*/ 11452 w 4519987"/>
                  <a:gd name="connsiteY107" fmla="*/ 2400300 h 4496940"/>
                  <a:gd name="connsiteX108" fmla="*/ 20977 w 4519987"/>
                  <a:gd name="connsiteY108" fmla="*/ 1905000 h 4496940"/>
                  <a:gd name="connsiteX109" fmla="*/ 30502 w 4519987"/>
                  <a:gd name="connsiteY109" fmla="*/ 1838325 h 4496940"/>
                  <a:gd name="connsiteX110" fmla="*/ 49552 w 4519987"/>
                  <a:gd name="connsiteY110" fmla="*/ 1781175 h 4496940"/>
                  <a:gd name="connsiteX111" fmla="*/ 59077 w 4519987"/>
                  <a:gd name="connsiteY111" fmla="*/ 1743075 h 4496940"/>
                  <a:gd name="connsiteX112" fmla="*/ 78127 w 4519987"/>
                  <a:gd name="connsiteY112" fmla="*/ 1685925 h 4496940"/>
                  <a:gd name="connsiteX113" fmla="*/ 87652 w 4519987"/>
                  <a:gd name="connsiteY113" fmla="*/ 1638300 h 4496940"/>
                  <a:gd name="connsiteX114" fmla="*/ 106702 w 4519987"/>
                  <a:gd name="connsiteY114" fmla="*/ 1590675 h 4496940"/>
                  <a:gd name="connsiteX115" fmla="*/ 135277 w 4519987"/>
                  <a:gd name="connsiteY115" fmla="*/ 1504950 h 4496940"/>
                  <a:gd name="connsiteX116" fmla="*/ 154327 w 4519987"/>
                  <a:gd name="connsiteY116" fmla="*/ 1419225 h 4496940"/>
                  <a:gd name="connsiteX117" fmla="*/ 230527 w 4519987"/>
                  <a:gd name="connsiteY117" fmla="*/ 1276350 h 4496940"/>
                  <a:gd name="connsiteX118" fmla="*/ 240052 w 4519987"/>
                  <a:gd name="connsiteY118" fmla="*/ 1247775 h 4496940"/>
                  <a:gd name="connsiteX119" fmla="*/ 268627 w 4519987"/>
                  <a:gd name="connsiteY119" fmla="*/ 1200150 h 4496940"/>
                  <a:gd name="connsiteX120" fmla="*/ 287677 w 4519987"/>
                  <a:gd name="connsiteY120" fmla="*/ 1152525 h 4496940"/>
                  <a:gd name="connsiteX121" fmla="*/ 316252 w 4519987"/>
                  <a:gd name="connsiteY121" fmla="*/ 1114425 h 4496940"/>
                  <a:gd name="connsiteX122" fmla="*/ 363877 w 4519987"/>
                  <a:gd name="connsiteY122" fmla="*/ 1038225 h 4496940"/>
                  <a:gd name="connsiteX123" fmla="*/ 382927 w 4519987"/>
                  <a:gd name="connsiteY123" fmla="*/ 1009650 h 4496940"/>
                  <a:gd name="connsiteX124" fmla="*/ 440077 w 4519987"/>
                  <a:gd name="connsiteY124" fmla="*/ 904875 h 4496940"/>
                  <a:gd name="connsiteX125" fmla="*/ 478177 w 4519987"/>
                  <a:gd name="connsiteY125" fmla="*/ 857250 h 4496940"/>
                  <a:gd name="connsiteX126" fmla="*/ 497227 w 4519987"/>
                  <a:gd name="connsiteY126" fmla="*/ 828675 h 4496940"/>
                  <a:gd name="connsiteX127" fmla="*/ 535327 w 4519987"/>
                  <a:gd name="connsiteY127" fmla="*/ 800100 h 4496940"/>
                  <a:gd name="connsiteX128" fmla="*/ 602002 w 4519987"/>
                  <a:gd name="connsiteY128" fmla="*/ 733425 h 4496940"/>
                  <a:gd name="connsiteX129" fmla="*/ 668677 w 4519987"/>
                  <a:gd name="connsiteY129" fmla="*/ 676275 h 4496940"/>
                  <a:gd name="connsiteX130" fmla="*/ 697252 w 4519987"/>
                  <a:gd name="connsiteY130" fmla="*/ 657225 h 4496940"/>
                  <a:gd name="connsiteX131" fmla="*/ 840127 w 4519987"/>
                  <a:gd name="connsiteY131" fmla="*/ 533400 h 4496940"/>
                  <a:gd name="connsiteX132" fmla="*/ 887752 w 4519987"/>
                  <a:gd name="connsiteY132" fmla="*/ 504825 h 4496940"/>
                  <a:gd name="connsiteX133" fmla="*/ 1167152 w 4519987"/>
                  <a:gd name="connsiteY133" fmla="*/ 311150 h 4496940"/>
                  <a:gd name="connsiteX134" fmla="*/ 1268752 w 4519987"/>
                  <a:gd name="connsiteY134" fmla="*/ 285750 h 4496940"/>
                  <a:gd name="connsiteX135" fmla="*/ 1411627 w 4519987"/>
                  <a:gd name="connsiteY135" fmla="*/ 190500 h 4496940"/>
                  <a:gd name="connsiteX136" fmla="*/ 1449727 w 4519987"/>
                  <a:gd name="connsiteY136" fmla="*/ 161925 h 4496940"/>
                  <a:gd name="connsiteX137" fmla="*/ 1525927 w 4519987"/>
                  <a:gd name="connsiteY137" fmla="*/ 152400 h 4496940"/>
                  <a:gd name="connsiteX138" fmla="*/ 1583077 w 4519987"/>
                  <a:gd name="connsiteY138" fmla="*/ 142875 h 4496940"/>
                  <a:gd name="connsiteX139" fmla="*/ 1716427 w 4519987"/>
                  <a:gd name="connsiteY139" fmla="*/ 123825 h 4496940"/>
                  <a:gd name="connsiteX140" fmla="*/ 1811677 w 4519987"/>
                  <a:gd name="connsiteY140" fmla="*/ 114300 h 4496940"/>
                  <a:gd name="connsiteX141" fmla="*/ 1859302 w 4519987"/>
                  <a:gd name="connsiteY141" fmla="*/ 104775 h 4496940"/>
                  <a:gd name="connsiteX142" fmla="*/ 1916452 w 4519987"/>
                  <a:gd name="connsiteY142" fmla="*/ 95250 h 4496940"/>
                  <a:gd name="connsiteX143" fmla="*/ 2030752 w 4519987"/>
                  <a:gd name="connsiteY143" fmla="*/ 66675 h 4496940"/>
                  <a:gd name="connsiteX144" fmla="*/ 2097427 w 4519987"/>
                  <a:gd name="connsiteY144" fmla="*/ 47625 h 4496940"/>
                  <a:gd name="connsiteX145" fmla="*/ 2164102 w 4519987"/>
                  <a:gd name="connsiteY145" fmla="*/ 38100 h 4496940"/>
                  <a:gd name="connsiteX146" fmla="*/ 2392702 w 4519987"/>
                  <a:gd name="connsiteY14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250077 w 4519987"/>
                  <a:gd name="connsiteY24" fmla="*/ 1143000 h 4496940"/>
                  <a:gd name="connsiteX25" fmla="*/ 4259602 w 4519987"/>
                  <a:gd name="connsiteY25" fmla="*/ 1190625 h 4496940"/>
                  <a:gd name="connsiteX26" fmla="*/ 4307227 w 4519987"/>
                  <a:gd name="connsiteY26" fmla="*/ 1266825 h 4496940"/>
                  <a:gd name="connsiteX27" fmla="*/ 4345327 w 4519987"/>
                  <a:gd name="connsiteY27" fmla="*/ 1362075 h 4496940"/>
                  <a:gd name="connsiteX28" fmla="*/ 4373902 w 4519987"/>
                  <a:gd name="connsiteY28" fmla="*/ 1428750 h 4496940"/>
                  <a:gd name="connsiteX29" fmla="*/ 4392952 w 4519987"/>
                  <a:gd name="connsiteY29" fmla="*/ 1552575 h 4496940"/>
                  <a:gd name="connsiteX30" fmla="*/ 4402477 w 4519987"/>
                  <a:gd name="connsiteY30" fmla="*/ 1590675 h 4496940"/>
                  <a:gd name="connsiteX31" fmla="*/ 4431052 w 4519987"/>
                  <a:gd name="connsiteY31" fmla="*/ 1685925 h 4496940"/>
                  <a:gd name="connsiteX32" fmla="*/ 4519952 w 4519987"/>
                  <a:gd name="connsiteY32" fmla="*/ 2181225 h 4496940"/>
                  <a:gd name="connsiteX33" fmla="*/ 4446927 w 4519987"/>
                  <a:gd name="connsiteY33" fmla="*/ 2768600 h 4496940"/>
                  <a:gd name="connsiteX34" fmla="*/ 4383427 w 4519987"/>
                  <a:gd name="connsiteY34" fmla="*/ 2990850 h 4496940"/>
                  <a:gd name="connsiteX35" fmla="*/ 4278652 w 4519987"/>
                  <a:gd name="connsiteY35" fmla="*/ 3248025 h 4496940"/>
                  <a:gd name="connsiteX36" fmla="*/ 4259602 w 4519987"/>
                  <a:gd name="connsiteY36" fmla="*/ 3276600 h 4496940"/>
                  <a:gd name="connsiteX37" fmla="*/ 4221502 w 4519987"/>
                  <a:gd name="connsiteY37" fmla="*/ 3333750 h 4496940"/>
                  <a:gd name="connsiteX38" fmla="*/ 4211977 w 4519987"/>
                  <a:gd name="connsiteY38" fmla="*/ 3362325 h 4496940"/>
                  <a:gd name="connsiteX39" fmla="*/ 4183402 w 4519987"/>
                  <a:gd name="connsiteY39" fmla="*/ 3400425 h 4496940"/>
                  <a:gd name="connsiteX40" fmla="*/ 4164352 w 4519987"/>
                  <a:gd name="connsiteY40" fmla="*/ 3429000 h 4496940"/>
                  <a:gd name="connsiteX41" fmla="*/ 4088152 w 4519987"/>
                  <a:gd name="connsiteY41" fmla="*/ 3495675 h 4496940"/>
                  <a:gd name="connsiteX42" fmla="*/ 4059577 w 4519987"/>
                  <a:gd name="connsiteY42" fmla="*/ 3533775 h 4496940"/>
                  <a:gd name="connsiteX43" fmla="*/ 4002427 w 4519987"/>
                  <a:gd name="connsiteY43" fmla="*/ 3600450 h 4496940"/>
                  <a:gd name="connsiteX44" fmla="*/ 3983377 w 4519987"/>
                  <a:gd name="connsiteY44" fmla="*/ 3629025 h 4496940"/>
                  <a:gd name="connsiteX45" fmla="*/ 3954802 w 4519987"/>
                  <a:gd name="connsiteY45" fmla="*/ 3648075 h 4496940"/>
                  <a:gd name="connsiteX46" fmla="*/ 3907177 w 4519987"/>
                  <a:gd name="connsiteY46" fmla="*/ 3686175 h 4496940"/>
                  <a:gd name="connsiteX47" fmla="*/ 3869077 w 4519987"/>
                  <a:gd name="connsiteY47" fmla="*/ 3724275 h 4496940"/>
                  <a:gd name="connsiteX48" fmla="*/ 3792877 w 4519987"/>
                  <a:gd name="connsiteY48" fmla="*/ 3781425 h 4496940"/>
                  <a:gd name="connsiteX49" fmla="*/ 3783352 w 4519987"/>
                  <a:gd name="connsiteY49" fmla="*/ 3810000 h 4496940"/>
                  <a:gd name="connsiteX50" fmla="*/ 3745252 w 4519987"/>
                  <a:gd name="connsiteY50" fmla="*/ 3819525 h 4496940"/>
                  <a:gd name="connsiteX51" fmla="*/ 3678577 w 4519987"/>
                  <a:gd name="connsiteY51" fmla="*/ 3848100 h 4496940"/>
                  <a:gd name="connsiteX52" fmla="*/ 3659527 w 4519987"/>
                  <a:gd name="connsiteY52" fmla="*/ 3971925 h 4496940"/>
                  <a:gd name="connsiteX53" fmla="*/ 3630952 w 4519987"/>
                  <a:gd name="connsiteY53" fmla="*/ 4010025 h 4496940"/>
                  <a:gd name="connsiteX54" fmla="*/ 3621427 w 4519987"/>
                  <a:gd name="connsiteY54" fmla="*/ 4038600 h 4496940"/>
                  <a:gd name="connsiteX55" fmla="*/ 3554752 w 4519987"/>
                  <a:gd name="connsiteY55" fmla="*/ 4095750 h 4496940"/>
                  <a:gd name="connsiteX56" fmla="*/ 3516652 w 4519987"/>
                  <a:gd name="connsiteY56" fmla="*/ 4114800 h 4496940"/>
                  <a:gd name="connsiteX57" fmla="*/ 3497602 w 4519987"/>
                  <a:gd name="connsiteY57" fmla="*/ 4143375 h 4496940"/>
                  <a:gd name="connsiteX58" fmla="*/ 3383302 w 4519987"/>
                  <a:gd name="connsiteY58" fmla="*/ 4210050 h 4496940"/>
                  <a:gd name="connsiteX59" fmla="*/ 3335677 w 4519987"/>
                  <a:gd name="connsiteY59" fmla="*/ 4238625 h 4496940"/>
                  <a:gd name="connsiteX60" fmla="*/ 3288052 w 4519987"/>
                  <a:gd name="connsiteY60" fmla="*/ 4248150 h 4496940"/>
                  <a:gd name="connsiteX61" fmla="*/ 3240427 w 4519987"/>
                  <a:gd name="connsiteY61" fmla="*/ 4267200 h 4496940"/>
                  <a:gd name="connsiteX62" fmla="*/ 3068977 w 4519987"/>
                  <a:gd name="connsiteY62" fmla="*/ 4286250 h 4496940"/>
                  <a:gd name="connsiteX63" fmla="*/ 2935627 w 4519987"/>
                  <a:gd name="connsiteY63" fmla="*/ 4333875 h 4496940"/>
                  <a:gd name="connsiteX64" fmla="*/ 2811802 w 4519987"/>
                  <a:gd name="connsiteY64" fmla="*/ 4371975 h 4496940"/>
                  <a:gd name="connsiteX65" fmla="*/ 2745127 w 4519987"/>
                  <a:gd name="connsiteY65" fmla="*/ 4410075 h 4496940"/>
                  <a:gd name="connsiteX66" fmla="*/ 2697502 w 4519987"/>
                  <a:gd name="connsiteY66" fmla="*/ 4429125 h 4496940"/>
                  <a:gd name="connsiteX67" fmla="*/ 2640352 w 4519987"/>
                  <a:gd name="connsiteY67" fmla="*/ 4457700 h 4496940"/>
                  <a:gd name="connsiteX68" fmla="*/ 2583202 w 4519987"/>
                  <a:gd name="connsiteY68" fmla="*/ 4467225 h 4496940"/>
                  <a:gd name="connsiteX69" fmla="*/ 2545102 w 4519987"/>
                  <a:gd name="connsiteY69" fmla="*/ 4486275 h 4496940"/>
                  <a:gd name="connsiteX70" fmla="*/ 2306977 w 4519987"/>
                  <a:gd name="connsiteY70" fmla="*/ 4476750 h 4496940"/>
                  <a:gd name="connsiteX71" fmla="*/ 2202202 w 4519987"/>
                  <a:gd name="connsiteY71" fmla="*/ 4457700 h 4496940"/>
                  <a:gd name="connsiteX72" fmla="*/ 2126002 w 4519987"/>
                  <a:gd name="connsiteY72" fmla="*/ 4429125 h 4496940"/>
                  <a:gd name="connsiteX73" fmla="*/ 1935502 w 4519987"/>
                  <a:gd name="connsiteY73" fmla="*/ 4400550 h 4496940"/>
                  <a:gd name="connsiteX74" fmla="*/ 1821202 w 4519987"/>
                  <a:gd name="connsiteY74" fmla="*/ 4371975 h 4496940"/>
                  <a:gd name="connsiteX75" fmla="*/ 1754527 w 4519987"/>
                  <a:gd name="connsiteY75" fmla="*/ 4352925 h 4496940"/>
                  <a:gd name="connsiteX76" fmla="*/ 1687852 w 4519987"/>
                  <a:gd name="connsiteY76" fmla="*/ 4343400 h 4496940"/>
                  <a:gd name="connsiteX77" fmla="*/ 1573552 w 4519987"/>
                  <a:gd name="connsiteY77" fmla="*/ 4305300 h 4496940"/>
                  <a:gd name="connsiteX78" fmla="*/ 1402102 w 4519987"/>
                  <a:gd name="connsiteY78" fmla="*/ 4276725 h 4496940"/>
                  <a:gd name="connsiteX79" fmla="*/ 1287802 w 4519987"/>
                  <a:gd name="connsiteY79" fmla="*/ 4229100 h 4496940"/>
                  <a:gd name="connsiteX80" fmla="*/ 1221127 w 4519987"/>
                  <a:gd name="connsiteY80" fmla="*/ 4200525 h 4496940"/>
                  <a:gd name="connsiteX81" fmla="*/ 1144927 w 4519987"/>
                  <a:gd name="connsiteY81" fmla="*/ 4171950 h 4496940"/>
                  <a:gd name="connsiteX82" fmla="*/ 1087777 w 4519987"/>
                  <a:gd name="connsiteY82" fmla="*/ 4143375 h 4496940"/>
                  <a:gd name="connsiteX83" fmla="*/ 1030627 w 4519987"/>
                  <a:gd name="connsiteY83" fmla="*/ 4124325 h 4496940"/>
                  <a:gd name="connsiteX84" fmla="*/ 925852 w 4519987"/>
                  <a:gd name="connsiteY84" fmla="*/ 4067175 h 4496940"/>
                  <a:gd name="connsiteX85" fmla="*/ 830602 w 4519987"/>
                  <a:gd name="connsiteY85" fmla="*/ 3981450 h 4496940"/>
                  <a:gd name="connsiteX86" fmla="*/ 763927 w 4519987"/>
                  <a:gd name="connsiteY86" fmla="*/ 3914775 h 4496940"/>
                  <a:gd name="connsiteX87" fmla="*/ 725827 w 4519987"/>
                  <a:gd name="connsiteY87" fmla="*/ 3876675 h 4496940"/>
                  <a:gd name="connsiteX88" fmla="*/ 697252 w 4519987"/>
                  <a:gd name="connsiteY88" fmla="*/ 3838575 h 4496940"/>
                  <a:gd name="connsiteX89" fmla="*/ 640102 w 4519987"/>
                  <a:gd name="connsiteY89" fmla="*/ 3781425 h 4496940"/>
                  <a:gd name="connsiteX90" fmla="*/ 611527 w 4519987"/>
                  <a:gd name="connsiteY90" fmla="*/ 3733800 h 4496940"/>
                  <a:gd name="connsiteX91" fmla="*/ 554377 w 4519987"/>
                  <a:gd name="connsiteY91" fmla="*/ 3657600 h 4496940"/>
                  <a:gd name="connsiteX92" fmla="*/ 525802 w 4519987"/>
                  <a:gd name="connsiteY92" fmla="*/ 3609975 h 4496940"/>
                  <a:gd name="connsiteX93" fmla="*/ 497227 w 4519987"/>
                  <a:gd name="connsiteY93" fmla="*/ 3552825 h 4496940"/>
                  <a:gd name="connsiteX94" fmla="*/ 440077 w 4519987"/>
                  <a:gd name="connsiteY94" fmla="*/ 3495675 h 4496940"/>
                  <a:gd name="connsiteX95" fmla="*/ 411502 w 4519987"/>
                  <a:gd name="connsiteY95" fmla="*/ 3448050 h 4496940"/>
                  <a:gd name="connsiteX96" fmla="*/ 278152 w 4519987"/>
                  <a:gd name="connsiteY96" fmla="*/ 3257550 h 4496940"/>
                  <a:gd name="connsiteX97" fmla="*/ 249577 w 4519987"/>
                  <a:gd name="connsiteY97" fmla="*/ 3200400 h 4496940"/>
                  <a:gd name="connsiteX98" fmla="*/ 240052 w 4519987"/>
                  <a:gd name="connsiteY98" fmla="*/ 3162300 h 4496940"/>
                  <a:gd name="connsiteX99" fmla="*/ 221002 w 4519987"/>
                  <a:gd name="connsiteY99" fmla="*/ 3105150 h 4496940"/>
                  <a:gd name="connsiteX100" fmla="*/ 173377 w 4519987"/>
                  <a:gd name="connsiteY100" fmla="*/ 3019425 h 4496940"/>
                  <a:gd name="connsiteX101" fmla="*/ 144802 w 4519987"/>
                  <a:gd name="connsiteY101" fmla="*/ 2924175 h 4496940"/>
                  <a:gd name="connsiteX102" fmla="*/ 68602 w 4519987"/>
                  <a:gd name="connsiteY102" fmla="*/ 2724150 h 4496940"/>
                  <a:gd name="connsiteX103" fmla="*/ 49552 w 4519987"/>
                  <a:gd name="connsiteY103" fmla="*/ 2638425 h 4496940"/>
                  <a:gd name="connsiteX104" fmla="*/ 40027 w 4519987"/>
                  <a:gd name="connsiteY104" fmla="*/ 2562225 h 4496940"/>
                  <a:gd name="connsiteX105" fmla="*/ 30502 w 4519987"/>
                  <a:gd name="connsiteY105" fmla="*/ 2514600 h 4496940"/>
                  <a:gd name="connsiteX106" fmla="*/ 11452 w 4519987"/>
                  <a:gd name="connsiteY106" fmla="*/ 2400300 h 4496940"/>
                  <a:gd name="connsiteX107" fmla="*/ 20977 w 4519987"/>
                  <a:gd name="connsiteY107" fmla="*/ 1905000 h 4496940"/>
                  <a:gd name="connsiteX108" fmla="*/ 30502 w 4519987"/>
                  <a:gd name="connsiteY108" fmla="*/ 1838325 h 4496940"/>
                  <a:gd name="connsiteX109" fmla="*/ 49552 w 4519987"/>
                  <a:gd name="connsiteY109" fmla="*/ 1781175 h 4496940"/>
                  <a:gd name="connsiteX110" fmla="*/ 59077 w 4519987"/>
                  <a:gd name="connsiteY110" fmla="*/ 1743075 h 4496940"/>
                  <a:gd name="connsiteX111" fmla="*/ 78127 w 4519987"/>
                  <a:gd name="connsiteY111" fmla="*/ 1685925 h 4496940"/>
                  <a:gd name="connsiteX112" fmla="*/ 87652 w 4519987"/>
                  <a:gd name="connsiteY112" fmla="*/ 1638300 h 4496940"/>
                  <a:gd name="connsiteX113" fmla="*/ 106702 w 4519987"/>
                  <a:gd name="connsiteY113" fmla="*/ 1590675 h 4496940"/>
                  <a:gd name="connsiteX114" fmla="*/ 135277 w 4519987"/>
                  <a:gd name="connsiteY114" fmla="*/ 1504950 h 4496940"/>
                  <a:gd name="connsiteX115" fmla="*/ 154327 w 4519987"/>
                  <a:gd name="connsiteY115" fmla="*/ 1419225 h 4496940"/>
                  <a:gd name="connsiteX116" fmla="*/ 230527 w 4519987"/>
                  <a:gd name="connsiteY116" fmla="*/ 1276350 h 4496940"/>
                  <a:gd name="connsiteX117" fmla="*/ 240052 w 4519987"/>
                  <a:gd name="connsiteY117" fmla="*/ 1247775 h 4496940"/>
                  <a:gd name="connsiteX118" fmla="*/ 268627 w 4519987"/>
                  <a:gd name="connsiteY118" fmla="*/ 1200150 h 4496940"/>
                  <a:gd name="connsiteX119" fmla="*/ 287677 w 4519987"/>
                  <a:gd name="connsiteY119" fmla="*/ 1152525 h 4496940"/>
                  <a:gd name="connsiteX120" fmla="*/ 316252 w 4519987"/>
                  <a:gd name="connsiteY120" fmla="*/ 1114425 h 4496940"/>
                  <a:gd name="connsiteX121" fmla="*/ 363877 w 4519987"/>
                  <a:gd name="connsiteY121" fmla="*/ 1038225 h 4496940"/>
                  <a:gd name="connsiteX122" fmla="*/ 382927 w 4519987"/>
                  <a:gd name="connsiteY122" fmla="*/ 1009650 h 4496940"/>
                  <a:gd name="connsiteX123" fmla="*/ 440077 w 4519987"/>
                  <a:gd name="connsiteY123" fmla="*/ 904875 h 4496940"/>
                  <a:gd name="connsiteX124" fmla="*/ 478177 w 4519987"/>
                  <a:gd name="connsiteY124" fmla="*/ 857250 h 4496940"/>
                  <a:gd name="connsiteX125" fmla="*/ 497227 w 4519987"/>
                  <a:gd name="connsiteY125" fmla="*/ 828675 h 4496940"/>
                  <a:gd name="connsiteX126" fmla="*/ 535327 w 4519987"/>
                  <a:gd name="connsiteY126" fmla="*/ 800100 h 4496940"/>
                  <a:gd name="connsiteX127" fmla="*/ 602002 w 4519987"/>
                  <a:gd name="connsiteY127" fmla="*/ 733425 h 4496940"/>
                  <a:gd name="connsiteX128" fmla="*/ 668677 w 4519987"/>
                  <a:gd name="connsiteY128" fmla="*/ 676275 h 4496940"/>
                  <a:gd name="connsiteX129" fmla="*/ 697252 w 4519987"/>
                  <a:gd name="connsiteY129" fmla="*/ 657225 h 4496940"/>
                  <a:gd name="connsiteX130" fmla="*/ 840127 w 4519987"/>
                  <a:gd name="connsiteY130" fmla="*/ 533400 h 4496940"/>
                  <a:gd name="connsiteX131" fmla="*/ 887752 w 4519987"/>
                  <a:gd name="connsiteY131" fmla="*/ 504825 h 4496940"/>
                  <a:gd name="connsiteX132" fmla="*/ 1167152 w 4519987"/>
                  <a:gd name="connsiteY132" fmla="*/ 311150 h 4496940"/>
                  <a:gd name="connsiteX133" fmla="*/ 1268752 w 4519987"/>
                  <a:gd name="connsiteY133" fmla="*/ 285750 h 4496940"/>
                  <a:gd name="connsiteX134" fmla="*/ 1411627 w 4519987"/>
                  <a:gd name="connsiteY134" fmla="*/ 190500 h 4496940"/>
                  <a:gd name="connsiteX135" fmla="*/ 1449727 w 4519987"/>
                  <a:gd name="connsiteY135" fmla="*/ 161925 h 4496940"/>
                  <a:gd name="connsiteX136" fmla="*/ 1525927 w 4519987"/>
                  <a:gd name="connsiteY136" fmla="*/ 152400 h 4496940"/>
                  <a:gd name="connsiteX137" fmla="*/ 1583077 w 4519987"/>
                  <a:gd name="connsiteY137" fmla="*/ 142875 h 4496940"/>
                  <a:gd name="connsiteX138" fmla="*/ 1716427 w 4519987"/>
                  <a:gd name="connsiteY138" fmla="*/ 123825 h 4496940"/>
                  <a:gd name="connsiteX139" fmla="*/ 1811677 w 4519987"/>
                  <a:gd name="connsiteY139" fmla="*/ 114300 h 4496940"/>
                  <a:gd name="connsiteX140" fmla="*/ 1859302 w 4519987"/>
                  <a:gd name="connsiteY140" fmla="*/ 104775 h 4496940"/>
                  <a:gd name="connsiteX141" fmla="*/ 1916452 w 4519987"/>
                  <a:gd name="connsiteY141" fmla="*/ 95250 h 4496940"/>
                  <a:gd name="connsiteX142" fmla="*/ 2030752 w 4519987"/>
                  <a:gd name="connsiteY142" fmla="*/ 66675 h 4496940"/>
                  <a:gd name="connsiteX143" fmla="*/ 2097427 w 4519987"/>
                  <a:gd name="connsiteY143" fmla="*/ 47625 h 4496940"/>
                  <a:gd name="connsiteX144" fmla="*/ 2164102 w 4519987"/>
                  <a:gd name="connsiteY144" fmla="*/ 38100 h 4496940"/>
                  <a:gd name="connsiteX145" fmla="*/ 2392702 w 4519987"/>
                  <a:gd name="connsiteY14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259602 w 4519987"/>
                  <a:gd name="connsiteY24" fmla="*/ 1190625 h 4496940"/>
                  <a:gd name="connsiteX25" fmla="*/ 4307227 w 4519987"/>
                  <a:gd name="connsiteY25" fmla="*/ 1266825 h 4496940"/>
                  <a:gd name="connsiteX26" fmla="*/ 4345327 w 4519987"/>
                  <a:gd name="connsiteY26" fmla="*/ 1362075 h 4496940"/>
                  <a:gd name="connsiteX27" fmla="*/ 4373902 w 4519987"/>
                  <a:gd name="connsiteY27" fmla="*/ 1428750 h 4496940"/>
                  <a:gd name="connsiteX28" fmla="*/ 4392952 w 4519987"/>
                  <a:gd name="connsiteY28" fmla="*/ 1552575 h 4496940"/>
                  <a:gd name="connsiteX29" fmla="*/ 4402477 w 4519987"/>
                  <a:gd name="connsiteY29" fmla="*/ 1590675 h 4496940"/>
                  <a:gd name="connsiteX30" fmla="*/ 4431052 w 4519987"/>
                  <a:gd name="connsiteY30" fmla="*/ 1685925 h 4496940"/>
                  <a:gd name="connsiteX31" fmla="*/ 4519952 w 4519987"/>
                  <a:gd name="connsiteY31" fmla="*/ 2181225 h 4496940"/>
                  <a:gd name="connsiteX32" fmla="*/ 4446927 w 4519987"/>
                  <a:gd name="connsiteY32" fmla="*/ 2768600 h 4496940"/>
                  <a:gd name="connsiteX33" fmla="*/ 4383427 w 4519987"/>
                  <a:gd name="connsiteY33" fmla="*/ 2990850 h 4496940"/>
                  <a:gd name="connsiteX34" fmla="*/ 4278652 w 4519987"/>
                  <a:gd name="connsiteY34" fmla="*/ 3248025 h 4496940"/>
                  <a:gd name="connsiteX35" fmla="*/ 4259602 w 4519987"/>
                  <a:gd name="connsiteY35" fmla="*/ 3276600 h 4496940"/>
                  <a:gd name="connsiteX36" fmla="*/ 4221502 w 4519987"/>
                  <a:gd name="connsiteY36" fmla="*/ 3333750 h 4496940"/>
                  <a:gd name="connsiteX37" fmla="*/ 4211977 w 4519987"/>
                  <a:gd name="connsiteY37" fmla="*/ 3362325 h 4496940"/>
                  <a:gd name="connsiteX38" fmla="*/ 4183402 w 4519987"/>
                  <a:gd name="connsiteY38" fmla="*/ 3400425 h 4496940"/>
                  <a:gd name="connsiteX39" fmla="*/ 4164352 w 4519987"/>
                  <a:gd name="connsiteY39" fmla="*/ 3429000 h 4496940"/>
                  <a:gd name="connsiteX40" fmla="*/ 4088152 w 4519987"/>
                  <a:gd name="connsiteY40" fmla="*/ 3495675 h 4496940"/>
                  <a:gd name="connsiteX41" fmla="*/ 4059577 w 4519987"/>
                  <a:gd name="connsiteY41" fmla="*/ 3533775 h 4496940"/>
                  <a:gd name="connsiteX42" fmla="*/ 4002427 w 4519987"/>
                  <a:gd name="connsiteY42" fmla="*/ 3600450 h 4496940"/>
                  <a:gd name="connsiteX43" fmla="*/ 3983377 w 4519987"/>
                  <a:gd name="connsiteY43" fmla="*/ 3629025 h 4496940"/>
                  <a:gd name="connsiteX44" fmla="*/ 3954802 w 4519987"/>
                  <a:gd name="connsiteY44" fmla="*/ 3648075 h 4496940"/>
                  <a:gd name="connsiteX45" fmla="*/ 3907177 w 4519987"/>
                  <a:gd name="connsiteY45" fmla="*/ 3686175 h 4496940"/>
                  <a:gd name="connsiteX46" fmla="*/ 3869077 w 4519987"/>
                  <a:gd name="connsiteY46" fmla="*/ 3724275 h 4496940"/>
                  <a:gd name="connsiteX47" fmla="*/ 3792877 w 4519987"/>
                  <a:gd name="connsiteY47" fmla="*/ 3781425 h 4496940"/>
                  <a:gd name="connsiteX48" fmla="*/ 3783352 w 4519987"/>
                  <a:gd name="connsiteY48" fmla="*/ 3810000 h 4496940"/>
                  <a:gd name="connsiteX49" fmla="*/ 3745252 w 4519987"/>
                  <a:gd name="connsiteY49" fmla="*/ 3819525 h 4496940"/>
                  <a:gd name="connsiteX50" fmla="*/ 3678577 w 4519987"/>
                  <a:gd name="connsiteY50" fmla="*/ 3848100 h 4496940"/>
                  <a:gd name="connsiteX51" fmla="*/ 3659527 w 4519987"/>
                  <a:gd name="connsiteY51" fmla="*/ 3971925 h 4496940"/>
                  <a:gd name="connsiteX52" fmla="*/ 3630952 w 4519987"/>
                  <a:gd name="connsiteY52" fmla="*/ 4010025 h 4496940"/>
                  <a:gd name="connsiteX53" fmla="*/ 3621427 w 4519987"/>
                  <a:gd name="connsiteY53" fmla="*/ 4038600 h 4496940"/>
                  <a:gd name="connsiteX54" fmla="*/ 3554752 w 4519987"/>
                  <a:gd name="connsiteY54" fmla="*/ 4095750 h 4496940"/>
                  <a:gd name="connsiteX55" fmla="*/ 3516652 w 4519987"/>
                  <a:gd name="connsiteY55" fmla="*/ 4114800 h 4496940"/>
                  <a:gd name="connsiteX56" fmla="*/ 3497602 w 4519987"/>
                  <a:gd name="connsiteY56" fmla="*/ 4143375 h 4496940"/>
                  <a:gd name="connsiteX57" fmla="*/ 3383302 w 4519987"/>
                  <a:gd name="connsiteY57" fmla="*/ 4210050 h 4496940"/>
                  <a:gd name="connsiteX58" fmla="*/ 3335677 w 4519987"/>
                  <a:gd name="connsiteY58" fmla="*/ 4238625 h 4496940"/>
                  <a:gd name="connsiteX59" fmla="*/ 3288052 w 4519987"/>
                  <a:gd name="connsiteY59" fmla="*/ 4248150 h 4496940"/>
                  <a:gd name="connsiteX60" fmla="*/ 3240427 w 4519987"/>
                  <a:gd name="connsiteY60" fmla="*/ 4267200 h 4496940"/>
                  <a:gd name="connsiteX61" fmla="*/ 3068977 w 4519987"/>
                  <a:gd name="connsiteY61" fmla="*/ 4286250 h 4496940"/>
                  <a:gd name="connsiteX62" fmla="*/ 2935627 w 4519987"/>
                  <a:gd name="connsiteY62" fmla="*/ 4333875 h 4496940"/>
                  <a:gd name="connsiteX63" fmla="*/ 2811802 w 4519987"/>
                  <a:gd name="connsiteY63" fmla="*/ 4371975 h 4496940"/>
                  <a:gd name="connsiteX64" fmla="*/ 2745127 w 4519987"/>
                  <a:gd name="connsiteY64" fmla="*/ 4410075 h 4496940"/>
                  <a:gd name="connsiteX65" fmla="*/ 2697502 w 4519987"/>
                  <a:gd name="connsiteY65" fmla="*/ 4429125 h 4496940"/>
                  <a:gd name="connsiteX66" fmla="*/ 2640352 w 4519987"/>
                  <a:gd name="connsiteY66" fmla="*/ 4457700 h 4496940"/>
                  <a:gd name="connsiteX67" fmla="*/ 2583202 w 4519987"/>
                  <a:gd name="connsiteY67" fmla="*/ 4467225 h 4496940"/>
                  <a:gd name="connsiteX68" fmla="*/ 2545102 w 4519987"/>
                  <a:gd name="connsiteY68" fmla="*/ 4486275 h 4496940"/>
                  <a:gd name="connsiteX69" fmla="*/ 2306977 w 4519987"/>
                  <a:gd name="connsiteY69" fmla="*/ 4476750 h 4496940"/>
                  <a:gd name="connsiteX70" fmla="*/ 2202202 w 4519987"/>
                  <a:gd name="connsiteY70" fmla="*/ 4457700 h 4496940"/>
                  <a:gd name="connsiteX71" fmla="*/ 2126002 w 4519987"/>
                  <a:gd name="connsiteY71" fmla="*/ 4429125 h 4496940"/>
                  <a:gd name="connsiteX72" fmla="*/ 1935502 w 4519987"/>
                  <a:gd name="connsiteY72" fmla="*/ 4400550 h 4496940"/>
                  <a:gd name="connsiteX73" fmla="*/ 1821202 w 4519987"/>
                  <a:gd name="connsiteY73" fmla="*/ 4371975 h 4496940"/>
                  <a:gd name="connsiteX74" fmla="*/ 1754527 w 4519987"/>
                  <a:gd name="connsiteY74" fmla="*/ 4352925 h 4496940"/>
                  <a:gd name="connsiteX75" fmla="*/ 1687852 w 4519987"/>
                  <a:gd name="connsiteY75" fmla="*/ 4343400 h 4496940"/>
                  <a:gd name="connsiteX76" fmla="*/ 1573552 w 4519987"/>
                  <a:gd name="connsiteY76" fmla="*/ 4305300 h 4496940"/>
                  <a:gd name="connsiteX77" fmla="*/ 1402102 w 4519987"/>
                  <a:gd name="connsiteY77" fmla="*/ 4276725 h 4496940"/>
                  <a:gd name="connsiteX78" fmla="*/ 1287802 w 4519987"/>
                  <a:gd name="connsiteY78" fmla="*/ 4229100 h 4496940"/>
                  <a:gd name="connsiteX79" fmla="*/ 1221127 w 4519987"/>
                  <a:gd name="connsiteY79" fmla="*/ 4200525 h 4496940"/>
                  <a:gd name="connsiteX80" fmla="*/ 1144927 w 4519987"/>
                  <a:gd name="connsiteY80" fmla="*/ 4171950 h 4496940"/>
                  <a:gd name="connsiteX81" fmla="*/ 1087777 w 4519987"/>
                  <a:gd name="connsiteY81" fmla="*/ 4143375 h 4496940"/>
                  <a:gd name="connsiteX82" fmla="*/ 1030627 w 4519987"/>
                  <a:gd name="connsiteY82" fmla="*/ 4124325 h 4496940"/>
                  <a:gd name="connsiteX83" fmla="*/ 925852 w 4519987"/>
                  <a:gd name="connsiteY83" fmla="*/ 4067175 h 4496940"/>
                  <a:gd name="connsiteX84" fmla="*/ 830602 w 4519987"/>
                  <a:gd name="connsiteY84" fmla="*/ 3981450 h 4496940"/>
                  <a:gd name="connsiteX85" fmla="*/ 763927 w 4519987"/>
                  <a:gd name="connsiteY85" fmla="*/ 3914775 h 4496940"/>
                  <a:gd name="connsiteX86" fmla="*/ 725827 w 4519987"/>
                  <a:gd name="connsiteY86" fmla="*/ 3876675 h 4496940"/>
                  <a:gd name="connsiteX87" fmla="*/ 697252 w 4519987"/>
                  <a:gd name="connsiteY87" fmla="*/ 3838575 h 4496940"/>
                  <a:gd name="connsiteX88" fmla="*/ 640102 w 4519987"/>
                  <a:gd name="connsiteY88" fmla="*/ 3781425 h 4496940"/>
                  <a:gd name="connsiteX89" fmla="*/ 611527 w 4519987"/>
                  <a:gd name="connsiteY89" fmla="*/ 3733800 h 4496940"/>
                  <a:gd name="connsiteX90" fmla="*/ 554377 w 4519987"/>
                  <a:gd name="connsiteY90" fmla="*/ 3657600 h 4496940"/>
                  <a:gd name="connsiteX91" fmla="*/ 525802 w 4519987"/>
                  <a:gd name="connsiteY91" fmla="*/ 3609975 h 4496940"/>
                  <a:gd name="connsiteX92" fmla="*/ 497227 w 4519987"/>
                  <a:gd name="connsiteY92" fmla="*/ 3552825 h 4496940"/>
                  <a:gd name="connsiteX93" fmla="*/ 440077 w 4519987"/>
                  <a:gd name="connsiteY93" fmla="*/ 3495675 h 4496940"/>
                  <a:gd name="connsiteX94" fmla="*/ 411502 w 4519987"/>
                  <a:gd name="connsiteY94" fmla="*/ 3448050 h 4496940"/>
                  <a:gd name="connsiteX95" fmla="*/ 278152 w 4519987"/>
                  <a:gd name="connsiteY95" fmla="*/ 3257550 h 4496940"/>
                  <a:gd name="connsiteX96" fmla="*/ 249577 w 4519987"/>
                  <a:gd name="connsiteY96" fmla="*/ 3200400 h 4496940"/>
                  <a:gd name="connsiteX97" fmla="*/ 240052 w 4519987"/>
                  <a:gd name="connsiteY97" fmla="*/ 3162300 h 4496940"/>
                  <a:gd name="connsiteX98" fmla="*/ 221002 w 4519987"/>
                  <a:gd name="connsiteY98" fmla="*/ 3105150 h 4496940"/>
                  <a:gd name="connsiteX99" fmla="*/ 173377 w 4519987"/>
                  <a:gd name="connsiteY99" fmla="*/ 3019425 h 4496940"/>
                  <a:gd name="connsiteX100" fmla="*/ 144802 w 4519987"/>
                  <a:gd name="connsiteY100" fmla="*/ 2924175 h 4496940"/>
                  <a:gd name="connsiteX101" fmla="*/ 68602 w 4519987"/>
                  <a:gd name="connsiteY101" fmla="*/ 2724150 h 4496940"/>
                  <a:gd name="connsiteX102" fmla="*/ 49552 w 4519987"/>
                  <a:gd name="connsiteY102" fmla="*/ 2638425 h 4496940"/>
                  <a:gd name="connsiteX103" fmla="*/ 40027 w 4519987"/>
                  <a:gd name="connsiteY103" fmla="*/ 2562225 h 4496940"/>
                  <a:gd name="connsiteX104" fmla="*/ 30502 w 4519987"/>
                  <a:gd name="connsiteY104" fmla="*/ 2514600 h 4496940"/>
                  <a:gd name="connsiteX105" fmla="*/ 11452 w 4519987"/>
                  <a:gd name="connsiteY105" fmla="*/ 2400300 h 4496940"/>
                  <a:gd name="connsiteX106" fmla="*/ 20977 w 4519987"/>
                  <a:gd name="connsiteY106" fmla="*/ 1905000 h 4496940"/>
                  <a:gd name="connsiteX107" fmla="*/ 30502 w 4519987"/>
                  <a:gd name="connsiteY107" fmla="*/ 1838325 h 4496940"/>
                  <a:gd name="connsiteX108" fmla="*/ 49552 w 4519987"/>
                  <a:gd name="connsiteY108" fmla="*/ 1781175 h 4496940"/>
                  <a:gd name="connsiteX109" fmla="*/ 59077 w 4519987"/>
                  <a:gd name="connsiteY109" fmla="*/ 1743075 h 4496940"/>
                  <a:gd name="connsiteX110" fmla="*/ 78127 w 4519987"/>
                  <a:gd name="connsiteY110" fmla="*/ 1685925 h 4496940"/>
                  <a:gd name="connsiteX111" fmla="*/ 87652 w 4519987"/>
                  <a:gd name="connsiteY111" fmla="*/ 1638300 h 4496940"/>
                  <a:gd name="connsiteX112" fmla="*/ 106702 w 4519987"/>
                  <a:gd name="connsiteY112" fmla="*/ 1590675 h 4496940"/>
                  <a:gd name="connsiteX113" fmla="*/ 135277 w 4519987"/>
                  <a:gd name="connsiteY113" fmla="*/ 1504950 h 4496940"/>
                  <a:gd name="connsiteX114" fmla="*/ 154327 w 4519987"/>
                  <a:gd name="connsiteY114" fmla="*/ 1419225 h 4496940"/>
                  <a:gd name="connsiteX115" fmla="*/ 230527 w 4519987"/>
                  <a:gd name="connsiteY115" fmla="*/ 1276350 h 4496940"/>
                  <a:gd name="connsiteX116" fmla="*/ 240052 w 4519987"/>
                  <a:gd name="connsiteY116" fmla="*/ 1247775 h 4496940"/>
                  <a:gd name="connsiteX117" fmla="*/ 268627 w 4519987"/>
                  <a:gd name="connsiteY117" fmla="*/ 1200150 h 4496940"/>
                  <a:gd name="connsiteX118" fmla="*/ 287677 w 4519987"/>
                  <a:gd name="connsiteY118" fmla="*/ 1152525 h 4496940"/>
                  <a:gd name="connsiteX119" fmla="*/ 316252 w 4519987"/>
                  <a:gd name="connsiteY119" fmla="*/ 1114425 h 4496940"/>
                  <a:gd name="connsiteX120" fmla="*/ 363877 w 4519987"/>
                  <a:gd name="connsiteY120" fmla="*/ 1038225 h 4496940"/>
                  <a:gd name="connsiteX121" fmla="*/ 382927 w 4519987"/>
                  <a:gd name="connsiteY121" fmla="*/ 1009650 h 4496940"/>
                  <a:gd name="connsiteX122" fmla="*/ 440077 w 4519987"/>
                  <a:gd name="connsiteY122" fmla="*/ 904875 h 4496940"/>
                  <a:gd name="connsiteX123" fmla="*/ 478177 w 4519987"/>
                  <a:gd name="connsiteY123" fmla="*/ 857250 h 4496940"/>
                  <a:gd name="connsiteX124" fmla="*/ 497227 w 4519987"/>
                  <a:gd name="connsiteY124" fmla="*/ 828675 h 4496940"/>
                  <a:gd name="connsiteX125" fmla="*/ 535327 w 4519987"/>
                  <a:gd name="connsiteY125" fmla="*/ 800100 h 4496940"/>
                  <a:gd name="connsiteX126" fmla="*/ 602002 w 4519987"/>
                  <a:gd name="connsiteY126" fmla="*/ 733425 h 4496940"/>
                  <a:gd name="connsiteX127" fmla="*/ 668677 w 4519987"/>
                  <a:gd name="connsiteY127" fmla="*/ 676275 h 4496940"/>
                  <a:gd name="connsiteX128" fmla="*/ 697252 w 4519987"/>
                  <a:gd name="connsiteY128" fmla="*/ 657225 h 4496940"/>
                  <a:gd name="connsiteX129" fmla="*/ 840127 w 4519987"/>
                  <a:gd name="connsiteY129" fmla="*/ 533400 h 4496940"/>
                  <a:gd name="connsiteX130" fmla="*/ 887752 w 4519987"/>
                  <a:gd name="connsiteY130" fmla="*/ 504825 h 4496940"/>
                  <a:gd name="connsiteX131" fmla="*/ 1167152 w 4519987"/>
                  <a:gd name="connsiteY131" fmla="*/ 311150 h 4496940"/>
                  <a:gd name="connsiteX132" fmla="*/ 1268752 w 4519987"/>
                  <a:gd name="connsiteY132" fmla="*/ 285750 h 4496940"/>
                  <a:gd name="connsiteX133" fmla="*/ 1411627 w 4519987"/>
                  <a:gd name="connsiteY133" fmla="*/ 190500 h 4496940"/>
                  <a:gd name="connsiteX134" fmla="*/ 1449727 w 4519987"/>
                  <a:gd name="connsiteY134" fmla="*/ 161925 h 4496940"/>
                  <a:gd name="connsiteX135" fmla="*/ 1525927 w 4519987"/>
                  <a:gd name="connsiteY135" fmla="*/ 152400 h 4496940"/>
                  <a:gd name="connsiteX136" fmla="*/ 1583077 w 4519987"/>
                  <a:gd name="connsiteY136" fmla="*/ 142875 h 4496940"/>
                  <a:gd name="connsiteX137" fmla="*/ 1716427 w 4519987"/>
                  <a:gd name="connsiteY137" fmla="*/ 123825 h 4496940"/>
                  <a:gd name="connsiteX138" fmla="*/ 1811677 w 4519987"/>
                  <a:gd name="connsiteY138" fmla="*/ 114300 h 4496940"/>
                  <a:gd name="connsiteX139" fmla="*/ 1859302 w 4519987"/>
                  <a:gd name="connsiteY139" fmla="*/ 104775 h 4496940"/>
                  <a:gd name="connsiteX140" fmla="*/ 1916452 w 4519987"/>
                  <a:gd name="connsiteY140" fmla="*/ 95250 h 4496940"/>
                  <a:gd name="connsiteX141" fmla="*/ 2030752 w 4519987"/>
                  <a:gd name="connsiteY141" fmla="*/ 66675 h 4496940"/>
                  <a:gd name="connsiteX142" fmla="*/ 2097427 w 4519987"/>
                  <a:gd name="connsiteY142" fmla="*/ 47625 h 4496940"/>
                  <a:gd name="connsiteX143" fmla="*/ 2164102 w 4519987"/>
                  <a:gd name="connsiteY143" fmla="*/ 38100 h 4496940"/>
                  <a:gd name="connsiteX144" fmla="*/ 2392702 w 4519987"/>
                  <a:gd name="connsiteY14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73902 w 4519987"/>
                  <a:gd name="connsiteY26" fmla="*/ 1428750 h 4496940"/>
                  <a:gd name="connsiteX27" fmla="*/ 4392952 w 4519987"/>
                  <a:gd name="connsiteY27" fmla="*/ 1552575 h 4496940"/>
                  <a:gd name="connsiteX28" fmla="*/ 4402477 w 4519987"/>
                  <a:gd name="connsiteY28" fmla="*/ 1590675 h 4496940"/>
                  <a:gd name="connsiteX29" fmla="*/ 4431052 w 4519987"/>
                  <a:gd name="connsiteY29" fmla="*/ 1685925 h 4496940"/>
                  <a:gd name="connsiteX30" fmla="*/ 4519952 w 4519987"/>
                  <a:gd name="connsiteY30" fmla="*/ 2181225 h 4496940"/>
                  <a:gd name="connsiteX31" fmla="*/ 4446927 w 4519987"/>
                  <a:gd name="connsiteY31" fmla="*/ 2768600 h 4496940"/>
                  <a:gd name="connsiteX32" fmla="*/ 4383427 w 4519987"/>
                  <a:gd name="connsiteY32" fmla="*/ 2990850 h 4496940"/>
                  <a:gd name="connsiteX33" fmla="*/ 4278652 w 4519987"/>
                  <a:gd name="connsiteY33" fmla="*/ 3248025 h 4496940"/>
                  <a:gd name="connsiteX34" fmla="*/ 4259602 w 4519987"/>
                  <a:gd name="connsiteY34" fmla="*/ 3276600 h 4496940"/>
                  <a:gd name="connsiteX35" fmla="*/ 4221502 w 4519987"/>
                  <a:gd name="connsiteY35" fmla="*/ 3333750 h 4496940"/>
                  <a:gd name="connsiteX36" fmla="*/ 4211977 w 4519987"/>
                  <a:gd name="connsiteY36" fmla="*/ 3362325 h 4496940"/>
                  <a:gd name="connsiteX37" fmla="*/ 4183402 w 4519987"/>
                  <a:gd name="connsiteY37" fmla="*/ 3400425 h 4496940"/>
                  <a:gd name="connsiteX38" fmla="*/ 4164352 w 4519987"/>
                  <a:gd name="connsiteY38" fmla="*/ 3429000 h 4496940"/>
                  <a:gd name="connsiteX39" fmla="*/ 4088152 w 4519987"/>
                  <a:gd name="connsiteY39" fmla="*/ 3495675 h 4496940"/>
                  <a:gd name="connsiteX40" fmla="*/ 4059577 w 4519987"/>
                  <a:gd name="connsiteY40" fmla="*/ 3533775 h 4496940"/>
                  <a:gd name="connsiteX41" fmla="*/ 4002427 w 4519987"/>
                  <a:gd name="connsiteY41" fmla="*/ 3600450 h 4496940"/>
                  <a:gd name="connsiteX42" fmla="*/ 3983377 w 4519987"/>
                  <a:gd name="connsiteY42" fmla="*/ 3629025 h 4496940"/>
                  <a:gd name="connsiteX43" fmla="*/ 3954802 w 4519987"/>
                  <a:gd name="connsiteY43" fmla="*/ 3648075 h 4496940"/>
                  <a:gd name="connsiteX44" fmla="*/ 3907177 w 4519987"/>
                  <a:gd name="connsiteY44" fmla="*/ 3686175 h 4496940"/>
                  <a:gd name="connsiteX45" fmla="*/ 3869077 w 4519987"/>
                  <a:gd name="connsiteY45" fmla="*/ 3724275 h 4496940"/>
                  <a:gd name="connsiteX46" fmla="*/ 3792877 w 4519987"/>
                  <a:gd name="connsiteY46" fmla="*/ 3781425 h 4496940"/>
                  <a:gd name="connsiteX47" fmla="*/ 3783352 w 4519987"/>
                  <a:gd name="connsiteY47" fmla="*/ 3810000 h 4496940"/>
                  <a:gd name="connsiteX48" fmla="*/ 3745252 w 4519987"/>
                  <a:gd name="connsiteY48" fmla="*/ 3819525 h 4496940"/>
                  <a:gd name="connsiteX49" fmla="*/ 3678577 w 4519987"/>
                  <a:gd name="connsiteY49" fmla="*/ 3848100 h 4496940"/>
                  <a:gd name="connsiteX50" fmla="*/ 3659527 w 4519987"/>
                  <a:gd name="connsiteY50" fmla="*/ 3971925 h 4496940"/>
                  <a:gd name="connsiteX51" fmla="*/ 3630952 w 4519987"/>
                  <a:gd name="connsiteY51" fmla="*/ 4010025 h 4496940"/>
                  <a:gd name="connsiteX52" fmla="*/ 3621427 w 4519987"/>
                  <a:gd name="connsiteY52" fmla="*/ 4038600 h 4496940"/>
                  <a:gd name="connsiteX53" fmla="*/ 3554752 w 4519987"/>
                  <a:gd name="connsiteY53" fmla="*/ 4095750 h 4496940"/>
                  <a:gd name="connsiteX54" fmla="*/ 3516652 w 4519987"/>
                  <a:gd name="connsiteY54" fmla="*/ 4114800 h 4496940"/>
                  <a:gd name="connsiteX55" fmla="*/ 3497602 w 4519987"/>
                  <a:gd name="connsiteY55" fmla="*/ 4143375 h 4496940"/>
                  <a:gd name="connsiteX56" fmla="*/ 3383302 w 4519987"/>
                  <a:gd name="connsiteY56" fmla="*/ 4210050 h 4496940"/>
                  <a:gd name="connsiteX57" fmla="*/ 3335677 w 4519987"/>
                  <a:gd name="connsiteY57" fmla="*/ 4238625 h 4496940"/>
                  <a:gd name="connsiteX58" fmla="*/ 3288052 w 4519987"/>
                  <a:gd name="connsiteY58" fmla="*/ 4248150 h 4496940"/>
                  <a:gd name="connsiteX59" fmla="*/ 3240427 w 4519987"/>
                  <a:gd name="connsiteY59" fmla="*/ 4267200 h 4496940"/>
                  <a:gd name="connsiteX60" fmla="*/ 3068977 w 4519987"/>
                  <a:gd name="connsiteY60" fmla="*/ 4286250 h 4496940"/>
                  <a:gd name="connsiteX61" fmla="*/ 2935627 w 4519987"/>
                  <a:gd name="connsiteY61" fmla="*/ 4333875 h 4496940"/>
                  <a:gd name="connsiteX62" fmla="*/ 2811802 w 4519987"/>
                  <a:gd name="connsiteY62" fmla="*/ 4371975 h 4496940"/>
                  <a:gd name="connsiteX63" fmla="*/ 2745127 w 4519987"/>
                  <a:gd name="connsiteY63" fmla="*/ 4410075 h 4496940"/>
                  <a:gd name="connsiteX64" fmla="*/ 2697502 w 4519987"/>
                  <a:gd name="connsiteY64" fmla="*/ 4429125 h 4496940"/>
                  <a:gd name="connsiteX65" fmla="*/ 2640352 w 4519987"/>
                  <a:gd name="connsiteY65" fmla="*/ 4457700 h 4496940"/>
                  <a:gd name="connsiteX66" fmla="*/ 2583202 w 4519987"/>
                  <a:gd name="connsiteY66" fmla="*/ 4467225 h 4496940"/>
                  <a:gd name="connsiteX67" fmla="*/ 2545102 w 4519987"/>
                  <a:gd name="connsiteY67" fmla="*/ 4486275 h 4496940"/>
                  <a:gd name="connsiteX68" fmla="*/ 2306977 w 4519987"/>
                  <a:gd name="connsiteY68" fmla="*/ 4476750 h 4496940"/>
                  <a:gd name="connsiteX69" fmla="*/ 2202202 w 4519987"/>
                  <a:gd name="connsiteY69" fmla="*/ 4457700 h 4496940"/>
                  <a:gd name="connsiteX70" fmla="*/ 2126002 w 4519987"/>
                  <a:gd name="connsiteY70" fmla="*/ 4429125 h 4496940"/>
                  <a:gd name="connsiteX71" fmla="*/ 1935502 w 4519987"/>
                  <a:gd name="connsiteY71" fmla="*/ 4400550 h 4496940"/>
                  <a:gd name="connsiteX72" fmla="*/ 1821202 w 4519987"/>
                  <a:gd name="connsiteY72" fmla="*/ 4371975 h 4496940"/>
                  <a:gd name="connsiteX73" fmla="*/ 1754527 w 4519987"/>
                  <a:gd name="connsiteY73" fmla="*/ 4352925 h 4496940"/>
                  <a:gd name="connsiteX74" fmla="*/ 1687852 w 4519987"/>
                  <a:gd name="connsiteY74" fmla="*/ 4343400 h 4496940"/>
                  <a:gd name="connsiteX75" fmla="*/ 1573552 w 4519987"/>
                  <a:gd name="connsiteY75" fmla="*/ 4305300 h 4496940"/>
                  <a:gd name="connsiteX76" fmla="*/ 1402102 w 4519987"/>
                  <a:gd name="connsiteY76" fmla="*/ 4276725 h 4496940"/>
                  <a:gd name="connsiteX77" fmla="*/ 1287802 w 4519987"/>
                  <a:gd name="connsiteY77" fmla="*/ 4229100 h 4496940"/>
                  <a:gd name="connsiteX78" fmla="*/ 1221127 w 4519987"/>
                  <a:gd name="connsiteY78" fmla="*/ 4200525 h 4496940"/>
                  <a:gd name="connsiteX79" fmla="*/ 1144927 w 4519987"/>
                  <a:gd name="connsiteY79" fmla="*/ 4171950 h 4496940"/>
                  <a:gd name="connsiteX80" fmla="*/ 1087777 w 4519987"/>
                  <a:gd name="connsiteY80" fmla="*/ 4143375 h 4496940"/>
                  <a:gd name="connsiteX81" fmla="*/ 1030627 w 4519987"/>
                  <a:gd name="connsiteY81" fmla="*/ 4124325 h 4496940"/>
                  <a:gd name="connsiteX82" fmla="*/ 925852 w 4519987"/>
                  <a:gd name="connsiteY82" fmla="*/ 4067175 h 4496940"/>
                  <a:gd name="connsiteX83" fmla="*/ 830602 w 4519987"/>
                  <a:gd name="connsiteY83" fmla="*/ 3981450 h 4496940"/>
                  <a:gd name="connsiteX84" fmla="*/ 763927 w 4519987"/>
                  <a:gd name="connsiteY84" fmla="*/ 3914775 h 4496940"/>
                  <a:gd name="connsiteX85" fmla="*/ 725827 w 4519987"/>
                  <a:gd name="connsiteY85" fmla="*/ 3876675 h 4496940"/>
                  <a:gd name="connsiteX86" fmla="*/ 697252 w 4519987"/>
                  <a:gd name="connsiteY86" fmla="*/ 3838575 h 4496940"/>
                  <a:gd name="connsiteX87" fmla="*/ 640102 w 4519987"/>
                  <a:gd name="connsiteY87" fmla="*/ 3781425 h 4496940"/>
                  <a:gd name="connsiteX88" fmla="*/ 611527 w 4519987"/>
                  <a:gd name="connsiteY88" fmla="*/ 3733800 h 4496940"/>
                  <a:gd name="connsiteX89" fmla="*/ 554377 w 4519987"/>
                  <a:gd name="connsiteY89" fmla="*/ 3657600 h 4496940"/>
                  <a:gd name="connsiteX90" fmla="*/ 525802 w 4519987"/>
                  <a:gd name="connsiteY90" fmla="*/ 3609975 h 4496940"/>
                  <a:gd name="connsiteX91" fmla="*/ 497227 w 4519987"/>
                  <a:gd name="connsiteY91" fmla="*/ 3552825 h 4496940"/>
                  <a:gd name="connsiteX92" fmla="*/ 440077 w 4519987"/>
                  <a:gd name="connsiteY92" fmla="*/ 3495675 h 4496940"/>
                  <a:gd name="connsiteX93" fmla="*/ 411502 w 4519987"/>
                  <a:gd name="connsiteY93" fmla="*/ 3448050 h 4496940"/>
                  <a:gd name="connsiteX94" fmla="*/ 278152 w 4519987"/>
                  <a:gd name="connsiteY94" fmla="*/ 3257550 h 4496940"/>
                  <a:gd name="connsiteX95" fmla="*/ 249577 w 4519987"/>
                  <a:gd name="connsiteY95" fmla="*/ 3200400 h 4496940"/>
                  <a:gd name="connsiteX96" fmla="*/ 240052 w 4519987"/>
                  <a:gd name="connsiteY96" fmla="*/ 3162300 h 4496940"/>
                  <a:gd name="connsiteX97" fmla="*/ 221002 w 4519987"/>
                  <a:gd name="connsiteY97" fmla="*/ 3105150 h 4496940"/>
                  <a:gd name="connsiteX98" fmla="*/ 173377 w 4519987"/>
                  <a:gd name="connsiteY98" fmla="*/ 3019425 h 4496940"/>
                  <a:gd name="connsiteX99" fmla="*/ 144802 w 4519987"/>
                  <a:gd name="connsiteY99" fmla="*/ 2924175 h 4496940"/>
                  <a:gd name="connsiteX100" fmla="*/ 68602 w 4519987"/>
                  <a:gd name="connsiteY100" fmla="*/ 2724150 h 4496940"/>
                  <a:gd name="connsiteX101" fmla="*/ 49552 w 4519987"/>
                  <a:gd name="connsiteY101" fmla="*/ 2638425 h 4496940"/>
                  <a:gd name="connsiteX102" fmla="*/ 40027 w 4519987"/>
                  <a:gd name="connsiteY102" fmla="*/ 2562225 h 4496940"/>
                  <a:gd name="connsiteX103" fmla="*/ 30502 w 4519987"/>
                  <a:gd name="connsiteY103" fmla="*/ 2514600 h 4496940"/>
                  <a:gd name="connsiteX104" fmla="*/ 11452 w 4519987"/>
                  <a:gd name="connsiteY104" fmla="*/ 2400300 h 4496940"/>
                  <a:gd name="connsiteX105" fmla="*/ 20977 w 4519987"/>
                  <a:gd name="connsiteY105" fmla="*/ 1905000 h 4496940"/>
                  <a:gd name="connsiteX106" fmla="*/ 30502 w 4519987"/>
                  <a:gd name="connsiteY106" fmla="*/ 1838325 h 4496940"/>
                  <a:gd name="connsiteX107" fmla="*/ 49552 w 4519987"/>
                  <a:gd name="connsiteY107" fmla="*/ 1781175 h 4496940"/>
                  <a:gd name="connsiteX108" fmla="*/ 59077 w 4519987"/>
                  <a:gd name="connsiteY108" fmla="*/ 1743075 h 4496940"/>
                  <a:gd name="connsiteX109" fmla="*/ 78127 w 4519987"/>
                  <a:gd name="connsiteY109" fmla="*/ 1685925 h 4496940"/>
                  <a:gd name="connsiteX110" fmla="*/ 87652 w 4519987"/>
                  <a:gd name="connsiteY110" fmla="*/ 1638300 h 4496940"/>
                  <a:gd name="connsiteX111" fmla="*/ 106702 w 4519987"/>
                  <a:gd name="connsiteY111" fmla="*/ 1590675 h 4496940"/>
                  <a:gd name="connsiteX112" fmla="*/ 135277 w 4519987"/>
                  <a:gd name="connsiteY112" fmla="*/ 1504950 h 4496940"/>
                  <a:gd name="connsiteX113" fmla="*/ 154327 w 4519987"/>
                  <a:gd name="connsiteY113" fmla="*/ 1419225 h 4496940"/>
                  <a:gd name="connsiteX114" fmla="*/ 230527 w 4519987"/>
                  <a:gd name="connsiteY114" fmla="*/ 1276350 h 4496940"/>
                  <a:gd name="connsiteX115" fmla="*/ 240052 w 4519987"/>
                  <a:gd name="connsiteY115" fmla="*/ 1247775 h 4496940"/>
                  <a:gd name="connsiteX116" fmla="*/ 268627 w 4519987"/>
                  <a:gd name="connsiteY116" fmla="*/ 1200150 h 4496940"/>
                  <a:gd name="connsiteX117" fmla="*/ 287677 w 4519987"/>
                  <a:gd name="connsiteY117" fmla="*/ 1152525 h 4496940"/>
                  <a:gd name="connsiteX118" fmla="*/ 316252 w 4519987"/>
                  <a:gd name="connsiteY118" fmla="*/ 1114425 h 4496940"/>
                  <a:gd name="connsiteX119" fmla="*/ 363877 w 4519987"/>
                  <a:gd name="connsiteY119" fmla="*/ 1038225 h 4496940"/>
                  <a:gd name="connsiteX120" fmla="*/ 382927 w 4519987"/>
                  <a:gd name="connsiteY120" fmla="*/ 1009650 h 4496940"/>
                  <a:gd name="connsiteX121" fmla="*/ 440077 w 4519987"/>
                  <a:gd name="connsiteY121" fmla="*/ 904875 h 4496940"/>
                  <a:gd name="connsiteX122" fmla="*/ 478177 w 4519987"/>
                  <a:gd name="connsiteY122" fmla="*/ 857250 h 4496940"/>
                  <a:gd name="connsiteX123" fmla="*/ 497227 w 4519987"/>
                  <a:gd name="connsiteY123" fmla="*/ 828675 h 4496940"/>
                  <a:gd name="connsiteX124" fmla="*/ 535327 w 4519987"/>
                  <a:gd name="connsiteY124" fmla="*/ 800100 h 4496940"/>
                  <a:gd name="connsiteX125" fmla="*/ 602002 w 4519987"/>
                  <a:gd name="connsiteY125" fmla="*/ 733425 h 4496940"/>
                  <a:gd name="connsiteX126" fmla="*/ 668677 w 4519987"/>
                  <a:gd name="connsiteY126" fmla="*/ 676275 h 4496940"/>
                  <a:gd name="connsiteX127" fmla="*/ 697252 w 4519987"/>
                  <a:gd name="connsiteY127" fmla="*/ 657225 h 4496940"/>
                  <a:gd name="connsiteX128" fmla="*/ 840127 w 4519987"/>
                  <a:gd name="connsiteY128" fmla="*/ 533400 h 4496940"/>
                  <a:gd name="connsiteX129" fmla="*/ 887752 w 4519987"/>
                  <a:gd name="connsiteY129" fmla="*/ 504825 h 4496940"/>
                  <a:gd name="connsiteX130" fmla="*/ 1167152 w 4519987"/>
                  <a:gd name="connsiteY130" fmla="*/ 311150 h 4496940"/>
                  <a:gd name="connsiteX131" fmla="*/ 1268752 w 4519987"/>
                  <a:gd name="connsiteY131" fmla="*/ 285750 h 4496940"/>
                  <a:gd name="connsiteX132" fmla="*/ 1411627 w 4519987"/>
                  <a:gd name="connsiteY132" fmla="*/ 190500 h 4496940"/>
                  <a:gd name="connsiteX133" fmla="*/ 1449727 w 4519987"/>
                  <a:gd name="connsiteY133" fmla="*/ 161925 h 4496940"/>
                  <a:gd name="connsiteX134" fmla="*/ 1525927 w 4519987"/>
                  <a:gd name="connsiteY134" fmla="*/ 152400 h 4496940"/>
                  <a:gd name="connsiteX135" fmla="*/ 1583077 w 4519987"/>
                  <a:gd name="connsiteY135" fmla="*/ 142875 h 4496940"/>
                  <a:gd name="connsiteX136" fmla="*/ 1716427 w 4519987"/>
                  <a:gd name="connsiteY136" fmla="*/ 123825 h 4496940"/>
                  <a:gd name="connsiteX137" fmla="*/ 1811677 w 4519987"/>
                  <a:gd name="connsiteY137" fmla="*/ 114300 h 4496940"/>
                  <a:gd name="connsiteX138" fmla="*/ 1859302 w 4519987"/>
                  <a:gd name="connsiteY138" fmla="*/ 104775 h 4496940"/>
                  <a:gd name="connsiteX139" fmla="*/ 1916452 w 4519987"/>
                  <a:gd name="connsiteY139" fmla="*/ 95250 h 4496940"/>
                  <a:gd name="connsiteX140" fmla="*/ 2030752 w 4519987"/>
                  <a:gd name="connsiteY140" fmla="*/ 66675 h 4496940"/>
                  <a:gd name="connsiteX141" fmla="*/ 2097427 w 4519987"/>
                  <a:gd name="connsiteY141" fmla="*/ 47625 h 4496940"/>
                  <a:gd name="connsiteX142" fmla="*/ 2164102 w 4519987"/>
                  <a:gd name="connsiteY142" fmla="*/ 38100 h 4496940"/>
                  <a:gd name="connsiteX143" fmla="*/ 2392702 w 4519987"/>
                  <a:gd name="connsiteY14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02477 w 4519987"/>
                  <a:gd name="connsiteY27" fmla="*/ 1590675 h 4496940"/>
                  <a:gd name="connsiteX28" fmla="*/ 4431052 w 4519987"/>
                  <a:gd name="connsiteY28" fmla="*/ 1685925 h 4496940"/>
                  <a:gd name="connsiteX29" fmla="*/ 4519952 w 4519987"/>
                  <a:gd name="connsiteY29" fmla="*/ 2181225 h 4496940"/>
                  <a:gd name="connsiteX30" fmla="*/ 4446927 w 4519987"/>
                  <a:gd name="connsiteY30" fmla="*/ 2768600 h 4496940"/>
                  <a:gd name="connsiteX31" fmla="*/ 4383427 w 4519987"/>
                  <a:gd name="connsiteY31" fmla="*/ 2990850 h 4496940"/>
                  <a:gd name="connsiteX32" fmla="*/ 4278652 w 4519987"/>
                  <a:gd name="connsiteY32" fmla="*/ 3248025 h 4496940"/>
                  <a:gd name="connsiteX33" fmla="*/ 4259602 w 4519987"/>
                  <a:gd name="connsiteY33" fmla="*/ 3276600 h 4496940"/>
                  <a:gd name="connsiteX34" fmla="*/ 4221502 w 4519987"/>
                  <a:gd name="connsiteY34" fmla="*/ 3333750 h 4496940"/>
                  <a:gd name="connsiteX35" fmla="*/ 4211977 w 4519987"/>
                  <a:gd name="connsiteY35" fmla="*/ 3362325 h 4496940"/>
                  <a:gd name="connsiteX36" fmla="*/ 4183402 w 4519987"/>
                  <a:gd name="connsiteY36" fmla="*/ 3400425 h 4496940"/>
                  <a:gd name="connsiteX37" fmla="*/ 4164352 w 4519987"/>
                  <a:gd name="connsiteY37" fmla="*/ 3429000 h 4496940"/>
                  <a:gd name="connsiteX38" fmla="*/ 4088152 w 4519987"/>
                  <a:gd name="connsiteY38" fmla="*/ 3495675 h 4496940"/>
                  <a:gd name="connsiteX39" fmla="*/ 4059577 w 4519987"/>
                  <a:gd name="connsiteY39" fmla="*/ 3533775 h 4496940"/>
                  <a:gd name="connsiteX40" fmla="*/ 4002427 w 4519987"/>
                  <a:gd name="connsiteY40" fmla="*/ 3600450 h 4496940"/>
                  <a:gd name="connsiteX41" fmla="*/ 3983377 w 4519987"/>
                  <a:gd name="connsiteY41" fmla="*/ 3629025 h 4496940"/>
                  <a:gd name="connsiteX42" fmla="*/ 3954802 w 4519987"/>
                  <a:gd name="connsiteY42" fmla="*/ 3648075 h 4496940"/>
                  <a:gd name="connsiteX43" fmla="*/ 3907177 w 4519987"/>
                  <a:gd name="connsiteY43" fmla="*/ 3686175 h 4496940"/>
                  <a:gd name="connsiteX44" fmla="*/ 3869077 w 4519987"/>
                  <a:gd name="connsiteY44" fmla="*/ 3724275 h 4496940"/>
                  <a:gd name="connsiteX45" fmla="*/ 3792877 w 4519987"/>
                  <a:gd name="connsiteY45" fmla="*/ 3781425 h 4496940"/>
                  <a:gd name="connsiteX46" fmla="*/ 3783352 w 4519987"/>
                  <a:gd name="connsiteY46" fmla="*/ 3810000 h 4496940"/>
                  <a:gd name="connsiteX47" fmla="*/ 3745252 w 4519987"/>
                  <a:gd name="connsiteY47" fmla="*/ 3819525 h 4496940"/>
                  <a:gd name="connsiteX48" fmla="*/ 3678577 w 4519987"/>
                  <a:gd name="connsiteY48" fmla="*/ 3848100 h 4496940"/>
                  <a:gd name="connsiteX49" fmla="*/ 3659527 w 4519987"/>
                  <a:gd name="connsiteY49" fmla="*/ 3971925 h 4496940"/>
                  <a:gd name="connsiteX50" fmla="*/ 3630952 w 4519987"/>
                  <a:gd name="connsiteY50" fmla="*/ 4010025 h 4496940"/>
                  <a:gd name="connsiteX51" fmla="*/ 3621427 w 4519987"/>
                  <a:gd name="connsiteY51" fmla="*/ 4038600 h 4496940"/>
                  <a:gd name="connsiteX52" fmla="*/ 3554752 w 4519987"/>
                  <a:gd name="connsiteY52" fmla="*/ 4095750 h 4496940"/>
                  <a:gd name="connsiteX53" fmla="*/ 3516652 w 4519987"/>
                  <a:gd name="connsiteY53" fmla="*/ 4114800 h 4496940"/>
                  <a:gd name="connsiteX54" fmla="*/ 3497602 w 4519987"/>
                  <a:gd name="connsiteY54" fmla="*/ 4143375 h 4496940"/>
                  <a:gd name="connsiteX55" fmla="*/ 3383302 w 4519987"/>
                  <a:gd name="connsiteY55" fmla="*/ 4210050 h 4496940"/>
                  <a:gd name="connsiteX56" fmla="*/ 3335677 w 4519987"/>
                  <a:gd name="connsiteY56" fmla="*/ 4238625 h 4496940"/>
                  <a:gd name="connsiteX57" fmla="*/ 3288052 w 4519987"/>
                  <a:gd name="connsiteY57" fmla="*/ 4248150 h 4496940"/>
                  <a:gd name="connsiteX58" fmla="*/ 3240427 w 4519987"/>
                  <a:gd name="connsiteY58" fmla="*/ 4267200 h 4496940"/>
                  <a:gd name="connsiteX59" fmla="*/ 3068977 w 4519987"/>
                  <a:gd name="connsiteY59" fmla="*/ 4286250 h 4496940"/>
                  <a:gd name="connsiteX60" fmla="*/ 2935627 w 4519987"/>
                  <a:gd name="connsiteY60" fmla="*/ 4333875 h 4496940"/>
                  <a:gd name="connsiteX61" fmla="*/ 2811802 w 4519987"/>
                  <a:gd name="connsiteY61" fmla="*/ 4371975 h 4496940"/>
                  <a:gd name="connsiteX62" fmla="*/ 2745127 w 4519987"/>
                  <a:gd name="connsiteY62" fmla="*/ 4410075 h 4496940"/>
                  <a:gd name="connsiteX63" fmla="*/ 2697502 w 4519987"/>
                  <a:gd name="connsiteY63" fmla="*/ 4429125 h 4496940"/>
                  <a:gd name="connsiteX64" fmla="*/ 2640352 w 4519987"/>
                  <a:gd name="connsiteY64" fmla="*/ 4457700 h 4496940"/>
                  <a:gd name="connsiteX65" fmla="*/ 2583202 w 4519987"/>
                  <a:gd name="connsiteY65" fmla="*/ 4467225 h 4496940"/>
                  <a:gd name="connsiteX66" fmla="*/ 2545102 w 4519987"/>
                  <a:gd name="connsiteY66" fmla="*/ 4486275 h 4496940"/>
                  <a:gd name="connsiteX67" fmla="*/ 2306977 w 4519987"/>
                  <a:gd name="connsiteY67" fmla="*/ 4476750 h 4496940"/>
                  <a:gd name="connsiteX68" fmla="*/ 2202202 w 4519987"/>
                  <a:gd name="connsiteY68" fmla="*/ 4457700 h 4496940"/>
                  <a:gd name="connsiteX69" fmla="*/ 2126002 w 4519987"/>
                  <a:gd name="connsiteY69" fmla="*/ 4429125 h 4496940"/>
                  <a:gd name="connsiteX70" fmla="*/ 1935502 w 4519987"/>
                  <a:gd name="connsiteY70" fmla="*/ 4400550 h 4496940"/>
                  <a:gd name="connsiteX71" fmla="*/ 1821202 w 4519987"/>
                  <a:gd name="connsiteY71" fmla="*/ 4371975 h 4496940"/>
                  <a:gd name="connsiteX72" fmla="*/ 1754527 w 4519987"/>
                  <a:gd name="connsiteY72" fmla="*/ 4352925 h 4496940"/>
                  <a:gd name="connsiteX73" fmla="*/ 1687852 w 4519987"/>
                  <a:gd name="connsiteY73" fmla="*/ 4343400 h 4496940"/>
                  <a:gd name="connsiteX74" fmla="*/ 1573552 w 4519987"/>
                  <a:gd name="connsiteY74" fmla="*/ 4305300 h 4496940"/>
                  <a:gd name="connsiteX75" fmla="*/ 1402102 w 4519987"/>
                  <a:gd name="connsiteY75" fmla="*/ 4276725 h 4496940"/>
                  <a:gd name="connsiteX76" fmla="*/ 1287802 w 4519987"/>
                  <a:gd name="connsiteY76" fmla="*/ 4229100 h 4496940"/>
                  <a:gd name="connsiteX77" fmla="*/ 1221127 w 4519987"/>
                  <a:gd name="connsiteY77" fmla="*/ 4200525 h 4496940"/>
                  <a:gd name="connsiteX78" fmla="*/ 1144927 w 4519987"/>
                  <a:gd name="connsiteY78" fmla="*/ 4171950 h 4496940"/>
                  <a:gd name="connsiteX79" fmla="*/ 1087777 w 4519987"/>
                  <a:gd name="connsiteY79" fmla="*/ 4143375 h 4496940"/>
                  <a:gd name="connsiteX80" fmla="*/ 1030627 w 4519987"/>
                  <a:gd name="connsiteY80" fmla="*/ 4124325 h 4496940"/>
                  <a:gd name="connsiteX81" fmla="*/ 925852 w 4519987"/>
                  <a:gd name="connsiteY81" fmla="*/ 4067175 h 4496940"/>
                  <a:gd name="connsiteX82" fmla="*/ 830602 w 4519987"/>
                  <a:gd name="connsiteY82" fmla="*/ 3981450 h 4496940"/>
                  <a:gd name="connsiteX83" fmla="*/ 763927 w 4519987"/>
                  <a:gd name="connsiteY83" fmla="*/ 3914775 h 4496940"/>
                  <a:gd name="connsiteX84" fmla="*/ 725827 w 4519987"/>
                  <a:gd name="connsiteY84" fmla="*/ 3876675 h 4496940"/>
                  <a:gd name="connsiteX85" fmla="*/ 697252 w 4519987"/>
                  <a:gd name="connsiteY85" fmla="*/ 3838575 h 4496940"/>
                  <a:gd name="connsiteX86" fmla="*/ 640102 w 4519987"/>
                  <a:gd name="connsiteY86" fmla="*/ 3781425 h 4496940"/>
                  <a:gd name="connsiteX87" fmla="*/ 611527 w 4519987"/>
                  <a:gd name="connsiteY87" fmla="*/ 3733800 h 4496940"/>
                  <a:gd name="connsiteX88" fmla="*/ 554377 w 4519987"/>
                  <a:gd name="connsiteY88" fmla="*/ 3657600 h 4496940"/>
                  <a:gd name="connsiteX89" fmla="*/ 525802 w 4519987"/>
                  <a:gd name="connsiteY89" fmla="*/ 3609975 h 4496940"/>
                  <a:gd name="connsiteX90" fmla="*/ 497227 w 4519987"/>
                  <a:gd name="connsiteY90" fmla="*/ 3552825 h 4496940"/>
                  <a:gd name="connsiteX91" fmla="*/ 440077 w 4519987"/>
                  <a:gd name="connsiteY91" fmla="*/ 3495675 h 4496940"/>
                  <a:gd name="connsiteX92" fmla="*/ 411502 w 4519987"/>
                  <a:gd name="connsiteY92" fmla="*/ 3448050 h 4496940"/>
                  <a:gd name="connsiteX93" fmla="*/ 278152 w 4519987"/>
                  <a:gd name="connsiteY93" fmla="*/ 3257550 h 4496940"/>
                  <a:gd name="connsiteX94" fmla="*/ 249577 w 4519987"/>
                  <a:gd name="connsiteY94" fmla="*/ 3200400 h 4496940"/>
                  <a:gd name="connsiteX95" fmla="*/ 240052 w 4519987"/>
                  <a:gd name="connsiteY95" fmla="*/ 3162300 h 4496940"/>
                  <a:gd name="connsiteX96" fmla="*/ 221002 w 4519987"/>
                  <a:gd name="connsiteY96" fmla="*/ 3105150 h 4496940"/>
                  <a:gd name="connsiteX97" fmla="*/ 173377 w 4519987"/>
                  <a:gd name="connsiteY97" fmla="*/ 3019425 h 4496940"/>
                  <a:gd name="connsiteX98" fmla="*/ 144802 w 4519987"/>
                  <a:gd name="connsiteY98" fmla="*/ 2924175 h 4496940"/>
                  <a:gd name="connsiteX99" fmla="*/ 68602 w 4519987"/>
                  <a:gd name="connsiteY99" fmla="*/ 2724150 h 4496940"/>
                  <a:gd name="connsiteX100" fmla="*/ 49552 w 4519987"/>
                  <a:gd name="connsiteY100" fmla="*/ 2638425 h 4496940"/>
                  <a:gd name="connsiteX101" fmla="*/ 40027 w 4519987"/>
                  <a:gd name="connsiteY101" fmla="*/ 2562225 h 4496940"/>
                  <a:gd name="connsiteX102" fmla="*/ 30502 w 4519987"/>
                  <a:gd name="connsiteY102" fmla="*/ 2514600 h 4496940"/>
                  <a:gd name="connsiteX103" fmla="*/ 11452 w 4519987"/>
                  <a:gd name="connsiteY103" fmla="*/ 2400300 h 4496940"/>
                  <a:gd name="connsiteX104" fmla="*/ 20977 w 4519987"/>
                  <a:gd name="connsiteY104" fmla="*/ 1905000 h 4496940"/>
                  <a:gd name="connsiteX105" fmla="*/ 30502 w 4519987"/>
                  <a:gd name="connsiteY105" fmla="*/ 1838325 h 4496940"/>
                  <a:gd name="connsiteX106" fmla="*/ 49552 w 4519987"/>
                  <a:gd name="connsiteY106" fmla="*/ 1781175 h 4496940"/>
                  <a:gd name="connsiteX107" fmla="*/ 59077 w 4519987"/>
                  <a:gd name="connsiteY107" fmla="*/ 1743075 h 4496940"/>
                  <a:gd name="connsiteX108" fmla="*/ 78127 w 4519987"/>
                  <a:gd name="connsiteY108" fmla="*/ 1685925 h 4496940"/>
                  <a:gd name="connsiteX109" fmla="*/ 87652 w 4519987"/>
                  <a:gd name="connsiteY109" fmla="*/ 1638300 h 4496940"/>
                  <a:gd name="connsiteX110" fmla="*/ 106702 w 4519987"/>
                  <a:gd name="connsiteY110" fmla="*/ 1590675 h 4496940"/>
                  <a:gd name="connsiteX111" fmla="*/ 135277 w 4519987"/>
                  <a:gd name="connsiteY111" fmla="*/ 1504950 h 4496940"/>
                  <a:gd name="connsiteX112" fmla="*/ 154327 w 4519987"/>
                  <a:gd name="connsiteY112" fmla="*/ 1419225 h 4496940"/>
                  <a:gd name="connsiteX113" fmla="*/ 230527 w 4519987"/>
                  <a:gd name="connsiteY113" fmla="*/ 1276350 h 4496940"/>
                  <a:gd name="connsiteX114" fmla="*/ 240052 w 4519987"/>
                  <a:gd name="connsiteY114" fmla="*/ 1247775 h 4496940"/>
                  <a:gd name="connsiteX115" fmla="*/ 268627 w 4519987"/>
                  <a:gd name="connsiteY115" fmla="*/ 1200150 h 4496940"/>
                  <a:gd name="connsiteX116" fmla="*/ 287677 w 4519987"/>
                  <a:gd name="connsiteY116" fmla="*/ 1152525 h 4496940"/>
                  <a:gd name="connsiteX117" fmla="*/ 316252 w 4519987"/>
                  <a:gd name="connsiteY117" fmla="*/ 1114425 h 4496940"/>
                  <a:gd name="connsiteX118" fmla="*/ 363877 w 4519987"/>
                  <a:gd name="connsiteY118" fmla="*/ 1038225 h 4496940"/>
                  <a:gd name="connsiteX119" fmla="*/ 382927 w 4519987"/>
                  <a:gd name="connsiteY119" fmla="*/ 1009650 h 4496940"/>
                  <a:gd name="connsiteX120" fmla="*/ 440077 w 4519987"/>
                  <a:gd name="connsiteY120" fmla="*/ 904875 h 4496940"/>
                  <a:gd name="connsiteX121" fmla="*/ 478177 w 4519987"/>
                  <a:gd name="connsiteY121" fmla="*/ 857250 h 4496940"/>
                  <a:gd name="connsiteX122" fmla="*/ 497227 w 4519987"/>
                  <a:gd name="connsiteY122" fmla="*/ 828675 h 4496940"/>
                  <a:gd name="connsiteX123" fmla="*/ 535327 w 4519987"/>
                  <a:gd name="connsiteY123" fmla="*/ 800100 h 4496940"/>
                  <a:gd name="connsiteX124" fmla="*/ 602002 w 4519987"/>
                  <a:gd name="connsiteY124" fmla="*/ 733425 h 4496940"/>
                  <a:gd name="connsiteX125" fmla="*/ 668677 w 4519987"/>
                  <a:gd name="connsiteY125" fmla="*/ 676275 h 4496940"/>
                  <a:gd name="connsiteX126" fmla="*/ 697252 w 4519987"/>
                  <a:gd name="connsiteY126" fmla="*/ 657225 h 4496940"/>
                  <a:gd name="connsiteX127" fmla="*/ 840127 w 4519987"/>
                  <a:gd name="connsiteY127" fmla="*/ 533400 h 4496940"/>
                  <a:gd name="connsiteX128" fmla="*/ 887752 w 4519987"/>
                  <a:gd name="connsiteY128" fmla="*/ 504825 h 4496940"/>
                  <a:gd name="connsiteX129" fmla="*/ 1167152 w 4519987"/>
                  <a:gd name="connsiteY129" fmla="*/ 311150 h 4496940"/>
                  <a:gd name="connsiteX130" fmla="*/ 1268752 w 4519987"/>
                  <a:gd name="connsiteY130" fmla="*/ 285750 h 4496940"/>
                  <a:gd name="connsiteX131" fmla="*/ 1411627 w 4519987"/>
                  <a:gd name="connsiteY131" fmla="*/ 190500 h 4496940"/>
                  <a:gd name="connsiteX132" fmla="*/ 1449727 w 4519987"/>
                  <a:gd name="connsiteY132" fmla="*/ 161925 h 4496940"/>
                  <a:gd name="connsiteX133" fmla="*/ 1525927 w 4519987"/>
                  <a:gd name="connsiteY133" fmla="*/ 152400 h 4496940"/>
                  <a:gd name="connsiteX134" fmla="*/ 1583077 w 4519987"/>
                  <a:gd name="connsiteY134" fmla="*/ 142875 h 4496940"/>
                  <a:gd name="connsiteX135" fmla="*/ 1716427 w 4519987"/>
                  <a:gd name="connsiteY135" fmla="*/ 123825 h 4496940"/>
                  <a:gd name="connsiteX136" fmla="*/ 1811677 w 4519987"/>
                  <a:gd name="connsiteY136" fmla="*/ 114300 h 4496940"/>
                  <a:gd name="connsiteX137" fmla="*/ 1859302 w 4519987"/>
                  <a:gd name="connsiteY137" fmla="*/ 104775 h 4496940"/>
                  <a:gd name="connsiteX138" fmla="*/ 1916452 w 4519987"/>
                  <a:gd name="connsiteY138" fmla="*/ 95250 h 4496940"/>
                  <a:gd name="connsiteX139" fmla="*/ 2030752 w 4519987"/>
                  <a:gd name="connsiteY139" fmla="*/ 66675 h 4496940"/>
                  <a:gd name="connsiteX140" fmla="*/ 2097427 w 4519987"/>
                  <a:gd name="connsiteY140" fmla="*/ 47625 h 4496940"/>
                  <a:gd name="connsiteX141" fmla="*/ 2164102 w 4519987"/>
                  <a:gd name="connsiteY141" fmla="*/ 38100 h 4496940"/>
                  <a:gd name="connsiteX142" fmla="*/ 2392702 w 4519987"/>
                  <a:gd name="connsiteY14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221502 w 4519987"/>
                  <a:gd name="connsiteY33" fmla="*/ 3333750 h 4496940"/>
                  <a:gd name="connsiteX34" fmla="*/ 4211977 w 4519987"/>
                  <a:gd name="connsiteY34" fmla="*/ 3362325 h 4496940"/>
                  <a:gd name="connsiteX35" fmla="*/ 4183402 w 4519987"/>
                  <a:gd name="connsiteY35" fmla="*/ 3400425 h 4496940"/>
                  <a:gd name="connsiteX36" fmla="*/ 4164352 w 4519987"/>
                  <a:gd name="connsiteY36" fmla="*/ 3429000 h 4496940"/>
                  <a:gd name="connsiteX37" fmla="*/ 4088152 w 4519987"/>
                  <a:gd name="connsiteY37" fmla="*/ 3495675 h 4496940"/>
                  <a:gd name="connsiteX38" fmla="*/ 4059577 w 4519987"/>
                  <a:gd name="connsiteY38" fmla="*/ 3533775 h 4496940"/>
                  <a:gd name="connsiteX39" fmla="*/ 4002427 w 4519987"/>
                  <a:gd name="connsiteY39" fmla="*/ 3600450 h 4496940"/>
                  <a:gd name="connsiteX40" fmla="*/ 3983377 w 4519987"/>
                  <a:gd name="connsiteY40" fmla="*/ 3629025 h 4496940"/>
                  <a:gd name="connsiteX41" fmla="*/ 3954802 w 4519987"/>
                  <a:gd name="connsiteY41" fmla="*/ 3648075 h 4496940"/>
                  <a:gd name="connsiteX42" fmla="*/ 3907177 w 4519987"/>
                  <a:gd name="connsiteY42" fmla="*/ 3686175 h 4496940"/>
                  <a:gd name="connsiteX43" fmla="*/ 3869077 w 4519987"/>
                  <a:gd name="connsiteY43" fmla="*/ 3724275 h 4496940"/>
                  <a:gd name="connsiteX44" fmla="*/ 3792877 w 4519987"/>
                  <a:gd name="connsiteY44" fmla="*/ 3781425 h 4496940"/>
                  <a:gd name="connsiteX45" fmla="*/ 3783352 w 4519987"/>
                  <a:gd name="connsiteY45" fmla="*/ 3810000 h 4496940"/>
                  <a:gd name="connsiteX46" fmla="*/ 3745252 w 4519987"/>
                  <a:gd name="connsiteY46" fmla="*/ 3819525 h 4496940"/>
                  <a:gd name="connsiteX47" fmla="*/ 3678577 w 4519987"/>
                  <a:gd name="connsiteY47" fmla="*/ 3848100 h 4496940"/>
                  <a:gd name="connsiteX48" fmla="*/ 3659527 w 4519987"/>
                  <a:gd name="connsiteY48" fmla="*/ 3971925 h 4496940"/>
                  <a:gd name="connsiteX49" fmla="*/ 3630952 w 4519987"/>
                  <a:gd name="connsiteY49" fmla="*/ 4010025 h 4496940"/>
                  <a:gd name="connsiteX50" fmla="*/ 3621427 w 4519987"/>
                  <a:gd name="connsiteY50" fmla="*/ 4038600 h 4496940"/>
                  <a:gd name="connsiteX51" fmla="*/ 3554752 w 4519987"/>
                  <a:gd name="connsiteY51" fmla="*/ 4095750 h 4496940"/>
                  <a:gd name="connsiteX52" fmla="*/ 3516652 w 4519987"/>
                  <a:gd name="connsiteY52" fmla="*/ 4114800 h 4496940"/>
                  <a:gd name="connsiteX53" fmla="*/ 3497602 w 4519987"/>
                  <a:gd name="connsiteY53" fmla="*/ 4143375 h 4496940"/>
                  <a:gd name="connsiteX54" fmla="*/ 3383302 w 4519987"/>
                  <a:gd name="connsiteY54" fmla="*/ 4210050 h 4496940"/>
                  <a:gd name="connsiteX55" fmla="*/ 3335677 w 4519987"/>
                  <a:gd name="connsiteY55" fmla="*/ 4238625 h 4496940"/>
                  <a:gd name="connsiteX56" fmla="*/ 3288052 w 4519987"/>
                  <a:gd name="connsiteY56" fmla="*/ 4248150 h 4496940"/>
                  <a:gd name="connsiteX57" fmla="*/ 3240427 w 4519987"/>
                  <a:gd name="connsiteY57" fmla="*/ 4267200 h 4496940"/>
                  <a:gd name="connsiteX58" fmla="*/ 3068977 w 4519987"/>
                  <a:gd name="connsiteY58" fmla="*/ 4286250 h 4496940"/>
                  <a:gd name="connsiteX59" fmla="*/ 2935627 w 4519987"/>
                  <a:gd name="connsiteY59" fmla="*/ 4333875 h 4496940"/>
                  <a:gd name="connsiteX60" fmla="*/ 2811802 w 4519987"/>
                  <a:gd name="connsiteY60" fmla="*/ 4371975 h 4496940"/>
                  <a:gd name="connsiteX61" fmla="*/ 2745127 w 4519987"/>
                  <a:gd name="connsiteY61" fmla="*/ 4410075 h 4496940"/>
                  <a:gd name="connsiteX62" fmla="*/ 2697502 w 4519987"/>
                  <a:gd name="connsiteY62" fmla="*/ 4429125 h 4496940"/>
                  <a:gd name="connsiteX63" fmla="*/ 2640352 w 4519987"/>
                  <a:gd name="connsiteY63" fmla="*/ 4457700 h 4496940"/>
                  <a:gd name="connsiteX64" fmla="*/ 2583202 w 4519987"/>
                  <a:gd name="connsiteY64" fmla="*/ 4467225 h 4496940"/>
                  <a:gd name="connsiteX65" fmla="*/ 2545102 w 4519987"/>
                  <a:gd name="connsiteY65" fmla="*/ 4486275 h 4496940"/>
                  <a:gd name="connsiteX66" fmla="*/ 2306977 w 4519987"/>
                  <a:gd name="connsiteY66" fmla="*/ 4476750 h 4496940"/>
                  <a:gd name="connsiteX67" fmla="*/ 2202202 w 4519987"/>
                  <a:gd name="connsiteY67" fmla="*/ 4457700 h 4496940"/>
                  <a:gd name="connsiteX68" fmla="*/ 2126002 w 4519987"/>
                  <a:gd name="connsiteY68" fmla="*/ 4429125 h 4496940"/>
                  <a:gd name="connsiteX69" fmla="*/ 1935502 w 4519987"/>
                  <a:gd name="connsiteY69" fmla="*/ 4400550 h 4496940"/>
                  <a:gd name="connsiteX70" fmla="*/ 1821202 w 4519987"/>
                  <a:gd name="connsiteY70" fmla="*/ 4371975 h 4496940"/>
                  <a:gd name="connsiteX71" fmla="*/ 1754527 w 4519987"/>
                  <a:gd name="connsiteY71" fmla="*/ 4352925 h 4496940"/>
                  <a:gd name="connsiteX72" fmla="*/ 1687852 w 4519987"/>
                  <a:gd name="connsiteY72" fmla="*/ 4343400 h 4496940"/>
                  <a:gd name="connsiteX73" fmla="*/ 1573552 w 4519987"/>
                  <a:gd name="connsiteY73" fmla="*/ 4305300 h 4496940"/>
                  <a:gd name="connsiteX74" fmla="*/ 1402102 w 4519987"/>
                  <a:gd name="connsiteY74" fmla="*/ 4276725 h 4496940"/>
                  <a:gd name="connsiteX75" fmla="*/ 1287802 w 4519987"/>
                  <a:gd name="connsiteY75" fmla="*/ 4229100 h 4496940"/>
                  <a:gd name="connsiteX76" fmla="*/ 1221127 w 4519987"/>
                  <a:gd name="connsiteY76" fmla="*/ 4200525 h 4496940"/>
                  <a:gd name="connsiteX77" fmla="*/ 1144927 w 4519987"/>
                  <a:gd name="connsiteY77" fmla="*/ 4171950 h 4496940"/>
                  <a:gd name="connsiteX78" fmla="*/ 1087777 w 4519987"/>
                  <a:gd name="connsiteY78" fmla="*/ 4143375 h 4496940"/>
                  <a:gd name="connsiteX79" fmla="*/ 1030627 w 4519987"/>
                  <a:gd name="connsiteY79" fmla="*/ 4124325 h 4496940"/>
                  <a:gd name="connsiteX80" fmla="*/ 925852 w 4519987"/>
                  <a:gd name="connsiteY80" fmla="*/ 4067175 h 4496940"/>
                  <a:gd name="connsiteX81" fmla="*/ 830602 w 4519987"/>
                  <a:gd name="connsiteY81" fmla="*/ 3981450 h 4496940"/>
                  <a:gd name="connsiteX82" fmla="*/ 763927 w 4519987"/>
                  <a:gd name="connsiteY82" fmla="*/ 3914775 h 4496940"/>
                  <a:gd name="connsiteX83" fmla="*/ 725827 w 4519987"/>
                  <a:gd name="connsiteY83" fmla="*/ 3876675 h 4496940"/>
                  <a:gd name="connsiteX84" fmla="*/ 697252 w 4519987"/>
                  <a:gd name="connsiteY84" fmla="*/ 3838575 h 4496940"/>
                  <a:gd name="connsiteX85" fmla="*/ 640102 w 4519987"/>
                  <a:gd name="connsiteY85" fmla="*/ 3781425 h 4496940"/>
                  <a:gd name="connsiteX86" fmla="*/ 611527 w 4519987"/>
                  <a:gd name="connsiteY86" fmla="*/ 3733800 h 4496940"/>
                  <a:gd name="connsiteX87" fmla="*/ 554377 w 4519987"/>
                  <a:gd name="connsiteY87" fmla="*/ 3657600 h 4496940"/>
                  <a:gd name="connsiteX88" fmla="*/ 525802 w 4519987"/>
                  <a:gd name="connsiteY88" fmla="*/ 3609975 h 4496940"/>
                  <a:gd name="connsiteX89" fmla="*/ 497227 w 4519987"/>
                  <a:gd name="connsiteY89" fmla="*/ 3552825 h 4496940"/>
                  <a:gd name="connsiteX90" fmla="*/ 440077 w 4519987"/>
                  <a:gd name="connsiteY90" fmla="*/ 3495675 h 4496940"/>
                  <a:gd name="connsiteX91" fmla="*/ 411502 w 4519987"/>
                  <a:gd name="connsiteY91" fmla="*/ 3448050 h 4496940"/>
                  <a:gd name="connsiteX92" fmla="*/ 278152 w 4519987"/>
                  <a:gd name="connsiteY92" fmla="*/ 3257550 h 4496940"/>
                  <a:gd name="connsiteX93" fmla="*/ 249577 w 4519987"/>
                  <a:gd name="connsiteY93" fmla="*/ 3200400 h 4496940"/>
                  <a:gd name="connsiteX94" fmla="*/ 240052 w 4519987"/>
                  <a:gd name="connsiteY94" fmla="*/ 3162300 h 4496940"/>
                  <a:gd name="connsiteX95" fmla="*/ 221002 w 4519987"/>
                  <a:gd name="connsiteY95" fmla="*/ 3105150 h 4496940"/>
                  <a:gd name="connsiteX96" fmla="*/ 173377 w 4519987"/>
                  <a:gd name="connsiteY96" fmla="*/ 3019425 h 4496940"/>
                  <a:gd name="connsiteX97" fmla="*/ 144802 w 4519987"/>
                  <a:gd name="connsiteY97" fmla="*/ 2924175 h 4496940"/>
                  <a:gd name="connsiteX98" fmla="*/ 68602 w 4519987"/>
                  <a:gd name="connsiteY98" fmla="*/ 2724150 h 4496940"/>
                  <a:gd name="connsiteX99" fmla="*/ 49552 w 4519987"/>
                  <a:gd name="connsiteY99" fmla="*/ 2638425 h 4496940"/>
                  <a:gd name="connsiteX100" fmla="*/ 40027 w 4519987"/>
                  <a:gd name="connsiteY100" fmla="*/ 2562225 h 4496940"/>
                  <a:gd name="connsiteX101" fmla="*/ 30502 w 4519987"/>
                  <a:gd name="connsiteY101" fmla="*/ 2514600 h 4496940"/>
                  <a:gd name="connsiteX102" fmla="*/ 11452 w 4519987"/>
                  <a:gd name="connsiteY102" fmla="*/ 2400300 h 4496940"/>
                  <a:gd name="connsiteX103" fmla="*/ 20977 w 4519987"/>
                  <a:gd name="connsiteY103" fmla="*/ 1905000 h 4496940"/>
                  <a:gd name="connsiteX104" fmla="*/ 30502 w 4519987"/>
                  <a:gd name="connsiteY104" fmla="*/ 1838325 h 4496940"/>
                  <a:gd name="connsiteX105" fmla="*/ 49552 w 4519987"/>
                  <a:gd name="connsiteY105" fmla="*/ 1781175 h 4496940"/>
                  <a:gd name="connsiteX106" fmla="*/ 59077 w 4519987"/>
                  <a:gd name="connsiteY106" fmla="*/ 1743075 h 4496940"/>
                  <a:gd name="connsiteX107" fmla="*/ 78127 w 4519987"/>
                  <a:gd name="connsiteY107" fmla="*/ 1685925 h 4496940"/>
                  <a:gd name="connsiteX108" fmla="*/ 87652 w 4519987"/>
                  <a:gd name="connsiteY108" fmla="*/ 1638300 h 4496940"/>
                  <a:gd name="connsiteX109" fmla="*/ 106702 w 4519987"/>
                  <a:gd name="connsiteY109" fmla="*/ 1590675 h 4496940"/>
                  <a:gd name="connsiteX110" fmla="*/ 135277 w 4519987"/>
                  <a:gd name="connsiteY110" fmla="*/ 1504950 h 4496940"/>
                  <a:gd name="connsiteX111" fmla="*/ 154327 w 4519987"/>
                  <a:gd name="connsiteY111" fmla="*/ 1419225 h 4496940"/>
                  <a:gd name="connsiteX112" fmla="*/ 230527 w 4519987"/>
                  <a:gd name="connsiteY112" fmla="*/ 1276350 h 4496940"/>
                  <a:gd name="connsiteX113" fmla="*/ 240052 w 4519987"/>
                  <a:gd name="connsiteY113" fmla="*/ 1247775 h 4496940"/>
                  <a:gd name="connsiteX114" fmla="*/ 268627 w 4519987"/>
                  <a:gd name="connsiteY114" fmla="*/ 1200150 h 4496940"/>
                  <a:gd name="connsiteX115" fmla="*/ 287677 w 4519987"/>
                  <a:gd name="connsiteY115" fmla="*/ 1152525 h 4496940"/>
                  <a:gd name="connsiteX116" fmla="*/ 316252 w 4519987"/>
                  <a:gd name="connsiteY116" fmla="*/ 1114425 h 4496940"/>
                  <a:gd name="connsiteX117" fmla="*/ 363877 w 4519987"/>
                  <a:gd name="connsiteY117" fmla="*/ 1038225 h 4496940"/>
                  <a:gd name="connsiteX118" fmla="*/ 382927 w 4519987"/>
                  <a:gd name="connsiteY118" fmla="*/ 1009650 h 4496940"/>
                  <a:gd name="connsiteX119" fmla="*/ 440077 w 4519987"/>
                  <a:gd name="connsiteY119" fmla="*/ 904875 h 4496940"/>
                  <a:gd name="connsiteX120" fmla="*/ 478177 w 4519987"/>
                  <a:gd name="connsiteY120" fmla="*/ 857250 h 4496940"/>
                  <a:gd name="connsiteX121" fmla="*/ 497227 w 4519987"/>
                  <a:gd name="connsiteY121" fmla="*/ 828675 h 4496940"/>
                  <a:gd name="connsiteX122" fmla="*/ 535327 w 4519987"/>
                  <a:gd name="connsiteY122" fmla="*/ 800100 h 4496940"/>
                  <a:gd name="connsiteX123" fmla="*/ 602002 w 4519987"/>
                  <a:gd name="connsiteY123" fmla="*/ 733425 h 4496940"/>
                  <a:gd name="connsiteX124" fmla="*/ 668677 w 4519987"/>
                  <a:gd name="connsiteY124" fmla="*/ 676275 h 4496940"/>
                  <a:gd name="connsiteX125" fmla="*/ 697252 w 4519987"/>
                  <a:gd name="connsiteY125" fmla="*/ 657225 h 4496940"/>
                  <a:gd name="connsiteX126" fmla="*/ 840127 w 4519987"/>
                  <a:gd name="connsiteY126" fmla="*/ 533400 h 4496940"/>
                  <a:gd name="connsiteX127" fmla="*/ 887752 w 4519987"/>
                  <a:gd name="connsiteY127" fmla="*/ 504825 h 4496940"/>
                  <a:gd name="connsiteX128" fmla="*/ 1167152 w 4519987"/>
                  <a:gd name="connsiteY128" fmla="*/ 311150 h 4496940"/>
                  <a:gd name="connsiteX129" fmla="*/ 1268752 w 4519987"/>
                  <a:gd name="connsiteY129" fmla="*/ 285750 h 4496940"/>
                  <a:gd name="connsiteX130" fmla="*/ 1411627 w 4519987"/>
                  <a:gd name="connsiteY130" fmla="*/ 190500 h 4496940"/>
                  <a:gd name="connsiteX131" fmla="*/ 1449727 w 4519987"/>
                  <a:gd name="connsiteY131" fmla="*/ 161925 h 4496940"/>
                  <a:gd name="connsiteX132" fmla="*/ 1525927 w 4519987"/>
                  <a:gd name="connsiteY132" fmla="*/ 152400 h 4496940"/>
                  <a:gd name="connsiteX133" fmla="*/ 1583077 w 4519987"/>
                  <a:gd name="connsiteY133" fmla="*/ 142875 h 4496940"/>
                  <a:gd name="connsiteX134" fmla="*/ 1716427 w 4519987"/>
                  <a:gd name="connsiteY134" fmla="*/ 123825 h 4496940"/>
                  <a:gd name="connsiteX135" fmla="*/ 1811677 w 4519987"/>
                  <a:gd name="connsiteY135" fmla="*/ 114300 h 4496940"/>
                  <a:gd name="connsiteX136" fmla="*/ 1859302 w 4519987"/>
                  <a:gd name="connsiteY136" fmla="*/ 104775 h 4496940"/>
                  <a:gd name="connsiteX137" fmla="*/ 1916452 w 4519987"/>
                  <a:gd name="connsiteY137" fmla="*/ 95250 h 4496940"/>
                  <a:gd name="connsiteX138" fmla="*/ 2030752 w 4519987"/>
                  <a:gd name="connsiteY138" fmla="*/ 66675 h 4496940"/>
                  <a:gd name="connsiteX139" fmla="*/ 2097427 w 4519987"/>
                  <a:gd name="connsiteY139" fmla="*/ 47625 h 4496940"/>
                  <a:gd name="connsiteX140" fmla="*/ 2164102 w 4519987"/>
                  <a:gd name="connsiteY140" fmla="*/ 38100 h 4496940"/>
                  <a:gd name="connsiteX141" fmla="*/ 2392702 w 4519987"/>
                  <a:gd name="connsiteY14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221502 w 4519987"/>
                  <a:gd name="connsiteY33" fmla="*/ 3333750 h 4496940"/>
                  <a:gd name="connsiteX34" fmla="*/ 4211977 w 4519987"/>
                  <a:gd name="connsiteY34" fmla="*/ 3362325 h 4496940"/>
                  <a:gd name="connsiteX35" fmla="*/ 4183402 w 4519987"/>
                  <a:gd name="connsiteY35" fmla="*/ 3400425 h 4496940"/>
                  <a:gd name="connsiteX36" fmla="*/ 4088152 w 4519987"/>
                  <a:gd name="connsiteY36" fmla="*/ 3495675 h 4496940"/>
                  <a:gd name="connsiteX37" fmla="*/ 4059577 w 4519987"/>
                  <a:gd name="connsiteY37" fmla="*/ 3533775 h 4496940"/>
                  <a:gd name="connsiteX38" fmla="*/ 4002427 w 4519987"/>
                  <a:gd name="connsiteY38" fmla="*/ 3600450 h 4496940"/>
                  <a:gd name="connsiteX39" fmla="*/ 3983377 w 4519987"/>
                  <a:gd name="connsiteY39" fmla="*/ 3629025 h 4496940"/>
                  <a:gd name="connsiteX40" fmla="*/ 3954802 w 4519987"/>
                  <a:gd name="connsiteY40" fmla="*/ 3648075 h 4496940"/>
                  <a:gd name="connsiteX41" fmla="*/ 3907177 w 4519987"/>
                  <a:gd name="connsiteY41" fmla="*/ 3686175 h 4496940"/>
                  <a:gd name="connsiteX42" fmla="*/ 3869077 w 4519987"/>
                  <a:gd name="connsiteY42" fmla="*/ 3724275 h 4496940"/>
                  <a:gd name="connsiteX43" fmla="*/ 3792877 w 4519987"/>
                  <a:gd name="connsiteY43" fmla="*/ 3781425 h 4496940"/>
                  <a:gd name="connsiteX44" fmla="*/ 3783352 w 4519987"/>
                  <a:gd name="connsiteY44" fmla="*/ 3810000 h 4496940"/>
                  <a:gd name="connsiteX45" fmla="*/ 3745252 w 4519987"/>
                  <a:gd name="connsiteY45" fmla="*/ 3819525 h 4496940"/>
                  <a:gd name="connsiteX46" fmla="*/ 3678577 w 4519987"/>
                  <a:gd name="connsiteY46" fmla="*/ 3848100 h 4496940"/>
                  <a:gd name="connsiteX47" fmla="*/ 3659527 w 4519987"/>
                  <a:gd name="connsiteY47" fmla="*/ 3971925 h 4496940"/>
                  <a:gd name="connsiteX48" fmla="*/ 3630952 w 4519987"/>
                  <a:gd name="connsiteY48" fmla="*/ 4010025 h 4496940"/>
                  <a:gd name="connsiteX49" fmla="*/ 3621427 w 4519987"/>
                  <a:gd name="connsiteY49" fmla="*/ 4038600 h 4496940"/>
                  <a:gd name="connsiteX50" fmla="*/ 3554752 w 4519987"/>
                  <a:gd name="connsiteY50" fmla="*/ 4095750 h 4496940"/>
                  <a:gd name="connsiteX51" fmla="*/ 3516652 w 4519987"/>
                  <a:gd name="connsiteY51" fmla="*/ 4114800 h 4496940"/>
                  <a:gd name="connsiteX52" fmla="*/ 3497602 w 4519987"/>
                  <a:gd name="connsiteY52" fmla="*/ 4143375 h 4496940"/>
                  <a:gd name="connsiteX53" fmla="*/ 3383302 w 4519987"/>
                  <a:gd name="connsiteY53" fmla="*/ 4210050 h 4496940"/>
                  <a:gd name="connsiteX54" fmla="*/ 3335677 w 4519987"/>
                  <a:gd name="connsiteY54" fmla="*/ 4238625 h 4496940"/>
                  <a:gd name="connsiteX55" fmla="*/ 3288052 w 4519987"/>
                  <a:gd name="connsiteY55" fmla="*/ 4248150 h 4496940"/>
                  <a:gd name="connsiteX56" fmla="*/ 3240427 w 4519987"/>
                  <a:gd name="connsiteY56" fmla="*/ 4267200 h 4496940"/>
                  <a:gd name="connsiteX57" fmla="*/ 3068977 w 4519987"/>
                  <a:gd name="connsiteY57" fmla="*/ 4286250 h 4496940"/>
                  <a:gd name="connsiteX58" fmla="*/ 2935627 w 4519987"/>
                  <a:gd name="connsiteY58" fmla="*/ 4333875 h 4496940"/>
                  <a:gd name="connsiteX59" fmla="*/ 2811802 w 4519987"/>
                  <a:gd name="connsiteY59" fmla="*/ 4371975 h 4496940"/>
                  <a:gd name="connsiteX60" fmla="*/ 2745127 w 4519987"/>
                  <a:gd name="connsiteY60" fmla="*/ 4410075 h 4496940"/>
                  <a:gd name="connsiteX61" fmla="*/ 2697502 w 4519987"/>
                  <a:gd name="connsiteY61" fmla="*/ 4429125 h 4496940"/>
                  <a:gd name="connsiteX62" fmla="*/ 2640352 w 4519987"/>
                  <a:gd name="connsiteY62" fmla="*/ 4457700 h 4496940"/>
                  <a:gd name="connsiteX63" fmla="*/ 2583202 w 4519987"/>
                  <a:gd name="connsiteY63" fmla="*/ 4467225 h 4496940"/>
                  <a:gd name="connsiteX64" fmla="*/ 2545102 w 4519987"/>
                  <a:gd name="connsiteY64" fmla="*/ 4486275 h 4496940"/>
                  <a:gd name="connsiteX65" fmla="*/ 2306977 w 4519987"/>
                  <a:gd name="connsiteY65" fmla="*/ 4476750 h 4496940"/>
                  <a:gd name="connsiteX66" fmla="*/ 2202202 w 4519987"/>
                  <a:gd name="connsiteY66" fmla="*/ 4457700 h 4496940"/>
                  <a:gd name="connsiteX67" fmla="*/ 2126002 w 4519987"/>
                  <a:gd name="connsiteY67" fmla="*/ 4429125 h 4496940"/>
                  <a:gd name="connsiteX68" fmla="*/ 1935502 w 4519987"/>
                  <a:gd name="connsiteY68" fmla="*/ 4400550 h 4496940"/>
                  <a:gd name="connsiteX69" fmla="*/ 1821202 w 4519987"/>
                  <a:gd name="connsiteY69" fmla="*/ 4371975 h 4496940"/>
                  <a:gd name="connsiteX70" fmla="*/ 1754527 w 4519987"/>
                  <a:gd name="connsiteY70" fmla="*/ 4352925 h 4496940"/>
                  <a:gd name="connsiteX71" fmla="*/ 1687852 w 4519987"/>
                  <a:gd name="connsiteY71" fmla="*/ 4343400 h 4496940"/>
                  <a:gd name="connsiteX72" fmla="*/ 1573552 w 4519987"/>
                  <a:gd name="connsiteY72" fmla="*/ 4305300 h 4496940"/>
                  <a:gd name="connsiteX73" fmla="*/ 1402102 w 4519987"/>
                  <a:gd name="connsiteY73" fmla="*/ 4276725 h 4496940"/>
                  <a:gd name="connsiteX74" fmla="*/ 1287802 w 4519987"/>
                  <a:gd name="connsiteY74" fmla="*/ 4229100 h 4496940"/>
                  <a:gd name="connsiteX75" fmla="*/ 1221127 w 4519987"/>
                  <a:gd name="connsiteY75" fmla="*/ 4200525 h 4496940"/>
                  <a:gd name="connsiteX76" fmla="*/ 1144927 w 4519987"/>
                  <a:gd name="connsiteY76" fmla="*/ 4171950 h 4496940"/>
                  <a:gd name="connsiteX77" fmla="*/ 1087777 w 4519987"/>
                  <a:gd name="connsiteY77" fmla="*/ 4143375 h 4496940"/>
                  <a:gd name="connsiteX78" fmla="*/ 1030627 w 4519987"/>
                  <a:gd name="connsiteY78" fmla="*/ 4124325 h 4496940"/>
                  <a:gd name="connsiteX79" fmla="*/ 925852 w 4519987"/>
                  <a:gd name="connsiteY79" fmla="*/ 4067175 h 4496940"/>
                  <a:gd name="connsiteX80" fmla="*/ 830602 w 4519987"/>
                  <a:gd name="connsiteY80" fmla="*/ 3981450 h 4496940"/>
                  <a:gd name="connsiteX81" fmla="*/ 763927 w 4519987"/>
                  <a:gd name="connsiteY81" fmla="*/ 3914775 h 4496940"/>
                  <a:gd name="connsiteX82" fmla="*/ 725827 w 4519987"/>
                  <a:gd name="connsiteY82" fmla="*/ 3876675 h 4496940"/>
                  <a:gd name="connsiteX83" fmla="*/ 697252 w 4519987"/>
                  <a:gd name="connsiteY83" fmla="*/ 3838575 h 4496940"/>
                  <a:gd name="connsiteX84" fmla="*/ 640102 w 4519987"/>
                  <a:gd name="connsiteY84" fmla="*/ 3781425 h 4496940"/>
                  <a:gd name="connsiteX85" fmla="*/ 611527 w 4519987"/>
                  <a:gd name="connsiteY85" fmla="*/ 3733800 h 4496940"/>
                  <a:gd name="connsiteX86" fmla="*/ 554377 w 4519987"/>
                  <a:gd name="connsiteY86" fmla="*/ 3657600 h 4496940"/>
                  <a:gd name="connsiteX87" fmla="*/ 525802 w 4519987"/>
                  <a:gd name="connsiteY87" fmla="*/ 3609975 h 4496940"/>
                  <a:gd name="connsiteX88" fmla="*/ 497227 w 4519987"/>
                  <a:gd name="connsiteY88" fmla="*/ 3552825 h 4496940"/>
                  <a:gd name="connsiteX89" fmla="*/ 440077 w 4519987"/>
                  <a:gd name="connsiteY89" fmla="*/ 3495675 h 4496940"/>
                  <a:gd name="connsiteX90" fmla="*/ 411502 w 4519987"/>
                  <a:gd name="connsiteY90" fmla="*/ 3448050 h 4496940"/>
                  <a:gd name="connsiteX91" fmla="*/ 278152 w 4519987"/>
                  <a:gd name="connsiteY91" fmla="*/ 3257550 h 4496940"/>
                  <a:gd name="connsiteX92" fmla="*/ 249577 w 4519987"/>
                  <a:gd name="connsiteY92" fmla="*/ 3200400 h 4496940"/>
                  <a:gd name="connsiteX93" fmla="*/ 240052 w 4519987"/>
                  <a:gd name="connsiteY93" fmla="*/ 3162300 h 4496940"/>
                  <a:gd name="connsiteX94" fmla="*/ 221002 w 4519987"/>
                  <a:gd name="connsiteY94" fmla="*/ 3105150 h 4496940"/>
                  <a:gd name="connsiteX95" fmla="*/ 173377 w 4519987"/>
                  <a:gd name="connsiteY95" fmla="*/ 3019425 h 4496940"/>
                  <a:gd name="connsiteX96" fmla="*/ 144802 w 4519987"/>
                  <a:gd name="connsiteY96" fmla="*/ 2924175 h 4496940"/>
                  <a:gd name="connsiteX97" fmla="*/ 68602 w 4519987"/>
                  <a:gd name="connsiteY97" fmla="*/ 2724150 h 4496940"/>
                  <a:gd name="connsiteX98" fmla="*/ 49552 w 4519987"/>
                  <a:gd name="connsiteY98" fmla="*/ 2638425 h 4496940"/>
                  <a:gd name="connsiteX99" fmla="*/ 40027 w 4519987"/>
                  <a:gd name="connsiteY99" fmla="*/ 2562225 h 4496940"/>
                  <a:gd name="connsiteX100" fmla="*/ 30502 w 4519987"/>
                  <a:gd name="connsiteY100" fmla="*/ 2514600 h 4496940"/>
                  <a:gd name="connsiteX101" fmla="*/ 11452 w 4519987"/>
                  <a:gd name="connsiteY101" fmla="*/ 2400300 h 4496940"/>
                  <a:gd name="connsiteX102" fmla="*/ 20977 w 4519987"/>
                  <a:gd name="connsiteY102" fmla="*/ 1905000 h 4496940"/>
                  <a:gd name="connsiteX103" fmla="*/ 30502 w 4519987"/>
                  <a:gd name="connsiteY103" fmla="*/ 1838325 h 4496940"/>
                  <a:gd name="connsiteX104" fmla="*/ 49552 w 4519987"/>
                  <a:gd name="connsiteY104" fmla="*/ 1781175 h 4496940"/>
                  <a:gd name="connsiteX105" fmla="*/ 59077 w 4519987"/>
                  <a:gd name="connsiteY105" fmla="*/ 1743075 h 4496940"/>
                  <a:gd name="connsiteX106" fmla="*/ 78127 w 4519987"/>
                  <a:gd name="connsiteY106" fmla="*/ 1685925 h 4496940"/>
                  <a:gd name="connsiteX107" fmla="*/ 87652 w 4519987"/>
                  <a:gd name="connsiteY107" fmla="*/ 1638300 h 4496940"/>
                  <a:gd name="connsiteX108" fmla="*/ 106702 w 4519987"/>
                  <a:gd name="connsiteY108" fmla="*/ 1590675 h 4496940"/>
                  <a:gd name="connsiteX109" fmla="*/ 135277 w 4519987"/>
                  <a:gd name="connsiteY109" fmla="*/ 1504950 h 4496940"/>
                  <a:gd name="connsiteX110" fmla="*/ 154327 w 4519987"/>
                  <a:gd name="connsiteY110" fmla="*/ 1419225 h 4496940"/>
                  <a:gd name="connsiteX111" fmla="*/ 230527 w 4519987"/>
                  <a:gd name="connsiteY111" fmla="*/ 1276350 h 4496940"/>
                  <a:gd name="connsiteX112" fmla="*/ 240052 w 4519987"/>
                  <a:gd name="connsiteY112" fmla="*/ 1247775 h 4496940"/>
                  <a:gd name="connsiteX113" fmla="*/ 268627 w 4519987"/>
                  <a:gd name="connsiteY113" fmla="*/ 1200150 h 4496940"/>
                  <a:gd name="connsiteX114" fmla="*/ 287677 w 4519987"/>
                  <a:gd name="connsiteY114" fmla="*/ 1152525 h 4496940"/>
                  <a:gd name="connsiteX115" fmla="*/ 316252 w 4519987"/>
                  <a:gd name="connsiteY115" fmla="*/ 1114425 h 4496940"/>
                  <a:gd name="connsiteX116" fmla="*/ 363877 w 4519987"/>
                  <a:gd name="connsiteY116" fmla="*/ 1038225 h 4496940"/>
                  <a:gd name="connsiteX117" fmla="*/ 382927 w 4519987"/>
                  <a:gd name="connsiteY117" fmla="*/ 1009650 h 4496940"/>
                  <a:gd name="connsiteX118" fmla="*/ 440077 w 4519987"/>
                  <a:gd name="connsiteY118" fmla="*/ 904875 h 4496940"/>
                  <a:gd name="connsiteX119" fmla="*/ 478177 w 4519987"/>
                  <a:gd name="connsiteY119" fmla="*/ 857250 h 4496940"/>
                  <a:gd name="connsiteX120" fmla="*/ 497227 w 4519987"/>
                  <a:gd name="connsiteY120" fmla="*/ 828675 h 4496940"/>
                  <a:gd name="connsiteX121" fmla="*/ 535327 w 4519987"/>
                  <a:gd name="connsiteY121" fmla="*/ 800100 h 4496940"/>
                  <a:gd name="connsiteX122" fmla="*/ 602002 w 4519987"/>
                  <a:gd name="connsiteY122" fmla="*/ 733425 h 4496940"/>
                  <a:gd name="connsiteX123" fmla="*/ 668677 w 4519987"/>
                  <a:gd name="connsiteY123" fmla="*/ 676275 h 4496940"/>
                  <a:gd name="connsiteX124" fmla="*/ 697252 w 4519987"/>
                  <a:gd name="connsiteY124" fmla="*/ 657225 h 4496940"/>
                  <a:gd name="connsiteX125" fmla="*/ 840127 w 4519987"/>
                  <a:gd name="connsiteY125" fmla="*/ 533400 h 4496940"/>
                  <a:gd name="connsiteX126" fmla="*/ 887752 w 4519987"/>
                  <a:gd name="connsiteY126" fmla="*/ 504825 h 4496940"/>
                  <a:gd name="connsiteX127" fmla="*/ 1167152 w 4519987"/>
                  <a:gd name="connsiteY127" fmla="*/ 311150 h 4496940"/>
                  <a:gd name="connsiteX128" fmla="*/ 1268752 w 4519987"/>
                  <a:gd name="connsiteY128" fmla="*/ 285750 h 4496940"/>
                  <a:gd name="connsiteX129" fmla="*/ 1411627 w 4519987"/>
                  <a:gd name="connsiteY129" fmla="*/ 190500 h 4496940"/>
                  <a:gd name="connsiteX130" fmla="*/ 1449727 w 4519987"/>
                  <a:gd name="connsiteY130" fmla="*/ 161925 h 4496940"/>
                  <a:gd name="connsiteX131" fmla="*/ 1525927 w 4519987"/>
                  <a:gd name="connsiteY131" fmla="*/ 152400 h 4496940"/>
                  <a:gd name="connsiteX132" fmla="*/ 1583077 w 4519987"/>
                  <a:gd name="connsiteY132" fmla="*/ 142875 h 4496940"/>
                  <a:gd name="connsiteX133" fmla="*/ 1716427 w 4519987"/>
                  <a:gd name="connsiteY133" fmla="*/ 123825 h 4496940"/>
                  <a:gd name="connsiteX134" fmla="*/ 1811677 w 4519987"/>
                  <a:gd name="connsiteY134" fmla="*/ 114300 h 4496940"/>
                  <a:gd name="connsiteX135" fmla="*/ 1859302 w 4519987"/>
                  <a:gd name="connsiteY135" fmla="*/ 104775 h 4496940"/>
                  <a:gd name="connsiteX136" fmla="*/ 1916452 w 4519987"/>
                  <a:gd name="connsiteY136" fmla="*/ 95250 h 4496940"/>
                  <a:gd name="connsiteX137" fmla="*/ 2030752 w 4519987"/>
                  <a:gd name="connsiteY137" fmla="*/ 66675 h 4496940"/>
                  <a:gd name="connsiteX138" fmla="*/ 2097427 w 4519987"/>
                  <a:gd name="connsiteY138" fmla="*/ 47625 h 4496940"/>
                  <a:gd name="connsiteX139" fmla="*/ 2164102 w 4519987"/>
                  <a:gd name="connsiteY139" fmla="*/ 38100 h 4496940"/>
                  <a:gd name="connsiteX140" fmla="*/ 2392702 w 4519987"/>
                  <a:gd name="connsiteY14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221502 w 4519987"/>
                  <a:gd name="connsiteY33" fmla="*/ 3333750 h 4496940"/>
                  <a:gd name="connsiteX34" fmla="*/ 4183402 w 4519987"/>
                  <a:gd name="connsiteY34" fmla="*/ 3400425 h 4496940"/>
                  <a:gd name="connsiteX35" fmla="*/ 4088152 w 4519987"/>
                  <a:gd name="connsiteY35" fmla="*/ 3495675 h 4496940"/>
                  <a:gd name="connsiteX36" fmla="*/ 4059577 w 4519987"/>
                  <a:gd name="connsiteY36" fmla="*/ 3533775 h 4496940"/>
                  <a:gd name="connsiteX37" fmla="*/ 4002427 w 4519987"/>
                  <a:gd name="connsiteY37" fmla="*/ 3600450 h 4496940"/>
                  <a:gd name="connsiteX38" fmla="*/ 3983377 w 4519987"/>
                  <a:gd name="connsiteY38" fmla="*/ 3629025 h 4496940"/>
                  <a:gd name="connsiteX39" fmla="*/ 3954802 w 4519987"/>
                  <a:gd name="connsiteY39" fmla="*/ 3648075 h 4496940"/>
                  <a:gd name="connsiteX40" fmla="*/ 3907177 w 4519987"/>
                  <a:gd name="connsiteY40" fmla="*/ 3686175 h 4496940"/>
                  <a:gd name="connsiteX41" fmla="*/ 3869077 w 4519987"/>
                  <a:gd name="connsiteY41" fmla="*/ 3724275 h 4496940"/>
                  <a:gd name="connsiteX42" fmla="*/ 3792877 w 4519987"/>
                  <a:gd name="connsiteY42" fmla="*/ 3781425 h 4496940"/>
                  <a:gd name="connsiteX43" fmla="*/ 3783352 w 4519987"/>
                  <a:gd name="connsiteY43" fmla="*/ 3810000 h 4496940"/>
                  <a:gd name="connsiteX44" fmla="*/ 3745252 w 4519987"/>
                  <a:gd name="connsiteY44" fmla="*/ 3819525 h 4496940"/>
                  <a:gd name="connsiteX45" fmla="*/ 3678577 w 4519987"/>
                  <a:gd name="connsiteY45" fmla="*/ 3848100 h 4496940"/>
                  <a:gd name="connsiteX46" fmla="*/ 3659527 w 4519987"/>
                  <a:gd name="connsiteY46" fmla="*/ 3971925 h 4496940"/>
                  <a:gd name="connsiteX47" fmla="*/ 3630952 w 4519987"/>
                  <a:gd name="connsiteY47" fmla="*/ 4010025 h 4496940"/>
                  <a:gd name="connsiteX48" fmla="*/ 3621427 w 4519987"/>
                  <a:gd name="connsiteY48" fmla="*/ 4038600 h 4496940"/>
                  <a:gd name="connsiteX49" fmla="*/ 3554752 w 4519987"/>
                  <a:gd name="connsiteY49" fmla="*/ 4095750 h 4496940"/>
                  <a:gd name="connsiteX50" fmla="*/ 3516652 w 4519987"/>
                  <a:gd name="connsiteY50" fmla="*/ 4114800 h 4496940"/>
                  <a:gd name="connsiteX51" fmla="*/ 3497602 w 4519987"/>
                  <a:gd name="connsiteY51" fmla="*/ 4143375 h 4496940"/>
                  <a:gd name="connsiteX52" fmla="*/ 3383302 w 4519987"/>
                  <a:gd name="connsiteY52" fmla="*/ 4210050 h 4496940"/>
                  <a:gd name="connsiteX53" fmla="*/ 3335677 w 4519987"/>
                  <a:gd name="connsiteY53" fmla="*/ 4238625 h 4496940"/>
                  <a:gd name="connsiteX54" fmla="*/ 3288052 w 4519987"/>
                  <a:gd name="connsiteY54" fmla="*/ 4248150 h 4496940"/>
                  <a:gd name="connsiteX55" fmla="*/ 3240427 w 4519987"/>
                  <a:gd name="connsiteY55" fmla="*/ 4267200 h 4496940"/>
                  <a:gd name="connsiteX56" fmla="*/ 3068977 w 4519987"/>
                  <a:gd name="connsiteY56" fmla="*/ 4286250 h 4496940"/>
                  <a:gd name="connsiteX57" fmla="*/ 2935627 w 4519987"/>
                  <a:gd name="connsiteY57" fmla="*/ 4333875 h 4496940"/>
                  <a:gd name="connsiteX58" fmla="*/ 2811802 w 4519987"/>
                  <a:gd name="connsiteY58" fmla="*/ 4371975 h 4496940"/>
                  <a:gd name="connsiteX59" fmla="*/ 2745127 w 4519987"/>
                  <a:gd name="connsiteY59" fmla="*/ 4410075 h 4496940"/>
                  <a:gd name="connsiteX60" fmla="*/ 2697502 w 4519987"/>
                  <a:gd name="connsiteY60" fmla="*/ 4429125 h 4496940"/>
                  <a:gd name="connsiteX61" fmla="*/ 2640352 w 4519987"/>
                  <a:gd name="connsiteY61" fmla="*/ 4457700 h 4496940"/>
                  <a:gd name="connsiteX62" fmla="*/ 2583202 w 4519987"/>
                  <a:gd name="connsiteY62" fmla="*/ 4467225 h 4496940"/>
                  <a:gd name="connsiteX63" fmla="*/ 2545102 w 4519987"/>
                  <a:gd name="connsiteY63" fmla="*/ 4486275 h 4496940"/>
                  <a:gd name="connsiteX64" fmla="*/ 2306977 w 4519987"/>
                  <a:gd name="connsiteY64" fmla="*/ 4476750 h 4496940"/>
                  <a:gd name="connsiteX65" fmla="*/ 2202202 w 4519987"/>
                  <a:gd name="connsiteY65" fmla="*/ 4457700 h 4496940"/>
                  <a:gd name="connsiteX66" fmla="*/ 2126002 w 4519987"/>
                  <a:gd name="connsiteY66" fmla="*/ 4429125 h 4496940"/>
                  <a:gd name="connsiteX67" fmla="*/ 1935502 w 4519987"/>
                  <a:gd name="connsiteY67" fmla="*/ 4400550 h 4496940"/>
                  <a:gd name="connsiteX68" fmla="*/ 1821202 w 4519987"/>
                  <a:gd name="connsiteY68" fmla="*/ 4371975 h 4496940"/>
                  <a:gd name="connsiteX69" fmla="*/ 1754527 w 4519987"/>
                  <a:gd name="connsiteY69" fmla="*/ 4352925 h 4496940"/>
                  <a:gd name="connsiteX70" fmla="*/ 1687852 w 4519987"/>
                  <a:gd name="connsiteY70" fmla="*/ 4343400 h 4496940"/>
                  <a:gd name="connsiteX71" fmla="*/ 1573552 w 4519987"/>
                  <a:gd name="connsiteY71" fmla="*/ 4305300 h 4496940"/>
                  <a:gd name="connsiteX72" fmla="*/ 1402102 w 4519987"/>
                  <a:gd name="connsiteY72" fmla="*/ 4276725 h 4496940"/>
                  <a:gd name="connsiteX73" fmla="*/ 1287802 w 4519987"/>
                  <a:gd name="connsiteY73" fmla="*/ 4229100 h 4496940"/>
                  <a:gd name="connsiteX74" fmla="*/ 1221127 w 4519987"/>
                  <a:gd name="connsiteY74" fmla="*/ 4200525 h 4496940"/>
                  <a:gd name="connsiteX75" fmla="*/ 1144927 w 4519987"/>
                  <a:gd name="connsiteY75" fmla="*/ 4171950 h 4496940"/>
                  <a:gd name="connsiteX76" fmla="*/ 1087777 w 4519987"/>
                  <a:gd name="connsiteY76" fmla="*/ 4143375 h 4496940"/>
                  <a:gd name="connsiteX77" fmla="*/ 1030627 w 4519987"/>
                  <a:gd name="connsiteY77" fmla="*/ 4124325 h 4496940"/>
                  <a:gd name="connsiteX78" fmla="*/ 925852 w 4519987"/>
                  <a:gd name="connsiteY78" fmla="*/ 4067175 h 4496940"/>
                  <a:gd name="connsiteX79" fmla="*/ 830602 w 4519987"/>
                  <a:gd name="connsiteY79" fmla="*/ 3981450 h 4496940"/>
                  <a:gd name="connsiteX80" fmla="*/ 763927 w 4519987"/>
                  <a:gd name="connsiteY80" fmla="*/ 3914775 h 4496940"/>
                  <a:gd name="connsiteX81" fmla="*/ 725827 w 4519987"/>
                  <a:gd name="connsiteY81" fmla="*/ 3876675 h 4496940"/>
                  <a:gd name="connsiteX82" fmla="*/ 697252 w 4519987"/>
                  <a:gd name="connsiteY82" fmla="*/ 3838575 h 4496940"/>
                  <a:gd name="connsiteX83" fmla="*/ 640102 w 4519987"/>
                  <a:gd name="connsiteY83" fmla="*/ 3781425 h 4496940"/>
                  <a:gd name="connsiteX84" fmla="*/ 611527 w 4519987"/>
                  <a:gd name="connsiteY84" fmla="*/ 3733800 h 4496940"/>
                  <a:gd name="connsiteX85" fmla="*/ 554377 w 4519987"/>
                  <a:gd name="connsiteY85" fmla="*/ 3657600 h 4496940"/>
                  <a:gd name="connsiteX86" fmla="*/ 525802 w 4519987"/>
                  <a:gd name="connsiteY86" fmla="*/ 3609975 h 4496940"/>
                  <a:gd name="connsiteX87" fmla="*/ 497227 w 4519987"/>
                  <a:gd name="connsiteY87" fmla="*/ 3552825 h 4496940"/>
                  <a:gd name="connsiteX88" fmla="*/ 440077 w 4519987"/>
                  <a:gd name="connsiteY88" fmla="*/ 3495675 h 4496940"/>
                  <a:gd name="connsiteX89" fmla="*/ 411502 w 4519987"/>
                  <a:gd name="connsiteY89" fmla="*/ 3448050 h 4496940"/>
                  <a:gd name="connsiteX90" fmla="*/ 278152 w 4519987"/>
                  <a:gd name="connsiteY90" fmla="*/ 3257550 h 4496940"/>
                  <a:gd name="connsiteX91" fmla="*/ 249577 w 4519987"/>
                  <a:gd name="connsiteY91" fmla="*/ 3200400 h 4496940"/>
                  <a:gd name="connsiteX92" fmla="*/ 240052 w 4519987"/>
                  <a:gd name="connsiteY92" fmla="*/ 3162300 h 4496940"/>
                  <a:gd name="connsiteX93" fmla="*/ 221002 w 4519987"/>
                  <a:gd name="connsiteY93" fmla="*/ 3105150 h 4496940"/>
                  <a:gd name="connsiteX94" fmla="*/ 173377 w 4519987"/>
                  <a:gd name="connsiteY94" fmla="*/ 3019425 h 4496940"/>
                  <a:gd name="connsiteX95" fmla="*/ 144802 w 4519987"/>
                  <a:gd name="connsiteY95" fmla="*/ 2924175 h 4496940"/>
                  <a:gd name="connsiteX96" fmla="*/ 68602 w 4519987"/>
                  <a:gd name="connsiteY96" fmla="*/ 2724150 h 4496940"/>
                  <a:gd name="connsiteX97" fmla="*/ 49552 w 4519987"/>
                  <a:gd name="connsiteY97" fmla="*/ 2638425 h 4496940"/>
                  <a:gd name="connsiteX98" fmla="*/ 40027 w 4519987"/>
                  <a:gd name="connsiteY98" fmla="*/ 2562225 h 4496940"/>
                  <a:gd name="connsiteX99" fmla="*/ 30502 w 4519987"/>
                  <a:gd name="connsiteY99" fmla="*/ 2514600 h 4496940"/>
                  <a:gd name="connsiteX100" fmla="*/ 11452 w 4519987"/>
                  <a:gd name="connsiteY100" fmla="*/ 2400300 h 4496940"/>
                  <a:gd name="connsiteX101" fmla="*/ 20977 w 4519987"/>
                  <a:gd name="connsiteY101" fmla="*/ 1905000 h 4496940"/>
                  <a:gd name="connsiteX102" fmla="*/ 30502 w 4519987"/>
                  <a:gd name="connsiteY102" fmla="*/ 1838325 h 4496940"/>
                  <a:gd name="connsiteX103" fmla="*/ 49552 w 4519987"/>
                  <a:gd name="connsiteY103" fmla="*/ 1781175 h 4496940"/>
                  <a:gd name="connsiteX104" fmla="*/ 59077 w 4519987"/>
                  <a:gd name="connsiteY104" fmla="*/ 1743075 h 4496940"/>
                  <a:gd name="connsiteX105" fmla="*/ 78127 w 4519987"/>
                  <a:gd name="connsiteY105" fmla="*/ 1685925 h 4496940"/>
                  <a:gd name="connsiteX106" fmla="*/ 87652 w 4519987"/>
                  <a:gd name="connsiteY106" fmla="*/ 1638300 h 4496940"/>
                  <a:gd name="connsiteX107" fmla="*/ 106702 w 4519987"/>
                  <a:gd name="connsiteY107" fmla="*/ 1590675 h 4496940"/>
                  <a:gd name="connsiteX108" fmla="*/ 135277 w 4519987"/>
                  <a:gd name="connsiteY108" fmla="*/ 1504950 h 4496940"/>
                  <a:gd name="connsiteX109" fmla="*/ 154327 w 4519987"/>
                  <a:gd name="connsiteY109" fmla="*/ 1419225 h 4496940"/>
                  <a:gd name="connsiteX110" fmla="*/ 230527 w 4519987"/>
                  <a:gd name="connsiteY110" fmla="*/ 1276350 h 4496940"/>
                  <a:gd name="connsiteX111" fmla="*/ 240052 w 4519987"/>
                  <a:gd name="connsiteY111" fmla="*/ 1247775 h 4496940"/>
                  <a:gd name="connsiteX112" fmla="*/ 268627 w 4519987"/>
                  <a:gd name="connsiteY112" fmla="*/ 1200150 h 4496940"/>
                  <a:gd name="connsiteX113" fmla="*/ 287677 w 4519987"/>
                  <a:gd name="connsiteY113" fmla="*/ 1152525 h 4496940"/>
                  <a:gd name="connsiteX114" fmla="*/ 316252 w 4519987"/>
                  <a:gd name="connsiteY114" fmla="*/ 1114425 h 4496940"/>
                  <a:gd name="connsiteX115" fmla="*/ 363877 w 4519987"/>
                  <a:gd name="connsiteY115" fmla="*/ 1038225 h 4496940"/>
                  <a:gd name="connsiteX116" fmla="*/ 382927 w 4519987"/>
                  <a:gd name="connsiteY116" fmla="*/ 1009650 h 4496940"/>
                  <a:gd name="connsiteX117" fmla="*/ 440077 w 4519987"/>
                  <a:gd name="connsiteY117" fmla="*/ 904875 h 4496940"/>
                  <a:gd name="connsiteX118" fmla="*/ 478177 w 4519987"/>
                  <a:gd name="connsiteY118" fmla="*/ 857250 h 4496940"/>
                  <a:gd name="connsiteX119" fmla="*/ 497227 w 4519987"/>
                  <a:gd name="connsiteY119" fmla="*/ 828675 h 4496940"/>
                  <a:gd name="connsiteX120" fmla="*/ 535327 w 4519987"/>
                  <a:gd name="connsiteY120" fmla="*/ 800100 h 4496940"/>
                  <a:gd name="connsiteX121" fmla="*/ 602002 w 4519987"/>
                  <a:gd name="connsiteY121" fmla="*/ 733425 h 4496940"/>
                  <a:gd name="connsiteX122" fmla="*/ 668677 w 4519987"/>
                  <a:gd name="connsiteY122" fmla="*/ 676275 h 4496940"/>
                  <a:gd name="connsiteX123" fmla="*/ 697252 w 4519987"/>
                  <a:gd name="connsiteY123" fmla="*/ 657225 h 4496940"/>
                  <a:gd name="connsiteX124" fmla="*/ 840127 w 4519987"/>
                  <a:gd name="connsiteY124" fmla="*/ 533400 h 4496940"/>
                  <a:gd name="connsiteX125" fmla="*/ 887752 w 4519987"/>
                  <a:gd name="connsiteY125" fmla="*/ 504825 h 4496940"/>
                  <a:gd name="connsiteX126" fmla="*/ 1167152 w 4519987"/>
                  <a:gd name="connsiteY126" fmla="*/ 311150 h 4496940"/>
                  <a:gd name="connsiteX127" fmla="*/ 1268752 w 4519987"/>
                  <a:gd name="connsiteY127" fmla="*/ 285750 h 4496940"/>
                  <a:gd name="connsiteX128" fmla="*/ 1411627 w 4519987"/>
                  <a:gd name="connsiteY128" fmla="*/ 190500 h 4496940"/>
                  <a:gd name="connsiteX129" fmla="*/ 1449727 w 4519987"/>
                  <a:gd name="connsiteY129" fmla="*/ 161925 h 4496940"/>
                  <a:gd name="connsiteX130" fmla="*/ 1525927 w 4519987"/>
                  <a:gd name="connsiteY130" fmla="*/ 152400 h 4496940"/>
                  <a:gd name="connsiteX131" fmla="*/ 1583077 w 4519987"/>
                  <a:gd name="connsiteY131" fmla="*/ 142875 h 4496940"/>
                  <a:gd name="connsiteX132" fmla="*/ 1716427 w 4519987"/>
                  <a:gd name="connsiteY132" fmla="*/ 123825 h 4496940"/>
                  <a:gd name="connsiteX133" fmla="*/ 1811677 w 4519987"/>
                  <a:gd name="connsiteY133" fmla="*/ 114300 h 4496940"/>
                  <a:gd name="connsiteX134" fmla="*/ 1859302 w 4519987"/>
                  <a:gd name="connsiteY134" fmla="*/ 104775 h 4496940"/>
                  <a:gd name="connsiteX135" fmla="*/ 1916452 w 4519987"/>
                  <a:gd name="connsiteY135" fmla="*/ 95250 h 4496940"/>
                  <a:gd name="connsiteX136" fmla="*/ 2030752 w 4519987"/>
                  <a:gd name="connsiteY136" fmla="*/ 66675 h 4496940"/>
                  <a:gd name="connsiteX137" fmla="*/ 2097427 w 4519987"/>
                  <a:gd name="connsiteY137" fmla="*/ 47625 h 4496940"/>
                  <a:gd name="connsiteX138" fmla="*/ 2164102 w 4519987"/>
                  <a:gd name="connsiteY138" fmla="*/ 38100 h 4496940"/>
                  <a:gd name="connsiteX139" fmla="*/ 2392702 w 4519987"/>
                  <a:gd name="connsiteY13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83377 w 4519987"/>
                  <a:gd name="connsiteY37" fmla="*/ 3629025 h 4496940"/>
                  <a:gd name="connsiteX38" fmla="*/ 3954802 w 4519987"/>
                  <a:gd name="connsiteY38" fmla="*/ 3648075 h 4496940"/>
                  <a:gd name="connsiteX39" fmla="*/ 3907177 w 4519987"/>
                  <a:gd name="connsiteY39" fmla="*/ 3686175 h 4496940"/>
                  <a:gd name="connsiteX40" fmla="*/ 3869077 w 4519987"/>
                  <a:gd name="connsiteY40" fmla="*/ 3724275 h 4496940"/>
                  <a:gd name="connsiteX41" fmla="*/ 3792877 w 4519987"/>
                  <a:gd name="connsiteY41" fmla="*/ 3781425 h 4496940"/>
                  <a:gd name="connsiteX42" fmla="*/ 3783352 w 4519987"/>
                  <a:gd name="connsiteY42" fmla="*/ 3810000 h 4496940"/>
                  <a:gd name="connsiteX43" fmla="*/ 3745252 w 4519987"/>
                  <a:gd name="connsiteY43" fmla="*/ 3819525 h 4496940"/>
                  <a:gd name="connsiteX44" fmla="*/ 3678577 w 4519987"/>
                  <a:gd name="connsiteY44" fmla="*/ 3848100 h 4496940"/>
                  <a:gd name="connsiteX45" fmla="*/ 3659527 w 4519987"/>
                  <a:gd name="connsiteY45" fmla="*/ 3971925 h 4496940"/>
                  <a:gd name="connsiteX46" fmla="*/ 3630952 w 4519987"/>
                  <a:gd name="connsiteY46" fmla="*/ 4010025 h 4496940"/>
                  <a:gd name="connsiteX47" fmla="*/ 3621427 w 4519987"/>
                  <a:gd name="connsiteY47" fmla="*/ 4038600 h 4496940"/>
                  <a:gd name="connsiteX48" fmla="*/ 3554752 w 4519987"/>
                  <a:gd name="connsiteY48" fmla="*/ 4095750 h 4496940"/>
                  <a:gd name="connsiteX49" fmla="*/ 3516652 w 4519987"/>
                  <a:gd name="connsiteY49" fmla="*/ 4114800 h 4496940"/>
                  <a:gd name="connsiteX50" fmla="*/ 3497602 w 4519987"/>
                  <a:gd name="connsiteY50" fmla="*/ 4143375 h 4496940"/>
                  <a:gd name="connsiteX51" fmla="*/ 3383302 w 4519987"/>
                  <a:gd name="connsiteY51" fmla="*/ 4210050 h 4496940"/>
                  <a:gd name="connsiteX52" fmla="*/ 3335677 w 4519987"/>
                  <a:gd name="connsiteY52" fmla="*/ 4238625 h 4496940"/>
                  <a:gd name="connsiteX53" fmla="*/ 3288052 w 4519987"/>
                  <a:gd name="connsiteY53" fmla="*/ 4248150 h 4496940"/>
                  <a:gd name="connsiteX54" fmla="*/ 3240427 w 4519987"/>
                  <a:gd name="connsiteY54" fmla="*/ 4267200 h 4496940"/>
                  <a:gd name="connsiteX55" fmla="*/ 3068977 w 4519987"/>
                  <a:gd name="connsiteY55" fmla="*/ 4286250 h 4496940"/>
                  <a:gd name="connsiteX56" fmla="*/ 2935627 w 4519987"/>
                  <a:gd name="connsiteY56" fmla="*/ 4333875 h 4496940"/>
                  <a:gd name="connsiteX57" fmla="*/ 2811802 w 4519987"/>
                  <a:gd name="connsiteY57" fmla="*/ 4371975 h 4496940"/>
                  <a:gd name="connsiteX58" fmla="*/ 2745127 w 4519987"/>
                  <a:gd name="connsiteY58" fmla="*/ 4410075 h 4496940"/>
                  <a:gd name="connsiteX59" fmla="*/ 2697502 w 4519987"/>
                  <a:gd name="connsiteY59" fmla="*/ 4429125 h 4496940"/>
                  <a:gd name="connsiteX60" fmla="*/ 2640352 w 4519987"/>
                  <a:gd name="connsiteY60" fmla="*/ 4457700 h 4496940"/>
                  <a:gd name="connsiteX61" fmla="*/ 2583202 w 4519987"/>
                  <a:gd name="connsiteY61" fmla="*/ 4467225 h 4496940"/>
                  <a:gd name="connsiteX62" fmla="*/ 2545102 w 4519987"/>
                  <a:gd name="connsiteY62" fmla="*/ 4486275 h 4496940"/>
                  <a:gd name="connsiteX63" fmla="*/ 2306977 w 4519987"/>
                  <a:gd name="connsiteY63" fmla="*/ 4476750 h 4496940"/>
                  <a:gd name="connsiteX64" fmla="*/ 2202202 w 4519987"/>
                  <a:gd name="connsiteY64" fmla="*/ 4457700 h 4496940"/>
                  <a:gd name="connsiteX65" fmla="*/ 2126002 w 4519987"/>
                  <a:gd name="connsiteY65" fmla="*/ 4429125 h 4496940"/>
                  <a:gd name="connsiteX66" fmla="*/ 1935502 w 4519987"/>
                  <a:gd name="connsiteY66" fmla="*/ 4400550 h 4496940"/>
                  <a:gd name="connsiteX67" fmla="*/ 1821202 w 4519987"/>
                  <a:gd name="connsiteY67" fmla="*/ 4371975 h 4496940"/>
                  <a:gd name="connsiteX68" fmla="*/ 1754527 w 4519987"/>
                  <a:gd name="connsiteY68" fmla="*/ 4352925 h 4496940"/>
                  <a:gd name="connsiteX69" fmla="*/ 1687852 w 4519987"/>
                  <a:gd name="connsiteY69" fmla="*/ 4343400 h 4496940"/>
                  <a:gd name="connsiteX70" fmla="*/ 1573552 w 4519987"/>
                  <a:gd name="connsiteY70" fmla="*/ 4305300 h 4496940"/>
                  <a:gd name="connsiteX71" fmla="*/ 1402102 w 4519987"/>
                  <a:gd name="connsiteY71" fmla="*/ 4276725 h 4496940"/>
                  <a:gd name="connsiteX72" fmla="*/ 1287802 w 4519987"/>
                  <a:gd name="connsiteY72" fmla="*/ 4229100 h 4496940"/>
                  <a:gd name="connsiteX73" fmla="*/ 1221127 w 4519987"/>
                  <a:gd name="connsiteY73" fmla="*/ 4200525 h 4496940"/>
                  <a:gd name="connsiteX74" fmla="*/ 1144927 w 4519987"/>
                  <a:gd name="connsiteY74" fmla="*/ 4171950 h 4496940"/>
                  <a:gd name="connsiteX75" fmla="*/ 1087777 w 4519987"/>
                  <a:gd name="connsiteY75" fmla="*/ 4143375 h 4496940"/>
                  <a:gd name="connsiteX76" fmla="*/ 1030627 w 4519987"/>
                  <a:gd name="connsiteY76" fmla="*/ 4124325 h 4496940"/>
                  <a:gd name="connsiteX77" fmla="*/ 925852 w 4519987"/>
                  <a:gd name="connsiteY77" fmla="*/ 4067175 h 4496940"/>
                  <a:gd name="connsiteX78" fmla="*/ 830602 w 4519987"/>
                  <a:gd name="connsiteY78" fmla="*/ 3981450 h 4496940"/>
                  <a:gd name="connsiteX79" fmla="*/ 763927 w 4519987"/>
                  <a:gd name="connsiteY79" fmla="*/ 3914775 h 4496940"/>
                  <a:gd name="connsiteX80" fmla="*/ 725827 w 4519987"/>
                  <a:gd name="connsiteY80" fmla="*/ 3876675 h 4496940"/>
                  <a:gd name="connsiteX81" fmla="*/ 697252 w 4519987"/>
                  <a:gd name="connsiteY81" fmla="*/ 3838575 h 4496940"/>
                  <a:gd name="connsiteX82" fmla="*/ 640102 w 4519987"/>
                  <a:gd name="connsiteY82" fmla="*/ 3781425 h 4496940"/>
                  <a:gd name="connsiteX83" fmla="*/ 611527 w 4519987"/>
                  <a:gd name="connsiteY83" fmla="*/ 3733800 h 4496940"/>
                  <a:gd name="connsiteX84" fmla="*/ 554377 w 4519987"/>
                  <a:gd name="connsiteY84" fmla="*/ 3657600 h 4496940"/>
                  <a:gd name="connsiteX85" fmla="*/ 525802 w 4519987"/>
                  <a:gd name="connsiteY85" fmla="*/ 3609975 h 4496940"/>
                  <a:gd name="connsiteX86" fmla="*/ 497227 w 4519987"/>
                  <a:gd name="connsiteY86" fmla="*/ 3552825 h 4496940"/>
                  <a:gd name="connsiteX87" fmla="*/ 440077 w 4519987"/>
                  <a:gd name="connsiteY87" fmla="*/ 3495675 h 4496940"/>
                  <a:gd name="connsiteX88" fmla="*/ 411502 w 4519987"/>
                  <a:gd name="connsiteY88" fmla="*/ 3448050 h 4496940"/>
                  <a:gd name="connsiteX89" fmla="*/ 278152 w 4519987"/>
                  <a:gd name="connsiteY89" fmla="*/ 3257550 h 4496940"/>
                  <a:gd name="connsiteX90" fmla="*/ 249577 w 4519987"/>
                  <a:gd name="connsiteY90" fmla="*/ 3200400 h 4496940"/>
                  <a:gd name="connsiteX91" fmla="*/ 240052 w 4519987"/>
                  <a:gd name="connsiteY91" fmla="*/ 3162300 h 4496940"/>
                  <a:gd name="connsiteX92" fmla="*/ 221002 w 4519987"/>
                  <a:gd name="connsiteY92" fmla="*/ 3105150 h 4496940"/>
                  <a:gd name="connsiteX93" fmla="*/ 173377 w 4519987"/>
                  <a:gd name="connsiteY93" fmla="*/ 3019425 h 4496940"/>
                  <a:gd name="connsiteX94" fmla="*/ 144802 w 4519987"/>
                  <a:gd name="connsiteY94" fmla="*/ 2924175 h 4496940"/>
                  <a:gd name="connsiteX95" fmla="*/ 68602 w 4519987"/>
                  <a:gd name="connsiteY95" fmla="*/ 2724150 h 4496940"/>
                  <a:gd name="connsiteX96" fmla="*/ 49552 w 4519987"/>
                  <a:gd name="connsiteY96" fmla="*/ 2638425 h 4496940"/>
                  <a:gd name="connsiteX97" fmla="*/ 40027 w 4519987"/>
                  <a:gd name="connsiteY97" fmla="*/ 2562225 h 4496940"/>
                  <a:gd name="connsiteX98" fmla="*/ 30502 w 4519987"/>
                  <a:gd name="connsiteY98" fmla="*/ 2514600 h 4496940"/>
                  <a:gd name="connsiteX99" fmla="*/ 11452 w 4519987"/>
                  <a:gd name="connsiteY99" fmla="*/ 2400300 h 4496940"/>
                  <a:gd name="connsiteX100" fmla="*/ 20977 w 4519987"/>
                  <a:gd name="connsiteY100" fmla="*/ 1905000 h 4496940"/>
                  <a:gd name="connsiteX101" fmla="*/ 30502 w 4519987"/>
                  <a:gd name="connsiteY101" fmla="*/ 1838325 h 4496940"/>
                  <a:gd name="connsiteX102" fmla="*/ 49552 w 4519987"/>
                  <a:gd name="connsiteY102" fmla="*/ 1781175 h 4496940"/>
                  <a:gd name="connsiteX103" fmla="*/ 59077 w 4519987"/>
                  <a:gd name="connsiteY103" fmla="*/ 1743075 h 4496940"/>
                  <a:gd name="connsiteX104" fmla="*/ 78127 w 4519987"/>
                  <a:gd name="connsiteY104" fmla="*/ 1685925 h 4496940"/>
                  <a:gd name="connsiteX105" fmla="*/ 87652 w 4519987"/>
                  <a:gd name="connsiteY105" fmla="*/ 1638300 h 4496940"/>
                  <a:gd name="connsiteX106" fmla="*/ 106702 w 4519987"/>
                  <a:gd name="connsiteY106" fmla="*/ 1590675 h 4496940"/>
                  <a:gd name="connsiteX107" fmla="*/ 135277 w 4519987"/>
                  <a:gd name="connsiteY107" fmla="*/ 1504950 h 4496940"/>
                  <a:gd name="connsiteX108" fmla="*/ 154327 w 4519987"/>
                  <a:gd name="connsiteY108" fmla="*/ 1419225 h 4496940"/>
                  <a:gd name="connsiteX109" fmla="*/ 230527 w 4519987"/>
                  <a:gd name="connsiteY109" fmla="*/ 1276350 h 4496940"/>
                  <a:gd name="connsiteX110" fmla="*/ 240052 w 4519987"/>
                  <a:gd name="connsiteY110" fmla="*/ 1247775 h 4496940"/>
                  <a:gd name="connsiteX111" fmla="*/ 268627 w 4519987"/>
                  <a:gd name="connsiteY111" fmla="*/ 1200150 h 4496940"/>
                  <a:gd name="connsiteX112" fmla="*/ 287677 w 4519987"/>
                  <a:gd name="connsiteY112" fmla="*/ 1152525 h 4496940"/>
                  <a:gd name="connsiteX113" fmla="*/ 316252 w 4519987"/>
                  <a:gd name="connsiteY113" fmla="*/ 1114425 h 4496940"/>
                  <a:gd name="connsiteX114" fmla="*/ 363877 w 4519987"/>
                  <a:gd name="connsiteY114" fmla="*/ 1038225 h 4496940"/>
                  <a:gd name="connsiteX115" fmla="*/ 382927 w 4519987"/>
                  <a:gd name="connsiteY115" fmla="*/ 1009650 h 4496940"/>
                  <a:gd name="connsiteX116" fmla="*/ 440077 w 4519987"/>
                  <a:gd name="connsiteY116" fmla="*/ 904875 h 4496940"/>
                  <a:gd name="connsiteX117" fmla="*/ 478177 w 4519987"/>
                  <a:gd name="connsiteY117" fmla="*/ 857250 h 4496940"/>
                  <a:gd name="connsiteX118" fmla="*/ 497227 w 4519987"/>
                  <a:gd name="connsiteY118" fmla="*/ 828675 h 4496940"/>
                  <a:gd name="connsiteX119" fmla="*/ 535327 w 4519987"/>
                  <a:gd name="connsiteY119" fmla="*/ 800100 h 4496940"/>
                  <a:gd name="connsiteX120" fmla="*/ 602002 w 4519987"/>
                  <a:gd name="connsiteY120" fmla="*/ 733425 h 4496940"/>
                  <a:gd name="connsiteX121" fmla="*/ 668677 w 4519987"/>
                  <a:gd name="connsiteY121" fmla="*/ 676275 h 4496940"/>
                  <a:gd name="connsiteX122" fmla="*/ 697252 w 4519987"/>
                  <a:gd name="connsiteY122" fmla="*/ 657225 h 4496940"/>
                  <a:gd name="connsiteX123" fmla="*/ 840127 w 4519987"/>
                  <a:gd name="connsiteY123" fmla="*/ 533400 h 4496940"/>
                  <a:gd name="connsiteX124" fmla="*/ 887752 w 4519987"/>
                  <a:gd name="connsiteY124" fmla="*/ 504825 h 4496940"/>
                  <a:gd name="connsiteX125" fmla="*/ 1167152 w 4519987"/>
                  <a:gd name="connsiteY125" fmla="*/ 311150 h 4496940"/>
                  <a:gd name="connsiteX126" fmla="*/ 1268752 w 4519987"/>
                  <a:gd name="connsiteY126" fmla="*/ 285750 h 4496940"/>
                  <a:gd name="connsiteX127" fmla="*/ 1411627 w 4519987"/>
                  <a:gd name="connsiteY127" fmla="*/ 190500 h 4496940"/>
                  <a:gd name="connsiteX128" fmla="*/ 1449727 w 4519987"/>
                  <a:gd name="connsiteY128" fmla="*/ 161925 h 4496940"/>
                  <a:gd name="connsiteX129" fmla="*/ 1525927 w 4519987"/>
                  <a:gd name="connsiteY129" fmla="*/ 152400 h 4496940"/>
                  <a:gd name="connsiteX130" fmla="*/ 1583077 w 4519987"/>
                  <a:gd name="connsiteY130" fmla="*/ 142875 h 4496940"/>
                  <a:gd name="connsiteX131" fmla="*/ 1716427 w 4519987"/>
                  <a:gd name="connsiteY131" fmla="*/ 123825 h 4496940"/>
                  <a:gd name="connsiteX132" fmla="*/ 1811677 w 4519987"/>
                  <a:gd name="connsiteY132" fmla="*/ 114300 h 4496940"/>
                  <a:gd name="connsiteX133" fmla="*/ 1859302 w 4519987"/>
                  <a:gd name="connsiteY133" fmla="*/ 104775 h 4496940"/>
                  <a:gd name="connsiteX134" fmla="*/ 1916452 w 4519987"/>
                  <a:gd name="connsiteY134" fmla="*/ 95250 h 4496940"/>
                  <a:gd name="connsiteX135" fmla="*/ 2030752 w 4519987"/>
                  <a:gd name="connsiteY135" fmla="*/ 66675 h 4496940"/>
                  <a:gd name="connsiteX136" fmla="*/ 2097427 w 4519987"/>
                  <a:gd name="connsiteY136" fmla="*/ 47625 h 4496940"/>
                  <a:gd name="connsiteX137" fmla="*/ 2164102 w 4519987"/>
                  <a:gd name="connsiteY137" fmla="*/ 38100 h 4496940"/>
                  <a:gd name="connsiteX138" fmla="*/ 2392702 w 4519987"/>
                  <a:gd name="connsiteY13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869077 w 4519987"/>
                  <a:gd name="connsiteY39" fmla="*/ 3724275 h 4496940"/>
                  <a:gd name="connsiteX40" fmla="*/ 3792877 w 4519987"/>
                  <a:gd name="connsiteY40" fmla="*/ 3781425 h 4496940"/>
                  <a:gd name="connsiteX41" fmla="*/ 3783352 w 4519987"/>
                  <a:gd name="connsiteY41" fmla="*/ 3810000 h 4496940"/>
                  <a:gd name="connsiteX42" fmla="*/ 3745252 w 4519987"/>
                  <a:gd name="connsiteY42" fmla="*/ 3819525 h 4496940"/>
                  <a:gd name="connsiteX43" fmla="*/ 3678577 w 4519987"/>
                  <a:gd name="connsiteY43" fmla="*/ 3848100 h 4496940"/>
                  <a:gd name="connsiteX44" fmla="*/ 3659527 w 4519987"/>
                  <a:gd name="connsiteY44" fmla="*/ 3971925 h 4496940"/>
                  <a:gd name="connsiteX45" fmla="*/ 3630952 w 4519987"/>
                  <a:gd name="connsiteY45" fmla="*/ 4010025 h 4496940"/>
                  <a:gd name="connsiteX46" fmla="*/ 3621427 w 4519987"/>
                  <a:gd name="connsiteY46" fmla="*/ 4038600 h 4496940"/>
                  <a:gd name="connsiteX47" fmla="*/ 3554752 w 4519987"/>
                  <a:gd name="connsiteY47" fmla="*/ 4095750 h 4496940"/>
                  <a:gd name="connsiteX48" fmla="*/ 3516652 w 4519987"/>
                  <a:gd name="connsiteY48" fmla="*/ 4114800 h 4496940"/>
                  <a:gd name="connsiteX49" fmla="*/ 3497602 w 4519987"/>
                  <a:gd name="connsiteY49" fmla="*/ 4143375 h 4496940"/>
                  <a:gd name="connsiteX50" fmla="*/ 3383302 w 4519987"/>
                  <a:gd name="connsiteY50" fmla="*/ 4210050 h 4496940"/>
                  <a:gd name="connsiteX51" fmla="*/ 3335677 w 4519987"/>
                  <a:gd name="connsiteY51" fmla="*/ 4238625 h 4496940"/>
                  <a:gd name="connsiteX52" fmla="*/ 3288052 w 4519987"/>
                  <a:gd name="connsiteY52" fmla="*/ 4248150 h 4496940"/>
                  <a:gd name="connsiteX53" fmla="*/ 3240427 w 4519987"/>
                  <a:gd name="connsiteY53" fmla="*/ 4267200 h 4496940"/>
                  <a:gd name="connsiteX54" fmla="*/ 3068977 w 4519987"/>
                  <a:gd name="connsiteY54" fmla="*/ 4286250 h 4496940"/>
                  <a:gd name="connsiteX55" fmla="*/ 2935627 w 4519987"/>
                  <a:gd name="connsiteY55" fmla="*/ 4333875 h 4496940"/>
                  <a:gd name="connsiteX56" fmla="*/ 2811802 w 4519987"/>
                  <a:gd name="connsiteY56" fmla="*/ 4371975 h 4496940"/>
                  <a:gd name="connsiteX57" fmla="*/ 2745127 w 4519987"/>
                  <a:gd name="connsiteY57" fmla="*/ 4410075 h 4496940"/>
                  <a:gd name="connsiteX58" fmla="*/ 2697502 w 4519987"/>
                  <a:gd name="connsiteY58" fmla="*/ 4429125 h 4496940"/>
                  <a:gd name="connsiteX59" fmla="*/ 2640352 w 4519987"/>
                  <a:gd name="connsiteY59" fmla="*/ 4457700 h 4496940"/>
                  <a:gd name="connsiteX60" fmla="*/ 2583202 w 4519987"/>
                  <a:gd name="connsiteY60" fmla="*/ 4467225 h 4496940"/>
                  <a:gd name="connsiteX61" fmla="*/ 2545102 w 4519987"/>
                  <a:gd name="connsiteY61" fmla="*/ 4486275 h 4496940"/>
                  <a:gd name="connsiteX62" fmla="*/ 2306977 w 4519987"/>
                  <a:gd name="connsiteY62" fmla="*/ 4476750 h 4496940"/>
                  <a:gd name="connsiteX63" fmla="*/ 2202202 w 4519987"/>
                  <a:gd name="connsiteY63" fmla="*/ 4457700 h 4496940"/>
                  <a:gd name="connsiteX64" fmla="*/ 2126002 w 4519987"/>
                  <a:gd name="connsiteY64" fmla="*/ 4429125 h 4496940"/>
                  <a:gd name="connsiteX65" fmla="*/ 1935502 w 4519987"/>
                  <a:gd name="connsiteY65" fmla="*/ 4400550 h 4496940"/>
                  <a:gd name="connsiteX66" fmla="*/ 1821202 w 4519987"/>
                  <a:gd name="connsiteY66" fmla="*/ 4371975 h 4496940"/>
                  <a:gd name="connsiteX67" fmla="*/ 1754527 w 4519987"/>
                  <a:gd name="connsiteY67" fmla="*/ 4352925 h 4496940"/>
                  <a:gd name="connsiteX68" fmla="*/ 1687852 w 4519987"/>
                  <a:gd name="connsiteY68" fmla="*/ 4343400 h 4496940"/>
                  <a:gd name="connsiteX69" fmla="*/ 1573552 w 4519987"/>
                  <a:gd name="connsiteY69" fmla="*/ 4305300 h 4496940"/>
                  <a:gd name="connsiteX70" fmla="*/ 1402102 w 4519987"/>
                  <a:gd name="connsiteY70" fmla="*/ 4276725 h 4496940"/>
                  <a:gd name="connsiteX71" fmla="*/ 1287802 w 4519987"/>
                  <a:gd name="connsiteY71" fmla="*/ 4229100 h 4496940"/>
                  <a:gd name="connsiteX72" fmla="*/ 1221127 w 4519987"/>
                  <a:gd name="connsiteY72" fmla="*/ 4200525 h 4496940"/>
                  <a:gd name="connsiteX73" fmla="*/ 1144927 w 4519987"/>
                  <a:gd name="connsiteY73" fmla="*/ 4171950 h 4496940"/>
                  <a:gd name="connsiteX74" fmla="*/ 1087777 w 4519987"/>
                  <a:gd name="connsiteY74" fmla="*/ 4143375 h 4496940"/>
                  <a:gd name="connsiteX75" fmla="*/ 1030627 w 4519987"/>
                  <a:gd name="connsiteY75" fmla="*/ 4124325 h 4496940"/>
                  <a:gd name="connsiteX76" fmla="*/ 925852 w 4519987"/>
                  <a:gd name="connsiteY76" fmla="*/ 4067175 h 4496940"/>
                  <a:gd name="connsiteX77" fmla="*/ 830602 w 4519987"/>
                  <a:gd name="connsiteY77" fmla="*/ 3981450 h 4496940"/>
                  <a:gd name="connsiteX78" fmla="*/ 763927 w 4519987"/>
                  <a:gd name="connsiteY78" fmla="*/ 3914775 h 4496940"/>
                  <a:gd name="connsiteX79" fmla="*/ 725827 w 4519987"/>
                  <a:gd name="connsiteY79" fmla="*/ 3876675 h 4496940"/>
                  <a:gd name="connsiteX80" fmla="*/ 697252 w 4519987"/>
                  <a:gd name="connsiteY80" fmla="*/ 3838575 h 4496940"/>
                  <a:gd name="connsiteX81" fmla="*/ 640102 w 4519987"/>
                  <a:gd name="connsiteY81" fmla="*/ 3781425 h 4496940"/>
                  <a:gd name="connsiteX82" fmla="*/ 611527 w 4519987"/>
                  <a:gd name="connsiteY82" fmla="*/ 3733800 h 4496940"/>
                  <a:gd name="connsiteX83" fmla="*/ 554377 w 4519987"/>
                  <a:gd name="connsiteY83" fmla="*/ 3657600 h 4496940"/>
                  <a:gd name="connsiteX84" fmla="*/ 525802 w 4519987"/>
                  <a:gd name="connsiteY84" fmla="*/ 3609975 h 4496940"/>
                  <a:gd name="connsiteX85" fmla="*/ 497227 w 4519987"/>
                  <a:gd name="connsiteY85" fmla="*/ 3552825 h 4496940"/>
                  <a:gd name="connsiteX86" fmla="*/ 440077 w 4519987"/>
                  <a:gd name="connsiteY86" fmla="*/ 3495675 h 4496940"/>
                  <a:gd name="connsiteX87" fmla="*/ 411502 w 4519987"/>
                  <a:gd name="connsiteY87" fmla="*/ 3448050 h 4496940"/>
                  <a:gd name="connsiteX88" fmla="*/ 278152 w 4519987"/>
                  <a:gd name="connsiteY88" fmla="*/ 3257550 h 4496940"/>
                  <a:gd name="connsiteX89" fmla="*/ 249577 w 4519987"/>
                  <a:gd name="connsiteY89" fmla="*/ 3200400 h 4496940"/>
                  <a:gd name="connsiteX90" fmla="*/ 240052 w 4519987"/>
                  <a:gd name="connsiteY90" fmla="*/ 3162300 h 4496940"/>
                  <a:gd name="connsiteX91" fmla="*/ 221002 w 4519987"/>
                  <a:gd name="connsiteY91" fmla="*/ 3105150 h 4496940"/>
                  <a:gd name="connsiteX92" fmla="*/ 173377 w 4519987"/>
                  <a:gd name="connsiteY92" fmla="*/ 3019425 h 4496940"/>
                  <a:gd name="connsiteX93" fmla="*/ 144802 w 4519987"/>
                  <a:gd name="connsiteY93" fmla="*/ 2924175 h 4496940"/>
                  <a:gd name="connsiteX94" fmla="*/ 68602 w 4519987"/>
                  <a:gd name="connsiteY94" fmla="*/ 2724150 h 4496940"/>
                  <a:gd name="connsiteX95" fmla="*/ 49552 w 4519987"/>
                  <a:gd name="connsiteY95" fmla="*/ 2638425 h 4496940"/>
                  <a:gd name="connsiteX96" fmla="*/ 40027 w 4519987"/>
                  <a:gd name="connsiteY96" fmla="*/ 2562225 h 4496940"/>
                  <a:gd name="connsiteX97" fmla="*/ 30502 w 4519987"/>
                  <a:gd name="connsiteY97" fmla="*/ 2514600 h 4496940"/>
                  <a:gd name="connsiteX98" fmla="*/ 11452 w 4519987"/>
                  <a:gd name="connsiteY98" fmla="*/ 2400300 h 4496940"/>
                  <a:gd name="connsiteX99" fmla="*/ 20977 w 4519987"/>
                  <a:gd name="connsiteY99" fmla="*/ 1905000 h 4496940"/>
                  <a:gd name="connsiteX100" fmla="*/ 30502 w 4519987"/>
                  <a:gd name="connsiteY100" fmla="*/ 1838325 h 4496940"/>
                  <a:gd name="connsiteX101" fmla="*/ 49552 w 4519987"/>
                  <a:gd name="connsiteY101" fmla="*/ 1781175 h 4496940"/>
                  <a:gd name="connsiteX102" fmla="*/ 59077 w 4519987"/>
                  <a:gd name="connsiteY102" fmla="*/ 1743075 h 4496940"/>
                  <a:gd name="connsiteX103" fmla="*/ 78127 w 4519987"/>
                  <a:gd name="connsiteY103" fmla="*/ 1685925 h 4496940"/>
                  <a:gd name="connsiteX104" fmla="*/ 87652 w 4519987"/>
                  <a:gd name="connsiteY104" fmla="*/ 1638300 h 4496940"/>
                  <a:gd name="connsiteX105" fmla="*/ 106702 w 4519987"/>
                  <a:gd name="connsiteY105" fmla="*/ 1590675 h 4496940"/>
                  <a:gd name="connsiteX106" fmla="*/ 135277 w 4519987"/>
                  <a:gd name="connsiteY106" fmla="*/ 1504950 h 4496940"/>
                  <a:gd name="connsiteX107" fmla="*/ 154327 w 4519987"/>
                  <a:gd name="connsiteY107" fmla="*/ 1419225 h 4496940"/>
                  <a:gd name="connsiteX108" fmla="*/ 230527 w 4519987"/>
                  <a:gd name="connsiteY108" fmla="*/ 1276350 h 4496940"/>
                  <a:gd name="connsiteX109" fmla="*/ 240052 w 4519987"/>
                  <a:gd name="connsiteY109" fmla="*/ 1247775 h 4496940"/>
                  <a:gd name="connsiteX110" fmla="*/ 268627 w 4519987"/>
                  <a:gd name="connsiteY110" fmla="*/ 1200150 h 4496940"/>
                  <a:gd name="connsiteX111" fmla="*/ 287677 w 4519987"/>
                  <a:gd name="connsiteY111" fmla="*/ 1152525 h 4496940"/>
                  <a:gd name="connsiteX112" fmla="*/ 316252 w 4519987"/>
                  <a:gd name="connsiteY112" fmla="*/ 1114425 h 4496940"/>
                  <a:gd name="connsiteX113" fmla="*/ 363877 w 4519987"/>
                  <a:gd name="connsiteY113" fmla="*/ 1038225 h 4496940"/>
                  <a:gd name="connsiteX114" fmla="*/ 382927 w 4519987"/>
                  <a:gd name="connsiteY114" fmla="*/ 1009650 h 4496940"/>
                  <a:gd name="connsiteX115" fmla="*/ 440077 w 4519987"/>
                  <a:gd name="connsiteY115" fmla="*/ 904875 h 4496940"/>
                  <a:gd name="connsiteX116" fmla="*/ 478177 w 4519987"/>
                  <a:gd name="connsiteY116" fmla="*/ 857250 h 4496940"/>
                  <a:gd name="connsiteX117" fmla="*/ 497227 w 4519987"/>
                  <a:gd name="connsiteY117" fmla="*/ 828675 h 4496940"/>
                  <a:gd name="connsiteX118" fmla="*/ 535327 w 4519987"/>
                  <a:gd name="connsiteY118" fmla="*/ 800100 h 4496940"/>
                  <a:gd name="connsiteX119" fmla="*/ 602002 w 4519987"/>
                  <a:gd name="connsiteY119" fmla="*/ 733425 h 4496940"/>
                  <a:gd name="connsiteX120" fmla="*/ 668677 w 4519987"/>
                  <a:gd name="connsiteY120" fmla="*/ 676275 h 4496940"/>
                  <a:gd name="connsiteX121" fmla="*/ 697252 w 4519987"/>
                  <a:gd name="connsiteY121" fmla="*/ 657225 h 4496940"/>
                  <a:gd name="connsiteX122" fmla="*/ 840127 w 4519987"/>
                  <a:gd name="connsiteY122" fmla="*/ 533400 h 4496940"/>
                  <a:gd name="connsiteX123" fmla="*/ 887752 w 4519987"/>
                  <a:gd name="connsiteY123" fmla="*/ 504825 h 4496940"/>
                  <a:gd name="connsiteX124" fmla="*/ 1167152 w 4519987"/>
                  <a:gd name="connsiteY124" fmla="*/ 311150 h 4496940"/>
                  <a:gd name="connsiteX125" fmla="*/ 1268752 w 4519987"/>
                  <a:gd name="connsiteY125" fmla="*/ 285750 h 4496940"/>
                  <a:gd name="connsiteX126" fmla="*/ 1411627 w 4519987"/>
                  <a:gd name="connsiteY126" fmla="*/ 190500 h 4496940"/>
                  <a:gd name="connsiteX127" fmla="*/ 1449727 w 4519987"/>
                  <a:gd name="connsiteY127" fmla="*/ 161925 h 4496940"/>
                  <a:gd name="connsiteX128" fmla="*/ 1525927 w 4519987"/>
                  <a:gd name="connsiteY128" fmla="*/ 152400 h 4496940"/>
                  <a:gd name="connsiteX129" fmla="*/ 1583077 w 4519987"/>
                  <a:gd name="connsiteY129" fmla="*/ 142875 h 4496940"/>
                  <a:gd name="connsiteX130" fmla="*/ 1716427 w 4519987"/>
                  <a:gd name="connsiteY130" fmla="*/ 123825 h 4496940"/>
                  <a:gd name="connsiteX131" fmla="*/ 1811677 w 4519987"/>
                  <a:gd name="connsiteY131" fmla="*/ 114300 h 4496940"/>
                  <a:gd name="connsiteX132" fmla="*/ 1859302 w 4519987"/>
                  <a:gd name="connsiteY132" fmla="*/ 104775 h 4496940"/>
                  <a:gd name="connsiteX133" fmla="*/ 1916452 w 4519987"/>
                  <a:gd name="connsiteY133" fmla="*/ 95250 h 4496940"/>
                  <a:gd name="connsiteX134" fmla="*/ 2030752 w 4519987"/>
                  <a:gd name="connsiteY134" fmla="*/ 66675 h 4496940"/>
                  <a:gd name="connsiteX135" fmla="*/ 2097427 w 4519987"/>
                  <a:gd name="connsiteY135" fmla="*/ 47625 h 4496940"/>
                  <a:gd name="connsiteX136" fmla="*/ 2164102 w 4519987"/>
                  <a:gd name="connsiteY136" fmla="*/ 38100 h 4496940"/>
                  <a:gd name="connsiteX137" fmla="*/ 2392702 w 4519987"/>
                  <a:gd name="connsiteY13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783352 w 4519987"/>
                  <a:gd name="connsiteY40" fmla="*/ 3810000 h 4496940"/>
                  <a:gd name="connsiteX41" fmla="*/ 3745252 w 4519987"/>
                  <a:gd name="connsiteY41" fmla="*/ 3819525 h 4496940"/>
                  <a:gd name="connsiteX42" fmla="*/ 3678577 w 4519987"/>
                  <a:gd name="connsiteY42" fmla="*/ 3848100 h 4496940"/>
                  <a:gd name="connsiteX43" fmla="*/ 3659527 w 4519987"/>
                  <a:gd name="connsiteY43" fmla="*/ 3971925 h 4496940"/>
                  <a:gd name="connsiteX44" fmla="*/ 3630952 w 4519987"/>
                  <a:gd name="connsiteY44" fmla="*/ 4010025 h 4496940"/>
                  <a:gd name="connsiteX45" fmla="*/ 3621427 w 4519987"/>
                  <a:gd name="connsiteY45" fmla="*/ 4038600 h 4496940"/>
                  <a:gd name="connsiteX46" fmla="*/ 3554752 w 4519987"/>
                  <a:gd name="connsiteY46" fmla="*/ 4095750 h 4496940"/>
                  <a:gd name="connsiteX47" fmla="*/ 3516652 w 4519987"/>
                  <a:gd name="connsiteY47" fmla="*/ 4114800 h 4496940"/>
                  <a:gd name="connsiteX48" fmla="*/ 3497602 w 4519987"/>
                  <a:gd name="connsiteY48" fmla="*/ 4143375 h 4496940"/>
                  <a:gd name="connsiteX49" fmla="*/ 3383302 w 4519987"/>
                  <a:gd name="connsiteY49" fmla="*/ 4210050 h 4496940"/>
                  <a:gd name="connsiteX50" fmla="*/ 3335677 w 4519987"/>
                  <a:gd name="connsiteY50" fmla="*/ 4238625 h 4496940"/>
                  <a:gd name="connsiteX51" fmla="*/ 3288052 w 4519987"/>
                  <a:gd name="connsiteY51" fmla="*/ 4248150 h 4496940"/>
                  <a:gd name="connsiteX52" fmla="*/ 3240427 w 4519987"/>
                  <a:gd name="connsiteY52" fmla="*/ 4267200 h 4496940"/>
                  <a:gd name="connsiteX53" fmla="*/ 3068977 w 4519987"/>
                  <a:gd name="connsiteY53" fmla="*/ 4286250 h 4496940"/>
                  <a:gd name="connsiteX54" fmla="*/ 2935627 w 4519987"/>
                  <a:gd name="connsiteY54" fmla="*/ 4333875 h 4496940"/>
                  <a:gd name="connsiteX55" fmla="*/ 2811802 w 4519987"/>
                  <a:gd name="connsiteY55" fmla="*/ 4371975 h 4496940"/>
                  <a:gd name="connsiteX56" fmla="*/ 2745127 w 4519987"/>
                  <a:gd name="connsiteY56" fmla="*/ 4410075 h 4496940"/>
                  <a:gd name="connsiteX57" fmla="*/ 2697502 w 4519987"/>
                  <a:gd name="connsiteY57" fmla="*/ 4429125 h 4496940"/>
                  <a:gd name="connsiteX58" fmla="*/ 2640352 w 4519987"/>
                  <a:gd name="connsiteY58" fmla="*/ 4457700 h 4496940"/>
                  <a:gd name="connsiteX59" fmla="*/ 2583202 w 4519987"/>
                  <a:gd name="connsiteY59" fmla="*/ 4467225 h 4496940"/>
                  <a:gd name="connsiteX60" fmla="*/ 2545102 w 4519987"/>
                  <a:gd name="connsiteY60" fmla="*/ 4486275 h 4496940"/>
                  <a:gd name="connsiteX61" fmla="*/ 2306977 w 4519987"/>
                  <a:gd name="connsiteY61" fmla="*/ 4476750 h 4496940"/>
                  <a:gd name="connsiteX62" fmla="*/ 2202202 w 4519987"/>
                  <a:gd name="connsiteY62" fmla="*/ 4457700 h 4496940"/>
                  <a:gd name="connsiteX63" fmla="*/ 2126002 w 4519987"/>
                  <a:gd name="connsiteY63" fmla="*/ 4429125 h 4496940"/>
                  <a:gd name="connsiteX64" fmla="*/ 1935502 w 4519987"/>
                  <a:gd name="connsiteY64" fmla="*/ 4400550 h 4496940"/>
                  <a:gd name="connsiteX65" fmla="*/ 1821202 w 4519987"/>
                  <a:gd name="connsiteY65" fmla="*/ 4371975 h 4496940"/>
                  <a:gd name="connsiteX66" fmla="*/ 1754527 w 4519987"/>
                  <a:gd name="connsiteY66" fmla="*/ 4352925 h 4496940"/>
                  <a:gd name="connsiteX67" fmla="*/ 1687852 w 4519987"/>
                  <a:gd name="connsiteY67" fmla="*/ 4343400 h 4496940"/>
                  <a:gd name="connsiteX68" fmla="*/ 1573552 w 4519987"/>
                  <a:gd name="connsiteY68" fmla="*/ 4305300 h 4496940"/>
                  <a:gd name="connsiteX69" fmla="*/ 1402102 w 4519987"/>
                  <a:gd name="connsiteY69" fmla="*/ 4276725 h 4496940"/>
                  <a:gd name="connsiteX70" fmla="*/ 1287802 w 4519987"/>
                  <a:gd name="connsiteY70" fmla="*/ 4229100 h 4496940"/>
                  <a:gd name="connsiteX71" fmla="*/ 1221127 w 4519987"/>
                  <a:gd name="connsiteY71" fmla="*/ 4200525 h 4496940"/>
                  <a:gd name="connsiteX72" fmla="*/ 1144927 w 4519987"/>
                  <a:gd name="connsiteY72" fmla="*/ 4171950 h 4496940"/>
                  <a:gd name="connsiteX73" fmla="*/ 1087777 w 4519987"/>
                  <a:gd name="connsiteY73" fmla="*/ 4143375 h 4496940"/>
                  <a:gd name="connsiteX74" fmla="*/ 1030627 w 4519987"/>
                  <a:gd name="connsiteY74" fmla="*/ 4124325 h 4496940"/>
                  <a:gd name="connsiteX75" fmla="*/ 925852 w 4519987"/>
                  <a:gd name="connsiteY75" fmla="*/ 4067175 h 4496940"/>
                  <a:gd name="connsiteX76" fmla="*/ 830602 w 4519987"/>
                  <a:gd name="connsiteY76" fmla="*/ 3981450 h 4496940"/>
                  <a:gd name="connsiteX77" fmla="*/ 763927 w 4519987"/>
                  <a:gd name="connsiteY77" fmla="*/ 3914775 h 4496940"/>
                  <a:gd name="connsiteX78" fmla="*/ 725827 w 4519987"/>
                  <a:gd name="connsiteY78" fmla="*/ 3876675 h 4496940"/>
                  <a:gd name="connsiteX79" fmla="*/ 697252 w 4519987"/>
                  <a:gd name="connsiteY79" fmla="*/ 3838575 h 4496940"/>
                  <a:gd name="connsiteX80" fmla="*/ 640102 w 4519987"/>
                  <a:gd name="connsiteY80" fmla="*/ 3781425 h 4496940"/>
                  <a:gd name="connsiteX81" fmla="*/ 611527 w 4519987"/>
                  <a:gd name="connsiteY81" fmla="*/ 3733800 h 4496940"/>
                  <a:gd name="connsiteX82" fmla="*/ 554377 w 4519987"/>
                  <a:gd name="connsiteY82" fmla="*/ 3657600 h 4496940"/>
                  <a:gd name="connsiteX83" fmla="*/ 525802 w 4519987"/>
                  <a:gd name="connsiteY83" fmla="*/ 3609975 h 4496940"/>
                  <a:gd name="connsiteX84" fmla="*/ 497227 w 4519987"/>
                  <a:gd name="connsiteY84" fmla="*/ 3552825 h 4496940"/>
                  <a:gd name="connsiteX85" fmla="*/ 440077 w 4519987"/>
                  <a:gd name="connsiteY85" fmla="*/ 3495675 h 4496940"/>
                  <a:gd name="connsiteX86" fmla="*/ 411502 w 4519987"/>
                  <a:gd name="connsiteY86" fmla="*/ 3448050 h 4496940"/>
                  <a:gd name="connsiteX87" fmla="*/ 278152 w 4519987"/>
                  <a:gd name="connsiteY87" fmla="*/ 3257550 h 4496940"/>
                  <a:gd name="connsiteX88" fmla="*/ 249577 w 4519987"/>
                  <a:gd name="connsiteY88" fmla="*/ 3200400 h 4496940"/>
                  <a:gd name="connsiteX89" fmla="*/ 240052 w 4519987"/>
                  <a:gd name="connsiteY89" fmla="*/ 3162300 h 4496940"/>
                  <a:gd name="connsiteX90" fmla="*/ 221002 w 4519987"/>
                  <a:gd name="connsiteY90" fmla="*/ 3105150 h 4496940"/>
                  <a:gd name="connsiteX91" fmla="*/ 173377 w 4519987"/>
                  <a:gd name="connsiteY91" fmla="*/ 3019425 h 4496940"/>
                  <a:gd name="connsiteX92" fmla="*/ 144802 w 4519987"/>
                  <a:gd name="connsiteY92" fmla="*/ 2924175 h 4496940"/>
                  <a:gd name="connsiteX93" fmla="*/ 68602 w 4519987"/>
                  <a:gd name="connsiteY93" fmla="*/ 2724150 h 4496940"/>
                  <a:gd name="connsiteX94" fmla="*/ 49552 w 4519987"/>
                  <a:gd name="connsiteY94" fmla="*/ 2638425 h 4496940"/>
                  <a:gd name="connsiteX95" fmla="*/ 40027 w 4519987"/>
                  <a:gd name="connsiteY95" fmla="*/ 2562225 h 4496940"/>
                  <a:gd name="connsiteX96" fmla="*/ 30502 w 4519987"/>
                  <a:gd name="connsiteY96" fmla="*/ 2514600 h 4496940"/>
                  <a:gd name="connsiteX97" fmla="*/ 11452 w 4519987"/>
                  <a:gd name="connsiteY97" fmla="*/ 2400300 h 4496940"/>
                  <a:gd name="connsiteX98" fmla="*/ 20977 w 4519987"/>
                  <a:gd name="connsiteY98" fmla="*/ 1905000 h 4496940"/>
                  <a:gd name="connsiteX99" fmla="*/ 30502 w 4519987"/>
                  <a:gd name="connsiteY99" fmla="*/ 1838325 h 4496940"/>
                  <a:gd name="connsiteX100" fmla="*/ 49552 w 4519987"/>
                  <a:gd name="connsiteY100" fmla="*/ 1781175 h 4496940"/>
                  <a:gd name="connsiteX101" fmla="*/ 59077 w 4519987"/>
                  <a:gd name="connsiteY101" fmla="*/ 1743075 h 4496940"/>
                  <a:gd name="connsiteX102" fmla="*/ 78127 w 4519987"/>
                  <a:gd name="connsiteY102" fmla="*/ 1685925 h 4496940"/>
                  <a:gd name="connsiteX103" fmla="*/ 87652 w 4519987"/>
                  <a:gd name="connsiteY103" fmla="*/ 1638300 h 4496940"/>
                  <a:gd name="connsiteX104" fmla="*/ 106702 w 4519987"/>
                  <a:gd name="connsiteY104" fmla="*/ 1590675 h 4496940"/>
                  <a:gd name="connsiteX105" fmla="*/ 135277 w 4519987"/>
                  <a:gd name="connsiteY105" fmla="*/ 1504950 h 4496940"/>
                  <a:gd name="connsiteX106" fmla="*/ 154327 w 4519987"/>
                  <a:gd name="connsiteY106" fmla="*/ 1419225 h 4496940"/>
                  <a:gd name="connsiteX107" fmla="*/ 230527 w 4519987"/>
                  <a:gd name="connsiteY107" fmla="*/ 1276350 h 4496940"/>
                  <a:gd name="connsiteX108" fmla="*/ 240052 w 4519987"/>
                  <a:gd name="connsiteY108" fmla="*/ 1247775 h 4496940"/>
                  <a:gd name="connsiteX109" fmla="*/ 268627 w 4519987"/>
                  <a:gd name="connsiteY109" fmla="*/ 1200150 h 4496940"/>
                  <a:gd name="connsiteX110" fmla="*/ 287677 w 4519987"/>
                  <a:gd name="connsiteY110" fmla="*/ 1152525 h 4496940"/>
                  <a:gd name="connsiteX111" fmla="*/ 316252 w 4519987"/>
                  <a:gd name="connsiteY111" fmla="*/ 1114425 h 4496940"/>
                  <a:gd name="connsiteX112" fmla="*/ 363877 w 4519987"/>
                  <a:gd name="connsiteY112" fmla="*/ 1038225 h 4496940"/>
                  <a:gd name="connsiteX113" fmla="*/ 382927 w 4519987"/>
                  <a:gd name="connsiteY113" fmla="*/ 1009650 h 4496940"/>
                  <a:gd name="connsiteX114" fmla="*/ 440077 w 4519987"/>
                  <a:gd name="connsiteY114" fmla="*/ 904875 h 4496940"/>
                  <a:gd name="connsiteX115" fmla="*/ 478177 w 4519987"/>
                  <a:gd name="connsiteY115" fmla="*/ 857250 h 4496940"/>
                  <a:gd name="connsiteX116" fmla="*/ 497227 w 4519987"/>
                  <a:gd name="connsiteY116" fmla="*/ 828675 h 4496940"/>
                  <a:gd name="connsiteX117" fmla="*/ 535327 w 4519987"/>
                  <a:gd name="connsiteY117" fmla="*/ 800100 h 4496940"/>
                  <a:gd name="connsiteX118" fmla="*/ 602002 w 4519987"/>
                  <a:gd name="connsiteY118" fmla="*/ 733425 h 4496940"/>
                  <a:gd name="connsiteX119" fmla="*/ 668677 w 4519987"/>
                  <a:gd name="connsiteY119" fmla="*/ 676275 h 4496940"/>
                  <a:gd name="connsiteX120" fmla="*/ 697252 w 4519987"/>
                  <a:gd name="connsiteY120" fmla="*/ 657225 h 4496940"/>
                  <a:gd name="connsiteX121" fmla="*/ 840127 w 4519987"/>
                  <a:gd name="connsiteY121" fmla="*/ 533400 h 4496940"/>
                  <a:gd name="connsiteX122" fmla="*/ 887752 w 4519987"/>
                  <a:gd name="connsiteY122" fmla="*/ 504825 h 4496940"/>
                  <a:gd name="connsiteX123" fmla="*/ 1167152 w 4519987"/>
                  <a:gd name="connsiteY123" fmla="*/ 311150 h 4496940"/>
                  <a:gd name="connsiteX124" fmla="*/ 1268752 w 4519987"/>
                  <a:gd name="connsiteY124" fmla="*/ 285750 h 4496940"/>
                  <a:gd name="connsiteX125" fmla="*/ 1411627 w 4519987"/>
                  <a:gd name="connsiteY125" fmla="*/ 190500 h 4496940"/>
                  <a:gd name="connsiteX126" fmla="*/ 1449727 w 4519987"/>
                  <a:gd name="connsiteY126" fmla="*/ 161925 h 4496940"/>
                  <a:gd name="connsiteX127" fmla="*/ 1525927 w 4519987"/>
                  <a:gd name="connsiteY127" fmla="*/ 152400 h 4496940"/>
                  <a:gd name="connsiteX128" fmla="*/ 1583077 w 4519987"/>
                  <a:gd name="connsiteY128" fmla="*/ 142875 h 4496940"/>
                  <a:gd name="connsiteX129" fmla="*/ 1716427 w 4519987"/>
                  <a:gd name="connsiteY129" fmla="*/ 123825 h 4496940"/>
                  <a:gd name="connsiteX130" fmla="*/ 1811677 w 4519987"/>
                  <a:gd name="connsiteY130" fmla="*/ 114300 h 4496940"/>
                  <a:gd name="connsiteX131" fmla="*/ 1859302 w 4519987"/>
                  <a:gd name="connsiteY131" fmla="*/ 104775 h 4496940"/>
                  <a:gd name="connsiteX132" fmla="*/ 1916452 w 4519987"/>
                  <a:gd name="connsiteY132" fmla="*/ 95250 h 4496940"/>
                  <a:gd name="connsiteX133" fmla="*/ 2030752 w 4519987"/>
                  <a:gd name="connsiteY133" fmla="*/ 66675 h 4496940"/>
                  <a:gd name="connsiteX134" fmla="*/ 2097427 w 4519987"/>
                  <a:gd name="connsiteY134" fmla="*/ 47625 h 4496940"/>
                  <a:gd name="connsiteX135" fmla="*/ 2164102 w 4519987"/>
                  <a:gd name="connsiteY135" fmla="*/ 38100 h 4496940"/>
                  <a:gd name="connsiteX136" fmla="*/ 2392702 w 4519987"/>
                  <a:gd name="connsiteY13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783352 w 4519987"/>
                  <a:gd name="connsiteY40" fmla="*/ 3810000 h 4496940"/>
                  <a:gd name="connsiteX41" fmla="*/ 3678577 w 4519987"/>
                  <a:gd name="connsiteY41" fmla="*/ 3848100 h 4496940"/>
                  <a:gd name="connsiteX42" fmla="*/ 3659527 w 4519987"/>
                  <a:gd name="connsiteY42" fmla="*/ 3971925 h 4496940"/>
                  <a:gd name="connsiteX43" fmla="*/ 3630952 w 4519987"/>
                  <a:gd name="connsiteY43" fmla="*/ 4010025 h 4496940"/>
                  <a:gd name="connsiteX44" fmla="*/ 3621427 w 4519987"/>
                  <a:gd name="connsiteY44" fmla="*/ 4038600 h 4496940"/>
                  <a:gd name="connsiteX45" fmla="*/ 3554752 w 4519987"/>
                  <a:gd name="connsiteY45" fmla="*/ 4095750 h 4496940"/>
                  <a:gd name="connsiteX46" fmla="*/ 3516652 w 4519987"/>
                  <a:gd name="connsiteY46" fmla="*/ 4114800 h 4496940"/>
                  <a:gd name="connsiteX47" fmla="*/ 3497602 w 4519987"/>
                  <a:gd name="connsiteY47" fmla="*/ 4143375 h 4496940"/>
                  <a:gd name="connsiteX48" fmla="*/ 3383302 w 4519987"/>
                  <a:gd name="connsiteY48" fmla="*/ 4210050 h 4496940"/>
                  <a:gd name="connsiteX49" fmla="*/ 3335677 w 4519987"/>
                  <a:gd name="connsiteY49" fmla="*/ 4238625 h 4496940"/>
                  <a:gd name="connsiteX50" fmla="*/ 3288052 w 4519987"/>
                  <a:gd name="connsiteY50" fmla="*/ 4248150 h 4496940"/>
                  <a:gd name="connsiteX51" fmla="*/ 3240427 w 4519987"/>
                  <a:gd name="connsiteY51" fmla="*/ 4267200 h 4496940"/>
                  <a:gd name="connsiteX52" fmla="*/ 3068977 w 4519987"/>
                  <a:gd name="connsiteY52" fmla="*/ 4286250 h 4496940"/>
                  <a:gd name="connsiteX53" fmla="*/ 2935627 w 4519987"/>
                  <a:gd name="connsiteY53" fmla="*/ 4333875 h 4496940"/>
                  <a:gd name="connsiteX54" fmla="*/ 2811802 w 4519987"/>
                  <a:gd name="connsiteY54" fmla="*/ 4371975 h 4496940"/>
                  <a:gd name="connsiteX55" fmla="*/ 2745127 w 4519987"/>
                  <a:gd name="connsiteY55" fmla="*/ 4410075 h 4496940"/>
                  <a:gd name="connsiteX56" fmla="*/ 2697502 w 4519987"/>
                  <a:gd name="connsiteY56" fmla="*/ 4429125 h 4496940"/>
                  <a:gd name="connsiteX57" fmla="*/ 2640352 w 4519987"/>
                  <a:gd name="connsiteY57" fmla="*/ 4457700 h 4496940"/>
                  <a:gd name="connsiteX58" fmla="*/ 2583202 w 4519987"/>
                  <a:gd name="connsiteY58" fmla="*/ 4467225 h 4496940"/>
                  <a:gd name="connsiteX59" fmla="*/ 2545102 w 4519987"/>
                  <a:gd name="connsiteY59" fmla="*/ 4486275 h 4496940"/>
                  <a:gd name="connsiteX60" fmla="*/ 2306977 w 4519987"/>
                  <a:gd name="connsiteY60" fmla="*/ 4476750 h 4496940"/>
                  <a:gd name="connsiteX61" fmla="*/ 2202202 w 4519987"/>
                  <a:gd name="connsiteY61" fmla="*/ 4457700 h 4496940"/>
                  <a:gd name="connsiteX62" fmla="*/ 2126002 w 4519987"/>
                  <a:gd name="connsiteY62" fmla="*/ 4429125 h 4496940"/>
                  <a:gd name="connsiteX63" fmla="*/ 1935502 w 4519987"/>
                  <a:gd name="connsiteY63" fmla="*/ 4400550 h 4496940"/>
                  <a:gd name="connsiteX64" fmla="*/ 1821202 w 4519987"/>
                  <a:gd name="connsiteY64" fmla="*/ 4371975 h 4496940"/>
                  <a:gd name="connsiteX65" fmla="*/ 1754527 w 4519987"/>
                  <a:gd name="connsiteY65" fmla="*/ 4352925 h 4496940"/>
                  <a:gd name="connsiteX66" fmla="*/ 1687852 w 4519987"/>
                  <a:gd name="connsiteY66" fmla="*/ 4343400 h 4496940"/>
                  <a:gd name="connsiteX67" fmla="*/ 1573552 w 4519987"/>
                  <a:gd name="connsiteY67" fmla="*/ 4305300 h 4496940"/>
                  <a:gd name="connsiteX68" fmla="*/ 1402102 w 4519987"/>
                  <a:gd name="connsiteY68" fmla="*/ 4276725 h 4496940"/>
                  <a:gd name="connsiteX69" fmla="*/ 1287802 w 4519987"/>
                  <a:gd name="connsiteY69" fmla="*/ 4229100 h 4496940"/>
                  <a:gd name="connsiteX70" fmla="*/ 1221127 w 4519987"/>
                  <a:gd name="connsiteY70" fmla="*/ 4200525 h 4496940"/>
                  <a:gd name="connsiteX71" fmla="*/ 1144927 w 4519987"/>
                  <a:gd name="connsiteY71" fmla="*/ 4171950 h 4496940"/>
                  <a:gd name="connsiteX72" fmla="*/ 1087777 w 4519987"/>
                  <a:gd name="connsiteY72" fmla="*/ 4143375 h 4496940"/>
                  <a:gd name="connsiteX73" fmla="*/ 1030627 w 4519987"/>
                  <a:gd name="connsiteY73" fmla="*/ 4124325 h 4496940"/>
                  <a:gd name="connsiteX74" fmla="*/ 925852 w 4519987"/>
                  <a:gd name="connsiteY74" fmla="*/ 4067175 h 4496940"/>
                  <a:gd name="connsiteX75" fmla="*/ 830602 w 4519987"/>
                  <a:gd name="connsiteY75" fmla="*/ 3981450 h 4496940"/>
                  <a:gd name="connsiteX76" fmla="*/ 763927 w 4519987"/>
                  <a:gd name="connsiteY76" fmla="*/ 3914775 h 4496940"/>
                  <a:gd name="connsiteX77" fmla="*/ 725827 w 4519987"/>
                  <a:gd name="connsiteY77" fmla="*/ 3876675 h 4496940"/>
                  <a:gd name="connsiteX78" fmla="*/ 697252 w 4519987"/>
                  <a:gd name="connsiteY78" fmla="*/ 3838575 h 4496940"/>
                  <a:gd name="connsiteX79" fmla="*/ 640102 w 4519987"/>
                  <a:gd name="connsiteY79" fmla="*/ 3781425 h 4496940"/>
                  <a:gd name="connsiteX80" fmla="*/ 611527 w 4519987"/>
                  <a:gd name="connsiteY80" fmla="*/ 3733800 h 4496940"/>
                  <a:gd name="connsiteX81" fmla="*/ 554377 w 4519987"/>
                  <a:gd name="connsiteY81" fmla="*/ 3657600 h 4496940"/>
                  <a:gd name="connsiteX82" fmla="*/ 525802 w 4519987"/>
                  <a:gd name="connsiteY82" fmla="*/ 3609975 h 4496940"/>
                  <a:gd name="connsiteX83" fmla="*/ 497227 w 4519987"/>
                  <a:gd name="connsiteY83" fmla="*/ 3552825 h 4496940"/>
                  <a:gd name="connsiteX84" fmla="*/ 440077 w 4519987"/>
                  <a:gd name="connsiteY84" fmla="*/ 3495675 h 4496940"/>
                  <a:gd name="connsiteX85" fmla="*/ 411502 w 4519987"/>
                  <a:gd name="connsiteY85" fmla="*/ 3448050 h 4496940"/>
                  <a:gd name="connsiteX86" fmla="*/ 278152 w 4519987"/>
                  <a:gd name="connsiteY86" fmla="*/ 3257550 h 4496940"/>
                  <a:gd name="connsiteX87" fmla="*/ 249577 w 4519987"/>
                  <a:gd name="connsiteY87" fmla="*/ 3200400 h 4496940"/>
                  <a:gd name="connsiteX88" fmla="*/ 240052 w 4519987"/>
                  <a:gd name="connsiteY88" fmla="*/ 3162300 h 4496940"/>
                  <a:gd name="connsiteX89" fmla="*/ 221002 w 4519987"/>
                  <a:gd name="connsiteY89" fmla="*/ 3105150 h 4496940"/>
                  <a:gd name="connsiteX90" fmla="*/ 173377 w 4519987"/>
                  <a:gd name="connsiteY90" fmla="*/ 3019425 h 4496940"/>
                  <a:gd name="connsiteX91" fmla="*/ 144802 w 4519987"/>
                  <a:gd name="connsiteY91" fmla="*/ 2924175 h 4496940"/>
                  <a:gd name="connsiteX92" fmla="*/ 68602 w 4519987"/>
                  <a:gd name="connsiteY92" fmla="*/ 2724150 h 4496940"/>
                  <a:gd name="connsiteX93" fmla="*/ 49552 w 4519987"/>
                  <a:gd name="connsiteY93" fmla="*/ 2638425 h 4496940"/>
                  <a:gd name="connsiteX94" fmla="*/ 40027 w 4519987"/>
                  <a:gd name="connsiteY94" fmla="*/ 2562225 h 4496940"/>
                  <a:gd name="connsiteX95" fmla="*/ 30502 w 4519987"/>
                  <a:gd name="connsiteY95" fmla="*/ 2514600 h 4496940"/>
                  <a:gd name="connsiteX96" fmla="*/ 11452 w 4519987"/>
                  <a:gd name="connsiteY96" fmla="*/ 2400300 h 4496940"/>
                  <a:gd name="connsiteX97" fmla="*/ 20977 w 4519987"/>
                  <a:gd name="connsiteY97" fmla="*/ 1905000 h 4496940"/>
                  <a:gd name="connsiteX98" fmla="*/ 30502 w 4519987"/>
                  <a:gd name="connsiteY98" fmla="*/ 1838325 h 4496940"/>
                  <a:gd name="connsiteX99" fmla="*/ 49552 w 4519987"/>
                  <a:gd name="connsiteY99" fmla="*/ 1781175 h 4496940"/>
                  <a:gd name="connsiteX100" fmla="*/ 59077 w 4519987"/>
                  <a:gd name="connsiteY100" fmla="*/ 1743075 h 4496940"/>
                  <a:gd name="connsiteX101" fmla="*/ 78127 w 4519987"/>
                  <a:gd name="connsiteY101" fmla="*/ 1685925 h 4496940"/>
                  <a:gd name="connsiteX102" fmla="*/ 87652 w 4519987"/>
                  <a:gd name="connsiteY102" fmla="*/ 1638300 h 4496940"/>
                  <a:gd name="connsiteX103" fmla="*/ 106702 w 4519987"/>
                  <a:gd name="connsiteY103" fmla="*/ 1590675 h 4496940"/>
                  <a:gd name="connsiteX104" fmla="*/ 135277 w 4519987"/>
                  <a:gd name="connsiteY104" fmla="*/ 1504950 h 4496940"/>
                  <a:gd name="connsiteX105" fmla="*/ 154327 w 4519987"/>
                  <a:gd name="connsiteY105" fmla="*/ 1419225 h 4496940"/>
                  <a:gd name="connsiteX106" fmla="*/ 230527 w 4519987"/>
                  <a:gd name="connsiteY106" fmla="*/ 1276350 h 4496940"/>
                  <a:gd name="connsiteX107" fmla="*/ 240052 w 4519987"/>
                  <a:gd name="connsiteY107" fmla="*/ 1247775 h 4496940"/>
                  <a:gd name="connsiteX108" fmla="*/ 268627 w 4519987"/>
                  <a:gd name="connsiteY108" fmla="*/ 1200150 h 4496940"/>
                  <a:gd name="connsiteX109" fmla="*/ 287677 w 4519987"/>
                  <a:gd name="connsiteY109" fmla="*/ 1152525 h 4496940"/>
                  <a:gd name="connsiteX110" fmla="*/ 316252 w 4519987"/>
                  <a:gd name="connsiteY110" fmla="*/ 1114425 h 4496940"/>
                  <a:gd name="connsiteX111" fmla="*/ 363877 w 4519987"/>
                  <a:gd name="connsiteY111" fmla="*/ 1038225 h 4496940"/>
                  <a:gd name="connsiteX112" fmla="*/ 382927 w 4519987"/>
                  <a:gd name="connsiteY112" fmla="*/ 1009650 h 4496940"/>
                  <a:gd name="connsiteX113" fmla="*/ 440077 w 4519987"/>
                  <a:gd name="connsiteY113" fmla="*/ 904875 h 4496940"/>
                  <a:gd name="connsiteX114" fmla="*/ 478177 w 4519987"/>
                  <a:gd name="connsiteY114" fmla="*/ 857250 h 4496940"/>
                  <a:gd name="connsiteX115" fmla="*/ 497227 w 4519987"/>
                  <a:gd name="connsiteY115" fmla="*/ 828675 h 4496940"/>
                  <a:gd name="connsiteX116" fmla="*/ 535327 w 4519987"/>
                  <a:gd name="connsiteY116" fmla="*/ 800100 h 4496940"/>
                  <a:gd name="connsiteX117" fmla="*/ 602002 w 4519987"/>
                  <a:gd name="connsiteY117" fmla="*/ 733425 h 4496940"/>
                  <a:gd name="connsiteX118" fmla="*/ 668677 w 4519987"/>
                  <a:gd name="connsiteY118" fmla="*/ 676275 h 4496940"/>
                  <a:gd name="connsiteX119" fmla="*/ 697252 w 4519987"/>
                  <a:gd name="connsiteY119" fmla="*/ 657225 h 4496940"/>
                  <a:gd name="connsiteX120" fmla="*/ 840127 w 4519987"/>
                  <a:gd name="connsiteY120" fmla="*/ 533400 h 4496940"/>
                  <a:gd name="connsiteX121" fmla="*/ 887752 w 4519987"/>
                  <a:gd name="connsiteY121" fmla="*/ 504825 h 4496940"/>
                  <a:gd name="connsiteX122" fmla="*/ 1167152 w 4519987"/>
                  <a:gd name="connsiteY122" fmla="*/ 311150 h 4496940"/>
                  <a:gd name="connsiteX123" fmla="*/ 1268752 w 4519987"/>
                  <a:gd name="connsiteY123" fmla="*/ 285750 h 4496940"/>
                  <a:gd name="connsiteX124" fmla="*/ 1411627 w 4519987"/>
                  <a:gd name="connsiteY124" fmla="*/ 190500 h 4496940"/>
                  <a:gd name="connsiteX125" fmla="*/ 1449727 w 4519987"/>
                  <a:gd name="connsiteY125" fmla="*/ 161925 h 4496940"/>
                  <a:gd name="connsiteX126" fmla="*/ 1525927 w 4519987"/>
                  <a:gd name="connsiteY126" fmla="*/ 152400 h 4496940"/>
                  <a:gd name="connsiteX127" fmla="*/ 1583077 w 4519987"/>
                  <a:gd name="connsiteY127" fmla="*/ 142875 h 4496940"/>
                  <a:gd name="connsiteX128" fmla="*/ 1716427 w 4519987"/>
                  <a:gd name="connsiteY128" fmla="*/ 123825 h 4496940"/>
                  <a:gd name="connsiteX129" fmla="*/ 1811677 w 4519987"/>
                  <a:gd name="connsiteY129" fmla="*/ 114300 h 4496940"/>
                  <a:gd name="connsiteX130" fmla="*/ 1859302 w 4519987"/>
                  <a:gd name="connsiteY130" fmla="*/ 104775 h 4496940"/>
                  <a:gd name="connsiteX131" fmla="*/ 1916452 w 4519987"/>
                  <a:gd name="connsiteY131" fmla="*/ 95250 h 4496940"/>
                  <a:gd name="connsiteX132" fmla="*/ 2030752 w 4519987"/>
                  <a:gd name="connsiteY132" fmla="*/ 66675 h 4496940"/>
                  <a:gd name="connsiteX133" fmla="*/ 2097427 w 4519987"/>
                  <a:gd name="connsiteY133" fmla="*/ 47625 h 4496940"/>
                  <a:gd name="connsiteX134" fmla="*/ 2164102 w 4519987"/>
                  <a:gd name="connsiteY134" fmla="*/ 38100 h 4496940"/>
                  <a:gd name="connsiteX135" fmla="*/ 2392702 w 4519987"/>
                  <a:gd name="connsiteY13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678577 w 4519987"/>
                  <a:gd name="connsiteY40" fmla="*/ 3848100 h 4496940"/>
                  <a:gd name="connsiteX41" fmla="*/ 3659527 w 4519987"/>
                  <a:gd name="connsiteY41" fmla="*/ 3971925 h 4496940"/>
                  <a:gd name="connsiteX42" fmla="*/ 3630952 w 4519987"/>
                  <a:gd name="connsiteY42" fmla="*/ 4010025 h 4496940"/>
                  <a:gd name="connsiteX43" fmla="*/ 3621427 w 4519987"/>
                  <a:gd name="connsiteY43" fmla="*/ 4038600 h 4496940"/>
                  <a:gd name="connsiteX44" fmla="*/ 3554752 w 4519987"/>
                  <a:gd name="connsiteY44" fmla="*/ 4095750 h 4496940"/>
                  <a:gd name="connsiteX45" fmla="*/ 3516652 w 4519987"/>
                  <a:gd name="connsiteY45" fmla="*/ 4114800 h 4496940"/>
                  <a:gd name="connsiteX46" fmla="*/ 3497602 w 4519987"/>
                  <a:gd name="connsiteY46" fmla="*/ 4143375 h 4496940"/>
                  <a:gd name="connsiteX47" fmla="*/ 3383302 w 4519987"/>
                  <a:gd name="connsiteY47" fmla="*/ 4210050 h 4496940"/>
                  <a:gd name="connsiteX48" fmla="*/ 3335677 w 4519987"/>
                  <a:gd name="connsiteY48" fmla="*/ 4238625 h 4496940"/>
                  <a:gd name="connsiteX49" fmla="*/ 3288052 w 4519987"/>
                  <a:gd name="connsiteY49" fmla="*/ 4248150 h 4496940"/>
                  <a:gd name="connsiteX50" fmla="*/ 3240427 w 4519987"/>
                  <a:gd name="connsiteY50" fmla="*/ 4267200 h 4496940"/>
                  <a:gd name="connsiteX51" fmla="*/ 3068977 w 4519987"/>
                  <a:gd name="connsiteY51" fmla="*/ 4286250 h 4496940"/>
                  <a:gd name="connsiteX52" fmla="*/ 2935627 w 4519987"/>
                  <a:gd name="connsiteY52" fmla="*/ 4333875 h 4496940"/>
                  <a:gd name="connsiteX53" fmla="*/ 2811802 w 4519987"/>
                  <a:gd name="connsiteY53" fmla="*/ 4371975 h 4496940"/>
                  <a:gd name="connsiteX54" fmla="*/ 2745127 w 4519987"/>
                  <a:gd name="connsiteY54" fmla="*/ 4410075 h 4496940"/>
                  <a:gd name="connsiteX55" fmla="*/ 2697502 w 4519987"/>
                  <a:gd name="connsiteY55" fmla="*/ 4429125 h 4496940"/>
                  <a:gd name="connsiteX56" fmla="*/ 2640352 w 4519987"/>
                  <a:gd name="connsiteY56" fmla="*/ 4457700 h 4496940"/>
                  <a:gd name="connsiteX57" fmla="*/ 2583202 w 4519987"/>
                  <a:gd name="connsiteY57" fmla="*/ 4467225 h 4496940"/>
                  <a:gd name="connsiteX58" fmla="*/ 2545102 w 4519987"/>
                  <a:gd name="connsiteY58" fmla="*/ 4486275 h 4496940"/>
                  <a:gd name="connsiteX59" fmla="*/ 2306977 w 4519987"/>
                  <a:gd name="connsiteY59" fmla="*/ 4476750 h 4496940"/>
                  <a:gd name="connsiteX60" fmla="*/ 2202202 w 4519987"/>
                  <a:gd name="connsiteY60" fmla="*/ 4457700 h 4496940"/>
                  <a:gd name="connsiteX61" fmla="*/ 2126002 w 4519987"/>
                  <a:gd name="connsiteY61" fmla="*/ 4429125 h 4496940"/>
                  <a:gd name="connsiteX62" fmla="*/ 1935502 w 4519987"/>
                  <a:gd name="connsiteY62" fmla="*/ 4400550 h 4496940"/>
                  <a:gd name="connsiteX63" fmla="*/ 1821202 w 4519987"/>
                  <a:gd name="connsiteY63" fmla="*/ 4371975 h 4496940"/>
                  <a:gd name="connsiteX64" fmla="*/ 1754527 w 4519987"/>
                  <a:gd name="connsiteY64" fmla="*/ 4352925 h 4496940"/>
                  <a:gd name="connsiteX65" fmla="*/ 1687852 w 4519987"/>
                  <a:gd name="connsiteY65" fmla="*/ 4343400 h 4496940"/>
                  <a:gd name="connsiteX66" fmla="*/ 1573552 w 4519987"/>
                  <a:gd name="connsiteY66" fmla="*/ 4305300 h 4496940"/>
                  <a:gd name="connsiteX67" fmla="*/ 1402102 w 4519987"/>
                  <a:gd name="connsiteY67" fmla="*/ 4276725 h 4496940"/>
                  <a:gd name="connsiteX68" fmla="*/ 1287802 w 4519987"/>
                  <a:gd name="connsiteY68" fmla="*/ 4229100 h 4496940"/>
                  <a:gd name="connsiteX69" fmla="*/ 1221127 w 4519987"/>
                  <a:gd name="connsiteY69" fmla="*/ 4200525 h 4496940"/>
                  <a:gd name="connsiteX70" fmla="*/ 1144927 w 4519987"/>
                  <a:gd name="connsiteY70" fmla="*/ 4171950 h 4496940"/>
                  <a:gd name="connsiteX71" fmla="*/ 1087777 w 4519987"/>
                  <a:gd name="connsiteY71" fmla="*/ 4143375 h 4496940"/>
                  <a:gd name="connsiteX72" fmla="*/ 1030627 w 4519987"/>
                  <a:gd name="connsiteY72" fmla="*/ 4124325 h 4496940"/>
                  <a:gd name="connsiteX73" fmla="*/ 925852 w 4519987"/>
                  <a:gd name="connsiteY73" fmla="*/ 4067175 h 4496940"/>
                  <a:gd name="connsiteX74" fmla="*/ 830602 w 4519987"/>
                  <a:gd name="connsiteY74" fmla="*/ 3981450 h 4496940"/>
                  <a:gd name="connsiteX75" fmla="*/ 763927 w 4519987"/>
                  <a:gd name="connsiteY75" fmla="*/ 3914775 h 4496940"/>
                  <a:gd name="connsiteX76" fmla="*/ 725827 w 4519987"/>
                  <a:gd name="connsiteY76" fmla="*/ 3876675 h 4496940"/>
                  <a:gd name="connsiteX77" fmla="*/ 697252 w 4519987"/>
                  <a:gd name="connsiteY77" fmla="*/ 3838575 h 4496940"/>
                  <a:gd name="connsiteX78" fmla="*/ 640102 w 4519987"/>
                  <a:gd name="connsiteY78" fmla="*/ 3781425 h 4496940"/>
                  <a:gd name="connsiteX79" fmla="*/ 611527 w 4519987"/>
                  <a:gd name="connsiteY79" fmla="*/ 3733800 h 4496940"/>
                  <a:gd name="connsiteX80" fmla="*/ 554377 w 4519987"/>
                  <a:gd name="connsiteY80" fmla="*/ 3657600 h 4496940"/>
                  <a:gd name="connsiteX81" fmla="*/ 525802 w 4519987"/>
                  <a:gd name="connsiteY81" fmla="*/ 3609975 h 4496940"/>
                  <a:gd name="connsiteX82" fmla="*/ 497227 w 4519987"/>
                  <a:gd name="connsiteY82" fmla="*/ 3552825 h 4496940"/>
                  <a:gd name="connsiteX83" fmla="*/ 440077 w 4519987"/>
                  <a:gd name="connsiteY83" fmla="*/ 3495675 h 4496940"/>
                  <a:gd name="connsiteX84" fmla="*/ 411502 w 4519987"/>
                  <a:gd name="connsiteY84" fmla="*/ 3448050 h 4496940"/>
                  <a:gd name="connsiteX85" fmla="*/ 278152 w 4519987"/>
                  <a:gd name="connsiteY85" fmla="*/ 3257550 h 4496940"/>
                  <a:gd name="connsiteX86" fmla="*/ 249577 w 4519987"/>
                  <a:gd name="connsiteY86" fmla="*/ 3200400 h 4496940"/>
                  <a:gd name="connsiteX87" fmla="*/ 240052 w 4519987"/>
                  <a:gd name="connsiteY87" fmla="*/ 3162300 h 4496940"/>
                  <a:gd name="connsiteX88" fmla="*/ 221002 w 4519987"/>
                  <a:gd name="connsiteY88" fmla="*/ 3105150 h 4496940"/>
                  <a:gd name="connsiteX89" fmla="*/ 173377 w 4519987"/>
                  <a:gd name="connsiteY89" fmla="*/ 3019425 h 4496940"/>
                  <a:gd name="connsiteX90" fmla="*/ 144802 w 4519987"/>
                  <a:gd name="connsiteY90" fmla="*/ 2924175 h 4496940"/>
                  <a:gd name="connsiteX91" fmla="*/ 68602 w 4519987"/>
                  <a:gd name="connsiteY91" fmla="*/ 2724150 h 4496940"/>
                  <a:gd name="connsiteX92" fmla="*/ 49552 w 4519987"/>
                  <a:gd name="connsiteY92" fmla="*/ 2638425 h 4496940"/>
                  <a:gd name="connsiteX93" fmla="*/ 40027 w 4519987"/>
                  <a:gd name="connsiteY93" fmla="*/ 2562225 h 4496940"/>
                  <a:gd name="connsiteX94" fmla="*/ 30502 w 4519987"/>
                  <a:gd name="connsiteY94" fmla="*/ 2514600 h 4496940"/>
                  <a:gd name="connsiteX95" fmla="*/ 11452 w 4519987"/>
                  <a:gd name="connsiteY95" fmla="*/ 2400300 h 4496940"/>
                  <a:gd name="connsiteX96" fmla="*/ 20977 w 4519987"/>
                  <a:gd name="connsiteY96" fmla="*/ 1905000 h 4496940"/>
                  <a:gd name="connsiteX97" fmla="*/ 30502 w 4519987"/>
                  <a:gd name="connsiteY97" fmla="*/ 1838325 h 4496940"/>
                  <a:gd name="connsiteX98" fmla="*/ 49552 w 4519987"/>
                  <a:gd name="connsiteY98" fmla="*/ 1781175 h 4496940"/>
                  <a:gd name="connsiteX99" fmla="*/ 59077 w 4519987"/>
                  <a:gd name="connsiteY99" fmla="*/ 1743075 h 4496940"/>
                  <a:gd name="connsiteX100" fmla="*/ 78127 w 4519987"/>
                  <a:gd name="connsiteY100" fmla="*/ 1685925 h 4496940"/>
                  <a:gd name="connsiteX101" fmla="*/ 87652 w 4519987"/>
                  <a:gd name="connsiteY101" fmla="*/ 1638300 h 4496940"/>
                  <a:gd name="connsiteX102" fmla="*/ 106702 w 4519987"/>
                  <a:gd name="connsiteY102" fmla="*/ 1590675 h 4496940"/>
                  <a:gd name="connsiteX103" fmla="*/ 135277 w 4519987"/>
                  <a:gd name="connsiteY103" fmla="*/ 1504950 h 4496940"/>
                  <a:gd name="connsiteX104" fmla="*/ 154327 w 4519987"/>
                  <a:gd name="connsiteY104" fmla="*/ 1419225 h 4496940"/>
                  <a:gd name="connsiteX105" fmla="*/ 230527 w 4519987"/>
                  <a:gd name="connsiteY105" fmla="*/ 1276350 h 4496940"/>
                  <a:gd name="connsiteX106" fmla="*/ 240052 w 4519987"/>
                  <a:gd name="connsiteY106" fmla="*/ 1247775 h 4496940"/>
                  <a:gd name="connsiteX107" fmla="*/ 268627 w 4519987"/>
                  <a:gd name="connsiteY107" fmla="*/ 1200150 h 4496940"/>
                  <a:gd name="connsiteX108" fmla="*/ 287677 w 4519987"/>
                  <a:gd name="connsiteY108" fmla="*/ 1152525 h 4496940"/>
                  <a:gd name="connsiteX109" fmla="*/ 316252 w 4519987"/>
                  <a:gd name="connsiteY109" fmla="*/ 1114425 h 4496940"/>
                  <a:gd name="connsiteX110" fmla="*/ 363877 w 4519987"/>
                  <a:gd name="connsiteY110" fmla="*/ 1038225 h 4496940"/>
                  <a:gd name="connsiteX111" fmla="*/ 382927 w 4519987"/>
                  <a:gd name="connsiteY111" fmla="*/ 1009650 h 4496940"/>
                  <a:gd name="connsiteX112" fmla="*/ 440077 w 4519987"/>
                  <a:gd name="connsiteY112" fmla="*/ 904875 h 4496940"/>
                  <a:gd name="connsiteX113" fmla="*/ 478177 w 4519987"/>
                  <a:gd name="connsiteY113" fmla="*/ 857250 h 4496940"/>
                  <a:gd name="connsiteX114" fmla="*/ 497227 w 4519987"/>
                  <a:gd name="connsiteY114" fmla="*/ 828675 h 4496940"/>
                  <a:gd name="connsiteX115" fmla="*/ 535327 w 4519987"/>
                  <a:gd name="connsiteY115" fmla="*/ 800100 h 4496940"/>
                  <a:gd name="connsiteX116" fmla="*/ 602002 w 4519987"/>
                  <a:gd name="connsiteY116" fmla="*/ 733425 h 4496940"/>
                  <a:gd name="connsiteX117" fmla="*/ 668677 w 4519987"/>
                  <a:gd name="connsiteY117" fmla="*/ 676275 h 4496940"/>
                  <a:gd name="connsiteX118" fmla="*/ 697252 w 4519987"/>
                  <a:gd name="connsiteY118" fmla="*/ 657225 h 4496940"/>
                  <a:gd name="connsiteX119" fmla="*/ 840127 w 4519987"/>
                  <a:gd name="connsiteY119" fmla="*/ 533400 h 4496940"/>
                  <a:gd name="connsiteX120" fmla="*/ 887752 w 4519987"/>
                  <a:gd name="connsiteY120" fmla="*/ 504825 h 4496940"/>
                  <a:gd name="connsiteX121" fmla="*/ 1167152 w 4519987"/>
                  <a:gd name="connsiteY121" fmla="*/ 311150 h 4496940"/>
                  <a:gd name="connsiteX122" fmla="*/ 1268752 w 4519987"/>
                  <a:gd name="connsiteY122" fmla="*/ 285750 h 4496940"/>
                  <a:gd name="connsiteX123" fmla="*/ 1411627 w 4519987"/>
                  <a:gd name="connsiteY123" fmla="*/ 190500 h 4496940"/>
                  <a:gd name="connsiteX124" fmla="*/ 1449727 w 4519987"/>
                  <a:gd name="connsiteY124" fmla="*/ 161925 h 4496940"/>
                  <a:gd name="connsiteX125" fmla="*/ 1525927 w 4519987"/>
                  <a:gd name="connsiteY125" fmla="*/ 152400 h 4496940"/>
                  <a:gd name="connsiteX126" fmla="*/ 1583077 w 4519987"/>
                  <a:gd name="connsiteY126" fmla="*/ 142875 h 4496940"/>
                  <a:gd name="connsiteX127" fmla="*/ 1716427 w 4519987"/>
                  <a:gd name="connsiteY127" fmla="*/ 123825 h 4496940"/>
                  <a:gd name="connsiteX128" fmla="*/ 1811677 w 4519987"/>
                  <a:gd name="connsiteY128" fmla="*/ 114300 h 4496940"/>
                  <a:gd name="connsiteX129" fmla="*/ 1859302 w 4519987"/>
                  <a:gd name="connsiteY129" fmla="*/ 104775 h 4496940"/>
                  <a:gd name="connsiteX130" fmla="*/ 1916452 w 4519987"/>
                  <a:gd name="connsiteY130" fmla="*/ 95250 h 4496940"/>
                  <a:gd name="connsiteX131" fmla="*/ 2030752 w 4519987"/>
                  <a:gd name="connsiteY131" fmla="*/ 66675 h 4496940"/>
                  <a:gd name="connsiteX132" fmla="*/ 2097427 w 4519987"/>
                  <a:gd name="connsiteY132" fmla="*/ 47625 h 4496940"/>
                  <a:gd name="connsiteX133" fmla="*/ 2164102 w 4519987"/>
                  <a:gd name="connsiteY133" fmla="*/ 38100 h 4496940"/>
                  <a:gd name="connsiteX134" fmla="*/ 2392702 w 4519987"/>
                  <a:gd name="connsiteY13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659527 w 4519987"/>
                  <a:gd name="connsiteY40" fmla="*/ 3971925 h 4496940"/>
                  <a:gd name="connsiteX41" fmla="*/ 3630952 w 4519987"/>
                  <a:gd name="connsiteY41" fmla="*/ 4010025 h 4496940"/>
                  <a:gd name="connsiteX42" fmla="*/ 3621427 w 4519987"/>
                  <a:gd name="connsiteY42" fmla="*/ 4038600 h 4496940"/>
                  <a:gd name="connsiteX43" fmla="*/ 3554752 w 4519987"/>
                  <a:gd name="connsiteY43" fmla="*/ 4095750 h 4496940"/>
                  <a:gd name="connsiteX44" fmla="*/ 3516652 w 4519987"/>
                  <a:gd name="connsiteY44" fmla="*/ 4114800 h 4496940"/>
                  <a:gd name="connsiteX45" fmla="*/ 3497602 w 4519987"/>
                  <a:gd name="connsiteY45" fmla="*/ 4143375 h 4496940"/>
                  <a:gd name="connsiteX46" fmla="*/ 3383302 w 4519987"/>
                  <a:gd name="connsiteY46" fmla="*/ 4210050 h 4496940"/>
                  <a:gd name="connsiteX47" fmla="*/ 3335677 w 4519987"/>
                  <a:gd name="connsiteY47" fmla="*/ 4238625 h 4496940"/>
                  <a:gd name="connsiteX48" fmla="*/ 3288052 w 4519987"/>
                  <a:gd name="connsiteY48" fmla="*/ 4248150 h 4496940"/>
                  <a:gd name="connsiteX49" fmla="*/ 3240427 w 4519987"/>
                  <a:gd name="connsiteY49" fmla="*/ 4267200 h 4496940"/>
                  <a:gd name="connsiteX50" fmla="*/ 3068977 w 4519987"/>
                  <a:gd name="connsiteY50" fmla="*/ 4286250 h 4496940"/>
                  <a:gd name="connsiteX51" fmla="*/ 2935627 w 4519987"/>
                  <a:gd name="connsiteY51" fmla="*/ 4333875 h 4496940"/>
                  <a:gd name="connsiteX52" fmla="*/ 2811802 w 4519987"/>
                  <a:gd name="connsiteY52" fmla="*/ 4371975 h 4496940"/>
                  <a:gd name="connsiteX53" fmla="*/ 2745127 w 4519987"/>
                  <a:gd name="connsiteY53" fmla="*/ 4410075 h 4496940"/>
                  <a:gd name="connsiteX54" fmla="*/ 2697502 w 4519987"/>
                  <a:gd name="connsiteY54" fmla="*/ 4429125 h 4496940"/>
                  <a:gd name="connsiteX55" fmla="*/ 2640352 w 4519987"/>
                  <a:gd name="connsiteY55" fmla="*/ 4457700 h 4496940"/>
                  <a:gd name="connsiteX56" fmla="*/ 2583202 w 4519987"/>
                  <a:gd name="connsiteY56" fmla="*/ 4467225 h 4496940"/>
                  <a:gd name="connsiteX57" fmla="*/ 2545102 w 4519987"/>
                  <a:gd name="connsiteY57" fmla="*/ 4486275 h 4496940"/>
                  <a:gd name="connsiteX58" fmla="*/ 2306977 w 4519987"/>
                  <a:gd name="connsiteY58" fmla="*/ 4476750 h 4496940"/>
                  <a:gd name="connsiteX59" fmla="*/ 2202202 w 4519987"/>
                  <a:gd name="connsiteY59" fmla="*/ 4457700 h 4496940"/>
                  <a:gd name="connsiteX60" fmla="*/ 2126002 w 4519987"/>
                  <a:gd name="connsiteY60" fmla="*/ 4429125 h 4496940"/>
                  <a:gd name="connsiteX61" fmla="*/ 1935502 w 4519987"/>
                  <a:gd name="connsiteY61" fmla="*/ 4400550 h 4496940"/>
                  <a:gd name="connsiteX62" fmla="*/ 1821202 w 4519987"/>
                  <a:gd name="connsiteY62" fmla="*/ 4371975 h 4496940"/>
                  <a:gd name="connsiteX63" fmla="*/ 1754527 w 4519987"/>
                  <a:gd name="connsiteY63" fmla="*/ 4352925 h 4496940"/>
                  <a:gd name="connsiteX64" fmla="*/ 1687852 w 4519987"/>
                  <a:gd name="connsiteY64" fmla="*/ 4343400 h 4496940"/>
                  <a:gd name="connsiteX65" fmla="*/ 1573552 w 4519987"/>
                  <a:gd name="connsiteY65" fmla="*/ 4305300 h 4496940"/>
                  <a:gd name="connsiteX66" fmla="*/ 1402102 w 4519987"/>
                  <a:gd name="connsiteY66" fmla="*/ 4276725 h 4496940"/>
                  <a:gd name="connsiteX67" fmla="*/ 1287802 w 4519987"/>
                  <a:gd name="connsiteY67" fmla="*/ 4229100 h 4496940"/>
                  <a:gd name="connsiteX68" fmla="*/ 1221127 w 4519987"/>
                  <a:gd name="connsiteY68" fmla="*/ 4200525 h 4496940"/>
                  <a:gd name="connsiteX69" fmla="*/ 1144927 w 4519987"/>
                  <a:gd name="connsiteY69" fmla="*/ 4171950 h 4496940"/>
                  <a:gd name="connsiteX70" fmla="*/ 1087777 w 4519987"/>
                  <a:gd name="connsiteY70" fmla="*/ 4143375 h 4496940"/>
                  <a:gd name="connsiteX71" fmla="*/ 1030627 w 4519987"/>
                  <a:gd name="connsiteY71" fmla="*/ 4124325 h 4496940"/>
                  <a:gd name="connsiteX72" fmla="*/ 925852 w 4519987"/>
                  <a:gd name="connsiteY72" fmla="*/ 4067175 h 4496940"/>
                  <a:gd name="connsiteX73" fmla="*/ 830602 w 4519987"/>
                  <a:gd name="connsiteY73" fmla="*/ 3981450 h 4496940"/>
                  <a:gd name="connsiteX74" fmla="*/ 763927 w 4519987"/>
                  <a:gd name="connsiteY74" fmla="*/ 3914775 h 4496940"/>
                  <a:gd name="connsiteX75" fmla="*/ 725827 w 4519987"/>
                  <a:gd name="connsiteY75" fmla="*/ 3876675 h 4496940"/>
                  <a:gd name="connsiteX76" fmla="*/ 697252 w 4519987"/>
                  <a:gd name="connsiteY76" fmla="*/ 3838575 h 4496940"/>
                  <a:gd name="connsiteX77" fmla="*/ 640102 w 4519987"/>
                  <a:gd name="connsiteY77" fmla="*/ 3781425 h 4496940"/>
                  <a:gd name="connsiteX78" fmla="*/ 611527 w 4519987"/>
                  <a:gd name="connsiteY78" fmla="*/ 3733800 h 4496940"/>
                  <a:gd name="connsiteX79" fmla="*/ 554377 w 4519987"/>
                  <a:gd name="connsiteY79" fmla="*/ 3657600 h 4496940"/>
                  <a:gd name="connsiteX80" fmla="*/ 525802 w 4519987"/>
                  <a:gd name="connsiteY80" fmla="*/ 3609975 h 4496940"/>
                  <a:gd name="connsiteX81" fmla="*/ 497227 w 4519987"/>
                  <a:gd name="connsiteY81" fmla="*/ 3552825 h 4496940"/>
                  <a:gd name="connsiteX82" fmla="*/ 440077 w 4519987"/>
                  <a:gd name="connsiteY82" fmla="*/ 3495675 h 4496940"/>
                  <a:gd name="connsiteX83" fmla="*/ 411502 w 4519987"/>
                  <a:gd name="connsiteY83" fmla="*/ 3448050 h 4496940"/>
                  <a:gd name="connsiteX84" fmla="*/ 278152 w 4519987"/>
                  <a:gd name="connsiteY84" fmla="*/ 3257550 h 4496940"/>
                  <a:gd name="connsiteX85" fmla="*/ 249577 w 4519987"/>
                  <a:gd name="connsiteY85" fmla="*/ 3200400 h 4496940"/>
                  <a:gd name="connsiteX86" fmla="*/ 240052 w 4519987"/>
                  <a:gd name="connsiteY86" fmla="*/ 3162300 h 4496940"/>
                  <a:gd name="connsiteX87" fmla="*/ 221002 w 4519987"/>
                  <a:gd name="connsiteY87" fmla="*/ 3105150 h 4496940"/>
                  <a:gd name="connsiteX88" fmla="*/ 173377 w 4519987"/>
                  <a:gd name="connsiteY88" fmla="*/ 3019425 h 4496940"/>
                  <a:gd name="connsiteX89" fmla="*/ 144802 w 4519987"/>
                  <a:gd name="connsiteY89" fmla="*/ 2924175 h 4496940"/>
                  <a:gd name="connsiteX90" fmla="*/ 68602 w 4519987"/>
                  <a:gd name="connsiteY90" fmla="*/ 2724150 h 4496940"/>
                  <a:gd name="connsiteX91" fmla="*/ 49552 w 4519987"/>
                  <a:gd name="connsiteY91" fmla="*/ 2638425 h 4496940"/>
                  <a:gd name="connsiteX92" fmla="*/ 40027 w 4519987"/>
                  <a:gd name="connsiteY92" fmla="*/ 2562225 h 4496940"/>
                  <a:gd name="connsiteX93" fmla="*/ 30502 w 4519987"/>
                  <a:gd name="connsiteY93" fmla="*/ 2514600 h 4496940"/>
                  <a:gd name="connsiteX94" fmla="*/ 11452 w 4519987"/>
                  <a:gd name="connsiteY94" fmla="*/ 2400300 h 4496940"/>
                  <a:gd name="connsiteX95" fmla="*/ 20977 w 4519987"/>
                  <a:gd name="connsiteY95" fmla="*/ 1905000 h 4496940"/>
                  <a:gd name="connsiteX96" fmla="*/ 30502 w 4519987"/>
                  <a:gd name="connsiteY96" fmla="*/ 1838325 h 4496940"/>
                  <a:gd name="connsiteX97" fmla="*/ 49552 w 4519987"/>
                  <a:gd name="connsiteY97" fmla="*/ 1781175 h 4496940"/>
                  <a:gd name="connsiteX98" fmla="*/ 59077 w 4519987"/>
                  <a:gd name="connsiteY98" fmla="*/ 1743075 h 4496940"/>
                  <a:gd name="connsiteX99" fmla="*/ 78127 w 4519987"/>
                  <a:gd name="connsiteY99" fmla="*/ 1685925 h 4496940"/>
                  <a:gd name="connsiteX100" fmla="*/ 87652 w 4519987"/>
                  <a:gd name="connsiteY100" fmla="*/ 1638300 h 4496940"/>
                  <a:gd name="connsiteX101" fmla="*/ 106702 w 4519987"/>
                  <a:gd name="connsiteY101" fmla="*/ 1590675 h 4496940"/>
                  <a:gd name="connsiteX102" fmla="*/ 135277 w 4519987"/>
                  <a:gd name="connsiteY102" fmla="*/ 1504950 h 4496940"/>
                  <a:gd name="connsiteX103" fmla="*/ 154327 w 4519987"/>
                  <a:gd name="connsiteY103" fmla="*/ 1419225 h 4496940"/>
                  <a:gd name="connsiteX104" fmla="*/ 230527 w 4519987"/>
                  <a:gd name="connsiteY104" fmla="*/ 1276350 h 4496940"/>
                  <a:gd name="connsiteX105" fmla="*/ 240052 w 4519987"/>
                  <a:gd name="connsiteY105" fmla="*/ 1247775 h 4496940"/>
                  <a:gd name="connsiteX106" fmla="*/ 268627 w 4519987"/>
                  <a:gd name="connsiteY106" fmla="*/ 1200150 h 4496940"/>
                  <a:gd name="connsiteX107" fmla="*/ 287677 w 4519987"/>
                  <a:gd name="connsiteY107" fmla="*/ 1152525 h 4496940"/>
                  <a:gd name="connsiteX108" fmla="*/ 316252 w 4519987"/>
                  <a:gd name="connsiteY108" fmla="*/ 1114425 h 4496940"/>
                  <a:gd name="connsiteX109" fmla="*/ 363877 w 4519987"/>
                  <a:gd name="connsiteY109" fmla="*/ 1038225 h 4496940"/>
                  <a:gd name="connsiteX110" fmla="*/ 382927 w 4519987"/>
                  <a:gd name="connsiteY110" fmla="*/ 1009650 h 4496940"/>
                  <a:gd name="connsiteX111" fmla="*/ 440077 w 4519987"/>
                  <a:gd name="connsiteY111" fmla="*/ 904875 h 4496940"/>
                  <a:gd name="connsiteX112" fmla="*/ 478177 w 4519987"/>
                  <a:gd name="connsiteY112" fmla="*/ 857250 h 4496940"/>
                  <a:gd name="connsiteX113" fmla="*/ 497227 w 4519987"/>
                  <a:gd name="connsiteY113" fmla="*/ 828675 h 4496940"/>
                  <a:gd name="connsiteX114" fmla="*/ 535327 w 4519987"/>
                  <a:gd name="connsiteY114" fmla="*/ 800100 h 4496940"/>
                  <a:gd name="connsiteX115" fmla="*/ 602002 w 4519987"/>
                  <a:gd name="connsiteY115" fmla="*/ 733425 h 4496940"/>
                  <a:gd name="connsiteX116" fmla="*/ 668677 w 4519987"/>
                  <a:gd name="connsiteY116" fmla="*/ 676275 h 4496940"/>
                  <a:gd name="connsiteX117" fmla="*/ 697252 w 4519987"/>
                  <a:gd name="connsiteY117" fmla="*/ 657225 h 4496940"/>
                  <a:gd name="connsiteX118" fmla="*/ 840127 w 4519987"/>
                  <a:gd name="connsiteY118" fmla="*/ 533400 h 4496940"/>
                  <a:gd name="connsiteX119" fmla="*/ 887752 w 4519987"/>
                  <a:gd name="connsiteY119" fmla="*/ 504825 h 4496940"/>
                  <a:gd name="connsiteX120" fmla="*/ 1167152 w 4519987"/>
                  <a:gd name="connsiteY120" fmla="*/ 311150 h 4496940"/>
                  <a:gd name="connsiteX121" fmla="*/ 1268752 w 4519987"/>
                  <a:gd name="connsiteY121" fmla="*/ 285750 h 4496940"/>
                  <a:gd name="connsiteX122" fmla="*/ 1411627 w 4519987"/>
                  <a:gd name="connsiteY122" fmla="*/ 190500 h 4496940"/>
                  <a:gd name="connsiteX123" fmla="*/ 1449727 w 4519987"/>
                  <a:gd name="connsiteY123" fmla="*/ 161925 h 4496940"/>
                  <a:gd name="connsiteX124" fmla="*/ 1525927 w 4519987"/>
                  <a:gd name="connsiteY124" fmla="*/ 152400 h 4496940"/>
                  <a:gd name="connsiteX125" fmla="*/ 1583077 w 4519987"/>
                  <a:gd name="connsiteY125" fmla="*/ 142875 h 4496940"/>
                  <a:gd name="connsiteX126" fmla="*/ 1716427 w 4519987"/>
                  <a:gd name="connsiteY126" fmla="*/ 123825 h 4496940"/>
                  <a:gd name="connsiteX127" fmla="*/ 1811677 w 4519987"/>
                  <a:gd name="connsiteY127" fmla="*/ 114300 h 4496940"/>
                  <a:gd name="connsiteX128" fmla="*/ 1859302 w 4519987"/>
                  <a:gd name="connsiteY128" fmla="*/ 104775 h 4496940"/>
                  <a:gd name="connsiteX129" fmla="*/ 1916452 w 4519987"/>
                  <a:gd name="connsiteY129" fmla="*/ 95250 h 4496940"/>
                  <a:gd name="connsiteX130" fmla="*/ 2030752 w 4519987"/>
                  <a:gd name="connsiteY130" fmla="*/ 66675 h 4496940"/>
                  <a:gd name="connsiteX131" fmla="*/ 2097427 w 4519987"/>
                  <a:gd name="connsiteY131" fmla="*/ 47625 h 4496940"/>
                  <a:gd name="connsiteX132" fmla="*/ 2164102 w 4519987"/>
                  <a:gd name="connsiteY132" fmla="*/ 38100 h 4496940"/>
                  <a:gd name="connsiteX133" fmla="*/ 2392702 w 4519987"/>
                  <a:gd name="connsiteY13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659527 w 4519987"/>
                  <a:gd name="connsiteY39" fmla="*/ 3971925 h 4496940"/>
                  <a:gd name="connsiteX40" fmla="*/ 3630952 w 4519987"/>
                  <a:gd name="connsiteY40" fmla="*/ 4010025 h 4496940"/>
                  <a:gd name="connsiteX41" fmla="*/ 3621427 w 4519987"/>
                  <a:gd name="connsiteY41" fmla="*/ 4038600 h 4496940"/>
                  <a:gd name="connsiteX42" fmla="*/ 3554752 w 4519987"/>
                  <a:gd name="connsiteY42" fmla="*/ 4095750 h 4496940"/>
                  <a:gd name="connsiteX43" fmla="*/ 3516652 w 4519987"/>
                  <a:gd name="connsiteY43" fmla="*/ 4114800 h 4496940"/>
                  <a:gd name="connsiteX44" fmla="*/ 3497602 w 4519987"/>
                  <a:gd name="connsiteY44" fmla="*/ 4143375 h 4496940"/>
                  <a:gd name="connsiteX45" fmla="*/ 3383302 w 4519987"/>
                  <a:gd name="connsiteY45" fmla="*/ 4210050 h 4496940"/>
                  <a:gd name="connsiteX46" fmla="*/ 3335677 w 4519987"/>
                  <a:gd name="connsiteY46" fmla="*/ 4238625 h 4496940"/>
                  <a:gd name="connsiteX47" fmla="*/ 3288052 w 4519987"/>
                  <a:gd name="connsiteY47" fmla="*/ 4248150 h 4496940"/>
                  <a:gd name="connsiteX48" fmla="*/ 3240427 w 4519987"/>
                  <a:gd name="connsiteY48" fmla="*/ 4267200 h 4496940"/>
                  <a:gd name="connsiteX49" fmla="*/ 3068977 w 4519987"/>
                  <a:gd name="connsiteY49" fmla="*/ 4286250 h 4496940"/>
                  <a:gd name="connsiteX50" fmla="*/ 2935627 w 4519987"/>
                  <a:gd name="connsiteY50" fmla="*/ 4333875 h 4496940"/>
                  <a:gd name="connsiteX51" fmla="*/ 2811802 w 4519987"/>
                  <a:gd name="connsiteY51" fmla="*/ 4371975 h 4496940"/>
                  <a:gd name="connsiteX52" fmla="*/ 2745127 w 4519987"/>
                  <a:gd name="connsiteY52" fmla="*/ 4410075 h 4496940"/>
                  <a:gd name="connsiteX53" fmla="*/ 2697502 w 4519987"/>
                  <a:gd name="connsiteY53" fmla="*/ 4429125 h 4496940"/>
                  <a:gd name="connsiteX54" fmla="*/ 2640352 w 4519987"/>
                  <a:gd name="connsiteY54" fmla="*/ 4457700 h 4496940"/>
                  <a:gd name="connsiteX55" fmla="*/ 2583202 w 4519987"/>
                  <a:gd name="connsiteY55" fmla="*/ 4467225 h 4496940"/>
                  <a:gd name="connsiteX56" fmla="*/ 2545102 w 4519987"/>
                  <a:gd name="connsiteY56" fmla="*/ 4486275 h 4496940"/>
                  <a:gd name="connsiteX57" fmla="*/ 2306977 w 4519987"/>
                  <a:gd name="connsiteY57" fmla="*/ 4476750 h 4496940"/>
                  <a:gd name="connsiteX58" fmla="*/ 2202202 w 4519987"/>
                  <a:gd name="connsiteY58" fmla="*/ 4457700 h 4496940"/>
                  <a:gd name="connsiteX59" fmla="*/ 2126002 w 4519987"/>
                  <a:gd name="connsiteY59" fmla="*/ 4429125 h 4496940"/>
                  <a:gd name="connsiteX60" fmla="*/ 1935502 w 4519987"/>
                  <a:gd name="connsiteY60" fmla="*/ 4400550 h 4496940"/>
                  <a:gd name="connsiteX61" fmla="*/ 1821202 w 4519987"/>
                  <a:gd name="connsiteY61" fmla="*/ 4371975 h 4496940"/>
                  <a:gd name="connsiteX62" fmla="*/ 1754527 w 4519987"/>
                  <a:gd name="connsiteY62" fmla="*/ 4352925 h 4496940"/>
                  <a:gd name="connsiteX63" fmla="*/ 1687852 w 4519987"/>
                  <a:gd name="connsiteY63" fmla="*/ 4343400 h 4496940"/>
                  <a:gd name="connsiteX64" fmla="*/ 1573552 w 4519987"/>
                  <a:gd name="connsiteY64" fmla="*/ 4305300 h 4496940"/>
                  <a:gd name="connsiteX65" fmla="*/ 1402102 w 4519987"/>
                  <a:gd name="connsiteY65" fmla="*/ 4276725 h 4496940"/>
                  <a:gd name="connsiteX66" fmla="*/ 1287802 w 4519987"/>
                  <a:gd name="connsiteY66" fmla="*/ 4229100 h 4496940"/>
                  <a:gd name="connsiteX67" fmla="*/ 1221127 w 4519987"/>
                  <a:gd name="connsiteY67" fmla="*/ 4200525 h 4496940"/>
                  <a:gd name="connsiteX68" fmla="*/ 1144927 w 4519987"/>
                  <a:gd name="connsiteY68" fmla="*/ 4171950 h 4496940"/>
                  <a:gd name="connsiteX69" fmla="*/ 1087777 w 4519987"/>
                  <a:gd name="connsiteY69" fmla="*/ 4143375 h 4496940"/>
                  <a:gd name="connsiteX70" fmla="*/ 1030627 w 4519987"/>
                  <a:gd name="connsiteY70" fmla="*/ 4124325 h 4496940"/>
                  <a:gd name="connsiteX71" fmla="*/ 925852 w 4519987"/>
                  <a:gd name="connsiteY71" fmla="*/ 4067175 h 4496940"/>
                  <a:gd name="connsiteX72" fmla="*/ 830602 w 4519987"/>
                  <a:gd name="connsiteY72" fmla="*/ 3981450 h 4496940"/>
                  <a:gd name="connsiteX73" fmla="*/ 763927 w 4519987"/>
                  <a:gd name="connsiteY73" fmla="*/ 3914775 h 4496940"/>
                  <a:gd name="connsiteX74" fmla="*/ 725827 w 4519987"/>
                  <a:gd name="connsiteY74" fmla="*/ 3876675 h 4496940"/>
                  <a:gd name="connsiteX75" fmla="*/ 697252 w 4519987"/>
                  <a:gd name="connsiteY75" fmla="*/ 3838575 h 4496940"/>
                  <a:gd name="connsiteX76" fmla="*/ 640102 w 4519987"/>
                  <a:gd name="connsiteY76" fmla="*/ 3781425 h 4496940"/>
                  <a:gd name="connsiteX77" fmla="*/ 611527 w 4519987"/>
                  <a:gd name="connsiteY77" fmla="*/ 3733800 h 4496940"/>
                  <a:gd name="connsiteX78" fmla="*/ 554377 w 4519987"/>
                  <a:gd name="connsiteY78" fmla="*/ 3657600 h 4496940"/>
                  <a:gd name="connsiteX79" fmla="*/ 525802 w 4519987"/>
                  <a:gd name="connsiteY79" fmla="*/ 3609975 h 4496940"/>
                  <a:gd name="connsiteX80" fmla="*/ 497227 w 4519987"/>
                  <a:gd name="connsiteY80" fmla="*/ 3552825 h 4496940"/>
                  <a:gd name="connsiteX81" fmla="*/ 440077 w 4519987"/>
                  <a:gd name="connsiteY81" fmla="*/ 3495675 h 4496940"/>
                  <a:gd name="connsiteX82" fmla="*/ 411502 w 4519987"/>
                  <a:gd name="connsiteY82" fmla="*/ 3448050 h 4496940"/>
                  <a:gd name="connsiteX83" fmla="*/ 278152 w 4519987"/>
                  <a:gd name="connsiteY83" fmla="*/ 3257550 h 4496940"/>
                  <a:gd name="connsiteX84" fmla="*/ 249577 w 4519987"/>
                  <a:gd name="connsiteY84" fmla="*/ 3200400 h 4496940"/>
                  <a:gd name="connsiteX85" fmla="*/ 240052 w 4519987"/>
                  <a:gd name="connsiteY85" fmla="*/ 3162300 h 4496940"/>
                  <a:gd name="connsiteX86" fmla="*/ 221002 w 4519987"/>
                  <a:gd name="connsiteY86" fmla="*/ 3105150 h 4496940"/>
                  <a:gd name="connsiteX87" fmla="*/ 173377 w 4519987"/>
                  <a:gd name="connsiteY87" fmla="*/ 3019425 h 4496940"/>
                  <a:gd name="connsiteX88" fmla="*/ 144802 w 4519987"/>
                  <a:gd name="connsiteY88" fmla="*/ 2924175 h 4496940"/>
                  <a:gd name="connsiteX89" fmla="*/ 68602 w 4519987"/>
                  <a:gd name="connsiteY89" fmla="*/ 2724150 h 4496940"/>
                  <a:gd name="connsiteX90" fmla="*/ 49552 w 4519987"/>
                  <a:gd name="connsiteY90" fmla="*/ 2638425 h 4496940"/>
                  <a:gd name="connsiteX91" fmla="*/ 40027 w 4519987"/>
                  <a:gd name="connsiteY91" fmla="*/ 2562225 h 4496940"/>
                  <a:gd name="connsiteX92" fmla="*/ 30502 w 4519987"/>
                  <a:gd name="connsiteY92" fmla="*/ 2514600 h 4496940"/>
                  <a:gd name="connsiteX93" fmla="*/ 11452 w 4519987"/>
                  <a:gd name="connsiteY93" fmla="*/ 2400300 h 4496940"/>
                  <a:gd name="connsiteX94" fmla="*/ 20977 w 4519987"/>
                  <a:gd name="connsiteY94" fmla="*/ 1905000 h 4496940"/>
                  <a:gd name="connsiteX95" fmla="*/ 30502 w 4519987"/>
                  <a:gd name="connsiteY95" fmla="*/ 1838325 h 4496940"/>
                  <a:gd name="connsiteX96" fmla="*/ 49552 w 4519987"/>
                  <a:gd name="connsiteY96" fmla="*/ 1781175 h 4496940"/>
                  <a:gd name="connsiteX97" fmla="*/ 59077 w 4519987"/>
                  <a:gd name="connsiteY97" fmla="*/ 1743075 h 4496940"/>
                  <a:gd name="connsiteX98" fmla="*/ 78127 w 4519987"/>
                  <a:gd name="connsiteY98" fmla="*/ 1685925 h 4496940"/>
                  <a:gd name="connsiteX99" fmla="*/ 87652 w 4519987"/>
                  <a:gd name="connsiteY99" fmla="*/ 1638300 h 4496940"/>
                  <a:gd name="connsiteX100" fmla="*/ 106702 w 4519987"/>
                  <a:gd name="connsiteY100" fmla="*/ 1590675 h 4496940"/>
                  <a:gd name="connsiteX101" fmla="*/ 135277 w 4519987"/>
                  <a:gd name="connsiteY101" fmla="*/ 1504950 h 4496940"/>
                  <a:gd name="connsiteX102" fmla="*/ 154327 w 4519987"/>
                  <a:gd name="connsiteY102" fmla="*/ 1419225 h 4496940"/>
                  <a:gd name="connsiteX103" fmla="*/ 230527 w 4519987"/>
                  <a:gd name="connsiteY103" fmla="*/ 1276350 h 4496940"/>
                  <a:gd name="connsiteX104" fmla="*/ 240052 w 4519987"/>
                  <a:gd name="connsiteY104" fmla="*/ 1247775 h 4496940"/>
                  <a:gd name="connsiteX105" fmla="*/ 268627 w 4519987"/>
                  <a:gd name="connsiteY105" fmla="*/ 1200150 h 4496940"/>
                  <a:gd name="connsiteX106" fmla="*/ 287677 w 4519987"/>
                  <a:gd name="connsiteY106" fmla="*/ 1152525 h 4496940"/>
                  <a:gd name="connsiteX107" fmla="*/ 316252 w 4519987"/>
                  <a:gd name="connsiteY107" fmla="*/ 1114425 h 4496940"/>
                  <a:gd name="connsiteX108" fmla="*/ 363877 w 4519987"/>
                  <a:gd name="connsiteY108" fmla="*/ 1038225 h 4496940"/>
                  <a:gd name="connsiteX109" fmla="*/ 382927 w 4519987"/>
                  <a:gd name="connsiteY109" fmla="*/ 1009650 h 4496940"/>
                  <a:gd name="connsiteX110" fmla="*/ 440077 w 4519987"/>
                  <a:gd name="connsiteY110" fmla="*/ 904875 h 4496940"/>
                  <a:gd name="connsiteX111" fmla="*/ 478177 w 4519987"/>
                  <a:gd name="connsiteY111" fmla="*/ 857250 h 4496940"/>
                  <a:gd name="connsiteX112" fmla="*/ 497227 w 4519987"/>
                  <a:gd name="connsiteY112" fmla="*/ 828675 h 4496940"/>
                  <a:gd name="connsiteX113" fmla="*/ 535327 w 4519987"/>
                  <a:gd name="connsiteY113" fmla="*/ 800100 h 4496940"/>
                  <a:gd name="connsiteX114" fmla="*/ 602002 w 4519987"/>
                  <a:gd name="connsiteY114" fmla="*/ 733425 h 4496940"/>
                  <a:gd name="connsiteX115" fmla="*/ 668677 w 4519987"/>
                  <a:gd name="connsiteY115" fmla="*/ 676275 h 4496940"/>
                  <a:gd name="connsiteX116" fmla="*/ 697252 w 4519987"/>
                  <a:gd name="connsiteY116" fmla="*/ 657225 h 4496940"/>
                  <a:gd name="connsiteX117" fmla="*/ 840127 w 4519987"/>
                  <a:gd name="connsiteY117" fmla="*/ 533400 h 4496940"/>
                  <a:gd name="connsiteX118" fmla="*/ 887752 w 4519987"/>
                  <a:gd name="connsiteY118" fmla="*/ 504825 h 4496940"/>
                  <a:gd name="connsiteX119" fmla="*/ 1167152 w 4519987"/>
                  <a:gd name="connsiteY119" fmla="*/ 311150 h 4496940"/>
                  <a:gd name="connsiteX120" fmla="*/ 1268752 w 4519987"/>
                  <a:gd name="connsiteY120" fmla="*/ 285750 h 4496940"/>
                  <a:gd name="connsiteX121" fmla="*/ 1411627 w 4519987"/>
                  <a:gd name="connsiteY121" fmla="*/ 190500 h 4496940"/>
                  <a:gd name="connsiteX122" fmla="*/ 1449727 w 4519987"/>
                  <a:gd name="connsiteY122" fmla="*/ 161925 h 4496940"/>
                  <a:gd name="connsiteX123" fmla="*/ 1525927 w 4519987"/>
                  <a:gd name="connsiteY123" fmla="*/ 152400 h 4496940"/>
                  <a:gd name="connsiteX124" fmla="*/ 1583077 w 4519987"/>
                  <a:gd name="connsiteY124" fmla="*/ 142875 h 4496940"/>
                  <a:gd name="connsiteX125" fmla="*/ 1716427 w 4519987"/>
                  <a:gd name="connsiteY125" fmla="*/ 123825 h 4496940"/>
                  <a:gd name="connsiteX126" fmla="*/ 1811677 w 4519987"/>
                  <a:gd name="connsiteY126" fmla="*/ 114300 h 4496940"/>
                  <a:gd name="connsiteX127" fmla="*/ 1859302 w 4519987"/>
                  <a:gd name="connsiteY127" fmla="*/ 104775 h 4496940"/>
                  <a:gd name="connsiteX128" fmla="*/ 1916452 w 4519987"/>
                  <a:gd name="connsiteY128" fmla="*/ 95250 h 4496940"/>
                  <a:gd name="connsiteX129" fmla="*/ 2030752 w 4519987"/>
                  <a:gd name="connsiteY129" fmla="*/ 66675 h 4496940"/>
                  <a:gd name="connsiteX130" fmla="*/ 2097427 w 4519987"/>
                  <a:gd name="connsiteY130" fmla="*/ 47625 h 4496940"/>
                  <a:gd name="connsiteX131" fmla="*/ 2164102 w 4519987"/>
                  <a:gd name="connsiteY131" fmla="*/ 38100 h 4496940"/>
                  <a:gd name="connsiteX132" fmla="*/ 2392702 w 4519987"/>
                  <a:gd name="connsiteY13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659527 w 4519987"/>
                  <a:gd name="connsiteY38" fmla="*/ 3971925 h 4496940"/>
                  <a:gd name="connsiteX39" fmla="*/ 3630952 w 4519987"/>
                  <a:gd name="connsiteY39" fmla="*/ 4010025 h 4496940"/>
                  <a:gd name="connsiteX40" fmla="*/ 3621427 w 4519987"/>
                  <a:gd name="connsiteY40" fmla="*/ 4038600 h 4496940"/>
                  <a:gd name="connsiteX41" fmla="*/ 3554752 w 4519987"/>
                  <a:gd name="connsiteY41" fmla="*/ 4095750 h 4496940"/>
                  <a:gd name="connsiteX42" fmla="*/ 3516652 w 4519987"/>
                  <a:gd name="connsiteY42" fmla="*/ 4114800 h 4496940"/>
                  <a:gd name="connsiteX43" fmla="*/ 3497602 w 4519987"/>
                  <a:gd name="connsiteY43" fmla="*/ 4143375 h 4496940"/>
                  <a:gd name="connsiteX44" fmla="*/ 3383302 w 4519987"/>
                  <a:gd name="connsiteY44" fmla="*/ 4210050 h 4496940"/>
                  <a:gd name="connsiteX45" fmla="*/ 3335677 w 4519987"/>
                  <a:gd name="connsiteY45" fmla="*/ 4238625 h 4496940"/>
                  <a:gd name="connsiteX46" fmla="*/ 3288052 w 4519987"/>
                  <a:gd name="connsiteY46" fmla="*/ 4248150 h 4496940"/>
                  <a:gd name="connsiteX47" fmla="*/ 3240427 w 4519987"/>
                  <a:gd name="connsiteY47" fmla="*/ 4267200 h 4496940"/>
                  <a:gd name="connsiteX48" fmla="*/ 3068977 w 4519987"/>
                  <a:gd name="connsiteY48" fmla="*/ 4286250 h 4496940"/>
                  <a:gd name="connsiteX49" fmla="*/ 2935627 w 4519987"/>
                  <a:gd name="connsiteY49" fmla="*/ 4333875 h 4496940"/>
                  <a:gd name="connsiteX50" fmla="*/ 2811802 w 4519987"/>
                  <a:gd name="connsiteY50" fmla="*/ 4371975 h 4496940"/>
                  <a:gd name="connsiteX51" fmla="*/ 2745127 w 4519987"/>
                  <a:gd name="connsiteY51" fmla="*/ 4410075 h 4496940"/>
                  <a:gd name="connsiteX52" fmla="*/ 2697502 w 4519987"/>
                  <a:gd name="connsiteY52" fmla="*/ 4429125 h 4496940"/>
                  <a:gd name="connsiteX53" fmla="*/ 2640352 w 4519987"/>
                  <a:gd name="connsiteY53" fmla="*/ 4457700 h 4496940"/>
                  <a:gd name="connsiteX54" fmla="*/ 2583202 w 4519987"/>
                  <a:gd name="connsiteY54" fmla="*/ 4467225 h 4496940"/>
                  <a:gd name="connsiteX55" fmla="*/ 2545102 w 4519987"/>
                  <a:gd name="connsiteY55" fmla="*/ 4486275 h 4496940"/>
                  <a:gd name="connsiteX56" fmla="*/ 2306977 w 4519987"/>
                  <a:gd name="connsiteY56" fmla="*/ 4476750 h 4496940"/>
                  <a:gd name="connsiteX57" fmla="*/ 2202202 w 4519987"/>
                  <a:gd name="connsiteY57" fmla="*/ 4457700 h 4496940"/>
                  <a:gd name="connsiteX58" fmla="*/ 2126002 w 4519987"/>
                  <a:gd name="connsiteY58" fmla="*/ 4429125 h 4496940"/>
                  <a:gd name="connsiteX59" fmla="*/ 1935502 w 4519987"/>
                  <a:gd name="connsiteY59" fmla="*/ 4400550 h 4496940"/>
                  <a:gd name="connsiteX60" fmla="*/ 1821202 w 4519987"/>
                  <a:gd name="connsiteY60" fmla="*/ 4371975 h 4496940"/>
                  <a:gd name="connsiteX61" fmla="*/ 1754527 w 4519987"/>
                  <a:gd name="connsiteY61" fmla="*/ 4352925 h 4496940"/>
                  <a:gd name="connsiteX62" fmla="*/ 1687852 w 4519987"/>
                  <a:gd name="connsiteY62" fmla="*/ 4343400 h 4496940"/>
                  <a:gd name="connsiteX63" fmla="*/ 1573552 w 4519987"/>
                  <a:gd name="connsiteY63" fmla="*/ 4305300 h 4496940"/>
                  <a:gd name="connsiteX64" fmla="*/ 1402102 w 4519987"/>
                  <a:gd name="connsiteY64" fmla="*/ 4276725 h 4496940"/>
                  <a:gd name="connsiteX65" fmla="*/ 1287802 w 4519987"/>
                  <a:gd name="connsiteY65" fmla="*/ 4229100 h 4496940"/>
                  <a:gd name="connsiteX66" fmla="*/ 1221127 w 4519987"/>
                  <a:gd name="connsiteY66" fmla="*/ 4200525 h 4496940"/>
                  <a:gd name="connsiteX67" fmla="*/ 1144927 w 4519987"/>
                  <a:gd name="connsiteY67" fmla="*/ 4171950 h 4496940"/>
                  <a:gd name="connsiteX68" fmla="*/ 1087777 w 4519987"/>
                  <a:gd name="connsiteY68" fmla="*/ 4143375 h 4496940"/>
                  <a:gd name="connsiteX69" fmla="*/ 1030627 w 4519987"/>
                  <a:gd name="connsiteY69" fmla="*/ 4124325 h 4496940"/>
                  <a:gd name="connsiteX70" fmla="*/ 925852 w 4519987"/>
                  <a:gd name="connsiteY70" fmla="*/ 4067175 h 4496940"/>
                  <a:gd name="connsiteX71" fmla="*/ 830602 w 4519987"/>
                  <a:gd name="connsiteY71" fmla="*/ 3981450 h 4496940"/>
                  <a:gd name="connsiteX72" fmla="*/ 763927 w 4519987"/>
                  <a:gd name="connsiteY72" fmla="*/ 3914775 h 4496940"/>
                  <a:gd name="connsiteX73" fmla="*/ 725827 w 4519987"/>
                  <a:gd name="connsiteY73" fmla="*/ 3876675 h 4496940"/>
                  <a:gd name="connsiteX74" fmla="*/ 697252 w 4519987"/>
                  <a:gd name="connsiteY74" fmla="*/ 3838575 h 4496940"/>
                  <a:gd name="connsiteX75" fmla="*/ 640102 w 4519987"/>
                  <a:gd name="connsiteY75" fmla="*/ 3781425 h 4496940"/>
                  <a:gd name="connsiteX76" fmla="*/ 611527 w 4519987"/>
                  <a:gd name="connsiteY76" fmla="*/ 3733800 h 4496940"/>
                  <a:gd name="connsiteX77" fmla="*/ 554377 w 4519987"/>
                  <a:gd name="connsiteY77" fmla="*/ 3657600 h 4496940"/>
                  <a:gd name="connsiteX78" fmla="*/ 525802 w 4519987"/>
                  <a:gd name="connsiteY78" fmla="*/ 3609975 h 4496940"/>
                  <a:gd name="connsiteX79" fmla="*/ 497227 w 4519987"/>
                  <a:gd name="connsiteY79" fmla="*/ 3552825 h 4496940"/>
                  <a:gd name="connsiteX80" fmla="*/ 440077 w 4519987"/>
                  <a:gd name="connsiteY80" fmla="*/ 3495675 h 4496940"/>
                  <a:gd name="connsiteX81" fmla="*/ 411502 w 4519987"/>
                  <a:gd name="connsiteY81" fmla="*/ 3448050 h 4496940"/>
                  <a:gd name="connsiteX82" fmla="*/ 278152 w 4519987"/>
                  <a:gd name="connsiteY82" fmla="*/ 3257550 h 4496940"/>
                  <a:gd name="connsiteX83" fmla="*/ 249577 w 4519987"/>
                  <a:gd name="connsiteY83" fmla="*/ 3200400 h 4496940"/>
                  <a:gd name="connsiteX84" fmla="*/ 240052 w 4519987"/>
                  <a:gd name="connsiteY84" fmla="*/ 3162300 h 4496940"/>
                  <a:gd name="connsiteX85" fmla="*/ 221002 w 4519987"/>
                  <a:gd name="connsiteY85" fmla="*/ 3105150 h 4496940"/>
                  <a:gd name="connsiteX86" fmla="*/ 173377 w 4519987"/>
                  <a:gd name="connsiteY86" fmla="*/ 3019425 h 4496940"/>
                  <a:gd name="connsiteX87" fmla="*/ 144802 w 4519987"/>
                  <a:gd name="connsiteY87" fmla="*/ 2924175 h 4496940"/>
                  <a:gd name="connsiteX88" fmla="*/ 68602 w 4519987"/>
                  <a:gd name="connsiteY88" fmla="*/ 2724150 h 4496940"/>
                  <a:gd name="connsiteX89" fmla="*/ 49552 w 4519987"/>
                  <a:gd name="connsiteY89" fmla="*/ 2638425 h 4496940"/>
                  <a:gd name="connsiteX90" fmla="*/ 40027 w 4519987"/>
                  <a:gd name="connsiteY90" fmla="*/ 2562225 h 4496940"/>
                  <a:gd name="connsiteX91" fmla="*/ 30502 w 4519987"/>
                  <a:gd name="connsiteY91" fmla="*/ 2514600 h 4496940"/>
                  <a:gd name="connsiteX92" fmla="*/ 11452 w 4519987"/>
                  <a:gd name="connsiteY92" fmla="*/ 2400300 h 4496940"/>
                  <a:gd name="connsiteX93" fmla="*/ 20977 w 4519987"/>
                  <a:gd name="connsiteY93" fmla="*/ 1905000 h 4496940"/>
                  <a:gd name="connsiteX94" fmla="*/ 30502 w 4519987"/>
                  <a:gd name="connsiteY94" fmla="*/ 1838325 h 4496940"/>
                  <a:gd name="connsiteX95" fmla="*/ 49552 w 4519987"/>
                  <a:gd name="connsiteY95" fmla="*/ 1781175 h 4496940"/>
                  <a:gd name="connsiteX96" fmla="*/ 59077 w 4519987"/>
                  <a:gd name="connsiteY96" fmla="*/ 1743075 h 4496940"/>
                  <a:gd name="connsiteX97" fmla="*/ 78127 w 4519987"/>
                  <a:gd name="connsiteY97" fmla="*/ 1685925 h 4496940"/>
                  <a:gd name="connsiteX98" fmla="*/ 87652 w 4519987"/>
                  <a:gd name="connsiteY98" fmla="*/ 1638300 h 4496940"/>
                  <a:gd name="connsiteX99" fmla="*/ 106702 w 4519987"/>
                  <a:gd name="connsiteY99" fmla="*/ 1590675 h 4496940"/>
                  <a:gd name="connsiteX100" fmla="*/ 135277 w 4519987"/>
                  <a:gd name="connsiteY100" fmla="*/ 1504950 h 4496940"/>
                  <a:gd name="connsiteX101" fmla="*/ 154327 w 4519987"/>
                  <a:gd name="connsiteY101" fmla="*/ 1419225 h 4496940"/>
                  <a:gd name="connsiteX102" fmla="*/ 230527 w 4519987"/>
                  <a:gd name="connsiteY102" fmla="*/ 1276350 h 4496940"/>
                  <a:gd name="connsiteX103" fmla="*/ 240052 w 4519987"/>
                  <a:gd name="connsiteY103" fmla="*/ 1247775 h 4496940"/>
                  <a:gd name="connsiteX104" fmla="*/ 268627 w 4519987"/>
                  <a:gd name="connsiteY104" fmla="*/ 1200150 h 4496940"/>
                  <a:gd name="connsiteX105" fmla="*/ 287677 w 4519987"/>
                  <a:gd name="connsiteY105" fmla="*/ 1152525 h 4496940"/>
                  <a:gd name="connsiteX106" fmla="*/ 316252 w 4519987"/>
                  <a:gd name="connsiteY106" fmla="*/ 1114425 h 4496940"/>
                  <a:gd name="connsiteX107" fmla="*/ 363877 w 4519987"/>
                  <a:gd name="connsiteY107" fmla="*/ 1038225 h 4496940"/>
                  <a:gd name="connsiteX108" fmla="*/ 382927 w 4519987"/>
                  <a:gd name="connsiteY108" fmla="*/ 1009650 h 4496940"/>
                  <a:gd name="connsiteX109" fmla="*/ 440077 w 4519987"/>
                  <a:gd name="connsiteY109" fmla="*/ 904875 h 4496940"/>
                  <a:gd name="connsiteX110" fmla="*/ 478177 w 4519987"/>
                  <a:gd name="connsiteY110" fmla="*/ 857250 h 4496940"/>
                  <a:gd name="connsiteX111" fmla="*/ 497227 w 4519987"/>
                  <a:gd name="connsiteY111" fmla="*/ 828675 h 4496940"/>
                  <a:gd name="connsiteX112" fmla="*/ 535327 w 4519987"/>
                  <a:gd name="connsiteY112" fmla="*/ 800100 h 4496940"/>
                  <a:gd name="connsiteX113" fmla="*/ 602002 w 4519987"/>
                  <a:gd name="connsiteY113" fmla="*/ 733425 h 4496940"/>
                  <a:gd name="connsiteX114" fmla="*/ 668677 w 4519987"/>
                  <a:gd name="connsiteY114" fmla="*/ 676275 h 4496940"/>
                  <a:gd name="connsiteX115" fmla="*/ 697252 w 4519987"/>
                  <a:gd name="connsiteY115" fmla="*/ 657225 h 4496940"/>
                  <a:gd name="connsiteX116" fmla="*/ 840127 w 4519987"/>
                  <a:gd name="connsiteY116" fmla="*/ 533400 h 4496940"/>
                  <a:gd name="connsiteX117" fmla="*/ 887752 w 4519987"/>
                  <a:gd name="connsiteY117" fmla="*/ 504825 h 4496940"/>
                  <a:gd name="connsiteX118" fmla="*/ 1167152 w 4519987"/>
                  <a:gd name="connsiteY118" fmla="*/ 311150 h 4496940"/>
                  <a:gd name="connsiteX119" fmla="*/ 1268752 w 4519987"/>
                  <a:gd name="connsiteY119" fmla="*/ 285750 h 4496940"/>
                  <a:gd name="connsiteX120" fmla="*/ 1411627 w 4519987"/>
                  <a:gd name="connsiteY120" fmla="*/ 190500 h 4496940"/>
                  <a:gd name="connsiteX121" fmla="*/ 1449727 w 4519987"/>
                  <a:gd name="connsiteY121" fmla="*/ 161925 h 4496940"/>
                  <a:gd name="connsiteX122" fmla="*/ 1525927 w 4519987"/>
                  <a:gd name="connsiteY122" fmla="*/ 152400 h 4496940"/>
                  <a:gd name="connsiteX123" fmla="*/ 1583077 w 4519987"/>
                  <a:gd name="connsiteY123" fmla="*/ 142875 h 4496940"/>
                  <a:gd name="connsiteX124" fmla="*/ 1716427 w 4519987"/>
                  <a:gd name="connsiteY124" fmla="*/ 123825 h 4496940"/>
                  <a:gd name="connsiteX125" fmla="*/ 1811677 w 4519987"/>
                  <a:gd name="connsiteY125" fmla="*/ 114300 h 4496940"/>
                  <a:gd name="connsiteX126" fmla="*/ 1859302 w 4519987"/>
                  <a:gd name="connsiteY126" fmla="*/ 104775 h 4496940"/>
                  <a:gd name="connsiteX127" fmla="*/ 1916452 w 4519987"/>
                  <a:gd name="connsiteY127" fmla="*/ 95250 h 4496940"/>
                  <a:gd name="connsiteX128" fmla="*/ 2030752 w 4519987"/>
                  <a:gd name="connsiteY128" fmla="*/ 66675 h 4496940"/>
                  <a:gd name="connsiteX129" fmla="*/ 2097427 w 4519987"/>
                  <a:gd name="connsiteY129" fmla="*/ 47625 h 4496940"/>
                  <a:gd name="connsiteX130" fmla="*/ 2164102 w 4519987"/>
                  <a:gd name="connsiteY130" fmla="*/ 38100 h 4496940"/>
                  <a:gd name="connsiteX131" fmla="*/ 2392702 w 4519987"/>
                  <a:gd name="connsiteY13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88152 w 4519987"/>
                  <a:gd name="connsiteY33" fmla="*/ 3495675 h 4496940"/>
                  <a:gd name="connsiteX34" fmla="*/ 4059577 w 4519987"/>
                  <a:gd name="connsiteY34" fmla="*/ 3533775 h 4496940"/>
                  <a:gd name="connsiteX35" fmla="*/ 4002427 w 4519987"/>
                  <a:gd name="connsiteY35" fmla="*/ 3600450 h 4496940"/>
                  <a:gd name="connsiteX36" fmla="*/ 3954802 w 4519987"/>
                  <a:gd name="connsiteY36" fmla="*/ 3648075 h 4496940"/>
                  <a:gd name="connsiteX37" fmla="*/ 3659527 w 4519987"/>
                  <a:gd name="connsiteY37" fmla="*/ 3971925 h 4496940"/>
                  <a:gd name="connsiteX38" fmla="*/ 3630952 w 4519987"/>
                  <a:gd name="connsiteY38" fmla="*/ 4010025 h 4496940"/>
                  <a:gd name="connsiteX39" fmla="*/ 3621427 w 4519987"/>
                  <a:gd name="connsiteY39" fmla="*/ 4038600 h 4496940"/>
                  <a:gd name="connsiteX40" fmla="*/ 3554752 w 4519987"/>
                  <a:gd name="connsiteY40" fmla="*/ 4095750 h 4496940"/>
                  <a:gd name="connsiteX41" fmla="*/ 3516652 w 4519987"/>
                  <a:gd name="connsiteY41" fmla="*/ 4114800 h 4496940"/>
                  <a:gd name="connsiteX42" fmla="*/ 3497602 w 4519987"/>
                  <a:gd name="connsiteY42" fmla="*/ 4143375 h 4496940"/>
                  <a:gd name="connsiteX43" fmla="*/ 3383302 w 4519987"/>
                  <a:gd name="connsiteY43" fmla="*/ 4210050 h 4496940"/>
                  <a:gd name="connsiteX44" fmla="*/ 3335677 w 4519987"/>
                  <a:gd name="connsiteY44" fmla="*/ 4238625 h 4496940"/>
                  <a:gd name="connsiteX45" fmla="*/ 3288052 w 4519987"/>
                  <a:gd name="connsiteY45" fmla="*/ 4248150 h 4496940"/>
                  <a:gd name="connsiteX46" fmla="*/ 3240427 w 4519987"/>
                  <a:gd name="connsiteY46" fmla="*/ 4267200 h 4496940"/>
                  <a:gd name="connsiteX47" fmla="*/ 3068977 w 4519987"/>
                  <a:gd name="connsiteY47" fmla="*/ 4286250 h 4496940"/>
                  <a:gd name="connsiteX48" fmla="*/ 2935627 w 4519987"/>
                  <a:gd name="connsiteY48" fmla="*/ 4333875 h 4496940"/>
                  <a:gd name="connsiteX49" fmla="*/ 2811802 w 4519987"/>
                  <a:gd name="connsiteY49" fmla="*/ 4371975 h 4496940"/>
                  <a:gd name="connsiteX50" fmla="*/ 2745127 w 4519987"/>
                  <a:gd name="connsiteY50" fmla="*/ 4410075 h 4496940"/>
                  <a:gd name="connsiteX51" fmla="*/ 2697502 w 4519987"/>
                  <a:gd name="connsiteY51" fmla="*/ 4429125 h 4496940"/>
                  <a:gd name="connsiteX52" fmla="*/ 2640352 w 4519987"/>
                  <a:gd name="connsiteY52" fmla="*/ 4457700 h 4496940"/>
                  <a:gd name="connsiteX53" fmla="*/ 2583202 w 4519987"/>
                  <a:gd name="connsiteY53" fmla="*/ 4467225 h 4496940"/>
                  <a:gd name="connsiteX54" fmla="*/ 2545102 w 4519987"/>
                  <a:gd name="connsiteY54" fmla="*/ 4486275 h 4496940"/>
                  <a:gd name="connsiteX55" fmla="*/ 2306977 w 4519987"/>
                  <a:gd name="connsiteY55" fmla="*/ 4476750 h 4496940"/>
                  <a:gd name="connsiteX56" fmla="*/ 2202202 w 4519987"/>
                  <a:gd name="connsiteY56" fmla="*/ 4457700 h 4496940"/>
                  <a:gd name="connsiteX57" fmla="*/ 2126002 w 4519987"/>
                  <a:gd name="connsiteY57" fmla="*/ 4429125 h 4496940"/>
                  <a:gd name="connsiteX58" fmla="*/ 1935502 w 4519987"/>
                  <a:gd name="connsiteY58" fmla="*/ 4400550 h 4496940"/>
                  <a:gd name="connsiteX59" fmla="*/ 1821202 w 4519987"/>
                  <a:gd name="connsiteY59" fmla="*/ 4371975 h 4496940"/>
                  <a:gd name="connsiteX60" fmla="*/ 1754527 w 4519987"/>
                  <a:gd name="connsiteY60" fmla="*/ 4352925 h 4496940"/>
                  <a:gd name="connsiteX61" fmla="*/ 1687852 w 4519987"/>
                  <a:gd name="connsiteY61" fmla="*/ 4343400 h 4496940"/>
                  <a:gd name="connsiteX62" fmla="*/ 1573552 w 4519987"/>
                  <a:gd name="connsiteY62" fmla="*/ 4305300 h 4496940"/>
                  <a:gd name="connsiteX63" fmla="*/ 1402102 w 4519987"/>
                  <a:gd name="connsiteY63" fmla="*/ 4276725 h 4496940"/>
                  <a:gd name="connsiteX64" fmla="*/ 1287802 w 4519987"/>
                  <a:gd name="connsiteY64" fmla="*/ 4229100 h 4496940"/>
                  <a:gd name="connsiteX65" fmla="*/ 1221127 w 4519987"/>
                  <a:gd name="connsiteY65" fmla="*/ 4200525 h 4496940"/>
                  <a:gd name="connsiteX66" fmla="*/ 1144927 w 4519987"/>
                  <a:gd name="connsiteY66" fmla="*/ 4171950 h 4496940"/>
                  <a:gd name="connsiteX67" fmla="*/ 1087777 w 4519987"/>
                  <a:gd name="connsiteY67" fmla="*/ 4143375 h 4496940"/>
                  <a:gd name="connsiteX68" fmla="*/ 1030627 w 4519987"/>
                  <a:gd name="connsiteY68" fmla="*/ 4124325 h 4496940"/>
                  <a:gd name="connsiteX69" fmla="*/ 925852 w 4519987"/>
                  <a:gd name="connsiteY69" fmla="*/ 4067175 h 4496940"/>
                  <a:gd name="connsiteX70" fmla="*/ 830602 w 4519987"/>
                  <a:gd name="connsiteY70" fmla="*/ 3981450 h 4496940"/>
                  <a:gd name="connsiteX71" fmla="*/ 763927 w 4519987"/>
                  <a:gd name="connsiteY71" fmla="*/ 3914775 h 4496940"/>
                  <a:gd name="connsiteX72" fmla="*/ 725827 w 4519987"/>
                  <a:gd name="connsiteY72" fmla="*/ 3876675 h 4496940"/>
                  <a:gd name="connsiteX73" fmla="*/ 697252 w 4519987"/>
                  <a:gd name="connsiteY73" fmla="*/ 3838575 h 4496940"/>
                  <a:gd name="connsiteX74" fmla="*/ 640102 w 4519987"/>
                  <a:gd name="connsiteY74" fmla="*/ 3781425 h 4496940"/>
                  <a:gd name="connsiteX75" fmla="*/ 611527 w 4519987"/>
                  <a:gd name="connsiteY75" fmla="*/ 3733800 h 4496940"/>
                  <a:gd name="connsiteX76" fmla="*/ 554377 w 4519987"/>
                  <a:gd name="connsiteY76" fmla="*/ 3657600 h 4496940"/>
                  <a:gd name="connsiteX77" fmla="*/ 525802 w 4519987"/>
                  <a:gd name="connsiteY77" fmla="*/ 3609975 h 4496940"/>
                  <a:gd name="connsiteX78" fmla="*/ 497227 w 4519987"/>
                  <a:gd name="connsiteY78" fmla="*/ 3552825 h 4496940"/>
                  <a:gd name="connsiteX79" fmla="*/ 440077 w 4519987"/>
                  <a:gd name="connsiteY79" fmla="*/ 3495675 h 4496940"/>
                  <a:gd name="connsiteX80" fmla="*/ 411502 w 4519987"/>
                  <a:gd name="connsiteY80" fmla="*/ 3448050 h 4496940"/>
                  <a:gd name="connsiteX81" fmla="*/ 278152 w 4519987"/>
                  <a:gd name="connsiteY81" fmla="*/ 3257550 h 4496940"/>
                  <a:gd name="connsiteX82" fmla="*/ 249577 w 4519987"/>
                  <a:gd name="connsiteY82" fmla="*/ 3200400 h 4496940"/>
                  <a:gd name="connsiteX83" fmla="*/ 240052 w 4519987"/>
                  <a:gd name="connsiteY83" fmla="*/ 3162300 h 4496940"/>
                  <a:gd name="connsiteX84" fmla="*/ 221002 w 4519987"/>
                  <a:gd name="connsiteY84" fmla="*/ 3105150 h 4496940"/>
                  <a:gd name="connsiteX85" fmla="*/ 173377 w 4519987"/>
                  <a:gd name="connsiteY85" fmla="*/ 3019425 h 4496940"/>
                  <a:gd name="connsiteX86" fmla="*/ 144802 w 4519987"/>
                  <a:gd name="connsiteY86" fmla="*/ 2924175 h 4496940"/>
                  <a:gd name="connsiteX87" fmla="*/ 68602 w 4519987"/>
                  <a:gd name="connsiteY87" fmla="*/ 2724150 h 4496940"/>
                  <a:gd name="connsiteX88" fmla="*/ 49552 w 4519987"/>
                  <a:gd name="connsiteY88" fmla="*/ 2638425 h 4496940"/>
                  <a:gd name="connsiteX89" fmla="*/ 40027 w 4519987"/>
                  <a:gd name="connsiteY89" fmla="*/ 2562225 h 4496940"/>
                  <a:gd name="connsiteX90" fmla="*/ 30502 w 4519987"/>
                  <a:gd name="connsiteY90" fmla="*/ 2514600 h 4496940"/>
                  <a:gd name="connsiteX91" fmla="*/ 11452 w 4519987"/>
                  <a:gd name="connsiteY91" fmla="*/ 2400300 h 4496940"/>
                  <a:gd name="connsiteX92" fmla="*/ 20977 w 4519987"/>
                  <a:gd name="connsiteY92" fmla="*/ 1905000 h 4496940"/>
                  <a:gd name="connsiteX93" fmla="*/ 30502 w 4519987"/>
                  <a:gd name="connsiteY93" fmla="*/ 1838325 h 4496940"/>
                  <a:gd name="connsiteX94" fmla="*/ 49552 w 4519987"/>
                  <a:gd name="connsiteY94" fmla="*/ 1781175 h 4496940"/>
                  <a:gd name="connsiteX95" fmla="*/ 59077 w 4519987"/>
                  <a:gd name="connsiteY95" fmla="*/ 1743075 h 4496940"/>
                  <a:gd name="connsiteX96" fmla="*/ 78127 w 4519987"/>
                  <a:gd name="connsiteY96" fmla="*/ 1685925 h 4496940"/>
                  <a:gd name="connsiteX97" fmla="*/ 87652 w 4519987"/>
                  <a:gd name="connsiteY97" fmla="*/ 1638300 h 4496940"/>
                  <a:gd name="connsiteX98" fmla="*/ 106702 w 4519987"/>
                  <a:gd name="connsiteY98" fmla="*/ 1590675 h 4496940"/>
                  <a:gd name="connsiteX99" fmla="*/ 135277 w 4519987"/>
                  <a:gd name="connsiteY99" fmla="*/ 1504950 h 4496940"/>
                  <a:gd name="connsiteX100" fmla="*/ 154327 w 4519987"/>
                  <a:gd name="connsiteY100" fmla="*/ 1419225 h 4496940"/>
                  <a:gd name="connsiteX101" fmla="*/ 230527 w 4519987"/>
                  <a:gd name="connsiteY101" fmla="*/ 1276350 h 4496940"/>
                  <a:gd name="connsiteX102" fmla="*/ 240052 w 4519987"/>
                  <a:gd name="connsiteY102" fmla="*/ 1247775 h 4496940"/>
                  <a:gd name="connsiteX103" fmla="*/ 268627 w 4519987"/>
                  <a:gd name="connsiteY103" fmla="*/ 1200150 h 4496940"/>
                  <a:gd name="connsiteX104" fmla="*/ 287677 w 4519987"/>
                  <a:gd name="connsiteY104" fmla="*/ 1152525 h 4496940"/>
                  <a:gd name="connsiteX105" fmla="*/ 316252 w 4519987"/>
                  <a:gd name="connsiteY105" fmla="*/ 1114425 h 4496940"/>
                  <a:gd name="connsiteX106" fmla="*/ 363877 w 4519987"/>
                  <a:gd name="connsiteY106" fmla="*/ 1038225 h 4496940"/>
                  <a:gd name="connsiteX107" fmla="*/ 382927 w 4519987"/>
                  <a:gd name="connsiteY107" fmla="*/ 1009650 h 4496940"/>
                  <a:gd name="connsiteX108" fmla="*/ 440077 w 4519987"/>
                  <a:gd name="connsiteY108" fmla="*/ 904875 h 4496940"/>
                  <a:gd name="connsiteX109" fmla="*/ 478177 w 4519987"/>
                  <a:gd name="connsiteY109" fmla="*/ 857250 h 4496940"/>
                  <a:gd name="connsiteX110" fmla="*/ 497227 w 4519987"/>
                  <a:gd name="connsiteY110" fmla="*/ 828675 h 4496940"/>
                  <a:gd name="connsiteX111" fmla="*/ 535327 w 4519987"/>
                  <a:gd name="connsiteY111" fmla="*/ 800100 h 4496940"/>
                  <a:gd name="connsiteX112" fmla="*/ 602002 w 4519987"/>
                  <a:gd name="connsiteY112" fmla="*/ 733425 h 4496940"/>
                  <a:gd name="connsiteX113" fmla="*/ 668677 w 4519987"/>
                  <a:gd name="connsiteY113" fmla="*/ 676275 h 4496940"/>
                  <a:gd name="connsiteX114" fmla="*/ 697252 w 4519987"/>
                  <a:gd name="connsiteY114" fmla="*/ 657225 h 4496940"/>
                  <a:gd name="connsiteX115" fmla="*/ 840127 w 4519987"/>
                  <a:gd name="connsiteY115" fmla="*/ 533400 h 4496940"/>
                  <a:gd name="connsiteX116" fmla="*/ 887752 w 4519987"/>
                  <a:gd name="connsiteY116" fmla="*/ 504825 h 4496940"/>
                  <a:gd name="connsiteX117" fmla="*/ 1167152 w 4519987"/>
                  <a:gd name="connsiteY117" fmla="*/ 311150 h 4496940"/>
                  <a:gd name="connsiteX118" fmla="*/ 1268752 w 4519987"/>
                  <a:gd name="connsiteY118" fmla="*/ 285750 h 4496940"/>
                  <a:gd name="connsiteX119" fmla="*/ 1411627 w 4519987"/>
                  <a:gd name="connsiteY119" fmla="*/ 190500 h 4496940"/>
                  <a:gd name="connsiteX120" fmla="*/ 1449727 w 4519987"/>
                  <a:gd name="connsiteY120" fmla="*/ 161925 h 4496940"/>
                  <a:gd name="connsiteX121" fmla="*/ 1525927 w 4519987"/>
                  <a:gd name="connsiteY121" fmla="*/ 152400 h 4496940"/>
                  <a:gd name="connsiteX122" fmla="*/ 1583077 w 4519987"/>
                  <a:gd name="connsiteY122" fmla="*/ 142875 h 4496940"/>
                  <a:gd name="connsiteX123" fmla="*/ 1716427 w 4519987"/>
                  <a:gd name="connsiteY123" fmla="*/ 123825 h 4496940"/>
                  <a:gd name="connsiteX124" fmla="*/ 1811677 w 4519987"/>
                  <a:gd name="connsiteY124" fmla="*/ 114300 h 4496940"/>
                  <a:gd name="connsiteX125" fmla="*/ 1859302 w 4519987"/>
                  <a:gd name="connsiteY125" fmla="*/ 104775 h 4496940"/>
                  <a:gd name="connsiteX126" fmla="*/ 1916452 w 4519987"/>
                  <a:gd name="connsiteY126" fmla="*/ 95250 h 4496940"/>
                  <a:gd name="connsiteX127" fmla="*/ 2030752 w 4519987"/>
                  <a:gd name="connsiteY127" fmla="*/ 66675 h 4496940"/>
                  <a:gd name="connsiteX128" fmla="*/ 2097427 w 4519987"/>
                  <a:gd name="connsiteY128" fmla="*/ 47625 h 4496940"/>
                  <a:gd name="connsiteX129" fmla="*/ 2164102 w 4519987"/>
                  <a:gd name="connsiteY129" fmla="*/ 38100 h 4496940"/>
                  <a:gd name="connsiteX130" fmla="*/ 2392702 w 4519987"/>
                  <a:gd name="connsiteY13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4002427 w 4519987"/>
                  <a:gd name="connsiteY34" fmla="*/ 3600450 h 4496940"/>
                  <a:gd name="connsiteX35" fmla="*/ 3954802 w 4519987"/>
                  <a:gd name="connsiteY35" fmla="*/ 3648075 h 4496940"/>
                  <a:gd name="connsiteX36" fmla="*/ 3659527 w 4519987"/>
                  <a:gd name="connsiteY36" fmla="*/ 3971925 h 4496940"/>
                  <a:gd name="connsiteX37" fmla="*/ 3630952 w 4519987"/>
                  <a:gd name="connsiteY37" fmla="*/ 4010025 h 4496940"/>
                  <a:gd name="connsiteX38" fmla="*/ 3621427 w 4519987"/>
                  <a:gd name="connsiteY38" fmla="*/ 4038600 h 4496940"/>
                  <a:gd name="connsiteX39" fmla="*/ 3554752 w 4519987"/>
                  <a:gd name="connsiteY39" fmla="*/ 4095750 h 4496940"/>
                  <a:gd name="connsiteX40" fmla="*/ 3516652 w 4519987"/>
                  <a:gd name="connsiteY40" fmla="*/ 4114800 h 4496940"/>
                  <a:gd name="connsiteX41" fmla="*/ 3497602 w 4519987"/>
                  <a:gd name="connsiteY41" fmla="*/ 4143375 h 4496940"/>
                  <a:gd name="connsiteX42" fmla="*/ 3383302 w 4519987"/>
                  <a:gd name="connsiteY42" fmla="*/ 4210050 h 4496940"/>
                  <a:gd name="connsiteX43" fmla="*/ 3335677 w 4519987"/>
                  <a:gd name="connsiteY43" fmla="*/ 4238625 h 4496940"/>
                  <a:gd name="connsiteX44" fmla="*/ 3288052 w 4519987"/>
                  <a:gd name="connsiteY44" fmla="*/ 4248150 h 4496940"/>
                  <a:gd name="connsiteX45" fmla="*/ 3240427 w 4519987"/>
                  <a:gd name="connsiteY45" fmla="*/ 4267200 h 4496940"/>
                  <a:gd name="connsiteX46" fmla="*/ 3068977 w 4519987"/>
                  <a:gd name="connsiteY46" fmla="*/ 4286250 h 4496940"/>
                  <a:gd name="connsiteX47" fmla="*/ 2935627 w 4519987"/>
                  <a:gd name="connsiteY47" fmla="*/ 4333875 h 4496940"/>
                  <a:gd name="connsiteX48" fmla="*/ 2811802 w 4519987"/>
                  <a:gd name="connsiteY48" fmla="*/ 4371975 h 4496940"/>
                  <a:gd name="connsiteX49" fmla="*/ 2745127 w 4519987"/>
                  <a:gd name="connsiteY49" fmla="*/ 4410075 h 4496940"/>
                  <a:gd name="connsiteX50" fmla="*/ 2697502 w 4519987"/>
                  <a:gd name="connsiteY50" fmla="*/ 4429125 h 4496940"/>
                  <a:gd name="connsiteX51" fmla="*/ 2640352 w 4519987"/>
                  <a:gd name="connsiteY51" fmla="*/ 4457700 h 4496940"/>
                  <a:gd name="connsiteX52" fmla="*/ 2583202 w 4519987"/>
                  <a:gd name="connsiteY52" fmla="*/ 4467225 h 4496940"/>
                  <a:gd name="connsiteX53" fmla="*/ 2545102 w 4519987"/>
                  <a:gd name="connsiteY53" fmla="*/ 4486275 h 4496940"/>
                  <a:gd name="connsiteX54" fmla="*/ 2306977 w 4519987"/>
                  <a:gd name="connsiteY54" fmla="*/ 4476750 h 4496940"/>
                  <a:gd name="connsiteX55" fmla="*/ 2202202 w 4519987"/>
                  <a:gd name="connsiteY55" fmla="*/ 4457700 h 4496940"/>
                  <a:gd name="connsiteX56" fmla="*/ 2126002 w 4519987"/>
                  <a:gd name="connsiteY56" fmla="*/ 4429125 h 4496940"/>
                  <a:gd name="connsiteX57" fmla="*/ 1935502 w 4519987"/>
                  <a:gd name="connsiteY57" fmla="*/ 4400550 h 4496940"/>
                  <a:gd name="connsiteX58" fmla="*/ 1821202 w 4519987"/>
                  <a:gd name="connsiteY58" fmla="*/ 4371975 h 4496940"/>
                  <a:gd name="connsiteX59" fmla="*/ 1754527 w 4519987"/>
                  <a:gd name="connsiteY59" fmla="*/ 4352925 h 4496940"/>
                  <a:gd name="connsiteX60" fmla="*/ 1687852 w 4519987"/>
                  <a:gd name="connsiteY60" fmla="*/ 4343400 h 4496940"/>
                  <a:gd name="connsiteX61" fmla="*/ 1573552 w 4519987"/>
                  <a:gd name="connsiteY61" fmla="*/ 4305300 h 4496940"/>
                  <a:gd name="connsiteX62" fmla="*/ 1402102 w 4519987"/>
                  <a:gd name="connsiteY62" fmla="*/ 4276725 h 4496940"/>
                  <a:gd name="connsiteX63" fmla="*/ 1287802 w 4519987"/>
                  <a:gd name="connsiteY63" fmla="*/ 4229100 h 4496940"/>
                  <a:gd name="connsiteX64" fmla="*/ 1221127 w 4519987"/>
                  <a:gd name="connsiteY64" fmla="*/ 4200525 h 4496940"/>
                  <a:gd name="connsiteX65" fmla="*/ 1144927 w 4519987"/>
                  <a:gd name="connsiteY65" fmla="*/ 4171950 h 4496940"/>
                  <a:gd name="connsiteX66" fmla="*/ 1087777 w 4519987"/>
                  <a:gd name="connsiteY66" fmla="*/ 4143375 h 4496940"/>
                  <a:gd name="connsiteX67" fmla="*/ 1030627 w 4519987"/>
                  <a:gd name="connsiteY67" fmla="*/ 4124325 h 4496940"/>
                  <a:gd name="connsiteX68" fmla="*/ 925852 w 4519987"/>
                  <a:gd name="connsiteY68" fmla="*/ 4067175 h 4496940"/>
                  <a:gd name="connsiteX69" fmla="*/ 830602 w 4519987"/>
                  <a:gd name="connsiteY69" fmla="*/ 3981450 h 4496940"/>
                  <a:gd name="connsiteX70" fmla="*/ 763927 w 4519987"/>
                  <a:gd name="connsiteY70" fmla="*/ 3914775 h 4496940"/>
                  <a:gd name="connsiteX71" fmla="*/ 725827 w 4519987"/>
                  <a:gd name="connsiteY71" fmla="*/ 3876675 h 4496940"/>
                  <a:gd name="connsiteX72" fmla="*/ 697252 w 4519987"/>
                  <a:gd name="connsiteY72" fmla="*/ 3838575 h 4496940"/>
                  <a:gd name="connsiteX73" fmla="*/ 640102 w 4519987"/>
                  <a:gd name="connsiteY73" fmla="*/ 3781425 h 4496940"/>
                  <a:gd name="connsiteX74" fmla="*/ 611527 w 4519987"/>
                  <a:gd name="connsiteY74" fmla="*/ 3733800 h 4496940"/>
                  <a:gd name="connsiteX75" fmla="*/ 554377 w 4519987"/>
                  <a:gd name="connsiteY75" fmla="*/ 3657600 h 4496940"/>
                  <a:gd name="connsiteX76" fmla="*/ 525802 w 4519987"/>
                  <a:gd name="connsiteY76" fmla="*/ 3609975 h 4496940"/>
                  <a:gd name="connsiteX77" fmla="*/ 497227 w 4519987"/>
                  <a:gd name="connsiteY77" fmla="*/ 3552825 h 4496940"/>
                  <a:gd name="connsiteX78" fmla="*/ 440077 w 4519987"/>
                  <a:gd name="connsiteY78" fmla="*/ 3495675 h 4496940"/>
                  <a:gd name="connsiteX79" fmla="*/ 411502 w 4519987"/>
                  <a:gd name="connsiteY79" fmla="*/ 3448050 h 4496940"/>
                  <a:gd name="connsiteX80" fmla="*/ 278152 w 4519987"/>
                  <a:gd name="connsiteY80" fmla="*/ 3257550 h 4496940"/>
                  <a:gd name="connsiteX81" fmla="*/ 249577 w 4519987"/>
                  <a:gd name="connsiteY81" fmla="*/ 3200400 h 4496940"/>
                  <a:gd name="connsiteX82" fmla="*/ 240052 w 4519987"/>
                  <a:gd name="connsiteY82" fmla="*/ 3162300 h 4496940"/>
                  <a:gd name="connsiteX83" fmla="*/ 221002 w 4519987"/>
                  <a:gd name="connsiteY83" fmla="*/ 3105150 h 4496940"/>
                  <a:gd name="connsiteX84" fmla="*/ 173377 w 4519987"/>
                  <a:gd name="connsiteY84" fmla="*/ 3019425 h 4496940"/>
                  <a:gd name="connsiteX85" fmla="*/ 144802 w 4519987"/>
                  <a:gd name="connsiteY85" fmla="*/ 2924175 h 4496940"/>
                  <a:gd name="connsiteX86" fmla="*/ 68602 w 4519987"/>
                  <a:gd name="connsiteY86" fmla="*/ 2724150 h 4496940"/>
                  <a:gd name="connsiteX87" fmla="*/ 49552 w 4519987"/>
                  <a:gd name="connsiteY87" fmla="*/ 2638425 h 4496940"/>
                  <a:gd name="connsiteX88" fmla="*/ 40027 w 4519987"/>
                  <a:gd name="connsiteY88" fmla="*/ 2562225 h 4496940"/>
                  <a:gd name="connsiteX89" fmla="*/ 30502 w 4519987"/>
                  <a:gd name="connsiteY89" fmla="*/ 2514600 h 4496940"/>
                  <a:gd name="connsiteX90" fmla="*/ 11452 w 4519987"/>
                  <a:gd name="connsiteY90" fmla="*/ 2400300 h 4496940"/>
                  <a:gd name="connsiteX91" fmla="*/ 20977 w 4519987"/>
                  <a:gd name="connsiteY91" fmla="*/ 1905000 h 4496940"/>
                  <a:gd name="connsiteX92" fmla="*/ 30502 w 4519987"/>
                  <a:gd name="connsiteY92" fmla="*/ 1838325 h 4496940"/>
                  <a:gd name="connsiteX93" fmla="*/ 49552 w 4519987"/>
                  <a:gd name="connsiteY93" fmla="*/ 1781175 h 4496940"/>
                  <a:gd name="connsiteX94" fmla="*/ 59077 w 4519987"/>
                  <a:gd name="connsiteY94" fmla="*/ 1743075 h 4496940"/>
                  <a:gd name="connsiteX95" fmla="*/ 78127 w 4519987"/>
                  <a:gd name="connsiteY95" fmla="*/ 1685925 h 4496940"/>
                  <a:gd name="connsiteX96" fmla="*/ 87652 w 4519987"/>
                  <a:gd name="connsiteY96" fmla="*/ 1638300 h 4496940"/>
                  <a:gd name="connsiteX97" fmla="*/ 106702 w 4519987"/>
                  <a:gd name="connsiteY97" fmla="*/ 1590675 h 4496940"/>
                  <a:gd name="connsiteX98" fmla="*/ 135277 w 4519987"/>
                  <a:gd name="connsiteY98" fmla="*/ 1504950 h 4496940"/>
                  <a:gd name="connsiteX99" fmla="*/ 154327 w 4519987"/>
                  <a:gd name="connsiteY99" fmla="*/ 1419225 h 4496940"/>
                  <a:gd name="connsiteX100" fmla="*/ 230527 w 4519987"/>
                  <a:gd name="connsiteY100" fmla="*/ 1276350 h 4496940"/>
                  <a:gd name="connsiteX101" fmla="*/ 240052 w 4519987"/>
                  <a:gd name="connsiteY101" fmla="*/ 1247775 h 4496940"/>
                  <a:gd name="connsiteX102" fmla="*/ 268627 w 4519987"/>
                  <a:gd name="connsiteY102" fmla="*/ 1200150 h 4496940"/>
                  <a:gd name="connsiteX103" fmla="*/ 287677 w 4519987"/>
                  <a:gd name="connsiteY103" fmla="*/ 1152525 h 4496940"/>
                  <a:gd name="connsiteX104" fmla="*/ 316252 w 4519987"/>
                  <a:gd name="connsiteY104" fmla="*/ 1114425 h 4496940"/>
                  <a:gd name="connsiteX105" fmla="*/ 363877 w 4519987"/>
                  <a:gd name="connsiteY105" fmla="*/ 1038225 h 4496940"/>
                  <a:gd name="connsiteX106" fmla="*/ 382927 w 4519987"/>
                  <a:gd name="connsiteY106" fmla="*/ 1009650 h 4496940"/>
                  <a:gd name="connsiteX107" fmla="*/ 440077 w 4519987"/>
                  <a:gd name="connsiteY107" fmla="*/ 904875 h 4496940"/>
                  <a:gd name="connsiteX108" fmla="*/ 478177 w 4519987"/>
                  <a:gd name="connsiteY108" fmla="*/ 857250 h 4496940"/>
                  <a:gd name="connsiteX109" fmla="*/ 497227 w 4519987"/>
                  <a:gd name="connsiteY109" fmla="*/ 828675 h 4496940"/>
                  <a:gd name="connsiteX110" fmla="*/ 535327 w 4519987"/>
                  <a:gd name="connsiteY110" fmla="*/ 800100 h 4496940"/>
                  <a:gd name="connsiteX111" fmla="*/ 602002 w 4519987"/>
                  <a:gd name="connsiteY111" fmla="*/ 733425 h 4496940"/>
                  <a:gd name="connsiteX112" fmla="*/ 668677 w 4519987"/>
                  <a:gd name="connsiteY112" fmla="*/ 676275 h 4496940"/>
                  <a:gd name="connsiteX113" fmla="*/ 697252 w 4519987"/>
                  <a:gd name="connsiteY113" fmla="*/ 657225 h 4496940"/>
                  <a:gd name="connsiteX114" fmla="*/ 840127 w 4519987"/>
                  <a:gd name="connsiteY114" fmla="*/ 533400 h 4496940"/>
                  <a:gd name="connsiteX115" fmla="*/ 887752 w 4519987"/>
                  <a:gd name="connsiteY115" fmla="*/ 504825 h 4496940"/>
                  <a:gd name="connsiteX116" fmla="*/ 1167152 w 4519987"/>
                  <a:gd name="connsiteY116" fmla="*/ 311150 h 4496940"/>
                  <a:gd name="connsiteX117" fmla="*/ 1268752 w 4519987"/>
                  <a:gd name="connsiteY117" fmla="*/ 285750 h 4496940"/>
                  <a:gd name="connsiteX118" fmla="*/ 1411627 w 4519987"/>
                  <a:gd name="connsiteY118" fmla="*/ 190500 h 4496940"/>
                  <a:gd name="connsiteX119" fmla="*/ 1449727 w 4519987"/>
                  <a:gd name="connsiteY119" fmla="*/ 161925 h 4496940"/>
                  <a:gd name="connsiteX120" fmla="*/ 1525927 w 4519987"/>
                  <a:gd name="connsiteY120" fmla="*/ 152400 h 4496940"/>
                  <a:gd name="connsiteX121" fmla="*/ 1583077 w 4519987"/>
                  <a:gd name="connsiteY121" fmla="*/ 142875 h 4496940"/>
                  <a:gd name="connsiteX122" fmla="*/ 1716427 w 4519987"/>
                  <a:gd name="connsiteY122" fmla="*/ 123825 h 4496940"/>
                  <a:gd name="connsiteX123" fmla="*/ 1811677 w 4519987"/>
                  <a:gd name="connsiteY123" fmla="*/ 114300 h 4496940"/>
                  <a:gd name="connsiteX124" fmla="*/ 1859302 w 4519987"/>
                  <a:gd name="connsiteY124" fmla="*/ 104775 h 4496940"/>
                  <a:gd name="connsiteX125" fmla="*/ 1916452 w 4519987"/>
                  <a:gd name="connsiteY125" fmla="*/ 95250 h 4496940"/>
                  <a:gd name="connsiteX126" fmla="*/ 2030752 w 4519987"/>
                  <a:gd name="connsiteY126" fmla="*/ 66675 h 4496940"/>
                  <a:gd name="connsiteX127" fmla="*/ 2097427 w 4519987"/>
                  <a:gd name="connsiteY127" fmla="*/ 47625 h 4496940"/>
                  <a:gd name="connsiteX128" fmla="*/ 2164102 w 4519987"/>
                  <a:gd name="connsiteY128" fmla="*/ 38100 h 4496940"/>
                  <a:gd name="connsiteX129" fmla="*/ 2392702 w 4519987"/>
                  <a:gd name="connsiteY12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621427 w 4519987"/>
                  <a:gd name="connsiteY37" fmla="*/ 4038600 h 4496940"/>
                  <a:gd name="connsiteX38" fmla="*/ 3554752 w 4519987"/>
                  <a:gd name="connsiteY38" fmla="*/ 4095750 h 4496940"/>
                  <a:gd name="connsiteX39" fmla="*/ 3516652 w 4519987"/>
                  <a:gd name="connsiteY39" fmla="*/ 4114800 h 4496940"/>
                  <a:gd name="connsiteX40" fmla="*/ 3497602 w 4519987"/>
                  <a:gd name="connsiteY40" fmla="*/ 4143375 h 4496940"/>
                  <a:gd name="connsiteX41" fmla="*/ 3383302 w 4519987"/>
                  <a:gd name="connsiteY41" fmla="*/ 4210050 h 4496940"/>
                  <a:gd name="connsiteX42" fmla="*/ 3335677 w 4519987"/>
                  <a:gd name="connsiteY42" fmla="*/ 4238625 h 4496940"/>
                  <a:gd name="connsiteX43" fmla="*/ 3288052 w 4519987"/>
                  <a:gd name="connsiteY43" fmla="*/ 4248150 h 4496940"/>
                  <a:gd name="connsiteX44" fmla="*/ 3240427 w 4519987"/>
                  <a:gd name="connsiteY44" fmla="*/ 4267200 h 4496940"/>
                  <a:gd name="connsiteX45" fmla="*/ 3068977 w 4519987"/>
                  <a:gd name="connsiteY45" fmla="*/ 4286250 h 4496940"/>
                  <a:gd name="connsiteX46" fmla="*/ 2935627 w 4519987"/>
                  <a:gd name="connsiteY46" fmla="*/ 4333875 h 4496940"/>
                  <a:gd name="connsiteX47" fmla="*/ 2811802 w 4519987"/>
                  <a:gd name="connsiteY47" fmla="*/ 4371975 h 4496940"/>
                  <a:gd name="connsiteX48" fmla="*/ 2745127 w 4519987"/>
                  <a:gd name="connsiteY48" fmla="*/ 4410075 h 4496940"/>
                  <a:gd name="connsiteX49" fmla="*/ 2697502 w 4519987"/>
                  <a:gd name="connsiteY49" fmla="*/ 4429125 h 4496940"/>
                  <a:gd name="connsiteX50" fmla="*/ 2640352 w 4519987"/>
                  <a:gd name="connsiteY50" fmla="*/ 4457700 h 4496940"/>
                  <a:gd name="connsiteX51" fmla="*/ 2583202 w 4519987"/>
                  <a:gd name="connsiteY51" fmla="*/ 4467225 h 4496940"/>
                  <a:gd name="connsiteX52" fmla="*/ 2545102 w 4519987"/>
                  <a:gd name="connsiteY52" fmla="*/ 4486275 h 4496940"/>
                  <a:gd name="connsiteX53" fmla="*/ 2306977 w 4519987"/>
                  <a:gd name="connsiteY53" fmla="*/ 4476750 h 4496940"/>
                  <a:gd name="connsiteX54" fmla="*/ 2202202 w 4519987"/>
                  <a:gd name="connsiteY54" fmla="*/ 4457700 h 4496940"/>
                  <a:gd name="connsiteX55" fmla="*/ 2126002 w 4519987"/>
                  <a:gd name="connsiteY55" fmla="*/ 4429125 h 4496940"/>
                  <a:gd name="connsiteX56" fmla="*/ 1935502 w 4519987"/>
                  <a:gd name="connsiteY56" fmla="*/ 4400550 h 4496940"/>
                  <a:gd name="connsiteX57" fmla="*/ 1821202 w 4519987"/>
                  <a:gd name="connsiteY57" fmla="*/ 4371975 h 4496940"/>
                  <a:gd name="connsiteX58" fmla="*/ 1754527 w 4519987"/>
                  <a:gd name="connsiteY58" fmla="*/ 4352925 h 4496940"/>
                  <a:gd name="connsiteX59" fmla="*/ 1687852 w 4519987"/>
                  <a:gd name="connsiteY59" fmla="*/ 4343400 h 4496940"/>
                  <a:gd name="connsiteX60" fmla="*/ 1573552 w 4519987"/>
                  <a:gd name="connsiteY60" fmla="*/ 4305300 h 4496940"/>
                  <a:gd name="connsiteX61" fmla="*/ 1402102 w 4519987"/>
                  <a:gd name="connsiteY61" fmla="*/ 4276725 h 4496940"/>
                  <a:gd name="connsiteX62" fmla="*/ 1287802 w 4519987"/>
                  <a:gd name="connsiteY62" fmla="*/ 4229100 h 4496940"/>
                  <a:gd name="connsiteX63" fmla="*/ 1221127 w 4519987"/>
                  <a:gd name="connsiteY63" fmla="*/ 4200525 h 4496940"/>
                  <a:gd name="connsiteX64" fmla="*/ 1144927 w 4519987"/>
                  <a:gd name="connsiteY64" fmla="*/ 4171950 h 4496940"/>
                  <a:gd name="connsiteX65" fmla="*/ 1087777 w 4519987"/>
                  <a:gd name="connsiteY65" fmla="*/ 4143375 h 4496940"/>
                  <a:gd name="connsiteX66" fmla="*/ 1030627 w 4519987"/>
                  <a:gd name="connsiteY66" fmla="*/ 4124325 h 4496940"/>
                  <a:gd name="connsiteX67" fmla="*/ 925852 w 4519987"/>
                  <a:gd name="connsiteY67" fmla="*/ 4067175 h 4496940"/>
                  <a:gd name="connsiteX68" fmla="*/ 830602 w 4519987"/>
                  <a:gd name="connsiteY68" fmla="*/ 3981450 h 4496940"/>
                  <a:gd name="connsiteX69" fmla="*/ 763927 w 4519987"/>
                  <a:gd name="connsiteY69" fmla="*/ 3914775 h 4496940"/>
                  <a:gd name="connsiteX70" fmla="*/ 725827 w 4519987"/>
                  <a:gd name="connsiteY70" fmla="*/ 3876675 h 4496940"/>
                  <a:gd name="connsiteX71" fmla="*/ 697252 w 4519987"/>
                  <a:gd name="connsiteY71" fmla="*/ 3838575 h 4496940"/>
                  <a:gd name="connsiteX72" fmla="*/ 640102 w 4519987"/>
                  <a:gd name="connsiteY72" fmla="*/ 3781425 h 4496940"/>
                  <a:gd name="connsiteX73" fmla="*/ 611527 w 4519987"/>
                  <a:gd name="connsiteY73" fmla="*/ 3733800 h 4496940"/>
                  <a:gd name="connsiteX74" fmla="*/ 554377 w 4519987"/>
                  <a:gd name="connsiteY74" fmla="*/ 3657600 h 4496940"/>
                  <a:gd name="connsiteX75" fmla="*/ 525802 w 4519987"/>
                  <a:gd name="connsiteY75" fmla="*/ 3609975 h 4496940"/>
                  <a:gd name="connsiteX76" fmla="*/ 497227 w 4519987"/>
                  <a:gd name="connsiteY76" fmla="*/ 3552825 h 4496940"/>
                  <a:gd name="connsiteX77" fmla="*/ 440077 w 4519987"/>
                  <a:gd name="connsiteY77" fmla="*/ 3495675 h 4496940"/>
                  <a:gd name="connsiteX78" fmla="*/ 411502 w 4519987"/>
                  <a:gd name="connsiteY78" fmla="*/ 3448050 h 4496940"/>
                  <a:gd name="connsiteX79" fmla="*/ 278152 w 4519987"/>
                  <a:gd name="connsiteY79" fmla="*/ 3257550 h 4496940"/>
                  <a:gd name="connsiteX80" fmla="*/ 249577 w 4519987"/>
                  <a:gd name="connsiteY80" fmla="*/ 3200400 h 4496940"/>
                  <a:gd name="connsiteX81" fmla="*/ 240052 w 4519987"/>
                  <a:gd name="connsiteY81" fmla="*/ 3162300 h 4496940"/>
                  <a:gd name="connsiteX82" fmla="*/ 221002 w 4519987"/>
                  <a:gd name="connsiteY82" fmla="*/ 3105150 h 4496940"/>
                  <a:gd name="connsiteX83" fmla="*/ 173377 w 4519987"/>
                  <a:gd name="connsiteY83" fmla="*/ 3019425 h 4496940"/>
                  <a:gd name="connsiteX84" fmla="*/ 144802 w 4519987"/>
                  <a:gd name="connsiteY84" fmla="*/ 2924175 h 4496940"/>
                  <a:gd name="connsiteX85" fmla="*/ 68602 w 4519987"/>
                  <a:gd name="connsiteY85" fmla="*/ 2724150 h 4496940"/>
                  <a:gd name="connsiteX86" fmla="*/ 49552 w 4519987"/>
                  <a:gd name="connsiteY86" fmla="*/ 2638425 h 4496940"/>
                  <a:gd name="connsiteX87" fmla="*/ 40027 w 4519987"/>
                  <a:gd name="connsiteY87" fmla="*/ 2562225 h 4496940"/>
                  <a:gd name="connsiteX88" fmla="*/ 30502 w 4519987"/>
                  <a:gd name="connsiteY88" fmla="*/ 2514600 h 4496940"/>
                  <a:gd name="connsiteX89" fmla="*/ 11452 w 4519987"/>
                  <a:gd name="connsiteY89" fmla="*/ 2400300 h 4496940"/>
                  <a:gd name="connsiteX90" fmla="*/ 20977 w 4519987"/>
                  <a:gd name="connsiteY90" fmla="*/ 1905000 h 4496940"/>
                  <a:gd name="connsiteX91" fmla="*/ 30502 w 4519987"/>
                  <a:gd name="connsiteY91" fmla="*/ 1838325 h 4496940"/>
                  <a:gd name="connsiteX92" fmla="*/ 49552 w 4519987"/>
                  <a:gd name="connsiteY92" fmla="*/ 1781175 h 4496940"/>
                  <a:gd name="connsiteX93" fmla="*/ 59077 w 4519987"/>
                  <a:gd name="connsiteY93" fmla="*/ 1743075 h 4496940"/>
                  <a:gd name="connsiteX94" fmla="*/ 78127 w 4519987"/>
                  <a:gd name="connsiteY94" fmla="*/ 1685925 h 4496940"/>
                  <a:gd name="connsiteX95" fmla="*/ 87652 w 4519987"/>
                  <a:gd name="connsiteY95" fmla="*/ 1638300 h 4496940"/>
                  <a:gd name="connsiteX96" fmla="*/ 106702 w 4519987"/>
                  <a:gd name="connsiteY96" fmla="*/ 1590675 h 4496940"/>
                  <a:gd name="connsiteX97" fmla="*/ 135277 w 4519987"/>
                  <a:gd name="connsiteY97" fmla="*/ 1504950 h 4496940"/>
                  <a:gd name="connsiteX98" fmla="*/ 154327 w 4519987"/>
                  <a:gd name="connsiteY98" fmla="*/ 1419225 h 4496940"/>
                  <a:gd name="connsiteX99" fmla="*/ 230527 w 4519987"/>
                  <a:gd name="connsiteY99" fmla="*/ 1276350 h 4496940"/>
                  <a:gd name="connsiteX100" fmla="*/ 240052 w 4519987"/>
                  <a:gd name="connsiteY100" fmla="*/ 1247775 h 4496940"/>
                  <a:gd name="connsiteX101" fmla="*/ 268627 w 4519987"/>
                  <a:gd name="connsiteY101" fmla="*/ 1200150 h 4496940"/>
                  <a:gd name="connsiteX102" fmla="*/ 287677 w 4519987"/>
                  <a:gd name="connsiteY102" fmla="*/ 1152525 h 4496940"/>
                  <a:gd name="connsiteX103" fmla="*/ 316252 w 4519987"/>
                  <a:gd name="connsiteY103" fmla="*/ 1114425 h 4496940"/>
                  <a:gd name="connsiteX104" fmla="*/ 363877 w 4519987"/>
                  <a:gd name="connsiteY104" fmla="*/ 1038225 h 4496940"/>
                  <a:gd name="connsiteX105" fmla="*/ 382927 w 4519987"/>
                  <a:gd name="connsiteY105" fmla="*/ 1009650 h 4496940"/>
                  <a:gd name="connsiteX106" fmla="*/ 440077 w 4519987"/>
                  <a:gd name="connsiteY106" fmla="*/ 904875 h 4496940"/>
                  <a:gd name="connsiteX107" fmla="*/ 478177 w 4519987"/>
                  <a:gd name="connsiteY107" fmla="*/ 857250 h 4496940"/>
                  <a:gd name="connsiteX108" fmla="*/ 497227 w 4519987"/>
                  <a:gd name="connsiteY108" fmla="*/ 828675 h 4496940"/>
                  <a:gd name="connsiteX109" fmla="*/ 535327 w 4519987"/>
                  <a:gd name="connsiteY109" fmla="*/ 800100 h 4496940"/>
                  <a:gd name="connsiteX110" fmla="*/ 602002 w 4519987"/>
                  <a:gd name="connsiteY110" fmla="*/ 733425 h 4496940"/>
                  <a:gd name="connsiteX111" fmla="*/ 668677 w 4519987"/>
                  <a:gd name="connsiteY111" fmla="*/ 676275 h 4496940"/>
                  <a:gd name="connsiteX112" fmla="*/ 697252 w 4519987"/>
                  <a:gd name="connsiteY112" fmla="*/ 657225 h 4496940"/>
                  <a:gd name="connsiteX113" fmla="*/ 840127 w 4519987"/>
                  <a:gd name="connsiteY113" fmla="*/ 533400 h 4496940"/>
                  <a:gd name="connsiteX114" fmla="*/ 887752 w 4519987"/>
                  <a:gd name="connsiteY114" fmla="*/ 504825 h 4496940"/>
                  <a:gd name="connsiteX115" fmla="*/ 1167152 w 4519987"/>
                  <a:gd name="connsiteY115" fmla="*/ 311150 h 4496940"/>
                  <a:gd name="connsiteX116" fmla="*/ 1268752 w 4519987"/>
                  <a:gd name="connsiteY116" fmla="*/ 285750 h 4496940"/>
                  <a:gd name="connsiteX117" fmla="*/ 1411627 w 4519987"/>
                  <a:gd name="connsiteY117" fmla="*/ 190500 h 4496940"/>
                  <a:gd name="connsiteX118" fmla="*/ 1449727 w 4519987"/>
                  <a:gd name="connsiteY118" fmla="*/ 161925 h 4496940"/>
                  <a:gd name="connsiteX119" fmla="*/ 1525927 w 4519987"/>
                  <a:gd name="connsiteY119" fmla="*/ 152400 h 4496940"/>
                  <a:gd name="connsiteX120" fmla="*/ 1583077 w 4519987"/>
                  <a:gd name="connsiteY120" fmla="*/ 142875 h 4496940"/>
                  <a:gd name="connsiteX121" fmla="*/ 1716427 w 4519987"/>
                  <a:gd name="connsiteY121" fmla="*/ 123825 h 4496940"/>
                  <a:gd name="connsiteX122" fmla="*/ 1811677 w 4519987"/>
                  <a:gd name="connsiteY122" fmla="*/ 114300 h 4496940"/>
                  <a:gd name="connsiteX123" fmla="*/ 1859302 w 4519987"/>
                  <a:gd name="connsiteY123" fmla="*/ 104775 h 4496940"/>
                  <a:gd name="connsiteX124" fmla="*/ 1916452 w 4519987"/>
                  <a:gd name="connsiteY124" fmla="*/ 95250 h 4496940"/>
                  <a:gd name="connsiteX125" fmla="*/ 2030752 w 4519987"/>
                  <a:gd name="connsiteY125" fmla="*/ 66675 h 4496940"/>
                  <a:gd name="connsiteX126" fmla="*/ 2097427 w 4519987"/>
                  <a:gd name="connsiteY126" fmla="*/ 47625 h 4496940"/>
                  <a:gd name="connsiteX127" fmla="*/ 2164102 w 4519987"/>
                  <a:gd name="connsiteY127" fmla="*/ 38100 h 4496940"/>
                  <a:gd name="connsiteX128" fmla="*/ 2392702 w 4519987"/>
                  <a:gd name="connsiteY12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621427 w 4519987"/>
                  <a:gd name="connsiteY37" fmla="*/ 4038600 h 4496940"/>
                  <a:gd name="connsiteX38" fmla="*/ 3554752 w 4519987"/>
                  <a:gd name="connsiteY38" fmla="*/ 4095750 h 4496940"/>
                  <a:gd name="connsiteX39" fmla="*/ 3516652 w 4519987"/>
                  <a:gd name="connsiteY39" fmla="*/ 4114800 h 4496940"/>
                  <a:gd name="connsiteX40" fmla="*/ 3383302 w 4519987"/>
                  <a:gd name="connsiteY40" fmla="*/ 4210050 h 4496940"/>
                  <a:gd name="connsiteX41" fmla="*/ 3335677 w 4519987"/>
                  <a:gd name="connsiteY41" fmla="*/ 4238625 h 4496940"/>
                  <a:gd name="connsiteX42" fmla="*/ 3288052 w 4519987"/>
                  <a:gd name="connsiteY42" fmla="*/ 4248150 h 4496940"/>
                  <a:gd name="connsiteX43" fmla="*/ 3240427 w 4519987"/>
                  <a:gd name="connsiteY43" fmla="*/ 4267200 h 4496940"/>
                  <a:gd name="connsiteX44" fmla="*/ 3068977 w 4519987"/>
                  <a:gd name="connsiteY44" fmla="*/ 4286250 h 4496940"/>
                  <a:gd name="connsiteX45" fmla="*/ 2935627 w 4519987"/>
                  <a:gd name="connsiteY45" fmla="*/ 4333875 h 4496940"/>
                  <a:gd name="connsiteX46" fmla="*/ 2811802 w 4519987"/>
                  <a:gd name="connsiteY46" fmla="*/ 4371975 h 4496940"/>
                  <a:gd name="connsiteX47" fmla="*/ 2745127 w 4519987"/>
                  <a:gd name="connsiteY47" fmla="*/ 4410075 h 4496940"/>
                  <a:gd name="connsiteX48" fmla="*/ 2697502 w 4519987"/>
                  <a:gd name="connsiteY48" fmla="*/ 4429125 h 4496940"/>
                  <a:gd name="connsiteX49" fmla="*/ 2640352 w 4519987"/>
                  <a:gd name="connsiteY49" fmla="*/ 4457700 h 4496940"/>
                  <a:gd name="connsiteX50" fmla="*/ 2583202 w 4519987"/>
                  <a:gd name="connsiteY50" fmla="*/ 4467225 h 4496940"/>
                  <a:gd name="connsiteX51" fmla="*/ 2545102 w 4519987"/>
                  <a:gd name="connsiteY51" fmla="*/ 4486275 h 4496940"/>
                  <a:gd name="connsiteX52" fmla="*/ 2306977 w 4519987"/>
                  <a:gd name="connsiteY52" fmla="*/ 4476750 h 4496940"/>
                  <a:gd name="connsiteX53" fmla="*/ 2202202 w 4519987"/>
                  <a:gd name="connsiteY53" fmla="*/ 4457700 h 4496940"/>
                  <a:gd name="connsiteX54" fmla="*/ 2126002 w 4519987"/>
                  <a:gd name="connsiteY54" fmla="*/ 4429125 h 4496940"/>
                  <a:gd name="connsiteX55" fmla="*/ 1935502 w 4519987"/>
                  <a:gd name="connsiteY55" fmla="*/ 4400550 h 4496940"/>
                  <a:gd name="connsiteX56" fmla="*/ 1821202 w 4519987"/>
                  <a:gd name="connsiteY56" fmla="*/ 4371975 h 4496940"/>
                  <a:gd name="connsiteX57" fmla="*/ 1754527 w 4519987"/>
                  <a:gd name="connsiteY57" fmla="*/ 4352925 h 4496940"/>
                  <a:gd name="connsiteX58" fmla="*/ 1687852 w 4519987"/>
                  <a:gd name="connsiteY58" fmla="*/ 4343400 h 4496940"/>
                  <a:gd name="connsiteX59" fmla="*/ 1573552 w 4519987"/>
                  <a:gd name="connsiteY59" fmla="*/ 4305300 h 4496940"/>
                  <a:gd name="connsiteX60" fmla="*/ 1402102 w 4519987"/>
                  <a:gd name="connsiteY60" fmla="*/ 4276725 h 4496940"/>
                  <a:gd name="connsiteX61" fmla="*/ 1287802 w 4519987"/>
                  <a:gd name="connsiteY61" fmla="*/ 4229100 h 4496940"/>
                  <a:gd name="connsiteX62" fmla="*/ 1221127 w 4519987"/>
                  <a:gd name="connsiteY62" fmla="*/ 4200525 h 4496940"/>
                  <a:gd name="connsiteX63" fmla="*/ 1144927 w 4519987"/>
                  <a:gd name="connsiteY63" fmla="*/ 4171950 h 4496940"/>
                  <a:gd name="connsiteX64" fmla="*/ 1087777 w 4519987"/>
                  <a:gd name="connsiteY64" fmla="*/ 4143375 h 4496940"/>
                  <a:gd name="connsiteX65" fmla="*/ 1030627 w 4519987"/>
                  <a:gd name="connsiteY65" fmla="*/ 4124325 h 4496940"/>
                  <a:gd name="connsiteX66" fmla="*/ 925852 w 4519987"/>
                  <a:gd name="connsiteY66" fmla="*/ 4067175 h 4496940"/>
                  <a:gd name="connsiteX67" fmla="*/ 830602 w 4519987"/>
                  <a:gd name="connsiteY67" fmla="*/ 3981450 h 4496940"/>
                  <a:gd name="connsiteX68" fmla="*/ 763927 w 4519987"/>
                  <a:gd name="connsiteY68" fmla="*/ 3914775 h 4496940"/>
                  <a:gd name="connsiteX69" fmla="*/ 725827 w 4519987"/>
                  <a:gd name="connsiteY69" fmla="*/ 3876675 h 4496940"/>
                  <a:gd name="connsiteX70" fmla="*/ 697252 w 4519987"/>
                  <a:gd name="connsiteY70" fmla="*/ 3838575 h 4496940"/>
                  <a:gd name="connsiteX71" fmla="*/ 640102 w 4519987"/>
                  <a:gd name="connsiteY71" fmla="*/ 3781425 h 4496940"/>
                  <a:gd name="connsiteX72" fmla="*/ 611527 w 4519987"/>
                  <a:gd name="connsiteY72" fmla="*/ 3733800 h 4496940"/>
                  <a:gd name="connsiteX73" fmla="*/ 554377 w 4519987"/>
                  <a:gd name="connsiteY73" fmla="*/ 3657600 h 4496940"/>
                  <a:gd name="connsiteX74" fmla="*/ 525802 w 4519987"/>
                  <a:gd name="connsiteY74" fmla="*/ 3609975 h 4496940"/>
                  <a:gd name="connsiteX75" fmla="*/ 497227 w 4519987"/>
                  <a:gd name="connsiteY75" fmla="*/ 3552825 h 4496940"/>
                  <a:gd name="connsiteX76" fmla="*/ 440077 w 4519987"/>
                  <a:gd name="connsiteY76" fmla="*/ 3495675 h 4496940"/>
                  <a:gd name="connsiteX77" fmla="*/ 411502 w 4519987"/>
                  <a:gd name="connsiteY77" fmla="*/ 3448050 h 4496940"/>
                  <a:gd name="connsiteX78" fmla="*/ 278152 w 4519987"/>
                  <a:gd name="connsiteY78" fmla="*/ 3257550 h 4496940"/>
                  <a:gd name="connsiteX79" fmla="*/ 249577 w 4519987"/>
                  <a:gd name="connsiteY79" fmla="*/ 3200400 h 4496940"/>
                  <a:gd name="connsiteX80" fmla="*/ 240052 w 4519987"/>
                  <a:gd name="connsiteY80" fmla="*/ 3162300 h 4496940"/>
                  <a:gd name="connsiteX81" fmla="*/ 221002 w 4519987"/>
                  <a:gd name="connsiteY81" fmla="*/ 3105150 h 4496940"/>
                  <a:gd name="connsiteX82" fmla="*/ 173377 w 4519987"/>
                  <a:gd name="connsiteY82" fmla="*/ 3019425 h 4496940"/>
                  <a:gd name="connsiteX83" fmla="*/ 144802 w 4519987"/>
                  <a:gd name="connsiteY83" fmla="*/ 2924175 h 4496940"/>
                  <a:gd name="connsiteX84" fmla="*/ 68602 w 4519987"/>
                  <a:gd name="connsiteY84" fmla="*/ 2724150 h 4496940"/>
                  <a:gd name="connsiteX85" fmla="*/ 49552 w 4519987"/>
                  <a:gd name="connsiteY85" fmla="*/ 2638425 h 4496940"/>
                  <a:gd name="connsiteX86" fmla="*/ 40027 w 4519987"/>
                  <a:gd name="connsiteY86" fmla="*/ 2562225 h 4496940"/>
                  <a:gd name="connsiteX87" fmla="*/ 30502 w 4519987"/>
                  <a:gd name="connsiteY87" fmla="*/ 2514600 h 4496940"/>
                  <a:gd name="connsiteX88" fmla="*/ 11452 w 4519987"/>
                  <a:gd name="connsiteY88" fmla="*/ 2400300 h 4496940"/>
                  <a:gd name="connsiteX89" fmla="*/ 20977 w 4519987"/>
                  <a:gd name="connsiteY89" fmla="*/ 1905000 h 4496940"/>
                  <a:gd name="connsiteX90" fmla="*/ 30502 w 4519987"/>
                  <a:gd name="connsiteY90" fmla="*/ 1838325 h 4496940"/>
                  <a:gd name="connsiteX91" fmla="*/ 49552 w 4519987"/>
                  <a:gd name="connsiteY91" fmla="*/ 1781175 h 4496940"/>
                  <a:gd name="connsiteX92" fmla="*/ 59077 w 4519987"/>
                  <a:gd name="connsiteY92" fmla="*/ 1743075 h 4496940"/>
                  <a:gd name="connsiteX93" fmla="*/ 78127 w 4519987"/>
                  <a:gd name="connsiteY93" fmla="*/ 1685925 h 4496940"/>
                  <a:gd name="connsiteX94" fmla="*/ 87652 w 4519987"/>
                  <a:gd name="connsiteY94" fmla="*/ 1638300 h 4496940"/>
                  <a:gd name="connsiteX95" fmla="*/ 106702 w 4519987"/>
                  <a:gd name="connsiteY95" fmla="*/ 1590675 h 4496940"/>
                  <a:gd name="connsiteX96" fmla="*/ 135277 w 4519987"/>
                  <a:gd name="connsiteY96" fmla="*/ 1504950 h 4496940"/>
                  <a:gd name="connsiteX97" fmla="*/ 154327 w 4519987"/>
                  <a:gd name="connsiteY97" fmla="*/ 1419225 h 4496940"/>
                  <a:gd name="connsiteX98" fmla="*/ 230527 w 4519987"/>
                  <a:gd name="connsiteY98" fmla="*/ 1276350 h 4496940"/>
                  <a:gd name="connsiteX99" fmla="*/ 240052 w 4519987"/>
                  <a:gd name="connsiteY99" fmla="*/ 1247775 h 4496940"/>
                  <a:gd name="connsiteX100" fmla="*/ 268627 w 4519987"/>
                  <a:gd name="connsiteY100" fmla="*/ 1200150 h 4496940"/>
                  <a:gd name="connsiteX101" fmla="*/ 287677 w 4519987"/>
                  <a:gd name="connsiteY101" fmla="*/ 1152525 h 4496940"/>
                  <a:gd name="connsiteX102" fmla="*/ 316252 w 4519987"/>
                  <a:gd name="connsiteY102" fmla="*/ 1114425 h 4496940"/>
                  <a:gd name="connsiteX103" fmla="*/ 363877 w 4519987"/>
                  <a:gd name="connsiteY103" fmla="*/ 1038225 h 4496940"/>
                  <a:gd name="connsiteX104" fmla="*/ 382927 w 4519987"/>
                  <a:gd name="connsiteY104" fmla="*/ 1009650 h 4496940"/>
                  <a:gd name="connsiteX105" fmla="*/ 440077 w 4519987"/>
                  <a:gd name="connsiteY105" fmla="*/ 904875 h 4496940"/>
                  <a:gd name="connsiteX106" fmla="*/ 478177 w 4519987"/>
                  <a:gd name="connsiteY106" fmla="*/ 857250 h 4496940"/>
                  <a:gd name="connsiteX107" fmla="*/ 497227 w 4519987"/>
                  <a:gd name="connsiteY107" fmla="*/ 828675 h 4496940"/>
                  <a:gd name="connsiteX108" fmla="*/ 535327 w 4519987"/>
                  <a:gd name="connsiteY108" fmla="*/ 800100 h 4496940"/>
                  <a:gd name="connsiteX109" fmla="*/ 602002 w 4519987"/>
                  <a:gd name="connsiteY109" fmla="*/ 733425 h 4496940"/>
                  <a:gd name="connsiteX110" fmla="*/ 668677 w 4519987"/>
                  <a:gd name="connsiteY110" fmla="*/ 676275 h 4496940"/>
                  <a:gd name="connsiteX111" fmla="*/ 697252 w 4519987"/>
                  <a:gd name="connsiteY111" fmla="*/ 657225 h 4496940"/>
                  <a:gd name="connsiteX112" fmla="*/ 840127 w 4519987"/>
                  <a:gd name="connsiteY112" fmla="*/ 533400 h 4496940"/>
                  <a:gd name="connsiteX113" fmla="*/ 887752 w 4519987"/>
                  <a:gd name="connsiteY113" fmla="*/ 504825 h 4496940"/>
                  <a:gd name="connsiteX114" fmla="*/ 1167152 w 4519987"/>
                  <a:gd name="connsiteY114" fmla="*/ 311150 h 4496940"/>
                  <a:gd name="connsiteX115" fmla="*/ 1268752 w 4519987"/>
                  <a:gd name="connsiteY115" fmla="*/ 285750 h 4496940"/>
                  <a:gd name="connsiteX116" fmla="*/ 1411627 w 4519987"/>
                  <a:gd name="connsiteY116" fmla="*/ 190500 h 4496940"/>
                  <a:gd name="connsiteX117" fmla="*/ 1449727 w 4519987"/>
                  <a:gd name="connsiteY117" fmla="*/ 161925 h 4496940"/>
                  <a:gd name="connsiteX118" fmla="*/ 1525927 w 4519987"/>
                  <a:gd name="connsiteY118" fmla="*/ 152400 h 4496940"/>
                  <a:gd name="connsiteX119" fmla="*/ 1583077 w 4519987"/>
                  <a:gd name="connsiteY119" fmla="*/ 142875 h 4496940"/>
                  <a:gd name="connsiteX120" fmla="*/ 1716427 w 4519987"/>
                  <a:gd name="connsiteY120" fmla="*/ 123825 h 4496940"/>
                  <a:gd name="connsiteX121" fmla="*/ 1811677 w 4519987"/>
                  <a:gd name="connsiteY121" fmla="*/ 114300 h 4496940"/>
                  <a:gd name="connsiteX122" fmla="*/ 1859302 w 4519987"/>
                  <a:gd name="connsiteY122" fmla="*/ 104775 h 4496940"/>
                  <a:gd name="connsiteX123" fmla="*/ 1916452 w 4519987"/>
                  <a:gd name="connsiteY123" fmla="*/ 95250 h 4496940"/>
                  <a:gd name="connsiteX124" fmla="*/ 2030752 w 4519987"/>
                  <a:gd name="connsiteY124" fmla="*/ 66675 h 4496940"/>
                  <a:gd name="connsiteX125" fmla="*/ 2097427 w 4519987"/>
                  <a:gd name="connsiteY125" fmla="*/ 47625 h 4496940"/>
                  <a:gd name="connsiteX126" fmla="*/ 2164102 w 4519987"/>
                  <a:gd name="connsiteY126" fmla="*/ 38100 h 4496940"/>
                  <a:gd name="connsiteX127" fmla="*/ 2392702 w 4519987"/>
                  <a:gd name="connsiteY12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621427 w 4519987"/>
                  <a:gd name="connsiteY37" fmla="*/ 4038600 h 4496940"/>
                  <a:gd name="connsiteX38" fmla="*/ 3554752 w 4519987"/>
                  <a:gd name="connsiteY38" fmla="*/ 4095750 h 4496940"/>
                  <a:gd name="connsiteX39" fmla="*/ 3383302 w 4519987"/>
                  <a:gd name="connsiteY39" fmla="*/ 4210050 h 4496940"/>
                  <a:gd name="connsiteX40" fmla="*/ 3335677 w 4519987"/>
                  <a:gd name="connsiteY40" fmla="*/ 4238625 h 4496940"/>
                  <a:gd name="connsiteX41" fmla="*/ 3288052 w 4519987"/>
                  <a:gd name="connsiteY41" fmla="*/ 4248150 h 4496940"/>
                  <a:gd name="connsiteX42" fmla="*/ 3240427 w 4519987"/>
                  <a:gd name="connsiteY42" fmla="*/ 4267200 h 4496940"/>
                  <a:gd name="connsiteX43" fmla="*/ 3068977 w 4519987"/>
                  <a:gd name="connsiteY43" fmla="*/ 4286250 h 4496940"/>
                  <a:gd name="connsiteX44" fmla="*/ 2935627 w 4519987"/>
                  <a:gd name="connsiteY44" fmla="*/ 4333875 h 4496940"/>
                  <a:gd name="connsiteX45" fmla="*/ 2811802 w 4519987"/>
                  <a:gd name="connsiteY45" fmla="*/ 4371975 h 4496940"/>
                  <a:gd name="connsiteX46" fmla="*/ 2745127 w 4519987"/>
                  <a:gd name="connsiteY46" fmla="*/ 4410075 h 4496940"/>
                  <a:gd name="connsiteX47" fmla="*/ 2697502 w 4519987"/>
                  <a:gd name="connsiteY47" fmla="*/ 4429125 h 4496940"/>
                  <a:gd name="connsiteX48" fmla="*/ 2640352 w 4519987"/>
                  <a:gd name="connsiteY48" fmla="*/ 4457700 h 4496940"/>
                  <a:gd name="connsiteX49" fmla="*/ 2583202 w 4519987"/>
                  <a:gd name="connsiteY49" fmla="*/ 4467225 h 4496940"/>
                  <a:gd name="connsiteX50" fmla="*/ 2545102 w 4519987"/>
                  <a:gd name="connsiteY50" fmla="*/ 4486275 h 4496940"/>
                  <a:gd name="connsiteX51" fmla="*/ 2306977 w 4519987"/>
                  <a:gd name="connsiteY51" fmla="*/ 4476750 h 4496940"/>
                  <a:gd name="connsiteX52" fmla="*/ 2202202 w 4519987"/>
                  <a:gd name="connsiteY52" fmla="*/ 4457700 h 4496940"/>
                  <a:gd name="connsiteX53" fmla="*/ 2126002 w 4519987"/>
                  <a:gd name="connsiteY53" fmla="*/ 4429125 h 4496940"/>
                  <a:gd name="connsiteX54" fmla="*/ 1935502 w 4519987"/>
                  <a:gd name="connsiteY54" fmla="*/ 4400550 h 4496940"/>
                  <a:gd name="connsiteX55" fmla="*/ 1821202 w 4519987"/>
                  <a:gd name="connsiteY55" fmla="*/ 4371975 h 4496940"/>
                  <a:gd name="connsiteX56" fmla="*/ 1754527 w 4519987"/>
                  <a:gd name="connsiteY56" fmla="*/ 4352925 h 4496940"/>
                  <a:gd name="connsiteX57" fmla="*/ 1687852 w 4519987"/>
                  <a:gd name="connsiteY57" fmla="*/ 4343400 h 4496940"/>
                  <a:gd name="connsiteX58" fmla="*/ 1573552 w 4519987"/>
                  <a:gd name="connsiteY58" fmla="*/ 4305300 h 4496940"/>
                  <a:gd name="connsiteX59" fmla="*/ 1402102 w 4519987"/>
                  <a:gd name="connsiteY59" fmla="*/ 4276725 h 4496940"/>
                  <a:gd name="connsiteX60" fmla="*/ 1287802 w 4519987"/>
                  <a:gd name="connsiteY60" fmla="*/ 4229100 h 4496940"/>
                  <a:gd name="connsiteX61" fmla="*/ 1221127 w 4519987"/>
                  <a:gd name="connsiteY61" fmla="*/ 4200525 h 4496940"/>
                  <a:gd name="connsiteX62" fmla="*/ 1144927 w 4519987"/>
                  <a:gd name="connsiteY62" fmla="*/ 4171950 h 4496940"/>
                  <a:gd name="connsiteX63" fmla="*/ 1087777 w 4519987"/>
                  <a:gd name="connsiteY63" fmla="*/ 4143375 h 4496940"/>
                  <a:gd name="connsiteX64" fmla="*/ 1030627 w 4519987"/>
                  <a:gd name="connsiteY64" fmla="*/ 4124325 h 4496940"/>
                  <a:gd name="connsiteX65" fmla="*/ 925852 w 4519987"/>
                  <a:gd name="connsiteY65" fmla="*/ 4067175 h 4496940"/>
                  <a:gd name="connsiteX66" fmla="*/ 830602 w 4519987"/>
                  <a:gd name="connsiteY66" fmla="*/ 3981450 h 4496940"/>
                  <a:gd name="connsiteX67" fmla="*/ 763927 w 4519987"/>
                  <a:gd name="connsiteY67" fmla="*/ 3914775 h 4496940"/>
                  <a:gd name="connsiteX68" fmla="*/ 725827 w 4519987"/>
                  <a:gd name="connsiteY68" fmla="*/ 3876675 h 4496940"/>
                  <a:gd name="connsiteX69" fmla="*/ 697252 w 4519987"/>
                  <a:gd name="connsiteY69" fmla="*/ 3838575 h 4496940"/>
                  <a:gd name="connsiteX70" fmla="*/ 640102 w 4519987"/>
                  <a:gd name="connsiteY70" fmla="*/ 3781425 h 4496940"/>
                  <a:gd name="connsiteX71" fmla="*/ 611527 w 4519987"/>
                  <a:gd name="connsiteY71" fmla="*/ 3733800 h 4496940"/>
                  <a:gd name="connsiteX72" fmla="*/ 554377 w 4519987"/>
                  <a:gd name="connsiteY72" fmla="*/ 3657600 h 4496940"/>
                  <a:gd name="connsiteX73" fmla="*/ 525802 w 4519987"/>
                  <a:gd name="connsiteY73" fmla="*/ 3609975 h 4496940"/>
                  <a:gd name="connsiteX74" fmla="*/ 497227 w 4519987"/>
                  <a:gd name="connsiteY74" fmla="*/ 3552825 h 4496940"/>
                  <a:gd name="connsiteX75" fmla="*/ 440077 w 4519987"/>
                  <a:gd name="connsiteY75" fmla="*/ 3495675 h 4496940"/>
                  <a:gd name="connsiteX76" fmla="*/ 411502 w 4519987"/>
                  <a:gd name="connsiteY76" fmla="*/ 3448050 h 4496940"/>
                  <a:gd name="connsiteX77" fmla="*/ 278152 w 4519987"/>
                  <a:gd name="connsiteY77" fmla="*/ 3257550 h 4496940"/>
                  <a:gd name="connsiteX78" fmla="*/ 249577 w 4519987"/>
                  <a:gd name="connsiteY78" fmla="*/ 3200400 h 4496940"/>
                  <a:gd name="connsiteX79" fmla="*/ 240052 w 4519987"/>
                  <a:gd name="connsiteY79" fmla="*/ 3162300 h 4496940"/>
                  <a:gd name="connsiteX80" fmla="*/ 221002 w 4519987"/>
                  <a:gd name="connsiteY80" fmla="*/ 3105150 h 4496940"/>
                  <a:gd name="connsiteX81" fmla="*/ 173377 w 4519987"/>
                  <a:gd name="connsiteY81" fmla="*/ 3019425 h 4496940"/>
                  <a:gd name="connsiteX82" fmla="*/ 144802 w 4519987"/>
                  <a:gd name="connsiteY82" fmla="*/ 2924175 h 4496940"/>
                  <a:gd name="connsiteX83" fmla="*/ 68602 w 4519987"/>
                  <a:gd name="connsiteY83" fmla="*/ 2724150 h 4496940"/>
                  <a:gd name="connsiteX84" fmla="*/ 49552 w 4519987"/>
                  <a:gd name="connsiteY84" fmla="*/ 2638425 h 4496940"/>
                  <a:gd name="connsiteX85" fmla="*/ 40027 w 4519987"/>
                  <a:gd name="connsiteY85" fmla="*/ 2562225 h 4496940"/>
                  <a:gd name="connsiteX86" fmla="*/ 30502 w 4519987"/>
                  <a:gd name="connsiteY86" fmla="*/ 2514600 h 4496940"/>
                  <a:gd name="connsiteX87" fmla="*/ 11452 w 4519987"/>
                  <a:gd name="connsiteY87" fmla="*/ 2400300 h 4496940"/>
                  <a:gd name="connsiteX88" fmla="*/ 20977 w 4519987"/>
                  <a:gd name="connsiteY88" fmla="*/ 1905000 h 4496940"/>
                  <a:gd name="connsiteX89" fmla="*/ 30502 w 4519987"/>
                  <a:gd name="connsiteY89" fmla="*/ 1838325 h 4496940"/>
                  <a:gd name="connsiteX90" fmla="*/ 49552 w 4519987"/>
                  <a:gd name="connsiteY90" fmla="*/ 1781175 h 4496940"/>
                  <a:gd name="connsiteX91" fmla="*/ 59077 w 4519987"/>
                  <a:gd name="connsiteY91" fmla="*/ 1743075 h 4496940"/>
                  <a:gd name="connsiteX92" fmla="*/ 78127 w 4519987"/>
                  <a:gd name="connsiteY92" fmla="*/ 1685925 h 4496940"/>
                  <a:gd name="connsiteX93" fmla="*/ 87652 w 4519987"/>
                  <a:gd name="connsiteY93" fmla="*/ 1638300 h 4496940"/>
                  <a:gd name="connsiteX94" fmla="*/ 106702 w 4519987"/>
                  <a:gd name="connsiteY94" fmla="*/ 1590675 h 4496940"/>
                  <a:gd name="connsiteX95" fmla="*/ 135277 w 4519987"/>
                  <a:gd name="connsiteY95" fmla="*/ 1504950 h 4496940"/>
                  <a:gd name="connsiteX96" fmla="*/ 154327 w 4519987"/>
                  <a:gd name="connsiteY96" fmla="*/ 1419225 h 4496940"/>
                  <a:gd name="connsiteX97" fmla="*/ 230527 w 4519987"/>
                  <a:gd name="connsiteY97" fmla="*/ 1276350 h 4496940"/>
                  <a:gd name="connsiteX98" fmla="*/ 240052 w 4519987"/>
                  <a:gd name="connsiteY98" fmla="*/ 1247775 h 4496940"/>
                  <a:gd name="connsiteX99" fmla="*/ 268627 w 4519987"/>
                  <a:gd name="connsiteY99" fmla="*/ 1200150 h 4496940"/>
                  <a:gd name="connsiteX100" fmla="*/ 287677 w 4519987"/>
                  <a:gd name="connsiteY100" fmla="*/ 1152525 h 4496940"/>
                  <a:gd name="connsiteX101" fmla="*/ 316252 w 4519987"/>
                  <a:gd name="connsiteY101" fmla="*/ 1114425 h 4496940"/>
                  <a:gd name="connsiteX102" fmla="*/ 363877 w 4519987"/>
                  <a:gd name="connsiteY102" fmla="*/ 1038225 h 4496940"/>
                  <a:gd name="connsiteX103" fmla="*/ 382927 w 4519987"/>
                  <a:gd name="connsiteY103" fmla="*/ 1009650 h 4496940"/>
                  <a:gd name="connsiteX104" fmla="*/ 440077 w 4519987"/>
                  <a:gd name="connsiteY104" fmla="*/ 904875 h 4496940"/>
                  <a:gd name="connsiteX105" fmla="*/ 478177 w 4519987"/>
                  <a:gd name="connsiteY105" fmla="*/ 857250 h 4496940"/>
                  <a:gd name="connsiteX106" fmla="*/ 497227 w 4519987"/>
                  <a:gd name="connsiteY106" fmla="*/ 828675 h 4496940"/>
                  <a:gd name="connsiteX107" fmla="*/ 535327 w 4519987"/>
                  <a:gd name="connsiteY107" fmla="*/ 800100 h 4496940"/>
                  <a:gd name="connsiteX108" fmla="*/ 602002 w 4519987"/>
                  <a:gd name="connsiteY108" fmla="*/ 733425 h 4496940"/>
                  <a:gd name="connsiteX109" fmla="*/ 668677 w 4519987"/>
                  <a:gd name="connsiteY109" fmla="*/ 676275 h 4496940"/>
                  <a:gd name="connsiteX110" fmla="*/ 697252 w 4519987"/>
                  <a:gd name="connsiteY110" fmla="*/ 657225 h 4496940"/>
                  <a:gd name="connsiteX111" fmla="*/ 840127 w 4519987"/>
                  <a:gd name="connsiteY111" fmla="*/ 533400 h 4496940"/>
                  <a:gd name="connsiteX112" fmla="*/ 887752 w 4519987"/>
                  <a:gd name="connsiteY112" fmla="*/ 504825 h 4496940"/>
                  <a:gd name="connsiteX113" fmla="*/ 1167152 w 4519987"/>
                  <a:gd name="connsiteY113" fmla="*/ 311150 h 4496940"/>
                  <a:gd name="connsiteX114" fmla="*/ 1268752 w 4519987"/>
                  <a:gd name="connsiteY114" fmla="*/ 285750 h 4496940"/>
                  <a:gd name="connsiteX115" fmla="*/ 1411627 w 4519987"/>
                  <a:gd name="connsiteY115" fmla="*/ 190500 h 4496940"/>
                  <a:gd name="connsiteX116" fmla="*/ 1449727 w 4519987"/>
                  <a:gd name="connsiteY116" fmla="*/ 161925 h 4496940"/>
                  <a:gd name="connsiteX117" fmla="*/ 1525927 w 4519987"/>
                  <a:gd name="connsiteY117" fmla="*/ 152400 h 4496940"/>
                  <a:gd name="connsiteX118" fmla="*/ 1583077 w 4519987"/>
                  <a:gd name="connsiteY118" fmla="*/ 142875 h 4496940"/>
                  <a:gd name="connsiteX119" fmla="*/ 1716427 w 4519987"/>
                  <a:gd name="connsiteY119" fmla="*/ 123825 h 4496940"/>
                  <a:gd name="connsiteX120" fmla="*/ 1811677 w 4519987"/>
                  <a:gd name="connsiteY120" fmla="*/ 114300 h 4496940"/>
                  <a:gd name="connsiteX121" fmla="*/ 1859302 w 4519987"/>
                  <a:gd name="connsiteY121" fmla="*/ 104775 h 4496940"/>
                  <a:gd name="connsiteX122" fmla="*/ 1916452 w 4519987"/>
                  <a:gd name="connsiteY122" fmla="*/ 95250 h 4496940"/>
                  <a:gd name="connsiteX123" fmla="*/ 2030752 w 4519987"/>
                  <a:gd name="connsiteY123" fmla="*/ 66675 h 4496940"/>
                  <a:gd name="connsiteX124" fmla="*/ 2097427 w 4519987"/>
                  <a:gd name="connsiteY124" fmla="*/ 47625 h 4496940"/>
                  <a:gd name="connsiteX125" fmla="*/ 2164102 w 4519987"/>
                  <a:gd name="connsiteY125" fmla="*/ 38100 h 4496940"/>
                  <a:gd name="connsiteX126" fmla="*/ 2392702 w 4519987"/>
                  <a:gd name="connsiteY12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554752 w 4519987"/>
                  <a:gd name="connsiteY37" fmla="*/ 4095750 h 4496940"/>
                  <a:gd name="connsiteX38" fmla="*/ 3383302 w 4519987"/>
                  <a:gd name="connsiteY38" fmla="*/ 4210050 h 4496940"/>
                  <a:gd name="connsiteX39" fmla="*/ 3335677 w 4519987"/>
                  <a:gd name="connsiteY39" fmla="*/ 4238625 h 4496940"/>
                  <a:gd name="connsiteX40" fmla="*/ 3288052 w 4519987"/>
                  <a:gd name="connsiteY40" fmla="*/ 4248150 h 4496940"/>
                  <a:gd name="connsiteX41" fmla="*/ 3240427 w 4519987"/>
                  <a:gd name="connsiteY41" fmla="*/ 4267200 h 4496940"/>
                  <a:gd name="connsiteX42" fmla="*/ 3068977 w 4519987"/>
                  <a:gd name="connsiteY42" fmla="*/ 4286250 h 4496940"/>
                  <a:gd name="connsiteX43" fmla="*/ 2935627 w 4519987"/>
                  <a:gd name="connsiteY43" fmla="*/ 4333875 h 4496940"/>
                  <a:gd name="connsiteX44" fmla="*/ 2811802 w 4519987"/>
                  <a:gd name="connsiteY44" fmla="*/ 4371975 h 4496940"/>
                  <a:gd name="connsiteX45" fmla="*/ 2745127 w 4519987"/>
                  <a:gd name="connsiteY45" fmla="*/ 4410075 h 4496940"/>
                  <a:gd name="connsiteX46" fmla="*/ 2697502 w 4519987"/>
                  <a:gd name="connsiteY46" fmla="*/ 4429125 h 4496940"/>
                  <a:gd name="connsiteX47" fmla="*/ 2640352 w 4519987"/>
                  <a:gd name="connsiteY47" fmla="*/ 4457700 h 4496940"/>
                  <a:gd name="connsiteX48" fmla="*/ 2583202 w 4519987"/>
                  <a:gd name="connsiteY48" fmla="*/ 4467225 h 4496940"/>
                  <a:gd name="connsiteX49" fmla="*/ 2545102 w 4519987"/>
                  <a:gd name="connsiteY49" fmla="*/ 4486275 h 4496940"/>
                  <a:gd name="connsiteX50" fmla="*/ 2306977 w 4519987"/>
                  <a:gd name="connsiteY50" fmla="*/ 4476750 h 4496940"/>
                  <a:gd name="connsiteX51" fmla="*/ 2202202 w 4519987"/>
                  <a:gd name="connsiteY51" fmla="*/ 4457700 h 4496940"/>
                  <a:gd name="connsiteX52" fmla="*/ 2126002 w 4519987"/>
                  <a:gd name="connsiteY52" fmla="*/ 4429125 h 4496940"/>
                  <a:gd name="connsiteX53" fmla="*/ 1935502 w 4519987"/>
                  <a:gd name="connsiteY53" fmla="*/ 4400550 h 4496940"/>
                  <a:gd name="connsiteX54" fmla="*/ 1821202 w 4519987"/>
                  <a:gd name="connsiteY54" fmla="*/ 4371975 h 4496940"/>
                  <a:gd name="connsiteX55" fmla="*/ 1754527 w 4519987"/>
                  <a:gd name="connsiteY55" fmla="*/ 4352925 h 4496940"/>
                  <a:gd name="connsiteX56" fmla="*/ 1687852 w 4519987"/>
                  <a:gd name="connsiteY56" fmla="*/ 4343400 h 4496940"/>
                  <a:gd name="connsiteX57" fmla="*/ 1573552 w 4519987"/>
                  <a:gd name="connsiteY57" fmla="*/ 4305300 h 4496940"/>
                  <a:gd name="connsiteX58" fmla="*/ 1402102 w 4519987"/>
                  <a:gd name="connsiteY58" fmla="*/ 4276725 h 4496940"/>
                  <a:gd name="connsiteX59" fmla="*/ 1287802 w 4519987"/>
                  <a:gd name="connsiteY59" fmla="*/ 4229100 h 4496940"/>
                  <a:gd name="connsiteX60" fmla="*/ 1221127 w 4519987"/>
                  <a:gd name="connsiteY60" fmla="*/ 4200525 h 4496940"/>
                  <a:gd name="connsiteX61" fmla="*/ 1144927 w 4519987"/>
                  <a:gd name="connsiteY61" fmla="*/ 4171950 h 4496940"/>
                  <a:gd name="connsiteX62" fmla="*/ 1087777 w 4519987"/>
                  <a:gd name="connsiteY62" fmla="*/ 4143375 h 4496940"/>
                  <a:gd name="connsiteX63" fmla="*/ 1030627 w 4519987"/>
                  <a:gd name="connsiteY63" fmla="*/ 4124325 h 4496940"/>
                  <a:gd name="connsiteX64" fmla="*/ 925852 w 4519987"/>
                  <a:gd name="connsiteY64" fmla="*/ 4067175 h 4496940"/>
                  <a:gd name="connsiteX65" fmla="*/ 830602 w 4519987"/>
                  <a:gd name="connsiteY65" fmla="*/ 3981450 h 4496940"/>
                  <a:gd name="connsiteX66" fmla="*/ 763927 w 4519987"/>
                  <a:gd name="connsiteY66" fmla="*/ 3914775 h 4496940"/>
                  <a:gd name="connsiteX67" fmla="*/ 725827 w 4519987"/>
                  <a:gd name="connsiteY67" fmla="*/ 3876675 h 4496940"/>
                  <a:gd name="connsiteX68" fmla="*/ 697252 w 4519987"/>
                  <a:gd name="connsiteY68" fmla="*/ 3838575 h 4496940"/>
                  <a:gd name="connsiteX69" fmla="*/ 640102 w 4519987"/>
                  <a:gd name="connsiteY69" fmla="*/ 3781425 h 4496940"/>
                  <a:gd name="connsiteX70" fmla="*/ 611527 w 4519987"/>
                  <a:gd name="connsiteY70" fmla="*/ 3733800 h 4496940"/>
                  <a:gd name="connsiteX71" fmla="*/ 554377 w 4519987"/>
                  <a:gd name="connsiteY71" fmla="*/ 3657600 h 4496940"/>
                  <a:gd name="connsiteX72" fmla="*/ 525802 w 4519987"/>
                  <a:gd name="connsiteY72" fmla="*/ 3609975 h 4496940"/>
                  <a:gd name="connsiteX73" fmla="*/ 497227 w 4519987"/>
                  <a:gd name="connsiteY73" fmla="*/ 3552825 h 4496940"/>
                  <a:gd name="connsiteX74" fmla="*/ 440077 w 4519987"/>
                  <a:gd name="connsiteY74" fmla="*/ 3495675 h 4496940"/>
                  <a:gd name="connsiteX75" fmla="*/ 411502 w 4519987"/>
                  <a:gd name="connsiteY75" fmla="*/ 3448050 h 4496940"/>
                  <a:gd name="connsiteX76" fmla="*/ 278152 w 4519987"/>
                  <a:gd name="connsiteY76" fmla="*/ 3257550 h 4496940"/>
                  <a:gd name="connsiteX77" fmla="*/ 249577 w 4519987"/>
                  <a:gd name="connsiteY77" fmla="*/ 3200400 h 4496940"/>
                  <a:gd name="connsiteX78" fmla="*/ 240052 w 4519987"/>
                  <a:gd name="connsiteY78" fmla="*/ 3162300 h 4496940"/>
                  <a:gd name="connsiteX79" fmla="*/ 221002 w 4519987"/>
                  <a:gd name="connsiteY79" fmla="*/ 3105150 h 4496940"/>
                  <a:gd name="connsiteX80" fmla="*/ 173377 w 4519987"/>
                  <a:gd name="connsiteY80" fmla="*/ 3019425 h 4496940"/>
                  <a:gd name="connsiteX81" fmla="*/ 144802 w 4519987"/>
                  <a:gd name="connsiteY81" fmla="*/ 2924175 h 4496940"/>
                  <a:gd name="connsiteX82" fmla="*/ 68602 w 4519987"/>
                  <a:gd name="connsiteY82" fmla="*/ 2724150 h 4496940"/>
                  <a:gd name="connsiteX83" fmla="*/ 49552 w 4519987"/>
                  <a:gd name="connsiteY83" fmla="*/ 2638425 h 4496940"/>
                  <a:gd name="connsiteX84" fmla="*/ 40027 w 4519987"/>
                  <a:gd name="connsiteY84" fmla="*/ 2562225 h 4496940"/>
                  <a:gd name="connsiteX85" fmla="*/ 30502 w 4519987"/>
                  <a:gd name="connsiteY85" fmla="*/ 2514600 h 4496940"/>
                  <a:gd name="connsiteX86" fmla="*/ 11452 w 4519987"/>
                  <a:gd name="connsiteY86" fmla="*/ 2400300 h 4496940"/>
                  <a:gd name="connsiteX87" fmla="*/ 20977 w 4519987"/>
                  <a:gd name="connsiteY87" fmla="*/ 1905000 h 4496940"/>
                  <a:gd name="connsiteX88" fmla="*/ 30502 w 4519987"/>
                  <a:gd name="connsiteY88" fmla="*/ 1838325 h 4496940"/>
                  <a:gd name="connsiteX89" fmla="*/ 49552 w 4519987"/>
                  <a:gd name="connsiteY89" fmla="*/ 1781175 h 4496940"/>
                  <a:gd name="connsiteX90" fmla="*/ 59077 w 4519987"/>
                  <a:gd name="connsiteY90" fmla="*/ 1743075 h 4496940"/>
                  <a:gd name="connsiteX91" fmla="*/ 78127 w 4519987"/>
                  <a:gd name="connsiteY91" fmla="*/ 1685925 h 4496940"/>
                  <a:gd name="connsiteX92" fmla="*/ 87652 w 4519987"/>
                  <a:gd name="connsiteY92" fmla="*/ 1638300 h 4496940"/>
                  <a:gd name="connsiteX93" fmla="*/ 106702 w 4519987"/>
                  <a:gd name="connsiteY93" fmla="*/ 1590675 h 4496940"/>
                  <a:gd name="connsiteX94" fmla="*/ 135277 w 4519987"/>
                  <a:gd name="connsiteY94" fmla="*/ 1504950 h 4496940"/>
                  <a:gd name="connsiteX95" fmla="*/ 154327 w 4519987"/>
                  <a:gd name="connsiteY95" fmla="*/ 1419225 h 4496940"/>
                  <a:gd name="connsiteX96" fmla="*/ 230527 w 4519987"/>
                  <a:gd name="connsiteY96" fmla="*/ 1276350 h 4496940"/>
                  <a:gd name="connsiteX97" fmla="*/ 240052 w 4519987"/>
                  <a:gd name="connsiteY97" fmla="*/ 1247775 h 4496940"/>
                  <a:gd name="connsiteX98" fmla="*/ 268627 w 4519987"/>
                  <a:gd name="connsiteY98" fmla="*/ 1200150 h 4496940"/>
                  <a:gd name="connsiteX99" fmla="*/ 287677 w 4519987"/>
                  <a:gd name="connsiteY99" fmla="*/ 1152525 h 4496940"/>
                  <a:gd name="connsiteX100" fmla="*/ 316252 w 4519987"/>
                  <a:gd name="connsiteY100" fmla="*/ 1114425 h 4496940"/>
                  <a:gd name="connsiteX101" fmla="*/ 363877 w 4519987"/>
                  <a:gd name="connsiteY101" fmla="*/ 1038225 h 4496940"/>
                  <a:gd name="connsiteX102" fmla="*/ 382927 w 4519987"/>
                  <a:gd name="connsiteY102" fmla="*/ 1009650 h 4496940"/>
                  <a:gd name="connsiteX103" fmla="*/ 440077 w 4519987"/>
                  <a:gd name="connsiteY103" fmla="*/ 904875 h 4496940"/>
                  <a:gd name="connsiteX104" fmla="*/ 478177 w 4519987"/>
                  <a:gd name="connsiteY104" fmla="*/ 857250 h 4496940"/>
                  <a:gd name="connsiteX105" fmla="*/ 497227 w 4519987"/>
                  <a:gd name="connsiteY105" fmla="*/ 828675 h 4496940"/>
                  <a:gd name="connsiteX106" fmla="*/ 535327 w 4519987"/>
                  <a:gd name="connsiteY106" fmla="*/ 800100 h 4496940"/>
                  <a:gd name="connsiteX107" fmla="*/ 602002 w 4519987"/>
                  <a:gd name="connsiteY107" fmla="*/ 733425 h 4496940"/>
                  <a:gd name="connsiteX108" fmla="*/ 668677 w 4519987"/>
                  <a:gd name="connsiteY108" fmla="*/ 676275 h 4496940"/>
                  <a:gd name="connsiteX109" fmla="*/ 697252 w 4519987"/>
                  <a:gd name="connsiteY109" fmla="*/ 657225 h 4496940"/>
                  <a:gd name="connsiteX110" fmla="*/ 840127 w 4519987"/>
                  <a:gd name="connsiteY110" fmla="*/ 533400 h 4496940"/>
                  <a:gd name="connsiteX111" fmla="*/ 887752 w 4519987"/>
                  <a:gd name="connsiteY111" fmla="*/ 504825 h 4496940"/>
                  <a:gd name="connsiteX112" fmla="*/ 1167152 w 4519987"/>
                  <a:gd name="connsiteY112" fmla="*/ 311150 h 4496940"/>
                  <a:gd name="connsiteX113" fmla="*/ 1268752 w 4519987"/>
                  <a:gd name="connsiteY113" fmla="*/ 285750 h 4496940"/>
                  <a:gd name="connsiteX114" fmla="*/ 1411627 w 4519987"/>
                  <a:gd name="connsiteY114" fmla="*/ 190500 h 4496940"/>
                  <a:gd name="connsiteX115" fmla="*/ 1449727 w 4519987"/>
                  <a:gd name="connsiteY115" fmla="*/ 161925 h 4496940"/>
                  <a:gd name="connsiteX116" fmla="*/ 1525927 w 4519987"/>
                  <a:gd name="connsiteY116" fmla="*/ 152400 h 4496940"/>
                  <a:gd name="connsiteX117" fmla="*/ 1583077 w 4519987"/>
                  <a:gd name="connsiteY117" fmla="*/ 142875 h 4496940"/>
                  <a:gd name="connsiteX118" fmla="*/ 1716427 w 4519987"/>
                  <a:gd name="connsiteY118" fmla="*/ 123825 h 4496940"/>
                  <a:gd name="connsiteX119" fmla="*/ 1811677 w 4519987"/>
                  <a:gd name="connsiteY119" fmla="*/ 114300 h 4496940"/>
                  <a:gd name="connsiteX120" fmla="*/ 1859302 w 4519987"/>
                  <a:gd name="connsiteY120" fmla="*/ 104775 h 4496940"/>
                  <a:gd name="connsiteX121" fmla="*/ 1916452 w 4519987"/>
                  <a:gd name="connsiteY121" fmla="*/ 95250 h 4496940"/>
                  <a:gd name="connsiteX122" fmla="*/ 2030752 w 4519987"/>
                  <a:gd name="connsiteY122" fmla="*/ 66675 h 4496940"/>
                  <a:gd name="connsiteX123" fmla="*/ 2097427 w 4519987"/>
                  <a:gd name="connsiteY123" fmla="*/ 47625 h 4496940"/>
                  <a:gd name="connsiteX124" fmla="*/ 2164102 w 4519987"/>
                  <a:gd name="connsiteY124" fmla="*/ 38100 h 4496940"/>
                  <a:gd name="connsiteX125" fmla="*/ 2392702 w 4519987"/>
                  <a:gd name="connsiteY12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54752 w 4519987"/>
                  <a:gd name="connsiteY36" fmla="*/ 4095750 h 4496940"/>
                  <a:gd name="connsiteX37" fmla="*/ 3383302 w 4519987"/>
                  <a:gd name="connsiteY37" fmla="*/ 4210050 h 4496940"/>
                  <a:gd name="connsiteX38" fmla="*/ 3335677 w 4519987"/>
                  <a:gd name="connsiteY38" fmla="*/ 4238625 h 4496940"/>
                  <a:gd name="connsiteX39" fmla="*/ 3288052 w 4519987"/>
                  <a:gd name="connsiteY39" fmla="*/ 4248150 h 4496940"/>
                  <a:gd name="connsiteX40" fmla="*/ 3240427 w 4519987"/>
                  <a:gd name="connsiteY40" fmla="*/ 4267200 h 4496940"/>
                  <a:gd name="connsiteX41" fmla="*/ 3068977 w 4519987"/>
                  <a:gd name="connsiteY41" fmla="*/ 4286250 h 4496940"/>
                  <a:gd name="connsiteX42" fmla="*/ 2935627 w 4519987"/>
                  <a:gd name="connsiteY42" fmla="*/ 4333875 h 4496940"/>
                  <a:gd name="connsiteX43" fmla="*/ 2811802 w 4519987"/>
                  <a:gd name="connsiteY43" fmla="*/ 4371975 h 4496940"/>
                  <a:gd name="connsiteX44" fmla="*/ 2745127 w 4519987"/>
                  <a:gd name="connsiteY44" fmla="*/ 4410075 h 4496940"/>
                  <a:gd name="connsiteX45" fmla="*/ 2697502 w 4519987"/>
                  <a:gd name="connsiteY45" fmla="*/ 4429125 h 4496940"/>
                  <a:gd name="connsiteX46" fmla="*/ 2640352 w 4519987"/>
                  <a:gd name="connsiteY46" fmla="*/ 4457700 h 4496940"/>
                  <a:gd name="connsiteX47" fmla="*/ 2583202 w 4519987"/>
                  <a:gd name="connsiteY47" fmla="*/ 4467225 h 4496940"/>
                  <a:gd name="connsiteX48" fmla="*/ 2545102 w 4519987"/>
                  <a:gd name="connsiteY48" fmla="*/ 4486275 h 4496940"/>
                  <a:gd name="connsiteX49" fmla="*/ 2306977 w 4519987"/>
                  <a:gd name="connsiteY49" fmla="*/ 4476750 h 4496940"/>
                  <a:gd name="connsiteX50" fmla="*/ 2202202 w 4519987"/>
                  <a:gd name="connsiteY50" fmla="*/ 4457700 h 4496940"/>
                  <a:gd name="connsiteX51" fmla="*/ 2126002 w 4519987"/>
                  <a:gd name="connsiteY51" fmla="*/ 4429125 h 4496940"/>
                  <a:gd name="connsiteX52" fmla="*/ 1935502 w 4519987"/>
                  <a:gd name="connsiteY52" fmla="*/ 4400550 h 4496940"/>
                  <a:gd name="connsiteX53" fmla="*/ 1821202 w 4519987"/>
                  <a:gd name="connsiteY53" fmla="*/ 4371975 h 4496940"/>
                  <a:gd name="connsiteX54" fmla="*/ 1754527 w 4519987"/>
                  <a:gd name="connsiteY54" fmla="*/ 4352925 h 4496940"/>
                  <a:gd name="connsiteX55" fmla="*/ 1687852 w 4519987"/>
                  <a:gd name="connsiteY55" fmla="*/ 4343400 h 4496940"/>
                  <a:gd name="connsiteX56" fmla="*/ 1573552 w 4519987"/>
                  <a:gd name="connsiteY56" fmla="*/ 4305300 h 4496940"/>
                  <a:gd name="connsiteX57" fmla="*/ 1402102 w 4519987"/>
                  <a:gd name="connsiteY57" fmla="*/ 4276725 h 4496940"/>
                  <a:gd name="connsiteX58" fmla="*/ 1287802 w 4519987"/>
                  <a:gd name="connsiteY58" fmla="*/ 4229100 h 4496940"/>
                  <a:gd name="connsiteX59" fmla="*/ 1221127 w 4519987"/>
                  <a:gd name="connsiteY59" fmla="*/ 4200525 h 4496940"/>
                  <a:gd name="connsiteX60" fmla="*/ 1144927 w 4519987"/>
                  <a:gd name="connsiteY60" fmla="*/ 4171950 h 4496940"/>
                  <a:gd name="connsiteX61" fmla="*/ 1087777 w 4519987"/>
                  <a:gd name="connsiteY61" fmla="*/ 4143375 h 4496940"/>
                  <a:gd name="connsiteX62" fmla="*/ 1030627 w 4519987"/>
                  <a:gd name="connsiteY62" fmla="*/ 4124325 h 4496940"/>
                  <a:gd name="connsiteX63" fmla="*/ 925852 w 4519987"/>
                  <a:gd name="connsiteY63" fmla="*/ 4067175 h 4496940"/>
                  <a:gd name="connsiteX64" fmla="*/ 830602 w 4519987"/>
                  <a:gd name="connsiteY64" fmla="*/ 3981450 h 4496940"/>
                  <a:gd name="connsiteX65" fmla="*/ 763927 w 4519987"/>
                  <a:gd name="connsiteY65" fmla="*/ 3914775 h 4496940"/>
                  <a:gd name="connsiteX66" fmla="*/ 725827 w 4519987"/>
                  <a:gd name="connsiteY66" fmla="*/ 3876675 h 4496940"/>
                  <a:gd name="connsiteX67" fmla="*/ 697252 w 4519987"/>
                  <a:gd name="connsiteY67" fmla="*/ 3838575 h 4496940"/>
                  <a:gd name="connsiteX68" fmla="*/ 640102 w 4519987"/>
                  <a:gd name="connsiteY68" fmla="*/ 3781425 h 4496940"/>
                  <a:gd name="connsiteX69" fmla="*/ 611527 w 4519987"/>
                  <a:gd name="connsiteY69" fmla="*/ 3733800 h 4496940"/>
                  <a:gd name="connsiteX70" fmla="*/ 554377 w 4519987"/>
                  <a:gd name="connsiteY70" fmla="*/ 3657600 h 4496940"/>
                  <a:gd name="connsiteX71" fmla="*/ 525802 w 4519987"/>
                  <a:gd name="connsiteY71" fmla="*/ 3609975 h 4496940"/>
                  <a:gd name="connsiteX72" fmla="*/ 497227 w 4519987"/>
                  <a:gd name="connsiteY72" fmla="*/ 3552825 h 4496940"/>
                  <a:gd name="connsiteX73" fmla="*/ 440077 w 4519987"/>
                  <a:gd name="connsiteY73" fmla="*/ 3495675 h 4496940"/>
                  <a:gd name="connsiteX74" fmla="*/ 411502 w 4519987"/>
                  <a:gd name="connsiteY74" fmla="*/ 3448050 h 4496940"/>
                  <a:gd name="connsiteX75" fmla="*/ 278152 w 4519987"/>
                  <a:gd name="connsiteY75" fmla="*/ 3257550 h 4496940"/>
                  <a:gd name="connsiteX76" fmla="*/ 249577 w 4519987"/>
                  <a:gd name="connsiteY76" fmla="*/ 3200400 h 4496940"/>
                  <a:gd name="connsiteX77" fmla="*/ 240052 w 4519987"/>
                  <a:gd name="connsiteY77" fmla="*/ 3162300 h 4496940"/>
                  <a:gd name="connsiteX78" fmla="*/ 221002 w 4519987"/>
                  <a:gd name="connsiteY78" fmla="*/ 3105150 h 4496940"/>
                  <a:gd name="connsiteX79" fmla="*/ 173377 w 4519987"/>
                  <a:gd name="connsiteY79" fmla="*/ 3019425 h 4496940"/>
                  <a:gd name="connsiteX80" fmla="*/ 144802 w 4519987"/>
                  <a:gd name="connsiteY80" fmla="*/ 2924175 h 4496940"/>
                  <a:gd name="connsiteX81" fmla="*/ 68602 w 4519987"/>
                  <a:gd name="connsiteY81" fmla="*/ 2724150 h 4496940"/>
                  <a:gd name="connsiteX82" fmla="*/ 49552 w 4519987"/>
                  <a:gd name="connsiteY82" fmla="*/ 2638425 h 4496940"/>
                  <a:gd name="connsiteX83" fmla="*/ 40027 w 4519987"/>
                  <a:gd name="connsiteY83" fmla="*/ 2562225 h 4496940"/>
                  <a:gd name="connsiteX84" fmla="*/ 30502 w 4519987"/>
                  <a:gd name="connsiteY84" fmla="*/ 2514600 h 4496940"/>
                  <a:gd name="connsiteX85" fmla="*/ 11452 w 4519987"/>
                  <a:gd name="connsiteY85" fmla="*/ 2400300 h 4496940"/>
                  <a:gd name="connsiteX86" fmla="*/ 20977 w 4519987"/>
                  <a:gd name="connsiteY86" fmla="*/ 1905000 h 4496940"/>
                  <a:gd name="connsiteX87" fmla="*/ 30502 w 4519987"/>
                  <a:gd name="connsiteY87" fmla="*/ 1838325 h 4496940"/>
                  <a:gd name="connsiteX88" fmla="*/ 49552 w 4519987"/>
                  <a:gd name="connsiteY88" fmla="*/ 1781175 h 4496940"/>
                  <a:gd name="connsiteX89" fmla="*/ 59077 w 4519987"/>
                  <a:gd name="connsiteY89" fmla="*/ 1743075 h 4496940"/>
                  <a:gd name="connsiteX90" fmla="*/ 78127 w 4519987"/>
                  <a:gd name="connsiteY90" fmla="*/ 1685925 h 4496940"/>
                  <a:gd name="connsiteX91" fmla="*/ 87652 w 4519987"/>
                  <a:gd name="connsiteY91" fmla="*/ 1638300 h 4496940"/>
                  <a:gd name="connsiteX92" fmla="*/ 106702 w 4519987"/>
                  <a:gd name="connsiteY92" fmla="*/ 1590675 h 4496940"/>
                  <a:gd name="connsiteX93" fmla="*/ 135277 w 4519987"/>
                  <a:gd name="connsiteY93" fmla="*/ 1504950 h 4496940"/>
                  <a:gd name="connsiteX94" fmla="*/ 154327 w 4519987"/>
                  <a:gd name="connsiteY94" fmla="*/ 1419225 h 4496940"/>
                  <a:gd name="connsiteX95" fmla="*/ 230527 w 4519987"/>
                  <a:gd name="connsiteY95" fmla="*/ 1276350 h 4496940"/>
                  <a:gd name="connsiteX96" fmla="*/ 240052 w 4519987"/>
                  <a:gd name="connsiteY96" fmla="*/ 1247775 h 4496940"/>
                  <a:gd name="connsiteX97" fmla="*/ 268627 w 4519987"/>
                  <a:gd name="connsiteY97" fmla="*/ 1200150 h 4496940"/>
                  <a:gd name="connsiteX98" fmla="*/ 287677 w 4519987"/>
                  <a:gd name="connsiteY98" fmla="*/ 1152525 h 4496940"/>
                  <a:gd name="connsiteX99" fmla="*/ 316252 w 4519987"/>
                  <a:gd name="connsiteY99" fmla="*/ 1114425 h 4496940"/>
                  <a:gd name="connsiteX100" fmla="*/ 363877 w 4519987"/>
                  <a:gd name="connsiteY100" fmla="*/ 1038225 h 4496940"/>
                  <a:gd name="connsiteX101" fmla="*/ 382927 w 4519987"/>
                  <a:gd name="connsiteY101" fmla="*/ 1009650 h 4496940"/>
                  <a:gd name="connsiteX102" fmla="*/ 440077 w 4519987"/>
                  <a:gd name="connsiteY102" fmla="*/ 904875 h 4496940"/>
                  <a:gd name="connsiteX103" fmla="*/ 478177 w 4519987"/>
                  <a:gd name="connsiteY103" fmla="*/ 857250 h 4496940"/>
                  <a:gd name="connsiteX104" fmla="*/ 497227 w 4519987"/>
                  <a:gd name="connsiteY104" fmla="*/ 828675 h 4496940"/>
                  <a:gd name="connsiteX105" fmla="*/ 535327 w 4519987"/>
                  <a:gd name="connsiteY105" fmla="*/ 800100 h 4496940"/>
                  <a:gd name="connsiteX106" fmla="*/ 602002 w 4519987"/>
                  <a:gd name="connsiteY106" fmla="*/ 733425 h 4496940"/>
                  <a:gd name="connsiteX107" fmla="*/ 668677 w 4519987"/>
                  <a:gd name="connsiteY107" fmla="*/ 676275 h 4496940"/>
                  <a:gd name="connsiteX108" fmla="*/ 697252 w 4519987"/>
                  <a:gd name="connsiteY108" fmla="*/ 657225 h 4496940"/>
                  <a:gd name="connsiteX109" fmla="*/ 840127 w 4519987"/>
                  <a:gd name="connsiteY109" fmla="*/ 533400 h 4496940"/>
                  <a:gd name="connsiteX110" fmla="*/ 887752 w 4519987"/>
                  <a:gd name="connsiteY110" fmla="*/ 504825 h 4496940"/>
                  <a:gd name="connsiteX111" fmla="*/ 1167152 w 4519987"/>
                  <a:gd name="connsiteY111" fmla="*/ 311150 h 4496940"/>
                  <a:gd name="connsiteX112" fmla="*/ 1268752 w 4519987"/>
                  <a:gd name="connsiteY112" fmla="*/ 285750 h 4496940"/>
                  <a:gd name="connsiteX113" fmla="*/ 1411627 w 4519987"/>
                  <a:gd name="connsiteY113" fmla="*/ 190500 h 4496940"/>
                  <a:gd name="connsiteX114" fmla="*/ 1449727 w 4519987"/>
                  <a:gd name="connsiteY114" fmla="*/ 161925 h 4496940"/>
                  <a:gd name="connsiteX115" fmla="*/ 1525927 w 4519987"/>
                  <a:gd name="connsiteY115" fmla="*/ 152400 h 4496940"/>
                  <a:gd name="connsiteX116" fmla="*/ 1583077 w 4519987"/>
                  <a:gd name="connsiteY116" fmla="*/ 142875 h 4496940"/>
                  <a:gd name="connsiteX117" fmla="*/ 1716427 w 4519987"/>
                  <a:gd name="connsiteY117" fmla="*/ 123825 h 4496940"/>
                  <a:gd name="connsiteX118" fmla="*/ 1811677 w 4519987"/>
                  <a:gd name="connsiteY118" fmla="*/ 114300 h 4496940"/>
                  <a:gd name="connsiteX119" fmla="*/ 1859302 w 4519987"/>
                  <a:gd name="connsiteY119" fmla="*/ 104775 h 4496940"/>
                  <a:gd name="connsiteX120" fmla="*/ 1916452 w 4519987"/>
                  <a:gd name="connsiteY120" fmla="*/ 95250 h 4496940"/>
                  <a:gd name="connsiteX121" fmla="*/ 2030752 w 4519987"/>
                  <a:gd name="connsiteY121" fmla="*/ 66675 h 4496940"/>
                  <a:gd name="connsiteX122" fmla="*/ 2097427 w 4519987"/>
                  <a:gd name="connsiteY122" fmla="*/ 47625 h 4496940"/>
                  <a:gd name="connsiteX123" fmla="*/ 2164102 w 4519987"/>
                  <a:gd name="connsiteY123" fmla="*/ 38100 h 4496940"/>
                  <a:gd name="connsiteX124" fmla="*/ 2392702 w 4519987"/>
                  <a:gd name="connsiteY12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383302 w 4519987"/>
                  <a:gd name="connsiteY37" fmla="*/ 4210050 h 4496940"/>
                  <a:gd name="connsiteX38" fmla="*/ 3335677 w 4519987"/>
                  <a:gd name="connsiteY38" fmla="*/ 4238625 h 4496940"/>
                  <a:gd name="connsiteX39" fmla="*/ 3288052 w 4519987"/>
                  <a:gd name="connsiteY39" fmla="*/ 4248150 h 4496940"/>
                  <a:gd name="connsiteX40" fmla="*/ 3240427 w 4519987"/>
                  <a:gd name="connsiteY40" fmla="*/ 4267200 h 4496940"/>
                  <a:gd name="connsiteX41" fmla="*/ 3068977 w 4519987"/>
                  <a:gd name="connsiteY41" fmla="*/ 4286250 h 4496940"/>
                  <a:gd name="connsiteX42" fmla="*/ 2935627 w 4519987"/>
                  <a:gd name="connsiteY42" fmla="*/ 4333875 h 4496940"/>
                  <a:gd name="connsiteX43" fmla="*/ 2811802 w 4519987"/>
                  <a:gd name="connsiteY43" fmla="*/ 4371975 h 4496940"/>
                  <a:gd name="connsiteX44" fmla="*/ 2745127 w 4519987"/>
                  <a:gd name="connsiteY44" fmla="*/ 4410075 h 4496940"/>
                  <a:gd name="connsiteX45" fmla="*/ 2697502 w 4519987"/>
                  <a:gd name="connsiteY45" fmla="*/ 4429125 h 4496940"/>
                  <a:gd name="connsiteX46" fmla="*/ 2640352 w 4519987"/>
                  <a:gd name="connsiteY46" fmla="*/ 4457700 h 4496940"/>
                  <a:gd name="connsiteX47" fmla="*/ 2583202 w 4519987"/>
                  <a:gd name="connsiteY47" fmla="*/ 4467225 h 4496940"/>
                  <a:gd name="connsiteX48" fmla="*/ 2545102 w 4519987"/>
                  <a:gd name="connsiteY48" fmla="*/ 4486275 h 4496940"/>
                  <a:gd name="connsiteX49" fmla="*/ 2306977 w 4519987"/>
                  <a:gd name="connsiteY49" fmla="*/ 4476750 h 4496940"/>
                  <a:gd name="connsiteX50" fmla="*/ 2202202 w 4519987"/>
                  <a:gd name="connsiteY50" fmla="*/ 4457700 h 4496940"/>
                  <a:gd name="connsiteX51" fmla="*/ 2126002 w 4519987"/>
                  <a:gd name="connsiteY51" fmla="*/ 4429125 h 4496940"/>
                  <a:gd name="connsiteX52" fmla="*/ 1935502 w 4519987"/>
                  <a:gd name="connsiteY52" fmla="*/ 4400550 h 4496940"/>
                  <a:gd name="connsiteX53" fmla="*/ 1821202 w 4519987"/>
                  <a:gd name="connsiteY53" fmla="*/ 4371975 h 4496940"/>
                  <a:gd name="connsiteX54" fmla="*/ 1754527 w 4519987"/>
                  <a:gd name="connsiteY54" fmla="*/ 4352925 h 4496940"/>
                  <a:gd name="connsiteX55" fmla="*/ 1687852 w 4519987"/>
                  <a:gd name="connsiteY55" fmla="*/ 4343400 h 4496940"/>
                  <a:gd name="connsiteX56" fmla="*/ 1573552 w 4519987"/>
                  <a:gd name="connsiteY56" fmla="*/ 4305300 h 4496940"/>
                  <a:gd name="connsiteX57" fmla="*/ 1402102 w 4519987"/>
                  <a:gd name="connsiteY57" fmla="*/ 4276725 h 4496940"/>
                  <a:gd name="connsiteX58" fmla="*/ 1287802 w 4519987"/>
                  <a:gd name="connsiteY58" fmla="*/ 4229100 h 4496940"/>
                  <a:gd name="connsiteX59" fmla="*/ 1221127 w 4519987"/>
                  <a:gd name="connsiteY59" fmla="*/ 4200525 h 4496940"/>
                  <a:gd name="connsiteX60" fmla="*/ 1144927 w 4519987"/>
                  <a:gd name="connsiteY60" fmla="*/ 4171950 h 4496940"/>
                  <a:gd name="connsiteX61" fmla="*/ 1087777 w 4519987"/>
                  <a:gd name="connsiteY61" fmla="*/ 4143375 h 4496940"/>
                  <a:gd name="connsiteX62" fmla="*/ 1030627 w 4519987"/>
                  <a:gd name="connsiteY62" fmla="*/ 4124325 h 4496940"/>
                  <a:gd name="connsiteX63" fmla="*/ 925852 w 4519987"/>
                  <a:gd name="connsiteY63" fmla="*/ 4067175 h 4496940"/>
                  <a:gd name="connsiteX64" fmla="*/ 830602 w 4519987"/>
                  <a:gd name="connsiteY64" fmla="*/ 3981450 h 4496940"/>
                  <a:gd name="connsiteX65" fmla="*/ 763927 w 4519987"/>
                  <a:gd name="connsiteY65" fmla="*/ 3914775 h 4496940"/>
                  <a:gd name="connsiteX66" fmla="*/ 725827 w 4519987"/>
                  <a:gd name="connsiteY66" fmla="*/ 3876675 h 4496940"/>
                  <a:gd name="connsiteX67" fmla="*/ 697252 w 4519987"/>
                  <a:gd name="connsiteY67" fmla="*/ 3838575 h 4496940"/>
                  <a:gd name="connsiteX68" fmla="*/ 640102 w 4519987"/>
                  <a:gd name="connsiteY68" fmla="*/ 3781425 h 4496940"/>
                  <a:gd name="connsiteX69" fmla="*/ 611527 w 4519987"/>
                  <a:gd name="connsiteY69" fmla="*/ 3733800 h 4496940"/>
                  <a:gd name="connsiteX70" fmla="*/ 554377 w 4519987"/>
                  <a:gd name="connsiteY70" fmla="*/ 3657600 h 4496940"/>
                  <a:gd name="connsiteX71" fmla="*/ 525802 w 4519987"/>
                  <a:gd name="connsiteY71" fmla="*/ 3609975 h 4496940"/>
                  <a:gd name="connsiteX72" fmla="*/ 497227 w 4519987"/>
                  <a:gd name="connsiteY72" fmla="*/ 3552825 h 4496940"/>
                  <a:gd name="connsiteX73" fmla="*/ 440077 w 4519987"/>
                  <a:gd name="connsiteY73" fmla="*/ 3495675 h 4496940"/>
                  <a:gd name="connsiteX74" fmla="*/ 411502 w 4519987"/>
                  <a:gd name="connsiteY74" fmla="*/ 3448050 h 4496940"/>
                  <a:gd name="connsiteX75" fmla="*/ 278152 w 4519987"/>
                  <a:gd name="connsiteY75" fmla="*/ 3257550 h 4496940"/>
                  <a:gd name="connsiteX76" fmla="*/ 249577 w 4519987"/>
                  <a:gd name="connsiteY76" fmla="*/ 3200400 h 4496940"/>
                  <a:gd name="connsiteX77" fmla="*/ 240052 w 4519987"/>
                  <a:gd name="connsiteY77" fmla="*/ 3162300 h 4496940"/>
                  <a:gd name="connsiteX78" fmla="*/ 221002 w 4519987"/>
                  <a:gd name="connsiteY78" fmla="*/ 3105150 h 4496940"/>
                  <a:gd name="connsiteX79" fmla="*/ 173377 w 4519987"/>
                  <a:gd name="connsiteY79" fmla="*/ 3019425 h 4496940"/>
                  <a:gd name="connsiteX80" fmla="*/ 144802 w 4519987"/>
                  <a:gd name="connsiteY80" fmla="*/ 2924175 h 4496940"/>
                  <a:gd name="connsiteX81" fmla="*/ 68602 w 4519987"/>
                  <a:gd name="connsiteY81" fmla="*/ 2724150 h 4496940"/>
                  <a:gd name="connsiteX82" fmla="*/ 49552 w 4519987"/>
                  <a:gd name="connsiteY82" fmla="*/ 2638425 h 4496940"/>
                  <a:gd name="connsiteX83" fmla="*/ 40027 w 4519987"/>
                  <a:gd name="connsiteY83" fmla="*/ 2562225 h 4496940"/>
                  <a:gd name="connsiteX84" fmla="*/ 30502 w 4519987"/>
                  <a:gd name="connsiteY84" fmla="*/ 2514600 h 4496940"/>
                  <a:gd name="connsiteX85" fmla="*/ 11452 w 4519987"/>
                  <a:gd name="connsiteY85" fmla="*/ 2400300 h 4496940"/>
                  <a:gd name="connsiteX86" fmla="*/ 20977 w 4519987"/>
                  <a:gd name="connsiteY86" fmla="*/ 1905000 h 4496940"/>
                  <a:gd name="connsiteX87" fmla="*/ 30502 w 4519987"/>
                  <a:gd name="connsiteY87" fmla="*/ 1838325 h 4496940"/>
                  <a:gd name="connsiteX88" fmla="*/ 49552 w 4519987"/>
                  <a:gd name="connsiteY88" fmla="*/ 1781175 h 4496940"/>
                  <a:gd name="connsiteX89" fmla="*/ 59077 w 4519987"/>
                  <a:gd name="connsiteY89" fmla="*/ 1743075 h 4496940"/>
                  <a:gd name="connsiteX90" fmla="*/ 78127 w 4519987"/>
                  <a:gd name="connsiteY90" fmla="*/ 1685925 h 4496940"/>
                  <a:gd name="connsiteX91" fmla="*/ 87652 w 4519987"/>
                  <a:gd name="connsiteY91" fmla="*/ 1638300 h 4496940"/>
                  <a:gd name="connsiteX92" fmla="*/ 106702 w 4519987"/>
                  <a:gd name="connsiteY92" fmla="*/ 1590675 h 4496940"/>
                  <a:gd name="connsiteX93" fmla="*/ 135277 w 4519987"/>
                  <a:gd name="connsiteY93" fmla="*/ 1504950 h 4496940"/>
                  <a:gd name="connsiteX94" fmla="*/ 154327 w 4519987"/>
                  <a:gd name="connsiteY94" fmla="*/ 1419225 h 4496940"/>
                  <a:gd name="connsiteX95" fmla="*/ 230527 w 4519987"/>
                  <a:gd name="connsiteY95" fmla="*/ 1276350 h 4496940"/>
                  <a:gd name="connsiteX96" fmla="*/ 240052 w 4519987"/>
                  <a:gd name="connsiteY96" fmla="*/ 1247775 h 4496940"/>
                  <a:gd name="connsiteX97" fmla="*/ 268627 w 4519987"/>
                  <a:gd name="connsiteY97" fmla="*/ 1200150 h 4496940"/>
                  <a:gd name="connsiteX98" fmla="*/ 287677 w 4519987"/>
                  <a:gd name="connsiteY98" fmla="*/ 1152525 h 4496940"/>
                  <a:gd name="connsiteX99" fmla="*/ 316252 w 4519987"/>
                  <a:gd name="connsiteY99" fmla="*/ 1114425 h 4496940"/>
                  <a:gd name="connsiteX100" fmla="*/ 363877 w 4519987"/>
                  <a:gd name="connsiteY100" fmla="*/ 1038225 h 4496940"/>
                  <a:gd name="connsiteX101" fmla="*/ 382927 w 4519987"/>
                  <a:gd name="connsiteY101" fmla="*/ 1009650 h 4496940"/>
                  <a:gd name="connsiteX102" fmla="*/ 440077 w 4519987"/>
                  <a:gd name="connsiteY102" fmla="*/ 904875 h 4496940"/>
                  <a:gd name="connsiteX103" fmla="*/ 478177 w 4519987"/>
                  <a:gd name="connsiteY103" fmla="*/ 857250 h 4496940"/>
                  <a:gd name="connsiteX104" fmla="*/ 497227 w 4519987"/>
                  <a:gd name="connsiteY104" fmla="*/ 828675 h 4496940"/>
                  <a:gd name="connsiteX105" fmla="*/ 535327 w 4519987"/>
                  <a:gd name="connsiteY105" fmla="*/ 800100 h 4496940"/>
                  <a:gd name="connsiteX106" fmla="*/ 602002 w 4519987"/>
                  <a:gd name="connsiteY106" fmla="*/ 733425 h 4496940"/>
                  <a:gd name="connsiteX107" fmla="*/ 668677 w 4519987"/>
                  <a:gd name="connsiteY107" fmla="*/ 676275 h 4496940"/>
                  <a:gd name="connsiteX108" fmla="*/ 697252 w 4519987"/>
                  <a:gd name="connsiteY108" fmla="*/ 657225 h 4496940"/>
                  <a:gd name="connsiteX109" fmla="*/ 840127 w 4519987"/>
                  <a:gd name="connsiteY109" fmla="*/ 533400 h 4496940"/>
                  <a:gd name="connsiteX110" fmla="*/ 887752 w 4519987"/>
                  <a:gd name="connsiteY110" fmla="*/ 504825 h 4496940"/>
                  <a:gd name="connsiteX111" fmla="*/ 1167152 w 4519987"/>
                  <a:gd name="connsiteY111" fmla="*/ 311150 h 4496940"/>
                  <a:gd name="connsiteX112" fmla="*/ 1268752 w 4519987"/>
                  <a:gd name="connsiteY112" fmla="*/ 285750 h 4496940"/>
                  <a:gd name="connsiteX113" fmla="*/ 1411627 w 4519987"/>
                  <a:gd name="connsiteY113" fmla="*/ 190500 h 4496940"/>
                  <a:gd name="connsiteX114" fmla="*/ 1449727 w 4519987"/>
                  <a:gd name="connsiteY114" fmla="*/ 161925 h 4496940"/>
                  <a:gd name="connsiteX115" fmla="*/ 1525927 w 4519987"/>
                  <a:gd name="connsiteY115" fmla="*/ 152400 h 4496940"/>
                  <a:gd name="connsiteX116" fmla="*/ 1583077 w 4519987"/>
                  <a:gd name="connsiteY116" fmla="*/ 142875 h 4496940"/>
                  <a:gd name="connsiteX117" fmla="*/ 1716427 w 4519987"/>
                  <a:gd name="connsiteY117" fmla="*/ 123825 h 4496940"/>
                  <a:gd name="connsiteX118" fmla="*/ 1811677 w 4519987"/>
                  <a:gd name="connsiteY118" fmla="*/ 114300 h 4496940"/>
                  <a:gd name="connsiteX119" fmla="*/ 1859302 w 4519987"/>
                  <a:gd name="connsiteY119" fmla="*/ 104775 h 4496940"/>
                  <a:gd name="connsiteX120" fmla="*/ 1916452 w 4519987"/>
                  <a:gd name="connsiteY120" fmla="*/ 95250 h 4496940"/>
                  <a:gd name="connsiteX121" fmla="*/ 2030752 w 4519987"/>
                  <a:gd name="connsiteY121" fmla="*/ 66675 h 4496940"/>
                  <a:gd name="connsiteX122" fmla="*/ 2097427 w 4519987"/>
                  <a:gd name="connsiteY122" fmla="*/ 47625 h 4496940"/>
                  <a:gd name="connsiteX123" fmla="*/ 2164102 w 4519987"/>
                  <a:gd name="connsiteY123" fmla="*/ 38100 h 4496940"/>
                  <a:gd name="connsiteX124" fmla="*/ 2392702 w 4519987"/>
                  <a:gd name="connsiteY12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335677 w 4519987"/>
                  <a:gd name="connsiteY37" fmla="*/ 4238625 h 4496940"/>
                  <a:gd name="connsiteX38" fmla="*/ 3288052 w 4519987"/>
                  <a:gd name="connsiteY38" fmla="*/ 4248150 h 4496940"/>
                  <a:gd name="connsiteX39" fmla="*/ 3240427 w 4519987"/>
                  <a:gd name="connsiteY39" fmla="*/ 4267200 h 4496940"/>
                  <a:gd name="connsiteX40" fmla="*/ 3068977 w 4519987"/>
                  <a:gd name="connsiteY40" fmla="*/ 4286250 h 4496940"/>
                  <a:gd name="connsiteX41" fmla="*/ 2935627 w 4519987"/>
                  <a:gd name="connsiteY41" fmla="*/ 4333875 h 4496940"/>
                  <a:gd name="connsiteX42" fmla="*/ 2811802 w 4519987"/>
                  <a:gd name="connsiteY42" fmla="*/ 4371975 h 4496940"/>
                  <a:gd name="connsiteX43" fmla="*/ 2745127 w 4519987"/>
                  <a:gd name="connsiteY43" fmla="*/ 4410075 h 4496940"/>
                  <a:gd name="connsiteX44" fmla="*/ 2697502 w 4519987"/>
                  <a:gd name="connsiteY44" fmla="*/ 4429125 h 4496940"/>
                  <a:gd name="connsiteX45" fmla="*/ 2640352 w 4519987"/>
                  <a:gd name="connsiteY45" fmla="*/ 4457700 h 4496940"/>
                  <a:gd name="connsiteX46" fmla="*/ 2583202 w 4519987"/>
                  <a:gd name="connsiteY46" fmla="*/ 4467225 h 4496940"/>
                  <a:gd name="connsiteX47" fmla="*/ 2545102 w 4519987"/>
                  <a:gd name="connsiteY47" fmla="*/ 4486275 h 4496940"/>
                  <a:gd name="connsiteX48" fmla="*/ 2306977 w 4519987"/>
                  <a:gd name="connsiteY48" fmla="*/ 4476750 h 4496940"/>
                  <a:gd name="connsiteX49" fmla="*/ 2202202 w 4519987"/>
                  <a:gd name="connsiteY49" fmla="*/ 4457700 h 4496940"/>
                  <a:gd name="connsiteX50" fmla="*/ 2126002 w 4519987"/>
                  <a:gd name="connsiteY50" fmla="*/ 4429125 h 4496940"/>
                  <a:gd name="connsiteX51" fmla="*/ 1935502 w 4519987"/>
                  <a:gd name="connsiteY51" fmla="*/ 4400550 h 4496940"/>
                  <a:gd name="connsiteX52" fmla="*/ 1821202 w 4519987"/>
                  <a:gd name="connsiteY52" fmla="*/ 4371975 h 4496940"/>
                  <a:gd name="connsiteX53" fmla="*/ 1754527 w 4519987"/>
                  <a:gd name="connsiteY53" fmla="*/ 4352925 h 4496940"/>
                  <a:gd name="connsiteX54" fmla="*/ 1687852 w 4519987"/>
                  <a:gd name="connsiteY54" fmla="*/ 4343400 h 4496940"/>
                  <a:gd name="connsiteX55" fmla="*/ 1573552 w 4519987"/>
                  <a:gd name="connsiteY55" fmla="*/ 4305300 h 4496940"/>
                  <a:gd name="connsiteX56" fmla="*/ 1402102 w 4519987"/>
                  <a:gd name="connsiteY56" fmla="*/ 4276725 h 4496940"/>
                  <a:gd name="connsiteX57" fmla="*/ 1287802 w 4519987"/>
                  <a:gd name="connsiteY57" fmla="*/ 4229100 h 4496940"/>
                  <a:gd name="connsiteX58" fmla="*/ 1221127 w 4519987"/>
                  <a:gd name="connsiteY58" fmla="*/ 4200525 h 4496940"/>
                  <a:gd name="connsiteX59" fmla="*/ 1144927 w 4519987"/>
                  <a:gd name="connsiteY59" fmla="*/ 4171950 h 4496940"/>
                  <a:gd name="connsiteX60" fmla="*/ 1087777 w 4519987"/>
                  <a:gd name="connsiteY60" fmla="*/ 4143375 h 4496940"/>
                  <a:gd name="connsiteX61" fmla="*/ 1030627 w 4519987"/>
                  <a:gd name="connsiteY61" fmla="*/ 4124325 h 4496940"/>
                  <a:gd name="connsiteX62" fmla="*/ 925852 w 4519987"/>
                  <a:gd name="connsiteY62" fmla="*/ 4067175 h 4496940"/>
                  <a:gd name="connsiteX63" fmla="*/ 830602 w 4519987"/>
                  <a:gd name="connsiteY63" fmla="*/ 3981450 h 4496940"/>
                  <a:gd name="connsiteX64" fmla="*/ 763927 w 4519987"/>
                  <a:gd name="connsiteY64" fmla="*/ 3914775 h 4496940"/>
                  <a:gd name="connsiteX65" fmla="*/ 725827 w 4519987"/>
                  <a:gd name="connsiteY65" fmla="*/ 3876675 h 4496940"/>
                  <a:gd name="connsiteX66" fmla="*/ 697252 w 4519987"/>
                  <a:gd name="connsiteY66" fmla="*/ 3838575 h 4496940"/>
                  <a:gd name="connsiteX67" fmla="*/ 640102 w 4519987"/>
                  <a:gd name="connsiteY67" fmla="*/ 3781425 h 4496940"/>
                  <a:gd name="connsiteX68" fmla="*/ 611527 w 4519987"/>
                  <a:gd name="connsiteY68" fmla="*/ 3733800 h 4496940"/>
                  <a:gd name="connsiteX69" fmla="*/ 554377 w 4519987"/>
                  <a:gd name="connsiteY69" fmla="*/ 3657600 h 4496940"/>
                  <a:gd name="connsiteX70" fmla="*/ 525802 w 4519987"/>
                  <a:gd name="connsiteY70" fmla="*/ 3609975 h 4496940"/>
                  <a:gd name="connsiteX71" fmla="*/ 497227 w 4519987"/>
                  <a:gd name="connsiteY71" fmla="*/ 3552825 h 4496940"/>
                  <a:gd name="connsiteX72" fmla="*/ 440077 w 4519987"/>
                  <a:gd name="connsiteY72" fmla="*/ 3495675 h 4496940"/>
                  <a:gd name="connsiteX73" fmla="*/ 411502 w 4519987"/>
                  <a:gd name="connsiteY73" fmla="*/ 3448050 h 4496940"/>
                  <a:gd name="connsiteX74" fmla="*/ 278152 w 4519987"/>
                  <a:gd name="connsiteY74" fmla="*/ 3257550 h 4496940"/>
                  <a:gd name="connsiteX75" fmla="*/ 249577 w 4519987"/>
                  <a:gd name="connsiteY75" fmla="*/ 3200400 h 4496940"/>
                  <a:gd name="connsiteX76" fmla="*/ 240052 w 4519987"/>
                  <a:gd name="connsiteY76" fmla="*/ 3162300 h 4496940"/>
                  <a:gd name="connsiteX77" fmla="*/ 221002 w 4519987"/>
                  <a:gd name="connsiteY77" fmla="*/ 3105150 h 4496940"/>
                  <a:gd name="connsiteX78" fmla="*/ 173377 w 4519987"/>
                  <a:gd name="connsiteY78" fmla="*/ 3019425 h 4496940"/>
                  <a:gd name="connsiteX79" fmla="*/ 144802 w 4519987"/>
                  <a:gd name="connsiteY79" fmla="*/ 2924175 h 4496940"/>
                  <a:gd name="connsiteX80" fmla="*/ 68602 w 4519987"/>
                  <a:gd name="connsiteY80" fmla="*/ 2724150 h 4496940"/>
                  <a:gd name="connsiteX81" fmla="*/ 49552 w 4519987"/>
                  <a:gd name="connsiteY81" fmla="*/ 2638425 h 4496940"/>
                  <a:gd name="connsiteX82" fmla="*/ 40027 w 4519987"/>
                  <a:gd name="connsiteY82" fmla="*/ 2562225 h 4496940"/>
                  <a:gd name="connsiteX83" fmla="*/ 30502 w 4519987"/>
                  <a:gd name="connsiteY83" fmla="*/ 2514600 h 4496940"/>
                  <a:gd name="connsiteX84" fmla="*/ 11452 w 4519987"/>
                  <a:gd name="connsiteY84" fmla="*/ 2400300 h 4496940"/>
                  <a:gd name="connsiteX85" fmla="*/ 20977 w 4519987"/>
                  <a:gd name="connsiteY85" fmla="*/ 1905000 h 4496940"/>
                  <a:gd name="connsiteX86" fmla="*/ 30502 w 4519987"/>
                  <a:gd name="connsiteY86" fmla="*/ 1838325 h 4496940"/>
                  <a:gd name="connsiteX87" fmla="*/ 49552 w 4519987"/>
                  <a:gd name="connsiteY87" fmla="*/ 1781175 h 4496940"/>
                  <a:gd name="connsiteX88" fmla="*/ 59077 w 4519987"/>
                  <a:gd name="connsiteY88" fmla="*/ 1743075 h 4496940"/>
                  <a:gd name="connsiteX89" fmla="*/ 78127 w 4519987"/>
                  <a:gd name="connsiteY89" fmla="*/ 1685925 h 4496940"/>
                  <a:gd name="connsiteX90" fmla="*/ 87652 w 4519987"/>
                  <a:gd name="connsiteY90" fmla="*/ 1638300 h 4496940"/>
                  <a:gd name="connsiteX91" fmla="*/ 106702 w 4519987"/>
                  <a:gd name="connsiteY91" fmla="*/ 1590675 h 4496940"/>
                  <a:gd name="connsiteX92" fmla="*/ 135277 w 4519987"/>
                  <a:gd name="connsiteY92" fmla="*/ 1504950 h 4496940"/>
                  <a:gd name="connsiteX93" fmla="*/ 154327 w 4519987"/>
                  <a:gd name="connsiteY93" fmla="*/ 1419225 h 4496940"/>
                  <a:gd name="connsiteX94" fmla="*/ 230527 w 4519987"/>
                  <a:gd name="connsiteY94" fmla="*/ 1276350 h 4496940"/>
                  <a:gd name="connsiteX95" fmla="*/ 240052 w 4519987"/>
                  <a:gd name="connsiteY95" fmla="*/ 1247775 h 4496940"/>
                  <a:gd name="connsiteX96" fmla="*/ 268627 w 4519987"/>
                  <a:gd name="connsiteY96" fmla="*/ 1200150 h 4496940"/>
                  <a:gd name="connsiteX97" fmla="*/ 287677 w 4519987"/>
                  <a:gd name="connsiteY97" fmla="*/ 1152525 h 4496940"/>
                  <a:gd name="connsiteX98" fmla="*/ 316252 w 4519987"/>
                  <a:gd name="connsiteY98" fmla="*/ 1114425 h 4496940"/>
                  <a:gd name="connsiteX99" fmla="*/ 363877 w 4519987"/>
                  <a:gd name="connsiteY99" fmla="*/ 1038225 h 4496940"/>
                  <a:gd name="connsiteX100" fmla="*/ 382927 w 4519987"/>
                  <a:gd name="connsiteY100" fmla="*/ 1009650 h 4496940"/>
                  <a:gd name="connsiteX101" fmla="*/ 440077 w 4519987"/>
                  <a:gd name="connsiteY101" fmla="*/ 904875 h 4496940"/>
                  <a:gd name="connsiteX102" fmla="*/ 478177 w 4519987"/>
                  <a:gd name="connsiteY102" fmla="*/ 857250 h 4496940"/>
                  <a:gd name="connsiteX103" fmla="*/ 497227 w 4519987"/>
                  <a:gd name="connsiteY103" fmla="*/ 828675 h 4496940"/>
                  <a:gd name="connsiteX104" fmla="*/ 535327 w 4519987"/>
                  <a:gd name="connsiteY104" fmla="*/ 800100 h 4496940"/>
                  <a:gd name="connsiteX105" fmla="*/ 602002 w 4519987"/>
                  <a:gd name="connsiteY105" fmla="*/ 733425 h 4496940"/>
                  <a:gd name="connsiteX106" fmla="*/ 668677 w 4519987"/>
                  <a:gd name="connsiteY106" fmla="*/ 676275 h 4496940"/>
                  <a:gd name="connsiteX107" fmla="*/ 697252 w 4519987"/>
                  <a:gd name="connsiteY107" fmla="*/ 657225 h 4496940"/>
                  <a:gd name="connsiteX108" fmla="*/ 840127 w 4519987"/>
                  <a:gd name="connsiteY108" fmla="*/ 533400 h 4496940"/>
                  <a:gd name="connsiteX109" fmla="*/ 887752 w 4519987"/>
                  <a:gd name="connsiteY109" fmla="*/ 504825 h 4496940"/>
                  <a:gd name="connsiteX110" fmla="*/ 1167152 w 4519987"/>
                  <a:gd name="connsiteY110" fmla="*/ 311150 h 4496940"/>
                  <a:gd name="connsiteX111" fmla="*/ 1268752 w 4519987"/>
                  <a:gd name="connsiteY111" fmla="*/ 285750 h 4496940"/>
                  <a:gd name="connsiteX112" fmla="*/ 1411627 w 4519987"/>
                  <a:gd name="connsiteY112" fmla="*/ 190500 h 4496940"/>
                  <a:gd name="connsiteX113" fmla="*/ 1449727 w 4519987"/>
                  <a:gd name="connsiteY113" fmla="*/ 161925 h 4496940"/>
                  <a:gd name="connsiteX114" fmla="*/ 1525927 w 4519987"/>
                  <a:gd name="connsiteY114" fmla="*/ 152400 h 4496940"/>
                  <a:gd name="connsiteX115" fmla="*/ 1583077 w 4519987"/>
                  <a:gd name="connsiteY115" fmla="*/ 142875 h 4496940"/>
                  <a:gd name="connsiteX116" fmla="*/ 1716427 w 4519987"/>
                  <a:gd name="connsiteY116" fmla="*/ 123825 h 4496940"/>
                  <a:gd name="connsiteX117" fmla="*/ 1811677 w 4519987"/>
                  <a:gd name="connsiteY117" fmla="*/ 114300 h 4496940"/>
                  <a:gd name="connsiteX118" fmla="*/ 1859302 w 4519987"/>
                  <a:gd name="connsiteY118" fmla="*/ 104775 h 4496940"/>
                  <a:gd name="connsiteX119" fmla="*/ 1916452 w 4519987"/>
                  <a:gd name="connsiteY119" fmla="*/ 95250 h 4496940"/>
                  <a:gd name="connsiteX120" fmla="*/ 2030752 w 4519987"/>
                  <a:gd name="connsiteY120" fmla="*/ 66675 h 4496940"/>
                  <a:gd name="connsiteX121" fmla="*/ 2097427 w 4519987"/>
                  <a:gd name="connsiteY121" fmla="*/ 47625 h 4496940"/>
                  <a:gd name="connsiteX122" fmla="*/ 2164102 w 4519987"/>
                  <a:gd name="connsiteY122" fmla="*/ 38100 h 4496940"/>
                  <a:gd name="connsiteX123" fmla="*/ 2392702 w 4519987"/>
                  <a:gd name="connsiteY12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335677 w 4519987"/>
                  <a:gd name="connsiteY37" fmla="*/ 4238625 h 4496940"/>
                  <a:gd name="connsiteX38" fmla="*/ 3240427 w 4519987"/>
                  <a:gd name="connsiteY38" fmla="*/ 4267200 h 4496940"/>
                  <a:gd name="connsiteX39" fmla="*/ 3068977 w 4519987"/>
                  <a:gd name="connsiteY39" fmla="*/ 4286250 h 4496940"/>
                  <a:gd name="connsiteX40" fmla="*/ 2935627 w 4519987"/>
                  <a:gd name="connsiteY40" fmla="*/ 4333875 h 4496940"/>
                  <a:gd name="connsiteX41" fmla="*/ 2811802 w 4519987"/>
                  <a:gd name="connsiteY41" fmla="*/ 4371975 h 4496940"/>
                  <a:gd name="connsiteX42" fmla="*/ 2745127 w 4519987"/>
                  <a:gd name="connsiteY42" fmla="*/ 4410075 h 4496940"/>
                  <a:gd name="connsiteX43" fmla="*/ 2697502 w 4519987"/>
                  <a:gd name="connsiteY43" fmla="*/ 4429125 h 4496940"/>
                  <a:gd name="connsiteX44" fmla="*/ 2640352 w 4519987"/>
                  <a:gd name="connsiteY44" fmla="*/ 4457700 h 4496940"/>
                  <a:gd name="connsiteX45" fmla="*/ 2583202 w 4519987"/>
                  <a:gd name="connsiteY45" fmla="*/ 4467225 h 4496940"/>
                  <a:gd name="connsiteX46" fmla="*/ 2545102 w 4519987"/>
                  <a:gd name="connsiteY46" fmla="*/ 4486275 h 4496940"/>
                  <a:gd name="connsiteX47" fmla="*/ 2306977 w 4519987"/>
                  <a:gd name="connsiteY47" fmla="*/ 4476750 h 4496940"/>
                  <a:gd name="connsiteX48" fmla="*/ 2202202 w 4519987"/>
                  <a:gd name="connsiteY48" fmla="*/ 4457700 h 4496940"/>
                  <a:gd name="connsiteX49" fmla="*/ 2126002 w 4519987"/>
                  <a:gd name="connsiteY49" fmla="*/ 4429125 h 4496940"/>
                  <a:gd name="connsiteX50" fmla="*/ 1935502 w 4519987"/>
                  <a:gd name="connsiteY50" fmla="*/ 4400550 h 4496940"/>
                  <a:gd name="connsiteX51" fmla="*/ 1821202 w 4519987"/>
                  <a:gd name="connsiteY51" fmla="*/ 4371975 h 4496940"/>
                  <a:gd name="connsiteX52" fmla="*/ 1754527 w 4519987"/>
                  <a:gd name="connsiteY52" fmla="*/ 4352925 h 4496940"/>
                  <a:gd name="connsiteX53" fmla="*/ 1687852 w 4519987"/>
                  <a:gd name="connsiteY53" fmla="*/ 4343400 h 4496940"/>
                  <a:gd name="connsiteX54" fmla="*/ 1573552 w 4519987"/>
                  <a:gd name="connsiteY54" fmla="*/ 4305300 h 4496940"/>
                  <a:gd name="connsiteX55" fmla="*/ 1402102 w 4519987"/>
                  <a:gd name="connsiteY55" fmla="*/ 4276725 h 4496940"/>
                  <a:gd name="connsiteX56" fmla="*/ 1287802 w 4519987"/>
                  <a:gd name="connsiteY56" fmla="*/ 4229100 h 4496940"/>
                  <a:gd name="connsiteX57" fmla="*/ 1221127 w 4519987"/>
                  <a:gd name="connsiteY57" fmla="*/ 4200525 h 4496940"/>
                  <a:gd name="connsiteX58" fmla="*/ 1144927 w 4519987"/>
                  <a:gd name="connsiteY58" fmla="*/ 4171950 h 4496940"/>
                  <a:gd name="connsiteX59" fmla="*/ 1087777 w 4519987"/>
                  <a:gd name="connsiteY59" fmla="*/ 4143375 h 4496940"/>
                  <a:gd name="connsiteX60" fmla="*/ 1030627 w 4519987"/>
                  <a:gd name="connsiteY60" fmla="*/ 4124325 h 4496940"/>
                  <a:gd name="connsiteX61" fmla="*/ 925852 w 4519987"/>
                  <a:gd name="connsiteY61" fmla="*/ 4067175 h 4496940"/>
                  <a:gd name="connsiteX62" fmla="*/ 830602 w 4519987"/>
                  <a:gd name="connsiteY62" fmla="*/ 3981450 h 4496940"/>
                  <a:gd name="connsiteX63" fmla="*/ 763927 w 4519987"/>
                  <a:gd name="connsiteY63" fmla="*/ 3914775 h 4496940"/>
                  <a:gd name="connsiteX64" fmla="*/ 725827 w 4519987"/>
                  <a:gd name="connsiteY64" fmla="*/ 3876675 h 4496940"/>
                  <a:gd name="connsiteX65" fmla="*/ 697252 w 4519987"/>
                  <a:gd name="connsiteY65" fmla="*/ 3838575 h 4496940"/>
                  <a:gd name="connsiteX66" fmla="*/ 640102 w 4519987"/>
                  <a:gd name="connsiteY66" fmla="*/ 3781425 h 4496940"/>
                  <a:gd name="connsiteX67" fmla="*/ 611527 w 4519987"/>
                  <a:gd name="connsiteY67" fmla="*/ 3733800 h 4496940"/>
                  <a:gd name="connsiteX68" fmla="*/ 554377 w 4519987"/>
                  <a:gd name="connsiteY68" fmla="*/ 3657600 h 4496940"/>
                  <a:gd name="connsiteX69" fmla="*/ 525802 w 4519987"/>
                  <a:gd name="connsiteY69" fmla="*/ 3609975 h 4496940"/>
                  <a:gd name="connsiteX70" fmla="*/ 497227 w 4519987"/>
                  <a:gd name="connsiteY70" fmla="*/ 3552825 h 4496940"/>
                  <a:gd name="connsiteX71" fmla="*/ 440077 w 4519987"/>
                  <a:gd name="connsiteY71" fmla="*/ 3495675 h 4496940"/>
                  <a:gd name="connsiteX72" fmla="*/ 411502 w 4519987"/>
                  <a:gd name="connsiteY72" fmla="*/ 3448050 h 4496940"/>
                  <a:gd name="connsiteX73" fmla="*/ 278152 w 4519987"/>
                  <a:gd name="connsiteY73" fmla="*/ 3257550 h 4496940"/>
                  <a:gd name="connsiteX74" fmla="*/ 249577 w 4519987"/>
                  <a:gd name="connsiteY74" fmla="*/ 3200400 h 4496940"/>
                  <a:gd name="connsiteX75" fmla="*/ 240052 w 4519987"/>
                  <a:gd name="connsiteY75" fmla="*/ 3162300 h 4496940"/>
                  <a:gd name="connsiteX76" fmla="*/ 221002 w 4519987"/>
                  <a:gd name="connsiteY76" fmla="*/ 3105150 h 4496940"/>
                  <a:gd name="connsiteX77" fmla="*/ 173377 w 4519987"/>
                  <a:gd name="connsiteY77" fmla="*/ 3019425 h 4496940"/>
                  <a:gd name="connsiteX78" fmla="*/ 144802 w 4519987"/>
                  <a:gd name="connsiteY78" fmla="*/ 2924175 h 4496940"/>
                  <a:gd name="connsiteX79" fmla="*/ 68602 w 4519987"/>
                  <a:gd name="connsiteY79" fmla="*/ 2724150 h 4496940"/>
                  <a:gd name="connsiteX80" fmla="*/ 49552 w 4519987"/>
                  <a:gd name="connsiteY80" fmla="*/ 2638425 h 4496940"/>
                  <a:gd name="connsiteX81" fmla="*/ 40027 w 4519987"/>
                  <a:gd name="connsiteY81" fmla="*/ 2562225 h 4496940"/>
                  <a:gd name="connsiteX82" fmla="*/ 30502 w 4519987"/>
                  <a:gd name="connsiteY82" fmla="*/ 2514600 h 4496940"/>
                  <a:gd name="connsiteX83" fmla="*/ 11452 w 4519987"/>
                  <a:gd name="connsiteY83" fmla="*/ 2400300 h 4496940"/>
                  <a:gd name="connsiteX84" fmla="*/ 20977 w 4519987"/>
                  <a:gd name="connsiteY84" fmla="*/ 1905000 h 4496940"/>
                  <a:gd name="connsiteX85" fmla="*/ 30502 w 4519987"/>
                  <a:gd name="connsiteY85" fmla="*/ 1838325 h 4496940"/>
                  <a:gd name="connsiteX86" fmla="*/ 49552 w 4519987"/>
                  <a:gd name="connsiteY86" fmla="*/ 1781175 h 4496940"/>
                  <a:gd name="connsiteX87" fmla="*/ 59077 w 4519987"/>
                  <a:gd name="connsiteY87" fmla="*/ 1743075 h 4496940"/>
                  <a:gd name="connsiteX88" fmla="*/ 78127 w 4519987"/>
                  <a:gd name="connsiteY88" fmla="*/ 1685925 h 4496940"/>
                  <a:gd name="connsiteX89" fmla="*/ 87652 w 4519987"/>
                  <a:gd name="connsiteY89" fmla="*/ 1638300 h 4496940"/>
                  <a:gd name="connsiteX90" fmla="*/ 106702 w 4519987"/>
                  <a:gd name="connsiteY90" fmla="*/ 1590675 h 4496940"/>
                  <a:gd name="connsiteX91" fmla="*/ 135277 w 4519987"/>
                  <a:gd name="connsiteY91" fmla="*/ 1504950 h 4496940"/>
                  <a:gd name="connsiteX92" fmla="*/ 154327 w 4519987"/>
                  <a:gd name="connsiteY92" fmla="*/ 1419225 h 4496940"/>
                  <a:gd name="connsiteX93" fmla="*/ 230527 w 4519987"/>
                  <a:gd name="connsiteY93" fmla="*/ 1276350 h 4496940"/>
                  <a:gd name="connsiteX94" fmla="*/ 240052 w 4519987"/>
                  <a:gd name="connsiteY94" fmla="*/ 1247775 h 4496940"/>
                  <a:gd name="connsiteX95" fmla="*/ 268627 w 4519987"/>
                  <a:gd name="connsiteY95" fmla="*/ 1200150 h 4496940"/>
                  <a:gd name="connsiteX96" fmla="*/ 287677 w 4519987"/>
                  <a:gd name="connsiteY96" fmla="*/ 1152525 h 4496940"/>
                  <a:gd name="connsiteX97" fmla="*/ 316252 w 4519987"/>
                  <a:gd name="connsiteY97" fmla="*/ 1114425 h 4496940"/>
                  <a:gd name="connsiteX98" fmla="*/ 363877 w 4519987"/>
                  <a:gd name="connsiteY98" fmla="*/ 1038225 h 4496940"/>
                  <a:gd name="connsiteX99" fmla="*/ 382927 w 4519987"/>
                  <a:gd name="connsiteY99" fmla="*/ 1009650 h 4496940"/>
                  <a:gd name="connsiteX100" fmla="*/ 440077 w 4519987"/>
                  <a:gd name="connsiteY100" fmla="*/ 904875 h 4496940"/>
                  <a:gd name="connsiteX101" fmla="*/ 478177 w 4519987"/>
                  <a:gd name="connsiteY101" fmla="*/ 857250 h 4496940"/>
                  <a:gd name="connsiteX102" fmla="*/ 497227 w 4519987"/>
                  <a:gd name="connsiteY102" fmla="*/ 828675 h 4496940"/>
                  <a:gd name="connsiteX103" fmla="*/ 535327 w 4519987"/>
                  <a:gd name="connsiteY103" fmla="*/ 800100 h 4496940"/>
                  <a:gd name="connsiteX104" fmla="*/ 602002 w 4519987"/>
                  <a:gd name="connsiteY104" fmla="*/ 733425 h 4496940"/>
                  <a:gd name="connsiteX105" fmla="*/ 668677 w 4519987"/>
                  <a:gd name="connsiteY105" fmla="*/ 676275 h 4496940"/>
                  <a:gd name="connsiteX106" fmla="*/ 697252 w 4519987"/>
                  <a:gd name="connsiteY106" fmla="*/ 657225 h 4496940"/>
                  <a:gd name="connsiteX107" fmla="*/ 840127 w 4519987"/>
                  <a:gd name="connsiteY107" fmla="*/ 533400 h 4496940"/>
                  <a:gd name="connsiteX108" fmla="*/ 887752 w 4519987"/>
                  <a:gd name="connsiteY108" fmla="*/ 504825 h 4496940"/>
                  <a:gd name="connsiteX109" fmla="*/ 1167152 w 4519987"/>
                  <a:gd name="connsiteY109" fmla="*/ 311150 h 4496940"/>
                  <a:gd name="connsiteX110" fmla="*/ 1268752 w 4519987"/>
                  <a:gd name="connsiteY110" fmla="*/ 285750 h 4496940"/>
                  <a:gd name="connsiteX111" fmla="*/ 1411627 w 4519987"/>
                  <a:gd name="connsiteY111" fmla="*/ 190500 h 4496940"/>
                  <a:gd name="connsiteX112" fmla="*/ 1449727 w 4519987"/>
                  <a:gd name="connsiteY112" fmla="*/ 161925 h 4496940"/>
                  <a:gd name="connsiteX113" fmla="*/ 1525927 w 4519987"/>
                  <a:gd name="connsiteY113" fmla="*/ 152400 h 4496940"/>
                  <a:gd name="connsiteX114" fmla="*/ 1583077 w 4519987"/>
                  <a:gd name="connsiteY114" fmla="*/ 142875 h 4496940"/>
                  <a:gd name="connsiteX115" fmla="*/ 1716427 w 4519987"/>
                  <a:gd name="connsiteY115" fmla="*/ 123825 h 4496940"/>
                  <a:gd name="connsiteX116" fmla="*/ 1811677 w 4519987"/>
                  <a:gd name="connsiteY116" fmla="*/ 114300 h 4496940"/>
                  <a:gd name="connsiteX117" fmla="*/ 1859302 w 4519987"/>
                  <a:gd name="connsiteY117" fmla="*/ 104775 h 4496940"/>
                  <a:gd name="connsiteX118" fmla="*/ 1916452 w 4519987"/>
                  <a:gd name="connsiteY118" fmla="*/ 95250 h 4496940"/>
                  <a:gd name="connsiteX119" fmla="*/ 2030752 w 4519987"/>
                  <a:gd name="connsiteY119" fmla="*/ 66675 h 4496940"/>
                  <a:gd name="connsiteX120" fmla="*/ 2097427 w 4519987"/>
                  <a:gd name="connsiteY120" fmla="*/ 47625 h 4496940"/>
                  <a:gd name="connsiteX121" fmla="*/ 2164102 w 4519987"/>
                  <a:gd name="connsiteY121" fmla="*/ 38100 h 4496940"/>
                  <a:gd name="connsiteX122" fmla="*/ 2392702 w 4519987"/>
                  <a:gd name="connsiteY12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240427 w 4519987"/>
                  <a:gd name="connsiteY37" fmla="*/ 4267200 h 4496940"/>
                  <a:gd name="connsiteX38" fmla="*/ 3068977 w 4519987"/>
                  <a:gd name="connsiteY38" fmla="*/ 4286250 h 4496940"/>
                  <a:gd name="connsiteX39" fmla="*/ 2935627 w 4519987"/>
                  <a:gd name="connsiteY39" fmla="*/ 4333875 h 4496940"/>
                  <a:gd name="connsiteX40" fmla="*/ 2811802 w 4519987"/>
                  <a:gd name="connsiteY40" fmla="*/ 4371975 h 4496940"/>
                  <a:gd name="connsiteX41" fmla="*/ 2745127 w 4519987"/>
                  <a:gd name="connsiteY41" fmla="*/ 4410075 h 4496940"/>
                  <a:gd name="connsiteX42" fmla="*/ 2697502 w 4519987"/>
                  <a:gd name="connsiteY42" fmla="*/ 4429125 h 4496940"/>
                  <a:gd name="connsiteX43" fmla="*/ 2640352 w 4519987"/>
                  <a:gd name="connsiteY43" fmla="*/ 4457700 h 4496940"/>
                  <a:gd name="connsiteX44" fmla="*/ 2583202 w 4519987"/>
                  <a:gd name="connsiteY44" fmla="*/ 4467225 h 4496940"/>
                  <a:gd name="connsiteX45" fmla="*/ 2545102 w 4519987"/>
                  <a:gd name="connsiteY45" fmla="*/ 4486275 h 4496940"/>
                  <a:gd name="connsiteX46" fmla="*/ 2306977 w 4519987"/>
                  <a:gd name="connsiteY46" fmla="*/ 4476750 h 4496940"/>
                  <a:gd name="connsiteX47" fmla="*/ 2202202 w 4519987"/>
                  <a:gd name="connsiteY47" fmla="*/ 4457700 h 4496940"/>
                  <a:gd name="connsiteX48" fmla="*/ 2126002 w 4519987"/>
                  <a:gd name="connsiteY48" fmla="*/ 4429125 h 4496940"/>
                  <a:gd name="connsiteX49" fmla="*/ 1935502 w 4519987"/>
                  <a:gd name="connsiteY49" fmla="*/ 4400550 h 4496940"/>
                  <a:gd name="connsiteX50" fmla="*/ 1821202 w 4519987"/>
                  <a:gd name="connsiteY50" fmla="*/ 4371975 h 4496940"/>
                  <a:gd name="connsiteX51" fmla="*/ 1754527 w 4519987"/>
                  <a:gd name="connsiteY51" fmla="*/ 4352925 h 4496940"/>
                  <a:gd name="connsiteX52" fmla="*/ 1687852 w 4519987"/>
                  <a:gd name="connsiteY52" fmla="*/ 4343400 h 4496940"/>
                  <a:gd name="connsiteX53" fmla="*/ 1573552 w 4519987"/>
                  <a:gd name="connsiteY53" fmla="*/ 4305300 h 4496940"/>
                  <a:gd name="connsiteX54" fmla="*/ 1402102 w 4519987"/>
                  <a:gd name="connsiteY54" fmla="*/ 4276725 h 4496940"/>
                  <a:gd name="connsiteX55" fmla="*/ 1287802 w 4519987"/>
                  <a:gd name="connsiteY55" fmla="*/ 4229100 h 4496940"/>
                  <a:gd name="connsiteX56" fmla="*/ 1221127 w 4519987"/>
                  <a:gd name="connsiteY56" fmla="*/ 4200525 h 4496940"/>
                  <a:gd name="connsiteX57" fmla="*/ 1144927 w 4519987"/>
                  <a:gd name="connsiteY57" fmla="*/ 4171950 h 4496940"/>
                  <a:gd name="connsiteX58" fmla="*/ 1087777 w 4519987"/>
                  <a:gd name="connsiteY58" fmla="*/ 4143375 h 4496940"/>
                  <a:gd name="connsiteX59" fmla="*/ 1030627 w 4519987"/>
                  <a:gd name="connsiteY59" fmla="*/ 4124325 h 4496940"/>
                  <a:gd name="connsiteX60" fmla="*/ 925852 w 4519987"/>
                  <a:gd name="connsiteY60" fmla="*/ 4067175 h 4496940"/>
                  <a:gd name="connsiteX61" fmla="*/ 830602 w 4519987"/>
                  <a:gd name="connsiteY61" fmla="*/ 3981450 h 4496940"/>
                  <a:gd name="connsiteX62" fmla="*/ 763927 w 4519987"/>
                  <a:gd name="connsiteY62" fmla="*/ 3914775 h 4496940"/>
                  <a:gd name="connsiteX63" fmla="*/ 725827 w 4519987"/>
                  <a:gd name="connsiteY63" fmla="*/ 3876675 h 4496940"/>
                  <a:gd name="connsiteX64" fmla="*/ 697252 w 4519987"/>
                  <a:gd name="connsiteY64" fmla="*/ 3838575 h 4496940"/>
                  <a:gd name="connsiteX65" fmla="*/ 640102 w 4519987"/>
                  <a:gd name="connsiteY65" fmla="*/ 3781425 h 4496940"/>
                  <a:gd name="connsiteX66" fmla="*/ 611527 w 4519987"/>
                  <a:gd name="connsiteY66" fmla="*/ 3733800 h 4496940"/>
                  <a:gd name="connsiteX67" fmla="*/ 554377 w 4519987"/>
                  <a:gd name="connsiteY67" fmla="*/ 3657600 h 4496940"/>
                  <a:gd name="connsiteX68" fmla="*/ 525802 w 4519987"/>
                  <a:gd name="connsiteY68" fmla="*/ 3609975 h 4496940"/>
                  <a:gd name="connsiteX69" fmla="*/ 497227 w 4519987"/>
                  <a:gd name="connsiteY69" fmla="*/ 3552825 h 4496940"/>
                  <a:gd name="connsiteX70" fmla="*/ 440077 w 4519987"/>
                  <a:gd name="connsiteY70" fmla="*/ 3495675 h 4496940"/>
                  <a:gd name="connsiteX71" fmla="*/ 411502 w 4519987"/>
                  <a:gd name="connsiteY71" fmla="*/ 3448050 h 4496940"/>
                  <a:gd name="connsiteX72" fmla="*/ 278152 w 4519987"/>
                  <a:gd name="connsiteY72" fmla="*/ 3257550 h 4496940"/>
                  <a:gd name="connsiteX73" fmla="*/ 249577 w 4519987"/>
                  <a:gd name="connsiteY73" fmla="*/ 3200400 h 4496940"/>
                  <a:gd name="connsiteX74" fmla="*/ 240052 w 4519987"/>
                  <a:gd name="connsiteY74" fmla="*/ 3162300 h 4496940"/>
                  <a:gd name="connsiteX75" fmla="*/ 221002 w 4519987"/>
                  <a:gd name="connsiteY75" fmla="*/ 3105150 h 4496940"/>
                  <a:gd name="connsiteX76" fmla="*/ 173377 w 4519987"/>
                  <a:gd name="connsiteY76" fmla="*/ 3019425 h 4496940"/>
                  <a:gd name="connsiteX77" fmla="*/ 144802 w 4519987"/>
                  <a:gd name="connsiteY77" fmla="*/ 2924175 h 4496940"/>
                  <a:gd name="connsiteX78" fmla="*/ 68602 w 4519987"/>
                  <a:gd name="connsiteY78" fmla="*/ 2724150 h 4496940"/>
                  <a:gd name="connsiteX79" fmla="*/ 49552 w 4519987"/>
                  <a:gd name="connsiteY79" fmla="*/ 2638425 h 4496940"/>
                  <a:gd name="connsiteX80" fmla="*/ 40027 w 4519987"/>
                  <a:gd name="connsiteY80" fmla="*/ 2562225 h 4496940"/>
                  <a:gd name="connsiteX81" fmla="*/ 30502 w 4519987"/>
                  <a:gd name="connsiteY81" fmla="*/ 2514600 h 4496940"/>
                  <a:gd name="connsiteX82" fmla="*/ 11452 w 4519987"/>
                  <a:gd name="connsiteY82" fmla="*/ 2400300 h 4496940"/>
                  <a:gd name="connsiteX83" fmla="*/ 20977 w 4519987"/>
                  <a:gd name="connsiteY83" fmla="*/ 1905000 h 4496940"/>
                  <a:gd name="connsiteX84" fmla="*/ 30502 w 4519987"/>
                  <a:gd name="connsiteY84" fmla="*/ 1838325 h 4496940"/>
                  <a:gd name="connsiteX85" fmla="*/ 49552 w 4519987"/>
                  <a:gd name="connsiteY85" fmla="*/ 1781175 h 4496940"/>
                  <a:gd name="connsiteX86" fmla="*/ 59077 w 4519987"/>
                  <a:gd name="connsiteY86" fmla="*/ 1743075 h 4496940"/>
                  <a:gd name="connsiteX87" fmla="*/ 78127 w 4519987"/>
                  <a:gd name="connsiteY87" fmla="*/ 1685925 h 4496940"/>
                  <a:gd name="connsiteX88" fmla="*/ 87652 w 4519987"/>
                  <a:gd name="connsiteY88" fmla="*/ 1638300 h 4496940"/>
                  <a:gd name="connsiteX89" fmla="*/ 106702 w 4519987"/>
                  <a:gd name="connsiteY89" fmla="*/ 1590675 h 4496940"/>
                  <a:gd name="connsiteX90" fmla="*/ 135277 w 4519987"/>
                  <a:gd name="connsiteY90" fmla="*/ 1504950 h 4496940"/>
                  <a:gd name="connsiteX91" fmla="*/ 154327 w 4519987"/>
                  <a:gd name="connsiteY91" fmla="*/ 1419225 h 4496940"/>
                  <a:gd name="connsiteX92" fmla="*/ 230527 w 4519987"/>
                  <a:gd name="connsiteY92" fmla="*/ 1276350 h 4496940"/>
                  <a:gd name="connsiteX93" fmla="*/ 240052 w 4519987"/>
                  <a:gd name="connsiteY93" fmla="*/ 1247775 h 4496940"/>
                  <a:gd name="connsiteX94" fmla="*/ 268627 w 4519987"/>
                  <a:gd name="connsiteY94" fmla="*/ 1200150 h 4496940"/>
                  <a:gd name="connsiteX95" fmla="*/ 287677 w 4519987"/>
                  <a:gd name="connsiteY95" fmla="*/ 1152525 h 4496940"/>
                  <a:gd name="connsiteX96" fmla="*/ 316252 w 4519987"/>
                  <a:gd name="connsiteY96" fmla="*/ 1114425 h 4496940"/>
                  <a:gd name="connsiteX97" fmla="*/ 363877 w 4519987"/>
                  <a:gd name="connsiteY97" fmla="*/ 1038225 h 4496940"/>
                  <a:gd name="connsiteX98" fmla="*/ 382927 w 4519987"/>
                  <a:gd name="connsiteY98" fmla="*/ 1009650 h 4496940"/>
                  <a:gd name="connsiteX99" fmla="*/ 440077 w 4519987"/>
                  <a:gd name="connsiteY99" fmla="*/ 904875 h 4496940"/>
                  <a:gd name="connsiteX100" fmla="*/ 478177 w 4519987"/>
                  <a:gd name="connsiteY100" fmla="*/ 857250 h 4496940"/>
                  <a:gd name="connsiteX101" fmla="*/ 497227 w 4519987"/>
                  <a:gd name="connsiteY101" fmla="*/ 828675 h 4496940"/>
                  <a:gd name="connsiteX102" fmla="*/ 535327 w 4519987"/>
                  <a:gd name="connsiteY102" fmla="*/ 800100 h 4496940"/>
                  <a:gd name="connsiteX103" fmla="*/ 602002 w 4519987"/>
                  <a:gd name="connsiteY103" fmla="*/ 733425 h 4496940"/>
                  <a:gd name="connsiteX104" fmla="*/ 668677 w 4519987"/>
                  <a:gd name="connsiteY104" fmla="*/ 676275 h 4496940"/>
                  <a:gd name="connsiteX105" fmla="*/ 697252 w 4519987"/>
                  <a:gd name="connsiteY105" fmla="*/ 657225 h 4496940"/>
                  <a:gd name="connsiteX106" fmla="*/ 840127 w 4519987"/>
                  <a:gd name="connsiteY106" fmla="*/ 533400 h 4496940"/>
                  <a:gd name="connsiteX107" fmla="*/ 887752 w 4519987"/>
                  <a:gd name="connsiteY107" fmla="*/ 504825 h 4496940"/>
                  <a:gd name="connsiteX108" fmla="*/ 1167152 w 4519987"/>
                  <a:gd name="connsiteY108" fmla="*/ 311150 h 4496940"/>
                  <a:gd name="connsiteX109" fmla="*/ 1268752 w 4519987"/>
                  <a:gd name="connsiteY109" fmla="*/ 285750 h 4496940"/>
                  <a:gd name="connsiteX110" fmla="*/ 1411627 w 4519987"/>
                  <a:gd name="connsiteY110" fmla="*/ 190500 h 4496940"/>
                  <a:gd name="connsiteX111" fmla="*/ 1449727 w 4519987"/>
                  <a:gd name="connsiteY111" fmla="*/ 161925 h 4496940"/>
                  <a:gd name="connsiteX112" fmla="*/ 1525927 w 4519987"/>
                  <a:gd name="connsiteY112" fmla="*/ 152400 h 4496940"/>
                  <a:gd name="connsiteX113" fmla="*/ 1583077 w 4519987"/>
                  <a:gd name="connsiteY113" fmla="*/ 142875 h 4496940"/>
                  <a:gd name="connsiteX114" fmla="*/ 1716427 w 4519987"/>
                  <a:gd name="connsiteY114" fmla="*/ 123825 h 4496940"/>
                  <a:gd name="connsiteX115" fmla="*/ 1811677 w 4519987"/>
                  <a:gd name="connsiteY115" fmla="*/ 114300 h 4496940"/>
                  <a:gd name="connsiteX116" fmla="*/ 1859302 w 4519987"/>
                  <a:gd name="connsiteY116" fmla="*/ 104775 h 4496940"/>
                  <a:gd name="connsiteX117" fmla="*/ 1916452 w 4519987"/>
                  <a:gd name="connsiteY117" fmla="*/ 95250 h 4496940"/>
                  <a:gd name="connsiteX118" fmla="*/ 2030752 w 4519987"/>
                  <a:gd name="connsiteY118" fmla="*/ 66675 h 4496940"/>
                  <a:gd name="connsiteX119" fmla="*/ 2097427 w 4519987"/>
                  <a:gd name="connsiteY119" fmla="*/ 47625 h 4496940"/>
                  <a:gd name="connsiteX120" fmla="*/ 2164102 w 4519987"/>
                  <a:gd name="connsiteY120" fmla="*/ 38100 h 4496940"/>
                  <a:gd name="connsiteX121" fmla="*/ 2392702 w 4519987"/>
                  <a:gd name="connsiteY12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221377 w 4519987"/>
                  <a:gd name="connsiteY37" fmla="*/ 4222750 h 4496940"/>
                  <a:gd name="connsiteX38" fmla="*/ 3068977 w 4519987"/>
                  <a:gd name="connsiteY38" fmla="*/ 4286250 h 4496940"/>
                  <a:gd name="connsiteX39" fmla="*/ 2935627 w 4519987"/>
                  <a:gd name="connsiteY39" fmla="*/ 4333875 h 4496940"/>
                  <a:gd name="connsiteX40" fmla="*/ 2811802 w 4519987"/>
                  <a:gd name="connsiteY40" fmla="*/ 4371975 h 4496940"/>
                  <a:gd name="connsiteX41" fmla="*/ 2745127 w 4519987"/>
                  <a:gd name="connsiteY41" fmla="*/ 4410075 h 4496940"/>
                  <a:gd name="connsiteX42" fmla="*/ 2697502 w 4519987"/>
                  <a:gd name="connsiteY42" fmla="*/ 4429125 h 4496940"/>
                  <a:gd name="connsiteX43" fmla="*/ 2640352 w 4519987"/>
                  <a:gd name="connsiteY43" fmla="*/ 4457700 h 4496940"/>
                  <a:gd name="connsiteX44" fmla="*/ 2583202 w 4519987"/>
                  <a:gd name="connsiteY44" fmla="*/ 4467225 h 4496940"/>
                  <a:gd name="connsiteX45" fmla="*/ 2545102 w 4519987"/>
                  <a:gd name="connsiteY45" fmla="*/ 4486275 h 4496940"/>
                  <a:gd name="connsiteX46" fmla="*/ 2306977 w 4519987"/>
                  <a:gd name="connsiteY46" fmla="*/ 4476750 h 4496940"/>
                  <a:gd name="connsiteX47" fmla="*/ 2202202 w 4519987"/>
                  <a:gd name="connsiteY47" fmla="*/ 4457700 h 4496940"/>
                  <a:gd name="connsiteX48" fmla="*/ 2126002 w 4519987"/>
                  <a:gd name="connsiteY48" fmla="*/ 4429125 h 4496940"/>
                  <a:gd name="connsiteX49" fmla="*/ 1935502 w 4519987"/>
                  <a:gd name="connsiteY49" fmla="*/ 4400550 h 4496940"/>
                  <a:gd name="connsiteX50" fmla="*/ 1821202 w 4519987"/>
                  <a:gd name="connsiteY50" fmla="*/ 4371975 h 4496940"/>
                  <a:gd name="connsiteX51" fmla="*/ 1754527 w 4519987"/>
                  <a:gd name="connsiteY51" fmla="*/ 4352925 h 4496940"/>
                  <a:gd name="connsiteX52" fmla="*/ 1687852 w 4519987"/>
                  <a:gd name="connsiteY52" fmla="*/ 4343400 h 4496940"/>
                  <a:gd name="connsiteX53" fmla="*/ 1573552 w 4519987"/>
                  <a:gd name="connsiteY53" fmla="*/ 4305300 h 4496940"/>
                  <a:gd name="connsiteX54" fmla="*/ 1402102 w 4519987"/>
                  <a:gd name="connsiteY54" fmla="*/ 4276725 h 4496940"/>
                  <a:gd name="connsiteX55" fmla="*/ 1287802 w 4519987"/>
                  <a:gd name="connsiteY55" fmla="*/ 4229100 h 4496940"/>
                  <a:gd name="connsiteX56" fmla="*/ 1221127 w 4519987"/>
                  <a:gd name="connsiteY56" fmla="*/ 4200525 h 4496940"/>
                  <a:gd name="connsiteX57" fmla="*/ 1144927 w 4519987"/>
                  <a:gd name="connsiteY57" fmla="*/ 4171950 h 4496940"/>
                  <a:gd name="connsiteX58" fmla="*/ 1087777 w 4519987"/>
                  <a:gd name="connsiteY58" fmla="*/ 4143375 h 4496940"/>
                  <a:gd name="connsiteX59" fmla="*/ 1030627 w 4519987"/>
                  <a:gd name="connsiteY59" fmla="*/ 4124325 h 4496940"/>
                  <a:gd name="connsiteX60" fmla="*/ 925852 w 4519987"/>
                  <a:gd name="connsiteY60" fmla="*/ 4067175 h 4496940"/>
                  <a:gd name="connsiteX61" fmla="*/ 830602 w 4519987"/>
                  <a:gd name="connsiteY61" fmla="*/ 3981450 h 4496940"/>
                  <a:gd name="connsiteX62" fmla="*/ 763927 w 4519987"/>
                  <a:gd name="connsiteY62" fmla="*/ 3914775 h 4496940"/>
                  <a:gd name="connsiteX63" fmla="*/ 725827 w 4519987"/>
                  <a:gd name="connsiteY63" fmla="*/ 3876675 h 4496940"/>
                  <a:gd name="connsiteX64" fmla="*/ 697252 w 4519987"/>
                  <a:gd name="connsiteY64" fmla="*/ 3838575 h 4496940"/>
                  <a:gd name="connsiteX65" fmla="*/ 640102 w 4519987"/>
                  <a:gd name="connsiteY65" fmla="*/ 3781425 h 4496940"/>
                  <a:gd name="connsiteX66" fmla="*/ 611527 w 4519987"/>
                  <a:gd name="connsiteY66" fmla="*/ 3733800 h 4496940"/>
                  <a:gd name="connsiteX67" fmla="*/ 554377 w 4519987"/>
                  <a:gd name="connsiteY67" fmla="*/ 3657600 h 4496940"/>
                  <a:gd name="connsiteX68" fmla="*/ 525802 w 4519987"/>
                  <a:gd name="connsiteY68" fmla="*/ 3609975 h 4496940"/>
                  <a:gd name="connsiteX69" fmla="*/ 497227 w 4519987"/>
                  <a:gd name="connsiteY69" fmla="*/ 3552825 h 4496940"/>
                  <a:gd name="connsiteX70" fmla="*/ 440077 w 4519987"/>
                  <a:gd name="connsiteY70" fmla="*/ 3495675 h 4496940"/>
                  <a:gd name="connsiteX71" fmla="*/ 411502 w 4519987"/>
                  <a:gd name="connsiteY71" fmla="*/ 3448050 h 4496940"/>
                  <a:gd name="connsiteX72" fmla="*/ 278152 w 4519987"/>
                  <a:gd name="connsiteY72" fmla="*/ 3257550 h 4496940"/>
                  <a:gd name="connsiteX73" fmla="*/ 249577 w 4519987"/>
                  <a:gd name="connsiteY73" fmla="*/ 3200400 h 4496940"/>
                  <a:gd name="connsiteX74" fmla="*/ 240052 w 4519987"/>
                  <a:gd name="connsiteY74" fmla="*/ 3162300 h 4496940"/>
                  <a:gd name="connsiteX75" fmla="*/ 221002 w 4519987"/>
                  <a:gd name="connsiteY75" fmla="*/ 3105150 h 4496940"/>
                  <a:gd name="connsiteX76" fmla="*/ 173377 w 4519987"/>
                  <a:gd name="connsiteY76" fmla="*/ 3019425 h 4496940"/>
                  <a:gd name="connsiteX77" fmla="*/ 144802 w 4519987"/>
                  <a:gd name="connsiteY77" fmla="*/ 2924175 h 4496940"/>
                  <a:gd name="connsiteX78" fmla="*/ 68602 w 4519987"/>
                  <a:gd name="connsiteY78" fmla="*/ 2724150 h 4496940"/>
                  <a:gd name="connsiteX79" fmla="*/ 49552 w 4519987"/>
                  <a:gd name="connsiteY79" fmla="*/ 2638425 h 4496940"/>
                  <a:gd name="connsiteX80" fmla="*/ 40027 w 4519987"/>
                  <a:gd name="connsiteY80" fmla="*/ 2562225 h 4496940"/>
                  <a:gd name="connsiteX81" fmla="*/ 30502 w 4519987"/>
                  <a:gd name="connsiteY81" fmla="*/ 2514600 h 4496940"/>
                  <a:gd name="connsiteX82" fmla="*/ 11452 w 4519987"/>
                  <a:gd name="connsiteY82" fmla="*/ 2400300 h 4496940"/>
                  <a:gd name="connsiteX83" fmla="*/ 20977 w 4519987"/>
                  <a:gd name="connsiteY83" fmla="*/ 1905000 h 4496940"/>
                  <a:gd name="connsiteX84" fmla="*/ 30502 w 4519987"/>
                  <a:gd name="connsiteY84" fmla="*/ 1838325 h 4496940"/>
                  <a:gd name="connsiteX85" fmla="*/ 49552 w 4519987"/>
                  <a:gd name="connsiteY85" fmla="*/ 1781175 h 4496940"/>
                  <a:gd name="connsiteX86" fmla="*/ 59077 w 4519987"/>
                  <a:gd name="connsiteY86" fmla="*/ 1743075 h 4496940"/>
                  <a:gd name="connsiteX87" fmla="*/ 78127 w 4519987"/>
                  <a:gd name="connsiteY87" fmla="*/ 1685925 h 4496940"/>
                  <a:gd name="connsiteX88" fmla="*/ 87652 w 4519987"/>
                  <a:gd name="connsiteY88" fmla="*/ 1638300 h 4496940"/>
                  <a:gd name="connsiteX89" fmla="*/ 106702 w 4519987"/>
                  <a:gd name="connsiteY89" fmla="*/ 1590675 h 4496940"/>
                  <a:gd name="connsiteX90" fmla="*/ 135277 w 4519987"/>
                  <a:gd name="connsiteY90" fmla="*/ 1504950 h 4496940"/>
                  <a:gd name="connsiteX91" fmla="*/ 154327 w 4519987"/>
                  <a:gd name="connsiteY91" fmla="*/ 1419225 h 4496940"/>
                  <a:gd name="connsiteX92" fmla="*/ 230527 w 4519987"/>
                  <a:gd name="connsiteY92" fmla="*/ 1276350 h 4496940"/>
                  <a:gd name="connsiteX93" fmla="*/ 240052 w 4519987"/>
                  <a:gd name="connsiteY93" fmla="*/ 1247775 h 4496940"/>
                  <a:gd name="connsiteX94" fmla="*/ 268627 w 4519987"/>
                  <a:gd name="connsiteY94" fmla="*/ 1200150 h 4496940"/>
                  <a:gd name="connsiteX95" fmla="*/ 287677 w 4519987"/>
                  <a:gd name="connsiteY95" fmla="*/ 1152525 h 4496940"/>
                  <a:gd name="connsiteX96" fmla="*/ 316252 w 4519987"/>
                  <a:gd name="connsiteY96" fmla="*/ 1114425 h 4496940"/>
                  <a:gd name="connsiteX97" fmla="*/ 363877 w 4519987"/>
                  <a:gd name="connsiteY97" fmla="*/ 1038225 h 4496940"/>
                  <a:gd name="connsiteX98" fmla="*/ 382927 w 4519987"/>
                  <a:gd name="connsiteY98" fmla="*/ 1009650 h 4496940"/>
                  <a:gd name="connsiteX99" fmla="*/ 440077 w 4519987"/>
                  <a:gd name="connsiteY99" fmla="*/ 904875 h 4496940"/>
                  <a:gd name="connsiteX100" fmla="*/ 478177 w 4519987"/>
                  <a:gd name="connsiteY100" fmla="*/ 857250 h 4496940"/>
                  <a:gd name="connsiteX101" fmla="*/ 497227 w 4519987"/>
                  <a:gd name="connsiteY101" fmla="*/ 828675 h 4496940"/>
                  <a:gd name="connsiteX102" fmla="*/ 535327 w 4519987"/>
                  <a:gd name="connsiteY102" fmla="*/ 800100 h 4496940"/>
                  <a:gd name="connsiteX103" fmla="*/ 602002 w 4519987"/>
                  <a:gd name="connsiteY103" fmla="*/ 733425 h 4496940"/>
                  <a:gd name="connsiteX104" fmla="*/ 668677 w 4519987"/>
                  <a:gd name="connsiteY104" fmla="*/ 676275 h 4496940"/>
                  <a:gd name="connsiteX105" fmla="*/ 697252 w 4519987"/>
                  <a:gd name="connsiteY105" fmla="*/ 657225 h 4496940"/>
                  <a:gd name="connsiteX106" fmla="*/ 840127 w 4519987"/>
                  <a:gd name="connsiteY106" fmla="*/ 533400 h 4496940"/>
                  <a:gd name="connsiteX107" fmla="*/ 887752 w 4519987"/>
                  <a:gd name="connsiteY107" fmla="*/ 504825 h 4496940"/>
                  <a:gd name="connsiteX108" fmla="*/ 1167152 w 4519987"/>
                  <a:gd name="connsiteY108" fmla="*/ 311150 h 4496940"/>
                  <a:gd name="connsiteX109" fmla="*/ 1268752 w 4519987"/>
                  <a:gd name="connsiteY109" fmla="*/ 285750 h 4496940"/>
                  <a:gd name="connsiteX110" fmla="*/ 1411627 w 4519987"/>
                  <a:gd name="connsiteY110" fmla="*/ 190500 h 4496940"/>
                  <a:gd name="connsiteX111" fmla="*/ 1449727 w 4519987"/>
                  <a:gd name="connsiteY111" fmla="*/ 161925 h 4496940"/>
                  <a:gd name="connsiteX112" fmla="*/ 1525927 w 4519987"/>
                  <a:gd name="connsiteY112" fmla="*/ 152400 h 4496940"/>
                  <a:gd name="connsiteX113" fmla="*/ 1583077 w 4519987"/>
                  <a:gd name="connsiteY113" fmla="*/ 142875 h 4496940"/>
                  <a:gd name="connsiteX114" fmla="*/ 1716427 w 4519987"/>
                  <a:gd name="connsiteY114" fmla="*/ 123825 h 4496940"/>
                  <a:gd name="connsiteX115" fmla="*/ 1811677 w 4519987"/>
                  <a:gd name="connsiteY115" fmla="*/ 114300 h 4496940"/>
                  <a:gd name="connsiteX116" fmla="*/ 1859302 w 4519987"/>
                  <a:gd name="connsiteY116" fmla="*/ 104775 h 4496940"/>
                  <a:gd name="connsiteX117" fmla="*/ 1916452 w 4519987"/>
                  <a:gd name="connsiteY117" fmla="*/ 95250 h 4496940"/>
                  <a:gd name="connsiteX118" fmla="*/ 2030752 w 4519987"/>
                  <a:gd name="connsiteY118" fmla="*/ 66675 h 4496940"/>
                  <a:gd name="connsiteX119" fmla="*/ 2097427 w 4519987"/>
                  <a:gd name="connsiteY119" fmla="*/ 47625 h 4496940"/>
                  <a:gd name="connsiteX120" fmla="*/ 2164102 w 4519987"/>
                  <a:gd name="connsiteY120" fmla="*/ 38100 h 4496940"/>
                  <a:gd name="connsiteX121" fmla="*/ 2392702 w 4519987"/>
                  <a:gd name="connsiteY12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221377 w 4519987"/>
                  <a:gd name="connsiteY37" fmla="*/ 4222750 h 4496940"/>
                  <a:gd name="connsiteX38" fmla="*/ 3068977 w 4519987"/>
                  <a:gd name="connsiteY38" fmla="*/ 4286250 h 4496940"/>
                  <a:gd name="connsiteX39" fmla="*/ 2935627 w 4519987"/>
                  <a:gd name="connsiteY39" fmla="*/ 4333875 h 4496940"/>
                  <a:gd name="connsiteX40" fmla="*/ 2811802 w 4519987"/>
                  <a:gd name="connsiteY40" fmla="*/ 4371975 h 4496940"/>
                  <a:gd name="connsiteX41" fmla="*/ 2745127 w 4519987"/>
                  <a:gd name="connsiteY41" fmla="*/ 4410075 h 4496940"/>
                  <a:gd name="connsiteX42" fmla="*/ 2640352 w 4519987"/>
                  <a:gd name="connsiteY42" fmla="*/ 4457700 h 4496940"/>
                  <a:gd name="connsiteX43" fmla="*/ 2583202 w 4519987"/>
                  <a:gd name="connsiteY43" fmla="*/ 4467225 h 4496940"/>
                  <a:gd name="connsiteX44" fmla="*/ 2545102 w 4519987"/>
                  <a:gd name="connsiteY44" fmla="*/ 4486275 h 4496940"/>
                  <a:gd name="connsiteX45" fmla="*/ 2306977 w 4519987"/>
                  <a:gd name="connsiteY45" fmla="*/ 4476750 h 4496940"/>
                  <a:gd name="connsiteX46" fmla="*/ 2202202 w 4519987"/>
                  <a:gd name="connsiteY46" fmla="*/ 4457700 h 4496940"/>
                  <a:gd name="connsiteX47" fmla="*/ 2126002 w 4519987"/>
                  <a:gd name="connsiteY47" fmla="*/ 4429125 h 4496940"/>
                  <a:gd name="connsiteX48" fmla="*/ 1935502 w 4519987"/>
                  <a:gd name="connsiteY48" fmla="*/ 4400550 h 4496940"/>
                  <a:gd name="connsiteX49" fmla="*/ 1821202 w 4519987"/>
                  <a:gd name="connsiteY49" fmla="*/ 4371975 h 4496940"/>
                  <a:gd name="connsiteX50" fmla="*/ 1754527 w 4519987"/>
                  <a:gd name="connsiteY50" fmla="*/ 4352925 h 4496940"/>
                  <a:gd name="connsiteX51" fmla="*/ 1687852 w 4519987"/>
                  <a:gd name="connsiteY51" fmla="*/ 4343400 h 4496940"/>
                  <a:gd name="connsiteX52" fmla="*/ 1573552 w 4519987"/>
                  <a:gd name="connsiteY52" fmla="*/ 4305300 h 4496940"/>
                  <a:gd name="connsiteX53" fmla="*/ 1402102 w 4519987"/>
                  <a:gd name="connsiteY53" fmla="*/ 4276725 h 4496940"/>
                  <a:gd name="connsiteX54" fmla="*/ 1287802 w 4519987"/>
                  <a:gd name="connsiteY54" fmla="*/ 4229100 h 4496940"/>
                  <a:gd name="connsiteX55" fmla="*/ 1221127 w 4519987"/>
                  <a:gd name="connsiteY55" fmla="*/ 4200525 h 4496940"/>
                  <a:gd name="connsiteX56" fmla="*/ 1144927 w 4519987"/>
                  <a:gd name="connsiteY56" fmla="*/ 4171950 h 4496940"/>
                  <a:gd name="connsiteX57" fmla="*/ 1087777 w 4519987"/>
                  <a:gd name="connsiteY57" fmla="*/ 4143375 h 4496940"/>
                  <a:gd name="connsiteX58" fmla="*/ 1030627 w 4519987"/>
                  <a:gd name="connsiteY58" fmla="*/ 4124325 h 4496940"/>
                  <a:gd name="connsiteX59" fmla="*/ 925852 w 4519987"/>
                  <a:gd name="connsiteY59" fmla="*/ 4067175 h 4496940"/>
                  <a:gd name="connsiteX60" fmla="*/ 830602 w 4519987"/>
                  <a:gd name="connsiteY60" fmla="*/ 3981450 h 4496940"/>
                  <a:gd name="connsiteX61" fmla="*/ 763927 w 4519987"/>
                  <a:gd name="connsiteY61" fmla="*/ 3914775 h 4496940"/>
                  <a:gd name="connsiteX62" fmla="*/ 725827 w 4519987"/>
                  <a:gd name="connsiteY62" fmla="*/ 3876675 h 4496940"/>
                  <a:gd name="connsiteX63" fmla="*/ 697252 w 4519987"/>
                  <a:gd name="connsiteY63" fmla="*/ 3838575 h 4496940"/>
                  <a:gd name="connsiteX64" fmla="*/ 640102 w 4519987"/>
                  <a:gd name="connsiteY64" fmla="*/ 3781425 h 4496940"/>
                  <a:gd name="connsiteX65" fmla="*/ 611527 w 4519987"/>
                  <a:gd name="connsiteY65" fmla="*/ 3733800 h 4496940"/>
                  <a:gd name="connsiteX66" fmla="*/ 554377 w 4519987"/>
                  <a:gd name="connsiteY66" fmla="*/ 3657600 h 4496940"/>
                  <a:gd name="connsiteX67" fmla="*/ 525802 w 4519987"/>
                  <a:gd name="connsiteY67" fmla="*/ 3609975 h 4496940"/>
                  <a:gd name="connsiteX68" fmla="*/ 497227 w 4519987"/>
                  <a:gd name="connsiteY68" fmla="*/ 3552825 h 4496940"/>
                  <a:gd name="connsiteX69" fmla="*/ 440077 w 4519987"/>
                  <a:gd name="connsiteY69" fmla="*/ 3495675 h 4496940"/>
                  <a:gd name="connsiteX70" fmla="*/ 411502 w 4519987"/>
                  <a:gd name="connsiteY70" fmla="*/ 3448050 h 4496940"/>
                  <a:gd name="connsiteX71" fmla="*/ 278152 w 4519987"/>
                  <a:gd name="connsiteY71" fmla="*/ 3257550 h 4496940"/>
                  <a:gd name="connsiteX72" fmla="*/ 249577 w 4519987"/>
                  <a:gd name="connsiteY72" fmla="*/ 3200400 h 4496940"/>
                  <a:gd name="connsiteX73" fmla="*/ 240052 w 4519987"/>
                  <a:gd name="connsiteY73" fmla="*/ 3162300 h 4496940"/>
                  <a:gd name="connsiteX74" fmla="*/ 221002 w 4519987"/>
                  <a:gd name="connsiteY74" fmla="*/ 3105150 h 4496940"/>
                  <a:gd name="connsiteX75" fmla="*/ 173377 w 4519987"/>
                  <a:gd name="connsiteY75" fmla="*/ 3019425 h 4496940"/>
                  <a:gd name="connsiteX76" fmla="*/ 144802 w 4519987"/>
                  <a:gd name="connsiteY76" fmla="*/ 2924175 h 4496940"/>
                  <a:gd name="connsiteX77" fmla="*/ 68602 w 4519987"/>
                  <a:gd name="connsiteY77" fmla="*/ 2724150 h 4496940"/>
                  <a:gd name="connsiteX78" fmla="*/ 49552 w 4519987"/>
                  <a:gd name="connsiteY78" fmla="*/ 2638425 h 4496940"/>
                  <a:gd name="connsiteX79" fmla="*/ 40027 w 4519987"/>
                  <a:gd name="connsiteY79" fmla="*/ 2562225 h 4496940"/>
                  <a:gd name="connsiteX80" fmla="*/ 30502 w 4519987"/>
                  <a:gd name="connsiteY80" fmla="*/ 2514600 h 4496940"/>
                  <a:gd name="connsiteX81" fmla="*/ 11452 w 4519987"/>
                  <a:gd name="connsiteY81" fmla="*/ 2400300 h 4496940"/>
                  <a:gd name="connsiteX82" fmla="*/ 20977 w 4519987"/>
                  <a:gd name="connsiteY82" fmla="*/ 1905000 h 4496940"/>
                  <a:gd name="connsiteX83" fmla="*/ 30502 w 4519987"/>
                  <a:gd name="connsiteY83" fmla="*/ 1838325 h 4496940"/>
                  <a:gd name="connsiteX84" fmla="*/ 49552 w 4519987"/>
                  <a:gd name="connsiteY84" fmla="*/ 1781175 h 4496940"/>
                  <a:gd name="connsiteX85" fmla="*/ 59077 w 4519987"/>
                  <a:gd name="connsiteY85" fmla="*/ 1743075 h 4496940"/>
                  <a:gd name="connsiteX86" fmla="*/ 78127 w 4519987"/>
                  <a:gd name="connsiteY86" fmla="*/ 1685925 h 4496940"/>
                  <a:gd name="connsiteX87" fmla="*/ 87652 w 4519987"/>
                  <a:gd name="connsiteY87" fmla="*/ 1638300 h 4496940"/>
                  <a:gd name="connsiteX88" fmla="*/ 106702 w 4519987"/>
                  <a:gd name="connsiteY88" fmla="*/ 1590675 h 4496940"/>
                  <a:gd name="connsiteX89" fmla="*/ 135277 w 4519987"/>
                  <a:gd name="connsiteY89" fmla="*/ 1504950 h 4496940"/>
                  <a:gd name="connsiteX90" fmla="*/ 154327 w 4519987"/>
                  <a:gd name="connsiteY90" fmla="*/ 1419225 h 4496940"/>
                  <a:gd name="connsiteX91" fmla="*/ 230527 w 4519987"/>
                  <a:gd name="connsiteY91" fmla="*/ 1276350 h 4496940"/>
                  <a:gd name="connsiteX92" fmla="*/ 240052 w 4519987"/>
                  <a:gd name="connsiteY92" fmla="*/ 1247775 h 4496940"/>
                  <a:gd name="connsiteX93" fmla="*/ 268627 w 4519987"/>
                  <a:gd name="connsiteY93" fmla="*/ 1200150 h 4496940"/>
                  <a:gd name="connsiteX94" fmla="*/ 287677 w 4519987"/>
                  <a:gd name="connsiteY94" fmla="*/ 1152525 h 4496940"/>
                  <a:gd name="connsiteX95" fmla="*/ 316252 w 4519987"/>
                  <a:gd name="connsiteY95" fmla="*/ 1114425 h 4496940"/>
                  <a:gd name="connsiteX96" fmla="*/ 363877 w 4519987"/>
                  <a:gd name="connsiteY96" fmla="*/ 1038225 h 4496940"/>
                  <a:gd name="connsiteX97" fmla="*/ 382927 w 4519987"/>
                  <a:gd name="connsiteY97" fmla="*/ 1009650 h 4496940"/>
                  <a:gd name="connsiteX98" fmla="*/ 440077 w 4519987"/>
                  <a:gd name="connsiteY98" fmla="*/ 904875 h 4496940"/>
                  <a:gd name="connsiteX99" fmla="*/ 478177 w 4519987"/>
                  <a:gd name="connsiteY99" fmla="*/ 857250 h 4496940"/>
                  <a:gd name="connsiteX100" fmla="*/ 497227 w 4519987"/>
                  <a:gd name="connsiteY100" fmla="*/ 828675 h 4496940"/>
                  <a:gd name="connsiteX101" fmla="*/ 535327 w 4519987"/>
                  <a:gd name="connsiteY101" fmla="*/ 800100 h 4496940"/>
                  <a:gd name="connsiteX102" fmla="*/ 602002 w 4519987"/>
                  <a:gd name="connsiteY102" fmla="*/ 733425 h 4496940"/>
                  <a:gd name="connsiteX103" fmla="*/ 668677 w 4519987"/>
                  <a:gd name="connsiteY103" fmla="*/ 676275 h 4496940"/>
                  <a:gd name="connsiteX104" fmla="*/ 697252 w 4519987"/>
                  <a:gd name="connsiteY104" fmla="*/ 657225 h 4496940"/>
                  <a:gd name="connsiteX105" fmla="*/ 840127 w 4519987"/>
                  <a:gd name="connsiteY105" fmla="*/ 533400 h 4496940"/>
                  <a:gd name="connsiteX106" fmla="*/ 887752 w 4519987"/>
                  <a:gd name="connsiteY106" fmla="*/ 504825 h 4496940"/>
                  <a:gd name="connsiteX107" fmla="*/ 1167152 w 4519987"/>
                  <a:gd name="connsiteY107" fmla="*/ 311150 h 4496940"/>
                  <a:gd name="connsiteX108" fmla="*/ 1268752 w 4519987"/>
                  <a:gd name="connsiteY108" fmla="*/ 285750 h 4496940"/>
                  <a:gd name="connsiteX109" fmla="*/ 1411627 w 4519987"/>
                  <a:gd name="connsiteY109" fmla="*/ 190500 h 4496940"/>
                  <a:gd name="connsiteX110" fmla="*/ 1449727 w 4519987"/>
                  <a:gd name="connsiteY110" fmla="*/ 161925 h 4496940"/>
                  <a:gd name="connsiteX111" fmla="*/ 1525927 w 4519987"/>
                  <a:gd name="connsiteY111" fmla="*/ 152400 h 4496940"/>
                  <a:gd name="connsiteX112" fmla="*/ 1583077 w 4519987"/>
                  <a:gd name="connsiteY112" fmla="*/ 142875 h 4496940"/>
                  <a:gd name="connsiteX113" fmla="*/ 1716427 w 4519987"/>
                  <a:gd name="connsiteY113" fmla="*/ 123825 h 4496940"/>
                  <a:gd name="connsiteX114" fmla="*/ 1811677 w 4519987"/>
                  <a:gd name="connsiteY114" fmla="*/ 114300 h 4496940"/>
                  <a:gd name="connsiteX115" fmla="*/ 1859302 w 4519987"/>
                  <a:gd name="connsiteY115" fmla="*/ 104775 h 4496940"/>
                  <a:gd name="connsiteX116" fmla="*/ 1916452 w 4519987"/>
                  <a:gd name="connsiteY116" fmla="*/ 95250 h 4496940"/>
                  <a:gd name="connsiteX117" fmla="*/ 2030752 w 4519987"/>
                  <a:gd name="connsiteY117" fmla="*/ 66675 h 4496940"/>
                  <a:gd name="connsiteX118" fmla="*/ 2097427 w 4519987"/>
                  <a:gd name="connsiteY118" fmla="*/ 47625 h 4496940"/>
                  <a:gd name="connsiteX119" fmla="*/ 2164102 w 4519987"/>
                  <a:gd name="connsiteY119" fmla="*/ 38100 h 4496940"/>
                  <a:gd name="connsiteX120" fmla="*/ 2392702 w 4519987"/>
                  <a:gd name="connsiteY120" fmla="*/ 28575 h 4496940"/>
                  <a:gd name="connsiteX0" fmla="*/ 2297452 w 4519987"/>
                  <a:gd name="connsiteY0" fmla="*/ 0 h 4487372"/>
                  <a:gd name="connsiteX1" fmla="*/ 2421277 w 4519987"/>
                  <a:gd name="connsiteY1" fmla="*/ 28575 h 4487372"/>
                  <a:gd name="connsiteX2" fmla="*/ 2497477 w 4519987"/>
                  <a:gd name="connsiteY2" fmla="*/ 47625 h 4487372"/>
                  <a:gd name="connsiteX3" fmla="*/ 2754652 w 4519987"/>
                  <a:gd name="connsiteY3" fmla="*/ 66675 h 4487372"/>
                  <a:gd name="connsiteX4" fmla="*/ 2830852 w 4519987"/>
                  <a:gd name="connsiteY4" fmla="*/ 76200 h 4487372"/>
                  <a:gd name="connsiteX5" fmla="*/ 2916577 w 4519987"/>
                  <a:gd name="connsiteY5" fmla="*/ 85725 h 4487372"/>
                  <a:gd name="connsiteX6" fmla="*/ 2973727 w 4519987"/>
                  <a:gd name="connsiteY6" fmla="*/ 114300 h 4487372"/>
                  <a:gd name="connsiteX7" fmla="*/ 3011827 w 4519987"/>
                  <a:gd name="connsiteY7" fmla="*/ 123825 h 4487372"/>
                  <a:gd name="connsiteX8" fmla="*/ 3135652 w 4519987"/>
                  <a:gd name="connsiteY8" fmla="*/ 171450 h 4487372"/>
                  <a:gd name="connsiteX9" fmla="*/ 3173752 w 4519987"/>
                  <a:gd name="connsiteY9" fmla="*/ 190500 h 4487372"/>
                  <a:gd name="connsiteX10" fmla="*/ 3240427 w 4519987"/>
                  <a:gd name="connsiteY10" fmla="*/ 228600 h 4487372"/>
                  <a:gd name="connsiteX11" fmla="*/ 3269002 w 4519987"/>
                  <a:gd name="connsiteY11" fmla="*/ 238125 h 4487372"/>
                  <a:gd name="connsiteX12" fmla="*/ 3297577 w 4519987"/>
                  <a:gd name="connsiteY12" fmla="*/ 257175 h 4487372"/>
                  <a:gd name="connsiteX13" fmla="*/ 3326152 w 4519987"/>
                  <a:gd name="connsiteY13" fmla="*/ 266700 h 4487372"/>
                  <a:gd name="connsiteX14" fmla="*/ 3354727 w 4519987"/>
                  <a:gd name="connsiteY14" fmla="*/ 285750 h 4487372"/>
                  <a:gd name="connsiteX15" fmla="*/ 3421402 w 4519987"/>
                  <a:gd name="connsiteY15" fmla="*/ 323850 h 4487372"/>
                  <a:gd name="connsiteX16" fmla="*/ 3469027 w 4519987"/>
                  <a:gd name="connsiteY16" fmla="*/ 361950 h 4487372"/>
                  <a:gd name="connsiteX17" fmla="*/ 3516652 w 4519987"/>
                  <a:gd name="connsiteY17" fmla="*/ 390525 h 4487372"/>
                  <a:gd name="connsiteX18" fmla="*/ 3630952 w 4519987"/>
                  <a:gd name="connsiteY18" fmla="*/ 485775 h 4487372"/>
                  <a:gd name="connsiteX19" fmla="*/ 3745252 w 4519987"/>
                  <a:gd name="connsiteY19" fmla="*/ 542925 h 4487372"/>
                  <a:gd name="connsiteX20" fmla="*/ 3811927 w 4519987"/>
                  <a:gd name="connsiteY20" fmla="*/ 581025 h 4487372"/>
                  <a:gd name="connsiteX21" fmla="*/ 4027827 w 4519987"/>
                  <a:gd name="connsiteY21" fmla="*/ 819150 h 4487372"/>
                  <a:gd name="connsiteX22" fmla="*/ 4164352 w 4519987"/>
                  <a:gd name="connsiteY22" fmla="*/ 990600 h 4487372"/>
                  <a:gd name="connsiteX23" fmla="*/ 4250077 w 4519987"/>
                  <a:gd name="connsiteY23" fmla="*/ 1143000 h 4487372"/>
                  <a:gd name="connsiteX24" fmla="*/ 4307227 w 4519987"/>
                  <a:gd name="connsiteY24" fmla="*/ 1266825 h 4487372"/>
                  <a:gd name="connsiteX25" fmla="*/ 4345327 w 4519987"/>
                  <a:gd name="connsiteY25" fmla="*/ 1362075 h 4487372"/>
                  <a:gd name="connsiteX26" fmla="*/ 4392952 w 4519987"/>
                  <a:gd name="connsiteY26" fmla="*/ 1552575 h 4487372"/>
                  <a:gd name="connsiteX27" fmla="*/ 4431052 w 4519987"/>
                  <a:gd name="connsiteY27" fmla="*/ 1685925 h 4487372"/>
                  <a:gd name="connsiteX28" fmla="*/ 4519952 w 4519987"/>
                  <a:gd name="connsiteY28" fmla="*/ 2181225 h 4487372"/>
                  <a:gd name="connsiteX29" fmla="*/ 4446927 w 4519987"/>
                  <a:gd name="connsiteY29" fmla="*/ 2768600 h 4487372"/>
                  <a:gd name="connsiteX30" fmla="*/ 4383427 w 4519987"/>
                  <a:gd name="connsiteY30" fmla="*/ 2990850 h 4487372"/>
                  <a:gd name="connsiteX31" fmla="*/ 4278652 w 4519987"/>
                  <a:gd name="connsiteY31" fmla="*/ 3248025 h 4487372"/>
                  <a:gd name="connsiteX32" fmla="*/ 4183402 w 4519987"/>
                  <a:gd name="connsiteY32" fmla="*/ 3400425 h 4487372"/>
                  <a:gd name="connsiteX33" fmla="*/ 4059577 w 4519987"/>
                  <a:gd name="connsiteY33" fmla="*/ 3533775 h 4487372"/>
                  <a:gd name="connsiteX34" fmla="*/ 3954802 w 4519987"/>
                  <a:gd name="connsiteY34" fmla="*/ 3648075 h 4487372"/>
                  <a:gd name="connsiteX35" fmla="*/ 3659527 w 4519987"/>
                  <a:gd name="connsiteY35" fmla="*/ 3971925 h 4487372"/>
                  <a:gd name="connsiteX36" fmla="*/ 3516652 w 4519987"/>
                  <a:gd name="connsiteY36" fmla="*/ 4083050 h 4487372"/>
                  <a:gd name="connsiteX37" fmla="*/ 3221377 w 4519987"/>
                  <a:gd name="connsiteY37" fmla="*/ 4222750 h 4487372"/>
                  <a:gd name="connsiteX38" fmla="*/ 3068977 w 4519987"/>
                  <a:gd name="connsiteY38" fmla="*/ 4286250 h 4487372"/>
                  <a:gd name="connsiteX39" fmla="*/ 2935627 w 4519987"/>
                  <a:gd name="connsiteY39" fmla="*/ 4333875 h 4487372"/>
                  <a:gd name="connsiteX40" fmla="*/ 2811802 w 4519987"/>
                  <a:gd name="connsiteY40" fmla="*/ 4371975 h 4487372"/>
                  <a:gd name="connsiteX41" fmla="*/ 2745127 w 4519987"/>
                  <a:gd name="connsiteY41" fmla="*/ 4410075 h 4487372"/>
                  <a:gd name="connsiteX42" fmla="*/ 2640352 w 4519987"/>
                  <a:gd name="connsiteY42" fmla="*/ 4457700 h 4487372"/>
                  <a:gd name="connsiteX43" fmla="*/ 2545102 w 4519987"/>
                  <a:gd name="connsiteY43" fmla="*/ 4486275 h 4487372"/>
                  <a:gd name="connsiteX44" fmla="*/ 2306977 w 4519987"/>
                  <a:gd name="connsiteY44" fmla="*/ 4476750 h 4487372"/>
                  <a:gd name="connsiteX45" fmla="*/ 2202202 w 4519987"/>
                  <a:gd name="connsiteY45" fmla="*/ 4457700 h 4487372"/>
                  <a:gd name="connsiteX46" fmla="*/ 2126002 w 4519987"/>
                  <a:gd name="connsiteY46" fmla="*/ 4429125 h 4487372"/>
                  <a:gd name="connsiteX47" fmla="*/ 1935502 w 4519987"/>
                  <a:gd name="connsiteY47" fmla="*/ 4400550 h 4487372"/>
                  <a:gd name="connsiteX48" fmla="*/ 1821202 w 4519987"/>
                  <a:gd name="connsiteY48" fmla="*/ 4371975 h 4487372"/>
                  <a:gd name="connsiteX49" fmla="*/ 1754527 w 4519987"/>
                  <a:gd name="connsiteY49" fmla="*/ 4352925 h 4487372"/>
                  <a:gd name="connsiteX50" fmla="*/ 1687852 w 4519987"/>
                  <a:gd name="connsiteY50" fmla="*/ 4343400 h 4487372"/>
                  <a:gd name="connsiteX51" fmla="*/ 1573552 w 4519987"/>
                  <a:gd name="connsiteY51" fmla="*/ 4305300 h 4487372"/>
                  <a:gd name="connsiteX52" fmla="*/ 1402102 w 4519987"/>
                  <a:gd name="connsiteY52" fmla="*/ 4276725 h 4487372"/>
                  <a:gd name="connsiteX53" fmla="*/ 1287802 w 4519987"/>
                  <a:gd name="connsiteY53" fmla="*/ 4229100 h 4487372"/>
                  <a:gd name="connsiteX54" fmla="*/ 1221127 w 4519987"/>
                  <a:gd name="connsiteY54" fmla="*/ 4200525 h 4487372"/>
                  <a:gd name="connsiteX55" fmla="*/ 1144927 w 4519987"/>
                  <a:gd name="connsiteY55" fmla="*/ 4171950 h 4487372"/>
                  <a:gd name="connsiteX56" fmla="*/ 1087777 w 4519987"/>
                  <a:gd name="connsiteY56" fmla="*/ 4143375 h 4487372"/>
                  <a:gd name="connsiteX57" fmla="*/ 1030627 w 4519987"/>
                  <a:gd name="connsiteY57" fmla="*/ 4124325 h 4487372"/>
                  <a:gd name="connsiteX58" fmla="*/ 925852 w 4519987"/>
                  <a:gd name="connsiteY58" fmla="*/ 4067175 h 4487372"/>
                  <a:gd name="connsiteX59" fmla="*/ 830602 w 4519987"/>
                  <a:gd name="connsiteY59" fmla="*/ 3981450 h 4487372"/>
                  <a:gd name="connsiteX60" fmla="*/ 763927 w 4519987"/>
                  <a:gd name="connsiteY60" fmla="*/ 3914775 h 4487372"/>
                  <a:gd name="connsiteX61" fmla="*/ 725827 w 4519987"/>
                  <a:gd name="connsiteY61" fmla="*/ 3876675 h 4487372"/>
                  <a:gd name="connsiteX62" fmla="*/ 697252 w 4519987"/>
                  <a:gd name="connsiteY62" fmla="*/ 3838575 h 4487372"/>
                  <a:gd name="connsiteX63" fmla="*/ 640102 w 4519987"/>
                  <a:gd name="connsiteY63" fmla="*/ 3781425 h 4487372"/>
                  <a:gd name="connsiteX64" fmla="*/ 611527 w 4519987"/>
                  <a:gd name="connsiteY64" fmla="*/ 3733800 h 4487372"/>
                  <a:gd name="connsiteX65" fmla="*/ 554377 w 4519987"/>
                  <a:gd name="connsiteY65" fmla="*/ 3657600 h 4487372"/>
                  <a:gd name="connsiteX66" fmla="*/ 525802 w 4519987"/>
                  <a:gd name="connsiteY66" fmla="*/ 3609975 h 4487372"/>
                  <a:gd name="connsiteX67" fmla="*/ 497227 w 4519987"/>
                  <a:gd name="connsiteY67" fmla="*/ 3552825 h 4487372"/>
                  <a:gd name="connsiteX68" fmla="*/ 440077 w 4519987"/>
                  <a:gd name="connsiteY68" fmla="*/ 3495675 h 4487372"/>
                  <a:gd name="connsiteX69" fmla="*/ 411502 w 4519987"/>
                  <a:gd name="connsiteY69" fmla="*/ 3448050 h 4487372"/>
                  <a:gd name="connsiteX70" fmla="*/ 278152 w 4519987"/>
                  <a:gd name="connsiteY70" fmla="*/ 3257550 h 4487372"/>
                  <a:gd name="connsiteX71" fmla="*/ 249577 w 4519987"/>
                  <a:gd name="connsiteY71" fmla="*/ 3200400 h 4487372"/>
                  <a:gd name="connsiteX72" fmla="*/ 240052 w 4519987"/>
                  <a:gd name="connsiteY72" fmla="*/ 3162300 h 4487372"/>
                  <a:gd name="connsiteX73" fmla="*/ 221002 w 4519987"/>
                  <a:gd name="connsiteY73" fmla="*/ 3105150 h 4487372"/>
                  <a:gd name="connsiteX74" fmla="*/ 173377 w 4519987"/>
                  <a:gd name="connsiteY74" fmla="*/ 3019425 h 4487372"/>
                  <a:gd name="connsiteX75" fmla="*/ 144802 w 4519987"/>
                  <a:gd name="connsiteY75" fmla="*/ 2924175 h 4487372"/>
                  <a:gd name="connsiteX76" fmla="*/ 68602 w 4519987"/>
                  <a:gd name="connsiteY76" fmla="*/ 2724150 h 4487372"/>
                  <a:gd name="connsiteX77" fmla="*/ 49552 w 4519987"/>
                  <a:gd name="connsiteY77" fmla="*/ 2638425 h 4487372"/>
                  <a:gd name="connsiteX78" fmla="*/ 40027 w 4519987"/>
                  <a:gd name="connsiteY78" fmla="*/ 2562225 h 4487372"/>
                  <a:gd name="connsiteX79" fmla="*/ 30502 w 4519987"/>
                  <a:gd name="connsiteY79" fmla="*/ 2514600 h 4487372"/>
                  <a:gd name="connsiteX80" fmla="*/ 11452 w 4519987"/>
                  <a:gd name="connsiteY80" fmla="*/ 2400300 h 4487372"/>
                  <a:gd name="connsiteX81" fmla="*/ 20977 w 4519987"/>
                  <a:gd name="connsiteY81" fmla="*/ 1905000 h 4487372"/>
                  <a:gd name="connsiteX82" fmla="*/ 30502 w 4519987"/>
                  <a:gd name="connsiteY82" fmla="*/ 1838325 h 4487372"/>
                  <a:gd name="connsiteX83" fmla="*/ 49552 w 4519987"/>
                  <a:gd name="connsiteY83" fmla="*/ 1781175 h 4487372"/>
                  <a:gd name="connsiteX84" fmla="*/ 59077 w 4519987"/>
                  <a:gd name="connsiteY84" fmla="*/ 1743075 h 4487372"/>
                  <a:gd name="connsiteX85" fmla="*/ 78127 w 4519987"/>
                  <a:gd name="connsiteY85" fmla="*/ 1685925 h 4487372"/>
                  <a:gd name="connsiteX86" fmla="*/ 87652 w 4519987"/>
                  <a:gd name="connsiteY86" fmla="*/ 1638300 h 4487372"/>
                  <a:gd name="connsiteX87" fmla="*/ 106702 w 4519987"/>
                  <a:gd name="connsiteY87" fmla="*/ 1590675 h 4487372"/>
                  <a:gd name="connsiteX88" fmla="*/ 135277 w 4519987"/>
                  <a:gd name="connsiteY88" fmla="*/ 1504950 h 4487372"/>
                  <a:gd name="connsiteX89" fmla="*/ 154327 w 4519987"/>
                  <a:gd name="connsiteY89" fmla="*/ 1419225 h 4487372"/>
                  <a:gd name="connsiteX90" fmla="*/ 230527 w 4519987"/>
                  <a:gd name="connsiteY90" fmla="*/ 1276350 h 4487372"/>
                  <a:gd name="connsiteX91" fmla="*/ 240052 w 4519987"/>
                  <a:gd name="connsiteY91" fmla="*/ 1247775 h 4487372"/>
                  <a:gd name="connsiteX92" fmla="*/ 268627 w 4519987"/>
                  <a:gd name="connsiteY92" fmla="*/ 1200150 h 4487372"/>
                  <a:gd name="connsiteX93" fmla="*/ 287677 w 4519987"/>
                  <a:gd name="connsiteY93" fmla="*/ 1152525 h 4487372"/>
                  <a:gd name="connsiteX94" fmla="*/ 316252 w 4519987"/>
                  <a:gd name="connsiteY94" fmla="*/ 1114425 h 4487372"/>
                  <a:gd name="connsiteX95" fmla="*/ 363877 w 4519987"/>
                  <a:gd name="connsiteY95" fmla="*/ 1038225 h 4487372"/>
                  <a:gd name="connsiteX96" fmla="*/ 382927 w 4519987"/>
                  <a:gd name="connsiteY96" fmla="*/ 1009650 h 4487372"/>
                  <a:gd name="connsiteX97" fmla="*/ 440077 w 4519987"/>
                  <a:gd name="connsiteY97" fmla="*/ 904875 h 4487372"/>
                  <a:gd name="connsiteX98" fmla="*/ 478177 w 4519987"/>
                  <a:gd name="connsiteY98" fmla="*/ 857250 h 4487372"/>
                  <a:gd name="connsiteX99" fmla="*/ 497227 w 4519987"/>
                  <a:gd name="connsiteY99" fmla="*/ 828675 h 4487372"/>
                  <a:gd name="connsiteX100" fmla="*/ 535327 w 4519987"/>
                  <a:gd name="connsiteY100" fmla="*/ 800100 h 4487372"/>
                  <a:gd name="connsiteX101" fmla="*/ 602002 w 4519987"/>
                  <a:gd name="connsiteY101" fmla="*/ 733425 h 4487372"/>
                  <a:gd name="connsiteX102" fmla="*/ 668677 w 4519987"/>
                  <a:gd name="connsiteY102" fmla="*/ 676275 h 4487372"/>
                  <a:gd name="connsiteX103" fmla="*/ 697252 w 4519987"/>
                  <a:gd name="connsiteY103" fmla="*/ 657225 h 4487372"/>
                  <a:gd name="connsiteX104" fmla="*/ 840127 w 4519987"/>
                  <a:gd name="connsiteY104" fmla="*/ 533400 h 4487372"/>
                  <a:gd name="connsiteX105" fmla="*/ 887752 w 4519987"/>
                  <a:gd name="connsiteY105" fmla="*/ 504825 h 4487372"/>
                  <a:gd name="connsiteX106" fmla="*/ 1167152 w 4519987"/>
                  <a:gd name="connsiteY106" fmla="*/ 311150 h 4487372"/>
                  <a:gd name="connsiteX107" fmla="*/ 1268752 w 4519987"/>
                  <a:gd name="connsiteY107" fmla="*/ 285750 h 4487372"/>
                  <a:gd name="connsiteX108" fmla="*/ 1411627 w 4519987"/>
                  <a:gd name="connsiteY108" fmla="*/ 190500 h 4487372"/>
                  <a:gd name="connsiteX109" fmla="*/ 1449727 w 4519987"/>
                  <a:gd name="connsiteY109" fmla="*/ 161925 h 4487372"/>
                  <a:gd name="connsiteX110" fmla="*/ 1525927 w 4519987"/>
                  <a:gd name="connsiteY110" fmla="*/ 152400 h 4487372"/>
                  <a:gd name="connsiteX111" fmla="*/ 1583077 w 4519987"/>
                  <a:gd name="connsiteY111" fmla="*/ 142875 h 4487372"/>
                  <a:gd name="connsiteX112" fmla="*/ 1716427 w 4519987"/>
                  <a:gd name="connsiteY112" fmla="*/ 123825 h 4487372"/>
                  <a:gd name="connsiteX113" fmla="*/ 1811677 w 4519987"/>
                  <a:gd name="connsiteY113" fmla="*/ 114300 h 4487372"/>
                  <a:gd name="connsiteX114" fmla="*/ 1859302 w 4519987"/>
                  <a:gd name="connsiteY114" fmla="*/ 104775 h 4487372"/>
                  <a:gd name="connsiteX115" fmla="*/ 1916452 w 4519987"/>
                  <a:gd name="connsiteY115" fmla="*/ 95250 h 4487372"/>
                  <a:gd name="connsiteX116" fmla="*/ 2030752 w 4519987"/>
                  <a:gd name="connsiteY116" fmla="*/ 66675 h 4487372"/>
                  <a:gd name="connsiteX117" fmla="*/ 2097427 w 4519987"/>
                  <a:gd name="connsiteY117" fmla="*/ 47625 h 4487372"/>
                  <a:gd name="connsiteX118" fmla="*/ 2164102 w 4519987"/>
                  <a:gd name="connsiteY118" fmla="*/ 38100 h 4487372"/>
                  <a:gd name="connsiteX119" fmla="*/ 2392702 w 4519987"/>
                  <a:gd name="connsiteY119" fmla="*/ 28575 h 4487372"/>
                  <a:gd name="connsiteX0" fmla="*/ 2297452 w 4519987"/>
                  <a:gd name="connsiteY0" fmla="*/ 0 h 4476750"/>
                  <a:gd name="connsiteX1" fmla="*/ 2421277 w 4519987"/>
                  <a:gd name="connsiteY1" fmla="*/ 28575 h 4476750"/>
                  <a:gd name="connsiteX2" fmla="*/ 2497477 w 4519987"/>
                  <a:gd name="connsiteY2" fmla="*/ 47625 h 4476750"/>
                  <a:gd name="connsiteX3" fmla="*/ 2754652 w 4519987"/>
                  <a:gd name="connsiteY3" fmla="*/ 66675 h 4476750"/>
                  <a:gd name="connsiteX4" fmla="*/ 2830852 w 4519987"/>
                  <a:gd name="connsiteY4" fmla="*/ 76200 h 4476750"/>
                  <a:gd name="connsiteX5" fmla="*/ 2916577 w 4519987"/>
                  <a:gd name="connsiteY5" fmla="*/ 85725 h 4476750"/>
                  <a:gd name="connsiteX6" fmla="*/ 2973727 w 4519987"/>
                  <a:gd name="connsiteY6" fmla="*/ 114300 h 4476750"/>
                  <a:gd name="connsiteX7" fmla="*/ 3011827 w 4519987"/>
                  <a:gd name="connsiteY7" fmla="*/ 123825 h 4476750"/>
                  <a:gd name="connsiteX8" fmla="*/ 3135652 w 4519987"/>
                  <a:gd name="connsiteY8" fmla="*/ 171450 h 4476750"/>
                  <a:gd name="connsiteX9" fmla="*/ 3173752 w 4519987"/>
                  <a:gd name="connsiteY9" fmla="*/ 190500 h 4476750"/>
                  <a:gd name="connsiteX10" fmla="*/ 3240427 w 4519987"/>
                  <a:gd name="connsiteY10" fmla="*/ 228600 h 4476750"/>
                  <a:gd name="connsiteX11" fmla="*/ 3269002 w 4519987"/>
                  <a:gd name="connsiteY11" fmla="*/ 238125 h 4476750"/>
                  <a:gd name="connsiteX12" fmla="*/ 3297577 w 4519987"/>
                  <a:gd name="connsiteY12" fmla="*/ 257175 h 4476750"/>
                  <a:gd name="connsiteX13" fmla="*/ 3326152 w 4519987"/>
                  <a:gd name="connsiteY13" fmla="*/ 266700 h 4476750"/>
                  <a:gd name="connsiteX14" fmla="*/ 3354727 w 4519987"/>
                  <a:gd name="connsiteY14" fmla="*/ 285750 h 4476750"/>
                  <a:gd name="connsiteX15" fmla="*/ 3421402 w 4519987"/>
                  <a:gd name="connsiteY15" fmla="*/ 323850 h 4476750"/>
                  <a:gd name="connsiteX16" fmla="*/ 3469027 w 4519987"/>
                  <a:gd name="connsiteY16" fmla="*/ 361950 h 4476750"/>
                  <a:gd name="connsiteX17" fmla="*/ 3516652 w 4519987"/>
                  <a:gd name="connsiteY17" fmla="*/ 390525 h 4476750"/>
                  <a:gd name="connsiteX18" fmla="*/ 3630952 w 4519987"/>
                  <a:gd name="connsiteY18" fmla="*/ 485775 h 4476750"/>
                  <a:gd name="connsiteX19" fmla="*/ 3745252 w 4519987"/>
                  <a:gd name="connsiteY19" fmla="*/ 542925 h 4476750"/>
                  <a:gd name="connsiteX20" fmla="*/ 3811927 w 4519987"/>
                  <a:gd name="connsiteY20" fmla="*/ 581025 h 4476750"/>
                  <a:gd name="connsiteX21" fmla="*/ 4027827 w 4519987"/>
                  <a:gd name="connsiteY21" fmla="*/ 819150 h 4476750"/>
                  <a:gd name="connsiteX22" fmla="*/ 4164352 w 4519987"/>
                  <a:gd name="connsiteY22" fmla="*/ 990600 h 4476750"/>
                  <a:gd name="connsiteX23" fmla="*/ 4250077 w 4519987"/>
                  <a:gd name="connsiteY23" fmla="*/ 1143000 h 4476750"/>
                  <a:gd name="connsiteX24" fmla="*/ 4307227 w 4519987"/>
                  <a:gd name="connsiteY24" fmla="*/ 1266825 h 4476750"/>
                  <a:gd name="connsiteX25" fmla="*/ 4345327 w 4519987"/>
                  <a:gd name="connsiteY25" fmla="*/ 1362075 h 4476750"/>
                  <a:gd name="connsiteX26" fmla="*/ 4392952 w 4519987"/>
                  <a:gd name="connsiteY26" fmla="*/ 1552575 h 4476750"/>
                  <a:gd name="connsiteX27" fmla="*/ 4431052 w 4519987"/>
                  <a:gd name="connsiteY27" fmla="*/ 1685925 h 4476750"/>
                  <a:gd name="connsiteX28" fmla="*/ 4519952 w 4519987"/>
                  <a:gd name="connsiteY28" fmla="*/ 2181225 h 4476750"/>
                  <a:gd name="connsiteX29" fmla="*/ 4446927 w 4519987"/>
                  <a:gd name="connsiteY29" fmla="*/ 2768600 h 4476750"/>
                  <a:gd name="connsiteX30" fmla="*/ 4383427 w 4519987"/>
                  <a:gd name="connsiteY30" fmla="*/ 2990850 h 4476750"/>
                  <a:gd name="connsiteX31" fmla="*/ 4278652 w 4519987"/>
                  <a:gd name="connsiteY31" fmla="*/ 3248025 h 4476750"/>
                  <a:gd name="connsiteX32" fmla="*/ 4183402 w 4519987"/>
                  <a:gd name="connsiteY32" fmla="*/ 3400425 h 4476750"/>
                  <a:gd name="connsiteX33" fmla="*/ 4059577 w 4519987"/>
                  <a:gd name="connsiteY33" fmla="*/ 3533775 h 4476750"/>
                  <a:gd name="connsiteX34" fmla="*/ 3954802 w 4519987"/>
                  <a:gd name="connsiteY34" fmla="*/ 3648075 h 4476750"/>
                  <a:gd name="connsiteX35" fmla="*/ 3659527 w 4519987"/>
                  <a:gd name="connsiteY35" fmla="*/ 3971925 h 4476750"/>
                  <a:gd name="connsiteX36" fmla="*/ 3516652 w 4519987"/>
                  <a:gd name="connsiteY36" fmla="*/ 4083050 h 4476750"/>
                  <a:gd name="connsiteX37" fmla="*/ 3221377 w 4519987"/>
                  <a:gd name="connsiteY37" fmla="*/ 4222750 h 4476750"/>
                  <a:gd name="connsiteX38" fmla="*/ 3068977 w 4519987"/>
                  <a:gd name="connsiteY38" fmla="*/ 4286250 h 4476750"/>
                  <a:gd name="connsiteX39" fmla="*/ 2935627 w 4519987"/>
                  <a:gd name="connsiteY39" fmla="*/ 4333875 h 4476750"/>
                  <a:gd name="connsiteX40" fmla="*/ 2811802 w 4519987"/>
                  <a:gd name="connsiteY40" fmla="*/ 4371975 h 4476750"/>
                  <a:gd name="connsiteX41" fmla="*/ 2745127 w 4519987"/>
                  <a:gd name="connsiteY41" fmla="*/ 4410075 h 4476750"/>
                  <a:gd name="connsiteX42" fmla="*/ 2640352 w 4519987"/>
                  <a:gd name="connsiteY42" fmla="*/ 4457700 h 4476750"/>
                  <a:gd name="connsiteX43" fmla="*/ 2306977 w 4519987"/>
                  <a:gd name="connsiteY43" fmla="*/ 4476750 h 4476750"/>
                  <a:gd name="connsiteX44" fmla="*/ 2202202 w 4519987"/>
                  <a:gd name="connsiteY44" fmla="*/ 4457700 h 4476750"/>
                  <a:gd name="connsiteX45" fmla="*/ 2126002 w 4519987"/>
                  <a:gd name="connsiteY45" fmla="*/ 4429125 h 4476750"/>
                  <a:gd name="connsiteX46" fmla="*/ 1935502 w 4519987"/>
                  <a:gd name="connsiteY46" fmla="*/ 4400550 h 4476750"/>
                  <a:gd name="connsiteX47" fmla="*/ 1821202 w 4519987"/>
                  <a:gd name="connsiteY47" fmla="*/ 4371975 h 4476750"/>
                  <a:gd name="connsiteX48" fmla="*/ 1754527 w 4519987"/>
                  <a:gd name="connsiteY48" fmla="*/ 4352925 h 4476750"/>
                  <a:gd name="connsiteX49" fmla="*/ 1687852 w 4519987"/>
                  <a:gd name="connsiteY49" fmla="*/ 4343400 h 4476750"/>
                  <a:gd name="connsiteX50" fmla="*/ 1573552 w 4519987"/>
                  <a:gd name="connsiteY50" fmla="*/ 4305300 h 4476750"/>
                  <a:gd name="connsiteX51" fmla="*/ 1402102 w 4519987"/>
                  <a:gd name="connsiteY51" fmla="*/ 4276725 h 4476750"/>
                  <a:gd name="connsiteX52" fmla="*/ 1287802 w 4519987"/>
                  <a:gd name="connsiteY52" fmla="*/ 4229100 h 4476750"/>
                  <a:gd name="connsiteX53" fmla="*/ 1221127 w 4519987"/>
                  <a:gd name="connsiteY53" fmla="*/ 4200525 h 4476750"/>
                  <a:gd name="connsiteX54" fmla="*/ 1144927 w 4519987"/>
                  <a:gd name="connsiteY54" fmla="*/ 4171950 h 4476750"/>
                  <a:gd name="connsiteX55" fmla="*/ 1087777 w 4519987"/>
                  <a:gd name="connsiteY55" fmla="*/ 4143375 h 4476750"/>
                  <a:gd name="connsiteX56" fmla="*/ 1030627 w 4519987"/>
                  <a:gd name="connsiteY56" fmla="*/ 4124325 h 4476750"/>
                  <a:gd name="connsiteX57" fmla="*/ 925852 w 4519987"/>
                  <a:gd name="connsiteY57" fmla="*/ 4067175 h 4476750"/>
                  <a:gd name="connsiteX58" fmla="*/ 830602 w 4519987"/>
                  <a:gd name="connsiteY58" fmla="*/ 3981450 h 4476750"/>
                  <a:gd name="connsiteX59" fmla="*/ 763927 w 4519987"/>
                  <a:gd name="connsiteY59" fmla="*/ 3914775 h 4476750"/>
                  <a:gd name="connsiteX60" fmla="*/ 725827 w 4519987"/>
                  <a:gd name="connsiteY60" fmla="*/ 3876675 h 4476750"/>
                  <a:gd name="connsiteX61" fmla="*/ 697252 w 4519987"/>
                  <a:gd name="connsiteY61" fmla="*/ 3838575 h 4476750"/>
                  <a:gd name="connsiteX62" fmla="*/ 640102 w 4519987"/>
                  <a:gd name="connsiteY62" fmla="*/ 3781425 h 4476750"/>
                  <a:gd name="connsiteX63" fmla="*/ 611527 w 4519987"/>
                  <a:gd name="connsiteY63" fmla="*/ 3733800 h 4476750"/>
                  <a:gd name="connsiteX64" fmla="*/ 554377 w 4519987"/>
                  <a:gd name="connsiteY64" fmla="*/ 3657600 h 4476750"/>
                  <a:gd name="connsiteX65" fmla="*/ 525802 w 4519987"/>
                  <a:gd name="connsiteY65" fmla="*/ 3609975 h 4476750"/>
                  <a:gd name="connsiteX66" fmla="*/ 497227 w 4519987"/>
                  <a:gd name="connsiteY66" fmla="*/ 3552825 h 4476750"/>
                  <a:gd name="connsiteX67" fmla="*/ 440077 w 4519987"/>
                  <a:gd name="connsiteY67" fmla="*/ 3495675 h 4476750"/>
                  <a:gd name="connsiteX68" fmla="*/ 411502 w 4519987"/>
                  <a:gd name="connsiteY68" fmla="*/ 3448050 h 4476750"/>
                  <a:gd name="connsiteX69" fmla="*/ 278152 w 4519987"/>
                  <a:gd name="connsiteY69" fmla="*/ 3257550 h 4476750"/>
                  <a:gd name="connsiteX70" fmla="*/ 249577 w 4519987"/>
                  <a:gd name="connsiteY70" fmla="*/ 3200400 h 4476750"/>
                  <a:gd name="connsiteX71" fmla="*/ 240052 w 4519987"/>
                  <a:gd name="connsiteY71" fmla="*/ 3162300 h 4476750"/>
                  <a:gd name="connsiteX72" fmla="*/ 221002 w 4519987"/>
                  <a:gd name="connsiteY72" fmla="*/ 3105150 h 4476750"/>
                  <a:gd name="connsiteX73" fmla="*/ 173377 w 4519987"/>
                  <a:gd name="connsiteY73" fmla="*/ 3019425 h 4476750"/>
                  <a:gd name="connsiteX74" fmla="*/ 144802 w 4519987"/>
                  <a:gd name="connsiteY74" fmla="*/ 2924175 h 4476750"/>
                  <a:gd name="connsiteX75" fmla="*/ 68602 w 4519987"/>
                  <a:gd name="connsiteY75" fmla="*/ 2724150 h 4476750"/>
                  <a:gd name="connsiteX76" fmla="*/ 49552 w 4519987"/>
                  <a:gd name="connsiteY76" fmla="*/ 2638425 h 4476750"/>
                  <a:gd name="connsiteX77" fmla="*/ 40027 w 4519987"/>
                  <a:gd name="connsiteY77" fmla="*/ 2562225 h 4476750"/>
                  <a:gd name="connsiteX78" fmla="*/ 30502 w 4519987"/>
                  <a:gd name="connsiteY78" fmla="*/ 2514600 h 4476750"/>
                  <a:gd name="connsiteX79" fmla="*/ 11452 w 4519987"/>
                  <a:gd name="connsiteY79" fmla="*/ 2400300 h 4476750"/>
                  <a:gd name="connsiteX80" fmla="*/ 20977 w 4519987"/>
                  <a:gd name="connsiteY80" fmla="*/ 1905000 h 4476750"/>
                  <a:gd name="connsiteX81" fmla="*/ 30502 w 4519987"/>
                  <a:gd name="connsiteY81" fmla="*/ 1838325 h 4476750"/>
                  <a:gd name="connsiteX82" fmla="*/ 49552 w 4519987"/>
                  <a:gd name="connsiteY82" fmla="*/ 1781175 h 4476750"/>
                  <a:gd name="connsiteX83" fmla="*/ 59077 w 4519987"/>
                  <a:gd name="connsiteY83" fmla="*/ 1743075 h 4476750"/>
                  <a:gd name="connsiteX84" fmla="*/ 78127 w 4519987"/>
                  <a:gd name="connsiteY84" fmla="*/ 1685925 h 4476750"/>
                  <a:gd name="connsiteX85" fmla="*/ 87652 w 4519987"/>
                  <a:gd name="connsiteY85" fmla="*/ 1638300 h 4476750"/>
                  <a:gd name="connsiteX86" fmla="*/ 106702 w 4519987"/>
                  <a:gd name="connsiteY86" fmla="*/ 1590675 h 4476750"/>
                  <a:gd name="connsiteX87" fmla="*/ 135277 w 4519987"/>
                  <a:gd name="connsiteY87" fmla="*/ 1504950 h 4476750"/>
                  <a:gd name="connsiteX88" fmla="*/ 154327 w 4519987"/>
                  <a:gd name="connsiteY88" fmla="*/ 1419225 h 4476750"/>
                  <a:gd name="connsiteX89" fmla="*/ 230527 w 4519987"/>
                  <a:gd name="connsiteY89" fmla="*/ 1276350 h 4476750"/>
                  <a:gd name="connsiteX90" fmla="*/ 240052 w 4519987"/>
                  <a:gd name="connsiteY90" fmla="*/ 1247775 h 4476750"/>
                  <a:gd name="connsiteX91" fmla="*/ 268627 w 4519987"/>
                  <a:gd name="connsiteY91" fmla="*/ 1200150 h 4476750"/>
                  <a:gd name="connsiteX92" fmla="*/ 287677 w 4519987"/>
                  <a:gd name="connsiteY92" fmla="*/ 1152525 h 4476750"/>
                  <a:gd name="connsiteX93" fmla="*/ 316252 w 4519987"/>
                  <a:gd name="connsiteY93" fmla="*/ 1114425 h 4476750"/>
                  <a:gd name="connsiteX94" fmla="*/ 363877 w 4519987"/>
                  <a:gd name="connsiteY94" fmla="*/ 1038225 h 4476750"/>
                  <a:gd name="connsiteX95" fmla="*/ 382927 w 4519987"/>
                  <a:gd name="connsiteY95" fmla="*/ 1009650 h 4476750"/>
                  <a:gd name="connsiteX96" fmla="*/ 440077 w 4519987"/>
                  <a:gd name="connsiteY96" fmla="*/ 904875 h 4476750"/>
                  <a:gd name="connsiteX97" fmla="*/ 478177 w 4519987"/>
                  <a:gd name="connsiteY97" fmla="*/ 857250 h 4476750"/>
                  <a:gd name="connsiteX98" fmla="*/ 497227 w 4519987"/>
                  <a:gd name="connsiteY98" fmla="*/ 828675 h 4476750"/>
                  <a:gd name="connsiteX99" fmla="*/ 535327 w 4519987"/>
                  <a:gd name="connsiteY99" fmla="*/ 800100 h 4476750"/>
                  <a:gd name="connsiteX100" fmla="*/ 602002 w 4519987"/>
                  <a:gd name="connsiteY100" fmla="*/ 733425 h 4476750"/>
                  <a:gd name="connsiteX101" fmla="*/ 668677 w 4519987"/>
                  <a:gd name="connsiteY101" fmla="*/ 676275 h 4476750"/>
                  <a:gd name="connsiteX102" fmla="*/ 697252 w 4519987"/>
                  <a:gd name="connsiteY102" fmla="*/ 657225 h 4476750"/>
                  <a:gd name="connsiteX103" fmla="*/ 840127 w 4519987"/>
                  <a:gd name="connsiteY103" fmla="*/ 533400 h 4476750"/>
                  <a:gd name="connsiteX104" fmla="*/ 887752 w 4519987"/>
                  <a:gd name="connsiteY104" fmla="*/ 504825 h 4476750"/>
                  <a:gd name="connsiteX105" fmla="*/ 1167152 w 4519987"/>
                  <a:gd name="connsiteY105" fmla="*/ 311150 h 4476750"/>
                  <a:gd name="connsiteX106" fmla="*/ 1268752 w 4519987"/>
                  <a:gd name="connsiteY106" fmla="*/ 285750 h 4476750"/>
                  <a:gd name="connsiteX107" fmla="*/ 1411627 w 4519987"/>
                  <a:gd name="connsiteY107" fmla="*/ 190500 h 4476750"/>
                  <a:gd name="connsiteX108" fmla="*/ 1449727 w 4519987"/>
                  <a:gd name="connsiteY108" fmla="*/ 161925 h 4476750"/>
                  <a:gd name="connsiteX109" fmla="*/ 1525927 w 4519987"/>
                  <a:gd name="connsiteY109" fmla="*/ 152400 h 4476750"/>
                  <a:gd name="connsiteX110" fmla="*/ 1583077 w 4519987"/>
                  <a:gd name="connsiteY110" fmla="*/ 142875 h 4476750"/>
                  <a:gd name="connsiteX111" fmla="*/ 1716427 w 4519987"/>
                  <a:gd name="connsiteY111" fmla="*/ 123825 h 4476750"/>
                  <a:gd name="connsiteX112" fmla="*/ 1811677 w 4519987"/>
                  <a:gd name="connsiteY112" fmla="*/ 114300 h 4476750"/>
                  <a:gd name="connsiteX113" fmla="*/ 1859302 w 4519987"/>
                  <a:gd name="connsiteY113" fmla="*/ 104775 h 4476750"/>
                  <a:gd name="connsiteX114" fmla="*/ 1916452 w 4519987"/>
                  <a:gd name="connsiteY114" fmla="*/ 95250 h 4476750"/>
                  <a:gd name="connsiteX115" fmla="*/ 2030752 w 4519987"/>
                  <a:gd name="connsiteY115" fmla="*/ 66675 h 4476750"/>
                  <a:gd name="connsiteX116" fmla="*/ 2097427 w 4519987"/>
                  <a:gd name="connsiteY116" fmla="*/ 47625 h 4476750"/>
                  <a:gd name="connsiteX117" fmla="*/ 2164102 w 4519987"/>
                  <a:gd name="connsiteY117" fmla="*/ 38100 h 4476750"/>
                  <a:gd name="connsiteX118" fmla="*/ 2392702 w 4519987"/>
                  <a:gd name="connsiteY118" fmla="*/ 28575 h 4476750"/>
                  <a:gd name="connsiteX0" fmla="*/ 2297452 w 4519987"/>
                  <a:gd name="connsiteY0" fmla="*/ 0 h 4478541"/>
                  <a:gd name="connsiteX1" fmla="*/ 2421277 w 4519987"/>
                  <a:gd name="connsiteY1" fmla="*/ 28575 h 4478541"/>
                  <a:gd name="connsiteX2" fmla="*/ 2497477 w 4519987"/>
                  <a:gd name="connsiteY2" fmla="*/ 47625 h 4478541"/>
                  <a:gd name="connsiteX3" fmla="*/ 2754652 w 4519987"/>
                  <a:gd name="connsiteY3" fmla="*/ 66675 h 4478541"/>
                  <a:gd name="connsiteX4" fmla="*/ 2830852 w 4519987"/>
                  <a:gd name="connsiteY4" fmla="*/ 76200 h 4478541"/>
                  <a:gd name="connsiteX5" fmla="*/ 2916577 w 4519987"/>
                  <a:gd name="connsiteY5" fmla="*/ 85725 h 4478541"/>
                  <a:gd name="connsiteX6" fmla="*/ 2973727 w 4519987"/>
                  <a:gd name="connsiteY6" fmla="*/ 114300 h 4478541"/>
                  <a:gd name="connsiteX7" fmla="*/ 3011827 w 4519987"/>
                  <a:gd name="connsiteY7" fmla="*/ 123825 h 4478541"/>
                  <a:gd name="connsiteX8" fmla="*/ 3135652 w 4519987"/>
                  <a:gd name="connsiteY8" fmla="*/ 171450 h 4478541"/>
                  <a:gd name="connsiteX9" fmla="*/ 3173752 w 4519987"/>
                  <a:gd name="connsiteY9" fmla="*/ 190500 h 4478541"/>
                  <a:gd name="connsiteX10" fmla="*/ 3240427 w 4519987"/>
                  <a:gd name="connsiteY10" fmla="*/ 228600 h 4478541"/>
                  <a:gd name="connsiteX11" fmla="*/ 3269002 w 4519987"/>
                  <a:gd name="connsiteY11" fmla="*/ 238125 h 4478541"/>
                  <a:gd name="connsiteX12" fmla="*/ 3297577 w 4519987"/>
                  <a:gd name="connsiteY12" fmla="*/ 257175 h 4478541"/>
                  <a:gd name="connsiteX13" fmla="*/ 3326152 w 4519987"/>
                  <a:gd name="connsiteY13" fmla="*/ 266700 h 4478541"/>
                  <a:gd name="connsiteX14" fmla="*/ 3354727 w 4519987"/>
                  <a:gd name="connsiteY14" fmla="*/ 285750 h 4478541"/>
                  <a:gd name="connsiteX15" fmla="*/ 3421402 w 4519987"/>
                  <a:gd name="connsiteY15" fmla="*/ 323850 h 4478541"/>
                  <a:gd name="connsiteX16" fmla="*/ 3469027 w 4519987"/>
                  <a:gd name="connsiteY16" fmla="*/ 361950 h 4478541"/>
                  <a:gd name="connsiteX17" fmla="*/ 3516652 w 4519987"/>
                  <a:gd name="connsiteY17" fmla="*/ 390525 h 4478541"/>
                  <a:gd name="connsiteX18" fmla="*/ 3630952 w 4519987"/>
                  <a:gd name="connsiteY18" fmla="*/ 485775 h 4478541"/>
                  <a:gd name="connsiteX19" fmla="*/ 3745252 w 4519987"/>
                  <a:gd name="connsiteY19" fmla="*/ 542925 h 4478541"/>
                  <a:gd name="connsiteX20" fmla="*/ 3811927 w 4519987"/>
                  <a:gd name="connsiteY20" fmla="*/ 581025 h 4478541"/>
                  <a:gd name="connsiteX21" fmla="*/ 4027827 w 4519987"/>
                  <a:gd name="connsiteY21" fmla="*/ 819150 h 4478541"/>
                  <a:gd name="connsiteX22" fmla="*/ 4164352 w 4519987"/>
                  <a:gd name="connsiteY22" fmla="*/ 990600 h 4478541"/>
                  <a:gd name="connsiteX23" fmla="*/ 4250077 w 4519987"/>
                  <a:gd name="connsiteY23" fmla="*/ 1143000 h 4478541"/>
                  <a:gd name="connsiteX24" fmla="*/ 4307227 w 4519987"/>
                  <a:gd name="connsiteY24" fmla="*/ 1266825 h 4478541"/>
                  <a:gd name="connsiteX25" fmla="*/ 4345327 w 4519987"/>
                  <a:gd name="connsiteY25" fmla="*/ 1362075 h 4478541"/>
                  <a:gd name="connsiteX26" fmla="*/ 4392952 w 4519987"/>
                  <a:gd name="connsiteY26" fmla="*/ 1552575 h 4478541"/>
                  <a:gd name="connsiteX27" fmla="*/ 4431052 w 4519987"/>
                  <a:gd name="connsiteY27" fmla="*/ 1685925 h 4478541"/>
                  <a:gd name="connsiteX28" fmla="*/ 4519952 w 4519987"/>
                  <a:gd name="connsiteY28" fmla="*/ 2181225 h 4478541"/>
                  <a:gd name="connsiteX29" fmla="*/ 4446927 w 4519987"/>
                  <a:gd name="connsiteY29" fmla="*/ 2768600 h 4478541"/>
                  <a:gd name="connsiteX30" fmla="*/ 4383427 w 4519987"/>
                  <a:gd name="connsiteY30" fmla="*/ 2990850 h 4478541"/>
                  <a:gd name="connsiteX31" fmla="*/ 4278652 w 4519987"/>
                  <a:gd name="connsiteY31" fmla="*/ 3248025 h 4478541"/>
                  <a:gd name="connsiteX32" fmla="*/ 4183402 w 4519987"/>
                  <a:gd name="connsiteY32" fmla="*/ 3400425 h 4478541"/>
                  <a:gd name="connsiteX33" fmla="*/ 4059577 w 4519987"/>
                  <a:gd name="connsiteY33" fmla="*/ 3533775 h 4478541"/>
                  <a:gd name="connsiteX34" fmla="*/ 3954802 w 4519987"/>
                  <a:gd name="connsiteY34" fmla="*/ 3648075 h 4478541"/>
                  <a:gd name="connsiteX35" fmla="*/ 3659527 w 4519987"/>
                  <a:gd name="connsiteY35" fmla="*/ 3971925 h 4478541"/>
                  <a:gd name="connsiteX36" fmla="*/ 3516652 w 4519987"/>
                  <a:gd name="connsiteY36" fmla="*/ 4083050 h 4478541"/>
                  <a:gd name="connsiteX37" fmla="*/ 3221377 w 4519987"/>
                  <a:gd name="connsiteY37" fmla="*/ 4222750 h 4478541"/>
                  <a:gd name="connsiteX38" fmla="*/ 3068977 w 4519987"/>
                  <a:gd name="connsiteY38" fmla="*/ 4286250 h 4478541"/>
                  <a:gd name="connsiteX39" fmla="*/ 2935627 w 4519987"/>
                  <a:gd name="connsiteY39" fmla="*/ 4333875 h 4478541"/>
                  <a:gd name="connsiteX40" fmla="*/ 2811802 w 4519987"/>
                  <a:gd name="connsiteY40" fmla="*/ 4371975 h 4478541"/>
                  <a:gd name="connsiteX41" fmla="*/ 2745127 w 4519987"/>
                  <a:gd name="connsiteY41" fmla="*/ 4410075 h 4478541"/>
                  <a:gd name="connsiteX42" fmla="*/ 2306977 w 4519987"/>
                  <a:gd name="connsiteY42" fmla="*/ 4476750 h 4478541"/>
                  <a:gd name="connsiteX43" fmla="*/ 2202202 w 4519987"/>
                  <a:gd name="connsiteY43" fmla="*/ 4457700 h 4478541"/>
                  <a:gd name="connsiteX44" fmla="*/ 2126002 w 4519987"/>
                  <a:gd name="connsiteY44" fmla="*/ 4429125 h 4478541"/>
                  <a:gd name="connsiteX45" fmla="*/ 1935502 w 4519987"/>
                  <a:gd name="connsiteY45" fmla="*/ 4400550 h 4478541"/>
                  <a:gd name="connsiteX46" fmla="*/ 1821202 w 4519987"/>
                  <a:gd name="connsiteY46" fmla="*/ 4371975 h 4478541"/>
                  <a:gd name="connsiteX47" fmla="*/ 1754527 w 4519987"/>
                  <a:gd name="connsiteY47" fmla="*/ 4352925 h 4478541"/>
                  <a:gd name="connsiteX48" fmla="*/ 1687852 w 4519987"/>
                  <a:gd name="connsiteY48" fmla="*/ 4343400 h 4478541"/>
                  <a:gd name="connsiteX49" fmla="*/ 1573552 w 4519987"/>
                  <a:gd name="connsiteY49" fmla="*/ 4305300 h 4478541"/>
                  <a:gd name="connsiteX50" fmla="*/ 1402102 w 4519987"/>
                  <a:gd name="connsiteY50" fmla="*/ 4276725 h 4478541"/>
                  <a:gd name="connsiteX51" fmla="*/ 1287802 w 4519987"/>
                  <a:gd name="connsiteY51" fmla="*/ 4229100 h 4478541"/>
                  <a:gd name="connsiteX52" fmla="*/ 1221127 w 4519987"/>
                  <a:gd name="connsiteY52" fmla="*/ 4200525 h 4478541"/>
                  <a:gd name="connsiteX53" fmla="*/ 1144927 w 4519987"/>
                  <a:gd name="connsiteY53" fmla="*/ 4171950 h 4478541"/>
                  <a:gd name="connsiteX54" fmla="*/ 1087777 w 4519987"/>
                  <a:gd name="connsiteY54" fmla="*/ 4143375 h 4478541"/>
                  <a:gd name="connsiteX55" fmla="*/ 1030627 w 4519987"/>
                  <a:gd name="connsiteY55" fmla="*/ 4124325 h 4478541"/>
                  <a:gd name="connsiteX56" fmla="*/ 925852 w 4519987"/>
                  <a:gd name="connsiteY56" fmla="*/ 4067175 h 4478541"/>
                  <a:gd name="connsiteX57" fmla="*/ 830602 w 4519987"/>
                  <a:gd name="connsiteY57" fmla="*/ 3981450 h 4478541"/>
                  <a:gd name="connsiteX58" fmla="*/ 763927 w 4519987"/>
                  <a:gd name="connsiteY58" fmla="*/ 3914775 h 4478541"/>
                  <a:gd name="connsiteX59" fmla="*/ 725827 w 4519987"/>
                  <a:gd name="connsiteY59" fmla="*/ 3876675 h 4478541"/>
                  <a:gd name="connsiteX60" fmla="*/ 697252 w 4519987"/>
                  <a:gd name="connsiteY60" fmla="*/ 3838575 h 4478541"/>
                  <a:gd name="connsiteX61" fmla="*/ 640102 w 4519987"/>
                  <a:gd name="connsiteY61" fmla="*/ 3781425 h 4478541"/>
                  <a:gd name="connsiteX62" fmla="*/ 611527 w 4519987"/>
                  <a:gd name="connsiteY62" fmla="*/ 3733800 h 4478541"/>
                  <a:gd name="connsiteX63" fmla="*/ 554377 w 4519987"/>
                  <a:gd name="connsiteY63" fmla="*/ 3657600 h 4478541"/>
                  <a:gd name="connsiteX64" fmla="*/ 525802 w 4519987"/>
                  <a:gd name="connsiteY64" fmla="*/ 3609975 h 4478541"/>
                  <a:gd name="connsiteX65" fmla="*/ 497227 w 4519987"/>
                  <a:gd name="connsiteY65" fmla="*/ 3552825 h 4478541"/>
                  <a:gd name="connsiteX66" fmla="*/ 440077 w 4519987"/>
                  <a:gd name="connsiteY66" fmla="*/ 3495675 h 4478541"/>
                  <a:gd name="connsiteX67" fmla="*/ 411502 w 4519987"/>
                  <a:gd name="connsiteY67" fmla="*/ 3448050 h 4478541"/>
                  <a:gd name="connsiteX68" fmla="*/ 278152 w 4519987"/>
                  <a:gd name="connsiteY68" fmla="*/ 3257550 h 4478541"/>
                  <a:gd name="connsiteX69" fmla="*/ 249577 w 4519987"/>
                  <a:gd name="connsiteY69" fmla="*/ 3200400 h 4478541"/>
                  <a:gd name="connsiteX70" fmla="*/ 240052 w 4519987"/>
                  <a:gd name="connsiteY70" fmla="*/ 3162300 h 4478541"/>
                  <a:gd name="connsiteX71" fmla="*/ 221002 w 4519987"/>
                  <a:gd name="connsiteY71" fmla="*/ 3105150 h 4478541"/>
                  <a:gd name="connsiteX72" fmla="*/ 173377 w 4519987"/>
                  <a:gd name="connsiteY72" fmla="*/ 3019425 h 4478541"/>
                  <a:gd name="connsiteX73" fmla="*/ 144802 w 4519987"/>
                  <a:gd name="connsiteY73" fmla="*/ 2924175 h 4478541"/>
                  <a:gd name="connsiteX74" fmla="*/ 68602 w 4519987"/>
                  <a:gd name="connsiteY74" fmla="*/ 2724150 h 4478541"/>
                  <a:gd name="connsiteX75" fmla="*/ 49552 w 4519987"/>
                  <a:gd name="connsiteY75" fmla="*/ 2638425 h 4478541"/>
                  <a:gd name="connsiteX76" fmla="*/ 40027 w 4519987"/>
                  <a:gd name="connsiteY76" fmla="*/ 2562225 h 4478541"/>
                  <a:gd name="connsiteX77" fmla="*/ 30502 w 4519987"/>
                  <a:gd name="connsiteY77" fmla="*/ 2514600 h 4478541"/>
                  <a:gd name="connsiteX78" fmla="*/ 11452 w 4519987"/>
                  <a:gd name="connsiteY78" fmla="*/ 2400300 h 4478541"/>
                  <a:gd name="connsiteX79" fmla="*/ 20977 w 4519987"/>
                  <a:gd name="connsiteY79" fmla="*/ 1905000 h 4478541"/>
                  <a:gd name="connsiteX80" fmla="*/ 30502 w 4519987"/>
                  <a:gd name="connsiteY80" fmla="*/ 1838325 h 4478541"/>
                  <a:gd name="connsiteX81" fmla="*/ 49552 w 4519987"/>
                  <a:gd name="connsiteY81" fmla="*/ 1781175 h 4478541"/>
                  <a:gd name="connsiteX82" fmla="*/ 59077 w 4519987"/>
                  <a:gd name="connsiteY82" fmla="*/ 1743075 h 4478541"/>
                  <a:gd name="connsiteX83" fmla="*/ 78127 w 4519987"/>
                  <a:gd name="connsiteY83" fmla="*/ 1685925 h 4478541"/>
                  <a:gd name="connsiteX84" fmla="*/ 87652 w 4519987"/>
                  <a:gd name="connsiteY84" fmla="*/ 1638300 h 4478541"/>
                  <a:gd name="connsiteX85" fmla="*/ 106702 w 4519987"/>
                  <a:gd name="connsiteY85" fmla="*/ 1590675 h 4478541"/>
                  <a:gd name="connsiteX86" fmla="*/ 135277 w 4519987"/>
                  <a:gd name="connsiteY86" fmla="*/ 1504950 h 4478541"/>
                  <a:gd name="connsiteX87" fmla="*/ 154327 w 4519987"/>
                  <a:gd name="connsiteY87" fmla="*/ 1419225 h 4478541"/>
                  <a:gd name="connsiteX88" fmla="*/ 230527 w 4519987"/>
                  <a:gd name="connsiteY88" fmla="*/ 1276350 h 4478541"/>
                  <a:gd name="connsiteX89" fmla="*/ 240052 w 4519987"/>
                  <a:gd name="connsiteY89" fmla="*/ 1247775 h 4478541"/>
                  <a:gd name="connsiteX90" fmla="*/ 268627 w 4519987"/>
                  <a:gd name="connsiteY90" fmla="*/ 1200150 h 4478541"/>
                  <a:gd name="connsiteX91" fmla="*/ 287677 w 4519987"/>
                  <a:gd name="connsiteY91" fmla="*/ 1152525 h 4478541"/>
                  <a:gd name="connsiteX92" fmla="*/ 316252 w 4519987"/>
                  <a:gd name="connsiteY92" fmla="*/ 1114425 h 4478541"/>
                  <a:gd name="connsiteX93" fmla="*/ 363877 w 4519987"/>
                  <a:gd name="connsiteY93" fmla="*/ 1038225 h 4478541"/>
                  <a:gd name="connsiteX94" fmla="*/ 382927 w 4519987"/>
                  <a:gd name="connsiteY94" fmla="*/ 1009650 h 4478541"/>
                  <a:gd name="connsiteX95" fmla="*/ 440077 w 4519987"/>
                  <a:gd name="connsiteY95" fmla="*/ 904875 h 4478541"/>
                  <a:gd name="connsiteX96" fmla="*/ 478177 w 4519987"/>
                  <a:gd name="connsiteY96" fmla="*/ 857250 h 4478541"/>
                  <a:gd name="connsiteX97" fmla="*/ 497227 w 4519987"/>
                  <a:gd name="connsiteY97" fmla="*/ 828675 h 4478541"/>
                  <a:gd name="connsiteX98" fmla="*/ 535327 w 4519987"/>
                  <a:gd name="connsiteY98" fmla="*/ 800100 h 4478541"/>
                  <a:gd name="connsiteX99" fmla="*/ 602002 w 4519987"/>
                  <a:gd name="connsiteY99" fmla="*/ 733425 h 4478541"/>
                  <a:gd name="connsiteX100" fmla="*/ 668677 w 4519987"/>
                  <a:gd name="connsiteY100" fmla="*/ 676275 h 4478541"/>
                  <a:gd name="connsiteX101" fmla="*/ 697252 w 4519987"/>
                  <a:gd name="connsiteY101" fmla="*/ 657225 h 4478541"/>
                  <a:gd name="connsiteX102" fmla="*/ 840127 w 4519987"/>
                  <a:gd name="connsiteY102" fmla="*/ 533400 h 4478541"/>
                  <a:gd name="connsiteX103" fmla="*/ 887752 w 4519987"/>
                  <a:gd name="connsiteY103" fmla="*/ 504825 h 4478541"/>
                  <a:gd name="connsiteX104" fmla="*/ 1167152 w 4519987"/>
                  <a:gd name="connsiteY104" fmla="*/ 311150 h 4478541"/>
                  <a:gd name="connsiteX105" fmla="*/ 1268752 w 4519987"/>
                  <a:gd name="connsiteY105" fmla="*/ 285750 h 4478541"/>
                  <a:gd name="connsiteX106" fmla="*/ 1411627 w 4519987"/>
                  <a:gd name="connsiteY106" fmla="*/ 190500 h 4478541"/>
                  <a:gd name="connsiteX107" fmla="*/ 1449727 w 4519987"/>
                  <a:gd name="connsiteY107" fmla="*/ 161925 h 4478541"/>
                  <a:gd name="connsiteX108" fmla="*/ 1525927 w 4519987"/>
                  <a:gd name="connsiteY108" fmla="*/ 152400 h 4478541"/>
                  <a:gd name="connsiteX109" fmla="*/ 1583077 w 4519987"/>
                  <a:gd name="connsiteY109" fmla="*/ 142875 h 4478541"/>
                  <a:gd name="connsiteX110" fmla="*/ 1716427 w 4519987"/>
                  <a:gd name="connsiteY110" fmla="*/ 123825 h 4478541"/>
                  <a:gd name="connsiteX111" fmla="*/ 1811677 w 4519987"/>
                  <a:gd name="connsiteY111" fmla="*/ 114300 h 4478541"/>
                  <a:gd name="connsiteX112" fmla="*/ 1859302 w 4519987"/>
                  <a:gd name="connsiteY112" fmla="*/ 104775 h 4478541"/>
                  <a:gd name="connsiteX113" fmla="*/ 1916452 w 4519987"/>
                  <a:gd name="connsiteY113" fmla="*/ 95250 h 4478541"/>
                  <a:gd name="connsiteX114" fmla="*/ 2030752 w 4519987"/>
                  <a:gd name="connsiteY114" fmla="*/ 66675 h 4478541"/>
                  <a:gd name="connsiteX115" fmla="*/ 2097427 w 4519987"/>
                  <a:gd name="connsiteY115" fmla="*/ 47625 h 4478541"/>
                  <a:gd name="connsiteX116" fmla="*/ 2164102 w 4519987"/>
                  <a:gd name="connsiteY116" fmla="*/ 38100 h 4478541"/>
                  <a:gd name="connsiteX117" fmla="*/ 2392702 w 4519987"/>
                  <a:gd name="connsiteY117" fmla="*/ 28575 h 4478541"/>
                  <a:gd name="connsiteX0" fmla="*/ 2297452 w 4519987"/>
                  <a:gd name="connsiteY0" fmla="*/ 0 h 4476750"/>
                  <a:gd name="connsiteX1" fmla="*/ 2421277 w 4519987"/>
                  <a:gd name="connsiteY1" fmla="*/ 28575 h 4476750"/>
                  <a:gd name="connsiteX2" fmla="*/ 2497477 w 4519987"/>
                  <a:gd name="connsiteY2" fmla="*/ 47625 h 4476750"/>
                  <a:gd name="connsiteX3" fmla="*/ 2754652 w 4519987"/>
                  <a:gd name="connsiteY3" fmla="*/ 66675 h 4476750"/>
                  <a:gd name="connsiteX4" fmla="*/ 2830852 w 4519987"/>
                  <a:gd name="connsiteY4" fmla="*/ 76200 h 4476750"/>
                  <a:gd name="connsiteX5" fmla="*/ 2916577 w 4519987"/>
                  <a:gd name="connsiteY5" fmla="*/ 85725 h 4476750"/>
                  <a:gd name="connsiteX6" fmla="*/ 2973727 w 4519987"/>
                  <a:gd name="connsiteY6" fmla="*/ 114300 h 4476750"/>
                  <a:gd name="connsiteX7" fmla="*/ 3011827 w 4519987"/>
                  <a:gd name="connsiteY7" fmla="*/ 123825 h 4476750"/>
                  <a:gd name="connsiteX8" fmla="*/ 3135652 w 4519987"/>
                  <a:gd name="connsiteY8" fmla="*/ 171450 h 4476750"/>
                  <a:gd name="connsiteX9" fmla="*/ 3173752 w 4519987"/>
                  <a:gd name="connsiteY9" fmla="*/ 190500 h 4476750"/>
                  <a:gd name="connsiteX10" fmla="*/ 3240427 w 4519987"/>
                  <a:gd name="connsiteY10" fmla="*/ 228600 h 4476750"/>
                  <a:gd name="connsiteX11" fmla="*/ 3269002 w 4519987"/>
                  <a:gd name="connsiteY11" fmla="*/ 238125 h 4476750"/>
                  <a:gd name="connsiteX12" fmla="*/ 3297577 w 4519987"/>
                  <a:gd name="connsiteY12" fmla="*/ 257175 h 4476750"/>
                  <a:gd name="connsiteX13" fmla="*/ 3326152 w 4519987"/>
                  <a:gd name="connsiteY13" fmla="*/ 266700 h 4476750"/>
                  <a:gd name="connsiteX14" fmla="*/ 3354727 w 4519987"/>
                  <a:gd name="connsiteY14" fmla="*/ 285750 h 4476750"/>
                  <a:gd name="connsiteX15" fmla="*/ 3421402 w 4519987"/>
                  <a:gd name="connsiteY15" fmla="*/ 323850 h 4476750"/>
                  <a:gd name="connsiteX16" fmla="*/ 3469027 w 4519987"/>
                  <a:gd name="connsiteY16" fmla="*/ 361950 h 4476750"/>
                  <a:gd name="connsiteX17" fmla="*/ 3516652 w 4519987"/>
                  <a:gd name="connsiteY17" fmla="*/ 390525 h 4476750"/>
                  <a:gd name="connsiteX18" fmla="*/ 3630952 w 4519987"/>
                  <a:gd name="connsiteY18" fmla="*/ 485775 h 4476750"/>
                  <a:gd name="connsiteX19" fmla="*/ 3745252 w 4519987"/>
                  <a:gd name="connsiteY19" fmla="*/ 542925 h 4476750"/>
                  <a:gd name="connsiteX20" fmla="*/ 3811927 w 4519987"/>
                  <a:gd name="connsiteY20" fmla="*/ 581025 h 4476750"/>
                  <a:gd name="connsiteX21" fmla="*/ 4027827 w 4519987"/>
                  <a:gd name="connsiteY21" fmla="*/ 819150 h 4476750"/>
                  <a:gd name="connsiteX22" fmla="*/ 4164352 w 4519987"/>
                  <a:gd name="connsiteY22" fmla="*/ 990600 h 4476750"/>
                  <a:gd name="connsiteX23" fmla="*/ 4250077 w 4519987"/>
                  <a:gd name="connsiteY23" fmla="*/ 1143000 h 4476750"/>
                  <a:gd name="connsiteX24" fmla="*/ 4307227 w 4519987"/>
                  <a:gd name="connsiteY24" fmla="*/ 1266825 h 4476750"/>
                  <a:gd name="connsiteX25" fmla="*/ 4345327 w 4519987"/>
                  <a:gd name="connsiteY25" fmla="*/ 1362075 h 4476750"/>
                  <a:gd name="connsiteX26" fmla="*/ 4392952 w 4519987"/>
                  <a:gd name="connsiteY26" fmla="*/ 1552575 h 4476750"/>
                  <a:gd name="connsiteX27" fmla="*/ 4431052 w 4519987"/>
                  <a:gd name="connsiteY27" fmla="*/ 1685925 h 4476750"/>
                  <a:gd name="connsiteX28" fmla="*/ 4519952 w 4519987"/>
                  <a:gd name="connsiteY28" fmla="*/ 2181225 h 4476750"/>
                  <a:gd name="connsiteX29" fmla="*/ 4446927 w 4519987"/>
                  <a:gd name="connsiteY29" fmla="*/ 2768600 h 4476750"/>
                  <a:gd name="connsiteX30" fmla="*/ 4383427 w 4519987"/>
                  <a:gd name="connsiteY30" fmla="*/ 2990850 h 4476750"/>
                  <a:gd name="connsiteX31" fmla="*/ 4278652 w 4519987"/>
                  <a:gd name="connsiteY31" fmla="*/ 3248025 h 4476750"/>
                  <a:gd name="connsiteX32" fmla="*/ 4183402 w 4519987"/>
                  <a:gd name="connsiteY32" fmla="*/ 3400425 h 4476750"/>
                  <a:gd name="connsiteX33" fmla="*/ 4059577 w 4519987"/>
                  <a:gd name="connsiteY33" fmla="*/ 3533775 h 4476750"/>
                  <a:gd name="connsiteX34" fmla="*/ 3954802 w 4519987"/>
                  <a:gd name="connsiteY34" fmla="*/ 3648075 h 4476750"/>
                  <a:gd name="connsiteX35" fmla="*/ 3659527 w 4519987"/>
                  <a:gd name="connsiteY35" fmla="*/ 3971925 h 4476750"/>
                  <a:gd name="connsiteX36" fmla="*/ 3516652 w 4519987"/>
                  <a:gd name="connsiteY36" fmla="*/ 4083050 h 4476750"/>
                  <a:gd name="connsiteX37" fmla="*/ 3221377 w 4519987"/>
                  <a:gd name="connsiteY37" fmla="*/ 4222750 h 4476750"/>
                  <a:gd name="connsiteX38" fmla="*/ 3068977 w 4519987"/>
                  <a:gd name="connsiteY38" fmla="*/ 4286250 h 4476750"/>
                  <a:gd name="connsiteX39" fmla="*/ 2935627 w 4519987"/>
                  <a:gd name="connsiteY39" fmla="*/ 4333875 h 4476750"/>
                  <a:gd name="connsiteX40" fmla="*/ 2811802 w 4519987"/>
                  <a:gd name="connsiteY40" fmla="*/ 4371975 h 4476750"/>
                  <a:gd name="connsiteX41" fmla="*/ 2580027 w 4519987"/>
                  <a:gd name="connsiteY41" fmla="*/ 4391025 h 4476750"/>
                  <a:gd name="connsiteX42" fmla="*/ 2306977 w 4519987"/>
                  <a:gd name="connsiteY42" fmla="*/ 4476750 h 4476750"/>
                  <a:gd name="connsiteX43" fmla="*/ 2202202 w 4519987"/>
                  <a:gd name="connsiteY43" fmla="*/ 4457700 h 4476750"/>
                  <a:gd name="connsiteX44" fmla="*/ 2126002 w 4519987"/>
                  <a:gd name="connsiteY44" fmla="*/ 4429125 h 4476750"/>
                  <a:gd name="connsiteX45" fmla="*/ 1935502 w 4519987"/>
                  <a:gd name="connsiteY45" fmla="*/ 4400550 h 4476750"/>
                  <a:gd name="connsiteX46" fmla="*/ 1821202 w 4519987"/>
                  <a:gd name="connsiteY46" fmla="*/ 4371975 h 4476750"/>
                  <a:gd name="connsiteX47" fmla="*/ 1754527 w 4519987"/>
                  <a:gd name="connsiteY47" fmla="*/ 4352925 h 4476750"/>
                  <a:gd name="connsiteX48" fmla="*/ 1687852 w 4519987"/>
                  <a:gd name="connsiteY48" fmla="*/ 4343400 h 4476750"/>
                  <a:gd name="connsiteX49" fmla="*/ 1573552 w 4519987"/>
                  <a:gd name="connsiteY49" fmla="*/ 4305300 h 4476750"/>
                  <a:gd name="connsiteX50" fmla="*/ 1402102 w 4519987"/>
                  <a:gd name="connsiteY50" fmla="*/ 4276725 h 4476750"/>
                  <a:gd name="connsiteX51" fmla="*/ 1287802 w 4519987"/>
                  <a:gd name="connsiteY51" fmla="*/ 4229100 h 4476750"/>
                  <a:gd name="connsiteX52" fmla="*/ 1221127 w 4519987"/>
                  <a:gd name="connsiteY52" fmla="*/ 4200525 h 4476750"/>
                  <a:gd name="connsiteX53" fmla="*/ 1144927 w 4519987"/>
                  <a:gd name="connsiteY53" fmla="*/ 4171950 h 4476750"/>
                  <a:gd name="connsiteX54" fmla="*/ 1087777 w 4519987"/>
                  <a:gd name="connsiteY54" fmla="*/ 4143375 h 4476750"/>
                  <a:gd name="connsiteX55" fmla="*/ 1030627 w 4519987"/>
                  <a:gd name="connsiteY55" fmla="*/ 4124325 h 4476750"/>
                  <a:gd name="connsiteX56" fmla="*/ 925852 w 4519987"/>
                  <a:gd name="connsiteY56" fmla="*/ 4067175 h 4476750"/>
                  <a:gd name="connsiteX57" fmla="*/ 830602 w 4519987"/>
                  <a:gd name="connsiteY57" fmla="*/ 3981450 h 4476750"/>
                  <a:gd name="connsiteX58" fmla="*/ 763927 w 4519987"/>
                  <a:gd name="connsiteY58" fmla="*/ 3914775 h 4476750"/>
                  <a:gd name="connsiteX59" fmla="*/ 725827 w 4519987"/>
                  <a:gd name="connsiteY59" fmla="*/ 3876675 h 4476750"/>
                  <a:gd name="connsiteX60" fmla="*/ 697252 w 4519987"/>
                  <a:gd name="connsiteY60" fmla="*/ 3838575 h 4476750"/>
                  <a:gd name="connsiteX61" fmla="*/ 640102 w 4519987"/>
                  <a:gd name="connsiteY61" fmla="*/ 3781425 h 4476750"/>
                  <a:gd name="connsiteX62" fmla="*/ 611527 w 4519987"/>
                  <a:gd name="connsiteY62" fmla="*/ 3733800 h 4476750"/>
                  <a:gd name="connsiteX63" fmla="*/ 554377 w 4519987"/>
                  <a:gd name="connsiteY63" fmla="*/ 3657600 h 4476750"/>
                  <a:gd name="connsiteX64" fmla="*/ 525802 w 4519987"/>
                  <a:gd name="connsiteY64" fmla="*/ 3609975 h 4476750"/>
                  <a:gd name="connsiteX65" fmla="*/ 497227 w 4519987"/>
                  <a:gd name="connsiteY65" fmla="*/ 3552825 h 4476750"/>
                  <a:gd name="connsiteX66" fmla="*/ 440077 w 4519987"/>
                  <a:gd name="connsiteY66" fmla="*/ 3495675 h 4476750"/>
                  <a:gd name="connsiteX67" fmla="*/ 411502 w 4519987"/>
                  <a:gd name="connsiteY67" fmla="*/ 3448050 h 4476750"/>
                  <a:gd name="connsiteX68" fmla="*/ 278152 w 4519987"/>
                  <a:gd name="connsiteY68" fmla="*/ 3257550 h 4476750"/>
                  <a:gd name="connsiteX69" fmla="*/ 249577 w 4519987"/>
                  <a:gd name="connsiteY69" fmla="*/ 3200400 h 4476750"/>
                  <a:gd name="connsiteX70" fmla="*/ 240052 w 4519987"/>
                  <a:gd name="connsiteY70" fmla="*/ 3162300 h 4476750"/>
                  <a:gd name="connsiteX71" fmla="*/ 221002 w 4519987"/>
                  <a:gd name="connsiteY71" fmla="*/ 3105150 h 4476750"/>
                  <a:gd name="connsiteX72" fmla="*/ 173377 w 4519987"/>
                  <a:gd name="connsiteY72" fmla="*/ 3019425 h 4476750"/>
                  <a:gd name="connsiteX73" fmla="*/ 144802 w 4519987"/>
                  <a:gd name="connsiteY73" fmla="*/ 2924175 h 4476750"/>
                  <a:gd name="connsiteX74" fmla="*/ 68602 w 4519987"/>
                  <a:gd name="connsiteY74" fmla="*/ 2724150 h 4476750"/>
                  <a:gd name="connsiteX75" fmla="*/ 49552 w 4519987"/>
                  <a:gd name="connsiteY75" fmla="*/ 2638425 h 4476750"/>
                  <a:gd name="connsiteX76" fmla="*/ 40027 w 4519987"/>
                  <a:gd name="connsiteY76" fmla="*/ 2562225 h 4476750"/>
                  <a:gd name="connsiteX77" fmla="*/ 30502 w 4519987"/>
                  <a:gd name="connsiteY77" fmla="*/ 2514600 h 4476750"/>
                  <a:gd name="connsiteX78" fmla="*/ 11452 w 4519987"/>
                  <a:gd name="connsiteY78" fmla="*/ 2400300 h 4476750"/>
                  <a:gd name="connsiteX79" fmla="*/ 20977 w 4519987"/>
                  <a:gd name="connsiteY79" fmla="*/ 1905000 h 4476750"/>
                  <a:gd name="connsiteX80" fmla="*/ 30502 w 4519987"/>
                  <a:gd name="connsiteY80" fmla="*/ 1838325 h 4476750"/>
                  <a:gd name="connsiteX81" fmla="*/ 49552 w 4519987"/>
                  <a:gd name="connsiteY81" fmla="*/ 1781175 h 4476750"/>
                  <a:gd name="connsiteX82" fmla="*/ 59077 w 4519987"/>
                  <a:gd name="connsiteY82" fmla="*/ 1743075 h 4476750"/>
                  <a:gd name="connsiteX83" fmla="*/ 78127 w 4519987"/>
                  <a:gd name="connsiteY83" fmla="*/ 1685925 h 4476750"/>
                  <a:gd name="connsiteX84" fmla="*/ 87652 w 4519987"/>
                  <a:gd name="connsiteY84" fmla="*/ 1638300 h 4476750"/>
                  <a:gd name="connsiteX85" fmla="*/ 106702 w 4519987"/>
                  <a:gd name="connsiteY85" fmla="*/ 1590675 h 4476750"/>
                  <a:gd name="connsiteX86" fmla="*/ 135277 w 4519987"/>
                  <a:gd name="connsiteY86" fmla="*/ 1504950 h 4476750"/>
                  <a:gd name="connsiteX87" fmla="*/ 154327 w 4519987"/>
                  <a:gd name="connsiteY87" fmla="*/ 1419225 h 4476750"/>
                  <a:gd name="connsiteX88" fmla="*/ 230527 w 4519987"/>
                  <a:gd name="connsiteY88" fmla="*/ 1276350 h 4476750"/>
                  <a:gd name="connsiteX89" fmla="*/ 240052 w 4519987"/>
                  <a:gd name="connsiteY89" fmla="*/ 1247775 h 4476750"/>
                  <a:gd name="connsiteX90" fmla="*/ 268627 w 4519987"/>
                  <a:gd name="connsiteY90" fmla="*/ 1200150 h 4476750"/>
                  <a:gd name="connsiteX91" fmla="*/ 287677 w 4519987"/>
                  <a:gd name="connsiteY91" fmla="*/ 1152525 h 4476750"/>
                  <a:gd name="connsiteX92" fmla="*/ 316252 w 4519987"/>
                  <a:gd name="connsiteY92" fmla="*/ 1114425 h 4476750"/>
                  <a:gd name="connsiteX93" fmla="*/ 363877 w 4519987"/>
                  <a:gd name="connsiteY93" fmla="*/ 1038225 h 4476750"/>
                  <a:gd name="connsiteX94" fmla="*/ 382927 w 4519987"/>
                  <a:gd name="connsiteY94" fmla="*/ 1009650 h 4476750"/>
                  <a:gd name="connsiteX95" fmla="*/ 440077 w 4519987"/>
                  <a:gd name="connsiteY95" fmla="*/ 904875 h 4476750"/>
                  <a:gd name="connsiteX96" fmla="*/ 478177 w 4519987"/>
                  <a:gd name="connsiteY96" fmla="*/ 857250 h 4476750"/>
                  <a:gd name="connsiteX97" fmla="*/ 497227 w 4519987"/>
                  <a:gd name="connsiteY97" fmla="*/ 828675 h 4476750"/>
                  <a:gd name="connsiteX98" fmla="*/ 535327 w 4519987"/>
                  <a:gd name="connsiteY98" fmla="*/ 800100 h 4476750"/>
                  <a:gd name="connsiteX99" fmla="*/ 602002 w 4519987"/>
                  <a:gd name="connsiteY99" fmla="*/ 733425 h 4476750"/>
                  <a:gd name="connsiteX100" fmla="*/ 668677 w 4519987"/>
                  <a:gd name="connsiteY100" fmla="*/ 676275 h 4476750"/>
                  <a:gd name="connsiteX101" fmla="*/ 697252 w 4519987"/>
                  <a:gd name="connsiteY101" fmla="*/ 657225 h 4476750"/>
                  <a:gd name="connsiteX102" fmla="*/ 840127 w 4519987"/>
                  <a:gd name="connsiteY102" fmla="*/ 533400 h 4476750"/>
                  <a:gd name="connsiteX103" fmla="*/ 887752 w 4519987"/>
                  <a:gd name="connsiteY103" fmla="*/ 504825 h 4476750"/>
                  <a:gd name="connsiteX104" fmla="*/ 1167152 w 4519987"/>
                  <a:gd name="connsiteY104" fmla="*/ 311150 h 4476750"/>
                  <a:gd name="connsiteX105" fmla="*/ 1268752 w 4519987"/>
                  <a:gd name="connsiteY105" fmla="*/ 285750 h 4476750"/>
                  <a:gd name="connsiteX106" fmla="*/ 1411627 w 4519987"/>
                  <a:gd name="connsiteY106" fmla="*/ 190500 h 4476750"/>
                  <a:gd name="connsiteX107" fmla="*/ 1449727 w 4519987"/>
                  <a:gd name="connsiteY107" fmla="*/ 161925 h 4476750"/>
                  <a:gd name="connsiteX108" fmla="*/ 1525927 w 4519987"/>
                  <a:gd name="connsiteY108" fmla="*/ 152400 h 4476750"/>
                  <a:gd name="connsiteX109" fmla="*/ 1583077 w 4519987"/>
                  <a:gd name="connsiteY109" fmla="*/ 142875 h 4476750"/>
                  <a:gd name="connsiteX110" fmla="*/ 1716427 w 4519987"/>
                  <a:gd name="connsiteY110" fmla="*/ 123825 h 4476750"/>
                  <a:gd name="connsiteX111" fmla="*/ 1811677 w 4519987"/>
                  <a:gd name="connsiteY111" fmla="*/ 114300 h 4476750"/>
                  <a:gd name="connsiteX112" fmla="*/ 1859302 w 4519987"/>
                  <a:gd name="connsiteY112" fmla="*/ 104775 h 4476750"/>
                  <a:gd name="connsiteX113" fmla="*/ 1916452 w 4519987"/>
                  <a:gd name="connsiteY113" fmla="*/ 95250 h 4476750"/>
                  <a:gd name="connsiteX114" fmla="*/ 2030752 w 4519987"/>
                  <a:gd name="connsiteY114" fmla="*/ 66675 h 4476750"/>
                  <a:gd name="connsiteX115" fmla="*/ 2097427 w 4519987"/>
                  <a:gd name="connsiteY115" fmla="*/ 47625 h 4476750"/>
                  <a:gd name="connsiteX116" fmla="*/ 2164102 w 4519987"/>
                  <a:gd name="connsiteY116" fmla="*/ 38100 h 4476750"/>
                  <a:gd name="connsiteX117" fmla="*/ 2392702 w 4519987"/>
                  <a:gd name="connsiteY117" fmla="*/ 28575 h 4476750"/>
                  <a:gd name="connsiteX0" fmla="*/ 2297452 w 4519987"/>
                  <a:gd name="connsiteY0" fmla="*/ 0 h 4457700"/>
                  <a:gd name="connsiteX1" fmla="*/ 2421277 w 4519987"/>
                  <a:gd name="connsiteY1" fmla="*/ 28575 h 4457700"/>
                  <a:gd name="connsiteX2" fmla="*/ 2497477 w 4519987"/>
                  <a:gd name="connsiteY2" fmla="*/ 47625 h 4457700"/>
                  <a:gd name="connsiteX3" fmla="*/ 2754652 w 4519987"/>
                  <a:gd name="connsiteY3" fmla="*/ 66675 h 4457700"/>
                  <a:gd name="connsiteX4" fmla="*/ 2830852 w 4519987"/>
                  <a:gd name="connsiteY4" fmla="*/ 76200 h 4457700"/>
                  <a:gd name="connsiteX5" fmla="*/ 2916577 w 4519987"/>
                  <a:gd name="connsiteY5" fmla="*/ 85725 h 4457700"/>
                  <a:gd name="connsiteX6" fmla="*/ 2973727 w 4519987"/>
                  <a:gd name="connsiteY6" fmla="*/ 114300 h 4457700"/>
                  <a:gd name="connsiteX7" fmla="*/ 3011827 w 4519987"/>
                  <a:gd name="connsiteY7" fmla="*/ 123825 h 4457700"/>
                  <a:gd name="connsiteX8" fmla="*/ 3135652 w 4519987"/>
                  <a:gd name="connsiteY8" fmla="*/ 171450 h 4457700"/>
                  <a:gd name="connsiteX9" fmla="*/ 3173752 w 4519987"/>
                  <a:gd name="connsiteY9" fmla="*/ 190500 h 4457700"/>
                  <a:gd name="connsiteX10" fmla="*/ 3240427 w 4519987"/>
                  <a:gd name="connsiteY10" fmla="*/ 228600 h 4457700"/>
                  <a:gd name="connsiteX11" fmla="*/ 3269002 w 4519987"/>
                  <a:gd name="connsiteY11" fmla="*/ 238125 h 4457700"/>
                  <a:gd name="connsiteX12" fmla="*/ 3297577 w 4519987"/>
                  <a:gd name="connsiteY12" fmla="*/ 257175 h 4457700"/>
                  <a:gd name="connsiteX13" fmla="*/ 3326152 w 4519987"/>
                  <a:gd name="connsiteY13" fmla="*/ 266700 h 4457700"/>
                  <a:gd name="connsiteX14" fmla="*/ 3354727 w 4519987"/>
                  <a:gd name="connsiteY14" fmla="*/ 285750 h 4457700"/>
                  <a:gd name="connsiteX15" fmla="*/ 3421402 w 4519987"/>
                  <a:gd name="connsiteY15" fmla="*/ 323850 h 4457700"/>
                  <a:gd name="connsiteX16" fmla="*/ 3469027 w 4519987"/>
                  <a:gd name="connsiteY16" fmla="*/ 361950 h 4457700"/>
                  <a:gd name="connsiteX17" fmla="*/ 3516652 w 4519987"/>
                  <a:gd name="connsiteY17" fmla="*/ 390525 h 4457700"/>
                  <a:gd name="connsiteX18" fmla="*/ 3630952 w 4519987"/>
                  <a:gd name="connsiteY18" fmla="*/ 485775 h 4457700"/>
                  <a:gd name="connsiteX19" fmla="*/ 3745252 w 4519987"/>
                  <a:gd name="connsiteY19" fmla="*/ 542925 h 4457700"/>
                  <a:gd name="connsiteX20" fmla="*/ 3811927 w 4519987"/>
                  <a:gd name="connsiteY20" fmla="*/ 581025 h 4457700"/>
                  <a:gd name="connsiteX21" fmla="*/ 4027827 w 4519987"/>
                  <a:gd name="connsiteY21" fmla="*/ 819150 h 4457700"/>
                  <a:gd name="connsiteX22" fmla="*/ 4164352 w 4519987"/>
                  <a:gd name="connsiteY22" fmla="*/ 990600 h 4457700"/>
                  <a:gd name="connsiteX23" fmla="*/ 4250077 w 4519987"/>
                  <a:gd name="connsiteY23" fmla="*/ 1143000 h 4457700"/>
                  <a:gd name="connsiteX24" fmla="*/ 4307227 w 4519987"/>
                  <a:gd name="connsiteY24" fmla="*/ 1266825 h 4457700"/>
                  <a:gd name="connsiteX25" fmla="*/ 4345327 w 4519987"/>
                  <a:gd name="connsiteY25" fmla="*/ 1362075 h 4457700"/>
                  <a:gd name="connsiteX26" fmla="*/ 4392952 w 4519987"/>
                  <a:gd name="connsiteY26" fmla="*/ 1552575 h 4457700"/>
                  <a:gd name="connsiteX27" fmla="*/ 4431052 w 4519987"/>
                  <a:gd name="connsiteY27" fmla="*/ 1685925 h 4457700"/>
                  <a:gd name="connsiteX28" fmla="*/ 4519952 w 4519987"/>
                  <a:gd name="connsiteY28" fmla="*/ 2181225 h 4457700"/>
                  <a:gd name="connsiteX29" fmla="*/ 4446927 w 4519987"/>
                  <a:gd name="connsiteY29" fmla="*/ 2768600 h 4457700"/>
                  <a:gd name="connsiteX30" fmla="*/ 4383427 w 4519987"/>
                  <a:gd name="connsiteY30" fmla="*/ 2990850 h 4457700"/>
                  <a:gd name="connsiteX31" fmla="*/ 4278652 w 4519987"/>
                  <a:gd name="connsiteY31" fmla="*/ 3248025 h 4457700"/>
                  <a:gd name="connsiteX32" fmla="*/ 4183402 w 4519987"/>
                  <a:gd name="connsiteY32" fmla="*/ 3400425 h 4457700"/>
                  <a:gd name="connsiteX33" fmla="*/ 4059577 w 4519987"/>
                  <a:gd name="connsiteY33" fmla="*/ 3533775 h 4457700"/>
                  <a:gd name="connsiteX34" fmla="*/ 3954802 w 4519987"/>
                  <a:gd name="connsiteY34" fmla="*/ 3648075 h 4457700"/>
                  <a:gd name="connsiteX35" fmla="*/ 3659527 w 4519987"/>
                  <a:gd name="connsiteY35" fmla="*/ 3971925 h 4457700"/>
                  <a:gd name="connsiteX36" fmla="*/ 3516652 w 4519987"/>
                  <a:gd name="connsiteY36" fmla="*/ 4083050 h 4457700"/>
                  <a:gd name="connsiteX37" fmla="*/ 3221377 w 4519987"/>
                  <a:gd name="connsiteY37" fmla="*/ 4222750 h 4457700"/>
                  <a:gd name="connsiteX38" fmla="*/ 3068977 w 4519987"/>
                  <a:gd name="connsiteY38" fmla="*/ 4286250 h 4457700"/>
                  <a:gd name="connsiteX39" fmla="*/ 2935627 w 4519987"/>
                  <a:gd name="connsiteY39" fmla="*/ 4333875 h 4457700"/>
                  <a:gd name="connsiteX40" fmla="*/ 2811802 w 4519987"/>
                  <a:gd name="connsiteY40" fmla="*/ 4371975 h 4457700"/>
                  <a:gd name="connsiteX41" fmla="*/ 2580027 w 4519987"/>
                  <a:gd name="connsiteY41" fmla="*/ 4391025 h 4457700"/>
                  <a:gd name="connsiteX42" fmla="*/ 2202202 w 4519987"/>
                  <a:gd name="connsiteY42" fmla="*/ 4457700 h 4457700"/>
                  <a:gd name="connsiteX43" fmla="*/ 2126002 w 4519987"/>
                  <a:gd name="connsiteY43" fmla="*/ 4429125 h 4457700"/>
                  <a:gd name="connsiteX44" fmla="*/ 1935502 w 4519987"/>
                  <a:gd name="connsiteY44" fmla="*/ 4400550 h 4457700"/>
                  <a:gd name="connsiteX45" fmla="*/ 1821202 w 4519987"/>
                  <a:gd name="connsiteY45" fmla="*/ 4371975 h 4457700"/>
                  <a:gd name="connsiteX46" fmla="*/ 1754527 w 4519987"/>
                  <a:gd name="connsiteY46" fmla="*/ 4352925 h 4457700"/>
                  <a:gd name="connsiteX47" fmla="*/ 1687852 w 4519987"/>
                  <a:gd name="connsiteY47" fmla="*/ 4343400 h 4457700"/>
                  <a:gd name="connsiteX48" fmla="*/ 1573552 w 4519987"/>
                  <a:gd name="connsiteY48" fmla="*/ 4305300 h 4457700"/>
                  <a:gd name="connsiteX49" fmla="*/ 1402102 w 4519987"/>
                  <a:gd name="connsiteY49" fmla="*/ 4276725 h 4457700"/>
                  <a:gd name="connsiteX50" fmla="*/ 1287802 w 4519987"/>
                  <a:gd name="connsiteY50" fmla="*/ 4229100 h 4457700"/>
                  <a:gd name="connsiteX51" fmla="*/ 1221127 w 4519987"/>
                  <a:gd name="connsiteY51" fmla="*/ 4200525 h 4457700"/>
                  <a:gd name="connsiteX52" fmla="*/ 1144927 w 4519987"/>
                  <a:gd name="connsiteY52" fmla="*/ 4171950 h 4457700"/>
                  <a:gd name="connsiteX53" fmla="*/ 1087777 w 4519987"/>
                  <a:gd name="connsiteY53" fmla="*/ 4143375 h 4457700"/>
                  <a:gd name="connsiteX54" fmla="*/ 1030627 w 4519987"/>
                  <a:gd name="connsiteY54" fmla="*/ 4124325 h 4457700"/>
                  <a:gd name="connsiteX55" fmla="*/ 925852 w 4519987"/>
                  <a:gd name="connsiteY55" fmla="*/ 4067175 h 4457700"/>
                  <a:gd name="connsiteX56" fmla="*/ 830602 w 4519987"/>
                  <a:gd name="connsiteY56" fmla="*/ 3981450 h 4457700"/>
                  <a:gd name="connsiteX57" fmla="*/ 763927 w 4519987"/>
                  <a:gd name="connsiteY57" fmla="*/ 3914775 h 4457700"/>
                  <a:gd name="connsiteX58" fmla="*/ 725827 w 4519987"/>
                  <a:gd name="connsiteY58" fmla="*/ 3876675 h 4457700"/>
                  <a:gd name="connsiteX59" fmla="*/ 697252 w 4519987"/>
                  <a:gd name="connsiteY59" fmla="*/ 3838575 h 4457700"/>
                  <a:gd name="connsiteX60" fmla="*/ 640102 w 4519987"/>
                  <a:gd name="connsiteY60" fmla="*/ 3781425 h 4457700"/>
                  <a:gd name="connsiteX61" fmla="*/ 611527 w 4519987"/>
                  <a:gd name="connsiteY61" fmla="*/ 3733800 h 4457700"/>
                  <a:gd name="connsiteX62" fmla="*/ 554377 w 4519987"/>
                  <a:gd name="connsiteY62" fmla="*/ 3657600 h 4457700"/>
                  <a:gd name="connsiteX63" fmla="*/ 525802 w 4519987"/>
                  <a:gd name="connsiteY63" fmla="*/ 3609975 h 4457700"/>
                  <a:gd name="connsiteX64" fmla="*/ 497227 w 4519987"/>
                  <a:gd name="connsiteY64" fmla="*/ 3552825 h 4457700"/>
                  <a:gd name="connsiteX65" fmla="*/ 440077 w 4519987"/>
                  <a:gd name="connsiteY65" fmla="*/ 3495675 h 4457700"/>
                  <a:gd name="connsiteX66" fmla="*/ 411502 w 4519987"/>
                  <a:gd name="connsiteY66" fmla="*/ 3448050 h 4457700"/>
                  <a:gd name="connsiteX67" fmla="*/ 278152 w 4519987"/>
                  <a:gd name="connsiteY67" fmla="*/ 3257550 h 4457700"/>
                  <a:gd name="connsiteX68" fmla="*/ 249577 w 4519987"/>
                  <a:gd name="connsiteY68" fmla="*/ 3200400 h 4457700"/>
                  <a:gd name="connsiteX69" fmla="*/ 240052 w 4519987"/>
                  <a:gd name="connsiteY69" fmla="*/ 3162300 h 4457700"/>
                  <a:gd name="connsiteX70" fmla="*/ 221002 w 4519987"/>
                  <a:gd name="connsiteY70" fmla="*/ 3105150 h 4457700"/>
                  <a:gd name="connsiteX71" fmla="*/ 173377 w 4519987"/>
                  <a:gd name="connsiteY71" fmla="*/ 3019425 h 4457700"/>
                  <a:gd name="connsiteX72" fmla="*/ 144802 w 4519987"/>
                  <a:gd name="connsiteY72" fmla="*/ 2924175 h 4457700"/>
                  <a:gd name="connsiteX73" fmla="*/ 68602 w 4519987"/>
                  <a:gd name="connsiteY73" fmla="*/ 2724150 h 4457700"/>
                  <a:gd name="connsiteX74" fmla="*/ 49552 w 4519987"/>
                  <a:gd name="connsiteY74" fmla="*/ 2638425 h 4457700"/>
                  <a:gd name="connsiteX75" fmla="*/ 40027 w 4519987"/>
                  <a:gd name="connsiteY75" fmla="*/ 2562225 h 4457700"/>
                  <a:gd name="connsiteX76" fmla="*/ 30502 w 4519987"/>
                  <a:gd name="connsiteY76" fmla="*/ 2514600 h 4457700"/>
                  <a:gd name="connsiteX77" fmla="*/ 11452 w 4519987"/>
                  <a:gd name="connsiteY77" fmla="*/ 2400300 h 4457700"/>
                  <a:gd name="connsiteX78" fmla="*/ 20977 w 4519987"/>
                  <a:gd name="connsiteY78" fmla="*/ 1905000 h 4457700"/>
                  <a:gd name="connsiteX79" fmla="*/ 30502 w 4519987"/>
                  <a:gd name="connsiteY79" fmla="*/ 1838325 h 4457700"/>
                  <a:gd name="connsiteX80" fmla="*/ 49552 w 4519987"/>
                  <a:gd name="connsiteY80" fmla="*/ 1781175 h 4457700"/>
                  <a:gd name="connsiteX81" fmla="*/ 59077 w 4519987"/>
                  <a:gd name="connsiteY81" fmla="*/ 1743075 h 4457700"/>
                  <a:gd name="connsiteX82" fmla="*/ 78127 w 4519987"/>
                  <a:gd name="connsiteY82" fmla="*/ 1685925 h 4457700"/>
                  <a:gd name="connsiteX83" fmla="*/ 87652 w 4519987"/>
                  <a:gd name="connsiteY83" fmla="*/ 1638300 h 4457700"/>
                  <a:gd name="connsiteX84" fmla="*/ 106702 w 4519987"/>
                  <a:gd name="connsiteY84" fmla="*/ 1590675 h 4457700"/>
                  <a:gd name="connsiteX85" fmla="*/ 135277 w 4519987"/>
                  <a:gd name="connsiteY85" fmla="*/ 1504950 h 4457700"/>
                  <a:gd name="connsiteX86" fmla="*/ 154327 w 4519987"/>
                  <a:gd name="connsiteY86" fmla="*/ 1419225 h 4457700"/>
                  <a:gd name="connsiteX87" fmla="*/ 230527 w 4519987"/>
                  <a:gd name="connsiteY87" fmla="*/ 1276350 h 4457700"/>
                  <a:gd name="connsiteX88" fmla="*/ 240052 w 4519987"/>
                  <a:gd name="connsiteY88" fmla="*/ 1247775 h 4457700"/>
                  <a:gd name="connsiteX89" fmla="*/ 268627 w 4519987"/>
                  <a:gd name="connsiteY89" fmla="*/ 1200150 h 4457700"/>
                  <a:gd name="connsiteX90" fmla="*/ 287677 w 4519987"/>
                  <a:gd name="connsiteY90" fmla="*/ 1152525 h 4457700"/>
                  <a:gd name="connsiteX91" fmla="*/ 316252 w 4519987"/>
                  <a:gd name="connsiteY91" fmla="*/ 1114425 h 4457700"/>
                  <a:gd name="connsiteX92" fmla="*/ 363877 w 4519987"/>
                  <a:gd name="connsiteY92" fmla="*/ 1038225 h 4457700"/>
                  <a:gd name="connsiteX93" fmla="*/ 382927 w 4519987"/>
                  <a:gd name="connsiteY93" fmla="*/ 1009650 h 4457700"/>
                  <a:gd name="connsiteX94" fmla="*/ 440077 w 4519987"/>
                  <a:gd name="connsiteY94" fmla="*/ 904875 h 4457700"/>
                  <a:gd name="connsiteX95" fmla="*/ 478177 w 4519987"/>
                  <a:gd name="connsiteY95" fmla="*/ 857250 h 4457700"/>
                  <a:gd name="connsiteX96" fmla="*/ 497227 w 4519987"/>
                  <a:gd name="connsiteY96" fmla="*/ 828675 h 4457700"/>
                  <a:gd name="connsiteX97" fmla="*/ 535327 w 4519987"/>
                  <a:gd name="connsiteY97" fmla="*/ 800100 h 4457700"/>
                  <a:gd name="connsiteX98" fmla="*/ 602002 w 4519987"/>
                  <a:gd name="connsiteY98" fmla="*/ 733425 h 4457700"/>
                  <a:gd name="connsiteX99" fmla="*/ 668677 w 4519987"/>
                  <a:gd name="connsiteY99" fmla="*/ 676275 h 4457700"/>
                  <a:gd name="connsiteX100" fmla="*/ 697252 w 4519987"/>
                  <a:gd name="connsiteY100" fmla="*/ 657225 h 4457700"/>
                  <a:gd name="connsiteX101" fmla="*/ 840127 w 4519987"/>
                  <a:gd name="connsiteY101" fmla="*/ 533400 h 4457700"/>
                  <a:gd name="connsiteX102" fmla="*/ 887752 w 4519987"/>
                  <a:gd name="connsiteY102" fmla="*/ 504825 h 4457700"/>
                  <a:gd name="connsiteX103" fmla="*/ 1167152 w 4519987"/>
                  <a:gd name="connsiteY103" fmla="*/ 311150 h 4457700"/>
                  <a:gd name="connsiteX104" fmla="*/ 1268752 w 4519987"/>
                  <a:gd name="connsiteY104" fmla="*/ 285750 h 4457700"/>
                  <a:gd name="connsiteX105" fmla="*/ 1411627 w 4519987"/>
                  <a:gd name="connsiteY105" fmla="*/ 190500 h 4457700"/>
                  <a:gd name="connsiteX106" fmla="*/ 1449727 w 4519987"/>
                  <a:gd name="connsiteY106" fmla="*/ 161925 h 4457700"/>
                  <a:gd name="connsiteX107" fmla="*/ 1525927 w 4519987"/>
                  <a:gd name="connsiteY107" fmla="*/ 152400 h 4457700"/>
                  <a:gd name="connsiteX108" fmla="*/ 1583077 w 4519987"/>
                  <a:gd name="connsiteY108" fmla="*/ 142875 h 4457700"/>
                  <a:gd name="connsiteX109" fmla="*/ 1716427 w 4519987"/>
                  <a:gd name="connsiteY109" fmla="*/ 123825 h 4457700"/>
                  <a:gd name="connsiteX110" fmla="*/ 1811677 w 4519987"/>
                  <a:gd name="connsiteY110" fmla="*/ 114300 h 4457700"/>
                  <a:gd name="connsiteX111" fmla="*/ 1859302 w 4519987"/>
                  <a:gd name="connsiteY111" fmla="*/ 104775 h 4457700"/>
                  <a:gd name="connsiteX112" fmla="*/ 1916452 w 4519987"/>
                  <a:gd name="connsiteY112" fmla="*/ 95250 h 4457700"/>
                  <a:gd name="connsiteX113" fmla="*/ 2030752 w 4519987"/>
                  <a:gd name="connsiteY113" fmla="*/ 66675 h 4457700"/>
                  <a:gd name="connsiteX114" fmla="*/ 2097427 w 4519987"/>
                  <a:gd name="connsiteY114" fmla="*/ 47625 h 4457700"/>
                  <a:gd name="connsiteX115" fmla="*/ 2164102 w 4519987"/>
                  <a:gd name="connsiteY115" fmla="*/ 38100 h 4457700"/>
                  <a:gd name="connsiteX116" fmla="*/ 2392702 w 4519987"/>
                  <a:gd name="connsiteY116" fmla="*/ 28575 h 4457700"/>
                  <a:gd name="connsiteX0" fmla="*/ 2297452 w 4519987"/>
                  <a:gd name="connsiteY0" fmla="*/ 0 h 4429260"/>
                  <a:gd name="connsiteX1" fmla="*/ 2421277 w 4519987"/>
                  <a:gd name="connsiteY1" fmla="*/ 28575 h 4429260"/>
                  <a:gd name="connsiteX2" fmla="*/ 2497477 w 4519987"/>
                  <a:gd name="connsiteY2" fmla="*/ 47625 h 4429260"/>
                  <a:gd name="connsiteX3" fmla="*/ 2754652 w 4519987"/>
                  <a:gd name="connsiteY3" fmla="*/ 66675 h 4429260"/>
                  <a:gd name="connsiteX4" fmla="*/ 2830852 w 4519987"/>
                  <a:gd name="connsiteY4" fmla="*/ 76200 h 4429260"/>
                  <a:gd name="connsiteX5" fmla="*/ 2916577 w 4519987"/>
                  <a:gd name="connsiteY5" fmla="*/ 85725 h 4429260"/>
                  <a:gd name="connsiteX6" fmla="*/ 2973727 w 4519987"/>
                  <a:gd name="connsiteY6" fmla="*/ 114300 h 4429260"/>
                  <a:gd name="connsiteX7" fmla="*/ 3011827 w 4519987"/>
                  <a:gd name="connsiteY7" fmla="*/ 123825 h 4429260"/>
                  <a:gd name="connsiteX8" fmla="*/ 3135652 w 4519987"/>
                  <a:gd name="connsiteY8" fmla="*/ 171450 h 4429260"/>
                  <a:gd name="connsiteX9" fmla="*/ 3173752 w 4519987"/>
                  <a:gd name="connsiteY9" fmla="*/ 190500 h 4429260"/>
                  <a:gd name="connsiteX10" fmla="*/ 3240427 w 4519987"/>
                  <a:gd name="connsiteY10" fmla="*/ 228600 h 4429260"/>
                  <a:gd name="connsiteX11" fmla="*/ 3269002 w 4519987"/>
                  <a:gd name="connsiteY11" fmla="*/ 238125 h 4429260"/>
                  <a:gd name="connsiteX12" fmla="*/ 3297577 w 4519987"/>
                  <a:gd name="connsiteY12" fmla="*/ 257175 h 4429260"/>
                  <a:gd name="connsiteX13" fmla="*/ 3326152 w 4519987"/>
                  <a:gd name="connsiteY13" fmla="*/ 266700 h 4429260"/>
                  <a:gd name="connsiteX14" fmla="*/ 3354727 w 4519987"/>
                  <a:gd name="connsiteY14" fmla="*/ 285750 h 4429260"/>
                  <a:gd name="connsiteX15" fmla="*/ 3421402 w 4519987"/>
                  <a:gd name="connsiteY15" fmla="*/ 323850 h 4429260"/>
                  <a:gd name="connsiteX16" fmla="*/ 3469027 w 4519987"/>
                  <a:gd name="connsiteY16" fmla="*/ 361950 h 4429260"/>
                  <a:gd name="connsiteX17" fmla="*/ 3516652 w 4519987"/>
                  <a:gd name="connsiteY17" fmla="*/ 390525 h 4429260"/>
                  <a:gd name="connsiteX18" fmla="*/ 3630952 w 4519987"/>
                  <a:gd name="connsiteY18" fmla="*/ 485775 h 4429260"/>
                  <a:gd name="connsiteX19" fmla="*/ 3745252 w 4519987"/>
                  <a:gd name="connsiteY19" fmla="*/ 542925 h 4429260"/>
                  <a:gd name="connsiteX20" fmla="*/ 3811927 w 4519987"/>
                  <a:gd name="connsiteY20" fmla="*/ 581025 h 4429260"/>
                  <a:gd name="connsiteX21" fmla="*/ 4027827 w 4519987"/>
                  <a:gd name="connsiteY21" fmla="*/ 819150 h 4429260"/>
                  <a:gd name="connsiteX22" fmla="*/ 4164352 w 4519987"/>
                  <a:gd name="connsiteY22" fmla="*/ 990600 h 4429260"/>
                  <a:gd name="connsiteX23" fmla="*/ 4250077 w 4519987"/>
                  <a:gd name="connsiteY23" fmla="*/ 1143000 h 4429260"/>
                  <a:gd name="connsiteX24" fmla="*/ 4307227 w 4519987"/>
                  <a:gd name="connsiteY24" fmla="*/ 1266825 h 4429260"/>
                  <a:gd name="connsiteX25" fmla="*/ 4345327 w 4519987"/>
                  <a:gd name="connsiteY25" fmla="*/ 1362075 h 4429260"/>
                  <a:gd name="connsiteX26" fmla="*/ 4392952 w 4519987"/>
                  <a:gd name="connsiteY26" fmla="*/ 1552575 h 4429260"/>
                  <a:gd name="connsiteX27" fmla="*/ 4431052 w 4519987"/>
                  <a:gd name="connsiteY27" fmla="*/ 1685925 h 4429260"/>
                  <a:gd name="connsiteX28" fmla="*/ 4519952 w 4519987"/>
                  <a:gd name="connsiteY28" fmla="*/ 2181225 h 4429260"/>
                  <a:gd name="connsiteX29" fmla="*/ 4446927 w 4519987"/>
                  <a:gd name="connsiteY29" fmla="*/ 2768600 h 4429260"/>
                  <a:gd name="connsiteX30" fmla="*/ 4383427 w 4519987"/>
                  <a:gd name="connsiteY30" fmla="*/ 2990850 h 4429260"/>
                  <a:gd name="connsiteX31" fmla="*/ 4278652 w 4519987"/>
                  <a:gd name="connsiteY31" fmla="*/ 3248025 h 4429260"/>
                  <a:gd name="connsiteX32" fmla="*/ 4183402 w 4519987"/>
                  <a:gd name="connsiteY32" fmla="*/ 3400425 h 4429260"/>
                  <a:gd name="connsiteX33" fmla="*/ 4059577 w 4519987"/>
                  <a:gd name="connsiteY33" fmla="*/ 3533775 h 4429260"/>
                  <a:gd name="connsiteX34" fmla="*/ 3954802 w 4519987"/>
                  <a:gd name="connsiteY34" fmla="*/ 3648075 h 4429260"/>
                  <a:gd name="connsiteX35" fmla="*/ 3659527 w 4519987"/>
                  <a:gd name="connsiteY35" fmla="*/ 3971925 h 4429260"/>
                  <a:gd name="connsiteX36" fmla="*/ 3516652 w 4519987"/>
                  <a:gd name="connsiteY36" fmla="*/ 4083050 h 4429260"/>
                  <a:gd name="connsiteX37" fmla="*/ 3221377 w 4519987"/>
                  <a:gd name="connsiteY37" fmla="*/ 4222750 h 4429260"/>
                  <a:gd name="connsiteX38" fmla="*/ 3068977 w 4519987"/>
                  <a:gd name="connsiteY38" fmla="*/ 4286250 h 4429260"/>
                  <a:gd name="connsiteX39" fmla="*/ 2935627 w 4519987"/>
                  <a:gd name="connsiteY39" fmla="*/ 4333875 h 4429260"/>
                  <a:gd name="connsiteX40" fmla="*/ 2811802 w 4519987"/>
                  <a:gd name="connsiteY40" fmla="*/ 4371975 h 4429260"/>
                  <a:gd name="connsiteX41" fmla="*/ 2580027 w 4519987"/>
                  <a:gd name="connsiteY41" fmla="*/ 4391025 h 4429260"/>
                  <a:gd name="connsiteX42" fmla="*/ 2126002 w 4519987"/>
                  <a:gd name="connsiteY42" fmla="*/ 4429125 h 4429260"/>
                  <a:gd name="connsiteX43" fmla="*/ 1935502 w 4519987"/>
                  <a:gd name="connsiteY43" fmla="*/ 4400550 h 4429260"/>
                  <a:gd name="connsiteX44" fmla="*/ 1821202 w 4519987"/>
                  <a:gd name="connsiteY44" fmla="*/ 4371975 h 4429260"/>
                  <a:gd name="connsiteX45" fmla="*/ 1754527 w 4519987"/>
                  <a:gd name="connsiteY45" fmla="*/ 4352925 h 4429260"/>
                  <a:gd name="connsiteX46" fmla="*/ 1687852 w 4519987"/>
                  <a:gd name="connsiteY46" fmla="*/ 4343400 h 4429260"/>
                  <a:gd name="connsiteX47" fmla="*/ 1573552 w 4519987"/>
                  <a:gd name="connsiteY47" fmla="*/ 4305300 h 4429260"/>
                  <a:gd name="connsiteX48" fmla="*/ 1402102 w 4519987"/>
                  <a:gd name="connsiteY48" fmla="*/ 4276725 h 4429260"/>
                  <a:gd name="connsiteX49" fmla="*/ 1287802 w 4519987"/>
                  <a:gd name="connsiteY49" fmla="*/ 4229100 h 4429260"/>
                  <a:gd name="connsiteX50" fmla="*/ 1221127 w 4519987"/>
                  <a:gd name="connsiteY50" fmla="*/ 4200525 h 4429260"/>
                  <a:gd name="connsiteX51" fmla="*/ 1144927 w 4519987"/>
                  <a:gd name="connsiteY51" fmla="*/ 4171950 h 4429260"/>
                  <a:gd name="connsiteX52" fmla="*/ 1087777 w 4519987"/>
                  <a:gd name="connsiteY52" fmla="*/ 4143375 h 4429260"/>
                  <a:gd name="connsiteX53" fmla="*/ 1030627 w 4519987"/>
                  <a:gd name="connsiteY53" fmla="*/ 4124325 h 4429260"/>
                  <a:gd name="connsiteX54" fmla="*/ 925852 w 4519987"/>
                  <a:gd name="connsiteY54" fmla="*/ 4067175 h 4429260"/>
                  <a:gd name="connsiteX55" fmla="*/ 830602 w 4519987"/>
                  <a:gd name="connsiteY55" fmla="*/ 3981450 h 4429260"/>
                  <a:gd name="connsiteX56" fmla="*/ 763927 w 4519987"/>
                  <a:gd name="connsiteY56" fmla="*/ 3914775 h 4429260"/>
                  <a:gd name="connsiteX57" fmla="*/ 725827 w 4519987"/>
                  <a:gd name="connsiteY57" fmla="*/ 3876675 h 4429260"/>
                  <a:gd name="connsiteX58" fmla="*/ 697252 w 4519987"/>
                  <a:gd name="connsiteY58" fmla="*/ 3838575 h 4429260"/>
                  <a:gd name="connsiteX59" fmla="*/ 640102 w 4519987"/>
                  <a:gd name="connsiteY59" fmla="*/ 3781425 h 4429260"/>
                  <a:gd name="connsiteX60" fmla="*/ 611527 w 4519987"/>
                  <a:gd name="connsiteY60" fmla="*/ 3733800 h 4429260"/>
                  <a:gd name="connsiteX61" fmla="*/ 554377 w 4519987"/>
                  <a:gd name="connsiteY61" fmla="*/ 3657600 h 4429260"/>
                  <a:gd name="connsiteX62" fmla="*/ 525802 w 4519987"/>
                  <a:gd name="connsiteY62" fmla="*/ 3609975 h 4429260"/>
                  <a:gd name="connsiteX63" fmla="*/ 497227 w 4519987"/>
                  <a:gd name="connsiteY63" fmla="*/ 3552825 h 4429260"/>
                  <a:gd name="connsiteX64" fmla="*/ 440077 w 4519987"/>
                  <a:gd name="connsiteY64" fmla="*/ 3495675 h 4429260"/>
                  <a:gd name="connsiteX65" fmla="*/ 411502 w 4519987"/>
                  <a:gd name="connsiteY65" fmla="*/ 3448050 h 4429260"/>
                  <a:gd name="connsiteX66" fmla="*/ 278152 w 4519987"/>
                  <a:gd name="connsiteY66" fmla="*/ 3257550 h 4429260"/>
                  <a:gd name="connsiteX67" fmla="*/ 249577 w 4519987"/>
                  <a:gd name="connsiteY67" fmla="*/ 3200400 h 4429260"/>
                  <a:gd name="connsiteX68" fmla="*/ 240052 w 4519987"/>
                  <a:gd name="connsiteY68" fmla="*/ 3162300 h 4429260"/>
                  <a:gd name="connsiteX69" fmla="*/ 221002 w 4519987"/>
                  <a:gd name="connsiteY69" fmla="*/ 3105150 h 4429260"/>
                  <a:gd name="connsiteX70" fmla="*/ 173377 w 4519987"/>
                  <a:gd name="connsiteY70" fmla="*/ 3019425 h 4429260"/>
                  <a:gd name="connsiteX71" fmla="*/ 144802 w 4519987"/>
                  <a:gd name="connsiteY71" fmla="*/ 2924175 h 4429260"/>
                  <a:gd name="connsiteX72" fmla="*/ 68602 w 4519987"/>
                  <a:gd name="connsiteY72" fmla="*/ 2724150 h 4429260"/>
                  <a:gd name="connsiteX73" fmla="*/ 49552 w 4519987"/>
                  <a:gd name="connsiteY73" fmla="*/ 2638425 h 4429260"/>
                  <a:gd name="connsiteX74" fmla="*/ 40027 w 4519987"/>
                  <a:gd name="connsiteY74" fmla="*/ 2562225 h 4429260"/>
                  <a:gd name="connsiteX75" fmla="*/ 30502 w 4519987"/>
                  <a:gd name="connsiteY75" fmla="*/ 2514600 h 4429260"/>
                  <a:gd name="connsiteX76" fmla="*/ 11452 w 4519987"/>
                  <a:gd name="connsiteY76" fmla="*/ 2400300 h 4429260"/>
                  <a:gd name="connsiteX77" fmla="*/ 20977 w 4519987"/>
                  <a:gd name="connsiteY77" fmla="*/ 1905000 h 4429260"/>
                  <a:gd name="connsiteX78" fmla="*/ 30502 w 4519987"/>
                  <a:gd name="connsiteY78" fmla="*/ 1838325 h 4429260"/>
                  <a:gd name="connsiteX79" fmla="*/ 49552 w 4519987"/>
                  <a:gd name="connsiteY79" fmla="*/ 1781175 h 4429260"/>
                  <a:gd name="connsiteX80" fmla="*/ 59077 w 4519987"/>
                  <a:gd name="connsiteY80" fmla="*/ 1743075 h 4429260"/>
                  <a:gd name="connsiteX81" fmla="*/ 78127 w 4519987"/>
                  <a:gd name="connsiteY81" fmla="*/ 1685925 h 4429260"/>
                  <a:gd name="connsiteX82" fmla="*/ 87652 w 4519987"/>
                  <a:gd name="connsiteY82" fmla="*/ 1638300 h 4429260"/>
                  <a:gd name="connsiteX83" fmla="*/ 106702 w 4519987"/>
                  <a:gd name="connsiteY83" fmla="*/ 1590675 h 4429260"/>
                  <a:gd name="connsiteX84" fmla="*/ 135277 w 4519987"/>
                  <a:gd name="connsiteY84" fmla="*/ 1504950 h 4429260"/>
                  <a:gd name="connsiteX85" fmla="*/ 154327 w 4519987"/>
                  <a:gd name="connsiteY85" fmla="*/ 1419225 h 4429260"/>
                  <a:gd name="connsiteX86" fmla="*/ 230527 w 4519987"/>
                  <a:gd name="connsiteY86" fmla="*/ 1276350 h 4429260"/>
                  <a:gd name="connsiteX87" fmla="*/ 240052 w 4519987"/>
                  <a:gd name="connsiteY87" fmla="*/ 1247775 h 4429260"/>
                  <a:gd name="connsiteX88" fmla="*/ 268627 w 4519987"/>
                  <a:gd name="connsiteY88" fmla="*/ 1200150 h 4429260"/>
                  <a:gd name="connsiteX89" fmla="*/ 287677 w 4519987"/>
                  <a:gd name="connsiteY89" fmla="*/ 1152525 h 4429260"/>
                  <a:gd name="connsiteX90" fmla="*/ 316252 w 4519987"/>
                  <a:gd name="connsiteY90" fmla="*/ 1114425 h 4429260"/>
                  <a:gd name="connsiteX91" fmla="*/ 363877 w 4519987"/>
                  <a:gd name="connsiteY91" fmla="*/ 1038225 h 4429260"/>
                  <a:gd name="connsiteX92" fmla="*/ 382927 w 4519987"/>
                  <a:gd name="connsiteY92" fmla="*/ 1009650 h 4429260"/>
                  <a:gd name="connsiteX93" fmla="*/ 440077 w 4519987"/>
                  <a:gd name="connsiteY93" fmla="*/ 904875 h 4429260"/>
                  <a:gd name="connsiteX94" fmla="*/ 478177 w 4519987"/>
                  <a:gd name="connsiteY94" fmla="*/ 857250 h 4429260"/>
                  <a:gd name="connsiteX95" fmla="*/ 497227 w 4519987"/>
                  <a:gd name="connsiteY95" fmla="*/ 828675 h 4429260"/>
                  <a:gd name="connsiteX96" fmla="*/ 535327 w 4519987"/>
                  <a:gd name="connsiteY96" fmla="*/ 800100 h 4429260"/>
                  <a:gd name="connsiteX97" fmla="*/ 602002 w 4519987"/>
                  <a:gd name="connsiteY97" fmla="*/ 733425 h 4429260"/>
                  <a:gd name="connsiteX98" fmla="*/ 668677 w 4519987"/>
                  <a:gd name="connsiteY98" fmla="*/ 676275 h 4429260"/>
                  <a:gd name="connsiteX99" fmla="*/ 697252 w 4519987"/>
                  <a:gd name="connsiteY99" fmla="*/ 657225 h 4429260"/>
                  <a:gd name="connsiteX100" fmla="*/ 840127 w 4519987"/>
                  <a:gd name="connsiteY100" fmla="*/ 533400 h 4429260"/>
                  <a:gd name="connsiteX101" fmla="*/ 887752 w 4519987"/>
                  <a:gd name="connsiteY101" fmla="*/ 504825 h 4429260"/>
                  <a:gd name="connsiteX102" fmla="*/ 1167152 w 4519987"/>
                  <a:gd name="connsiteY102" fmla="*/ 311150 h 4429260"/>
                  <a:gd name="connsiteX103" fmla="*/ 1268752 w 4519987"/>
                  <a:gd name="connsiteY103" fmla="*/ 285750 h 4429260"/>
                  <a:gd name="connsiteX104" fmla="*/ 1411627 w 4519987"/>
                  <a:gd name="connsiteY104" fmla="*/ 190500 h 4429260"/>
                  <a:gd name="connsiteX105" fmla="*/ 1449727 w 4519987"/>
                  <a:gd name="connsiteY105" fmla="*/ 161925 h 4429260"/>
                  <a:gd name="connsiteX106" fmla="*/ 1525927 w 4519987"/>
                  <a:gd name="connsiteY106" fmla="*/ 152400 h 4429260"/>
                  <a:gd name="connsiteX107" fmla="*/ 1583077 w 4519987"/>
                  <a:gd name="connsiteY107" fmla="*/ 142875 h 4429260"/>
                  <a:gd name="connsiteX108" fmla="*/ 1716427 w 4519987"/>
                  <a:gd name="connsiteY108" fmla="*/ 123825 h 4429260"/>
                  <a:gd name="connsiteX109" fmla="*/ 1811677 w 4519987"/>
                  <a:gd name="connsiteY109" fmla="*/ 114300 h 4429260"/>
                  <a:gd name="connsiteX110" fmla="*/ 1859302 w 4519987"/>
                  <a:gd name="connsiteY110" fmla="*/ 104775 h 4429260"/>
                  <a:gd name="connsiteX111" fmla="*/ 1916452 w 4519987"/>
                  <a:gd name="connsiteY111" fmla="*/ 95250 h 4429260"/>
                  <a:gd name="connsiteX112" fmla="*/ 2030752 w 4519987"/>
                  <a:gd name="connsiteY112" fmla="*/ 66675 h 4429260"/>
                  <a:gd name="connsiteX113" fmla="*/ 2097427 w 4519987"/>
                  <a:gd name="connsiteY113" fmla="*/ 47625 h 4429260"/>
                  <a:gd name="connsiteX114" fmla="*/ 2164102 w 4519987"/>
                  <a:gd name="connsiteY114" fmla="*/ 38100 h 4429260"/>
                  <a:gd name="connsiteX115" fmla="*/ 2392702 w 4519987"/>
                  <a:gd name="connsiteY115" fmla="*/ 28575 h 4429260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687852 w 4519987"/>
                  <a:gd name="connsiteY45" fmla="*/ 4343400 h 4429225"/>
                  <a:gd name="connsiteX46" fmla="*/ 1573552 w 4519987"/>
                  <a:gd name="connsiteY46" fmla="*/ 4305300 h 4429225"/>
                  <a:gd name="connsiteX47" fmla="*/ 1402102 w 4519987"/>
                  <a:gd name="connsiteY47" fmla="*/ 4276725 h 4429225"/>
                  <a:gd name="connsiteX48" fmla="*/ 1287802 w 4519987"/>
                  <a:gd name="connsiteY48" fmla="*/ 4229100 h 4429225"/>
                  <a:gd name="connsiteX49" fmla="*/ 1221127 w 4519987"/>
                  <a:gd name="connsiteY49" fmla="*/ 4200525 h 4429225"/>
                  <a:gd name="connsiteX50" fmla="*/ 1144927 w 4519987"/>
                  <a:gd name="connsiteY50" fmla="*/ 4171950 h 4429225"/>
                  <a:gd name="connsiteX51" fmla="*/ 1087777 w 4519987"/>
                  <a:gd name="connsiteY51" fmla="*/ 4143375 h 4429225"/>
                  <a:gd name="connsiteX52" fmla="*/ 1030627 w 4519987"/>
                  <a:gd name="connsiteY52" fmla="*/ 4124325 h 4429225"/>
                  <a:gd name="connsiteX53" fmla="*/ 925852 w 4519987"/>
                  <a:gd name="connsiteY53" fmla="*/ 4067175 h 4429225"/>
                  <a:gd name="connsiteX54" fmla="*/ 830602 w 4519987"/>
                  <a:gd name="connsiteY54" fmla="*/ 3981450 h 4429225"/>
                  <a:gd name="connsiteX55" fmla="*/ 763927 w 4519987"/>
                  <a:gd name="connsiteY55" fmla="*/ 3914775 h 4429225"/>
                  <a:gd name="connsiteX56" fmla="*/ 725827 w 4519987"/>
                  <a:gd name="connsiteY56" fmla="*/ 3876675 h 4429225"/>
                  <a:gd name="connsiteX57" fmla="*/ 697252 w 4519987"/>
                  <a:gd name="connsiteY57" fmla="*/ 3838575 h 4429225"/>
                  <a:gd name="connsiteX58" fmla="*/ 640102 w 4519987"/>
                  <a:gd name="connsiteY58" fmla="*/ 3781425 h 4429225"/>
                  <a:gd name="connsiteX59" fmla="*/ 611527 w 4519987"/>
                  <a:gd name="connsiteY59" fmla="*/ 3733800 h 4429225"/>
                  <a:gd name="connsiteX60" fmla="*/ 554377 w 4519987"/>
                  <a:gd name="connsiteY60" fmla="*/ 3657600 h 4429225"/>
                  <a:gd name="connsiteX61" fmla="*/ 525802 w 4519987"/>
                  <a:gd name="connsiteY61" fmla="*/ 3609975 h 4429225"/>
                  <a:gd name="connsiteX62" fmla="*/ 497227 w 4519987"/>
                  <a:gd name="connsiteY62" fmla="*/ 3552825 h 4429225"/>
                  <a:gd name="connsiteX63" fmla="*/ 440077 w 4519987"/>
                  <a:gd name="connsiteY63" fmla="*/ 3495675 h 4429225"/>
                  <a:gd name="connsiteX64" fmla="*/ 411502 w 4519987"/>
                  <a:gd name="connsiteY64" fmla="*/ 3448050 h 4429225"/>
                  <a:gd name="connsiteX65" fmla="*/ 278152 w 4519987"/>
                  <a:gd name="connsiteY65" fmla="*/ 3257550 h 4429225"/>
                  <a:gd name="connsiteX66" fmla="*/ 249577 w 4519987"/>
                  <a:gd name="connsiteY66" fmla="*/ 3200400 h 4429225"/>
                  <a:gd name="connsiteX67" fmla="*/ 240052 w 4519987"/>
                  <a:gd name="connsiteY67" fmla="*/ 3162300 h 4429225"/>
                  <a:gd name="connsiteX68" fmla="*/ 221002 w 4519987"/>
                  <a:gd name="connsiteY68" fmla="*/ 3105150 h 4429225"/>
                  <a:gd name="connsiteX69" fmla="*/ 173377 w 4519987"/>
                  <a:gd name="connsiteY69" fmla="*/ 3019425 h 4429225"/>
                  <a:gd name="connsiteX70" fmla="*/ 144802 w 4519987"/>
                  <a:gd name="connsiteY70" fmla="*/ 2924175 h 4429225"/>
                  <a:gd name="connsiteX71" fmla="*/ 68602 w 4519987"/>
                  <a:gd name="connsiteY71" fmla="*/ 2724150 h 4429225"/>
                  <a:gd name="connsiteX72" fmla="*/ 49552 w 4519987"/>
                  <a:gd name="connsiteY72" fmla="*/ 2638425 h 4429225"/>
                  <a:gd name="connsiteX73" fmla="*/ 40027 w 4519987"/>
                  <a:gd name="connsiteY73" fmla="*/ 2562225 h 4429225"/>
                  <a:gd name="connsiteX74" fmla="*/ 30502 w 4519987"/>
                  <a:gd name="connsiteY74" fmla="*/ 2514600 h 4429225"/>
                  <a:gd name="connsiteX75" fmla="*/ 11452 w 4519987"/>
                  <a:gd name="connsiteY75" fmla="*/ 2400300 h 4429225"/>
                  <a:gd name="connsiteX76" fmla="*/ 20977 w 4519987"/>
                  <a:gd name="connsiteY76" fmla="*/ 1905000 h 4429225"/>
                  <a:gd name="connsiteX77" fmla="*/ 30502 w 4519987"/>
                  <a:gd name="connsiteY77" fmla="*/ 1838325 h 4429225"/>
                  <a:gd name="connsiteX78" fmla="*/ 49552 w 4519987"/>
                  <a:gd name="connsiteY78" fmla="*/ 1781175 h 4429225"/>
                  <a:gd name="connsiteX79" fmla="*/ 59077 w 4519987"/>
                  <a:gd name="connsiteY79" fmla="*/ 1743075 h 4429225"/>
                  <a:gd name="connsiteX80" fmla="*/ 78127 w 4519987"/>
                  <a:gd name="connsiteY80" fmla="*/ 1685925 h 4429225"/>
                  <a:gd name="connsiteX81" fmla="*/ 87652 w 4519987"/>
                  <a:gd name="connsiteY81" fmla="*/ 1638300 h 4429225"/>
                  <a:gd name="connsiteX82" fmla="*/ 106702 w 4519987"/>
                  <a:gd name="connsiteY82" fmla="*/ 1590675 h 4429225"/>
                  <a:gd name="connsiteX83" fmla="*/ 135277 w 4519987"/>
                  <a:gd name="connsiteY83" fmla="*/ 1504950 h 4429225"/>
                  <a:gd name="connsiteX84" fmla="*/ 154327 w 4519987"/>
                  <a:gd name="connsiteY84" fmla="*/ 1419225 h 4429225"/>
                  <a:gd name="connsiteX85" fmla="*/ 230527 w 4519987"/>
                  <a:gd name="connsiteY85" fmla="*/ 1276350 h 4429225"/>
                  <a:gd name="connsiteX86" fmla="*/ 240052 w 4519987"/>
                  <a:gd name="connsiteY86" fmla="*/ 1247775 h 4429225"/>
                  <a:gd name="connsiteX87" fmla="*/ 268627 w 4519987"/>
                  <a:gd name="connsiteY87" fmla="*/ 1200150 h 4429225"/>
                  <a:gd name="connsiteX88" fmla="*/ 287677 w 4519987"/>
                  <a:gd name="connsiteY88" fmla="*/ 1152525 h 4429225"/>
                  <a:gd name="connsiteX89" fmla="*/ 316252 w 4519987"/>
                  <a:gd name="connsiteY89" fmla="*/ 1114425 h 4429225"/>
                  <a:gd name="connsiteX90" fmla="*/ 363877 w 4519987"/>
                  <a:gd name="connsiteY90" fmla="*/ 1038225 h 4429225"/>
                  <a:gd name="connsiteX91" fmla="*/ 382927 w 4519987"/>
                  <a:gd name="connsiteY91" fmla="*/ 1009650 h 4429225"/>
                  <a:gd name="connsiteX92" fmla="*/ 440077 w 4519987"/>
                  <a:gd name="connsiteY92" fmla="*/ 904875 h 4429225"/>
                  <a:gd name="connsiteX93" fmla="*/ 478177 w 4519987"/>
                  <a:gd name="connsiteY93" fmla="*/ 857250 h 4429225"/>
                  <a:gd name="connsiteX94" fmla="*/ 497227 w 4519987"/>
                  <a:gd name="connsiteY94" fmla="*/ 828675 h 4429225"/>
                  <a:gd name="connsiteX95" fmla="*/ 535327 w 4519987"/>
                  <a:gd name="connsiteY95" fmla="*/ 800100 h 4429225"/>
                  <a:gd name="connsiteX96" fmla="*/ 602002 w 4519987"/>
                  <a:gd name="connsiteY96" fmla="*/ 733425 h 4429225"/>
                  <a:gd name="connsiteX97" fmla="*/ 668677 w 4519987"/>
                  <a:gd name="connsiteY97" fmla="*/ 676275 h 4429225"/>
                  <a:gd name="connsiteX98" fmla="*/ 697252 w 4519987"/>
                  <a:gd name="connsiteY98" fmla="*/ 657225 h 4429225"/>
                  <a:gd name="connsiteX99" fmla="*/ 840127 w 4519987"/>
                  <a:gd name="connsiteY99" fmla="*/ 533400 h 4429225"/>
                  <a:gd name="connsiteX100" fmla="*/ 887752 w 4519987"/>
                  <a:gd name="connsiteY100" fmla="*/ 504825 h 4429225"/>
                  <a:gd name="connsiteX101" fmla="*/ 1167152 w 4519987"/>
                  <a:gd name="connsiteY101" fmla="*/ 311150 h 4429225"/>
                  <a:gd name="connsiteX102" fmla="*/ 1268752 w 4519987"/>
                  <a:gd name="connsiteY102" fmla="*/ 285750 h 4429225"/>
                  <a:gd name="connsiteX103" fmla="*/ 1411627 w 4519987"/>
                  <a:gd name="connsiteY103" fmla="*/ 190500 h 4429225"/>
                  <a:gd name="connsiteX104" fmla="*/ 1449727 w 4519987"/>
                  <a:gd name="connsiteY104" fmla="*/ 161925 h 4429225"/>
                  <a:gd name="connsiteX105" fmla="*/ 1525927 w 4519987"/>
                  <a:gd name="connsiteY105" fmla="*/ 152400 h 4429225"/>
                  <a:gd name="connsiteX106" fmla="*/ 1583077 w 4519987"/>
                  <a:gd name="connsiteY106" fmla="*/ 142875 h 4429225"/>
                  <a:gd name="connsiteX107" fmla="*/ 1716427 w 4519987"/>
                  <a:gd name="connsiteY107" fmla="*/ 123825 h 4429225"/>
                  <a:gd name="connsiteX108" fmla="*/ 1811677 w 4519987"/>
                  <a:gd name="connsiteY108" fmla="*/ 114300 h 4429225"/>
                  <a:gd name="connsiteX109" fmla="*/ 1859302 w 4519987"/>
                  <a:gd name="connsiteY109" fmla="*/ 104775 h 4429225"/>
                  <a:gd name="connsiteX110" fmla="*/ 1916452 w 4519987"/>
                  <a:gd name="connsiteY110" fmla="*/ 95250 h 4429225"/>
                  <a:gd name="connsiteX111" fmla="*/ 2030752 w 4519987"/>
                  <a:gd name="connsiteY111" fmla="*/ 66675 h 4429225"/>
                  <a:gd name="connsiteX112" fmla="*/ 2097427 w 4519987"/>
                  <a:gd name="connsiteY112" fmla="*/ 47625 h 4429225"/>
                  <a:gd name="connsiteX113" fmla="*/ 2164102 w 4519987"/>
                  <a:gd name="connsiteY113" fmla="*/ 38100 h 4429225"/>
                  <a:gd name="connsiteX114" fmla="*/ 2392702 w 4519987"/>
                  <a:gd name="connsiteY114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402102 w 4519987"/>
                  <a:gd name="connsiteY46" fmla="*/ 4276725 h 4429225"/>
                  <a:gd name="connsiteX47" fmla="*/ 1287802 w 4519987"/>
                  <a:gd name="connsiteY47" fmla="*/ 4229100 h 4429225"/>
                  <a:gd name="connsiteX48" fmla="*/ 1221127 w 4519987"/>
                  <a:gd name="connsiteY48" fmla="*/ 4200525 h 4429225"/>
                  <a:gd name="connsiteX49" fmla="*/ 1144927 w 4519987"/>
                  <a:gd name="connsiteY49" fmla="*/ 4171950 h 4429225"/>
                  <a:gd name="connsiteX50" fmla="*/ 1087777 w 4519987"/>
                  <a:gd name="connsiteY50" fmla="*/ 4143375 h 4429225"/>
                  <a:gd name="connsiteX51" fmla="*/ 1030627 w 4519987"/>
                  <a:gd name="connsiteY51" fmla="*/ 4124325 h 4429225"/>
                  <a:gd name="connsiteX52" fmla="*/ 925852 w 4519987"/>
                  <a:gd name="connsiteY52" fmla="*/ 4067175 h 4429225"/>
                  <a:gd name="connsiteX53" fmla="*/ 830602 w 4519987"/>
                  <a:gd name="connsiteY53" fmla="*/ 3981450 h 4429225"/>
                  <a:gd name="connsiteX54" fmla="*/ 763927 w 4519987"/>
                  <a:gd name="connsiteY54" fmla="*/ 3914775 h 4429225"/>
                  <a:gd name="connsiteX55" fmla="*/ 725827 w 4519987"/>
                  <a:gd name="connsiteY55" fmla="*/ 3876675 h 4429225"/>
                  <a:gd name="connsiteX56" fmla="*/ 697252 w 4519987"/>
                  <a:gd name="connsiteY56" fmla="*/ 3838575 h 4429225"/>
                  <a:gd name="connsiteX57" fmla="*/ 640102 w 4519987"/>
                  <a:gd name="connsiteY57" fmla="*/ 3781425 h 4429225"/>
                  <a:gd name="connsiteX58" fmla="*/ 611527 w 4519987"/>
                  <a:gd name="connsiteY58" fmla="*/ 3733800 h 4429225"/>
                  <a:gd name="connsiteX59" fmla="*/ 554377 w 4519987"/>
                  <a:gd name="connsiteY59" fmla="*/ 3657600 h 4429225"/>
                  <a:gd name="connsiteX60" fmla="*/ 525802 w 4519987"/>
                  <a:gd name="connsiteY60" fmla="*/ 3609975 h 4429225"/>
                  <a:gd name="connsiteX61" fmla="*/ 497227 w 4519987"/>
                  <a:gd name="connsiteY61" fmla="*/ 3552825 h 4429225"/>
                  <a:gd name="connsiteX62" fmla="*/ 440077 w 4519987"/>
                  <a:gd name="connsiteY62" fmla="*/ 3495675 h 4429225"/>
                  <a:gd name="connsiteX63" fmla="*/ 411502 w 4519987"/>
                  <a:gd name="connsiteY63" fmla="*/ 3448050 h 4429225"/>
                  <a:gd name="connsiteX64" fmla="*/ 278152 w 4519987"/>
                  <a:gd name="connsiteY64" fmla="*/ 3257550 h 4429225"/>
                  <a:gd name="connsiteX65" fmla="*/ 249577 w 4519987"/>
                  <a:gd name="connsiteY65" fmla="*/ 3200400 h 4429225"/>
                  <a:gd name="connsiteX66" fmla="*/ 240052 w 4519987"/>
                  <a:gd name="connsiteY66" fmla="*/ 3162300 h 4429225"/>
                  <a:gd name="connsiteX67" fmla="*/ 221002 w 4519987"/>
                  <a:gd name="connsiteY67" fmla="*/ 3105150 h 4429225"/>
                  <a:gd name="connsiteX68" fmla="*/ 173377 w 4519987"/>
                  <a:gd name="connsiteY68" fmla="*/ 3019425 h 4429225"/>
                  <a:gd name="connsiteX69" fmla="*/ 144802 w 4519987"/>
                  <a:gd name="connsiteY69" fmla="*/ 2924175 h 4429225"/>
                  <a:gd name="connsiteX70" fmla="*/ 68602 w 4519987"/>
                  <a:gd name="connsiteY70" fmla="*/ 2724150 h 4429225"/>
                  <a:gd name="connsiteX71" fmla="*/ 49552 w 4519987"/>
                  <a:gd name="connsiteY71" fmla="*/ 2638425 h 4429225"/>
                  <a:gd name="connsiteX72" fmla="*/ 40027 w 4519987"/>
                  <a:gd name="connsiteY72" fmla="*/ 2562225 h 4429225"/>
                  <a:gd name="connsiteX73" fmla="*/ 30502 w 4519987"/>
                  <a:gd name="connsiteY73" fmla="*/ 2514600 h 4429225"/>
                  <a:gd name="connsiteX74" fmla="*/ 11452 w 4519987"/>
                  <a:gd name="connsiteY74" fmla="*/ 2400300 h 4429225"/>
                  <a:gd name="connsiteX75" fmla="*/ 20977 w 4519987"/>
                  <a:gd name="connsiteY75" fmla="*/ 1905000 h 4429225"/>
                  <a:gd name="connsiteX76" fmla="*/ 30502 w 4519987"/>
                  <a:gd name="connsiteY76" fmla="*/ 1838325 h 4429225"/>
                  <a:gd name="connsiteX77" fmla="*/ 49552 w 4519987"/>
                  <a:gd name="connsiteY77" fmla="*/ 1781175 h 4429225"/>
                  <a:gd name="connsiteX78" fmla="*/ 59077 w 4519987"/>
                  <a:gd name="connsiteY78" fmla="*/ 1743075 h 4429225"/>
                  <a:gd name="connsiteX79" fmla="*/ 78127 w 4519987"/>
                  <a:gd name="connsiteY79" fmla="*/ 1685925 h 4429225"/>
                  <a:gd name="connsiteX80" fmla="*/ 87652 w 4519987"/>
                  <a:gd name="connsiteY80" fmla="*/ 1638300 h 4429225"/>
                  <a:gd name="connsiteX81" fmla="*/ 106702 w 4519987"/>
                  <a:gd name="connsiteY81" fmla="*/ 1590675 h 4429225"/>
                  <a:gd name="connsiteX82" fmla="*/ 135277 w 4519987"/>
                  <a:gd name="connsiteY82" fmla="*/ 1504950 h 4429225"/>
                  <a:gd name="connsiteX83" fmla="*/ 154327 w 4519987"/>
                  <a:gd name="connsiteY83" fmla="*/ 1419225 h 4429225"/>
                  <a:gd name="connsiteX84" fmla="*/ 230527 w 4519987"/>
                  <a:gd name="connsiteY84" fmla="*/ 1276350 h 4429225"/>
                  <a:gd name="connsiteX85" fmla="*/ 240052 w 4519987"/>
                  <a:gd name="connsiteY85" fmla="*/ 1247775 h 4429225"/>
                  <a:gd name="connsiteX86" fmla="*/ 268627 w 4519987"/>
                  <a:gd name="connsiteY86" fmla="*/ 1200150 h 4429225"/>
                  <a:gd name="connsiteX87" fmla="*/ 287677 w 4519987"/>
                  <a:gd name="connsiteY87" fmla="*/ 1152525 h 4429225"/>
                  <a:gd name="connsiteX88" fmla="*/ 316252 w 4519987"/>
                  <a:gd name="connsiteY88" fmla="*/ 1114425 h 4429225"/>
                  <a:gd name="connsiteX89" fmla="*/ 363877 w 4519987"/>
                  <a:gd name="connsiteY89" fmla="*/ 1038225 h 4429225"/>
                  <a:gd name="connsiteX90" fmla="*/ 382927 w 4519987"/>
                  <a:gd name="connsiteY90" fmla="*/ 1009650 h 4429225"/>
                  <a:gd name="connsiteX91" fmla="*/ 440077 w 4519987"/>
                  <a:gd name="connsiteY91" fmla="*/ 904875 h 4429225"/>
                  <a:gd name="connsiteX92" fmla="*/ 478177 w 4519987"/>
                  <a:gd name="connsiteY92" fmla="*/ 857250 h 4429225"/>
                  <a:gd name="connsiteX93" fmla="*/ 497227 w 4519987"/>
                  <a:gd name="connsiteY93" fmla="*/ 828675 h 4429225"/>
                  <a:gd name="connsiteX94" fmla="*/ 535327 w 4519987"/>
                  <a:gd name="connsiteY94" fmla="*/ 800100 h 4429225"/>
                  <a:gd name="connsiteX95" fmla="*/ 602002 w 4519987"/>
                  <a:gd name="connsiteY95" fmla="*/ 733425 h 4429225"/>
                  <a:gd name="connsiteX96" fmla="*/ 668677 w 4519987"/>
                  <a:gd name="connsiteY96" fmla="*/ 676275 h 4429225"/>
                  <a:gd name="connsiteX97" fmla="*/ 697252 w 4519987"/>
                  <a:gd name="connsiteY97" fmla="*/ 657225 h 4429225"/>
                  <a:gd name="connsiteX98" fmla="*/ 840127 w 4519987"/>
                  <a:gd name="connsiteY98" fmla="*/ 533400 h 4429225"/>
                  <a:gd name="connsiteX99" fmla="*/ 887752 w 4519987"/>
                  <a:gd name="connsiteY99" fmla="*/ 504825 h 4429225"/>
                  <a:gd name="connsiteX100" fmla="*/ 1167152 w 4519987"/>
                  <a:gd name="connsiteY100" fmla="*/ 311150 h 4429225"/>
                  <a:gd name="connsiteX101" fmla="*/ 1268752 w 4519987"/>
                  <a:gd name="connsiteY101" fmla="*/ 285750 h 4429225"/>
                  <a:gd name="connsiteX102" fmla="*/ 1411627 w 4519987"/>
                  <a:gd name="connsiteY102" fmla="*/ 190500 h 4429225"/>
                  <a:gd name="connsiteX103" fmla="*/ 1449727 w 4519987"/>
                  <a:gd name="connsiteY103" fmla="*/ 161925 h 4429225"/>
                  <a:gd name="connsiteX104" fmla="*/ 1525927 w 4519987"/>
                  <a:gd name="connsiteY104" fmla="*/ 152400 h 4429225"/>
                  <a:gd name="connsiteX105" fmla="*/ 1583077 w 4519987"/>
                  <a:gd name="connsiteY105" fmla="*/ 142875 h 4429225"/>
                  <a:gd name="connsiteX106" fmla="*/ 1716427 w 4519987"/>
                  <a:gd name="connsiteY106" fmla="*/ 123825 h 4429225"/>
                  <a:gd name="connsiteX107" fmla="*/ 1811677 w 4519987"/>
                  <a:gd name="connsiteY107" fmla="*/ 114300 h 4429225"/>
                  <a:gd name="connsiteX108" fmla="*/ 1859302 w 4519987"/>
                  <a:gd name="connsiteY108" fmla="*/ 104775 h 4429225"/>
                  <a:gd name="connsiteX109" fmla="*/ 1916452 w 4519987"/>
                  <a:gd name="connsiteY109" fmla="*/ 95250 h 4429225"/>
                  <a:gd name="connsiteX110" fmla="*/ 2030752 w 4519987"/>
                  <a:gd name="connsiteY110" fmla="*/ 66675 h 4429225"/>
                  <a:gd name="connsiteX111" fmla="*/ 2097427 w 4519987"/>
                  <a:gd name="connsiteY111" fmla="*/ 47625 h 4429225"/>
                  <a:gd name="connsiteX112" fmla="*/ 2164102 w 4519987"/>
                  <a:gd name="connsiteY112" fmla="*/ 38100 h 4429225"/>
                  <a:gd name="connsiteX113" fmla="*/ 2392702 w 4519987"/>
                  <a:gd name="connsiteY113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221127 w 4519987"/>
                  <a:gd name="connsiteY47" fmla="*/ 4200525 h 4429225"/>
                  <a:gd name="connsiteX48" fmla="*/ 1144927 w 4519987"/>
                  <a:gd name="connsiteY48" fmla="*/ 4171950 h 4429225"/>
                  <a:gd name="connsiteX49" fmla="*/ 1087777 w 4519987"/>
                  <a:gd name="connsiteY49" fmla="*/ 4143375 h 4429225"/>
                  <a:gd name="connsiteX50" fmla="*/ 1030627 w 4519987"/>
                  <a:gd name="connsiteY50" fmla="*/ 4124325 h 4429225"/>
                  <a:gd name="connsiteX51" fmla="*/ 925852 w 4519987"/>
                  <a:gd name="connsiteY51" fmla="*/ 4067175 h 4429225"/>
                  <a:gd name="connsiteX52" fmla="*/ 830602 w 4519987"/>
                  <a:gd name="connsiteY52" fmla="*/ 3981450 h 4429225"/>
                  <a:gd name="connsiteX53" fmla="*/ 763927 w 4519987"/>
                  <a:gd name="connsiteY53" fmla="*/ 3914775 h 4429225"/>
                  <a:gd name="connsiteX54" fmla="*/ 725827 w 4519987"/>
                  <a:gd name="connsiteY54" fmla="*/ 3876675 h 4429225"/>
                  <a:gd name="connsiteX55" fmla="*/ 697252 w 4519987"/>
                  <a:gd name="connsiteY55" fmla="*/ 3838575 h 4429225"/>
                  <a:gd name="connsiteX56" fmla="*/ 640102 w 4519987"/>
                  <a:gd name="connsiteY56" fmla="*/ 3781425 h 4429225"/>
                  <a:gd name="connsiteX57" fmla="*/ 611527 w 4519987"/>
                  <a:gd name="connsiteY57" fmla="*/ 3733800 h 4429225"/>
                  <a:gd name="connsiteX58" fmla="*/ 554377 w 4519987"/>
                  <a:gd name="connsiteY58" fmla="*/ 3657600 h 4429225"/>
                  <a:gd name="connsiteX59" fmla="*/ 525802 w 4519987"/>
                  <a:gd name="connsiteY59" fmla="*/ 3609975 h 4429225"/>
                  <a:gd name="connsiteX60" fmla="*/ 497227 w 4519987"/>
                  <a:gd name="connsiteY60" fmla="*/ 3552825 h 4429225"/>
                  <a:gd name="connsiteX61" fmla="*/ 440077 w 4519987"/>
                  <a:gd name="connsiteY61" fmla="*/ 3495675 h 4429225"/>
                  <a:gd name="connsiteX62" fmla="*/ 411502 w 4519987"/>
                  <a:gd name="connsiteY62" fmla="*/ 3448050 h 4429225"/>
                  <a:gd name="connsiteX63" fmla="*/ 278152 w 4519987"/>
                  <a:gd name="connsiteY63" fmla="*/ 3257550 h 4429225"/>
                  <a:gd name="connsiteX64" fmla="*/ 249577 w 4519987"/>
                  <a:gd name="connsiteY64" fmla="*/ 3200400 h 4429225"/>
                  <a:gd name="connsiteX65" fmla="*/ 240052 w 4519987"/>
                  <a:gd name="connsiteY65" fmla="*/ 3162300 h 4429225"/>
                  <a:gd name="connsiteX66" fmla="*/ 221002 w 4519987"/>
                  <a:gd name="connsiteY66" fmla="*/ 3105150 h 4429225"/>
                  <a:gd name="connsiteX67" fmla="*/ 173377 w 4519987"/>
                  <a:gd name="connsiteY67" fmla="*/ 3019425 h 4429225"/>
                  <a:gd name="connsiteX68" fmla="*/ 144802 w 4519987"/>
                  <a:gd name="connsiteY68" fmla="*/ 2924175 h 4429225"/>
                  <a:gd name="connsiteX69" fmla="*/ 68602 w 4519987"/>
                  <a:gd name="connsiteY69" fmla="*/ 2724150 h 4429225"/>
                  <a:gd name="connsiteX70" fmla="*/ 49552 w 4519987"/>
                  <a:gd name="connsiteY70" fmla="*/ 2638425 h 4429225"/>
                  <a:gd name="connsiteX71" fmla="*/ 40027 w 4519987"/>
                  <a:gd name="connsiteY71" fmla="*/ 2562225 h 4429225"/>
                  <a:gd name="connsiteX72" fmla="*/ 30502 w 4519987"/>
                  <a:gd name="connsiteY72" fmla="*/ 2514600 h 4429225"/>
                  <a:gd name="connsiteX73" fmla="*/ 11452 w 4519987"/>
                  <a:gd name="connsiteY73" fmla="*/ 2400300 h 4429225"/>
                  <a:gd name="connsiteX74" fmla="*/ 20977 w 4519987"/>
                  <a:gd name="connsiteY74" fmla="*/ 1905000 h 4429225"/>
                  <a:gd name="connsiteX75" fmla="*/ 30502 w 4519987"/>
                  <a:gd name="connsiteY75" fmla="*/ 1838325 h 4429225"/>
                  <a:gd name="connsiteX76" fmla="*/ 49552 w 4519987"/>
                  <a:gd name="connsiteY76" fmla="*/ 1781175 h 4429225"/>
                  <a:gd name="connsiteX77" fmla="*/ 59077 w 4519987"/>
                  <a:gd name="connsiteY77" fmla="*/ 1743075 h 4429225"/>
                  <a:gd name="connsiteX78" fmla="*/ 78127 w 4519987"/>
                  <a:gd name="connsiteY78" fmla="*/ 1685925 h 4429225"/>
                  <a:gd name="connsiteX79" fmla="*/ 87652 w 4519987"/>
                  <a:gd name="connsiteY79" fmla="*/ 1638300 h 4429225"/>
                  <a:gd name="connsiteX80" fmla="*/ 106702 w 4519987"/>
                  <a:gd name="connsiteY80" fmla="*/ 1590675 h 4429225"/>
                  <a:gd name="connsiteX81" fmla="*/ 135277 w 4519987"/>
                  <a:gd name="connsiteY81" fmla="*/ 1504950 h 4429225"/>
                  <a:gd name="connsiteX82" fmla="*/ 154327 w 4519987"/>
                  <a:gd name="connsiteY82" fmla="*/ 1419225 h 4429225"/>
                  <a:gd name="connsiteX83" fmla="*/ 230527 w 4519987"/>
                  <a:gd name="connsiteY83" fmla="*/ 1276350 h 4429225"/>
                  <a:gd name="connsiteX84" fmla="*/ 240052 w 4519987"/>
                  <a:gd name="connsiteY84" fmla="*/ 1247775 h 4429225"/>
                  <a:gd name="connsiteX85" fmla="*/ 268627 w 4519987"/>
                  <a:gd name="connsiteY85" fmla="*/ 1200150 h 4429225"/>
                  <a:gd name="connsiteX86" fmla="*/ 287677 w 4519987"/>
                  <a:gd name="connsiteY86" fmla="*/ 1152525 h 4429225"/>
                  <a:gd name="connsiteX87" fmla="*/ 316252 w 4519987"/>
                  <a:gd name="connsiteY87" fmla="*/ 1114425 h 4429225"/>
                  <a:gd name="connsiteX88" fmla="*/ 363877 w 4519987"/>
                  <a:gd name="connsiteY88" fmla="*/ 1038225 h 4429225"/>
                  <a:gd name="connsiteX89" fmla="*/ 382927 w 4519987"/>
                  <a:gd name="connsiteY89" fmla="*/ 1009650 h 4429225"/>
                  <a:gd name="connsiteX90" fmla="*/ 440077 w 4519987"/>
                  <a:gd name="connsiteY90" fmla="*/ 904875 h 4429225"/>
                  <a:gd name="connsiteX91" fmla="*/ 478177 w 4519987"/>
                  <a:gd name="connsiteY91" fmla="*/ 857250 h 4429225"/>
                  <a:gd name="connsiteX92" fmla="*/ 497227 w 4519987"/>
                  <a:gd name="connsiteY92" fmla="*/ 828675 h 4429225"/>
                  <a:gd name="connsiteX93" fmla="*/ 535327 w 4519987"/>
                  <a:gd name="connsiteY93" fmla="*/ 800100 h 4429225"/>
                  <a:gd name="connsiteX94" fmla="*/ 602002 w 4519987"/>
                  <a:gd name="connsiteY94" fmla="*/ 733425 h 4429225"/>
                  <a:gd name="connsiteX95" fmla="*/ 668677 w 4519987"/>
                  <a:gd name="connsiteY95" fmla="*/ 676275 h 4429225"/>
                  <a:gd name="connsiteX96" fmla="*/ 697252 w 4519987"/>
                  <a:gd name="connsiteY96" fmla="*/ 657225 h 4429225"/>
                  <a:gd name="connsiteX97" fmla="*/ 840127 w 4519987"/>
                  <a:gd name="connsiteY97" fmla="*/ 533400 h 4429225"/>
                  <a:gd name="connsiteX98" fmla="*/ 887752 w 4519987"/>
                  <a:gd name="connsiteY98" fmla="*/ 504825 h 4429225"/>
                  <a:gd name="connsiteX99" fmla="*/ 1167152 w 4519987"/>
                  <a:gd name="connsiteY99" fmla="*/ 311150 h 4429225"/>
                  <a:gd name="connsiteX100" fmla="*/ 1268752 w 4519987"/>
                  <a:gd name="connsiteY100" fmla="*/ 285750 h 4429225"/>
                  <a:gd name="connsiteX101" fmla="*/ 1411627 w 4519987"/>
                  <a:gd name="connsiteY101" fmla="*/ 190500 h 4429225"/>
                  <a:gd name="connsiteX102" fmla="*/ 1449727 w 4519987"/>
                  <a:gd name="connsiteY102" fmla="*/ 161925 h 4429225"/>
                  <a:gd name="connsiteX103" fmla="*/ 1525927 w 4519987"/>
                  <a:gd name="connsiteY103" fmla="*/ 152400 h 4429225"/>
                  <a:gd name="connsiteX104" fmla="*/ 1583077 w 4519987"/>
                  <a:gd name="connsiteY104" fmla="*/ 142875 h 4429225"/>
                  <a:gd name="connsiteX105" fmla="*/ 1716427 w 4519987"/>
                  <a:gd name="connsiteY105" fmla="*/ 123825 h 4429225"/>
                  <a:gd name="connsiteX106" fmla="*/ 1811677 w 4519987"/>
                  <a:gd name="connsiteY106" fmla="*/ 114300 h 4429225"/>
                  <a:gd name="connsiteX107" fmla="*/ 1859302 w 4519987"/>
                  <a:gd name="connsiteY107" fmla="*/ 104775 h 4429225"/>
                  <a:gd name="connsiteX108" fmla="*/ 1916452 w 4519987"/>
                  <a:gd name="connsiteY108" fmla="*/ 95250 h 4429225"/>
                  <a:gd name="connsiteX109" fmla="*/ 2030752 w 4519987"/>
                  <a:gd name="connsiteY109" fmla="*/ 66675 h 4429225"/>
                  <a:gd name="connsiteX110" fmla="*/ 2097427 w 4519987"/>
                  <a:gd name="connsiteY110" fmla="*/ 47625 h 4429225"/>
                  <a:gd name="connsiteX111" fmla="*/ 2164102 w 4519987"/>
                  <a:gd name="connsiteY111" fmla="*/ 38100 h 4429225"/>
                  <a:gd name="connsiteX112" fmla="*/ 2392702 w 4519987"/>
                  <a:gd name="connsiteY112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221127 w 4519987"/>
                  <a:gd name="connsiteY47" fmla="*/ 4200525 h 4429225"/>
                  <a:gd name="connsiteX48" fmla="*/ 1087777 w 4519987"/>
                  <a:gd name="connsiteY48" fmla="*/ 4143375 h 4429225"/>
                  <a:gd name="connsiteX49" fmla="*/ 1030627 w 4519987"/>
                  <a:gd name="connsiteY49" fmla="*/ 4124325 h 4429225"/>
                  <a:gd name="connsiteX50" fmla="*/ 925852 w 4519987"/>
                  <a:gd name="connsiteY50" fmla="*/ 4067175 h 4429225"/>
                  <a:gd name="connsiteX51" fmla="*/ 830602 w 4519987"/>
                  <a:gd name="connsiteY51" fmla="*/ 3981450 h 4429225"/>
                  <a:gd name="connsiteX52" fmla="*/ 763927 w 4519987"/>
                  <a:gd name="connsiteY52" fmla="*/ 3914775 h 4429225"/>
                  <a:gd name="connsiteX53" fmla="*/ 725827 w 4519987"/>
                  <a:gd name="connsiteY53" fmla="*/ 3876675 h 4429225"/>
                  <a:gd name="connsiteX54" fmla="*/ 697252 w 4519987"/>
                  <a:gd name="connsiteY54" fmla="*/ 3838575 h 4429225"/>
                  <a:gd name="connsiteX55" fmla="*/ 640102 w 4519987"/>
                  <a:gd name="connsiteY55" fmla="*/ 3781425 h 4429225"/>
                  <a:gd name="connsiteX56" fmla="*/ 611527 w 4519987"/>
                  <a:gd name="connsiteY56" fmla="*/ 3733800 h 4429225"/>
                  <a:gd name="connsiteX57" fmla="*/ 554377 w 4519987"/>
                  <a:gd name="connsiteY57" fmla="*/ 3657600 h 4429225"/>
                  <a:gd name="connsiteX58" fmla="*/ 525802 w 4519987"/>
                  <a:gd name="connsiteY58" fmla="*/ 3609975 h 4429225"/>
                  <a:gd name="connsiteX59" fmla="*/ 497227 w 4519987"/>
                  <a:gd name="connsiteY59" fmla="*/ 3552825 h 4429225"/>
                  <a:gd name="connsiteX60" fmla="*/ 440077 w 4519987"/>
                  <a:gd name="connsiteY60" fmla="*/ 3495675 h 4429225"/>
                  <a:gd name="connsiteX61" fmla="*/ 411502 w 4519987"/>
                  <a:gd name="connsiteY61" fmla="*/ 3448050 h 4429225"/>
                  <a:gd name="connsiteX62" fmla="*/ 278152 w 4519987"/>
                  <a:gd name="connsiteY62" fmla="*/ 3257550 h 4429225"/>
                  <a:gd name="connsiteX63" fmla="*/ 249577 w 4519987"/>
                  <a:gd name="connsiteY63" fmla="*/ 3200400 h 4429225"/>
                  <a:gd name="connsiteX64" fmla="*/ 240052 w 4519987"/>
                  <a:gd name="connsiteY64" fmla="*/ 3162300 h 4429225"/>
                  <a:gd name="connsiteX65" fmla="*/ 221002 w 4519987"/>
                  <a:gd name="connsiteY65" fmla="*/ 3105150 h 4429225"/>
                  <a:gd name="connsiteX66" fmla="*/ 173377 w 4519987"/>
                  <a:gd name="connsiteY66" fmla="*/ 3019425 h 4429225"/>
                  <a:gd name="connsiteX67" fmla="*/ 144802 w 4519987"/>
                  <a:gd name="connsiteY67" fmla="*/ 2924175 h 4429225"/>
                  <a:gd name="connsiteX68" fmla="*/ 68602 w 4519987"/>
                  <a:gd name="connsiteY68" fmla="*/ 2724150 h 4429225"/>
                  <a:gd name="connsiteX69" fmla="*/ 49552 w 4519987"/>
                  <a:gd name="connsiteY69" fmla="*/ 2638425 h 4429225"/>
                  <a:gd name="connsiteX70" fmla="*/ 40027 w 4519987"/>
                  <a:gd name="connsiteY70" fmla="*/ 2562225 h 4429225"/>
                  <a:gd name="connsiteX71" fmla="*/ 30502 w 4519987"/>
                  <a:gd name="connsiteY71" fmla="*/ 2514600 h 4429225"/>
                  <a:gd name="connsiteX72" fmla="*/ 11452 w 4519987"/>
                  <a:gd name="connsiteY72" fmla="*/ 2400300 h 4429225"/>
                  <a:gd name="connsiteX73" fmla="*/ 20977 w 4519987"/>
                  <a:gd name="connsiteY73" fmla="*/ 1905000 h 4429225"/>
                  <a:gd name="connsiteX74" fmla="*/ 30502 w 4519987"/>
                  <a:gd name="connsiteY74" fmla="*/ 1838325 h 4429225"/>
                  <a:gd name="connsiteX75" fmla="*/ 49552 w 4519987"/>
                  <a:gd name="connsiteY75" fmla="*/ 1781175 h 4429225"/>
                  <a:gd name="connsiteX76" fmla="*/ 59077 w 4519987"/>
                  <a:gd name="connsiteY76" fmla="*/ 1743075 h 4429225"/>
                  <a:gd name="connsiteX77" fmla="*/ 78127 w 4519987"/>
                  <a:gd name="connsiteY77" fmla="*/ 1685925 h 4429225"/>
                  <a:gd name="connsiteX78" fmla="*/ 87652 w 4519987"/>
                  <a:gd name="connsiteY78" fmla="*/ 1638300 h 4429225"/>
                  <a:gd name="connsiteX79" fmla="*/ 106702 w 4519987"/>
                  <a:gd name="connsiteY79" fmla="*/ 1590675 h 4429225"/>
                  <a:gd name="connsiteX80" fmla="*/ 135277 w 4519987"/>
                  <a:gd name="connsiteY80" fmla="*/ 1504950 h 4429225"/>
                  <a:gd name="connsiteX81" fmla="*/ 154327 w 4519987"/>
                  <a:gd name="connsiteY81" fmla="*/ 1419225 h 4429225"/>
                  <a:gd name="connsiteX82" fmla="*/ 230527 w 4519987"/>
                  <a:gd name="connsiteY82" fmla="*/ 1276350 h 4429225"/>
                  <a:gd name="connsiteX83" fmla="*/ 240052 w 4519987"/>
                  <a:gd name="connsiteY83" fmla="*/ 1247775 h 4429225"/>
                  <a:gd name="connsiteX84" fmla="*/ 268627 w 4519987"/>
                  <a:gd name="connsiteY84" fmla="*/ 1200150 h 4429225"/>
                  <a:gd name="connsiteX85" fmla="*/ 287677 w 4519987"/>
                  <a:gd name="connsiteY85" fmla="*/ 1152525 h 4429225"/>
                  <a:gd name="connsiteX86" fmla="*/ 316252 w 4519987"/>
                  <a:gd name="connsiteY86" fmla="*/ 1114425 h 4429225"/>
                  <a:gd name="connsiteX87" fmla="*/ 363877 w 4519987"/>
                  <a:gd name="connsiteY87" fmla="*/ 1038225 h 4429225"/>
                  <a:gd name="connsiteX88" fmla="*/ 382927 w 4519987"/>
                  <a:gd name="connsiteY88" fmla="*/ 1009650 h 4429225"/>
                  <a:gd name="connsiteX89" fmla="*/ 440077 w 4519987"/>
                  <a:gd name="connsiteY89" fmla="*/ 904875 h 4429225"/>
                  <a:gd name="connsiteX90" fmla="*/ 478177 w 4519987"/>
                  <a:gd name="connsiteY90" fmla="*/ 857250 h 4429225"/>
                  <a:gd name="connsiteX91" fmla="*/ 497227 w 4519987"/>
                  <a:gd name="connsiteY91" fmla="*/ 828675 h 4429225"/>
                  <a:gd name="connsiteX92" fmla="*/ 535327 w 4519987"/>
                  <a:gd name="connsiteY92" fmla="*/ 800100 h 4429225"/>
                  <a:gd name="connsiteX93" fmla="*/ 602002 w 4519987"/>
                  <a:gd name="connsiteY93" fmla="*/ 733425 h 4429225"/>
                  <a:gd name="connsiteX94" fmla="*/ 668677 w 4519987"/>
                  <a:gd name="connsiteY94" fmla="*/ 676275 h 4429225"/>
                  <a:gd name="connsiteX95" fmla="*/ 697252 w 4519987"/>
                  <a:gd name="connsiteY95" fmla="*/ 657225 h 4429225"/>
                  <a:gd name="connsiteX96" fmla="*/ 840127 w 4519987"/>
                  <a:gd name="connsiteY96" fmla="*/ 533400 h 4429225"/>
                  <a:gd name="connsiteX97" fmla="*/ 887752 w 4519987"/>
                  <a:gd name="connsiteY97" fmla="*/ 504825 h 4429225"/>
                  <a:gd name="connsiteX98" fmla="*/ 1167152 w 4519987"/>
                  <a:gd name="connsiteY98" fmla="*/ 311150 h 4429225"/>
                  <a:gd name="connsiteX99" fmla="*/ 1268752 w 4519987"/>
                  <a:gd name="connsiteY99" fmla="*/ 285750 h 4429225"/>
                  <a:gd name="connsiteX100" fmla="*/ 1411627 w 4519987"/>
                  <a:gd name="connsiteY100" fmla="*/ 190500 h 4429225"/>
                  <a:gd name="connsiteX101" fmla="*/ 1449727 w 4519987"/>
                  <a:gd name="connsiteY101" fmla="*/ 161925 h 4429225"/>
                  <a:gd name="connsiteX102" fmla="*/ 1525927 w 4519987"/>
                  <a:gd name="connsiteY102" fmla="*/ 152400 h 4429225"/>
                  <a:gd name="connsiteX103" fmla="*/ 1583077 w 4519987"/>
                  <a:gd name="connsiteY103" fmla="*/ 142875 h 4429225"/>
                  <a:gd name="connsiteX104" fmla="*/ 1716427 w 4519987"/>
                  <a:gd name="connsiteY104" fmla="*/ 123825 h 4429225"/>
                  <a:gd name="connsiteX105" fmla="*/ 1811677 w 4519987"/>
                  <a:gd name="connsiteY105" fmla="*/ 114300 h 4429225"/>
                  <a:gd name="connsiteX106" fmla="*/ 1859302 w 4519987"/>
                  <a:gd name="connsiteY106" fmla="*/ 104775 h 4429225"/>
                  <a:gd name="connsiteX107" fmla="*/ 1916452 w 4519987"/>
                  <a:gd name="connsiteY107" fmla="*/ 95250 h 4429225"/>
                  <a:gd name="connsiteX108" fmla="*/ 2030752 w 4519987"/>
                  <a:gd name="connsiteY108" fmla="*/ 66675 h 4429225"/>
                  <a:gd name="connsiteX109" fmla="*/ 2097427 w 4519987"/>
                  <a:gd name="connsiteY109" fmla="*/ 47625 h 4429225"/>
                  <a:gd name="connsiteX110" fmla="*/ 2164102 w 4519987"/>
                  <a:gd name="connsiteY110" fmla="*/ 38100 h 4429225"/>
                  <a:gd name="connsiteX111" fmla="*/ 2392702 w 4519987"/>
                  <a:gd name="connsiteY111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1030627 w 4519987"/>
                  <a:gd name="connsiteY48" fmla="*/ 4124325 h 4429225"/>
                  <a:gd name="connsiteX49" fmla="*/ 925852 w 4519987"/>
                  <a:gd name="connsiteY49" fmla="*/ 4067175 h 4429225"/>
                  <a:gd name="connsiteX50" fmla="*/ 830602 w 4519987"/>
                  <a:gd name="connsiteY50" fmla="*/ 3981450 h 4429225"/>
                  <a:gd name="connsiteX51" fmla="*/ 763927 w 4519987"/>
                  <a:gd name="connsiteY51" fmla="*/ 3914775 h 4429225"/>
                  <a:gd name="connsiteX52" fmla="*/ 725827 w 4519987"/>
                  <a:gd name="connsiteY52" fmla="*/ 3876675 h 4429225"/>
                  <a:gd name="connsiteX53" fmla="*/ 697252 w 4519987"/>
                  <a:gd name="connsiteY53" fmla="*/ 3838575 h 4429225"/>
                  <a:gd name="connsiteX54" fmla="*/ 640102 w 4519987"/>
                  <a:gd name="connsiteY54" fmla="*/ 3781425 h 4429225"/>
                  <a:gd name="connsiteX55" fmla="*/ 611527 w 4519987"/>
                  <a:gd name="connsiteY55" fmla="*/ 3733800 h 4429225"/>
                  <a:gd name="connsiteX56" fmla="*/ 554377 w 4519987"/>
                  <a:gd name="connsiteY56" fmla="*/ 3657600 h 4429225"/>
                  <a:gd name="connsiteX57" fmla="*/ 525802 w 4519987"/>
                  <a:gd name="connsiteY57" fmla="*/ 3609975 h 4429225"/>
                  <a:gd name="connsiteX58" fmla="*/ 497227 w 4519987"/>
                  <a:gd name="connsiteY58" fmla="*/ 3552825 h 4429225"/>
                  <a:gd name="connsiteX59" fmla="*/ 440077 w 4519987"/>
                  <a:gd name="connsiteY59" fmla="*/ 3495675 h 4429225"/>
                  <a:gd name="connsiteX60" fmla="*/ 411502 w 4519987"/>
                  <a:gd name="connsiteY60" fmla="*/ 3448050 h 4429225"/>
                  <a:gd name="connsiteX61" fmla="*/ 278152 w 4519987"/>
                  <a:gd name="connsiteY61" fmla="*/ 3257550 h 4429225"/>
                  <a:gd name="connsiteX62" fmla="*/ 249577 w 4519987"/>
                  <a:gd name="connsiteY62" fmla="*/ 3200400 h 4429225"/>
                  <a:gd name="connsiteX63" fmla="*/ 240052 w 4519987"/>
                  <a:gd name="connsiteY63" fmla="*/ 3162300 h 4429225"/>
                  <a:gd name="connsiteX64" fmla="*/ 221002 w 4519987"/>
                  <a:gd name="connsiteY64" fmla="*/ 3105150 h 4429225"/>
                  <a:gd name="connsiteX65" fmla="*/ 173377 w 4519987"/>
                  <a:gd name="connsiteY65" fmla="*/ 3019425 h 4429225"/>
                  <a:gd name="connsiteX66" fmla="*/ 144802 w 4519987"/>
                  <a:gd name="connsiteY66" fmla="*/ 2924175 h 4429225"/>
                  <a:gd name="connsiteX67" fmla="*/ 68602 w 4519987"/>
                  <a:gd name="connsiteY67" fmla="*/ 2724150 h 4429225"/>
                  <a:gd name="connsiteX68" fmla="*/ 49552 w 4519987"/>
                  <a:gd name="connsiteY68" fmla="*/ 2638425 h 4429225"/>
                  <a:gd name="connsiteX69" fmla="*/ 40027 w 4519987"/>
                  <a:gd name="connsiteY69" fmla="*/ 2562225 h 4429225"/>
                  <a:gd name="connsiteX70" fmla="*/ 30502 w 4519987"/>
                  <a:gd name="connsiteY70" fmla="*/ 2514600 h 4429225"/>
                  <a:gd name="connsiteX71" fmla="*/ 11452 w 4519987"/>
                  <a:gd name="connsiteY71" fmla="*/ 2400300 h 4429225"/>
                  <a:gd name="connsiteX72" fmla="*/ 20977 w 4519987"/>
                  <a:gd name="connsiteY72" fmla="*/ 1905000 h 4429225"/>
                  <a:gd name="connsiteX73" fmla="*/ 30502 w 4519987"/>
                  <a:gd name="connsiteY73" fmla="*/ 1838325 h 4429225"/>
                  <a:gd name="connsiteX74" fmla="*/ 49552 w 4519987"/>
                  <a:gd name="connsiteY74" fmla="*/ 1781175 h 4429225"/>
                  <a:gd name="connsiteX75" fmla="*/ 59077 w 4519987"/>
                  <a:gd name="connsiteY75" fmla="*/ 1743075 h 4429225"/>
                  <a:gd name="connsiteX76" fmla="*/ 78127 w 4519987"/>
                  <a:gd name="connsiteY76" fmla="*/ 1685925 h 4429225"/>
                  <a:gd name="connsiteX77" fmla="*/ 87652 w 4519987"/>
                  <a:gd name="connsiteY77" fmla="*/ 1638300 h 4429225"/>
                  <a:gd name="connsiteX78" fmla="*/ 106702 w 4519987"/>
                  <a:gd name="connsiteY78" fmla="*/ 1590675 h 4429225"/>
                  <a:gd name="connsiteX79" fmla="*/ 135277 w 4519987"/>
                  <a:gd name="connsiteY79" fmla="*/ 1504950 h 4429225"/>
                  <a:gd name="connsiteX80" fmla="*/ 154327 w 4519987"/>
                  <a:gd name="connsiteY80" fmla="*/ 1419225 h 4429225"/>
                  <a:gd name="connsiteX81" fmla="*/ 230527 w 4519987"/>
                  <a:gd name="connsiteY81" fmla="*/ 1276350 h 4429225"/>
                  <a:gd name="connsiteX82" fmla="*/ 240052 w 4519987"/>
                  <a:gd name="connsiteY82" fmla="*/ 1247775 h 4429225"/>
                  <a:gd name="connsiteX83" fmla="*/ 268627 w 4519987"/>
                  <a:gd name="connsiteY83" fmla="*/ 1200150 h 4429225"/>
                  <a:gd name="connsiteX84" fmla="*/ 287677 w 4519987"/>
                  <a:gd name="connsiteY84" fmla="*/ 1152525 h 4429225"/>
                  <a:gd name="connsiteX85" fmla="*/ 316252 w 4519987"/>
                  <a:gd name="connsiteY85" fmla="*/ 1114425 h 4429225"/>
                  <a:gd name="connsiteX86" fmla="*/ 363877 w 4519987"/>
                  <a:gd name="connsiteY86" fmla="*/ 1038225 h 4429225"/>
                  <a:gd name="connsiteX87" fmla="*/ 382927 w 4519987"/>
                  <a:gd name="connsiteY87" fmla="*/ 1009650 h 4429225"/>
                  <a:gd name="connsiteX88" fmla="*/ 440077 w 4519987"/>
                  <a:gd name="connsiteY88" fmla="*/ 904875 h 4429225"/>
                  <a:gd name="connsiteX89" fmla="*/ 478177 w 4519987"/>
                  <a:gd name="connsiteY89" fmla="*/ 857250 h 4429225"/>
                  <a:gd name="connsiteX90" fmla="*/ 497227 w 4519987"/>
                  <a:gd name="connsiteY90" fmla="*/ 828675 h 4429225"/>
                  <a:gd name="connsiteX91" fmla="*/ 535327 w 4519987"/>
                  <a:gd name="connsiteY91" fmla="*/ 800100 h 4429225"/>
                  <a:gd name="connsiteX92" fmla="*/ 602002 w 4519987"/>
                  <a:gd name="connsiteY92" fmla="*/ 733425 h 4429225"/>
                  <a:gd name="connsiteX93" fmla="*/ 668677 w 4519987"/>
                  <a:gd name="connsiteY93" fmla="*/ 676275 h 4429225"/>
                  <a:gd name="connsiteX94" fmla="*/ 697252 w 4519987"/>
                  <a:gd name="connsiteY94" fmla="*/ 657225 h 4429225"/>
                  <a:gd name="connsiteX95" fmla="*/ 840127 w 4519987"/>
                  <a:gd name="connsiteY95" fmla="*/ 533400 h 4429225"/>
                  <a:gd name="connsiteX96" fmla="*/ 887752 w 4519987"/>
                  <a:gd name="connsiteY96" fmla="*/ 504825 h 4429225"/>
                  <a:gd name="connsiteX97" fmla="*/ 1167152 w 4519987"/>
                  <a:gd name="connsiteY97" fmla="*/ 311150 h 4429225"/>
                  <a:gd name="connsiteX98" fmla="*/ 1268752 w 4519987"/>
                  <a:gd name="connsiteY98" fmla="*/ 285750 h 4429225"/>
                  <a:gd name="connsiteX99" fmla="*/ 1411627 w 4519987"/>
                  <a:gd name="connsiteY99" fmla="*/ 190500 h 4429225"/>
                  <a:gd name="connsiteX100" fmla="*/ 1449727 w 4519987"/>
                  <a:gd name="connsiteY100" fmla="*/ 161925 h 4429225"/>
                  <a:gd name="connsiteX101" fmla="*/ 1525927 w 4519987"/>
                  <a:gd name="connsiteY101" fmla="*/ 152400 h 4429225"/>
                  <a:gd name="connsiteX102" fmla="*/ 1583077 w 4519987"/>
                  <a:gd name="connsiteY102" fmla="*/ 142875 h 4429225"/>
                  <a:gd name="connsiteX103" fmla="*/ 1716427 w 4519987"/>
                  <a:gd name="connsiteY103" fmla="*/ 123825 h 4429225"/>
                  <a:gd name="connsiteX104" fmla="*/ 1811677 w 4519987"/>
                  <a:gd name="connsiteY104" fmla="*/ 114300 h 4429225"/>
                  <a:gd name="connsiteX105" fmla="*/ 1859302 w 4519987"/>
                  <a:gd name="connsiteY105" fmla="*/ 104775 h 4429225"/>
                  <a:gd name="connsiteX106" fmla="*/ 1916452 w 4519987"/>
                  <a:gd name="connsiteY106" fmla="*/ 95250 h 4429225"/>
                  <a:gd name="connsiteX107" fmla="*/ 2030752 w 4519987"/>
                  <a:gd name="connsiteY107" fmla="*/ 66675 h 4429225"/>
                  <a:gd name="connsiteX108" fmla="*/ 2097427 w 4519987"/>
                  <a:gd name="connsiteY108" fmla="*/ 47625 h 4429225"/>
                  <a:gd name="connsiteX109" fmla="*/ 2164102 w 4519987"/>
                  <a:gd name="connsiteY109" fmla="*/ 38100 h 4429225"/>
                  <a:gd name="connsiteX110" fmla="*/ 2392702 w 4519987"/>
                  <a:gd name="connsiteY110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925852 w 4519987"/>
                  <a:gd name="connsiteY48" fmla="*/ 4067175 h 4429225"/>
                  <a:gd name="connsiteX49" fmla="*/ 830602 w 4519987"/>
                  <a:gd name="connsiteY49" fmla="*/ 3981450 h 4429225"/>
                  <a:gd name="connsiteX50" fmla="*/ 763927 w 4519987"/>
                  <a:gd name="connsiteY50" fmla="*/ 3914775 h 4429225"/>
                  <a:gd name="connsiteX51" fmla="*/ 725827 w 4519987"/>
                  <a:gd name="connsiteY51" fmla="*/ 3876675 h 4429225"/>
                  <a:gd name="connsiteX52" fmla="*/ 697252 w 4519987"/>
                  <a:gd name="connsiteY52" fmla="*/ 3838575 h 4429225"/>
                  <a:gd name="connsiteX53" fmla="*/ 640102 w 4519987"/>
                  <a:gd name="connsiteY53" fmla="*/ 3781425 h 4429225"/>
                  <a:gd name="connsiteX54" fmla="*/ 611527 w 4519987"/>
                  <a:gd name="connsiteY54" fmla="*/ 3733800 h 4429225"/>
                  <a:gd name="connsiteX55" fmla="*/ 554377 w 4519987"/>
                  <a:gd name="connsiteY55" fmla="*/ 3657600 h 4429225"/>
                  <a:gd name="connsiteX56" fmla="*/ 525802 w 4519987"/>
                  <a:gd name="connsiteY56" fmla="*/ 3609975 h 4429225"/>
                  <a:gd name="connsiteX57" fmla="*/ 497227 w 4519987"/>
                  <a:gd name="connsiteY57" fmla="*/ 3552825 h 4429225"/>
                  <a:gd name="connsiteX58" fmla="*/ 440077 w 4519987"/>
                  <a:gd name="connsiteY58" fmla="*/ 3495675 h 4429225"/>
                  <a:gd name="connsiteX59" fmla="*/ 411502 w 4519987"/>
                  <a:gd name="connsiteY59" fmla="*/ 3448050 h 4429225"/>
                  <a:gd name="connsiteX60" fmla="*/ 278152 w 4519987"/>
                  <a:gd name="connsiteY60" fmla="*/ 3257550 h 4429225"/>
                  <a:gd name="connsiteX61" fmla="*/ 249577 w 4519987"/>
                  <a:gd name="connsiteY61" fmla="*/ 3200400 h 4429225"/>
                  <a:gd name="connsiteX62" fmla="*/ 240052 w 4519987"/>
                  <a:gd name="connsiteY62" fmla="*/ 3162300 h 4429225"/>
                  <a:gd name="connsiteX63" fmla="*/ 221002 w 4519987"/>
                  <a:gd name="connsiteY63" fmla="*/ 3105150 h 4429225"/>
                  <a:gd name="connsiteX64" fmla="*/ 173377 w 4519987"/>
                  <a:gd name="connsiteY64" fmla="*/ 3019425 h 4429225"/>
                  <a:gd name="connsiteX65" fmla="*/ 144802 w 4519987"/>
                  <a:gd name="connsiteY65" fmla="*/ 2924175 h 4429225"/>
                  <a:gd name="connsiteX66" fmla="*/ 68602 w 4519987"/>
                  <a:gd name="connsiteY66" fmla="*/ 2724150 h 4429225"/>
                  <a:gd name="connsiteX67" fmla="*/ 49552 w 4519987"/>
                  <a:gd name="connsiteY67" fmla="*/ 2638425 h 4429225"/>
                  <a:gd name="connsiteX68" fmla="*/ 40027 w 4519987"/>
                  <a:gd name="connsiteY68" fmla="*/ 2562225 h 4429225"/>
                  <a:gd name="connsiteX69" fmla="*/ 30502 w 4519987"/>
                  <a:gd name="connsiteY69" fmla="*/ 2514600 h 4429225"/>
                  <a:gd name="connsiteX70" fmla="*/ 11452 w 4519987"/>
                  <a:gd name="connsiteY70" fmla="*/ 2400300 h 4429225"/>
                  <a:gd name="connsiteX71" fmla="*/ 20977 w 4519987"/>
                  <a:gd name="connsiteY71" fmla="*/ 1905000 h 4429225"/>
                  <a:gd name="connsiteX72" fmla="*/ 30502 w 4519987"/>
                  <a:gd name="connsiteY72" fmla="*/ 1838325 h 4429225"/>
                  <a:gd name="connsiteX73" fmla="*/ 49552 w 4519987"/>
                  <a:gd name="connsiteY73" fmla="*/ 1781175 h 4429225"/>
                  <a:gd name="connsiteX74" fmla="*/ 59077 w 4519987"/>
                  <a:gd name="connsiteY74" fmla="*/ 1743075 h 4429225"/>
                  <a:gd name="connsiteX75" fmla="*/ 78127 w 4519987"/>
                  <a:gd name="connsiteY75" fmla="*/ 1685925 h 4429225"/>
                  <a:gd name="connsiteX76" fmla="*/ 87652 w 4519987"/>
                  <a:gd name="connsiteY76" fmla="*/ 1638300 h 4429225"/>
                  <a:gd name="connsiteX77" fmla="*/ 106702 w 4519987"/>
                  <a:gd name="connsiteY77" fmla="*/ 1590675 h 4429225"/>
                  <a:gd name="connsiteX78" fmla="*/ 135277 w 4519987"/>
                  <a:gd name="connsiteY78" fmla="*/ 1504950 h 4429225"/>
                  <a:gd name="connsiteX79" fmla="*/ 154327 w 4519987"/>
                  <a:gd name="connsiteY79" fmla="*/ 1419225 h 4429225"/>
                  <a:gd name="connsiteX80" fmla="*/ 230527 w 4519987"/>
                  <a:gd name="connsiteY80" fmla="*/ 1276350 h 4429225"/>
                  <a:gd name="connsiteX81" fmla="*/ 240052 w 4519987"/>
                  <a:gd name="connsiteY81" fmla="*/ 1247775 h 4429225"/>
                  <a:gd name="connsiteX82" fmla="*/ 268627 w 4519987"/>
                  <a:gd name="connsiteY82" fmla="*/ 1200150 h 4429225"/>
                  <a:gd name="connsiteX83" fmla="*/ 287677 w 4519987"/>
                  <a:gd name="connsiteY83" fmla="*/ 1152525 h 4429225"/>
                  <a:gd name="connsiteX84" fmla="*/ 316252 w 4519987"/>
                  <a:gd name="connsiteY84" fmla="*/ 1114425 h 4429225"/>
                  <a:gd name="connsiteX85" fmla="*/ 363877 w 4519987"/>
                  <a:gd name="connsiteY85" fmla="*/ 1038225 h 4429225"/>
                  <a:gd name="connsiteX86" fmla="*/ 382927 w 4519987"/>
                  <a:gd name="connsiteY86" fmla="*/ 1009650 h 4429225"/>
                  <a:gd name="connsiteX87" fmla="*/ 440077 w 4519987"/>
                  <a:gd name="connsiteY87" fmla="*/ 904875 h 4429225"/>
                  <a:gd name="connsiteX88" fmla="*/ 478177 w 4519987"/>
                  <a:gd name="connsiteY88" fmla="*/ 857250 h 4429225"/>
                  <a:gd name="connsiteX89" fmla="*/ 497227 w 4519987"/>
                  <a:gd name="connsiteY89" fmla="*/ 828675 h 4429225"/>
                  <a:gd name="connsiteX90" fmla="*/ 535327 w 4519987"/>
                  <a:gd name="connsiteY90" fmla="*/ 800100 h 4429225"/>
                  <a:gd name="connsiteX91" fmla="*/ 602002 w 4519987"/>
                  <a:gd name="connsiteY91" fmla="*/ 733425 h 4429225"/>
                  <a:gd name="connsiteX92" fmla="*/ 668677 w 4519987"/>
                  <a:gd name="connsiteY92" fmla="*/ 676275 h 4429225"/>
                  <a:gd name="connsiteX93" fmla="*/ 697252 w 4519987"/>
                  <a:gd name="connsiteY93" fmla="*/ 657225 h 4429225"/>
                  <a:gd name="connsiteX94" fmla="*/ 840127 w 4519987"/>
                  <a:gd name="connsiteY94" fmla="*/ 533400 h 4429225"/>
                  <a:gd name="connsiteX95" fmla="*/ 887752 w 4519987"/>
                  <a:gd name="connsiteY95" fmla="*/ 504825 h 4429225"/>
                  <a:gd name="connsiteX96" fmla="*/ 1167152 w 4519987"/>
                  <a:gd name="connsiteY96" fmla="*/ 311150 h 4429225"/>
                  <a:gd name="connsiteX97" fmla="*/ 1268752 w 4519987"/>
                  <a:gd name="connsiteY97" fmla="*/ 285750 h 4429225"/>
                  <a:gd name="connsiteX98" fmla="*/ 1411627 w 4519987"/>
                  <a:gd name="connsiteY98" fmla="*/ 190500 h 4429225"/>
                  <a:gd name="connsiteX99" fmla="*/ 1449727 w 4519987"/>
                  <a:gd name="connsiteY99" fmla="*/ 161925 h 4429225"/>
                  <a:gd name="connsiteX100" fmla="*/ 1525927 w 4519987"/>
                  <a:gd name="connsiteY100" fmla="*/ 152400 h 4429225"/>
                  <a:gd name="connsiteX101" fmla="*/ 1583077 w 4519987"/>
                  <a:gd name="connsiteY101" fmla="*/ 142875 h 4429225"/>
                  <a:gd name="connsiteX102" fmla="*/ 1716427 w 4519987"/>
                  <a:gd name="connsiteY102" fmla="*/ 123825 h 4429225"/>
                  <a:gd name="connsiteX103" fmla="*/ 1811677 w 4519987"/>
                  <a:gd name="connsiteY103" fmla="*/ 114300 h 4429225"/>
                  <a:gd name="connsiteX104" fmla="*/ 1859302 w 4519987"/>
                  <a:gd name="connsiteY104" fmla="*/ 104775 h 4429225"/>
                  <a:gd name="connsiteX105" fmla="*/ 1916452 w 4519987"/>
                  <a:gd name="connsiteY105" fmla="*/ 95250 h 4429225"/>
                  <a:gd name="connsiteX106" fmla="*/ 2030752 w 4519987"/>
                  <a:gd name="connsiteY106" fmla="*/ 66675 h 4429225"/>
                  <a:gd name="connsiteX107" fmla="*/ 2097427 w 4519987"/>
                  <a:gd name="connsiteY107" fmla="*/ 47625 h 4429225"/>
                  <a:gd name="connsiteX108" fmla="*/ 2164102 w 4519987"/>
                  <a:gd name="connsiteY108" fmla="*/ 38100 h 4429225"/>
                  <a:gd name="connsiteX109" fmla="*/ 2392702 w 4519987"/>
                  <a:gd name="connsiteY109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725827 w 4519987"/>
                  <a:gd name="connsiteY50" fmla="*/ 3876675 h 4429225"/>
                  <a:gd name="connsiteX51" fmla="*/ 697252 w 4519987"/>
                  <a:gd name="connsiteY51" fmla="*/ 3838575 h 4429225"/>
                  <a:gd name="connsiteX52" fmla="*/ 640102 w 4519987"/>
                  <a:gd name="connsiteY52" fmla="*/ 3781425 h 4429225"/>
                  <a:gd name="connsiteX53" fmla="*/ 611527 w 4519987"/>
                  <a:gd name="connsiteY53" fmla="*/ 3733800 h 4429225"/>
                  <a:gd name="connsiteX54" fmla="*/ 554377 w 4519987"/>
                  <a:gd name="connsiteY54" fmla="*/ 3657600 h 4429225"/>
                  <a:gd name="connsiteX55" fmla="*/ 525802 w 4519987"/>
                  <a:gd name="connsiteY55" fmla="*/ 3609975 h 4429225"/>
                  <a:gd name="connsiteX56" fmla="*/ 497227 w 4519987"/>
                  <a:gd name="connsiteY56" fmla="*/ 3552825 h 4429225"/>
                  <a:gd name="connsiteX57" fmla="*/ 440077 w 4519987"/>
                  <a:gd name="connsiteY57" fmla="*/ 3495675 h 4429225"/>
                  <a:gd name="connsiteX58" fmla="*/ 411502 w 4519987"/>
                  <a:gd name="connsiteY58" fmla="*/ 3448050 h 4429225"/>
                  <a:gd name="connsiteX59" fmla="*/ 278152 w 4519987"/>
                  <a:gd name="connsiteY59" fmla="*/ 3257550 h 4429225"/>
                  <a:gd name="connsiteX60" fmla="*/ 249577 w 4519987"/>
                  <a:gd name="connsiteY60" fmla="*/ 3200400 h 4429225"/>
                  <a:gd name="connsiteX61" fmla="*/ 240052 w 4519987"/>
                  <a:gd name="connsiteY61" fmla="*/ 3162300 h 4429225"/>
                  <a:gd name="connsiteX62" fmla="*/ 221002 w 4519987"/>
                  <a:gd name="connsiteY62" fmla="*/ 3105150 h 4429225"/>
                  <a:gd name="connsiteX63" fmla="*/ 173377 w 4519987"/>
                  <a:gd name="connsiteY63" fmla="*/ 3019425 h 4429225"/>
                  <a:gd name="connsiteX64" fmla="*/ 144802 w 4519987"/>
                  <a:gd name="connsiteY64" fmla="*/ 2924175 h 4429225"/>
                  <a:gd name="connsiteX65" fmla="*/ 68602 w 4519987"/>
                  <a:gd name="connsiteY65" fmla="*/ 2724150 h 4429225"/>
                  <a:gd name="connsiteX66" fmla="*/ 49552 w 4519987"/>
                  <a:gd name="connsiteY66" fmla="*/ 2638425 h 4429225"/>
                  <a:gd name="connsiteX67" fmla="*/ 40027 w 4519987"/>
                  <a:gd name="connsiteY67" fmla="*/ 2562225 h 4429225"/>
                  <a:gd name="connsiteX68" fmla="*/ 30502 w 4519987"/>
                  <a:gd name="connsiteY68" fmla="*/ 2514600 h 4429225"/>
                  <a:gd name="connsiteX69" fmla="*/ 11452 w 4519987"/>
                  <a:gd name="connsiteY69" fmla="*/ 2400300 h 4429225"/>
                  <a:gd name="connsiteX70" fmla="*/ 20977 w 4519987"/>
                  <a:gd name="connsiteY70" fmla="*/ 1905000 h 4429225"/>
                  <a:gd name="connsiteX71" fmla="*/ 30502 w 4519987"/>
                  <a:gd name="connsiteY71" fmla="*/ 1838325 h 4429225"/>
                  <a:gd name="connsiteX72" fmla="*/ 49552 w 4519987"/>
                  <a:gd name="connsiteY72" fmla="*/ 1781175 h 4429225"/>
                  <a:gd name="connsiteX73" fmla="*/ 59077 w 4519987"/>
                  <a:gd name="connsiteY73" fmla="*/ 1743075 h 4429225"/>
                  <a:gd name="connsiteX74" fmla="*/ 78127 w 4519987"/>
                  <a:gd name="connsiteY74" fmla="*/ 1685925 h 4429225"/>
                  <a:gd name="connsiteX75" fmla="*/ 87652 w 4519987"/>
                  <a:gd name="connsiteY75" fmla="*/ 1638300 h 4429225"/>
                  <a:gd name="connsiteX76" fmla="*/ 106702 w 4519987"/>
                  <a:gd name="connsiteY76" fmla="*/ 1590675 h 4429225"/>
                  <a:gd name="connsiteX77" fmla="*/ 135277 w 4519987"/>
                  <a:gd name="connsiteY77" fmla="*/ 1504950 h 4429225"/>
                  <a:gd name="connsiteX78" fmla="*/ 154327 w 4519987"/>
                  <a:gd name="connsiteY78" fmla="*/ 1419225 h 4429225"/>
                  <a:gd name="connsiteX79" fmla="*/ 230527 w 4519987"/>
                  <a:gd name="connsiteY79" fmla="*/ 1276350 h 4429225"/>
                  <a:gd name="connsiteX80" fmla="*/ 240052 w 4519987"/>
                  <a:gd name="connsiteY80" fmla="*/ 1247775 h 4429225"/>
                  <a:gd name="connsiteX81" fmla="*/ 268627 w 4519987"/>
                  <a:gd name="connsiteY81" fmla="*/ 1200150 h 4429225"/>
                  <a:gd name="connsiteX82" fmla="*/ 287677 w 4519987"/>
                  <a:gd name="connsiteY82" fmla="*/ 1152525 h 4429225"/>
                  <a:gd name="connsiteX83" fmla="*/ 316252 w 4519987"/>
                  <a:gd name="connsiteY83" fmla="*/ 1114425 h 4429225"/>
                  <a:gd name="connsiteX84" fmla="*/ 363877 w 4519987"/>
                  <a:gd name="connsiteY84" fmla="*/ 1038225 h 4429225"/>
                  <a:gd name="connsiteX85" fmla="*/ 382927 w 4519987"/>
                  <a:gd name="connsiteY85" fmla="*/ 1009650 h 4429225"/>
                  <a:gd name="connsiteX86" fmla="*/ 440077 w 4519987"/>
                  <a:gd name="connsiteY86" fmla="*/ 904875 h 4429225"/>
                  <a:gd name="connsiteX87" fmla="*/ 478177 w 4519987"/>
                  <a:gd name="connsiteY87" fmla="*/ 857250 h 4429225"/>
                  <a:gd name="connsiteX88" fmla="*/ 497227 w 4519987"/>
                  <a:gd name="connsiteY88" fmla="*/ 828675 h 4429225"/>
                  <a:gd name="connsiteX89" fmla="*/ 535327 w 4519987"/>
                  <a:gd name="connsiteY89" fmla="*/ 800100 h 4429225"/>
                  <a:gd name="connsiteX90" fmla="*/ 602002 w 4519987"/>
                  <a:gd name="connsiteY90" fmla="*/ 733425 h 4429225"/>
                  <a:gd name="connsiteX91" fmla="*/ 668677 w 4519987"/>
                  <a:gd name="connsiteY91" fmla="*/ 676275 h 4429225"/>
                  <a:gd name="connsiteX92" fmla="*/ 697252 w 4519987"/>
                  <a:gd name="connsiteY92" fmla="*/ 657225 h 4429225"/>
                  <a:gd name="connsiteX93" fmla="*/ 840127 w 4519987"/>
                  <a:gd name="connsiteY93" fmla="*/ 533400 h 4429225"/>
                  <a:gd name="connsiteX94" fmla="*/ 887752 w 4519987"/>
                  <a:gd name="connsiteY94" fmla="*/ 504825 h 4429225"/>
                  <a:gd name="connsiteX95" fmla="*/ 1167152 w 4519987"/>
                  <a:gd name="connsiteY95" fmla="*/ 311150 h 4429225"/>
                  <a:gd name="connsiteX96" fmla="*/ 1268752 w 4519987"/>
                  <a:gd name="connsiteY96" fmla="*/ 285750 h 4429225"/>
                  <a:gd name="connsiteX97" fmla="*/ 1411627 w 4519987"/>
                  <a:gd name="connsiteY97" fmla="*/ 190500 h 4429225"/>
                  <a:gd name="connsiteX98" fmla="*/ 1449727 w 4519987"/>
                  <a:gd name="connsiteY98" fmla="*/ 161925 h 4429225"/>
                  <a:gd name="connsiteX99" fmla="*/ 1525927 w 4519987"/>
                  <a:gd name="connsiteY99" fmla="*/ 152400 h 4429225"/>
                  <a:gd name="connsiteX100" fmla="*/ 1583077 w 4519987"/>
                  <a:gd name="connsiteY100" fmla="*/ 142875 h 4429225"/>
                  <a:gd name="connsiteX101" fmla="*/ 1716427 w 4519987"/>
                  <a:gd name="connsiteY101" fmla="*/ 123825 h 4429225"/>
                  <a:gd name="connsiteX102" fmla="*/ 1811677 w 4519987"/>
                  <a:gd name="connsiteY102" fmla="*/ 114300 h 4429225"/>
                  <a:gd name="connsiteX103" fmla="*/ 1859302 w 4519987"/>
                  <a:gd name="connsiteY103" fmla="*/ 104775 h 4429225"/>
                  <a:gd name="connsiteX104" fmla="*/ 1916452 w 4519987"/>
                  <a:gd name="connsiteY104" fmla="*/ 95250 h 4429225"/>
                  <a:gd name="connsiteX105" fmla="*/ 2030752 w 4519987"/>
                  <a:gd name="connsiteY105" fmla="*/ 66675 h 4429225"/>
                  <a:gd name="connsiteX106" fmla="*/ 2097427 w 4519987"/>
                  <a:gd name="connsiteY106" fmla="*/ 47625 h 4429225"/>
                  <a:gd name="connsiteX107" fmla="*/ 2164102 w 4519987"/>
                  <a:gd name="connsiteY107" fmla="*/ 38100 h 4429225"/>
                  <a:gd name="connsiteX108" fmla="*/ 2392702 w 4519987"/>
                  <a:gd name="connsiteY108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640102 w 4519987"/>
                  <a:gd name="connsiteY51" fmla="*/ 3781425 h 4429225"/>
                  <a:gd name="connsiteX52" fmla="*/ 611527 w 4519987"/>
                  <a:gd name="connsiteY52" fmla="*/ 3733800 h 4429225"/>
                  <a:gd name="connsiteX53" fmla="*/ 554377 w 4519987"/>
                  <a:gd name="connsiteY53" fmla="*/ 3657600 h 4429225"/>
                  <a:gd name="connsiteX54" fmla="*/ 525802 w 4519987"/>
                  <a:gd name="connsiteY54" fmla="*/ 3609975 h 4429225"/>
                  <a:gd name="connsiteX55" fmla="*/ 497227 w 4519987"/>
                  <a:gd name="connsiteY55" fmla="*/ 3552825 h 4429225"/>
                  <a:gd name="connsiteX56" fmla="*/ 440077 w 4519987"/>
                  <a:gd name="connsiteY56" fmla="*/ 3495675 h 4429225"/>
                  <a:gd name="connsiteX57" fmla="*/ 411502 w 4519987"/>
                  <a:gd name="connsiteY57" fmla="*/ 3448050 h 4429225"/>
                  <a:gd name="connsiteX58" fmla="*/ 278152 w 4519987"/>
                  <a:gd name="connsiteY58" fmla="*/ 3257550 h 4429225"/>
                  <a:gd name="connsiteX59" fmla="*/ 249577 w 4519987"/>
                  <a:gd name="connsiteY59" fmla="*/ 3200400 h 4429225"/>
                  <a:gd name="connsiteX60" fmla="*/ 240052 w 4519987"/>
                  <a:gd name="connsiteY60" fmla="*/ 3162300 h 4429225"/>
                  <a:gd name="connsiteX61" fmla="*/ 221002 w 4519987"/>
                  <a:gd name="connsiteY61" fmla="*/ 3105150 h 4429225"/>
                  <a:gd name="connsiteX62" fmla="*/ 173377 w 4519987"/>
                  <a:gd name="connsiteY62" fmla="*/ 3019425 h 4429225"/>
                  <a:gd name="connsiteX63" fmla="*/ 144802 w 4519987"/>
                  <a:gd name="connsiteY63" fmla="*/ 2924175 h 4429225"/>
                  <a:gd name="connsiteX64" fmla="*/ 68602 w 4519987"/>
                  <a:gd name="connsiteY64" fmla="*/ 2724150 h 4429225"/>
                  <a:gd name="connsiteX65" fmla="*/ 49552 w 4519987"/>
                  <a:gd name="connsiteY65" fmla="*/ 2638425 h 4429225"/>
                  <a:gd name="connsiteX66" fmla="*/ 40027 w 4519987"/>
                  <a:gd name="connsiteY66" fmla="*/ 2562225 h 4429225"/>
                  <a:gd name="connsiteX67" fmla="*/ 30502 w 4519987"/>
                  <a:gd name="connsiteY67" fmla="*/ 2514600 h 4429225"/>
                  <a:gd name="connsiteX68" fmla="*/ 11452 w 4519987"/>
                  <a:gd name="connsiteY68" fmla="*/ 2400300 h 4429225"/>
                  <a:gd name="connsiteX69" fmla="*/ 20977 w 4519987"/>
                  <a:gd name="connsiteY69" fmla="*/ 1905000 h 4429225"/>
                  <a:gd name="connsiteX70" fmla="*/ 30502 w 4519987"/>
                  <a:gd name="connsiteY70" fmla="*/ 1838325 h 4429225"/>
                  <a:gd name="connsiteX71" fmla="*/ 49552 w 4519987"/>
                  <a:gd name="connsiteY71" fmla="*/ 1781175 h 4429225"/>
                  <a:gd name="connsiteX72" fmla="*/ 59077 w 4519987"/>
                  <a:gd name="connsiteY72" fmla="*/ 1743075 h 4429225"/>
                  <a:gd name="connsiteX73" fmla="*/ 78127 w 4519987"/>
                  <a:gd name="connsiteY73" fmla="*/ 1685925 h 4429225"/>
                  <a:gd name="connsiteX74" fmla="*/ 87652 w 4519987"/>
                  <a:gd name="connsiteY74" fmla="*/ 1638300 h 4429225"/>
                  <a:gd name="connsiteX75" fmla="*/ 106702 w 4519987"/>
                  <a:gd name="connsiteY75" fmla="*/ 1590675 h 4429225"/>
                  <a:gd name="connsiteX76" fmla="*/ 135277 w 4519987"/>
                  <a:gd name="connsiteY76" fmla="*/ 1504950 h 4429225"/>
                  <a:gd name="connsiteX77" fmla="*/ 154327 w 4519987"/>
                  <a:gd name="connsiteY77" fmla="*/ 1419225 h 4429225"/>
                  <a:gd name="connsiteX78" fmla="*/ 230527 w 4519987"/>
                  <a:gd name="connsiteY78" fmla="*/ 1276350 h 4429225"/>
                  <a:gd name="connsiteX79" fmla="*/ 240052 w 4519987"/>
                  <a:gd name="connsiteY79" fmla="*/ 1247775 h 4429225"/>
                  <a:gd name="connsiteX80" fmla="*/ 268627 w 4519987"/>
                  <a:gd name="connsiteY80" fmla="*/ 1200150 h 4429225"/>
                  <a:gd name="connsiteX81" fmla="*/ 287677 w 4519987"/>
                  <a:gd name="connsiteY81" fmla="*/ 1152525 h 4429225"/>
                  <a:gd name="connsiteX82" fmla="*/ 316252 w 4519987"/>
                  <a:gd name="connsiteY82" fmla="*/ 1114425 h 4429225"/>
                  <a:gd name="connsiteX83" fmla="*/ 363877 w 4519987"/>
                  <a:gd name="connsiteY83" fmla="*/ 1038225 h 4429225"/>
                  <a:gd name="connsiteX84" fmla="*/ 382927 w 4519987"/>
                  <a:gd name="connsiteY84" fmla="*/ 1009650 h 4429225"/>
                  <a:gd name="connsiteX85" fmla="*/ 440077 w 4519987"/>
                  <a:gd name="connsiteY85" fmla="*/ 904875 h 4429225"/>
                  <a:gd name="connsiteX86" fmla="*/ 478177 w 4519987"/>
                  <a:gd name="connsiteY86" fmla="*/ 857250 h 4429225"/>
                  <a:gd name="connsiteX87" fmla="*/ 497227 w 4519987"/>
                  <a:gd name="connsiteY87" fmla="*/ 828675 h 4429225"/>
                  <a:gd name="connsiteX88" fmla="*/ 535327 w 4519987"/>
                  <a:gd name="connsiteY88" fmla="*/ 800100 h 4429225"/>
                  <a:gd name="connsiteX89" fmla="*/ 602002 w 4519987"/>
                  <a:gd name="connsiteY89" fmla="*/ 733425 h 4429225"/>
                  <a:gd name="connsiteX90" fmla="*/ 668677 w 4519987"/>
                  <a:gd name="connsiteY90" fmla="*/ 676275 h 4429225"/>
                  <a:gd name="connsiteX91" fmla="*/ 697252 w 4519987"/>
                  <a:gd name="connsiteY91" fmla="*/ 657225 h 4429225"/>
                  <a:gd name="connsiteX92" fmla="*/ 840127 w 4519987"/>
                  <a:gd name="connsiteY92" fmla="*/ 533400 h 4429225"/>
                  <a:gd name="connsiteX93" fmla="*/ 887752 w 4519987"/>
                  <a:gd name="connsiteY93" fmla="*/ 504825 h 4429225"/>
                  <a:gd name="connsiteX94" fmla="*/ 1167152 w 4519987"/>
                  <a:gd name="connsiteY94" fmla="*/ 311150 h 4429225"/>
                  <a:gd name="connsiteX95" fmla="*/ 1268752 w 4519987"/>
                  <a:gd name="connsiteY95" fmla="*/ 285750 h 4429225"/>
                  <a:gd name="connsiteX96" fmla="*/ 1411627 w 4519987"/>
                  <a:gd name="connsiteY96" fmla="*/ 190500 h 4429225"/>
                  <a:gd name="connsiteX97" fmla="*/ 1449727 w 4519987"/>
                  <a:gd name="connsiteY97" fmla="*/ 161925 h 4429225"/>
                  <a:gd name="connsiteX98" fmla="*/ 1525927 w 4519987"/>
                  <a:gd name="connsiteY98" fmla="*/ 152400 h 4429225"/>
                  <a:gd name="connsiteX99" fmla="*/ 1583077 w 4519987"/>
                  <a:gd name="connsiteY99" fmla="*/ 142875 h 4429225"/>
                  <a:gd name="connsiteX100" fmla="*/ 1716427 w 4519987"/>
                  <a:gd name="connsiteY100" fmla="*/ 123825 h 4429225"/>
                  <a:gd name="connsiteX101" fmla="*/ 1811677 w 4519987"/>
                  <a:gd name="connsiteY101" fmla="*/ 114300 h 4429225"/>
                  <a:gd name="connsiteX102" fmla="*/ 1859302 w 4519987"/>
                  <a:gd name="connsiteY102" fmla="*/ 104775 h 4429225"/>
                  <a:gd name="connsiteX103" fmla="*/ 1916452 w 4519987"/>
                  <a:gd name="connsiteY103" fmla="*/ 95250 h 4429225"/>
                  <a:gd name="connsiteX104" fmla="*/ 2030752 w 4519987"/>
                  <a:gd name="connsiteY104" fmla="*/ 66675 h 4429225"/>
                  <a:gd name="connsiteX105" fmla="*/ 2097427 w 4519987"/>
                  <a:gd name="connsiteY105" fmla="*/ 47625 h 4429225"/>
                  <a:gd name="connsiteX106" fmla="*/ 2164102 w 4519987"/>
                  <a:gd name="connsiteY106" fmla="*/ 38100 h 4429225"/>
                  <a:gd name="connsiteX107" fmla="*/ 2392702 w 4519987"/>
                  <a:gd name="connsiteY107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611527 w 4519987"/>
                  <a:gd name="connsiteY51" fmla="*/ 3733800 h 4429225"/>
                  <a:gd name="connsiteX52" fmla="*/ 554377 w 4519987"/>
                  <a:gd name="connsiteY52" fmla="*/ 3657600 h 4429225"/>
                  <a:gd name="connsiteX53" fmla="*/ 525802 w 4519987"/>
                  <a:gd name="connsiteY53" fmla="*/ 3609975 h 4429225"/>
                  <a:gd name="connsiteX54" fmla="*/ 497227 w 4519987"/>
                  <a:gd name="connsiteY54" fmla="*/ 3552825 h 4429225"/>
                  <a:gd name="connsiteX55" fmla="*/ 440077 w 4519987"/>
                  <a:gd name="connsiteY55" fmla="*/ 3495675 h 4429225"/>
                  <a:gd name="connsiteX56" fmla="*/ 411502 w 4519987"/>
                  <a:gd name="connsiteY56" fmla="*/ 3448050 h 4429225"/>
                  <a:gd name="connsiteX57" fmla="*/ 278152 w 4519987"/>
                  <a:gd name="connsiteY57" fmla="*/ 3257550 h 4429225"/>
                  <a:gd name="connsiteX58" fmla="*/ 249577 w 4519987"/>
                  <a:gd name="connsiteY58" fmla="*/ 3200400 h 4429225"/>
                  <a:gd name="connsiteX59" fmla="*/ 240052 w 4519987"/>
                  <a:gd name="connsiteY59" fmla="*/ 3162300 h 4429225"/>
                  <a:gd name="connsiteX60" fmla="*/ 221002 w 4519987"/>
                  <a:gd name="connsiteY60" fmla="*/ 3105150 h 4429225"/>
                  <a:gd name="connsiteX61" fmla="*/ 173377 w 4519987"/>
                  <a:gd name="connsiteY61" fmla="*/ 3019425 h 4429225"/>
                  <a:gd name="connsiteX62" fmla="*/ 144802 w 4519987"/>
                  <a:gd name="connsiteY62" fmla="*/ 2924175 h 4429225"/>
                  <a:gd name="connsiteX63" fmla="*/ 68602 w 4519987"/>
                  <a:gd name="connsiteY63" fmla="*/ 2724150 h 4429225"/>
                  <a:gd name="connsiteX64" fmla="*/ 49552 w 4519987"/>
                  <a:gd name="connsiteY64" fmla="*/ 2638425 h 4429225"/>
                  <a:gd name="connsiteX65" fmla="*/ 40027 w 4519987"/>
                  <a:gd name="connsiteY65" fmla="*/ 2562225 h 4429225"/>
                  <a:gd name="connsiteX66" fmla="*/ 30502 w 4519987"/>
                  <a:gd name="connsiteY66" fmla="*/ 2514600 h 4429225"/>
                  <a:gd name="connsiteX67" fmla="*/ 11452 w 4519987"/>
                  <a:gd name="connsiteY67" fmla="*/ 2400300 h 4429225"/>
                  <a:gd name="connsiteX68" fmla="*/ 20977 w 4519987"/>
                  <a:gd name="connsiteY68" fmla="*/ 1905000 h 4429225"/>
                  <a:gd name="connsiteX69" fmla="*/ 30502 w 4519987"/>
                  <a:gd name="connsiteY69" fmla="*/ 1838325 h 4429225"/>
                  <a:gd name="connsiteX70" fmla="*/ 49552 w 4519987"/>
                  <a:gd name="connsiteY70" fmla="*/ 1781175 h 4429225"/>
                  <a:gd name="connsiteX71" fmla="*/ 59077 w 4519987"/>
                  <a:gd name="connsiteY71" fmla="*/ 1743075 h 4429225"/>
                  <a:gd name="connsiteX72" fmla="*/ 78127 w 4519987"/>
                  <a:gd name="connsiteY72" fmla="*/ 1685925 h 4429225"/>
                  <a:gd name="connsiteX73" fmla="*/ 87652 w 4519987"/>
                  <a:gd name="connsiteY73" fmla="*/ 1638300 h 4429225"/>
                  <a:gd name="connsiteX74" fmla="*/ 106702 w 4519987"/>
                  <a:gd name="connsiteY74" fmla="*/ 1590675 h 4429225"/>
                  <a:gd name="connsiteX75" fmla="*/ 135277 w 4519987"/>
                  <a:gd name="connsiteY75" fmla="*/ 1504950 h 4429225"/>
                  <a:gd name="connsiteX76" fmla="*/ 154327 w 4519987"/>
                  <a:gd name="connsiteY76" fmla="*/ 1419225 h 4429225"/>
                  <a:gd name="connsiteX77" fmla="*/ 230527 w 4519987"/>
                  <a:gd name="connsiteY77" fmla="*/ 1276350 h 4429225"/>
                  <a:gd name="connsiteX78" fmla="*/ 240052 w 4519987"/>
                  <a:gd name="connsiteY78" fmla="*/ 1247775 h 4429225"/>
                  <a:gd name="connsiteX79" fmla="*/ 268627 w 4519987"/>
                  <a:gd name="connsiteY79" fmla="*/ 1200150 h 4429225"/>
                  <a:gd name="connsiteX80" fmla="*/ 287677 w 4519987"/>
                  <a:gd name="connsiteY80" fmla="*/ 1152525 h 4429225"/>
                  <a:gd name="connsiteX81" fmla="*/ 316252 w 4519987"/>
                  <a:gd name="connsiteY81" fmla="*/ 1114425 h 4429225"/>
                  <a:gd name="connsiteX82" fmla="*/ 363877 w 4519987"/>
                  <a:gd name="connsiteY82" fmla="*/ 1038225 h 4429225"/>
                  <a:gd name="connsiteX83" fmla="*/ 382927 w 4519987"/>
                  <a:gd name="connsiteY83" fmla="*/ 1009650 h 4429225"/>
                  <a:gd name="connsiteX84" fmla="*/ 440077 w 4519987"/>
                  <a:gd name="connsiteY84" fmla="*/ 904875 h 4429225"/>
                  <a:gd name="connsiteX85" fmla="*/ 478177 w 4519987"/>
                  <a:gd name="connsiteY85" fmla="*/ 857250 h 4429225"/>
                  <a:gd name="connsiteX86" fmla="*/ 497227 w 4519987"/>
                  <a:gd name="connsiteY86" fmla="*/ 828675 h 4429225"/>
                  <a:gd name="connsiteX87" fmla="*/ 535327 w 4519987"/>
                  <a:gd name="connsiteY87" fmla="*/ 800100 h 4429225"/>
                  <a:gd name="connsiteX88" fmla="*/ 602002 w 4519987"/>
                  <a:gd name="connsiteY88" fmla="*/ 733425 h 4429225"/>
                  <a:gd name="connsiteX89" fmla="*/ 668677 w 4519987"/>
                  <a:gd name="connsiteY89" fmla="*/ 676275 h 4429225"/>
                  <a:gd name="connsiteX90" fmla="*/ 697252 w 4519987"/>
                  <a:gd name="connsiteY90" fmla="*/ 657225 h 4429225"/>
                  <a:gd name="connsiteX91" fmla="*/ 840127 w 4519987"/>
                  <a:gd name="connsiteY91" fmla="*/ 533400 h 4429225"/>
                  <a:gd name="connsiteX92" fmla="*/ 887752 w 4519987"/>
                  <a:gd name="connsiteY92" fmla="*/ 504825 h 4429225"/>
                  <a:gd name="connsiteX93" fmla="*/ 1167152 w 4519987"/>
                  <a:gd name="connsiteY93" fmla="*/ 311150 h 4429225"/>
                  <a:gd name="connsiteX94" fmla="*/ 1268752 w 4519987"/>
                  <a:gd name="connsiteY94" fmla="*/ 285750 h 4429225"/>
                  <a:gd name="connsiteX95" fmla="*/ 1411627 w 4519987"/>
                  <a:gd name="connsiteY95" fmla="*/ 190500 h 4429225"/>
                  <a:gd name="connsiteX96" fmla="*/ 1449727 w 4519987"/>
                  <a:gd name="connsiteY96" fmla="*/ 161925 h 4429225"/>
                  <a:gd name="connsiteX97" fmla="*/ 1525927 w 4519987"/>
                  <a:gd name="connsiteY97" fmla="*/ 152400 h 4429225"/>
                  <a:gd name="connsiteX98" fmla="*/ 1583077 w 4519987"/>
                  <a:gd name="connsiteY98" fmla="*/ 142875 h 4429225"/>
                  <a:gd name="connsiteX99" fmla="*/ 1716427 w 4519987"/>
                  <a:gd name="connsiteY99" fmla="*/ 123825 h 4429225"/>
                  <a:gd name="connsiteX100" fmla="*/ 1811677 w 4519987"/>
                  <a:gd name="connsiteY100" fmla="*/ 114300 h 4429225"/>
                  <a:gd name="connsiteX101" fmla="*/ 1859302 w 4519987"/>
                  <a:gd name="connsiteY101" fmla="*/ 104775 h 4429225"/>
                  <a:gd name="connsiteX102" fmla="*/ 1916452 w 4519987"/>
                  <a:gd name="connsiteY102" fmla="*/ 95250 h 4429225"/>
                  <a:gd name="connsiteX103" fmla="*/ 2030752 w 4519987"/>
                  <a:gd name="connsiteY103" fmla="*/ 66675 h 4429225"/>
                  <a:gd name="connsiteX104" fmla="*/ 2097427 w 4519987"/>
                  <a:gd name="connsiteY104" fmla="*/ 47625 h 4429225"/>
                  <a:gd name="connsiteX105" fmla="*/ 2164102 w 4519987"/>
                  <a:gd name="connsiteY105" fmla="*/ 38100 h 4429225"/>
                  <a:gd name="connsiteX106" fmla="*/ 2392702 w 4519987"/>
                  <a:gd name="connsiteY106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525802 w 4519987"/>
                  <a:gd name="connsiteY52" fmla="*/ 3609975 h 4429225"/>
                  <a:gd name="connsiteX53" fmla="*/ 497227 w 4519987"/>
                  <a:gd name="connsiteY53" fmla="*/ 3552825 h 4429225"/>
                  <a:gd name="connsiteX54" fmla="*/ 440077 w 4519987"/>
                  <a:gd name="connsiteY54" fmla="*/ 3495675 h 4429225"/>
                  <a:gd name="connsiteX55" fmla="*/ 411502 w 4519987"/>
                  <a:gd name="connsiteY55" fmla="*/ 3448050 h 4429225"/>
                  <a:gd name="connsiteX56" fmla="*/ 278152 w 4519987"/>
                  <a:gd name="connsiteY56" fmla="*/ 3257550 h 4429225"/>
                  <a:gd name="connsiteX57" fmla="*/ 249577 w 4519987"/>
                  <a:gd name="connsiteY57" fmla="*/ 3200400 h 4429225"/>
                  <a:gd name="connsiteX58" fmla="*/ 240052 w 4519987"/>
                  <a:gd name="connsiteY58" fmla="*/ 3162300 h 4429225"/>
                  <a:gd name="connsiteX59" fmla="*/ 221002 w 4519987"/>
                  <a:gd name="connsiteY59" fmla="*/ 3105150 h 4429225"/>
                  <a:gd name="connsiteX60" fmla="*/ 173377 w 4519987"/>
                  <a:gd name="connsiteY60" fmla="*/ 3019425 h 4429225"/>
                  <a:gd name="connsiteX61" fmla="*/ 144802 w 4519987"/>
                  <a:gd name="connsiteY61" fmla="*/ 2924175 h 4429225"/>
                  <a:gd name="connsiteX62" fmla="*/ 68602 w 4519987"/>
                  <a:gd name="connsiteY62" fmla="*/ 2724150 h 4429225"/>
                  <a:gd name="connsiteX63" fmla="*/ 49552 w 4519987"/>
                  <a:gd name="connsiteY63" fmla="*/ 2638425 h 4429225"/>
                  <a:gd name="connsiteX64" fmla="*/ 40027 w 4519987"/>
                  <a:gd name="connsiteY64" fmla="*/ 2562225 h 4429225"/>
                  <a:gd name="connsiteX65" fmla="*/ 30502 w 4519987"/>
                  <a:gd name="connsiteY65" fmla="*/ 2514600 h 4429225"/>
                  <a:gd name="connsiteX66" fmla="*/ 11452 w 4519987"/>
                  <a:gd name="connsiteY66" fmla="*/ 2400300 h 4429225"/>
                  <a:gd name="connsiteX67" fmla="*/ 20977 w 4519987"/>
                  <a:gd name="connsiteY67" fmla="*/ 1905000 h 4429225"/>
                  <a:gd name="connsiteX68" fmla="*/ 30502 w 4519987"/>
                  <a:gd name="connsiteY68" fmla="*/ 1838325 h 4429225"/>
                  <a:gd name="connsiteX69" fmla="*/ 49552 w 4519987"/>
                  <a:gd name="connsiteY69" fmla="*/ 1781175 h 4429225"/>
                  <a:gd name="connsiteX70" fmla="*/ 59077 w 4519987"/>
                  <a:gd name="connsiteY70" fmla="*/ 1743075 h 4429225"/>
                  <a:gd name="connsiteX71" fmla="*/ 78127 w 4519987"/>
                  <a:gd name="connsiteY71" fmla="*/ 1685925 h 4429225"/>
                  <a:gd name="connsiteX72" fmla="*/ 87652 w 4519987"/>
                  <a:gd name="connsiteY72" fmla="*/ 1638300 h 4429225"/>
                  <a:gd name="connsiteX73" fmla="*/ 106702 w 4519987"/>
                  <a:gd name="connsiteY73" fmla="*/ 1590675 h 4429225"/>
                  <a:gd name="connsiteX74" fmla="*/ 135277 w 4519987"/>
                  <a:gd name="connsiteY74" fmla="*/ 1504950 h 4429225"/>
                  <a:gd name="connsiteX75" fmla="*/ 154327 w 4519987"/>
                  <a:gd name="connsiteY75" fmla="*/ 1419225 h 4429225"/>
                  <a:gd name="connsiteX76" fmla="*/ 230527 w 4519987"/>
                  <a:gd name="connsiteY76" fmla="*/ 1276350 h 4429225"/>
                  <a:gd name="connsiteX77" fmla="*/ 240052 w 4519987"/>
                  <a:gd name="connsiteY77" fmla="*/ 1247775 h 4429225"/>
                  <a:gd name="connsiteX78" fmla="*/ 268627 w 4519987"/>
                  <a:gd name="connsiteY78" fmla="*/ 1200150 h 4429225"/>
                  <a:gd name="connsiteX79" fmla="*/ 287677 w 4519987"/>
                  <a:gd name="connsiteY79" fmla="*/ 1152525 h 4429225"/>
                  <a:gd name="connsiteX80" fmla="*/ 316252 w 4519987"/>
                  <a:gd name="connsiteY80" fmla="*/ 1114425 h 4429225"/>
                  <a:gd name="connsiteX81" fmla="*/ 363877 w 4519987"/>
                  <a:gd name="connsiteY81" fmla="*/ 1038225 h 4429225"/>
                  <a:gd name="connsiteX82" fmla="*/ 382927 w 4519987"/>
                  <a:gd name="connsiteY82" fmla="*/ 1009650 h 4429225"/>
                  <a:gd name="connsiteX83" fmla="*/ 440077 w 4519987"/>
                  <a:gd name="connsiteY83" fmla="*/ 904875 h 4429225"/>
                  <a:gd name="connsiteX84" fmla="*/ 478177 w 4519987"/>
                  <a:gd name="connsiteY84" fmla="*/ 857250 h 4429225"/>
                  <a:gd name="connsiteX85" fmla="*/ 497227 w 4519987"/>
                  <a:gd name="connsiteY85" fmla="*/ 828675 h 4429225"/>
                  <a:gd name="connsiteX86" fmla="*/ 535327 w 4519987"/>
                  <a:gd name="connsiteY86" fmla="*/ 800100 h 4429225"/>
                  <a:gd name="connsiteX87" fmla="*/ 602002 w 4519987"/>
                  <a:gd name="connsiteY87" fmla="*/ 733425 h 4429225"/>
                  <a:gd name="connsiteX88" fmla="*/ 668677 w 4519987"/>
                  <a:gd name="connsiteY88" fmla="*/ 676275 h 4429225"/>
                  <a:gd name="connsiteX89" fmla="*/ 697252 w 4519987"/>
                  <a:gd name="connsiteY89" fmla="*/ 657225 h 4429225"/>
                  <a:gd name="connsiteX90" fmla="*/ 840127 w 4519987"/>
                  <a:gd name="connsiteY90" fmla="*/ 533400 h 4429225"/>
                  <a:gd name="connsiteX91" fmla="*/ 887752 w 4519987"/>
                  <a:gd name="connsiteY91" fmla="*/ 504825 h 4429225"/>
                  <a:gd name="connsiteX92" fmla="*/ 1167152 w 4519987"/>
                  <a:gd name="connsiteY92" fmla="*/ 311150 h 4429225"/>
                  <a:gd name="connsiteX93" fmla="*/ 1268752 w 4519987"/>
                  <a:gd name="connsiteY93" fmla="*/ 285750 h 4429225"/>
                  <a:gd name="connsiteX94" fmla="*/ 1411627 w 4519987"/>
                  <a:gd name="connsiteY94" fmla="*/ 190500 h 4429225"/>
                  <a:gd name="connsiteX95" fmla="*/ 1449727 w 4519987"/>
                  <a:gd name="connsiteY95" fmla="*/ 161925 h 4429225"/>
                  <a:gd name="connsiteX96" fmla="*/ 1525927 w 4519987"/>
                  <a:gd name="connsiteY96" fmla="*/ 152400 h 4429225"/>
                  <a:gd name="connsiteX97" fmla="*/ 1583077 w 4519987"/>
                  <a:gd name="connsiteY97" fmla="*/ 142875 h 4429225"/>
                  <a:gd name="connsiteX98" fmla="*/ 1716427 w 4519987"/>
                  <a:gd name="connsiteY98" fmla="*/ 123825 h 4429225"/>
                  <a:gd name="connsiteX99" fmla="*/ 1811677 w 4519987"/>
                  <a:gd name="connsiteY99" fmla="*/ 114300 h 4429225"/>
                  <a:gd name="connsiteX100" fmla="*/ 1859302 w 4519987"/>
                  <a:gd name="connsiteY100" fmla="*/ 104775 h 4429225"/>
                  <a:gd name="connsiteX101" fmla="*/ 1916452 w 4519987"/>
                  <a:gd name="connsiteY101" fmla="*/ 95250 h 4429225"/>
                  <a:gd name="connsiteX102" fmla="*/ 2030752 w 4519987"/>
                  <a:gd name="connsiteY102" fmla="*/ 66675 h 4429225"/>
                  <a:gd name="connsiteX103" fmla="*/ 2097427 w 4519987"/>
                  <a:gd name="connsiteY103" fmla="*/ 47625 h 4429225"/>
                  <a:gd name="connsiteX104" fmla="*/ 2164102 w 4519987"/>
                  <a:gd name="connsiteY104" fmla="*/ 38100 h 4429225"/>
                  <a:gd name="connsiteX105" fmla="*/ 2392702 w 4519987"/>
                  <a:gd name="connsiteY105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497227 w 4519987"/>
                  <a:gd name="connsiteY52" fmla="*/ 3552825 h 4429225"/>
                  <a:gd name="connsiteX53" fmla="*/ 440077 w 4519987"/>
                  <a:gd name="connsiteY53" fmla="*/ 3495675 h 4429225"/>
                  <a:gd name="connsiteX54" fmla="*/ 411502 w 4519987"/>
                  <a:gd name="connsiteY54" fmla="*/ 3448050 h 4429225"/>
                  <a:gd name="connsiteX55" fmla="*/ 278152 w 4519987"/>
                  <a:gd name="connsiteY55" fmla="*/ 3257550 h 4429225"/>
                  <a:gd name="connsiteX56" fmla="*/ 249577 w 4519987"/>
                  <a:gd name="connsiteY56" fmla="*/ 3200400 h 4429225"/>
                  <a:gd name="connsiteX57" fmla="*/ 240052 w 4519987"/>
                  <a:gd name="connsiteY57" fmla="*/ 3162300 h 4429225"/>
                  <a:gd name="connsiteX58" fmla="*/ 221002 w 4519987"/>
                  <a:gd name="connsiteY58" fmla="*/ 3105150 h 4429225"/>
                  <a:gd name="connsiteX59" fmla="*/ 173377 w 4519987"/>
                  <a:gd name="connsiteY59" fmla="*/ 3019425 h 4429225"/>
                  <a:gd name="connsiteX60" fmla="*/ 144802 w 4519987"/>
                  <a:gd name="connsiteY60" fmla="*/ 2924175 h 4429225"/>
                  <a:gd name="connsiteX61" fmla="*/ 68602 w 4519987"/>
                  <a:gd name="connsiteY61" fmla="*/ 2724150 h 4429225"/>
                  <a:gd name="connsiteX62" fmla="*/ 49552 w 4519987"/>
                  <a:gd name="connsiteY62" fmla="*/ 2638425 h 4429225"/>
                  <a:gd name="connsiteX63" fmla="*/ 40027 w 4519987"/>
                  <a:gd name="connsiteY63" fmla="*/ 2562225 h 4429225"/>
                  <a:gd name="connsiteX64" fmla="*/ 30502 w 4519987"/>
                  <a:gd name="connsiteY64" fmla="*/ 2514600 h 4429225"/>
                  <a:gd name="connsiteX65" fmla="*/ 11452 w 4519987"/>
                  <a:gd name="connsiteY65" fmla="*/ 2400300 h 4429225"/>
                  <a:gd name="connsiteX66" fmla="*/ 20977 w 4519987"/>
                  <a:gd name="connsiteY66" fmla="*/ 1905000 h 4429225"/>
                  <a:gd name="connsiteX67" fmla="*/ 30502 w 4519987"/>
                  <a:gd name="connsiteY67" fmla="*/ 1838325 h 4429225"/>
                  <a:gd name="connsiteX68" fmla="*/ 49552 w 4519987"/>
                  <a:gd name="connsiteY68" fmla="*/ 1781175 h 4429225"/>
                  <a:gd name="connsiteX69" fmla="*/ 59077 w 4519987"/>
                  <a:gd name="connsiteY69" fmla="*/ 1743075 h 4429225"/>
                  <a:gd name="connsiteX70" fmla="*/ 78127 w 4519987"/>
                  <a:gd name="connsiteY70" fmla="*/ 1685925 h 4429225"/>
                  <a:gd name="connsiteX71" fmla="*/ 87652 w 4519987"/>
                  <a:gd name="connsiteY71" fmla="*/ 1638300 h 4429225"/>
                  <a:gd name="connsiteX72" fmla="*/ 106702 w 4519987"/>
                  <a:gd name="connsiteY72" fmla="*/ 1590675 h 4429225"/>
                  <a:gd name="connsiteX73" fmla="*/ 135277 w 4519987"/>
                  <a:gd name="connsiteY73" fmla="*/ 1504950 h 4429225"/>
                  <a:gd name="connsiteX74" fmla="*/ 154327 w 4519987"/>
                  <a:gd name="connsiteY74" fmla="*/ 1419225 h 4429225"/>
                  <a:gd name="connsiteX75" fmla="*/ 230527 w 4519987"/>
                  <a:gd name="connsiteY75" fmla="*/ 1276350 h 4429225"/>
                  <a:gd name="connsiteX76" fmla="*/ 240052 w 4519987"/>
                  <a:gd name="connsiteY76" fmla="*/ 1247775 h 4429225"/>
                  <a:gd name="connsiteX77" fmla="*/ 268627 w 4519987"/>
                  <a:gd name="connsiteY77" fmla="*/ 1200150 h 4429225"/>
                  <a:gd name="connsiteX78" fmla="*/ 287677 w 4519987"/>
                  <a:gd name="connsiteY78" fmla="*/ 1152525 h 4429225"/>
                  <a:gd name="connsiteX79" fmla="*/ 316252 w 4519987"/>
                  <a:gd name="connsiteY79" fmla="*/ 1114425 h 4429225"/>
                  <a:gd name="connsiteX80" fmla="*/ 363877 w 4519987"/>
                  <a:gd name="connsiteY80" fmla="*/ 1038225 h 4429225"/>
                  <a:gd name="connsiteX81" fmla="*/ 382927 w 4519987"/>
                  <a:gd name="connsiteY81" fmla="*/ 1009650 h 4429225"/>
                  <a:gd name="connsiteX82" fmla="*/ 440077 w 4519987"/>
                  <a:gd name="connsiteY82" fmla="*/ 904875 h 4429225"/>
                  <a:gd name="connsiteX83" fmla="*/ 478177 w 4519987"/>
                  <a:gd name="connsiteY83" fmla="*/ 857250 h 4429225"/>
                  <a:gd name="connsiteX84" fmla="*/ 497227 w 4519987"/>
                  <a:gd name="connsiteY84" fmla="*/ 828675 h 4429225"/>
                  <a:gd name="connsiteX85" fmla="*/ 535327 w 4519987"/>
                  <a:gd name="connsiteY85" fmla="*/ 800100 h 4429225"/>
                  <a:gd name="connsiteX86" fmla="*/ 602002 w 4519987"/>
                  <a:gd name="connsiteY86" fmla="*/ 733425 h 4429225"/>
                  <a:gd name="connsiteX87" fmla="*/ 668677 w 4519987"/>
                  <a:gd name="connsiteY87" fmla="*/ 676275 h 4429225"/>
                  <a:gd name="connsiteX88" fmla="*/ 697252 w 4519987"/>
                  <a:gd name="connsiteY88" fmla="*/ 657225 h 4429225"/>
                  <a:gd name="connsiteX89" fmla="*/ 840127 w 4519987"/>
                  <a:gd name="connsiteY89" fmla="*/ 533400 h 4429225"/>
                  <a:gd name="connsiteX90" fmla="*/ 887752 w 4519987"/>
                  <a:gd name="connsiteY90" fmla="*/ 504825 h 4429225"/>
                  <a:gd name="connsiteX91" fmla="*/ 1167152 w 4519987"/>
                  <a:gd name="connsiteY91" fmla="*/ 311150 h 4429225"/>
                  <a:gd name="connsiteX92" fmla="*/ 1268752 w 4519987"/>
                  <a:gd name="connsiteY92" fmla="*/ 285750 h 4429225"/>
                  <a:gd name="connsiteX93" fmla="*/ 1411627 w 4519987"/>
                  <a:gd name="connsiteY93" fmla="*/ 190500 h 4429225"/>
                  <a:gd name="connsiteX94" fmla="*/ 1449727 w 4519987"/>
                  <a:gd name="connsiteY94" fmla="*/ 161925 h 4429225"/>
                  <a:gd name="connsiteX95" fmla="*/ 1525927 w 4519987"/>
                  <a:gd name="connsiteY95" fmla="*/ 152400 h 4429225"/>
                  <a:gd name="connsiteX96" fmla="*/ 1583077 w 4519987"/>
                  <a:gd name="connsiteY96" fmla="*/ 142875 h 4429225"/>
                  <a:gd name="connsiteX97" fmla="*/ 1716427 w 4519987"/>
                  <a:gd name="connsiteY97" fmla="*/ 123825 h 4429225"/>
                  <a:gd name="connsiteX98" fmla="*/ 1811677 w 4519987"/>
                  <a:gd name="connsiteY98" fmla="*/ 114300 h 4429225"/>
                  <a:gd name="connsiteX99" fmla="*/ 1859302 w 4519987"/>
                  <a:gd name="connsiteY99" fmla="*/ 104775 h 4429225"/>
                  <a:gd name="connsiteX100" fmla="*/ 1916452 w 4519987"/>
                  <a:gd name="connsiteY100" fmla="*/ 95250 h 4429225"/>
                  <a:gd name="connsiteX101" fmla="*/ 2030752 w 4519987"/>
                  <a:gd name="connsiteY101" fmla="*/ 66675 h 4429225"/>
                  <a:gd name="connsiteX102" fmla="*/ 2097427 w 4519987"/>
                  <a:gd name="connsiteY102" fmla="*/ 47625 h 4429225"/>
                  <a:gd name="connsiteX103" fmla="*/ 2164102 w 4519987"/>
                  <a:gd name="connsiteY103" fmla="*/ 38100 h 4429225"/>
                  <a:gd name="connsiteX104" fmla="*/ 2392702 w 4519987"/>
                  <a:gd name="connsiteY104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497227 w 4519987"/>
                  <a:gd name="connsiteY52" fmla="*/ 3552825 h 4429225"/>
                  <a:gd name="connsiteX53" fmla="*/ 440077 w 4519987"/>
                  <a:gd name="connsiteY53" fmla="*/ 3495675 h 4429225"/>
                  <a:gd name="connsiteX54" fmla="*/ 278152 w 4519987"/>
                  <a:gd name="connsiteY54" fmla="*/ 3257550 h 4429225"/>
                  <a:gd name="connsiteX55" fmla="*/ 249577 w 4519987"/>
                  <a:gd name="connsiteY55" fmla="*/ 3200400 h 4429225"/>
                  <a:gd name="connsiteX56" fmla="*/ 240052 w 4519987"/>
                  <a:gd name="connsiteY56" fmla="*/ 3162300 h 4429225"/>
                  <a:gd name="connsiteX57" fmla="*/ 221002 w 4519987"/>
                  <a:gd name="connsiteY57" fmla="*/ 3105150 h 4429225"/>
                  <a:gd name="connsiteX58" fmla="*/ 173377 w 4519987"/>
                  <a:gd name="connsiteY58" fmla="*/ 3019425 h 4429225"/>
                  <a:gd name="connsiteX59" fmla="*/ 144802 w 4519987"/>
                  <a:gd name="connsiteY59" fmla="*/ 2924175 h 4429225"/>
                  <a:gd name="connsiteX60" fmla="*/ 68602 w 4519987"/>
                  <a:gd name="connsiteY60" fmla="*/ 2724150 h 4429225"/>
                  <a:gd name="connsiteX61" fmla="*/ 49552 w 4519987"/>
                  <a:gd name="connsiteY61" fmla="*/ 2638425 h 4429225"/>
                  <a:gd name="connsiteX62" fmla="*/ 40027 w 4519987"/>
                  <a:gd name="connsiteY62" fmla="*/ 2562225 h 4429225"/>
                  <a:gd name="connsiteX63" fmla="*/ 30502 w 4519987"/>
                  <a:gd name="connsiteY63" fmla="*/ 2514600 h 4429225"/>
                  <a:gd name="connsiteX64" fmla="*/ 11452 w 4519987"/>
                  <a:gd name="connsiteY64" fmla="*/ 2400300 h 4429225"/>
                  <a:gd name="connsiteX65" fmla="*/ 20977 w 4519987"/>
                  <a:gd name="connsiteY65" fmla="*/ 1905000 h 4429225"/>
                  <a:gd name="connsiteX66" fmla="*/ 30502 w 4519987"/>
                  <a:gd name="connsiteY66" fmla="*/ 1838325 h 4429225"/>
                  <a:gd name="connsiteX67" fmla="*/ 49552 w 4519987"/>
                  <a:gd name="connsiteY67" fmla="*/ 1781175 h 4429225"/>
                  <a:gd name="connsiteX68" fmla="*/ 59077 w 4519987"/>
                  <a:gd name="connsiteY68" fmla="*/ 1743075 h 4429225"/>
                  <a:gd name="connsiteX69" fmla="*/ 78127 w 4519987"/>
                  <a:gd name="connsiteY69" fmla="*/ 1685925 h 4429225"/>
                  <a:gd name="connsiteX70" fmla="*/ 87652 w 4519987"/>
                  <a:gd name="connsiteY70" fmla="*/ 1638300 h 4429225"/>
                  <a:gd name="connsiteX71" fmla="*/ 106702 w 4519987"/>
                  <a:gd name="connsiteY71" fmla="*/ 1590675 h 4429225"/>
                  <a:gd name="connsiteX72" fmla="*/ 135277 w 4519987"/>
                  <a:gd name="connsiteY72" fmla="*/ 1504950 h 4429225"/>
                  <a:gd name="connsiteX73" fmla="*/ 154327 w 4519987"/>
                  <a:gd name="connsiteY73" fmla="*/ 1419225 h 4429225"/>
                  <a:gd name="connsiteX74" fmla="*/ 230527 w 4519987"/>
                  <a:gd name="connsiteY74" fmla="*/ 1276350 h 4429225"/>
                  <a:gd name="connsiteX75" fmla="*/ 240052 w 4519987"/>
                  <a:gd name="connsiteY75" fmla="*/ 1247775 h 4429225"/>
                  <a:gd name="connsiteX76" fmla="*/ 268627 w 4519987"/>
                  <a:gd name="connsiteY76" fmla="*/ 1200150 h 4429225"/>
                  <a:gd name="connsiteX77" fmla="*/ 287677 w 4519987"/>
                  <a:gd name="connsiteY77" fmla="*/ 1152525 h 4429225"/>
                  <a:gd name="connsiteX78" fmla="*/ 316252 w 4519987"/>
                  <a:gd name="connsiteY78" fmla="*/ 1114425 h 4429225"/>
                  <a:gd name="connsiteX79" fmla="*/ 363877 w 4519987"/>
                  <a:gd name="connsiteY79" fmla="*/ 1038225 h 4429225"/>
                  <a:gd name="connsiteX80" fmla="*/ 382927 w 4519987"/>
                  <a:gd name="connsiteY80" fmla="*/ 1009650 h 4429225"/>
                  <a:gd name="connsiteX81" fmla="*/ 440077 w 4519987"/>
                  <a:gd name="connsiteY81" fmla="*/ 904875 h 4429225"/>
                  <a:gd name="connsiteX82" fmla="*/ 478177 w 4519987"/>
                  <a:gd name="connsiteY82" fmla="*/ 857250 h 4429225"/>
                  <a:gd name="connsiteX83" fmla="*/ 497227 w 4519987"/>
                  <a:gd name="connsiteY83" fmla="*/ 828675 h 4429225"/>
                  <a:gd name="connsiteX84" fmla="*/ 535327 w 4519987"/>
                  <a:gd name="connsiteY84" fmla="*/ 800100 h 4429225"/>
                  <a:gd name="connsiteX85" fmla="*/ 602002 w 4519987"/>
                  <a:gd name="connsiteY85" fmla="*/ 733425 h 4429225"/>
                  <a:gd name="connsiteX86" fmla="*/ 668677 w 4519987"/>
                  <a:gd name="connsiteY86" fmla="*/ 676275 h 4429225"/>
                  <a:gd name="connsiteX87" fmla="*/ 697252 w 4519987"/>
                  <a:gd name="connsiteY87" fmla="*/ 657225 h 4429225"/>
                  <a:gd name="connsiteX88" fmla="*/ 840127 w 4519987"/>
                  <a:gd name="connsiteY88" fmla="*/ 533400 h 4429225"/>
                  <a:gd name="connsiteX89" fmla="*/ 887752 w 4519987"/>
                  <a:gd name="connsiteY89" fmla="*/ 504825 h 4429225"/>
                  <a:gd name="connsiteX90" fmla="*/ 1167152 w 4519987"/>
                  <a:gd name="connsiteY90" fmla="*/ 311150 h 4429225"/>
                  <a:gd name="connsiteX91" fmla="*/ 1268752 w 4519987"/>
                  <a:gd name="connsiteY91" fmla="*/ 285750 h 4429225"/>
                  <a:gd name="connsiteX92" fmla="*/ 1411627 w 4519987"/>
                  <a:gd name="connsiteY92" fmla="*/ 190500 h 4429225"/>
                  <a:gd name="connsiteX93" fmla="*/ 1449727 w 4519987"/>
                  <a:gd name="connsiteY93" fmla="*/ 161925 h 4429225"/>
                  <a:gd name="connsiteX94" fmla="*/ 1525927 w 4519987"/>
                  <a:gd name="connsiteY94" fmla="*/ 152400 h 4429225"/>
                  <a:gd name="connsiteX95" fmla="*/ 1583077 w 4519987"/>
                  <a:gd name="connsiteY95" fmla="*/ 142875 h 4429225"/>
                  <a:gd name="connsiteX96" fmla="*/ 1716427 w 4519987"/>
                  <a:gd name="connsiteY96" fmla="*/ 123825 h 4429225"/>
                  <a:gd name="connsiteX97" fmla="*/ 1811677 w 4519987"/>
                  <a:gd name="connsiteY97" fmla="*/ 114300 h 4429225"/>
                  <a:gd name="connsiteX98" fmla="*/ 1859302 w 4519987"/>
                  <a:gd name="connsiteY98" fmla="*/ 104775 h 4429225"/>
                  <a:gd name="connsiteX99" fmla="*/ 1916452 w 4519987"/>
                  <a:gd name="connsiteY99" fmla="*/ 95250 h 4429225"/>
                  <a:gd name="connsiteX100" fmla="*/ 2030752 w 4519987"/>
                  <a:gd name="connsiteY100" fmla="*/ 66675 h 4429225"/>
                  <a:gd name="connsiteX101" fmla="*/ 2097427 w 4519987"/>
                  <a:gd name="connsiteY101" fmla="*/ 47625 h 4429225"/>
                  <a:gd name="connsiteX102" fmla="*/ 2164102 w 4519987"/>
                  <a:gd name="connsiteY102" fmla="*/ 38100 h 4429225"/>
                  <a:gd name="connsiteX103" fmla="*/ 2392702 w 4519987"/>
                  <a:gd name="connsiteY103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440077 w 4519987"/>
                  <a:gd name="connsiteY52" fmla="*/ 3495675 h 4429225"/>
                  <a:gd name="connsiteX53" fmla="*/ 278152 w 4519987"/>
                  <a:gd name="connsiteY53" fmla="*/ 3257550 h 4429225"/>
                  <a:gd name="connsiteX54" fmla="*/ 249577 w 4519987"/>
                  <a:gd name="connsiteY54" fmla="*/ 3200400 h 4429225"/>
                  <a:gd name="connsiteX55" fmla="*/ 240052 w 4519987"/>
                  <a:gd name="connsiteY55" fmla="*/ 3162300 h 4429225"/>
                  <a:gd name="connsiteX56" fmla="*/ 221002 w 4519987"/>
                  <a:gd name="connsiteY56" fmla="*/ 3105150 h 4429225"/>
                  <a:gd name="connsiteX57" fmla="*/ 173377 w 4519987"/>
                  <a:gd name="connsiteY57" fmla="*/ 3019425 h 4429225"/>
                  <a:gd name="connsiteX58" fmla="*/ 144802 w 4519987"/>
                  <a:gd name="connsiteY58" fmla="*/ 2924175 h 4429225"/>
                  <a:gd name="connsiteX59" fmla="*/ 68602 w 4519987"/>
                  <a:gd name="connsiteY59" fmla="*/ 2724150 h 4429225"/>
                  <a:gd name="connsiteX60" fmla="*/ 49552 w 4519987"/>
                  <a:gd name="connsiteY60" fmla="*/ 2638425 h 4429225"/>
                  <a:gd name="connsiteX61" fmla="*/ 40027 w 4519987"/>
                  <a:gd name="connsiteY61" fmla="*/ 2562225 h 4429225"/>
                  <a:gd name="connsiteX62" fmla="*/ 30502 w 4519987"/>
                  <a:gd name="connsiteY62" fmla="*/ 2514600 h 4429225"/>
                  <a:gd name="connsiteX63" fmla="*/ 11452 w 4519987"/>
                  <a:gd name="connsiteY63" fmla="*/ 2400300 h 4429225"/>
                  <a:gd name="connsiteX64" fmla="*/ 20977 w 4519987"/>
                  <a:gd name="connsiteY64" fmla="*/ 1905000 h 4429225"/>
                  <a:gd name="connsiteX65" fmla="*/ 30502 w 4519987"/>
                  <a:gd name="connsiteY65" fmla="*/ 1838325 h 4429225"/>
                  <a:gd name="connsiteX66" fmla="*/ 49552 w 4519987"/>
                  <a:gd name="connsiteY66" fmla="*/ 1781175 h 4429225"/>
                  <a:gd name="connsiteX67" fmla="*/ 59077 w 4519987"/>
                  <a:gd name="connsiteY67" fmla="*/ 1743075 h 4429225"/>
                  <a:gd name="connsiteX68" fmla="*/ 78127 w 4519987"/>
                  <a:gd name="connsiteY68" fmla="*/ 1685925 h 4429225"/>
                  <a:gd name="connsiteX69" fmla="*/ 87652 w 4519987"/>
                  <a:gd name="connsiteY69" fmla="*/ 1638300 h 4429225"/>
                  <a:gd name="connsiteX70" fmla="*/ 106702 w 4519987"/>
                  <a:gd name="connsiteY70" fmla="*/ 1590675 h 4429225"/>
                  <a:gd name="connsiteX71" fmla="*/ 135277 w 4519987"/>
                  <a:gd name="connsiteY71" fmla="*/ 1504950 h 4429225"/>
                  <a:gd name="connsiteX72" fmla="*/ 154327 w 4519987"/>
                  <a:gd name="connsiteY72" fmla="*/ 1419225 h 4429225"/>
                  <a:gd name="connsiteX73" fmla="*/ 230527 w 4519987"/>
                  <a:gd name="connsiteY73" fmla="*/ 1276350 h 4429225"/>
                  <a:gd name="connsiteX74" fmla="*/ 240052 w 4519987"/>
                  <a:gd name="connsiteY74" fmla="*/ 1247775 h 4429225"/>
                  <a:gd name="connsiteX75" fmla="*/ 268627 w 4519987"/>
                  <a:gd name="connsiteY75" fmla="*/ 1200150 h 4429225"/>
                  <a:gd name="connsiteX76" fmla="*/ 287677 w 4519987"/>
                  <a:gd name="connsiteY76" fmla="*/ 1152525 h 4429225"/>
                  <a:gd name="connsiteX77" fmla="*/ 316252 w 4519987"/>
                  <a:gd name="connsiteY77" fmla="*/ 1114425 h 4429225"/>
                  <a:gd name="connsiteX78" fmla="*/ 363877 w 4519987"/>
                  <a:gd name="connsiteY78" fmla="*/ 1038225 h 4429225"/>
                  <a:gd name="connsiteX79" fmla="*/ 382927 w 4519987"/>
                  <a:gd name="connsiteY79" fmla="*/ 1009650 h 4429225"/>
                  <a:gd name="connsiteX80" fmla="*/ 440077 w 4519987"/>
                  <a:gd name="connsiteY80" fmla="*/ 904875 h 4429225"/>
                  <a:gd name="connsiteX81" fmla="*/ 478177 w 4519987"/>
                  <a:gd name="connsiteY81" fmla="*/ 857250 h 4429225"/>
                  <a:gd name="connsiteX82" fmla="*/ 497227 w 4519987"/>
                  <a:gd name="connsiteY82" fmla="*/ 828675 h 4429225"/>
                  <a:gd name="connsiteX83" fmla="*/ 535327 w 4519987"/>
                  <a:gd name="connsiteY83" fmla="*/ 800100 h 4429225"/>
                  <a:gd name="connsiteX84" fmla="*/ 602002 w 4519987"/>
                  <a:gd name="connsiteY84" fmla="*/ 733425 h 4429225"/>
                  <a:gd name="connsiteX85" fmla="*/ 668677 w 4519987"/>
                  <a:gd name="connsiteY85" fmla="*/ 676275 h 4429225"/>
                  <a:gd name="connsiteX86" fmla="*/ 697252 w 4519987"/>
                  <a:gd name="connsiteY86" fmla="*/ 657225 h 4429225"/>
                  <a:gd name="connsiteX87" fmla="*/ 840127 w 4519987"/>
                  <a:gd name="connsiteY87" fmla="*/ 533400 h 4429225"/>
                  <a:gd name="connsiteX88" fmla="*/ 887752 w 4519987"/>
                  <a:gd name="connsiteY88" fmla="*/ 504825 h 4429225"/>
                  <a:gd name="connsiteX89" fmla="*/ 1167152 w 4519987"/>
                  <a:gd name="connsiteY89" fmla="*/ 311150 h 4429225"/>
                  <a:gd name="connsiteX90" fmla="*/ 1268752 w 4519987"/>
                  <a:gd name="connsiteY90" fmla="*/ 285750 h 4429225"/>
                  <a:gd name="connsiteX91" fmla="*/ 1411627 w 4519987"/>
                  <a:gd name="connsiteY91" fmla="*/ 190500 h 4429225"/>
                  <a:gd name="connsiteX92" fmla="*/ 1449727 w 4519987"/>
                  <a:gd name="connsiteY92" fmla="*/ 161925 h 4429225"/>
                  <a:gd name="connsiteX93" fmla="*/ 1525927 w 4519987"/>
                  <a:gd name="connsiteY93" fmla="*/ 152400 h 4429225"/>
                  <a:gd name="connsiteX94" fmla="*/ 1583077 w 4519987"/>
                  <a:gd name="connsiteY94" fmla="*/ 142875 h 4429225"/>
                  <a:gd name="connsiteX95" fmla="*/ 1716427 w 4519987"/>
                  <a:gd name="connsiteY95" fmla="*/ 123825 h 4429225"/>
                  <a:gd name="connsiteX96" fmla="*/ 1811677 w 4519987"/>
                  <a:gd name="connsiteY96" fmla="*/ 114300 h 4429225"/>
                  <a:gd name="connsiteX97" fmla="*/ 1859302 w 4519987"/>
                  <a:gd name="connsiteY97" fmla="*/ 104775 h 4429225"/>
                  <a:gd name="connsiteX98" fmla="*/ 1916452 w 4519987"/>
                  <a:gd name="connsiteY98" fmla="*/ 95250 h 4429225"/>
                  <a:gd name="connsiteX99" fmla="*/ 2030752 w 4519987"/>
                  <a:gd name="connsiteY99" fmla="*/ 66675 h 4429225"/>
                  <a:gd name="connsiteX100" fmla="*/ 2097427 w 4519987"/>
                  <a:gd name="connsiteY100" fmla="*/ 47625 h 4429225"/>
                  <a:gd name="connsiteX101" fmla="*/ 2164102 w 4519987"/>
                  <a:gd name="connsiteY101" fmla="*/ 38100 h 4429225"/>
                  <a:gd name="connsiteX102" fmla="*/ 2392702 w 4519987"/>
                  <a:gd name="connsiteY102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49577 w 4519987"/>
                  <a:gd name="connsiteY53" fmla="*/ 3200400 h 4429225"/>
                  <a:gd name="connsiteX54" fmla="*/ 240052 w 4519987"/>
                  <a:gd name="connsiteY54" fmla="*/ 3162300 h 4429225"/>
                  <a:gd name="connsiteX55" fmla="*/ 221002 w 4519987"/>
                  <a:gd name="connsiteY55" fmla="*/ 3105150 h 4429225"/>
                  <a:gd name="connsiteX56" fmla="*/ 173377 w 4519987"/>
                  <a:gd name="connsiteY56" fmla="*/ 3019425 h 4429225"/>
                  <a:gd name="connsiteX57" fmla="*/ 144802 w 4519987"/>
                  <a:gd name="connsiteY57" fmla="*/ 2924175 h 4429225"/>
                  <a:gd name="connsiteX58" fmla="*/ 68602 w 4519987"/>
                  <a:gd name="connsiteY58" fmla="*/ 2724150 h 4429225"/>
                  <a:gd name="connsiteX59" fmla="*/ 49552 w 4519987"/>
                  <a:gd name="connsiteY59" fmla="*/ 2638425 h 4429225"/>
                  <a:gd name="connsiteX60" fmla="*/ 40027 w 4519987"/>
                  <a:gd name="connsiteY60" fmla="*/ 2562225 h 4429225"/>
                  <a:gd name="connsiteX61" fmla="*/ 30502 w 4519987"/>
                  <a:gd name="connsiteY61" fmla="*/ 2514600 h 4429225"/>
                  <a:gd name="connsiteX62" fmla="*/ 11452 w 4519987"/>
                  <a:gd name="connsiteY62" fmla="*/ 2400300 h 4429225"/>
                  <a:gd name="connsiteX63" fmla="*/ 20977 w 4519987"/>
                  <a:gd name="connsiteY63" fmla="*/ 1905000 h 4429225"/>
                  <a:gd name="connsiteX64" fmla="*/ 30502 w 4519987"/>
                  <a:gd name="connsiteY64" fmla="*/ 1838325 h 4429225"/>
                  <a:gd name="connsiteX65" fmla="*/ 49552 w 4519987"/>
                  <a:gd name="connsiteY65" fmla="*/ 1781175 h 4429225"/>
                  <a:gd name="connsiteX66" fmla="*/ 59077 w 4519987"/>
                  <a:gd name="connsiteY66" fmla="*/ 1743075 h 4429225"/>
                  <a:gd name="connsiteX67" fmla="*/ 78127 w 4519987"/>
                  <a:gd name="connsiteY67" fmla="*/ 1685925 h 4429225"/>
                  <a:gd name="connsiteX68" fmla="*/ 87652 w 4519987"/>
                  <a:gd name="connsiteY68" fmla="*/ 1638300 h 4429225"/>
                  <a:gd name="connsiteX69" fmla="*/ 106702 w 4519987"/>
                  <a:gd name="connsiteY69" fmla="*/ 1590675 h 4429225"/>
                  <a:gd name="connsiteX70" fmla="*/ 135277 w 4519987"/>
                  <a:gd name="connsiteY70" fmla="*/ 1504950 h 4429225"/>
                  <a:gd name="connsiteX71" fmla="*/ 154327 w 4519987"/>
                  <a:gd name="connsiteY71" fmla="*/ 1419225 h 4429225"/>
                  <a:gd name="connsiteX72" fmla="*/ 230527 w 4519987"/>
                  <a:gd name="connsiteY72" fmla="*/ 1276350 h 4429225"/>
                  <a:gd name="connsiteX73" fmla="*/ 240052 w 4519987"/>
                  <a:gd name="connsiteY73" fmla="*/ 1247775 h 4429225"/>
                  <a:gd name="connsiteX74" fmla="*/ 268627 w 4519987"/>
                  <a:gd name="connsiteY74" fmla="*/ 1200150 h 4429225"/>
                  <a:gd name="connsiteX75" fmla="*/ 287677 w 4519987"/>
                  <a:gd name="connsiteY75" fmla="*/ 1152525 h 4429225"/>
                  <a:gd name="connsiteX76" fmla="*/ 316252 w 4519987"/>
                  <a:gd name="connsiteY76" fmla="*/ 1114425 h 4429225"/>
                  <a:gd name="connsiteX77" fmla="*/ 363877 w 4519987"/>
                  <a:gd name="connsiteY77" fmla="*/ 1038225 h 4429225"/>
                  <a:gd name="connsiteX78" fmla="*/ 382927 w 4519987"/>
                  <a:gd name="connsiteY78" fmla="*/ 1009650 h 4429225"/>
                  <a:gd name="connsiteX79" fmla="*/ 440077 w 4519987"/>
                  <a:gd name="connsiteY79" fmla="*/ 904875 h 4429225"/>
                  <a:gd name="connsiteX80" fmla="*/ 478177 w 4519987"/>
                  <a:gd name="connsiteY80" fmla="*/ 857250 h 4429225"/>
                  <a:gd name="connsiteX81" fmla="*/ 497227 w 4519987"/>
                  <a:gd name="connsiteY81" fmla="*/ 828675 h 4429225"/>
                  <a:gd name="connsiteX82" fmla="*/ 535327 w 4519987"/>
                  <a:gd name="connsiteY82" fmla="*/ 800100 h 4429225"/>
                  <a:gd name="connsiteX83" fmla="*/ 602002 w 4519987"/>
                  <a:gd name="connsiteY83" fmla="*/ 733425 h 4429225"/>
                  <a:gd name="connsiteX84" fmla="*/ 668677 w 4519987"/>
                  <a:gd name="connsiteY84" fmla="*/ 676275 h 4429225"/>
                  <a:gd name="connsiteX85" fmla="*/ 697252 w 4519987"/>
                  <a:gd name="connsiteY85" fmla="*/ 657225 h 4429225"/>
                  <a:gd name="connsiteX86" fmla="*/ 840127 w 4519987"/>
                  <a:gd name="connsiteY86" fmla="*/ 533400 h 4429225"/>
                  <a:gd name="connsiteX87" fmla="*/ 887752 w 4519987"/>
                  <a:gd name="connsiteY87" fmla="*/ 504825 h 4429225"/>
                  <a:gd name="connsiteX88" fmla="*/ 1167152 w 4519987"/>
                  <a:gd name="connsiteY88" fmla="*/ 311150 h 4429225"/>
                  <a:gd name="connsiteX89" fmla="*/ 1268752 w 4519987"/>
                  <a:gd name="connsiteY89" fmla="*/ 285750 h 4429225"/>
                  <a:gd name="connsiteX90" fmla="*/ 1411627 w 4519987"/>
                  <a:gd name="connsiteY90" fmla="*/ 190500 h 4429225"/>
                  <a:gd name="connsiteX91" fmla="*/ 1449727 w 4519987"/>
                  <a:gd name="connsiteY91" fmla="*/ 161925 h 4429225"/>
                  <a:gd name="connsiteX92" fmla="*/ 1525927 w 4519987"/>
                  <a:gd name="connsiteY92" fmla="*/ 152400 h 4429225"/>
                  <a:gd name="connsiteX93" fmla="*/ 1583077 w 4519987"/>
                  <a:gd name="connsiteY93" fmla="*/ 142875 h 4429225"/>
                  <a:gd name="connsiteX94" fmla="*/ 1716427 w 4519987"/>
                  <a:gd name="connsiteY94" fmla="*/ 123825 h 4429225"/>
                  <a:gd name="connsiteX95" fmla="*/ 1811677 w 4519987"/>
                  <a:gd name="connsiteY95" fmla="*/ 114300 h 4429225"/>
                  <a:gd name="connsiteX96" fmla="*/ 1859302 w 4519987"/>
                  <a:gd name="connsiteY96" fmla="*/ 104775 h 4429225"/>
                  <a:gd name="connsiteX97" fmla="*/ 1916452 w 4519987"/>
                  <a:gd name="connsiteY97" fmla="*/ 95250 h 4429225"/>
                  <a:gd name="connsiteX98" fmla="*/ 2030752 w 4519987"/>
                  <a:gd name="connsiteY98" fmla="*/ 66675 h 4429225"/>
                  <a:gd name="connsiteX99" fmla="*/ 2097427 w 4519987"/>
                  <a:gd name="connsiteY99" fmla="*/ 47625 h 4429225"/>
                  <a:gd name="connsiteX100" fmla="*/ 2164102 w 4519987"/>
                  <a:gd name="connsiteY100" fmla="*/ 38100 h 4429225"/>
                  <a:gd name="connsiteX101" fmla="*/ 2392702 w 4519987"/>
                  <a:gd name="connsiteY101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49577 w 4519987"/>
                  <a:gd name="connsiteY53" fmla="*/ 3200400 h 4429225"/>
                  <a:gd name="connsiteX54" fmla="*/ 221002 w 4519987"/>
                  <a:gd name="connsiteY54" fmla="*/ 3105150 h 4429225"/>
                  <a:gd name="connsiteX55" fmla="*/ 173377 w 4519987"/>
                  <a:gd name="connsiteY55" fmla="*/ 3019425 h 4429225"/>
                  <a:gd name="connsiteX56" fmla="*/ 144802 w 4519987"/>
                  <a:gd name="connsiteY56" fmla="*/ 2924175 h 4429225"/>
                  <a:gd name="connsiteX57" fmla="*/ 68602 w 4519987"/>
                  <a:gd name="connsiteY57" fmla="*/ 2724150 h 4429225"/>
                  <a:gd name="connsiteX58" fmla="*/ 49552 w 4519987"/>
                  <a:gd name="connsiteY58" fmla="*/ 2638425 h 4429225"/>
                  <a:gd name="connsiteX59" fmla="*/ 40027 w 4519987"/>
                  <a:gd name="connsiteY59" fmla="*/ 2562225 h 4429225"/>
                  <a:gd name="connsiteX60" fmla="*/ 30502 w 4519987"/>
                  <a:gd name="connsiteY60" fmla="*/ 2514600 h 4429225"/>
                  <a:gd name="connsiteX61" fmla="*/ 11452 w 4519987"/>
                  <a:gd name="connsiteY61" fmla="*/ 2400300 h 4429225"/>
                  <a:gd name="connsiteX62" fmla="*/ 20977 w 4519987"/>
                  <a:gd name="connsiteY62" fmla="*/ 1905000 h 4429225"/>
                  <a:gd name="connsiteX63" fmla="*/ 30502 w 4519987"/>
                  <a:gd name="connsiteY63" fmla="*/ 1838325 h 4429225"/>
                  <a:gd name="connsiteX64" fmla="*/ 49552 w 4519987"/>
                  <a:gd name="connsiteY64" fmla="*/ 1781175 h 4429225"/>
                  <a:gd name="connsiteX65" fmla="*/ 59077 w 4519987"/>
                  <a:gd name="connsiteY65" fmla="*/ 1743075 h 4429225"/>
                  <a:gd name="connsiteX66" fmla="*/ 78127 w 4519987"/>
                  <a:gd name="connsiteY66" fmla="*/ 1685925 h 4429225"/>
                  <a:gd name="connsiteX67" fmla="*/ 87652 w 4519987"/>
                  <a:gd name="connsiteY67" fmla="*/ 1638300 h 4429225"/>
                  <a:gd name="connsiteX68" fmla="*/ 106702 w 4519987"/>
                  <a:gd name="connsiteY68" fmla="*/ 1590675 h 4429225"/>
                  <a:gd name="connsiteX69" fmla="*/ 135277 w 4519987"/>
                  <a:gd name="connsiteY69" fmla="*/ 1504950 h 4429225"/>
                  <a:gd name="connsiteX70" fmla="*/ 154327 w 4519987"/>
                  <a:gd name="connsiteY70" fmla="*/ 1419225 h 4429225"/>
                  <a:gd name="connsiteX71" fmla="*/ 230527 w 4519987"/>
                  <a:gd name="connsiteY71" fmla="*/ 1276350 h 4429225"/>
                  <a:gd name="connsiteX72" fmla="*/ 240052 w 4519987"/>
                  <a:gd name="connsiteY72" fmla="*/ 1247775 h 4429225"/>
                  <a:gd name="connsiteX73" fmla="*/ 268627 w 4519987"/>
                  <a:gd name="connsiteY73" fmla="*/ 1200150 h 4429225"/>
                  <a:gd name="connsiteX74" fmla="*/ 287677 w 4519987"/>
                  <a:gd name="connsiteY74" fmla="*/ 1152525 h 4429225"/>
                  <a:gd name="connsiteX75" fmla="*/ 316252 w 4519987"/>
                  <a:gd name="connsiteY75" fmla="*/ 1114425 h 4429225"/>
                  <a:gd name="connsiteX76" fmla="*/ 363877 w 4519987"/>
                  <a:gd name="connsiteY76" fmla="*/ 1038225 h 4429225"/>
                  <a:gd name="connsiteX77" fmla="*/ 382927 w 4519987"/>
                  <a:gd name="connsiteY77" fmla="*/ 1009650 h 4429225"/>
                  <a:gd name="connsiteX78" fmla="*/ 440077 w 4519987"/>
                  <a:gd name="connsiteY78" fmla="*/ 904875 h 4429225"/>
                  <a:gd name="connsiteX79" fmla="*/ 478177 w 4519987"/>
                  <a:gd name="connsiteY79" fmla="*/ 857250 h 4429225"/>
                  <a:gd name="connsiteX80" fmla="*/ 497227 w 4519987"/>
                  <a:gd name="connsiteY80" fmla="*/ 828675 h 4429225"/>
                  <a:gd name="connsiteX81" fmla="*/ 535327 w 4519987"/>
                  <a:gd name="connsiteY81" fmla="*/ 800100 h 4429225"/>
                  <a:gd name="connsiteX82" fmla="*/ 602002 w 4519987"/>
                  <a:gd name="connsiteY82" fmla="*/ 733425 h 4429225"/>
                  <a:gd name="connsiteX83" fmla="*/ 668677 w 4519987"/>
                  <a:gd name="connsiteY83" fmla="*/ 676275 h 4429225"/>
                  <a:gd name="connsiteX84" fmla="*/ 697252 w 4519987"/>
                  <a:gd name="connsiteY84" fmla="*/ 657225 h 4429225"/>
                  <a:gd name="connsiteX85" fmla="*/ 840127 w 4519987"/>
                  <a:gd name="connsiteY85" fmla="*/ 533400 h 4429225"/>
                  <a:gd name="connsiteX86" fmla="*/ 887752 w 4519987"/>
                  <a:gd name="connsiteY86" fmla="*/ 504825 h 4429225"/>
                  <a:gd name="connsiteX87" fmla="*/ 1167152 w 4519987"/>
                  <a:gd name="connsiteY87" fmla="*/ 311150 h 4429225"/>
                  <a:gd name="connsiteX88" fmla="*/ 1268752 w 4519987"/>
                  <a:gd name="connsiteY88" fmla="*/ 285750 h 4429225"/>
                  <a:gd name="connsiteX89" fmla="*/ 1411627 w 4519987"/>
                  <a:gd name="connsiteY89" fmla="*/ 190500 h 4429225"/>
                  <a:gd name="connsiteX90" fmla="*/ 1449727 w 4519987"/>
                  <a:gd name="connsiteY90" fmla="*/ 161925 h 4429225"/>
                  <a:gd name="connsiteX91" fmla="*/ 1525927 w 4519987"/>
                  <a:gd name="connsiteY91" fmla="*/ 152400 h 4429225"/>
                  <a:gd name="connsiteX92" fmla="*/ 1583077 w 4519987"/>
                  <a:gd name="connsiteY92" fmla="*/ 142875 h 4429225"/>
                  <a:gd name="connsiteX93" fmla="*/ 1716427 w 4519987"/>
                  <a:gd name="connsiteY93" fmla="*/ 123825 h 4429225"/>
                  <a:gd name="connsiteX94" fmla="*/ 1811677 w 4519987"/>
                  <a:gd name="connsiteY94" fmla="*/ 114300 h 4429225"/>
                  <a:gd name="connsiteX95" fmla="*/ 1859302 w 4519987"/>
                  <a:gd name="connsiteY95" fmla="*/ 104775 h 4429225"/>
                  <a:gd name="connsiteX96" fmla="*/ 1916452 w 4519987"/>
                  <a:gd name="connsiteY96" fmla="*/ 95250 h 4429225"/>
                  <a:gd name="connsiteX97" fmla="*/ 2030752 w 4519987"/>
                  <a:gd name="connsiteY97" fmla="*/ 66675 h 4429225"/>
                  <a:gd name="connsiteX98" fmla="*/ 2097427 w 4519987"/>
                  <a:gd name="connsiteY98" fmla="*/ 47625 h 4429225"/>
                  <a:gd name="connsiteX99" fmla="*/ 2164102 w 4519987"/>
                  <a:gd name="connsiteY99" fmla="*/ 38100 h 4429225"/>
                  <a:gd name="connsiteX100" fmla="*/ 2392702 w 4519987"/>
                  <a:gd name="connsiteY100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73377 w 4519987"/>
                  <a:gd name="connsiteY54" fmla="*/ 3019425 h 4429225"/>
                  <a:gd name="connsiteX55" fmla="*/ 144802 w 4519987"/>
                  <a:gd name="connsiteY55" fmla="*/ 2924175 h 4429225"/>
                  <a:gd name="connsiteX56" fmla="*/ 68602 w 4519987"/>
                  <a:gd name="connsiteY56" fmla="*/ 2724150 h 4429225"/>
                  <a:gd name="connsiteX57" fmla="*/ 49552 w 4519987"/>
                  <a:gd name="connsiteY57" fmla="*/ 2638425 h 4429225"/>
                  <a:gd name="connsiteX58" fmla="*/ 40027 w 4519987"/>
                  <a:gd name="connsiteY58" fmla="*/ 2562225 h 4429225"/>
                  <a:gd name="connsiteX59" fmla="*/ 30502 w 4519987"/>
                  <a:gd name="connsiteY59" fmla="*/ 2514600 h 4429225"/>
                  <a:gd name="connsiteX60" fmla="*/ 11452 w 4519987"/>
                  <a:gd name="connsiteY60" fmla="*/ 2400300 h 4429225"/>
                  <a:gd name="connsiteX61" fmla="*/ 20977 w 4519987"/>
                  <a:gd name="connsiteY61" fmla="*/ 1905000 h 4429225"/>
                  <a:gd name="connsiteX62" fmla="*/ 30502 w 4519987"/>
                  <a:gd name="connsiteY62" fmla="*/ 1838325 h 4429225"/>
                  <a:gd name="connsiteX63" fmla="*/ 49552 w 4519987"/>
                  <a:gd name="connsiteY63" fmla="*/ 1781175 h 4429225"/>
                  <a:gd name="connsiteX64" fmla="*/ 59077 w 4519987"/>
                  <a:gd name="connsiteY64" fmla="*/ 1743075 h 4429225"/>
                  <a:gd name="connsiteX65" fmla="*/ 78127 w 4519987"/>
                  <a:gd name="connsiteY65" fmla="*/ 1685925 h 4429225"/>
                  <a:gd name="connsiteX66" fmla="*/ 87652 w 4519987"/>
                  <a:gd name="connsiteY66" fmla="*/ 1638300 h 4429225"/>
                  <a:gd name="connsiteX67" fmla="*/ 106702 w 4519987"/>
                  <a:gd name="connsiteY67" fmla="*/ 1590675 h 4429225"/>
                  <a:gd name="connsiteX68" fmla="*/ 135277 w 4519987"/>
                  <a:gd name="connsiteY68" fmla="*/ 1504950 h 4429225"/>
                  <a:gd name="connsiteX69" fmla="*/ 154327 w 4519987"/>
                  <a:gd name="connsiteY69" fmla="*/ 1419225 h 4429225"/>
                  <a:gd name="connsiteX70" fmla="*/ 230527 w 4519987"/>
                  <a:gd name="connsiteY70" fmla="*/ 1276350 h 4429225"/>
                  <a:gd name="connsiteX71" fmla="*/ 240052 w 4519987"/>
                  <a:gd name="connsiteY71" fmla="*/ 1247775 h 4429225"/>
                  <a:gd name="connsiteX72" fmla="*/ 268627 w 4519987"/>
                  <a:gd name="connsiteY72" fmla="*/ 1200150 h 4429225"/>
                  <a:gd name="connsiteX73" fmla="*/ 287677 w 4519987"/>
                  <a:gd name="connsiteY73" fmla="*/ 1152525 h 4429225"/>
                  <a:gd name="connsiteX74" fmla="*/ 316252 w 4519987"/>
                  <a:gd name="connsiteY74" fmla="*/ 1114425 h 4429225"/>
                  <a:gd name="connsiteX75" fmla="*/ 363877 w 4519987"/>
                  <a:gd name="connsiteY75" fmla="*/ 1038225 h 4429225"/>
                  <a:gd name="connsiteX76" fmla="*/ 382927 w 4519987"/>
                  <a:gd name="connsiteY76" fmla="*/ 1009650 h 4429225"/>
                  <a:gd name="connsiteX77" fmla="*/ 440077 w 4519987"/>
                  <a:gd name="connsiteY77" fmla="*/ 904875 h 4429225"/>
                  <a:gd name="connsiteX78" fmla="*/ 478177 w 4519987"/>
                  <a:gd name="connsiteY78" fmla="*/ 857250 h 4429225"/>
                  <a:gd name="connsiteX79" fmla="*/ 497227 w 4519987"/>
                  <a:gd name="connsiteY79" fmla="*/ 828675 h 4429225"/>
                  <a:gd name="connsiteX80" fmla="*/ 535327 w 4519987"/>
                  <a:gd name="connsiteY80" fmla="*/ 800100 h 4429225"/>
                  <a:gd name="connsiteX81" fmla="*/ 602002 w 4519987"/>
                  <a:gd name="connsiteY81" fmla="*/ 733425 h 4429225"/>
                  <a:gd name="connsiteX82" fmla="*/ 668677 w 4519987"/>
                  <a:gd name="connsiteY82" fmla="*/ 676275 h 4429225"/>
                  <a:gd name="connsiteX83" fmla="*/ 697252 w 4519987"/>
                  <a:gd name="connsiteY83" fmla="*/ 657225 h 4429225"/>
                  <a:gd name="connsiteX84" fmla="*/ 840127 w 4519987"/>
                  <a:gd name="connsiteY84" fmla="*/ 533400 h 4429225"/>
                  <a:gd name="connsiteX85" fmla="*/ 887752 w 4519987"/>
                  <a:gd name="connsiteY85" fmla="*/ 504825 h 4429225"/>
                  <a:gd name="connsiteX86" fmla="*/ 1167152 w 4519987"/>
                  <a:gd name="connsiteY86" fmla="*/ 311150 h 4429225"/>
                  <a:gd name="connsiteX87" fmla="*/ 1268752 w 4519987"/>
                  <a:gd name="connsiteY87" fmla="*/ 285750 h 4429225"/>
                  <a:gd name="connsiteX88" fmla="*/ 1411627 w 4519987"/>
                  <a:gd name="connsiteY88" fmla="*/ 190500 h 4429225"/>
                  <a:gd name="connsiteX89" fmla="*/ 1449727 w 4519987"/>
                  <a:gd name="connsiteY89" fmla="*/ 161925 h 4429225"/>
                  <a:gd name="connsiteX90" fmla="*/ 1525927 w 4519987"/>
                  <a:gd name="connsiteY90" fmla="*/ 152400 h 4429225"/>
                  <a:gd name="connsiteX91" fmla="*/ 1583077 w 4519987"/>
                  <a:gd name="connsiteY91" fmla="*/ 142875 h 4429225"/>
                  <a:gd name="connsiteX92" fmla="*/ 1716427 w 4519987"/>
                  <a:gd name="connsiteY92" fmla="*/ 123825 h 4429225"/>
                  <a:gd name="connsiteX93" fmla="*/ 1811677 w 4519987"/>
                  <a:gd name="connsiteY93" fmla="*/ 114300 h 4429225"/>
                  <a:gd name="connsiteX94" fmla="*/ 1859302 w 4519987"/>
                  <a:gd name="connsiteY94" fmla="*/ 104775 h 4429225"/>
                  <a:gd name="connsiteX95" fmla="*/ 1916452 w 4519987"/>
                  <a:gd name="connsiteY95" fmla="*/ 95250 h 4429225"/>
                  <a:gd name="connsiteX96" fmla="*/ 2030752 w 4519987"/>
                  <a:gd name="connsiteY96" fmla="*/ 66675 h 4429225"/>
                  <a:gd name="connsiteX97" fmla="*/ 2097427 w 4519987"/>
                  <a:gd name="connsiteY97" fmla="*/ 47625 h 4429225"/>
                  <a:gd name="connsiteX98" fmla="*/ 2164102 w 4519987"/>
                  <a:gd name="connsiteY98" fmla="*/ 38100 h 4429225"/>
                  <a:gd name="connsiteX99" fmla="*/ 2392702 w 4519987"/>
                  <a:gd name="connsiteY99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49552 w 4519987"/>
                  <a:gd name="connsiteY56" fmla="*/ 2638425 h 4429225"/>
                  <a:gd name="connsiteX57" fmla="*/ 40027 w 4519987"/>
                  <a:gd name="connsiteY57" fmla="*/ 2562225 h 4429225"/>
                  <a:gd name="connsiteX58" fmla="*/ 30502 w 4519987"/>
                  <a:gd name="connsiteY58" fmla="*/ 2514600 h 4429225"/>
                  <a:gd name="connsiteX59" fmla="*/ 11452 w 4519987"/>
                  <a:gd name="connsiteY59" fmla="*/ 2400300 h 4429225"/>
                  <a:gd name="connsiteX60" fmla="*/ 20977 w 4519987"/>
                  <a:gd name="connsiteY60" fmla="*/ 1905000 h 4429225"/>
                  <a:gd name="connsiteX61" fmla="*/ 30502 w 4519987"/>
                  <a:gd name="connsiteY61" fmla="*/ 1838325 h 4429225"/>
                  <a:gd name="connsiteX62" fmla="*/ 49552 w 4519987"/>
                  <a:gd name="connsiteY62" fmla="*/ 1781175 h 4429225"/>
                  <a:gd name="connsiteX63" fmla="*/ 59077 w 4519987"/>
                  <a:gd name="connsiteY63" fmla="*/ 1743075 h 4429225"/>
                  <a:gd name="connsiteX64" fmla="*/ 78127 w 4519987"/>
                  <a:gd name="connsiteY64" fmla="*/ 1685925 h 4429225"/>
                  <a:gd name="connsiteX65" fmla="*/ 87652 w 4519987"/>
                  <a:gd name="connsiteY65" fmla="*/ 1638300 h 4429225"/>
                  <a:gd name="connsiteX66" fmla="*/ 106702 w 4519987"/>
                  <a:gd name="connsiteY66" fmla="*/ 1590675 h 4429225"/>
                  <a:gd name="connsiteX67" fmla="*/ 135277 w 4519987"/>
                  <a:gd name="connsiteY67" fmla="*/ 1504950 h 4429225"/>
                  <a:gd name="connsiteX68" fmla="*/ 154327 w 4519987"/>
                  <a:gd name="connsiteY68" fmla="*/ 1419225 h 4429225"/>
                  <a:gd name="connsiteX69" fmla="*/ 230527 w 4519987"/>
                  <a:gd name="connsiteY69" fmla="*/ 1276350 h 4429225"/>
                  <a:gd name="connsiteX70" fmla="*/ 240052 w 4519987"/>
                  <a:gd name="connsiteY70" fmla="*/ 1247775 h 4429225"/>
                  <a:gd name="connsiteX71" fmla="*/ 268627 w 4519987"/>
                  <a:gd name="connsiteY71" fmla="*/ 1200150 h 4429225"/>
                  <a:gd name="connsiteX72" fmla="*/ 287677 w 4519987"/>
                  <a:gd name="connsiteY72" fmla="*/ 1152525 h 4429225"/>
                  <a:gd name="connsiteX73" fmla="*/ 316252 w 4519987"/>
                  <a:gd name="connsiteY73" fmla="*/ 1114425 h 4429225"/>
                  <a:gd name="connsiteX74" fmla="*/ 363877 w 4519987"/>
                  <a:gd name="connsiteY74" fmla="*/ 1038225 h 4429225"/>
                  <a:gd name="connsiteX75" fmla="*/ 382927 w 4519987"/>
                  <a:gd name="connsiteY75" fmla="*/ 1009650 h 4429225"/>
                  <a:gd name="connsiteX76" fmla="*/ 440077 w 4519987"/>
                  <a:gd name="connsiteY76" fmla="*/ 904875 h 4429225"/>
                  <a:gd name="connsiteX77" fmla="*/ 478177 w 4519987"/>
                  <a:gd name="connsiteY77" fmla="*/ 857250 h 4429225"/>
                  <a:gd name="connsiteX78" fmla="*/ 497227 w 4519987"/>
                  <a:gd name="connsiteY78" fmla="*/ 828675 h 4429225"/>
                  <a:gd name="connsiteX79" fmla="*/ 535327 w 4519987"/>
                  <a:gd name="connsiteY79" fmla="*/ 800100 h 4429225"/>
                  <a:gd name="connsiteX80" fmla="*/ 602002 w 4519987"/>
                  <a:gd name="connsiteY80" fmla="*/ 733425 h 4429225"/>
                  <a:gd name="connsiteX81" fmla="*/ 668677 w 4519987"/>
                  <a:gd name="connsiteY81" fmla="*/ 676275 h 4429225"/>
                  <a:gd name="connsiteX82" fmla="*/ 697252 w 4519987"/>
                  <a:gd name="connsiteY82" fmla="*/ 657225 h 4429225"/>
                  <a:gd name="connsiteX83" fmla="*/ 840127 w 4519987"/>
                  <a:gd name="connsiteY83" fmla="*/ 533400 h 4429225"/>
                  <a:gd name="connsiteX84" fmla="*/ 887752 w 4519987"/>
                  <a:gd name="connsiteY84" fmla="*/ 504825 h 4429225"/>
                  <a:gd name="connsiteX85" fmla="*/ 1167152 w 4519987"/>
                  <a:gd name="connsiteY85" fmla="*/ 311150 h 4429225"/>
                  <a:gd name="connsiteX86" fmla="*/ 1268752 w 4519987"/>
                  <a:gd name="connsiteY86" fmla="*/ 285750 h 4429225"/>
                  <a:gd name="connsiteX87" fmla="*/ 1411627 w 4519987"/>
                  <a:gd name="connsiteY87" fmla="*/ 190500 h 4429225"/>
                  <a:gd name="connsiteX88" fmla="*/ 1449727 w 4519987"/>
                  <a:gd name="connsiteY88" fmla="*/ 161925 h 4429225"/>
                  <a:gd name="connsiteX89" fmla="*/ 1525927 w 4519987"/>
                  <a:gd name="connsiteY89" fmla="*/ 152400 h 4429225"/>
                  <a:gd name="connsiteX90" fmla="*/ 1583077 w 4519987"/>
                  <a:gd name="connsiteY90" fmla="*/ 142875 h 4429225"/>
                  <a:gd name="connsiteX91" fmla="*/ 1716427 w 4519987"/>
                  <a:gd name="connsiteY91" fmla="*/ 123825 h 4429225"/>
                  <a:gd name="connsiteX92" fmla="*/ 1811677 w 4519987"/>
                  <a:gd name="connsiteY92" fmla="*/ 114300 h 4429225"/>
                  <a:gd name="connsiteX93" fmla="*/ 1859302 w 4519987"/>
                  <a:gd name="connsiteY93" fmla="*/ 104775 h 4429225"/>
                  <a:gd name="connsiteX94" fmla="*/ 1916452 w 4519987"/>
                  <a:gd name="connsiteY94" fmla="*/ 95250 h 4429225"/>
                  <a:gd name="connsiteX95" fmla="*/ 2030752 w 4519987"/>
                  <a:gd name="connsiteY95" fmla="*/ 66675 h 4429225"/>
                  <a:gd name="connsiteX96" fmla="*/ 2097427 w 4519987"/>
                  <a:gd name="connsiteY96" fmla="*/ 47625 h 4429225"/>
                  <a:gd name="connsiteX97" fmla="*/ 2164102 w 4519987"/>
                  <a:gd name="connsiteY97" fmla="*/ 38100 h 4429225"/>
                  <a:gd name="connsiteX98" fmla="*/ 2392702 w 4519987"/>
                  <a:gd name="connsiteY98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40027 w 4519987"/>
                  <a:gd name="connsiteY56" fmla="*/ 2562225 h 4429225"/>
                  <a:gd name="connsiteX57" fmla="*/ 30502 w 4519987"/>
                  <a:gd name="connsiteY57" fmla="*/ 2514600 h 4429225"/>
                  <a:gd name="connsiteX58" fmla="*/ 11452 w 4519987"/>
                  <a:gd name="connsiteY58" fmla="*/ 2400300 h 4429225"/>
                  <a:gd name="connsiteX59" fmla="*/ 20977 w 4519987"/>
                  <a:gd name="connsiteY59" fmla="*/ 1905000 h 4429225"/>
                  <a:gd name="connsiteX60" fmla="*/ 30502 w 4519987"/>
                  <a:gd name="connsiteY60" fmla="*/ 1838325 h 4429225"/>
                  <a:gd name="connsiteX61" fmla="*/ 49552 w 4519987"/>
                  <a:gd name="connsiteY61" fmla="*/ 1781175 h 4429225"/>
                  <a:gd name="connsiteX62" fmla="*/ 59077 w 4519987"/>
                  <a:gd name="connsiteY62" fmla="*/ 1743075 h 4429225"/>
                  <a:gd name="connsiteX63" fmla="*/ 78127 w 4519987"/>
                  <a:gd name="connsiteY63" fmla="*/ 1685925 h 4429225"/>
                  <a:gd name="connsiteX64" fmla="*/ 87652 w 4519987"/>
                  <a:gd name="connsiteY64" fmla="*/ 1638300 h 4429225"/>
                  <a:gd name="connsiteX65" fmla="*/ 106702 w 4519987"/>
                  <a:gd name="connsiteY65" fmla="*/ 1590675 h 4429225"/>
                  <a:gd name="connsiteX66" fmla="*/ 135277 w 4519987"/>
                  <a:gd name="connsiteY66" fmla="*/ 1504950 h 4429225"/>
                  <a:gd name="connsiteX67" fmla="*/ 154327 w 4519987"/>
                  <a:gd name="connsiteY67" fmla="*/ 1419225 h 4429225"/>
                  <a:gd name="connsiteX68" fmla="*/ 230527 w 4519987"/>
                  <a:gd name="connsiteY68" fmla="*/ 1276350 h 4429225"/>
                  <a:gd name="connsiteX69" fmla="*/ 240052 w 4519987"/>
                  <a:gd name="connsiteY69" fmla="*/ 1247775 h 4429225"/>
                  <a:gd name="connsiteX70" fmla="*/ 268627 w 4519987"/>
                  <a:gd name="connsiteY70" fmla="*/ 1200150 h 4429225"/>
                  <a:gd name="connsiteX71" fmla="*/ 287677 w 4519987"/>
                  <a:gd name="connsiteY71" fmla="*/ 1152525 h 4429225"/>
                  <a:gd name="connsiteX72" fmla="*/ 316252 w 4519987"/>
                  <a:gd name="connsiteY72" fmla="*/ 1114425 h 4429225"/>
                  <a:gd name="connsiteX73" fmla="*/ 363877 w 4519987"/>
                  <a:gd name="connsiteY73" fmla="*/ 1038225 h 4429225"/>
                  <a:gd name="connsiteX74" fmla="*/ 382927 w 4519987"/>
                  <a:gd name="connsiteY74" fmla="*/ 1009650 h 4429225"/>
                  <a:gd name="connsiteX75" fmla="*/ 440077 w 4519987"/>
                  <a:gd name="connsiteY75" fmla="*/ 904875 h 4429225"/>
                  <a:gd name="connsiteX76" fmla="*/ 478177 w 4519987"/>
                  <a:gd name="connsiteY76" fmla="*/ 857250 h 4429225"/>
                  <a:gd name="connsiteX77" fmla="*/ 497227 w 4519987"/>
                  <a:gd name="connsiteY77" fmla="*/ 828675 h 4429225"/>
                  <a:gd name="connsiteX78" fmla="*/ 535327 w 4519987"/>
                  <a:gd name="connsiteY78" fmla="*/ 800100 h 4429225"/>
                  <a:gd name="connsiteX79" fmla="*/ 602002 w 4519987"/>
                  <a:gd name="connsiteY79" fmla="*/ 733425 h 4429225"/>
                  <a:gd name="connsiteX80" fmla="*/ 668677 w 4519987"/>
                  <a:gd name="connsiteY80" fmla="*/ 676275 h 4429225"/>
                  <a:gd name="connsiteX81" fmla="*/ 697252 w 4519987"/>
                  <a:gd name="connsiteY81" fmla="*/ 657225 h 4429225"/>
                  <a:gd name="connsiteX82" fmla="*/ 840127 w 4519987"/>
                  <a:gd name="connsiteY82" fmla="*/ 533400 h 4429225"/>
                  <a:gd name="connsiteX83" fmla="*/ 887752 w 4519987"/>
                  <a:gd name="connsiteY83" fmla="*/ 504825 h 4429225"/>
                  <a:gd name="connsiteX84" fmla="*/ 1167152 w 4519987"/>
                  <a:gd name="connsiteY84" fmla="*/ 311150 h 4429225"/>
                  <a:gd name="connsiteX85" fmla="*/ 1268752 w 4519987"/>
                  <a:gd name="connsiteY85" fmla="*/ 285750 h 4429225"/>
                  <a:gd name="connsiteX86" fmla="*/ 1411627 w 4519987"/>
                  <a:gd name="connsiteY86" fmla="*/ 190500 h 4429225"/>
                  <a:gd name="connsiteX87" fmla="*/ 1449727 w 4519987"/>
                  <a:gd name="connsiteY87" fmla="*/ 161925 h 4429225"/>
                  <a:gd name="connsiteX88" fmla="*/ 1525927 w 4519987"/>
                  <a:gd name="connsiteY88" fmla="*/ 152400 h 4429225"/>
                  <a:gd name="connsiteX89" fmla="*/ 1583077 w 4519987"/>
                  <a:gd name="connsiteY89" fmla="*/ 142875 h 4429225"/>
                  <a:gd name="connsiteX90" fmla="*/ 1716427 w 4519987"/>
                  <a:gd name="connsiteY90" fmla="*/ 123825 h 4429225"/>
                  <a:gd name="connsiteX91" fmla="*/ 1811677 w 4519987"/>
                  <a:gd name="connsiteY91" fmla="*/ 114300 h 4429225"/>
                  <a:gd name="connsiteX92" fmla="*/ 1859302 w 4519987"/>
                  <a:gd name="connsiteY92" fmla="*/ 104775 h 4429225"/>
                  <a:gd name="connsiteX93" fmla="*/ 1916452 w 4519987"/>
                  <a:gd name="connsiteY93" fmla="*/ 95250 h 4429225"/>
                  <a:gd name="connsiteX94" fmla="*/ 2030752 w 4519987"/>
                  <a:gd name="connsiteY94" fmla="*/ 66675 h 4429225"/>
                  <a:gd name="connsiteX95" fmla="*/ 2097427 w 4519987"/>
                  <a:gd name="connsiteY95" fmla="*/ 47625 h 4429225"/>
                  <a:gd name="connsiteX96" fmla="*/ 2164102 w 4519987"/>
                  <a:gd name="connsiteY96" fmla="*/ 38100 h 4429225"/>
                  <a:gd name="connsiteX97" fmla="*/ 2392702 w 4519987"/>
                  <a:gd name="connsiteY97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40027 w 4519987"/>
                  <a:gd name="connsiteY56" fmla="*/ 2562225 h 4429225"/>
                  <a:gd name="connsiteX57" fmla="*/ 11452 w 4519987"/>
                  <a:gd name="connsiteY57" fmla="*/ 2400300 h 4429225"/>
                  <a:gd name="connsiteX58" fmla="*/ 20977 w 4519987"/>
                  <a:gd name="connsiteY58" fmla="*/ 1905000 h 4429225"/>
                  <a:gd name="connsiteX59" fmla="*/ 30502 w 4519987"/>
                  <a:gd name="connsiteY59" fmla="*/ 1838325 h 4429225"/>
                  <a:gd name="connsiteX60" fmla="*/ 49552 w 4519987"/>
                  <a:gd name="connsiteY60" fmla="*/ 1781175 h 4429225"/>
                  <a:gd name="connsiteX61" fmla="*/ 59077 w 4519987"/>
                  <a:gd name="connsiteY61" fmla="*/ 1743075 h 4429225"/>
                  <a:gd name="connsiteX62" fmla="*/ 78127 w 4519987"/>
                  <a:gd name="connsiteY62" fmla="*/ 1685925 h 4429225"/>
                  <a:gd name="connsiteX63" fmla="*/ 87652 w 4519987"/>
                  <a:gd name="connsiteY63" fmla="*/ 1638300 h 4429225"/>
                  <a:gd name="connsiteX64" fmla="*/ 106702 w 4519987"/>
                  <a:gd name="connsiteY64" fmla="*/ 1590675 h 4429225"/>
                  <a:gd name="connsiteX65" fmla="*/ 135277 w 4519987"/>
                  <a:gd name="connsiteY65" fmla="*/ 1504950 h 4429225"/>
                  <a:gd name="connsiteX66" fmla="*/ 154327 w 4519987"/>
                  <a:gd name="connsiteY66" fmla="*/ 1419225 h 4429225"/>
                  <a:gd name="connsiteX67" fmla="*/ 230527 w 4519987"/>
                  <a:gd name="connsiteY67" fmla="*/ 1276350 h 4429225"/>
                  <a:gd name="connsiteX68" fmla="*/ 240052 w 4519987"/>
                  <a:gd name="connsiteY68" fmla="*/ 1247775 h 4429225"/>
                  <a:gd name="connsiteX69" fmla="*/ 268627 w 4519987"/>
                  <a:gd name="connsiteY69" fmla="*/ 1200150 h 4429225"/>
                  <a:gd name="connsiteX70" fmla="*/ 287677 w 4519987"/>
                  <a:gd name="connsiteY70" fmla="*/ 1152525 h 4429225"/>
                  <a:gd name="connsiteX71" fmla="*/ 316252 w 4519987"/>
                  <a:gd name="connsiteY71" fmla="*/ 1114425 h 4429225"/>
                  <a:gd name="connsiteX72" fmla="*/ 363877 w 4519987"/>
                  <a:gd name="connsiteY72" fmla="*/ 1038225 h 4429225"/>
                  <a:gd name="connsiteX73" fmla="*/ 382927 w 4519987"/>
                  <a:gd name="connsiteY73" fmla="*/ 1009650 h 4429225"/>
                  <a:gd name="connsiteX74" fmla="*/ 440077 w 4519987"/>
                  <a:gd name="connsiteY74" fmla="*/ 904875 h 4429225"/>
                  <a:gd name="connsiteX75" fmla="*/ 478177 w 4519987"/>
                  <a:gd name="connsiteY75" fmla="*/ 857250 h 4429225"/>
                  <a:gd name="connsiteX76" fmla="*/ 497227 w 4519987"/>
                  <a:gd name="connsiteY76" fmla="*/ 828675 h 4429225"/>
                  <a:gd name="connsiteX77" fmla="*/ 535327 w 4519987"/>
                  <a:gd name="connsiteY77" fmla="*/ 800100 h 4429225"/>
                  <a:gd name="connsiteX78" fmla="*/ 602002 w 4519987"/>
                  <a:gd name="connsiteY78" fmla="*/ 733425 h 4429225"/>
                  <a:gd name="connsiteX79" fmla="*/ 668677 w 4519987"/>
                  <a:gd name="connsiteY79" fmla="*/ 676275 h 4429225"/>
                  <a:gd name="connsiteX80" fmla="*/ 697252 w 4519987"/>
                  <a:gd name="connsiteY80" fmla="*/ 657225 h 4429225"/>
                  <a:gd name="connsiteX81" fmla="*/ 840127 w 4519987"/>
                  <a:gd name="connsiteY81" fmla="*/ 533400 h 4429225"/>
                  <a:gd name="connsiteX82" fmla="*/ 887752 w 4519987"/>
                  <a:gd name="connsiteY82" fmla="*/ 504825 h 4429225"/>
                  <a:gd name="connsiteX83" fmla="*/ 1167152 w 4519987"/>
                  <a:gd name="connsiteY83" fmla="*/ 311150 h 4429225"/>
                  <a:gd name="connsiteX84" fmla="*/ 1268752 w 4519987"/>
                  <a:gd name="connsiteY84" fmla="*/ 285750 h 4429225"/>
                  <a:gd name="connsiteX85" fmla="*/ 1411627 w 4519987"/>
                  <a:gd name="connsiteY85" fmla="*/ 190500 h 4429225"/>
                  <a:gd name="connsiteX86" fmla="*/ 1449727 w 4519987"/>
                  <a:gd name="connsiteY86" fmla="*/ 161925 h 4429225"/>
                  <a:gd name="connsiteX87" fmla="*/ 1525927 w 4519987"/>
                  <a:gd name="connsiteY87" fmla="*/ 152400 h 4429225"/>
                  <a:gd name="connsiteX88" fmla="*/ 1583077 w 4519987"/>
                  <a:gd name="connsiteY88" fmla="*/ 142875 h 4429225"/>
                  <a:gd name="connsiteX89" fmla="*/ 1716427 w 4519987"/>
                  <a:gd name="connsiteY89" fmla="*/ 123825 h 4429225"/>
                  <a:gd name="connsiteX90" fmla="*/ 1811677 w 4519987"/>
                  <a:gd name="connsiteY90" fmla="*/ 114300 h 4429225"/>
                  <a:gd name="connsiteX91" fmla="*/ 1859302 w 4519987"/>
                  <a:gd name="connsiteY91" fmla="*/ 104775 h 4429225"/>
                  <a:gd name="connsiteX92" fmla="*/ 1916452 w 4519987"/>
                  <a:gd name="connsiteY92" fmla="*/ 95250 h 4429225"/>
                  <a:gd name="connsiteX93" fmla="*/ 2030752 w 4519987"/>
                  <a:gd name="connsiteY93" fmla="*/ 66675 h 4429225"/>
                  <a:gd name="connsiteX94" fmla="*/ 2097427 w 4519987"/>
                  <a:gd name="connsiteY94" fmla="*/ 47625 h 4429225"/>
                  <a:gd name="connsiteX95" fmla="*/ 2164102 w 4519987"/>
                  <a:gd name="connsiteY95" fmla="*/ 38100 h 4429225"/>
                  <a:gd name="connsiteX96" fmla="*/ 2392702 w 4519987"/>
                  <a:gd name="connsiteY96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11452 w 4519987"/>
                  <a:gd name="connsiteY56" fmla="*/ 2400300 h 4429225"/>
                  <a:gd name="connsiteX57" fmla="*/ 20977 w 4519987"/>
                  <a:gd name="connsiteY57" fmla="*/ 1905000 h 4429225"/>
                  <a:gd name="connsiteX58" fmla="*/ 30502 w 4519987"/>
                  <a:gd name="connsiteY58" fmla="*/ 1838325 h 4429225"/>
                  <a:gd name="connsiteX59" fmla="*/ 49552 w 4519987"/>
                  <a:gd name="connsiteY59" fmla="*/ 1781175 h 4429225"/>
                  <a:gd name="connsiteX60" fmla="*/ 59077 w 4519987"/>
                  <a:gd name="connsiteY60" fmla="*/ 1743075 h 4429225"/>
                  <a:gd name="connsiteX61" fmla="*/ 78127 w 4519987"/>
                  <a:gd name="connsiteY61" fmla="*/ 1685925 h 4429225"/>
                  <a:gd name="connsiteX62" fmla="*/ 87652 w 4519987"/>
                  <a:gd name="connsiteY62" fmla="*/ 1638300 h 4429225"/>
                  <a:gd name="connsiteX63" fmla="*/ 106702 w 4519987"/>
                  <a:gd name="connsiteY63" fmla="*/ 1590675 h 4429225"/>
                  <a:gd name="connsiteX64" fmla="*/ 135277 w 4519987"/>
                  <a:gd name="connsiteY64" fmla="*/ 1504950 h 4429225"/>
                  <a:gd name="connsiteX65" fmla="*/ 154327 w 4519987"/>
                  <a:gd name="connsiteY65" fmla="*/ 1419225 h 4429225"/>
                  <a:gd name="connsiteX66" fmla="*/ 230527 w 4519987"/>
                  <a:gd name="connsiteY66" fmla="*/ 1276350 h 4429225"/>
                  <a:gd name="connsiteX67" fmla="*/ 240052 w 4519987"/>
                  <a:gd name="connsiteY67" fmla="*/ 1247775 h 4429225"/>
                  <a:gd name="connsiteX68" fmla="*/ 268627 w 4519987"/>
                  <a:gd name="connsiteY68" fmla="*/ 1200150 h 4429225"/>
                  <a:gd name="connsiteX69" fmla="*/ 287677 w 4519987"/>
                  <a:gd name="connsiteY69" fmla="*/ 1152525 h 4429225"/>
                  <a:gd name="connsiteX70" fmla="*/ 316252 w 4519987"/>
                  <a:gd name="connsiteY70" fmla="*/ 1114425 h 4429225"/>
                  <a:gd name="connsiteX71" fmla="*/ 363877 w 4519987"/>
                  <a:gd name="connsiteY71" fmla="*/ 1038225 h 4429225"/>
                  <a:gd name="connsiteX72" fmla="*/ 382927 w 4519987"/>
                  <a:gd name="connsiteY72" fmla="*/ 1009650 h 4429225"/>
                  <a:gd name="connsiteX73" fmla="*/ 440077 w 4519987"/>
                  <a:gd name="connsiteY73" fmla="*/ 904875 h 4429225"/>
                  <a:gd name="connsiteX74" fmla="*/ 478177 w 4519987"/>
                  <a:gd name="connsiteY74" fmla="*/ 857250 h 4429225"/>
                  <a:gd name="connsiteX75" fmla="*/ 497227 w 4519987"/>
                  <a:gd name="connsiteY75" fmla="*/ 828675 h 4429225"/>
                  <a:gd name="connsiteX76" fmla="*/ 535327 w 4519987"/>
                  <a:gd name="connsiteY76" fmla="*/ 800100 h 4429225"/>
                  <a:gd name="connsiteX77" fmla="*/ 602002 w 4519987"/>
                  <a:gd name="connsiteY77" fmla="*/ 733425 h 4429225"/>
                  <a:gd name="connsiteX78" fmla="*/ 668677 w 4519987"/>
                  <a:gd name="connsiteY78" fmla="*/ 676275 h 4429225"/>
                  <a:gd name="connsiteX79" fmla="*/ 697252 w 4519987"/>
                  <a:gd name="connsiteY79" fmla="*/ 657225 h 4429225"/>
                  <a:gd name="connsiteX80" fmla="*/ 840127 w 4519987"/>
                  <a:gd name="connsiteY80" fmla="*/ 533400 h 4429225"/>
                  <a:gd name="connsiteX81" fmla="*/ 887752 w 4519987"/>
                  <a:gd name="connsiteY81" fmla="*/ 504825 h 4429225"/>
                  <a:gd name="connsiteX82" fmla="*/ 1167152 w 4519987"/>
                  <a:gd name="connsiteY82" fmla="*/ 311150 h 4429225"/>
                  <a:gd name="connsiteX83" fmla="*/ 1268752 w 4519987"/>
                  <a:gd name="connsiteY83" fmla="*/ 285750 h 4429225"/>
                  <a:gd name="connsiteX84" fmla="*/ 1411627 w 4519987"/>
                  <a:gd name="connsiteY84" fmla="*/ 190500 h 4429225"/>
                  <a:gd name="connsiteX85" fmla="*/ 1449727 w 4519987"/>
                  <a:gd name="connsiteY85" fmla="*/ 161925 h 4429225"/>
                  <a:gd name="connsiteX86" fmla="*/ 1525927 w 4519987"/>
                  <a:gd name="connsiteY86" fmla="*/ 152400 h 4429225"/>
                  <a:gd name="connsiteX87" fmla="*/ 1583077 w 4519987"/>
                  <a:gd name="connsiteY87" fmla="*/ 142875 h 4429225"/>
                  <a:gd name="connsiteX88" fmla="*/ 1716427 w 4519987"/>
                  <a:gd name="connsiteY88" fmla="*/ 123825 h 4429225"/>
                  <a:gd name="connsiteX89" fmla="*/ 1811677 w 4519987"/>
                  <a:gd name="connsiteY89" fmla="*/ 114300 h 4429225"/>
                  <a:gd name="connsiteX90" fmla="*/ 1859302 w 4519987"/>
                  <a:gd name="connsiteY90" fmla="*/ 104775 h 4429225"/>
                  <a:gd name="connsiteX91" fmla="*/ 1916452 w 4519987"/>
                  <a:gd name="connsiteY91" fmla="*/ 95250 h 4429225"/>
                  <a:gd name="connsiteX92" fmla="*/ 2030752 w 4519987"/>
                  <a:gd name="connsiteY92" fmla="*/ 66675 h 4429225"/>
                  <a:gd name="connsiteX93" fmla="*/ 2097427 w 4519987"/>
                  <a:gd name="connsiteY93" fmla="*/ 47625 h 4429225"/>
                  <a:gd name="connsiteX94" fmla="*/ 2164102 w 4519987"/>
                  <a:gd name="connsiteY94" fmla="*/ 38100 h 4429225"/>
                  <a:gd name="connsiteX95" fmla="*/ 2392702 w 4519987"/>
                  <a:gd name="connsiteY95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202394 w 4501379"/>
                  <a:gd name="connsiteY53" fmla="*/ 3105150 h 4429225"/>
                  <a:gd name="connsiteX54" fmla="*/ 126194 w 4501379"/>
                  <a:gd name="connsiteY54" fmla="*/ 2924175 h 4429225"/>
                  <a:gd name="connsiteX55" fmla="*/ 49994 w 4501379"/>
                  <a:gd name="connsiteY55" fmla="*/ 2724150 h 4429225"/>
                  <a:gd name="connsiteX56" fmla="*/ 56344 w 4501379"/>
                  <a:gd name="connsiteY56" fmla="*/ 2368550 h 4429225"/>
                  <a:gd name="connsiteX57" fmla="*/ 2369 w 4501379"/>
                  <a:gd name="connsiteY57" fmla="*/ 1905000 h 4429225"/>
                  <a:gd name="connsiteX58" fmla="*/ 11894 w 4501379"/>
                  <a:gd name="connsiteY58" fmla="*/ 1838325 h 4429225"/>
                  <a:gd name="connsiteX59" fmla="*/ 30944 w 4501379"/>
                  <a:gd name="connsiteY59" fmla="*/ 1781175 h 4429225"/>
                  <a:gd name="connsiteX60" fmla="*/ 40469 w 4501379"/>
                  <a:gd name="connsiteY60" fmla="*/ 1743075 h 4429225"/>
                  <a:gd name="connsiteX61" fmla="*/ 59519 w 4501379"/>
                  <a:gd name="connsiteY61" fmla="*/ 1685925 h 4429225"/>
                  <a:gd name="connsiteX62" fmla="*/ 69044 w 4501379"/>
                  <a:gd name="connsiteY62" fmla="*/ 1638300 h 4429225"/>
                  <a:gd name="connsiteX63" fmla="*/ 88094 w 4501379"/>
                  <a:gd name="connsiteY63" fmla="*/ 1590675 h 4429225"/>
                  <a:gd name="connsiteX64" fmla="*/ 116669 w 4501379"/>
                  <a:gd name="connsiteY64" fmla="*/ 1504950 h 4429225"/>
                  <a:gd name="connsiteX65" fmla="*/ 135719 w 4501379"/>
                  <a:gd name="connsiteY65" fmla="*/ 1419225 h 4429225"/>
                  <a:gd name="connsiteX66" fmla="*/ 211919 w 4501379"/>
                  <a:gd name="connsiteY66" fmla="*/ 1276350 h 4429225"/>
                  <a:gd name="connsiteX67" fmla="*/ 221444 w 4501379"/>
                  <a:gd name="connsiteY67" fmla="*/ 1247775 h 4429225"/>
                  <a:gd name="connsiteX68" fmla="*/ 250019 w 4501379"/>
                  <a:gd name="connsiteY68" fmla="*/ 1200150 h 4429225"/>
                  <a:gd name="connsiteX69" fmla="*/ 269069 w 4501379"/>
                  <a:gd name="connsiteY69" fmla="*/ 1152525 h 4429225"/>
                  <a:gd name="connsiteX70" fmla="*/ 297644 w 4501379"/>
                  <a:gd name="connsiteY70" fmla="*/ 1114425 h 4429225"/>
                  <a:gd name="connsiteX71" fmla="*/ 345269 w 4501379"/>
                  <a:gd name="connsiteY71" fmla="*/ 1038225 h 4429225"/>
                  <a:gd name="connsiteX72" fmla="*/ 364319 w 4501379"/>
                  <a:gd name="connsiteY72" fmla="*/ 1009650 h 4429225"/>
                  <a:gd name="connsiteX73" fmla="*/ 421469 w 4501379"/>
                  <a:gd name="connsiteY73" fmla="*/ 904875 h 4429225"/>
                  <a:gd name="connsiteX74" fmla="*/ 459569 w 4501379"/>
                  <a:gd name="connsiteY74" fmla="*/ 857250 h 4429225"/>
                  <a:gd name="connsiteX75" fmla="*/ 478619 w 4501379"/>
                  <a:gd name="connsiteY75" fmla="*/ 828675 h 4429225"/>
                  <a:gd name="connsiteX76" fmla="*/ 516719 w 4501379"/>
                  <a:gd name="connsiteY76" fmla="*/ 800100 h 4429225"/>
                  <a:gd name="connsiteX77" fmla="*/ 583394 w 4501379"/>
                  <a:gd name="connsiteY77" fmla="*/ 733425 h 4429225"/>
                  <a:gd name="connsiteX78" fmla="*/ 650069 w 4501379"/>
                  <a:gd name="connsiteY78" fmla="*/ 676275 h 4429225"/>
                  <a:gd name="connsiteX79" fmla="*/ 678644 w 4501379"/>
                  <a:gd name="connsiteY79" fmla="*/ 657225 h 4429225"/>
                  <a:gd name="connsiteX80" fmla="*/ 821519 w 4501379"/>
                  <a:gd name="connsiteY80" fmla="*/ 533400 h 4429225"/>
                  <a:gd name="connsiteX81" fmla="*/ 869144 w 4501379"/>
                  <a:gd name="connsiteY81" fmla="*/ 504825 h 4429225"/>
                  <a:gd name="connsiteX82" fmla="*/ 1148544 w 4501379"/>
                  <a:gd name="connsiteY82" fmla="*/ 311150 h 4429225"/>
                  <a:gd name="connsiteX83" fmla="*/ 1250144 w 4501379"/>
                  <a:gd name="connsiteY83" fmla="*/ 285750 h 4429225"/>
                  <a:gd name="connsiteX84" fmla="*/ 1393019 w 4501379"/>
                  <a:gd name="connsiteY84" fmla="*/ 190500 h 4429225"/>
                  <a:gd name="connsiteX85" fmla="*/ 1431119 w 4501379"/>
                  <a:gd name="connsiteY85" fmla="*/ 161925 h 4429225"/>
                  <a:gd name="connsiteX86" fmla="*/ 1507319 w 4501379"/>
                  <a:gd name="connsiteY86" fmla="*/ 152400 h 4429225"/>
                  <a:gd name="connsiteX87" fmla="*/ 1564469 w 4501379"/>
                  <a:gd name="connsiteY87" fmla="*/ 142875 h 4429225"/>
                  <a:gd name="connsiteX88" fmla="*/ 1697819 w 4501379"/>
                  <a:gd name="connsiteY88" fmla="*/ 123825 h 4429225"/>
                  <a:gd name="connsiteX89" fmla="*/ 1793069 w 4501379"/>
                  <a:gd name="connsiteY89" fmla="*/ 114300 h 4429225"/>
                  <a:gd name="connsiteX90" fmla="*/ 1840694 w 4501379"/>
                  <a:gd name="connsiteY90" fmla="*/ 104775 h 4429225"/>
                  <a:gd name="connsiteX91" fmla="*/ 1897844 w 4501379"/>
                  <a:gd name="connsiteY91" fmla="*/ 95250 h 4429225"/>
                  <a:gd name="connsiteX92" fmla="*/ 2012144 w 4501379"/>
                  <a:gd name="connsiteY92" fmla="*/ 66675 h 4429225"/>
                  <a:gd name="connsiteX93" fmla="*/ 2078819 w 4501379"/>
                  <a:gd name="connsiteY93" fmla="*/ 47625 h 4429225"/>
                  <a:gd name="connsiteX94" fmla="*/ 2145494 w 4501379"/>
                  <a:gd name="connsiteY94" fmla="*/ 38100 h 4429225"/>
                  <a:gd name="connsiteX95" fmla="*/ 2374094 w 4501379"/>
                  <a:gd name="connsiteY95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202394 w 4501379"/>
                  <a:gd name="connsiteY53" fmla="*/ 3105150 h 4429225"/>
                  <a:gd name="connsiteX54" fmla="*/ 126194 w 4501379"/>
                  <a:gd name="connsiteY54" fmla="*/ 2924175 h 4429225"/>
                  <a:gd name="connsiteX55" fmla="*/ 56344 w 4501379"/>
                  <a:gd name="connsiteY55" fmla="*/ 2368550 h 4429225"/>
                  <a:gd name="connsiteX56" fmla="*/ 2369 w 4501379"/>
                  <a:gd name="connsiteY56" fmla="*/ 1905000 h 4429225"/>
                  <a:gd name="connsiteX57" fmla="*/ 11894 w 4501379"/>
                  <a:gd name="connsiteY57" fmla="*/ 1838325 h 4429225"/>
                  <a:gd name="connsiteX58" fmla="*/ 30944 w 4501379"/>
                  <a:gd name="connsiteY58" fmla="*/ 1781175 h 4429225"/>
                  <a:gd name="connsiteX59" fmla="*/ 40469 w 4501379"/>
                  <a:gd name="connsiteY59" fmla="*/ 1743075 h 4429225"/>
                  <a:gd name="connsiteX60" fmla="*/ 59519 w 4501379"/>
                  <a:gd name="connsiteY60" fmla="*/ 1685925 h 4429225"/>
                  <a:gd name="connsiteX61" fmla="*/ 69044 w 4501379"/>
                  <a:gd name="connsiteY61" fmla="*/ 1638300 h 4429225"/>
                  <a:gd name="connsiteX62" fmla="*/ 88094 w 4501379"/>
                  <a:gd name="connsiteY62" fmla="*/ 1590675 h 4429225"/>
                  <a:gd name="connsiteX63" fmla="*/ 116669 w 4501379"/>
                  <a:gd name="connsiteY63" fmla="*/ 1504950 h 4429225"/>
                  <a:gd name="connsiteX64" fmla="*/ 135719 w 4501379"/>
                  <a:gd name="connsiteY64" fmla="*/ 1419225 h 4429225"/>
                  <a:gd name="connsiteX65" fmla="*/ 211919 w 4501379"/>
                  <a:gd name="connsiteY65" fmla="*/ 1276350 h 4429225"/>
                  <a:gd name="connsiteX66" fmla="*/ 221444 w 4501379"/>
                  <a:gd name="connsiteY66" fmla="*/ 1247775 h 4429225"/>
                  <a:gd name="connsiteX67" fmla="*/ 250019 w 4501379"/>
                  <a:gd name="connsiteY67" fmla="*/ 1200150 h 4429225"/>
                  <a:gd name="connsiteX68" fmla="*/ 269069 w 4501379"/>
                  <a:gd name="connsiteY68" fmla="*/ 1152525 h 4429225"/>
                  <a:gd name="connsiteX69" fmla="*/ 297644 w 4501379"/>
                  <a:gd name="connsiteY69" fmla="*/ 1114425 h 4429225"/>
                  <a:gd name="connsiteX70" fmla="*/ 345269 w 4501379"/>
                  <a:gd name="connsiteY70" fmla="*/ 1038225 h 4429225"/>
                  <a:gd name="connsiteX71" fmla="*/ 364319 w 4501379"/>
                  <a:gd name="connsiteY71" fmla="*/ 1009650 h 4429225"/>
                  <a:gd name="connsiteX72" fmla="*/ 421469 w 4501379"/>
                  <a:gd name="connsiteY72" fmla="*/ 904875 h 4429225"/>
                  <a:gd name="connsiteX73" fmla="*/ 459569 w 4501379"/>
                  <a:gd name="connsiteY73" fmla="*/ 857250 h 4429225"/>
                  <a:gd name="connsiteX74" fmla="*/ 478619 w 4501379"/>
                  <a:gd name="connsiteY74" fmla="*/ 828675 h 4429225"/>
                  <a:gd name="connsiteX75" fmla="*/ 516719 w 4501379"/>
                  <a:gd name="connsiteY75" fmla="*/ 800100 h 4429225"/>
                  <a:gd name="connsiteX76" fmla="*/ 583394 w 4501379"/>
                  <a:gd name="connsiteY76" fmla="*/ 733425 h 4429225"/>
                  <a:gd name="connsiteX77" fmla="*/ 650069 w 4501379"/>
                  <a:gd name="connsiteY77" fmla="*/ 676275 h 4429225"/>
                  <a:gd name="connsiteX78" fmla="*/ 678644 w 4501379"/>
                  <a:gd name="connsiteY78" fmla="*/ 657225 h 4429225"/>
                  <a:gd name="connsiteX79" fmla="*/ 821519 w 4501379"/>
                  <a:gd name="connsiteY79" fmla="*/ 533400 h 4429225"/>
                  <a:gd name="connsiteX80" fmla="*/ 869144 w 4501379"/>
                  <a:gd name="connsiteY80" fmla="*/ 504825 h 4429225"/>
                  <a:gd name="connsiteX81" fmla="*/ 1148544 w 4501379"/>
                  <a:gd name="connsiteY81" fmla="*/ 311150 h 4429225"/>
                  <a:gd name="connsiteX82" fmla="*/ 1250144 w 4501379"/>
                  <a:gd name="connsiteY82" fmla="*/ 285750 h 4429225"/>
                  <a:gd name="connsiteX83" fmla="*/ 1393019 w 4501379"/>
                  <a:gd name="connsiteY83" fmla="*/ 190500 h 4429225"/>
                  <a:gd name="connsiteX84" fmla="*/ 1431119 w 4501379"/>
                  <a:gd name="connsiteY84" fmla="*/ 161925 h 4429225"/>
                  <a:gd name="connsiteX85" fmla="*/ 1507319 w 4501379"/>
                  <a:gd name="connsiteY85" fmla="*/ 152400 h 4429225"/>
                  <a:gd name="connsiteX86" fmla="*/ 1564469 w 4501379"/>
                  <a:gd name="connsiteY86" fmla="*/ 142875 h 4429225"/>
                  <a:gd name="connsiteX87" fmla="*/ 1697819 w 4501379"/>
                  <a:gd name="connsiteY87" fmla="*/ 123825 h 4429225"/>
                  <a:gd name="connsiteX88" fmla="*/ 1793069 w 4501379"/>
                  <a:gd name="connsiteY88" fmla="*/ 114300 h 4429225"/>
                  <a:gd name="connsiteX89" fmla="*/ 1840694 w 4501379"/>
                  <a:gd name="connsiteY89" fmla="*/ 104775 h 4429225"/>
                  <a:gd name="connsiteX90" fmla="*/ 1897844 w 4501379"/>
                  <a:gd name="connsiteY90" fmla="*/ 95250 h 4429225"/>
                  <a:gd name="connsiteX91" fmla="*/ 2012144 w 4501379"/>
                  <a:gd name="connsiteY91" fmla="*/ 66675 h 4429225"/>
                  <a:gd name="connsiteX92" fmla="*/ 2078819 w 4501379"/>
                  <a:gd name="connsiteY92" fmla="*/ 47625 h 4429225"/>
                  <a:gd name="connsiteX93" fmla="*/ 2145494 w 4501379"/>
                  <a:gd name="connsiteY93" fmla="*/ 38100 h 4429225"/>
                  <a:gd name="connsiteX94" fmla="*/ 2374094 w 4501379"/>
                  <a:gd name="connsiteY94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126194 w 4501379"/>
                  <a:gd name="connsiteY53" fmla="*/ 292417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40519 w 4501379"/>
                  <a:gd name="connsiteY51" fmla="*/ 34956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92919 w 4501379"/>
                  <a:gd name="connsiteY50" fmla="*/ 3657600 h 4429225"/>
                  <a:gd name="connsiteX51" fmla="*/ 440519 w 4501379"/>
                  <a:gd name="connsiteY51" fmla="*/ 34956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92919 w 4501379"/>
                  <a:gd name="connsiteY50" fmla="*/ 3657600 h 4429225"/>
                  <a:gd name="connsiteX51" fmla="*/ 446869 w 4501379"/>
                  <a:gd name="connsiteY51" fmla="*/ 34702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926294 w 4501379"/>
                  <a:gd name="connsiteY48" fmla="*/ 39687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145369 w 4501379"/>
                  <a:gd name="connsiteY47" fmla="*/ 4111625 h 4429225"/>
                  <a:gd name="connsiteX48" fmla="*/ 926294 w 4501379"/>
                  <a:gd name="connsiteY48" fmla="*/ 39687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313644 w 4501379"/>
                  <a:gd name="connsiteY46" fmla="*/ 4216400 h 4429225"/>
                  <a:gd name="connsiteX47" fmla="*/ 1145369 w 4501379"/>
                  <a:gd name="connsiteY47" fmla="*/ 4111625 h 4429225"/>
                  <a:gd name="connsiteX48" fmla="*/ 926294 w 4501379"/>
                  <a:gd name="connsiteY48" fmla="*/ 39687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94"/>
                  <a:gd name="connsiteX1" fmla="*/ 2402669 w 4501379"/>
                  <a:gd name="connsiteY1" fmla="*/ 28575 h 4429294"/>
                  <a:gd name="connsiteX2" fmla="*/ 2478869 w 4501379"/>
                  <a:gd name="connsiteY2" fmla="*/ 47625 h 4429294"/>
                  <a:gd name="connsiteX3" fmla="*/ 2736044 w 4501379"/>
                  <a:gd name="connsiteY3" fmla="*/ 66675 h 4429294"/>
                  <a:gd name="connsiteX4" fmla="*/ 2812244 w 4501379"/>
                  <a:gd name="connsiteY4" fmla="*/ 76200 h 4429294"/>
                  <a:gd name="connsiteX5" fmla="*/ 2897969 w 4501379"/>
                  <a:gd name="connsiteY5" fmla="*/ 85725 h 4429294"/>
                  <a:gd name="connsiteX6" fmla="*/ 2955119 w 4501379"/>
                  <a:gd name="connsiteY6" fmla="*/ 114300 h 4429294"/>
                  <a:gd name="connsiteX7" fmla="*/ 2993219 w 4501379"/>
                  <a:gd name="connsiteY7" fmla="*/ 123825 h 4429294"/>
                  <a:gd name="connsiteX8" fmla="*/ 3117044 w 4501379"/>
                  <a:gd name="connsiteY8" fmla="*/ 171450 h 4429294"/>
                  <a:gd name="connsiteX9" fmla="*/ 3155144 w 4501379"/>
                  <a:gd name="connsiteY9" fmla="*/ 190500 h 4429294"/>
                  <a:gd name="connsiteX10" fmla="*/ 3221819 w 4501379"/>
                  <a:gd name="connsiteY10" fmla="*/ 228600 h 4429294"/>
                  <a:gd name="connsiteX11" fmla="*/ 3250394 w 4501379"/>
                  <a:gd name="connsiteY11" fmla="*/ 238125 h 4429294"/>
                  <a:gd name="connsiteX12" fmla="*/ 3278969 w 4501379"/>
                  <a:gd name="connsiteY12" fmla="*/ 257175 h 4429294"/>
                  <a:gd name="connsiteX13" fmla="*/ 3307544 w 4501379"/>
                  <a:gd name="connsiteY13" fmla="*/ 266700 h 4429294"/>
                  <a:gd name="connsiteX14" fmla="*/ 3336119 w 4501379"/>
                  <a:gd name="connsiteY14" fmla="*/ 285750 h 4429294"/>
                  <a:gd name="connsiteX15" fmla="*/ 3402794 w 4501379"/>
                  <a:gd name="connsiteY15" fmla="*/ 323850 h 4429294"/>
                  <a:gd name="connsiteX16" fmla="*/ 3450419 w 4501379"/>
                  <a:gd name="connsiteY16" fmla="*/ 361950 h 4429294"/>
                  <a:gd name="connsiteX17" fmla="*/ 3498044 w 4501379"/>
                  <a:gd name="connsiteY17" fmla="*/ 390525 h 4429294"/>
                  <a:gd name="connsiteX18" fmla="*/ 3612344 w 4501379"/>
                  <a:gd name="connsiteY18" fmla="*/ 485775 h 4429294"/>
                  <a:gd name="connsiteX19" fmla="*/ 3726644 w 4501379"/>
                  <a:gd name="connsiteY19" fmla="*/ 542925 h 4429294"/>
                  <a:gd name="connsiteX20" fmla="*/ 3793319 w 4501379"/>
                  <a:gd name="connsiteY20" fmla="*/ 581025 h 4429294"/>
                  <a:gd name="connsiteX21" fmla="*/ 4009219 w 4501379"/>
                  <a:gd name="connsiteY21" fmla="*/ 819150 h 4429294"/>
                  <a:gd name="connsiteX22" fmla="*/ 4145744 w 4501379"/>
                  <a:gd name="connsiteY22" fmla="*/ 990600 h 4429294"/>
                  <a:gd name="connsiteX23" fmla="*/ 4231469 w 4501379"/>
                  <a:gd name="connsiteY23" fmla="*/ 1143000 h 4429294"/>
                  <a:gd name="connsiteX24" fmla="*/ 4288619 w 4501379"/>
                  <a:gd name="connsiteY24" fmla="*/ 1266825 h 4429294"/>
                  <a:gd name="connsiteX25" fmla="*/ 4326719 w 4501379"/>
                  <a:gd name="connsiteY25" fmla="*/ 1362075 h 4429294"/>
                  <a:gd name="connsiteX26" fmla="*/ 4374344 w 4501379"/>
                  <a:gd name="connsiteY26" fmla="*/ 1552575 h 4429294"/>
                  <a:gd name="connsiteX27" fmla="*/ 4412444 w 4501379"/>
                  <a:gd name="connsiteY27" fmla="*/ 1685925 h 4429294"/>
                  <a:gd name="connsiteX28" fmla="*/ 4501344 w 4501379"/>
                  <a:gd name="connsiteY28" fmla="*/ 2181225 h 4429294"/>
                  <a:gd name="connsiteX29" fmla="*/ 4428319 w 4501379"/>
                  <a:gd name="connsiteY29" fmla="*/ 2768600 h 4429294"/>
                  <a:gd name="connsiteX30" fmla="*/ 4364819 w 4501379"/>
                  <a:gd name="connsiteY30" fmla="*/ 2990850 h 4429294"/>
                  <a:gd name="connsiteX31" fmla="*/ 4260044 w 4501379"/>
                  <a:gd name="connsiteY31" fmla="*/ 3248025 h 4429294"/>
                  <a:gd name="connsiteX32" fmla="*/ 4164794 w 4501379"/>
                  <a:gd name="connsiteY32" fmla="*/ 3400425 h 4429294"/>
                  <a:gd name="connsiteX33" fmla="*/ 4040969 w 4501379"/>
                  <a:gd name="connsiteY33" fmla="*/ 3533775 h 4429294"/>
                  <a:gd name="connsiteX34" fmla="*/ 3936194 w 4501379"/>
                  <a:gd name="connsiteY34" fmla="*/ 3648075 h 4429294"/>
                  <a:gd name="connsiteX35" fmla="*/ 3640919 w 4501379"/>
                  <a:gd name="connsiteY35" fmla="*/ 3971925 h 4429294"/>
                  <a:gd name="connsiteX36" fmla="*/ 3498044 w 4501379"/>
                  <a:gd name="connsiteY36" fmla="*/ 4083050 h 4429294"/>
                  <a:gd name="connsiteX37" fmla="*/ 3202769 w 4501379"/>
                  <a:gd name="connsiteY37" fmla="*/ 4222750 h 4429294"/>
                  <a:gd name="connsiteX38" fmla="*/ 3050369 w 4501379"/>
                  <a:gd name="connsiteY38" fmla="*/ 4286250 h 4429294"/>
                  <a:gd name="connsiteX39" fmla="*/ 2917019 w 4501379"/>
                  <a:gd name="connsiteY39" fmla="*/ 4333875 h 4429294"/>
                  <a:gd name="connsiteX40" fmla="*/ 2793194 w 4501379"/>
                  <a:gd name="connsiteY40" fmla="*/ 4371975 h 4429294"/>
                  <a:gd name="connsiteX41" fmla="*/ 2561419 w 4501379"/>
                  <a:gd name="connsiteY41" fmla="*/ 4391025 h 4429294"/>
                  <a:gd name="connsiteX42" fmla="*/ 2107394 w 4501379"/>
                  <a:gd name="connsiteY42" fmla="*/ 4429125 h 4429294"/>
                  <a:gd name="connsiteX43" fmla="*/ 1916894 w 4501379"/>
                  <a:gd name="connsiteY43" fmla="*/ 4400550 h 4429294"/>
                  <a:gd name="connsiteX44" fmla="*/ 1554944 w 4501379"/>
                  <a:gd name="connsiteY44" fmla="*/ 4305300 h 4429294"/>
                  <a:gd name="connsiteX45" fmla="*/ 1313644 w 4501379"/>
                  <a:gd name="connsiteY45" fmla="*/ 4216400 h 4429294"/>
                  <a:gd name="connsiteX46" fmla="*/ 1145369 w 4501379"/>
                  <a:gd name="connsiteY46" fmla="*/ 4111625 h 4429294"/>
                  <a:gd name="connsiteX47" fmla="*/ 926294 w 4501379"/>
                  <a:gd name="connsiteY47" fmla="*/ 3968750 h 4429294"/>
                  <a:gd name="connsiteX48" fmla="*/ 592919 w 4501379"/>
                  <a:gd name="connsiteY48" fmla="*/ 3657600 h 4429294"/>
                  <a:gd name="connsiteX49" fmla="*/ 446869 w 4501379"/>
                  <a:gd name="connsiteY49" fmla="*/ 3470275 h 4429294"/>
                  <a:gd name="connsiteX50" fmla="*/ 316694 w 4501379"/>
                  <a:gd name="connsiteY50" fmla="*/ 3244850 h 4429294"/>
                  <a:gd name="connsiteX51" fmla="*/ 164294 w 4501379"/>
                  <a:gd name="connsiteY51" fmla="*/ 2892425 h 4429294"/>
                  <a:gd name="connsiteX52" fmla="*/ 56344 w 4501379"/>
                  <a:gd name="connsiteY52" fmla="*/ 2368550 h 4429294"/>
                  <a:gd name="connsiteX53" fmla="*/ 2369 w 4501379"/>
                  <a:gd name="connsiteY53" fmla="*/ 1905000 h 4429294"/>
                  <a:gd name="connsiteX54" fmla="*/ 11894 w 4501379"/>
                  <a:gd name="connsiteY54" fmla="*/ 1838325 h 4429294"/>
                  <a:gd name="connsiteX55" fmla="*/ 30944 w 4501379"/>
                  <a:gd name="connsiteY55" fmla="*/ 1781175 h 4429294"/>
                  <a:gd name="connsiteX56" fmla="*/ 40469 w 4501379"/>
                  <a:gd name="connsiteY56" fmla="*/ 1743075 h 4429294"/>
                  <a:gd name="connsiteX57" fmla="*/ 59519 w 4501379"/>
                  <a:gd name="connsiteY57" fmla="*/ 1685925 h 4429294"/>
                  <a:gd name="connsiteX58" fmla="*/ 69044 w 4501379"/>
                  <a:gd name="connsiteY58" fmla="*/ 1638300 h 4429294"/>
                  <a:gd name="connsiteX59" fmla="*/ 88094 w 4501379"/>
                  <a:gd name="connsiteY59" fmla="*/ 1590675 h 4429294"/>
                  <a:gd name="connsiteX60" fmla="*/ 116669 w 4501379"/>
                  <a:gd name="connsiteY60" fmla="*/ 1504950 h 4429294"/>
                  <a:gd name="connsiteX61" fmla="*/ 135719 w 4501379"/>
                  <a:gd name="connsiteY61" fmla="*/ 1419225 h 4429294"/>
                  <a:gd name="connsiteX62" fmla="*/ 211919 w 4501379"/>
                  <a:gd name="connsiteY62" fmla="*/ 1276350 h 4429294"/>
                  <a:gd name="connsiteX63" fmla="*/ 221444 w 4501379"/>
                  <a:gd name="connsiteY63" fmla="*/ 1247775 h 4429294"/>
                  <a:gd name="connsiteX64" fmla="*/ 250019 w 4501379"/>
                  <a:gd name="connsiteY64" fmla="*/ 1200150 h 4429294"/>
                  <a:gd name="connsiteX65" fmla="*/ 269069 w 4501379"/>
                  <a:gd name="connsiteY65" fmla="*/ 1152525 h 4429294"/>
                  <a:gd name="connsiteX66" fmla="*/ 297644 w 4501379"/>
                  <a:gd name="connsiteY66" fmla="*/ 1114425 h 4429294"/>
                  <a:gd name="connsiteX67" fmla="*/ 345269 w 4501379"/>
                  <a:gd name="connsiteY67" fmla="*/ 1038225 h 4429294"/>
                  <a:gd name="connsiteX68" fmla="*/ 364319 w 4501379"/>
                  <a:gd name="connsiteY68" fmla="*/ 1009650 h 4429294"/>
                  <a:gd name="connsiteX69" fmla="*/ 421469 w 4501379"/>
                  <a:gd name="connsiteY69" fmla="*/ 904875 h 4429294"/>
                  <a:gd name="connsiteX70" fmla="*/ 459569 w 4501379"/>
                  <a:gd name="connsiteY70" fmla="*/ 857250 h 4429294"/>
                  <a:gd name="connsiteX71" fmla="*/ 478619 w 4501379"/>
                  <a:gd name="connsiteY71" fmla="*/ 828675 h 4429294"/>
                  <a:gd name="connsiteX72" fmla="*/ 516719 w 4501379"/>
                  <a:gd name="connsiteY72" fmla="*/ 800100 h 4429294"/>
                  <a:gd name="connsiteX73" fmla="*/ 583394 w 4501379"/>
                  <a:gd name="connsiteY73" fmla="*/ 733425 h 4429294"/>
                  <a:gd name="connsiteX74" fmla="*/ 650069 w 4501379"/>
                  <a:gd name="connsiteY74" fmla="*/ 676275 h 4429294"/>
                  <a:gd name="connsiteX75" fmla="*/ 678644 w 4501379"/>
                  <a:gd name="connsiteY75" fmla="*/ 657225 h 4429294"/>
                  <a:gd name="connsiteX76" fmla="*/ 821519 w 4501379"/>
                  <a:gd name="connsiteY76" fmla="*/ 533400 h 4429294"/>
                  <a:gd name="connsiteX77" fmla="*/ 869144 w 4501379"/>
                  <a:gd name="connsiteY77" fmla="*/ 504825 h 4429294"/>
                  <a:gd name="connsiteX78" fmla="*/ 1148544 w 4501379"/>
                  <a:gd name="connsiteY78" fmla="*/ 311150 h 4429294"/>
                  <a:gd name="connsiteX79" fmla="*/ 1250144 w 4501379"/>
                  <a:gd name="connsiteY79" fmla="*/ 285750 h 4429294"/>
                  <a:gd name="connsiteX80" fmla="*/ 1393019 w 4501379"/>
                  <a:gd name="connsiteY80" fmla="*/ 190500 h 4429294"/>
                  <a:gd name="connsiteX81" fmla="*/ 1431119 w 4501379"/>
                  <a:gd name="connsiteY81" fmla="*/ 161925 h 4429294"/>
                  <a:gd name="connsiteX82" fmla="*/ 1507319 w 4501379"/>
                  <a:gd name="connsiteY82" fmla="*/ 152400 h 4429294"/>
                  <a:gd name="connsiteX83" fmla="*/ 1564469 w 4501379"/>
                  <a:gd name="connsiteY83" fmla="*/ 142875 h 4429294"/>
                  <a:gd name="connsiteX84" fmla="*/ 1697819 w 4501379"/>
                  <a:gd name="connsiteY84" fmla="*/ 123825 h 4429294"/>
                  <a:gd name="connsiteX85" fmla="*/ 1793069 w 4501379"/>
                  <a:gd name="connsiteY85" fmla="*/ 114300 h 4429294"/>
                  <a:gd name="connsiteX86" fmla="*/ 1840694 w 4501379"/>
                  <a:gd name="connsiteY86" fmla="*/ 104775 h 4429294"/>
                  <a:gd name="connsiteX87" fmla="*/ 1897844 w 4501379"/>
                  <a:gd name="connsiteY87" fmla="*/ 95250 h 4429294"/>
                  <a:gd name="connsiteX88" fmla="*/ 2012144 w 4501379"/>
                  <a:gd name="connsiteY88" fmla="*/ 66675 h 4429294"/>
                  <a:gd name="connsiteX89" fmla="*/ 2078819 w 4501379"/>
                  <a:gd name="connsiteY89" fmla="*/ 47625 h 4429294"/>
                  <a:gd name="connsiteX90" fmla="*/ 2145494 w 4501379"/>
                  <a:gd name="connsiteY90" fmla="*/ 38100 h 4429294"/>
                  <a:gd name="connsiteX91" fmla="*/ 2374094 w 4501379"/>
                  <a:gd name="connsiteY91" fmla="*/ 28575 h 4429294"/>
                  <a:gd name="connsiteX0" fmla="*/ 2278844 w 4501379"/>
                  <a:gd name="connsiteY0" fmla="*/ 0 h 4429294"/>
                  <a:gd name="connsiteX1" fmla="*/ 2402669 w 4501379"/>
                  <a:gd name="connsiteY1" fmla="*/ 28575 h 4429294"/>
                  <a:gd name="connsiteX2" fmla="*/ 2478869 w 4501379"/>
                  <a:gd name="connsiteY2" fmla="*/ 47625 h 4429294"/>
                  <a:gd name="connsiteX3" fmla="*/ 2736044 w 4501379"/>
                  <a:gd name="connsiteY3" fmla="*/ 66675 h 4429294"/>
                  <a:gd name="connsiteX4" fmla="*/ 2812244 w 4501379"/>
                  <a:gd name="connsiteY4" fmla="*/ 76200 h 4429294"/>
                  <a:gd name="connsiteX5" fmla="*/ 2897969 w 4501379"/>
                  <a:gd name="connsiteY5" fmla="*/ 85725 h 4429294"/>
                  <a:gd name="connsiteX6" fmla="*/ 2955119 w 4501379"/>
                  <a:gd name="connsiteY6" fmla="*/ 114300 h 4429294"/>
                  <a:gd name="connsiteX7" fmla="*/ 2993219 w 4501379"/>
                  <a:gd name="connsiteY7" fmla="*/ 123825 h 4429294"/>
                  <a:gd name="connsiteX8" fmla="*/ 3117044 w 4501379"/>
                  <a:gd name="connsiteY8" fmla="*/ 171450 h 4429294"/>
                  <a:gd name="connsiteX9" fmla="*/ 3155144 w 4501379"/>
                  <a:gd name="connsiteY9" fmla="*/ 190500 h 4429294"/>
                  <a:gd name="connsiteX10" fmla="*/ 3221819 w 4501379"/>
                  <a:gd name="connsiteY10" fmla="*/ 228600 h 4429294"/>
                  <a:gd name="connsiteX11" fmla="*/ 3250394 w 4501379"/>
                  <a:gd name="connsiteY11" fmla="*/ 238125 h 4429294"/>
                  <a:gd name="connsiteX12" fmla="*/ 3278969 w 4501379"/>
                  <a:gd name="connsiteY12" fmla="*/ 257175 h 4429294"/>
                  <a:gd name="connsiteX13" fmla="*/ 3307544 w 4501379"/>
                  <a:gd name="connsiteY13" fmla="*/ 266700 h 4429294"/>
                  <a:gd name="connsiteX14" fmla="*/ 3336119 w 4501379"/>
                  <a:gd name="connsiteY14" fmla="*/ 285750 h 4429294"/>
                  <a:gd name="connsiteX15" fmla="*/ 3402794 w 4501379"/>
                  <a:gd name="connsiteY15" fmla="*/ 323850 h 4429294"/>
                  <a:gd name="connsiteX16" fmla="*/ 3450419 w 4501379"/>
                  <a:gd name="connsiteY16" fmla="*/ 361950 h 4429294"/>
                  <a:gd name="connsiteX17" fmla="*/ 3498044 w 4501379"/>
                  <a:gd name="connsiteY17" fmla="*/ 390525 h 4429294"/>
                  <a:gd name="connsiteX18" fmla="*/ 3612344 w 4501379"/>
                  <a:gd name="connsiteY18" fmla="*/ 485775 h 4429294"/>
                  <a:gd name="connsiteX19" fmla="*/ 3726644 w 4501379"/>
                  <a:gd name="connsiteY19" fmla="*/ 542925 h 4429294"/>
                  <a:gd name="connsiteX20" fmla="*/ 3793319 w 4501379"/>
                  <a:gd name="connsiteY20" fmla="*/ 581025 h 4429294"/>
                  <a:gd name="connsiteX21" fmla="*/ 4009219 w 4501379"/>
                  <a:gd name="connsiteY21" fmla="*/ 819150 h 4429294"/>
                  <a:gd name="connsiteX22" fmla="*/ 4145744 w 4501379"/>
                  <a:gd name="connsiteY22" fmla="*/ 990600 h 4429294"/>
                  <a:gd name="connsiteX23" fmla="*/ 4231469 w 4501379"/>
                  <a:gd name="connsiteY23" fmla="*/ 1143000 h 4429294"/>
                  <a:gd name="connsiteX24" fmla="*/ 4288619 w 4501379"/>
                  <a:gd name="connsiteY24" fmla="*/ 1266825 h 4429294"/>
                  <a:gd name="connsiteX25" fmla="*/ 4326719 w 4501379"/>
                  <a:gd name="connsiteY25" fmla="*/ 1362075 h 4429294"/>
                  <a:gd name="connsiteX26" fmla="*/ 4374344 w 4501379"/>
                  <a:gd name="connsiteY26" fmla="*/ 1552575 h 4429294"/>
                  <a:gd name="connsiteX27" fmla="*/ 4412444 w 4501379"/>
                  <a:gd name="connsiteY27" fmla="*/ 1685925 h 4429294"/>
                  <a:gd name="connsiteX28" fmla="*/ 4501344 w 4501379"/>
                  <a:gd name="connsiteY28" fmla="*/ 2181225 h 4429294"/>
                  <a:gd name="connsiteX29" fmla="*/ 4428319 w 4501379"/>
                  <a:gd name="connsiteY29" fmla="*/ 2768600 h 4429294"/>
                  <a:gd name="connsiteX30" fmla="*/ 4364819 w 4501379"/>
                  <a:gd name="connsiteY30" fmla="*/ 2990850 h 4429294"/>
                  <a:gd name="connsiteX31" fmla="*/ 4260044 w 4501379"/>
                  <a:gd name="connsiteY31" fmla="*/ 3248025 h 4429294"/>
                  <a:gd name="connsiteX32" fmla="*/ 4164794 w 4501379"/>
                  <a:gd name="connsiteY32" fmla="*/ 3400425 h 4429294"/>
                  <a:gd name="connsiteX33" fmla="*/ 4040969 w 4501379"/>
                  <a:gd name="connsiteY33" fmla="*/ 3533775 h 4429294"/>
                  <a:gd name="connsiteX34" fmla="*/ 3936194 w 4501379"/>
                  <a:gd name="connsiteY34" fmla="*/ 3648075 h 4429294"/>
                  <a:gd name="connsiteX35" fmla="*/ 3640919 w 4501379"/>
                  <a:gd name="connsiteY35" fmla="*/ 3971925 h 4429294"/>
                  <a:gd name="connsiteX36" fmla="*/ 3498044 w 4501379"/>
                  <a:gd name="connsiteY36" fmla="*/ 4083050 h 4429294"/>
                  <a:gd name="connsiteX37" fmla="*/ 3202769 w 4501379"/>
                  <a:gd name="connsiteY37" fmla="*/ 4222750 h 4429294"/>
                  <a:gd name="connsiteX38" fmla="*/ 3050369 w 4501379"/>
                  <a:gd name="connsiteY38" fmla="*/ 4286250 h 4429294"/>
                  <a:gd name="connsiteX39" fmla="*/ 2917019 w 4501379"/>
                  <a:gd name="connsiteY39" fmla="*/ 4333875 h 4429294"/>
                  <a:gd name="connsiteX40" fmla="*/ 2793194 w 4501379"/>
                  <a:gd name="connsiteY40" fmla="*/ 4371975 h 4429294"/>
                  <a:gd name="connsiteX41" fmla="*/ 2561419 w 4501379"/>
                  <a:gd name="connsiteY41" fmla="*/ 4391025 h 4429294"/>
                  <a:gd name="connsiteX42" fmla="*/ 2107394 w 4501379"/>
                  <a:gd name="connsiteY42" fmla="*/ 4429125 h 4429294"/>
                  <a:gd name="connsiteX43" fmla="*/ 1916894 w 4501379"/>
                  <a:gd name="connsiteY43" fmla="*/ 4400550 h 4429294"/>
                  <a:gd name="connsiteX44" fmla="*/ 1554944 w 4501379"/>
                  <a:gd name="connsiteY44" fmla="*/ 4305300 h 4429294"/>
                  <a:gd name="connsiteX45" fmla="*/ 1313644 w 4501379"/>
                  <a:gd name="connsiteY45" fmla="*/ 4216400 h 4429294"/>
                  <a:gd name="connsiteX46" fmla="*/ 1145369 w 4501379"/>
                  <a:gd name="connsiteY46" fmla="*/ 4111625 h 4429294"/>
                  <a:gd name="connsiteX47" fmla="*/ 926294 w 4501379"/>
                  <a:gd name="connsiteY47" fmla="*/ 3968750 h 4429294"/>
                  <a:gd name="connsiteX48" fmla="*/ 592919 w 4501379"/>
                  <a:gd name="connsiteY48" fmla="*/ 3657600 h 4429294"/>
                  <a:gd name="connsiteX49" fmla="*/ 446869 w 4501379"/>
                  <a:gd name="connsiteY49" fmla="*/ 3470275 h 4429294"/>
                  <a:gd name="connsiteX50" fmla="*/ 316694 w 4501379"/>
                  <a:gd name="connsiteY50" fmla="*/ 3244850 h 4429294"/>
                  <a:gd name="connsiteX51" fmla="*/ 164294 w 4501379"/>
                  <a:gd name="connsiteY51" fmla="*/ 2892425 h 4429294"/>
                  <a:gd name="connsiteX52" fmla="*/ 56344 w 4501379"/>
                  <a:gd name="connsiteY52" fmla="*/ 2368550 h 4429294"/>
                  <a:gd name="connsiteX53" fmla="*/ 2369 w 4501379"/>
                  <a:gd name="connsiteY53" fmla="*/ 1905000 h 4429294"/>
                  <a:gd name="connsiteX54" fmla="*/ 11894 w 4501379"/>
                  <a:gd name="connsiteY54" fmla="*/ 1838325 h 4429294"/>
                  <a:gd name="connsiteX55" fmla="*/ 30944 w 4501379"/>
                  <a:gd name="connsiteY55" fmla="*/ 1781175 h 4429294"/>
                  <a:gd name="connsiteX56" fmla="*/ 40469 w 4501379"/>
                  <a:gd name="connsiteY56" fmla="*/ 1743075 h 4429294"/>
                  <a:gd name="connsiteX57" fmla="*/ 59519 w 4501379"/>
                  <a:gd name="connsiteY57" fmla="*/ 1685925 h 4429294"/>
                  <a:gd name="connsiteX58" fmla="*/ 69044 w 4501379"/>
                  <a:gd name="connsiteY58" fmla="*/ 1638300 h 4429294"/>
                  <a:gd name="connsiteX59" fmla="*/ 88094 w 4501379"/>
                  <a:gd name="connsiteY59" fmla="*/ 1590675 h 4429294"/>
                  <a:gd name="connsiteX60" fmla="*/ 116669 w 4501379"/>
                  <a:gd name="connsiteY60" fmla="*/ 1504950 h 4429294"/>
                  <a:gd name="connsiteX61" fmla="*/ 135719 w 4501379"/>
                  <a:gd name="connsiteY61" fmla="*/ 1419225 h 4429294"/>
                  <a:gd name="connsiteX62" fmla="*/ 211919 w 4501379"/>
                  <a:gd name="connsiteY62" fmla="*/ 1276350 h 4429294"/>
                  <a:gd name="connsiteX63" fmla="*/ 221444 w 4501379"/>
                  <a:gd name="connsiteY63" fmla="*/ 1247775 h 4429294"/>
                  <a:gd name="connsiteX64" fmla="*/ 250019 w 4501379"/>
                  <a:gd name="connsiteY64" fmla="*/ 1200150 h 4429294"/>
                  <a:gd name="connsiteX65" fmla="*/ 269069 w 4501379"/>
                  <a:gd name="connsiteY65" fmla="*/ 1152525 h 4429294"/>
                  <a:gd name="connsiteX66" fmla="*/ 297644 w 4501379"/>
                  <a:gd name="connsiteY66" fmla="*/ 1114425 h 4429294"/>
                  <a:gd name="connsiteX67" fmla="*/ 345269 w 4501379"/>
                  <a:gd name="connsiteY67" fmla="*/ 1038225 h 4429294"/>
                  <a:gd name="connsiteX68" fmla="*/ 364319 w 4501379"/>
                  <a:gd name="connsiteY68" fmla="*/ 1009650 h 4429294"/>
                  <a:gd name="connsiteX69" fmla="*/ 421469 w 4501379"/>
                  <a:gd name="connsiteY69" fmla="*/ 904875 h 4429294"/>
                  <a:gd name="connsiteX70" fmla="*/ 459569 w 4501379"/>
                  <a:gd name="connsiteY70" fmla="*/ 857250 h 4429294"/>
                  <a:gd name="connsiteX71" fmla="*/ 478619 w 4501379"/>
                  <a:gd name="connsiteY71" fmla="*/ 828675 h 4429294"/>
                  <a:gd name="connsiteX72" fmla="*/ 516719 w 4501379"/>
                  <a:gd name="connsiteY72" fmla="*/ 800100 h 4429294"/>
                  <a:gd name="connsiteX73" fmla="*/ 583394 w 4501379"/>
                  <a:gd name="connsiteY73" fmla="*/ 733425 h 4429294"/>
                  <a:gd name="connsiteX74" fmla="*/ 650069 w 4501379"/>
                  <a:gd name="connsiteY74" fmla="*/ 676275 h 4429294"/>
                  <a:gd name="connsiteX75" fmla="*/ 678644 w 4501379"/>
                  <a:gd name="connsiteY75" fmla="*/ 657225 h 4429294"/>
                  <a:gd name="connsiteX76" fmla="*/ 821519 w 4501379"/>
                  <a:gd name="connsiteY76" fmla="*/ 533400 h 4429294"/>
                  <a:gd name="connsiteX77" fmla="*/ 869144 w 4501379"/>
                  <a:gd name="connsiteY77" fmla="*/ 504825 h 4429294"/>
                  <a:gd name="connsiteX78" fmla="*/ 1148544 w 4501379"/>
                  <a:gd name="connsiteY78" fmla="*/ 311150 h 4429294"/>
                  <a:gd name="connsiteX79" fmla="*/ 1250144 w 4501379"/>
                  <a:gd name="connsiteY79" fmla="*/ 285750 h 4429294"/>
                  <a:gd name="connsiteX80" fmla="*/ 1393019 w 4501379"/>
                  <a:gd name="connsiteY80" fmla="*/ 190500 h 4429294"/>
                  <a:gd name="connsiteX81" fmla="*/ 1431119 w 4501379"/>
                  <a:gd name="connsiteY81" fmla="*/ 161925 h 4429294"/>
                  <a:gd name="connsiteX82" fmla="*/ 1507319 w 4501379"/>
                  <a:gd name="connsiteY82" fmla="*/ 152400 h 4429294"/>
                  <a:gd name="connsiteX83" fmla="*/ 1564469 w 4501379"/>
                  <a:gd name="connsiteY83" fmla="*/ 142875 h 4429294"/>
                  <a:gd name="connsiteX84" fmla="*/ 1697819 w 4501379"/>
                  <a:gd name="connsiteY84" fmla="*/ 123825 h 4429294"/>
                  <a:gd name="connsiteX85" fmla="*/ 1793069 w 4501379"/>
                  <a:gd name="connsiteY85" fmla="*/ 114300 h 4429294"/>
                  <a:gd name="connsiteX86" fmla="*/ 1840694 w 4501379"/>
                  <a:gd name="connsiteY86" fmla="*/ 104775 h 4429294"/>
                  <a:gd name="connsiteX87" fmla="*/ 1897844 w 4501379"/>
                  <a:gd name="connsiteY87" fmla="*/ 95250 h 4429294"/>
                  <a:gd name="connsiteX88" fmla="*/ 2012144 w 4501379"/>
                  <a:gd name="connsiteY88" fmla="*/ 66675 h 4429294"/>
                  <a:gd name="connsiteX89" fmla="*/ 2078819 w 4501379"/>
                  <a:gd name="connsiteY89" fmla="*/ 47625 h 4429294"/>
                  <a:gd name="connsiteX90" fmla="*/ 2145494 w 4501379"/>
                  <a:gd name="connsiteY90" fmla="*/ 38100 h 4429294"/>
                  <a:gd name="connsiteX0" fmla="*/ 2278844 w 4501379"/>
                  <a:gd name="connsiteY0" fmla="*/ 0 h 4429294"/>
                  <a:gd name="connsiteX1" fmla="*/ 2478869 w 4501379"/>
                  <a:gd name="connsiteY1" fmla="*/ 47625 h 4429294"/>
                  <a:gd name="connsiteX2" fmla="*/ 2736044 w 4501379"/>
                  <a:gd name="connsiteY2" fmla="*/ 66675 h 4429294"/>
                  <a:gd name="connsiteX3" fmla="*/ 2812244 w 4501379"/>
                  <a:gd name="connsiteY3" fmla="*/ 76200 h 4429294"/>
                  <a:gd name="connsiteX4" fmla="*/ 2897969 w 4501379"/>
                  <a:gd name="connsiteY4" fmla="*/ 85725 h 4429294"/>
                  <a:gd name="connsiteX5" fmla="*/ 2955119 w 4501379"/>
                  <a:gd name="connsiteY5" fmla="*/ 114300 h 4429294"/>
                  <a:gd name="connsiteX6" fmla="*/ 2993219 w 4501379"/>
                  <a:gd name="connsiteY6" fmla="*/ 123825 h 4429294"/>
                  <a:gd name="connsiteX7" fmla="*/ 3117044 w 4501379"/>
                  <a:gd name="connsiteY7" fmla="*/ 171450 h 4429294"/>
                  <a:gd name="connsiteX8" fmla="*/ 3155144 w 4501379"/>
                  <a:gd name="connsiteY8" fmla="*/ 190500 h 4429294"/>
                  <a:gd name="connsiteX9" fmla="*/ 3221819 w 4501379"/>
                  <a:gd name="connsiteY9" fmla="*/ 228600 h 4429294"/>
                  <a:gd name="connsiteX10" fmla="*/ 3250394 w 4501379"/>
                  <a:gd name="connsiteY10" fmla="*/ 238125 h 4429294"/>
                  <a:gd name="connsiteX11" fmla="*/ 3278969 w 4501379"/>
                  <a:gd name="connsiteY11" fmla="*/ 257175 h 4429294"/>
                  <a:gd name="connsiteX12" fmla="*/ 3307544 w 4501379"/>
                  <a:gd name="connsiteY12" fmla="*/ 266700 h 4429294"/>
                  <a:gd name="connsiteX13" fmla="*/ 3336119 w 4501379"/>
                  <a:gd name="connsiteY13" fmla="*/ 285750 h 4429294"/>
                  <a:gd name="connsiteX14" fmla="*/ 3402794 w 4501379"/>
                  <a:gd name="connsiteY14" fmla="*/ 323850 h 4429294"/>
                  <a:gd name="connsiteX15" fmla="*/ 3450419 w 4501379"/>
                  <a:gd name="connsiteY15" fmla="*/ 361950 h 4429294"/>
                  <a:gd name="connsiteX16" fmla="*/ 3498044 w 4501379"/>
                  <a:gd name="connsiteY16" fmla="*/ 390525 h 4429294"/>
                  <a:gd name="connsiteX17" fmla="*/ 3612344 w 4501379"/>
                  <a:gd name="connsiteY17" fmla="*/ 485775 h 4429294"/>
                  <a:gd name="connsiteX18" fmla="*/ 3726644 w 4501379"/>
                  <a:gd name="connsiteY18" fmla="*/ 542925 h 4429294"/>
                  <a:gd name="connsiteX19" fmla="*/ 3793319 w 4501379"/>
                  <a:gd name="connsiteY19" fmla="*/ 581025 h 4429294"/>
                  <a:gd name="connsiteX20" fmla="*/ 4009219 w 4501379"/>
                  <a:gd name="connsiteY20" fmla="*/ 819150 h 4429294"/>
                  <a:gd name="connsiteX21" fmla="*/ 4145744 w 4501379"/>
                  <a:gd name="connsiteY21" fmla="*/ 990600 h 4429294"/>
                  <a:gd name="connsiteX22" fmla="*/ 4231469 w 4501379"/>
                  <a:gd name="connsiteY22" fmla="*/ 1143000 h 4429294"/>
                  <a:gd name="connsiteX23" fmla="*/ 4288619 w 4501379"/>
                  <a:gd name="connsiteY23" fmla="*/ 1266825 h 4429294"/>
                  <a:gd name="connsiteX24" fmla="*/ 4326719 w 4501379"/>
                  <a:gd name="connsiteY24" fmla="*/ 1362075 h 4429294"/>
                  <a:gd name="connsiteX25" fmla="*/ 4374344 w 4501379"/>
                  <a:gd name="connsiteY25" fmla="*/ 1552575 h 4429294"/>
                  <a:gd name="connsiteX26" fmla="*/ 4412444 w 4501379"/>
                  <a:gd name="connsiteY26" fmla="*/ 1685925 h 4429294"/>
                  <a:gd name="connsiteX27" fmla="*/ 4501344 w 4501379"/>
                  <a:gd name="connsiteY27" fmla="*/ 2181225 h 4429294"/>
                  <a:gd name="connsiteX28" fmla="*/ 4428319 w 4501379"/>
                  <a:gd name="connsiteY28" fmla="*/ 2768600 h 4429294"/>
                  <a:gd name="connsiteX29" fmla="*/ 4364819 w 4501379"/>
                  <a:gd name="connsiteY29" fmla="*/ 2990850 h 4429294"/>
                  <a:gd name="connsiteX30" fmla="*/ 4260044 w 4501379"/>
                  <a:gd name="connsiteY30" fmla="*/ 3248025 h 4429294"/>
                  <a:gd name="connsiteX31" fmla="*/ 4164794 w 4501379"/>
                  <a:gd name="connsiteY31" fmla="*/ 3400425 h 4429294"/>
                  <a:gd name="connsiteX32" fmla="*/ 4040969 w 4501379"/>
                  <a:gd name="connsiteY32" fmla="*/ 3533775 h 4429294"/>
                  <a:gd name="connsiteX33" fmla="*/ 3936194 w 4501379"/>
                  <a:gd name="connsiteY33" fmla="*/ 3648075 h 4429294"/>
                  <a:gd name="connsiteX34" fmla="*/ 3640919 w 4501379"/>
                  <a:gd name="connsiteY34" fmla="*/ 3971925 h 4429294"/>
                  <a:gd name="connsiteX35" fmla="*/ 3498044 w 4501379"/>
                  <a:gd name="connsiteY35" fmla="*/ 4083050 h 4429294"/>
                  <a:gd name="connsiteX36" fmla="*/ 3202769 w 4501379"/>
                  <a:gd name="connsiteY36" fmla="*/ 4222750 h 4429294"/>
                  <a:gd name="connsiteX37" fmla="*/ 3050369 w 4501379"/>
                  <a:gd name="connsiteY37" fmla="*/ 4286250 h 4429294"/>
                  <a:gd name="connsiteX38" fmla="*/ 2917019 w 4501379"/>
                  <a:gd name="connsiteY38" fmla="*/ 4333875 h 4429294"/>
                  <a:gd name="connsiteX39" fmla="*/ 2793194 w 4501379"/>
                  <a:gd name="connsiteY39" fmla="*/ 4371975 h 4429294"/>
                  <a:gd name="connsiteX40" fmla="*/ 2561419 w 4501379"/>
                  <a:gd name="connsiteY40" fmla="*/ 4391025 h 4429294"/>
                  <a:gd name="connsiteX41" fmla="*/ 2107394 w 4501379"/>
                  <a:gd name="connsiteY41" fmla="*/ 4429125 h 4429294"/>
                  <a:gd name="connsiteX42" fmla="*/ 1916894 w 4501379"/>
                  <a:gd name="connsiteY42" fmla="*/ 4400550 h 4429294"/>
                  <a:gd name="connsiteX43" fmla="*/ 1554944 w 4501379"/>
                  <a:gd name="connsiteY43" fmla="*/ 4305300 h 4429294"/>
                  <a:gd name="connsiteX44" fmla="*/ 1313644 w 4501379"/>
                  <a:gd name="connsiteY44" fmla="*/ 4216400 h 4429294"/>
                  <a:gd name="connsiteX45" fmla="*/ 1145369 w 4501379"/>
                  <a:gd name="connsiteY45" fmla="*/ 4111625 h 4429294"/>
                  <a:gd name="connsiteX46" fmla="*/ 926294 w 4501379"/>
                  <a:gd name="connsiteY46" fmla="*/ 3968750 h 4429294"/>
                  <a:gd name="connsiteX47" fmla="*/ 592919 w 4501379"/>
                  <a:gd name="connsiteY47" fmla="*/ 3657600 h 4429294"/>
                  <a:gd name="connsiteX48" fmla="*/ 446869 w 4501379"/>
                  <a:gd name="connsiteY48" fmla="*/ 3470275 h 4429294"/>
                  <a:gd name="connsiteX49" fmla="*/ 316694 w 4501379"/>
                  <a:gd name="connsiteY49" fmla="*/ 3244850 h 4429294"/>
                  <a:gd name="connsiteX50" fmla="*/ 164294 w 4501379"/>
                  <a:gd name="connsiteY50" fmla="*/ 2892425 h 4429294"/>
                  <a:gd name="connsiteX51" fmla="*/ 56344 w 4501379"/>
                  <a:gd name="connsiteY51" fmla="*/ 2368550 h 4429294"/>
                  <a:gd name="connsiteX52" fmla="*/ 2369 w 4501379"/>
                  <a:gd name="connsiteY52" fmla="*/ 1905000 h 4429294"/>
                  <a:gd name="connsiteX53" fmla="*/ 11894 w 4501379"/>
                  <a:gd name="connsiteY53" fmla="*/ 1838325 h 4429294"/>
                  <a:gd name="connsiteX54" fmla="*/ 30944 w 4501379"/>
                  <a:gd name="connsiteY54" fmla="*/ 1781175 h 4429294"/>
                  <a:gd name="connsiteX55" fmla="*/ 40469 w 4501379"/>
                  <a:gd name="connsiteY55" fmla="*/ 1743075 h 4429294"/>
                  <a:gd name="connsiteX56" fmla="*/ 59519 w 4501379"/>
                  <a:gd name="connsiteY56" fmla="*/ 1685925 h 4429294"/>
                  <a:gd name="connsiteX57" fmla="*/ 69044 w 4501379"/>
                  <a:gd name="connsiteY57" fmla="*/ 1638300 h 4429294"/>
                  <a:gd name="connsiteX58" fmla="*/ 88094 w 4501379"/>
                  <a:gd name="connsiteY58" fmla="*/ 1590675 h 4429294"/>
                  <a:gd name="connsiteX59" fmla="*/ 116669 w 4501379"/>
                  <a:gd name="connsiteY59" fmla="*/ 1504950 h 4429294"/>
                  <a:gd name="connsiteX60" fmla="*/ 135719 w 4501379"/>
                  <a:gd name="connsiteY60" fmla="*/ 1419225 h 4429294"/>
                  <a:gd name="connsiteX61" fmla="*/ 211919 w 4501379"/>
                  <a:gd name="connsiteY61" fmla="*/ 1276350 h 4429294"/>
                  <a:gd name="connsiteX62" fmla="*/ 221444 w 4501379"/>
                  <a:gd name="connsiteY62" fmla="*/ 1247775 h 4429294"/>
                  <a:gd name="connsiteX63" fmla="*/ 250019 w 4501379"/>
                  <a:gd name="connsiteY63" fmla="*/ 1200150 h 4429294"/>
                  <a:gd name="connsiteX64" fmla="*/ 269069 w 4501379"/>
                  <a:gd name="connsiteY64" fmla="*/ 1152525 h 4429294"/>
                  <a:gd name="connsiteX65" fmla="*/ 297644 w 4501379"/>
                  <a:gd name="connsiteY65" fmla="*/ 1114425 h 4429294"/>
                  <a:gd name="connsiteX66" fmla="*/ 345269 w 4501379"/>
                  <a:gd name="connsiteY66" fmla="*/ 1038225 h 4429294"/>
                  <a:gd name="connsiteX67" fmla="*/ 364319 w 4501379"/>
                  <a:gd name="connsiteY67" fmla="*/ 1009650 h 4429294"/>
                  <a:gd name="connsiteX68" fmla="*/ 421469 w 4501379"/>
                  <a:gd name="connsiteY68" fmla="*/ 904875 h 4429294"/>
                  <a:gd name="connsiteX69" fmla="*/ 459569 w 4501379"/>
                  <a:gd name="connsiteY69" fmla="*/ 857250 h 4429294"/>
                  <a:gd name="connsiteX70" fmla="*/ 478619 w 4501379"/>
                  <a:gd name="connsiteY70" fmla="*/ 828675 h 4429294"/>
                  <a:gd name="connsiteX71" fmla="*/ 516719 w 4501379"/>
                  <a:gd name="connsiteY71" fmla="*/ 800100 h 4429294"/>
                  <a:gd name="connsiteX72" fmla="*/ 583394 w 4501379"/>
                  <a:gd name="connsiteY72" fmla="*/ 733425 h 4429294"/>
                  <a:gd name="connsiteX73" fmla="*/ 650069 w 4501379"/>
                  <a:gd name="connsiteY73" fmla="*/ 676275 h 4429294"/>
                  <a:gd name="connsiteX74" fmla="*/ 678644 w 4501379"/>
                  <a:gd name="connsiteY74" fmla="*/ 657225 h 4429294"/>
                  <a:gd name="connsiteX75" fmla="*/ 821519 w 4501379"/>
                  <a:gd name="connsiteY75" fmla="*/ 533400 h 4429294"/>
                  <a:gd name="connsiteX76" fmla="*/ 869144 w 4501379"/>
                  <a:gd name="connsiteY76" fmla="*/ 504825 h 4429294"/>
                  <a:gd name="connsiteX77" fmla="*/ 1148544 w 4501379"/>
                  <a:gd name="connsiteY77" fmla="*/ 311150 h 4429294"/>
                  <a:gd name="connsiteX78" fmla="*/ 1250144 w 4501379"/>
                  <a:gd name="connsiteY78" fmla="*/ 285750 h 4429294"/>
                  <a:gd name="connsiteX79" fmla="*/ 1393019 w 4501379"/>
                  <a:gd name="connsiteY79" fmla="*/ 190500 h 4429294"/>
                  <a:gd name="connsiteX80" fmla="*/ 1431119 w 4501379"/>
                  <a:gd name="connsiteY80" fmla="*/ 161925 h 4429294"/>
                  <a:gd name="connsiteX81" fmla="*/ 1507319 w 4501379"/>
                  <a:gd name="connsiteY81" fmla="*/ 152400 h 4429294"/>
                  <a:gd name="connsiteX82" fmla="*/ 1564469 w 4501379"/>
                  <a:gd name="connsiteY82" fmla="*/ 142875 h 4429294"/>
                  <a:gd name="connsiteX83" fmla="*/ 1697819 w 4501379"/>
                  <a:gd name="connsiteY83" fmla="*/ 123825 h 4429294"/>
                  <a:gd name="connsiteX84" fmla="*/ 1793069 w 4501379"/>
                  <a:gd name="connsiteY84" fmla="*/ 114300 h 4429294"/>
                  <a:gd name="connsiteX85" fmla="*/ 1840694 w 4501379"/>
                  <a:gd name="connsiteY85" fmla="*/ 104775 h 4429294"/>
                  <a:gd name="connsiteX86" fmla="*/ 1897844 w 4501379"/>
                  <a:gd name="connsiteY86" fmla="*/ 95250 h 4429294"/>
                  <a:gd name="connsiteX87" fmla="*/ 2012144 w 4501379"/>
                  <a:gd name="connsiteY87" fmla="*/ 66675 h 4429294"/>
                  <a:gd name="connsiteX88" fmla="*/ 2078819 w 4501379"/>
                  <a:gd name="connsiteY88" fmla="*/ 47625 h 4429294"/>
                  <a:gd name="connsiteX89" fmla="*/ 2145494 w 4501379"/>
                  <a:gd name="connsiteY89" fmla="*/ 38100 h 4429294"/>
                  <a:gd name="connsiteX0" fmla="*/ 2278844 w 4501379"/>
                  <a:gd name="connsiteY0" fmla="*/ 0 h 4429294"/>
                  <a:gd name="connsiteX1" fmla="*/ 2736044 w 4501379"/>
                  <a:gd name="connsiteY1" fmla="*/ 66675 h 4429294"/>
                  <a:gd name="connsiteX2" fmla="*/ 2812244 w 4501379"/>
                  <a:gd name="connsiteY2" fmla="*/ 76200 h 4429294"/>
                  <a:gd name="connsiteX3" fmla="*/ 2897969 w 4501379"/>
                  <a:gd name="connsiteY3" fmla="*/ 85725 h 4429294"/>
                  <a:gd name="connsiteX4" fmla="*/ 2955119 w 4501379"/>
                  <a:gd name="connsiteY4" fmla="*/ 114300 h 4429294"/>
                  <a:gd name="connsiteX5" fmla="*/ 2993219 w 4501379"/>
                  <a:gd name="connsiteY5" fmla="*/ 123825 h 4429294"/>
                  <a:gd name="connsiteX6" fmla="*/ 3117044 w 4501379"/>
                  <a:gd name="connsiteY6" fmla="*/ 171450 h 4429294"/>
                  <a:gd name="connsiteX7" fmla="*/ 3155144 w 4501379"/>
                  <a:gd name="connsiteY7" fmla="*/ 190500 h 4429294"/>
                  <a:gd name="connsiteX8" fmla="*/ 3221819 w 4501379"/>
                  <a:gd name="connsiteY8" fmla="*/ 228600 h 4429294"/>
                  <a:gd name="connsiteX9" fmla="*/ 3250394 w 4501379"/>
                  <a:gd name="connsiteY9" fmla="*/ 238125 h 4429294"/>
                  <a:gd name="connsiteX10" fmla="*/ 3278969 w 4501379"/>
                  <a:gd name="connsiteY10" fmla="*/ 257175 h 4429294"/>
                  <a:gd name="connsiteX11" fmla="*/ 3307544 w 4501379"/>
                  <a:gd name="connsiteY11" fmla="*/ 266700 h 4429294"/>
                  <a:gd name="connsiteX12" fmla="*/ 3336119 w 4501379"/>
                  <a:gd name="connsiteY12" fmla="*/ 285750 h 4429294"/>
                  <a:gd name="connsiteX13" fmla="*/ 3402794 w 4501379"/>
                  <a:gd name="connsiteY13" fmla="*/ 323850 h 4429294"/>
                  <a:gd name="connsiteX14" fmla="*/ 3450419 w 4501379"/>
                  <a:gd name="connsiteY14" fmla="*/ 361950 h 4429294"/>
                  <a:gd name="connsiteX15" fmla="*/ 3498044 w 4501379"/>
                  <a:gd name="connsiteY15" fmla="*/ 390525 h 4429294"/>
                  <a:gd name="connsiteX16" fmla="*/ 3612344 w 4501379"/>
                  <a:gd name="connsiteY16" fmla="*/ 485775 h 4429294"/>
                  <a:gd name="connsiteX17" fmla="*/ 3726644 w 4501379"/>
                  <a:gd name="connsiteY17" fmla="*/ 542925 h 4429294"/>
                  <a:gd name="connsiteX18" fmla="*/ 3793319 w 4501379"/>
                  <a:gd name="connsiteY18" fmla="*/ 581025 h 4429294"/>
                  <a:gd name="connsiteX19" fmla="*/ 4009219 w 4501379"/>
                  <a:gd name="connsiteY19" fmla="*/ 819150 h 4429294"/>
                  <a:gd name="connsiteX20" fmla="*/ 4145744 w 4501379"/>
                  <a:gd name="connsiteY20" fmla="*/ 990600 h 4429294"/>
                  <a:gd name="connsiteX21" fmla="*/ 4231469 w 4501379"/>
                  <a:gd name="connsiteY21" fmla="*/ 1143000 h 4429294"/>
                  <a:gd name="connsiteX22" fmla="*/ 4288619 w 4501379"/>
                  <a:gd name="connsiteY22" fmla="*/ 1266825 h 4429294"/>
                  <a:gd name="connsiteX23" fmla="*/ 4326719 w 4501379"/>
                  <a:gd name="connsiteY23" fmla="*/ 1362075 h 4429294"/>
                  <a:gd name="connsiteX24" fmla="*/ 4374344 w 4501379"/>
                  <a:gd name="connsiteY24" fmla="*/ 1552575 h 4429294"/>
                  <a:gd name="connsiteX25" fmla="*/ 4412444 w 4501379"/>
                  <a:gd name="connsiteY25" fmla="*/ 1685925 h 4429294"/>
                  <a:gd name="connsiteX26" fmla="*/ 4501344 w 4501379"/>
                  <a:gd name="connsiteY26" fmla="*/ 2181225 h 4429294"/>
                  <a:gd name="connsiteX27" fmla="*/ 4428319 w 4501379"/>
                  <a:gd name="connsiteY27" fmla="*/ 2768600 h 4429294"/>
                  <a:gd name="connsiteX28" fmla="*/ 4364819 w 4501379"/>
                  <a:gd name="connsiteY28" fmla="*/ 2990850 h 4429294"/>
                  <a:gd name="connsiteX29" fmla="*/ 4260044 w 4501379"/>
                  <a:gd name="connsiteY29" fmla="*/ 3248025 h 4429294"/>
                  <a:gd name="connsiteX30" fmla="*/ 4164794 w 4501379"/>
                  <a:gd name="connsiteY30" fmla="*/ 3400425 h 4429294"/>
                  <a:gd name="connsiteX31" fmla="*/ 4040969 w 4501379"/>
                  <a:gd name="connsiteY31" fmla="*/ 3533775 h 4429294"/>
                  <a:gd name="connsiteX32" fmla="*/ 3936194 w 4501379"/>
                  <a:gd name="connsiteY32" fmla="*/ 3648075 h 4429294"/>
                  <a:gd name="connsiteX33" fmla="*/ 3640919 w 4501379"/>
                  <a:gd name="connsiteY33" fmla="*/ 3971925 h 4429294"/>
                  <a:gd name="connsiteX34" fmla="*/ 3498044 w 4501379"/>
                  <a:gd name="connsiteY34" fmla="*/ 4083050 h 4429294"/>
                  <a:gd name="connsiteX35" fmla="*/ 3202769 w 4501379"/>
                  <a:gd name="connsiteY35" fmla="*/ 4222750 h 4429294"/>
                  <a:gd name="connsiteX36" fmla="*/ 3050369 w 4501379"/>
                  <a:gd name="connsiteY36" fmla="*/ 4286250 h 4429294"/>
                  <a:gd name="connsiteX37" fmla="*/ 2917019 w 4501379"/>
                  <a:gd name="connsiteY37" fmla="*/ 4333875 h 4429294"/>
                  <a:gd name="connsiteX38" fmla="*/ 2793194 w 4501379"/>
                  <a:gd name="connsiteY38" fmla="*/ 4371975 h 4429294"/>
                  <a:gd name="connsiteX39" fmla="*/ 2561419 w 4501379"/>
                  <a:gd name="connsiteY39" fmla="*/ 4391025 h 4429294"/>
                  <a:gd name="connsiteX40" fmla="*/ 2107394 w 4501379"/>
                  <a:gd name="connsiteY40" fmla="*/ 4429125 h 4429294"/>
                  <a:gd name="connsiteX41" fmla="*/ 1916894 w 4501379"/>
                  <a:gd name="connsiteY41" fmla="*/ 4400550 h 4429294"/>
                  <a:gd name="connsiteX42" fmla="*/ 1554944 w 4501379"/>
                  <a:gd name="connsiteY42" fmla="*/ 4305300 h 4429294"/>
                  <a:gd name="connsiteX43" fmla="*/ 1313644 w 4501379"/>
                  <a:gd name="connsiteY43" fmla="*/ 4216400 h 4429294"/>
                  <a:gd name="connsiteX44" fmla="*/ 1145369 w 4501379"/>
                  <a:gd name="connsiteY44" fmla="*/ 4111625 h 4429294"/>
                  <a:gd name="connsiteX45" fmla="*/ 926294 w 4501379"/>
                  <a:gd name="connsiteY45" fmla="*/ 3968750 h 4429294"/>
                  <a:gd name="connsiteX46" fmla="*/ 592919 w 4501379"/>
                  <a:gd name="connsiteY46" fmla="*/ 3657600 h 4429294"/>
                  <a:gd name="connsiteX47" fmla="*/ 446869 w 4501379"/>
                  <a:gd name="connsiteY47" fmla="*/ 3470275 h 4429294"/>
                  <a:gd name="connsiteX48" fmla="*/ 316694 w 4501379"/>
                  <a:gd name="connsiteY48" fmla="*/ 3244850 h 4429294"/>
                  <a:gd name="connsiteX49" fmla="*/ 164294 w 4501379"/>
                  <a:gd name="connsiteY49" fmla="*/ 2892425 h 4429294"/>
                  <a:gd name="connsiteX50" fmla="*/ 56344 w 4501379"/>
                  <a:gd name="connsiteY50" fmla="*/ 2368550 h 4429294"/>
                  <a:gd name="connsiteX51" fmla="*/ 2369 w 4501379"/>
                  <a:gd name="connsiteY51" fmla="*/ 1905000 h 4429294"/>
                  <a:gd name="connsiteX52" fmla="*/ 11894 w 4501379"/>
                  <a:gd name="connsiteY52" fmla="*/ 1838325 h 4429294"/>
                  <a:gd name="connsiteX53" fmla="*/ 30944 w 4501379"/>
                  <a:gd name="connsiteY53" fmla="*/ 1781175 h 4429294"/>
                  <a:gd name="connsiteX54" fmla="*/ 40469 w 4501379"/>
                  <a:gd name="connsiteY54" fmla="*/ 1743075 h 4429294"/>
                  <a:gd name="connsiteX55" fmla="*/ 59519 w 4501379"/>
                  <a:gd name="connsiteY55" fmla="*/ 1685925 h 4429294"/>
                  <a:gd name="connsiteX56" fmla="*/ 69044 w 4501379"/>
                  <a:gd name="connsiteY56" fmla="*/ 1638300 h 4429294"/>
                  <a:gd name="connsiteX57" fmla="*/ 88094 w 4501379"/>
                  <a:gd name="connsiteY57" fmla="*/ 1590675 h 4429294"/>
                  <a:gd name="connsiteX58" fmla="*/ 116669 w 4501379"/>
                  <a:gd name="connsiteY58" fmla="*/ 1504950 h 4429294"/>
                  <a:gd name="connsiteX59" fmla="*/ 135719 w 4501379"/>
                  <a:gd name="connsiteY59" fmla="*/ 1419225 h 4429294"/>
                  <a:gd name="connsiteX60" fmla="*/ 211919 w 4501379"/>
                  <a:gd name="connsiteY60" fmla="*/ 1276350 h 4429294"/>
                  <a:gd name="connsiteX61" fmla="*/ 221444 w 4501379"/>
                  <a:gd name="connsiteY61" fmla="*/ 1247775 h 4429294"/>
                  <a:gd name="connsiteX62" fmla="*/ 250019 w 4501379"/>
                  <a:gd name="connsiteY62" fmla="*/ 1200150 h 4429294"/>
                  <a:gd name="connsiteX63" fmla="*/ 269069 w 4501379"/>
                  <a:gd name="connsiteY63" fmla="*/ 1152525 h 4429294"/>
                  <a:gd name="connsiteX64" fmla="*/ 297644 w 4501379"/>
                  <a:gd name="connsiteY64" fmla="*/ 1114425 h 4429294"/>
                  <a:gd name="connsiteX65" fmla="*/ 345269 w 4501379"/>
                  <a:gd name="connsiteY65" fmla="*/ 1038225 h 4429294"/>
                  <a:gd name="connsiteX66" fmla="*/ 364319 w 4501379"/>
                  <a:gd name="connsiteY66" fmla="*/ 1009650 h 4429294"/>
                  <a:gd name="connsiteX67" fmla="*/ 421469 w 4501379"/>
                  <a:gd name="connsiteY67" fmla="*/ 904875 h 4429294"/>
                  <a:gd name="connsiteX68" fmla="*/ 459569 w 4501379"/>
                  <a:gd name="connsiteY68" fmla="*/ 857250 h 4429294"/>
                  <a:gd name="connsiteX69" fmla="*/ 478619 w 4501379"/>
                  <a:gd name="connsiteY69" fmla="*/ 828675 h 4429294"/>
                  <a:gd name="connsiteX70" fmla="*/ 516719 w 4501379"/>
                  <a:gd name="connsiteY70" fmla="*/ 800100 h 4429294"/>
                  <a:gd name="connsiteX71" fmla="*/ 583394 w 4501379"/>
                  <a:gd name="connsiteY71" fmla="*/ 733425 h 4429294"/>
                  <a:gd name="connsiteX72" fmla="*/ 650069 w 4501379"/>
                  <a:gd name="connsiteY72" fmla="*/ 676275 h 4429294"/>
                  <a:gd name="connsiteX73" fmla="*/ 678644 w 4501379"/>
                  <a:gd name="connsiteY73" fmla="*/ 657225 h 4429294"/>
                  <a:gd name="connsiteX74" fmla="*/ 821519 w 4501379"/>
                  <a:gd name="connsiteY74" fmla="*/ 533400 h 4429294"/>
                  <a:gd name="connsiteX75" fmla="*/ 869144 w 4501379"/>
                  <a:gd name="connsiteY75" fmla="*/ 504825 h 4429294"/>
                  <a:gd name="connsiteX76" fmla="*/ 1148544 w 4501379"/>
                  <a:gd name="connsiteY76" fmla="*/ 311150 h 4429294"/>
                  <a:gd name="connsiteX77" fmla="*/ 1250144 w 4501379"/>
                  <a:gd name="connsiteY77" fmla="*/ 285750 h 4429294"/>
                  <a:gd name="connsiteX78" fmla="*/ 1393019 w 4501379"/>
                  <a:gd name="connsiteY78" fmla="*/ 190500 h 4429294"/>
                  <a:gd name="connsiteX79" fmla="*/ 1431119 w 4501379"/>
                  <a:gd name="connsiteY79" fmla="*/ 161925 h 4429294"/>
                  <a:gd name="connsiteX80" fmla="*/ 1507319 w 4501379"/>
                  <a:gd name="connsiteY80" fmla="*/ 152400 h 4429294"/>
                  <a:gd name="connsiteX81" fmla="*/ 1564469 w 4501379"/>
                  <a:gd name="connsiteY81" fmla="*/ 142875 h 4429294"/>
                  <a:gd name="connsiteX82" fmla="*/ 1697819 w 4501379"/>
                  <a:gd name="connsiteY82" fmla="*/ 123825 h 4429294"/>
                  <a:gd name="connsiteX83" fmla="*/ 1793069 w 4501379"/>
                  <a:gd name="connsiteY83" fmla="*/ 114300 h 4429294"/>
                  <a:gd name="connsiteX84" fmla="*/ 1840694 w 4501379"/>
                  <a:gd name="connsiteY84" fmla="*/ 104775 h 4429294"/>
                  <a:gd name="connsiteX85" fmla="*/ 1897844 w 4501379"/>
                  <a:gd name="connsiteY85" fmla="*/ 95250 h 4429294"/>
                  <a:gd name="connsiteX86" fmla="*/ 2012144 w 4501379"/>
                  <a:gd name="connsiteY86" fmla="*/ 66675 h 4429294"/>
                  <a:gd name="connsiteX87" fmla="*/ 2078819 w 4501379"/>
                  <a:gd name="connsiteY87" fmla="*/ 47625 h 4429294"/>
                  <a:gd name="connsiteX88" fmla="*/ 2145494 w 4501379"/>
                  <a:gd name="connsiteY8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12244 w 4501379"/>
                  <a:gd name="connsiteY2" fmla="*/ 76200 h 4429294"/>
                  <a:gd name="connsiteX3" fmla="*/ 2897969 w 4501379"/>
                  <a:gd name="connsiteY3" fmla="*/ 85725 h 4429294"/>
                  <a:gd name="connsiteX4" fmla="*/ 2955119 w 4501379"/>
                  <a:gd name="connsiteY4" fmla="*/ 114300 h 4429294"/>
                  <a:gd name="connsiteX5" fmla="*/ 2993219 w 4501379"/>
                  <a:gd name="connsiteY5" fmla="*/ 123825 h 4429294"/>
                  <a:gd name="connsiteX6" fmla="*/ 3117044 w 4501379"/>
                  <a:gd name="connsiteY6" fmla="*/ 171450 h 4429294"/>
                  <a:gd name="connsiteX7" fmla="*/ 3155144 w 4501379"/>
                  <a:gd name="connsiteY7" fmla="*/ 190500 h 4429294"/>
                  <a:gd name="connsiteX8" fmla="*/ 3221819 w 4501379"/>
                  <a:gd name="connsiteY8" fmla="*/ 228600 h 4429294"/>
                  <a:gd name="connsiteX9" fmla="*/ 3250394 w 4501379"/>
                  <a:gd name="connsiteY9" fmla="*/ 238125 h 4429294"/>
                  <a:gd name="connsiteX10" fmla="*/ 3278969 w 4501379"/>
                  <a:gd name="connsiteY10" fmla="*/ 257175 h 4429294"/>
                  <a:gd name="connsiteX11" fmla="*/ 3307544 w 4501379"/>
                  <a:gd name="connsiteY11" fmla="*/ 266700 h 4429294"/>
                  <a:gd name="connsiteX12" fmla="*/ 3336119 w 4501379"/>
                  <a:gd name="connsiteY12" fmla="*/ 285750 h 4429294"/>
                  <a:gd name="connsiteX13" fmla="*/ 3402794 w 4501379"/>
                  <a:gd name="connsiteY13" fmla="*/ 323850 h 4429294"/>
                  <a:gd name="connsiteX14" fmla="*/ 3450419 w 4501379"/>
                  <a:gd name="connsiteY14" fmla="*/ 361950 h 4429294"/>
                  <a:gd name="connsiteX15" fmla="*/ 3498044 w 4501379"/>
                  <a:gd name="connsiteY15" fmla="*/ 390525 h 4429294"/>
                  <a:gd name="connsiteX16" fmla="*/ 3612344 w 4501379"/>
                  <a:gd name="connsiteY16" fmla="*/ 485775 h 4429294"/>
                  <a:gd name="connsiteX17" fmla="*/ 3726644 w 4501379"/>
                  <a:gd name="connsiteY17" fmla="*/ 542925 h 4429294"/>
                  <a:gd name="connsiteX18" fmla="*/ 3793319 w 4501379"/>
                  <a:gd name="connsiteY18" fmla="*/ 581025 h 4429294"/>
                  <a:gd name="connsiteX19" fmla="*/ 4009219 w 4501379"/>
                  <a:gd name="connsiteY19" fmla="*/ 819150 h 4429294"/>
                  <a:gd name="connsiteX20" fmla="*/ 4145744 w 4501379"/>
                  <a:gd name="connsiteY20" fmla="*/ 990600 h 4429294"/>
                  <a:gd name="connsiteX21" fmla="*/ 4231469 w 4501379"/>
                  <a:gd name="connsiteY21" fmla="*/ 1143000 h 4429294"/>
                  <a:gd name="connsiteX22" fmla="*/ 4288619 w 4501379"/>
                  <a:gd name="connsiteY22" fmla="*/ 1266825 h 4429294"/>
                  <a:gd name="connsiteX23" fmla="*/ 4326719 w 4501379"/>
                  <a:gd name="connsiteY23" fmla="*/ 1362075 h 4429294"/>
                  <a:gd name="connsiteX24" fmla="*/ 4374344 w 4501379"/>
                  <a:gd name="connsiteY24" fmla="*/ 1552575 h 4429294"/>
                  <a:gd name="connsiteX25" fmla="*/ 4412444 w 4501379"/>
                  <a:gd name="connsiteY25" fmla="*/ 1685925 h 4429294"/>
                  <a:gd name="connsiteX26" fmla="*/ 4501344 w 4501379"/>
                  <a:gd name="connsiteY26" fmla="*/ 2181225 h 4429294"/>
                  <a:gd name="connsiteX27" fmla="*/ 4428319 w 4501379"/>
                  <a:gd name="connsiteY27" fmla="*/ 2768600 h 4429294"/>
                  <a:gd name="connsiteX28" fmla="*/ 4364819 w 4501379"/>
                  <a:gd name="connsiteY28" fmla="*/ 2990850 h 4429294"/>
                  <a:gd name="connsiteX29" fmla="*/ 4260044 w 4501379"/>
                  <a:gd name="connsiteY29" fmla="*/ 3248025 h 4429294"/>
                  <a:gd name="connsiteX30" fmla="*/ 4164794 w 4501379"/>
                  <a:gd name="connsiteY30" fmla="*/ 3400425 h 4429294"/>
                  <a:gd name="connsiteX31" fmla="*/ 4040969 w 4501379"/>
                  <a:gd name="connsiteY31" fmla="*/ 3533775 h 4429294"/>
                  <a:gd name="connsiteX32" fmla="*/ 3936194 w 4501379"/>
                  <a:gd name="connsiteY32" fmla="*/ 3648075 h 4429294"/>
                  <a:gd name="connsiteX33" fmla="*/ 3640919 w 4501379"/>
                  <a:gd name="connsiteY33" fmla="*/ 3971925 h 4429294"/>
                  <a:gd name="connsiteX34" fmla="*/ 3498044 w 4501379"/>
                  <a:gd name="connsiteY34" fmla="*/ 4083050 h 4429294"/>
                  <a:gd name="connsiteX35" fmla="*/ 3202769 w 4501379"/>
                  <a:gd name="connsiteY35" fmla="*/ 4222750 h 4429294"/>
                  <a:gd name="connsiteX36" fmla="*/ 3050369 w 4501379"/>
                  <a:gd name="connsiteY36" fmla="*/ 4286250 h 4429294"/>
                  <a:gd name="connsiteX37" fmla="*/ 2917019 w 4501379"/>
                  <a:gd name="connsiteY37" fmla="*/ 4333875 h 4429294"/>
                  <a:gd name="connsiteX38" fmla="*/ 2793194 w 4501379"/>
                  <a:gd name="connsiteY38" fmla="*/ 4371975 h 4429294"/>
                  <a:gd name="connsiteX39" fmla="*/ 2561419 w 4501379"/>
                  <a:gd name="connsiteY39" fmla="*/ 4391025 h 4429294"/>
                  <a:gd name="connsiteX40" fmla="*/ 2107394 w 4501379"/>
                  <a:gd name="connsiteY40" fmla="*/ 4429125 h 4429294"/>
                  <a:gd name="connsiteX41" fmla="*/ 1916894 w 4501379"/>
                  <a:gd name="connsiteY41" fmla="*/ 4400550 h 4429294"/>
                  <a:gd name="connsiteX42" fmla="*/ 1554944 w 4501379"/>
                  <a:gd name="connsiteY42" fmla="*/ 4305300 h 4429294"/>
                  <a:gd name="connsiteX43" fmla="*/ 1313644 w 4501379"/>
                  <a:gd name="connsiteY43" fmla="*/ 4216400 h 4429294"/>
                  <a:gd name="connsiteX44" fmla="*/ 1145369 w 4501379"/>
                  <a:gd name="connsiteY44" fmla="*/ 4111625 h 4429294"/>
                  <a:gd name="connsiteX45" fmla="*/ 926294 w 4501379"/>
                  <a:gd name="connsiteY45" fmla="*/ 3968750 h 4429294"/>
                  <a:gd name="connsiteX46" fmla="*/ 592919 w 4501379"/>
                  <a:gd name="connsiteY46" fmla="*/ 3657600 h 4429294"/>
                  <a:gd name="connsiteX47" fmla="*/ 446869 w 4501379"/>
                  <a:gd name="connsiteY47" fmla="*/ 3470275 h 4429294"/>
                  <a:gd name="connsiteX48" fmla="*/ 316694 w 4501379"/>
                  <a:gd name="connsiteY48" fmla="*/ 3244850 h 4429294"/>
                  <a:gd name="connsiteX49" fmla="*/ 164294 w 4501379"/>
                  <a:gd name="connsiteY49" fmla="*/ 2892425 h 4429294"/>
                  <a:gd name="connsiteX50" fmla="*/ 56344 w 4501379"/>
                  <a:gd name="connsiteY50" fmla="*/ 2368550 h 4429294"/>
                  <a:gd name="connsiteX51" fmla="*/ 2369 w 4501379"/>
                  <a:gd name="connsiteY51" fmla="*/ 1905000 h 4429294"/>
                  <a:gd name="connsiteX52" fmla="*/ 11894 w 4501379"/>
                  <a:gd name="connsiteY52" fmla="*/ 1838325 h 4429294"/>
                  <a:gd name="connsiteX53" fmla="*/ 30944 w 4501379"/>
                  <a:gd name="connsiteY53" fmla="*/ 1781175 h 4429294"/>
                  <a:gd name="connsiteX54" fmla="*/ 40469 w 4501379"/>
                  <a:gd name="connsiteY54" fmla="*/ 1743075 h 4429294"/>
                  <a:gd name="connsiteX55" fmla="*/ 59519 w 4501379"/>
                  <a:gd name="connsiteY55" fmla="*/ 1685925 h 4429294"/>
                  <a:gd name="connsiteX56" fmla="*/ 69044 w 4501379"/>
                  <a:gd name="connsiteY56" fmla="*/ 1638300 h 4429294"/>
                  <a:gd name="connsiteX57" fmla="*/ 88094 w 4501379"/>
                  <a:gd name="connsiteY57" fmla="*/ 1590675 h 4429294"/>
                  <a:gd name="connsiteX58" fmla="*/ 116669 w 4501379"/>
                  <a:gd name="connsiteY58" fmla="*/ 1504950 h 4429294"/>
                  <a:gd name="connsiteX59" fmla="*/ 135719 w 4501379"/>
                  <a:gd name="connsiteY59" fmla="*/ 1419225 h 4429294"/>
                  <a:gd name="connsiteX60" fmla="*/ 211919 w 4501379"/>
                  <a:gd name="connsiteY60" fmla="*/ 1276350 h 4429294"/>
                  <a:gd name="connsiteX61" fmla="*/ 221444 w 4501379"/>
                  <a:gd name="connsiteY61" fmla="*/ 1247775 h 4429294"/>
                  <a:gd name="connsiteX62" fmla="*/ 250019 w 4501379"/>
                  <a:gd name="connsiteY62" fmla="*/ 1200150 h 4429294"/>
                  <a:gd name="connsiteX63" fmla="*/ 269069 w 4501379"/>
                  <a:gd name="connsiteY63" fmla="*/ 1152525 h 4429294"/>
                  <a:gd name="connsiteX64" fmla="*/ 297644 w 4501379"/>
                  <a:gd name="connsiteY64" fmla="*/ 1114425 h 4429294"/>
                  <a:gd name="connsiteX65" fmla="*/ 345269 w 4501379"/>
                  <a:gd name="connsiteY65" fmla="*/ 1038225 h 4429294"/>
                  <a:gd name="connsiteX66" fmla="*/ 364319 w 4501379"/>
                  <a:gd name="connsiteY66" fmla="*/ 1009650 h 4429294"/>
                  <a:gd name="connsiteX67" fmla="*/ 421469 w 4501379"/>
                  <a:gd name="connsiteY67" fmla="*/ 904875 h 4429294"/>
                  <a:gd name="connsiteX68" fmla="*/ 459569 w 4501379"/>
                  <a:gd name="connsiteY68" fmla="*/ 857250 h 4429294"/>
                  <a:gd name="connsiteX69" fmla="*/ 478619 w 4501379"/>
                  <a:gd name="connsiteY69" fmla="*/ 828675 h 4429294"/>
                  <a:gd name="connsiteX70" fmla="*/ 516719 w 4501379"/>
                  <a:gd name="connsiteY70" fmla="*/ 800100 h 4429294"/>
                  <a:gd name="connsiteX71" fmla="*/ 583394 w 4501379"/>
                  <a:gd name="connsiteY71" fmla="*/ 733425 h 4429294"/>
                  <a:gd name="connsiteX72" fmla="*/ 650069 w 4501379"/>
                  <a:gd name="connsiteY72" fmla="*/ 676275 h 4429294"/>
                  <a:gd name="connsiteX73" fmla="*/ 678644 w 4501379"/>
                  <a:gd name="connsiteY73" fmla="*/ 657225 h 4429294"/>
                  <a:gd name="connsiteX74" fmla="*/ 821519 w 4501379"/>
                  <a:gd name="connsiteY74" fmla="*/ 533400 h 4429294"/>
                  <a:gd name="connsiteX75" fmla="*/ 869144 w 4501379"/>
                  <a:gd name="connsiteY75" fmla="*/ 504825 h 4429294"/>
                  <a:gd name="connsiteX76" fmla="*/ 1148544 w 4501379"/>
                  <a:gd name="connsiteY76" fmla="*/ 311150 h 4429294"/>
                  <a:gd name="connsiteX77" fmla="*/ 1250144 w 4501379"/>
                  <a:gd name="connsiteY77" fmla="*/ 285750 h 4429294"/>
                  <a:gd name="connsiteX78" fmla="*/ 1393019 w 4501379"/>
                  <a:gd name="connsiteY78" fmla="*/ 190500 h 4429294"/>
                  <a:gd name="connsiteX79" fmla="*/ 1431119 w 4501379"/>
                  <a:gd name="connsiteY79" fmla="*/ 161925 h 4429294"/>
                  <a:gd name="connsiteX80" fmla="*/ 1507319 w 4501379"/>
                  <a:gd name="connsiteY80" fmla="*/ 152400 h 4429294"/>
                  <a:gd name="connsiteX81" fmla="*/ 1564469 w 4501379"/>
                  <a:gd name="connsiteY81" fmla="*/ 142875 h 4429294"/>
                  <a:gd name="connsiteX82" fmla="*/ 1697819 w 4501379"/>
                  <a:gd name="connsiteY82" fmla="*/ 123825 h 4429294"/>
                  <a:gd name="connsiteX83" fmla="*/ 1793069 w 4501379"/>
                  <a:gd name="connsiteY83" fmla="*/ 114300 h 4429294"/>
                  <a:gd name="connsiteX84" fmla="*/ 1840694 w 4501379"/>
                  <a:gd name="connsiteY84" fmla="*/ 104775 h 4429294"/>
                  <a:gd name="connsiteX85" fmla="*/ 1897844 w 4501379"/>
                  <a:gd name="connsiteY85" fmla="*/ 95250 h 4429294"/>
                  <a:gd name="connsiteX86" fmla="*/ 2012144 w 4501379"/>
                  <a:gd name="connsiteY86" fmla="*/ 66675 h 4429294"/>
                  <a:gd name="connsiteX87" fmla="*/ 2078819 w 4501379"/>
                  <a:gd name="connsiteY87" fmla="*/ 47625 h 4429294"/>
                  <a:gd name="connsiteX88" fmla="*/ 2145494 w 4501379"/>
                  <a:gd name="connsiteY8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2955119 w 4501379"/>
                  <a:gd name="connsiteY3" fmla="*/ 114300 h 4429294"/>
                  <a:gd name="connsiteX4" fmla="*/ 2993219 w 4501379"/>
                  <a:gd name="connsiteY4" fmla="*/ 123825 h 4429294"/>
                  <a:gd name="connsiteX5" fmla="*/ 3117044 w 4501379"/>
                  <a:gd name="connsiteY5" fmla="*/ 171450 h 4429294"/>
                  <a:gd name="connsiteX6" fmla="*/ 3155144 w 4501379"/>
                  <a:gd name="connsiteY6" fmla="*/ 190500 h 4429294"/>
                  <a:gd name="connsiteX7" fmla="*/ 3221819 w 4501379"/>
                  <a:gd name="connsiteY7" fmla="*/ 228600 h 4429294"/>
                  <a:gd name="connsiteX8" fmla="*/ 3250394 w 4501379"/>
                  <a:gd name="connsiteY8" fmla="*/ 238125 h 4429294"/>
                  <a:gd name="connsiteX9" fmla="*/ 3278969 w 4501379"/>
                  <a:gd name="connsiteY9" fmla="*/ 257175 h 4429294"/>
                  <a:gd name="connsiteX10" fmla="*/ 3307544 w 4501379"/>
                  <a:gd name="connsiteY10" fmla="*/ 266700 h 4429294"/>
                  <a:gd name="connsiteX11" fmla="*/ 3336119 w 4501379"/>
                  <a:gd name="connsiteY11" fmla="*/ 285750 h 4429294"/>
                  <a:gd name="connsiteX12" fmla="*/ 3402794 w 4501379"/>
                  <a:gd name="connsiteY12" fmla="*/ 323850 h 4429294"/>
                  <a:gd name="connsiteX13" fmla="*/ 3450419 w 4501379"/>
                  <a:gd name="connsiteY13" fmla="*/ 361950 h 4429294"/>
                  <a:gd name="connsiteX14" fmla="*/ 3498044 w 4501379"/>
                  <a:gd name="connsiteY14" fmla="*/ 390525 h 4429294"/>
                  <a:gd name="connsiteX15" fmla="*/ 3612344 w 4501379"/>
                  <a:gd name="connsiteY15" fmla="*/ 485775 h 4429294"/>
                  <a:gd name="connsiteX16" fmla="*/ 3726644 w 4501379"/>
                  <a:gd name="connsiteY16" fmla="*/ 542925 h 4429294"/>
                  <a:gd name="connsiteX17" fmla="*/ 3793319 w 4501379"/>
                  <a:gd name="connsiteY17" fmla="*/ 581025 h 4429294"/>
                  <a:gd name="connsiteX18" fmla="*/ 4009219 w 4501379"/>
                  <a:gd name="connsiteY18" fmla="*/ 819150 h 4429294"/>
                  <a:gd name="connsiteX19" fmla="*/ 4145744 w 4501379"/>
                  <a:gd name="connsiteY19" fmla="*/ 990600 h 4429294"/>
                  <a:gd name="connsiteX20" fmla="*/ 4231469 w 4501379"/>
                  <a:gd name="connsiteY20" fmla="*/ 1143000 h 4429294"/>
                  <a:gd name="connsiteX21" fmla="*/ 4288619 w 4501379"/>
                  <a:gd name="connsiteY21" fmla="*/ 1266825 h 4429294"/>
                  <a:gd name="connsiteX22" fmla="*/ 4326719 w 4501379"/>
                  <a:gd name="connsiteY22" fmla="*/ 1362075 h 4429294"/>
                  <a:gd name="connsiteX23" fmla="*/ 4374344 w 4501379"/>
                  <a:gd name="connsiteY23" fmla="*/ 1552575 h 4429294"/>
                  <a:gd name="connsiteX24" fmla="*/ 4412444 w 4501379"/>
                  <a:gd name="connsiteY24" fmla="*/ 1685925 h 4429294"/>
                  <a:gd name="connsiteX25" fmla="*/ 4501344 w 4501379"/>
                  <a:gd name="connsiteY25" fmla="*/ 2181225 h 4429294"/>
                  <a:gd name="connsiteX26" fmla="*/ 4428319 w 4501379"/>
                  <a:gd name="connsiteY26" fmla="*/ 2768600 h 4429294"/>
                  <a:gd name="connsiteX27" fmla="*/ 4364819 w 4501379"/>
                  <a:gd name="connsiteY27" fmla="*/ 2990850 h 4429294"/>
                  <a:gd name="connsiteX28" fmla="*/ 4260044 w 4501379"/>
                  <a:gd name="connsiteY28" fmla="*/ 3248025 h 4429294"/>
                  <a:gd name="connsiteX29" fmla="*/ 4164794 w 4501379"/>
                  <a:gd name="connsiteY29" fmla="*/ 3400425 h 4429294"/>
                  <a:gd name="connsiteX30" fmla="*/ 4040969 w 4501379"/>
                  <a:gd name="connsiteY30" fmla="*/ 3533775 h 4429294"/>
                  <a:gd name="connsiteX31" fmla="*/ 3936194 w 4501379"/>
                  <a:gd name="connsiteY31" fmla="*/ 3648075 h 4429294"/>
                  <a:gd name="connsiteX32" fmla="*/ 3640919 w 4501379"/>
                  <a:gd name="connsiteY32" fmla="*/ 3971925 h 4429294"/>
                  <a:gd name="connsiteX33" fmla="*/ 3498044 w 4501379"/>
                  <a:gd name="connsiteY33" fmla="*/ 4083050 h 4429294"/>
                  <a:gd name="connsiteX34" fmla="*/ 3202769 w 4501379"/>
                  <a:gd name="connsiteY34" fmla="*/ 4222750 h 4429294"/>
                  <a:gd name="connsiteX35" fmla="*/ 3050369 w 4501379"/>
                  <a:gd name="connsiteY35" fmla="*/ 4286250 h 4429294"/>
                  <a:gd name="connsiteX36" fmla="*/ 2917019 w 4501379"/>
                  <a:gd name="connsiteY36" fmla="*/ 4333875 h 4429294"/>
                  <a:gd name="connsiteX37" fmla="*/ 2793194 w 4501379"/>
                  <a:gd name="connsiteY37" fmla="*/ 4371975 h 4429294"/>
                  <a:gd name="connsiteX38" fmla="*/ 2561419 w 4501379"/>
                  <a:gd name="connsiteY38" fmla="*/ 4391025 h 4429294"/>
                  <a:gd name="connsiteX39" fmla="*/ 2107394 w 4501379"/>
                  <a:gd name="connsiteY39" fmla="*/ 4429125 h 4429294"/>
                  <a:gd name="connsiteX40" fmla="*/ 1916894 w 4501379"/>
                  <a:gd name="connsiteY40" fmla="*/ 4400550 h 4429294"/>
                  <a:gd name="connsiteX41" fmla="*/ 1554944 w 4501379"/>
                  <a:gd name="connsiteY41" fmla="*/ 4305300 h 4429294"/>
                  <a:gd name="connsiteX42" fmla="*/ 1313644 w 4501379"/>
                  <a:gd name="connsiteY42" fmla="*/ 4216400 h 4429294"/>
                  <a:gd name="connsiteX43" fmla="*/ 1145369 w 4501379"/>
                  <a:gd name="connsiteY43" fmla="*/ 4111625 h 4429294"/>
                  <a:gd name="connsiteX44" fmla="*/ 926294 w 4501379"/>
                  <a:gd name="connsiteY44" fmla="*/ 3968750 h 4429294"/>
                  <a:gd name="connsiteX45" fmla="*/ 592919 w 4501379"/>
                  <a:gd name="connsiteY45" fmla="*/ 3657600 h 4429294"/>
                  <a:gd name="connsiteX46" fmla="*/ 446869 w 4501379"/>
                  <a:gd name="connsiteY46" fmla="*/ 3470275 h 4429294"/>
                  <a:gd name="connsiteX47" fmla="*/ 316694 w 4501379"/>
                  <a:gd name="connsiteY47" fmla="*/ 3244850 h 4429294"/>
                  <a:gd name="connsiteX48" fmla="*/ 164294 w 4501379"/>
                  <a:gd name="connsiteY48" fmla="*/ 2892425 h 4429294"/>
                  <a:gd name="connsiteX49" fmla="*/ 56344 w 4501379"/>
                  <a:gd name="connsiteY49" fmla="*/ 2368550 h 4429294"/>
                  <a:gd name="connsiteX50" fmla="*/ 2369 w 4501379"/>
                  <a:gd name="connsiteY50" fmla="*/ 1905000 h 4429294"/>
                  <a:gd name="connsiteX51" fmla="*/ 11894 w 4501379"/>
                  <a:gd name="connsiteY51" fmla="*/ 1838325 h 4429294"/>
                  <a:gd name="connsiteX52" fmla="*/ 30944 w 4501379"/>
                  <a:gd name="connsiteY52" fmla="*/ 1781175 h 4429294"/>
                  <a:gd name="connsiteX53" fmla="*/ 40469 w 4501379"/>
                  <a:gd name="connsiteY53" fmla="*/ 1743075 h 4429294"/>
                  <a:gd name="connsiteX54" fmla="*/ 59519 w 4501379"/>
                  <a:gd name="connsiteY54" fmla="*/ 1685925 h 4429294"/>
                  <a:gd name="connsiteX55" fmla="*/ 69044 w 4501379"/>
                  <a:gd name="connsiteY55" fmla="*/ 1638300 h 4429294"/>
                  <a:gd name="connsiteX56" fmla="*/ 88094 w 4501379"/>
                  <a:gd name="connsiteY56" fmla="*/ 1590675 h 4429294"/>
                  <a:gd name="connsiteX57" fmla="*/ 116669 w 4501379"/>
                  <a:gd name="connsiteY57" fmla="*/ 1504950 h 4429294"/>
                  <a:gd name="connsiteX58" fmla="*/ 135719 w 4501379"/>
                  <a:gd name="connsiteY58" fmla="*/ 1419225 h 4429294"/>
                  <a:gd name="connsiteX59" fmla="*/ 211919 w 4501379"/>
                  <a:gd name="connsiteY59" fmla="*/ 1276350 h 4429294"/>
                  <a:gd name="connsiteX60" fmla="*/ 221444 w 4501379"/>
                  <a:gd name="connsiteY60" fmla="*/ 1247775 h 4429294"/>
                  <a:gd name="connsiteX61" fmla="*/ 250019 w 4501379"/>
                  <a:gd name="connsiteY61" fmla="*/ 1200150 h 4429294"/>
                  <a:gd name="connsiteX62" fmla="*/ 269069 w 4501379"/>
                  <a:gd name="connsiteY62" fmla="*/ 1152525 h 4429294"/>
                  <a:gd name="connsiteX63" fmla="*/ 297644 w 4501379"/>
                  <a:gd name="connsiteY63" fmla="*/ 1114425 h 4429294"/>
                  <a:gd name="connsiteX64" fmla="*/ 345269 w 4501379"/>
                  <a:gd name="connsiteY64" fmla="*/ 1038225 h 4429294"/>
                  <a:gd name="connsiteX65" fmla="*/ 364319 w 4501379"/>
                  <a:gd name="connsiteY65" fmla="*/ 1009650 h 4429294"/>
                  <a:gd name="connsiteX66" fmla="*/ 421469 w 4501379"/>
                  <a:gd name="connsiteY66" fmla="*/ 904875 h 4429294"/>
                  <a:gd name="connsiteX67" fmla="*/ 459569 w 4501379"/>
                  <a:gd name="connsiteY67" fmla="*/ 857250 h 4429294"/>
                  <a:gd name="connsiteX68" fmla="*/ 478619 w 4501379"/>
                  <a:gd name="connsiteY68" fmla="*/ 828675 h 4429294"/>
                  <a:gd name="connsiteX69" fmla="*/ 516719 w 4501379"/>
                  <a:gd name="connsiteY69" fmla="*/ 800100 h 4429294"/>
                  <a:gd name="connsiteX70" fmla="*/ 583394 w 4501379"/>
                  <a:gd name="connsiteY70" fmla="*/ 733425 h 4429294"/>
                  <a:gd name="connsiteX71" fmla="*/ 650069 w 4501379"/>
                  <a:gd name="connsiteY71" fmla="*/ 676275 h 4429294"/>
                  <a:gd name="connsiteX72" fmla="*/ 678644 w 4501379"/>
                  <a:gd name="connsiteY72" fmla="*/ 657225 h 4429294"/>
                  <a:gd name="connsiteX73" fmla="*/ 821519 w 4501379"/>
                  <a:gd name="connsiteY73" fmla="*/ 533400 h 4429294"/>
                  <a:gd name="connsiteX74" fmla="*/ 869144 w 4501379"/>
                  <a:gd name="connsiteY74" fmla="*/ 504825 h 4429294"/>
                  <a:gd name="connsiteX75" fmla="*/ 1148544 w 4501379"/>
                  <a:gd name="connsiteY75" fmla="*/ 311150 h 4429294"/>
                  <a:gd name="connsiteX76" fmla="*/ 1250144 w 4501379"/>
                  <a:gd name="connsiteY76" fmla="*/ 285750 h 4429294"/>
                  <a:gd name="connsiteX77" fmla="*/ 1393019 w 4501379"/>
                  <a:gd name="connsiteY77" fmla="*/ 190500 h 4429294"/>
                  <a:gd name="connsiteX78" fmla="*/ 1431119 w 4501379"/>
                  <a:gd name="connsiteY78" fmla="*/ 161925 h 4429294"/>
                  <a:gd name="connsiteX79" fmla="*/ 1507319 w 4501379"/>
                  <a:gd name="connsiteY79" fmla="*/ 152400 h 4429294"/>
                  <a:gd name="connsiteX80" fmla="*/ 1564469 w 4501379"/>
                  <a:gd name="connsiteY80" fmla="*/ 142875 h 4429294"/>
                  <a:gd name="connsiteX81" fmla="*/ 1697819 w 4501379"/>
                  <a:gd name="connsiteY81" fmla="*/ 123825 h 4429294"/>
                  <a:gd name="connsiteX82" fmla="*/ 1793069 w 4501379"/>
                  <a:gd name="connsiteY82" fmla="*/ 114300 h 4429294"/>
                  <a:gd name="connsiteX83" fmla="*/ 1840694 w 4501379"/>
                  <a:gd name="connsiteY83" fmla="*/ 104775 h 4429294"/>
                  <a:gd name="connsiteX84" fmla="*/ 1897844 w 4501379"/>
                  <a:gd name="connsiteY84" fmla="*/ 95250 h 4429294"/>
                  <a:gd name="connsiteX85" fmla="*/ 2012144 w 4501379"/>
                  <a:gd name="connsiteY85" fmla="*/ 66675 h 4429294"/>
                  <a:gd name="connsiteX86" fmla="*/ 2078819 w 4501379"/>
                  <a:gd name="connsiteY86" fmla="*/ 47625 h 4429294"/>
                  <a:gd name="connsiteX87" fmla="*/ 2145494 w 4501379"/>
                  <a:gd name="connsiteY87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2955119 w 4501379"/>
                  <a:gd name="connsiteY3" fmla="*/ 114300 h 4429294"/>
                  <a:gd name="connsiteX4" fmla="*/ 3117044 w 4501379"/>
                  <a:gd name="connsiteY4" fmla="*/ 171450 h 4429294"/>
                  <a:gd name="connsiteX5" fmla="*/ 3155144 w 4501379"/>
                  <a:gd name="connsiteY5" fmla="*/ 190500 h 4429294"/>
                  <a:gd name="connsiteX6" fmla="*/ 3221819 w 4501379"/>
                  <a:gd name="connsiteY6" fmla="*/ 228600 h 4429294"/>
                  <a:gd name="connsiteX7" fmla="*/ 3250394 w 4501379"/>
                  <a:gd name="connsiteY7" fmla="*/ 238125 h 4429294"/>
                  <a:gd name="connsiteX8" fmla="*/ 3278969 w 4501379"/>
                  <a:gd name="connsiteY8" fmla="*/ 257175 h 4429294"/>
                  <a:gd name="connsiteX9" fmla="*/ 3307544 w 4501379"/>
                  <a:gd name="connsiteY9" fmla="*/ 266700 h 4429294"/>
                  <a:gd name="connsiteX10" fmla="*/ 3336119 w 4501379"/>
                  <a:gd name="connsiteY10" fmla="*/ 285750 h 4429294"/>
                  <a:gd name="connsiteX11" fmla="*/ 3402794 w 4501379"/>
                  <a:gd name="connsiteY11" fmla="*/ 323850 h 4429294"/>
                  <a:gd name="connsiteX12" fmla="*/ 3450419 w 4501379"/>
                  <a:gd name="connsiteY12" fmla="*/ 361950 h 4429294"/>
                  <a:gd name="connsiteX13" fmla="*/ 3498044 w 4501379"/>
                  <a:gd name="connsiteY13" fmla="*/ 390525 h 4429294"/>
                  <a:gd name="connsiteX14" fmla="*/ 3612344 w 4501379"/>
                  <a:gd name="connsiteY14" fmla="*/ 485775 h 4429294"/>
                  <a:gd name="connsiteX15" fmla="*/ 3726644 w 4501379"/>
                  <a:gd name="connsiteY15" fmla="*/ 542925 h 4429294"/>
                  <a:gd name="connsiteX16" fmla="*/ 3793319 w 4501379"/>
                  <a:gd name="connsiteY16" fmla="*/ 581025 h 4429294"/>
                  <a:gd name="connsiteX17" fmla="*/ 4009219 w 4501379"/>
                  <a:gd name="connsiteY17" fmla="*/ 819150 h 4429294"/>
                  <a:gd name="connsiteX18" fmla="*/ 4145744 w 4501379"/>
                  <a:gd name="connsiteY18" fmla="*/ 990600 h 4429294"/>
                  <a:gd name="connsiteX19" fmla="*/ 4231469 w 4501379"/>
                  <a:gd name="connsiteY19" fmla="*/ 1143000 h 4429294"/>
                  <a:gd name="connsiteX20" fmla="*/ 4288619 w 4501379"/>
                  <a:gd name="connsiteY20" fmla="*/ 1266825 h 4429294"/>
                  <a:gd name="connsiteX21" fmla="*/ 4326719 w 4501379"/>
                  <a:gd name="connsiteY21" fmla="*/ 1362075 h 4429294"/>
                  <a:gd name="connsiteX22" fmla="*/ 4374344 w 4501379"/>
                  <a:gd name="connsiteY22" fmla="*/ 1552575 h 4429294"/>
                  <a:gd name="connsiteX23" fmla="*/ 4412444 w 4501379"/>
                  <a:gd name="connsiteY23" fmla="*/ 1685925 h 4429294"/>
                  <a:gd name="connsiteX24" fmla="*/ 4501344 w 4501379"/>
                  <a:gd name="connsiteY24" fmla="*/ 2181225 h 4429294"/>
                  <a:gd name="connsiteX25" fmla="*/ 4428319 w 4501379"/>
                  <a:gd name="connsiteY25" fmla="*/ 2768600 h 4429294"/>
                  <a:gd name="connsiteX26" fmla="*/ 4364819 w 4501379"/>
                  <a:gd name="connsiteY26" fmla="*/ 2990850 h 4429294"/>
                  <a:gd name="connsiteX27" fmla="*/ 4260044 w 4501379"/>
                  <a:gd name="connsiteY27" fmla="*/ 3248025 h 4429294"/>
                  <a:gd name="connsiteX28" fmla="*/ 4164794 w 4501379"/>
                  <a:gd name="connsiteY28" fmla="*/ 3400425 h 4429294"/>
                  <a:gd name="connsiteX29" fmla="*/ 4040969 w 4501379"/>
                  <a:gd name="connsiteY29" fmla="*/ 3533775 h 4429294"/>
                  <a:gd name="connsiteX30" fmla="*/ 3936194 w 4501379"/>
                  <a:gd name="connsiteY30" fmla="*/ 3648075 h 4429294"/>
                  <a:gd name="connsiteX31" fmla="*/ 3640919 w 4501379"/>
                  <a:gd name="connsiteY31" fmla="*/ 3971925 h 4429294"/>
                  <a:gd name="connsiteX32" fmla="*/ 3498044 w 4501379"/>
                  <a:gd name="connsiteY32" fmla="*/ 4083050 h 4429294"/>
                  <a:gd name="connsiteX33" fmla="*/ 3202769 w 4501379"/>
                  <a:gd name="connsiteY33" fmla="*/ 4222750 h 4429294"/>
                  <a:gd name="connsiteX34" fmla="*/ 3050369 w 4501379"/>
                  <a:gd name="connsiteY34" fmla="*/ 4286250 h 4429294"/>
                  <a:gd name="connsiteX35" fmla="*/ 2917019 w 4501379"/>
                  <a:gd name="connsiteY35" fmla="*/ 4333875 h 4429294"/>
                  <a:gd name="connsiteX36" fmla="*/ 2793194 w 4501379"/>
                  <a:gd name="connsiteY36" fmla="*/ 4371975 h 4429294"/>
                  <a:gd name="connsiteX37" fmla="*/ 2561419 w 4501379"/>
                  <a:gd name="connsiteY37" fmla="*/ 4391025 h 4429294"/>
                  <a:gd name="connsiteX38" fmla="*/ 2107394 w 4501379"/>
                  <a:gd name="connsiteY38" fmla="*/ 4429125 h 4429294"/>
                  <a:gd name="connsiteX39" fmla="*/ 1916894 w 4501379"/>
                  <a:gd name="connsiteY39" fmla="*/ 4400550 h 4429294"/>
                  <a:gd name="connsiteX40" fmla="*/ 1554944 w 4501379"/>
                  <a:gd name="connsiteY40" fmla="*/ 4305300 h 4429294"/>
                  <a:gd name="connsiteX41" fmla="*/ 1313644 w 4501379"/>
                  <a:gd name="connsiteY41" fmla="*/ 4216400 h 4429294"/>
                  <a:gd name="connsiteX42" fmla="*/ 1145369 w 4501379"/>
                  <a:gd name="connsiteY42" fmla="*/ 4111625 h 4429294"/>
                  <a:gd name="connsiteX43" fmla="*/ 926294 w 4501379"/>
                  <a:gd name="connsiteY43" fmla="*/ 3968750 h 4429294"/>
                  <a:gd name="connsiteX44" fmla="*/ 592919 w 4501379"/>
                  <a:gd name="connsiteY44" fmla="*/ 3657600 h 4429294"/>
                  <a:gd name="connsiteX45" fmla="*/ 446869 w 4501379"/>
                  <a:gd name="connsiteY45" fmla="*/ 3470275 h 4429294"/>
                  <a:gd name="connsiteX46" fmla="*/ 316694 w 4501379"/>
                  <a:gd name="connsiteY46" fmla="*/ 3244850 h 4429294"/>
                  <a:gd name="connsiteX47" fmla="*/ 164294 w 4501379"/>
                  <a:gd name="connsiteY47" fmla="*/ 2892425 h 4429294"/>
                  <a:gd name="connsiteX48" fmla="*/ 56344 w 4501379"/>
                  <a:gd name="connsiteY48" fmla="*/ 2368550 h 4429294"/>
                  <a:gd name="connsiteX49" fmla="*/ 2369 w 4501379"/>
                  <a:gd name="connsiteY49" fmla="*/ 1905000 h 4429294"/>
                  <a:gd name="connsiteX50" fmla="*/ 11894 w 4501379"/>
                  <a:gd name="connsiteY50" fmla="*/ 1838325 h 4429294"/>
                  <a:gd name="connsiteX51" fmla="*/ 30944 w 4501379"/>
                  <a:gd name="connsiteY51" fmla="*/ 1781175 h 4429294"/>
                  <a:gd name="connsiteX52" fmla="*/ 40469 w 4501379"/>
                  <a:gd name="connsiteY52" fmla="*/ 1743075 h 4429294"/>
                  <a:gd name="connsiteX53" fmla="*/ 59519 w 4501379"/>
                  <a:gd name="connsiteY53" fmla="*/ 1685925 h 4429294"/>
                  <a:gd name="connsiteX54" fmla="*/ 69044 w 4501379"/>
                  <a:gd name="connsiteY54" fmla="*/ 1638300 h 4429294"/>
                  <a:gd name="connsiteX55" fmla="*/ 88094 w 4501379"/>
                  <a:gd name="connsiteY55" fmla="*/ 1590675 h 4429294"/>
                  <a:gd name="connsiteX56" fmla="*/ 116669 w 4501379"/>
                  <a:gd name="connsiteY56" fmla="*/ 1504950 h 4429294"/>
                  <a:gd name="connsiteX57" fmla="*/ 135719 w 4501379"/>
                  <a:gd name="connsiteY57" fmla="*/ 1419225 h 4429294"/>
                  <a:gd name="connsiteX58" fmla="*/ 211919 w 4501379"/>
                  <a:gd name="connsiteY58" fmla="*/ 1276350 h 4429294"/>
                  <a:gd name="connsiteX59" fmla="*/ 221444 w 4501379"/>
                  <a:gd name="connsiteY59" fmla="*/ 1247775 h 4429294"/>
                  <a:gd name="connsiteX60" fmla="*/ 250019 w 4501379"/>
                  <a:gd name="connsiteY60" fmla="*/ 1200150 h 4429294"/>
                  <a:gd name="connsiteX61" fmla="*/ 269069 w 4501379"/>
                  <a:gd name="connsiteY61" fmla="*/ 1152525 h 4429294"/>
                  <a:gd name="connsiteX62" fmla="*/ 297644 w 4501379"/>
                  <a:gd name="connsiteY62" fmla="*/ 1114425 h 4429294"/>
                  <a:gd name="connsiteX63" fmla="*/ 345269 w 4501379"/>
                  <a:gd name="connsiteY63" fmla="*/ 1038225 h 4429294"/>
                  <a:gd name="connsiteX64" fmla="*/ 364319 w 4501379"/>
                  <a:gd name="connsiteY64" fmla="*/ 1009650 h 4429294"/>
                  <a:gd name="connsiteX65" fmla="*/ 421469 w 4501379"/>
                  <a:gd name="connsiteY65" fmla="*/ 904875 h 4429294"/>
                  <a:gd name="connsiteX66" fmla="*/ 459569 w 4501379"/>
                  <a:gd name="connsiteY66" fmla="*/ 857250 h 4429294"/>
                  <a:gd name="connsiteX67" fmla="*/ 478619 w 4501379"/>
                  <a:gd name="connsiteY67" fmla="*/ 828675 h 4429294"/>
                  <a:gd name="connsiteX68" fmla="*/ 516719 w 4501379"/>
                  <a:gd name="connsiteY68" fmla="*/ 800100 h 4429294"/>
                  <a:gd name="connsiteX69" fmla="*/ 583394 w 4501379"/>
                  <a:gd name="connsiteY69" fmla="*/ 733425 h 4429294"/>
                  <a:gd name="connsiteX70" fmla="*/ 650069 w 4501379"/>
                  <a:gd name="connsiteY70" fmla="*/ 676275 h 4429294"/>
                  <a:gd name="connsiteX71" fmla="*/ 678644 w 4501379"/>
                  <a:gd name="connsiteY71" fmla="*/ 657225 h 4429294"/>
                  <a:gd name="connsiteX72" fmla="*/ 821519 w 4501379"/>
                  <a:gd name="connsiteY72" fmla="*/ 533400 h 4429294"/>
                  <a:gd name="connsiteX73" fmla="*/ 869144 w 4501379"/>
                  <a:gd name="connsiteY73" fmla="*/ 504825 h 4429294"/>
                  <a:gd name="connsiteX74" fmla="*/ 1148544 w 4501379"/>
                  <a:gd name="connsiteY74" fmla="*/ 311150 h 4429294"/>
                  <a:gd name="connsiteX75" fmla="*/ 1250144 w 4501379"/>
                  <a:gd name="connsiteY75" fmla="*/ 285750 h 4429294"/>
                  <a:gd name="connsiteX76" fmla="*/ 1393019 w 4501379"/>
                  <a:gd name="connsiteY76" fmla="*/ 190500 h 4429294"/>
                  <a:gd name="connsiteX77" fmla="*/ 1431119 w 4501379"/>
                  <a:gd name="connsiteY77" fmla="*/ 161925 h 4429294"/>
                  <a:gd name="connsiteX78" fmla="*/ 1507319 w 4501379"/>
                  <a:gd name="connsiteY78" fmla="*/ 152400 h 4429294"/>
                  <a:gd name="connsiteX79" fmla="*/ 1564469 w 4501379"/>
                  <a:gd name="connsiteY79" fmla="*/ 142875 h 4429294"/>
                  <a:gd name="connsiteX80" fmla="*/ 1697819 w 4501379"/>
                  <a:gd name="connsiteY80" fmla="*/ 123825 h 4429294"/>
                  <a:gd name="connsiteX81" fmla="*/ 1793069 w 4501379"/>
                  <a:gd name="connsiteY81" fmla="*/ 114300 h 4429294"/>
                  <a:gd name="connsiteX82" fmla="*/ 1840694 w 4501379"/>
                  <a:gd name="connsiteY82" fmla="*/ 104775 h 4429294"/>
                  <a:gd name="connsiteX83" fmla="*/ 1897844 w 4501379"/>
                  <a:gd name="connsiteY83" fmla="*/ 95250 h 4429294"/>
                  <a:gd name="connsiteX84" fmla="*/ 2012144 w 4501379"/>
                  <a:gd name="connsiteY84" fmla="*/ 66675 h 4429294"/>
                  <a:gd name="connsiteX85" fmla="*/ 2078819 w 4501379"/>
                  <a:gd name="connsiteY85" fmla="*/ 47625 h 4429294"/>
                  <a:gd name="connsiteX86" fmla="*/ 2145494 w 4501379"/>
                  <a:gd name="connsiteY86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155144 w 4501379"/>
                  <a:gd name="connsiteY4" fmla="*/ 190500 h 4429294"/>
                  <a:gd name="connsiteX5" fmla="*/ 3221819 w 4501379"/>
                  <a:gd name="connsiteY5" fmla="*/ 228600 h 4429294"/>
                  <a:gd name="connsiteX6" fmla="*/ 3250394 w 4501379"/>
                  <a:gd name="connsiteY6" fmla="*/ 238125 h 4429294"/>
                  <a:gd name="connsiteX7" fmla="*/ 3278969 w 4501379"/>
                  <a:gd name="connsiteY7" fmla="*/ 257175 h 4429294"/>
                  <a:gd name="connsiteX8" fmla="*/ 3307544 w 4501379"/>
                  <a:gd name="connsiteY8" fmla="*/ 266700 h 4429294"/>
                  <a:gd name="connsiteX9" fmla="*/ 3336119 w 4501379"/>
                  <a:gd name="connsiteY9" fmla="*/ 285750 h 4429294"/>
                  <a:gd name="connsiteX10" fmla="*/ 3402794 w 4501379"/>
                  <a:gd name="connsiteY10" fmla="*/ 323850 h 4429294"/>
                  <a:gd name="connsiteX11" fmla="*/ 3450419 w 4501379"/>
                  <a:gd name="connsiteY11" fmla="*/ 361950 h 4429294"/>
                  <a:gd name="connsiteX12" fmla="*/ 3498044 w 4501379"/>
                  <a:gd name="connsiteY12" fmla="*/ 390525 h 4429294"/>
                  <a:gd name="connsiteX13" fmla="*/ 3612344 w 4501379"/>
                  <a:gd name="connsiteY13" fmla="*/ 485775 h 4429294"/>
                  <a:gd name="connsiteX14" fmla="*/ 3726644 w 4501379"/>
                  <a:gd name="connsiteY14" fmla="*/ 542925 h 4429294"/>
                  <a:gd name="connsiteX15" fmla="*/ 3793319 w 4501379"/>
                  <a:gd name="connsiteY15" fmla="*/ 581025 h 4429294"/>
                  <a:gd name="connsiteX16" fmla="*/ 4009219 w 4501379"/>
                  <a:gd name="connsiteY16" fmla="*/ 819150 h 4429294"/>
                  <a:gd name="connsiteX17" fmla="*/ 4145744 w 4501379"/>
                  <a:gd name="connsiteY17" fmla="*/ 990600 h 4429294"/>
                  <a:gd name="connsiteX18" fmla="*/ 4231469 w 4501379"/>
                  <a:gd name="connsiteY18" fmla="*/ 1143000 h 4429294"/>
                  <a:gd name="connsiteX19" fmla="*/ 4288619 w 4501379"/>
                  <a:gd name="connsiteY19" fmla="*/ 1266825 h 4429294"/>
                  <a:gd name="connsiteX20" fmla="*/ 4326719 w 4501379"/>
                  <a:gd name="connsiteY20" fmla="*/ 1362075 h 4429294"/>
                  <a:gd name="connsiteX21" fmla="*/ 4374344 w 4501379"/>
                  <a:gd name="connsiteY21" fmla="*/ 1552575 h 4429294"/>
                  <a:gd name="connsiteX22" fmla="*/ 4412444 w 4501379"/>
                  <a:gd name="connsiteY22" fmla="*/ 1685925 h 4429294"/>
                  <a:gd name="connsiteX23" fmla="*/ 4501344 w 4501379"/>
                  <a:gd name="connsiteY23" fmla="*/ 2181225 h 4429294"/>
                  <a:gd name="connsiteX24" fmla="*/ 4428319 w 4501379"/>
                  <a:gd name="connsiteY24" fmla="*/ 2768600 h 4429294"/>
                  <a:gd name="connsiteX25" fmla="*/ 4364819 w 4501379"/>
                  <a:gd name="connsiteY25" fmla="*/ 2990850 h 4429294"/>
                  <a:gd name="connsiteX26" fmla="*/ 4260044 w 4501379"/>
                  <a:gd name="connsiteY26" fmla="*/ 3248025 h 4429294"/>
                  <a:gd name="connsiteX27" fmla="*/ 4164794 w 4501379"/>
                  <a:gd name="connsiteY27" fmla="*/ 3400425 h 4429294"/>
                  <a:gd name="connsiteX28" fmla="*/ 4040969 w 4501379"/>
                  <a:gd name="connsiteY28" fmla="*/ 3533775 h 4429294"/>
                  <a:gd name="connsiteX29" fmla="*/ 3936194 w 4501379"/>
                  <a:gd name="connsiteY29" fmla="*/ 3648075 h 4429294"/>
                  <a:gd name="connsiteX30" fmla="*/ 3640919 w 4501379"/>
                  <a:gd name="connsiteY30" fmla="*/ 3971925 h 4429294"/>
                  <a:gd name="connsiteX31" fmla="*/ 3498044 w 4501379"/>
                  <a:gd name="connsiteY31" fmla="*/ 4083050 h 4429294"/>
                  <a:gd name="connsiteX32" fmla="*/ 3202769 w 4501379"/>
                  <a:gd name="connsiteY32" fmla="*/ 4222750 h 4429294"/>
                  <a:gd name="connsiteX33" fmla="*/ 3050369 w 4501379"/>
                  <a:gd name="connsiteY33" fmla="*/ 4286250 h 4429294"/>
                  <a:gd name="connsiteX34" fmla="*/ 2917019 w 4501379"/>
                  <a:gd name="connsiteY34" fmla="*/ 4333875 h 4429294"/>
                  <a:gd name="connsiteX35" fmla="*/ 2793194 w 4501379"/>
                  <a:gd name="connsiteY35" fmla="*/ 4371975 h 4429294"/>
                  <a:gd name="connsiteX36" fmla="*/ 2561419 w 4501379"/>
                  <a:gd name="connsiteY36" fmla="*/ 4391025 h 4429294"/>
                  <a:gd name="connsiteX37" fmla="*/ 2107394 w 4501379"/>
                  <a:gd name="connsiteY37" fmla="*/ 4429125 h 4429294"/>
                  <a:gd name="connsiteX38" fmla="*/ 1916894 w 4501379"/>
                  <a:gd name="connsiteY38" fmla="*/ 4400550 h 4429294"/>
                  <a:gd name="connsiteX39" fmla="*/ 1554944 w 4501379"/>
                  <a:gd name="connsiteY39" fmla="*/ 4305300 h 4429294"/>
                  <a:gd name="connsiteX40" fmla="*/ 1313644 w 4501379"/>
                  <a:gd name="connsiteY40" fmla="*/ 4216400 h 4429294"/>
                  <a:gd name="connsiteX41" fmla="*/ 1145369 w 4501379"/>
                  <a:gd name="connsiteY41" fmla="*/ 4111625 h 4429294"/>
                  <a:gd name="connsiteX42" fmla="*/ 926294 w 4501379"/>
                  <a:gd name="connsiteY42" fmla="*/ 3968750 h 4429294"/>
                  <a:gd name="connsiteX43" fmla="*/ 592919 w 4501379"/>
                  <a:gd name="connsiteY43" fmla="*/ 3657600 h 4429294"/>
                  <a:gd name="connsiteX44" fmla="*/ 446869 w 4501379"/>
                  <a:gd name="connsiteY44" fmla="*/ 3470275 h 4429294"/>
                  <a:gd name="connsiteX45" fmla="*/ 316694 w 4501379"/>
                  <a:gd name="connsiteY45" fmla="*/ 3244850 h 4429294"/>
                  <a:gd name="connsiteX46" fmla="*/ 164294 w 4501379"/>
                  <a:gd name="connsiteY46" fmla="*/ 2892425 h 4429294"/>
                  <a:gd name="connsiteX47" fmla="*/ 56344 w 4501379"/>
                  <a:gd name="connsiteY47" fmla="*/ 2368550 h 4429294"/>
                  <a:gd name="connsiteX48" fmla="*/ 2369 w 4501379"/>
                  <a:gd name="connsiteY48" fmla="*/ 1905000 h 4429294"/>
                  <a:gd name="connsiteX49" fmla="*/ 11894 w 4501379"/>
                  <a:gd name="connsiteY49" fmla="*/ 1838325 h 4429294"/>
                  <a:gd name="connsiteX50" fmla="*/ 30944 w 4501379"/>
                  <a:gd name="connsiteY50" fmla="*/ 1781175 h 4429294"/>
                  <a:gd name="connsiteX51" fmla="*/ 40469 w 4501379"/>
                  <a:gd name="connsiteY51" fmla="*/ 1743075 h 4429294"/>
                  <a:gd name="connsiteX52" fmla="*/ 59519 w 4501379"/>
                  <a:gd name="connsiteY52" fmla="*/ 1685925 h 4429294"/>
                  <a:gd name="connsiteX53" fmla="*/ 69044 w 4501379"/>
                  <a:gd name="connsiteY53" fmla="*/ 1638300 h 4429294"/>
                  <a:gd name="connsiteX54" fmla="*/ 88094 w 4501379"/>
                  <a:gd name="connsiteY54" fmla="*/ 1590675 h 4429294"/>
                  <a:gd name="connsiteX55" fmla="*/ 116669 w 4501379"/>
                  <a:gd name="connsiteY55" fmla="*/ 1504950 h 4429294"/>
                  <a:gd name="connsiteX56" fmla="*/ 135719 w 4501379"/>
                  <a:gd name="connsiteY56" fmla="*/ 1419225 h 4429294"/>
                  <a:gd name="connsiteX57" fmla="*/ 211919 w 4501379"/>
                  <a:gd name="connsiteY57" fmla="*/ 1276350 h 4429294"/>
                  <a:gd name="connsiteX58" fmla="*/ 221444 w 4501379"/>
                  <a:gd name="connsiteY58" fmla="*/ 1247775 h 4429294"/>
                  <a:gd name="connsiteX59" fmla="*/ 250019 w 4501379"/>
                  <a:gd name="connsiteY59" fmla="*/ 1200150 h 4429294"/>
                  <a:gd name="connsiteX60" fmla="*/ 269069 w 4501379"/>
                  <a:gd name="connsiteY60" fmla="*/ 1152525 h 4429294"/>
                  <a:gd name="connsiteX61" fmla="*/ 297644 w 4501379"/>
                  <a:gd name="connsiteY61" fmla="*/ 1114425 h 4429294"/>
                  <a:gd name="connsiteX62" fmla="*/ 345269 w 4501379"/>
                  <a:gd name="connsiteY62" fmla="*/ 1038225 h 4429294"/>
                  <a:gd name="connsiteX63" fmla="*/ 364319 w 4501379"/>
                  <a:gd name="connsiteY63" fmla="*/ 1009650 h 4429294"/>
                  <a:gd name="connsiteX64" fmla="*/ 421469 w 4501379"/>
                  <a:gd name="connsiteY64" fmla="*/ 904875 h 4429294"/>
                  <a:gd name="connsiteX65" fmla="*/ 459569 w 4501379"/>
                  <a:gd name="connsiteY65" fmla="*/ 857250 h 4429294"/>
                  <a:gd name="connsiteX66" fmla="*/ 478619 w 4501379"/>
                  <a:gd name="connsiteY66" fmla="*/ 828675 h 4429294"/>
                  <a:gd name="connsiteX67" fmla="*/ 516719 w 4501379"/>
                  <a:gd name="connsiteY67" fmla="*/ 800100 h 4429294"/>
                  <a:gd name="connsiteX68" fmla="*/ 583394 w 4501379"/>
                  <a:gd name="connsiteY68" fmla="*/ 733425 h 4429294"/>
                  <a:gd name="connsiteX69" fmla="*/ 650069 w 4501379"/>
                  <a:gd name="connsiteY69" fmla="*/ 676275 h 4429294"/>
                  <a:gd name="connsiteX70" fmla="*/ 678644 w 4501379"/>
                  <a:gd name="connsiteY70" fmla="*/ 657225 h 4429294"/>
                  <a:gd name="connsiteX71" fmla="*/ 821519 w 4501379"/>
                  <a:gd name="connsiteY71" fmla="*/ 533400 h 4429294"/>
                  <a:gd name="connsiteX72" fmla="*/ 869144 w 4501379"/>
                  <a:gd name="connsiteY72" fmla="*/ 504825 h 4429294"/>
                  <a:gd name="connsiteX73" fmla="*/ 1148544 w 4501379"/>
                  <a:gd name="connsiteY73" fmla="*/ 311150 h 4429294"/>
                  <a:gd name="connsiteX74" fmla="*/ 1250144 w 4501379"/>
                  <a:gd name="connsiteY74" fmla="*/ 285750 h 4429294"/>
                  <a:gd name="connsiteX75" fmla="*/ 1393019 w 4501379"/>
                  <a:gd name="connsiteY75" fmla="*/ 190500 h 4429294"/>
                  <a:gd name="connsiteX76" fmla="*/ 1431119 w 4501379"/>
                  <a:gd name="connsiteY76" fmla="*/ 161925 h 4429294"/>
                  <a:gd name="connsiteX77" fmla="*/ 1507319 w 4501379"/>
                  <a:gd name="connsiteY77" fmla="*/ 152400 h 4429294"/>
                  <a:gd name="connsiteX78" fmla="*/ 1564469 w 4501379"/>
                  <a:gd name="connsiteY78" fmla="*/ 142875 h 4429294"/>
                  <a:gd name="connsiteX79" fmla="*/ 1697819 w 4501379"/>
                  <a:gd name="connsiteY79" fmla="*/ 123825 h 4429294"/>
                  <a:gd name="connsiteX80" fmla="*/ 1793069 w 4501379"/>
                  <a:gd name="connsiteY80" fmla="*/ 114300 h 4429294"/>
                  <a:gd name="connsiteX81" fmla="*/ 1840694 w 4501379"/>
                  <a:gd name="connsiteY81" fmla="*/ 104775 h 4429294"/>
                  <a:gd name="connsiteX82" fmla="*/ 1897844 w 4501379"/>
                  <a:gd name="connsiteY82" fmla="*/ 95250 h 4429294"/>
                  <a:gd name="connsiteX83" fmla="*/ 2012144 w 4501379"/>
                  <a:gd name="connsiteY83" fmla="*/ 66675 h 4429294"/>
                  <a:gd name="connsiteX84" fmla="*/ 2078819 w 4501379"/>
                  <a:gd name="connsiteY84" fmla="*/ 47625 h 4429294"/>
                  <a:gd name="connsiteX85" fmla="*/ 2145494 w 4501379"/>
                  <a:gd name="connsiteY85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250394 w 4501379"/>
                  <a:gd name="connsiteY5" fmla="*/ 238125 h 4429294"/>
                  <a:gd name="connsiteX6" fmla="*/ 3278969 w 4501379"/>
                  <a:gd name="connsiteY6" fmla="*/ 257175 h 4429294"/>
                  <a:gd name="connsiteX7" fmla="*/ 3307544 w 4501379"/>
                  <a:gd name="connsiteY7" fmla="*/ 266700 h 4429294"/>
                  <a:gd name="connsiteX8" fmla="*/ 3336119 w 4501379"/>
                  <a:gd name="connsiteY8" fmla="*/ 285750 h 4429294"/>
                  <a:gd name="connsiteX9" fmla="*/ 3402794 w 4501379"/>
                  <a:gd name="connsiteY9" fmla="*/ 323850 h 4429294"/>
                  <a:gd name="connsiteX10" fmla="*/ 3450419 w 4501379"/>
                  <a:gd name="connsiteY10" fmla="*/ 361950 h 4429294"/>
                  <a:gd name="connsiteX11" fmla="*/ 3498044 w 4501379"/>
                  <a:gd name="connsiteY11" fmla="*/ 390525 h 4429294"/>
                  <a:gd name="connsiteX12" fmla="*/ 3612344 w 4501379"/>
                  <a:gd name="connsiteY12" fmla="*/ 485775 h 4429294"/>
                  <a:gd name="connsiteX13" fmla="*/ 3726644 w 4501379"/>
                  <a:gd name="connsiteY13" fmla="*/ 542925 h 4429294"/>
                  <a:gd name="connsiteX14" fmla="*/ 3793319 w 4501379"/>
                  <a:gd name="connsiteY14" fmla="*/ 581025 h 4429294"/>
                  <a:gd name="connsiteX15" fmla="*/ 4009219 w 4501379"/>
                  <a:gd name="connsiteY15" fmla="*/ 819150 h 4429294"/>
                  <a:gd name="connsiteX16" fmla="*/ 4145744 w 4501379"/>
                  <a:gd name="connsiteY16" fmla="*/ 990600 h 4429294"/>
                  <a:gd name="connsiteX17" fmla="*/ 4231469 w 4501379"/>
                  <a:gd name="connsiteY17" fmla="*/ 1143000 h 4429294"/>
                  <a:gd name="connsiteX18" fmla="*/ 4288619 w 4501379"/>
                  <a:gd name="connsiteY18" fmla="*/ 1266825 h 4429294"/>
                  <a:gd name="connsiteX19" fmla="*/ 4326719 w 4501379"/>
                  <a:gd name="connsiteY19" fmla="*/ 1362075 h 4429294"/>
                  <a:gd name="connsiteX20" fmla="*/ 4374344 w 4501379"/>
                  <a:gd name="connsiteY20" fmla="*/ 1552575 h 4429294"/>
                  <a:gd name="connsiteX21" fmla="*/ 4412444 w 4501379"/>
                  <a:gd name="connsiteY21" fmla="*/ 1685925 h 4429294"/>
                  <a:gd name="connsiteX22" fmla="*/ 4501344 w 4501379"/>
                  <a:gd name="connsiteY22" fmla="*/ 2181225 h 4429294"/>
                  <a:gd name="connsiteX23" fmla="*/ 4428319 w 4501379"/>
                  <a:gd name="connsiteY23" fmla="*/ 2768600 h 4429294"/>
                  <a:gd name="connsiteX24" fmla="*/ 4364819 w 4501379"/>
                  <a:gd name="connsiteY24" fmla="*/ 2990850 h 4429294"/>
                  <a:gd name="connsiteX25" fmla="*/ 4260044 w 4501379"/>
                  <a:gd name="connsiteY25" fmla="*/ 3248025 h 4429294"/>
                  <a:gd name="connsiteX26" fmla="*/ 4164794 w 4501379"/>
                  <a:gd name="connsiteY26" fmla="*/ 3400425 h 4429294"/>
                  <a:gd name="connsiteX27" fmla="*/ 4040969 w 4501379"/>
                  <a:gd name="connsiteY27" fmla="*/ 3533775 h 4429294"/>
                  <a:gd name="connsiteX28" fmla="*/ 3936194 w 4501379"/>
                  <a:gd name="connsiteY28" fmla="*/ 3648075 h 4429294"/>
                  <a:gd name="connsiteX29" fmla="*/ 3640919 w 4501379"/>
                  <a:gd name="connsiteY29" fmla="*/ 3971925 h 4429294"/>
                  <a:gd name="connsiteX30" fmla="*/ 3498044 w 4501379"/>
                  <a:gd name="connsiteY30" fmla="*/ 4083050 h 4429294"/>
                  <a:gd name="connsiteX31" fmla="*/ 3202769 w 4501379"/>
                  <a:gd name="connsiteY31" fmla="*/ 4222750 h 4429294"/>
                  <a:gd name="connsiteX32" fmla="*/ 3050369 w 4501379"/>
                  <a:gd name="connsiteY32" fmla="*/ 4286250 h 4429294"/>
                  <a:gd name="connsiteX33" fmla="*/ 2917019 w 4501379"/>
                  <a:gd name="connsiteY33" fmla="*/ 4333875 h 4429294"/>
                  <a:gd name="connsiteX34" fmla="*/ 2793194 w 4501379"/>
                  <a:gd name="connsiteY34" fmla="*/ 4371975 h 4429294"/>
                  <a:gd name="connsiteX35" fmla="*/ 2561419 w 4501379"/>
                  <a:gd name="connsiteY35" fmla="*/ 4391025 h 4429294"/>
                  <a:gd name="connsiteX36" fmla="*/ 2107394 w 4501379"/>
                  <a:gd name="connsiteY36" fmla="*/ 4429125 h 4429294"/>
                  <a:gd name="connsiteX37" fmla="*/ 1916894 w 4501379"/>
                  <a:gd name="connsiteY37" fmla="*/ 4400550 h 4429294"/>
                  <a:gd name="connsiteX38" fmla="*/ 1554944 w 4501379"/>
                  <a:gd name="connsiteY38" fmla="*/ 4305300 h 4429294"/>
                  <a:gd name="connsiteX39" fmla="*/ 1313644 w 4501379"/>
                  <a:gd name="connsiteY39" fmla="*/ 4216400 h 4429294"/>
                  <a:gd name="connsiteX40" fmla="*/ 1145369 w 4501379"/>
                  <a:gd name="connsiteY40" fmla="*/ 4111625 h 4429294"/>
                  <a:gd name="connsiteX41" fmla="*/ 926294 w 4501379"/>
                  <a:gd name="connsiteY41" fmla="*/ 3968750 h 4429294"/>
                  <a:gd name="connsiteX42" fmla="*/ 592919 w 4501379"/>
                  <a:gd name="connsiteY42" fmla="*/ 3657600 h 4429294"/>
                  <a:gd name="connsiteX43" fmla="*/ 446869 w 4501379"/>
                  <a:gd name="connsiteY43" fmla="*/ 3470275 h 4429294"/>
                  <a:gd name="connsiteX44" fmla="*/ 316694 w 4501379"/>
                  <a:gd name="connsiteY44" fmla="*/ 3244850 h 4429294"/>
                  <a:gd name="connsiteX45" fmla="*/ 164294 w 4501379"/>
                  <a:gd name="connsiteY45" fmla="*/ 2892425 h 4429294"/>
                  <a:gd name="connsiteX46" fmla="*/ 56344 w 4501379"/>
                  <a:gd name="connsiteY46" fmla="*/ 2368550 h 4429294"/>
                  <a:gd name="connsiteX47" fmla="*/ 2369 w 4501379"/>
                  <a:gd name="connsiteY47" fmla="*/ 1905000 h 4429294"/>
                  <a:gd name="connsiteX48" fmla="*/ 11894 w 4501379"/>
                  <a:gd name="connsiteY48" fmla="*/ 1838325 h 4429294"/>
                  <a:gd name="connsiteX49" fmla="*/ 30944 w 4501379"/>
                  <a:gd name="connsiteY49" fmla="*/ 1781175 h 4429294"/>
                  <a:gd name="connsiteX50" fmla="*/ 40469 w 4501379"/>
                  <a:gd name="connsiteY50" fmla="*/ 1743075 h 4429294"/>
                  <a:gd name="connsiteX51" fmla="*/ 59519 w 4501379"/>
                  <a:gd name="connsiteY51" fmla="*/ 1685925 h 4429294"/>
                  <a:gd name="connsiteX52" fmla="*/ 69044 w 4501379"/>
                  <a:gd name="connsiteY52" fmla="*/ 1638300 h 4429294"/>
                  <a:gd name="connsiteX53" fmla="*/ 88094 w 4501379"/>
                  <a:gd name="connsiteY53" fmla="*/ 1590675 h 4429294"/>
                  <a:gd name="connsiteX54" fmla="*/ 116669 w 4501379"/>
                  <a:gd name="connsiteY54" fmla="*/ 1504950 h 4429294"/>
                  <a:gd name="connsiteX55" fmla="*/ 135719 w 4501379"/>
                  <a:gd name="connsiteY55" fmla="*/ 1419225 h 4429294"/>
                  <a:gd name="connsiteX56" fmla="*/ 211919 w 4501379"/>
                  <a:gd name="connsiteY56" fmla="*/ 1276350 h 4429294"/>
                  <a:gd name="connsiteX57" fmla="*/ 221444 w 4501379"/>
                  <a:gd name="connsiteY57" fmla="*/ 1247775 h 4429294"/>
                  <a:gd name="connsiteX58" fmla="*/ 250019 w 4501379"/>
                  <a:gd name="connsiteY58" fmla="*/ 1200150 h 4429294"/>
                  <a:gd name="connsiteX59" fmla="*/ 269069 w 4501379"/>
                  <a:gd name="connsiteY59" fmla="*/ 1152525 h 4429294"/>
                  <a:gd name="connsiteX60" fmla="*/ 297644 w 4501379"/>
                  <a:gd name="connsiteY60" fmla="*/ 1114425 h 4429294"/>
                  <a:gd name="connsiteX61" fmla="*/ 345269 w 4501379"/>
                  <a:gd name="connsiteY61" fmla="*/ 1038225 h 4429294"/>
                  <a:gd name="connsiteX62" fmla="*/ 364319 w 4501379"/>
                  <a:gd name="connsiteY62" fmla="*/ 1009650 h 4429294"/>
                  <a:gd name="connsiteX63" fmla="*/ 421469 w 4501379"/>
                  <a:gd name="connsiteY63" fmla="*/ 904875 h 4429294"/>
                  <a:gd name="connsiteX64" fmla="*/ 459569 w 4501379"/>
                  <a:gd name="connsiteY64" fmla="*/ 857250 h 4429294"/>
                  <a:gd name="connsiteX65" fmla="*/ 478619 w 4501379"/>
                  <a:gd name="connsiteY65" fmla="*/ 828675 h 4429294"/>
                  <a:gd name="connsiteX66" fmla="*/ 516719 w 4501379"/>
                  <a:gd name="connsiteY66" fmla="*/ 800100 h 4429294"/>
                  <a:gd name="connsiteX67" fmla="*/ 583394 w 4501379"/>
                  <a:gd name="connsiteY67" fmla="*/ 733425 h 4429294"/>
                  <a:gd name="connsiteX68" fmla="*/ 650069 w 4501379"/>
                  <a:gd name="connsiteY68" fmla="*/ 676275 h 4429294"/>
                  <a:gd name="connsiteX69" fmla="*/ 678644 w 4501379"/>
                  <a:gd name="connsiteY69" fmla="*/ 657225 h 4429294"/>
                  <a:gd name="connsiteX70" fmla="*/ 821519 w 4501379"/>
                  <a:gd name="connsiteY70" fmla="*/ 533400 h 4429294"/>
                  <a:gd name="connsiteX71" fmla="*/ 869144 w 4501379"/>
                  <a:gd name="connsiteY71" fmla="*/ 504825 h 4429294"/>
                  <a:gd name="connsiteX72" fmla="*/ 1148544 w 4501379"/>
                  <a:gd name="connsiteY72" fmla="*/ 311150 h 4429294"/>
                  <a:gd name="connsiteX73" fmla="*/ 1250144 w 4501379"/>
                  <a:gd name="connsiteY73" fmla="*/ 285750 h 4429294"/>
                  <a:gd name="connsiteX74" fmla="*/ 1393019 w 4501379"/>
                  <a:gd name="connsiteY74" fmla="*/ 190500 h 4429294"/>
                  <a:gd name="connsiteX75" fmla="*/ 1431119 w 4501379"/>
                  <a:gd name="connsiteY75" fmla="*/ 161925 h 4429294"/>
                  <a:gd name="connsiteX76" fmla="*/ 1507319 w 4501379"/>
                  <a:gd name="connsiteY76" fmla="*/ 152400 h 4429294"/>
                  <a:gd name="connsiteX77" fmla="*/ 1564469 w 4501379"/>
                  <a:gd name="connsiteY77" fmla="*/ 142875 h 4429294"/>
                  <a:gd name="connsiteX78" fmla="*/ 1697819 w 4501379"/>
                  <a:gd name="connsiteY78" fmla="*/ 123825 h 4429294"/>
                  <a:gd name="connsiteX79" fmla="*/ 1793069 w 4501379"/>
                  <a:gd name="connsiteY79" fmla="*/ 114300 h 4429294"/>
                  <a:gd name="connsiteX80" fmla="*/ 1840694 w 4501379"/>
                  <a:gd name="connsiteY80" fmla="*/ 104775 h 4429294"/>
                  <a:gd name="connsiteX81" fmla="*/ 1897844 w 4501379"/>
                  <a:gd name="connsiteY81" fmla="*/ 95250 h 4429294"/>
                  <a:gd name="connsiteX82" fmla="*/ 2012144 w 4501379"/>
                  <a:gd name="connsiteY82" fmla="*/ 66675 h 4429294"/>
                  <a:gd name="connsiteX83" fmla="*/ 2078819 w 4501379"/>
                  <a:gd name="connsiteY83" fmla="*/ 47625 h 4429294"/>
                  <a:gd name="connsiteX84" fmla="*/ 2145494 w 4501379"/>
                  <a:gd name="connsiteY84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250394 w 4501379"/>
                  <a:gd name="connsiteY5" fmla="*/ 238125 h 4429294"/>
                  <a:gd name="connsiteX6" fmla="*/ 3307544 w 4501379"/>
                  <a:gd name="connsiteY6" fmla="*/ 266700 h 4429294"/>
                  <a:gd name="connsiteX7" fmla="*/ 3336119 w 4501379"/>
                  <a:gd name="connsiteY7" fmla="*/ 285750 h 4429294"/>
                  <a:gd name="connsiteX8" fmla="*/ 3402794 w 4501379"/>
                  <a:gd name="connsiteY8" fmla="*/ 323850 h 4429294"/>
                  <a:gd name="connsiteX9" fmla="*/ 3450419 w 4501379"/>
                  <a:gd name="connsiteY9" fmla="*/ 361950 h 4429294"/>
                  <a:gd name="connsiteX10" fmla="*/ 3498044 w 4501379"/>
                  <a:gd name="connsiteY10" fmla="*/ 390525 h 4429294"/>
                  <a:gd name="connsiteX11" fmla="*/ 3612344 w 4501379"/>
                  <a:gd name="connsiteY11" fmla="*/ 485775 h 4429294"/>
                  <a:gd name="connsiteX12" fmla="*/ 3726644 w 4501379"/>
                  <a:gd name="connsiteY12" fmla="*/ 542925 h 4429294"/>
                  <a:gd name="connsiteX13" fmla="*/ 3793319 w 4501379"/>
                  <a:gd name="connsiteY13" fmla="*/ 581025 h 4429294"/>
                  <a:gd name="connsiteX14" fmla="*/ 4009219 w 4501379"/>
                  <a:gd name="connsiteY14" fmla="*/ 819150 h 4429294"/>
                  <a:gd name="connsiteX15" fmla="*/ 4145744 w 4501379"/>
                  <a:gd name="connsiteY15" fmla="*/ 990600 h 4429294"/>
                  <a:gd name="connsiteX16" fmla="*/ 4231469 w 4501379"/>
                  <a:gd name="connsiteY16" fmla="*/ 1143000 h 4429294"/>
                  <a:gd name="connsiteX17" fmla="*/ 4288619 w 4501379"/>
                  <a:gd name="connsiteY17" fmla="*/ 1266825 h 4429294"/>
                  <a:gd name="connsiteX18" fmla="*/ 4326719 w 4501379"/>
                  <a:gd name="connsiteY18" fmla="*/ 1362075 h 4429294"/>
                  <a:gd name="connsiteX19" fmla="*/ 4374344 w 4501379"/>
                  <a:gd name="connsiteY19" fmla="*/ 1552575 h 4429294"/>
                  <a:gd name="connsiteX20" fmla="*/ 4412444 w 4501379"/>
                  <a:gd name="connsiteY20" fmla="*/ 1685925 h 4429294"/>
                  <a:gd name="connsiteX21" fmla="*/ 4501344 w 4501379"/>
                  <a:gd name="connsiteY21" fmla="*/ 2181225 h 4429294"/>
                  <a:gd name="connsiteX22" fmla="*/ 4428319 w 4501379"/>
                  <a:gd name="connsiteY22" fmla="*/ 2768600 h 4429294"/>
                  <a:gd name="connsiteX23" fmla="*/ 4364819 w 4501379"/>
                  <a:gd name="connsiteY23" fmla="*/ 2990850 h 4429294"/>
                  <a:gd name="connsiteX24" fmla="*/ 4260044 w 4501379"/>
                  <a:gd name="connsiteY24" fmla="*/ 3248025 h 4429294"/>
                  <a:gd name="connsiteX25" fmla="*/ 4164794 w 4501379"/>
                  <a:gd name="connsiteY25" fmla="*/ 3400425 h 4429294"/>
                  <a:gd name="connsiteX26" fmla="*/ 4040969 w 4501379"/>
                  <a:gd name="connsiteY26" fmla="*/ 3533775 h 4429294"/>
                  <a:gd name="connsiteX27" fmla="*/ 3936194 w 4501379"/>
                  <a:gd name="connsiteY27" fmla="*/ 3648075 h 4429294"/>
                  <a:gd name="connsiteX28" fmla="*/ 3640919 w 4501379"/>
                  <a:gd name="connsiteY28" fmla="*/ 3971925 h 4429294"/>
                  <a:gd name="connsiteX29" fmla="*/ 3498044 w 4501379"/>
                  <a:gd name="connsiteY29" fmla="*/ 4083050 h 4429294"/>
                  <a:gd name="connsiteX30" fmla="*/ 3202769 w 4501379"/>
                  <a:gd name="connsiteY30" fmla="*/ 4222750 h 4429294"/>
                  <a:gd name="connsiteX31" fmla="*/ 3050369 w 4501379"/>
                  <a:gd name="connsiteY31" fmla="*/ 4286250 h 4429294"/>
                  <a:gd name="connsiteX32" fmla="*/ 2917019 w 4501379"/>
                  <a:gd name="connsiteY32" fmla="*/ 4333875 h 4429294"/>
                  <a:gd name="connsiteX33" fmla="*/ 2793194 w 4501379"/>
                  <a:gd name="connsiteY33" fmla="*/ 4371975 h 4429294"/>
                  <a:gd name="connsiteX34" fmla="*/ 2561419 w 4501379"/>
                  <a:gd name="connsiteY34" fmla="*/ 4391025 h 4429294"/>
                  <a:gd name="connsiteX35" fmla="*/ 2107394 w 4501379"/>
                  <a:gd name="connsiteY35" fmla="*/ 4429125 h 4429294"/>
                  <a:gd name="connsiteX36" fmla="*/ 1916894 w 4501379"/>
                  <a:gd name="connsiteY36" fmla="*/ 4400550 h 4429294"/>
                  <a:gd name="connsiteX37" fmla="*/ 1554944 w 4501379"/>
                  <a:gd name="connsiteY37" fmla="*/ 4305300 h 4429294"/>
                  <a:gd name="connsiteX38" fmla="*/ 1313644 w 4501379"/>
                  <a:gd name="connsiteY38" fmla="*/ 4216400 h 4429294"/>
                  <a:gd name="connsiteX39" fmla="*/ 1145369 w 4501379"/>
                  <a:gd name="connsiteY39" fmla="*/ 4111625 h 4429294"/>
                  <a:gd name="connsiteX40" fmla="*/ 926294 w 4501379"/>
                  <a:gd name="connsiteY40" fmla="*/ 3968750 h 4429294"/>
                  <a:gd name="connsiteX41" fmla="*/ 592919 w 4501379"/>
                  <a:gd name="connsiteY41" fmla="*/ 3657600 h 4429294"/>
                  <a:gd name="connsiteX42" fmla="*/ 446869 w 4501379"/>
                  <a:gd name="connsiteY42" fmla="*/ 3470275 h 4429294"/>
                  <a:gd name="connsiteX43" fmla="*/ 316694 w 4501379"/>
                  <a:gd name="connsiteY43" fmla="*/ 3244850 h 4429294"/>
                  <a:gd name="connsiteX44" fmla="*/ 164294 w 4501379"/>
                  <a:gd name="connsiteY44" fmla="*/ 2892425 h 4429294"/>
                  <a:gd name="connsiteX45" fmla="*/ 56344 w 4501379"/>
                  <a:gd name="connsiteY45" fmla="*/ 2368550 h 4429294"/>
                  <a:gd name="connsiteX46" fmla="*/ 2369 w 4501379"/>
                  <a:gd name="connsiteY46" fmla="*/ 1905000 h 4429294"/>
                  <a:gd name="connsiteX47" fmla="*/ 11894 w 4501379"/>
                  <a:gd name="connsiteY47" fmla="*/ 1838325 h 4429294"/>
                  <a:gd name="connsiteX48" fmla="*/ 30944 w 4501379"/>
                  <a:gd name="connsiteY48" fmla="*/ 1781175 h 4429294"/>
                  <a:gd name="connsiteX49" fmla="*/ 40469 w 4501379"/>
                  <a:gd name="connsiteY49" fmla="*/ 1743075 h 4429294"/>
                  <a:gd name="connsiteX50" fmla="*/ 59519 w 4501379"/>
                  <a:gd name="connsiteY50" fmla="*/ 1685925 h 4429294"/>
                  <a:gd name="connsiteX51" fmla="*/ 69044 w 4501379"/>
                  <a:gd name="connsiteY51" fmla="*/ 1638300 h 4429294"/>
                  <a:gd name="connsiteX52" fmla="*/ 88094 w 4501379"/>
                  <a:gd name="connsiteY52" fmla="*/ 1590675 h 4429294"/>
                  <a:gd name="connsiteX53" fmla="*/ 116669 w 4501379"/>
                  <a:gd name="connsiteY53" fmla="*/ 1504950 h 4429294"/>
                  <a:gd name="connsiteX54" fmla="*/ 135719 w 4501379"/>
                  <a:gd name="connsiteY54" fmla="*/ 1419225 h 4429294"/>
                  <a:gd name="connsiteX55" fmla="*/ 211919 w 4501379"/>
                  <a:gd name="connsiteY55" fmla="*/ 1276350 h 4429294"/>
                  <a:gd name="connsiteX56" fmla="*/ 221444 w 4501379"/>
                  <a:gd name="connsiteY56" fmla="*/ 1247775 h 4429294"/>
                  <a:gd name="connsiteX57" fmla="*/ 250019 w 4501379"/>
                  <a:gd name="connsiteY57" fmla="*/ 1200150 h 4429294"/>
                  <a:gd name="connsiteX58" fmla="*/ 269069 w 4501379"/>
                  <a:gd name="connsiteY58" fmla="*/ 1152525 h 4429294"/>
                  <a:gd name="connsiteX59" fmla="*/ 297644 w 4501379"/>
                  <a:gd name="connsiteY59" fmla="*/ 1114425 h 4429294"/>
                  <a:gd name="connsiteX60" fmla="*/ 345269 w 4501379"/>
                  <a:gd name="connsiteY60" fmla="*/ 1038225 h 4429294"/>
                  <a:gd name="connsiteX61" fmla="*/ 364319 w 4501379"/>
                  <a:gd name="connsiteY61" fmla="*/ 1009650 h 4429294"/>
                  <a:gd name="connsiteX62" fmla="*/ 421469 w 4501379"/>
                  <a:gd name="connsiteY62" fmla="*/ 904875 h 4429294"/>
                  <a:gd name="connsiteX63" fmla="*/ 459569 w 4501379"/>
                  <a:gd name="connsiteY63" fmla="*/ 857250 h 4429294"/>
                  <a:gd name="connsiteX64" fmla="*/ 478619 w 4501379"/>
                  <a:gd name="connsiteY64" fmla="*/ 828675 h 4429294"/>
                  <a:gd name="connsiteX65" fmla="*/ 516719 w 4501379"/>
                  <a:gd name="connsiteY65" fmla="*/ 800100 h 4429294"/>
                  <a:gd name="connsiteX66" fmla="*/ 583394 w 4501379"/>
                  <a:gd name="connsiteY66" fmla="*/ 733425 h 4429294"/>
                  <a:gd name="connsiteX67" fmla="*/ 650069 w 4501379"/>
                  <a:gd name="connsiteY67" fmla="*/ 676275 h 4429294"/>
                  <a:gd name="connsiteX68" fmla="*/ 678644 w 4501379"/>
                  <a:gd name="connsiteY68" fmla="*/ 657225 h 4429294"/>
                  <a:gd name="connsiteX69" fmla="*/ 821519 w 4501379"/>
                  <a:gd name="connsiteY69" fmla="*/ 533400 h 4429294"/>
                  <a:gd name="connsiteX70" fmla="*/ 869144 w 4501379"/>
                  <a:gd name="connsiteY70" fmla="*/ 504825 h 4429294"/>
                  <a:gd name="connsiteX71" fmla="*/ 1148544 w 4501379"/>
                  <a:gd name="connsiteY71" fmla="*/ 311150 h 4429294"/>
                  <a:gd name="connsiteX72" fmla="*/ 1250144 w 4501379"/>
                  <a:gd name="connsiteY72" fmla="*/ 285750 h 4429294"/>
                  <a:gd name="connsiteX73" fmla="*/ 1393019 w 4501379"/>
                  <a:gd name="connsiteY73" fmla="*/ 190500 h 4429294"/>
                  <a:gd name="connsiteX74" fmla="*/ 1431119 w 4501379"/>
                  <a:gd name="connsiteY74" fmla="*/ 161925 h 4429294"/>
                  <a:gd name="connsiteX75" fmla="*/ 1507319 w 4501379"/>
                  <a:gd name="connsiteY75" fmla="*/ 152400 h 4429294"/>
                  <a:gd name="connsiteX76" fmla="*/ 1564469 w 4501379"/>
                  <a:gd name="connsiteY76" fmla="*/ 142875 h 4429294"/>
                  <a:gd name="connsiteX77" fmla="*/ 1697819 w 4501379"/>
                  <a:gd name="connsiteY77" fmla="*/ 123825 h 4429294"/>
                  <a:gd name="connsiteX78" fmla="*/ 1793069 w 4501379"/>
                  <a:gd name="connsiteY78" fmla="*/ 114300 h 4429294"/>
                  <a:gd name="connsiteX79" fmla="*/ 1840694 w 4501379"/>
                  <a:gd name="connsiteY79" fmla="*/ 104775 h 4429294"/>
                  <a:gd name="connsiteX80" fmla="*/ 1897844 w 4501379"/>
                  <a:gd name="connsiteY80" fmla="*/ 95250 h 4429294"/>
                  <a:gd name="connsiteX81" fmla="*/ 2012144 w 4501379"/>
                  <a:gd name="connsiteY81" fmla="*/ 66675 h 4429294"/>
                  <a:gd name="connsiteX82" fmla="*/ 2078819 w 4501379"/>
                  <a:gd name="connsiteY82" fmla="*/ 47625 h 4429294"/>
                  <a:gd name="connsiteX83" fmla="*/ 2145494 w 4501379"/>
                  <a:gd name="connsiteY83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250394 w 4501379"/>
                  <a:gd name="connsiteY5" fmla="*/ 238125 h 4429294"/>
                  <a:gd name="connsiteX6" fmla="*/ 3307544 w 4501379"/>
                  <a:gd name="connsiteY6" fmla="*/ 266700 h 4429294"/>
                  <a:gd name="connsiteX7" fmla="*/ 3402794 w 4501379"/>
                  <a:gd name="connsiteY7" fmla="*/ 323850 h 4429294"/>
                  <a:gd name="connsiteX8" fmla="*/ 3450419 w 4501379"/>
                  <a:gd name="connsiteY8" fmla="*/ 361950 h 4429294"/>
                  <a:gd name="connsiteX9" fmla="*/ 3498044 w 4501379"/>
                  <a:gd name="connsiteY9" fmla="*/ 390525 h 4429294"/>
                  <a:gd name="connsiteX10" fmla="*/ 3612344 w 4501379"/>
                  <a:gd name="connsiteY10" fmla="*/ 485775 h 4429294"/>
                  <a:gd name="connsiteX11" fmla="*/ 3726644 w 4501379"/>
                  <a:gd name="connsiteY11" fmla="*/ 542925 h 4429294"/>
                  <a:gd name="connsiteX12" fmla="*/ 3793319 w 4501379"/>
                  <a:gd name="connsiteY12" fmla="*/ 581025 h 4429294"/>
                  <a:gd name="connsiteX13" fmla="*/ 4009219 w 4501379"/>
                  <a:gd name="connsiteY13" fmla="*/ 819150 h 4429294"/>
                  <a:gd name="connsiteX14" fmla="*/ 4145744 w 4501379"/>
                  <a:gd name="connsiteY14" fmla="*/ 990600 h 4429294"/>
                  <a:gd name="connsiteX15" fmla="*/ 4231469 w 4501379"/>
                  <a:gd name="connsiteY15" fmla="*/ 1143000 h 4429294"/>
                  <a:gd name="connsiteX16" fmla="*/ 4288619 w 4501379"/>
                  <a:gd name="connsiteY16" fmla="*/ 1266825 h 4429294"/>
                  <a:gd name="connsiteX17" fmla="*/ 4326719 w 4501379"/>
                  <a:gd name="connsiteY17" fmla="*/ 1362075 h 4429294"/>
                  <a:gd name="connsiteX18" fmla="*/ 4374344 w 4501379"/>
                  <a:gd name="connsiteY18" fmla="*/ 1552575 h 4429294"/>
                  <a:gd name="connsiteX19" fmla="*/ 4412444 w 4501379"/>
                  <a:gd name="connsiteY19" fmla="*/ 1685925 h 4429294"/>
                  <a:gd name="connsiteX20" fmla="*/ 4501344 w 4501379"/>
                  <a:gd name="connsiteY20" fmla="*/ 2181225 h 4429294"/>
                  <a:gd name="connsiteX21" fmla="*/ 4428319 w 4501379"/>
                  <a:gd name="connsiteY21" fmla="*/ 2768600 h 4429294"/>
                  <a:gd name="connsiteX22" fmla="*/ 4364819 w 4501379"/>
                  <a:gd name="connsiteY22" fmla="*/ 2990850 h 4429294"/>
                  <a:gd name="connsiteX23" fmla="*/ 4260044 w 4501379"/>
                  <a:gd name="connsiteY23" fmla="*/ 3248025 h 4429294"/>
                  <a:gd name="connsiteX24" fmla="*/ 4164794 w 4501379"/>
                  <a:gd name="connsiteY24" fmla="*/ 3400425 h 4429294"/>
                  <a:gd name="connsiteX25" fmla="*/ 4040969 w 4501379"/>
                  <a:gd name="connsiteY25" fmla="*/ 3533775 h 4429294"/>
                  <a:gd name="connsiteX26" fmla="*/ 3936194 w 4501379"/>
                  <a:gd name="connsiteY26" fmla="*/ 3648075 h 4429294"/>
                  <a:gd name="connsiteX27" fmla="*/ 3640919 w 4501379"/>
                  <a:gd name="connsiteY27" fmla="*/ 3971925 h 4429294"/>
                  <a:gd name="connsiteX28" fmla="*/ 3498044 w 4501379"/>
                  <a:gd name="connsiteY28" fmla="*/ 4083050 h 4429294"/>
                  <a:gd name="connsiteX29" fmla="*/ 3202769 w 4501379"/>
                  <a:gd name="connsiteY29" fmla="*/ 4222750 h 4429294"/>
                  <a:gd name="connsiteX30" fmla="*/ 3050369 w 4501379"/>
                  <a:gd name="connsiteY30" fmla="*/ 4286250 h 4429294"/>
                  <a:gd name="connsiteX31" fmla="*/ 2917019 w 4501379"/>
                  <a:gd name="connsiteY31" fmla="*/ 4333875 h 4429294"/>
                  <a:gd name="connsiteX32" fmla="*/ 2793194 w 4501379"/>
                  <a:gd name="connsiteY32" fmla="*/ 4371975 h 4429294"/>
                  <a:gd name="connsiteX33" fmla="*/ 2561419 w 4501379"/>
                  <a:gd name="connsiteY33" fmla="*/ 4391025 h 4429294"/>
                  <a:gd name="connsiteX34" fmla="*/ 2107394 w 4501379"/>
                  <a:gd name="connsiteY34" fmla="*/ 4429125 h 4429294"/>
                  <a:gd name="connsiteX35" fmla="*/ 1916894 w 4501379"/>
                  <a:gd name="connsiteY35" fmla="*/ 4400550 h 4429294"/>
                  <a:gd name="connsiteX36" fmla="*/ 1554944 w 4501379"/>
                  <a:gd name="connsiteY36" fmla="*/ 4305300 h 4429294"/>
                  <a:gd name="connsiteX37" fmla="*/ 1313644 w 4501379"/>
                  <a:gd name="connsiteY37" fmla="*/ 4216400 h 4429294"/>
                  <a:gd name="connsiteX38" fmla="*/ 1145369 w 4501379"/>
                  <a:gd name="connsiteY38" fmla="*/ 4111625 h 4429294"/>
                  <a:gd name="connsiteX39" fmla="*/ 926294 w 4501379"/>
                  <a:gd name="connsiteY39" fmla="*/ 3968750 h 4429294"/>
                  <a:gd name="connsiteX40" fmla="*/ 592919 w 4501379"/>
                  <a:gd name="connsiteY40" fmla="*/ 3657600 h 4429294"/>
                  <a:gd name="connsiteX41" fmla="*/ 446869 w 4501379"/>
                  <a:gd name="connsiteY41" fmla="*/ 3470275 h 4429294"/>
                  <a:gd name="connsiteX42" fmla="*/ 316694 w 4501379"/>
                  <a:gd name="connsiteY42" fmla="*/ 3244850 h 4429294"/>
                  <a:gd name="connsiteX43" fmla="*/ 164294 w 4501379"/>
                  <a:gd name="connsiteY43" fmla="*/ 2892425 h 4429294"/>
                  <a:gd name="connsiteX44" fmla="*/ 56344 w 4501379"/>
                  <a:gd name="connsiteY44" fmla="*/ 2368550 h 4429294"/>
                  <a:gd name="connsiteX45" fmla="*/ 2369 w 4501379"/>
                  <a:gd name="connsiteY45" fmla="*/ 1905000 h 4429294"/>
                  <a:gd name="connsiteX46" fmla="*/ 11894 w 4501379"/>
                  <a:gd name="connsiteY46" fmla="*/ 1838325 h 4429294"/>
                  <a:gd name="connsiteX47" fmla="*/ 30944 w 4501379"/>
                  <a:gd name="connsiteY47" fmla="*/ 1781175 h 4429294"/>
                  <a:gd name="connsiteX48" fmla="*/ 40469 w 4501379"/>
                  <a:gd name="connsiteY48" fmla="*/ 1743075 h 4429294"/>
                  <a:gd name="connsiteX49" fmla="*/ 59519 w 4501379"/>
                  <a:gd name="connsiteY49" fmla="*/ 1685925 h 4429294"/>
                  <a:gd name="connsiteX50" fmla="*/ 69044 w 4501379"/>
                  <a:gd name="connsiteY50" fmla="*/ 1638300 h 4429294"/>
                  <a:gd name="connsiteX51" fmla="*/ 88094 w 4501379"/>
                  <a:gd name="connsiteY51" fmla="*/ 1590675 h 4429294"/>
                  <a:gd name="connsiteX52" fmla="*/ 116669 w 4501379"/>
                  <a:gd name="connsiteY52" fmla="*/ 1504950 h 4429294"/>
                  <a:gd name="connsiteX53" fmla="*/ 135719 w 4501379"/>
                  <a:gd name="connsiteY53" fmla="*/ 1419225 h 4429294"/>
                  <a:gd name="connsiteX54" fmla="*/ 211919 w 4501379"/>
                  <a:gd name="connsiteY54" fmla="*/ 1276350 h 4429294"/>
                  <a:gd name="connsiteX55" fmla="*/ 221444 w 4501379"/>
                  <a:gd name="connsiteY55" fmla="*/ 1247775 h 4429294"/>
                  <a:gd name="connsiteX56" fmla="*/ 250019 w 4501379"/>
                  <a:gd name="connsiteY56" fmla="*/ 1200150 h 4429294"/>
                  <a:gd name="connsiteX57" fmla="*/ 269069 w 4501379"/>
                  <a:gd name="connsiteY57" fmla="*/ 1152525 h 4429294"/>
                  <a:gd name="connsiteX58" fmla="*/ 297644 w 4501379"/>
                  <a:gd name="connsiteY58" fmla="*/ 1114425 h 4429294"/>
                  <a:gd name="connsiteX59" fmla="*/ 345269 w 4501379"/>
                  <a:gd name="connsiteY59" fmla="*/ 1038225 h 4429294"/>
                  <a:gd name="connsiteX60" fmla="*/ 364319 w 4501379"/>
                  <a:gd name="connsiteY60" fmla="*/ 1009650 h 4429294"/>
                  <a:gd name="connsiteX61" fmla="*/ 421469 w 4501379"/>
                  <a:gd name="connsiteY61" fmla="*/ 904875 h 4429294"/>
                  <a:gd name="connsiteX62" fmla="*/ 459569 w 4501379"/>
                  <a:gd name="connsiteY62" fmla="*/ 857250 h 4429294"/>
                  <a:gd name="connsiteX63" fmla="*/ 478619 w 4501379"/>
                  <a:gd name="connsiteY63" fmla="*/ 828675 h 4429294"/>
                  <a:gd name="connsiteX64" fmla="*/ 516719 w 4501379"/>
                  <a:gd name="connsiteY64" fmla="*/ 800100 h 4429294"/>
                  <a:gd name="connsiteX65" fmla="*/ 583394 w 4501379"/>
                  <a:gd name="connsiteY65" fmla="*/ 733425 h 4429294"/>
                  <a:gd name="connsiteX66" fmla="*/ 650069 w 4501379"/>
                  <a:gd name="connsiteY66" fmla="*/ 676275 h 4429294"/>
                  <a:gd name="connsiteX67" fmla="*/ 678644 w 4501379"/>
                  <a:gd name="connsiteY67" fmla="*/ 657225 h 4429294"/>
                  <a:gd name="connsiteX68" fmla="*/ 821519 w 4501379"/>
                  <a:gd name="connsiteY68" fmla="*/ 533400 h 4429294"/>
                  <a:gd name="connsiteX69" fmla="*/ 869144 w 4501379"/>
                  <a:gd name="connsiteY69" fmla="*/ 504825 h 4429294"/>
                  <a:gd name="connsiteX70" fmla="*/ 1148544 w 4501379"/>
                  <a:gd name="connsiteY70" fmla="*/ 311150 h 4429294"/>
                  <a:gd name="connsiteX71" fmla="*/ 1250144 w 4501379"/>
                  <a:gd name="connsiteY71" fmla="*/ 285750 h 4429294"/>
                  <a:gd name="connsiteX72" fmla="*/ 1393019 w 4501379"/>
                  <a:gd name="connsiteY72" fmla="*/ 190500 h 4429294"/>
                  <a:gd name="connsiteX73" fmla="*/ 1431119 w 4501379"/>
                  <a:gd name="connsiteY73" fmla="*/ 161925 h 4429294"/>
                  <a:gd name="connsiteX74" fmla="*/ 1507319 w 4501379"/>
                  <a:gd name="connsiteY74" fmla="*/ 152400 h 4429294"/>
                  <a:gd name="connsiteX75" fmla="*/ 1564469 w 4501379"/>
                  <a:gd name="connsiteY75" fmla="*/ 142875 h 4429294"/>
                  <a:gd name="connsiteX76" fmla="*/ 1697819 w 4501379"/>
                  <a:gd name="connsiteY76" fmla="*/ 123825 h 4429294"/>
                  <a:gd name="connsiteX77" fmla="*/ 1793069 w 4501379"/>
                  <a:gd name="connsiteY77" fmla="*/ 114300 h 4429294"/>
                  <a:gd name="connsiteX78" fmla="*/ 1840694 w 4501379"/>
                  <a:gd name="connsiteY78" fmla="*/ 104775 h 4429294"/>
                  <a:gd name="connsiteX79" fmla="*/ 1897844 w 4501379"/>
                  <a:gd name="connsiteY79" fmla="*/ 95250 h 4429294"/>
                  <a:gd name="connsiteX80" fmla="*/ 2012144 w 4501379"/>
                  <a:gd name="connsiteY80" fmla="*/ 66675 h 4429294"/>
                  <a:gd name="connsiteX81" fmla="*/ 2078819 w 4501379"/>
                  <a:gd name="connsiteY81" fmla="*/ 47625 h 4429294"/>
                  <a:gd name="connsiteX82" fmla="*/ 2145494 w 4501379"/>
                  <a:gd name="connsiteY82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307544 w 4501379"/>
                  <a:gd name="connsiteY5" fmla="*/ 266700 h 4429294"/>
                  <a:gd name="connsiteX6" fmla="*/ 3402794 w 4501379"/>
                  <a:gd name="connsiteY6" fmla="*/ 323850 h 4429294"/>
                  <a:gd name="connsiteX7" fmla="*/ 3450419 w 4501379"/>
                  <a:gd name="connsiteY7" fmla="*/ 361950 h 4429294"/>
                  <a:gd name="connsiteX8" fmla="*/ 3498044 w 4501379"/>
                  <a:gd name="connsiteY8" fmla="*/ 390525 h 4429294"/>
                  <a:gd name="connsiteX9" fmla="*/ 3612344 w 4501379"/>
                  <a:gd name="connsiteY9" fmla="*/ 485775 h 4429294"/>
                  <a:gd name="connsiteX10" fmla="*/ 3726644 w 4501379"/>
                  <a:gd name="connsiteY10" fmla="*/ 542925 h 4429294"/>
                  <a:gd name="connsiteX11" fmla="*/ 3793319 w 4501379"/>
                  <a:gd name="connsiteY11" fmla="*/ 581025 h 4429294"/>
                  <a:gd name="connsiteX12" fmla="*/ 4009219 w 4501379"/>
                  <a:gd name="connsiteY12" fmla="*/ 819150 h 4429294"/>
                  <a:gd name="connsiteX13" fmla="*/ 4145744 w 4501379"/>
                  <a:gd name="connsiteY13" fmla="*/ 990600 h 4429294"/>
                  <a:gd name="connsiteX14" fmla="*/ 4231469 w 4501379"/>
                  <a:gd name="connsiteY14" fmla="*/ 1143000 h 4429294"/>
                  <a:gd name="connsiteX15" fmla="*/ 4288619 w 4501379"/>
                  <a:gd name="connsiteY15" fmla="*/ 1266825 h 4429294"/>
                  <a:gd name="connsiteX16" fmla="*/ 4326719 w 4501379"/>
                  <a:gd name="connsiteY16" fmla="*/ 1362075 h 4429294"/>
                  <a:gd name="connsiteX17" fmla="*/ 4374344 w 4501379"/>
                  <a:gd name="connsiteY17" fmla="*/ 1552575 h 4429294"/>
                  <a:gd name="connsiteX18" fmla="*/ 4412444 w 4501379"/>
                  <a:gd name="connsiteY18" fmla="*/ 1685925 h 4429294"/>
                  <a:gd name="connsiteX19" fmla="*/ 4501344 w 4501379"/>
                  <a:gd name="connsiteY19" fmla="*/ 2181225 h 4429294"/>
                  <a:gd name="connsiteX20" fmla="*/ 4428319 w 4501379"/>
                  <a:gd name="connsiteY20" fmla="*/ 2768600 h 4429294"/>
                  <a:gd name="connsiteX21" fmla="*/ 4364819 w 4501379"/>
                  <a:gd name="connsiteY21" fmla="*/ 2990850 h 4429294"/>
                  <a:gd name="connsiteX22" fmla="*/ 4260044 w 4501379"/>
                  <a:gd name="connsiteY22" fmla="*/ 3248025 h 4429294"/>
                  <a:gd name="connsiteX23" fmla="*/ 4164794 w 4501379"/>
                  <a:gd name="connsiteY23" fmla="*/ 3400425 h 4429294"/>
                  <a:gd name="connsiteX24" fmla="*/ 4040969 w 4501379"/>
                  <a:gd name="connsiteY24" fmla="*/ 3533775 h 4429294"/>
                  <a:gd name="connsiteX25" fmla="*/ 3936194 w 4501379"/>
                  <a:gd name="connsiteY25" fmla="*/ 3648075 h 4429294"/>
                  <a:gd name="connsiteX26" fmla="*/ 3640919 w 4501379"/>
                  <a:gd name="connsiteY26" fmla="*/ 3971925 h 4429294"/>
                  <a:gd name="connsiteX27" fmla="*/ 3498044 w 4501379"/>
                  <a:gd name="connsiteY27" fmla="*/ 4083050 h 4429294"/>
                  <a:gd name="connsiteX28" fmla="*/ 3202769 w 4501379"/>
                  <a:gd name="connsiteY28" fmla="*/ 4222750 h 4429294"/>
                  <a:gd name="connsiteX29" fmla="*/ 3050369 w 4501379"/>
                  <a:gd name="connsiteY29" fmla="*/ 4286250 h 4429294"/>
                  <a:gd name="connsiteX30" fmla="*/ 2917019 w 4501379"/>
                  <a:gd name="connsiteY30" fmla="*/ 4333875 h 4429294"/>
                  <a:gd name="connsiteX31" fmla="*/ 2793194 w 4501379"/>
                  <a:gd name="connsiteY31" fmla="*/ 4371975 h 4429294"/>
                  <a:gd name="connsiteX32" fmla="*/ 2561419 w 4501379"/>
                  <a:gd name="connsiteY32" fmla="*/ 4391025 h 4429294"/>
                  <a:gd name="connsiteX33" fmla="*/ 2107394 w 4501379"/>
                  <a:gd name="connsiteY33" fmla="*/ 4429125 h 4429294"/>
                  <a:gd name="connsiteX34" fmla="*/ 1916894 w 4501379"/>
                  <a:gd name="connsiteY34" fmla="*/ 4400550 h 4429294"/>
                  <a:gd name="connsiteX35" fmla="*/ 1554944 w 4501379"/>
                  <a:gd name="connsiteY35" fmla="*/ 4305300 h 4429294"/>
                  <a:gd name="connsiteX36" fmla="*/ 1313644 w 4501379"/>
                  <a:gd name="connsiteY36" fmla="*/ 4216400 h 4429294"/>
                  <a:gd name="connsiteX37" fmla="*/ 1145369 w 4501379"/>
                  <a:gd name="connsiteY37" fmla="*/ 4111625 h 4429294"/>
                  <a:gd name="connsiteX38" fmla="*/ 926294 w 4501379"/>
                  <a:gd name="connsiteY38" fmla="*/ 3968750 h 4429294"/>
                  <a:gd name="connsiteX39" fmla="*/ 592919 w 4501379"/>
                  <a:gd name="connsiteY39" fmla="*/ 3657600 h 4429294"/>
                  <a:gd name="connsiteX40" fmla="*/ 446869 w 4501379"/>
                  <a:gd name="connsiteY40" fmla="*/ 3470275 h 4429294"/>
                  <a:gd name="connsiteX41" fmla="*/ 316694 w 4501379"/>
                  <a:gd name="connsiteY41" fmla="*/ 3244850 h 4429294"/>
                  <a:gd name="connsiteX42" fmla="*/ 164294 w 4501379"/>
                  <a:gd name="connsiteY42" fmla="*/ 2892425 h 4429294"/>
                  <a:gd name="connsiteX43" fmla="*/ 56344 w 4501379"/>
                  <a:gd name="connsiteY43" fmla="*/ 2368550 h 4429294"/>
                  <a:gd name="connsiteX44" fmla="*/ 2369 w 4501379"/>
                  <a:gd name="connsiteY44" fmla="*/ 1905000 h 4429294"/>
                  <a:gd name="connsiteX45" fmla="*/ 11894 w 4501379"/>
                  <a:gd name="connsiteY45" fmla="*/ 1838325 h 4429294"/>
                  <a:gd name="connsiteX46" fmla="*/ 30944 w 4501379"/>
                  <a:gd name="connsiteY46" fmla="*/ 1781175 h 4429294"/>
                  <a:gd name="connsiteX47" fmla="*/ 40469 w 4501379"/>
                  <a:gd name="connsiteY47" fmla="*/ 1743075 h 4429294"/>
                  <a:gd name="connsiteX48" fmla="*/ 59519 w 4501379"/>
                  <a:gd name="connsiteY48" fmla="*/ 1685925 h 4429294"/>
                  <a:gd name="connsiteX49" fmla="*/ 69044 w 4501379"/>
                  <a:gd name="connsiteY49" fmla="*/ 1638300 h 4429294"/>
                  <a:gd name="connsiteX50" fmla="*/ 88094 w 4501379"/>
                  <a:gd name="connsiteY50" fmla="*/ 1590675 h 4429294"/>
                  <a:gd name="connsiteX51" fmla="*/ 116669 w 4501379"/>
                  <a:gd name="connsiteY51" fmla="*/ 1504950 h 4429294"/>
                  <a:gd name="connsiteX52" fmla="*/ 135719 w 4501379"/>
                  <a:gd name="connsiteY52" fmla="*/ 1419225 h 4429294"/>
                  <a:gd name="connsiteX53" fmla="*/ 211919 w 4501379"/>
                  <a:gd name="connsiteY53" fmla="*/ 1276350 h 4429294"/>
                  <a:gd name="connsiteX54" fmla="*/ 221444 w 4501379"/>
                  <a:gd name="connsiteY54" fmla="*/ 1247775 h 4429294"/>
                  <a:gd name="connsiteX55" fmla="*/ 250019 w 4501379"/>
                  <a:gd name="connsiteY55" fmla="*/ 1200150 h 4429294"/>
                  <a:gd name="connsiteX56" fmla="*/ 269069 w 4501379"/>
                  <a:gd name="connsiteY56" fmla="*/ 1152525 h 4429294"/>
                  <a:gd name="connsiteX57" fmla="*/ 297644 w 4501379"/>
                  <a:gd name="connsiteY57" fmla="*/ 1114425 h 4429294"/>
                  <a:gd name="connsiteX58" fmla="*/ 345269 w 4501379"/>
                  <a:gd name="connsiteY58" fmla="*/ 1038225 h 4429294"/>
                  <a:gd name="connsiteX59" fmla="*/ 364319 w 4501379"/>
                  <a:gd name="connsiteY59" fmla="*/ 1009650 h 4429294"/>
                  <a:gd name="connsiteX60" fmla="*/ 421469 w 4501379"/>
                  <a:gd name="connsiteY60" fmla="*/ 904875 h 4429294"/>
                  <a:gd name="connsiteX61" fmla="*/ 459569 w 4501379"/>
                  <a:gd name="connsiteY61" fmla="*/ 857250 h 4429294"/>
                  <a:gd name="connsiteX62" fmla="*/ 478619 w 4501379"/>
                  <a:gd name="connsiteY62" fmla="*/ 828675 h 4429294"/>
                  <a:gd name="connsiteX63" fmla="*/ 516719 w 4501379"/>
                  <a:gd name="connsiteY63" fmla="*/ 800100 h 4429294"/>
                  <a:gd name="connsiteX64" fmla="*/ 583394 w 4501379"/>
                  <a:gd name="connsiteY64" fmla="*/ 733425 h 4429294"/>
                  <a:gd name="connsiteX65" fmla="*/ 650069 w 4501379"/>
                  <a:gd name="connsiteY65" fmla="*/ 676275 h 4429294"/>
                  <a:gd name="connsiteX66" fmla="*/ 678644 w 4501379"/>
                  <a:gd name="connsiteY66" fmla="*/ 657225 h 4429294"/>
                  <a:gd name="connsiteX67" fmla="*/ 821519 w 4501379"/>
                  <a:gd name="connsiteY67" fmla="*/ 533400 h 4429294"/>
                  <a:gd name="connsiteX68" fmla="*/ 869144 w 4501379"/>
                  <a:gd name="connsiteY68" fmla="*/ 504825 h 4429294"/>
                  <a:gd name="connsiteX69" fmla="*/ 1148544 w 4501379"/>
                  <a:gd name="connsiteY69" fmla="*/ 311150 h 4429294"/>
                  <a:gd name="connsiteX70" fmla="*/ 1250144 w 4501379"/>
                  <a:gd name="connsiteY70" fmla="*/ 285750 h 4429294"/>
                  <a:gd name="connsiteX71" fmla="*/ 1393019 w 4501379"/>
                  <a:gd name="connsiteY71" fmla="*/ 190500 h 4429294"/>
                  <a:gd name="connsiteX72" fmla="*/ 1431119 w 4501379"/>
                  <a:gd name="connsiteY72" fmla="*/ 161925 h 4429294"/>
                  <a:gd name="connsiteX73" fmla="*/ 1507319 w 4501379"/>
                  <a:gd name="connsiteY73" fmla="*/ 152400 h 4429294"/>
                  <a:gd name="connsiteX74" fmla="*/ 1564469 w 4501379"/>
                  <a:gd name="connsiteY74" fmla="*/ 142875 h 4429294"/>
                  <a:gd name="connsiteX75" fmla="*/ 1697819 w 4501379"/>
                  <a:gd name="connsiteY75" fmla="*/ 123825 h 4429294"/>
                  <a:gd name="connsiteX76" fmla="*/ 1793069 w 4501379"/>
                  <a:gd name="connsiteY76" fmla="*/ 114300 h 4429294"/>
                  <a:gd name="connsiteX77" fmla="*/ 1840694 w 4501379"/>
                  <a:gd name="connsiteY77" fmla="*/ 104775 h 4429294"/>
                  <a:gd name="connsiteX78" fmla="*/ 1897844 w 4501379"/>
                  <a:gd name="connsiteY78" fmla="*/ 95250 h 4429294"/>
                  <a:gd name="connsiteX79" fmla="*/ 2012144 w 4501379"/>
                  <a:gd name="connsiteY79" fmla="*/ 66675 h 4429294"/>
                  <a:gd name="connsiteX80" fmla="*/ 2078819 w 4501379"/>
                  <a:gd name="connsiteY80" fmla="*/ 47625 h 4429294"/>
                  <a:gd name="connsiteX81" fmla="*/ 2145494 w 4501379"/>
                  <a:gd name="connsiteY81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450419 w 4501379"/>
                  <a:gd name="connsiteY6" fmla="*/ 361950 h 4429294"/>
                  <a:gd name="connsiteX7" fmla="*/ 3498044 w 4501379"/>
                  <a:gd name="connsiteY7" fmla="*/ 390525 h 4429294"/>
                  <a:gd name="connsiteX8" fmla="*/ 3612344 w 4501379"/>
                  <a:gd name="connsiteY8" fmla="*/ 485775 h 4429294"/>
                  <a:gd name="connsiteX9" fmla="*/ 3726644 w 4501379"/>
                  <a:gd name="connsiteY9" fmla="*/ 542925 h 4429294"/>
                  <a:gd name="connsiteX10" fmla="*/ 3793319 w 4501379"/>
                  <a:gd name="connsiteY10" fmla="*/ 581025 h 4429294"/>
                  <a:gd name="connsiteX11" fmla="*/ 4009219 w 4501379"/>
                  <a:gd name="connsiteY11" fmla="*/ 819150 h 4429294"/>
                  <a:gd name="connsiteX12" fmla="*/ 4145744 w 4501379"/>
                  <a:gd name="connsiteY12" fmla="*/ 990600 h 4429294"/>
                  <a:gd name="connsiteX13" fmla="*/ 4231469 w 4501379"/>
                  <a:gd name="connsiteY13" fmla="*/ 1143000 h 4429294"/>
                  <a:gd name="connsiteX14" fmla="*/ 4288619 w 4501379"/>
                  <a:gd name="connsiteY14" fmla="*/ 1266825 h 4429294"/>
                  <a:gd name="connsiteX15" fmla="*/ 4326719 w 4501379"/>
                  <a:gd name="connsiteY15" fmla="*/ 1362075 h 4429294"/>
                  <a:gd name="connsiteX16" fmla="*/ 4374344 w 4501379"/>
                  <a:gd name="connsiteY16" fmla="*/ 1552575 h 4429294"/>
                  <a:gd name="connsiteX17" fmla="*/ 4412444 w 4501379"/>
                  <a:gd name="connsiteY17" fmla="*/ 1685925 h 4429294"/>
                  <a:gd name="connsiteX18" fmla="*/ 4501344 w 4501379"/>
                  <a:gd name="connsiteY18" fmla="*/ 2181225 h 4429294"/>
                  <a:gd name="connsiteX19" fmla="*/ 4428319 w 4501379"/>
                  <a:gd name="connsiteY19" fmla="*/ 2768600 h 4429294"/>
                  <a:gd name="connsiteX20" fmla="*/ 4364819 w 4501379"/>
                  <a:gd name="connsiteY20" fmla="*/ 2990850 h 4429294"/>
                  <a:gd name="connsiteX21" fmla="*/ 4260044 w 4501379"/>
                  <a:gd name="connsiteY21" fmla="*/ 3248025 h 4429294"/>
                  <a:gd name="connsiteX22" fmla="*/ 4164794 w 4501379"/>
                  <a:gd name="connsiteY22" fmla="*/ 3400425 h 4429294"/>
                  <a:gd name="connsiteX23" fmla="*/ 4040969 w 4501379"/>
                  <a:gd name="connsiteY23" fmla="*/ 3533775 h 4429294"/>
                  <a:gd name="connsiteX24" fmla="*/ 3936194 w 4501379"/>
                  <a:gd name="connsiteY24" fmla="*/ 3648075 h 4429294"/>
                  <a:gd name="connsiteX25" fmla="*/ 3640919 w 4501379"/>
                  <a:gd name="connsiteY25" fmla="*/ 3971925 h 4429294"/>
                  <a:gd name="connsiteX26" fmla="*/ 3498044 w 4501379"/>
                  <a:gd name="connsiteY26" fmla="*/ 4083050 h 4429294"/>
                  <a:gd name="connsiteX27" fmla="*/ 3202769 w 4501379"/>
                  <a:gd name="connsiteY27" fmla="*/ 4222750 h 4429294"/>
                  <a:gd name="connsiteX28" fmla="*/ 3050369 w 4501379"/>
                  <a:gd name="connsiteY28" fmla="*/ 4286250 h 4429294"/>
                  <a:gd name="connsiteX29" fmla="*/ 2917019 w 4501379"/>
                  <a:gd name="connsiteY29" fmla="*/ 4333875 h 4429294"/>
                  <a:gd name="connsiteX30" fmla="*/ 2793194 w 4501379"/>
                  <a:gd name="connsiteY30" fmla="*/ 4371975 h 4429294"/>
                  <a:gd name="connsiteX31" fmla="*/ 2561419 w 4501379"/>
                  <a:gd name="connsiteY31" fmla="*/ 4391025 h 4429294"/>
                  <a:gd name="connsiteX32" fmla="*/ 2107394 w 4501379"/>
                  <a:gd name="connsiteY32" fmla="*/ 4429125 h 4429294"/>
                  <a:gd name="connsiteX33" fmla="*/ 1916894 w 4501379"/>
                  <a:gd name="connsiteY33" fmla="*/ 4400550 h 4429294"/>
                  <a:gd name="connsiteX34" fmla="*/ 1554944 w 4501379"/>
                  <a:gd name="connsiteY34" fmla="*/ 4305300 h 4429294"/>
                  <a:gd name="connsiteX35" fmla="*/ 1313644 w 4501379"/>
                  <a:gd name="connsiteY35" fmla="*/ 4216400 h 4429294"/>
                  <a:gd name="connsiteX36" fmla="*/ 1145369 w 4501379"/>
                  <a:gd name="connsiteY36" fmla="*/ 4111625 h 4429294"/>
                  <a:gd name="connsiteX37" fmla="*/ 926294 w 4501379"/>
                  <a:gd name="connsiteY37" fmla="*/ 3968750 h 4429294"/>
                  <a:gd name="connsiteX38" fmla="*/ 592919 w 4501379"/>
                  <a:gd name="connsiteY38" fmla="*/ 3657600 h 4429294"/>
                  <a:gd name="connsiteX39" fmla="*/ 446869 w 4501379"/>
                  <a:gd name="connsiteY39" fmla="*/ 3470275 h 4429294"/>
                  <a:gd name="connsiteX40" fmla="*/ 316694 w 4501379"/>
                  <a:gd name="connsiteY40" fmla="*/ 3244850 h 4429294"/>
                  <a:gd name="connsiteX41" fmla="*/ 164294 w 4501379"/>
                  <a:gd name="connsiteY41" fmla="*/ 2892425 h 4429294"/>
                  <a:gd name="connsiteX42" fmla="*/ 56344 w 4501379"/>
                  <a:gd name="connsiteY42" fmla="*/ 2368550 h 4429294"/>
                  <a:gd name="connsiteX43" fmla="*/ 2369 w 4501379"/>
                  <a:gd name="connsiteY43" fmla="*/ 1905000 h 4429294"/>
                  <a:gd name="connsiteX44" fmla="*/ 11894 w 4501379"/>
                  <a:gd name="connsiteY44" fmla="*/ 1838325 h 4429294"/>
                  <a:gd name="connsiteX45" fmla="*/ 30944 w 4501379"/>
                  <a:gd name="connsiteY45" fmla="*/ 1781175 h 4429294"/>
                  <a:gd name="connsiteX46" fmla="*/ 40469 w 4501379"/>
                  <a:gd name="connsiteY46" fmla="*/ 1743075 h 4429294"/>
                  <a:gd name="connsiteX47" fmla="*/ 59519 w 4501379"/>
                  <a:gd name="connsiteY47" fmla="*/ 1685925 h 4429294"/>
                  <a:gd name="connsiteX48" fmla="*/ 69044 w 4501379"/>
                  <a:gd name="connsiteY48" fmla="*/ 1638300 h 4429294"/>
                  <a:gd name="connsiteX49" fmla="*/ 88094 w 4501379"/>
                  <a:gd name="connsiteY49" fmla="*/ 1590675 h 4429294"/>
                  <a:gd name="connsiteX50" fmla="*/ 116669 w 4501379"/>
                  <a:gd name="connsiteY50" fmla="*/ 1504950 h 4429294"/>
                  <a:gd name="connsiteX51" fmla="*/ 135719 w 4501379"/>
                  <a:gd name="connsiteY51" fmla="*/ 1419225 h 4429294"/>
                  <a:gd name="connsiteX52" fmla="*/ 211919 w 4501379"/>
                  <a:gd name="connsiteY52" fmla="*/ 1276350 h 4429294"/>
                  <a:gd name="connsiteX53" fmla="*/ 221444 w 4501379"/>
                  <a:gd name="connsiteY53" fmla="*/ 1247775 h 4429294"/>
                  <a:gd name="connsiteX54" fmla="*/ 250019 w 4501379"/>
                  <a:gd name="connsiteY54" fmla="*/ 1200150 h 4429294"/>
                  <a:gd name="connsiteX55" fmla="*/ 269069 w 4501379"/>
                  <a:gd name="connsiteY55" fmla="*/ 1152525 h 4429294"/>
                  <a:gd name="connsiteX56" fmla="*/ 297644 w 4501379"/>
                  <a:gd name="connsiteY56" fmla="*/ 1114425 h 4429294"/>
                  <a:gd name="connsiteX57" fmla="*/ 345269 w 4501379"/>
                  <a:gd name="connsiteY57" fmla="*/ 1038225 h 4429294"/>
                  <a:gd name="connsiteX58" fmla="*/ 364319 w 4501379"/>
                  <a:gd name="connsiteY58" fmla="*/ 1009650 h 4429294"/>
                  <a:gd name="connsiteX59" fmla="*/ 421469 w 4501379"/>
                  <a:gd name="connsiteY59" fmla="*/ 904875 h 4429294"/>
                  <a:gd name="connsiteX60" fmla="*/ 459569 w 4501379"/>
                  <a:gd name="connsiteY60" fmla="*/ 857250 h 4429294"/>
                  <a:gd name="connsiteX61" fmla="*/ 478619 w 4501379"/>
                  <a:gd name="connsiteY61" fmla="*/ 828675 h 4429294"/>
                  <a:gd name="connsiteX62" fmla="*/ 516719 w 4501379"/>
                  <a:gd name="connsiteY62" fmla="*/ 800100 h 4429294"/>
                  <a:gd name="connsiteX63" fmla="*/ 583394 w 4501379"/>
                  <a:gd name="connsiteY63" fmla="*/ 733425 h 4429294"/>
                  <a:gd name="connsiteX64" fmla="*/ 650069 w 4501379"/>
                  <a:gd name="connsiteY64" fmla="*/ 676275 h 4429294"/>
                  <a:gd name="connsiteX65" fmla="*/ 678644 w 4501379"/>
                  <a:gd name="connsiteY65" fmla="*/ 657225 h 4429294"/>
                  <a:gd name="connsiteX66" fmla="*/ 821519 w 4501379"/>
                  <a:gd name="connsiteY66" fmla="*/ 533400 h 4429294"/>
                  <a:gd name="connsiteX67" fmla="*/ 869144 w 4501379"/>
                  <a:gd name="connsiteY67" fmla="*/ 504825 h 4429294"/>
                  <a:gd name="connsiteX68" fmla="*/ 1148544 w 4501379"/>
                  <a:gd name="connsiteY68" fmla="*/ 311150 h 4429294"/>
                  <a:gd name="connsiteX69" fmla="*/ 1250144 w 4501379"/>
                  <a:gd name="connsiteY69" fmla="*/ 285750 h 4429294"/>
                  <a:gd name="connsiteX70" fmla="*/ 1393019 w 4501379"/>
                  <a:gd name="connsiteY70" fmla="*/ 190500 h 4429294"/>
                  <a:gd name="connsiteX71" fmla="*/ 1431119 w 4501379"/>
                  <a:gd name="connsiteY71" fmla="*/ 161925 h 4429294"/>
                  <a:gd name="connsiteX72" fmla="*/ 1507319 w 4501379"/>
                  <a:gd name="connsiteY72" fmla="*/ 152400 h 4429294"/>
                  <a:gd name="connsiteX73" fmla="*/ 1564469 w 4501379"/>
                  <a:gd name="connsiteY73" fmla="*/ 142875 h 4429294"/>
                  <a:gd name="connsiteX74" fmla="*/ 1697819 w 4501379"/>
                  <a:gd name="connsiteY74" fmla="*/ 123825 h 4429294"/>
                  <a:gd name="connsiteX75" fmla="*/ 1793069 w 4501379"/>
                  <a:gd name="connsiteY75" fmla="*/ 114300 h 4429294"/>
                  <a:gd name="connsiteX76" fmla="*/ 1840694 w 4501379"/>
                  <a:gd name="connsiteY76" fmla="*/ 104775 h 4429294"/>
                  <a:gd name="connsiteX77" fmla="*/ 1897844 w 4501379"/>
                  <a:gd name="connsiteY77" fmla="*/ 95250 h 4429294"/>
                  <a:gd name="connsiteX78" fmla="*/ 2012144 w 4501379"/>
                  <a:gd name="connsiteY78" fmla="*/ 66675 h 4429294"/>
                  <a:gd name="connsiteX79" fmla="*/ 2078819 w 4501379"/>
                  <a:gd name="connsiteY79" fmla="*/ 47625 h 4429294"/>
                  <a:gd name="connsiteX80" fmla="*/ 2145494 w 4501379"/>
                  <a:gd name="connsiteY80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450419 w 4501379"/>
                  <a:gd name="connsiteY6" fmla="*/ 361950 h 4429294"/>
                  <a:gd name="connsiteX7" fmla="*/ 3612344 w 4501379"/>
                  <a:gd name="connsiteY7" fmla="*/ 485775 h 4429294"/>
                  <a:gd name="connsiteX8" fmla="*/ 3726644 w 4501379"/>
                  <a:gd name="connsiteY8" fmla="*/ 542925 h 4429294"/>
                  <a:gd name="connsiteX9" fmla="*/ 3793319 w 4501379"/>
                  <a:gd name="connsiteY9" fmla="*/ 581025 h 4429294"/>
                  <a:gd name="connsiteX10" fmla="*/ 4009219 w 4501379"/>
                  <a:gd name="connsiteY10" fmla="*/ 819150 h 4429294"/>
                  <a:gd name="connsiteX11" fmla="*/ 4145744 w 4501379"/>
                  <a:gd name="connsiteY11" fmla="*/ 990600 h 4429294"/>
                  <a:gd name="connsiteX12" fmla="*/ 4231469 w 4501379"/>
                  <a:gd name="connsiteY12" fmla="*/ 1143000 h 4429294"/>
                  <a:gd name="connsiteX13" fmla="*/ 4288619 w 4501379"/>
                  <a:gd name="connsiteY13" fmla="*/ 1266825 h 4429294"/>
                  <a:gd name="connsiteX14" fmla="*/ 4326719 w 4501379"/>
                  <a:gd name="connsiteY14" fmla="*/ 1362075 h 4429294"/>
                  <a:gd name="connsiteX15" fmla="*/ 4374344 w 4501379"/>
                  <a:gd name="connsiteY15" fmla="*/ 1552575 h 4429294"/>
                  <a:gd name="connsiteX16" fmla="*/ 4412444 w 4501379"/>
                  <a:gd name="connsiteY16" fmla="*/ 1685925 h 4429294"/>
                  <a:gd name="connsiteX17" fmla="*/ 4501344 w 4501379"/>
                  <a:gd name="connsiteY17" fmla="*/ 2181225 h 4429294"/>
                  <a:gd name="connsiteX18" fmla="*/ 4428319 w 4501379"/>
                  <a:gd name="connsiteY18" fmla="*/ 2768600 h 4429294"/>
                  <a:gd name="connsiteX19" fmla="*/ 4364819 w 4501379"/>
                  <a:gd name="connsiteY19" fmla="*/ 2990850 h 4429294"/>
                  <a:gd name="connsiteX20" fmla="*/ 4260044 w 4501379"/>
                  <a:gd name="connsiteY20" fmla="*/ 3248025 h 4429294"/>
                  <a:gd name="connsiteX21" fmla="*/ 4164794 w 4501379"/>
                  <a:gd name="connsiteY21" fmla="*/ 3400425 h 4429294"/>
                  <a:gd name="connsiteX22" fmla="*/ 4040969 w 4501379"/>
                  <a:gd name="connsiteY22" fmla="*/ 3533775 h 4429294"/>
                  <a:gd name="connsiteX23" fmla="*/ 3936194 w 4501379"/>
                  <a:gd name="connsiteY23" fmla="*/ 3648075 h 4429294"/>
                  <a:gd name="connsiteX24" fmla="*/ 3640919 w 4501379"/>
                  <a:gd name="connsiteY24" fmla="*/ 3971925 h 4429294"/>
                  <a:gd name="connsiteX25" fmla="*/ 3498044 w 4501379"/>
                  <a:gd name="connsiteY25" fmla="*/ 4083050 h 4429294"/>
                  <a:gd name="connsiteX26" fmla="*/ 3202769 w 4501379"/>
                  <a:gd name="connsiteY26" fmla="*/ 4222750 h 4429294"/>
                  <a:gd name="connsiteX27" fmla="*/ 3050369 w 4501379"/>
                  <a:gd name="connsiteY27" fmla="*/ 4286250 h 4429294"/>
                  <a:gd name="connsiteX28" fmla="*/ 2917019 w 4501379"/>
                  <a:gd name="connsiteY28" fmla="*/ 4333875 h 4429294"/>
                  <a:gd name="connsiteX29" fmla="*/ 2793194 w 4501379"/>
                  <a:gd name="connsiteY29" fmla="*/ 4371975 h 4429294"/>
                  <a:gd name="connsiteX30" fmla="*/ 2561419 w 4501379"/>
                  <a:gd name="connsiteY30" fmla="*/ 4391025 h 4429294"/>
                  <a:gd name="connsiteX31" fmla="*/ 2107394 w 4501379"/>
                  <a:gd name="connsiteY31" fmla="*/ 4429125 h 4429294"/>
                  <a:gd name="connsiteX32" fmla="*/ 1916894 w 4501379"/>
                  <a:gd name="connsiteY32" fmla="*/ 4400550 h 4429294"/>
                  <a:gd name="connsiteX33" fmla="*/ 1554944 w 4501379"/>
                  <a:gd name="connsiteY33" fmla="*/ 4305300 h 4429294"/>
                  <a:gd name="connsiteX34" fmla="*/ 1313644 w 4501379"/>
                  <a:gd name="connsiteY34" fmla="*/ 4216400 h 4429294"/>
                  <a:gd name="connsiteX35" fmla="*/ 1145369 w 4501379"/>
                  <a:gd name="connsiteY35" fmla="*/ 4111625 h 4429294"/>
                  <a:gd name="connsiteX36" fmla="*/ 926294 w 4501379"/>
                  <a:gd name="connsiteY36" fmla="*/ 3968750 h 4429294"/>
                  <a:gd name="connsiteX37" fmla="*/ 592919 w 4501379"/>
                  <a:gd name="connsiteY37" fmla="*/ 3657600 h 4429294"/>
                  <a:gd name="connsiteX38" fmla="*/ 446869 w 4501379"/>
                  <a:gd name="connsiteY38" fmla="*/ 3470275 h 4429294"/>
                  <a:gd name="connsiteX39" fmla="*/ 316694 w 4501379"/>
                  <a:gd name="connsiteY39" fmla="*/ 3244850 h 4429294"/>
                  <a:gd name="connsiteX40" fmla="*/ 164294 w 4501379"/>
                  <a:gd name="connsiteY40" fmla="*/ 2892425 h 4429294"/>
                  <a:gd name="connsiteX41" fmla="*/ 56344 w 4501379"/>
                  <a:gd name="connsiteY41" fmla="*/ 2368550 h 4429294"/>
                  <a:gd name="connsiteX42" fmla="*/ 2369 w 4501379"/>
                  <a:gd name="connsiteY42" fmla="*/ 1905000 h 4429294"/>
                  <a:gd name="connsiteX43" fmla="*/ 11894 w 4501379"/>
                  <a:gd name="connsiteY43" fmla="*/ 1838325 h 4429294"/>
                  <a:gd name="connsiteX44" fmla="*/ 30944 w 4501379"/>
                  <a:gd name="connsiteY44" fmla="*/ 1781175 h 4429294"/>
                  <a:gd name="connsiteX45" fmla="*/ 40469 w 4501379"/>
                  <a:gd name="connsiteY45" fmla="*/ 1743075 h 4429294"/>
                  <a:gd name="connsiteX46" fmla="*/ 59519 w 4501379"/>
                  <a:gd name="connsiteY46" fmla="*/ 1685925 h 4429294"/>
                  <a:gd name="connsiteX47" fmla="*/ 69044 w 4501379"/>
                  <a:gd name="connsiteY47" fmla="*/ 1638300 h 4429294"/>
                  <a:gd name="connsiteX48" fmla="*/ 88094 w 4501379"/>
                  <a:gd name="connsiteY48" fmla="*/ 1590675 h 4429294"/>
                  <a:gd name="connsiteX49" fmla="*/ 116669 w 4501379"/>
                  <a:gd name="connsiteY49" fmla="*/ 1504950 h 4429294"/>
                  <a:gd name="connsiteX50" fmla="*/ 135719 w 4501379"/>
                  <a:gd name="connsiteY50" fmla="*/ 1419225 h 4429294"/>
                  <a:gd name="connsiteX51" fmla="*/ 211919 w 4501379"/>
                  <a:gd name="connsiteY51" fmla="*/ 1276350 h 4429294"/>
                  <a:gd name="connsiteX52" fmla="*/ 221444 w 4501379"/>
                  <a:gd name="connsiteY52" fmla="*/ 1247775 h 4429294"/>
                  <a:gd name="connsiteX53" fmla="*/ 250019 w 4501379"/>
                  <a:gd name="connsiteY53" fmla="*/ 1200150 h 4429294"/>
                  <a:gd name="connsiteX54" fmla="*/ 269069 w 4501379"/>
                  <a:gd name="connsiteY54" fmla="*/ 1152525 h 4429294"/>
                  <a:gd name="connsiteX55" fmla="*/ 297644 w 4501379"/>
                  <a:gd name="connsiteY55" fmla="*/ 1114425 h 4429294"/>
                  <a:gd name="connsiteX56" fmla="*/ 345269 w 4501379"/>
                  <a:gd name="connsiteY56" fmla="*/ 1038225 h 4429294"/>
                  <a:gd name="connsiteX57" fmla="*/ 364319 w 4501379"/>
                  <a:gd name="connsiteY57" fmla="*/ 1009650 h 4429294"/>
                  <a:gd name="connsiteX58" fmla="*/ 421469 w 4501379"/>
                  <a:gd name="connsiteY58" fmla="*/ 904875 h 4429294"/>
                  <a:gd name="connsiteX59" fmla="*/ 459569 w 4501379"/>
                  <a:gd name="connsiteY59" fmla="*/ 857250 h 4429294"/>
                  <a:gd name="connsiteX60" fmla="*/ 478619 w 4501379"/>
                  <a:gd name="connsiteY60" fmla="*/ 828675 h 4429294"/>
                  <a:gd name="connsiteX61" fmla="*/ 516719 w 4501379"/>
                  <a:gd name="connsiteY61" fmla="*/ 800100 h 4429294"/>
                  <a:gd name="connsiteX62" fmla="*/ 583394 w 4501379"/>
                  <a:gd name="connsiteY62" fmla="*/ 733425 h 4429294"/>
                  <a:gd name="connsiteX63" fmla="*/ 650069 w 4501379"/>
                  <a:gd name="connsiteY63" fmla="*/ 676275 h 4429294"/>
                  <a:gd name="connsiteX64" fmla="*/ 678644 w 4501379"/>
                  <a:gd name="connsiteY64" fmla="*/ 657225 h 4429294"/>
                  <a:gd name="connsiteX65" fmla="*/ 821519 w 4501379"/>
                  <a:gd name="connsiteY65" fmla="*/ 533400 h 4429294"/>
                  <a:gd name="connsiteX66" fmla="*/ 869144 w 4501379"/>
                  <a:gd name="connsiteY66" fmla="*/ 504825 h 4429294"/>
                  <a:gd name="connsiteX67" fmla="*/ 1148544 w 4501379"/>
                  <a:gd name="connsiteY67" fmla="*/ 311150 h 4429294"/>
                  <a:gd name="connsiteX68" fmla="*/ 1250144 w 4501379"/>
                  <a:gd name="connsiteY68" fmla="*/ 285750 h 4429294"/>
                  <a:gd name="connsiteX69" fmla="*/ 1393019 w 4501379"/>
                  <a:gd name="connsiteY69" fmla="*/ 190500 h 4429294"/>
                  <a:gd name="connsiteX70" fmla="*/ 1431119 w 4501379"/>
                  <a:gd name="connsiteY70" fmla="*/ 161925 h 4429294"/>
                  <a:gd name="connsiteX71" fmla="*/ 1507319 w 4501379"/>
                  <a:gd name="connsiteY71" fmla="*/ 152400 h 4429294"/>
                  <a:gd name="connsiteX72" fmla="*/ 1564469 w 4501379"/>
                  <a:gd name="connsiteY72" fmla="*/ 142875 h 4429294"/>
                  <a:gd name="connsiteX73" fmla="*/ 1697819 w 4501379"/>
                  <a:gd name="connsiteY73" fmla="*/ 123825 h 4429294"/>
                  <a:gd name="connsiteX74" fmla="*/ 1793069 w 4501379"/>
                  <a:gd name="connsiteY74" fmla="*/ 114300 h 4429294"/>
                  <a:gd name="connsiteX75" fmla="*/ 1840694 w 4501379"/>
                  <a:gd name="connsiteY75" fmla="*/ 104775 h 4429294"/>
                  <a:gd name="connsiteX76" fmla="*/ 1897844 w 4501379"/>
                  <a:gd name="connsiteY76" fmla="*/ 95250 h 4429294"/>
                  <a:gd name="connsiteX77" fmla="*/ 2012144 w 4501379"/>
                  <a:gd name="connsiteY77" fmla="*/ 66675 h 4429294"/>
                  <a:gd name="connsiteX78" fmla="*/ 2078819 w 4501379"/>
                  <a:gd name="connsiteY78" fmla="*/ 47625 h 4429294"/>
                  <a:gd name="connsiteX79" fmla="*/ 2145494 w 4501379"/>
                  <a:gd name="connsiteY79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612344 w 4501379"/>
                  <a:gd name="connsiteY6" fmla="*/ 485775 h 4429294"/>
                  <a:gd name="connsiteX7" fmla="*/ 3726644 w 4501379"/>
                  <a:gd name="connsiteY7" fmla="*/ 542925 h 4429294"/>
                  <a:gd name="connsiteX8" fmla="*/ 3793319 w 4501379"/>
                  <a:gd name="connsiteY8" fmla="*/ 581025 h 4429294"/>
                  <a:gd name="connsiteX9" fmla="*/ 4009219 w 4501379"/>
                  <a:gd name="connsiteY9" fmla="*/ 819150 h 4429294"/>
                  <a:gd name="connsiteX10" fmla="*/ 4145744 w 4501379"/>
                  <a:gd name="connsiteY10" fmla="*/ 990600 h 4429294"/>
                  <a:gd name="connsiteX11" fmla="*/ 4231469 w 4501379"/>
                  <a:gd name="connsiteY11" fmla="*/ 1143000 h 4429294"/>
                  <a:gd name="connsiteX12" fmla="*/ 4288619 w 4501379"/>
                  <a:gd name="connsiteY12" fmla="*/ 1266825 h 4429294"/>
                  <a:gd name="connsiteX13" fmla="*/ 4326719 w 4501379"/>
                  <a:gd name="connsiteY13" fmla="*/ 1362075 h 4429294"/>
                  <a:gd name="connsiteX14" fmla="*/ 4374344 w 4501379"/>
                  <a:gd name="connsiteY14" fmla="*/ 1552575 h 4429294"/>
                  <a:gd name="connsiteX15" fmla="*/ 4412444 w 4501379"/>
                  <a:gd name="connsiteY15" fmla="*/ 1685925 h 4429294"/>
                  <a:gd name="connsiteX16" fmla="*/ 4501344 w 4501379"/>
                  <a:gd name="connsiteY16" fmla="*/ 2181225 h 4429294"/>
                  <a:gd name="connsiteX17" fmla="*/ 4428319 w 4501379"/>
                  <a:gd name="connsiteY17" fmla="*/ 2768600 h 4429294"/>
                  <a:gd name="connsiteX18" fmla="*/ 4364819 w 4501379"/>
                  <a:gd name="connsiteY18" fmla="*/ 2990850 h 4429294"/>
                  <a:gd name="connsiteX19" fmla="*/ 4260044 w 4501379"/>
                  <a:gd name="connsiteY19" fmla="*/ 3248025 h 4429294"/>
                  <a:gd name="connsiteX20" fmla="*/ 4164794 w 4501379"/>
                  <a:gd name="connsiteY20" fmla="*/ 3400425 h 4429294"/>
                  <a:gd name="connsiteX21" fmla="*/ 4040969 w 4501379"/>
                  <a:gd name="connsiteY21" fmla="*/ 3533775 h 4429294"/>
                  <a:gd name="connsiteX22" fmla="*/ 3936194 w 4501379"/>
                  <a:gd name="connsiteY22" fmla="*/ 3648075 h 4429294"/>
                  <a:gd name="connsiteX23" fmla="*/ 3640919 w 4501379"/>
                  <a:gd name="connsiteY23" fmla="*/ 3971925 h 4429294"/>
                  <a:gd name="connsiteX24" fmla="*/ 3498044 w 4501379"/>
                  <a:gd name="connsiteY24" fmla="*/ 4083050 h 4429294"/>
                  <a:gd name="connsiteX25" fmla="*/ 3202769 w 4501379"/>
                  <a:gd name="connsiteY25" fmla="*/ 4222750 h 4429294"/>
                  <a:gd name="connsiteX26" fmla="*/ 3050369 w 4501379"/>
                  <a:gd name="connsiteY26" fmla="*/ 4286250 h 4429294"/>
                  <a:gd name="connsiteX27" fmla="*/ 2917019 w 4501379"/>
                  <a:gd name="connsiteY27" fmla="*/ 4333875 h 4429294"/>
                  <a:gd name="connsiteX28" fmla="*/ 2793194 w 4501379"/>
                  <a:gd name="connsiteY28" fmla="*/ 4371975 h 4429294"/>
                  <a:gd name="connsiteX29" fmla="*/ 2561419 w 4501379"/>
                  <a:gd name="connsiteY29" fmla="*/ 4391025 h 4429294"/>
                  <a:gd name="connsiteX30" fmla="*/ 2107394 w 4501379"/>
                  <a:gd name="connsiteY30" fmla="*/ 4429125 h 4429294"/>
                  <a:gd name="connsiteX31" fmla="*/ 1916894 w 4501379"/>
                  <a:gd name="connsiteY31" fmla="*/ 4400550 h 4429294"/>
                  <a:gd name="connsiteX32" fmla="*/ 1554944 w 4501379"/>
                  <a:gd name="connsiteY32" fmla="*/ 4305300 h 4429294"/>
                  <a:gd name="connsiteX33" fmla="*/ 1313644 w 4501379"/>
                  <a:gd name="connsiteY33" fmla="*/ 4216400 h 4429294"/>
                  <a:gd name="connsiteX34" fmla="*/ 1145369 w 4501379"/>
                  <a:gd name="connsiteY34" fmla="*/ 4111625 h 4429294"/>
                  <a:gd name="connsiteX35" fmla="*/ 926294 w 4501379"/>
                  <a:gd name="connsiteY35" fmla="*/ 3968750 h 4429294"/>
                  <a:gd name="connsiteX36" fmla="*/ 592919 w 4501379"/>
                  <a:gd name="connsiteY36" fmla="*/ 3657600 h 4429294"/>
                  <a:gd name="connsiteX37" fmla="*/ 446869 w 4501379"/>
                  <a:gd name="connsiteY37" fmla="*/ 3470275 h 4429294"/>
                  <a:gd name="connsiteX38" fmla="*/ 316694 w 4501379"/>
                  <a:gd name="connsiteY38" fmla="*/ 3244850 h 4429294"/>
                  <a:gd name="connsiteX39" fmla="*/ 164294 w 4501379"/>
                  <a:gd name="connsiteY39" fmla="*/ 2892425 h 4429294"/>
                  <a:gd name="connsiteX40" fmla="*/ 56344 w 4501379"/>
                  <a:gd name="connsiteY40" fmla="*/ 2368550 h 4429294"/>
                  <a:gd name="connsiteX41" fmla="*/ 2369 w 4501379"/>
                  <a:gd name="connsiteY41" fmla="*/ 1905000 h 4429294"/>
                  <a:gd name="connsiteX42" fmla="*/ 11894 w 4501379"/>
                  <a:gd name="connsiteY42" fmla="*/ 1838325 h 4429294"/>
                  <a:gd name="connsiteX43" fmla="*/ 30944 w 4501379"/>
                  <a:gd name="connsiteY43" fmla="*/ 1781175 h 4429294"/>
                  <a:gd name="connsiteX44" fmla="*/ 40469 w 4501379"/>
                  <a:gd name="connsiteY44" fmla="*/ 1743075 h 4429294"/>
                  <a:gd name="connsiteX45" fmla="*/ 59519 w 4501379"/>
                  <a:gd name="connsiteY45" fmla="*/ 1685925 h 4429294"/>
                  <a:gd name="connsiteX46" fmla="*/ 69044 w 4501379"/>
                  <a:gd name="connsiteY46" fmla="*/ 1638300 h 4429294"/>
                  <a:gd name="connsiteX47" fmla="*/ 88094 w 4501379"/>
                  <a:gd name="connsiteY47" fmla="*/ 1590675 h 4429294"/>
                  <a:gd name="connsiteX48" fmla="*/ 116669 w 4501379"/>
                  <a:gd name="connsiteY48" fmla="*/ 1504950 h 4429294"/>
                  <a:gd name="connsiteX49" fmla="*/ 135719 w 4501379"/>
                  <a:gd name="connsiteY49" fmla="*/ 1419225 h 4429294"/>
                  <a:gd name="connsiteX50" fmla="*/ 211919 w 4501379"/>
                  <a:gd name="connsiteY50" fmla="*/ 1276350 h 4429294"/>
                  <a:gd name="connsiteX51" fmla="*/ 221444 w 4501379"/>
                  <a:gd name="connsiteY51" fmla="*/ 1247775 h 4429294"/>
                  <a:gd name="connsiteX52" fmla="*/ 250019 w 4501379"/>
                  <a:gd name="connsiteY52" fmla="*/ 1200150 h 4429294"/>
                  <a:gd name="connsiteX53" fmla="*/ 269069 w 4501379"/>
                  <a:gd name="connsiteY53" fmla="*/ 1152525 h 4429294"/>
                  <a:gd name="connsiteX54" fmla="*/ 297644 w 4501379"/>
                  <a:gd name="connsiteY54" fmla="*/ 1114425 h 4429294"/>
                  <a:gd name="connsiteX55" fmla="*/ 345269 w 4501379"/>
                  <a:gd name="connsiteY55" fmla="*/ 1038225 h 4429294"/>
                  <a:gd name="connsiteX56" fmla="*/ 364319 w 4501379"/>
                  <a:gd name="connsiteY56" fmla="*/ 1009650 h 4429294"/>
                  <a:gd name="connsiteX57" fmla="*/ 421469 w 4501379"/>
                  <a:gd name="connsiteY57" fmla="*/ 904875 h 4429294"/>
                  <a:gd name="connsiteX58" fmla="*/ 459569 w 4501379"/>
                  <a:gd name="connsiteY58" fmla="*/ 857250 h 4429294"/>
                  <a:gd name="connsiteX59" fmla="*/ 478619 w 4501379"/>
                  <a:gd name="connsiteY59" fmla="*/ 828675 h 4429294"/>
                  <a:gd name="connsiteX60" fmla="*/ 516719 w 4501379"/>
                  <a:gd name="connsiteY60" fmla="*/ 800100 h 4429294"/>
                  <a:gd name="connsiteX61" fmla="*/ 583394 w 4501379"/>
                  <a:gd name="connsiteY61" fmla="*/ 733425 h 4429294"/>
                  <a:gd name="connsiteX62" fmla="*/ 650069 w 4501379"/>
                  <a:gd name="connsiteY62" fmla="*/ 676275 h 4429294"/>
                  <a:gd name="connsiteX63" fmla="*/ 678644 w 4501379"/>
                  <a:gd name="connsiteY63" fmla="*/ 657225 h 4429294"/>
                  <a:gd name="connsiteX64" fmla="*/ 821519 w 4501379"/>
                  <a:gd name="connsiteY64" fmla="*/ 533400 h 4429294"/>
                  <a:gd name="connsiteX65" fmla="*/ 869144 w 4501379"/>
                  <a:gd name="connsiteY65" fmla="*/ 504825 h 4429294"/>
                  <a:gd name="connsiteX66" fmla="*/ 1148544 w 4501379"/>
                  <a:gd name="connsiteY66" fmla="*/ 311150 h 4429294"/>
                  <a:gd name="connsiteX67" fmla="*/ 1250144 w 4501379"/>
                  <a:gd name="connsiteY67" fmla="*/ 285750 h 4429294"/>
                  <a:gd name="connsiteX68" fmla="*/ 1393019 w 4501379"/>
                  <a:gd name="connsiteY68" fmla="*/ 190500 h 4429294"/>
                  <a:gd name="connsiteX69" fmla="*/ 1431119 w 4501379"/>
                  <a:gd name="connsiteY69" fmla="*/ 161925 h 4429294"/>
                  <a:gd name="connsiteX70" fmla="*/ 1507319 w 4501379"/>
                  <a:gd name="connsiteY70" fmla="*/ 152400 h 4429294"/>
                  <a:gd name="connsiteX71" fmla="*/ 1564469 w 4501379"/>
                  <a:gd name="connsiteY71" fmla="*/ 142875 h 4429294"/>
                  <a:gd name="connsiteX72" fmla="*/ 1697819 w 4501379"/>
                  <a:gd name="connsiteY72" fmla="*/ 123825 h 4429294"/>
                  <a:gd name="connsiteX73" fmla="*/ 1793069 w 4501379"/>
                  <a:gd name="connsiteY73" fmla="*/ 114300 h 4429294"/>
                  <a:gd name="connsiteX74" fmla="*/ 1840694 w 4501379"/>
                  <a:gd name="connsiteY74" fmla="*/ 104775 h 4429294"/>
                  <a:gd name="connsiteX75" fmla="*/ 1897844 w 4501379"/>
                  <a:gd name="connsiteY75" fmla="*/ 95250 h 4429294"/>
                  <a:gd name="connsiteX76" fmla="*/ 2012144 w 4501379"/>
                  <a:gd name="connsiteY76" fmla="*/ 66675 h 4429294"/>
                  <a:gd name="connsiteX77" fmla="*/ 2078819 w 4501379"/>
                  <a:gd name="connsiteY77" fmla="*/ 47625 h 4429294"/>
                  <a:gd name="connsiteX78" fmla="*/ 2145494 w 4501379"/>
                  <a:gd name="connsiteY7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612344 w 4501379"/>
                  <a:gd name="connsiteY6" fmla="*/ 485775 h 4429294"/>
                  <a:gd name="connsiteX7" fmla="*/ 3793319 w 4501379"/>
                  <a:gd name="connsiteY7" fmla="*/ 581025 h 4429294"/>
                  <a:gd name="connsiteX8" fmla="*/ 4009219 w 4501379"/>
                  <a:gd name="connsiteY8" fmla="*/ 819150 h 4429294"/>
                  <a:gd name="connsiteX9" fmla="*/ 4145744 w 4501379"/>
                  <a:gd name="connsiteY9" fmla="*/ 990600 h 4429294"/>
                  <a:gd name="connsiteX10" fmla="*/ 4231469 w 4501379"/>
                  <a:gd name="connsiteY10" fmla="*/ 1143000 h 4429294"/>
                  <a:gd name="connsiteX11" fmla="*/ 4288619 w 4501379"/>
                  <a:gd name="connsiteY11" fmla="*/ 1266825 h 4429294"/>
                  <a:gd name="connsiteX12" fmla="*/ 4326719 w 4501379"/>
                  <a:gd name="connsiteY12" fmla="*/ 1362075 h 4429294"/>
                  <a:gd name="connsiteX13" fmla="*/ 4374344 w 4501379"/>
                  <a:gd name="connsiteY13" fmla="*/ 1552575 h 4429294"/>
                  <a:gd name="connsiteX14" fmla="*/ 4412444 w 4501379"/>
                  <a:gd name="connsiteY14" fmla="*/ 1685925 h 4429294"/>
                  <a:gd name="connsiteX15" fmla="*/ 4501344 w 4501379"/>
                  <a:gd name="connsiteY15" fmla="*/ 2181225 h 4429294"/>
                  <a:gd name="connsiteX16" fmla="*/ 4428319 w 4501379"/>
                  <a:gd name="connsiteY16" fmla="*/ 2768600 h 4429294"/>
                  <a:gd name="connsiteX17" fmla="*/ 4364819 w 4501379"/>
                  <a:gd name="connsiteY17" fmla="*/ 2990850 h 4429294"/>
                  <a:gd name="connsiteX18" fmla="*/ 4260044 w 4501379"/>
                  <a:gd name="connsiteY18" fmla="*/ 3248025 h 4429294"/>
                  <a:gd name="connsiteX19" fmla="*/ 4164794 w 4501379"/>
                  <a:gd name="connsiteY19" fmla="*/ 3400425 h 4429294"/>
                  <a:gd name="connsiteX20" fmla="*/ 4040969 w 4501379"/>
                  <a:gd name="connsiteY20" fmla="*/ 3533775 h 4429294"/>
                  <a:gd name="connsiteX21" fmla="*/ 3936194 w 4501379"/>
                  <a:gd name="connsiteY21" fmla="*/ 3648075 h 4429294"/>
                  <a:gd name="connsiteX22" fmla="*/ 3640919 w 4501379"/>
                  <a:gd name="connsiteY22" fmla="*/ 3971925 h 4429294"/>
                  <a:gd name="connsiteX23" fmla="*/ 3498044 w 4501379"/>
                  <a:gd name="connsiteY23" fmla="*/ 4083050 h 4429294"/>
                  <a:gd name="connsiteX24" fmla="*/ 3202769 w 4501379"/>
                  <a:gd name="connsiteY24" fmla="*/ 4222750 h 4429294"/>
                  <a:gd name="connsiteX25" fmla="*/ 3050369 w 4501379"/>
                  <a:gd name="connsiteY25" fmla="*/ 4286250 h 4429294"/>
                  <a:gd name="connsiteX26" fmla="*/ 2917019 w 4501379"/>
                  <a:gd name="connsiteY26" fmla="*/ 4333875 h 4429294"/>
                  <a:gd name="connsiteX27" fmla="*/ 2793194 w 4501379"/>
                  <a:gd name="connsiteY27" fmla="*/ 4371975 h 4429294"/>
                  <a:gd name="connsiteX28" fmla="*/ 2561419 w 4501379"/>
                  <a:gd name="connsiteY28" fmla="*/ 4391025 h 4429294"/>
                  <a:gd name="connsiteX29" fmla="*/ 2107394 w 4501379"/>
                  <a:gd name="connsiteY29" fmla="*/ 4429125 h 4429294"/>
                  <a:gd name="connsiteX30" fmla="*/ 1916894 w 4501379"/>
                  <a:gd name="connsiteY30" fmla="*/ 4400550 h 4429294"/>
                  <a:gd name="connsiteX31" fmla="*/ 1554944 w 4501379"/>
                  <a:gd name="connsiteY31" fmla="*/ 4305300 h 4429294"/>
                  <a:gd name="connsiteX32" fmla="*/ 1313644 w 4501379"/>
                  <a:gd name="connsiteY32" fmla="*/ 4216400 h 4429294"/>
                  <a:gd name="connsiteX33" fmla="*/ 1145369 w 4501379"/>
                  <a:gd name="connsiteY33" fmla="*/ 4111625 h 4429294"/>
                  <a:gd name="connsiteX34" fmla="*/ 926294 w 4501379"/>
                  <a:gd name="connsiteY34" fmla="*/ 3968750 h 4429294"/>
                  <a:gd name="connsiteX35" fmla="*/ 592919 w 4501379"/>
                  <a:gd name="connsiteY35" fmla="*/ 3657600 h 4429294"/>
                  <a:gd name="connsiteX36" fmla="*/ 446869 w 4501379"/>
                  <a:gd name="connsiteY36" fmla="*/ 3470275 h 4429294"/>
                  <a:gd name="connsiteX37" fmla="*/ 316694 w 4501379"/>
                  <a:gd name="connsiteY37" fmla="*/ 3244850 h 4429294"/>
                  <a:gd name="connsiteX38" fmla="*/ 164294 w 4501379"/>
                  <a:gd name="connsiteY38" fmla="*/ 2892425 h 4429294"/>
                  <a:gd name="connsiteX39" fmla="*/ 56344 w 4501379"/>
                  <a:gd name="connsiteY39" fmla="*/ 2368550 h 4429294"/>
                  <a:gd name="connsiteX40" fmla="*/ 2369 w 4501379"/>
                  <a:gd name="connsiteY40" fmla="*/ 1905000 h 4429294"/>
                  <a:gd name="connsiteX41" fmla="*/ 11894 w 4501379"/>
                  <a:gd name="connsiteY41" fmla="*/ 1838325 h 4429294"/>
                  <a:gd name="connsiteX42" fmla="*/ 30944 w 4501379"/>
                  <a:gd name="connsiteY42" fmla="*/ 1781175 h 4429294"/>
                  <a:gd name="connsiteX43" fmla="*/ 40469 w 4501379"/>
                  <a:gd name="connsiteY43" fmla="*/ 1743075 h 4429294"/>
                  <a:gd name="connsiteX44" fmla="*/ 59519 w 4501379"/>
                  <a:gd name="connsiteY44" fmla="*/ 1685925 h 4429294"/>
                  <a:gd name="connsiteX45" fmla="*/ 69044 w 4501379"/>
                  <a:gd name="connsiteY45" fmla="*/ 1638300 h 4429294"/>
                  <a:gd name="connsiteX46" fmla="*/ 88094 w 4501379"/>
                  <a:gd name="connsiteY46" fmla="*/ 1590675 h 4429294"/>
                  <a:gd name="connsiteX47" fmla="*/ 116669 w 4501379"/>
                  <a:gd name="connsiteY47" fmla="*/ 1504950 h 4429294"/>
                  <a:gd name="connsiteX48" fmla="*/ 135719 w 4501379"/>
                  <a:gd name="connsiteY48" fmla="*/ 1419225 h 4429294"/>
                  <a:gd name="connsiteX49" fmla="*/ 211919 w 4501379"/>
                  <a:gd name="connsiteY49" fmla="*/ 1276350 h 4429294"/>
                  <a:gd name="connsiteX50" fmla="*/ 221444 w 4501379"/>
                  <a:gd name="connsiteY50" fmla="*/ 1247775 h 4429294"/>
                  <a:gd name="connsiteX51" fmla="*/ 250019 w 4501379"/>
                  <a:gd name="connsiteY51" fmla="*/ 1200150 h 4429294"/>
                  <a:gd name="connsiteX52" fmla="*/ 269069 w 4501379"/>
                  <a:gd name="connsiteY52" fmla="*/ 1152525 h 4429294"/>
                  <a:gd name="connsiteX53" fmla="*/ 297644 w 4501379"/>
                  <a:gd name="connsiteY53" fmla="*/ 1114425 h 4429294"/>
                  <a:gd name="connsiteX54" fmla="*/ 345269 w 4501379"/>
                  <a:gd name="connsiteY54" fmla="*/ 1038225 h 4429294"/>
                  <a:gd name="connsiteX55" fmla="*/ 364319 w 4501379"/>
                  <a:gd name="connsiteY55" fmla="*/ 1009650 h 4429294"/>
                  <a:gd name="connsiteX56" fmla="*/ 421469 w 4501379"/>
                  <a:gd name="connsiteY56" fmla="*/ 904875 h 4429294"/>
                  <a:gd name="connsiteX57" fmla="*/ 459569 w 4501379"/>
                  <a:gd name="connsiteY57" fmla="*/ 857250 h 4429294"/>
                  <a:gd name="connsiteX58" fmla="*/ 478619 w 4501379"/>
                  <a:gd name="connsiteY58" fmla="*/ 828675 h 4429294"/>
                  <a:gd name="connsiteX59" fmla="*/ 516719 w 4501379"/>
                  <a:gd name="connsiteY59" fmla="*/ 800100 h 4429294"/>
                  <a:gd name="connsiteX60" fmla="*/ 583394 w 4501379"/>
                  <a:gd name="connsiteY60" fmla="*/ 733425 h 4429294"/>
                  <a:gd name="connsiteX61" fmla="*/ 650069 w 4501379"/>
                  <a:gd name="connsiteY61" fmla="*/ 676275 h 4429294"/>
                  <a:gd name="connsiteX62" fmla="*/ 678644 w 4501379"/>
                  <a:gd name="connsiteY62" fmla="*/ 657225 h 4429294"/>
                  <a:gd name="connsiteX63" fmla="*/ 821519 w 4501379"/>
                  <a:gd name="connsiteY63" fmla="*/ 533400 h 4429294"/>
                  <a:gd name="connsiteX64" fmla="*/ 869144 w 4501379"/>
                  <a:gd name="connsiteY64" fmla="*/ 504825 h 4429294"/>
                  <a:gd name="connsiteX65" fmla="*/ 1148544 w 4501379"/>
                  <a:gd name="connsiteY65" fmla="*/ 311150 h 4429294"/>
                  <a:gd name="connsiteX66" fmla="*/ 1250144 w 4501379"/>
                  <a:gd name="connsiteY66" fmla="*/ 285750 h 4429294"/>
                  <a:gd name="connsiteX67" fmla="*/ 1393019 w 4501379"/>
                  <a:gd name="connsiteY67" fmla="*/ 190500 h 4429294"/>
                  <a:gd name="connsiteX68" fmla="*/ 1431119 w 4501379"/>
                  <a:gd name="connsiteY68" fmla="*/ 161925 h 4429294"/>
                  <a:gd name="connsiteX69" fmla="*/ 1507319 w 4501379"/>
                  <a:gd name="connsiteY69" fmla="*/ 152400 h 4429294"/>
                  <a:gd name="connsiteX70" fmla="*/ 1564469 w 4501379"/>
                  <a:gd name="connsiteY70" fmla="*/ 142875 h 4429294"/>
                  <a:gd name="connsiteX71" fmla="*/ 1697819 w 4501379"/>
                  <a:gd name="connsiteY71" fmla="*/ 123825 h 4429294"/>
                  <a:gd name="connsiteX72" fmla="*/ 1793069 w 4501379"/>
                  <a:gd name="connsiteY72" fmla="*/ 114300 h 4429294"/>
                  <a:gd name="connsiteX73" fmla="*/ 1840694 w 4501379"/>
                  <a:gd name="connsiteY73" fmla="*/ 104775 h 4429294"/>
                  <a:gd name="connsiteX74" fmla="*/ 1897844 w 4501379"/>
                  <a:gd name="connsiteY74" fmla="*/ 95250 h 4429294"/>
                  <a:gd name="connsiteX75" fmla="*/ 2012144 w 4501379"/>
                  <a:gd name="connsiteY75" fmla="*/ 66675 h 4429294"/>
                  <a:gd name="connsiteX76" fmla="*/ 2078819 w 4501379"/>
                  <a:gd name="connsiteY76" fmla="*/ 47625 h 4429294"/>
                  <a:gd name="connsiteX77" fmla="*/ 2145494 w 4501379"/>
                  <a:gd name="connsiteY77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250144 w 4501379"/>
                  <a:gd name="connsiteY65" fmla="*/ 285750 h 4429294"/>
                  <a:gd name="connsiteX66" fmla="*/ 1393019 w 4501379"/>
                  <a:gd name="connsiteY66" fmla="*/ 190500 h 4429294"/>
                  <a:gd name="connsiteX67" fmla="*/ 1431119 w 4501379"/>
                  <a:gd name="connsiteY67" fmla="*/ 161925 h 4429294"/>
                  <a:gd name="connsiteX68" fmla="*/ 1507319 w 4501379"/>
                  <a:gd name="connsiteY68" fmla="*/ 152400 h 4429294"/>
                  <a:gd name="connsiteX69" fmla="*/ 1564469 w 4501379"/>
                  <a:gd name="connsiteY69" fmla="*/ 142875 h 4429294"/>
                  <a:gd name="connsiteX70" fmla="*/ 1697819 w 4501379"/>
                  <a:gd name="connsiteY70" fmla="*/ 123825 h 4429294"/>
                  <a:gd name="connsiteX71" fmla="*/ 1793069 w 4501379"/>
                  <a:gd name="connsiteY71" fmla="*/ 114300 h 4429294"/>
                  <a:gd name="connsiteX72" fmla="*/ 1840694 w 4501379"/>
                  <a:gd name="connsiteY72" fmla="*/ 104775 h 4429294"/>
                  <a:gd name="connsiteX73" fmla="*/ 1897844 w 4501379"/>
                  <a:gd name="connsiteY73" fmla="*/ 95250 h 4429294"/>
                  <a:gd name="connsiteX74" fmla="*/ 2012144 w 4501379"/>
                  <a:gd name="connsiteY74" fmla="*/ 66675 h 4429294"/>
                  <a:gd name="connsiteX75" fmla="*/ 2078819 w 4501379"/>
                  <a:gd name="connsiteY75" fmla="*/ 47625 h 4429294"/>
                  <a:gd name="connsiteX76" fmla="*/ 2145494 w 4501379"/>
                  <a:gd name="connsiteY76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250144 w 4501379"/>
                  <a:gd name="connsiteY65" fmla="*/ 285750 h 4429294"/>
                  <a:gd name="connsiteX66" fmla="*/ 1431119 w 4501379"/>
                  <a:gd name="connsiteY66" fmla="*/ 161925 h 4429294"/>
                  <a:gd name="connsiteX67" fmla="*/ 1507319 w 4501379"/>
                  <a:gd name="connsiteY67" fmla="*/ 152400 h 4429294"/>
                  <a:gd name="connsiteX68" fmla="*/ 1564469 w 4501379"/>
                  <a:gd name="connsiteY68" fmla="*/ 142875 h 4429294"/>
                  <a:gd name="connsiteX69" fmla="*/ 1697819 w 4501379"/>
                  <a:gd name="connsiteY69" fmla="*/ 123825 h 4429294"/>
                  <a:gd name="connsiteX70" fmla="*/ 1793069 w 4501379"/>
                  <a:gd name="connsiteY70" fmla="*/ 114300 h 4429294"/>
                  <a:gd name="connsiteX71" fmla="*/ 1840694 w 4501379"/>
                  <a:gd name="connsiteY71" fmla="*/ 104775 h 4429294"/>
                  <a:gd name="connsiteX72" fmla="*/ 1897844 w 4501379"/>
                  <a:gd name="connsiteY72" fmla="*/ 95250 h 4429294"/>
                  <a:gd name="connsiteX73" fmla="*/ 2012144 w 4501379"/>
                  <a:gd name="connsiteY73" fmla="*/ 66675 h 4429294"/>
                  <a:gd name="connsiteX74" fmla="*/ 2078819 w 4501379"/>
                  <a:gd name="connsiteY74" fmla="*/ 47625 h 4429294"/>
                  <a:gd name="connsiteX75" fmla="*/ 2145494 w 4501379"/>
                  <a:gd name="connsiteY75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250144 w 4501379"/>
                  <a:gd name="connsiteY65" fmla="*/ 285750 h 4429294"/>
                  <a:gd name="connsiteX66" fmla="*/ 1507319 w 4501379"/>
                  <a:gd name="connsiteY66" fmla="*/ 152400 h 4429294"/>
                  <a:gd name="connsiteX67" fmla="*/ 1564469 w 4501379"/>
                  <a:gd name="connsiteY67" fmla="*/ 142875 h 4429294"/>
                  <a:gd name="connsiteX68" fmla="*/ 1697819 w 4501379"/>
                  <a:gd name="connsiteY68" fmla="*/ 123825 h 4429294"/>
                  <a:gd name="connsiteX69" fmla="*/ 1793069 w 4501379"/>
                  <a:gd name="connsiteY69" fmla="*/ 114300 h 4429294"/>
                  <a:gd name="connsiteX70" fmla="*/ 1840694 w 4501379"/>
                  <a:gd name="connsiteY70" fmla="*/ 104775 h 4429294"/>
                  <a:gd name="connsiteX71" fmla="*/ 1897844 w 4501379"/>
                  <a:gd name="connsiteY71" fmla="*/ 95250 h 4429294"/>
                  <a:gd name="connsiteX72" fmla="*/ 2012144 w 4501379"/>
                  <a:gd name="connsiteY72" fmla="*/ 66675 h 4429294"/>
                  <a:gd name="connsiteX73" fmla="*/ 2078819 w 4501379"/>
                  <a:gd name="connsiteY73" fmla="*/ 47625 h 4429294"/>
                  <a:gd name="connsiteX74" fmla="*/ 2145494 w 4501379"/>
                  <a:gd name="connsiteY74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697819 w 4501379"/>
                  <a:gd name="connsiteY67" fmla="*/ 123825 h 4429294"/>
                  <a:gd name="connsiteX68" fmla="*/ 1793069 w 4501379"/>
                  <a:gd name="connsiteY68" fmla="*/ 114300 h 4429294"/>
                  <a:gd name="connsiteX69" fmla="*/ 1840694 w 4501379"/>
                  <a:gd name="connsiteY69" fmla="*/ 104775 h 4429294"/>
                  <a:gd name="connsiteX70" fmla="*/ 1897844 w 4501379"/>
                  <a:gd name="connsiteY70" fmla="*/ 95250 h 4429294"/>
                  <a:gd name="connsiteX71" fmla="*/ 2012144 w 4501379"/>
                  <a:gd name="connsiteY71" fmla="*/ 66675 h 4429294"/>
                  <a:gd name="connsiteX72" fmla="*/ 2078819 w 4501379"/>
                  <a:gd name="connsiteY72" fmla="*/ 47625 h 4429294"/>
                  <a:gd name="connsiteX73" fmla="*/ 2145494 w 4501379"/>
                  <a:gd name="connsiteY73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793069 w 4501379"/>
                  <a:gd name="connsiteY67" fmla="*/ 114300 h 4429294"/>
                  <a:gd name="connsiteX68" fmla="*/ 1840694 w 4501379"/>
                  <a:gd name="connsiteY68" fmla="*/ 104775 h 4429294"/>
                  <a:gd name="connsiteX69" fmla="*/ 1897844 w 4501379"/>
                  <a:gd name="connsiteY69" fmla="*/ 95250 h 4429294"/>
                  <a:gd name="connsiteX70" fmla="*/ 2012144 w 4501379"/>
                  <a:gd name="connsiteY70" fmla="*/ 66675 h 4429294"/>
                  <a:gd name="connsiteX71" fmla="*/ 2078819 w 4501379"/>
                  <a:gd name="connsiteY71" fmla="*/ 47625 h 4429294"/>
                  <a:gd name="connsiteX72" fmla="*/ 2145494 w 4501379"/>
                  <a:gd name="connsiteY72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840694 w 4501379"/>
                  <a:gd name="connsiteY67" fmla="*/ 104775 h 4429294"/>
                  <a:gd name="connsiteX68" fmla="*/ 1897844 w 4501379"/>
                  <a:gd name="connsiteY68" fmla="*/ 95250 h 4429294"/>
                  <a:gd name="connsiteX69" fmla="*/ 2012144 w 4501379"/>
                  <a:gd name="connsiteY69" fmla="*/ 66675 h 4429294"/>
                  <a:gd name="connsiteX70" fmla="*/ 2078819 w 4501379"/>
                  <a:gd name="connsiteY70" fmla="*/ 47625 h 4429294"/>
                  <a:gd name="connsiteX71" fmla="*/ 2145494 w 4501379"/>
                  <a:gd name="connsiteY71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897844 w 4501379"/>
                  <a:gd name="connsiteY67" fmla="*/ 95250 h 4429294"/>
                  <a:gd name="connsiteX68" fmla="*/ 2012144 w 4501379"/>
                  <a:gd name="connsiteY68" fmla="*/ 66675 h 4429294"/>
                  <a:gd name="connsiteX69" fmla="*/ 2078819 w 4501379"/>
                  <a:gd name="connsiteY69" fmla="*/ 47625 h 4429294"/>
                  <a:gd name="connsiteX70" fmla="*/ 2145494 w 4501379"/>
                  <a:gd name="connsiteY70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012144 w 4501379"/>
                  <a:gd name="connsiteY67" fmla="*/ 66675 h 4429294"/>
                  <a:gd name="connsiteX68" fmla="*/ 2078819 w 4501379"/>
                  <a:gd name="connsiteY68" fmla="*/ 47625 h 4429294"/>
                  <a:gd name="connsiteX69" fmla="*/ 2145494 w 4501379"/>
                  <a:gd name="connsiteY69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078819 w 4501379"/>
                  <a:gd name="connsiteY67" fmla="*/ 47625 h 4429294"/>
                  <a:gd name="connsiteX68" fmla="*/ 2145494 w 4501379"/>
                  <a:gd name="connsiteY6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145494 w 4501379"/>
                  <a:gd name="connsiteY67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253444 w 4501379"/>
                  <a:gd name="connsiteY6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253444 w 4501379"/>
                  <a:gd name="connsiteY6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621619 w 4501379"/>
                  <a:gd name="connsiteY66" fmla="*/ 111125 h 4429294"/>
                  <a:gd name="connsiteX67" fmla="*/ 2253444 w 4501379"/>
                  <a:gd name="connsiteY6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650069 w 4501379"/>
                  <a:gd name="connsiteY59" fmla="*/ 676275 h 4429294"/>
                  <a:gd name="connsiteX60" fmla="*/ 678644 w 4501379"/>
                  <a:gd name="connsiteY60" fmla="*/ 657225 h 4429294"/>
                  <a:gd name="connsiteX61" fmla="*/ 821519 w 4501379"/>
                  <a:gd name="connsiteY61" fmla="*/ 533400 h 4429294"/>
                  <a:gd name="connsiteX62" fmla="*/ 869144 w 4501379"/>
                  <a:gd name="connsiteY62" fmla="*/ 504825 h 4429294"/>
                  <a:gd name="connsiteX63" fmla="*/ 1148544 w 4501379"/>
                  <a:gd name="connsiteY63" fmla="*/ 311150 h 4429294"/>
                  <a:gd name="connsiteX64" fmla="*/ 1507319 w 4501379"/>
                  <a:gd name="connsiteY64" fmla="*/ 152400 h 4429294"/>
                  <a:gd name="connsiteX65" fmla="*/ 1621619 w 4501379"/>
                  <a:gd name="connsiteY65" fmla="*/ 111125 h 4429294"/>
                  <a:gd name="connsiteX66" fmla="*/ 2253444 w 4501379"/>
                  <a:gd name="connsiteY66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650069 w 4501379"/>
                  <a:gd name="connsiteY59" fmla="*/ 676275 h 4429294"/>
                  <a:gd name="connsiteX60" fmla="*/ 821519 w 4501379"/>
                  <a:gd name="connsiteY60" fmla="*/ 533400 h 4429294"/>
                  <a:gd name="connsiteX61" fmla="*/ 869144 w 4501379"/>
                  <a:gd name="connsiteY61" fmla="*/ 504825 h 4429294"/>
                  <a:gd name="connsiteX62" fmla="*/ 1148544 w 4501379"/>
                  <a:gd name="connsiteY62" fmla="*/ 311150 h 4429294"/>
                  <a:gd name="connsiteX63" fmla="*/ 1507319 w 4501379"/>
                  <a:gd name="connsiteY63" fmla="*/ 152400 h 4429294"/>
                  <a:gd name="connsiteX64" fmla="*/ 1621619 w 4501379"/>
                  <a:gd name="connsiteY64" fmla="*/ 111125 h 4429294"/>
                  <a:gd name="connsiteX65" fmla="*/ 2253444 w 4501379"/>
                  <a:gd name="connsiteY65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650069 w 4501379"/>
                  <a:gd name="connsiteY59" fmla="*/ 676275 h 4429294"/>
                  <a:gd name="connsiteX60" fmla="*/ 869144 w 4501379"/>
                  <a:gd name="connsiteY60" fmla="*/ 504825 h 4429294"/>
                  <a:gd name="connsiteX61" fmla="*/ 1148544 w 4501379"/>
                  <a:gd name="connsiteY61" fmla="*/ 311150 h 4429294"/>
                  <a:gd name="connsiteX62" fmla="*/ 1507319 w 4501379"/>
                  <a:gd name="connsiteY62" fmla="*/ 152400 h 4429294"/>
                  <a:gd name="connsiteX63" fmla="*/ 1621619 w 4501379"/>
                  <a:gd name="connsiteY63" fmla="*/ 111125 h 4429294"/>
                  <a:gd name="connsiteX64" fmla="*/ 2253444 w 4501379"/>
                  <a:gd name="connsiteY64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64319 w 4501379"/>
                  <a:gd name="connsiteY53" fmla="*/ 1009650 h 4429294"/>
                  <a:gd name="connsiteX54" fmla="*/ 421469 w 4501379"/>
                  <a:gd name="connsiteY54" fmla="*/ 904875 h 4429294"/>
                  <a:gd name="connsiteX55" fmla="*/ 459569 w 4501379"/>
                  <a:gd name="connsiteY55" fmla="*/ 857250 h 4429294"/>
                  <a:gd name="connsiteX56" fmla="*/ 478619 w 4501379"/>
                  <a:gd name="connsiteY56" fmla="*/ 828675 h 4429294"/>
                  <a:gd name="connsiteX57" fmla="*/ 516719 w 4501379"/>
                  <a:gd name="connsiteY57" fmla="*/ 800100 h 4429294"/>
                  <a:gd name="connsiteX58" fmla="*/ 650069 w 4501379"/>
                  <a:gd name="connsiteY58" fmla="*/ 676275 h 4429294"/>
                  <a:gd name="connsiteX59" fmla="*/ 869144 w 4501379"/>
                  <a:gd name="connsiteY59" fmla="*/ 504825 h 4429294"/>
                  <a:gd name="connsiteX60" fmla="*/ 1148544 w 4501379"/>
                  <a:gd name="connsiteY60" fmla="*/ 311150 h 4429294"/>
                  <a:gd name="connsiteX61" fmla="*/ 1507319 w 4501379"/>
                  <a:gd name="connsiteY61" fmla="*/ 152400 h 4429294"/>
                  <a:gd name="connsiteX62" fmla="*/ 1621619 w 4501379"/>
                  <a:gd name="connsiteY62" fmla="*/ 111125 h 4429294"/>
                  <a:gd name="connsiteX63" fmla="*/ 2253444 w 4501379"/>
                  <a:gd name="connsiteY63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421469 w 4501379"/>
                  <a:gd name="connsiteY53" fmla="*/ 904875 h 4429294"/>
                  <a:gd name="connsiteX54" fmla="*/ 459569 w 4501379"/>
                  <a:gd name="connsiteY54" fmla="*/ 857250 h 4429294"/>
                  <a:gd name="connsiteX55" fmla="*/ 478619 w 4501379"/>
                  <a:gd name="connsiteY55" fmla="*/ 828675 h 4429294"/>
                  <a:gd name="connsiteX56" fmla="*/ 516719 w 4501379"/>
                  <a:gd name="connsiteY56" fmla="*/ 800100 h 4429294"/>
                  <a:gd name="connsiteX57" fmla="*/ 650069 w 4501379"/>
                  <a:gd name="connsiteY57" fmla="*/ 676275 h 4429294"/>
                  <a:gd name="connsiteX58" fmla="*/ 869144 w 4501379"/>
                  <a:gd name="connsiteY58" fmla="*/ 504825 h 4429294"/>
                  <a:gd name="connsiteX59" fmla="*/ 1148544 w 4501379"/>
                  <a:gd name="connsiteY59" fmla="*/ 311150 h 4429294"/>
                  <a:gd name="connsiteX60" fmla="*/ 1507319 w 4501379"/>
                  <a:gd name="connsiteY60" fmla="*/ 152400 h 4429294"/>
                  <a:gd name="connsiteX61" fmla="*/ 1621619 w 4501379"/>
                  <a:gd name="connsiteY61" fmla="*/ 111125 h 4429294"/>
                  <a:gd name="connsiteX62" fmla="*/ 2253444 w 4501379"/>
                  <a:gd name="connsiteY62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459569 w 4501379"/>
                  <a:gd name="connsiteY53" fmla="*/ 857250 h 4429294"/>
                  <a:gd name="connsiteX54" fmla="*/ 478619 w 4501379"/>
                  <a:gd name="connsiteY54" fmla="*/ 828675 h 4429294"/>
                  <a:gd name="connsiteX55" fmla="*/ 516719 w 4501379"/>
                  <a:gd name="connsiteY55" fmla="*/ 800100 h 4429294"/>
                  <a:gd name="connsiteX56" fmla="*/ 650069 w 4501379"/>
                  <a:gd name="connsiteY56" fmla="*/ 676275 h 4429294"/>
                  <a:gd name="connsiteX57" fmla="*/ 869144 w 4501379"/>
                  <a:gd name="connsiteY57" fmla="*/ 504825 h 4429294"/>
                  <a:gd name="connsiteX58" fmla="*/ 1148544 w 4501379"/>
                  <a:gd name="connsiteY58" fmla="*/ 311150 h 4429294"/>
                  <a:gd name="connsiteX59" fmla="*/ 1507319 w 4501379"/>
                  <a:gd name="connsiteY59" fmla="*/ 152400 h 4429294"/>
                  <a:gd name="connsiteX60" fmla="*/ 1621619 w 4501379"/>
                  <a:gd name="connsiteY60" fmla="*/ 111125 h 4429294"/>
                  <a:gd name="connsiteX61" fmla="*/ 2253444 w 4501379"/>
                  <a:gd name="connsiteY61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459569 w 4501379"/>
                  <a:gd name="connsiteY53" fmla="*/ 857250 h 4429294"/>
                  <a:gd name="connsiteX54" fmla="*/ 516719 w 4501379"/>
                  <a:gd name="connsiteY54" fmla="*/ 800100 h 4429294"/>
                  <a:gd name="connsiteX55" fmla="*/ 650069 w 4501379"/>
                  <a:gd name="connsiteY55" fmla="*/ 676275 h 4429294"/>
                  <a:gd name="connsiteX56" fmla="*/ 869144 w 4501379"/>
                  <a:gd name="connsiteY56" fmla="*/ 504825 h 4429294"/>
                  <a:gd name="connsiteX57" fmla="*/ 1148544 w 4501379"/>
                  <a:gd name="connsiteY57" fmla="*/ 311150 h 4429294"/>
                  <a:gd name="connsiteX58" fmla="*/ 1507319 w 4501379"/>
                  <a:gd name="connsiteY58" fmla="*/ 152400 h 4429294"/>
                  <a:gd name="connsiteX59" fmla="*/ 1621619 w 4501379"/>
                  <a:gd name="connsiteY59" fmla="*/ 111125 h 4429294"/>
                  <a:gd name="connsiteX60" fmla="*/ 2253444 w 4501379"/>
                  <a:gd name="connsiteY60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69069 w 4501379"/>
                  <a:gd name="connsiteY50" fmla="*/ 1152525 h 4429294"/>
                  <a:gd name="connsiteX51" fmla="*/ 297644 w 4501379"/>
                  <a:gd name="connsiteY51" fmla="*/ 1114425 h 4429294"/>
                  <a:gd name="connsiteX52" fmla="*/ 459569 w 4501379"/>
                  <a:gd name="connsiteY52" fmla="*/ 857250 h 4429294"/>
                  <a:gd name="connsiteX53" fmla="*/ 516719 w 4501379"/>
                  <a:gd name="connsiteY53" fmla="*/ 800100 h 4429294"/>
                  <a:gd name="connsiteX54" fmla="*/ 650069 w 4501379"/>
                  <a:gd name="connsiteY54" fmla="*/ 676275 h 4429294"/>
                  <a:gd name="connsiteX55" fmla="*/ 869144 w 4501379"/>
                  <a:gd name="connsiteY55" fmla="*/ 504825 h 4429294"/>
                  <a:gd name="connsiteX56" fmla="*/ 1148544 w 4501379"/>
                  <a:gd name="connsiteY56" fmla="*/ 311150 h 4429294"/>
                  <a:gd name="connsiteX57" fmla="*/ 1507319 w 4501379"/>
                  <a:gd name="connsiteY57" fmla="*/ 152400 h 4429294"/>
                  <a:gd name="connsiteX58" fmla="*/ 1621619 w 4501379"/>
                  <a:gd name="connsiteY58" fmla="*/ 111125 h 4429294"/>
                  <a:gd name="connsiteX59" fmla="*/ 2253444 w 4501379"/>
                  <a:gd name="connsiteY59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97644 w 4501379"/>
                  <a:gd name="connsiteY50" fmla="*/ 1114425 h 4429294"/>
                  <a:gd name="connsiteX51" fmla="*/ 459569 w 4501379"/>
                  <a:gd name="connsiteY51" fmla="*/ 857250 h 4429294"/>
                  <a:gd name="connsiteX52" fmla="*/ 516719 w 4501379"/>
                  <a:gd name="connsiteY52" fmla="*/ 800100 h 4429294"/>
                  <a:gd name="connsiteX53" fmla="*/ 650069 w 4501379"/>
                  <a:gd name="connsiteY53" fmla="*/ 676275 h 4429294"/>
                  <a:gd name="connsiteX54" fmla="*/ 869144 w 4501379"/>
                  <a:gd name="connsiteY54" fmla="*/ 504825 h 4429294"/>
                  <a:gd name="connsiteX55" fmla="*/ 1148544 w 4501379"/>
                  <a:gd name="connsiteY55" fmla="*/ 311150 h 4429294"/>
                  <a:gd name="connsiteX56" fmla="*/ 1507319 w 4501379"/>
                  <a:gd name="connsiteY56" fmla="*/ 152400 h 4429294"/>
                  <a:gd name="connsiteX57" fmla="*/ 1621619 w 4501379"/>
                  <a:gd name="connsiteY57" fmla="*/ 111125 h 4429294"/>
                  <a:gd name="connsiteX58" fmla="*/ 2253444 w 4501379"/>
                  <a:gd name="connsiteY58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97644 w 4501379"/>
                  <a:gd name="connsiteY49" fmla="*/ 1114425 h 4429294"/>
                  <a:gd name="connsiteX50" fmla="*/ 459569 w 4501379"/>
                  <a:gd name="connsiteY50" fmla="*/ 857250 h 4429294"/>
                  <a:gd name="connsiteX51" fmla="*/ 516719 w 4501379"/>
                  <a:gd name="connsiteY51" fmla="*/ 800100 h 4429294"/>
                  <a:gd name="connsiteX52" fmla="*/ 650069 w 4501379"/>
                  <a:gd name="connsiteY52" fmla="*/ 676275 h 4429294"/>
                  <a:gd name="connsiteX53" fmla="*/ 869144 w 4501379"/>
                  <a:gd name="connsiteY53" fmla="*/ 504825 h 4429294"/>
                  <a:gd name="connsiteX54" fmla="*/ 1148544 w 4501379"/>
                  <a:gd name="connsiteY54" fmla="*/ 311150 h 4429294"/>
                  <a:gd name="connsiteX55" fmla="*/ 1507319 w 4501379"/>
                  <a:gd name="connsiteY55" fmla="*/ 152400 h 4429294"/>
                  <a:gd name="connsiteX56" fmla="*/ 1621619 w 4501379"/>
                  <a:gd name="connsiteY56" fmla="*/ 111125 h 4429294"/>
                  <a:gd name="connsiteX57" fmla="*/ 2253444 w 4501379"/>
                  <a:gd name="connsiteY5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35719 w 4501379"/>
                  <a:gd name="connsiteY46" fmla="*/ 1419225 h 4429294"/>
                  <a:gd name="connsiteX47" fmla="*/ 211919 w 4501379"/>
                  <a:gd name="connsiteY47" fmla="*/ 1276350 h 4429294"/>
                  <a:gd name="connsiteX48" fmla="*/ 297644 w 4501379"/>
                  <a:gd name="connsiteY48" fmla="*/ 1114425 h 4429294"/>
                  <a:gd name="connsiteX49" fmla="*/ 459569 w 4501379"/>
                  <a:gd name="connsiteY49" fmla="*/ 857250 h 4429294"/>
                  <a:gd name="connsiteX50" fmla="*/ 516719 w 4501379"/>
                  <a:gd name="connsiteY50" fmla="*/ 800100 h 4429294"/>
                  <a:gd name="connsiteX51" fmla="*/ 650069 w 4501379"/>
                  <a:gd name="connsiteY51" fmla="*/ 676275 h 4429294"/>
                  <a:gd name="connsiteX52" fmla="*/ 869144 w 4501379"/>
                  <a:gd name="connsiteY52" fmla="*/ 504825 h 4429294"/>
                  <a:gd name="connsiteX53" fmla="*/ 1148544 w 4501379"/>
                  <a:gd name="connsiteY53" fmla="*/ 311150 h 4429294"/>
                  <a:gd name="connsiteX54" fmla="*/ 1507319 w 4501379"/>
                  <a:gd name="connsiteY54" fmla="*/ 152400 h 4429294"/>
                  <a:gd name="connsiteX55" fmla="*/ 1621619 w 4501379"/>
                  <a:gd name="connsiteY55" fmla="*/ 111125 h 4429294"/>
                  <a:gd name="connsiteX56" fmla="*/ 2253444 w 4501379"/>
                  <a:gd name="connsiteY56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88094 w 4501379"/>
                  <a:gd name="connsiteY44" fmla="*/ 1590675 h 4429294"/>
                  <a:gd name="connsiteX45" fmla="*/ 135719 w 4501379"/>
                  <a:gd name="connsiteY45" fmla="*/ 1419225 h 4429294"/>
                  <a:gd name="connsiteX46" fmla="*/ 211919 w 4501379"/>
                  <a:gd name="connsiteY46" fmla="*/ 1276350 h 4429294"/>
                  <a:gd name="connsiteX47" fmla="*/ 297644 w 4501379"/>
                  <a:gd name="connsiteY47" fmla="*/ 1114425 h 4429294"/>
                  <a:gd name="connsiteX48" fmla="*/ 459569 w 4501379"/>
                  <a:gd name="connsiteY48" fmla="*/ 857250 h 4429294"/>
                  <a:gd name="connsiteX49" fmla="*/ 516719 w 4501379"/>
                  <a:gd name="connsiteY49" fmla="*/ 800100 h 4429294"/>
                  <a:gd name="connsiteX50" fmla="*/ 650069 w 4501379"/>
                  <a:gd name="connsiteY50" fmla="*/ 676275 h 4429294"/>
                  <a:gd name="connsiteX51" fmla="*/ 869144 w 4501379"/>
                  <a:gd name="connsiteY51" fmla="*/ 504825 h 4429294"/>
                  <a:gd name="connsiteX52" fmla="*/ 1148544 w 4501379"/>
                  <a:gd name="connsiteY52" fmla="*/ 311150 h 4429294"/>
                  <a:gd name="connsiteX53" fmla="*/ 1507319 w 4501379"/>
                  <a:gd name="connsiteY53" fmla="*/ 152400 h 4429294"/>
                  <a:gd name="connsiteX54" fmla="*/ 1621619 w 4501379"/>
                  <a:gd name="connsiteY54" fmla="*/ 111125 h 4429294"/>
                  <a:gd name="connsiteX55" fmla="*/ 2253444 w 4501379"/>
                  <a:gd name="connsiteY55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88094 w 4501379"/>
                  <a:gd name="connsiteY43" fmla="*/ 1590675 h 4429294"/>
                  <a:gd name="connsiteX44" fmla="*/ 135719 w 4501379"/>
                  <a:gd name="connsiteY44" fmla="*/ 1419225 h 4429294"/>
                  <a:gd name="connsiteX45" fmla="*/ 211919 w 4501379"/>
                  <a:gd name="connsiteY45" fmla="*/ 1276350 h 4429294"/>
                  <a:gd name="connsiteX46" fmla="*/ 297644 w 4501379"/>
                  <a:gd name="connsiteY46" fmla="*/ 1114425 h 4429294"/>
                  <a:gd name="connsiteX47" fmla="*/ 459569 w 4501379"/>
                  <a:gd name="connsiteY47" fmla="*/ 857250 h 4429294"/>
                  <a:gd name="connsiteX48" fmla="*/ 516719 w 4501379"/>
                  <a:gd name="connsiteY48" fmla="*/ 800100 h 4429294"/>
                  <a:gd name="connsiteX49" fmla="*/ 650069 w 4501379"/>
                  <a:gd name="connsiteY49" fmla="*/ 676275 h 4429294"/>
                  <a:gd name="connsiteX50" fmla="*/ 869144 w 4501379"/>
                  <a:gd name="connsiteY50" fmla="*/ 504825 h 4429294"/>
                  <a:gd name="connsiteX51" fmla="*/ 1148544 w 4501379"/>
                  <a:gd name="connsiteY51" fmla="*/ 311150 h 4429294"/>
                  <a:gd name="connsiteX52" fmla="*/ 1507319 w 4501379"/>
                  <a:gd name="connsiteY52" fmla="*/ 152400 h 4429294"/>
                  <a:gd name="connsiteX53" fmla="*/ 1621619 w 4501379"/>
                  <a:gd name="connsiteY53" fmla="*/ 111125 h 4429294"/>
                  <a:gd name="connsiteX54" fmla="*/ 2253444 w 4501379"/>
                  <a:gd name="connsiteY54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88094 w 4501379"/>
                  <a:gd name="connsiteY42" fmla="*/ 1590675 h 4429294"/>
                  <a:gd name="connsiteX43" fmla="*/ 135719 w 4501379"/>
                  <a:gd name="connsiteY43" fmla="*/ 1419225 h 4429294"/>
                  <a:gd name="connsiteX44" fmla="*/ 211919 w 4501379"/>
                  <a:gd name="connsiteY44" fmla="*/ 1276350 h 4429294"/>
                  <a:gd name="connsiteX45" fmla="*/ 297644 w 4501379"/>
                  <a:gd name="connsiteY45" fmla="*/ 1114425 h 4429294"/>
                  <a:gd name="connsiteX46" fmla="*/ 459569 w 4501379"/>
                  <a:gd name="connsiteY46" fmla="*/ 857250 h 4429294"/>
                  <a:gd name="connsiteX47" fmla="*/ 516719 w 4501379"/>
                  <a:gd name="connsiteY47" fmla="*/ 800100 h 4429294"/>
                  <a:gd name="connsiteX48" fmla="*/ 650069 w 4501379"/>
                  <a:gd name="connsiteY48" fmla="*/ 676275 h 4429294"/>
                  <a:gd name="connsiteX49" fmla="*/ 869144 w 4501379"/>
                  <a:gd name="connsiteY49" fmla="*/ 504825 h 4429294"/>
                  <a:gd name="connsiteX50" fmla="*/ 1148544 w 4501379"/>
                  <a:gd name="connsiteY50" fmla="*/ 311150 h 4429294"/>
                  <a:gd name="connsiteX51" fmla="*/ 1507319 w 4501379"/>
                  <a:gd name="connsiteY51" fmla="*/ 152400 h 4429294"/>
                  <a:gd name="connsiteX52" fmla="*/ 1621619 w 4501379"/>
                  <a:gd name="connsiteY52" fmla="*/ 111125 h 4429294"/>
                  <a:gd name="connsiteX53" fmla="*/ 2253444 w 4501379"/>
                  <a:gd name="connsiteY53" fmla="*/ 12700 h 4429294"/>
                  <a:gd name="connsiteX0" fmla="*/ 2277090 w 4499625"/>
                  <a:gd name="connsiteY0" fmla="*/ 0 h 4429294"/>
                  <a:gd name="connsiteX1" fmla="*/ 2600940 w 4499625"/>
                  <a:gd name="connsiteY1" fmla="*/ 15875 h 4429294"/>
                  <a:gd name="connsiteX2" fmla="*/ 2896215 w 4499625"/>
                  <a:gd name="connsiteY2" fmla="*/ 85725 h 4429294"/>
                  <a:gd name="connsiteX3" fmla="*/ 3115290 w 4499625"/>
                  <a:gd name="connsiteY3" fmla="*/ 171450 h 4429294"/>
                  <a:gd name="connsiteX4" fmla="*/ 3220065 w 4499625"/>
                  <a:gd name="connsiteY4" fmla="*/ 228600 h 4429294"/>
                  <a:gd name="connsiteX5" fmla="*/ 3401040 w 4499625"/>
                  <a:gd name="connsiteY5" fmla="*/ 323850 h 4429294"/>
                  <a:gd name="connsiteX6" fmla="*/ 3791565 w 4499625"/>
                  <a:gd name="connsiteY6" fmla="*/ 581025 h 4429294"/>
                  <a:gd name="connsiteX7" fmla="*/ 4007465 w 4499625"/>
                  <a:gd name="connsiteY7" fmla="*/ 819150 h 4429294"/>
                  <a:gd name="connsiteX8" fmla="*/ 4143990 w 4499625"/>
                  <a:gd name="connsiteY8" fmla="*/ 990600 h 4429294"/>
                  <a:gd name="connsiteX9" fmla="*/ 4229715 w 4499625"/>
                  <a:gd name="connsiteY9" fmla="*/ 1143000 h 4429294"/>
                  <a:gd name="connsiteX10" fmla="*/ 4286865 w 4499625"/>
                  <a:gd name="connsiteY10" fmla="*/ 1266825 h 4429294"/>
                  <a:gd name="connsiteX11" fmla="*/ 4324965 w 4499625"/>
                  <a:gd name="connsiteY11" fmla="*/ 1362075 h 4429294"/>
                  <a:gd name="connsiteX12" fmla="*/ 4372590 w 4499625"/>
                  <a:gd name="connsiteY12" fmla="*/ 1552575 h 4429294"/>
                  <a:gd name="connsiteX13" fmla="*/ 4410690 w 4499625"/>
                  <a:gd name="connsiteY13" fmla="*/ 1685925 h 4429294"/>
                  <a:gd name="connsiteX14" fmla="*/ 4499590 w 4499625"/>
                  <a:gd name="connsiteY14" fmla="*/ 2181225 h 4429294"/>
                  <a:gd name="connsiteX15" fmla="*/ 4426565 w 4499625"/>
                  <a:gd name="connsiteY15" fmla="*/ 2768600 h 4429294"/>
                  <a:gd name="connsiteX16" fmla="*/ 4363065 w 4499625"/>
                  <a:gd name="connsiteY16" fmla="*/ 2990850 h 4429294"/>
                  <a:gd name="connsiteX17" fmla="*/ 4258290 w 4499625"/>
                  <a:gd name="connsiteY17" fmla="*/ 3248025 h 4429294"/>
                  <a:gd name="connsiteX18" fmla="*/ 4163040 w 4499625"/>
                  <a:gd name="connsiteY18" fmla="*/ 3400425 h 4429294"/>
                  <a:gd name="connsiteX19" fmla="*/ 4039215 w 4499625"/>
                  <a:gd name="connsiteY19" fmla="*/ 3533775 h 4429294"/>
                  <a:gd name="connsiteX20" fmla="*/ 3934440 w 4499625"/>
                  <a:gd name="connsiteY20" fmla="*/ 3648075 h 4429294"/>
                  <a:gd name="connsiteX21" fmla="*/ 3639165 w 4499625"/>
                  <a:gd name="connsiteY21" fmla="*/ 3971925 h 4429294"/>
                  <a:gd name="connsiteX22" fmla="*/ 3496290 w 4499625"/>
                  <a:gd name="connsiteY22" fmla="*/ 4083050 h 4429294"/>
                  <a:gd name="connsiteX23" fmla="*/ 3201015 w 4499625"/>
                  <a:gd name="connsiteY23" fmla="*/ 4222750 h 4429294"/>
                  <a:gd name="connsiteX24" fmla="*/ 3048615 w 4499625"/>
                  <a:gd name="connsiteY24" fmla="*/ 4286250 h 4429294"/>
                  <a:gd name="connsiteX25" fmla="*/ 2915265 w 4499625"/>
                  <a:gd name="connsiteY25" fmla="*/ 4333875 h 4429294"/>
                  <a:gd name="connsiteX26" fmla="*/ 2791440 w 4499625"/>
                  <a:gd name="connsiteY26" fmla="*/ 4371975 h 4429294"/>
                  <a:gd name="connsiteX27" fmla="*/ 2559665 w 4499625"/>
                  <a:gd name="connsiteY27" fmla="*/ 4391025 h 4429294"/>
                  <a:gd name="connsiteX28" fmla="*/ 2105640 w 4499625"/>
                  <a:gd name="connsiteY28" fmla="*/ 4429125 h 4429294"/>
                  <a:gd name="connsiteX29" fmla="*/ 1915140 w 4499625"/>
                  <a:gd name="connsiteY29" fmla="*/ 4400550 h 4429294"/>
                  <a:gd name="connsiteX30" fmla="*/ 1553190 w 4499625"/>
                  <a:gd name="connsiteY30" fmla="*/ 4305300 h 4429294"/>
                  <a:gd name="connsiteX31" fmla="*/ 1311890 w 4499625"/>
                  <a:gd name="connsiteY31" fmla="*/ 4216400 h 4429294"/>
                  <a:gd name="connsiteX32" fmla="*/ 1143615 w 4499625"/>
                  <a:gd name="connsiteY32" fmla="*/ 4111625 h 4429294"/>
                  <a:gd name="connsiteX33" fmla="*/ 924540 w 4499625"/>
                  <a:gd name="connsiteY33" fmla="*/ 3968750 h 4429294"/>
                  <a:gd name="connsiteX34" fmla="*/ 591165 w 4499625"/>
                  <a:gd name="connsiteY34" fmla="*/ 3657600 h 4429294"/>
                  <a:gd name="connsiteX35" fmla="*/ 445115 w 4499625"/>
                  <a:gd name="connsiteY35" fmla="*/ 3470275 h 4429294"/>
                  <a:gd name="connsiteX36" fmla="*/ 314940 w 4499625"/>
                  <a:gd name="connsiteY36" fmla="*/ 3244850 h 4429294"/>
                  <a:gd name="connsiteX37" fmla="*/ 162540 w 4499625"/>
                  <a:gd name="connsiteY37" fmla="*/ 2892425 h 4429294"/>
                  <a:gd name="connsiteX38" fmla="*/ 54590 w 4499625"/>
                  <a:gd name="connsiteY38" fmla="*/ 2368550 h 4429294"/>
                  <a:gd name="connsiteX39" fmla="*/ 615 w 4499625"/>
                  <a:gd name="connsiteY39" fmla="*/ 1905000 h 4429294"/>
                  <a:gd name="connsiteX40" fmla="*/ 29190 w 4499625"/>
                  <a:gd name="connsiteY40" fmla="*/ 1781175 h 4429294"/>
                  <a:gd name="connsiteX41" fmla="*/ 86340 w 4499625"/>
                  <a:gd name="connsiteY41" fmla="*/ 1590675 h 4429294"/>
                  <a:gd name="connsiteX42" fmla="*/ 133965 w 4499625"/>
                  <a:gd name="connsiteY42" fmla="*/ 1419225 h 4429294"/>
                  <a:gd name="connsiteX43" fmla="*/ 210165 w 4499625"/>
                  <a:gd name="connsiteY43" fmla="*/ 1276350 h 4429294"/>
                  <a:gd name="connsiteX44" fmla="*/ 295890 w 4499625"/>
                  <a:gd name="connsiteY44" fmla="*/ 1114425 h 4429294"/>
                  <a:gd name="connsiteX45" fmla="*/ 457815 w 4499625"/>
                  <a:gd name="connsiteY45" fmla="*/ 857250 h 4429294"/>
                  <a:gd name="connsiteX46" fmla="*/ 514965 w 4499625"/>
                  <a:gd name="connsiteY46" fmla="*/ 800100 h 4429294"/>
                  <a:gd name="connsiteX47" fmla="*/ 648315 w 4499625"/>
                  <a:gd name="connsiteY47" fmla="*/ 676275 h 4429294"/>
                  <a:gd name="connsiteX48" fmla="*/ 867390 w 4499625"/>
                  <a:gd name="connsiteY48" fmla="*/ 504825 h 4429294"/>
                  <a:gd name="connsiteX49" fmla="*/ 1146790 w 4499625"/>
                  <a:gd name="connsiteY49" fmla="*/ 311150 h 4429294"/>
                  <a:gd name="connsiteX50" fmla="*/ 1505565 w 4499625"/>
                  <a:gd name="connsiteY50" fmla="*/ 152400 h 4429294"/>
                  <a:gd name="connsiteX51" fmla="*/ 1619865 w 4499625"/>
                  <a:gd name="connsiteY51" fmla="*/ 111125 h 4429294"/>
                  <a:gd name="connsiteX52" fmla="*/ 2251690 w 4499625"/>
                  <a:gd name="connsiteY52" fmla="*/ 12700 h 4429294"/>
                  <a:gd name="connsiteX0" fmla="*/ 2249427 w 4471962"/>
                  <a:gd name="connsiteY0" fmla="*/ 0 h 4429294"/>
                  <a:gd name="connsiteX1" fmla="*/ 2573277 w 4471962"/>
                  <a:gd name="connsiteY1" fmla="*/ 15875 h 4429294"/>
                  <a:gd name="connsiteX2" fmla="*/ 2868552 w 4471962"/>
                  <a:gd name="connsiteY2" fmla="*/ 85725 h 4429294"/>
                  <a:gd name="connsiteX3" fmla="*/ 3087627 w 4471962"/>
                  <a:gd name="connsiteY3" fmla="*/ 171450 h 4429294"/>
                  <a:gd name="connsiteX4" fmla="*/ 3192402 w 4471962"/>
                  <a:gd name="connsiteY4" fmla="*/ 228600 h 4429294"/>
                  <a:gd name="connsiteX5" fmla="*/ 3373377 w 4471962"/>
                  <a:gd name="connsiteY5" fmla="*/ 323850 h 4429294"/>
                  <a:gd name="connsiteX6" fmla="*/ 3763902 w 4471962"/>
                  <a:gd name="connsiteY6" fmla="*/ 581025 h 4429294"/>
                  <a:gd name="connsiteX7" fmla="*/ 3979802 w 4471962"/>
                  <a:gd name="connsiteY7" fmla="*/ 819150 h 4429294"/>
                  <a:gd name="connsiteX8" fmla="*/ 4116327 w 4471962"/>
                  <a:gd name="connsiteY8" fmla="*/ 990600 h 4429294"/>
                  <a:gd name="connsiteX9" fmla="*/ 4202052 w 4471962"/>
                  <a:gd name="connsiteY9" fmla="*/ 1143000 h 4429294"/>
                  <a:gd name="connsiteX10" fmla="*/ 4259202 w 4471962"/>
                  <a:gd name="connsiteY10" fmla="*/ 1266825 h 4429294"/>
                  <a:gd name="connsiteX11" fmla="*/ 4297302 w 4471962"/>
                  <a:gd name="connsiteY11" fmla="*/ 1362075 h 4429294"/>
                  <a:gd name="connsiteX12" fmla="*/ 4344927 w 4471962"/>
                  <a:gd name="connsiteY12" fmla="*/ 1552575 h 4429294"/>
                  <a:gd name="connsiteX13" fmla="*/ 4383027 w 4471962"/>
                  <a:gd name="connsiteY13" fmla="*/ 1685925 h 4429294"/>
                  <a:gd name="connsiteX14" fmla="*/ 4471927 w 4471962"/>
                  <a:gd name="connsiteY14" fmla="*/ 2181225 h 4429294"/>
                  <a:gd name="connsiteX15" fmla="*/ 4398902 w 4471962"/>
                  <a:gd name="connsiteY15" fmla="*/ 2768600 h 4429294"/>
                  <a:gd name="connsiteX16" fmla="*/ 4335402 w 4471962"/>
                  <a:gd name="connsiteY16" fmla="*/ 2990850 h 4429294"/>
                  <a:gd name="connsiteX17" fmla="*/ 4230627 w 4471962"/>
                  <a:gd name="connsiteY17" fmla="*/ 3248025 h 4429294"/>
                  <a:gd name="connsiteX18" fmla="*/ 4135377 w 4471962"/>
                  <a:gd name="connsiteY18" fmla="*/ 3400425 h 4429294"/>
                  <a:gd name="connsiteX19" fmla="*/ 4011552 w 4471962"/>
                  <a:gd name="connsiteY19" fmla="*/ 3533775 h 4429294"/>
                  <a:gd name="connsiteX20" fmla="*/ 3906777 w 4471962"/>
                  <a:gd name="connsiteY20" fmla="*/ 3648075 h 4429294"/>
                  <a:gd name="connsiteX21" fmla="*/ 3611502 w 4471962"/>
                  <a:gd name="connsiteY21" fmla="*/ 3971925 h 4429294"/>
                  <a:gd name="connsiteX22" fmla="*/ 3468627 w 4471962"/>
                  <a:gd name="connsiteY22" fmla="*/ 4083050 h 4429294"/>
                  <a:gd name="connsiteX23" fmla="*/ 3173352 w 4471962"/>
                  <a:gd name="connsiteY23" fmla="*/ 4222750 h 4429294"/>
                  <a:gd name="connsiteX24" fmla="*/ 3020952 w 4471962"/>
                  <a:gd name="connsiteY24" fmla="*/ 4286250 h 4429294"/>
                  <a:gd name="connsiteX25" fmla="*/ 2887602 w 4471962"/>
                  <a:gd name="connsiteY25" fmla="*/ 4333875 h 4429294"/>
                  <a:gd name="connsiteX26" fmla="*/ 2763777 w 4471962"/>
                  <a:gd name="connsiteY26" fmla="*/ 4371975 h 4429294"/>
                  <a:gd name="connsiteX27" fmla="*/ 2532002 w 4471962"/>
                  <a:gd name="connsiteY27" fmla="*/ 4391025 h 4429294"/>
                  <a:gd name="connsiteX28" fmla="*/ 2077977 w 4471962"/>
                  <a:gd name="connsiteY28" fmla="*/ 4429125 h 4429294"/>
                  <a:gd name="connsiteX29" fmla="*/ 1887477 w 4471962"/>
                  <a:gd name="connsiteY29" fmla="*/ 4400550 h 4429294"/>
                  <a:gd name="connsiteX30" fmla="*/ 1525527 w 4471962"/>
                  <a:gd name="connsiteY30" fmla="*/ 4305300 h 4429294"/>
                  <a:gd name="connsiteX31" fmla="*/ 1284227 w 4471962"/>
                  <a:gd name="connsiteY31" fmla="*/ 4216400 h 4429294"/>
                  <a:gd name="connsiteX32" fmla="*/ 1115952 w 4471962"/>
                  <a:gd name="connsiteY32" fmla="*/ 4111625 h 4429294"/>
                  <a:gd name="connsiteX33" fmla="*/ 896877 w 4471962"/>
                  <a:gd name="connsiteY33" fmla="*/ 3968750 h 4429294"/>
                  <a:gd name="connsiteX34" fmla="*/ 563502 w 4471962"/>
                  <a:gd name="connsiteY34" fmla="*/ 3657600 h 4429294"/>
                  <a:gd name="connsiteX35" fmla="*/ 417452 w 4471962"/>
                  <a:gd name="connsiteY35" fmla="*/ 3470275 h 4429294"/>
                  <a:gd name="connsiteX36" fmla="*/ 287277 w 4471962"/>
                  <a:gd name="connsiteY36" fmla="*/ 3244850 h 4429294"/>
                  <a:gd name="connsiteX37" fmla="*/ 134877 w 4471962"/>
                  <a:gd name="connsiteY37" fmla="*/ 2892425 h 4429294"/>
                  <a:gd name="connsiteX38" fmla="*/ 26927 w 4471962"/>
                  <a:gd name="connsiteY38" fmla="*/ 2368550 h 4429294"/>
                  <a:gd name="connsiteX39" fmla="*/ 1527 w 4471962"/>
                  <a:gd name="connsiteY39" fmla="*/ 1781175 h 4429294"/>
                  <a:gd name="connsiteX40" fmla="*/ 58677 w 4471962"/>
                  <a:gd name="connsiteY40" fmla="*/ 1590675 h 4429294"/>
                  <a:gd name="connsiteX41" fmla="*/ 106302 w 4471962"/>
                  <a:gd name="connsiteY41" fmla="*/ 1419225 h 4429294"/>
                  <a:gd name="connsiteX42" fmla="*/ 182502 w 4471962"/>
                  <a:gd name="connsiteY42" fmla="*/ 1276350 h 4429294"/>
                  <a:gd name="connsiteX43" fmla="*/ 268227 w 4471962"/>
                  <a:gd name="connsiteY43" fmla="*/ 1114425 h 4429294"/>
                  <a:gd name="connsiteX44" fmla="*/ 430152 w 4471962"/>
                  <a:gd name="connsiteY44" fmla="*/ 857250 h 4429294"/>
                  <a:gd name="connsiteX45" fmla="*/ 487302 w 4471962"/>
                  <a:gd name="connsiteY45" fmla="*/ 800100 h 4429294"/>
                  <a:gd name="connsiteX46" fmla="*/ 620652 w 4471962"/>
                  <a:gd name="connsiteY46" fmla="*/ 676275 h 4429294"/>
                  <a:gd name="connsiteX47" fmla="*/ 839727 w 4471962"/>
                  <a:gd name="connsiteY47" fmla="*/ 504825 h 4429294"/>
                  <a:gd name="connsiteX48" fmla="*/ 1119127 w 4471962"/>
                  <a:gd name="connsiteY48" fmla="*/ 311150 h 4429294"/>
                  <a:gd name="connsiteX49" fmla="*/ 1477902 w 4471962"/>
                  <a:gd name="connsiteY49" fmla="*/ 152400 h 4429294"/>
                  <a:gd name="connsiteX50" fmla="*/ 1592202 w 4471962"/>
                  <a:gd name="connsiteY50" fmla="*/ 111125 h 4429294"/>
                  <a:gd name="connsiteX51" fmla="*/ 2224027 w 4471962"/>
                  <a:gd name="connsiteY51" fmla="*/ 12700 h 4429294"/>
                  <a:gd name="connsiteX0" fmla="*/ 2231942 w 4454477"/>
                  <a:gd name="connsiteY0" fmla="*/ 0 h 4429294"/>
                  <a:gd name="connsiteX1" fmla="*/ 2555792 w 4454477"/>
                  <a:gd name="connsiteY1" fmla="*/ 15875 h 4429294"/>
                  <a:gd name="connsiteX2" fmla="*/ 2851067 w 4454477"/>
                  <a:gd name="connsiteY2" fmla="*/ 85725 h 4429294"/>
                  <a:gd name="connsiteX3" fmla="*/ 3070142 w 4454477"/>
                  <a:gd name="connsiteY3" fmla="*/ 171450 h 4429294"/>
                  <a:gd name="connsiteX4" fmla="*/ 3174917 w 4454477"/>
                  <a:gd name="connsiteY4" fmla="*/ 228600 h 4429294"/>
                  <a:gd name="connsiteX5" fmla="*/ 3355892 w 4454477"/>
                  <a:gd name="connsiteY5" fmla="*/ 323850 h 4429294"/>
                  <a:gd name="connsiteX6" fmla="*/ 3746417 w 4454477"/>
                  <a:gd name="connsiteY6" fmla="*/ 581025 h 4429294"/>
                  <a:gd name="connsiteX7" fmla="*/ 3962317 w 4454477"/>
                  <a:gd name="connsiteY7" fmla="*/ 819150 h 4429294"/>
                  <a:gd name="connsiteX8" fmla="*/ 4098842 w 4454477"/>
                  <a:gd name="connsiteY8" fmla="*/ 990600 h 4429294"/>
                  <a:gd name="connsiteX9" fmla="*/ 4184567 w 4454477"/>
                  <a:gd name="connsiteY9" fmla="*/ 1143000 h 4429294"/>
                  <a:gd name="connsiteX10" fmla="*/ 4241717 w 4454477"/>
                  <a:gd name="connsiteY10" fmla="*/ 1266825 h 4429294"/>
                  <a:gd name="connsiteX11" fmla="*/ 4279817 w 4454477"/>
                  <a:gd name="connsiteY11" fmla="*/ 1362075 h 4429294"/>
                  <a:gd name="connsiteX12" fmla="*/ 4327442 w 4454477"/>
                  <a:gd name="connsiteY12" fmla="*/ 1552575 h 4429294"/>
                  <a:gd name="connsiteX13" fmla="*/ 4365542 w 4454477"/>
                  <a:gd name="connsiteY13" fmla="*/ 1685925 h 4429294"/>
                  <a:gd name="connsiteX14" fmla="*/ 4454442 w 4454477"/>
                  <a:gd name="connsiteY14" fmla="*/ 2181225 h 4429294"/>
                  <a:gd name="connsiteX15" fmla="*/ 4381417 w 4454477"/>
                  <a:gd name="connsiteY15" fmla="*/ 2768600 h 4429294"/>
                  <a:gd name="connsiteX16" fmla="*/ 4317917 w 4454477"/>
                  <a:gd name="connsiteY16" fmla="*/ 2990850 h 4429294"/>
                  <a:gd name="connsiteX17" fmla="*/ 4213142 w 4454477"/>
                  <a:gd name="connsiteY17" fmla="*/ 3248025 h 4429294"/>
                  <a:gd name="connsiteX18" fmla="*/ 4117892 w 4454477"/>
                  <a:gd name="connsiteY18" fmla="*/ 3400425 h 4429294"/>
                  <a:gd name="connsiteX19" fmla="*/ 3994067 w 4454477"/>
                  <a:gd name="connsiteY19" fmla="*/ 3533775 h 4429294"/>
                  <a:gd name="connsiteX20" fmla="*/ 3889292 w 4454477"/>
                  <a:gd name="connsiteY20" fmla="*/ 3648075 h 4429294"/>
                  <a:gd name="connsiteX21" fmla="*/ 3594017 w 4454477"/>
                  <a:gd name="connsiteY21" fmla="*/ 3971925 h 4429294"/>
                  <a:gd name="connsiteX22" fmla="*/ 3451142 w 4454477"/>
                  <a:gd name="connsiteY22" fmla="*/ 4083050 h 4429294"/>
                  <a:gd name="connsiteX23" fmla="*/ 3155867 w 4454477"/>
                  <a:gd name="connsiteY23" fmla="*/ 4222750 h 4429294"/>
                  <a:gd name="connsiteX24" fmla="*/ 3003467 w 4454477"/>
                  <a:gd name="connsiteY24" fmla="*/ 4286250 h 4429294"/>
                  <a:gd name="connsiteX25" fmla="*/ 2870117 w 4454477"/>
                  <a:gd name="connsiteY25" fmla="*/ 4333875 h 4429294"/>
                  <a:gd name="connsiteX26" fmla="*/ 2746292 w 4454477"/>
                  <a:gd name="connsiteY26" fmla="*/ 4371975 h 4429294"/>
                  <a:gd name="connsiteX27" fmla="*/ 2514517 w 4454477"/>
                  <a:gd name="connsiteY27" fmla="*/ 4391025 h 4429294"/>
                  <a:gd name="connsiteX28" fmla="*/ 2060492 w 4454477"/>
                  <a:gd name="connsiteY28" fmla="*/ 4429125 h 4429294"/>
                  <a:gd name="connsiteX29" fmla="*/ 1869992 w 4454477"/>
                  <a:gd name="connsiteY29" fmla="*/ 4400550 h 4429294"/>
                  <a:gd name="connsiteX30" fmla="*/ 1508042 w 4454477"/>
                  <a:gd name="connsiteY30" fmla="*/ 4305300 h 4429294"/>
                  <a:gd name="connsiteX31" fmla="*/ 1266742 w 4454477"/>
                  <a:gd name="connsiteY31" fmla="*/ 4216400 h 4429294"/>
                  <a:gd name="connsiteX32" fmla="*/ 1098467 w 4454477"/>
                  <a:gd name="connsiteY32" fmla="*/ 4111625 h 4429294"/>
                  <a:gd name="connsiteX33" fmla="*/ 879392 w 4454477"/>
                  <a:gd name="connsiteY33" fmla="*/ 3968750 h 4429294"/>
                  <a:gd name="connsiteX34" fmla="*/ 546017 w 4454477"/>
                  <a:gd name="connsiteY34" fmla="*/ 3657600 h 4429294"/>
                  <a:gd name="connsiteX35" fmla="*/ 399967 w 4454477"/>
                  <a:gd name="connsiteY35" fmla="*/ 3470275 h 4429294"/>
                  <a:gd name="connsiteX36" fmla="*/ 269792 w 4454477"/>
                  <a:gd name="connsiteY36" fmla="*/ 3244850 h 4429294"/>
                  <a:gd name="connsiteX37" fmla="*/ 117392 w 4454477"/>
                  <a:gd name="connsiteY37" fmla="*/ 2892425 h 4429294"/>
                  <a:gd name="connsiteX38" fmla="*/ 9442 w 4454477"/>
                  <a:gd name="connsiteY38" fmla="*/ 2368550 h 4429294"/>
                  <a:gd name="connsiteX39" fmla="*/ 15792 w 4454477"/>
                  <a:gd name="connsiteY39" fmla="*/ 1870075 h 4429294"/>
                  <a:gd name="connsiteX40" fmla="*/ 41192 w 4454477"/>
                  <a:gd name="connsiteY40" fmla="*/ 1590675 h 4429294"/>
                  <a:gd name="connsiteX41" fmla="*/ 88817 w 4454477"/>
                  <a:gd name="connsiteY41" fmla="*/ 1419225 h 4429294"/>
                  <a:gd name="connsiteX42" fmla="*/ 165017 w 4454477"/>
                  <a:gd name="connsiteY42" fmla="*/ 1276350 h 4429294"/>
                  <a:gd name="connsiteX43" fmla="*/ 250742 w 4454477"/>
                  <a:gd name="connsiteY43" fmla="*/ 1114425 h 4429294"/>
                  <a:gd name="connsiteX44" fmla="*/ 412667 w 4454477"/>
                  <a:gd name="connsiteY44" fmla="*/ 857250 h 4429294"/>
                  <a:gd name="connsiteX45" fmla="*/ 469817 w 4454477"/>
                  <a:gd name="connsiteY45" fmla="*/ 800100 h 4429294"/>
                  <a:gd name="connsiteX46" fmla="*/ 603167 w 4454477"/>
                  <a:gd name="connsiteY46" fmla="*/ 676275 h 4429294"/>
                  <a:gd name="connsiteX47" fmla="*/ 822242 w 4454477"/>
                  <a:gd name="connsiteY47" fmla="*/ 504825 h 4429294"/>
                  <a:gd name="connsiteX48" fmla="*/ 1101642 w 4454477"/>
                  <a:gd name="connsiteY48" fmla="*/ 311150 h 4429294"/>
                  <a:gd name="connsiteX49" fmla="*/ 1460417 w 4454477"/>
                  <a:gd name="connsiteY49" fmla="*/ 152400 h 4429294"/>
                  <a:gd name="connsiteX50" fmla="*/ 1574717 w 4454477"/>
                  <a:gd name="connsiteY50" fmla="*/ 111125 h 4429294"/>
                  <a:gd name="connsiteX51" fmla="*/ 2206542 w 4454477"/>
                  <a:gd name="connsiteY51" fmla="*/ 12700 h 4429294"/>
                  <a:gd name="connsiteX0" fmla="*/ 2233750 w 4456285"/>
                  <a:gd name="connsiteY0" fmla="*/ 0 h 4429294"/>
                  <a:gd name="connsiteX1" fmla="*/ 2557600 w 4456285"/>
                  <a:gd name="connsiteY1" fmla="*/ 15875 h 4429294"/>
                  <a:gd name="connsiteX2" fmla="*/ 2852875 w 4456285"/>
                  <a:gd name="connsiteY2" fmla="*/ 85725 h 4429294"/>
                  <a:gd name="connsiteX3" fmla="*/ 3071950 w 4456285"/>
                  <a:gd name="connsiteY3" fmla="*/ 171450 h 4429294"/>
                  <a:gd name="connsiteX4" fmla="*/ 3176725 w 4456285"/>
                  <a:gd name="connsiteY4" fmla="*/ 228600 h 4429294"/>
                  <a:gd name="connsiteX5" fmla="*/ 3357700 w 4456285"/>
                  <a:gd name="connsiteY5" fmla="*/ 323850 h 4429294"/>
                  <a:gd name="connsiteX6" fmla="*/ 3748225 w 4456285"/>
                  <a:gd name="connsiteY6" fmla="*/ 581025 h 4429294"/>
                  <a:gd name="connsiteX7" fmla="*/ 3964125 w 4456285"/>
                  <a:gd name="connsiteY7" fmla="*/ 819150 h 4429294"/>
                  <a:gd name="connsiteX8" fmla="*/ 4100650 w 4456285"/>
                  <a:gd name="connsiteY8" fmla="*/ 990600 h 4429294"/>
                  <a:gd name="connsiteX9" fmla="*/ 4186375 w 4456285"/>
                  <a:gd name="connsiteY9" fmla="*/ 1143000 h 4429294"/>
                  <a:gd name="connsiteX10" fmla="*/ 4243525 w 4456285"/>
                  <a:gd name="connsiteY10" fmla="*/ 1266825 h 4429294"/>
                  <a:gd name="connsiteX11" fmla="*/ 4281625 w 4456285"/>
                  <a:gd name="connsiteY11" fmla="*/ 1362075 h 4429294"/>
                  <a:gd name="connsiteX12" fmla="*/ 4329250 w 4456285"/>
                  <a:gd name="connsiteY12" fmla="*/ 1552575 h 4429294"/>
                  <a:gd name="connsiteX13" fmla="*/ 4367350 w 4456285"/>
                  <a:gd name="connsiteY13" fmla="*/ 1685925 h 4429294"/>
                  <a:gd name="connsiteX14" fmla="*/ 4456250 w 4456285"/>
                  <a:gd name="connsiteY14" fmla="*/ 2181225 h 4429294"/>
                  <a:gd name="connsiteX15" fmla="*/ 4383225 w 4456285"/>
                  <a:gd name="connsiteY15" fmla="*/ 2768600 h 4429294"/>
                  <a:gd name="connsiteX16" fmla="*/ 4319725 w 4456285"/>
                  <a:gd name="connsiteY16" fmla="*/ 2990850 h 4429294"/>
                  <a:gd name="connsiteX17" fmla="*/ 4214950 w 4456285"/>
                  <a:gd name="connsiteY17" fmla="*/ 3248025 h 4429294"/>
                  <a:gd name="connsiteX18" fmla="*/ 4119700 w 4456285"/>
                  <a:gd name="connsiteY18" fmla="*/ 3400425 h 4429294"/>
                  <a:gd name="connsiteX19" fmla="*/ 3995875 w 4456285"/>
                  <a:gd name="connsiteY19" fmla="*/ 3533775 h 4429294"/>
                  <a:gd name="connsiteX20" fmla="*/ 3891100 w 4456285"/>
                  <a:gd name="connsiteY20" fmla="*/ 3648075 h 4429294"/>
                  <a:gd name="connsiteX21" fmla="*/ 3595825 w 4456285"/>
                  <a:gd name="connsiteY21" fmla="*/ 3971925 h 4429294"/>
                  <a:gd name="connsiteX22" fmla="*/ 3452950 w 4456285"/>
                  <a:gd name="connsiteY22" fmla="*/ 4083050 h 4429294"/>
                  <a:gd name="connsiteX23" fmla="*/ 3157675 w 4456285"/>
                  <a:gd name="connsiteY23" fmla="*/ 4222750 h 4429294"/>
                  <a:gd name="connsiteX24" fmla="*/ 3005275 w 4456285"/>
                  <a:gd name="connsiteY24" fmla="*/ 4286250 h 4429294"/>
                  <a:gd name="connsiteX25" fmla="*/ 2871925 w 4456285"/>
                  <a:gd name="connsiteY25" fmla="*/ 4333875 h 4429294"/>
                  <a:gd name="connsiteX26" fmla="*/ 2748100 w 4456285"/>
                  <a:gd name="connsiteY26" fmla="*/ 4371975 h 4429294"/>
                  <a:gd name="connsiteX27" fmla="*/ 2516325 w 4456285"/>
                  <a:gd name="connsiteY27" fmla="*/ 4391025 h 4429294"/>
                  <a:gd name="connsiteX28" fmla="*/ 2062300 w 4456285"/>
                  <a:gd name="connsiteY28" fmla="*/ 4429125 h 4429294"/>
                  <a:gd name="connsiteX29" fmla="*/ 1871800 w 4456285"/>
                  <a:gd name="connsiteY29" fmla="*/ 4400550 h 4429294"/>
                  <a:gd name="connsiteX30" fmla="*/ 1509850 w 4456285"/>
                  <a:gd name="connsiteY30" fmla="*/ 4305300 h 4429294"/>
                  <a:gd name="connsiteX31" fmla="*/ 1268550 w 4456285"/>
                  <a:gd name="connsiteY31" fmla="*/ 4216400 h 4429294"/>
                  <a:gd name="connsiteX32" fmla="*/ 1100275 w 4456285"/>
                  <a:gd name="connsiteY32" fmla="*/ 4111625 h 4429294"/>
                  <a:gd name="connsiteX33" fmla="*/ 881200 w 4456285"/>
                  <a:gd name="connsiteY33" fmla="*/ 3968750 h 4429294"/>
                  <a:gd name="connsiteX34" fmla="*/ 547825 w 4456285"/>
                  <a:gd name="connsiteY34" fmla="*/ 3657600 h 4429294"/>
                  <a:gd name="connsiteX35" fmla="*/ 401775 w 4456285"/>
                  <a:gd name="connsiteY35" fmla="*/ 3470275 h 4429294"/>
                  <a:gd name="connsiteX36" fmla="*/ 271600 w 4456285"/>
                  <a:gd name="connsiteY36" fmla="*/ 3244850 h 4429294"/>
                  <a:gd name="connsiteX37" fmla="*/ 119200 w 4456285"/>
                  <a:gd name="connsiteY37" fmla="*/ 2892425 h 4429294"/>
                  <a:gd name="connsiteX38" fmla="*/ 11250 w 4456285"/>
                  <a:gd name="connsiteY38" fmla="*/ 2368550 h 4429294"/>
                  <a:gd name="connsiteX39" fmla="*/ 17600 w 4456285"/>
                  <a:gd name="connsiteY39" fmla="*/ 1870075 h 4429294"/>
                  <a:gd name="connsiteX40" fmla="*/ 90625 w 4456285"/>
                  <a:gd name="connsiteY40" fmla="*/ 1419225 h 4429294"/>
                  <a:gd name="connsiteX41" fmla="*/ 166825 w 4456285"/>
                  <a:gd name="connsiteY41" fmla="*/ 1276350 h 4429294"/>
                  <a:gd name="connsiteX42" fmla="*/ 252550 w 4456285"/>
                  <a:gd name="connsiteY42" fmla="*/ 1114425 h 4429294"/>
                  <a:gd name="connsiteX43" fmla="*/ 414475 w 4456285"/>
                  <a:gd name="connsiteY43" fmla="*/ 857250 h 4429294"/>
                  <a:gd name="connsiteX44" fmla="*/ 471625 w 4456285"/>
                  <a:gd name="connsiteY44" fmla="*/ 800100 h 4429294"/>
                  <a:gd name="connsiteX45" fmla="*/ 604975 w 4456285"/>
                  <a:gd name="connsiteY45" fmla="*/ 676275 h 4429294"/>
                  <a:gd name="connsiteX46" fmla="*/ 824050 w 4456285"/>
                  <a:gd name="connsiteY46" fmla="*/ 504825 h 4429294"/>
                  <a:gd name="connsiteX47" fmla="*/ 1103450 w 4456285"/>
                  <a:gd name="connsiteY47" fmla="*/ 311150 h 4429294"/>
                  <a:gd name="connsiteX48" fmla="*/ 1462225 w 4456285"/>
                  <a:gd name="connsiteY48" fmla="*/ 152400 h 4429294"/>
                  <a:gd name="connsiteX49" fmla="*/ 1576525 w 4456285"/>
                  <a:gd name="connsiteY49" fmla="*/ 111125 h 4429294"/>
                  <a:gd name="connsiteX50" fmla="*/ 2208350 w 4456285"/>
                  <a:gd name="connsiteY50" fmla="*/ 12700 h 4429294"/>
                  <a:gd name="connsiteX0" fmla="*/ 2237540 w 4460075"/>
                  <a:gd name="connsiteY0" fmla="*/ 0 h 4429294"/>
                  <a:gd name="connsiteX1" fmla="*/ 2561390 w 4460075"/>
                  <a:gd name="connsiteY1" fmla="*/ 15875 h 4429294"/>
                  <a:gd name="connsiteX2" fmla="*/ 2856665 w 4460075"/>
                  <a:gd name="connsiteY2" fmla="*/ 85725 h 4429294"/>
                  <a:gd name="connsiteX3" fmla="*/ 3075740 w 4460075"/>
                  <a:gd name="connsiteY3" fmla="*/ 171450 h 4429294"/>
                  <a:gd name="connsiteX4" fmla="*/ 3180515 w 4460075"/>
                  <a:gd name="connsiteY4" fmla="*/ 228600 h 4429294"/>
                  <a:gd name="connsiteX5" fmla="*/ 3361490 w 4460075"/>
                  <a:gd name="connsiteY5" fmla="*/ 323850 h 4429294"/>
                  <a:gd name="connsiteX6" fmla="*/ 3752015 w 4460075"/>
                  <a:gd name="connsiteY6" fmla="*/ 581025 h 4429294"/>
                  <a:gd name="connsiteX7" fmla="*/ 3967915 w 4460075"/>
                  <a:gd name="connsiteY7" fmla="*/ 819150 h 4429294"/>
                  <a:gd name="connsiteX8" fmla="*/ 4104440 w 4460075"/>
                  <a:gd name="connsiteY8" fmla="*/ 990600 h 4429294"/>
                  <a:gd name="connsiteX9" fmla="*/ 4190165 w 4460075"/>
                  <a:gd name="connsiteY9" fmla="*/ 1143000 h 4429294"/>
                  <a:gd name="connsiteX10" fmla="*/ 4247315 w 4460075"/>
                  <a:gd name="connsiteY10" fmla="*/ 1266825 h 4429294"/>
                  <a:gd name="connsiteX11" fmla="*/ 4285415 w 4460075"/>
                  <a:gd name="connsiteY11" fmla="*/ 1362075 h 4429294"/>
                  <a:gd name="connsiteX12" fmla="*/ 4333040 w 4460075"/>
                  <a:gd name="connsiteY12" fmla="*/ 1552575 h 4429294"/>
                  <a:gd name="connsiteX13" fmla="*/ 4371140 w 4460075"/>
                  <a:gd name="connsiteY13" fmla="*/ 1685925 h 4429294"/>
                  <a:gd name="connsiteX14" fmla="*/ 4460040 w 4460075"/>
                  <a:gd name="connsiteY14" fmla="*/ 2181225 h 4429294"/>
                  <a:gd name="connsiteX15" fmla="*/ 4387015 w 4460075"/>
                  <a:gd name="connsiteY15" fmla="*/ 2768600 h 4429294"/>
                  <a:gd name="connsiteX16" fmla="*/ 4323515 w 4460075"/>
                  <a:gd name="connsiteY16" fmla="*/ 2990850 h 4429294"/>
                  <a:gd name="connsiteX17" fmla="*/ 4218740 w 4460075"/>
                  <a:gd name="connsiteY17" fmla="*/ 3248025 h 4429294"/>
                  <a:gd name="connsiteX18" fmla="*/ 4123490 w 4460075"/>
                  <a:gd name="connsiteY18" fmla="*/ 3400425 h 4429294"/>
                  <a:gd name="connsiteX19" fmla="*/ 3999665 w 4460075"/>
                  <a:gd name="connsiteY19" fmla="*/ 3533775 h 4429294"/>
                  <a:gd name="connsiteX20" fmla="*/ 3894890 w 4460075"/>
                  <a:gd name="connsiteY20" fmla="*/ 3648075 h 4429294"/>
                  <a:gd name="connsiteX21" fmla="*/ 3599615 w 4460075"/>
                  <a:gd name="connsiteY21" fmla="*/ 3971925 h 4429294"/>
                  <a:gd name="connsiteX22" fmla="*/ 3456740 w 4460075"/>
                  <a:gd name="connsiteY22" fmla="*/ 4083050 h 4429294"/>
                  <a:gd name="connsiteX23" fmla="*/ 3161465 w 4460075"/>
                  <a:gd name="connsiteY23" fmla="*/ 4222750 h 4429294"/>
                  <a:gd name="connsiteX24" fmla="*/ 3009065 w 4460075"/>
                  <a:gd name="connsiteY24" fmla="*/ 4286250 h 4429294"/>
                  <a:gd name="connsiteX25" fmla="*/ 2875715 w 4460075"/>
                  <a:gd name="connsiteY25" fmla="*/ 4333875 h 4429294"/>
                  <a:gd name="connsiteX26" fmla="*/ 2751890 w 4460075"/>
                  <a:gd name="connsiteY26" fmla="*/ 4371975 h 4429294"/>
                  <a:gd name="connsiteX27" fmla="*/ 2520115 w 4460075"/>
                  <a:gd name="connsiteY27" fmla="*/ 4391025 h 4429294"/>
                  <a:gd name="connsiteX28" fmla="*/ 2066090 w 4460075"/>
                  <a:gd name="connsiteY28" fmla="*/ 4429125 h 4429294"/>
                  <a:gd name="connsiteX29" fmla="*/ 1875590 w 4460075"/>
                  <a:gd name="connsiteY29" fmla="*/ 4400550 h 4429294"/>
                  <a:gd name="connsiteX30" fmla="*/ 1513640 w 4460075"/>
                  <a:gd name="connsiteY30" fmla="*/ 4305300 h 4429294"/>
                  <a:gd name="connsiteX31" fmla="*/ 1272340 w 4460075"/>
                  <a:gd name="connsiteY31" fmla="*/ 4216400 h 4429294"/>
                  <a:gd name="connsiteX32" fmla="*/ 1104065 w 4460075"/>
                  <a:gd name="connsiteY32" fmla="*/ 4111625 h 4429294"/>
                  <a:gd name="connsiteX33" fmla="*/ 884990 w 4460075"/>
                  <a:gd name="connsiteY33" fmla="*/ 3968750 h 4429294"/>
                  <a:gd name="connsiteX34" fmla="*/ 551615 w 4460075"/>
                  <a:gd name="connsiteY34" fmla="*/ 3657600 h 4429294"/>
                  <a:gd name="connsiteX35" fmla="*/ 405565 w 4460075"/>
                  <a:gd name="connsiteY35" fmla="*/ 3470275 h 4429294"/>
                  <a:gd name="connsiteX36" fmla="*/ 275390 w 4460075"/>
                  <a:gd name="connsiteY36" fmla="*/ 3244850 h 4429294"/>
                  <a:gd name="connsiteX37" fmla="*/ 122990 w 4460075"/>
                  <a:gd name="connsiteY37" fmla="*/ 2892425 h 4429294"/>
                  <a:gd name="connsiteX38" fmla="*/ 15040 w 4460075"/>
                  <a:gd name="connsiteY38" fmla="*/ 2368550 h 4429294"/>
                  <a:gd name="connsiteX39" fmla="*/ 21390 w 4460075"/>
                  <a:gd name="connsiteY39" fmla="*/ 1870075 h 4429294"/>
                  <a:gd name="connsiteX40" fmla="*/ 170615 w 4460075"/>
                  <a:gd name="connsiteY40" fmla="*/ 1276350 h 4429294"/>
                  <a:gd name="connsiteX41" fmla="*/ 256340 w 4460075"/>
                  <a:gd name="connsiteY41" fmla="*/ 1114425 h 4429294"/>
                  <a:gd name="connsiteX42" fmla="*/ 418265 w 4460075"/>
                  <a:gd name="connsiteY42" fmla="*/ 857250 h 4429294"/>
                  <a:gd name="connsiteX43" fmla="*/ 475415 w 4460075"/>
                  <a:gd name="connsiteY43" fmla="*/ 800100 h 4429294"/>
                  <a:gd name="connsiteX44" fmla="*/ 608765 w 4460075"/>
                  <a:gd name="connsiteY44" fmla="*/ 676275 h 4429294"/>
                  <a:gd name="connsiteX45" fmla="*/ 827840 w 4460075"/>
                  <a:gd name="connsiteY45" fmla="*/ 504825 h 4429294"/>
                  <a:gd name="connsiteX46" fmla="*/ 1107240 w 4460075"/>
                  <a:gd name="connsiteY46" fmla="*/ 311150 h 4429294"/>
                  <a:gd name="connsiteX47" fmla="*/ 1466015 w 4460075"/>
                  <a:gd name="connsiteY47" fmla="*/ 152400 h 4429294"/>
                  <a:gd name="connsiteX48" fmla="*/ 1580315 w 4460075"/>
                  <a:gd name="connsiteY48" fmla="*/ 111125 h 4429294"/>
                  <a:gd name="connsiteX49" fmla="*/ 2212140 w 4460075"/>
                  <a:gd name="connsiteY49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57065 w 4460800"/>
                  <a:gd name="connsiteY41" fmla="*/ 1114425 h 4429294"/>
                  <a:gd name="connsiteX42" fmla="*/ 418990 w 4460800"/>
                  <a:gd name="connsiteY42" fmla="*/ 857250 h 4429294"/>
                  <a:gd name="connsiteX43" fmla="*/ 476140 w 4460800"/>
                  <a:gd name="connsiteY43" fmla="*/ 800100 h 4429294"/>
                  <a:gd name="connsiteX44" fmla="*/ 609490 w 4460800"/>
                  <a:gd name="connsiteY44" fmla="*/ 676275 h 4429294"/>
                  <a:gd name="connsiteX45" fmla="*/ 828565 w 4460800"/>
                  <a:gd name="connsiteY45" fmla="*/ 504825 h 4429294"/>
                  <a:gd name="connsiteX46" fmla="*/ 1107965 w 4460800"/>
                  <a:gd name="connsiteY46" fmla="*/ 311150 h 4429294"/>
                  <a:gd name="connsiteX47" fmla="*/ 1466740 w 4460800"/>
                  <a:gd name="connsiteY47" fmla="*/ 152400 h 4429294"/>
                  <a:gd name="connsiteX48" fmla="*/ 1581040 w 4460800"/>
                  <a:gd name="connsiteY48" fmla="*/ 111125 h 4429294"/>
                  <a:gd name="connsiteX49" fmla="*/ 2212865 w 4460800"/>
                  <a:gd name="connsiteY49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418990 w 4460800"/>
                  <a:gd name="connsiteY42" fmla="*/ 857250 h 4429294"/>
                  <a:gd name="connsiteX43" fmla="*/ 476140 w 4460800"/>
                  <a:gd name="connsiteY43" fmla="*/ 800100 h 4429294"/>
                  <a:gd name="connsiteX44" fmla="*/ 609490 w 4460800"/>
                  <a:gd name="connsiteY44" fmla="*/ 676275 h 4429294"/>
                  <a:gd name="connsiteX45" fmla="*/ 828565 w 4460800"/>
                  <a:gd name="connsiteY45" fmla="*/ 504825 h 4429294"/>
                  <a:gd name="connsiteX46" fmla="*/ 1107965 w 4460800"/>
                  <a:gd name="connsiteY46" fmla="*/ 311150 h 4429294"/>
                  <a:gd name="connsiteX47" fmla="*/ 1466740 w 4460800"/>
                  <a:gd name="connsiteY47" fmla="*/ 152400 h 4429294"/>
                  <a:gd name="connsiteX48" fmla="*/ 1581040 w 4460800"/>
                  <a:gd name="connsiteY48" fmla="*/ 111125 h 4429294"/>
                  <a:gd name="connsiteX49" fmla="*/ 2212865 w 4460800"/>
                  <a:gd name="connsiteY49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476140 w 4460800"/>
                  <a:gd name="connsiteY42" fmla="*/ 800100 h 4429294"/>
                  <a:gd name="connsiteX43" fmla="*/ 609490 w 4460800"/>
                  <a:gd name="connsiteY43" fmla="*/ 676275 h 4429294"/>
                  <a:gd name="connsiteX44" fmla="*/ 828565 w 4460800"/>
                  <a:gd name="connsiteY44" fmla="*/ 504825 h 4429294"/>
                  <a:gd name="connsiteX45" fmla="*/ 1107965 w 4460800"/>
                  <a:gd name="connsiteY45" fmla="*/ 311150 h 4429294"/>
                  <a:gd name="connsiteX46" fmla="*/ 1466740 w 4460800"/>
                  <a:gd name="connsiteY46" fmla="*/ 152400 h 4429294"/>
                  <a:gd name="connsiteX47" fmla="*/ 1581040 w 4460800"/>
                  <a:gd name="connsiteY47" fmla="*/ 111125 h 4429294"/>
                  <a:gd name="connsiteX48" fmla="*/ 2212865 w 4460800"/>
                  <a:gd name="connsiteY48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609490 w 4460800"/>
                  <a:gd name="connsiteY42" fmla="*/ 676275 h 4429294"/>
                  <a:gd name="connsiteX43" fmla="*/ 828565 w 4460800"/>
                  <a:gd name="connsiteY43" fmla="*/ 504825 h 4429294"/>
                  <a:gd name="connsiteX44" fmla="*/ 1107965 w 4460800"/>
                  <a:gd name="connsiteY44" fmla="*/ 311150 h 4429294"/>
                  <a:gd name="connsiteX45" fmla="*/ 1466740 w 4460800"/>
                  <a:gd name="connsiteY45" fmla="*/ 152400 h 4429294"/>
                  <a:gd name="connsiteX46" fmla="*/ 1581040 w 4460800"/>
                  <a:gd name="connsiteY46" fmla="*/ 111125 h 4429294"/>
                  <a:gd name="connsiteX47" fmla="*/ 2212865 w 4460800"/>
                  <a:gd name="connsiteY47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609490 w 4460800"/>
                  <a:gd name="connsiteY42" fmla="*/ 676275 h 4429294"/>
                  <a:gd name="connsiteX43" fmla="*/ 828565 w 4460800"/>
                  <a:gd name="connsiteY43" fmla="*/ 504825 h 4429294"/>
                  <a:gd name="connsiteX44" fmla="*/ 1107965 w 4460800"/>
                  <a:gd name="connsiteY44" fmla="*/ 311150 h 4429294"/>
                  <a:gd name="connsiteX45" fmla="*/ 1466740 w 4460800"/>
                  <a:gd name="connsiteY45" fmla="*/ 152400 h 4429294"/>
                  <a:gd name="connsiteX46" fmla="*/ 1581040 w 4460800"/>
                  <a:gd name="connsiteY46" fmla="*/ 111125 h 4429294"/>
                  <a:gd name="connsiteX47" fmla="*/ 2212865 w 4460800"/>
                  <a:gd name="connsiteY47" fmla="*/ 12700 h 4429294"/>
                  <a:gd name="connsiteX48" fmla="*/ 2238265 w 4460800"/>
                  <a:gd name="connsiteY48" fmla="*/ 0 h 4429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4460800" h="4429294">
                    <a:moveTo>
                      <a:pt x="2238265" y="0"/>
                    </a:moveTo>
                    <a:cubicBezTo>
                      <a:pt x="2346215" y="5292"/>
                      <a:pt x="2458928" y="1588"/>
                      <a:pt x="2562115" y="15875"/>
                    </a:cubicBezTo>
                    <a:cubicBezTo>
                      <a:pt x="2665302" y="30162"/>
                      <a:pt x="2798653" y="69321"/>
                      <a:pt x="2857390" y="85725"/>
                    </a:cubicBezTo>
                    <a:cubicBezTo>
                      <a:pt x="2943115" y="111654"/>
                      <a:pt x="3033603" y="153988"/>
                      <a:pt x="3076465" y="171450"/>
                    </a:cubicBezTo>
                    <a:cubicBezTo>
                      <a:pt x="3130440" y="195262"/>
                      <a:pt x="3133615" y="203200"/>
                      <a:pt x="3181240" y="228600"/>
                    </a:cubicBezTo>
                    <a:cubicBezTo>
                      <a:pt x="3228865" y="254000"/>
                      <a:pt x="3266965" y="265113"/>
                      <a:pt x="3362215" y="323850"/>
                    </a:cubicBezTo>
                    <a:cubicBezTo>
                      <a:pt x="3457465" y="382588"/>
                      <a:pt x="3651669" y="498475"/>
                      <a:pt x="3752740" y="581025"/>
                    </a:cubicBezTo>
                    <a:cubicBezTo>
                      <a:pt x="3853811" y="663575"/>
                      <a:pt x="3909903" y="750888"/>
                      <a:pt x="3968640" y="819150"/>
                    </a:cubicBezTo>
                    <a:cubicBezTo>
                      <a:pt x="4027378" y="887413"/>
                      <a:pt x="4068123" y="936625"/>
                      <a:pt x="4105165" y="990600"/>
                    </a:cubicBezTo>
                    <a:cubicBezTo>
                      <a:pt x="4142207" y="1044575"/>
                      <a:pt x="4175015" y="1109663"/>
                      <a:pt x="4190890" y="1143000"/>
                    </a:cubicBezTo>
                    <a:cubicBezTo>
                      <a:pt x="4214703" y="1189038"/>
                      <a:pt x="4232165" y="1230313"/>
                      <a:pt x="4248040" y="1266825"/>
                    </a:cubicBezTo>
                    <a:cubicBezTo>
                      <a:pt x="4263915" y="1303338"/>
                      <a:pt x="4271853" y="1314450"/>
                      <a:pt x="4286140" y="1362075"/>
                    </a:cubicBezTo>
                    <a:cubicBezTo>
                      <a:pt x="4300427" y="1409700"/>
                      <a:pt x="4319478" y="1498600"/>
                      <a:pt x="4333765" y="1552575"/>
                    </a:cubicBezTo>
                    <a:cubicBezTo>
                      <a:pt x="4348053" y="1606550"/>
                      <a:pt x="4350698" y="1581150"/>
                      <a:pt x="4371865" y="1685925"/>
                    </a:cubicBezTo>
                    <a:cubicBezTo>
                      <a:pt x="4393032" y="1790700"/>
                      <a:pt x="4459178" y="1982788"/>
                      <a:pt x="4460765" y="2181225"/>
                    </a:cubicBezTo>
                    <a:cubicBezTo>
                      <a:pt x="4462352" y="2379662"/>
                      <a:pt x="4410494" y="2633663"/>
                      <a:pt x="4387740" y="2768600"/>
                    </a:cubicBezTo>
                    <a:cubicBezTo>
                      <a:pt x="4364986" y="2903537"/>
                      <a:pt x="4352286" y="2910946"/>
                      <a:pt x="4324240" y="2990850"/>
                    </a:cubicBezTo>
                    <a:cubicBezTo>
                      <a:pt x="4296194" y="3070754"/>
                      <a:pt x="4252802" y="3179763"/>
                      <a:pt x="4219465" y="3248025"/>
                    </a:cubicBezTo>
                    <a:cubicBezTo>
                      <a:pt x="4186128" y="3316287"/>
                      <a:pt x="4160728" y="3352800"/>
                      <a:pt x="4124215" y="3400425"/>
                    </a:cubicBezTo>
                    <a:cubicBezTo>
                      <a:pt x="4087703" y="3448050"/>
                      <a:pt x="4038490" y="3492500"/>
                      <a:pt x="4000390" y="3533775"/>
                    </a:cubicBezTo>
                    <a:lnTo>
                      <a:pt x="3895615" y="3648075"/>
                    </a:lnTo>
                    <a:cubicBezTo>
                      <a:pt x="3797190" y="3756025"/>
                      <a:pt x="3673365" y="3899429"/>
                      <a:pt x="3600340" y="3971925"/>
                    </a:cubicBezTo>
                    <a:cubicBezTo>
                      <a:pt x="3527315" y="4044421"/>
                      <a:pt x="3530490" y="4041246"/>
                      <a:pt x="3457465" y="4083050"/>
                    </a:cubicBezTo>
                    <a:cubicBezTo>
                      <a:pt x="3384440" y="4124854"/>
                      <a:pt x="3236802" y="4188883"/>
                      <a:pt x="3162190" y="4222750"/>
                    </a:cubicBezTo>
                    <a:cubicBezTo>
                      <a:pt x="3087578" y="4256617"/>
                      <a:pt x="3038173" y="4283885"/>
                      <a:pt x="3009790" y="4286250"/>
                    </a:cubicBezTo>
                    <a:cubicBezTo>
                      <a:pt x="2947977" y="4310975"/>
                      <a:pt x="2954113" y="4309602"/>
                      <a:pt x="2876440" y="4333875"/>
                    </a:cubicBezTo>
                    <a:cubicBezTo>
                      <a:pt x="2853306" y="4341104"/>
                      <a:pt x="2811882" y="4362450"/>
                      <a:pt x="2752615" y="4371975"/>
                    </a:cubicBezTo>
                    <a:cubicBezTo>
                      <a:pt x="2693348" y="4381500"/>
                      <a:pt x="2635140" y="4381500"/>
                      <a:pt x="2520840" y="4391025"/>
                    </a:cubicBezTo>
                    <a:cubicBezTo>
                      <a:pt x="2406540" y="4400550"/>
                      <a:pt x="2174236" y="4427538"/>
                      <a:pt x="2066815" y="4429125"/>
                    </a:cubicBezTo>
                    <a:cubicBezTo>
                      <a:pt x="1959394" y="4430712"/>
                      <a:pt x="1968390" y="4421187"/>
                      <a:pt x="1876315" y="4400550"/>
                    </a:cubicBezTo>
                    <a:cubicBezTo>
                      <a:pt x="1784240" y="4379913"/>
                      <a:pt x="1614907" y="4335992"/>
                      <a:pt x="1514365" y="4305300"/>
                    </a:cubicBezTo>
                    <a:cubicBezTo>
                      <a:pt x="1413823" y="4274608"/>
                      <a:pt x="1353498" y="4246033"/>
                      <a:pt x="1273065" y="4216400"/>
                    </a:cubicBezTo>
                    <a:cubicBezTo>
                      <a:pt x="1206390" y="4187825"/>
                      <a:pt x="1169348" y="4152900"/>
                      <a:pt x="1104790" y="4111625"/>
                    </a:cubicBezTo>
                    <a:cubicBezTo>
                      <a:pt x="1040232" y="4070350"/>
                      <a:pt x="977790" y="4044421"/>
                      <a:pt x="885715" y="3968750"/>
                    </a:cubicBezTo>
                    <a:cubicBezTo>
                      <a:pt x="793640" y="3893079"/>
                      <a:pt x="632244" y="3740679"/>
                      <a:pt x="552340" y="3657600"/>
                    </a:cubicBezTo>
                    <a:cubicBezTo>
                      <a:pt x="472436" y="3574521"/>
                      <a:pt x="452327" y="3539067"/>
                      <a:pt x="406290" y="3470275"/>
                    </a:cubicBezTo>
                    <a:cubicBezTo>
                      <a:pt x="360253" y="3401483"/>
                      <a:pt x="323211" y="3341158"/>
                      <a:pt x="276115" y="3244850"/>
                    </a:cubicBezTo>
                    <a:cubicBezTo>
                      <a:pt x="229019" y="3148542"/>
                      <a:pt x="167107" y="3038475"/>
                      <a:pt x="123715" y="2892425"/>
                    </a:cubicBezTo>
                    <a:cubicBezTo>
                      <a:pt x="80323" y="2746375"/>
                      <a:pt x="37990" y="2553758"/>
                      <a:pt x="15765" y="2368550"/>
                    </a:cubicBezTo>
                    <a:cubicBezTo>
                      <a:pt x="-6460" y="2183342"/>
                      <a:pt x="-5931" y="2044700"/>
                      <a:pt x="22115" y="1870075"/>
                    </a:cubicBezTo>
                    <a:cubicBezTo>
                      <a:pt x="50161" y="1695450"/>
                      <a:pt x="139590" y="1446742"/>
                      <a:pt x="184040" y="1320800"/>
                    </a:cubicBezTo>
                    <a:cubicBezTo>
                      <a:pt x="228490" y="1194858"/>
                      <a:pt x="217907" y="1221846"/>
                      <a:pt x="288815" y="1114425"/>
                    </a:cubicBezTo>
                    <a:cubicBezTo>
                      <a:pt x="359723" y="1007004"/>
                      <a:pt x="519532" y="777875"/>
                      <a:pt x="609490" y="676275"/>
                    </a:cubicBezTo>
                    <a:cubicBezTo>
                      <a:pt x="699448" y="574675"/>
                      <a:pt x="745486" y="565679"/>
                      <a:pt x="828565" y="504825"/>
                    </a:cubicBezTo>
                    <a:cubicBezTo>
                      <a:pt x="911644" y="443971"/>
                      <a:pt x="997898" y="379942"/>
                      <a:pt x="1107965" y="311150"/>
                    </a:cubicBezTo>
                    <a:cubicBezTo>
                      <a:pt x="1214328" y="252413"/>
                      <a:pt x="1387894" y="185737"/>
                      <a:pt x="1466740" y="152400"/>
                    </a:cubicBezTo>
                    <a:cubicBezTo>
                      <a:pt x="1545586" y="119063"/>
                      <a:pt x="1456686" y="134408"/>
                      <a:pt x="1581040" y="111125"/>
                    </a:cubicBezTo>
                    <a:cubicBezTo>
                      <a:pt x="1810698" y="67733"/>
                      <a:pt x="1945107" y="-7408"/>
                      <a:pt x="2212865" y="12700"/>
                    </a:cubicBezTo>
                    <a:lnTo>
                      <a:pt x="2238265" y="0"/>
                    </a:lnTo>
                    <a:close/>
                  </a:path>
                </a:pathLst>
              </a:custGeom>
              <a:noFill/>
              <a:ln w="6350" cap="flat">
                <a:solidFill>
                  <a:schemeClr val="accent4"/>
                </a:solidFill>
                <a:prstDash val="solid"/>
                <a:miter/>
              </a:ln>
            </p:spPr>
            <p:txBody>
              <a:bodyPr rtlCol="0" anchor="t"/>
              <a:lstStyle/>
              <a:p>
                <a:pPr algn="ctr"/>
                <a:endParaRPr lang="da-DK" sz="32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2C820A41-2119-1857-B821-9BAA95FB118D}"/>
                  </a:ext>
                </a:extLst>
              </p:cNvPr>
              <p:cNvSpPr/>
              <p:nvPr/>
            </p:nvSpPr>
            <p:spPr>
              <a:xfrm>
                <a:off x="-2042540" y="813733"/>
                <a:ext cx="1131547" cy="1123556"/>
              </a:xfrm>
              <a:custGeom>
                <a:avLst/>
                <a:gdLst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944902 w 4469152"/>
                  <a:gd name="connsiteY150" fmla="*/ 476250 h 4496940"/>
                  <a:gd name="connsiteX151" fmla="*/ 1087777 w 4469152"/>
                  <a:gd name="connsiteY151" fmla="*/ 409575 h 4496940"/>
                  <a:gd name="connsiteX152" fmla="*/ 1202077 w 4469152"/>
                  <a:gd name="connsiteY152" fmla="*/ 314325 h 4496940"/>
                  <a:gd name="connsiteX153" fmla="*/ 1268752 w 4469152"/>
                  <a:gd name="connsiteY153" fmla="*/ 285750 h 4496940"/>
                  <a:gd name="connsiteX154" fmla="*/ 1411627 w 4469152"/>
                  <a:gd name="connsiteY154" fmla="*/ 190500 h 4496940"/>
                  <a:gd name="connsiteX155" fmla="*/ 1449727 w 4469152"/>
                  <a:gd name="connsiteY155" fmla="*/ 161925 h 4496940"/>
                  <a:gd name="connsiteX156" fmla="*/ 1525927 w 4469152"/>
                  <a:gd name="connsiteY156" fmla="*/ 152400 h 4496940"/>
                  <a:gd name="connsiteX157" fmla="*/ 1583077 w 4469152"/>
                  <a:gd name="connsiteY157" fmla="*/ 142875 h 4496940"/>
                  <a:gd name="connsiteX158" fmla="*/ 1716427 w 4469152"/>
                  <a:gd name="connsiteY158" fmla="*/ 123825 h 4496940"/>
                  <a:gd name="connsiteX159" fmla="*/ 1811677 w 4469152"/>
                  <a:gd name="connsiteY159" fmla="*/ 114300 h 4496940"/>
                  <a:gd name="connsiteX160" fmla="*/ 1859302 w 4469152"/>
                  <a:gd name="connsiteY160" fmla="*/ 104775 h 4496940"/>
                  <a:gd name="connsiteX161" fmla="*/ 1916452 w 4469152"/>
                  <a:gd name="connsiteY161" fmla="*/ 95250 h 4496940"/>
                  <a:gd name="connsiteX162" fmla="*/ 2030752 w 4469152"/>
                  <a:gd name="connsiteY162" fmla="*/ 66675 h 4496940"/>
                  <a:gd name="connsiteX163" fmla="*/ 2097427 w 4469152"/>
                  <a:gd name="connsiteY163" fmla="*/ 47625 h 4496940"/>
                  <a:gd name="connsiteX164" fmla="*/ 2164102 w 4469152"/>
                  <a:gd name="connsiteY164" fmla="*/ 38100 h 4496940"/>
                  <a:gd name="connsiteX165" fmla="*/ 2392702 w 4469152"/>
                  <a:gd name="connsiteY165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087777 w 4469152"/>
                  <a:gd name="connsiteY150" fmla="*/ 409575 h 4496940"/>
                  <a:gd name="connsiteX151" fmla="*/ 1202077 w 4469152"/>
                  <a:gd name="connsiteY151" fmla="*/ 314325 h 4496940"/>
                  <a:gd name="connsiteX152" fmla="*/ 1268752 w 4469152"/>
                  <a:gd name="connsiteY152" fmla="*/ 285750 h 4496940"/>
                  <a:gd name="connsiteX153" fmla="*/ 1411627 w 4469152"/>
                  <a:gd name="connsiteY153" fmla="*/ 190500 h 4496940"/>
                  <a:gd name="connsiteX154" fmla="*/ 1449727 w 4469152"/>
                  <a:gd name="connsiteY154" fmla="*/ 161925 h 4496940"/>
                  <a:gd name="connsiteX155" fmla="*/ 1525927 w 4469152"/>
                  <a:gd name="connsiteY155" fmla="*/ 152400 h 4496940"/>
                  <a:gd name="connsiteX156" fmla="*/ 1583077 w 4469152"/>
                  <a:gd name="connsiteY156" fmla="*/ 142875 h 4496940"/>
                  <a:gd name="connsiteX157" fmla="*/ 1716427 w 4469152"/>
                  <a:gd name="connsiteY157" fmla="*/ 123825 h 4496940"/>
                  <a:gd name="connsiteX158" fmla="*/ 1811677 w 4469152"/>
                  <a:gd name="connsiteY158" fmla="*/ 114300 h 4496940"/>
                  <a:gd name="connsiteX159" fmla="*/ 1859302 w 4469152"/>
                  <a:gd name="connsiteY159" fmla="*/ 104775 h 4496940"/>
                  <a:gd name="connsiteX160" fmla="*/ 1916452 w 4469152"/>
                  <a:gd name="connsiteY160" fmla="*/ 95250 h 4496940"/>
                  <a:gd name="connsiteX161" fmla="*/ 2030752 w 4469152"/>
                  <a:gd name="connsiteY161" fmla="*/ 66675 h 4496940"/>
                  <a:gd name="connsiteX162" fmla="*/ 2097427 w 4469152"/>
                  <a:gd name="connsiteY162" fmla="*/ 47625 h 4496940"/>
                  <a:gd name="connsiteX163" fmla="*/ 2164102 w 4469152"/>
                  <a:gd name="connsiteY163" fmla="*/ 38100 h 4496940"/>
                  <a:gd name="connsiteX164" fmla="*/ 2392702 w 4469152"/>
                  <a:gd name="connsiteY164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202077 w 4469152"/>
                  <a:gd name="connsiteY150" fmla="*/ 314325 h 4496940"/>
                  <a:gd name="connsiteX151" fmla="*/ 1268752 w 4469152"/>
                  <a:gd name="connsiteY151" fmla="*/ 285750 h 4496940"/>
                  <a:gd name="connsiteX152" fmla="*/ 1411627 w 4469152"/>
                  <a:gd name="connsiteY152" fmla="*/ 190500 h 4496940"/>
                  <a:gd name="connsiteX153" fmla="*/ 1449727 w 4469152"/>
                  <a:gd name="connsiteY153" fmla="*/ 161925 h 4496940"/>
                  <a:gd name="connsiteX154" fmla="*/ 1525927 w 4469152"/>
                  <a:gd name="connsiteY154" fmla="*/ 152400 h 4496940"/>
                  <a:gd name="connsiteX155" fmla="*/ 1583077 w 4469152"/>
                  <a:gd name="connsiteY155" fmla="*/ 142875 h 4496940"/>
                  <a:gd name="connsiteX156" fmla="*/ 1716427 w 4469152"/>
                  <a:gd name="connsiteY156" fmla="*/ 123825 h 4496940"/>
                  <a:gd name="connsiteX157" fmla="*/ 1811677 w 4469152"/>
                  <a:gd name="connsiteY157" fmla="*/ 114300 h 4496940"/>
                  <a:gd name="connsiteX158" fmla="*/ 1859302 w 4469152"/>
                  <a:gd name="connsiteY158" fmla="*/ 104775 h 4496940"/>
                  <a:gd name="connsiteX159" fmla="*/ 1916452 w 4469152"/>
                  <a:gd name="connsiteY159" fmla="*/ 95250 h 4496940"/>
                  <a:gd name="connsiteX160" fmla="*/ 2030752 w 4469152"/>
                  <a:gd name="connsiteY160" fmla="*/ 66675 h 4496940"/>
                  <a:gd name="connsiteX161" fmla="*/ 2097427 w 4469152"/>
                  <a:gd name="connsiteY161" fmla="*/ 47625 h 4496940"/>
                  <a:gd name="connsiteX162" fmla="*/ 2164102 w 4469152"/>
                  <a:gd name="connsiteY162" fmla="*/ 38100 h 4496940"/>
                  <a:gd name="connsiteX163" fmla="*/ 2392702 w 4469152"/>
                  <a:gd name="connsiteY163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268752 w 4469152"/>
                  <a:gd name="connsiteY150" fmla="*/ 285750 h 4496940"/>
                  <a:gd name="connsiteX151" fmla="*/ 1411627 w 4469152"/>
                  <a:gd name="connsiteY151" fmla="*/ 190500 h 4496940"/>
                  <a:gd name="connsiteX152" fmla="*/ 1449727 w 4469152"/>
                  <a:gd name="connsiteY152" fmla="*/ 161925 h 4496940"/>
                  <a:gd name="connsiteX153" fmla="*/ 1525927 w 4469152"/>
                  <a:gd name="connsiteY153" fmla="*/ 152400 h 4496940"/>
                  <a:gd name="connsiteX154" fmla="*/ 1583077 w 4469152"/>
                  <a:gd name="connsiteY154" fmla="*/ 142875 h 4496940"/>
                  <a:gd name="connsiteX155" fmla="*/ 1716427 w 4469152"/>
                  <a:gd name="connsiteY155" fmla="*/ 123825 h 4496940"/>
                  <a:gd name="connsiteX156" fmla="*/ 1811677 w 4469152"/>
                  <a:gd name="connsiteY156" fmla="*/ 114300 h 4496940"/>
                  <a:gd name="connsiteX157" fmla="*/ 1859302 w 4469152"/>
                  <a:gd name="connsiteY157" fmla="*/ 104775 h 4496940"/>
                  <a:gd name="connsiteX158" fmla="*/ 1916452 w 4469152"/>
                  <a:gd name="connsiteY158" fmla="*/ 95250 h 4496940"/>
                  <a:gd name="connsiteX159" fmla="*/ 2030752 w 4469152"/>
                  <a:gd name="connsiteY159" fmla="*/ 66675 h 4496940"/>
                  <a:gd name="connsiteX160" fmla="*/ 2097427 w 4469152"/>
                  <a:gd name="connsiteY160" fmla="*/ 47625 h 4496940"/>
                  <a:gd name="connsiteX161" fmla="*/ 2164102 w 4469152"/>
                  <a:gd name="connsiteY161" fmla="*/ 38100 h 4496940"/>
                  <a:gd name="connsiteX162" fmla="*/ 2392702 w 4469152"/>
                  <a:gd name="connsiteY162" fmla="*/ 28575 h 4496940"/>
                  <a:gd name="connsiteX0" fmla="*/ 2297452 w 4469152"/>
                  <a:gd name="connsiteY0" fmla="*/ 0 h 4496940"/>
                  <a:gd name="connsiteX1" fmla="*/ 2421277 w 4469152"/>
                  <a:gd name="connsiteY1" fmla="*/ 28575 h 4496940"/>
                  <a:gd name="connsiteX2" fmla="*/ 2497477 w 4469152"/>
                  <a:gd name="connsiteY2" fmla="*/ 47625 h 4496940"/>
                  <a:gd name="connsiteX3" fmla="*/ 2754652 w 4469152"/>
                  <a:gd name="connsiteY3" fmla="*/ 66675 h 4496940"/>
                  <a:gd name="connsiteX4" fmla="*/ 2830852 w 4469152"/>
                  <a:gd name="connsiteY4" fmla="*/ 76200 h 4496940"/>
                  <a:gd name="connsiteX5" fmla="*/ 2916577 w 4469152"/>
                  <a:gd name="connsiteY5" fmla="*/ 85725 h 4496940"/>
                  <a:gd name="connsiteX6" fmla="*/ 2973727 w 4469152"/>
                  <a:gd name="connsiteY6" fmla="*/ 114300 h 4496940"/>
                  <a:gd name="connsiteX7" fmla="*/ 3011827 w 4469152"/>
                  <a:gd name="connsiteY7" fmla="*/ 123825 h 4496940"/>
                  <a:gd name="connsiteX8" fmla="*/ 3135652 w 4469152"/>
                  <a:gd name="connsiteY8" fmla="*/ 171450 h 4496940"/>
                  <a:gd name="connsiteX9" fmla="*/ 3173752 w 4469152"/>
                  <a:gd name="connsiteY9" fmla="*/ 190500 h 4496940"/>
                  <a:gd name="connsiteX10" fmla="*/ 3240427 w 4469152"/>
                  <a:gd name="connsiteY10" fmla="*/ 228600 h 4496940"/>
                  <a:gd name="connsiteX11" fmla="*/ 3269002 w 4469152"/>
                  <a:gd name="connsiteY11" fmla="*/ 238125 h 4496940"/>
                  <a:gd name="connsiteX12" fmla="*/ 3297577 w 4469152"/>
                  <a:gd name="connsiteY12" fmla="*/ 257175 h 4496940"/>
                  <a:gd name="connsiteX13" fmla="*/ 3326152 w 4469152"/>
                  <a:gd name="connsiteY13" fmla="*/ 266700 h 4496940"/>
                  <a:gd name="connsiteX14" fmla="*/ 3354727 w 4469152"/>
                  <a:gd name="connsiteY14" fmla="*/ 285750 h 4496940"/>
                  <a:gd name="connsiteX15" fmla="*/ 3421402 w 4469152"/>
                  <a:gd name="connsiteY15" fmla="*/ 323850 h 4496940"/>
                  <a:gd name="connsiteX16" fmla="*/ 3469027 w 4469152"/>
                  <a:gd name="connsiteY16" fmla="*/ 361950 h 4496940"/>
                  <a:gd name="connsiteX17" fmla="*/ 3516652 w 4469152"/>
                  <a:gd name="connsiteY17" fmla="*/ 390525 h 4496940"/>
                  <a:gd name="connsiteX18" fmla="*/ 3545227 w 4469152"/>
                  <a:gd name="connsiteY18" fmla="*/ 419100 h 4496940"/>
                  <a:gd name="connsiteX19" fmla="*/ 3602377 w 4469152"/>
                  <a:gd name="connsiteY19" fmla="*/ 457200 h 4496940"/>
                  <a:gd name="connsiteX20" fmla="*/ 3630952 w 4469152"/>
                  <a:gd name="connsiteY20" fmla="*/ 485775 h 4496940"/>
                  <a:gd name="connsiteX21" fmla="*/ 3678577 w 4469152"/>
                  <a:gd name="connsiteY21" fmla="*/ 504825 h 4496940"/>
                  <a:gd name="connsiteX22" fmla="*/ 3745252 w 4469152"/>
                  <a:gd name="connsiteY22" fmla="*/ 542925 h 4496940"/>
                  <a:gd name="connsiteX23" fmla="*/ 3811927 w 4469152"/>
                  <a:gd name="connsiteY23" fmla="*/ 581025 h 4496940"/>
                  <a:gd name="connsiteX24" fmla="*/ 3840502 w 4469152"/>
                  <a:gd name="connsiteY24" fmla="*/ 600075 h 4496940"/>
                  <a:gd name="connsiteX25" fmla="*/ 3869077 w 4469152"/>
                  <a:gd name="connsiteY25" fmla="*/ 628650 h 4496940"/>
                  <a:gd name="connsiteX26" fmla="*/ 3907177 w 4469152"/>
                  <a:gd name="connsiteY26" fmla="*/ 647700 h 4496940"/>
                  <a:gd name="connsiteX27" fmla="*/ 3935752 w 4469152"/>
                  <a:gd name="connsiteY27" fmla="*/ 676275 h 4496940"/>
                  <a:gd name="connsiteX28" fmla="*/ 3992902 w 4469152"/>
                  <a:gd name="connsiteY28" fmla="*/ 714375 h 4496940"/>
                  <a:gd name="connsiteX29" fmla="*/ 4050052 w 4469152"/>
                  <a:gd name="connsiteY29" fmla="*/ 790575 h 4496940"/>
                  <a:gd name="connsiteX30" fmla="*/ 4078627 w 4469152"/>
                  <a:gd name="connsiteY30" fmla="*/ 838200 h 4496940"/>
                  <a:gd name="connsiteX31" fmla="*/ 4107202 w 4469152"/>
                  <a:gd name="connsiteY31" fmla="*/ 876300 h 4496940"/>
                  <a:gd name="connsiteX32" fmla="*/ 4116727 w 4469152"/>
                  <a:gd name="connsiteY32" fmla="*/ 904875 h 4496940"/>
                  <a:gd name="connsiteX33" fmla="*/ 4135777 w 4469152"/>
                  <a:gd name="connsiteY33" fmla="*/ 933450 h 4496940"/>
                  <a:gd name="connsiteX34" fmla="*/ 4164352 w 4469152"/>
                  <a:gd name="connsiteY34" fmla="*/ 990600 h 4496940"/>
                  <a:gd name="connsiteX35" fmla="*/ 4173877 w 4469152"/>
                  <a:gd name="connsiteY35" fmla="*/ 1019175 h 4496940"/>
                  <a:gd name="connsiteX36" fmla="*/ 4192927 w 4469152"/>
                  <a:gd name="connsiteY36" fmla="*/ 1057275 h 4496940"/>
                  <a:gd name="connsiteX37" fmla="*/ 4202452 w 4469152"/>
                  <a:gd name="connsiteY37" fmla="*/ 1085850 h 4496940"/>
                  <a:gd name="connsiteX38" fmla="*/ 4250077 w 4469152"/>
                  <a:gd name="connsiteY38" fmla="*/ 1143000 h 4496940"/>
                  <a:gd name="connsiteX39" fmla="*/ 4259602 w 4469152"/>
                  <a:gd name="connsiteY39" fmla="*/ 1190625 h 4496940"/>
                  <a:gd name="connsiteX40" fmla="*/ 4307227 w 4469152"/>
                  <a:gd name="connsiteY40" fmla="*/ 1266825 h 4496940"/>
                  <a:gd name="connsiteX41" fmla="*/ 4345327 w 4469152"/>
                  <a:gd name="connsiteY41" fmla="*/ 1362075 h 4496940"/>
                  <a:gd name="connsiteX42" fmla="*/ 4373902 w 4469152"/>
                  <a:gd name="connsiteY42" fmla="*/ 1428750 h 4496940"/>
                  <a:gd name="connsiteX43" fmla="*/ 4392952 w 4469152"/>
                  <a:gd name="connsiteY43" fmla="*/ 1552575 h 4496940"/>
                  <a:gd name="connsiteX44" fmla="*/ 4402477 w 4469152"/>
                  <a:gd name="connsiteY44" fmla="*/ 1590675 h 4496940"/>
                  <a:gd name="connsiteX45" fmla="*/ 4431052 w 4469152"/>
                  <a:gd name="connsiteY45" fmla="*/ 1685925 h 4496940"/>
                  <a:gd name="connsiteX46" fmla="*/ 4440577 w 4469152"/>
                  <a:gd name="connsiteY46" fmla="*/ 1762125 h 4496940"/>
                  <a:gd name="connsiteX47" fmla="*/ 4459627 w 4469152"/>
                  <a:gd name="connsiteY47" fmla="*/ 1828800 h 4496940"/>
                  <a:gd name="connsiteX48" fmla="*/ 4469152 w 4469152"/>
                  <a:gd name="connsiteY48" fmla="*/ 1933575 h 4496940"/>
                  <a:gd name="connsiteX49" fmla="*/ 4440577 w 4469152"/>
                  <a:gd name="connsiteY49" fmla="*/ 2876550 h 4496940"/>
                  <a:gd name="connsiteX50" fmla="*/ 4383427 w 4469152"/>
                  <a:gd name="connsiteY50" fmla="*/ 2990850 h 4496940"/>
                  <a:gd name="connsiteX51" fmla="*/ 4354852 w 4469152"/>
                  <a:gd name="connsiteY51" fmla="*/ 3057525 h 4496940"/>
                  <a:gd name="connsiteX52" fmla="*/ 4335802 w 4469152"/>
                  <a:gd name="connsiteY52" fmla="*/ 3095625 h 4496940"/>
                  <a:gd name="connsiteX53" fmla="*/ 4278652 w 4469152"/>
                  <a:gd name="connsiteY53" fmla="*/ 3248025 h 4496940"/>
                  <a:gd name="connsiteX54" fmla="*/ 4259602 w 4469152"/>
                  <a:gd name="connsiteY54" fmla="*/ 3276600 h 4496940"/>
                  <a:gd name="connsiteX55" fmla="*/ 4221502 w 4469152"/>
                  <a:gd name="connsiteY55" fmla="*/ 3333750 h 4496940"/>
                  <a:gd name="connsiteX56" fmla="*/ 4211977 w 4469152"/>
                  <a:gd name="connsiteY56" fmla="*/ 3362325 h 4496940"/>
                  <a:gd name="connsiteX57" fmla="*/ 4183402 w 4469152"/>
                  <a:gd name="connsiteY57" fmla="*/ 3400425 h 4496940"/>
                  <a:gd name="connsiteX58" fmla="*/ 4164352 w 4469152"/>
                  <a:gd name="connsiteY58" fmla="*/ 3429000 h 4496940"/>
                  <a:gd name="connsiteX59" fmla="*/ 4088152 w 4469152"/>
                  <a:gd name="connsiteY59" fmla="*/ 3495675 h 4496940"/>
                  <a:gd name="connsiteX60" fmla="*/ 4059577 w 4469152"/>
                  <a:gd name="connsiteY60" fmla="*/ 3533775 h 4496940"/>
                  <a:gd name="connsiteX61" fmla="*/ 4002427 w 4469152"/>
                  <a:gd name="connsiteY61" fmla="*/ 3600450 h 4496940"/>
                  <a:gd name="connsiteX62" fmla="*/ 3983377 w 4469152"/>
                  <a:gd name="connsiteY62" fmla="*/ 3629025 h 4496940"/>
                  <a:gd name="connsiteX63" fmla="*/ 3954802 w 4469152"/>
                  <a:gd name="connsiteY63" fmla="*/ 3648075 h 4496940"/>
                  <a:gd name="connsiteX64" fmla="*/ 3907177 w 4469152"/>
                  <a:gd name="connsiteY64" fmla="*/ 3686175 h 4496940"/>
                  <a:gd name="connsiteX65" fmla="*/ 3869077 w 4469152"/>
                  <a:gd name="connsiteY65" fmla="*/ 3724275 h 4496940"/>
                  <a:gd name="connsiteX66" fmla="*/ 3792877 w 4469152"/>
                  <a:gd name="connsiteY66" fmla="*/ 3781425 h 4496940"/>
                  <a:gd name="connsiteX67" fmla="*/ 3783352 w 4469152"/>
                  <a:gd name="connsiteY67" fmla="*/ 3810000 h 4496940"/>
                  <a:gd name="connsiteX68" fmla="*/ 3745252 w 4469152"/>
                  <a:gd name="connsiteY68" fmla="*/ 3819525 h 4496940"/>
                  <a:gd name="connsiteX69" fmla="*/ 3678577 w 4469152"/>
                  <a:gd name="connsiteY69" fmla="*/ 3848100 h 4496940"/>
                  <a:gd name="connsiteX70" fmla="*/ 3659527 w 4469152"/>
                  <a:gd name="connsiteY70" fmla="*/ 3971925 h 4496940"/>
                  <a:gd name="connsiteX71" fmla="*/ 3630952 w 4469152"/>
                  <a:gd name="connsiteY71" fmla="*/ 4010025 h 4496940"/>
                  <a:gd name="connsiteX72" fmla="*/ 3621427 w 4469152"/>
                  <a:gd name="connsiteY72" fmla="*/ 4038600 h 4496940"/>
                  <a:gd name="connsiteX73" fmla="*/ 3554752 w 4469152"/>
                  <a:gd name="connsiteY73" fmla="*/ 4095750 h 4496940"/>
                  <a:gd name="connsiteX74" fmla="*/ 3516652 w 4469152"/>
                  <a:gd name="connsiteY74" fmla="*/ 4114800 h 4496940"/>
                  <a:gd name="connsiteX75" fmla="*/ 3497602 w 4469152"/>
                  <a:gd name="connsiteY75" fmla="*/ 4143375 h 4496940"/>
                  <a:gd name="connsiteX76" fmla="*/ 3383302 w 4469152"/>
                  <a:gd name="connsiteY76" fmla="*/ 4210050 h 4496940"/>
                  <a:gd name="connsiteX77" fmla="*/ 3335677 w 4469152"/>
                  <a:gd name="connsiteY77" fmla="*/ 4238625 h 4496940"/>
                  <a:gd name="connsiteX78" fmla="*/ 3288052 w 4469152"/>
                  <a:gd name="connsiteY78" fmla="*/ 4248150 h 4496940"/>
                  <a:gd name="connsiteX79" fmla="*/ 3240427 w 4469152"/>
                  <a:gd name="connsiteY79" fmla="*/ 4267200 h 4496940"/>
                  <a:gd name="connsiteX80" fmla="*/ 3068977 w 4469152"/>
                  <a:gd name="connsiteY80" fmla="*/ 4286250 h 4496940"/>
                  <a:gd name="connsiteX81" fmla="*/ 2935627 w 4469152"/>
                  <a:gd name="connsiteY81" fmla="*/ 4333875 h 4496940"/>
                  <a:gd name="connsiteX82" fmla="*/ 2811802 w 4469152"/>
                  <a:gd name="connsiteY82" fmla="*/ 4371975 h 4496940"/>
                  <a:gd name="connsiteX83" fmla="*/ 2745127 w 4469152"/>
                  <a:gd name="connsiteY83" fmla="*/ 4410075 h 4496940"/>
                  <a:gd name="connsiteX84" fmla="*/ 2697502 w 4469152"/>
                  <a:gd name="connsiteY84" fmla="*/ 4429125 h 4496940"/>
                  <a:gd name="connsiteX85" fmla="*/ 2640352 w 4469152"/>
                  <a:gd name="connsiteY85" fmla="*/ 4457700 h 4496940"/>
                  <a:gd name="connsiteX86" fmla="*/ 2583202 w 4469152"/>
                  <a:gd name="connsiteY86" fmla="*/ 4467225 h 4496940"/>
                  <a:gd name="connsiteX87" fmla="*/ 2545102 w 4469152"/>
                  <a:gd name="connsiteY87" fmla="*/ 4486275 h 4496940"/>
                  <a:gd name="connsiteX88" fmla="*/ 2306977 w 4469152"/>
                  <a:gd name="connsiteY88" fmla="*/ 4476750 h 4496940"/>
                  <a:gd name="connsiteX89" fmla="*/ 2202202 w 4469152"/>
                  <a:gd name="connsiteY89" fmla="*/ 4457700 h 4496940"/>
                  <a:gd name="connsiteX90" fmla="*/ 2126002 w 4469152"/>
                  <a:gd name="connsiteY90" fmla="*/ 4429125 h 4496940"/>
                  <a:gd name="connsiteX91" fmla="*/ 1935502 w 4469152"/>
                  <a:gd name="connsiteY91" fmla="*/ 4400550 h 4496940"/>
                  <a:gd name="connsiteX92" fmla="*/ 1821202 w 4469152"/>
                  <a:gd name="connsiteY92" fmla="*/ 4371975 h 4496940"/>
                  <a:gd name="connsiteX93" fmla="*/ 1754527 w 4469152"/>
                  <a:gd name="connsiteY93" fmla="*/ 4352925 h 4496940"/>
                  <a:gd name="connsiteX94" fmla="*/ 1687852 w 4469152"/>
                  <a:gd name="connsiteY94" fmla="*/ 4343400 h 4496940"/>
                  <a:gd name="connsiteX95" fmla="*/ 1573552 w 4469152"/>
                  <a:gd name="connsiteY95" fmla="*/ 4305300 h 4496940"/>
                  <a:gd name="connsiteX96" fmla="*/ 1402102 w 4469152"/>
                  <a:gd name="connsiteY96" fmla="*/ 4276725 h 4496940"/>
                  <a:gd name="connsiteX97" fmla="*/ 1287802 w 4469152"/>
                  <a:gd name="connsiteY97" fmla="*/ 4229100 h 4496940"/>
                  <a:gd name="connsiteX98" fmla="*/ 1221127 w 4469152"/>
                  <a:gd name="connsiteY98" fmla="*/ 4200525 h 4496940"/>
                  <a:gd name="connsiteX99" fmla="*/ 1144927 w 4469152"/>
                  <a:gd name="connsiteY99" fmla="*/ 4171950 h 4496940"/>
                  <a:gd name="connsiteX100" fmla="*/ 1087777 w 4469152"/>
                  <a:gd name="connsiteY100" fmla="*/ 4143375 h 4496940"/>
                  <a:gd name="connsiteX101" fmla="*/ 1030627 w 4469152"/>
                  <a:gd name="connsiteY101" fmla="*/ 4124325 h 4496940"/>
                  <a:gd name="connsiteX102" fmla="*/ 925852 w 4469152"/>
                  <a:gd name="connsiteY102" fmla="*/ 4067175 h 4496940"/>
                  <a:gd name="connsiteX103" fmla="*/ 830602 w 4469152"/>
                  <a:gd name="connsiteY103" fmla="*/ 3981450 h 4496940"/>
                  <a:gd name="connsiteX104" fmla="*/ 763927 w 4469152"/>
                  <a:gd name="connsiteY104" fmla="*/ 3914775 h 4496940"/>
                  <a:gd name="connsiteX105" fmla="*/ 725827 w 4469152"/>
                  <a:gd name="connsiteY105" fmla="*/ 3876675 h 4496940"/>
                  <a:gd name="connsiteX106" fmla="*/ 697252 w 4469152"/>
                  <a:gd name="connsiteY106" fmla="*/ 3838575 h 4496940"/>
                  <a:gd name="connsiteX107" fmla="*/ 640102 w 4469152"/>
                  <a:gd name="connsiteY107" fmla="*/ 3781425 h 4496940"/>
                  <a:gd name="connsiteX108" fmla="*/ 611527 w 4469152"/>
                  <a:gd name="connsiteY108" fmla="*/ 3733800 h 4496940"/>
                  <a:gd name="connsiteX109" fmla="*/ 554377 w 4469152"/>
                  <a:gd name="connsiteY109" fmla="*/ 3657600 h 4496940"/>
                  <a:gd name="connsiteX110" fmla="*/ 525802 w 4469152"/>
                  <a:gd name="connsiteY110" fmla="*/ 3609975 h 4496940"/>
                  <a:gd name="connsiteX111" fmla="*/ 497227 w 4469152"/>
                  <a:gd name="connsiteY111" fmla="*/ 3552825 h 4496940"/>
                  <a:gd name="connsiteX112" fmla="*/ 440077 w 4469152"/>
                  <a:gd name="connsiteY112" fmla="*/ 3495675 h 4496940"/>
                  <a:gd name="connsiteX113" fmla="*/ 411502 w 4469152"/>
                  <a:gd name="connsiteY113" fmla="*/ 3448050 h 4496940"/>
                  <a:gd name="connsiteX114" fmla="*/ 278152 w 4469152"/>
                  <a:gd name="connsiteY114" fmla="*/ 3257550 h 4496940"/>
                  <a:gd name="connsiteX115" fmla="*/ 249577 w 4469152"/>
                  <a:gd name="connsiteY115" fmla="*/ 3200400 h 4496940"/>
                  <a:gd name="connsiteX116" fmla="*/ 240052 w 4469152"/>
                  <a:gd name="connsiteY116" fmla="*/ 3162300 h 4496940"/>
                  <a:gd name="connsiteX117" fmla="*/ 221002 w 4469152"/>
                  <a:gd name="connsiteY117" fmla="*/ 3105150 h 4496940"/>
                  <a:gd name="connsiteX118" fmla="*/ 173377 w 4469152"/>
                  <a:gd name="connsiteY118" fmla="*/ 3019425 h 4496940"/>
                  <a:gd name="connsiteX119" fmla="*/ 144802 w 4469152"/>
                  <a:gd name="connsiteY119" fmla="*/ 2924175 h 4496940"/>
                  <a:gd name="connsiteX120" fmla="*/ 68602 w 4469152"/>
                  <a:gd name="connsiteY120" fmla="*/ 2724150 h 4496940"/>
                  <a:gd name="connsiteX121" fmla="*/ 49552 w 4469152"/>
                  <a:gd name="connsiteY121" fmla="*/ 2638425 h 4496940"/>
                  <a:gd name="connsiteX122" fmla="*/ 40027 w 4469152"/>
                  <a:gd name="connsiteY122" fmla="*/ 2562225 h 4496940"/>
                  <a:gd name="connsiteX123" fmla="*/ 30502 w 4469152"/>
                  <a:gd name="connsiteY123" fmla="*/ 2514600 h 4496940"/>
                  <a:gd name="connsiteX124" fmla="*/ 11452 w 4469152"/>
                  <a:gd name="connsiteY124" fmla="*/ 2400300 h 4496940"/>
                  <a:gd name="connsiteX125" fmla="*/ 20977 w 4469152"/>
                  <a:gd name="connsiteY125" fmla="*/ 1905000 h 4496940"/>
                  <a:gd name="connsiteX126" fmla="*/ 30502 w 4469152"/>
                  <a:gd name="connsiteY126" fmla="*/ 1838325 h 4496940"/>
                  <a:gd name="connsiteX127" fmla="*/ 49552 w 4469152"/>
                  <a:gd name="connsiteY127" fmla="*/ 1781175 h 4496940"/>
                  <a:gd name="connsiteX128" fmla="*/ 59077 w 4469152"/>
                  <a:gd name="connsiteY128" fmla="*/ 1743075 h 4496940"/>
                  <a:gd name="connsiteX129" fmla="*/ 78127 w 4469152"/>
                  <a:gd name="connsiteY129" fmla="*/ 1685925 h 4496940"/>
                  <a:gd name="connsiteX130" fmla="*/ 87652 w 4469152"/>
                  <a:gd name="connsiteY130" fmla="*/ 1638300 h 4496940"/>
                  <a:gd name="connsiteX131" fmla="*/ 106702 w 4469152"/>
                  <a:gd name="connsiteY131" fmla="*/ 1590675 h 4496940"/>
                  <a:gd name="connsiteX132" fmla="*/ 135277 w 4469152"/>
                  <a:gd name="connsiteY132" fmla="*/ 1504950 h 4496940"/>
                  <a:gd name="connsiteX133" fmla="*/ 154327 w 4469152"/>
                  <a:gd name="connsiteY133" fmla="*/ 1419225 h 4496940"/>
                  <a:gd name="connsiteX134" fmla="*/ 230527 w 4469152"/>
                  <a:gd name="connsiteY134" fmla="*/ 1276350 h 4496940"/>
                  <a:gd name="connsiteX135" fmla="*/ 240052 w 4469152"/>
                  <a:gd name="connsiteY135" fmla="*/ 1247775 h 4496940"/>
                  <a:gd name="connsiteX136" fmla="*/ 268627 w 4469152"/>
                  <a:gd name="connsiteY136" fmla="*/ 1200150 h 4496940"/>
                  <a:gd name="connsiteX137" fmla="*/ 287677 w 4469152"/>
                  <a:gd name="connsiteY137" fmla="*/ 1152525 h 4496940"/>
                  <a:gd name="connsiteX138" fmla="*/ 316252 w 4469152"/>
                  <a:gd name="connsiteY138" fmla="*/ 1114425 h 4496940"/>
                  <a:gd name="connsiteX139" fmla="*/ 363877 w 4469152"/>
                  <a:gd name="connsiteY139" fmla="*/ 1038225 h 4496940"/>
                  <a:gd name="connsiteX140" fmla="*/ 382927 w 4469152"/>
                  <a:gd name="connsiteY140" fmla="*/ 1009650 h 4496940"/>
                  <a:gd name="connsiteX141" fmla="*/ 440077 w 4469152"/>
                  <a:gd name="connsiteY141" fmla="*/ 904875 h 4496940"/>
                  <a:gd name="connsiteX142" fmla="*/ 478177 w 4469152"/>
                  <a:gd name="connsiteY142" fmla="*/ 857250 h 4496940"/>
                  <a:gd name="connsiteX143" fmla="*/ 497227 w 4469152"/>
                  <a:gd name="connsiteY143" fmla="*/ 828675 h 4496940"/>
                  <a:gd name="connsiteX144" fmla="*/ 535327 w 4469152"/>
                  <a:gd name="connsiteY144" fmla="*/ 800100 h 4496940"/>
                  <a:gd name="connsiteX145" fmla="*/ 602002 w 4469152"/>
                  <a:gd name="connsiteY145" fmla="*/ 733425 h 4496940"/>
                  <a:gd name="connsiteX146" fmla="*/ 668677 w 4469152"/>
                  <a:gd name="connsiteY146" fmla="*/ 676275 h 4496940"/>
                  <a:gd name="connsiteX147" fmla="*/ 697252 w 4469152"/>
                  <a:gd name="connsiteY147" fmla="*/ 657225 h 4496940"/>
                  <a:gd name="connsiteX148" fmla="*/ 840127 w 4469152"/>
                  <a:gd name="connsiteY148" fmla="*/ 533400 h 4496940"/>
                  <a:gd name="connsiteX149" fmla="*/ 887752 w 4469152"/>
                  <a:gd name="connsiteY149" fmla="*/ 504825 h 4496940"/>
                  <a:gd name="connsiteX150" fmla="*/ 1167152 w 4469152"/>
                  <a:gd name="connsiteY150" fmla="*/ 311150 h 4496940"/>
                  <a:gd name="connsiteX151" fmla="*/ 1268752 w 4469152"/>
                  <a:gd name="connsiteY151" fmla="*/ 285750 h 4496940"/>
                  <a:gd name="connsiteX152" fmla="*/ 1411627 w 4469152"/>
                  <a:gd name="connsiteY152" fmla="*/ 190500 h 4496940"/>
                  <a:gd name="connsiteX153" fmla="*/ 1449727 w 4469152"/>
                  <a:gd name="connsiteY153" fmla="*/ 161925 h 4496940"/>
                  <a:gd name="connsiteX154" fmla="*/ 1525927 w 4469152"/>
                  <a:gd name="connsiteY154" fmla="*/ 152400 h 4496940"/>
                  <a:gd name="connsiteX155" fmla="*/ 1583077 w 4469152"/>
                  <a:gd name="connsiteY155" fmla="*/ 142875 h 4496940"/>
                  <a:gd name="connsiteX156" fmla="*/ 1716427 w 4469152"/>
                  <a:gd name="connsiteY156" fmla="*/ 123825 h 4496940"/>
                  <a:gd name="connsiteX157" fmla="*/ 1811677 w 4469152"/>
                  <a:gd name="connsiteY157" fmla="*/ 114300 h 4496940"/>
                  <a:gd name="connsiteX158" fmla="*/ 1859302 w 4469152"/>
                  <a:gd name="connsiteY158" fmla="*/ 104775 h 4496940"/>
                  <a:gd name="connsiteX159" fmla="*/ 1916452 w 4469152"/>
                  <a:gd name="connsiteY159" fmla="*/ 95250 h 4496940"/>
                  <a:gd name="connsiteX160" fmla="*/ 2030752 w 4469152"/>
                  <a:gd name="connsiteY160" fmla="*/ 66675 h 4496940"/>
                  <a:gd name="connsiteX161" fmla="*/ 2097427 w 4469152"/>
                  <a:gd name="connsiteY161" fmla="*/ 47625 h 4496940"/>
                  <a:gd name="connsiteX162" fmla="*/ 2164102 w 4469152"/>
                  <a:gd name="connsiteY162" fmla="*/ 38100 h 4496940"/>
                  <a:gd name="connsiteX163" fmla="*/ 2392702 w 4469152"/>
                  <a:gd name="connsiteY163" fmla="*/ 28575 h 4496940"/>
                  <a:gd name="connsiteX0" fmla="*/ 2297452 w 4519952"/>
                  <a:gd name="connsiteY0" fmla="*/ 0 h 4496940"/>
                  <a:gd name="connsiteX1" fmla="*/ 2421277 w 4519952"/>
                  <a:gd name="connsiteY1" fmla="*/ 28575 h 4496940"/>
                  <a:gd name="connsiteX2" fmla="*/ 2497477 w 4519952"/>
                  <a:gd name="connsiteY2" fmla="*/ 47625 h 4496940"/>
                  <a:gd name="connsiteX3" fmla="*/ 2754652 w 4519952"/>
                  <a:gd name="connsiteY3" fmla="*/ 66675 h 4496940"/>
                  <a:gd name="connsiteX4" fmla="*/ 2830852 w 4519952"/>
                  <a:gd name="connsiteY4" fmla="*/ 76200 h 4496940"/>
                  <a:gd name="connsiteX5" fmla="*/ 2916577 w 4519952"/>
                  <a:gd name="connsiteY5" fmla="*/ 85725 h 4496940"/>
                  <a:gd name="connsiteX6" fmla="*/ 2973727 w 4519952"/>
                  <a:gd name="connsiteY6" fmla="*/ 114300 h 4496940"/>
                  <a:gd name="connsiteX7" fmla="*/ 3011827 w 4519952"/>
                  <a:gd name="connsiteY7" fmla="*/ 123825 h 4496940"/>
                  <a:gd name="connsiteX8" fmla="*/ 3135652 w 4519952"/>
                  <a:gd name="connsiteY8" fmla="*/ 171450 h 4496940"/>
                  <a:gd name="connsiteX9" fmla="*/ 3173752 w 4519952"/>
                  <a:gd name="connsiteY9" fmla="*/ 190500 h 4496940"/>
                  <a:gd name="connsiteX10" fmla="*/ 3240427 w 4519952"/>
                  <a:gd name="connsiteY10" fmla="*/ 228600 h 4496940"/>
                  <a:gd name="connsiteX11" fmla="*/ 3269002 w 4519952"/>
                  <a:gd name="connsiteY11" fmla="*/ 238125 h 4496940"/>
                  <a:gd name="connsiteX12" fmla="*/ 3297577 w 4519952"/>
                  <a:gd name="connsiteY12" fmla="*/ 257175 h 4496940"/>
                  <a:gd name="connsiteX13" fmla="*/ 3326152 w 4519952"/>
                  <a:gd name="connsiteY13" fmla="*/ 266700 h 4496940"/>
                  <a:gd name="connsiteX14" fmla="*/ 3354727 w 4519952"/>
                  <a:gd name="connsiteY14" fmla="*/ 285750 h 4496940"/>
                  <a:gd name="connsiteX15" fmla="*/ 3421402 w 4519952"/>
                  <a:gd name="connsiteY15" fmla="*/ 323850 h 4496940"/>
                  <a:gd name="connsiteX16" fmla="*/ 3469027 w 4519952"/>
                  <a:gd name="connsiteY16" fmla="*/ 361950 h 4496940"/>
                  <a:gd name="connsiteX17" fmla="*/ 3516652 w 4519952"/>
                  <a:gd name="connsiteY17" fmla="*/ 390525 h 4496940"/>
                  <a:gd name="connsiteX18" fmla="*/ 3545227 w 4519952"/>
                  <a:gd name="connsiteY18" fmla="*/ 419100 h 4496940"/>
                  <a:gd name="connsiteX19" fmla="*/ 3602377 w 4519952"/>
                  <a:gd name="connsiteY19" fmla="*/ 457200 h 4496940"/>
                  <a:gd name="connsiteX20" fmla="*/ 3630952 w 4519952"/>
                  <a:gd name="connsiteY20" fmla="*/ 485775 h 4496940"/>
                  <a:gd name="connsiteX21" fmla="*/ 3678577 w 4519952"/>
                  <a:gd name="connsiteY21" fmla="*/ 504825 h 4496940"/>
                  <a:gd name="connsiteX22" fmla="*/ 3745252 w 4519952"/>
                  <a:gd name="connsiteY22" fmla="*/ 542925 h 4496940"/>
                  <a:gd name="connsiteX23" fmla="*/ 3811927 w 4519952"/>
                  <a:gd name="connsiteY23" fmla="*/ 581025 h 4496940"/>
                  <a:gd name="connsiteX24" fmla="*/ 3840502 w 4519952"/>
                  <a:gd name="connsiteY24" fmla="*/ 600075 h 4496940"/>
                  <a:gd name="connsiteX25" fmla="*/ 3869077 w 4519952"/>
                  <a:gd name="connsiteY25" fmla="*/ 628650 h 4496940"/>
                  <a:gd name="connsiteX26" fmla="*/ 3907177 w 4519952"/>
                  <a:gd name="connsiteY26" fmla="*/ 647700 h 4496940"/>
                  <a:gd name="connsiteX27" fmla="*/ 3935752 w 4519952"/>
                  <a:gd name="connsiteY27" fmla="*/ 676275 h 4496940"/>
                  <a:gd name="connsiteX28" fmla="*/ 3992902 w 4519952"/>
                  <a:gd name="connsiteY28" fmla="*/ 714375 h 4496940"/>
                  <a:gd name="connsiteX29" fmla="*/ 4050052 w 4519952"/>
                  <a:gd name="connsiteY29" fmla="*/ 790575 h 4496940"/>
                  <a:gd name="connsiteX30" fmla="*/ 4078627 w 4519952"/>
                  <a:gd name="connsiteY30" fmla="*/ 838200 h 4496940"/>
                  <a:gd name="connsiteX31" fmla="*/ 4107202 w 4519952"/>
                  <a:gd name="connsiteY31" fmla="*/ 876300 h 4496940"/>
                  <a:gd name="connsiteX32" fmla="*/ 4116727 w 4519952"/>
                  <a:gd name="connsiteY32" fmla="*/ 904875 h 4496940"/>
                  <a:gd name="connsiteX33" fmla="*/ 4135777 w 4519952"/>
                  <a:gd name="connsiteY33" fmla="*/ 933450 h 4496940"/>
                  <a:gd name="connsiteX34" fmla="*/ 4164352 w 4519952"/>
                  <a:gd name="connsiteY34" fmla="*/ 990600 h 4496940"/>
                  <a:gd name="connsiteX35" fmla="*/ 4173877 w 4519952"/>
                  <a:gd name="connsiteY35" fmla="*/ 1019175 h 4496940"/>
                  <a:gd name="connsiteX36" fmla="*/ 4192927 w 4519952"/>
                  <a:gd name="connsiteY36" fmla="*/ 1057275 h 4496940"/>
                  <a:gd name="connsiteX37" fmla="*/ 4202452 w 4519952"/>
                  <a:gd name="connsiteY37" fmla="*/ 1085850 h 4496940"/>
                  <a:gd name="connsiteX38" fmla="*/ 4250077 w 4519952"/>
                  <a:gd name="connsiteY38" fmla="*/ 1143000 h 4496940"/>
                  <a:gd name="connsiteX39" fmla="*/ 4259602 w 4519952"/>
                  <a:gd name="connsiteY39" fmla="*/ 1190625 h 4496940"/>
                  <a:gd name="connsiteX40" fmla="*/ 4307227 w 4519952"/>
                  <a:gd name="connsiteY40" fmla="*/ 1266825 h 4496940"/>
                  <a:gd name="connsiteX41" fmla="*/ 4345327 w 4519952"/>
                  <a:gd name="connsiteY41" fmla="*/ 1362075 h 4496940"/>
                  <a:gd name="connsiteX42" fmla="*/ 4373902 w 4519952"/>
                  <a:gd name="connsiteY42" fmla="*/ 1428750 h 4496940"/>
                  <a:gd name="connsiteX43" fmla="*/ 4392952 w 4519952"/>
                  <a:gd name="connsiteY43" fmla="*/ 1552575 h 4496940"/>
                  <a:gd name="connsiteX44" fmla="*/ 4402477 w 4519952"/>
                  <a:gd name="connsiteY44" fmla="*/ 1590675 h 4496940"/>
                  <a:gd name="connsiteX45" fmla="*/ 4431052 w 4519952"/>
                  <a:gd name="connsiteY45" fmla="*/ 1685925 h 4496940"/>
                  <a:gd name="connsiteX46" fmla="*/ 4440577 w 4519952"/>
                  <a:gd name="connsiteY46" fmla="*/ 1762125 h 4496940"/>
                  <a:gd name="connsiteX47" fmla="*/ 4459627 w 4519952"/>
                  <a:gd name="connsiteY47" fmla="*/ 1828800 h 4496940"/>
                  <a:gd name="connsiteX48" fmla="*/ 4519952 w 4519952"/>
                  <a:gd name="connsiteY48" fmla="*/ 2181225 h 4496940"/>
                  <a:gd name="connsiteX49" fmla="*/ 4440577 w 4519952"/>
                  <a:gd name="connsiteY49" fmla="*/ 2876550 h 4496940"/>
                  <a:gd name="connsiteX50" fmla="*/ 4383427 w 4519952"/>
                  <a:gd name="connsiteY50" fmla="*/ 2990850 h 4496940"/>
                  <a:gd name="connsiteX51" fmla="*/ 4354852 w 4519952"/>
                  <a:gd name="connsiteY51" fmla="*/ 3057525 h 4496940"/>
                  <a:gd name="connsiteX52" fmla="*/ 4335802 w 4519952"/>
                  <a:gd name="connsiteY52" fmla="*/ 3095625 h 4496940"/>
                  <a:gd name="connsiteX53" fmla="*/ 4278652 w 4519952"/>
                  <a:gd name="connsiteY53" fmla="*/ 3248025 h 4496940"/>
                  <a:gd name="connsiteX54" fmla="*/ 4259602 w 4519952"/>
                  <a:gd name="connsiteY54" fmla="*/ 3276600 h 4496940"/>
                  <a:gd name="connsiteX55" fmla="*/ 4221502 w 4519952"/>
                  <a:gd name="connsiteY55" fmla="*/ 3333750 h 4496940"/>
                  <a:gd name="connsiteX56" fmla="*/ 4211977 w 4519952"/>
                  <a:gd name="connsiteY56" fmla="*/ 3362325 h 4496940"/>
                  <a:gd name="connsiteX57" fmla="*/ 4183402 w 4519952"/>
                  <a:gd name="connsiteY57" fmla="*/ 3400425 h 4496940"/>
                  <a:gd name="connsiteX58" fmla="*/ 4164352 w 4519952"/>
                  <a:gd name="connsiteY58" fmla="*/ 3429000 h 4496940"/>
                  <a:gd name="connsiteX59" fmla="*/ 4088152 w 4519952"/>
                  <a:gd name="connsiteY59" fmla="*/ 3495675 h 4496940"/>
                  <a:gd name="connsiteX60" fmla="*/ 4059577 w 4519952"/>
                  <a:gd name="connsiteY60" fmla="*/ 3533775 h 4496940"/>
                  <a:gd name="connsiteX61" fmla="*/ 4002427 w 4519952"/>
                  <a:gd name="connsiteY61" fmla="*/ 3600450 h 4496940"/>
                  <a:gd name="connsiteX62" fmla="*/ 3983377 w 4519952"/>
                  <a:gd name="connsiteY62" fmla="*/ 3629025 h 4496940"/>
                  <a:gd name="connsiteX63" fmla="*/ 3954802 w 4519952"/>
                  <a:gd name="connsiteY63" fmla="*/ 3648075 h 4496940"/>
                  <a:gd name="connsiteX64" fmla="*/ 3907177 w 4519952"/>
                  <a:gd name="connsiteY64" fmla="*/ 3686175 h 4496940"/>
                  <a:gd name="connsiteX65" fmla="*/ 3869077 w 4519952"/>
                  <a:gd name="connsiteY65" fmla="*/ 3724275 h 4496940"/>
                  <a:gd name="connsiteX66" fmla="*/ 3792877 w 4519952"/>
                  <a:gd name="connsiteY66" fmla="*/ 3781425 h 4496940"/>
                  <a:gd name="connsiteX67" fmla="*/ 3783352 w 4519952"/>
                  <a:gd name="connsiteY67" fmla="*/ 3810000 h 4496940"/>
                  <a:gd name="connsiteX68" fmla="*/ 3745252 w 4519952"/>
                  <a:gd name="connsiteY68" fmla="*/ 3819525 h 4496940"/>
                  <a:gd name="connsiteX69" fmla="*/ 3678577 w 4519952"/>
                  <a:gd name="connsiteY69" fmla="*/ 3848100 h 4496940"/>
                  <a:gd name="connsiteX70" fmla="*/ 3659527 w 4519952"/>
                  <a:gd name="connsiteY70" fmla="*/ 3971925 h 4496940"/>
                  <a:gd name="connsiteX71" fmla="*/ 3630952 w 4519952"/>
                  <a:gd name="connsiteY71" fmla="*/ 4010025 h 4496940"/>
                  <a:gd name="connsiteX72" fmla="*/ 3621427 w 4519952"/>
                  <a:gd name="connsiteY72" fmla="*/ 4038600 h 4496940"/>
                  <a:gd name="connsiteX73" fmla="*/ 3554752 w 4519952"/>
                  <a:gd name="connsiteY73" fmla="*/ 4095750 h 4496940"/>
                  <a:gd name="connsiteX74" fmla="*/ 3516652 w 4519952"/>
                  <a:gd name="connsiteY74" fmla="*/ 4114800 h 4496940"/>
                  <a:gd name="connsiteX75" fmla="*/ 3497602 w 4519952"/>
                  <a:gd name="connsiteY75" fmla="*/ 4143375 h 4496940"/>
                  <a:gd name="connsiteX76" fmla="*/ 3383302 w 4519952"/>
                  <a:gd name="connsiteY76" fmla="*/ 4210050 h 4496940"/>
                  <a:gd name="connsiteX77" fmla="*/ 3335677 w 4519952"/>
                  <a:gd name="connsiteY77" fmla="*/ 4238625 h 4496940"/>
                  <a:gd name="connsiteX78" fmla="*/ 3288052 w 4519952"/>
                  <a:gd name="connsiteY78" fmla="*/ 4248150 h 4496940"/>
                  <a:gd name="connsiteX79" fmla="*/ 3240427 w 4519952"/>
                  <a:gd name="connsiteY79" fmla="*/ 4267200 h 4496940"/>
                  <a:gd name="connsiteX80" fmla="*/ 3068977 w 4519952"/>
                  <a:gd name="connsiteY80" fmla="*/ 4286250 h 4496940"/>
                  <a:gd name="connsiteX81" fmla="*/ 2935627 w 4519952"/>
                  <a:gd name="connsiteY81" fmla="*/ 4333875 h 4496940"/>
                  <a:gd name="connsiteX82" fmla="*/ 2811802 w 4519952"/>
                  <a:gd name="connsiteY82" fmla="*/ 4371975 h 4496940"/>
                  <a:gd name="connsiteX83" fmla="*/ 2745127 w 4519952"/>
                  <a:gd name="connsiteY83" fmla="*/ 4410075 h 4496940"/>
                  <a:gd name="connsiteX84" fmla="*/ 2697502 w 4519952"/>
                  <a:gd name="connsiteY84" fmla="*/ 4429125 h 4496940"/>
                  <a:gd name="connsiteX85" fmla="*/ 2640352 w 4519952"/>
                  <a:gd name="connsiteY85" fmla="*/ 4457700 h 4496940"/>
                  <a:gd name="connsiteX86" fmla="*/ 2583202 w 4519952"/>
                  <a:gd name="connsiteY86" fmla="*/ 4467225 h 4496940"/>
                  <a:gd name="connsiteX87" fmla="*/ 2545102 w 4519952"/>
                  <a:gd name="connsiteY87" fmla="*/ 4486275 h 4496940"/>
                  <a:gd name="connsiteX88" fmla="*/ 2306977 w 4519952"/>
                  <a:gd name="connsiteY88" fmla="*/ 4476750 h 4496940"/>
                  <a:gd name="connsiteX89" fmla="*/ 2202202 w 4519952"/>
                  <a:gd name="connsiteY89" fmla="*/ 4457700 h 4496940"/>
                  <a:gd name="connsiteX90" fmla="*/ 2126002 w 4519952"/>
                  <a:gd name="connsiteY90" fmla="*/ 4429125 h 4496940"/>
                  <a:gd name="connsiteX91" fmla="*/ 1935502 w 4519952"/>
                  <a:gd name="connsiteY91" fmla="*/ 4400550 h 4496940"/>
                  <a:gd name="connsiteX92" fmla="*/ 1821202 w 4519952"/>
                  <a:gd name="connsiteY92" fmla="*/ 4371975 h 4496940"/>
                  <a:gd name="connsiteX93" fmla="*/ 1754527 w 4519952"/>
                  <a:gd name="connsiteY93" fmla="*/ 4352925 h 4496940"/>
                  <a:gd name="connsiteX94" fmla="*/ 1687852 w 4519952"/>
                  <a:gd name="connsiteY94" fmla="*/ 4343400 h 4496940"/>
                  <a:gd name="connsiteX95" fmla="*/ 1573552 w 4519952"/>
                  <a:gd name="connsiteY95" fmla="*/ 4305300 h 4496940"/>
                  <a:gd name="connsiteX96" fmla="*/ 1402102 w 4519952"/>
                  <a:gd name="connsiteY96" fmla="*/ 4276725 h 4496940"/>
                  <a:gd name="connsiteX97" fmla="*/ 1287802 w 4519952"/>
                  <a:gd name="connsiteY97" fmla="*/ 4229100 h 4496940"/>
                  <a:gd name="connsiteX98" fmla="*/ 1221127 w 4519952"/>
                  <a:gd name="connsiteY98" fmla="*/ 4200525 h 4496940"/>
                  <a:gd name="connsiteX99" fmla="*/ 1144927 w 4519952"/>
                  <a:gd name="connsiteY99" fmla="*/ 4171950 h 4496940"/>
                  <a:gd name="connsiteX100" fmla="*/ 1087777 w 4519952"/>
                  <a:gd name="connsiteY100" fmla="*/ 4143375 h 4496940"/>
                  <a:gd name="connsiteX101" fmla="*/ 1030627 w 4519952"/>
                  <a:gd name="connsiteY101" fmla="*/ 4124325 h 4496940"/>
                  <a:gd name="connsiteX102" fmla="*/ 925852 w 4519952"/>
                  <a:gd name="connsiteY102" fmla="*/ 4067175 h 4496940"/>
                  <a:gd name="connsiteX103" fmla="*/ 830602 w 4519952"/>
                  <a:gd name="connsiteY103" fmla="*/ 3981450 h 4496940"/>
                  <a:gd name="connsiteX104" fmla="*/ 763927 w 4519952"/>
                  <a:gd name="connsiteY104" fmla="*/ 3914775 h 4496940"/>
                  <a:gd name="connsiteX105" fmla="*/ 725827 w 4519952"/>
                  <a:gd name="connsiteY105" fmla="*/ 3876675 h 4496940"/>
                  <a:gd name="connsiteX106" fmla="*/ 697252 w 4519952"/>
                  <a:gd name="connsiteY106" fmla="*/ 3838575 h 4496940"/>
                  <a:gd name="connsiteX107" fmla="*/ 640102 w 4519952"/>
                  <a:gd name="connsiteY107" fmla="*/ 3781425 h 4496940"/>
                  <a:gd name="connsiteX108" fmla="*/ 611527 w 4519952"/>
                  <a:gd name="connsiteY108" fmla="*/ 3733800 h 4496940"/>
                  <a:gd name="connsiteX109" fmla="*/ 554377 w 4519952"/>
                  <a:gd name="connsiteY109" fmla="*/ 3657600 h 4496940"/>
                  <a:gd name="connsiteX110" fmla="*/ 525802 w 4519952"/>
                  <a:gd name="connsiteY110" fmla="*/ 3609975 h 4496940"/>
                  <a:gd name="connsiteX111" fmla="*/ 497227 w 4519952"/>
                  <a:gd name="connsiteY111" fmla="*/ 3552825 h 4496940"/>
                  <a:gd name="connsiteX112" fmla="*/ 440077 w 4519952"/>
                  <a:gd name="connsiteY112" fmla="*/ 3495675 h 4496940"/>
                  <a:gd name="connsiteX113" fmla="*/ 411502 w 4519952"/>
                  <a:gd name="connsiteY113" fmla="*/ 3448050 h 4496940"/>
                  <a:gd name="connsiteX114" fmla="*/ 278152 w 4519952"/>
                  <a:gd name="connsiteY114" fmla="*/ 3257550 h 4496940"/>
                  <a:gd name="connsiteX115" fmla="*/ 249577 w 4519952"/>
                  <a:gd name="connsiteY115" fmla="*/ 3200400 h 4496940"/>
                  <a:gd name="connsiteX116" fmla="*/ 240052 w 4519952"/>
                  <a:gd name="connsiteY116" fmla="*/ 3162300 h 4496940"/>
                  <a:gd name="connsiteX117" fmla="*/ 221002 w 4519952"/>
                  <a:gd name="connsiteY117" fmla="*/ 3105150 h 4496940"/>
                  <a:gd name="connsiteX118" fmla="*/ 173377 w 4519952"/>
                  <a:gd name="connsiteY118" fmla="*/ 3019425 h 4496940"/>
                  <a:gd name="connsiteX119" fmla="*/ 144802 w 4519952"/>
                  <a:gd name="connsiteY119" fmla="*/ 2924175 h 4496940"/>
                  <a:gd name="connsiteX120" fmla="*/ 68602 w 4519952"/>
                  <a:gd name="connsiteY120" fmla="*/ 2724150 h 4496940"/>
                  <a:gd name="connsiteX121" fmla="*/ 49552 w 4519952"/>
                  <a:gd name="connsiteY121" fmla="*/ 2638425 h 4496940"/>
                  <a:gd name="connsiteX122" fmla="*/ 40027 w 4519952"/>
                  <a:gd name="connsiteY122" fmla="*/ 2562225 h 4496940"/>
                  <a:gd name="connsiteX123" fmla="*/ 30502 w 4519952"/>
                  <a:gd name="connsiteY123" fmla="*/ 2514600 h 4496940"/>
                  <a:gd name="connsiteX124" fmla="*/ 11452 w 4519952"/>
                  <a:gd name="connsiteY124" fmla="*/ 2400300 h 4496940"/>
                  <a:gd name="connsiteX125" fmla="*/ 20977 w 4519952"/>
                  <a:gd name="connsiteY125" fmla="*/ 1905000 h 4496940"/>
                  <a:gd name="connsiteX126" fmla="*/ 30502 w 4519952"/>
                  <a:gd name="connsiteY126" fmla="*/ 1838325 h 4496940"/>
                  <a:gd name="connsiteX127" fmla="*/ 49552 w 4519952"/>
                  <a:gd name="connsiteY127" fmla="*/ 1781175 h 4496940"/>
                  <a:gd name="connsiteX128" fmla="*/ 59077 w 4519952"/>
                  <a:gd name="connsiteY128" fmla="*/ 1743075 h 4496940"/>
                  <a:gd name="connsiteX129" fmla="*/ 78127 w 4519952"/>
                  <a:gd name="connsiteY129" fmla="*/ 1685925 h 4496940"/>
                  <a:gd name="connsiteX130" fmla="*/ 87652 w 4519952"/>
                  <a:gd name="connsiteY130" fmla="*/ 1638300 h 4496940"/>
                  <a:gd name="connsiteX131" fmla="*/ 106702 w 4519952"/>
                  <a:gd name="connsiteY131" fmla="*/ 1590675 h 4496940"/>
                  <a:gd name="connsiteX132" fmla="*/ 135277 w 4519952"/>
                  <a:gd name="connsiteY132" fmla="*/ 1504950 h 4496940"/>
                  <a:gd name="connsiteX133" fmla="*/ 154327 w 4519952"/>
                  <a:gd name="connsiteY133" fmla="*/ 1419225 h 4496940"/>
                  <a:gd name="connsiteX134" fmla="*/ 230527 w 4519952"/>
                  <a:gd name="connsiteY134" fmla="*/ 1276350 h 4496940"/>
                  <a:gd name="connsiteX135" fmla="*/ 240052 w 4519952"/>
                  <a:gd name="connsiteY135" fmla="*/ 1247775 h 4496940"/>
                  <a:gd name="connsiteX136" fmla="*/ 268627 w 4519952"/>
                  <a:gd name="connsiteY136" fmla="*/ 1200150 h 4496940"/>
                  <a:gd name="connsiteX137" fmla="*/ 287677 w 4519952"/>
                  <a:gd name="connsiteY137" fmla="*/ 1152525 h 4496940"/>
                  <a:gd name="connsiteX138" fmla="*/ 316252 w 4519952"/>
                  <a:gd name="connsiteY138" fmla="*/ 1114425 h 4496940"/>
                  <a:gd name="connsiteX139" fmla="*/ 363877 w 4519952"/>
                  <a:gd name="connsiteY139" fmla="*/ 1038225 h 4496940"/>
                  <a:gd name="connsiteX140" fmla="*/ 382927 w 4519952"/>
                  <a:gd name="connsiteY140" fmla="*/ 1009650 h 4496940"/>
                  <a:gd name="connsiteX141" fmla="*/ 440077 w 4519952"/>
                  <a:gd name="connsiteY141" fmla="*/ 904875 h 4496940"/>
                  <a:gd name="connsiteX142" fmla="*/ 478177 w 4519952"/>
                  <a:gd name="connsiteY142" fmla="*/ 857250 h 4496940"/>
                  <a:gd name="connsiteX143" fmla="*/ 497227 w 4519952"/>
                  <a:gd name="connsiteY143" fmla="*/ 828675 h 4496940"/>
                  <a:gd name="connsiteX144" fmla="*/ 535327 w 4519952"/>
                  <a:gd name="connsiteY144" fmla="*/ 800100 h 4496940"/>
                  <a:gd name="connsiteX145" fmla="*/ 602002 w 4519952"/>
                  <a:gd name="connsiteY145" fmla="*/ 733425 h 4496940"/>
                  <a:gd name="connsiteX146" fmla="*/ 668677 w 4519952"/>
                  <a:gd name="connsiteY146" fmla="*/ 676275 h 4496940"/>
                  <a:gd name="connsiteX147" fmla="*/ 697252 w 4519952"/>
                  <a:gd name="connsiteY147" fmla="*/ 657225 h 4496940"/>
                  <a:gd name="connsiteX148" fmla="*/ 840127 w 4519952"/>
                  <a:gd name="connsiteY148" fmla="*/ 533400 h 4496940"/>
                  <a:gd name="connsiteX149" fmla="*/ 887752 w 4519952"/>
                  <a:gd name="connsiteY149" fmla="*/ 504825 h 4496940"/>
                  <a:gd name="connsiteX150" fmla="*/ 1167152 w 4519952"/>
                  <a:gd name="connsiteY150" fmla="*/ 311150 h 4496940"/>
                  <a:gd name="connsiteX151" fmla="*/ 1268752 w 4519952"/>
                  <a:gd name="connsiteY151" fmla="*/ 285750 h 4496940"/>
                  <a:gd name="connsiteX152" fmla="*/ 1411627 w 4519952"/>
                  <a:gd name="connsiteY152" fmla="*/ 190500 h 4496940"/>
                  <a:gd name="connsiteX153" fmla="*/ 1449727 w 4519952"/>
                  <a:gd name="connsiteY153" fmla="*/ 161925 h 4496940"/>
                  <a:gd name="connsiteX154" fmla="*/ 1525927 w 4519952"/>
                  <a:gd name="connsiteY154" fmla="*/ 152400 h 4496940"/>
                  <a:gd name="connsiteX155" fmla="*/ 1583077 w 4519952"/>
                  <a:gd name="connsiteY155" fmla="*/ 142875 h 4496940"/>
                  <a:gd name="connsiteX156" fmla="*/ 1716427 w 4519952"/>
                  <a:gd name="connsiteY156" fmla="*/ 123825 h 4496940"/>
                  <a:gd name="connsiteX157" fmla="*/ 1811677 w 4519952"/>
                  <a:gd name="connsiteY157" fmla="*/ 114300 h 4496940"/>
                  <a:gd name="connsiteX158" fmla="*/ 1859302 w 4519952"/>
                  <a:gd name="connsiteY158" fmla="*/ 104775 h 4496940"/>
                  <a:gd name="connsiteX159" fmla="*/ 1916452 w 4519952"/>
                  <a:gd name="connsiteY159" fmla="*/ 95250 h 4496940"/>
                  <a:gd name="connsiteX160" fmla="*/ 2030752 w 4519952"/>
                  <a:gd name="connsiteY160" fmla="*/ 66675 h 4496940"/>
                  <a:gd name="connsiteX161" fmla="*/ 2097427 w 4519952"/>
                  <a:gd name="connsiteY161" fmla="*/ 47625 h 4496940"/>
                  <a:gd name="connsiteX162" fmla="*/ 2164102 w 4519952"/>
                  <a:gd name="connsiteY162" fmla="*/ 38100 h 4496940"/>
                  <a:gd name="connsiteX163" fmla="*/ 2392702 w 4519952"/>
                  <a:gd name="connsiteY163" fmla="*/ 28575 h 4496940"/>
                  <a:gd name="connsiteX0" fmla="*/ 2297452 w 4519952"/>
                  <a:gd name="connsiteY0" fmla="*/ 0 h 4496940"/>
                  <a:gd name="connsiteX1" fmla="*/ 2421277 w 4519952"/>
                  <a:gd name="connsiteY1" fmla="*/ 28575 h 4496940"/>
                  <a:gd name="connsiteX2" fmla="*/ 2497477 w 4519952"/>
                  <a:gd name="connsiteY2" fmla="*/ 47625 h 4496940"/>
                  <a:gd name="connsiteX3" fmla="*/ 2754652 w 4519952"/>
                  <a:gd name="connsiteY3" fmla="*/ 66675 h 4496940"/>
                  <a:gd name="connsiteX4" fmla="*/ 2830852 w 4519952"/>
                  <a:gd name="connsiteY4" fmla="*/ 76200 h 4496940"/>
                  <a:gd name="connsiteX5" fmla="*/ 2916577 w 4519952"/>
                  <a:gd name="connsiteY5" fmla="*/ 85725 h 4496940"/>
                  <a:gd name="connsiteX6" fmla="*/ 2973727 w 4519952"/>
                  <a:gd name="connsiteY6" fmla="*/ 114300 h 4496940"/>
                  <a:gd name="connsiteX7" fmla="*/ 3011827 w 4519952"/>
                  <a:gd name="connsiteY7" fmla="*/ 123825 h 4496940"/>
                  <a:gd name="connsiteX8" fmla="*/ 3135652 w 4519952"/>
                  <a:gd name="connsiteY8" fmla="*/ 171450 h 4496940"/>
                  <a:gd name="connsiteX9" fmla="*/ 3173752 w 4519952"/>
                  <a:gd name="connsiteY9" fmla="*/ 190500 h 4496940"/>
                  <a:gd name="connsiteX10" fmla="*/ 3240427 w 4519952"/>
                  <a:gd name="connsiteY10" fmla="*/ 228600 h 4496940"/>
                  <a:gd name="connsiteX11" fmla="*/ 3269002 w 4519952"/>
                  <a:gd name="connsiteY11" fmla="*/ 238125 h 4496940"/>
                  <a:gd name="connsiteX12" fmla="*/ 3297577 w 4519952"/>
                  <a:gd name="connsiteY12" fmla="*/ 257175 h 4496940"/>
                  <a:gd name="connsiteX13" fmla="*/ 3326152 w 4519952"/>
                  <a:gd name="connsiteY13" fmla="*/ 266700 h 4496940"/>
                  <a:gd name="connsiteX14" fmla="*/ 3354727 w 4519952"/>
                  <a:gd name="connsiteY14" fmla="*/ 285750 h 4496940"/>
                  <a:gd name="connsiteX15" fmla="*/ 3421402 w 4519952"/>
                  <a:gd name="connsiteY15" fmla="*/ 323850 h 4496940"/>
                  <a:gd name="connsiteX16" fmla="*/ 3469027 w 4519952"/>
                  <a:gd name="connsiteY16" fmla="*/ 361950 h 4496940"/>
                  <a:gd name="connsiteX17" fmla="*/ 3516652 w 4519952"/>
                  <a:gd name="connsiteY17" fmla="*/ 390525 h 4496940"/>
                  <a:gd name="connsiteX18" fmla="*/ 3545227 w 4519952"/>
                  <a:gd name="connsiteY18" fmla="*/ 419100 h 4496940"/>
                  <a:gd name="connsiteX19" fmla="*/ 3602377 w 4519952"/>
                  <a:gd name="connsiteY19" fmla="*/ 457200 h 4496940"/>
                  <a:gd name="connsiteX20" fmla="*/ 3630952 w 4519952"/>
                  <a:gd name="connsiteY20" fmla="*/ 485775 h 4496940"/>
                  <a:gd name="connsiteX21" fmla="*/ 3678577 w 4519952"/>
                  <a:gd name="connsiteY21" fmla="*/ 504825 h 4496940"/>
                  <a:gd name="connsiteX22" fmla="*/ 3745252 w 4519952"/>
                  <a:gd name="connsiteY22" fmla="*/ 542925 h 4496940"/>
                  <a:gd name="connsiteX23" fmla="*/ 3811927 w 4519952"/>
                  <a:gd name="connsiteY23" fmla="*/ 581025 h 4496940"/>
                  <a:gd name="connsiteX24" fmla="*/ 3840502 w 4519952"/>
                  <a:gd name="connsiteY24" fmla="*/ 600075 h 4496940"/>
                  <a:gd name="connsiteX25" fmla="*/ 3869077 w 4519952"/>
                  <a:gd name="connsiteY25" fmla="*/ 628650 h 4496940"/>
                  <a:gd name="connsiteX26" fmla="*/ 3907177 w 4519952"/>
                  <a:gd name="connsiteY26" fmla="*/ 647700 h 4496940"/>
                  <a:gd name="connsiteX27" fmla="*/ 3935752 w 4519952"/>
                  <a:gd name="connsiteY27" fmla="*/ 676275 h 4496940"/>
                  <a:gd name="connsiteX28" fmla="*/ 3992902 w 4519952"/>
                  <a:gd name="connsiteY28" fmla="*/ 714375 h 4496940"/>
                  <a:gd name="connsiteX29" fmla="*/ 4050052 w 4519952"/>
                  <a:gd name="connsiteY29" fmla="*/ 790575 h 4496940"/>
                  <a:gd name="connsiteX30" fmla="*/ 4078627 w 4519952"/>
                  <a:gd name="connsiteY30" fmla="*/ 838200 h 4496940"/>
                  <a:gd name="connsiteX31" fmla="*/ 4107202 w 4519952"/>
                  <a:gd name="connsiteY31" fmla="*/ 876300 h 4496940"/>
                  <a:gd name="connsiteX32" fmla="*/ 4116727 w 4519952"/>
                  <a:gd name="connsiteY32" fmla="*/ 904875 h 4496940"/>
                  <a:gd name="connsiteX33" fmla="*/ 4135777 w 4519952"/>
                  <a:gd name="connsiteY33" fmla="*/ 933450 h 4496940"/>
                  <a:gd name="connsiteX34" fmla="*/ 4164352 w 4519952"/>
                  <a:gd name="connsiteY34" fmla="*/ 990600 h 4496940"/>
                  <a:gd name="connsiteX35" fmla="*/ 4173877 w 4519952"/>
                  <a:gd name="connsiteY35" fmla="*/ 1019175 h 4496940"/>
                  <a:gd name="connsiteX36" fmla="*/ 4192927 w 4519952"/>
                  <a:gd name="connsiteY36" fmla="*/ 1057275 h 4496940"/>
                  <a:gd name="connsiteX37" fmla="*/ 4202452 w 4519952"/>
                  <a:gd name="connsiteY37" fmla="*/ 1085850 h 4496940"/>
                  <a:gd name="connsiteX38" fmla="*/ 4250077 w 4519952"/>
                  <a:gd name="connsiteY38" fmla="*/ 1143000 h 4496940"/>
                  <a:gd name="connsiteX39" fmla="*/ 4259602 w 4519952"/>
                  <a:gd name="connsiteY39" fmla="*/ 1190625 h 4496940"/>
                  <a:gd name="connsiteX40" fmla="*/ 4307227 w 4519952"/>
                  <a:gd name="connsiteY40" fmla="*/ 1266825 h 4496940"/>
                  <a:gd name="connsiteX41" fmla="*/ 4345327 w 4519952"/>
                  <a:gd name="connsiteY41" fmla="*/ 1362075 h 4496940"/>
                  <a:gd name="connsiteX42" fmla="*/ 4373902 w 4519952"/>
                  <a:gd name="connsiteY42" fmla="*/ 1428750 h 4496940"/>
                  <a:gd name="connsiteX43" fmla="*/ 4392952 w 4519952"/>
                  <a:gd name="connsiteY43" fmla="*/ 1552575 h 4496940"/>
                  <a:gd name="connsiteX44" fmla="*/ 4402477 w 4519952"/>
                  <a:gd name="connsiteY44" fmla="*/ 1590675 h 4496940"/>
                  <a:gd name="connsiteX45" fmla="*/ 4431052 w 4519952"/>
                  <a:gd name="connsiteY45" fmla="*/ 1685925 h 4496940"/>
                  <a:gd name="connsiteX46" fmla="*/ 4459627 w 4519952"/>
                  <a:gd name="connsiteY46" fmla="*/ 1828800 h 4496940"/>
                  <a:gd name="connsiteX47" fmla="*/ 4519952 w 4519952"/>
                  <a:gd name="connsiteY47" fmla="*/ 2181225 h 4496940"/>
                  <a:gd name="connsiteX48" fmla="*/ 4440577 w 4519952"/>
                  <a:gd name="connsiteY48" fmla="*/ 2876550 h 4496940"/>
                  <a:gd name="connsiteX49" fmla="*/ 4383427 w 4519952"/>
                  <a:gd name="connsiteY49" fmla="*/ 2990850 h 4496940"/>
                  <a:gd name="connsiteX50" fmla="*/ 4354852 w 4519952"/>
                  <a:gd name="connsiteY50" fmla="*/ 3057525 h 4496940"/>
                  <a:gd name="connsiteX51" fmla="*/ 4335802 w 4519952"/>
                  <a:gd name="connsiteY51" fmla="*/ 3095625 h 4496940"/>
                  <a:gd name="connsiteX52" fmla="*/ 4278652 w 4519952"/>
                  <a:gd name="connsiteY52" fmla="*/ 3248025 h 4496940"/>
                  <a:gd name="connsiteX53" fmla="*/ 4259602 w 4519952"/>
                  <a:gd name="connsiteY53" fmla="*/ 3276600 h 4496940"/>
                  <a:gd name="connsiteX54" fmla="*/ 4221502 w 4519952"/>
                  <a:gd name="connsiteY54" fmla="*/ 3333750 h 4496940"/>
                  <a:gd name="connsiteX55" fmla="*/ 4211977 w 4519952"/>
                  <a:gd name="connsiteY55" fmla="*/ 3362325 h 4496940"/>
                  <a:gd name="connsiteX56" fmla="*/ 4183402 w 4519952"/>
                  <a:gd name="connsiteY56" fmla="*/ 3400425 h 4496940"/>
                  <a:gd name="connsiteX57" fmla="*/ 4164352 w 4519952"/>
                  <a:gd name="connsiteY57" fmla="*/ 3429000 h 4496940"/>
                  <a:gd name="connsiteX58" fmla="*/ 4088152 w 4519952"/>
                  <a:gd name="connsiteY58" fmla="*/ 3495675 h 4496940"/>
                  <a:gd name="connsiteX59" fmla="*/ 4059577 w 4519952"/>
                  <a:gd name="connsiteY59" fmla="*/ 3533775 h 4496940"/>
                  <a:gd name="connsiteX60" fmla="*/ 4002427 w 4519952"/>
                  <a:gd name="connsiteY60" fmla="*/ 3600450 h 4496940"/>
                  <a:gd name="connsiteX61" fmla="*/ 3983377 w 4519952"/>
                  <a:gd name="connsiteY61" fmla="*/ 3629025 h 4496940"/>
                  <a:gd name="connsiteX62" fmla="*/ 3954802 w 4519952"/>
                  <a:gd name="connsiteY62" fmla="*/ 3648075 h 4496940"/>
                  <a:gd name="connsiteX63" fmla="*/ 3907177 w 4519952"/>
                  <a:gd name="connsiteY63" fmla="*/ 3686175 h 4496940"/>
                  <a:gd name="connsiteX64" fmla="*/ 3869077 w 4519952"/>
                  <a:gd name="connsiteY64" fmla="*/ 3724275 h 4496940"/>
                  <a:gd name="connsiteX65" fmla="*/ 3792877 w 4519952"/>
                  <a:gd name="connsiteY65" fmla="*/ 3781425 h 4496940"/>
                  <a:gd name="connsiteX66" fmla="*/ 3783352 w 4519952"/>
                  <a:gd name="connsiteY66" fmla="*/ 3810000 h 4496940"/>
                  <a:gd name="connsiteX67" fmla="*/ 3745252 w 4519952"/>
                  <a:gd name="connsiteY67" fmla="*/ 3819525 h 4496940"/>
                  <a:gd name="connsiteX68" fmla="*/ 3678577 w 4519952"/>
                  <a:gd name="connsiteY68" fmla="*/ 3848100 h 4496940"/>
                  <a:gd name="connsiteX69" fmla="*/ 3659527 w 4519952"/>
                  <a:gd name="connsiteY69" fmla="*/ 3971925 h 4496940"/>
                  <a:gd name="connsiteX70" fmla="*/ 3630952 w 4519952"/>
                  <a:gd name="connsiteY70" fmla="*/ 4010025 h 4496940"/>
                  <a:gd name="connsiteX71" fmla="*/ 3621427 w 4519952"/>
                  <a:gd name="connsiteY71" fmla="*/ 4038600 h 4496940"/>
                  <a:gd name="connsiteX72" fmla="*/ 3554752 w 4519952"/>
                  <a:gd name="connsiteY72" fmla="*/ 4095750 h 4496940"/>
                  <a:gd name="connsiteX73" fmla="*/ 3516652 w 4519952"/>
                  <a:gd name="connsiteY73" fmla="*/ 4114800 h 4496940"/>
                  <a:gd name="connsiteX74" fmla="*/ 3497602 w 4519952"/>
                  <a:gd name="connsiteY74" fmla="*/ 4143375 h 4496940"/>
                  <a:gd name="connsiteX75" fmla="*/ 3383302 w 4519952"/>
                  <a:gd name="connsiteY75" fmla="*/ 4210050 h 4496940"/>
                  <a:gd name="connsiteX76" fmla="*/ 3335677 w 4519952"/>
                  <a:gd name="connsiteY76" fmla="*/ 4238625 h 4496940"/>
                  <a:gd name="connsiteX77" fmla="*/ 3288052 w 4519952"/>
                  <a:gd name="connsiteY77" fmla="*/ 4248150 h 4496940"/>
                  <a:gd name="connsiteX78" fmla="*/ 3240427 w 4519952"/>
                  <a:gd name="connsiteY78" fmla="*/ 4267200 h 4496940"/>
                  <a:gd name="connsiteX79" fmla="*/ 3068977 w 4519952"/>
                  <a:gd name="connsiteY79" fmla="*/ 4286250 h 4496940"/>
                  <a:gd name="connsiteX80" fmla="*/ 2935627 w 4519952"/>
                  <a:gd name="connsiteY80" fmla="*/ 4333875 h 4496940"/>
                  <a:gd name="connsiteX81" fmla="*/ 2811802 w 4519952"/>
                  <a:gd name="connsiteY81" fmla="*/ 4371975 h 4496940"/>
                  <a:gd name="connsiteX82" fmla="*/ 2745127 w 4519952"/>
                  <a:gd name="connsiteY82" fmla="*/ 4410075 h 4496940"/>
                  <a:gd name="connsiteX83" fmla="*/ 2697502 w 4519952"/>
                  <a:gd name="connsiteY83" fmla="*/ 4429125 h 4496940"/>
                  <a:gd name="connsiteX84" fmla="*/ 2640352 w 4519952"/>
                  <a:gd name="connsiteY84" fmla="*/ 4457700 h 4496940"/>
                  <a:gd name="connsiteX85" fmla="*/ 2583202 w 4519952"/>
                  <a:gd name="connsiteY85" fmla="*/ 4467225 h 4496940"/>
                  <a:gd name="connsiteX86" fmla="*/ 2545102 w 4519952"/>
                  <a:gd name="connsiteY86" fmla="*/ 4486275 h 4496940"/>
                  <a:gd name="connsiteX87" fmla="*/ 2306977 w 4519952"/>
                  <a:gd name="connsiteY87" fmla="*/ 4476750 h 4496940"/>
                  <a:gd name="connsiteX88" fmla="*/ 2202202 w 4519952"/>
                  <a:gd name="connsiteY88" fmla="*/ 4457700 h 4496940"/>
                  <a:gd name="connsiteX89" fmla="*/ 2126002 w 4519952"/>
                  <a:gd name="connsiteY89" fmla="*/ 4429125 h 4496940"/>
                  <a:gd name="connsiteX90" fmla="*/ 1935502 w 4519952"/>
                  <a:gd name="connsiteY90" fmla="*/ 4400550 h 4496940"/>
                  <a:gd name="connsiteX91" fmla="*/ 1821202 w 4519952"/>
                  <a:gd name="connsiteY91" fmla="*/ 4371975 h 4496940"/>
                  <a:gd name="connsiteX92" fmla="*/ 1754527 w 4519952"/>
                  <a:gd name="connsiteY92" fmla="*/ 4352925 h 4496940"/>
                  <a:gd name="connsiteX93" fmla="*/ 1687852 w 4519952"/>
                  <a:gd name="connsiteY93" fmla="*/ 4343400 h 4496940"/>
                  <a:gd name="connsiteX94" fmla="*/ 1573552 w 4519952"/>
                  <a:gd name="connsiteY94" fmla="*/ 4305300 h 4496940"/>
                  <a:gd name="connsiteX95" fmla="*/ 1402102 w 4519952"/>
                  <a:gd name="connsiteY95" fmla="*/ 4276725 h 4496940"/>
                  <a:gd name="connsiteX96" fmla="*/ 1287802 w 4519952"/>
                  <a:gd name="connsiteY96" fmla="*/ 4229100 h 4496940"/>
                  <a:gd name="connsiteX97" fmla="*/ 1221127 w 4519952"/>
                  <a:gd name="connsiteY97" fmla="*/ 4200525 h 4496940"/>
                  <a:gd name="connsiteX98" fmla="*/ 1144927 w 4519952"/>
                  <a:gd name="connsiteY98" fmla="*/ 4171950 h 4496940"/>
                  <a:gd name="connsiteX99" fmla="*/ 1087777 w 4519952"/>
                  <a:gd name="connsiteY99" fmla="*/ 4143375 h 4496940"/>
                  <a:gd name="connsiteX100" fmla="*/ 1030627 w 4519952"/>
                  <a:gd name="connsiteY100" fmla="*/ 4124325 h 4496940"/>
                  <a:gd name="connsiteX101" fmla="*/ 925852 w 4519952"/>
                  <a:gd name="connsiteY101" fmla="*/ 4067175 h 4496940"/>
                  <a:gd name="connsiteX102" fmla="*/ 830602 w 4519952"/>
                  <a:gd name="connsiteY102" fmla="*/ 3981450 h 4496940"/>
                  <a:gd name="connsiteX103" fmla="*/ 763927 w 4519952"/>
                  <a:gd name="connsiteY103" fmla="*/ 3914775 h 4496940"/>
                  <a:gd name="connsiteX104" fmla="*/ 725827 w 4519952"/>
                  <a:gd name="connsiteY104" fmla="*/ 3876675 h 4496940"/>
                  <a:gd name="connsiteX105" fmla="*/ 697252 w 4519952"/>
                  <a:gd name="connsiteY105" fmla="*/ 3838575 h 4496940"/>
                  <a:gd name="connsiteX106" fmla="*/ 640102 w 4519952"/>
                  <a:gd name="connsiteY106" fmla="*/ 3781425 h 4496940"/>
                  <a:gd name="connsiteX107" fmla="*/ 611527 w 4519952"/>
                  <a:gd name="connsiteY107" fmla="*/ 3733800 h 4496940"/>
                  <a:gd name="connsiteX108" fmla="*/ 554377 w 4519952"/>
                  <a:gd name="connsiteY108" fmla="*/ 3657600 h 4496940"/>
                  <a:gd name="connsiteX109" fmla="*/ 525802 w 4519952"/>
                  <a:gd name="connsiteY109" fmla="*/ 3609975 h 4496940"/>
                  <a:gd name="connsiteX110" fmla="*/ 497227 w 4519952"/>
                  <a:gd name="connsiteY110" fmla="*/ 3552825 h 4496940"/>
                  <a:gd name="connsiteX111" fmla="*/ 440077 w 4519952"/>
                  <a:gd name="connsiteY111" fmla="*/ 3495675 h 4496940"/>
                  <a:gd name="connsiteX112" fmla="*/ 411502 w 4519952"/>
                  <a:gd name="connsiteY112" fmla="*/ 3448050 h 4496940"/>
                  <a:gd name="connsiteX113" fmla="*/ 278152 w 4519952"/>
                  <a:gd name="connsiteY113" fmla="*/ 3257550 h 4496940"/>
                  <a:gd name="connsiteX114" fmla="*/ 249577 w 4519952"/>
                  <a:gd name="connsiteY114" fmla="*/ 3200400 h 4496940"/>
                  <a:gd name="connsiteX115" fmla="*/ 240052 w 4519952"/>
                  <a:gd name="connsiteY115" fmla="*/ 3162300 h 4496940"/>
                  <a:gd name="connsiteX116" fmla="*/ 221002 w 4519952"/>
                  <a:gd name="connsiteY116" fmla="*/ 3105150 h 4496940"/>
                  <a:gd name="connsiteX117" fmla="*/ 173377 w 4519952"/>
                  <a:gd name="connsiteY117" fmla="*/ 3019425 h 4496940"/>
                  <a:gd name="connsiteX118" fmla="*/ 144802 w 4519952"/>
                  <a:gd name="connsiteY118" fmla="*/ 2924175 h 4496940"/>
                  <a:gd name="connsiteX119" fmla="*/ 68602 w 4519952"/>
                  <a:gd name="connsiteY119" fmla="*/ 2724150 h 4496940"/>
                  <a:gd name="connsiteX120" fmla="*/ 49552 w 4519952"/>
                  <a:gd name="connsiteY120" fmla="*/ 2638425 h 4496940"/>
                  <a:gd name="connsiteX121" fmla="*/ 40027 w 4519952"/>
                  <a:gd name="connsiteY121" fmla="*/ 2562225 h 4496940"/>
                  <a:gd name="connsiteX122" fmla="*/ 30502 w 4519952"/>
                  <a:gd name="connsiteY122" fmla="*/ 2514600 h 4496940"/>
                  <a:gd name="connsiteX123" fmla="*/ 11452 w 4519952"/>
                  <a:gd name="connsiteY123" fmla="*/ 2400300 h 4496940"/>
                  <a:gd name="connsiteX124" fmla="*/ 20977 w 4519952"/>
                  <a:gd name="connsiteY124" fmla="*/ 1905000 h 4496940"/>
                  <a:gd name="connsiteX125" fmla="*/ 30502 w 4519952"/>
                  <a:gd name="connsiteY125" fmla="*/ 1838325 h 4496940"/>
                  <a:gd name="connsiteX126" fmla="*/ 49552 w 4519952"/>
                  <a:gd name="connsiteY126" fmla="*/ 1781175 h 4496940"/>
                  <a:gd name="connsiteX127" fmla="*/ 59077 w 4519952"/>
                  <a:gd name="connsiteY127" fmla="*/ 1743075 h 4496940"/>
                  <a:gd name="connsiteX128" fmla="*/ 78127 w 4519952"/>
                  <a:gd name="connsiteY128" fmla="*/ 1685925 h 4496940"/>
                  <a:gd name="connsiteX129" fmla="*/ 87652 w 4519952"/>
                  <a:gd name="connsiteY129" fmla="*/ 1638300 h 4496940"/>
                  <a:gd name="connsiteX130" fmla="*/ 106702 w 4519952"/>
                  <a:gd name="connsiteY130" fmla="*/ 1590675 h 4496940"/>
                  <a:gd name="connsiteX131" fmla="*/ 135277 w 4519952"/>
                  <a:gd name="connsiteY131" fmla="*/ 1504950 h 4496940"/>
                  <a:gd name="connsiteX132" fmla="*/ 154327 w 4519952"/>
                  <a:gd name="connsiteY132" fmla="*/ 1419225 h 4496940"/>
                  <a:gd name="connsiteX133" fmla="*/ 230527 w 4519952"/>
                  <a:gd name="connsiteY133" fmla="*/ 1276350 h 4496940"/>
                  <a:gd name="connsiteX134" fmla="*/ 240052 w 4519952"/>
                  <a:gd name="connsiteY134" fmla="*/ 1247775 h 4496940"/>
                  <a:gd name="connsiteX135" fmla="*/ 268627 w 4519952"/>
                  <a:gd name="connsiteY135" fmla="*/ 1200150 h 4496940"/>
                  <a:gd name="connsiteX136" fmla="*/ 287677 w 4519952"/>
                  <a:gd name="connsiteY136" fmla="*/ 1152525 h 4496940"/>
                  <a:gd name="connsiteX137" fmla="*/ 316252 w 4519952"/>
                  <a:gd name="connsiteY137" fmla="*/ 1114425 h 4496940"/>
                  <a:gd name="connsiteX138" fmla="*/ 363877 w 4519952"/>
                  <a:gd name="connsiteY138" fmla="*/ 1038225 h 4496940"/>
                  <a:gd name="connsiteX139" fmla="*/ 382927 w 4519952"/>
                  <a:gd name="connsiteY139" fmla="*/ 1009650 h 4496940"/>
                  <a:gd name="connsiteX140" fmla="*/ 440077 w 4519952"/>
                  <a:gd name="connsiteY140" fmla="*/ 904875 h 4496940"/>
                  <a:gd name="connsiteX141" fmla="*/ 478177 w 4519952"/>
                  <a:gd name="connsiteY141" fmla="*/ 857250 h 4496940"/>
                  <a:gd name="connsiteX142" fmla="*/ 497227 w 4519952"/>
                  <a:gd name="connsiteY142" fmla="*/ 828675 h 4496940"/>
                  <a:gd name="connsiteX143" fmla="*/ 535327 w 4519952"/>
                  <a:gd name="connsiteY143" fmla="*/ 800100 h 4496940"/>
                  <a:gd name="connsiteX144" fmla="*/ 602002 w 4519952"/>
                  <a:gd name="connsiteY144" fmla="*/ 733425 h 4496940"/>
                  <a:gd name="connsiteX145" fmla="*/ 668677 w 4519952"/>
                  <a:gd name="connsiteY145" fmla="*/ 676275 h 4496940"/>
                  <a:gd name="connsiteX146" fmla="*/ 697252 w 4519952"/>
                  <a:gd name="connsiteY146" fmla="*/ 657225 h 4496940"/>
                  <a:gd name="connsiteX147" fmla="*/ 840127 w 4519952"/>
                  <a:gd name="connsiteY147" fmla="*/ 533400 h 4496940"/>
                  <a:gd name="connsiteX148" fmla="*/ 887752 w 4519952"/>
                  <a:gd name="connsiteY148" fmla="*/ 504825 h 4496940"/>
                  <a:gd name="connsiteX149" fmla="*/ 1167152 w 4519952"/>
                  <a:gd name="connsiteY149" fmla="*/ 311150 h 4496940"/>
                  <a:gd name="connsiteX150" fmla="*/ 1268752 w 4519952"/>
                  <a:gd name="connsiteY150" fmla="*/ 285750 h 4496940"/>
                  <a:gd name="connsiteX151" fmla="*/ 1411627 w 4519952"/>
                  <a:gd name="connsiteY151" fmla="*/ 190500 h 4496940"/>
                  <a:gd name="connsiteX152" fmla="*/ 1449727 w 4519952"/>
                  <a:gd name="connsiteY152" fmla="*/ 161925 h 4496940"/>
                  <a:gd name="connsiteX153" fmla="*/ 1525927 w 4519952"/>
                  <a:gd name="connsiteY153" fmla="*/ 152400 h 4496940"/>
                  <a:gd name="connsiteX154" fmla="*/ 1583077 w 4519952"/>
                  <a:gd name="connsiteY154" fmla="*/ 142875 h 4496940"/>
                  <a:gd name="connsiteX155" fmla="*/ 1716427 w 4519952"/>
                  <a:gd name="connsiteY155" fmla="*/ 123825 h 4496940"/>
                  <a:gd name="connsiteX156" fmla="*/ 1811677 w 4519952"/>
                  <a:gd name="connsiteY156" fmla="*/ 114300 h 4496940"/>
                  <a:gd name="connsiteX157" fmla="*/ 1859302 w 4519952"/>
                  <a:gd name="connsiteY157" fmla="*/ 104775 h 4496940"/>
                  <a:gd name="connsiteX158" fmla="*/ 1916452 w 4519952"/>
                  <a:gd name="connsiteY158" fmla="*/ 95250 h 4496940"/>
                  <a:gd name="connsiteX159" fmla="*/ 2030752 w 4519952"/>
                  <a:gd name="connsiteY159" fmla="*/ 66675 h 4496940"/>
                  <a:gd name="connsiteX160" fmla="*/ 2097427 w 4519952"/>
                  <a:gd name="connsiteY160" fmla="*/ 47625 h 4496940"/>
                  <a:gd name="connsiteX161" fmla="*/ 2164102 w 4519952"/>
                  <a:gd name="connsiteY161" fmla="*/ 38100 h 4496940"/>
                  <a:gd name="connsiteX162" fmla="*/ 2392702 w 4519952"/>
                  <a:gd name="connsiteY162" fmla="*/ 28575 h 4496940"/>
                  <a:gd name="connsiteX0" fmla="*/ 2297452 w 4519983"/>
                  <a:gd name="connsiteY0" fmla="*/ 0 h 4496940"/>
                  <a:gd name="connsiteX1" fmla="*/ 2421277 w 4519983"/>
                  <a:gd name="connsiteY1" fmla="*/ 28575 h 4496940"/>
                  <a:gd name="connsiteX2" fmla="*/ 2497477 w 4519983"/>
                  <a:gd name="connsiteY2" fmla="*/ 47625 h 4496940"/>
                  <a:gd name="connsiteX3" fmla="*/ 2754652 w 4519983"/>
                  <a:gd name="connsiteY3" fmla="*/ 66675 h 4496940"/>
                  <a:gd name="connsiteX4" fmla="*/ 2830852 w 4519983"/>
                  <a:gd name="connsiteY4" fmla="*/ 76200 h 4496940"/>
                  <a:gd name="connsiteX5" fmla="*/ 2916577 w 4519983"/>
                  <a:gd name="connsiteY5" fmla="*/ 85725 h 4496940"/>
                  <a:gd name="connsiteX6" fmla="*/ 2973727 w 4519983"/>
                  <a:gd name="connsiteY6" fmla="*/ 114300 h 4496940"/>
                  <a:gd name="connsiteX7" fmla="*/ 3011827 w 4519983"/>
                  <a:gd name="connsiteY7" fmla="*/ 123825 h 4496940"/>
                  <a:gd name="connsiteX8" fmla="*/ 3135652 w 4519983"/>
                  <a:gd name="connsiteY8" fmla="*/ 171450 h 4496940"/>
                  <a:gd name="connsiteX9" fmla="*/ 3173752 w 4519983"/>
                  <a:gd name="connsiteY9" fmla="*/ 190500 h 4496940"/>
                  <a:gd name="connsiteX10" fmla="*/ 3240427 w 4519983"/>
                  <a:gd name="connsiteY10" fmla="*/ 228600 h 4496940"/>
                  <a:gd name="connsiteX11" fmla="*/ 3269002 w 4519983"/>
                  <a:gd name="connsiteY11" fmla="*/ 238125 h 4496940"/>
                  <a:gd name="connsiteX12" fmla="*/ 3297577 w 4519983"/>
                  <a:gd name="connsiteY12" fmla="*/ 257175 h 4496940"/>
                  <a:gd name="connsiteX13" fmla="*/ 3326152 w 4519983"/>
                  <a:gd name="connsiteY13" fmla="*/ 266700 h 4496940"/>
                  <a:gd name="connsiteX14" fmla="*/ 3354727 w 4519983"/>
                  <a:gd name="connsiteY14" fmla="*/ 285750 h 4496940"/>
                  <a:gd name="connsiteX15" fmla="*/ 3421402 w 4519983"/>
                  <a:gd name="connsiteY15" fmla="*/ 323850 h 4496940"/>
                  <a:gd name="connsiteX16" fmla="*/ 3469027 w 4519983"/>
                  <a:gd name="connsiteY16" fmla="*/ 361950 h 4496940"/>
                  <a:gd name="connsiteX17" fmla="*/ 3516652 w 4519983"/>
                  <a:gd name="connsiteY17" fmla="*/ 390525 h 4496940"/>
                  <a:gd name="connsiteX18" fmla="*/ 3545227 w 4519983"/>
                  <a:gd name="connsiteY18" fmla="*/ 419100 h 4496940"/>
                  <a:gd name="connsiteX19" fmla="*/ 3602377 w 4519983"/>
                  <a:gd name="connsiteY19" fmla="*/ 457200 h 4496940"/>
                  <a:gd name="connsiteX20" fmla="*/ 3630952 w 4519983"/>
                  <a:gd name="connsiteY20" fmla="*/ 485775 h 4496940"/>
                  <a:gd name="connsiteX21" fmla="*/ 3678577 w 4519983"/>
                  <a:gd name="connsiteY21" fmla="*/ 504825 h 4496940"/>
                  <a:gd name="connsiteX22" fmla="*/ 3745252 w 4519983"/>
                  <a:gd name="connsiteY22" fmla="*/ 542925 h 4496940"/>
                  <a:gd name="connsiteX23" fmla="*/ 3811927 w 4519983"/>
                  <a:gd name="connsiteY23" fmla="*/ 581025 h 4496940"/>
                  <a:gd name="connsiteX24" fmla="*/ 3840502 w 4519983"/>
                  <a:gd name="connsiteY24" fmla="*/ 600075 h 4496940"/>
                  <a:gd name="connsiteX25" fmla="*/ 3869077 w 4519983"/>
                  <a:gd name="connsiteY25" fmla="*/ 628650 h 4496940"/>
                  <a:gd name="connsiteX26" fmla="*/ 3907177 w 4519983"/>
                  <a:gd name="connsiteY26" fmla="*/ 647700 h 4496940"/>
                  <a:gd name="connsiteX27" fmla="*/ 3935752 w 4519983"/>
                  <a:gd name="connsiteY27" fmla="*/ 676275 h 4496940"/>
                  <a:gd name="connsiteX28" fmla="*/ 3992902 w 4519983"/>
                  <a:gd name="connsiteY28" fmla="*/ 714375 h 4496940"/>
                  <a:gd name="connsiteX29" fmla="*/ 4050052 w 4519983"/>
                  <a:gd name="connsiteY29" fmla="*/ 790575 h 4496940"/>
                  <a:gd name="connsiteX30" fmla="*/ 4078627 w 4519983"/>
                  <a:gd name="connsiteY30" fmla="*/ 838200 h 4496940"/>
                  <a:gd name="connsiteX31" fmla="*/ 4107202 w 4519983"/>
                  <a:gd name="connsiteY31" fmla="*/ 876300 h 4496940"/>
                  <a:gd name="connsiteX32" fmla="*/ 4116727 w 4519983"/>
                  <a:gd name="connsiteY32" fmla="*/ 904875 h 4496940"/>
                  <a:gd name="connsiteX33" fmla="*/ 4135777 w 4519983"/>
                  <a:gd name="connsiteY33" fmla="*/ 933450 h 4496940"/>
                  <a:gd name="connsiteX34" fmla="*/ 4164352 w 4519983"/>
                  <a:gd name="connsiteY34" fmla="*/ 990600 h 4496940"/>
                  <a:gd name="connsiteX35" fmla="*/ 4173877 w 4519983"/>
                  <a:gd name="connsiteY35" fmla="*/ 1019175 h 4496940"/>
                  <a:gd name="connsiteX36" fmla="*/ 4192927 w 4519983"/>
                  <a:gd name="connsiteY36" fmla="*/ 1057275 h 4496940"/>
                  <a:gd name="connsiteX37" fmla="*/ 4202452 w 4519983"/>
                  <a:gd name="connsiteY37" fmla="*/ 1085850 h 4496940"/>
                  <a:gd name="connsiteX38" fmla="*/ 4250077 w 4519983"/>
                  <a:gd name="connsiteY38" fmla="*/ 1143000 h 4496940"/>
                  <a:gd name="connsiteX39" fmla="*/ 4259602 w 4519983"/>
                  <a:gd name="connsiteY39" fmla="*/ 1190625 h 4496940"/>
                  <a:gd name="connsiteX40" fmla="*/ 4307227 w 4519983"/>
                  <a:gd name="connsiteY40" fmla="*/ 1266825 h 4496940"/>
                  <a:gd name="connsiteX41" fmla="*/ 4345327 w 4519983"/>
                  <a:gd name="connsiteY41" fmla="*/ 1362075 h 4496940"/>
                  <a:gd name="connsiteX42" fmla="*/ 4373902 w 4519983"/>
                  <a:gd name="connsiteY42" fmla="*/ 1428750 h 4496940"/>
                  <a:gd name="connsiteX43" fmla="*/ 4392952 w 4519983"/>
                  <a:gd name="connsiteY43" fmla="*/ 1552575 h 4496940"/>
                  <a:gd name="connsiteX44" fmla="*/ 4402477 w 4519983"/>
                  <a:gd name="connsiteY44" fmla="*/ 1590675 h 4496940"/>
                  <a:gd name="connsiteX45" fmla="*/ 4431052 w 4519983"/>
                  <a:gd name="connsiteY45" fmla="*/ 1685925 h 4496940"/>
                  <a:gd name="connsiteX46" fmla="*/ 4519952 w 4519983"/>
                  <a:gd name="connsiteY46" fmla="*/ 2181225 h 4496940"/>
                  <a:gd name="connsiteX47" fmla="*/ 4440577 w 4519983"/>
                  <a:gd name="connsiteY47" fmla="*/ 2876550 h 4496940"/>
                  <a:gd name="connsiteX48" fmla="*/ 4383427 w 4519983"/>
                  <a:gd name="connsiteY48" fmla="*/ 2990850 h 4496940"/>
                  <a:gd name="connsiteX49" fmla="*/ 4354852 w 4519983"/>
                  <a:gd name="connsiteY49" fmla="*/ 3057525 h 4496940"/>
                  <a:gd name="connsiteX50" fmla="*/ 4335802 w 4519983"/>
                  <a:gd name="connsiteY50" fmla="*/ 3095625 h 4496940"/>
                  <a:gd name="connsiteX51" fmla="*/ 4278652 w 4519983"/>
                  <a:gd name="connsiteY51" fmla="*/ 3248025 h 4496940"/>
                  <a:gd name="connsiteX52" fmla="*/ 4259602 w 4519983"/>
                  <a:gd name="connsiteY52" fmla="*/ 3276600 h 4496940"/>
                  <a:gd name="connsiteX53" fmla="*/ 4221502 w 4519983"/>
                  <a:gd name="connsiteY53" fmla="*/ 3333750 h 4496940"/>
                  <a:gd name="connsiteX54" fmla="*/ 4211977 w 4519983"/>
                  <a:gd name="connsiteY54" fmla="*/ 3362325 h 4496940"/>
                  <a:gd name="connsiteX55" fmla="*/ 4183402 w 4519983"/>
                  <a:gd name="connsiteY55" fmla="*/ 3400425 h 4496940"/>
                  <a:gd name="connsiteX56" fmla="*/ 4164352 w 4519983"/>
                  <a:gd name="connsiteY56" fmla="*/ 3429000 h 4496940"/>
                  <a:gd name="connsiteX57" fmla="*/ 4088152 w 4519983"/>
                  <a:gd name="connsiteY57" fmla="*/ 3495675 h 4496940"/>
                  <a:gd name="connsiteX58" fmla="*/ 4059577 w 4519983"/>
                  <a:gd name="connsiteY58" fmla="*/ 3533775 h 4496940"/>
                  <a:gd name="connsiteX59" fmla="*/ 4002427 w 4519983"/>
                  <a:gd name="connsiteY59" fmla="*/ 3600450 h 4496940"/>
                  <a:gd name="connsiteX60" fmla="*/ 3983377 w 4519983"/>
                  <a:gd name="connsiteY60" fmla="*/ 3629025 h 4496940"/>
                  <a:gd name="connsiteX61" fmla="*/ 3954802 w 4519983"/>
                  <a:gd name="connsiteY61" fmla="*/ 3648075 h 4496940"/>
                  <a:gd name="connsiteX62" fmla="*/ 3907177 w 4519983"/>
                  <a:gd name="connsiteY62" fmla="*/ 3686175 h 4496940"/>
                  <a:gd name="connsiteX63" fmla="*/ 3869077 w 4519983"/>
                  <a:gd name="connsiteY63" fmla="*/ 3724275 h 4496940"/>
                  <a:gd name="connsiteX64" fmla="*/ 3792877 w 4519983"/>
                  <a:gd name="connsiteY64" fmla="*/ 3781425 h 4496940"/>
                  <a:gd name="connsiteX65" fmla="*/ 3783352 w 4519983"/>
                  <a:gd name="connsiteY65" fmla="*/ 3810000 h 4496940"/>
                  <a:gd name="connsiteX66" fmla="*/ 3745252 w 4519983"/>
                  <a:gd name="connsiteY66" fmla="*/ 3819525 h 4496940"/>
                  <a:gd name="connsiteX67" fmla="*/ 3678577 w 4519983"/>
                  <a:gd name="connsiteY67" fmla="*/ 3848100 h 4496940"/>
                  <a:gd name="connsiteX68" fmla="*/ 3659527 w 4519983"/>
                  <a:gd name="connsiteY68" fmla="*/ 3971925 h 4496940"/>
                  <a:gd name="connsiteX69" fmla="*/ 3630952 w 4519983"/>
                  <a:gd name="connsiteY69" fmla="*/ 4010025 h 4496940"/>
                  <a:gd name="connsiteX70" fmla="*/ 3621427 w 4519983"/>
                  <a:gd name="connsiteY70" fmla="*/ 4038600 h 4496940"/>
                  <a:gd name="connsiteX71" fmla="*/ 3554752 w 4519983"/>
                  <a:gd name="connsiteY71" fmla="*/ 4095750 h 4496940"/>
                  <a:gd name="connsiteX72" fmla="*/ 3516652 w 4519983"/>
                  <a:gd name="connsiteY72" fmla="*/ 4114800 h 4496940"/>
                  <a:gd name="connsiteX73" fmla="*/ 3497602 w 4519983"/>
                  <a:gd name="connsiteY73" fmla="*/ 4143375 h 4496940"/>
                  <a:gd name="connsiteX74" fmla="*/ 3383302 w 4519983"/>
                  <a:gd name="connsiteY74" fmla="*/ 4210050 h 4496940"/>
                  <a:gd name="connsiteX75" fmla="*/ 3335677 w 4519983"/>
                  <a:gd name="connsiteY75" fmla="*/ 4238625 h 4496940"/>
                  <a:gd name="connsiteX76" fmla="*/ 3288052 w 4519983"/>
                  <a:gd name="connsiteY76" fmla="*/ 4248150 h 4496940"/>
                  <a:gd name="connsiteX77" fmla="*/ 3240427 w 4519983"/>
                  <a:gd name="connsiteY77" fmla="*/ 4267200 h 4496940"/>
                  <a:gd name="connsiteX78" fmla="*/ 3068977 w 4519983"/>
                  <a:gd name="connsiteY78" fmla="*/ 4286250 h 4496940"/>
                  <a:gd name="connsiteX79" fmla="*/ 2935627 w 4519983"/>
                  <a:gd name="connsiteY79" fmla="*/ 4333875 h 4496940"/>
                  <a:gd name="connsiteX80" fmla="*/ 2811802 w 4519983"/>
                  <a:gd name="connsiteY80" fmla="*/ 4371975 h 4496940"/>
                  <a:gd name="connsiteX81" fmla="*/ 2745127 w 4519983"/>
                  <a:gd name="connsiteY81" fmla="*/ 4410075 h 4496940"/>
                  <a:gd name="connsiteX82" fmla="*/ 2697502 w 4519983"/>
                  <a:gd name="connsiteY82" fmla="*/ 4429125 h 4496940"/>
                  <a:gd name="connsiteX83" fmla="*/ 2640352 w 4519983"/>
                  <a:gd name="connsiteY83" fmla="*/ 4457700 h 4496940"/>
                  <a:gd name="connsiteX84" fmla="*/ 2583202 w 4519983"/>
                  <a:gd name="connsiteY84" fmla="*/ 4467225 h 4496940"/>
                  <a:gd name="connsiteX85" fmla="*/ 2545102 w 4519983"/>
                  <a:gd name="connsiteY85" fmla="*/ 4486275 h 4496940"/>
                  <a:gd name="connsiteX86" fmla="*/ 2306977 w 4519983"/>
                  <a:gd name="connsiteY86" fmla="*/ 4476750 h 4496940"/>
                  <a:gd name="connsiteX87" fmla="*/ 2202202 w 4519983"/>
                  <a:gd name="connsiteY87" fmla="*/ 4457700 h 4496940"/>
                  <a:gd name="connsiteX88" fmla="*/ 2126002 w 4519983"/>
                  <a:gd name="connsiteY88" fmla="*/ 4429125 h 4496940"/>
                  <a:gd name="connsiteX89" fmla="*/ 1935502 w 4519983"/>
                  <a:gd name="connsiteY89" fmla="*/ 4400550 h 4496940"/>
                  <a:gd name="connsiteX90" fmla="*/ 1821202 w 4519983"/>
                  <a:gd name="connsiteY90" fmla="*/ 4371975 h 4496940"/>
                  <a:gd name="connsiteX91" fmla="*/ 1754527 w 4519983"/>
                  <a:gd name="connsiteY91" fmla="*/ 4352925 h 4496940"/>
                  <a:gd name="connsiteX92" fmla="*/ 1687852 w 4519983"/>
                  <a:gd name="connsiteY92" fmla="*/ 4343400 h 4496940"/>
                  <a:gd name="connsiteX93" fmla="*/ 1573552 w 4519983"/>
                  <a:gd name="connsiteY93" fmla="*/ 4305300 h 4496940"/>
                  <a:gd name="connsiteX94" fmla="*/ 1402102 w 4519983"/>
                  <a:gd name="connsiteY94" fmla="*/ 4276725 h 4496940"/>
                  <a:gd name="connsiteX95" fmla="*/ 1287802 w 4519983"/>
                  <a:gd name="connsiteY95" fmla="*/ 4229100 h 4496940"/>
                  <a:gd name="connsiteX96" fmla="*/ 1221127 w 4519983"/>
                  <a:gd name="connsiteY96" fmla="*/ 4200525 h 4496940"/>
                  <a:gd name="connsiteX97" fmla="*/ 1144927 w 4519983"/>
                  <a:gd name="connsiteY97" fmla="*/ 4171950 h 4496940"/>
                  <a:gd name="connsiteX98" fmla="*/ 1087777 w 4519983"/>
                  <a:gd name="connsiteY98" fmla="*/ 4143375 h 4496940"/>
                  <a:gd name="connsiteX99" fmla="*/ 1030627 w 4519983"/>
                  <a:gd name="connsiteY99" fmla="*/ 4124325 h 4496940"/>
                  <a:gd name="connsiteX100" fmla="*/ 925852 w 4519983"/>
                  <a:gd name="connsiteY100" fmla="*/ 4067175 h 4496940"/>
                  <a:gd name="connsiteX101" fmla="*/ 830602 w 4519983"/>
                  <a:gd name="connsiteY101" fmla="*/ 3981450 h 4496940"/>
                  <a:gd name="connsiteX102" fmla="*/ 763927 w 4519983"/>
                  <a:gd name="connsiteY102" fmla="*/ 3914775 h 4496940"/>
                  <a:gd name="connsiteX103" fmla="*/ 725827 w 4519983"/>
                  <a:gd name="connsiteY103" fmla="*/ 3876675 h 4496940"/>
                  <a:gd name="connsiteX104" fmla="*/ 697252 w 4519983"/>
                  <a:gd name="connsiteY104" fmla="*/ 3838575 h 4496940"/>
                  <a:gd name="connsiteX105" fmla="*/ 640102 w 4519983"/>
                  <a:gd name="connsiteY105" fmla="*/ 3781425 h 4496940"/>
                  <a:gd name="connsiteX106" fmla="*/ 611527 w 4519983"/>
                  <a:gd name="connsiteY106" fmla="*/ 3733800 h 4496940"/>
                  <a:gd name="connsiteX107" fmla="*/ 554377 w 4519983"/>
                  <a:gd name="connsiteY107" fmla="*/ 3657600 h 4496940"/>
                  <a:gd name="connsiteX108" fmla="*/ 525802 w 4519983"/>
                  <a:gd name="connsiteY108" fmla="*/ 3609975 h 4496940"/>
                  <a:gd name="connsiteX109" fmla="*/ 497227 w 4519983"/>
                  <a:gd name="connsiteY109" fmla="*/ 3552825 h 4496940"/>
                  <a:gd name="connsiteX110" fmla="*/ 440077 w 4519983"/>
                  <a:gd name="connsiteY110" fmla="*/ 3495675 h 4496940"/>
                  <a:gd name="connsiteX111" fmla="*/ 411502 w 4519983"/>
                  <a:gd name="connsiteY111" fmla="*/ 3448050 h 4496940"/>
                  <a:gd name="connsiteX112" fmla="*/ 278152 w 4519983"/>
                  <a:gd name="connsiteY112" fmla="*/ 3257550 h 4496940"/>
                  <a:gd name="connsiteX113" fmla="*/ 249577 w 4519983"/>
                  <a:gd name="connsiteY113" fmla="*/ 3200400 h 4496940"/>
                  <a:gd name="connsiteX114" fmla="*/ 240052 w 4519983"/>
                  <a:gd name="connsiteY114" fmla="*/ 3162300 h 4496940"/>
                  <a:gd name="connsiteX115" fmla="*/ 221002 w 4519983"/>
                  <a:gd name="connsiteY115" fmla="*/ 3105150 h 4496940"/>
                  <a:gd name="connsiteX116" fmla="*/ 173377 w 4519983"/>
                  <a:gd name="connsiteY116" fmla="*/ 3019425 h 4496940"/>
                  <a:gd name="connsiteX117" fmla="*/ 144802 w 4519983"/>
                  <a:gd name="connsiteY117" fmla="*/ 2924175 h 4496940"/>
                  <a:gd name="connsiteX118" fmla="*/ 68602 w 4519983"/>
                  <a:gd name="connsiteY118" fmla="*/ 2724150 h 4496940"/>
                  <a:gd name="connsiteX119" fmla="*/ 49552 w 4519983"/>
                  <a:gd name="connsiteY119" fmla="*/ 2638425 h 4496940"/>
                  <a:gd name="connsiteX120" fmla="*/ 40027 w 4519983"/>
                  <a:gd name="connsiteY120" fmla="*/ 2562225 h 4496940"/>
                  <a:gd name="connsiteX121" fmla="*/ 30502 w 4519983"/>
                  <a:gd name="connsiteY121" fmla="*/ 2514600 h 4496940"/>
                  <a:gd name="connsiteX122" fmla="*/ 11452 w 4519983"/>
                  <a:gd name="connsiteY122" fmla="*/ 2400300 h 4496940"/>
                  <a:gd name="connsiteX123" fmla="*/ 20977 w 4519983"/>
                  <a:gd name="connsiteY123" fmla="*/ 1905000 h 4496940"/>
                  <a:gd name="connsiteX124" fmla="*/ 30502 w 4519983"/>
                  <a:gd name="connsiteY124" fmla="*/ 1838325 h 4496940"/>
                  <a:gd name="connsiteX125" fmla="*/ 49552 w 4519983"/>
                  <a:gd name="connsiteY125" fmla="*/ 1781175 h 4496940"/>
                  <a:gd name="connsiteX126" fmla="*/ 59077 w 4519983"/>
                  <a:gd name="connsiteY126" fmla="*/ 1743075 h 4496940"/>
                  <a:gd name="connsiteX127" fmla="*/ 78127 w 4519983"/>
                  <a:gd name="connsiteY127" fmla="*/ 1685925 h 4496940"/>
                  <a:gd name="connsiteX128" fmla="*/ 87652 w 4519983"/>
                  <a:gd name="connsiteY128" fmla="*/ 1638300 h 4496940"/>
                  <a:gd name="connsiteX129" fmla="*/ 106702 w 4519983"/>
                  <a:gd name="connsiteY129" fmla="*/ 1590675 h 4496940"/>
                  <a:gd name="connsiteX130" fmla="*/ 135277 w 4519983"/>
                  <a:gd name="connsiteY130" fmla="*/ 1504950 h 4496940"/>
                  <a:gd name="connsiteX131" fmla="*/ 154327 w 4519983"/>
                  <a:gd name="connsiteY131" fmla="*/ 1419225 h 4496940"/>
                  <a:gd name="connsiteX132" fmla="*/ 230527 w 4519983"/>
                  <a:gd name="connsiteY132" fmla="*/ 1276350 h 4496940"/>
                  <a:gd name="connsiteX133" fmla="*/ 240052 w 4519983"/>
                  <a:gd name="connsiteY133" fmla="*/ 1247775 h 4496940"/>
                  <a:gd name="connsiteX134" fmla="*/ 268627 w 4519983"/>
                  <a:gd name="connsiteY134" fmla="*/ 1200150 h 4496940"/>
                  <a:gd name="connsiteX135" fmla="*/ 287677 w 4519983"/>
                  <a:gd name="connsiteY135" fmla="*/ 1152525 h 4496940"/>
                  <a:gd name="connsiteX136" fmla="*/ 316252 w 4519983"/>
                  <a:gd name="connsiteY136" fmla="*/ 1114425 h 4496940"/>
                  <a:gd name="connsiteX137" fmla="*/ 363877 w 4519983"/>
                  <a:gd name="connsiteY137" fmla="*/ 1038225 h 4496940"/>
                  <a:gd name="connsiteX138" fmla="*/ 382927 w 4519983"/>
                  <a:gd name="connsiteY138" fmla="*/ 1009650 h 4496940"/>
                  <a:gd name="connsiteX139" fmla="*/ 440077 w 4519983"/>
                  <a:gd name="connsiteY139" fmla="*/ 904875 h 4496940"/>
                  <a:gd name="connsiteX140" fmla="*/ 478177 w 4519983"/>
                  <a:gd name="connsiteY140" fmla="*/ 857250 h 4496940"/>
                  <a:gd name="connsiteX141" fmla="*/ 497227 w 4519983"/>
                  <a:gd name="connsiteY141" fmla="*/ 828675 h 4496940"/>
                  <a:gd name="connsiteX142" fmla="*/ 535327 w 4519983"/>
                  <a:gd name="connsiteY142" fmla="*/ 800100 h 4496940"/>
                  <a:gd name="connsiteX143" fmla="*/ 602002 w 4519983"/>
                  <a:gd name="connsiteY143" fmla="*/ 733425 h 4496940"/>
                  <a:gd name="connsiteX144" fmla="*/ 668677 w 4519983"/>
                  <a:gd name="connsiteY144" fmla="*/ 676275 h 4496940"/>
                  <a:gd name="connsiteX145" fmla="*/ 697252 w 4519983"/>
                  <a:gd name="connsiteY145" fmla="*/ 657225 h 4496940"/>
                  <a:gd name="connsiteX146" fmla="*/ 840127 w 4519983"/>
                  <a:gd name="connsiteY146" fmla="*/ 533400 h 4496940"/>
                  <a:gd name="connsiteX147" fmla="*/ 887752 w 4519983"/>
                  <a:gd name="connsiteY147" fmla="*/ 504825 h 4496940"/>
                  <a:gd name="connsiteX148" fmla="*/ 1167152 w 4519983"/>
                  <a:gd name="connsiteY148" fmla="*/ 311150 h 4496940"/>
                  <a:gd name="connsiteX149" fmla="*/ 1268752 w 4519983"/>
                  <a:gd name="connsiteY149" fmla="*/ 285750 h 4496940"/>
                  <a:gd name="connsiteX150" fmla="*/ 1411627 w 4519983"/>
                  <a:gd name="connsiteY150" fmla="*/ 190500 h 4496940"/>
                  <a:gd name="connsiteX151" fmla="*/ 1449727 w 4519983"/>
                  <a:gd name="connsiteY151" fmla="*/ 161925 h 4496940"/>
                  <a:gd name="connsiteX152" fmla="*/ 1525927 w 4519983"/>
                  <a:gd name="connsiteY152" fmla="*/ 152400 h 4496940"/>
                  <a:gd name="connsiteX153" fmla="*/ 1583077 w 4519983"/>
                  <a:gd name="connsiteY153" fmla="*/ 142875 h 4496940"/>
                  <a:gd name="connsiteX154" fmla="*/ 1716427 w 4519983"/>
                  <a:gd name="connsiteY154" fmla="*/ 123825 h 4496940"/>
                  <a:gd name="connsiteX155" fmla="*/ 1811677 w 4519983"/>
                  <a:gd name="connsiteY155" fmla="*/ 114300 h 4496940"/>
                  <a:gd name="connsiteX156" fmla="*/ 1859302 w 4519983"/>
                  <a:gd name="connsiteY156" fmla="*/ 104775 h 4496940"/>
                  <a:gd name="connsiteX157" fmla="*/ 1916452 w 4519983"/>
                  <a:gd name="connsiteY157" fmla="*/ 95250 h 4496940"/>
                  <a:gd name="connsiteX158" fmla="*/ 2030752 w 4519983"/>
                  <a:gd name="connsiteY158" fmla="*/ 66675 h 4496940"/>
                  <a:gd name="connsiteX159" fmla="*/ 2097427 w 4519983"/>
                  <a:gd name="connsiteY159" fmla="*/ 47625 h 4496940"/>
                  <a:gd name="connsiteX160" fmla="*/ 2164102 w 4519983"/>
                  <a:gd name="connsiteY160" fmla="*/ 38100 h 4496940"/>
                  <a:gd name="connsiteX161" fmla="*/ 2392702 w 4519983"/>
                  <a:gd name="connsiteY16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3992902 w 4519987"/>
                  <a:gd name="connsiteY28" fmla="*/ 714375 h 4496940"/>
                  <a:gd name="connsiteX29" fmla="*/ 4050052 w 4519987"/>
                  <a:gd name="connsiteY29" fmla="*/ 790575 h 4496940"/>
                  <a:gd name="connsiteX30" fmla="*/ 4078627 w 4519987"/>
                  <a:gd name="connsiteY30" fmla="*/ 838200 h 4496940"/>
                  <a:gd name="connsiteX31" fmla="*/ 4107202 w 4519987"/>
                  <a:gd name="connsiteY31" fmla="*/ 876300 h 4496940"/>
                  <a:gd name="connsiteX32" fmla="*/ 4116727 w 4519987"/>
                  <a:gd name="connsiteY32" fmla="*/ 904875 h 4496940"/>
                  <a:gd name="connsiteX33" fmla="*/ 4135777 w 4519987"/>
                  <a:gd name="connsiteY33" fmla="*/ 933450 h 4496940"/>
                  <a:gd name="connsiteX34" fmla="*/ 4164352 w 4519987"/>
                  <a:gd name="connsiteY34" fmla="*/ 990600 h 4496940"/>
                  <a:gd name="connsiteX35" fmla="*/ 4173877 w 4519987"/>
                  <a:gd name="connsiteY35" fmla="*/ 1019175 h 4496940"/>
                  <a:gd name="connsiteX36" fmla="*/ 4192927 w 4519987"/>
                  <a:gd name="connsiteY36" fmla="*/ 1057275 h 4496940"/>
                  <a:gd name="connsiteX37" fmla="*/ 4202452 w 4519987"/>
                  <a:gd name="connsiteY37" fmla="*/ 1085850 h 4496940"/>
                  <a:gd name="connsiteX38" fmla="*/ 4250077 w 4519987"/>
                  <a:gd name="connsiteY38" fmla="*/ 1143000 h 4496940"/>
                  <a:gd name="connsiteX39" fmla="*/ 4259602 w 4519987"/>
                  <a:gd name="connsiteY39" fmla="*/ 1190625 h 4496940"/>
                  <a:gd name="connsiteX40" fmla="*/ 4307227 w 4519987"/>
                  <a:gd name="connsiteY40" fmla="*/ 1266825 h 4496940"/>
                  <a:gd name="connsiteX41" fmla="*/ 4345327 w 4519987"/>
                  <a:gd name="connsiteY41" fmla="*/ 1362075 h 4496940"/>
                  <a:gd name="connsiteX42" fmla="*/ 4373902 w 4519987"/>
                  <a:gd name="connsiteY42" fmla="*/ 1428750 h 4496940"/>
                  <a:gd name="connsiteX43" fmla="*/ 4392952 w 4519987"/>
                  <a:gd name="connsiteY43" fmla="*/ 1552575 h 4496940"/>
                  <a:gd name="connsiteX44" fmla="*/ 4402477 w 4519987"/>
                  <a:gd name="connsiteY44" fmla="*/ 1590675 h 4496940"/>
                  <a:gd name="connsiteX45" fmla="*/ 4431052 w 4519987"/>
                  <a:gd name="connsiteY45" fmla="*/ 1685925 h 4496940"/>
                  <a:gd name="connsiteX46" fmla="*/ 4519952 w 4519987"/>
                  <a:gd name="connsiteY46" fmla="*/ 2181225 h 4496940"/>
                  <a:gd name="connsiteX47" fmla="*/ 4446927 w 4519987"/>
                  <a:gd name="connsiteY47" fmla="*/ 2768600 h 4496940"/>
                  <a:gd name="connsiteX48" fmla="*/ 4383427 w 4519987"/>
                  <a:gd name="connsiteY48" fmla="*/ 2990850 h 4496940"/>
                  <a:gd name="connsiteX49" fmla="*/ 4354852 w 4519987"/>
                  <a:gd name="connsiteY49" fmla="*/ 3057525 h 4496940"/>
                  <a:gd name="connsiteX50" fmla="*/ 4335802 w 4519987"/>
                  <a:gd name="connsiteY50" fmla="*/ 3095625 h 4496940"/>
                  <a:gd name="connsiteX51" fmla="*/ 4278652 w 4519987"/>
                  <a:gd name="connsiteY51" fmla="*/ 3248025 h 4496940"/>
                  <a:gd name="connsiteX52" fmla="*/ 4259602 w 4519987"/>
                  <a:gd name="connsiteY52" fmla="*/ 3276600 h 4496940"/>
                  <a:gd name="connsiteX53" fmla="*/ 4221502 w 4519987"/>
                  <a:gd name="connsiteY53" fmla="*/ 3333750 h 4496940"/>
                  <a:gd name="connsiteX54" fmla="*/ 4211977 w 4519987"/>
                  <a:gd name="connsiteY54" fmla="*/ 3362325 h 4496940"/>
                  <a:gd name="connsiteX55" fmla="*/ 4183402 w 4519987"/>
                  <a:gd name="connsiteY55" fmla="*/ 3400425 h 4496940"/>
                  <a:gd name="connsiteX56" fmla="*/ 4164352 w 4519987"/>
                  <a:gd name="connsiteY56" fmla="*/ 3429000 h 4496940"/>
                  <a:gd name="connsiteX57" fmla="*/ 4088152 w 4519987"/>
                  <a:gd name="connsiteY57" fmla="*/ 3495675 h 4496940"/>
                  <a:gd name="connsiteX58" fmla="*/ 4059577 w 4519987"/>
                  <a:gd name="connsiteY58" fmla="*/ 3533775 h 4496940"/>
                  <a:gd name="connsiteX59" fmla="*/ 4002427 w 4519987"/>
                  <a:gd name="connsiteY59" fmla="*/ 3600450 h 4496940"/>
                  <a:gd name="connsiteX60" fmla="*/ 3983377 w 4519987"/>
                  <a:gd name="connsiteY60" fmla="*/ 3629025 h 4496940"/>
                  <a:gd name="connsiteX61" fmla="*/ 3954802 w 4519987"/>
                  <a:gd name="connsiteY61" fmla="*/ 3648075 h 4496940"/>
                  <a:gd name="connsiteX62" fmla="*/ 3907177 w 4519987"/>
                  <a:gd name="connsiteY62" fmla="*/ 3686175 h 4496940"/>
                  <a:gd name="connsiteX63" fmla="*/ 3869077 w 4519987"/>
                  <a:gd name="connsiteY63" fmla="*/ 3724275 h 4496940"/>
                  <a:gd name="connsiteX64" fmla="*/ 3792877 w 4519987"/>
                  <a:gd name="connsiteY64" fmla="*/ 3781425 h 4496940"/>
                  <a:gd name="connsiteX65" fmla="*/ 3783352 w 4519987"/>
                  <a:gd name="connsiteY65" fmla="*/ 3810000 h 4496940"/>
                  <a:gd name="connsiteX66" fmla="*/ 3745252 w 4519987"/>
                  <a:gd name="connsiteY66" fmla="*/ 3819525 h 4496940"/>
                  <a:gd name="connsiteX67" fmla="*/ 3678577 w 4519987"/>
                  <a:gd name="connsiteY67" fmla="*/ 3848100 h 4496940"/>
                  <a:gd name="connsiteX68" fmla="*/ 3659527 w 4519987"/>
                  <a:gd name="connsiteY68" fmla="*/ 3971925 h 4496940"/>
                  <a:gd name="connsiteX69" fmla="*/ 3630952 w 4519987"/>
                  <a:gd name="connsiteY69" fmla="*/ 4010025 h 4496940"/>
                  <a:gd name="connsiteX70" fmla="*/ 3621427 w 4519987"/>
                  <a:gd name="connsiteY70" fmla="*/ 4038600 h 4496940"/>
                  <a:gd name="connsiteX71" fmla="*/ 3554752 w 4519987"/>
                  <a:gd name="connsiteY71" fmla="*/ 4095750 h 4496940"/>
                  <a:gd name="connsiteX72" fmla="*/ 3516652 w 4519987"/>
                  <a:gd name="connsiteY72" fmla="*/ 4114800 h 4496940"/>
                  <a:gd name="connsiteX73" fmla="*/ 3497602 w 4519987"/>
                  <a:gd name="connsiteY73" fmla="*/ 4143375 h 4496940"/>
                  <a:gd name="connsiteX74" fmla="*/ 3383302 w 4519987"/>
                  <a:gd name="connsiteY74" fmla="*/ 4210050 h 4496940"/>
                  <a:gd name="connsiteX75" fmla="*/ 3335677 w 4519987"/>
                  <a:gd name="connsiteY75" fmla="*/ 4238625 h 4496940"/>
                  <a:gd name="connsiteX76" fmla="*/ 3288052 w 4519987"/>
                  <a:gd name="connsiteY76" fmla="*/ 4248150 h 4496940"/>
                  <a:gd name="connsiteX77" fmla="*/ 3240427 w 4519987"/>
                  <a:gd name="connsiteY77" fmla="*/ 4267200 h 4496940"/>
                  <a:gd name="connsiteX78" fmla="*/ 3068977 w 4519987"/>
                  <a:gd name="connsiteY78" fmla="*/ 4286250 h 4496940"/>
                  <a:gd name="connsiteX79" fmla="*/ 2935627 w 4519987"/>
                  <a:gd name="connsiteY79" fmla="*/ 4333875 h 4496940"/>
                  <a:gd name="connsiteX80" fmla="*/ 2811802 w 4519987"/>
                  <a:gd name="connsiteY80" fmla="*/ 4371975 h 4496940"/>
                  <a:gd name="connsiteX81" fmla="*/ 2745127 w 4519987"/>
                  <a:gd name="connsiteY81" fmla="*/ 4410075 h 4496940"/>
                  <a:gd name="connsiteX82" fmla="*/ 2697502 w 4519987"/>
                  <a:gd name="connsiteY82" fmla="*/ 4429125 h 4496940"/>
                  <a:gd name="connsiteX83" fmla="*/ 2640352 w 4519987"/>
                  <a:gd name="connsiteY83" fmla="*/ 4457700 h 4496940"/>
                  <a:gd name="connsiteX84" fmla="*/ 2583202 w 4519987"/>
                  <a:gd name="connsiteY84" fmla="*/ 4467225 h 4496940"/>
                  <a:gd name="connsiteX85" fmla="*/ 2545102 w 4519987"/>
                  <a:gd name="connsiteY85" fmla="*/ 4486275 h 4496940"/>
                  <a:gd name="connsiteX86" fmla="*/ 2306977 w 4519987"/>
                  <a:gd name="connsiteY86" fmla="*/ 4476750 h 4496940"/>
                  <a:gd name="connsiteX87" fmla="*/ 2202202 w 4519987"/>
                  <a:gd name="connsiteY87" fmla="*/ 4457700 h 4496940"/>
                  <a:gd name="connsiteX88" fmla="*/ 2126002 w 4519987"/>
                  <a:gd name="connsiteY88" fmla="*/ 4429125 h 4496940"/>
                  <a:gd name="connsiteX89" fmla="*/ 1935502 w 4519987"/>
                  <a:gd name="connsiteY89" fmla="*/ 4400550 h 4496940"/>
                  <a:gd name="connsiteX90" fmla="*/ 1821202 w 4519987"/>
                  <a:gd name="connsiteY90" fmla="*/ 4371975 h 4496940"/>
                  <a:gd name="connsiteX91" fmla="*/ 1754527 w 4519987"/>
                  <a:gd name="connsiteY91" fmla="*/ 4352925 h 4496940"/>
                  <a:gd name="connsiteX92" fmla="*/ 1687852 w 4519987"/>
                  <a:gd name="connsiteY92" fmla="*/ 4343400 h 4496940"/>
                  <a:gd name="connsiteX93" fmla="*/ 1573552 w 4519987"/>
                  <a:gd name="connsiteY93" fmla="*/ 4305300 h 4496940"/>
                  <a:gd name="connsiteX94" fmla="*/ 1402102 w 4519987"/>
                  <a:gd name="connsiteY94" fmla="*/ 4276725 h 4496940"/>
                  <a:gd name="connsiteX95" fmla="*/ 1287802 w 4519987"/>
                  <a:gd name="connsiteY95" fmla="*/ 4229100 h 4496940"/>
                  <a:gd name="connsiteX96" fmla="*/ 1221127 w 4519987"/>
                  <a:gd name="connsiteY96" fmla="*/ 4200525 h 4496940"/>
                  <a:gd name="connsiteX97" fmla="*/ 1144927 w 4519987"/>
                  <a:gd name="connsiteY97" fmla="*/ 4171950 h 4496940"/>
                  <a:gd name="connsiteX98" fmla="*/ 1087777 w 4519987"/>
                  <a:gd name="connsiteY98" fmla="*/ 4143375 h 4496940"/>
                  <a:gd name="connsiteX99" fmla="*/ 1030627 w 4519987"/>
                  <a:gd name="connsiteY99" fmla="*/ 4124325 h 4496940"/>
                  <a:gd name="connsiteX100" fmla="*/ 925852 w 4519987"/>
                  <a:gd name="connsiteY100" fmla="*/ 4067175 h 4496940"/>
                  <a:gd name="connsiteX101" fmla="*/ 830602 w 4519987"/>
                  <a:gd name="connsiteY101" fmla="*/ 3981450 h 4496940"/>
                  <a:gd name="connsiteX102" fmla="*/ 763927 w 4519987"/>
                  <a:gd name="connsiteY102" fmla="*/ 3914775 h 4496940"/>
                  <a:gd name="connsiteX103" fmla="*/ 725827 w 4519987"/>
                  <a:gd name="connsiteY103" fmla="*/ 3876675 h 4496940"/>
                  <a:gd name="connsiteX104" fmla="*/ 697252 w 4519987"/>
                  <a:gd name="connsiteY104" fmla="*/ 3838575 h 4496940"/>
                  <a:gd name="connsiteX105" fmla="*/ 640102 w 4519987"/>
                  <a:gd name="connsiteY105" fmla="*/ 3781425 h 4496940"/>
                  <a:gd name="connsiteX106" fmla="*/ 611527 w 4519987"/>
                  <a:gd name="connsiteY106" fmla="*/ 3733800 h 4496940"/>
                  <a:gd name="connsiteX107" fmla="*/ 554377 w 4519987"/>
                  <a:gd name="connsiteY107" fmla="*/ 3657600 h 4496940"/>
                  <a:gd name="connsiteX108" fmla="*/ 525802 w 4519987"/>
                  <a:gd name="connsiteY108" fmla="*/ 3609975 h 4496940"/>
                  <a:gd name="connsiteX109" fmla="*/ 497227 w 4519987"/>
                  <a:gd name="connsiteY109" fmla="*/ 3552825 h 4496940"/>
                  <a:gd name="connsiteX110" fmla="*/ 440077 w 4519987"/>
                  <a:gd name="connsiteY110" fmla="*/ 3495675 h 4496940"/>
                  <a:gd name="connsiteX111" fmla="*/ 411502 w 4519987"/>
                  <a:gd name="connsiteY111" fmla="*/ 3448050 h 4496940"/>
                  <a:gd name="connsiteX112" fmla="*/ 278152 w 4519987"/>
                  <a:gd name="connsiteY112" fmla="*/ 3257550 h 4496940"/>
                  <a:gd name="connsiteX113" fmla="*/ 249577 w 4519987"/>
                  <a:gd name="connsiteY113" fmla="*/ 3200400 h 4496940"/>
                  <a:gd name="connsiteX114" fmla="*/ 240052 w 4519987"/>
                  <a:gd name="connsiteY114" fmla="*/ 3162300 h 4496940"/>
                  <a:gd name="connsiteX115" fmla="*/ 221002 w 4519987"/>
                  <a:gd name="connsiteY115" fmla="*/ 3105150 h 4496940"/>
                  <a:gd name="connsiteX116" fmla="*/ 173377 w 4519987"/>
                  <a:gd name="connsiteY116" fmla="*/ 3019425 h 4496940"/>
                  <a:gd name="connsiteX117" fmla="*/ 144802 w 4519987"/>
                  <a:gd name="connsiteY117" fmla="*/ 2924175 h 4496940"/>
                  <a:gd name="connsiteX118" fmla="*/ 68602 w 4519987"/>
                  <a:gd name="connsiteY118" fmla="*/ 2724150 h 4496940"/>
                  <a:gd name="connsiteX119" fmla="*/ 49552 w 4519987"/>
                  <a:gd name="connsiteY119" fmla="*/ 2638425 h 4496940"/>
                  <a:gd name="connsiteX120" fmla="*/ 40027 w 4519987"/>
                  <a:gd name="connsiteY120" fmla="*/ 2562225 h 4496940"/>
                  <a:gd name="connsiteX121" fmla="*/ 30502 w 4519987"/>
                  <a:gd name="connsiteY121" fmla="*/ 2514600 h 4496940"/>
                  <a:gd name="connsiteX122" fmla="*/ 11452 w 4519987"/>
                  <a:gd name="connsiteY122" fmla="*/ 2400300 h 4496940"/>
                  <a:gd name="connsiteX123" fmla="*/ 20977 w 4519987"/>
                  <a:gd name="connsiteY123" fmla="*/ 1905000 h 4496940"/>
                  <a:gd name="connsiteX124" fmla="*/ 30502 w 4519987"/>
                  <a:gd name="connsiteY124" fmla="*/ 1838325 h 4496940"/>
                  <a:gd name="connsiteX125" fmla="*/ 49552 w 4519987"/>
                  <a:gd name="connsiteY125" fmla="*/ 1781175 h 4496940"/>
                  <a:gd name="connsiteX126" fmla="*/ 59077 w 4519987"/>
                  <a:gd name="connsiteY126" fmla="*/ 1743075 h 4496940"/>
                  <a:gd name="connsiteX127" fmla="*/ 78127 w 4519987"/>
                  <a:gd name="connsiteY127" fmla="*/ 1685925 h 4496940"/>
                  <a:gd name="connsiteX128" fmla="*/ 87652 w 4519987"/>
                  <a:gd name="connsiteY128" fmla="*/ 1638300 h 4496940"/>
                  <a:gd name="connsiteX129" fmla="*/ 106702 w 4519987"/>
                  <a:gd name="connsiteY129" fmla="*/ 1590675 h 4496940"/>
                  <a:gd name="connsiteX130" fmla="*/ 135277 w 4519987"/>
                  <a:gd name="connsiteY130" fmla="*/ 1504950 h 4496940"/>
                  <a:gd name="connsiteX131" fmla="*/ 154327 w 4519987"/>
                  <a:gd name="connsiteY131" fmla="*/ 1419225 h 4496940"/>
                  <a:gd name="connsiteX132" fmla="*/ 230527 w 4519987"/>
                  <a:gd name="connsiteY132" fmla="*/ 1276350 h 4496940"/>
                  <a:gd name="connsiteX133" fmla="*/ 240052 w 4519987"/>
                  <a:gd name="connsiteY133" fmla="*/ 1247775 h 4496940"/>
                  <a:gd name="connsiteX134" fmla="*/ 268627 w 4519987"/>
                  <a:gd name="connsiteY134" fmla="*/ 1200150 h 4496940"/>
                  <a:gd name="connsiteX135" fmla="*/ 287677 w 4519987"/>
                  <a:gd name="connsiteY135" fmla="*/ 1152525 h 4496940"/>
                  <a:gd name="connsiteX136" fmla="*/ 316252 w 4519987"/>
                  <a:gd name="connsiteY136" fmla="*/ 1114425 h 4496940"/>
                  <a:gd name="connsiteX137" fmla="*/ 363877 w 4519987"/>
                  <a:gd name="connsiteY137" fmla="*/ 1038225 h 4496940"/>
                  <a:gd name="connsiteX138" fmla="*/ 382927 w 4519987"/>
                  <a:gd name="connsiteY138" fmla="*/ 1009650 h 4496940"/>
                  <a:gd name="connsiteX139" fmla="*/ 440077 w 4519987"/>
                  <a:gd name="connsiteY139" fmla="*/ 904875 h 4496940"/>
                  <a:gd name="connsiteX140" fmla="*/ 478177 w 4519987"/>
                  <a:gd name="connsiteY140" fmla="*/ 857250 h 4496940"/>
                  <a:gd name="connsiteX141" fmla="*/ 497227 w 4519987"/>
                  <a:gd name="connsiteY141" fmla="*/ 828675 h 4496940"/>
                  <a:gd name="connsiteX142" fmla="*/ 535327 w 4519987"/>
                  <a:gd name="connsiteY142" fmla="*/ 800100 h 4496940"/>
                  <a:gd name="connsiteX143" fmla="*/ 602002 w 4519987"/>
                  <a:gd name="connsiteY143" fmla="*/ 733425 h 4496940"/>
                  <a:gd name="connsiteX144" fmla="*/ 668677 w 4519987"/>
                  <a:gd name="connsiteY144" fmla="*/ 676275 h 4496940"/>
                  <a:gd name="connsiteX145" fmla="*/ 697252 w 4519987"/>
                  <a:gd name="connsiteY145" fmla="*/ 657225 h 4496940"/>
                  <a:gd name="connsiteX146" fmla="*/ 840127 w 4519987"/>
                  <a:gd name="connsiteY146" fmla="*/ 533400 h 4496940"/>
                  <a:gd name="connsiteX147" fmla="*/ 887752 w 4519987"/>
                  <a:gd name="connsiteY147" fmla="*/ 504825 h 4496940"/>
                  <a:gd name="connsiteX148" fmla="*/ 1167152 w 4519987"/>
                  <a:gd name="connsiteY148" fmla="*/ 311150 h 4496940"/>
                  <a:gd name="connsiteX149" fmla="*/ 1268752 w 4519987"/>
                  <a:gd name="connsiteY149" fmla="*/ 285750 h 4496940"/>
                  <a:gd name="connsiteX150" fmla="*/ 1411627 w 4519987"/>
                  <a:gd name="connsiteY150" fmla="*/ 190500 h 4496940"/>
                  <a:gd name="connsiteX151" fmla="*/ 1449727 w 4519987"/>
                  <a:gd name="connsiteY151" fmla="*/ 161925 h 4496940"/>
                  <a:gd name="connsiteX152" fmla="*/ 1525927 w 4519987"/>
                  <a:gd name="connsiteY152" fmla="*/ 152400 h 4496940"/>
                  <a:gd name="connsiteX153" fmla="*/ 1583077 w 4519987"/>
                  <a:gd name="connsiteY153" fmla="*/ 142875 h 4496940"/>
                  <a:gd name="connsiteX154" fmla="*/ 1716427 w 4519987"/>
                  <a:gd name="connsiteY154" fmla="*/ 123825 h 4496940"/>
                  <a:gd name="connsiteX155" fmla="*/ 1811677 w 4519987"/>
                  <a:gd name="connsiteY155" fmla="*/ 114300 h 4496940"/>
                  <a:gd name="connsiteX156" fmla="*/ 1859302 w 4519987"/>
                  <a:gd name="connsiteY156" fmla="*/ 104775 h 4496940"/>
                  <a:gd name="connsiteX157" fmla="*/ 1916452 w 4519987"/>
                  <a:gd name="connsiteY157" fmla="*/ 95250 h 4496940"/>
                  <a:gd name="connsiteX158" fmla="*/ 2030752 w 4519987"/>
                  <a:gd name="connsiteY158" fmla="*/ 66675 h 4496940"/>
                  <a:gd name="connsiteX159" fmla="*/ 2097427 w 4519987"/>
                  <a:gd name="connsiteY159" fmla="*/ 47625 h 4496940"/>
                  <a:gd name="connsiteX160" fmla="*/ 2164102 w 4519987"/>
                  <a:gd name="connsiteY160" fmla="*/ 38100 h 4496940"/>
                  <a:gd name="connsiteX161" fmla="*/ 2392702 w 4519987"/>
                  <a:gd name="connsiteY16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3992902 w 4519987"/>
                  <a:gd name="connsiteY28" fmla="*/ 714375 h 4496940"/>
                  <a:gd name="connsiteX29" fmla="*/ 4050052 w 4519987"/>
                  <a:gd name="connsiteY29" fmla="*/ 790575 h 4496940"/>
                  <a:gd name="connsiteX30" fmla="*/ 4078627 w 4519987"/>
                  <a:gd name="connsiteY30" fmla="*/ 838200 h 4496940"/>
                  <a:gd name="connsiteX31" fmla="*/ 4107202 w 4519987"/>
                  <a:gd name="connsiteY31" fmla="*/ 876300 h 4496940"/>
                  <a:gd name="connsiteX32" fmla="*/ 4116727 w 4519987"/>
                  <a:gd name="connsiteY32" fmla="*/ 904875 h 4496940"/>
                  <a:gd name="connsiteX33" fmla="*/ 4135777 w 4519987"/>
                  <a:gd name="connsiteY33" fmla="*/ 933450 h 4496940"/>
                  <a:gd name="connsiteX34" fmla="*/ 4164352 w 4519987"/>
                  <a:gd name="connsiteY34" fmla="*/ 990600 h 4496940"/>
                  <a:gd name="connsiteX35" fmla="*/ 4173877 w 4519987"/>
                  <a:gd name="connsiteY35" fmla="*/ 1019175 h 4496940"/>
                  <a:gd name="connsiteX36" fmla="*/ 4192927 w 4519987"/>
                  <a:gd name="connsiteY36" fmla="*/ 1057275 h 4496940"/>
                  <a:gd name="connsiteX37" fmla="*/ 4202452 w 4519987"/>
                  <a:gd name="connsiteY37" fmla="*/ 1085850 h 4496940"/>
                  <a:gd name="connsiteX38" fmla="*/ 4250077 w 4519987"/>
                  <a:gd name="connsiteY38" fmla="*/ 1143000 h 4496940"/>
                  <a:gd name="connsiteX39" fmla="*/ 4259602 w 4519987"/>
                  <a:gd name="connsiteY39" fmla="*/ 1190625 h 4496940"/>
                  <a:gd name="connsiteX40" fmla="*/ 4307227 w 4519987"/>
                  <a:gd name="connsiteY40" fmla="*/ 1266825 h 4496940"/>
                  <a:gd name="connsiteX41" fmla="*/ 4345327 w 4519987"/>
                  <a:gd name="connsiteY41" fmla="*/ 1362075 h 4496940"/>
                  <a:gd name="connsiteX42" fmla="*/ 4373902 w 4519987"/>
                  <a:gd name="connsiteY42" fmla="*/ 1428750 h 4496940"/>
                  <a:gd name="connsiteX43" fmla="*/ 4392952 w 4519987"/>
                  <a:gd name="connsiteY43" fmla="*/ 1552575 h 4496940"/>
                  <a:gd name="connsiteX44" fmla="*/ 4402477 w 4519987"/>
                  <a:gd name="connsiteY44" fmla="*/ 1590675 h 4496940"/>
                  <a:gd name="connsiteX45" fmla="*/ 4431052 w 4519987"/>
                  <a:gd name="connsiteY45" fmla="*/ 1685925 h 4496940"/>
                  <a:gd name="connsiteX46" fmla="*/ 4519952 w 4519987"/>
                  <a:gd name="connsiteY46" fmla="*/ 2181225 h 4496940"/>
                  <a:gd name="connsiteX47" fmla="*/ 4446927 w 4519987"/>
                  <a:gd name="connsiteY47" fmla="*/ 2768600 h 4496940"/>
                  <a:gd name="connsiteX48" fmla="*/ 4383427 w 4519987"/>
                  <a:gd name="connsiteY48" fmla="*/ 2990850 h 4496940"/>
                  <a:gd name="connsiteX49" fmla="*/ 4354852 w 4519987"/>
                  <a:gd name="connsiteY49" fmla="*/ 3057525 h 4496940"/>
                  <a:gd name="connsiteX50" fmla="*/ 4278652 w 4519987"/>
                  <a:gd name="connsiteY50" fmla="*/ 3248025 h 4496940"/>
                  <a:gd name="connsiteX51" fmla="*/ 4259602 w 4519987"/>
                  <a:gd name="connsiteY51" fmla="*/ 3276600 h 4496940"/>
                  <a:gd name="connsiteX52" fmla="*/ 4221502 w 4519987"/>
                  <a:gd name="connsiteY52" fmla="*/ 3333750 h 4496940"/>
                  <a:gd name="connsiteX53" fmla="*/ 4211977 w 4519987"/>
                  <a:gd name="connsiteY53" fmla="*/ 3362325 h 4496940"/>
                  <a:gd name="connsiteX54" fmla="*/ 4183402 w 4519987"/>
                  <a:gd name="connsiteY54" fmla="*/ 3400425 h 4496940"/>
                  <a:gd name="connsiteX55" fmla="*/ 4164352 w 4519987"/>
                  <a:gd name="connsiteY55" fmla="*/ 3429000 h 4496940"/>
                  <a:gd name="connsiteX56" fmla="*/ 4088152 w 4519987"/>
                  <a:gd name="connsiteY56" fmla="*/ 3495675 h 4496940"/>
                  <a:gd name="connsiteX57" fmla="*/ 4059577 w 4519987"/>
                  <a:gd name="connsiteY57" fmla="*/ 3533775 h 4496940"/>
                  <a:gd name="connsiteX58" fmla="*/ 4002427 w 4519987"/>
                  <a:gd name="connsiteY58" fmla="*/ 3600450 h 4496940"/>
                  <a:gd name="connsiteX59" fmla="*/ 3983377 w 4519987"/>
                  <a:gd name="connsiteY59" fmla="*/ 3629025 h 4496940"/>
                  <a:gd name="connsiteX60" fmla="*/ 3954802 w 4519987"/>
                  <a:gd name="connsiteY60" fmla="*/ 3648075 h 4496940"/>
                  <a:gd name="connsiteX61" fmla="*/ 3907177 w 4519987"/>
                  <a:gd name="connsiteY61" fmla="*/ 3686175 h 4496940"/>
                  <a:gd name="connsiteX62" fmla="*/ 3869077 w 4519987"/>
                  <a:gd name="connsiteY62" fmla="*/ 3724275 h 4496940"/>
                  <a:gd name="connsiteX63" fmla="*/ 3792877 w 4519987"/>
                  <a:gd name="connsiteY63" fmla="*/ 3781425 h 4496940"/>
                  <a:gd name="connsiteX64" fmla="*/ 3783352 w 4519987"/>
                  <a:gd name="connsiteY64" fmla="*/ 3810000 h 4496940"/>
                  <a:gd name="connsiteX65" fmla="*/ 3745252 w 4519987"/>
                  <a:gd name="connsiteY65" fmla="*/ 3819525 h 4496940"/>
                  <a:gd name="connsiteX66" fmla="*/ 3678577 w 4519987"/>
                  <a:gd name="connsiteY66" fmla="*/ 3848100 h 4496940"/>
                  <a:gd name="connsiteX67" fmla="*/ 3659527 w 4519987"/>
                  <a:gd name="connsiteY67" fmla="*/ 3971925 h 4496940"/>
                  <a:gd name="connsiteX68" fmla="*/ 3630952 w 4519987"/>
                  <a:gd name="connsiteY68" fmla="*/ 4010025 h 4496940"/>
                  <a:gd name="connsiteX69" fmla="*/ 3621427 w 4519987"/>
                  <a:gd name="connsiteY69" fmla="*/ 4038600 h 4496940"/>
                  <a:gd name="connsiteX70" fmla="*/ 3554752 w 4519987"/>
                  <a:gd name="connsiteY70" fmla="*/ 4095750 h 4496940"/>
                  <a:gd name="connsiteX71" fmla="*/ 3516652 w 4519987"/>
                  <a:gd name="connsiteY71" fmla="*/ 4114800 h 4496940"/>
                  <a:gd name="connsiteX72" fmla="*/ 3497602 w 4519987"/>
                  <a:gd name="connsiteY72" fmla="*/ 4143375 h 4496940"/>
                  <a:gd name="connsiteX73" fmla="*/ 3383302 w 4519987"/>
                  <a:gd name="connsiteY73" fmla="*/ 4210050 h 4496940"/>
                  <a:gd name="connsiteX74" fmla="*/ 3335677 w 4519987"/>
                  <a:gd name="connsiteY74" fmla="*/ 4238625 h 4496940"/>
                  <a:gd name="connsiteX75" fmla="*/ 3288052 w 4519987"/>
                  <a:gd name="connsiteY75" fmla="*/ 4248150 h 4496940"/>
                  <a:gd name="connsiteX76" fmla="*/ 3240427 w 4519987"/>
                  <a:gd name="connsiteY76" fmla="*/ 4267200 h 4496940"/>
                  <a:gd name="connsiteX77" fmla="*/ 3068977 w 4519987"/>
                  <a:gd name="connsiteY77" fmla="*/ 4286250 h 4496940"/>
                  <a:gd name="connsiteX78" fmla="*/ 2935627 w 4519987"/>
                  <a:gd name="connsiteY78" fmla="*/ 4333875 h 4496940"/>
                  <a:gd name="connsiteX79" fmla="*/ 2811802 w 4519987"/>
                  <a:gd name="connsiteY79" fmla="*/ 4371975 h 4496940"/>
                  <a:gd name="connsiteX80" fmla="*/ 2745127 w 4519987"/>
                  <a:gd name="connsiteY80" fmla="*/ 4410075 h 4496940"/>
                  <a:gd name="connsiteX81" fmla="*/ 2697502 w 4519987"/>
                  <a:gd name="connsiteY81" fmla="*/ 4429125 h 4496940"/>
                  <a:gd name="connsiteX82" fmla="*/ 2640352 w 4519987"/>
                  <a:gd name="connsiteY82" fmla="*/ 4457700 h 4496940"/>
                  <a:gd name="connsiteX83" fmla="*/ 2583202 w 4519987"/>
                  <a:gd name="connsiteY83" fmla="*/ 4467225 h 4496940"/>
                  <a:gd name="connsiteX84" fmla="*/ 2545102 w 4519987"/>
                  <a:gd name="connsiteY84" fmla="*/ 4486275 h 4496940"/>
                  <a:gd name="connsiteX85" fmla="*/ 2306977 w 4519987"/>
                  <a:gd name="connsiteY85" fmla="*/ 4476750 h 4496940"/>
                  <a:gd name="connsiteX86" fmla="*/ 2202202 w 4519987"/>
                  <a:gd name="connsiteY86" fmla="*/ 4457700 h 4496940"/>
                  <a:gd name="connsiteX87" fmla="*/ 2126002 w 4519987"/>
                  <a:gd name="connsiteY87" fmla="*/ 4429125 h 4496940"/>
                  <a:gd name="connsiteX88" fmla="*/ 1935502 w 4519987"/>
                  <a:gd name="connsiteY88" fmla="*/ 4400550 h 4496940"/>
                  <a:gd name="connsiteX89" fmla="*/ 1821202 w 4519987"/>
                  <a:gd name="connsiteY89" fmla="*/ 4371975 h 4496940"/>
                  <a:gd name="connsiteX90" fmla="*/ 1754527 w 4519987"/>
                  <a:gd name="connsiteY90" fmla="*/ 4352925 h 4496940"/>
                  <a:gd name="connsiteX91" fmla="*/ 1687852 w 4519987"/>
                  <a:gd name="connsiteY91" fmla="*/ 4343400 h 4496940"/>
                  <a:gd name="connsiteX92" fmla="*/ 1573552 w 4519987"/>
                  <a:gd name="connsiteY92" fmla="*/ 4305300 h 4496940"/>
                  <a:gd name="connsiteX93" fmla="*/ 1402102 w 4519987"/>
                  <a:gd name="connsiteY93" fmla="*/ 4276725 h 4496940"/>
                  <a:gd name="connsiteX94" fmla="*/ 1287802 w 4519987"/>
                  <a:gd name="connsiteY94" fmla="*/ 4229100 h 4496940"/>
                  <a:gd name="connsiteX95" fmla="*/ 1221127 w 4519987"/>
                  <a:gd name="connsiteY95" fmla="*/ 4200525 h 4496940"/>
                  <a:gd name="connsiteX96" fmla="*/ 1144927 w 4519987"/>
                  <a:gd name="connsiteY96" fmla="*/ 4171950 h 4496940"/>
                  <a:gd name="connsiteX97" fmla="*/ 1087777 w 4519987"/>
                  <a:gd name="connsiteY97" fmla="*/ 4143375 h 4496940"/>
                  <a:gd name="connsiteX98" fmla="*/ 1030627 w 4519987"/>
                  <a:gd name="connsiteY98" fmla="*/ 4124325 h 4496940"/>
                  <a:gd name="connsiteX99" fmla="*/ 925852 w 4519987"/>
                  <a:gd name="connsiteY99" fmla="*/ 4067175 h 4496940"/>
                  <a:gd name="connsiteX100" fmla="*/ 830602 w 4519987"/>
                  <a:gd name="connsiteY100" fmla="*/ 3981450 h 4496940"/>
                  <a:gd name="connsiteX101" fmla="*/ 763927 w 4519987"/>
                  <a:gd name="connsiteY101" fmla="*/ 3914775 h 4496940"/>
                  <a:gd name="connsiteX102" fmla="*/ 725827 w 4519987"/>
                  <a:gd name="connsiteY102" fmla="*/ 3876675 h 4496940"/>
                  <a:gd name="connsiteX103" fmla="*/ 697252 w 4519987"/>
                  <a:gd name="connsiteY103" fmla="*/ 3838575 h 4496940"/>
                  <a:gd name="connsiteX104" fmla="*/ 640102 w 4519987"/>
                  <a:gd name="connsiteY104" fmla="*/ 3781425 h 4496940"/>
                  <a:gd name="connsiteX105" fmla="*/ 611527 w 4519987"/>
                  <a:gd name="connsiteY105" fmla="*/ 3733800 h 4496940"/>
                  <a:gd name="connsiteX106" fmla="*/ 554377 w 4519987"/>
                  <a:gd name="connsiteY106" fmla="*/ 3657600 h 4496940"/>
                  <a:gd name="connsiteX107" fmla="*/ 525802 w 4519987"/>
                  <a:gd name="connsiteY107" fmla="*/ 3609975 h 4496940"/>
                  <a:gd name="connsiteX108" fmla="*/ 497227 w 4519987"/>
                  <a:gd name="connsiteY108" fmla="*/ 3552825 h 4496940"/>
                  <a:gd name="connsiteX109" fmla="*/ 440077 w 4519987"/>
                  <a:gd name="connsiteY109" fmla="*/ 3495675 h 4496940"/>
                  <a:gd name="connsiteX110" fmla="*/ 411502 w 4519987"/>
                  <a:gd name="connsiteY110" fmla="*/ 3448050 h 4496940"/>
                  <a:gd name="connsiteX111" fmla="*/ 278152 w 4519987"/>
                  <a:gd name="connsiteY111" fmla="*/ 3257550 h 4496940"/>
                  <a:gd name="connsiteX112" fmla="*/ 249577 w 4519987"/>
                  <a:gd name="connsiteY112" fmla="*/ 3200400 h 4496940"/>
                  <a:gd name="connsiteX113" fmla="*/ 240052 w 4519987"/>
                  <a:gd name="connsiteY113" fmla="*/ 3162300 h 4496940"/>
                  <a:gd name="connsiteX114" fmla="*/ 221002 w 4519987"/>
                  <a:gd name="connsiteY114" fmla="*/ 3105150 h 4496940"/>
                  <a:gd name="connsiteX115" fmla="*/ 173377 w 4519987"/>
                  <a:gd name="connsiteY115" fmla="*/ 3019425 h 4496940"/>
                  <a:gd name="connsiteX116" fmla="*/ 144802 w 4519987"/>
                  <a:gd name="connsiteY116" fmla="*/ 2924175 h 4496940"/>
                  <a:gd name="connsiteX117" fmla="*/ 68602 w 4519987"/>
                  <a:gd name="connsiteY117" fmla="*/ 2724150 h 4496940"/>
                  <a:gd name="connsiteX118" fmla="*/ 49552 w 4519987"/>
                  <a:gd name="connsiteY118" fmla="*/ 2638425 h 4496940"/>
                  <a:gd name="connsiteX119" fmla="*/ 40027 w 4519987"/>
                  <a:gd name="connsiteY119" fmla="*/ 2562225 h 4496940"/>
                  <a:gd name="connsiteX120" fmla="*/ 30502 w 4519987"/>
                  <a:gd name="connsiteY120" fmla="*/ 2514600 h 4496940"/>
                  <a:gd name="connsiteX121" fmla="*/ 11452 w 4519987"/>
                  <a:gd name="connsiteY121" fmla="*/ 2400300 h 4496940"/>
                  <a:gd name="connsiteX122" fmla="*/ 20977 w 4519987"/>
                  <a:gd name="connsiteY122" fmla="*/ 1905000 h 4496940"/>
                  <a:gd name="connsiteX123" fmla="*/ 30502 w 4519987"/>
                  <a:gd name="connsiteY123" fmla="*/ 1838325 h 4496940"/>
                  <a:gd name="connsiteX124" fmla="*/ 49552 w 4519987"/>
                  <a:gd name="connsiteY124" fmla="*/ 1781175 h 4496940"/>
                  <a:gd name="connsiteX125" fmla="*/ 59077 w 4519987"/>
                  <a:gd name="connsiteY125" fmla="*/ 1743075 h 4496940"/>
                  <a:gd name="connsiteX126" fmla="*/ 78127 w 4519987"/>
                  <a:gd name="connsiteY126" fmla="*/ 1685925 h 4496940"/>
                  <a:gd name="connsiteX127" fmla="*/ 87652 w 4519987"/>
                  <a:gd name="connsiteY127" fmla="*/ 1638300 h 4496940"/>
                  <a:gd name="connsiteX128" fmla="*/ 106702 w 4519987"/>
                  <a:gd name="connsiteY128" fmla="*/ 1590675 h 4496940"/>
                  <a:gd name="connsiteX129" fmla="*/ 135277 w 4519987"/>
                  <a:gd name="connsiteY129" fmla="*/ 1504950 h 4496940"/>
                  <a:gd name="connsiteX130" fmla="*/ 154327 w 4519987"/>
                  <a:gd name="connsiteY130" fmla="*/ 1419225 h 4496940"/>
                  <a:gd name="connsiteX131" fmla="*/ 230527 w 4519987"/>
                  <a:gd name="connsiteY131" fmla="*/ 1276350 h 4496940"/>
                  <a:gd name="connsiteX132" fmla="*/ 240052 w 4519987"/>
                  <a:gd name="connsiteY132" fmla="*/ 1247775 h 4496940"/>
                  <a:gd name="connsiteX133" fmla="*/ 268627 w 4519987"/>
                  <a:gd name="connsiteY133" fmla="*/ 1200150 h 4496940"/>
                  <a:gd name="connsiteX134" fmla="*/ 287677 w 4519987"/>
                  <a:gd name="connsiteY134" fmla="*/ 1152525 h 4496940"/>
                  <a:gd name="connsiteX135" fmla="*/ 316252 w 4519987"/>
                  <a:gd name="connsiteY135" fmla="*/ 1114425 h 4496940"/>
                  <a:gd name="connsiteX136" fmla="*/ 363877 w 4519987"/>
                  <a:gd name="connsiteY136" fmla="*/ 1038225 h 4496940"/>
                  <a:gd name="connsiteX137" fmla="*/ 382927 w 4519987"/>
                  <a:gd name="connsiteY137" fmla="*/ 1009650 h 4496940"/>
                  <a:gd name="connsiteX138" fmla="*/ 440077 w 4519987"/>
                  <a:gd name="connsiteY138" fmla="*/ 904875 h 4496940"/>
                  <a:gd name="connsiteX139" fmla="*/ 478177 w 4519987"/>
                  <a:gd name="connsiteY139" fmla="*/ 857250 h 4496940"/>
                  <a:gd name="connsiteX140" fmla="*/ 497227 w 4519987"/>
                  <a:gd name="connsiteY140" fmla="*/ 828675 h 4496940"/>
                  <a:gd name="connsiteX141" fmla="*/ 535327 w 4519987"/>
                  <a:gd name="connsiteY141" fmla="*/ 800100 h 4496940"/>
                  <a:gd name="connsiteX142" fmla="*/ 602002 w 4519987"/>
                  <a:gd name="connsiteY142" fmla="*/ 733425 h 4496940"/>
                  <a:gd name="connsiteX143" fmla="*/ 668677 w 4519987"/>
                  <a:gd name="connsiteY143" fmla="*/ 676275 h 4496940"/>
                  <a:gd name="connsiteX144" fmla="*/ 697252 w 4519987"/>
                  <a:gd name="connsiteY144" fmla="*/ 657225 h 4496940"/>
                  <a:gd name="connsiteX145" fmla="*/ 840127 w 4519987"/>
                  <a:gd name="connsiteY145" fmla="*/ 533400 h 4496940"/>
                  <a:gd name="connsiteX146" fmla="*/ 887752 w 4519987"/>
                  <a:gd name="connsiteY146" fmla="*/ 504825 h 4496940"/>
                  <a:gd name="connsiteX147" fmla="*/ 1167152 w 4519987"/>
                  <a:gd name="connsiteY147" fmla="*/ 311150 h 4496940"/>
                  <a:gd name="connsiteX148" fmla="*/ 1268752 w 4519987"/>
                  <a:gd name="connsiteY148" fmla="*/ 285750 h 4496940"/>
                  <a:gd name="connsiteX149" fmla="*/ 1411627 w 4519987"/>
                  <a:gd name="connsiteY149" fmla="*/ 190500 h 4496940"/>
                  <a:gd name="connsiteX150" fmla="*/ 1449727 w 4519987"/>
                  <a:gd name="connsiteY150" fmla="*/ 161925 h 4496940"/>
                  <a:gd name="connsiteX151" fmla="*/ 1525927 w 4519987"/>
                  <a:gd name="connsiteY151" fmla="*/ 152400 h 4496940"/>
                  <a:gd name="connsiteX152" fmla="*/ 1583077 w 4519987"/>
                  <a:gd name="connsiteY152" fmla="*/ 142875 h 4496940"/>
                  <a:gd name="connsiteX153" fmla="*/ 1716427 w 4519987"/>
                  <a:gd name="connsiteY153" fmla="*/ 123825 h 4496940"/>
                  <a:gd name="connsiteX154" fmla="*/ 1811677 w 4519987"/>
                  <a:gd name="connsiteY154" fmla="*/ 114300 h 4496940"/>
                  <a:gd name="connsiteX155" fmla="*/ 1859302 w 4519987"/>
                  <a:gd name="connsiteY155" fmla="*/ 104775 h 4496940"/>
                  <a:gd name="connsiteX156" fmla="*/ 1916452 w 4519987"/>
                  <a:gd name="connsiteY156" fmla="*/ 95250 h 4496940"/>
                  <a:gd name="connsiteX157" fmla="*/ 2030752 w 4519987"/>
                  <a:gd name="connsiteY157" fmla="*/ 66675 h 4496940"/>
                  <a:gd name="connsiteX158" fmla="*/ 2097427 w 4519987"/>
                  <a:gd name="connsiteY158" fmla="*/ 47625 h 4496940"/>
                  <a:gd name="connsiteX159" fmla="*/ 2164102 w 4519987"/>
                  <a:gd name="connsiteY159" fmla="*/ 38100 h 4496940"/>
                  <a:gd name="connsiteX160" fmla="*/ 2392702 w 4519987"/>
                  <a:gd name="connsiteY16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3992902 w 4519987"/>
                  <a:gd name="connsiteY28" fmla="*/ 714375 h 4496940"/>
                  <a:gd name="connsiteX29" fmla="*/ 4050052 w 4519987"/>
                  <a:gd name="connsiteY29" fmla="*/ 790575 h 4496940"/>
                  <a:gd name="connsiteX30" fmla="*/ 4078627 w 4519987"/>
                  <a:gd name="connsiteY30" fmla="*/ 838200 h 4496940"/>
                  <a:gd name="connsiteX31" fmla="*/ 4107202 w 4519987"/>
                  <a:gd name="connsiteY31" fmla="*/ 876300 h 4496940"/>
                  <a:gd name="connsiteX32" fmla="*/ 4116727 w 4519987"/>
                  <a:gd name="connsiteY32" fmla="*/ 904875 h 4496940"/>
                  <a:gd name="connsiteX33" fmla="*/ 4135777 w 4519987"/>
                  <a:gd name="connsiteY33" fmla="*/ 933450 h 4496940"/>
                  <a:gd name="connsiteX34" fmla="*/ 4164352 w 4519987"/>
                  <a:gd name="connsiteY34" fmla="*/ 990600 h 4496940"/>
                  <a:gd name="connsiteX35" fmla="*/ 4173877 w 4519987"/>
                  <a:gd name="connsiteY35" fmla="*/ 1019175 h 4496940"/>
                  <a:gd name="connsiteX36" fmla="*/ 4192927 w 4519987"/>
                  <a:gd name="connsiteY36" fmla="*/ 1057275 h 4496940"/>
                  <a:gd name="connsiteX37" fmla="*/ 4202452 w 4519987"/>
                  <a:gd name="connsiteY37" fmla="*/ 1085850 h 4496940"/>
                  <a:gd name="connsiteX38" fmla="*/ 4250077 w 4519987"/>
                  <a:gd name="connsiteY38" fmla="*/ 1143000 h 4496940"/>
                  <a:gd name="connsiteX39" fmla="*/ 4259602 w 4519987"/>
                  <a:gd name="connsiteY39" fmla="*/ 1190625 h 4496940"/>
                  <a:gd name="connsiteX40" fmla="*/ 4307227 w 4519987"/>
                  <a:gd name="connsiteY40" fmla="*/ 1266825 h 4496940"/>
                  <a:gd name="connsiteX41" fmla="*/ 4345327 w 4519987"/>
                  <a:gd name="connsiteY41" fmla="*/ 1362075 h 4496940"/>
                  <a:gd name="connsiteX42" fmla="*/ 4373902 w 4519987"/>
                  <a:gd name="connsiteY42" fmla="*/ 1428750 h 4496940"/>
                  <a:gd name="connsiteX43" fmla="*/ 4392952 w 4519987"/>
                  <a:gd name="connsiteY43" fmla="*/ 1552575 h 4496940"/>
                  <a:gd name="connsiteX44" fmla="*/ 4402477 w 4519987"/>
                  <a:gd name="connsiteY44" fmla="*/ 1590675 h 4496940"/>
                  <a:gd name="connsiteX45" fmla="*/ 4431052 w 4519987"/>
                  <a:gd name="connsiteY45" fmla="*/ 1685925 h 4496940"/>
                  <a:gd name="connsiteX46" fmla="*/ 4519952 w 4519987"/>
                  <a:gd name="connsiteY46" fmla="*/ 2181225 h 4496940"/>
                  <a:gd name="connsiteX47" fmla="*/ 4446927 w 4519987"/>
                  <a:gd name="connsiteY47" fmla="*/ 2768600 h 4496940"/>
                  <a:gd name="connsiteX48" fmla="*/ 4383427 w 4519987"/>
                  <a:gd name="connsiteY48" fmla="*/ 2990850 h 4496940"/>
                  <a:gd name="connsiteX49" fmla="*/ 4278652 w 4519987"/>
                  <a:gd name="connsiteY49" fmla="*/ 3248025 h 4496940"/>
                  <a:gd name="connsiteX50" fmla="*/ 4259602 w 4519987"/>
                  <a:gd name="connsiteY50" fmla="*/ 3276600 h 4496940"/>
                  <a:gd name="connsiteX51" fmla="*/ 4221502 w 4519987"/>
                  <a:gd name="connsiteY51" fmla="*/ 3333750 h 4496940"/>
                  <a:gd name="connsiteX52" fmla="*/ 4211977 w 4519987"/>
                  <a:gd name="connsiteY52" fmla="*/ 3362325 h 4496940"/>
                  <a:gd name="connsiteX53" fmla="*/ 4183402 w 4519987"/>
                  <a:gd name="connsiteY53" fmla="*/ 3400425 h 4496940"/>
                  <a:gd name="connsiteX54" fmla="*/ 4164352 w 4519987"/>
                  <a:gd name="connsiteY54" fmla="*/ 3429000 h 4496940"/>
                  <a:gd name="connsiteX55" fmla="*/ 4088152 w 4519987"/>
                  <a:gd name="connsiteY55" fmla="*/ 3495675 h 4496940"/>
                  <a:gd name="connsiteX56" fmla="*/ 4059577 w 4519987"/>
                  <a:gd name="connsiteY56" fmla="*/ 3533775 h 4496940"/>
                  <a:gd name="connsiteX57" fmla="*/ 4002427 w 4519987"/>
                  <a:gd name="connsiteY57" fmla="*/ 3600450 h 4496940"/>
                  <a:gd name="connsiteX58" fmla="*/ 3983377 w 4519987"/>
                  <a:gd name="connsiteY58" fmla="*/ 3629025 h 4496940"/>
                  <a:gd name="connsiteX59" fmla="*/ 3954802 w 4519987"/>
                  <a:gd name="connsiteY59" fmla="*/ 3648075 h 4496940"/>
                  <a:gd name="connsiteX60" fmla="*/ 3907177 w 4519987"/>
                  <a:gd name="connsiteY60" fmla="*/ 3686175 h 4496940"/>
                  <a:gd name="connsiteX61" fmla="*/ 3869077 w 4519987"/>
                  <a:gd name="connsiteY61" fmla="*/ 3724275 h 4496940"/>
                  <a:gd name="connsiteX62" fmla="*/ 3792877 w 4519987"/>
                  <a:gd name="connsiteY62" fmla="*/ 3781425 h 4496940"/>
                  <a:gd name="connsiteX63" fmla="*/ 3783352 w 4519987"/>
                  <a:gd name="connsiteY63" fmla="*/ 3810000 h 4496940"/>
                  <a:gd name="connsiteX64" fmla="*/ 3745252 w 4519987"/>
                  <a:gd name="connsiteY64" fmla="*/ 3819525 h 4496940"/>
                  <a:gd name="connsiteX65" fmla="*/ 3678577 w 4519987"/>
                  <a:gd name="connsiteY65" fmla="*/ 3848100 h 4496940"/>
                  <a:gd name="connsiteX66" fmla="*/ 3659527 w 4519987"/>
                  <a:gd name="connsiteY66" fmla="*/ 3971925 h 4496940"/>
                  <a:gd name="connsiteX67" fmla="*/ 3630952 w 4519987"/>
                  <a:gd name="connsiteY67" fmla="*/ 4010025 h 4496940"/>
                  <a:gd name="connsiteX68" fmla="*/ 3621427 w 4519987"/>
                  <a:gd name="connsiteY68" fmla="*/ 4038600 h 4496940"/>
                  <a:gd name="connsiteX69" fmla="*/ 3554752 w 4519987"/>
                  <a:gd name="connsiteY69" fmla="*/ 4095750 h 4496940"/>
                  <a:gd name="connsiteX70" fmla="*/ 3516652 w 4519987"/>
                  <a:gd name="connsiteY70" fmla="*/ 4114800 h 4496940"/>
                  <a:gd name="connsiteX71" fmla="*/ 3497602 w 4519987"/>
                  <a:gd name="connsiteY71" fmla="*/ 4143375 h 4496940"/>
                  <a:gd name="connsiteX72" fmla="*/ 3383302 w 4519987"/>
                  <a:gd name="connsiteY72" fmla="*/ 4210050 h 4496940"/>
                  <a:gd name="connsiteX73" fmla="*/ 3335677 w 4519987"/>
                  <a:gd name="connsiteY73" fmla="*/ 4238625 h 4496940"/>
                  <a:gd name="connsiteX74" fmla="*/ 3288052 w 4519987"/>
                  <a:gd name="connsiteY74" fmla="*/ 4248150 h 4496940"/>
                  <a:gd name="connsiteX75" fmla="*/ 3240427 w 4519987"/>
                  <a:gd name="connsiteY75" fmla="*/ 4267200 h 4496940"/>
                  <a:gd name="connsiteX76" fmla="*/ 3068977 w 4519987"/>
                  <a:gd name="connsiteY76" fmla="*/ 4286250 h 4496940"/>
                  <a:gd name="connsiteX77" fmla="*/ 2935627 w 4519987"/>
                  <a:gd name="connsiteY77" fmla="*/ 4333875 h 4496940"/>
                  <a:gd name="connsiteX78" fmla="*/ 2811802 w 4519987"/>
                  <a:gd name="connsiteY78" fmla="*/ 4371975 h 4496940"/>
                  <a:gd name="connsiteX79" fmla="*/ 2745127 w 4519987"/>
                  <a:gd name="connsiteY79" fmla="*/ 4410075 h 4496940"/>
                  <a:gd name="connsiteX80" fmla="*/ 2697502 w 4519987"/>
                  <a:gd name="connsiteY80" fmla="*/ 4429125 h 4496940"/>
                  <a:gd name="connsiteX81" fmla="*/ 2640352 w 4519987"/>
                  <a:gd name="connsiteY81" fmla="*/ 4457700 h 4496940"/>
                  <a:gd name="connsiteX82" fmla="*/ 2583202 w 4519987"/>
                  <a:gd name="connsiteY82" fmla="*/ 4467225 h 4496940"/>
                  <a:gd name="connsiteX83" fmla="*/ 2545102 w 4519987"/>
                  <a:gd name="connsiteY83" fmla="*/ 4486275 h 4496940"/>
                  <a:gd name="connsiteX84" fmla="*/ 2306977 w 4519987"/>
                  <a:gd name="connsiteY84" fmla="*/ 4476750 h 4496940"/>
                  <a:gd name="connsiteX85" fmla="*/ 2202202 w 4519987"/>
                  <a:gd name="connsiteY85" fmla="*/ 4457700 h 4496940"/>
                  <a:gd name="connsiteX86" fmla="*/ 2126002 w 4519987"/>
                  <a:gd name="connsiteY86" fmla="*/ 4429125 h 4496940"/>
                  <a:gd name="connsiteX87" fmla="*/ 1935502 w 4519987"/>
                  <a:gd name="connsiteY87" fmla="*/ 4400550 h 4496940"/>
                  <a:gd name="connsiteX88" fmla="*/ 1821202 w 4519987"/>
                  <a:gd name="connsiteY88" fmla="*/ 4371975 h 4496940"/>
                  <a:gd name="connsiteX89" fmla="*/ 1754527 w 4519987"/>
                  <a:gd name="connsiteY89" fmla="*/ 4352925 h 4496940"/>
                  <a:gd name="connsiteX90" fmla="*/ 1687852 w 4519987"/>
                  <a:gd name="connsiteY90" fmla="*/ 4343400 h 4496940"/>
                  <a:gd name="connsiteX91" fmla="*/ 1573552 w 4519987"/>
                  <a:gd name="connsiteY91" fmla="*/ 4305300 h 4496940"/>
                  <a:gd name="connsiteX92" fmla="*/ 1402102 w 4519987"/>
                  <a:gd name="connsiteY92" fmla="*/ 4276725 h 4496940"/>
                  <a:gd name="connsiteX93" fmla="*/ 1287802 w 4519987"/>
                  <a:gd name="connsiteY93" fmla="*/ 4229100 h 4496940"/>
                  <a:gd name="connsiteX94" fmla="*/ 1221127 w 4519987"/>
                  <a:gd name="connsiteY94" fmla="*/ 4200525 h 4496940"/>
                  <a:gd name="connsiteX95" fmla="*/ 1144927 w 4519987"/>
                  <a:gd name="connsiteY95" fmla="*/ 4171950 h 4496940"/>
                  <a:gd name="connsiteX96" fmla="*/ 1087777 w 4519987"/>
                  <a:gd name="connsiteY96" fmla="*/ 4143375 h 4496940"/>
                  <a:gd name="connsiteX97" fmla="*/ 1030627 w 4519987"/>
                  <a:gd name="connsiteY97" fmla="*/ 4124325 h 4496940"/>
                  <a:gd name="connsiteX98" fmla="*/ 925852 w 4519987"/>
                  <a:gd name="connsiteY98" fmla="*/ 4067175 h 4496940"/>
                  <a:gd name="connsiteX99" fmla="*/ 830602 w 4519987"/>
                  <a:gd name="connsiteY99" fmla="*/ 3981450 h 4496940"/>
                  <a:gd name="connsiteX100" fmla="*/ 763927 w 4519987"/>
                  <a:gd name="connsiteY100" fmla="*/ 3914775 h 4496940"/>
                  <a:gd name="connsiteX101" fmla="*/ 725827 w 4519987"/>
                  <a:gd name="connsiteY101" fmla="*/ 3876675 h 4496940"/>
                  <a:gd name="connsiteX102" fmla="*/ 697252 w 4519987"/>
                  <a:gd name="connsiteY102" fmla="*/ 3838575 h 4496940"/>
                  <a:gd name="connsiteX103" fmla="*/ 640102 w 4519987"/>
                  <a:gd name="connsiteY103" fmla="*/ 3781425 h 4496940"/>
                  <a:gd name="connsiteX104" fmla="*/ 611527 w 4519987"/>
                  <a:gd name="connsiteY104" fmla="*/ 3733800 h 4496940"/>
                  <a:gd name="connsiteX105" fmla="*/ 554377 w 4519987"/>
                  <a:gd name="connsiteY105" fmla="*/ 3657600 h 4496940"/>
                  <a:gd name="connsiteX106" fmla="*/ 525802 w 4519987"/>
                  <a:gd name="connsiteY106" fmla="*/ 3609975 h 4496940"/>
                  <a:gd name="connsiteX107" fmla="*/ 497227 w 4519987"/>
                  <a:gd name="connsiteY107" fmla="*/ 3552825 h 4496940"/>
                  <a:gd name="connsiteX108" fmla="*/ 440077 w 4519987"/>
                  <a:gd name="connsiteY108" fmla="*/ 3495675 h 4496940"/>
                  <a:gd name="connsiteX109" fmla="*/ 411502 w 4519987"/>
                  <a:gd name="connsiteY109" fmla="*/ 3448050 h 4496940"/>
                  <a:gd name="connsiteX110" fmla="*/ 278152 w 4519987"/>
                  <a:gd name="connsiteY110" fmla="*/ 3257550 h 4496940"/>
                  <a:gd name="connsiteX111" fmla="*/ 249577 w 4519987"/>
                  <a:gd name="connsiteY111" fmla="*/ 3200400 h 4496940"/>
                  <a:gd name="connsiteX112" fmla="*/ 240052 w 4519987"/>
                  <a:gd name="connsiteY112" fmla="*/ 3162300 h 4496940"/>
                  <a:gd name="connsiteX113" fmla="*/ 221002 w 4519987"/>
                  <a:gd name="connsiteY113" fmla="*/ 3105150 h 4496940"/>
                  <a:gd name="connsiteX114" fmla="*/ 173377 w 4519987"/>
                  <a:gd name="connsiteY114" fmla="*/ 3019425 h 4496940"/>
                  <a:gd name="connsiteX115" fmla="*/ 144802 w 4519987"/>
                  <a:gd name="connsiteY115" fmla="*/ 2924175 h 4496940"/>
                  <a:gd name="connsiteX116" fmla="*/ 68602 w 4519987"/>
                  <a:gd name="connsiteY116" fmla="*/ 2724150 h 4496940"/>
                  <a:gd name="connsiteX117" fmla="*/ 49552 w 4519987"/>
                  <a:gd name="connsiteY117" fmla="*/ 2638425 h 4496940"/>
                  <a:gd name="connsiteX118" fmla="*/ 40027 w 4519987"/>
                  <a:gd name="connsiteY118" fmla="*/ 2562225 h 4496940"/>
                  <a:gd name="connsiteX119" fmla="*/ 30502 w 4519987"/>
                  <a:gd name="connsiteY119" fmla="*/ 2514600 h 4496940"/>
                  <a:gd name="connsiteX120" fmla="*/ 11452 w 4519987"/>
                  <a:gd name="connsiteY120" fmla="*/ 2400300 h 4496940"/>
                  <a:gd name="connsiteX121" fmla="*/ 20977 w 4519987"/>
                  <a:gd name="connsiteY121" fmla="*/ 1905000 h 4496940"/>
                  <a:gd name="connsiteX122" fmla="*/ 30502 w 4519987"/>
                  <a:gd name="connsiteY122" fmla="*/ 1838325 h 4496940"/>
                  <a:gd name="connsiteX123" fmla="*/ 49552 w 4519987"/>
                  <a:gd name="connsiteY123" fmla="*/ 1781175 h 4496940"/>
                  <a:gd name="connsiteX124" fmla="*/ 59077 w 4519987"/>
                  <a:gd name="connsiteY124" fmla="*/ 1743075 h 4496940"/>
                  <a:gd name="connsiteX125" fmla="*/ 78127 w 4519987"/>
                  <a:gd name="connsiteY125" fmla="*/ 1685925 h 4496940"/>
                  <a:gd name="connsiteX126" fmla="*/ 87652 w 4519987"/>
                  <a:gd name="connsiteY126" fmla="*/ 1638300 h 4496940"/>
                  <a:gd name="connsiteX127" fmla="*/ 106702 w 4519987"/>
                  <a:gd name="connsiteY127" fmla="*/ 1590675 h 4496940"/>
                  <a:gd name="connsiteX128" fmla="*/ 135277 w 4519987"/>
                  <a:gd name="connsiteY128" fmla="*/ 1504950 h 4496940"/>
                  <a:gd name="connsiteX129" fmla="*/ 154327 w 4519987"/>
                  <a:gd name="connsiteY129" fmla="*/ 1419225 h 4496940"/>
                  <a:gd name="connsiteX130" fmla="*/ 230527 w 4519987"/>
                  <a:gd name="connsiteY130" fmla="*/ 1276350 h 4496940"/>
                  <a:gd name="connsiteX131" fmla="*/ 240052 w 4519987"/>
                  <a:gd name="connsiteY131" fmla="*/ 1247775 h 4496940"/>
                  <a:gd name="connsiteX132" fmla="*/ 268627 w 4519987"/>
                  <a:gd name="connsiteY132" fmla="*/ 1200150 h 4496940"/>
                  <a:gd name="connsiteX133" fmla="*/ 287677 w 4519987"/>
                  <a:gd name="connsiteY133" fmla="*/ 1152525 h 4496940"/>
                  <a:gd name="connsiteX134" fmla="*/ 316252 w 4519987"/>
                  <a:gd name="connsiteY134" fmla="*/ 1114425 h 4496940"/>
                  <a:gd name="connsiteX135" fmla="*/ 363877 w 4519987"/>
                  <a:gd name="connsiteY135" fmla="*/ 1038225 h 4496940"/>
                  <a:gd name="connsiteX136" fmla="*/ 382927 w 4519987"/>
                  <a:gd name="connsiteY136" fmla="*/ 1009650 h 4496940"/>
                  <a:gd name="connsiteX137" fmla="*/ 440077 w 4519987"/>
                  <a:gd name="connsiteY137" fmla="*/ 904875 h 4496940"/>
                  <a:gd name="connsiteX138" fmla="*/ 478177 w 4519987"/>
                  <a:gd name="connsiteY138" fmla="*/ 857250 h 4496940"/>
                  <a:gd name="connsiteX139" fmla="*/ 497227 w 4519987"/>
                  <a:gd name="connsiteY139" fmla="*/ 828675 h 4496940"/>
                  <a:gd name="connsiteX140" fmla="*/ 535327 w 4519987"/>
                  <a:gd name="connsiteY140" fmla="*/ 800100 h 4496940"/>
                  <a:gd name="connsiteX141" fmla="*/ 602002 w 4519987"/>
                  <a:gd name="connsiteY141" fmla="*/ 733425 h 4496940"/>
                  <a:gd name="connsiteX142" fmla="*/ 668677 w 4519987"/>
                  <a:gd name="connsiteY142" fmla="*/ 676275 h 4496940"/>
                  <a:gd name="connsiteX143" fmla="*/ 697252 w 4519987"/>
                  <a:gd name="connsiteY143" fmla="*/ 657225 h 4496940"/>
                  <a:gd name="connsiteX144" fmla="*/ 840127 w 4519987"/>
                  <a:gd name="connsiteY144" fmla="*/ 533400 h 4496940"/>
                  <a:gd name="connsiteX145" fmla="*/ 887752 w 4519987"/>
                  <a:gd name="connsiteY145" fmla="*/ 504825 h 4496940"/>
                  <a:gd name="connsiteX146" fmla="*/ 1167152 w 4519987"/>
                  <a:gd name="connsiteY146" fmla="*/ 311150 h 4496940"/>
                  <a:gd name="connsiteX147" fmla="*/ 1268752 w 4519987"/>
                  <a:gd name="connsiteY147" fmla="*/ 285750 h 4496940"/>
                  <a:gd name="connsiteX148" fmla="*/ 1411627 w 4519987"/>
                  <a:gd name="connsiteY148" fmla="*/ 190500 h 4496940"/>
                  <a:gd name="connsiteX149" fmla="*/ 1449727 w 4519987"/>
                  <a:gd name="connsiteY149" fmla="*/ 161925 h 4496940"/>
                  <a:gd name="connsiteX150" fmla="*/ 1525927 w 4519987"/>
                  <a:gd name="connsiteY150" fmla="*/ 152400 h 4496940"/>
                  <a:gd name="connsiteX151" fmla="*/ 1583077 w 4519987"/>
                  <a:gd name="connsiteY151" fmla="*/ 142875 h 4496940"/>
                  <a:gd name="connsiteX152" fmla="*/ 1716427 w 4519987"/>
                  <a:gd name="connsiteY152" fmla="*/ 123825 h 4496940"/>
                  <a:gd name="connsiteX153" fmla="*/ 1811677 w 4519987"/>
                  <a:gd name="connsiteY153" fmla="*/ 114300 h 4496940"/>
                  <a:gd name="connsiteX154" fmla="*/ 1859302 w 4519987"/>
                  <a:gd name="connsiteY154" fmla="*/ 104775 h 4496940"/>
                  <a:gd name="connsiteX155" fmla="*/ 1916452 w 4519987"/>
                  <a:gd name="connsiteY155" fmla="*/ 95250 h 4496940"/>
                  <a:gd name="connsiteX156" fmla="*/ 2030752 w 4519987"/>
                  <a:gd name="connsiteY156" fmla="*/ 66675 h 4496940"/>
                  <a:gd name="connsiteX157" fmla="*/ 2097427 w 4519987"/>
                  <a:gd name="connsiteY157" fmla="*/ 47625 h 4496940"/>
                  <a:gd name="connsiteX158" fmla="*/ 2164102 w 4519987"/>
                  <a:gd name="connsiteY158" fmla="*/ 38100 h 4496940"/>
                  <a:gd name="connsiteX159" fmla="*/ 2392702 w 4519987"/>
                  <a:gd name="connsiteY15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50052 w 4519987"/>
                  <a:gd name="connsiteY28" fmla="*/ 790575 h 4496940"/>
                  <a:gd name="connsiteX29" fmla="*/ 4078627 w 4519987"/>
                  <a:gd name="connsiteY29" fmla="*/ 838200 h 4496940"/>
                  <a:gd name="connsiteX30" fmla="*/ 4107202 w 4519987"/>
                  <a:gd name="connsiteY30" fmla="*/ 876300 h 4496940"/>
                  <a:gd name="connsiteX31" fmla="*/ 4116727 w 4519987"/>
                  <a:gd name="connsiteY31" fmla="*/ 904875 h 4496940"/>
                  <a:gd name="connsiteX32" fmla="*/ 4135777 w 4519987"/>
                  <a:gd name="connsiteY32" fmla="*/ 933450 h 4496940"/>
                  <a:gd name="connsiteX33" fmla="*/ 4164352 w 4519987"/>
                  <a:gd name="connsiteY33" fmla="*/ 990600 h 4496940"/>
                  <a:gd name="connsiteX34" fmla="*/ 4173877 w 4519987"/>
                  <a:gd name="connsiteY34" fmla="*/ 1019175 h 4496940"/>
                  <a:gd name="connsiteX35" fmla="*/ 4192927 w 4519987"/>
                  <a:gd name="connsiteY35" fmla="*/ 1057275 h 4496940"/>
                  <a:gd name="connsiteX36" fmla="*/ 4202452 w 4519987"/>
                  <a:gd name="connsiteY36" fmla="*/ 1085850 h 4496940"/>
                  <a:gd name="connsiteX37" fmla="*/ 4250077 w 4519987"/>
                  <a:gd name="connsiteY37" fmla="*/ 1143000 h 4496940"/>
                  <a:gd name="connsiteX38" fmla="*/ 4259602 w 4519987"/>
                  <a:gd name="connsiteY38" fmla="*/ 1190625 h 4496940"/>
                  <a:gd name="connsiteX39" fmla="*/ 4307227 w 4519987"/>
                  <a:gd name="connsiteY39" fmla="*/ 1266825 h 4496940"/>
                  <a:gd name="connsiteX40" fmla="*/ 4345327 w 4519987"/>
                  <a:gd name="connsiteY40" fmla="*/ 1362075 h 4496940"/>
                  <a:gd name="connsiteX41" fmla="*/ 4373902 w 4519987"/>
                  <a:gd name="connsiteY41" fmla="*/ 1428750 h 4496940"/>
                  <a:gd name="connsiteX42" fmla="*/ 4392952 w 4519987"/>
                  <a:gd name="connsiteY42" fmla="*/ 1552575 h 4496940"/>
                  <a:gd name="connsiteX43" fmla="*/ 4402477 w 4519987"/>
                  <a:gd name="connsiteY43" fmla="*/ 1590675 h 4496940"/>
                  <a:gd name="connsiteX44" fmla="*/ 4431052 w 4519987"/>
                  <a:gd name="connsiteY44" fmla="*/ 1685925 h 4496940"/>
                  <a:gd name="connsiteX45" fmla="*/ 4519952 w 4519987"/>
                  <a:gd name="connsiteY45" fmla="*/ 2181225 h 4496940"/>
                  <a:gd name="connsiteX46" fmla="*/ 4446927 w 4519987"/>
                  <a:gd name="connsiteY46" fmla="*/ 2768600 h 4496940"/>
                  <a:gd name="connsiteX47" fmla="*/ 4383427 w 4519987"/>
                  <a:gd name="connsiteY47" fmla="*/ 2990850 h 4496940"/>
                  <a:gd name="connsiteX48" fmla="*/ 4278652 w 4519987"/>
                  <a:gd name="connsiteY48" fmla="*/ 3248025 h 4496940"/>
                  <a:gd name="connsiteX49" fmla="*/ 4259602 w 4519987"/>
                  <a:gd name="connsiteY49" fmla="*/ 3276600 h 4496940"/>
                  <a:gd name="connsiteX50" fmla="*/ 4221502 w 4519987"/>
                  <a:gd name="connsiteY50" fmla="*/ 3333750 h 4496940"/>
                  <a:gd name="connsiteX51" fmla="*/ 4211977 w 4519987"/>
                  <a:gd name="connsiteY51" fmla="*/ 3362325 h 4496940"/>
                  <a:gd name="connsiteX52" fmla="*/ 4183402 w 4519987"/>
                  <a:gd name="connsiteY52" fmla="*/ 3400425 h 4496940"/>
                  <a:gd name="connsiteX53" fmla="*/ 4164352 w 4519987"/>
                  <a:gd name="connsiteY53" fmla="*/ 3429000 h 4496940"/>
                  <a:gd name="connsiteX54" fmla="*/ 4088152 w 4519987"/>
                  <a:gd name="connsiteY54" fmla="*/ 3495675 h 4496940"/>
                  <a:gd name="connsiteX55" fmla="*/ 4059577 w 4519987"/>
                  <a:gd name="connsiteY55" fmla="*/ 3533775 h 4496940"/>
                  <a:gd name="connsiteX56" fmla="*/ 4002427 w 4519987"/>
                  <a:gd name="connsiteY56" fmla="*/ 3600450 h 4496940"/>
                  <a:gd name="connsiteX57" fmla="*/ 3983377 w 4519987"/>
                  <a:gd name="connsiteY57" fmla="*/ 3629025 h 4496940"/>
                  <a:gd name="connsiteX58" fmla="*/ 3954802 w 4519987"/>
                  <a:gd name="connsiteY58" fmla="*/ 3648075 h 4496940"/>
                  <a:gd name="connsiteX59" fmla="*/ 3907177 w 4519987"/>
                  <a:gd name="connsiteY59" fmla="*/ 3686175 h 4496940"/>
                  <a:gd name="connsiteX60" fmla="*/ 3869077 w 4519987"/>
                  <a:gd name="connsiteY60" fmla="*/ 3724275 h 4496940"/>
                  <a:gd name="connsiteX61" fmla="*/ 3792877 w 4519987"/>
                  <a:gd name="connsiteY61" fmla="*/ 3781425 h 4496940"/>
                  <a:gd name="connsiteX62" fmla="*/ 3783352 w 4519987"/>
                  <a:gd name="connsiteY62" fmla="*/ 3810000 h 4496940"/>
                  <a:gd name="connsiteX63" fmla="*/ 3745252 w 4519987"/>
                  <a:gd name="connsiteY63" fmla="*/ 3819525 h 4496940"/>
                  <a:gd name="connsiteX64" fmla="*/ 3678577 w 4519987"/>
                  <a:gd name="connsiteY64" fmla="*/ 3848100 h 4496940"/>
                  <a:gd name="connsiteX65" fmla="*/ 3659527 w 4519987"/>
                  <a:gd name="connsiteY65" fmla="*/ 3971925 h 4496940"/>
                  <a:gd name="connsiteX66" fmla="*/ 3630952 w 4519987"/>
                  <a:gd name="connsiteY66" fmla="*/ 4010025 h 4496940"/>
                  <a:gd name="connsiteX67" fmla="*/ 3621427 w 4519987"/>
                  <a:gd name="connsiteY67" fmla="*/ 4038600 h 4496940"/>
                  <a:gd name="connsiteX68" fmla="*/ 3554752 w 4519987"/>
                  <a:gd name="connsiteY68" fmla="*/ 4095750 h 4496940"/>
                  <a:gd name="connsiteX69" fmla="*/ 3516652 w 4519987"/>
                  <a:gd name="connsiteY69" fmla="*/ 4114800 h 4496940"/>
                  <a:gd name="connsiteX70" fmla="*/ 3497602 w 4519987"/>
                  <a:gd name="connsiteY70" fmla="*/ 4143375 h 4496940"/>
                  <a:gd name="connsiteX71" fmla="*/ 3383302 w 4519987"/>
                  <a:gd name="connsiteY71" fmla="*/ 4210050 h 4496940"/>
                  <a:gd name="connsiteX72" fmla="*/ 3335677 w 4519987"/>
                  <a:gd name="connsiteY72" fmla="*/ 4238625 h 4496940"/>
                  <a:gd name="connsiteX73" fmla="*/ 3288052 w 4519987"/>
                  <a:gd name="connsiteY73" fmla="*/ 4248150 h 4496940"/>
                  <a:gd name="connsiteX74" fmla="*/ 3240427 w 4519987"/>
                  <a:gd name="connsiteY74" fmla="*/ 4267200 h 4496940"/>
                  <a:gd name="connsiteX75" fmla="*/ 3068977 w 4519987"/>
                  <a:gd name="connsiteY75" fmla="*/ 4286250 h 4496940"/>
                  <a:gd name="connsiteX76" fmla="*/ 2935627 w 4519987"/>
                  <a:gd name="connsiteY76" fmla="*/ 4333875 h 4496940"/>
                  <a:gd name="connsiteX77" fmla="*/ 2811802 w 4519987"/>
                  <a:gd name="connsiteY77" fmla="*/ 4371975 h 4496940"/>
                  <a:gd name="connsiteX78" fmla="*/ 2745127 w 4519987"/>
                  <a:gd name="connsiteY78" fmla="*/ 4410075 h 4496940"/>
                  <a:gd name="connsiteX79" fmla="*/ 2697502 w 4519987"/>
                  <a:gd name="connsiteY79" fmla="*/ 4429125 h 4496940"/>
                  <a:gd name="connsiteX80" fmla="*/ 2640352 w 4519987"/>
                  <a:gd name="connsiteY80" fmla="*/ 4457700 h 4496940"/>
                  <a:gd name="connsiteX81" fmla="*/ 2583202 w 4519987"/>
                  <a:gd name="connsiteY81" fmla="*/ 4467225 h 4496940"/>
                  <a:gd name="connsiteX82" fmla="*/ 2545102 w 4519987"/>
                  <a:gd name="connsiteY82" fmla="*/ 4486275 h 4496940"/>
                  <a:gd name="connsiteX83" fmla="*/ 2306977 w 4519987"/>
                  <a:gd name="connsiteY83" fmla="*/ 4476750 h 4496940"/>
                  <a:gd name="connsiteX84" fmla="*/ 2202202 w 4519987"/>
                  <a:gd name="connsiteY84" fmla="*/ 4457700 h 4496940"/>
                  <a:gd name="connsiteX85" fmla="*/ 2126002 w 4519987"/>
                  <a:gd name="connsiteY85" fmla="*/ 4429125 h 4496940"/>
                  <a:gd name="connsiteX86" fmla="*/ 1935502 w 4519987"/>
                  <a:gd name="connsiteY86" fmla="*/ 4400550 h 4496940"/>
                  <a:gd name="connsiteX87" fmla="*/ 1821202 w 4519987"/>
                  <a:gd name="connsiteY87" fmla="*/ 4371975 h 4496940"/>
                  <a:gd name="connsiteX88" fmla="*/ 1754527 w 4519987"/>
                  <a:gd name="connsiteY88" fmla="*/ 4352925 h 4496940"/>
                  <a:gd name="connsiteX89" fmla="*/ 1687852 w 4519987"/>
                  <a:gd name="connsiteY89" fmla="*/ 4343400 h 4496940"/>
                  <a:gd name="connsiteX90" fmla="*/ 1573552 w 4519987"/>
                  <a:gd name="connsiteY90" fmla="*/ 4305300 h 4496940"/>
                  <a:gd name="connsiteX91" fmla="*/ 1402102 w 4519987"/>
                  <a:gd name="connsiteY91" fmla="*/ 4276725 h 4496940"/>
                  <a:gd name="connsiteX92" fmla="*/ 1287802 w 4519987"/>
                  <a:gd name="connsiteY92" fmla="*/ 4229100 h 4496940"/>
                  <a:gd name="connsiteX93" fmla="*/ 1221127 w 4519987"/>
                  <a:gd name="connsiteY93" fmla="*/ 4200525 h 4496940"/>
                  <a:gd name="connsiteX94" fmla="*/ 1144927 w 4519987"/>
                  <a:gd name="connsiteY94" fmla="*/ 4171950 h 4496940"/>
                  <a:gd name="connsiteX95" fmla="*/ 1087777 w 4519987"/>
                  <a:gd name="connsiteY95" fmla="*/ 4143375 h 4496940"/>
                  <a:gd name="connsiteX96" fmla="*/ 1030627 w 4519987"/>
                  <a:gd name="connsiteY96" fmla="*/ 4124325 h 4496940"/>
                  <a:gd name="connsiteX97" fmla="*/ 925852 w 4519987"/>
                  <a:gd name="connsiteY97" fmla="*/ 4067175 h 4496940"/>
                  <a:gd name="connsiteX98" fmla="*/ 830602 w 4519987"/>
                  <a:gd name="connsiteY98" fmla="*/ 3981450 h 4496940"/>
                  <a:gd name="connsiteX99" fmla="*/ 763927 w 4519987"/>
                  <a:gd name="connsiteY99" fmla="*/ 3914775 h 4496940"/>
                  <a:gd name="connsiteX100" fmla="*/ 725827 w 4519987"/>
                  <a:gd name="connsiteY100" fmla="*/ 3876675 h 4496940"/>
                  <a:gd name="connsiteX101" fmla="*/ 697252 w 4519987"/>
                  <a:gd name="connsiteY101" fmla="*/ 3838575 h 4496940"/>
                  <a:gd name="connsiteX102" fmla="*/ 640102 w 4519987"/>
                  <a:gd name="connsiteY102" fmla="*/ 3781425 h 4496940"/>
                  <a:gd name="connsiteX103" fmla="*/ 611527 w 4519987"/>
                  <a:gd name="connsiteY103" fmla="*/ 3733800 h 4496940"/>
                  <a:gd name="connsiteX104" fmla="*/ 554377 w 4519987"/>
                  <a:gd name="connsiteY104" fmla="*/ 3657600 h 4496940"/>
                  <a:gd name="connsiteX105" fmla="*/ 525802 w 4519987"/>
                  <a:gd name="connsiteY105" fmla="*/ 3609975 h 4496940"/>
                  <a:gd name="connsiteX106" fmla="*/ 497227 w 4519987"/>
                  <a:gd name="connsiteY106" fmla="*/ 3552825 h 4496940"/>
                  <a:gd name="connsiteX107" fmla="*/ 440077 w 4519987"/>
                  <a:gd name="connsiteY107" fmla="*/ 3495675 h 4496940"/>
                  <a:gd name="connsiteX108" fmla="*/ 411502 w 4519987"/>
                  <a:gd name="connsiteY108" fmla="*/ 3448050 h 4496940"/>
                  <a:gd name="connsiteX109" fmla="*/ 278152 w 4519987"/>
                  <a:gd name="connsiteY109" fmla="*/ 3257550 h 4496940"/>
                  <a:gd name="connsiteX110" fmla="*/ 249577 w 4519987"/>
                  <a:gd name="connsiteY110" fmla="*/ 3200400 h 4496940"/>
                  <a:gd name="connsiteX111" fmla="*/ 240052 w 4519987"/>
                  <a:gd name="connsiteY111" fmla="*/ 3162300 h 4496940"/>
                  <a:gd name="connsiteX112" fmla="*/ 221002 w 4519987"/>
                  <a:gd name="connsiteY112" fmla="*/ 3105150 h 4496940"/>
                  <a:gd name="connsiteX113" fmla="*/ 173377 w 4519987"/>
                  <a:gd name="connsiteY113" fmla="*/ 3019425 h 4496940"/>
                  <a:gd name="connsiteX114" fmla="*/ 144802 w 4519987"/>
                  <a:gd name="connsiteY114" fmla="*/ 2924175 h 4496940"/>
                  <a:gd name="connsiteX115" fmla="*/ 68602 w 4519987"/>
                  <a:gd name="connsiteY115" fmla="*/ 2724150 h 4496940"/>
                  <a:gd name="connsiteX116" fmla="*/ 49552 w 4519987"/>
                  <a:gd name="connsiteY116" fmla="*/ 2638425 h 4496940"/>
                  <a:gd name="connsiteX117" fmla="*/ 40027 w 4519987"/>
                  <a:gd name="connsiteY117" fmla="*/ 2562225 h 4496940"/>
                  <a:gd name="connsiteX118" fmla="*/ 30502 w 4519987"/>
                  <a:gd name="connsiteY118" fmla="*/ 2514600 h 4496940"/>
                  <a:gd name="connsiteX119" fmla="*/ 11452 w 4519987"/>
                  <a:gd name="connsiteY119" fmla="*/ 2400300 h 4496940"/>
                  <a:gd name="connsiteX120" fmla="*/ 20977 w 4519987"/>
                  <a:gd name="connsiteY120" fmla="*/ 1905000 h 4496940"/>
                  <a:gd name="connsiteX121" fmla="*/ 30502 w 4519987"/>
                  <a:gd name="connsiteY121" fmla="*/ 1838325 h 4496940"/>
                  <a:gd name="connsiteX122" fmla="*/ 49552 w 4519987"/>
                  <a:gd name="connsiteY122" fmla="*/ 1781175 h 4496940"/>
                  <a:gd name="connsiteX123" fmla="*/ 59077 w 4519987"/>
                  <a:gd name="connsiteY123" fmla="*/ 1743075 h 4496940"/>
                  <a:gd name="connsiteX124" fmla="*/ 78127 w 4519987"/>
                  <a:gd name="connsiteY124" fmla="*/ 1685925 h 4496940"/>
                  <a:gd name="connsiteX125" fmla="*/ 87652 w 4519987"/>
                  <a:gd name="connsiteY125" fmla="*/ 1638300 h 4496940"/>
                  <a:gd name="connsiteX126" fmla="*/ 106702 w 4519987"/>
                  <a:gd name="connsiteY126" fmla="*/ 1590675 h 4496940"/>
                  <a:gd name="connsiteX127" fmla="*/ 135277 w 4519987"/>
                  <a:gd name="connsiteY127" fmla="*/ 1504950 h 4496940"/>
                  <a:gd name="connsiteX128" fmla="*/ 154327 w 4519987"/>
                  <a:gd name="connsiteY128" fmla="*/ 1419225 h 4496940"/>
                  <a:gd name="connsiteX129" fmla="*/ 230527 w 4519987"/>
                  <a:gd name="connsiteY129" fmla="*/ 1276350 h 4496940"/>
                  <a:gd name="connsiteX130" fmla="*/ 240052 w 4519987"/>
                  <a:gd name="connsiteY130" fmla="*/ 1247775 h 4496940"/>
                  <a:gd name="connsiteX131" fmla="*/ 268627 w 4519987"/>
                  <a:gd name="connsiteY131" fmla="*/ 1200150 h 4496940"/>
                  <a:gd name="connsiteX132" fmla="*/ 287677 w 4519987"/>
                  <a:gd name="connsiteY132" fmla="*/ 1152525 h 4496940"/>
                  <a:gd name="connsiteX133" fmla="*/ 316252 w 4519987"/>
                  <a:gd name="connsiteY133" fmla="*/ 1114425 h 4496940"/>
                  <a:gd name="connsiteX134" fmla="*/ 363877 w 4519987"/>
                  <a:gd name="connsiteY134" fmla="*/ 1038225 h 4496940"/>
                  <a:gd name="connsiteX135" fmla="*/ 382927 w 4519987"/>
                  <a:gd name="connsiteY135" fmla="*/ 1009650 h 4496940"/>
                  <a:gd name="connsiteX136" fmla="*/ 440077 w 4519987"/>
                  <a:gd name="connsiteY136" fmla="*/ 904875 h 4496940"/>
                  <a:gd name="connsiteX137" fmla="*/ 478177 w 4519987"/>
                  <a:gd name="connsiteY137" fmla="*/ 857250 h 4496940"/>
                  <a:gd name="connsiteX138" fmla="*/ 497227 w 4519987"/>
                  <a:gd name="connsiteY138" fmla="*/ 828675 h 4496940"/>
                  <a:gd name="connsiteX139" fmla="*/ 535327 w 4519987"/>
                  <a:gd name="connsiteY139" fmla="*/ 800100 h 4496940"/>
                  <a:gd name="connsiteX140" fmla="*/ 602002 w 4519987"/>
                  <a:gd name="connsiteY140" fmla="*/ 733425 h 4496940"/>
                  <a:gd name="connsiteX141" fmla="*/ 668677 w 4519987"/>
                  <a:gd name="connsiteY141" fmla="*/ 676275 h 4496940"/>
                  <a:gd name="connsiteX142" fmla="*/ 697252 w 4519987"/>
                  <a:gd name="connsiteY142" fmla="*/ 657225 h 4496940"/>
                  <a:gd name="connsiteX143" fmla="*/ 840127 w 4519987"/>
                  <a:gd name="connsiteY143" fmla="*/ 533400 h 4496940"/>
                  <a:gd name="connsiteX144" fmla="*/ 887752 w 4519987"/>
                  <a:gd name="connsiteY144" fmla="*/ 504825 h 4496940"/>
                  <a:gd name="connsiteX145" fmla="*/ 1167152 w 4519987"/>
                  <a:gd name="connsiteY145" fmla="*/ 311150 h 4496940"/>
                  <a:gd name="connsiteX146" fmla="*/ 1268752 w 4519987"/>
                  <a:gd name="connsiteY146" fmla="*/ 285750 h 4496940"/>
                  <a:gd name="connsiteX147" fmla="*/ 1411627 w 4519987"/>
                  <a:gd name="connsiteY147" fmla="*/ 190500 h 4496940"/>
                  <a:gd name="connsiteX148" fmla="*/ 1449727 w 4519987"/>
                  <a:gd name="connsiteY148" fmla="*/ 161925 h 4496940"/>
                  <a:gd name="connsiteX149" fmla="*/ 1525927 w 4519987"/>
                  <a:gd name="connsiteY149" fmla="*/ 152400 h 4496940"/>
                  <a:gd name="connsiteX150" fmla="*/ 1583077 w 4519987"/>
                  <a:gd name="connsiteY150" fmla="*/ 142875 h 4496940"/>
                  <a:gd name="connsiteX151" fmla="*/ 1716427 w 4519987"/>
                  <a:gd name="connsiteY151" fmla="*/ 123825 h 4496940"/>
                  <a:gd name="connsiteX152" fmla="*/ 1811677 w 4519987"/>
                  <a:gd name="connsiteY152" fmla="*/ 114300 h 4496940"/>
                  <a:gd name="connsiteX153" fmla="*/ 1859302 w 4519987"/>
                  <a:gd name="connsiteY153" fmla="*/ 104775 h 4496940"/>
                  <a:gd name="connsiteX154" fmla="*/ 1916452 w 4519987"/>
                  <a:gd name="connsiteY154" fmla="*/ 95250 h 4496940"/>
                  <a:gd name="connsiteX155" fmla="*/ 2030752 w 4519987"/>
                  <a:gd name="connsiteY155" fmla="*/ 66675 h 4496940"/>
                  <a:gd name="connsiteX156" fmla="*/ 2097427 w 4519987"/>
                  <a:gd name="connsiteY156" fmla="*/ 47625 h 4496940"/>
                  <a:gd name="connsiteX157" fmla="*/ 2164102 w 4519987"/>
                  <a:gd name="connsiteY157" fmla="*/ 38100 h 4496940"/>
                  <a:gd name="connsiteX158" fmla="*/ 2392702 w 4519987"/>
                  <a:gd name="connsiteY15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78627 w 4519987"/>
                  <a:gd name="connsiteY28" fmla="*/ 838200 h 4496940"/>
                  <a:gd name="connsiteX29" fmla="*/ 4107202 w 4519987"/>
                  <a:gd name="connsiteY29" fmla="*/ 876300 h 4496940"/>
                  <a:gd name="connsiteX30" fmla="*/ 4116727 w 4519987"/>
                  <a:gd name="connsiteY30" fmla="*/ 904875 h 4496940"/>
                  <a:gd name="connsiteX31" fmla="*/ 4135777 w 4519987"/>
                  <a:gd name="connsiteY31" fmla="*/ 933450 h 4496940"/>
                  <a:gd name="connsiteX32" fmla="*/ 4164352 w 4519987"/>
                  <a:gd name="connsiteY32" fmla="*/ 990600 h 4496940"/>
                  <a:gd name="connsiteX33" fmla="*/ 4173877 w 4519987"/>
                  <a:gd name="connsiteY33" fmla="*/ 1019175 h 4496940"/>
                  <a:gd name="connsiteX34" fmla="*/ 4192927 w 4519987"/>
                  <a:gd name="connsiteY34" fmla="*/ 1057275 h 4496940"/>
                  <a:gd name="connsiteX35" fmla="*/ 4202452 w 4519987"/>
                  <a:gd name="connsiteY35" fmla="*/ 1085850 h 4496940"/>
                  <a:gd name="connsiteX36" fmla="*/ 4250077 w 4519987"/>
                  <a:gd name="connsiteY36" fmla="*/ 1143000 h 4496940"/>
                  <a:gd name="connsiteX37" fmla="*/ 4259602 w 4519987"/>
                  <a:gd name="connsiteY37" fmla="*/ 1190625 h 4496940"/>
                  <a:gd name="connsiteX38" fmla="*/ 4307227 w 4519987"/>
                  <a:gd name="connsiteY38" fmla="*/ 1266825 h 4496940"/>
                  <a:gd name="connsiteX39" fmla="*/ 4345327 w 4519987"/>
                  <a:gd name="connsiteY39" fmla="*/ 1362075 h 4496940"/>
                  <a:gd name="connsiteX40" fmla="*/ 4373902 w 4519987"/>
                  <a:gd name="connsiteY40" fmla="*/ 1428750 h 4496940"/>
                  <a:gd name="connsiteX41" fmla="*/ 4392952 w 4519987"/>
                  <a:gd name="connsiteY41" fmla="*/ 1552575 h 4496940"/>
                  <a:gd name="connsiteX42" fmla="*/ 4402477 w 4519987"/>
                  <a:gd name="connsiteY42" fmla="*/ 1590675 h 4496940"/>
                  <a:gd name="connsiteX43" fmla="*/ 4431052 w 4519987"/>
                  <a:gd name="connsiteY43" fmla="*/ 1685925 h 4496940"/>
                  <a:gd name="connsiteX44" fmla="*/ 4519952 w 4519987"/>
                  <a:gd name="connsiteY44" fmla="*/ 2181225 h 4496940"/>
                  <a:gd name="connsiteX45" fmla="*/ 4446927 w 4519987"/>
                  <a:gd name="connsiteY45" fmla="*/ 2768600 h 4496940"/>
                  <a:gd name="connsiteX46" fmla="*/ 4383427 w 4519987"/>
                  <a:gd name="connsiteY46" fmla="*/ 2990850 h 4496940"/>
                  <a:gd name="connsiteX47" fmla="*/ 4278652 w 4519987"/>
                  <a:gd name="connsiteY47" fmla="*/ 3248025 h 4496940"/>
                  <a:gd name="connsiteX48" fmla="*/ 4259602 w 4519987"/>
                  <a:gd name="connsiteY48" fmla="*/ 3276600 h 4496940"/>
                  <a:gd name="connsiteX49" fmla="*/ 4221502 w 4519987"/>
                  <a:gd name="connsiteY49" fmla="*/ 3333750 h 4496940"/>
                  <a:gd name="connsiteX50" fmla="*/ 4211977 w 4519987"/>
                  <a:gd name="connsiteY50" fmla="*/ 3362325 h 4496940"/>
                  <a:gd name="connsiteX51" fmla="*/ 4183402 w 4519987"/>
                  <a:gd name="connsiteY51" fmla="*/ 3400425 h 4496940"/>
                  <a:gd name="connsiteX52" fmla="*/ 4164352 w 4519987"/>
                  <a:gd name="connsiteY52" fmla="*/ 3429000 h 4496940"/>
                  <a:gd name="connsiteX53" fmla="*/ 4088152 w 4519987"/>
                  <a:gd name="connsiteY53" fmla="*/ 3495675 h 4496940"/>
                  <a:gd name="connsiteX54" fmla="*/ 4059577 w 4519987"/>
                  <a:gd name="connsiteY54" fmla="*/ 3533775 h 4496940"/>
                  <a:gd name="connsiteX55" fmla="*/ 4002427 w 4519987"/>
                  <a:gd name="connsiteY55" fmla="*/ 3600450 h 4496940"/>
                  <a:gd name="connsiteX56" fmla="*/ 3983377 w 4519987"/>
                  <a:gd name="connsiteY56" fmla="*/ 3629025 h 4496940"/>
                  <a:gd name="connsiteX57" fmla="*/ 3954802 w 4519987"/>
                  <a:gd name="connsiteY57" fmla="*/ 3648075 h 4496940"/>
                  <a:gd name="connsiteX58" fmla="*/ 3907177 w 4519987"/>
                  <a:gd name="connsiteY58" fmla="*/ 3686175 h 4496940"/>
                  <a:gd name="connsiteX59" fmla="*/ 3869077 w 4519987"/>
                  <a:gd name="connsiteY59" fmla="*/ 3724275 h 4496940"/>
                  <a:gd name="connsiteX60" fmla="*/ 3792877 w 4519987"/>
                  <a:gd name="connsiteY60" fmla="*/ 3781425 h 4496940"/>
                  <a:gd name="connsiteX61" fmla="*/ 3783352 w 4519987"/>
                  <a:gd name="connsiteY61" fmla="*/ 3810000 h 4496940"/>
                  <a:gd name="connsiteX62" fmla="*/ 3745252 w 4519987"/>
                  <a:gd name="connsiteY62" fmla="*/ 3819525 h 4496940"/>
                  <a:gd name="connsiteX63" fmla="*/ 3678577 w 4519987"/>
                  <a:gd name="connsiteY63" fmla="*/ 3848100 h 4496940"/>
                  <a:gd name="connsiteX64" fmla="*/ 3659527 w 4519987"/>
                  <a:gd name="connsiteY64" fmla="*/ 3971925 h 4496940"/>
                  <a:gd name="connsiteX65" fmla="*/ 3630952 w 4519987"/>
                  <a:gd name="connsiteY65" fmla="*/ 4010025 h 4496940"/>
                  <a:gd name="connsiteX66" fmla="*/ 3621427 w 4519987"/>
                  <a:gd name="connsiteY66" fmla="*/ 4038600 h 4496940"/>
                  <a:gd name="connsiteX67" fmla="*/ 3554752 w 4519987"/>
                  <a:gd name="connsiteY67" fmla="*/ 4095750 h 4496940"/>
                  <a:gd name="connsiteX68" fmla="*/ 3516652 w 4519987"/>
                  <a:gd name="connsiteY68" fmla="*/ 4114800 h 4496940"/>
                  <a:gd name="connsiteX69" fmla="*/ 3497602 w 4519987"/>
                  <a:gd name="connsiteY69" fmla="*/ 4143375 h 4496940"/>
                  <a:gd name="connsiteX70" fmla="*/ 3383302 w 4519987"/>
                  <a:gd name="connsiteY70" fmla="*/ 4210050 h 4496940"/>
                  <a:gd name="connsiteX71" fmla="*/ 3335677 w 4519987"/>
                  <a:gd name="connsiteY71" fmla="*/ 4238625 h 4496940"/>
                  <a:gd name="connsiteX72" fmla="*/ 3288052 w 4519987"/>
                  <a:gd name="connsiteY72" fmla="*/ 4248150 h 4496940"/>
                  <a:gd name="connsiteX73" fmla="*/ 3240427 w 4519987"/>
                  <a:gd name="connsiteY73" fmla="*/ 4267200 h 4496940"/>
                  <a:gd name="connsiteX74" fmla="*/ 3068977 w 4519987"/>
                  <a:gd name="connsiteY74" fmla="*/ 4286250 h 4496940"/>
                  <a:gd name="connsiteX75" fmla="*/ 2935627 w 4519987"/>
                  <a:gd name="connsiteY75" fmla="*/ 4333875 h 4496940"/>
                  <a:gd name="connsiteX76" fmla="*/ 2811802 w 4519987"/>
                  <a:gd name="connsiteY76" fmla="*/ 4371975 h 4496940"/>
                  <a:gd name="connsiteX77" fmla="*/ 2745127 w 4519987"/>
                  <a:gd name="connsiteY77" fmla="*/ 4410075 h 4496940"/>
                  <a:gd name="connsiteX78" fmla="*/ 2697502 w 4519987"/>
                  <a:gd name="connsiteY78" fmla="*/ 4429125 h 4496940"/>
                  <a:gd name="connsiteX79" fmla="*/ 2640352 w 4519987"/>
                  <a:gd name="connsiteY79" fmla="*/ 4457700 h 4496940"/>
                  <a:gd name="connsiteX80" fmla="*/ 2583202 w 4519987"/>
                  <a:gd name="connsiteY80" fmla="*/ 4467225 h 4496940"/>
                  <a:gd name="connsiteX81" fmla="*/ 2545102 w 4519987"/>
                  <a:gd name="connsiteY81" fmla="*/ 4486275 h 4496940"/>
                  <a:gd name="connsiteX82" fmla="*/ 2306977 w 4519987"/>
                  <a:gd name="connsiteY82" fmla="*/ 4476750 h 4496940"/>
                  <a:gd name="connsiteX83" fmla="*/ 2202202 w 4519987"/>
                  <a:gd name="connsiteY83" fmla="*/ 4457700 h 4496940"/>
                  <a:gd name="connsiteX84" fmla="*/ 2126002 w 4519987"/>
                  <a:gd name="connsiteY84" fmla="*/ 4429125 h 4496940"/>
                  <a:gd name="connsiteX85" fmla="*/ 1935502 w 4519987"/>
                  <a:gd name="connsiteY85" fmla="*/ 4400550 h 4496940"/>
                  <a:gd name="connsiteX86" fmla="*/ 1821202 w 4519987"/>
                  <a:gd name="connsiteY86" fmla="*/ 4371975 h 4496940"/>
                  <a:gd name="connsiteX87" fmla="*/ 1754527 w 4519987"/>
                  <a:gd name="connsiteY87" fmla="*/ 4352925 h 4496940"/>
                  <a:gd name="connsiteX88" fmla="*/ 1687852 w 4519987"/>
                  <a:gd name="connsiteY88" fmla="*/ 4343400 h 4496940"/>
                  <a:gd name="connsiteX89" fmla="*/ 1573552 w 4519987"/>
                  <a:gd name="connsiteY89" fmla="*/ 4305300 h 4496940"/>
                  <a:gd name="connsiteX90" fmla="*/ 1402102 w 4519987"/>
                  <a:gd name="connsiteY90" fmla="*/ 4276725 h 4496940"/>
                  <a:gd name="connsiteX91" fmla="*/ 1287802 w 4519987"/>
                  <a:gd name="connsiteY91" fmla="*/ 4229100 h 4496940"/>
                  <a:gd name="connsiteX92" fmla="*/ 1221127 w 4519987"/>
                  <a:gd name="connsiteY92" fmla="*/ 4200525 h 4496940"/>
                  <a:gd name="connsiteX93" fmla="*/ 1144927 w 4519987"/>
                  <a:gd name="connsiteY93" fmla="*/ 4171950 h 4496940"/>
                  <a:gd name="connsiteX94" fmla="*/ 1087777 w 4519987"/>
                  <a:gd name="connsiteY94" fmla="*/ 4143375 h 4496940"/>
                  <a:gd name="connsiteX95" fmla="*/ 1030627 w 4519987"/>
                  <a:gd name="connsiteY95" fmla="*/ 4124325 h 4496940"/>
                  <a:gd name="connsiteX96" fmla="*/ 925852 w 4519987"/>
                  <a:gd name="connsiteY96" fmla="*/ 4067175 h 4496940"/>
                  <a:gd name="connsiteX97" fmla="*/ 830602 w 4519987"/>
                  <a:gd name="connsiteY97" fmla="*/ 3981450 h 4496940"/>
                  <a:gd name="connsiteX98" fmla="*/ 763927 w 4519987"/>
                  <a:gd name="connsiteY98" fmla="*/ 3914775 h 4496940"/>
                  <a:gd name="connsiteX99" fmla="*/ 725827 w 4519987"/>
                  <a:gd name="connsiteY99" fmla="*/ 3876675 h 4496940"/>
                  <a:gd name="connsiteX100" fmla="*/ 697252 w 4519987"/>
                  <a:gd name="connsiteY100" fmla="*/ 3838575 h 4496940"/>
                  <a:gd name="connsiteX101" fmla="*/ 640102 w 4519987"/>
                  <a:gd name="connsiteY101" fmla="*/ 3781425 h 4496940"/>
                  <a:gd name="connsiteX102" fmla="*/ 611527 w 4519987"/>
                  <a:gd name="connsiteY102" fmla="*/ 3733800 h 4496940"/>
                  <a:gd name="connsiteX103" fmla="*/ 554377 w 4519987"/>
                  <a:gd name="connsiteY103" fmla="*/ 3657600 h 4496940"/>
                  <a:gd name="connsiteX104" fmla="*/ 525802 w 4519987"/>
                  <a:gd name="connsiteY104" fmla="*/ 3609975 h 4496940"/>
                  <a:gd name="connsiteX105" fmla="*/ 497227 w 4519987"/>
                  <a:gd name="connsiteY105" fmla="*/ 3552825 h 4496940"/>
                  <a:gd name="connsiteX106" fmla="*/ 440077 w 4519987"/>
                  <a:gd name="connsiteY106" fmla="*/ 3495675 h 4496940"/>
                  <a:gd name="connsiteX107" fmla="*/ 411502 w 4519987"/>
                  <a:gd name="connsiteY107" fmla="*/ 3448050 h 4496940"/>
                  <a:gd name="connsiteX108" fmla="*/ 278152 w 4519987"/>
                  <a:gd name="connsiteY108" fmla="*/ 3257550 h 4496940"/>
                  <a:gd name="connsiteX109" fmla="*/ 249577 w 4519987"/>
                  <a:gd name="connsiteY109" fmla="*/ 3200400 h 4496940"/>
                  <a:gd name="connsiteX110" fmla="*/ 240052 w 4519987"/>
                  <a:gd name="connsiteY110" fmla="*/ 3162300 h 4496940"/>
                  <a:gd name="connsiteX111" fmla="*/ 221002 w 4519987"/>
                  <a:gd name="connsiteY111" fmla="*/ 3105150 h 4496940"/>
                  <a:gd name="connsiteX112" fmla="*/ 173377 w 4519987"/>
                  <a:gd name="connsiteY112" fmla="*/ 3019425 h 4496940"/>
                  <a:gd name="connsiteX113" fmla="*/ 144802 w 4519987"/>
                  <a:gd name="connsiteY113" fmla="*/ 2924175 h 4496940"/>
                  <a:gd name="connsiteX114" fmla="*/ 68602 w 4519987"/>
                  <a:gd name="connsiteY114" fmla="*/ 2724150 h 4496940"/>
                  <a:gd name="connsiteX115" fmla="*/ 49552 w 4519987"/>
                  <a:gd name="connsiteY115" fmla="*/ 2638425 h 4496940"/>
                  <a:gd name="connsiteX116" fmla="*/ 40027 w 4519987"/>
                  <a:gd name="connsiteY116" fmla="*/ 2562225 h 4496940"/>
                  <a:gd name="connsiteX117" fmla="*/ 30502 w 4519987"/>
                  <a:gd name="connsiteY117" fmla="*/ 2514600 h 4496940"/>
                  <a:gd name="connsiteX118" fmla="*/ 11452 w 4519987"/>
                  <a:gd name="connsiteY118" fmla="*/ 2400300 h 4496940"/>
                  <a:gd name="connsiteX119" fmla="*/ 20977 w 4519987"/>
                  <a:gd name="connsiteY119" fmla="*/ 1905000 h 4496940"/>
                  <a:gd name="connsiteX120" fmla="*/ 30502 w 4519987"/>
                  <a:gd name="connsiteY120" fmla="*/ 1838325 h 4496940"/>
                  <a:gd name="connsiteX121" fmla="*/ 49552 w 4519987"/>
                  <a:gd name="connsiteY121" fmla="*/ 1781175 h 4496940"/>
                  <a:gd name="connsiteX122" fmla="*/ 59077 w 4519987"/>
                  <a:gd name="connsiteY122" fmla="*/ 1743075 h 4496940"/>
                  <a:gd name="connsiteX123" fmla="*/ 78127 w 4519987"/>
                  <a:gd name="connsiteY123" fmla="*/ 1685925 h 4496940"/>
                  <a:gd name="connsiteX124" fmla="*/ 87652 w 4519987"/>
                  <a:gd name="connsiteY124" fmla="*/ 1638300 h 4496940"/>
                  <a:gd name="connsiteX125" fmla="*/ 106702 w 4519987"/>
                  <a:gd name="connsiteY125" fmla="*/ 1590675 h 4496940"/>
                  <a:gd name="connsiteX126" fmla="*/ 135277 w 4519987"/>
                  <a:gd name="connsiteY126" fmla="*/ 1504950 h 4496940"/>
                  <a:gd name="connsiteX127" fmla="*/ 154327 w 4519987"/>
                  <a:gd name="connsiteY127" fmla="*/ 1419225 h 4496940"/>
                  <a:gd name="connsiteX128" fmla="*/ 230527 w 4519987"/>
                  <a:gd name="connsiteY128" fmla="*/ 1276350 h 4496940"/>
                  <a:gd name="connsiteX129" fmla="*/ 240052 w 4519987"/>
                  <a:gd name="connsiteY129" fmla="*/ 1247775 h 4496940"/>
                  <a:gd name="connsiteX130" fmla="*/ 268627 w 4519987"/>
                  <a:gd name="connsiteY130" fmla="*/ 1200150 h 4496940"/>
                  <a:gd name="connsiteX131" fmla="*/ 287677 w 4519987"/>
                  <a:gd name="connsiteY131" fmla="*/ 1152525 h 4496940"/>
                  <a:gd name="connsiteX132" fmla="*/ 316252 w 4519987"/>
                  <a:gd name="connsiteY132" fmla="*/ 1114425 h 4496940"/>
                  <a:gd name="connsiteX133" fmla="*/ 363877 w 4519987"/>
                  <a:gd name="connsiteY133" fmla="*/ 1038225 h 4496940"/>
                  <a:gd name="connsiteX134" fmla="*/ 382927 w 4519987"/>
                  <a:gd name="connsiteY134" fmla="*/ 1009650 h 4496940"/>
                  <a:gd name="connsiteX135" fmla="*/ 440077 w 4519987"/>
                  <a:gd name="connsiteY135" fmla="*/ 904875 h 4496940"/>
                  <a:gd name="connsiteX136" fmla="*/ 478177 w 4519987"/>
                  <a:gd name="connsiteY136" fmla="*/ 857250 h 4496940"/>
                  <a:gd name="connsiteX137" fmla="*/ 497227 w 4519987"/>
                  <a:gd name="connsiteY137" fmla="*/ 828675 h 4496940"/>
                  <a:gd name="connsiteX138" fmla="*/ 535327 w 4519987"/>
                  <a:gd name="connsiteY138" fmla="*/ 800100 h 4496940"/>
                  <a:gd name="connsiteX139" fmla="*/ 602002 w 4519987"/>
                  <a:gd name="connsiteY139" fmla="*/ 733425 h 4496940"/>
                  <a:gd name="connsiteX140" fmla="*/ 668677 w 4519987"/>
                  <a:gd name="connsiteY140" fmla="*/ 676275 h 4496940"/>
                  <a:gd name="connsiteX141" fmla="*/ 697252 w 4519987"/>
                  <a:gd name="connsiteY141" fmla="*/ 657225 h 4496940"/>
                  <a:gd name="connsiteX142" fmla="*/ 840127 w 4519987"/>
                  <a:gd name="connsiteY142" fmla="*/ 533400 h 4496940"/>
                  <a:gd name="connsiteX143" fmla="*/ 887752 w 4519987"/>
                  <a:gd name="connsiteY143" fmla="*/ 504825 h 4496940"/>
                  <a:gd name="connsiteX144" fmla="*/ 1167152 w 4519987"/>
                  <a:gd name="connsiteY144" fmla="*/ 311150 h 4496940"/>
                  <a:gd name="connsiteX145" fmla="*/ 1268752 w 4519987"/>
                  <a:gd name="connsiteY145" fmla="*/ 285750 h 4496940"/>
                  <a:gd name="connsiteX146" fmla="*/ 1411627 w 4519987"/>
                  <a:gd name="connsiteY146" fmla="*/ 190500 h 4496940"/>
                  <a:gd name="connsiteX147" fmla="*/ 1449727 w 4519987"/>
                  <a:gd name="connsiteY147" fmla="*/ 161925 h 4496940"/>
                  <a:gd name="connsiteX148" fmla="*/ 1525927 w 4519987"/>
                  <a:gd name="connsiteY148" fmla="*/ 152400 h 4496940"/>
                  <a:gd name="connsiteX149" fmla="*/ 1583077 w 4519987"/>
                  <a:gd name="connsiteY149" fmla="*/ 142875 h 4496940"/>
                  <a:gd name="connsiteX150" fmla="*/ 1716427 w 4519987"/>
                  <a:gd name="connsiteY150" fmla="*/ 123825 h 4496940"/>
                  <a:gd name="connsiteX151" fmla="*/ 1811677 w 4519987"/>
                  <a:gd name="connsiteY151" fmla="*/ 114300 h 4496940"/>
                  <a:gd name="connsiteX152" fmla="*/ 1859302 w 4519987"/>
                  <a:gd name="connsiteY152" fmla="*/ 104775 h 4496940"/>
                  <a:gd name="connsiteX153" fmla="*/ 1916452 w 4519987"/>
                  <a:gd name="connsiteY153" fmla="*/ 95250 h 4496940"/>
                  <a:gd name="connsiteX154" fmla="*/ 2030752 w 4519987"/>
                  <a:gd name="connsiteY154" fmla="*/ 66675 h 4496940"/>
                  <a:gd name="connsiteX155" fmla="*/ 2097427 w 4519987"/>
                  <a:gd name="connsiteY155" fmla="*/ 47625 h 4496940"/>
                  <a:gd name="connsiteX156" fmla="*/ 2164102 w 4519987"/>
                  <a:gd name="connsiteY156" fmla="*/ 38100 h 4496940"/>
                  <a:gd name="connsiteX157" fmla="*/ 2392702 w 4519987"/>
                  <a:gd name="connsiteY15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78627 w 4519987"/>
                  <a:gd name="connsiteY28" fmla="*/ 838200 h 4496940"/>
                  <a:gd name="connsiteX29" fmla="*/ 4107202 w 4519987"/>
                  <a:gd name="connsiteY29" fmla="*/ 876300 h 4496940"/>
                  <a:gd name="connsiteX30" fmla="*/ 4135777 w 4519987"/>
                  <a:gd name="connsiteY30" fmla="*/ 933450 h 4496940"/>
                  <a:gd name="connsiteX31" fmla="*/ 4164352 w 4519987"/>
                  <a:gd name="connsiteY31" fmla="*/ 990600 h 4496940"/>
                  <a:gd name="connsiteX32" fmla="*/ 4173877 w 4519987"/>
                  <a:gd name="connsiteY32" fmla="*/ 1019175 h 4496940"/>
                  <a:gd name="connsiteX33" fmla="*/ 4192927 w 4519987"/>
                  <a:gd name="connsiteY33" fmla="*/ 1057275 h 4496940"/>
                  <a:gd name="connsiteX34" fmla="*/ 4202452 w 4519987"/>
                  <a:gd name="connsiteY34" fmla="*/ 1085850 h 4496940"/>
                  <a:gd name="connsiteX35" fmla="*/ 4250077 w 4519987"/>
                  <a:gd name="connsiteY35" fmla="*/ 1143000 h 4496940"/>
                  <a:gd name="connsiteX36" fmla="*/ 4259602 w 4519987"/>
                  <a:gd name="connsiteY36" fmla="*/ 1190625 h 4496940"/>
                  <a:gd name="connsiteX37" fmla="*/ 4307227 w 4519987"/>
                  <a:gd name="connsiteY37" fmla="*/ 1266825 h 4496940"/>
                  <a:gd name="connsiteX38" fmla="*/ 4345327 w 4519987"/>
                  <a:gd name="connsiteY38" fmla="*/ 1362075 h 4496940"/>
                  <a:gd name="connsiteX39" fmla="*/ 4373902 w 4519987"/>
                  <a:gd name="connsiteY39" fmla="*/ 1428750 h 4496940"/>
                  <a:gd name="connsiteX40" fmla="*/ 4392952 w 4519987"/>
                  <a:gd name="connsiteY40" fmla="*/ 1552575 h 4496940"/>
                  <a:gd name="connsiteX41" fmla="*/ 4402477 w 4519987"/>
                  <a:gd name="connsiteY41" fmla="*/ 1590675 h 4496940"/>
                  <a:gd name="connsiteX42" fmla="*/ 4431052 w 4519987"/>
                  <a:gd name="connsiteY42" fmla="*/ 1685925 h 4496940"/>
                  <a:gd name="connsiteX43" fmla="*/ 4519952 w 4519987"/>
                  <a:gd name="connsiteY43" fmla="*/ 2181225 h 4496940"/>
                  <a:gd name="connsiteX44" fmla="*/ 4446927 w 4519987"/>
                  <a:gd name="connsiteY44" fmla="*/ 2768600 h 4496940"/>
                  <a:gd name="connsiteX45" fmla="*/ 4383427 w 4519987"/>
                  <a:gd name="connsiteY45" fmla="*/ 2990850 h 4496940"/>
                  <a:gd name="connsiteX46" fmla="*/ 4278652 w 4519987"/>
                  <a:gd name="connsiteY46" fmla="*/ 3248025 h 4496940"/>
                  <a:gd name="connsiteX47" fmla="*/ 4259602 w 4519987"/>
                  <a:gd name="connsiteY47" fmla="*/ 3276600 h 4496940"/>
                  <a:gd name="connsiteX48" fmla="*/ 4221502 w 4519987"/>
                  <a:gd name="connsiteY48" fmla="*/ 3333750 h 4496940"/>
                  <a:gd name="connsiteX49" fmla="*/ 4211977 w 4519987"/>
                  <a:gd name="connsiteY49" fmla="*/ 3362325 h 4496940"/>
                  <a:gd name="connsiteX50" fmla="*/ 4183402 w 4519987"/>
                  <a:gd name="connsiteY50" fmla="*/ 3400425 h 4496940"/>
                  <a:gd name="connsiteX51" fmla="*/ 4164352 w 4519987"/>
                  <a:gd name="connsiteY51" fmla="*/ 3429000 h 4496940"/>
                  <a:gd name="connsiteX52" fmla="*/ 4088152 w 4519987"/>
                  <a:gd name="connsiteY52" fmla="*/ 3495675 h 4496940"/>
                  <a:gd name="connsiteX53" fmla="*/ 4059577 w 4519987"/>
                  <a:gd name="connsiteY53" fmla="*/ 3533775 h 4496940"/>
                  <a:gd name="connsiteX54" fmla="*/ 4002427 w 4519987"/>
                  <a:gd name="connsiteY54" fmla="*/ 3600450 h 4496940"/>
                  <a:gd name="connsiteX55" fmla="*/ 3983377 w 4519987"/>
                  <a:gd name="connsiteY55" fmla="*/ 3629025 h 4496940"/>
                  <a:gd name="connsiteX56" fmla="*/ 3954802 w 4519987"/>
                  <a:gd name="connsiteY56" fmla="*/ 3648075 h 4496940"/>
                  <a:gd name="connsiteX57" fmla="*/ 3907177 w 4519987"/>
                  <a:gd name="connsiteY57" fmla="*/ 3686175 h 4496940"/>
                  <a:gd name="connsiteX58" fmla="*/ 3869077 w 4519987"/>
                  <a:gd name="connsiteY58" fmla="*/ 3724275 h 4496940"/>
                  <a:gd name="connsiteX59" fmla="*/ 3792877 w 4519987"/>
                  <a:gd name="connsiteY59" fmla="*/ 3781425 h 4496940"/>
                  <a:gd name="connsiteX60" fmla="*/ 3783352 w 4519987"/>
                  <a:gd name="connsiteY60" fmla="*/ 3810000 h 4496940"/>
                  <a:gd name="connsiteX61" fmla="*/ 3745252 w 4519987"/>
                  <a:gd name="connsiteY61" fmla="*/ 3819525 h 4496940"/>
                  <a:gd name="connsiteX62" fmla="*/ 3678577 w 4519987"/>
                  <a:gd name="connsiteY62" fmla="*/ 3848100 h 4496940"/>
                  <a:gd name="connsiteX63" fmla="*/ 3659527 w 4519987"/>
                  <a:gd name="connsiteY63" fmla="*/ 3971925 h 4496940"/>
                  <a:gd name="connsiteX64" fmla="*/ 3630952 w 4519987"/>
                  <a:gd name="connsiteY64" fmla="*/ 4010025 h 4496940"/>
                  <a:gd name="connsiteX65" fmla="*/ 3621427 w 4519987"/>
                  <a:gd name="connsiteY65" fmla="*/ 4038600 h 4496940"/>
                  <a:gd name="connsiteX66" fmla="*/ 3554752 w 4519987"/>
                  <a:gd name="connsiteY66" fmla="*/ 4095750 h 4496940"/>
                  <a:gd name="connsiteX67" fmla="*/ 3516652 w 4519987"/>
                  <a:gd name="connsiteY67" fmla="*/ 4114800 h 4496940"/>
                  <a:gd name="connsiteX68" fmla="*/ 3497602 w 4519987"/>
                  <a:gd name="connsiteY68" fmla="*/ 4143375 h 4496940"/>
                  <a:gd name="connsiteX69" fmla="*/ 3383302 w 4519987"/>
                  <a:gd name="connsiteY69" fmla="*/ 4210050 h 4496940"/>
                  <a:gd name="connsiteX70" fmla="*/ 3335677 w 4519987"/>
                  <a:gd name="connsiteY70" fmla="*/ 4238625 h 4496940"/>
                  <a:gd name="connsiteX71" fmla="*/ 3288052 w 4519987"/>
                  <a:gd name="connsiteY71" fmla="*/ 4248150 h 4496940"/>
                  <a:gd name="connsiteX72" fmla="*/ 3240427 w 4519987"/>
                  <a:gd name="connsiteY72" fmla="*/ 4267200 h 4496940"/>
                  <a:gd name="connsiteX73" fmla="*/ 3068977 w 4519987"/>
                  <a:gd name="connsiteY73" fmla="*/ 4286250 h 4496940"/>
                  <a:gd name="connsiteX74" fmla="*/ 2935627 w 4519987"/>
                  <a:gd name="connsiteY74" fmla="*/ 4333875 h 4496940"/>
                  <a:gd name="connsiteX75" fmla="*/ 2811802 w 4519987"/>
                  <a:gd name="connsiteY75" fmla="*/ 4371975 h 4496940"/>
                  <a:gd name="connsiteX76" fmla="*/ 2745127 w 4519987"/>
                  <a:gd name="connsiteY76" fmla="*/ 4410075 h 4496940"/>
                  <a:gd name="connsiteX77" fmla="*/ 2697502 w 4519987"/>
                  <a:gd name="connsiteY77" fmla="*/ 4429125 h 4496940"/>
                  <a:gd name="connsiteX78" fmla="*/ 2640352 w 4519987"/>
                  <a:gd name="connsiteY78" fmla="*/ 4457700 h 4496940"/>
                  <a:gd name="connsiteX79" fmla="*/ 2583202 w 4519987"/>
                  <a:gd name="connsiteY79" fmla="*/ 4467225 h 4496940"/>
                  <a:gd name="connsiteX80" fmla="*/ 2545102 w 4519987"/>
                  <a:gd name="connsiteY80" fmla="*/ 4486275 h 4496940"/>
                  <a:gd name="connsiteX81" fmla="*/ 2306977 w 4519987"/>
                  <a:gd name="connsiteY81" fmla="*/ 4476750 h 4496940"/>
                  <a:gd name="connsiteX82" fmla="*/ 2202202 w 4519987"/>
                  <a:gd name="connsiteY82" fmla="*/ 4457700 h 4496940"/>
                  <a:gd name="connsiteX83" fmla="*/ 2126002 w 4519987"/>
                  <a:gd name="connsiteY83" fmla="*/ 4429125 h 4496940"/>
                  <a:gd name="connsiteX84" fmla="*/ 1935502 w 4519987"/>
                  <a:gd name="connsiteY84" fmla="*/ 4400550 h 4496940"/>
                  <a:gd name="connsiteX85" fmla="*/ 1821202 w 4519987"/>
                  <a:gd name="connsiteY85" fmla="*/ 4371975 h 4496940"/>
                  <a:gd name="connsiteX86" fmla="*/ 1754527 w 4519987"/>
                  <a:gd name="connsiteY86" fmla="*/ 4352925 h 4496940"/>
                  <a:gd name="connsiteX87" fmla="*/ 1687852 w 4519987"/>
                  <a:gd name="connsiteY87" fmla="*/ 4343400 h 4496940"/>
                  <a:gd name="connsiteX88" fmla="*/ 1573552 w 4519987"/>
                  <a:gd name="connsiteY88" fmla="*/ 4305300 h 4496940"/>
                  <a:gd name="connsiteX89" fmla="*/ 1402102 w 4519987"/>
                  <a:gd name="connsiteY89" fmla="*/ 4276725 h 4496940"/>
                  <a:gd name="connsiteX90" fmla="*/ 1287802 w 4519987"/>
                  <a:gd name="connsiteY90" fmla="*/ 4229100 h 4496940"/>
                  <a:gd name="connsiteX91" fmla="*/ 1221127 w 4519987"/>
                  <a:gd name="connsiteY91" fmla="*/ 4200525 h 4496940"/>
                  <a:gd name="connsiteX92" fmla="*/ 1144927 w 4519987"/>
                  <a:gd name="connsiteY92" fmla="*/ 4171950 h 4496940"/>
                  <a:gd name="connsiteX93" fmla="*/ 1087777 w 4519987"/>
                  <a:gd name="connsiteY93" fmla="*/ 4143375 h 4496940"/>
                  <a:gd name="connsiteX94" fmla="*/ 1030627 w 4519987"/>
                  <a:gd name="connsiteY94" fmla="*/ 4124325 h 4496940"/>
                  <a:gd name="connsiteX95" fmla="*/ 925852 w 4519987"/>
                  <a:gd name="connsiteY95" fmla="*/ 4067175 h 4496940"/>
                  <a:gd name="connsiteX96" fmla="*/ 830602 w 4519987"/>
                  <a:gd name="connsiteY96" fmla="*/ 3981450 h 4496940"/>
                  <a:gd name="connsiteX97" fmla="*/ 763927 w 4519987"/>
                  <a:gd name="connsiteY97" fmla="*/ 3914775 h 4496940"/>
                  <a:gd name="connsiteX98" fmla="*/ 725827 w 4519987"/>
                  <a:gd name="connsiteY98" fmla="*/ 3876675 h 4496940"/>
                  <a:gd name="connsiteX99" fmla="*/ 697252 w 4519987"/>
                  <a:gd name="connsiteY99" fmla="*/ 3838575 h 4496940"/>
                  <a:gd name="connsiteX100" fmla="*/ 640102 w 4519987"/>
                  <a:gd name="connsiteY100" fmla="*/ 3781425 h 4496940"/>
                  <a:gd name="connsiteX101" fmla="*/ 611527 w 4519987"/>
                  <a:gd name="connsiteY101" fmla="*/ 3733800 h 4496940"/>
                  <a:gd name="connsiteX102" fmla="*/ 554377 w 4519987"/>
                  <a:gd name="connsiteY102" fmla="*/ 3657600 h 4496940"/>
                  <a:gd name="connsiteX103" fmla="*/ 525802 w 4519987"/>
                  <a:gd name="connsiteY103" fmla="*/ 3609975 h 4496940"/>
                  <a:gd name="connsiteX104" fmla="*/ 497227 w 4519987"/>
                  <a:gd name="connsiteY104" fmla="*/ 3552825 h 4496940"/>
                  <a:gd name="connsiteX105" fmla="*/ 440077 w 4519987"/>
                  <a:gd name="connsiteY105" fmla="*/ 3495675 h 4496940"/>
                  <a:gd name="connsiteX106" fmla="*/ 411502 w 4519987"/>
                  <a:gd name="connsiteY106" fmla="*/ 3448050 h 4496940"/>
                  <a:gd name="connsiteX107" fmla="*/ 278152 w 4519987"/>
                  <a:gd name="connsiteY107" fmla="*/ 3257550 h 4496940"/>
                  <a:gd name="connsiteX108" fmla="*/ 249577 w 4519987"/>
                  <a:gd name="connsiteY108" fmla="*/ 3200400 h 4496940"/>
                  <a:gd name="connsiteX109" fmla="*/ 240052 w 4519987"/>
                  <a:gd name="connsiteY109" fmla="*/ 3162300 h 4496940"/>
                  <a:gd name="connsiteX110" fmla="*/ 221002 w 4519987"/>
                  <a:gd name="connsiteY110" fmla="*/ 3105150 h 4496940"/>
                  <a:gd name="connsiteX111" fmla="*/ 173377 w 4519987"/>
                  <a:gd name="connsiteY111" fmla="*/ 3019425 h 4496940"/>
                  <a:gd name="connsiteX112" fmla="*/ 144802 w 4519987"/>
                  <a:gd name="connsiteY112" fmla="*/ 2924175 h 4496940"/>
                  <a:gd name="connsiteX113" fmla="*/ 68602 w 4519987"/>
                  <a:gd name="connsiteY113" fmla="*/ 2724150 h 4496940"/>
                  <a:gd name="connsiteX114" fmla="*/ 49552 w 4519987"/>
                  <a:gd name="connsiteY114" fmla="*/ 2638425 h 4496940"/>
                  <a:gd name="connsiteX115" fmla="*/ 40027 w 4519987"/>
                  <a:gd name="connsiteY115" fmla="*/ 2562225 h 4496940"/>
                  <a:gd name="connsiteX116" fmla="*/ 30502 w 4519987"/>
                  <a:gd name="connsiteY116" fmla="*/ 2514600 h 4496940"/>
                  <a:gd name="connsiteX117" fmla="*/ 11452 w 4519987"/>
                  <a:gd name="connsiteY117" fmla="*/ 2400300 h 4496940"/>
                  <a:gd name="connsiteX118" fmla="*/ 20977 w 4519987"/>
                  <a:gd name="connsiteY118" fmla="*/ 1905000 h 4496940"/>
                  <a:gd name="connsiteX119" fmla="*/ 30502 w 4519987"/>
                  <a:gd name="connsiteY119" fmla="*/ 1838325 h 4496940"/>
                  <a:gd name="connsiteX120" fmla="*/ 49552 w 4519987"/>
                  <a:gd name="connsiteY120" fmla="*/ 1781175 h 4496940"/>
                  <a:gd name="connsiteX121" fmla="*/ 59077 w 4519987"/>
                  <a:gd name="connsiteY121" fmla="*/ 1743075 h 4496940"/>
                  <a:gd name="connsiteX122" fmla="*/ 78127 w 4519987"/>
                  <a:gd name="connsiteY122" fmla="*/ 1685925 h 4496940"/>
                  <a:gd name="connsiteX123" fmla="*/ 87652 w 4519987"/>
                  <a:gd name="connsiteY123" fmla="*/ 1638300 h 4496940"/>
                  <a:gd name="connsiteX124" fmla="*/ 106702 w 4519987"/>
                  <a:gd name="connsiteY124" fmla="*/ 1590675 h 4496940"/>
                  <a:gd name="connsiteX125" fmla="*/ 135277 w 4519987"/>
                  <a:gd name="connsiteY125" fmla="*/ 1504950 h 4496940"/>
                  <a:gd name="connsiteX126" fmla="*/ 154327 w 4519987"/>
                  <a:gd name="connsiteY126" fmla="*/ 1419225 h 4496940"/>
                  <a:gd name="connsiteX127" fmla="*/ 230527 w 4519987"/>
                  <a:gd name="connsiteY127" fmla="*/ 1276350 h 4496940"/>
                  <a:gd name="connsiteX128" fmla="*/ 240052 w 4519987"/>
                  <a:gd name="connsiteY128" fmla="*/ 1247775 h 4496940"/>
                  <a:gd name="connsiteX129" fmla="*/ 268627 w 4519987"/>
                  <a:gd name="connsiteY129" fmla="*/ 1200150 h 4496940"/>
                  <a:gd name="connsiteX130" fmla="*/ 287677 w 4519987"/>
                  <a:gd name="connsiteY130" fmla="*/ 1152525 h 4496940"/>
                  <a:gd name="connsiteX131" fmla="*/ 316252 w 4519987"/>
                  <a:gd name="connsiteY131" fmla="*/ 1114425 h 4496940"/>
                  <a:gd name="connsiteX132" fmla="*/ 363877 w 4519987"/>
                  <a:gd name="connsiteY132" fmla="*/ 1038225 h 4496940"/>
                  <a:gd name="connsiteX133" fmla="*/ 382927 w 4519987"/>
                  <a:gd name="connsiteY133" fmla="*/ 1009650 h 4496940"/>
                  <a:gd name="connsiteX134" fmla="*/ 440077 w 4519987"/>
                  <a:gd name="connsiteY134" fmla="*/ 904875 h 4496940"/>
                  <a:gd name="connsiteX135" fmla="*/ 478177 w 4519987"/>
                  <a:gd name="connsiteY135" fmla="*/ 857250 h 4496940"/>
                  <a:gd name="connsiteX136" fmla="*/ 497227 w 4519987"/>
                  <a:gd name="connsiteY136" fmla="*/ 828675 h 4496940"/>
                  <a:gd name="connsiteX137" fmla="*/ 535327 w 4519987"/>
                  <a:gd name="connsiteY137" fmla="*/ 800100 h 4496940"/>
                  <a:gd name="connsiteX138" fmla="*/ 602002 w 4519987"/>
                  <a:gd name="connsiteY138" fmla="*/ 733425 h 4496940"/>
                  <a:gd name="connsiteX139" fmla="*/ 668677 w 4519987"/>
                  <a:gd name="connsiteY139" fmla="*/ 676275 h 4496940"/>
                  <a:gd name="connsiteX140" fmla="*/ 697252 w 4519987"/>
                  <a:gd name="connsiteY140" fmla="*/ 657225 h 4496940"/>
                  <a:gd name="connsiteX141" fmla="*/ 840127 w 4519987"/>
                  <a:gd name="connsiteY141" fmla="*/ 533400 h 4496940"/>
                  <a:gd name="connsiteX142" fmla="*/ 887752 w 4519987"/>
                  <a:gd name="connsiteY142" fmla="*/ 504825 h 4496940"/>
                  <a:gd name="connsiteX143" fmla="*/ 1167152 w 4519987"/>
                  <a:gd name="connsiteY143" fmla="*/ 311150 h 4496940"/>
                  <a:gd name="connsiteX144" fmla="*/ 1268752 w 4519987"/>
                  <a:gd name="connsiteY144" fmla="*/ 285750 h 4496940"/>
                  <a:gd name="connsiteX145" fmla="*/ 1411627 w 4519987"/>
                  <a:gd name="connsiteY145" fmla="*/ 190500 h 4496940"/>
                  <a:gd name="connsiteX146" fmla="*/ 1449727 w 4519987"/>
                  <a:gd name="connsiteY146" fmla="*/ 161925 h 4496940"/>
                  <a:gd name="connsiteX147" fmla="*/ 1525927 w 4519987"/>
                  <a:gd name="connsiteY147" fmla="*/ 152400 h 4496940"/>
                  <a:gd name="connsiteX148" fmla="*/ 1583077 w 4519987"/>
                  <a:gd name="connsiteY148" fmla="*/ 142875 h 4496940"/>
                  <a:gd name="connsiteX149" fmla="*/ 1716427 w 4519987"/>
                  <a:gd name="connsiteY149" fmla="*/ 123825 h 4496940"/>
                  <a:gd name="connsiteX150" fmla="*/ 1811677 w 4519987"/>
                  <a:gd name="connsiteY150" fmla="*/ 114300 h 4496940"/>
                  <a:gd name="connsiteX151" fmla="*/ 1859302 w 4519987"/>
                  <a:gd name="connsiteY151" fmla="*/ 104775 h 4496940"/>
                  <a:gd name="connsiteX152" fmla="*/ 1916452 w 4519987"/>
                  <a:gd name="connsiteY152" fmla="*/ 95250 h 4496940"/>
                  <a:gd name="connsiteX153" fmla="*/ 2030752 w 4519987"/>
                  <a:gd name="connsiteY153" fmla="*/ 66675 h 4496940"/>
                  <a:gd name="connsiteX154" fmla="*/ 2097427 w 4519987"/>
                  <a:gd name="connsiteY154" fmla="*/ 47625 h 4496940"/>
                  <a:gd name="connsiteX155" fmla="*/ 2164102 w 4519987"/>
                  <a:gd name="connsiteY155" fmla="*/ 38100 h 4496940"/>
                  <a:gd name="connsiteX156" fmla="*/ 2392702 w 4519987"/>
                  <a:gd name="connsiteY15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869077 w 4519987"/>
                  <a:gd name="connsiteY25" fmla="*/ 628650 h 4496940"/>
                  <a:gd name="connsiteX26" fmla="*/ 3907177 w 4519987"/>
                  <a:gd name="connsiteY26" fmla="*/ 647700 h 4496940"/>
                  <a:gd name="connsiteX27" fmla="*/ 3935752 w 4519987"/>
                  <a:gd name="connsiteY27" fmla="*/ 676275 h 4496940"/>
                  <a:gd name="connsiteX28" fmla="*/ 4078627 w 4519987"/>
                  <a:gd name="connsiteY28" fmla="*/ 838200 h 4496940"/>
                  <a:gd name="connsiteX29" fmla="*/ 4135777 w 4519987"/>
                  <a:gd name="connsiteY29" fmla="*/ 933450 h 4496940"/>
                  <a:gd name="connsiteX30" fmla="*/ 4164352 w 4519987"/>
                  <a:gd name="connsiteY30" fmla="*/ 990600 h 4496940"/>
                  <a:gd name="connsiteX31" fmla="*/ 4173877 w 4519987"/>
                  <a:gd name="connsiteY31" fmla="*/ 1019175 h 4496940"/>
                  <a:gd name="connsiteX32" fmla="*/ 4192927 w 4519987"/>
                  <a:gd name="connsiteY32" fmla="*/ 1057275 h 4496940"/>
                  <a:gd name="connsiteX33" fmla="*/ 4202452 w 4519987"/>
                  <a:gd name="connsiteY33" fmla="*/ 1085850 h 4496940"/>
                  <a:gd name="connsiteX34" fmla="*/ 4250077 w 4519987"/>
                  <a:gd name="connsiteY34" fmla="*/ 1143000 h 4496940"/>
                  <a:gd name="connsiteX35" fmla="*/ 4259602 w 4519987"/>
                  <a:gd name="connsiteY35" fmla="*/ 1190625 h 4496940"/>
                  <a:gd name="connsiteX36" fmla="*/ 4307227 w 4519987"/>
                  <a:gd name="connsiteY36" fmla="*/ 1266825 h 4496940"/>
                  <a:gd name="connsiteX37" fmla="*/ 4345327 w 4519987"/>
                  <a:gd name="connsiteY37" fmla="*/ 1362075 h 4496940"/>
                  <a:gd name="connsiteX38" fmla="*/ 4373902 w 4519987"/>
                  <a:gd name="connsiteY38" fmla="*/ 1428750 h 4496940"/>
                  <a:gd name="connsiteX39" fmla="*/ 4392952 w 4519987"/>
                  <a:gd name="connsiteY39" fmla="*/ 1552575 h 4496940"/>
                  <a:gd name="connsiteX40" fmla="*/ 4402477 w 4519987"/>
                  <a:gd name="connsiteY40" fmla="*/ 1590675 h 4496940"/>
                  <a:gd name="connsiteX41" fmla="*/ 4431052 w 4519987"/>
                  <a:gd name="connsiteY41" fmla="*/ 1685925 h 4496940"/>
                  <a:gd name="connsiteX42" fmla="*/ 4519952 w 4519987"/>
                  <a:gd name="connsiteY42" fmla="*/ 2181225 h 4496940"/>
                  <a:gd name="connsiteX43" fmla="*/ 4446927 w 4519987"/>
                  <a:gd name="connsiteY43" fmla="*/ 2768600 h 4496940"/>
                  <a:gd name="connsiteX44" fmla="*/ 4383427 w 4519987"/>
                  <a:gd name="connsiteY44" fmla="*/ 2990850 h 4496940"/>
                  <a:gd name="connsiteX45" fmla="*/ 4278652 w 4519987"/>
                  <a:gd name="connsiteY45" fmla="*/ 3248025 h 4496940"/>
                  <a:gd name="connsiteX46" fmla="*/ 4259602 w 4519987"/>
                  <a:gd name="connsiteY46" fmla="*/ 3276600 h 4496940"/>
                  <a:gd name="connsiteX47" fmla="*/ 4221502 w 4519987"/>
                  <a:gd name="connsiteY47" fmla="*/ 3333750 h 4496940"/>
                  <a:gd name="connsiteX48" fmla="*/ 4211977 w 4519987"/>
                  <a:gd name="connsiteY48" fmla="*/ 3362325 h 4496940"/>
                  <a:gd name="connsiteX49" fmla="*/ 4183402 w 4519987"/>
                  <a:gd name="connsiteY49" fmla="*/ 3400425 h 4496940"/>
                  <a:gd name="connsiteX50" fmla="*/ 4164352 w 4519987"/>
                  <a:gd name="connsiteY50" fmla="*/ 3429000 h 4496940"/>
                  <a:gd name="connsiteX51" fmla="*/ 4088152 w 4519987"/>
                  <a:gd name="connsiteY51" fmla="*/ 3495675 h 4496940"/>
                  <a:gd name="connsiteX52" fmla="*/ 4059577 w 4519987"/>
                  <a:gd name="connsiteY52" fmla="*/ 3533775 h 4496940"/>
                  <a:gd name="connsiteX53" fmla="*/ 4002427 w 4519987"/>
                  <a:gd name="connsiteY53" fmla="*/ 3600450 h 4496940"/>
                  <a:gd name="connsiteX54" fmla="*/ 3983377 w 4519987"/>
                  <a:gd name="connsiteY54" fmla="*/ 3629025 h 4496940"/>
                  <a:gd name="connsiteX55" fmla="*/ 3954802 w 4519987"/>
                  <a:gd name="connsiteY55" fmla="*/ 3648075 h 4496940"/>
                  <a:gd name="connsiteX56" fmla="*/ 3907177 w 4519987"/>
                  <a:gd name="connsiteY56" fmla="*/ 3686175 h 4496940"/>
                  <a:gd name="connsiteX57" fmla="*/ 3869077 w 4519987"/>
                  <a:gd name="connsiteY57" fmla="*/ 3724275 h 4496940"/>
                  <a:gd name="connsiteX58" fmla="*/ 3792877 w 4519987"/>
                  <a:gd name="connsiteY58" fmla="*/ 3781425 h 4496940"/>
                  <a:gd name="connsiteX59" fmla="*/ 3783352 w 4519987"/>
                  <a:gd name="connsiteY59" fmla="*/ 3810000 h 4496940"/>
                  <a:gd name="connsiteX60" fmla="*/ 3745252 w 4519987"/>
                  <a:gd name="connsiteY60" fmla="*/ 3819525 h 4496940"/>
                  <a:gd name="connsiteX61" fmla="*/ 3678577 w 4519987"/>
                  <a:gd name="connsiteY61" fmla="*/ 3848100 h 4496940"/>
                  <a:gd name="connsiteX62" fmla="*/ 3659527 w 4519987"/>
                  <a:gd name="connsiteY62" fmla="*/ 3971925 h 4496940"/>
                  <a:gd name="connsiteX63" fmla="*/ 3630952 w 4519987"/>
                  <a:gd name="connsiteY63" fmla="*/ 4010025 h 4496940"/>
                  <a:gd name="connsiteX64" fmla="*/ 3621427 w 4519987"/>
                  <a:gd name="connsiteY64" fmla="*/ 4038600 h 4496940"/>
                  <a:gd name="connsiteX65" fmla="*/ 3554752 w 4519987"/>
                  <a:gd name="connsiteY65" fmla="*/ 4095750 h 4496940"/>
                  <a:gd name="connsiteX66" fmla="*/ 3516652 w 4519987"/>
                  <a:gd name="connsiteY66" fmla="*/ 4114800 h 4496940"/>
                  <a:gd name="connsiteX67" fmla="*/ 3497602 w 4519987"/>
                  <a:gd name="connsiteY67" fmla="*/ 4143375 h 4496940"/>
                  <a:gd name="connsiteX68" fmla="*/ 3383302 w 4519987"/>
                  <a:gd name="connsiteY68" fmla="*/ 4210050 h 4496940"/>
                  <a:gd name="connsiteX69" fmla="*/ 3335677 w 4519987"/>
                  <a:gd name="connsiteY69" fmla="*/ 4238625 h 4496940"/>
                  <a:gd name="connsiteX70" fmla="*/ 3288052 w 4519987"/>
                  <a:gd name="connsiteY70" fmla="*/ 4248150 h 4496940"/>
                  <a:gd name="connsiteX71" fmla="*/ 3240427 w 4519987"/>
                  <a:gd name="connsiteY71" fmla="*/ 4267200 h 4496940"/>
                  <a:gd name="connsiteX72" fmla="*/ 3068977 w 4519987"/>
                  <a:gd name="connsiteY72" fmla="*/ 4286250 h 4496940"/>
                  <a:gd name="connsiteX73" fmla="*/ 2935627 w 4519987"/>
                  <a:gd name="connsiteY73" fmla="*/ 4333875 h 4496940"/>
                  <a:gd name="connsiteX74" fmla="*/ 2811802 w 4519987"/>
                  <a:gd name="connsiteY74" fmla="*/ 4371975 h 4496940"/>
                  <a:gd name="connsiteX75" fmla="*/ 2745127 w 4519987"/>
                  <a:gd name="connsiteY75" fmla="*/ 4410075 h 4496940"/>
                  <a:gd name="connsiteX76" fmla="*/ 2697502 w 4519987"/>
                  <a:gd name="connsiteY76" fmla="*/ 4429125 h 4496940"/>
                  <a:gd name="connsiteX77" fmla="*/ 2640352 w 4519987"/>
                  <a:gd name="connsiteY77" fmla="*/ 4457700 h 4496940"/>
                  <a:gd name="connsiteX78" fmla="*/ 2583202 w 4519987"/>
                  <a:gd name="connsiteY78" fmla="*/ 4467225 h 4496940"/>
                  <a:gd name="connsiteX79" fmla="*/ 2545102 w 4519987"/>
                  <a:gd name="connsiteY79" fmla="*/ 4486275 h 4496940"/>
                  <a:gd name="connsiteX80" fmla="*/ 2306977 w 4519987"/>
                  <a:gd name="connsiteY80" fmla="*/ 4476750 h 4496940"/>
                  <a:gd name="connsiteX81" fmla="*/ 2202202 w 4519987"/>
                  <a:gd name="connsiteY81" fmla="*/ 4457700 h 4496940"/>
                  <a:gd name="connsiteX82" fmla="*/ 2126002 w 4519987"/>
                  <a:gd name="connsiteY82" fmla="*/ 4429125 h 4496940"/>
                  <a:gd name="connsiteX83" fmla="*/ 1935502 w 4519987"/>
                  <a:gd name="connsiteY83" fmla="*/ 4400550 h 4496940"/>
                  <a:gd name="connsiteX84" fmla="*/ 1821202 w 4519987"/>
                  <a:gd name="connsiteY84" fmla="*/ 4371975 h 4496940"/>
                  <a:gd name="connsiteX85" fmla="*/ 1754527 w 4519987"/>
                  <a:gd name="connsiteY85" fmla="*/ 4352925 h 4496940"/>
                  <a:gd name="connsiteX86" fmla="*/ 1687852 w 4519987"/>
                  <a:gd name="connsiteY86" fmla="*/ 4343400 h 4496940"/>
                  <a:gd name="connsiteX87" fmla="*/ 1573552 w 4519987"/>
                  <a:gd name="connsiteY87" fmla="*/ 4305300 h 4496940"/>
                  <a:gd name="connsiteX88" fmla="*/ 1402102 w 4519987"/>
                  <a:gd name="connsiteY88" fmla="*/ 4276725 h 4496940"/>
                  <a:gd name="connsiteX89" fmla="*/ 1287802 w 4519987"/>
                  <a:gd name="connsiteY89" fmla="*/ 4229100 h 4496940"/>
                  <a:gd name="connsiteX90" fmla="*/ 1221127 w 4519987"/>
                  <a:gd name="connsiteY90" fmla="*/ 4200525 h 4496940"/>
                  <a:gd name="connsiteX91" fmla="*/ 1144927 w 4519987"/>
                  <a:gd name="connsiteY91" fmla="*/ 4171950 h 4496940"/>
                  <a:gd name="connsiteX92" fmla="*/ 1087777 w 4519987"/>
                  <a:gd name="connsiteY92" fmla="*/ 4143375 h 4496940"/>
                  <a:gd name="connsiteX93" fmla="*/ 1030627 w 4519987"/>
                  <a:gd name="connsiteY93" fmla="*/ 4124325 h 4496940"/>
                  <a:gd name="connsiteX94" fmla="*/ 925852 w 4519987"/>
                  <a:gd name="connsiteY94" fmla="*/ 4067175 h 4496940"/>
                  <a:gd name="connsiteX95" fmla="*/ 830602 w 4519987"/>
                  <a:gd name="connsiteY95" fmla="*/ 3981450 h 4496940"/>
                  <a:gd name="connsiteX96" fmla="*/ 763927 w 4519987"/>
                  <a:gd name="connsiteY96" fmla="*/ 3914775 h 4496940"/>
                  <a:gd name="connsiteX97" fmla="*/ 725827 w 4519987"/>
                  <a:gd name="connsiteY97" fmla="*/ 3876675 h 4496940"/>
                  <a:gd name="connsiteX98" fmla="*/ 697252 w 4519987"/>
                  <a:gd name="connsiteY98" fmla="*/ 3838575 h 4496940"/>
                  <a:gd name="connsiteX99" fmla="*/ 640102 w 4519987"/>
                  <a:gd name="connsiteY99" fmla="*/ 3781425 h 4496940"/>
                  <a:gd name="connsiteX100" fmla="*/ 611527 w 4519987"/>
                  <a:gd name="connsiteY100" fmla="*/ 3733800 h 4496940"/>
                  <a:gd name="connsiteX101" fmla="*/ 554377 w 4519987"/>
                  <a:gd name="connsiteY101" fmla="*/ 3657600 h 4496940"/>
                  <a:gd name="connsiteX102" fmla="*/ 525802 w 4519987"/>
                  <a:gd name="connsiteY102" fmla="*/ 3609975 h 4496940"/>
                  <a:gd name="connsiteX103" fmla="*/ 497227 w 4519987"/>
                  <a:gd name="connsiteY103" fmla="*/ 3552825 h 4496940"/>
                  <a:gd name="connsiteX104" fmla="*/ 440077 w 4519987"/>
                  <a:gd name="connsiteY104" fmla="*/ 3495675 h 4496940"/>
                  <a:gd name="connsiteX105" fmla="*/ 411502 w 4519987"/>
                  <a:gd name="connsiteY105" fmla="*/ 3448050 h 4496940"/>
                  <a:gd name="connsiteX106" fmla="*/ 278152 w 4519987"/>
                  <a:gd name="connsiteY106" fmla="*/ 3257550 h 4496940"/>
                  <a:gd name="connsiteX107" fmla="*/ 249577 w 4519987"/>
                  <a:gd name="connsiteY107" fmla="*/ 3200400 h 4496940"/>
                  <a:gd name="connsiteX108" fmla="*/ 240052 w 4519987"/>
                  <a:gd name="connsiteY108" fmla="*/ 3162300 h 4496940"/>
                  <a:gd name="connsiteX109" fmla="*/ 221002 w 4519987"/>
                  <a:gd name="connsiteY109" fmla="*/ 3105150 h 4496940"/>
                  <a:gd name="connsiteX110" fmla="*/ 173377 w 4519987"/>
                  <a:gd name="connsiteY110" fmla="*/ 3019425 h 4496940"/>
                  <a:gd name="connsiteX111" fmla="*/ 144802 w 4519987"/>
                  <a:gd name="connsiteY111" fmla="*/ 2924175 h 4496940"/>
                  <a:gd name="connsiteX112" fmla="*/ 68602 w 4519987"/>
                  <a:gd name="connsiteY112" fmla="*/ 2724150 h 4496940"/>
                  <a:gd name="connsiteX113" fmla="*/ 49552 w 4519987"/>
                  <a:gd name="connsiteY113" fmla="*/ 2638425 h 4496940"/>
                  <a:gd name="connsiteX114" fmla="*/ 40027 w 4519987"/>
                  <a:gd name="connsiteY114" fmla="*/ 2562225 h 4496940"/>
                  <a:gd name="connsiteX115" fmla="*/ 30502 w 4519987"/>
                  <a:gd name="connsiteY115" fmla="*/ 2514600 h 4496940"/>
                  <a:gd name="connsiteX116" fmla="*/ 11452 w 4519987"/>
                  <a:gd name="connsiteY116" fmla="*/ 2400300 h 4496940"/>
                  <a:gd name="connsiteX117" fmla="*/ 20977 w 4519987"/>
                  <a:gd name="connsiteY117" fmla="*/ 1905000 h 4496940"/>
                  <a:gd name="connsiteX118" fmla="*/ 30502 w 4519987"/>
                  <a:gd name="connsiteY118" fmla="*/ 1838325 h 4496940"/>
                  <a:gd name="connsiteX119" fmla="*/ 49552 w 4519987"/>
                  <a:gd name="connsiteY119" fmla="*/ 1781175 h 4496940"/>
                  <a:gd name="connsiteX120" fmla="*/ 59077 w 4519987"/>
                  <a:gd name="connsiteY120" fmla="*/ 1743075 h 4496940"/>
                  <a:gd name="connsiteX121" fmla="*/ 78127 w 4519987"/>
                  <a:gd name="connsiteY121" fmla="*/ 1685925 h 4496940"/>
                  <a:gd name="connsiteX122" fmla="*/ 87652 w 4519987"/>
                  <a:gd name="connsiteY122" fmla="*/ 1638300 h 4496940"/>
                  <a:gd name="connsiteX123" fmla="*/ 106702 w 4519987"/>
                  <a:gd name="connsiteY123" fmla="*/ 1590675 h 4496940"/>
                  <a:gd name="connsiteX124" fmla="*/ 135277 w 4519987"/>
                  <a:gd name="connsiteY124" fmla="*/ 1504950 h 4496940"/>
                  <a:gd name="connsiteX125" fmla="*/ 154327 w 4519987"/>
                  <a:gd name="connsiteY125" fmla="*/ 1419225 h 4496940"/>
                  <a:gd name="connsiteX126" fmla="*/ 230527 w 4519987"/>
                  <a:gd name="connsiteY126" fmla="*/ 1276350 h 4496940"/>
                  <a:gd name="connsiteX127" fmla="*/ 240052 w 4519987"/>
                  <a:gd name="connsiteY127" fmla="*/ 1247775 h 4496940"/>
                  <a:gd name="connsiteX128" fmla="*/ 268627 w 4519987"/>
                  <a:gd name="connsiteY128" fmla="*/ 1200150 h 4496940"/>
                  <a:gd name="connsiteX129" fmla="*/ 287677 w 4519987"/>
                  <a:gd name="connsiteY129" fmla="*/ 1152525 h 4496940"/>
                  <a:gd name="connsiteX130" fmla="*/ 316252 w 4519987"/>
                  <a:gd name="connsiteY130" fmla="*/ 1114425 h 4496940"/>
                  <a:gd name="connsiteX131" fmla="*/ 363877 w 4519987"/>
                  <a:gd name="connsiteY131" fmla="*/ 1038225 h 4496940"/>
                  <a:gd name="connsiteX132" fmla="*/ 382927 w 4519987"/>
                  <a:gd name="connsiteY132" fmla="*/ 1009650 h 4496940"/>
                  <a:gd name="connsiteX133" fmla="*/ 440077 w 4519987"/>
                  <a:gd name="connsiteY133" fmla="*/ 904875 h 4496940"/>
                  <a:gd name="connsiteX134" fmla="*/ 478177 w 4519987"/>
                  <a:gd name="connsiteY134" fmla="*/ 857250 h 4496940"/>
                  <a:gd name="connsiteX135" fmla="*/ 497227 w 4519987"/>
                  <a:gd name="connsiteY135" fmla="*/ 828675 h 4496940"/>
                  <a:gd name="connsiteX136" fmla="*/ 535327 w 4519987"/>
                  <a:gd name="connsiteY136" fmla="*/ 800100 h 4496940"/>
                  <a:gd name="connsiteX137" fmla="*/ 602002 w 4519987"/>
                  <a:gd name="connsiteY137" fmla="*/ 733425 h 4496940"/>
                  <a:gd name="connsiteX138" fmla="*/ 668677 w 4519987"/>
                  <a:gd name="connsiteY138" fmla="*/ 676275 h 4496940"/>
                  <a:gd name="connsiteX139" fmla="*/ 697252 w 4519987"/>
                  <a:gd name="connsiteY139" fmla="*/ 657225 h 4496940"/>
                  <a:gd name="connsiteX140" fmla="*/ 840127 w 4519987"/>
                  <a:gd name="connsiteY140" fmla="*/ 533400 h 4496940"/>
                  <a:gd name="connsiteX141" fmla="*/ 887752 w 4519987"/>
                  <a:gd name="connsiteY141" fmla="*/ 504825 h 4496940"/>
                  <a:gd name="connsiteX142" fmla="*/ 1167152 w 4519987"/>
                  <a:gd name="connsiteY142" fmla="*/ 311150 h 4496940"/>
                  <a:gd name="connsiteX143" fmla="*/ 1268752 w 4519987"/>
                  <a:gd name="connsiteY143" fmla="*/ 285750 h 4496940"/>
                  <a:gd name="connsiteX144" fmla="*/ 1411627 w 4519987"/>
                  <a:gd name="connsiteY144" fmla="*/ 190500 h 4496940"/>
                  <a:gd name="connsiteX145" fmla="*/ 1449727 w 4519987"/>
                  <a:gd name="connsiteY145" fmla="*/ 161925 h 4496940"/>
                  <a:gd name="connsiteX146" fmla="*/ 1525927 w 4519987"/>
                  <a:gd name="connsiteY146" fmla="*/ 152400 h 4496940"/>
                  <a:gd name="connsiteX147" fmla="*/ 1583077 w 4519987"/>
                  <a:gd name="connsiteY147" fmla="*/ 142875 h 4496940"/>
                  <a:gd name="connsiteX148" fmla="*/ 1716427 w 4519987"/>
                  <a:gd name="connsiteY148" fmla="*/ 123825 h 4496940"/>
                  <a:gd name="connsiteX149" fmla="*/ 1811677 w 4519987"/>
                  <a:gd name="connsiteY149" fmla="*/ 114300 h 4496940"/>
                  <a:gd name="connsiteX150" fmla="*/ 1859302 w 4519987"/>
                  <a:gd name="connsiteY150" fmla="*/ 104775 h 4496940"/>
                  <a:gd name="connsiteX151" fmla="*/ 1916452 w 4519987"/>
                  <a:gd name="connsiteY151" fmla="*/ 95250 h 4496940"/>
                  <a:gd name="connsiteX152" fmla="*/ 2030752 w 4519987"/>
                  <a:gd name="connsiteY152" fmla="*/ 66675 h 4496940"/>
                  <a:gd name="connsiteX153" fmla="*/ 2097427 w 4519987"/>
                  <a:gd name="connsiteY153" fmla="*/ 47625 h 4496940"/>
                  <a:gd name="connsiteX154" fmla="*/ 2164102 w 4519987"/>
                  <a:gd name="connsiteY154" fmla="*/ 38100 h 4496940"/>
                  <a:gd name="connsiteX155" fmla="*/ 2392702 w 4519987"/>
                  <a:gd name="connsiteY15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840502 w 4519987"/>
                  <a:gd name="connsiteY24" fmla="*/ 600075 h 4496940"/>
                  <a:gd name="connsiteX25" fmla="*/ 3907177 w 4519987"/>
                  <a:gd name="connsiteY25" fmla="*/ 647700 h 4496940"/>
                  <a:gd name="connsiteX26" fmla="*/ 3935752 w 4519987"/>
                  <a:gd name="connsiteY26" fmla="*/ 676275 h 4496940"/>
                  <a:gd name="connsiteX27" fmla="*/ 4078627 w 4519987"/>
                  <a:gd name="connsiteY27" fmla="*/ 838200 h 4496940"/>
                  <a:gd name="connsiteX28" fmla="*/ 4135777 w 4519987"/>
                  <a:gd name="connsiteY28" fmla="*/ 933450 h 4496940"/>
                  <a:gd name="connsiteX29" fmla="*/ 4164352 w 4519987"/>
                  <a:gd name="connsiteY29" fmla="*/ 990600 h 4496940"/>
                  <a:gd name="connsiteX30" fmla="*/ 4173877 w 4519987"/>
                  <a:gd name="connsiteY30" fmla="*/ 1019175 h 4496940"/>
                  <a:gd name="connsiteX31" fmla="*/ 4192927 w 4519987"/>
                  <a:gd name="connsiteY31" fmla="*/ 1057275 h 4496940"/>
                  <a:gd name="connsiteX32" fmla="*/ 4202452 w 4519987"/>
                  <a:gd name="connsiteY32" fmla="*/ 1085850 h 4496940"/>
                  <a:gd name="connsiteX33" fmla="*/ 4250077 w 4519987"/>
                  <a:gd name="connsiteY33" fmla="*/ 1143000 h 4496940"/>
                  <a:gd name="connsiteX34" fmla="*/ 4259602 w 4519987"/>
                  <a:gd name="connsiteY34" fmla="*/ 1190625 h 4496940"/>
                  <a:gd name="connsiteX35" fmla="*/ 4307227 w 4519987"/>
                  <a:gd name="connsiteY35" fmla="*/ 1266825 h 4496940"/>
                  <a:gd name="connsiteX36" fmla="*/ 4345327 w 4519987"/>
                  <a:gd name="connsiteY36" fmla="*/ 1362075 h 4496940"/>
                  <a:gd name="connsiteX37" fmla="*/ 4373902 w 4519987"/>
                  <a:gd name="connsiteY37" fmla="*/ 1428750 h 4496940"/>
                  <a:gd name="connsiteX38" fmla="*/ 4392952 w 4519987"/>
                  <a:gd name="connsiteY38" fmla="*/ 1552575 h 4496940"/>
                  <a:gd name="connsiteX39" fmla="*/ 4402477 w 4519987"/>
                  <a:gd name="connsiteY39" fmla="*/ 1590675 h 4496940"/>
                  <a:gd name="connsiteX40" fmla="*/ 4431052 w 4519987"/>
                  <a:gd name="connsiteY40" fmla="*/ 1685925 h 4496940"/>
                  <a:gd name="connsiteX41" fmla="*/ 4519952 w 4519987"/>
                  <a:gd name="connsiteY41" fmla="*/ 2181225 h 4496940"/>
                  <a:gd name="connsiteX42" fmla="*/ 4446927 w 4519987"/>
                  <a:gd name="connsiteY42" fmla="*/ 2768600 h 4496940"/>
                  <a:gd name="connsiteX43" fmla="*/ 4383427 w 4519987"/>
                  <a:gd name="connsiteY43" fmla="*/ 2990850 h 4496940"/>
                  <a:gd name="connsiteX44" fmla="*/ 4278652 w 4519987"/>
                  <a:gd name="connsiteY44" fmla="*/ 3248025 h 4496940"/>
                  <a:gd name="connsiteX45" fmla="*/ 4259602 w 4519987"/>
                  <a:gd name="connsiteY45" fmla="*/ 3276600 h 4496940"/>
                  <a:gd name="connsiteX46" fmla="*/ 4221502 w 4519987"/>
                  <a:gd name="connsiteY46" fmla="*/ 3333750 h 4496940"/>
                  <a:gd name="connsiteX47" fmla="*/ 4211977 w 4519987"/>
                  <a:gd name="connsiteY47" fmla="*/ 3362325 h 4496940"/>
                  <a:gd name="connsiteX48" fmla="*/ 4183402 w 4519987"/>
                  <a:gd name="connsiteY48" fmla="*/ 3400425 h 4496940"/>
                  <a:gd name="connsiteX49" fmla="*/ 4164352 w 4519987"/>
                  <a:gd name="connsiteY49" fmla="*/ 3429000 h 4496940"/>
                  <a:gd name="connsiteX50" fmla="*/ 4088152 w 4519987"/>
                  <a:gd name="connsiteY50" fmla="*/ 3495675 h 4496940"/>
                  <a:gd name="connsiteX51" fmla="*/ 4059577 w 4519987"/>
                  <a:gd name="connsiteY51" fmla="*/ 3533775 h 4496940"/>
                  <a:gd name="connsiteX52" fmla="*/ 4002427 w 4519987"/>
                  <a:gd name="connsiteY52" fmla="*/ 3600450 h 4496940"/>
                  <a:gd name="connsiteX53" fmla="*/ 3983377 w 4519987"/>
                  <a:gd name="connsiteY53" fmla="*/ 3629025 h 4496940"/>
                  <a:gd name="connsiteX54" fmla="*/ 3954802 w 4519987"/>
                  <a:gd name="connsiteY54" fmla="*/ 3648075 h 4496940"/>
                  <a:gd name="connsiteX55" fmla="*/ 3907177 w 4519987"/>
                  <a:gd name="connsiteY55" fmla="*/ 3686175 h 4496940"/>
                  <a:gd name="connsiteX56" fmla="*/ 3869077 w 4519987"/>
                  <a:gd name="connsiteY56" fmla="*/ 3724275 h 4496940"/>
                  <a:gd name="connsiteX57" fmla="*/ 3792877 w 4519987"/>
                  <a:gd name="connsiteY57" fmla="*/ 3781425 h 4496940"/>
                  <a:gd name="connsiteX58" fmla="*/ 3783352 w 4519987"/>
                  <a:gd name="connsiteY58" fmla="*/ 3810000 h 4496940"/>
                  <a:gd name="connsiteX59" fmla="*/ 3745252 w 4519987"/>
                  <a:gd name="connsiteY59" fmla="*/ 3819525 h 4496940"/>
                  <a:gd name="connsiteX60" fmla="*/ 3678577 w 4519987"/>
                  <a:gd name="connsiteY60" fmla="*/ 3848100 h 4496940"/>
                  <a:gd name="connsiteX61" fmla="*/ 3659527 w 4519987"/>
                  <a:gd name="connsiteY61" fmla="*/ 3971925 h 4496940"/>
                  <a:gd name="connsiteX62" fmla="*/ 3630952 w 4519987"/>
                  <a:gd name="connsiteY62" fmla="*/ 4010025 h 4496940"/>
                  <a:gd name="connsiteX63" fmla="*/ 3621427 w 4519987"/>
                  <a:gd name="connsiteY63" fmla="*/ 4038600 h 4496940"/>
                  <a:gd name="connsiteX64" fmla="*/ 3554752 w 4519987"/>
                  <a:gd name="connsiteY64" fmla="*/ 4095750 h 4496940"/>
                  <a:gd name="connsiteX65" fmla="*/ 3516652 w 4519987"/>
                  <a:gd name="connsiteY65" fmla="*/ 4114800 h 4496940"/>
                  <a:gd name="connsiteX66" fmla="*/ 3497602 w 4519987"/>
                  <a:gd name="connsiteY66" fmla="*/ 4143375 h 4496940"/>
                  <a:gd name="connsiteX67" fmla="*/ 3383302 w 4519987"/>
                  <a:gd name="connsiteY67" fmla="*/ 4210050 h 4496940"/>
                  <a:gd name="connsiteX68" fmla="*/ 3335677 w 4519987"/>
                  <a:gd name="connsiteY68" fmla="*/ 4238625 h 4496940"/>
                  <a:gd name="connsiteX69" fmla="*/ 3288052 w 4519987"/>
                  <a:gd name="connsiteY69" fmla="*/ 4248150 h 4496940"/>
                  <a:gd name="connsiteX70" fmla="*/ 3240427 w 4519987"/>
                  <a:gd name="connsiteY70" fmla="*/ 4267200 h 4496940"/>
                  <a:gd name="connsiteX71" fmla="*/ 3068977 w 4519987"/>
                  <a:gd name="connsiteY71" fmla="*/ 4286250 h 4496940"/>
                  <a:gd name="connsiteX72" fmla="*/ 2935627 w 4519987"/>
                  <a:gd name="connsiteY72" fmla="*/ 4333875 h 4496940"/>
                  <a:gd name="connsiteX73" fmla="*/ 2811802 w 4519987"/>
                  <a:gd name="connsiteY73" fmla="*/ 4371975 h 4496940"/>
                  <a:gd name="connsiteX74" fmla="*/ 2745127 w 4519987"/>
                  <a:gd name="connsiteY74" fmla="*/ 4410075 h 4496940"/>
                  <a:gd name="connsiteX75" fmla="*/ 2697502 w 4519987"/>
                  <a:gd name="connsiteY75" fmla="*/ 4429125 h 4496940"/>
                  <a:gd name="connsiteX76" fmla="*/ 2640352 w 4519987"/>
                  <a:gd name="connsiteY76" fmla="*/ 4457700 h 4496940"/>
                  <a:gd name="connsiteX77" fmla="*/ 2583202 w 4519987"/>
                  <a:gd name="connsiteY77" fmla="*/ 4467225 h 4496940"/>
                  <a:gd name="connsiteX78" fmla="*/ 2545102 w 4519987"/>
                  <a:gd name="connsiteY78" fmla="*/ 4486275 h 4496940"/>
                  <a:gd name="connsiteX79" fmla="*/ 2306977 w 4519987"/>
                  <a:gd name="connsiteY79" fmla="*/ 4476750 h 4496940"/>
                  <a:gd name="connsiteX80" fmla="*/ 2202202 w 4519987"/>
                  <a:gd name="connsiteY80" fmla="*/ 4457700 h 4496940"/>
                  <a:gd name="connsiteX81" fmla="*/ 2126002 w 4519987"/>
                  <a:gd name="connsiteY81" fmla="*/ 4429125 h 4496940"/>
                  <a:gd name="connsiteX82" fmla="*/ 1935502 w 4519987"/>
                  <a:gd name="connsiteY82" fmla="*/ 4400550 h 4496940"/>
                  <a:gd name="connsiteX83" fmla="*/ 1821202 w 4519987"/>
                  <a:gd name="connsiteY83" fmla="*/ 4371975 h 4496940"/>
                  <a:gd name="connsiteX84" fmla="*/ 1754527 w 4519987"/>
                  <a:gd name="connsiteY84" fmla="*/ 4352925 h 4496940"/>
                  <a:gd name="connsiteX85" fmla="*/ 1687852 w 4519987"/>
                  <a:gd name="connsiteY85" fmla="*/ 4343400 h 4496940"/>
                  <a:gd name="connsiteX86" fmla="*/ 1573552 w 4519987"/>
                  <a:gd name="connsiteY86" fmla="*/ 4305300 h 4496940"/>
                  <a:gd name="connsiteX87" fmla="*/ 1402102 w 4519987"/>
                  <a:gd name="connsiteY87" fmla="*/ 4276725 h 4496940"/>
                  <a:gd name="connsiteX88" fmla="*/ 1287802 w 4519987"/>
                  <a:gd name="connsiteY88" fmla="*/ 4229100 h 4496940"/>
                  <a:gd name="connsiteX89" fmla="*/ 1221127 w 4519987"/>
                  <a:gd name="connsiteY89" fmla="*/ 4200525 h 4496940"/>
                  <a:gd name="connsiteX90" fmla="*/ 1144927 w 4519987"/>
                  <a:gd name="connsiteY90" fmla="*/ 4171950 h 4496940"/>
                  <a:gd name="connsiteX91" fmla="*/ 1087777 w 4519987"/>
                  <a:gd name="connsiteY91" fmla="*/ 4143375 h 4496940"/>
                  <a:gd name="connsiteX92" fmla="*/ 1030627 w 4519987"/>
                  <a:gd name="connsiteY92" fmla="*/ 4124325 h 4496940"/>
                  <a:gd name="connsiteX93" fmla="*/ 925852 w 4519987"/>
                  <a:gd name="connsiteY93" fmla="*/ 4067175 h 4496940"/>
                  <a:gd name="connsiteX94" fmla="*/ 830602 w 4519987"/>
                  <a:gd name="connsiteY94" fmla="*/ 3981450 h 4496940"/>
                  <a:gd name="connsiteX95" fmla="*/ 763927 w 4519987"/>
                  <a:gd name="connsiteY95" fmla="*/ 3914775 h 4496940"/>
                  <a:gd name="connsiteX96" fmla="*/ 725827 w 4519987"/>
                  <a:gd name="connsiteY96" fmla="*/ 3876675 h 4496940"/>
                  <a:gd name="connsiteX97" fmla="*/ 697252 w 4519987"/>
                  <a:gd name="connsiteY97" fmla="*/ 3838575 h 4496940"/>
                  <a:gd name="connsiteX98" fmla="*/ 640102 w 4519987"/>
                  <a:gd name="connsiteY98" fmla="*/ 3781425 h 4496940"/>
                  <a:gd name="connsiteX99" fmla="*/ 611527 w 4519987"/>
                  <a:gd name="connsiteY99" fmla="*/ 3733800 h 4496940"/>
                  <a:gd name="connsiteX100" fmla="*/ 554377 w 4519987"/>
                  <a:gd name="connsiteY100" fmla="*/ 3657600 h 4496940"/>
                  <a:gd name="connsiteX101" fmla="*/ 525802 w 4519987"/>
                  <a:gd name="connsiteY101" fmla="*/ 3609975 h 4496940"/>
                  <a:gd name="connsiteX102" fmla="*/ 497227 w 4519987"/>
                  <a:gd name="connsiteY102" fmla="*/ 3552825 h 4496940"/>
                  <a:gd name="connsiteX103" fmla="*/ 440077 w 4519987"/>
                  <a:gd name="connsiteY103" fmla="*/ 3495675 h 4496940"/>
                  <a:gd name="connsiteX104" fmla="*/ 411502 w 4519987"/>
                  <a:gd name="connsiteY104" fmla="*/ 3448050 h 4496940"/>
                  <a:gd name="connsiteX105" fmla="*/ 278152 w 4519987"/>
                  <a:gd name="connsiteY105" fmla="*/ 3257550 h 4496940"/>
                  <a:gd name="connsiteX106" fmla="*/ 249577 w 4519987"/>
                  <a:gd name="connsiteY106" fmla="*/ 3200400 h 4496940"/>
                  <a:gd name="connsiteX107" fmla="*/ 240052 w 4519987"/>
                  <a:gd name="connsiteY107" fmla="*/ 3162300 h 4496940"/>
                  <a:gd name="connsiteX108" fmla="*/ 221002 w 4519987"/>
                  <a:gd name="connsiteY108" fmla="*/ 3105150 h 4496940"/>
                  <a:gd name="connsiteX109" fmla="*/ 173377 w 4519987"/>
                  <a:gd name="connsiteY109" fmla="*/ 3019425 h 4496940"/>
                  <a:gd name="connsiteX110" fmla="*/ 144802 w 4519987"/>
                  <a:gd name="connsiteY110" fmla="*/ 2924175 h 4496940"/>
                  <a:gd name="connsiteX111" fmla="*/ 68602 w 4519987"/>
                  <a:gd name="connsiteY111" fmla="*/ 2724150 h 4496940"/>
                  <a:gd name="connsiteX112" fmla="*/ 49552 w 4519987"/>
                  <a:gd name="connsiteY112" fmla="*/ 2638425 h 4496940"/>
                  <a:gd name="connsiteX113" fmla="*/ 40027 w 4519987"/>
                  <a:gd name="connsiteY113" fmla="*/ 2562225 h 4496940"/>
                  <a:gd name="connsiteX114" fmla="*/ 30502 w 4519987"/>
                  <a:gd name="connsiteY114" fmla="*/ 2514600 h 4496940"/>
                  <a:gd name="connsiteX115" fmla="*/ 11452 w 4519987"/>
                  <a:gd name="connsiteY115" fmla="*/ 2400300 h 4496940"/>
                  <a:gd name="connsiteX116" fmla="*/ 20977 w 4519987"/>
                  <a:gd name="connsiteY116" fmla="*/ 1905000 h 4496940"/>
                  <a:gd name="connsiteX117" fmla="*/ 30502 w 4519987"/>
                  <a:gd name="connsiteY117" fmla="*/ 1838325 h 4496940"/>
                  <a:gd name="connsiteX118" fmla="*/ 49552 w 4519987"/>
                  <a:gd name="connsiteY118" fmla="*/ 1781175 h 4496940"/>
                  <a:gd name="connsiteX119" fmla="*/ 59077 w 4519987"/>
                  <a:gd name="connsiteY119" fmla="*/ 1743075 h 4496940"/>
                  <a:gd name="connsiteX120" fmla="*/ 78127 w 4519987"/>
                  <a:gd name="connsiteY120" fmla="*/ 1685925 h 4496940"/>
                  <a:gd name="connsiteX121" fmla="*/ 87652 w 4519987"/>
                  <a:gd name="connsiteY121" fmla="*/ 1638300 h 4496940"/>
                  <a:gd name="connsiteX122" fmla="*/ 106702 w 4519987"/>
                  <a:gd name="connsiteY122" fmla="*/ 1590675 h 4496940"/>
                  <a:gd name="connsiteX123" fmla="*/ 135277 w 4519987"/>
                  <a:gd name="connsiteY123" fmla="*/ 1504950 h 4496940"/>
                  <a:gd name="connsiteX124" fmla="*/ 154327 w 4519987"/>
                  <a:gd name="connsiteY124" fmla="*/ 1419225 h 4496940"/>
                  <a:gd name="connsiteX125" fmla="*/ 230527 w 4519987"/>
                  <a:gd name="connsiteY125" fmla="*/ 1276350 h 4496940"/>
                  <a:gd name="connsiteX126" fmla="*/ 240052 w 4519987"/>
                  <a:gd name="connsiteY126" fmla="*/ 1247775 h 4496940"/>
                  <a:gd name="connsiteX127" fmla="*/ 268627 w 4519987"/>
                  <a:gd name="connsiteY127" fmla="*/ 1200150 h 4496940"/>
                  <a:gd name="connsiteX128" fmla="*/ 287677 w 4519987"/>
                  <a:gd name="connsiteY128" fmla="*/ 1152525 h 4496940"/>
                  <a:gd name="connsiteX129" fmla="*/ 316252 w 4519987"/>
                  <a:gd name="connsiteY129" fmla="*/ 1114425 h 4496940"/>
                  <a:gd name="connsiteX130" fmla="*/ 363877 w 4519987"/>
                  <a:gd name="connsiteY130" fmla="*/ 1038225 h 4496940"/>
                  <a:gd name="connsiteX131" fmla="*/ 382927 w 4519987"/>
                  <a:gd name="connsiteY131" fmla="*/ 1009650 h 4496940"/>
                  <a:gd name="connsiteX132" fmla="*/ 440077 w 4519987"/>
                  <a:gd name="connsiteY132" fmla="*/ 904875 h 4496940"/>
                  <a:gd name="connsiteX133" fmla="*/ 478177 w 4519987"/>
                  <a:gd name="connsiteY133" fmla="*/ 857250 h 4496940"/>
                  <a:gd name="connsiteX134" fmla="*/ 497227 w 4519987"/>
                  <a:gd name="connsiteY134" fmla="*/ 828675 h 4496940"/>
                  <a:gd name="connsiteX135" fmla="*/ 535327 w 4519987"/>
                  <a:gd name="connsiteY135" fmla="*/ 800100 h 4496940"/>
                  <a:gd name="connsiteX136" fmla="*/ 602002 w 4519987"/>
                  <a:gd name="connsiteY136" fmla="*/ 733425 h 4496940"/>
                  <a:gd name="connsiteX137" fmla="*/ 668677 w 4519987"/>
                  <a:gd name="connsiteY137" fmla="*/ 676275 h 4496940"/>
                  <a:gd name="connsiteX138" fmla="*/ 697252 w 4519987"/>
                  <a:gd name="connsiteY138" fmla="*/ 657225 h 4496940"/>
                  <a:gd name="connsiteX139" fmla="*/ 840127 w 4519987"/>
                  <a:gd name="connsiteY139" fmla="*/ 533400 h 4496940"/>
                  <a:gd name="connsiteX140" fmla="*/ 887752 w 4519987"/>
                  <a:gd name="connsiteY140" fmla="*/ 504825 h 4496940"/>
                  <a:gd name="connsiteX141" fmla="*/ 1167152 w 4519987"/>
                  <a:gd name="connsiteY141" fmla="*/ 311150 h 4496940"/>
                  <a:gd name="connsiteX142" fmla="*/ 1268752 w 4519987"/>
                  <a:gd name="connsiteY142" fmla="*/ 285750 h 4496940"/>
                  <a:gd name="connsiteX143" fmla="*/ 1411627 w 4519987"/>
                  <a:gd name="connsiteY143" fmla="*/ 190500 h 4496940"/>
                  <a:gd name="connsiteX144" fmla="*/ 1449727 w 4519987"/>
                  <a:gd name="connsiteY144" fmla="*/ 161925 h 4496940"/>
                  <a:gd name="connsiteX145" fmla="*/ 1525927 w 4519987"/>
                  <a:gd name="connsiteY145" fmla="*/ 152400 h 4496940"/>
                  <a:gd name="connsiteX146" fmla="*/ 1583077 w 4519987"/>
                  <a:gd name="connsiteY146" fmla="*/ 142875 h 4496940"/>
                  <a:gd name="connsiteX147" fmla="*/ 1716427 w 4519987"/>
                  <a:gd name="connsiteY147" fmla="*/ 123825 h 4496940"/>
                  <a:gd name="connsiteX148" fmla="*/ 1811677 w 4519987"/>
                  <a:gd name="connsiteY148" fmla="*/ 114300 h 4496940"/>
                  <a:gd name="connsiteX149" fmla="*/ 1859302 w 4519987"/>
                  <a:gd name="connsiteY149" fmla="*/ 104775 h 4496940"/>
                  <a:gd name="connsiteX150" fmla="*/ 1916452 w 4519987"/>
                  <a:gd name="connsiteY150" fmla="*/ 95250 h 4496940"/>
                  <a:gd name="connsiteX151" fmla="*/ 2030752 w 4519987"/>
                  <a:gd name="connsiteY151" fmla="*/ 66675 h 4496940"/>
                  <a:gd name="connsiteX152" fmla="*/ 2097427 w 4519987"/>
                  <a:gd name="connsiteY152" fmla="*/ 47625 h 4496940"/>
                  <a:gd name="connsiteX153" fmla="*/ 2164102 w 4519987"/>
                  <a:gd name="connsiteY153" fmla="*/ 38100 h 4496940"/>
                  <a:gd name="connsiteX154" fmla="*/ 2392702 w 4519987"/>
                  <a:gd name="connsiteY15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545227 w 4519987"/>
                  <a:gd name="connsiteY18" fmla="*/ 419100 h 4496940"/>
                  <a:gd name="connsiteX19" fmla="*/ 3602377 w 4519987"/>
                  <a:gd name="connsiteY19" fmla="*/ 457200 h 4496940"/>
                  <a:gd name="connsiteX20" fmla="*/ 3630952 w 4519987"/>
                  <a:gd name="connsiteY20" fmla="*/ 485775 h 4496940"/>
                  <a:gd name="connsiteX21" fmla="*/ 3678577 w 4519987"/>
                  <a:gd name="connsiteY21" fmla="*/ 504825 h 4496940"/>
                  <a:gd name="connsiteX22" fmla="*/ 3745252 w 4519987"/>
                  <a:gd name="connsiteY22" fmla="*/ 542925 h 4496940"/>
                  <a:gd name="connsiteX23" fmla="*/ 3811927 w 4519987"/>
                  <a:gd name="connsiteY23" fmla="*/ 581025 h 4496940"/>
                  <a:gd name="connsiteX24" fmla="*/ 3907177 w 4519987"/>
                  <a:gd name="connsiteY24" fmla="*/ 647700 h 4496940"/>
                  <a:gd name="connsiteX25" fmla="*/ 3935752 w 4519987"/>
                  <a:gd name="connsiteY25" fmla="*/ 676275 h 4496940"/>
                  <a:gd name="connsiteX26" fmla="*/ 4078627 w 4519987"/>
                  <a:gd name="connsiteY26" fmla="*/ 838200 h 4496940"/>
                  <a:gd name="connsiteX27" fmla="*/ 4135777 w 4519987"/>
                  <a:gd name="connsiteY27" fmla="*/ 933450 h 4496940"/>
                  <a:gd name="connsiteX28" fmla="*/ 4164352 w 4519987"/>
                  <a:gd name="connsiteY28" fmla="*/ 990600 h 4496940"/>
                  <a:gd name="connsiteX29" fmla="*/ 4173877 w 4519987"/>
                  <a:gd name="connsiteY29" fmla="*/ 1019175 h 4496940"/>
                  <a:gd name="connsiteX30" fmla="*/ 4192927 w 4519987"/>
                  <a:gd name="connsiteY30" fmla="*/ 1057275 h 4496940"/>
                  <a:gd name="connsiteX31" fmla="*/ 4202452 w 4519987"/>
                  <a:gd name="connsiteY31" fmla="*/ 1085850 h 4496940"/>
                  <a:gd name="connsiteX32" fmla="*/ 4250077 w 4519987"/>
                  <a:gd name="connsiteY32" fmla="*/ 1143000 h 4496940"/>
                  <a:gd name="connsiteX33" fmla="*/ 4259602 w 4519987"/>
                  <a:gd name="connsiteY33" fmla="*/ 1190625 h 4496940"/>
                  <a:gd name="connsiteX34" fmla="*/ 4307227 w 4519987"/>
                  <a:gd name="connsiteY34" fmla="*/ 1266825 h 4496940"/>
                  <a:gd name="connsiteX35" fmla="*/ 4345327 w 4519987"/>
                  <a:gd name="connsiteY35" fmla="*/ 1362075 h 4496940"/>
                  <a:gd name="connsiteX36" fmla="*/ 4373902 w 4519987"/>
                  <a:gd name="connsiteY36" fmla="*/ 1428750 h 4496940"/>
                  <a:gd name="connsiteX37" fmla="*/ 4392952 w 4519987"/>
                  <a:gd name="connsiteY37" fmla="*/ 1552575 h 4496940"/>
                  <a:gd name="connsiteX38" fmla="*/ 4402477 w 4519987"/>
                  <a:gd name="connsiteY38" fmla="*/ 1590675 h 4496940"/>
                  <a:gd name="connsiteX39" fmla="*/ 4431052 w 4519987"/>
                  <a:gd name="connsiteY39" fmla="*/ 1685925 h 4496940"/>
                  <a:gd name="connsiteX40" fmla="*/ 4519952 w 4519987"/>
                  <a:gd name="connsiteY40" fmla="*/ 2181225 h 4496940"/>
                  <a:gd name="connsiteX41" fmla="*/ 4446927 w 4519987"/>
                  <a:gd name="connsiteY41" fmla="*/ 2768600 h 4496940"/>
                  <a:gd name="connsiteX42" fmla="*/ 4383427 w 4519987"/>
                  <a:gd name="connsiteY42" fmla="*/ 2990850 h 4496940"/>
                  <a:gd name="connsiteX43" fmla="*/ 4278652 w 4519987"/>
                  <a:gd name="connsiteY43" fmla="*/ 3248025 h 4496940"/>
                  <a:gd name="connsiteX44" fmla="*/ 4259602 w 4519987"/>
                  <a:gd name="connsiteY44" fmla="*/ 3276600 h 4496940"/>
                  <a:gd name="connsiteX45" fmla="*/ 4221502 w 4519987"/>
                  <a:gd name="connsiteY45" fmla="*/ 3333750 h 4496940"/>
                  <a:gd name="connsiteX46" fmla="*/ 4211977 w 4519987"/>
                  <a:gd name="connsiteY46" fmla="*/ 3362325 h 4496940"/>
                  <a:gd name="connsiteX47" fmla="*/ 4183402 w 4519987"/>
                  <a:gd name="connsiteY47" fmla="*/ 3400425 h 4496940"/>
                  <a:gd name="connsiteX48" fmla="*/ 4164352 w 4519987"/>
                  <a:gd name="connsiteY48" fmla="*/ 3429000 h 4496940"/>
                  <a:gd name="connsiteX49" fmla="*/ 4088152 w 4519987"/>
                  <a:gd name="connsiteY49" fmla="*/ 3495675 h 4496940"/>
                  <a:gd name="connsiteX50" fmla="*/ 4059577 w 4519987"/>
                  <a:gd name="connsiteY50" fmla="*/ 3533775 h 4496940"/>
                  <a:gd name="connsiteX51" fmla="*/ 4002427 w 4519987"/>
                  <a:gd name="connsiteY51" fmla="*/ 3600450 h 4496940"/>
                  <a:gd name="connsiteX52" fmla="*/ 3983377 w 4519987"/>
                  <a:gd name="connsiteY52" fmla="*/ 3629025 h 4496940"/>
                  <a:gd name="connsiteX53" fmla="*/ 3954802 w 4519987"/>
                  <a:gd name="connsiteY53" fmla="*/ 3648075 h 4496940"/>
                  <a:gd name="connsiteX54" fmla="*/ 3907177 w 4519987"/>
                  <a:gd name="connsiteY54" fmla="*/ 3686175 h 4496940"/>
                  <a:gd name="connsiteX55" fmla="*/ 3869077 w 4519987"/>
                  <a:gd name="connsiteY55" fmla="*/ 3724275 h 4496940"/>
                  <a:gd name="connsiteX56" fmla="*/ 3792877 w 4519987"/>
                  <a:gd name="connsiteY56" fmla="*/ 3781425 h 4496940"/>
                  <a:gd name="connsiteX57" fmla="*/ 3783352 w 4519987"/>
                  <a:gd name="connsiteY57" fmla="*/ 3810000 h 4496940"/>
                  <a:gd name="connsiteX58" fmla="*/ 3745252 w 4519987"/>
                  <a:gd name="connsiteY58" fmla="*/ 3819525 h 4496940"/>
                  <a:gd name="connsiteX59" fmla="*/ 3678577 w 4519987"/>
                  <a:gd name="connsiteY59" fmla="*/ 3848100 h 4496940"/>
                  <a:gd name="connsiteX60" fmla="*/ 3659527 w 4519987"/>
                  <a:gd name="connsiteY60" fmla="*/ 3971925 h 4496940"/>
                  <a:gd name="connsiteX61" fmla="*/ 3630952 w 4519987"/>
                  <a:gd name="connsiteY61" fmla="*/ 4010025 h 4496940"/>
                  <a:gd name="connsiteX62" fmla="*/ 3621427 w 4519987"/>
                  <a:gd name="connsiteY62" fmla="*/ 4038600 h 4496940"/>
                  <a:gd name="connsiteX63" fmla="*/ 3554752 w 4519987"/>
                  <a:gd name="connsiteY63" fmla="*/ 4095750 h 4496940"/>
                  <a:gd name="connsiteX64" fmla="*/ 3516652 w 4519987"/>
                  <a:gd name="connsiteY64" fmla="*/ 4114800 h 4496940"/>
                  <a:gd name="connsiteX65" fmla="*/ 3497602 w 4519987"/>
                  <a:gd name="connsiteY65" fmla="*/ 4143375 h 4496940"/>
                  <a:gd name="connsiteX66" fmla="*/ 3383302 w 4519987"/>
                  <a:gd name="connsiteY66" fmla="*/ 4210050 h 4496940"/>
                  <a:gd name="connsiteX67" fmla="*/ 3335677 w 4519987"/>
                  <a:gd name="connsiteY67" fmla="*/ 4238625 h 4496940"/>
                  <a:gd name="connsiteX68" fmla="*/ 3288052 w 4519987"/>
                  <a:gd name="connsiteY68" fmla="*/ 4248150 h 4496940"/>
                  <a:gd name="connsiteX69" fmla="*/ 3240427 w 4519987"/>
                  <a:gd name="connsiteY69" fmla="*/ 4267200 h 4496940"/>
                  <a:gd name="connsiteX70" fmla="*/ 3068977 w 4519987"/>
                  <a:gd name="connsiteY70" fmla="*/ 4286250 h 4496940"/>
                  <a:gd name="connsiteX71" fmla="*/ 2935627 w 4519987"/>
                  <a:gd name="connsiteY71" fmla="*/ 4333875 h 4496940"/>
                  <a:gd name="connsiteX72" fmla="*/ 2811802 w 4519987"/>
                  <a:gd name="connsiteY72" fmla="*/ 4371975 h 4496940"/>
                  <a:gd name="connsiteX73" fmla="*/ 2745127 w 4519987"/>
                  <a:gd name="connsiteY73" fmla="*/ 4410075 h 4496940"/>
                  <a:gd name="connsiteX74" fmla="*/ 2697502 w 4519987"/>
                  <a:gd name="connsiteY74" fmla="*/ 4429125 h 4496940"/>
                  <a:gd name="connsiteX75" fmla="*/ 2640352 w 4519987"/>
                  <a:gd name="connsiteY75" fmla="*/ 4457700 h 4496940"/>
                  <a:gd name="connsiteX76" fmla="*/ 2583202 w 4519987"/>
                  <a:gd name="connsiteY76" fmla="*/ 4467225 h 4496940"/>
                  <a:gd name="connsiteX77" fmla="*/ 2545102 w 4519987"/>
                  <a:gd name="connsiteY77" fmla="*/ 4486275 h 4496940"/>
                  <a:gd name="connsiteX78" fmla="*/ 2306977 w 4519987"/>
                  <a:gd name="connsiteY78" fmla="*/ 4476750 h 4496940"/>
                  <a:gd name="connsiteX79" fmla="*/ 2202202 w 4519987"/>
                  <a:gd name="connsiteY79" fmla="*/ 4457700 h 4496940"/>
                  <a:gd name="connsiteX80" fmla="*/ 2126002 w 4519987"/>
                  <a:gd name="connsiteY80" fmla="*/ 4429125 h 4496940"/>
                  <a:gd name="connsiteX81" fmla="*/ 1935502 w 4519987"/>
                  <a:gd name="connsiteY81" fmla="*/ 4400550 h 4496940"/>
                  <a:gd name="connsiteX82" fmla="*/ 1821202 w 4519987"/>
                  <a:gd name="connsiteY82" fmla="*/ 4371975 h 4496940"/>
                  <a:gd name="connsiteX83" fmla="*/ 1754527 w 4519987"/>
                  <a:gd name="connsiteY83" fmla="*/ 4352925 h 4496940"/>
                  <a:gd name="connsiteX84" fmla="*/ 1687852 w 4519987"/>
                  <a:gd name="connsiteY84" fmla="*/ 4343400 h 4496940"/>
                  <a:gd name="connsiteX85" fmla="*/ 1573552 w 4519987"/>
                  <a:gd name="connsiteY85" fmla="*/ 4305300 h 4496940"/>
                  <a:gd name="connsiteX86" fmla="*/ 1402102 w 4519987"/>
                  <a:gd name="connsiteY86" fmla="*/ 4276725 h 4496940"/>
                  <a:gd name="connsiteX87" fmla="*/ 1287802 w 4519987"/>
                  <a:gd name="connsiteY87" fmla="*/ 4229100 h 4496940"/>
                  <a:gd name="connsiteX88" fmla="*/ 1221127 w 4519987"/>
                  <a:gd name="connsiteY88" fmla="*/ 4200525 h 4496940"/>
                  <a:gd name="connsiteX89" fmla="*/ 1144927 w 4519987"/>
                  <a:gd name="connsiteY89" fmla="*/ 4171950 h 4496940"/>
                  <a:gd name="connsiteX90" fmla="*/ 1087777 w 4519987"/>
                  <a:gd name="connsiteY90" fmla="*/ 4143375 h 4496940"/>
                  <a:gd name="connsiteX91" fmla="*/ 1030627 w 4519987"/>
                  <a:gd name="connsiteY91" fmla="*/ 4124325 h 4496940"/>
                  <a:gd name="connsiteX92" fmla="*/ 925852 w 4519987"/>
                  <a:gd name="connsiteY92" fmla="*/ 4067175 h 4496940"/>
                  <a:gd name="connsiteX93" fmla="*/ 830602 w 4519987"/>
                  <a:gd name="connsiteY93" fmla="*/ 3981450 h 4496940"/>
                  <a:gd name="connsiteX94" fmla="*/ 763927 w 4519987"/>
                  <a:gd name="connsiteY94" fmla="*/ 3914775 h 4496940"/>
                  <a:gd name="connsiteX95" fmla="*/ 725827 w 4519987"/>
                  <a:gd name="connsiteY95" fmla="*/ 3876675 h 4496940"/>
                  <a:gd name="connsiteX96" fmla="*/ 697252 w 4519987"/>
                  <a:gd name="connsiteY96" fmla="*/ 3838575 h 4496940"/>
                  <a:gd name="connsiteX97" fmla="*/ 640102 w 4519987"/>
                  <a:gd name="connsiteY97" fmla="*/ 3781425 h 4496940"/>
                  <a:gd name="connsiteX98" fmla="*/ 611527 w 4519987"/>
                  <a:gd name="connsiteY98" fmla="*/ 3733800 h 4496940"/>
                  <a:gd name="connsiteX99" fmla="*/ 554377 w 4519987"/>
                  <a:gd name="connsiteY99" fmla="*/ 3657600 h 4496940"/>
                  <a:gd name="connsiteX100" fmla="*/ 525802 w 4519987"/>
                  <a:gd name="connsiteY100" fmla="*/ 3609975 h 4496940"/>
                  <a:gd name="connsiteX101" fmla="*/ 497227 w 4519987"/>
                  <a:gd name="connsiteY101" fmla="*/ 3552825 h 4496940"/>
                  <a:gd name="connsiteX102" fmla="*/ 440077 w 4519987"/>
                  <a:gd name="connsiteY102" fmla="*/ 3495675 h 4496940"/>
                  <a:gd name="connsiteX103" fmla="*/ 411502 w 4519987"/>
                  <a:gd name="connsiteY103" fmla="*/ 3448050 h 4496940"/>
                  <a:gd name="connsiteX104" fmla="*/ 278152 w 4519987"/>
                  <a:gd name="connsiteY104" fmla="*/ 3257550 h 4496940"/>
                  <a:gd name="connsiteX105" fmla="*/ 249577 w 4519987"/>
                  <a:gd name="connsiteY105" fmla="*/ 3200400 h 4496940"/>
                  <a:gd name="connsiteX106" fmla="*/ 240052 w 4519987"/>
                  <a:gd name="connsiteY106" fmla="*/ 3162300 h 4496940"/>
                  <a:gd name="connsiteX107" fmla="*/ 221002 w 4519987"/>
                  <a:gd name="connsiteY107" fmla="*/ 3105150 h 4496940"/>
                  <a:gd name="connsiteX108" fmla="*/ 173377 w 4519987"/>
                  <a:gd name="connsiteY108" fmla="*/ 3019425 h 4496940"/>
                  <a:gd name="connsiteX109" fmla="*/ 144802 w 4519987"/>
                  <a:gd name="connsiteY109" fmla="*/ 2924175 h 4496940"/>
                  <a:gd name="connsiteX110" fmla="*/ 68602 w 4519987"/>
                  <a:gd name="connsiteY110" fmla="*/ 2724150 h 4496940"/>
                  <a:gd name="connsiteX111" fmla="*/ 49552 w 4519987"/>
                  <a:gd name="connsiteY111" fmla="*/ 2638425 h 4496940"/>
                  <a:gd name="connsiteX112" fmla="*/ 40027 w 4519987"/>
                  <a:gd name="connsiteY112" fmla="*/ 2562225 h 4496940"/>
                  <a:gd name="connsiteX113" fmla="*/ 30502 w 4519987"/>
                  <a:gd name="connsiteY113" fmla="*/ 2514600 h 4496940"/>
                  <a:gd name="connsiteX114" fmla="*/ 11452 w 4519987"/>
                  <a:gd name="connsiteY114" fmla="*/ 2400300 h 4496940"/>
                  <a:gd name="connsiteX115" fmla="*/ 20977 w 4519987"/>
                  <a:gd name="connsiteY115" fmla="*/ 1905000 h 4496940"/>
                  <a:gd name="connsiteX116" fmla="*/ 30502 w 4519987"/>
                  <a:gd name="connsiteY116" fmla="*/ 1838325 h 4496940"/>
                  <a:gd name="connsiteX117" fmla="*/ 49552 w 4519987"/>
                  <a:gd name="connsiteY117" fmla="*/ 1781175 h 4496940"/>
                  <a:gd name="connsiteX118" fmla="*/ 59077 w 4519987"/>
                  <a:gd name="connsiteY118" fmla="*/ 1743075 h 4496940"/>
                  <a:gd name="connsiteX119" fmla="*/ 78127 w 4519987"/>
                  <a:gd name="connsiteY119" fmla="*/ 1685925 h 4496940"/>
                  <a:gd name="connsiteX120" fmla="*/ 87652 w 4519987"/>
                  <a:gd name="connsiteY120" fmla="*/ 1638300 h 4496940"/>
                  <a:gd name="connsiteX121" fmla="*/ 106702 w 4519987"/>
                  <a:gd name="connsiteY121" fmla="*/ 1590675 h 4496940"/>
                  <a:gd name="connsiteX122" fmla="*/ 135277 w 4519987"/>
                  <a:gd name="connsiteY122" fmla="*/ 1504950 h 4496940"/>
                  <a:gd name="connsiteX123" fmla="*/ 154327 w 4519987"/>
                  <a:gd name="connsiteY123" fmla="*/ 1419225 h 4496940"/>
                  <a:gd name="connsiteX124" fmla="*/ 230527 w 4519987"/>
                  <a:gd name="connsiteY124" fmla="*/ 1276350 h 4496940"/>
                  <a:gd name="connsiteX125" fmla="*/ 240052 w 4519987"/>
                  <a:gd name="connsiteY125" fmla="*/ 1247775 h 4496940"/>
                  <a:gd name="connsiteX126" fmla="*/ 268627 w 4519987"/>
                  <a:gd name="connsiteY126" fmla="*/ 1200150 h 4496940"/>
                  <a:gd name="connsiteX127" fmla="*/ 287677 w 4519987"/>
                  <a:gd name="connsiteY127" fmla="*/ 1152525 h 4496940"/>
                  <a:gd name="connsiteX128" fmla="*/ 316252 w 4519987"/>
                  <a:gd name="connsiteY128" fmla="*/ 1114425 h 4496940"/>
                  <a:gd name="connsiteX129" fmla="*/ 363877 w 4519987"/>
                  <a:gd name="connsiteY129" fmla="*/ 1038225 h 4496940"/>
                  <a:gd name="connsiteX130" fmla="*/ 382927 w 4519987"/>
                  <a:gd name="connsiteY130" fmla="*/ 1009650 h 4496940"/>
                  <a:gd name="connsiteX131" fmla="*/ 440077 w 4519987"/>
                  <a:gd name="connsiteY131" fmla="*/ 904875 h 4496940"/>
                  <a:gd name="connsiteX132" fmla="*/ 478177 w 4519987"/>
                  <a:gd name="connsiteY132" fmla="*/ 857250 h 4496940"/>
                  <a:gd name="connsiteX133" fmla="*/ 497227 w 4519987"/>
                  <a:gd name="connsiteY133" fmla="*/ 828675 h 4496940"/>
                  <a:gd name="connsiteX134" fmla="*/ 535327 w 4519987"/>
                  <a:gd name="connsiteY134" fmla="*/ 800100 h 4496940"/>
                  <a:gd name="connsiteX135" fmla="*/ 602002 w 4519987"/>
                  <a:gd name="connsiteY135" fmla="*/ 733425 h 4496940"/>
                  <a:gd name="connsiteX136" fmla="*/ 668677 w 4519987"/>
                  <a:gd name="connsiteY136" fmla="*/ 676275 h 4496940"/>
                  <a:gd name="connsiteX137" fmla="*/ 697252 w 4519987"/>
                  <a:gd name="connsiteY137" fmla="*/ 657225 h 4496940"/>
                  <a:gd name="connsiteX138" fmla="*/ 840127 w 4519987"/>
                  <a:gd name="connsiteY138" fmla="*/ 533400 h 4496940"/>
                  <a:gd name="connsiteX139" fmla="*/ 887752 w 4519987"/>
                  <a:gd name="connsiteY139" fmla="*/ 504825 h 4496940"/>
                  <a:gd name="connsiteX140" fmla="*/ 1167152 w 4519987"/>
                  <a:gd name="connsiteY140" fmla="*/ 311150 h 4496940"/>
                  <a:gd name="connsiteX141" fmla="*/ 1268752 w 4519987"/>
                  <a:gd name="connsiteY141" fmla="*/ 285750 h 4496940"/>
                  <a:gd name="connsiteX142" fmla="*/ 1411627 w 4519987"/>
                  <a:gd name="connsiteY142" fmla="*/ 190500 h 4496940"/>
                  <a:gd name="connsiteX143" fmla="*/ 1449727 w 4519987"/>
                  <a:gd name="connsiteY143" fmla="*/ 161925 h 4496940"/>
                  <a:gd name="connsiteX144" fmla="*/ 1525927 w 4519987"/>
                  <a:gd name="connsiteY144" fmla="*/ 152400 h 4496940"/>
                  <a:gd name="connsiteX145" fmla="*/ 1583077 w 4519987"/>
                  <a:gd name="connsiteY145" fmla="*/ 142875 h 4496940"/>
                  <a:gd name="connsiteX146" fmla="*/ 1716427 w 4519987"/>
                  <a:gd name="connsiteY146" fmla="*/ 123825 h 4496940"/>
                  <a:gd name="connsiteX147" fmla="*/ 1811677 w 4519987"/>
                  <a:gd name="connsiteY147" fmla="*/ 114300 h 4496940"/>
                  <a:gd name="connsiteX148" fmla="*/ 1859302 w 4519987"/>
                  <a:gd name="connsiteY148" fmla="*/ 104775 h 4496940"/>
                  <a:gd name="connsiteX149" fmla="*/ 1916452 w 4519987"/>
                  <a:gd name="connsiteY149" fmla="*/ 95250 h 4496940"/>
                  <a:gd name="connsiteX150" fmla="*/ 2030752 w 4519987"/>
                  <a:gd name="connsiteY150" fmla="*/ 66675 h 4496940"/>
                  <a:gd name="connsiteX151" fmla="*/ 2097427 w 4519987"/>
                  <a:gd name="connsiteY151" fmla="*/ 47625 h 4496940"/>
                  <a:gd name="connsiteX152" fmla="*/ 2164102 w 4519987"/>
                  <a:gd name="connsiteY152" fmla="*/ 38100 h 4496940"/>
                  <a:gd name="connsiteX153" fmla="*/ 2392702 w 4519987"/>
                  <a:gd name="connsiteY15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02377 w 4519987"/>
                  <a:gd name="connsiteY18" fmla="*/ 457200 h 4496940"/>
                  <a:gd name="connsiteX19" fmla="*/ 3630952 w 4519987"/>
                  <a:gd name="connsiteY19" fmla="*/ 485775 h 4496940"/>
                  <a:gd name="connsiteX20" fmla="*/ 3678577 w 4519987"/>
                  <a:gd name="connsiteY20" fmla="*/ 504825 h 4496940"/>
                  <a:gd name="connsiteX21" fmla="*/ 3745252 w 4519987"/>
                  <a:gd name="connsiteY21" fmla="*/ 542925 h 4496940"/>
                  <a:gd name="connsiteX22" fmla="*/ 3811927 w 4519987"/>
                  <a:gd name="connsiteY22" fmla="*/ 581025 h 4496940"/>
                  <a:gd name="connsiteX23" fmla="*/ 3907177 w 4519987"/>
                  <a:gd name="connsiteY23" fmla="*/ 647700 h 4496940"/>
                  <a:gd name="connsiteX24" fmla="*/ 3935752 w 4519987"/>
                  <a:gd name="connsiteY24" fmla="*/ 676275 h 4496940"/>
                  <a:gd name="connsiteX25" fmla="*/ 4078627 w 4519987"/>
                  <a:gd name="connsiteY25" fmla="*/ 838200 h 4496940"/>
                  <a:gd name="connsiteX26" fmla="*/ 4135777 w 4519987"/>
                  <a:gd name="connsiteY26" fmla="*/ 933450 h 4496940"/>
                  <a:gd name="connsiteX27" fmla="*/ 4164352 w 4519987"/>
                  <a:gd name="connsiteY27" fmla="*/ 990600 h 4496940"/>
                  <a:gd name="connsiteX28" fmla="*/ 4173877 w 4519987"/>
                  <a:gd name="connsiteY28" fmla="*/ 1019175 h 4496940"/>
                  <a:gd name="connsiteX29" fmla="*/ 4192927 w 4519987"/>
                  <a:gd name="connsiteY29" fmla="*/ 1057275 h 4496940"/>
                  <a:gd name="connsiteX30" fmla="*/ 4202452 w 4519987"/>
                  <a:gd name="connsiteY30" fmla="*/ 1085850 h 4496940"/>
                  <a:gd name="connsiteX31" fmla="*/ 4250077 w 4519987"/>
                  <a:gd name="connsiteY31" fmla="*/ 1143000 h 4496940"/>
                  <a:gd name="connsiteX32" fmla="*/ 4259602 w 4519987"/>
                  <a:gd name="connsiteY32" fmla="*/ 1190625 h 4496940"/>
                  <a:gd name="connsiteX33" fmla="*/ 4307227 w 4519987"/>
                  <a:gd name="connsiteY33" fmla="*/ 1266825 h 4496940"/>
                  <a:gd name="connsiteX34" fmla="*/ 4345327 w 4519987"/>
                  <a:gd name="connsiteY34" fmla="*/ 1362075 h 4496940"/>
                  <a:gd name="connsiteX35" fmla="*/ 4373902 w 4519987"/>
                  <a:gd name="connsiteY35" fmla="*/ 1428750 h 4496940"/>
                  <a:gd name="connsiteX36" fmla="*/ 4392952 w 4519987"/>
                  <a:gd name="connsiteY36" fmla="*/ 1552575 h 4496940"/>
                  <a:gd name="connsiteX37" fmla="*/ 4402477 w 4519987"/>
                  <a:gd name="connsiteY37" fmla="*/ 1590675 h 4496940"/>
                  <a:gd name="connsiteX38" fmla="*/ 4431052 w 4519987"/>
                  <a:gd name="connsiteY38" fmla="*/ 1685925 h 4496940"/>
                  <a:gd name="connsiteX39" fmla="*/ 4519952 w 4519987"/>
                  <a:gd name="connsiteY39" fmla="*/ 2181225 h 4496940"/>
                  <a:gd name="connsiteX40" fmla="*/ 4446927 w 4519987"/>
                  <a:gd name="connsiteY40" fmla="*/ 2768600 h 4496940"/>
                  <a:gd name="connsiteX41" fmla="*/ 4383427 w 4519987"/>
                  <a:gd name="connsiteY41" fmla="*/ 2990850 h 4496940"/>
                  <a:gd name="connsiteX42" fmla="*/ 4278652 w 4519987"/>
                  <a:gd name="connsiteY42" fmla="*/ 3248025 h 4496940"/>
                  <a:gd name="connsiteX43" fmla="*/ 4259602 w 4519987"/>
                  <a:gd name="connsiteY43" fmla="*/ 3276600 h 4496940"/>
                  <a:gd name="connsiteX44" fmla="*/ 4221502 w 4519987"/>
                  <a:gd name="connsiteY44" fmla="*/ 3333750 h 4496940"/>
                  <a:gd name="connsiteX45" fmla="*/ 4211977 w 4519987"/>
                  <a:gd name="connsiteY45" fmla="*/ 3362325 h 4496940"/>
                  <a:gd name="connsiteX46" fmla="*/ 4183402 w 4519987"/>
                  <a:gd name="connsiteY46" fmla="*/ 3400425 h 4496940"/>
                  <a:gd name="connsiteX47" fmla="*/ 4164352 w 4519987"/>
                  <a:gd name="connsiteY47" fmla="*/ 3429000 h 4496940"/>
                  <a:gd name="connsiteX48" fmla="*/ 4088152 w 4519987"/>
                  <a:gd name="connsiteY48" fmla="*/ 3495675 h 4496940"/>
                  <a:gd name="connsiteX49" fmla="*/ 4059577 w 4519987"/>
                  <a:gd name="connsiteY49" fmla="*/ 3533775 h 4496940"/>
                  <a:gd name="connsiteX50" fmla="*/ 4002427 w 4519987"/>
                  <a:gd name="connsiteY50" fmla="*/ 3600450 h 4496940"/>
                  <a:gd name="connsiteX51" fmla="*/ 3983377 w 4519987"/>
                  <a:gd name="connsiteY51" fmla="*/ 3629025 h 4496940"/>
                  <a:gd name="connsiteX52" fmla="*/ 3954802 w 4519987"/>
                  <a:gd name="connsiteY52" fmla="*/ 3648075 h 4496940"/>
                  <a:gd name="connsiteX53" fmla="*/ 3907177 w 4519987"/>
                  <a:gd name="connsiteY53" fmla="*/ 3686175 h 4496940"/>
                  <a:gd name="connsiteX54" fmla="*/ 3869077 w 4519987"/>
                  <a:gd name="connsiteY54" fmla="*/ 3724275 h 4496940"/>
                  <a:gd name="connsiteX55" fmla="*/ 3792877 w 4519987"/>
                  <a:gd name="connsiteY55" fmla="*/ 3781425 h 4496940"/>
                  <a:gd name="connsiteX56" fmla="*/ 3783352 w 4519987"/>
                  <a:gd name="connsiteY56" fmla="*/ 3810000 h 4496940"/>
                  <a:gd name="connsiteX57" fmla="*/ 3745252 w 4519987"/>
                  <a:gd name="connsiteY57" fmla="*/ 3819525 h 4496940"/>
                  <a:gd name="connsiteX58" fmla="*/ 3678577 w 4519987"/>
                  <a:gd name="connsiteY58" fmla="*/ 3848100 h 4496940"/>
                  <a:gd name="connsiteX59" fmla="*/ 3659527 w 4519987"/>
                  <a:gd name="connsiteY59" fmla="*/ 3971925 h 4496940"/>
                  <a:gd name="connsiteX60" fmla="*/ 3630952 w 4519987"/>
                  <a:gd name="connsiteY60" fmla="*/ 4010025 h 4496940"/>
                  <a:gd name="connsiteX61" fmla="*/ 3621427 w 4519987"/>
                  <a:gd name="connsiteY61" fmla="*/ 4038600 h 4496940"/>
                  <a:gd name="connsiteX62" fmla="*/ 3554752 w 4519987"/>
                  <a:gd name="connsiteY62" fmla="*/ 4095750 h 4496940"/>
                  <a:gd name="connsiteX63" fmla="*/ 3516652 w 4519987"/>
                  <a:gd name="connsiteY63" fmla="*/ 4114800 h 4496940"/>
                  <a:gd name="connsiteX64" fmla="*/ 3497602 w 4519987"/>
                  <a:gd name="connsiteY64" fmla="*/ 4143375 h 4496940"/>
                  <a:gd name="connsiteX65" fmla="*/ 3383302 w 4519987"/>
                  <a:gd name="connsiteY65" fmla="*/ 4210050 h 4496940"/>
                  <a:gd name="connsiteX66" fmla="*/ 3335677 w 4519987"/>
                  <a:gd name="connsiteY66" fmla="*/ 4238625 h 4496940"/>
                  <a:gd name="connsiteX67" fmla="*/ 3288052 w 4519987"/>
                  <a:gd name="connsiteY67" fmla="*/ 4248150 h 4496940"/>
                  <a:gd name="connsiteX68" fmla="*/ 3240427 w 4519987"/>
                  <a:gd name="connsiteY68" fmla="*/ 4267200 h 4496940"/>
                  <a:gd name="connsiteX69" fmla="*/ 3068977 w 4519987"/>
                  <a:gd name="connsiteY69" fmla="*/ 4286250 h 4496940"/>
                  <a:gd name="connsiteX70" fmla="*/ 2935627 w 4519987"/>
                  <a:gd name="connsiteY70" fmla="*/ 4333875 h 4496940"/>
                  <a:gd name="connsiteX71" fmla="*/ 2811802 w 4519987"/>
                  <a:gd name="connsiteY71" fmla="*/ 4371975 h 4496940"/>
                  <a:gd name="connsiteX72" fmla="*/ 2745127 w 4519987"/>
                  <a:gd name="connsiteY72" fmla="*/ 4410075 h 4496940"/>
                  <a:gd name="connsiteX73" fmla="*/ 2697502 w 4519987"/>
                  <a:gd name="connsiteY73" fmla="*/ 4429125 h 4496940"/>
                  <a:gd name="connsiteX74" fmla="*/ 2640352 w 4519987"/>
                  <a:gd name="connsiteY74" fmla="*/ 4457700 h 4496940"/>
                  <a:gd name="connsiteX75" fmla="*/ 2583202 w 4519987"/>
                  <a:gd name="connsiteY75" fmla="*/ 4467225 h 4496940"/>
                  <a:gd name="connsiteX76" fmla="*/ 2545102 w 4519987"/>
                  <a:gd name="connsiteY76" fmla="*/ 4486275 h 4496940"/>
                  <a:gd name="connsiteX77" fmla="*/ 2306977 w 4519987"/>
                  <a:gd name="connsiteY77" fmla="*/ 4476750 h 4496940"/>
                  <a:gd name="connsiteX78" fmla="*/ 2202202 w 4519987"/>
                  <a:gd name="connsiteY78" fmla="*/ 4457700 h 4496940"/>
                  <a:gd name="connsiteX79" fmla="*/ 2126002 w 4519987"/>
                  <a:gd name="connsiteY79" fmla="*/ 4429125 h 4496940"/>
                  <a:gd name="connsiteX80" fmla="*/ 1935502 w 4519987"/>
                  <a:gd name="connsiteY80" fmla="*/ 4400550 h 4496940"/>
                  <a:gd name="connsiteX81" fmla="*/ 1821202 w 4519987"/>
                  <a:gd name="connsiteY81" fmla="*/ 4371975 h 4496940"/>
                  <a:gd name="connsiteX82" fmla="*/ 1754527 w 4519987"/>
                  <a:gd name="connsiteY82" fmla="*/ 4352925 h 4496940"/>
                  <a:gd name="connsiteX83" fmla="*/ 1687852 w 4519987"/>
                  <a:gd name="connsiteY83" fmla="*/ 4343400 h 4496940"/>
                  <a:gd name="connsiteX84" fmla="*/ 1573552 w 4519987"/>
                  <a:gd name="connsiteY84" fmla="*/ 4305300 h 4496940"/>
                  <a:gd name="connsiteX85" fmla="*/ 1402102 w 4519987"/>
                  <a:gd name="connsiteY85" fmla="*/ 4276725 h 4496940"/>
                  <a:gd name="connsiteX86" fmla="*/ 1287802 w 4519987"/>
                  <a:gd name="connsiteY86" fmla="*/ 4229100 h 4496940"/>
                  <a:gd name="connsiteX87" fmla="*/ 1221127 w 4519987"/>
                  <a:gd name="connsiteY87" fmla="*/ 4200525 h 4496940"/>
                  <a:gd name="connsiteX88" fmla="*/ 1144927 w 4519987"/>
                  <a:gd name="connsiteY88" fmla="*/ 4171950 h 4496940"/>
                  <a:gd name="connsiteX89" fmla="*/ 1087777 w 4519987"/>
                  <a:gd name="connsiteY89" fmla="*/ 4143375 h 4496940"/>
                  <a:gd name="connsiteX90" fmla="*/ 1030627 w 4519987"/>
                  <a:gd name="connsiteY90" fmla="*/ 4124325 h 4496940"/>
                  <a:gd name="connsiteX91" fmla="*/ 925852 w 4519987"/>
                  <a:gd name="connsiteY91" fmla="*/ 4067175 h 4496940"/>
                  <a:gd name="connsiteX92" fmla="*/ 830602 w 4519987"/>
                  <a:gd name="connsiteY92" fmla="*/ 3981450 h 4496940"/>
                  <a:gd name="connsiteX93" fmla="*/ 763927 w 4519987"/>
                  <a:gd name="connsiteY93" fmla="*/ 3914775 h 4496940"/>
                  <a:gd name="connsiteX94" fmla="*/ 725827 w 4519987"/>
                  <a:gd name="connsiteY94" fmla="*/ 3876675 h 4496940"/>
                  <a:gd name="connsiteX95" fmla="*/ 697252 w 4519987"/>
                  <a:gd name="connsiteY95" fmla="*/ 3838575 h 4496940"/>
                  <a:gd name="connsiteX96" fmla="*/ 640102 w 4519987"/>
                  <a:gd name="connsiteY96" fmla="*/ 3781425 h 4496940"/>
                  <a:gd name="connsiteX97" fmla="*/ 611527 w 4519987"/>
                  <a:gd name="connsiteY97" fmla="*/ 3733800 h 4496940"/>
                  <a:gd name="connsiteX98" fmla="*/ 554377 w 4519987"/>
                  <a:gd name="connsiteY98" fmla="*/ 3657600 h 4496940"/>
                  <a:gd name="connsiteX99" fmla="*/ 525802 w 4519987"/>
                  <a:gd name="connsiteY99" fmla="*/ 3609975 h 4496940"/>
                  <a:gd name="connsiteX100" fmla="*/ 497227 w 4519987"/>
                  <a:gd name="connsiteY100" fmla="*/ 3552825 h 4496940"/>
                  <a:gd name="connsiteX101" fmla="*/ 440077 w 4519987"/>
                  <a:gd name="connsiteY101" fmla="*/ 3495675 h 4496940"/>
                  <a:gd name="connsiteX102" fmla="*/ 411502 w 4519987"/>
                  <a:gd name="connsiteY102" fmla="*/ 3448050 h 4496940"/>
                  <a:gd name="connsiteX103" fmla="*/ 278152 w 4519987"/>
                  <a:gd name="connsiteY103" fmla="*/ 3257550 h 4496940"/>
                  <a:gd name="connsiteX104" fmla="*/ 249577 w 4519987"/>
                  <a:gd name="connsiteY104" fmla="*/ 3200400 h 4496940"/>
                  <a:gd name="connsiteX105" fmla="*/ 240052 w 4519987"/>
                  <a:gd name="connsiteY105" fmla="*/ 3162300 h 4496940"/>
                  <a:gd name="connsiteX106" fmla="*/ 221002 w 4519987"/>
                  <a:gd name="connsiteY106" fmla="*/ 3105150 h 4496940"/>
                  <a:gd name="connsiteX107" fmla="*/ 173377 w 4519987"/>
                  <a:gd name="connsiteY107" fmla="*/ 3019425 h 4496940"/>
                  <a:gd name="connsiteX108" fmla="*/ 144802 w 4519987"/>
                  <a:gd name="connsiteY108" fmla="*/ 2924175 h 4496940"/>
                  <a:gd name="connsiteX109" fmla="*/ 68602 w 4519987"/>
                  <a:gd name="connsiteY109" fmla="*/ 2724150 h 4496940"/>
                  <a:gd name="connsiteX110" fmla="*/ 49552 w 4519987"/>
                  <a:gd name="connsiteY110" fmla="*/ 2638425 h 4496940"/>
                  <a:gd name="connsiteX111" fmla="*/ 40027 w 4519987"/>
                  <a:gd name="connsiteY111" fmla="*/ 2562225 h 4496940"/>
                  <a:gd name="connsiteX112" fmla="*/ 30502 w 4519987"/>
                  <a:gd name="connsiteY112" fmla="*/ 2514600 h 4496940"/>
                  <a:gd name="connsiteX113" fmla="*/ 11452 w 4519987"/>
                  <a:gd name="connsiteY113" fmla="*/ 2400300 h 4496940"/>
                  <a:gd name="connsiteX114" fmla="*/ 20977 w 4519987"/>
                  <a:gd name="connsiteY114" fmla="*/ 1905000 h 4496940"/>
                  <a:gd name="connsiteX115" fmla="*/ 30502 w 4519987"/>
                  <a:gd name="connsiteY115" fmla="*/ 1838325 h 4496940"/>
                  <a:gd name="connsiteX116" fmla="*/ 49552 w 4519987"/>
                  <a:gd name="connsiteY116" fmla="*/ 1781175 h 4496940"/>
                  <a:gd name="connsiteX117" fmla="*/ 59077 w 4519987"/>
                  <a:gd name="connsiteY117" fmla="*/ 1743075 h 4496940"/>
                  <a:gd name="connsiteX118" fmla="*/ 78127 w 4519987"/>
                  <a:gd name="connsiteY118" fmla="*/ 1685925 h 4496940"/>
                  <a:gd name="connsiteX119" fmla="*/ 87652 w 4519987"/>
                  <a:gd name="connsiteY119" fmla="*/ 1638300 h 4496940"/>
                  <a:gd name="connsiteX120" fmla="*/ 106702 w 4519987"/>
                  <a:gd name="connsiteY120" fmla="*/ 1590675 h 4496940"/>
                  <a:gd name="connsiteX121" fmla="*/ 135277 w 4519987"/>
                  <a:gd name="connsiteY121" fmla="*/ 1504950 h 4496940"/>
                  <a:gd name="connsiteX122" fmla="*/ 154327 w 4519987"/>
                  <a:gd name="connsiteY122" fmla="*/ 1419225 h 4496940"/>
                  <a:gd name="connsiteX123" fmla="*/ 230527 w 4519987"/>
                  <a:gd name="connsiteY123" fmla="*/ 1276350 h 4496940"/>
                  <a:gd name="connsiteX124" fmla="*/ 240052 w 4519987"/>
                  <a:gd name="connsiteY124" fmla="*/ 1247775 h 4496940"/>
                  <a:gd name="connsiteX125" fmla="*/ 268627 w 4519987"/>
                  <a:gd name="connsiteY125" fmla="*/ 1200150 h 4496940"/>
                  <a:gd name="connsiteX126" fmla="*/ 287677 w 4519987"/>
                  <a:gd name="connsiteY126" fmla="*/ 1152525 h 4496940"/>
                  <a:gd name="connsiteX127" fmla="*/ 316252 w 4519987"/>
                  <a:gd name="connsiteY127" fmla="*/ 1114425 h 4496940"/>
                  <a:gd name="connsiteX128" fmla="*/ 363877 w 4519987"/>
                  <a:gd name="connsiteY128" fmla="*/ 1038225 h 4496940"/>
                  <a:gd name="connsiteX129" fmla="*/ 382927 w 4519987"/>
                  <a:gd name="connsiteY129" fmla="*/ 1009650 h 4496940"/>
                  <a:gd name="connsiteX130" fmla="*/ 440077 w 4519987"/>
                  <a:gd name="connsiteY130" fmla="*/ 904875 h 4496940"/>
                  <a:gd name="connsiteX131" fmla="*/ 478177 w 4519987"/>
                  <a:gd name="connsiteY131" fmla="*/ 857250 h 4496940"/>
                  <a:gd name="connsiteX132" fmla="*/ 497227 w 4519987"/>
                  <a:gd name="connsiteY132" fmla="*/ 828675 h 4496940"/>
                  <a:gd name="connsiteX133" fmla="*/ 535327 w 4519987"/>
                  <a:gd name="connsiteY133" fmla="*/ 800100 h 4496940"/>
                  <a:gd name="connsiteX134" fmla="*/ 602002 w 4519987"/>
                  <a:gd name="connsiteY134" fmla="*/ 733425 h 4496940"/>
                  <a:gd name="connsiteX135" fmla="*/ 668677 w 4519987"/>
                  <a:gd name="connsiteY135" fmla="*/ 676275 h 4496940"/>
                  <a:gd name="connsiteX136" fmla="*/ 697252 w 4519987"/>
                  <a:gd name="connsiteY136" fmla="*/ 657225 h 4496940"/>
                  <a:gd name="connsiteX137" fmla="*/ 840127 w 4519987"/>
                  <a:gd name="connsiteY137" fmla="*/ 533400 h 4496940"/>
                  <a:gd name="connsiteX138" fmla="*/ 887752 w 4519987"/>
                  <a:gd name="connsiteY138" fmla="*/ 504825 h 4496940"/>
                  <a:gd name="connsiteX139" fmla="*/ 1167152 w 4519987"/>
                  <a:gd name="connsiteY139" fmla="*/ 311150 h 4496940"/>
                  <a:gd name="connsiteX140" fmla="*/ 1268752 w 4519987"/>
                  <a:gd name="connsiteY140" fmla="*/ 285750 h 4496940"/>
                  <a:gd name="connsiteX141" fmla="*/ 1411627 w 4519987"/>
                  <a:gd name="connsiteY141" fmla="*/ 190500 h 4496940"/>
                  <a:gd name="connsiteX142" fmla="*/ 1449727 w 4519987"/>
                  <a:gd name="connsiteY142" fmla="*/ 161925 h 4496940"/>
                  <a:gd name="connsiteX143" fmla="*/ 1525927 w 4519987"/>
                  <a:gd name="connsiteY143" fmla="*/ 152400 h 4496940"/>
                  <a:gd name="connsiteX144" fmla="*/ 1583077 w 4519987"/>
                  <a:gd name="connsiteY144" fmla="*/ 142875 h 4496940"/>
                  <a:gd name="connsiteX145" fmla="*/ 1716427 w 4519987"/>
                  <a:gd name="connsiteY145" fmla="*/ 123825 h 4496940"/>
                  <a:gd name="connsiteX146" fmla="*/ 1811677 w 4519987"/>
                  <a:gd name="connsiteY146" fmla="*/ 114300 h 4496940"/>
                  <a:gd name="connsiteX147" fmla="*/ 1859302 w 4519987"/>
                  <a:gd name="connsiteY147" fmla="*/ 104775 h 4496940"/>
                  <a:gd name="connsiteX148" fmla="*/ 1916452 w 4519987"/>
                  <a:gd name="connsiteY148" fmla="*/ 95250 h 4496940"/>
                  <a:gd name="connsiteX149" fmla="*/ 2030752 w 4519987"/>
                  <a:gd name="connsiteY149" fmla="*/ 66675 h 4496940"/>
                  <a:gd name="connsiteX150" fmla="*/ 2097427 w 4519987"/>
                  <a:gd name="connsiteY150" fmla="*/ 47625 h 4496940"/>
                  <a:gd name="connsiteX151" fmla="*/ 2164102 w 4519987"/>
                  <a:gd name="connsiteY151" fmla="*/ 38100 h 4496940"/>
                  <a:gd name="connsiteX152" fmla="*/ 2392702 w 4519987"/>
                  <a:gd name="connsiteY15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02377 w 4519987"/>
                  <a:gd name="connsiteY18" fmla="*/ 457200 h 4496940"/>
                  <a:gd name="connsiteX19" fmla="*/ 3630952 w 4519987"/>
                  <a:gd name="connsiteY19" fmla="*/ 485775 h 4496940"/>
                  <a:gd name="connsiteX20" fmla="*/ 3745252 w 4519987"/>
                  <a:gd name="connsiteY20" fmla="*/ 542925 h 4496940"/>
                  <a:gd name="connsiteX21" fmla="*/ 3811927 w 4519987"/>
                  <a:gd name="connsiteY21" fmla="*/ 581025 h 4496940"/>
                  <a:gd name="connsiteX22" fmla="*/ 3907177 w 4519987"/>
                  <a:gd name="connsiteY22" fmla="*/ 647700 h 4496940"/>
                  <a:gd name="connsiteX23" fmla="*/ 3935752 w 4519987"/>
                  <a:gd name="connsiteY23" fmla="*/ 676275 h 4496940"/>
                  <a:gd name="connsiteX24" fmla="*/ 4078627 w 4519987"/>
                  <a:gd name="connsiteY24" fmla="*/ 838200 h 4496940"/>
                  <a:gd name="connsiteX25" fmla="*/ 4135777 w 4519987"/>
                  <a:gd name="connsiteY25" fmla="*/ 933450 h 4496940"/>
                  <a:gd name="connsiteX26" fmla="*/ 4164352 w 4519987"/>
                  <a:gd name="connsiteY26" fmla="*/ 990600 h 4496940"/>
                  <a:gd name="connsiteX27" fmla="*/ 4173877 w 4519987"/>
                  <a:gd name="connsiteY27" fmla="*/ 1019175 h 4496940"/>
                  <a:gd name="connsiteX28" fmla="*/ 4192927 w 4519987"/>
                  <a:gd name="connsiteY28" fmla="*/ 1057275 h 4496940"/>
                  <a:gd name="connsiteX29" fmla="*/ 4202452 w 4519987"/>
                  <a:gd name="connsiteY29" fmla="*/ 1085850 h 4496940"/>
                  <a:gd name="connsiteX30" fmla="*/ 4250077 w 4519987"/>
                  <a:gd name="connsiteY30" fmla="*/ 1143000 h 4496940"/>
                  <a:gd name="connsiteX31" fmla="*/ 4259602 w 4519987"/>
                  <a:gd name="connsiteY31" fmla="*/ 1190625 h 4496940"/>
                  <a:gd name="connsiteX32" fmla="*/ 4307227 w 4519987"/>
                  <a:gd name="connsiteY32" fmla="*/ 1266825 h 4496940"/>
                  <a:gd name="connsiteX33" fmla="*/ 4345327 w 4519987"/>
                  <a:gd name="connsiteY33" fmla="*/ 1362075 h 4496940"/>
                  <a:gd name="connsiteX34" fmla="*/ 4373902 w 4519987"/>
                  <a:gd name="connsiteY34" fmla="*/ 1428750 h 4496940"/>
                  <a:gd name="connsiteX35" fmla="*/ 4392952 w 4519987"/>
                  <a:gd name="connsiteY35" fmla="*/ 1552575 h 4496940"/>
                  <a:gd name="connsiteX36" fmla="*/ 4402477 w 4519987"/>
                  <a:gd name="connsiteY36" fmla="*/ 1590675 h 4496940"/>
                  <a:gd name="connsiteX37" fmla="*/ 4431052 w 4519987"/>
                  <a:gd name="connsiteY37" fmla="*/ 1685925 h 4496940"/>
                  <a:gd name="connsiteX38" fmla="*/ 4519952 w 4519987"/>
                  <a:gd name="connsiteY38" fmla="*/ 2181225 h 4496940"/>
                  <a:gd name="connsiteX39" fmla="*/ 4446927 w 4519987"/>
                  <a:gd name="connsiteY39" fmla="*/ 2768600 h 4496940"/>
                  <a:gd name="connsiteX40" fmla="*/ 4383427 w 4519987"/>
                  <a:gd name="connsiteY40" fmla="*/ 2990850 h 4496940"/>
                  <a:gd name="connsiteX41" fmla="*/ 4278652 w 4519987"/>
                  <a:gd name="connsiteY41" fmla="*/ 3248025 h 4496940"/>
                  <a:gd name="connsiteX42" fmla="*/ 4259602 w 4519987"/>
                  <a:gd name="connsiteY42" fmla="*/ 3276600 h 4496940"/>
                  <a:gd name="connsiteX43" fmla="*/ 4221502 w 4519987"/>
                  <a:gd name="connsiteY43" fmla="*/ 3333750 h 4496940"/>
                  <a:gd name="connsiteX44" fmla="*/ 4211977 w 4519987"/>
                  <a:gd name="connsiteY44" fmla="*/ 3362325 h 4496940"/>
                  <a:gd name="connsiteX45" fmla="*/ 4183402 w 4519987"/>
                  <a:gd name="connsiteY45" fmla="*/ 3400425 h 4496940"/>
                  <a:gd name="connsiteX46" fmla="*/ 4164352 w 4519987"/>
                  <a:gd name="connsiteY46" fmla="*/ 3429000 h 4496940"/>
                  <a:gd name="connsiteX47" fmla="*/ 4088152 w 4519987"/>
                  <a:gd name="connsiteY47" fmla="*/ 3495675 h 4496940"/>
                  <a:gd name="connsiteX48" fmla="*/ 4059577 w 4519987"/>
                  <a:gd name="connsiteY48" fmla="*/ 3533775 h 4496940"/>
                  <a:gd name="connsiteX49" fmla="*/ 4002427 w 4519987"/>
                  <a:gd name="connsiteY49" fmla="*/ 3600450 h 4496940"/>
                  <a:gd name="connsiteX50" fmla="*/ 3983377 w 4519987"/>
                  <a:gd name="connsiteY50" fmla="*/ 3629025 h 4496940"/>
                  <a:gd name="connsiteX51" fmla="*/ 3954802 w 4519987"/>
                  <a:gd name="connsiteY51" fmla="*/ 3648075 h 4496940"/>
                  <a:gd name="connsiteX52" fmla="*/ 3907177 w 4519987"/>
                  <a:gd name="connsiteY52" fmla="*/ 3686175 h 4496940"/>
                  <a:gd name="connsiteX53" fmla="*/ 3869077 w 4519987"/>
                  <a:gd name="connsiteY53" fmla="*/ 3724275 h 4496940"/>
                  <a:gd name="connsiteX54" fmla="*/ 3792877 w 4519987"/>
                  <a:gd name="connsiteY54" fmla="*/ 3781425 h 4496940"/>
                  <a:gd name="connsiteX55" fmla="*/ 3783352 w 4519987"/>
                  <a:gd name="connsiteY55" fmla="*/ 3810000 h 4496940"/>
                  <a:gd name="connsiteX56" fmla="*/ 3745252 w 4519987"/>
                  <a:gd name="connsiteY56" fmla="*/ 3819525 h 4496940"/>
                  <a:gd name="connsiteX57" fmla="*/ 3678577 w 4519987"/>
                  <a:gd name="connsiteY57" fmla="*/ 3848100 h 4496940"/>
                  <a:gd name="connsiteX58" fmla="*/ 3659527 w 4519987"/>
                  <a:gd name="connsiteY58" fmla="*/ 3971925 h 4496940"/>
                  <a:gd name="connsiteX59" fmla="*/ 3630952 w 4519987"/>
                  <a:gd name="connsiteY59" fmla="*/ 4010025 h 4496940"/>
                  <a:gd name="connsiteX60" fmla="*/ 3621427 w 4519987"/>
                  <a:gd name="connsiteY60" fmla="*/ 4038600 h 4496940"/>
                  <a:gd name="connsiteX61" fmla="*/ 3554752 w 4519987"/>
                  <a:gd name="connsiteY61" fmla="*/ 4095750 h 4496940"/>
                  <a:gd name="connsiteX62" fmla="*/ 3516652 w 4519987"/>
                  <a:gd name="connsiteY62" fmla="*/ 4114800 h 4496940"/>
                  <a:gd name="connsiteX63" fmla="*/ 3497602 w 4519987"/>
                  <a:gd name="connsiteY63" fmla="*/ 4143375 h 4496940"/>
                  <a:gd name="connsiteX64" fmla="*/ 3383302 w 4519987"/>
                  <a:gd name="connsiteY64" fmla="*/ 4210050 h 4496940"/>
                  <a:gd name="connsiteX65" fmla="*/ 3335677 w 4519987"/>
                  <a:gd name="connsiteY65" fmla="*/ 4238625 h 4496940"/>
                  <a:gd name="connsiteX66" fmla="*/ 3288052 w 4519987"/>
                  <a:gd name="connsiteY66" fmla="*/ 4248150 h 4496940"/>
                  <a:gd name="connsiteX67" fmla="*/ 3240427 w 4519987"/>
                  <a:gd name="connsiteY67" fmla="*/ 4267200 h 4496940"/>
                  <a:gd name="connsiteX68" fmla="*/ 3068977 w 4519987"/>
                  <a:gd name="connsiteY68" fmla="*/ 4286250 h 4496940"/>
                  <a:gd name="connsiteX69" fmla="*/ 2935627 w 4519987"/>
                  <a:gd name="connsiteY69" fmla="*/ 4333875 h 4496940"/>
                  <a:gd name="connsiteX70" fmla="*/ 2811802 w 4519987"/>
                  <a:gd name="connsiteY70" fmla="*/ 4371975 h 4496940"/>
                  <a:gd name="connsiteX71" fmla="*/ 2745127 w 4519987"/>
                  <a:gd name="connsiteY71" fmla="*/ 4410075 h 4496940"/>
                  <a:gd name="connsiteX72" fmla="*/ 2697502 w 4519987"/>
                  <a:gd name="connsiteY72" fmla="*/ 4429125 h 4496940"/>
                  <a:gd name="connsiteX73" fmla="*/ 2640352 w 4519987"/>
                  <a:gd name="connsiteY73" fmla="*/ 4457700 h 4496940"/>
                  <a:gd name="connsiteX74" fmla="*/ 2583202 w 4519987"/>
                  <a:gd name="connsiteY74" fmla="*/ 4467225 h 4496940"/>
                  <a:gd name="connsiteX75" fmla="*/ 2545102 w 4519987"/>
                  <a:gd name="connsiteY75" fmla="*/ 4486275 h 4496940"/>
                  <a:gd name="connsiteX76" fmla="*/ 2306977 w 4519987"/>
                  <a:gd name="connsiteY76" fmla="*/ 4476750 h 4496940"/>
                  <a:gd name="connsiteX77" fmla="*/ 2202202 w 4519987"/>
                  <a:gd name="connsiteY77" fmla="*/ 4457700 h 4496940"/>
                  <a:gd name="connsiteX78" fmla="*/ 2126002 w 4519987"/>
                  <a:gd name="connsiteY78" fmla="*/ 4429125 h 4496940"/>
                  <a:gd name="connsiteX79" fmla="*/ 1935502 w 4519987"/>
                  <a:gd name="connsiteY79" fmla="*/ 4400550 h 4496940"/>
                  <a:gd name="connsiteX80" fmla="*/ 1821202 w 4519987"/>
                  <a:gd name="connsiteY80" fmla="*/ 4371975 h 4496940"/>
                  <a:gd name="connsiteX81" fmla="*/ 1754527 w 4519987"/>
                  <a:gd name="connsiteY81" fmla="*/ 4352925 h 4496940"/>
                  <a:gd name="connsiteX82" fmla="*/ 1687852 w 4519987"/>
                  <a:gd name="connsiteY82" fmla="*/ 4343400 h 4496940"/>
                  <a:gd name="connsiteX83" fmla="*/ 1573552 w 4519987"/>
                  <a:gd name="connsiteY83" fmla="*/ 4305300 h 4496940"/>
                  <a:gd name="connsiteX84" fmla="*/ 1402102 w 4519987"/>
                  <a:gd name="connsiteY84" fmla="*/ 4276725 h 4496940"/>
                  <a:gd name="connsiteX85" fmla="*/ 1287802 w 4519987"/>
                  <a:gd name="connsiteY85" fmla="*/ 4229100 h 4496940"/>
                  <a:gd name="connsiteX86" fmla="*/ 1221127 w 4519987"/>
                  <a:gd name="connsiteY86" fmla="*/ 4200525 h 4496940"/>
                  <a:gd name="connsiteX87" fmla="*/ 1144927 w 4519987"/>
                  <a:gd name="connsiteY87" fmla="*/ 4171950 h 4496940"/>
                  <a:gd name="connsiteX88" fmla="*/ 1087777 w 4519987"/>
                  <a:gd name="connsiteY88" fmla="*/ 4143375 h 4496940"/>
                  <a:gd name="connsiteX89" fmla="*/ 1030627 w 4519987"/>
                  <a:gd name="connsiteY89" fmla="*/ 4124325 h 4496940"/>
                  <a:gd name="connsiteX90" fmla="*/ 925852 w 4519987"/>
                  <a:gd name="connsiteY90" fmla="*/ 4067175 h 4496940"/>
                  <a:gd name="connsiteX91" fmla="*/ 830602 w 4519987"/>
                  <a:gd name="connsiteY91" fmla="*/ 3981450 h 4496940"/>
                  <a:gd name="connsiteX92" fmla="*/ 763927 w 4519987"/>
                  <a:gd name="connsiteY92" fmla="*/ 3914775 h 4496940"/>
                  <a:gd name="connsiteX93" fmla="*/ 725827 w 4519987"/>
                  <a:gd name="connsiteY93" fmla="*/ 3876675 h 4496940"/>
                  <a:gd name="connsiteX94" fmla="*/ 697252 w 4519987"/>
                  <a:gd name="connsiteY94" fmla="*/ 3838575 h 4496940"/>
                  <a:gd name="connsiteX95" fmla="*/ 640102 w 4519987"/>
                  <a:gd name="connsiteY95" fmla="*/ 3781425 h 4496940"/>
                  <a:gd name="connsiteX96" fmla="*/ 611527 w 4519987"/>
                  <a:gd name="connsiteY96" fmla="*/ 3733800 h 4496940"/>
                  <a:gd name="connsiteX97" fmla="*/ 554377 w 4519987"/>
                  <a:gd name="connsiteY97" fmla="*/ 3657600 h 4496940"/>
                  <a:gd name="connsiteX98" fmla="*/ 525802 w 4519987"/>
                  <a:gd name="connsiteY98" fmla="*/ 3609975 h 4496940"/>
                  <a:gd name="connsiteX99" fmla="*/ 497227 w 4519987"/>
                  <a:gd name="connsiteY99" fmla="*/ 3552825 h 4496940"/>
                  <a:gd name="connsiteX100" fmla="*/ 440077 w 4519987"/>
                  <a:gd name="connsiteY100" fmla="*/ 3495675 h 4496940"/>
                  <a:gd name="connsiteX101" fmla="*/ 411502 w 4519987"/>
                  <a:gd name="connsiteY101" fmla="*/ 3448050 h 4496940"/>
                  <a:gd name="connsiteX102" fmla="*/ 278152 w 4519987"/>
                  <a:gd name="connsiteY102" fmla="*/ 3257550 h 4496940"/>
                  <a:gd name="connsiteX103" fmla="*/ 249577 w 4519987"/>
                  <a:gd name="connsiteY103" fmla="*/ 3200400 h 4496940"/>
                  <a:gd name="connsiteX104" fmla="*/ 240052 w 4519987"/>
                  <a:gd name="connsiteY104" fmla="*/ 3162300 h 4496940"/>
                  <a:gd name="connsiteX105" fmla="*/ 221002 w 4519987"/>
                  <a:gd name="connsiteY105" fmla="*/ 3105150 h 4496940"/>
                  <a:gd name="connsiteX106" fmla="*/ 173377 w 4519987"/>
                  <a:gd name="connsiteY106" fmla="*/ 3019425 h 4496940"/>
                  <a:gd name="connsiteX107" fmla="*/ 144802 w 4519987"/>
                  <a:gd name="connsiteY107" fmla="*/ 2924175 h 4496940"/>
                  <a:gd name="connsiteX108" fmla="*/ 68602 w 4519987"/>
                  <a:gd name="connsiteY108" fmla="*/ 2724150 h 4496940"/>
                  <a:gd name="connsiteX109" fmla="*/ 49552 w 4519987"/>
                  <a:gd name="connsiteY109" fmla="*/ 2638425 h 4496940"/>
                  <a:gd name="connsiteX110" fmla="*/ 40027 w 4519987"/>
                  <a:gd name="connsiteY110" fmla="*/ 2562225 h 4496940"/>
                  <a:gd name="connsiteX111" fmla="*/ 30502 w 4519987"/>
                  <a:gd name="connsiteY111" fmla="*/ 2514600 h 4496940"/>
                  <a:gd name="connsiteX112" fmla="*/ 11452 w 4519987"/>
                  <a:gd name="connsiteY112" fmla="*/ 2400300 h 4496940"/>
                  <a:gd name="connsiteX113" fmla="*/ 20977 w 4519987"/>
                  <a:gd name="connsiteY113" fmla="*/ 1905000 h 4496940"/>
                  <a:gd name="connsiteX114" fmla="*/ 30502 w 4519987"/>
                  <a:gd name="connsiteY114" fmla="*/ 1838325 h 4496940"/>
                  <a:gd name="connsiteX115" fmla="*/ 49552 w 4519987"/>
                  <a:gd name="connsiteY115" fmla="*/ 1781175 h 4496940"/>
                  <a:gd name="connsiteX116" fmla="*/ 59077 w 4519987"/>
                  <a:gd name="connsiteY116" fmla="*/ 1743075 h 4496940"/>
                  <a:gd name="connsiteX117" fmla="*/ 78127 w 4519987"/>
                  <a:gd name="connsiteY117" fmla="*/ 1685925 h 4496940"/>
                  <a:gd name="connsiteX118" fmla="*/ 87652 w 4519987"/>
                  <a:gd name="connsiteY118" fmla="*/ 1638300 h 4496940"/>
                  <a:gd name="connsiteX119" fmla="*/ 106702 w 4519987"/>
                  <a:gd name="connsiteY119" fmla="*/ 1590675 h 4496940"/>
                  <a:gd name="connsiteX120" fmla="*/ 135277 w 4519987"/>
                  <a:gd name="connsiteY120" fmla="*/ 1504950 h 4496940"/>
                  <a:gd name="connsiteX121" fmla="*/ 154327 w 4519987"/>
                  <a:gd name="connsiteY121" fmla="*/ 1419225 h 4496940"/>
                  <a:gd name="connsiteX122" fmla="*/ 230527 w 4519987"/>
                  <a:gd name="connsiteY122" fmla="*/ 1276350 h 4496940"/>
                  <a:gd name="connsiteX123" fmla="*/ 240052 w 4519987"/>
                  <a:gd name="connsiteY123" fmla="*/ 1247775 h 4496940"/>
                  <a:gd name="connsiteX124" fmla="*/ 268627 w 4519987"/>
                  <a:gd name="connsiteY124" fmla="*/ 1200150 h 4496940"/>
                  <a:gd name="connsiteX125" fmla="*/ 287677 w 4519987"/>
                  <a:gd name="connsiteY125" fmla="*/ 1152525 h 4496940"/>
                  <a:gd name="connsiteX126" fmla="*/ 316252 w 4519987"/>
                  <a:gd name="connsiteY126" fmla="*/ 1114425 h 4496940"/>
                  <a:gd name="connsiteX127" fmla="*/ 363877 w 4519987"/>
                  <a:gd name="connsiteY127" fmla="*/ 1038225 h 4496940"/>
                  <a:gd name="connsiteX128" fmla="*/ 382927 w 4519987"/>
                  <a:gd name="connsiteY128" fmla="*/ 1009650 h 4496940"/>
                  <a:gd name="connsiteX129" fmla="*/ 440077 w 4519987"/>
                  <a:gd name="connsiteY129" fmla="*/ 904875 h 4496940"/>
                  <a:gd name="connsiteX130" fmla="*/ 478177 w 4519987"/>
                  <a:gd name="connsiteY130" fmla="*/ 857250 h 4496940"/>
                  <a:gd name="connsiteX131" fmla="*/ 497227 w 4519987"/>
                  <a:gd name="connsiteY131" fmla="*/ 828675 h 4496940"/>
                  <a:gd name="connsiteX132" fmla="*/ 535327 w 4519987"/>
                  <a:gd name="connsiteY132" fmla="*/ 800100 h 4496940"/>
                  <a:gd name="connsiteX133" fmla="*/ 602002 w 4519987"/>
                  <a:gd name="connsiteY133" fmla="*/ 733425 h 4496940"/>
                  <a:gd name="connsiteX134" fmla="*/ 668677 w 4519987"/>
                  <a:gd name="connsiteY134" fmla="*/ 676275 h 4496940"/>
                  <a:gd name="connsiteX135" fmla="*/ 697252 w 4519987"/>
                  <a:gd name="connsiteY135" fmla="*/ 657225 h 4496940"/>
                  <a:gd name="connsiteX136" fmla="*/ 840127 w 4519987"/>
                  <a:gd name="connsiteY136" fmla="*/ 533400 h 4496940"/>
                  <a:gd name="connsiteX137" fmla="*/ 887752 w 4519987"/>
                  <a:gd name="connsiteY137" fmla="*/ 504825 h 4496940"/>
                  <a:gd name="connsiteX138" fmla="*/ 1167152 w 4519987"/>
                  <a:gd name="connsiteY138" fmla="*/ 311150 h 4496940"/>
                  <a:gd name="connsiteX139" fmla="*/ 1268752 w 4519987"/>
                  <a:gd name="connsiteY139" fmla="*/ 285750 h 4496940"/>
                  <a:gd name="connsiteX140" fmla="*/ 1411627 w 4519987"/>
                  <a:gd name="connsiteY140" fmla="*/ 190500 h 4496940"/>
                  <a:gd name="connsiteX141" fmla="*/ 1449727 w 4519987"/>
                  <a:gd name="connsiteY141" fmla="*/ 161925 h 4496940"/>
                  <a:gd name="connsiteX142" fmla="*/ 1525927 w 4519987"/>
                  <a:gd name="connsiteY142" fmla="*/ 152400 h 4496940"/>
                  <a:gd name="connsiteX143" fmla="*/ 1583077 w 4519987"/>
                  <a:gd name="connsiteY143" fmla="*/ 142875 h 4496940"/>
                  <a:gd name="connsiteX144" fmla="*/ 1716427 w 4519987"/>
                  <a:gd name="connsiteY144" fmla="*/ 123825 h 4496940"/>
                  <a:gd name="connsiteX145" fmla="*/ 1811677 w 4519987"/>
                  <a:gd name="connsiteY145" fmla="*/ 114300 h 4496940"/>
                  <a:gd name="connsiteX146" fmla="*/ 1859302 w 4519987"/>
                  <a:gd name="connsiteY146" fmla="*/ 104775 h 4496940"/>
                  <a:gd name="connsiteX147" fmla="*/ 1916452 w 4519987"/>
                  <a:gd name="connsiteY147" fmla="*/ 95250 h 4496940"/>
                  <a:gd name="connsiteX148" fmla="*/ 2030752 w 4519987"/>
                  <a:gd name="connsiteY148" fmla="*/ 66675 h 4496940"/>
                  <a:gd name="connsiteX149" fmla="*/ 2097427 w 4519987"/>
                  <a:gd name="connsiteY149" fmla="*/ 47625 h 4496940"/>
                  <a:gd name="connsiteX150" fmla="*/ 2164102 w 4519987"/>
                  <a:gd name="connsiteY150" fmla="*/ 38100 h 4496940"/>
                  <a:gd name="connsiteX151" fmla="*/ 2392702 w 4519987"/>
                  <a:gd name="connsiteY15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3907177 w 4519987"/>
                  <a:gd name="connsiteY21" fmla="*/ 647700 h 4496940"/>
                  <a:gd name="connsiteX22" fmla="*/ 3935752 w 4519987"/>
                  <a:gd name="connsiteY22" fmla="*/ 676275 h 4496940"/>
                  <a:gd name="connsiteX23" fmla="*/ 4078627 w 4519987"/>
                  <a:gd name="connsiteY23" fmla="*/ 838200 h 4496940"/>
                  <a:gd name="connsiteX24" fmla="*/ 4135777 w 4519987"/>
                  <a:gd name="connsiteY24" fmla="*/ 933450 h 4496940"/>
                  <a:gd name="connsiteX25" fmla="*/ 4164352 w 4519987"/>
                  <a:gd name="connsiteY25" fmla="*/ 990600 h 4496940"/>
                  <a:gd name="connsiteX26" fmla="*/ 4173877 w 4519987"/>
                  <a:gd name="connsiteY26" fmla="*/ 1019175 h 4496940"/>
                  <a:gd name="connsiteX27" fmla="*/ 4192927 w 4519987"/>
                  <a:gd name="connsiteY27" fmla="*/ 1057275 h 4496940"/>
                  <a:gd name="connsiteX28" fmla="*/ 4202452 w 4519987"/>
                  <a:gd name="connsiteY28" fmla="*/ 1085850 h 4496940"/>
                  <a:gd name="connsiteX29" fmla="*/ 4250077 w 4519987"/>
                  <a:gd name="connsiteY29" fmla="*/ 1143000 h 4496940"/>
                  <a:gd name="connsiteX30" fmla="*/ 4259602 w 4519987"/>
                  <a:gd name="connsiteY30" fmla="*/ 1190625 h 4496940"/>
                  <a:gd name="connsiteX31" fmla="*/ 4307227 w 4519987"/>
                  <a:gd name="connsiteY31" fmla="*/ 1266825 h 4496940"/>
                  <a:gd name="connsiteX32" fmla="*/ 4345327 w 4519987"/>
                  <a:gd name="connsiteY32" fmla="*/ 1362075 h 4496940"/>
                  <a:gd name="connsiteX33" fmla="*/ 4373902 w 4519987"/>
                  <a:gd name="connsiteY33" fmla="*/ 1428750 h 4496940"/>
                  <a:gd name="connsiteX34" fmla="*/ 4392952 w 4519987"/>
                  <a:gd name="connsiteY34" fmla="*/ 1552575 h 4496940"/>
                  <a:gd name="connsiteX35" fmla="*/ 4402477 w 4519987"/>
                  <a:gd name="connsiteY35" fmla="*/ 1590675 h 4496940"/>
                  <a:gd name="connsiteX36" fmla="*/ 4431052 w 4519987"/>
                  <a:gd name="connsiteY36" fmla="*/ 1685925 h 4496940"/>
                  <a:gd name="connsiteX37" fmla="*/ 4519952 w 4519987"/>
                  <a:gd name="connsiteY37" fmla="*/ 2181225 h 4496940"/>
                  <a:gd name="connsiteX38" fmla="*/ 4446927 w 4519987"/>
                  <a:gd name="connsiteY38" fmla="*/ 2768600 h 4496940"/>
                  <a:gd name="connsiteX39" fmla="*/ 4383427 w 4519987"/>
                  <a:gd name="connsiteY39" fmla="*/ 2990850 h 4496940"/>
                  <a:gd name="connsiteX40" fmla="*/ 4278652 w 4519987"/>
                  <a:gd name="connsiteY40" fmla="*/ 3248025 h 4496940"/>
                  <a:gd name="connsiteX41" fmla="*/ 4259602 w 4519987"/>
                  <a:gd name="connsiteY41" fmla="*/ 3276600 h 4496940"/>
                  <a:gd name="connsiteX42" fmla="*/ 4221502 w 4519987"/>
                  <a:gd name="connsiteY42" fmla="*/ 3333750 h 4496940"/>
                  <a:gd name="connsiteX43" fmla="*/ 4211977 w 4519987"/>
                  <a:gd name="connsiteY43" fmla="*/ 3362325 h 4496940"/>
                  <a:gd name="connsiteX44" fmla="*/ 4183402 w 4519987"/>
                  <a:gd name="connsiteY44" fmla="*/ 3400425 h 4496940"/>
                  <a:gd name="connsiteX45" fmla="*/ 4164352 w 4519987"/>
                  <a:gd name="connsiteY45" fmla="*/ 3429000 h 4496940"/>
                  <a:gd name="connsiteX46" fmla="*/ 4088152 w 4519987"/>
                  <a:gd name="connsiteY46" fmla="*/ 3495675 h 4496940"/>
                  <a:gd name="connsiteX47" fmla="*/ 4059577 w 4519987"/>
                  <a:gd name="connsiteY47" fmla="*/ 3533775 h 4496940"/>
                  <a:gd name="connsiteX48" fmla="*/ 4002427 w 4519987"/>
                  <a:gd name="connsiteY48" fmla="*/ 3600450 h 4496940"/>
                  <a:gd name="connsiteX49" fmla="*/ 3983377 w 4519987"/>
                  <a:gd name="connsiteY49" fmla="*/ 3629025 h 4496940"/>
                  <a:gd name="connsiteX50" fmla="*/ 3954802 w 4519987"/>
                  <a:gd name="connsiteY50" fmla="*/ 3648075 h 4496940"/>
                  <a:gd name="connsiteX51" fmla="*/ 3907177 w 4519987"/>
                  <a:gd name="connsiteY51" fmla="*/ 3686175 h 4496940"/>
                  <a:gd name="connsiteX52" fmla="*/ 3869077 w 4519987"/>
                  <a:gd name="connsiteY52" fmla="*/ 3724275 h 4496940"/>
                  <a:gd name="connsiteX53" fmla="*/ 3792877 w 4519987"/>
                  <a:gd name="connsiteY53" fmla="*/ 3781425 h 4496940"/>
                  <a:gd name="connsiteX54" fmla="*/ 3783352 w 4519987"/>
                  <a:gd name="connsiteY54" fmla="*/ 3810000 h 4496940"/>
                  <a:gd name="connsiteX55" fmla="*/ 3745252 w 4519987"/>
                  <a:gd name="connsiteY55" fmla="*/ 3819525 h 4496940"/>
                  <a:gd name="connsiteX56" fmla="*/ 3678577 w 4519987"/>
                  <a:gd name="connsiteY56" fmla="*/ 3848100 h 4496940"/>
                  <a:gd name="connsiteX57" fmla="*/ 3659527 w 4519987"/>
                  <a:gd name="connsiteY57" fmla="*/ 3971925 h 4496940"/>
                  <a:gd name="connsiteX58" fmla="*/ 3630952 w 4519987"/>
                  <a:gd name="connsiteY58" fmla="*/ 4010025 h 4496940"/>
                  <a:gd name="connsiteX59" fmla="*/ 3621427 w 4519987"/>
                  <a:gd name="connsiteY59" fmla="*/ 4038600 h 4496940"/>
                  <a:gd name="connsiteX60" fmla="*/ 3554752 w 4519987"/>
                  <a:gd name="connsiteY60" fmla="*/ 4095750 h 4496940"/>
                  <a:gd name="connsiteX61" fmla="*/ 3516652 w 4519987"/>
                  <a:gd name="connsiteY61" fmla="*/ 4114800 h 4496940"/>
                  <a:gd name="connsiteX62" fmla="*/ 3497602 w 4519987"/>
                  <a:gd name="connsiteY62" fmla="*/ 4143375 h 4496940"/>
                  <a:gd name="connsiteX63" fmla="*/ 3383302 w 4519987"/>
                  <a:gd name="connsiteY63" fmla="*/ 4210050 h 4496940"/>
                  <a:gd name="connsiteX64" fmla="*/ 3335677 w 4519987"/>
                  <a:gd name="connsiteY64" fmla="*/ 4238625 h 4496940"/>
                  <a:gd name="connsiteX65" fmla="*/ 3288052 w 4519987"/>
                  <a:gd name="connsiteY65" fmla="*/ 4248150 h 4496940"/>
                  <a:gd name="connsiteX66" fmla="*/ 3240427 w 4519987"/>
                  <a:gd name="connsiteY66" fmla="*/ 4267200 h 4496940"/>
                  <a:gd name="connsiteX67" fmla="*/ 3068977 w 4519987"/>
                  <a:gd name="connsiteY67" fmla="*/ 4286250 h 4496940"/>
                  <a:gd name="connsiteX68" fmla="*/ 2935627 w 4519987"/>
                  <a:gd name="connsiteY68" fmla="*/ 4333875 h 4496940"/>
                  <a:gd name="connsiteX69" fmla="*/ 2811802 w 4519987"/>
                  <a:gd name="connsiteY69" fmla="*/ 4371975 h 4496940"/>
                  <a:gd name="connsiteX70" fmla="*/ 2745127 w 4519987"/>
                  <a:gd name="connsiteY70" fmla="*/ 4410075 h 4496940"/>
                  <a:gd name="connsiteX71" fmla="*/ 2697502 w 4519987"/>
                  <a:gd name="connsiteY71" fmla="*/ 4429125 h 4496940"/>
                  <a:gd name="connsiteX72" fmla="*/ 2640352 w 4519987"/>
                  <a:gd name="connsiteY72" fmla="*/ 4457700 h 4496940"/>
                  <a:gd name="connsiteX73" fmla="*/ 2583202 w 4519987"/>
                  <a:gd name="connsiteY73" fmla="*/ 4467225 h 4496940"/>
                  <a:gd name="connsiteX74" fmla="*/ 2545102 w 4519987"/>
                  <a:gd name="connsiteY74" fmla="*/ 4486275 h 4496940"/>
                  <a:gd name="connsiteX75" fmla="*/ 2306977 w 4519987"/>
                  <a:gd name="connsiteY75" fmla="*/ 4476750 h 4496940"/>
                  <a:gd name="connsiteX76" fmla="*/ 2202202 w 4519987"/>
                  <a:gd name="connsiteY76" fmla="*/ 4457700 h 4496940"/>
                  <a:gd name="connsiteX77" fmla="*/ 2126002 w 4519987"/>
                  <a:gd name="connsiteY77" fmla="*/ 4429125 h 4496940"/>
                  <a:gd name="connsiteX78" fmla="*/ 1935502 w 4519987"/>
                  <a:gd name="connsiteY78" fmla="*/ 4400550 h 4496940"/>
                  <a:gd name="connsiteX79" fmla="*/ 1821202 w 4519987"/>
                  <a:gd name="connsiteY79" fmla="*/ 4371975 h 4496940"/>
                  <a:gd name="connsiteX80" fmla="*/ 1754527 w 4519987"/>
                  <a:gd name="connsiteY80" fmla="*/ 4352925 h 4496940"/>
                  <a:gd name="connsiteX81" fmla="*/ 1687852 w 4519987"/>
                  <a:gd name="connsiteY81" fmla="*/ 4343400 h 4496940"/>
                  <a:gd name="connsiteX82" fmla="*/ 1573552 w 4519987"/>
                  <a:gd name="connsiteY82" fmla="*/ 4305300 h 4496940"/>
                  <a:gd name="connsiteX83" fmla="*/ 1402102 w 4519987"/>
                  <a:gd name="connsiteY83" fmla="*/ 4276725 h 4496940"/>
                  <a:gd name="connsiteX84" fmla="*/ 1287802 w 4519987"/>
                  <a:gd name="connsiteY84" fmla="*/ 4229100 h 4496940"/>
                  <a:gd name="connsiteX85" fmla="*/ 1221127 w 4519987"/>
                  <a:gd name="connsiteY85" fmla="*/ 4200525 h 4496940"/>
                  <a:gd name="connsiteX86" fmla="*/ 1144927 w 4519987"/>
                  <a:gd name="connsiteY86" fmla="*/ 4171950 h 4496940"/>
                  <a:gd name="connsiteX87" fmla="*/ 1087777 w 4519987"/>
                  <a:gd name="connsiteY87" fmla="*/ 4143375 h 4496940"/>
                  <a:gd name="connsiteX88" fmla="*/ 1030627 w 4519987"/>
                  <a:gd name="connsiteY88" fmla="*/ 4124325 h 4496940"/>
                  <a:gd name="connsiteX89" fmla="*/ 925852 w 4519987"/>
                  <a:gd name="connsiteY89" fmla="*/ 4067175 h 4496940"/>
                  <a:gd name="connsiteX90" fmla="*/ 830602 w 4519987"/>
                  <a:gd name="connsiteY90" fmla="*/ 3981450 h 4496940"/>
                  <a:gd name="connsiteX91" fmla="*/ 763927 w 4519987"/>
                  <a:gd name="connsiteY91" fmla="*/ 3914775 h 4496940"/>
                  <a:gd name="connsiteX92" fmla="*/ 725827 w 4519987"/>
                  <a:gd name="connsiteY92" fmla="*/ 3876675 h 4496940"/>
                  <a:gd name="connsiteX93" fmla="*/ 697252 w 4519987"/>
                  <a:gd name="connsiteY93" fmla="*/ 3838575 h 4496940"/>
                  <a:gd name="connsiteX94" fmla="*/ 640102 w 4519987"/>
                  <a:gd name="connsiteY94" fmla="*/ 3781425 h 4496940"/>
                  <a:gd name="connsiteX95" fmla="*/ 611527 w 4519987"/>
                  <a:gd name="connsiteY95" fmla="*/ 3733800 h 4496940"/>
                  <a:gd name="connsiteX96" fmla="*/ 554377 w 4519987"/>
                  <a:gd name="connsiteY96" fmla="*/ 3657600 h 4496940"/>
                  <a:gd name="connsiteX97" fmla="*/ 525802 w 4519987"/>
                  <a:gd name="connsiteY97" fmla="*/ 3609975 h 4496940"/>
                  <a:gd name="connsiteX98" fmla="*/ 497227 w 4519987"/>
                  <a:gd name="connsiteY98" fmla="*/ 3552825 h 4496940"/>
                  <a:gd name="connsiteX99" fmla="*/ 440077 w 4519987"/>
                  <a:gd name="connsiteY99" fmla="*/ 3495675 h 4496940"/>
                  <a:gd name="connsiteX100" fmla="*/ 411502 w 4519987"/>
                  <a:gd name="connsiteY100" fmla="*/ 3448050 h 4496940"/>
                  <a:gd name="connsiteX101" fmla="*/ 278152 w 4519987"/>
                  <a:gd name="connsiteY101" fmla="*/ 3257550 h 4496940"/>
                  <a:gd name="connsiteX102" fmla="*/ 249577 w 4519987"/>
                  <a:gd name="connsiteY102" fmla="*/ 3200400 h 4496940"/>
                  <a:gd name="connsiteX103" fmla="*/ 240052 w 4519987"/>
                  <a:gd name="connsiteY103" fmla="*/ 3162300 h 4496940"/>
                  <a:gd name="connsiteX104" fmla="*/ 221002 w 4519987"/>
                  <a:gd name="connsiteY104" fmla="*/ 3105150 h 4496940"/>
                  <a:gd name="connsiteX105" fmla="*/ 173377 w 4519987"/>
                  <a:gd name="connsiteY105" fmla="*/ 3019425 h 4496940"/>
                  <a:gd name="connsiteX106" fmla="*/ 144802 w 4519987"/>
                  <a:gd name="connsiteY106" fmla="*/ 2924175 h 4496940"/>
                  <a:gd name="connsiteX107" fmla="*/ 68602 w 4519987"/>
                  <a:gd name="connsiteY107" fmla="*/ 2724150 h 4496940"/>
                  <a:gd name="connsiteX108" fmla="*/ 49552 w 4519987"/>
                  <a:gd name="connsiteY108" fmla="*/ 2638425 h 4496940"/>
                  <a:gd name="connsiteX109" fmla="*/ 40027 w 4519987"/>
                  <a:gd name="connsiteY109" fmla="*/ 2562225 h 4496940"/>
                  <a:gd name="connsiteX110" fmla="*/ 30502 w 4519987"/>
                  <a:gd name="connsiteY110" fmla="*/ 2514600 h 4496940"/>
                  <a:gd name="connsiteX111" fmla="*/ 11452 w 4519987"/>
                  <a:gd name="connsiteY111" fmla="*/ 2400300 h 4496940"/>
                  <a:gd name="connsiteX112" fmla="*/ 20977 w 4519987"/>
                  <a:gd name="connsiteY112" fmla="*/ 1905000 h 4496940"/>
                  <a:gd name="connsiteX113" fmla="*/ 30502 w 4519987"/>
                  <a:gd name="connsiteY113" fmla="*/ 1838325 h 4496940"/>
                  <a:gd name="connsiteX114" fmla="*/ 49552 w 4519987"/>
                  <a:gd name="connsiteY114" fmla="*/ 1781175 h 4496940"/>
                  <a:gd name="connsiteX115" fmla="*/ 59077 w 4519987"/>
                  <a:gd name="connsiteY115" fmla="*/ 1743075 h 4496940"/>
                  <a:gd name="connsiteX116" fmla="*/ 78127 w 4519987"/>
                  <a:gd name="connsiteY116" fmla="*/ 1685925 h 4496940"/>
                  <a:gd name="connsiteX117" fmla="*/ 87652 w 4519987"/>
                  <a:gd name="connsiteY117" fmla="*/ 1638300 h 4496940"/>
                  <a:gd name="connsiteX118" fmla="*/ 106702 w 4519987"/>
                  <a:gd name="connsiteY118" fmla="*/ 1590675 h 4496940"/>
                  <a:gd name="connsiteX119" fmla="*/ 135277 w 4519987"/>
                  <a:gd name="connsiteY119" fmla="*/ 1504950 h 4496940"/>
                  <a:gd name="connsiteX120" fmla="*/ 154327 w 4519987"/>
                  <a:gd name="connsiteY120" fmla="*/ 1419225 h 4496940"/>
                  <a:gd name="connsiteX121" fmla="*/ 230527 w 4519987"/>
                  <a:gd name="connsiteY121" fmla="*/ 1276350 h 4496940"/>
                  <a:gd name="connsiteX122" fmla="*/ 240052 w 4519987"/>
                  <a:gd name="connsiteY122" fmla="*/ 1247775 h 4496940"/>
                  <a:gd name="connsiteX123" fmla="*/ 268627 w 4519987"/>
                  <a:gd name="connsiteY123" fmla="*/ 1200150 h 4496940"/>
                  <a:gd name="connsiteX124" fmla="*/ 287677 w 4519987"/>
                  <a:gd name="connsiteY124" fmla="*/ 1152525 h 4496940"/>
                  <a:gd name="connsiteX125" fmla="*/ 316252 w 4519987"/>
                  <a:gd name="connsiteY125" fmla="*/ 1114425 h 4496940"/>
                  <a:gd name="connsiteX126" fmla="*/ 363877 w 4519987"/>
                  <a:gd name="connsiteY126" fmla="*/ 1038225 h 4496940"/>
                  <a:gd name="connsiteX127" fmla="*/ 382927 w 4519987"/>
                  <a:gd name="connsiteY127" fmla="*/ 1009650 h 4496940"/>
                  <a:gd name="connsiteX128" fmla="*/ 440077 w 4519987"/>
                  <a:gd name="connsiteY128" fmla="*/ 904875 h 4496940"/>
                  <a:gd name="connsiteX129" fmla="*/ 478177 w 4519987"/>
                  <a:gd name="connsiteY129" fmla="*/ 857250 h 4496940"/>
                  <a:gd name="connsiteX130" fmla="*/ 497227 w 4519987"/>
                  <a:gd name="connsiteY130" fmla="*/ 828675 h 4496940"/>
                  <a:gd name="connsiteX131" fmla="*/ 535327 w 4519987"/>
                  <a:gd name="connsiteY131" fmla="*/ 800100 h 4496940"/>
                  <a:gd name="connsiteX132" fmla="*/ 602002 w 4519987"/>
                  <a:gd name="connsiteY132" fmla="*/ 733425 h 4496940"/>
                  <a:gd name="connsiteX133" fmla="*/ 668677 w 4519987"/>
                  <a:gd name="connsiteY133" fmla="*/ 676275 h 4496940"/>
                  <a:gd name="connsiteX134" fmla="*/ 697252 w 4519987"/>
                  <a:gd name="connsiteY134" fmla="*/ 657225 h 4496940"/>
                  <a:gd name="connsiteX135" fmla="*/ 840127 w 4519987"/>
                  <a:gd name="connsiteY135" fmla="*/ 533400 h 4496940"/>
                  <a:gd name="connsiteX136" fmla="*/ 887752 w 4519987"/>
                  <a:gd name="connsiteY136" fmla="*/ 504825 h 4496940"/>
                  <a:gd name="connsiteX137" fmla="*/ 1167152 w 4519987"/>
                  <a:gd name="connsiteY137" fmla="*/ 311150 h 4496940"/>
                  <a:gd name="connsiteX138" fmla="*/ 1268752 w 4519987"/>
                  <a:gd name="connsiteY138" fmla="*/ 285750 h 4496940"/>
                  <a:gd name="connsiteX139" fmla="*/ 1411627 w 4519987"/>
                  <a:gd name="connsiteY139" fmla="*/ 190500 h 4496940"/>
                  <a:gd name="connsiteX140" fmla="*/ 1449727 w 4519987"/>
                  <a:gd name="connsiteY140" fmla="*/ 161925 h 4496940"/>
                  <a:gd name="connsiteX141" fmla="*/ 1525927 w 4519987"/>
                  <a:gd name="connsiteY141" fmla="*/ 152400 h 4496940"/>
                  <a:gd name="connsiteX142" fmla="*/ 1583077 w 4519987"/>
                  <a:gd name="connsiteY142" fmla="*/ 142875 h 4496940"/>
                  <a:gd name="connsiteX143" fmla="*/ 1716427 w 4519987"/>
                  <a:gd name="connsiteY143" fmla="*/ 123825 h 4496940"/>
                  <a:gd name="connsiteX144" fmla="*/ 1811677 w 4519987"/>
                  <a:gd name="connsiteY144" fmla="*/ 114300 h 4496940"/>
                  <a:gd name="connsiteX145" fmla="*/ 1859302 w 4519987"/>
                  <a:gd name="connsiteY145" fmla="*/ 104775 h 4496940"/>
                  <a:gd name="connsiteX146" fmla="*/ 1916452 w 4519987"/>
                  <a:gd name="connsiteY146" fmla="*/ 95250 h 4496940"/>
                  <a:gd name="connsiteX147" fmla="*/ 2030752 w 4519987"/>
                  <a:gd name="connsiteY147" fmla="*/ 66675 h 4496940"/>
                  <a:gd name="connsiteX148" fmla="*/ 2097427 w 4519987"/>
                  <a:gd name="connsiteY148" fmla="*/ 47625 h 4496940"/>
                  <a:gd name="connsiteX149" fmla="*/ 2164102 w 4519987"/>
                  <a:gd name="connsiteY149" fmla="*/ 38100 h 4496940"/>
                  <a:gd name="connsiteX150" fmla="*/ 2392702 w 4519987"/>
                  <a:gd name="connsiteY15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3907177 w 4519987"/>
                  <a:gd name="connsiteY21" fmla="*/ 647700 h 4496940"/>
                  <a:gd name="connsiteX22" fmla="*/ 4078627 w 4519987"/>
                  <a:gd name="connsiteY22" fmla="*/ 838200 h 4496940"/>
                  <a:gd name="connsiteX23" fmla="*/ 4135777 w 4519987"/>
                  <a:gd name="connsiteY23" fmla="*/ 933450 h 4496940"/>
                  <a:gd name="connsiteX24" fmla="*/ 4164352 w 4519987"/>
                  <a:gd name="connsiteY24" fmla="*/ 990600 h 4496940"/>
                  <a:gd name="connsiteX25" fmla="*/ 4173877 w 4519987"/>
                  <a:gd name="connsiteY25" fmla="*/ 1019175 h 4496940"/>
                  <a:gd name="connsiteX26" fmla="*/ 4192927 w 4519987"/>
                  <a:gd name="connsiteY26" fmla="*/ 1057275 h 4496940"/>
                  <a:gd name="connsiteX27" fmla="*/ 4202452 w 4519987"/>
                  <a:gd name="connsiteY27" fmla="*/ 1085850 h 4496940"/>
                  <a:gd name="connsiteX28" fmla="*/ 4250077 w 4519987"/>
                  <a:gd name="connsiteY28" fmla="*/ 1143000 h 4496940"/>
                  <a:gd name="connsiteX29" fmla="*/ 4259602 w 4519987"/>
                  <a:gd name="connsiteY29" fmla="*/ 1190625 h 4496940"/>
                  <a:gd name="connsiteX30" fmla="*/ 4307227 w 4519987"/>
                  <a:gd name="connsiteY30" fmla="*/ 1266825 h 4496940"/>
                  <a:gd name="connsiteX31" fmla="*/ 4345327 w 4519987"/>
                  <a:gd name="connsiteY31" fmla="*/ 1362075 h 4496940"/>
                  <a:gd name="connsiteX32" fmla="*/ 4373902 w 4519987"/>
                  <a:gd name="connsiteY32" fmla="*/ 1428750 h 4496940"/>
                  <a:gd name="connsiteX33" fmla="*/ 4392952 w 4519987"/>
                  <a:gd name="connsiteY33" fmla="*/ 1552575 h 4496940"/>
                  <a:gd name="connsiteX34" fmla="*/ 4402477 w 4519987"/>
                  <a:gd name="connsiteY34" fmla="*/ 1590675 h 4496940"/>
                  <a:gd name="connsiteX35" fmla="*/ 4431052 w 4519987"/>
                  <a:gd name="connsiteY35" fmla="*/ 1685925 h 4496940"/>
                  <a:gd name="connsiteX36" fmla="*/ 4519952 w 4519987"/>
                  <a:gd name="connsiteY36" fmla="*/ 2181225 h 4496940"/>
                  <a:gd name="connsiteX37" fmla="*/ 4446927 w 4519987"/>
                  <a:gd name="connsiteY37" fmla="*/ 2768600 h 4496940"/>
                  <a:gd name="connsiteX38" fmla="*/ 4383427 w 4519987"/>
                  <a:gd name="connsiteY38" fmla="*/ 2990850 h 4496940"/>
                  <a:gd name="connsiteX39" fmla="*/ 4278652 w 4519987"/>
                  <a:gd name="connsiteY39" fmla="*/ 3248025 h 4496940"/>
                  <a:gd name="connsiteX40" fmla="*/ 4259602 w 4519987"/>
                  <a:gd name="connsiteY40" fmla="*/ 3276600 h 4496940"/>
                  <a:gd name="connsiteX41" fmla="*/ 4221502 w 4519987"/>
                  <a:gd name="connsiteY41" fmla="*/ 3333750 h 4496940"/>
                  <a:gd name="connsiteX42" fmla="*/ 4211977 w 4519987"/>
                  <a:gd name="connsiteY42" fmla="*/ 3362325 h 4496940"/>
                  <a:gd name="connsiteX43" fmla="*/ 4183402 w 4519987"/>
                  <a:gd name="connsiteY43" fmla="*/ 3400425 h 4496940"/>
                  <a:gd name="connsiteX44" fmla="*/ 4164352 w 4519987"/>
                  <a:gd name="connsiteY44" fmla="*/ 3429000 h 4496940"/>
                  <a:gd name="connsiteX45" fmla="*/ 4088152 w 4519987"/>
                  <a:gd name="connsiteY45" fmla="*/ 3495675 h 4496940"/>
                  <a:gd name="connsiteX46" fmla="*/ 4059577 w 4519987"/>
                  <a:gd name="connsiteY46" fmla="*/ 3533775 h 4496940"/>
                  <a:gd name="connsiteX47" fmla="*/ 4002427 w 4519987"/>
                  <a:gd name="connsiteY47" fmla="*/ 3600450 h 4496940"/>
                  <a:gd name="connsiteX48" fmla="*/ 3983377 w 4519987"/>
                  <a:gd name="connsiteY48" fmla="*/ 3629025 h 4496940"/>
                  <a:gd name="connsiteX49" fmla="*/ 3954802 w 4519987"/>
                  <a:gd name="connsiteY49" fmla="*/ 3648075 h 4496940"/>
                  <a:gd name="connsiteX50" fmla="*/ 3907177 w 4519987"/>
                  <a:gd name="connsiteY50" fmla="*/ 3686175 h 4496940"/>
                  <a:gd name="connsiteX51" fmla="*/ 3869077 w 4519987"/>
                  <a:gd name="connsiteY51" fmla="*/ 3724275 h 4496940"/>
                  <a:gd name="connsiteX52" fmla="*/ 3792877 w 4519987"/>
                  <a:gd name="connsiteY52" fmla="*/ 3781425 h 4496940"/>
                  <a:gd name="connsiteX53" fmla="*/ 3783352 w 4519987"/>
                  <a:gd name="connsiteY53" fmla="*/ 3810000 h 4496940"/>
                  <a:gd name="connsiteX54" fmla="*/ 3745252 w 4519987"/>
                  <a:gd name="connsiteY54" fmla="*/ 3819525 h 4496940"/>
                  <a:gd name="connsiteX55" fmla="*/ 3678577 w 4519987"/>
                  <a:gd name="connsiteY55" fmla="*/ 3848100 h 4496940"/>
                  <a:gd name="connsiteX56" fmla="*/ 3659527 w 4519987"/>
                  <a:gd name="connsiteY56" fmla="*/ 3971925 h 4496940"/>
                  <a:gd name="connsiteX57" fmla="*/ 3630952 w 4519987"/>
                  <a:gd name="connsiteY57" fmla="*/ 4010025 h 4496940"/>
                  <a:gd name="connsiteX58" fmla="*/ 3621427 w 4519987"/>
                  <a:gd name="connsiteY58" fmla="*/ 4038600 h 4496940"/>
                  <a:gd name="connsiteX59" fmla="*/ 3554752 w 4519987"/>
                  <a:gd name="connsiteY59" fmla="*/ 4095750 h 4496940"/>
                  <a:gd name="connsiteX60" fmla="*/ 3516652 w 4519987"/>
                  <a:gd name="connsiteY60" fmla="*/ 4114800 h 4496940"/>
                  <a:gd name="connsiteX61" fmla="*/ 3497602 w 4519987"/>
                  <a:gd name="connsiteY61" fmla="*/ 4143375 h 4496940"/>
                  <a:gd name="connsiteX62" fmla="*/ 3383302 w 4519987"/>
                  <a:gd name="connsiteY62" fmla="*/ 4210050 h 4496940"/>
                  <a:gd name="connsiteX63" fmla="*/ 3335677 w 4519987"/>
                  <a:gd name="connsiteY63" fmla="*/ 4238625 h 4496940"/>
                  <a:gd name="connsiteX64" fmla="*/ 3288052 w 4519987"/>
                  <a:gd name="connsiteY64" fmla="*/ 4248150 h 4496940"/>
                  <a:gd name="connsiteX65" fmla="*/ 3240427 w 4519987"/>
                  <a:gd name="connsiteY65" fmla="*/ 4267200 h 4496940"/>
                  <a:gd name="connsiteX66" fmla="*/ 3068977 w 4519987"/>
                  <a:gd name="connsiteY66" fmla="*/ 4286250 h 4496940"/>
                  <a:gd name="connsiteX67" fmla="*/ 2935627 w 4519987"/>
                  <a:gd name="connsiteY67" fmla="*/ 4333875 h 4496940"/>
                  <a:gd name="connsiteX68" fmla="*/ 2811802 w 4519987"/>
                  <a:gd name="connsiteY68" fmla="*/ 4371975 h 4496940"/>
                  <a:gd name="connsiteX69" fmla="*/ 2745127 w 4519987"/>
                  <a:gd name="connsiteY69" fmla="*/ 4410075 h 4496940"/>
                  <a:gd name="connsiteX70" fmla="*/ 2697502 w 4519987"/>
                  <a:gd name="connsiteY70" fmla="*/ 4429125 h 4496940"/>
                  <a:gd name="connsiteX71" fmla="*/ 2640352 w 4519987"/>
                  <a:gd name="connsiteY71" fmla="*/ 4457700 h 4496940"/>
                  <a:gd name="connsiteX72" fmla="*/ 2583202 w 4519987"/>
                  <a:gd name="connsiteY72" fmla="*/ 4467225 h 4496940"/>
                  <a:gd name="connsiteX73" fmla="*/ 2545102 w 4519987"/>
                  <a:gd name="connsiteY73" fmla="*/ 4486275 h 4496940"/>
                  <a:gd name="connsiteX74" fmla="*/ 2306977 w 4519987"/>
                  <a:gd name="connsiteY74" fmla="*/ 4476750 h 4496940"/>
                  <a:gd name="connsiteX75" fmla="*/ 2202202 w 4519987"/>
                  <a:gd name="connsiteY75" fmla="*/ 4457700 h 4496940"/>
                  <a:gd name="connsiteX76" fmla="*/ 2126002 w 4519987"/>
                  <a:gd name="connsiteY76" fmla="*/ 4429125 h 4496940"/>
                  <a:gd name="connsiteX77" fmla="*/ 1935502 w 4519987"/>
                  <a:gd name="connsiteY77" fmla="*/ 4400550 h 4496940"/>
                  <a:gd name="connsiteX78" fmla="*/ 1821202 w 4519987"/>
                  <a:gd name="connsiteY78" fmla="*/ 4371975 h 4496940"/>
                  <a:gd name="connsiteX79" fmla="*/ 1754527 w 4519987"/>
                  <a:gd name="connsiteY79" fmla="*/ 4352925 h 4496940"/>
                  <a:gd name="connsiteX80" fmla="*/ 1687852 w 4519987"/>
                  <a:gd name="connsiteY80" fmla="*/ 4343400 h 4496940"/>
                  <a:gd name="connsiteX81" fmla="*/ 1573552 w 4519987"/>
                  <a:gd name="connsiteY81" fmla="*/ 4305300 h 4496940"/>
                  <a:gd name="connsiteX82" fmla="*/ 1402102 w 4519987"/>
                  <a:gd name="connsiteY82" fmla="*/ 4276725 h 4496940"/>
                  <a:gd name="connsiteX83" fmla="*/ 1287802 w 4519987"/>
                  <a:gd name="connsiteY83" fmla="*/ 4229100 h 4496940"/>
                  <a:gd name="connsiteX84" fmla="*/ 1221127 w 4519987"/>
                  <a:gd name="connsiteY84" fmla="*/ 4200525 h 4496940"/>
                  <a:gd name="connsiteX85" fmla="*/ 1144927 w 4519987"/>
                  <a:gd name="connsiteY85" fmla="*/ 4171950 h 4496940"/>
                  <a:gd name="connsiteX86" fmla="*/ 1087777 w 4519987"/>
                  <a:gd name="connsiteY86" fmla="*/ 4143375 h 4496940"/>
                  <a:gd name="connsiteX87" fmla="*/ 1030627 w 4519987"/>
                  <a:gd name="connsiteY87" fmla="*/ 4124325 h 4496940"/>
                  <a:gd name="connsiteX88" fmla="*/ 925852 w 4519987"/>
                  <a:gd name="connsiteY88" fmla="*/ 4067175 h 4496940"/>
                  <a:gd name="connsiteX89" fmla="*/ 830602 w 4519987"/>
                  <a:gd name="connsiteY89" fmla="*/ 3981450 h 4496940"/>
                  <a:gd name="connsiteX90" fmla="*/ 763927 w 4519987"/>
                  <a:gd name="connsiteY90" fmla="*/ 3914775 h 4496940"/>
                  <a:gd name="connsiteX91" fmla="*/ 725827 w 4519987"/>
                  <a:gd name="connsiteY91" fmla="*/ 3876675 h 4496940"/>
                  <a:gd name="connsiteX92" fmla="*/ 697252 w 4519987"/>
                  <a:gd name="connsiteY92" fmla="*/ 3838575 h 4496940"/>
                  <a:gd name="connsiteX93" fmla="*/ 640102 w 4519987"/>
                  <a:gd name="connsiteY93" fmla="*/ 3781425 h 4496940"/>
                  <a:gd name="connsiteX94" fmla="*/ 611527 w 4519987"/>
                  <a:gd name="connsiteY94" fmla="*/ 3733800 h 4496940"/>
                  <a:gd name="connsiteX95" fmla="*/ 554377 w 4519987"/>
                  <a:gd name="connsiteY95" fmla="*/ 3657600 h 4496940"/>
                  <a:gd name="connsiteX96" fmla="*/ 525802 w 4519987"/>
                  <a:gd name="connsiteY96" fmla="*/ 3609975 h 4496940"/>
                  <a:gd name="connsiteX97" fmla="*/ 497227 w 4519987"/>
                  <a:gd name="connsiteY97" fmla="*/ 3552825 h 4496940"/>
                  <a:gd name="connsiteX98" fmla="*/ 440077 w 4519987"/>
                  <a:gd name="connsiteY98" fmla="*/ 3495675 h 4496940"/>
                  <a:gd name="connsiteX99" fmla="*/ 411502 w 4519987"/>
                  <a:gd name="connsiteY99" fmla="*/ 3448050 h 4496940"/>
                  <a:gd name="connsiteX100" fmla="*/ 278152 w 4519987"/>
                  <a:gd name="connsiteY100" fmla="*/ 3257550 h 4496940"/>
                  <a:gd name="connsiteX101" fmla="*/ 249577 w 4519987"/>
                  <a:gd name="connsiteY101" fmla="*/ 3200400 h 4496940"/>
                  <a:gd name="connsiteX102" fmla="*/ 240052 w 4519987"/>
                  <a:gd name="connsiteY102" fmla="*/ 3162300 h 4496940"/>
                  <a:gd name="connsiteX103" fmla="*/ 221002 w 4519987"/>
                  <a:gd name="connsiteY103" fmla="*/ 3105150 h 4496940"/>
                  <a:gd name="connsiteX104" fmla="*/ 173377 w 4519987"/>
                  <a:gd name="connsiteY104" fmla="*/ 3019425 h 4496940"/>
                  <a:gd name="connsiteX105" fmla="*/ 144802 w 4519987"/>
                  <a:gd name="connsiteY105" fmla="*/ 2924175 h 4496940"/>
                  <a:gd name="connsiteX106" fmla="*/ 68602 w 4519987"/>
                  <a:gd name="connsiteY106" fmla="*/ 2724150 h 4496940"/>
                  <a:gd name="connsiteX107" fmla="*/ 49552 w 4519987"/>
                  <a:gd name="connsiteY107" fmla="*/ 2638425 h 4496940"/>
                  <a:gd name="connsiteX108" fmla="*/ 40027 w 4519987"/>
                  <a:gd name="connsiteY108" fmla="*/ 2562225 h 4496940"/>
                  <a:gd name="connsiteX109" fmla="*/ 30502 w 4519987"/>
                  <a:gd name="connsiteY109" fmla="*/ 2514600 h 4496940"/>
                  <a:gd name="connsiteX110" fmla="*/ 11452 w 4519987"/>
                  <a:gd name="connsiteY110" fmla="*/ 2400300 h 4496940"/>
                  <a:gd name="connsiteX111" fmla="*/ 20977 w 4519987"/>
                  <a:gd name="connsiteY111" fmla="*/ 1905000 h 4496940"/>
                  <a:gd name="connsiteX112" fmla="*/ 30502 w 4519987"/>
                  <a:gd name="connsiteY112" fmla="*/ 1838325 h 4496940"/>
                  <a:gd name="connsiteX113" fmla="*/ 49552 w 4519987"/>
                  <a:gd name="connsiteY113" fmla="*/ 1781175 h 4496940"/>
                  <a:gd name="connsiteX114" fmla="*/ 59077 w 4519987"/>
                  <a:gd name="connsiteY114" fmla="*/ 1743075 h 4496940"/>
                  <a:gd name="connsiteX115" fmla="*/ 78127 w 4519987"/>
                  <a:gd name="connsiteY115" fmla="*/ 1685925 h 4496940"/>
                  <a:gd name="connsiteX116" fmla="*/ 87652 w 4519987"/>
                  <a:gd name="connsiteY116" fmla="*/ 1638300 h 4496940"/>
                  <a:gd name="connsiteX117" fmla="*/ 106702 w 4519987"/>
                  <a:gd name="connsiteY117" fmla="*/ 1590675 h 4496940"/>
                  <a:gd name="connsiteX118" fmla="*/ 135277 w 4519987"/>
                  <a:gd name="connsiteY118" fmla="*/ 1504950 h 4496940"/>
                  <a:gd name="connsiteX119" fmla="*/ 154327 w 4519987"/>
                  <a:gd name="connsiteY119" fmla="*/ 1419225 h 4496940"/>
                  <a:gd name="connsiteX120" fmla="*/ 230527 w 4519987"/>
                  <a:gd name="connsiteY120" fmla="*/ 1276350 h 4496940"/>
                  <a:gd name="connsiteX121" fmla="*/ 240052 w 4519987"/>
                  <a:gd name="connsiteY121" fmla="*/ 1247775 h 4496940"/>
                  <a:gd name="connsiteX122" fmla="*/ 268627 w 4519987"/>
                  <a:gd name="connsiteY122" fmla="*/ 1200150 h 4496940"/>
                  <a:gd name="connsiteX123" fmla="*/ 287677 w 4519987"/>
                  <a:gd name="connsiteY123" fmla="*/ 1152525 h 4496940"/>
                  <a:gd name="connsiteX124" fmla="*/ 316252 w 4519987"/>
                  <a:gd name="connsiteY124" fmla="*/ 1114425 h 4496940"/>
                  <a:gd name="connsiteX125" fmla="*/ 363877 w 4519987"/>
                  <a:gd name="connsiteY125" fmla="*/ 1038225 h 4496940"/>
                  <a:gd name="connsiteX126" fmla="*/ 382927 w 4519987"/>
                  <a:gd name="connsiteY126" fmla="*/ 1009650 h 4496940"/>
                  <a:gd name="connsiteX127" fmla="*/ 440077 w 4519987"/>
                  <a:gd name="connsiteY127" fmla="*/ 904875 h 4496940"/>
                  <a:gd name="connsiteX128" fmla="*/ 478177 w 4519987"/>
                  <a:gd name="connsiteY128" fmla="*/ 857250 h 4496940"/>
                  <a:gd name="connsiteX129" fmla="*/ 497227 w 4519987"/>
                  <a:gd name="connsiteY129" fmla="*/ 828675 h 4496940"/>
                  <a:gd name="connsiteX130" fmla="*/ 535327 w 4519987"/>
                  <a:gd name="connsiteY130" fmla="*/ 800100 h 4496940"/>
                  <a:gd name="connsiteX131" fmla="*/ 602002 w 4519987"/>
                  <a:gd name="connsiteY131" fmla="*/ 733425 h 4496940"/>
                  <a:gd name="connsiteX132" fmla="*/ 668677 w 4519987"/>
                  <a:gd name="connsiteY132" fmla="*/ 676275 h 4496940"/>
                  <a:gd name="connsiteX133" fmla="*/ 697252 w 4519987"/>
                  <a:gd name="connsiteY133" fmla="*/ 657225 h 4496940"/>
                  <a:gd name="connsiteX134" fmla="*/ 840127 w 4519987"/>
                  <a:gd name="connsiteY134" fmla="*/ 533400 h 4496940"/>
                  <a:gd name="connsiteX135" fmla="*/ 887752 w 4519987"/>
                  <a:gd name="connsiteY135" fmla="*/ 504825 h 4496940"/>
                  <a:gd name="connsiteX136" fmla="*/ 1167152 w 4519987"/>
                  <a:gd name="connsiteY136" fmla="*/ 311150 h 4496940"/>
                  <a:gd name="connsiteX137" fmla="*/ 1268752 w 4519987"/>
                  <a:gd name="connsiteY137" fmla="*/ 285750 h 4496940"/>
                  <a:gd name="connsiteX138" fmla="*/ 1411627 w 4519987"/>
                  <a:gd name="connsiteY138" fmla="*/ 190500 h 4496940"/>
                  <a:gd name="connsiteX139" fmla="*/ 1449727 w 4519987"/>
                  <a:gd name="connsiteY139" fmla="*/ 161925 h 4496940"/>
                  <a:gd name="connsiteX140" fmla="*/ 1525927 w 4519987"/>
                  <a:gd name="connsiteY140" fmla="*/ 152400 h 4496940"/>
                  <a:gd name="connsiteX141" fmla="*/ 1583077 w 4519987"/>
                  <a:gd name="connsiteY141" fmla="*/ 142875 h 4496940"/>
                  <a:gd name="connsiteX142" fmla="*/ 1716427 w 4519987"/>
                  <a:gd name="connsiteY142" fmla="*/ 123825 h 4496940"/>
                  <a:gd name="connsiteX143" fmla="*/ 1811677 w 4519987"/>
                  <a:gd name="connsiteY143" fmla="*/ 114300 h 4496940"/>
                  <a:gd name="connsiteX144" fmla="*/ 1859302 w 4519987"/>
                  <a:gd name="connsiteY144" fmla="*/ 104775 h 4496940"/>
                  <a:gd name="connsiteX145" fmla="*/ 1916452 w 4519987"/>
                  <a:gd name="connsiteY145" fmla="*/ 95250 h 4496940"/>
                  <a:gd name="connsiteX146" fmla="*/ 2030752 w 4519987"/>
                  <a:gd name="connsiteY146" fmla="*/ 66675 h 4496940"/>
                  <a:gd name="connsiteX147" fmla="*/ 2097427 w 4519987"/>
                  <a:gd name="connsiteY147" fmla="*/ 47625 h 4496940"/>
                  <a:gd name="connsiteX148" fmla="*/ 2164102 w 4519987"/>
                  <a:gd name="connsiteY148" fmla="*/ 38100 h 4496940"/>
                  <a:gd name="connsiteX149" fmla="*/ 2392702 w 4519987"/>
                  <a:gd name="connsiteY14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78627 w 4519987"/>
                  <a:gd name="connsiteY21" fmla="*/ 838200 h 4496940"/>
                  <a:gd name="connsiteX22" fmla="*/ 4135777 w 4519987"/>
                  <a:gd name="connsiteY22" fmla="*/ 933450 h 4496940"/>
                  <a:gd name="connsiteX23" fmla="*/ 4164352 w 4519987"/>
                  <a:gd name="connsiteY23" fmla="*/ 990600 h 4496940"/>
                  <a:gd name="connsiteX24" fmla="*/ 4173877 w 4519987"/>
                  <a:gd name="connsiteY24" fmla="*/ 1019175 h 4496940"/>
                  <a:gd name="connsiteX25" fmla="*/ 4192927 w 4519987"/>
                  <a:gd name="connsiteY25" fmla="*/ 1057275 h 4496940"/>
                  <a:gd name="connsiteX26" fmla="*/ 4202452 w 4519987"/>
                  <a:gd name="connsiteY26" fmla="*/ 1085850 h 4496940"/>
                  <a:gd name="connsiteX27" fmla="*/ 4250077 w 4519987"/>
                  <a:gd name="connsiteY27" fmla="*/ 1143000 h 4496940"/>
                  <a:gd name="connsiteX28" fmla="*/ 4259602 w 4519987"/>
                  <a:gd name="connsiteY28" fmla="*/ 1190625 h 4496940"/>
                  <a:gd name="connsiteX29" fmla="*/ 4307227 w 4519987"/>
                  <a:gd name="connsiteY29" fmla="*/ 1266825 h 4496940"/>
                  <a:gd name="connsiteX30" fmla="*/ 4345327 w 4519987"/>
                  <a:gd name="connsiteY30" fmla="*/ 1362075 h 4496940"/>
                  <a:gd name="connsiteX31" fmla="*/ 4373902 w 4519987"/>
                  <a:gd name="connsiteY31" fmla="*/ 1428750 h 4496940"/>
                  <a:gd name="connsiteX32" fmla="*/ 4392952 w 4519987"/>
                  <a:gd name="connsiteY32" fmla="*/ 1552575 h 4496940"/>
                  <a:gd name="connsiteX33" fmla="*/ 4402477 w 4519987"/>
                  <a:gd name="connsiteY33" fmla="*/ 1590675 h 4496940"/>
                  <a:gd name="connsiteX34" fmla="*/ 4431052 w 4519987"/>
                  <a:gd name="connsiteY34" fmla="*/ 1685925 h 4496940"/>
                  <a:gd name="connsiteX35" fmla="*/ 4519952 w 4519987"/>
                  <a:gd name="connsiteY35" fmla="*/ 2181225 h 4496940"/>
                  <a:gd name="connsiteX36" fmla="*/ 4446927 w 4519987"/>
                  <a:gd name="connsiteY36" fmla="*/ 2768600 h 4496940"/>
                  <a:gd name="connsiteX37" fmla="*/ 4383427 w 4519987"/>
                  <a:gd name="connsiteY37" fmla="*/ 2990850 h 4496940"/>
                  <a:gd name="connsiteX38" fmla="*/ 4278652 w 4519987"/>
                  <a:gd name="connsiteY38" fmla="*/ 3248025 h 4496940"/>
                  <a:gd name="connsiteX39" fmla="*/ 4259602 w 4519987"/>
                  <a:gd name="connsiteY39" fmla="*/ 3276600 h 4496940"/>
                  <a:gd name="connsiteX40" fmla="*/ 4221502 w 4519987"/>
                  <a:gd name="connsiteY40" fmla="*/ 3333750 h 4496940"/>
                  <a:gd name="connsiteX41" fmla="*/ 4211977 w 4519987"/>
                  <a:gd name="connsiteY41" fmla="*/ 3362325 h 4496940"/>
                  <a:gd name="connsiteX42" fmla="*/ 4183402 w 4519987"/>
                  <a:gd name="connsiteY42" fmla="*/ 3400425 h 4496940"/>
                  <a:gd name="connsiteX43" fmla="*/ 4164352 w 4519987"/>
                  <a:gd name="connsiteY43" fmla="*/ 3429000 h 4496940"/>
                  <a:gd name="connsiteX44" fmla="*/ 4088152 w 4519987"/>
                  <a:gd name="connsiteY44" fmla="*/ 3495675 h 4496940"/>
                  <a:gd name="connsiteX45" fmla="*/ 4059577 w 4519987"/>
                  <a:gd name="connsiteY45" fmla="*/ 3533775 h 4496940"/>
                  <a:gd name="connsiteX46" fmla="*/ 4002427 w 4519987"/>
                  <a:gd name="connsiteY46" fmla="*/ 3600450 h 4496940"/>
                  <a:gd name="connsiteX47" fmla="*/ 3983377 w 4519987"/>
                  <a:gd name="connsiteY47" fmla="*/ 3629025 h 4496940"/>
                  <a:gd name="connsiteX48" fmla="*/ 3954802 w 4519987"/>
                  <a:gd name="connsiteY48" fmla="*/ 3648075 h 4496940"/>
                  <a:gd name="connsiteX49" fmla="*/ 3907177 w 4519987"/>
                  <a:gd name="connsiteY49" fmla="*/ 3686175 h 4496940"/>
                  <a:gd name="connsiteX50" fmla="*/ 3869077 w 4519987"/>
                  <a:gd name="connsiteY50" fmla="*/ 3724275 h 4496940"/>
                  <a:gd name="connsiteX51" fmla="*/ 3792877 w 4519987"/>
                  <a:gd name="connsiteY51" fmla="*/ 3781425 h 4496940"/>
                  <a:gd name="connsiteX52" fmla="*/ 3783352 w 4519987"/>
                  <a:gd name="connsiteY52" fmla="*/ 3810000 h 4496940"/>
                  <a:gd name="connsiteX53" fmla="*/ 3745252 w 4519987"/>
                  <a:gd name="connsiteY53" fmla="*/ 3819525 h 4496940"/>
                  <a:gd name="connsiteX54" fmla="*/ 3678577 w 4519987"/>
                  <a:gd name="connsiteY54" fmla="*/ 3848100 h 4496940"/>
                  <a:gd name="connsiteX55" fmla="*/ 3659527 w 4519987"/>
                  <a:gd name="connsiteY55" fmla="*/ 3971925 h 4496940"/>
                  <a:gd name="connsiteX56" fmla="*/ 3630952 w 4519987"/>
                  <a:gd name="connsiteY56" fmla="*/ 4010025 h 4496940"/>
                  <a:gd name="connsiteX57" fmla="*/ 3621427 w 4519987"/>
                  <a:gd name="connsiteY57" fmla="*/ 4038600 h 4496940"/>
                  <a:gd name="connsiteX58" fmla="*/ 3554752 w 4519987"/>
                  <a:gd name="connsiteY58" fmla="*/ 4095750 h 4496940"/>
                  <a:gd name="connsiteX59" fmla="*/ 3516652 w 4519987"/>
                  <a:gd name="connsiteY59" fmla="*/ 4114800 h 4496940"/>
                  <a:gd name="connsiteX60" fmla="*/ 3497602 w 4519987"/>
                  <a:gd name="connsiteY60" fmla="*/ 4143375 h 4496940"/>
                  <a:gd name="connsiteX61" fmla="*/ 3383302 w 4519987"/>
                  <a:gd name="connsiteY61" fmla="*/ 4210050 h 4496940"/>
                  <a:gd name="connsiteX62" fmla="*/ 3335677 w 4519987"/>
                  <a:gd name="connsiteY62" fmla="*/ 4238625 h 4496940"/>
                  <a:gd name="connsiteX63" fmla="*/ 3288052 w 4519987"/>
                  <a:gd name="connsiteY63" fmla="*/ 4248150 h 4496940"/>
                  <a:gd name="connsiteX64" fmla="*/ 3240427 w 4519987"/>
                  <a:gd name="connsiteY64" fmla="*/ 4267200 h 4496940"/>
                  <a:gd name="connsiteX65" fmla="*/ 3068977 w 4519987"/>
                  <a:gd name="connsiteY65" fmla="*/ 4286250 h 4496940"/>
                  <a:gd name="connsiteX66" fmla="*/ 2935627 w 4519987"/>
                  <a:gd name="connsiteY66" fmla="*/ 4333875 h 4496940"/>
                  <a:gd name="connsiteX67" fmla="*/ 2811802 w 4519987"/>
                  <a:gd name="connsiteY67" fmla="*/ 4371975 h 4496940"/>
                  <a:gd name="connsiteX68" fmla="*/ 2745127 w 4519987"/>
                  <a:gd name="connsiteY68" fmla="*/ 4410075 h 4496940"/>
                  <a:gd name="connsiteX69" fmla="*/ 2697502 w 4519987"/>
                  <a:gd name="connsiteY69" fmla="*/ 4429125 h 4496940"/>
                  <a:gd name="connsiteX70" fmla="*/ 2640352 w 4519987"/>
                  <a:gd name="connsiteY70" fmla="*/ 4457700 h 4496940"/>
                  <a:gd name="connsiteX71" fmla="*/ 2583202 w 4519987"/>
                  <a:gd name="connsiteY71" fmla="*/ 4467225 h 4496940"/>
                  <a:gd name="connsiteX72" fmla="*/ 2545102 w 4519987"/>
                  <a:gd name="connsiteY72" fmla="*/ 4486275 h 4496940"/>
                  <a:gd name="connsiteX73" fmla="*/ 2306977 w 4519987"/>
                  <a:gd name="connsiteY73" fmla="*/ 4476750 h 4496940"/>
                  <a:gd name="connsiteX74" fmla="*/ 2202202 w 4519987"/>
                  <a:gd name="connsiteY74" fmla="*/ 4457700 h 4496940"/>
                  <a:gd name="connsiteX75" fmla="*/ 2126002 w 4519987"/>
                  <a:gd name="connsiteY75" fmla="*/ 4429125 h 4496940"/>
                  <a:gd name="connsiteX76" fmla="*/ 1935502 w 4519987"/>
                  <a:gd name="connsiteY76" fmla="*/ 4400550 h 4496940"/>
                  <a:gd name="connsiteX77" fmla="*/ 1821202 w 4519987"/>
                  <a:gd name="connsiteY77" fmla="*/ 4371975 h 4496940"/>
                  <a:gd name="connsiteX78" fmla="*/ 1754527 w 4519987"/>
                  <a:gd name="connsiteY78" fmla="*/ 4352925 h 4496940"/>
                  <a:gd name="connsiteX79" fmla="*/ 1687852 w 4519987"/>
                  <a:gd name="connsiteY79" fmla="*/ 4343400 h 4496940"/>
                  <a:gd name="connsiteX80" fmla="*/ 1573552 w 4519987"/>
                  <a:gd name="connsiteY80" fmla="*/ 4305300 h 4496940"/>
                  <a:gd name="connsiteX81" fmla="*/ 1402102 w 4519987"/>
                  <a:gd name="connsiteY81" fmla="*/ 4276725 h 4496940"/>
                  <a:gd name="connsiteX82" fmla="*/ 1287802 w 4519987"/>
                  <a:gd name="connsiteY82" fmla="*/ 4229100 h 4496940"/>
                  <a:gd name="connsiteX83" fmla="*/ 1221127 w 4519987"/>
                  <a:gd name="connsiteY83" fmla="*/ 4200525 h 4496940"/>
                  <a:gd name="connsiteX84" fmla="*/ 1144927 w 4519987"/>
                  <a:gd name="connsiteY84" fmla="*/ 4171950 h 4496940"/>
                  <a:gd name="connsiteX85" fmla="*/ 1087777 w 4519987"/>
                  <a:gd name="connsiteY85" fmla="*/ 4143375 h 4496940"/>
                  <a:gd name="connsiteX86" fmla="*/ 1030627 w 4519987"/>
                  <a:gd name="connsiteY86" fmla="*/ 4124325 h 4496940"/>
                  <a:gd name="connsiteX87" fmla="*/ 925852 w 4519987"/>
                  <a:gd name="connsiteY87" fmla="*/ 4067175 h 4496940"/>
                  <a:gd name="connsiteX88" fmla="*/ 830602 w 4519987"/>
                  <a:gd name="connsiteY88" fmla="*/ 3981450 h 4496940"/>
                  <a:gd name="connsiteX89" fmla="*/ 763927 w 4519987"/>
                  <a:gd name="connsiteY89" fmla="*/ 3914775 h 4496940"/>
                  <a:gd name="connsiteX90" fmla="*/ 725827 w 4519987"/>
                  <a:gd name="connsiteY90" fmla="*/ 3876675 h 4496940"/>
                  <a:gd name="connsiteX91" fmla="*/ 697252 w 4519987"/>
                  <a:gd name="connsiteY91" fmla="*/ 3838575 h 4496940"/>
                  <a:gd name="connsiteX92" fmla="*/ 640102 w 4519987"/>
                  <a:gd name="connsiteY92" fmla="*/ 3781425 h 4496940"/>
                  <a:gd name="connsiteX93" fmla="*/ 611527 w 4519987"/>
                  <a:gd name="connsiteY93" fmla="*/ 3733800 h 4496940"/>
                  <a:gd name="connsiteX94" fmla="*/ 554377 w 4519987"/>
                  <a:gd name="connsiteY94" fmla="*/ 3657600 h 4496940"/>
                  <a:gd name="connsiteX95" fmla="*/ 525802 w 4519987"/>
                  <a:gd name="connsiteY95" fmla="*/ 3609975 h 4496940"/>
                  <a:gd name="connsiteX96" fmla="*/ 497227 w 4519987"/>
                  <a:gd name="connsiteY96" fmla="*/ 3552825 h 4496940"/>
                  <a:gd name="connsiteX97" fmla="*/ 440077 w 4519987"/>
                  <a:gd name="connsiteY97" fmla="*/ 3495675 h 4496940"/>
                  <a:gd name="connsiteX98" fmla="*/ 411502 w 4519987"/>
                  <a:gd name="connsiteY98" fmla="*/ 3448050 h 4496940"/>
                  <a:gd name="connsiteX99" fmla="*/ 278152 w 4519987"/>
                  <a:gd name="connsiteY99" fmla="*/ 3257550 h 4496940"/>
                  <a:gd name="connsiteX100" fmla="*/ 249577 w 4519987"/>
                  <a:gd name="connsiteY100" fmla="*/ 3200400 h 4496940"/>
                  <a:gd name="connsiteX101" fmla="*/ 240052 w 4519987"/>
                  <a:gd name="connsiteY101" fmla="*/ 3162300 h 4496940"/>
                  <a:gd name="connsiteX102" fmla="*/ 221002 w 4519987"/>
                  <a:gd name="connsiteY102" fmla="*/ 3105150 h 4496940"/>
                  <a:gd name="connsiteX103" fmla="*/ 173377 w 4519987"/>
                  <a:gd name="connsiteY103" fmla="*/ 3019425 h 4496940"/>
                  <a:gd name="connsiteX104" fmla="*/ 144802 w 4519987"/>
                  <a:gd name="connsiteY104" fmla="*/ 2924175 h 4496940"/>
                  <a:gd name="connsiteX105" fmla="*/ 68602 w 4519987"/>
                  <a:gd name="connsiteY105" fmla="*/ 2724150 h 4496940"/>
                  <a:gd name="connsiteX106" fmla="*/ 49552 w 4519987"/>
                  <a:gd name="connsiteY106" fmla="*/ 2638425 h 4496940"/>
                  <a:gd name="connsiteX107" fmla="*/ 40027 w 4519987"/>
                  <a:gd name="connsiteY107" fmla="*/ 2562225 h 4496940"/>
                  <a:gd name="connsiteX108" fmla="*/ 30502 w 4519987"/>
                  <a:gd name="connsiteY108" fmla="*/ 2514600 h 4496940"/>
                  <a:gd name="connsiteX109" fmla="*/ 11452 w 4519987"/>
                  <a:gd name="connsiteY109" fmla="*/ 2400300 h 4496940"/>
                  <a:gd name="connsiteX110" fmla="*/ 20977 w 4519987"/>
                  <a:gd name="connsiteY110" fmla="*/ 1905000 h 4496940"/>
                  <a:gd name="connsiteX111" fmla="*/ 30502 w 4519987"/>
                  <a:gd name="connsiteY111" fmla="*/ 1838325 h 4496940"/>
                  <a:gd name="connsiteX112" fmla="*/ 49552 w 4519987"/>
                  <a:gd name="connsiteY112" fmla="*/ 1781175 h 4496940"/>
                  <a:gd name="connsiteX113" fmla="*/ 59077 w 4519987"/>
                  <a:gd name="connsiteY113" fmla="*/ 1743075 h 4496940"/>
                  <a:gd name="connsiteX114" fmla="*/ 78127 w 4519987"/>
                  <a:gd name="connsiteY114" fmla="*/ 1685925 h 4496940"/>
                  <a:gd name="connsiteX115" fmla="*/ 87652 w 4519987"/>
                  <a:gd name="connsiteY115" fmla="*/ 1638300 h 4496940"/>
                  <a:gd name="connsiteX116" fmla="*/ 106702 w 4519987"/>
                  <a:gd name="connsiteY116" fmla="*/ 1590675 h 4496940"/>
                  <a:gd name="connsiteX117" fmla="*/ 135277 w 4519987"/>
                  <a:gd name="connsiteY117" fmla="*/ 1504950 h 4496940"/>
                  <a:gd name="connsiteX118" fmla="*/ 154327 w 4519987"/>
                  <a:gd name="connsiteY118" fmla="*/ 1419225 h 4496940"/>
                  <a:gd name="connsiteX119" fmla="*/ 230527 w 4519987"/>
                  <a:gd name="connsiteY119" fmla="*/ 1276350 h 4496940"/>
                  <a:gd name="connsiteX120" fmla="*/ 240052 w 4519987"/>
                  <a:gd name="connsiteY120" fmla="*/ 1247775 h 4496940"/>
                  <a:gd name="connsiteX121" fmla="*/ 268627 w 4519987"/>
                  <a:gd name="connsiteY121" fmla="*/ 1200150 h 4496940"/>
                  <a:gd name="connsiteX122" fmla="*/ 287677 w 4519987"/>
                  <a:gd name="connsiteY122" fmla="*/ 1152525 h 4496940"/>
                  <a:gd name="connsiteX123" fmla="*/ 316252 w 4519987"/>
                  <a:gd name="connsiteY123" fmla="*/ 1114425 h 4496940"/>
                  <a:gd name="connsiteX124" fmla="*/ 363877 w 4519987"/>
                  <a:gd name="connsiteY124" fmla="*/ 1038225 h 4496940"/>
                  <a:gd name="connsiteX125" fmla="*/ 382927 w 4519987"/>
                  <a:gd name="connsiteY125" fmla="*/ 1009650 h 4496940"/>
                  <a:gd name="connsiteX126" fmla="*/ 440077 w 4519987"/>
                  <a:gd name="connsiteY126" fmla="*/ 904875 h 4496940"/>
                  <a:gd name="connsiteX127" fmla="*/ 478177 w 4519987"/>
                  <a:gd name="connsiteY127" fmla="*/ 857250 h 4496940"/>
                  <a:gd name="connsiteX128" fmla="*/ 497227 w 4519987"/>
                  <a:gd name="connsiteY128" fmla="*/ 828675 h 4496940"/>
                  <a:gd name="connsiteX129" fmla="*/ 535327 w 4519987"/>
                  <a:gd name="connsiteY129" fmla="*/ 800100 h 4496940"/>
                  <a:gd name="connsiteX130" fmla="*/ 602002 w 4519987"/>
                  <a:gd name="connsiteY130" fmla="*/ 733425 h 4496940"/>
                  <a:gd name="connsiteX131" fmla="*/ 668677 w 4519987"/>
                  <a:gd name="connsiteY131" fmla="*/ 676275 h 4496940"/>
                  <a:gd name="connsiteX132" fmla="*/ 697252 w 4519987"/>
                  <a:gd name="connsiteY132" fmla="*/ 657225 h 4496940"/>
                  <a:gd name="connsiteX133" fmla="*/ 840127 w 4519987"/>
                  <a:gd name="connsiteY133" fmla="*/ 533400 h 4496940"/>
                  <a:gd name="connsiteX134" fmla="*/ 887752 w 4519987"/>
                  <a:gd name="connsiteY134" fmla="*/ 504825 h 4496940"/>
                  <a:gd name="connsiteX135" fmla="*/ 1167152 w 4519987"/>
                  <a:gd name="connsiteY135" fmla="*/ 311150 h 4496940"/>
                  <a:gd name="connsiteX136" fmla="*/ 1268752 w 4519987"/>
                  <a:gd name="connsiteY136" fmla="*/ 285750 h 4496940"/>
                  <a:gd name="connsiteX137" fmla="*/ 1411627 w 4519987"/>
                  <a:gd name="connsiteY137" fmla="*/ 190500 h 4496940"/>
                  <a:gd name="connsiteX138" fmla="*/ 1449727 w 4519987"/>
                  <a:gd name="connsiteY138" fmla="*/ 161925 h 4496940"/>
                  <a:gd name="connsiteX139" fmla="*/ 1525927 w 4519987"/>
                  <a:gd name="connsiteY139" fmla="*/ 152400 h 4496940"/>
                  <a:gd name="connsiteX140" fmla="*/ 1583077 w 4519987"/>
                  <a:gd name="connsiteY140" fmla="*/ 142875 h 4496940"/>
                  <a:gd name="connsiteX141" fmla="*/ 1716427 w 4519987"/>
                  <a:gd name="connsiteY141" fmla="*/ 123825 h 4496940"/>
                  <a:gd name="connsiteX142" fmla="*/ 1811677 w 4519987"/>
                  <a:gd name="connsiteY142" fmla="*/ 114300 h 4496940"/>
                  <a:gd name="connsiteX143" fmla="*/ 1859302 w 4519987"/>
                  <a:gd name="connsiteY143" fmla="*/ 104775 h 4496940"/>
                  <a:gd name="connsiteX144" fmla="*/ 1916452 w 4519987"/>
                  <a:gd name="connsiteY144" fmla="*/ 95250 h 4496940"/>
                  <a:gd name="connsiteX145" fmla="*/ 2030752 w 4519987"/>
                  <a:gd name="connsiteY145" fmla="*/ 66675 h 4496940"/>
                  <a:gd name="connsiteX146" fmla="*/ 2097427 w 4519987"/>
                  <a:gd name="connsiteY146" fmla="*/ 47625 h 4496940"/>
                  <a:gd name="connsiteX147" fmla="*/ 2164102 w 4519987"/>
                  <a:gd name="connsiteY147" fmla="*/ 38100 h 4496940"/>
                  <a:gd name="connsiteX148" fmla="*/ 2392702 w 4519987"/>
                  <a:gd name="connsiteY14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135777 w 4519987"/>
                  <a:gd name="connsiteY21" fmla="*/ 9334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192927 w 4519987"/>
                  <a:gd name="connsiteY24" fmla="*/ 1057275 h 4496940"/>
                  <a:gd name="connsiteX25" fmla="*/ 4202452 w 4519987"/>
                  <a:gd name="connsiteY25" fmla="*/ 1085850 h 4496940"/>
                  <a:gd name="connsiteX26" fmla="*/ 4250077 w 4519987"/>
                  <a:gd name="connsiteY26" fmla="*/ 1143000 h 4496940"/>
                  <a:gd name="connsiteX27" fmla="*/ 4259602 w 4519987"/>
                  <a:gd name="connsiteY27" fmla="*/ 1190625 h 4496940"/>
                  <a:gd name="connsiteX28" fmla="*/ 4307227 w 4519987"/>
                  <a:gd name="connsiteY28" fmla="*/ 1266825 h 4496940"/>
                  <a:gd name="connsiteX29" fmla="*/ 4345327 w 4519987"/>
                  <a:gd name="connsiteY29" fmla="*/ 1362075 h 4496940"/>
                  <a:gd name="connsiteX30" fmla="*/ 4373902 w 4519987"/>
                  <a:gd name="connsiteY30" fmla="*/ 1428750 h 4496940"/>
                  <a:gd name="connsiteX31" fmla="*/ 4392952 w 4519987"/>
                  <a:gd name="connsiteY31" fmla="*/ 1552575 h 4496940"/>
                  <a:gd name="connsiteX32" fmla="*/ 4402477 w 4519987"/>
                  <a:gd name="connsiteY32" fmla="*/ 1590675 h 4496940"/>
                  <a:gd name="connsiteX33" fmla="*/ 4431052 w 4519987"/>
                  <a:gd name="connsiteY33" fmla="*/ 1685925 h 4496940"/>
                  <a:gd name="connsiteX34" fmla="*/ 4519952 w 4519987"/>
                  <a:gd name="connsiteY34" fmla="*/ 2181225 h 4496940"/>
                  <a:gd name="connsiteX35" fmla="*/ 4446927 w 4519987"/>
                  <a:gd name="connsiteY35" fmla="*/ 2768600 h 4496940"/>
                  <a:gd name="connsiteX36" fmla="*/ 4383427 w 4519987"/>
                  <a:gd name="connsiteY36" fmla="*/ 2990850 h 4496940"/>
                  <a:gd name="connsiteX37" fmla="*/ 4278652 w 4519987"/>
                  <a:gd name="connsiteY37" fmla="*/ 3248025 h 4496940"/>
                  <a:gd name="connsiteX38" fmla="*/ 4259602 w 4519987"/>
                  <a:gd name="connsiteY38" fmla="*/ 3276600 h 4496940"/>
                  <a:gd name="connsiteX39" fmla="*/ 4221502 w 4519987"/>
                  <a:gd name="connsiteY39" fmla="*/ 3333750 h 4496940"/>
                  <a:gd name="connsiteX40" fmla="*/ 4211977 w 4519987"/>
                  <a:gd name="connsiteY40" fmla="*/ 3362325 h 4496940"/>
                  <a:gd name="connsiteX41" fmla="*/ 4183402 w 4519987"/>
                  <a:gd name="connsiteY41" fmla="*/ 3400425 h 4496940"/>
                  <a:gd name="connsiteX42" fmla="*/ 4164352 w 4519987"/>
                  <a:gd name="connsiteY42" fmla="*/ 3429000 h 4496940"/>
                  <a:gd name="connsiteX43" fmla="*/ 4088152 w 4519987"/>
                  <a:gd name="connsiteY43" fmla="*/ 3495675 h 4496940"/>
                  <a:gd name="connsiteX44" fmla="*/ 4059577 w 4519987"/>
                  <a:gd name="connsiteY44" fmla="*/ 3533775 h 4496940"/>
                  <a:gd name="connsiteX45" fmla="*/ 4002427 w 4519987"/>
                  <a:gd name="connsiteY45" fmla="*/ 3600450 h 4496940"/>
                  <a:gd name="connsiteX46" fmla="*/ 3983377 w 4519987"/>
                  <a:gd name="connsiteY46" fmla="*/ 3629025 h 4496940"/>
                  <a:gd name="connsiteX47" fmla="*/ 3954802 w 4519987"/>
                  <a:gd name="connsiteY47" fmla="*/ 3648075 h 4496940"/>
                  <a:gd name="connsiteX48" fmla="*/ 3907177 w 4519987"/>
                  <a:gd name="connsiteY48" fmla="*/ 3686175 h 4496940"/>
                  <a:gd name="connsiteX49" fmla="*/ 3869077 w 4519987"/>
                  <a:gd name="connsiteY49" fmla="*/ 3724275 h 4496940"/>
                  <a:gd name="connsiteX50" fmla="*/ 3792877 w 4519987"/>
                  <a:gd name="connsiteY50" fmla="*/ 3781425 h 4496940"/>
                  <a:gd name="connsiteX51" fmla="*/ 3783352 w 4519987"/>
                  <a:gd name="connsiteY51" fmla="*/ 3810000 h 4496940"/>
                  <a:gd name="connsiteX52" fmla="*/ 3745252 w 4519987"/>
                  <a:gd name="connsiteY52" fmla="*/ 3819525 h 4496940"/>
                  <a:gd name="connsiteX53" fmla="*/ 3678577 w 4519987"/>
                  <a:gd name="connsiteY53" fmla="*/ 3848100 h 4496940"/>
                  <a:gd name="connsiteX54" fmla="*/ 3659527 w 4519987"/>
                  <a:gd name="connsiteY54" fmla="*/ 3971925 h 4496940"/>
                  <a:gd name="connsiteX55" fmla="*/ 3630952 w 4519987"/>
                  <a:gd name="connsiteY55" fmla="*/ 4010025 h 4496940"/>
                  <a:gd name="connsiteX56" fmla="*/ 3621427 w 4519987"/>
                  <a:gd name="connsiteY56" fmla="*/ 4038600 h 4496940"/>
                  <a:gd name="connsiteX57" fmla="*/ 3554752 w 4519987"/>
                  <a:gd name="connsiteY57" fmla="*/ 4095750 h 4496940"/>
                  <a:gd name="connsiteX58" fmla="*/ 3516652 w 4519987"/>
                  <a:gd name="connsiteY58" fmla="*/ 4114800 h 4496940"/>
                  <a:gd name="connsiteX59" fmla="*/ 3497602 w 4519987"/>
                  <a:gd name="connsiteY59" fmla="*/ 4143375 h 4496940"/>
                  <a:gd name="connsiteX60" fmla="*/ 3383302 w 4519987"/>
                  <a:gd name="connsiteY60" fmla="*/ 4210050 h 4496940"/>
                  <a:gd name="connsiteX61" fmla="*/ 3335677 w 4519987"/>
                  <a:gd name="connsiteY61" fmla="*/ 4238625 h 4496940"/>
                  <a:gd name="connsiteX62" fmla="*/ 3288052 w 4519987"/>
                  <a:gd name="connsiteY62" fmla="*/ 4248150 h 4496940"/>
                  <a:gd name="connsiteX63" fmla="*/ 3240427 w 4519987"/>
                  <a:gd name="connsiteY63" fmla="*/ 4267200 h 4496940"/>
                  <a:gd name="connsiteX64" fmla="*/ 3068977 w 4519987"/>
                  <a:gd name="connsiteY64" fmla="*/ 4286250 h 4496940"/>
                  <a:gd name="connsiteX65" fmla="*/ 2935627 w 4519987"/>
                  <a:gd name="connsiteY65" fmla="*/ 4333875 h 4496940"/>
                  <a:gd name="connsiteX66" fmla="*/ 2811802 w 4519987"/>
                  <a:gd name="connsiteY66" fmla="*/ 4371975 h 4496940"/>
                  <a:gd name="connsiteX67" fmla="*/ 2745127 w 4519987"/>
                  <a:gd name="connsiteY67" fmla="*/ 4410075 h 4496940"/>
                  <a:gd name="connsiteX68" fmla="*/ 2697502 w 4519987"/>
                  <a:gd name="connsiteY68" fmla="*/ 4429125 h 4496940"/>
                  <a:gd name="connsiteX69" fmla="*/ 2640352 w 4519987"/>
                  <a:gd name="connsiteY69" fmla="*/ 4457700 h 4496940"/>
                  <a:gd name="connsiteX70" fmla="*/ 2583202 w 4519987"/>
                  <a:gd name="connsiteY70" fmla="*/ 4467225 h 4496940"/>
                  <a:gd name="connsiteX71" fmla="*/ 2545102 w 4519987"/>
                  <a:gd name="connsiteY71" fmla="*/ 4486275 h 4496940"/>
                  <a:gd name="connsiteX72" fmla="*/ 2306977 w 4519987"/>
                  <a:gd name="connsiteY72" fmla="*/ 4476750 h 4496940"/>
                  <a:gd name="connsiteX73" fmla="*/ 2202202 w 4519987"/>
                  <a:gd name="connsiteY73" fmla="*/ 4457700 h 4496940"/>
                  <a:gd name="connsiteX74" fmla="*/ 2126002 w 4519987"/>
                  <a:gd name="connsiteY74" fmla="*/ 4429125 h 4496940"/>
                  <a:gd name="connsiteX75" fmla="*/ 1935502 w 4519987"/>
                  <a:gd name="connsiteY75" fmla="*/ 4400550 h 4496940"/>
                  <a:gd name="connsiteX76" fmla="*/ 1821202 w 4519987"/>
                  <a:gd name="connsiteY76" fmla="*/ 4371975 h 4496940"/>
                  <a:gd name="connsiteX77" fmla="*/ 1754527 w 4519987"/>
                  <a:gd name="connsiteY77" fmla="*/ 4352925 h 4496940"/>
                  <a:gd name="connsiteX78" fmla="*/ 1687852 w 4519987"/>
                  <a:gd name="connsiteY78" fmla="*/ 4343400 h 4496940"/>
                  <a:gd name="connsiteX79" fmla="*/ 1573552 w 4519987"/>
                  <a:gd name="connsiteY79" fmla="*/ 4305300 h 4496940"/>
                  <a:gd name="connsiteX80" fmla="*/ 1402102 w 4519987"/>
                  <a:gd name="connsiteY80" fmla="*/ 4276725 h 4496940"/>
                  <a:gd name="connsiteX81" fmla="*/ 1287802 w 4519987"/>
                  <a:gd name="connsiteY81" fmla="*/ 4229100 h 4496940"/>
                  <a:gd name="connsiteX82" fmla="*/ 1221127 w 4519987"/>
                  <a:gd name="connsiteY82" fmla="*/ 4200525 h 4496940"/>
                  <a:gd name="connsiteX83" fmla="*/ 1144927 w 4519987"/>
                  <a:gd name="connsiteY83" fmla="*/ 4171950 h 4496940"/>
                  <a:gd name="connsiteX84" fmla="*/ 1087777 w 4519987"/>
                  <a:gd name="connsiteY84" fmla="*/ 4143375 h 4496940"/>
                  <a:gd name="connsiteX85" fmla="*/ 1030627 w 4519987"/>
                  <a:gd name="connsiteY85" fmla="*/ 4124325 h 4496940"/>
                  <a:gd name="connsiteX86" fmla="*/ 925852 w 4519987"/>
                  <a:gd name="connsiteY86" fmla="*/ 4067175 h 4496940"/>
                  <a:gd name="connsiteX87" fmla="*/ 830602 w 4519987"/>
                  <a:gd name="connsiteY87" fmla="*/ 3981450 h 4496940"/>
                  <a:gd name="connsiteX88" fmla="*/ 763927 w 4519987"/>
                  <a:gd name="connsiteY88" fmla="*/ 3914775 h 4496940"/>
                  <a:gd name="connsiteX89" fmla="*/ 725827 w 4519987"/>
                  <a:gd name="connsiteY89" fmla="*/ 3876675 h 4496940"/>
                  <a:gd name="connsiteX90" fmla="*/ 697252 w 4519987"/>
                  <a:gd name="connsiteY90" fmla="*/ 3838575 h 4496940"/>
                  <a:gd name="connsiteX91" fmla="*/ 640102 w 4519987"/>
                  <a:gd name="connsiteY91" fmla="*/ 3781425 h 4496940"/>
                  <a:gd name="connsiteX92" fmla="*/ 611527 w 4519987"/>
                  <a:gd name="connsiteY92" fmla="*/ 3733800 h 4496940"/>
                  <a:gd name="connsiteX93" fmla="*/ 554377 w 4519987"/>
                  <a:gd name="connsiteY93" fmla="*/ 3657600 h 4496940"/>
                  <a:gd name="connsiteX94" fmla="*/ 525802 w 4519987"/>
                  <a:gd name="connsiteY94" fmla="*/ 3609975 h 4496940"/>
                  <a:gd name="connsiteX95" fmla="*/ 497227 w 4519987"/>
                  <a:gd name="connsiteY95" fmla="*/ 3552825 h 4496940"/>
                  <a:gd name="connsiteX96" fmla="*/ 440077 w 4519987"/>
                  <a:gd name="connsiteY96" fmla="*/ 3495675 h 4496940"/>
                  <a:gd name="connsiteX97" fmla="*/ 411502 w 4519987"/>
                  <a:gd name="connsiteY97" fmla="*/ 3448050 h 4496940"/>
                  <a:gd name="connsiteX98" fmla="*/ 278152 w 4519987"/>
                  <a:gd name="connsiteY98" fmla="*/ 3257550 h 4496940"/>
                  <a:gd name="connsiteX99" fmla="*/ 249577 w 4519987"/>
                  <a:gd name="connsiteY99" fmla="*/ 3200400 h 4496940"/>
                  <a:gd name="connsiteX100" fmla="*/ 240052 w 4519987"/>
                  <a:gd name="connsiteY100" fmla="*/ 3162300 h 4496940"/>
                  <a:gd name="connsiteX101" fmla="*/ 221002 w 4519987"/>
                  <a:gd name="connsiteY101" fmla="*/ 3105150 h 4496940"/>
                  <a:gd name="connsiteX102" fmla="*/ 173377 w 4519987"/>
                  <a:gd name="connsiteY102" fmla="*/ 3019425 h 4496940"/>
                  <a:gd name="connsiteX103" fmla="*/ 144802 w 4519987"/>
                  <a:gd name="connsiteY103" fmla="*/ 2924175 h 4496940"/>
                  <a:gd name="connsiteX104" fmla="*/ 68602 w 4519987"/>
                  <a:gd name="connsiteY104" fmla="*/ 2724150 h 4496940"/>
                  <a:gd name="connsiteX105" fmla="*/ 49552 w 4519987"/>
                  <a:gd name="connsiteY105" fmla="*/ 2638425 h 4496940"/>
                  <a:gd name="connsiteX106" fmla="*/ 40027 w 4519987"/>
                  <a:gd name="connsiteY106" fmla="*/ 2562225 h 4496940"/>
                  <a:gd name="connsiteX107" fmla="*/ 30502 w 4519987"/>
                  <a:gd name="connsiteY107" fmla="*/ 2514600 h 4496940"/>
                  <a:gd name="connsiteX108" fmla="*/ 11452 w 4519987"/>
                  <a:gd name="connsiteY108" fmla="*/ 2400300 h 4496940"/>
                  <a:gd name="connsiteX109" fmla="*/ 20977 w 4519987"/>
                  <a:gd name="connsiteY109" fmla="*/ 1905000 h 4496940"/>
                  <a:gd name="connsiteX110" fmla="*/ 30502 w 4519987"/>
                  <a:gd name="connsiteY110" fmla="*/ 1838325 h 4496940"/>
                  <a:gd name="connsiteX111" fmla="*/ 49552 w 4519987"/>
                  <a:gd name="connsiteY111" fmla="*/ 1781175 h 4496940"/>
                  <a:gd name="connsiteX112" fmla="*/ 59077 w 4519987"/>
                  <a:gd name="connsiteY112" fmla="*/ 1743075 h 4496940"/>
                  <a:gd name="connsiteX113" fmla="*/ 78127 w 4519987"/>
                  <a:gd name="connsiteY113" fmla="*/ 1685925 h 4496940"/>
                  <a:gd name="connsiteX114" fmla="*/ 87652 w 4519987"/>
                  <a:gd name="connsiteY114" fmla="*/ 1638300 h 4496940"/>
                  <a:gd name="connsiteX115" fmla="*/ 106702 w 4519987"/>
                  <a:gd name="connsiteY115" fmla="*/ 1590675 h 4496940"/>
                  <a:gd name="connsiteX116" fmla="*/ 135277 w 4519987"/>
                  <a:gd name="connsiteY116" fmla="*/ 1504950 h 4496940"/>
                  <a:gd name="connsiteX117" fmla="*/ 154327 w 4519987"/>
                  <a:gd name="connsiteY117" fmla="*/ 1419225 h 4496940"/>
                  <a:gd name="connsiteX118" fmla="*/ 230527 w 4519987"/>
                  <a:gd name="connsiteY118" fmla="*/ 1276350 h 4496940"/>
                  <a:gd name="connsiteX119" fmla="*/ 240052 w 4519987"/>
                  <a:gd name="connsiteY119" fmla="*/ 1247775 h 4496940"/>
                  <a:gd name="connsiteX120" fmla="*/ 268627 w 4519987"/>
                  <a:gd name="connsiteY120" fmla="*/ 1200150 h 4496940"/>
                  <a:gd name="connsiteX121" fmla="*/ 287677 w 4519987"/>
                  <a:gd name="connsiteY121" fmla="*/ 1152525 h 4496940"/>
                  <a:gd name="connsiteX122" fmla="*/ 316252 w 4519987"/>
                  <a:gd name="connsiteY122" fmla="*/ 1114425 h 4496940"/>
                  <a:gd name="connsiteX123" fmla="*/ 363877 w 4519987"/>
                  <a:gd name="connsiteY123" fmla="*/ 1038225 h 4496940"/>
                  <a:gd name="connsiteX124" fmla="*/ 382927 w 4519987"/>
                  <a:gd name="connsiteY124" fmla="*/ 1009650 h 4496940"/>
                  <a:gd name="connsiteX125" fmla="*/ 440077 w 4519987"/>
                  <a:gd name="connsiteY125" fmla="*/ 904875 h 4496940"/>
                  <a:gd name="connsiteX126" fmla="*/ 478177 w 4519987"/>
                  <a:gd name="connsiteY126" fmla="*/ 857250 h 4496940"/>
                  <a:gd name="connsiteX127" fmla="*/ 497227 w 4519987"/>
                  <a:gd name="connsiteY127" fmla="*/ 828675 h 4496940"/>
                  <a:gd name="connsiteX128" fmla="*/ 535327 w 4519987"/>
                  <a:gd name="connsiteY128" fmla="*/ 800100 h 4496940"/>
                  <a:gd name="connsiteX129" fmla="*/ 602002 w 4519987"/>
                  <a:gd name="connsiteY129" fmla="*/ 733425 h 4496940"/>
                  <a:gd name="connsiteX130" fmla="*/ 668677 w 4519987"/>
                  <a:gd name="connsiteY130" fmla="*/ 676275 h 4496940"/>
                  <a:gd name="connsiteX131" fmla="*/ 697252 w 4519987"/>
                  <a:gd name="connsiteY131" fmla="*/ 657225 h 4496940"/>
                  <a:gd name="connsiteX132" fmla="*/ 840127 w 4519987"/>
                  <a:gd name="connsiteY132" fmla="*/ 533400 h 4496940"/>
                  <a:gd name="connsiteX133" fmla="*/ 887752 w 4519987"/>
                  <a:gd name="connsiteY133" fmla="*/ 504825 h 4496940"/>
                  <a:gd name="connsiteX134" fmla="*/ 1167152 w 4519987"/>
                  <a:gd name="connsiteY134" fmla="*/ 311150 h 4496940"/>
                  <a:gd name="connsiteX135" fmla="*/ 1268752 w 4519987"/>
                  <a:gd name="connsiteY135" fmla="*/ 285750 h 4496940"/>
                  <a:gd name="connsiteX136" fmla="*/ 1411627 w 4519987"/>
                  <a:gd name="connsiteY136" fmla="*/ 190500 h 4496940"/>
                  <a:gd name="connsiteX137" fmla="*/ 1449727 w 4519987"/>
                  <a:gd name="connsiteY137" fmla="*/ 161925 h 4496940"/>
                  <a:gd name="connsiteX138" fmla="*/ 1525927 w 4519987"/>
                  <a:gd name="connsiteY138" fmla="*/ 152400 h 4496940"/>
                  <a:gd name="connsiteX139" fmla="*/ 1583077 w 4519987"/>
                  <a:gd name="connsiteY139" fmla="*/ 142875 h 4496940"/>
                  <a:gd name="connsiteX140" fmla="*/ 1716427 w 4519987"/>
                  <a:gd name="connsiteY140" fmla="*/ 123825 h 4496940"/>
                  <a:gd name="connsiteX141" fmla="*/ 1811677 w 4519987"/>
                  <a:gd name="connsiteY141" fmla="*/ 114300 h 4496940"/>
                  <a:gd name="connsiteX142" fmla="*/ 1859302 w 4519987"/>
                  <a:gd name="connsiteY142" fmla="*/ 104775 h 4496940"/>
                  <a:gd name="connsiteX143" fmla="*/ 1916452 w 4519987"/>
                  <a:gd name="connsiteY143" fmla="*/ 95250 h 4496940"/>
                  <a:gd name="connsiteX144" fmla="*/ 2030752 w 4519987"/>
                  <a:gd name="connsiteY144" fmla="*/ 66675 h 4496940"/>
                  <a:gd name="connsiteX145" fmla="*/ 2097427 w 4519987"/>
                  <a:gd name="connsiteY145" fmla="*/ 47625 h 4496940"/>
                  <a:gd name="connsiteX146" fmla="*/ 2164102 w 4519987"/>
                  <a:gd name="connsiteY146" fmla="*/ 38100 h 4496940"/>
                  <a:gd name="connsiteX147" fmla="*/ 2392702 w 4519987"/>
                  <a:gd name="connsiteY14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192927 w 4519987"/>
                  <a:gd name="connsiteY24" fmla="*/ 1057275 h 4496940"/>
                  <a:gd name="connsiteX25" fmla="*/ 4202452 w 4519987"/>
                  <a:gd name="connsiteY25" fmla="*/ 1085850 h 4496940"/>
                  <a:gd name="connsiteX26" fmla="*/ 4250077 w 4519987"/>
                  <a:gd name="connsiteY26" fmla="*/ 1143000 h 4496940"/>
                  <a:gd name="connsiteX27" fmla="*/ 4259602 w 4519987"/>
                  <a:gd name="connsiteY27" fmla="*/ 1190625 h 4496940"/>
                  <a:gd name="connsiteX28" fmla="*/ 4307227 w 4519987"/>
                  <a:gd name="connsiteY28" fmla="*/ 1266825 h 4496940"/>
                  <a:gd name="connsiteX29" fmla="*/ 4345327 w 4519987"/>
                  <a:gd name="connsiteY29" fmla="*/ 1362075 h 4496940"/>
                  <a:gd name="connsiteX30" fmla="*/ 4373902 w 4519987"/>
                  <a:gd name="connsiteY30" fmla="*/ 1428750 h 4496940"/>
                  <a:gd name="connsiteX31" fmla="*/ 4392952 w 4519987"/>
                  <a:gd name="connsiteY31" fmla="*/ 1552575 h 4496940"/>
                  <a:gd name="connsiteX32" fmla="*/ 4402477 w 4519987"/>
                  <a:gd name="connsiteY32" fmla="*/ 1590675 h 4496940"/>
                  <a:gd name="connsiteX33" fmla="*/ 4431052 w 4519987"/>
                  <a:gd name="connsiteY33" fmla="*/ 1685925 h 4496940"/>
                  <a:gd name="connsiteX34" fmla="*/ 4519952 w 4519987"/>
                  <a:gd name="connsiteY34" fmla="*/ 2181225 h 4496940"/>
                  <a:gd name="connsiteX35" fmla="*/ 4446927 w 4519987"/>
                  <a:gd name="connsiteY35" fmla="*/ 2768600 h 4496940"/>
                  <a:gd name="connsiteX36" fmla="*/ 4383427 w 4519987"/>
                  <a:gd name="connsiteY36" fmla="*/ 2990850 h 4496940"/>
                  <a:gd name="connsiteX37" fmla="*/ 4278652 w 4519987"/>
                  <a:gd name="connsiteY37" fmla="*/ 3248025 h 4496940"/>
                  <a:gd name="connsiteX38" fmla="*/ 4259602 w 4519987"/>
                  <a:gd name="connsiteY38" fmla="*/ 3276600 h 4496940"/>
                  <a:gd name="connsiteX39" fmla="*/ 4221502 w 4519987"/>
                  <a:gd name="connsiteY39" fmla="*/ 3333750 h 4496940"/>
                  <a:gd name="connsiteX40" fmla="*/ 4211977 w 4519987"/>
                  <a:gd name="connsiteY40" fmla="*/ 3362325 h 4496940"/>
                  <a:gd name="connsiteX41" fmla="*/ 4183402 w 4519987"/>
                  <a:gd name="connsiteY41" fmla="*/ 3400425 h 4496940"/>
                  <a:gd name="connsiteX42" fmla="*/ 4164352 w 4519987"/>
                  <a:gd name="connsiteY42" fmla="*/ 3429000 h 4496940"/>
                  <a:gd name="connsiteX43" fmla="*/ 4088152 w 4519987"/>
                  <a:gd name="connsiteY43" fmla="*/ 3495675 h 4496940"/>
                  <a:gd name="connsiteX44" fmla="*/ 4059577 w 4519987"/>
                  <a:gd name="connsiteY44" fmla="*/ 3533775 h 4496940"/>
                  <a:gd name="connsiteX45" fmla="*/ 4002427 w 4519987"/>
                  <a:gd name="connsiteY45" fmla="*/ 3600450 h 4496940"/>
                  <a:gd name="connsiteX46" fmla="*/ 3983377 w 4519987"/>
                  <a:gd name="connsiteY46" fmla="*/ 3629025 h 4496940"/>
                  <a:gd name="connsiteX47" fmla="*/ 3954802 w 4519987"/>
                  <a:gd name="connsiteY47" fmla="*/ 3648075 h 4496940"/>
                  <a:gd name="connsiteX48" fmla="*/ 3907177 w 4519987"/>
                  <a:gd name="connsiteY48" fmla="*/ 3686175 h 4496940"/>
                  <a:gd name="connsiteX49" fmla="*/ 3869077 w 4519987"/>
                  <a:gd name="connsiteY49" fmla="*/ 3724275 h 4496940"/>
                  <a:gd name="connsiteX50" fmla="*/ 3792877 w 4519987"/>
                  <a:gd name="connsiteY50" fmla="*/ 3781425 h 4496940"/>
                  <a:gd name="connsiteX51" fmla="*/ 3783352 w 4519987"/>
                  <a:gd name="connsiteY51" fmla="*/ 3810000 h 4496940"/>
                  <a:gd name="connsiteX52" fmla="*/ 3745252 w 4519987"/>
                  <a:gd name="connsiteY52" fmla="*/ 3819525 h 4496940"/>
                  <a:gd name="connsiteX53" fmla="*/ 3678577 w 4519987"/>
                  <a:gd name="connsiteY53" fmla="*/ 3848100 h 4496940"/>
                  <a:gd name="connsiteX54" fmla="*/ 3659527 w 4519987"/>
                  <a:gd name="connsiteY54" fmla="*/ 3971925 h 4496940"/>
                  <a:gd name="connsiteX55" fmla="*/ 3630952 w 4519987"/>
                  <a:gd name="connsiteY55" fmla="*/ 4010025 h 4496940"/>
                  <a:gd name="connsiteX56" fmla="*/ 3621427 w 4519987"/>
                  <a:gd name="connsiteY56" fmla="*/ 4038600 h 4496940"/>
                  <a:gd name="connsiteX57" fmla="*/ 3554752 w 4519987"/>
                  <a:gd name="connsiteY57" fmla="*/ 4095750 h 4496940"/>
                  <a:gd name="connsiteX58" fmla="*/ 3516652 w 4519987"/>
                  <a:gd name="connsiteY58" fmla="*/ 4114800 h 4496940"/>
                  <a:gd name="connsiteX59" fmla="*/ 3497602 w 4519987"/>
                  <a:gd name="connsiteY59" fmla="*/ 4143375 h 4496940"/>
                  <a:gd name="connsiteX60" fmla="*/ 3383302 w 4519987"/>
                  <a:gd name="connsiteY60" fmla="*/ 4210050 h 4496940"/>
                  <a:gd name="connsiteX61" fmla="*/ 3335677 w 4519987"/>
                  <a:gd name="connsiteY61" fmla="*/ 4238625 h 4496940"/>
                  <a:gd name="connsiteX62" fmla="*/ 3288052 w 4519987"/>
                  <a:gd name="connsiteY62" fmla="*/ 4248150 h 4496940"/>
                  <a:gd name="connsiteX63" fmla="*/ 3240427 w 4519987"/>
                  <a:gd name="connsiteY63" fmla="*/ 4267200 h 4496940"/>
                  <a:gd name="connsiteX64" fmla="*/ 3068977 w 4519987"/>
                  <a:gd name="connsiteY64" fmla="*/ 4286250 h 4496940"/>
                  <a:gd name="connsiteX65" fmla="*/ 2935627 w 4519987"/>
                  <a:gd name="connsiteY65" fmla="*/ 4333875 h 4496940"/>
                  <a:gd name="connsiteX66" fmla="*/ 2811802 w 4519987"/>
                  <a:gd name="connsiteY66" fmla="*/ 4371975 h 4496940"/>
                  <a:gd name="connsiteX67" fmla="*/ 2745127 w 4519987"/>
                  <a:gd name="connsiteY67" fmla="*/ 4410075 h 4496940"/>
                  <a:gd name="connsiteX68" fmla="*/ 2697502 w 4519987"/>
                  <a:gd name="connsiteY68" fmla="*/ 4429125 h 4496940"/>
                  <a:gd name="connsiteX69" fmla="*/ 2640352 w 4519987"/>
                  <a:gd name="connsiteY69" fmla="*/ 4457700 h 4496940"/>
                  <a:gd name="connsiteX70" fmla="*/ 2583202 w 4519987"/>
                  <a:gd name="connsiteY70" fmla="*/ 4467225 h 4496940"/>
                  <a:gd name="connsiteX71" fmla="*/ 2545102 w 4519987"/>
                  <a:gd name="connsiteY71" fmla="*/ 4486275 h 4496940"/>
                  <a:gd name="connsiteX72" fmla="*/ 2306977 w 4519987"/>
                  <a:gd name="connsiteY72" fmla="*/ 4476750 h 4496940"/>
                  <a:gd name="connsiteX73" fmla="*/ 2202202 w 4519987"/>
                  <a:gd name="connsiteY73" fmla="*/ 4457700 h 4496940"/>
                  <a:gd name="connsiteX74" fmla="*/ 2126002 w 4519987"/>
                  <a:gd name="connsiteY74" fmla="*/ 4429125 h 4496940"/>
                  <a:gd name="connsiteX75" fmla="*/ 1935502 w 4519987"/>
                  <a:gd name="connsiteY75" fmla="*/ 4400550 h 4496940"/>
                  <a:gd name="connsiteX76" fmla="*/ 1821202 w 4519987"/>
                  <a:gd name="connsiteY76" fmla="*/ 4371975 h 4496940"/>
                  <a:gd name="connsiteX77" fmla="*/ 1754527 w 4519987"/>
                  <a:gd name="connsiteY77" fmla="*/ 4352925 h 4496940"/>
                  <a:gd name="connsiteX78" fmla="*/ 1687852 w 4519987"/>
                  <a:gd name="connsiteY78" fmla="*/ 4343400 h 4496940"/>
                  <a:gd name="connsiteX79" fmla="*/ 1573552 w 4519987"/>
                  <a:gd name="connsiteY79" fmla="*/ 4305300 h 4496940"/>
                  <a:gd name="connsiteX80" fmla="*/ 1402102 w 4519987"/>
                  <a:gd name="connsiteY80" fmla="*/ 4276725 h 4496940"/>
                  <a:gd name="connsiteX81" fmla="*/ 1287802 w 4519987"/>
                  <a:gd name="connsiteY81" fmla="*/ 4229100 h 4496940"/>
                  <a:gd name="connsiteX82" fmla="*/ 1221127 w 4519987"/>
                  <a:gd name="connsiteY82" fmla="*/ 4200525 h 4496940"/>
                  <a:gd name="connsiteX83" fmla="*/ 1144927 w 4519987"/>
                  <a:gd name="connsiteY83" fmla="*/ 4171950 h 4496940"/>
                  <a:gd name="connsiteX84" fmla="*/ 1087777 w 4519987"/>
                  <a:gd name="connsiteY84" fmla="*/ 4143375 h 4496940"/>
                  <a:gd name="connsiteX85" fmla="*/ 1030627 w 4519987"/>
                  <a:gd name="connsiteY85" fmla="*/ 4124325 h 4496940"/>
                  <a:gd name="connsiteX86" fmla="*/ 925852 w 4519987"/>
                  <a:gd name="connsiteY86" fmla="*/ 4067175 h 4496940"/>
                  <a:gd name="connsiteX87" fmla="*/ 830602 w 4519987"/>
                  <a:gd name="connsiteY87" fmla="*/ 3981450 h 4496940"/>
                  <a:gd name="connsiteX88" fmla="*/ 763927 w 4519987"/>
                  <a:gd name="connsiteY88" fmla="*/ 3914775 h 4496940"/>
                  <a:gd name="connsiteX89" fmla="*/ 725827 w 4519987"/>
                  <a:gd name="connsiteY89" fmla="*/ 3876675 h 4496940"/>
                  <a:gd name="connsiteX90" fmla="*/ 697252 w 4519987"/>
                  <a:gd name="connsiteY90" fmla="*/ 3838575 h 4496940"/>
                  <a:gd name="connsiteX91" fmla="*/ 640102 w 4519987"/>
                  <a:gd name="connsiteY91" fmla="*/ 3781425 h 4496940"/>
                  <a:gd name="connsiteX92" fmla="*/ 611527 w 4519987"/>
                  <a:gd name="connsiteY92" fmla="*/ 3733800 h 4496940"/>
                  <a:gd name="connsiteX93" fmla="*/ 554377 w 4519987"/>
                  <a:gd name="connsiteY93" fmla="*/ 3657600 h 4496940"/>
                  <a:gd name="connsiteX94" fmla="*/ 525802 w 4519987"/>
                  <a:gd name="connsiteY94" fmla="*/ 3609975 h 4496940"/>
                  <a:gd name="connsiteX95" fmla="*/ 497227 w 4519987"/>
                  <a:gd name="connsiteY95" fmla="*/ 3552825 h 4496940"/>
                  <a:gd name="connsiteX96" fmla="*/ 440077 w 4519987"/>
                  <a:gd name="connsiteY96" fmla="*/ 3495675 h 4496940"/>
                  <a:gd name="connsiteX97" fmla="*/ 411502 w 4519987"/>
                  <a:gd name="connsiteY97" fmla="*/ 3448050 h 4496940"/>
                  <a:gd name="connsiteX98" fmla="*/ 278152 w 4519987"/>
                  <a:gd name="connsiteY98" fmla="*/ 3257550 h 4496940"/>
                  <a:gd name="connsiteX99" fmla="*/ 249577 w 4519987"/>
                  <a:gd name="connsiteY99" fmla="*/ 3200400 h 4496940"/>
                  <a:gd name="connsiteX100" fmla="*/ 240052 w 4519987"/>
                  <a:gd name="connsiteY100" fmla="*/ 3162300 h 4496940"/>
                  <a:gd name="connsiteX101" fmla="*/ 221002 w 4519987"/>
                  <a:gd name="connsiteY101" fmla="*/ 3105150 h 4496940"/>
                  <a:gd name="connsiteX102" fmla="*/ 173377 w 4519987"/>
                  <a:gd name="connsiteY102" fmla="*/ 3019425 h 4496940"/>
                  <a:gd name="connsiteX103" fmla="*/ 144802 w 4519987"/>
                  <a:gd name="connsiteY103" fmla="*/ 2924175 h 4496940"/>
                  <a:gd name="connsiteX104" fmla="*/ 68602 w 4519987"/>
                  <a:gd name="connsiteY104" fmla="*/ 2724150 h 4496940"/>
                  <a:gd name="connsiteX105" fmla="*/ 49552 w 4519987"/>
                  <a:gd name="connsiteY105" fmla="*/ 2638425 h 4496940"/>
                  <a:gd name="connsiteX106" fmla="*/ 40027 w 4519987"/>
                  <a:gd name="connsiteY106" fmla="*/ 2562225 h 4496940"/>
                  <a:gd name="connsiteX107" fmla="*/ 30502 w 4519987"/>
                  <a:gd name="connsiteY107" fmla="*/ 2514600 h 4496940"/>
                  <a:gd name="connsiteX108" fmla="*/ 11452 w 4519987"/>
                  <a:gd name="connsiteY108" fmla="*/ 2400300 h 4496940"/>
                  <a:gd name="connsiteX109" fmla="*/ 20977 w 4519987"/>
                  <a:gd name="connsiteY109" fmla="*/ 1905000 h 4496940"/>
                  <a:gd name="connsiteX110" fmla="*/ 30502 w 4519987"/>
                  <a:gd name="connsiteY110" fmla="*/ 1838325 h 4496940"/>
                  <a:gd name="connsiteX111" fmla="*/ 49552 w 4519987"/>
                  <a:gd name="connsiteY111" fmla="*/ 1781175 h 4496940"/>
                  <a:gd name="connsiteX112" fmla="*/ 59077 w 4519987"/>
                  <a:gd name="connsiteY112" fmla="*/ 1743075 h 4496940"/>
                  <a:gd name="connsiteX113" fmla="*/ 78127 w 4519987"/>
                  <a:gd name="connsiteY113" fmla="*/ 1685925 h 4496940"/>
                  <a:gd name="connsiteX114" fmla="*/ 87652 w 4519987"/>
                  <a:gd name="connsiteY114" fmla="*/ 1638300 h 4496940"/>
                  <a:gd name="connsiteX115" fmla="*/ 106702 w 4519987"/>
                  <a:gd name="connsiteY115" fmla="*/ 1590675 h 4496940"/>
                  <a:gd name="connsiteX116" fmla="*/ 135277 w 4519987"/>
                  <a:gd name="connsiteY116" fmla="*/ 1504950 h 4496940"/>
                  <a:gd name="connsiteX117" fmla="*/ 154327 w 4519987"/>
                  <a:gd name="connsiteY117" fmla="*/ 1419225 h 4496940"/>
                  <a:gd name="connsiteX118" fmla="*/ 230527 w 4519987"/>
                  <a:gd name="connsiteY118" fmla="*/ 1276350 h 4496940"/>
                  <a:gd name="connsiteX119" fmla="*/ 240052 w 4519987"/>
                  <a:gd name="connsiteY119" fmla="*/ 1247775 h 4496940"/>
                  <a:gd name="connsiteX120" fmla="*/ 268627 w 4519987"/>
                  <a:gd name="connsiteY120" fmla="*/ 1200150 h 4496940"/>
                  <a:gd name="connsiteX121" fmla="*/ 287677 w 4519987"/>
                  <a:gd name="connsiteY121" fmla="*/ 1152525 h 4496940"/>
                  <a:gd name="connsiteX122" fmla="*/ 316252 w 4519987"/>
                  <a:gd name="connsiteY122" fmla="*/ 1114425 h 4496940"/>
                  <a:gd name="connsiteX123" fmla="*/ 363877 w 4519987"/>
                  <a:gd name="connsiteY123" fmla="*/ 1038225 h 4496940"/>
                  <a:gd name="connsiteX124" fmla="*/ 382927 w 4519987"/>
                  <a:gd name="connsiteY124" fmla="*/ 1009650 h 4496940"/>
                  <a:gd name="connsiteX125" fmla="*/ 440077 w 4519987"/>
                  <a:gd name="connsiteY125" fmla="*/ 904875 h 4496940"/>
                  <a:gd name="connsiteX126" fmla="*/ 478177 w 4519987"/>
                  <a:gd name="connsiteY126" fmla="*/ 857250 h 4496940"/>
                  <a:gd name="connsiteX127" fmla="*/ 497227 w 4519987"/>
                  <a:gd name="connsiteY127" fmla="*/ 828675 h 4496940"/>
                  <a:gd name="connsiteX128" fmla="*/ 535327 w 4519987"/>
                  <a:gd name="connsiteY128" fmla="*/ 800100 h 4496940"/>
                  <a:gd name="connsiteX129" fmla="*/ 602002 w 4519987"/>
                  <a:gd name="connsiteY129" fmla="*/ 733425 h 4496940"/>
                  <a:gd name="connsiteX130" fmla="*/ 668677 w 4519987"/>
                  <a:gd name="connsiteY130" fmla="*/ 676275 h 4496940"/>
                  <a:gd name="connsiteX131" fmla="*/ 697252 w 4519987"/>
                  <a:gd name="connsiteY131" fmla="*/ 657225 h 4496940"/>
                  <a:gd name="connsiteX132" fmla="*/ 840127 w 4519987"/>
                  <a:gd name="connsiteY132" fmla="*/ 533400 h 4496940"/>
                  <a:gd name="connsiteX133" fmla="*/ 887752 w 4519987"/>
                  <a:gd name="connsiteY133" fmla="*/ 504825 h 4496940"/>
                  <a:gd name="connsiteX134" fmla="*/ 1167152 w 4519987"/>
                  <a:gd name="connsiteY134" fmla="*/ 311150 h 4496940"/>
                  <a:gd name="connsiteX135" fmla="*/ 1268752 w 4519987"/>
                  <a:gd name="connsiteY135" fmla="*/ 285750 h 4496940"/>
                  <a:gd name="connsiteX136" fmla="*/ 1411627 w 4519987"/>
                  <a:gd name="connsiteY136" fmla="*/ 190500 h 4496940"/>
                  <a:gd name="connsiteX137" fmla="*/ 1449727 w 4519987"/>
                  <a:gd name="connsiteY137" fmla="*/ 161925 h 4496940"/>
                  <a:gd name="connsiteX138" fmla="*/ 1525927 w 4519987"/>
                  <a:gd name="connsiteY138" fmla="*/ 152400 h 4496940"/>
                  <a:gd name="connsiteX139" fmla="*/ 1583077 w 4519987"/>
                  <a:gd name="connsiteY139" fmla="*/ 142875 h 4496940"/>
                  <a:gd name="connsiteX140" fmla="*/ 1716427 w 4519987"/>
                  <a:gd name="connsiteY140" fmla="*/ 123825 h 4496940"/>
                  <a:gd name="connsiteX141" fmla="*/ 1811677 w 4519987"/>
                  <a:gd name="connsiteY141" fmla="*/ 114300 h 4496940"/>
                  <a:gd name="connsiteX142" fmla="*/ 1859302 w 4519987"/>
                  <a:gd name="connsiteY142" fmla="*/ 104775 h 4496940"/>
                  <a:gd name="connsiteX143" fmla="*/ 1916452 w 4519987"/>
                  <a:gd name="connsiteY143" fmla="*/ 95250 h 4496940"/>
                  <a:gd name="connsiteX144" fmla="*/ 2030752 w 4519987"/>
                  <a:gd name="connsiteY144" fmla="*/ 66675 h 4496940"/>
                  <a:gd name="connsiteX145" fmla="*/ 2097427 w 4519987"/>
                  <a:gd name="connsiteY145" fmla="*/ 47625 h 4496940"/>
                  <a:gd name="connsiteX146" fmla="*/ 2164102 w 4519987"/>
                  <a:gd name="connsiteY146" fmla="*/ 38100 h 4496940"/>
                  <a:gd name="connsiteX147" fmla="*/ 2392702 w 4519987"/>
                  <a:gd name="connsiteY14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202452 w 4519987"/>
                  <a:gd name="connsiteY24" fmla="*/ 1085850 h 4496940"/>
                  <a:gd name="connsiteX25" fmla="*/ 4250077 w 4519987"/>
                  <a:gd name="connsiteY25" fmla="*/ 1143000 h 4496940"/>
                  <a:gd name="connsiteX26" fmla="*/ 4259602 w 4519987"/>
                  <a:gd name="connsiteY26" fmla="*/ 1190625 h 4496940"/>
                  <a:gd name="connsiteX27" fmla="*/ 4307227 w 4519987"/>
                  <a:gd name="connsiteY27" fmla="*/ 1266825 h 4496940"/>
                  <a:gd name="connsiteX28" fmla="*/ 4345327 w 4519987"/>
                  <a:gd name="connsiteY28" fmla="*/ 1362075 h 4496940"/>
                  <a:gd name="connsiteX29" fmla="*/ 4373902 w 4519987"/>
                  <a:gd name="connsiteY29" fmla="*/ 1428750 h 4496940"/>
                  <a:gd name="connsiteX30" fmla="*/ 4392952 w 4519987"/>
                  <a:gd name="connsiteY30" fmla="*/ 1552575 h 4496940"/>
                  <a:gd name="connsiteX31" fmla="*/ 4402477 w 4519987"/>
                  <a:gd name="connsiteY31" fmla="*/ 1590675 h 4496940"/>
                  <a:gd name="connsiteX32" fmla="*/ 4431052 w 4519987"/>
                  <a:gd name="connsiteY32" fmla="*/ 1685925 h 4496940"/>
                  <a:gd name="connsiteX33" fmla="*/ 4519952 w 4519987"/>
                  <a:gd name="connsiteY33" fmla="*/ 2181225 h 4496940"/>
                  <a:gd name="connsiteX34" fmla="*/ 4446927 w 4519987"/>
                  <a:gd name="connsiteY34" fmla="*/ 2768600 h 4496940"/>
                  <a:gd name="connsiteX35" fmla="*/ 4383427 w 4519987"/>
                  <a:gd name="connsiteY35" fmla="*/ 2990850 h 4496940"/>
                  <a:gd name="connsiteX36" fmla="*/ 4278652 w 4519987"/>
                  <a:gd name="connsiteY36" fmla="*/ 3248025 h 4496940"/>
                  <a:gd name="connsiteX37" fmla="*/ 4259602 w 4519987"/>
                  <a:gd name="connsiteY37" fmla="*/ 3276600 h 4496940"/>
                  <a:gd name="connsiteX38" fmla="*/ 4221502 w 4519987"/>
                  <a:gd name="connsiteY38" fmla="*/ 3333750 h 4496940"/>
                  <a:gd name="connsiteX39" fmla="*/ 4211977 w 4519987"/>
                  <a:gd name="connsiteY39" fmla="*/ 3362325 h 4496940"/>
                  <a:gd name="connsiteX40" fmla="*/ 4183402 w 4519987"/>
                  <a:gd name="connsiteY40" fmla="*/ 3400425 h 4496940"/>
                  <a:gd name="connsiteX41" fmla="*/ 4164352 w 4519987"/>
                  <a:gd name="connsiteY41" fmla="*/ 3429000 h 4496940"/>
                  <a:gd name="connsiteX42" fmla="*/ 4088152 w 4519987"/>
                  <a:gd name="connsiteY42" fmla="*/ 3495675 h 4496940"/>
                  <a:gd name="connsiteX43" fmla="*/ 4059577 w 4519987"/>
                  <a:gd name="connsiteY43" fmla="*/ 3533775 h 4496940"/>
                  <a:gd name="connsiteX44" fmla="*/ 4002427 w 4519987"/>
                  <a:gd name="connsiteY44" fmla="*/ 3600450 h 4496940"/>
                  <a:gd name="connsiteX45" fmla="*/ 3983377 w 4519987"/>
                  <a:gd name="connsiteY45" fmla="*/ 3629025 h 4496940"/>
                  <a:gd name="connsiteX46" fmla="*/ 3954802 w 4519987"/>
                  <a:gd name="connsiteY46" fmla="*/ 3648075 h 4496940"/>
                  <a:gd name="connsiteX47" fmla="*/ 3907177 w 4519987"/>
                  <a:gd name="connsiteY47" fmla="*/ 3686175 h 4496940"/>
                  <a:gd name="connsiteX48" fmla="*/ 3869077 w 4519987"/>
                  <a:gd name="connsiteY48" fmla="*/ 3724275 h 4496940"/>
                  <a:gd name="connsiteX49" fmla="*/ 3792877 w 4519987"/>
                  <a:gd name="connsiteY49" fmla="*/ 3781425 h 4496940"/>
                  <a:gd name="connsiteX50" fmla="*/ 3783352 w 4519987"/>
                  <a:gd name="connsiteY50" fmla="*/ 3810000 h 4496940"/>
                  <a:gd name="connsiteX51" fmla="*/ 3745252 w 4519987"/>
                  <a:gd name="connsiteY51" fmla="*/ 3819525 h 4496940"/>
                  <a:gd name="connsiteX52" fmla="*/ 3678577 w 4519987"/>
                  <a:gd name="connsiteY52" fmla="*/ 3848100 h 4496940"/>
                  <a:gd name="connsiteX53" fmla="*/ 3659527 w 4519987"/>
                  <a:gd name="connsiteY53" fmla="*/ 3971925 h 4496940"/>
                  <a:gd name="connsiteX54" fmla="*/ 3630952 w 4519987"/>
                  <a:gd name="connsiteY54" fmla="*/ 4010025 h 4496940"/>
                  <a:gd name="connsiteX55" fmla="*/ 3621427 w 4519987"/>
                  <a:gd name="connsiteY55" fmla="*/ 4038600 h 4496940"/>
                  <a:gd name="connsiteX56" fmla="*/ 3554752 w 4519987"/>
                  <a:gd name="connsiteY56" fmla="*/ 4095750 h 4496940"/>
                  <a:gd name="connsiteX57" fmla="*/ 3516652 w 4519987"/>
                  <a:gd name="connsiteY57" fmla="*/ 4114800 h 4496940"/>
                  <a:gd name="connsiteX58" fmla="*/ 3497602 w 4519987"/>
                  <a:gd name="connsiteY58" fmla="*/ 4143375 h 4496940"/>
                  <a:gd name="connsiteX59" fmla="*/ 3383302 w 4519987"/>
                  <a:gd name="connsiteY59" fmla="*/ 4210050 h 4496940"/>
                  <a:gd name="connsiteX60" fmla="*/ 3335677 w 4519987"/>
                  <a:gd name="connsiteY60" fmla="*/ 4238625 h 4496940"/>
                  <a:gd name="connsiteX61" fmla="*/ 3288052 w 4519987"/>
                  <a:gd name="connsiteY61" fmla="*/ 4248150 h 4496940"/>
                  <a:gd name="connsiteX62" fmla="*/ 3240427 w 4519987"/>
                  <a:gd name="connsiteY62" fmla="*/ 4267200 h 4496940"/>
                  <a:gd name="connsiteX63" fmla="*/ 3068977 w 4519987"/>
                  <a:gd name="connsiteY63" fmla="*/ 4286250 h 4496940"/>
                  <a:gd name="connsiteX64" fmla="*/ 2935627 w 4519987"/>
                  <a:gd name="connsiteY64" fmla="*/ 4333875 h 4496940"/>
                  <a:gd name="connsiteX65" fmla="*/ 2811802 w 4519987"/>
                  <a:gd name="connsiteY65" fmla="*/ 4371975 h 4496940"/>
                  <a:gd name="connsiteX66" fmla="*/ 2745127 w 4519987"/>
                  <a:gd name="connsiteY66" fmla="*/ 4410075 h 4496940"/>
                  <a:gd name="connsiteX67" fmla="*/ 2697502 w 4519987"/>
                  <a:gd name="connsiteY67" fmla="*/ 4429125 h 4496940"/>
                  <a:gd name="connsiteX68" fmla="*/ 2640352 w 4519987"/>
                  <a:gd name="connsiteY68" fmla="*/ 4457700 h 4496940"/>
                  <a:gd name="connsiteX69" fmla="*/ 2583202 w 4519987"/>
                  <a:gd name="connsiteY69" fmla="*/ 4467225 h 4496940"/>
                  <a:gd name="connsiteX70" fmla="*/ 2545102 w 4519987"/>
                  <a:gd name="connsiteY70" fmla="*/ 4486275 h 4496940"/>
                  <a:gd name="connsiteX71" fmla="*/ 2306977 w 4519987"/>
                  <a:gd name="connsiteY71" fmla="*/ 4476750 h 4496940"/>
                  <a:gd name="connsiteX72" fmla="*/ 2202202 w 4519987"/>
                  <a:gd name="connsiteY72" fmla="*/ 4457700 h 4496940"/>
                  <a:gd name="connsiteX73" fmla="*/ 2126002 w 4519987"/>
                  <a:gd name="connsiteY73" fmla="*/ 4429125 h 4496940"/>
                  <a:gd name="connsiteX74" fmla="*/ 1935502 w 4519987"/>
                  <a:gd name="connsiteY74" fmla="*/ 4400550 h 4496940"/>
                  <a:gd name="connsiteX75" fmla="*/ 1821202 w 4519987"/>
                  <a:gd name="connsiteY75" fmla="*/ 4371975 h 4496940"/>
                  <a:gd name="connsiteX76" fmla="*/ 1754527 w 4519987"/>
                  <a:gd name="connsiteY76" fmla="*/ 4352925 h 4496940"/>
                  <a:gd name="connsiteX77" fmla="*/ 1687852 w 4519987"/>
                  <a:gd name="connsiteY77" fmla="*/ 4343400 h 4496940"/>
                  <a:gd name="connsiteX78" fmla="*/ 1573552 w 4519987"/>
                  <a:gd name="connsiteY78" fmla="*/ 4305300 h 4496940"/>
                  <a:gd name="connsiteX79" fmla="*/ 1402102 w 4519987"/>
                  <a:gd name="connsiteY79" fmla="*/ 4276725 h 4496940"/>
                  <a:gd name="connsiteX80" fmla="*/ 1287802 w 4519987"/>
                  <a:gd name="connsiteY80" fmla="*/ 4229100 h 4496940"/>
                  <a:gd name="connsiteX81" fmla="*/ 1221127 w 4519987"/>
                  <a:gd name="connsiteY81" fmla="*/ 4200525 h 4496940"/>
                  <a:gd name="connsiteX82" fmla="*/ 1144927 w 4519987"/>
                  <a:gd name="connsiteY82" fmla="*/ 4171950 h 4496940"/>
                  <a:gd name="connsiteX83" fmla="*/ 1087777 w 4519987"/>
                  <a:gd name="connsiteY83" fmla="*/ 4143375 h 4496940"/>
                  <a:gd name="connsiteX84" fmla="*/ 1030627 w 4519987"/>
                  <a:gd name="connsiteY84" fmla="*/ 4124325 h 4496940"/>
                  <a:gd name="connsiteX85" fmla="*/ 925852 w 4519987"/>
                  <a:gd name="connsiteY85" fmla="*/ 4067175 h 4496940"/>
                  <a:gd name="connsiteX86" fmla="*/ 830602 w 4519987"/>
                  <a:gd name="connsiteY86" fmla="*/ 3981450 h 4496940"/>
                  <a:gd name="connsiteX87" fmla="*/ 763927 w 4519987"/>
                  <a:gd name="connsiteY87" fmla="*/ 3914775 h 4496940"/>
                  <a:gd name="connsiteX88" fmla="*/ 725827 w 4519987"/>
                  <a:gd name="connsiteY88" fmla="*/ 3876675 h 4496940"/>
                  <a:gd name="connsiteX89" fmla="*/ 697252 w 4519987"/>
                  <a:gd name="connsiteY89" fmla="*/ 3838575 h 4496940"/>
                  <a:gd name="connsiteX90" fmla="*/ 640102 w 4519987"/>
                  <a:gd name="connsiteY90" fmla="*/ 3781425 h 4496940"/>
                  <a:gd name="connsiteX91" fmla="*/ 611527 w 4519987"/>
                  <a:gd name="connsiteY91" fmla="*/ 3733800 h 4496940"/>
                  <a:gd name="connsiteX92" fmla="*/ 554377 w 4519987"/>
                  <a:gd name="connsiteY92" fmla="*/ 3657600 h 4496940"/>
                  <a:gd name="connsiteX93" fmla="*/ 525802 w 4519987"/>
                  <a:gd name="connsiteY93" fmla="*/ 3609975 h 4496940"/>
                  <a:gd name="connsiteX94" fmla="*/ 497227 w 4519987"/>
                  <a:gd name="connsiteY94" fmla="*/ 3552825 h 4496940"/>
                  <a:gd name="connsiteX95" fmla="*/ 440077 w 4519987"/>
                  <a:gd name="connsiteY95" fmla="*/ 3495675 h 4496940"/>
                  <a:gd name="connsiteX96" fmla="*/ 411502 w 4519987"/>
                  <a:gd name="connsiteY96" fmla="*/ 3448050 h 4496940"/>
                  <a:gd name="connsiteX97" fmla="*/ 278152 w 4519987"/>
                  <a:gd name="connsiteY97" fmla="*/ 3257550 h 4496940"/>
                  <a:gd name="connsiteX98" fmla="*/ 249577 w 4519987"/>
                  <a:gd name="connsiteY98" fmla="*/ 3200400 h 4496940"/>
                  <a:gd name="connsiteX99" fmla="*/ 240052 w 4519987"/>
                  <a:gd name="connsiteY99" fmla="*/ 3162300 h 4496940"/>
                  <a:gd name="connsiteX100" fmla="*/ 221002 w 4519987"/>
                  <a:gd name="connsiteY100" fmla="*/ 3105150 h 4496940"/>
                  <a:gd name="connsiteX101" fmla="*/ 173377 w 4519987"/>
                  <a:gd name="connsiteY101" fmla="*/ 3019425 h 4496940"/>
                  <a:gd name="connsiteX102" fmla="*/ 144802 w 4519987"/>
                  <a:gd name="connsiteY102" fmla="*/ 2924175 h 4496940"/>
                  <a:gd name="connsiteX103" fmla="*/ 68602 w 4519987"/>
                  <a:gd name="connsiteY103" fmla="*/ 2724150 h 4496940"/>
                  <a:gd name="connsiteX104" fmla="*/ 49552 w 4519987"/>
                  <a:gd name="connsiteY104" fmla="*/ 2638425 h 4496940"/>
                  <a:gd name="connsiteX105" fmla="*/ 40027 w 4519987"/>
                  <a:gd name="connsiteY105" fmla="*/ 2562225 h 4496940"/>
                  <a:gd name="connsiteX106" fmla="*/ 30502 w 4519987"/>
                  <a:gd name="connsiteY106" fmla="*/ 2514600 h 4496940"/>
                  <a:gd name="connsiteX107" fmla="*/ 11452 w 4519987"/>
                  <a:gd name="connsiteY107" fmla="*/ 2400300 h 4496940"/>
                  <a:gd name="connsiteX108" fmla="*/ 20977 w 4519987"/>
                  <a:gd name="connsiteY108" fmla="*/ 1905000 h 4496940"/>
                  <a:gd name="connsiteX109" fmla="*/ 30502 w 4519987"/>
                  <a:gd name="connsiteY109" fmla="*/ 1838325 h 4496940"/>
                  <a:gd name="connsiteX110" fmla="*/ 49552 w 4519987"/>
                  <a:gd name="connsiteY110" fmla="*/ 1781175 h 4496940"/>
                  <a:gd name="connsiteX111" fmla="*/ 59077 w 4519987"/>
                  <a:gd name="connsiteY111" fmla="*/ 1743075 h 4496940"/>
                  <a:gd name="connsiteX112" fmla="*/ 78127 w 4519987"/>
                  <a:gd name="connsiteY112" fmla="*/ 1685925 h 4496940"/>
                  <a:gd name="connsiteX113" fmla="*/ 87652 w 4519987"/>
                  <a:gd name="connsiteY113" fmla="*/ 1638300 h 4496940"/>
                  <a:gd name="connsiteX114" fmla="*/ 106702 w 4519987"/>
                  <a:gd name="connsiteY114" fmla="*/ 1590675 h 4496940"/>
                  <a:gd name="connsiteX115" fmla="*/ 135277 w 4519987"/>
                  <a:gd name="connsiteY115" fmla="*/ 1504950 h 4496940"/>
                  <a:gd name="connsiteX116" fmla="*/ 154327 w 4519987"/>
                  <a:gd name="connsiteY116" fmla="*/ 1419225 h 4496940"/>
                  <a:gd name="connsiteX117" fmla="*/ 230527 w 4519987"/>
                  <a:gd name="connsiteY117" fmla="*/ 1276350 h 4496940"/>
                  <a:gd name="connsiteX118" fmla="*/ 240052 w 4519987"/>
                  <a:gd name="connsiteY118" fmla="*/ 1247775 h 4496940"/>
                  <a:gd name="connsiteX119" fmla="*/ 268627 w 4519987"/>
                  <a:gd name="connsiteY119" fmla="*/ 1200150 h 4496940"/>
                  <a:gd name="connsiteX120" fmla="*/ 287677 w 4519987"/>
                  <a:gd name="connsiteY120" fmla="*/ 1152525 h 4496940"/>
                  <a:gd name="connsiteX121" fmla="*/ 316252 w 4519987"/>
                  <a:gd name="connsiteY121" fmla="*/ 1114425 h 4496940"/>
                  <a:gd name="connsiteX122" fmla="*/ 363877 w 4519987"/>
                  <a:gd name="connsiteY122" fmla="*/ 1038225 h 4496940"/>
                  <a:gd name="connsiteX123" fmla="*/ 382927 w 4519987"/>
                  <a:gd name="connsiteY123" fmla="*/ 1009650 h 4496940"/>
                  <a:gd name="connsiteX124" fmla="*/ 440077 w 4519987"/>
                  <a:gd name="connsiteY124" fmla="*/ 904875 h 4496940"/>
                  <a:gd name="connsiteX125" fmla="*/ 478177 w 4519987"/>
                  <a:gd name="connsiteY125" fmla="*/ 857250 h 4496940"/>
                  <a:gd name="connsiteX126" fmla="*/ 497227 w 4519987"/>
                  <a:gd name="connsiteY126" fmla="*/ 828675 h 4496940"/>
                  <a:gd name="connsiteX127" fmla="*/ 535327 w 4519987"/>
                  <a:gd name="connsiteY127" fmla="*/ 800100 h 4496940"/>
                  <a:gd name="connsiteX128" fmla="*/ 602002 w 4519987"/>
                  <a:gd name="connsiteY128" fmla="*/ 733425 h 4496940"/>
                  <a:gd name="connsiteX129" fmla="*/ 668677 w 4519987"/>
                  <a:gd name="connsiteY129" fmla="*/ 676275 h 4496940"/>
                  <a:gd name="connsiteX130" fmla="*/ 697252 w 4519987"/>
                  <a:gd name="connsiteY130" fmla="*/ 657225 h 4496940"/>
                  <a:gd name="connsiteX131" fmla="*/ 840127 w 4519987"/>
                  <a:gd name="connsiteY131" fmla="*/ 533400 h 4496940"/>
                  <a:gd name="connsiteX132" fmla="*/ 887752 w 4519987"/>
                  <a:gd name="connsiteY132" fmla="*/ 504825 h 4496940"/>
                  <a:gd name="connsiteX133" fmla="*/ 1167152 w 4519987"/>
                  <a:gd name="connsiteY133" fmla="*/ 311150 h 4496940"/>
                  <a:gd name="connsiteX134" fmla="*/ 1268752 w 4519987"/>
                  <a:gd name="connsiteY134" fmla="*/ 285750 h 4496940"/>
                  <a:gd name="connsiteX135" fmla="*/ 1411627 w 4519987"/>
                  <a:gd name="connsiteY135" fmla="*/ 190500 h 4496940"/>
                  <a:gd name="connsiteX136" fmla="*/ 1449727 w 4519987"/>
                  <a:gd name="connsiteY136" fmla="*/ 161925 h 4496940"/>
                  <a:gd name="connsiteX137" fmla="*/ 1525927 w 4519987"/>
                  <a:gd name="connsiteY137" fmla="*/ 152400 h 4496940"/>
                  <a:gd name="connsiteX138" fmla="*/ 1583077 w 4519987"/>
                  <a:gd name="connsiteY138" fmla="*/ 142875 h 4496940"/>
                  <a:gd name="connsiteX139" fmla="*/ 1716427 w 4519987"/>
                  <a:gd name="connsiteY139" fmla="*/ 123825 h 4496940"/>
                  <a:gd name="connsiteX140" fmla="*/ 1811677 w 4519987"/>
                  <a:gd name="connsiteY140" fmla="*/ 114300 h 4496940"/>
                  <a:gd name="connsiteX141" fmla="*/ 1859302 w 4519987"/>
                  <a:gd name="connsiteY141" fmla="*/ 104775 h 4496940"/>
                  <a:gd name="connsiteX142" fmla="*/ 1916452 w 4519987"/>
                  <a:gd name="connsiteY142" fmla="*/ 95250 h 4496940"/>
                  <a:gd name="connsiteX143" fmla="*/ 2030752 w 4519987"/>
                  <a:gd name="connsiteY143" fmla="*/ 66675 h 4496940"/>
                  <a:gd name="connsiteX144" fmla="*/ 2097427 w 4519987"/>
                  <a:gd name="connsiteY144" fmla="*/ 47625 h 4496940"/>
                  <a:gd name="connsiteX145" fmla="*/ 2164102 w 4519987"/>
                  <a:gd name="connsiteY145" fmla="*/ 38100 h 4496940"/>
                  <a:gd name="connsiteX146" fmla="*/ 2392702 w 4519987"/>
                  <a:gd name="connsiteY14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173877 w 4519987"/>
                  <a:gd name="connsiteY23" fmla="*/ 1019175 h 4496940"/>
                  <a:gd name="connsiteX24" fmla="*/ 4250077 w 4519987"/>
                  <a:gd name="connsiteY24" fmla="*/ 1143000 h 4496940"/>
                  <a:gd name="connsiteX25" fmla="*/ 4259602 w 4519987"/>
                  <a:gd name="connsiteY25" fmla="*/ 1190625 h 4496940"/>
                  <a:gd name="connsiteX26" fmla="*/ 4307227 w 4519987"/>
                  <a:gd name="connsiteY26" fmla="*/ 1266825 h 4496940"/>
                  <a:gd name="connsiteX27" fmla="*/ 4345327 w 4519987"/>
                  <a:gd name="connsiteY27" fmla="*/ 1362075 h 4496940"/>
                  <a:gd name="connsiteX28" fmla="*/ 4373902 w 4519987"/>
                  <a:gd name="connsiteY28" fmla="*/ 1428750 h 4496940"/>
                  <a:gd name="connsiteX29" fmla="*/ 4392952 w 4519987"/>
                  <a:gd name="connsiteY29" fmla="*/ 1552575 h 4496940"/>
                  <a:gd name="connsiteX30" fmla="*/ 4402477 w 4519987"/>
                  <a:gd name="connsiteY30" fmla="*/ 1590675 h 4496940"/>
                  <a:gd name="connsiteX31" fmla="*/ 4431052 w 4519987"/>
                  <a:gd name="connsiteY31" fmla="*/ 1685925 h 4496940"/>
                  <a:gd name="connsiteX32" fmla="*/ 4519952 w 4519987"/>
                  <a:gd name="connsiteY32" fmla="*/ 2181225 h 4496940"/>
                  <a:gd name="connsiteX33" fmla="*/ 4446927 w 4519987"/>
                  <a:gd name="connsiteY33" fmla="*/ 2768600 h 4496940"/>
                  <a:gd name="connsiteX34" fmla="*/ 4383427 w 4519987"/>
                  <a:gd name="connsiteY34" fmla="*/ 2990850 h 4496940"/>
                  <a:gd name="connsiteX35" fmla="*/ 4278652 w 4519987"/>
                  <a:gd name="connsiteY35" fmla="*/ 3248025 h 4496940"/>
                  <a:gd name="connsiteX36" fmla="*/ 4259602 w 4519987"/>
                  <a:gd name="connsiteY36" fmla="*/ 3276600 h 4496940"/>
                  <a:gd name="connsiteX37" fmla="*/ 4221502 w 4519987"/>
                  <a:gd name="connsiteY37" fmla="*/ 3333750 h 4496940"/>
                  <a:gd name="connsiteX38" fmla="*/ 4211977 w 4519987"/>
                  <a:gd name="connsiteY38" fmla="*/ 3362325 h 4496940"/>
                  <a:gd name="connsiteX39" fmla="*/ 4183402 w 4519987"/>
                  <a:gd name="connsiteY39" fmla="*/ 3400425 h 4496940"/>
                  <a:gd name="connsiteX40" fmla="*/ 4164352 w 4519987"/>
                  <a:gd name="connsiteY40" fmla="*/ 3429000 h 4496940"/>
                  <a:gd name="connsiteX41" fmla="*/ 4088152 w 4519987"/>
                  <a:gd name="connsiteY41" fmla="*/ 3495675 h 4496940"/>
                  <a:gd name="connsiteX42" fmla="*/ 4059577 w 4519987"/>
                  <a:gd name="connsiteY42" fmla="*/ 3533775 h 4496940"/>
                  <a:gd name="connsiteX43" fmla="*/ 4002427 w 4519987"/>
                  <a:gd name="connsiteY43" fmla="*/ 3600450 h 4496940"/>
                  <a:gd name="connsiteX44" fmla="*/ 3983377 w 4519987"/>
                  <a:gd name="connsiteY44" fmla="*/ 3629025 h 4496940"/>
                  <a:gd name="connsiteX45" fmla="*/ 3954802 w 4519987"/>
                  <a:gd name="connsiteY45" fmla="*/ 3648075 h 4496940"/>
                  <a:gd name="connsiteX46" fmla="*/ 3907177 w 4519987"/>
                  <a:gd name="connsiteY46" fmla="*/ 3686175 h 4496940"/>
                  <a:gd name="connsiteX47" fmla="*/ 3869077 w 4519987"/>
                  <a:gd name="connsiteY47" fmla="*/ 3724275 h 4496940"/>
                  <a:gd name="connsiteX48" fmla="*/ 3792877 w 4519987"/>
                  <a:gd name="connsiteY48" fmla="*/ 3781425 h 4496940"/>
                  <a:gd name="connsiteX49" fmla="*/ 3783352 w 4519987"/>
                  <a:gd name="connsiteY49" fmla="*/ 3810000 h 4496940"/>
                  <a:gd name="connsiteX50" fmla="*/ 3745252 w 4519987"/>
                  <a:gd name="connsiteY50" fmla="*/ 3819525 h 4496940"/>
                  <a:gd name="connsiteX51" fmla="*/ 3678577 w 4519987"/>
                  <a:gd name="connsiteY51" fmla="*/ 3848100 h 4496940"/>
                  <a:gd name="connsiteX52" fmla="*/ 3659527 w 4519987"/>
                  <a:gd name="connsiteY52" fmla="*/ 3971925 h 4496940"/>
                  <a:gd name="connsiteX53" fmla="*/ 3630952 w 4519987"/>
                  <a:gd name="connsiteY53" fmla="*/ 4010025 h 4496940"/>
                  <a:gd name="connsiteX54" fmla="*/ 3621427 w 4519987"/>
                  <a:gd name="connsiteY54" fmla="*/ 4038600 h 4496940"/>
                  <a:gd name="connsiteX55" fmla="*/ 3554752 w 4519987"/>
                  <a:gd name="connsiteY55" fmla="*/ 4095750 h 4496940"/>
                  <a:gd name="connsiteX56" fmla="*/ 3516652 w 4519987"/>
                  <a:gd name="connsiteY56" fmla="*/ 4114800 h 4496940"/>
                  <a:gd name="connsiteX57" fmla="*/ 3497602 w 4519987"/>
                  <a:gd name="connsiteY57" fmla="*/ 4143375 h 4496940"/>
                  <a:gd name="connsiteX58" fmla="*/ 3383302 w 4519987"/>
                  <a:gd name="connsiteY58" fmla="*/ 4210050 h 4496940"/>
                  <a:gd name="connsiteX59" fmla="*/ 3335677 w 4519987"/>
                  <a:gd name="connsiteY59" fmla="*/ 4238625 h 4496940"/>
                  <a:gd name="connsiteX60" fmla="*/ 3288052 w 4519987"/>
                  <a:gd name="connsiteY60" fmla="*/ 4248150 h 4496940"/>
                  <a:gd name="connsiteX61" fmla="*/ 3240427 w 4519987"/>
                  <a:gd name="connsiteY61" fmla="*/ 4267200 h 4496940"/>
                  <a:gd name="connsiteX62" fmla="*/ 3068977 w 4519987"/>
                  <a:gd name="connsiteY62" fmla="*/ 4286250 h 4496940"/>
                  <a:gd name="connsiteX63" fmla="*/ 2935627 w 4519987"/>
                  <a:gd name="connsiteY63" fmla="*/ 4333875 h 4496940"/>
                  <a:gd name="connsiteX64" fmla="*/ 2811802 w 4519987"/>
                  <a:gd name="connsiteY64" fmla="*/ 4371975 h 4496940"/>
                  <a:gd name="connsiteX65" fmla="*/ 2745127 w 4519987"/>
                  <a:gd name="connsiteY65" fmla="*/ 4410075 h 4496940"/>
                  <a:gd name="connsiteX66" fmla="*/ 2697502 w 4519987"/>
                  <a:gd name="connsiteY66" fmla="*/ 4429125 h 4496940"/>
                  <a:gd name="connsiteX67" fmla="*/ 2640352 w 4519987"/>
                  <a:gd name="connsiteY67" fmla="*/ 4457700 h 4496940"/>
                  <a:gd name="connsiteX68" fmla="*/ 2583202 w 4519987"/>
                  <a:gd name="connsiteY68" fmla="*/ 4467225 h 4496940"/>
                  <a:gd name="connsiteX69" fmla="*/ 2545102 w 4519987"/>
                  <a:gd name="connsiteY69" fmla="*/ 4486275 h 4496940"/>
                  <a:gd name="connsiteX70" fmla="*/ 2306977 w 4519987"/>
                  <a:gd name="connsiteY70" fmla="*/ 4476750 h 4496940"/>
                  <a:gd name="connsiteX71" fmla="*/ 2202202 w 4519987"/>
                  <a:gd name="connsiteY71" fmla="*/ 4457700 h 4496940"/>
                  <a:gd name="connsiteX72" fmla="*/ 2126002 w 4519987"/>
                  <a:gd name="connsiteY72" fmla="*/ 4429125 h 4496940"/>
                  <a:gd name="connsiteX73" fmla="*/ 1935502 w 4519987"/>
                  <a:gd name="connsiteY73" fmla="*/ 4400550 h 4496940"/>
                  <a:gd name="connsiteX74" fmla="*/ 1821202 w 4519987"/>
                  <a:gd name="connsiteY74" fmla="*/ 4371975 h 4496940"/>
                  <a:gd name="connsiteX75" fmla="*/ 1754527 w 4519987"/>
                  <a:gd name="connsiteY75" fmla="*/ 4352925 h 4496940"/>
                  <a:gd name="connsiteX76" fmla="*/ 1687852 w 4519987"/>
                  <a:gd name="connsiteY76" fmla="*/ 4343400 h 4496940"/>
                  <a:gd name="connsiteX77" fmla="*/ 1573552 w 4519987"/>
                  <a:gd name="connsiteY77" fmla="*/ 4305300 h 4496940"/>
                  <a:gd name="connsiteX78" fmla="*/ 1402102 w 4519987"/>
                  <a:gd name="connsiteY78" fmla="*/ 4276725 h 4496940"/>
                  <a:gd name="connsiteX79" fmla="*/ 1287802 w 4519987"/>
                  <a:gd name="connsiteY79" fmla="*/ 4229100 h 4496940"/>
                  <a:gd name="connsiteX80" fmla="*/ 1221127 w 4519987"/>
                  <a:gd name="connsiteY80" fmla="*/ 4200525 h 4496940"/>
                  <a:gd name="connsiteX81" fmla="*/ 1144927 w 4519987"/>
                  <a:gd name="connsiteY81" fmla="*/ 4171950 h 4496940"/>
                  <a:gd name="connsiteX82" fmla="*/ 1087777 w 4519987"/>
                  <a:gd name="connsiteY82" fmla="*/ 4143375 h 4496940"/>
                  <a:gd name="connsiteX83" fmla="*/ 1030627 w 4519987"/>
                  <a:gd name="connsiteY83" fmla="*/ 4124325 h 4496940"/>
                  <a:gd name="connsiteX84" fmla="*/ 925852 w 4519987"/>
                  <a:gd name="connsiteY84" fmla="*/ 4067175 h 4496940"/>
                  <a:gd name="connsiteX85" fmla="*/ 830602 w 4519987"/>
                  <a:gd name="connsiteY85" fmla="*/ 3981450 h 4496940"/>
                  <a:gd name="connsiteX86" fmla="*/ 763927 w 4519987"/>
                  <a:gd name="connsiteY86" fmla="*/ 3914775 h 4496940"/>
                  <a:gd name="connsiteX87" fmla="*/ 725827 w 4519987"/>
                  <a:gd name="connsiteY87" fmla="*/ 3876675 h 4496940"/>
                  <a:gd name="connsiteX88" fmla="*/ 697252 w 4519987"/>
                  <a:gd name="connsiteY88" fmla="*/ 3838575 h 4496940"/>
                  <a:gd name="connsiteX89" fmla="*/ 640102 w 4519987"/>
                  <a:gd name="connsiteY89" fmla="*/ 3781425 h 4496940"/>
                  <a:gd name="connsiteX90" fmla="*/ 611527 w 4519987"/>
                  <a:gd name="connsiteY90" fmla="*/ 3733800 h 4496940"/>
                  <a:gd name="connsiteX91" fmla="*/ 554377 w 4519987"/>
                  <a:gd name="connsiteY91" fmla="*/ 3657600 h 4496940"/>
                  <a:gd name="connsiteX92" fmla="*/ 525802 w 4519987"/>
                  <a:gd name="connsiteY92" fmla="*/ 3609975 h 4496940"/>
                  <a:gd name="connsiteX93" fmla="*/ 497227 w 4519987"/>
                  <a:gd name="connsiteY93" fmla="*/ 3552825 h 4496940"/>
                  <a:gd name="connsiteX94" fmla="*/ 440077 w 4519987"/>
                  <a:gd name="connsiteY94" fmla="*/ 3495675 h 4496940"/>
                  <a:gd name="connsiteX95" fmla="*/ 411502 w 4519987"/>
                  <a:gd name="connsiteY95" fmla="*/ 3448050 h 4496940"/>
                  <a:gd name="connsiteX96" fmla="*/ 278152 w 4519987"/>
                  <a:gd name="connsiteY96" fmla="*/ 3257550 h 4496940"/>
                  <a:gd name="connsiteX97" fmla="*/ 249577 w 4519987"/>
                  <a:gd name="connsiteY97" fmla="*/ 3200400 h 4496940"/>
                  <a:gd name="connsiteX98" fmla="*/ 240052 w 4519987"/>
                  <a:gd name="connsiteY98" fmla="*/ 3162300 h 4496940"/>
                  <a:gd name="connsiteX99" fmla="*/ 221002 w 4519987"/>
                  <a:gd name="connsiteY99" fmla="*/ 3105150 h 4496940"/>
                  <a:gd name="connsiteX100" fmla="*/ 173377 w 4519987"/>
                  <a:gd name="connsiteY100" fmla="*/ 3019425 h 4496940"/>
                  <a:gd name="connsiteX101" fmla="*/ 144802 w 4519987"/>
                  <a:gd name="connsiteY101" fmla="*/ 2924175 h 4496940"/>
                  <a:gd name="connsiteX102" fmla="*/ 68602 w 4519987"/>
                  <a:gd name="connsiteY102" fmla="*/ 2724150 h 4496940"/>
                  <a:gd name="connsiteX103" fmla="*/ 49552 w 4519987"/>
                  <a:gd name="connsiteY103" fmla="*/ 2638425 h 4496940"/>
                  <a:gd name="connsiteX104" fmla="*/ 40027 w 4519987"/>
                  <a:gd name="connsiteY104" fmla="*/ 2562225 h 4496940"/>
                  <a:gd name="connsiteX105" fmla="*/ 30502 w 4519987"/>
                  <a:gd name="connsiteY105" fmla="*/ 2514600 h 4496940"/>
                  <a:gd name="connsiteX106" fmla="*/ 11452 w 4519987"/>
                  <a:gd name="connsiteY106" fmla="*/ 2400300 h 4496940"/>
                  <a:gd name="connsiteX107" fmla="*/ 20977 w 4519987"/>
                  <a:gd name="connsiteY107" fmla="*/ 1905000 h 4496940"/>
                  <a:gd name="connsiteX108" fmla="*/ 30502 w 4519987"/>
                  <a:gd name="connsiteY108" fmla="*/ 1838325 h 4496940"/>
                  <a:gd name="connsiteX109" fmla="*/ 49552 w 4519987"/>
                  <a:gd name="connsiteY109" fmla="*/ 1781175 h 4496940"/>
                  <a:gd name="connsiteX110" fmla="*/ 59077 w 4519987"/>
                  <a:gd name="connsiteY110" fmla="*/ 1743075 h 4496940"/>
                  <a:gd name="connsiteX111" fmla="*/ 78127 w 4519987"/>
                  <a:gd name="connsiteY111" fmla="*/ 1685925 h 4496940"/>
                  <a:gd name="connsiteX112" fmla="*/ 87652 w 4519987"/>
                  <a:gd name="connsiteY112" fmla="*/ 1638300 h 4496940"/>
                  <a:gd name="connsiteX113" fmla="*/ 106702 w 4519987"/>
                  <a:gd name="connsiteY113" fmla="*/ 1590675 h 4496940"/>
                  <a:gd name="connsiteX114" fmla="*/ 135277 w 4519987"/>
                  <a:gd name="connsiteY114" fmla="*/ 1504950 h 4496940"/>
                  <a:gd name="connsiteX115" fmla="*/ 154327 w 4519987"/>
                  <a:gd name="connsiteY115" fmla="*/ 1419225 h 4496940"/>
                  <a:gd name="connsiteX116" fmla="*/ 230527 w 4519987"/>
                  <a:gd name="connsiteY116" fmla="*/ 1276350 h 4496940"/>
                  <a:gd name="connsiteX117" fmla="*/ 240052 w 4519987"/>
                  <a:gd name="connsiteY117" fmla="*/ 1247775 h 4496940"/>
                  <a:gd name="connsiteX118" fmla="*/ 268627 w 4519987"/>
                  <a:gd name="connsiteY118" fmla="*/ 1200150 h 4496940"/>
                  <a:gd name="connsiteX119" fmla="*/ 287677 w 4519987"/>
                  <a:gd name="connsiteY119" fmla="*/ 1152525 h 4496940"/>
                  <a:gd name="connsiteX120" fmla="*/ 316252 w 4519987"/>
                  <a:gd name="connsiteY120" fmla="*/ 1114425 h 4496940"/>
                  <a:gd name="connsiteX121" fmla="*/ 363877 w 4519987"/>
                  <a:gd name="connsiteY121" fmla="*/ 1038225 h 4496940"/>
                  <a:gd name="connsiteX122" fmla="*/ 382927 w 4519987"/>
                  <a:gd name="connsiteY122" fmla="*/ 1009650 h 4496940"/>
                  <a:gd name="connsiteX123" fmla="*/ 440077 w 4519987"/>
                  <a:gd name="connsiteY123" fmla="*/ 904875 h 4496940"/>
                  <a:gd name="connsiteX124" fmla="*/ 478177 w 4519987"/>
                  <a:gd name="connsiteY124" fmla="*/ 857250 h 4496940"/>
                  <a:gd name="connsiteX125" fmla="*/ 497227 w 4519987"/>
                  <a:gd name="connsiteY125" fmla="*/ 828675 h 4496940"/>
                  <a:gd name="connsiteX126" fmla="*/ 535327 w 4519987"/>
                  <a:gd name="connsiteY126" fmla="*/ 800100 h 4496940"/>
                  <a:gd name="connsiteX127" fmla="*/ 602002 w 4519987"/>
                  <a:gd name="connsiteY127" fmla="*/ 733425 h 4496940"/>
                  <a:gd name="connsiteX128" fmla="*/ 668677 w 4519987"/>
                  <a:gd name="connsiteY128" fmla="*/ 676275 h 4496940"/>
                  <a:gd name="connsiteX129" fmla="*/ 697252 w 4519987"/>
                  <a:gd name="connsiteY129" fmla="*/ 657225 h 4496940"/>
                  <a:gd name="connsiteX130" fmla="*/ 840127 w 4519987"/>
                  <a:gd name="connsiteY130" fmla="*/ 533400 h 4496940"/>
                  <a:gd name="connsiteX131" fmla="*/ 887752 w 4519987"/>
                  <a:gd name="connsiteY131" fmla="*/ 504825 h 4496940"/>
                  <a:gd name="connsiteX132" fmla="*/ 1167152 w 4519987"/>
                  <a:gd name="connsiteY132" fmla="*/ 311150 h 4496940"/>
                  <a:gd name="connsiteX133" fmla="*/ 1268752 w 4519987"/>
                  <a:gd name="connsiteY133" fmla="*/ 285750 h 4496940"/>
                  <a:gd name="connsiteX134" fmla="*/ 1411627 w 4519987"/>
                  <a:gd name="connsiteY134" fmla="*/ 190500 h 4496940"/>
                  <a:gd name="connsiteX135" fmla="*/ 1449727 w 4519987"/>
                  <a:gd name="connsiteY135" fmla="*/ 161925 h 4496940"/>
                  <a:gd name="connsiteX136" fmla="*/ 1525927 w 4519987"/>
                  <a:gd name="connsiteY136" fmla="*/ 152400 h 4496940"/>
                  <a:gd name="connsiteX137" fmla="*/ 1583077 w 4519987"/>
                  <a:gd name="connsiteY137" fmla="*/ 142875 h 4496940"/>
                  <a:gd name="connsiteX138" fmla="*/ 1716427 w 4519987"/>
                  <a:gd name="connsiteY138" fmla="*/ 123825 h 4496940"/>
                  <a:gd name="connsiteX139" fmla="*/ 1811677 w 4519987"/>
                  <a:gd name="connsiteY139" fmla="*/ 114300 h 4496940"/>
                  <a:gd name="connsiteX140" fmla="*/ 1859302 w 4519987"/>
                  <a:gd name="connsiteY140" fmla="*/ 104775 h 4496940"/>
                  <a:gd name="connsiteX141" fmla="*/ 1916452 w 4519987"/>
                  <a:gd name="connsiteY141" fmla="*/ 95250 h 4496940"/>
                  <a:gd name="connsiteX142" fmla="*/ 2030752 w 4519987"/>
                  <a:gd name="connsiteY142" fmla="*/ 66675 h 4496940"/>
                  <a:gd name="connsiteX143" fmla="*/ 2097427 w 4519987"/>
                  <a:gd name="connsiteY143" fmla="*/ 47625 h 4496940"/>
                  <a:gd name="connsiteX144" fmla="*/ 2164102 w 4519987"/>
                  <a:gd name="connsiteY144" fmla="*/ 38100 h 4496940"/>
                  <a:gd name="connsiteX145" fmla="*/ 2392702 w 4519987"/>
                  <a:gd name="connsiteY14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259602 w 4519987"/>
                  <a:gd name="connsiteY24" fmla="*/ 1190625 h 4496940"/>
                  <a:gd name="connsiteX25" fmla="*/ 4307227 w 4519987"/>
                  <a:gd name="connsiteY25" fmla="*/ 1266825 h 4496940"/>
                  <a:gd name="connsiteX26" fmla="*/ 4345327 w 4519987"/>
                  <a:gd name="connsiteY26" fmla="*/ 1362075 h 4496940"/>
                  <a:gd name="connsiteX27" fmla="*/ 4373902 w 4519987"/>
                  <a:gd name="connsiteY27" fmla="*/ 1428750 h 4496940"/>
                  <a:gd name="connsiteX28" fmla="*/ 4392952 w 4519987"/>
                  <a:gd name="connsiteY28" fmla="*/ 1552575 h 4496940"/>
                  <a:gd name="connsiteX29" fmla="*/ 4402477 w 4519987"/>
                  <a:gd name="connsiteY29" fmla="*/ 1590675 h 4496940"/>
                  <a:gd name="connsiteX30" fmla="*/ 4431052 w 4519987"/>
                  <a:gd name="connsiteY30" fmla="*/ 1685925 h 4496940"/>
                  <a:gd name="connsiteX31" fmla="*/ 4519952 w 4519987"/>
                  <a:gd name="connsiteY31" fmla="*/ 2181225 h 4496940"/>
                  <a:gd name="connsiteX32" fmla="*/ 4446927 w 4519987"/>
                  <a:gd name="connsiteY32" fmla="*/ 2768600 h 4496940"/>
                  <a:gd name="connsiteX33" fmla="*/ 4383427 w 4519987"/>
                  <a:gd name="connsiteY33" fmla="*/ 2990850 h 4496940"/>
                  <a:gd name="connsiteX34" fmla="*/ 4278652 w 4519987"/>
                  <a:gd name="connsiteY34" fmla="*/ 3248025 h 4496940"/>
                  <a:gd name="connsiteX35" fmla="*/ 4259602 w 4519987"/>
                  <a:gd name="connsiteY35" fmla="*/ 3276600 h 4496940"/>
                  <a:gd name="connsiteX36" fmla="*/ 4221502 w 4519987"/>
                  <a:gd name="connsiteY36" fmla="*/ 3333750 h 4496940"/>
                  <a:gd name="connsiteX37" fmla="*/ 4211977 w 4519987"/>
                  <a:gd name="connsiteY37" fmla="*/ 3362325 h 4496940"/>
                  <a:gd name="connsiteX38" fmla="*/ 4183402 w 4519987"/>
                  <a:gd name="connsiteY38" fmla="*/ 3400425 h 4496940"/>
                  <a:gd name="connsiteX39" fmla="*/ 4164352 w 4519987"/>
                  <a:gd name="connsiteY39" fmla="*/ 3429000 h 4496940"/>
                  <a:gd name="connsiteX40" fmla="*/ 4088152 w 4519987"/>
                  <a:gd name="connsiteY40" fmla="*/ 3495675 h 4496940"/>
                  <a:gd name="connsiteX41" fmla="*/ 4059577 w 4519987"/>
                  <a:gd name="connsiteY41" fmla="*/ 3533775 h 4496940"/>
                  <a:gd name="connsiteX42" fmla="*/ 4002427 w 4519987"/>
                  <a:gd name="connsiteY42" fmla="*/ 3600450 h 4496940"/>
                  <a:gd name="connsiteX43" fmla="*/ 3983377 w 4519987"/>
                  <a:gd name="connsiteY43" fmla="*/ 3629025 h 4496940"/>
                  <a:gd name="connsiteX44" fmla="*/ 3954802 w 4519987"/>
                  <a:gd name="connsiteY44" fmla="*/ 3648075 h 4496940"/>
                  <a:gd name="connsiteX45" fmla="*/ 3907177 w 4519987"/>
                  <a:gd name="connsiteY45" fmla="*/ 3686175 h 4496940"/>
                  <a:gd name="connsiteX46" fmla="*/ 3869077 w 4519987"/>
                  <a:gd name="connsiteY46" fmla="*/ 3724275 h 4496940"/>
                  <a:gd name="connsiteX47" fmla="*/ 3792877 w 4519987"/>
                  <a:gd name="connsiteY47" fmla="*/ 3781425 h 4496940"/>
                  <a:gd name="connsiteX48" fmla="*/ 3783352 w 4519987"/>
                  <a:gd name="connsiteY48" fmla="*/ 3810000 h 4496940"/>
                  <a:gd name="connsiteX49" fmla="*/ 3745252 w 4519987"/>
                  <a:gd name="connsiteY49" fmla="*/ 3819525 h 4496940"/>
                  <a:gd name="connsiteX50" fmla="*/ 3678577 w 4519987"/>
                  <a:gd name="connsiteY50" fmla="*/ 3848100 h 4496940"/>
                  <a:gd name="connsiteX51" fmla="*/ 3659527 w 4519987"/>
                  <a:gd name="connsiteY51" fmla="*/ 3971925 h 4496940"/>
                  <a:gd name="connsiteX52" fmla="*/ 3630952 w 4519987"/>
                  <a:gd name="connsiteY52" fmla="*/ 4010025 h 4496940"/>
                  <a:gd name="connsiteX53" fmla="*/ 3621427 w 4519987"/>
                  <a:gd name="connsiteY53" fmla="*/ 4038600 h 4496940"/>
                  <a:gd name="connsiteX54" fmla="*/ 3554752 w 4519987"/>
                  <a:gd name="connsiteY54" fmla="*/ 4095750 h 4496940"/>
                  <a:gd name="connsiteX55" fmla="*/ 3516652 w 4519987"/>
                  <a:gd name="connsiteY55" fmla="*/ 4114800 h 4496940"/>
                  <a:gd name="connsiteX56" fmla="*/ 3497602 w 4519987"/>
                  <a:gd name="connsiteY56" fmla="*/ 4143375 h 4496940"/>
                  <a:gd name="connsiteX57" fmla="*/ 3383302 w 4519987"/>
                  <a:gd name="connsiteY57" fmla="*/ 4210050 h 4496940"/>
                  <a:gd name="connsiteX58" fmla="*/ 3335677 w 4519987"/>
                  <a:gd name="connsiteY58" fmla="*/ 4238625 h 4496940"/>
                  <a:gd name="connsiteX59" fmla="*/ 3288052 w 4519987"/>
                  <a:gd name="connsiteY59" fmla="*/ 4248150 h 4496940"/>
                  <a:gd name="connsiteX60" fmla="*/ 3240427 w 4519987"/>
                  <a:gd name="connsiteY60" fmla="*/ 4267200 h 4496940"/>
                  <a:gd name="connsiteX61" fmla="*/ 3068977 w 4519987"/>
                  <a:gd name="connsiteY61" fmla="*/ 4286250 h 4496940"/>
                  <a:gd name="connsiteX62" fmla="*/ 2935627 w 4519987"/>
                  <a:gd name="connsiteY62" fmla="*/ 4333875 h 4496940"/>
                  <a:gd name="connsiteX63" fmla="*/ 2811802 w 4519987"/>
                  <a:gd name="connsiteY63" fmla="*/ 4371975 h 4496940"/>
                  <a:gd name="connsiteX64" fmla="*/ 2745127 w 4519987"/>
                  <a:gd name="connsiteY64" fmla="*/ 4410075 h 4496940"/>
                  <a:gd name="connsiteX65" fmla="*/ 2697502 w 4519987"/>
                  <a:gd name="connsiteY65" fmla="*/ 4429125 h 4496940"/>
                  <a:gd name="connsiteX66" fmla="*/ 2640352 w 4519987"/>
                  <a:gd name="connsiteY66" fmla="*/ 4457700 h 4496940"/>
                  <a:gd name="connsiteX67" fmla="*/ 2583202 w 4519987"/>
                  <a:gd name="connsiteY67" fmla="*/ 4467225 h 4496940"/>
                  <a:gd name="connsiteX68" fmla="*/ 2545102 w 4519987"/>
                  <a:gd name="connsiteY68" fmla="*/ 4486275 h 4496940"/>
                  <a:gd name="connsiteX69" fmla="*/ 2306977 w 4519987"/>
                  <a:gd name="connsiteY69" fmla="*/ 4476750 h 4496940"/>
                  <a:gd name="connsiteX70" fmla="*/ 2202202 w 4519987"/>
                  <a:gd name="connsiteY70" fmla="*/ 4457700 h 4496940"/>
                  <a:gd name="connsiteX71" fmla="*/ 2126002 w 4519987"/>
                  <a:gd name="connsiteY71" fmla="*/ 4429125 h 4496940"/>
                  <a:gd name="connsiteX72" fmla="*/ 1935502 w 4519987"/>
                  <a:gd name="connsiteY72" fmla="*/ 4400550 h 4496940"/>
                  <a:gd name="connsiteX73" fmla="*/ 1821202 w 4519987"/>
                  <a:gd name="connsiteY73" fmla="*/ 4371975 h 4496940"/>
                  <a:gd name="connsiteX74" fmla="*/ 1754527 w 4519987"/>
                  <a:gd name="connsiteY74" fmla="*/ 4352925 h 4496940"/>
                  <a:gd name="connsiteX75" fmla="*/ 1687852 w 4519987"/>
                  <a:gd name="connsiteY75" fmla="*/ 4343400 h 4496940"/>
                  <a:gd name="connsiteX76" fmla="*/ 1573552 w 4519987"/>
                  <a:gd name="connsiteY76" fmla="*/ 4305300 h 4496940"/>
                  <a:gd name="connsiteX77" fmla="*/ 1402102 w 4519987"/>
                  <a:gd name="connsiteY77" fmla="*/ 4276725 h 4496940"/>
                  <a:gd name="connsiteX78" fmla="*/ 1287802 w 4519987"/>
                  <a:gd name="connsiteY78" fmla="*/ 4229100 h 4496940"/>
                  <a:gd name="connsiteX79" fmla="*/ 1221127 w 4519987"/>
                  <a:gd name="connsiteY79" fmla="*/ 4200525 h 4496940"/>
                  <a:gd name="connsiteX80" fmla="*/ 1144927 w 4519987"/>
                  <a:gd name="connsiteY80" fmla="*/ 4171950 h 4496940"/>
                  <a:gd name="connsiteX81" fmla="*/ 1087777 w 4519987"/>
                  <a:gd name="connsiteY81" fmla="*/ 4143375 h 4496940"/>
                  <a:gd name="connsiteX82" fmla="*/ 1030627 w 4519987"/>
                  <a:gd name="connsiteY82" fmla="*/ 4124325 h 4496940"/>
                  <a:gd name="connsiteX83" fmla="*/ 925852 w 4519987"/>
                  <a:gd name="connsiteY83" fmla="*/ 4067175 h 4496940"/>
                  <a:gd name="connsiteX84" fmla="*/ 830602 w 4519987"/>
                  <a:gd name="connsiteY84" fmla="*/ 3981450 h 4496940"/>
                  <a:gd name="connsiteX85" fmla="*/ 763927 w 4519987"/>
                  <a:gd name="connsiteY85" fmla="*/ 3914775 h 4496940"/>
                  <a:gd name="connsiteX86" fmla="*/ 725827 w 4519987"/>
                  <a:gd name="connsiteY86" fmla="*/ 3876675 h 4496940"/>
                  <a:gd name="connsiteX87" fmla="*/ 697252 w 4519987"/>
                  <a:gd name="connsiteY87" fmla="*/ 3838575 h 4496940"/>
                  <a:gd name="connsiteX88" fmla="*/ 640102 w 4519987"/>
                  <a:gd name="connsiteY88" fmla="*/ 3781425 h 4496940"/>
                  <a:gd name="connsiteX89" fmla="*/ 611527 w 4519987"/>
                  <a:gd name="connsiteY89" fmla="*/ 3733800 h 4496940"/>
                  <a:gd name="connsiteX90" fmla="*/ 554377 w 4519987"/>
                  <a:gd name="connsiteY90" fmla="*/ 3657600 h 4496940"/>
                  <a:gd name="connsiteX91" fmla="*/ 525802 w 4519987"/>
                  <a:gd name="connsiteY91" fmla="*/ 3609975 h 4496940"/>
                  <a:gd name="connsiteX92" fmla="*/ 497227 w 4519987"/>
                  <a:gd name="connsiteY92" fmla="*/ 3552825 h 4496940"/>
                  <a:gd name="connsiteX93" fmla="*/ 440077 w 4519987"/>
                  <a:gd name="connsiteY93" fmla="*/ 3495675 h 4496940"/>
                  <a:gd name="connsiteX94" fmla="*/ 411502 w 4519987"/>
                  <a:gd name="connsiteY94" fmla="*/ 3448050 h 4496940"/>
                  <a:gd name="connsiteX95" fmla="*/ 278152 w 4519987"/>
                  <a:gd name="connsiteY95" fmla="*/ 3257550 h 4496940"/>
                  <a:gd name="connsiteX96" fmla="*/ 249577 w 4519987"/>
                  <a:gd name="connsiteY96" fmla="*/ 3200400 h 4496940"/>
                  <a:gd name="connsiteX97" fmla="*/ 240052 w 4519987"/>
                  <a:gd name="connsiteY97" fmla="*/ 3162300 h 4496940"/>
                  <a:gd name="connsiteX98" fmla="*/ 221002 w 4519987"/>
                  <a:gd name="connsiteY98" fmla="*/ 3105150 h 4496940"/>
                  <a:gd name="connsiteX99" fmla="*/ 173377 w 4519987"/>
                  <a:gd name="connsiteY99" fmla="*/ 3019425 h 4496940"/>
                  <a:gd name="connsiteX100" fmla="*/ 144802 w 4519987"/>
                  <a:gd name="connsiteY100" fmla="*/ 2924175 h 4496940"/>
                  <a:gd name="connsiteX101" fmla="*/ 68602 w 4519987"/>
                  <a:gd name="connsiteY101" fmla="*/ 2724150 h 4496940"/>
                  <a:gd name="connsiteX102" fmla="*/ 49552 w 4519987"/>
                  <a:gd name="connsiteY102" fmla="*/ 2638425 h 4496940"/>
                  <a:gd name="connsiteX103" fmla="*/ 40027 w 4519987"/>
                  <a:gd name="connsiteY103" fmla="*/ 2562225 h 4496940"/>
                  <a:gd name="connsiteX104" fmla="*/ 30502 w 4519987"/>
                  <a:gd name="connsiteY104" fmla="*/ 2514600 h 4496940"/>
                  <a:gd name="connsiteX105" fmla="*/ 11452 w 4519987"/>
                  <a:gd name="connsiteY105" fmla="*/ 2400300 h 4496940"/>
                  <a:gd name="connsiteX106" fmla="*/ 20977 w 4519987"/>
                  <a:gd name="connsiteY106" fmla="*/ 1905000 h 4496940"/>
                  <a:gd name="connsiteX107" fmla="*/ 30502 w 4519987"/>
                  <a:gd name="connsiteY107" fmla="*/ 1838325 h 4496940"/>
                  <a:gd name="connsiteX108" fmla="*/ 49552 w 4519987"/>
                  <a:gd name="connsiteY108" fmla="*/ 1781175 h 4496940"/>
                  <a:gd name="connsiteX109" fmla="*/ 59077 w 4519987"/>
                  <a:gd name="connsiteY109" fmla="*/ 1743075 h 4496940"/>
                  <a:gd name="connsiteX110" fmla="*/ 78127 w 4519987"/>
                  <a:gd name="connsiteY110" fmla="*/ 1685925 h 4496940"/>
                  <a:gd name="connsiteX111" fmla="*/ 87652 w 4519987"/>
                  <a:gd name="connsiteY111" fmla="*/ 1638300 h 4496940"/>
                  <a:gd name="connsiteX112" fmla="*/ 106702 w 4519987"/>
                  <a:gd name="connsiteY112" fmla="*/ 1590675 h 4496940"/>
                  <a:gd name="connsiteX113" fmla="*/ 135277 w 4519987"/>
                  <a:gd name="connsiteY113" fmla="*/ 1504950 h 4496940"/>
                  <a:gd name="connsiteX114" fmla="*/ 154327 w 4519987"/>
                  <a:gd name="connsiteY114" fmla="*/ 1419225 h 4496940"/>
                  <a:gd name="connsiteX115" fmla="*/ 230527 w 4519987"/>
                  <a:gd name="connsiteY115" fmla="*/ 1276350 h 4496940"/>
                  <a:gd name="connsiteX116" fmla="*/ 240052 w 4519987"/>
                  <a:gd name="connsiteY116" fmla="*/ 1247775 h 4496940"/>
                  <a:gd name="connsiteX117" fmla="*/ 268627 w 4519987"/>
                  <a:gd name="connsiteY117" fmla="*/ 1200150 h 4496940"/>
                  <a:gd name="connsiteX118" fmla="*/ 287677 w 4519987"/>
                  <a:gd name="connsiteY118" fmla="*/ 1152525 h 4496940"/>
                  <a:gd name="connsiteX119" fmla="*/ 316252 w 4519987"/>
                  <a:gd name="connsiteY119" fmla="*/ 1114425 h 4496940"/>
                  <a:gd name="connsiteX120" fmla="*/ 363877 w 4519987"/>
                  <a:gd name="connsiteY120" fmla="*/ 1038225 h 4496940"/>
                  <a:gd name="connsiteX121" fmla="*/ 382927 w 4519987"/>
                  <a:gd name="connsiteY121" fmla="*/ 1009650 h 4496940"/>
                  <a:gd name="connsiteX122" fmla="*/ 440077 w 4519987"/>
                  <a:gd name="connsiteY122" fmla="*/ 904875 h 4496940"/>
                  <a:gd name="connsiteX123" fmla="*/ 478177 w 4519987"/>
                  <a:gd name="connsiteY123" fmla="*/ 857250 h 4496940"/>
                  <a:gd name="connsiteX124" fmla="*/ 497227 w 4519987"/>
                  <a:gd name="connsiteY124" fmla="*/ 828675 h 4496940"/>
                  <a:gd name="connsiteX125" fmla="*/ 535327 w 4519987"/>
                  <a:gd name="connsiteY125" fmla="*/ 800100 h 4496940"/>
                  <a:gd name="connsiteX126" fmla="*/ 602002 w 4519987"/>
                  <a:gd name="connsiteY126" fmla="*/ 733425 h 4496940"/>
                  <a:gd name="connsiteX127" fmla="*/ 668677 w 4519987"/>
                  <a:gd name="connsiteY127" fmla="*/ 676275 h 4496940"/>
                  <a:gd name="connsiteX128" fmla="*/ 697252 w 4519987"/>
                  <a:gd name="connsiteY128" fmla="*/ 657225 h 4496940"/>
                  <a:gd name="connsiteX129" fmla="*/ 840127 w 4519987"/>
                  <a:gd name="connsiteY129" fmla="*/ 533400 h 4496940"/>
                  <a:gd name="connsiteX130" fmla="*/ 887752 w 4519987"/>
                  <a:gd name="connsiteY130" fmla="*/ 504825 h 4496940"/>
                  <a:gd name="connsiteX131" fmla="*/ 1167152 w 4519987"/>
                  <a:gd name="connsiteY131" fmla="*/ 311150 h 4496940"/>
                  <a:gd name="connsiteX132" fmla="*/ 1268752 w 4519987"/>
                  <a:gd name="connsiteY132" fmla="*/ 285750 h 4496940"/>
                  <a:gd name="connsiteX133" fmla="*/ 1411627 w 4519987"/>
                  <a:gd name="connsiteY133" fmla="*/ 190500 h 4496940"/>
                  <a:gd name="connsiteX134" fmla="*/ 1449727 w 4519987"/>
                  <a:gd name="connsiteY134" fmla="*/ 161925 h 4496940"/>
                  <a:gd name="connsiteX135" fmla="*/ 1525927 w 4519987"/>
                  <a:gd name="connsiteY135" fmla="*/ 152400 h 4496940"/>
                  <a:gd name="connsiteX136" fmla="*/ 1583077 w 4519987"/>
                  <a:gd name="connsiteY136" fmla="*/ 142875 h 4496940"/>
                  <a:gd name="connsiteX137" fmla="*/ 1716427 w 4519987"/>
                  <a:gd name="connsiteY137" fmla="*/ 123825 h 4496940"/>
                  <a:gd name="connsiteX138" fmla="*/ 1811677 w 4519987"/>
                  <a:gd name="connsiteY138" fmla="*/ 114300 h 4496940"/>
                  <a:gd name="connsiteX139" fmla="*/ 1859302 w 4519987"/>
                  <a:gd name="connsiteY139" fmla="*/ 104775 h 4496940"/>
                  <a:gd name="connsiteX140" fmla="*/ 1916452 w 4519987"/>
                  <a:gd name="connsiteY140" fmla="*/ 95250 h 4496940"/>
                  <a:gd name="connsiteX141" fmla="*/ 2030752 w 4519987"/>
                  <a:gd name="connsiteY141" fmla="*/ 66675 h 4496940"/>
                  <a:gd name="connsiteX142" fmla="*/ 2097427 w 4519987"/>
                  <a:gd name="connsiteY142" fmla="*/ 47625 h 4496940"/>
                  <a:gd name="connsiteX143" fmla="*/ 2164102 w 4519987"/>
                  <a:gd name="connsiteY143" fmla="*/ 38100 h 4496940"/>
                  <a:gd name="connsiteX144" fmla="*/ 2392702 w 4519987"/>
                  <a:gd name="connsiteY14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73902 w 4519987"/>
                  <a:gd name="connsiteY26" fmla="*/ 1428750 h 4496940"/>
                  <a:gd name="connsiteX27" fmla="*/ 4392952 w 4519987"/>
                  <a:gd name="connsiteY27" fmla="*/ 1552575 h 4496940"/>
                  <a:gd name="connsiteX28" fmla="*/ 4402477 w 4519987"/>
                  <a:gd name="connsiteY28" fmla="*/ 1590675 h 4496940"/>
                  <a:gd name="connsiteX29" fmla="*/ 4431052 w 4519987"/>
                  <a:gd name="connsiteY29" fmla="*/ 1685925 h 4496940"/>
                  <a:gd name="connsiteX30" fmla="*/ 4519952 w 4519987"/>
                  <a:gd name="connsiteY30" fmla="*/ 2181225 h 4496940"/>
                  <a:gd name="connsiteX31" fmla="*/ 4446927 w 4519987"/>
                  <a:gd name="connsiteY31" fmla="*/ 2768600 h 4496940"/>
                  <a:gd name="connsiteX32" fmla="*/ 4383427 w 4519987"/>
                  <a:gd name="connsiteY32" fmla="*/ 2990850 h 4496940"/>
                  <a:gd name="connsiteX33" fmla="*/ 4278652 w 4519987"/>
                  <a:gd name="connsiteY33" fmla="*/ 3248025 h 4496940"/>
                  <a:gd name="connsiteX34" fmla="*/ 4259602 w 4519987"/>
                  <a:gd name="connsiteY34" fmla="*/ 3276600 h 4496940"/>
                  <a:gd name="connsiteX35" fmla="*/ 4221502 w 4519987"/>
                  <a:gd name="connsiteY35" fmla="*/ 3333750 h 4496940"/>
                  <a:gd name="connsiteX36" fmla="*/ 4211977 w 4519987"/>
                  <a:gd name="connsiteY36" fmla="*/ 3362325 h 4496940"/>
                  <a:gd name="connsiteX37" fmla="*/ 4183402 w 4519987"/>
                  <a:gd name="connsiteY37" fmla="*/ 3400425 h 4496940"/>
                  <a:gd name="connsiteX38" fmla="*/ 4164352 w 4519987"/>
                  <a:gd name="connsiteY38" fmla="*/ 3429000 h 4496940"/>
                  <a:gd name="connsiteX39" fmla="*/ 4088152 w 4519987"/>
                  <a:gd name="connsiteY39" fmla="*/ 3495675 h 4496940"/>
                  <a:gd name="connsiteX40" fmla="*/ 4059577 w 4519987"/>
                  <a:gd name="connsiteY40" fmla="*/ 3533775 h 4496940"/>
                  <a:gd name="connsiteX41" fmla="*/ 4002427 w 4519987"/>
                  <a:gd name="connsiteY41" fmla="*/ 3600450 h 4496940"/>
                  <a:gd name="connsiteX42" fmla="*/ 3983377 w 4519987"/>
                  <a:gd name="connsiteY42" fmla="*/ 3629025 h 4496940"/>
                  <a:gd name="connsiteX43" fmla="*/ 3954802 w 4519987"/>
                  <a:gd name="connsiteY43" fmla="*/ 3648075 h 4496940"/>
                  <a:gd name="connsiteX44" fmla="*/ 3907177 w 4519987"/>
                  <a:gd name="connsiteY44" fmla="*/ 3686175 h 4496940"/>
                  <a:gd name="connsiteX45" fmla="*/ 3869077 w 4519987"/>
                  <a:gd name="connsiteY45" fmla="*/ 3724275 h 4496940"/>
                  <a:gd name="connsiteX46" fmla="*/ 3792877 w 4519987"/>
                  <a:gd name="connsiteY46" fmla="*/ 3781425 h 4496940"/>
                  <a:gd name="connsiteX47" fmla="*/ 3783352 w 4519987"/>
                  <a:gd name="connsiteY47" fmla="*/ 3810000 h 4496940"/>
                  <a:gd name="connsiteX48" fmla="*/ 3745252 w 4519987"/>
                  <a:gd name="connsiteY48" fmla="*/ 3819525 h 4496940"/>
                  <a:gd name="connsiteX49" fmla="*/ 3678577 w 4519987"/>
                  <a:gd name="connsiteY49" fmla="*/ 3848100 h 4496940"/>
                  <a:gd name="connsiteX50" fmla="*/ 3659527 w 4519987"/>
                  <a:gd name="connsiteY50" fmla="*/ 3971925 h 4496940"/>
                  <a:gd name="connsiteX51" fmla="*/ 3630952 w 4519987"/>
                  <a:gd name="connsiteY51" fmla="*/ 4010025 h 4496940"/>
                  <a:gd name="connsiteX52" fmla="*/ 3621427 w 4519987"/>
                  <a:gd name="connsiteY52" fmla="*/ 4038600 h 4496940"/>
                  <a:gd name="connsiteX53" fmla="*/ 3554752 w 4519987"/>
                  <a:gd name="connsiteY53" fmla="*/ 4095750 h 4496940"/>
                  <a:gd name="connsiteX54" fmla="*/ 3516652 w 4519987"/>
                  <a:gd name="connsiteY54" fmla="*/ 4114800 h 4496940"/>
                  <a:gd name="connsiteX55" fmla="*/ 3497602 w 4519987"/>
                  <a:gd name="connsiteY55" fmla="*/ 4143375 h 4496940"/>
                  <a:gd name="connsiteX56" fmla="*/ 3383302 w 4519987"/>
                  <a:gd name="connsiteY56" fmla="*/ 4210050 h 4496940"/>
                  <a:gd name="connsiteX57" fmla="*/ 3335677 w 4519987"/>
                  <a:gd name="connsiteY57" fmla="*/ 4238625 h 4496940"/>
                  <a:gd name="connsiteX58" fmla="*/ 3288052 w 4519987"/>
                  <a:gd name="connsiteY58" fmla="*/ 4248150 h 4496940"/>
                  <a:gd name="connsiteX59" fmla="*/ 3240427 w 4519987"/>
                  <a:gd name="connsiteY59" fmla="*/ 4267200 h 4496940"/>
                  <a:gd name="connsiteX60" fmla="*/ 3068977 w 4519987"/>
                  <a:gd name="connsiteY60" fmla="*/ 4286250 h 4496940"/>
                  <a:gd name="connsiteX61" fmla="*/ 2935627 w 4519987"/>
                  <a:gd name="connsiteY61" fmla="*/ 4333875 h 4496940"/>
                  <a:gd name="connsiteX62" fmla="*/ 2811802 w 4519987"/>
                  <a:gd name="connsiteY62" fmla="*/ 4371975 h 4496940"/>
                  <a:gd name="connsiteX63" fmla="*/ 2745127 w 4519987"/>
                  <a:gd name="connsiteY63" fmla="*/ 4410075 h 4496940"/>
                  <a:gd name="connsiteX64" fmla="*/ 2697502 w 4519987"/>
                  <a:gd name="connsiteY64" fmla="*/ 4429125 h 4496940"/>
                  <a:gd name="connsiteX65" fmla="*/ 2640352 w 4519987"/>
                  <a:gd name="connsiteY65" fmla="*/ 4457700 h 4496940"/>
                  <a:gd name="connsiteX66" fmla="*/ 2583202 w 4519987"/>
                  <a:gd name="connsiteY66" fmla="*/ 4467225 h 4496940"/>
                  <a:gd name="connsiteX67" fmla="*/ 2545102 w 4519987"/>
                  <a:gd name="connsiteY67" fmla="*/ 4486275 h 4496940"/>
                  <a:gd name="connsiteX68" fmla="*/ 2306977 w 4519987"/>
                  <a:gd name="connsiteY68" fmla="*/ 4476750 h 4496940"/>
                  <a:gd name="connsiteX69" fmla="*/ 2202202 w 4519987"/>
                  <a:gd name="connsiteY69" fmla="*/ 4457700 h 4496940"/>
                  <a:gd name="connsiteX70" fmla="*/ 2126002 w 4519987"/>
                  <a:gd name="connsiteY70" fmla="*/ 4429125 h 4496940"/>
                  <a:gd name="connsiteX71" fmla="*/ 1935502 w 4519987"/>
                  <a:gd name="connsiteY71" fmla="*/ 4400550 h 4496940"/>
                  <a:gd name="connsiteX72" fmla="*/ 1821202 w 4519987"/>
                  <a:gd name="connsiteY72" fmla="*/ 4371975 h 4496940"/>
                  <a:gd name="connsiteX73" fmla="*/ 1754527 w 4519987"/>
                  <a:gd name="connsiteY73" fmla="*/ 4352925 h 4496940"/>
                  <a:gd name="connsiteX74" fmla="*/ 1687852 w 4519987"/>
                  <a:gd name="connsiteY74" fmla="*/ 4343400 h 4496940"/>
                  <a:gd name="connsiteX75" fmla="*/ 1573552 w 4519987"/>
                  <a:gd name="connsiteY75" fmla="*/ 4305300 h 4496940"/>
                  <a:gd name="connsiteX76" fmla="*/ 1402102 w 4519987"/>
                  <a:gd name="connsiteY76" fmla="*/ 4276725 h 4496940"/>
                  <a:gd name="connsiteX77" fmla="*/ 1287802 w 4519987"/>
                  <a:gd name="connsiteY77" fmla="*/ 4229100 h 4496940"/>
                  <a:gd name="connsiteX78" fmla="*/ 1221127 w 4519987"/>
                  <a:gd name="connsiteY78" fmla="*/ 4200525 h 4496940"/>
                  <a:gd name="connsiteX79" fmla="*/ 1144927 w 4519987"/>
                  <a:gd name="connsiteY79" fmla="*/ 4171950 h 4496940"/>
                  <a:gd name="connsiteX80" fmla="*/ 1087777 w 4519987"/>
                  <a:gd name="connsiteY80" fmla="*/ 4143375 h 4496940"/>
                  <a:gd name="connsiteX81" fmla="*/ 1030627 w 4519987"/>
                  <a:gd name="connsiteY81" fmla="*/ 4124325 h 4496940"/>
                  <a:gd name="connsiteX82" fmla="*/ 925852 w 4519987"/>
                  <a:gd name="connsiteY82" fmla="*/ 4067175 h 4496940"/>
                  <a:gd name="connsiteX83" fmla="*/ 830602 w 4519987"/>
                  <a:gd name="connsiteY83" fmla="*/ 3981450 h 4496940"/>
                  <a:gd name="connsiteX84" fmla="*/ 763927 w 4519987"/>
                  <a:gd name="connsiteY84" fmla="*/ 3914775 h 4496940"/>
                  <a:gd name="connsiteX85" fmla="*/ 725827 w 4519987"/>
                  <a:gd name="connsiteY85" fmla="*/ 3876675 h 4496940"/>
                  <a:gd name="connsiteX86" fmla="*/ 697252 w 4519987"/>
                  <a:gd name="connsiteY86" fmla="*/ 3838575 h 4496940"/>
                  <a:gd name="connsiteX87" fmla="*/ 640102 w 4519987"/>
                  <a:gd name="connsiteY87" fmla="*/ 3781425 h 4496940"/>
                  <a:gd name="connsiteX88" fmla="*/ 611527 w 4519987"/>
                  <a:gd name="connsiteY88" fmla="*/ 3733800 h 4496940"/>
                  <a:gd name="connsiteX89" fmla="*/ 554377 w 4519987"/>
                  <a:gd name="connsiteY89" fmla="*/ 3657600 h 4496940"/>
                  <a:gd name="connsiteX90" fmla="*/ 525802 w 4519987"/>
                  <a:gd name="connsiteY90" fmla="*/ 3609975 h 4496940"/>
                  <a:gd name="connsiteX91" fmla="*/ 497227 w 4519987"/>
                  <a:gd name="connsiteY91" fmla="*/ 3552825 h 4496940"/>
                  <a:gd name="connsiteX92" fmla="*/ 440077 w 4519987"/>
                  <a:gd name="connsiteY92" fmla="*/ 3495675 h 4496940"/>
                  <a:gd name="connsiteX93" fmla="*/ 411502 w 4519987"/>
                  <a:gd name="connsiteY93" fmla="*/ 3448050 h 4496940"/>
                  <a:gd name="connsiteX94" fmla="*/ 278152 w 4519987"/>
                  <a:gd name="connsiteY94" fmla="*/ 3257550 h 4496940"/>
                  <a:gd name="connsiteX95" fmla="*/ 249577 w 4519987"/>
                  <a:gd name="connsiteY95" fmla="*/ 3200400 h 4496940"/>
                  <a:gd name="connsiteX96" fmla="*/ 240052 w 4519987"/>
                  <a:gd name="connsiteY96" fmla="*/ 3162300 h 4496940"/>
                  <a:gd name="connsiteX97" fmla="*/ 221002 w 4519987"/>
                  <a:gd name="connsiteY97" fmla="*/ 3105150 h 4496940"/>
                  <a:gd name="connsiteX98" fmla="*/ 173377 w 4519987"/>
                  <a:gd name="connsiteY98" fmla="*/ 3019425 h 4496940"/>
                  <a:gd name="connsiteX99" fmla="*/ 144802 w 4519987"/>
                  <a:gd name="connsiteY99" fmla="*/ 2924175 h 4496940"/>
                  <a:gd name="connsiteX100" fmla="*/ 68602 w 4519987"/>
                  <a:gd name="connsiteY100" fmla="*/ 2724150 h 4496940"/>
                  <a:gd name="connsiteX101" fmla="*/ 49552 w 4519987"/>
                  <a:gd name="connsiteY101" fmla="*/ 2638425 h 4496940"/>
                  <a:gd name="connsiteX102" fmla="*/ 40027 w 4519987"/>
                  <a:gd name="connsiteY102" fmla="*/ 2562225 h 4496940"/>
                  <a:gd name="connsiteX103" fmla="*/ 30502 w 4519987"/>
                  <a:gd name="connsiteY103" fmla="*/ 2514600 h 4496940"/>
                  <a:gd name="connsiteX104" fmla="*/ 11452 w 4519987"/>
                  <a:gd name="connsiteY104" fmla="*/ 2400300 h 4496940"/>
                  <a:gd name="connsiteX105" fmla="*/ 20977 w 4519987"/>
                  <a:gd name="connsiteY105" fmla="*/ 1905000 h 4496940"/>
                  <a:gd name="connsiteX106" fmla="*/ 30502 w 4519987"/>
                  <a:gd name="connsiteY106" fmla="*/ 1838325 h 4496940"/>
                  <a:gd name="connsiteX107" fmla="*/ 49552 w 4519987"/>
                  <a:gd name="connsiteY107" fmla="*/ 1781175 h 4496940"/>
                  <a:gd name="connsiteX108" fmla="*/ 59077 w 4519987"/>
                  <a:gd name="connsiteY108" fmla="*/ 1743075 h 4496940"/>
                  <a:gd name="connsiteX109" fmla="*/ 78127 w 4519987"/>
                  <a:gd name="connsiteY109" fmla="*/ 1685925 h 4496940"/>
                  <a:gd name="connsiteX110" fmla="*/ 87652 w 4519987"/>
                  <a:gd name="connsiteY110" fmla="*/ 1638300 h 4496940"/>
                  <a:gd name="connsiteX111" fmla="*/ 106702 w 4519987"/>
                  <a:gd name="connsiteY111" fmla="*/ 1590675 h 4496940"/>
                  <a:gd name="connsiteX112" fmla="*/ 135277 w 4519987"/>
                  <a:gd name="connsiteY112" fmla="*/ 1504950 h 4496940"/>
                  <a:gd name="connsiteX113" fmla="*/ 154327 w 4519987"/>
                  <a:gd name="connsiteY113" fmla="*/ 1419225 h 4496940"/>
                  <a:gd name="connsiteX114" fmla="*/ 230527 w 4519987"/>
                  <a:gd name="connsiteY114" fmla="*/ 1276350 h 4496940"/>
                  <a:gd name="connsiteX115" fmla="*/ 240052 w 4519987"/>
                  <a:gd name="connsiteY115" fmla="*/ 1247775 h 4496940"/>
                  <a:gd name="connsiteX116" fmla="*/ 268627 w 4519987"/>
                  <a:gd name="connsiteY116" fmla="*/ 1200150 h 4496940"/>
                  <a:gd name="connsiteX117" fmla="*/ 287677 w 4519987"/>
                  <a:gd name="connsiteY117" fmla="*/ 1152525 h 4496940"/>
                  <a:gd name="connsiteX118" fmla="*/ 316252 w 4519987"/>
                  <a:gd name="connsiteY118" fmla="*/ 1114425 h 4496940"/>
                  <a:gd name="connsiteX119" fmla="*/ 363877 w 4519987"/>
                  <a:gd name="connsiteY119" fmla="*/ 1038225 h 4496940"/>
                  <a:gd name="connsiteX120" fmla="*/ 382927 w 4519987"/>
                  <a:gd name="connsiteY120" fmla="*/ 1009650 h 4496940"/>
                  <a:gd name="connsiteX121" fmla="*/ 440077 w 4519987"/>
                  <a:gd name="connsiteY121" fmla="*/ 904875 h 4496940"/>
                  <a:gd name="connsiteX122" fmla="*/ 478177 w 4519987"/>
                  <a:gd name="connsiteY122" fmla="*/ 857250 h 4496940"/>
                  <a:gd name="connsiteX123" fmla="*/ 497227 w 4519987"/>
                  <a:gd name="connsiteY123" fmla="*/ 828675 h 4496940"/>
                  <a:gd name="connsiteX124" fmla="*/ 535327 w 4519987"/>
                  <a:gd name="connsiteY124" fmla="*/ 800100 h 4496940"/>
                  <a:gd name="connsiteX125" fmla="*/ 602002 w 4519987"/>
                  <a:gd name="connsiteY125" fmla="*/ 733425 h 4496940"/>
                  <a:gd name="connsiteX126" fmla="*/ 668677 w 4519987"/>
                  <a:gd name="connsiteY126" fmla="*/ 676275 h 4496940"/>
                  <a:gd name="connsiteX127" fmla="*/ 697252 w 4519987"/>
                  <a:gd name="connsiteY127" fmla="*/ 657225 h 4496940"/>
                  <a:gd name="connsiteX128" fmla="*/ 840127 w 4519987"/>
                  <a:gd name="connsiteY128" fmla="*/ 533400 h 4496940"/>
                  <a:gd name="connsiteX129" fmla="*/ 887752 w 4519987"/>
                  <a:gd name="connsiteY129" fmla="*/ 504825 h 4496940"/>
                  <a:gd name="connsiteX130" fmla="*/ 1167152 w 4519987"/>
                  <a:gd name="connsiteY130" fmla="*/ 311150 h 4496940"/>
                  <a:gd name="connsiteX131" fmla="*/ 1268752 w 4519987"/>
                  <a:gd name="connsiteY131" fmla="*/ 285750 h 4496940"/>
                  <a:gd name="connsiteX132" fmla="*/ 1411627 w 4519987"/>
                  <a:gd name="connsiteY132" fmla="*/ 190500 h 4496940"/>
                  <a:gd name="connsiteX133" fmla="*/ 1449727 w 4519987"/>
                  <a:gd name="connsiteY133" fmla="*/ 161925 h 4496940"/>
                  <a:gd name="connsiteX134" fmla="*/ 1525927 w 4519987"/>
                  <a:gd name="connsiteY134" fmla="*/ 152400 h 4496940"/>
                  <a:gd name="connsiteX135" fmla="*/ 1583077 w 4519987"/>
                  <a:gd name="connsiteY135" fmla="*/ 142875 h 4496940"/>
                  <a:gd name="connsiteX136" fmla="*/ 1716427 w 4519987"/>
                  <a:gd name="connsiteY136" fmla="*/ 123825 h 4496940"/>
                  <a:gd name="connsiteX137" fmla="*/ 1811677 w 4519987"/>
                  <a:gd name="connsiteY137" fmla="*/ 114300 h 4496940"/>
                  <a:gd name="connsiteX138" fmla="*/ 1859302 w 4519987"/>
                  <a:gd name="connsiteY138" fmla="*/ 104775 h 4496940"/>
                  <a:gd name="connsiteX139" fmla="*/ 1916452 w 4519987"/>
                  <a:gd name="connsiteY139" fmla="*/ 95250 h 4496940"/>
                  <a:gd name="connsiteX140" fmla="*/ 2030752 w 4519987"/>
                  <a:gd name="connsiteY140" fmla="*/ 66675 h 4496940"/>
                  <a:gd name="connsiteX141" fmla="*/ 2097427 w 4519987"/>
                  <a:gd name="connsiteY141" fmla="*/ 47625 h 4496940"/>
                  <a:gd name="connsiteX142" fmla="*/ 2164102 w 4519987"/>
                  <a:gd name="connsiteY142" fmla="*/ 38100 h 4496940"/>
                  <a:gd name="connsiteX143" fmla="*/ 2392702 w 4519987"/>
                  <a:gd name="connsiteY14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02477 w 4519987"/>
                  <a:gd name="connsiteY27" fmla="*/ 1590675 h 4496940"/>
                  <a:gd name="connsiteX28" fmla="*/ 4431052 w 4519987"/>
                  <a:gd name="connsiteY28" fmla="*/ 1685925 h 4496940"/>
                  <a:gd name="connsiteX29" fmla="*/ 4519952 w 4519987"/>
                  <a:gd name="connsiteY29" fmla="*/ 2181225 h 4496940"/>
                  <a:gd name="connsiteX30" fmla="*/ 4446927 w 4519987"/>
                  <a:gd name="connsiteY30" fmla="*/ 2768600 h 4496940"/>
                  <a:gd name="connsiteX31" fmla="*/ 4383427 w 4519987"/>
                  <a:gd name="connsiteY31" fmla="*/ 2990850 h 4496940"/>
                  <a:gd name="connsiteX32" fmla="*/ 4278652 w 4519987"/>
                  <a:gd name="connsiteY32" fmla="*/ 3248025 h 4496940"/>
                  <a:gd name="connsiteX33" fmla="*/ 4259602 w 4519987"/>
                  <a:gd name="connsiteY33" fmla="*/ 3276600 h 4496940"/>
                  <a:gd name="connsiteX34" fmla="*/ 4221502 w 4519987"/>
                  <a:gd name="connsiteY34" fmla="*/ 3333750 h 4496940"/>
                  <a:gd name="connsiteX35" fmla="*/ 4211977 w 4519987"/>
                  <a:gd name="connsiteY35" fmla="*/ 3362325 h 4496940"/>
                  <a:gd name="connsiteX36" fmla="*/ 4183402 w 4519987"/>
                  <a:gd name="connsiteY36" fmla="*/ 3400425 h 4496940"/>
                  <a:gd name="connsiteX37" fmla="*/ 4164352 w 4519987"/>
                  <a:gd name="connsiteY37" fmla="*/ 3429000 h 4496940"/>
                  <a:gd name="connsiteX38" fmla="*/ 4088152 w 4519987"/>
                  <a:gd name="connsiteY38" fmla="*/ 3495675 h 4496940"/>
                  <a:gd name="connsiteX39" fmla="*/ 4059577 w 4519987"/>
                  <a:gd name="connsiteY39" fmla="*/ 3533775 h 4496940"/>
                  <a:gd name="connsiteX40" fmla="*/ 4002427 w 4519987"/>
                  <a:gd name="connsiteY40" fmla="*/ 3600450 h 4496940"/>
                  <a:gd name="connsiteX41" fmla="*/ 3983377 w 4519987"/>
                  <a:gd name="connsiteY41" fmla="*/ 3629025 h 4496940"/>
                  <a:gd name="connsiteX42" fmla="*/ 3954802 w 4519987"/>
                  <a:gd name="connsiteY42" fmla="*/ 3648075 h 4496940"/>
                  <a:gd name="connsiteX43" fmla="*/ 3907177 w 4519987"/>
                  <a:gd name="connsiteY43" fmla="*/ 3686175 h 4496940"/>
                  <a:gd name="connsiteX44" fmla="*/ 3869077 w 4519987"/>
                  <a:gd name="connsiteY44" fmla="*/ 3724275 h 4496940"/>
                  <a:gd name="connsiteX45" fmla="*/ 3792877 w 4519987"/>
                  <a:gd name="connsiteY45" fmla="*/ 3781425 h 4496940"/>
                  <a:gd name="connsiteX46" fmla="*/ 3783352 w 4519987"/>
                  <a:gd name="connsiteY46" fmla="*/ 3810000 h 4496940"/>
                  <a:gd name="connsiteX47" fmla="*/ 3745252 w 4519987"/>
                  <a:gd name="connsiteY47" fmla="*/ 3819525 h 4496940"/>
                  <a:gd name="connsiteX48" fmla="*/ 3678577 w 4519987"/>
                  <a:gd name="connsiteY48" fmla="*/ 3848100 h 4496940"/>
                  <a:gd name="connsiteX49" fmla="*/ 3659527 w 4519987"/>
                  <a:gd name="connsiteY49" fmla="*/ 3971925 h 4496940"/>
                  <a:gd name="connsiteX50" fmla="*/ 3630952 w 4519987"/>
                  <a:gd name="connsiteY50" fmla="*/ 4010025 h 4496940"/>
                  <a:gd name="connsiteX51" fmla="*/ 3621427 w 4519987"/>
                  <a:gd name="connsiteY51" fmla="*/ 4038600 h 4496940"/>
                  <a:gd name="connsiteX52" fmla="*/ 3554752 w 4519987"/>
                  <a:gd name="connsiteY52" fmla="*/ 4095750 h 4496940"/>
                  <a:gd name="connsiteX53" fmla="*/ 3516652 w 4519987"/>
                  <a:gd name="connsiteY53" fmla="*/ 4114800 h 4496940"/>
                  <a:gd name="connsiteX54" fmla="*/ 3497602 w 4519987"/>
                  <a:gd name="connsiteY54" fmla="*/ 4143375 h 4496940"/>
                  <a:gd name="connsiteX55" fmla="*/ 3383302 w 4519987"/>
                  <a:gd name="connsiteY55" fmla="*/ 4210050 h 4496940"/>
                  <a:gd name="connsiteX56" fmla="*/ 3335677 w 4519987"/>
                  <a:gd name="connsiteY56" fmla="*/ 4238625 h 4496940"/>
                  <a:gd name="connsiteX57" fmla="*/ 3288052 w 4519987"/>
                  <a:gd name="connsiteY57" fmla="*/ 4248150 h 4496940"/>
                  <a:gd name="connsiteX58" fmla="*/ 3240427 w 4519987"/>
                  <a:gd name="connsiteY58" fmla="*/ 4267200 h 4496940"/>
                  <a:gd name="connsiteX59" fmla="*/ 3068977 w 4519987"/>
                  <a:gd name="connsiteY59" fmla="*/ 4286250 h 4496940"/>
                  <a:gd name="connsiteX60" fmla="*/ 2935627 w 4519987"/>
                  <a:gd name="connsiteY60" fmla="*/ 4333875 h 4496940"/>
                  <a:gd name="connsiteX61" fmla="*/ 2811802 w 4519987"/>
                  <a:gd name="connsiteY61" fmla="*/ 4371975 h 4496940"/>
                  <a:gd name="connsiteX62" fmla="*/ 2745127 w 4519987"/>
                  <a:gd name="connsiteY62" fmla="*/ 4410075 h 4496940"/>
                  <a:gd name="connsiteX63" fmla="*/ 2697502 w 4519987"/>
                  <a:gd name="connsiteY63" fmla="*/ 4429125 h 4496940"/>
                  <a:gd name="connsiteX64" fmla="*/ 2640352 w 4519987"/>
                  <a:gd name="connsiteY64" fmla="*/ 4457700 h 4496940"/>
                  <a:gd name="connsiteX65" fmla="*/ 2583202 w 4519987"/>
                  <a:gd name="connsiteY65" fmla="*/ 4467225 h 4496940"/>
                  <a:gd name="connsiteX66" fmla="*/ 2545102 w 4519987"/>
                  <a:gd name="connsiteY66" fmla="*/ 4486275 h 4496940"/>
                  <a:gd name="connsiteX67" fmla="*/ 2306977 w 4519987"/>
                  <a:gd name="connsiteY67" fmla="*/ 4476750 h 4496940"/>
                  <a:gd name="connsiteX68" fmla="*/ 2202202 w 4519987"/>
                  <a:gd name="connsiteY68" fmla="*/ 4457700 h 4496940"/>
                  <a:gd name="connsiteX69" fmla="*/ 2126002 w 4519987"/>
                  <a:gd name="connsiteY69" fmla="*/ 4429125 h 4496940"/>
                  <a:gd name="connsiteX70" fmla="*/ 1935502 w 4519987"/>
                  <a:gd name="connsiteY70" fmla="*/ 4400550 h 4496940"/>
                  <a:gd name="connsiteX71" fmla="*/ 1821202 w 4519987"/>
                  <a:gd name="connsiteY71" fmla="*/ 4371975 h 4496940"/>
                  <a:gd name="connsiteX72" fmla="*/ 1754527 w 4519987"/>
                  <a:gd name="connsiteY72" fmla="*/ 4352925 h 4496940"/>
                  <a:gd name="connsiteX73" fmla="*/ 1687852 w 4519987"/>
                  <a:gd name="connsiteY73" fmla="*/ 4343400 h 4496940"/>
                  <a:gd name="connsiteX74" fmla="*/ 1573552 w 4519987"/>
                  <a:gd name="connsiteY74" fmla="*/ 4305300 h 4496940"/>
                  <a:gd name="connsiteX75" fmla="*/ 1402102 w 4519987"/>
                  <a:gd name="connsiteY75" fmla="*/ 4276725 h 4496940"/>
                  <a:gd name="connsiteX76" fmla="*/ 1287802 w 4519987"/>
                  <a:gd name="connsiteY76" fmla="*/ 4229100 h 4496940"/>
                  <a:gd name="connsiteX77" fmla="*/ 1221127 w 4519987"/>
                  <a:gd name="connsiteY77" fmla="*/ 4200525 h 4496940"/>
                  <a:gd name="connsiteX78" fmla="*/ 1144927 w 4519987"/>
                  <a:gd name="connsiteY78" fmla="*/ 4171950 h 4496940"/>
                  <a:gd name="connsiteX79" fmla="*/ 1087777 w 4519987"/>
                  <a:gd name="connsiteY79" fmla="*/ 4143375 h 4496940"/>
                  <a:gd name="connsiteX80" fmla="*/ 1030627 w 4519987"/>
                  <a:gd name="connsiteY80" fmla="*/ 4124325 h 4496940"/>
                  <a:gd name="connsiteX81" fmla="*/ 925852 w 4519987"/>
                  <a:gd name="connsiteY81" fmla="*/ 4067175 h 4496940"/>
                  <a:gd name="connsiteX82" fmla="*/ 830602 w 4519987"/>
                  <a:gd name="connsiteY82" fmla="*/ 3981450 h 4496940"/>
                  <a:gd name="connsiteX83" fmla="*/ 763927 w 4519987"/>
                  <a:gd name="connsiteY83" fmla="*/ 3914775 h 4496940"/>
                  <a:gd name="connsiteX84" fmla="*/ 725827 w 4519987"/>
                  <a:gd name="connsiteY84" fmla="*/ 3876675 h 4496940"/>
                  <a:gd name="connsiteX85" fmla="*/ 697252 w 4519987"/>
                  <a:gd name="connsiteY85" fmla="*/ 3838575 h 4496940"/>
                  <a:gd name="connsiteX86" fmla="*/ 640102 w 4519987"/>
                  <a:gd name="connsiteY86" fmla="*/ 3781425 h 4496940"/>
                  <a:gd name="connsiteX87" fmla="*/ 611527 w 4519987"/>
                  <a:gd name="connsiteY87" fmla="*/ 3733800 h 4496940"/>
                  <a:gd name="connsiteX88" fmla="*/ 554377 w 4519987"/>
                  <a:gd name="connsiteY88" fmla="*/ 3657600 h 4496940"/>
                  <a:gd name="connsiteX89" fmla="*/ 525802 w 4519987"/>
                  <a:gd name="connsiteY89" fmla="*/ 3609975 h 4496940"/>
                  <a:gd name="connsiteX90" fmla="*/ 497227 w 4519987"/>
                  <a:gd name="connsiteY90" fmla="*/ 3552825 h 4496940"/>
                  <a:gd name="connsiteX91" fmla="*/ 440077 w 4519987"/>
                  <a:gd name="connsiteY91" fmla="*/ 3495675 h 4496940"/>
                  <a:gd name="connsiteX92" fmla="*/ 411502 w 4519987"/>
                  <a:gd name="connsiteY92" fmla="*/ 3448050 h 4496940"/>
                  <a:gd name="connsiteX93" fmla="*/ 278152 w 4519987"/>
                  <a:gd name="connsiteY93" fmla="*/ 3257550 h 4496940"/>
                  <a:gd name="connsiteX94" fmla="*/ 249577 w 4519987"/>
                  <a:gd name="connsiteY94" fmla="*/ 3200400 h 4496940"/>
                  <a:gd name="connsiteX95" fmla="*/ 240052 w 4519987"/>
                  <a:gd name="connsiteY95" fmla="*/ 3162300 h 4496940"/>
                  <a:gd name="connsiteX96" fmla="*/ 221002 w 4519987"/>
                  <a:gd name="connsiteY96" fmla="*/ 3105150 h 4496940"/>
                  <a:gd name="connsiteX97" fmla="*/ 173377 w 4519987"/>
                  <a:gd name="connsiteY97" fmla="*/ 3019425 h 4496940"/>
                  <a:gd name="connsiteX98" fmla="*/ 144802 w 4519987"/>
                  <a:gd name="connsiteY98" fmla="*/ 2924175 h 4496940"/>
                  <a:gd name="connsiteX99" fmla="*/ 68602 w 4519987"/>
                  <a:gd name="connsiteY99" fmla="*/ 2724150 h 4496940"/>
                  <a:gd name="connsiteX100" fmla="*/ 49552 w 4519987"/>
                  <a:gd name="connsiteY100" fmla="*/ 2638425 h 4496940"/>
                  <a:gd name="connsiteX101" fmla="*/ 40027 w 4519987"/>
                  <a:gd name="connsiteY101" fmla="*/ 2562225 h 4496940"/>
                  <a:gd name="connsiteX102" fmla="*/ 30502 w 4519987"/>
                  <a:gd name="connsiteY102" fmla="*/ 2514600 h 4496940"/>
                  <a:gd name="connsiteX103" fmla="*/ 11452 w 4519987"/>
                  <a:gd name="connsiteY103" fmla="*/ 2400300 h 4496940"/>
                  <a:gd name="connsiteX104" fmla="*/ 20977 w 4519987"/>
                  <a:gd name="connsiteY104" fmla="*/ 1905000 h 4496940"/>
                  <a:gd name="connsiteX105" fmla="*/ 30502 w 4519987"/>
                  <a:gd name="connsiteY105" fmla="*/ 1838325 h 4496940"/>
                  <a:gd name="connsiteX106" fmla="*/ 49552 w 4519987"/>
                  <a:gd name="connsiteY106" fmla="*/ 1781175 h 4496940"/>
                  <a:gd name="connsiteX107" fmla="*/ 59077 w 4519987"/>
                  <a:gd name="connsiteY107" fmla="*/ 1743075 h 4496940"/>
                  <a:gd name="connsiteX108" fmla="*/ 78127 w 4519987"/>
                  <a:gd name="connsiteY108" fmla="*/ 1685925 h 4496940"/>
                  <a:gd name="connsiteX109" fmla="*/ 87652 w 4519987"/>
                  <a:gd name="connsiteY109" fmla="*/ 1638300 h 4496940"/>
                  <a:gd name="connsiteX110" fmla="*/ 106702 w 4519987"/>
                  <a:gd name="connsiteY110" fmla="*/ 1590675 h 4496940"/>
                  <a:gd name="connsiteX111" fmla="*/ 135277 w 4519987"/>
                  <a:gd name="connsiteY111" fmla="*/ 1504950 h 4496940"/>
                  <a:gd name="connsiteX112" fmla="*/ 154327 w 4519987"/>
                  <a:gd name="connsiteY112" fmla="*/ 1419225 h 4496940"/>
                  <a:gd name="connsiteX113" fmla="*/ 230527 w 4519987"/>
                  <a:gd name="connsiteY113" fmla="*/ 1276350 h 4496940"/>
                  <a:gd name="connsiteX114" fmla="*/ 240052 w 4519987"/>
                  <a:gd name="connsiteY114" fmla="*/ 1247775 h 4496940"/>
                  <a:gd name="connsiteX115" fmla="*/ 268627 w 4519987"/>
                  <a:gd name="connsiteY115" fmla="*/ 1200150 h 4496940"/>
                  <a:gd name="connsiteX116" fmla="*/ 287677 w 4519987"/>
                  <a:gd name="connsiteY116" fmla="*/ 1152525 h 4496940"/>
                  <a:gd name="connsiteX117" fmla="*/ 316252 w 4519987"/>
                  <a:gd name="connsiteY117" fmla="*/ 1114425 h 4496940"/>
                  <a:gd name="connsiteX118" fmla="*/ 363877 w 4519987"/>
                  <a:gd name="connsiteY118" fmla="*/ 1038225 h 4496940"/>
                  <a:gd name="connsiteX119" fmla="*/ 382927 w 4519987"/>
                  <a:gd name="connsiteY119" fmla="*/ 1009650 h 4496940"/>
                  <a:gd name="connsiteX120" fmla="*/ 440077 w 4519987"/>
                  <a:gd name="connsiteY120" fmla="*/ 904875 h 4496940"/>
                  <a:gd name="connsiteX121" fmla="*/ 478177 w 4519987"/>
                  <a:gd name="connsiteY121" fmla="*/ 857250 h 4496940"/>
                  <a:gd name="connsiteX122" fmla="*/ 497227 w 4519987"/>
                  <a:gd name="connsiteY122" fmla="*/ 828675 h 4496940"/>
                  <a:gd name="connsiteX123" fmla="*/ 535327 w 4519987"/>
                  <a:gd name="connsiteY123" fmla="*/ 800100 h 4496940"/>
                  <a:gd name="connsiteX124" fmla="*/ 602002 w 4519987"/>
                  <a:gd name="connsiteY124" fmla="*/ 733425 h 4496940"/>
                  <a:gd name="connsiteX125" fmla="*/ 668677 w 4519987"/>
                  <a:gd name="connsiteY125" fmla="*/ 676275 h 4496940"/>
                  <a:gd name="connsiteX126" fmla="*/ 697252 w 4519987"/>
                  <a:gd name="connsiteY126" fmla="*/ 657225 h 4496940"/>
                  <a:gd name="connsiteX127" fmla="*/ 840127 w 4519987"/>
                  <a:gd name="connsiteY127" fmla="*/ 533400 h 4496940"/>
                  <a:gd name="connsiteX128" fmla="*/ 887752 w 4519987"/>
                  <a:gd name="connsiteY128" fmla="*/ 504825 h 4496940"/>
                  <a:gd name="connsiteX129" fmla="*/ 1167152 w 4519987"/>
                  <a:gd name="connsiteY129" fmla="*/ 311150 h 4496940"/>
                  <a:gd name="connsiteX130" fmla="*/ 1268752 w 4519987"/>
                  <a:gd name="connsiteY130" fmla="*/ 285750 h 4496940"/>
                  <a:gd name="connsiteX131" fmla="*/ 1411627 w 4519987"/>
                  <a:gd name="connsiteY131" fmla="*/ 190500 h 4496940"/>
                  <a:gd name="connsiteX132" fmla="*/ 1449727 w 4519987"/>
                  <a:gd name="connsiteY132" fmla="*/ 161925 h 4496940"/>
                  <a:gd name="connsiteX133" fmla="*/ 1525927 w 4519987"/>
                  <a:gd name="connsiteY133" fmla="*/ 152400 h 4496940"/>
                  <a:gd name="connsiteX134" fmla="*/ 1583077 w 4519987"/>
                  <a:gd name="connsiteY134" fmla="*/ 142875 h 4496940"/>
                  <a:gd name="connsiteX135" fmla="*/ 1716427 w 4519987"/>
                  <a:gd name="connsiteY135" fmla="*/ 123825 h 4496940"/>
                  <a:gd name="connsiteX136" fmla="*/ 1811677 w 4519987"/>
                  <a:gd name="connsiteY136" fmla="*/ 114300 h 4496940"/>
                  <a:gd name="connsiteX137" fmla="*/ 1859302 w 4519987"/>
                  <a:gd name="connsiteY137" fmla="*/ 104775 h 4496940"/>
                  <a:gd name="connsiteX138" fmla="*/ 1916452 w 4519987"/>
                  <a:gd name="connsiteY138" fmla="*/ 95250 h 4496940"/>
                  <a:gd name="connsiteX139" fmla="*/ 2030752 w 4519987"/>
                  <a:gd name="connsiteY139" fmla="*/ 66675 h 4496940"/>
                  <a:gd name="connsiteX140" fmla="*/ 2097427 w 4519987"/>
                  <a:gd name="connsiteY140" fmla="*/ 47625 h 4496940"/>
                  <a:gd name="connsiteX141" fmla="*/ 2164102 w 4519987"/>
                  <a:gd name="connsiteY141" fmla="*/ 38100 h 4496940"/>
                  <a:gd name="connsiteX142" fmla="*/ 2392702 w 4519987"/>
                  <a:gd name="connsiteY14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221502 w 4519987"/>
                  <a:gd name="connsiteY33" fmla="*/ 3333750 h 4496940"/>
                  <a:gd name="connsiteX34" fmla="*/ 4211977 w 4519987"/>
                  <a:gd name="connsiteY34" fmla="*/ 3362325 h 4496940"/>
                  <a:gd name="connsiteX35" fmla="*/ 4183402 w 4519987"/>
                  <a:gd name="connsiteY35" fmla="*/ 3400425 h 4496940"/>
                  <a:gd name="connsiteX36" fmla="*/ 4164352 w 4519987"/>
                  <a:gd name="connsiteY36" fmla="*/ 3429000 h 4496940"/>
                  <a:gd name="connsiteX37" fmla="*/ 4088152 w 4519987"/>
                  <a:gd name="connsiteY37" fmla="*/ 3495675 h 4496940"/>
                  <a:gd name="connsiteX38" fmla="*/ 4059577 w 4519987"/>
                  <a:gd name="connsiteY38" fmla="*/ 3533775 h 4496940"/>
                  <a:gd name="connsiteX39" fmla="*/ 4002427 w 4519987"/>
                  <a:gd name="connsiteY39" fmla="*/ 3600450 h 4496940"/>
                  <a:gd name="connsiteX40" fmla="*/ 3983377 w 4519987"/>
                  <a:gd name="connsiteY40" fmla="*/ 3629025 h 4496940"/>
                  <a:gd name="connsiteX41" fmla="*/ 3954802 w 4519987"/>
                  <a:gd name="connsiteY41" fmla="*/ 3648075 h 4496940"/>
                  <a:gd name="connsiteX42" fmla="*/ 3907177 w 4519987"/>
                  <a:gd name="connsiteY42" fmla="*/ 3686175 h 4496940"/>
                  <a:gd name="connsiteX43" fmla="*/ 3869077 w 4519987"/>
                  <a:gd name="connsiteY43" fmla="*/ 3724275 h 4496940"/>
                  <a:gd name="connsiteX44" fmla="*/ 3792877 w 4519987"/>
                  <a:gd name="connsiteY44" fmla="*/ 3781425 h 4496940"/>
                  <a:gd name="connsiteX45" fmla="*/ 3783352 w 4519987"/>
                  <a:gd name="connsiteY45" fmla="*/ 3810000 h 4496940"/>
                  <a:gd name="connsiteX46" fmla="*/ 3745252 w 4519987"/>
                  <a:gd name="connsiteY46" fmla="*/ 3819525 h 4496940"/>
                  <a:gd name="connsiteX47" fmla="*/ 3678577 w 4519987"/>
                  <a:gd name="connsiteY47" fmla="*/ 3848100 h 4496940"/>
                  <a:gd name="connsiteX48" fmla="*/ 3659527 w 4519987"/>
                  <a:gd name="connsiteY48" fmla="*/ 3971925 h 4496940"/>
                  <a:gd name="connsiteX49" fmla="*/ 3630952 w 4519987"/>
                  <a:gd name="connsiteY49" fmla="*/ 4010025 h 4496940"/>
                  <a:gd name="connsiteX50" fmla="*/ 3621427 w 4519987"/>
                  <a:gd name="connsiteY50" fmla="*/ 4038600 h 4496940"/>
                  <a:gd name="connsiteX51" fmla="*/ 3554752 w 4519987"/>
                  <a:gd name="connsiteY51" fmla="*/ 4095750 h 4496940"/>
                  <a:gd name="connsiteX52" fmla="*/ 3516652 w 4519987"/>
                  <a:gd name="connsiteY52" fmla="*/ 4114800 h 4496940"/>
                  <a:gd name="connsiteX53" fmla="*/ 3497602 w 4519987"/>
                  <a:gd name="connsiteY53" fmla="*/ 4143375 h 4496940"/>
                  <a:gd name="connsiteX54" fmla="*/ 3383302 w 4519987"/>
                  <a:gd name="connsiteY54" fmla="*/ 4210050 h 4496940"/>
                  <a:gd name="connsiteX55" fmla="*/ 3335677 w 4519987"/>
                  <a:gd name="connsiteY55" fmla="*/ 4238625 h 4496940"/>
                  <a:gd name="connsiteX56" fmla="*/ 3288052 w 4519987"/>
                  <a:gd name="connsiteY56" fmla="*/ 4248150 h 4496940"/>
                  <a:gd name="connsiteX57" fmla="*/ 3240427 w 4519987"/>
                  <a:gd name="connsiteY57" fmla="*/ 4267200 h 4496940"/>
                  <a:gd name="connsiteX58" fmla="*/ 3068977 w 4519987"/>
                  <a:gd name="connsiteY58" fmla="*/ 4286250 h 4496940"/>
                  <a:gd name="connsiteX59" fmla="*/ 2935627 w 4519987"/>
                  <a:gd name="connsiteY59" fmla="*/ 4333875 h 4496940"/>
                  <a:gd name="connsiteX60" fmla="*/ 2811802 w 4519987"/>
                  <a:gd name="connsiteY60" fmla="*/ 4371975 h 4496940"/>
                  <a:gd name="connsiteX61" fmla="*/ 2745127 w 4519987"/>
                  <a:gd name="connsiteY61" fmla="*/ 4410075 h 4496940"/>
                  <a:gd name="connsiteX62" fmla="*/ 2697502 w 4519987"/>
                  <a:gd name="connsiteY62" fmla="*/ 4429125 h 4496940"/>
                  <a:gd name="connsiteX63" fmla="*/ 2640352 w 4519987"/>
                  <a:gd name="connsiteY63" fmla="*/ 4457700 h 4496940"/>
                  <a:gd name="connsiteX64" fmla="*/ 2583202 w 4519987"/>
                  <a:gd name="connsiteY64" fmla="*/ 4467225 h 4496940"/>
                  <a:gd name="connsiteX65" fmla="*/ 2545102 w 4519987"/>
                  <a:gd name="connsiteY65" fmla="*/ 4486275 h 4496940"/>
                  <a:gd name="connsiteX66" fmla="*/ 2306977 w 4519987"/>
                  <a:gd name="connsiteY66" fmla="*/ 4476750 h 4496940"/>
                  <a:gd name="connsiteX67" fmla="*/ 2202202 w 4519987"/>
                  <a:gd name="connsiteY67" fmla="*/ 4457700 h 4496940"/>
                  <a:gd name="connsiteX68" fmla="*/ 2126002 w 4519987"/>
                  <a:gd name="connsiteY68" fmla="*/ 4429125 h 4496940"/>
                  <a:gd name="connsiteX69" fmla="*/ 1935502 w 4519987"/>
                  <a:gd name="connsiteY69" fmla="*/ 4400550 h 4496940"/>
                  <a:gd name="connsiteX70" fmla="*/ 1821202 w 4519987"/>
                  <a:gd name="connsiteY70" fmla="*/ 4371975 h 4496940"/>
                  <a:gd name="connsiteX71" fmla="*/ 1754527 w 4519987"/>
                  <a:gd name="connsiteY71" fmla="*/ 4352925 h 4496940"/>
                  <a:gd name="connsiteX72" fmla="*/ 1687852 w 4519987"/>
                  <a:gd name="connsiteY72" fmla="*/ 4343400 h 4496940"/>
                  <a:gd name="connsiteX73" fmla="*/ 1573552 w 4519987"/>
                  <a:gd name="connsiteY73" fmla="*/ 4305300 h 4496940"/>
                  <a:gd name="connsiteX74" fmla="*/ 1402102 w 4519987"/>
                  <a:gd name="connsiteY74" fmla="*/ 4276725 h 4496940"/>
                  <a:gd name="connsiteX75" fmla="*/ 1287802 w 4519987"/>
                  <a:gd name="connsiteY75" fmla="*/ 4229100 h 4496940"/>
                  <a:gd name="connsiteX76" fmla="*/ 1221127 w 4519987"/>
                  <a:gd name="connsiteY76" fmla="*/ 4200525 h 4496940"/>
                  <a:gd name="connsiteX77" fmla="*/ 1144927 w 4519987"/>
                  <a:gd name="connsiteY77" fmla="*/ 4171950 h 4496940"/>
                  <a:gd name="connsiteX78" fmla="*/ 1087777 w 4519987"/>
                  <a:gd name="connsiteY78" fmla="*/ 4143375 h 4496940"/>
                  <a:gd name="connsiteX79" fmla="*/ 1030627 w 4519987"/>
                  <a:gd name="connsiteY79" fmla="*/ 4124325 h 4496940"/>
                  <a:gd name="connsiteX80" fmla="*/ 925852 w 4519987"/>
                  <a:gd name="connsiteY80" fmla="*/ 4067175 h 4496940"/>
                  <a:gd name="connsiteX81" fmla="*/ 830602 w 4519987"/>
                  <a:gd name="connsiteY81" fmla="*/ 3981450 h 4496940"/>
                  <a:gd name="connsiteX82" fmla="*/ 763927 w 4519987"/>
                  <a:gd name="connsiteY82" fmla="*/ 3914775 h 4496940"/>
                  <a:gd name="connsiteX83" fmla="*/ 725827 w 4519987"/>
                  <a:gd name="connsiteY83" fmla="*/ 3876675 h 4496940"/>
                  <a:gd name="connsiteX84" fmla="*/ 697252 w 4519987"/>
                  <a:gd name="connsiteY84" fmla="*/ 3838575 h 4496940"/>
                  <a:gd name="connsiteX85" fmla="*/ 640102 w 4519987"/>
                  <a:gd name="connsiteY85" fmla="*/ 3781425 h 4496940"/>
                  <a:gd name="connsiteX86" fmla="*/ 611527 w 4519987"/>
                  <a:gd name="connsiteY86" fmla="*/ 3733800 h 4496940"/>
                  <a:gd name="connsiteX87" fmla="*/ 554377 w 4519987"/>
                  <a:gd name="connsiteY87" fmla="*/ 3657600 h 4496940"/>
                  <a:gd name="connsiteX88" fmla="*/ 525802 w 4519987"/>
                  <a:gd name="connsiteY88" fmla="*/ 3609975 h 4496940"/>
                  <a:gd name="connsiteX89" fmla="*/ 497227 w 4519987"/>
                  <a:gd name="connsiteY89" fmla="*/ 3552825 h 4496940"/>
                  <a:gd name="connsiteX90" fmla="*/ 440077 w 4519987"/>
                  <a:gd name="connsiteY90" fmla="*/ 3495675 h 4496940"/>
                  <a:gd name="connsiteX91" fmla="*/ 411502 w 4519987"/>
                  <a:gd name="connsiteY91" fmla="*/ 3448050 h 4496940"/>
                  <a:gd name="connsiteX92" fmla="*/ 278152 w 4519987"/>
                  <a:gd name="connsiteY92" fmla="*/ 3257550 h 4496940"/>
                  <a:gd name="connsiteX93" fmla="*/ 249577 w 4519987"/>
                  <a:gd name="connsiteY93" fmla="*/ 3200400 h 4496940"/>
                  <a:gd name="connsiteX94" fmla="*/ 240052 w 4519987"/>
                  <a:gd name="connsiteY94" fmla="*/ 3162300 h 4496940"/>
                  <a:gd name="connsiteX95" fmla="*/ 221002 w 4519987"/>
                  <a:gd name="connsiteY95" fmla="*/ 3105150 h 4496940"/>
                  <a:gd name="connsiteX96" fmla="*/ 173377 w 4519987"/>
                  <a:gd name="connsiteY96" fmla="*/ 3019425 h 4496940"/>
                  <a:gd name="connsiteX97" fmla="*/ 144802 w 4519987"/>
                  <a:gd name="connsiteY97" fmla="*/ 2924175 h 4496940"/>
                  <a:gd name="connsiteX98" fmla="*/ 68602 w 4519987"/>
                  <a:gd name="connsiteY98" fmla="*/ 2724150 h 4496940"/>
                  <a:gd name="connsiteX99" fmla="*/ 49552 w 4519987"/>
                  <a:gd name="connsiteY99" fmla="*/ 2638425 h 4496940"/>
                  <a:gd name="connsiteX100" fmla="*/ 40027 w 4519987"/>
                  <a:gd name="connsiteY100" fmla="*/ 2562225 h 4496940"/>
                  <a:gd name="connsiteX101" fmla="*/ 30502 w 4519987"/>
                  <a:gd name="connsiteY101" fmla="*/ 2514600 h 4496940"/>
                  <a:gd name="connsiteX102" fmla="*/ 11452 w 4519987"/>
                  <a:gd name="connsiteY102" fmla="*/ 2400300 h 4496940"/>
                  <a:gd name="connsiteX103" fmla="*/ 20977 w 4519987"/>
                  <a:gd name="connsiteY103" fmla="*/ 1905000 h 4496940"/>
                  <a:gd name="connsiteX104" fmla="*/ 30502 w 4519987"/>
                  <a:gd name="connsiteY104" fmla="*/ 1838325 h 4496940"/>
                  <a:gd name="connsiteX105" fmla="*/ 49552 w 4519987"/>
                  <a:gd name="connsiteY105" fmla="*/ 1781175 h 4496940"/>
                  <a:gd name="connsiteX106" fmla="*/ 59077 w 4519987"/>
                  <a:gd name="connsiteY106" fmla="*/ 1743075 h 4496940"/>
                  <a:gd name="connsiteX107" fmla="*/ 78127 w 4519987"/>
                  <a:gd name="connsiteY107" fmla="*/ 1685925 h 4496940"/>
                  <a:gd name="connsiteX108" fmla="*/ 87652 w 4519987"/>
                  <a:gd name="connsiteY108" fmla="*/ 1638300 h 4496940"/>
                  <a:gd name="connsiteX109" fmla="*/ 106702 w 4519987"/>
                  <a:gd name="connsiteY109" fmla="*/ 1590675 h 4496940"/>
                  <a:gd name="connsiteX110" fmla="*/ 135277 w 4519987"/>
                  <a:gd name="connsiteY110" fmla="*/ 1504950 h 4496940"/>
                  <a:gd name="connsiteX111" fmla="*/ 154327 w 4519987"/>
                  <a:gd name="connsiteY111" fmla="*/ 1419225 h 4496940"/>
                  <a:gd name="connsiteX112" fmla="*/ 230527 w 4519987"/>
                  <a:gd name="connsiteY112" fmla="*/ 1276350 h 4496940"/>
                  <a:gd name="connsiteX113" fmla="*/ 240052 w 4519987"/>
                  <a:gd name="connsiteY113" fmla="*/ 1247775 h 4496940"/>
                  <a:gd name="connsiteX114" fmla="*/ 268627 w 4519987"/>
                  <a:gd name="connsiteY114" fmla="*/ 1200150 h 4496940"/>
                  <a:gd name="connsiteX115" fmla="*/ 287677 w 4519987"/>
                  <a:gd name="connsiteY115" fmla="*/ 1152525 h 4496940"/>
                  <a:gd name="connsiteX116" fmla="*/ 316252 w 4519987"/>
                  <a:gd name="connsiteY116" fmla="*/ 1114425 h 4496940"/>
                  <a:gd name="connsiteX117" fmla="*/ 363877 w 4519987"/>
                  <a:gd name="connsiteY117" fmla="*/ 1038225 h 4496940"/>
                  <a:gd name="connsiteX118" fmla="*/ 382927 w 4519987"/>
                  <a:gd name="connsiteY118" fmla="*/ 1009650 h 4496940"/>
                  <a:gd name="connsiteX119" fmla="*/ 440077 w 4519987"/>
                  <a:gd name="connsiteY119" fmla="*/ 904875 h 4496940"/>
                  <a:gd name="connsiteX120" fmla="*/ 478177 w 4519987"/>
                  <a:gd name="connsiteY120" fmla="*/ 857250 h 4496940"/>
                  <a:gd name="connsiteX121" fmla="*/ 497227 w 4519987"/>
                  <a:gd name="connsiteY121" fmla="*/ 828675 h 4496940"/>
                  <a:gd name="connsiteX122" fmla="*/ 535327 w 4519987"/>
                  <a:gd name="connsiteY122" fmla="*/ 800100 h 4496940"/>
                  <a:gd name="connsiteX123" fmla="*/ 602002 w 4519987"/>
                  <a:gd name="connsiteY123" fmla="*/ 733425 h 4496940"/>
                  <a:gd name="connsiteX124" fmla="*/ 668677 w 4519987"/>
                  <a:gd name="connsiteY124" fmla="*/ 676275 h 4496940"/>
                  <a:gd name="connsiteX125" fmla="*/ 697252 w 4519987"/>
                  <a:gd name="connsiteY125" fmla="*/ 657225 h 4496940"/>
                  <a:gd name="connsiteX126" fmla="*/ 840127 w 4519987"/>
                  <a:gd name="connsiteY126" fmla="*/ 533400 h 4496940"/>
                  <a:gd name="connsiteX127" fmla="*/ 887752 w 4519987"/>
                  <a:gd name="connsiteY127" fmla="*/ 504825 h 4496940"/>
                  <a:gd name="connsiteX128" fmla="*/ 1167152 w 4519987"/>
                  <a:gd name="connsiteY128" fmla="*/ 311150 h 4496940"/>
                  <a:gd name="connsiteX129" fmla="*/ 1268752 w 4519987"/>
                  <a:gd name="connsiteY129" fmla="*/ 285750 h 4496940"/>
                  <a:gd name="connsiteX130" fmla="*/ 1411627 w 4519987"/>
                  <a:gd name="connsiteY130" fmla="*/ 190500 h 4496940"/>
                  <a:gd name="connsiteX131" fmla="*/ 1449727 w 4519987"/>
                  <a:gd name="connsiteY131" fmla="*/ 161925 h 4496940"/>
                  <a:gd name="connsiteX132" fmla="*/ 1525927 w 4519987"/>
                  <a:gd name="connsiteY132" fmla="*/ 152400 h 4496940"/>
                  <a:gd name="connsiteX133" fmla="*/ 1583077 w 4519987"/>
                  <a:gd name="connsiteY133" fmla="*/ 142875 h 4496940"/>
                  <a:gd name="connsiteX134" fmla="*/ 1716427 w 4519987"/>
                  <a:gd name="connsiteY134" fmla="*/ 123825 h 4496940"/>
                  <a:gd name="connsiteX135" fmla="*/ 1811677 w 4519987"/>
                  <a:gd name="connsiteY135" fmla="*/ 114300 h 4496940"/>
                  <a:gd name="connsiteX136" fmla="*/ 1859302 w 4519987"/>
                  <a:gd name="connsiteY136" fmla="*/ 104775 h 4496940"/>
                  <a:gd name="connsiteX137" fmla="*/ 1916452 w 4519987"/>
                  <a:gd name="connsiteY137" fmla="*/ 95250 h 4496940"/>
                  <a:gd name="connsiteX138" fmla="*/ 2030752 w 4519987"/>
                  <a:gd name="connsiteY138" fmla="*/ 66675 h 4496940"/>
                  <a:gd name="connsiteX139" fmla="*/ 2097427 w 4519987"/>
                  <a:gd name="connsiteY139" fmla="*/ 47625 h 4496940"/>
                  <a:gd name="connsiteX140" fmla="*/ 2164102 w 4519987"/>
                  <a:gd name="connsiteY140" fmla="*/ 38100 h 4496940"/>
                  <a:gd name="connsiteX141" fmla="*/ 2392702 w 4519987"/>
                  <a:gd name="connsiteY14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221502 w 4519987"/>
                  <a:gd name="connsiteY33" fmla="*/ 3333750 h 4496940"/>
                  <a:gd name="connsiteX34" fmla="*/ 4211977 w 4519987"/>
                  <a:gd name="connsiteY34" fmla="*/ 3362325 h 4496940"/>
                  <a:gd name="connsiteX35" fmla="*/ 4183402 w 4519987"/>
                  <a:gd name="connsiteY35" fmla="*/ 3400425 h 4496940"/>
                  <a:gd name="connsiteX36" fmla="*/ 4088152 w 4519987"/>
                  <a:gd name="connsiteY36" fmla="*/ 3495675 h 4496940"/>
                  <a:gd name="connsiteX37" fmla="*/ 4059577 w 4519987"/>
                  <a:gd name="connsiteY37" fmla="*/ 3533775 h 4496940"/>
                  <a:gd name="connsiteX38" fmla="*/ 4002427 w 4519987"/>
                  <a:gd name="connsiteY38" fmla="*/ 3600450 h 4496940"/>
                  <a:gd name="connsiteX39" fmla="*/ 3983377 w 4519987"/>
                  <a:gd name="connsiteY39" fmla="*/ 3629025 h 4496940"/>
                  <a:gd name="connsiteX40" fmla="*/ 3954802 w 4519987"/>
                  <a:gd name="connsiteY40" fmla="*/ 3648075 h 4496940"/>
                  <a:gd name="connsiteX41" fmla="*/ 3907177 w 4519987"/>
                  <a:gd name="connsiteY41" fmla="*/ 3686175 h 4496940"/>
                  <a:gd name="connsiteX42" fmla="*/ 3869077 w 4519987"/>
                  <a:gd name="connsiteY42" fmla="*/ 3724275 h 4496940"/>
                  <a:gd name="connsiteX43" fmla="*/ 3792877 w 4519987"/>
                  <a:gd name="connsiteY43" fmla="*/ 3781425 h 4496940"/>
                  <a:gd name="connsiteX44" fmla="*/ 3783352 w 4519987"/>
                  <a:gd name="connsiteY44" fmla="*/ 3810000 h 4496940"/>
                  <a:gd name="connsiteX45" fmla="*/ 3745252 w 4519987"/>
                  <a:gd name="connsiteY45" fmla="*/ 3819525 h 4496940"/>
                  <a:gd name="connsiteX46" fmla="*/ 3678577 w 4519987"/>
                  <a:gd name="connsiteY46" fmla="*/ 3848100 h 4496940"/>
                  <a:gd name="connsiteX47" fmla="*/ 3659527 w 4519987"/>
                  <a:gd name="connsiteY47" fmla="*/ 3971925 h 4496940"/>
                  <a:gd name="connsiteX48" fmla="*/ 3630952 w 4519987"/>
                  <a:gd name="connsiteY48" fmla="*/ 4010025 h 4496940"/>
                  <a:gd name="connsiteX49" fmla="*/ 3621427 w 4519987"/>
                  <a:gd name="connsiteY49" fmla="*/ 4038600 h 4496940"/>
                  <a:gd name="connsiteX50" fmla="*/ 3554752 w 4519987"/>
                  <a:gd name="connsiteY50" fmla="*/ 4095750 h 4496940"/>
                  <a:gd name="connsiteX51" fmla="*/ 3516652 w 4519987"/>
                  <a:gd name="connsiteY51" fmla="*/ 4114800 h 4496940"/>
                  <a:gd name="connsiteX52" fmla="*/ 3497602 w 4519987"/>
                  <a:gd name="connsiteY52" fmla="*/ 4143375 h 4496940"/>
                  <a:gd name="connsiteX53" fmla="*/ 3383302 w 4519987"/>
                  <a:gd name="connsiteY53" fmla="*/ 4210050 h 4496940"/>
                  <a:gd name="connsiteX54" fmla="*/ 3335677 w 4519987"/>
                  <a:gd name="connsiteY54" fmla="*/ 4238625 h 4496940"/>
                  <a:gd name="connsiteX55" fmla="*/ 3288052 w 4519987"/>
                  <a:gd name="connsiteY55" fmla="*/ 4248150 h 4496940"/>
                  <a:gd name="connsiteX56" fmla="*/ 3240427 w 4519987"/>
                  <a:gd name="connsiteY56" fmla="*/ 4267200 h 4496940"/>
                  <a:gd name="connsiteX57" fmla="*/ 3068977 w 4519987"/>
                  <a:gd name="connsiteY57" fmla="*/ 4286250 h 4496940"/>
                  <a:gd name="connsiteX58" fmla="*/ 2935627 w 4519987"/>
                  <a:gd name="connsiteY58" fmla="*/ 4333875 h 4496940"/>
                  <a:gd name="connsiteX59" fmla="*/ 2811802 w 4519987"/>
                  <a:gd name="connsiteY59" fmla="*/ 4371975 h 4496940"/>
                  <a:gd name="connsiteX60" fmla="*/ 2745127 w 4519987"/>
                  <a:gd name="connsiteY60" fmla="*/ 4410075 h 4496940"/>
                  <a:gd name="connsiteX61" fmla="*/ 2697502 w 4519987"/>
                  <a:gd name="connsiteY61" fmla="*/ 4429125 h 4496940"/>
                  <a:gd name="connsiteX62" fmla="*/ 2640352 w 4519987"/>
                  <a:gd name="connsiteY62" fmla="*/ 4457700 h 4496940"/>
                  <a:gd name="connsiteX63" fmla="*/ 2583202 w 4519987"/>
                  <a:gd name="connsiteY63" fmla="*/ 4467225 h 4496940"/>
                  <a:gd name="connsiteX64" fmla="*/ 2545102 w 4519987"/>
                  <a:gd name="connsiteY64" fmla="*/ 4486275 h 4496940"/>
                  <a:gd name="connsiteX65" fmla="*/ 2306977 w 4519987"/>
                  <a:gd name="connsiteY65" fmla="*/ 4476750 h 4496940"/>
                  <a:gd name="connsiteX66" fmla="*/ 2202202 w 4519987"/>
                  <a:gd name="connsiteY66" fmla="*/ 4457700 h 4496940"/>
                  <a:gd name="connsiteX67" fmla="*/ 2126002 w 4519987"/>
                  <a:gd name="connsiteY67" fmla="*/ 4429125 h 4496940"/>
                  <a:gd name="connsiteX68" fmla="*/ 1935502 w 4519987"/>
                  <a:gd name="connsiteY68" fmla="*/ 4400550 h 4496940"/>
                  <a:gd name="connsiteX69" fmla="*/ 1821202 w 4519987"/>
                  <a:gd name="connsiteY69" fmla="*/ 4371975 h 4496940"/>
                  <a:gd name="connsiteX70" fmla="*/ 1754527 w 4519987"/>
                  <a:gd name="connsiteY70" fmla="*/ 4352925 h 4496940"/>
                  <a:gd name="connsiteX71" fmla="*/ 1687852 w 4519987"/>
                  <a:gd name="connsiteY71" fmla="*/ 4343400 h 4496940"/>
                  <a:gd name="connsiteX72" fmla="*/ 1573552 w 4519987"/>
                  <a:gd name="connsiteY72" fmla="*/ 4305300 h 4496940"/>
                  <a:gd name="connsiteX73" fmla="*/ 1402102 w 4519987"/>
                  <a:gd name="connsiteY73" fmla="*/ 4276725 h 4496940"/>
                  <a:gd name="connsiteX74" fmla="*/ 1287802 w 4519987"/>
                  <a:gd name="connsiteY74" fmla="*/ 4229100 h 4496940"/>
                  <a:gd name="connsiteX75" fmla="*/ 1221127 w 4519987"/>
                  <a:gd name="connsiteY75" fmla="*/ 4200525 h 4496940"/>
                  <a:gd name="connsiteX76" fmla="*/ 1144927 w 4519987"/>
                  <a:gd name="connsiteY76" fmla="*/ 4171950 h 4496940"/>
                  <a:gd name="connsiteX77" fmla="*/ 1087777 w 4519987"/>
                  <a:gd name="connsiteY77" fmla="*/ 4143375 h 4496940"/>
                  <a:gd name="connsiteX78" fmla="*/ 1030627 w 4519987"/>
                  <a:gd name="connsiteY78" fmla="*/ 4124325 h 4496940"/>
                  <a:gd name="connsiteX79" fmla="*/ 925852 w 4519987"/>
                  <a:gd name="connsiteY79" fmla="*/ 4067175 h 4496940"/>
                  <a:gd name="connsiteX80" fmla="*/ 830602 w 4519987"/>
                  <a:gd name="connsiteY80" fmla="*/ 3981450 h 4496940"/>
                  <a:gd name="connsiteX81" fmla="*/ 763927 w 4519987"/>
                  <a:gd name="connsiteY81" fmla="*/ 3914775 h 4496940"/>
                  <a:gd name="connsiteX82" fmla="*/ 725827 w 4519987"/>
                  <a:gd name="connsiteY82" fmla="*/ 3876675 h 4496940"/>
                  <a:gd name="connsiteX83" fmla="*/ 697252 w 4519987"/>
                  <a:gd name="connsiteY83" fmla="*/ 3838575 h 4496940"/>
                  <a:gd name="connsiteX84" fmla="*/ 640102 w 4519987"/>
                  <a:gd name="connsiteY84" fmla="*/ 3781425 h 4496940"/>
                  <a:gd name="connsiteX85" fmla="*/ 611527 w 4519987"/>
                  <a:gd name="connsiteY85" fmla="*/ 3733800 h 4496940"/>
                  <a:gd name="connsiteX86" fmla="*/ 554377 w 4519987"/>
                  <a:gd name="connsiteY86" fmla="*/ 3657600 h 4496940"/>
                  <a:gd name="connsiteX87" fmla="*/ 525802 w 4519987"/>
                  <a:gd name="connsiteY87" fmla="*/ 3609975 h 4496940"/>
                  <a:gd name="connsiteX88" fmla="*/ 497227 w 4519987"/>
                  <a:gd name="connsiteY88" fmla="*/ 3552825 h 4496940"/>
                  <a:gd name="connsiteX89" fmla="*/ 440077 w 4519987"/>
                  <a:gd name="connsiteY89" fmla="*/ 3495675 h 4496940"/>
                  <a:gd name="connsiteX90" fmla="*/ 411502 w 4519987"/>
                  <a:gd name="connsiteY90" fmla="*/ 3448050 h 4496940"/>
                  <a:gd name="connsiteX91" fmla="*/ 278152 w 4519987"/>
                  <a:gd name="connsiteY91" fmla="*/ 3257550 h 4496940"/>
                  <a:gd name="connsiteX92" fmla="*/ 249577 w 4519987"/>
                  <a:gd name="connsiteY92" fmla="*/ 3200400 h 4496940"/>
                  <a:gd name="connsiteX93" fmla="*/ 240052 w 4519987"/>
                  <a:gd name="connsiteY93" fmla="*/ 3162300 h 4496940"/>
                  <a:gd name="connsiteX94" fmla="*/ 221002 w 4519987"/>
                  <a:gd name="connsiteY94" fmla="*/ 3105150 h 4496940"/>
                  <a:gd name="connsiteX95" fmla="*/ 173377 w 4519987"/>
                  <a:gd name="connsiteY95" fmla="*/ 3019425 h 4496940"/>
                  <a:gd name="connsiteX96" fmla="*/ 144802 w 4519987"/>
                  <a:gd name="connsiteY96" fmla="*/ 2924175 h 4496940"/>
                  <a:gd name="connsiteX97" fmla="*/ 68602 w 4519987"/>
                  <a:gd name="connsiteY97" fmla="*/ 2724150 h 4496940"/>
                  <a:gd name="connsiteX98" fmla="*/ 49552 w 4519987"/>
                  <a:gd name="connsiteY98" fmla="*/ 2638425 h 4496940"/>
                  <a:gd name="connsiteX99" fmla="*/ 40027 w 4519987"/>
                  <a:gd name="connsiteY99" fmla="*/ 2562225 h 4496940"/>
                  <a:gd name="connsiteX100" fmla="*/ 30502 w 4519987"/>
                  <a:gd name="connsiteY100" fmla="*/ 2514600 h 4496940"/>
                  <a:gd name="connsiteX101" fmla="*/ 11452 w 4519987"/>
                  <a:gd name="connsiteY101" fmla="*/ 2400300 h 4496940"/>
                  <a:gd name="connsiteX102" fmla="*/ 20977 w 4519987"/>
                  <a:gd name="connsiteY102" fmla="*/ 1905000 h 4496940"/>
                  <a:gd name="connsiteX103" fmla="*/ 30502 w 4519987"/>
                  <a:gd name="connsiteY103" fmla="*/ 1838325 h 4496940"/>
                  <a:gd name="connsiteX104" fmla="*/ 49552 w 4519987"/>
                  <a:gd name="connsiteY104" fmla="*/ 1781175 h 4496940"/>
                  <a:gd name="connsiteX105" fmla="*/ 59077 w 4519987"/>
                  <a:gd name="connsiteY105" fmla="*/ 1743075 h 4496940"/>
                  <a:gd name="connsiteX106" fmla="*/ 78127 w 4519987"/>
                  <a:gd name="connsiteY106" fmla="*/ 1685925 h 4496940"/>
                  <a:gd name="connsiteX107" fmla="*/ 87652 w 4519987"/>
                  <a:gd name="connsiteY107" fmla="*/ 1638300 h 4496940"/>
                  <a:gd name="connsiteX108" fmla="*/ 106702 w 4519987"/>
                  <a:gd name="connsiteY108" fmla="*/ 1590675 h 4496940"/>
                  <a:gd name="connsiteX109" fmla="*/ 135277 w 4519987"/>
                  <a:gd name="connsiteY109" fmla="*/ 1504950 h 4496940"/>
                  <a:gd name="connsiteX110" fmla="*/ 154327 w 4519987"/>
                  <a:gd name="connsiteY110" fmla="*/ 1419225 h 4496940"/>
                  <a:gd name="connsiteX111" fmla="*/ 230527 w 4519987"/>
                  <a:gd name="connsiteY111" fmla="*/ 1276350 h 4496940"/>
                  <a:gd name="connsiteX112" fmla="*/ 240052 w 4519987"/>
                  <a:gd name="connsiteY112" fmla="*/ 1247775 h 4496940"/>
                  <a:gd name="connsiteX113" fmla="*/ 268627 w 4519987"/>
                  <a:gd name="connsiteY113" fmla="*/ 1200150 h 4496940"/>
                  <a:gd name="connsiteX114" fmla="*/ 287677 w 4519987"/>
                  <a:gd name="connsiteY114" fmla="*/ 1152525 h 4496940"/>
                  <a:gd name="connsiteX115" fmla="*/ 316252 w 4519987"/>
                  <a:gd name="connsiteY115" fmla="*/ 1114425 h 4496940"/>
                  <a:gd name="connsiteX116" fmla="*/ 363877 w 4519987"/>
                  <a:gd name="connsiteY116" fmla="*/ 1038225 h 4496940"/>
                  <a:gd name="connsiteX117" fmla="*/ 382927 w 4519987"/>
                  <a:gd name="connsiteY117" fmla="*/ 1009650 h 4496940"/>
                  <a:gd name="connsiteX118" fmla="*/ 440077 w 4519987"/>
                  <a:gd name="connsiteY118" fmla="*/ 904875 h 4496940"/>
                  <a:gd name="connsiteX119" fmla="*/ 478177 w 4519987"/>
                  <a:gd name="connsiteY119" fmla="*/ 857250 h 4496940"/>
                  <a:gd name="connsiteX120" fmla="*/ 497227 w 4519987"/>
                  <a:gd name="connsiteY120" fmla="*/ 828675 h 4496940"/>
                  <a:gd name="connsiteX121" fmla="*/ 535327 w 4519987"/>
                  <a:gd name="connsiteY121" fmla="*/ 800100 h 4496940"/>
                  <a:gd name="connsiteX122" fmla="*/ 602002 w 4519987"/>
                  <a:gd name="connsiteY122" fmla="*/ 733425 h 4496940"/>
                  <a:gd name="connsiteX123" fmla="*/ 668677 w 4519987"/>
                  <a:gd name="connsiteY123" fmla="*/ 676275 h 4496940"/>
                  <a:gd name="connsiteX124" fmla="*/ 697252 w 4519987"/>
                  <a:gd name="connsiteY124" fmla="*/ 657225 h 4496940"/>
                  <a:gd name="connsiteX125" fmla="*/ 840127 w 4519987"/>
                  <a:gd name="connsiteY125" fmla="*/ 533400 h 4496940"/>
                  <a:gd name="connsiteX126" fmla="*/ 887752 w 4519987"/>
                  <a:gd name="connsiteY126" fmla="*/ 504825 h 4496940"/>
                  <a:gd name="connsiteX127" fmla="*/ 1167152 w 4519987"/>
                  <a:gd name="connsiteY127" fmla="*/ 311150 h 4496940"/>
                  <a:gd name="connsiteX128" fmla="*/ 1268752 w 4519987"/>
                  <a:gd name="connsiteY128" fmla="*/ 285750 h 4496940"/>
                  <a:gd name="connsiteX129" fmla="*/ 1411627 w 4519987"/>
                  <a:gd name="connsiteY129" fmla="*/ 190500 h 4496940"/>
                  <a:gd name="connsiteX130" fmla="*/ 1449727 w 4519987"/>
                  <a:gd name="connsiteY130" fmla="*/ 161925 h 4496940"/>
                  <a:gd name="connsiteX131" fmla="*/ 1525927 w 4519987"/>
                  <a:gd name="connsiteY131" fmla="*/ 152400 h 4496940"/>
                  <a:gd name="connsiteX132" fmla="*/ 1583077 w 4519987"/>
                  <a:gd name="connsiteY132" fmla="*/ 142875 h 4496940"/>
                  <a:gd name="connsiteX133" fmla="*/ 1716427 w 4519987"/>
                  <a:gd name="connsiteY133" fmla="*/ 123825 h 4496940"/>
                  <a:gd name="connsiteX134" fmla="*/ 1811677 w 4519987"/>
                  <a:gd name="connsiteY134" fmla="*/ 114300 h 4496940"/>
                  <a:gd name="connsiteX135" fmla="*/ 1859302 w 4519987"/>
                  <a:gd name="connsiteY135" fmla="*/ 104775 h 4496940"/>
                  <a:gd name="connsiteX136" fmla="*/ 1916452 w 4519987"/>
                  <a:gd name="connsiteY136" fmla="*/ 95250 h 4496940"/>
                  <a:gd name="connsiteX137" fmla="*/ 2030752 w 4519987"/>
                  <a:gd name="connsiteY137" fmla="*/ 66675 h 4496940"/>
                  <a:gd name="connsiteX138" fmla="*/ 2097427 w 4519987"/>
                  <a:gd name="connsiteY138" fmla="*/ 47625 h 4496940"/>
                  <a:gd name="connsiteX139" fmla="*/ 2164102 w 4519987"/>
                  <a:gd name="connsiteY139" fmla="*/ 38100 h 4496940"/>
                  <a:gd name="connsiteX140" fmla="*/ 2392702 w 4519987"/>
                  <a:gd name="connsiteY14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221502 w 4519987"/>
                  <a:gd name="connsiteY33" fmla="*/ 3333750 h 4496940"/>
                  <a:gd name="connsiteX34" fmla="*/ 4183402 w 4519987"/>
                  <a:gd name="connsiteY34" fmla="*/ 3400425 h 4496940"/>
                  <a:gd name="connsiteX35" fmla="*/ 4088152 w 4519987"/>
                  <a:gd name="connsiteY35" fmla="*/ 3495675 h 4496940"/>
                  <a:gd name="connsiteX36" fmla="*/ 4059577 w 4519987"/>
                  <a:gd name="connsiteY36" fmla="*/ 3533775 h 4496940"/>
                  <a:gd name="connsiteX37" fmla="*/ 4002427 w 4519987"/>
                  <a:gd name="connsiteY37" fmla="*/ 3600450 h 4496940"/>
                  <a:gd name="connsiteX38" fmla="*/ 3983377 w 4519987"/>
                  <a:gd name="connsiteY38" fmla="*/ 3629025 h 4496940"/>
                  <a:gd name="connsiteX39" fmla="*/ 3954802 w 4519987"/>
                  <a:gd name="connsiteY39" fmla="*/ 3648075 h 4496940"/>
                  <a:gd name="connsiteX40" fmla="*/ 3907177 w 4519987"/>
                  <a:gd name="connsiteY40" fmla="*/ 3686175 h 4496940"/>
                  <a:gd name="connsiteX41" fmla="*/ 3869077 w 4519987"/>
                  <a:gd name="connsiteY41" fmla="*/ 3724275 h 4496940"/>
                  <a:gd name="connsiteX42" fmla="*/ 3792877 w 4519987"/>
                  <a:gd name="connsiteY42" fmla="*/ 3781425 h 4496940"/>
                  <a:gd name="connsiteX43" fmla="*/ 3783352 w 4519987"/>
                  <a:gd name="connsiteY43" fmla="*/ 3810000 h 4496940"/>
                  <a:gd name="connsiteX44" fmla="*/ 3745252 w 4519987"/>
                  <a:gd name="connsiteY44" fmla="*/ 3819525 h 4496940"/>
                  <a:gd name="connsiteX45" fmla="*/ 3678577 w 4519987"/>
                  <a:gd name="connsiteY45" fmla="*/ 3848100 h 4496940"/>
                  <a:gd name="connsiteX46" fmla="*/ 3659527 w 4519987"/>
                  <a:gd name="connsiteY46" fmla="*/ 3971925 h 4496940"/>
                  <a:gd name="connsiteX47" fmla="*/ 3630952 w 4519987"/>
                  <a:gd name="connsiteY47" fmla="*/ 4010025 h 4496940"/>
                  <a:gd name="connsiteX48" fmla="*/ 3621427 w 4519987"/>
                  <a:gd name="connsiteY48" fmla="*/ 4038600 h 4496940"/>
                  <a:gd name="connsiteX49" fmla="*/ 3554752 w 4519987"/>
                  <a:gd name="connsiteY49" fmla="*/ 4095750 h 4496940"/>
                  <a:gd name="connsiteX50" fmla="*/ 3516652 w 4519987"/>
                  <a:gd name="connsiteY50" fmla="*/ 4114800 h 4496940"/>
                  <a:gd name="connsiteX51" fmla="*/ 3497602 w 4519987"/>
                  <a:gd name="connsiteY51" fmla="*/ 4143375 h 4496940"/>
                  <a:gd name="connsiteX52" fmla="*/ 3383302 w 4519987"/>
                  <a:gd name="connsiteY52" fmla="*/ 4210050 h 4496940"/>
                  <a:gd name="connsiteX53" fmla="*/ 3335677 w 4519987"/>
                  <a:gd name="connsiteY53" fmla="*/ 4238625 h 4496940"/>
                  <a:gd name="connsiteX54" fmla="*/ 3288052 w 4519987"/>
                  <a:gd name="connsiteY54" fmla="*/ 4248150 h 4496940"/>
                  <a:gd name="connsiteX55" fmla="*/ 3240427 w 4519987"/>
                  <a:gd name="connsiteY55" fmla="*/ 4267200 h 4496940"/>
                  <a:gd name="connsiteX56" fmla="*/ 3068977 w 4519987"/>
                  <a:gd name="connsiteY56" fmla="*/ 4286250 h 4496940"/>
                  <a:gd name="connsiteX57" fmla="*/ 2935627 w 4519987"/>
                  <a:gd name="connsiteY57" fmla="*/ 4333875 h 4496940"/>
                  <a:gd name="connsiteX58" fmla="*/ 2811802 w 4519987"/>
                  <a:gd name="connsiteY58" fmla="*/ 4371975 h 4496940"/>
                  <a:gd name="connsiteX59" fmla="*/ 2745127 w 4519987"/>
                  <a:gd name="connsiteY59" fmla="*/ 4410075 h 4496940"/>
                  <a:gd name="connsiteX60" fmla="*/ 2697502 w 4519987"/>
                  <a:gd name="connsiteY60" fmla="*/ 4429125 h 4496940"/>
                  <a:gd name="connsiteX61" fmla="*/ 2640352 w 4519987"/>
                  <a:gd name="connsiteY61" fmla="*/ 4457700 h 4496940"/>
                  <a:gd name="connsiteX62" fmla="*/ 2583202 w 4519987"/>
                  <a:gd name="connsiteY62" fmla="*/ 4467225 h 4496940"/>
                  <a:gd name="connsiteX63" fmla="*/ 2545102 w 4519987"/>
                  <a:gd name="connsiteY63" fmla="*/ 4486275 h 4496940"/>
                  <a:gd name="connsiteX64" fmla="*/ 2306977 w 4519987"/>
                  <a:gd name="connsiteY64" fmla="*/ 4476750 h 4496940"/>
                  <a:gd name="connsiteX65" fmla="*/ 2202202 w 4519987"/>
                  <a:gd name="connsiteY65" fmla="*/ 4457700 h 4496940"/>
                  <a:gd name="connsiteX66" fmla="*/ 2126002 w 4519987"/>
                  <a:gd name="connsiteY66" fmla="*/ 4429125 h 4496940"/>
                  <a:gd name="connsiteX67" fmla="*/ 1935502 w 4519987"/>
                  <a:gd name="connsiteY67" fmla="*/ 4400550 h 4496940"/>
                  <a:gd name="connsiteX68" fmla="*/ 1821202 w 4519987"/>
                  <a:gd name="connsiteY68" fmla="*/ 4371975 h 4496940"/>
                  <a:gd name="connsiteX69" fmla="*/ 1754527 w 4519987"/>
                  <a:gd name="connsiteY69" fmla="*/ 4352925 h 4496940"/>
                  <a:gd name="connsiteX70" fmla="*/ 1687852 w 4519987"/>
                  <a:gd name="connsiteY70" fmla="*/ 4343400 h 4496940"/>
                  <a:gd name="connsiteX71" fmla="*/ 1573552 w 4519987"/>
                  <a:gd name="connsiteY71" fmla="*/ 4305300 h 4496940"/>
                  <a:gd name="connsiteX72" fmla="*/ 1402102 w 4519987"/>
                  <a:gd name="connsiteY72" fmla="*/ 4276725 h 4496940"/>
                  <a:gd name="connsiteX73" fmla="*/ 1287802 w 4519987"/>
                  <a:gd name="connsiteY73" fmla="*/ 4229100 h 4496940"/>
                  <a:gd name="connsiteX74" fmla="*/ 1221127 w 4519987"/>
                  <a:gd name="connsiteY74" fmla="*/ 4200525 h 4496940"/>
                  <a:gd name="connsiteX75" fmla="*/ 1144927 w 4519987"/>
                  <a:gd name="connsiteY75" fmla="*/ 4171950 h 4496940"/>
                  <a:gd name="connsiteX76" fmla="*/ 1087777 w 4519987"/>
                  <a:gd name="connsiteY76" fmla="*/ 4143375 h 4496940"/>
                  <a:gd name="connsiteX77" fmla="*/ 1030627 w 4519987"/>
                  <a:gd name="connsiteY77" fmla="*/ 4124325 h 4496940"/>
                  <a:gd name="connsiteX78" fmla="*/ 925852 w 4519987"/>
                  <a:gd name="connsiteY78" fmla="*/ 4067175 h 4496940"/>
                  <a:gd name="connsiteX79" fmla="*/ 830602 w 4519987"/>
                  <a:gd name="connsiteY79" fmla="*/ 3981450 h 4496940"/>
                  <a:gd name="connsiteX80" fmla="*/ 763927 w 4519987"/>
                  <a:gd name="connsiteY80" fmla="*/ 3914775 h 4496940"/>
                  <a:gd name="connsiteX81" fmla="*/ 725827 w 4519987"/>
                  <a:gd name="connsiteY81" fmla="*/ 3876675 h 4496940"/>
                  <a:gd name="connsiteX82" fmla="*/ 697252 w 4519987"/>
                  <a:gd name="connsiteY82" fmla="*/ 3838575 h 4496940"/>
                  <a:gd name="connsiteX83" fmla="*/ 640102 w 4519987"/>
                  <a:gd name="connsiteY83" fmla="*/ 3781425 h 4496940"/>
                  <a:gd name="connsiteX84" fmla="*/ 611527 w 4519987"/>
                  <a:gd name="connsiteY84" fmla="*/ 3733800 h 4496940"/>
                  <a:gd name="connsiteX85" fmla="*/ 554377 w 4519987"/>
                  <a:gd name="connsiteY85" fmla="*/ 3657600 h 4496940"/>
                  <a:gd name="connsiteX86" fmla="*/ 525802 w 4519987"/>
                  <a:gd name="connsiteY86" fmla="*/ 3609975 h 4496940"/>
                  <a:gd name="connsiteX87" fmla="*/ 497227 w 4519987"/>
                  <a:gd name="connsiteY87" fmla="*/ 3552825 h 4496940"/>
                  <a:gd name="connsiteX88" fmla="*/ 440077 w 4519987"/>
                  <a:gd name="connsiteY88" fmla="*/ 3495675 h 4496940"/>
                  <a:gd name="connsiteX89" fmla="*/ 411502 w 4519987"/>
                  <a:gd name="connsiteY89" fmla="*/ 3448050 h 4496940"/>
                  <a:gd name="connsiteX90" fmla="*/ 278152 w 4519987"/>
                  <a:gd name="connsiteY90" fmla="*/ 3257550 h 4496940"/>
                  <a:gd name="connsiteX91" fmla="*/ 249577 w 4519987"/>
                  <a:gd name="connsiteY91" fmla="*/ 3200400 h 4496940"/>
                  <a:gd name="connsiteX92" fmla="*/ 240052 w 4519987"/>
                  <a:gd name="connsiteY92" fmla="*/ 3162300 h 4496940"/>
                  <a:gd name="connsiteX93" fmla="*/ 221002 w 4519987"/>
                  <a:gd name="connsiteY93" fmla="*/ 3105150 h 4496940"/>
                  <a:gd name="connsiteX94" fmla="*/ 173377 w 4519987"/>
                  <a:gd name="connsiteY94" fmla="*/ 3019425 h 4496940"/>
                  <a:gd name="connsiteX95" fmla="*/ 144802 w 4519987"/>
                  <a:gd name="connsiteY95" fmla="*/ 2924175 h 4496940"/>
                  <a:gd name="connsiteX96" fmla="*/ 68602 w 4519987"/>
                  <a:gd name="connsiteY96" fmla="*/ 2724150 h 4496940"/>
                  <a:gd name="connsiteX97" fmla="*/ 49552 w 4519987"/>
                  <a:gd name="connsiteY97" fmla="*/ 2638425 h 4496940"/>
                  <a:gd name="connsiteX98" fmla="*/ 40027 w 4519987"/>
                  <a:gd name="connsiteY98" fmla="*/ 2562225 h 4496940"/>
                  <a:gd name="connsiteX99" fmla="*/ 30502 w 4519987"/>
                  <a:gd name="connsiteY99" fmla="*/ 2514600 h 4496940"/>
                  <a:gd name="connsiteX100" fmla="*/ 11452 w 4519987"/>
                  <a:gd name="connsiteY100" fmla="*/ 2400300 h 4496940"/>
                  <a:gd name="connsiteX101" fmla="*/ 20977 w 4519987"/>
                  <a:gd name="connsiteY101" fmla="*/ 1905000 h 4496940"/>
                  <a:gd name="connsiteX102" fmla="*/ 30502 w 4519987"/>
                  <a:gd name="connsiteY102" fmla="*/ 1838325 h 4496940"/>
                  <a:gd name="connsiteX103" fmla="*/ 49552 w 4519987"/>
                  <a:gd name="connsiteY103" fmla="*/ 1781175 h 4496940"/>
                  <a:gd name="connsiteX104" fmla="*/ 59077 w 4519987"/>
                  <a:gd name="connsiteY104" fmla="*/ 1743075 h 4496940"/>
                  <a:gd name="connsiteX105" fmla="*/ 78127 w 4519987"/>
                  <a:gd name="connsiteY105" fmla="*/ 1685925 h 4496940"/>
                  <a:gd name="connsiteX106" fmla="*/ 87652 w 4519987"/>
                  <a:gd name="connsiteY106" fmla="*/ 1638300 h 4496940"/>
                  <a:gd name="connsiteX107" fmla="*/ 106702 w 4519987"/>
                  <a:gd name="connsiteY107" fmla="*/ 1590675 h 4496940"/>
                  <a:gd name="connsiteX108" fmla="*/ 135277 w 4519987"/>
                  <a:gd name="connsiteY108" fmla="*/ 1504950 h 4496940"/>
                  <a:gd name="connsiteX109" fmla="*/ 154327 w 4519987"/>
                  <a:gd name="connsiteY109" fmla="*/ 1419225 h 4496940"/>
                  <a:gd name="connsiteX110" fmla="*/ 230527 w 4519987"/>
                  <a:gd name="connsiteY110" fmla="*/ 1276350 h 4496940"/>
                  <a:gd name="connsiteX111" fmla="*/ 240052 w 4519987"/>
                  <a:gd name="connsiteY111" fmla="*/ 1247775 h 4496940"/>
                  <a:gd name="connsiteX112" fmla="*/ 268627 w 4519987"/>
                  <a:gd name="connsiteY112" fmla="*/ 1200150 h 4496940"/>
                  <a:gd name="connsiteX113" fmla="*/ 287677 w 4519987"/>
                  <a:gd name="connsiteY113" fmla="*/ 1152525 h 4496940"/>
                  <a:gd name="connsiteX114" fmla="*/ 316252 w 4519987"/>
                  <a:gd name="connsiteY114" fmla="*/ 1114425 h 4496940"/>
                  <a:gd name="connsiteX115" fmla="*/ 363877 w 4519987"/>
                  <a:gd name="connsiteY115" fmla="*/ 1038225 h 4496940"/>
                  <a:gd name="connsiteX116" fmla="*/ 382927 w 4519987"/>
                  <a:gd name="connsiteY116" fmla="*/ 1009650 h 4496940"/>
                  <a:gd name="connsiteX117" fmla="*/ 440077 w 4519987"/>
                  <a:gd name="connsiteY117" fmla="*/ 904875 h 4496940"/>
                  <a:gd name="connsiteX118" fmla="*/ 478177 w 4519987"/>
                  <a:gd name="connsiteY118" fmla="*/ 857250 h 4496940"/>
                  <a:gd name="connsiteX119" fmla="*/ 497227 w 4519987"/>
                  <a:gd name="connsiteY119" fmla="*/ 828675 h 4496940"/>
                  <a:gd name="connsiteX120" fmla="*/ 535327 w 4519987"/>
                  <a:gd name="connsiteY120" fmla="*/ 800100 h 4496940"/>
                  <a:gd name="connsiteX121" fmla="*/ 602002 w 4519987"/>
                  <a:gd name="connsiteY121" fmla="*/ 733425 h 4496940"/>
                  <a:gd name="connsiteX122" fmla="*/ 668677 w 4519987"/>
                  <a:gd name="connsiteY122" fmla="*/ 676275 h 4496940"/>
                  <a:gd name="connsiteX123" fmla="*/ 697252 w 4519987"/>
                  <a:gd name="connsiteY123" fmla="*/ 657225 h 4496940"/>
                  <a:gd name="connsiteX124" fmla="*/ 840127 w 4519987"/>
                  <a:gd name="connsiteY124" fmla="*/ 533400 h 4496940"/>
                  <a:gd name="connsiteX125" fmla="*/ 887752 w 4519987"/>
                  <a:gd name="connsiteY125" fmla="*/ 504825 h 4496940"/>
                  <a:gd name="connsiteX126" fmla="*/ 1167152 w 4519987"/>
                  <a:gd name="connsiteY126" fmla="*/ 311150 h 4496940"/>
                  <a:gd name="connsiteX127" fmla="*/ 1268752 w 4519987"/>
                  <a:gd name="connsiteY127" fmla="*/ 285750 h 4496940"/>
                  <a:gd name="connsiteX128" fmla="*/ 1411627 w 4519987"/>
                  <a:gd name="connsiteY128" fmla="*/ 190500 h 4496940"/>
                  <a:gd name="connsiteX129" fmla="*/ 1449727 w 4519987"/>
                  <a:gd name="connsiteY129" fmla="*/ 161925 h 4496940"/>
                  <a:gd name="connsiteX130" fmla="*/ 1525927 w 4519987"/>
                  <a:gd name="connsiteY130" fmla="*/ 152400 h 4496940"/>
                  <a:gd name="connsiteX131" fmla="*/ 1583077 w 4519987"/>
                  <a:gd name="connsiteY131" fmla="*/ 142875 h 4496940"/>
                  <a:gd name="connsiteX132" fmla="*/ 1716427 w 4519987"/>
                  <a:gd name="connsiteY132" fmla="*/ 123825 h 4496940"/>
                  <a:gd name="connsiteX133" fmla="*/ 1811677 w 4519987"/>
                  <a:gd name="connsiteY133" fmla="*/ 114300 h 4496940"/>
                  <a:gd name="connsiteX134" fmla="*/ 1859302 w 4519987"/>
                  <a:gd name="connsiteY134" fmla="*/ 104775 h 4496940"/>
                  <a:gd name="connsiteX135" fmla="*/ 1916452 w 4519987"/>
                  <a:gd name="connsiteY135" fmla="*/ 95250 h 4496940"/>
                  <a:gd name="connsiteX136" fmla="*/ 2030752 w 4519987"/>
                  <a:gd name="connsiteY136" fmla="*/ 66675 h 4496940"/>
                  <a:gd name="connsiteX137" fmla="*/ 2097427 w 4519987"/>
                  <a:gd name="connsiteY137" fmla="*/ 47625 h 4496940"/>
                  <a:gd name="connsiteX138" fmla="*/ 2164102 w 4519987"/>
                  <a:gd name="connsiteY138" fmla="*/ 38100 h 4496940"/>
                  <a:gd name="connsiteX139" fmla="*/ 2392702 w 4519987"/>
                  <a:gd name="connsiteY13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83377 w 4519987"/>
                  <a:gd name="connsiteY37" fmla="*/ 3629025 h 4496940"/>
                  <a:gd name="connsiteX38" fmla="*/ 3954802 w 4519987"/>
                  <a:gd name="connsiteY38" fmla="*/ 3648075 h 4496940"/>
                  <a:gd name="connsiteX39" fmla="*/ 3907177 w 4519987"/>
                  <a:gd name="connsiteY39" fmla="*/ 3686175 h 4496940"/>
                  <a:gd name="connsiteX40" fmla="*/ 3869077 w 4519987"/>
                  <a:gd name="connsiteY40" fmla="*/ 3724275 h 4496940"/>
                  <a:gd name="connsiteX41" fmla="*/ 3792877 w 4519987"/>
                  <a:gd name="connsiteY41" fmla="*/ 3781425 h 4496940"/>
                  <a:gd name="connsiteX42" fmla="*/ 3783352 w 4519987"/>
                  <a:gd name="connsiteY42" fmla="*/ 3810000 h 4496940"/>
                  <a:gd name="connsiteX43" fmla="*/ 3745252 w 4519987"/>
                  <a:gd name="connsiteY43" fmla="*/ 3819525 h 4496940"/>
                  <a:gd name="connsiteX44" fmla="*/ 3678577 w 4519987"/>
                  <a:gd name="connsiteY44" fmla="*/ 3848100 h 4496940"/>
                  <a:gd name="connsiteX45" fmla="*/ 3659527 w 4519987"/>
                  <a:gd name="connsiteY45" fmla="*/ 3971925 h 4496940"/>
                  <a:gd name="connsiteX46" fmla="*/ 3630952 w 4519987"/>
                  <a:gd name="connsiteY46" fmla="*/ 4010025 h 4496940"/>
                  <a:gd name="connsiteX47" fmla="*/ 3621427 w 4519987"/>
                  <a:gd name="connsiteY47" fmla="*/ 4038600 h 4496940"/>
                  <a:gd name="connsiteX48" fmla="*/ 3554752 w 4519987"/>
                  <a:gd name="connsiteY48" fmla="*/ 4095750 h 4496940"/>
                  <a:gd name="connsiteX49" fmla="*/ 3516652 w 4519987"/>
                  <a:gd name="connsiteY49" fmla="*/ 4114800 h 4496940"/>
                  <a:gd name="connsiteX50" fmla="*/ 3497602 w 4519987"/>
                  <a:gd name="connsiteY50" fmla="*/ 4143375 h 4496940"/>
                  <a:gd name="connsiteX51" fmla="*/ 3383302 w 4519987"/>
                  <a:gd name="connsiteY51" fmla="*/ 4210050 h 4496940"/>
                  <a:gd name="connsiteX52" fmla="*/ 3335677 w 4519987"/>
                  <a:gd name="connsiteY52" fmla="*/ 4238625 h 4496940"/>
                  <a:gd name="connsiteX53" fmla="*/ 3288052 w 4519987"/>
                  <a:gd name="connsiteY53" fmla="*/ 4248150 h 4496940"/>
                  <a:gd name="connsiteX54" fmla="*/ 3240427 w 4519987"/>
                  <a:gd name="connsiteY54" fmla="*/ 4267200 h 4496940"/>
                  <a:gd name="connsiteX55" fmla="*/ 3068977 w 4519987"/>
                  <a:gd name="connsiteY55" fmla="*/ 4286250 h 4496940"/>
                  <a:gd name="connsiteX56" fmla="*/ 2935627 w 4519987"/>
                  <a:gd name="connsiteY56" fmla="*/ 4333875 h 4496940"/>
                  <a:gd name="connsiteX57" fmla="*/ 2811802 w 4519987"/>
                  <a:gd name="connsiteY57" fmla="*/ 4371975 h 4496940"/>
                  <a:gd name="connsiteX58" fmla="*/ 2745127 w 4519987"/>
                  <a:gd name="connsiteY58" fmla="*/ 4410075 h 4496940"/>
                  <a:gd name="connsiteX59" fmla="*/ 2697502 w 4519987"/>
                  <a:gd name="connsiteY59" fmla="*/ 4429125 h 4496940"/>
                  <a:gd name="connsiteX60" fmla="*/ 2640352 w 4519987"/>
                  <a:gd name="connsiteY60" fmla="*/ 4457700 h 4496940"/>
                  <a:gd name="connsiteX61" fmla="*/ 2583202 w 4519987"/>
                  <a:gd name="connsiteY61" fmla="*/ 4467225 h 4496940"/>
                  <a:gd name="connsiteX62" fmla="*/ 2545102 w 4519987"/>
                  <a:gd name="connsiteY62" fmla="*/ 4486275 h 4496940"/>
                  <a:gd name="connsiteX63" fmla="*/ 2306977 w 4519987"/>
                  <a:gd name="connsiteY63" fmla="*/ 4476750 h 4496940"/>
                  <a:gd name="connsiteX64" fmla="*/ 2202202 w 4519987"/>
                  <a:gd name="connsiteY64" fmla="*/ 4457700 h 4496940"/>
                  <a:gd name="connsiteX65" fmla="*/ 2126002 w 4519987"/>
                  <a:gd name="connsiteY65" fmla="*/ 4429125 h 4496940"/>
                  <a:gd name="connsiteX66" fmla="*/ 1935502 w 4519987"/>
                  <a:gd name="connsiteY66" fmla="*/ 4400550 h 4496940"/>
                  <a:gd name="connsiteX67" fmla="*/ 1821202 w 4519987"/>
                  <a:gd name="connsiteY67" fmla="*/ 4371975 h 4496940"/>
                  <a:gd name="connsiteX68" fmla="*/ 1754527 w 4519987"/>
                  <a:gd name="connsiteY68" fmla="*/ 4352925 h 4496940"/>
                  <a:gd name="connsiteX69" fmla="*/ 1687852 w 4519987"/>
                  <a:gd name="connsiteY69" fmla="*/ 4343400 h 4496940"/>
                  <a:gd name="connsiteX70" fmla="*/ 1573552 w 4519987"/>
                  <a:gd name="connsiteY70" fmla="*/ 4305300 h 4496940"/>
                  <a:gd name="connsiteX71" fmla="*/ 1402102 w 4519987"/>
                  <a:gd name="connsiteY71" fmla="*/ 4276725 h 4496940"/>
                  <a:gd name="connsiteX72" fmla="*/ 1287802 w 4519987"/>
                  <a:gd name="connsiteY72" fmla="*/ 4229100 h 4496940"/>
                  <a:gd name="connsiteX73" fmla="*/ 1221127 w 4519987"/>
                  <a:gd name="connsiteY73" fmla="*/ 4200525 h 4496940"/>
                  <a:gd name="connsiteX74" fmla="*/ 1144927 w 4519987"/>
                  <a:gd name="connsiteY74" fmla="*/ 4171950 h 4496940"/>
                  <a:gd name="connsiteX75" fmla="*/ 1087777 w 4519987"/>
                  <a:gd name="connsiteY75" fmla="*/ 4143375 h 4496940"/>
                  <a:gd name="connsiteX76" fmla="*/ 1030627 w 4519987"/>
                  <a:gd name="connsiteY76" fmla="*/ 4124325 h 4496940"/>
                  <a:gd name="connsiteX77" fmla="*/ 925852 w 4519987"/>
                  <a:gd name="connsiteY77" fmla="*/ 4067175 h 4496940"/>
                  <a:gd name="connsiteX78" fmla="*/ 830602 w 4519987"/>
                  <a:gd name="connsiteY78" fmla="*/ 3981450 h 4496940"/>
                  <a:gd name="connsiteX79" fmla="*/ 763927 w 4519987"/>
                  <a:gd name="connsiteY79" fmla="*/ 3914775 h 4496940"/>
                  <a:gd name="connsiteX80" fmla="*/ 725827 w 4519987"/>
                  <a:gd name="connsiteY80" fmla="*/ 3876675 h 4496940"/>
                  <a:gd name="connsiteX81" fmla="*/ 697252 w 4519987"/>
                  <a:gd name="connsiteY81" fmla="*/ 3838575 h 4496940"/>
                  <a:gd name="connsiteX82" fmla="*/ 640102 w 4519987"/>
                  <a:gd name="connsiteY82" fmla="*/ 3781425 h 4496940"/>
                  <a:gd name="connsiteX83" fmla="*/ 611527 w 4519987"/>
                  <a:gd name="connsiteY83" fmla="*/ 3733800 h 4496940"/>
                  <a:gd name="connsiteX84" fmla="*/ 554377 w 4519987"/>
                  <a:gd name="connsiteY84" fmla="*/ 3657600 h 4496940"/>
                  <a:gd name="connsiteX85" fmla="*/ 525802 w 4519987"/>
                  <a:gd name="connsiteY85" fmla="*/ 3609975 h 4496940"/>
                  <a:gd name="connsiteX86" fmla="*/ 497227 w 4519987"/>
                  <a:gd name="connsiteY86" fmla="*/ 3552825 h 4496940"/>
                  <a:gd name="connsiteX87" fmla="*/ 440077 w 4519987"/>
                  <a:gd name="connsiteY87" fmla="*/ 3495675 h 4496940"/>
                  <a:gd name="connsiteX88" fmla="*/ 411502 w 4519987"/>
                  <a:gd name="connsiteY88" fmla="*/ 3448050 h 4496940"/>
                  <a:gd name="connsiteX89" fmla="*/ 278152 w 4519987"/>
                  <a:gd name="connsiteY89" fmla="*/ 3257550 h 4496940"/>
                  <a:gd name="connsiteX90" fmla="*/ 249577 w 4519987"/>
                  <a:gd name="connsiteY90" fmla="*/ 3200400 h 4496940"/>
                  <a:gd name="connsiteX91" fmla="*/ 240052 w 4519987"/>
                  <a:gd name="connsiteY91" fmla="*/ 3162300 h 4496940"/>
                  <a:gd name="connsiteX92" fmla="*/ 221002 w 4519987"/>
                  <a:gd name="connsiteY92" fmla="*/ 3105150 h 4496940"/>
                  <a:gd name="connsiteX93" fmla="*/ 173377 w 4519987"/>
                  <a:gd name="connsiteY93" fmla="*/ 3019425 h 4496940"/>
                  <a:gd name="connsiteX94" fmla="*/ 144802 w 4519987"/>
                  <a:gd name="connsiteY94" fmla="*/ 2924175 h 4496940"/>
                  <a:gd name="connsiteX95" fmla="*/ 68602 w 4519987"/>
                  <a:gd name="connsiteY95" fmla="*/ 2724150 h 4496940"/>
                  <a:gd name="connsiteX96" fmla="*/ 49552 w 4519987"/>
                  <a:gd name="connsiteY96" fmla="*/ 2638425 h 4496940"/>
                  <a:gd name="connsiteX97" fmla="*/ 40027 w 4519987"/>
                  <a:gd name="connsiteY97" fmla="*/ 2562225 h 4496940"/>
                  <a:gd name="connsiteX98" fmla="*/ 30502 w 4519987"/>
                  <a:gd name="connsiteY98" fmla="*/ 2514600 h 4496940"/>
                  <a:gd name="connsiteX99" fmla="*/ 11452 w 4519987"/>
                  <a:gd name="connsiteY99" fmla="*/ 2400300 h 4496940"/>
                  <a:gd name="connsiteX100" fmla="*/ 20977 w 4519987"/>
                  <a:gd name="connsiteY100" fmla="*/ 1905000 h 4496940"/>
                  <a:gd name="connsiteX101" fmla="*/ 30502 w 4519987"/>
                  <a:gd name="connsiteY101" fmla="*/ 1838325 h 4496940"/>
                  <a:gd name="connsiteX102" fmla="*/ 49552 w 4519987"/>
                  <a:gd name="connsiteY102" fmla="*/ 1781175 h 4496940"/>
                  <a:gd name="connsiteX103" fmla="*/ 59077 w 4519987"/>
                  <a:gd name="connsiteY103" fmla="*/ 1743075 h 4496940"/>
                  <a:gd name="connsiteX104" fmla="*/ 78127 w 4519987"/>
                  <a:gd name="connsiteY104" fmla="*/ 1685925 h 4496940"/>
                  <a:gd name="connsiteX105" fmla="*/ 87652 w 4519987"/>
                  <a:gd name="connsiteY105" fmla="*/ 1638300 h 4496940"/>
                  <a:gd name="connsiteX106" fmla="*/ 106702 w 4519987"/>
                  <a:gd name="connsiteY106" fmla="*/ 1590675 h 4496940"/>
                  <a:gd name="connsiteX107" fmla="*/ 135277 w 4519987"/>
                  <a:gd name="connsiteY107" fmla="*/ 1504950 h 4496940"/>
                  <a:gd name="connsiteX108" fmla="*/ 154327 w 4519987"/>
                  <a:gd name="connsiteY108" fmla="*/ 1419225 h 4496940"/>
                  <a:gd name="connsiteX109" fmla="*/ 230527 w 4519987"/>
                  <a:gd name="connsiteY109" fmla="*/ 1276350 h 4496940"/>
                  <a:gd name="connsiteX110" fmla="*/ 240052 w 4519987"/>
                  <a:gd name="connsiteY110" fmla="*/ 1247775 h 4496940"/>
                  <a:gd name="connsiteX111" fmla="*/ 268627 w 4519987"/>
                  <a:gd name="connsiteY111" fmla="*/ 1200150 h 4496940"/>
                  <a:gd name="connsiteX112" fmla="*/ 287677 w 4519987"/>
                  <a:gd name="connsiteY112" fmla="*/ 1152525 h 4496940"/>
                  <a:gd name="connsiteX113" fmla="*/ 316252 w 4519987"/>
                  <a:gd name="connsiteY113" fmla="*/ 1114425 h 4496940"/>
                  <a:gd name="connsiteX114" fmla="*/ 363877 w 4519987"/>
                  <a:gd name="connsiteY114" fmla="*/ 1038225 h 4496940"/>
                  <a:gd name="connsiteX115" fmla="*/ 382927 w 4519987"/>
                  <a:gd name="connsiteY115" fmla="*/ 1009650 h 4496940"/>
                  <a:gd name="connsiteX116" fmla="*/ 440077 w 4519987"/>
                  <a:gd name="connsiteY116" fmla="*/ 904875 h 4496940"/>
                  <a:gd name="connsiteX117" fmla="*/ 478177 w 4519987"/>
                  <a:gd name="connsiteY117" fmla="*/ 857250 h 4496940"/>
                  <a:gd name="connsiteX118" fmla="*/ 497227 w 4519987"/>
                  <a:gd name="connsiteY118" fmla="*/ 828675 h 4496940"/>
                  <a:gd name="connsiteX119" fmla="*/ 535327 w 4519987"/>
                  <a:gd name="connsiteY119" fmla="*/ 800100 h 4496940"/>
                  <a:gd name="connsiteX120" fmla="*/ 602002 w 4519987"/>
                  <a:gd name="connsiteY120" fmla="*/ 733425 h 4496940"/>
                  <a:gd name="connsiteX121" fmla="*/ 668677 w 4519987"/>
                  <a:gd name="connsiteY121" fmla="*/ 676275 h 4496940"/>
                  <a:gd name="connsiteX122" fmla="*/ 697252 w 4519987"/>
                  <a:gd name="connsiteY122" fmla="*/ 657225 h 4496940"/>
                  <a:gd name="connsiteX123" fmla="*/ 840127 w 4519987"/>
                  <a:gd name="connsiteY123" fmla="*/ 533400 h 4496940"/>
                  <a:gd name="connsiteX124" fmla="*/ 887752 w 4519987"/>
                  <a:gd name="connsiteY124" fmla="*/ 504825 h 4496940"/>
                  <a:gd name="connsiteX125" fmla="*/ 1167152 w 4519987"/>
                  <a:gd name="connsiteY125" fmla="*/ 311150 h 4496940"/>
                  <a:gd name="connsiteX126" fmla="*/ 1268752 w 4519987"/>
                  <a:gd name="connsiteY126" fmla="*/ 285750 h 4496940"/>
                  <a:gd name="connsiteX127" fmla="*/ 1411627 w 4519987"/>
                  <a:gd name="connsiteY127" fmla="*/ 190500 h 4496940"/>
                  <a:gd name="connsiteX128" fmla="*/ 1449727 w 4519987"/>
                  <a:gd name="connsiteY128" fmla="*/ 161925 h 4496940"/>
                  <a:gd name="connsiteX129" fmla="*/ 1525927 w 4519987"/>
                  <a:gd name="connsiteY129" fmla="*/ 152400 h 4496940"/>
                  <a:gd name="connsiteX130" fmla="*/ 1583077 w 4519987"/>
                  <a:gd name="connsiteY130" fmla="*/ 142875 h 4496940"/>
                  <a:gd name="connsiteX131" fmla="*/ 1716427 w 4519987"/>
                  <a:gd name="connsiteY131" fmla="*/ 123825 h 4496940"/>
                  <a:gd name="connsiteX132" fmla="*/ 1811677 w 4519987"/>
                  <a:gd name="connsiteY132" fmla="*/ 114300 h 4496940"/>
                  <a:gd name="connsiteX133" fmla="*/ 1859302 w 4519987"/>
                  <a:gd name="connsiteY133" fmla="*/ 104775 h 4496940"/>
                  <a:gd name="connsiteX134" fmla="*/ 1916452 w 4519987"/>
                  <a:gd name="connsiteY134" fmla="*/ 95250 h 4496940"/>
                  <a:gd name="connsiteX135" fmla="*/ 2030752 w 4519987"/>
                  <a:gd name="connsiteY135" fmla="*/ 66675 h 4496940"/>
                  <a:gd name="connsiteX136" fmla="*/ 2097427 w 4519987"/>
                  <a:gd name="connsiteY136" fmla="*/ 47625 h 4496940"/>
                  <a:gd name="connsiteX137" fmla="*/ 2164102 w 4519987"/>
                  <a:gd name="connsiteY137" fmla="*/ 38100 h 4496940"/>
                  <a:gd name="connsiteX138" fmla="*/ 2392702 w 4519987"/>
                  <a:gd name="connsiteY13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869077 w 4519987"/>
                  <a:gd name="connsiteY39" fmla="*/ 3724275 h 4496940"/>
                  <a:gd name="connsiteX40" fmla="*/ 3792877 w 4519987"/>
                  <a:gd name="connsiteY40" fmla="*/ 3781425 h 4496940"/>
                  <a:gd name="connsiteX41" fmla="*/ 3783352 w 4519987"/>
                  <a:gd name="connsiteY41" fmla="*/ 3810000 h 4496940"/>
                  <a:gd name="connsiteX42" fmla="*/ 3745252 w 4519987"/>
                  <a:gd name="connsiteY42" fmla="*/ 3819525 h 4496940"/>
                  <a:gd name="connsiteX43" fmla="*/ 3678577 w 4519987"/>
                  <a:gd name="connsiteY43" fmla="*/ 3848100 h 4496940"/>
                  <a:gd name="connsiteX44" fmla="*/ 3659527 w 4519987"/>
                  <a:gd name="connsiteY44" fmla="*/ 3971925 h 4496940"/>
                  <a:gd name="connsiteX45" fmla="*/ 3630952 w 4519987"/>
                  <a:gd name="connsiteY45" fmla="*/ 4010025 h 4496940"/>
                  <a:gd name="connsiteX46" fmla="*/ 3621427 w 4519987"/>
                  <a:gd name="connsiteY46" fmla="*/ 4038600 h 4496940"/>
                  <a:gd name="connsiteX47" fmla="*/ 3554752 w 4519987"/>
                  <a:gd name="connsiteY47" fmla="*/ 4095750 h 4496940"/>
                  <a:gd name="connsiteX48" fmla="*/ 3516652 w 4519987"/>
                  <a:gd name="connsiteY48" fmla="*/ 4114800 h 4496940"/>
                  <a:gd name="connsiteX49" fmla="*/ 3497602 w 4519987"/>
                  <a:gd name="connsiteY49" fmla="*/ 4143375 h 4496940"/>
                  <a:gd name="connsiteX50" fmla="*/ 3383302 w 4519987"/>
                  <a:gd name="connsiteY50" fmla="*/ 4210050 h 4496940"/>
                  <a:gd name="connsiteX51" fmla="*/ 3335677 w 4519987"/>
                  <a:gd name="connsiteY51" fmla="*/ 4238625 h 4496940"/>
                  <a:gd name="connsiteX52" fmla="*/ 3288052 w 4519987"/>
                  <a:gd name="connsiteY52" fmla="*/ 4248150 h 4496940"/>
                  <a:gd name="connsiteX53" fmla="*/ 3240427 w 4519987"/>
                  <a:gd name="connsiteY53" fmla="*/ 4267200 h 4496940"/>
                  <a:gd name="connsiteX54" fmla="*/ 3068977 w 4519987"/>
                  <a:gd name="connsiteY54" fmla="*/ 4286250 h 4496940"/>
                  <a:gd name="connsiteX55" fmla="*/ 2935627 w 4519987"/>
                  <a:gd name="connsiteY55" fmla="*/ 4333875 h 4496940"/>
                  <a:gd name="connsiteX56" fmla="*/ 2811802 w 4519987"/>
                  <a:gd name="connsiteY56" fmla="*/ 4371975 h 4496940"/>
                  <a:gd name="connsiteX57" fmla="*/ 2745127 w 4519987"/>
                  <a:gd name="connsiteY57" fmla="*/ 4410075 h 4496940"/>
                  <a:gd name="connsiteX58" fmla="*/ 2697502 w 4519987"/>
                  <a:gd name="connsiteY58" fmla="*/ 4429125 h 4496940"/>
                  <a:gd name="connsiteX59" fmla="*/ 2640352 w 4519987"/>
                  <a:gd name="connsiteY59" fmla="*/ 4457700 h 4496940"/>
                  <a:gd name="connsiteX60" fmla="*/ 2583202 w 4519987"/>
                  <a:gd name="connsiteY60" fmla="*/ 4467225 h 4496940"/>
                  <a:gd name="connsiteX61" fmla="*/ 2545102 w 4519987"/>
                  <a:gd name="connsiteY61" fmla="*/ 4486275 h 4496940"/>
                  <a:gd name="connsiteX62" fmla="*/ 2306977 w 4519987"/>
                  <a:gd name="connsiteY62" fmla="*/ 4476750 h 4496940"/>
                  <a:gd name="connsiteX63" fmla="*/ 2202202 w 4519987"/>
                  <a:gd name="connsiteY63" fmla="*/ 4457700 h 4496940"/>
                  <a:gd name="connsiteX64" fmla="*/ 2126002 w 4519987"/>
                  <a:gd name="connsiteY64" fmla="*/ 4429125 h 4496940"/>
                  <a:gd name="connsiteX65" fmla="*/ 1935502 w 4519987"/>
                  <a:gd name="connsiteY65" fmla="*/ 4400550 h 4496940"/>
                  <a:gd name="connsiteX66" fmla="*/ 1821202 w 4519987"/>
                  <a:gd name="connsiteY66" fmla="*/ 4371975 h 4496940"/>
                  <a:gd name="connsiteX67" fmla="*/ 1754527 w 4519987"/>
                  <a:gd name="connsiteY67" fmla="*/ 4352925 h 4496940"/>
                  <a:gd name="connsiteX68" fmla="*/ 1687852 w 4519987"/>
                  <a:gd name="connsiteY68" fmla="*/ 4343400 h 4496940"/>
                  <a:gd name="connsiteX69" fmla="*/ 1573552 w 4519987"/>
                  <a:gd name="connsiteY69" fmla="*/ 4305300 h 4496940"/>
                  <a:gd name="connsiteX70" fmla="*/ 1402102 w 4519987"/>
                  <a:gd name="connsiteY70" fmla="*/ 4276725 h 4496940"/>
                  <a:gd name="connsiteX71" fmla="*/ 1287802 w 4519987"/>
                  <a:gd name="connsiteY71" fmla="*/ 4229100 h 4496940"/>
                  <a:gd name="connsiteX72" fmla="*/ 1221127 w 4519987"/>
                  <a:gd name="connsiteY72" fmla="*/ 4200525 h 4496940"/>
                  <a:gd name="connsiteX73" fmla="*/ 1144927 w 4519987"/>
                  <a:gd name="connsiteY73" fmla="*/ 4171950 h 4496940"/>
                  <a:gd name="connsiteX74" fmla="*/ 1087777 w 4519987"/>
                  <a:gd name="connsiteY74" fmla="*/ 4143375 h 4496940"/>
                  <a:gd name="connsiteX75" fmla="*/ 1030627 w 4519987"/>
                  <a:gd name="connsiteY75" fmla="*/ 4124325 h 4496940"/>
                  <a:gd name="connsiteX76" fmla="*/ 925852 w 4519987"/>
                  <a:gd name="connsiteY76" fmla="*/ 4067175 h 4496940"/>
                  <a:gd name="connsiteX77" fmla="*/ 830602 w 4519987"/>
                  <a:gd name="connsiteY77" fmla="*/ 3981450 h 4496940"/>
                  <a:gd name="connsiteX78" fmla="*/ 763927 w 4519987"/>
                  <a:gd name="connsiteY78" fmla="*/ 3914775 h 4496940"/>
                  <a:gd name="connsiteX79" fmla="*/ 725827 w 4519987"/>
                  <a:gd name="connsiteY79" fmla="*/ 3876675 h 4496940"/>
                  <a:gd name="connsiteX80" fmla="*/ 697252 w 4519987"/>
                  <a:gd name="connsiteY80" fmla="*/ 3838575 h 4496940"/>
                  <a:gd name="connsiteX81" fmla="*/ 640102 w 4519987"/>
                  <a:gd name="connsiteY81" fmla="*/ 3781425 h 4496940"/>
                  <a:gd name="connsiteX82" fmla="*/ 611527 w 4519987"/>
                  <a:gd name="connsiteY82" fmla="*/ 3733800 h 4496940"/>
                  <a:gd name="connsiteX83" fmla="*/ 554377 w 4519987"/>
                  <a:gd name="connsiteY83" fmla="*/ 3657600 h 4496940"/>
                  <a:gd name="connsiteX84" fmla="*/ 525802 w 4519987"/>
                  <a:gd name="connsiteY84" fmla="*/ 3609975 h 4496940"/>
                  <a:gd name="connsiteX85" fmla="*/ 497227 w 4519987"/>
                  <a:gd name="connsiteY85" fmla="*/ 3552825 h 4496940"/>
                  <a:gd name="connsiteX86" fmla="*/ 440077 w 4519987"/>
                  <a:gd name="connsiteY86" fmla="*/ 3495675 h 4496940"/>
                  <a:gd name="connsiteX87" fmla="*/ 411502 w 4519987"/>
                  <a:gd name="connsiteY87" fmla="*/ 3448050 h 4496940"/>
                  <a:gd name="connsiteX88" fmla="*/ 278152 w 4519987"/>
                  <a:gd name="connsiteY88" fmla="*/ 3257550 h 4496940"/>
                  <a:gd name="connsiteX89" fmla="*/ 249577 w 4519987"/>
                  <a:gd name="connsiteY89" fmla="*/ 3200400 h 4496940"/>
                  <a:gd name="connsiteX90" fmla="*/ 240052 w 4519987"/>
                  <a:gd name="connsiteY90" fmla="*/ 3162300 h 4496940"/>
                  <a:gd name="connsiteX91" fmla="*/ 221002 w 4519987"/>
                  <a:gd name="connsiteY91" fmla="*/ 3105150 h 4496940"/>
                  <a:gd name="connsiteX92" fmla="*/ 173377 w 4519987"/>
                  <a:gd name="connsiteY92" fmla="*/ 3019425 h 4496940"/>
                  <a:gd name="connsiteX93" fmla="*/ 144802 w 4519987"/>
                  <a:gd name="connsiteY93" fmla="*/ 2924175 h 4496940"/>
                  <a:gd name="connsiteX94" fmla="*/ 68602 w 4519987"/>
                  <a:gd name="connsiteY94" fmla="*/ 2724150 h 4496940"/>
                  <a:gd name="connsiteX95" fmla="*/ 49552 w 4519987"/>
                  <a:gd name="connsiteY95" fmla="*/ 2638425 h 4496940"/>
                  <a:gd name="connsiteX96" fmla="*/ 40027 w 4519987"/>
                  <a:gd name="connsiteY96" fmla="*/ 2562225 h 4496940"/>
                  <a:gd name="connsiteX97" fmla="*/ 30502 w 4519987"/>
                  <a:gd name="connsiteY97" fmla="*/ 2514600 h 4496940"/>
                  <a:gd name="connsiteX98" fmla="*/ 11452 w 4519987"/>
                  <a:gd name="connsiteY98" fmla="*/ 2400300 h 4496940"/>
                  <a:gd name="connsiteX99" fmla="*/ 20977 w 4519987"/>
                  <a:gd name="connsiteY99" fmla="*/ 1905000 h 4496940"/>
                  <a:gd name="connsiteX100" fmla="*/ 30502 w 4519987"/>
                  <a:gd name="connsiteY100" fmla="*/ 1838325 h 4496940"/>
                  <a:gd name="connsiteX101" fmla="*/ 49552 w 4519987"/>
                  <a:gd name="connsiteY101" fmla="*/ 1781175 h 4496940"/>
                  <a:gd name="connsiteX102" fmla="*/ 59077 w 4519987"/>
                  <a:gd name="connsiteY102" fmla="*/ 1743075 h 4496940"/>
                  <a:gd name="connsiteX103" fmla="*/ 78127 w 4519987"/>
                  <a:gd name="connsiteY103" fmla="*/ 1685925 h 4496940"/>
                  <a:gd name="connsiteX104" fmla="*/ 87652 w 4519987"/>
                  <a:gd name="connsiteY104" fmla="*/ 1638300 h 4496940"/>
                  <a:gd name="connsiteX105" fmla="*/ 106702 w 4519987"/>
                  <a:gd name="connsiteY105" fmla="*/ 1590675 h 4496940"/>
                  <a:gd name="connsiteX106" fmla="*/ 135277 w 4519987"/>
                  <a:gd name="connsiteY106" fmla="*/ 1504950 h 4496940"/>
                  <a:gd name="connsiteX107" fmla="*/ 154327 w 4519987"/>
                  <a:gd name="connsiteY107" fmla="*/ 1419225 h 4496940"/>
                  <a:gd name="connsiteX108" fmla="*/ 230527 w 4519987"/>
                  <a:gd name="connsiteY108" fmla="*/ 1276350 h 4496940"/>
                  <a:gd name="connsiteX109" fmla="*/ 240052 w 4519987"/>
                  <a:gd name="connsiteY109" fmla="*/ 1247775 h 4496940"/>
                  <a:gd name="connsiteX110" fmla="*/ 268627 w 4519987"/>
                  <a:gd name="connsiteY110" fmla="*/ 1200150 h 4496940"/>
                  <a:gd name="connsiteX111" fmla="*/ 287677 w 4519987"/>
                  <a:gd name="connsiteY111" fmla="*/ 1152525 h 4496940"/>
                  <a:gd name="connsiteX112" fmla="*/ 316252 w 4519987"/>
                  <a:gd name="connsiteY112" fmla="*/ 1114425 h 4496940"/>
                  <a:gd name="connsiteX113" fmla="*/ 363877 w 4519987"/>
                  <a:gd name="connsiteY113" fmla="*/ 1038225 h 4496940"/>
                  <a:gd name="connsiteX114" fmla="*/ 382927 w 4519987"/>
                  <a:gd name="connsiteY114" fmla="*/ 1009650 h 4496940"/>
                  <a:gd name="connsiteX115" fmla="*/ 440077 w 4519987"/>
                  <a:gd name="connsiteY115" fmla="*/ 904875 h 4496940"/>
                  <a:gd name="connsiteX116" fmla="*/ 478177 w 4519987"/>
                  <a:gd name="connsiteY116" fmla="*/ 857250 h 4496940"/>
                  <a:gd name="connsiteX117" fmla="*/ 497227 w 4519987"/>
                  <a:gd name="connsiteY117" fmla="*/ 828675 h 4496940"/>
                  <a:gd name="connsiteX118" fmla="*/ 535327 w 4519987"/>
                  <a:gd name="connsiteY118" fmla="*/ 800100 h 4496940"/>
                  <a:gd name="connsiteX119" fmla="*/ 602002 w 4519987"/>
                  <a:gd name="connsiteY119" fmla="*/ 733425 h 4496940"/>
                  <a:gd name="connsiteX120" fmla="*/ 668677 w 4519987"/>
                  <a:gd name="connsiteY120" fmla="*/ 676275 h 4496940"/>
                  <a:gd name="connsiteX121" fmla="*/ 697252 w 4519987"/>
                  <a:gd name="connsiteY121" fmla="*/ 657225 h 4496940"/>
                  <a:gd name="connsiteX122" fmla="*/ 840127 w 4519987"/>
                  <a:gd name="connsiteY122" fmla="*/ 533400 h 4496940"/>
                  <a:gd name="connsiteX123" fmla="*/ 887752 w 4519987"/>
                  <a:gd name="connsiteY123" fmla="*/ 504825 h 4496940"/>
                  <a:gd name="connsiteX124" fmla="*/ 1167152 w 4519987"/>
                  <a:gd name="connsiteY124" fmla="*/ 311150 h 4496940"/>
                  <a:gd name="connsiteX125" fmla="*/ 1268752 w 4519987"/>
                  <a:gd name="connsiteY125" fmla="*/ 285750 h 4496940"/>
                  <a:gd name="connsiteX126" fmla="*/ 1411627 w 4519987"/>
                  <a:gd name="connsiteY126" fmla="*/ 190500 h 4496940"/>
                  <a:gd name="connsiteX127" fmla="*/ 1449727 w 4519987"/>
                  <a:gd name="connsiteY127" fmla="*/ 161925 h 4496940"/>
                  <a:gd name="connsiteX128" fmla="*/ 1525927 w 4519987"/>
                  <a:gd name="connsiteY128" fmla="*/ 152400 h 4496940"/>
                  <a:gd name="connsiteX129" fmla="*/ 1583077 w 4519987"/>
                  <a:gd name="connsiteY129" fmla="*/ 142875 h 4496940"/>
                  <a:gd name="connsiteX130" fmla="*/ 1716427 w 4519987"/>
                  <a:gd name="connsiteY130" fmla="*/ 123825 h 4496940"/>
                  <a:gd name="connsiteX131" fmla="*/ 1811677 w 4519987"/>
                  <a:gd name="connsiteY131" fmla="*/ 114300 h 4496940"/>
                  <a:gd name="connsiteX132" fmla="*/ 1859302 w 4519987"/>
                  <a:gd name="connsiteY132" fmla="*/ 104775 h 4496940"/>
                  <a:gd name="connsiteX133" fmla="*/ 1916452 w 4519987"/>
                  <a:gd name="connsiteY133" fmla="*/ 95250 h 4496940"/>
                  <a:gd name="connsiteX134" fmla="*/ 2030752 w 4519987"/>
                  <a:gd name="connsiteY134" fmla="*/ 66675 h 4496940"/>
                  <a:gd name="connsiteX135" fmla="*/ 2097427 w 4519987"/>
                  <a:gd name="connsiteY135" fmla="*/ 47625 h 4496940"/>
                  <a:gd name="connsiteX136" fmla="*/ 2164102 w 4519987"/>
                  <a:gd name="connsiteY136" fmla="*/ 38100 h 4496940"/>
                  <a:gd name="connsiteX137" fmla="*/ 2392702 w 4519987"/>
                  <a:gd name="connsiteY13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783352 w 4519987"/>
                  <a:gd name="connsiteY40" fmla="*/ 3810000 h 4496940"/>
                  <a:gd name="connsiteX41" fmla="*/ 3745252 w 4519987"/>
                  <a:gd name="connsiteY41" fmla="*/ 3819525 h 4496940"/>
                  <a:gd name="connsiteX42" fmla="*/ 3678577 w 4519987"/>
                  <a:gd name="connsiteY42" fmla="*/ 3848100 h 4496940"/>
                  <a:gd name="connsiteX43" fmla="*/ 3659527 w 4519987"/>
                  <a:gd name="connsiteY43" fmla="*/ 3971925 h 4496940"/>
                  <a:gd name="connsiteX44" fmla="*/ 3630952 w 4519987"/>
                  <a:gd name="connsiteY44" fmla="*/ 4010025 h 4496940"/>
                  <a:gd name="connsiteX45" fmla="*/ 3621427 w 4519987"/>
                  <a:gd name="connsiteY45" fmla="*/ 4038600 h 4496940"/>
                  <a:gd name="connsiteX46" fmla="*/ 3554752 w 4519987"/>
                  <a:gd name="connsiteY46" fmla="*/ 4095750 h 4496940"/>
                  <a:gd name="connsiteX47" fmla="*/ 3516652 w 4519987"/>
                  <a:gd name="connsiteY47" fmla="*/ 4114800 h 4496940"/>
                  <a:gd name="connsiteX48" fmla="*/ 3497602 w 4519987"/>
                  <a:gd name="connsiteY48" fmla="*/ 4143375 h 4496940"/>
                  <a:gd name="connsiteX49" fmla="*/ 3383302 w 4519987"/>
                  <a:gd name="connsiteY49" fmla="*/ 4210050 h 4496940"/>
                  <a:gd name="connsiteX50" fmla="*/ 3335677 w 4519987"/>
                  <a:gd name="connsiteY50" fmla="*/ 4238625 h 4496940"/>
                  <a:gd name="connsiteX51" fmla="*/ 3288052 w 4519987"/>
                  <a:gd name="connsiteY51" fmla="*/ 4248150 h 4496940"/>
                  <a:gd name="connsiteX52" fmla="*/ 3240427 w 4519987"/>
                  <a:gd name="connsiteY52" fmla="*/ 4267200 h 4496940"/>
                  <a:gd name="connsiteX53" fmla="*/ 3068977 w 4519987"/>
                  <a:gd name="connsiteY53" fmla="*/ 4286250 h 4496940"/>
                  <a:gd name="connsiteX54" fmla="*/ 2935627 w 4519987"/>
                  <a:gd name="connsiteY54" fmla="*/ 4333875 h 4496940"/>
                  <a:gd name="connsiteX55" fmla="*/ 2811802 w 4519987"/>
                  <a:gd name="connsiteY55" fmla="*/ 4371975 h 4496940"/>
                  <a:gd name="connsiteX56" fmla="*/ 2745127 w 4519987"/>
                  <a:gd name="connsiteY56" fmla="*/ 4410075 h 4496940"/>
                  <a:gd name="connsiteX57" fmla="*/ 2697502 w 4519987"/>
                  <a:gd name="connsiteY57" fmla="*/ 4429125 h 4496940"/>
                  <a:gd name="connsiteX58" fmla="*/ 2640352 w 4519987"/>
                  <a:gd name="connsiteY58" fmla="*/ 4457700 h 4496940"/>
                  <a:gd name="connsiteX59" fmla="*/ 2583202 w 4519987"/>
                  <a:gd name="connsiteY59" fmla="*/ 4467225 h 4496940"/>
                  <a:gd name="connsiteX60" fmla="*/ 2545102 w 4519987"/>
                  <a:gd name="connsiteY60" fmla="*/ 4486275 h 4496940"/>
                  <a:gd name="connsiteX61" fmla="*/ 2306977 w 4519987"/>
                  <a:gd name="connsiteY61" fmla="*/ 4476750 h 4496940"/>
                  <a:gd name="connsiteX62" fmla="*/ 2202202 w 4519987"/>
                  <a:gd name="connsiteY62" fmla="*/ 4457700 h 4496940"/>
                  <a:gd name="connsiteX63" fmla="*/ 2126002 w 4519987"/>
                  <a:gd name="connsiteY63" fmla="*/ 4429125 h 4496940"/>
                  <a:gd name="connsiteX64" fmla="*/ 1935502 w 4519987"/>
                  <a:gd name="connsiteY64" fmla="*/ 4400550 h 4496940"/>
                  <a:gd name="connsiteX65" fmla="*/ 1821202 w 4519987"/>
                  <a:gd name="connsiteY65" fmla="*/ 4371975 h 4496940"/>
                  <a:gd name="connsiteX66" fmla="*/ 1754527 w 4519987"/>
                  <a:gd name="connsiteY66" fmla="*/ 4352925 h 4496940"/>
                  <a:gd name="connsiteX67" fmla="*/ 1687852 w 4519987"/>
                  <a:gd name="connsiteY67" fmla="*/ 4343400 h 4496940"/>
                  <a:gd name="connsiteX68" fmla="*/ 1573552 w 4519987"/>
                  <a:gd name="connsiteY68" fmla="*/ 4305300 h 4496940"/>
                  <a:gd name="connsiteX69" fmla="*/ 1402102 w 4519987"/>
                  <a:gd name="connsiteY69" fmla="*/ 4276725 h 4496940"/>
                  <a:gd name="connsiteX70" fmla="*/ 1287802 w 4519987"/>
                  <a:gd name="connsiteY70" fmla="*/ 4229100 h 4496940"/>
                  <a:gd name="connsiteX71" fmla="*/ 1221127 w 4519987"/>
                  <a:gd name="connsiteY71" fmla="*/ 4200525 h 4496940"/>
                  <a:gd name="connsiteX72" fmla="*/ 1144927 w 4519987"/>
                  <a:gd name="connsiteY72" fmla="*/ 4171950 h 4496940"/>
                  <a:gd name="connsiteX73" fmla="*/ 1087777 w 4519987"/>
                  <a:gd name="connsiteY73" fmla="*/ 4143375 h 4496940"/>
                  <a:gd name="connsiteX74" fmla="*/ 1030627 w 4519987"/>
                  <a:gd name="connsiteY74" fmla="*/ 4124325 h 4496940"/>
                  <a:gd name="connsiteX75" fmla="*/ 925852 w 4519987"/>
                  <a:gd name="connsiteY75" fmla="*/ 4067175 h 4496940"/>
                  <a:gd name="connsiteX76" fmla="*/ 830602 w 4519987"/>
                  <a:gd name="connsiteY76" fmla="*/ 3981450 h 4496940"/>
                  <a:gd name="connsiteX77" fmla="*/ 763927 w 4519987"/>
                  <a:gd name="connsiteY77" fmla="*/ 3914775 h 4496940"/>
                  <a:gd name="connsiteX78" fmla="*/ 725827 w 4519987"/>
                  <a:gd name="connsiteY78" fmla="*/ 3876675 h 4496940"/>
                  <a:gd name="connsiteX79" fmla="*/ 697252 w 4519987"/>
                  <a:gd name="connsiteY79" fmla="*/ 3838575 h 4496940"/>
                  <a:gd name="connsiteX80" fmla="*/ 640102 w 4519987"/>
                  <a:gd name="connsiteY80" fmla="*/ 3781425 h 4496940"/>
                  <a:gd name="connsiteX81" fmla="*/ 611527 w 4519987"/>
                  <a:gd name="connsiteY81" fmla="*/ 3733800 h 4496940"/>
                  <a:gd name="connsiteX82" fmla="*/ 554377 w 4519987"/>
                  <a:gd name="connsiteY82" fmla="*/ 3657600 h 4496940"/>
                  <a:gd name="connsiteX83" fmla="*/ 525802 w 4519987"/>
                  <a:gd name="connsiteY83" fmla="*/ 3609975 h 4496940"/>
                  <a:gd name="connsiteX84" fmla="*/ 497227 w 4519987"/>
                  <a:gd name="connsiteY84" fmla="*/ 3552825 h 4496940"/>
                  <a:gd name="connsiteX85" fmla="*/ 440077 w 4519987"/>
                  <a:gd name="connsiteY85" fmla="*/ 3495675 h 4496940"/>
                  <a:gd name="connsiteX86" fmla="*/ 411502 w 4519987"/>
                  <a:gd name="connsiteY86" fmla="*/ 3448050 h 4496940"/>
                  <a:gd name="connsiteX87" fmla="*/ 278152 w 4519987"/>
                  <a:gd name="connsiteY87" fmla="*/ 3257550 h 4496940"/>
                  <a:gd name="connsiteX88" fmla="*/ 249577 w 4519987"/>
                  <a:gd name="connsiteY88" fmla="*/ 3200400 h 4496940"/>
                  <a:gd name="connsiteX89" fmla="*/ 240052 w 4519987"/>
                  <a:gd name="connsiteY89" fmla="*/ 3162300 h 4496940"/>
                  <a:gd name="connsiteX90" fmla="*/ 221002 w 4519987"/>
                  <a:gd name="connsiteY90" fmla="*/ 3105150 h 4496940"/>
                  <a:gd name="connsiteX91" fmla="*/ 173377 w 4519987"/>
                  <a:gd name="connsiteY91" fmla="*/ 3019425 h 4496940"/>
                  <a:gd name="connsiteX92" fmla="*/ 144802 w 4519987"/>
                  <a:gd name="connsiteY92" fmla="*/ 2924175 h 4496940"/>
                  <a:gd name="connsiteX93" fmla="*/ 68602 w 4519987"/>
                  <a:gd name="connsiteY93" fmla="*/ 2724150 h 4496940"/>
                  <a:gd name="connsiteX94" fmla="*/ 49552 w 4519987"/>
                  <a:gd name="connsiteY94" fmla="*/ 2638425 h 4496940"/>
                  <a:gd name="connsiteX95" fmla="*/ 40027 w 4519987"/>
                  <a:gd name="connsiteY95" fmla="*/ 2562225 h 4496940"/>
                  <a:gd name="connsiteX96" fmla="*/ 30502 w 4519987"/>
                  <a:gd name="connsiteY96" fmla="*/ 2514600 h 4496940"/>
                  <a:gd name="connsiteX97" fmla="*/ 11452 w 4519987"/>
                  <a:gd name="connsiteY97" fmla="*/ 2400300 h 4496940"/>
                  <a:gd name="connsiteX98" fmla="*/ 20977 w 4519987"/>
                  <a:gd name="connsiteY98" fmla="*/ 1905000 h 4496940"/>
                  <a:gd name="connsiteX99" fmla="*/ 30502 w 4519987"/>
                  <a:gd name="connsiteY99" fmla="*/ 1838325 h 4496940"/>
                  <a:gd name="connsiteX100" fmla="*/ 49552 w 4519987"/>
                  <a:gd name="connsiteY100" fmla="*/ 1781175 h 4496940"/>
                  <a:gd name="connsiteX101" fmla="*/ 59077 w 4519987"/>
                  <a:gd name="connsiteY101" fmla="*/ 1743075 h 4496940"/>
                  <a:gd name="connsiteX102" fmla="*/ 78127 w 4519987"/>
                  <a:gd name="connsiteY102" fmla="*/ 1685925 h 4496940"/>
                  <a:gd name="connsiteX103" fmla="*/ 87652 w 4519987"/>
                  <a:gd name="connsiteY103" fmla="*/ 1638300 h 4496940"/>
                  <a:gd name="connsiteX104" fmla="*/ 106702 w 4519987"/>
                  <a:gd name="connsiteY104" fmla="*/ 1590675 h 4496940"/>
                  <a:gd name="connsiteX105" fmla="*/ 135277 w 4519987"/>
                  <a:gd name="connsiteY105" fmla="*/ 1504950 h 4496940"/>
                  <a:gd name="connsiteX106" fmla="*/ 154327 w 4519987"/>
                  <a:gd name="connsiteY106" fmla="*/ 1419225 h 4496940"/>
                  <a:gd name="connsiteX107" fmla="*/ 230527 w 4519987"/>
                  <a:gd name="connsiteY107" fmla="*/ 1276350 h 4496940"/>
                  <a:gd name="connsiteX108" fmla="*/ 240052 w 4519987"/>
                  <a:gd name="connsiteY108" fmla="*/ 1247775 h 4496940"/>
                  <a:gd name="connsiteX109" fmla="*/ 268627 w 4519987"/>
                  <a:gd name="connsiteY109" fmla="*/ 1200150 h 4496940"/>
                  <a:gd name="connsiteX110" fmla="*/ 287677 w 4519987"/>
                  <a:gd name="connsiteY110" fmla="*/ 1152525 h 4496940"/>
                  <a:gd name="connsiteX111" fmla="*/ 316252 w 4519987"/>
                  <a:gd name="connsiteY111" fmla="*/ 1114425 h 4496940"/>
                  <a:gd name="connsiteX112" fmla="*/ 363877 w 4519987"/>
                  <a:gd name="connsiteY112" fmla="*/ 1038225 h 4496940"/>
                  <a:gd name="connsiteX113" fmla="*/ 382927 w 4519987"/>
                  <a:gd name="connsiteY113" fmla="*/ 1009650 h 4496940"/>
                  <a:gd name="connsiteX114" fmla="*/ 440077 w 4519987"/>
                  <a:gd name="connsiteY114" fmla="*/ 904875 h 4496940"/>
                  <a:gd name="connsiteX115" fmla="*/ 478177 w 4519987"/>
                  <a:gd name="connsiteY115" fmla="*/ 857250 h 4496940"/>
                  <a:gd name="connsiteX116" fmla="*/ 497227 w 4519987"/>
                  <a:gd name="connsiteY116" fmla="*/ 828675 h 4496940"/>
                  <a:gd name="connsiteX117" fmla="*/ 535327 w 4519987"/>
                  <a:gd name="connsiteY117" fmla="*/ 800100 h 4496940"/>
                  <a:gd name="connsiteX118" fmla="*/ 602002 w 4519987"/>
                  <a:gd name="connsiteY118" fmla="*/ 733425 h 4496940"/>
                  <a:gd name="connsiteX119" fmla="*/ 668677 w 4519987"/>
                  <a:gd name="connsiteY119" fmla="*/ 676275 h 4496940"/>
                  <a:gd name="connsiteX120" fmla="*/ 697252 w 4519987"/>
                  <a:gd name="connsiteY120" fmla="*/ 657225 h 4496940"/>
                  <a:gd name="connsiteX121" fmla="*/ 840127 w 4519987"/>
                  <a:gd name="connsiteY121" fmla="*/ 533400 h 4496940"/>
                  <a:gd name="connsiteX122" fmla="*/ 887752 w 4519987"/>
                  <a:gd name="connsiteY122" fmla="*/ 504825 h 4496940"/>
                  <a:gd name="connsiteX123" fmla="*/ 1167152 w 4519987"/>
                  <a:gd name="connsiteY123" fmla="*/ 311150 h 4496940"/>
                  <a:gd name="connsiteX124" fmla="*/ 1268752 w 4519987"/>
                  <a:gd name="connsiteY124" fmla="*/ 285750 h 4496940"/>
                  <a:gd name="connsiteX125" fmla="*/ 1411627 w 4519987"/>
                  <a:gd name="connsiteY125" fmla="*/ 190500 h 4496940"/>
                  <a:gd name="connsiteX126" fmla="*/ 1449727 w 4519987"/>
                  <a:gd name="connsiteY126" fmla="*/ 161925 h 4496940"/>
                  <a:gd name="connsiteX127" fmla="*/ 1525927 w 4519987"/>
                  <a:gd name="connsiteY127" fmla="*/ 152400 h 4496940"/>
                  <a:gd name="connsiteX128" fmla="*/ 1583077 w 4519987"/>
                  <a:gd name="connsiteY128" fmla="*/ 142875 h 4496940"/>
                  <a:gd name="connsiteX129" fmla="*/ 1716427 w 4519987"/>
                  <a:gd name="connsiteY129" fmla="*/ 123825 h 4496940"/>
                  <a:gd name="connsiteX130" fmla="*/ 1811677 w 4519987"/>
                  <a:gd name="connsiteY130" fmla="*/ 114300 h 4496940"/>
                  <a:gd name="connsiteX131" fmla="*/ 1859302 w 4519987"/>
                  <a:gd name="connsiteY131" fmla="*/ 104775 h 4496940"/>
                  <a:gd name="connsiteX132" fmla="*/ 1916452 w 4519987"/>
                  <a:gd name="connsiteY132" fmla="*/ 95250 h 4496940"/>
                  <a:gd name="connsiteX133" fmla="*/ 2030752 w 4519987"/>
                  <a:gd name="connsiteY133" fmla="*/ 66675 h 4496940"/>
                  <a:gd name="connsiteX134" fmla="*/ 2097427 w 4519987"/>
                  <a:gd name="connsiteY134" fmla="*/ 47625 h 4496940"/>
                  <a:gd name="connsiteX135" fmla="*/ 2164102 w 4519987"/>
                  <a:gd name="connsiteY135" fmla="*/ 38100 h 4496940"/>
                  <a:gd name="connsiteX136" fmla="*/ 2392702 w 4519987"/>
                  <a:gd name="connsiteY13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783352 w 4519987"/>
                  <a:gd name="connsiteY40" fmla="*/ 3810000 h 4496940"/>
                  <a:gd name="connsiteX41" fmla="*/ 3678577 w 4519987"/>
                  <a:gd name="connsiteY41" fmla="*/ 3848100 h 4496940"/>
                  <a:gd name="connsiteX42" fmla="*/ 3659527 w 4519987"/>
                  <a:gd name="connsiteY42" fmla="*/ 3971925 h 4496940"/>
                  <a:gd name="connsiteX43" fmla="*/ 3630952 w 4519987"/>
                  <a:gd name="connsiteY43" fmla="*/ 4010025 h 4496940"/>
                  <a:gd name="connsiteX44" fmla="*/ 3621427 w 4519987"/>
                  <a:gd name="connsiteY44" fmla="*/ 4038600 h 4496940"/>
                  <a:gd name="connsiteX45" fmla="*/ 3554752 w 4519987"/>
                  <a:gd name="connsiteY45" fmla="*/ 4095750 h 4496940"/>
                  <a:gd name="connsiteX46" fmla="*/ 3516652 w 4519987"/>
                  <a:gd name="connsiteY46" fmla="*/ 4114800 h 4496940"/>
                  <a:gd name="connsiteX47" fmla="*/ 3497602 w 4519987"/>
                  <a:gd name="connsiteY47" fmla="*/ 4143375 h 4496940"/>
                  <a:gd name="connsiteX48" fmla="*/ 3383302 w 4519987"/>
                  <a:gd name="connsiteY48" fmla="*/ 4210050 h 4496940"/>
                  <a:gd name="connsiteX49" fmla="*/ 3335677 w 4519987"/>
                  <a:gd name="connsiteY49" fmla="*/ 4238625 h 4496940"/>
                  <a:gd name="connsiteX50" fmla="*/ 3288052 w 4519987"/>
                  <a:gd name="connsiteY50" fmla="*/ 4248150 h 4496940"/>
                  <a:gd name="connsiteX51" fmla="*/ 3240427 w 4519987"/>
                  <a:gd name="connsiteY51" fmla="*/ 4267200 h 4496940"/>
                  <a:gd name="connsiteX52" fmla="*/ 3068977 w 4519987"/>
                  <a:gd name="connsiteY52" fmla="*/ 4286250 h 4496940"/>
                  <a:gd name="connsiteX53" fmla="*/ 2935627 w 4519987"/>
                  <a:gd name="connsiteY53" fmla="*/ 4333875 h 4496940"/>
                  <a:gd name="connsiteX54" fmla="*/ 2811802 w 4519987"/>
                  <a:gd name="connsiteY54" fmla="*/ 4371975 h 4496940"/>
                  <a:gd name="connsiteX55" fmla="*/ 2745127 w 4519987"/>
                  <a:gd name="connsiteY55" fmla="*/ 4410075 h 4496940"/>
                  <a:gd name="connsiteX56" fmla="*/ 2697502 w 4519987"/>
                  <a:gd name="connsiteY56" fmla="*/ 4429125 h 4496940"/>
                  <a:gd name="connsiteX57" fmla="*/ 2640352 w 4519987"/>
                  <a:gd name="connsiteY57" fmla="*/ 4457700 h 4496940"/>
                  <a:gd name="connsiteX58" fmla="*/ 2583202 w 4519987"/>
                  <a:gd name="connsiteY58" fmla="*/ 4467225 h 4496940"/>
                  <a:gd name="connsiteX59" fmla="*/ 2545102 w 4519987"/>
                  <a:gd name="connsiteY59" fmla="*/ 4486275 h 4496940"/>
                  <a:gd name="connsiteX60" fmla="*/ 2306977 w 4519987"/>
                  <a:gd name="connsiteY60" fmla="*/ 4476750 h 4496940"/>
                  <a:gd name="connsiteX61" fmla="*/ 2202202 w 4519987"/>
                  <a:gd name="connsiteY61" fmla="*/ 4457700 h 4496940"/>
                  <a:gd name="connsiteX62" fmla="*/ 2126002 w 4519987"/>
                  <a:gd name="connsiteY62" fmla="*/ 4429125 h 4496940"/>
                  <a:gd name="connsiteX63" fmla="*/ 1935502 w 4519987"/>
                  <a:gd name="connsiteY63" fmla="*/ 4400550 h 4496940"/>
                  <a:gd name="connsiteX64" fmla="*/ 1821202 w 4519987"/>
                  <a:gd name="connsiteY64" fmla="*/ 4371975 h 4496940"/>
                  <a:gd name="connsiteX65" fmla="*/ 1754527 w 4519987"/>
                  <a:gd name="connsiteY65" fmla="*/ 4352925 h 4496940"/>
                  <a:gd name="connsiteX66" fmla="*/ 1687852 w 4519987"/>
                  <a:gd name="connsiteY66" fmla="*/ 4343400 h 4496940"/>
                  <a:gd name="connsiteX67" fmla="*/ 1573552 w 4519987"/>
                  <a:gd name="connsiteY67" fmla="*/ 4305300 h 4496940"/>
                  <a:gd name="connsiteX68" fmla="*/ 1402102 w 4519987"/>
                  <a:gd name="connsiteY68" fmla="*/ 4276725 h 4496940"/>
                  <a:gd name="connsiteX69" fmla="*/ 1287802 w 4519987"/>
                  <a:gd name="connsiteY69" fmla="*/ 4229100 h 4496940"/>
                  <a:gd name="connsiteX70" fmla="*/ 1221127 w 4519987"/>
                  <a:gd name="connsiteY70" fmla="*/ 4200525 h 4496940"/>
                  <a:gd name="connsiteX71" fmla="*/ 1144927 w 4519987"/>
                  <a:gd name="connsiteY71" fmla="*/ 4171950 h 4496940"/>
                  <a:gd name="connsiteX72" fmla="*/ 1087777 w 4519987"/>
                  <a:gd name="connsiteY72" fmla="*/ 4143375 h 4496940"/>
                  <a:gd name="connsiteX73" fmla="*/ 1030627 w 4519987"/>
                  <a:gd name="connsiteY73" fmla="*/ 4124325 h 4496940"/>
                  <a:gd name="connsiteX74" fmla="*/ 925852 w 4519987"/>
                  <a:gd name="connsiteY74" fmla="*/ 4067175 h 4496940"/>
                  <a:gd name="connsiteX75" fmla="*/ 830602 w 4519987"/>
                  <a:gd name="connsiteY75" fmla="*/ 3981450 h 4496940"/>
                  <a:gd name="connsiteX76" fmla="*/ 763927 w 4519987"/>
                  <a:gd name="connsiteY76" fmla="*/ 3914775 h 4496940"/>
                  <a:gd name="connsiteX77" fmla="*/ 725827 w 4519987"/>
                  <a:gd name="connsiteY77" fmla="*/ 3876675 h 4496940"/>
                  <a:gd name="connsiteX78" fmla="*/ 697252 w 4519987"/>
                  <a:gd name="connsiteY78" fmla="*/ 3838575 h 4496940"/>
                  <a:gd name="connsiteX79" fmla="*/ 640102 w 4519987"/>
                  <a:gd name="connsiteY79" fmla="*/ 3781425 h 4496940"/>
                  <a:gd name="connsiteX80" fmla="*/ 611527 w 4519987"/>
                  <a:gd name="connsiteY80" fmla="*/ 3733800 h 4496940"/>
                  <a:gd name="connsiteX81" fmla="*/ 554377 w 4519987"/>
                  <a:gd name="connsiteY81" fmla="*/ 3657600 h 4496940"/>
                  <a:gd name="connsiteX82" fmla="*/ 525802 w 4519987"/>
                  <a:gd name="connsiteY82" fmla="*/ 3609975 h 4496940"/>
                  <a:gd name="connsiteX83" fmla="*/ 497227 w 4519987"/>
                  <a:gd name="connsiteY83" fmla="*/ 3552825 h 4496940"/>
                  <a:gd name="connsiteX84" fmla="*/ 440077 w 4519987"/>
                  <a:gd name="connsiteY84" fmla="*/ 3495675 h 4496940"/>
                  <a:gd name="connsiteX85" fmla="*/ 411502 w 4519987"/>
                  <a:gd name="connsiteY85" fmla="*/ 3448050 h 4496940"/>
                  <a:gd name="connsiteX86" fmla="*/ 278152 w 4519987"/>
                  <a:gd name="connsiteY86" fmla="*/ 3257550 h 4496940"/>
                  <a:gd name="connsiteX87" fmla="*/ 249577 w 4519987"/>
                  <a:gd name="connsiteY87" fmla="*/ 3200400 h 4496940"/>
                  <a:gd name="connsiteX88" fmla="*/ 240052 w 4519987"/>
                  <a:gd name="connsiteY88" fmla="*/ 3162300 h 4496940"/>
                  <a:gd name="connsiteX89" fmla="*/ 221002 w 4519987"/>
                  <a:gd name="connsiteY89" fmla="*/ 3105150 h 4496940"/>
                  <a:gd name="connsiteX90" fmla="*/ 173377 w 4519987"/>
                  <a:gd name="connsiteY90" fmla="*/ 3019425 h 4496940"/>
                  <a:gd name="connsiteX91" fmla="*/ 144802 w 4519987"/>
                  <a:gd name="connsiteY91" fmla="*/ 2924175 h 4496940"/>
                  <a:gd name="connsiteX92" fmla="*/ 68602 w 4519987"/>
                  <a:gd name="connsiteY92" fmla="*/ 2724150 h 4496940"/>
                  <a:gd name="connsiteX93" fmla="*/ 49552 w 4519987"/>
                  <a:gd name="connsiteY93" fmla="*/ 2638425 h 4496940"/>
                  <a:gd name="connsiteX94" fmla="*/ 40027 w 4519987"/>
                  <a:gd name="connsiteY94" fmla="*/ 2562225 h 4496940"/>
                  <a:gd name="connsiteX95" fmla="*/ 30502 w 4519987"/>
                  <a:gd name="connsiteY95" fmla="*/ 2514600 h 4496940"/>
                  <a:gd name="connsiteX96" fmla="*/ 11452 w 4519987"/>
                  <a:gd name="connsiteY96" fmla="*/ 2400300 h 4496940"/>
                  <a:gd name="connsiteX97" fmla="*/ 20977 w 4519987"/>
                  <a:gd name="connsiteY97" fmla="*/ 1905000 h 4496940"/>
                  <a:gd name="connsiteX98" fmla="*/ 30502 w 4519987"/>
                  <a:gd name="connsiteY98" fmla="*/ 1838325 h 4496940"/>
                  <a:gd name="connsiteX99" fmla="*/ 49552 w 4519987"/>
                  <a:gd name="connsiteY99" fmla="*/ 1781175 h 4496940"/>
                  <a:gd name="connsiteX100" fmla="*/ 59077 w 4519987"/>
                  <a:gd name="connsiteY100" fmla="*/ 1743075 h 4496940"/>
                  <a:gd name="connsiteX101" fmla="*/ 78127 w 4519987"/>
                  <a:gd name="connsiteY101" fmla="*/ 1685925 h 4496940"/>
                  <a:gd name="connsiteX102" fmla="*/ 87652 w 4519987"/>
                  <a:gd name="connsiteY102" fmla="*/ 1638300 h 4496940"/>
                  <a:gd name="connsiteX103" fmla="*/ 106702 w 4519987"/>
                  <a:gd name="connsiteY103" fmla="*/ 1590675 h 4496940"/>
                  <a:gd name="connsiteX104" fmla="*/ 135277 w 4519987"/>
                  <a:gd name="connsiteY104" fmla="*/ 1504950 h 4496940"/>
                  <a:gd name="connsiteX105" fmla="*/ 154327 w 4519987"/>
                  <a:gd name="connsiteY105" fmla="*/ 1419225 h 4496940"/>
                  <a:gd name="connsiteX106" fmla="*/ 230527 w 4519987"/>
                  <a:gd name="connsiteY106" fmla="*/ 1276350 h 4496940"/>
                  <a:gd name="connsiteX107" fmla="*/ 240052 w 4519987"/>
                  <a:gd name="connsiteY107" fmla="*/ 1247775 h 4496940"/>
                  <a:gd name="connsiteX108" fmla="*/ 268627 w 4519987"/>
                  <a:gd name="connsiteY108" fmla="*/ 1200150 h 4496940"/>
                  <a:gd name="connsiteX109" fmla="*/ 287677 w 4519987"/>
                  <a:gd name="connsiteY109" fmla="*/ 1152525 h 4496940"/>
                  <a:gd name="connsiteX110" fmla="*/ 316252 w 4519987"/>
                  <a:gd name="connsiteY110" fmla="*/ 1114425 h 4496940"/>
                  <a:gd name="connsiteX111" fmla="*/ 363877 w 4519987"/>
                  <a:gd name="connsiteY111" fmla="*/ 1038225 h 4496940"/>
                  <a:gd name="connsiteX112" fmla="*/ 382927 w 4519987"/>
                  <a:gd name="connsiteY112" fmla="*/ 1009650 h 4496940"/>
                  <a:gd name="connsiteX113" fmla="*/ 440077 w 4519987"/>
                  <a:gd name="connsiteY113" fmla="*/ 904875 h 4496940"/>
                  <a:gd name="connsiteX114" fmla="*/ 478177 w 4519987"/>
                  <a:gd name="connsiteY114" fmla="*/ 857250 h 4496940"/>
                  <a:gd name="connsiteX115" fmla="*/ 497227 w 4519987"/>
                  <a:gd name="connsiteY115" fmla="*/ 828675 h 4496940"/>
                  <a:gd name="connsiteX116" fmla="*/ 535327 w 4519987"/>
                  <a:gd name="connsiteY116" fmla="*/ 800100 h 4496940"/>
                  <a:gd name="connsiteX117" fmla="*/ 602002 w 4519987"/>
                  <a:gd name="connsiteY117" fmla="*/ 733425 h 4496940"/>
                  <a:gd name="connsiteX118" fmla="*/ 668677 w 4519987"/>
                  <a:gd name="connsiteY118" fmla="*/ 676275 h 4496940"/>
                  <a:gd name="connsiteX119" fmla="*/ 697252 w 4519987"/>
                  <a:gd name="connsiteY119" fmla="*/ 657225 h 4496940"/>
                  <a:gd name="connsiteX120" fmla="*/ 840127 w 4519987"/>
                  <a:gd name="connsiteY120" fmla="*/ 533400 h 4496940"/>
                  <a:gd name="connsiteX121" fmla="*/ 887752 w 4519987"/>
                  <a:gd name="connsiteY121" fmla="*/ 504825 h 4496940"/>
                  <a:gd name="connsiteX122" fmla="*/ 1167152 w 4519987"/>
                  <a:gd name="connsiteY122" fmla="*/ 311150 h 4496940"/>
                  <a:gd name="connsiteX123" fmla="*/ 1268752 w 4519987"/>
                  <a:gd name="connsiteY123" fmla="*/ 285750 h 4496940"/>
                  <a:gd name="connsiteX124" fmla="*/ 1411627 w 4519987"/>
                  <a:gd name="connsiteY124" fmla="*/ 190500 h 4496940"/>
                  <a:gd name="connsiteX125" fmla="*/ 1449727 w 4519987"/>
                  <a:gd name="connsiteY125" fmla="*/ 161925 h 4496940"/>
                  <a:gd name="connsiteX126" fmla="*/ 1525927 w 4519987"/>
                  <a:gd name="connsiteY126" fmla="*/ 152400 h 4496940"/>
                  <a:gd name="connsiteX127" fmla="*/ 1583077 w 4519987"/>
                  <a:gd name="connsiteY127" fmla="*/ 142875 h 4496940"/>
                  <a:gd name="connsiteX128" fmla="*/ 1716427 w 4519987"/>
                  <a:gd name="connsiteY128" fmla="*/ 123825 h 4496940"/>
                  <a:gd name="connsiteX129" fmla="*/ 1811677 w 4519987"/>
                  <a:gd name="connsiteY129" fmla="*/ 114300 h 4496940"/>
                  <a:gd name="connsiteX130" fmla="*/ 1859302 w 4519987"/>
                  <a:gd name="connsiteY130" fmla="*/ 104775 h 4496940"/>
                  <a:gd name="connsiteX131" fmla="*/ 1916452 w 4519987"/>
                  <a:gd name="connsiteY131" fmla="*/ 95250 h 4496940"/>
                  <a:gd name="connsiteX132" fmla="*/ 2030752 w 4519987"/>
                  <a:gd name="connsiteY132" fmla="*/ 66675 h 4496940"/>
                  <a:gd name="connsiteX133" fmla="*/ 2097427 w 4519987"/>
                  <a:gd name="connsiteY133" fmla="*/ 47625 h 4496940"/>
                  <a:gd name="connsiteX134" fmla="*/ 2164102 w 4519987"/>
                  <a:gd name="connsiteY134" fmla="*/ 38100 h 4496940"/>
                  <a:gd name="connsiteX135" fmla="*/ 2392702 w 4519987"/>
                  <a:gd name="connsiteY13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678577 w 4519987"/>
                  <a:gd name="connsiteY40" fmla="*/ 3848100 h 4496940"/>
                  <a:gd name="connsiteX41" fmla="*/ 3659527 w 4519987"/>
                  <a:gd name="connsiteY41" fmla="*/ 3971925 h 4496940"/>
                  <a:gd name="connsiteX42" fmla="*/ 3630952 w 4519987"/>
                  <a:gd name="connsiteY42" fmla="*/ 4010025 h 4496940"/>
                  <a:gd name="connsiteX43" fmla="*/ 3621427 w 4519987"/>
                  <a:gd name="connsiteY43" fmla="*/ 4038600 h 4496940"/>
                  <a:gd name="connsiteX44" fmla="*/ 3554752 w 4519987"/>
                  <a:gd name="connsiteY44" fmla="*/ 4095750 h 4496940"/>
                  <a:gd name="connsiteX45" fmla="*/ 3516652 w 4519987"/>
                  <a:gd name="connsiteY45" fmla="*/ 4114800 h 4496940"/>
                  <a:gd name="connsiteX46" fmla="*/ 3497602 w 4519987"/>
                  <a:gd name="connsiteY46" fmla="*/ 4143375 h 4496940"/>
                  <a:gd name="connsiteX47" fmla="*/ 3383302 w 4519987"/>
                  <a:gd name="connsiteY47" fmla="*/ 4210050 h 4496940"/>
                  <a:gd name="connsiteX48" fmla="*/ 3335677 w 4519987"/>
                  <a:gd name="connsiteY48" fmla="*/ 4238625 h 4496940"/>
                  <a:gd name="connsiteX49" fmla="*/ 3288052 w 4519987"/>
                  <a:gd name="connsiteY49" fmla="*/ 4248150 h 4496940"/>
                  <a:gd name="connsiteX50" fmla="*/ 3240427 w 4519987"/>
                  <a:gd name="connsiteY50" fmla="*/ 4267200 h 4496940"/>
                  <a:gd name="connsiteX51" fmla="*/ 3068977 w 4519987"/>
                  <a:gd name="connsiteY51" fmla="*/ 4286250 h 4496940"/>
                  <a:gd name="connsiteX52" fmla="*/ 2935627 w 4519987"/>
                  <a:gd name="connsiteY52" fmla="*/ 4333875 h 4496940"/>
                  <a:gd name="connsiteX53" fmla="*/ 2811802 w 4519987"/>
                  <a:gd name="connsiteY53" fmla="*/ 4371975 h 4496940"/>
                  <a:gd name="connsiteX54" fmla="*/ 2745127 w 4519987"/>
                  <a:gd name="connsiteY54" fmla="*/ 4410075 h 4496940"/>
                  <a:gd name="connsiteX55" fmla="*/ 2697502 w 4519987"/>
                  <a:gd name="connsiteY55" fmla="*/ 4429125 h 4496940"/>
                  <a:gd name="connsiteX56" fmla="*/ 2640352 w 4519987"/>
                  <a:gd name="connsiteY56" fmla="*/ 4457700 h 4496940"/>
                  <a:gd name="connsiteX57" fmla="*/ 2583202 w 4519987"/>
                  <a:gd name="connsiteY57" fmla="*/ 4467225 h 4496940"/>
                  <a:gd name="connsiteX58" fmla="*/ 2545102 w 4519987"/>
                  <a:gd name="connsiteY58" fmla="*/ 4486275 h 4496940"/>
                  <a:gd name="connsiteX59" fmla="*/ 2306977 w 4519987"/>
                  <a:gd name="connsiteY59" fmla="*/ 4476750 h 4496940"/>
                  <a:gd name="connsiteX60" fmla="*/ 2202202 w 4519987"/>
                  <a:gd name="connsiteY60" fmla="*/ 4457700 h 4496940"/>
                  <a:gd name="connsiteX61" fmla="*/ 2126002 w 4519987"/>
                  <a:gd name="connsiteY61" fmla="*/ 4429125 h 4496940"/>
                  <a:gd name="connsiteX62" fmla="*/ 1935502 w 4519987"/>
                  <a:gd name="connsiteY62" fmla="*/ 4400550 h 4496940"/>
                  <a:gd name="connsiteX63" fmla="*/ 1821202 w 4519987"/>
                  <a:gd name="connsiteY63" fmla="*/ 4371975 h 4496940"/>
                  <a:gd name="connsiteX64" fmla="*/ 1754527 w 4519987"/>
                  <a:gd name="connsiteY64" fmla="*/ 4352925 h 4496940"/>
                  <a:gd name="connsiteX65" fmla="*/ 1687852 w 4519987"/>
                  <a:gd name="connsiteY65" fmla="*/ 4343400 h 4496940"/>
                  <a:gd name="connsiteX66" fmla="*/ 1573552 w 4519987"/>
                  <a:gd name="connsiteY66" fmla="*/ 4305300 h 4496940"/>
                  <a:gd name="connsiteX67" fmla="*/ 1402102 w 4519987"/>
                  <a:gd name="connsiteY67" fmla="*/ 4276725 h 4496940"/>
                  <a:gd name="connsiteX68" fmla="*/ 1287802 w 4519987"/>
                  <a:gd name="connsiteY68" fmla="*/ 4229100 h 4496940"/>
                  <a:gd name="connsiteX69" fmla="*/ 1221127 w 4519987"/>
                  <a:gd name="connsiteY69" fmla="*/ 4200525 h 4496940"/>
                  <a:gd name="connsiteX70" fmla="*/ 1144927 w 4519987"/>
                  <a:gd name="connsiteY70" fmla="*/ 4171950 h 4496940"/>
                  <a:gd name="connsiteX71" fmla="*/ 1087777 w 4519987"/>
                  <a:gd name="connsiteY71" fmla="*/ 4143375 h 4496940"/>
                  <a:gd name="connsiteX72" fmla="*/ 1030627 w 4519987"/>
                  <a:gd name="connsiteY72" fmla="*/ 4124325 h 4496940"/>
                  <a:gd name="connsiteX73" fmla="*/ 925852 w 4519987"/>
                  <a:gd name="connsiteY73" fmla="*/ 4067175 h 4496940"/>
                  <a:gd name="connsiteX74" fmla="*/ 830602 w 4519987"/>
                  <a:gd name="connsiteY74" fmla="*/ 3981450 h 4496940"/>
                  <a:gd name="connsiteX75" fmla="*/ 763927 w 4519987"/>
                  <a:gd name="connsiteY75" fmla="*/ 3914775 h 4496940"/>
                  <a:gd name="connsiteX76" fmla="*/ 725827 w 4519987"/>
                  <a:gd name="connsiteY76" fmla="*/ 3876675 h 4496940"/>
                  <a:gd name="connsiteX77" fmla="*/ 697252 w 4519987"/>
                  <a:gd name="connsiteY77" fmla="*/ 3838575 h 4496940"/>
                  <a:gd name="connsiteX78" fmla="*/ 640102 w 4519987"/>
                  <a:gd name="connsiteY78" fmla="*/ 3781425 h 4496940"/>
                  <a:gd name="connsiteX79" fmla="*/ 611527 w 4519987"/>
                  <a:gd name="connsiteY79" fmla="*/ 3733800 h 4496940"/>
                  <a:gd name="connsiteX80" fmla="*/ 554377 w 4519987"/>
                  <a:gd name="connsiteY80" fmla="*/ 3657600 h 4496940"/>
                  <a:gd name="connsiteX81" fmla="*/ 525802 w 4519987"/>
                  <a:gd name="connsiteY81" fmla="*/ 3609975 h 4496940"/>
                  <a:gd name="connsiteX82" fmla="*/ 497227 w 4519987"/>
                  <a:gd name="connsiteY82" fmla="*/ 3552825 h 4496940"/>
                  <a:gd name="connsiteX83" fmla="*/ 440077 w 4519987"/>
                  <a:gd name="connsiteY83" fmla="*/ 3495675 h 4496940"/>
                  <a:gd name="connsiteX84" fmla="*/ 411502 w 4519987"/>
                  <a:gd name="connsiteY84" fmla="*/ 3448050 h 4496940"/>
                  <a:gd name="connsiteX85" fmla="*/ 278152 w 4519987"/>
                  <a:gd name="connsiteY85" fmla="*/ 3257550 h 4496940"/>
                  <a:gd name="connsiteX86" fmla="*/ 249577 w 4519987"/>
                  <a:gd name="connsiteY86" fmla="*/ 3200400 h 4496940"/>
                  <a:gd name="connsiteX87" fmla="*/ 240052 w 4519987"/>
                  <a:gd name="connsiteY87" fmla="*/ 3162300 h 4496940"/>
                  <a:gd name="connsiteX88" fmla="*/ 221002 w 4519987"/>
                  <a:gd name="connsiteY88" fmla="*/ 3105150 h 4496940"/>
                  <a:gd name="connsiteX89" fmla="*/ 173377 w 4519987"/>
                  <a:gd name="connsiteY89" fmla="*/ 3019425 h 4496940"/>
                  <a:gd name="connsiteX90" fmla="*/ 144802 w 4519987"/>
                  <a:gd name="connsiteY90" fmla="*/ 2924175 h 4496940"/>
                  <a:gd name="connsiteX91" fmla="*/ 68602 w 4519987"/>
                  <a:gd name="connsiteY91" fmla="*/ 2724150 h 4496940"/>
                  <a:gd name="connsiteX92" fmla="*/ 49552 w 4519987"/>
                  <a:gd name="connsiteY92" fmla="*/ 2638425 h 4496940"/>
                  <a:gd name="connsiteX93" fmla="*/ 40027 w 4519987"/>
                  <a:gd name="connsiteY93" fmla="*/ 2562225 h 4496940"/>
                  <a:gd name="connsiteX94" fmla="*/ 30502 w 4519987"/>
                  <a:gd name="connsiteY94" fmla="*/ 2514600 h 4496940"/>
                  <a:gd name="connsiteX95" fmla="*/ 11452 w 4519987"/>
                  <a:gd name="connsiteY95" fmla="*/ 2400300 h 4496940"/>
                  <a:gd name="connsiteX96" fmla="*/ 20977 w 4519987"/>
                  <a:gd name="connsiteY96" fmla="*/ 1905000 h 4496940"/>
                  <a:gd name="connsiteX97" fmla="*/ 30502 w 4519987"/>
                  <a:gd name="connsiteY97" fmla="*/ 1838325 h 4496940"/>
                  <a:gd name="connsiteX98" fmla="*/ 49552 w 4519987"/>
                  <a:gd name="connsiteY98" fmla="*/ 1781175 h 4496940"/>
                  <a:gd name="connsiteX99" fmla="*/ 59077 w 4519987"/>
                  <a:gd name="connsiteY99" fmla="*/ 1743075 h 4496940"/>
                  <a:gd name="connsiteX100" fmla="*/ 78127 w 4519987"/>
                  <a:gd name="connsiteY100" fmla="*/ 1685925 h 4496940"/>
                  <a:gd name="connsiteX101" fmla="*/ 87652 w 4519987"/>
                  <a:gd name="connsiteY101" fmla="*/ 1638300 h 4496940"/>
                  <a:gd name="connsiteX102" fmla="*/ 106702 w 4519987"/>
                  <a:gd name="connsiteY102" fmla="*/ 1590675 h 4496940"/>
                  <a:gd name="connsiteX103" fmla="*/ 135277 w 4519987"/>
                  <a:gd name="connsiteY103" fmla="*/ 1504950 h 4496940"/>
                  <a:gd name="connsiteX104" fmla="*/ 154327 w 4519987"/>
                  <a:gd name="connsiteY104" fmla="*/ 1419225 h 4496940"/>
                  <a:gd name="connsiteX105" fmla="*/ 230527 w 4519987"/>
                  <a:gd name="connsiteY105" fmla="*/ 1276350 h 4496940"/>
                  <a:gd name="connsiteX106" fmla="*/ 240052 w 4519987"/>
                  <a:gd name="connsiteY106" fmla="*/ 1247775 h 4496940"/>
                  <a:gd name="connsiteX107" fmla="*/ 268627 w 4519987"/>
                  <a:gd name="connsiteY107" fmla="*/ 1200150 h 4496940"/>
                  <a:gd name="connsiteX108" fmla="*/ 287677 w 4519987"/>
                  <a:gd name="connsiteY108" fmla="*/ 1152525 h 4496940"/>
                  <a:gd name="connsiteX109" fmla="*/ 316252 w 4519987"/>
                  <a:gd name="connsiteY109" fmla="*/ 1114425 h 4496940"/>
                  <a:gd name="connsiteX110" fmla="*/ 363877 w 4519987"/>
                  <a:gd name="connsiteY110" fmla="*/ 1038225 h 4496940"/>
                  <a:gd name="connsiteX111" fmla="*/ 382927 w 4519987"/>
                  <a:gd name="connsiteY111" fmla="*/ 1009650 h 4496940"/>
                  <a:gd name="connsiteX112" fmla="*/ 440077 w 4519987"/>
                  <a:gd name="connsiteY112" fmla="*/ 904875 h 4496940"/>
                  <a:gd name="connsiteX113" fmla="*/ 478177 w 4519987"/>
                  <a:gd name="connsiteY113" fmla="*/ 857250 h 4496940"/>
                  <a:gd name="connsiteX114" fmla="*/ 497227 w 4519987"/>
                  <a:gd name="connsiteY114" fmla="*/ 828675 h 4496940"/>
                  <a:gd name="connsiteX115" fmla="*/ 535327 w 4519987"/>
                  <a:gd name="connsiteY115" fmla="*/ 800100 h 4496940"/>
                  <a:gd name="connsiteX116" fmla="*/ 602002 w 4519987"/>
                  <a:gd name="connsiteY116" fmla="*/ 733425 h 4496940"/>
                  <a:gd name="connsiteX117" fmla="*/ 668677 w 4519987"/>
                  <a:gd name="connsiteY117" fmla="*/ 676275 h 4496940"/>
                  <a:gd name="connsiteX118" fmla="*/ 697252 w 4519987"/>
                  <a:gd name="connsiteY118" fmla="*/ 657225 h 4496940"/>
                  <a:gd name="connsiteX119" fmla="*/ 840127 w 4519987"/>
                  <a:gd name="connsiteY119" fmla="*/ 533400 h 4496940"/>
                  <a:gd name="connsiteX120" fmla="*/ 887752 w 4519987"/>
                  <a:gd name="connsiteY120" fmla="*/ 504825 h 4496940"/>
                  <a:gd name="connsiteX121" fmla="*/ 1167152 w 4519987"/>
                  <a:gd name="connsiteY121" fmla="*/ 311150 h 4496940"/>
                  <a:gd name="connsiteX122" fmla="*/ 1268752 w 4519987"/>
                  <a:gd name="connsiteY122" fmla="*/ 285750 h 4496940"/>
                  <a:gd name="connsiteX123" fmla="*/ 1411627 w 4519987"/>
                  <a:gd name="connsiteY123" fmla="*/ 190500 h 4496940"/>
                  <a:gd name="connsiteX124" fmla="*/ 1449727 w 4519987"/>
                  <a:gd name="connsiteY124" fmla="*/ 161925 h 4496940"/>
                  <a:gd name="connsiteX125" fmla="*/ 1525927 w 4519987"/>
                  <a:gd name="connsiteY125" fmla="*/ 152400 h 4496940"/>
                  <a:gd name="connsiteX126" fmla="*/ 1583077 w 4519987"/>
                  <a:gd name="connsiteY126" fmla="*/ 142875 h 4496940"/>
                  <a:gd name="connsiteX127" fmla="*/ 1716427 w 4519987"/>
                  <a:gd name="connsiteY127" fmla="*/ 123825 h 4496940"/>
                  <a:gd name="connsiteX128" fmla="*/ 1811677 w 4519987"/>
                  <a:gd name="connsiteY128" fmla="*/ 114300 h 4496940"/>
                  <a:gd name="connsiteX129" fmla="*/ 1859302 w 4519987"/>
                  <a:gd name="connsiteY129" fmla="*/ 104775 h 4496940"/>
                  <a:gd name="connsiteX130" fmla="*/ 1916452 w 4519987"/>
                  <a:gd name="connsiteY130" fmla="*/ 95250 h 4496940"/>
                  <a:gd name="connsiteX131" fmla="*/ 2030752 w 4519987"/>
                  <a:gd name="connsiteY131" fmla="*/ 66675 h 4496940"/>
                  <a:gd name="connsiteX132" fmla="*/ 2097427 w 4519987"/>
                  <a:gd name="connsiteY132" fmla="*/ 47625 h 4496940"/>
                  <a:gd name="connsiteX133" fmla="*/ 2164102 w 4519987"/>
                  <a:gd name="connsiteY133" fmla="*/ 38100 h 4496940"/>
                  <a:gd name="connsiteX134" fmla="*/ 2392702 w 4519987"/>
                  <a:gd name="connsiteY13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792877 w 4519987"/>
                  <a:gd name="connsiteY39" fmla="*/ 3781425 h 4496940"/>
                  <a:gd name="connsiteX40" fmla="*/ 3659527 w 4519987"/>
                  <a:gd name="connsiteY40" fmla="*/ 3971925 h 4496940"/>
                  <a:gd name="connsiteX41" fmla="*/ 3630952 w 4519987"/>
                  <a:gd name="connsiteY41" fmla="*/ 4010025 h 4496940"/>
                  <a:gd name="connsiteX42" fmla="*/ 3621427 w 4519987"/>
                  <a:gd name="connsiteY42" fmla="*/ 4038600 h 4496940"/>
                  <a:gd name="connsiteX43" fmla="*/ 3554752 w 4519987"/>
                  <a:gd name="connsiteY43" fmla="*/ 4095750 h 4496940"/>
                  <a:gd name="connsiteX44" fmla="*/ 3516652 w 4519987"/>
                  <a:gd name="connsiteY44" fmla="*/ 4114800 h 4496940"/>
                  <a:gd name="connsiteX45" fmla="*/ 3497602 w 4519987"/>
                  <a:gd name="connsiteY45" fmla="*/ 4143375 h 4496940"/>
                  <a:gd name="connsiteX46" fmla="*/ 3383302 w 4519987"/>
                  <a:gd name="connsiteY46" fmla="*/ 4210050 h 4496940"/>
                  <a:gd name="connsiteX47" fmla="*/ 3335677 w 4519987"/>
                  <a:gd name="connsiteY47" fmla="*/ 4238625 h 4496940"/>
                  <a:gd name="connsiteX48" fmla="*/ 3288052 w 4519987"/>
                  <a:gd name="connsiteY48" fmla="*/ 4248150 h 4496940"/>
                  <a:gd name="connsiteX49" fmla="*/ 3240427 w 4519987"/>
                  <a:gd name="connsiteY49" fmla="*/ 4267200 h 4496940"/>
                  <a:gd name="connsiteX50" fmla="*/ 3068977 w 4519987"/>
                  <a:gd name="connsiteY50" fmla="*/ 4286250 h 4496940"/>
                  <a:gd name="connsiteX51" fmla="*/ 2935627 w 4519987"/>
                  <a:gd name="connsiteY51" fmla="*/ 4333875 h 4496940"/>
                  <a:gd name="connsiteX52" fmla="*/ 2811802 w 4519987"/>
                  <a:gd name="connsiteY52" fmla="*/ 4371975 h 4496940"/>
                  <a:gd name="connsiteX53" fmla="*/ 2745127 w 4519987"/>
                  <a:gd name="connsiteY53" fmla="*/ 4410075 h 4496940"/>
                  <a:gd name="connsiteX54" fmla="*/ 2697502 w 4519987"/>
                  <a:gd name="connsiteY54" fmla="*/ 4429125 h 4496940"/>
                  <a:gd name="connsiteX55" fmla="*/ 2640352 w 4519987"/>
                  <a:gd name="connsiteY55" fmla="*/ 4457700 h 4496940"/>
                  <a:gd name="connsiteX56" fmla="*/ 2583202 w 4519987"/>
                  <a:gd name="connsiteY56" fmla="*/ 4467225 h 4496940"/>
                  <a:gd name="connsiteX57" fmla="*/ 2545102 w 4519987"/>
                  <a:gd name="connsiteY57" fmla="*/ 4486275 h 4496940"/>
                  <a:gd name="connsiteX58" fmla="*/ 2306977 w 4519987"/>
                  <a:gd name="connsiteY58" fmla="*/ 4476750 h 4496940"/>
                  <a:gd name="connsiteX59" fmla="*/ 2202202 w 4519987"/>
                  <a:gd name="connsiteY59" fmla="*/ 4457700 h 4496940"/>
                  <a:gd name="connsiteX60" fmla="*/ 2126002 w 4519987"/>
                  <a:gd name="connsiteY60" fmla="*/ 4429125 h 4496940"/>
                  <a:gd name="connsiteX61" fmla="*/ 1935502 w 4519987"/>
                  <a:gd name="connsiteY61" fmla="*/ 4400550 h 4496940"/>
                  <a:gd name="connsiteX62" fmla="*/ 1821202 w 4519987"/>
                  <a:gd name="connsiteY62" fmla="*/ 4371975 h 4496940"/>
                  <a:gd name="connsiteX63" fmla="*/ 1754527 w 4519987"/>
                  <a:gd name="connsiteY63" fmla="*/ 4352925 h 4496940"/>
                  <a:gd name="connsiteX64" fmla="*/ 1687852 w 4519987"/>
                  <a:gd name="connsiteY64" fmla="*/ 4343400 h 4496940"/>
                  <a:gd name="connsiteX65" fmla="*/ 1573552 w 4519987"/>
                  <a:gd name="connsiteY65" fmla="*/ 4305300 h 4496940"/>
                  <a:gd name="connsiteX66" fmla="*/ 1402102 w 4519987"/>
                  <a:gd name="connsiteY66" fmla="*/ 4276725 h 4496940"/>
                  <a:gd name="connsiteX67" fmla="*/ 1287802 w 4519987"/>
                  <a:gd name="connsiteY67" fmla="*/ 4229100 h 4496940"/>
                  <a:gd name="connsiteX68" fmla="*/ 1221127 w 4519987"/>
                  <a:gd name="connsiteY68" fmla="*/ 4200525 h 4496940"/>
                  <a:gd name="connsiteX69" fmla="*/ 1144927 w 4519987"/>
                  <a:gd name="connsiteY69" fmla="*/ 4171950 h 4496940"/>
                  <a:gd name="connsiteX70" fmla="*/ 1087777 w 4519987"/>
                  <a:gd name="connsiteY70" fmla="*/ 4143375 h 4496940"/>
                  <a:gd name="connsiteX71" fmla="*/ 1030627 w 4519987"/>
                  <a:gd name="connsiteY71" fmla="*/ 4124325 h 4496940"/>
                  <a:gd name="connsiteX72" fmla="*/ 925852 w 4519987"/>
                  <a:gd name="connsiteY72" fmla="*/ 4067175 h 4496940"/>
                  <a:gd name="connsiteX73" fmla="*/ 830602 w 4519987"/>
                  <a:gd name="connsiteY73" fmla="*/ 3981450 h 4496940"/>
                  <a:gd name="connsiteX74" fmla="*/ 763927 w 4519987"/>
                  <a:gd name="connsiteY74" fmla="*/ 3914775 h 4496940"/>
                  <a:gd name="connsiteX75" fmla="*/ 725827 w 4519987"/>
                  <a:gd name="connsiteY75" fmla="*/ 3876675 h 4496940"/>
                  <a:gd name="connsiteX76" fmla="*/ 697252 w 4519987"/>
                  <a:gd name="connsiteY76" fmla="*/ 3838575 h 4496940"/>
                  <a:gd name="connsiteX77" fmla="*/ 640102 w 4519987"/>
                  <a:gd name="connsiteY77" fmla="*/ 3781425 h 4496940"/>
                  <a:gd name="connsiteX78" fmla="*/ 611527 w 4519987"/>
                  <a:gd name="connsiteY78" fmla="*/ 3733800 h 4496940"/>
                  <a:gd name="connsiteX79" fmla="*/ 554377 w 4519987"/>
                  <a:gd name="connsiteY79" fmla="*/ 3657600 h 4496940"/>
                  <a:gd name="connsiteX80" fmla="*/ 525802 w 4519987"/>
                  <a:gd name="connsiteY80" fmla="*/ 3609975 h 4496940"/>
                  <a:gd name="connsiteX81" fmla="*/ 497227 w 4519987"/>
                  <a:gd name="connsiteY81" fmla="*/ 3552825 h 4496940"/>
                  <a:gd name="connsiteX82" fmla="*/ 440077 w 4519987"/>
                  <a:gd name="connsiteY82" fmla="*/ 3495675 h 4496940"/>
                  <a:gd name="connsiteX83" fmla="*/ 411502 w 4519987"/>
                  <a:gd name="connsiteY83" fmla="*/ 3448050 h 4496940"/>
                  <a:gd name="connsiteX84" fmla="*/ 278152 w 4519987"/>
                  <a:gd name="connsiteY84" fmla="*/ 3257550 h 4496940"/>
                  <a:gd name="connsiteX85" fmla="*/ 249577 w 4519987"/>
                  <a:gd name="connsiteY85" fmla="*/ 3200400 h 4496940"/>
                  <a:gd name="connsiteX86" fmla="*/ 240052 w 4519987"/>
                  <a:gd name="connsiteY86" fmla="*/ 3162300 h 4496940"/>
                  <a:gd name="connsiteX87" fmla="*/ 221002 w 4519987"/>
                  <a:gd name="connsiteY87" fmla="*/ 3105150 h 4496940"/>
                  <a:gd name="connsiteX88" fmla="*/ 173377 w 4519987"/>
                  <a:gd name="connsiteY88" fmla="*/ 3019425 h 4496940"/>
                  <a:gd name="connsiteX89" fmla="*/ 144802 w 4519987"/>
                  <a:gd name="connsiteY89" fmla="*/ 2924175 h 4496940"/>
                  <a:gd name="connsiteX90" fmla="*/ 68602 w 4519987"/>
                  <a:gd name="connsiteY90" fmla="*/ 2724150 h 4496940"/>
                  <a:gd name="connsiteX91" fmla="*/ 49552 w 4519987"/>
                  <a:gd name="connsiteY91" fmla="*/ 2638425 h 4496940"/>
                  <a:gd name="connsiteX92" fmla="*/ 40027 w 4519987"/>
                  <a:gd name="connsiteY92" fmla="*/ 2562225 h 4496940"/>
                  <a:gd name="connsiteX93" fmla="*/ 30502 w 4519987"/>
                  <a:gd name="connsiteY93" fmla="*/ 2514600 h 4496940"/>
                  <a:gd name="connsiteX94" fmla="*/ 11452 w 4519987"/>
                  <a:gd name="connsiteY94" fmla="*/ 2400300 h 4496940"/>
                  <a:gd name="connsiteX95" fmla="*/ 20977 w 4519987"/>
                  <a:gd name="connsiteY95" fmla="*/ 1905000 h 4496940"/>
                  <a:gd name="connsiteX96" fmla="*/ 30502 w 4519987"/>
                  <a:gd name="connsiteY96" fmla="*/ 1838325 h 4496940"/>
                  <a:gd name="connsiteX97" fmla="*/ 49552 w 4519987"/>
                  <a:gd name="connsiteY97" fmla="*/ 1781175 h 4496940"/>
                  <a:gd name="connsiteX98" fmla="*/ 59077 w 4519987"/>
                  <a:gd name="connsiteY98" fmla="*/ 1743075 h 4496940"/>
                  <a:gd name="connsiteX99" fmla="*/ 78127 w 4519987"/>
                  <a:gd name="connsiteY99" fmla="*/ 1685925 h 4496940"/>
                  <a:gd name="connsiteX100" fmla="*/ 87652 w 4519987"/>
                  <a:gd name="connsiteY100" fmla="*/ 1638300 h 4496940"/>
                  <a:gd name="connsiteX101" fmla="*/ 106702 w 4519987"/>
                  <a:gd name="connsiteY101" fmla="*/ 1590675 h 4496940"/>
                  <a:gd name="connsiteX102" fmla="*/ 135277 w 4519987"/>
                  <a:gd name="connsiteY102" fmla="*/ 1504950 h 4496940"/>
                  <a:gd name="connsiteX103" fmla="*/ 154327 w 4519987"/>
                  <a:gd name="connsiteY103" fmla="*/ 1419225 h 4496940"/>
                  <a:gd name="connsiteX104" fmla="*/ 230527 w 4519987"/>
                  <a:gd name="connsiteY104" fmla="*/ 1276350 h 4496940"/>
                  <a:gd name="connsiteX105" fmla="*/ 240052 w 4519987"/>
                  <a:gd name="connsiteY105" fmla="*/ 1247775 h 4496940"/>
                  <a:gd name="connsiteX106" fmla="*/ 268627 w 4519987"/>
                  <a:gd name="connsiteY106" fmla="*/ 1200150 h 4496940"/>
                  <a:gd name="connsiteX107" fmla="*/ 287677 w 4519987"/>
                  <a:gd name="connsiteY107" fmla="*/ 1152525 h 4496940"/>
                  <a:gd name="connsiteX108" fmla="*/ 316252 w 4519987"/>
                  <a:gd name="connsiteY108" fmla="*/ 1114425 h 4496940"/>
                  <a:gd name="connsiteX109" fmla="*/ 363877 w 4519987"/>
                  <a:gd name="connsiteY109" fmla="*/ 1038225 h 4496940"/>
                  <a:gd name="connsiteX110" fmla="*/ 382927 w 4519987"/>
                  <a:gd name="connsiteY110" fmla="*/ 1009650 h 4496940"/>
                  <a:gd name="connsiteX111" fmla="*/ 440077 w 4519987"/>
                  <a:gd name="connsiteY111" fmla="*/ 904875 h 4496940"/>
                  <a:gd name="connsiteX112" fmla="*/ 478177 w 4519987"/>
                  <a:gd name="connsiteY112" fmla="*/ 857250 h 4496940"/>
                  <a:gd name="connsiteX113" fmla="*/ 497227 w 4519987"/>
                  <a:gd name="connsiteY113" fmla="*/ 828675 h 4496940"/>
                  <a:gd name="connsiteX114" fmla="*/ 535327 w 4519987"/>
                  <a:gd name="connsiteY114" fmla="*/ 800100 h 4496940"/>
                  <a:gd name="connsiteX115" fmla="*/ 602002 w 4519987"/>
                  <a:gd name="connsiteY115" fmla="*/ 733425 h 4496940"/>
                  <a:gd name="connsiteX116" fmla="*/ 668677 w 4519987"/>
                  <a:gd name="connsiteY116" fmla="*/ 676275 h 4496940"/>
                  <a:gd name="connsiteX117" fmla="*/ 697252 w 4519987"/>
                  <a:gd name="connsiteY117" fmla="*/ 657225 h 4496940"/>
                  <a:gd name="connsiteX118" fmla="*/ 840127 w 4519987"/>
                  <a:gd name="connsiteY118" fmla="*/ 533400 h 4496940"/>
                  <a:gd name="connsiteX119" fmla="*/ 887752 w 4519987"/>
                  <a:gd name="connsiteY119" fmla="*/ 504825 h 4496940"/>
                  <a:gd name="connsiteX120" fmla="*/ 1167152 w 4519987"/>
                  <a:gd name="connsiteY120" fmla="*/ 311150 h 4496940"/>
                  <a:gd name="connsiteX121" fmla="*/ 1268752 w 4519987"/>
                  <a:gd name="connsiteY121" fmla="*/ 285750 h 4496940"/>
                  <a:gd name="connsiteX122" fmla="*/ 1411627 w 4519987"/>
                  <a:gd name="connsiteY122" fmla="*/ 190500 h 4496940"/>
                  <a:gd name="connsiteX123" fmla="*/ 1449727 w 4519987"/>
                  <a:gd name="connsiteY123" fmla="*/ 161925 h 4496940"/>
                  <a:gd name="connsiteX124" fmla="*/ 1525927 w 4519987"/>
                  <a:gd name="connsiteY124" fmla="*/ 152400 h 4496940"/>
                  <a:gd name="connsiteX125" fmla="*/ 1583077 w 4519987"/>
                  <a:gd name="connsiteY125" fmla="*/ 142875 h 4496940"/>
                  <a:gd name="connsiteX126" fmla="*/ 1716427 w 4519987"/>
                  <a:gd name="connsiteY126" fmla="*/ 123825 h 4496940"/>
                  <a:gd name="connsiteX127" fmla="*/ 1811677 w 4519987"/>
                  <a:gd name="connsiteY127" fmla="*/ 114300 h 4496940"/>
                  <a:gd name="connsiteX128" fmla="*/ 1859302 w 4519987"/>
                  <a:gd name="connsiteY128" fmla="*/ 104775 h 4496940"/>
                  <a:gd name="connsiteX129" fmla="*/ 1916452 w 4519987"/>
                  <a:gd name="connsiteY129" fmla="*/ 95250 h 4496940"/>
                  <a:gd name="connsiteX130" fmla="*/ 2030752 w 4519987"/>
                  <a:gd name="connsiteY130" fmla="*/ 66675 h 4496940"/>
                  <a:gd name="connsiteX131" fmla="*/ 2097427 w 4519987"/>
                  <a:gd name="connsiteY131" fmla="*/ 47625 h 4496940"/>
                  <a:gd name="connsiteX132" fmla="*/ 2164102 w 4519987"/>
                  <a:gd name="connsiteY132" fmla="*/ 38100 h 4496940"/>
                  <a:gd name="connsiteX133" fmla="*/ 2392702 w 4519987"/>
                  <a:gd name="connsiteY13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907177 w 4519987"/>
                  <a:gd name="connsiteY38" fmla="*/ 3686175 h 4496940"/>
                  <a:gd name="connsiteX39" fmla="*/ 3659527 w 4519987"/>
                  <a:gd name="connsiteY39" fmla="*/ 3971925 h 4496940"/>
                  <a:gd name="connsiteX40" fmla="*/ 3630952 w 4519987"/>
                  <a:gd name="connsiteY40" fmla="*/ 4010025 h 4496940"/>
                  <a:gd name="connsiteX41" fmla="*/ 3621427 w 4519987"/>
                  <a:gd name="connsiteY41" fmla="*/ 4038600 h 4496940"/>
                  <a:gd name="connsiteX42" fmla="*/ 3554752 w 4519987"/>
                  <a:gd name="connsiteY42" fmla="*/ 4095750 h 4496940"/>
                  <a:gd name="connsiteX43" fmla="*/ 3516652 w 4519987"/>
                  <a:gd name="connsiteY43" fmla="*/ 4114800 h 4496940"/>
                  <a:gd name="connsiteX44" fmla="*/ 3497602 w 4519987"/>
                  <a:gd name="connsiteY44" fmla="*/ 4143375 h 4496940"/>
                  <a:gd name="connsiteX45" fmla="*/ 3383302 w 4519987"/>
                  <a:gd name="connsiteY45" fmla="*/ 4210050 h 4496940"/>
                  <a:gd name="connsiteX46" fmla="*/ 3335677 w 4519987"/>
                  <a:gd name="connsiteY46" fmla="*/ 4238625 h 4496940"/>
                  <a:gd name="connsiteX47" fmla="*/ 3288052 w 4519987"/>
                  <a:gd name="connsiteY47" fmla="*/ 4248150 h 4496940"/>
                  <a:gd name="connsiteX48" fmla="*/ 3240427 w 4519987"/>
                  <a:gd name="connsiteY48" fmla="*/ 4267200 h 4496940"/>
                  <a:gd name="connsiteX49" fmla="*/ 3068977 w 4519987"/>
                  <a:gd name="connsiteY49" fmla="*/ 4286250 h 4496940"/>
                  <a:gd name="connsiteX50" fmla="*/ 2935627 w 4519987"/>
                  <a:gd name="connsiteY50" fmla="*/ 4333875 h 4496940"/>
                  <a:gd name="connsiteX51" fmla="*/ 2811802 w 4519987"/>
                  <a:gd name="connsiteY51" fmla="*/ 4371975 h 4496940"/>
                  <a:gd name="connsiteX52" fmla="*/ 2745127 w 4519987"/>
                  <a:gd name="connsiteY52" fmla="*/ 4410075 h 4496940"/>
                  <a:gd name="connsiteX53" fmla="*/ 2697502 w 4519987"/>
                  <a:gd name="connsiteY53" fmla="*/ 4429125 h 4496940"/>
                  <a:gd name="connsiteX54" fmla="*/ 2640352 w 4519987"/>
                  <a:gd name="connsiteY54" fmla="*/ 4457700 h 4496940"/>
                  <a:gd name="connsiteX55" fmla="*/ 2583202 w 4519987"/>
                  <a:gd name="connsiteY55" fmla="*/ 4467225 h 4496940"/>
                  <a:gd name="connsiteX56" fmla="*/ 2545102 w 4519987"/>
                  <a:gd name="connsiteY56" fmla="*/ 4486275 h 4496940"/>
                  <a:gd name="connsiteX57" fmla="*/ 2306977 w 4519987"/>
                  <a:gd name="connsiteY57" fmla="*/ 4476750 h 4496940"/>
                  <a:gd name="connsiteX58" fmla="*/ 2202202 w 4519987"/>
                  <a:gd name="connsiteY58" fmla="*/ 4457700 h 4496940"/>
                  <a:gd name="connsiteX59" fmla="*/ 2126002 w 4519987"/>
                  <a:gd name="connsiteY59" fmla="*/ 4429125 h 4496940"/>
                  <a:gd name="connsiteX60" fmla="*/ 1935502 w 4519987"/>
                  <a:gd name="connsiteY60" fmla="*/ 4400550 h 4496940"/>
                  <a:gd name="connsiteX61" fmla="*/ 1821202 w 4519987"/>
                  <a:gd name="connsiteY61" fmla="*/ 4371975 h 4496940"/>
                  <a:gd name="connsiteX62" fmla="*/ 1754527 w 4519987"/>
                  <a:gd name="connsiteY62" fmla="*/ 4352925 h 4496940"/>
                  <a:gd name="connsiteX63" fmla="*/ 1687852 w 4519987"/>
                  <a:gd name="connsiteY63" fmla="*/ 4343400 h 4496940"/>
                  <a:gd name="connsiteX64" fmla="*/ 1573552 w 4519987"/>
                  <a:gd name="connsiteY64" fmla="*/ 4305300 h 4496940"/>
                  <a:gd name="connsiteX65" fmla="*/ 1402102 w 4519987"/>
                  <a:gd name="connsiteY65" fmla="*/ 4276725 h 4496940"/>
                  <a:gd name="connsiteX66" fmla="*/ 1287802 w 4519987"/>
                  <a:gd name="connsiteY66" fmla="*/ 4229100 h 4496940"/>
                  <a:gd name="connsiteX67" fmla="*/ 1221127 w 4519987"/>
                  <a:gd name="connsiteY67" fmla="*/ 4200525 h 4496940"/>
                  <a:gd name="connsiteX68" fmla="*/ 1144927 w 4519987"/>
                  <a:gd name="connsiteY68" fmla="*/ 4171950 h 4496940"/>
                  <a:gd name="connsiteX69" fmla="*/ 1087777 w 4519987"/>
                  <a:gd name="connsiteY69" fmla="*/ 4143375 h 4496940"/>
                  <a:gd name="connsiteX70" fmla="*/ 1030627 w 4519987"/>
                  <a:gd name="connsiteY70" fmla="*/ 4124325 h 4496940"/>
                  <a:gd name="connsiteX71" fmla="*/ 925852 w 4519987"/>
                  <a:gd name="connsiteY71" fmla="*/ 4067175 h 4496940"/>
                  <a:gd name="connsiteX72" fmla="*/ 830602 w 4519987"/>
                  <a:gd name="connsiteY72" fmla="*/ 3981450 h 4496940"/>
                  <a:gd name="connsiteX73" fmla="*/ 763927 w 4519987"/>
                  <a:gd name="connsiteY73" fmla="*/ 3914775 h 4496940"/>
                  <a:gd name="connsiteX74" fmla="*/ 725827 w 4519987"/>
                  <a:gd name="connsiteY74" fmla="*/ 3876675 h 4496940"/>
                  <a:gd name="connsiteX75" fmla="*/ 697252 w 4519987"/>
                  <a:gd name="connsiteY75" fmla="*/ 3838575 h 4496940"/>
                  <a:gd name="connsiteX76" fmla="*/ 640102 w 4519987"/>
                  <a:gd name="connsiteY76" fmla="*/ 3781425 h 4496940"/>
                  <a:gd name="connsiteX77" fmla="*/ 611527 w 4519987"/>
                  <a:gd name="connsiteY77" fmla="*/ 3733800 h 4496940"/>
                  <a:gd name="connsiteX78" fmla="*/ 554377 w 4519987"/>
                  <a:gd name="connsiteY78" fmla="*/ 3657600 h 4496940"/>
                  <a:gd name="connsiteX79" fmla="*/ 525802 w 4519987"/>
                  <a:gd name="connsiteY79" fmla="*/ 3609975 h 4496940"/>
                  <a:gd name="connsiteX80" fmla="*/ 497227 w 4519987"/>
                  <a:gd name="connsiteY80" fmla="*/ 3552825 h 4496940"/>
                  <a:gd name="connsiteX81" fmla="*/ 440077 w 4519987"/>
                  <a:gd name="connsiteY81" fmla="*/ 3495675 h 4496940"/>
                  <a:gd name="connsiteX82" fmla="*/ 411502 w 4519987"/>
                  <a:gd name="connsiteY82" fmla="*/ 3448050 h 4496940"/>
                  <a:gd name="connsiteX83" fmla="*/ 278152 w 4519987"/>
                  <a:gd name="connsiteY83" fmla="*/ 3257550 h 4496940"/>
                  <a:gd name="connsiteX84" fmla="*/ 249577 w 4519987"/>
                  <a:gd name="connsiteY84" fmla="*/ 3200400 h 4496940"/>
                  <a:gd name="connsiteX85" fmla="*/ 240052 w 4519987"/>
                  <a:gd name="connsiteY85" fmla="*/ 3162300 h 4496940"/>
                  <a:gd name="connsiteX86" fmla="*/ 221002 w 4519987"/>
                  <a:gd name="connsiteY86" fmla="*/ 3105150 h 4496940"/>
                  <a:gd name="connsiteX87" fmla="*/ 173377 w 4519987"/>
                  <a:gd name="connsiteY87" fmla="*/ 3019425 h 4496940"/>
                  <a:gd name="connsiteX88" fmla="*/ 144802 w 4519987"/>
                  <a:gd name="connsiteY88" fmla="*/ 2924175 h 4496940"/>
                  <a:gd name="connsiteX89" fmla="*/ 68602 w 4519987"/>
                  <a:gd name="connsiteY89" fmla="*/ 2724150 h 4496940"/>
                  <a:gd name="connsiteX90" fmla="*/ 49552 w 4519987"/>
                  <a:gd name="connsiteY90" fmla="*/ 2638425 h 4496940"/>
                  <a:gd name="connsiteX91" fmla="*/ 40027 w 4519987"/>
                  <a:gd name="connsiteY91" fmla="*/ 2562225 h 4496940"/>
                  <a:gd name="connsiteX92" fmla="*/ 30502 w 4519987"/>
                  <a:gd name="connsiteY92" fmla="*/ 2514600 h 4496940"/>
                  <a:gd name="connsiteX93" fmla="*/ 11452 w 4519987"/>
                  <a:gd name="connsiteY93" fmla="*/ 2400300 h 4496940"/>
                  <a:gd name="connsiteX94" fmla="*/ 20977 w 4519987"/>
                  <a:gd name="connsiteY94" fmla="*/ 1905000 h 4496940"/>
                  <a:gd name="connsiteX95" fmla="*/ 30502 w 4519987"/>
                  <a:gd name="connsiteY95" fmla="*/ 1838325 h 4496940"/>
                  <a:gd name="connsiteX96" fmla="*/ 49552 w 4519987"/>
                  <a:gd name="connsiteY96" fmla="*/ 1781175 h 4496940"/>
                  <a:gd name="connsiteX97" fmla="*/ 59077 w 4519987"/>
                  <a:gd name="connsiteY97" fmla="*/ 1743075 h 4496940"/>
                  <a:gd name="connsiteX98" fmla="*/ 78127 w 4519987"/>
                  <a:gd name="connsiteY98" fmla="*/ 1685925 h 4496940"/>
                  <a:gd name="connsiteX99" fmla="*/ 87652 w 4519987"/>
                  <a:gd name="connsiteY99" fmla="*/ 1638300 h 4496940"/>
                  <a:gd name="connsiteX100" fmla="*/ 106702 w 4519987"/>
                  <a:gd name="connsiteY100" fmla="*/ 1590675 h 4496940"/>
                  <a:gd name="connsiteX101" fmla="*/ 135277 w 4519987"/>
                  <a:gd name="connsiteY101" fmla="*/ 1504950 h 4496940"/>
                  <a:gd name="connsiteX102" fmla="*/ 154327 w 4519987"/>
                  <a:gd name="connsiteY102" fmla="*/ 1419225 h 4496940"/>
                  <a:gd name="connsiteX103" fmla="*/ 230527 w 4519987"/>
                  <a:gd name="connsiteY103" fmla="*/ 1276350 h 4496940"/>
                  <a:gd name="connsiteX104" fmla="*/ 240052 w 4519987"/>
                  <a:gd name="connsiteY104" fmla="*/ 1247775 h 4496940"/>
                  <a:gd name="connsiteX105" fmla="*/ 268627 w 4519987"/>
                  <a:gd name="connsiteY105" fmla="*/ 1200150 h 4496940"/>
                  <a:gd name="connsiteX106" fmla="*/ 287677 w 4519987"/>
                  <a:gd name="connsiteY106" fmla="*/ 1152525 h 4496940"/>
                  <a:gd name="connsiteX107" fmla="*/ 316252 w 4519987"/>
                  <a:gd name="connsiteY107" fmla="*/ 1114425 h 4496940"/>
                  <a:gd name="connsiteX108" fmla="*/ 363877 w 4519987"/>
                  <a:gd name="connsiteY108" fmla="*/ 1038225 h 4496940"/>
                  <a:gd name="connsiteX109" fmla="*/ 382927 w 4519987"/>
                  <a:gd name="connsiteY109" fmla="*/ 1009650 h 4496940"/>
                  <a:gd name="connsiteX110" fmla="*/ 440077 w 4519987"/>
                  <a:gd name="connsiteY110" fmla="*/ 904875 h 4496940"/>
                  <a:gd name="connsiteX111" fmla="*/ 478177 w 4519987"/>
                  <a:gd name="connsiteY111" fmla="*/ 857250 h 4496940"/>
                  <a:gd name="connsiteX112" fmla="*/ 497227 w 4519987"/>
                  <a:gd name="connsiteY112" fmla="*/ 828675 h 4496940"/>
                  <a:gd name="connsiteX113" fmla="*/ 535327 w 4519987"/>
                  <a:gd name="connsiteY113" fmla="*/ 800100 h 4496940"/>
                  <a:gd name="connsiteX114" fmla="*/ 602002 w 4519987"/>
                  <a:gd name="connsiteY114" fmla="*/ 733425 h 4496940"/>
                  <a:gd name="connsiteX115" fmla="*/ 668677 w 4519987"/>
                  <a:gd name="connsiteY115" fmla="*/ 676275 h 4496940"/>
                  <a:gd name="connsiteX116" fmla="*/ 697252 w 4519987"/>
                  <a:gd name="connsiteY116" fmla="*/ 657225 h 4496940"/>
                  <a:gd name="connsiteX117" fmla="*/ 840127 w 4519987"/>
                  <a:gd name="connsiteY117" fmla="*/ 533400 h 4496940"/>
                  <a:gd name="connsiteX118" fmla="*/ 887752 w 4519987"/>
                  <a:gd name="connsiteY118" fmla="*/ 504825 h 4496940"/>
                  <a:gd name="connsiteX119" fmla="*/ 1167152 w 4519987"/>
                  <a:gd name="connsiteY119" fmla="*/ 311150 h 4496940"/>
                  <a:gd name="connsiteX120" fmla="*/ 1268752 w 4519987"/>
                  <a:gd name="connsiteY120" fmla="*/ 285750 h 4496940"/>
                  <a:gd name="connsiteX121" fmla="*/ 1411627 w 4519987"/>
                  <a:gd name="connsiteY121" fmla="*/ 190500 h 4496940"/>
                  <a:gd name="connsiteX122" fmla="*/ 1449727 w 4519987"/>
                  <a:gd name="connsiteY122" fmla="*/ 161925 h 4496940"/>
                  <a:gd name="connsiteX123" fmla="*/ 1525927 w 4519987"/>
                  <a:gd name="connsiteY123" fmla="*/ 152400 h 4496940"/>
                  <a:gd name="connsiteX124" fmla="*/ 1583077 w 4519987"/>
                  <a:gd name="connsiteY124" fmla="*/ 142875 h 4496940"/>
                  <a:gd name="connsiteX125" fmla="*/ 1716427 w 4519987"/>
                  <a:gd name="connsiteY125" fmla="*/ 123825 h 4496940"/>
                  <a:gd name="connsiteX126" fmla="*/ 1811677 w 4519987"/>
                  <a:gd name="connsiteY126" fmla="*/ 114300 h 4496940"/>
                  <a:gd name="connsiteX127" fmla="*/ 1859302 w 4519987"/>
                  <a:gd name="connsiteY127" fmla="*/ 104775 h 4496940"/>
                  <a:gd name="connsiteX128" fmla="*/ 1916452 w 4519987"/>
                  <a:gd name="connsiteY128" fmla="*/ 95250 h 4496940"/>
                  <a:gd name="connsiteX129" fmla="*/ 2030752 w 4519987"/>
                  <a:gd name="connsiteY129" fmla="*/ 66675 h 4496940"/>
                  <a:gd name="connsiteX130" fmla="*/ 2097427 w 4519987"/>
                  <a:gd name="connsiteY130" fmla="*/ 47625 h 4496940"/>
                  <a:gd name="connsiteX131" fmla="*/ 2164102 w 4519987"/>
                  <a:gd name="connsiteY131" fmla="*/ 38100 h 4496940"/>
                  <a:gd name="connsiteX132" fmla="*/ 2392702 w 4519987"/>
                  <a:gd name="connsiteY13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259602 w 4519987"/>
                  <a:gd name="connsiteY32" fmla="*/ 3276600 h 4496940"/>
                  <a:gd name="connsiteX33" fmla="*/ 4183402 w 4519987"/>
                  <a:gd name="connsiteY33" fmla="*/ 3400425 h 4496940"/>
                  <a:gd name="connsiteX34" fmla="*/ 4088152 w 4519987"/>
                  <a:gd name="connsiteY34" fmla="*/ 3495675 h 4496940"/>
                  <a:gd name="connsiteX35" fmla="*/ 4059577 w 4519987"/>
                  <a:gd name="connsiteY35" fmla="*/ 3533775 h 4496940"/>
                  <a:gd name="connsiteX36" fmla="*/ 4002427 w 4519987"/>
                  <a:gd name="connsiteY36" fmla="*/ 3600450 h 4496940"/>
                  <a:gd name="connsiteX37" fmla="*/ 3954802 w 4519987"/>
                  <a:gd name="connsiteY37" fmla="*/ 3648075 h 4496940"/>
                  <a:gd name="connsiteX38" fmla="*/ 3659527 w 4519987"/>
                  <a:gd name="connsiteY38" fmla="*/ 3971925 h 4496940"/>
                  <a:gd name="connsiteX39" fmla="*/ 3630952 w 4519987"/>
                  <a:gd name="connsiteY39" fmla="*/ 4010025 h 4496940"/>
                  <a:gd name="connsiteX40" fmla="*/ 3621427 w 4519987"/>
                  <a:gd name="connsiteY40" fmla="*/ 4038600 h 4496940"/>
                  <a:gd name="connsiteX41" fmla="*/ 3554752 w 4519987"/>
                  <a:gd name="connsiteY41" fmla="*/ 4095750 h 4496940"/>
                  <a:gd name="connsiteX42" fmla="*/ 3516652 w 4519987"/>
                  <a:gd name="connsiteY42" fmla="*/ 4114800 h 4496940"/>
                  <a:gd name="connsiteX43" fmla="*/ 3497602 w 4519987"/>
                  <a:gd name="connsiteY43" fmla="*/ 4143375 h 4496940"/>
                  <a:gd name="connsiteX44" fmla="*/ 3383302 w 4519987"/>
                  <a:gd name="connsiteY44" fmla="*/ 4210050 h 4496940"/>
                  <a:gd name="connsiteX45" fmla="*/ 3335677 w 4519987"/>
                  <a:gd name="connsiteY45" fmla="*/ 4238625 h 4496940"/>
                  <a:gd name="connsiteX46" fmla="*/ 3288052 w 4519987"/>
                  <a:gd name="connsiteY46" fmla="*/ 4248150 h 4496940"/>
                  <a:gd name="connsiteX47" fmla="*/ 3240427 w 4519987"/>
                  <a:gd name="connsiteY47" fmla="*/ 4267200 h 4496940"/>
                  <a:gd name="connsiteX48" fmla="*/ 3068977 w 4519987"/>
                  <a:gd name="connsiteY48" fmla="*/ 4286250 h 4496940"/>
                  <a:gd name="connsiteX49" fmla="*/ 2935627 w 4519987"/>
                  <a:gd name="connsiteY49" fmla="*/ 4333875 h 4496940"/>
                  <a:gd name="connsiteX50" fmla="*/ 2811802 w 4519987"/>
                  <a:gd name="connsiteY50" fmla="*/ 4371975 h 4496940"/>
                  <a:gd name="connsiteX51" fmla="*/ 2745127 w 4519987"/>
                  <a:gd name="connsiteY51" fmla="*/ 4410075 h 4496940"/>
                  <a:gd name="connsiteX52" fmla="*/ 2697502 w 4519987"/>
                  <a:gd name="connsiteY52" fmla="*/ 4429125 h 4496940"/>
                  <a:gd name="connsiteX53" fmla="*/ 2640352 w 4519987"/>
                  <a:gd name="connsiteY53" fmla="*/ 4457700 h 4496940"/>
                  <a:gd name="connsiteX54" fmla="*/ 2583202 w 4519987"/>
                  <a:gd name="connsiteY54" fmla="*/ 4467225 h 4496940"/>
                  <a:gd name="connsiteX55" fmla="*/ 2545102 w 4519987"/>
                  <a:gd name="connsiteY55" fmla="*/ 4486275 h 4496940"/>
                  <a:gd name="connsiteX56" fmla="*/ 2306977 w 4519987"/>
                  <a:gd name="connsiteY56" fmla="*/ 4476750 h 4496940"/>
                  <a:gd name="connsiteX57" fmla="*/ 2202202 w 4519987"/>
                  <a:gd name="connsiteY57" fmla="*/ 4457700 h 4496940"/>
                  <a:gd name="connsiteX58" fmla="*/ 2126002 w 4519987"/>
                  <a:gd name="connsiteY58" fmla="*/ 4429125 h 4496940"/>
                  <a:gd name="connsiteX59" fmla="*/ 1935502 w 4519987"/>
                  <a:gd name="connsiteY59" fmla="*/ 4400550 h 4496940"/>
                  <a:gd name="connsiteX60" fmla="*/ 1821202 w 4519987"/>
                  <a:gd name="connsiteY60" fmla="*/ 4371975 h 4496940"/>
                  <a:gd name="connsiteX61" fmla="*/ 1754527 w 4519987"/>
                  <a:gd name="connsiteY61" fmla="*/ 4352925 h 4496940"/>
                  <a:gd name="connsiteX62" fmla="*/ 1687852 w 4519987"/>
                  <a:gd name="connsiteY62" fmla="*/ 4343400 h 4496940"/>
                  <a:gd name="connsiteX63" fmla="*/ 1573552 w 4519987"/>
                  <a:gd name="connsiteY63" fmla="*/ 4305300 h 4496940"/>
                  <a:gd name="connsiteX64" fmla="*/ 1402102 w 4519987"/>
                  <a:gd name="connsiteY64" fmla="*/ 4276725 h 4496940"/>
                  <a:gd name="connsiteX65" fmla="*/ 1287802 w 4519987"/>
                  <a:gd name="connsiteY65" fmla="*/ 4229100 h 4496940"/>
                  <a:gd name="connsiteX66" fmla="*/ 1221127 w 4519987"/>
                  <a:gd name="connsiteY66" fmla="*/ 4200525 h 4496940"/>
                  <a:gd name="connsiteX67" fmla="*/ 1144927 w 4519987"/>
                  <a:gd name="connsiteY67" fmla="*/ 4171950 h 4496940"/>
                  <a:gd name="connsiteX68" fmla="*/ 1087777 w 4519987"/>
                  <a:gd name="connsiteY68" fmla="*/ 4143375 h 4496940"/>
                  <a:gd name="connsiteX69" fmla="*/ 1030627 w 4519987"/>
                  <a:gd name="connsiteY69" fmla="*/ 4124325 h 4496940"/>
                  <a:gd name="connsiteX70" fmla="*/ 925852 w 4519987"/>
                  <a:gd name="connsiteY70" fmla="*/ 4067175 h 4496940"/>
                  <a:gd name="connsiteX71" fmla="*/ 830602 w 4519987"/>
                  <a:gd name="connsiteY71" fmla="*/ 3981450 h 4496940"/>
                  <a:gd name="connsiteX72" fmla="*/ 763927 w 4519987"/>
                  <a:gd name="connsiteY72" fmla="*/ 3914775 h 4496940"/>
                  <a:gd name="connsiteX73" fmla="*/ 725827 w 4519987"/>
                  <a:gd name="connsiteY73" fmla="*/ 3876675 h 4496940"/>
                  <a:gd name="connsiteX74" fmla="*/ 697252 w 4519987"/>
                  <a:gd name="connsiteY74" fmla="*/ 3838575 h 4496940"/>
                  <a:gd name="connsiteX75" fmla="*/ 640102 w 4519987"/>
                  <a:gd name="connsiteY75" fmla="*/ 3781425 h 4496940"/>
                  <a:gd name="connsiteX76" fmla="*/ 611527 w 4519987"/>
                  <a:gd name="connsiteY76" fmla="*/ 3733800 h 4496940"/>
                  <a:gd name="connsiteX77" fmla="*/ 554377 w 4519987"/>
                  <a:gd name="connsiteY77" fmla="*/ 3657600 h 4496940"/>
                  <a:gd name="connsiteX78" fmla="*/ 525802 w 4519987"/>
                  <a:gd name="connsiteY78" fmla="*/ 3609975 h 4496940"/>
                  <a:gd name="connsiteX79" fmla="*/ 497227 w 4519987"/>
                  <a:gd name="connsiteY79" fmla="*/ 3552825 h 4496940"/>
                  <a:gd name="connsiteX80" fmla="*/ 440077 w 4519987"/>
                  <a:gd name="connsiteY80" fmla="*/ 3495675 h 4496940"/>
                  <a:gd name="connsiteX81" fmla="*/ 411502 w 4519987"/>
                  <a:gd name="connsiteY81" fmla="*/ 3448050 h 4496940"/>
                  <a:gd name="connsiteX82" fmla="*/ 278152 w 4519987"/>
                  <a:gd name="connsiteY82" fmla="*/ 3257550 h 4496940"/>
                  <a:gd name="connsiteX83" fmla="*/ 249577 w 4519987"/>
                  <a:gd name="connsiteY83" fmla="*/ 3200400 h 4496940"/>
                  <a:gd name="connsiteX84" fmla="*/ 240052 w 4519987"/>
                  <a:gd name="connsiteY84" fmla="*/ 3162300 h 4496940"/>
                  <a:gd name="connsiteX85" fmla="*/ 221002 w 4519987"/>
                  <a:gd name="connsiteY85" fmla="*/ 3105150 h 4496940"/>
                  <a:gd name="connsiteX86" fmla="*/ 173377 w 4519987"/>
                  <a:gd name="connsiteY86" fmla="*/ 3019425 h 4496940"/>
                  <a:gd name="connsiteX87" fmla="*/ 144802 w 4519987"/>
                  <a:gd name="connsiteY87" fmla="*/ 2924175 h 4496940"/>
                  <a:gd name="connsiteX88" fmla="*/ 68602 w 4519987"/>
                  <a:gd name="connsiteY88" fmla="*/ 2724150 h 4496940"/>
                  <a:gd name="connsiteX89" fmla="*/ 49552 w 4519987"/>
                  <a:gd name="connsiteY89" fmla="*/ 2638425 h 4496940"/>
                  <a:gd name="connsiteX90" fmla="*/ 40027 w 4519987"/>
                  <a:gd name="connsiteY90" fmla="*/ 2562225 h 4496940"/>
                  <a:gd name="connsiteX91" fmla="*/ 30502 w 4519987"/>
                  <a:gd name="connsiteY91" fmla="*/ 2514600 h 4496940"/>
                  <a:gd name="connsiteX92" fmla="*/ 11452 w 4519987"/>
                  <a:gd name="connsiteY92" fmla="*/ 2400300 h 4496940"/>
                  <a:gd name="connsiteX93" fmla="*/ 20977 w 4519987"/>
                  <a:gd name="connsiteY93" fmla="*/ 1905000 h 4496940"/>
                  <a:gd name="connsiteX94" fmla="*/ 30502 w 4519987"/>
                  <a:gd name="connsiteY94" fmla="*/ 1838325 h 4496940"/>
                  <a:gd name="connsiteX95" fmla="*/ 49552 w 4519987"/>
                  <a:gd name="connsiteY95" fmla="*/ 1781175 h 4496940"/>
                  <a:gd name="connsiteX96" fmla="*/ 59077 w 4519987"/>
                  <a:gd name="connsiteY96" fmla="*/ 1743075 h 4496940"/>
                  <a:gd name="connsiteX97" fmla="*/ 78127 w 4519987"/>
                  <a:gd name="connsiteY97" fmla="*/ 1685925 h 4496940"/>
                  <a:gd name="connsiteX98" fmla="*/ 87652 w 4519987"/>
                  <a:gd name="connsiteY98" fmla="*/ 1638300 h 4496940"/>
                  <a:gd name="connsiteX99" fmla="*/ 106702 w 4519987"/>
                  <a:gd name="connsiteY99" fmla="*/ 1590675 h 4496940"/>
                  <a:gd name="connsiteX100" fmla="*/ 135277 w 4519987"/>
                  <a:gd name="connsiteY100" fmla="*/ 1504950 h 4496940"/>
                  <a:gd name="connsiteX101" fmla="*/ 154327 w 4519987"/>
                  <a:gd name="connsiteY101" fmla="*/ 1419225 h 4496940"/>
                  <a:gd name="connsiteX102" fmla="*/ 230527 w 4519987"/>
                  <a:gd name="connsiteY102" fmla="*/ 1276350 h 4496940"/>
                  <a:gd name="connsiteX103" fmla="*/ 240052 w 4519987"/>
                  <a:gd name="connsiteY103" fmla="*/ 1247775 h 4496940"/>
                  <a:gd name="connsiteX104" fmla="*/ 268627 w 4519987"/>
                  <a:gd name="connsiteY104" fmla="*/ 1200150 h 4496940"/>
                  <a:gd name="connsiteX105" fmla="*/ 287677 w 4519987"/>
                  <a:gd name="connsiteY105" fmla="*/ 1152525 h 4496940"/>
                  <a:gd name="connsiteX106" fmla="*/ 316252 w 4519987"/>
                  <a:gd name="connsiteY106" fmla="*/ 1114425 h 4496940"/>
                  <a:gd name="connsiteX107" fmla="*/ 363877 w 4519987"/>
                  <a:gd name="connsiteY107" fmla="*/ 1038225 h 4496940"/>
                  <a:gd name="connsiteX108" fmla="*/ 382927 w 4519987"/>
                  <a:gd name="connsiteY108" fmla="*/ 1009650 h 4496940"/>
                  <a:gd name="connsiteX109" fmla="*/ 440077 w 4519987"/>
                  <a:gd name="connsiteY109" fmla="*/ 904875 h 4496940"/>
                  <a:gd name="connsiteX110" fmla="*/ 478177 w 4519987"/>
                  <a:gd name="connsiteY110" fmla="*/ 857250 h 4496940"/>
                  <a:gd name="connsiteX111" fmla="*/ 497227 w 4519987"/>
                  <a:gd name="connsiteY111" fmla="*/ 828675 h 4496940"/>
                  <a:gd name="connsiteX112" fmla="*/ 535327 w 4519987"/>
                  <a:gd name="connsiteY112" fmla="*/ 800100 h 4496940"/>
                  <a:gd name="connsiteX113" fmla="*/ 602002 w 4519987"/>
                  <a:gd name="connsiteY113" fmla="*/ 733425 h 4496940"/>
                  <a:gd name="connsiteX114" fmla="*/ 668677 w 4519987"/>
                  <a:gd name="connsiteY114" fmla="*/ 676275 h 4496940"/>
                  <a:gd name="connsiteX115" fmla="*/ 697252 w 4519987"/>
                  <a:gd name="connsiteY115" fmla="*/ 657225 h 4496940"/>
                  <a:gd name="connsiteX116" fmla="*/ 840127 w 4519987"/>
                  <a:gd name="connsiteY116" fmla="*/ 533400 h 4496940"/>
                  <a:gd name="connsiteX117" fmla="*/ 887752 w 4519987"/>
                  <a:gd name="connsiteY117" fmla="*/ 504825 h 4496940"/>
                  <a:gd name="connsiteX118" fmla="*/ 1167152 w 4519987"/>
                  <a:gd name="connsiteY118" fmla="*/ 311150 h 4496940"/>
                  <a:gd name="connsiteX119" fmla="*/ 1268752 w 4519987"/>
                  <a:gd name="connsiteY119" fmla="*/ 285750 h 4496940"/>
                  <a:gd name="connsiteX120" fmla="*/ 1411627 w 4519987"/>
                  <a:gd name="connsiteY120" fmla="*/ 190500 h 4496940"/>
                  <a:gd name="connsiteX121" fmla="*/ 1449727 w 4519987"/>
                  <a:gd name="connsiteY121" fmla="*/ 161925 h 4496940"/>
                  <a:gd name="connsiteX122" fmla="*/ 1525927 w 4519987"/>
                  <a:gd name="connsiteY122" fmla="*/ 152400 h 4496940"/>
                  <a:gd name="connsiteX123" fmla="*/ 1583077 w 4519987"/>
                  <a:gd name="connsiteY123" fmla="*/ 142875 h 4496940"/>
                  <a:gd name="connsiteX124" fmla="*/ 1716427 w 4519987"/>
                  <a:gd name="connsiteY124" fmla="*/ 123825 h 4496940"/>
                  <a:gd name="connsiteX125" fmla="*/ 1811677 w 4519987"/>
                  <a:gd name="connsiteY125" fmla="*/ 114300 h 4496940"/>
                  <a:gd name="connsiteX126" fmla="*/ 1859302 w 4519987"/>
                  <a:gd name="connsiteY126" fmla="*/ 104775 h 4496940"/>
                  <a:gd name="connsiteX127" fmla="*/ 1916452 w 4519987"/>
                  <a:gd name="connsiteY127" fmla="*/ 95250 h 4496940"/>
                  <a:gd name="connsiteX128" fmla="*/ 2030752 w 4519987"/>
                  <a:gd name="connsiteY128" fmla="*/ 66675 h 4496940"/>
                  <a:gd name="connsiteX129" fmla="*/ 2097427 w 4519987"/>
                  <a:gd name="connsiteY129" fmla="*/ 47625 h 4496940"/>
                  <a:gd name="connsiteX130" fmla="*/ 2164102 w 4519987"/>
                  <a:gd name="connsiteY130" fmla="*/ 38100 h 4496940"/>
                  <a:gd name="connsiteX131" fmla="*/ 2392702 w 4519987"/>
                  <a:gd name="connsiteY13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88152 w 4519987"/>
                  <a:gd name="connsiteY33" fmla="*/ 3495675 h 4496940"/>
                  <a:gd name="connsiteX34" fmla="*/ 4059577 w 4519987"/>
                  <a:gd name="connsiteY34" fmla="*/ 3533775 h 4496940"/>
                  <a:gd name="connsiteX35" fmla="*/ 4002427 w 4519987"/>
                  <a:gd name="connsiteY35" fmla="*/ 3600450 h 4496940"/>
                  <a:gd name="connsiteX36" fmla="*/ 3954802 w 4519987"/>
                  <a:gd name="connsiteY36" fmla="*/ 3648075 h 4496940"/>
                  <a:gd name="connsiteX37" fmla="*/ 3659527 w 4519987"/>
                  <a:gd name="connsiteY37" fmla="*/ 3971925 h 4496940"/>
                  <a:gd name="connsiteX38" fmla="*/ 3630952 w 4519987"/>
                  <a:gd name="connsiteY38" fmla="*/ 4010025 h 4496940"/>
                  <a:gd name="connsiteX39" fmla="*/ 3621427 w 4519987"/>
                  <a:gd name="connsiteY39" fmla="*/ 4038600 h 4496940"/>
                  <a:gd name="connsiteX40" fmla="*/ 3554752 w 4519987"/>
                  <a:gd name="connsiteY40" fmla="*/ 4095750 h 4496940"/>
                  <a:gd name="connsiteX41" fmla="*/ 3516652 w 4519987"/>
                  <a:gd name="connsiteY41" fmla="*/ 4114800 h 4496940"/>
                  <a:gd name="connsiteX42" fmla="*/ 3497602 w 4519987"/>
                  <a:gd name="connsiteY42" fmla="*/ 4143375 h 4496940"/>
                  <a:gd name="connsiteX43" fmla="*/ 3383302 w 4519987"/>
                  <a:gd name="connsiteY43" fmla="*/ 4210050 h 4496940"/>
                  <a:gd name="connsiteX44" fmla="*/ 3335677 w 4519987"/>
                  <a:gd name="connsiteY44" fmla="*/ 4238625 h 4496940"/>
                  <a:gd name="connsiteX45" fmla="*/ 3288052 w 4519987"/>
                  <a:gd name="connsiteY45" fmla="*/ 4248150 h 4496940"/>
                  <a:gd name="connsiteX46" fmla="*/ 3240427 w 4519987"/>
                  <a:gd name="connsiteY46" fmla="*/ 4267200 h 4496940"/>
                  <a:gd name="connsiteX47" fmla="*/ 3068977 w 4519987"/>
                  <a:gd name="connsiteY47" fmla="*/ 4286250 h 4496940"/>
                  <a:gd name="connsiteX48" fmla="*/ 2935627 w 4519987"/>
                  <a:gd name="connsiteY48" fmla="*/ 4333875 h 4496940"/>
                  <a:gd name="connsiteX49" fmla="*/ 2811802 w 4519987"/>
                  <a:gd name="connsiteY49" fmla="*/ 4371975 h 4496940"/>
                  <a:gd name="connsiteX50" fmla="*/ 2745127 w 4519987"/>
                  <a:gd name="connsiteY50" fmla="*/ 4410075 h 4496940"/>
                  <a:gd name="connsiteX51" fmla="*/ 2697502 w 4519987"/>
                  <a:gd name="connsiteY51" fmla="*/ 4429125 h 4496940"/>
                  <a:gd name="connsiteX52" fmla="*/ 2640352 w 4519987"/>
                  <a:gd name="connsiteY52" fmla="*/ 4457700 h 4496940"/>
                  <a:gd name="connsiteX53" fmla="*/ 2583202 w 4519987"/>
                  <a:gd name="connsiteY53" fmla="*/ 4467225 h 4496940"/>
                  <a:gd name="connsiteX54" fmla="*/ 2545102 w 4519987"/>
                  <a:gd name="connsiteY54" fmla="*/ 4486275 h 4496940"/>
                  <a:gd name="connsiteX55" fmla="*/ 2306977 w 4519987"/>
                  <a:gd name="connsiteY55" fmla="*/ 4476750 h 4496940"/>
                  <a:gd name="connsiteX56" fmla="*/ 2202202 w 4519987"/>
                  <a:gd name="connsiteY56" fmla="*/ 4457700 h 4496940"/>
                  <a:gd name="connsiteX57" fmla="*/ 2126002 w 4519987"/>
                  <a:gd name="connsiteY57" fmla="*/ 4429125 h 4496940"/>
                  <a:gd name="connsiteX58" fmla="*/ 1935502 w 4519987"/>
                  <a:gd name="connsiteY58" fmla="*/ 4400550 h 4496940"/>
                  <a:gd name="connsiteX59" fmla="*/ 1821202 w 4519987"/>
                  <a:gd name="connsiteY59" fmla="*/ 4371975 h 4496940"/>
                  <a:gd name="connsiteX60" fmla="*/ 1754527 w 4519987"/>
                  <a:gd name="connsiteY60" fmla="*/ 4352925 h 4496940"/>
                  <a:gd name="connsiteX61" fmla="*/ 1687852 w 4519987"/>
                  <a:gd name="connsiteY61" fmla="*/ 4343400 h 4496940"/>
                  <a:gd name="connsiteX62" fmla="*/ 1573552 w 4519987"/>
                  <a:gd name="connsiteY62" fmla="*/ 4305300 h 4496940"/>
                  <a:gd name="connsiteX63" fmla="*/ 1402102 w 4519987"/>
                  <a:gd name="connsiteY63" fmla="*/ 4276725 h 4496940"/>
                  <a:gd name="connsiteX64" fmla="*/ 1287802 w 4519987"/>
                  <a:gd name="connsiteY64" fmla="*/ 4229100 h 4496940"/>
                  <a:gd name="connsiteX65" fmla="*/ 1221127 w 4519987"/>
                  <a:gd name="connsiteY65" fmla="*/ 4200525 h 4496940"/>
                  <a:gd name="connsiteX66" fmla="*/ 1144927 w 4519987"/>
                  <a:gd name="connsiteY66" fmla="*/ 4171950 h 4496940"/>
                  <a:gd name="connsiteX67" fmla="*/ 1087777 w 4519987"/>
                  <a:gd name="connsiteY67" fmla="*/ 4143375 h 4496940"/>
                  <a:gd name="connsiteX68" fmla="*/ 1030627 w 4519987"/>
                  <a:gd name="connsiteY68" fmla="*/ 4124325 h 4496940"/>
                  <a:gd name="connsiteX69" fmla="*/ 925852 w 4519987"/>
                  <a:gd name="connsiteY69" fmla="*/ 4067175 h 4496940"/>
                  <a:gd name="connsiteX70" fmla="*/ 830602 w 4519987"/>
                  <a:gd name="connsiteY70" fmla="*/ 3981450 h 4496940"/>
                  <a:gd name="connsiteX71" fmla="*/ 763927 w 4519987"/>
                  <a:gd name="connsiteY71" fmla="*/ 3914775 h 4496940"/>
                  <a:gd name="connsiteX72" fmla="*/ 725827 w 4519987"/>
                  <a:gd name="connsiteY72" fmla="*/ 3876675 h 4496940"/>
                  <a:gd name="connsiteX73" fmla="*/ 697252 w 4519987"/>
                  <a:gd name="connsiteY73" fmla="*/ 3838575 h 4496940"/>
                  <a:gd name="connsiteX74" fmla="*/ 640102 w 4519987"/>
                  <a:gd name="connsiteY74" fmla="*/ 3781425 h 4496940"/>
                  <a:gd name="connsiteX75" fmla="*/ 611527 w 4519987"/>
                  <a:gd name="connsiteY75" fmla="*/ 3733800 h 4496940"/>
                  <a:gd name="connsiteX76" fmla="*/ 554377 w 4519987"/>
                  <a:gd name="connsiteY76" fmla="*/ 3657600 h 4496940"/>
                  <a:gd name="connsiteX77" fmla="*/ 525802 w 4519987"/>
                  <a:gd name="connsiteY77" fmla="*/ 3609975 h 4496940"/>
                  <a:gd name="connsiteX78" fmla="*/ 497227 w 4519987"/>
                  <a:gd name="connsiteY78" fmla="*/ 3552825 h 4496940"/>
                  <a:gd name="connsiteX79" fmla="*/ 440077 w 4519987"/>
                  <a:gd name="connsiteY79" fmla="*/ 3495675 h 4496940"/>
                  <a:gd name="connsiteX80" fmla="*/ 411502 w 4519987"/>
                  <a:gd name="connsiteY80" fmla="*/ 3448050 h 4496940"/>
                  <a:gd name="connsiteX81" fmla="*/ 278152 w 4519987"/>
                  <a:gd name="connsiteY81" fmla="*/ 3257550 h 4496940"/>
                  <a:gd name="connsiteX82" fmla="*/ 249577 w 4519987"/>
                  <a:gd name="connsiteY82" fmla="*/ 3200400 h 4496940"/>
                  <a:gd name="connsiteX83" fmla="*/ 240052 w 4519987"/>
                  <a:gd name="connsiteY83" fmla="*/ 3162300 h 4496940"/>
                  <a:gd name="connsiteX84" fmla="*/ 221002 w 4519987"/>
                  <a:gd name="connsiteY84" fmla="*/ 3105150 h 4496940"/>
                  <a:gd name="connsiteX85" fmla="*/ 173377 w 4519987"/>
                  <a:gd name="connsiteY85" fmla="*/ 3019425 h 4496940"/>
                  <a:gd name="connsiteX86" fmla="*/ 144802 w 4519987"/>
                  <a:gd name="connsiteY86" fmla="*/ 2924175 h 4496940"/>
                  <a:gd name="connsiteX87" fmla="*/ 68602 w 4519987"/>
                  <a:gd name="connsiteY87" fmla="*/ 2724150 h 4496940"/>
                  <a:gd name="connsiteX88" fmla="*/ 49552 w 4519987"/>
                  <a:gd name="connsiteY88" fmla="*/ 2638425 h 4496940"/>
                  <a:gd name="connsiteX89" fmla="*/ 40027 w 4519987"/>
                  <a:gd name="connsiteY89" fmla="*/ 2562225 h 4496940"/>
                  <a:gd name="connsiteX90" fmla="*/ 30502 w 4519987"/>
                  <a:gd name="connsiteY90" fmla="*/ 2514600 h 4496940"/>
                  <a:gd name="connsiteX91" fmla="*/ 11452 w 4519987"/>
                  <a:gd name="connsiteY91" fmla="*/ 2400300 h 4496940"/>
                  <a:gd name="connsiteX92" fmla="*/ 20977 w 4519987"/>
                  <a:gd name="connsiteY92" fmla="*/ 1905000 h 4496940"/>
                  <a:gd name="connsiteX93" fmla="*/ 30502 w 4519987"/>
                  <a:gd name="connsiteY93" fmla="*/ 1838325 h 4496940"/>
                  <a:gd name="connsiteX94" fmla="*/ 49552 w 4519987"/>
                  <a:gd name="connsiteY94" fmla="*/ 1781175 h 4496940"/>
                  <a:gd name="connsiteX95" fmla="*/ 59077 w 4519987"/>
                  <a:gd name="connsiteY95" fmla="*/ 1743075 h 4496940"/>
                  <a:gd name="connsiteX96" fmla="*/ 78127 w 4519987"/>
                  <a:gd name="connsiteY96" fmla="*/ 1685925 h 4496940"/>
                  <a:gd name="connsiteX97" fmla="*/ 87652 w 4519987"/>
                  <a:gd name="connsiteY97" fmla="*/ 1638300 h 4496940"/>
                  <a:gd name="connsiteX98" fmla="*/ 106702 w 4519987"/>
                  <a:gd name="connsiteY98" fmla="*/ 1590675 h 4496940"/>
                  <a:gd name="connsiteX99" fmla="*/ 135277 w 4519987"/>
                  <a:gd name="connsiteY99" fmla="*/ 1504950 h 4496940"/>
                  <a:gd name="connsiteX100" fmla="*/ 154327 w 4519987"/>
                  <a:gd name="connsiteY100" fmla="*/ 1419225 h 4496940"/>
                  <a:gd name="connsiteX101" fmla="*/ 230527 w 4519987"/>
                  <a:gd name="connsiteY101" fmla="*/ 1276350 h 4496940"/>
                  <a:gd name="connsiteX102" fmla="*/ 240052 w 4519987"/>
                  <a:gd name="connsiteY102" fmla="*/ 1247775 h 4496940"/>
                  <a:gd name="connsiteX103" fmla="*/ 268627 w 4519987"/>
                  <a:gd name="connsiteY103" fmla="*/ 1200150 h 4496940"/>
                  <a:gd name="connsiteX104" fmla="*/ 287677 w 4519987"/>
                  <a:gd name="connsiteY104" fmla="*/ 1152525 h 4496940"/>
                  <a:gd name="connsiteX105" fmla="*/ 316252 w 4519987"/>
                  <a:gd name="connsiteY105" fmla="*/ 1114425 h 4496940"/>
                  <a:gd name="connsiteX106" fmla="*/ 363877 w 4519987"/>
                  <a:gd name="connsiteY106" fmla="*/ 1038225 h 4496940"/>
                  <a:gd name="connsiteX107" fmla="*/ 382927 w 4519987"/>
                  <a:gd name="connsiteY107" fmla="*/ 1009650 h 4496940"/>
                  <a:gd name="connsiteX108" fmla="*/ 440077 w 4519987"/>
                  <a:gd name="connsiteY108" fmla="*/ 904875 h 4496940"/>
                  <a:gd name="connsiteX109" fmla="*/ 478177 w 4519987"/>
                  <a:gd name="connsiteY109" fmla="*/ 857250 h 4496940"/>
                  <a:gd name="connsiteX110" fmla="*/ 497227 w 4519987"/>
                  <a:gd name="connsiteY110" fmla="*/ 828675 h 4496940"/>
                  <a:gd name="connsiteX111" fmla="*/ 535327 w 4519987"/>
                  <a:gd name="connsiteY111" fmla="*/ 800100 h 4496940"/>
                  <a:gd name="connsiteX112" fmla="*/ 602002 w 4519987"/>
                  <a:gd name="connsiteY112" fmla="*/ 733425 h 4496940"/>
                  <a:gd name="connsiteX113" fmla="*/ 668677 w 4519987"/>
                  <a:gd name="connsiteY113" fmla="*/ 676275 h 4496940"/>
                  <a:gd name="connsiteX114" fmla="*/ 697252 w 4519987"/>
                  <a:gd name="connsiteY114" fmla="*/ 657225 h 4496940"/>
                  <a:gd name="connsiteX115" fmla="*/ 840127 w 4519987"/>
                  <a:gd name="connsiteY115" fmla="*/ 533400 h 4496940"/>
                  <a:gd name="connsiteX116" fmla="*/ 887752 w 4519987"/>
                  <a:gd name="connsiteY116" fmla="*/ 504825 h 4496940"/>
                  <a:gd name="connsiteX117" fmla="*/ 1167152 w 4519987"/>
                  <a:gd name="connsiteY117" fmla="*/ 311150 h 4496940"/>
                  <a:gd name="connsiteX118" fmla="*/ 1268752 w 4519987"/>
                  <a:gd name="connsiteY118" fmla="*/ 285750 h 4496940"/>
                  <a:gd name="connsiteX119" fmla="*/ 1411627 w 4519987"/>
                  <a:gd name="connsiteY119" fmla="*/ 190500 h 4496940"/>
                  <a:gd name="connsiteX120" fmla="*/ 1449727 w 4519987"/>
                  <a:gd name="connsiteY120" fmla="*/ 161925 h 4496940"/>
                  <a:gd name="connsiteX121" fmla="*/ 1525927 w 4519987"/>
                  <a:gd name="connsiteY121" fmla="*/ 152400 h 4496940"/>
                  <a:gd name="connsiteX122" fmla="*/ 1583077 w 4519987"/>
                  <a:gd name="connsiteY122" fmla="*/ 142875 h 4496940"/>
                  <a:gd name="connsiteX123" fmla="*/ 1716427 w 4519987"/>
                  <a:gd name="connsiteY123" fmla="*/ 123825 h 4496940"/>
                  <a:gd name="connsiteX124" fmla="*/ 1811677 w 4519987"/>
                  <a:gd name="connsiteY124" fmla="*/ 114300 h 4496940"/>
                  <a:gd name="connsiteX125" fmla="*/ 1859302 w 4519987"/>
                  <a:gd name="connsiteY125" fmla="*/ 104775 h 4496940"/>
                  <a:gd name="connsiteX126" fmla="*/ 1916452 w 4519987"/>
                  <a:gd name="connsiteY126" fmla="*/ 95250 h 4496940"/>
                  <a:gd name="connsiteX127" fmla="*/ 2030752 w 4519987"/>
                  <a:gd name="connsiteY127" fmla="*/ 66675 h 4496940"/>
                  <a:gd name="connsiteX128" fmla="*/ 2097427 w 4519987"/>
                  <a:gd name="connsiteY128" fmla="*/ 47625 h 4496940"/>
                  <a:gd name="connsiteX129" fmla="*/ 2164102 w 4519987"/>
                  <a:gd name="connsiteY129" fmla="*/ 38100 h 4496940"/>
                  <a:gd name="connsiteX130" fmla="*/ 2392702 w 4519987"/>
                  <a:gd name="connsiteY130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4002427 w 4519987"/>
                  <a:gd name="connsiteY34" fmla="*/ 3600450 h 4496940"/>
                  <a:gd name="connsiteX35" fmla="*/ 3954802 w 4519987"/>
                  <a:gd name="connsiteY35" fmla="*/ 3648075 h 4496940"/>
                  <a:gd name="connsiteX36" fmla="*/ 3659527 w 4519987"/>
                  <a:gd name="connsiteY36" fmla="*/ 3971925 h 4496940"/>
                  <a:gd name="connsiteX37" fmla="*/ 3630952 w 4519987"/>
                  <a:gd name="connsiteY37" fmla="*/ 4010025 h 4496940"/>
                  <a:gd name="connsiteX38" fmla="*/ 3621427 w 4519987"/>
                  <a:gd name="connsiteY38" fmla="*/ 4038600 h 4496940"/>
                  <a:gd name="connsiteX39" fmla="*/ 3554752 w 4519987"/>
                  <a:gd name="connsiteY39" fmla="*/ 4095750 h 4496940"/>
                  <a:gd name="connsiteX40" fmla="*/ 3516652 w 4519987"/>
                  <a:gd name="connsiteY40" fmla="*/ 4114800 h 4496940"/>
                  <a:gd name="connsiteX41" fmla="*/ 3497602 w 4519987"/>
                  <a:gd name="connsiteY41" fmla="*/ 4143375 h 4496940"/>
                  <a:gd name="connsiteX42" fmla="*/ 3383302 w 4519987"/>
                  <a:gd name="connsiteY42" fmla="*/ 4210050 h 4496940"/>
                  <a:gd name="connsiteX43" fmla="*/ 3335677 w 4519987"/>
                  <a:gd name="connsiteY43" fmla="*/ 4238625 h 4496940"/>
                  <a:gd name="connsiteX44" fmla="*/ 3288052 w 4519987"/>
                  <a:gd name="connsiteY44" fmla="*/ 4248150 h 4496940"/>
                  <a:gd name="connsiteX45" fmla="*/ 3240427 w 4519987"/>
                  <a:gd name="connsiteY45" fmla="*/ 4267200 h 4496940"/>
                  <a:gd name="connsiteX46" fmla="*/ 3068977 w 4519987"/>
                  <a:gd name="connsiteY46" fmla="*/ 4286250 h 4496940"/>
                  <a:gd name="connsiteX47" fmla="*/ 2935627 w 4519987"/>
                  <a:gd name="connsiteY47" fmla="*/ 4333875 h 4496940"/>
                  <a:gd name="connsiteX48" fmla="*/ 2811802 w 4519987"/>
                  <a:gd name="connsiteY48" fmla="*/ 4371975 h 4496940"/>
                  <a:gd name="connsiteX49" fmla="*/ 2745127 w 4519987"/>
                  <a:gd name="connsiteY49" fmla="*/ 4410075 h 4496940"/>
                  <a:gd name="connsiteX50" fmla="*/ 2697502 w 4519987"/>
                  <a:gd name="connsiteY50" fmla="*/ 4429125 h 4496940"/>
                  <a:gd name="connsiteX51" fmla="*/ 2640352 w 4519987"/>
                  <a:gd name="connsiteY51" fmla="*/ 4457700 h 4496940"/>
                  <a:gd name="connsiteX52" fmla="*/ 2583202 w 4519987"/>
                  <a:gd name="connsiteY52" fmla="*/ 4467225 h 4496940"/>
                  <a:gd name="connsiteX53" fmla="*/ 2545102 w 4519987"/>
                  <a:gd name="connsiteY53" fmla="*/ 4486275 h 4496940"/>
                  <a:gd name="connsiteX54" fmla="*/ 2306977 w 4519987"/>
                  <a:gd name="connsiteY54" fmla="*/ 4476750 h 4496940"/>
                  <a:gd name="connsiteX55" fmla="*/ 2202202 w 4519987"/>
                  <a:gd name="connsiteY55" fmla="*/ 4457700 h 4496940"/>
                  <a:gd name="connsiteX56" fmla="*/ 2126002 w 4519987"/>
                  <a:gd name="connsiteY56" fmla="*/ 4429125 h 4496940"/>
                  <a:gd name="connsiteX57" fmla="*/ 1935502 w 4519987"/>
                  <a:gd name="connsiteY57" fmla="*/ 4400550 h 4496940"/>
                  <a:gd name="connsiteX58" fmla="*/ 1821202 w 4519987"/>
                  <a:gd name="connsiteY58" fmla="*/ 4371975 h 4496940"/>
                  <a:gd name="connsiteX59" fmla="*/ 1754527 w 4519987"/>
                  <a:gd name="connsiteY59" fmla="*/ 4352925 h 4496940"/>
                  <a:gd name="connsiteX60" fmla="*/ 1687852 w 4519987"/>
                  <a:gd name="connsiteY60" fmla="*/ 4343400 h 4496940"/>
                  <a:gd name="connsiteX61" fmla="*/ 1573552 w 4519987"/>
                  <a:gd name="connsiteY61" fmla="*/ 4305300 h 4496940"/>
                  <a:gd name="connsiteX62" fmla="*/ 1402102 w 4519987"/>
                  <a:gd name="connsiteY62" fmla="*/ 4276725 h 4496940"/>
                  <a:gd name="connsiteX63" fmla="*/ 1287802 w 4519987"/>
                  <a:gd name="connsiteY63" fmla="*/ 4229100 h 4496940"/>
                  <a:gd name="connsiteX64" fmla="*/ 1221127 w 4519987"/>
                  <a:gd name="connsiteY64" fmla="*/ 4200525 h 4496940"/>
                  <a:gd name="connsiteX65" fmla="*/ 1144927 w 4519987"/>
                  <a:gd name="connsiteY65" fmla="*/ 4171950 h 4496940"/>
                  <a:gd name="connsiteX66" fmla="*/ 1087777 w 4519987"/>
                  <a:gd name="connsiteY66" fmla="*/ 4143375 h 4496940"/>
                  <a:gd name="connsiteX67" fmla="*/ 1030627 w 4519987"/>
                  <a:gd name="connsiteY67" fmla="*/ 4124325 h 4496940"/>
                  <a:gd name="connsiteX68" fmla="*/ 925852 w 4519987"/>
                  <a:gd name="connsiteY68" fmla="*/ 4067175 h 4496940"/>
                  <a:gd name="connsiteX69" fmla="*/ 830602 w 4519987"/>
                  <a:gd name="connsiteY69" fmla="*/ 3981450 h 4496940"/>
                  <a:gd name="connsiteX70" fmla="*/ 763927 w 4519987"/>
                  <a:gd name="connsiteY70" fmla="*/ 3914775 h 4496940"/>
                  <a:gd name="connsiteX71" fmla="*/ 725827 w 4519987"/>
                  <a:gd name="connsiteY71" fmla="*/ 3876675 h 4496940"/>
                  <a:gd name="connsiteX72" fmla="*/ 697252 w 4519987"/>
                  <a:gd name="connsiteY72" fmla="*/ 3838575 h 4496940"/>
                  <a:gd name="connsiteX73" fmla="*/ 640102 w 4519987"/>
                  <a:gd name="connsiteY73" fmla="*/ 3781425 h 4496940"/>
                  <a:gd name="connsiteX74" fmla="*/ 611527 w 4519987"/>
                  <a:gd name="connsiteY74" fmla="*/ 3733800 h 4496940"/>
                  <a:gd name="connsiteX75" fmla="*/ 554377 w 4519987"/>
                  <a:gd name="connsiteY75" fmla="*/ 3657600 h 4496940"/>
                  <a:gd name="connsiteX76" fmla="*/ 525802 w 4519987"/>
                  <a:gd name="connsiteY76" fmla="*/ 3609975 h 4496940"/>
                  <a:gd name="connsiteX77" fmla="*/ 497227 w 4519987"/>
                  <a:gd name="connsiteY77" fmla="*/ 3552825 h 4496940"/>
                  <a:gd name="connsiteX78" fmla="*/ 440077 w 4519987"/>
                  <a:gd name="connsiteY78" fmla="*/ 3495675 h 4496940"/>
                  <a:gd name="connsiteX79" fmla="*/ 411502 w 4519987"/>
                  <a:gd name="connsiteY79" fmla="*/ 3448050 h 4496940"/>
                  <a:gd name="connsiteX80" fmla="*/ 278152 w 4519987"/>
                  <a:gd name="connsiteY80" fmla="*/ 3257550 h 4496940"/>
                  <a:gd name="connsiteX81" fmla="*/ 249577 w 4519987"/>
                  <a:gd name="connsiteY81" fmla="*/ 3200400 h 4496940"/>
                  <a:gd name="connsiteX82" fmla="*/ 240052 w 4519987"/>
                  <a:gd name="connsiteY82" fmla="*/ 3162300 h 4496940"/>
                  <a:gd name="connsiteX83" fmla="*/ 221002 w 4519987"/>
                  <a:gd name="connsiteY83" fmla="*/ 3105150 h 4496940"/>
                  <a:gd name="connsiteX84" fmla="*/ 173377 w 4519987"/>
                  <a:gd name="connsiteY84" fmla="*/ 3019425 h 4496940"/>
                  <a:gd name="connsiteX85" fmla="*/ 144802 w 4519987"/>
                  <a:gd name="connsiteY85" fmla="*/ 2924175 h 4496940"/>
                  <a:gd name="connsiteX86" fmla="*/ 68602 w 4519987"/>
                  <a:gd name="connsiteY86" fmla="*/ 2724150 h 4496940"/>
                  <a:gd name="connsiteX87" fmla="*/ 49552 w 4519987"/>
                  <a:gd name="connsiteY87" fmla="*/ 2638425 h 4496940"/>
                  <a:gd name="connsiteX88" fmla="*/ 40027 w 4519987"/>
                  <a:gd name="connsiteY88" fmla="*/ 2562225 h 4496940"/>
                  <a:gd name="connsiteX89" fmla="*/ 30502 w 4519987"/>
                  <a:gd name="connsiteY89" fmla="*/ 2514600 h 4496940"/>
                  <a:gd name="connsiteX90" fmla="*/ 11452 w 4519987"/>
                  <a:gd name="connsiteY90" fmla="*/ 2400300 h 4496940"/>
                  <a:gd name="connsiteX91" fmla="*/ 20977 w 4519987"/>
                  <a:gd name="connsiteY91" fmla="*/ 1905000 h 4496940"/>
                  <a:gd name="connsiteX92" fmla="*/ 30502 w 4519987"/>
                  <a:gd name="connsiteY92" fmla="*/ 1838325 h 4496940"/>
                  <a:gd name="connsiteX93" fmla="*/ 49552 w 4519987"/>
                  <a:gd name="connsiteY93" fmla="*/ 1781175 h 4496940"/>
                  <a:gd name="connsiteX94" fmla="*/ 59077 w 4519987"/>
                  <a:gd name="connsiteY94" fmla="*/ 1743075 h 4496940"/>
                  <a:gd name="connsiteX95" fmla="*/ 78127 w 4519987"/>
                  <a:gd name="connsiteY95" fmla="*/ 1685925 h 4496940"/>
                  <a:gd name="connsiteX96" fmla="*/ 87652 w 4519987"/>
                  <a:gd name="connsiteY96" fmla="*/ 1638300 h 4496940"/>
                  <a:gd name="connsiteX97" fmla="*/ 106702 w 4519987"/>
                  <a:gd name="connsiteY97" fmla="*/ 1590675 h 4496940"/>
                  <a:gd name="connsiteX98" fmla="*/ 135277 w 4519987"/>
                  <a:gd name="connsiteY98" fmla="*/ 1504950 h 4496940"/>
                  <a:gd name="connsiteX99" fmla="*/ 154327 w 4519987"/>
                  <a:gd name="connsiteY99" fmla="*/ 1419225 h 4496940"/>
                  <a:gd name="connsiteX100" fmla="*/ 230527 w 4519987"/>
                  <a:gd name="connsiteY100" fmla="*/ 1276350 h 4496940"/>
                  <a:gd name="connsiteX101" fmla="*/ 240052 w 4519987"/>
                  <a:gd name="connsiteY101" fmla="*/ 1247775 h 4496940"/>
                  <a:gd name="connsiteX102" fmla="*/ 268627 w 4519987"/>
                  <a:gd name="connsiteY102" fmla="*/ 1200150 h 4496940"/>
                  <a:gd name="connsiteX103" fmla="*/ 287677 w 4519987"/>
                  <a:gd name="connsiteY103" fmla="*/ 1152525 h 4496940"/>
                  <a:gd name="connsiteX104" fmla="*/ 316252 w 4519987"/>
                  <a:gd name="connsiteY104" fmla="*/ 1114425 h 4496940"/>
                  <a:gd name="connsiteX105" fmla="*/ 363877 w 4519987"/>
                  <a:gd name="connsiteY105" fmla="*/ 1038225 h 4496940"/>
                  <a:gd name="connsiteX106" fmla="*/ 382927 w 4519987"/>
                  <a:gd name="connsiteY106" fmla="*/ 1009650 h 4496940"/>
                  <a:gd name="connsiteX107" fmla="*/ 440077 w 4519987"/>
                  <a:gd name="connsiteY107" fmla="*/ 904875 h 4496940"/>
                  <a:gd name="connsiteX108" fmla="*/ 478177 w 4519987"/>
                  <a:gd name="connsiteY108" fmla="*/ 857250 h 4496940"/>
                  <a:gd name="connsiteX109" fmla="*/ 497227 w 4519987"/>
                  <a:gd name="connsiteY109" fmla="*/ 828675 h 4496940"/>
                  <a:gd name="connsiteX110" fmla="*/ 535327 w 4519987"/>
                  <a:gd name="connsiteY110" fmla="*/ 800100 h 4496940"/>
                  <a:gd name="connsiteX111" fmla="*/ 602002 w 4519987"/>
                  <a:gd name="connsiteY111" fmla="*/ 733425 h 4496940"/>
                  <a:gd name="connsiteX112" fmla="*/ 668677 w 4519987"/>
                  <a:gd name="connsiteY112" fmla="*/ 676275 h 4496940"/>
                  <a:gd name="connsiteX113" fmla="*/ 697252 w 4519987"/>
                  <a:gd name="connsiteY113" fmla="*/ 657225 h 4496940"/>
                  <a:gd name="connsiteX114" fmla="*/ 840127 w 4519987"/>
                  <a:gd name="connsiteY114" fmla="*/ 533400 h 4496940"/>
                  <a:gd name="connsiteX115" fmla="*/ 887752 w 4519987"/>
                  <a:gd name="connsiteY115" fmla="*/ 504825 h 4496940"/>
                  <a:gd name="connsiteX116" fmla="*/ 1167152 w 4519987"/>
                  <a:gd name="connsiteY116" fmla="*/ 311150 h 4496940"/>
                  <a:gd name="connsiteX117" fmla="*/ 1268752 w 4519987"/>
                  <a:gd name="connsiteY117" fmla="*/ 285750 h 4496940"/>
                  <a:gd name="connsiteX118" fmla="*/ 1411627 w 4519987"/>
                  <a:gd name="connsiteY118" fmla="*/ 190500 h 4496940"/>
                  <a:gd name="connsiteX119" fmla="*/ 1449727 w 4519987"/>
                  <a:gd name="connsiteY119" fmla="*/ 161925 h 4496940"/>
                  <a:gd name="connsiteX120" fmla="*/ 1525927 w 4519987"/>
                  <a:gd name="connsiteY120" fmla="*/ 152400 h 4496940"/>
                  <a:gd name="connsiteX121" fmla="*/ 1583077 w 4519987"/>
                  <a:gd name="connsiteY121" fmla="*/ 142875 h 4496940"/>
                  <a:gd name="connsiteX122" fmla="*/ 1716427 w 4519987"/>
                  <a:gd name="connsiteY122" fmla="*/ 123825 h 4496940"/>
                  <a:gd name="connsiteX123" fmla="*/ 1811677 w 4519987"/>
                  <a:gd name="connsiteY123" fmla="*/ 114300 h 4496940"/>
                  <a:gd name="connsiteX124" fmla="*/ 1859302 w 4519987"/>
                  <a:gd name="connsiteY124" fmla="*/ 104775 h 4496940"/>
                  <a:gd name="connsiteX125" fmla="*/ 1916452 w 4519987"/>
                  <a:gd name="connsiteY125" fmla="*/ 95250 h 4496940"/>
                  <a:gd name="connsiteX126" fmla="*/ 2030752 w 4519987"/>
                  <a:gd name="connsiteY126" fmla="*/ 66675 h 4496940"/>
                  <a:gd name="connsiteX127" fmla="*/ 2097427 w 4519987"/>
                  <a:gd name="connsiteY127" fmla="*/ 47625 h 4496940"/>
                  <a:gd name="connsiteX128" fmla="*/ 2164102 w 4519987"/>
                  <a:gd name="connsiteY128" fmla="*/ 38100 h 4496940"/>
                  <a:gd name="connsiteX129" fmla="*/ 2392702 w 4519987"/>
                  <a:gd name="connsiteY129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621427 w 4519987"/>
                  <a:gd name="connsiteY37" fmla="*/ 4038600 h 4496940"/>
                  <a:gd name="connsiteX38" fmla="*/ 3554752 w 4519987"/>
                  <a:gd name="connsiteY38" fmla="*/ 4095750 h 4496940"/>
                  <a:gd name="connsiteX39" fmla="*/ 3516652 w 4519987"/>
                  <a:gd name="connsiteY39" fmla="*/ 4114800 h 4496940"/>
                  <a:gd name="connsiteX40" fmla="*/ 3497602 w 4519987"/>
                  <a:gd name="connsiteY40" fmla="*/ 4143375 h 4496940"/>
                  <a:gd name="connsiteX41" fmla="*/ 3383302 w 4519987"/>
                  <a:gd name="connsiteY41" fmla="*/ 4210050 h 4496940"/>
                  <a:gd name="connsiteX42" fmla="*/ 3335677 w 4519987"/>
                  <a:gd name="connsiteY42" fmla="*/ 4238625 h 4496940"/>
                  <a:gd name="connsiteX43" fmla="*/ 3288052 w 4519987"/>
                  <a:gd name="connsiteY43" fmla="*/ 4248150 h 4496940"/>
                  <a:gd name="connsiteX44" fmla="*/ 3240427 w 4519987"/>
                  <a:gd name="connsiteY44" fmla="*/ 4267200 h 4496940"/>
                  <a:gd name="connsiteX45" fmla="*/ 3068977 w 4519987"/>
                  <a:gd name="connsiteY45" fmla="*/ 4286250 h 4496940"/>
                  <a:gd name="connsiteX46" fmla="*/ 2935627 w 4519987"/>
                  <a:gd name="connsiteY46" fmla="*/ 4333875 h 4496940"/>
                  <a:gd name="connsiteX47" fmla="*/ 2811802 w 4519987"/>
                  <a:gd name="connsiteY47" fmla="*/ 4371975 h 4496940"/>
                  <a:gd name="connsiteX48" fmla="*/ 2745127 w 4519987"/>
                  <a:gd name="connsiteY48" fmla="*/ 4410075 h 4496940"/>
                  <a:gd name="connsiteX49" fmla="*/ 2697502 w 4519987"/>
                  <a:gd name="connsiteY49" fmla="*/ 4429125 h 4496940"/>
                  <a:gd name="connsiteX50" fmla="*/ 2640352 w 4519987"/>
                  <a:gd name="connsiteY50" fmla="*/ 4457700 h 4496940"/>
                  <a:gd name="connsiteX51" fmla="*/ 2583202 w 4519987"/>
                  <a:gd name="connsiteY51" fmla="*/ 4467225 h 4496940"/>
                  <a:gd name="connsiteX52" fmla="*/ 2545102 w 4519987"/>
                  <a:gd name="connsiteY52" fmla="*/ 4486275 h 4496940"/>
                  <a:gd name="connsiteX53" fmla="*/ 2306977 w 4519987"/>
                  <a:gd name="connsiteY53" fmla="*/ 4476750 h 4496940"/>
                  <a:gd name="connsiteX54" fmla="*/ 2202202 w 4519987"/>
                  <a:gd name="connsiteY54" fmla="*/ 4457700 h 4496940"/>
                  <a:gd name="connsiteX55" fmla="*/ 2126002 w 4519987"/>
                  <a:gd name="connsiteY55" fmla="*/ 4429125 h 4496940"/>
                  <a:gd name="connsiteX56" fmla="*/ 1935502 w 4519987"/>
                  <a:gd name="connsiteY56" fmla="*/ 4400550 h 4496940"/>
                  <a:gd name="connsiteX57" fmla="*/ 1821202 w 4519987"/>
                  <a:gd name="connsiteY57" fmla="*/ 4371975 h 4496940"/>
                  <a:gd name="connsiteX58" fmla="*/ 1754527 w 4519987"/>
                  <a:gd name="connsiteY58" fmla="*/ 4352925 h 4496940"/>
                  <a:gd name="connsiteX59" fmla="*/ 1687852 w 4519987"/>
                  <a:gd name="connsiteY59" fmla="*/ 4343400 h 4496940"/>
                  <a:gd name="connsiteX60" fmla="*/ 1573552 w 4519987"/>
                  <a:gd name="connsiteY60" fmla="*/ 4305300 h 4496940"/>
                  <a:gd name="connsiteX61" fmla="*/ 1402102 w 4519987"/>
                  <a:gd name="connsiteY61" fmla="*/ 4276725 h 4496940"/>
                  <a:gd name="connsiteX62" fmla="*/ 1287802 w 4519987"/>
                  <a:gd name="connsiteY62" fmla="*/ 4229100 h 4496940"/>
                  <a:gd name="connsiteX63" fmla="*/ 1221127 w 4519987"/>
                  <a:gd name="connsiteY63" fmla="*/ 4200525 h 4496940"/>
                  <a:gd name="connsiteX64" fmla="*/ 1144927 w 4519987"/>
                  <a:gd name="connsiteY64" fmla="*/ 4171950 h 4496940"/>
                  <a:gd name="connsiteX65" fmla="*/ 1087777 w 4519987"/>
                  <a:gd name="connsiteY65" fmla="*/ 4143375 h 4496940"/>
                  <a:gd name="connsiteX66" fmla="*/ 1030627 w 4519987"/>
                  <a:gd name="connsiteY66" fmla="*/ 4124325 h 4496940"/>
                  <a:gd name="connsiteX67" fmla="*/ 925852 w 4519987"/>
                  <a:gd name="connsiteY67" fmla="*/ 4067175 h 4496940"/>
                  <a:gd name="connsiteX68" fmla="*/ 830602 w 4519987"/>
                  <a:gd name="connsiteY68" fmla="*/ 3981450 h 4496940"/>
                  <a:gd name="connsiteX69" fmla="*/ 763927 w 4519987"/>
                  <a:gd name="connsiteY69" fmla="*/ 3914775 h 4496940"/>
                  <a:gd name="connsiteX70" fmla="*/ 725827 w 4519987"/>
                  <a:gd name="connsiteY70" fmla="*/ 3876675 h 4496940"/>
                  <a:gd name="connsiteX71" fmla="*/ 697252 w 4519987"/>
                  <a:gd name="connsiteY71" fmla="*/ 3838575 h 4496940"/>
                  <a:gd name="connsiteX72" fmla="*/ 640102 w 4519987"/>
                  <a:gd name="connsiteY72" fmla="*/ 3781425 h 4496940"/>
                  <a:gd name="connsiteX73" fmla="*/ 611527 w 4519987"/>
                  <a:gd name="connsiteY73" fmla="*/ 3733800 h 4496940"/>
                  <a:gd name="connsiteX74" fmla="*/ 554377 w 4519987"/>
                  <a:gd name="connsiteY74" fmla="*/ 3657600 h 4496940"/>
                  <a:gd name="connsiteX75" fmla="*/ 525802 w 4519987"/>
                  <a:gd name="connsiteY75" fmla="*/ 3609975 h 4496940"/>
                  <a:gd name="connsiteX76" fmla="*/ 497227 w 4519987"/>
                  <a:gd name="connsiteY76" fmla="*/ 3552825 h 4496940"/>
                  <a:gd name="connsiteX77" fmla="*/ 440077 w 4519987"/>
                  <a:gd name="connsiteY77" fmla="*/ 3495675 h 4496940"/>
                  <a:gd name="connsiteX78" fmla="*/ 411502 w 4519987"/>
                  <a:gd name="connsiteY78" fmla="*/ 3448050 h 4496940"/>
                  <a:gd name="connsiteX79" fmla="*/ 278152 w 4519987"/>
                  <a:gd name="connsiteY79" fmla="*/ 3257550 h 4496940"/>
                  <a:gd name="connsiteX80" fmla="*/ 249577 w 4519987"/>
                  <a:gd name="connsiteY80" fmla="*/ 3200400 h 4496940"/>
                  <a:gd name="connsiteX81" fmla="*/ 240052 w 4519987"/>
                  <a:gd name="connsiteY81" fmla="*/ 3162300 h 4496940"/>
                  <a:gd name="connsiteX82" fmla="*/ 221002 w 4519987"/>
                  <a:gd name="connsiteY82" fmla="*/ 3105150 h 4496940"/>
                  <a:gd name="connsiteX83" fmla="*/ 173377 w 4519987"/>
                  <a:gd name="connsiteY83" fmla="*/ 3019425 h 4496940"/>
                  <a:gd name="connsiteX84" fmla="*/ 144802 w 4519987"/>
                  <a:gd name="connsiteY84" fmla="*/ 2924175 h 4496940"/>
                  <a:gd name="connsiteX85" fmla="*/ 68602 w 4519987"/>
                  <a:gd name="connsiteY85" fmla="*/ 2724150 h 4496940"/>
                  <a:gd name="connsiteX86" fmla="*/ 49552 w 4519987"/>
                  <a:gd name="connsiteY86" fmla="*/ 2638425 h 4496940"/>
                  <a:gd name="connsiteX87" fmla="*/ 40027 w 4519987"/>
                  <a:gd name="connsiteY87" fmla="*/ 2562225 h 4496940"/>
                  <a:gd name="connsiteX88" fmla="*/ 30502 w 4519987"/>
                  <a:gd name="connsiteY88" fmla="*/ 2514600 h 4496940"/>
                  <a:gd name="connsiteX89" fmla="*/ 11452 w 4519987"/>
                  <a:gd name="connsiteY89" fmla="*/ 2400300 h 4496940"/>
                  <a:gd name="connsiteX90" fmla="*/ 20977 w 4519987"/>
                  <a:gd name="connsiteY90" fmla="*/ 1905000 h 4496940"/>
                  <a:gd name="connsiteX91" fmla="*/ 30502 w 4519987"/>
                  <a:gd name="connsiteY91" fmla="*/ 1838325 h 4496940"/>
                  <a:gd name="connsiteX92" fmla="*/ 49552 w 4519987"/>
                  <a:gd name="connsiteY92" fmla="*/ 1781175 h 4496940"/>
                  <a:gd name="connsiteX93" fmla="*/ 59077 w 4519987"/>
                  <a:gd name="connsiteY93" fmla="*/ 1743075 h 4496940"/>
                  <a:gd name="connsiteX94" fmla="*/ 78127 w 4519987"/>
                  <a:gd name="connsiteY94" fmla="*/ 1685925 h 4496940"/>
                  <a:gd name="connsiteX95" fmla="*/ 87652 w 4519987"/>
                  <a:gd name="connsiteY95" fmla="*/ 1638300 h 4496940"/>
                  <a:gd name="connsiteX96" fmla="*/ 106702 w 4519987"/>
                  <a:gd name="connsiteY96" fmla="*/ 1590675 h 4496940"/>
                  <a:gd name="connsiteX97" fmla="*/ 135277 w 4519987"/>
                  <a:gd name="connsiteY97" fmla="*/ 1504950 h 4496940"/>
                  <a:gd name="connsiteX98" fmla="*/ 154327 w 4519987"/>
                  <a:gd name="connsiteY98" fmla="*/ 1419225 h 4496940"/>
                  <a:gd name="connsiteX99" fmla="*/ 230527 w 4519987"/>
                  <a:gd name="connsiteY99" fmla="*/ 1276350 h 4496940"/>
                  <a:gd name="connsiteX100" fmla="*/ 240052 w 4519987"/>
                  <a:gd name="connsiteY100" fmla="*/ 1247775 h 4496940"/>
                  <a:gd name="connsiteX101" fmla="*/ 268627 w 4519987"/>
                  <a:gd name="connsiteY101" fmla="*/ 1200150 h 4496940"/>
                  <a:gd name="connsiteX102" fmla="*/ 287677 w 4519987"/>
                  <a:gd name="connsiteY102" fmla="*/ 1152525 h 4496940"/>
                  <a:gd name="connsiteX103" fmla="*/ 316252 w 4519987"/>
                  <a:gd name="connsiteY103" fmla="*/ 1114425 h 4496940"/>
                  <a:gd name="connsiteX104" fmla="*/ 363877 w 4519987"/>
                  <a:gd name="connsiteY104" fmla="*/ 1038225 h 4496940"/>
                  <a:gd name="connsiteX105" fmla="*/ 382927 w 4519987"/>
                  <a:gd name="connsiteY105" fmla="*/ 1009650 h 4496940"/>
                  <a:gd name="connsiteX106" fmla="*/ 440077 w 4519987"/>
                  <a:gd name="connsiteY106" fmla="*/ 904875 h 4496940"/>
                  <a:gd name="connsiteX107" fmla="*/ 478177 w 4519987"/>
                  <a:gd name="connsiteY107" fmla="*/ 857250 h 4496940"/>
                  <a:gd name="connsiteX108" fmla="*/ 497227 w 4519987"/>
                  <a:gd name="connsiteY108" fmla="*/ 828675 h 4496940"/>
                  <a:gd name="connsiteX109" fmla="*/ 535327 w 4519987"/>
                  <a:gd name="connsiteY109" fmla="*/ 800100 h 4496940"/>
                  <a:gd name="connsiteX110" fmla="*/ 602002 w 4519987"/>
                  <a:gd name="connsiteY110" fmla="*/ 733425 h 4496940"/>
                  <a:gd name="connsiteX111" fmla="*/ 668677 w 4519987"/>
                  <a:gd name="connsiteY111" fmla="*/ 676275 h 4496940"/>
                  <a:gd name="connsiteX112" fmla="*/ 697252 w 4519987"/>
                  <a:gd name="connsiteY112" fmla="*/ 657225 h 4496940"/>
                  <a:gd name="connsiteX113" fmla="*/ 840127 w 4519987"/>
                  <a:gd name="connsiteY113" fmla="*/ 533400 h 4496940"/>
                  <a:gd name="connsiteX114" fmla="*/ 887752 w 4519987"/>
                  <a:gd name="connsiteY114" fmla="*/ 504825 h 4496940"/>
                  <a:gd name="connsiteX115" fmla="*/ 1167152 w 4519987"/>
                  <a:gd name="connsiteY115" fmla="*/ 311150 h 4496940"/>
                  <a:gd name="connsiteX116" fmla="*/ 1268752 w 4519987"/>
                  <a:gd name="connsiteY116" fmla="*/ 285750 h 4496940"/>
                  <a:gd name="connsiteX117" fmla="*/ 1411627 w 4519987"/>
                  <a:gd name="connsiteY117" fmla="*/ 190500 h 4496940"/>
                  <a:gd name="connsiteX118" fmla="*/ 1449727 w 4519987"/>
                  <a:gd name="connsiteY118" fmla="*/ 161925 h 4496940"/>
                  <a:gd name="connsiteX119" fmla="*/ 1525927 w 4519987"/>
                  <a:gd name="connsiteY119" fmla="*/ 152400 h 4496940"/>
                  <a:gd name="connsiteX120" fmla="*/ 1583077 w 4519987"/>
                  <a:gd name="connsiteY120" fmla="*/ 142875 h 4496940"/>
                  <a:gd name="connsiteX121" fmla="*/ 1716427 w 4519987"/>
                  <a:gd name="connsiteY121" fmla="*/ 123825 h 4496940"/>
                  <a:gd name="connsiteX122" fmla="*/ 1811677 w 4519987"/>
                  <a:gd name="connsiteY122" fmla="*/ 114300 h 4496940"/>
                  <a:gd name="connsiteX123" fmla="*/ 1859302 w 4519987"/>
                  <a:gd name="connsiteY123" fmla="*/ 104775 h 4496940"/>
                  <a:gd name="connsiteX124" fmla="*/ 1916452 w 4519987"/>
                  <a:gd name="connsiteY124" fmla="*/ 95250 h 4496940"/>
                  <a:gd name="connsiteX125" fmla="*/ 2030752 w 4519987"/>
                  <a:gd name="connsiteY125" fmla="*/ 66675 h 4496940"/>
                  <a:gd name="connsiteX126" fmla="*/ 2097427 w 4519987"/>
                  <a:gd name="connsiteY126" fmla="*/ 47625 h 4496940"/>
                  <a:gd name="connsiteX127" fmla="*/ 2164102 w 4519987"/>
                  <a:gd name="connsiteY127" fmla="*/ 38100 h 4496940"/>
                  <a:gd name="connsiteX128" fmla="*/ 2392702 w 4519987"/>
                  <a:gd name="connsiteY128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621427 w 4519987"/>
                  <a:gd name="connsiteY37" fmla="*/ 4038600 h 4496940"/>
                  <a:gd name="connsiteX38" fmla="*/ 3554752 w 4519987"/>
                  <a:gd name="connsiteY38" fmla="*/ 4095750 h 4496940"/>
                  <a:gd name="connsiteX39" fmla="*/ 3516652 w 4519987"/>
                  <a:gd name="connsiteY39" fmla="*/ 4114800 h 4496940"/>
                  <a:gd name="connsiteX40" fmla="*/ 3383302 w 4519987"/>
                  <a:gd name="connsiteY40" fmla="*/ 4210050 h 4496940"/>
                  <a:gd name="connsiteX41" fmla="*/ 3335677 w 4519987"/>
                  <a:gd name="connsiteY41" fmla="*/ 4238625 h 4496940"/>
                  <a:gd name="connsiteX42" fmla="*/ 3288052 w 4519987"/>
                  <a:gd name="connsiteY42" fmla="*/ 4248150 h 4496940"/>
                  <a:gd name="connsiteX43" fmla="*/ 3240427 w 4519987"/>
                  <a:gd name="connsiteY43" fmla="*/ 4267200 h 4496940"/>
                  <a:gd name="connsiteX44" fmla="*/ 3068977 w 4519987"/>
                  <a:gd name="connsiteY44" fmla="*/ 4286250 h 4496940"/>
                  <a:gd name="connsiteX45" fmla="*/ 2935627 w 4519987"/>
                  <a:gd name="connsiteY45" fmla="*/ 4333875 h 4496940"/>
                  <a:gd name="connsiteX46" fmla="*/ 2811802 w 4519987"/>
                  <a:gd name="connsiteY46" fmla="*/ 4371975 h 4496940"/>
                  <a:gd name="connsiteX47" fmla="*/ 2745127 w 4519987"/>
                  <a:gd name="connsiteY47" fmla="*/ 4410075 h 4496940"/>
                  <a:gd name="connsiteX48" fmla="*/ 2697502 w 4519987"/>
                  <a:gd name="connsiteY48" fmla="*/ 4429125 h 4496940"/>
                  <a:gd name="connsiteX49" fmla="*/ 2640352 w 4519987"/>
                  <a:gd name="connsiteY49" fmla="*/ 4457700 h 4496940"/>
                  <a:gd name="connsiteX50" fmla="*/ 2583202 w 4519987"/>
                  <a:gd name="connsiteY50" fmla="*/ 4467225 h 4496940"/>
                  <a:gd name="connsiteX51" fmla="*/ 2545102 w 4519987"/>
                  <a:gd name="connsiteY51" fmla="*/ 4486275 h 4496940"/>
                  <a:gd name="connsiteX52" fmla="*/ 2306977 w 4519987"/>
                  <a:gd name="connsiteY52" fmla="*/ 4476750 h 4496940"/>
                  <a:gd name="connsiteX53" fmla="*/ 2202202 w 4519987"/>
                  <a:gd name="connsiteY53" fmla="*/ 4457700 h 4496940"/>
                  <a:gd name="connsiteX54" fmla="*/ 2126002 w 4519987"/>
                  <a:gd name="connsiteY54" fmla="*/ 4429125 h 4496940"/>
                  <a:gd name="connsiteX55" fmla="*/ 1935502 w 4519987"/>
                  <a:gd name="connsiteY55" fmla="*/ 4400550 h 4496940"/>
                  <a:gd name="connsiteX56" fmla="*/ 1821202 w 4519987"/>
                  <a:gd name="connsiteY56" fmla="*/ 4371975 h 4496940"/>
                  <a:gd name="connsiteX57" fmla="*/ 1754527 w 4519987"/>
                  <a:gd name="connsiteY57" fmla="*/ 4352925 h 4496940"/>
                  <a:gd name="connsiteX58" fmla="*/ 1687852 w 4519987"/>
                  <a:gd name="connsiteY58" fmla="*/ 4343400 h 4496940"/>
                  <a:gd name="connsiteX59" fmla="*/ 1573552 w 4519987"/>
                  <a:gd name="connsiteY59" fmla="*/ 4305300 h 4496940"/>
                  <a:gd name="connsiteX60" fmla="*/ 1402102 w 4519987"/>
                  <a:gd name="connsiteY60" fmla="*/ 4276725 h 4496940"/>
                  <a:gd name="connsiteX61" fmla="*/ 1287802 w 4519987"/>
                  <a:gd name="connsiteY61" fmla="*/ 4229100 h 4496940"/>
                  <a:gd name="connsiteX62" fmla="*/ 1221127 w 4519987"/>
                  <a:gd name="connsiteY62" fmla="*/ 4200525 h 4496940"/>
                  <a:gd name="connsiteX63" fmla="*/ 1144927 w 4519987"/>
                  <a:gd name="connsiteY63" fmla="*/ 4171950 h 4496940"/>
                  <a:gd name="connsiteX64" fmla="*/ 1087777 w 4519987"/>
                  <a:gd name="connsiteY64" fmla="*/ 4143375 h 4496940"/>
                  <a:gd name="connsiteX65" fmla="*/ 1030627 w 4519987"/>
                  <a:gd name="connsiteY65" fmla="*/ 4124325 h 4496940"/>
                  <a:gd name="connsiteX66" fmla="*/ 925852 w 4519987"/>
                  <a:gd name="connsiteY66" fmla="*/ 4067175 h 4496940"/>
                  <a:gd name="connsiteX67" fmla="*/ 830602 w 4519987"/>
                  <a:gd name="connsiteY67" fmla="*/ 3981450 h 4496940"/>
                  <a:gd name="connsiteX68" fmla="*/ 763927 w 4519987"/>
                  <a:gd name="connsiteY68" fmla="*/ 3914775 h 4496940"/>
                  <a:gd name="connsiteX69" fmla="*/ 725827 w 4519987"/>
                  <a:gd name="connsiteY69" fmla="*/ 3876675 h 4496940"/>
                  <a:gd name="connsiteX70" fmla="*/ 697252 w 4519987"/>
                  <a:gd name="connsiteY70" fmla="*/ 3838575 h 4496940"/>
                  <a:gd name="connsiteX71" fmla="*/ 640102 w 4519987"/>
                  <a:gd name="connsiteY71" fmla="*/ 3781425 h 4496940"/>
                  <a:gd name="connsiteX72" fmla="*/ 611527 w 4519987"/>
                  <a:gd name="connsiteY72" fmla="*/ 3733800 h 4496940"/>
                  <a:gd name="connsiteX73" fmla="*/ 554377 w 4519987"/>
                  <a:gd name="connsiteY73" fmla="*/ 3657600 h 4496940"/>
                  <a:gd name="connsiteX74" fmla="*/ 525802 w 4519987"/>
                  <a:gd name="connsiteY74" fmla="*/ 3609975 h 4496940"/>
                  <a:gd name="connsiteX75" fmla="*/ 497227 w 4519987"/>
                  <a:gd name="connsiteY75" fmla="*/ 3552825 h 4496940"/>
                  <a:gd name="connsiteX76" fmla="*/ 440077 w 4519987"/>
                  <a:gd name="connsiteY76" fmla="*/ 3495675 h 4496940"/>
                  <a:gd name="connsiteX77" fmla="*/ 411502 w 4519987"/>
                  <a:gd name="connsiteY77" fmla="*/ 3448050 h 4496940"/>
                  <a:gd name="connsiteX78" fmla="*/ 278152 w 4519987"/>
                  <a:gd name="connsiteY78" fmla="*/ 3257550 h 4496940"/>
                  <a:gd name="connsiteX79" fmla="*/ 249577 w 4519987"/>
                  <a:gd name="connsiteY79" fmla="*/ 3200400 h 4496940"/>
                  <a:gd name="connsiteX80" fmla="*/ 240052 w 4519987"/>
                  <a:gd name="connsiteY80" fmla="*/ 3162300 h 4496940"/>
                  <a:gd name="connsiteX81" fmla="*/ 221002 w 4519987"/>
                  <a:gd name="connsiteY81" fmla="*/ 3105150 h 4496940"/>
                  <a:gd name="connsiteX82" fmla="*/ 173377 w 4519987"/>
                  <a:gd name="connsiteY82" fmla="*/ 3019425 h 4496940"/>
                  <a:gd name="connsiteX83" fmla="*/ 144802 w 4519987"/>
                  <a:gd name="connsiteY83" fmla="*/ 2924175 h 4496940"/>
                  <a:gd name="connsiteX84" fmla="*/ 68602 w 4519987"/>
                  <a:gd name="connsiteY84" fmla="*/ 2724150 h 4496940"/>
                  <a:gd name="connsiteX85" fmla="*/ 49552 w 4519987"/>
                  <a:gd name="connsiteY85" fmla="*/ 2638425 h 4496940"/>
                  <a:gd name="connsiteX86" fmla="*/ 40027 w 4519987"/>
                  <a:gd name="connsiteY86" fmla="*/ 2562225 h 4496940"/>
                  <a:gd name="connsiteX87" fmla="*/ 30502 w 4519987"/>
                  <a:gd name="connsiteY87" fmla="*/ 2514600 h 4496940"/>
                  <a:gd name="connsiteX88" fmla="*/ 11452 w 4519987"/>
                  <a:gd name="connsiteY88" fmla="*/ 2400300 h 4496940"/>
                  <a:gd name="connsiteX89" fmla="*/ 20977 w 4519987"/>
                  <a:gd name="connsiteY89" fmla="*/ 1905000 h 4496940"/>
                  <a:gd name="connsiteX90" fmla="*/ 30502 w 4519987"/>
                  <a:gd name="connsiteY90" fmla="*/ 1838325 h 4496940"/>
                  <a:gd name="connsiteX91" fmla="*/ 49552 w 4519987"/>
                  <a:gd name="connsiteY91" fmla="*/ 1781175 h 4496940"/>
                  <a:gd name="connsiteX92" fmla="*/ 59077 w 4519987"/>
                  <a:gd name="connsiteY92" fmla="*/ 1743075 h 4496940"/>
                  <a:gd name="connsiteX93" fmla="*/ 78127 w 4519987"/>
                  <a:gd name="connsiteY93" fmla="*/ 1685925 h 4496940"/>
                  <a:gd name="connsiteX94" fmla="*/ 87652 w 4519987"/>
                  <a:gd name="connsiteY94" fmla="*/ 1638300 h 4496940"/>
                  <a:gd name="connsiteX95" fmla="*/ 106702 w 4519987"/>
                  <a:gd name="connsiteY95" fmla="*/ 1590675 h 4496940"/>
                  <a:gd name="connsiteX96" fmla="*/ 135277 w 4519987"/>
                  <a:gd name="connsiteY96" fmla="*/ 1504950 h 4496940"/>
                  <a:gd name="connsiteX97" fmla="*/ 154327 w 4519987"/>
                  <a:gd name="connsiteY97" fmla="*/ 1419225 h 4496940"/>
                  <a:gd name="connsiteX98" fmla="*/ 230527 w 4519987"/>
                  <a:gd name="connsiteY98" fmla="*/ 1276350 h 4496940"/>
                  <a:gd name="connsiteX99" fmla="*/ 240052 w 4519987"/>
                  <a:gd name="connsiteY99" fmla="*/ 1247775 h 4496940"/>
                  <a:gd name="connsiteX100" fmla="*/ 268627 w 4519987"/>
                  <a:gd name="connsiteY100" fmla="*/ 1200150 h 4496940"/>
                  <a:gd name="connsiteX101" fmla="*/ 287677 w 4519987"/>
                  <a:gd name="connsiteY101" fmla="*/ 1152525 h 4496940"/>
                  <a:gd name="connsiteX102" fmla="*/ 316252 w 4519987"/>
                  <a:gd name="connsiteY102" fmla="*/ 1114425 h 4496940"/>
                  <a:gd name="connsiteX103" fmla="*/ 363877 w 4519987"/>
                  <a:gd name="connsiteY103" fmla="*/ 1038225 h 4496940"/>
                  <a:gd name="connsiteX104" fmla="*/ 382927 w 4519987"/>
                  <a:gd name="connsiteY104" fmla="*/ 1009650 h 4496940"/>
                  <a:gd name="connsiteX105" fmla="*/ 440077 w 4519987"/>
                  <a:gd name="connsiteY105" fmla="*/ 904875 h 4496940"/>
                  <a:gd name="connsiteX106" fmla="*/ 478177 w 4519987"/>
                  <a:gd name="connsiteY106" fmla="*/ 857250 h 4496940"/>
                  <a:gd name="connsiteX107" fmla="*/ 497227 w 4519987"/>
                  <a:gd name="connsiteY107" fmla="*/ 828675 h 4496940"/>
                  <a:gd name="connsiteX108" fmla="*/ 535327 w 4519987"/>
                  <a:gd name="connsiteY108" fmla="*/ 800100 h 4496940"/>
                  <a:gd name="connsiteX109" fmla="*/ 602002 w 4519987"/>
                  <a:gd name="connsiteY109" fmla="*/ 733425 h 4496940"/>
                  <a:gd name="connsiteX110" fmla="*/ 668677 w 4519987"/>
                  <a:gd name="connsiteY110" fmla="*/ 676275 h 4496940"/>
                  <a:gd name="connsiteX111" fmla="*/ 697252 w 4519987"/>
                  <a:gd name="connsiteY111" fmla="*/ 657225 h 4496940"/>
                  <a:gd name="connsiteX112" fmla="*/ 840127 w 4519987"/>
                  <a:gd name="connsiteY112" fmla="*/ 533400 h 4496940"/>
                  <a:gd name="connsiteX113" fmla="*/ 887752 w 4519987"/>
                  <a:gd name="connsiteY113" fmla="*/ 504825 h 4496940"/>
                  <a:gd name="connsiteX114" fmla="*/ 1167152 w 4519987"/>
                  <a:gd name="connsiteY114" fmla="*/ 311150 h 4496940"/>
                  <a:gd name="connsiteX115" fmla="*/ 1268752 w 4519987"/>
                  <a:gd name="connsiteY115" fmla="*/ 285750 h 4496940"/>
                  <a:gd name="connsiteX116" fmla="*/ 1411627 w 4519987"/>
                  <a:gd name="connsiteY116" fmla="*/ 190500 h 4496940"/>
                  <a:gd name="connsiteX117" fmla="*/ 1449727 w 4519987"/>
                  <a:gd name="connsiteY117" fmla="*/ 161925 h 4496940"/>
                  <a:gd name="connsiteX118" fmla="*/ 1525927 w 4519987"/>
                  <a:gd name="connsiteY118" fmla="*/ 152400 h 4496940"/>
                  <a:gd name="connsiteX119" fmla="*/ 1583077 w 4519987"/>
                  <a:gd name="connsiteY119" fmla="*/ 142875 h 4496940"/>
                  <a:gd name="connsiteX120" fmla="*/ 1716427 w 4519987"/>
                  <a:gd name="connsiteY120" fmla="*/ 123825 h 4496940"/>
                  <a:gd name="connsiteX121" fmla="*/ 1811677 w 4519987"/>
                  <a:gd name="connsiteY121" fmla="*/ 114300 h 4496940"/>
                  <a:gd name="connsiteX122" fmla="*/ 1859302 w 4519987"/>
                  <a:gd name="connsiteY122" fmla="*/ 104775 h 4496940"/>
                  <a:gd name="connsiteX123" fmla="*/ 1916452 w 4519987"/>
                  <a:gd name="connsiteY123" fmla="*/ 95250 h 4496940"/>
                  <a:gd name="connsiteX124" fmla="*/ 2030752 w 4519987"/>
                  <a:gd name="connsiteY124" fmla="*/ 66675 h 4496940"/>
                  <a:gd name="connsiteX125" fmla="*/ 2097427 w 4519987"/>
                  <a:gd name="connsiteY125" fmla="*/ 47625 h 4496940"/>
                  <a:gd name="connsiteX126" fmla="*/ 2164102 w 4519987"/>
                  <a:gd name="connsiteY126" fmla="*/ 38100 h 4496940"/>
                  <a:gd name="connsiteX127" fmla="*/ 2392702 w 4519987"/>
                  <a:gd name="connsiteY127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621427 w 4519987"/>
                  <a:gd name="connsiteY37" fmla="*/ 4038600 h 4496940"/>
                  <a:gd name="connsiteX38" fmla="*/ 3554752 w 4519987"/>
                  <a:gd name="connsiteY38" fmla="*/ 4095750 h 4496940"/>
                  <a:gd name="connsiteX39" fmla="*/ 3383302 w 4519987"/>
                  <a:gd name="connsiteY39" fmla="*/ 4210050 h 4496940"/>
                  <a:gd name="connsiteX40" fmla="*/ 3335677 w 4519987"/>
                  <a:gd name="connsiteY40" fmla="*/ 4238625 h 4496940"/>
                  <a:gd name="connsiteX41" fmla="*/ 3288052 w 4519987"/>
                  <a:gd name="connsiteY41" fmla="*/ 4248150 h 4496940"/>
                  <a:gd name="connsiteX42" fmla="*/ 3240427 w 4519987"/>
                  <a:gd name="connsiteY42" fmla="*/ 4267200 h 4496940"/>
                  <a:gd name="connsiteX43" fmla="*/ 3068977 w 4519987"/>
                  <a:gd name="connsiteY43" fmla="*/ 4286250 h 4496940"/>
                  <a:gd name="connsiteX44" fmla="*/ 2935627 w 4519987"/>
                  <a:gd name="connsiteY44" fmla="*/ 4333875 h 4496940"/>
                  <a:gd name="connsiteX45" fmla="*/ 2811802 w 4519987"/>
                  <a:gd name="connsiteY45" fmla="*/ 4371975 h 4496940"/>
                  <a:gd name="connsiteX46" fmla="*/ 2745127 w 4519987"/>
                  <a:gd name="connsiteY46" fmla="*/ 4410075 h 4496940"/>
                  <a:gd name="connsiteX47" fmla="*/ 2697502 w 4519987"/>
                  <a:gd name="connsiteY47" fmla="*/ 4429125 h 4496940"/>
                  <a:gd name="connsiteX48" fmla="*/ 2640352 w 4519987"/>
                  <a:gd name="connsiteY48" fmla="*/ 4457700 h 4496940"/>
                  <a:gd name="connsiteX49" fmla="*/ 2583202 w 4519987"/>
                  <a:gd name="connsiteY49" fmla="*/ 4467225 h 4496940"/>
                  <a:gd name="connsiteX50" fmla="*/ 2545102 w 4519987"/>
                  <a:gd name="connsiteY50" fmla="*/ 4486275 h 4496940"/>
                  <a:gd name="connsiteX51" fmla="*/ 2306977 w 4519987"/>
                  <a:gd name="connsiteY51" fmla="*/ 4476750 h 4496940"/>
                  <a:gd name="connsiteX52" fmla="*/ 2202202 w 4519987"/>
                  <a:gd name="connsiteY52" fmla="*/ 4457700 h 4496940"/>
                  <a:gd name="connsiteX53" fmla="*/ 2126002 w 4519987"/>
                  <a:gd name="connsiteY53" fmla="*/ 4429125 h 4496940"/>
                  <a:gd name="connsiteX54" fmla="*/ 1935502 w 4519987"/>
                  <a:gd name="connsiteY54" fmla="*/ 4400550 h 4496940"/>
                  <a:gd name="connsiteX55" fmla="*/ 1821202 w 4519987"/>
                  <a:gd name="connsiteY55" fmla="*/ 4371975 h 4496940"/>
                  <a:gd name="connsiteX56" fmla="*/ 1754527 w 4519987"/>
                  <a:gd name="connsiteY56" fmla="*/ 4352925 h 4496940"/>
                  <a:gd name="connsiteX57" fmla="*/ 1687852 w 4519987"/>
                  <a:gd name="connsiteY57" fmla="*/ 4343400 h 4496940"/>
                  <a:gd name="connsiteX58" fmla="*/ 1573552 w 4519987"/>
                  <a:gd name="connsiteY58" fmla="*/ 4305300 h 4496940"/>
                  <a:gd name="connsiteX59" fmla="*/ 1402102 w 4519987"/>
                  <a:gd name="connsiteY59" fmla="*/ 4276725 h 4496940"/>
                  <a:gd name="connsiteX60" fmla="*/ 1287802 w 4519987"/>
                  <a:gd name="connsiteY60" fmla="*/ 4229100 h 4496940"/>
                  <a:gd name="connsiteX61" fmla="*/ 1221127 w 4519987"/>
                  <a:gd name="connsiteY61" fmla="*/ 4200525 h 4496940"/>
                  <a:gd name="connsiteX62" fmla="*/ 1144927 w 4519987"/>
                  <a:gd name="connsiteY62" fmla="*/ 4171950 h 4496940"/>
                  <a:gd name="connsiteX63" fmla="*/ 1087777 w 4519987"/>
                  <a:gd name="connsiteY63" fmla="*/ 4143375 h 4496940"/>
                  <a:gd name="connsiteX64" fmla="*/ 1030627 w 4519987"/>
                  <a:gd name="connsiteY64" fmla="*/ 4124325 h 4496940"/>
                  <a:gd name="connsiteX65" fmla="*/ 925852 w 4519987"/>
                  <a:gd name="connsiteY65" fmla="*/ 4067175 h 4496940"/>
                  <a:gd name="connsiteX66" fmla="*/ 830602 w 4519987"/>
                  <a:gd name="connsiteY66" fmla="*/ 3981450 h 4496940"/>
                  <a:gd name="connsiteX67" fmla="*/ 763927 w 4519987"/>
                  <a:gd name="connsiteY67" fmla="*/ 3914775 h 4496940"/>
                  <a:gd name="connsiteX68" fmla="*/ 725827 w 4519987"/>
                  <a:gd name="connsiteY68" fmla="*/ 3876675 h 4496940"/>
                  <a:gd name="connsiteX69" fmla="*/ 697252 w 4519987"/>
                  <a:gd name="connsiteY69" fmla="*/ 3838575 h 4496940"/>
                  <a:gd name="connsiteX70" fmla="*/ 640102 w 4519987"/>
                  <a:gd name="connsiteY70" fmla="*/ 3781425 h 4496940"/>
                  <a:gd name="connsiteX71" fmla="*/ 611527 w 4519987"/>
                  <a:gd name="connsiteY71" fmla="*/ 3733800 h 4496940"/>
                  <a:gd name="connsiteX72" fmla="*/ 554377 w 4519987"/>
                  <a:gd name="connsiteY72" fmla="*/ 3657600 h 4496940"/>
                  <a:gd name="connsiteX73" fmla="*/ 525802 w 4519987"/>
                  <a:gd name="connsiteY73" fmla="*/ 3609975 h 4496940"/>
                  <a:gd name="connsiteX74" fmla="*/ 497227 w 4519987"/>
                  <a:gd name="connsiteY74" fmla="*/ 3552825 h 4496940"/>
                  <a:gd name="connsiteX75" fmla="*/ 440077 w 4519987"/>
                  <a:gd name="connsiteY75" fmla="*/ 3495675 h 4496940"/>
                  <a:gd name="connsiteX76" fmla="*/ 411502 w 4519987"/>
                  <a:gd name="connsiteY76" fmla="*/ 3448050 h 4496940"/>
                  <a:gd name="connsiteX77" fmla="*/ 278152 w 4519987"/>
                  <a:gd name="connsiteY77" fmla="*/ 3257550 h 4496940"/>
                  <a:gd name="connsiteX78" fmla="*/ 249577 w 4519987"/>
                  <a:gd name="connsiteY78" fmla="*/ 3200400 h 4496940"/>
                  <a:gd name="connsiteX79" fmla="*/ 240052 w 4519987"/>
                  <a:gd name="connsiteY79" fmla="*/ 3162300 h 4496940"/>
                  <a:gd name="connsiteX80" fmla="*/ 221002 w 4519987"/>
                  <a:gd name="connsiteY80" fmla="*/ 3105150 h 4496940"/>
                  <a:gd name="connsiteX81" fmla="*/ 173377 w 4519987"/>
                  <a:gd name="connsiteY81" fmla="*/ 3019425 h 4496940"/>
                  <a:gd name="connsiteX82" fmla="*/ 144802 w 4519987"/>
                  <a:gd name="connsiteY82" fmla="*/ 2924175 h 4496940"/>
                  <a:gd name="connsiteX83" fmla="*/ 68602 w 4519987"/>
                  <a:gd name="connsiteY83" fmla="*/ 2724150 h 4496940"/>
                  <a:gd name="connsiteX84" fmla="*/ 49552 w 4519987"/>
                  <a:gd name="connsiteY84" fmla="*/ 2638425 h 4496940"/>
                  <a:gd name="connsiteX85" fmla="*/ 40027 w 4519987"/>
                  <a:gd name="connsiteY85" fmla="*/ 2562225 h 4496940"/>
                  <a:gd name="connsiteX86" fmla="*/ 30502 w 4519987"/>
                  <a:gd name="connsiteY86" fmla="*/ 2514600 h 4496940"/>
                  <a:gd name="connsiteX87" fmla="*/ 11452 w 4519987"/>
                  <a:gd name="connsiteY87" fmla="*/ 2400300 h 4496940"/>
                  <a:gd name="connsiteX88" fmla="*/ 20977 w 4519987"/>
                  <a:gd name="connsiteY88" fmla="*/ 1905000 h 4496940"/>
                  <a:gd name="connsiteX89" fmla="*/ 30502 w 4519987"/>
                  <a:gd name="connsiteY89" fmla="*/ 1838325 h 4496940"/>
                  <a:gd name="connsiteX90" fmla="*/ 49552 w 4519987"/>
                  <a:gd name="connsiteY90" fmla="*/ 1781175 h 4496940"/>
                  <a:gd name="connsiteX91" fmla="*/ 59077 w 4519987"/>
                  <a:gd name="connsiteY91" fmla="*/ 1743075 h 4496940"/>
                  <a:gd name="connsiteX92" fmla="*/ 78127 w 4519987"/>
                  <a:gd name="connsiteY92" fmla="*/ 1685925 h 4496940"/>
                  <a:gd name="connsiteX93" fmla="*/ 87652 w 4519987"/>
                  <a:gd name="connsiteY93" fmla="*/ 1638300 h 4496940"/>
                  <a:gd name="connsiteX94" fmla="*/ 106702 w 4519987"/>
                  <a:gd name="connsiteY94" fmla="*/ 1590675 h 4496940"/>
                  <a:gd name="connsiteX95" fmla="*/ 135277 w 4519987"/>
                  <a:gd name="connsiteY95" fmla="*/ 1504950 h 4496940"/>
                  <a:gd name="connsiteX96" fmla="*/ 154327 w 4519987"/>
                  <a:gd name="connsiteY96" fmla="*/ 1419225 h 4496940"/>
                  <a:gd name="connsiteX97" fmla="*/ 230527 w 4519987"/>
                  <a:gd name="connsiteY97" fmla="*/ 1276350 h 4496940"/>
                  <a:gd name="connsiteX98" fmla="*/ 240052 w 4519987"/>
                  <a:gd name="connsiteY98" fmla="*/ 1247775 h 4496940"/>
                  <a:gd name="connsiteX99" fmla="*/ 268627 w 4519987"/>
                  <a:gd name="connsiteY99" fmla="*/ 1200150 h 4496940"/>
                  <a:gd name="connsiteX100" fmla="*/ 287677 w 4519987"/>
                  <a:gd name="connsiteY100" fmla="*/ 1152525 h 4496940"/>
                  <a:gd name="connsiteX101" fmla="*/ 316252 w 4519987"/>
                  <a:gd name="connsiteY101" fmla="*/ 1114425 h 4496940"/>
                  <a:gd name="connsiteX102" fmla="*/ 363877 w 4519987"/>
                  <a:gd name="connsiteY102" fmla="*/ 1038225 h 4496940"/>
                  <a:gd name="connsiteX103" fmla="*/ 382927 w 4519987"/>
                  <a:gd name="connsiteY103" fmla="*/ 1009650 h 4496940"/>
                  <a:gd name="connsiteX104" fmla="*/ 440077 w 4519987"/>
                  <a:gd name="connsiteY104" fmla="*/ 904875 h 4496940"/>
                  <a:gd name="connsiteX105" fmla="*/ 478177 w 4519987"/>
                  <a:gd name="connsiteY105" fmla="*/ 857250 h 4496940"/>
                  <a:gd name="connsiteX106" fmla="*/ 497227 w 4519987"/>
                  <a:gd name="connsiteY106" fmla="*/ 828675 h 4496940"/>
                  <a:gd name="connsiteX107" fmla="*/ 535327 w 4519987"/>
                  <a:gd name="connsiteY107" fmla="*/ 800100 h 4496940"/>
                  <a:gd name="connsiteX108" fmla="*/ 602002 w 4519987"/>
                  <a:gd name="connsiteY108" fmla="*/ 733425 h 4496940"/>
                  <a:gd name="connsiteX109" fmla="*/ 668677 w 4519987"/>
                  <a:gd name="connsiteY109" fmla="*/ 676275 h 4496940"/>
                  <a:gd name="connsiteX110" fmla="*/ 697252 w 4519987"/>
                  <a:gd name="connsiteY110" fmla="*/ 657225 h 4496940"/>
                  <a:gd name="connsiteX111" fmla="*/ 840127 w 4519987"/>
                  <a:gd name="connsiteY111" fmla="*/ 533400 h 4496940"/>
                  <a:gd name="connsiteX112" fmla="*/ 887752 w 4519987"/>
                  <a:gd name="connsiteY112" fmla="*/ 504825 h 4496940"/>
                  <a:gd name="connsiteX113" fmla="*/ 1167152 w 4519987"/>
                  <a:gd name="connsiteY113" fmla="*/ 311150 h 4496940"/>
                  <a:gd name="connsiteX114" fmla="*/ 1268752 w 4519987"/>
                  <a:gd name="connsiteY114" fmla="*/ 285750 h 4496940"/>
                  <a:gd name="connsiteX115" fmla="*/ 1411627 w 4519987"/>
                  <a:gd name="connsiteY115" fmla="*/ 190500 h 4496940"/>
                  <a:gd name="connsiteX116" fmla="*/ 1449727 w 4519987"/>
                  <a:gd name="connsiteY116" fmla="*/ 161925 h 4496940"/>
                  <a:gd name="connsiteX117" fmla="*/ 1525927 w 4519987"/>
                  <a:gd name="connsiteY117" fmla="*/ 152400 h 4496940"/>
                  <a:gd name="connsiteX118" fmla="*/ 1583077 w 4519987"/>
                  <a:gd name="connsiteY118" fmla="*/ 142875 h 4496940"/>
                  <a:gd name="connsiteX119" fmla="*/ 1716427 w 4519987"/>
                  <a:gd name="connsiteY119" fmla="*/ 123825 h 4496940"/>
                  <a:gd name="connsiteX120" fmla="*/ 1811677 w 4519987"/>
                  <a:gd name="connsiteY120" fmla="*/ 114300 h 4496940"/>
                  <a:gd name="connsiteX121" fmla="*/ 1859302 w 4519987"/>
                  <a:gd name="connsiteY121" fmla="*/ 104775 h 4496940"/>
                  <a:gd name="connsiteX122" fmla="*/ 1916452 w 4519987"/>
                  <a:gd name="connsiteY122" fmla="*/ 95250 h 4496940"/>
                  <a:gd name="connsiteX123" fmla="*/ 2030752 w 4519987"/>
                  <a:gd name="connsiteY123" fmla="*/ 66675 h 4496940"/>
                  <a:gd name="connsiteX124" fmla="*/ 2097427 w 4519987"/>
                  <a:gd name="connsiteY124" fmla="*/ 47625 h 4496940"/>
                  <a:gd name="connsiteX125" fmla="*/ 2164102 w 4519987"/>
                  <a:gd name="connsiteY125" fmla="*/ 38100 h 4496940"/>
                  <a:gd name="connsiteX126" fmla="*/ 2392702 w 4519987"/>
                  <a:gd name="connsiteY126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630952 w 4519987"/>
                  <a:gd name="connsiteY36" fmla="*/ 4010025 h 4496940"/>
                  <a:gd name="connsiteX37" fmla="*/ 3554752 w 4519987"/>
                  <a:gd name="connsiteY37" fmla="*/ 4095750 h 4496940"/>
                  <a:gd name="connsiteX38" fmla="*/ 3383302 w 4519987"/>
                  <a:gd name="connsiteY38" fmla="*/ 4210050 h 4496940"/>
                  <a:gd name="connsiteX39" fmla="*/ 3335677 w 4519987"/>
                  <a:gd name="connsiteY39" fmla="*/ 4238625 h 4496940"/>
                  <a:gd name="connsiteX40" fmla="*/ 3288052 w 4519987"/>
                  <a:gd name="connsiteY40" fmla="*/ 4248150 h 4496940"/>
                  <a:gd name="connsiteX41" fmla="*/ 3240427 w 4519987"/>
                  <a:gd name="connsiteY41" fmla="*/ 4267200 h 4496940"/>
                  <a:gd name="connsiteX42" fmla="*/ 3068977 w 4519987"/>
                  <a:gd name="connsiteY42" fmla="*/ 4286250 h 4496940"/>
                  <a:gd name="connsiteX43" fmla="*/ 2935627 w 4519987"/>
                  <a:gd name="connsiteY43" fmla="*/ 4333875 h 4496940"/>
                  <a:gd name="connsiteX44" fmla="*/ 2811802 w 4519987"/>
                  <a:gd name="connsiteY44" fmla="*/ 4371975 h 4496940"/>
                  <a:gd name="connsiteX45" fmla="*/ 2745127 w 4519987"/>
                  <a:gd name="connsiteY45" fmla="*/ 4410075 h 4496940"/>
                  <a:gd name="connsiteX46" fmla="*/ 2697502 w 4519987"/>
                  <a:gd name="connsiteY46" fmla="*/ 4429125 h 4496940"/>
                  <a:gd name="connsiteX47" fmla="*/ 2640352 w 4519987"/>
                  <a:gd name="connsiteY47" fmla="*/ 4457700 h 4496940"/>
                  <a:gd name="connsiteX48" fmla="*/ 2583202 w 4519987"/>
                  <a:gd name="connsiteY48" fmla="*/ 4467225 h 4496940"/>
                  <a:gd name="connsiteX49" fmla="*/ 2545102 w 4519987"/>
                  <a:gd name="connsiteY49" fmla="*/ 4486275 h 4496940"/>
                  <a:gd name="connsiteX50" fmla="*/ 2306977 w 4519987"/>
                  <a:gd name="connsiteY50" fmla="*/ 4476750 h 4496940"/>
                  <a:gd name="connsiteX51" fmla="*/ 2202202 w 4519987"/>
                  <a:gd name="connsiteY51" fmla="*/ 4457700 h 4496940"/>
                  <a:gd name="connsiteX52" fmla="*/ 2126002 w 4519987"/>
                  <a:gd name="connsiteY52" fmla="*/ 4429125 h 4496940"/>
                  <a:gd name="connsiteX53" fmla="*/ 1935502 w 4519987"/>
                  <a:gd name="connsiteY53" fmla="*/ 4400550 h 4496940"/>
                  <a:gd name="connsiteX54" fmla="*/ 1821202 w 4519987"/>
                  <a:gd name="connsiteY54" fmla="*/ 4371975 h 4496940"/>
                  <a:gd name="connsiteX55" fmla="*/ 1754527 w 4519987"/>
                  <a:gd name="connsiteY55" fmla="*/ 4352925 h 4496940"/>
                  <a:gd name="connsiteX56" fmla="*/ 1687852 w 4519987"/>
                  <a:gd name="connsiteY56" fmla="*/ 4343400 h 4496940"/>
                  <a:gd name="connsiteX57" fmla="*/ 1573552 w 4519987"/>
                  <a:gd name="connsiteY57" fmla="*/ 4305300 h 4496940"/>
                  <a:gd name="connsiteX58" fmla="*/ 1402102 w 4519987"/>
                  <a:gd name="connsiteY58" fmla="*/ 4276725 h 4496940"/>
                  <a:gd name="connsiteX59" fmla="*/ 1287802 w 4519987"/>
                  <a:gd name="connsiteY59" fmla="*/ 4229100 h 4496940"/>
                  <a:gd name="connsiteX60" fmla="*/ 1221127 w 4519987"/>
                  <a:gd name="connsiteY60" fmla="*/ 4200525 h 4496940"/>
                  <a:gd name="connsiteX61" fmla="*/ 1144927 w 4519987"/>
                  <a:gd name="connsiteY61" fmla="*/ 4171950 h 4496940"/>
                  <a:gd name="connsiteX62" fmla="*/ 1087777 w 4519987"/>
                  <a:gd name="connsiteY62" fmla="*/ 4143375 h 4496940"/>
                  <a:gd name="connsiteX63" fmla="*/ 1030627 w 4519987"/>
                  <a:gd name="connsiteY63" fmla="*/ 4124325 h 4496940"/>
                  <a:gd name="connsiteX64" fmla="*/ 925852 w 4519987"/>
                  <a:gd name="connsiteY64" fmla="*/ 4067175 h 4496940"/>
                  <a:gd name="connsiteX65" fmla="*/ 830602 w 4519987"/>
                  <a:gd name="connsiteY65" fmla="*/ 3981450 h 4496940"/>
                  <a:gd name="connsiteX66" fmla="*/ 763927 w 4519987"/>
                  <a:gd name="connsiteY66" fmla="*/ 3914775 h 4496940"/>
                  <a:gd name="connsiteX67" fmla="*/ 725827 w 4519987"/>
                  <a:gd name="connsiteY67" fmla="*/ 3876675 h 4496940"/>
                  <a:gd name="connsiteX68" fmla="*/ 697252 w 4519987"/>
                  <a:gd name="connsiteY68" fmla="*/ 3838575 h 4496940"/>
                  <a:gd name="connsiteX69" fmla="*/ 640102 w 4519987"/>
                  <a:gd name="connsiteY69" fmla="*/ 3781425 h 4496940"/>
                  <a:gd name="connsiteX70" fmla="*/ 611527 w 4519987"/>
                  <a:gd name="connsiteY70" fmla="*/ 3733800 h 4496940"/>
                  <a:gd name="connsiteX71" fmla="*/ 554377 w 4519987"/>
                  <a:gd name="connsiteY71" fmla="*/ 3657600 h 4496940"/>
                  <a:gd name="connsiteX72" fmla="*/ 525802 w 4519987"/>
                  <a:gd name="connsiteY72" fmla="*/ 3609975 h 4496940"/>
                  <a:gd name="connsiteX73" fmla="*/ 497227 w 4519987"/>
                  <a:gd name="connsiteY73" fmla="*/ 3552825 h 4496940"/>
                  <a:gd name="connsiteX74" fmla="*/ 440077 w 4519987"/>
                  <a:gd name="connsiteY74" fmla="*/ 3495675 h 4496940"/>
                  <a:gd name="connsiteX75" fmla="*/ 411502 w 4519987"/>
                  <a:gd name="connsiteY75" fmla="*/ 3448050 h 4496940"/>
                  <a:gd name="connsiteX76" fmla="*/ 278152 w 4519987"/>
                  <a:gd name="connsiteY76" fmla="*/ 3257550 h 4496940"/>
                  <a:gd name="connsiteX77" fmla="*/ 249577 w 4519987"/>
                  <a:gd name="connsiteY77" fmla="*/ 3200400 h 4496940"/>
                  <a:gd name="connsiteX78" fmla="*/ 240052 w 4519987"/>
                  <a:gd name="connsiteY78" fmla="*/ 3162300 h 4496940"/>
                  <a:gd name="connsiteX79" fmla="*/ 221002 w 4519987"/>
                  <a:gd name="connsiteY79" fmla="*/ 3105150 h 4496940"/>
                  <a:gd name="connsiteX80" fmla="*/ 173377 w 4519987"/>
                  <a:gd name="connsiteY80" fmla="*/ 3019425 h 4496940"/>
                  <a:gd name="connsiteX81" fmla="*/ 144802 w 4519987"/>
                  <a:gd name="connsiteY81" fmla="*/ 2924175 h 4496940"/>
                  <a:gd name="connsiteX82" fmla="*/ 68602 w 4519987"/>
                  <a:gd name="connsiteY82" fmla="*/ 2724150 h 4496940"/>
                  <a:gd name="connsiteX83" fmla="*/ 49552 w 4519987"/>
                  <a:gd name="connsiteY83" fmla="*/ 2638425 h 4496940"/>
                  <a:gd name="connsiteX84" fmla="*/ 40027 w 4519987"/>
                  <a:gd name="connsiteY84" fmla="*/ 2562225 h 4496940"/>
                  <a:gd name="connsiteX85" fmla="*/ 30502 w 4519987"/>
                  <a:gd name="connsiteY85" fmla="*/ 2514600 h 4496940"/>
                  <a:gd name="connsiteX86" fmla="*/ 11452 w 4519987"/>
                  <a:gd name="connsiteY86" fmla="*/ 2400300 h 4496940"/>
                  <a:gd name="connsiteX87" fmla="*/ 20977 w 4519987"/>
                  <a:gd name="connsiteY87" fmla="*/ 1905000 h 4496940"/>
                  <a:gd name="connsiteX88" fmla="*/ 30502 w 4519987"/>
                  <a:gd name="connsiteY88" fmla="*/ 1838325 h 4496940"/>
                  <a:gd name="connsiteX89" fmla="*/ 49552 w 4519987"/>
                  <a:gd name="connsiteY89" fmla="*/ 1781175 h 4496940"/>
                  <a:gd name="connsiteX90" fmla="*/ 59077 w 4519987"/>
                  <a:gd name="connsiteY90" fmla="*/ 1743075 h 4496940"/>
                  <a:gd name="connsiteX91" fmla="*/ 78127 w 4519987"/>
                  <a:gd name="connsiteY91" fmla="*/ 1685925 h 4496940"/>
                  <a:gd name="connsiteX92" fmla="*/ 87652 w 4519987"/>
                  <a:gd name="connsiteY92" fmla="*/ 1638300 h 4496940"/>
                  <a:gd name="connsiteX93" fmla="*/ 106702 w 4519987"/>
                  <a:gd name="connsiteY93" fmla="*/ 1590675 h 4496940"/>
                  <a:gd name="connsiteX94" fmla="*/ 135277 w 4519987"/>
                  <a:gd name="connsiteY94" fmla="*/ 1504950 h 4496940"/>
                  <a:gd name="connsiteX95" fmla="*/ 154327 w 4519987"/>
                  <a:gd name="connsiteY95" fmla="*/ 1419225 h 4496940"/>
                  <a:gd name="connsiteX96" fmla="*/ 230527 w 4519987"/>
                  <a:gd name="connsiteY96" fmla="*/ 1276350 h 4496940"/>
                  <a:gd name="connsiteX97" fmla="*/ 240052 w 4519987"/>
                  <a:gd name="connsiteY97" fmla="*/ 1247775 h 4496940"/>
                  <a:gd name="connsiteX98" fmla="*/ 268627 w 4519987"/>
                  <a:gd name="connsiteY98" fmla="*/ 1200150 h 4496940"/>
                  <a:gd name="connsiteX99" fmla="*/ 287677 w 4519987"/>
                  <a:gd name="connsiteY99" fmla="*/ 1152525 h 4496940"/>
                  <a:gd name="connsiteX100" fmla="*/ 316252 w 4519987"/>
                  <a:gd name="connsiteY100" fmla="*/ 1114425 h 4496940"/>
                  <a:gd name="connsiteX101" fmla="*/ 363877 w 4519987"/>
                  <a:gd name="connsiteY101" fmla="*/ 1038225 h 4496940"/>
                  <a:gd name="connsiteX102" fmla="*/ 382927 w 4519987"/>
                  <a:gd name="connsiteY102" fmla="*/ 1009650 h 4496940"/>
                  <a:gd name="connsiteX103" fmla="*/ 440077 w 4519987"/>
                  <a:gd name="connsiteY103" fmla="*/ 904875 h 4496940"/>
                  <a:gd name="connsiteX104" fmla="*/ 478177 w 4519987"/>
                  <a:gd name="connsiteY104" fmla="*/ 857250 h 4496940"/>
                  <a:gd name="connsiteX105" fmla="*/ 497227 w 4519987"/>
                  <a:gd name="connsiteY105" fmla="*/ 828675 h 4496940"/>
                  <a:gd name="connsiteX106" fmla="*/ 535327 w 4519987"/>
                  <a:gd name="connsiteY106" fmla="*/ 800100 h 4496940"/>
                  <a:gd name="connsiteX107" fmla="*/ 602002 w 4519987"/>
                  <a:gd name="connsiteY107" fmla="*/ 733425 h 4496940"/>
                  <a:gd name="connsiteX108" fmla="*/ 668677 w 4519987"/>
                  <a:gd name="connsiteY108" fmla="*/ 676275 h 4496940"/>
                  <a:gd name="connsiteX109" fmla="*/ 697252 w 4519987"/>
                  <a:gd name="connsiteY109" fmla="*/ 657225 h 4496940"/>
                  <a:gd name="connsiteX110" fmla="*/ 840127 w 4519987"/>
                  <a:gd name="connsiteY110" fmla="*/ 533400 h 4496940"/>
                  <a:gd name="connsiteX111" fmla="*/ 887752 w 4519987"/>
                  <a:gd name="connsiteY111" fmla="*/ 504825 h 4496940"/>
                  <a:gd name="connsiteX112" fmla="*/ 1167152 w 4519987"/>
                  <a:gd name="connsiteY112" fmla="*/ 311150 h 4496940"/>
                  <a:gd name="connsiteX113" fmla="*/ 1268752 w 4519987"/>
                  <a:gd name="connsiteY113" fmla="*/ 285750 h 4496940"/>
                  <a:gd name="connsiteX114" fmla="*/ 1411627 w 4519987"/>
                  <a:gd name="connsiteY114" fmla="*/ 190500 h 4496940"/>
                  <a:gd name="connsiteX115" fmla="*/ 1449727 w 4519987"/>
                  <a:gd name="connsiteY115" fmla="*/ 161925 h 4496940"/>
                  <a:gd name="connsiteX116" fmla="*/ 1525927 w 4519987"/>
                  <a:gd name="connsiteY116" fmla="*/ 152400 h 4496940"/>
                  <a:gd name="connsiteX117" fmla="*/ 1583077 w 4519987"/>
                  <a:gd name="connsiteY117" fmla="*/ 142875 h 4496940"/>
                  <a:gd name="connsiteX118" fmla="*/ 1716427 w 4519987"/>
                  <a:gd name="connsiteY118" fmla="*/ 123825 h 4496940"/>
                  <a:gd name="connsiteX119" fmla="*/ 1811677 w 4519987"/>
                  <a:gd name="connsiteY119" fmla="*/ 114300 h 4496940"/>
                  <a:gd name="connsiteX120" fmla="*/ 1859302 w 4519987"/>
                  <a:gd name="connsiteY120" fmla="*/ 104775 h 4496940"/>
                  <a:gd name="connsiteX121" fmla="*/ 1916452 w 4519987"/>
                  <a:gd name="connsiteY121" fmla="*/ 95250 h 4496940"/>
                  <a:gd name="connsiteX122" fmla="*/ 2030752 w 4519987"/>
                  <a:gd name="connsiteY122" fmla="*/ 66675 h 4496940"/>
                  <a:gd name="connsiteX123" fmla="*/ 2097427 w 4519987"/>
                  <a:gd name="connsiteY123" fmla="*/ 47625 h 4496940"/>
                  <a:gd name="connsiteX124" fmla="*/ 2164102 w 4519987"/>
                  <a:gd name="connsiteY124" fmla="*/ 38100 h 4496940"/>
                  <a:gd name="connsiteX125" fmla="*/ 2392702 w 4519987"/>
                  <a:gd name="connsiteY125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54752 w 4519987"/>
                  <a:gd name="connsiteY36" fmla="*/ 4095750 h 4496940"/>
                  <a:gd name="connsiteX37" fmla="*/ 3383302 w 4519987"/>
                  <a:gd name="connsiteY37" fmla="*/ 4210050 h 4496940"/>
                  <a:gd name="connsiteX38" fmla="*/ 3335677 w 4519987"/>
                  <a:gd name="connsiteY38" fmla="*/ 4238625 h 4496940"/>
                  <a:gd name="connsiteX39" fmla="*/ 3288052 w 4519987"/>
                  <a:gd name="connsiteY39" fmla="*/ 4248150 h 4496940"/>
                  <a:gd name="connsiteX40" fmla="*/ 3240427 w 4519987"/>
                  <a:gd name="connsiteY40" fmla="*/ 4267200 h 4496940"/>
                  <a:gd name="connsiteX41" fmla="*/ 3068977 w 4519987"/>
                  <a:gd name="connsiteY41" fmla="*/ 4286250 h 4496940"/>
                  <a:gd name="connsiteX42" fmla="*/ 2935627 w 4519987"/>
                  <a:gd name="connsiteY42" fmla="*/ 4333875 h 4496940"/>
                  <a:gd name="connsiteX43" fmla="*/ 2811802 w 4519987"/>
                  <a:gd name="connsiteY43" fmla="*/ 4371975 h 4496940"/>
                  <a:gd name="connsiteX44" fmla="*/ 2745127 w 4519987"/>
                  <a:gd name="connsiteY44" fmla="*/ 4410075 h 4496940"/>
                  <a:gd name="connsiteX45" fmla="*/ 2697502 w 4519987"/>
                  <a:gd name="connsiteY45" fmla="*/ 4429125 h 4496940"/>
                  <a:gd name="connsiteX46" fmla="*/ 2640352 w 4519987"/>
                  <a:gd name="connsiteY46" fmla="*/ 4457700 h 4496940"/>
                  <a:gd name="connsiteX47" fmla="*/ 2583202 w 4519987"/>
                  <a:gd name="connsiteY47" fmla="*/ 4467225 h 4496940"/>
                  <a:gd name="connsiteX48" fmla="*/ 2545102 w 4519987"/>
                  <a:gd name="connsiteY48" fmla="*/ 4486275 h 4496940"/>
                  <a:gd name="connsiteX49" fmla="*/ 2306977 w 4519987"/>
                  <a:gd name="connsiteY49" fmla="*/ 4476750 h 4496940"/>
                  <a:gd name="connsiteX50" fmla="*/ 2202202 w 4519987"/>
                  <a:gd name="connsiteY50" fmla="*/ 4457700 h 4496940"/>
                  <a:gd name="connsiteX51" fmla="*/ 2126002 w 4519987"/>
                  <a:gd name="connsiteY51" fmla="*/ 4429125 h 4496940"/>
                  <a:gd name="connsiteX52" fmla="*/ 1935502 w 4519987"/>
                  <a:gd name="connsiteY52" fmla="*/ 4400550 h 4496940"/>
                  <a:gd name="connsiteX53" fmla="*/ 1821202 w 4519987"/>
                  <a:gd name="connsiteY53" fmla="*/ 4371975 h 4496940"/>
                  <a:gd name="connsiteX54" fmla="*/ 1754527 w 4519987"/>
                  <a:gd name="connsiteY54" fmla="*/ 4352925 h 4496940"/>
                  <a:gd name="connsiteX55" fmla="*/ 1687852 w 4519987"/>
                  <a:gd name="connsiteY55" fmla="*/ 4343400 h 4496940"/>
                  <a:gd name="connsiteX56" fmla="*/ 1573552 w 4519987"/>
                  <a:gd name="connsiteY56" fmla="*/ 4305300 h 4496940"/>
                  <a:gd name="connsiteX57" fmla="*/ 1402102 w 4519987"/>
                  <a:gd name="connsiteY57" fmla="*/ 4276725 h 4496940"/>
                  <a:gd name="connsiteX58" fmla="*/ 1287802 w 4519987"/>
                  <a:gd name="connsiteY58" fmla="*/ 4229100 h 4496940"/>
                  <a:gd name="connsiteX59" fmla="*/ 1221127 w 4519987"/>
                  <a:gd name="connsiteY59" fmla="*/ 4200525 h 4496940"/>
                  <a:gd name="connsiteX60" fmla="*/ 1144927 w 4519987"/>
                  <a:gd name="connsiteY60" fmla="*/ 4171950 h 4496940"/>
                  <a:gd name="connsiteX61" fmla="*/ 1087777 w 4519987"/>
                  <a:gd name="connsiteY61" fmla="*/ 4143375 h 4496940"/>
                  <a:gd name="connsiteX62" fmla="*/ 1030627 w 4519987"/>
                  <a:gd name="connsiteY62" fmla="*/ 4124325 h 4496940"/>
                  <a:gd name="connsiteX63" fmla="*/ 925852 w 4519987"/>
                  <a:gd name="connsiteY63" fmla="*/ 4067175 h 4496940"/>
                  <a:gd name="connsiteX64" fmla="*/ 830602 w 4519987"/>
                  <a:gd name="connsiteY64" fmla="*/ 3981450 h 4496940"/>
                  <a:gd name="connsiteX65" fmla="*/ 763927 w 4519987"/>
                  <a:gd name="connsiteY65" fmla="*/ 3914775 h 4496940"/>
                  <a:gd name="connsiteX66" fmla="*/ 725827 w 4519987"/>
                  <a:gd name="connsiteY66" fmla="*/ 3876675 h 4496940"/>
                  <a:gd name="connsiteX67" fmla="*/ 697252 w 4519987"/>
                  <a:gd name="connsiteY67" fmla="*/ 3838575 h 4496940"/>
                  <a:gd name="connsiteX68" fmla="*/ 640102 w 4519987"/>
                  <a:gd name="connsiteY68" fmla="*/ 3781425 h 4496940"/>
                  <a:gd name="connsiteX69" fmla="*/ 611527 w 4519987"/>
                  <a:gd name="connsiteY69" fmla="*/ 3733800 h 4496940"/>
                  <a:gd name="connsiteX70" fmla="*/ 554377 w 4519987"/>
                  <a:gd name="connsiteY70" fmla="*/ 3657600 h 4496940"/>
                  <a:gd name="connsiteX71" fmla="*/ 525802 w 4519987"/>
                  <a:gd name="connsiteY71" fmla="*/ 3609975 h 4496940"/>
                  <a:gd name="connsiteX72" fmla="*/ 497227 w 4519987"/>
                  <a:gd name="connsiteY72" fmla="*/ 3552825 h 4496940"/>
                  <a:gd name="connsiteX73" fmla="*/ 440077 w 4519987"/>
                  <a:gd name="connsiteY73" fmla="*/ 3495675 h 4496940"/>
                  <a:gd name="connsiteX74" fmla="*/ 411502 w 4519987"/>
                  <a:gd name="connsiteY74" fmla="*/ 3448050 h 4496940"/>
                  <a:gd name="connsiteX75" fmla="*/ 278152 w 4519987"/>
                  <a:gd name="connsiteY75" fmla="*/ 3257550 h 4496940"/>
                  <a:gd name="connsiteX76" fmla="*/ 249577 w 4519987"/>
                  <a:gd name="connsiteY76" fmla="*/ 3200400 h 4496940"/>
                  <a:gd name="connsiteX77" fmla="*/ 240052 w 4519987"/>
                  <a:gd name="connsiteY77" fmla="*/ 3162300 h 4496940"/>
                  <a:gd name="connsiteX78" fmla="*/ 221002 w 4519987"/>
                  <a:gd name="connsiteY78" fmla="*/ 3105150 h 4496940"/>
                  <a:gd name="connsiteX79" fmla="*/ 173377 w 4519987"/>
                  <a:gd name="connsiteY79" fmla="*/ 3019425 h 4496940"/>
                  <a:gd name="connsiteX80" fmla="*/ 144802 w 4519987"/>
                  <a:gd name="connsiteY80" fmla="*/ 2924175 h 4496940"/>
                  <a:gd name="connsiteX81" fmla="*/ 68602 w 4519987"/>
                  <a:gd name="connsiteY81" fmla="*/ 2724150 h 4496940"/>
                  <a:gd name="connsiteX82" fmla="*/ 49552 w 4519987"/>
                  <a:gd name="connsiteY82" fmla="*/ 2638425 h 4496940"/>
                  <a:gd name="connsiteX83" fmla="*/ 40027 w 4519987"/>
                  <a:gd name="connsiteY83" fmla="*/ 2562225 h 4496940"/>
                  <a:gd name="connsiteX84" fmla="*/ 30502 w 4519987"/>
                  <a:gd name="connsiteY84" fmla="*/ 2514600 h 4496940"/>
                  <a:gd name="connsiteX85" fmla="*/ 11452 w 4519987"/>
                  <a:gd name="connsiteY85" fmla="*/ 2400300 h 4496940"/>
                  <a:gd name="connsiteX86" fmla="*/ 20977 w 4519987"/>
                  <a:gd name="connsiteY86" fmla="*/ 1905000 h 4496940"/>
                  <a:gd name="connsiteX87" fmla="*/ 30502 w 4519987"/>
                  <a:gd name="connsiteY87" fmla="*/ 1838325 h 4496940"/>
                  <a:gd name="connsiteX88" fmla="*/ 49552 w 4519987"/>
                  <a:gd name="connsiteY88" fmla="*/ 1781175 h 4496940"/>
                  <a:gd name="connsiteX89" fmla="*/ 59077 w 4519987"/>
                  <a:gd name="connsiteY89" fmla="*/ 1743075 h 4496940"/>
                  <a:gd name="connsiteX90" fmla="*/ 78127 w 4519987"/>
                  <a:gd name="connsiteY90" fmla="*/ 1685925 h 4496940"/>
                  <a:gd name="connsiteX91" fmla="*/ 87652 w 4519987"/>
                  <a:gd name="connsiteY91" fmla="*/ 1638300 h 4496940"/>
                  <a:gd name="connsiteX92" fmla="*/ 106702 w 4519987"/>
                  <a:gd name="connsiteY92" fmla="*/ 1590675 h 4496940"/>
                  <a:gd name="connsiteX93" fmla="*/ 135277 w 4519987"/>
                  <a:gd name="connsiteY93" fmla="*/ 1504950 h 4496940"/>
                  <a:gd name="connsiteX94" fmla="*/ 154327 w 4519987"/>
                  <a:gd name="connsiteY94" fmla="*/ 1419225 h 4496940"/>
                  <a:gd name="connsiteX95" fmla="*/ 230527 w 4519987"/>
                  <a:gd name="connsiteY95" fmla="*/ 1276350 h 4496940"/>
                  <a:gd name="connsiteX96" fmla="*/ 240052 w 4519987"/>
                  <a:gd name="connsiteY96" fmla="*/ 1247775 h 4496940"/>
                  <a:gd name="connsiteX97" fmla="*/ 268627 w 4519987"/>
                  <a:gd name="connsiteY97" fmla="*/ 1200150 h 4496940"/>
                  <a:gd name="connsiteX98" fmla="*/ 287677 w 4519987"/>
                  <a:gd name="connsiteY98" fmla="*/ 1152525 h 4496940"/>
                  <a:gd name="connsiteX99" fmla="*/ 316252 w 4519987"/>
                  <a:gd name="connsiteY99" fmla="*/ 1114425 h 4496940"/>
                  <a:gd name="connsiteX100" fmla="*/ 363877 w 4519987"/>
                  <a:gd name="connsiteY100" fmla="*/ 1038225 h 4496940"/>
                  <a:gd name="connsiteX101" fmla="*/ 382927 w 4519987"/>
                  <a:gd name="connsiteY101" fmla="*/ 1009650 h 4496940"/>
                  <a:gd name="connsiteX102" fmla="*/ 440077 w 4519987"/>
                  <a:gd name="connsiteY102" fmla="*/ 904875 h 4496940"/>
                  <a:gd name="connsiteX103" fmla="*/ 478177 w 4519987"/>
                  <a:gd name="connsiteY103" fmla="*/ 857250 h 4496940"/>
                  <a:gd name="connsiteX104" fmla="*/ 497227 w 4519987"/>
                  <a:gd name="connsiteY104" fmla="*/ 828675 h 4496940"/>
                  <a:gd name="connsiteX105" fmla="*/ 535327 w 4519987"/>
                  <a:gd name="connsiteY105" fmla="*/ 800100 h 4496940"/>
                  <a:gd name="connsiteX106" fmla="*/ 602002 w 4519987"/>
                  <a:gd name="connsiteY106" fmla="*/ 733425 h 4496940"/>
                  <a:gd name="connsiteX107" fmla="*/ 668677 w 4519987"/>
                  <a:gd name="connsiteY107" fmla="*/ 676275 h 4496940"/>
                  <a:gd name="connsiteX108" fmla="*/ 697252 w 4519987"/>
                  <a:gd name="connsiteY108" fmla="*/ 657225 h 4496940"/>
                  <a:gd name="connsiteX109" fmla="*/ 840127 w 4519987"/>
                  <a:gd name="connsiteY109" fmla="*/ 533400 h 4496940"/>
                  <a:gd name="connsiteX110" fmla="*/ 887752 w 4519987"/>
                  <a:gd name="connsiteY110" fmla="*/ 504825 h 4496940"/>
                  <a:gd name="connsiteX111" fmla="*/ 1167152 w 4519987"/>
                  <a:gd name="connsiteY111" fmla="*/ 311150 h 4496940"/>
                  <a:gd name="connsiteX112" fmla="*/ 1268752 w 4519987"/>
                  <a:gd name="connsiteY112" fmla="*/ 285750 h 4496940"/>
                  <a:gd name="connsiteX113" fmla="*/ 1411627 w 4519987"/>
                  <a:gd name="connsiteY113" fmla="*/ 190500 h 4496940"/>
                  <a:gd name="connsiteX114" fmla="*/ 1449727 w 4519987"/>
                  <a:gd name="connsiteY114" fmla="*/ 161925 h 4496940"/>
                  <a:gd name="connsiteX115" fmla="*/ 1525927 w 4519987"/>
                  <a:gd name="connsiteY115" fmla="*/ 152400 h 4496940"/>
                  <a:gd name="connsiteX116" fmla="*/ 1583077 w 4519987"/>
                  <a:gd name="connsiteY116" fmla="*/ 142875 h 4496940"/>
                  <a:gd name="connsiteX117" fmla="*/ 1716427 w 4519987"/>
                  <a:gd name="connsiteY117" fmla="*/ 123825 h 4496940"/>
                  <a:gd name="connsiteX118" fmla="*/ 1811677 w 4519987"/>
                  <a:gd name="connsiteY118" fmla="*/ 114300 h 4496940"/>
                  <a:gd name="connsiteX119" fmla="*/ 1859302 w 4519987"/>
                  <a:gd name="connsiteY119" fmla="*/ 104775 h 4496940"/>
                  <a:gd name="connsiteX120" fmla="*/ 1916452 w 4519987"/>
                  <a:gd name="connsiteY120" fmla="*/ 95250 h 4496940"/>
                  <a:gd name="connsiteX121" fmla="*/ 2030752 w 4519987"/>
                  <a:gd name="connsiteY121" fmla="*/ 66675 h 4496940"/>
                  <a:gd name="connsiteX122" fmla="*/ 2097427 w 4519987"/>
                  <a:gd name="connsiteY122" fmla="*/ 47625 h 4496940"/>
                  <a:gd name="connsiteX123" fmla="*/ 2164102 w 4519987"/>
                  <a:gd name="connsiteY123" fmla="*/ 38100 h 4496940"/>
                  <a:gd name="connsiteX124" fmla="*/ 2392702 w 4519987"/>
                  <a:gd name="connsiteY12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383302 w 4519987"/>
                  <a:gd name="connsiteY37" fmla="*/ 4210050 h 4496940"/>
                  <a:gd name="connsiteX38" fmla="*/ 3335677 w 4519987"/>
                  <a:gd name="connsiteY38" fmla="*/ 4238625 h 4496940"/>
                  <a:gd name="connsiteX39" fmla="*/ 3288052 w 4519987"/>
                  <a:gd name="connsiteY39" fmla="*/ 4248150 h 4496940"/>
                  <a:gd name="connsiteX40" fmla="*/ 3240427 w 4519987"/>
                  <a:gd name="connsiteY40" fmla="*/ 4267200 h 4496940"/>
                  <a:gd name="connsiteX41" fmla="*/ 3068977 w 4519987"/>
                  <a:gd name="connsiteY41" fmla="*/ 4286250 h 4496940"/>
                  <a:gd name="connsiteX42" fmla="*/ 2935627 w 4519987"/>
                  <a:gd name="connsiteY42" fmla="*/ 4333875 h 4496940"/>
                  <a:gd name="connsiteX43" fmla="*/ 2811802 w 4519987"/>
                  <a:gd name="connsiteY43" fmla="*/ 4371975 h 4496940"/>
                  <a:gd name="connsiteX44" fmla="*/ 2745127 w 4519987"/>
                  <a:gd name="connsiteY44" fmla="*/ 4410075 h 4496940"/>
                  <a:gd name="connsiteX45" fmla="*/ 2697502 w 4519987"/>
                  <a:gd name="connsiteY45" fmla="*/ 4429125 h 4496940"/>
                  <a:gd name="connsiteX46" fmla="*/ 2640352 w 4519987"/>
                  <a:gd name="connsiteY46" fmla="*/ 4457700 h 4496940"/>
                  <a:gd name="connsiteX47" fmla="*/ 2583202 w 4519987"/>
                  <a:gd name="connsiteY47" fmla="*/ 4467225 h 4496940"/>
                  <a:gd name="connsiteX48" fmla="*/ 2545102 w 4519987"/>
                  <a:gd name="connsiteY48" fmla="*/ 4486275 h 4496940"/>
                  <a:gd name="connsiteX49" fmla="*/ 2306977 w 4519987"/>
                  <a:gd name="connsiteY49" fmla="*/ 4476750 h 4496940"/>
                  <a:gd name="connsiteX50" fmla="*/ 2202202 w 4519987"/>
                  <a:gd name="connsiteY50" fmla="*/ 4457700 h 4496940"/>
                  <a:gd name="connsiteX51" fmla="*/ 2126002 w 4519987"/>
                  <a:gd name="connsiteY51" fmla="*/ 4429125 h 4496940"/>
                  <a:gd name="connsiteX52" fmla="*/ 1935502 w 4519987"/>
                  <a:gd name="connsiteY52" fmla="*/ 4400550 h 4496940"/>
                  <a:gd name="connsiteX53" fmla="*/ 1821202 w 4519987"/>
                  <a:gd name="connsiteY53" fmla="*/ 4371975 h 4496940"/>
                  <a:gd name="connsiteX54" fmla="*/ 1754527 w 4519987"/>
                  <a:gd name="connsiteY54" fmla="*/ 4352925 h 4496940"/>
                  <a:gd name="connsiteX55" fmla="*/ 1687852 w 4519987"/>
                  <a:gd name="connsiteY55" fmla="*/ 4343400 h 4496940"/>
                  <a:gd name="connsiteX56" fmla="*/ 1573552 w 4519987"/>
                  <a:gd name="connsiteY56" fmla="*/ 4305300 h 4496940"/>
                  <a:gd name="connsiteX57" fmla="*/ 1402102 w 4519987"/>
                  <a:gd name="connsiteY57" fmla="*/ 4276725 h 4496940"/>
                  <a:gd name="connsiteX58" fmla="*/ 1287802 w 4519987"/>
                  <a:gd name="connsiteY58" fmla="*/ 4229100 h 4496940"/>
                  <a:gd name="connsiteX59" fmla="*/ 1221127 w 4519987"/>
                  <a:gd name="connsiteY59" fmla="*/ 4200525 h 4496940"/>
                  <a:gd name="connsiteX60" fmla="*/ 1144927 w 4519987"/>
                  <a:gd name="connsiteY60" fmla="*/ 4171950 h 4496940"/>
                  <a:gd name="connsiteX61" fmla="*/ 1087777 w 4519987"/>
                  <a:gd name="connsiteY61" fmla="*/ 4143375 h 4496940"/>
                  <a:gd name="connsiteX62" fmla="*/ 1030627 w 4519987"/>
                  <a:gd name="connsiteY62" fmla="*/ 4124325 h 4496940"/>
                  <a:gd name="connsiteX63" fmla="*/ 925852 w 4519987"/>
                  <a:gd name="connsiteY63" fmla="*/ 4067175 h 4496940"/>
                  <a:gd name="connsiteX64" fmla="*/ 830602 w 4519987"/>
                  <a:gd name="connsiteY64" fmla="*/ 3981450 h 4496940"/>
                  <a:gd name="connsiteX65" fmla="*/ 763927 w 4519987"/>
                  <a:gd name="connsiteY65" fmla="*/ 3914775 h 4496940"/>
                  <a:gd name="connsiteX66" fmla="*/ 725827 w 4519987"/>
                  <a:gd name="connsiteY66" fmla="*/ 3876675 h 4496940"/>
                  <a:gd name="connsiteX67" fmla="*/ 697252 w 4519987"/>
                  <a:gd name="connsiteY67" fmla="*/ 3838575 h 4496940"/>
                  <a:gd name="connsiteX68" fmla="*/ 640102 w 4519987"/>
                  <a:gd name="connsiteY68" fmla="*/ 3781425 h 4496940"/>
                  <a:gd name="connsiteX69" fmla="*/ 611527 w 4519987"/>
                  <a:gd name="connsiteY69" fmla="*/ 3733800 h 4496940"/>
                  <a:gd name="connsiteX70" fmla="*/ 554377 w 4519987"/>
                  <a:gd name="connsiteY70" fmla="*/ 3657600 h 4496940"/>
                  <a:gd name="connsiteX71" fmla="*/ 525802 w 4519987"/>
                  <a:gd name="connsiteY71" fmla="*/ 3609975 h 4496940"/>
                  <a:gd name="connsiteX72" fmla="*/ 497227 w 4519987"/>
                  <a:gd name="connsiteY72" fmla="*/ 3552825 h 4496940"/>
                  <a:gd name="connsiteX73" fmla="*/ 440077 w 4519987"/>
                  <a:gd name="connsiteY73" fmla="*/ 3495675 h 4496940"/>
                  <a:gd name="connsiteX74" fmla="*/ 411502 w 4519987"/>
                  <a:gd name="connsiteY74" fmla="*/ 3448050 h 4496940"/>
                  <a:gd name="connsiteX75" fmla="*/ 278152 w 4519987"/>
                  <a:gd name="connsiteY75" fmla="*/ 3257550 h 4496940"/>
                  <a:gd name="connsiteX76" fmla="*/ 249577 w 4519987"/>
                  <a:gd name="connsiteY76" fmla="*/ 3200400 h 4496940"/>
                  <a:gd name="connsiteX77" fmla="*/ 240052 w 4519987"/>
                  <a:gd name="connsiteY77" fmla="*/ 3162300 h 4496940"/>
                  <a:gd name="connsiteX78" fmla="*/ 221002 w 4519987"/>
                  <a:gd name="connsiteY78" fmla="*/ 3105150 h 4496940"/>
                  <a:gd name="connsiteX79" fmla="*/ 173377 w 4519987"/>
                  <a:gd name="connsiteY79" fmla="*/ 3019425 h 4496940"/>
                  <a:gd name="connsiteX80" fmla="*/ 144802 w 4519987"/>
                  <a:gd name="connsiteY80" fmla="*/ 2924175 h 4496940"/>
                  <a:gd name="connsiteX81" fmla="*/ 68602 w 4519987"/>
                  <a:gd name="connsiteY81" fmla="*/ 2724150 h 4496940"/>
                  <a:gd name="connsiteX82" fmla="*/ 49552 w 4519987"/>
                  <a:gd name="connsiteY82" fmla="*/ 2638425 h 4496940"/>
                  <a:gd name="connsiteX83" fmla="*/ 40027 w 4519987"/>
                  <a:gd name="connsiteY83" fmla="*/ 2562225 h 4496940"/>
                  <a:gd name="connsiteX84" fmla="*/ 30502 w 4519987"/>
                  <a:gd name="connsiteY84" fmla="*/ 2514600 h 4496940"/>
                  <a:gd name="connsiteX85" fmla="*/ 11452 w 4519987"/>
                  <a:gd name="connsiteY85" fmla="*/ 2400300 h 4496940"/>
                  <a:gd name="connsiteX86" fmla="*/ 20977 w 4519987"/>
                  <a:gd name="connsiteY86" fmla="*/ 1905000 h 4496940"/>
                  <a:gd name="connsiteX87" fmla="*/ 30502 w 4519987"/>
                  <a:gd name="connsiteY87" fmla="*/ 1838325 h 4496940"/>
                  <a:gd name="connsiteX88" fmla="*/ 49552 w 4519987"/>
                  <a:gd name="connsiteY88" fmla="*/ 1781175 h 4496940"/>
                  <a:gd name="connsiteX89" fmla="*/ 59077 w 4519987"/>
                  <a:gd name="connsiteY89" fmla="*/ 1743075 h 4496940"/>
                  <a:gd name="connsiteX90" fmla="*/ 78127 w 4519987"/>
                  <a:gd name="connsiteY90" fmla="*/ 1685925 h 4496940"/>
                  <a:gd name="connsiteX91" fmla="*/ 87652 w 4519987"/>
                  <a:gd name="connsiteY91" fmla="*/ 1638300 h 4496940"/>
                  <a:gd name="connsiteX92" fmla="*/ 106702 w 4519987"/>
                  <a:gd name="connsiteY92" fmla="*/ 1590675 h 4496940"/>
                  <a:gd name="connsiteX93" fmla="*/ 135277 w 4519987"/>
                  <a:gd name="connsiteY93" fmla="*/ 1504950 h 4496940"/>
                  <a:gd name="connsiteX94" fmla="*/ 154327 w 4519987"/>
                  <a:gd name="connsiteY94" fmla="*/ 1419225 h 4496940"/>
                  <a:gd name="connsiteX95" fmla="*/ 230527 w 4519987"/>
                  <a:gd name="connsiteY95" fmla="*/ 1276350 h 4496940"/>
                  <a:gd name="connsiteX96" fmla="*/ 240052 w 4519987"/>
                  <a:gd name="connsiteY96" fmla="*/ 1247775 h 4496940"/>
                  <a:gd name="connsiteX97" fmla="*/ 268627 w 4519987"/>
                  <a:gd name="connsiteY97" fmla="*/ 1200150 h 4496940"/>
                  <a:gd name="connsiteX98" fmla="*/ 287677 w 4519987"/>
                  <a:gd name="connsiteY98" fmla="*/ 1152525 h 4496940"/>
                  <a:gd name="connsiteX99" fmla="*/ 316252 w 4519987"/>
                  <a:gd name="connsiteY99" fmla="*/ 1114425 h 4496940"/>
                  <a:gd name="connsiteX100" fmla="*/ 363877 w 4519987"/>
                  <a:gd name="connsiteY100" fmla="*/ 1038225 h 4496940"/>
                  <a:gd name="connsiteX101" fmla="*/ 382927 w 4519987"/>
                  <a:gd name="connsiteY101" fmla="*/ 1009650 h 4496940"/>
                  <a:gd name="connsiteX102" fmla="*/ 440077 w 4519987"/>
                  <a:gd name="connsiteY102" fmla="*/ 904875 h 4496940"/>
                  <a:gd name="connsiteX103" fmla="*/ 478177 w 4519987"/>
                  <a:gd name="connsiteY103" fmla="*/ 857250 h 4496940"/>
                  <a:gd name="connsiteX104" fmla="*/ 497227 w 4519987"/>
                  <a:gd name="connsiteY104" fmla="*/ 828675 h 4496940"/>
                  <a:gd name="connsiteX105" fmla="*/ 535327 w 4519987"/>
                  <a:gd name="connsiteY105" fmla="*/ 800100 h 4496940"/>
                  <a:gd name="connsiteX106" fmla="*/ 602002 w 4519987"/>
                  <a:gd name="connsiteY106" fmla="*/ 733425 h 4496940"/>
                  <a:gd name="connsiteX107" fmla="*/ 668677 w 4519987"/>
                  <a:gd name="connsiteY107" fmla="*/ 676275 h 4496940"/>
                  <a:gd name="connsiteX108" fmla="*/ 697252 w 4519987"/>
                  <a:gd name="connsiteY108" fmla="*/ 657225 h 4496940"/>
                  <a:gd name="connsiteX109" fmla="*/ 840127 w 4519987"/>
                  <a:gd name="connsiteY109" fmla="*/ 533400 h 4496940"/>
                  <a:gd name="connsiteX110" fmla="*/ 887752 w 4519987"/>
                  <a:gd name="connsiteY110" fmla="*/ 504825 h 4496940"/>
                  <a:gd name="connsiteX111" fmla="*/ 1167152 w 4519987"/>
                  <a:gd name="connsiteY111" fmla="*/ 311150 h 4496940"/>
                  <a:gd name="connsiteX112" fmla="*/ 1268752 w 4519987"/>
                  <a:gd name="connsiteY112" fmla="*/ 285750 h 4496940"/>
                  <a:gd name="connsiteX113" fmla="*/ 1411627 w 4519987"/>
                  <a:gd name="connsiteY113" fmla="*/ 190500 h 4496940"/>
                  <a:gd name="connsiteX114" fmla="*/ 1449727 w 4519987"/>
                  <a:gd name="connsiteY114" fmla="*/ 161925 h 4496940"/>
                  <a:gd name="connsiteX115" fmla="*/ 1525927 w 4519987"/>
                  <a:gd name="connsiteY115" fmla="*/ 152400 h 4496940"/>
                  <a:gd name="connsiteX116" fmla="*/ 1583077 w 4519987"/>
                  <a:gd name="connsiteY116" fmla="*/ 142875 h 4496940"/>
                  <a:gd name="connsiteX117" fmla="*/ 1716427 w 4519987"/>
                  <a:gd name="connsiteY117" fmla="*/ 123825 h 4496940"/>
                  <a:gd name="connsiteX118" fmla="*/ 1811677 w 4519987"/>
                  <a:gd name="connsiteY118" fmla="*/ 114300 h 4496940"/>
                  <a:gd name="connsiteX119" fmla="*/ 1859302 w 4519987"/>
                  <a:gd name="connsiteY119" fmla="*/ 104775 h 4496940"/>
                  <a:gd name="connsiteX120" fmla="*/ 1916452 w 4519987"/>
                  <a:gd name="connsiteY120" fmla="*/ 95250 h 4496940"/>
                  <a:gd name="connsiteX121" fmla="*/ 2030752 w 4519987"/>
                  <a:gd name="connsiteY121" fmla="*/ 66675 h 4496940"/>
                  <a:gd name="connsiteX122" fmla="*/ 2097427 w 4519987"/>
                  <a:gd name="connsiteY122" fmla="*/ 47625 h 4496940"/>
                  <a:gd name="connsiteX123" fmla="*/ 2164102 w 4519987"/>
                  <a:gd name="connsiteY123" fmla="*/ 38100 h 4496940"/>
                  <a:gd name="connsiteX124" fmla="*/ 2392702 w 4519987"/>
                  <a:gd name="connsiteY124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335677 w 4519987"/>
                  <a:gd name="connsiteY37" fmla="*/ 4238625 h 4496940"/>
                  <a:gd name="connsiteX38" fmla="*/ 3288052 w 4519987"/>
                  <a:gd name="connsiteY38" fmla="*/ 4248150 h 4496940"/>
                  <a:gd name="connsiteX39" fmla="*/ 3240427 w 4519987"/>
                  <a:gd name="connsiteY39" fmla="*/ 4267200 h 4496940"/>
                  <a:gd name="connsiteX40" fmla="*/ 3068977 w 4519987"/>
                  <a:gd name="connsiteY40" fmla="*/ 4286250 h 4496940"/>
                  <a:gd name="connsiteX41" fmla="*/ 2935627 w 4519987"/>
                  <a:gd name="connsiteY41" fmla="*/ 4333875 h 4496940"/>
                  <a:gd name="connsiteX42" fmla="*/ 2811802 w 4519987"/>
                  <a:gd name="connsiteY42" fmla="*/ 4371975 h 4496940"/>
                  <a:gd name="connsiteX43" fmla="*/ 2745127 w 4519987"/>
                  <a:gd name="connsiteY43" fmla="*/ 4410075 h 4496940"/>
                  <a:gd name="connsiteX44" fmla="*/ 2697502 w 4519987"/>
                  <a:gd name="connsiteY44" fmla="*/ 4429125 h 4496940"/>
                  <a:gd name="connsiteX45" fmla="*/ 2640352 w 4519987"/>
                  <a:gd name="connsiteY45" fmla="*/ 4457700 h 4496940"/>
                  <a:gd name="connsiteX46" fmla="*/ 2583202 w 4519987"/>
                  <a:gd name="connsiteY46" fmla="*/ 4467225 h 4496940"/>
                  <a:gd name="connsiteX47" fmla="*/ 2545102 w 4519987"/>
                  <a:gd name="connsiteY47" fmla="*/ 4486275 h 4496940"/>
                  <a:gd name="connsiteX48" fmla="*/ 2306977 w 4519987"/>
                  <a:gd name="connsiteY48" fmla="*/ 4476750 h 4496940"/>
                  <a:gd name="connsiteX49" fmla="*/ 2202202 w 4519987"/>
                  <a:gd name="connsiteY49" fmla="*/ 4457700 h 4496940"/>
                  <a:gd name="connsiteX50" fmla="*/ 2126002 w 4519987"/>
                  <a:gd name="connsiteY50" fmla="*/ 4429125 h 4496940"/>
                  <a:gd name="connsiteX51" fmla="*/ 1935502 w 4519987"/>
                  <a:gd name="connsiteY51" fmla="*/ 4400550 h 4496940"/>
                  <a:gd name="connsiteX52" fmla="*/ 1821202 w 4519987"/>
                  <a:gd name="connsiteY52" fmla="*/ 4371975 h 4496940"/>
                  <a:gd name="connsiteX53" fmla="*/ 1754527 w 4519987"/>
                  <a:gd name="connsiteY53" fmla="*/ 4352925 h 4496940"/>
                  <a:gd name="connsiteX54" fmla="*/ 1687852 w 4519987"/>
                  <a:gd name="connsiteY54" fmla="*/ 4343400 h 4496940"/>
                  <a:gd name="connsiteX55" fmla="*/ 1573552 w 4519987"/>
                  <a:gd name="connsiteY55" fmla="*/ 4305300 h 4496940"/>
                  <a:gd name="connsiteX56" fmla="*/ 1402102 w 4519987"/>
                  <a:gd name="connsiteY56" fmla="*/ 4276725 h 4496940"/>
                  <a:gd name="connsiteX57" fmla="*/ 1287802 w 4519987"/>
                  <a:gd name="connsiteY57" fmla="*/ 4229100 h 4496940"/>
                  <a:gd name="connsiteX58" fmla="*/ 1221127 w 4519987"/>
                  <a:gd name="connsiteY58" fmla="*/ 4200525 h 4496940"/>
                  <a:gd name="connsiteX59" fmla="*/ 1144927 w 4519987"/>
                  <a:gd name="connsiteY59" fmla="*/ 4171950 h 4496940"/>
                  <a:gd name="connsiteX60" fmla="*/ 1087777 w 4519987"/>
                  <a:gd name="connsiteY60" fmla="*/ 4143375 h 4496940"/>
                  <a:gd name="connsiteX61" fmla="*/ 1030627 w 4519987"/>
                  <a:gd name="connsiteY61" fmla="*/ 4124325 h 4496940"/>
                  <a:gd name="connsiteX62" fmla="*/ 925852 w 4519987"/>
                  <a:gd name="connsiteY62" fmla="*/ 4067175 h 4496940"/>
                  <a:gd name="connsiteX63" fmla="*/ 830602 w 4519987"/>
                  <a:gd name="connsiteY63" fmla="*/ 3981450 h 4496940"/>
                  <a:gd name="connsiteX64" fmla="*/ 763927 w 4519987"/>
                  <a:gd name="connsiteY64" fmla="*/ 3914775 h 4496940"/>
                  <a:gd name="connsiteX65" fmla="*/ 725827 w 4519987"/>
                  <a:gd name="connsiteY65" fmla="*/ 3876675 h 4496940"/>
                  <a:gd name="connsiteX66" fmla="*/ 697252 w 4519987"/>
                  <a:gd name="connsiteY66" fmla="*/ 3838575 h 4496940"/>
                  <a:gd name="connsiteX67" fmla="*/ 640102 w 4519987"/>
                  <a:gd name="connsiteY67" fmla="*/ 3781425 h 4496940"/>
                  <a:gd name="connsiteX68" fmla="*/ 611527 w 4519987"/>
                  <a:gd name="connsiteY68" fmla="*/ 3733800 h 4496940"/>
                  <a:gd name="connsiteX69" fmla="*/ 554377 w 4519987"/>
                  <a:gd name="connsiteY69" fmla="*/ 3657600 h 4496940"/>
                  <a:gd name="connsiteX70" fmla="*/ 525802 w 4519987"/>
                  <a:gd name="connsiteY70" fmla="*/ 3609975 h 4496940"/>
                  <a:gd name="connsiteX71" fmla="*/ 497227 w 4519987"/>
                  <a:gd name="connsiteY71" fmla="*/ 3552825 h 4496940"/>
                  <a:gd name="connsiteX72" fmla="*/ 440077 w 4519987"/>
                  <a:gd name="connsiteY72" fmla="*/ 3495675 h 4496940"/>
                  <a:gd name="connsiteX73" fmla="*/ 411502 w 4519987"/>
                  <a:gd name="connsiteY73" fmla="*/ 3448050 h 4496940"/>
                  <a:gd name="connsiteX74" fmla="*/ 278152 w 4519987"/>
                  <a:gd name="connsiteY74" fmla="*/ 3257550 h 4496940"/>
                  <a:gd name="connsiteX75" fmla="*/ 249577 w 4519987"/>
                  <a:gd name="connsiteY75" fmla="*/ 3200400 h 4496940"/>
                  <a:gd name="connsiteX76" fmla="*/ 240052 w 4519987"/>
                  <a:gd name="connsiteY76" fmla="*/ 3162300 h 4496940"/>
                  <a:gd name="connsiteX77" fmla="*/ 221002 w 4519987"/>
                  <a:gd name="connsiteY77" fmla="*/ 3105150 h 4496940"/>
                  <a:gd name="connsiteX78" fmla="*/ 173377 w 4519987"/>
                  <a:gd name="connsiteY78" fmla="*/ 3019425 h 4496940"/>
                  <a:gd name="connsiteX79" fmla="*/ 144802 w 4519987"/>
                  <a:gd name="connsiteY79" fmla="*/ 2924175 h 4496940"/>
                  <a:gd name="connsiteX80" fmla="*/ 68602 w 4519987"/>
                  <a:gd name="connsiteY80" fmla="*/ 2724150 h 4496940"/>
                  <a:gd name="connsiteX81" fmla="*/ 49552 w 4519987"/>
                  <a:gd name="connsiteY81" fmla="*/ 2638425 h 4496940"/>
                  <a:gd name="connsiteX82" fmla="*/ 40027 w 4519987"/>
                  <a:gd name="connsiteY82" fmla="*/ 2562225 h 4496940"/>
                  <a:gd name="connsiteX83" fmla="*/ 30502 w 4519987"/>
                  <a:gd name="connsiteY83" fmla="*/ 2514600 h 4496940"/>
                  <a:gd name="connsiteX84" fmla="*/ 11452 w 4519987"/>
                  <a:gd name="connsiteY84" fmla="*/ 2400300 h 4496940"/>
                  <a:gd name="connsiteX85" fmla="*/ 20977 w 4519987"/>
                  <a:gd name="connsiteY85" fmla="*/ 1905000 h 4496940"/>
                  <a:gd name="connsiteX86" fmla="*/ 30502 w 4519987"/>
                  <a:gd name="connsiteY86" fmla="*/ 1838325 h 4496940"/>
                  <a:gd name="connsiteX87" fmla="*/ 49552 w 4519987"/>
                  <a:gd name="connsiteY87" fmla="*/ 1781175 h 4496940"/>
                  <a:gd name="connsiteX88" fmla="*/ 59077 w 4519987"/>
                  <a:gd name="connsiteY88" fmla="*/ 1743075 h 4496940"/>
                  <a:gd name="connsiteX89" fmla="*/ 78127 w 4519987"/>
                  <a:gd name="connsiteY89" fmla="*/ 1685925 h 4496940"/>
                  <a:gd name="connsiteX90" fmla="*/ 87652 w 4519987"/>
                  <a:gd name="connsiteY90" fmla="*/ 1638300 h 4496940"/>
                  <a:gd name="connsiteX91" fmla="*/ 106702 w 4519987"/>
                  <a:gd name="connsiteY91" fmla="*/ 1590675 h 4496940"/>
                  <a:gd name="connsiteX92" fmla="*/ 135277 w 4519987"/>
                  <a:gd name="connsiteY92" fmla="*/ 1504950 h 4496940"/>
                  <a:gd name="connsiteX93" fmla="*/ 154327 w 4519987"/>
                  <a:gd name="connsiteY93" fmla="*/ 1419225 h 4496940"/>
                  <a:gd name="connsiteX94" fmla="*/ 230527 w 4519987"/>
                  <a:gd name="connsiteY94" fmla="*/ 1276350 h 4496940"/>
                  <a:gd name="connsiteX95" fmla="*/ 240052 w 4519987"/>
                  <a:gd name="connsiteY95" fmla="*/ 1247775 h 4496940"/>
                  <a:gd name="connsiteX96" fmla="*/ 268627 w 4519987"/>
                  <a:gd name="connsiteY96" fmla="*/ 1200150 h 4496940"/>
                  <a:gd name="connsiteX97" fmla="*/ 287677 w 4519987"/>
                  <a:gd name="connsiteY97" fmla="*/ 1152525 h 4496940"/>
                  <a:gd name="connsiteX98" fmla="*/ 316252 w 4519987"/>
                  <a:gd name="connsiteY98" fmla="*/ 1114425 h 4496940"/>
                  <a:gd name="connsiteX99" fmla="*/ 363877 w 4519987"/>
                  <a:gd name="connsiteY99" fmla="*/ 1038225 h 4496940"/>
                  <a:gd name="connsiteX100" fmla="*/ 382927 w 4519987"/>
                  <a:gd name="connsiteY100" fmla="*/ 1009650 h 4496940"/>
                  <a:gd name="connsiteX101" fmla="*/ 440077 w 4519987"/>
                  <a:gd name="connsiteY101" fmla="*/ 904875 h 4496940"/>
                  <a:gd name="connsiteX102" fmla="*/ 478177 w 4519987"/>
                  <a:gd name="connsiteY102" fmla="*/ 857250 h 4496940"/>
                  <a:gd name="connsiteX103" fmla="*/ 497227 w 4519987"/>
                  <a:gd name="connsiteY103" fmla="*/ 828675 h 4496940"/>
                  <a:gd name="connsiteX104" fmla="*/ 535327 w 4519987"/>
                  <a:gd name="connsiteY104" fmla="*/ 800100 h 4496940"/>
                  <a:gd name="connsiteX105" fmla="*/ 602002 w 4519987"/>
                  <a:gd name="connsiteY105" fmla="*/ 733425 h 4496940"/>
                  <a:gd name="connsiteX106" fmla="*/ 668677 w 4519987"/>
                  <a:gd name="connsiteY106" fmla="*/ 676275 h 4496940"/>
                  <a:gd name="connsiteX107" fmla="*/ 697252 w 4519987"/>
                  <a:gd name="connsiteY107" fmla="*/ 657225 h 4496940"/>
                  <a:gd name="connsiteX108" fmla="*/ 840127 w 4519987"/>
                  <a:gd name="connsiteY108" fmla="*/ 533400 h 4496940"/>
                  <a:gd name="connsiteX109" fmla="*/ 887752 w 4519987"/>
                  <a:gd name="connsiteY109" fmla="*/ 504825 h 4496940"/>
                  <a:gd name="connsiteX110" fmla="*/ 1167152 w 4519987"/>
                  <a:gd name="connsiteY110" fmla="*/ 311150 h 4496940"/>
                  <a:gd name="connsiteX111" fmla="*/ 1268752 w 4519987"/>
                  <a:gd name="connsiteY111" fmla="*/ 285750 h 4496940"/>
                  <a:gd name="connsiteX112" fmla="*/ 1411627 w 4519987"/>
                  <a:gd name="connsiteY112" fmla="*/ 190500 h 4496940"/>
                  <a:gd name="connsiteX113" fmla="*/ 1449727 w 4519987"/>
                  <a:gd name="connsiteY113" fmla="*/ 161925 h 4496940"/>
                  <a:gd name="connsiteX114" fmla="*/ 1525927 w 4519987"/>
                  <a:gd name="connsiteY114" fmla="*/ 152400 h 4496940"/>
                  <a:gd name="connsiteX115" fmla="*/ 1583077 w 4519987"/>
                  <a:gd name="connsiteY115" fmla="*/ 142875 h 4496940"/>
                  <a:gd name="connsiteX116" fmla="*/ 1716427 w 4519987"/>
                  <a:gd name="connsiteY116" fmla="*/ 123825 h 4496940"/>
                  <a:gd name="connsiteX117" fmla="*/ 1811677 w 4519987"/>
                  <a:gd name="connsiteY117" fmla="*/ 114300 h 4496940"/>
                  <a:gd name="connsiteX118" fmla="*/ 1859302 w 4519987"/>
                  <a:gd name="connsiteY118" fmla="*/ 104775 h 4496940"/>
                  <a:gd name="connsiteX119" fmla="*/ 1916452 w 4519987"/>
                  <a:gd name="connsiteY119" fmla="*/ 95250 h 4496940"/>
                  <a:gd name="connsiteX120" fmla="*/ 2030752 w 4519987"/>
                  <a:gd name="connsiteY120" fmla="*/ 66675 h 4496940"/>
                  <a:gd name="connsiteX121" fmla="*/ 2097427 w 4519987"/>
                  <a:gd name="connsiteY121" fmla="*/ 47625 h 4496940"/>
                  <a:gd name="connsiteX122" fmla="*/ 2164102 w 4519987"/>
                  <a:gd name="connsiteY122" fmla="*/ 38100 h 4496940"/>
                  <a:gd name="connsiteX123" fmla="*/ 2392702 w 4519987"/>
                  <a:gd name="connsiteY123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335677 w 4519987"/>
                  <a:gd name="connsiteY37" fmla="*/ 4238625 h 4496940"/>
                  <a:gd name="connsiteX38" fmla="*/ 3240427 w 4519987"/>
                  <a:gd name="connsiteY38" fmla="*/ 4267200 h 4496940"/>
                  <a:gd name="connsiteX39" fmla="*/ 3068977 w 4519987"/>
                  <a:gd name="connsiteY39" fmla="*/ 4286250 h 4496940"/>
                  <a:gd name="connsiteX40" fmla="*/ 2935627 w 4519987"/>
                  <a:gd name="connsiteY40" fmla="*/ 4333875 h 4496940"/>
                  <a:gd name="connsiteX41" fmla="*/ 2811802 w 4519987"/>
                  <a:gd name="connsiteY41" fmla="*/ 4371975 h 4496940"/>
                  <a:gd name="connsiteX42" fmla="*/ 2745127 w 4519987"/>
                  <a:gd name="connsiteY42" fmla="*/ 4410075 h 4496940"/>
                  <a:gd name="connsiteX43" fmla="*/ 2697502 w 4519987"/>
                  <a:gd name="connsiteY43" fmla="*/ 4429125 h 4496940"/>
                  <a:gd name="connsiteX44" fmla="*/ 2640352 w 4519987"/>
                  <a:gd name="connsiteY44" fmla="*/ 4457700 h 4496940"/>
                  <a:gd name="connsiteX45" fmla="*/ 2583202 w 4519987"/>
                  <a:gd name="connsiteY45" fmla="*/ 4467225 h 4496940"/>
                  <a:gd name="connsiteX46" fmla="*/ 2545102 w 4519987"/>
                  <a:gd name="connsiteY46" fmla="*/ 4486275 h 4496940"/>
                  <a:gd name="connsiteX47" fmla="*/ 2306977 w 4519987"/>
                  <a:gd name="connsiteY47" fmla="*/ 4476750 h 4496940"/>
                  <a:gd name="connsiteX48" fmla="*/ 2202202 w 4519987"/>
                  <a:gd name="connsiteY48" fmla="*/ 4457700 h 4496940"/>
                  <a:gd name="connsiteX49" fmla="*/ 2126002 w 4519987"/>
                  <a:gd name="connsiteY49" fmla="*/ 4429125 h 4496940"/>
                  <a:gd name="connsiteX50" fmla="*/ 1935502 w 4519987"/>
                  <a:gd name="connsiteY50" fmla="*/ 4400550 h 4496940"/>
                  <a:gd name="connsiteX51" fmla="*/ 1821202 w 4519987"/>
                  <a:gd name="connsiteY51" fmla="*/ 4371975 h 4496940"/>
                  <a:gd name="connsiteX52" fmla="*/ 1754527 w 4519987"/>
                  <a:gd name="connsiteY52" fmla="*/ 4352925 h 4496940"/>
                  <a:gd name="connsiteX53" fmla="*/ 1687852 w 4519987"/>
                  <a:gd name="connsiteY53" fmla="*/ 4343400 h 4496940"/>
                  <a:gd name="connsiteX54" fmla="*/ 1573552 w 4519987"/>
                  <a:gd name="connsiteY54" fmla="*/ 4305300 h 4496940"/>
                  <a:gd name="connsiteX55" fmla="*/ 1402102 w 4519987"/>
                  <a:gd name="connsiteY55" fmla="*/ 4276725 h 4496940"/>
                  <a:gd name="connsiteX56" fmla="*/ 1287802 w 4519987"/>
                  <a:gd name="connsiteY56" fmla="*/ 4229100 h 4496940"/>
                  <a:gd name="connsiteX57" fmla="*/ 1221127 w 4519987"/>
                  <a:gd name="connsiteY57" fmla="*/ 4200525 h 4496940"/>
                  <a:gd name="connsiteX58" fmla="*/ 1144927 w 4519987"/>
                  <a:gd name="connsiteY58" fmla="*/ 4171950 h 4496940"/>
                  <a:gd name="connsiteX59" fmla="*/ 1087777 w 4519987"/>
                  <a:gd name="connsiteY59" fmla="*/ 4143375 h 4496940"/>
                  <a:gd name="connsiteX60" fmla="*/ 1030627 w 4519987"/>
                  <a:gd name="connsiteY60" fmla="*/ 4124325 h 4496940"/>
                  <a:gd name="connsiteX61" fmla="*/ 925852 w 4519987"/>
                  <a:gd name="connsiteY61" fmla="*/ 4067175 h 4496940"/>
                  <a:gd name="connsiteX62" fmla="*/ 830602 w 4519987"/>
                  <a:gd name="connsiteY62" fmla="*/ 3981450 h 4496940"/>
                  <a:gd name="connsiteX63" fmla="*/ 763927 w 4519987"/>
                  <a:gd name="connsiteY63" fmla="*/ 3914775 h 4496940"/>
                  <a:gd name="connsiteX64" fmla="*/ 725827 w 4519987"/>
                  <a:gd name="connsiteY64" fmla="*/ 3876675 h 4496940"/>
                  <a:gd name="connsiteX65" fmla="*/ 697252 w 4519987"/>
                  <a:gd name="connsiteY65" fmla="*/ 3838575 h 4496940"/>
                  <a:gd name="connsiteX66" fmla="*/ 640102 w 4519987"/>
                  <a:gd name="connsiteY66" fmla="*/ 3781425 h 4496940"/>
                  <a:gd name="connsiteX67" fmla="*/ 611527 w 4519987"/>
                  <a:gd name="connsiteY67" fmla="*/ 3733800 h 4496940"/>
                  <a:gd name="connsiteX68" fmla="*/ 554377 w 4519987"/>
                  <a:gd name="connsiteY68" fmla="*/ 3657600 h 4496940"/>
                  <a:gd name="connsiteX69" fmla="*/ 525802 w 4519987"/>
                  <a:gd name="connsiteY69" fmla="*/ 3609975 h 4496940"/>
                  <a:gd name="connsiteX70" fmla="*/ 497227 w 4519987"/>
                  <a:gd name="connsiteY70" fmla="*/ 3552825 h 4496940"/>
                  <a:gd name="connsiteX71" fmla="*/ 440077 w 4519987"/>
                  <a:gd name="connsiteY71" fmla="*/ 3495675 h 4496940"/>
                  <a:gd name="connsiteX72" fmla="*/ 411502 w 4519987"/>
                  <a:gd name="connsiteY72" fmla="*/ 3448050 h 4496940"/>
                  <a:gd name="connsiteX73" fmla="*/ 278152 w 4519987"/>
                  <a:gd name="connsiteY73" fmla="*/ 3257550 h 4496940"/>
                  <a:gd name="connsiteX74" fmla="*/ 249577 w 4519987"/>
                  <a:gd name="connsiteY74" fmla="*/ 3200400 h 4496940"/>
                  <a:gd name="connsiteX75" fmla="*/ 240052 w 4519987"/>
                  <a:gd name="connsiteY75" fmla="*/ 3162300 h 4496940"/>
                  <a:gd name="connsiteX76" fmla="*/ 221002 w 4519987"/>
                  <a:gd name="connsiteY76" fmla="*/ 3105150 h 4496940"/>
                  <a:gd name="connsiteX77" fmla="*/ 173377 w 4519987"/>
                  <a:gd name="connsiteY77" fmla="*/ 3019425 h 4496940"/>
                  <a:gd name="connsiteX78" fmla="*/ 144802 w 4519987"/>
                  <a:gd name="connsiteY78" fmla="*/ 2924175 h 4496940"/>
                  <a:gd name="connsiteX79" fmla="*/ 68602 w 4519987"/>
                  <a:gd name="connsiteY79" fmla="*/ 2724150 h 4496940"/>
                  <a:gd name="connsiteX80" fmla="*/ 49552 w 4519987"/>
                  <a:gd name="connsiteY80" fmla="*/ 2638425 h 4496940"/>
                  <a:gd name="connsiteX81" fmla="*/ 40027 w 4519987"/>
                  <a:gd name="connsiteY81" fmla="*/ 2562225 h 4496940"/>
                  <a:gd name="connsiteX82" fmla="*/ 30502 w 4519987"/>
                  <a:gd name="connsiteY82" fmla="*/ 2514600 h 4496940"/>
                  <a:gd name="connsiteX83" fmla="*/ 11452 w 4519987"/>
                  <a:gd name="connsiteY83" fmla="*/ 2400300 h 4496940"/>
                  <a:gd name="connsiteX84" fmla="*/ 20977 w 4519987"/>
                  <a:gd name="connsiteY84" fmla="*/ 1905000 h 4496940"/>
                  <a:gd name="connsiteX85" fmla="*/ 30502 w 4519987"/>
                  <a:gd name="connsiteY85" fmla="*/ 1838325 h 4496940"/>
                  <a:gd name="connsiteX86" fmla="*/ 49552 w 4519987"/>
                  <a:gd name="connsiteY86" fmla="*/ 1781175 h 4496940"/>
                  <a:gd name="connsiteX87" fmla="*/ 59077 w 4519987"/>
                  <a:gd name="connsiteY87" fmla="*/ 1743075 h 4496940"/>
                  <a:gd name="connsiteX88" fmla="*/ 78127 w 4519987"/>
                  <a:gd name="connsiteY88" fmla="*/ 1685925 h 4496940"/>
                  <a:gd name="connsiteX89" fmla="*/ 87652 w 4519987"/>
                  <a:gd name="connsiteY89" fmla="*/ 1638300 h 4496940"/>
                  <a:gd name="connsiteX90" fmla="*/ 106702 w 4519987"/>
                  <a:gd name="connsiteY90" fmla="*/ 1590675 h 4496940"/>
                  <a:gd name="connsiteX91" fmla="*/ 135277 w 4519987"/>
                  <a:gd name="connsiteY91" fmla="*/ 1504950 h 4496940"/>
                  <a:gd name="connsiteX92" fmla="*/ 154327 w 4519987"/>
                  <a:gd name="connsiteY92" fmla="*/ 1419225 h 4496940"/>
                  <a:gd name="connsiteX93" fmla="*/ 230527 w 4519987"/>
                  <a:gd name="connsiteY93" fmla="*/ 1276350 h 4496940"/>
                  <a:gd name="connsiteX94" fmla="*/ 240052 w 4519987"/>
                  <a:gd name="connsiteY94" fmla="*/ 1247775 h 4496940"/>
                  <a:gd name="connsiteX95" fmla="*/ 268627 w 4519987"/>
                  <a:gd name="connsiteY95" fmla="*/ 1200150 h 4496940"/>
                  <a:gd name="connsiteX96" fmla="*/ 287677 w 4519987"/>
                  <a:gd name="connsiteY96" fmla="*/ 1152525 h 4496940"/>
                  <a:gd name="connsiteX97" fmla="*/ 316252 w 4519987"/>
                  <a:gd name="connsiteY97" fmla="*/ 1114425 h 4496940"/>
                  <a:gd name="connsiteX98" fmla="*/ 363877 w 4519987"/>
                  <a:gd name="connsiteY98" fmla="*/ 1038225 h 4496940"/>
                  <a:gd name="connsiteX99" fmla="*/ 382927 w 4519987"/>
                  <a:gd name="connsiteY99" fmla="*/ 1009650 h 4496940"/>
                  <a:gd name="connsiteX100" fmla="*/ 440077 w 4519987"/>
                  <a:gd name="connsiteY100" fmla="*/ 904875 h 4496940"/>
                  <a:gd name="connsiteX101" fmla="*/ 478177 w 4519987"/>
                  <a:gd name="connsiteY101" fmla="*/ 857250 h 4496940"/>
                  <a:gd name="connsiteX102" fmla="*/ 497227 w 4519987"/>
                  <a:gd name="connsiteY102" fmla="*/ 828675 h 4496940"/>
                  <a:gd name="connsiteX103" fmla="*/ 535327 w 4519987"/>
                  <a:gd name="connsiteY103" fmla="*/ 800100 h 4496940"/>
                  <a:gd name="connsiteX104" fmla="*/ 602002 w 4519987"/>
                  <a:gd name="connsiteY104" fmla="*/ 733425 h 4496940"/>
                  <a:gd name="connsiteX105" fmla="*/ 668677 w 4519987"/>
                  <a:gd name="connsiteY105" fmla="*/ 676275 h 4496940"/>
                  <a:gd name="connsiteX106" fmla="*/ 697252 w 4519987"/>
                  <a:gd name="connsiteY106" fmla="*/ 657225 h 4496940"/>
                  <a:gd name="connsiteX107" fmla="*/ 840127 w 4519987"/>
                  <a:gd name="connsiteY107" fmla="*/ 533400 h 4496940"/>
                  <a:gd name="connsiteX108" fmla="*/ 887752 w 4519987"/>
                  <a:gd name="connsiteY108" fmla="*/ 504825 h 4496940"/>
                  <a:gd name="connsiteX109" fmla="*/ 1167152 w 4519987"/>
                  <a:gd name="connsiteY109" fmla="*/ 311150 h 4496940"/>
                  <a:gd name="connsiteX110" fmla="*/ 1268752 w 4519987"/>
                  <a:gd name="connsiteY110" fmla="*/ 285750 h 4496940"/>
                  <a:gd name="connsiteX111" fmla="*/ 1411627 w 4519987"/>
                  <a:gd name="connsiteY111" fmla="*/ 190500 h 4496940"/>
                  <a:gd name="connsiteX112" fmla="*/ 1449727 w 4519987"/>
                  <a:gd name="connsiteY112" fmla="*/ 161925 h 4496940"/>
                  <a:gd name="connsiteX113" fmla="*/ 1525927 w 4519987"/>
                  <a:gd name="connsiteY113" fmla="*/ 152400 h 4496940"/>
                  <a:gd name="connsiteX114" fmla="*/ 1583077 w 4519987"/>
                  <a:gd name="connsiteY114" fmla="*/ 142875 h 4496940"/>
                  <a:gd name="connsiteX115" fmla="*/ 1716427 w 4519987"/>
                  <a:gd name="connsiteY115" fmla="*/ 123825 h 4496940"/>
                  <a:gd name="connsiteX116" fmla="*/ 1811677 w 4519987"/>
                  <a:gd name="connsiteY116" fmla="*/ 114300 h 4496940"/>
                  <a:gd name="connsiteX117" fmla="*/ 1859302 w 4519987"/>
                  <a:gd name="connsiteY117" fmla="*/ 104775 h 4496940"/>
                  <a:gd name="connsiteX118" fmla="*/ 1916452 w 4519987"/>
                  <a:gd name="connsiteY118" fmla="*/ 95250 h 4496940"/>
                  <a:gd name="connsiteX119" fmla="*/ 2030752 w 4519987"/>
                  <a:gd name="connsiteY119" fmla="*/ 66675 h 4496940"/>
                  <a:gd name="connsiteX120" fmla="*/ 2097427 w 4519987"/>
                  <a:gd name="connsiteY120" fmla="*/ 47625 h 4496940"/>
                  <a:gd name="connsiteX121" fmla="*/ 2164102 w 4519987"/>
                  <a:gd name="connsiteY121" fmla="*/ 38100 h 4496940"/>
                  <a:gd name="connsiteX122" fmla="*/ 2392702 w 4519987"/>
                  <a:gd name="connsiteY122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240427 w 4519987"/>
                  <a:gd name="connsiteY37" fmla="*/ 4267200 h 4496940"/>
                  <a:gd name="connsiteX38" fmla="*/ 3068977 w 4519987"/>
                  <a:gd name="connsiteY38" fmla="*/ 4286250 h 4496940"/>
                  <a:gd name="connsiteX39" fmla="*/ 2935627 w 4519987"/>
                  <a:gd name="connsiteY39" fmla="*/ 4333875 h 4496940"/>
                  <a:gd name="connsiteX40" fmla="*/ 2811802 w 4519987"/>
                  <a:gd name="connsiteY40" fmla="*/ 4371975 h 4496940"/>
                  <a:gd name="connsiteX41" fmla="*/ 2745127 w 4519987"/>
                  <a:gd name="connsiteY41" fmla="*/ 4410075 h 4496940"/>
                  <a:gd name="connsiteX42" fmla="*/ 2697502 w 4519987"/>
                  <a:gd name="connsiteY42" fmla="*/ 4429125 h 4496940"/>
                  <a:gd name="connsiteX43" fmla="*/ 2640352 w 4519987"/>
                  <a:gd name="connsiteY43" fmla="*/ 4457700 h 4496940"/>
                  <a:gd name="connsiteX44" fmla="*/ 2583202 w 4519987"/>
                  <a:gd name="connsiteY44" fmla="*/ 4467225 h 4496940"/>
                  <a:gd name="connsiteX45" fmla="*/ 2545102 w 4519987"/>
                  <a:gd name="connsiteY45" fmla="*/ 4486275 h 4496940"/>
                  <a:gd name="connsiteX46" fmla="*/ 2306977 w 4519987"/>
                  <a:gd name="connsiteY46" fmla="*/ 4476750 h 4496940"/>
                  <a:gd name="connsiteX47" fmla="*/ 2202202 w 4519987"/>
                  <a:gd name="connsiteY47" fmla="*/ 4457700 h 4496940"/>
                  <a:gd name="connsiteX48" fmla="*/ 2126002 w 4519987"/>
                  <a:gd name="connsiteY48" fmla="*/ 4429125 h 4496940"/>
                  <a:gd name="connsiteX49" fmla="*/ 1935502 w 4519987"/>
                  <a:gd name="connsiteY49" fmla="*/ 4400550 h 4496940"/>
                  <a:gd name="connsiteX50" fmla="*/ 1821202 w 4519987"/>
                  <a:gd name="connsiteY50" fmla="*/ 4371975 h 4496940"/>
                  <a:gd name="connsiteX51" fmla="*/ 1754527 w 4519987"/>
                  <a:gd name="connsiteY51" fmla="*/ 4352925 h 4496940"/>
                  <a:gd name="connsiteX52" fmla="*/ 1687852 w 4519987"/>
                  <a:gd name="connsiteY52" fmla="*/ 4343400 h 4496940"/>
                  <a:gd name="connsiteX53" fmla="*/ 1573552 w 4519987"/>
                  <a:gd name="connsiteY53" fmla="*/ 4305300 h 4496940"/>
                  <a:gd name="connsiteX54" fmla="*/ 1402102 w 4519987"/>
                  <a:gd name="connsiteY54" fmla="*/ 4276725 h 4496940"/>
                  <a:gd name="connsiteX55" fmla="*/ 1287802 w 4519987"/>
                  <a:gd name="connsiteY55" fmla="*/ 4229100 h 4496940"/>
                  <a:gd name="connsiteX56" fmla="*/ 1221127 w 4519987"/>
                  <a:gd name="connsiteY56" fmla="*/ 4200525 h 4496940"/>
                  <a:gd name="connsiteX57" fmla="*/ 1144927 w 4519987"/>
                  <a:gd name="connsiteY57" fmla="*/ 4171950 h 4496940"/>
                  <a:gd name="connsiteX58" fmla="*/ 1087777 w 4519987"/>
                  <a:gd name="connsiteY58" fmla="*/ 4143375 h 4496940"/>
                  <a:gd name="connsiteX59" fmla="*/ 1030627 w 4519987"/>
                  <a:gd name="connsiteY59" fmla="*/ 4124325 h 4496940"/>
                  <a:gd name="connsiteX60" fmla="*/ 925852 w 4519987"/>
                  <a:gd name="connsiteY60" fmla="*/ 4067175 h 4496940"/>
                  <a:gd name="connsiteX61" fmla="*/ 830602 w 4519987"/>
                  <a:gd name="connsiteY61" fmla="*/ 3981450 h 4496940"/>
                  <a:gd name="connsiteX62" fmla="*/ 763927 w 4519987"/>
                  <a:gd name="connsiteY62" fmla="*/ 3914775 h 4496940"/>
                  <a:gd name="connsiteX63" fmla="*/ 725827 w 4519987"/>
                  <a:gd name="connsiteY63" fmla="*/ 3876675 h 4496940"/>
                  <a:gd name="connsiteX64" fmla="*/ 697252 w 4519987"/>
                  <a:gd name="connsiteY64" fmla="*/ 3838575 h 4496940"/>
                  <a:gd name="connsiteX65" fmla="*/ 640102 w 4519987"/>
                  <a:gd name="connsiteY65" fmla="*/ 3781425 h 4496940"/>
                  <a:gd name="connsiteX66" fmla="*/ 611527 w 4519987"/>
                  <a:gd name="connsiteY66" fmla="*/ 3733800 h 4496940"/>
                  <a:gd name="connsiteX67" fmla="*/ 554377 w 4519987"/>
                  <a:gd name="connsiteY67" fmla="*/ 3657600 h 4496940"/>
                  <a:gd name="connsiteX68" fmla="*/ 525802 w 4519987"/>
                  <a:gd name="connsiteY68" fmla="*/ 3609975 h 4496940"/>
                  <a:gd name="connsiteX69" fmla="*/ 497227 w 4519987"/>
                  <a:gd name="connsiteY69" fmla="*/ 3552825 h 4496940"/>
                  <a:gd name="connsiteX70" fmla="*/ 440077 w 4519987"/>
                  <a:gd name="connsiteY70" fmla="*/ 3495675 h 4496940"/>
                  <a:gd name="connsiteX71" fmla="*/ 411502 w 4519987"/>
                  <a:gd name="connsiteY71" fmla="*/ 3448050 h 4496940"/>
                  <a:gd name="connsiteX72" fmla="*/ 278152 w 4519987"/>
                  <a:gd name="connsiteY72" fmla="*/ 3257550 h 4496940"/>
                  <a:gd name="connsiteX73" fmla="*/ 249577 w 4519987"/>
                  <a:gd name="connsiteY73" fmla="*/ 3200400 h 4496940"/>
                  <a:gd name="connsiteX74" fmla="*/ 240052 w 4519987"/>
                  <a:gd name="connsiteY74" fmla="*/ 3162300 h 4496940"/>
                  <a:gd name="connsiteX75" fmla="*/ 221002 w 4519987"/>
                  <a:gd name="connsiteY75" fmla="*/ 3105150 h 4496940"/>
                  <a:gd name="connsiteX76" fmla="*/ 173377 w 4519987"/>
                  <a:gd name="connsiteY76" fmla="*/ 3019425 h 4496940"/>
                  <a:gd name="connsiteX77" fmla="*/ 144802 w 4519987"/>
                  <a:gd name="connsiteY77" fmla="*/ 2924175 h 4496940"/>
                  <a:gd name="connsiteX78" fmla="*/ 68602 w 4519987"/>
                  <a:gd name="connsiteY78" fmla="*/ 2724150 h 4496940"/>
                  <a:gd name="connsiteX79" fmla="*/ 49552 w 4519987"/>
                  <a:gd name="connsiteY79" fmla="*/ 2638425 h 4496940"/>
                  <a:gd name="connsiteX80" fmla="*/ 40027 w 4519987"/>
                  <a:gd name="connsiteY80" fmla="*/ 2562225 h 4496940"/>
                  <a:gd name="connsiteX81" fmla="*/ 30502 w 4519987"/>
                  <a:gd name="connsiteY81" fmla="*/ 2514600 h 4496940"/>
                  <a:gd name="connsiteX82" fmla="*/ 11452 w 4519987"/>
                  <a:gd name="connsiteY82" fmla="*/ 2400300 h 4496940"/>
                  <a:gd name="connsiteX83" fmla="*/ 20977 w 4519987"/>
                  <a:gd name="connsiteY83" fmla="*/ 1905000 h 4496940"/>
                  <a:gd name="connsiteX84" fmla="*/ 30502 w 4519987"/>
                  <a:gd name="connsiteY84" fmla="*/ 1838325 h 4496940"/>
                  <a:gd name="connsiteX85" fmla="*/ 49552 w 4519987"/>
                  <a:gd name="connsiteY85" fmla="*/ 1781175 h 4496940"/>
                  <a:gd name="connsiteX86" fmla="*/ 59077 w 4519987"/>
                  <a:gd name="connsiteY86" fmla="*/ 1743075 h 4496940"/>
                  <a:gd name="connsiteX87" fmla="*/ 78127 w 4519987"/>
                  <a:gd name="connsiteY87" fmla="*/ 1685925 h 4496940"/>
                  <a:gd name="connsiteX88" fmla="*/ 87652 w 4519987"/>
                  <a:gd name="connsiteY88" fmla="*/ 1638300 h 4496940"/>
                  <a:gd name="connsiteX89" fmla="*/ 106702 w 4519987"/>
                  <a:gd name="connsiteY89" fmla="*/ 1590675 h 4496940"/>
                  <a:gd name="connsiteX90" fmla="*/ 135277 w 4519987"/>
                  <a:gd name="connsiteY90" fmla="*/ 1504950 h 4496940"/>
                  <a:gd name="connsiteX91" fmla="*/ 154327 w 4519987"/>
                  <a:gd name="connsiteY91" fmla="*/ 1419225 h 4496940"/>
                  <a:gd name="connsiteX92" fmla="*/ 230527 w 4519987"/>
                  <a:gd name="connsiteY92" fmla="*/ 1276350 h 4496940"/>
                  <a:gd name="connsiteX93" fmla="*/ 240052 w 4519987"/>
                  <a:gd name="connsiteY93" fmla="*/ 1247775 h 4496940"/>
                  <a:gd name="connsiteX94" fmla="*/ 268627 w 4519987"/>
                  <a:gd name="connsiteY94" fmla="*/ 1200150 h 4496940"/>
                  <a:gd name="connsiteX95" fmla="*/ 287677 w 4519987"/>
                  <a:gd name="connsiteY95" fmla="*/ 1152525 h 4496940"/>
                  <a:gd name="connsiteX96" fmla="*/ 316252 w 4519987"/>
                  <a:gd name="connsiteY96" fmla="*/ 1114425 h 4496940"/>
                  <a:gd name="connsiteX97" fmla="*/ 363877 w 4519987"/>
                  <a:gd name="connsiteY97" fmla="*/ 1038225 h 4496940"/>
                  <a:gd name="connsiteX98" fmla="*/ 382927 w 4519987"/>
                  <a:gd name="connsiteY98" fmla="*/ 1009650 h 4496940"/>
                  <a:gd name="connsiteX99" fmla="*/ 440077 w 4519987"/>
                  <a:gd name="connsiteY99" fmla="*/ 904875 h 4496940"/>
                  <a:gd name="connsiteX100" fmla="*/ 478177 w 4519987"/>
                  <a:gd name="connsiteY100" fmla="*/ 857250 h 4496940"/>
                  <a:gd name="connsiteX101" fmla="*/ 497227 w 4519987"/>
                  <a:gd name="connsiteY101" fmla="*/ 828675 h 4496940"/>
                  <a:gd name="connsiteX102" fmla="*/ 535327 w 4519987"/>
                  <a:gd name="connsiteY102" fmla="*/ 800100 h 4496940"/>
                  <a:gd name="connsiteX103" fmla="*/ 602002 w 4519987"/>
                  <a:gd name="connsiteY103" fmla="*/ 733425 h 4496940"/>
                  <a:gd name="connsiteX104" fmla="*/ 668677 w 4519987"/>
                  <a:gd name="connsiteY104" fmla="*/ 676275 h 4496940"/>
                  <a:gd name="connsiteX105" fmla="*/ 697252 w 4519987"/>
                  <a:gd name="connsiteY105" fmla="*/ 657225 h 4496940"/>
                  <a:gd name="connsiteX106" fmla="*/ 840127 w 4519987"/>
                  <a:gd name="connsiteY106" fmla="*/ 533400 h 4496940"/>
                  <a:gd name="connsiteX107" fmla="*/ 887752 w 4519987"/>
                  <a:gd name="connsiteY107" fmla="*/ 504825 h 4496940"/>
                  <a:gd name="connsiteX108" fmla="*/ 1167152 w 4519987"/>
                  <a:gd name="connsiteY108" fmla="*/ 311150 h 4496940"/>
                  <a:gd name="connsiteX109" fmla="*/ 1268752 w 4519987"/>
                  <a:gd name="connsiteY109" fmla="*/ 285750 h 4496940"/>
                  <a:gd name="connsiteX110" fmla="*/ 1411627 w 4519987"/>
                  <a:gd name="connsiteY110" fmla="*/ 190500 h 4496940"/>
                  <a:gd name="connsiteX111" fmla="*/ 1449727 w 4519987"/>
                  <a:gd name="connsiteY111" fmla="*/ 161925 h 4496940"/>
                  <a:gd name="connsiteX112" fmla="*/ 1525927 w 4519987"/>
                  <a:gd name="connsiteY112" fmla="*/ 152400 h 4496940"/>
                  <a:gd name="connsiteX113" fmla="*/ 1583077 w 4519987"/>
                  <a:gd name="connsiteY113" fmla="*/ 142875 h 4496940"/>
                  <a:gd name="connsiteX114" fmla="*/ 1716427 w 4519987"/>
                  <a:gd name="connsiteY114" fmla="*/ 123825 h 4496940"/>
                  <a:gd name="connsiteX115" fmla="*/ 1811677 w 4519987"/>
                  <a:gd name="connsiteY115" fmla="*/ 114300 h 4496940"/>
                  <a:gd name="connsiteX116" fmla="*/ 1859302 w 4519987"/>
                  <a:gd name="connsiteY116" fmla="*/ 104775 h 4496940"/>
                  <a:gd name="connsiteX117" fmla="*/ 1916452 w 4519987"/>
                  <a:gd name="connsiteY117" fmla="*/ 95250 h 4496940"/>
                  <a:gd name="connsiteX118" fmla="*/ 2030752 w 4519987"/>
                  <a:gd name="connsiteY118" fmla="*/ 66675 h 4496940"/>
                  <a:gd name="connsiteX119" fmla="*/ 2097427 w 4519987"/>
                  <a:gd name="connsiteY119" fmla="*/ 47625 h 4496940"/>
                  <a:gd name="connsiteX120" fmla="*/ 2164102 w 4519987"/>
                  <a:gd name="connsiteY120" fmla="*/ 38100 h 4496940"/>
                  <a:gd name="connsiteX121" fmla="*/ 2392702 w 4519987"/>
                  <a:gd name="connsiteY12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221377 w 4519987"/>
                  <a:gd name="connsiteY37" fmla="*/ 4222750 h 4496940"/>
                  <a:gd name="connsiteX38" fmla="*/ 3068977 w 4519987"/>
                  <a:gd name="connsiteY38" fmla="*/ 4286250 h 4496940"/>
                  <a:gd name="connsiteX39" fmla="*/ 2935627 w 4519987"/>
                  <a:gd name="connsiteY39" fmla="*/ 4333875 h 4496940"/>
                  <a:gd name="connsiteX40" fmla="*/ 2811802 w 4519987"/>
                  <a:gd name="connsiteY40" fmla="*/ 4371975 h 4496940"/>
                  <a:gd name="connsiteX41" fmla="*/ 2745127 w 4519987"/>
                  <a:gd name="connsiteY41" fmla="*/ 4410075 h 4496940"/>
                  <a:gd name="connsiteX42" fmla="*/ 2697502 w 4519987"/>
                  <a:gd name="connsiteY42" fmla="*/ 4429125 h 4496940"/>
                  <a:gd name="connsiteX43" fmla="*/ 2640352 w 4519987"/>
                  <a:gd name="connsiteY43" fmla="*/ 4457700 h 4496940"/>
                  <a:gd name="connsiteX44" fmla="*/ 2583202 w 4519987"/>
                  <a:gd name="connsiteY44" fmla="*/ 4467225 h 4496940"/>
                  <a:gd name="connsiteX45" fmla="*/ 2545102 w 4519987"/>
                  <a:gd name="connsiteY45" fmla="*/ 4486275 h 4496940"/>
                  <a:gd name="connsiteX46" fmla="*/ 2306977 w 4519987"/>
                  <a:gd name="connsiteY46" fmla="*/ 4476750 h 4496940"/>
                  <a:gd name="connsiteX47" fmla="*/ 2202202 w 4519987"/>
                  <a:gd name="connsiteY47" fmla="*/ 4457700 h 4496940"/>
                  <a:gd name="connsiteX48" fmla="*/ 2126002 w 4519987"/>
                  <a:gd name="connsiteY48" fmla="*/ 4429125 h 4496940"/>
                  <a:gd name="connsiteX49" fmla="*/ 1935502 w 4519987"/>
                  <a:gd name="connsiteY49" fmla="*/ 4400550 h 4496940"/>
                  <a:gd name="connsiteX50" fmla="*/ 1821202 w 4519987"/>
                  <a:gd name="connsiteY50" fmla="*/ 4371975 h 4496940"/>
                  <a:gd name="connsiteX51" fmla="*/ 1754527 w 4519987"/>
                  <a:gd name="connsiteY51" fmla="*/ 4352925 h 4496940"/>
                  <a:gd name="connsiteX52" fmla="*/ 1687852 w 4519987"/>
                  <a:gd name="connsiteY52" fmla="*/ 4343400 h 4496940"/>
                  <a:gd name="connsiteX53" fmla="*/ 1573552 w 4519987"/>
                  <a:gd name="connsiteY53" fmla="*/ 4305300 h 4496940"/>
                  <a:gd name="connsiteX54" fmla="*/ 1402102 w 4519987"/>
                  <a:gd name="connsiteY54" fmla="*/ 4276725 h 4496940"/>
                  <a:gd name="connsiteX55" fmla="*/ 1287802 w 4519987"/>
                  <a:gd name="connsiteY55" fmla="*/ 4229100 h 4496940"/>
                  <a:gd name="connsiteX56" fmla="*/ 1221127 w 4519987"/>
                  <a:gd name="connsiteY56" fmla="*/ 4200525 h 4496940"/>
                  <a:gd name="connsiteX57" fmla="*/ 1144927 w 4519987"/>
                  <a:gd name="connsiteY57" fmla="*/ 4171950 h 4496940"/>
                  <a:gd name="connsiteX58" fmla="*/ 1087777 w 4519987"/>
                  <a:gd name="connsiteY58" fmla="*/ 4143375 h 4496940"/>
                  <a:gd name="connsiteX59" fmla="*/ 1030627 w 4519987"/>
                  <a:gd name="connsiteY59" fmla="*/ 4124325 h 4496940"/>
                  <a:gd name="connsiteX60" fmla="*/ 925852 w 4519987"/>
                  <a:gd name="connsiteY60" fmla="*/ 4067175 h 4496940"/>
                  <a:gd name="connsiteX61" fmla="*/ 830602 w 4519987"/>
                  <a:gd name="connsiteY61" fmla="*/ 3981450 h 4496940"/>
                  <a:gd name="connsiteX62" fmla="*/ 763927 w 4519987"/>
                  <a:gd name="connsiteY62" fmla="*/ 3914775 h 4496940"/>
                  <a:gd name="connsiteX63" fmla="*/ 725827 w 4519987"/>
                  <a:gd name="connsiteY63" fmla="*/ 3876675 h 4496940"/>
                  <a:gd name="connsiteX64" fmla="*/ 697252 w 4519987"/>
                  <a:gd name="connsiteY64" fmla="*/ 3838575 h 4496940"/>
                  <a:gd name="connsiteX65" fmla="*/ 640102 w 4519987"/>
                  <a:gd name="connsiteY65" fmla="*/ 3781425 h 4496940"/>
                  <a:gd name="connsiteX66" fmla="*/ 611527 w 4519987"/>
                  <a:gd name="connsiteY66" fmla="*/ 3733800 h 4496940"/>
                  <a:gd name="connsiteX67" fmla="*/ 554377 w 4519987"/>
                  <a:gd name="connsiteY67" fmla="*/ 3657600 h 4496940"/>
                  <a:gd name="connsiteX68" fmla="*/ 525802 w 4519987"/>
                  <a:gd name="connsiteY68" fmla="*/ 3609975 h 4496940"/>
                  <a:gd name="connsiteX69" fmla="*/ 497227 w 4519987"/>
                  <a:gd name="connsiteY69" fmla="*/ 3552825 h 4496940"/>
                  <a:gd name="connsiteX70" fmla="*/ 440077 w 4519987"/>
                  <a:gd name="connsiteY70" fmla="*/ 3495675 h 4496940"/>
                  <a:gd name="connsiteX71" fmla="*/ 411502 w 4519987"/>
                  <a:gd name="connsiteY71" fmla="*/ 3448050 h 4496940"/>
                  <a:gd name="connsiteX72" fmla="*/ 278152 w 4519987"/>
                  <a:gd name="connsiteY72" fmla="*/ 3257550 h 4496940"/>
                  <a:gd name="connsiteX73" fmla="*/ 249577 w 4519987"/>
                  <a:gd name="connsiteY73" fmla="*/ 3200400 h 4496940"/>
                  <a:gd name="connsiteX74" fmla="*/ 240052 w 4519987"/>
                  <a:gd name="connsiteY74" fmla="*/ 3162300 h 4496940"/>
                  <a:gd name="connsiteX75" fmla="*/ 221002 w 4519987"/>
                  <a:gd name="connsiteY75" fmla="*/ 3105150 h 4496940"/>
                  <a:gd name="connsiteX76" fmla="*/ 173377 w 4519987"/>
                  <a:gd name="connsiteY76" fmla="*/ 3019425 h 4496940"/>
                  <a:gd name="connsiteX77" fmla="*/ 144802 w 4519987"/>
                  <a:gd name="connsiteY77" fmla="*/ 2924175 h 4496940"/>
                  <a:gd name="connsiteX78" fmla="*/ 68602 w 4519987"/>
                  <a:gd name="connsiteY78" fmla="*/ 2724150 h 4496940"/>
                  <a:gd name="connsiteX79" fmla="*/ 49552 w 4519987"/>
                  <a:gd name="connsiteY79" fmla="*/ 2638425 h 4496940"/>
                  <a:gd name="connsiteX80" fmla="*/ 40027 w 4519987"/>
                  <a:gd name="connsiteY80" fmla="*/ 2562225 h 4496940"/>
                  <a:gd name="connsiteX81" fmla="*/ 30502 w 4519987"/>
                  <a:gd name="connsiteY81" fmla="*/ 2514600 h 4496940"/>
                  <a:gd name="connsiteX82" fmla="*/ 11452 w 4519987"/>
                  <a:gd name="connsiteY82" fmla="*/ 2400300 h 4496940"/>
                  <a:gd name="connsiteX83" fmla="*/ 20977 w 4519987"/>
                  <a:gd name="connsiteY83" fmla="*/ 1905000 h 4496940"/>
                  <a:gd name="connsiteX84" fmla="*/ 30502 w 4519987"/>
                  <a:gd name="connsiteY84" fmla="*/ 1838325 h 4496940"/>
                  <a:gd name="connsiteX85" fmla="*/ 49552 w 4519987"/>
                  <a:gd name="connsiteY85" fmla="*/ 1781175 h 4496940"/>
                  <a:gd name="connsiteX86" fmla="*/ 59077 w 4519987"/>
                  <a:gd name="connsiteY86" fmla="*/ 1743075 h 4496940"/>
                  <a:gd name="connsiteX87" fmla="*/ 78127 w 4519987"/>
                  <a:gd name="connsiteY87" fmla="*/ 1685925 h 4496940"/>
                  <a:gd name="connsiteX88" fmla="*/ 87652 w 4519987"/>
                  <a:gd name="connsiteY88" fmla="*/ 1638300 h 4496940"/>
                  <a:gd name="connsiteX89" fmla="*/ 106702 w 4519987"/>
                  <a:gd name="connsiteY89" fmla="*/ 1590675 h 4496940"/>
                  <a:gd name="connsiteX90" fmla="*/ 135277 w 4519987"/>
                  <a:gd name="connsiteY90" fmla="*/ 1504950 h 4496940"/>
                  <a:gd name="connsiteX91" fmla="*/ 154327 w 4519987"/>
                  <a:gd name="connsiteY91" fmla="*/ 1419225 h 4496940"/>
                  <a:gd name="connsiteX92" fmla="*/ 230527 w 4519987"/>
                  <a:gd name="connsiteY92" fmla="*/ 1276350 h 4496940"/>
                  <a:gd name="connsiteX93" fmla="*/ 240052 w 4519987"/>
                  <a:gd name="connsiteY93" fmla="*/ 1247775 h 4496940"/>
                  <a:gd name="connsiteX94" fmla="*/ 268627 w 4519987"/>
                  <a:gd name="connsiteY94" fmla="*/ 1200150 h 4496940"/>
                  <a:gd name="connsiteX95" fmla="*/ 287677 w 4519987"/>
                  <a:gd name="connsiteY95" fmla="*/ 1152525 h 4496940"/>
                  <a:gd name="connsiteX96" fmla="*/ 316252 w 4519987"/>
                  <a:gd name="connsiteY96" fmla="*/ 1114425 h 4496940"/>
                  <a:gd name="connsiteX97" fmla="*/ 363877 w 4519987"/>
                  <a:gd name="connsiteY97" fmla="*/ 1038225 h 4496940"/>
                  <a:gd name="connsiteX98" fmla="*/ 382927 w 4519987"/>
                  <a:gd name="connsiteY98" fmla="*/ 1009650 h 4496940"/>
                  <a:gd name="connsiteX99" fmla="*/ 440077 w 4519987"/>
                  <a:gd name="connsiteY99" fmla="*/ 904875 h 4496940"/>
                  <a:gd name="connsiteX100" fmla="*/ 478177 w 4519987"/>
                  <a:gd name="connsiteY100" fmla="*/ 857250 h 4496940"/>
                  <a:gd name="connsiteX101" fmla="*/ 497227 w 4519987"/>
                  <a:gd name="connsiteY101" fmla="*/ 828675 h 4496940"/>
                  <a:gd name="connsiteX102" fmla="*/ 535327 w 4519987"/>
                  <a:gd name="connsiteY102" fmla="*/ 800100 h 4496940"/>
                  <a:gd name="connsiteX103" fmla="*/ 602002 w 4519987"/>
                  <a:gd name="connsiteY103" fmla="*/ 733425 h 4496940"/>
                  <a:gd name="connsiteX104" fmla="*/ 668677 w 4519987"/>
                  <a:gd name="connsiteY104" fmla="*/ 676275 h 4496940"/>
                  <a:gd name="connsiteX105" fmla="*/ 697252 w 4519987"/>
                  <a:gd name="connsiteY105" fmla="*/ 657225 h 4496940"/>
                  <a:gd name="connsiteX106" fmla="*/ 840127 w 4519987"/>
                  <a:gd name="connsiteY106" fmla="*/ 533400 h 4496940"/>
                  <a:gd name="connsiteX107" fmla="*/ 887752 w 4519987"/>
                  <a:gd name="connsiteY107" fmla="*/ 504825 h 4496940"/>
                  <a:gd name="connsiteX108" fmla="*/ 1167152 w 4519987"/>
                  <a:gd name="connsiteY108" fmla="*/ 311150 h 4496940"/>
                  <a:gd name="connsiteX109" fmla="*/ 1268752 w 4519987"/>
                  <a:gd name="connsiteY109" fmla="*/ 285750 h 4496940"/>
                  <a:gd name="connsiteX110" fmla="*/ 1411627 w 4519987"/>
                  <a:gd name="connsiteY110" fmla="*/ 190500 h 4496940"/>
                  <a:gd name="connsiteX111" fmla="*/ 1449727 w 4519987"/>
                  <a:gd name="connsiteY111" fmla="*/ 161925 h 4496940"/>
                  <a:gd name="connsiteX112" fmla="*/ 1525927 w 4519987"/>
                  <a:gd name="connsiteY112" fmla="*/ 152400 h 4496940"/>
                  <a:gd name="connsiteX113" fmla="*/ 1583077 w 4519987"/>
                  <a:gd name="connsiteY113" fmla="*/ 142875 h 4496940"/>
                  <a:gd name="connsiteX114" fmla="*/ 1716427 w 4519987"/>
                  <a:gd name="connsiteY114" fmla="*/ 123825 h 4496940"/>
                  <a:gd name="connsiteX115" fmla="*/ 1811677 w 4519987"/>
                  <a:gd name="connsiteY115" fmla="*/ 114300 h 4496940"/>
                  <a:gd name="connsiteX116" fmla="*/ 1859302 w 4519987"/>
                  <a:gd name="connsiteY116" fmla="*/ 104775 h 4496940"/>
                  <a:gd name="connsiteX117" fmla="*/ 1916452 w 4519987"/>
                  <a:gd name="connsiteY117" fmla="*/ 95250 h 4496940"/>
                  <a:gd name="connsiteX118" fmla="*/ 2030752 w 4519987"/>
                  <a:gd name="connsiteY118" fmla="*/ 66675 h 4496940"/>
                  <a:gd name="connsiteX119" fmla="*/ 2097427 w 4519987"/>
                  <a:gd name="connsiteY119" fmla="*/ 47625 h 4496940"/>
                  <a:gd name="connsiteX120" fmla="*/ 2164102 w 4519987"/>
                  <a:gd name="connsiteY120" fmla="*/ 38100 h 4496940"/>
                  <a:gd name="connsiteX121" fmla="*/ 2392702 w 4519987"/>
                  <a:gd name="connsiteY121" fmla="*/ 28575 h 4496940"/>
                  <a:gd name="connsiteX0" fmla="*/ 2297452 w 4519987"/>
                  <a:gd name="connsiteY0" fmla="*/ 0 h 4496940"/>
                  <a:gd name="connsiteX1" fmla="*/ 2421277 w 4519987"/>
                  <a:gd name="connsiteY1" fmla="*/ 28575 h 4496940"/>
                  <a:gd name="connsiteX2" fmla="*/ 2497477 w 4519987"/>
                  <a:gd name="connsiteY2" fmla="*/ 47625 h 4496940"/>
                  <a:gd name="connsiteX3" fmla="*/ 2754652 w 4519987"/>
                  <a:gd name="connsiteY3" fmla="*/ 66675 h 4496940"/>
                  <a:gd name="connsiteX4" fmla="*/ 2830852 w 4519987"/>
                  <a:gd name="connsiteY4" fmla="*/ 76200 h 4496940"/>
                  <a:gd name="connsiteX5" fmla="*/ 2916577 w 4519987"/>
                  <a:gd name="connsiteY5" fmla="*/ 85725 h 4496940"/>
                  <a:gd name="connsiteX6" fmla="*/ 2973727 w 4519987"/>
                  <a:gd name="connsiteY6" fmla="*/ 114300 h 4496940"/>
                  <a:gd name="connsiteX7" fmla="*/ 3011827 w 4519987"/>
                  <a:gd name="connsiteY7" fmla="*/ 123825 h 4496940"/>
                  <a:gd name="connsiteX8" fmla="*/ 3135652 w 4519987"/>
                  <a:gd name="connsiteY8" fmla="*/ 171450 h 4496940"/>
                  <a:gd name="connsiteX9" fmla="*/ 3173752 w 4519987"/>
                  <a:gd name="connsiteY9" fmla="*/ 190500 h 4496940"/>
                  <a:gd name="connsiteX10" fmla="*/ 3240427 w 4519987"/>
                  <a:gd name="connsiteY10" fmla="*/ 228600 h 4496940"/>
                  <a:gd name="connsiteX11" fmla="*/ 3269002 w 4519987"/>
                  <a:gd name="connsiteY11" fmla="*/ 238125 h 4496940"/>
                  <a:gd name="connsiteX12" fmla="*/ 3297577 w 4519987"/>
                  <a:gd name="connsiteY12" fmla="*/ 257175 h 4496940"/>
                  <a:gd name="connsiteX13" fmla="*/ 3326152 w 4519987"/>
                  <a:gd name="connsiteY13" fmla="*/ 266700 h 4496940"/>
                  <a:gd name="connsiteX14" fmla="*/ 3354727 w 4519987"/>
                  <a:gd name="connsiteY14" fmla="*/ 285750 h 4496940"/>
                  <a:gd name="connsiteX15" fmla="*/ 3421402 w 4519987"/>
                  <a:gd name="connsiteY15" fmla="*/ 323850 h 4496940"/>
                  <a:gd name="connsiteX16" fmla="*/ 3469027 w 4519987"/>
                  <a:gd name="connsiteY16" fmla="*/ 361950 h 4496940"/>
                  <a:gd name="connsiteX17" fmla="*/ 3516652 w 4519987"/>
                  <a:gd name="connsiteY17" fmla="*/ 390525 h 4496940"/>
                  <a:gd name="connsiteX18" fmla="*/ 3630952 w 4519987"/>
                  <a:gd name="connsiteY18" fmla="*/ 485775 h 4496940"/>
                  <a:gd name="connsiteX19" fmla="*/ 3745252 w 4519987"/>
                  <a:gd name="connsiteY19" fmla="*/ 542925 h 4496940"/>
                  <a:gd name="connsiteX20" fmla="*/ 3811927 w 4519987"/>
                  <a:gd name="connsiteY20" fmla="*/ 581025 h 4496940"/>
                  <a:gd name="connsiteX21" fmla="*/ 4027827 w 4519987"/>
                  <a:gd name="connsiteY21" fmla="*/ 819150 h 4496940"/>
                  <a:gd name="connsiteX22" fmla="*/ 4164352 w 4519987"/>
                  <a:gd name="connsiteY22" fmla="*/ 990600 h 4496940"/>
                  <a:gd name="connsiteX23" fmla="*/ 4250077 w 4519987"/>
                  <a:gd name="connsiteY23" fmla="*/ 1143000 h 4496940"/>
                  <a:gd name="connsiteX24" fmla="*/ 4307227 w 4519987"/>
                  <a:gd name="connsiteY24" fmla="*/ 1266825 h 4496940"/>
                  <a:gd name="connsiteX25" fmla="*/ 4345327 w 4519987"/>
                  <a:gd name="connsiteY25" fmla="*/ 1362075 h 4496940"/>
                  <a:gd name="connsiteX26" fmla="*/ 4392952 w 4519987"/>
                  <a:gd name="connsiteY26" fmla="*/ 1552575 h 4496940"/>
                  <a:gd name="connsiteX27" fmla="*/ 4431052 w 4519987"/>
                  <a:gd name="connsiteY27" fmla="*/ 1685925 h 4496940"/>
                  <a:gd name="connsiteX28" fmla="*/ 4519952 w 4519987"/>
                  <a:gd name="connsiteY28" fmla="*/ 2181225 h 4496940"/>
                  <a:gd name="connsiteX29" fmla="*/ 4446927 w 4519987"/>
                  <a:gd name="connsiteY29" fmla="*/ 2768600 h 4496940"/>
                  <a:gd name="connsiteX30" fmla="*/ 4383427 w 4519987"/>
                  <a:gd name="connsiteY30" fmla="*/ 2990850 h 4496940"/>
                  <a:gd name="connsiteX31" fmla="*/ 4278652 w 4519987"/>
                  <a:gd name="connsiteY31" fmla="*/ 3248025 h 4496940"/>
                  <a:gd name="connsiteX32" fmla="*/ 4183402 w 4519987"/>
                  <a:gd name="connsiteY32" fmla="*/ 3400425 h 4496940"/>
                  <a:gd name="connsiteX33" fmla="*/ 4059577 w 4519987"/>
                  <a:gd name="connsiteY33" fmla="*/ 3533775 h 4496940"/>
                  <a:gd name="connsiteX34" fmla="*/ 3954802 w 4519987"/>
                  <a:gd name="connsiteY34" fmla="*/ 3648075 h 4496940"/>
                  <a:gd name="connsiteX35" fmla="*/ 3659527 w 4519987"/>
                  <a:gd name="connsiteY35" fmla="*/ 3971925 h 4496940"/>
                  <a:gd name="connsiteX36" fmla="*/ 3516652 w 4519987"/>
                  <a:gd name="connsiteY36" fmla="*/ 4083050 h 4496940"/>
                  <a:gd name="connsiteX37" fmla="*/ 3221377 w 4519987"/>
                  <a:gd name="connsiteY37" fmla="*/ 4222750 h 4496940"/>
                  <a:gd name="connsiteX38" fmla="*/ 3068977 w 4519987"/>
                  <a:gd name="connsiteY38" fmla="*/ 4286250 h 4496940"/>
                  <a:gd name="connsiteX39" fmla="*/ 2935627 w 4519987"/>
                  <a:gd name="connsiteY39" fmla="*/ 4333875 h 4496940"/>
                  <a:gd name="connsiteX40" fmla="*/ 2811802 w 4519987"/>
                  <a:gd name="connsiteY40" fmla="*/ 4371975 h 4496940"/>
                  <a:gd name="connsiteX41" fmla="*/ 2745127 w 4519987"/>
                  <a:gd name="connsiteY41" fmla="*/ 4410075 h 4496940"/>
                  <a:gd name="connsiteX42" fmla="*/ 2640352 w 4519987"/>
                  <a:gd name="connsiteY42" fmla="*/ 4457700 h 4496940"/>
                  <a:gd name="connsiteX43" fmla="*/ 2583202 w 4519987"/>
                  <a:gd name="connsiteY43" fmla="*/ 4467225 h 4496940"/>
                  <a:gd name="connsiteX44" fmla="*/ 2545102 w 4519987"/>
                  <a:gd name="connsiteY44" fmla="*/ 4486275 h 4496940"/>
                  <a:gd name="connsiteX45" fmla="*/ 2306977 w 4519987"/>
                  <a:gd name="connsiteY45" fmla="*/ 4476750 h 4496940"/>
                  <a:gd name="connsiteX46" fmla="*/ 2202202 w 4519987"/>
                  <a:gd name="connsiteY46" fmla="*/ 4457700 h 4496940"/>
                  <a:gd name="connsiteX47" fmla="*/ 2126002 w 4519987"/>
                  <a:gd name="connsiteY47" fmla="*/ 4429125 h 4496940"/>
                  <a:gd name="connsiteX48" fmla="*/ 1935502 w 4519987"/>
                  <a:gd name="connsiteY48" fmla="*/ 4400550 h 4496940"/>
                  <a:gd name="connsiteX49" fmla="*/ 1821202 w 4519987"/>
                  <a:gd name="connsiteY49" fmla="*/ 4371975 h 4496940"/>
                  <a:gd name="connsiteX50" fmla="*/ 1754527 w 4519987"/>
                  <a:gd name="connsiteY50" fmla="*/ 4352925 h 4496940"/>
                  <a:gd name="connsiteX51" fmla="*/ 1687852 w 4519987"/>
                  <a:gd name="connsiteY51" fmla="*/ 4343400 h 4496940"/>
                  <a:gd name="connsiteX52" fmla="*/ 1573552 w 4519987"/>
                  <a:gd name="connsiteY52" fmla="*/ 4305300 h 4496940"/>
                  <a:gd name="connsiteX53" fmla="*/ 1402102 w 4519987"/>
                  <a:gd name="connsiteY53" fmla="*/ 4276725 h 4496940"/>
                  <a:gd name="connsiteX54" fmla="*/ 1287802 w 4519987"/>
                  <a:gd name="connsiteY54" fmla="*/ 4229100 h 4496940"/>
                  <a:gd name="connsiteX55" fmla="*/ 1221127 w 4519987"/>
                  <a:gd name="connsiteY55" fmla="*/ 4200525 h 4496940"/>
                  <a:gd name="connsiteX56" fmla="*/ 1144927 w 4519987"/>
                  <a:gd name="connsiteY56" fmla="*/ 4171950 h 4496940"/>
                  <a:gd name="connsiteX57" fmla="*/ 1087777 w 4519987"/>
                  <a:gd name="connsiteY57" fmla="*/ 4143375 h 4496940"/>
                  <a:gd name="connsiteX58" fmla="*/ 1030627 w 4519987"/>
                  <a:gd name="connsiteY58" fmla="*/ 4124325 h 4496940"/>
                  <a:gd name="connsiteX59" fmla="*/ 925852 w 4519987"/>
                  <a:gd name="connsiteY59" fmla="*/ 4067175 h 4496940"/>
                  <a:gd name="connsiteX60" fmla="*/ 830602 w 4519987"/>
                  <a:gd name="connsiteY60" fmla="*/ 3981450 h 4496940"/>
                  <a:gd name="connsiteX61" fmla="*/ 763927 w 4519987"/>
                  <a:gd name="connsiteY61" fmla="*/ 3914775 h 4496940"/>
                  <a:gd name="connsiteX62" fmla="*/ 725827 w 4519987"/>
                  <a:gd name="connsiteY62" fmla="*/ 3876675 h 4496940"/>
                  <a:gd name="connsiteX63" fmla="*/ 697252 w 4519987"/>
                  <a:gd name="connsiteY63" fmla="*/ 3838575 h 4496940"/>
                  <a:gd name="connsiteX64" fmla="*/ 640102 w 4519987"/>
                  <a:gd name="connsiteY64" fmla="*/ 3781425 h 4496940"/>
                  <a:gd name="connsiteX65" fmla="*/ 611527 w 4519987"/>
                  <a:gd name="connsiteY65" fmla="*/ 3733800 h 4496940"/>
                  <a:gd name="connsiteX66" fmla="*/ 554377 w 4519987"/>
                  <a:gd name="connsiteY66" fmla="*/ 3657600 h 4496940"/>
                  <a:gd name="connsiteX67" fmla="*/ 525802 w 4519987"/>
                  <a:gd name="connsiteY67" fmla="*/ 3609975 h 4496940"/>
                  <a:gd name="connsiteX68" fmla="*/ 497227 w 4519987"/>
                  <a:gd name="connsiteY68" fmla="*/ 3552825 h 4496940"/>
                  <a:gd name="connsiteX69" fmla="*/ 440077 w 4519987"/>
                  <a:gd name="connsiteY69" fmla="*/ 3495675 h 4496940"/>
                  <a:gd name="connsiteX70" fmla="*/ 411502 w 4519987"/>
                  <a:gd name="connsiteY70" fmla="*/ 3448050 h 4496940"/>
                  <a:gd name="connsiteX71" fmla="*/ 278152 w 4519987"/>
                  <a:gd name="connsiteY71" fmla="*/ 3257550 h 4496940"/>
                  <a:gd name="connsiteX72" fmla="*/ 249577 w 4519987"/>
                  <a:gd name="connsiteY72" fmla="*/ 3200400 h 4496940"/>
                  <a:gd name="connsiteX73" fmla="*/ 240052 w 4519987"/>
                  <a:gd name="connsiteY73" fmla="*/ 3162300 h 4496940"/>
                  <a:gd name="connsiteX74" fmla="*/ 221002 w 4519987"/>
                  <a:gd name="connsiteY74" fmla="*/ 3105150 h 4496940"/>
                  <a:gd name="connsiteX75" fmla="*/ 173377 w 4519987"/>
                  <a:gd name="connsiteY75" fmla="*/ 3019425 h 4496940"/>
                  <a:gd name="connsiteX76" fmla="*/ 144802 w 4519987"/>
                  <a:gd name="connsiteY76" fmla="*/ 2924175 h 4496940"/>
                  <a:gd name="connsiteX77" fmla="*/ 68602 w 4519987"/>
                  <a:gd name="connsiteY77" fmla="*/ 2724150 h 4496940"/>
                  <a:gd name="connsiteX78" fmla="*/ 49552 w 4519987"/>
                  <a:gd name="connsiteY78" fmla="*/ 2638425 h 4496940"/>
                  <a:gd name="connsiteX79" fmla="*/ 40027 w 4519987"/>
                  <a:gd name="connsiteY79" fmla="*/ 2562225 h 4496940"/>
                  <a:gd name="connsiteX80" fmla="*/ 30502 w 4519987"/>
                  <a:gd name="connsiteY80" fmla="*/ 2514600 h 4496940"/>
                  <a:gd name="connsiteX81" fmla="*/ 11452 w 4519987"/>
                  <a:gd name="connsiteY81" fmla="*/ 2400300 h 4496940"/>
                  <a:gd name="connsiteX82" fmla="*/ 20977 w 4519987"/>
                  <a:gd name="connsiteY82" fmla="*/ 1905000 h 4496940"/>
                  <a:gd name="connsiteX83" fmla="*/ 30502 w 4519987"/>
                  <a:gd name="connsiteY83" fmla="*/ 1838325 h 4496940"/>
                  <a:gd name="connsiteX84" fmla="*/ 49552 w 4519987"/>
                  <a:gd name="connsiteY84" fmla="*/ 1781175 h 4496940"/>
                  <a:gd name="connsiteX85" fmla="*/ 59077 w 4519987"/>
                  <a:gd name="connsiteY85" fmla="*/ 1743075 h 4496940"/>
                  <a:gd name="connsiteX86" fmla="*/ 78127 w 4519987"/>
                  <a:gd name="connsiteY86" fmla="*/ 1685925 h 4496940"/>
                  <a:gd name="connsiteX87" fmla="*/ 87652 w 4519987"/>
                  <a:gd name="connsiteY87" fmla="*/ 1638300 h 4496940"/>
                  <a:gd name="connsiteX88" fmla="*/ 106702 w 4519987"/>
                  <a:gd name="connsiteY88" fmla="*/ 1590675 h 4496940"/>
                  <a:gd name="connsiteX89" fmla="*/ 135277 w 4519987"/>
                  <a:gd name="connsiteY89" fmla="*/ 1504950 h 4496940"/>
                  <a:gd name="connsiteX90" fmla="*/ 154327 w 4519987"/>
                  <a:gd name="connsiteY90" fmla="*/ 1419225 h 4496940"/>
                  <a:gd name="connsiteX91" fmla="*/ 230527 w 4519987"/>
                  <a:gd name="connsiteY91" fmla="*/ 1276350 h 4496940"/>
                  <a:gd name="connsiteX92" fmla="*/ 240052 w 4519987"/>
                  <a:gd name="connsiteY92" fmla="*/ 1247775 h 4496940"/>
                  <a:gd name="connsiteX93" fmla="*/ 268627 w 4519987"/>
                  <a:gd name="connsiteY93" fmla="*/ 1200150 h 4496940"/>
                  <a:gd name="connsiteX94" fmla="*/ 287677 w 4519987"/>
                  <a:gd name="connsiteY94" fmla="*/ 1152525 h 4496940"/>
                  <a:gd name="connsiteX95" fmla="*/ 316252 w 4519987"/>
                  <a:gd name="connsiteY95" fmla="*/ 1114425 h 4496940"/>
                  <a:gd name="connsiteX96" fmla="*/ 363877 w 4519987"/>
                  <a:gd name="connsiteY96" fmla="*/ 1038225 h 4496940"/>
                  <a:gd name="connsiteX97" fmla="*/ 382927 w 4519987"/>
                  <a:gd name="connsiteY97" fmla="*/ 1009650 h 4496940"/>
                  <a:gd name="connsiteX98" fmla="*/ 440077 w 4519987"/>
                  <a:gd name="connsiteY98" fmla="*/ 904875 h 4496940"/>
                  <a:gd name="connsiteX99" fmla="*/ 478177 w 4519987"/>
                  <a:gd name="connsiteY99" fmla="*/ 857250 h 4496940"/>
                  <a:gd name="connsiteX100" fmla="*/ 497227 w 4519987"/>
                  <a:gd name="connsiteY100" fmla="*/ 828675 h 4496940"/>
                  <a:gd name="connsiteX101" fmla="*/ 535327 w 4519987"/>
                  <a:gd name="connsiteY101" fmla="*/ 800100 h 4496940"/>
                  <a:gd name="connsiteX102" fmla="*/ 602002 w 4519987"/>
                  <a:gd name="connsiteY102" fmla="*/ 733425 h 4496940"/>
                  <a:gd name="connsiteX103" fmla="*/ 668677 w 4519987"/>
                  <a:gd name="connsiteY103" fmla="*/ 676275 h 4496940"/>
                  <a:gd name="connsiteX104" fmla="*/ 697252 w 4519987"/>
                  <a:gd name="connsiteY104" fmla="*/ 657225 h 4496940"/>
                  <a:gd name="connsiteX105" fmla="*/ 840127 w 4519987"/>
                  <a:gd name="connsiteY105" fmla="*/ 533400 h 4496940"/>
                  <a:gd name="connsiteX106" fmla="*/ 887752 w 4519987"/>
                  <a:gd name="connsiteY106" fmla="*/ 504825 h 4496940"/>
                  <a:gd name="connsiteX107" fmla="*/ 1167152 w 4519987"/>
                  <a:gd name="connsiteY107" fmla="*/ 311150 h 4496940"/>
                  <a:gd name="connsiteX108" fmla="*/ 1268752 w 4519987"/>
                  <a:gd name="connsiteY108" fmla="*/ 285750 h 4496940"/>
                  <a:gd name="connsiteX109" fmla="*/ 1411627 w 4519987"/>
                  <a:gd name="connsiteY109" fmla="*/ 190500 h 4496940"/>
                  <a:gd name="connsiteX110" fmla="*/ 1449727 w 4519987"/>
                  <a:gd name="connsiteY110" fmla="*/ 161925 h 4496940"/>
                  <a:gd name="connsiteX111" fmla="*/ 1525927 w 4519987"/>
                  <a:gd name="connsiteY111" fmla="*/ 152400 h 4496940"/>
                  <a:gd name="connsiteX112" fmla="*/ 1583077 w 4519987"/>
                  <a:gd name="connsiteY112" fmla="*/ 142875 h 4496940"/>
                  <a:gd name="connsiteX113" fmla="*/ 1716427 w 4519987"/>
                  <a:gd name="connsiteY113" fmla="*/ 123825 h 4496940"/>
                  <a:gd name="connsiteX114" fmla="*/ 1811677 w 4519987"/>
                  <a:gd name="connsiteY114" fmla="*/ 114300 h 4496940"/>
                  <a:gd name="connsiteX115" fmla="*/ 1859302 w 4519987"/>
                  <a:gd name="connsiteY115" fmla="*/ 104775 h 4496940"/>
                  <a:gd name="connsiteX116" fmla="*/ 1916452 w 4519987"/>
                  <a:gd name="connsiteY116" fmla="*/ 95250 h 4496940"/>
                  <a:gd name="connsiteX117" fmla="*/ 2030752 w 4519987"/>
                  <a:gd name="connsiteY117" fmla="*/ 66675 h 4496940"/>
                  <a:gd name="connsiteX118" fmla="*/ 2097427 w 4519987"/>
                  <a:gd name="connsiteY118" fmla="*/ 47625 h 4496940"/>
                  <a:gd name="connsiteX119" fmla="*/ 2164102 w 4519987"/>
                  <a:gd name="connsiteY119" fmla="*/ 38100 h 4496940"/>
                  <a:gd name="connsiteX120" fmla="*/ 2392702 w 4519987"/>
                  <a:gd name="connsiteY120" fmla="*/ 28575 h 4496940"/>
                  <a:gd name="connsiteX0" fmla="*/ 2297452 w 4519987"/>
                  <a:gd name="connsiteY0" fmla="*/ 0 h 4487372"/>
                  <a:gd name="connsiteX1" fmla="*/ 2421277 w 4519987"/>
                  <a:gd name="connsiteY1" fmla="*/ 28575 h 4487372"/>
                  <a:gd name="connsiteX2" fmla="*/ 2497477 w 4519987"/>
                  <a:gd name="connsiteY2" fmla="*/ 47625 h 4487372"/>
                  <a:gd name="connsiteX3" fmla="*/ 2754652 w 4519987"/>
                  <a:gd name="connsiteY3" fmla="*/ 66675 h 4487372"/>
                  <a:gd name="connsiteX4" fmla="*/ 2830852 w 4519987"/>
                  <a:gd name="connsiteY4" fmla="*/ 76200 h 4487372"/>
                  <a:gd name="connsiteX5" fmla="*/ 2916577 w 4519987"/>
                  <a:gd name="connsiteY5" fmla="*/ 85725 h 4487372"/>
                  <a:gd name="connsiteX6" fmla="*/ 2973727 w 4519987"/>
                  <a:gd name="connsiteY6" fmla="*/ 114300 h 4487372"/>
                  <a:gd name="connsiteX7" fmla="*/ 3011827 w 4519987"/>
                  <a:gd name="connsiteY7" fmla="*/ 123825 h 4487372"/>
                  <a:gd name="connsiteX8" fmla="*/ 3135652 w 4519987"/>
                  <a:gd name="connsiteY8" fmla="*/ 171450 h 4487372"/>
                  <a:gd name="connsiteX9" fmla="*/ 3173752 w 4519987"/>
                  <a:gd name="connsiteY9" fmla="*/ 190500 h 4487372"/>
                  <a:gd name="connsiteX10" fmla="*/ 3240427 w 4519987"/>
                  <a:gd name="connsiteY10" fmla="*/ 228600 h 4487372"/>
                  <a:gd name="connsiteX11" fmla="*/ 3269002 w 4519987"/>
                  <a:gd name="connsiteY11" fmla="*/ 238125 h 4487372"/>
                  <a:gd name="connsiteX12" fmla="*/ 3297577 w 4519987"/>
                  <a:gd name="connsiteY12" fmla="*/ 257175 h 4487372"/>
                  <a:gd name="connsiteX13" fmla="*/ 3326152 w 4519987"/>
                  <a:gd name="connsiteY13" fmla="*/ 266700 h 4487372"/>
                  <a:gd name="connsiteX14" fmla="*/ 3354727 w 4519987"/>
                  <a:gd name="connsiteY14" fmla="*/ 285750 h 4487372"/>
                  <a:gd name="connsiteX15" fmla="*/ 3421402 w 4519987"/>
                  <a:gd name="connsiteY15" fmla="*/ 323850 h 4487372"/>
                  <a:gd name="connsiteX16" fmla="*/ 3469027 w 4519987"/>
                  <a:gd name="connsiteY16" fmla="*/ 361950 h 4487372"/>
                  <a:gd name="connsiteX17" fmla="*/ 3516652 w 4519987"/>
                  <a:gd name="connsiteY17" fmla="*/ 390525 h 4487372"/>
                  <a:gd name="connsiteX18" fmla="*/ 3630952 w 4519987"/>
                  <a:gd name="connsiteY18" fmla="*/ 485775 h 4487372"/>
                  <a:gd name="connsiteX19" fmla="*/ 3745252 w 4519987"/>
                  <a:gd name="connsiteY19" fmla="*/ 542925 h 4487372"/>
                  <a:gd name="connsiteX20" fmla="*/ 3811927 w 4519987"/>
                  <a:gd name="connsiteY20" fmla="*/ 581025 h 4487372"/>
                  <a:gd name="connsiteX21" fmla="*/ 4027827 w 4519987"/>
                  <a:gd name="connsiteY21" fmla="*/ 819150 h 4487372"/>
                  <a:gd name="connsiteX22" fmla="*/ 4164352 w 4519987"/>
                  <a:gd name="connsiteY22" fmla="*/ 990600 h 4487372"/>
                  <a:gd name="connsiteX23" fmla="*/ 4250077 w 4519987"/>
                  <a:gd name="connsiteY23" fmla="*/ 1143000 h 4487372"/>
                  <a:gd name="connsiteX24" fmla="*/ 4307227 w 4519987"/>
                  <a:gd name="connsiteY24" fmla="*/ 1266825 h 4487372"/>
                  <a:gd name="connsiteX25" fmla="*/ 4345327 w 4519987"/>
                  <a:gd name="connsiteY25" fmla="*/ 1362075 h 4487372"/>
                  <a:gd name="connsiteX26" fmla="*/ 4392952 w 4519987"/>
                  <a:gd name="connsiteY26" fmla="*/ 1552575 h 4487372"/>
                  <a:gd name="connsiteX27" fmla="*/ 4431052 w 4519987"/>
                  <a:gd name="connsiteY27" fmla="*/ 1685925 h 4487372"/>
                  <a:gd name="connsiteX28" fmla="*/ 4519952 w 4519987"/>
                  <a:gd name="connsiteY28" fmla="*/ 2181225 h 4487372"/>
                  <a:gd name="connsiteX29" fmla="*/ 4446927 w 4519987"/>
                  <a:gd name="connsiteY29" fmla="*/ 2768600 h 4487372"/>
                  <a:gd name="connsiteX30" fmla="*/ 4383427 w 4519987"/>
                  <a:gd name="connsiteY30" fmla="*/ 2990850 h 4487372"/>
                  <a:gd name="connsiteX31" fmla="*/ 4278652 w 4519987"/>
                  <a:gd name="connsiteY31" fmla="*/ 3248025 h 4487372"/>
                  <a:gd name="connsiteX32" fmla="*/ 4183402 w 4519987"/>
                  <a:gd name="connsiteY32" fmla="*/ 3400425 h 4487372"/>
                  <a:gd name="connsiteX33" fmla="*/ 4059577 w 4519987"/>
                  <a:gd name="connsiteY33" fmla="*/ 3533775 h 4487372"/>
                  <a:gd name="connsiteX34" fmla="*/ 3954802 w 4519987"/>
                  <a:gd name="connsiteY34" fmla="*/ 3648075 h 4487372"/>
                  <a:gd name="connsiteX35" fmla="*/ 3659527 w 4519987"/>
                  <a:gd name="connsiteY35" fmla="*/ 3971925 h 4487372"/>
                  <a:gd name="connsiteX36" fmla="*/ 3516652 w 4519987"/>
                  <a:gd name="connsiteY36" fmla="*/ 4083050 h 4487372"/>
                  <a:gd name="connsiteX37" fmla="*/ 3221377 w 4519987"/>
                  <a:gd name="connsiteY37" fmla="*/ 4222750 h 4487372"/>
                  <a:gd name="connsiteX38" fmla="*/ 3068977 w 4519987"/>
                  <a:gd name="connsiteY38" fmla="*/ 4286250 h 4487372"/>
                  <a:gd name="connsiteX39" fmla="*/ 2935627 w 4519987"/>
                  <a:gd name="connsiteY39" fmla="*/ 4333875 h 4487372"/>
                  <a:gd name="connsiteX40" fmla="*/ 2811802 w 4519987"/>
                  <a:gd name="connsiteY40" fmla="*/ 4371975 h 4487372"/>
                  <a:gd name="connsiteX41" fmla="*/ 2745127 w 4519987"/>
                  <a:gd name="connsiteY41" fmla="*/ 4410075 h 4487372"/>
                  <a:gd name="connsiteX42" fmla="*/ 2640352 w 4519987"/>
                  <a:gd name="connsiteY42" fmla="*/ 4457700 h 4487372"/>
                  <a:gd name="connsiteX43" fmla="*/ 2545102 w 4519987"/>
                  <a:gd name="connsiteY43" fmla="*/ 4486275 h 4487372"/>
                  <a:gd name="connsiteX44" fmla="*/ 2306977 w 4519987"/>
                  <a:gd name="connsiteY44" fmla="*/ 4476750 h 4487372"/>
                  <a:gd name="connsiteX45" fmla="*/ 2202202 w 4519987"/>
                  <a:gd name="connsiteY45" fmla="*/ 4457700 h 4487372"/>
                  <a:gd name="connsiteX46" fmla="*/ 2126002 w 4519987"/>
                  <a:gd name="connsiteY46" fmla="*/ 4429125 h 4487372"/>
                  <a:gd name="connsiteX47" fmla="*/ 1935502 w 4519987"/>
                  <a:gd name="connsiteY47" fmla="*/ 4400550 h 4487372"/>
                  <a:gd name="connsiteX48" fmla="*/ 1821202 w 4519987"/>
                  <a:gd name="connsiteY48" fmla="*/ 4371975 h 4487372"/>
                  <a:gd name="connsiteX49" fmla="*/ 1754527 w 4519987"/>
                  <a:gd name="connsiteY49" fmla="*/ 4352925 h 4487372"/>
                  <a:gd name="connsiteX50" fmla="*/ 1687852 w 4519987"/>
                  <a:gd name="connsiteY50" fmla="*/ 4343400 h 4487372"/>
                  <a:gd name="connsiteX51" fmla="*/ 1573552 w 4519987"/>
                  <a:gd name="connsiteY51" fmla="*/ 4305300 h 4487372"/>
                  <a:gd name="connsiteX52" fmla="*/ 1402102 w 4519987"/>
                  <a:gd name="connsiteY52" fmla="*/ 4276725 h 4487372"/>
                  <a:gd name="connsiteX53" fmla="*/ 1287802 w 4519987"/>
                  <a:gd name="connsiteY53" fmla="*/ 4229100 h 4487372"/>
                  <a:gd name="connsiteX54" fmla="*/ 1221127 w 4519987"/>
                  <a:gd name="connsiteY54" fmla="*/ 4200525 h 4487372"/>
                  <a:gd name="connsiteX55" fmla="*/ 1144927 w 4519987"/>
                  <a:gd name="connsiteY55" fmla="*/ 4171950 h 4487372"/>
                  <a:gd name="connsiteX56" fmla="*/ 1087777 w 4519987"/>
                  <a:gd name="connsiteY56" fmla="*/ 4143375 h 4487372"/>
                  <a:gd name="connsiteX57" fmla="*/ 1030627 w 4519987"/>
                  <a:gd name="connsiteY57" fmla="*/ 4124325 h 4487372"/>
                  <a:gd name="connsiteX58" fmla="*/ 925852 w 4519987"/>
                  <a:gd name="connsiteY58" fmla="*/ 4067175 h 4487372"/>
                  <a:gd name="connsiteX59" fmla="*/ 830602 w 4519987"/>
                  <a:gd name="connsiteY59" fmla="*/ 3981450 h 4487372"/>
                  <a:gd name="connsiteX60" fmla="*/ 763927 w 4519987"/>
                  <a:gd name="connsiteY60" fmla="*/ 3914775 h 4487372"/>
                  <a:gd name="connsiteX61" fmla="*/ 725827 w 4519987"/>
                  <a:gd name="connsiteY61" fmla="*/ 3876675 h 4487372"/>
                  <a:gd name="connsiteX62" fmla="*/ 697252 w 4519987"/>
                  <a:gd name="connsiteY62" fmla="*/ 3838575 h 4487372"/>
                  <a:gd name="connsiteX63" fmla="*/ 640102 w 4519987"/>
                  <a:gd name="connsiteY63" fmla="*/ 3781425 h 4487372"/>
                  <a:gd name="connsiteX64" fmla="*/ 611527 w 4519987"/>
                  <a:gd name="connsiteY64" fmla="*/ 3733800 h 4487372"/>
                  <a:gd name="connsiteX65" fmla="*/ 554377 w 4519987"/>
                  <a:gd name="connsiteY65" fmla="*/ 3657600 h 4487372"/>
                  <a:gd name="connsiteX66" fmla="*/ 525802 w 4519987"/>
                  <a:gd name="connsiteY66" fmla="*/ 3609975 h 4487372"/>
                  <a:gd name="connsiteX67" fmla="*/ 497227 w 4519987"/>
                  <a:gd name="connsiteY67" fmla="*/ 3552825 h 4487372"/>
                  <a:gd name="connsiteX68" fmla="*/ 440077 w 4519987"/>
                  <a:gd name="connsiteY68" fmla="*/ 3495675 h 4487372"/>
                  <a:gd name="connsiteX69" fmla="*/ 411502 w 4519987"/>
                  <a:gd name="connsiteY69" fmla="*/ 3448050 h 4487372"/>
                  <a:gd name="connsiteX70" fmla="*/ 278152 w 4519987"/>
                  <a:gd name="connsiteY70" fmla="*/ 3257550 h 4487372"/>
                  <a:gd name="connsiteX71" fmla="*/ 249577 w 4519987"/>
                  <a:gd name="connsiteY71" fmla="*/ 3200400 h 4487372"/>
                  <a:gd name="connsiteX72" fmla="*/ 240052 w 4519987"/>
                  <a:gd name="connsiteY72" fmla="*/ 3162300 h 4487372"/>
                  <a:gd name="connsiteX73" fmla="*/ 221002 w 4519987"/>
                  <a:gd name="connsiteY73" fmla="*/ 3105150 h 4487372"/>
                  <a:gd name="connsiteX74" fmla="*/ 173377 w 4519987"/>
                  <a:gd name="connsiteY74" fmla="*/ 3019425 h 4487372"/>
                  <a:gd name="connsiteX75" fmla="*/ 144802 w 4519987"/>
                  <a:gd name="connsiteY75" fmla="*/ 2924175 h 4487372"/>
                  <a:gd name="connsiteX76" fmla="*/ 68602 w 4519987"/>
                  <a:gd name="connsiteY76" fmla="*/ 2724150 h 4487372"/>
                  <a:gd name="connsiteX77" fmla="*/ 49552 w 4519987"/>
                  <a:gd name="connsiteY77" fmla="*/ 2638425 h 4487372"/>
                  <a:gd name="connsiteX78" fmla="*/ 40027 w 4519987"/>
                  <a:gd name="connsiteY78" fmla="*/ 2562225 h 4487372"/>
                  <a:gd name="connsiteX79" fmla="*/ 30502 w 4519987"/>
                  <a:gd name="connsiteY79" fmla="*/ 2514600 h 4487372"/>
                  <a:gd name="connsiteX80" fmla="*/ 11452 w 4519987"/>
                  <a:gd name="connsiteY80" fmla="*/ 2400300 h 4487372"/>
                  <a:gd name="connsiteX81" fmla="*/ 20977 w 4519987"/>
                  <a:gd name="connsiteY81" fmla="*/ 1905000 h 4487372"/>
                  <a:gd name="connsiteX82" fmla="*/ 30502 w 4519987"/>
                  <a:gd name="connsiteY82" fmla="*/ 1838325 h 4487372"/>
                  <a:gd name="connsiteX83" fmla="*/ 49552 w 4519987"/>
                  <a:gd name="connsiteY83" fmla="*/ 1781175 h 4487372"/>
                  <a:gd name="connsiteX84" fmla="*/ 59077 w 4519987"/>
                  <a:gd name="connsiteY84" fmla="*/ 1743075 h 4487372"/>
                  <a:gd name="connsiteX85" fmla="*/ 78127 w 4519987"/>
                  <a:gd name="connsiteY85" fmla="*/ 1685925 h 4487372"/>
                  <a:gd name="connsiteX86" fmla="*/ 87652 w 4519987"/>
                  <a:gd name="connsiteY86" fmla="*/ 1638300 h 4487372"/>
                  <a:gd name="connsiteX87" fmla="*/ 106702 w 4519987"/>
                  <a:gd name="connsiteY87" fmla="*/ 1590675 h 4487372"/>
                  <a:gd name="connsiteX88" fmla="*/ 135277 w 4519987"/>
                  <a:gd name="connsiteY88" fmla="*/ 1504950 h 4487372"/>
                  <a:gd name="connsiteX89" fmla="*/ 154327 w 4519987"/>
                  <a:gd name="connsiteY89" fmla="*/ 1419225 h 4487372"/>
                  <a:gd name="connsiteX90" fmla="*/ 230527 w 4519987"/>
                  <a:gd name="connsiteY90" fmla="*/ 1276350 h 4487372"/>
                  <a:gd name="connsiteX91" fmla="*/ 240052 w 4519987"/>
                  <a:gd name="connsiteY91" fmla="*/ 1247775 h 4487372"/>
                  <a:gd name="connsiteX92" fmla="*/ 268627 w 4519987"/>
                  <a:gd name="connsiteY92" fmla="*/ 1200150 h 4487372"/>
                  <a:gd name="connsiteX93" fmla="*/ 287677 w 4519987"/>
                  <a:gd name="connsiteY93" fmla="*/ 1152525 h 4487372"/>
                  <a:gd name="connsiteX94" fmla="*/ 316252 w 4519987"/>
                  <a:gd name="connsiteY94" fmla="*/ 1114425 h 4487372"/>
                  <a:gd name="connsiteX95" fmla="*/ 363877 w 4519987"/>
                  <a:gd name="connsiteY95" fmla="*/ 1038225 h 4487372"/>
                  <a:gd name="connsiteX96" fmla="*/ 382927 w 4519987"/>
                  <a:gd name="connsiteY96" fmla="*/ 1009650 h 4487372"/>
                  <a:gd name="connsiteX97" fmla="*/ 440077 w 4519987"/>
                  <a:gd name="connsiteY97" fmla="*/ 904875 h 4487372"/>
                  <a:gd name="connsiteX98" fmla="*/ 478177 w 4519987"/>
                  <a:gd name="connsiteY98" fmla="*/ 857250 h 4487372"/>
                  <a:gd name="connsiteX99" fmla="*/ 497227 w 4519987"/>
                  <a:gd name="connsiteY99" fmla="*/ 828675 h 4487372"/>
                  <a:gd name="connsiteX100" fmla="*/ 535327 w 4519987"/>
                  <a:gd name="connsiteY100" fmla="*/ 800100 h 4487372"/>
                  <a:gd name="connsiteX101" fmla="*/ 602002 w 4519987"/>
                  <a:gd name="connsiteY101" fmla="*/ 733425 h 4487372"/>
                  <a:gd name="connsiteX102" fmla="*/ 668677 w 4519987"/>
                  <a:gd name="connsiteY102" fmla="*/ 676275 h 4487372"/>
                  <a:gd name="connsiteX103" fmla="*/ 697252 w 4519987"/>
                  <a:gd name="connsiteY103" fmla="*/ 657225 h 4487372"/>
                  <a:gd name="connsiteX104" fmla="*/ 840127 w 4519987"/>
                  <a:gd name="connsiteY104" fmla="*/ 533400 h 4487372"/>
                  <a:gd name="connsiteX105" fmla="*/ 887752 w 4519987"/>
                  <a:gd name="connsiteY105" fmla="*/ 504825 h 4487372"/>
                  <a:gd name="connsiteX106" fmla="*/ 1167152 w 4519987"/>
                  <a:gd name="connsiteY106" fmla="*/ 311150 h 4487372"/>
                  <a:gd name="connsiteX107" fmla="*/ 1268752 w 4519987"/>
                  <a:gd name="connsiteY107" fmla="*/ 285750 h 4487372"/>
                  <a:gd name="connsiteX108" fmla="*/ 1411627 w 4519987"/>
                  <a:gd name="connsiteY108" fmla="*/ 190500 h 4487372"/>
                  <a:gd name="connsiteX109" fmla="*/ 1449727 w 4519987"/>
                  <a:gd name="connsiteY109" fmla="*/ 161925 h 4487372"/>
                  <a:gd name="connsiteX110" fmla="*/ 1525927 w 4519987"/>
                  <a:gd name="connsiteY110" fmla="*/ 152400 h 4487372"/>
                  <a:gd name="connsiteX111" fmla="*/ 1583077 w 4519987"/>
                  <a:gd name="connsiteY111" fmla="*/ 142875 h 4487372"/>
                  <a:gd name="connsiteX112" fmla="*/ 1716427 w 4519987"/>
                  <a:gd name="connsiteY112" fmla="*/ 123825 h 4487372"/>
                  <a:gd name="connsiteX113" fmla="*/ 1811677 w 4519987"/>
                  <a:gd name="connsiteY113" fmla="*/ 114300 h 4487372"/>
                  <a:gd name="connsiteX114" fmla="*/ 1859302 w 4519987"/>
                  <a:gd name="connsiteY114" fmla="*/ 104775 h 4487372"/>
                  <a:gd name="connsiteX115" fmla="*/ 1916452 w 4519987"/>
                  <a:gd name="connsiteY115" fmla="*/ 95250 h 4487372"/>
                  <a:gd name="connsiteX116" fmla="*/ 2030752 w 4519987"/>
                  <a:gd name="connsiteY116" fmla="*/ 66675 h 4487372"/>
                  <a:gd name="connsiteX117" fmla="*/ 2097427 w 4519987"/>
                  <a:gd name="connsiteY117" fmla="*/ 47625 h 4487372"/>
                  <a:gd name="connsiteX118" fmla="*/ 2164102 w 4519987"/>
                  <a:gd name="connsiteY118" fmla="*/ 38100 h 4487372"/>
                  <a:gd name="connsiteX119" fmla="*/ 2392702 w 4519987"/>
                  <a:gd name="connsiteY119" fmla="*/ 28575 h 4487372"/>
                  <a:gd name="connsiteX0" fmla="*/ 2297452 w 4519987"/>
                  <a:gd name="connsiteY0" fmla="*/ 0 h 4476750"/>
                  <a:gd name="connsiteX1" fmla="*/ 2421277 w 4519987"/>
                  <a:gd name="connsiteY1" fmla="*/ 28575 h 4476750"/>
                  <a:gd name="connsiteX2" fmla="*/ 2497477 w 4519987"/>
                  <a:gd name="connsiteY2" fmla="*/ 47625 h 4476750"/>
                  <a:gd name="connsiteX3" fmla="*/ 2754652 w 4519987"/>
                  <a:gd name="connsiteY3" fmla="*/ 66675 h 4476750"/>
                  <a:gd name="connsiteX4" fmla="*/ 2830852 w 4519987"/>
                  <a:gd name="connsiteY4" fmla="*/ 76200 h 4476750"/>
                  <a:gd name="connsiteX5" fmla="*/ 2916577 w 4519987"/>
                  <a:gd name="connsiteY5" fmla="*/ 85725 h 4476750"/>
                  <a:gd name="connsiteX6" fmla="*/ 2973727 w 4519987"/>
                  <a:gd name="connsiteY6" fmla="*/ 114300 h 4476750"/>
                  <a:gd name="connsiteX7" fmla="*/ 3011827 w 4519987"/>
                  <a:gd name="connsiteY7" fmla="*/ 123825 h 4476750"/>
                  <a:gd name="connsiteX8" fmla="*/ 3135652 w 4519987"/>
                  <a:gd name="connsiteY8" fmla="*/ 171450 h 4476750"/>
                  <a:gd name="connsiteX9" fmla="*/ 3173752 w 4519987"/>
                  <a:gd name="connsiteY9" fmla="*/ 190500 h 4476750"/>
                  <a:gd name="connsiteX10" fmla="*/ 3240427 w 4519987"/>
                  <a:gd name="connsiteY10" fmla="*/ 228600 h 4476750"/>
                  <a:gd name="connsiteX11" fmla="*/ 3269002 w 4519987"/>
                  <a:gd name="connsiteY11" fmla="*/ 238125 h 4476750"/>
                  <a:gd name="connsiteX12" fmla="*/ 3297577 w 4519987"/>
                  <a:gd name="connsiteY12" fmla="*/ 257175 h 4476750"/>
                  <a:gd name="connsiteX13" fmla="*/ 3326152 w 4519987"/>
                  <a:gd name="connsiteY13" fmla="*/ 266700 h 4476750"/>
                  <a:gd name="connsiteX14" fmla="*/ 3354727 w 4519987"/>
                  <a:gd name="connsiteY14" fmla="*/ 285750 h 4476750"/>
                  <a:gd name="connsiteX15" fmla="*/ 3421402 w 4519987"/>
                  <a:gd name="connsiteY15" fmla="*/ 323850 h 4476750"/>
                  <a:gd name="connsiteX16" fmla="*/ 3469027 w 4519987"/>
                  <a:gd name="connsiteY16" fmla="*/ 361950 h 4476750"/>
                  <a:gd name="connsiteX17" fmla="*/ 3516652 w 4519987"/>
                  <a:gd name="connsiteY17" fmla="*/ 390525 h 4476750"/>
                  <a:gd name="connsiteX18" fmla="*/ 3630952 w 4519987"/>
                  <a:gd name="connsiteY18" fmla="*/ 485775 h 4476750"/>
                  <a:gd name="connsiteX19" fmla="*/ 3745252 w 4519987"/>
                  <a:gd name="connsiteY19" fmla="*/ 542925 h 4476750"/>
                  <a:gd name="connsiteX20" fmla="*/ 3811927 w 4519987"/>
                  <a:gd name="connsiteY20" fmla="*/ 581025 h 4476750"/>
                  <a:gd name="connsiteX21" fmla="*/ 4027827 w 4519987"/>
                  <a:gd name="connsiteY21" fmla="*/ 819150 h 4476750"/>
                  <a:gd name="connsiteX22" fmla="*/ 4164352 w 4519987"/>
                  <a:gd name="connsiteY22" fmla="*/ 990600 h 4476750"/>
                  <a:gd name="connsiteX23" fmla="*/ 4250077 w 4519987"/>
                  <a:gd name="connsiteY23" fmla="*/ 1143000 h 4476750"/>
                  <a:gd name="connsiteX24" fmla="*/ 4307227 w 4519987"/>
                  <a:gd name="connsiteY24" fmla="*/ 1266825 h 4476750"/>
                  <a:gd name="connsiteX25" fmla="*/ 4345327 w 4519987"/>
                  <a:gd name="connsiteY25" fmla="*/ 1362075 h 4476750"/>
                  <a:gd name="connsiteX26" fmla="*/ 4392952 w 4519987"/>
                  <a:gd name="connsiteY26" fmla="*/ 1552575 h 4476750"/>
                  <a:gd name="connsiteX27" fmla="*/ 4431052 w 4519987"/>
                  <a:gd name="connsiteY27" fmla="*/ 1685925 h 4476750"/>
                  <a:gd name="connsiteX28" fmla="*/ 4519952 w 4519987"/>
                  <a:gd name="connsiteY28" fmla="*/ 2181225 h 4476750"/>
                  <a:gd name="connsiteX29" fmla="*/ 4446927 w 4519987"/>
                  <a:gd name="connsiteY29" fmla="*/ 2768600 h 4476750"/>
                  <a:gd name="connsiteX30" fmla="*/ 4383427 w 4519987"/>
                  <a:gd name="connsiteY30" fmla="*/ 2990850 h 4476750"/>
                  <a:gd name="connsiteX31" fmla="*/ 4278652 w 4519987"/>
                  <a:gd name="connsiteY31" fmla="*/ 3248025 h 4476750"/>
                  <a:gd name="connsiteX32" fmla="*/ 4183402 w 4519987"/>
                  <a:gd name="connsiteY32" fmla="*/ 3400425 h 4476750"/>
                  <a:gd name="connsiteX33" fmla="*/ 4059577 w 4519987"/>
                  <a:gd name="connsiteY33" fmla="*/ 3533775 h 4476750"/>
                  <a:gd name="connsiteX34" fmla="*/ 3954802 w 4519987"/>
                  <a:gd name="connsiteY34" fmla="*/ 3648075 h 4476750"/>
                  <a:gd name="connsiteX35" fmla="*/ 3659527 w 4519987"/>
                  <a:gd name="connsiteY35" fmla="*/ 3971925 h 4476750"/>
                  <a:gd name="connsiteX36" fmla="*/ 3516652 w 4519987"/>
                  <a:gd name="connsiteY36" fmla="*/ 4083050 h 4476750"/>
                  <a:gd name="connsiteX37" fmla="*/ 3221377 w 4519987"/>
                  <a:gd name="connsiteY37" fmla="*/ 4222750 h 4476750"/>
                  <a:gd name="connsiteX38" fmla="*/ 3068977 w 4519987"/>
                  <a:gd name="connsiteY38" fmla="*/ 4286250 h 4476750"/>
                  <a:gd name="connsiteX39" fmla="*/ 2935627 w 4519987"/>
                  <a:gd name="connsiteY39" fmla="*/ 4333875 h 4476750"/>
                  <a:gd name="connsiteX40" fmla="*/ 2811802 w 4519987"/>
                  <a:gd name="connsiteY40" fmla="*/ 4371975 h 4476750"/>
                  <a:gd name="connsiteX41" fmla="*/ 2745127 w 4519987"/>
                  <a:gd name="connsiteY41" fmla="*/ 4410075 h 4476750"/>
                  <a:gd name="connsiteX42" fmla="*/ 2640352 w 4519987"/>
                  <a:gd name="connsiteY42" fmla="*/ 4457700 h 4476750"/>
                  <a:gd name="connsiteX43" fmla="*/ 2306977 w 4519987"/>
                  <a:gd name="connsiteY43" fmla="*/ 4476750 h 4476750"/>
                  <a:gd name="connsiteX44" fmla="*/ 2202202 w 4519987"/>
                  <a:gd name="connsiteY44" fmla="*/ 4457700 h 4476750"/>
                  <a:gd name="connsiteX45" fmla="*/ 2126002 w 4519987"/>
                  <a:gd name="connsiteY45" fmla="*/ 4429125 h 4476750"/>
                  <a:gd name="connsiteX46" fmla="*/ 1935502 w 4519987"/>
                  <a:gd name="connsiteY46" fmla="*/ 4400550 h 4476750"/>
                  <a:gd name="connsiteX47" fmla="*/ 1821202 w 4519987"/>
                  <a:gd name="connsiteY47" fmla="*/ 4371975 h 4476750"/>
                  <a:gd name="connsiteX48" fmla="*/ 1754527 w 4519987"/>
                  <a:gd name="connsiteY48" fmla="*/ 4352925 h 4476750"/>
                  <a:gd name="connsiteX49" fmla="*/ 1687852 w 4519987"/>
                  <a:gd name="connsiteY49" fmla="*/ 4343400 h 4476750"/>
                  <a:gd name="connsiteX50" fmla="*/ 1573552 w 4519987"/>
                  <a:gd name="connsiteY50" fmla="*/ 4305300 h 4476750"/>
                  <a:gd name="connsiteX51" fmla="*/ 1402102 w 4519987"/>
                  <a:gd name="connsiteY51" fmla="*/ 4276725 h 4476750"/>
                  <a:gd name="connsiteX52" fmla="*/ 1287802 w 4519987"/>
                  <a:gd name="connsiteY52" fmla="*/ 4229100 h 4476750"/>
                  <a:gd name="connsiteX53" fmla="*/ 1221127 w 4519987"/>
                  <a:gd name="connsiteY53" fmla="*/ 4200525 h 4476750"/>
                  <a:gd name="connsiteX54" fmla="*/ 1144927 w 4519987"/>
                  <a:gd name="connsiteY54" fmla="*/ 4171950 h 4476750"/>
                  <a:gd name="connsiteX55" fmla="*/ 1087777 w 4519987"/>
                  <a:gd name="connsiteY55" fmla="*/ 4143375 h 4476750"/>
                  <a:gd name="connsiteX56" fmla="*/ 1030627 w 4519987"/>
                  <a:gd name="connsiteY56" fmla="*/ 4124325 h 4476750"/>
                  <a:gd name="connsiteX57" fmla="*/ 925852 w 4519987"/>
                  <a:gd name="connsiteY57" fmla="*/ 4067175 h 4476750"/>
                  <a:gd name="connsiteX58" fmla="*/ 830602 w 4519987"/>
                  <a:gd name="connsiteY58" fmla="*/ 3981450 h 4476750"/>
                  <a:gd name="connsiteX59" fmla="*/ 763927 w 4519987"/>
                  <a:gd name="connsiteY59" fmla="*/ 3914775 h 4476750"/>
                  <a:gd name="connsiteX60" fmla="*/ 725827 w 4519987"/>
                  <a:gd name="connsiteY60" fmla="*/ 3876675 h 4476750"/>
                  <a:gd name="connsiteX61" fmla="*/ 697252 w 4519987"/>
                  <a:gd name="connsiteY61" fmla="*/ 3838575 h 4476750"/>
                  <a:gd name="connsiteX62" fmla="*/ 640102 w 4519987"/>
                  <a:gd name="connsiteY62" fmla="*/ 3781425 h 4476750"/>
                  <a:gd name="connsiteX63" fmla="*/ 611527 w 4519987"/>
                  <a:gd name="connsiteY63" fmla="*/ 3733800 h 4476750"/>
                  <a:gd name="connsiteX64" fmla="*/ 554377 w 4519987"/>
                  <a:gd name="connsiteY64" fmla="*/ 3657600 h 4476750"/>
                  <a:gd name="connsiteX65" fmla="*/ 525802 w 4519987"/>
                  <a:gd name="connsiteY65" fmla="*/ 3609975 h 4476750"/>
                  <a:gd name="connsiteX66" fmla="*/ 497227 w 4519987"/>
                  <a:gd name="connsiteY66" fmla="*/ 3552825 h 4476750"/>
                  <a:gd name="connsiteX67" fmla="*/ 440077 w 4519987"/>
                  <a:gd name="connsiteY67" fmla="*/ 3495675 h 4476750"/>
                  <a:gd name="connsiteX68" fmla="*/ 411502 w 4519987"/>
                  <a:gd name="connsiteY68" fmla="*/ 3448050 h 4476750"/>
                  <a:gd name="connsiteX69" fmla="*/ 278152 w 4519987"/>
                  <a:gd name="connsiteY69" fmla="*/ 3257550 h 4476750"/>
                  <a:gd name="connsiteX70" fmla="*/ 249577 w 4519987"/>
                  <a:gd name="connsiteY70" fmla="*/ 3200400 h 4476750"/>
                  <a:gd name="connsiteX71" fmla="*/ 240052 w 4519987"/>
                  <a:gd name="connsiteY71" fmla="*/ 3162300 h 4476750"/>
                  <a:gd name="connsiteX72" fmla="*/ 221002 w 4519987"/>
                  <a:gd name="connsiteY72" fmla="*/ 3105150 h 4476750"/>
                  <a:gd name="connsiteX73" fmla="*/ 173377 w 4519987"/>
                  <a:gd name="connsiteY73" fmla="*/ 3019425 h 4476750"/>
                  <a:gd name="connsiteX74" fmla="*/ 144802 w 4519987"/>
                  <a:gd name="connsiteY74" fmla="*/ 2924175 h 4476750"/>
                  <a:gd name="connsiteX75" fmla="*/ 68602 w 4519987"/>
                  <a:gd name="connsiteY75" fmla="*/ 2724150 h 4476750"/>
                  <a:gd name="connsiteX76" fmla="*/ 49552 w 4519987"/>
                  <a:gd name="connsiteY76" fmla="*/ 2638425 h 4476750"/>
                  <a:gd name="connsiteX77" fmla="*/ 40027 w 4519987"/>
                  <a:gd name="connsiteY77" fmla="*/ 2562225 h 4476750"/>
                  <a:gd name="connsiteX78" fmla="*/ 30502 w 4519987"/>
                  <a:gd name="connsiteY78" fmla="*/ 2514600 h 4476750"/>
                  <a:gd name="connsiteX79" fmla="*/ 11452 w 4519987"/>
                  <a:gd name="connsiteY79" fmla="*/ 2400300 h 4476750"/>
                  <a:gd name="connsiteX80" fmla="*/ 20977 w 4519987"/>
                  <a:gd name="connsiteY80" fmla="*/ 1905000 h 4476750"/>
                  <a:gd name="connsiteX81" fmla="*/ 30502 w 4519987"/>
                  <a:gd name="connsiteY81" fmla="*/ 1838325 h 4476750"/>
                  <a:gd name="connsiteX82" fmla="*/ 49552 w 4519987"/>
                  <a:gd name="connsiteY82" fmla="*/ 1781175 h 4476750"/>
                  <a:gd name="connsiteX83" fmla="*/ 59077 w 4519987"/>
                  <a:gd name="connsiteY83" fmla="*/ 1743075 h 4476750"/>
                  <a:gd name="connsiteX84" fmla="*/ 78127 w 4519987"/>
                  <a:gd name="connsiteY84" fmla="*/ 1685925 h 4476750"/>
                  <a:gd name="connsiteX85" fmla="*/ 87652 w 4519987"/>
                  <a:gd name="connsiteY85" fmla="*/ 1638300 h 4476750"/>
                  <a:gd name="connsiteX86" fmla="*/ 106702 w 4519987"/>
                  <a:gd name="connsiteY86" fmla="*/ 1590675 h 4476750"/>
                  <a:gd name="connsiteX87" fmla="*/ 135277 w 4519987"/>
                  <a:gd name="connsiteY87" fmla="*/ 1504950 h 4476750"/>
                  <a:gd name="connsiteX88" fmla="*/ 154327 w 4519987"/>
                  <a:gd name="connsiteY88" fmla="*/ 1419225 h 4476750"/>
                  <a:gd name="connsiteX89" fmla="*/ 230527 w 4519987"/>
                  <a:gd name="connsiteY89" fmla="*/ 1276350 h 4476750"/>
                  <a:gd name="connsiteX90" fmla="*/ 240052 w 4519987"/>
                  <a:gd name="connsiteY90" fmla="*/ 1247775 h 4476750"/>
                  <a:gd name="connsiteX91" fmla="*/ 268627 w 4519987"/>
                  <a:gd name="connsiteY91" fmla="*/ 1200150 h 4476750"/>
                  <a:gd name="connsiteX92" fmla="*/ 287677 w 4519987"/>
                  <a:gd name="connsiteY92" fmla="*/ 1152525 h 4476750"/>
                  <a:gd name="connsiteX93" fmla="*/ 316252 w 4519987"/>
                  <a:gd name="connsiteY93" fmla="*/ 1114425 h 4476750"/>
                  <a:gd name="connsiteX94" fmla="*/ 363877 w 4519987"/>
                  <a:gd name="connsiteY94" fmla="*/ 1038225 h 4476750"/>
                  <a:gd name="connsiteX95" fmla="*/ 382927 w 4519987"/>
                  <a:gd name="connsiteY95" fmla="*/ 1009650 h 4476750"/>
                  <a:gd name="connsiteX96" fmla="*/ 440077 w 4519987"/>
                  <a:gd name="connsiteY96" fmla="*/ 904875 h 4476750"/>
                  <a:gd name="connsiteX97" fmla="*/ 478177 w 4519987"/>
                  <a:gd name="connsiteY97" fmla="*/ 857250 h 4476750"/>
                  <a:gd name="connsiteX98" fmla="*/ 497227 w 4519987"/>
                  <a:gd name="connsiteY98" fmla="*/ 828675 h 4476750"/>
                  <a:gd name="connsiteX99" fmla="*/ 535327 w 4519987"/>
                  <a:gd name="connsiteY99" fmla="*/ 800100 h 4476750"/>
                  <a:gd name="connsiteX100" fmla="*/ 602002 w 4519987"/>
                  <a:gd name="connsiteY100" fmla="*/ 733425 h 4476750"/>
                  <a:gd name="connsiteX101" fmla="*/ 668677 w 4519987"/>
                  <a:gd name="connsiteY101" fmla="*/ 676275 h 4476750"/>
                  <a:gd name="connsiteX102" fmla="*/ 697252 w 4519987"/>
                  <a:gd name="connsiteY102" fmla="*/ 657225 h 4476750"/>
                  <a:gd name="connsiteX103" fmla="*/ 840127 w 4519987"/>
                  <a:gd name="connsiteY103" fmla="*/ 533400 h 4476750"/>
                  <a:gd name="connsiteX104" fmla="*/ 887752 w 4519987"/>
                  <a:gd name="connsiteY104" fmla="*/ 504825 h 4476750"/>
                  <a:gd name="connsiteX105" fmla="*/ 1167152 w 4519987"/>
                  <a:gd name="connsiteY105" fmla="*/ 311150 h 4476750"/>
                  <a:gd name="connsiteX106" fmla="*/ 1268752 w 4519987"/>
                  <a:gd name="connsiteY106" fmla="*/ 285750 h 4476750"/>
                  <a:gd name="connsiteX107" fmla="*/ 1411627 w 4519987"/>
                  <a:gd name="connsiteY107" fmla="*/ 190500 h 4476750"/>
                  <a:gd name="connsiteX108" fmla="*/ 1449727 w 4519987"/>
                  <a:gd name="connsiteY108" fmla="*/ 161925 h 4476750"/>
                  <a:gd name="connsiteX109" fmla="*/ 1525927 w 4519987"/>
                  <a:gd name="connsiteY109" fmla="*/ 152400 h 4476750"/>
                  <a:gd name="connsiteX110" fmla="*/ 1583077 w 4519987"/>
                  <a:gd name="connsiteY110" fmla="*/ 142875 h 4476750"/>
                  <a:gd name="connsiteX111" fmla="*/ 1716427 w 4519987"/>
                  <a:gd name="connsiteY111" fmla="*/ 123825 h 4476750"/>
                  <a:gd name="connsiteX112" fmla="*/ 1811677 w 4519987"/>
                  <a:gd name="connsiteY112" fmla="*/ 114300 h 4476750"/>
                  <a:gd name="connsiteX113" fmla="*/ 1859302 w 4519987"/>
                  <a:gd name="connsiteY113" fmla="*/ 104775 h 4476750"/>
                  <a:gd name="connsiteX114" fmla="*/ 1916452 w 4519987"/>
                  <a:gd name="connsiteY114" fmla="*/ 95250 h 4476750"/>
                  <a:gd name="connsiteX115" fmla="*/ 2030752 w 4519987"/>
                  <a:gd name="connsiteY115" fmla="*/ 66675 h 4476750"/>
                  <a:gd name="connsiteX116" fmla="*/ 2097427 w 4519987"/>
                  <a:gd name="connsiteY116" fmla="*/ 47625 h 4476750"/>
                  <a:gd name="connsiteX117" fmla="*/ 2164102 w 4519987"/>
                  <a:gd name="connsiteY117" fmla="*/ 38100 h 4476750"/>
                  <a:gd name="connsiteX118" fmla="*/ 2392702 w 4519987"/>
                  <a:gd name="connsiteY118" fmla="*/ 28575 h 4476750"/>
                  <a:gd name="connsiteX0" fmla="*/ 2297452 w 4519987"/>
                  <a:gd name="connsiteY0" fmla="*/ 0 h 4478541"/>
                  <a:gd name="connsiteX1" fmla="*/ 2421277 w 4519987"/>
                  <a:gd name="connsiteY1" fmla="*/ 28575 h 4478541"/>
                  <a:gd name="connsiteX2" fmla="*/ 2497477 w 4519987"/>
                  <a:gd name="connsiteY2" fmla="*/ 47625 h 4478541"/>
                  <a:gd name="connsiteX3" fmla="*/ 2754652 w 4519987"/>
                  <a:gd name="connsiteY3" fmla="*/ 66675 h 4478541"/>
                  <a:gd name="connsiteX4" fmla="*/ 2830852 w 4519987"/>
                  <a:gd name="connsiteY4" fmla="*/ 76200 h 4478541"/>
                  <a:gd name="connsiteX5" fmla="*/ 2916577 w 4519987"/>
                  <a:gd name="connsiteY5" fmla="*/ 85725 h 4478541"/>
                  <a:gd name="connsiteX6" fmla="*/ 2973727 w 4519987"/>
                  <a:gd name="connsiteY6" fmla="*/ 114300 h 4478541"/>
                  <a:gd name="connsiteX7" fmla="*/ 3011827 w 4519987"/>
                  <a:gd name="connsiteY7" fmla="*/ 123825 h 4478541"/>
                  <a:gd name="connsiteX8" fmla="*/ 3135652 w 4519987"/>
                  <a:gd name="connsiteY8" fmla="*/ 171450 h 4478541"/>
                  <a:gd name="connsiteX9" fmla="*/ 3173752 w 4519987"/>
                  <a:gd name="connsiteY9" fmla="*/ 190500 h 4478541"/>
                  <a:gd name="connsiteX10" fmla="*/ 3240427 w 4519987"/>
                  <a:gd name="connsiteY10" fmla="*/ 228600 h 4478541"/>
                  <a:gd name="connsiteX11" fmla="*/ 3269002 w 4519987"/>
                  <a:gd name="connsiteY11" fmla="*/ 238125 h 4478541"/>
                  <a:gd name="connsiteX12" fmla="*/ 3297577 w 4519987"/>
                  <a:gd name="connsiteY12" fmla="*/ 257175 h 4478541"/>
                  <a:gd name="connsiteX13" fmla="*/ 3326152 w 4519987"/>
                  <a:gd name="connsiteY13" fmla="*/ 266700 h 4478541"/>
                  <a:gd name="connsiteX14" fmla="*/ 3354727 w 4519987"/>
                  <a:gd name="connsiteY14" fmla="*/ 285750 h 4478541"/>
                  <a:gd name="connsiteX15" fmla="*/ 3421402 w 4519987"/>
                  <a:gd name="connsiteY15" fmla="*/ 323850 h 4478541"/>
                  <a:gd name="connsiteX16" fmla="*/ 3469027 w 4519987"/>
                  <a:gd name="connsiteY16" fmla="*/ 361950 h 4478541"/>
                  <a:gd name="connsiteX17" fmla="*/ 3516652 w 4519987"/>
                  <a:gd name="connsiteY17" fmla="*/ 390525 h 4478541"/>
                  <a:gd name="connsiteX18" fmla="*/ 3630952 w 4519987"/>
                  <a:gd name="connsiteY18" fmla="*/ 485775 h 4478541"/>
                  <a:gd name="connsiteX19" fmla="*/ 3745252 w 4519987"/>
                  <a:gd name="connsiteY19" fmla="*/ 542925 h 4478541"/>
                  <a:gd name="connsiteX20" fmla="*/ 3811927 w 4519987"/>
                  <a:gd name="connsiteY20" fmla="*/ 581025 h 4478541"/>
                  <a:gd name="connsiteX21" fmla="*/ 4027827 w 4519987"/>
                  <a:gd name="connsiteY21" fmla="*/ 819150 h 4478541"/>
                  <a:gd name="connsiteX22" fmla="*/ 4164352 w 4519987"/>
                  <a:gd name="connsiteY22" fmla="*/ 990600 h 4478541"/>
                  <a:gd name="connsiteX23" fmla="*/ 4250077 w 4519987"/>
                  <a:gd name="connsiteY23" fmla="*/ 1143000 h 4478541"/>
                  <a:gd name="connsiteX24" fmla="*/ 4307227 w 4519987"/>
                  <a:gd name="connsiteY24" fmla="*/ 1266825 h 4478541"/>
                  <a:gd name="connsiteX25" fmla="*/ 4345327 w 4519987"/>
                  <a:gd name="connsiteY25" fmla="*/ 1362075 h 4478541"/>
                  <a:gd name="connsiteX26" fmla="*/ 4392952 w 4519987"/>
                  <a:gd name="connsiteY26" fmla="*/ 1552575 h 4478541"/>
                  <a:gd name="connsiteX27" fmla="*/ 4431052 w 4519987"/>
                  <a:gd name="connsiteY27" fmla="*/ 1685925 h 4478541"/>
                  <a:gd name="connsiteX28" fmla="*/ 4519952 w 4519987"/>
                  <a:gd name="connsiteY28" fmla="*/ 2181225 h 4478541"/>
                  <a:gd name="connsiteX29" fmla="*/ 4446927 w 4519987"/>
                  <a:gd name="connsiteY29" fmla="*/ 2768600 h 4478541"/>
                  <a:gd name="connsiteX30" fmla="*/ 4383427 w 4519987"/>
                  <a:gd name="connsiteY30" fmla="*/ 2990850 h 4478541"/>
                  <a:gd name="connsiteX31" fmla="*/ 4278652 w 4519987"/>
                  <a:gd name="connsiteY31" fmla="*/ 3248025 h 4478541"/>
                  <a:gd name="connsiteX32" fmla="*/ 4183402 w 4519987"/>
                  <a:gd name="connsiteY32" fmla="*/ 3400425 h 4478541"/>
                  <a:gd name="connsiteX33" fmla="*/ 4059577 w 4519987"/>
                  <a:gd name="connsiteY33" fmla="*/ 3533775 h 4478541"/>
                  <a:gd name="connsiteX34" fmla="*/ 3954802 w 4519987"/>
                  <a:gd name="connsiteY34" fmla="*/ 3648075 h 4478541"/>
                  <a:gd name="connsiteX35" fmla="*/ 3659527 w 4519987"/>
                  <a:gd name="connsiteY35" fmla="*/ 3971925 h 4478541"/>
                  <a:gd name="connsiteX36" fmla="*/ 3516652 w 4519987"/>
                  <a:gd name="connsiteY36" fmla="*/ 4083050 h 4478541"/>
                  <a:gd name="connsiteX37" fmla="*/ 3221377 w 4519987"/>
                  <a:gd name="connsiteY37" fmla="*/ 4222750 h 4478541"/>
                  <a:gd name="connsiteX38" fmla="*/ 3068977 w 4519987"/>
                  <a:gd name="connsiteY38" fmla="*/ 4286250 h 4478541"/>
                  <a:gd name="connsiteX39" fmla="*/ 2935627 w 4519987"/>
                  <a:gd name="connsiteY39" fmla="*/ 4333875 h 4478541"/>
                  <a:gd name="connsiteX40" fmla="*/ 2811802 w 4519987"/>
                  <a:gd name="connsiteY40" fmla="*/ 4371975 h 4478541"/>
                  <a:gd name="connsiteX41" fmla="*/ 2745127 w 4519987"/>
                  <a:gd name="connsiteY41" fmla="*/ 4410075 h 4478541"/>
                  <a:gd name="connsiteX42" fmla="*/ 2306977 w 4519987"/>
                  <a:gd name="connsiteY42" fmla="*/ 4476750 h 4478541"/>
                  <a:gd name="connsiteX43" fmla="*/ 2202202 w 4519987"/>
                  <a:gd name="connsiteY43" fmla="*/ 4457700 h 4478541"/>
                  <a:gd name="connsiteX44" fmla="*/ 2126002 w 4519987"/>
                  <a:gd name="connsiteY44" fmla="*/ 4429125 h 4478541"/>
                  <a:gd name="connsiteX45" fmla="*/ 1935502 w 4519987"/>
                  <a:gd name="connsiteY45" fmla="*/ 4400550 h 4478541"/>
                  <a:gd name="connsiteX46" fmla="*/ 1821202 w 4519987"/>
                  <a:gd name="connsiteY46" fmla="*/ 4371975 h 4478541"/>
                  <a:gd name="connsiteX47" fmla="*/ 1754527 w 4519987"/>
                  <a:gd name="connsiteY47" fmla="*/ 4352925 h 4478541"/>
                  <a:gd name="connsiteX48" fmla="*/ 1687852 w 4519987"/>
                  <a:gd name="connsiteY48" fmla="*/ 4343400 h 4478541"/>
                  <a:gd name="connsiteX49" fmla="*/ 1573552 w 4519987"/>
                  <a:gd name="connsiteY49" fmla="*/ 4305300 h 4478541"/>
                  <a:gd name="connsiteX50" fmla="*/ 1402102 w 4519987"/>
                  <a:gd name="connsiteY50" fmla="*/ 4276725 h 4478541"/>
                  <a:gd name="connsiteX51" fmla="*/ 1287802 w 4519987"/>
                  <a:gd name="connsiteY51" fmla="*/ 4229100 h 4478541"/>
                  <a:gd name="connsiteX52" fmla="*/ 1221127 w 4519987"/>
                  <a:gd name="connsiteY52" fmla="*/ 4200525 h 4478541"/>
                  <a:gd name="connsiteX53" fmla="*/ 1144927 w 4519987"/>
                  <a:gd name="connsiteY53" fmla="*/ 4171950 h 4478541"/>
                  <a:gd name="connsiteX54" fmla="*/ 1087777 w 4519987"/>
                  <a:gd name="connsiteY54" fmla="*/ 4143375 h 4478541"/>
                  <a:gd name="connsiteX55" fmla="*/ 1030627 w 4519987"/>
                  <a:gd name="connsiteY55" fmla="*/ 4124325 h 4478541"/>
                  <a:gd name="connsiteX56" fmla="*/ 925852 w 4519987"/>
                  <a:gd name="connsiteY56" fmla="*/ 4067175 h 4478541"/>
                  <a:gd name="connsiteX57" fmla="*/ 830602 w 4519987"/>
                  <a:gd name="connsiteY57" fmla="*/ 3981450 h 4478541"/>
                  <a:gd name="connsiteX58" fmla="*/ 763927 w 4519987"/>
                  <a:gd name="connsiteY58" fmla="*/ 3914775 h 4478541"/>
                  <a:gd name="connsiteX59" fmla="*/ 725827 w 4519987"/>
                  <a:gd name="connsiteY59" fmla="*/ 3876675 h 4478541"/>
                  <a:gd name="connsiteX60" fmla="*/ 697252 w 4519987"/>
                  <a:gd name="connsiteY60" fmla="*/ 3838575 h 4478541"/>
                  <a:gd name="connsiteX61" fmla="*/ 640102 w 4519987"/>
                  <a:gd name="connsiteY61" fmla="*/ 3781425 h 4478541"/>
                  <a:gd name="connsiteX62" fmla="*/ 611527 w 4519987"/>
                  <a:gd name="connsiteY62" fmla="*/ 3733800 h 4478541"/>
                  <a:gd name="connsiteX63" fmla="*/ 554377 w 4519987"/>
                  <a:gd name="connsiteY63" fmla="*/ 3657600 h 4478541"/>
                  <a:gd name="connsiteX64" fmla="*/ 525802 w 4519987"/>
                  <a:gd name="connsiteY64" fmla="*/ 3609975 h 4478541"/>
                  <a:gd name="connsiteX65" fmla="*/ 497227 w 4519987"/>
                  <a:gd name="connsiteY65" fmla="*/ 3552825 h 4478541"/>
                  <a:gd name="connsiteX66" fmla="*/ 440077 w 4519987"/>
                  <a:gd name="connsiteY66" fmla="*/ 3495675 h 4478541"/>
                  <a:gd name="connsiteX67" fmla="*/ 411502 w 4519987"/>
                  <a:gd name="connsiteY67" fmla="*/ 3448050 h 4478541"/>
                  <a:gd name="connsiteX68" fmla="*/ 278152 w 4519987"/>
                  <a:gd name="connsiteY68" fmla="*/ 3257550 h 4478541"/>
                  <a:gd name="connsiteX69" fmla="*/ 249577 w 4519987"/>
                  <a:gd name="connsiteY69" fmla="*/ 3200400 h 4478541"/>
                  <a:gd name="connsiteX70" fmla="*/ 240052 w 4519987"/>
                  <a:gd name="connsiteY70" fmla="*/ 3162300 h 4478541"/>
                  <a:gd name="connsiteX71" fmla="*/ 221002 w 4519987"/>
                  <a:gd name="connsiteY71" fmla="*/ 3105150 h 4478541"/>
                  <a:gd name="connsiteX72" fmla="*/ 173377 w 4519987"/>
                  <a:gd name="connsiteY72" fmla="*/ 3019425 h 4478541"/>
                  <a:gd name="connsiteX73" fmla="*/ 144802 w 4519987"/>
                  <a:gd name="connsiteY73" fmla="*/ 2924175 h 4478541"/>
                  <a:gd name="connsiteX74" fmla="*/ 68602 w 4519987"/>
                  <a:gd name="connsiteY74" fmla="*/ 2724150 h 4478541"/>
                  <a:gd name="connsiteX75" fmla="*/ 49552 w 4519987"/>
                  <a:gd name="connsiteY75" fmla="*/ 2638425 h 4478541"/>
                  <a:gd name="connsiteX76" fmla="*/ 40027 w 4519987"/>
                  <a:gd name="connsiteY76" fmla="*/ 2562225 h 4478541"/>
                  <a:gd name="connsiteX77" fmla="*/ 30502 w 4519987"/>
                  <a:gd name="connsiteY77" fmla="*/ 2514600 h 4478541"/>
                  <a:gd name="connsiteX78" fmla="*/ 11452 w 4519987"/>
                  <a:gd name="connsiteY78" fmla="*/ 2400300 h 4478541"/>
                  <a:gd name="connsiteX79" fmla="*/ 20977 w 4519987"/>
                  <a:gd name="connsiteY79" fmla="*/ 1905000 h 4478541"/>
                  <a:gd name="connsiteX80" fmla="*/ 30502 w 4519987"/>
                  <a:gd name="connsiteY80" fmla="*/ 1838325 h 4478541"/>
                  <a:gd name="connsiteX81" fmla="*/ 49552 w 4519987"/>
                  <a:gd name="connsiteY81" fmla="*/ 1781175 h 4478541"/>
                  <a:gd name="connsiteX82" fmla="*/ 59077 w 4519987"/>
                  <a:gd name="connsiteY82" fmla="*/ 1743075 h 4478541"/>
                  <a:gd name="connsiteX83" fmla="*/ 78127 w 4519987"/>
                  <a:gd name="connsiteY83" fmla="*/ 1685925 h 4478541"/>
                  <a:gd name="connsiteX84" fmla="*/ 87652 w 4519987"/>
                  <a:gd name="connsiteY84" fmla="*/ 1638300 h 4478541"/>
                  <a:gd name="connsiteX85" fmla="*/ 106702 w 4519987"/>
                  <a:gd name="connsiteY85" fmla="*/ 1590675 h 4478541"/>
                  <a:gd name="connsiteX86" fmla="*/ 135277 w 4519987"/>
                  <a:gd name="connsiteY86" fmla="*/ 1504950 h 4478541"/>
                  <a:gd name="connsiteX87" fmla="*/ 154327 w 4519987"/>
                  <a:gd name="connsiteY87" fmla="*/ 1419225 h 4478541"/>
                  <a:gd name="connsiteX88" fmla="*/ 230527 w 4519987"/>
                  <a:gd name="connsiteY88" fmla="*/ 1276350 h 4478541"/>
                  <a:gd name="connsiteX89" fmla="*/ 240052 w 4519987"/>
                  <a:gd name="connsiteY89" fmla="*/ 1247775 h 4478541"/>
                  <a:gd name="connsiteX90" fmla="*/ 268627 w 4519987"/>
                  <a:gd name="connsiteY90" fmla="*/ 1200150 h 4478541"/>
                  <a:gd name="connsiteX91" fmla="*/ 287677 w 4519987"/>
                  <a:gd name="connsiteY91" fmla="*/ 1152525 h 4478541"/>
                  <a:gd name="connsiteX92" fmla="*/ 316252 w 4519987"/>
                  <a:gd name="connsiteY92" fmla="*/ 1114425 h 4478541"/>
                  <a:gd name="connsiteX93" fmla="*/ 363877 w 4519987"/>
                  <a:gd name="connsiteY93" fmla="*/ 1038225 h 4478541"/>
                  <a:gd name="connsiteX94" fmla="*/ 382927 w 4519987"/>
                  <a:gd name="connsiteY94" fmla="*/ 1009650 h 4478541"/>
                  <a:gd name="connsiteX95" fmla="*/ 440077 w 4519987"/>
                  <a:gd name="connsiteY95" fmla="*/ 904875 h 4478541"/>
                  <a:gd name="connsiteX96" fmla="*/ 478177 w 4519987"/>
                  <a:gd name="connsiteY96" fmla="*/ 857250 h 4478541"/>
                  <a:gd name="connsiteX97" fmla="*/ 497227 w 4519987"/>
                  <a:gd name="connsiteY97" fmla="*/ 828675 h 4478541"/>
                  <a:gd name="connsiteX98" fmla="*/ 535327 w 4519987"/>
                  <a:gd name="connsiteY98" fmla="*/ 800100 h 4478541"/>
                  <a:gd name="connsiteX99" fmla="*/ 602002 w 4519987"/>
                  <a:gd name="connsiteY99" fmla="*/ 733425 h 4478541"/>
                  <a:gd name="connsiteX100" fmla="*/ 668677 w 4519987"/>
                  <a:gd name="connsiteY100" fmla="*/ 676275 h 4478541"/>
                  <a:gd name="connsiteX101" fmla="*/ 697252 w 4519987"/>
                  <a:gd name="connsiteY101" fmla="*/ 657225 h 4478541"/>
                  <a:gd name="connsiteX102" fmla="*/ 840127 w 4519987"/>
                  <a:gd name="connsiteY102" fmla="*/ 533400 h 4478541"/>
                  <a:gd name="connsiteX103" fmla="*/ 887752 w 4519987"/>
                  <a:gd name="connsiteY103" fmla="*/ 504825 h 4478541"/>
                  <a:gd name="connsiteX104" fmla="*/ 1167152 w 4519987"/>
                  <a:gd name="connsiteY104" fmla="*/ 311150 h 4478541"/>
                  <a:gd name="connsiteX105" fmla="*/ 1268752 w 4519987"/>
                  <a:gd name="connsiteY105" fmla="*/ 285750 h 4478541"/>
                  <a:gd name="connsiteX106" fmla="*/ 1411627 w 4519987"/>
                  <a:gd name="connsiteY106" fmla="*/ 190500 h 4478541"/>
                  <a:gd name="connsiteX107" fmla="*/ 1449727 w 4519987"/>
                  <a:gd name="connsiteY107" fmla="*/ 161925 h 4478541"/>
                  <a:gd name="connsiteX108" fmla="*/ 1525927 w 4519987"/>
                  <a:gd name="connsiteY108" fmla="*/ 152400 h 4478541"/>
                  <a:gd name="connsiteX109" fmla="*/ 1583077 w 4519987"/>
                  <a:gd name="connsiteY109" fmla="*/ 142875 h 4478541"/>
                  <a:gd name="connsiteX110" fmla="*/ 1716427 w 4519987"/>
                  <a:gd name="connsiteY110" fmla="*/ 123825 h 4478541"/>
                  <a:gd name="connsiteX111" fmla="*/ 1811677 w 4519987"/>
                  <a:gd name="connsiteY111" fmla="*/ 114300 h 4478541"/>
                  <a:gd name="connsiteX112" fmla="*/ 1859302 w 4519987"/>
                  <a:gd name="connsiteY112" fmla="*/ 104775 h 4478541"/>
                  <a:gd name="connsiteX113" fmla="*/ 1916452 w 4519987"/>
                  <a:gd name="connsiteY113" fmla="*/ 95250 h 4478541"/>
                  <a:gd name="connsiteX114" fmla="*/ 2030752 w 4519987"/>
                  <a:gd name="connsiteY114" fmla="*/ 66675 h 4478541"/>
                  <a:gd name="connsiteX115" fmla="*/ 2097427 w 4519987"/>
                  <a:gd name="connsiteY115" fmla="*/ 47625 h 4478541"/>
                  <a:gd name="connsiteX116" fmla="*/ 2164102 w 4519987"/>
                  <a:gd name="connsiteY116" fmla="*/ 38100 h 4478541"/>
                  <a:gd name="connsiteX117" fmla="*/ 2392702 w 4519987"/>
                  <a:gd name="connsiteY117" fmla="*/ 28575 h 4478541"/>
                  <a:gd name="connsiteX0" fmla="*/ 2297452 w 4519987"/>
                  <a:gd name="connsiteY0" fmla="*/ 0 h 4476750"/>
                  <a:gd name="connsiteX1" fmla="*/ 2421277 w 4519987"/>
                  <a:gd name="connsiteY1" fmla="*/ 28575 h 4476750"/>
                  <a:gd name="connsiteX2" fmla="*/ 2497477 w 4519987"/>
                  <a:gd name="connsiteY2" fmla="*/ 47625 h 4476750"/>
                  <a:gd name="connsiteX3" fmla="*/ 2754652 w 4519987"/>
                  <a:gd name="connsiteY3" fmla="*/ 66675 h 4476750"/>
                  <a:gd name="connsiteX4" fmla="*/ 2830852 w 4519987"/>
                  <a:gd name="connsiteY4" fmla="*/ 76200 h 4476750"/>
                  <a:gd name="connsiteX5" fmla="*/ 2916577 w 4519987"/>
                  <a:gd name="connsiteY5" fmla="*/ 85725 h 4476750"/>
                  <a:gd name="connsiteX6" fmla="*/ 2973727 w 4519987"/>
                  <a:gd name="connsiteY6" fmla="*/ 114300 h 4476750"/>
                  <a:gd name="connsiteX7" fmla="*/ 3011827 w 4519987"/>
                  <a:gd name="connsiteY7" fmla="*/ 123825 h 4476750"/>
                  <a:gd name="connsiteX8" fmla="*/ 3135652 w 4519987"/>
                  <a:gd name="connsiteY8" fmla="*/ 171450 h 4476750"/>
                  <a:gd name="connsiteX9" fmla="*/ 3173752 w 4519987"/>
                  <a:gd name="connsiteY9" fmla="*/ 190500 h 4476750"/>
                  <a:gd name="connsiteX10" fmla="*/ 3240427 w 4519987"/>
                  <a:gd name="connsiteY10" fmla="*/ 228600 h 4476750"/>
                  <a:gd name="connsiteX11" fmla="*/ 3269002 w 4519987"/>
                  <a:gd name="connsiteY11" fmla="*/ 238125 h 4476750"/>
                  <a:gd name="connsiteX12" fmla="*/ 3297577 w 4519987"/>
                  <a:gd name="connsiteY12" fmla="*/ 257175 h 4476750"/>
                  <a:gd name="connsiteX13" fmla="*/ 3326152 w 4519987"/>
                  <a:gd name="connsiteY13" fmla="*/ 266700 h 4476750"/>
                  <a:gd name="connsiteX14" fmla="*/ 3354727 w 4519987"/>
                  <a:gd name="connsiteY14" fmla="*/ 285750 h 4476750"/>
                  <a:gd name="connsiteX15" fmla="*/ 3421402 w 4519987"/>
                  <a:gd name="connsiteY15" fmla="*/ 323850 h 4476750"/>
                  <a:gd name="connsiteX16" fmla="*/ 3469027 w 4519987"/>
                  <a:gd name="connsiteY16" fmla="*/ 361950 h 4476750"/>
                  <a:gd name="connsiteX17" fmla="*/ 3516652 w 4519987"/>
                  <a:gd name="connsiteY17" fmla="*/ 390525 h 4476750"/>
                  <a:gd name="connsiteX18" fmla="*/ 3630952 w 4519987"/>
                  <a:gd name="connsiteY18" fmla="*/ 485775 h 4476750"/>
                  <a:gd name="connsiteX19" fmla="*/ 3745252 w 4519987"/>
                  <a:gd name="connsiteY19" fmla="*/ 542925 h 4476750"/>
                  <a:gd name="connsiteX20" fmla="*/ 3811927 w 4519987"/>
                  <a:gd name="connsiteY20" fmla="*/ 581025 h 4476750"/>
                  <a:gd name="connsiteX21" fmla="*/ 4027827 w 4519987"/>
                  <a:gd name="connsiteY21" fmla="*/ 819150 h 4476750"/>
                  <a:gd name="connsiteX22" fmla="*/ 4164352 w 4519987"/>
                  <a:gd name="connsiteY22" fmla="*/ 990600 h 4476750"/>
                  <a:gd name="connsiteX23" fmla="*/ 4250077 w 4519987"/>
                  <a:gd name="connsiteY23" fmla="*/ 1143000 h 4476750"/>
                  <a:gd name="connsiteX24" fmla="*/ 4307227 w 4519987"/>
                  <a:gd name="connsiteY24" fmla="*/ 1266825 h 4476750"/>
                  <a:gd name="connsiteX25" fmla="*/ 4345327 w 4519987"/>
                  <a:gd name="connsiteY25" fmla="*/ 1362075 h 4476750"/>
                  <a:gd name="connsiteX26" fmla="*/ 4392952 w 4519987"/>
                  <a:gd name="connsiteY26" fmla="*/ 1552575 h 4476750"/>
                  <a:gd name="connsiteX27" fmla="*/ 4431052 w 4519987"/>
                  <a:gd name="connsiteY27" fmla="*/ 1685925 h 4476750"/>
                  <a:gd name="connsiteX28" fmla="*/ 4519952 w 4519987"/>
                  <a:gd name="connsiteY28" fmla="*/ 2181225 h 4476750"/>
                  <a:gd name="connsiteX29" fmla="*/ 4446927 w 4519987"/>
                  <a:gd name="connsiteY29" fmla="*/ 2768600 h 4476750"/>
                  <a:gd name="connsiteX30" fmla="*/ 4383427 w 4519987"/>
                  <a:gd name="connsiteY30" fmla="*/ 2990850 h 4476750"/>
                  <a:gd name="connsiteX31" fmla="*/ 4278652 w 4519987"/>
                  <a:gd name="connsiteY31" fmla="*/ 3248025 h 4476750"/>
                  <a:gd name="connsiteX32" fmla="*/ 4183402 w 4519987"/>
                  <a:gd name="connsiteY32" fmla="*/ 3400425 h 4476750"/>
                  <a:gd name="connsiteX33" fmla="*/ 4059577 w 4519987"/>
                  <a:gd name="connsiteY33" fmla="*/ 3533775 h 4476750"/>
                  <a:gd name="connsiteX34" fmla="*/ 3954802 w 4519987"/>
                  <a:gd name="connsiteY34" fmla="*/ 3648075 h 4476750"/>
                  <a:gd name="connsiteX35" fmla="*/ 3659527 w 4519987"/>
                  <a:gd name="connsiteY35" fmla="*/ 3971925 h 4476750"/>
                  <a:gd name="connsiteX36" fmla="*/ 3516652 w 4519987"/>
                  <a:gd name="connsiteY36" fmla="*/ 4083050 h 4476750"/>
                  <a:gd name="connsiteX37" fmla="*/ 3221377 w 4519987"/>
                  <a:gd name="connsiteY37" fmla="*/ 4222750 h 4476750"/>
                  <a:gd name="connsiteX38" fmla="*/ 3068977 w 4519987"/>
                  <a:gd name="connsiteY38" fmla="*/ 4286250 h 4476750"/>
                  <a:gd name="connsiteX39" fmla="*/ 2935627 w 4519987"/>
                  <a:gd name="connsiteY39" fmla="*/ 4333875 h 4476750"/>
                  <a:gd name="connsiteX40" fmla="*/ 2811802 w 4519987"/>
                  <a:gd name="connsiteY40" fmla="*/ 4371975 h 4476750"/>
                  <a:gd name="connsiteX41" fmla="*/ 2580027 w 4519987"/>
                  <a:gd name="connsiteY41" fmla="*/ 4391025 h 4476750"/>
                  <a:gd name="connsiteX42" fmla="*/ 2306977 w 4519987"/>
                  <a:gd name="connsiteY42" fmla="*/ 4476750 h 4476750"/>
                  <a:gd name="connsiteX43" fmla="*/ 2202202 w 4519987"/>
                  <a:gd name="connsiteY43" fmla="*/ 4457700 h 4476750"/>
                  <a:gd name="connsiteX44" fmla="*/ 2126002 w 4519987"/>
                  <a:gd name="connsiteY44" fmla="*/ 4429125 h 4476750"/>
                  <a:gd name="connsiteX45" fmla="*/ 1935502 w 4519987"/>
                  <a:gd name="connsiteY45" fmla="*/ 4400550 h 4476750"/>
                  <a:gd name="connsiteX46" fmla="*/ 1821202 w 4519987"/>
                  <a:gd name="connsiteY46" fmla="*/ 4371975 h 4476750"/>
                  <a:gd name="connsiteX47" fmla="*/ 1754527 w 4519987"/>
                  <a:gd name="connsiteY47" fmla="*/ 4352925 h 4476750"/>
                  <a:gd name="connsiteX48" fmla="*/ 1687852 w 4519987"/>
                  <a:gd name="connsiteY48" fmla="*/ 4343400 h 4476750"/>
                  <a:gd name="connsiteX49" fmla="*/ 1573552 w 4519987"/>
                  <a:gd name="connsiteY49" fmla="*/ 4305300 h 4476750"/>
                  <a:gd name="connsiteX50" fmla="*/ 1402102 w 4519987"/>
                  <a:gd name="connsiteY50" fmla="*/ 4276725 h 4476750"/>
                  <a:gd name="connsiteX51" fmla="*/ 1287802 w 4519987"/>
                  <a:gd name="connsiteY51" fmla="*/ 4229100 h 4476750"/>
                  <a:gd name="connsiteX52" fmla="*/ 1221127 w 4519987"/>
                  <a:gd name="connsiteY52" fmla="*/ 4200525 h 4476750"/>
                  <a:gd name="connsiteX53" fmla="*/ 1144927 w 4519987"/>
                  <a:gd name="connsiteY53" fmla="*/ 4171950 h 4476750"/>
                  <a:gd name="connsiteX54" fmla="*/ 1087777 w 4519987"/>
                  <a:gd name="connsiteY54" fmla="*/ 4143375 h 4476750"/>
                  <a:gd name="connsiteX55" fmla="*/ 1030627 w 4519987"/>
                  <a:gd name="connsiteY55" fmla="*/ 4124325 h 4476750"/>
                  <a:gd name="connsiteX56" fmla="*/ 925852 w 4519987"/>
                  <a:gd name="connsiteY56" fmla="*/ 4067175 h 4476750"/>
                  <a:gd name="connsiteX57" fmla="*/ 830602 w 4519987"/>
                  <a:gd name="connsiteY57" fmla="*/ 3981450 h 4476750"/>
                  <a:gd name="connsiteX58" fmla="*/ 763927 w 4519987"/>
                  <a:gd name="connsiteY58" fmla="*/ 3914775 h 4476750"/>
                  <a:gd name="connsiteX59" fmla="*/ 725827 w 4519987"/>
                  <a:gd name="connsiteY59" fmla="*/ 3876675 h 4476750"/>
                  <a:gd name="connsiteX60" fmla="*/ 697252 w 4519987"/>
                  <a:gd name="connsiteY60" fmla="*/ 3838575 h 4476750"/>
                  <a:gd name="connsiteX61" fmla="*/ 640102 w 4519987"/>
                  <a:gd name="connsiteY61" fmla="*/ 3781425 h 4476750"/>
                  <a:gd name="connsiteX62" fmla="*/ 611527 w 4519987"/>
                  <a:gd name="connsiteY62" fmla="*/ 3733800 h 4476750"/>
                  <a:gd name="connsiteX63" fmla="*/ 554377 w 4519987"/>
                  <a:gd name="connsiteY63" fmla="*/ 3657600 h 4476750"/>
                  <a:gd name="connsiteX64" fmla="*/ 525802 w 4519987"/>
                  <a:gd name="connsiteY64" fmla="*/ 3609975 h 4476750"/>
                  <a:gd name="connsiteX65" fmla="*/ 497227 w 4519987"/>
                  <a:gd name="connsiteY65" fmla="*/ 3552825 h 4476750"/>
                  <a:gd name="connsiteX66" fmla="*/ 440077 w 4519987"/>
                  <a:gd name="connsiteY66" fmla="*/ 3495675 h 4476750"/>
                  <a:gd name="connsiteX67" fmla="*/ 411502 w 4519987"/>
                  <a:gd name="connsiteY67" fmla="*/ 3448050 h 4476750"/>
                  <a:gd name="connsiteX68" fmla="*/ 278152 w 4519987"/>
                  <a:gd name="connsiteY68" fmla="*/ 3257550 h 4476750"/>
                  <a:gd name="connsiteX69" fmla="*/ 249577 w 4519987"/>
                  <a:gd name="connsiteY69" fmla="*/ 3200400 h 4476750"/>
                  <a:gd name="connsiteX70" fmla="*/ 240052 w 4519987"/>
                  <a:gd name="connsiteY70" fmla="*/ 3162300 h 4476750"/>
                  <a:gd name="connsiteX71" fmla="*/ 221002 w 4519987"/>
                  <a:gd name="connsiteY71" fmla="*/ 3105150 h 4476750"/>
                  <a:gd name="connsiteX72" fmla="*/ 173377 w 4519987"/>
                  <a:gd name="connsiteY72" fmla="*/ 3019425 h 4476750"/>
                  <a:gd name="connsiteX73" fmla="*/ 144802 w 4519987"/>
                  <a:gd name="connsiteY73" fmla="*/ 2924175 h 4476750"/>
                  <a:gd name="connsiteX74" fmla="*/ 68602 w 4519987"/>
                  <a:gd name="connsiteY74" fmla="*/ 2724150 h 4476750"/>
                  <a:gd name="connsiteX75" fmla="*/ 49552 w 4519987"/>
                  <a:gd name="connsiteY75" fmla="*/ 2638425 h 4476750"/>
                  <a:gd name="connsiteX76" fmla="*/ 40027 w 4519987"/>
                  <a:gd name="connsiteY76" fmla="*/ 2562225 h 4476750"/>
                  <a:gd name="connsiteX77" fmla="*/ 30502 w 4519987"/>
                  <a:gd name="connsiteY77" fmla="*/ 2514600 h 4476750"/>
                  <a:gd name="connsiteX78" fmla="*/ 11452 w 4519987"/>
                  <a:gd name="connsiteY78" fmla="*/ 2400300 h 4476750"/>
                  <a:gd name="connsiteX79" fmla="*/ 20977 w 4519987"/>
                  <a:gd name="connsiteY79" fmla="*/ 1905000 h 4476750"/>
                  <a:gd name="connsiteX80" fmla="*/ 30502 w 4519987"/>
                  <a:gd name="connsiteY80" fmla="*/ 1838325 h 4476750"/>
                  <a:gd name="connsiteX81" fmla="*/ 49552 w 4519987"/>
                  <a:gd name="connsiteY81" fmla="*/ 1781175 h 4476750"/>
                  <a:gd name="connsiteX82" fmla="*/ 59077 w 4519987"/>
                  <a:gd name="connsiteY82" fmla="*/ 1743075 h 4476750"/>
                  <a:gd name="connsiteX83" fmla="*/ 78127 w 4519987"/>
                  <a:gd name="connsiteY83" fmla="*/ 1685925 h 4476750"/>
                  <a:gd name="connsiteX84" fmla="*/ 87652 w 4519987"/>
                  <a:gd name="connsiteY84" fmla="*/ 1638300 h 4476750"/>
                  <a:gd name="connsiteX85" fmla="*/ 106702 w 4519987"/>
                  <a:gd name="connsiteY85" fmla="*/ 1590675 h 4476750"/>
                  <a:gd name="connsiteX86" fmla="*/ 135277 w 4519987"/>
                  <a:gd name="connsiteY86" fmla="*/ 1504950 h 4476750"/>
                  <a:gd name="connsiteX87" fmla="*/ 154327 w 4519987"/>
                  <a:gd name="connsiteY87" fmla="*/ 1419225 h 4476750"/>
                  <a:gd name="connsiteX88" fmla="*/ 230527 w 4519987"/>
                  <a:gd name="connsiteY88" fmla="*/ 1276350 h 4476750"/>
                  <a:gd name="connsiteX89" fmla="*/ 240052 w 4519987"/>
                  <a:gd name="connsiteY89" fmla="*/ 1247775 h 4476750"/>
                  <a:gd name="connsiteX90" fmla="*/ 268627 w 4519987"/>
                  <a:gd name="connsiteY90" fmla="*/ 1200150 h 4476750"/>
                  <a:gd name="connsiteX91" fmla="*/ 287677 w 4519987"/>
                  <a:gd name="connsiteY91" fmla="*/ 1152525 h 4476750"/>
                  <a:gd name="connsiteX92" fmla="*/ 316252 w 4519987"/>
                  <a:gd name="connsiteY92" fmla="*/ 1114425 h 4476750"/>
                  <a:gd name="connsiteX93" fmla="*/ 363877 w 4519987"/>
                  <a:gd name="connsiteY93" fmla="*/ 1038225 h 4476750"/>
                  <a:gd name="connsiteX94" fmla="*/ 382927 w 4519987"/>
                  <a:gd name="connsiteY94" fmla="*/ 1009650 h 4476750"/>
                  <a:gd name="connsiteX95" fmla="*/ 440077 w 4519987"/>
                  <a:gd name="connsiteY95" fmla="*/ 904875 h 4476750"/>
                  <a:gd name="connsiteX96" fmla="*/ 478177 w 4519987"/>
                  <a:gd name="connsiteY96" fmla="*/ 857250 h 4476750"/>
                  <a:gd name="connsiteX97" fmla="*/ 497227 w 4519987"/>
                  <a:gd name="connsiteY97" fmla="*/ 828675 h 4476750"/>
                  <a:gd name="connsiteX98" fmla="*/ 535327 w 4519987"/>
                  <a:gd name="connsiteY98" fmla="*/ 800100 h 4476750"/>
                  <a:gd name="connsiteX99" fmla="*/ 602002 w 4519987"/>
                  <a:gd name="connsiteY99" fmla="*/ 733425 h 4476750"/>
                  <a:gd name="connsiteX100" fmla="*/ 668677 w 4519987"/>
                  <a:gd name="connsiteY100" fmla="*/ 676275 h 4476750"/>
                  <a:gd name="connsiteX101" fmla="*/ 697252 w 4519987"/>
                  <a:gd name="connsiteY101" fmla="*/ 657225 h 4476750"/>
                  <a:gd name="connsiteX102" fmla="*/ 840127 w 4519987"/>
                  <a:gd name="connsiteY102" fmla="*/ 533400 h 4476750"/>
                  <a:gd name="connsiteX103" fmla="*/ 887752 w 4519987"/>
                  <a:gd name="connsiteY103" fmla="*/ 504825 h 4476750"/>
                  <a:gd name="connsiteX104" fmla="*/ 1167152 w 4519987"/>
                  <a:gd name="connsiteY104" fmla="*/ 311150 h 4476750"/>
                  <a:gd name="connsiteX105" fmla="*/ 1268752 w 4519987"/>
                  <a:gd name="connsiteY105" fmla="*/ 285750 h 4476750"/>
                  <a:gd name="connsiteX106" fmla="*/ 1411627 w 4519987"/>
                  <a:gd name="connsiteY106" fmla="*/ 190500 h 4476750"/>
                  <a:gd name="connsiteX107" fmla="*/ 1449727 w 4519987"/>
                  <a:gd name="connsiteY107" fmla="*/ 161925 h 4476750"/>
                  <a:gd name="connsiteX108" fmla="*/ 1525927 w 4519987"/>
                  <a:gd name="connsiteY108" fmla="*/ 152400 h 4476750"/>
                  <a:gd name="connsiteX109" fmla="*/ 1583077 w 4519987"/>
                  <a:gd name="connsiteY109" fmla="*/ 142875 h 4476750"/>
                  <a:gd name="connsiteX110" fmla="*/ 1716427 w 4519987"/>
                  <a:gd name="connsiteY110" fmla="*/ 123825 h 4476750"/>
                  <a:gd name="connsiteX111" fmla="*/ 1811677 w 4519987"/>
                  <a:gd name="connsiteY111" fmla="*/ 114300 h 4476750"/>
                  <a:gd name="connsiteX112" fmla="*/ 1859302 w 4519987"/>
                  <a:gd name="connsiteY112" fmla="*/ 104775 h 4476750"/>
                  <a:gd name="connsiteX113" fmla="*/ 1916452 w 4519987"/>
                  <a:gd name="connsiteY113" fmla="*/ 95250 h 4476750"/>
                  <a:gd name="connsiteX114" fmla="*/ 2030752 w 4519987"/>
                  <a:gd name="connsiteY114" fmla="*/ 66675 h 4476750"/>
                  <a:gd name="connsiteX115" fmla="*/ 2097427 w 4519987"/>
                  <a:gd name="connsiteY115" fmla="*/ 47625 h 4476750"/>
                  <a:gd name="connsiteX116" fmla="*/ 2164102 w 4519987"/>
                  <a:gd name="connsiteY116" fmla="*/ 38100 h 4476750"/>
                  <a:gd name="connsiteX117" fmla="*/ 2392702 w 4519987"/>
                  <a:gd name="connsiteY117" fmla="*/ 28575 h 4476750"/>
                  <a:gd name="connsiteX0" fmla="*/ 2297452 w 4519987"/>
                  <a:gd name="connsiteY0" fmla="*/ 0 h 4457700"/>
                  <a:gd name="connsiteX1" fmla="*/ 2421277 w 4519987"/>
                  <a:gd name="connsiteY1" fmla="*/ 28575 h 4457700"/>
                  <a:gd name="connsiteX2" fmla="*/ 2497477 w 4519987"/>
                  <a:gd name="connsiteY2" fmla="*/ 47625 h 4457700"/>
                  <a:gd name="connsiteX3" fmla="*/ 2754652 w 4519987"/>
                  <a:gd name="connsiteY3" fmla="*/ 66675 h 4457700"/>
                  <a:gd name="connsiteX4" fmla="*/ 2830852 w 4519987"/>
                  <a:gd name="connsiteY4" fmla="*/ 76200 h 4457700"/>
                  <a:gd name="connsiteX5" fmla="*/ 2916577 w 4519987"/>
                  <a:gd name="connsiteY5" fmla="*/ 85725 h 4457700"/>
                  <a:gd name="connsiteX6" fmla="*/ 2973727 w 4519987"/>
                  <a:gd name="connsiteY6" fmla="*/ 114300 h 4457700"/>
                  <a:gd name="connsiteX7" fmla="*/ 3011827 w 4519987"/>
                  <a:gd name="connsiteY7" fmla="*/ 123825 h 4457700"/>
                  <a:gd name="connsiteX8" fmla="*/ 3135652 w 4519987"/>
                  <a:gd name="connsiteY8" fmla="*/ 171450 h 4457700"/>
                  <a:gd name="connsiteX9" fmla="*/ 3173752 w 4519987"/>
                  <a:gd name="connsiteY9" fmla="*/ 190500 h 4457700"/>
                  <a:gd name="connsiteX10" fmla="*/ 3240427 w 4519987"/>
                  <a:gd name="connsiteY10" fmla="*/ 228600 h 4457700"/>
                  <a:gd name="connsiteX11" fmla="*/ 3269002 w 4519987"/>
                  <a:gd name="connsiteY11" fmla="*/ 238125 h 4457700"/>
                  <a:gd name="connsiteX12" fmla="*/ 3297577 w 4519987"/>
                  <a:gd name="connsiteY12" fmla="*/ 257175 h 4457700"/>
                  <a:gd name="connsiteX13" fmla="*/ 3326152 w 4519987"/>
                  <a:gd name="connsiteY13" fmla="*/ 266700 h 4457700"/>
                  <a:gd name="connsiteX14" fmla="*/ 3354727 w 4519987"/>
                  <a:gd name="connsiteY14" fmla="*/ 285750 h 4457700"/>
                  <a:gd name="connsiteX15" fmla="*/ 3421402 w 4519987"/>
                  <a:gd name="connsiteY15" fmla="*/ 323850 h 4457700"/>
                  <a:gd name="connsiteX16" fmla="*/ 3469027 w 4519987"/>
                  <a:gd name="connsiteY16" fmla="*/ 361950 h 4457700"/>
                  <a:gd name="connsiteX17" fmla="*/ 3516652 w 4519987"/>
                  <a:gd name="connsiteY17" fmla="*/ 390525 h 4457700"/>
                  <a:gd name="connsiteX18" fmla="*/ 3630952 w 4519987"/>
                  <a:gd name="connsiteY18" fmla="*/ 485775 h 4457700"/>
                  <a:gd name="connsiteX19" fmla="*/ 3745252 w 4519987"/>
                  <a:gd name="connsiteY19" fmla="*/ 542925 h 4457700"/>
                  <a:gd name="connsiteX20" fmla="*/ 3811927 w 4519987"/>
                  <a:gd name="connsiteY20" fmla="*/ 581025 h 4457700"/>
                  <a:gd name="connsiteX21" fmla="*/ 4027827 w 4519987"/>
                  <a:gd name="connsiteY21" fmla="*/ 819150 h 4457700"/>
                  <a:gd name="connsiteX22" fmla="*/ 4164352 w 4519987"/>
                  <a:gd name="connsiteY22" fmla="*/ 990600 h 4457700"/>
                  <a:gd name="connsiteX23" fmla="*/ 4250077 w 4519987"/>
                  <a:gd name="connsiteY23" fmla="*/ 1143000 h 4457700"/>
                  <a:gd name="connsiteX24" fmla="*/ 4307227 w 4519987"/>
                  <a:gd name="connsiteY24" fmla="*/ 1266825 h 4457700"/>
                  <a:gd name="connsiteX25" fmla="*/ 4345327 w 4519987"/>
                  <a:gd name="connsiteY25" fmla="*/ 1362075 h 4457700"/>
                  <a:gd name="connsiteX26" fmla="*/ 4392952 w 4519987"/>
                  <a:gd name="connsiteY26" fmla="*/ 1552575 h 4457700"/>
                  <a:gd name="connsiteX27" fmla="*/ 4431052 w 4519987"/>
                  <a:gd name="connsiteY27" fmla="*/ 1685925 h 4457700"/>
                  <a:gd name="connsiteX28" fmla="*/ 4519952 w 4519987"/>
                  <a:gd name="connsiteY28" fmla="*/ 2181225 h 4457700"/>
                  <a:gd name="connsiteX29" fmla="*/ 4446927 w 4519987"/>
                  <a:gd name="connsiteY29" fmla="*/ 2768600 h 4457700"/>
                  <a:gd name="connsiteX30" fmla="*/ 4383427 w 4519987"/>
                  <a:gd name="connsiteY30" fmla="*/ 2990850 h 4457700"/>
                  <a:gd name="connsiteX31" fmla="*/ 4278652 w 4519987"/>
                  <a:gd name="connsiteY31" fmla="*/ 3248025 h 4457700"/>
                  <a:gd name="connsiteX32" fmla="*/ 4183402 w 4519987"/>
                  <a:gd name="connsiteY32" fmla="*/ 3400425 h 4457700"/>
                  <a:gd name="connsiteX33" fmla="*/ 4059577 w 4519987"/>
                  <a:gd name="connsiteY33" fmla="*/ 3533775 h 4457700"/>
                  <a:gd name="connsiteX34" fmla="*/ 3954802 w 4519987"/>
                  <a:gd name="connsiteY34" fmla="*/ 3648075 h 4457700"/>
                  <a:gd name="connsiteX35" fmla="*/ 3659527 w 4519987"/>
                  <a:gd name="connsiteY35" fmla="*/ 3971925 h 4457700"/>
                  <a:gd name="connsiteX36" fmla="*/ 3516652 w 4519987"/>
                  <a:gd name="connsiteY36" fmla="*/ 4083050 h 4457700"/>
                  <a:gd name="connsiteX37" fmla="*/ 3221377 w 4519987"/>
                  <a:gd name="connsiteY37" fmla="*/ 4222750 h 4457700"/>
                  <a:gd name="connsiteX38" fmla="*/ 3068977 w 4519987"/>
                  <a:gd name="connsiteY38" fmla="*/ 4286250 h 4457700"/>
                  <a:gd name="connsiteX39" fmla="*/ 2935627 w 4519987"/>
                  <a:gd name="connsiteY39" fmla="*/ 4333875 h 4457700"/>
                  <a:gd name="connsiteX40" fmla="*/ 2811802 w 4519987"/>
                  <a:gd name="connsiteY40" fmla="*/ 4371975 h 4457700"/>
                  <a:gd name="connsiteX41" fmla="*/ 2580027 w 4519987"/>
                  <a:gd name="connsiteY41" fmla="*/ 4391025 h 4457700"/>
                  <a:gd name="connsiteX42" fmla="*/ 2202202 w 4519987"/>
                  <a:gd name="connsiteY42" fmla="*/ 4457700 h 4457700"/>
                  <a:gd name="connsiteX43" fmla="*/ 2126002 w 4519987"/>
                  <a:gd name="connsiteY43" fmla="*/ 4429125 h 4457700"/>
                  <a:gd name="connsiteX44" fmla="*/ 1935502 w 4519987"/>
                  <a:gd name="connsiteY44" fmla="*/ 4400550 h 4457700"/>
                  <a:gd name="connsiteX45" fmla="*/ 1821202 w 4519987"/>
                  <a:gd name="connsiteY45" fmla="*/ 4371975 h 4457700"/>
                  <a:gd name="connsiteX46" fmla="*/ 1754527 w 4519987"/>
                  <a:gd name="connsiteY46" fmla="*/ 4352925 h 4457700"/>
                  <a:gd name="connsiteX47" fmla="*/ 1687852 w 4519987"/>
                  <a:gd name="connsiteY47" fmla="*/ 4343400 h 4457700"/>
                  <a:gd name="connsiteX48" fmla="*/ 1573552 w 4519987"/>
                  <a:gd name="connsiteY48" fmla="*/ 4305300 h 4457700"/>
                  <a:gd name="connsiteX49" fmla="*/ 1402102 w 4519987"/>
                  <a:gd name="connsiteY49" fmla="*/ 4276725 h 4457700"/>
                  <a:gd name="connsiteX50" fmla="*/ 1287802 w 4519987"/>
                  <a:gd name="connsiteY50" fmla="*/ 4229100 h 4457700"/>
                  <a:gd name="connsiteX51" fmla="*/ 1221127 w 4519987"/>
                  <a:gd name="connsiteY51" fmla="*/ 4200525 h 4457700"/>
                  <a:gd name="connsiteX52" fmla="*/ 1144927 w 4519987"/>
                  <a:gd name="connsiteY52" fmla="*/ 4171950 h 4457700"/>
                  <a:gd name="connsiteX53" fmla="*/ 1087777 w 4519987"/>
                  <a:gd name="connsiteY53" fmla="*/ 4143375 h 4457700"/>
                  <a:gd name="connsiteX54" fmla="*/ 1030627 w 4519987"/>
                  <a:gd name="connsiteY54" fmla="*/ 4124325 h 4457700"/>
                  <a:gd name="connsiteX55" fmla="*/ 925852 w 4519987"/>
                  <a:gd name="connsiteY55" fmla="*/ 4067175 h 4457700"/>
                  <a:gd name="connsiteX56" fmla="*/ 830602 w 4519987"/>
                  <a:gd name="connsiteY56" fmla="*/ 3981450 h 4457700"/>
                  <a:gd name="connsiteX57" fmla="*/ 763927 w 4519987"/>
                  <a:gd name="connsiteY57" fmla="*/ 3914775 h 4457700"/>
                  <a:gd name="connsiteX58" fmla="*/ 725827 w 4519987"/>
                  <a:gd name="connsiteY58" fmla="*/ 3876675 h 4457700"/>
                  <a:gd name="connsiteX59" fmla="*/ 697252 w 4519987"/>
                  <a:gd name="connsiteY59" fmla="*/ 3838575 h 4457700"/>
                  <a:gd name="connsiteX60" fmla="*/ 640102 w 4519987"/>
                  <a:gd name="connsiteY60" fmla="*/ 3781425 h 4457700"/>
                  <a:gd name="connsiteX61" fmla="*/ 611527 w 4519987"/>
                  <a:gd name="connsiteY61" fmla="*/ 3733800 h 4457700"/>
                  <a:gd name="connsiteX62" fmla="*/ 554377 w 4519987"/>
                  <a:gd name="connsiteY62" fmla="*/ 3657600 h 4457700"/>
                  <a:gd name="connsiteX63" fmla="*/ 525802 w 4519987"/>
                  <a:gd name="connsiteY63" fmla="*/ 3609975 h 4457700"/>
                  <a:gd name="connsiteX64" fmla="*/ 497227 w 4519987"/>
                  <a:gd name="connsiteY64" fmla="*/ 3552825 h 4457700"/>
                  <a:gd name="connsiteX65" fmla="*/ 440077 w 4519987"/>
                  <a:gd name="connsiteY65" fmla="*/ 3495675 h 4457700"/>
                  <a:gd name="connsiteX66" fmla="*/ 411502 w 4519987"/>
                  <a:gd name="connsiteY66" fmla="*/ 3448050 h 4457700"/>
                  <a:gd name="connsiteX67" fmla="*/ 278152 w 4519987"/>
                  <a:gd name="connsiteY67" fmla="*/ 3257550 h 4457700"/>
                  <a:gd name="connsiteX68" fmla="*/ 249577 w 4519987"/>
                  <a:gd name="connsiteY68" fmla="*/ 3200400 h 4457700"/>
                  <a:gd name="connsiteX69" fmla="*/ 240052 w 4519987"/>
                  <a:gd name="connsiteY69" fmla="*/ 3162300 h 4457700"/>
                  <a:gd name="connsiteX70" fmla="*/ 221002 w 4519987"/>
                  <a:gd name="connsiteY70" fmla="*/ 3105150 h 4457700"/>
                  <a:gd name="connsiteX71" fmla="*/ 173377 w 4519987"/>
                  <a:gd name="connsiteY71" fmla="*/ 3019425 h 4457700"/>
                  <a:gd name="connsiteX72" fmla="*/ 144802 w 4519987"/>
                  <a:gd name="connsiteY72" fmla="*/ 2924175 h 4457700"/>
                  <a:gd name="connsiteX73" fmla="*/ 68602 w 4519987"/>
                  <a:gd name="connsiteY73" fmla="*/ 2724150 h 4457700"/>
                  <a:gd name="connsiteX74" fmla="*/ 49552 w 4519987"/>
                  <a:gd name="connsiteY74" fmla="*/ 2638425 h 4457700"/>
                  <a:gd name="connsiteX75" fmla="*/ 40027 w 4519987"/>
                  <a:gd name="connsiteY75" fmla="*/ 2562225 h 4457700"/>
                  <a:gd name="connsiteX76" fmla="*/ 30502 w 4519987"/>
                  <a:gd name="connsiteY76" fmla="*/ 2514600 h 4457700"/>
                  <a:gd name="connsiteX77" fmla="*/ 11452 w 4519987"/>
                  <a:gd name="connsiteY77" fmla="*/ 2400300 h 4457700"/>
                  <a:gd name="connsiteX78" fmla="*/ 20977 w 4519987"/>
                  <a:gd name="connsiteY78" fmla="*/ 1905000 h 4457700"/>
                  <a:gd name="connsiteX79" fmla="*/ 30502 w 4519987"/>
                  <a:gd name="connsiteY79" fmla="*/ 1838325 h 4457700"/>
                  <a:gd name="connsiteX80" fmla="*/ 49552 w 4519987"/>
                  <a:gd name="connsiteY80" fmla="*/ 1781175 h 4457700"/>
                  <a:gd name="connsiteX81" fmla="*/ 59077 w 4519987"/>
                  <a:gd name="connsiteY81" fmla="*/ 1743075 h 4457700"/>
                  <a:gd name="connsiteX82" fmla="*/ 78127 w 4519987"/>
                  <a:gd name="connsiteY82" fmla="*/ 1685925 h 4457700"/>
                  <a:gd name="connsiteX83" fmla="*/ 87652 w 4519987"/>
                  <a:gd name="connsiteY83" fmla="*/ 1638300 h 4457700"/>
                  <a:gd name="connsiteX84" fmla="*/ 106702 w 4519987"/>
                  <a:gd name="connsiteY84" fmla="*/ 1590675 h 4457700"/>
                  <a:gd name="connsiteX85" fmla="*/ 135277 w 4519987"/>
                  <a:gd name="connsiteY85" fmla="*/ 1504950 h 4457700"/>
                  <a:gd name="connsiteX86" fmla="*/ 154327 w 4519987"/>
                  <a:gd name="connsiteY86" fmla="*/ 1419225 h 4457700"/>
                  <a:gd name="connsiteX87" fmla="*/ 230527 w 4519987"/>
                  <a:gd name="connsiteY87" fmla="*/ 1276350 h 4457700"/>
                  <a:gd name="connsiteX88" fmla="*/ 240052 w 4519987"/>
                  <a:gd name="connsiteY88" fmla="*/ 1247775 h 4457700"/>
                  <a:gd name="connsiteX89" fmla="*/ 268627 w 4519987"/>
                  <a:gd name="connsiteY89" fmla="*/ 1200150 h 4457700"/>
                  <a:gd name="connsiteX90" fmla="*/ 287677 w 4519987"/>
                  <a:gd name="connsiteY90" fmla="*/ 1152525 h 4457700"/>
                  <a:gd name="connsiteX91" fmla="*/ 316252 w 4519987"/>
                  <a:gd name="connsiteY91" fmla="*/ 1114425 h 4457700"/>
                  <a:gd name="connsiteX92" fmla="*/ 363877 w 4519987"/>
                  <a:gd name="connsiteY92" fmla="*/ 1038225 h 4457700"/>
                  <a:gd name="connsiteX93" fmla="*/ 382927 w 4519987"/>
                  <a:gd name="connsiteY93" fmla="*/ 1009650 h 4457700"/>
                  <a:gd name="connsiteX94" fmla="*/ 440077 w 4519987"/>
                  <a:gd name="connsiteY94" fmla="*/ 904875 h 4457700"/>
                  <a:gd name="connsiteX95" fmla="*/ 478177 w 4519987"/>
                  <a:gd name="connsiteY95" fmla="*/ 857250 h 4457700"/>
                  <a:gd name="connsiteX96" fmla="*/ 497227 w 4519987"/>
                  <a:gd name="connsiteY96" fmla="*/ 828675 h 4457700"/>
                  <a:gd name="connsiteX97" fmla="*/ 535327 w 4519987"/>
                  <a:gd name="connsiteY97" fmla="*/ 800100 h 4457700"/>
                  <a:gd name="connsiteX98" fmla="*/ 602002 w 4519987"/>
                  <a:gd name="connsiteY98" fmla="*/ 733425 h 4457700"/>
                  <a:gd name="connsiteX99" fmla="*/ 668677 w 4519987"/>
                  <a:gd name="connsiteY99" fmla="*/ 676275 h 4457700"/>
                  <a:gd name="connsiteX100" fmla="*/ 697252 w 4519987"/>
                  <a:gd name="connsiteY100" fmla="*/ 657225 h 4457700"/>
                  <a:gd name="connsiteX101" fmla="*/ 840127 w 4519987"/>
                  <a:gd name="connsiteY101" fmla="*/ 533400 h 4457700"/>
                  <a:gd name="connsiteX102" fmla="*/ 887752 w 4519987"/>
                  <a:gd name="connsiteY102" fmla="*/ 504825 h 4457700"/>
                  <a:gd name="connsiteX103" fmla="*/ 1167152 w 4519987"/>
                  <a:gd name="connsiteY103" fmla="*/ 311150 h 4457700"/>
                  <a:gd name="connsiteX104" fmla="*/ 1268752 w 4519987"/>
                  <a:gd name="connsiteY104" fmla="*/ 285750 h 4457700"/>
                  <a:gd name="connsiteX105" fmla="*/ 1411627 w 4519987"/>
                  <a:gd name="connsiteY105" fmla="*/ 190500 h 4457700"/>
                  <a:gd name="connsiteX106" fmla="*/ 1449727 w 4519987"/>
                  <a:gd name="connsiteY106" fmla="*/ 161925 h 4457700"/>
                  <a:gd name="connsiteX107" fmla="*/ 1525927 w 4519987"/>
                  <a:gd name="connsiteY107" fmla="*/ 152400 h 4457700"/>
                  <a:gd name="connsiteX108" fmla="*/ 1583077 w 4519987"/>
                  <a:gd name="connsiteY108" fmla="*/ 142875 h 4457700"/>
                  <a:gd name="connsiteX109" fmla="*/ 1716427 w 4519987"/>
                  <a:gd name="connsiteY109" fmla="*/ 123825 h 4457700"/>
                  <a:gd name="connsiteX110" fmla="*/ 1811677 w 4519987"/>
                  <a:gd name="connsiteY110" fmla="*/ 114300 h 4457700"/>
                  <a:gd name="connsiteX111" fmla="*/ 1859302 w 4519987"/>
                  <a:gd name="connsiteY111" fmla="*/ 104775 h 4457700"/>
                  <a:gd name="connsiteX112" fmla="*/ 1916452 w 4519987"/>
                  <a:gd name="connsiteY112" fmla="*/ 95250 h 4457700"/>
                  <a:gd name="connsiteX113" fmla="*/ 2030752 w 4519987"/>
                  <a:gd name="connsiteY113" fmla="*/ 66675 h 4457700"/>
                  <a:gd name="connsiteX114" fmla="*/ 2097427 w 4519987"/>
                  <a:gd name="connsiteY114" fmla="*/ 47625 h 4457700"/>
                  <a:gd name="connsiteX115" fmla="*/ 2164102 w 4519987"/>
                  <a:gd name="connsiteY115" fmla="*/ 38100 h 4457700"/>
                  <a:gd name="connsiteX116" fmla="*/ 2392702 w 4519987"/>
                  <a:gd name="connsiteY116" fmla="*/ 28575 h 4457700"/>
                  <a:gd name="connsiteX0" fmla="*/ 2297452 w 4519987"/>
                  <a:gd name="connsiteY0" fmla="*/ 0 h 4429260"/>
                  <a:gd name="connsiteX1" fmla="*/ 2421277 w 4519987"/>
                  <a:gd name="connsiteY1" fmla="*/ 28575 h 4429260"/>
                  <a:gd name="connsiteX2" fmla="*/ 2497477 w 4519987"/>
                  <a:gd name="connsiteY2" fmla="*/ 47625 h 4429260"/>
                  <a:gd name="connsiteX3" fmla="*/ 2754652 w 4519987"/>
                  <a:gd name="connsiteY3" fmla="*/ 66675 h 4429260"/>
                  <a:gd name="connsiteX4" fmla="*/ 2830852 w 4519987"/>
                  <a:gd name="connsiteY4" fmla="*/ 76200 h 4429260"/>
                  <a:gd name="connsiteX5" fmla="*/ 2916577 w 4519987"/>
                  <a:gd name="connsiteY5" fmla="*/ 85725 h 4429260"/>
                  <a:gd name="connsiteX6" fmla="*/ 2973727 w 4519987"/>
                  <a:gd name="connsiteY6" fmla="*/ 114300 h 4429260"/>
                  <a:gd name="connsiteX7" fmla="*/ 3011827 w 4519987"/>
                  <a:gd name="connsiteY7" fmla="*/ 123825 h 4429260"/>
                  <a:gd name="connsiteX8" fmla="*/ 3135652 w 4519987"/>
                  <a:gd name="connsiteY8" fmla="*/ 171450 h 4429260"/>
                  <a:gd name="connsiteX9" fmla="*/ 3173752 w 4519987"/>
                  <a:gd name="connsiteY9" fmla="*/ 190500 h 4429260"/>
                  <a:gd name="connsiteX10" fmla="*/ 3240427 w 4519987"/>
                  <a:gd name="connsiteY10" fmla="*/ 228600 h 4429260"/>
                  <a:gd name="connsiteX11" fmla="*/ 3269002 w 4519987"/>
                  <a:gd name="connsiteY11" fmla="*/ 238125 h 4429260"/>
                  <a:gd name="connsiteX12" fmla="*/ 3297577 w 4519987"/>
                  <a:gd name="connsiteY12" fmla="*/ 257175 h 4429260"/>
                  <a:gd name="connsiteX13" fmla="*/ 3326152 w 4519987"/>
                  <a:gd name="connsiteY13" fmla="*/ 266700 h 4429260"/>
                  <a:gd name="connsiteX14" fmla="*/ 3354727 w 4519987"/>
                  <a:gd name="connsiteY14" fmla="*/ 285750 h 4429260"/>
                  <a:gd name="connsiteX15" fmla="*/ 3421402 w 4519987"/>
                  <a:gd name="connsiteY15" fmla="*/ 323850 h 4429260"/>
                  <a:gd name="connsiteX16" fmla="*/ 3469027 w 4519987"/>
                  <a:gd name="connsiteY16" fmla="*/ 361950 h 4429260"/>
                  <a:gd name="connsiteX17" fmla="*/ 3516652 w 4519987"/>
                  <a:gd name="connsiteY17" fmla="*/ 390525 h 4429260"/>
                  <a:gd name="connsiteX18" fmla="*/ 3630952 w 4519987"/>
                  <a:gd name="connsiteY18" fmla="*/ 485775 h 4429260"/>
                  <a:gd name="connsiteX19" fmla="*/ 3745252 w 4519987"/>
                  <a:gd name="connsiteY19" fmla="*/ 542925 h 4429260"/>
                  <a:gd name="connsiteX20" fmla="*/ 3811927 w 4519987"/>
                  <a:gd name="connsiteY20" fmla="*/ 581025 h 4429260"/>
                  <a:gd name="connsiteX21" fmla="*/ 4027827 w 4519987"/>
                  <a:gd name="connsiteY21" fmla="*/ 819150 h 4429260"/>
                  <a:gd name="connsiteX22" fmla="*/ 4164352 w 4519987"/>
                  <a:gd name="connsiteY22" fmla="*/ 990600 h 4429260"/>
                  <a:gd name="connsiteX23" fmla="*/ 4250077 w 4519987"/>
                  <a:gd name="connsiteY23" fmla="*/ 1143000 h 4429260"/>
                  <a:gd name="connsiteX24" fmla="*/ 4307227 w 4519987"/>
                  <a:gd name="connsiteY24" fmla="*/ 1266825 h 4429260"/>
                  <a:gd name="connsiteX25" fmla="*/ 4345327 w 4519987"/>
                  <a:gd name="connsiteY25" fmla="*/ 1362075 h 4429260"/>
                  <a:gd name="connsiteX26" fmla="*/ 4392952 w 4519987"/>
                  <a:gd name="connsiteY26" fmla="*/ 1552575 h 4429260"/>
                  <a:gd name="connsiteX27" fmla="*/ 4431052 w 4519987"/>
                  <a:gd name="connsiteY27" fmla="*/ 1685925 h 4429260"/>
                  <a:gd name="connsiteX28" fmla="*/ 4519952 w 4519987"/>
                  <a:gd name="connsiteY28" fmla="*/ 2181225 h 4429260"/>
                  <a:gd name="connsiteX29" fmla="*/ 4446927 w 4519987"/>
                  <a:gd name="connsiteY29" fmla="*/ 2768600 h 4429260"/>
                  <a:gd name="connsiteX30" fmla="*/ 4383427 w 4519987"/>
                  <a:gd name="connsiteY30" fmla="*/ 2990850 h 4429260"/>
                  <a:gd name="connsiteX31" fmla="*/ 4278652 w 4519987"/>
                  <a:gd name="connsiteY31" fmla="*/ 3248025 h 4429260"/>
                  <a:gd name="connsiteX32" fmla="*/ 4183402 w 4519987"/>
                  <a:gd name="connsiteY32" fmla="*/ 3400425 h 4429260"/>
                  <a:gd name="connsiteX33" fmla="*/ 4059577 w 4519987"/>
                  <a:gd name="connsiteY33" fmla="*/ 3533775 h 4429260"/>
                  <a:gd name="connsiteX34" fmla="*/ 3954802 w 4519987"/>
                  <a:gd name="connsiteY34" fmla="*/ 3648075 h 4429260"/>
                  <a:gd name="connsiteX35" fmla="*/ 3659527 w 4519987"/>
                  <a:gd name="connsiteY35" fmla="*/ 3971925 h 4429260"/>
                  <a:gd name="connsiteX36" fmla="*/ 3516652 w 4519987"/>
                  <a:gd name="connsiteY36" fmla="*/ 4083050 h 4429260"/>
                  <a:gd name="connsiteX37" fmla="*/ 3221377 w 4519987"/>
                  <a:gd name="connsiteY37" fmla="*/ 4222750 h 4429260"/>
                  <a:gd name="connsiteX38" fmla="*/ 3068977 w 4519987"/>
                  <a:gd name="connsiteY38" fmla="*/ 4286250 h 4429260"/>
                  <a:gd name="connsiteX39" fmla="*/ 2935627 w 4519987"/>
                  <a:gd name="connsiteY39" fmla="*/ 4333875 h 4429260"/>
                  <a:gd name="connsiteX40" fmla="*/ 2811802 w 4519987"/>
                  <a:gd name="connsiteY40" fmla="*/ 4371975 h 4429260"/>
                  <a:gd name="connsiteX41" fmla="*/ 2580027 w 4519987"/>
                  <a:gd name="connsiteY41" fmla="*/ 4391025 h 4429260"/>
                  <a:gd name="connsiteX42" fmla="*/ 2126002 w 4519987"/>
                  <a:gd name="connsiteY42" fmla="*/ 4429125 h 4429260"/>
                  <a:gd name="connsiteX43" fmla="*/ 1935502 w 4519987"/>
                  <a:gd name="connsiteY43" fmla="*/ 4400550 h 4429260"/>
                  <a:gd name="connsiteX44" fmla="*/ 1821202 w 4519987"/>
                  <a:gd name="connsiteY44" fmla="*/ 4371975 h 4429260"/>
                  <a:gd name="connsiteX45" fmla="*/ 1754527 w 4519987"/>
                  <a:gd name="connsiteY45" fmla="*/ 4352925 h 4429260"/>
                  <a:gd name="connsiteX46" fmla="*/ 1687852 w 4519987"/>
                  <a:gd name="connsiteY46" fmla="*/ 4343400 h 4429260"/>
                  <a:gd name="connsiteX47" fmla="*/ 1573552 w 4519987"/>
                  <a:gd name="connsiteY47" fmla="*/ 4305300 h 4429260"/>
                  <a:gd name="connsiteX48" fmla="*/ 1402102 w 4519987"/>
                  <a:gd name="connsiteY48" fmla="*/ 4276725 h 4429260"/>
                  <a:gd name="connsiteX49" fmla="*/ 1287802 w 4519987"/>
                  <a:gd name="connsiteY49" fmla="*/ 4229100 h 4429260"/>
                  <a:gd name="connsiteX50" fmla="*/ 1221127 w 4519987"/>
                  <a:gd name="connsiteY50" fmla="*/ 4200525 h 4429260"/>
                  <a:gd name="connsiteX51" fmla="*/ 1144927 w 4519987"/>
                  <a:gd name="connsiteY51" fmla="*/ 4171950 h 4429260"/>
                  <a:gd name="connsiteX52" fmla="*/ 1087777 w 4519987"/>
                  <a:gd name="connsiteY52" fmla="*/ 4143375 h 4429260"/>
                  <a:gd name="connsiteX53" fmla="*/ 1030627 w 4519987"/>
                  <a:gd name="connsiteY53" fmla="*/ 4124325 h 4429260"/>
                  <a:gd name="connsiteX54" fmla="*/ 925852 w 4519987"/>
                  <a:gd name="connsiteY54" fmla="*/ 4067175 h 4429260"/>
                  <a:gd name="connsiteX55" fmla="*/ 830602 w 4519987"/>
                  <a:gd name="connsiteY55" fmla="*/ 3981450 h 4429260"/>
                  <a:gd name="connsiteX56" fmla="*/ 763927 w 4519987"/>
                  <a:gd name="connsiteY56" fmla="*/ 3914775 h 4429260"/>
                  <a:gd name="connsiteX57" fmla="*/ 725827 w 4519987"/>
                  <a:gd name="connsiteY57" fmla="*/ 3876675 h 4429260"/>
                  <a:gd name="connsiteX58" fmla="*/ 697252 w 4519987"/>
                  <a:gd name="connsiteY58" fmla="*/ 3838575 h 4429260"/>
                  <a:gd name="connsiteX59" fmla="*/ 640102 w 4519987"/>
                  <a:gd name="connsiteY59" fmla="*/ 3781425 h 4429260"/>
                  <a:gd name="connsiteX60" fmla="*/ 611527 w 4519987"/>
                  <a:gd name="connsiteY60" fmla="*/ 3733800 h 4429260"/>
                  <a:gd name="connsiteX61" fmla="*/ 554377 w 4519987"/>
                  <a:gd name="connsiteY61" fmla="*/ 3657600 h 4429260"/>
                  <a:gd name="connsiteX62" fmla="*/ 525802 w 4519987"/>
                  <a:gd name="connsiteY62" fmla="*/ 3609975 h 4429260"/>
                  <a:gd name="connsiteX63" fmla="*/ 497227 w 4519987"/>
                  <a:gd name="connsiteY63" fmla="*/ 3552825 h 4429260"/>
                  <a:gd name="connsiteX64" fmla="*/ 440077 w 4519987"/>
                  <a:gd name="connsiteY64" fmla="*/ 3495675 h 4429260"/>
                  <a:gd name="connsiteX65" fmla="*/ 411502 w 4519987"/>
                  <a:gd name="connsiteY65" fmla="*/ 3448050 h 4429260"/>
                  <a:gd name="connsiteX66" fmla="*/ 278152 w 4519987"/>
                  <a:gd name="connsiteY66" fmla="*/ 3257550 h 4429260"/>
                  <a:gd name="connsiteX67" fmla="*/ 249577 w 4519987"/>
                  <a:gd name="connsiteY67" fmla="*/ 3200400 h 4429260"/>
                  <a:gd name="connsiteX68" fmla="*/ 240052 w 4519987"/>
                  <a:gd name="connsiteY68" fmla="*/ 3162300 h 4429260"/>
                  <a:gd name="connsiteX69" fmla="*/ 221002 w 4519987"/>
                  <a:gd name="connsiteY69" fmla="*/ 3105150 h 4429260"/>
                  <a:gd name="connsiteX70" fmla="*/ 173377 w 4519987"/>
                  <a:gd name="connsiteY70" fmla="*/ 3019425 h 4429260"/>
                  <a:gd name="connsiteX71" fmla="*/ 144802 w 4519987"/>
                  <a:gd name="connsiteY71" fmla="*/ 2924175 h 4429260"/>
                  <a:gd name="connsiteX72" fmla="*/ 68602 w 4519987"/>
                  <a:gd name="connsiteY72" fmla="*/ 2724150 h 4429260"/>
                  <a:gd name="connsiteX73" fmla="*/ 49552 w 4519987"/>
                  <a:gd name="connsiteY73" fmla="*/ 2638425 h 4429260"/>
                  <a:gd name="connsiteX74" fmla="*/ 40027 w 4519987"/>
                  <a:gd name="connsiteY74" fmla="*/ 2562225 h 4429260"/>
                  <a:gd name="connsiteX75" fmla="*/ 30502 w 4519987"/>
                  <a:gd name="connsiteY75" fmla="*/ 2514600 h 4429260"/>
                  <a:gd name="connsiteX76" fmla="*/ 11452 w 4519987"/>
                  <a:gd name="connsiteY76" fmla="*/ 2400300 h 4429260"/>
                  <a:gd name="connsiteX77" fmla="*/ 20977 w 4519987"/>
                  <a:gd name="connsiteY77" fmla="*/ 1905000 h 4429260"/>
                  <a:gd name="connsiteX78" fmla="*/ 30502 w 4519987"/>
                  <a:gd name="connsiteY78" fmla="*/ 1838325 h 4429260"/>
                  <a:gd name="connsiteX79" fmla="*/ 49552 w 4519987"/>
                  <a:gd name="connsiteY79" fmla="*/ 1781175 h 4429260"/>
                  <a:gd name="connsiteX80" fmla="*/ 59077 w 4519987"/>
                  <a:gd name="connsiteY80" fmla="*/ 1743075 h 4429260"/>
                  <a:gd name="connsiteX81" fmla="*/ 78127 w 4519987"/>
                  <a:gd name="connsiteY81" fmla="*/ 1685925 h 4429260"/>
                  <a:gd name="connsiteX82" fmla="*/ 87652 w 4519987"/>
                  <a:gd name="connsiteY82" fmla="*/ 1638300 h 4429260"/>
                  <a:gd name="connsiteX83" fmla="*/ 106702 w 4519987"/>
                  <a:gd name="connsiteY83" fmla="*/ 1590675 h 4429260"/>
                  <a:gd name="connsiteX84" fmla="*/ 135277 w 4519987"/>
                  <a:gd name="connsiteY84" fmla="*/ 1504950 h 4429260"/>
                  <a:gd name="connsiteX85" fmla="*/ 154327 w 4519987"/>
                  <a:gd name="connsiteY85" fmla="*/ 1419225 h 4429260"/>
                  <a:gd name="connsiteX86" fmla="*/ 230527 w 4519987"/>
                  <a:gd name="connsiteY86" fmla="*/ 1276350 h 4429260"/>
                  <a:gd name="connsiteX87" fmla="*/ 240052 w 4519987"/>
                  <a:gd name="connsiteY87" fmla="*/ 1247775 h 4429260"/>
                  <a:gd name="connsiteX88" fmla="*/ 268627 w 4519987"/>
                  <a:gd name="connsiteY88" fmla="*/ 1200150 h 4429260"/>
                  <a:gd name="connsiteX89" fmla="*/ 287677 w 4519987"/>
                  <a:gd name="connsiteY89" fmla="*/ 1152525 h 4429260"/>
                  <a:gd name="connsiteX90" fmla="*/ 316252 w 4519987"/>
                  <a:gd name="connsiteY90" fmla="*/ 1114425 h 4429260"/>
                  <a:gd name="connsiteX91" fmla="*/ 363877 w 4519987"/>
                  <a:gd name="connsiteY91" fmla="*/ 1038225 h 4429260"/>
                  <a:gd name="connsiteX92" fmla="*/ 382927 w 4519987"/>
                  <a:gd name="connsiteY92" fmla="*/ 1009650 h 4429260"/>
                  <a:gd name="connsiteX93" fmla="*/ 440077 w 4519987"/>
                  <a:gd name="connsiteY93" fmla="*/ 904875 h 4429260"/>
                  <a:gd name="connsiteX94" fmla="*/ 478177 w 4519987"/>
                  <a:gd name="connsiteY94" fmla="*/ 857250 h 4429260"/>
                  <a:gd name="connsiteX95" fmla="*/ 497227 w 4519987"/>
                  <a:gd name="connsiteY95" fmla="*/ 828675 h 4429260"/>
                  <a:gd name="connsiteX96" fmla="*/ 535327 w 4519987"/>
                  <a:gd name="connsiteY96" fmla="*/ 800100 h 4429260"/>
                  <a:gd name="connsiteX97" fmla="*/ 602002 w 4519987"/>
                  <a:gd name="connsiteY97" fmla="*/ 733425 h 4429260"/>
                  <a:gd name="connsiteX98" fmla="*/ 668677 w 4519987"/>
                  <a:gd name="connsiteY98" fmla="*/ 676275 h 4429260"/>
                  <a:gd name="connsiteX99" fmla="*/ 697252 w 4519987"/>
                  <a:gd name="connsiteY99" fmla="*/ 657225 h 4429260"/>
                  <a:gd name="connsiteX100" fmla="*/ 840127 w 4519987"/>
                  <a:gd name="connsiteY100" fmla="*/ 533400 h 4429260"/>
                  <a:gd name="connsiteX101" fmla="*/ 887752 w 4519987"/>
                  <a:gd name="connsiteY101" fmla="*/ 504825 h 4429260"/>
                  <a:gd name="connsiteX102" fmla="*/ 1167152 w 4519987"/>
                  <a:gd name="connsiteY102" fmla="*/ 311150 h 4429260"/>
                  <a:gd name="connsiteX103" fmla="*/ 1268752 w 4519987"/>
                  <a:gd name="connsiteY103" fmla="*/ 285750 h 4429260"/>
                  <a:gd name="connsiteX104" fmla="*/ 1411627 w 4519987"/>
                  <a:gd name="connsiteY104" fmla="*/ 190500 h 4429260"/>
                  <a:gd name="connsiteX105" fmla="*/ 1449727 w 4519987"/>
                  <a:gd name="connsiteY105" fmla="*/ 161925 h 4429260"/>
                  <a:gd name="connsiteX106" fmla="*/ 1525927 w 4519987"/>
                  <a:gd name="connsiteY106" fmla="*/ 152400 h 4429260"/>
                  <a:gd name="connsiteX107" fmla="*/ 1583077 w 4519987"/>
                  <a:gd name="connsiteY107" fmla="*/ 142875 h 4429260"/>
                  <a:gd name="connsiteX108" fmla="*/ 1716427 w 4519987"/>
                  <a:gd name="connsiteY108" fmla="*/ 123825 h 4429260"/>
                  <a:gd name="connsiteX109" fmla="*/ 1811677 w 4519987"/>
                  <a:gd name="connsiteY109" fmla="*/ 114300 h 4429260"/>
                  <a:gd name="connsiteX110" fmla="*/ 1859302 w 4519987"/>
                  <a:gd name="connsiteY110" fmla="*/ 104775 h 4429260"/>
                  <a:gd name="connsiteX111" fmla="*/ 1916452 w 4519987"/>
                  <a:gd name="connsiteY111" fmla="*/ 95250 h 4429260"/>
                  <a:gd name="connsiteX112" fmla="*/ 2030752 w 4519987"/>
                  <a:gd name="connsiteY112" fmla="*/ 66675 h 4429260"/>
                  <a:gd name="connsiteX113" fmla="*/ 2097427 w 4519987"/>
                  <a:gd name="connsiteY113" fmla="*/ 47625 h 4429260"/>
                  <a:gd name="connsiteX114" fmla="*/ 2164102 w 4519987"/>
                  <a:gd name="connsiteY114" fmla="*/ 38100 h 4429260"/>
                  <a:gd name="connsiteX115" fmla="*/ 2392702 w 4519987"/>
                  <a:gd name="connsiteY115" fmla="*/ 28575 h 4429260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687852 w 4519987"/>
                  <a:gd name="connsiteY45" fmla="*/ 4343400 h 4429225"/>
                  <a:gd name="connsiteX46" fmla="*/ 1573552 w 4519987"/>
                  <a:gd name="connsiteY46" fmla="*/ 4305300 h 4429225"/>
                  <a:gd name="connsiteX47" fmla="*/ 1402102 w 4519987"/>
                  <a:gd name="connsiteY47" fmla="*/ 4276725 h 4429225"/>
                  <a:gd name="connsiteX48" fmla="*/ 1287802 w 4519987"/>
                  <a:gd name="connsiteY48" fmla="*/ 4229100 h 4429225"/>
                  <a:gd name="connsiteX49" fmla="*/ 1221127 w 4519987"/>
                  <a:gd name="connsiteY49" fmla="*/ 4200525 h 4429225"/>
                  <a:gd name="connsiteX50" fmla="*/ 1144927 w 4519987"/>
                  <a:gd name="connsiteY50" fmla="*/ 4171950 h 4429225"/>
                  <a:gd name="connsiteX51" fmla="*/ 1087777 w 4519987"/>
                  <a:gd name="connsiteY51" fmla="*/ 4143375 h 4429225"/>
                  <a:gd name="connsiteX52" fmla="*/ 1030627 w 4519987"/>
                  <a:gd name="connsiteY52" fmla="*/ 4124325 h 4429225"/>
                  <a:gd name="connsiteX53" fmla="*/ 925852 w 4519987"/>
                  <a:gd name="connsiteY53" fmla="*/ 4067175 h 4429225"/>
                  <a:gd name="connsiteX54" fmla="*/ 830602 w 4519987"/>
                  <a:gd name="connsiteY54" fmla="*/ 3981450 h 4429225"/>
                  <a:gd name="connsiteX55" fmla="*/ 763927 w 4519987"/>
                  <a:gd name="connsiteY55" fmla="*/ 3914775 h 4429225"/>
                  <a:gd name="connsiteX56" fmla="*/ 725827 w 4519987"/>
                  <a:gd name="connsiteY56" fmla="*/ 3876675 h 4429225"/>
                  <a:gd name="connsiteX57" fmla="*/ 697252 w 4519987"/>
                  <a:gd name="connsiteY57" fmla="*/ 3838575 h 4429225"/>
                  <a:gd name="connsiteX58" fmla="*/ 640102 w 4519987"/>
                  <a:gd name="connsiteY58" fmla="*/ 3781425 h 4429225"/>
                  <a:gd name="connsiteX59" fmla="*/ 611527 w 4519987"/>
                  <a:gd name="connsiteY59" fmla="*/ 3733800 h 4429225"/>
                  <a:gd name="connsiteX60" fmla="*/ 554377 w 4519987"/>
                  <a:gd name="connsiteY60" fmla="*/ 3657600 h 4429225"/>
                  <a:gd name="connsiteX61" fmla="*/ 525802 w 4519987"/>
                  <a:gd name="connsiteY61" fmla="*/ 3609975 h 4429225"/>
                  <a:gd name="connsiteX62" fmla="*/ 497227 w 4519987"/>
                  <a:gd name="connsiteY62" fmla="*/ 3552825 h 4429225"/>
                  <a:gd name="connsiteX63" fmla="*/ 440077 w 4519987"/>
                  <a:gd name="connsiteY63" fmla="*/ 3495675 h 4429225"/>
                  <a:gd name="connsiteX64" fmla="*/ 411502 w 4519987"/>
                  <a:gd name="connsiteY64" fmla="*/ 3448050 h 4429225"/>
                  <a:gd name="connsiteX65" fmla="*/ 278152 w 4519987"/>
                  <a:gd name="connsiteY65" fmla="*/ 3257550 h 4429225"/>
                  <a:gd name="connsiteX66" fmla="*/ 249577 w 4519987"/>
                  <a:gd name="connsiteY66" fmla="*/ 3200400 h 4429225"/>
                  <a:gd name="connsiteX67" fmla="*/ 240052 w 4519987"/>
                  <a:gd name="connsiteY67" fmla="*/ 3162300 h 4429225"/>
                  <a:gd name="connsiteX68" fmla="*/ 221002 w 4519987"/>
                  <a:gd name="connsiteY68" fmla="*/ 3105150 h 4429225"/>
                  <a:gd name="connsiteX69" fmla="*/ 173377 w 4519987"/>
                  <a:gd name="connsiteY69" fmla="*/ 3019425 h 4429225"/>
                  <a:gd name="connsiteX70" fmla="*/ 144802 w 4519987"/>
                  <a:gd name="connsiteY70" fmla="*/ 2924175 h 4429225"/>
                  <a:gd name="connsiteX71" fmla="*/ 68602 w 4519987"/>
                  <a:gd name="connsiteY71" fmla="*/ 2724150 h 4429225"/>
                  <a:gd name="connsiteX72" fmla="*/ 49552 w 4519987"/>
                  <a:gd name="connsiteY72" fmla="*/ 2638425 h 4429225"/>
                  <a:gd name="connsiteX73" fmla="*/ 40027 w 4519987"/>
                  <a:gd name="connsiteY73" fmla="*/ 2562225 h 4429225"/>
                  <a:gd name="connsiteX74" fmla="*/ 30502 w 4519987"/>
                  <a:gd name="connsiteY74" fmla="*/ 2514600 h 4429225"/>
                  <a:gd name="connsiteX75" fmla="*/ 11452 w 4519987"/>
                  <a:gd name="connsiteY75" fmla="*/ 2400300 h 4429225"/>
                  <a:gd name="connsiteX76" fmla="*/ 20977 w 4519987"/>
                  <a:gd name="connsiteY76" fmla="*/ 1905000 h 4429225"/>
                  <a:gd name="connsiteX77" fmla="*/ 30502 w 4519987"/>
                  <a:gd name="connsiteY77" fmla="*/ 1838325 h 4429225"/>
                  <a:gd name="connsiteX78" fmla="*/ 49552 w 4519987"/>
                  <a:gd name="connsiteY78" fmla="*/ 1781175 h 4429225"/>
                  <a:gd name="connsiteX79" fmla="*/ 59077 w 4519987"/>
                  <a:gd name="connsiteY79" fmla="*/ 1743075 h 4429225"/>
                  <a:gd name="connsiteX80" fmla="*/ 78127 w 4519987"/>
                  <a:gd name="connsiteY80" fmla="*/ 1685925 h 4429225"/>
                  <a:gd name="connsiteX81" fmla="*/ 87652 w 4519987"/>
                  <a:gd name="connsiteY81" fmla="*/ 1638300 h 4429225"/>
                  <a:gd name="connsiteX82" fmla="*/ 106702 w 4519987"/>
                  <a:gd name="connsiteY82" fmla="*/ 1590675 h 4429225"/>
                  <a:gd name="connsiteX83" fmla="*/ 135277 w 4519987"/>
                  <a:gd name="connsiteY83" fmla="*/ 1504950 h 4429225"/>
                  <a:gd name="connsiteX84" fmla="*/ 154327 w 4519987"/>
                  <a:gd name="connsiteY84" fmla="*/ 1419225 h 4429225"/>
                  <a:gd name="connsiteX85" fmla="*/ 230527 w 4519987"/>
                  <a:gd name="connsiteY85" fmla="*/ 1276350 h 4429225"/>
                  <a:gd name="connsiteX86" fmla="*/ 240052 w 4519987"/>
                  <a:gd name="connsiteY86" fmla="*/ 1247775 h 4429225"/>
                  <a:gd name="connsiteX87" fmla="*/ 268627 w 4519987"/>
                  <a:gd name="connsiteY87" fmla="*/ 1200150 h 4429225"/>
                  <a:gd name="connsiteX88" fmla="*/ 287677 w 4519987"/>
                  <a:gd name="connsiteY88" fmla="*/ 1152525 h 4429225"/>
                  <a:gd name="connsiteX89" fmla="*/ 316252 w 4519987"/>
                  <a:gd name="connsiteY89" fmla="*/ 1114425 h 4429225"/>
                  <a:gd name="connsiteX90" fmla="*/ 363877 w 4519987"/>
                  <a:gd name="connsiteY90" fmla="*/ 1038225 h 4429225"/>
                  <a:gd name="connsiteX91" fmla="*/ 382927 w 4519987"/>
                  <a:gd name="connsiteY91" fmla="*/ 1009650 h 4429225"/>
                  <a:gd name="connsiteX92" fmla="*/ 440077 w 4519987"/>
                  <a:gd name="connsiteY92" fmla="*/ 904875 h 4429225"/>
                  <a:gd name="connsiteX93" fmla="*/ 478177 w 4519987"/>
                  <a:gd name="connsiteY93" fmla="*/ 857250 h 4429225"/>
                  <a:gd name="connsiteX94" fmla="*/ 497227 w 4519987"/>
                  <a:gd name="connsiteY94" fmla="*/ 828675 h 4429225"/>
                  <a:gd name="connsiteX95" fmla="*/ 535327 w 4519987"/>
                  <a:gd name="connsiteY95" fmla="*/ 800100 h 4429225"/>
                  <a:gd name="connsiteX96" fmla="*/ 602002 w 4519987"/>
                  <a:gd name="connsiteY96" fmla="*/ 733425 h 4429225"/>
                  <a:gd name="connsiteX97" fmla="*/ 668677 w 4519987"/>
                  <a:gd name="connsiteY97" fmla="*/ 676275 h 4429225"/>
                  <a:gd name="connsiteX98" fmla="*/ 697252 w 4519987"/>
                  <a:gd name="connsiteY98" fmla="*/ 657225 h 4429225"/>
                  <a:gd name="connsiteX99" fmla="*/ 840127 w 4519987"/>
                  <a:gd name="connsiteY99" fmla="*/ 533400 h 4429225"/>
                  <a:gd name="connsiteX100" fmla="*/ 887752 w 4519987"/>
                  <a:gd name="connsiteY100" fmla="*/ 504825 h 4429225"/>
                  <a:gd name="connsiteX101" fmla="*/ 1167152 w 4519987"/>
                  <a:gd name="connsiteY101" fmla="*/ 311150 h 4429225"/>
                  <a:gd name="connsiteX102" fmla="*/ 1268752 w 4519987"/>
                  <a:gd name="connsiteY102" fmla="*/ 285750 h 4429225"/>
                  <a:gd name="connsiteX103" fmla="*/ 1411627 w 4519987"/>
                  <a:gd name="connsiteY103" fmla="*/ 190500 h 4429225"/>
                  <a:gd name="connsiteX104" fmla="*/ 1449727 w 4519987"/>
                  <a:gd name="connsiteY104" fmla="*/ 161925 h 4429225"/>
                  <a:gd name="connsiteX105" fmla="*/ 1525927 w 4519987"/>
                  <a:gd name="connsiteY105" fmla="*/ 152400 h 4429225"/>
                  <a:gd name="connsiteX106" fmla="*/ 1583077 w 4519987"/>
                  <a:gd name="connsiteY106" fmla="*/ 142875 h 4429225"/>
                  <a:gd name="connsiteX107" fmla="*/ 1716427 w 4519987"/>
                  <a:gd name="connsiteY107" fmla="*/ 123825 h 4429225"/>
                  <a:gd name="connsiteX108" fmla="*/ 1811677 w 4519987"/>
                  <a:gd name="connsiteY108" fmla="*/ 114300 h 4429225"/>
                  <a:gd name="connsiteX109" fmla="*/ 1859302 w 4519987"/>
                  <a:gd name="connsiteY109" fmla="*/ 104775 h 4429225"/>
                  <a:gd name="connsiteX110" fmla="*/ 1916452 w 4519987"/>
                  <a:gd name="connsiteY110" fmla="*/ 95250 h 4429225"/>
                  <a:gd name="connsiteX111" fmla="*/ 2030752 w 4519987"/>
                  <a:gd name="connsiteY111" fmla="*/ 66675 h 4429225"/>
                  <a:gd name="connsiteX112" fmla="*/ 2097427 w 4519987"/>
                  <a:gd name="connsiteY112" fmla="*/ 47625 h 4429225"/>
                  <a:gd name="connsiteX113" fmla="*/ 2164102 w 4519987"/>
                  <a:gd name="connsiteY113" fmla="*/ 38100 h 4429225"/>
                  <a:gd name="connsiteX114" fmla="*/ 2392702 w 4519987"/>
                  <a:gd name="connsiteY114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402102 w 4519987"/>
                  <a:gd name="connsiteY46" fmla="*/ 4276725 h 4429225"/>
                  <a:gd name="connsiteX47" fmla="*/ 1287802 w 4519987"/>
                  <a:gd name="connsiteY47" fmla="*/ 4229100 h 4429225"/>
                  <a:gd name="connsiteX48" fmla="*/ 1221127 w 4519987"/>
                  <a:gd name="connsiteY48" fmla="*/ 4200525 h 4429225"/>
                  <a:gd name="connsiteX49" fmla="*/ 1144927 w 4519987"/>
                  <a:gd name="connsiteY49" fmla="*/ 4171950 h 4429225"/>
                  <a:gd name="connsiteX50" fmla="*/ 1087777 w 4519987"/>
                  <a:gd name="connsiteY50" fmla="*/ 4143375 h 4429225"/>
                  <a:gd name="connsiteX51" fmla="*/ 1030627 w 4519987"/>
                  <a:gd name="connsiteY51" fmla="*/ 4124325 h 4429225"/>
                  <a:gd name="connsiteX52" fmla="*/ 925852 w 4519987"/>
                  <a:gd name="connsiteY52" fmla="*/ 4067175 h 4429225"/>
                  <a:gd name="connsiteX53" fmla="*/ 830602 w 4519987"/>
                  <a:gd name="connsiteY53" fmla="*/ 3981450 h 4429225"/>
                  <a:gd name="connsiteX54" fmla="*/ 763927 w 4519987"/>
                  <a:gd name="connsiteY54" fmla="*/ 3914775 h 4429225"/>
                  <a:gd name="connsiteX55" fmla="*/ 725827 w 4519987"/>
                  <a:gd name="connsiteY55" fmla="*/ 3876675 h 4429225"/>
                  <a:gd name="connsiteX56" fmla="*/ 697252 w 4519987"/>
                  <a:gd name="connsiteY56" fmla="*/ 3838575 h 4429225"/>
                  <a:gd name="connsiteX57" fmla="*/ 640102 w 4519987"/>
                  <a:gd name="connsiteY57" fmla="*/ 3781425 h 4429225"/>
                  <a:gd name="connsiteX58" fmla="*/ 611527 w 4519987"/>
                  <a:gd name="connsiteY58" fmla="*/ 3733800 h 4429225"/>
                  <a:gd name="connsiteX59" fmla="*/ 554377 w 4519987"/>
                  <a:gd name="connsiteY59" fmla="*/ 3657600 h 4429225"/>
                  <a:gd name="connsiteX60" fmla="*/ 525802 w 4519987"/>
                  <a:gd name="connsiteY60" fmla="*/ 3609975 h 4429225"/>
                  <a:gd name="connsiteX61" fmla="*/ 497227 w 4519987"/>
                  <a:gd name="connsiteY61" fmla="*/ 3552825 h 4429225"/>
                  <a:gd name="connsiteX62" fmla="*/ 440077 w 4519987"/>
                  <a:gd name="connsiteY62" fmla="*/ 3495675 h 4429225"/>
                  <a:gd name="connsiteX63" fmla="*/ 411502 w 4519987"/>
                  <a:gd name="connsiteY63" fmla="*/ 3448050 h 4429225"/>
                  <a:gd name="connsiteX64" fmla="*/ 278152 w 4519987"/>
                  <a:gd name="connsiteY64" fmla="*/ 3257550 h 4429225"/>
                  <a:gd name="connsiteX65" fmla="*/ 249577 w 4519987"/>
                  <a:gd name="connsiteY65" fmla="*/ 3200400 h 4429225"/>
                  <a:gd name="connsiteX66" fmla="*/ 240052 w 4519987"/>
                  <a:gd name="connsiteY66" fmla="*/ 3162300 h 4429225"/>
                  <a:gd name="connsiteX67" fmla="*/ 221002 w 4519987"/>
                  <a:gd name="connsiteY67" fmla="*/ 3105150 h 4429225"/>
                  <a:gd name="connsiteX68" fmla="*/ 173377 w 4519987"/>
                  <a:gd name="connsiteY68" fmla="*/ 3019425 h 4429225"/>
                  <a:gd name="connsiteX69" fmla="*/ 144802 w 4519987"/>
                  <a:gd name="connsiteY69" fmla="*/ 2924175 h 4429225"/>
                  <a:gd name="connsiteX70" fmla="*/ 68602 w 4519987"/>
                  <a:gd name="connsiteY70" fmla="*/ 2724150 h 4429225"/>
                  <a:gd name="connsiteX71" fmla="*/ 49552 w 4519987"/>
                  <a:gd name="connsiteY71" fmla="*/ 2638425 h 4429225"/>
                  <a:gd name="connsiteX72" fmla="*/ 40027 w 4519987"/>
                  <a:gd name="connsiteY72" fmla="*/ 2562225 h 4429225"/>
                  <a:gd name="connsiteX73" fmla="*/ 30502 w 4519987"/>
                  <a:gd name="connsiteY73" fmla="*/ 2514600 h 4429225"/>
                  <a:gd name="connsiteX74" fmla="*/ 11452 w 4519987"/>
                  <a:gd name="connsiteY74" fmla="*/ 2400300 h 4429225"/>
                  <a:gd name="connsiteX75" fmla="*/ 20977 w 4519987"/>
                  <a:gd name="connsiteY75" fmla="*/ 1905000 h 4429225"/>
                  <a:gd name="connsiteX76" fmla="*/ 30502 w 4519987"/>
                  <a:gd name="connsiteY76" fmla="*/ 1838325 h 4429225"/>
                  <a:gd name="connsiteX77" fmla="*/ 49552 w 4519987"/>
                  <a:gd name="connsiteY77" fmla="*/ 1781175 h 4429225"/>
                  <a:gd name="connsiteX78" fmla="*/ 59077 w 4519987"/>
                  <a:gd name="connsiteY78" fmla="*/ 1743075 h 4429225"/>
                  <a:gd name="connsiteX79" fmla="*/ 78127 w 4519987"/>
                  <a:gd name="connsiteY79" fmla="*/ 1685925 h 4429225"/>
                  <a:gd name="connsiteX80" fmla="*/ 87652 w 4519987"/>
                  <a:gd name="connsiteY80" fmla="*/ 1638300 h 4429225"/>
                  <a:gd name="connsiteX81" fmla="*/ 106702 w 4519987"/>
                  <a:gd name="connsiteY81" fmla="*/ 1590675 h 4429225"/>
                  <a:gd name="connsiteX82" fmla="*/ 135277 w 4519987"/>
                  <a:gd name="connsiteY82" fmla="*/ 1504950 h 4429225"/>
                  <a:gd name="connsiteX83" fmla="*/ 154327 w 4519987"/>
                  <a:gd name="connsiteY83" fmla="*/ 1419225 h 4429225"/>
                  <a:gd name="connsiteX84" fmla="*/ 230527 w 4519987"/>
                  <a:gd name="connsiteY84" fmla="*/ 1276350 h 4429225"/>
                  <a:gd name="connsiteX85" fmla="*/ 240052 w 4519987"/>
                  <a:gd name="connsiteY85" fmla="*/ 1247775 h 4429225"/>
                  <a:gd name="connsiteX86" fmla="*/ 268627 w 4519987"/>
                  <a:gd name="connsiteY86" fmla="*/ 1200150 h 4429225"/>
                  <a:gd name="connsiteX87" fmla="*/ 287677 w 4519987"/>
                  <a:gd name="connsiteY87" fmla="*/ 1152525 h 4429225"/>
                  <a:gd name="connsiteX88" fmla="*/ 316252 w 4519987"/>
                  <a:gd name="connsiteY88" fmla="*/ 1114425 h 4429225"/>
                  <a:gd name="connsiteX89" fmla="*/ 363877 w 4519987"/>
                  <a:gd name="connsiteY89" fmla="*/ 1038225 h 4429225"/>
                  <a:gd name="connsiteX90" fmla="*/ 382927 w 4519987"/>
                  <a:gd name="connsiteY90" fmla="*/ 1009650 h 4429225"/>
                  <a:gd name="connsiteX91" fmla="*/ 440077 w 4519987"/>
                  <a:gd name="connsiteY91" fmla="*/ 904875 h 4429225"/>
                  <a:gd name="connsiteX92" fmla="*/ 478177 w 4519987"/>
                  <a:gd name="connsiteY92" fmla="*/ 857250 h 4429225"/>
                  <a:gd name="connsiteX93" fmla="*/ 497227 w 4519987"/>
                  <a:gd name="connsiteY93" fmla="*/ 828675 h 4429225"/>
                  <a:gd name="connsiteX94" fmla="*/ 535327 w 4519987"/>
                  <a:gd name="connsiteY94" fmla="*/ 800100 h 4429225"/>
                  <a:gd name="connsiteX95" fmla="*/ 602002 w 4519987"/>
                  <a:gd name="connsiteY95" fmla="*/ 733425 h 4429225"/>
                  <a:gd name="connsiteX96" fmla="*/ 668677 w 4519987"/>
                  <a:gd name="connsiteY96" fmla="*/ 676275 h 4429225"/>
                  <a:gd name="connsiteX97" fmla="*/ 697252 w 4519987"/>
                  <a:gd name="connsiteY97" fmla="*/ 657225 h 4429225"/>
                  <a:gd name="connsiteX98" fmla="*/ 840127 w 4519987"/>
                  <a:gd name="connsiteY98" fmla="*/ 533400 h 4429225"/>
                  <a:gd name="connsiteX99" fmla="*/ 887752 w 4519987"/>
                  <a:gd name="connsiteY99" fmla="*/ 504825 h 4429225"/>
                  <a:gd name="connsiteX100" fmla="*/ 1167152 w 4519987"/>
                  <a:gd name="connsiteY100" fmla="*/ 311150 h 4429225"/>
                  <a:gd name="connsiteX101" fmla="*/ 1268752 w 4519987"/>
                  <a:gd name="connsiteY101" fmla="*/ 285750 h 4429225"/>
                  <a:gd name="connsiteX102" fmla="*/ 1411627 w 4519987"/>
                  <a:gd name="connsiteY102" fmla="*/ 190500 h 4429225"/>
                  <a:gd name="connsiteX103" fmla="*/ 1449727 w 4519987"/>
                  <a:gd name="connsiteY103" fmla="*/ 161925 h 4429225"/>
                  <a:gd name="connsiteX104" fmla="*/ 1525927 w 4519987"/>
                  <a:gd name="connsiteY104" fmla="*/ 152400 h 4429225"/>
                  <a:gd name="connsiteX105" fmla="*/ 1583077 w 4519987"/>
                  <a:gd name="connsiteY105" fmla="*/ 142875 h 4429225"/>
                  <a:gd name="connsiteX106" fmla="*/ 1716427 w 4519987"/>
                  <a:gd name="connsiteY106" fmla="*/ 123825 h 4429225"/>
                  <a:gd name="connsiteX107" fmla="*/ 1811677 w 4519987"/>
                  <a:gd name="connsiteY107" fmla="*/ 114300 h 4429225"/>
                  <a:gd name="connsiteX108" fmla="*/ 1859302 w 4519987"/>
                  <a:gd name="connsiteY108" fmla="*/ 104775 h 4429225"/>
                  <a:gd name="connsiteX109" fmla="*/ 1916452 w 4519987"/>
                  <a:gd name="connsiteY109" fmla="*/ 95250 h 4429225"/>
                  <a:gd name="connsiteX110" fmla="*/ 2030752 w 4519987"/>
                  <a:gd name="connsiteY110" fmla="*/ 66675 h 4429225"/>
                  <a:gd name="connsiteX111" fmla="*/ 2097427 w 4519987"/>
                  <a:gd name="connsiteY111" fmla="*/ 47625 h 4429225"/>
                  <a:gd name="connsiteX112" fmla="*/ 2164102 w 4519987"/>
                  <a:gd name="connsiteY112" fmla="*/ 38100 h 4429225"/>
                  <a:gd name="connsiteX113" fmla="*/ 2392702 w 4519987"/>
                  <a:gd name="connsiteY113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221127 w 4519987"/>
                  <a:gd name="connsiteY47" fmla="*/ 4200525 h 4429225"/>
                  <a:gd name="connsiteX48" fmla="*/ 1144927 w 4519987"/>
                  <a:gd name="connsiteY48" fmla="*/ 4171950 h 4429225"/>
                  <a:gd name="connsiteX49" fmla="*/ 1087777 w 4519987"/>
                  <a:gd name="connsiteY49" fmla="*/ 4143375 h 4429225"/>
                  <a:gd name="connsiteX50" fmla="*/ 1030627 w 4519987"/>
                  <a:gd name="connsiteY50" fmla="*/ 4124325 h 4429225"/>
                  <a:gd name="connsiteX51" fmla="*/ 925852 w 4519987"/>
                  <a:gd name="connsiteY51" fmla="*/ 4067175 h 4429225"/>
                  <a:gd name="connsiteX52" fmla="*/ 830602 w 4519987"/>
                  <a:gd name="connsiteY52" fmla="*/ 3981450 h 4429225"/>
                  <a:gd name="connsiteX53" fmla="*/ 763927 w 4519987"/>
                  <a:gd name="connsiteY53" fmla="*/ 3914775 h 4429225"/>
                  <a:gd name="connsiteX54" fmla="*/ 725827 w 4519987"/>
                  <a:gd name="connsiteY54" fmla="*/ 3876675 h 4429225"/>
                  <a:gd name="connsiteX55" fmla="*/ 697252 w 4519987"/>
                  <a:gd name="connsiteY55" fmla="*/ 3838575 h 4429225"/>
                  <a:gd name="connsiteX56" fmla="*/ 640102 w 4519987"/>
                  <a:gd name="connsiteY56" fmla="*/ 3781425 h 4429225"/>
                  <a:gd name="connsiteX57" fmla="*/ 611527 w 4519987"/>
                  <a:gd name="connsiteY57" fmla="*/ 3733800 h 4429225"/>
                  <a:gd name="connsiteX58" fmla="*/ 554377 w 4519987"/>
                  <a:gd name="connsiteY58" fmla="*/ 3657600 h 4429225"/>
                  <a:gd name="connsiteX59" fmla="*/ 525802 w 4519987"/>
                  <a:gd name="connsiteY59" fmla="*/ 3609975 h 4429225"/>
                  <a:gd name="connsiteX60" fmla="*/ 497227 w 4519987"/>
                  <a:gd name="connsiteY60" fmla="*/ 3552825 h 4429225"/>
                  <a:gd name="connsiteX61" fmla="*/ 440077 w 4519987"/>
                  <a:gd name="connsiteY61" fmla="*/ 3495675 h 4429225"/>
                  <a:gd name="connsiteX62" fmla="*/ 411502 w 4519987"/>
                  <a:gd name="connsiteY62" fmla="*/ 3448050 h 4429225"/>
                  <a:gd name="connsiteX63" fmla="*/ 278152 w 4519987"/>
                  <a:gd name="connsiteY63" fmla="*/ 3257550 h 4429225"/>
                  <a:gd name="connsiteX64" fmla="*/ 249577 w 4519987"/>
                  <a:gd name="connsiteY64" fmla="*/ 3200400 h 4429225"/>
                  <a:gd name="connsiteX65" fmla="*/ 240052 w 4519987"/>
                  <a:gd name="connsiteY65" fmla="*/ 3162300 h 4429225"/>
                  <a:gd name="connsiteX66" fmla="*/ 221002 w 4519987"/>
                  <a:gd name="connsiteY66" fmla="*/ 3105150 h 4429225"/>
                  <a:gd name="connsiteX67" fmla="*/ 173377 w 4519987"/>
                  <a:gd name="connsiteY67" fmla="*/ 3019425 h 4429225"/>
                  <a:gd name="connsiteX68" fmla="*/ 144802 w 4519987"/>
                  <a:gd name="connsiteY68" fmla="*/ 2924175 h 4429225"/>
                  <a:gd name="connsiteX69" fmla="*/ 68602 w 4519987"/>
                  <a:gd name="connsiteY69" fmla="*/ 2724150 h 4429225"/>
                  <a:gd name="connsiteX70" fmla="*/ 49552 w 4519987"/>
                  <a:gd name="connsiteY70" fmla="*/ 2638425 h 4429225"/>
                  <a:gd name="connsiteX71" fmla="*/ 40027 w 4519987"/>
                  <a:gd name="connsiteY71" fmla="*/ 2562225 h 4429225"/>
                  <a:gd name="connsiteX72" fmla="*/ 30502 w 4519987"/>
                  <a:gd name="connsiteY72" fmla="*/ 2514600 h 4429225"/>
                  <a:gd name="connsiteX73" fmla="*/ 11452 w 4519987"/>
                  <a:gd name="connsiteY73" fmla="*/ 2400300 h 4429225"/>
                  <a:gd name="connsiteX74" fmla="*/ 20977 w 4519987"/>
                  <a:gd name="connsiteY74" fmla="*/ 1905000 h 4429225"/>
                  <a:gd name="connsiteX75" fmla="*/ 30502 w 4519987"/>
                  <a:gd name="connsiteY75" fmla="*/ 1838325 h 4429225"/>
                  <a:gd name="connsiteX76" fmla="*/ 49552 w 4519987"/>
                  <a:gd name="connsiteY76" fmla="*/ 1781175 h 4429225"/>
                  <a:gd name="connsiteX77" fmla="*/ 59077 w 4519987"/>
                  <a:gd name="connsiteY77" fmla="*/ 1743075 h 4429225"/>
                  <a:gd name="connsiteX78" fmla="*/ 78127 w 4519987"/>
                  <a:gd name="connsiteY78" fmla="*/ 1685925 h 4429225"/>
                  <a:gd name="connsiteX79" fmla="*/ 87652 w 4519987"/>
                  <a:gd name="connsiteY79" fmla="*/ 1638300 h 4429225"/>
                  <a:gd name="connsiteX80" fmla="*/ 106702 w 4519987"/>
                  <a:gd name="connsiteY80" fmla="*/ 1590675 h 4429225"/>
                  <a:gd name="connsiteX81" fmla="*/ 135277 w 4519987"/>
                  <a:gd name="connsiteY81" fmla="*/ 1504950 h 4429225"/>
                  <a:gd name="connsiteX82" fmla="*/ 154327 w 4519987"/>
                  <a:gd name="connsiteY82" fmla="*/ 1419225 h 4429225"/>
                  <a:gd name="connsiteX83" fmla="*/ 230527 w 4519987"/>
                  <a:gd name="connsiteY83" fmla="*/ 1276350 h 4429225"/>
                  <a:gd name="connsiteX84" fmla="*/ 240052 w 4519987"/>
                  <a:gd name="connsiteY84" fmla="*/ 1247775 h 4429225"/>
                  <a:gd name="connsiteX85" fmla="*/ 268627 w 4519987"/>
                  <a:gd name="connsiteY85" fmla="*/ 1200150 h 4429225"/>
                  <a:gd name="connsiteX86" fmla="*/ 287677 w 4519987"/>
                  <a:gd name="connsiteY86" fmla="*/ 1152525 h 4429225"/>
                  <a:gd name="connsiteX87" fmla="*/ 316252 w 4519987"/>
                  <a:gd name="connsiteY87" fmla="*/ 1114425 h 4429225"/>
                  <a:gd name="connsiteX88" fmla="*/ 363877 w 4519987"/>
                  <a:gd name="connsiteY88" fmla="*/ 1038225 h 4429225"/>
                  <a:gd name="connsiteX89" fmla="*/ 382927 w 4519987"/>
                  <a:gd name="connsiteY89" fmla="*/ 1009650 h 4429225"/>
                  <a:gd name="connsiteX90" fmla="*/ 440077 w 4519987"/>
                  <a:gd name="connsiteY90" fmla="*/ 904875 h 4429225"/>
                  <a:gd name="connsiteX91" fmla="*/ 478177 w 4519987"/>
                  <a:gd name="connsiteY91" fmla="*/ 857250 h 4429225"/>
                  <a:gd name="connsiteX92" fmla="*/ 497227 w 4519987"/>
                  <a:gd name="connsiteY92" fmla="*/ 828675 h 4429225"/>
                  <a:gd name="connsiteX93" fmla="*/ 535327 w 4519987"/>
                  <a:gd name="connsiteY93" fmla="*/ 800100 h 4429225"/>
                  <a:gd name="connsiteX94" fmla="*/ 602002 w 4519987"/>
                  <a:gd name="connsiteY94" fmla="*/ 733425 h 4429225"/>
                  <a:gd name="connsiteX95" fmla="*/ 668677 w 4519987"/>
                  <a:gd name="connsiteY95" fmla="*/ 676275 h 4429225"/>
                  <a:gd name="connsiteX96" fmla="*/ 697252 w 4519987"/>
                  <a:gd name="connsiteY96" fmla="*/ 657225 h 4429225"/>
                  <a:gd name="connsiteX97" fmla="*/ 840127 w 4519987"/>
                  <a:gd name="connsiteY97" fmla="*/ 533400 h 4429225"/>
                  <a:gd name="connsiteX98" fmla="*/ 887752 w 4519987"/>
                  <a:gd name="connsiteY98" fmla="*/ 504825 h 4429225"/>
                  <a:gd name="connsiteX99" fmla="*/ 1167152 w 4519987"/>
                  <a:gd name="connsiteY99" fmla="*/ 311150 h 4429225"/>
                  <a:gd name="connsiteX100" fmla="*/ 1268752 w 4519987"/>
                  <a:gd name="connsiteY100" fmla="*/ 285750 h 4429225"/>
                  <a:gd name="connsiteX101" fmla="*/ 1411627 w 4519987"/>
                  <a:gd name="connsiteY101" fmla="*/ 190500 h 4429225"/>
                  <a:gd name="connsiteX102" fmla="*/ 1449727 w 4519987"/>
                  <a:gd name="connsiteY102" fmla="*/ 161925 h 4429225"/>
                  <a:gd name="connsiteX103" fmla="*/ 1525927 w 4519987"/>
                  <a:gd name="connsiteY103" fmla="*/ 152400 h 4429225"/>
                  <a:gd name="connsiteX104" fmla="*/ 1583077 w 4519987"/>
                  <a:gd name="connsiteY104" fmla="*/ 142875 h 4429225"/>
                  <a:gd name="connsiteX105" fmla="*/ 1716427 w 4519987"/>
                  <a:gd name="connsiteY105" fmla="*/ 123825 h 4429225"/>
                  <a:gd name="connsiteX106" fmla="*/ 1811677 w 4519987"/>
                  <a:gd name="connsiteY106" fmla="*/ 114300 h 4429225"/>
                  <a:gd name="connsiteX107" fmla="*/ 1859302 w 4519987"/>
                  <a:gd name="connsiteY107" fmla="*/ 104775 h 4429225"/>
                  <a:gd name="connsiteX108" fmla="*/ 1916452 w 4519987"/>
                  <a:gd name="connsiteY108" fmla="*/ 95250 h 4429225"/>
                  <a:gd name="connsiteX109" fmla="*/ 2030752 w 4519987"/>
                  <a:gd name="connsiteY109" fmla="*/ 66675 h 4429225"/>
                  <a:gd name="connsiteX110" fmla="*/ 2097427 w 4519987"/>
                  <a:gd name="connsiteY110" fmla="*/ 47625 h 4429225"/>
                  <a:gd name="connsiteX111" fmla="*/ 2164102 w 4519987"/>
                  <a:gd name="connsiteY111" fmla="*/ 38100 h 4429225"/>
                  <a:gd name="connsiteX112" fmla="*/ 2392702 w 4519987"/>
                  <a:gd name="connsiteY112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221127 w 4519987"/>
                  <a:gd name="connsiteY47" fmla="*/ 4200525 h 4429225"/>
                  <a:gd name="connsiteX48" fmla="*/ 1087777 w 4519987"/>
                  <a:gd name="connsiteY48" fmla="*/ 4143375 h 4429225"/>
                  <a:gd name="connsiteX49" fmla="*/ 1030627 w 4519987"/>
                  <a:gd name="connsiteY49" fmla="*/ 4124325 h 4429225"/>
                  <a:gd name="connsiteX50" fmla="*/ 925852 w 4519987"/>
                  <a:gd name="connsiteY50" fmla="*/ 4067175 h 4429225"/>
                  <a:gd name="connsiteX51" fmla="*/ 830602 w 4519987"/>
                  <a:gd name="connsiteY51" fmla="*/ 3981450 h 4429225"/>
                  <a:gd name="connsiteX52" fmla="*/ 763927 w 4519987"/>
                  <a:gd name="connsiteY52" fmla="*/ 3914775 h 4429225"/>
                  <a:gd name="connsiteX53" fmla="*/ 725827 w 4519987"/>
                  <a:gd name="connsiteY53" fmla="*/ 3876675 h 4429225"/>
                  <a:gd name="connsiteX54" fmla="*/ 697252 w 4519987"/>
                  <a:gd name="connsiteY54" fmla="*/ 3838575 h 4429225"/>
                  <a:gd name="connsiteX55" fmla="*/ 640102 w 4519987"/>
                  <a:gd name="connsiteY55" fmla="*/ 3781425 h 4429225"/>
                  <a:gd name="connsiteX56" fmla="*/ 611527 w 4519987"/>
                  <a:gd name="connsiteY56" fmla="*/ 3733800 h 4429225"/>
                  <a:gd name="connsiteX57" fmla="*/ 554377 w 4519987"/>
                  <a:gd name="connsiteY57" fmla="*/ 3657600 h 4429225"/>
                  <a:gd name="connsiteX58" fmla="*/ 525802 w 4519987"/>
                  <a:gd name="connsiteY58" fmla="*/ 3609975 h 4429225"/>
                  <a:gd name="connsiteX59" fmla="*/ 497227 w 4519987"/>
                  <a:gd name="connsiteY59" fmla="*/ 3552825 h 4429225"/>
                  <a:gd name="connsiteX60" fmla="*/ 440077 w 4519987"/>
                  <a:gd name="connsiteY60" fmla="*/ 3495675 h 4429225"/>
                  <a:gd name="connsiteX61" fmla="*/ 411502 w 4519987"/>
                  <a:gd name="connsiteY61" fmla="*/ 3448050 h 4429225"/>
                  <a:gd name="connsiteX62" fmla="*/ 278152 w 4519987"/>
                  <a:gd name="connsiteY62" fmla="*/ 3257550 h 4429225"/>
                  <a:gd name="connsiteX63" fmla="*/ 249577 w 4519987"/>
                  <a:gd name="connsiteY63" fmla="*/ 3200400 h 4429225"/>
                  <a:gd name="connsiteX64" fmla="*/ 240052 w 4519987"/>
                  <a:gd name="connsiteY64" fmla="*/ 3162300 h 4429225"/>
                  <a:gd name="connsiteX65" fmla="*/ 221002 w 4519987"/>
                  <a:gd name="connsiteY65" fmla="*/ 3105150 h 4429225"/>
                  <a:gd name="connsiteX66" fmla="*/ 173377 w 4519987"/>
                  <a:gd name="connsiteY66" fmla="*/ 3019425 h 4429225"/>
                  <a:gd name="connsiteX67" fmla="*/ 144802 w 4519987"/>
                  <a:gd name="connsiteY67" fmla="*/ 2924175 h 4429225"/>
                  <a:gd name="connsiteX68" fmla="*/ 68602 w 4519987"/>
                  <a:gd name="connsiteY68" fmla="*/ 2724150 h 4429225"/>
                  <a:gd name="connsiteX69" fmla="*/ 49552 w 4519987"/>
                  <a:gd name="connsiteY69" fmla="*/ 2638425 h 4429225"/>
                  <a:gd name="connsiteX70" fmla="*/ 40027 w 4519987"/>
                  <a:gd name="connsiteY70" fmla="*/ 2562225 h 4429225"/>
                  <a:gd name="connsiteX71" fmla="*/ 30502 w 4519987"/>
                  <a:gd name="connsiteY71" fmla="*/ 2514600 h 4429225"/>
                  <a:gd name="connsiteX72" fmla="*/ 11452 w 4519987"/>
                  <a:gd name="connsiteY72" fmla="*/ 2400300 h 4429225"/>
                  <a:gd name="connsiteX73" fmla="*/ 20977 w 4519987"/>
                  <a:gd name="connsiteY73" fmla="*/ 1905000 h 4429225"/>
                  <a:gd name="connsiteX74" fmla="*/ 30502 w 4519987"/>
                  <a:gd name="connsiteY74" fmla="*/ 1838325 h 4429225"/>
                  <a:gd name="connsiteX75" fmla="*/ 49552 w 4519987"/>
                  <a:gd name="connsiteY75" fmla="*/ 1781175 h 4429225"/>
                  <a:gd name="connsiteX76" fmla="*/ 59077 w 4519987"/>
                  <a:gd name="connsiteY76" fmla="*/ 1743075 h 4429225"/>
                  <a:gd name="connsiteX77" fmla="*/ 78127 w 4519987"/>
                  <a:gd name="connsiteY77" fmla="*/ 1685925 h 4429225"/>
                  <a:gd name="connsiteX78" fmla="*/ 87652 w 4519987"/>
                  <a:gd name="connsiteY78" fmla="*/ 1638300 h 4429225"/>
                  <a:gd name="connsiteX79" fmla="*/ 106702 w 4519987"/>
                  <a:gd name="connsiteY79" fmla="*/ 1590675 h 4429225"/>
                  <a:gd name="connsiteX80" fmla="*/ 135277 w 4519987"/>
                  <a:gd name="connsiteY80" fmla="*/ 1504950 h 4429225"/>
                  <a:gd name="connsiteX81" fmla="*/ 154327 w 4519987"/>
                  <a:gd name="connsiteY81" fmla="*/ 1419225 h 4429225"/>
                  <a:gd name="connsiteX82" fmla="*/ 230527 w 4519987"/>
                  <a:gd name="connsiteY82" fmla="*/ 1276350 h 4429225"/>
                  <a:gd name="connsiteX83" fmla="*/ 240052 w 4519987"/>
                  <a:gd name="connsiteY83" fmla="*/ 1247775 h 4429225"/>
                  <a:gd name="connsiteX84" fmla="*/ 268627 w 4519987"/>
                  <a:gd name="connsiteY84" fmla="*/ 1200150 h 4429225"/>
                  <a:gd name="connsiteX85" fmla="*/ 287677 w 4519987"/>
                  <a:gd name="connsiteY85" fmla="*/ 1152525 h 4429225"/>
                  <a:gd name="connsiteX86" fmla="*/ 316252 w 4519987"/>
                  <a:gd name="connsiteY86" fmla="*/ 1114425 h 4429225"/>
                  <a:gd name="connsiteX87" fmla="*/ 363877 w 4519987"/>
                  <a:gd name="connsiteY87" fmla="*/ 1038225 h 4429225"/>
                  <a:gd name="connsiteX88" fmla="*/ 382927 w 4519987"/>
                  <a:gd name="connsiteY88" fmla="*/ 1009650 h 4429225"/>
                  <a:gd name="connsiteX89" fmla="*/ 440077 w 4519987"/>
                  <a:gd name="connsiteY89" fmla="*/ 904875 h 4429225"/>
                  <a:gd name="connsiteX90" fmla="*/ 478177 w 4519987"/>
                  <a:gd name="connsiteY90" fmla="*/ 857250 h 4429225"/>
                  <a:gd name="connsiteX91" fmla="*/ 497227 w 4519987"/>
                  <a:gd name="connsiteY91" fmla="*/ 828675 h 4429225"/>
                  <a:gd name="connsiteX92" fmla="*/ 535327 w 4519987"/>
                  <a:gd name="connsiteY92" fmla="*/ 800100 h 4429225"/>
                  <a:gd name="connsiteX93" fmla="*/ 602002 w 4519987"/>
                  <a:gd name="connsiteY93" fmla="*/ 733425 h 4429225"/>
                  <a:gd name="connsiteX94" fmla="*/ 668677 w 4519987"/>
                  <a:gd name="connsiteY94" fmla="*/ 676275 h 4429225"/>
                  <a:gd name="connsiteX95" fmla="*/ 697252 w 4519987"/>
                  <a:gd name="connsiteY95" fmla="*/ 657225 h 4429225"/>
                  <a:gd name="connsiteX96" fmla="*/ 840127 w 4519987"/>
                  <a:gd name="connsiteY96" fmla="*/ 533400 h 4429225"/>
                  <a:gd name="connsiteX97" fmla="*/ 887752 w 4519987"/>
                  <a:gd name="connsiteY97" fmla="*/ 504825 h 4429225"/>
                  <a:gd name="connsiteX98" fmla="*/ 1167152 w 4519987"/>
                  <a:gd name="connsiteY98" fmla="*/ 311150 h 4429225"/>
                  <a:gd name="connsiteX99" fmla="*/ 1268752 w 4519987"/>
                  <a:gd name="connsiteY99" fmla="*/ 285750 h 4429225"/>
                  <a:gd name="connsiteX100" fmla="*/ 1411627 w 4519987"/>
                  <a:gd name="connsiteY100" fmla="*/ 190500 h 4429225"/>
                  <a:gd name="connsiteX101" fmla="*/ 1449727 w 4519987"/>
                  <a:gd name="connsiteY101" fmla="*/ 161925 h 4429225"/>
                  <a:gd name="connsiteX102" fmla="*/ 1525927 w 4519987"/>
                  <a:gd name="connsiteY102" fmla="*/ 152400 h 4429225"/>
                  <a:gd name="connsiteX103" fmla="*/ 1583077 w 4519987"/>
                  <a:gd name="connsiteY103" fmla="*/ 142875 h 4429225"/>
                  <a:gd name="connsiteX104" fmla="*/ 1716427 w 4519987"/>
                  <a:gd name="connsiteY104" fmla="*/ 123825 h 4429225"/>
                  <a:gd name="connsiteX105" fmla="*/ 1811677 w 4519987"/>
                  <a:gd name="connsiteY105" fmla="*/ 114300 h 4429225"/>
                  <a:gd name="connsiteX106" fmla="*/ 1859302 w 4519987"/>
                  <a:gd name="connsiteY106" fmla="*/ 104775 h 4429225"/>
                  <a:gd name="connsiteX107" fmla="*/ 1916452 w 4519987"/>
                  <a:gd name="connsiteY107" fmla="*/ 95250 h 4429225"/>
                  <a:gd name="connsiteX108" fmla="*/ 2030752 w 4519987"/>
                  <a:gd name="connsiteY108" fmla="*/ 66675 h 4429225"/>
                  <a:gd name="connsiteX109" fmla="*/ 2097427 w 4519987"/>
                  <a:gd name="connsiteY109" fmla="*/ 47625 h 4429225"/>
                  <a:gd name="connsiteX110" fmla="*/ 2164102 w 4519987"/>
                  <a:gd name="connsiteY110" fmla="*/ 38100 h 4429225"/>
                  <a:gd name="connsiteX111" fmla="*/ 2392702 w 4519987"/>
                  <a:gd name="connsiteY111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1030627 w 4519987"/>
                  <a:gd name="connsiteY48" fmla="*/ 4124325 h 4429225"/>
                  <a:gd name="connsiteX49" fmla="*/ 925852 w 4519987"/>
                  <a:gd name="connsiteY49" fmla="*/ 4067175 h 4429225"/>
                  <a:gd name="connsiteX50" fmla="*/ 830602 w 4519987"/>
                  <a:gd name="connsiteY50" fmla="*/ 3981450 h 4429225"/>
                  <a:gd name="connsiteX51" fmla="*/ 763927 w 4519987"/>
                  <a:gd name="connsiteY51" fmla="*/ 3914775 h 4429225"/>
                  <a:gd name="connsiteX52" fmla="*/ 725827 w 4519987"/>
                  <a:gd name="connsiteY52" fmla="*/ 3876675 h 4429225"/>
                  <a:gd name="connsiteX53" fmla="*/ 697252 w 4519987"/>
                  <a:gd name="connsiteY53" fmla="*/ 3838575 h 4429225"/>
                  <a:gd name="connsiteX54" fmla="*/ 640102 w 4519987"/>
                  <a:gd name="connsiteY54" fmla="*/ 3781425 h 4429225"/>
                  <a:gd name="connsiteX55" fmla="*/ 611527 w 4519987"/>
                  <a:gd name="connsiteY55" fmla="*/ 3733800 h 4429225"/>
                  <a:gd name="connsiteX56" fmla="*/ 554377 w 4519987"/>
                  <a:gd name="connsiteY56" fmla="*/ 3657600 h 4429225"/>
                  <a:gd name="connsiteX57" fmla="*/ 525802 w 4519987"/>
                  <a:gd name="connsiteY57" fmla="*/ 3609975 h 4429225"/>
                  <a:gd name="connsiteX58" fmla="*/ 497227 w 4519987"/>
                  <a:gd name="connsiteY58" fmla="*/ 3552825 h 4429225"/>
                  <a:gd name="connsiteX59" fmla="*/ 440077 w 4519987"/>
                  <a:gd name="connsiteY59" fmla="*/ 3495675 h 4429225"/>
                  <a:gd name="connsiteX60" fmla="*/ 411502 w 4519987"/>
                  <a:gd name="connsiteY60" fmla="*/ 3448050 h 4429225"/>
                  <a:gd name="connsiteX61" fmla="*/ 278152 w 4519987"/>
                  <a:gd name="connsiteY61" fmla="*/ 3257550 h 4429225"/>
                  <a:gd name="connsiteX62" fmla="*/ 249577 w 4519987"/>
                  <a:gd name="connsiteY62" fmla="*/ 3200400 h 4429225"/>
                  <a:gd name="connsiteX63" fmla="*/ 240052 w 4519987"/>
                  <a:gd name="connsiteY63" fmla="*/ 3162300 h 4429225"/>
                  <a:gd name="connsiteX64" fmla="*/ 221002 w 4519987"/>
                  <a:gd name="connsiteY64" fmla="*/ 3105150 h 4429225"/>
                  <a:gd name="connsiteX65" fmla="*/ 173377 w 4519987"/>
                  <a:gd name="connsiteY65" fmla="*/ 3019425 h 4429225"/>
                  <a:gd name="connsiteX66" fmla="*/ 144802 w 4519987"/>
                  <a:gd name="connsiteY66" fmla="*/ 2924175 h 4429225"/>
                  <a:gd name="connsiteX67" fmla="*/ 68602 w 4519987"/>
                  <a:gd name="connsiteY67" fmla="*/ 2724150 h 4429225"/>
                  <a:gd name="connsiteX68" fmla="*/ 49552 w 4519987"/>
                  <a:gd name="connsiteY68" fmla="*/ 2638425 h 4429225"/>
                  <a:gd name="connsiteX69" fmla="*/ 40027 w 4519987"/>
                  <a:gd name="connsiteY69" fmla="*/ 2562225 h 4429225"/>
                  <a:gd name="connsiteX70" fmla="*/ 30502 w 4519987"/>
                  <a:gd name="connsiteY70" fmla="*/ 2514600 h 4429225"/>
                  <a:gd name="connsiteX71" fmla="*/ 11452 w 4519987"/>
                  <a:gd name="connsiteY71" fmla="*/ 2400300 h 4429225"/>
                  <a:gd name="connsiteX72" fmla="*/ 20977 w 4519987"/>
                  <a:gd name="connsiteY72" fmla="*/ 1905000 h 4429225"/>
                  <a:gd name="connsiteX73" fmla="*/ 30502 w 4519987"/>
                  <a:gd name="connsiteY73" fmla="*/ 1838325 h 4429225"/>
                  <a:gd name="connsiteX74" fmla="*/ 49552 w 4519987"/>
                  <a:gd name="connsiteY74" fmla="*/ 1781175 h 4429225"/>
                  <a:gd name="connsiteX75" fmla="*/ 59077 w 4519987"/>
                  <a:gd name="connsiteY75" fmla="*/ 1743075 h 4429225"/>
                  <a:gd name="connsiteX76" fmla="*/ 78127 w 4519987"/>
                  <a:gd name="connsiteY76" fmla="*/ 1685925 h 4429225"/>
                  <a:gd name="connsiteX77" fmla="*/ 87652 w 4519987"/>
                  <a:gd name="connsiteY77" fmla="*/ 1638300 h 4429225"/>
                  <a:gd name="connsiteX78" fmla="*/ 106702 w 4519987"/>
                  <a:gd name="connsiteY78" fmla="*/ 1590675 h 4429225"/>
                  <a:gd name="connsiteX79" fmla="*/ 135277 w 4519987"/>
                  <a:gd name="connsiteY79" fmla="*/ 1504950 h 4429225"/>
                  <a:gd name="connsiteX80" fmla="*/ 154327 w 4519987"/>
                  <a:gd name="connsiteY80" fmla="*/ 1419225 h 4429225"/>
                  <a:gd name="connsiteX81" fmla="*/ 230527 w 4519987"/>
                  <a:gd name="connsiteY81" fmla="*/ 1276350 h 4429225"/>
                  <a:gd name="connsiteX82" fmla="*/ 240052 w 4519987"/>
                  <a:gd name="connsiteY82" fmla="*/ 1247775 h 4429225"/>
                  <a:gd name="connsiteX83" fmla="*/ 268627 w 4519987"/>
                  <a:gd name="connsiteY83" fmla="*/ 1200150 h 4429225"/>
                  <a:gd name="connsiteX84" fmla="*/ 287677 w 4519987"/>
                  <a:gd name="connsiteY84" fmla="*/ 1152525 h 4429225"/>
                  <a:gd name="connsiteX85" fmla="*/ 316252 w 4519987"/>
                  <a:gd name="connsiteY85" fmla="*/ 1114425 h 4429225"/>
                  <a:gd name="connsiteX86" fmla="*/ 363877 w 4519987"/>
                  <a:gd name="connsiteY86" fmla="*/ 1038225 h 4429225"/>
                  <a:gd name="connsiteX87" fmla="*/ 382927 w 4519987"/>
                  <a:gd name="connsiteY87" fmla="*/ 1009650 h 4429225"/>
                  <a:gd name="connsiteX88" fmla="*/ 440077 w 4519987"/>
                  <a:gd name="connsiteY88" fmla="*/ 904875 h 4429225"/>
                  <a:gd name="connsiteX89" fmla="*/ 478177 w 4519987"/>
                  <a:gd name="connsiteY89" fmla="*/ 857250 h 4429225"/>
                  <a:gd name="connsiteX90" fmla="*/ 497227 w 4519987"/>
                  <a:gd name="connsiteY90" fmla="*/ 828675 h 4429225"/>
                  <a:gd name="connsiteX91" fmla="*/ 535327 w 4519987"/>
                  <a:gd name="connsiteY91" fmla="*/ 800100 h 4429225"/>
                  <a:gd name="connsiteX92" fmla="*/ 602002 w 4519987"/>
                  <a:gd name="connsiteY92" fmla="*/ 733425 h 4429225"/>
                  <a:gd name="connsiteX93" fmla="*/ 668677 w 4519987"/>
                  <a:gd name="connsiteY93" fmla="*/ 676275 h 4429225"/>
                  <a:gd name="connsiteX94" fmla="*/ 697252 w 4519987"/>
                  <a:gd name="connsiteY94" fmla="*/ 657225 h 4429225"/>
                  <a:gd name="connsiteX95" fmla="*/ 840127 w 4519987"/>
                  <a:gd name="connsiteY95" fmla="*/ 533400 h 4429225"/>
                  <a:gd name="connsiteX96" fmla="*/ 887752 w 4519987"/>
                  <a:gd name="connsiteY96" fmla="*/ 504825 h 4429225"/>
                  <a:gd name="connsiteX97" fmla="*/ 1167152 w 4519987"/>
                  <a:gd name="connsiteY97" fmla="*/ 311150 h 4429225"/>
                  <a:gd name="connsiteX98" fmla="*/ 1268752 w 4519987"/>
                  <a:gd name="connsiteY98" fmla="*/ 285750 h 4429225"/>
                  <a:gd name="connsiteX99" fmla="*/ 1411627 w 4519987"/>
                  <a:gd name="connsiteY99" fmla="*/ 190500 h 4429225"/>
                  <a:gd name="connsiteX100" fmla="*/ 1449727 w 4519987"/>
                  <a:gd name="connsiteY100" fmla="*/ 161925 h 4429225"/>
                  <a:gd name="connsiteX101" fmla="*/ 1525927 w 4519987"/>
                  <a:gd name="connsiteY101" fmla="*/ 152400 h 4429225"/>
                  <a:gd name="connsiteX102" fmla="*/ 1583077 w 4519987"/>
                  <a:gd name="connsiteY102" fmla="*/ 142875 h 4429225"/>
                  <a:gd name="connsiteX103" fmla="*/ 1716427 w 4519987"/>
                  <a:gd name="connsiteY103" fmla="*/ 123825 h 4429225"/>
                  <a:gd name="connsiteX104" fmla="*/ 1811677 w 4519987"/>
                  <a:gd name="connsiteY104" fmla="*/ 114300 h 4429225"/>
                  <a:gd name="connsiteX105" fmla="*/ 1859302 w 4519987"/>
                  <a:gd name="connsiteY105" fmla="*/ 104775 h 4429225"/>
                  <a:gd name="connsiteX106" fmla="*/ 1916452 w 4519987"/>
                  <a:gd name="connsiteY106" fmla="*/ 95250 h 4429225"/>
                  <a:gd name="connsiteX107" fmla="*/ 2030752 w 4519987"/>
                  <a:gd name="connsiteY107" fmla="*/ 66675 h 4429225"/>
                  <a:gd name="connsiteX108" fmla="*/ 2097427 w 4519987"/>
                  <a:gd name="connsiteY108" fmla="*/ 47625 h 4429225"/>
                  <a:gd name="connsiteX109" fmla="*/ 2164102 w 4519987"/>
                  <a:gd name="connsiteY109" fmla="*/ 38100 h 4429225"/>
                  <a:gd name="connsiteX110" fmla="*/ 2392702 w 4519987"/>
                  <a:gd name="connsiteY110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925852 w 4519987"/>
                  <a:gd name="connsiteY48" fmla="*/ 4067175 h 4429225"/>
                  <a:gd name="connsiteX49" fmla="*/ 830602 w 4519987"/>
                  <a:gd name="connsiteY49" fmla="*/ 3981450 h 4429225"/>
                  <a:gd name="connsiteX50" fmla="*/ 763927 w 4519987"/>
                  <a:gd name="connsiteY50" fmla="*/ 3914775 h 4429225"/>
                  <a:gd name="connsiteX51" fmla="*/ 725827 w 4519987"/>
                  <a:gd name="connsiteY51" fmla="*/ 3876675 h 4429225"/>
                  <a:gd name="connsiteX52" fmla="*/ 697252 w 4519987"/>
                  <a:gd name="connsiteY52" fmla="*/ 3838575 h 4429225"/>
                  <a:gd name="connsiteX53" fmla="*/ 640102 w 4519987"/>
                  <a:gd name="connsiteY53" fmla="*/ 3781425 h 4429225"/>
                  <a:gd name="connsiteX54" fmla="*/ 611527 w 4519987"/>
                  <a:gd name="connsiteY54" fmla="*/ 3733800 h 4429225"/>
                  <a:gd name="connsiteX55" fmla="*/ 554377 w 4519987"/>
                  <a:gd name="connsiteY55" fmla="*/ 3657600 h 4429225"/>
                  <a:gd name="connsiteX56" fmla="*/ 525802 w 4519987"/>
                  <a:gd name="connsiteY56" fmla="*/ 3609975 h 4429225"/>
                  <a:gd name="connsiteX57" fmla="*/ 497227 w 4519987"/>
                  <a:gd name="connsiteY57" fmla="*/ 3552825 h 4429225"/>
                  <a:gd name="connsiteX58" fmla="*/ 440077 w 4519987"/>
                  <a:gd name="connsiteY58" fmla="*/ 3495675 h 4429225"/>
                  <a:gd name="connsiteX59" fmla="*/ 411502 w 4519987"/>
                  <a:gd name="connsiteY59" fmla="*/ 3448050 h 4429225"/>
                  <a:gd name="connsiteX60" fmla="*/ 278152 w 4519987"/>
                  <a:gd name="connsiteY60" fmla="*/ 3257550 h 4429225"/>
                  <a:gd name="connsiteX61" fmla="*/ 249577 w 4519987"/>
                  <a:gd name="connsiteY61" fmla="*/ 3200400 h 4429225"/>
                  <a:gd name="connsiteX62" fmla="*/ 240052 w 4519987"/>
                  <a:gd name="connsiteY62" fmla="*/ 3162300 h 4429225"/>
                  <a:gd name="connsiteX63" fmla="*/ 221002 w 4519987"/>
                  <a:gd name="connsiteY63" fmla="*/ 3105150 h 4429225"/>
                  <a:gd name="connsiteX64" fmla="*/ 173377 w 4519987"/>
                  <a:gd name="connsiteY64" fmla="*/ 3019425 h 4429225"/>
                  <a:gd name="connsiteX65" fmla="*/ 144802 w 4519987"/>
                  <a:gd name="connsiteY65" fmla="*/ 2924175 h 4429225"/>
                  <a:gd name="connsiteX66" fmla="*/ 68602 w 4519987"/>
                  <a:gd name="connsiteY66" fmla="*/ 2724150 h 4429225"/>
                  <a:gd name="connsiteX67" fmla="*/ 49552 w 4519987"/>
                  <a:gd name="connsiteY67" fmla="*/ 2638425 h 4429225"/>
                  <a:gd name="connsiteX68" fmla="*/ 40027 w 4519987"/>
                  <a:gd name="connsiteY68" fmla="*/ 2562225 h 4429225"/>
                  <a:gd name="connsiteX69" fmla="*/ 30502 w 4519987"/>
                  <a:gd name="connsiteY69" fmla="*/ 2514600 h 4429225"/>
                  <a:gd name="connsiteX70" fmla="*/ 11452 w 4519987"/>
                  <a:gd name="connsiteY70" fmla="*/ 2400300 h 4429225"/>
                  <a:gd name="connsiteX71" fmla="*/ 20977 w 4519987"/>
                  <a:gd name="connsiteY71" fmla="*/ 1905000 h 4429225"/>
                  <a:gd name="connsiteX72" fmla="*/ 30502 w 4519987"/>
                  <a:gd name="connsiteY72" fmla="*/ 1838325 h 4429225"/>
                  <a:gd name="connsiteX73" fmla="*/ 49552 w 4519987"/>
                  <a:gd name="connsiteY73" fmla="*/ 1781175 h 4429225"/>
                  <a:gd name="connsiteX74" fmla="*/ 59077 w 4519987"/>
                  <a:gd name="connsiteY74" fmla="*/ 1743075 h 4429225"/>
                  <a:gd name="connsiteX75" fmla="*/ 78127 w 4519987"/>
                  <a:gd name="connsiteY75" fmla="*/ 1685925 h 4429225"/>
                  <a:gd name="connsiteX76" fmla="*/ 87652 w 4519987"/>
                  <a:gd name="connsiteY76" fmla="*/ 1638300 h 4429225"/>
                  <a:gd name="connsiteX77" fmla="*/ 106702 w 4519987"/>
                  <a:gd name="connsiteY77" fmla="*/ 1590675 h 4429225"/>
                  <a:gd name="connsiteX78" fmla="*/ 135277 w 4519987"/>
                  <a:gd name="connsiteY78" fmla="*/ 1504950 h 4429225"/>
                  <a:gd name="connsiteX79" fmla="*/ 154327 w 4519987"/>
                  <a:gd name="connsiteY79" fmla="*/ 1419225 h 4429225"/>
                  <a:gd name="connsiteX80" fmla="*/ 230527 w 4519987"/>
                  <a:gd name="connsiteY80" fmla="*/ 1276350 h 4429225"/>
                  <a:gd name="connsiteX81" fmla="*/ 240052 w 4519987"/>
                  <a:gd name="connsiteY81" fmla="*/ 1247775 h 4429225"/>
                  <a:gd name="connsiteX82" fmla="*/ 268627 w 4519987"/>
                  <a:gd name="connsiteY82" fmla="*/ 1200150 h 4429225"/>
                  <a:gd name="connsiteX83" fmla="*/ 287677 w 4519987"/>
                  <a:gd name="connsiteY83" fmla="*/ 1152525 h 4429225"/>
                  <a:gd name="connsiteX84" fmla="*/ 316252 w 4519987"/>
                  <a:gd name="connsiteY84" fmla="*/ 1114425 h 4429225"/>
                  <a:gd name="connsiteX85" fmla="*/ 363877 w 4519987"/>
                  <a:gd name="connsiteY85" fmla="*/ 1038225 h 4429225"/>
                  <a:gd name="connsiteX86" fmla="*/ 382927 w 4519987"/>
                  <a:gd name="connsiteY86" fmla="*/ 1009650 h 4429225"/>
                  <a:gd name="connsiteX87" fmla="*/ 440077 w 4519987"/>
                  <a:gd name="connsiteY87" fmla="*/ 904875 h 4429225"/>
                  <a:gd name="connsiteX88" fmla="*/ 478177 w 4519987"/>
                  <a:gd name="connsiteY88" fmla="*/ 857250 h 4429225"/>
                  <a:gd name="connsiteX89" fmla="*/ 497227 w 4519987"/>
                  <a:gd name="connsiteY89" fmla="*/ 828675 h 4429225"/>
                  <a:gd name="connsiteX90" fmla="*/ 535327 w 4519987"/>
                  <a:gd name="connsiteY90" fmla="*/ 800100 h 4429225"/>
                  <a:gd name="connsiteX91" fmla="*/ 602002 w 4519987"/>
                  <a:gd name="connsiteY91" fmla="*/ 733425 h 4429225"/>
                  <a:gd name="connsiteX92" fmla="*/ 668677 w 4519987"/>
                  <a:gd name="connsiteY92" fmla="*/ 676275 h 4429225"/>
                  <a:gd name="connsiteX93" fmla="*/ 697252 w 4519987"/>
                  <a:gd name="connsiteY93" fmla="*/ 657225 h 4429225"/>
                  <a:gd name="connsiteX94" fmla="*/ 840127 w 4519987"/>
                  <a:gd name="connsiteY94" fmla="*/ 533400 h 4429225"/>
                  <a:gd name="connsiteX95" fmla="*/ 887752 w 4519987"/>
                  <a:gd name="connsiteY95" fmla="*/ 504825 h 4429225"/>
                  <a:gd name="connsiteX96" fmla="*/ 1167152 w 4519987"/>
                  <a:gd name="connsiteY96" fmla="*/ 311150 h 4429225"/>
                  <a:gd name="connsiteX97" fmla="*/ 1268752 w 4519987"/>
                  <a:gd name="connsiteY97" fmla="*/ 285750 h 4429225"/>
                  <a:gd name="connsiteX98" fmla="*/ 1411627 w 4519987"/>
                  <a:gd name="connsiteY98" fmla="*/ 190500 h 4429225"/>
                  <a:gd name="connsiteX99" fmla="*/ 1449727 w 4519987"/>
                  <a:gd name="connsiteY99" fmla="*/ 161925 h 4429225"/>
                  <a:gd name="connsiteX100" fmla="*/ 1525927 w 4519987"/>
                  <a:gd name="connsiteY100" fmla="*/ 152400 h 4429225"/>
                  <a:gd name="connsiteX101" fmla="*/ 1583077 w 4519987"/>
                  <a:gd name="connsiteY101" fmla="*/ 142875 h 4429225"/>
                  <a:gd name="connsiteX102" fmla="*/ 1716427 w 4519987"/>
                  <a:gd name="connsiteY102" fmla="*/ 123825 h 4429225"/>
                  <a:gd name="connsiteX103" fmla="*/ 1811677 w 4519987"/>
                  <a:gd name="connsiteY103" fmla="*/ 114300 h 4429225"/>
                  <a:gd name="connsiteX104" fmla="*/ 1859302 w 4519987"/>
                  <a:gd name="connsiteY104" fmla="*/ 104775 h 4429225"/>
                  <a:gd name="connsiteX105" fmla="*/ 1916452 w 4519987"/>
                  <a:gd name="connsiteY105" fmla="*/ 95250 h 4429225"/>
                  <a:gd name="connsiteX106" fmla="*/ 2030752 w 4519987"/>
                  <a:gd name="connsiteY106" fmla="*/ 66675 h 4429225"/>
                  <a:gd name="connsiteX107" fmla="*/ 2097427 w 4519987"/>
                  <a:gd name="connsiteY107" fmla="*/ 47625 h 4429225"/>
                  <a:gd name="connsiteX108" fmla="*/ 2164102 w 4519987"/>
                  <a:gd name="connsiteY108" fmla="*/ 38100 h 4429225"/>
                  <a:gd name="connsiteX109" fmla="*/ 2392702 w 4519987"/>
                  <a:gd name="connsiteY109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725827 w 4519987"/>
                  <a:gd name="connsiteY50" fmla="*/ 3876675 h 4429225"/>
                  <a:gd name="connsiteX51" fmla="*/ 697252 w 4519987"/>
                  <a:gd name="connsiteY51" fmla="*/ 3838575 h 4429225"/>
                  <a:gd name="connsiteX52" fmla="*/ 640102 w 4519987"/>
                  <a:gd name="connsiteY52" fmla="*/ 3781425 h 4429225"/>
                  <a:gd name="connsiteX53" fmla="*/ 611527 w 4519987"/>
                  <a:gd name="connsiteY53" fmla="*/ 3733800 h 4429225"/>
                  <a:gd name="connsiteX54" fmla="*/ 554377 w 4519987"/>
                  <a:gd name="connsiteY54" fmla="*/ 3657600 h 4429225"/>
                  <a:gd name="connsiteX55" fmla="*/ 525802 w 4519987"/>
                  <a:gd name="connsiteY55" fmla="*/ 3609975 h 4429225"/>
                  <a:gd name="connsiteX56" fmla="*/ 497227 w 4519987"/>
                  <a:gd name="connsiteY56" fmla="*/ 3552825 h 4429225"/>
                  <a:gd name="connsiteX57" fmla="*/ 440077 w 4519987"/>
                  <a:gd name="connsiteY57" fmla="*/ 3495675 h 4429225"/>
                  <a:gd name="connsiteX58" fmla="*/ 411502 w 4519987"/>
                  <a:gd name="connsiteY58" fmla="*/ 3448050 h 4429225"/>
                  <a:gd name="connsiteX59" fmla="*/ 278152 w 4519987"/>
                  <a:gd name="connsiteY59" fmla="*/ 3257550 h 4429225"/>
                  <a:gd name="connsiteX60" fmla="*/ 249577 w 4519987"/>
                  <a:gd name="connsiteY60" fmla="*/ 3200400 h 4429225"/>
                  <a:gd name="connsiteX61" fmla="*/ 240052 w 4519987"/>
                  <a:gd name="connsiteY61" fmla="*/ 3162300 h 4429225"/>
                  <a:gd name="connsiteX62" fmla="*/ 221002 w 4519987"/>
                  <a:gd name="connsiteY62" fmla="*/ 3105150 h 4429225"/>
                  <a:gd name="connsiteX63" fmla="*/ 173377 w 4519987"/>
                  <a:gd name="connsiteY63" fmla="*/ 3019425 h 4429225"/>
                  <a:gd name="connsiteX64" fmla="*/ 144802 w 4519987"/>
                  <a:gd name="connsiteY64" fmla="*/ 2924175 h 4429225"/>
                  <a:gd name="connsiteX65" fmla="*/ 68602 w 4519987"/>
                  <a:gd name="connsiteY65" fmla="*/ 2724150 h 4429225"/>
                  <a:gd name="connsiteX66" fmla="*/ 49552 w 4519987"/>
                  <a:gd name="connsiteY66" fmla="*/ 2638425 h 4429225"/>
                  <a:gd name="connsiteX67" fmla="*/ 40027 w 4519987"/>
                  <a:gd name="connsiteY67" fmla="*/ 2562225 h 4429225"/>
                  <a:gd name="connsiteX68" fmla="*/ 30502 w 4519987"/>
                  <a:gd name="connsiteY68" fmla="*/ 2514600 h 4429225"/>
                  <a:gd name="connsiteX69" fmla="*/ 11452 w 4519987"/>
                  <a:gd name="connsiteY69" fmla="*/ 2400300 h 4429225"/>
                  <a:gd name="connsiteX70" fmla="*/ 20977 w 4519987"/>
                  <a:gd name="connsiteY70" fmla="*/ 1905000 h 4429225"/>
                  <a:gd name="connsiteX71" fmla="*/ 30502 w 4519987"/>
                  <a:gd name="connsiteY71" fmla="*/ 1838325 h 4429225"/>
                  <a:gd name="connsiteX72" fmla="*/ 49552 w 4519987"/>
                  <a:gd name="connsiteY72" fmla="*/ 1781175 h 4429225"/>
                  <a:gd name="connsiteX73" fmla="*/ 59077 w 4519987"/>
                  <a:gd name="connsiteY73" fmla="*/ 1743075 h 4429225"/>
                  <a:gd name="connsiteX74" fmla="*/ 78127 w 4519987"/>
                  <a:gd name="connsiteY74" fmla="*/ 1685925 h 4429225"/>
                  <a:gd name="connsiteX75" fmla="*/ 87652 w 4519987"/>
                  <a:gd name="connsiteY75" fmla="*/ 1638300 h 4429225"/>
                  <a:gd name="connsiteX76" fmla="*/ 106702 w 4519987"/>
                  <a:gd name="connsiteY76" fmla="*/ 1590675 h 4429225"/>
                  <a:gd name="connsiteX77" fmla="*/ 135277 w 4519987"/>
                  <a:gd name="connsiteY77" fmla="*/ 1504950 h 4429225"/>
                  <a:gd name="connsiteX78" fmla="*/ 154327 w 4519987"/>
                  <a:gd name="connsiteY78" fmla="*/ 1419225 h 4429225"/>
                  <a:gd name="connsiteX79" fmla="*/ 230527 w 4519987"/>
                  <a:gd name="connsiteY79" fmla="*/ 1276350 h 4429225"/>
                  <a:gd name="connsiteX80" fmla="*/ 240052 w 4519987"/>
                  <a:gd name="connsiteY80" fmla="*/ 1247775 h 4429225"/>
                  <a:gd name="connsiteX81" fmla="*/ 268627 w 4519987"/>
                  <a:gd name="connsiteY81" fmla="*/ 1200150 h 4429225"/>
                  <a:gd name="connsiteX82" fmla="*/ 287677 w 4519987"/>
                  <a:gd name="connsiteY82" fmla="*/ 1152525 h 4429225"/>
                  <a:gd name="connsiteX83" fmla="*/ 316252 w 4519987"/>
                  <a:gd name="connsiteY83" fmla="*/ 1114425 h 4429225"/>
                  <a:gd name="connsiteX84" fmla="*/ 363877 w 4519987"/>
                  <a:gd name="connsiteY84" fmla="*/ 1038225 h 4429225"/>
                  <a:gd name="connsiteX85" fmla="*/ 382927 w 4519987"/>
                  <a:gd name="connsiteY85" fmla="*/ 1009650 h 4429225"/>
                  <a:gd name="connsiteX86" fmla="*/ 440077 w 4519987"/>
                  <a:gd name="connsiteY86" fmla="*/ 904875 h 4429225"/>
                  <a:gd name="connsiteX87" fmla="*/ 478177 w 4519987"/>
                  <a:gd name="connsiteY87" fmla="*/ 857250 h 4429225"/>
                  <a:gd name="connsiteX88" fmla="*/ 497227 w 4519987"/>
                  <a:gd name="connsiteY88" fmla="*/ 828675 h 4429225"/>
                  <a:gd name="connsiteX89" fmla="*/ 535327 w 4519987"/>
                  <a:gd name="connsiteY89" fmla="*/ 800100 h 4429225"/>
                  <a:gd name="connsiteX90" fmla="*/ 602002 w 4519987"/>
                  <a:gd name="connsiteY90" fmla="*/ 733425 h 4429225"/>
                  <a:gd name="connsiteX91" fmla="*/ 668677 w 4519987"/>
                  <a:gd name="connsiteY91" fmla="*/ 676275 h 4429225"/>
                  <a:gd name="connsiteX92" fmla="*/ 697252 w 4519987"/>
                  <a:gd name="connsiteY92" fmla="*/ 657225 h 4429225"/>
                  <a:gd name="connsiteX93" fmla="*/ 840127 w 4519987"/>
                  <a:gd name="connsiteY93" fmla="*/ 533400 h 4429225"/>
                  <a:gd name="connsiteX94" fmla="*/ 887752 w 4519987"/>
                  <a:gd name="connsiteY94" fmla="*/ 504825 h 4429225"/>
                  <a:gd name="connsiteX95" fmla="*/ 1167152 w 4519987"/>
                  <a:gd name="connsiteY95" fmla="*/ 311150 h 4429225"/>
                  <a:gd name="connsiteX96" fmla="*/ 1268752 w 4519987"/>
                  <a:gd name="connsiteY96" fmla="*/ 285750 h 4429225"/>
                  <a:gd name="connsiteX97" fmla="*/ 1411627 w 4519987"/>
                  <a:gd name="connsiteY97" fmla="*/ 190500 h 4429225"/>
                  <a:gd name="connsiteX98" fmla="*/ 1449727 w 4519987"/>
                  <a:gd name="connsiteY98" fmla="*/ 161925 h 4429225"/>
                  <a:gd name="connsiteX99" fmla="*/ 1525927 w 4519987"/>
                  <a:gd name="connsiteY99" fmla="*/ 152400 h 4429225"/>
                  <a:gd name="connsiteX100" fmla="*/ 1583077 w 4519987"/>
                  <a:gd name="connsiteY100" fmla="*/ 142875 h 4429225"/>
                  <a:gd name="connsiteX101" fmla="*/ 1716427 w 4519987"/>
                  <a:gd name="connsiteY101" fmla="*/ 123825 h 4429225"/>
                  <a:gd name="connsiteX102" fmla="*/ 1811677 w 4519987"/>
                  <a:gd name="connsiteY102" fmla="*/ 114300 h 4429225"/>
                  <a:gd name="connsiteX103" fmla="*/ 1859302 w 4519987"/>
                  <a:gd name="connsiteY103" fmla="*/ 104775 h 4429225"/>
                  <a:gd name="connsiteX104" fmla="*/ 1916452 w 4519987"/>
                  <a:gd name="connsiteY104" fmla="*/ 95250 h 4429225"/>
                  <a:gd name="connsiteX105" fmla="*/ 2030752 w 4519987"/>
                  <a:gd name="connsiteY105" fmla="*/ 66675 h 4429225"/>
                  <a:gd name="connsiteX106" fmla="*/ 2097427 w 4519987"/>
                  <a:gd name="connsiteY106" fmla="*/ 47625 h 4429225"/>
                  <a:gd name="connsiteX107" fmla="*/ 2164102 w 4519987"/>
                  <a:gd name="connsiteY107" fmla="*/ 38100 h 4429225"/>
                  <a:gd name="connsiteX108" fmla="*/ 2392702 w 4519987"/>
                  <a:gd name="connsiteY108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640102 w 4519987"/>
                  <a:gd name="connsiteY51" fmla="*/ 3781425 h 4429225"/>
                  <a:gd name="connsiteX52" fmla="*/ 611527 w 4519987"/>
                  <a:gd name="connsiteY52" fmla="*/ 3733800 h 4429225"/>
                  <a:gd name="connsiteX53" fmla="*/ 554377 w 4519987"/>
                  <a:gd name="connsiteY53" fmla="*/ 3657600 h 4429225"/>
                  <a:gd name="connsiteX54" fmla="*/ 525802 w 4519987"/>
                  <a:gd name="connsiteY54" fmla="*/ 3609975 h 4429225"/>
                  <a:gd name="connsiteX55" fmla="*/ 497227 w 4519987"/>
                  <a:gd name="connsiteY55" fmla="*/ 3552825 h 4429225"/>
                  <a:gd name="connsiteX56" fmla="*/ 440077 w 4519987"/>
                  <a:gd name="connsiteY56" fmla="*/ 3495675 h 4429225"/>
                  <a:gd name="connsiteX57" fmla="*/ 411502 w 4519987"/>
                  <a:gd name="connsiteY57" fmla="*/ 3448050 h 4429225"/>
                  <a:gd name="connsiteX58" fmla="*/ 278152 w 4519987"/>
                  <a:gd name="connsiteY58" fmla="*/ 3257550 h 4429225"/>
                  <a:gd name="connsiteX59" fmla="*/ 249577 w 4519987"/>
                  <a:gd name="connsiteY59" fmla="*/ 3200400 h 4429225"/>
                  <a:gd name="connsiteX60" fmla="*/ 240052 w 4519987"/>
                  <a:gd name="connsiteY60" fmla="*/ 3162300 h 4429225"/>
                  <a:gd name="connsiteX61" fmla="*/ 221002 w 4519987"/>
                  <a:gd name="connsiteY61" fmla="*/ 3105150 h 4429225"/>
                  <a:gd name="connsiteX62" fmla="*/ 173377 w 4519987"/>
                  <a:gd name="connsiteY62" fmla="*/ 3019425 h 4429225"/>
                  <a:gd name="connsiteX63" fmla="*/ 144802 w 4519987"/>
                  <a:gd name="connsiteY63" fmla="*/ 2924175 h 4429225"/>
                  <a:gd name="connsiteX64" fmla="*/ 68602 w 4519987"/>
                  <a:gd name="connsiteY64" fmla="*/ 2724150 h 4429225"/>
                  <a:gd name="connsiteX65" fmla="*/ 49552 w 4519987"/>
                  <a:gd name="connsiteY65" fmla="*/ 2638425 h 4429225"/>
                  <a:gd name="connsiteX66" fmla="*/ 40027 w 4519987"/>
                  <a:gd name="connsiteY66" fmla="*/ 2562225 h 4429225"/>
                  <a:gd name="connsiteX67" fmla="*/ 30502 w 4519987"/>
                  <a:gd name="connsiteY67" fmla="*/ 2514600 h 4429225"/>
                  <a:gd name="connsiteX68" fmla="*/ 11452 w 4519987"/>
                  <a:gd name="connsiteY68" fmla="*/ 2400300 h 4429225"/>
                  <a:gd name="connsiteX69" fmla="*/ 20977 w 4519987"/>
                  <a:gd name="connsiteY69" fmla="*/ 1905000 h 4429225"/>
                  <a:gd name="connsiteX70" fmla="*/ 30502 w 4519987"/>
                  <a:gd name="connsiteY70" fmla="*/ 1838325 h 4429225"/>
                  <a:gd name="connsiteX71" fmla="*/ 49552 w 4519987"/>
                  <a:gd name="connsiteY71" fmla="*/ 1781175 h 4429225"/>
                  <a:gd name="connsiteX72" fmla="*/ 59077 w 4519987"/>
                  <a:gd name="connsiteY72" fmla="*/ 1743075 h 4429225"/>
                  <a:gd name="connsiteX73" fmla="*/ 78127 w 4519987"/>
                  <a:gd name="connsiteY73" fmla="*/ 1685925 h 4429225"/>
                  <a:gd name="connsiteX74" fmla="*/ 87652 w 4519987"/>
                  <a:gd name="connsiteY74" fmla="*/ 1638300 h 4429225"/>
                  <a:gd name="connsiteX75" fmla="*/ 106702 w 4519987"/>
                  <a:gd name="connsiteY75" fmla="*/ 1590675 h 4429225"/>
                  <a:gd name="connsiteX76" fmla="*/ 135277 w 4519987"/>
                  <a:gd name="connsiteY76" fmla="*/ 1504950 h 4429225"/>
                  <a:gd name="connsiteX77" fmla="*/ 154327 w 4519987"/>
                  <a:gd name="connsiteY77" fmla="*/ 1419225 h 4429225"/>
                  <a:gd name="connsiteX78" fmla="*/ 230527 w 4519987"/>
                  <a:gd name="connsiteY78" fmla="*/ 1276350 h 4429225"/>
                  <a:gd name="connsiteX79" fmla="*/ 240052 w 4519987"/>
                  <a:gd name="connsiteY79" fmla="*/ 1247775 h 4429225"/>
                  <a:gd name="connsiteX80" fmla="*/ 268627 w 4519987"/>
                  <a:gd name="connsiteY80" fmla="*/ 1200150 h 4429225"/>
                  <a:gd name="connsiteX81" fmla="*/ 287677 w 4519987"/>
                  <a:gd name="connsiteY81" fmla="*/ 1152525 h 4429225"/>
                  <a:gd name="connsiteX82" fmla="*/ 316252 w 4519987"/>
                  <a:gd name="connsiteY82" fmla="*/ 1114425 h 4429225"/>
                  <a:gd name="connsiteX83" fmla="*/ 363877 w 4519987"/>
                  <a:gd name="connsiteY83" fmla="*/ 1038225 h 4429225"/>
                  <a:gd name="connsiteX84" fmla="*/ 382927 w 4519987"/>
                  <a:gd name="connsiteY84" fmla="*/ 1009650 h 4429225"/>
                  <a:gd name="connsiteX85" fmla="*/ 440077 w 4519987"/>
                  <a:gd name="connsiteY85" fmla="*/ 904875 h 4429225"/>
                  <a:gd name="connsiteX86" fmla="*/ 478177 w 4519987"/>
                  <a:gd name="connsiteY86" fmla="*/ 857250 h 4429225"/>
                  <a:gd name="connsiteX87" fmla="*/ 497227 w 4519987"/>
                  <a:gd name="connsiteY87" fmla="*/ 828675 h 4429225"/>
                  <a:gd name="connsiteX88" fmla="*/ 535327 w 4519987"/>
                  <a:gd name="connsiteY88" fmla="*/ 800100 h 4429225"/>
                  <a:gd name="connsiteX89" fmla="*/ 602002 w 4519987"/>
                  <a:gd name="connsiteY89" fmla="*/ 733425 h 4429225"/>
                  <a:gd name="connsiteX90" fmla="*/ 668677 w 4519987"/>
                  <a:gd name="connsiteY90" fmla="*/ 676275 h 4429225"/>
                  <a:gd name="connsiteX91" fmla="*/ 697252 w 4519987"/>
                  <a:gd name="connsiteY91" fmla="*/ 657225 h 4429225"/>
                  <a:gd name="connsiteX92" fmla="*/ 840127 w 4519987"/>
                  <a:gd name="connsiteY92" fmla="*/ 533400 h 4429225"/>
                  <a:gd name="connsiteX93" fmla="*/ 887752 w 4519987"/>
                  <a:gd name="connsiteY93" fmla="*/ 504825 h 4429225"/>
                  <a:gd name="connsiteX94" fmla="*/ 1167152 w 4519987"/>
                  <a:gd name="connsiteY94" fmla="*/ 311150 h 4429225"/>
                  <a:gd name="connsiteX95" fmla="*/ 1268752 w 4519987"/>
                  <a:gd name="connsiteY95" fmla="*/ 285750 h 4429225"/>
                  <a:gd name="connsiteX96" fmla="*/ 1411627 w 4519987"/>
                  <a:gd name="connsiteY96" fmla="*/ 190500 h 4429225"/>
                  <a:gd name="connsiteX97" fmla="*/ 1449727 w 4519987"/>
                  <a:gd name="connsiteY97" fmla="*/ 161925 h 4429225"/>
                  <a:gd name="connsiteX98" fmla="*/ 1525927 w 4519987"/>
                  <a:gd name="connsiteY98" fmla="*/ 152400 h 4429225"/>
                  <a:gd name="connsiteX99" fmla="*/ 1583077 w 4519987"/>
                  <a:gd name="connsiteY99" fmla="*/ 142875 h 4429225"/>
                  <a:gd name="connsiteX100" fmla="*/ 1716427 w 4519987"/>
                  <a:gd name="connsiteY100" fmla="*/ 123825 h 4429225"/>
                  <a:gd name="connsiteX101" fmla="*/ 1811677 w 4519987"/>
                  <a:gd name="connsiteY101" fmla="*/ 114300 h 4429225"/>
                  <a:gd name="connsiteX102" fmla="*/ 1859302 w 4519987"/>
                  <a:gd name="connsiteY102" fmla="*/ 104775 h 4429225"/>
                  <a:gd name="connsiteX103" fmla="*/ 1916452 w 4519987"/>
                  <a:gd name="connsiteY103" fmla="*/ 95250 h 4429225"/>
                  <a:gd name="connsiteX104" fmla="*/ 2030752 w 4519987"/>
                  <a:gd name="connsiteY104" fmla="*/ 66675 h 4429225"/>
                  <a:gd name="connsiteX105" fmla="*/ 2097427 w 4519987"/>
                  <a:gd name="connsiteY105" fmla="*/ 47625 h 4429225"/>
                  <a:gd name="connsiteX106" fmla="*/ 2164102 w 4519987"/>
                  <a:gd name="connsiteY106" fmla="*/ 38100 h 4429225"/>
                  <a:gd name="connsiteX107" fmla="*/ 2392702 w 4519987"/>
                  <a:gd name="connsiteY107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611527 w 4519987"/>
                  <a:gd name="connsiteY51" fmla="*/ 3733800 h 4429225"/>
                  <a:gd name="connsiteX52" fmla="*/ 554377 w 4519987"/>
                  <a:gd name="connsiteY52" fmla="*/ 3657600 h 4429225"/>
                  <a:gd name="connsiteX53" fmla="*/ 525802 w 4519987"/>
                  <a:gd name="connsiteY53" fmla="*/ 3609975 h 4429225"/>
                  <a:gd name="connsiteX54" fmla="*/ 497227 w 4519987"/>
                  <a:gd name="connsiteY54" fmla="*/ 3552825 h 4429225"/>
                  <a:gd name="connsiteX55" fmla="*/ 440077 w 4519987"/>
                  <a:gd name="connsiteY55" fmla="*/ 3495675 h 4429225"/>
                  <a:gd name="connsiteX56" fmla="*/ 411502 w 4519987"/>
                  <a:gd name="connsiteY56" fmla="*/ 3448050 h 4429225"/>
                  <a:gd name="connsiteX57" fmla="*/ 278152 w 4519987"/>
                  <a:gd name="connsiteY57" fmla="*/ 3257550 h 4429225"/>
                  <a:gd name="connsiteX58" fmla="*/ 249577 w 4519987"/>
                  <a:gd name="connsiteY58" fmla="*/ 3200400 h 4429225"/>
                  <a:gd name="connsiteX59" fmla="*/ 240052 w 4519987"/>
                  <a:gd name="connsiteY59" fmla="*/ 3162300 h 4429225"/>
                  <a:gd name="connsiteX60" fmla="*/ 221002 w 4519987"/>
                  <a:gd name="connsiteY60" fmla="*/ 3105150 h 4429225"/>
                  <a:gd name="connsiteX61" fmla="*/ 173377 w 4519987"/>
                  <a:gd name="connsiteY61" fmla="*/ 3019425 h 4429225"/>
                  <a:gd name="connsiteX62" fmla="*/ 144802 w 4519987"/>
                  <a:gd name="connsiteY62" fmla="*/ 2924175 h 4429225"/>
                  <a:gd name="connsiteX63" fmla="*/ 68602 w 4519987"/>
                  <a:gd name="connsiteY63" fmla="*/ 2724150 h 4429225"/>
                  <a:gd name="connsiteX64" fmla="*/ 49552 w 4519987"/>
                  <a:gd name="connsiteY64" fmla="*/ 2638425 h 4429225"/>
                  <a:gd name="connsiteX65" fmla="*/ 40027 w 4519987"/>
                  <a:gd name="connsiteY65" fmla="*/ 2562225 h 4429225"/>
                  <a:gd name="connsiteX66" fmla="*/ 30502 w 4519987"/>
                  <a:gd name="connsiteY66" fmla="*/ 2514600 h 4429225"/>
                  <a:gd name="connsiteX67" fmla="*/ 11452 w 4519987"/>
                  <a:gd name="connsiteY67" fmla="*/ 2400300 h 4429225"/>
                  <a:gd name="connsiteX68" fmla="*/ 20977 w 4519987"/>
                  <a:gd name="connsiteY68" fmla="*/ 1905000 h 4429225"/>
                  <a:gd name="connsiteX69" fmla="*/ 30502 w 4519987"/>
                  <a:gd name="connsiteY69" fmla="*/ 1838325 h 4429225"/>
                  <a:gd name="connsiteX70" fmla="*/ 49552 w 4519987"/>
                  <a:gd name="connsiteY70" fmla="*/ 1781175 h 4429225"/>
                  <a:gd name="connsiteX71" fmla="*/ 59077 w 4519987"/>
                  <a:gd name="connsiteY71" fmla="*/ 1743075 h 4429225"/>
                  <a:gd name="connsiteX72" fmla="*/ 78127 w 4519987"/>
                  <a:gd name="connsiteY72" fmla="*/ 1685925 h 4429225"/>
                  <a:gd name="connsiteX73" fmla="*/ 87652 w 4519987"/>
                  <a:gd name="connsiteY73" fmla="*/ 1638300 h 4429225"/>
                  <a:gd name="connsiteX74" fmla="*/ 106702 w 4519987"/>
                  <a:gd name="connsiteY74" fmla="*/ 1590675 h 4429225"/>
                  <a:gd name="connsiteX75" fmla="*/ 135277 w 4519987"/>
                  <a:gd name="connsiteY75" fmla="*/ 1504950 h 4429225"/>
                  <a:gd name="connsiteX76" fmla="*/ 154327 w 4519987"/>
                  <a:gd name="connsiteY76" fmla="*/ 1419225 h 4429225"/>
                  <a:gd name="connsiteX77" fmla="*/ 230527 w 4519987"/>
                  <a:gd name="connsiteY77" fmla="*/ 1276350 h 4429225"/>
                  <a:gd name="connsiteX78" fmla="*/ 240052 w 4519987"/>
                  <a:gd name="connsiteY78" fmla="*/ 1247775 h 4429225"/>
                  <a:gd name="connsiteX79" fmla="*/ 268627 w 4519987"/>
                  <a:gd name="connsiteY79" fmla="*/ 1200150 h 4429225"/>
                  <a:gd name="connsiteX80" fmla="*/ 287677 w 4519987"/>
                  <a:gd name="connsiteY80" fmla="*/ 1152525 h 4429225"/>
                  <a:gd name="connsiteX81" fmla="*/ 316252 w 4519987"/>
                  <a:gd name="connsiteY81" fmla="*/ 1114425 h 4429225"/>
                  <a:gd name="connsiteX82" fmla="*/ 363877 w 4519987"/>
                  <a:gd name="connsiteY82" fmla="*/ 1038225 h 4429225"/>
                  <a:gd name="connsiteX83" fmla="*/ 382927 w 4519987"/>
                  <a:gd name="connsiteY83" fmla="*/ 1009650 h 4429225"/>
                  <a:gd name="connsiteX84" fmla="*/ 440077 w 4519987"/>
                  <a:gd name="connsiteY84" fmla="*/ 904875 h 4429225"/>
                  <a:gd name="connsiteX85" fmla="*/ 478177 w 4519987"/>
                  <a:gd name="connsiteY85" fmla="*/ 857250 h 4429225"/>
                  <a:gd name="connsiteX86" fmla="*/ 497227 w 4519987"/>
                  <a:gd name="connsiteY86" fmla="*/ 828675 h 4429225"/>
                  <a:gd name="connsiteX87" fmla="*/ 535327 w 4519987"/>
                  <a:gd name="connsiteY87" fmla="*/ 800100 h 4429225"/>
                  <a:gd name="connsiteX88" fmla="*/ 602002 w 4519987"/>
                  <a:gd name="connsiteY88" fmla="*/ 733425 h 4429225"/>
                  <a:gd name="connsiteX89" fmla="*/ 668677 w 4519987"/>
                  <a:gd name="connsiteY89" fmla="*/ 676275 h 4429225"/>
                  <a:gd name="connsiteX90" fmla="*/ 697252 w 4519987"/>
                  <a:gd name="connsiteY90" fmla="*/ 657225 h 4429225"/>
                  <a:gd name="connsiteX91" fmla="*/ 840127 w 4519987"/>
                  <a:gd name="connsiteY91" fmla="*/ 533400 h 4429225"/>
                  <a:gd name="connsiteX92" fmla="*/ 887752 w 4519987"/>
                  <a:gd name="connsiteY92" fmla="*/ 504825 h 4429225"/>
                  <a:gd name="connsiteX93" fmla="*/ 1167152 w 4519987"/>
                  <a:gd name="connsiteY93" fmla="*/ 311150 h 4429225"/>
                  <a:gd name="connsiteX94" fmla="*/ 1268752 w 4519987"/>
                  <a:gd name="connsiteY94" fmla="*/ 285750 h 4429225"/>
                  <a:gd name="connsiteX95" fmla="*/ 1411627 w 4519987"/>
                  <a:gd name="connsiteY95" fmla="*/ 190500 h 4429225"/>
                  <a:gd name="connsiteX96" fmla="*/ 1449727 w 4519987"/>
                  <a:gd name="connsiteY96" fmla="*/ 161925 h 4429225"/>
                  <a:gd name="connsiteX97" fmla="*/ 1525927 w 4519987"/>
                  <a:gd name="connsiteY97" fmla="*/ 152400 h 4429225"/>
                  <a:gd name="connsiteX98" fmla="*/ 1583077 w 4519987"/>
                  <a:gd name="connsiteY98" fmla="*/ 142875 h 4429225"/>
                  <a:gd name="connsiteX99" fmla="*/ 1716427 w 4519987"/>
                  <a:gd name="connsiteY99" fmla="*/ 123825 h 4429225"/>
                  <a:gd name="connsiteX100" fmla="*/ 1811677 w 4519987"/>
                  <a:gd name="connsiteY100" fmla="*/ 114300 h 4429225"/>
                  <a:gd name="connsiteX101" fmla="*/ 1859302 w 4519987"/>
                  <a:gd name="connsiteY101" fmla="*/ 104775 h 4429225"/>
                  <a:gd name="connsiteX102" fmla="*/ 1916452 w 4519987"/>
                  <a:gd name="connsiteY102" fmla="*/ 95250 h 4429225"/>
                  <a:gd name="connsiteX103" fmla="*/ 2030752 w 4519987"/>
                  <a:gd name="connsiteY103" fmla="*/ 66675 h 4429225"/>
                  <a:gd name="connsiteX104" fmla="*/ 2097427 w 4519987"/>
                  <a:gd name="connsiteY104" fmla="*/ 47625 h 4429225"/>
                  <a:gd name="connsiteX105" fmla="*/ 2164102 w 4519987"/>
                  <a:gd name="connsiteY105" fmla="*/ 38100 h 4429225"/>
                  <a:gd name="connsiteX106" fmla="*/ 2392702 w 4519987"/>
                  <a:gd name="connsiteY106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525802 w 4519987"/>
                  <a:gd name="connsiteY52" fmla="*/ 3609975 h 4429225"/>
                  <a:gd name="connsiteX53" fmla="*/ 497227 w 4519987"/>
                  <a:gd name="connsiteY53" fmla="*/ 3552825 h 4429225"/>
                  <a:gd name="connsiteX54" fmla="*/ 440077 w 4519987"/>
                  <a:gd name="connsiteY54" fmla="*/ 3495675 h 4429225"/>
                  <a:gd name="connsiteX55" fmla="*/ 411502 w 4519987"/>
                  <a:gd name="connsiteY55" fmla="*/ 3448050 h 4429225"/>
                  <a:gd name="connsiteX56" fmla="*/ 278152 w 4519987"/>
                  <a:gd name="connsiteY56" fmla="*/ 3257550 h 4429225"/>
                  <a:gd name="connsiteX57" fmla="*/ 249577 w 4519987"/>
                  <a:gd name="connsiteY57" fmla="*/ 3200400 h 4429225"/>
                  <a:gd name="connsiteX58" fmla="*/ 240052 w 4519987"/>
                  <a:gd name="connsiteY58" fmla="*/ 3162300 h 4429225"/>
                  <a:gd name="connsiteX59" fmla="*/ 221002 w 4519987"/>
                  <a:gd name="connsiteY59" fmla="*/ 3105150 h 4429225"/>
                  <a:gd name="connsiteX60" fmla="*/ 173377 w 4519987"/>
                  <a:gd name="connsiteY60" fmla="*/ 3019425 h 4429225"/>
                  <a:gd name="connsiteX61" fmla="*/ 144802 w 4519987"/>
                  <a:gd name="connsiteY61" fmla="*/ 2924175 h 4429225"/>
                  <a:gd name="connsiteX62" fmla="*/ 68602 w 4519987"/>
                  <a:gd name="connsiteY62" fmla="*/ 2724150 h 4429225"/>
                  <a:gd name="connsiteX63" fmla="*/ 49552 w 4519987"/>
                  <a:gd name="connsiteY63" fmla="*/ 2638425 h 4429225"/>
                  <a:gd name="connsiteX64" fmla="*/ 40027 w 4519987"/>
                  <a:gd name="connsiteY64" fmla="*/ 2562225 h 4429225"/>
                  <a:gd name="connsiteX65" fmla="*/ 30502 w 4519987"/>
                  <a:gd name="connsiteY65" fmla="*/ 2514600 h 4429225"/>
                  <a:gd name="connsiteX66" fmla="*/ 11452 w 4519987"/>
                  <a:gd name="connsiteY66" fmla="*/ 2400300 h 4429225"/>
                  <a:gd name="connsiteX67" fmla="*/ 20977 w 4519987"/>
                  <a:gd name="connsiteY67" fmla="*/ 1905000 h 4429225"/>
                  <a:gd name="connsiteX68" fmla="*/ 30502 w 4519987"/>
                  <a:gd name="connsiteY68" fmla="*/ 1838325 h 4429225"/>
                  <a:gd name="connsiteX69" fmla="*/ 49552 w 4519987"/>
                  <a:gd name="connsiteY69" fmla="*/ 1781175 h 4429225"/>
                  <a:gd name="connsiteX70" fmla="*/ 59077 w 4519987"/>
                  <a:gd name="connsiteY70" fmla="*/ 1743075 h 4429225"/>
                  <a:gd name="connsiteX71" fmla="*/ 78127 w 4519987"/>
                  <a:gd name="connsiteY71" fmla="*/ 1685925 h 4429225"/>
                  <a:gd name="connsiteX72" fmla="*/ 87652 w 4519987"/>
                  <a:gd name="connsiteY72" fmla="*/ 1638300 h 4429225"/>
                  <a:gd name="connsiteX73" fmla="*/ 106702 w 4519987"/>
                  <a:gd name="connsiteY73" fmla="*/ 1590675 h 4429225"/>
                  <a:gd name="connsiteX74" fmla="*/ 135277 w 4519987"/>
                  <a:gd name="connsiteY74" fmla="*/ 1504950 h 4429225"/>
                  <a:gd name="connsiteX75" fmla="*/ 154327 w 4519987"/>
                  <a:gd name="connsiteY75" fmla="*/ 1419225 h 4429225"/>
                  <a:gd name="connsiteX76" fmla="*/ 230527 w 4519987"/>
                  <a:gd name="connsiteY76" fmla="*/ 1276350 h 4429225"/>
                  <a:gd name="connsiteX77" fmla="*/ 240052 w 4519987"/>
                  <a:gd name="connsiteY77" fmla="*/ 1247775 h 4429225"/>
                  <a:gd name="connsiteX78" fmla="*/ 268627 w 4519987"/>
                  <a:gd name="connsiteY78" fmla="*/ 1200150 h 4429225"/>
                  <a:gd name="connsiteX79" fmla="*/ 287677 w 4519987"/>
                  <a:gd name="connsiteY79" fmla="*/ 1152525 h 4429225"/>
                  <a:gd name="connsiteX80" fmla="*/ 316252 w 4519987"/>
                  <a:gd name="connsiteY80" fmla="*/ 1114425 h 4429225"/>
                  <a:gd name="connsiteX81" fmla="*/ 363877 w 4519987"/>
                  <a:gd name="connsiteY81" fmla="*/ 1038225 h 4429225"/>
                  <a:gd name="connsiteX82" fmla="*/ 382927 w 4519987"/>
                  <a:gd name="connsiteY82" fmla="*/ 1009650 h 4429225"/>
                  <a:gd name="connsiteX83" fmla="*/ 440077 w 4519987"/>
                  <a:gd name="connsiteY83" fmla="*/ 904875 h 4429225"/>
                  <a:gd name="connsiteX84" fmla="*/ 478177 w 4519987"/>
                  <a:gd name="connsiteY84" fmla="*/ 857250 h 4429225"/>
                  <a:gd name="connsiteX85" fmla="*/ 497227 w 4519987"/>
                  <a:gd name="connsiteY85" fmla="*/ 828675 h 4429225"/>
                  <a:gd name="connsiteX86" fmla="*/ 535327 w 4519987"/>
                  <a:gd name="connsiteY86" fmla="*/ 800100 h 4429225"/>
                  <a:gd name="connsiteX87" fmla="*/ 602002 w 4519987"/>
                  <a:gd name="connsiteY87" fmla="*/ 733425 h 4429225"/>
                  <a:gd name="connsiteX88" fmla="*/ 668677 w 4519987"/>
                  <a:gd name="connsiteY88" fmla="*/ 676275 h 4429225"/>
                  <a:gd name="connsiteX89" fmla="*/ 697252 w 4519987"/>
                  <a:gd name="connsiteY89" fmla="*/ 657225 h 4429225"/>
                  <a:gd name="connsiteX90" fmla="*/ 840127 w 4519987"/>
                  <a:gd name="connsiteY90" fmla="*/ 533400 h 4429225"/>
                  <a:gd name="connsiteX91" fmla="*/ 887752 w 4519987"/>
                  <a:gd name="connsiteY91" fmla="*/ 504825 h 4429225"/>
                  <a:gd name="connsiteX92" fmla="*/ 1167152 w 4519987"/>
                  <a:gd name="connsiteY92" fmla="*/ 311150 h 4429225"/>
                  <a:gd name="connsiteX93" fmla="*/ 1268752 w 4519987"/>
                  <a:gd name="connsiteY93" fmla="*/ 285750 h 4429225"/>
                  <a:gd name="connsiteX94" fmla="*/ 1411627 w 4519987"/>
                  <a:gd name="connsiteY94" fmla="*/ 190500 h 4429225"/>
                  <a:gd name="connsiteX95" fmla="*/ 1449727 w 4519987"/>
                  <a:gd name="connsiteY95" fmla="*/ 161925 h 4429225"/>
                  <a:gd name="connsiteX96" fmla="*/ 1525927 w 4519987"/>
                  <a:gd name="connsiteY96" fmla="*/ 152400 h 4429225"/>
                  <a:gd name="connsiteX97" fmla="*/ 1583077 w 4519987"/>
                  <a:gd name="connsiteY97" fmla="*/ 142875 h 4429225"/>
                  <a:gd name="connsiteX98" fmla="*/ 1716427 w 4519987"/>
                  <a:gd name="connsiteY98" fmla="*/ 123825 h 4429225"/>
                  <a:gd name="connsiteX99" fmla="*/ 1811677 w 4519987"/>
                  <a:gd name="connsiteY99" fmla="*/ 114300 h 4429225"/>
                  <a:gd name="connsiteX100" fmla="*/ 1859302 w 4519987"/>
                  <a:gd name="connsiteY100" fmla="*/ 104775 h 4429225"/>
                  <a:gd name="connsiteX101" fmla="*/ 1916452 w 4519987"/>
                  <a:gd name="connsiteY101" fmla="*/ 95250 h 4429225"/>
                  <a:gd name="connsiteX102" fmla="*/ 2030752 w 4519987"/>
                  <a:gd name="connsiteY102" fmla="*/ 66675 h 4429225"/>
                  <a:gd name="connsiteX103" fmla="*/ 2097427 w 4519987"/>
                  <a:gd name="connsiteY103" fmla="*/ 47625 h 4429225"/>
                  <a:gd name="connsiteX104" fmla="*/ 2164102 w 4519987"/>
                  <a:gd name="connsiteY104" fmla="*/ 38100 h 4429225"/>
                  <a:gd name="connsiteX105" fmla="*/ 2392702 w 4519987"/>
                  <a:gd name="connsiteY105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497227 w 4519987"/>
                  <a:gd name="connsiteY52" fmla="*/ 3552825 h 4429225"/>
                  <a:gd name="connsiteX53" fmla="*/ 440077 w 4519987"/>
                  <a:gd name="connsiteY53" fmla="*/ 3495675 h 4429225"/>
                  <a:gd name="connsiteX54" fmla="*/ 411502 w 4519987"/>
                  <a:gd name="connsiteY54" fmla="*/ 3448050 h 4429225"/>
                  <a:gd name="connsiteX55" fmla="*/ 278152 w 4519987"/>
                  <a:gd name="connsiteY55" fmla="*/ 3257550 h 4429225"/>
                  <a:gd name="connsiteX56" fmla="*/ 249577 w 4519987"/>
                  <a:gd name="connsiteY56" fmla="*/ 3200400 h 4429225"/>
                  <a:gd name="connsiteX57" fmla="*/ 240052 w 4519987"/>
                  <a:gd name="connsiteY57" fmla="*/ 3162300 h 4429225"/>
                  <a:gd name="connsiteX58" fmla="*/ 221002 w 4519987"/>
                  <a:gd name="connsiteY58" fmla="*/ 3105150 h 4429225"/>
                  <a:gd name="connsiteX59" fmla="*/ 173377 w 4519987"/>
                  <a:gd name="connsiteY59" fmla="*/ 3019425 h 4429225"/>
                  <a:gd name="connsiteX60" fmla="*/ 144802 w 4519987"/>
                  <a:gd name="connsiteY60" fmla="*/ 2924175 h 4429225"/>
                  <a:gd name="connsiteX61" fmla="*/ 68602 w 4519987"/>
                  <a:gd name="connsiteY61" fmla="*/ 2724150 h 4429225"/>
                  <a:gd name="connsiteX62" fmla="*/ 49552 w 4519987"/>
                  <a:gd name="connsiteY62" fmla="*/ 2638425 h 4429225"/>
                  <a:gd name="connsiteX63" fmla="*/ 40027 w 4519987"/>
                  <a:gd name="connsiteY63" fmla="*/ 2562225 h 4429225"/>
                  <a:gd name="connsiteX64" fmla="*/ 30502 w 4519987"/>
                  <a:gd name="connsiteY64" fmla="*/ 2514600 h 4429225"/>
                  <a:gd name="connsiteX65" fmla="*/ 11452 w 4519987"/>
                  <a:gd name="connsiteY65" fmla="*/ 2400300 h 4429225"/>
                  <a:gd name="connsiteX66" fmla="*/ 20977 w 4519987"/>
                  <a:gd name="connsiteY66" fmla="*/ 1905000 h 4429225"/>
                  <a:gd name="connsiteX67" fmla="*/ 30502 w 4519987"/>
                  <a:gd name="connsiteY67" fmla="*/ 1838325 h 4429225"/>
                  <a:gd name="connsiteX68" fmla="*/ 49552 w 4519987"/>
                  <a:gd name="connsiteY68" fmla="*/ 1781175 h 4429225"/>
                  <a:gd name="connsiteX69" fmla="*/ 59077 w 4519987"/>
                  <a:gd name="connsiteY69" fmla="*/ 1743075 h 4429225"/>
                  <a:gd name="connsiteX70" fmla="*/ 78127 w 4519987"/>
                  <a:gd name="connsiteY70" fmla="*/ 1685925 h 4429225"/>
                  <a:gd name="connsiteX71" fmla="*/ 87652 w 4519987"/>
                  <a:gd name="connsiteY71" fmla="*/ 1638300 h 4429225"/>
                  <a:gd name="connsiteX72" fmla="*/ 106702 w 4519987"/>
                  <a:gd name="connsiteY72" fmla="*/ 1590675 h 4429225"/>
                  <a:gd name="connsiteX73" fmla="*/ 135277 w 4519987"/>
                  <a:gd name="connsiteY73" fmla="*/ 1504950 h 4429225"/>
                  <a:gd name="connsiteX74" fmla="*/ 154327 w 4519987"/>
                  <a:gd name="connsiteY74" fmla="*/ 1419225 h 4429225"/>
                  <a:gd name="connsiteX75" fmla="*/ 230527 w 4519987"/>
                  <a:gd name="connsiteY75" fmla="*/ 1276350 h 4429225"/>
                  <a:gd name="connsiteX76" fmla="*/ 240052 w 4519987"/>
                  <a:gd name="connsiteY76" fmla="*/ 1247775 h 4429225"/>
                  <a:gd name="connsiteX77" fmla="*/ 268627 w 4519987"/>
                  <a:gd name="connsiteY77" fmla="*/ 1200150 h 4429225"/>
                  <a:gd name="connsiteX78" fmla="*/ 287677 w 4519987"/>
                  <a:gd name="connsiteY78" fmla="*/ 1152525 h 4429225"/>
                  <a:gd name="connsiteX79" fmla="*/ 316252 w 4519987"/>
                  <a:gd name="connsiteY79" fmla="*/ 1114425 h 4429225"/>
                  <a:gd name="connsiteX80" fmla="*/ 363877 w 4519987"/>
                  <a:gd name="connsiteY80" fmla="*/ 1038225 h 4429225"/>
                  <a:gd name="connsiteX81" fmla="*/ 382927 w 4519987"/>
                  <a:gd name="connsiteY81" fmla="*/ 1009650 h 4429225"/>
                  <a:gd name="connsiteX82" fmla="*/ 440077 w 4519987"/>
                  <a:gd name="connsiteY82" fmla="*/ 904875 h 4429225"/>
                  <a:gd name="connsiteX83" fmla="*/ 478177 w 4519987"/>
                  <a:gd name="connsiteY83" fmla="*/ 857250 h 4429225"/>
                  <a:gd name="connsiteX84" fmla="*/ 497227 w 4519987"/>
                  <a:gd name="connsiteY84" fmla="*/ 828675 h 4429225"/>
                  <a:gd name="connsiteX85" fmla="*/ 535327 w 4519987"/>
                  <a:gd name="connsiteY85" fmla="*/ 800100 h 4429225"/>
                  <a:gd name="connsiteX86" fmla="*/ 602002 w 4519987"/>
                  <a:gd name="connsiteY86" fmla="*/ 733425 h 4429225"/>
                  <a:gd name="connsiteX87" fmla="*/ 668677 w 4519987"/>
                  <a:gd name="connsiteY87" fmla="*/ 676275 h 4429225"/>
                  <a:gd name="connsiteX88" fmla="*/ 697252 w 4519987"/>
                  <a:gd name="connsiteY88" fmla="*/ 657225 h 4429225"/>
                  <a:gd name="connsiteX89" fmla="*/ 840127 w 4519987"/>
                  <a:gd name="connsiteY89" fmla="*/ 533400 h 4429225"/>
                  <a:gd name="connsiteX90" fmla="*/ 887752 w 4519987"/>
                  <a:gd name="connsiteY90" fmla="*/ 504825 h 4429225"/>
                  <a:gd name="connsiteX91" fmla="*/ 1167152 w 4519987"/>
                  <a:gd name="connsiteY91" fmla="*/ 311150 h 4429225"/>
                  <a:gd name="connsiteX92" fmla="*/ 1268752 w 4519987"/>
                  <a:gd name="connsiteY92" fmla="*/ 285750 h 4429225"/>
                  <a:gd name="connsiteX93" fmla="*/ 1411627 w 4519987"/>
                  <a:gd name="connsiteY93" fmla="*/ 190500 h 4429225"/>
                  <a:gd name="connsiteX94" fmla="*/ 1449727 w 4519987"/>
                  <a:gd name="connsiteY94" fmla="*/ 161925 h 4429225"/>
                  <a:gd name="connsiteX95" fmla="*/ 1525927 w 4519987"/>
                  <a:gd name="connsiteY95" fmla="*/ 152400 h 4429225"/>
                  <a:gd name="connsiteX96" fmla="*/ 1583077 w 4519987"/>
                  <a:gd name="connsiteY96" fmla="*/ 142875 h 4429225"/>
                  <a:gd name="connsiteX97" fmla="*/ 1716427 w 4519987"/>
                  <a:gd name="connsiteY97" fmla="*/ 123825 h 4429225"/>
                  <a:gd name="connsiteX98" fmla="*/ 1811677 w 4519987"/>
                  <a:gd name="connsiteY98" fmla="*/ 114300 h 4429225"/>
                  <a:gd name="connsiteX99" fmla="*/ 1859302 w 4519987"/>
                  <a:gd name="connsiteY99" fmla="*/ 104775 h 4429225"/>
                  <a:gd name="connsiteX100" fmla="*/ 1916452 w 4519987"/>
                  <a:gd name="connsiteY100" fmla="*/ 95250 h 4429225"/>
                  <a:gd name="connsiteX101" fmla="*/ 2030752 w 4519987"/>
                  <a:gd name="connsiteY101" fmla="*/ 66675 h 4429225"/>
                  <a:gd name="connsiteX102" fmla="*/ 2097427 w 4519987"/>
                  <a:gd name="connsiteY102" fmla="*/ 47625 h 4429225"/>
                  <a:gd name="connsiteX103" fmla="*/ 2164102 w 4519987"/>
                  <a:gd name="connsiteY103" fmla="*/ 38100 h 4429225"/>
                  <a:gd name="connsiteX104" fmla="*/ 2392702 w 4519987"/>
                  <a:gd name="connsiteY104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497227 w 4519987"/>
                  <a:gd name="connsiteY52" fmla="*/ 3552825 h 4429225"/>
                  <a:gd name="connsiteX53" fmla="*/ 440077 w 4519987"/>
                  <a:gd name="connsiteY53" fmla="*/ 3495675 h 4429225"/>
                  <a:gd name="connsiteX54" fmla="*/ 278152 w 4519987"/>
                  <a:gd name="connsiteY54" fmla="*/ 3257550 h 4429225"/>
                  <a:gd name="connsiteX55" fmla="*/ 249577 w 4519987"/>
                  <a:gd name="connsiteY55" fmla="*/ 3200400 h 4429225"/>
                  <a:gd name="connsiteX56" fmla="*/ 240052 w 4519987"/>
                  <a:gd name="connsiteY56" fmla="*/ 3162300 h 4429225"/>
                  <a:gd name="connsiteX57" fmla="*/ 221002 w 4519987"/>
                  <a:gd name="connsiteY57" fmla="*/ 3105150 h 4429225"/>
                  <a:gd name="connsiteX58" fmla="*/ 173377 w 4519987"/>
                  <a:gd name="connsiteY58" fmla="*/ 3019425 h 4429225"/>
                  <a:gd name="connsiteX59" fmla="*/ 144802 w 4519987"/>
                  <a:gd name="connsiteY59" fmla="*/ 2924175 h 4429225"/>
                  <a:gd name="connsiteX60" fmla="*/ 68602 w 4519987"/>
                  <a:gd name="connsiteY60" fmla="*/ 2724150 h 4429225"/>
                  <a:gd name="connsiteX61" fmla="*/ 49552 w 4519987"/>
                  <a:gd name="connsiteY61" fmla="*/ 2638425 h 4429225"/>
                  <a:gd name="connsiteX62" fmla="*/ 40027 w 4519987"/>
                  <a:gd name="connsiteY62" fmla="*/ 2562225 h 4429225"/>
                  <a:gd name="connsiteX63" fmla="*/ 30502 w 4519987"/>
                  <a:gd name="connsiteY63" fmla="*/ 2514600 h 4429225"/>
                  <a:gd name="connsiteX64" fmla="*/ 11452 w 4519987"/>
                  <a:gd name="connsiteY64" fmla="*/ 2400300 h 4429225"/>
                  <a:gd name="connsiteX65" fmla="*/ 20977 w 4519987"/>
                  <a:gd name="connsiteY65" fmla="*/ 1905000 h 4429225"/>
                  <a:gd name="connsiteX66" fmla="*/ 30502 w 4519987"/>
                  <a:gd name="connsiteY66" fmla="*/ 1838325 h 4429225"/>
                  <a:gd name="connsiteX67" fmla="*/ 49552 w 4519987"/>
                  <a:gd name="connsiteY67" fmla="*/ 1781175 h 4429225"/>
                  <a:gd name="connsiteX68" fmla="*/ 59077 w 4519987"/>
                  <a:gd name="connsiteY68" fmla="*/ 1743075 h 4429225"/>
                  <a:gd name="connsiteX69" fmla="*/ 78127 w 4519987"/>
                  <a:gd name="connsiteY69" fmla="*/ 1685925 h 4429225"/>
                  <a:gd name="connsiteX70" fmla="*/ 87652 w 4519987"/>
                  <a:gd name="connsiteY70" fmla="*/ 1638300 h 4429225"/>
                  <a:gd name="connsiteX71" fmla="*/ 106702 w 4519987"/>
                  <a:gd name="connsiteY71" fmla="*/ 1590675 h 4429225"/>
                  <a:gd name="connsiteX72" fmla="*/ 135277 w 4519987"/>
                  <a:gd name="connsiteY72" fmla="*/ 1504950 h 4429225"/>
                  <a:gd name="connsiteX73" fmla="*/ 154327 w 4519987"/>
                  <a:gd name="connsiteY73" fmla="*/ 1419225 h 4429225"/>
                  <a:gd name="connsiteX74" fmla="*/ 230527 w 4519987"/>
                  <a:gd name="connsiteY74" fmla="*/ 1276350 h 4429225"/>
                  <a:gd name="connsiteX75" fmla="*/ 240052 w 4519987"/>
                  <a:gd name="connsiteY75" fmla="*/ 1247775 h 4429225"/>
                  <a:gd name="connsiteX76" fmla="*/ 268627 w 4519987"/>
                  <a:gd name="connsiteY76" fmla="*/ 1200150 h 4429225"/>
                  <a:gd name="connsiteX77" fmla="*/ 287677 w 4519987"/>
                  <a:gd name="connsiteY77" fmla="*/ 1152525 h 4429225"/>
                  <a:gd name="connsiteX78" fmla="*/ 316252 w 4519987"/>
                  <a:gd name="connsiteY78" fmla="*/ 1114425 h 4429225"/>
                  <a:gd name="connsiteX79" fmla="*/ 363877 w 4519987"/>
                  <a:gd name="connsiteY79" fmla="*/ 1038225 h 4429225"/>
                  <a:gd name="connsiteX80" fmla="*/ 382927 w 4519987"/>
                  <a:gd name="connsiteY80" fmla="*/ 1009650 h 4429225"/>
                  <a:gd name="connsiteX81" fmla="*/ 440077 w 4519987"/>
                  <a:gd name="connsiteY81" fmla="*/ 904875 h 4429225"/>
                  <a:gd name="connsiteX82" fmla="*/ 478177 w 4519987"/>
                  <a:gd name="connsiteY82" fmla="*/ 857250 h 4429225"/>
                  <a:gd name="connsiteX83" fmla="*/ 497227 w 4519987"/>
                  <a:gd name="connsiteY83" fmla="*/ 828675 h 4429225"/>
                  <a:gd name="connsiteX84" fmla="*/ 535327 w 4519987"/>
                  <a:gd name="connsiteY84" fmla="*/ 800100 h 4429225"/>
                  <a:gd name="connsiteX85" fmla="*/ 602002 w 4519987"/>
                  <a:gd name="connsiteY85" fmla="*/ 733425 h 4429225"/>
                  <a:gd name="connsiteX86" fmla="*/ 668677 w 4519987"/>
                  <a:gd name="connsiteY86" fmla="*/ 676275 h 4429225"/>
                  <a:gd name="connsiteX87" fmla="*/ 697252 w 4519987"/>
                  <a:gd name="connsiteY87" fmla="*/ 657225 h 4429225"/>
                  <a:gd name="connsiteX88" fmla="*/ 840127 w 4519987"/>
                  <a:gd name="connsiteY88" fmla="*/ 533400 h 4429225"/>
                  <a:gd name="connsiteX89" fmla="*/ 887752 w 4519987"/>
                  <a:gd name="connsiteY89" fmla="*/ 504825 h 4429225"/>
                  <a:gd name="connsiteX90" fmla="*/ 1167152 w 4519987"/>
                  <a:gd name="connsiteY90" fmla="*/ 311150 h 4429225"/>
                  <a:gd name="connsiteX91" fmla="*/ 1268752 w 4519987"/>
                  <a:gd name="connsiteY91" fmla="*/ 285750 h 4429225"/>
                  <a:gd name="connsiteX92" fmla="*/ 1411627 w 4519987"/>
                  <a:gd name="connsiteY92" fmla="*/ 190500 h 4429225"/>
                  <a:gd name="connsiteX93" fmla="*/ 1449727 w 4519987"/>
                  <a:gd name="connsiteY93" fmla="*/ 161925 h 4429225"/>
                  <a:gd name="connsiteX94" fmla="*/ 1525927 w 4519987"/>
                  <a:gd name="connsiteY94" fmla="*/ 152400 h 4429225"/>
                  <a:gd name="connsiteX95" fmla="*/ 1583077 w 4519987"/>
                  <a:gd name="connsiteY95" fmla="*/ 142875 h 4429225"/>
                  <a:gd name="connsiteX96" fmla="*/ 1716427 w 4519987"/>
                  <a:gd name="connsiteY96" fmla="*/ 123825 h 4429225"/>
                  <a:gd name="connsiteX97" fmla="*/ 1811677 w 4519987"/>
                  <a:gd name="connsiteY97" fmla="*/ 114300 h 4429225"/>
                  <a:gd name="connsiteX98" fmla="*/ 1859302 w 4519987"/>
                  <a:gd name="connsiteY98" fmla="*/ 104775 h 4429225"/>
                  <a:gd name="connsiteX99" fmla="*/ 1916452 w 4519987"/>
                  <a:gd name="connsiteY99" fmla="*/ 95250 h 4429225"/>
                  <a:gd name="connsiteX100" fmla="*/ 2030752 w 4519987"/>
                  <a:gd name="connsiteY100" fmla="*/ 66675 h 4429225"/>
                  <a:gd name="connsiteX101" fmla="*/ 2097427 w 4519987"/>
                  <a:gd name="connsiteY101" fmla="*/ 47625 h 4429225"/>
                  <a:gd name="connsiteX102" fmla="*/ 2164102 w 4519987"/>
                  <a:gd name="connsiteY102" fmla="*/ 38100 h 4429225"/>
                  <a:gd name="connsiteX103" fmla="*/ 2392702 w 4519987"/>
                  <a:gd name="connsiteY103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763927 w 4519987"/>
                  <a:gd name="connsiteY49" fmla="*/ 3914775 h 4429225"/>
                  <a:gd name="connsiteX50" fmla="*/ 697252 w 4519987"/>
                  <a:gd name="connsiteY50" fmla="*/ 3838575 h 4429225"/>
                  <a:gd name="connsiteX51" fmla="*/ 554377 w 4519987"/>
                  <a:gd name="connsiteY51" fmla="*/ 3657600 h 4429225"/>
                  <a:gd name="connsiteX52" fmla="*/ 440077 w 4519987"/>
                  <a:gd name="connsiteY52" fmla="*/ 3495675 h 4429225"/>
                  <a:gd name="connsiteX53" fmla="*/ 278152 w 4519987"/>
                  <a:gd name="connsiteY53" fmla="*/ 3257550 h 4429225"/>
                  <a:gd name="connsiteX54" fmla="*/ 249577 w 4519987"/>
                  <a:gd name="connsiteY54" fmla="*/ 3200400 h 4429225"/>
                  <a:gd name="connsiteX55" fmla="*/ 240052 w 4519987"/>
                  <a:gd name="connsiteY55" fmla="*/ 3162300 h 4429225"/>
                  <a:gd name="connsiteX56" fmla="*/ 221002 w 4519987"/>
                  <a:gd name="connsiteY56" fmla="*/ 3105150 h 4429225"/>
                  <a:gd name="connsiteX57" fmla="*/ 173377 w 4519987"/>
                  <a:gd name="connsiteY57" fmla="*/ 3019425 h 4429225"/>
                  <a:gd name="connsiteX58" fmla="*/ 144802 w 4519987"/>
                  <a:gd name="connsiteY58" fmla="*/ 2924175 h 4429225"/>
                  <a:gd name="connsiteX59" fmla="*/ 68602 w 4519987"/>
                  <a:gd name="connsiteY59" fmla="*/ 2724150 h 4429225"/>
                  <a:gd name="connsiteX60" fmla="*/ 49552 w 4519987"/>
                  <a:gd name="connsiteY60" fmla="*/ 2638425 h 4429225"/>
                  <a:gd name="connsiteX61" fmla="*/ 40027 w 4519987"/>
                  <a:gd name="connsiteY61" fmla="*/ 2562225 h 4429225"/>
                  <a:gd name="connsiteX62" fmla="*/ 30502 w 4519987"/>
                  <a:gd name="connsiteY62" fmla="*/ 2514600 h 4429225"/>
                  <a:gd name="connsiteX63" fmla="*/ 11452 w 4519987"/>
                  <a:gd name="connsiteY63" fmla="*/ 2400300 h 4429225"/>
                  <a:gd name="connsiteX64" fmla="*/ 20977 w 4519987"/>
                  <a:gd name="connsiteY64" fmla="*/ 1905000 h 4429225"/>
                  <a:gd name="connsiteX65" fmla="*/ 30502 w 4519987"/>
                  <a:gd name="connsiteY65" fmla="*/ 1838325 h 4429225"/>
                  <a:gd name="connsiteX66" fmla="*/ 49552 w 4519987"/>
                  <a:gd name="connsiteY66" fmla="*/ 1781175 h 4429225"/>
                  <a:gd name="connsiteX67" fmla="*/ 59077 w 4519987"/>
                  <a:gd name="connsiteY67" fmla="*/ 1743075 h 4429225"/>
                  <a:gd name="connsiteX68" fmla="*/ 78127 w 4519987"/>
                  <a:gd name="connsiteY68" fmla="*/ 1685925 h 4429225"/>
                  <a:gd name="connsiteX69" fmla="*/ 87652 w 4519987"/>
                  <a:gd name="connsiteY69" fmla="*/ 1638300 h 4429225"/>
                  <a:gd name="connsiteX70" fmla="*/ 106702 w 4519987"/>
                  <a:gd name="connsiteY70" fmla="*/ 1590675 h 4429225"/>
                  <a:gd name="connsiteX71" fmla="*/ 135277 w 4519987"/>
                  <a:gd name="connsiteY71" fmla="*/ 1504950 h 4429225"/>
                  <a:gd name="connsiteX72" fmla="*/ 154327 w 4519987"/>
                  <a:gd name="connsiteY72" fmla="*/ 1419225 h 4429225"/>
                  <a:gd name="connsiteX73" fmla="*/ 230527 w 4519987"/>
                  <a:gd name="connsiteY73" fmla="*/ 1276350 h 4429225"/>
                  <a:gd name="connsiteX74" fmla="*/ 240052 w 4519987"/>
                  <a:gd name="connsiteY74" fmla="*/ 1247775 h 4429225"/>
                  <a:gd name="connsiteX75" fmla="*/ 268627 w 4519987"/>
                  <a:gd name="connsiteY75" fmla="*/ 1200150 h 4429225"/>
                  <a:gd name="connsiteX76" fmla="*/ 287677 w 4519987"/>
                  <a:gd name="connsiteY76" fmla="*/ 1152525 h 4429225"/>
                  <a:gd name="connsiteX77" fmla="*/ 316252 w 4519987"/>
                  <a:gd name="connsiteY77" fmla="*/ 1114425 h 4429225"/>
                  <a:gd name="connsiteX78" fmla="*/ 363877 w 4519987"/>
                  <a:gd name="connsiteY78" fmla="*/ 1038225 h 4429225"/>
                  <a:gd name="connsiteX79" fmla="*/ 382927 w 4519987"/>
                  <a:gd name="connsiteY79" fmla="*/ 1009650 h 4429225"/>
                  <a:gd name="connsiteX80" fmla="*/ 440077 w 4519987"/>
                  <a:gd name="connsiteY80" fmla="*/ 904875 h 4429225"/>
                  <a:gd name="connsiteX81" fmla="*/ 478177 w 4519987"/>
                  <a:gd name="connsiteY81" fmla="*/ 857250 h 4429225"/>
                  <a:gd name="connsiteX82" fmla="*/ 497227 w 4519987"/>
                  <a:gd name="connsiteY82" fmla="*/ 828675 h 4429225"/>
                  <a:gd name="connsiteX83" fmla="*/ 535327 w 4519987"/>
                  <a:gd name="connsiteY83" fmla="*/ 800100 h 4429225"/>
                  <a:gd name="connsiteX84" fmla="*/ 602002 w 4519987"/>
                  <a:gd name="connsiteY84" fmla="*/ 733425 h 4429225"/>
                  <a:gd name="connsiteX85" fmla="*/ 668677 w 4519987"/>
                  <a:gd name="connsiteY85" fmla="*/ 676275 h 4429225"/>
                  <a:gd name="connsiteX86" fmla="*/ 697252 w 4519987"/>
                  <a:gd name="connsiteY86" fmla="*/ 657225 h 4429225"/>
                  <a:gd name="connsiteX87" fmla="*/ 840127 w 4519987"/>
                  <a:gd name="connsiteY87" fmla="*/ 533400 h 4429225"/>
                  <a:gd name="connsiteX88" fmla="*/ 887752 w 4519987"/>
                  <a:gd name="connsiteY88" fmla="*/ 504825 h 4429225"/>
                  <a:gd name="connsiteX89" fmla="*/ 1167152 w 4519987"/>
                  <a:gd name="connsiteY89" fmla="*/ 311150 h 4429225"/>
                  <a:gd name="connsiteX90" fmla="*/ 1268752 w 4519987"/>
                  <a:gd name="connsiteY90" fmla="*/ 285750 h 4429225"/>
                  <a:gd name="connsiteX91" fmla="*/ 1411627 w 4519987"/>
                  <a:gd name="connsiteY91" fmla="*/ 190500 h 4429225"/>
                  <a:gd name="connsiteX92" fmla="*/ 1449727 w 4519987"/>
                  <a:gd name="connsiteY92" fmla="*/ 161925 h 4429225"/>
                  <a:gd name="connsiteX93" fmla="*/ 1525927 w 4519987"/>
                  <a:gd name="connsiteY93" fmla="*/ 152400 h 4429225"/>
                  <a:gd name="connsiteX94" fmla="*/ 1583077 w 4519987"/>
                  <a:gd name="connsiteY94" fmla="*/ 142875 h 4429225"/>
                  <a:gd name="connsiteX95" fmla="*/ 1716427 w 4519987"/>
                  <a:gd name="connsiteY95" fmla="*/ 123825 h 4429225"/>
                  <a:gd name="connsiteX96" fmla="*/ 1811677 w 4519987"/>
                  <a:gd name="connsiteY96" fmla="*/ 114300 h 4429225"/>
                  <a:gd name="connsiteX97" fmla="*/ 1859302 w 4519987"/>
                  <a:gd name="connsiteY97" fmla="*/ 104775 h 4429225"/>
                  <a:gd name="connsiteX98" fmla="*/ 1916452 w 4519987"/>
                  <a:gd name="connsiteY98" fmla="*/ 95250 h 4429225"/>
                  <a:gd name="connsiteX99" fmla="*/ 2030752 w 4519987"/>
                  <a:gd name="connsiteY99" fmla="*/ 66675 h 4429225"/>
                  <a:gd name="connsiteX100" fmla="*/ 2097427 w 4519987"/>
                  <a:gd name="connsiteY100" fmla="*/ 47625 h 4429225"/>
                  <a:gd name="connsiteX101" fmla="*/ 2164102 w 4519987"/>
                  <a:gd name="connsiteY101" fmla="*/ 38100 h 4429225"/>
                  <a:gd name="connsiteX102" fmla="*/ 2392702 w 4519987"/>
                  <a:gd name="connsiteY102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49577 w 4519987"/>
                  <a:gd name="connsiteY53" fmla="*/ 3200400 h 4429225"/>
                  <a:gd name="connsiteX54" fmla="*/ 240052 w 4519987"/>
                  <a:gd name="connsiteY54" fmla="*/ 3162300 h 4429225"/>
                  <a:gd name="connsiteX55" fmla="*/ 221002 w 4519987"/>
                  <a:gd name="connsiteY55" fmla="*/ 3105150 h 4429225"/>
                  <a:gd name="connsiteX56" fmla="*/ 173377 w 4519987"/>
                  <a:gd name="connsiteY56" fmla="*/ 3019425 h 4429225"/>
                  <a:gd name="connsiteX57" fmla="*/ 144802 w 4519987"/>
                  <a:gd name="connsiteY57" fmla="*/ 2924175 h 4429225"/>
                  <a:gd name="connsiteX58" fmla="*/ 68602 w 4519987"/>
                  <a:gd name="connsiteY58" fmla="*/ 2724150 h 4429225"/>
                  <a:gd name="connsiteX59" fmla="*/ 49552 w 4519987"/>
                  <a:gd name="connsiteY59" fmla="*/ 2638425 h 4429225"/>
                  <a:gd name="connsiteX60" fmla="*/ 40027 w 4519987"/>
                  <a:gd name="connsiteY60" fmla="*/ 2562225 h 4429225"/>
                  <a:gd name="connsiteX61" fmla="*/ 30502 w 4519987"/>
                  <a:gd name="connsiteY61" fmla="*/ 2514600 h 4429225"/>
                  <a:gd name="connsiteX62" fmla="*/ 11452 w 4519987"/>
                  <a:gd name="connsiteY62" fmla="*/ 2400300 h 4429225"/>
                  <a:gd name="connsiteX63" fmla="*/ 20977 w 4519987"/>
                  <a:gd name="connsiteY63" fmla="*/ 1905000 h 4429225"/>
                  <a:gd name="connsiteX64" fmla="*/ 30502 w 4519987"/>
                  <a:gd name="connsiteY64" fmla="*/ 1838325 h 4429225"/>
                  <a:gd name="connsiteX65" fmla="*/ 49552 w 4519987"/>
                  <a:gd name="connsiteY65" fmla="*/ 1781175 h 4429225"/>
                  <a:gd name="connsiteX66" fmla="*/ 59077 w 4519987"/>
                  <a:gd name="connsiteY66" fmla="*/ 1743075 h 4429225"/>
                  <a:gd name="connsiteX67" fmla="*/ 78127 w 4519987"/>
                  <a:gd name="connsiteY67" fmla="*/ 1685925 h 4429225"/>
                  <a:gd name="connsiteX68" fmla="*/ 87652 w 4519987"/>
                  <a:gd name="connsiteY68" fmla="*/ 1638300 h 4429225"/>
                  <a:gd name="connsiteX69" fmla="*/ 106702 w 4519987"/>
                  <a:gd name="connsiteY69" fmla="*/ 1590675 h 4429225"/>
                  <a:gd name="connsiteX70" fmla="*/ 135277 w 4519987"/>
                  <a:gd name="connsiteY70" fmla="*/ 1504950 h 4429225"/>
                  <a:gd name="connsiteX71" fmla="*/ 154327 w 4519987"/>
                  <a:gd name="connsiteY71" fmla="*/ 1419225 h 4429225"/>
                  <a:gd name="connsiteX72" fmla="*/ 230527 w 4519987"/>
                  <a:gd name="connsiteY72" fmla="*/ 1276350 h 4429225"/>
                  <a:gd name="connsiteX73" fmla="*/ 240052 w 4519987"/>
                  <a:gd name="connsiteY73" fmla="*/ 1247775 h 4429225"/>
                  <a:gd name="connsiteX74" fmla="*/ 268627 w 4519987"/>
                  <a:gd name="connsiteY74" fmla="*/ 1200150 h 4429225"/>
                  <a:gd name="connsiteX75" fmla="*/ 287677 w 4519987"/>
                  <a:gd name="connsiteY75" fmla="*/ 1152525 h 4429225"/>
                  <a:gd name="connsiteX76" fmla="*/ 316252 w 4519987"/>
                  <a:gd name="connsiteY76" fmla="*/ 1114425 h 4429225"/>
                  <a:gd name="connsiteX77" fmla="*/ 363877 w 4519987"/>
                  <a:gd name="connsiteY77" fmla="*/ 1038225 h 4429225"/>
                  <a:gd name="connsiteX78" fmla="*/ 382927 w 4519987"/>
                  <a:gd name="connsiteY78" fmla="*/ 1009650 h 4429225"/>
                  <a:gd name="connsiteX79" fmla="*/ 440077 w 4519987"/>
                  <a:gd name="connsiteY79" fmla="*/ 904875 h 4429225"/>
                  <a:gd name="connsiteX80" fmla="*/ 478177 w 4519987"/>
                  <a:gd name="connsiteY80" fmla="*/ 857250 h 4429225"/>
                  <a:gd name="connsiteX81" fmla="*/ 497227 w 4519987"/>
                  <a:gd name="connsiteY81" fmla="*/ 828675 h 4429225"/>
                  <a:gd name="connsiteX82" fmla="*/ 535327 w 4519987"/>
                  <a:gd name="connsiteY82" fmla="*/ 800100 h 4429225"/>
                  <a:gd name="connsiteX83" fmla="*/ 602002 w 4519987"/>
                  <a:gd name="connsiteY83" fmla="*/ 733425 h 4429225"/>
                  <a:gd name="connsiteX84" fmla="*/ 668677 w 4519987"/>
                  <a:gd name="connsiteY84" fmla="*/ 676275 h 4429225"/>
                  <a:gd name="connsiteX85" fmla="*/ 697252 w 4519987"/>
                  <a:gd name="connsiteY85" fmla="*/ 657225 h 4429225"/>
                  <a:gd name="connsiteX86" fmla="*/ 840127 w 4519987"/>
                  <a:gd name="connsiteY86" fmla="*/ 533400 h 4429225"/>
                  <a:gd name="connsiteX87" fmla="*/ 887752 w 4519987"/>
                  <a:gd name="connsiteY87" fmla="*/ 504825 h 4429225"/>
                  <a:gd name="connsiteX88" fmla="*/ 1167152 w 4519987"/>
                  <a:gd name="connsiteY88" fmla="*/ 311150 h 4429225"/>
                  <a:gd name="connsiteX89" fmla="*/ 1268752 w 4519987"/>
                  <a:gd name="connsiteY89" fmla="*/ 285750 h 4429225"/>
                  <a:gd name="connsiteX90" fmla="*/ 1411627 w 4519987"/>
                  <a:gd name="connsiteY90" fmla="*/ 190500 h 4429225"/>
                  <a:gd name="connsiteX91" fmla="*/ 1449727 w 4519987"/>
                  <a:gd name="connsiteY91" fmla="*/ 161925 h 4429225"/>
                  <a:gd name="connsiteX92" fmla="*/ 1525927 w 4519987"/>
                  <a:gd name="connsiteY92" fmla="*/ 152400 h 4429225"/>
                  <a:gd name="connsiteX93" fmla="*/ 1583077 w 4519987"/>
                  <a:gd name="connsiteY93" fmla="*/ 142875 h 4429225"/>
                  <a:gd name="connsiteX94" fmla="*/ 1716427 w 4519987"/>
                  <a:gd name="connsiteY94" fmla="*/ 123825 h 4429225"/>
                  <a:gd name="connsiteX95" fmla="*/ 1811677 w 4519987"/>
                  <a:gd name="connsiteY95" fmla="*/ 114300 h 4429225"/>
                  <a:gd name="connsiteX96" fmla="*/ 1859302 w 4519987"/>
                  <a:gd name="connsiteY96" fmla="*/ 104775 h 4429225"/>
                  <a:gd name="connsiteX97" fmla="*/ 1916452 w 4519987"/>
                  <a:gd name="connsiteY97" fmla="*/ 95250 h 4429225"/>
                  <a:gd name="connsiteX98" fmla="*/ 2030752 w 4519987"/>
                  <a:gd name="connsiteY98" fmla="*/ 66675 h 4429225"/>
                  <a:gd name="connsiteX99" fmla="*/ 2097427 w 4519987"/>
                  <a:gd name="connsiteY99" fmla="*/ 47625 h 4429225"/>
                  <a:gd name="connsiteX100" fmla="*/ 2164102 w 4519987"/>
                  <a:gd name="connsiteY100" fmla="*/ 38100 h 4429225"/>
                  <a:gd name="connsiteX101" fmla="*/ 2392702 w 4519987"/>
                  <a:gd name="connsiteY101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49577 w 4519987"/>
                  <a:gd name="connsiteY53" fmla="*/ 3200400 h 4429225"/>
                  <a:gd name="connsiteX54" fmla="*/ 221002 w 4519987"/>
                  <a:gd name="connsiteY54" fmla="*/ 3105150 h 4429225"/>
                  <a:gd name="connsiteX55" fmla="*/ 173377 w 4519987"/>
                  <a:gd name="connsiteY55" fmla="*/ 3019425 h 4429225"/>
                  <a:gd name="connsiteX56" fmla="*/ 144802 w 4519987"/>
                  <a:gd name="connsiteY56" fmla="*/ 2924175 h 4429225"/>
                  <a:gd name="connsiteX57" fmla="*/ 68602 w 4519987"/>
                  <a:gd name="connsiteY57" fmla="*/ 2724150 h 4429225"/>
                  <a:gd name="connsiteX58" fmla="*/ 49552 w 4519987"/>
                  <a:gd name="connsiteY58" fmla="*/ 2638425 h 4429225"/>
                  <a:gd name="connsiteX59" fmla="*/ 40027 w 4519987"/>
                  <a:gd name="connsiteY59" fmla="*/ 2562225 h 4429225"/>
                  <a:gd name="connsiteX60" fmla="*/ 30502 w 4519987"/>
                  <a:gd name="connsiteY60" fmla="*/ 2514600 h 4429225"/>
                  <a:gd name="connsiteX61" fmla="*/ 11452 w 4519987"/>
                  <a:gd name="connsiteY61" fmla="*/ 2400300 h 4429225"/>
                  <a:gd name="connsiteX62" fmla="*/ 20977 w 4519987"/>
                  <a:gd name="connsiteY62" fmla="*/ 1905000 h 4429225"/>
                  <a:gd name="connsiteX63" fmla="*/ 30502 w 4519987"/>
                  <a:gd name="connsiteY63" fmla="*/ 1838325 h 4429225"/>
                  <a:gd name="connsiteX64" fmla="*/ 49552 w 4519987"/>
                  <a:gd name="connsiteY64" fmla="*/ 1781175 h 4429225"/>
                  <a:gd name="connsiteX65" fmla="*/ 59077 w 4519987"/>
                  <a:gd name="connsiteY65" fmla="*/ 1743075 h 4429225"/>
                  <a:gd name="connsiteX66" fmla="*/ 78127 w 4519987"/>
                  <a:gd name="connsiteY66" fmla="*/ 1685925 h 4429225"/>
                  <a:gd name="connsiteX67" fmla="*/ 87652 w 4519987"/>
                  <a:gd name="connsiteY67" fmla="*/ 1638300 h 4429225"/>
                  <a:gd name="connsiteX68" fmla="*/ 106702 w 4519987"/>
                  <a:gd name="connsiteY68" fmla="*/ 1590675 h 4429225"/>
                  <a:gd name="connsiteX69" fmla="*/ 135277 w 4519987"/>
                  <a:gd name="connsiteY69" fmla="*/ 1504950 h 4429225"/>
                  <a:gd name="connsiteX70" fmla="*/ 154327 w 4519987"/>
                  <a:gd name="connsiteY70" fmla="*/ 1419225 h 4429225"/>
                  <a:gd name="connsiteX71" fmla="*/ 230527 w 4519987"/>
                  <a:gd name="connsiteY71" fmla="*/ 1276350 h 4429225"/>
                  <a:gd name="connsiteX72" fmla="*/ 240052 w 4519987"/>
                  <a:gd name="connsiteY72" fmla="*/ 1247775 h 4429225"/>
                  <a:gd name="connsiteX73" fmla="*/ 268627 w 4519987"/>
                  <a:gd name="connsiteY73" fmla="*/ 1200150 h 4429225"/>
                  <a:gd name="connsiteX74" fmla="*/ 287677 w 4519987"/>
                  <a:gd name="connsiteY74" fmla="*/ 1152525 h 4429225"/>
                  <a:gd name="connsiteX75" fmla="*/ 316252 w 4519987"/>
                  <a:gd name="connsiteY75" fmla="*/ 1114425 h 4429225"/>
                  <a:gd name="connsiteX76" fmla="*/ 363877 w 4519987"/>
                  <a:gd name="connsiteY76" fmla="*/ 1038225 h 4429225"/>
                  <a:gd name="connsiteX77" fmla="*/ 382927 w 4519987"/>
                  <a:gd name="connsiteY77" fmla="*/ 1009650 h 4429225"/>
                  <a:gd name="connsiteX78" fmla="*/ 440077 w 4519987"/>
                  <a:gd name="connsiteY78" fmla="*/ 904875 h 4429225"/>
                  <a:gd name="connsiteX79" fmla="*/ 478177 w 4519987"/>
                  <a:gd name="connsiteY79" fmla="*/ 857250 h 4429225"/>
                  <a:gd name="connsiteX80" fmla="*/ 497227 w 4519987"/>
                  <a:gd name="connsiteY80" fmla="*/ 828675 h 4429225"/>
                  <a:gd name="connsiteX81" fmla="*/ 535327 w 4519987"/>
                  <a:gd name="connsiteY81" fmla="*/ 800100 h 4429225"/>
                  <a:gd name="connsiteX82" fmla="*/ 602002 w 4519987"/>
                  <a:gd name="connsiteY82" fmla="*/ 733425 h 4429225"/>
                  <a:gd name="connsiteX83" fmla="*/ 668677 w 4519987"/>
                  <a:gd name="connsiteY83" fmla="*/ 676275 h 4429225"/>
                  <a:gd name="connsiteX84" fmla="*/ 697252 w 4519987"/>
                  <a:gd name="connsiteY84" fmla="*/ 657225 h 4429225"/>
                  <a:gd name="connsiteX85" fmla="*/ 840127 w 4519987"/>
                  <a:gd name="connsiteY85" fmla="*/ 533400 h 4429225"/>
                  <a:gd name="connsiteX86" fmla="*/ 887752 w 4519987"/>
                  <a:gd name="connsiteY86" fmla="*/ 504825 h 4429225"/>
                  <a:gd name="connsiteX87" fmla="*/ 1167152 w 4519987"/>
                  <a:gd name="connsiteY87" fmla="*/ 311150 h 4429225"/>
                  <a:gd name="connsiteX88" fmla="*/ 1268752 w 4519987"/>
                  <a:gd name="connsiteY88" fmla="*/ 285750 h 4429225"/>
                  <a:gd name="connsiteX89" fmla="*/ 1411627 w 4519987"/>
                  <a:gd name="connsiteY89" fmla="*/ 190500 h 4429225"/>
                  <a:gd name="connsiteX90" fmla="*/ 1449727 w 4519987"/>
                  <a:gd name="connsiteY90" fmla="*/ 161925 h 4429225"/>
                  <a:gd name="connsiteX91" fmla="*/ 1525927 w 4519987"/>
                  <a:gd name="connsiteY91" fmla="*/ 152400 h 4429225"/>
                  <a:gd name="connsiteX92" fmla="*/ 1583077 w 4519987"/>
                  <a:gd name="connsiteY92" fmla="*/ 142875 h 4429225"/>
                  <a:gd name="connsiteX93" fmla="*/ 1716427 w 4519987"/>
                  <a:gd name="connsiteY93" fmla="*/ 123825 h 4429225"/>
                  <a:gd name="connsiteX94" fmla="*/ 1811677 w 4519987"/>
                  <a:gd name="connsiteY94" fmla="*/ 114300 h 4429225"/>
                  <a:gd name="connsiteX95" fmla="*/ 1859302 w 4519987"/>
                  <a:gd name="connsiteY95" fmla="*/ 104775 h 4429225"/>
                  <a:gd name="connsiteX96" fmla="*/ 1916452 w 4519987"/>
                  <a:gd name="connsiteY96" fmla="*/ 95250 h 4429225"/>
                  <a:gd name="connsiteX97" fmla="*/ 2030752 w 4519987"/>
                  <a:gd name="connsiteY97" fmla="*/ 66675 h 4429225"/>
                  <a:gd name="connsiteX98" fmla="*/ 2097427 w 4519987"/>
                  <a:gd name="connsiteY98" fmla="*/ 47625 h 4429225"/>
                  <a:gd name="connsiteX99" fmla="*/ 2164102 w 4519987"/>
                  <a:gd name="connsiteY99" fmla="*/ 38100 h 4429225"/>
                  <a:gd name="connsiteX100" fmla="*/ 2392702 w 4519987"/>
                  <a:gd name="connsiteY100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73377 w 4519987"/>
                  <a:gd name="connsiteY54" fmla="*/ 3019425 h 4429225"/>
                  <a:gd name="connsiteX55" fmla="*/ 144802 w 4519987"/>
                  <a:gd name="connsiteY55" fmla="*/ 2924175 h 4429225"/>
                  <a:gd name="connsiteX56" fmla="*/ 68602 w 4519987"/>
                  <a:gd name="connsiteY56" fmla="*/ 2724150 h 4429225"/>
                  <a:gd name="connsiteX57" fmla="*/ 49552 w 4519987"/>
                  <a:gd name="connsiteY57" fmla="*/ 2638425 h 4429225"/>
                  <a:gd name="connsiteX58" fmla="*/ 40027 w 4519987"/>
                  <a:gd name="connsiteY58" fmla="*/ 2562225 h 4429225"/>
                  <a:gd name="connsiteX59" fmla="*/ 30502 w 4519987"/>
                  <a:gd name="connsiteY59" fmla="*/ 2514600 h 4429225"/>
                  <a:gd name="connsiteX60" fmla="*/ 11452 w 4519987"/>
                  <a:gd name="connsiteY60" fmla="*/ 2400300 h 4429225"/>
                  <a:gd name="connsiteX61" fmla="*/ 20977 w 4519987"/>
                  <a:gd name="connsiteY61" fmla="*/ 1905000 h 4429225"/>
                  <a:gd name="connsiteX62" fmla="*/ 30502 w 4519987"/>
                  <a:gd name="connsiteY62" fmla="*/ 1838325 h 4429225"/>
                  <a:gd name="connsiteX63" fmla="*/ 49552 w 4519987"/>
                  <a:gd name="connsiteY63" fmla="*/ 1781175 h 4429225"/>
                  <a:gd name="connsiteX64" fmla="*/ 59077 w 4519987"/>
                  <a:gd name="connsiteY64" fmla="*/ 1743075 h 4429225"/>
                  <a:gd name="connsiteX65" fmla="*/ 78127 w 4519987"/>
                  <a:gd name="connsiteY65" fmla="*/ 1685925 h 4429225"/>
                  <a:gd name="connsiteX66" fmla="*/ 87652 w 4519987"/>
                  <a:gd name="connsiteY66" fmla="*/ 1638300 h 4429225"/>
                  <a:gd name="connsiteX67" fmla="*/ 106702 w 4519987"/>
                  <a:gd name="connsiteY67" fmla="*/ 1590675 h 4429225"/>
                  <a:gd name="connsiteX68" fmla="*/ 135277 w 4519987"/>
                  <a:gd name="connsiteY68" fmla="*/ 1504950 h 4429225"/>
                  <a:gd name="connsiteX69" fmla="*/ 154327 w 4519987"/>
                  <a:gd name="connsiteY69" fmla="*/ 1419225 h 4429225"/>
                  <a:gd name="connsiteX70" fmla="*/ 230527 w 4519987"/>
                  <a:gd name="connsiteY70" fmla="*/ 1276350 h 4429225"/>
                  <a:gd name="connsiteX71" fmla="*/ 240052 w 4519987"/>
                  <a:gd name="connsiteY71" fmla="*/ 1247775 h 4429225"/>
                  <a:gd name="connsiteX72" fmla="*/ 268627 w 4519987"/>
                  <a:gd name="connsiteY72" fmla="*/ 1200150 h 4429225"/>
                  <a:gd name="connsiteX73" fmla="*/ 287677 w 4519987"/>
                  <a:gd name="connsiteY73" fmla="*/ 1152525 h 4429225"/>
                  <a:gd name="connsiteX74" fmla="*/ 316252 w 4519987"/>
                  <a:gd name="connsiteY74" fmla="*/ 1114425 h 4429225"/>
                  <a:gd name="connsiteX75" fmla="*/ 363877 w 4519987"/>
                  <a:gd name="connsiteY75" fmla="*/ 1038225 h 4429225"/>
                  <a:gd name="connsiteX76" fmla="*/ 382927 w 4519987"/>
                  <a:gd name="connsiteY76" fmla="*/ 1009650 h 4429225"/>
                  <a:gd name="connsiteX77" fmla="*/ 440077 w 4519987"/>
                  <a:gd name="connsiteY77" fmla="*/ 904875 h 4429225"/>
                  <a:gd name="connsiteX78" fmla="*/ 478177 w 4519987"/>
                  <a:gd name="connsiteY78" fmla="*/ 857250 h 4429225"/>
                  <a:gd name="connsiteX79" fmla="*/ 497227 w 4519987"/>
                  <a:gd name="connsiteY79" fmla="*/ 828675 h 4429225"/>
                  <a:gd name="connsiteX80" fmla="*/ 535327 w 4519987"/>
                  <a:gd name="connsiteY80" fmla="*/ 800100 h 4429225"/>
                  <a:gd name="connsiteX81" fmla="*/ 602002 w 4519987"/>
                  <a:gd name="connsiteY81" fmla="*/ 733425 h 4429225"/>
                  <a:gd name="connsiteX82" fmla="*/ 668677 w 4519987"/>
                  <a:gd name="connsiteY82" fmla="*/ 676275 h 4429225"/>
                  <a:gd name="connsiteX83" fmla="*/ 697252 w 4519987"/>
                  <a:gd name="connsiteY83" fmla="*/ 657225 h 4429225"/>
                  <a:gd name="connsiteX84" fmla="*/ 840127 w 4519987"/>
                  <a:gd name="connsiteY84" fmla="*/ 533400 h 4429225"/>
                  <a:gd name="connsiteX85" fmla="*/ 887752 w 4519987"/>
                  <a:gd name="connsiteY85" fmla="*/ 504825 h 4429225"/>
                  <a:gd name="connsiteX86" fmla="*/ 1167152 w 4519987"/>
                  <a:gd name="connsiteY86" fmla="*/ 311150 h 4429225"/>
                  <a:gd name="connsiteX87" fmla="*/ 1268752 w 4519987"/>
                  <a:gd name="connsiteY87" fmla="*/ 285750 h 4429225"/>
                  <a:gd name="connsiteX88" fmla="*/ 1411627 w 4519987"/>
                  <a:gd name="connsiteY88" fmla="*/ 190500 h 4429225"/>
                  <a:gd name="connsiteX89" fmla="*/ 1449727 w 4519987"/>
                  <a:gd name="connsiteY89" fmla="*/ 161925 h 4429225"/>
                  <a:gd name="connsiteX90" fmla="*/ 1525927 w 4519987"/>
                  <a:gd name="connsiteY90" fmla="*/ 152400 h 4429225"/>
                  <a:gd name="connsiteX91" fmla="*/ 1583077 w 4519987"/>
                  <a:gd name="connsiteY91" fmla="*/ 142875 h 4429225"/>
                  <a:gd name="connsiteX92" fmla="*/ 1716427 w 4519987"/>
                  <a:gd name="connsiteY92" fmla="*/ 123825 h 4429225"/>
                  <a:gd name="connsiteX93" fmla="*/ 1811677 w 4519987"/>
                  <a:gd name="connsiteY93" fmla="*/ 114300 h 4429225"/>
                  <a:gd name="connsiteX94" fmla="*/ 1859302 w 4519987"/>
                  <a:gd name="connsiteY94" fmla="*/ 104775 h 4429225"/>
                  <a:gd name="connsiteX95" fmla="*/ 1916452 w 4519987"/>
                  <a:gd name="connsiteY95" fmla="*/ 95250 h 4429225"/>
                  <a:gd name="connsiteX96" fmla="*/ 2030752 w 4519987"/>
                  <a:gd name="connsiteY96" fmla="*/ 66675 h 4429225"/>
                  <a:gd name="connsiteX97" fmla="*/ 2097427 w 4519987"/>
                  <a:gd name="connsiteY97" fmla="*/ 47625 h 4429225"/>
                  <a:gd name="connsiteX98" fmla="*/ 2164102 w 4519987"/>
                  <a:gd name="connsiteY98" fmla="*/ 38100 h 4429225"/>
                  <a:gd name="connsiteX99" fmla="*/ 2392702 w 4519987"/>
                  <a:gd name="connsiteY99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49552 w 4519987"/>
                  <a:gd name="connsiteY56" fmla="*/ 2638425 h 4429225"/>
                  <a:gd name="connsiteX57" fmla="*/ 40027 w 4519987"/>
                  <a:gd name="connsiteY57" fmla="*/ 2562225 h 4429225"/>
                  <a:gd name="connsiteX58" fmla="*/ 30502 w 4519987"/>
                  <a:gd name="connsiteY58" fmla="*/ 2514600 h 4429225"/>
                  <a:gd name="connsiteX59" fmla="*/ 11452 w 4519987"/>
                  <a:gd name="connsiteY59" fmla="*/ 2400300 h 4429225"/>
                  <a:gd name="connsiteX60" fmla="*/ 20977 w 4519987"/>
                  <a:gd name="connsiteY60" fmla="*/ 1905000 h 4429225"/>
                  <a:gd name="connsiteX61" fmla="*/ 30502 w 4519987"/>
                  <a:gd name="connsiteY61" fmla="*/ 1838325 h 4429225"/>
                  <a:gd name="connsiteX62" fmla="*/ 49552 w 4519987"/>
                  <a:gd name="connsiteY62" fmla="*/ 1781175 h 4429225"/>
                  <a:gd name="connsiteX63" fmla="*/ 59077 w 4519987"/>
                  <a:gd name="connsiteY63" fmla="*/ 1743075 h 4429225"/>
                  <a:gd name="connsiteX64" fmla="*/ 78127 w 4519987"/>
                  <a:gd name="connsiteY64" fmla="*/ 1685925 h 4429225"/>
                  <a:gd name="connsiteX65" fmla="*/ 87652 w 4519987"/>
                  <a:gd name="connsiteY65" fmla="*/ 1638300 h 4429225"/>
                  <a:gd name="connsiteX66" fmla="*/ 106702 w 4519987"/>
                  <a:gd name="connsiteY66" fmla="*/ 1590675 h 4429225"/>
                  <a:gd name="connsiteX67" fmla="*/ 135277 w 4519987"/>
                  <a:gd name="connsiteY67" fmla="*/ 1504950 h 4429225"/>
                  <a:gd name="connsiteX68" fmla="*/ 154327 w 4519987"/>
                  <a:gd name="connsiteY68" fmla="*/ 1419225 h 4429225"/>
                  <a:gd name="connsiteX69" fmla="*/ 230527 w 4519987"/>
                  <a:gd name="connsiteY69" fmla="*/ 1276350 h 4429225"/>
                  <a:gd name="connsiteX70" fmla="*/ 240052 w 4519987"/>
                  <a:gd name="connsiteY70" fmla="*/ 1247775 h 4429225"/>
                  <a:gd name="connsiteX71" fmla="*/ 268627 w 4519987"/>
                  <a:gd name="connsiteY71" fmla="*/ 1200150 h 4429225"/>
                  <a:gd name="connsiteX72" fmla="*/ 287677 w 4519987"/>
                  <a:gd name="connsiteY72" fmla="*/ 1152525 h 4429225"/>
                  <a:gd name="connsiteX73" fmla="*/ 316252 w 4519987"/>
                  <a:gd name="connsiteY73" fmla="*/ 1114425 h 4429225"/>
                  <a:gd name="connsiteX74" fmla="*/ 363877 w 4519987"/>
                  <a:gd name="connsiteY74" fmla="*/ 1038225 h 4429225"/>
                  <a:gd name="connsiteX75" fmla="*/ 382927 w 4519987"/>
                  <a:gd name="connsiteY75" fmla="*/ 1009650 h 4429225"/>
                  <a:gd name="connsiteX76" fmla="*/ 440077 w 4519987"/>
                  <a:gd name="connsiteY76" fmla="*/ 904875 h 4429225"/>
                  <a:gd name="connsiteX77" fmla="*/ 478177 w 4519987"/>
                  <a:gd name="connsiteY77" fmla="*/ 857250 h 4429225"/>
                  <a:gd name="connsiteX78" fmla="*/ 497227 w 4519987"/>
                  <a:gd name="connsiteY78" fmla="*/ 828675 h 4429225"/>
                  <a:gd name="connsiteX79" fmla="*/ 535327 w 4519987"/>
                  <a:gd name="connsiteY79" fmla="*/ 800100 h 4429225"/>
                  <a:gd name="connsiteX80" fmla="*/ 602002 w 4519987"/>
                  <a:gd name="connsiteY80" fmla="*/ 733425 h 4429225"/>
                  <a:gd name="connsiteX81" fmla="*/ 668677 w 4519987"/>
                  <a:gd name="connsiteY81" fmla="*/ 676275 h 4429225"/>
                  <a:gd name="connsiteX82" fmla="*/ 697252 w 4519987"/>
                  <a:gd name="connsiteY82" fmla="*/ 657225 h 4429225"/>
                  <a:gd name="connsiteX83" fmla="*/ 840127 w 4519987"/>
                  <a:gd name="connsiteY83" fmla="*/ 533400 h 4429225"/>
                  <a:gd name="connsiteX84" fmla="*/ 887752 w 4519987"/>
                  <a:gd name="connsiteY84" fmla="*/ 504825 h 4429225"/>
                  <a:gd name="connsiteX85" fmla="*/ 1167152 w 4519987"/>
                  <a:gd name="connsiteY85" fmla="*/ 311150 h 4429225"/>
                  <a:gd name="connsiteX86" fmla="*/ 1268752 w 4519987"/>
                  <a:gd name="connsiteY86" fmla="*/ 285750 h 4429225"/>
                  <a:gd name="connsiteX87" fmla="*/ 1411627 w 4519987"/>
                  <a:gd name="connsiteY87" fmla="*/ 190500 h 4429225"/>
                  <a:gd name="connsiteX88" fmla="*/ 1449727 w 4519987"/>
                  <a:gd name="connsiteY88" fmla="*/ 161925 h 4429225"/>
                  <a:gd name="connsiteX89" fmla="*/ 1525927 w 4519987"/>
                  <a:gd name="connsiteY89" fmla="*/ 152400 h 4429225"/>
                  <a:gd name="connsiteX90" fmla="*/ 1583077 w 4519987"/>
                  <a:gd name="connsiteY90" fmla="*/ 142875 h 4429225"/>
                  <a:gd name="connsiteX91" fmla="*/ 1716427 w 4519987"/>
                  <a:gd name="connsiteY91" fmla="*/ 123825 h 4429225"/>
                  <a:gd name="connsiteX92" fmla="*/ 1811677 w 4519987"/>
                  <a:gd name="connsiteY92" fmla="*/ 114300 h 4429225"/>
                  <a:gd name="connsiteX93" fmla="*/ 1859302 w 4519987"/>
                  <a:gd name="connsiteY93" fmla="*/ 104775 h 4429225"/>
                  <a:gd name="connsiteX94" fmla="*/ 1916452 w 4519987"/>
                  <a:gd name="connsiteY94" fmla="*/ 95250 h 4429225"/>
                  <a:gd name="connsiteX95" fmla="*/ 2030752 w 4519987"/>
                  <a:gd name="connsiteY95" fmla="*/ 66675 h 4429225"/>
                  <a:gd name="connsiteX96" fmla="*/ 2097427 w 4519987"/>
                  <a:gd name="connsiteY96" fmla="*/ 47625 h 4429225"/>
                  <a:gd name="connsiteX97" fmla="*/ 2164102 w 4519987"/>
                  <a:gd name="connsiteY97" fmla="*/ 38100 h 4429225"/>
                  <a:gd name="connsiteX98" fmla="*/ 2392702 w 4519987"/>
                  <a:gd name="connsiteY98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40027 w 4519987"/>
                  <a:gd name="connsiteY56" fmla="*/ 2562225 h 4429225"/>
                  <a:gd name="connsiteX57" fmla="*/ 30502 w 4519987"/>
                  <a:gd name="connsiteY57" fmla="*/ 2514600 h 4429225"/>
                  <a:gd name="connsiteX58" fmla="*/ 11452 w 4519987"/>
                  <a:gd name="connsiteY58" fmla="*/ 2400300 h 4429225"/>
                  <a:gd name="connsiteX59" fmla="*/ 20977 w 4519987"/>
                  <a:gd name="connsiteY59" fmla="*/ 1905000 h 4429225"/>
                  <a:gd name="connsiteX60" fmla="*/ 30502 w 4519987"/>
                  <a:gd name="connsiteY60" fmla="*/ 1838325 h 4429225"/>
                  <a:gd name="connsiteX61" fmla="*/ 49552 w 4519987"/>
                  <a:gd name="connsiteY61" fmla="*/ 1781175 h 4429225"/>
                  <a:gd name="connsiteX62" fmla="*/ 59077 w 4519987"/>
                  <a:gd name="connsiteY62" fmla="*/ 1743075 h 4429225"/>
                  <a:gd name="connsiteX63" fmla="*/ 78127 w 4519987"/>
                  <a:gd name="connsiteY63" fmla="*/ 1685925 h 4429225"/>
                  <a:gd name="connsiteX64" fmla="*/ 87652 w 4519987"/>
                  <a:gd name="connsiteY64" fmla="*/ 1638300 h 4429225"/>
                  <a:gd name="connsiteX65" fmla="*/ 106702 w 4519987"/>
                  <a:gd name="connsiteY65" fmla="*/ 1590675 h 4429225"/>
                  <a:gd name="connsiteX66" fmla="*/ 135277 w 4519987"/>
                  <a:gd name="connsiteY66" fmla="*/ 1504950 h 4429225"/>
                  <a:gd name="connsiteX67" fmla="*/ 154327 w 4519987"/>
                  <a:gd name="connsiteY67" fmla="*/ 1419225 h 4429225"/>
                  <a:gd name="connsiteX68" fmla="*/ 230527 w 4519987"/>
                  <a:gd name="connsiteY68" fmla="*/ 1276350 h 4429225"/>
                  <a:gd name="connsiteX69" fmla="*/ 240052 w 4519987"/>
                  <a:gd name="connsiteY69" fmla="*/ 1247775 h 4429225"/>
                  <a:gd name="connsiteX70" fmla="*/ 268627 w 4519987"/>
                  <a:gd name="connsiteY70" fmla="*/ 1200150 h 4429225"/>
                  <a:gd name="connsiteX71" fmla="*/ 287677 w 4519987"/>
                  <a:gd name="connsiteY71" fmla="*/ 1152525 h 4429225"/>
                  <a:gd name="connsiteX72" fmla="*/ 316252 w 4519987"/>
                  <a:gd name="connsiteY72" fmla="*/ 1114425 h 4429225"/>
                  <a:gd name="connsiteX73" fmla="*/ 363877 w 4519987"/>
                  <a:gd name="connsiteY73" fmla="*/ 1038225 h 4429225"/>
                  <a:gd name="connsiteX74" fmla="*/ 382927 w 4519987"/>
                  <a:gd name="connsiteY74" fmla="*/ 1009650 h 4429225"/>
                  <a:gd name="connsiteX75" fmla="*/ 440077 w 4519987"/>
                  <a:gd name="connsiteY75" fmla="*/ 904875 h 4429225"/>
                  <a:gd name="connsiteX76" fmla="*/ 478177 w 4519987"/>
                  <a:gd name="connsiteY76" fmla="*/ 857250 h 4429225"/>
                  <a:gd name="connsiteX77" fmla="*/ 497227 w 4519987"/>
                  <a:gd name="connsiteY77" fmla="*/ 828675 h 4429225"/>
                  <a:gd name="connsiteX78" fmla="*/ 535327 w 4519987"/>
                  <a:gd name="connsiteY78" fmla="*/ 800100 h 4429225"/>
                  <a:gd name="connsiteX79" fmla="*/ 602002 w 4519987"/>
                  <a:gd name="connsiteY79" fmla="*/ 733425 h 4429225"/>
                  <a:gd name="connsiteX80" fmla="*/ 668677 w 4519987"/>
                  <a:gd name="connsiteY80" fmla="*/ 676275 h 4429225"/>
                  <a:gd name="connsiteX81" fmla="*/ 697252 w 4519987"/>
                  <a:gd name="connsiteY81" fmla="*/ 657225 h 4429225"/>
                  <a:gd name="connsiteX82" fmla="*/ 840127 w 4519987"/>
                  <a:gd name="connsiteY82" fmla="*/ 533400 h 4429225"/>
                  <a:gd name="connsiteX83" fmla="*/ 887752 w 4519987"/>
                  <a:gd name="connsiteY83" fmla="*/ 504825 h 4429225"/>
                  <a:gd name="connsiteX84" fmla="*/ 1167152 w 4519987"/>
                  <a:gd name="connsiteY84" fmla="*/ 311150 h 4429225"/>
                  <a:gd name="connsiteX85" fmla="*/ 1268752 w 4519987"/>
                  <a:gd name="connsiteY85" fmla="*/ 285750 h 4429225"/>
                  <a:gd name="connsiteX86" fmla="*/ 1411627 w 4519987"/>
                  <a:gd name="connsiteY86" fmla="*/ 190500 h 4429225"/>
                  <a:gd name="connsiteX87" fmla="*/ 1449727 w 4519987"/>
                  <a:gd name="connsiteY87" fmla="*/ 161925 h 4429225"/>
                  <a:gd name="connsiteX88" fmla="*/ 1525927 w 4519987"/>
                  <a:gd name="connsiteY88" fmla="*/ 152400 h 4429225"/>
                  <a:gd name="connsiteX89" fmla="*/ 1583077 w 4519987"/>
                  <a:gd name="connsiteY89" fmla="*/ 142875 h 4429225"/>
                  <a:gd name="connsiteX90" fmla="*/ 1716427 w 4519987"/>
                  <a:gd name="connsiteY90" fmla="*/ 123825 h 4429225"/>
                  <a:gd name="connsiteX91" fmla="*/ 1811677 w 4519987"/>
                  <a:gd name="connsiteY91" fmla="*/ 114300 h 4429225"/>
                  <a:gd name="connsiteX92" fmla="*/ 1859302 w 4519987"/>
                  <a:gd name="connsiteY92" fmla="*/ 104775 h 4429225"/>
                  <a:gd name="connsiteX93" fmla="*/ 1916452 w 4519987"/>
                  <a:gd name="connsiteY93" fmla="*/ 95250 h 4429225"/>
                  <a:gd name="connsiteX94" fmla="*/ 2030752 w 4519987"/>
                  <a:gd name="connsiteY94" fmla="*/ 66675 h 4429225"/>
                  <a:gd name="connsiteX95" fmla="*/ 2097427 w 4519987"/>
                  <a:gd name="connsiteY95" fmla="*/ 47625 h 4429225"/>
                  <a:gd name="connsiteX96" fmla="*/ 2164102 w 4519987"/>
                  <a:gd name="connsiteY96" fmla="*/ 38100 h 4429225"/>
                  <a:gd name="connsiteX97" fmla="*/ 2392702 w 4519987"/>
                  <a:gd name="connsiteY97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40027 w 4519987"/>
                  <a:gd name="connsiteY56" fmla="*/ 2562225 h 4429225"/>
                  <a:gd name="connsiteX57" fmla="*/ 11452 w 4519987"/>
                  <a:gd name="connsiteY57" fmla="*/ 2400300 h 4429225"/>
                  <a:gd name="connsiteX58" fmla="*/ 20977 w 4519987"/>
                  <a:gd name="connsiteY58" fmla="*/ 1905000 h 4429225"/>
                  <a:gd name="connsiteX59" fmla="*/ 30502 w 4519987"/>
                  <a:gd name="connsiteY59" fmla="*/ 1838325 h 4429225"/>
                  <a:gd name="connsiteX60" fmla="*/ 49552 w 4519987"/>
                  <a:gd name="connsiteY60" fmla="*/ 1781175 h 4429225"/>
                  <a:gd name="connsiteX61" fmla="*/ 59077 w 4519987"/>
                  <a:gd name="connsiteY61" fmla="*/ 1743075 h 4429225"/>
                  <a:gd name="connsiteX62" fmla="*/ 78127 w 4519987"/>
                  <a:gd name="connsiteY62" fmla="*/ 1685925 h 4429225"/>
                  <a:gd name="connsiteX63" fmla="*/ 87652 w 4519987"/>
                  <a:gd name="connsiteY63" fmla="*/ 1638300 h 4429225"/>
                  <a:gd name="connsiteX64" fmla="*/ 106702 w 4519987"/>
                  <a:gd name="connsiteY64" fmla="*/ 1590675 h 4429225"/>
                  <a:gd name="connsiteX65" fmla="*/ 135277 w 4519987"/>
                  <a:gd name="connsiteY65" fmla="*/ 1504950 h 4429225"/>
                  <a:gd name="connsiteX66" fmla="*/ 154327 w 4519987"/>
                  <a:gd name="connsiteY66" fmla="*/ 1419225 h 4429225"/>
                  <a:gd name="connsiteX67" fmla="*/ 230527 w 4519987"/>
                  <a:gd name="connsiteY67" fmla="*/ 1276350 h 4429225"/>
                  <a:gd name="connsiteX68" fmla="*/ 240052 w 4519987"/>
                  <a:gd name="connsiteY68" fmla="*/ 1247775 h 4429225"/>
                  <a:gd name="connsiteX69" fmla="*/ 268627 w 4519987"/>
                  <a:gd name="connsiteY69" fmla="*/ 1200150 h 4429225"/>
                  <a:gd name="connsiteX70" fmla="*/ 287677 w 4519987"/>
                  <a:gd name="connsiteY70" fmla="*/ 1152525 h 4429225"/>
                  <a:gd name="connsiteX71" fmla="*/ 316252 w 4519987"/>
                  <a:gd name="connsiteY71" fmla="*/ 1114425 h 4429225"/>
                  <a:gd name="connsiteX72" fmla="*/ 363877 w 4519987"/>
                  <a:gd name="connsiteY72" fmla="*/ 1038225 h 4429225"/>
                  <a:gd name="connsiteX73" fmla="*/ 382927 w 4519987"/>
                  <a:gd name="connsiteY73" fmla="*/ 1009650 h 4429225"/>
                  <a:gd name="connsiteX74" fmla="*/ 440077 w 4519987"/>
                  <a:gd name="connsiteY74" fmla="*/ 904875 h 4429225"/>
                  <a:gd name="connsiteX75" fmla="*/ 478177 w 4519987"/>
                  <a:gd name="connsiteY75" fmla="*/ 857250 h 4429225"/>
                  <a:gd name="connsiteX76" fmla="*/ 497227 w 4519987"/>
                  <a:gd name="connsiteY76" fmla="*/ 828675 h 4429225"/>
                  <a:gd name="connsiteX77" fmla="*/ 535327 w 4519987"/>
                  <a:gd name="connsiteY77" fmla="*/ 800100 h 4429225"/>
                  <a:gd name="connsiteX78" fmla="*/ 602002 w 4519987"/>
                  <a:gd name="connsiteY78" fmla="*/ 733425 h 4429225"/>
                  <a:gd name="connsiteX79" fmla="*/ 668677 w 4519987"/>
                  <a:gd name="connsiteY79" fmla="*/ 676275 h 4429225"/>
                  <a:gd name="connsiteX80" fmla="*/ 697252 w 4519987"/>
                  <a:gd name="connsiteY80" fmla="*/ 657225 h 4429225"/>
                  <a:gd name="connsiteX81" fmla="*/ 840127 w 4519987"/>
                  <a:gd name="connsiteY81" fmla="*/ 533400 h 4429225"/>
                  <a:gd name="connsiteX82" fmla="*/ 887752 w 4519987"/>
                  <a:gd name="connsiteY82" fmla="*/ 504825 h 4429225"/>
                  <a:gd name="connsiteX83" fmla="*/ 1167152 w 4519987"/>
                  <a:gd name="connsiteY83" fmla="*/ 311150 h 4429225"/>
                  <a:gd name="connsiteX84" fmla="*/ 1268752 w 4519987"/>
                  <a:gd name="connsiteY84" fmla="*/ 285750 h 4429225"/>
                  <a:gd name="connsiteX85" fmla="*/ 1411627 w 4519987"/>
                  <a:gd name="connsiteY85" fmla="*/ 190500 h 4429225"/>
                  <a:gd name="connsiteX86" fmla="*/ 1449727 w 4519987"/>
                  <a:gd name="connsiteY86" fmla="*/ 161925 h 4429225"/>
                  <a:gd name="connsiteX87" fmla="*/ 1525927 w 4519987"/>
                  <a:gd name="connsiteY87" fmla="*/ 152400 h 4429225"/>
                  <a:gd name="connsiteX88" fmla="*/ 1583077 w 4519987"/>
                  <a:gd name="connsiteY88" fmla="*/ 142875 h 4429225"/>
                  <a:gd name="connsiteX89" fmla="*/ 1716427 w 4519987"/>
                  <a:gd name="connsiteY89" fmla="*/ 123825 h 4429225"/>
                  <a:gd name="connsiteX90" fmla="*/ 1811677 w 4519987"/>
                  <a:gd name="connsiteY90" fmla="*/ 114300 h 4429225"/>
                  <a:gd name="connsiteX91" fmla="*/ 1859302 w 4519987"/>
                  <a:gd name="connsiteY91" fmla="*/ 104775 h 4429225"/>
                  <a:gd name="connsiteX92" fmla="*/ 1916452 w 4519987"/>
                  <a:gd name="connsiteY92" fmla="*/ 95250 h 4429225"/>
                  <a:gd name="connsiteX93" fmla="*/ 2030752 w 4519987"/>
                  <a:gd name="connsiteY93" fmla="*/ 66675 h 4429225"/>
                  <a:gd name="connsiteX94" fmla="*/ 2097427 w 4519987"/>
                  <a:gd name="connsiteY94" fmla="*/ 47625 h 4429225"/>
                  <a:gd name="connsiteX95" fmla="*/ 2164102 w 4519987"/>
                  <a:gd name="connsiteY95" fmla="*/ 38100 h 4429225"/>
                  <a:gd name="connsiteX96" fmla="*/ 2392702 w 4519987"/>
                  <a:gd name="connsiteY96" fmla="*/ 28575 h 4429225"/>
                  <a:gd name="connsiteX0" fmla="*/ 2297452 w 4519987"/>
                  <a:gd name="connsiteY0" fmla="*/ 0 h 4429225"/>
                  <a:gd name="connsiteX1" fmla="*/ 2421277 w 4519987"/>
                  <a:gd name="connsiteY1" fmla="*/ 28575 h 4429225"/>
                  <a:gd name="connsiteX2" fmla="*/ 2497477 w 4519987"/>
                  <a:gd name="connsiteY2" fmla="*/ 47625 h 4429225"/>
                  <a:gd name="connsiteX3" fmla="*/ 2754652 w 4519987"/>
                  <a:gd name="connsiteY3" fmla="*/ 66675 h 4429225"/>
                  <a:gd name="connsiteX4" fmla="*/ 2830852 w 4519987"/>
                  <a:gd name="connsiteY4" fmla="*/ 76200 h 4429225"/>
                  <a:gd name="connsiteX5" fmla="*/ 2916577 w 4519987"/>
                  <a:gd name="connsiteY5" fmla="*/ 85725 h 4429225"/>
                  <a:gd name="connsiteX6" fmla="*/ 2973727 w 4519987"/>
                  <a:gd name="connsiteY6" fmla="*/ 114300 h 4429225"/>
                  <a:gd name="connsiteX7" fmla="*/ 3011827 w 4519987"/>
                  <a:gd name="connsiteY7" fmla="*/ 123825 h 4429225"/>
                  <a:gd name="connsiteX8" fmla="*/ 3135652 w 4519987"/>
                  <a:gd name="connsiteY8" fmla="*/ 171450 h 4429225"/>
                  <a:gd name="connsiteX9" fmla="*/ 3173752 w 4519987"/>
                  <a:gd name="connsiteY9" fmla="*/ 190500 h 4429225"/>
                  <a:gd name="connsiteX10" fmla="*/ 3240427 w 4519987"/>
                  <a:gd name="connsiteY10" fmla="*/ 228600 h 4429225"/>
                  <a:gd name="connsiteX11" fmla="*/ 3269002 w 4519987"/>
                  <a:gd name="connsiteY11" fmla="*/ 238125 h 4429225"/>
                  <a:gd name="connsiteX12" fmla="*/ 3297577 w 4519987"/>
                  <a:gd name="connsiteY12" fmla="*/ 257175 h 4429225"/>
                  <a:gd name="connsiteX13" fmla="*/ 3326152 w 4519987"/>
                  <a:gd name="connsiteY13" fmla="*/ 266700 h 4429225"/>
                  <a:gd name="connsiteX14" fmla="*/ 3354727 w 4519987"/>
                  <a:gd name="connsiteY14" fmla="*/ 285750 h 4429225"/>
                  <a:gd name="connsiteX15" fmla="*/ 3421402 w 4519987"/>
                  <a:gd name="connsiteY15" fmla="*/ 323850 h 4429225"/>
                  <a:gd name="connsiteX16" fmla="*/ 3469027 w 4519987"/>
                  <a:gd name="connsiteY16" fmla="*/ 361950 h 4429225"/>
                  <a:gd name="connsiteX17" fmla="*/ 3516652 w 4519987"/>
                  <a:gd name="connsiteY17" fmla="*/ 390525 h 4429225"/>
                  <a:gd name="connsiteX18" fmla="*/ 3630952 w 4519987"/>
                  <a:gd name="connsiteY18" fmla="*/ 485775 h 4429225"/>
                  <a:gd name="connsiteX19" fmla="*/ 3745252 w 4519987"/>
                  <a:gd name="connsiteY19" fmla="*/ 542925 h 4429225"/>
                  <a:gd name="connsiteX20" fmla="*/ 3811927 w 4519987"/>
                  <a:gd name="connsiteY20" fmla="*/ 581025 h 4429225"/>
                  <a:gd name="connsiteX21" fmla="*/ 4027827 w 4519987"/>
                  <a:gd name="connsiteY21" fmla="*/ 819150 h 4429225"/>
                  <a:gd name="connsiteX22" fmla="*/ 4164352 w 4519987"/>
                  <a:gd name="connsiteY22" fmla="*/ 990600 h 4429225"/>
                  <a:gd name="connsiteX23" fmla="*/ 4250077 w 4519987"/>
                  <a:gd name="connsiteY23" fmla="*/ 1143000 h 4429225"/>
                  <a:gd name="connsiteX24" fmla="*/ 4307227 w 4519987"/>
                  <a:gd name="connsiteY24" fmla="*/ 1266825 h 4429225"/>
                  <a:gd name="connsiteX25" fmla="*/ 4345327 w 4519987"/>
                  <a:gd name="connsiteY25" fmla="*/ 1362075 h 4429225"/>
                  <a:gd name="connsiteX26" fmla="*/ 4392952 w 4519987"/>
                  <a:gd name="connsiteY26" fmla="*/ 1552575 h 4429225"/>
                  <a:gd name="connsiteX27" fmla="*/ 4431052 w 4519987"/>
                  <a:gd name="connsiteY27" fmla="*/ 1685925 h 4429225"/>
                  <a:gd name="connsiteX28" fmla="*/ 4519952 w 4519987"/>
                  <a:gd name="connsiteY28" fmla="*/ 2181225 h 4429225"/>
                  <a:gd name="connsiteX29" fmla="*/ 4446927 w 4519987"/>
                  <a:gd name="connsiteY29" fmla="*/ 2768600 h 4429225"/>
                  <a:gd name="connsiteX30" fmla="*/ 4383427 w 4519987"/>
                  <a:gd name="connsiteY30" fmla="*/ 2990850 h 4429225"/>
                  <a:gd name="connsiteX31" fmla="*/ 4278652 w 4519987"/>
                  <a:gd name="connsiteY31" fmla="*/ 3248025 h 4429225"/>
                  <a:gd name="connsiteX32" fmla="*/ 4183402 w 4519987"/>
                  <a:gd name="connsiteY32" fmla="*/ 3400425 h 4429225"/>
                  <a:gd name="connsiteX33" fmla="*/ 4059577 w 4519987"/>
                  <a:gd name="connsiteY33" fmla="*/ 3533775 h 4429225"/>
                  <a:gd name="connsiteX34" fmla="*/ 3954802 w 4519987"/>
                  <a:gd name="connsiteY34" fmla="*/ 3648075 h 4429225"/>
                  <a:gd name="connsiteX35" fmla="*/ 3659527 w 4519987"/>
                  <a:gd name="connsiteY35" fmla="*/ 3971925 h 4429225"/>
                  <a:gd name="connsiteX36" fmla="*/ 3516652 w 4519987"/>
                  <a:gd name="connsiteY36" fmla="*/ 4083050 h 4429225"/>
                  <a:gd name="connsiteX37" fmla="*/ 3221377 w 4519987"/>
                  <a:gd name="connsiteY37" fmla="*/ 4222750 h 4429225"/>
                  <a:gd name="connsiteX38" fmla="*/ 3068977 w 4519987"/>
                  <a:gd name="connsiteY38" fmla="*/ 4286250 h 4429225"/>
                  <a:gd name="connsiteX39" fmla="*/ 2935627 w 4519987"/>
                  <a:gd name="connsiteY39" fmla="*/ 4333875 h 4429225"/>
                  <a:gd name="connsiteX40" fmla="*/ 2811802 w 4519987"/>
                  <a:gd name="connsiteY40" fmla="*/ 4371975 h 4429225"/>
                  <a:gd name="connsiteX41" fmla="*/ 2580027 w 4519987"/>
                  <a:gd name="connsiteY41" fmla="*/ 4391025 h 4429225"/>
                  <a:gd name="connsiteX42" fmla="*/ 2126002 w 4519987"/>
                  <a:gd name="connsiteY42" fmla="*/ 4429125 h 4429225"/>
                  <a:gd name="connsiteX43" fmla="*/ 1935502 w 4519987"/>
                  <a:gd name="connsiteY43" fmla="*/ 4400550 h 4429225"/>
                  <a:gd name="connsiteX44" fmla="*/ 1754527 w 4519987"/>
                  <a:gd name="connsiteY44" fmla="*/ 4352925 h 4429225"/>
                  <a:gd name="connsiteX45" fmla="*/ 1573552 w 4519987"/>
                  <a:gd name="connsiteY45" fmla="*/ 4305300 h 4429225"/>
                  <a:gd name="connsiteX46" fmla="*/ 1287802 w 4519987"/>
                  <a:gd name="connsiteY46" fmla="*/ 4229100 h 4429225"/>
                  <a:gd name="connsiteX47" fmla="*/ 1087777 w 4519987"/>
                  <a:gd name="connsiteY47" fmla="*/ 4143375 h 4429225"/>
                  <a:gd name="connsiteX48" fmla="*/ 830602 w 4519987"/>
                  <a:gd name="connsiteY48" fmla="*/ 3981450 h 4429225"/>
                  <a:gd name="connsiteX49" fmla="*/ 697252 w 4519987"/>
                  <a:gd name="connsiteY49" fmla="*/ 3838575 h 4429225"/>
                  <a:gd name="connsiteX50" fmla="*/ 554377 w 4519987"/>
                  <a:gd name="connsiteY50" fmla="*/ 3657600 h 4429225"/>
                  <a:gd name="connsiteX51" fmla="*/ 440077 w 4519987"/>
                  <a:gd name="connsiteY51" fmla="*/ 3495675 h 4429225"/>
                  <a:gd name="connsiteX52" fmla="*/ 278152 w 4519987"/>
                  <a:gd name="connsiteY52" fmla="*/ 3257550 h 4429225"/>
                  <a:gd name="connsiteX53" fmla="*/ 221002 w 4519987"/>
                  <a:gd name="connsiteY53" fmla="*/ 3105150 h 4429225"/>
                  <a:gd name="connsiteX54" fmla="*/ 144802 w 4519987"/>
                  <a:gd name="connsiteY54" fmla="*/ 2924175 h 4429225"/>
                  <a:gd name="connsiteX55" fmla="*/ 68602 w 4519987"/>
                  <a:gd name="connsiteY55" fmla="*/ 2724150 h 4429225"/>
                  <a:gd name="connsiteX56" fmla="*/ 11452 w 4519987"/>
                  <a:gd name="connsiteY56" fmla="*/ 2400300 h 4429225"/>
                  <a:gd name="connsiteX57" fmla="*/ 20977 w 4519987"/>
                  <a:gd name="connsiteY57" fmla="*/ 1905000 h 4429225"/>
                  <a:gd name="connsiteX58" fmla="*/ 30502 w 4519987"/>
                  <a:gd name="connsiteY58" fmla="*/ 1838325 h 4429225"/>
                  <a:gd name="connsiteX59" fmla="*/ 49552 w 4519987"/>
                  <a:gd name="connsiteY59" fmla="*/ 1781175 h 4429225"/>
                  <a:gd name="connsiteX60" fmla="*/ 59077 w 4519987"/>
                  <a:gd name="connsiteY60" fmla="*/ 1743075 h 4429225"/>
                  <a:gd name="connsiteX61" fmla="*/ 78127 w 4519987"/>
                  <a:gd name="connsiteY61" fmla="*/ 1685925 h 4429225"/>
                  <a:gd name="connsiteX62" fmla="*/ 87652 w 4519987"/>
                  <a:gd name="connsiteY62" fmla="*/ 1638300 h 4429225"/>
                  <a:gd name="connsiteX63" fmla="*/ 106702 w 4519987"/>
                  <a:gd name="connsiteY63" fmla="*/ 1590675 h 4429225"/>
                  <a:gd name="connsiteX64" fmla="*/ 135277 w 4519987"/>
                  <a:gd name="connsiteY64" fmla="*/ 1504950 h 4429225"/>
                  <a:gd name="connsiteX65" fmla="*/ 154327 w 4519987"/>
                  <a:gd name="connsiteY65" fmla="*/ 1419225 h 4429225"/>
                  <a:gd name="connsiteX66" fmla="*/ 230527 w 4519987"/>
                  <a:gd name="connsiteY66" fmla="*/ 1276350 h 4429225"/>
                  <a:gd name="connsiteX67" fmla="*/ 240052 w 4519987"/>
                  <a:gd name="connsiteY67" fmla="*/ 1247775 h 4429225"/>
                  <a:gd name="connsiteX68" fmla="*/ 268627 w 4519987"/>
                  <a:gd name="connsiteY68" fmla="*/ 1200150 h 4429225"/>
                  <a:gd name="connsiteX69" fmla="*/ 287677 w 4519987"/>
                  <a:gd name="connsiteY69" fmla="*/ 1152525 h 4429225"/>
                  <a:gd name="connsiteX70" fmla="*/ 316252 w 4519987"/>
                  <a:gd name="connsiteY70" fmla="*/ 1114425 h 4429225"/>
                  <a:gd name="connsiteX71" fmla="*/ 363877 w 4519987"/>
                  <a:gd name="connsiteY71" fmla="*/ 1038225 h 4429225"/>
                  <a:gd name="connsiteX72" fmla="*/ 382927 w 4519987"/>
                  <a:gd name="connsiteY72" fmla="*/ 1009650 h 4429225"/>
                  <a:gd name="connsiteX73" fmla="*/ 440077 w 4519987"/>
                  <a:gd name="connsiteY73" fmla="*/ 904875 h 4429225"/>
                  <a:gd name="connsiteX74" fmla="*/ 478177 w 4519987"/>
                  <a:gd name="connsiteY74" fmla="*/ 857250 h 4429225"/>
                  <a:gd name="connsiteX75" fmla="*/ 497227 w 4519987"/>
                  <a:gd name="connsiteY75" fmla="*/ 828675 h 4429225"/>
                  <a:gd name="connsiteX76" fmla="*/ 535327 w 4519987"/>
                  <a:gd name="connsiteY76" fmla="*/ 800100 h 4429225"/>
                  <a:gd name="connsiteX77" fmla="*/ 602002 w 4519987"/>
                  <a:gd name="connsiteY77" fmla="*/ 733425 h 4429225"/>
                  <a:gd name="connsiteX78" fmla="*/ 668677 w 4519987"/>
                  <a:gd name="connsiteY78" fmla="*/ 676275 h 4429225"/>
                  <a:gd name="connsiteX79" fmla="*/ 697252 w 4519987"/>
                  <a:gd name="connsiteY79" fmla="*/ 657225 h 4429225"/>
                  <a:gd name="connsiteX80" fmla="*/ 840127 w 4519987"/>
                  <a:gd name="connsiteY80" fmla="*/ 533400 h 4429225"/>
                  <a:gd name="connsiteX81" fmla="*/ 887752 w 4519987"/>
                  <a:gd name="connsiteY81" fmla="*/ 504825 h 4429225"/>
                  <a:gd name="connsiteX82" fmla="*/ 1167152 w 4519987"/>
                  <a:gd name="connsiteY82" fmla="*/ 311150 h 4429225"/>
                  <a:gd name="connsiteX83" fmla="*/ 1268752 w 4519987"/>
                  <a:gd name="connsiteY83" fmla="*/ 285750 h 4429225"/>
                  <a:gd name="connsiteX84" fmla="*/ 1411627 w 4519987"/>
                  <a:gd name="connsiteY84" fmla="*/ 190500 h 4429225"/>
                  <a:gd name="connsiteX85" fmla="*/ 1449727 w 4519987"/>
                  <a:gd name="connsiteY85" fmla="*/ 161925 h 4429225"/>
                  <a:gd name="connsiteX86" fmla="*/ 1525927 w 4519987"/>
                  <a:gd name="connsiteY86" fmla="*/ 152400 h 4429225"/>
                  <a:gd name="connsiteX87" fmla="*/ 1583077 w 4519987"/>
                  <a:gd name="connsiteY87" fmla="*/ 142875 h 4429225"/>
                  <a:gd name="connsiteX88" fmla="*/ 1716427 w 4519987"/>
                  <a:gd name="connsiteY88" fmla="*/ 123825 h 4429225"/>
                  <a:gd name="connsiteX89" fmla="*/ 1811677 w 4519987"/>
                  <a:gd name="connsiteY89" fmla="*/ 114300 h 4429225"/>
                  <a:gd name="connsiteX90" fmla="*/ 1859302 w 4519987"/>
                  <a:gd name="connsiteY90" fmla="*/ 104775 h 4429225"/>
                  <a:gd name="connsiteX91" fmla="*/ 1916452 w 4519987"/>
                  <a:gd name="connsiteY91" fmla="*/ 95250 h 4429225"/>
                  <a:gd name="connsiteX92" fmla="*/ 2030752 w 4519987"/>
                  <a:gd name="connsiteY92" fmla="*/ 66675 h 4429225"/>
                  <a:gd name="connsiteX93" fmla="*/ 2097427 w 4519987"/>
                  <a:gd name="connsiteY93" fmla="*/ 47625 h 4429225"/>
                  <a:gd name="connsiteX94" fmla="*/ 2164102 w 4519987"/>
                  <a:gd name="connsiteY94" fmla="*/ 38100 h 4429225"/>
                  <a:gd name="connsiteX95" fmla="*/ 2392702 w 4519987"/>
                  <a:gd name="connsiteY95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202394 w 4501379"/>
                  <a:gd name="connsiteY53" fmla="*/ 3105150 h 4429225"/>
                  <a:gd name="connsiteX54" fmla="*/ 126194 w 4501379"/>
                  <a:gd name="connsiteY54" fmla="*/ 2924175 h 4429225"/>
                  <a:gd name="connsiteX55" fmla="*/ 49994 w 4501379"/>
                  <a:gd name="connsiteY55" fmla="*/ 2724150 h 4429225"/>
                  <a:gd name="connsiteX56" fmla="*/ 56344 w 4501379"/>
                  <a:gd name="connsiteY56" fmla="*/ 2368550 h 4429225"/>
                  <a:gd name="connsiteX57" fmla="*/ 2369 w 4501379"/>
                  <a:gd name="connsiteY57" fmla="*/ 1905000 h 4429225"/>
                  <a:gd name="connsiteX58" fmla="*/ 11894 w 4501379"/>
                  <a:gd name="connsiteY58" fmla="*/ 1838325 h 4429225"/>
                  <a:gd name="connsiteX59" fmla="*/ 30944 w 4501379"/>
                  <a:gd name="connsiteY59" fmla="*/ 1781175 h 4429225"/>
                  <a:gd name="connsiteX60" fmla="*/ 40469 w 4501379"/>
                  <a:gd name="connsiteY60" fmla="*/ 1743075 h 4429225"/>
                  <a:gd name="connsiteX61" fmla="*/ 59519 w 4501379"/>
                  <a:gd name="connsiteY61" fmla="*/ 1685925 h 4429225"/>
                  <a:gd name="connsiteX62" fmla="*/ 69044 w 4501379"/>
                  <a:gd name="connsiteY62" fmla="*/ 1638300 h 4429225"/>
                  <a:gd name="connsiteX63" fmla="*/ 88094 w 4501379"/>
                  <a:gd name="connsiteY63" fmla="*/ 1590675 h 4429225"/>
                  <a:gd name="connsiteX64" fmla="*/ 116669 w 4501379"/>
                  <a:gd name="connsiteY64" fmla="*/ 1504950 h 4429225"/>
                  <a:gd name="connsiteX65" fmla="*/ 135719 w 4501379"/>
                  <a:gd name="connsiteY65" fmla="*/ 1419225 h 4429225"/>
                  <a:gd name="connsiteX66" fmla="*/ 211919 w 4501379"/>
                  <a:gd name="connsiteY66" fmla="*/ 1276350 h 4429225"/>
                  <a:gd name="connsiteX67" fmla="*/ 221444 w 4501379"/>
                  <a:gd name="connsiteY67" fmla="*/ 1247775 h 4429225"/>
                  <a:gd name="connsiteX68" fmla="*/ 250019 w 4501379"/>
                  <a:gd name="connsiteY68" fmla="*/ 1200150 h 4429225"/>
                  <a:gd name="connsiteX69" fmla="*/ 269069 w 4501379"/>
                  <a:gd name="connsiteY69" fmla="*/ 1152525 h 4429225"/>
                  <a:gd name="connsiteX70" fmla="*/ 297644 w 4501379"/>
                  <a:gd name="connsiteY70" fmla="*/ 1114425 h 4429225"/>
                  <a:gd name="connsiteX71" fmla="*/ 345269 w 4501379"/>
                  <a:gd name="connsiteY71" fmla="*/ 1038225 h 4429225"/>
                  <a:gd name="connsiteX72" fmla="*/ 364319 w 4501379"/>
                  <a:gd name="connsiteY72" fmla="*/ 1009650 h 4429225"/>
                  <a:gd name="connsiteX73" fmla="*/ 421469 w 4501379"/>
                  <a:gd name="connsiteY73" fmla="*/ 904875 h 4429225"/>
                  <a:gd name="connsiteX74" fmla="*/ 459569 w 4501379"/>
                  <a:gd name="connsiteY74" fmla="*/ 857250 h 4429225"/>
                  <a:gd name="connsiteX75" fmla="*/ 478619 w 4501379"/>
                  <a:gd name="connsiteY75" fmla="*/ 828675 h 4429225"/>
                  <a:gd name="connsiteX76" fmla="*/ 516719 w 4501379"/>
                  <a:gd name="connsiteY76" fmla="*/ 800100 h 4429225"/>
                  <a:gd name="connsiteX77" fmla="*/ 583394 w 4501379"/>
                  <a:gd name="connsiteY77" fmla="*/ 733425 h 4429225"/>
                  <a:gd name="connsiteX78" fmla="*/ 650069 w 4501379"/>
                  <a:gd name="connsiteY78" fmla="*/ 676275 h 4429225"/>
                  <a:gd name="connsiteX79" fmla="*/ 678644 w 4501379"/>
                  <a:gd name="connsiteY79" fmla="*/ 657225 h 4429225"/>
                  <a:gd name="connsiteX80" fmla="*/ 821519 w 4501379"/>
                  <a:gd name="connsiteY80" fmla="*/ 533400 h 4429225"/>
                  <a:gd name="connsiteX81" fmla="*/ 869144 w 4501379"/>
                  <a:gd name="connsiteY81" fmla="*/ 504825 h 4429225"/>
                  <a:gd name="connsiteX82" fmla="*/ 1148544 w 4501379"/>
                  <a:gd name="connsiteY82" fmla="*/ 311150 h 4429225"/>
                  <a:gd name="connsiteX83" fmla="*/ 1250144 w 4501379"/>
                  <a:gd name="connsiteY83" fmla="*/ 285750 h 4429225"/>
                  <a:gd name="connsiteX84" fmla="*/ 1393019 w 4501379"/>
                  <a:gd name="connsiteY84" fmla="*/ 190500 h 4429225"/>
                  <a:gd name="connsiteX85" fmla="*/ 1431119 w 4501379"/>
                  <a:gd name="connsiteY85" fmla="*/ 161925 h 4429225"/>
                  <a:gd name="connsiteX86" fmla="*/ 1507319 w 4501379"/>
                  <a:gd name="connsiteY86" fmla="*/ 152400 h 4429225"/>
                  <a:gd name="connsiteX87" fmla="*/ 1564469 w 4501379"/>
                  <a:gd name="connsiteY87" fmla="*/ 142875 h 4429225"/>
                  <a:gd name="connsiteX88" fmla="*/ 1697819 w 4501379"/>
                  <a:gd name="connsiteY88" fmla="*/ 123825 h 4429225"/>
                  <a:gd name="connsiteX89" fmla="*/ 1793069 w 4501379"/>
                  <a:gd name="connsiteY89" fmla="*/ 114300 h 4429225"/>
                  <a:gd name="connsiteX90" fmla="*/ 1840694 w 4501379"/>
                  <a:gd name="connsiteY90" fmla="*/ 104775 h 4429225"/>
                  <a:gd name="connsiteX91" fmla="*/ 1897844 w 4501379"/>
                  <a:gd name="connsiteY91" fmla="*/ 95250 h 4429225"/>
                  <a:gd name="connsiteX92" fmla="*/ 2012144 w 4501379"/>
                  <a:gd name="connsiteY92" fmla="*/ 66675 h 4429225"/>
                  <a:gd name="connsiteX93" fmla="*/ 2078819 w 4501379"/>
                  <a:gd name="connsiteY93" fmla="*/ 47625 h 4429225"/>
                  <a:gd name="connsiteX94" fmla="*/ 2145494 w 4501379"/>
                  <a:gd name="connsiteY94" fmla="*/ 38100 h 4429225"/>
                  <a:gd name="connsiteX95" fmla="*/ 2374094 w 4501379"/>
                  <a:gd name="connsiteY95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202394 w 4501379"/>
                  <a:gd name="connsiteY53" fmla="*/ 3105150 h 4429225"/>
                  <a:gd name="connsiteX54" fmla="*/ 126194 w 4501379"/>
                  <a:gd name="connsiteY54" fmla="*/ 2924175 h 4429225"/>
                  <a:gd name="connsiteX55" fmla="*/ 56344 w 4501379"/>
                  <a:gd name="connsiteY55" fmla="*/ 2368550 h 4429225"/>
                  <a:gd name="connsiteX56" fmla="*/ 2369 w 4501379"/>
                  <a:gd name="connsiteY56" fmla="*/ 1905000 h 4429225"/>
                  <a:gd name="connsiteX57" fmla="*/ 11894 w 4501379"/>
                  <a:gd name="connsiteY57" fmla="*/ 1838325 h 4429225"/>
                  <a:gd name="connsiteX58" fmla="*/ 30944 w 4501379"/>
                  <a:gd name="connsiteY58" fmla="*/ 1781175 h 4429225"/>
                  <a:gd name="connsiteX59" fmla="*/ 40469 w 4501379"/>
                  <a:gd name="connsiteY59" fmla="*/ 1743075 h 4429225"/>
                  <a:gd name="connsiteX60" fmla="*/ 59519 w 4501379"/>
                  <a:gd name="connsiteY60" fmla="*/ 1685925 h 4429225"/>
                  <a:gd name="connsiteX61" fmla="*/ 69044 w 4501379"/>
                  <a:gd name="connsiteY61" fmla="*/ 1638300 h 4429225"/>
                  <a:gd name="connsiteX62" fmla="*/ 88094 w 4501379"/>
                  <a:gd name="connsiteY62" fmla="*/ 1590675 h 4429225"/>
                  <a:gd name="connsiteX63" fmla="*/ 116669 w 4501379"/>
                  <a:gd name="connsiteY63" fmla="*/ 1504950 h 4429225"/>
                  <a:gd name="connsiteX64" fmla="*/ 135719 w 4501379"/>
                  <a:gd name="connsiteY64" fmla="*/ 1419225 h 4429225"/>
                  <a:gd name="connsiteX65" fmla="*/ 211919 w 4501379"/>
                  <a:gd name="connsiteY65" fmla="*/ 1276350 h 4429225"/>
                  <a:gd name="connsiteX66" fmla="*/ 221444 w 4501379"/>
                  <a:gd name="connsiteY66" fmla="*/ 1247775 h 4429225"/>
                  <a:gd name="connsiteX67" fmla="*/ 250019 w 4501379"/>
                  <a:gd name="connsiteY67" fmla="*/ 1200150 h 4429225"/>
                  <a:gd name="connsiteX68" fmla="*/ 269069 w 4501379"/>
                  <a:gd name="connsiteY68" fmla="*/ 1152525 h 4429225"/>
                  <a:gd name="connsiteX69" fmla="*/ 297644 w 4501379"/>
                  <a:gd name="connsiteY69" fmla="*/ 1114425 h 4429225"/>
                  <a:gd name="connsiteX70" fmla="*/ 345269 w 4501379"/>
                  <a:gd name="connsiteY70" fmla="*/ 1038225 h 4429225"/>
                  <a:gd name="connsiteX71" fmla="*/ 364319 w 4501379"/>
                  <a:gd name="connsiteY71" fmla="*/ 1009650 h 4429225"/>
                  <a:gd name="connsiteX72" fmla="*/ 421469 w 4501379"/>
                  <a:gd name="connsiteY72" fmla="*/ 904875 h 4429225"/>
                  <a:gd name="connsiteX73" fmla="*/ 459569 w 4501379"/>
                  <a:gd name="connsiteY73" fmla="*/ 857250 h 4429225"/>
                  <a:gd name="connsiteX74" fmla="*/ 478619 w 4501379"/>
                  <a:gd name="connsiteY74" fmla="*/ 828675 h 4429225"/>
                  <a:gd name="connsiteX75" fmla="*/ 516719 w 4501379"/>
                  <a:gd name="connsiteY75" fmla="*/ 800100 h 4429225"/>
                  <a:gd name="connsiteX76" fmla="*/ 583394 w 4501379"/>
                  <a:gd name="connsiteY76" fmla="*/ 733425 h 4429225"/>
                  <a:gd name="connsiteX77" fmla="*/ 650069 w 4501379"/>
                  <a:gd name="connsiteY77" fmla="*/ 676275 h 4429225"/>
                  <a:gd name="connsiteX78" fmla="*/ 678644 w 4501379"/>
                  <a:gd name="connsiteY78" fmla="*/ 657225 h 4429225"/>
                  <a:gd name="connsiteX79" fmla="*/ 821519 w 4501379"/>
                  <a:gd name="connsiteY79" fmla="*/ 533400 h 4429225"/>
                  <a:gd name="connsiteX80" fmla="*/ 869144 w 4501379"/>
                  <a:gd name="connsiteY80" fmla="*/ 504825 h 4429225"/>
                  <a:gd name="connsiteX81" fmla="*/ 1148544 w 4501379"/>
                  <a:gd name="connsiteY81" fmla="*/ 311150 h 4429225"/>
                  <a:gd name="connsiteX82" fmla="*/ 1250144 w 4501379"/>
                  <a:gd name="connsiteY82" fmla="*/ 285750 h 4429225"/>
                  <a:gd name="connsiteX83" fmla="*/ 1393019 w 4501379"/>
                  <a:gd name="connsiteY83" fmla="*/ 190500 h 4429225"/>
                  <a:gd name="connsiteX84" fmla="*/ 1431119 w 4501379"/>
                  <a:gd name="connsiteY84" fmla="*/ 161925 h 4429225"/>
                  <a:gd name="connsiteX85" fmla="*/ 1507319 w 4501379"/>
                  <a:gd name="connsiteY85" fmla="*/ 152400 h 4429225"/>
                  <a:gd name="connsiteX86" fmla="*/ 1564469 w 4501379"/>
                  <a:gd name="connsiteY86" fmla="*/ 142875 h 4429225"/>
                  <a:gd name="connsiteX87" fmla="*/ 1697819 w 4501379"/>
                  <a:gd name="connsiteY87" fmla="*/ 123825 h 4429225"/>
                  <a:gd name="connsiteX88" fmla="*/ 1793069 w 4501379"/>
                  <a:gd name="connsiteY88" fmla="*/ 114300 h 4429225"/>
                  <a:gd name="connsiteX89" fmla="*/ 1840694 w 4501379"/>
                  <a:gd name="connsiteY89" fmla="*/ 104775 h 4429225"/>
                  <a:gd name="connsiteX90" fmla="*/ 1897844 w 4501379"/>
                  <a:gd name="connsiteY90" fmla="*/ 95250 h 4429225"/>
                  <a:gd name="connsiteX91" fmla="*/ 2012144 w 4501379"/>
                  <a:gd name="connsiteY91" fmla="*/ 66675 h 4429225"/>
                  <a:gd name="connsiteX92" fmla="*/ 2078819 w 4501379"/>
                  <a:gd name="connsiteY92" fmla="*/ 47625 h 4429225"/>
                  <a:gd name="connsiteX93" fmla="*/ 2145494 w 4501379"/>
                  <a:gd name="connsiteY93" fmla="*/ 38100 h 4429225"/>
                  <a:gd name="connsiteX94" fmla="*/ 2374094 w 4501379"/>
                  <a:gd name="connsiteY94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126194 w 4501379"/>
                  <a:gd name="connsiteY53" fmla="*/ 292417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259544 w 4501379"/>
                  <a:gd name="connsiteY52" fmla="*/ 32575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21469 w 4501379"/>
                  <a:gd name="connsiteY51" fmla="*/ 34956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35769 w 4501379"/>
                  <a:gd name="connsiteY50" fmla="*/ 3657600 h 4429225"/>
                  <a:gd name="connsiteX51" fmla="*/ 440519 w 4501379"/>
                  <a:gd name="connsiteY51" fmla="*/ 34956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92919 w 4501379"/>
                  <a:gd name="connsiteY50" fmla="*/ 3657600 h 4429225"/>
                  <a:gd name="connsiteX51" fmla="*/ 440519 w 4501379"/>
                  <a:gd name="connsiteY51" fmla="*/ 34956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678644 w 4501379"/>
                  <a:gd name="connsiteY49" fmla="*/ 3838575 h 4429225"/>
                  <a:gd name="connsiteX50" fmla="*/ 592919 w 4501379"/>
                  <a:gd name="connsiteY50" fmla="*/ 3657600 h 4429225"/>
                  <a:gd name="connsiteX51" fmla="*/ 446869 w 4501379"/>
                  <a:gd name="connsiteY51" fmla="*/ 3470275 h 4429225"/>
                  <a:gd name="connsiteX52" fmla="*/ 316694 w 4501379"/>
                  <a:gd name="connsiteY52" fmla="*/ 3244850 h 4429225"/>
                  <a:gd name="connsiteX53" fmla="*/ 164294 w 4501379"/>
                  <a:gd name="connsiteY53" fmla="*/ 2892425 h 4429225"/>
                  <a:gd name="connsiteX54" fmla="*/ 56344 w 4501379"/>
                  <a:gd name="connsiteY54" fmla="*/ 2368550 h 4429225"/>
                  <a:gd name="connsiteX55" fmla="*/ 2369 w 4501379"/>
                  <a:gd name="connsiteY55" fmla="*/ 1905000 h 4429225"/>
                  <a:gd name="connsiteX56" fmla="*/ 11894 w 4501379"/>
                  <a:gd name="connsiteY56" fmla="*/ 1838325 h 4429225"/>
                  <a:gd name="connsiteX57" fmla="*/ 30944 w 4501379"/>
                  <a:gd name="connsiteY57" fmla="*/ 1781175 h 4429225"/>
                  <a:gd name="connsiteX58" fmla="*/ 40469 w 4501379"/>
                  <a:gd name="connsiteY58" fmla="*/ 1743075 h 4429225"/>
                  <a:gd name="connsiteX59" fmla="*/ 59519 w 4501379"/>
                  <a:gd name="connsiteY59" fmla="*/ 1685925 h 4429225"/>
                  <a:gd name="connsiteX60" fmla="*/ 69044 w 4501379"/>
                  <a:gd name="connsiteY60" fmla="*/ 1638300 h 4429225"/>
                  <a:gd name="connsiteX61" fmla="*/ 88094 w 4501379"/>
                  <a:gd name="connsiteY61" fmla="*/ 1590675 h 4429225"/>
                  <a:gd name="connsiteX62" fmla="*/ 116669 w 4501379"/>
                  <a:gd name="connsiteY62" fmla="*/ 1504950 h 4429225"/>
                  <a:gd name="connsiteX63" fmla="*/ 135719 w 4501379"/>
                  <a:gd name="connsiteY63" fmla="*/ 1419225 h 4429225"/>
                  <a:gd name="connsiteX64" fmla="*/ 211919 w 4501379"/>
                  <a:gd name="connsiteY64" fmla="*/ 1276350 h 4429225"/>
                  <a:gd name="connsiteX65" fmla="*/ 221444 w 4501379"/>
                  <a:gd name="connsiteY65" fmla="*/ 1247775 h 4429225"/>
                  <a:gd name="connsiteX66" fmla="*/ 250019 w 4501379"/>
                  <a:gd name="connsiteY66" fmla="*/ 1200150 h 4429225"/>
                  <a:gd name="connsiteX67" fmla="*/ 269069 w 4501379"/>
                  <a:gd name="connsiteY67" fmla="*/ 1152525 h 4429225"/>
                  <a:gd name="connsiteX68" fmla="*/ 297644 w 4501379"/>
                  <a:gd name="connsiteY68" fmla="*/ 1114425 h 4429225"/>
                  <a:gd name="connsiteX69" fmla="*/ 345269 w 4501379"/>
                  <a:gd name="connsiteY69" fmla="*/ 1038225 h 4429225"/>
                  <a:gd name="connsiteX70" fmla="*/ 364319 w 4501379"/>
                  <a:gd name="connsiteY70" fmla="*/ 1009650 h 4429225"/>
                  <a:gd name="connsiteX71" fmla="*/ 421469 w 4501379"/>
                  <a:gd name="connsiteY71" fmla="*/ 904875 h 4429225"/>
                  <a:gd name="connsiteX72" fmla="*/ 459569 w 4501379"/>
                  <a:gd name="connsiteY72" fmla="*/ 857250 h 4429225"/>
                  <a:gd name="connsiteX73" fmla="*/ 478619 w 4501379"/>
                  <a:gd name="connsiteY73" fmla="*/ 828675 h 4429225"/>
                  <a:gd name="connsiteX74" fmla="*/ 516719 w 4501379"/>
                  <a:gd name="connsiteY74" fmla="*/ 800100 h 4429225"/>
                  <a:gd name="connsiteX75" fmla="*/ 583394 w 4501379"/>
                  <a:gd name="connsiteY75" fmla="*/ 733425 h 4429225"/>
                  <a:gd name="connsiteX76" fmla="*/ 650069 w 4501379"/>
                  <a:gd name="connsiteY76" fmla="*/ 676275 h 4429225"/>
                  <a:gd name="connsiteX77" fmla="*/ 678644 w 4501379"/>
                  <a:gd name="connsiteY77" fmla="*/ 657225 h 4429225"/>
                  <a:gd name="connsiteX78" fmla="*/ 821519 w 4501379"/>
                  <a:gd name="connsiteY78" fmla="*/ 533400 h 4429225"/>
                  <a:gd name="connsiteX79" fmla="*/ 869144 w 4501379"/>
                  <a:gd name="connsiteY79" fmla="*/ 504825 h 4429225"/>
                  <a:gd name="connsiteX80" fmla="*/ 1148544 w 4501379"/>
                  <a:gd name="connsiteY80" fmla="*/ 311150 h 4429225"/>
                  <a:gd name="connsiteX81" fmla="*/ 1250144 w 4501379"/>
                  <a:gd name="connsiteY81" fmla="*/ 285750 h 4429225"/>
                  <a:gd name="connsiteX82" fmla="*/ 1393019 w 4501379"/>
                  <a:gd name="connsiteY82" fmla="*/ 190500 h 4429225"/>
                  <a:gd name="connsiteX83" fmla="*/ 1431119 w 4501379"/>
                  <a:gd name="connsiteY83" fmla="*/ 161925 h 4429225"/>
                  <a:gd name="connsiteX84" fmla="*/ 1507319 w 4501379"/>
                  <a:gd name="connsiteY84" fmla="*/ 152400 h 4429225"/>
                  <a:gd name="connsiteX85" fmla="*/ 1564469 w 4501379"/>
                  <a:gd name="connsiteY85" fmla="*/ 142875 h 4429225"/>
                  <a:gd name="connsiteX86" fmla="*/ 1697819 w 4501379"/>
                  <a:gd name="connsiteY86" fmla="*/ 123825 h 4429225"/>
                  <a:gd name="connsiteX87" fmla="*/ 1793069 w 4501379"/>
                  <a:gd name="connsiteY87" fmla="*/ 114300 h 4429225"/>
                  <a:gd name="connsiteX88" fmla="*/ 1840694 w 4501379"/>
                  <a:gd name="connsiteY88" fmla="*/ 104775 h 4429225"/>
                  <a:gd name="connsiteX89" fmla="*/ 1897844 w 4501379"/>
                  <a:gd name="connsiteY89" fmla="*/ 95250 h 4429225"/>
                  <a:gd name="connsiteX90" fmla="*/ 2012144 w 4501379"/>
                  <a:gd name="connsiteY90" fmla="*/ 66675 h 4429225"/>
                  <a:gd name="connsiteX91" fmla="*/ 2078819 w 4501379"/>
                  <a:gd name="connsiteY91" fmla="*/ 47625 h 4429225"/>
                  <a:gd name="connsiteX92" fmla="*/ 2145494 w 4501379"/>
                  <a:gd name="connsiteY92" fmla="*/ 38100 h 4429225"/>
                  <a:gd name="connsiteX93" fmla="*/ 2374094 w 4501379"/>
                  <a:gd name="connsiteY93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811994 w 4501379"/>
                  <a:gd name="connsiteY48" fmla="*/ 39814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069169 w 4501379"/>
                  <a:gd name="connsiteY47" fmla="*/ 4143375 h 4429225"/>
                  <a:gd name="connsiteX48" fmla="*/ 926294 w 4501379"/>
                  <a:gd name="connsiteY48" fmla="*/ 39687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269194 w 4501379"/>
                  <a:gd name="connsiteY46" fmla="*/ 4229100 h 4429225"/>
                  <a:gd name="connsiteX47" fmla="*/ 1145369 w 4501379"/>
                  <a:gd name="connsiteY47" fmla="*/ 4111625 h 4429225"/>
                  <a:gd name="connsiteX48" fmla="*/ 926294 w 4501379"/>
                  <a:gd name="connsiteY48" fmla="*/ 39687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25"/>
                  <a:gd name="connsiteX1" fmla="*/ 2402669 w 4501379"/>
                  <a:gd name="connsiteY1" fmla="*/ 28575 h 4429225"/>
                  <a:gd name="connsiteX2" fmla="*/ 2478869 w 4501379"/>
                  <a:gd name="connsiteY2" fmla="*/ 47625 h 4429225"/>
                  <a:gd name="connsiteX3" fmla="*/ 2736044 w 4501379"/>
                  <a:gd name="connsiteY3" fmla="*/ 66675 h 4429225"/>
                  <a:gd name="connsiteX4" fmla="*/ 2812244 w 4501379"/>
                  <a:gd name="connsiteY4" fmla="*/ 76200 h 4429225"/>
                  <a:gd name="connsiteX5" fmla="*/ 2897969 w 4501379"/>
                  <a:gd name="connsiteY5" fmla="*/ 85725 h 4429225"/>
                  <a:gd name="connsiteX6" fmla="*/ 2955119 w 4501379"/>
                  <a:gd name="connsiteY6" fmla="*/ 114300 h 4429225"/>
                  <a:gd name="connsiteX7" fmla="*/ 2993219 w 4501379"/>
                  <a:gd name="connsiteY7" fmla="*/ 123825 h 4429225"/>
                  <a:gd name="connsiteX8" fmla="*/ 3117044 w 4501379"/>
                  <a:gd name="connsiteY8" fmla="*/ 171450 h 4429225"/>
                  <a:gd name="connsiteX9" fmla="*/ 3155144 w 4501379"/>
                  <a:gd name="connsiteY9" fmla="*/ 190500 h 4429225"/>
                  <a:gd name="connsiteX10" fmla="*/ 3221819 w 4501379"/>
                  <a:gd name="connsiteY10" fmla="*/ 228600 h 4429225"/>
                  <a:gd name="connsiteX11" fmla="*/ 3250394 w 4501379"/>
                  <a:gd name="connsiteY11" fmla="*/ 238125 h 4429225"/>
                  <a:gd name="connsiteX12" fmla="*/ 3278969 w 4501379"/>
                  <a:gd name="connsiteY12" fmla="*/ 257175 h 4429225"/>
                  <a:gd name="connsiteX13" fmla="*/ 3307544 w 4501379"/>
                  <a:gd name="connsiteY13" fmla="*/ 266700 h 4429225"/>
                  <a:gd name="connsiteX14" fmla="*/ 3336119 w 4501379"/>
                  <a:gd name="connsiteY14" fmla="*/ 285750 h 4429225"/>
                  <a:gd name="connsiteX15" fmla="*/ 3402794 w 4501379"/>
                  <a:gd name="connsiteY15" fmla="*/ 323850 h 4429225"/>
                  <a:gd name="connsiteX16" fmla="*/ 3450419 w 4501379"/>
                  <a:gd name="connsiteY16" fmla="*/ 361950 h 4429225"/>
                  <a:gd name="connsiteX17" fmla="*/ 3498044 w 4501379"/>
                  <a:gd name="connsiteY17" fmla="*/ 390525 h 4429225"/>
                  <a:gd name="connsiteX18" fmla="*/ 3612344 w 4501379"/>
                  <a:gd name="connsiteY18" fmla="*/ 485775 h 4429225"/>
                  <a:gd name="connsiteX19" fmla="*/ 3726644 w 4501379"/>
                  <a:gd name="connsiteY19" fmla="*/ 542925 h 4429225"/>
                  <a:gd name="connsiteX20" fmla="*/ 3793319 w 4501379"/>
                  <a:gd name="connsiteY20" fmla="*/ 581025 h 4429225"/>
                  <a:gd name="connsiteX21" fmla="*/ 4009219 w 4501379"/>
                  <a:gd name="connsiteY21" fmla="*/ 819150 h 4429225"/>
                  <a:gd name="connsiteX22" fmla="*/ 4145744 w 4501379"/>
                  <a:gd name="connsiteY22" fmla="*/ 990600 h 4429225"/>
                  <a:gd name="connsiteX23" fmla="*/ 4231469 w 4501379"/>
                  <a:gd name="connsiteY23" fmla="*/ 1143000 h 4429225"/>
                  <a:gd name="connsiteX24" fmla="*/ 4288619 w 4501379"/>
                  <a:gd name="connsiteY24" fmla="*/ 1266825 h 4429225"/>
                  <a:gd name="connsiteX25" fmla="*/ 4326719 w 4501379"/>
                  <a:gd name="connsiteY25" fmla="*/ 1362075 h 4429225"/>
                  <a:gd name="connsiteX26" fmla="*/ 4374344 w 4501379"/>
                  <a:gd name="connsiteY26" fmla="*/ 1552575 h 4429225"/>
                  <a:gd name="connsiteX27" fmla="*/ 4412444 w 4501379"/>
                  <a:gd name="connsiteY27" fmla="*/ 1685925 h 4429225"/>
                  <a:gd name="connsiteX28" fmla="*/ 4501344 w 4501379"/>
                  <a:gd name="connsiteY28" fmla="*/ 2181225 h 4429225"/>
                  <a:gd name="connsiteX29" fmla="*/ 4428319 w 4501379"/>
                  <a:gd name="connsiteY29" fmla="*/ 2768600 h 4429225"/>
                  <a:gd name="connsiteX30" fmla="*/ 4364819 w 4501379"/>
                  <a:gd name="connsiteY30" fmla="*/ 2990850 h 4429225"/>
                  <a:gd name="connsiteX31" fmla="*/ 4260044 w 4501379"/>
                  <a:gd name="connsiteY31" fmla="*/ 3248025 h 4429225"/>
                  <a:gd name="connsiteX32" fmla="*/ 4164794 w 4501379"/>
                  <a:gd name="connsiteY32" fmla="*/ 3400425 h 4429225"/>
                  <a:gd name="connsiteX33" fmla="*/ 4040969 w 4501379"/>
                  <a:gd name="connsiteY33" fmla="*/ 3533775 h 4429225"/>
                  <a:gd name="connsiteX34" fmla="*/ 3936194 w 4501379"/>
                  <a:gd name="connsiteY34" fmla="*/ 3648075 h 4429225"/>
                  <a:gd name="connsiteX35" fmla="*/ 3640919 w 4501379"/>
                  <a:gd name="connsiteY35" fmla="*/ 3971925 h 4429225"/>
                  <a:gd name="connsiteX36" fmla="*/ 3498044 w 4501379"/>
                  <a:gd name="connsiteY36" fmla="*/ 4083050 h 4429225"/>
                  <a:gd name="connsiteX37" fmla="*/ 3202769 w 4501379"/>
                  <a:gd name="connsiteY37" fmla="*/ 4222750 h 4429225"/>
                  <a:gd name="connsiteX38" fmla="*/ 3050369 w 4501379"/>
                  <a:gd name="connsiteY38" fmla="*/ 4286250 h 4429225"/>
                  <a:gd name="connsiteX39" fmla="*/ 2917019 w 4501379"/>
                  <a:gd name="connsiteY39" fmla="*/ 4333875 h 4429225"/>
                  <a:gd name="connsiteX40" fmla="*/ 2793194 w 4501379"/>
                  <a:gd name="connsiteY40" fmla="*/ 4371975 h 4429225"/>
                  <a:gd name="connsiteX41" fmla="*/ 2561419 w 4501379"/>
                  <a:gd name="connsiteY41" fmla="*/ 4391025 h 4429225"/>
                  <a:gd name="connsiteX42" fmla="*/ 2107394 w 4501379"/>
                  <a:gd name="connsiteY42" fmla="*/ 4429125 h 4429225"/>
                  <a:gd name="connsiteX43" fmla="*/ 1916894 w 4501379"/>
                  <a:gd name="connsiteY43" fmla="*/ 4400550 h 4429225"/>
                  <a:gd name="connsiteX44" fmla="*/ 1735919 w 4501379"/>
                  <a:gd name="connsiteY44" fmla="*/ 4352925 h 4429225"/>
                  <a:gd name="connsiteX45" fmla="*/ 1554944 w 4501379"/>
                  <a:gd name="connsiteY45" fmla="*/ 4305300 h 4429225"/>
                  <a:gd name="connsiteX46" fmla="*/ 1313644 w 4501379"/>
                  <a:gd name="connsiteY46" fmla="*/ 4216400 h 4429225"/>
                  <a:gd name="connsiteX47" fmla="*/ 1145369 w 4501379"/>
                  <a:gd name="connsiteY47" fmla="*/ 4111625 h 4429225"/>
                  <a:gd name="connsiteX48" fmla="*/ 926294 w 4501379"/>
                  <a:gd name="connsiteY48" fmla="*/ 3968750 h 4429225"/>
                  <a:gd name="connsiteX49" fmla="*/ 592919 w 4501379"/>
                  <a:gd name="connsiteY49" fmla="*/ 3657600 h 4429225"/>
                  <a:gd name="connsiteX50" fmla="*/ 446869 w 4501379"/>
                  <a:gd name="connsiteY50" fmla="*/ 3470275 h 4429225"/>
                  <a:gd name="connsiteX51" fmla="*/ 316694 w 4501379"/>
                  <a:gd name="connsiteY51" fmla="*/ 3244850 h 4429225"/>
                  <a:gd name="connsiteX52" fmla="*/ 164294 w 4501379"/>
                  <a:gd name="connsiteY52" fmla="*/ 2892425 h 4429225"/>
                  <a:gd name="connsiteX53" fmla="*/ 56344 w 4501379"/>
                  <a:gd name="connsiteY53" fmla="*/ 2368550 h 4429225"/>
                  <a:gd name="connsiteX54" fmla="*/ 2369 w 4501379"/>
                  <a:gd name="connsiteY54" fmla="*/ 1905000 h 4429225"/>
                  <a:gd name="connsiteX55" fmla="*/ 11894 w 4501379"/>
                  <a:gd name="connsiteY55" fmla="*/ 1838325 h 4429225"/>
                  <a:gd name="connsiteX56" fmla="*/ 30944 w 4501379"/>
                  <a:gd name="connsiteY56" fmla="*/ 1781175 h 4429225"/>
                  <a:gd name="connsiteX57" fmla="*/ 40469 w 4501379"/>
                  <a:gd name="connsiteY57" fmla="*/ 1743075 h 4429225"/>
                  <a:gd name="connsiteX58" fmla="*/ 59519 w 4501379"/>
                  <a:gd name="connsiteY58" fmla="*/ 1685925 h 4429225"/>
                  <a:gd name="connsiteX59" fmla="*/ 69044 w 4501379"/>
                  <a:gd name="connsiteY59" fmla="*/ 1638300 h 4429225"/>
                  <a:gd name="connsiteX60" fmla="*/ 88094 w 4501379"/>
                  <a:gd name="connsiteY60" fmla="*/ 1590675 h 4429225"/>
                  <a:gd name="connsiteX61" fmla="*/ 116669 w 4501379"/>
                  <a:gd name="connsiteY61" fmla="*/ 1504950 h 4429225"/>
                  <a:gd name="connsiteX62" fmla="*/ 135719 w 4501379"/>
                  <a:gd name="connsiteY62" fmla="*/ 1419225 h 4429225"/>
                  <a:gd name="connsiteX63" fmla="*/ 211919 w 4501379"/>
                  <a:gd name="connsiteY63" fmla="*/ 1276350 h 4429225"/>
                  <a:gd name="connsiteX64" fmla="*/ 221444 w 4501379"/>
                  <a:gd name="connsiteY64" fmla="*/ 1247775 h 4429225"/>
                  <a:gd name="connsiteX65" fmla="*/ 250019 w 4501379"/>
                  <a:gd name="connsiteY65" fmla="*/ 1200150 h 4429225"/>
                  <a:gd name="connsiteX66" fmla="*/ 269069 w 4501379"/>
                  <a:gd name="connsiteY66" fmla="*/ 1152525 h 4429225"/>
                  <a:gd name="connsiteX67" fmla="*/ 297644 w 4501379"/>
                  <a:gd name="connsiteY67" fmla="*/ 1114425 h 4429225"/>
                  <a:gd name="connsiteX68" fmla="*/ 345269 w 4501379"/>
                  <a:gd name="connsiteY68" fmla="*/ 1038225 h 4429225"/>
                  <a:gd name="connsiteX69" fmla="*/ 364319 w 4501379"/>
                  <a:gd name="connsiteY69" fmla="*/ 1009650 h 4429225"/>
                  <a:gd name="connsiteX70" fmla="*/ 421469 w 4501379"/>
                  <a:gd name="connsiteY70" fmla="*/ 904875 h 4429225"/>
                  <a:gd name="connsiteX71" fmla="*/ 459569 w 4501379"/>
                  <a:gd name="connsiteY71" fmla="*/ 857250 h 4429225"/>
                  <a:gd name="connsiteX72" fmla="*/ 478619 w 4501379"/>
                  <a:gd name="connsiteY72" fmla="*/ 828675 h 4429225"/>
                  <a:gd name="connsiteX73" fmla="*/ 516719 w 4501379"/>
                  <a:gd name="connsiteY73" fmla="*/ 800100 h 4429225"/>
                  <a:gd name="connsiteX74" fmla="*/ 583394 w 4501379"/>
                  <a:gd name="connsiteY74" fmla="*/ 733425 h 4429225"/>
                  <a:gd name="connsiteX75" fmla="*/ 650069 w 4501379"/>
                  <a:gd name="connsiteY75" fmla="*/ 676275 h 4429225"/>
                  <a:gd name="connsiteX76" fmla="*/ 678644 w 4501379"/>
                  <a:gd name="connsiteY76" fmla="*/ 657225 h 4429225"/>
                  <a:gd name="connsiteX77" fmla="*/ 821519 w 4501379"/>
                  <a:gd name="connsiteY77" fmla="*/ 533400 h 4429225"/>
                  <a:gd name="connsiteX78" fmla="*/ 869144 w 4501379"/>
                  <a:gd name="connsiteY78" fmla="*/ 504825 h 4429225"/>
                  <a:gd name="connsiteX79" fmla="*/ 1148544 w 4501379"/>
                  <a:gd name="connsiteY79" fmla="*/ 311150 h 4429225"/>
                  <a:gd name="connsiteX80" fmla="*/ 1250144 w 4501379"/>
                  <a:gd name="connsiteY80" fmla="*/ 285750 h 4429225"/>
                  <a:gd name="connsiteX81" fmla="*/ 1393019 w 4501379"/>
                  <a:gd name="connsiteY81" fmla="*/ 190500 h 4429225"/>
                  <a:gd name="connsiteX82" fmla="*/ 1431119 w 4501379"/>
                  <a:gd name="connsiteY82" fmla="*/ 161925 h 4429225"/>
                  <a:gd name="connsiteX83" fmla="*/ 1507319 w 4501379"/>
                  <a:gd name="connsiteY83" fmla="*/ 152400 h 4429225"/>
                  <a:gd name="connsiteX84" fmla="*/ 1564469 w 4501379"/>
                  <a:gd name="connsiteY84" fmla="*/ 142875 h 4429225"/>
                  <a:gd name="connsiteX85" fmla="*/ 1697819 w 4501379"/>
                  <a:gd name="connsiteY85" fmla="*/ 123825 h 4429225"/>
                  <a:gd name="connsiteX86" fmla="*/ 1793069 w 4501379"/>
                  <a:gd name="connsiteY86" fmla="*/ 114300 h 4429225"/>
                  <a:gd name="connsiteX87" fmla="*/ 1840694 w 4501379"/>
                  <a:gd name="connsiteY87" fmla="*/ 104775 h 4429225"/>
                  <a:gd name="connsiteX88" fmla="*/ 1897844 w 4501379"/>
                  <a:gd name="connsiteY88" fmla="*/ 95250 h 4429225"/>
                  <a:gd name="connsiteX89" fmla="*/ 2012144 w 4501379"/>
                  <a:gd name="connsiteY89" fmla="*/ 66675 h 4429225"/>
                  <a:gd name="connsiteX90" fmla="*/ 2078819 w 4501379"/>
                  <a:gd name="connsiteY90" fmla="*/ 47625 h 4429225"/>
                  <a:gd name="connsiteX91" fmla="*/ 2145494 w 4501379"/>
                  <a:gd name="connsiteY91" fmla="*/ 38100 h 4429225"/>
                  <a:gd name="connsiteX92" fmla="*/ 2374094 w 4501379"/>
                  <a:gd name="connsiteY92" fmla="*/ 28575 h 4429225"/>
                  <a:gd name="connsiteX0" fmla="*/ 2278844 w 4501379"/>
                  <a:gd name="connsiteY0" fmla="*/ 0 h 4429294"/>
                  <a:gd name="connsiteX1" fmla="*/ 2402669 w 4501379"/>
                  <a:gd name="connsiteY1" fmla="*/ 28575 h 4429294"/>
                  <a:gd name="connsiteX2" fmla="*/ 2478869 w 4501379"/>
                  <a:gd name="connsiteY2" fmla="*/ 47625 h 4429294"/>
                  <a:gd name="connsiteX3" fmla="*/ 2736044 w 4501379"/>
                  <a:gd name="connsiteY3" fmla="*/ 66675 h 4429294"/>
                  <a:gd name="connsiteX4" fmla="*/ 2812244 w 4501379"/>
                  <a:gd name="connsiteY4" fmla="*/ 76200 h 4429294"/>
                  <a:gd name="connsiteX5" fmla="*/ 2897969 w 4501379"/>
                  <a:gd name="connsiteY5" fmla="*/ 85725 h 4429294"/>
                  <a:gd name="connsiteX6" fmla="*/ 2955119 w 4501379"/>
                  <a:gd name="connsiteY6" fmla="*/ 114300 h 4429294"/>
                  <a:gd name="connsiteX7" fmla="*/ 2993219 w 4501379"/>
                  <a:gd name="connsiteY7" fmla="*/ 123825 h 4429294"/>
                  <a:gd name="connsiteX8" fmla="*/ 3117044 w 4501379"/>
                  <a:gd name="connsiteY8" fmla="*/ 171450 h 4429294"/>
                  <a:gd name="connsiteX9" fmla="*/ 3155144 w 4501379"/>
                  <a:gd name="connsiteY9" fmla="*/ 190500 h 4429294"/>
                  <a:gd name="connsiteX10" fmla="*/ 3221819 w 4501379"/>
                  <a:gd name="connsiteY10" fmla="*/ 228600 h 4429294"/>
                  <a:gd name="connsiteX11" fmla="*/ 3250394 w 4501379"/>
                  <a:gd name="connsiteY11" fmla="*/ 238125 h 4429294"/>
                  <a:gd name="connsiteX12" fmla="*/ 3278969 w 4501379"/>
                  <a:gd name="connsiteY12" fmla="*/ 257175 h 4429294"/>
                  <a:gd name="connsiteX13" fmla="*/ 3307544 w 4501379"/>
                  <a:gd name="connsiteY13" fmla="*/ 266700 h 4429294"/>
                  <a:gd name="connsiteX14" fmla="*/ 3336119 w 4501379"/>
                  <a:gd name="connsiteY14" fmla="*/ 285750 h 4429294"/>
                  <a:gd name="connsiteX15" fmla="*/ 3402794 w 4501379"/>
                  <a:gd name="connsiteY15" fmla="*/ 323850 h 4429294"/>
                  <a:gd name="connsiteX16" fmla="*/ 3450419 w 4501379"/>
                  <a:gd name="connsiteY16" fmla="*/ 361950 h 4429294"/>
                  <a:gd name="connsiteX17" fmla="*/ 3498044 w 4501379"/>
                  <a:gd name="connsiteY17" fmla="*/ 390525 h 4429294"/>
                  <a:gd name="connsiteX18" fmla="*/ 3612344 w 4501379"/>
                  <a:gd name="connsiteY18" fmla="*/ 485775 h 4429294"/>
                  <a:gd name="connsiteX19" fmla="*/ 3726644 w 4501379"/>
                  <a:gd name="connsiteY19" fmla="*/ 542925 h 4429294"/>
                  <a:gd name="connsiteX20" fmla="*/ 3793319 w 4501379"/>
                  <a:gd name="connsiteY20" fmla="*/ 581025 h 4429294"/>
                  <a:gd name="connsiteX21" fmla="*/ 4009219 w 4501379"/>
                  <a:gd name="connsiteY21" fmla="*/ 819150 h 4429294"/>
                  <a:gd name="connsiteX22" fmla="*/ 4145744 w 4501379"/>
                  <a:gd name="connsiteY22" fmla="*/ 990600 h 4429294"/>
                  <a:gd name="connsiteX23" fmla="*/ 4231469 w 4501379"/>
                  <a:gd name="connsiteY23" fmla="*/ 1143000 h 4429294"/>
                  <a:gd name="connsiteX24" fmla="*/ 4288619 w 4501379"/>
                  <a:gd name="connsiteY24" fmla="*/ 1266825 h 4429294"/>
                  <a:gd name="connsiteX25" fmla="*/ 4326719 w 4501379"/>
                  <a:gd name="connsiteY25" fmla="*/ 1362075 h 4429294"/>
                  <a:gd name="connsiteX26" fmla="*/ 4374344 w 4501379"/>
                  <a:gd name="connsiteY26" fmla="*/ 1552575 h 4429294"/>
                  <a:gd name="connsiteX27" fmla="*/ 4412444 w 4501379"/>
                  <a:gd name="connsiteY27" fmla="*/ 1685925 h 4429294"/>
                  <a:gd name="connsiteX28" fmla="*/ 4501344 w 4501379"/>
                  <a:gd name="connsiteY28" fmla="*/ 2181225 h 4429294"/>
                  <a:gd name="connsiteX29" fmla="*/ 4428319 w 4501379"/>
                  <a:gd name="connsiteY29" fmla="*/ 2768600 h 4429294"/>
                  <a:gd name="connsiteX30" fmla="*/ 4364819 w 4501379"/>
                  <a:gd name="connsiteY30" fmla="*/ 2990850 h 4429294"/>
                  <a:gd name="connsiteX31" fmla="*/ 4260044 w 4501379"/>
                  <a:gd name="connsiteY31" fmla="*/ 3248025 h 4429294"/>
                  <a:gd name="connsiteX32" fmla="*/ 4164794 w 4501379"/>
                  <a:gd name="connsiteY32" fmla="*/ 3400425 h 4429294"/>
                  <a:gd name="connsiteX33" fmla="*/ 4040969 w 4501379"/>
                  <a:gd name="connsiteY33" fmla="*/ 3533775 h 4429294"/>
                  <a:gd name="connsiteX34" fmla="*/ 3936194 w 4501379"/>
                  <a:gd name="connsiteY34" fmla="*/ 3648075 h 4429294"/>
                  <a:gd name="connsiteX35" fmla="*/ 3640919 w 4501379"/>
                  <a:gd name="connsiteY35" fmla="*/ 3971925 h 4429294"/>
                  <a:gd name="connsiteX36" fmla="*/ 3498044 w 4501379"/>
                  <a:gd name="connsiteY36" fmla="*/ 4083050 h 4429294"/>
                  <a:gd name="connsiteX37" fmla="*/ 3202769 w 4501379"/>
                  <a:gd name="connsiteY37" fmla="*/ 4222750 h 4429294"/>
                  <a:gd name="connsiteX38" fmla="*/ 3050369 w 4501379"/>
                  <a:gd name="connsiteY38" fmla="*/ 4286250 h 4429294"/>
                  <a:gd name="connsiteX39" fmla="*/ 2917019 w 4501379"/>
                  <a:gd name="connsiteY39" fmla="*/ 4333875 h 4429294"/>
                  <a:gd name="connsiteX40" fmla="*/ 2793194 w 4501379"/>
                  <a:gd name="connsiteY40" fmla="*/ 4371975 h 4429294"/>
                  <a:gd name="connsiteX41" fmla="*/ 2561419 w 4501379"/>
                  <a:gd name="connsiteY41" fmla="*/ 4391025 h 4429294"/>
                  <a:gd name="connsiteX42" fmla="*/ 2107394 w 4501379"/>
                  <a:gd name="connsiteY42" fmla="*/ 4429125 h 4429294"/>
                  <a:gd name="connsiteX43" fmla="*/ 1916894 w 4501379"/>
                  <a:gd name="connsiteY43" fmla="*/ 4400550 h 4429294"/>
                  <a:gd name="connsiteX44" fmla="*/ 1554944 w 4501379"/>
                  <a:gd name="connsiteY44" fmla="*/ 4305300 h 4429294"/>
                  <a:gd name="connsiteX45" fmla="*/ 1313644 w 4501379"/>
                  <a:gd name="connsiteY45" fmla="*/ 4216400 h 4429294"/>
                  <a:gd name="connsiteX46" fmla="*/ 1145369 w 4501379"/>
                  <a:gd name="connsiteY46" fmla="*/ 4111625 h 4429294"/>
                  <a:gd name="connsiteX47" fmla="*/ 926294 w 4501379"/>
                  <a:gd name="connsiteY47" fmla="*/ 3968750 h 4429294"/>
                  <a:gd name="connsiteX48" fmla="*/ 592919 w 4501379"/>
                  <a:gd name="connsiteY48" fmla="*/ 3657600 h 4429294"/>
                  <a:gd name="connsiteX49" fmla="*/ 446869 w 4501379"/>
                  <a:gd name="connsiteY49" fmla="*/ 3470275 h 4429294"/>
                  <a:gd name="connsiteX50" fmla="*/ 316694 w 4501379"/>
                  <a:gd name="connsiteY50" fmla="*/ 3244850 h 4429294"/>
                  <a:gd name="connsiteX51" fmla="*/ 164294 w 4501379"/>
                  <a:gd name="connsiteY51" fmla="*/ 2892425 h 4429294"/>
                  <a:gd name="connsiteX52" fmla="*/ 56344 w 4501379"/>
                  <a:gd name="connsiteY52" fmla="*/ 2368550 h 4429294"/>
                  <a:gd name="connsiteX53" fmla="*/ 2369 w 4501379"/>
                  <a:gd name="connsiteY53" fmla="*/ 1905000 h 4429294"/>
                  <a:gd name="connsiteX54" fmla="*/ 11894 w 4501379"/>
                  <a:gd name="connsiteY54" fmla="*/ 1838325 h 4429294"/>
                  <a:gd name="connsiteX55" fmla="*/ 30944 w 4501379"/>
                  <a:gd name="connsiteY55" fmla="*/ 1781175 h 4429294"/>
                  <a:gd name="connsiteX56" fmla="*/ 40469 w 4501379"/>
                  <a:gd name="connsiteY56" fmla="*/ 1743075 h 4429294"/>
                  <a:gd name="connsiteX57" fmla="*/ 59519 w 4501379"/>
                  <a:gd name="connsiteY57" fmla="*/ 1685925 h 4429294"/>
                  <a:gd name="connsiteX58" fmla="*/ 69044 w 4501379"/>
                  <a:gd name="connsiteY58" fmla="*/ 1638300 h 4429294"/>
                  <a:gd name="connsiteX59" fmla="*/ 88094 w 4501379"/>
                  <a:gd name="connsiteY59" fmla="*/ 1590675 h 4429294"/>
                  <a:gd name="connsiteX60" fmla="*/ 116669 w 4501379"/>
                  <a:gd name="connsiteY60" fmla="*/ 1504950 h 4429294"/>
                  <a:gd name="connsiteX61" fmla="*/ 135719 w 4501379"/>
                  <a:gd name="connsiteY61" fmla="*/ 1419225 h 4429294"/>
                  <a:gd name="connsiteX62" fmla="*/ 211919 w 4501379"/>
                  <a:gd name="connsiteY62" fmla="*/ 1276350 h 4429294"/>
                  <a:gd name="connsiteX63" fmla="*/ 221444 w 4501379"/>
                  <a:gd name="connsiteY63" fmla="*/ 1247775 h 4429294"/>
                  <a:gd name="connsiteX64" fmla="*/ 250019 w 4501379"/>
                  <a:gd name="connsiteY64" fmla="*/ 1200150 h 4429294"/>
                  <a:gd name="connsiteX65" fmla="*/ 269069 w 4501379"/>
                  <a:gd name="connsiteY65" fmla="*/ 1152525 h 4429294"/>
                  <a:gd name="connsiteX66" fmla="*/ 297644 w 4501379"/>
                  <a:gd name="connsiteY66" fmla="*/ 1114425 h 4429294"/>
                  <a:gd name="connsiteX67" fmla="*/ 345269 w 4501379"/>
                  <a:gd name="connsiteY67" fmla="*/ 1038225 h 4429294"/>
                  <a:gd name="connsiteX68" fmla="*/ 364319 w 4501379"/>
                  <a:gd name="connsiteY68" fmla="*/ 1009650 h 4429294"/>
                  <a:gd name="connsiteX69" fmla="*/ 421469 w 4501379"/>
                  <a:gd name="connsiteY69" fmla="*/ 904875 h 4429294"/>
                  <a:gd name="connsiteX70" fmla="*/ 459569 w 4501379"/>
                  <a:gd name="connsiteY70" fmla="*/ 857250 h 4429294"/>
                  <a:gd name="connsiteX71" fmla="*/ 478619 w 4501379"/>
                  <a:gd name="connsiteY71" fmla="*/ 828675 h 4429294"/>
                  <a:gd name="connsiteX72" fmla="*/ 516719 w 4501379"/>
                  <a:gd name="connsiteY72" fmla="*/ 800100 h 4429294"/>
                  <a:gd name="connsiteX73" fmla="*/ 583394 w 4501379"/>
                  <a:gd name="connsiteY73" fmla="*/ 733425 h 4429294"/>
                  <a:gd name="connsiteX74" fmla="*/ 650069 w 4501379"/>
                  <a:gd name="connsiteY74" fmla="*/ 676275 h 4429294"/>
                  <a:gd name="connsiteX75" fmla="*/ 678644 w 4501379"/>
                  <a:gd name="connsiteY75" fmla="*/ 657225 h 4429294"/>
                  <a:gd name="connsiteX76" fmla="*/ 821519 w 4501379"/>
                  <a:gd name="connsiteY76" fmla="*/ 533400 h 4429294"/>
                  <a:gd name="connsiteX77" fmla="*/ 869144 w 4501379"/>
                  <a:gd name="connsiteY77" fmla="*/ 504825 h 4429294"/>
                  <a:gd name="connsiteX78" fmla="*/ 1148544 w 4501379"/>
                  <a:gd name="connsiteY78" fmla="*/ 311150 h 4429294"/>
                  <a:gd name="connsiteX79" fmla="*/ 1250144 w 4501379"/>
                  <a:gd name="connsiteY79" fmla="*/ 285750 h 4429294"/>
                  <a:gd name="connsiteX80" fmla="*/ 1393019 w 4501379"/>
                  <a:gd name="connsiteY80" fmla="*/ 190500 h 4429294"/>
                  <a:gd name="connsiteX81" fmla="*/ 1431119 w 4501379"/>
                  <a:gd name="connsiteY81" fmla="*/ 161925 h 4429294"/>
                  <a:gd name="connsiteX82" fmla="*/ 1507319 w 4501379"/>
                  <a:gd name="connsiteY82" fmla="*/ 152400 h 4429294"/>
                  <a:gd name="connsiteX83" fmla="*/ 1564469 w 4501379"/>
                  <a:gd name="connsiteY83" fmla="*/ 142875 h 4429294"/>
                  <a:gd name="connsiteX84" fmla="*/ 1697819 w 4501379"/>
                  <a:gd name="connsiteY84" fmla="*/ 123825 h 4429294"/>
                  <a:gd name="connsiteX85" fmla="*/ 1793069 w 4501379"/>
                  <a:gd name="connsiteY85" fmla="*/ 114300 h 4429294"/>
                  <a:gd name="connsiteX86" fmla="*/ 1840694 w 4501379"/>
                  <a:gd name="connsiteY86" fmla="*/ 104775 h 4429294"/>
                  <a:gd name="connsiteX87" fmla="*/ 1897844 w 4501379"/>
                  <a:gd name="connsiteY87" fmla="*/ 95250 h 4429294"/>
                  <a:gd name="connsiteX88" fmla="*/ 2012144 w 4501379"/>
                  <a:gd name="connsiteY88" fmla="*/ 66675 h 4429294"/>
                  <a:gd name="connsiteX89" fmla="*/ 2078819 w 4501379"/>
                  <a:gd name="connsiteY89" fmla="*/ 47625 h 4429294"/>
                  <a:gd name="connsiteX90" fmla="*/ 2145494 w 4501379"/>
                  <a:gd name="connsiteY90" fmla="*/ 38100 h 4429294"/>
                  <a:gd name="connsiteX91" fmla="*/ 2374094 w 4501379"/>
                  <a:gd name="connsiteY91" fmla="*/ 28575 h 4429294"/>
                  <a:gd name="connsiteX0" fmla="*/ 2278844 w 4501379"/>
                  <a:gd name="connsiteY0" fmla="*/ 0 h 4429294"/>
                  <a:gd name="connsiteX1" fmla="*/ 2402669 w 4501379"/>
                  <a:gd name="connsiteY1" fmla="*/ 28575 h 4429294"/>
                  <a:gd name="connsiteX2" fmla="*/ 2478869 w 4501379"/>
                  <a:gd name="connsiteY2" fmla="*/ 47625 h 4429294"/>
                  <a:gd name="connsiteX3" fmla="*/ 2736044 w 4501379"/>
                  <a:gd name="connsiteY3" fmla="*/ 66675 h 4429294"/>
                  <a:gd name="connsiteX4" fmla="*/ 2812244 w 4501379"/>
                  <a:gd name="connsiteY4" fmla="*/ 76200 h 4429294"/>
                  <a:gd name="connsiteX5" fmla="*/ 2897969 w 4501379"/>
                  <a:gd name="connsiteY5" fmla="*/ 85725 h 4429294"/>
                  <a:gd name="connsiteX6" fmla="*/ 2955119 w 4501379"/>
                  <a:gd name="connsiteY6" fmla="*/ 114300 h 4429294"/>
                  <a:gd name="connsiteX7" fmla="*/ 2993219 w 4501379"/>
                  <a:gd name="connsiteY7" fmla="*/ 123825 h 4429294"/>
                  <a:gd name="connsiteX8" fmla="*/ 3117044 w 4501379"/>
                  <a:gd name="connsiteY8" fmla="*/ 171450 h 4429294"/>
                  <a:gd name="connsiteX9" fmla="*/ 3155144 w 4501379"/>
                  <a:gd name="connsiteY9" fmla="*/ 190500 h 4429294"/>
                  <a:gd name="connsiteX10" fmla="*/ 3221819 w 4501379"/>
                  <a:gd name="connsiteY10" fmla="*/ 228600 h 4429294"/>
                  <a:gd name="connsiteX11" fmla="*/ 3250394 w 4501379"/>
                  <a:gd name="connsiteY11" fmla="*/ 238125 h 4429294"/>
                  <a:gd name="connsiteX12" fmla="*/ 3278969 w 4501379"/>
                  <a:gd name="connsiteY12" fmla="*/ 257175 h 4429294"/>
                  <a:gd name="connsiteX13" fmla="*/ 3307544 w 4501379"/>
                  <a:gd name="connsiteY13" fmla="*/ 266700 h 4429294"/>
                  <a:gd name="connsiteX14" fmla="*/ 3336119 w 4501379"/>
                  <a:gd name="connsiteY14" fmla="*/ 285750 h 4429294"/>
                  <a:gd name="connsiteX15" fmla="*/ 3402794 w 4501379"/>
                  <a:gd name="connsiteY15" fmla="*/ 323850 h 4429294"/>
                  <a:gd name="connsiteX16" fmla="*/ 3450419 w 4501379"/>
                  <a:gd name="connsiteY16" fmla="*/ 361950 h 4429294"/>
                  <a:gd name="connsiteX17" fmla="*/ 3498044 w 4501379"/>
                  <a:gd name="connsiteY17" fmla="*/ 390525 h 4429294"/>
                  <a:gd name="connsiteX18" fmla="*/ 3612344 w 4501379"/>
                  <a:gd name="connsiteY18" fmla="*/ 485775 h 4429294"/>
                  <a:gd name="connsiteX19" fmla="*/ 3726644 w 4501379"/>
                  <a:gd name="connsiteY19" fmla="*/ 542925 h 4429294"/>
                  <a:gd name="connsiteX20" fmla="*/ 3793319 w 4501379"/>
                  <a:gd name="connsiteY20" fmla="*/ 581025 h 4429294"/>
                  <a:gd name="connsiteX21" fmla="*/ 4009219 w 4501379"/>
                  <a:gd name="connsiteY21" fmla="*/ 819150 h 4429294"/>
                  <a:gd name="connsiteX22" fmla="*/ 4145744 w 4501379"/>
                  <a:gd name="connsiteY22" fmla="*/ 990600 h 4429294"/>
                  <a:gd name="connsiteX23" fmla="*/ 4231469 w 4501379"/>
                  <a:gd name="connsiteY23" fmla="*/ 1143000 h 4429294"/>
                  <a:gd name="connsiteX24" fmla="*/ 4288619 w 4501379"/>
                  <a:gd name="connsiteY24" fmla="*/ 1266825 h 4429294"/>
                  <a:gd name="connsiteX25" fmla="*/ 4326719 w 4501379"/>
                  <a:gd name="connsiteY25" fmla="*/ 1362075 h 4429294"/>
                  <a:gd name="connsiteX26" fmla="*/ 4374344 w 4501379"/>
                  <a:gd name="connsiteY26" fmla="*/ 1552575 h 4429294"/>
                  <a:gd name="connsiteX27" fmla="*/ 4412444 w 4501379"/>
                  <a:gd name="connsiteY27" fmla="*/ 1685925 h 4429294"/>
                  <a:gd name="connsiteX28" fmla="*/ 4501344 w 4501379"/>
                  <a:gd name="connsiteY28" fmla="*/ 2181225 h 4429294"/>
                  <a:gd name="connsiteX29" fmla="*/ 4428319 w 4501379"/>
                  <a:gd name="connsiteY29" fmla="*/ 2768600 h 4429294"/>
                  <a:gd name="connsiteX30" fmla="*/ 4364819 w 4501379"/>
                  <a:gd name="connsiteY30" fmla="*/ 2990850 h 4429294"/>
                  <a:gd name="connsiteX31" fmla="*/ 4260044 w 4501379"/>
                  <a:gd name="connsiteY31" fmla="*/ 3248025 h 4429294"/>
                  <a:gd name="connsiteX32" fmla="*/ 4164794 w 4501379"/>
                  <a:gd name="connsiteY32" fmla="*/ 3400425 h 4429294"/>
                  <a:gd name="connsiteX33" fmla="*/ 4040969 w 4501379"/>
                  <a:gd name="connsiteY33" fmla="*/ 3533775 h 4429294"/>
                  <a:gd name="connsiteX34" fmla="*/ 3936194 w 4501379"/>
                  <a:gd name="connsiteY34" fmla="*/ 3648075 h 4429294"/>
                  <a:gd name="connsiteX35" fmla="*/ 3640919 w 4501379"/>
                  <a:gd name="connsiteY35" fmla="*/ 3971925 h 4429294"/>
                  <a:gd name="connsiteX36" fmla="*/ 3498044 w 4501379"/>
                  <a:gd name="connsiteY36" fmla="*/ 4083050 h 4429294"/>
                  <a:gd name="connsiteX37" fmla="*/ 3202769 w 4501379"/>
                  <a:gd name="connsiteY37" fmla="*/ 4222750 h 4429294"/>
                  <a:gd name="connsiteX38" fmla="*/ 3050369 w 4501379"/>
                  <a:gd name="connsiteY38" fmla="*/ 4286250 h 4429294"/>
                  <a:gd name="connsiteX39" fmla="*/ 2917019 w 4501379"/>
                  <a:gd name="connsiteY39" fmla="*/ 4333875 h 4429294"/>
                  <a:gd name="connsiteX40" fmla="*/ 2793194 w 4501379"/>
                  <a:gd name="connsiteY40" fmla="*/ 4371975 h 4429294"/>
                  <a:gd name="connsiteX41" fmla="*/ 2561419 w 4501379"/>
                  <a:gd name="connsiteY41" fmla="*/ 4391025 h 4429294"/>
                  <a:gd name="connsiteX42" fmla="*/ 2107394 w 4501379"/>
                  <a:gd name="connsiteY42" fmla="*/ 4429125 h 4429294"/>
                  <a:gd name="connsiteX43" fmla="*/ 1916894 w 4501379"/>
                  <a:gd name="connsiteY43" fmla="*/ 4400550 h 4429294"/>
                  <a:gd name="connsiteX44" fmla="*/ 1554944 w 4501379"/>
                  <a:gd name="connsiteY44" fmla="*/ 4305300 h 4429294"/>
                  <a:gd name="connsiteX45" fmla="*/ 1313644 w 4501379"/>
                  <a:gd name="connsiteY45" fmla="*/ 4216400 h 4429294"/>
                  <a:gd name="connsiteX46" fmla="*/ 1145369 w 4501379"/>
                  <a:gd name="connsiteY46" fmla="*/ 4111625 h 4429294"/>
                  <a:gd name="connsiteX47" fmla="*/ 926294 w 4501379"/>
                  <a:gd name="connsiteY47" fmla="*/ 3968750 h 4429294"/>
                  <a:gd name="connsiteX48" fmla="*/ 592919 w 4501379"/>
                  <a:gd name="connsiteY48" fmla="*/ 3657600 h 4429294"/>
                  <a:gd name="connsiteX49" fmla="*/ 446869 w 4501379"/>
                  <a:gd name="connsiteY49" fmla="*/ 3470275 h 4429294"/>
                  <a:gd name="connsiteX50" fmla="*/ 316694 w 4501379"/>
                  <a:gd name="connsiteY50" fmla="*/ 3244850 h 4429294"/>
                  <a:gd name="connsiteX51" fmla="*/ 164294 w 4501379"/>
                  <a:gd name="connsiteY51" fmla="*/ 2892425 h 4429294"/>
                  <a:gd name="connsiteX52" fmla="*/ 56344 w 4501379"/>
                  <a:gd name="connsiteY52" fmla="*/ 2368550 h 4429294"/>
                  <a:gd name="connsiteX53" fmla="*/ 2369 w 4501379"/>
                  <a:gd name="connsiteY53" fmla="*/ 1905000 h 4429294"/>
                  <a:gd name="connsiteX54" fmla="*/ 11894 w 4501379"/>
                  <a:gd name="connsiteY54" fmla="*/ 1838325 h 4429294"/>
                  <a:gd name="connsiteX55" fmla="*/ 30944 w 4501379"/>
                  <a:gd name="connsiteY55" fmla="*/ 1781175 h 4429294"/>
                  <a:gd name="connsiteX56" fmla="*/ 40469 w 4501379"/>
                  <a:gd name="connsiteY56" fmla="*/ 1743075 h 4429294"/>
                  <a:gd name="connsiteX57" fmla="*/ 59519 w 4501379"/>
                  <a:gd name="connsiteY57" fmla="*/ 1685925 h 4429294"/>
                  <a:gd name="connsiteX58" fmla="*/ 69044 w 4501379"/>
                  <a:gd name="connsiteY58" fmla="*/ 1638300 h 4429294"/>
                  <a:gd name="connsiteX59" fmla="*/ 88094 w 4501379"/>
                  <a:gd name="connsiteY59" fmla="*/ 1590675 h 4429294"/>
                  <a:gd name="connsiteX60" fmla="*/ 116669 w 4501379"/>
                  <a:gd name="connsiteY60" fmla="*/ 1504950 h 4429294"/>
                  <a:gd name="connsiteX61" fmla="*/ 135719 w 4501379"/>
                  <a:gd name="connsiteY61" fmla="*/ 1419225 h 4429294"/>
                  <a:gd name="connsiteX62" fmla="*/ 211919 w 4501379"/>
                  <a:gd name="connsiteY62" fmla="*/ 1276350 h 4429294"/>
                  <a:gd name="connsiteX63" fmla="*/ 221444 w 4501379"/>
                  <a:gd name="connsiteY63" fmla="*/ 1247775 h 4429294"/>
                  <a:gd name="connsiteX64" fmla="*/ 250019 w 4501379"/>
                  <a:gd name="connsiteY64" fmla="*/ 1200150 h 4429294"/>
                  <a:gd name="connsiteX65" fmla="*/ 269069 w 4501379"/>
                  <a:gd name="connsiteY65" fmla="*/ 1152525 h 4429294"/>
                  <a:gd name="connsiteX66" fmla="*/ 297644 w 4501379"/>
                  <a:gd name="connsiteY66" fmla="*/ 1114425 h 4429294"/>
                  <a:gd name="connsiteX67" fmla="*/ 345269 w 4501379"/>
                  <a:gd name="connsiteY67" fmla="*/ 1038225 h 4429294"/>
                  <a:gd name="connsiteX68" fmla="*/ 364319 w 4501379"/>
                  <a:gd name="connsiteY68" fmla="*/ 1009650 h 4429294"/>
                  <a:gd name="connsiteX69" fmla="*/ 421469 w 4501379"/>
                  <a:gd name="connsiteY69" fmla="*/ 904875 h 4429294"/>
                  <a:gd name="connsiteX70" fmla="*/ 459569 w 4501379"/>
                  <a:gd name="connsiteY70" fmla="*/ 857250 h 4429294"/>
                  <a:gd name="connsiteX71" fmla="*/ 478619 w 4501379"/>
                  <a:gd name="connsiteY71" fmla="*/ 828675 h 4429294"/>
                  <a:gd name="connsiteX72" fmla="*/ 516719 w 4501379"/>
                  <a:gd name="connsiteY72" fmla="*/ 800100 h 4429294"/>
                  <a:gd name="connsiteX73" fmla="*/ 583394 w 4501379"/>
                  <a:gd name="connsiteY73" fmla="*/ 733425 h 4429294"/>
                  <a:gd name="connsiteX74" fmla="*/ 650069 w 4501379"/>
                  <a:gd name="connsiteY74" fmla="*/ 676275 h 4429294"/>
                  <a:gd name="connsiteX75" fmla="*/ 678644 w 4501379"/>
                  <a:gd name="connsiteY75" fmla="*/ 657225 h 4429294"/>
                  <a:gd name="connsiteX76" fmla="*/ 821519 w 4501379"/>
                  <a:gd name="connsiteY76" fmla="*/ 533400 h 4429294"/>
                  <a:gd name="connsiteX77" fmla="*/ 869144 w 4501379"/>
                  <a:gd name="connsiteY77" fmla="*/ 504825 h 4429294"/>
                  <a:gd name="connsiteX78" fmla="*/ 1148544 w 4501379"/>
                  <a:gd name="connsiteY78" fmla="*/ 311150 h 4429294"/>
                  <a:gd name="connsiteX79" fmla="*/ 1250144 w 4501379"/>
                  <a:gd name="connsiteY79" fmla="*/ 285750 h 4429294"/>
                  <a:gd name="connsiteX80" fmla="*/ 1393019 w 4501379"/>
                  <a:gd name="connsiteY80" fmla="*/ 190500 h 4429294"/>
                  <a:gd name="connsiteX81" fmla="*/ 1431119 w 4501379"/>
                  <a:gd name="connsiteY81" fmla="*/ 161925 h 4429294"/>
                  <a:gd name="connsiteX82" fmla="*/ 1507319 w 4501379"/>
                  <a:gd name="connsiteY82" fmla="*/ 152400 h 4429294"/>
                  <a:gd name="connsiteX83" fmla="*/ 1564469 w 4501379"/>
                  <a:gd name="connsiteY83" fmla="*/ 142875 h 4429294"/>
                  <a:gd name="connsiteX84" fmla="*/ 1697819 w 4501379"/>
                  <a:gd name="connsiteY84" fmla="*/ 123825 h 4429294"/>
                  <a:gd name="connsiteX85" fmla="*/ 1793069 w 4501379"/>
                  <a:gd name="connsiteY85" fmla="*/ 114300 h 4429294"/>
                  <a:gd name="connsiteX86" fmla="*/ 1840694 w 4501379"/>
                  <a:gd name="connsiteY86" fmla="*/ 104775 h 4429294"/>
                  <a:gd name="connsiteX87" fmla="*/ 1897844 w 4501379"/>
                  <a:gd name="connsiteY87" fmla="*/ 95250 h 4429294"/>
                  <a:gd name="connsiteX88" fmla="*/ 2012144 w 4501379"/>
                  <a:gd name="connsiteY88" fmla="*/ 66675 h 4429294"/>
                  <a:gd name="connsiteX89" fmla="*/ 2078819 w 4501379"/>
                  <a:gd name="connsiteY89" fmla="*/ 47625 h 4429294"/>
                  <a:gd name="connsiteX90" fmla="*/ 2145494 w 4501379"/>
                  <a:gd name="connsiteY90" fmla="*/ 38100 h 4429294"/>
                  <a:gd name="connsiteX0" fmla="*/ 2278844 w 4501379"/>
                  <a:gd name="connsiteY0" fmla="*/ 0 h 4429294"/>
                  <a:gd name="connsiteX1" fmla="*/ 2478869 w 4501379"/>
                  <a:gd name="connsiteY1" fmla="*/ 47625 h 4429294"/>
                  <a:gd name="connsiteX2" fmla="*/ 2736044 w 4501379"/>
                  <a:gd name="connsiteY2" fmla="*/ 66675 h 4429294"/>
                  <a:gd name="connsiteX3" fmla="*/ 2812244 w 4501379"/>
                  <a:gd name="connsiteY3" fmla="*/ 76200 h 4429294"/>
                  <a:gd name="connsiteX4" fmla="*/ 2897969 w 4501379"/>
                  <a:gd name="connsiteY4" fmla="*/ 85725 h 4429294"/>
                  <a:gd name="connsiteX5" fmla="*/ 2955119 w 4501379"/>
                  <a:gd name="connsiteY5" fmla="*/ 114300 h 4429294"/>
                  <a:gd name="connsiteX6" fmla="*/ 2993219 w 4501379"/>
                  <a:gd name="connsiteY6" fmla="*/ 123825 h 4429294"/>
                  <a:gd name="connsiteX7" fmla="*/ 3117044 w 4501379"/>
                  <a:gd name="connsiteY7" fmla="*/ 171450 h 4429294"/>
                  <a:gd name="connsiteX8" fmla="*/ 3155144 w 4501379"/>
                  <a:gd name="connsiteY8" fmla="*/ 190500 h 4429294"/>
                  <a:gd name="connsiteX9" fmla="*/ 3221819 w 4501379"/>
                  <a:gd name="connsiteY9" fmla="*/ 228600 h 4429294"/>
                  <a:gd name="connsiteX10" fmla="*/ 3250394 w 4501379"/>
                  <a:gd name="connsiteY10" fmla="*/ 238125 h 4429294"/>
                  <a:gd name="connsiteX11" fmla="*/ 3278969 w 4501379"/>
                  <a:gd name="connsiteY11" fmla="*/ 257175 h 4429294"/>
                  <a:gd name="connsiteX12" fmla="*/ 3307544 w 4501379"/>
                  <a:gd name="connsiteY12" fmla="*/ 266700 h 4429294"/>
                  <a:gd name="connsiteX13" fmla="*/ 3336119 w 4501379"/>
                  <a:gd name="connsiteY13" fmla="*/ 285750 h 4429294"/>
                  <a:gd name="connsiteX14" fmla="*/ 3402794 w 4501379"/>
                  <a:gd name="connsiteY14" fmla="*/ 323850 h 4429294"/>
                  <a:gd name="connsiteX15" fmla="*/ 3450419 w 4501379"/>
                  <a:gd name="connsiteY15" fmla="*/ 361950 h 4429294"/>
                  <a:gd name="connsiteX16" fmla="*/ 3498044 w 4501379"/>
                  <a:gd name="connsiteY16" fmla="*/ 390525 h 4429294"/>
                  <a:gd name="connsiteX17" fmla="*/ 3612344 w 4501379"/>
                  <a:gd name="connsiteY17" fmla="*/ 485775 h 4429294"/>
                  <a:gd name="connsiteX18" fmla="*/ 3726644 w 4501379"/>
                  <a:gd name="connsiteY18" fmla="*/ 542925 h 4429294"/>
                  <a:gd name="connsiteX19" fmla="*/ 3793319 w 4501379"/>
                  <a:gd name="connsiteY19" fmla="*/ 581025 h 4429294"/>
                  <a:gd name="connsiteX20" fmla="*/ 4009219 w 4501379"/>
                  <a:gd name="connsiteY20" fmla="*/ 819150 h 4429294"/>
                  <a:gd name="connsiteX21" fmla="*/ 4145744 w 4501379"/>
                  <a:gd name="connsiteY21" fmla="*/ 990600 h 4429294"/>
                  <a:gd name="connsiteX22" fmla="*/ 4231469 w 4501379"/>
                  <a:gd name="connsiteY22" fmla="*/ 1143000 h 4429294"/>
                  <a:gd name="connsiteX23" fmla="*/ 4288619 w 4501379"/>
                  <a:gd name="connsiteY23" fmla="*/ 1266825 h 4429294"/>
                  <a:gd name="connsiteX24" fmla="*/ 4326719 w 4501379"/>
                  <a:gd name="connsiteY24" fmla="*/ 1362075 h 4429294"/>
                  <a:gd name="connsiteX25" fmla="*/ 4374344 w 4501379"/>
                  <a:gd name="connsiteY25" fmla="*/ 1552575 h 4429294"/>
                  <a:gd name="connsiteX26" fmla="*/ 4412444 w 4501379"/>
                  <a:gd name="connsiteY26" fmla="*/ 1685925 h 4429294"/>
                  <a:gd name="connsiteX27" fmla="*/ 4501344 w 4501379"/>
                  <a:gd name="connsiteY27" fmla="*/ 2181225 h 4429294"/>
                  <a:gd name="connsiteX28" fmla="*/ 4428319 w 4501379"/>
                  <a:gd name="connsiteY28" fmla="*/ 2768600 h 4429294"/>
                  <a:gd name="connsiteX29" fmla="*/ 4364819 w 4501379"/>
                  <a:gd name="connsiteY29" fmla="*/ 2990850 h 4429294"/>
                  <a:gd name="connsiteX30" fmla="*/ 4260044 w 4501379"/>
                  <a:gd name="connsiteY30" fmla="*/ 3248025 h 4429294"/>
                  <a:gd name="connsiteX31" fmla="*/ 4164794 w 4501379"/>
                  <a:gd name="connsiteY31" fmla="*/ 3400425 h 4429294"/>
                  <a:gd name="connsiteX32" fmla="*/ 4040969 w 4501379"/>
                  <a:gd name="connsiteY32" fmla="*/ 3533775 h 4429294"/>
                  <a:gd name="connsiteX33" fmla="*/ 3936194 w 4501379"/>
                  <a:gd name="connsiteY33" fmla="*/ 3648075 h 4429294"/>
                  <a:gd name="connsiteX34" fmla="*/ 3640919 w 4501379"/>
                  <a:gd name="connsiteY34" fmla="*/ 3971925 h 4429294"/>
                  <a:gd name="connsiteX35" fmla="*/ 3498044 w 4501379"/>
                  <a:gd name="connsiteY35" fmla="*/ 4083050 h 4429294"/>
                  <a:gd name="connsiteX36" fmla="*/ 3202769 w 4501379"/>
                  <a:gd name="connsiteY36" fmla="*/ 4222750 h 4429294"/>
                  <a:gd name="connsiteX37" fmla="*/ 3050369 w 4501379"/>
                  <a:gd name="connsiteY37" fmla="*/ 4286250 h 4429294"/>
                  <a:gd name="connsiteX38" fmla="*/ 2917019 w 4501379"/>
                  <a:gd name="connsiteY38" fmla="*/ 4333875 h 4429294"/>
                  <a:gd name="connsiteX39" fmla="*/ 2793194 w 4501379"/>
                  <a:gd name="connsiteY39" fmla="*/ 4371975 h 4429294"/>
                  <a:gd name="connsiteX40" fmla="*/ 2561419 w 4501379"/>
                  <a:gd name="connsiteY40" fmla="*/ 4391025 h 4429294"/>
                  <a:gd name="connsiteX41" fmla="*/ 2107394 w 4501379"/>
                  <a:gd name="connsiteY41" fmla="*/ 4429125 h 4429294"/>
                  <a:gd name="connsiteX42" fmla="*/ 1916894 w 4501379"/>
                  <a:gd name="connsiteY42" fmla="*/ 4400550 h 4429294"/>
                  <a:gd name="connsiteX43" fmla="*/ 1554944 w 4501379"/>
                  <a:gd name="connsiteY43" fmla="*/ 4305300 h 4429294"/>
                  <a:gd name="connsiteX44" fmla="*/ 1313644 w 4501379"/>
                  <a:gd name="connsiteY44" fmla="*/ 4216400 h 4429294"/>
                  <a:gd name="connsiteX45" fmla="*/ 1145369 w 4501379"/>
                  <a:gd name="connsiteY45" fmla="*/ 4111625 h 4429294"/>
                  <a:gd name="connsiteX46" fmla="*/ 926294 w 4501379"/>
                  <a:gd name="connsiteY46" fmla="*/ 3968750 h 4429294"/>
                  <a:gd name="connsiteX47" fmla="*/ 592919 w 4501379"/>
                  <a:gd name="connsiteY47" fmla="*/ 3657600 h 4429294"/>
                  <a:gd name="connsiteX48" fmla="*/ 446869 w 4501379"/>
                  <a:gd name="connsiteY48" fmla="*/ 3470275 h 4429294"/>
                  <a:gd name="connsiteX49" fmla="*/ 316694 w 4501379"/>
                  <a:gd name="connsiteY49" fmla="*/ 3244850 h 4429294"/>
                  <a:gd name="connsiteX50" fmla="*/ 164294 w 4501379"/>
                  <a:gd name="connsiteY50" fmla="*/ 2892425 h 4429294"/>
                  <a:gd name="connsiteX51" fmla="*/ 56344 w 4501379"/>
                  <a:gd name="connsiteY51" fmla="*/ 2368550 h 4429294"/>
                  <a:gd name="connsiteX52" fmla="*/ 2369 w 4501379"/>
                  <a:gd name="connsiteY52" fmla="*/ 1905000 h 4429294"/>
                  <a:gd name="connsiteX53" fmla="*/ 11894 w 4501379"/>
                  <a:gd name="connsiteY53" fmla="*/ 1838325 h 4429294"/>
                  <a:gd name="connsiteX54" fmla="*/ 30944 w 4501379"/>
                  <a:gd name="connsiteY54" fmla="*/ 1781175 h 4429294"/>
                  <a:gd name="connsiteX55" fmla="*/ 40469 w 4501379"/>
                  <a:gd name="connsiteY55" fmla="*/ 1743075 h 4429294"/>
                  <a:gd name="connsiteX56" fmla="*/ 59519 w 4501379"/>
                  <a:gd name="connsiteY56" fmla="*/ 1685925 h 4429294"/>
                  <a:gd name="connsiteX57" fmla="*/ 69044 w 4501379"/>
                  <a:gd name="connsiteY57" fmla="*/ 1638300 h 4429294"/>
                  <a:gd name="connsiteX58" fmla="*/ 88094 w 4501379"/>
                  <a:gd name="connsiteY58" fmla="*/ 1590675 h 4429294"/>
                  <a:gd name="connsiteX59" fmla="*/ 116669 w 4501379"/>
                  <a:gd name="connsiteY59" fmla="*/ 1504950 h 4429294"/>
                  <a:gd name="connsiteX60" fmla="*/ 135719 w 4501379"/>
                  <a:gd name="connsiteY60" fmla="*/ 1419225 h 4429294"/>
                  <a:gd name="connsiteX61" fmla="*/ 211919 w 4501379"/>
                  <a:gd name="connsiteY61" fmla="*/ 1276350 h 4429294"/>
                  <a:gd name="connsiteX62" fmla="*/ 221444 w 4501379"/>
                  <a:gd name="connsiteY62" fmla="*/ 1247775 h 4429294"/>
                  <a:gd name="connsiteX63" fmla="*/ 250019 w 4501379"/>
                  <a:gd name="connsiteY63" fmla="*/ 1200150 h 4429294"/>
                  <a:gd name="connsiteX64" fmla="*/ 269069 w 4501379"/>
                  <a:gd name="connsiteY64" fmla="*/ 1152525 h 4429294"/>
                  <a:gd name="connsiteX65" fmla="*/ 297644 w 4501379"/>
                  <a:gd name="connsiteY65" fmla="*/ 1114425 h 4429294"/>
                  <a:gd name="connsiteX66" fmla="*/ 345269 w 4501379"/>
                  <a:gd name="connsiteY66" fmla="*/ 1038225 h 4429294"/>
                  <a:gd name="connsiteX67" fmla="*/ 364319 w 4501379"/>
                  <a:gd name="connsiteY67" fmla="*/ 1009650 h 4429294"/>
                  <a:gd name="connsiteX68" fmla="*/ 421469 w 4501379"/>
                  <a:gd name="connsiteY68" fmla="*/ 904875 h 4429294"/>
                  <a:gd name="connsiteX69" fmla="*/ 459569 w 4501379"/>
                  <a:gd name="connsiteY69" fmla="*/ 857250 h 4429294"/>
                  <a:gd name="connsiteX70" fmla="*/ 478619 w 4501379"/>
                  <a:gd name="connsiteY70" fmla="*/ 828675 h 4429294"/>
                  <a:gd name="connsiteX71" fmla="*/ 516719 w 4501379"/>
                  <a:gd name="connsiteY71" fmla="*/ 800100 h 4429294"/>
                  <a:gd name="connsiteX72" fmla="*/ 583394 w 4501379"/>
                  <a:gd name="connsiteY72" fmla="*/ 733425 h 4429294"/>
                  <a:gd name="connsiteX73" fmla="*/ 650069 w 4501379"/>
                  <a:gd name="connsiteY73" fmla="*/ 676275 h 4429294"/>
                  <a:gd name="connsiteX74" fmla="*/ 678644 w 4501379"/>
                  <a:gd name="connsiteY74" fmla="*/ 657225 h 4429294"/>
                  <a:gd name="connsiteX75" fmla="*/ 821519 w 4501379"/>
                  <a:gd name="connsiteY75" fmla="*/ 533400 h 4429294"/>
                  <a:gd name="connsiteX76" fmla="*/ 869144 w 4501379"/>
                  <a:gd name="connsiteY76" fmla="*/ 504825 h 4429294"/>
                  <a:gd name="connsiteX77" fmla="*/ 1148544 w 4501379"/>
                  <a:gd name="connsiteY77" fmla="*/ 311150 h 4429294"/>
                  <a:gd name="connsiteX78" fmla="*/ 1250144 w 4501379"/>
                  <a:gd name="connsiteY78" fmla="*/ 285750 h 4429294"/>
                  <a:gd name="connsiteX79" fmla="*/ 1393019 w 4501379"/>
                  <a:gd name="connsiteY79" fmla="*/ 190500 h 4429294"/>
                  <a:gd name="connsiteX80" fmla="*/ 1431119 w 4501379"/>
                  <a:gd name="connsiteY80" fmla="*/ 161925 h 4429294"/>
                  <a:gd name="connsiteX81" fmla="*/ 1507319 w 4501379"/>
                  <a:gd name="connsiteY81" fmla="*/ 152400 h 4429294"/>
                  <a:gd name="connsiteX82" fmla="*/ 1564469 w 4501379"/>
                  <a:gd name="connsiteY82" fmla="*/ 142875 h 4429294"/>
                  <a:gd name="connsiteX83" fmla="*/ 1697819 w 4501379"/>
                  <a:gd name="connsiteY83" fmla="*/ 123825 h 4429294"/>
                  <a:gd name="connsiteX84" fmla="*/ 1793069 w 4501379"/>
                  <a:gd name="connsiteY84" fmla="*/ 114300 h 4429294"/>
                  <a:gd name="connsiteX85" fmla="*/ 1840694 w 4501379"/>
                  <a:gd name="connsiteY85" fmla="*/ 104775 h 4429294"/>
                  <a:gd name="connsiteX86" fmla="*/ 1897844 w 4501379"/>
                  <a:gd name="connsiteY86" fmla="*/ 95250 h 4429294"/>
                  <a:gd name="connsiteX87" fmla="*/ 2012144 w 4501379"/>
                  <a:gd name="connsiteY87" fmla="*/ 66675 h 4429294"/>
                  <a:gd name="connsiteX88" fmla="*/ 2078819 w 4501379"/>
                  <a:gd name="connsiteY88" fmla="*/ 47625 h 4429294"/>
                  <a:gd name="connsiteX89" fmla="*/ 2145494 w 4501379"/>
                  <a:gd name="connsiteY89" fmla="*/ 38100 h 4429294"/>
                  <a:gd name="connsiteX0" fmla="*/ 2278844 w 4501379"/>
                  <a:gd name="connsiteY0" fmla="*/ 0 h 4429294"/>
                  <a:gd name="connsiteX1" fmla="*/ 2736044 w 4501379"/>
                  <a:gd name="connsiteY1" fmla="*/ 66675 h 4429294"/>
                  <a:gd name="connsiteX2" fmla="*/ 2812244 w 4501379"/>
                  <a:gd name="connsiteY2" fmla="*/ 76200 h 4429294"/>
                  <a:gd name="connsiteX3" fmla="*/ 2897969 w 4501379"/>
                  <a:gd name="connsiteY3" fmla="*/ 85725 h 4429294"/>
                  <a:gd name="connsiteX4" fmla="*/ 2955119 w 4501379"/>
                  <a:gd name="connsiteY4" fmla="*/ 114300 h 4429294"/>
                  <a:gd name="connsiteX5" fmla="*/ 2993219 w 4501379"/>
                  <a:gd name="connsiteY5" fmla="*/ 123825 h 4429294"/>
                  <a:gd name="connsiteX6" fmla="*/ 3117044 w 4501379"/>
                  <a:gd name="connsiteY6" fmla="*/ 171450 h 4429294"/>
                  <a:gd name="connsiteX7" fmla="*/ 3155144 w 4501379"/>
                  <a:gd name="connsiteY7" fmla="*/ 190500 h 4429294"/>
                  <a:gd name="connsiteX8" fmla="*/ 3221819 w 4501379"/>
                  <a:gd name="connsiteY8" fmla="*/ 228600 h 4429294"/>
                  <a:gd name="connsiteX9" fmla="*/ 3250394 w 4501379"/>
                  <a:gd name="connsiteY9" fmla="*/ 238125 h 4429294"/>
                  <a:gd name="connsiteX10" fmla="*/ 3278969 w 4501379"/>
                  <a:gd name="connsiteY10" fmla="*/ 257175 h 4429294"/>
                  <a:gd name="connsiteX11" fmla="*/ 3307544 w 4501379"/>
                  <a:gd name="connsiteY11" fmla="*/ 266700 h 4429294"/>
                  <a:gd name="connsiteX12" fmla="*/ 3336119 w 4501379"/>
                  <a:gd name="connsiteY12" fmla="*/ 285750 h 4429294"/>
                  <a:gd name="connsiteX13" fmla="*/ 3402794 w 4501379"/>
                  <a:gd name="connsiteY13" fmla="*/ 323850 h 4429294"/>
                  <a:gd name="connsiteX14" fmla="*/ 3450419 w 4501379"/>
                  <a:gd name="connsiteY14" fmla="*/ 361950 h 4429294"/>
                  <a:gd name="connsiteX15" fmla="*/ 3498044 w 4501379"/>
                  <a:gd name="connsiteY15" fmla="*/ 390525 h 4429294"/>
                  <a:gd name="connsiteX16" fmla="*/ 3612344 w 4501379"/>
                  <a:gd name="connsiteY16" fmla="*/ 485775 h 4429294"/>
                  <a:gd name="connsiteX17" fmla="*/ 3726644 w 4501379"/>
                  <a:gd name="connsiteY17" fmla="*/ 542925 h 4429294"/>
                  <a:gd name="connsiteX18" fmla="*/ 3793319 w 4501379"/>
                  <a:gd name="connsiteY18" fmla="*/ 581025 h 4429294"/>
                  <a:gd name="connsiteX19" fmla="*/ 4009219 w 4501379"/>
                  <a:gd name="connsiteY19" fmla="*/ 819150 h 4429294"/>
                  <a:gd name="connsiteX20" fmla="*/ 4145744 w 4501379"/>
                  <a:gd name="connsiteY20" fmla="*/ 990600 h 4429294"/>
                  <a:gd name="connsiteX21" fmla="*/ 4231469 w 4501379"/>
                  <a:gd name="connsiteY21" fmla="*/ 1143000 h 4429294"/>
                  <a:gd name="connsiteX22" fmla="*/ 4288619 w 4501379"/>
                  <a:gd name="connsiteY22" fmla="*/ 1266825 h 4429294"/>
                  <a:gd name="connsiteX23" fmla="*/ 4326719 w 4501379"/>
                  <a:gd name="connsiteY23" fmla="*/ 1362075 h 4429294"/>
                  <a:gd name="connsiteX24" fmla="*/ 4374344 w 4501379"/>
                  <a:gd name="connsiteY24" fmla="*/ 1552575 h 4429294"/>
                  <a:gd name="connsiteX25" fmla="*/ 4412444 w 4501379"/>
                  <a:gd name="connsiteY25" fmla="*/ 1685925 h 4429294"/>
                  <a:gd name="connsiteX26" fmla="*/ 4501344 w 4501379"/>
                  <a:gd name="connsiteY26" fmla="*/ 2181225 h 4429294"/>
                  <a:gd name="connsiteX27" fmla="*/ 4428319 w 4501379"/>
                  <a:gd name="connsiteY27" fmla="*/ 2768600 h 4429294"/>
                  <a:gd name="connsiteX28" fmla="*/ 4364819 w 4501379"/>
                  <a:gd name="connsiteY28" fmla="*/ 2990850 h 4429294"/>
                  <a:gd name="connsiteX29" fmla="*/ 4260044 w 4501379"/>
                  <a:gd name="connsiteY29" fmla="*/ 3248025 h 4429294"/>
                  <a:gd name="connsiteX30" fmla="*/ 4164794 w 4501379"/>
                  <a:gd name="connsiteY30" fmla="*/ 3400425 h 4429294"/>
                  <a:gd name="connsiteX31" fmla="*/ 4040969 w 4501379"/>
                  <a:gd name="connsiteY31" fmla="*/ 3533775 h 4429294"/>
                  <a:gd name="connsiteX32" fmla="*/ 3936194 w 4501379"/>
                  <a:gd name="connsiteY32" fmla="*/ 3648075 h 4429294"/>
                  <a:gd name="connsiteX33" fmla="*/ 3640919 w 4501379"/>
                  <a:gd name="connsiteY33" fmla="*/ 3971925 h 4429294"/>
                  <a:gd name="connsiteX34" fmla="*/ 3498044 w 4501379"/>
                  <a:gd name="connsiteY34" fmla="*/ 4083050 h 4429294"/>
                  <a:gd name="connsiteX35" fmla="*/ 3202769 w 4501379"/>
                  <a:gd name="connsiteY35" fmla="*/ 4222750 h 4429294"/>
                  <a:gd name="connsiteX36" fmla="*/ 3050369 w 4501379"/>
                  <a:gd name="connsiteY36" fmla="*/ 4286250 h 4429294"/>
                  <a:gd name="connsiteX37" fmla="*/ 2917019 w 4501379"/>
                  <a:gd name="connsiteY37" fmla="*/ 4333875 h 4429294"/>
                  <a:gd name="connsiteX38" fmla="*/ 2793194 w 4501379"/>
                  <a:gd name="connsiteY38" fmla="*/ 4371975 h 4429294"/>
                  <a:gd name="connsiteX39" fmla="*/ 2561419 w 4501379"/>
                  <a:gd name="connsiteY39" fmla="*/ 4391025 h 4429294"/>
                  <a:gd name="connsiteX40" fmla="*/ 2107394 w 4501379"/>
                  <a:gd name="connsiteY40" fmla="*/ 4429125 h 4429294"/>
                  <a:gd name="connsiteX41" fmla="*/ 1916894 w 4501379"/>
                  <a:gd name="connsiteY41" fmla="*/ 4400550 h 4429294"/>
                  <a:gd name="connsiteX42" fmla="*/ 1554944 w 4501379"/>
                  <a:gd name="connsiteY42" fmla="*/ 4305300 h 4429294"/>
                  <a:gd name="connsiteX43" fmla="*/ 1313644 w 4501379"/>
                  <a:gd name="connsiteY43" fmla="*/ 4216400 h 4429294"/>
                  <a:gd name="connsiteX44" fmla="*/ 1145369 w 4501379"/>
                  <a:gd name="connsiteY44" fmla="*/ 4111625 h 4429294"/>
                  <a:gd name="connsiteX45" fmla="*/ 926294 w 4501379"/>
                  <a:gd name="connsiteY45" fmla="*/ 3968750 h 4429294"/>
                  <a:gd name="connsiteX46" fmla="*/ 592919 w 4501379"/>
                  <a:gd name="connsiteY46" fmla="*/ 3657600 h 4429294"/>
                  <a:gd name="connsiteX47" fmla="*/ 446869 w 4501379"/>
                  <a:gd name="connsiteY47" fmla="*/ 3470275 h 4429294"/>
                  <a:gd name="connsiteX48" fmla="*/ 316694 w 4501379"/>
                  <a:gd name="connsiteY48" fmla="*/ 3244850 h 4429294"/>
                  <a:gd name="connsiteX49" fmla="*/ 164294 w 4501379"/>
                  <a:gd name="connsiteY49" fmla="*/ 2892425 h 4429294"/>
                  <a:gd name="connsiteX50" fmla="*/ 56344 w 4501379"/>
                  <a:gd name="connsiteY50" fmla="*/ 2368550 h 4429294"/>
                  <a:gd name="connsiteX51" fmla="*/ 2369 w 4501379"/>
                  <a:gd name="connsiteY51" fmla="*/ 1905000 h 4429294"/>
                  <a:gd name="connsiteX52" fmla="*/ 11894 w 4501379"/>
                  <a:gd name="connsiteY52" fmla="*/ 1838325 h 4429294"/>
                  <a:gd name="connsiteX53" fmla="*/ 30944 w 4501379"/>
                  <a:gd name="connsiteY53" fmla="*/ 1781175 h 4429294"/>
                  <a:gd name="connsiteX54" fmla="*/ 40469 w 4501379"/>
                  <a:gd name="connsiteY54" fmla="*/ 1743075 h 4429294"/>
                  <a:gd name="connsiteX55" fmla="*/ 59519 w 4501379"/>
                  <a:gd name="connsiteY55" fmla="*/ 1685925 h 4429294"/>
                  <a:gd name="connsiteX56" fmla="*/ 69044 w 4501379"/>
                  <a:gd name="connsiteY56" fmla="*/ 1638300 h 4429294"/>
                  <a:gd name="connsiteX57" fmla="*/ 88094 w 4501379"/>
                  <a:gd name="connsiteY57" fmla="*/ 1590675 h 4429294"/>
                  <a:gd name="connsiteX58" fmla="*/ 116669 w 4501379"/>
                  <a:gd name="connsiteY58" fmla="*/ 1504950 h 4429294"/>
                  <a:gd name="connsiteX59" fmla="*/ 135719 w 4501379"/>
                  <a:gd name="connsiteY59" fmla="*/ 1419225 h 4429294"/>
                  <a:gd name="connsiteX60" fmla="*/ 211919 w 4501379"/>
                  <a:gd name="connsiteY60" fmla="*/ 1276350 h 4429294"/>
                  <a:gd name="connsiteX61" fmla="*/ 221444 w 4501379"/>
                  <a:gd name="connsiteY61" fmla="*/ 1247775 h 4429294"/>
                  <a:gd name="connsiteX62" fmla="*/ 250019 w 4501379"/>
                  <a:gd name="connsiteY62" fmla="*/ 1200150 h 4429294"/>
                  <a:gd name="connsiteX63" fmla="*/ 269069 w 4501379"/>
                  <a:gd name="connsiteY63" fmla="*/ 1152525 h 4429294"/>
                  <a:gd name="connsiteX64" fmla="*/ 297644 w 4501379"/>
                  <a:gd name="connsiteY64" fmla="*/ 1114425 h 4429294"/>
                  <a:gd name="connsiteX65" fmla="*/ 345269 w 4501379"/>
                  <a:gd name="connsiteY65" fmla="*/ 1038225 h 4429294"/>
                  <a:gd name="connsiteX66" fmla="*/ 364319 w 4501379"/>
                  <a:gd name="connsiteY66" fmla="*/ 1009650 h 4429294"/>
                  <a:gd name="connsiteX67" fmla="*/ 421469 w 4501379"/>
                  <a:gd name="connsiteY67" fmla="*/ 904875 h 4429294"/>
                  <a:gd name="connsiteX68" fmla="*/ 459569 w 4501379"/>
                  <a:gd name="connsiteY68" fmla="*/ 857250 h 4429294"/>
                  <a:gd name="connsiteX69" fmla="*/ 478619 w 4501379"/>
                  <a:gd name="connsiteY69" fmla="*/ 828675 h 4429294"/>
                  <a:gd name="connsiteX70" fmla="*/ 516719 w 4501379"/>
                  <a:gd name="connsiteY70" fmla="*/ 800100 h 4429294"/>
                  <a:gd name="connsiteX71" fmla="*/ 583394 w 4501379"/>
                  <a:gd name="connsiteY71" fmla="*/ 733425 h 4429294"/>
                  <a:gd name="connsiteX72" fmla="*/ 650069 w 4501379"/>
                  <a:gd name="connsiteY72" fmla="*/ 676275 h 4429294"/>
                  <a:gd name="connsiteX73" fmla="*/ 678644 w 4501379"/>
                  <a:gd name="connsiteY73" fmla="*/ 657225 h 4429294"/>
                  <a:gd name="connsiteX74" fmla="*/ 821519 w 4501379"/>
                  <a:gd name="connsiteY74" fmla="*/ 533400 h 4429294"/>
                  <a:gd name="connsiteX75" fmla="*/ 869144 w 4501379"/>
                  <a:gd name="connsiteY75" fmla="*/ 504825 h 4429294"/>
                  <a:gd name="connsiteX76" fmla="*/ 1148544 w 4501379"/>
                  <a:gd name="connsiteY76" fmla="*/ 311150 h 4429294"/>
                  <a:gd name="connsiteX77" fmla="*/ 1250144 w 4501379"/>
                  <a:gd name="connsiteY77" fmla="*/ 285750 h 4429294"/>
                  <a:gd name="connsiteX78" fmla="*/ 1393019 w 4501379"/>
                  <a:gd name="connsiteY78" fmla="*/ 190500 h 4429294"/>
                  <a:gd name="connsiteX79" fmla="*/ 1431119 w 4501379"/>
                  <a:gd name="connsiteY79" fmla="*/ 161925 h 4429294"/>
                  <a:gd name="connsiteX80" fmla="*/ 1507319 w 4501379"/>
                  <a:gd name="connsiteY80" fmla="*/ 152400 h 4429294"/>
                  <a:gd name="connsiteX81" fmla="*/ 1564469 w 4501379"/>
                  <a:gd name="connsiteY81" fmla="*/ 142875 h 4429294"/>
                  <a:gd name="connsiteX82" fmla="*/ 1697819 w 4501379"/>
                  <a:gd name="connsiteY82" fmla="*/ 123825 h 4429294"/>
                  <a:gd name="connsiteX83" fmla="*/ 1793069 w 4501379"/>
                  <a:gd name="connsiteY83" fmla="*/ 114300 h 4429294"/>
                  <a:gd name="connsiteX84" fmla="*/ 1840694 w 4501379"/>
                  <a:gd name="connsiteY84" fmla="*/ 104775 h 4429294"/>
                  <a:gd name="connsiteX85" fmla="*/ 1897844 w 4501379"/>
                  <a:gd name="connsiteY85" fmla="*/ 95250 h 4429294"/>
                  <a:gd name="connsiteX86" fmla="*/ 2012144 w 4501379"/>
                  <a:gd name="connsiteY86" fmla="*/ 66675 h 4429294"/>
                  <a:gd name="connsiteX87" fmla="*/ 2078819 w 4501379"/>
                  <a:gd name="connsiteY87" fmla="*/ 47625 h 4429294"/>
                  <a:gd name="connsiteX88" fmla="*/ 2145494 w 4501379"/>
                  <a:gd name="connsiteY8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12244 w 4501379"/>
                  <a:gd name="connsiteY2" fmla="*/ 76200 h 4429294"/>
                  <a:gd name="connsiteX3" fmla="*/ 2897969 w 4501379"/>
                  <a:gd name="connsiteY3" fmla="*/ 85725 h 4429294"/>
                  <a:gd name="connsiteX4" fmla="*/ 2955119 w 4501379"/>
                  <a:gd name="connsiteY4" fmla="*/ 114300 h 4429294"/>
                  <a:gd name="connsiteX5" fmla="*/ 2993219 w 4501379"/>
                  <a:gd name="connsiteY5" fmla="*/ 123825 h 4429294"/>
                  <a:gd name="connsiteX6" fmla="*/ 3117044 w 4501379"/>
                  <a:gd name="connsiteY6" fmla="*/ 171450 h 4429294"/>
                  <a:gd name="connsiteX7" fmla="*/ 3155144 w 4501379"/>
                  <a:gd name="connsiteY7" fmla="*/ 190500 h 4429294"/>
                  <a:gd name="connsiteX8" fmla="*/ 3221819 w 4501379"/>
                  <a:gd name="connsiteY8" fmla="*/ 228600 h 4429294"/>
                  <a:gd name="connsiteX9" fmla="*/ 3250394 w 4501379"/>
                  <a:gd name="connsiteY9" fmla="*/ 238125 h 4429294"/>
                  <a:gd name="connsiteX10" fmla="*/ 3278969 w 4501379"/>
                  <a:gd name="connsiteY10" fmla="*/ 257175 h 4429294"/>
                  <a:gd name="connsiteX11" fmla="*/ 3307544 w 4501379"/>
                  <a:gd name="connsiteY11" fmla="*/ 266700 h 4429294"/>
                  <a:gd name="connsiteX12" fmla="*/ 3336119 w 4501379"/>
                  <a:gd name="connsiteY12" fmla="*/ 285750 h 4429294"/>
                  <a:gd name="connsiteX13" fmla="*/ 3402794 w 4501379"/>
                  <a:gd name="connsiteY13" fmla="*/ 323850 h 4429294"/>
                  <a:gd name="connsiteX14" fmla="*/ 3450419 w 4501379"/>
                  <a:gd name="connsiteY14" fmla="*/ 361950 h 4429294"/>
                  <a:gd name="connsiteX15" fmla="*/ 3498044 w 4501379"/>
                  <a:gd name="connsiteY15" fmla="*/ 390525 h 4429294"/>
                  <a:gd name="connsiteX16" fmla="*/ 3612344 w 4501379"/>
                  <a:gd name="connsiteY16" fmla="*/ 485775 h 4429294"/>
                  <a:gd name="connsiteX17" fmla="*/ 3726644 w 4501379"/>
                  <a:gd name="connsiteY17" fmla="*/ 542925 h 4429294"/>
                  <a:gd name="connsiteX18" fmla="*/ 3793319 w 4501379"/>
                  <a:gd name="connsiteY18" fmla="*/ 581025 h 4429294"/>
                  <a:gd name="connsiteX19" fmla="*/ 4009219 w 4501379"/>
                  <a:gd name="connsiteY19" fmla="*/ 819150 h 4429294"/>
                  <a:gd name="connsiteX20" fmla="*/ 4145744 w 4501379"/>
                  <a:gd name="connsiteY20" fmla="*/ 990600 h 4429294"/>
                  <a:gd name="connsiteX21" fmla="*/ 4231469 w 4501379"/>
                  <a:gd name="connsiteY21" fmla="*/ 1143000 h 4429294"/>
                  <a:gd name="connsiteX22" fmla="*/ 4288619 w 4501379"/>
                  <a:gd name="connsiteY22" fmla="*/ 1266825 h 4429294"/>
                  <a:gd name="connsiteX23" fmla="*/ 4326719 w 4501379"/>
                  <a:gd name="connsiteY23" fmla="*/ 1362075 h 4429294"/>
                  <a:gd name="connsiteX24" fmla="*/ 4374344 w 4501379"/>
                  <a:gd name="connsiteY24" fmla="*/ 1552575 h 4429294"/>
                  <a:gd name="connsiteX25" fmla="*/ 4412444 w 4501379"/>
                  <a:gd name="connsiteY25" fmla="*/ 1685925 h 4429294"/>
                  <a:gd name="connsiteX26" fmla="*/ 4501344 w 4501379"/>
                  <a:gd name="connsiteY26" fmla="*/ 2181225 h 4429294"/>
                  <a:gd name="connsiteX27" fmla="*/ 4428319 w 4501379"/>
                  <a:gd name="connsiteY27" fmla="*/ 2768600 h 4429294"/>
                  <a:gd name="connsiteX28" fmla="*/ 4364819 w 4501379"/>
                  <a:gd name="connsiteY28" fmla="*/ 2990850 h 4429294"/>
                  <a:gd name="connsiteX29" fmla="*/ 4260044 w 4501379"/>
                  <a:gd name="connsiteY29" fmla="*/ 3248025 h 4429294"/>
                  <a:gd name="connsiteX30" fmla="*/ 4164794 w 4501379"/>
                  <a:gd name="connsiteY30" fmla="*/ 3400425 h 4429294"/>
                  <a:gd name="connsiteX31" fmla="*/ 4040969 w 4501379"/>
                  <a:gd name="connsiteY31" fmla="*/ 3533775 h 4429294"/>
                  <a:gd name="connsiteX32" fmla="*/ 3936194 w 4501379"/>
                  <a:gd name="connsiteY32" fmla="*/ 3648075 h 4429294"/>
                  <a:gd name="connsiteX33" fmla="*/ 3640919 w 4501379"/>
                  <a:gd name="connsiteY33" fmla="*/ 3971925 h 4429294"/>
                  <a:gd name="connsiteX34" fmla="*/ 3498044 w 4501379"/>
                  <a:gd name="connsiteY34" fmla="*/ 4083050 h 4429294"/>
                  <a:gd name="connsiteX35" fmla="*/ 3202769 w 4501379"/>
                  <a:gd name="connsiteY35" fmla="*/ 4222750 h 4429294"/>
                  <a:gd name="connsiteX36" fmla="*/ 3050369 w 4501379"/>
                  <a:gd name="connsiteY36" fmla="*/ 4286250 h 4429294"/>
                  <a:gd name="connsiteX37" fmla="*/ 2917019 w 4501379"/>
                  <a:gd name="connsiteY37" fmla="*/ 4333875 h 4429294"/>
                  <a:gd name="connsiteX38" fmla="*/ 2793194 w 4501379"/>
                  <a:gd name="connsiteY38" fmla="*/ 4371975 h 4429294"/>
                  <a:gd name="connsiteX39" fmla="*/ 2561419 w 4501379"/>
                  <a:gd name="connsiteY39" fmla="*/ 4391025 h 4429294"/>
                  <a:gd name="connsiteX40" fmla="*/ 2107394 w 4501379"/>
                  <a:gd name="connsiteY40" fmla="*/ 4429125 h 4429294"/>
                  <a:gd name="connsiteX41" fmla="*/ 1916894 w 4501379"/>
                  <a:gd name="connsiteY41" fmla="*/ 4400550 h 4429294"/>
                  <a:gd name="connsiteX42" fmla="*/ 1554944 w 4501379"/>
                  <a:gd name="connsiteY42" fmla="*/ 4305300 h 4429294"/>
                  <a:gd name="connsiteX43" fmla="*/ 1313644 w 4501379"/>
                  <a:gd name="connsiteY43" fmla="*/ 4216400 h 4429294"/>
                  <a:gd name="connsiteX44" fmla="*/ 1145369 w 4501379"/>
                  <a:gd name="connsiteY44" fmla="*/ 4111625 h 4429294"/>
                  <a:gd name="connsiteX45" fmla="*/ 926294 w 4501379"/>
                  <a:gd name="connsiteY45" fmla="*/ 3968750 h 4429294"/>
                  <a:gd name="connsiteX46" fmla="*/ 592919 w 4501379"/>
                  <a:gd name="connsiteY46" fmla="*/ 3657600 h 4429294"/>
                  <a:gd name="connsiteX47" fmla="*/ 446869 w 4501379"/>
                  <a:gd name="connsiteY47" fmla="*/ 3470275 h 4429294"/>
                  <a:gd name="connsiteX48" fmla="*/ 316694 w 4501379"/>
                  <a:gd name="connsiteY48" fmla="*/ 3244850 h 4429294"/>
                  <a:gd name="connsiteX49" fmla="*/ 164294 w 4501379"/>
                  <a:gd name="connsiteY49" fmla="*/ 2892425 h 4429294"/>
                  <a:gd name="connsiteX50" fmla="*/ 56344 w 4501379"/>
                  <a:gd name="connsiteY50" fmla="*/ 2368550 h 4429294"/>
                  <a:gd name="connsiteX51" fmla="*/ 2369 w 4501379"/>
                  <a:gd name="connsiteY51" fmla="*/ 1905000 h 4429294"/>
                  <a:gd name="connsiteX52" fmla="*/ 11894 w 4501379"/>
                  <a:gd name="connsiteY52" fmla="*/ 1838325 h 4429294"/>
                  <a:gd name="connsiteX53" fmla="*/ 30944 w 4501379"/>
                  <a:gd name="connsiteY53" fmla="*/ 1781175 h 4429294"/>
                  <a:gd name="connsiteX54" fmla="*/ 40469 w 4501379"/>
                  <a:gd name="connsiteY54" fmla="*/ 1743075 h 4429294"/>
                  <a:gd name="connsiteX55" fmla="*/ 59519 w 4501379"/>
                  <a:gd name="connsiteY55" fmla="*/ 1685925 h 4429294"/>
                  <a:gd name="connsiteX56" fmla="*/ 69044 w 4501379"/>
                  <a:gd name="connsiteY56" fmla="*/ 1638300 h 4429294"/>
                  <a:gd name="connsiteX57" fmla="*/ 88094 w 4501379"/>
                  <a:gd name="connsiteY57" fmla="*/ 1590675 h 4429294"/>
                  <a:gd name="connsiteX58" fmla="*/ 116669 w 4501379"/>
                  <a:gd name="connsiteY58" fmla="*/ 1504950 h 4429294"/>
                  <a:gd name="connsiteX59" fmla="*/ 135719 w 4501379"/>
                  <a:gd name="connsiteY59" fmla="*/ 1419225 h 4429294"/>
                  <a:gd name="connsiteX60" fmla="*/ 211919 w 4501379"/>
                  <a:gd name="connsiteY60" fmla="*/ 1276350 h 4429294"/>
                  <a:gd name="connsiteX61" fmla="*/ 221444 w 4501379"/>
                  <a:gd name="connsiteY61" fmla="*/ 1247775 h 4429294"/>
                  <a:gd name="connsiteX62" fmla="*/ 250019 w 4501379"/>
                  <a:gd name="connsiteY62" fmla="*/ 1200150 h 4429294"/>
                  <a:gd name="connsiteX63" fmla="*/ 269069 w 4501379"/>
                  <a:gd name="connsiteY63" fmla="*/ 1152525 h 4429294"/>
                  <a:gd name="connsiteX64" fmla="*/ 297644 w 4501379"/>
                  <a:gd name="connsiteY64" fmla="*/ 1114425 h 4429294"/>
                  <a:gd name="connsiteX65" fmla="*/ 345269 w 4501379"/>
                  <a:gd name="connsiteY65" fmla="*/ 1038225 h 4429294"/>
                  <a:gd name="connsiteX66" fmla="*/ 364319 w 4501379"/>
                  <a:gd name="connsiteY66" fmla="*/ 1009650 h 4429294"/>
                  <a:gd name="connsiteX67" fmla="*/ 421469 w 4501379"/>
                  <a:gd name="connsiteY67" fmla="*/ 904875 h 4429294"/>
                  <a:gd name="connsiteX68" fmla="*/ 459569 w 4501379"/>
                  <a:gd name="connsiteY68" fmla="*/ 857250 h 4429294"/>
                  <a:gd name="connsiteX69" fmla="*/ 478619 w 4501379"/>
                  <a:gd name="connsiteY69" fmla="*/ 828675 h 4429294"/>
                  <a:gd name="connsiteX70" fmla="*/ 516719 w 4501379"/>
                  <a:gd name="connsiteY70" fmla="*/ 800100 h 4429294"/>
                  <a:gd name="connsiteX71" fmla="*/ 583394 w 4501379"/>
                  <a:gd name="connsiteY71" fmla="*/ 733425 h 4429294"/>
                  <a:gd name="connsiteX72" fmla="*/ 650069 w 4501379"/>
                  <a:gd name="connsiteY72" fmla="*/ 676275 h 4429294"/>
                  <a:gd name="connsiteX73" fmla="*/ 678644 w 4501379"/>
                  <a:gd name="connsiteY73" fmla="*/ 657225 h 4429294"/>
                  <a:gd name="connsiteX74" fmla="*/ 821519 w 4501379"/>
                  <a:gd name="connsiteY74" fmla="*/ 533400 h 4429294"/>
                  <a:gd name="connsiteX75" fmla="*/ 869144 w 4501379"/>
                  <a:gd name="connsiteY75" fmla="*/ 504825 h 4429294"/>
                  <a:gd name="connsiteX76" fmla="*/ 1148544 w 4501379"/>
                  <a:gd name="connsiteY76" fmla="*/ 311150 h 4429294"/>
                  <a:gd name="connsiteX77" fmla="*/ 1250144 w 4501379"/>
                  <a:gd name="connsiteY77" fmla="*/ 285750 h 4429294"/>
                  <a:gd name="connsiteX78" fmla="*/ 1393019 w 4501379"/>
                  <a:gd name="connsiteY78" fmla="*/ 190500 h 4429294"/>
                  <a:gd name="connsiteX79" fmla="*/ 1431119 w 4501379"/>
                  <a:gd name="connsiteY79" fmla="*/ 161925 h 4429294"/>
                  <a:gd name="connsiteX80" fmla="*/ 1507319 w 4501379"/>
                  <a:gd name="connsiteY80" fmla="*/ 152400 h 4429294"/>
                  <a:gd name="connsiteX81" fmla="*/ 1564469 w 4501379"/>
                  <a:gd name="connsiteY81" fmla="*/ 142875 h 4429294"/>
                  <a:gd name="connsiteX82" fmla="*/ 1697819 w 4501379"/>
                  <a:gd name="connsiteY82" fmla="*/ 123825 h 4429294"/>
                  <a:gd name="connsiteX83" fmla="*/ 1793069 w 4501379"/>
                  <a:gd name="connsiteY83" fmla="*/ 114300 h 4429294"/>
                  <a:gd name="connsiteX84" fmla="*/ 1840694 w 4501379"/>
                  <a:gd name="connsiteY84" fmla="*/ 104775 h 4429294"/>
                  <a:gd name="connsiteX85" fmla="*/ 1897844 w 4501379"/>
                  <a:gd name="connsiteY85" fmla="*/ 95250 h 4429294"/>
                  <a:gd name="connsiteX86" fmla="*/ 2012144 w 4501379"/>
                  <a:gd name="connsiteY86" fmla="*/ 66675 h 4429294"/>
                  <a:gd name="connsiteX87" fmla="*/ 2078819 w 4501379"/>
                  <a:gd name="connsiteY87" fmla="*/ 47625 h 4429294"/>
                  <a:gd name="connsiteX88" fmla="*/ 2145494 w 4501379"/>
                  <a:gd name="connsiteY8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2955119 w 4501379"/>
                  <a:gd name="connsiteY3" fmla="*/ 114300 h 4429294"/>
                  <a:gd name="connsiteX4" fmla="*/ 2993219 w 4501379"/>
                  <a:gd name="connsiteY4" fmla="*/ 123825 h 4429294"/>
                  <a:gd name="connsiteX5" fmla="*/ 3117044 w 4501379"/>
                  <a:gd name="connsiteY5" fmla="*/ 171450 h 4429294"/>
                  <a:gd name="connsiteX6" fmla="*/ 3155144 w 4501379"/>
                  <a:gd name="connsiteY6" fmla="*/ 190500 h 4429294"/>
                  <a:gd name="connsiteX7" fmla="*/ 3221819 w 4501379"/>
                  <a:gd name="connsiteY7" fmla="*/ 228600 h 4429294"/>
                  <a:gd name="connsiteX8" fmla="*/ 3250394 w 4501379"/>
                  <a:gd name="connsiteY8" fmla="*/ 238125 h 4429294"/>
                  <a:gd name="connsiteX9" fmla="*/ 3278969 w 4501379"/>
                  <a:gd name="connsiteY9" fmla="*/ 257175 h 4429294"/>
                  <a:gd name="connsiteX10" fmla="*/ 3307544 w 4501379"/>
                  <a:gd name="connsiteY10" fmla="*/ 266700 h 4429294"/>
                  <a:gd name="connsiteX11" fmla="*/ 3336119 w 4501379"/>
                  <a:gd name="connsiteY11" fmla="*/ 285750 h 4429294"/>
                  <a:gd name="connsiteX12" fmla="*/ 3402794 w 4501379"/>
                  <a:gd name="connsiteY12" fmla="*/ 323850 h 4429294"/>
                  <a:gd name="connsiteX13" fmla="*/ 3450419 w 4501379"/>
                  <a:gd name="connsiteY13" fmla="*/ 361950 h 4429294"/>
                  <a:gd name="connsiteX14" fmla="*/ 3498044 w 4501379"/>
                  <a:gd name="connsiteY14" fmla="*/ 390525 h 4429294"/>
                  <a:gd name="connsiteX15" fmla="*/ 3612344 w 4501379"/>
                  <a:gd name="connsiteY15" fmla="*/ 485775 h 4429294"/>
                  <a:gd name="connsiteX16" fmla="*/ 3726644 w 4501379"/>
                  <a:gd name="connsiteY16" fmla="*/ 542925 h 4429294"/>
                  <a:gd name="connsiteX17" fmla="*/ 3793319 w 4501379"/>
                  <a:gd name="connsiteY17" fmla="*/ 581025 h 4429294"/>
                  <a:gd name="connsiteX18" fmla="*/ 4009219 w 4501379"/>
                  <a:gd name="connsiteY18" fmla="*/ 819150 h 4429294"/>
                  <a:gd name="connsiteX19" fmla="*/ 4145744 w 4501379"/>
                  <a:gd name="connsiteY19" fmla="*/ 990600 h 4429294"/>
                  <a:gd name="connsiteX20" fmla="*/ 4231469 w 4501379"/>
                  <a:gd name="connsiteY20" fmla="*/ 1143000 h 4429294"/>
                  <a:gd name="connsiteX21" fmla="*/ 4288619 w 4501379"/>
                  <a:gd name="connsiteY21" fmla="*/ 1266825 h 4429294"/>
                  <a:gd name="connsiteX22" fmla="*/ 4326719 w 4501379"/>
                  <a:gd name="connsiteY22" fmla="*/ 1362075 h 4429294"/>
                  <a:gd name="connsiteX23" fmla="*/ 4374344 w 4501379"/>
                  <a:gd name="connsiteY23" fmla="*/ 1552575 h 4429294"/>
                  <a:gd name="connsiteX24" fmla="*/ 4412444 w 4501379"/>
                  <a:gd name="connsiteY24" fmla="*/ 1685925 h 4429294"/>
                  <a:gd name="connsiteX25" fmla="*/ 4501344 w 4501379"/>
                  <a:gd name="connsiteY25" fmla="*/ 2181225 h 4429294"/>
                  <a:gd name="connsiteX26" fmla="*/ 4428319 w 4501379"/>
                  <a:gd name="connsiteY26" fmla="*/ 2768600 h 4429294"/>
                  <a:gd name="connsiteX27" fmla="*/ 4364819 w 4501379"/>
                  <a:gd name="connsiteY27" fmla="*/ 2990850 h 4429294"/>
                  <a:gd name="connsiteX28" fmla="*/ 4260044 w 4501379"/>
                  <a:gd name="connsiteY28" fmla="*/ 3248025 h 4429294"/>
                  <a:gd name="connsiteX29" fmla="*/ 4164794 w 4501379"/>
                  <a:gd name="connsiteY29" fmla="*/ 3400425 h 4429294"/>
                  <a:gd name="connsiteX30" fmla="*/ 4040969 w 4501379"/>
                  <a:gd name="connsiteY30" fmla="*/ 3533775 h 4429294"/>
                  <a:gd name="connsiteX31" fmla="*/ 3936194 w 4501379"/>
                  <a:gd name="connsiteY31" fmla="*/ 3648075 h 4429294"/>
                  <a:gd name="connsiteX32" fmla="*/ 3640919 w 4501379"/>
                  <a:gd name="connsiteY32" fmla="*/ 3971925 h 4429294"/>
                  <a:gd name="connsiteX33" fmla="*/ 3498044 w 4501379"/>
                  <a:gd name="connsiteY33" fmla="*/ 4083050 h 4429294"/>
                  <a:gd name="connsiteX34" fmla="*/ 3202769 w 4501379"/>
                  <a:gd name="connsiteY34" fmla="*/ 4222750 h 4429294"/>
                  <a:gd name="connsiteX35" fmla="*/ 3050369 w 4501379"/>
                  <a:gd name="connsiteY35" fmla="*/ 4286250 h 4429294"/>
                  <a:gd name="connsiteX36" fmla="*/ 2917019 w 4501379"/>
                  <a:gd name="connsiteY36" fmla="*/ 4333875 h 4429294"/>
                  <a:gd name="connsiteX37" fmla="*/ 2793194 w 4501379"/>
                  <a:gd name="connsiteY37" fmla="*/ 4371975 h 4429294"/>
                  <a:gd name="connsiteX38" fmla="*/ 2561419 w 4501379"/>
                  <a:gd name="connsiteY38" fmla="*/ 4391025 h 4429294"/>
                  <a:gd name="connsiteX39" fmla="*/ 2107394 w 4501379"/>
                  <a:gd name="connsiteY39" fmla="*/ 4429125 h 4429294"/>
                  <a:gd name="connsiteX40" fmla="*/ 1916894 w 4501379"/>
                  <a:gd name="connsiteY40" fmla="*/ 4400550 h 4429294"/>
                  <a:gd name="connsiteX41" fmla="*/ 1554944 w 4501379"/>
                  <a:gd name="connsiteY41" fmla="*/ 4305300 h 4429294"/>
                  <a:gd name="connsiteX42" fmla="*/ 1313644 w 4501379"/>
                  <a:gd name="connsiteY42" fmla="*/ 4216400 h 4429294"/>
                  <a:gd name="connsiteX43" fmla="*/ 1145369 w 4501379"/>
                  <a:gd name="connsiteY43" fmla="*/ 4111625 h 4429294"/>
                  <a:gd name="connsiteX44" fmla="*/ 926294 w 4501379"/>
                  <a:gd name="connsiteY44" fmla="*/ 3968750 h 4429294"/>
                  <a:gd name="connsiteX45" fmla="*/ 592919 w 4501379"/>
                  <a:gd name="connsiteY45" fmla="*/ 3657600 h 4429294"/>
                  <a:gd name="connsiteX46" fmla="*/ 446869 w 4501379"/>
                  <a:gd name="connsiteY46" fmla="*/ 3470275 h 4429294"/>
                  <a:gd name="connsiteX47" fmla="*/ 316694 w 4501379"/>
                  <a:gd name="connsiteY47" fmla="*/ 3244850 h 4429294"/>
                  <a:gd name="connsiteX48" fmla="*/ 164294 w 4501379"/>
                  <a:gd name="connsiteY48" fmla="*/ 2892425 h 4429294"/>
                  <a:gd name="connsiteX49" fmla="*/ 56344 w 4501379"/>
                  <a:gd name="connsiteY49" fmla="*/ 2368550 h 4429294"/>
                  <a:gd name="connsiteX50" fmla="*/ 2369 w 4501379"/>
                  <a:gd name="connsiteY50" fmla="*/ 1905000 h 4429294"/>
                  <a:gd name="connsiteX51" fmla="*/ 11894 w 4501379"/>
                  <a:gd name="connsiteY51" fmla="*/ 1838325 h 4429294"/>
                  <a:gd name="connsiteX52" fmla="*/ 30944 w 4501379"/>
                  <a:gd name="connsiteY52" fmla="*/ 1781175 h 4429294"/>
                  <a:gd name="connsiteX53" fmla="*/ 40469 w 4501379"/>
                  <a:gd name="connsiteY53" fmla="*/ 1743075 h 4429294"/>
                  <a:gd name="connsiteX54" fmla="*/ 59519 w 4501379"/>
                  <a:gd name="connsiteY54" fmla="*/ 1685925 h 4429294"/>
                  <a:gd name="connsiteX55" fmla="*/ 69044 w 4501379"/>
                  <a:gd name="connsiteY55" fmla="*/ 1638300 h 4429294"/>
                  <a:gd name="connsiteX56" fmla="*/ 88094 w 4501379"/>
                  <a:gd name="connsiteY56" fmla="*/ 1590675 h 4429294"/>
                  <a:gd name="connsiteX57" fmla="*/ 116669 w 4501379"/>
                  <a:gd name="connsiteY57" fmla="*/ 1504950 h 4429294"/>
                  <a:gd name="connsiteX58" fmla="*/ 135719 w 4501379"/>
                  <a:gd name="connsiteY58" fmla="*/ 1419225 h 4429294"/>
                  <a:gd name="connsiteX59" fmla="*/ 211919 w 4501379"/>
                  <a:gd name="connsiteY59" fmla="*/ 1276350 h 4429294"/>
                  <a:gd name="connsiteX60" fmla="*/ 221444 w 4501379"/>
                  <a:gd name="connsiteY60" fmla="*/ 1247775 h 4429294"/>
                  <a:gd name="connsiteX61" fmla="*/ 250019 w 4501379"/>
                  <a:gd name="connsiteY61" fmla="*/ 1200150 h 4429294"/>
                  <a:gd name="connsiteX62" fmla="*/ 269069 w 4501379"/>
                  <a:gd name="connsiteY62" fmla="*/ 1152525 h 4429294"/>
                  <a:gd name="connsiteX63" fmla="*/ 297644 w 4501379"/>
                  <a:gd name="connsiteY63" fmla="*/ 1114425 h 4429294"/>
                  <a:gd name="connsiteX64" fmla="*/ 345269 w 4501379"/>
                  <a:gd name="connsiteY64" fmla="*/ 1038225 h 4429294"/>
                  <a:gd name="connsiteX65" fmla="*/ 364319 w 4501379"/>
                  <a:gd name="connsiteY65" fmla="*/ 1009650 h 4429294"/>
                  <a:gd name="connsiteX66" fmla="*/ 421469 w 4501379"/>
                  <a:gd name="connsiteY66" fmla="*/ 904875 h 4429294"/>
                  <a:gd name="connsiteX67" fmla="*/ 459569 w 4501379"/>
                  <a:gd name="connsiteY67" fmla="*/ 857250 h 4429294"/>
                  <a:gd name="connsiteX68" fmla="*/ 478619 w 4501379"/>
                  <a:gd name="connsiteY68" fmla="*/ 828675 h 4429294"/>
                  <a:gd name="connsiteX69" fmla="*/ 516719 w 4501379"/>
                  <a:gd name="connsiteY69" fmla="*/ 800100 h 4429294"/>
                  <a:gd name="connsiteX70" fmla="*/ 583394 w 4501379"/>
                  <a:gd name="connsiteY70" fmla="*/ 733425 h 4429294"/>
                  <a:gd name="connsiteX71" fmla="*/ 650069 w 4501379"/>
                  <a:gd name="connsiteY71" fmla="*/ 676275 h 4429294"/>
                  <a:gd name="connsiteX72" fmla="*/ 678644 w 4501379"/>
                  <a:gd name="connsiteY72" fmla="*/ 657225 h 4429294"/>
                  <a:gd name="connsiteX73" fmla="*/ 821519 w 4501379"/>
                  <a:gd name="connsiteY73" fmla="*/ 533400 h 4429294"/>
                  <a:gd name="connsiteX74" fmla="*/ 869144 w 4501379"/>
                  <a:gd name="connsiteY74" fmla="*/ 504825 h 4429294"/>
                  <a:gd name="connsiteX75" fmla="*/ 1148544 w 4501379"/>
                  <a:gd name="connsiteY75" fmla="*/ 311150 h 4429294"/>
                  <a:gd name="connsiteX76" fmla="*/ 1250144 w 4501379"/>
                  <a:gd name="connsiteY76" fmla="*/ 285750 h 4429294"/>
                  <a:gd name="connsiteX77" fmla="*/ 1393019 w 4501379"/>
                  <a:gd name="connsiteY77" fmla="*/ 190500 h 4429294"/>
                  <a:gd name="connsiteX78" fmla="*/ 1431119 w 4501379"/>
                  <a:gd name="connsiteY78" fmla="*/ 161925 h 4429294"/>
                  <a:gd name="connsiteX79" fmla="*/ 1507319 w 4501379"/>
                  <a:gd name="connsiteY79" fmla="*/ 152400 h 4429294"/>
                  <a:gd name="connsiteX80" fmla="*/ 1564469 w 4501379"/>
                  <a:gd name="connsiteY80" fmla="*/ 142875 h 4429294"/>
                  <a:gd name="connsiteX81" fmla="*/ 1697819 w 4501379"/>
                  <a:gd name="connsiteY81" fmla="*/ 123825 h 4429294"/>
                  <a:gd name="connsiteX82" fmla="*/ 1793069 w 4501379"/>
                  <a:gd name="connsiteY82" fmla="*/ 114300 h 4429294"/>
                  <a:gd name="connsiteX83" fmla="*/ 1840694 w 4501379"/>
                  <a:gd name="connsiteY83" fmla="*/ 104775 h 4429294"/>
                  <a:gd name="connsiteX84" fmla="*/ 1897844 w 4501379"/>
                  <a:gd name="connsiteY84" fmla="*/ 95250 h 4429294"/>
                  <a:gd name="connsiteX85" fmla="*/ 2012144 w 4501379"/>
                  <a:gd name="connsiteY85" fmla="*/ 66675 h 4429294"/>
                  <a:gd name="connsiteX86" fmla="*/ 2078819 w 4501379"/>
                  <a:gd name="connsiteY86" fmla="*/ 47625 h 4429294"/>
                  <a:gd name="connsiteX87" fmla="*/ 2145494 w 4501379"/>
                  <a:gd name="connsiteY87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2955119 w 4501379"/>
                  <a:gd name="connsiteY3" fmla="*/ 114300 h 4429294"/>
                  <a:gd name="connsiteX4" fmla="*/ 3117044 w 4501379"/>
                  <a:gd name="connsiteY4" fmla="*/ 171450 h 4429294"/>
                  <a:gd name="connsiteX5" fmla="*/ 3155144 w 4501379"/>
                  <a:gd name="connsiteY5" fmla="*/ 190500 h 4429294"/>
                  <a:gd name="connsiteX6" fmla="*/ 3221819 w 4501379"/>
                  <a:gd name="connsiteY6" fmla="*/ 228600 h 4429294"/>
                  <a:gd name="connsiteX7" fmla="*/ 3250394 w 4501379"/>
                  <a:gd name="connsiteY7" fmla="*/ 238125 h 4429294"/>
                  <a:gd name="connsiteX8" fmla="*/ 3278969 w 4501379"/>
                  <a:gd name="connsiteY8" fmla="*/ 257175 h 4429294"/>
                  <a:gd name="connsiteX9" fmla="*/ 3307544 w 4501379"/>
                  <a:gd name="connsiteY9" fmla="*/ 266700 h 4429294"/>
                  <a:gd name="connsiteX10" fmla="*/ 3336119 w 4501379"/>
                  <a:gd name="connsiteY10" fmla="*/ 285750 h 4429294"/>
                  <a:gd name="connsiteX11" fmla="*/ 3402794 w 4501379"/>
                  <a:gd name="connsiteY11" fmla="*/ 323850 h 4429294"/>
                  <a:gd name="connsiteX12" fmla="*/ 3450419 w 4501379"/>
                  <a:gd name="connsiteY12" fmla="*/ 361950 h 4429294"/>
                  <a:gd name="connsiteX13" fmla="*/ 3498044 w 4501379"/>
                  <a:gd name="connsiteY13" fmla="*/ 390525 h 4429294"/>
                  <a:gd name="connsiteX14" fmla="*/ 3612344 w 4501379"/>
                  <a:gd name="connsiteY14" fmla="*/ 485775 h 4429294"/>
                  <a:gd name="connsiteX15" fmla="*/ 3726644 w 4501379"/>
                  <a:gd name="connsiteY15" fmla="*/ 542925 h 4429294"/>
                  <a:gd name="connsiteX16" fmla="*/ 3793319 w 4501379"/>
                  <a:gd name="connsiteY16" fmla="*/ 581025 h 4429294"/>
                  <a:gd name="connsiteX17" fmla="*/ 4009219 w 4501379"/>
                  <a:gd name="connsiteY17" fmla="*/ 819150 h 4429294"/>
                  <a:gd name="connsiteX18" fmla="*/ 4145744 w 4501379"/>
                  <a:gd name="connsiteY18" fmla="*/ 990600 h 4429294"/>
                  <a:gd name="connsiteX19" fmla="*/ 4231469 w 4501379"/>
                  <a:gd name="connsiteY19" fmla="*/ 1143000 h 4429294"/>
                  <a:gd name="connsiteX20" fmla="*/ 4288619 w 4501379"/>
                  <a:gd name="connsiteY20" fmla="*/ 1266825 h 4429294"/>
                  <a:gd name="connsiteX21" fmla="*/ 4326719 w 4501379"/>
                  <a:gd name="connsiteY21" fmla="*/ 1362075 h 4429294"/>
                  <a:gd name="connsiteX22" fmla="*/ 4374344 w 4501379"/>
                  <a:gd name="connsiteY22" fmla="*/ 1552575 h 4429294"/>
                  <a:gd name="connsiteX23" fmla="*/ 4412444 w 4501379"/>
                  <a:gd name="connsiteY23" fmla="*/ 1685925 h 4429294"/>
                  <a:gd name="connsiteX24" fmla="*/ 4501344 w 4501379"/>
                  <a:gd name="connsiteY24" fmla="*/ 2181225 h 4429294"/>
                  <a:gd name="connsiteX25" fmla="*/ 4428319 w 4501379"/>
                  <a:gd name="connsiteY25" fmla="*/ 2768600 h 4429294"/>
                  <a:gd name="connsiteX26" fmla="*/ 4364819 w 4501379"/>
                  <a:gd name="connsiteY26" fmla="*/ 2990850 h 4429294"/>
                  <a:gd name="connsiteX27" fmla="*/ 4260044 w 4501379"/>
                  <a:gd name="connsiteY27" fmla="*/ 3248025 h 4429294"/>
                  <a:gd name="connsiteX28" fmla="*/ 4164794 w 4501379"/>
                  <a:gd name="connsiteY28" fmla="*/ 3400425 h 4429294"/>
                  <a:gd name="connsiteX29" fmla="*/ 4040969 w 4501379"/>
                  <a:gd name="connsiteY29" fmla="*/ 3533775 h 4429294"/>
                  <a:gd name="connsiteX30" fmla="*/ 3936194 w 4501379"/>
                  <a:gd name="connsiteY30" fmla="*/ 3648075 h 4429294"/>
                  <a:gd name="connsiteX31" fmla="*/ 3640919 w 4501379"/>
                  <a:gd name="connsiteY31" fmla="*/ 3971925 h 4429294"/>
                  <a:gd name="connsiteX32" fmla="*/ 3498044 w 4501379"/>
                  <a:gd name="connsiteY32" fmla="*/ 4083050 h 4429294"/>
                  <a:gd name="connsiteX33" fmla="*/ 3202769 w 4501379"/>
                  <a:gd name="connsiteY33" fmla="*/ 4222750 h 4429294"/>
                  <a:gd name="connsiteX34" fmla="*/ 3050369 w 4501379"/>
                  <a:gd name="connsiteY34" fmla="*/ 4286250 h 4429294"/>
                  <a:gd name="connsiteX35" fmla="*/ 2917019 w 4501379"/>
                  <a:gd name="connsiteY35" fmla="*/ 4333875 h 4429294"/>
                  <a:gd name="connsiteX36" fmla="*/ 2793194 w 4501379"/>
                  <a:gd name="connsiteY36" fmla="*/ 4371975 h 4429294"/>
                  <a:gd name="connsiteX37" fmla="*/ 2561419 w 4501379"/>
                  <a:gd name="connsiteY37" fmla="*/ 4391025 h 4429294"/>
                  <a:gd name="connsiteX38" fmla="*/ 2107394 w 4501379"/>
                  <a:gd name="connsiteY38" fmla="*/ 4429125 h 4429294"/>
                  <a:gd name="connsiteX39" fmla="*/ 1916894 w 4501379"/>
                  <a:gd name="connsiteY39" fmla="*/ 4400550 h 4429294"/>
                  <a:gd name="connsiteX40" fmla="*/ 1554944 w 4501379"/>
                  <a:gd name="connsiteY40" fmla="*/ 4305300 h 4429294"/>
                  <a:gd name="connsiteX41" fmla="*/ 1313644 w 4501379"/>
                  <a:gd name="connsiteY41" fmla="*/ 4216400 h 4429294"/>
                  <a:gd name="connsiteX42" fmla="*/ 1145369 w 4501379"/>
                  <a:gd name="connsiteY42" fmla="*/ 4111625 h 4429294"/>
                  <a:gd name="connsiteX43" fmla="*/ 926294 w 4501379"/>
                  <a:gd name="connsiteY43" fmla="*/ 3968750 h 4429294"/>
                  <a:gd name="connsiteX44" fmla="*/ 592919 w 4501379"/>
                  <a:gd name="connsiteY44" fmla="*/ 3657600 h 4429294"/>
                  <a:gd name="connsiteX45" fmla="*/ 446869 w 4501379"/>
                  <a:gd name="connsiteY45" fmla="*/ 3470275 h 4429294"/>
                  <a:gd name="connsiteX46" fmla="*/ 316694 w 4501379"/>
                  <a:gd name="connsiteY46" fmla="*/ 3244850 h 4429294"/>
                  <a:gd name="connsiteX47" fmla="*/ 164294 w 4501379"/>
                  <a:gd name="connsiteY47" fmla="*/ 2892425 h 4429294"/>
                  <a:gd name="connsiteX48" fmla="*/ 56344 w 4501379"/>
                  <a:gd name="connsiteY48" fmla="*/ 2368550 h 4429294"/>
                  <a:gd name="connsiteX49" fmla="*/ 2369 w 4501379"/>
                  <a:gd name="connsiteY49" fmla="*/ 1905000 h 4429294"/>
                  <a:gd name="connsiteX50" fmla="*/ 11894 w 4501379"/>
                  <a:gd name="connsiteY50" fmla="*/ 1838325 h 4429294"/>
                  <a:gd name="connsiteX51" fmla="*/ 30944 w 4501379"/>
                  <a:gd name="connsiteY51" fmla="*/ 1781175 h 4429294"/>
                  <a:gd name="connsiteX52" fmla="*/ 40469 w 4501379"/>
                  <a:gd name="connsiteY52" fmla="*/ 1743075 h 4429294"/>
                  <a:gd name="connsiteX53" fmla="*/ 59519 w 4501379"/>
                  <a:gd name="connsiteY53" fmla="*/ 1685925 h 4429294"/>
                  <a:gd name="connsiteX54" fmla="*/ 69044 w 4501379"/>
                  <a:gd name="connsiteY54" fmla="*/ 1638300 h 4429294"/>
                  <a:gd name="connsiteX55" fmla="*/ 88094 w 4501379"/>
                  <a:gd name="connsiteY55" fmla="*/ 1590675 h 4429294"/>
                  <a:gd name="connsiteX56" fmla="*/ 116669 w 4501379"/>
                  <a:gd name="connsiteY56" fmla="*/ 1504950 h 4429294"/>
                  <a:gd name="connsiteX57" fmla="*/ 135719 w 4501379"/>
                  <a:gd name="connsiteY57" fmla="*/ 1419225 h 4429294"/>
                  <a:gd name="connsiteX58" fmla="*/ 211919 w 4501379"/>
                  <a:gd name="connsiteY58" fmla="*/ 1276350 h 4429294"/>
                  <a:gd name="connsiteX59" fmla="*/ 221444 w 4501379"/>
                  <a:gd name="connsiteY59" fmla="*/ 1247775 h 4429294"/>
                  <a:gd name="connsiteX60" fmla="*/ 250019 w 4501379"/>
                  <a:gd name="connsiteY60" fmla="*/ 1200150 h 4429294"/>
                  <a:gd name="connsiteX61" fmla="*/ 269069 w 4501379"/>
                  <a:gd name="connsiteY61" fmla="*/ 1152525 h 4429294"/>
                  <a:gd name="connsiteX62" fmla="*/ 297644 w 4501379"/>
                  <a:gd name="connsiteY62" fmla="*/ 1114425 h 4429294"/>
                  <a:gd name="connsiteX63" fmla="*/ 345269 w 4501379"/>
                  <a:gd name="connsiteY63" fmla="*/ 1038225 h 4429294"/>
                  <a:gd name="connsiteX64" fmla="*/ 364319 w 4501379"/>
                  <a:gd name="connsiteY64" fmla="*/ 1009650 h 4429294"/>
                  <a:gd name="connsiteX65" fmla="*/ 421469 w 4501379"/>
                  <a:gd name="connsiteY65" fmla="*/ 904875 h 4429294"/>
                  <a:gd name="connsiteX66" fmla="*/ 459569 w 4501379"/>
                  <a:gd name="connsiteY66" fmla="*/ 857250 h 4429294"/>
                  <a:gd name="connsiteX67" fmla="*/ 478619 w 4501379"/>
                  <a:gd name="connsiteY67" fmla="*/ 828675 h 4429294"/>
                  <a:gd name="connsiteX68" fmla="*/ 516719 w 4501379"/>
                  <a:gd name="connsiteY68" fmla="*/ 800100 h 4429294"/>
                  <a:gd name="connsiteX69" fmla="*/ 583394 w 4501379"/>
                  <a:gd name="connsiteY69" fmla="*/ 733425 h 4429294"/>
                  <a:gd name="connsiteX70" fmla="*/ 650069 w 4501379"/>
                  <a:gd name="connsiteY70" fmla="*/ 676275 h 4429294"/>
                  <a:gd name="connsiteX71" fmla="*/ 678644 w 4501379"/>
                  <a:gd name="connsiteY71" fmla="*/ 657225 h 4429294"/>
                  <a:gd name="connsiteX72" fmla="*/ 821519 w 4501379"/>
                  <a:gd name="connsiteY72" fmla="*/ 533400 h 4429294"/>
                  <a:gd name="connsiteX73" fmla="*/ 869144 w 4501379"/>
                  <a:gd name="connsiteY73" fmla="*/ 504825 h 4429294"/>
                  <a:gd name="connsiteX74" fmla="*/ 1148544 w 4501379"/>
                  <a:gd name="connsiteY74" fmla="*/ 311150 h 4429294"/>
                  <a:gd name="connsiteX75" fmla="*/ 1250144 w 4501379"/>
                  <a:gd name="connsiteY75" fmla="*/ 285750 h 4429294"/>
                  <a:gd name="connsiteX76" fmla="*/ 1393019 w 4501379"/>
                  <a:gd name="connsiteY76" fmla="*/ 190500 h 4429294"/>
                  <a:gd name="connsiteX77" fmla="*/ 1431119 w 4501379"/>
                  <a:gd name="connsiteY77" fmla="*/ 161925 h 4429294"/>
                  <a:gd name="connsiteX78" fmla="*/ 1507319 w 4501379"/>
                  <a:gd name="connsiteY78" fmla="*/ 152400 h 4429294"/>
                  <a:gd name="connsiteX79" fmla="*/ 1564469 w 4501379"/>
                  <a:gd name="connsiteY79" fmla="*/ 142875 h 4429294"/>
                  <a:gd name="connsiteX80" fmla="*/ 1697819 w 4501379"/>
                  <a:gd name="connsiteY80" fmla="*/ 123825 h 4429294"/>
                  <a:gd name="connsiteX81" fmla="*/ 1793069 w 4501379"/>
                  <a:gd name="connsiteY81" fmla="*/ 114300 h 4429294"/>
                  <a:gd name="connsiteX82" fmla="*/ 1840694 w 4501379"/>
                  <a:gd name="connsiteY82" fmla="*/ 104775 h 4429294"/>
                  <a:gd name="connsiteX83" fmla="*/ 1897844 w 4501379"/>
                  <a:gd name="connsiteY83" fmla="*/ 95250 h 4429294"/>
                  <a:gd name="connsiteX84" fmla="*/ 2012144 w 4501379"/>
                  <a:gd name="connsiteY84" fmla="*/ 66675 h 4429294"/>
                  <a:gd name="connsiteX85" fmla="*/ 2078819 w 4501379"/>
                  <a:gd name="connsiteY85" fmla="*/ 47625 h 4429294"/>
                  <a:gd name="connsiteX86" fmla="*/ 2145494 w 4501379"/>
                  <a:gd name="connsiteY86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155144 w 4501379"/>
                  <a:gd name="connsiteY4" fmla="*/ 190500 h 4429294"/>
                  <a:gd name="connsiteX5" fmla="*/ 3221819 w 4501379"/>
                  <a:gd name="connsiteY5" fmla="*/ 228600 h 4429294"/>
                  <a:gd name="connsiteX6" fmla="*/ 3250394 w 4501379"/>
                  <a:gd name="connsiteY6" fmla="*/ 238125 h 4429294"/>
                  <a:gd name="connsiteX7" fmla="*/ 3278969 w 4501379"/>
                  <a:gd name="connsiteY7" fmla="*/ 257175 h 4429294"/>
                  <a:gd name="connsiteX8" fmla="*/ 3307544 w 4501379"/>
                  <a:gd name="connsiteY8" fmla="*/ 266700 h 4429294"/>
                  <a:gd name="connsiteX9" fmla="*/ 3336119 w 4501379"/>
                  <a:gd name="connsiteY9" fmla="*/ 285750 h 4429294"/>
                  <a:gd name="connsiteX10" fmla="*/ 3402794 w 4501379"/>
                  <a:gd name="connsiteY10" fmla="*/ 323850 h 4429294"/>
                  <a:gd name="connsiteX11" fmla="*/ 3450419 w 4501379"/>
                  <a:gd name="connsiteY11" fmla="*/ 361950 h 4429294"/>
                  <a:gd name="connsiteX12" fmla="*/ 3498044 w 4501379"/>
                  <a:gd name="connsiteY12" fmla="*/ 390525 h 4429294"/>
                  <a:gd name="connsiteX13" fmla="*/ 3612344 w 4501379"/>
                  <a:gd name="connsiteY13" fmla="*/ 485775 h 4429294"/>
                  <a:gd name="connsiteX14" fmla="*/ 3726644 w 4501379"/>
                  <a:gd name="connsiteY14" fmla="*/ 542925 h 4429294"/>
                  <a:gd name="connsiteX15" fmla="*/ 3793319 w 4501379"/>
                  <a:gd name="connsiteY15" fmla="*/ 581025 h 4429294"/>
                  <a:gd name="connsiteX16" fmla="*/ 4009219 w 4501379"/>
                  <a:gd name="connsiteY16" fmla="*/ 819150 h 4429294"/>
                  <a:gd name="connsiteX17" fmla="*/ 4145744 w 4501379"/>
                  <a:gd name="connsiteY17" fmla="*/ 990600 h 4429294"/>
                  <a:gd name="connsiteX18" fmla="*/ 4231469 w 4501379"/>
                  <a:gd name="connsiteY18" fmla="*/ 1143000 h 4429294"/>
                  <a:gd name="connsiteX19" fmla="*/ 4288619 w 4501379"/>
                  <a:gd name="connsiteY19" fmla="*/ 1266825 h 4429294"/>
                  <a:gd name="connsiteX20" fmla="*/ 4326719 w 4501379"/>
                  <a:gd name="connsiteY20" fmla="*/ 1362075 h 4429294"/>
                  <a:gd name="connsiteX21" fmla="*/ 4374344 w 4501379"/>
                  <a:gd name="connsiteY21" fmla="*/ 1552575 h 4429294"/>
                  <a:gd name="connsiteX22" fmla="*/ 4412444 w 4501379"/>
                  <a:gd name="connsiteY22" fmla="*/ 1685925 h 4429294"/>
                  <a:gd name="connsiteX23" fmla="*/ 4501344 w 4501379"/>
                  <a:gd name="connsiteY23" fmla="*/ 2181225 h 4429294"/>
                  <a:gd name="connsiteX24" fmla="*/ 4428319 w 4501379"/>
                  <a:gd name="connsiteY24" fmla="*/ 2768600 h 4429294"/>
                  <a:gd name="connsiteX25" fmla="*/ 4364819 w 4501379"/>
                  <a:gd name="connsiteY25" fmla="*/ 2990850 h 4429294"/>
                  <a:gd name="connsiteX26" fmla="*/ 4260044 w 4501379"/>
                  <a:gd name="connsiteY26" fmla="*/ 3248025 h 4429294"/>
                  <a:gd name="connsiteX27" fmla="*/ 4164794 w 4501379"/>
                  <a:gd name="connsiteY27" fmla="*/ 3400425 h 4429294"/>
                  <a:gd name="connsiteX28" fmla="*/ 4040969 w 4501379"/>
                  <a:gd name="connsiteY28" fmla="*/ 3533775 h 4429294"/>
                  <a:gd name="connsiteX29" fmla="*/ 3936194 w 4501379"/>
                  <a:gd name="connsiteY29" fmla="*/ 3648075 h 4429294"/>
                  <a:gd name="connsiteX30" fmla="*/ 3640919 w 4501379"/>
                  <a:gd name="connsiteY30" fmla="*/ 3971925 h 4429294"/>
                  <a:gd name="connsiteX31" fmla="*/ 3498044 w 4501379"/>
                  <a:gd name="connsiteY31" fmla="*/ 4083050 h 4429294"/>
                  <a:gd name="connsiteX32" fmla="*/ 3202769 w 4501379"/>
                  <a:gd name="connsiteY32" fmla="*/ 4222750 h 4429294"/>
                  <a:gd name="connsiteX33" fmla="*/ 3050369 w 4501379"/>
                  <a:gd name="connsiteY33" fmla="*/ 4286250 h 4429294"/>
                  <a:gd name="connsiteX34" fmla="*/ 2917019 w 4501379"/>
                  <a:gd name="connsiteY34" fmla="*/ 4333875 h 4429294"/>
                  <a:gd name="connsiteX35" fmla="*/ 2793194 w 4501379"/>
                  <a:gd name="connsiteY35" fmla="*/ 4371975 h 4429294"/>
                  <a:gd name="connsiteX36" fmla="*/ 2561419 w 4501379"/>
                  <a:gd name="connsiteY36" fmla="*/ 4391025 h 4429294"/>
                  <a:gd name="connsiteX37" fmla="*/ 2107394 w 4501379"/>
                  <a:gd name="connsiteY37" fmla="*/ 4429125 h 4429294"/>
                  <a:gd name="connsiteX38" fmla="*/ 1916894 w 4501379"/>
                  <a:gd name="connsiteY38" fmla="*/ 4400550 h 4429294"/>
                  <a:gd name="connsiteX39" fmla="*/ 1554944 w 4501379"/>
                  <a:gd name="connsiteY39" fmla="*/ 4305300 h 4429294"/>
                  <a:gd name="connsiteX40" fmla="*/ 1313644 w 4501379"/>
                  <a:gd name="connsiteY40" fmla="*/ 4216400 h 4429294"/>
                  <a:gd name="connsiteX41" fmla="*/ 1145369 w 4501379"/>
                  <a:gd name="connsiteY41" fmla="*/ 4111625 h 4429294"/>
                  <a:gd name="connsiteX42" fmla="*/ 926294 w 4501379"/>
                  <a:gd name="connsiteY42" fmla="*/ 3968750 h 4429294"/>
                  <a:gd name="connsiteX43" fmla="*/ 592919 w 4501379"/>
                  <a:gd name="connsiteY43" fmla="*/ 3657600 h 4429294"/>
                  <a:gd name="connsiteX44" fmla="*/ 446869 w 4501379"/>
                  <a:gd name="connsiteY44" fmla="*/ 3470275 h 4429294"/>
                  <a:gd name="connsiteX45" fmla="*/ 316694 w 4501379"/>
                  <a:gd name="connsiteY45" fmla="*/ 3244850 h 4429294"/>
                  <a:gd name="connsiteX46" fmla="*/ 164294 w 4501379"/>
                  <a:gd name="connsiteY46" fmla="*/ 2892425 h 4429294"/>
                  <a:gd name="connsiteX47" fmla="*/ 56344 w 4501379"/>
                  <a:gd name="connsiteY47" fmla="*/ 2368550 h 4429294"/>
                  <a:gd name="connsiteX48" fmla="*/ 2369 w 4501379"/>
                  <a:gd name="connsiteY48" fmla="*/ 1905000 h 4429294"/>
                  <a:gd name="connsiteX49" fmla="*/ 11894 w 4501379"/>
                  <a:gd name="connsiteY49" fmla="*/ 1838325 h 4429294"/>
                  <a:gd name="connsiteX50" fmla="*/ 30944 w 4501379"/>
                  <a:gd name="connsiteY50" fmla="*/ 1781175 h 4429294"/>
                  <a:gd name="connsiteX51" fmla="*/ 40469 w 4501379"/>
                  <a:gd name="connsiteY51" fmla="*/ 1743075 h 4429294"/>
                  <a:gd name="connsiteX52" fmla="*/ 59519 w 4501379"/>
                  <a:gd name="connsiteY52" fmla="*/ 1685925 h 4429294"/>
                  <a:gd name="connsiteX53" fmla="*/ 69044 w 4501379"/>
                  <a:gd name="connsiteY53" fmla="*/ 1638300 h 4429294"/>
                  <a:gd name="connsiteX54" fmla="*/ 88094 w 4501379"/>
                  <a:gd name="connsiteY54" fmla="*/ 1590675 h 4429294"/>
                  <a:gd name="connsiteX55" fmla="*/ 116669 w 4501379"/>
                  <a:gd name="connsiteY55" fmla="*/ 1504950 h 4429294"/>
                  <a:gd name="connsiteX56" fmla="*/ 135719 w 4501379"/>
                  <a:gd name="connsiteY56" fmla="*/ 1419225 h 4429294"/>
                  <a:gd name="connsiteX57" fmla="*/ 211919 w 4501379"/>
                  <a:gd name="connsiteY57" fmla="*/ 1276350 h 4429294"/>
                  <a:gd name="connsiteX58" fmla="*/ 221444 w 4501379"/>
                  <a:gd name="connsiteY58" fmla="*/ 1247775 h 4429294"/>
                  <a:gd name="connsiteX59" fmla="*/ 250019 w 4501379"/>
                  <a:gd name="connsiteY59" fmla="*/ 1200150 h 4429294"/>
                  <a:gd name="connsiteX60" fmla="*/ 269069 w 4501379"/>
                  <a:gd name="connsiteY60" fmla="*/ 1152525 h 4429294"/>
                  <a:gd name="connsiteX61" fmla="*/ 297644 w 4501379"/>
                  <a:gd name="connsiteY61" fmla="*/ 1114425 h 4429294"/>
                  <a:gd name="connsiteX62" fmla="*/ 345269 w 4501379"/>
                  <a:gd name="connsiteY62" fmla="*/ 1038225 h 4429294"/>
                  <a:gd name="connsiteX63" fmla="*/ 364319 w 4501379"/>
                  <a:gd name="connsiteY63" fmla="*/ 1009650 h 4429294"/>
                  <a:gd name="connsiteX64" fmla="*/ 421469 w 4501379"/>
                  <a:gd name="connsiteY64" fmla="*/ 904875 h 4429294"/>
                  <a:gd name="connsiteX65" fmla="*/ 459569 w 4501379"/>
                  <a:gd name="connsiteY65" fmla="*/ 857250 h 4429294"/>
                  <a:gd name="connsiteX66" fmla="*/ 478619 w 4501379"/>
                  <a:gd name="connsiteY66" fmla="*/ 828675 h 4429294"/>
                  <a:gd name="connsiteX67" fmla="*/ 516719 w 4501379"/>
                  <a:gd name="connsiteY67" fmla="*/ 800100 h 4429294"/>
                  <a:gd name="connsiteX68" fmla="*/ 583394 w 4501379"/>
                  <a:gd name="connsiteY68" fmla="*/ 733425 h 4429294"/>
                  <a:gd name="connsiteX69" fmla="*/ 650069 w 4501379"/>
                  <a:gd name="connsiteY69" fmla="*/ 676275 h 4429294"/>
                  <a:gd name="connsiteX70" fmla="*/ 678644 w 4501379"/>
                  <a:gd name="connsiteY70" fmla="*/ 657225 h 4429294"/>
                  <a:gd name="connsiteX71" fmla="*/ 821519 w 4501379"/>
                  <a:gd name="connsiteY71" fmla="*/ 533400 h 4429294"/>
                  <a:gd name="connsiteX72" fmla="*/ 869144 w 4501379"/>
                  <a:gd name="connsiteY72" fmla="*/ 504825 h 4429294"/>
                  <a:gd name="connsiteX73" fmla="*/ 1148544 w 4501379"/>
                  <a:gd name="connsiteY73" fmla="*/ 311150 h 4429294"/>
                  <a:gd name="connsiteX74" fmla="*/ 1250144 w 4501379"/>
                  <a:gd name="connsiteY74" fmla="*/ 285750 h 4429294"/>
                  <a:gd name="connsiteX75" fmla="*/ 1393019 w 4501379"/>
                  <a:gd name="connsiteY75" fmla="*/ 190500 h 4429294"/>
                  <a:gd name="connsiteX76" fmla="*/ 1431119 w 4501379"/>
                  <a:gd name="connsiteY76" fmla="*/ 161925 h 4429294"/>
                  <a:gd name="connsiteX77" fmla="*/ 1507319 w 4501379"/>
                  <a:gd name="connsiteY77" fmla="*/ 152400 h 4429294"/>
                  <a:gd name="connsiteX78" fmla="*/ 1564469 w 4501379"/>
                  <a:gd name="connsiteY78" fmla="*/ 142875 h 4429294"/>
                  <a:gd name="connsiteX79" fmla="*/ 1697819 w 4501379"/>
                  <a:gd name="connsiteY79" fmla="*/ 123825 h 4429294"/>
                  <a:gd name="connsiteX80" fmla="*/ 1793069 w 4501379"/>
                  <a:gd name="connsiteY80" fmla="*/ 114300 h 4429294"/>
                  <a:gd name="connsiteX81" fmla="*/ 1840694 w 4501379"/>
                  <a:gd name="connsiteY81" fmla="*/ 104775 h 4429294"/>
                  <a:gd name="connsiteX82" fmla="*/ 1897844 w 4501379"/>
                  <a:gd name="connsiteY82" fmla="*/ 95250 h 4429294"/>
                  <a:gd name="connsiteX83" fmla="*/ 2012144 w 4501379"/>
                  <a:gd name="connsiteY83" fmla="*/ 66675 h 4429294"/>
                  <a:gd name="connsiteX84" fmla="*/ 2078819 w 4501379"/>
                  <a:gd name="connsiteY84" fmla="*/ 47625 h 4429294"/>
                  <a:gd name="connsiteX85" fmla="*/ 2145494 w 4501379"/>
                  <a:gd name="connsiteY85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250394 w 4501379"/>
                  <a:gd name="connsiteY5" fmla="*/ 238125 h 4429294"/>
                  <a:gd name="connsiteX6" fmla="*/ 3278969 w 4501379"/>
                  <a:gd name="connsiteY6" fmla="*/ 257175 h 4429294"/>
                  <a:gd name="connsiteX7" fmla="*/ 3307544 w 4501379"/>
                  <a:gd name="connsiteY7" fmla="*/ 266700 h 4429294"/>
                  <a:gd name="connsiteX8" fmla="*/ 3336119 w 4501379"/>
                  <a:gd name="connsiteY8" fmla="*/ 285750 h 4429294"/>
                  <a:gd name="connsiteX9" fmla="*/ 3402794 w 4501379"/>
                  <a:gd name="connsiteY9" fmla="*/ 323850 h 4429294"/>
                  <a:gd name="connsiteX10" fmla="*/ 3450419 w 4501379"/>
                  <a:gd name="connsiteY10" fmla="*/ 361950 h 4429294"/>
                  <a:gd name="connsiteX11" fmla="*/ 3498044 w 4501379"/>
                  <a:gd name="connsiteY11" fmla="*/ 390525 h 4429294"/>
                  <a:gd name="connsiteX12" fmla="*/ 3612344 w 4501379"/>
                  <a:gd name="connsiteY12" fmla="*/ 485775 h 4429294"/>
                  <a:gd name="connsiteX13" fmla="*/ 3726644 w 4501379"/>
                  <a:gd name="connsiteY13" fmla="*/ 542925 h 4429294"/>
                  <a:gd name="connsiteX14" fmla="*/ 3793319 w 4501379"/>
                  <a:gd name="connsiteY14" fmla="*/ 581025 h 4429294"/>
                  <a:gd name="connsiteX15" fmla="*/ 4009219 w 4501379"/>
                  <a:gd name="connsiteY15" fmla="*/ 819150 h 4429294"/>
                  <a:gd name="connsiteX16" fmla="*/ 4145744 w 4501379"/>
                  <a:gd name="connsiteY16" fmla="*/ 990600 h 4429294"/>
                  <a:gd name="connsiteX17" fmla="*/ 4231469 w 4501379"/>
                  <a:gd name="connsiteY17" fmla="*/ 1143000 h 4429294"/>
                  <a:gd name="connsiteX18" fmla="*/ 4288619 w 4501379"/>
                  <a:gd name="connsiteY18" fmla="*/ 1266825 h 4429294"/>
                  <a:gd name="connsiteX19" fmla="*/ 4326719 w 4501379"/>
                  <a:gd name="connsiteY19" fmla="*/ 1362075 h 4429294"/>
                  <a:gd name="connsiteX20" fmla="*/ 4374344 w 4501379"/>
                  <a:gd name="connsiteY20" fmla="*/ 1552575 h 4429294"/>
                  <a:gd name="connsiteX21" fmla="*/ 4412444 w 4501379"/>
                  <a:gd name="connsiteY21" fmla="*/ 1685925 h 4429294"/>
                  <a:gd name="connsiteX22" fmla="*/ 4501344 w 4501379"/>
                  <a:gd name="connsiteY22" fmla="*/ 2181225 h 4429294"/>
                  <a:gd name="connsiteX23" fmla="*/ 4428319 w 4501379"/>
                  <a:gd name="connsiteY23" fmla="*/ 2768600 h 4429294"/>
                  <a:gd name="connsiteX24" fmla="*/ 4364819 w 4501379"/>
                  <a:gd name="connsiteY24" fmla="*/ 2990850 h 4429294"/>
                  <a:gd name="connsiteX25" fmla="*/ 4260044 w 4501379"/>
                  <a:gd name="connsiteY25" fmla="*/ 3248025 h 4429294"/>
                  <a:gd name="connsiteX26" fmla="*/ 4164794 w 4501379"/>
                  <a:gd name="connsiteY26" fmla="*/ 3400425 h 4429294"/>
                  <a:gd name="connsiteX27" fmla="*/ 4040969 w 4501379"/>
                  <a:gd name="connsiteY27" fmla="*/ 3533775 h 4429294"/>
                  <a:gd name="connsiteX28" fmla="*/ 3936194 w 4501379"/>
                  <a:gd name="connsiteY28" fmla="*/ 3648075 h 4429294"/>
                  <a:gd name="connsiteX29" fmla="*/ 3640919 w 4501379"/>
                  <a:gd name="connsiteY29" fmla="*/ 3971925 h 4429294"/>
                  <a:gd name="connsiteX30" fmla="*/ 3498044 w 4501379"/>
                  <a:gd name="connsiteY30" fmla="*/ 4083050 h 4429294"/>
                  <a:gd name="connsiteX31" fmla="*/ 3202769 w 4501379"/>
                  <a:gd name="connsiteY31" fmla="*/ 4222750 h 4429294"/>
                  <a:gd name="connsiteX32" fmla="*/ 3050369 w 4501379"/>
                  <a:gd name="connsiteY32" fmla="*/ 4286250 h 4429294"/>
                  <a:gd name="connsiteX33" fmla="*/ 2917019 w 4501379"/>
                  <a:gd name="connsiteY33" fmla="*/ 4333875 h 4429294"/>
                  <a:gd name="connsiteX34" fmla="*/ 2793194 w 4501379"/>
                  <a:gd name="connsiteY34" fmla="*/ 4371975 h 4429294"/>
                  <a:gd name="connsiteX35" fmla="*/ 2561419 w 4501379"/>
                  <a:gd name="connsiteY35" fmla="*/ 4391025 h 4429294"/>
                  <a:gd name="connsiteX36" fmla="*/ 2107394 w 4501379"/>
                  <a:gd name="connsiteY36" fmla="*/ 4429125 h 4429294"/>
                  <a:gd name="connsiteX37" fmla="*/ 1916894 w 4501379"/>
                  <a:gd name="connsiteY37" fmla="*/ 4400550 h 4429294"/>
                  <a:gd name="connsiteX38" fmla="*/ 1554944 w 4501379"/>
                  <a:gd name="connsiteY38" fmla="*/ 4305300 h 4429294"/>
                  <a:gd name="connsiteX39" fmla="*/ 1313644 w 4501379"/>
                  <a:gd name="connsiteY39" fmla="*/ 4216400 h 4429294"/>
                  <a:gd name="connsiteX40" fmla="*/ 1145369 w 4501379"/>
                  <a:gd name="connsiteY40" fmla="*/ 4111625 h 4429294"/>
                  <a:gd name="connsiteX41" fmla="*/ 926294 w 4501379"/>
                  <a:gd name="connsiteY41" fmla="*/ 3968750 h 4429294"/>
                  <a:gd name="connsiteX42" fmla="*/ 592919 w 4501379"/>
                  <a:gd name="connsiteY42" fmla="*/ 3657600 h 4429294"/>
                  <a:gd name="connsiteX43" fmla="*/ 446869 w 4501379"/>
                  <a:gd name="connsiteY43" fmla="*/ 3470275 h 4429294"/>
                  <a:gd name="connsiteX44" fmla="*/ 316694 w 4501379"/>
                  <a:gd name="connsiteY44" fmla="*/ 3244850 h 4429294"/>
                  <a:gd name="connsiteX45" fmla="*/ 164294 w 4501379"/>
                  <a:gd name="connsiteY45" fmla="*/ 2892425 h 4429294"/>
                  <a:gd name="connsiteX46" fmla="*/ 56344 w 4501379"/>
                  <a:gd name="connsiteY46" fmla="*/ 2368550 h 4429294"/>
                  <a:gd name="connsiteX47" fmla="*/ 2369 w 4501379"/>
                  <a:gd name="connsiteY47" fmla="*/ 1905000 h 4429294"/>
                  <a:gd name="connsiteX48" fmla="*/ 11894 w 4501379"/>
                  <a:gd name="connsiteY48" fmla="*/ 1838325 h 4429294"/>
                  <a:gd name="connsiteX49" fmla="*/ 30944 w 4501379"/>
                  <a:gd name="connsiteY49" fmla="*/ 1781175 h 4429294"/>
                  <a:gd name="connsiteX50" fmla="*/ 40469 w 4501379"/>
                  <a:gd name="connsiteY50" fmla="*/ 1743075 h 4429294"/>
                  <a:gd name="connsiteX51" fmla="*/ 59519 w 4501379"/>
                  <a:gd name="connsiteY51" fmla="*/ 1685925 h 4429294"/>
                  <a:gd name="connsiteX52" fmla="*/ 69044 w 4501379"/>
                  <a:gd name="connsiteY52" fmla="*/ 1638300 h 4429294"/>
                  <a:gd name="connsiteX53" fmla="*/ 88094 w 4501379"/>
                  <a:gd name="connsiteY53" fmla="*/ 1590675 h 4429294"/>
                  <a:gd name="connsiteX54" fmla="*/ 116669 w 4501379"/>
                  <a:gd name="connsiteY54" fmla="*/ 1504950 h 4429294"/>
                  <a:gd name="connsiteX55" fmla="*/ 135719 w 4501379"/>
                  <a:gd name="connsiteY55" fmla="*/ 1419225 h 4429294"/>
                  <a:gd name="connsiteX56" fmla="*/ 211919 w 4501379"/>
                  <a:gd name="connsiteY56" fmla="*/ 1276350 h 4429294"/>
                  <a:gd name="connsiteX57" fmla="*/ 221444 w 4501379"/>
                  <a:gd name="connsiteY57" fmla="*/ 1247775 h 4429294"/>
                  <a:gd name="connsiteX58" fmla="*/ 250019 w 4501379"/>
                  <a:gd name="connsiteY58" fmla="*/ 1200150 h 4429294"/>
                  <a:gd name="connsiteX59" fmla="*/ 269069 w 4501379"/>
                  <a:gd name="connsiteY59" fmla="*/ 1152525 h 4429294"/>
                  <a:gd name="connsiteX60" fmla="*/ 297644 w 4501379"/>
                  <a:gd name="connsiteY60" fmla="*/ 1114425 h 4429294"/>
                  <a:gd name="connsiteX61" fmla="*/ 345269 w 4501379"/>
                  <a:gd name="connsiteY61" fmla="*/ 1038225 h 4429294"/>
                  <a:gd name="connsiteX62" fmla="*/ 364319 w 4501379"/>
                  <a:gd name="connsiteY62" fmla="*/ 1009650 h 4429294"/>
                  <a:gd name="connsiteX63" fmla="*/ 421469 w 4501379"/>
                  <a:gd name="connsiteY63" fmla="*/ 904875 h 4429294"/>
                  <a:gd name="connsiteX64" fmla="*/ 459569 w 4501379"/>
                  <a:gd name="connsiteY64" fmla="*/ 857250 h 4429294"/>
                  <a:gd name="connsiteX65" fmla="*/ 478619 w 4501379"/>
                  <a:gd name="connsiteY65" fmla="*/ 828675 h 4429294"/>
                  <a:gd name="connsiteX66" fmla="*/ 516719 w 4501379"/>
                  <a:gd name="connsiteY66" fmla="*/ 800100 h 4429294"/>
                  <a:gd name="connsiteX67" fmla="*/ 583394 w 4501379"/>
                  <a:gd name="connsiteY67" fmla="*/ 733425 h 4429294"/>
                  <a:gd name="connsiteX68" fmla="*/ 650069 w 4501379"/>
                  <a:gd name="connsiteY68" fmla="*/ 676275 h 4429294"/>
                  <a:gd name="connsiteX69" fmla="*/ 678644 w 4501379"/>
                  <a:gd name="connsiteY69" fmla="*/ 657225 h 4429294"/>
                  <a:gd name="connsiteX70" fmla="*/ 821519 w 4501379"/>
                  <a:gd name="connsiteY70" fmla="*/ 533400 h 4429294"/>
                  <a:gd name="connsiteX71" fmla="*/ 869144 w 4501379"/>
                  <a:gd name="connsiteY71" fmla="*/ 504825 h 4429294"/>
                  <a:gd name="connsiteX72" fmla="*/ 1148544 w 4501379"/>
                  <a:gd name="connsiteY72" fmla="*/ 311150 h 4429294"/>
                  <a:gd name="connsiteX73" fmla="*/ 1250144 w 4501379"/>
                  <a:gd name="connsiteY73" fmla="*/ 285750 h 4429294"/>
                  <a:gd name="connsiteX74" fmla="*/ 1393019 w 4501379"/>
                  <a:gd name="connsiteY74" fmla="*/ 190500 h 4429294"/>
                  <a:gd name="connsiteX75" fmla="*/ 1431119 w 4501379"/>
                  <a:gd name="connsiteY75" fmla="*/ 161925 h 4429294"/>
                  <a:gd name="connsiteX76" fmla="*/ 1507319 w 4501379"/>
                  <a:gd name="connsiteY76" fmla="*/ 152400 h 4429294"/>
                  <a:gd name="connsiteX77" fmla="*/ 1564469 w 4501379"/>
                  <a:gd name="connsiteY77" fmla="*/ 142875 h 4429294"/>
                  <a:gd name="connsiteX78" fmla="*/ 1697819 w 4501379"/>
                  <a:gd name="connsiteY78" fmla="*/ 123825 h 4429294"/>
                  <a:gd name="connsiteX79" fmla="*/ 1793069 w 4501379"/>
                  <a:gd name="connsiteY79" fmla="*/ 114300 h 4429294"/>
                  <a:gd name="connsiteX80" fmla="*/ 1840694 w 4501379"/>
                  <a:gd name="connsiteY80" fmla="*/ 104775 h 4429294"/>
                  <a:gd name="connsiteX81" fmla="*/ 1897844 w 4501379"/>
                  <a:gd name="connsiteY81" fmla="*/ 95250 h 4429294"/>
                  <a:gd name="connsiteX82" fmla="*/ 2012144 w 4501379"/>
                  <a:gd name="connsiteY82" fmla="*/ 66675 h 4429294"/>
                  <a:gd name="connsiteX83" fmla="*/ 2078819 w 4501379"/>
                  <a:gd name="connsiteY83" fmla="*/ 47625 h 4429294"/>
                  <a:gd name="connsiteX84" fmla="*/ 2145494 w 4501379"/>
                  <a:gd name="connsiteY84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250394 w 4501379"/>
                  <a:gd name="connsiteY5" fmla="*/ 238125 h 4429294"/>
                  <a:gd name="connsiteX6" fmla="*/ 3307544 w 4501379"/>
                  <a:gd name="connsiteY6" fmla="*/ 266700 h 4429294"/>
                  <a:gd name="connsiteX7" fmla="*/ 3336119 w 4501379"/>
                  <a:gd name="connsiteY7" fmla="*/ 285750 h 4429294"/>
                  <a:gd name="connsiteX8" fmla="*/ 3402794 w 4501379"/>
                  <a:gd name="connsiteY8" fmla="*/ 323850 h 4429294"/>
                  <a:gd name="connsiteX9" fmla="*/ 3450419 w 4501379"/>
                  <a:gd name="connsiteY9" fmla="*/ 361950 h 4429294"/>
                  <a:gd name="connsiteX10" fmla="*/ 3498044 w 4501379"/>
                  <a:gd name="connsiteY10" fmla="*/ 390525 h 4429294"/>
                  <a:gd name="connsiteX11" fmla="*/ 3612344 w 4501379"/>
                  <a:gd name="connsiteY11" fmla="*/ 485775 h 4429294"/>
                  <a:gd name="connsiteX12" fmla="*/ 3726644 w 4501379"/>
                  <a:gd name="connsiteY12" fmla="*/ 542925 h 4429294"/>
                  <a:gd name="connsiteX13" fmla="*/ 3793319 w 4501379"/>
                  <a:gd name="connsiteY13" fmla="*/ 581025 h 4429294"/>
                  <a:gd name="connsiteX14" fmla="*/ 4009219 w 4501379"/>
                  <a:gd name="connsiteY14" fmla="*/ 819150 h 4429294"/>
                  <a:gd name="connsiteX15" fmla="*/ 4145744 w 4501379"/>
                  <a:gd name="connsiteY15" fmla="*/ 990600 h 4429294"/>
                  <a:gd name="connsiteX16" fmla="*/ 4231469 w 4501379"/>
                  <a:gd name="connsiteY16" fmla="*/ 1143000 h 4429294"/>
                  <a:gd name="connsiteX17" fmla="*/ 4288619 w 4501379"/>
                  <a:gd name="connsiteY17" fmla="*/ 1266825 h 4429294"/>
                  <a:gd name="connsiteX18" fmla="*/ 4326719 w 4501379"/>
                  <a:gd name="connsiteY18" fmla="*/ 1362075 h 4429294"/>
                  <a:gd name="connsiteX19" fmla="*/ 4374344 w 4501379"/>
                  <a:gd name="connsiteY19" fmla="*/ 1552575 h 4429294"/>
                  <a:gd name="connsiteX20" fmla="*/ 4412444 w 4501379"/>
                  <a:gd name="connsiteY20" fmla="*/ 1685925 h 4429294"/>
                  <a:gd name="connsiteX21" fmla="*/ 4501344 w 4501379"/>
                  <a:gd name="connsiteY21" fmla="*/ 2181225 h 4429294"/>
                  <a:gd name="connsiteX22" fmla="*/ 4428319 w 4501379"/>
                  <a:gd name="connsiteY22" fmla="*/ 2768600 h 4429294"/>
                  <a:gd name="connsiteX23" fmla="*/ 4364819 w 4501379"/>
                  <a:gd name="connsiteY23" fmla="*/ 2990850 h 4429294"/>
                  <a:gd name="connsiteX24" fmla="*/ 4260044 w 4501379"/>
                  <a:gd name="connsiteY24" fmla="*/ 3248025 h 4429294"/>
                  <a:gd name="connsiteX25" fmla="*/ 4164794 w 4501379"/>
                  <a:gd name="connsiteY25" fmla="*/ 3400425 h 4429294"/>
                  <a:gd name="connsiteX26" fmla="*/ 4040969 w 4501379"/>
                  <a:gd name="connsiteY26" fmla="*/ 3533775 h 4429294"/>
                  <a:gd name="connsiteX27" fmla="*/ 3936194 w 4501379"/>
                  <a:gd name="connsiteY27" fmla="*/ 3648075 h 4429294"/>
                  <a:gd name="connsiteX28" fmla="*/ 3640919 w 4501379"/>
                  <a:gd name="connsiteY28" fmla="*/ 3971925 h 4429294"/>
                  <a:gd name="connsiteX29" fmla="*/ 3498044 w 4501379"/>
                  <a:gd name="connsiteY29" fmla="*/ 4083050 h 4429294"/>
                  <a:gd name="connsiteX30" fmla="*/ 3202769 w 4501379"/>
                  <a:gd name="connsiteY30" fmla="*/ 4222750 h 4429294"/>
                  <a:gd name="connsiteX31" fmla="*/ 3050369 w 4501379"/>
                  <a:gd name="connsiteY31" fmla="*/ 4286250 h 4429294"/>
                  <a:gd name="connsiteX32" fmla="*/ 2917019 w 4501379"/>
                  <a:gd name="connsiteY32" fmla="*/ 4333875 h 4429294"/>
                  <a:gd name="connsiteX33" fmla="*/ 2793194 w 4501379"/>
                  <a:gd name="connsiteY33" fmla="*/ 4371975 h 4429294"/>
                  <a:gd name="connsiteX34" fmla="*/ 2561419 w 4501379"/>
                  <a:gd name="connsiteY34" fmla="*/ 4391025 h 4429294"/>
                  <a:gd name="connsiteX35" fmla="*/ 2107394 w 4501379"/>
                  <a:gd name="connsiteY35" fmla="*/ 4429125 h 4429294"/>
                  <a:gd name="connsiteX36" fmla="*/ 1916894 w 4501379"/>
                  <a:gd name="connsiteY36" fmla="*/ 4400550 h 4429294"/>
                  <a:gd name="connsiteX37" fmla="*/ 1554944 w 4501379"/>
                  <a:gd name="connsiteY37" fmla="*/ 4305300 h 4429294"/>
                  <a:gd name="connsiteX38" fmla="*/ 1313644 w 4501379"/>
                  <a:gd name="connsiteY38" fmla="*/ 4216400 h 4429294"/>
                  <a:gd name="connsiteX39" fmla="*/ 1145369 w 4501379"/>
                  <a:gd name="connsiteY39" fmla="*/ 4111625 h 4429294"/>
                  <a:gd name="connsiteX40" fmla="*/ 926294 w 4501379"/>
                  <a:gd name="connsiteY40" fmla="*/ 3968750 h 4429294"/>
                  <a:gd name="connsiteX41" fmla="*/ 592919 w 4501379"/>
                  <a:gd name="connsiteY41" fmla="*/ 3657600 h 4429294"/>
                  <a:gd name="connsiteX42" fmla="*/ 446869 w 4501379"/>
                  <a:gd name="connsiteY42" fmla="*/ 3470275 h 4429294"/>
                  <a:gd name="connsiteX43" fmla="*/ 316694 w 4501379"/>
                  <a:gd name="connsiteY43" fmla="*/ 3244850 h 4429294"/>
                  <a:gd name="connsiteX44" fmla="*/ 164294 w 4501379"/>
                  <a:gd name="connsiteY44" fmla="*/ 2892425 h 4429294"/>
                  <a:gd name="connsiteX45" fmla="*/ 56344 w 4501379"/>
                  <a:gd name="connsiteY45" fmla="*/ 2368550 h 4429294"/>
                  <a:gd name="connsiteX46" fmla="*/ 2369 w 4501379"/>
                  <a:gd name="connsiteY46" fmla="*/ 1905000 h 4429294"/>
                  <a:gd name="connsiteX47" fmla="*/ 11894 w 4501379"/>
                  <a:gd name="connsiteY47" fmla="*/ 1838325 h 4429294"/>
                  <a:gd name="connsiteX48" fmla="*/ 30944 w 4501379"/>
                  <a:gd name="connsiteY48" fmla="*/ 1781175 h 4429294"/>
                  <a:gd name="connsiteX49" fmla="*/ 40469 w 4501379"/>
                  <a:gd name="connsiteY49" fmla="*/ 1743075 h 4429294"/>
                  <a:gd name="connsiteX50" fmla="*/ 59519 w 4501379"/>
                  <a:gd name="connsiteY50" fmla="*/ 1685925 h 4429294"/>
                  <a:gd name="connsiteX51" fmla="*/ 69044 w 4501379"/>
                  <a:gd name="connsiteY51" fmla="*/ 1638300 h 4429294"/>
                  <a:gd name="connsiteX52" fmla="*/ 88094 w 4501379"/>
                  <a:gd name="connsiteY52" fmla="*/ 1590675 h 4429294"/>
                  <a:gd name="connsiteX53" fmla="*/ 116669 w 4501379"/>
                  <a:gd name="connsiteY53" fmla="*/ 1504950 h 4429294"/>
                  <a:gd name="connsiteX54" fmla="*/ 135719 w 4501379"/>
                  <a:gd name="connsiteY54" fmla="*/ 1419225 h 4429294"/>
                  <a:gd name="connsiteX55" fmla="*/ 211919 w 4501379"/>
                  <a:gd name="connsiteY55" fmla="*/ 1276350 h 4429294"/>
                  <a:gd name="connsiteX56" fmla="*/ 221444 w 4501379"/>
                  <a:gd name="connsiteY56" fmla="*/ 1247775 h 4429294"/>
                  <a:gd name="connsiteX57" fmla="*/ 250019 w 4501379"/>
                  <a:gd name="connsiteY57" fmla="*/ 1200150 h 4429294"/>
                  <a:gd name="connsiteX58" fmla="*/ 269069 w 4501379"/>
                  <a:gd name="connsiteY58" fmla="*/ 1152525 h 4429294"/>
                  <a:gd name="connsiteX59" fmla="*/ 297644 w 4501379"/>
                  <a:gd name="connsiteY59" fmla="*/ 1114425 h 4429294"/>
                  <a:gd name="connsiteX60" fmla="*/ 345269 w 4501379"/>
                  <a:gd name="connsiteY60" fmla="*/ 1038225 h 4429294"/>
                  <a:gd name="connsiteX61" fmla="*/ 364319 w 4501379"/>
                  <a:gd name="connsiteY61" fmla="*/ 1009650 h 4429294"/>
                  <a:gd name="connsiteX62" fmla="*/ 421469 w 4501379"/>
                  <a:gd name="connsiteY62" fmla="*/ 904875 h 4429294"/>
                  <a:gd name="connsiteX63" fmla="*/ 459569 w 4501379"/>
                  <a:gd name="connsiteY63" fmla="*/ 857250 h 4429294"/>
                  <a:gd name="connsiteX64" fmla="*/ 478619 w 4501379"/>
                  <a:gd name="connsiteY64" fmla="*/ 828675 h 4429294"/>
                  <a:gd name="connsiteX65" fmla="*/ 516719 w 4501379"/>
                  <a:gd name="connsiteY65" fmla="*/ 800100 h 4429294"/>
                  <a:gd name="connsiteX66" fmla="*/ 583394 w 4501379"/>
                  <a:gd name="connsiteY66" fmla="*/ 733425 h 4429294"/>
                  <a:gd name="connsiteX67" fmla="*/ 650069 w 4501379"/>
                  <a:gd name="connsiteY67" fmla="*/ 676275 h 4429294"/>
                  <a:gd name="connsiteX68" fmla="*/ 678644 w 4501379"/>
                  <a:gd name="connsiteY68" fmla="*/ 657225 h 4429294"/>
                  <a:gd name="connsiteX69" fmla="*/ 821519 w 4501379"/>
                  <a:gd name="connsiteY69" fmla="*/ 533400 h 4429294"/>
                  <a:gd name="connsiteX70" fmla="*/ 869144 w 4501379"/>
                  <a:gd name="connsiteY70" fmla="*/ 504825 h 4429294"/>
                  <a:gd name="connsiteX71" fmla="*/ 1148544 w 4501379"/>
                  <a:gd name="connsiteY71" fmla="*/ 311150 h 4429294"/>
                  <a:gd name="connsiteX72" fmla="*/ 1250144 w 4501379"/>
                  <a:gd name="connsiteY72" fmla="*/ 285750 h 4429294"/>
                  <a:gd name="connsiteX73" fmla="*/ 1393019 w 4501379"/>
                  <a:gd name="connsiteY73" fmla="*/ 190500 h 4429294"/>
                  <a:gd name="connsiteX74" fmla="*/ 1431119 w 4501379"/>
                  <a:gd name="connsiteY74" fmla="*/ 161925 h 4429294"/>
                  <a:gd name="connsiteX75" fmla="*/ 1507319 w 4501379"/>
                  <a:gd name="connsiteY75" fmla="*/ 152400 h 4429294"/>
                  <a:gd name="connsiteX76" fmla="*/ 1564469 w 4501379"/>
                  <a:gd name="connsiteY76" fmla="*/ 142875 h 4429294"/>
                  <a:gd name="connsiteX77" fmla="*/ 1697819 w 4501379"/>
                  <a:gd name="connsiteY77" fmla="*/ 123825 h 4429294"/>
                  <a:gd name="connsiteX78" fmla="*/ 1793069 w 4501379"/>
                  <a:gd name="connsiteY78" fmla="*/ 114300 h 4429294"/>
                  <a:gd name="connsiteX79" fmla="*/ 1840694 w 4501379"/>
                  <a:gd name="connsiteY79" fmla="*/ 104775 h 4429294"/>
                  <a:gd name="connsiteX80" fmla="*/ 1897844 w 4501379"/>
                  <a:gd name="connsiteY80" fmla="*/ 95250 h 4429294"/>
                  <a:gd name="connsiteX81" fmla="*/ 2012144 w 4501379"/>
                  <a:gd name="connsiteY81" fmla="*/ 66675 h 4429294"/>
                  <a:gd name="connsiteX82" fmla="*/ 2078819 w 4501379"/>
                  <a:gd name="connsiteY82" fmla="*/ 47625 h 4429294"/>
                  <a:gd name="connsiteX83" fmla="*/ 2145494 w 4501379"/>
                  <a:gd name="connsiteY83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250394 w 4501379"/>
                  <a:gd name="connsiteY5" fmla="*/ 238125 h 4429294"/>
                  <a:gd name="connsiteX6" fmla="*/ 3307544 w 4501379"/>
                  <a:gd name="connsiteY6" fmla="*/ 266700 h 4429294"/>
                  <a:gd name="connsiteX7" fmla="*/ 3402794 w 4501379"/>
                  <a:gd name="connsiteY7" fmla="*/ 323850 h 4429294"/>
                  <a:gd name="connsiteX8" fmla="*/ 3450419 w 4501379"/>
                  <a:gd name="connsiteY8" fmla="*/ 361950 h 4429294"/>
                  <a:gd name="connsiteX9" fmla="*/ 3498044 w 4501379"/>
                  <a:gd name="connsiteY9" fmla="*/ 390525 h 4429294"/>
                  <a:gd name="connsiteX10" fmla="*/ 3612344 w 4501379"/>
                  <a:gd name="connsiteY10" fmla="*/ 485775 h 4429294"/>
                  <a:gd name="connsiteX11" fmla="*/ 3726644 w 4501379"/>
                  <a:gd name="connsiteY11" fmla="*/ 542925 h 4429294"/>
                  <a:gd name="connsiteX12" fmla="*/ 3793319 w 4501379"/>
                  <a:gd name="connsiteY12" fmla="*/ 581025 h 4429294"/>
                  <a:gd name="connsiteX13" fmla="*/ 4009219 w 4501379"/>
                  <a:gd name="connsiteY13" fmla="*/ 819150 h 4429294"/>
                  <a:gd name="connsiteX14" fmla="*/ 4145744 w 4501379"/>
                  <a:gd name="connsiteY14" fmla="*/ 990600 h 4429294"/>
                  <a:gd name="connsiteX15" fmla="*/ 4231469 w 4501379"/>
                  <a:gd name="connsiteY15" fmla="*/ 1143000 h 4429294"/>
                  <a:gd name="connsiteX16" fmla="*/ 4288619 w 4501379"/>
                  <a:gd name="connsiteY16" fmla="*/ 1266825 h 4429294"/>
                  <a:gd name="connsiteX17" fmla="*/ 4326719 w 4501379"/>
                  <a:gd name="connsiteY17" fmla="*/ 1362075 h 4429294"/>
                  <a:gd name="connsiteX18" fmla="*/ 4374344 w 4501379"/>
                  <a:gd name="connsiteY18" fmla="*/ 1552575 h 4429294"/>
                  <a:gd name="connsiteX19" fmla="*/ 4412444 w 4501379"/>
                  <a:gd name="connsiteY19" fmla="*/ 1685925 h 4429294"/>
                  <a:gd name="connsiteX20" fmla="*/ 4501344 w 4501379"/>
                  <a:gd name="connsiteY20" fmla="*/ 2181225 h 4429294"/>
                  <a:gd name="connsiteX21" fmla="*/ 4428319 w 4501379"/>
                  <a:gd name="connsiteY21" fmla="*/ 2768600 h 4429294"/>
                  <a:gd name="connsiteX22" fmla="*/ 4364819 w 4501379"/>
                  <a:gd name="connsiteY22" fmla="*/ 2990850 h 4429294"/>
                  <a:gd name="connsiteX23" fmla="*/ 4260044 w 4501379"/>
                  <a:gd name="connsiteY23" fmla="*/ 3248025 h 4429294"/>
                  <a:gd name="connsiteX24" fmla="*/ 4164794 w 4501379"/>
                  <a:gd name="connsiteY24" fmla="*/ 3400425 h 4429294"/>
                  <a:gd name="connsiteX25" fmla="*/ 4040969 w 4501379"/>
                  <a:gd name="connsiteY25" fmla="*/ 3533775 h 4429294"/>
                  <a:gd name="connsiteX26" fmla="*/ 3936194 w 4501379"/>
                  <a:gd name="connsiteY26" fmla="*/ 3648075 h 4429294"/>
                  <a:gd name="connsiteX27" fmla="*/ 3640919 w 4501379"/>
                  <a:gd name="connsiteY27" fmla="*/ 3971925 h 4429294"/>
                  <a:gd name="connsiteX28" fmla="*/ 3498044 w 4501379"/>
                  <a:gd name="connsiteY28" fmla="*/ 4083050 h 4429294"/>
                  <a:gd name="connsiteX29" fmla="*/ 3202769 w 4501379"/>
                  <a:gd name="connsiteY29" fmla="*/ 4222750 h 4429294"/>
                  <a:gd name="connsiteX30" fmla="*/ 3050369 w 4501379"/>
                  <a:gd name="connsiteY30" fmla="*/ 4286250 h 4429294"/>
                  <a:gd name="connsiteX31" fmla="*/ 2917019 w 4501379"/>
                  <a:gd name="connsiteY31" fmla="*/ 4333875 h 4429294"/>
                  <a:gd name="connsiteX32" fmla="*/ 2793194 w 4501379"/>
                  <a:gd name="connsiteY32" fmla="*/ 4371975 h 4429294"/>
                  <a:gd name="connsiteX33" fmla="*/ 2561419 w 4501379"/>
                  <a:gd name="connsiteY33" fmla="*/ 4391025 h 4429294"/>
                  <a:gd name="connsiteX34" fmla="*/ 2107394 w 4501379"/>
                  <a:gd name="connsiteY34" fmla="*/ 4429125 h 4429294"/>
                  <a:gd name="connsiteX35" fmla="*/ 1916894 w 4501379"/>
                  <a:gd name="connsiteY35" fmla="*/ 4400550 h 4429294"/>
                  <a:gd name="connsiteX36" fmla="*/ 1554944 w 4501379"/>
                  <a:gd name="connsiteY36" fmla="*/ 4305300 h 4429294"/>
                  <a:gd name="connsiteX37" fmla="*/ 1313644 w 4501379"/>
                  <a:gd name="connsiteY37" fmla="*/ 4216400 h 4429294"/>
                  <a:gd name="connsiteX38" fmla="*/ 1145369 w 4501379"/>
                  <a:gd name="connsiteY38" fmla="*/ 4111625 h 4429294"/>
                  <a:gd name="connsiteX39" fmla="*/ 926294 w 4501379"/>
                  <a:gd name="connsiteY39" fmla="*/ 3968750 h 4429294"/>
                  <a:gd name="connsiteX40" fmla="*/ 592919 w 4501379"/>
                  <a:gd name="connsiteY40" fmla="*/ 3657600 h 4429294"/>
                  <a:gd name="connsiteX41" fmla="*/ 446869 w 4501379"/>
                  <a:gd name="connsiteY41" fmla="*/ 3470275 h 4429294"/>
                  <a:gd name="connsiteX42" fmla="*/ 316694 w 4501379"/>
                  <a:gd name="connsiteY42" fmla="*/ 3244850 h 4429294"/>
                  <a:gd name="connsiteX43" fmla="*/ 164294 w 4501379"/>
                  <a:gd name="connsiteY43" fmla="*/ 2892425 h 4429294"/>
                  <a:gd name="connsiteX44" fmla="*/ 56344 w 4501379"/>
                  <a:gd name="connsiteY44" fmla="*/ 2368550 h 4429294"/>
                  <a:gd name="connsiteX45" fmla="*/ 2369 w 4501379"/>
                  <a:gd name="connsiteY45" fmla="*/ 1905000 h 4429294"/>
                  <a:gd name="connsiteX46" fmla="*/ 11894 w 4501379"/>
                  <a:gd name="connsiteY46" fmla="*/ 1838325 h 4429294"/>
                  <a:gd name="connsiteX47" fmla="*/ 30944 w 4501379"/>
                  <a:gd name="connsiteY47" fmla="*/ 1781175 h 4429294"/>
                  <a:gd name="connsiteX48" fmla="*/ 40469 w 4501379"/>
                  <a:gd name="connsiteY48" fmla="*/ 1743075 h 4429294"/>
                  <a:gd name="connsiteX49" fmla="*/ 59519 w 4501379"/>
                  <a:gd name="connsiteY49" fmla="*/ 1685925 h 4429294"/>
                  <a:gd name="connsiteX50" fmla="*/ 69044 w 4501379"/>
                  <a:gd name="connsiteY50" fmla="*/ 1638300 h 4429294"/>
                  <a:gd name="connsiteX51" fmla="*/ 88094 w 4501379"/>
                  <a:gd name="connsiteY51" fmla="*/ 1590675 h 4429294"/>
                  <a:gd name="connsiteX52" fmla="*/ 116669 w 4501379"/>
                  <a:gd name="connsiteY52" fmla="*/ 1504950 h 4429294"/>
                  <a:gd name="connsiteX53" fmla="*/ 135719 w 4501379"/>
                  <a:gd name="connsiteY53" fmla="*/ 1419225 h 4429294"/>
                  <a:gd name="connsiteX54" fmla="*/ 211919 w 4501379"/>
                  <a:gd name="connsiteY54" fmla="*/ 1276350 h 4429294"/>
                  <a:gd name="connsiteX55" fmla="*/ 221444 w 4501379"/>
                  <a:gd name="connsiteY55" fmla="*/ 1247775 h 4429294"/>
                  <a:gd name="connsiteX56" fmla="*/ 250019 w 4501379"/>
                  <a:gd name="connsiteY56" fmla="*/ 1200150 h 4429294"/>
                  <a:gd name="connsiteX57" fmla="*/ 269069 w 4501379"/>
                  <a:gd name="connsiteY57" fmla="*/ 1152525 h 4429294"/>
                  <a:gd name="connsiteX58" fmla="*/ 297644 w 4501379"/>
                  <a:gd name="connsiteY58" fmla="*/ 1114425 h 4429294"/>
                  <a:gd name="connsiteX59" fmla="*/ 345269 w 4501379"/>
                  <a:gd name="connsiteY59" fmla="*/ 1038225 h 4429294"/>
                  <a:gd name="connsiteX60" fmla="*/ 364319 w 4501379"/>
                  <a:gd name="connsiteY60" fmla="*/ 1009650 h 4429294"/>
                  <a:gd name="connsiteX61" fmla="*/ 421469 w 4501379"/>
                  <a:gd name="connsiteY61" fmla="*/ 904875 h 4429294"/>
                  <a:gd name="connsiteX62" fmla="*/ 459569 w 4501379"/>
                  <a:gd name="connsiteY62" fmla="*/ 857250 h 4429294"/>
                  <a:gd name="connsiteX63" fmla="*/ 478619 w 4501379"/>
                  <a:gd name="connsiteY63" fmla="*/ 828675 h 4429294"/>
                  <a:gd name="connsiteX64" fmla="*/ 516719 w 4501379"/>
                  <a:gd name="connsiteY64" fmla="*/ 800100 h 4429294"/>
                  <a:gd name="connsiteX65" fmla="*/ 583394 w 4501379"/>
                  <a:gd name="connsiteY65" fmla="*/ 733425 h 4429294"/>
                  <a:gd name="connsiteX66" fmla="*/ 650069 w 4501379"/>
                  <a:gd name="connsiteY66" fmla="*/ 676275 h 4429294"/>
                  <a:gd name="connsiteX67" fmla="*/ 678644 w 4501379"/>
                  <a:gd name="connsiteY67" fmla="*/ 657225 h 4429294"/>
                  <a:gd name="connsiteX68" fmla="*/ 821519 w 4501379"/>
                  <a:gd name="connsiteY68" fmla="*/ 533400 h 4429294"/>
                  <a:gd name="connsiteX69" fmla="*/ 869144 w 4501379"/>
                  <a:gd name="connsiteY69" fmla="*/ 504825 h 4429294"/>
                  <a:gd name="connsiteX70" fmla="*/ 1148544 w 4501379"/>
                  <a:gd name="connsiteY70" fmla="*/ 311150 h 4429294"/>
                  <a:gd name="connsiteX71" fmla="*/ 1250144 w 4501379"/>
                  <a:gd name="connsiteY71" fmla="*/ 285750 h 4429294"/>
                  <a:gd name="connsiteX72" fmla="*/ 1393019 w 4501379"/>
                  <a:gd name="connsiteY72" fmla="*/ 190500 h 4429294"/>
                  <a:gd name="connsiteX73" fmla="*/ 1431119 w 4501379"/>
                  <a:gd name="connsiteY73" fmla="*/ 161925 h 4429294"/>
                  <a:gd name="connsiteX74" fmla="*/ 1507319 w 4501379"/>
                  <a:gd name="connsiteY74" fmla="*/ 152400 h 4429294"/>
                  <a:gd name="connsiteX75" fmla="*/ 1564469 w 4501379"/>
                  <a:gd name="connsiteY75" fmla="*/ 142875 h 4429294"/>
                  <a:gd name="connsiteX76" fmla="*/ 1697819 w 4501379"/>
                  <a:gd name="connsiteY76" fmla="*/ 123825 h 4429294"/>
                  <a:gd name="connsiteX77" fmla="*/ 1793069 w 4501379"/>
                  <a:gd name="connsiteY77" fmla="*/ 114300 h 4429294"/>
                  <a:gd name="connsiteX78" fmla="*/ 1840694 w 4501379"/>
                  <a:gd name="connsiteY78" fmla="*/ 104775 h 4429294"/>
                  <a:gd name="connsiteX79" fmla="*/ 1897844 w 4501379"/>
                  <a:gd name="connsiteY79" fmla="*/ 95250 h 4429294"/>
                  <a:gd name="connsiteX80" fmla="*/ 2012144 w 4501379"/>
                  <a:gd name="connsiteY80" fmla="*/ 66675 h 4429294"/>
                  <a:gd name="connsiteX81" fmla="*/ 2078819 w 4501379"/>
                  <a:gd name="connsiteY81" fmla="*/ 47625 h 4429294"/>
                  <a:gd name="connsiteX82" fmla="*/ 2145494 w 4501379"/>
                  <a:gd name="connsiteY82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307544 w 4501379"/>
                  <a:gd name="connsiteY5" fmla="*/ 266700 h 4429294"/>
                  <a:gd name="connsiteX6" fmla="*/ 3402794 w 4501379"/>
                  <a:gd name="connsiteY6" fmla="*/ 323850 h 4429294"/>
                  <a:gd name="connsiteX7" fmla="*/ 3450419 w 4501379"/>
                  <a:gd name="connsiteY7" fmla="*/ 361950 h 4429294"/>
                  <a:gd name="connsiteX8" fmla="*/ 3498044 w 4501379"/>
                  <a:gd name="connsiteY8" fmla="*/ 390525 h 4429294"/>
                  <a:gd name="connsiteX9" fmla="*/ 3612344 w 4501379"/>
                  <a:gd name="connsiteY9" fmla="*/ 485775 h 4429294"/>
                  <a:gd name="connsiteX10" fmla="*/ 3726644 w 4501379"/>
                  <a:gd name="connsiteY10" fmla="*/ 542925 h 4429294"/>
                  <a:gd name="connsiteX11" fmla="*/ 3793319 w 4501379"/>
                  <a:gd name="connsiteY11" fmla="*/ 581025 h 4429294"/>
                  <a:gd name="connsiteX12" fmla="*/ 4009219 w 4501379"/>
                  <a:gd name="connsiteY12" fmla="*/ 819150 h 4429294"/>
                  <a:gd name="connsiteX13" fmla="*/ 4145744 w 4501379"/>
                  <a:gd name="connsiteY13" fmla="*/ 990600 h 4429294"/>
                  <a:gd name="connsiteX14" fmla="*/ 4231469 w 4501379"/>
                  <a:gd name="connsiteY14" fmla="*/ 1143000 h 4429294"/>
                  <a:gd name="connsiteX15" fmla="*/ 4288619 w 4501379"/>
                  <a:gd name="connsiteY15" fmla="*/ 1266825 h 4429294"/>
                  <a:gd name="connsiteX16" fmla="*/ 4326719 w 4501379"/>
                  <a:gd name="connsiteY16" fmla="*/ 1362075 h 4429294"/>
                  <a:gd name="connsiteX17" fmla="*/ 4374344 w 4501379"/>
                  <a:gd name="connsiteY17" fmla="*/ 1552575 h 4429294"/>
                  <a:gd name="connsiteX18" fmla="*/ 4412444 w 4501379"/>
                  <a:gd name="connsiteY18" fmla="*/ 1685925 h 4429294"/>
                  <a:gd name="connsiteX19" fmla="*/ 4501344 w 4501379"/>
                  <a:gd name="connsiteY19" fmla="*/ 2181225 h 4429294"/>
                  <a:gd name="connsiteX20" fmla="*/ 4428319 w 4501379"/>
                  <a:gd name="connsiteY20" fmla="*/ 2768600 h 4429294"/>
                  <a:gd name="connsiteX21" fmla="*/ 4364819 w 4501379"/>
                  <a:gd name="connsiteY21" fmla="*/ 2990850 h 4429294"/>
                  <a:gd name="connsiteX22" fmla="*/ 4260044 w 4501379"/>
                  <a:gd name="connsiteY22" fmla="*/ 3248025 h 4429294"/>
                  <a:gd name="connsiteX23" fmla="*/ 4164794 w 4501379"/>
                  <a:gd name="connsiteY23" fmla="*/ 3400425 h 4429294"/>
                  <a:gd name="connsiteX24" fmla="*/ 4040969 w 4501379"/>
                  <a:gd name="connsiteY24" fmla="*/ 3533775 h 4429294"/>
                  <a:gd name="connsiteX25" fmla="*/ 3936194 w 4501379"/>
                  <a:gd name="connsiteY25" fmla="*/ 3648075 h 4429294"/>
                  <a:gd name="connsiteX26" fmla="*/ 3640919 w 4501379"/>
                  <a:gd name="connsiteY26" fmla="*/ 3971925 h 4429294"/>
                  <a:gd name="connsiteX27" fmla="*/ 3498044 w 4501379"/>
                  <a:gd name="connsiteY27" fmla="*/ 4083050 h 4429294"/>
                  <a:gd name="connsiteX28" fmla="*/ 3202769 w 4501379"/>
                  <a:gd name="connsiteY28" fmla="*/ 4222750 h 4429294"/>
                  <a:gd name="connsiteX29" fmla="*/ 3050369 w 4501379"/>
                  <a:gd name="connsiteY29" fmla="*/ 4286250 h 4429294"/>
                  <a:gd name="connsiteX30" fmla="*/ 2917019 w 4501379"/>
                  <a:gd name="connsiteY30" fmla="*/ 4333875 h 4429294"/>
                  <a:gd name="connsiteX31" fmla="*/ 2793194 w 4501379"/>
                  <a:gd name="connsiteY31" fmla="*/ 4371975 h 4429294"/>
                  <a:gd name="connsiteX32" fmla="*/ 2561419 w 4501379"/>
                  <a:gd name="connsiteY32" fmla="*/ 4391025 h 4429294"/>
                  <a:gd name="connsiteX33" fmla="*/ 2107394 w 4501379"/>
                  <a:gd name="connsiteY33" fmla="*/ 4429125 h 4429294"/>
                  <a:gd name="connsiteX34" fmla="*/ 1916894 w 4501379"/>
                  <a:gd name="connsiteY34" fmla="*/ 4400550 h 4429294"/>
                  <a:gd name="connsiteX35" fmla="*/ 1554944 w 4501379"/>
                  <a:gd name="connsiteY35" fmla="*/ 4305300 h 4429294"/>
                  <a:gd name="connsiteX36" fmla="*/ 1313644 w 4501379"/>
                  <a:gd name="connsiteY36" fmla="*/ 4216400 h 4429294"/>
                  <a:gd name="connsiteX37" fmla="*/ 1145369 w 4501379"/>
                  <a:gd name="connsiteY37" fmla="*/ 4111625 h 4429294"/>
                  <a:gd name="connsiteX38" fmla="*/ 926294 w 4501379"/>
                  <a:gd name="connsiteY38" fmla="*/ 3968750 h 4429294"/>
                  <a:gd name="connsiteX39" fmla="*/ 592919 w 4501379"/>
                  <a:gd name="connsiteY39" fmla="*/ 3657600 h 4429294"/>
                  <a:gd name="connsiteX40" fmla="*/ 446869 w 4501379"/>
                  <a:gd name="connsiteY40" fmla="*/ 3470275 h 4429294"/>
                  <a:gd name="connsiteX41" fmla="*/ 316694 w 4501379"/>
                  <a:gd name="connsiteY41" fmla="*/ 3244850 h 4429294"/>
                  <a:gd name="connsiteX42" fmla="*/ 164294 w 4501379"/>
                  <a:gd name="connsiteY42" fmla="*/ 2892425 h 4429294"/>
                  <a:gd name="connsiteX43" fmla="*/ 56344 w 4501379"/>
                  <a:gd name="connsiteY43" fmla="*/ 2368550 h 4429294"/>
                  <a:gd name="connsiteX44" fmla="*/ 2369 w 4501379"/>
                  <a:gd name="connsiteY44" fmla="*/ 1905000 h 4429294"/>
                  <a:gd name="connsiteX45" fmla="*/ 11894 w 4501379"/>
                  <a:gd name="connsiteY45" fmla="*/ 1838325 h 4429294"/>
                  <a:gd name="connsiteX46" fmla="*/ 30944 w 4501379"/>
                  <a:gd name="connsiteY46" fmla="*/ 1781175 h 4429294"/>
                  <a:gd name="connsiteX47" fmla="*/ 40469 w 4501379"/>
                  <a:gd name="connsiteY47" fmla="*/ 1743075 h 4429294"/>
                  <a:gd name="connsiteX48" fmla="*/ 59519 w 4501379"/>
                  <a:gd name="connsiteY48" fmla="*/ 1685925 h 4429294"/>
                  <a:gd name="connsiteX49" fmla="*/ 69044 w 4501379"/>
                  <a:gd name="connsiteY49" fmla="*/ 1638300 h 4429294"/>
                  <a:gd name="connsiteX50" fmla="*/ 88094 w 4501379"/>
                  <a:gd name="connsiteY50" fmla="*/ 1590675 h 4429294"/>
                  <a:gd name="connsiteX51" fmla="*/ 116669 w 4501379"/>
                  <a:gd name="connsiteY51" fmla="*/ 1504950 h 4429294"/>
                  <a:gd name="connsiteX52" fmla="*/ 135719 w 4501379"/>
                  <a:gd name="connsiteY52" fmla="*/ 1419225 h 4429294"/>
                  <a:gd name="connsiteX53" fmla="*/ 211919 w 4501379"/>
                  <a:gd name="connsiteY53" fmla="*/ 1276350 h 4429294"/>
                  <a:gd name="connsiteX54" fmla="*/ 221444 w 4501379"/>
                  <a:gd name="connsiteY54" fmla="*/ 1247775 h 4429294"/>
                  <a:gd name="connsiteX55" fmla="*/ 250019 w 4501379"/>
                  <a:gd name="connsiteY55" fmla="*/ 1200150 h 4429294"/>
                  <a:gd name="connsiteX56" fmla="*/ 269069 w 4501379"/>
                  <a:gd name="connsiteY56" fmla="*/ 1152525 h 4429294"/>
                  <a:gd name="connsiteX57" fmla="*/ 297644 w 4501379"/>
                  <a:gd name="connsiteY57" fmla="*/ 1114425 h 4429294"/>
                  <a:gd name="connsiteX58" fmla="*/ 345269 w 4501379"/>
                  <a:gd name="connsiteY58" fmla="*/ 1038225 h 4429294"/>
                  <a:gd name="connsiteX59" fmla="*/ 364319 w 4501379"/>
                  <a:gd name="connsiteY59" fmla="*/ 1009650 h 4429294"/>
                  <a:gd name="connsiteX60" fmla="*/ 421469 w 4501379"/>
                  <a:gd name="connsiteY60" fmla="*/ 904875 h 4429294"/>
                  <a:gd name="connsiteX61" fmla="*/ 459569 w 4501379"/>
                  <a:gd name="connsiteY61" fmla="*/ 857250 h 4429294"/>
                  <a:gd name="connsiteX62" fmla="*/ 478619 w 4501379"/>
                  <a:gd name="connsiteY62" fmla="*/ 828675 h 4429294"/>
                  <a:gd name="connsiteX63" fmla="*/ 516719 w 4501379"/>
                  <a:gd name="connsiteY63" fmla="*/ 800100 h 4429294"/>
                  <a:gd name="connsiteX64" fmla="*/ 583394 w 4501379"/>
                  <a:gd name="connsiteY64" fmla="*/ 733425 h 4429294"/>
                  <a:gd name="connsiteX65" fmla="*/ 650069 w 4501379"/>
                  <a:gd name="connsiteY65" fmla="*/ 676275 h 4429294"/>
                  <a:gd name="connsiteX66" fmla="*/ 678644 w 4501379"/>
                  <a:gd name="connsiteY66" fmla="*/ 657225 h 4429294"/>
                  <a:gd name="connsiteX67" fmla="*/ 821519 w 4501379"/>
                  <a:gd name="connsiteY67" fmla="*/ 533400 h 4429294"/>
                  <a:gd name="connsiteX68" fmla="*/ 869144 w 4501379"/>
                  <a:gd name="connsiteY68" fmla="*/ 504825 h 4429294"/>
                  <a:gd name="connsiteX69" fmla="*/ 1148544 w 4501379"/>
                  <a:gd name="connsiteY69" fmla="*/ 311150 h 4429294"/>
                  <a:gd name="connsiteX70" fmla="*/ 1250144 w 4501379"/>
                  <a:gd name="connsiteY70" fmla="*/ 285750 h 4429294"/>
                  <a:gd name="connsiteX71" fmla="*/ 1393019 w 4501379"/>
                  <a:gd name="connsiteY71" fmla="*/ 190500 h 4429294"/>
                  <a:gd name="connsiteX72" fmla="*/ 1431119 w 4501379"/>
                  <a:gd name="connsiteY72" fmla="*/ 161925 h 4429294"/>
                  <a:gd name="connsiteX73" fmla="*/ 1507319 w 4501379"/>
                  <a:gd name="connsiteY73" fmla="*/ 152400 h 4429294"/>
                  <a:gd name="connsiteX74" fmla="*/ 1564469 w 4501379"/>
                  <a:gd name="connsiteY74" fmla="*/ 142875 h 4429294"/>
                  <a:gd name="connsiteX75" fmla="*/ 1697819 w 4501379"/>
                  <a:gd name="connsiteY75" fmla="*/ 123825 h 4429294"/>
                  <a:gd name="connsiteX76" fmla="*/ 1793069 w 4501379"/>
                  <a:gd name="connsiteY76" fmla="*/ 114300 h 4429294"/>
                  <a:gd name="connsiteX77" fmla="*/ 1840694 w 4501379"/>
                  <a:gd name="connsiteY77" fmla="*/ 104775 h 4429294"/>
                  <a:gd name="connsiteX78" fmla="*/ 1897844 w 4501379"/>
                  <a:gd name="connsiteY78" fmla="*/ 95250 h 4429294"/>
                  <a:gd name="connsiteX79" fmla="*/ 2012144 w 4501379"/>
                  <a:gd name="connsiteY79" fmla="*/ 66675 h 4429294"/>
                  <a:gd name="connsiteX80" fmla="*/ 2078819 w 4501379"/>
                  <a:gd name="connsiteY80" fmla="*/ 47625 h 4429294"/>
                  <a:gd name="connsiteX81" fmla="*/ 2145494 w 4501379"/>
                  <a:gd name="connsiteY81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450419 w 4501379"/>
                  <a:gd name="connsiteY6" fmla="*/ 361950 h 4429294"/>
                  <a:gd name="connsiteX7" fmla="*/ 3498044 w 4501379"/>
                  <a:gd name="connsiteY7" fmla="*/ 390525 h 4429294"/>
                  <a:gd name="connsiteX8" fmla="*/ 3612344 w 4501379"/>
                  <a:gd name="connsiteY8" fmla="*/ 485775 h 4429294"/>
                  <a:gd name="connsiteX9" fmla="*/ 3726644 w 4501379"/>
                  <a:gd name="connsiteY9" fmla="*/ 542925 h 4429294"/>
                  <a:gd name="connsiteX10" fmla="*/ 3793319 w 4501379"/>
                  <a:gd name="connsiteY10" fmla="*/ 581025 h 4429294"/>
                  <a:gd name="connsiteX11" fmla="*/ 4009219 w 4501379"/>
                  <a:gd name="connsiteY11" fmla="*/ 819150 h 4429294"/>
                  <a:gd name="connsiteX12" fmla="*/ 4145744 w 4501379"/>
                  <a:gd name="connsiteY12" fmla="*/ 990600 h 4429294"/>
                  <a:gd name="connsiteX13" fmla="*/ 4231469 w 4501379"/>
                  <a:gd name="connsiteY13" fmla="*/ 1143000 h 4429294"/>
                  <a:gd name="connsiteX14" fmla="*/ 4288619 w 4501379"/>
                  <a:gd name="connsiteY14" fmla="*/ 1266825 h 4429294"/>
                  <a:gd name="connsiteX15" fmla="*/ 4326719 w 4501379"/>
                  <a:gd name="connsiteY15" fmla="*/ 1362075 h 4429294"/>
                  <a:gd name="connsiteX16" fmla="*/ 4374344 w 4501379"/>
                  <a:gd name="connsiteY16" fmla="*/ 1552575 h 4429294"/>
                  <a:gd name="connsiteX17" fmla="*/ 4412444 w 4501379"/>
                  <a:gd name="connsiteY17" fmla="*/ 1685925 h 4429294"/>
                  <a:gd name="connsiteX18" fmla="*/ 4501344 w 4501379"/>
                  <a:gd name="connsiteY18" fmla="*/ 2181225 h 4429294"/>
                  <a:gd name="connsiteX19" fmla="*/ 4428319 w 4501379"/>
                  <a:gd name="connsiteY19" fmla="*/ 2768600 h 4429294"/>
                  <a:gd name="connsiteX20" fmla="*/ 4364819 w 4501379"/>
                  <a:gd name="connsiteY20" fmla="*/ 2990850 h 4429294"/>
                  <a:gd name="connsiteX21" fmla="*/ 4260044 w 4501379"/>
                  <a:gd name="connsiteY21" fmla="*/ 3248025 h 4429294"/>
                  <a:gd name="connsiteX22" fmla="*/ 4164794 w 4501379"/>
                  <a:gd name="connsiteY22" fmla="*/ 3400425 h 4429294"/>
                  <a:gd name="connsiteX23" fmla="*/ 4040969 w 4501379"/>
                  <a:gd name="connsiteY23" fmla="*/ 3533775 h 4429294"/>
                  <a:gd name="connsiteX24" fmla="*/ 3936194 w 4501379"/>
                  <a:gd name="connsiteY24" fmla="*/ 3648075 h 4429294"/>
                  <a:gd name="connsiteX25" fmla="*/ 3640919 w 4501379"/>
                  <a:gd name="connsiteY25" fmla="*/ 3971925 h 4429294"/>
                  <a:gd name="connsiteX26" fmla="*/ 3498044 w 4501379"/>
                  <a:gd name="connsiteY26" fmla="*/ 4083050 h 4429294"/>
                  <a:gd name="connsiteX27" fmla="*/ 3202769 w 4501379"/>
                  <a:gd name="connsiteY27" fmla="*/ 4222750 h 4429294"/>
                  <a:gd name="connsiteX28" fmla="*/ 3050369 w 4501379"/>
                  <a:gd name="connsiteY28" fmla="*/ 4286250 h 4429294"/>
                  <a:gd name="connsiteX29" fmla="*/ 2917019 w 4501379"/>
                  <a:gd name="connsiteY29" fmla="*/ 4333875 h 4429294"/>
                  <a:gd name="connsiteX30" fmla="*/ 2793194 w 4501379"/>
                  <a:gd name="connsiteY30" fmla="*/ 4371975 h 4429294"/>
                  <a:gd name="connsiteX31" fmla="*/ 2561419 w 4501379"/>
                  <a:gd name="connsiteY31" fmla="*/ 4391025 h 4429294"/>
                  <a:gd name="connsiteX32" fmla="*/ 2107394 w 4501379"/>
                  <a:gd name="connsiteY32" fmla="*/ 4429125 h 4429294"/>
                  <a:gd name="connsiteX33" fmla="*/ 1916894 w 4501379"/>
                  <a:gd name="connsiteY33" fmla="*/ 4400550 h 4429294"/>
                  <a:gd name="connsiteX34" fmla="*/ 1554944 w 4501379"/>
                  <a:gd name="connsiteY34" fmla="*/ 4305300 h 4429294"/>
                  <a:gd name="connsiteX35" fmla="*/ 1313644 w 4501379"/>
                  <a:gd name="connsiteY35" fmla="*/ 4216400 h 4429294"/>
                  <a:gd name="connsiteX36" fmla="*/ 1145369 w 4501379"/>
                  <a:gd name="connsiteY36" fmla="*/ 4111625 h 4429294"/>
                  <a:gd name="connsiteX37" fmla="*/ 926294 w 4501379"/>
                  <a:gd name="connsiteY37" fmla="*/ 3968750 h 4429294"/>
                  <a:gd name="connsiteX38" fmla="*/ 592919 w 4501379"/>
                  <a:gd name="connsiteY38" fmla="*/ 3657600 h 4429294"/>
                  <a:gd name="connsiteX39" fmla="*/ 446869 w 4501379"/>
                  <a:gd name="connsiteY39" fmla="*/ 3470275 h 4429294"/>
                  <a:gd name="connsiteX40" fmla="*/ 316694 w 4501379"/>
                  <a:gd name="connsiteY40" fmla="*/ 3244850 h 4429294"/>
                  <a:gd name="connsiteX41" fmla="*/ 164294 w 4501379"/>
                  <a:gd name="connsiteY41" fmla="*/ 2892425 h 4429294"/>
                  <a:gd name="connsiteX42" fmla="*/ 56344 w 4501379"/>
                  <a:gd name="connsiteY42" fmla="*/ 2368550 h 4429294"/>
                  <a:gd name="connsiteX43" fmla="*/ 2369 w 4501379"/>
                  <a:gd name="connsiteY43" fmla="*/ 1905000 h 4429294"/>
                  <a:gd name="connsiteX44" fmla="*/ 11894 w 4501379"/>
                  <a:gd name="connsiteY44" fmla="*/ 1838325 h 4429294"/>
                  <a:gd name="connsiteX45" fmla="*/ 30944 w 4501379"/>
                  <a:gd name="connsiteY45" fmla="*/ 1781175 h 4429294"/>
                  <a:gd name="connsiteX46" fmla="*/ 40469 w 4501379"/>
                  <a:gd name="connsiteY46" fmla="*/ 1743075 h 4429294"/>
                  <a:gd name="connsiteX47" fmla="*/ 59519 w 4501379"/>
                  <a:gd name="connsiteY47" fmla="*/ 1685925 h 4429294"/>
                  <a:gd name="connsiteX48" fmla="*/ 69044 w 4501379"/>
                  <a:gd name="connsiteY48" fmla="*/ 1638300 h 4429294"/>
                  <a:gd name="connsiteX49" fmla="*/ 88094 w 4501379"/>
                  <a:gd name="connsiteY49" fmla="*/ 1590675 h 4429294"/>
                  <a:gd name="connsiteX50" fmla="*/ 116669 w 4501379"/>
                  <a:gd name="connsiteY50" fmla="*/ 1504950 h 4429294"/>
                  <a:gd name="connsiteX51" fmla="*/ 135719 w 4501379"/>
                  <a:gd name="connsiteY51" fmla="*/ 1419225 h 4429294"/>
                  <a:gd name="connsiteX52" fmla="*/ 211919 w 4501379"/>
                  <a:gd name="connsiteY52" fmla="*/ 1276350 h 4429294"/>
                  <a:gd name="connsiteX53" fmla="*/ 221444 w 4501379"/>
                  <a:gd name="connsiteY53" fmla="*/ 1247775 h 4429294"/>
                  <a:gd name="connsiteX54" fmla="*/ 250019 w 4501379"/>
                  <a:gd name="connsiteY54" fmla="*/ 1200150 h 4429294"/>
                  <a:gd name="connsiteX55" fmla="*/ 269069 w 4501379"/>
                  <a:gd name="connsiteY55" fmla="*/ 1152525 h 4429294"/>
                  <a:gd name="connsiteX56" fmla="*/ 297644 w 4501379"/>
                  <a:gd name="connsiteY56" fmla="*/ 1114425 h 4429294"/>
                  <a:gd name="connsiteX57" fmla="*/ 345269 w 4501379"/>
                  <a:gd name="connsiteY57" fmla="*/ 1038225 h 4429294"/>
                  <a:gd name="connsiteX58" fmla="*/ 364319 w 4501379"/>
                  <a:gd name="connsiteY58" fmla="*/ 1009650 h 4429294"/>
                  <a:gd name="connsiteX59" fmla="*/ 421469 w 4501379"/>
                  <a:gd name="connsiteY59" fmla="*/ 904875 h 4429294"/>
                  <a:gd name="connsiteX60" fmla="*/ 459569 w 4501379"/>
                  <a:gd name="connsiteY60" fmla="*/ 857250 h 4429294"/>
                  <a:gd name="connsiteX61" fmla="*/ 478619 w 4501379"/>
                  <a:gd name="connsiteY61" fmla="*/ 828675 h 4429294"/>
                  <a:gd name="connsiteX62" fmla="*/ 516719 w 4501379"/>
                  <a:gd name="connsiteY62" fmla="*/ 800100 h 4429294"/>
                  <a:gd name="connsiteX63" fmla="*/ 583394 w 4501379"/>
                  <a:gd name="connsiteY63" fmla="*/ 733425 h 4429294"/>
                  <a:gd name="connsiteX64" fmla="*/ 650069 w 4501379"/>
                  <a:gd name="connsiteY64" fmla="*/ 676275 h 4429294"/>
                  <a:gd name="connsiteX65" fmla="*/ 678644 w 4501379"/>
                  <a:gd name="connsiteY65" fmla="*/ 657225 h 4429294"/>
                  <a:gd name="connsiteX66" fmla="*/ 821519 w 4501379"/>
                  <a:gd name="connsiteY66" fmla="*/ 533400 h 4429294"/>
                  <a:gd name="connsiteX67" fmla="*/ 869144 w 4501379"/>
                  <a:gd name="connsiteY67" fmla="*/ 504825 h 4429294"/>
                  <a:gd name="connsiteX68" fmla="*/ 1148544 w 4501379"/>
                  <a:gd name="connsiteY68" fmla="*/ 311150 h 4429294"/>
                  <a:gd name="connsiteX69" fmla="*/ 1250144 w 4501379"/>
                  <a:gd name="connsiteY69" fmla="*/ 285750 h 4429294"/>
                  <a:gd name="connsiteX70" fmla="*/ 1393019 w 4501379"/>
                  <a:gd name="connsiteY70" fmla="*/ 190500 h 4429294"/>
                  <a:gd name="connsiteX71" fmla="*/ 1431119 w 4501379"/>
                  <a:gd name="connsiteY71" fmla="*/ 161925 h 4429294"/>
                  <a:gd name="connsiteX72" fmla="*/ 1507319 w 4501379"/>
                  <a:gd name="connsiteY72" fmla="*/ 152400 h 4429294"/>
                  <a:gd name="connsiteX73" fmla="*/ 1564469 w 4501379"/>
                  <a:gd name="connsiteY73" fmla="*/ 142875 h 4429294"/>
                  <a:gd name="connsiteX74" fmla="*/ 1697819 w 4501379"/>
                  <a:gd name="connsiteY74" fmla="*/ 123825 h 4429294"/>
                  <a:gd name="connsiteX75" fmla="*/ 1793069 w 4501379"/>
                  <a:gd name="connsiteY75" fmla="*/ 114300 h 4429294"/>
                  <a:gd name="connsiteX76" fmla="*/ 1840694 w 4501379"/>
                  <a:gd name="connsiteY76" fmla="*/ 104775 h 4429294"/>
                  <a:gd name="connsiteX77" fmla="*/ 1897844 w 4501379"/>
                  <a:gd name="connsiteY77" fmla="*/ 95250 h 4429294"/>
                  <a:gd name="connsiteX78" fmla="*/ 2012144 w 4501379"/>
                  <a:gd name="connsiteY78" fmla="*/ 66675 h 4429294"/>
                  <a:gd name="connsiteX79" fmla="*/ 2078819 w 4501379"/>
                  <a:gd name="connsiteY79" fmla="*/ 47625 h 4429294"/>
                  <a:gd name="connsiteX80" fmla="*/ 2145494 w 4501379"/>
                  <a:gd name="connsiteY80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450419 w 4501379"/>
                  <a:gd name="connsiteY6" fmla="*/ 361950 h 4429294"/>
                  <a:gd name="connsiteX7" fmla="*/ 3612344 w 4501379"/>
                  <a:gd name="connsiteY7" fmla="*/ 485775 h 4429294"/>
                  <a:gd name="connsiteX8" fmla="*/ 3726644 w 4501379"/>
                  <a:gd name="connsiteY8" fmla="*/ 542925 h 4429294"/>
                  <a:gd name="connsiteX9" fmla="*/ 3793319 w 4501379"/>
                  <a:gd name="connsiteY9" fmla="*/ 581025 h 4429294"/>
                  <a:gd name="connsiteX10" fmla="*/ 4009219 w 4501379"/>
                  <a:gd name="connsiteY10" fmla="*/ 819150 h 4429294"/>
                  <a:gd name="connsiteX11" fmla="*/ 4145744 w 4501379"/>
                  <a:gd name="connsiteY11" fmla="*/ 990600 h 4429294"/>
                  <a:gd name="connsiteX12" fmla="*/ 4231469 w 4501379"/>
                  <a:gd name="connsiteY12" fmla="*/ 1143000 h 4429294"/>
                  <a:gd name="connsiteX13" fmla="*/ 4288619 w 4501379"/>
                  <a:gd name="connsiteY13" fmla="*/ 1266825 h 4429294"/>
                  <a:gd name="connsiteX14" fmla="*/ 4326719 w 4501379"/>
                  <a:gd name="connsiteY14" fmla="*/ 1362075 h 4429294"/>
                  <a:gd name="connsiteX15" fmla="*/ 4374344 w 4501379"/>
                  <a:gd name="connsiteY15" fmla="*/ 1552575 h 4429294"/>
                  <a:gd name="connsiteX16" fmla="*/ 4412444 w 4501379"/>
                  <a:gd name="connsiteY16" fmla="*/ 1685925 h 4429294"/>
                  <a:gd name="connsiteX17" fmla="*/ 4501344 w 4501379"/>
                  <a:gd name="connsiteY17" fmla="*/ 2181225 h 4429294"/>
                  <a:gd name="connsiteX18" fmla="*/ 4428319 w 4501379"/>
                  <a:gd name="connsiteY18" fmla="*/ 2768600 h 4429294"/>
                  <a:gd name="connsiteX19" fmla="*/ 4364819 w 4501379"/>
                  <a:gd name="connsiteY19" fmla="*/ 2990850 h 4429294"/>
                  <a:gd name="connsiteX20" fmla="*/ 4260044 w 4501379"/>
                  <a:gd name="connsiteY20" fmla="*/ 3248025 h 4429294"/>
                  <a:gd name="connsiteX21" fmla="*/ 4164794 w 4501379"/>
                  <a:gd name="connsiteY21" fmla="*/ 3400425 h 4429294"/>
                  <a:gd name="connsiteX22" fmla="*/ 4040969 w 4501379"/>
                  <a:gd name="connsiteY22" fmla="*/ 3533775 h 4429294"/>
                  <a:gd name="connsiteX23" fmla="*/ 3936194 w 4501379"/>
                  <a:gd name="connsiteY23" fmla="*/ 3648075 h 4429294"/>
                  <a:gd name="connsiteX24" fmla="*/ 3640919 w 4501379"/>
                  <a:gd name="connsiteY24" fmla="*/ 3971925 h 4429294"/>
                  <a:gd name="connsiteX25" fmla="*/ 3498044 w 4501379"/>
                  <a:gd name="connsiteY25" fmla="*/ 4083050 h 4429294"/>
                  <a:gd name="connsiteX26" fmla="*/ 3202769 w 4501379"/>
                  <a:gd name="connsiteY26" fmla="*/ 4222750 h 4429294"/>
                  <a:gd name="connsiteX27" fmla="*/ 3050369 w 4501379"/>
                  <a:gd name="connsiteY27" fmla="*/ 4286250 h 4429294"/>
                  <a:gd name="connsiteX28" fmla="*/ 2917019 w 4501379"/>
                  <a:gd name="connsiteY28" fmla="*/ 4333875 h 4429294"/>
                  <a:gd name="connsiteX29" fmla="*/ 2793194 w 4501379"/>
                  <a:gd name="connsiteY29" fmla="*/ 4371975 h 4429294"/>
                  <a:gd name="connsiteX30" fmla="*/ 2561419 w 4501379"/>
                  <a:gd name="connsiteY30" fmla="*/ 4391025 h 4429294"/>
                  <a:gd name="connsiteX31" fmla="*/ 2107394 w 4501379"/>
                  <a:gd name="connsiteY31" fmla="*/ 4429125 h 4429294"/>
                  <a:gd name="connsiteX32" fmla="*/ 1916894 w 4501379"/>
                  <a:gd name="connsiteY32" fmla="*/ 4400550 h 4429294"/>
                  <a:gd name="connsiteX33" fmla="*/ 1554944 w 4501379"/>
                  <a:gd name="connsiteY33" fmla="*/ 4305300 h 4429294"/>
                  <a:gd name="connsiteX34" fmla="*/ 1313644 w 4501379"/>
                  <a:gd name="connsiteY34" fmla="*/ 4216400 h 4429294"/>
                  <a:gd name="connsiteX35" fmla="*/ 1145369 w 4501379"/>
                  <a:gd name="connsiteY35" fmla="*/ 4111625 h 4429294"/>
                  <a:gd name="connsiteX36" fmla="*/ 926294 w 4501379"/>
                  <a:gd name="connsiteY36" fmla="*/ 3968750 h 4429294"/>
                  <a:gd name="connsiteX37" fmla="*/ 592919 w 4501379"/>
                  <a:gd name="connsiteY37" fmla="*/ 3657600 h 4429294"/>
                  <a:gd name="connsiteX38" fmla="*/ 446869 w 4501379"/>
                  <a:gd name="connsiteY38" fmla="*/ 3470275 h 4429294"/>
                  <a:gd name="connsiteX39" fmla="*/ 316694 w 4501379"/>
                  <a:gd name="connsiteY39" fmla="*/ 3244850 h 4429294"/>
                  <a:gd name="connsiteX40" fmla="*/ 164294 w 4501379"/>
                  <a:gd name="connsiteY40" fmla="*/ 2892425 h 4429294"/>
                  <a:gd name="connsiteX41" fmla="*/ 56344 w 4501379"/>
                  <a:gd name="connsiteY41" fmla="*/ 2368550 h 4429294"/>
                  <a:gd name="connsiteX42" fmla="*/ 2369 w 4501379"/>
                  <a:gd name="connsiteY42" fmla="*/ 1905000 h 4429294"/>
                  <a:gd name="connsiteX43" fmla="*/ 11894 w 4501379"/>
                  <a:gd name="connsiteY43" fmla="*/ 1838325 h 4429294"/>
                  <a:gd name="connsiteX44" fmla="*/ 30944 w 4501379"/>
                  <a:gd name="connsiteY44" fmla="*/ 1781175 h 4429294"/>
                  <a:gd name="connsiteX45" fmla="*/ 40469 w 4501379"/>
                  <a:gd name="connsiteY45" fmla="*/ 1743075 h 4429294"/>
                  <a:gd name="connsiteX46" fmla="*/ 59519 w 4501379"/>
                  <a:gd name="connsiteY46" fmla="*/ 1685925 h 4429294"/>
                  <a:gd name="connsiteX47" fmla="*/ 69044 w 4501379"/>
                  <a:gd name="connsiteY47" fmla="*/ 1638300 h 4429294"/>
                  <a:gd name="connsiteX48" fmla="*/ 88094 w 4501379"/>
                  <a:gd name="connsiteY48" fmla="*/ 1590675 h 4429294"/>
                  <a:gd name="connsiteX49" fmla="*/ 116669 w 4501379"/>
                  <a:gd name="connsiteY49" fmla="*/ 1504950 h 4429294"/>
                  <a:gd name="connsiteX50" fmla="*/ 135719 w 4501379"/>
                  <a:gd name="connsiteY50" fmla="*/ 1419225 h 4429294"/>
                  <a:gd name="connsiteX51" fmla="*/ 211919 w 4501379"/>
                  <a:gd name="connsiteY51" fmla="*/ 1276350 h 4429294"/>
                  <a:gd name="connsiteX52" fmla="*/ 221444 w 4501379"/>
                  <a:gd name="connsiteY52" fmla="*/ 1247775 h 4429294"/>
                  <a:gd name="connsiteX53" fmla="*/ 250019 w 4501379"/>
                  <a:gd name="connsiteY53" fmla="*/ 1200150 h 4429294"/>
                  <a:gd name="connsiteX54" fmla="*/ 269069 w 4501379"/>
                  <a:gd name="connsiteY54" fmla="*/ 1152525 h 4429294"/>
                  <a:gd name="connsiteX55" fmla="*/ 297644 w 4501379"/>
                  <a:gd name="connsiteY55" fmla="*/ 1114425 h 4429294"/>
                  <a:gd name="connsiteX56" fmla="*/ 345269 w 4501379"/>
                  <a:gd name="connsiteY56" fmla="*/ 1038225 h 4429294"/>
                  <a:gd name="connsiteX57" fmla="*/ 364319 w 4501379"/>
                  <a:gd name="connsiteY57" fmla="*/ 1009650 h 4429294"/>
                  <a:gd name="connsiteX58" fmla="*/ 421469 w 4501379"/>
                  <a:gd name="connsiteY58" fmla="*/ 904875 h 4429294"/>
                  <a:gd name="connsiteX59" fmla="*/ 459569 w 4501379"/>
                  <a:gd name="connsiteY59" fmla="*/ 857250 h 4429294"/>
                  <a:gd name="connsiteX60" fmla="*/ 478619 w 4501379"/>
                  <a:gd name="connsiteY60" fmla="*/ 828675 h 4429294"/>
                  <a:gd name="connsiteX61" fmla="*/ 516719 w 4501379"/>
                  <a:gd name="connsiteY61" fmla="*/ 800100 h 4429294"/>
                  <a:gd name="connsiteX62" fmla="*/ 583394 w 4501379"/>
                  <a:gd name="connsiteY62" fmla="*/ 733425 h 4429294"/>
                  <a:gd name="connsiteX63" fmla="*/ 650069 w 4501379"/>
                  <a:gd name="connsiteY63" fmla="*/ 676275 h 4429294"/>
                  <a:gd name="connsiteX64" fmla="*/ 678644 w 4501379"/>
                  <a:gd name="connsiteY64" fmla="*/ 657225 h 4429294"/>
                  <a:gd name="connsiteX65" fmla="*/ 821519 w 4501379"/>
                  <a:gd name="connsiteY65" fmla="*/ 533400 h 4429294"/>
                  <a:gd name="connsiteX66" fmla="*/ 869144 w 4501379"/>
                  <a:gd name="connsiteY66" fmla="*/ 504825 h 4429294"/>
                  <a:gd name="connsiteX67" fmla="*/ 1148544 w 4501379"/>
                  <a:gd name="connsiteY67" fmla="*/ 311150 h 4429294"/>
                  <a:gd name="connsiteX68" fmla="*/ 1250144 w 4501379"/>
                  <a:gd name="connsiteY68" fmla="*/ 285750 h 4429294"/>
                  <a:gd name="connsiteX69" fmla="*/ 1393019 w 4501379"/>
                  <a:gd name="connsiteY69" fmla="*/ 190500 h 4429294"/>
                  <a:gd name="connsiteX70" fmla="*/ 1431119 w 4501379"/>
                  <a:gd name="connsiteY70" fmla="*/ 161925 h 4429294"/>
                  <a:gd name="connsiteX71" fmla="*/ 1507319 w 4501379"/>
                  <a:gd name="connsiteY71" fmla="*/ 152400 h 4429294"/>
                  <a:gd name="connsiteX72" fmla="*/ 1564469 w 4501379"/>
                  <a:gd name="connsiteY72" fmla="*/ 142875 h 4429294"/>
                  <a:gd name="connsiteX73" fmla="*/ 1697819 w 4501379"/>
                  <a:gd name="connsiteY73" fmla="*/ 123825 h 4429294"/>
                  <a:gd name="connsiteX74" fmla="*/ 1793069 w 4501379"/>
                  <a:gd name="connsiteY74" fmla="*/ 114300 h 4429294"/>
                  <a:gd name="connsiteX75" fmla="*/ 1840694 w 4501379"/>
                  <a:gd name="connsiteY75" fmla="*/ 104775 h 4429294"/>
                  <a:gd name="connsiteX76" fmla="*/ 1897844 w 4501379"/>
                  <a:gd name="connsiteY76" fmla="*/ 95250 h 4429294"/>
                  <a:gd name="connsiteX77" fmla="*/ 2012144 w 4501379"/>
                  <a:gd name="connsiteY77" fmla="*/ 66675 h 4429294"/>
                  <a:gd name="connsiteX78" fmla="*/ 2078819 w 4501379"/>
                  <a:gd name="connsiteY78" fmla="*/ 47625 h 4429294"/>
                  <a:gd name="connsiteX79" fmla="*/ 2145494 w 4501379"/>
                  <a:gd name="connsiteY79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612344 w 4501379"/>
                  <a:gd name="connsiteY6" fmla="*/ 485775 h 4429294"/>
                  <a:gd name="connsiteX7" fmla="*/ 3726644 w 4501379"/>
                  <a:gd name="connsiteY7" fmla="*/ 542925 h 4429294"/>
                  <a:gd name="connsiteX8" fmla="*/ 3793319 w 4501379"/>
                  <a:gd name="connsiteY8" fmla="*/ 581025 h 4429294"/>
                  <a:gd name="connsiteX9" fmla="*/ 4009219 w 4501379"/>
                  <a:gd name="connsiteY9" fmla="*/ 819150 h 4429294"/>
                  <a:gd name="connsiteX10" fmla="*/ 4145744 w 4501379"/>
                  <a:gd name="connsiteY10" fmla="*/ 990600 h 4429294"/>
                  <a:gd name="connsiteX11" fmla="*/ 4231469 w 4501379"/>
                  <a:gd name="connsiteY11" fmla="*/ 1143000 h 4429294"/>
                  <a:gd name="connsiteX12" fmla="*/ 4288619 w 4501379"/>
                  <a:gd name="connsiteY12" fmla="*/ 1266825 h 4429294"/>
                  <a:gd name="connsiteX13" fmla="*/ 4326719 w 4501379"/>
                  <a:gd name="connsiteY13" fmla="*/ 1362075 h 4429294"/>
                  <a:gd name="connsiteX14" fmla="*/ 4374344 w 4501379"/>
                  <a:gd name="connsiteY14" fmla="*/ 1552575 h 4429294"/>
                  <a:gd name="connsiteX15" fmla="*/ 4412444 w 4501379"/>
                  <a:gd name="connsiteY15" fmla="*/ 1685925 h 4429294"/>
                  <a:gd name="connsiteX16" fmla="*/ 4501344 w 4501379"/>
                  <a:gd name="connsiteY16" fmla="*/ 2181225 h 4429294"/>
                  <a:gd name="connsiteX17" fmla="*/ 4428319 w 4501379"/>
                  <a:gd name="connsiteY17" fmla="*/ 2768600 h 4429294"/>
                  <a:gd name="connsiteX18" fmla="*/ 4364819 w 4501379"/>
                  <a:gd name="connsiteY18" fmla="*/ 2990850 h 4429294"/>
                  <a:gd name="connsiteX19" fmla="*/ 4260044 w 4501379"/>
                  <a:gd name="connsiteY19" fmla="*/ 3248025 h 4429294"/>
                  <a:gd name="connsiteX20" fmla="*/ 4164794 w 4501379"/>
                  <a:gd name="connsiteY20" fmla="*/ 3400425 h 4429294"/>
                  <a:gd name="connsiteX21" fmla="*/ 4040969 w 4501379"/>
                  <a:gd name="connsiteY21" fmla="*/ 3533775 h 4429294"/>
                  <a:gd name="connsiteX22" fmla="*/ 3936194 w 4501379"/>
                  <a:gd name="connsiteY22" fmla="*/ 3648075 h 4429294"/>
                  <a:gd name="connsiteX23" fmla="*/ 3640919 w 4501379"/>
                  <a:gd name="connsiteY23" fmla="*/ 3971925 h 4429294"/>
                  <a:gd name="connsiteX24" fmla="*/ 3498044 w 4501379"/>
                  <a:gd name="connsiteY24" fmla="*/ 4083050 h 4429294"/>
                  <a:gd name="connsiteX25" fmla="*/ 3202769 w 4501379"/>
                  <a:gd name="connsiteY25" fmla="*/ 4222750 h 4429294"/>
                  <a:gd name="connsiteX26" fmla="*/ 3050369 w 4501379"/>
                  <a:gd name="connsiteY26" fmla="*/ 4286250 h 4429294"/>
                  <a:gd name="connsiteX27" fmla="*/ 2917019 w 4501379"/>
                  <a:gd name="connsiteY27" fmla="*/ 4333875 h 4429294"/>
                  <a:gd name="connsiteX28" fmla="*/ 2793194 w 4501379"/>
                  <a:gd name="connsiteY28" fmla="*/ 4371975 h 4429294"/>
                  <a:gd name="connsiteX29" fmla="*/ 2561419 w 4501379"/>
                  <a:gd name="connsiteY29" fmla="*/ 4391025 h 4429294"/>
                  <a:gd name="connsiteX30" fmla="*/ 2107394 w 4501379"/>
                  <a:gd name="connsiteY30" fmla="*/ 4429125 h 4429294"/>
                  <a:gd name="connsiteX31" fmla="*/ 1916894 w 4501379"/>
                  <a:gd name="connsiteY31" fmla="*/ 4400550 h 4429294"/>
                  <a:gd name="connsiteX32" fmla="*/ 1554944 w 4501379"/>
                  <a:gd name="connsiteY32" fmla="*/ 4305300 h 4429294"/>
                  <a:gd name="connsiteX33" fmla="*/ 1313644 w 4501379"/>
                  <a:gd name="connsiteY33" fmla="*/ 4216400 h 4429294"/>
                  <a:gd name="connsiteX34" fmla="*/ 1145369 w 4501379"/>
                  <a:gd name="connsiteY34" fmla="*/ 4111625 h 4429294"/>
                  <a:gd name="connsiteX35" fmla="*/ 926294 w 4501379"/>
                  <a:gd name="connsiteY35" fmla="*/ 3968750 h 4429294"/>
                  <a:gd name="connsiteX36" fmla="*/ 592919 w 4501379"/>
                  <a:gd name="connsiteY36" fmla="*/ 3657600 h 4429294"/>
                  <a:gd name="connsiteX37" fmla="*/ 446869 w 4501379"/>
                  <a:gd name="connsiteY37" fmla="*/ 3470275 h 4429294"/>
                  <a:gd name="connsiteX38" fmla="*/ 316694 w 4501379"/>
                  <a:gd name="connsiteY38" fmla="*/ 3244850 h 4429294"/>
                  <a:gd name="connsiteX39" fmla="*/ 164294 w 4501379"/>
                  <a:gd name="connsiteY39" fmla="*/ 2892425 h 4429294"/>
                  <a:gd name="connsiteX40" fmla="*/ 56344 w 4501379"/>
                  <a:gd name="connsiteY40" fmla="*/ 2368550 h 4429294"/>
                  <a:gd name="connsiteX41" fmla="*/ 2369 w 4501379"/>
                  <a:gd name="connsiteY41" fmla="*/ 1905000 h 4429294"/>
                  <a:gd name="connsiteX42" fmla="*/ 11894 w 4501379"/>
                  <a:gd name="connsiteY42" fmla="*/ 1838325 h 4429294"/>
                  <a:gd name="connsiteX43" fmla="*/ 30944 w 4501379"/>
                  <a:gd name="connsiteY43" fmla="*/ 1781175 h 4429294"/>
                  <a:gd name="connsiteX44" fmla="*/ 40469 w 4501379"/>
                  <a:gd name="connsiteY44" fmla="*/ 1743075 h 4429294"/>
                  <a:gd name="connsiteX45" fmla="*/ 59519 w 4501379"/>
                  <a:gd name="connsiteY45" fmla="*/ 1685925 h 4429294"/>
                  <a:gd name="connsiteX46" fmla="*/ 69044 w 4501379"/>
                  <a:gd name="connsiteY46" fmla="*/ 1638300 h 4429294"/>
                  <a:gd name="connsiteX47" fmla="*/ 88094 w 4501379"/>
                  <a:gd name="connsiteY47" fmla="*/ 1590675 h 4429294"/>
                  <a:gd name="connsiteX48" fmla="*/ 116669 w 4501379"/>
                  <a:gd name="connsiteY48" fmla="*/ 1504950 h 4429294"/>
                  <a:gd name="connsiteX49" fmla="*/ 135719 w 4501379"/>
                  <a:gd name="connsiteY49" fmla="*/ 1419225 h 4429294"/>
                  <a:gd name="connsiteX50" fmla="*/ 211919 w 4501379"/>
                  <a:gd name="connsiteY50" fmla="*/ 1276350 h 4429294"/>
                  <a:gd name="connsiteX51" fmla="*/ 221444 w 4501379"/>
                  <a:gd name="connsiteY51" fmla="*/ 1247775 h 4429294"/>
                  <a:gd name="connsiteX52" fmla="*/ 250019 w 4501379"/>
                  <a:gd name="connsiteY52" fmla="*/ 1200150 h 4429294"/>
                  <a:gd name="connsiteX53" fmla="*/ 269069 w 4501379"/>
                  <a:gd name="connsiteY53" fmla="*/ 1152525 h 4429294"/>
                  <a:gd name="connsiteX54" fmla="*/ 297644 w 4501379"/>
                  <a:gd name="connsiteY54" fmla="*/ 1114425 h 4429294"/>
                  <a:gd name="connsiteX55" fmla="*/ 345269 w 4501379"/>
                  <a:gd name="connsiteY55" fmla="*/ 1038225 h 4429294"/>
                  <a:gd name="connsiteX56" fmla="*/ 364319 w 4501379"/>
                  <a:gd name="connsiteY56" fmla="*/ 1009650 h 4429294"/>
                  <a:gd name="connsiteX57" fmla="*/ 421469 w 4501379"/>
                  <a:gd name="connsiteY57" fmla="*/ 904875 h 4429294"/>
                  <a:gd name="connsiteX58" fmla="*/ 459569 w 4501379"/>
                  <a:gd name="connsiteY58" fmla="*/ 857250 h 4429294"/>
                  <a:gd name="connsiteX59" fmla="*/ 478619 w 4501379"/>
                  <a:gd name="connsiteY59" fmla="*/ 828675 h 4429294"/>
                  <a:gd name="connsiteX60" fmla="*/ 516719 w 4501379"/>
                  <a:gd name="connsiteY60" fmla="*/ 800100 h 4429294"/>
                  <a:gd name="connsiteX61" fmla="*/ 583394 w 4501379"/>
                  <a:gd name="connsiteY61" fmla="*/ 733425 h 4429294"/>
                  <a:gd name="connsiteX62" fmla="*/ 650069 w 4501379"/>
                  <a:gd name="connsiteY62" fmla="*/ 676275 h 4429294"/>
                  <a:gd name="connsiteX63" fmla="*/ 678644 w 4501379"/>
                  <a:gd name="connsiteY63" fmla="*/ 657225 h 4429294"/>
                  <a:gd name="connsiteX64" fmla="*/ 821519 w 4501379"/>
                  <a:gd name="connsiteY64" fmla="*/ 533400 h 4429294"/>
                  <a:gd name="connsiteX65" fmla="*/ 869144 w 4501379"/>
                  <a:gd name="connsiteY65" fmla="*/ 504825 h 4429294"/>
                  <a:gd name="connsiteX66" fmla="*/ 1148544 w 4501379"/>
                  <a:gd name="connsiteY66" fmla="*/ 311150 h 4429294"/>
                  <a:gd name="connsiteX67" fmla="*/ 1250144 w 4501379"/>
                  <a:gd name="connsiteY67" fmla="*/ 285750 h 4429294"/>
                  <a:gd name="connsiteX68" fmla="*/ 1393019 w 4501379"/>
                  <a:gd name="connsiteY68" fmla="*/ 190500 h 4429294"/>
                  <a:gd name="connsiteX69" fmla="*/ 1431119 w 4501379"/>
                  <a:gd name="connsiteY69" fmla="*/ 161925 h 4429294"/>
                  <a:gd name="connsiteX70" fmla="*/ 1507319 w 4501379"/>
                  <a:gd name="connsiteY70" fmla="*/ 152400 h 4429294"/>
                  <a:gd name="connsiteX71" fmla="*/ 1564469 w 4501379"/>
                  <a:gd name="connsiteY71" fmla="*/ 142875 h 4429294"/>
                  <a:gd name="connsiteX72" fmla="*/ 1697819 w 4501379"/>
                  <a:gd name="connsiteY72" fmla="*/ 123825 h 4429294"/>
                  <a:gd name="connsiteX73" fmla="*/ 1793069 w 4501379"/>
                  <a:gd name="connsiteY73" fmla="*/ 114300 h 4429294"/>
                  <a:gd name="connsiteX74" fmla="*/ 1840694 w 4501379"/>
                  <a:gd name="connsiteY74" fmla="*/ 104775 h 4429294"/>
                  <a:gd name="connsiteX75" fmla="*/ 1897844 w 4501379"/>
                  <a:gd name="connsiteY75" fmla="*/ 95250 h 4429294"/>
                  <a:gd name="connsiteX76" fmla="*/ 2012144 w 4501379"/>
                  <a:gd name="connsiteY76" fmla="*/ 66675 h 4429294"/>
                  <a:gd name="connsiteX77" fmla="*/ 2078819 w 4501379"/>
                  <a:gd name="connsiteY77" fmla="*/ 47625 h 4429294"/>
                  <a:gd name="connsiteX78" fmla="*/ 2145494 w 4501379"/>
                  <a:gd name="connsiteY7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612344 w 4501379"/>
                  <a:gd name="connsiteY6" fmla="*/ 485775 h 4429294"/>
                  <a:gd name="connsiteX7" fmla="*/ 3793319 w 4501379"/>
                  <a:gd name="connsiteY7" fmla="*/ 581025 h 4429294"/>
                  <a:gd name="connsiteX8" fmla="*/ 4009219 w 4501379"/>
                  <a:gd name="connsiteY8" fmla="*/ 819150 h 4429294"/>
                  <a:gd name="connsiteX9" fmla="*/ 4145744 w 4501379"/>
                  <a:gd name="connsiteY9" fmla="*/ 990600 h 4429294"/>
                  <a:gd name="connsiteX10" fmla="*/ 4231469 w 4501379"/>
                  <a:gd name="connsiteY10" fmla="*/ 1143000 h 4429294"/>
                  <a:gd name="connsiteX11" fmla="*/ 4288619 w 4501379"/>
                  <a:gd name="connsiteY11" fmla="*/ 1266825 h 4429294"/>
                  <a:gd name="connsiteX12" fmla="*/ 4326719 w 4501379"/>
                  <a:gd name="connsiteY12" fmla="*/ 1362075 h 4429294"/>
                  <a:gd name="connsiteX13" fmla="*/ 4374344 w 4501379"/>
                  <a:gd name="connsiteY13" fmla="*/ 1552575 h 4429294"/>
                  <a:gd name="connsiteX14" fmla="*/ 4412444 w 4501379"/>
                  <a:gd name="connsiteY14" fmla="*/ 1685925 h 4429294"/>
                  <a:gd name="connsiteX15" fmla="*/ 4501344 w 4501379"/>
                  <a:gd name="connsiteY15" fmla="*/ 2181225 h 4429294"/>
                  <a:gd name="connsiteX16" fmla="*/ 4428319 w 4501379"/>
                  <a:gd name="connsiteY16" fmla="*/ 2768600 h 4429294"/>
                  <a:gd name="connsiteX17" fmla="*/ 4364819 w 4501379"/>
                  <a:gd name="connsiteY17" fmla="*/ 2990850 h 4429294"/>
                  <a:gd name="connsiteX18" fmla="*/ 4260044 w 4501379"/>
                  <a:gd name="connsiteY18" fmla="*/ 3248025 h 4429294"/>
                  <a:gd name="connsiteX19" fmla="*/ 4164794 w 4501379"/>
                  <a:gd name="connsiteY19" fmla="*/ 3400425 h 4429294"/>
                  <a:gd name="connsiteX20" fmla="*/ 4040969 w 4501379"/>
                  <a:gd name="connsiteY20" fmla="*/ 3533775 h 4429294"/>
                  <a:gd name="connsiteX21" fmla="*/ 3936194 w 4501379"/>
                  <a:gd name="connsiteY21" fmla="*/ 3648075 h 4429294"/>
                  <a:gd name="connsiteX22" fmla="*/ 3640919 w 4501379"/>
                  <a:gd name="connsiteY22" fmla="*/ 3971925 h 4429294"/>
                  <a:gd name="connsiteX23" fmla="*/ 3498044 w 4501379"/>
                  <a:gd name="connsiteY23" fmla="*/ 4083050 h 4429294"/>
                  <a:gd name="connsiteX24" fmla="*/ 3202769 w 4501379"/>
                  <a:gd name="connsiteY24" fmla="*/ 4222750 h 4429294"/>
                  <a:gd name="connsiteX25" fmla="*/ 3050369 w 4501379"/>
                  <a:gd name="connsiteY25" fmla="*/ 4286250 h 4429294"/>
                  <a:gd name="connsiteX26" fmla="*/ 2917019 w 4501379"/>
                  <a:gd name="connsiteY26" fmla="*/ 4333875 h 4429294"/>
                  <a:gd name="connsiteX27" fmla="*/ 2793194 w 4501379"/>
                  <a:gd name="connsiteY27" fmla="*/ 4371975 h 4429294"/>
                  <a:gd name="connsiteX28" fmla="*/ 2561419 w 4501379"/>
                  <a:gd name="connsiteY28" fmla="*/ 4391025 h 4429294"/>
                  <a:gd name="connsiteX29" fmla="*/ 2107394 w 4501379"/>
                  <a:gd name="connsiteY29" fmla="*/ 4429125 h 4429294"/>
                  <a:gd name="connsiteX30" fmla="*/ 1916894 w 4501379"/>
                  <a:gd name="connsiteY30" fmla="*/ 4400550 h 4429294"/>
                  <a:gd name="connsiteX31" fmla="*/ 1554944 w 4501379"/>
                  <a:gd name="connsiteY31" fmla="*/ 4305300 h 4429294"/>
                  <a:gd name="connsiteX32" fmla="*/ 1313644 w 4501379"/>
                  <a:gd name="connsiteY32" fmla="*/ 4216400 h 4429294"/>
                  <a:gd name="connsiteX33" fmla="*/ 1145369 w 4501379"/>
                  <a:gd name="connsiteY33" fmla="*/ 4111625 h 4429294"/>
                  <a:gd name="connsiteX34" fmla="*/ 926294 w 4501379"/>
                  <a:gd name="connsiteY34" fmla="*/ 3968750 h 4429294"/>
                  <a:gd name="connsiteX35" fmla="*/ 592919 w 4501379"/>
                  <a:gd name="connsiteY35" fmla="*/ 3657600 h 4429294"/>
                  <a:gd name="connsiteX36" fmla="*/ 446869 w 4501379"/>
                  <a:gd name="connsiteY36" fmla="*/ 3470275 h 4429294"/>
                  <a:gd name="connsiteX37" fmla="*/ 316694 w 4501379"/>
                  <a:gd name="connsiteY37" fmla="*/ 3244850 h 4429294"/>
                  <a:gd name="connsiteX38" fmla="*/ 164294 w 4501379"/>
                  <a:gd name="connsiteY38" fmla="*/ 2892425 h 4429294"/>
                  <a:gd name="connsiteX39" fmla="*/ 56344 w 4501379"/>
                  <a:gd name="connsiteY39" fmla="*/ 2368550 h 4429294"/>
                  <a:gd name="connsiteX40" fmla="*/ 2369 w 4501379"/>
                  <a:gd name="connsiteY40" fmla="*/ 1905000 h 4429294"/>
                  <a:gd name="connsiteX41" fmla="*/ 11894 w 4501379"/>
                  <a:gd name="connsiteY41" fmla="*/ 1838325 h 4429294"/>
                  <a:gd name="connsiteX42" fmla="*/ 30944 w 4501379"/>
                  <a:gd name="connsiteY42" fmla="*/ 1781175 h 4429294"/>
                  <a:gd name="connsiteX43" fmla="*/ 40469 w 4501379"/>
                  <a:gd name="connsiteY43" fmla="*/ 1743075 h 4429294"/>
                  <a:gd name="connsiteX44" fmla="*/ 59519 w 4501379"/>
                  <a:gd name="connsiteY44" fmla="*/ 1685925 h 4429294"/>
                  <a:gd name="connsiteX45" fmla="*/ 69044 w 4501379"/>
                  <a:gd name="connsiteY45" fmla="*/ 1638300 h 4429294"/>
                  <a:gd name="connsiteX46" fmla="*/ 88094 w 4501379"/>
                  <a:gd name="connsiteY46" fmla="*/ 1590675 h 4429294"/>
                  <a:gd name="connsiteX47" fmla="*/ 116669 w 4501379"/>
                  <a:gd name="connsiteY47" fmla="*/ 1504950 h 4429294"/>
                  <a:gd name="connsiteX48" fmla="*/ 135719 w 4501379"/>
                  <a:gd name="connsiteY48" fmla="*/ 1419225 h 4429294"/>
                  <a:gd name="connsiteX49" fmla="*/ 211919 w 4501379"/>
                  <a:gd name="connsiteY49" fmla="*/ 1276350 h 4429294"/>
                  <a:gd name="connsiteX50" fmla="*/ 221444 w 4501379"/>
                  <a:gd name="connsiteY50" fmla="*/ 1247775 h 4429294"/>
                  <a:gd name="connsiteX51" fmla="*/ 250019 w 4501379"/>
                  <a:gd name="connsiteY51" fmla="*/ 1200150 h 4429294"/>
                  <a:gd name="connsiteX52" fmla="*/ 269069 w 4501379"/>
                  <a:gd name="connsiteY52" fmla="*/ 1152525 h 4429294"/>
                  <a:gd name="connsiteX53" fmla="*/ 297644 w 4501379"/>
                  <a:gd name="connsiteY53" fmla="*/ 1114425 h 4429294"/>
                  <a:gd name="connsiteX54" fmla="*/ 345269 w 4501379"/>
                  <a:gd name="connsiteY54" fmla="*/ 1038225 h 4429294"/>
                  <a:gd name="connsiteX55" fmla="*/ 364319 w 4501379"/>
                  <a:gd name="connsiteY55" fmla="*/ 1009650 h 4429294"/>
                  <a:gd name="connsiteX56" fmla="*/ 421469 w 4501379"/>
                  <a:gd name="connsiteY56" fmla="*/ 904875 h 4429294"/>
                  <a:gd name="connsiteX57" fmla="*/ 459569 w 4501379"/>
                  <a:gd name="connsiteY57" fmla="*/ 857250 h 4429294"/>
                  <a:gd name="connsiteX58" fmla="*/ 478619 w 4501379"/>
                  <a:gd name="connsiteY58" fmla="*/ 828675 h 4429294"/>
                  <a:gd name="connsiteX59" fmla="*/ 516719 w 4501379"/>
                  <a:gd name="connsiteY59" fmla="*/ 800100 h 4429294"/>
                  <a:gd name="connsiteX60" fmla="*/ 583394 w 4501379"/>
                  <a:gd name="connsiteY60" fmla="*/ 733425 h 4429294"/>
                  <a:gd name="connsiteX61" fmla="*/ 650069 w 4501379"/>
                  <a:gd name="connsiteY61" fmla="*/ 676275 h 4429294"/>
                  <a:gd name="connsiteX62" fmla="*/ 678644 w 4501379"/>
                  <a:gd name="connsiteY62" fmla="*/ 657225 h 4429294"/>
                  <a:gd name="connsiteX63" fmla="*/ 821519 w 4501379"/>
                  <a:gd name="connsiteY63" fmla="*/ 533400 h 4429294"/>
                  <a:gd name="connsiteX64" fmla="*/ 869144 w 4501379"/>
                  <a:gd name="connsiteY64" fmla="*/ 504825 h 4429294"/>
                  <a:gd name="connsiteX65" fmla="*/ 1148544 w 4501379"/>
                  <a:gd name="connsiteY65" fmla="*/ 311150 h 4429294"/>
                  <a:gd name="connsiteX66" fmla="*/ 1250144 w 4501379"/>
                  <a:gd name="connsiteY66" fmla="*/ 285750 h 4429294"/>
                  <a:gd name="connsiteX67" fmla="*/ 1393019 w 4501379"/>
                  <a:gd name="connsiteY67" fmla="*/ 190500 h 4429294"/>
                  <a:gd name="connsiteX68" fmla="*/ 1431119 w 4501379"/>
                  <a:gd name="connsiteY68" fmla="*/ 161925 h 4429294"/>
                  <a:gd name="connsiteX69" fmla="*/ 1507319 w 4501379"/>
                  <a:gd name="connsiteY69" fmla="*/ 152400 h 4429294"/>
                  <a:gd name="connsiteX70" fmla="*/ 1564469 w 4501379"/>
                  <a:gd name="connsiteY70" fmla="*/ 142875 h 4429294"/>
                  <a:gd name="connsiteX71" fmla="*/ 1697819 w 4501379"/>
                  <a:gd name="connsiteY71" fmla="*/ 123825 h 4429294"/>
                  <a:gd name="connsiteX72" fmla="*/ 1793069 w 4501379"/>
                  <a:gd name="connsiteY72" fmla="*/ 114300 h 4429294"/>
                  <a:gd name="connsiteX73" fmla="*/ 1840694 w 4501379"/>
                  <a:gd name="connsiteY73" fmla="*/ 104775 h 4429294"/>
                  <a:gd name="connsiteX74" fmla="*/ 1897844 w 4501379"/>
                  <a:gd name="connsiteY74" fmla="*/ 95250 h 4429294"/>
                  <a:gd name="connsiteX75" fmla="*/ 2012144 w 4501379"/>
                  <a:gd name="connsiteY75" fmla="*/ 66675 h 4429294"/>
                  <a:gd name="connsiteX76" fmla="*/ 2078819 w 4501379"/>
                  <a:gd name="connsiteY76" fmla="*/ 47625 h 4429294"/>
                  <a:gd name="connsiteX77" fmla="*/ 2145494 w 4501379"/>
                  <a:gd name="connsiteY77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250144 w 4501379"/>
                  <a:gd name="connsiteY65" fmla="*/ 285750 h 4429294"/>
                  <a:gd name="connsiteX66" fmla="*/ 1393019 w 4501379"/>
                  <a:gd name="connsiteY66" fmla="*/ 190500 h 4429294"/>
                  <a:gd name="connsiteX67" fmla="*/ 1431119 w 4501379"/>
                  <a:gd name="connsiteY67" fmla="*/ 161925 h 4429294"/>
                  <a:gd name="connsiteX68" fmla="*/ 1507319 w 4501379"/>
                  <a:gd name="connsiteY68" fmla="*/ 152400 h 4429294"/>
                  <a:gd name="connsiteX69" fmla="*/ 1564469 w 4501379"/>
                  <a:gd name="connsiteY69" fmla="*/ 142875 h 4429294"/>
                  <a:gd name="connsiteX70" fmla="*/ 1697819 w 4501379"/>
                  <a:gd name="connsiteY70" fmla="*/ 123825 h 4429294"/>
                  <a:gd name="connsiteX71" fmla="*/ 1793069 w 4501379"/>
                  <a:gd name="connsiteY71" fmla="*/ 114300 h 4429294"/>
                  <a:gd name="connsiteX72" fmla="*/ 1840694 w 4501379"/>
                  <a:gd name="connsiteY72" fmla="*/ 104775 h 4429294"/>
                  <a:gd name="connsiteX73" fmla="*/ 1897844 w 4501379"/>
                  <a:gd name="connsiteY73" fmla="*/ 95250 h 4429294"/>
                  <a:gd name="connsiteX74" fmla="*/ 2012144 w 4501379"/>
                  <a:gd name="connsiteY74" fmla="*/ 66675 h 4429294"/>
                  <a:gd name="connsiteX75" fmla="*/ 2078819 w 4501379"/>
                  <a:gd name="connsiteY75" fmla="*/ 47625 h 4429294"/>
                  <a:gd name="connsiteX76" fmla="*/ 2145494 w 4501379"/>
                  <a:gd name="connsiteY76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250144 w 4501379"/>
                  <a:gd name="connsiteY65" fmla="*/ 285750 h 4429294"/>
                  <a:gd name="connsiteX66" fmla="*/ 1431119 w 4501379"/>
                  <a:gd name="connsiteY66" fmla="*/ 161925 h 4429294"/>
                  <a:gd name="connsiteX67" fmla="*/ 1507319 w 4501379"/>
                  <a:gd name="connsiteY67" fmla="*/ 152400 h 4429294"/>
                  <a:gd name="connsiteX68" fmla="*/ 1564469 w 4501379"/>
                  <a:gd name="connsiteY68" fmla="*/ 142875 h 4429294"/>
                  <a:gd name="connsiteX69" fmla="*/ 1697819 w 4501379"/>
                  <a:gd name="connsiteY69" fmla="*/ 123825 h 4429294"/>
                  <a:gd name="connsiteX70" fmla="*/ 1793069 w 4501379"/>
                  <a:gd name="connsiteY70" fmla="*/ 114300 h 4429294"/>
                  <a:gd name="connsiteX71" fmla="*/ 1840694 w 4501379"/>
                  <a:gd name="connsiteY71" fmla="*/ 104775 h 4429294"/>
                  <a:gd name="connsiteX72" fmla="*/ 1897844 w 4501379"/>
                  <a:gd name="connsiteY72" fmla="*/ 95250 h 4429294"/>
                  <a:gd name="connsiteX73" fmla="*/ 2012144 w 4501379"/>
                  <a:gd name="connsiteY73" fmla="*/ 66675 h 4429294"/>
                  <a:gd name="connsiteX74" fmla="*/ 2078819 w 4501379"/>
                  <a:gd name="connsiteY74" fmla="*/ 47625 h 4429294"/>
                  <a:gd name="connsiteX75" fmla="*/ 2145494 w 4501379"/>
                  <a:gd name="connsiteY75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250144 w 4501379"/>
                  <a:gd name="connsiteY65" fmla="*/ 285750 h 4429294"/>
                  <a:gd name="connsiteX66" fmla="*/ 1507319 w 4501379"/>
                  <a:gd name="connsiteY66" fmla="*/ 152400 h 4429294"/>
                  <a:gd name="connsiteX67" fmla="*/ 1564469 w 4501379"/>
                  <a:gd name="connsiteY67" fmla="*/ 142875 h 4429294"/>
                  <a:gd name="connsiteX68" fmla="*/ 1697819 w 4501379"/>
                  <a:gd name="connsiteY68" fmla="*/ 123825 h 4429294"/>
                  <a:gd name="connsiteX69" fmla="*/ 1793069 w 4501379"/>
                  <a:gd name="connsiteY69" fmla="*/ 114300 h 4429294"/>
                  <a:gd name="connsiteX70" fmla="*/ 1840694 w 4501379"/>
                  <a:gd name="connsiteY70" fmla="*/ 104775 h 4429294"/>
                  <a:gd name="connsiteX71" fmla="*/ 1897844 w 4501379"/>
                  <a:gd name="connsiteY71" fmla="*/ 95250 h 4429294"/>
                  <a:gd name="connsiteX72" fmla="*/ 2012144 w 4501379"/>
                  <a:gd name="connsiteY72" fmla="*/ 66675 h 4429294"/>
                  <a:gd name="connsiteX73" fmla="*/ 2078819 w 4501379"/>
                  <a:gd name="connsiteY73" fmla="*/ 47625 h 4429294"/>
                  <a:gd name="connsiteX74" fmla="*/ 2145494 w 4501379"/>
                  <a:gd name="connsiteY74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697819 w 4501379"/>
                  <a:gd name="connsiteY67" fmla="*/ 123825 h 4429294"/>
                  <a:gd name="connsiteX68" fmla="*/ 1793069 w 4501379"/>
                  <a:gd name="connsiteY68" fmla="*/ 114300 h 4429294"/>
                  <a:gd name="connsiteX69" fmla="*/ 1840694 w 4501379"/>
                  <a:gd name="connsiteY69" fmla="*/ 104775 h 4429294"/>
                  <a:gd name="connsiteX70" fmla="*/ 1897844 w 4501379"/>
                  <a:gd name="connsiteY70" fmla="*/ 95250 h 4429294"/>
                  <a:gd name="connsiteX71" fmla="*/ 2012144 w 4501379"/>
                  <a:gd name="connsiteY71" fmla="*/ 66675 h 4429294"/>
                  <a:gd name="connsiteX72" fmla="*/ 2078819 w 4501379"/>
                  <a:gd name="connsiteY72" fmla="*/ 47625 h 4429294"/>
                  <a:gd name="connsiteX73" fmla="*/ 2145494 w 4501379"/>
                  <a:gd name="connsiteY73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793069 w 4501379"/>
                  <a:gd name="connsiteY67" fmla="*/ 114300 h 4429294"/>
                  <a:gd name="connsiteX68" fmla="*/ 1840694 w 4501379"/>
                  <a:gd name="connsiteY68" fmla="*/ 104775 h 4429294"/>
                  <a:gd name="connsiteX69" fmla="*/ 1897844 w 4501379"/>
                  <a:gd name="connsiteY69" fmla="*/ 95250 h 4429294"/>
                  <a:gd name="connsiteX70" fmla="*/ 2012144 w 4501379"/>
                  <a:gd name="connsiteY70" fmla="*/ 66675 h 4429294"/>
                  <a:gd name="connsiteX71" fmla="*/ 2078819 w 4501379"/>
                  <a:gd name="connsiteY71" fmla="*/ 47625 h 4429294"/>
                  <a:gd name="connsiteX72" fmla="*/ 2145494 w 4501379"/>
                  <a:gd name="connsiteY72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840694 w 4501379"/>
                  <a:gd name="connsiteY67" fmla="*/ 104775 h 4429294"/>
                  <a:gd name="connsiteX68" fmla="*/ 1897844 w 4501379"/>
                  <a:gd name="connsiteY68" fmla="*/ 95250 h 4429294"/>
                  <a:gd name="connsiteX69" fmla="*/ 2012144 w 4501379"/>
                  <a:gd name="connsiteY69" fmla="*/ 66675 h 4429294"/>
                  <a:gd name="connsiteX70" fmla="*/ 2078819 w 4501379"/>
                  <a:gd name="connsiteY70" fmla="*/ 47625 h 4429294"/>
                  <a:gd name="connsiteX71" fmla="*/ 2145494 w 4501379"/>
                  <a:gd name="connsiteY71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1897844 w 4501379"/>
                  <a:gd name="connsiteY67" fmla="*/ 95250 h 4429294"/>
                  <a:gd name="connsiteX68" fmla="*/ 2012144 w 4501379"/>
                  <a:gd name="connsiteY68" fmla="*/ 66675 h 4429294"/>
                  <a:gd name="connsiteX69" fmla="*/ 2078819 w 4501379"/>
                  <a:gd name="connsiteY69" fmla="*/ 47625 h 4429294"/>
                  <a:gd name="connsiteX70" fmla="*/ 2145494 w 4501379"/>
                  <a:gd name="connsiteY70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012144 w 4501379"/>
                  <a:gd name="connsiteY67" fmla="*/ 66675 h 4429294"/>
                  <a:gd name="connsiteX68" fmla="*/ 2078819 w 4501379"/>
                  <a:gd name="connsiteY68" fmla="*/ 47625 h 4429294"/>
                  <a:gd name="connsiteX69" fmla="*/ 2145494 w 4501379"/>
                  <a:gd name="connsiteY69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078819 w 4501379"/>
                  <a:gd name="connsiteY67" fmla="*/ 47625 h 4429294"/>
                  <a:gd name="connsiteX68" fmla="*/ 2145494 w 4501379"/>
                  <a:gd name="connsiteY68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145494 w 4501379"/>
                  <a:gd name="connsiteY67" fmla="*/ 381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253444 w 4501379"/>
                  <a:gd name="connsiteY6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564469 w 4501379"/>
                  <a:gd name="connsiteY66" fmla="*/ 142875 h 4429294"/>
                  <a:gd name="connsiteX67" fmla="*/ 2253444 w 4501379"/>
                  <a:gd name="connsiteY6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583394 w 4501379"/>
                  <a:gd name="connsiteY59" fmla="*/ 733425 h 4429294"/>
                  <a:gd name="connsiteX60" fmla="*/ 650069 w 4501379"/>
                  <a:gd name="connsiteY60" fmla="*/ 676275 h 4429294"/>
                  <a:gd name="connsiteX61" fmla="*/ 678644 w 4501379"/>
                  <a:gd name="connsiteY61" fmla="*/ 657225 h 4429294"/>
                  <a:gd name="connsiteX62" fmla="*/ 821519 w 4501379"/>
                  <a:gd name="connsiteY62" fmla="*/ 533400 h 4429294"/>
                  <a:gd name="connsiteX63" fmla="*/ 869144 w 4501379"/>
                  <a:gd name="connsiteY63" fmla="*/ 504825 h 4429294"/>
                  <a:gd name="connsiteX64" fmla="*/ 1148544 w 4501379"/>
                  <a:gd name="connsiteY64" fmla="*/ 311150 h 4429294"/>
                  <a:gd name="connsiteX65" fmla="*/ 1507319 w 4501379"/>
                  <a:gd name="connsiteY65" fmla="*/ 152400 h 4429294"/>
                  <a:gd name="connsiteX66" fmla="*/ 1621619 w 4501379"/>
                  <a:gd name="connsiteY66" fmla="*/ 111125 h 4429294"/>
                  <a:gd name="connsiteX67" fmla="*/ 2253444 w 4501379"/>
                  <a:gd name="connsiteY6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650069 w 4501379"/>
                  <a:gd name="connsiteY59" fmla="*/ 676275 h 4429294"/>
                  <a:gd name="connsiteX60" fmla="*/ 678644 w 4501379"/>
                  <a:gd name="connsiteY60" fmla="*/ 657225 h 4429294"/>
                  <a:gd name="connsiteX61" fmla="*/ 821519 w 4501379"/>
                  <a:gd name="connsiteY61" fmla="*/ 533400 h 4429294"/>
                  <a:gd name="connsiteX62" fmla="*/ 869144 w 4501379"/>
                  <a:gd name="connsiteY62" fmla="*/ 504825 h 4429294"/>
                  <a:gd name="connsiteX63" fmla="*/ 1148544 w 4501379"/>
                  <a:gd name="connsiteY63" fmla="*/ 311150 h 4429294"/>
                  <a:gd name="connsiteX64" fmla="*/ 1507319 w 4501379"/>
                  <a:gd name="connsiteY64" fmla="*/ 152400 h 4429294"/>
                  <a:gd name="connsiteX65" fmla="*/ 1621619 w 4501379"/>
                  <a:gd name="connsiteY65" fmla="*/ 111125 h 4429294"/>
                  <a:gd name="connsiteX66" fmla="*/ 2253444 w 4501379"/>
                  <a:gd name="connsiteY66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650069 w 4501379"/>
                  <a:gd name="connsiteY59" fmla="*/ 676275 h 4429294"/>
                  <a:gd name="connsiteX60" fmla="*/ 821519 w 4501379"/>
                  <a:gd name="connsiteY60" fmla="*/ 533400 h 4429294"/>
                  <a:gd name="connsiteX61" fmla="*/ 869144 w 4501379"/>
                  <a:gd name="connsiteY61" fmla="*/ 504825 h 4429294"/>
                  <a:gd name="connsiteX62" fmla="*/ 1148544 w 4501379"/>
                  <a:gd name="connsiteY62" fmla="*/ 311150 h 4429294"/>
                  <a:gd name="connsiteX63" fmla="*/ 1507319 w 4501379"/>
                  <a:gd name="connsiteY63" fmla="*/ 152400 h 4429294"/>
                  <a:gd name="connsiteX64" fmla="*/ 1621619 w 4501379"/>
                  <a:gd name="connsiteY64" fmla="*/ 111125 h 4429294"/>
                  <a:gd name="connsiteX65" fmla="*/ 2253444 w 4501379"/>
                  <a:gd name="connsiteY65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45269 w 4501379"/>
                  <a:gd name="connsiteY53" fmla="*/ 1038225 h 4429294"/>
                  <a:gd name="connsiteX54" fmla="*/ 364319 w 4501379"/>
                  <a:gd name="connsiteY54" fmla="*/ 1009650 h 4429294"/>
                  <a:gd name="connsiteX55" fmla="*/ 421469 w 4501379"/>
                  <a:gd name="connsiteY55" fmla="*/ 904875 h 4429294"/>
                  <a:gd name="connsiteX56" fmla="*/ 459569 w 4501379"/>
                  <a:gd name="connsiteY56" fmla="*/ 857250 h 4429294"/>
                  <a:gd name="connsiteX57" fmla="*/ 478619 w 4501379"/>
                  <a:gd name="connsiteY57" fmla="*/ 828675 h 4429294"/>
                  <a:gd name="connsiteX58" fmla="*/ 516719 w 4501379"/>
                  <a:gd name="connsiteY58" fmla="*/ 800100 h 4429294"/>
                  <a:gd name="connsiteX59" fmla="*/ 650069 w 4501379"/>
                  <a:gd name="connsiteY59" fmla="*/ 676275 h 4429294"/>
                  <a:gd name="connsiteX60" fmla="*/ 869144 w 4501379"/>
                  <a:gd name="connsiteY60" fmla="*/ 504825 h 4429294"/>
                  <a:gd name="connsiteX61" fmla="*/ 1148544 w 4501379"/>
                  <a:gd name="connsiteY61" fmla="*/ 311150 h 4429294"/>
                  <a:gd name="connsiteX62" fmla="*/ 1507319 w 4501379"/>
                  <a:gd name="connsiteY62" fmla="*/ 152400 h 4429294"/>
                  <a:gd name="connsiteX63" fmla="*/ 1621619 w 4501379"/>
                  <a:gd name="connsiteY63" fmla="*/ 111125 h 4429294"/>
                  <a:gd name="connsiteX64" fmla="*/ 2253444 w 4501379"/>
                  <a:gd name="connsiteY64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364319 w 4501379"/>
                  <a:gd name="connsiteY53" fmla="*/ 1009650 h 4429294"/>
                  <a:gd name="connsiteX54" fmla="*/ 421469 w 4501379"/>
                  <a:gd name="connsiteY54" fmla="*/ 904875 h 4429294"/>
                  <a:gd name="connsiteX55" fmla="*/ 459569 w 4501379"/>
                  <a:gd name="connsiteY55" fmla="*/ 857250 h 4429294"/>
                  <a:gd name="connsiteX56" fmla="*/ 478619 w 4501379"/>
                  <a:gd name="connsiteY56" fmla="*/ 828675 h 4429294"/>
                  <a:gd name="connsiteX57" fmla="*/ 516719 w 4501379"/>
                  <a:gd name="connsiteY57" fmla="*/ 800100 h 4429294"/>
                  <a:gd name="connsiteX58" fmla="*/ 650069 w 4501379"/>
                  <a:gd name="connsiteY58" fmla="*/ 676275 h 4429294"/>
                  <a:gd name="connsiteX59" fmla="*/ 869144 w 4501379"/>
                  <a:gd name="connsiteY59" fmla="*/ 504825 h 4429294"/>
                  <a:gd name="connsiteX60" fmla="*/ 1148544 w 4501379"/>
                  <a:gd name="connsiteY60" fmla="*/ 311150 h 4429294"/>
                  <a:gd name="connsiteX61" fmla="*/ 1507319 w 4501379"/>
                  <a:gd name="connsiteY61" fmla="*/ 152400 h 4429294"/>
                  <a:gd name="connsiteX62" fmla="*/ 1621619 w 4501379"/>
                  <a:gd name="connsiteY62" fmla="*/ 111125 h 4429294"/>
                  <a:gd name="connsiteX63" fmla="*/ 2253444 w 4501379"/>
                  <a:gd name="connsiteY63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421469 w 4501379"/>
                  <a:gd name="connsiteY53" fmla="*/ 904875 h 4429294"/>
                  <a:gd name="connsiteX54" fmla="*/ 459569 w 4501379"/>
                  <a:gd name="connsiteY54" fmla="*/ 857250 h 4429294"/>
                  <a:gd name="connsiteX55" fmla="*/ 478619 w 4501379"/>
                  <a:gd name="connsiteY55" fmla="*/ 828675 h 4429294"/>
                  <a:gd name="connsiteX56" fmla="*/ 516719 w 4501379"/>
                  <a:gd name="connsiteY56" fmla="*/ 800100 h 4429294"/>
                  <a:gd name="connsiteX57" fmla="*/ 650069 w 4501379"/>
                  <a:gd name="connsiteY57" fmla="*/ 676275 h 4429294"/>
                  <a:gd name="connsiteX58" fmla="*/ 869144 w 4501379"/>
                  <a:gd name="connsiteY58" fmla="*/ 504825 h 4429294"/>
                  <a:gd name="connsiteX59" fmla="*/ 1148544 w 4501379"/>
                  <a:gd name="connsiteY59" fmla="*/ 311150 h 4429294"/>
                  <a:gd name="connsiteX60" fmla="*/ 1507319 w 4501379"/>
                  <a:gd name="connsiteY60" fmla="*/ 152400 h 4429294"/>
                  <a:gd name="connsiteX61" fmla="*/ 1621619 w 4501379"/>
                  <a:gd name="connsiteY61" fmla="*/ 111125 h 4429294"/>
                  <a:gd name="connsiteX62" fmla="*/ 2253444 w 4501379"/>
                  <a:gd name="connsiteY62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459569 w 4501379"/>
                  <a:gd name="connsiteY53" fmla="*/ 857250 h 4429294"/>
                  <a:gd name="connsiteX54" fmla="*/ 478619 w 4501379"/>
                  <a:gd name="connsiteY54" fmla="*/ 828675 h 4429294"/>
                  <a:gd name="connsiteX55" fmla="*/ 516719 w 4501379"/>
                  <a:gd name="connsiteY55" fmla="*/ 800100 h 4429294"/>
                  <a:gd name="connsiteX56" fmla="*/ 650069 w 4501379"/>
                  <a:gd name="connsiteY56" fmla="*/ 676275 h 4429294"/>
                  <a:gd name="connsiteX57" fmla="*/ 869144 w 4501379"/>
                  <a:gd name="connsiteY57" fmla="*/ 504825 h 4429294"/>
                  <a:gd name="connsiteX58" fmla="*/ 1148544 w 4501379"/>
                  <a:gd name="connsiteY58" fmla="*/ 311150 h 4429294"/>
                  <a:gd name="connsiteX59" fmla="*/ 1507319 w 4501379"/>
                  <a:gd name="connsiteY59" fmla="*/ 152400 h 4429294"/>
                  <a:gd name="connsiteX60" fmla="*/ 1621619 w 4501379"/>
                  <a:gd name="connsiteY60" fmla="*/ 111125 h 4429294"/>
                  <a:gd name="connsiteX61" fmla="*/ 2253444 w 4501379"/>
                  <a:gd name="connsiteY61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50019 w 4501379"/>
                  <a:gd name="connsiteY50" fmla="*/ 1200150 h 4429294"/>
                  <a:gd name="connsiteX51" fmla="*/ 269069 w 4501379"/>
                  <a:gd name="connsiteY51" fmla="*/ 1152525 h 4429294"/>
                  <a:gd name="connsiteX52" fmla="*/ 297644 w 4501379"/>
                  <a:gd name="connsiteY52" fmla="*/ 1114425 h 4429294"/>
                  <a:gd name="connsiteX53" fmla="*/ 459569 w 4501379"/>
                  <a:gd name="connsiteY53" fmla="*/ 857250 h 4429294"/>
                  <a:gd name="connsiteX54" fmla="*/ 516719 w 4501379"/>
                  <a:gd name="connsiteY54" fmla="*/ 800100 h 4429294"/>
                  <a:gd name="connsiteX55" fmla="*/ 650069 w 4501379"/>
                  <a:gd name="connsiteY55" fmla="*/ 676275 h 4429294"/>
                  <a:gd name="connsiteX56" fmla="*/ 869144 w 4501379"/>
                  <a:gd name="connsiteY56" fmla="*/ 504825 h 4429294"/>
                  <a:gd name="connsiteX57" fmla="*/ 1148544 w 4501379"/>
                  <a:gd name="connsiteY57" fmla="*/ 311150 h 4429294"/>
                  <a:gd name="connsiteX58" fmla="*/ 1507319 w 4501379"/>
                  <a:gd name="connsiteY58" fmla="*/ 152400 h 4429294"/>
                  <a:gd name="connsiteX59" fmla="*/ 1621619 w 4501379"/>
                  <a:gd name="connsiteY59" fmla="*/ 111125 h 4429294"/>
                  <a:gd name="connsiteX60" fmla="*/ 2253444 w 4501379"/>
                  <a:gd name="connsiteY60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69069 w 4501379"/>
                  <a:gd name="connsiteY50" fmla="*/ 1152525 h 4429294"/>
                  <a:gd name="connsiteX51" fmla="*/ 297644 w 4501379"/>
                  <a:gd name="connsiteY51" fmla="*/ 1114425 h 4429294"/>
                  <a:gd name="connsiteX52" fmla="*/ 459569 w 4501379"/>
                  <a:gd name="connsiteY52" fmla="*/ 857250 h 4429294"/>
                  <a:gd name="connsiteX53" fmla="*/ 516719 w 4501379"/>
                  <a:gd name="connsiteY53" fmla="*/ 800100 h 4429294"/>
                  <a:gd name="connsiteX54" fmla="*/ 650069 w 4501379"/>
                  <a:gd name="connsiteY54" fmla="*/ 676275 h 4429294"/>
                  <a:gd name="connsiteX55" fmla="*/ 869144 w 4501379"/>
                  <a:gd name="connsiteY55" fmla="*/ 504825 h 4429294"/>
                  <a:gd name="connsiteX56" fmla="*/ 1148544 w 4501379"/>
                  <a:gd name="connsiteY56" fmla="*/ 311150 h 4429294"/>
                  <a:gd name="connsiteX57" fmla="*/ 1507319 w 4501379"/>
                  <a:gd name="connsiteY57" fmla="*/ 152400 h 4429294"/>
                  <a:gd name="connsiteX58" fmla="*/ 1621619 w 4501379"/>
                  <a:gd name="connsiteY58" fmla="*/ 111125 h 4429294"/>
                  <a:gd name="connsiteX59" fmla="*/ 2253444 w 4501379"/>
                  <a:gd name="connsiteY59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21444 w 4501379"/>
                  <a:gd name="connsiteY49" fmla="*/ 1247775 h 4429294"/>
                  <a:gd name="connsiteX50" fmla="*/ 297644 w 4501379"/>
                  <a:gd name="connsiteY50" fmla="*/ 1114425 h 4429294"/>
                  <a:gd name="connsiteX51" fmla="*/ 459569 w 4501379"/>
                  <a:gd name="connsiteY51" fmla="*/ 857250 h 4429294"/>
                  <a:gd name="connsiteX52" fmla="*/ 516719 w 4501379"/>
                  <a:gd name="connsiteY52" fmla="*/ 800100 h 4429294"/>
                  <a:gd name="connsiteX53" fmla="*/ 650069 w 4501379"/>
                  <a:gd name="connsiteY53" fmla="*/ 676275 h 4429294"/>
                  <a:gd name="connsiteX54" fmla="*/ 869144 w 4501379"/>
                  <a:gd name="connsiteY54" fmla="*/ 504825 h 4429294"/>
                  <a:gd name="connsiteX55" fmla="*/ 1148544 w 4501379"/>
                  <a:gd name="connsiteY55" fmla="*/ 311150 h 4429294"/>
                  <a:gd name="connsiteX56" fmla="*/ 1507319 w 4501379"/>
                  <a:gd name="connsiteY56" fmla="*/ 152400 h 4429294"/>
                  <a:gd name="connsiteX57" fmla="*/ 1621619 w 4501379"/>
                  <a:gd name="connsiteY57" fmla="*/ 111125 h 4429294"/>
                  <a:gd name="connsiteX58" fmla="*/ 2253444 w 4501379"/>
                  <a:gd name="connsiteY58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16669 w 4501379"/>
                  <a:gd name="connsiteY46" fmla="*/ 1504950 h 4429294"/>
                  <a:gd name="connsiteX47" fmla="*/ 135719 w 4501379"/>
                  <a:gd name="connsiteY47" fmla="*/ 1419225 h 4429294"/>
                  <a:gd name="connsiteX48" fmla="*/ 211919 w 4501379"/>
                  <a:gd name="connsiteY48" fmla="*/ 1276350 h 4429294"/>
                  <a:gd name="connsiteX49" fmla="*/ 297644 w 4501379"/>
                  <a:gd name="connsiteY49" fmla="*/ 1114425 h 4429294"/>
                  <a:gd name="connsiteX50" fmla="*/ 459569 w 4501379"/>
                  <a:gd name="connsiteY50" fmla="*/ 857250 h 4429294"/>
                  <a:gd name="connsiteX51" fmla="*/ 516719 w 4501379"/>
                  <a:gd name="connsiteY51" fmla="*/ 800100 h 4429294"/>
                  <a:gd name="connsiteX52" fmla="*/ 650069 w 4501379"/>
                  <a:gd name="connsiteY52" fmla="*/ 676275 h 4429294"/>
                  <a:gd name="connsiteX53" fmla="*/ 869144 w 4501379"/>
                  <a:gd name="connsiteY53" fmla="*/ 504825 h 4429294"/>
                  <a:gd name="connsiteX54" fmla="*/ 1148544 w 4501379"/>
                  <a:gd name="connsiteY54" fmla="*/ 311150 h 4429294"/>
                  <a:gd name="connsiteX55" fmla="*/ 1507319 w 4501379"/>
                  <a:gd name="connsiteY55" fmla="*/ 152400 h 4429294"/>
                  <a:gd name="connsiteX56" fmla="*/ 1621619 w 4501379"/>
                  <a:gd name="connsiteY56" fmla="*/ 111125 h 4429294"/>
                  <a:gd name="connsiteX57" fmla="*/ 2253444 w 4501379"/>
                  <a:gd name="connsiteY57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69044 w 4501379"/>
                  <a:gd name="connsiteY44" fmla="*/ 1638300 h 4429294"/>
                  <a:gd name="connsiteX45" fmla="*/ 88094 w 4501379"/>
                  <a:gd name="connsiteY45" fmla="*/ 1590675 h 4429294"/>
                  <a:gd name="connsiteX46" fmla="*/ 135719 w 4501379"/>
                  <a:gd name="connsiteY46" fmla="*/ 1419225 h 4429294"/>
                  <a:gd name="connsiteX47" fmla="*/ 211919 w 4501379"/>
                  <a:gd name="connsiteY47" fmla="*/ 1276350 h 4429294"/>
                  <a:gd name="connsiteX48" fmla="*/ 297644 w 4501379"/>
                  <a:gd name="connsiteY48" fmla="*/ 1114425 h 4429294"/>
                  <a:gd name="connsiteX49" fmla="*/ 459569 w 4501379"/>
                  <a:gd name="connsiteY49" fmla="*/ 857250 h 4429294"/>
                  <a:gd name="connsiteX50" fmla="*/ 516719 w 4501379"/>
                  <a:gd name="connsiteY50" fmla="*/ 800100 h 4429294"/>
                  <a:gd name="connsiteX51" fmla="*/ 650069 w 4501379"/>
                  <a:gd name="connsiteY51" fmla="*/ 676275 h 4429294"/>
                  <a:gd name="connsiteX52" fmla="*/ 869144 w 4501379"/>
                  <a:gd name="connsiteY52" fmla="*/ 504825 h 4429294"/>
                  <a:gd name="connsiteX53" fmla="*/ 1148544 w 4501379"/>
                  <a:gd name="connsiteY53" fmla="*/ 311150 h 4429294"/>
                  <a:gd name="connsiteX54" fmla="*/ 1507319 w 4501379"/>
                  <a:gd name="connsiteY54" fmla="*/ 152400 h 4429294"/>
                  <a:gd name="connsiteX55" fmla="*/ 1621619 w 4501379"/>
                  <a:gd name="connsiteY55" fmla="*/ 111125 h 4429294"/>
                  <a:gd name="connsiteX56" fmla="*/ 2253444 w 4501379"/>
                  <a:gd name="connsiteY56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59519 w 4501379"/>
                  <a:gd name="connsiteY43" fmla="*/ 1685925 h 4429294"/>
                  <a:gd name="connsiteX44" fmla="*/ 88094 w 4501379"/>
                  <a:gd name="connsiteY44" fmla="*/ 1590675 h 4429294"/>
                  <a:gd name="connsiteX45" fmla="*/ 135719 w 4501379"/>
                  <a:gd name="connsiteY45" fmla="*/ 1419225 h 4429294"/>
                  <a:gd name="connsiteX46" fmla="*/ 211919 w 4501379"/>
                  <a:gd name="connsiteY46" fmla="*/ 1276350 h 4429294"/>
                  <a:gd name="connsiteX47" fmla="*/ 297644 w 4501379"/>
                  <a:gd name="connsiteY47" fmla="*/ 1114425 h 4429294"/>
                  <a:gd name="connsiteX48" fmla="*/ 459569 w 4501379"/>
                  <a:gd name="connsiteY48" fmla="*/ 857250 h 4429294"/>
                  <a:gd name="connsiteX49" fmla="*/ 516719 w 4501379"/>
                  <a:gd name="connsiteY49" fmla="*/ 800100 h 4429294"/>
                  <a:gd name="connsiteX50" fmla="*/ 650069 w 4501379"/>
                  <a:gd name="connsiteY50" fmla="*/ 676275 h 4429294"/>
                  <a:gd name="connsiteX51" fmla="*/ 869144 w 4501379"/>
                  <a:gd name="connsiteY51" fmla="*/ 504825 h 4429294"/>
                  <a:gd name="connsiteX52" fmla="*/ 1148544 w 4501379"/>
                  <a:gd name="connsiteY52" fmla="*/ 311150 h 4429294"/>
                  <a:gd name="connsiteX53" fmla="*/ 1507319 w 4501379"/>
                  <a:gd name="connsiteY53" fmla="*/ 152400 h 4429294"/>
                  <a:gd name="connsiteX54" fmla="*/ 1621619 w 4501379"/>
                  <a:gd name="connsiteY54" fmla="*/ 111125 h 4429294"/>
                  <a:gd name="connsiteX55" fmla="*/ 2253444 w 4501379"/>
                  <a:gd name="connsiteY55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40469 w 4501379"/>
                  <a:gd name="connsiteY42" fmla="*/ 1743075 h 4429294"/>
                  <a:gd name="connsiteX43" fmla="*/ 88094 w 4501379"/>
                  <a:gd name="connsiteY43" fmla="*/ 1590675 h 4429294"/>
                  <a:gd name="connsiteX44" fmla="*/ 135719 w 4501379"/>
                  <a:gd name="connsiteY44" fmla="*/ 1419225 h 4429294"/>
                  <a:gd name="connsiteX45" fmla="*/ 211919 w 4501379"/>
                  <a:gd name="connsiteY45" fmla="*/ 1276350 h 4429294"/>
                  <a:gd name="connsiteX46" fmla="*/ 297644 w 4501379"/>
                  <a:gd name="connsiteY46" fmla="*/ 1114425 h 4429294"/>
                  <a:gd name="connsiteX47" fmla="*/ 459569 w 4501379"/>
                  <a:gd name="connsiteY47" fmla="*/ 857250 h 4429294"/>
                  <a:gd name="connsiteX48" fmla="*/ 516719 w 4501379"/>
                  <a:gd name="connsiteY48" fmla="*/ 800100 h 4429294"/>
                  <a:gd name="connsiteX49" fmla="*/ 650069 w 4501379"/>
                  <a:gd name="connsiteY49" fmla="*/ 676275 h 4429294"/>
                  <a:gd name="connsiteX50" fmla="*/ 869144 w 4501379"/>
                  <a:gd name="connsiteY50" fmla="*/ 504825 h 4429294"/>
                  <a:gd name="connsiteX51" fmla="*/ 1148544 w 4501379"/>
                  <a:gd name="connsiteY51" fmla="*/ 311150 h 4429294"/>
                  <a:gd name="connsiteX52" fmla="*/ 1507319 w 4501379"/>
                  <a:gd name="connsiteY52" fmla="*/ 152400 h 4429294"/>
                  <a:gd name="connsiteX53" fmla="*/ 1621619 w 4501379"/>
                  <a:gd name="connsiteY53" fmla="*/ 111125 h 4429294"/>
                  <a:gd name="connsiteX54" fmla="*/ 2253444 w 4501379"/>
                  <a:gd name="connsiteY54" fmla="*/ 12700 h 4429294"/>
                  <a:gd name="connsiteX0" fmla="*/ 2278844 w 4501379"/>
                  <a:gd name="connsiteY0" fmla="*/ 0 h 4429294"/>
                  <a:gd name="connsiteX1" fmla="*/ 2602694 w 4501379"/>
                  <a:gd name="connsiteY1" fmla="*/ 15875 h 4429294"/>
                  <a:gd name="connsiteX2" fmla="*/ 2897969 w 4501379"/>
                  <a:gd name="connsiteY2" fmla="*/ 85725 h 4429294"/>
                  <a:gd name="connsiteX3" fmla="*/ 3117044 w 4501379"/>
                  <a:gd name="connsiteY3" fmla="*/ 171450 h 4429294"/>
                  <a:gd name="connsiteX4" fmla="*/ 3221819 w 4501379"/>
                  <a:gd name="connsiteY4" fmla="*/ 228600 h 4429294"/>
                  <a:gd name="connsiteX5" fmla="*/ 3402794 w 4501379"/>
                  <a:gd name="connsiteY5" fmla="*/ 323850 h 4429294"/>
                  <a:gd name="connsiteX6" fmla="*/ 3793319 w 4501379"/>
                  <a:gd name="connsiteY6" fmla="*/ 581025 h 4429294"/>
                  <a:gd name="connsiteX7" fmla="*/ 4009219 w 4501379"/>
                  <a:gd name="connsiteY7" fmla="*/ 819150 h 4429294"/>
                  <a:gd name="connsiteX8" fmla="*/ 4145744 w 4501379"/>
                  <a:gd name="connsiteY8" fmla="*/ 990600 h 4429294"/>
                  <a:gd name="connsiteX9" fmla="*/ 4231469 w 4501379"/>
                  <a:gd name="connsiteY9" fmla="*/ 1143000 h 4429294"/>
                  <a:gd name="connsiteX10" fmla="*/ 4288619 w 4501379"/>
                  <a:gd name="connsiteY10" fmla="*/ 1266825 h 4429294"/>
                  <a:gd name="connsiteX11" fmla="*/ 4326719 w 4501379"/>
                  <a:gd name="connsiteY11" fmla="*/ 1362075 h 4429294"/>
                  <a:gd name="connsiteX12" fmla="*/ 4374344 w 4501379"/>
                  <a:gd name="connsiteY12" fmla="*/ 1552575 h 4429294"/>
                  <a:gd name="connsiteX13" fmla="*/ 4412444 w 4501379"/>
                  <a:gd name="connsiteY13" fmla="*/ 1685925 h 4429294"/>
                  <a:gd name="connsiteX14" fmla="*/ 4501344 w 4501379"/>
                  <a:gd name="connsiteY14" fmla="*/ 2181225 h 4429294"/>
                  <a:gd name="connsiteX15" fmla="*/ 4428319 w 4501379"/>
                  <a:gd name="connsiteY15" fmla="*/ 2768600 h 4429294"/>
                  <a:gd name="connsiteX16" fmla="*/ 4364819 w 4501379"/>
                  <a:gd name="connsiteY16" fmla="*/ 2990850 h 4429294"/>
                  <a:gd name="connsiteX17" fmla="*/ 4260044 w 4501379"/>
                  <a:gd name="connsiteY17" fmla="*/ 3248025 h 4429294"/>
                  <a:gd name="connsiteX18" fmla="*/ 4164794 w 4501379"/>
                  <a:gd name="connsiteY18" fmla="*/ 3400425 h 4429294"/>
                  <a:gd name="connsiteX19" fmla="*/ 4040969 w 4501379"/>
                  <a:gd name="connsiteY19" fmla="*/ 3533775 h 4429294"/>
                  <a:gd name="connsiteX20" fmla="*/ 3936194 w 4501379"/>
                  <a:gd name="connsiteY20" fmla="*/ 3648075 h 4429294"/>
                  <a:gd name="connsiteX21" fmla="*/ 3640919 w 4501379"/>
                  <a:gd name="connsiteY21" fmla="*/ 3971925 h 4429294"/>
                  <a:gd name="connsiteX22" fmla="*/ 3498044 w 4501379"/>
                  <a:gd name="connsiteY22" fmla="*/ 4083050 h 4429294"/>
                  <a:gd name="connsiteX23" fmla="*/ 3202769 w 4501379"/>
                  <a:gd name="connsiteY23" fmla="*/ 4222750 h 4429294"/>
                  <a:gd name="connsiteX24" fmla="*/ 3050369 w 4501379"/>
                  <a:gd name="connsiteY24" fmla="*/ 4286250 h 4429294"/>
                  <a:gd name="connsiteX25" fmla="*/ 2917019 w 4501379"/>
                  <a:gd name="connsiteY25" fmla="*/ 4333875 h 4429294"/>
                  <a:gd name="connsiteX26" fmla="*/ 2793194 w 4501379"/>
                  <a:gd name="connsiteY26" fmla="*/ 4371975 h 4429294"/>
                  <a:gd name="connsiteX27" fmla="*/ 2561419 w 4501379"/>
                  <a:gd name="connsiteY27" fmla="*/ 4391025 h 4429294"/>
                  <a:gd name="connsiteX28" fmla="*/ 2107394 w 4501379"/>
                  <a:gd name="connsiteY28" fmla="*/ 4429125 h 4429294"/>
                  <a:gd name="connsiteX29" fmla="*/ 1916894 w 4501379"/>
                  <a:gd name="connsiteY29" fmla="*/ 4400550 h 4429294"/>
                  <a:gd name="connsiteX30" fmla="*/ 1554944 w 4501379"/>
                  <a:gd name="connsiteY30" fmla="*/ 4305300 h 4429294"/>
                  <a:gd name="connsiteX31" fmla="*/ 1313644 w 4501379"/>
                  <a:gd name="connsiteY31" fmla="*/ 4216400 h 4429294"/>
                  <a:gd name="connsiteX32" fmla="*/ 1145369 w 4501379"/>
                  <a:gd name="connsiteY32" fmla="*/ 4111625 h 4429294"/>
                  <a:gd name="connsiteX33" fmla="*/ 926294 w 4501379"/>
                  <a:gd name="connsiteY33" fmla="*/ 3968750 h 4429294"/>
                  <a:gd name="connsiteX34" fmla="*/ 592919 w 4501379"/>
                  <a:gd name="connsiteY34" fmla="*/ 3657600 h 4429294"/>
                  <a:gd name="connsiteX35" fmla="*/ 446869 w 4501379"/>
                  <a:gd name="connsiteY35" fmla="*/ 3470275 h 4429294"/>
                  <a:gd name="connsiteX36" fmla="*/ 316694 w 4501379"/>
                  <a:gd name="connsiteY36" fmla="*/ 3244850 h 4429294"/>
                  <a:gd name="connsiteX37" fmla="*/ 164294 w 4501379"/>
                  <a:gd name="connsiteY37" fmla="*/ 2892425 h 4429294"/>
                  <a:gd name="connsiteX38" fmla="*/ 56344 w 4501379"/>
                  <a:gd name="connsiteY38" fmla="*/ 2368550 h 4429294"/>
                  <a:gd name="connsiteX39" fmla="*/ 2369 w 4501379"/>
                  <a:gd name="connsiteY39" fmla="*/ 1905000 h 4429294"/>
                  <a:gd name="connsiteX40" fmla="*/ 11894 w 4501379"/>
                  <a:gd name="connsiteY40" fmla="*/ 1838325 h 4429294"/>
                  <a:gd name="connsiteX41" fmla="*/ 30944 w 4501379"/>
                  <a:gd name="connsiteY41" fmla="*/ 1781175 h 4429294"/>
                  <a:gd name="connsiteX42" fmla="*/ 88094 w 4501379"/>
                  <a:gd name="connsiteY42" fmla="*/ 1590675 h 4429294"/>
                  <a:gd name="connsiteX43" fmla="*/ 135719 w 4501379"/>
                  <a:gd name="connsiteY43" fmla="*/ 1419225 h 4429294"/>
                  <a:gd name="connsiteX44" fmla="*/ 211919 w 4501379"/>
                  <a:gd name="connsiteY44" fmla="*/ 1276350 h 4429294"/>
                  <a:gd name="connsiteX45" fmla="*/ 297644 w 4501379"/>
                  <a:gd name="connsiteY45" fmla="*/ 1114425 h 4429294"/>
                  <a:gd name="connsiteX46" fmla="*/ 459569 w 4501379"/>
                  <a:gd name="connsiteY46" fmla="*/ 857250 h 4429294"/>
                  <a:gd name="connsiteX47" fmla="*/ 516719 w 4501379"/>
                  <a:gd name="connsiteY47" fmla="*/ 800100 h 4429294"/>
                  <a:gd name="connsiteX48" fmla="*/ 650069 w 4501379"/>
                  <a:gd name="connsiteY48" fmla="*/ 676275 h 4429294"/>
                  <a:gd name="connsiteX49" fmla="*/ 869144 w 4501379"/>
                  <a:gd name="connsiteY49" fmla="*/ 504825 h 4429294"/>
                  <a:gd name="connsiteX50" fmla="*/ 1148544 w 4501379"/>
                  <a:gd name="connsiteY50" fmla="*/ 311150 h 4429294"/>
                  <a:gd name="connsiteX51" fmla="*/ 1507319 w 4501379"/>
                  <a:gd name="connsiteY51" fmla="*/ 152400 h 4429294"/>
                  <a:gd name="connsiteX52" fmla="*/ 1621619 w 4501379"/>
                  <a:gd name="connsiteY52" fmla="*/ 111125 h 4429294"/>
                  <a:gd name="connsiteX53" fmla="*/ 2253444 w 4501379"/>
                  <a:gd name="connsiteY53" fmla="*/ 12700 h 4429294"/>
                  <a:gd name="connsiteX0" fmla="*/ 2277090 w 4499625"/>
                  <a:gd name="connsiteY0" fmla="*/ 0 h 4429294"/>
                  <a:gd name="connsiteX1" fmla="*/ 2600940 w 4499625"/>
                  <a:gd name="connsiteY1" fmla="*/ 15875 h 4429294"/>
                  <a:gd name="connsiteX2" fmla="*/ 2896215 w 4499625"/>
                  <a:gd name="connsiteY2" fmla="*/ 85725 h 4429294"/>
                  <a:gd name="connsiteX3" fmla="*/ 3115290 w 4499625"/>
                  <a:gd name="connsiteY3" fmla="*/ 171450 h 4429294"/>
                  <a:gd name="connsiteX4" fmla="*/ 3220065 w 4499625"/>
                  <a:gd name="connsiteY4" fmla="*/ 228600 h 4429294"/>
                  <a:gd name="connsiteX5" fmla="*/ 3401040 w 4499625"/>
                  <a:gd name="connsiteY5" fmla="*/ 323850 h 4429294"/>
                  <a:gd name="connsiteX6" fmla="*/ 3791565 w 4499625"/>
                  <a:gd name="connsiteY6" fmla="*/ 581025 h 4429294"/>
                  <a:gd name="connsiteX7" fmla="*/ 4007465 w 4499625"/>
                  <a:gd name="connsiteY7" fmla="*/ 819150 h 4429294"/>
                  <a:gd name="connsiteX8" fmla="*/ 4143990 w 4499625"/>
                  <a:gd name="connsiteY8" fmla="*/ 990600 h 4429294"/>
                  <a:gd name="connsiteX9" fmla="*/ 4229715 w 4499625"/>
                  <a:gd name="connsiteY9" fmla="*/ 1143000 h 4429294"/>
                  <a:gd name="connsiteX10" fmla="*/ 4286865 w 4499625"/>
                  <a:gd name="connsiteY10" fmla="*/ 1266825 h 4429294"/>
                  <a:gd name="connsiteX11" fmla="*/ 4324965 w 4499625"/>
                  <a:gd name="connsiteY11" fmla="*/ 1362075 h 4429294"/>
                  <a:gd name="connsiteX12" fmla="*/ 4372590 w 4499625"/>
                  <a:gd name="connsiteY12" fmla="*/ 1552575 h 4429294"/>
                  <a:gd name="connsiteX13" fmla="*/ 4410690 w 4499625"/>
                  <a:gd name="connsiteY13" fmla="*/ 1685925 h 4429294"/>
                  <a:gd name="connsiteX14" fmla="*/ 4499590 w 4499625"/>
                  <a:gd name="connsiteY14" fmla="*/ 2181225 h 4429294"/>
                  <a:gd name="connsiteX15" fmla="*/ 4426565 w 4499625"/>
                  <a:gd name="connsiteY15" fmla="*/ 2768600 h 4429294"/>
                  <a:gd name="connsiteX16" fmla="*/ 4363065 w 4499625"/>
                  <a:gd name="connsiteY16" fmla="*/ 2990850 h 4429294"/>
                  <a:gd name="connsiteX17" fmla="*/ 4258290 w 4499625"/>
                  <a:gd name="connsiteY17" fmla="*/ 3248025 h 4429294"/>
                  <a:gd name="connsiteX18" fmla="*/ 4163040 w 4499625"/>
                  <a:gd name="connsiteY18" fmla="*/ 3400425 h 4429294"/>
                  <a:gd name="connsiteX19" fmla="*/ 4039215 w 4499625"/>
                  <a:gd name="connsiteY19" fmla="*/ 3533775 h 4429294"/>
                  <a:gd name="connsiteX20" fmla="*/ 3934440 w 4499625"/>
                  <a:gd name="connsiteY20" fmla="*/ 3648075 h 4429294"/>
                  <a:gd name="connsiteX21" fmla="*/ 3639165 w 4499625"/>
                  <a:gd name="connsiteY21" fmla="*/ 3971925 h 4429294"/>
                  <a:gd name="connsiteX22" fmla="*/ 3496290 w 4499625"/>
                  <a:gd name="connsiteY22" fmla="*/ 4083050 h 4429294"/>
                  <a:gd name="connsiteX23" fmla="*/ 3201015 w 4499625"/>
                  <a:gd name="connsiteY23" fmla="*/ 4222750 h 4429294"/>
                  <a:gd name="connsiteX24" fmla="*/ 3048615 w 4499625"/>
                  <a:gd name="connsiteY24" fmla="*/ 4286250 h 4429294"/>
                  <a:gd name="connsiteX25" fmla="*/ 2915265 w 4499625"/>
                  <a:gd name="connsiteY25" fmla="*/ 4333875 h 4429294"/>
                  <a:gd name="connsiteX26" fmla="*/ 2791440 w 4499625"/>
                  <a:gd name="connsiteY26" fmla="*/ 4371975 h 4429294"/>
                  <a:gd name="connsiteX27" fmla="*/ 2559665 w 4499625"/>
                  <a:gd name="connsiteY27" fmla="*/ 4391025 h 4429294"/>
                  <a:gd name="connsiteX28" fmla="*/ 2105640 w 4499625"/>
                  <a:gd name="connsiteY28" fmla="*/ 4429125 h 4429294"/>
                  <a:gd name="connsiteX29" fmla="*/ 1915140 w 4499625"/>
                  <a:gd name="connsiteY29" fmla="*/ 4400550 h 4429294"/>
                  <a:gd name="connsiteX30" fmla="*/ 1553190 w 4499625"/>
                  <a:gd name="connsiteY30" fmla="*/ 4305300 h 4429294"/>
                  <a:gd name="connsiteX31" fmla="*/ 1311890 w 4499625"/>
                  <a:gd name="connsiteY31" fmla="*/ 4216400 h 4429294"/>
                  <a:gd name="connsiteX32" fmla="*/ 1143615 w 4499625"/>
                  <a:gd name="connsiteY32" fmla="*/ 4111625 h 4429294"/>
                  <a:gd name="connsiteX33" fmla="*/ 924540 w 4499625"/>
                  <a:gd name="connsiteY33" fmla="*/ 3968750 h 4429294"/>
                  <a:gd name="connsiteX34" fmla="*/ 591165 w 4499625"/>
                  <a:gd name="connsiteY34" fmla="*/ 3657600 h 4429294"/>
                  <a:gd name="connsiteX35" fmla="*/ 445115 w 4499625"/>
                  <a:gd name="connsiteY35" fmla="*/ 3470275 h 4429294"/>
                  <a:gd name="connsiteX36" fmla="*/ 314940 w 4499625"/>
                  <a:gd name="connsiteY36" fmla="*/ 3244850 h 4429294"/>
                  <a:gd name="connsiteX37" fmla="*/ 162540 w 4499625"/>
                  <a:gd name="connsiteY37" fmla="*/ 2892425 h 4429294"/>
                  <a:gd name="connsiteX38" fmla="*/ 54590 w 4499625"/>
                  <a:gd name="connsiteY38" fmla="*/ 2368550 h 4429294"/>
                  <a:gd name="connsiteX39" fmla="*/ 615 w 4499625"/>
                  <a:gd name="connsiteY39" fmla="*/ 1905000 h 4429294"/>
                  <a:gd name="connsiteX40" fmla="*/ 29190 w 4499625"/>
                  <a:gd name="connsiteY40" fmla="*/ 1781175 h 4429294"/>
                  <a:gd name="connsiteX41" fmla="*/ 86340 w 4499625"/>
                  <a:gd name="connsiteY41" fmla="*/ 1590675 h 4429294"/>
                  <a:gd name="connsiteX42" fmla="*/ 133965 w 4499625"/>
                  <a:gd name="connsiteY42" fmla="*/ 1419225 h 4429294"/>
                  <a:gd name="connsiteX43" fmla="*/ 210165 w 4499625"/>
                  <a:gd name="connsiteY43" fmla="*/ 1276350 h 4429294"/>
                  <a:gd name="connsiteX44" fmla="*/ 295890 w 4499625"/>
                  <a:gd name="connsiteY44" fmla="*/ 1114425 h 4429294"/>
                  <a:gd name="connsiteX45" fmla="*/ 457815 w 4499625"/>
                  <a:gd name="connsiteY45" fmla="*/ 857250 h 4429294"/>
                  <a:gd name="connsiteX46" fmla="*/ 514965 w 4499625"/>
                  <a:gd name="connsiteY46" fmla="*/ 800100 h 4429294"/>
                  <a:gd name="connsiteX47" fmla="*/ 648315 w 4499625"/>
                  <a:gd name="connsiteY47" fmla="*/ 676275 h 4429294"/>
                  <a:gd name="connsiteX48" fmla="*/ 867390 w 4499625"/>
                  <a:gd name="connsiteY48" fmla="*/ 504825 h 4429294"/>
                  <a:gd name="connsiteX49" fmla="*/ 1146790 w 4499625"/>
                  <a:gd name="connsiteY49" fmla="*/ 311150 h 4429294"/>
                  <a:gd name="connsiteX50" fmla="*/ 1505565 w 4499625"/>
                  <a:gd name="connsiteY50" fmla="*/ 152400 h 4429294"/>
                  <a:gd name="connsiteX51" fmla="*/ 1619865 w 4499625"/>
                  <a:gd name="connsiteY51" fmla="*/ 111125 h 4429294"/>
                  <a:gd name="connsiteX52" fmla="*/ 2251690 w 4499625"/>
                  <a:gd name="connsiteY52" fmla="*/ 12700 h 4429294"/>
                  <a:gd name="connsiteX0" fmla="*/ 2249427 w 4471962"/>
                  <a:gd name="connsiteY0" fmla="*/ 0 h 4429294"/>
                  <a:gd name="connsiteX1" fmla="*/ 2573277 w 4471962"/>
                  <a:gd name="connsiteY1" fmla="*/ 15875 h 4429294"/>
                  <a:gd name="connsiteX2" fmla="*/ 2868552 w 4471962"/>
                  <a:gd name="connsiteY2" fmla="*/ 85725 h 4429294"/>
                  <a:gd name="connsiteX3" fmla="*/ 3087627 w 4471962"/>
                  <a:gd name="connsiteY3" fmla="*/ 171450 h 4429294"/>
                  <a:gd name="connsiteX4" fmla="*/ 3192402 w 4471962"/>
                  <a:gd name="connsiteY4" fmla="*/ 228600 h 4429294"/>
                  <a:gd name="connsiteX5" fmla="*/ 3373377 w 4471962"/>
                  <a:gd name="connsiteY5" fmla="*/ 323850 h 4429294"/>
                  <a:gd name="connsiteX6" fmla="*/ 3763902 w 4471962"/>
                  <a:gd name="connsiteY6" fmla="*/ 581025 h 4429294"/>
                  <a:gd name="connsiteX7" fmla="*/ 3979802 w 4471962"/>
                  <a:gd name="connsiteY7" fmla="*/ 819150 h 4429294"/>
                  <a:gd name="connsiteX8" fmla="*/ 4116327 w 4471962"/>
                  <a:gd name="connsiteY8" fmla="*/ 990600 h 4429294"/>
                  <a:gd name="connsiteX9" fmla="*/ 4202052 w 4471962"/>
                  <a:gd name="connsiteY9" fmla="*/ 1143000 h 4429294"/>
                  <a:gd name="connsiteX10" fmla="*/ 4259202 w 4471962"/>
                  <a:gd name="connsiteY10" fmla="*/ 1266825 h 4429294"/>
                  <a:gd name="connsiteX11" fmla="*/ 4297302 w 4471962"/>
                  <a:gd name="connsiteY11" fmla="*/ 1362075 h 4429294"/>
                  <a:gd name="connsiteX12" fmla="*/ 4344927 w 4471962"/>
                  <a:gd name="connsiteY12" fmla="*/ 1552575 h 4429294"/>
                  <a:gd name="connsiteX13" fmla="*/ 4383027 w 4471962"/>
                  <a:gd name="connsiteY13" fmla="*/ 1685925 h 4429294"/>
                  <a:gd name="connsiteX14" fmla="*/ 4471927 w 4471962"/>
                  <a:gd name="connsiteY14" fmla="*/ 2181225 h 4429294"/>
                  <a:gd name="connsiteX15" fmla="*/ 4398902 w 4471962"/>
                  <a:gd name="connsiteY15" fmla="*/ 2768600 h 4429294"/>
                  <a:gd name="connsiteX16" fmla="*/ 4335402 w 4471962"/>
                  <a:gd name="connsiteY16" fmla="*/ 2990850 h 4429294"/>
                  <a:gd name="connsiteX17" fmla="*/ 4230627 w 4471962"/>
                  <a:gd name="connsiteY17" fmla="*/ 3248025 h 4429294"/>
                  <a:gd name="connsiteX18" fmla="*/ 4135377 w 4471962"/>
                  <a:gd name="connsiteY18" fmla="*/ 3400425 h 4429294"/>
                  <a:gd name="connsiteX19" fmla="*/ 4011552 w 4471962"/>
                  <a:gd name="connsiteY19" fmla="*/ 3533775 h 4429294"/>
                  <a:gd name="connsiteX20" fmla="*/ 3906777 w 4471962"/>
                  <a:gd name="connsiteY20" fmla="*/ 3648075 h 4429294"/>
                  <a:gd name="connsiteX21" fmla="*/ 3611502 w 4471962"/>
                  <a:gd name="connsiteY21" fmla="*/ 3971925 h 4429294"/>
                  <a:gd name="connsiteX22" fmla="*/ 3468627 w 4471962"/>
                  <a:gd name="connsiteY22" fmla="*/ 4083050 h 4429294"/>
                  <a:gd name="connsiteX23" fmla="*/ 3173352 w 4471962"/>
                  <a:gd name="connsiteY23" fmla="*/ 4222750 h 4429294"/>
                  <a:gd name="connsiteX24" fmla="*/ 3020952 w 4471962"/>
                  <a:gd name="connsiteY24" fmla="*/ 4286250 h 4429294"/>
                  <a:gd name="connsiteX25" fmla="*/ 2887602 w 4471962"/>
                  <a:gd name="connsiteY25" fmla="*/ 4333875 h 4429294"/>
                  <a:gd name="connsiteX26" fmla="*/ 2763777 w 4471962"/>
                  <a:gd name="connsiteY26" fmla="*/ 4371975 h 4429294"/>
                  <a:gd name="connsiteX27" fmla="*/ 2532002 w 4471962"/>
                  <a:gd name="connsiteY27" fmla="*/ 4391025 h 4429294"/>
                  <a:gd name="connsiteX28" fmla="*/ 2077977 w 4471962"/>
                  <a:gd name="connsiteY28" fmla="*/ 4429125 h 4429294"/>
                  <a:gd name="connsiteX29" fmla="*/ 1887477 w 4471962"/>
                  <a:gd name="connsiteY29" fmla="*/ 4400550 h 4429294"/>
                  <a:gd name="connsiteX30" fmla="*/ 1525527 w 4471962"/>
                  <a:gd name="connsiteY30" fmla="*/ 4305300 h 4429294"/>
                  <a:gd name="connsiteX31" fmla="*/ 1284227 w 4471962"/>
                  <a:gd name="connsiteY31" fmla="*/ 4216400 h 4429294"/>
                  <a:gd name="connsiteX32" fmla="*/ 1115952 w 4471962"/>
                  <a:gd name="connsiteY32" fmla="*/ 4111625 h 4429294"/>
                  <a:gd name="connsiteX33" fmla="*/ 896877 w 4471962"/>
                  <a:gd name="connsiteY33" fmla="*/ 3968750 h 4429294"/>
                  <a:gd name="connsiteX34" fmla="*/ 563502 w 4471962"/>
                  <a:gd name="connsiteY34" fmla="*/ 3657600 h 4429294"/>
                  <a:gd name="connsiteX35" fmla="*/ 417452 w 4471962"/>
                  <a:gd name="connsiteY35" fmla="*/ 3470275 h 4429294"/>
                  <a:gd name="connsiteX36" fmla="*/ 287277 w 4471962"/>
                  <a:gd name="connsiteY36" fmla="*/ 3244850 h 4429294"/>
                  <a:gd name="connsiteX37" fmla="*/ 134877 w 4471962"/>
                  <a:gd name="connsiteY37" fmla="*/ 2892425 h 4429294"/>
                  <a:gd name="connsiteX38" fmla="*/ 26927 w 4471962"/>
                  <a:gd name="connsiteY38" fmla="*/ 2368550 h 4429294"/>
                  <a:gd name="connsiteX39" fmla="*/ 1527 w 4471962"/>
                  <a:gd name="connsiteY39" fmla="*/ 1781175 h 4429294"/>
                  <a:gd name="connsiteX40" fmla="*/ 58677 w 4471962"/>
                  <a:gd name="connsiteY40" fmla="*/ 1590675 h 4429294"/>
                  <a:gd name="connsiteX41" fmla="*/ 106302 w 4471962"/>
                  <a:gd name="connsiteY41" fmla="*/ 1419225 h 4429294"/>
                  <a:gd name="connsiteX42" fmla="*/ 182502 w 4471962"/>
                  <a:gd name="connsiteY42" fmla="*/ 1276350 h 4429294"/>
                  <a:gd name="connsiteX43" fmla="*/ 268227 w 4471962"/>
                  <a:gd name="connsiteY43" fmla="*/ 1114425 h 4429294"/>
                  <a:gd name="connsiteX44" fmla="*/ 430152 w 4471962"/>
                  <a:gd name="connsiteY44" fmla="*/ 857250 h 4429294"/>
                  <a:gd name="connsiteX45" fmla="*/ 487302 w 4471962"/>
                  <a:gd name="connsiteY45" fmla="*/ 800100 h 4429294"/>
                  <a:gd name="connsiteX46" fmla="*/ 620652 w 4471962"/>
                  <a:gd name="connsiteY46" fmla="*/ 676275 h 4429294"/>
                  <a:gd name="connsiteX47" fmla="*/ 839727 w 4471962"/>
                  <a:gd name="connsiteY47" fmla="*/ 504825 h 4429294"/>
                  <a:gd name="connsiteX48" fmla="*/ 1119127 w 4471962"/>
                  <a:gd name="connsiteY48" fmla="*/ 311150 h 4429294"/>
                  <a:gd name="connsiteX49" fmla="*/ 1477902 w 4471962"/>
                  <a:gd name="connsiteY49" fmla="*/ 152400 h 4429294"/>
                  <a:gd name="connsiteX50" fmla="*/ 1592202 w 4471962"/>
                  <a:gd name="connsiteY50" fmla="*/ 111125 h 4429294"/>
                  <a:gd name="connsiteX51" fmla="*/ 2224027 w 4471962"/>
                  <a:gd name="connsiteY51" fmla="*/ 12700 h 4429294"/>
                  <a:gd name="connsiteX0" fmla="*/ 2231942 w 4454477"/>
                  <a:gd name="connsiteY0" fmla="*/ 0 h 4429294"/>
                  <a:gd name="connsiteX1" fmla="*/ 2555792 w 4454477"/>
                  <a:gd name="connsiteY1" fmla="*/ 15875 h 4429294"/>
                  <a:gd name="connsiteX2" fmla="*/ 2851067 w 4454477"/>
                  <a:gd name="connsiteY2" fmla="*/ 85725 h 4429294"/>
                  <a:gd name="connsiteX3" fmla="*/ 3070142 w 4454477"/>
                  <a:gd name="connsiteY3" fmla="*/ 171450 h 4429294"/>
                  <a:gd name="connsiteX4" fmla="*/ 3174917 w 4454477"/>
                  <a:gd name="connsiteY4" fmla="*/ 228600 h 4429294"/>
                  <a:gd name="connsiteX5" fmla="*/ 3355892 w 4454477"/>
                  <a:gd name="connsiteY5" fmla="*/ 323850 h 4429294"/>
                  <a:gd name="connsiteX6" fmla="*/ 3746417 w 4454477"/>
                  <a:gd name="connsiteY6" fmla="*/ 581025 h 4429294"/>
                  <a:gd name="connsiteX7" fmla="*/ 3962317 w 4454477"/>
                  <a:gd name="connsiteY7" fmla="*/ 819150 h 4429294"/>
                  <a:gd name="connsiteX8" fmla="*/ 4098842 w 4454477"/>
                  <a:gd name="connsiteY8" fmla="*/ 990600 h 4429294"/>
                  <a:gd name="connsiteX9" fmla="*/ 4184567 w 4454477"/>
                  <a:gd name="connsiteY9" fmla="*/ 1143000 h 4429294"/>
                  <a:gd name="connsiteX10" fmla="*/ 4241717 w 4454477"/>
                  <a:gd name="connsiteY10" fmla="*/ 1266825 h 4429294"/>
                  <a:gd name="connsiteX11" fmla="*/ 4279817 w 4454477"/>
                  <a:gd name="connsiteY11" fmla="*/ 1362075 h 4429294"/>
                  <a:gd name="connsiteX12" fmla="*/ 4327442 w 4454477"/>
                  <a:gd name="connsiteY12" fmla="*/ 1552575 h 4429294"/>
                  <a:gd name="connsiteX13" fmla="*/ 4365542 w 4454477"/>
                  <a:gd name="connsiteY13" fmla="*/ 1685925 h 4429294"/>
                  <a:gd name="connsiteX14" fmla="*/ 4454442 w 4454477"/>
                  <a:gd name="connsiteY14" fmla="*/ 2181225 h 4429294"/>
                  <a:gd name="connsiteX15" fmla="*/ 4381417 w 4454477"/>
                  <a:gd name="connsiteY15" fmla="*/ 2768600 h 4429294"/>
                  <a:gd name="connsiteX16" fmla="*/ 4317917 w 4454477"/>
                  <a:gd name="connsiteY16" fmla="*/ 2990850 h 4429294"/>
                  <a:gd name="connsiteX17" fmla="*/ 4213142 w 4454477"/>
                  <a:gd name="connsiteY17" fmla="*/ 3248025 h 4429294"/>
                  <a:gd name="connsiteX18" fmla="*/ 4117892 w 4454477"/>
                  <a:gd name="connsiteY18" fmla="*/ 3400425 h 4429294"/>
                  <a:gd name="connsiteX19" fmla="*/ 3994067 w 4454477"/>
                  <a:gd name="connsiteY19" fmla="*/ 3533775 h 4429294"/>
                  <a:gd name="connsiteX20" fmla="*/ 3889292 w 4454477"/>
                  <a:gd name="connsiteY20" fmla="*/ 3648075 h 4429294"/>
                  <a:gd name="connsiteX21" fmla="*/ 3594017 w 4454477"/>
                  <a:gd name="connsiteY21" fmla="*/ 3971925 h 4429294"/>
                  <a:gd name="connsiteX22" fmla="*/ 3451142 w 4454477"/>
                  <a:gd name="connsiteY22" fmla="*/ 4083050 h 4429294"/>
                  <a:gd name="connsiteX23" fmla="*/ 3155867 w 4454477"/>
                  <a:gd name="connsiteY23" fmla="*/ 4222750 h 4429294"/>
                  <a:gd name="connsiteX24" fmla="*/ 3003467 w 4454477"/>
                  <a:gd name="connsiteY24" fmla="*/ 4286250 h 4429294"/>
                  <a:gd name="connsiteX25" fmla="*/ 2870117 w 4454477"/>
                  <a:gd name="connsiteY25" fmla="*/ 4333875 h 4429294"/>
                  <a:gd name="connsiteX26" fmla="*/ 2746292 w 4454477"/>
                  <a:gd name="connsiteY26" fmla="*/ 4371975 h 4429294"/>
                  <a:gd name="connsiteX27" fmla="*/ 2514517 w 4454477"/>
                  <a:gd name="connsiteY27" fmla="*/ 4391025 h 4429294"/>
                  <a:gd name="connsiteX28" fmla="*/ 2060492 w 4454477"/>
                  <a:gd name="connsiteY28" fmla="*/ 4429125 h 4429294"/>
                  <a:gd name="connsiteX29" fmla="*/ 1869992 w 4454477"/>
                  <a:gd name="connsiteY29" fmla="*/ 4400550 h 4429294"/>
                  <a:gd name="connsiteX30" fmla="*/ 1508042 w 4454477"/>
                  <a:gd name="connsiteY30" fmla="*/ 4305300 h 4429294"/>
                  <a:gd name="connsiteX31" fmla="*/ 1266742 w 4454477"/>
                  <a:gd name="connsiteY31" fmla="*/ 4216400 h 4429294"/>
                  <a:gd name="connsiteX32" fmla="*/ 1098467 w 4454477"/>
                  <a:gd name="connsiteY32" fmla="*/ 4111625 h 4429294"/>
                  <a:gd name="connsiteX33" fmla="*/ 879392 w 4454477"/>
                  <a:gd name="connsiteY33" fmla="*/ 3968750 h 4429294"/>
                  <a:gd name="connsiteX34" fmla="*/ 546017 w 4454477"/>
                  <a:gd name="connsiteY34" fmla="*/ 3657600 h 4429294"/>
                  <a:gd name="connsiteX35" fmla="*/ 399967 w 4454477"/>
                  <a:gd name="connsiteY35" fmla="*/ 3470275 h 4429294"/>
                  <a:gd name="connsiteX36" fmla="*/ 269792 w 4454477"/>
                  <a:gd name="connsiteY36" fmla="*/ 3244850 h 4429294"/>
                  <a:gd name="connsiteX37" fmla="*/ 117392 w 4454477"/>
                  <a:gd name="connsiteY37" fmla="*/ 2892425 h 4429294"/>
                  <a:gd name="connsiteX38" fmla="*/ 9442 w 4454477"/>
                  <a:gd name="connsiteY38" fmla="*/ 2368550 h 4429294"/>
                  <a:gd name="connsiteX39" fmla="*/ 15792 w 4454477"/>
                  <a:gd name="connsiteY39" fmla="*/ 1870075 h 4429294"/>
                  <a:gd name="connsiteX40" fmla="*/ 41192 w 4454477"/>
                  <a:gd name="connsiteY40" fmla="*/ 1590675 h 4429294"/>
                  <a:gd name="connsiteX41" fmla="*/ 88817 w 4454477"/>
                  <a:gd name="connsiteY41" fmla="*/ 1419225 h 4429294"/>
                  <a:gd name="connsiteX42" fmla="*/ 165017 w 4454477"/>
                  <a:gd name="connsiteY42" fmla="*/ 1276350 h 4429294"/>
                  <a:gd name="connsiteX43" fmla="*/ 250742 w 4454477"/>
                  <a:gd name="connsiteY43" fmla="*/ 1114425 h 4429294"/>
                  <a:gd name="connsiteX44" fmla="*/ 412667 w 4454477"/>
                  <a:gd name="connsiteY44" fmla="*/ 857250 h 4429294"/>
                  <a:gd name="connsiteX45" fmla="*/ 469817 w 4454477"/>
                  <a:gd name="connsiteY45" fmla="*/ 800100 h 4429294"/>
                  <a:gd name="connsiteX46" fmla="*/ 603167 w 4454477"/>
                  <a:gd name="connsiteY46" fmla="*/ 676275 h 4429294"/>
                  <a:gd name="connsiteX47" fmla="*/ 822242 w 4454477"/>
                  <a:gd name="connsiteY47" fmla="*/ 504825 h 4429294"/>
                  <a:gd name="connsiteX48" fmla="*/ 1101642 w 4454477"/>
                  <a:gd name="connsiteY48" fmla="*/ 311150 h 4429294"/>
                  <a:gd name="connsiteX49" fmla="*/ 1460417 w 4454477"/>
                  <a:gd name="connsiteY49" fmla="*/ 152400 h 4429294"/>
                  <a:gd name="connsiteX50" fmla="*/ 1574717 w 4454477"/>
                  <a:gd name="connsiteY50" fmla="*/ 111125 h 4429294"/>
                  <a:gd name="connsiteX51" fmla="*/ 2206542 w 4454477"/>
                  <a:gd name="connsiteY51" fmla="*/ 12700 h 4429294"/>
                  <a:gd name="connsiteX0" fmla="*/ 2233750 w 4456285"/>
                  <a:gd name="connsiteY0" fmla="*/ 0 h 4429294"/>
                  <a:gd name="connsiteX1" fmla="*/ 2557600 w 4456285"/>
                  <a:gd name="connsiteY1" fmla="*/ 15875 h 4429294"/>
                  <a:gd name="connsiteX2" fmla="*/ 2852875 w 4456285"/>
                  <a:gd name="connsiteY2" fmla="*/ 85725 h 4429294"/>
                  <a:gd name="connsiteX3" fmla="*/ 3071950 w 4456285"/>
                  <a:gd name="connsiteY3" fmla="*/ 171450 h 4429294"/>
                  <a:gd name="connsiteX4" fmla="*/ 3176725 w 4456285"/>
                  <a:gd name="connsiteY4" fmla="*/ 228600 h 4429294"/>
                  <a:gd name="connsiteX5" fmla="*/ 3357700 w 4456285"/>
                  <a:gd name="connsiteY5" fmla="*/ 323850 h 4429294"/>
                  <a:gd name="connsiteX6" fmla="*/ 3748225 w 4456285"/>
                  <a:gd name="connsiteY6" fmla="*/ 581025 h 4429294"/>
                  <a:gd name="connsiteX7" fmla="*/ 3964125 w 4456285"/>
                  <a:gd name="connsiteY7" fmla="*/ 819150 h 4429294"/>
                  <a:gd name="connsiteX8" fmla="*/ 4100650 w 4456285"/>
                  <a:gd name="connsiteY8" fmla="*/ 990600 h 4429294"/>
                  <a:gd name="connsiteX9" fmla="*/ 4186375 w 4456285"/>
                  <a:gd name="connsiteY9" fmla="*/ 1143000 h 4429294"/>
                  <a:gd name="connsiteX10" fmla="*/ 4243525 w 4456285"/>
                  <a:gd name="connsiteY10" fmla="*/ 1266825 h 4429294"/>
                  <a:gd name="connsiteX11" fmla="*/ 4281625 w 4456285"/>
                  <a:gd name="connsiteY11" fmla="*/ 1362075 h 4429294"/>
                  <a:gd name="connsiteX12" fmla="*/ 4329250 w 4456285"/>
                  <a:gd name="connsiteY12" fmla="*/ 1552575 h 4429294"/>
                  <a:gd name="connsiteX13" fmla="*/ 4367350 w 4456285"/>
                  <a:gd name="connsiteY13" fmla="*/ 1685925 h 4429294"/>
                  <a:gd name="connsiteX14" fmla="*/ 4456250 w 4456285"/>
                  <a:gd name="connsiteY14" fmla="*/ 2181225 h 4429294"/>
                  <a:gd name="connsiteX15" fmla="*/ 4383225 w 4456285"/>
                  <a:gd name="connsiteY15" fmla="*/ 2768600 h 4429294"/>
                  <a:gd name="connsiteX16" fmla="*/ 4319725 w 4456285"/>
                  <a:gd name="connsiteY16" fmla="*/ 2990850 h 4429294"/>
                  <a:gd name="connsiteX17" fmla="*/ 4214950 w 4456285"/>
                  <a:gd name="connsiteY17" fmla="*/ 3248025 h 4429294"/>
                  <a:gd name="connsiteX18" fmla="*/ 4119700 w 4456285"/>
                  <a:gd name="connsiteY18" fmla="*/ 3400425 h 4429294"/>
                  <a:gd name="connsiteX19" fmla="*/ 3995875 w 4456285"/>
                  <a:gd name="connsiteY19" fmla="*/ 3533775 h 4429294"/>
                  <a:gd name="connsiteX20" fmla="*/ 3891100 w 4456285"/>
                  <a:gd name="connsiteY20" fmla="*/ 3648075 h 4429294"/>
                  <a:gd name="connsiteX21" fmla="*/ 3595825 w 4456285"/>
                  <a:gd name="connsiteY21" fmla="*/ 3971925 h 4429294"/>
                  <a:gd name="connsiteX22" fmla="*/ 3452950 w 4456285"/>
                  <a:gd name="connsiteY22" fmla="*/ 4083050 h 4429294"/>
                  <a:gd name="connsiteX23" fmla="*/ 3157675 w 4456285"/>
                  <a:gd name="connsiteY23" fmla="*/ 4222750 h 4429294"/>
                  <a:gd name="connsiteX24" fmla="*/ 3005275 w 4456285"/>
                  <a:gd name="connsiteY24" fmla="*/ 4286250 h 4429294"/>
                  <a:gd name="connsiteX25" fmla="*/ 2871925 w 4456285"/>
                  <a:gd name="connsiteY25" fmla="*/ 4333875 h 4429294"/>
                  <a:gd name="connsiteX26" fmla="*/ 2748100 w 4456285"/>
                  <a:gd name="connsiteY26" fmla="*/ 4371975 h 4429294"/>
                  <a:gd name="connsiteX27" fmla="*/ 2516325 w 4456285"/>
                  <a:gd name="connsiteY27" fmla="*/ 4391025 h 4429294"/>
                  <a:gd name="connsiteX28" fmla="*/ 2062300 w 4456285"/>
                  <a:gd name="connsiteY28" fmla="*/ 4429125 h 4429294"/>
                  <a:gd name="connsiteX29" fmla="*/ 1871800 w 4456285"/>
                  <a:gd name="connsiteY29" fmla="*/ 4400550 h 4429294"/>
                  <a:gd name="connsiteX30" fmla="*/ 1509850 w 4456285"/>
                  <a:gd name="connsiteY30" fmla="*/ 4305300 h 4429294"/>
                  <a:gd name="connsiteX31" fmla="*/ 1268550 w 4456285"/>
                  <a:gd name="connsiteY31" fmla="*/ 4216400 h 4429294"/>
                  <a:gd name="connsiteX32" fmla="*/ 1100275 w 4456285"/>
                  <a:gd name="connsiteY32" fmla="*/ 4111625 h 4429294"/>
                  <a:gd name="connsiteX33" fmla="*/ 881200 w 4456285"/>
                  <a:gd name="connsiteY33" fmla="*/ 3968750 h 4429294"/>
                  <a:gd name="connsiteX34" fmla="*/ 547825 w 4456285"/>
                  <a:gd name="connsiteY34" fmla="*/ 3657600 h 4429294"/>
                  <a:gd name="connsiteX35" fmla="*/ 401775 w 4456285"/>
                  <a:gd name="connsiteY35" fmla="*/ 3470275 h 4429294"/>
                  <a:gd name="connsiteX36" fmla="*/ 271600 w 4456285"/>
                  <a:gd name="connsiteY36" fmla="*/ 3244850 h 4429294"/>
                  <a:gd name="connsiteX37" fmla="*/ 119200 w 4456285"/>
                  <a:gd name="connsiteY37" fmla="*/ 2892425 h 4429294"/>
                  <a:gd name="connsiteX38" fmla="*/ 11250 w 4456285"/>
                  <a:gd name="connsiteY38" fmla="*/ 2368550 h 4429294"/>
                  <a:gd name="connsiteX39" fmla="*/ 17600 w 4456285"/>
                  <a:gd name="connsiteY39" fmla="*/ 1870075 h 4429294"/>
                  <a:gd name="connsiteX40" fmla="*/ 90625 w 4456285"/>
                  <a:gd name="connsiteY40" fmla="*/ 1419225 h 4429294"/>
                  <a:gd name="connsiteX41" fmla="*/ 166825 w 4456285"/>
                  <a:gd name="connsiteY41" fmla="*/ 1276350 h 4429294"/>
                  <a:gd name="connsiteX42" fmla="*/ 252550 w 4456285"/>
                  <a:gd name="connsiteY42" fmla="*/ 1114425 h 4429294"/>
                  <a:gd name="connsiteX43" fmla="*/ 414475 w 4456285"/>
                  <a:gd name="connsiteY43" fmla="*/ 857250 h 4429294"/>
                  <a:gd name="connsiteX44" fmla="*/ 471625 w 4456285"/>
                  <a:gd name="connsiteY44" fmla="*/ 800100 h 4429294"/>
                  <a:gd name="connsiteX45" fmla="*/ 604975 w 4456285"/>
                  <a:gd name="connsiteY45" fmla="*/ 676275 h 4429294"/>
                  <a:gd name="connsiteX46" fmla="*/ 824050 w 4456285"/>
                  <a:gd name="connsiteY46" fmla="*/ 504825 h 4429294"/>
                  <a:gd name="connsiteX47" fmla="*/ 1103450 w 4456285"/>
                  <a:gd name="connsiteY47" fmla="*/ 311150 h 4429294"/>
                  <a:gd name="connsiteX48" fmla="*/ 1462225 w 4456285"/>
                  <a:gd name="connsiteY48" fmla="*/ 152400 h 4429294"/>
                  <a:gd name="connsiteX49" fmla="*/ 1576525 w 4456285"/>
                  <a:gd name="connsiteY49" fmla="*/ 111125 h 4429294"/>
                  <a:gd name="connsiteX50" fmla="*/ 2208350 w 4456285"/>
                  <a:gd name="connsiteY50" fmla="*/ 12700 h 4429294"/>
                  <a:gd name="connsiteX0" fmla="*/ 2237540 w 4460075"/>
                  <a:gd name="connsiteY0" fmla="*/ 0 h 4429294"/>
                  <a:gd name="connsiteX1" fmla="*/ 2561390 w 4460075"/>
                  <a:gd name="connsiteY1" fmla="*/ 15875 h 4429294"/>
                  <a:gd name="connsiteX2" fmla="*/ 2856665 w 4460075"/>
                  <a:gd name="connsiteY2" fmla="*/ 85725 h 4429294"/>
                  <a:gd name="connsiteX3" fmla="*/ 3075740 w 4460075"/>
                  <a:gd name="connsiteY3" fmla="*/ 171450 h 4429294"/>
                  <a:gd name="connsiteX4" fmla="*/ 3180515 w 4460075"/>
                  <a:gd name="connsiteY4" fmla="*/ 228600 h 4429294"/>
                  <a:gd name="connsiteX5" fmla="*/ 3361490 w 4460075"/>
                  <a:gd name="connsiteY5" fmla="*/ 323850 h 4429294"/>
                  <a:gd name="connsiteX6" fmla="*/ 3752015 w 4460075"/>
                  <a:gd name="connsiteY6" fmla="*/ 581025 h 4429294"/>
                  <a:gd name="connsiteX7" fmla="*/ 3967915 w 4460075"/>
                  <a:gd name="connsiteY7" fmla="*/ 819150 h 4429294"/>
                  <a:gd name="connsiteX8" fmla="*/ 4104440 w 4460075"/>
                  <a:gd name="connsiteY8" fmla="*/ 990600 h 4429294"/>
                  <a:gd name="connsiteX9" fmla="*/ 4190165 w 4460075"/>
                  <a:gd name="connsiteY9" fmla="*/ 1143000 h 4429294"/>
                  <a:gd name="connsiteX10" fmla="*/ 4247315 w 4460075"/>
                  <a:gd name="connsiteY10" fmla="*/ 1266825 h 4429294"/>
                  <a:gd name="connsiteX11" fmla="*/ 4285415 w 4460075"/>
                  <a:gd name="connsiteY11" fmla="*/ 1362075 h 4429294"/>
                  <a:gd name="connsiteX12" fmla="*/ 4333040 w 4460075"/>
                  <a:gd name="connsiteY12" fmla="*/ 1552575 h 4429294"/>
                  <a:gd name="connsiteX13" fmla="*/ 4371140 w 4460075"/>
                  <a:gd name="connsiteY13" fmla="*/ 1685925 h 4429294"/>
                  <a:gd name="connsiteX14" fmla="*/ 4460040 w 4460075"/>
                  <a:gd name="connsiteY14" fmla="*/ 2181225 h 4429294"/>
                  <a:gd name="connsiteX15" fmla="*/ 4387015 w 4460075"/>
                  <a:gd name="connsiteY15" fmla="*/ 2768600 h 4429294"/>
                  <a:gd name="connsiteX16" fmla="*/ 4323515 w 4460075"/>
                  <a:gd name="connsiteY16" fmla="*/ 2990850 h 4429294"/>
                  <a:gd name="connsiteX17" fmla="*/ 4218740 w 4460075"/>
                  <a:gd name="connsiteY17" fmla="*/ 3248025 h 4429294"/>
                  <a:gd name="connsiteX18" fmla="*/ 4123490 w 4460075"/>
                  <a:gd name="connsiteY18" fmla="*/ 3400425 h 4429294"/>
                  <a:gd name="connsiteX19" fmla="*/ 3999665 w 4460075"/>
                  <a:gd name="connsiteY19" fmla="*/ 3533775 h 4429294"/>
                  <a:gd name="connsiteX20" fmla="*/ 3894890 w 4460075"/>
                  <a:gd name="connsiteY20" fmla="*/ 3648075 h 4429294"/>
                  <a:gd name="connsiteX21" fmla="*/ 3599615 w 4460075"/>
                  <a:gd name="connsiteY21" fmla="*/ 3971925 h 4429294"/>
                  <a:gd name="connsiteX22" fmla="*/ 3456740 w 4460075"/>
                  <a:gd name="connsiteY22" fmla="*/ 4083050 h 4429294"/>
                  <a:gd name="connsiteX23" fmla="*/ 3161465 w 4460075"/>
                  <a:gd name="connsiteY23" fmla="*/ 4222750 h 4429294"/>
                  <a:gd name="connsiteX24" fmla="*/ 3009065 w 4460075"/>
                  <a:gd name="connsiteY24" fmla="*/ 4286250 h 4429294"/>
                  <a:gd name="connsiteX25" fmla="*/ 2875715 w 4460075"/>
                  <a:gd name="connsiteY25" fmla="*/ 4333875 h 4429294"/>
                  <a:gd name="connsiteX26" fmla="*/ 2751890 w 4460075"/>
                  <a:gd name="connsiteY26" fmla="*/ 4371975 h 4429294"/>
                  <a:gd name="connsiteX27" fmla="*/ 2520115 w 4460075"/>
                  <a:gd name="connsiteY27" fmla="*/ 4391025 h 4429294"/>
                  <a:gd name="connsiteX28" fmla="*/ 2066090 w 4460075"/>
                  <a:gd name="connsiteY28" fmla="*/ 4429125 h 4429294"/>
                  <a:gd name="connsiteX29" fmla="*/ 1875590 w 4460075"/>
                  <a:gd name="connsiteY29" fmla="*/ 4400550 h 4429294"/>
                  <a:gd name="connsiteX30" fmla="*/ 1513640 w 4460075"/>
                  <a:gd name="connsiteY30" fmla="*/ 4305300 h 4429294"/>
                  <a:gd name="connsiteX31" fmla="*/ 1272340 w 4460075"/>
                  <a:gd name="connsiteY31" fmla="*/ 4216400 h 4429294"/>
                  <a:gd name="connsiteX32" fmla="*/ 1104065 w 4460075"/>
                  <a:gd name="connsiteY32" fmla="*/ 4111625 h 4429294"/>
                  <a:gd name="connsiteX33" fmla="*/ 884990 w 4460075"/>
                  <a:gd name="connsiteY33" fmla="*/ 3968750 h 4429294"/>
                  <a:gd name="connsiteX34" fmla="*/ 551615 w 4460075"/>
                  <a:gd name="connsiteY34" fmla="*/ 3657600 h 4429294"/>
                  <a:gd name="connsiteX35" fmla="*/ 405565 w 4460075"/>
                  <a:gd name="connsiteY35" fmla="*/ 3470275 h 4429294"/>
                  <a:gd name="connsiteX36" fmla="*/ 275390 w 4460075"/>
                  <a:gd name="connsiteY36" fmla="*/ 3244850 h 4429294"/>
                  <a:gd name="connsiteX37" fmla="*/ 122990 w 4460075"/>
                  <a:gd name="connsiteY37" fmla="*/ 2892425 h 4429294"/>
                  <a:gd name="connsiteX38" fmla="*/ 15040 w 4460075"/>
                  <a:gd name="connsiteY38" fmla="*/ 2368550 h 4429294"/>
                  <a:gd name="connsiteX39" fmla="*/ 21390 w 4460075"/>
                  <a:gd name="connsiteY39" fmla="*/ 1870075 h 4429294"/>
                  <a:gd name="connsiteX40" fmla="*/ 170615 w 4460075"/>
                  <a:gd name="connsiteY40" fmla="*/ 1276350 h 4429294"/>
                  <a:gd name="connsiteX41" fmla="*/ 256340 w 4460075"/>
                  <a:gd name="connsiteY41" fmla="*/ 1114425 h 4429294"/>
                  <a:gd name="connsiteX42" fmla="*/ 418265 w 4460075"/>
                  <a:gd name="connsiteY42" fmla="*/ 857250 h 4429294"/>
                  <a:gd name="connsiteX43" fmla="*/ 475415 w 4460075"/>
                  <a:gd name="connsiteY43" fmla="*/ 800100 h 4429294"/>
                  <a:gd name="connsiteX44" fmla="*/ 608765 w 4460075"/>
                  <a:gd name="connsiteY44" fmla="*/ 676275 h 4429294"/>
                  <a:gd name="connsiteX45" fmla="*/ 827840 w 4460075"/>
                  <a:gd name="connsiteY45" fmla="*/ 504825 h 4429294"/>
                  <a:gd name="connsiteX46" fmla="*/ 1107240 w 4460075"/>
                  <a:gd name="connsiteY46" fmla="*/ 311150 h 4429294"/>
                  <a:gd name="connsiteX47" fmla="*/ 1466015 w 4460075"/>
                  <a:gd name="connsiteY47" fmla="*/ 152400 h 4429294"/>
                  <a:gd name="connsiteX48" fmla="*/ 1580315 w 4460075"/>
                  <a:gd name="connsiteY48" fmla="*/ 111125 h 4429294"/>
                  <a:gd name="connsiteX49" fmla="*/ 2212140 w 4460075"/>
                  <a:gd name="connsiteY49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57065 w 4460800"/>
                  <a:gd name="connsiteY41" fmla="*/ 1114425 h 4429294"/>
                  <a:gd name="connsiteX42" fmla="*/ 418990 w 4460800"/>
                  <a:gd name="connsiteY42" fmla="*/ 857250 h 4429294"/>
                  <a:gd name="connsiteX43" fmla="*/ 476140 w 4460800"/>
                  <a:gd name="connsiteY43" fmla="*/ 800100 h 4429294"/>
                  <a:gd name="connsiteX44" fmla="*/ 609490 w 4460800"/>
                  <a:gd name="connsiteY44" fmla="*/ 676275 h 4429294"/>
                  <a:gd name="connsiteX45" fmla="*/ 828565 w 4460800"/>
                  <a:gd name="connsiteY45" fmla="*/ 504825 h 4429294"/>
                  <a:gd name="connsiteX46" fmla="*/ 1107965 w 4460800"/>
                  <a:gd name="connsiteY46" fmla="*/ 311150 h 4429294"/>
                  <a:gd name="connsiteX47" fmla="*/ 1466740 w 4460800"/>
                  <a:gd name="connsiteY47" fmla="*/ 152400 h 4429294"/>
                  <a:gd name="connsiteX48" fmla="*/ 1581040 w 4460800"/>
                  <a:gd name="connsiteY48" fmla="*/ 111125 h 4429294"/>
                  <a:gd name="connsiteX49" fmla="*/ 2212865 w 4460800"/>
                  <a:gd name="connsiteY49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418990 w 4460800"/>
                  <a:gd name="connsiteY42" fmla="*/ 857250 h 4429294"/>
                  <a:gd name="connsiteX43" fmla="*/ 476140 w 4460800"/>
                  <a:gd name="connsiteY43" fmla="*/ 800100 h 4429294"/>
                  <a:gd name="connsiteX44" fmla="*/ 609490 w 4460800"/>
                  <a:gd name="connsiteY44" fmla="*/ 676275 h 4429294"/>
                  <a:gd name="connsiteX45" fmla="*/ 828565 w 4460800"/>
                  <a:gd name="connsiteY45" fmla="*/ 504825 h 4429294"/>
                  <a:gd name="connsiteX46" fmla="*/ 1107965 w 4460800"/>
                  <a:gd name="connsiteY46" fmla="*/ 311150 h 4429294"/>
                  <a:gd name="connsiteX47" fmla="*/ 1466740 w 4460800"/>
                  <a:gd name="connsiteY47" fmla="*/ 152400 h 4429294"/>
                  <a:gd name="connsiteX48" fmla="*/ 1581040 w 4460800"/>
                  <a:gd name="connsiteY48" fmla="*/ 111125 h 4429294"/>
                  <a:gd name="connsiteX49" fmla="*/ 2212865 w 4460800"/>
                  <a:gd name="connsiteY49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476140 w 4460800"/>
                  <a:gd name="connsiteY42" fmla="*/ 800100 h 4429294"/>
                  <a:gd name="connsiteX43" fmla="*/ 609490 w 4460800"/>
                  <a:gd name="connsiteY43" fmla="*/ 676275 h 4429294"/>
                  <a:gd name="connsiteX44" fmla="*/ 828565 w 4460800"/>
                  <a:gd name="connsiteY44" fmla="*/ 504825 h 4429294"/>
                  <a:gd name="connsiteX45" fmla="*/ 1107965 w 4460800"/>
                  <a:gd name="connsiteY45" fmla="*/ 311150 h 4429294"/>
                  <a:gd name="connsiteX46" fmla="*/ 1466740 w 4460800"/>
                  <a:gd name="connsiteY46" fmla="*/ 152400 h 4429294"/>
                  <a:gd name="connsiteX47" fmla="*/ 1581040 w 4460800"/>
                  <a:gd name="connsiteY47" fmla="*/ 111125 h 4429294"/>
                  <a:gd name="connsiteX48" fmla="*/ 2212865 w 4460800"/>
                  <a:gd name="connsiteY48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609490 w 4460800"/>
                  <a:gd name="connsiteY42" fmla="*/ 676275 h 4429294"/>
                  <a:gd name="connsiteX43" fmla="*/ 828565 w 4460800"/>
                  <a:gd name="connsiteY43" fmla="*/ 504825 h 4429294"/>
                  <a:gd name="connsiteX44" fmla="*/ 1107965 w 4460800"/>
                  <a:gd name="connsiteY44" fmla="*/ 311150 h 4429294"/>
                  <a:gd name="connsiteX45" fmla="*/ 1466740 w 4460800"/>
                  <a:gd name="connsiteY45" fmla="*/ 152400 h 4429294"/>
                  <a:gd name="connsiteX46" fmla="*/ 1581040 w 4460800"/>
                  <a:gd name="connsiteY46" fmla="*/ 111125 h 4429294"/>
                  <a:gd name="connsiteX47" fmla="*/ 2212865 w 4460800"/>
                  <a:gd name="connsiteY47" fmla="*/ 12700 h 4429294"/>
                  <a:gd name="connsiteX0" fmla="*/ 2238265 w 4460800"/>
                  <a:gd name="connsiteY0" fmla="*/ 0 h 4429294"/>
                  <a:gd name="connsiteX1" fmla="*/ 2562115 w 4460800"/>
                  <a:gd name="connsiteY1" fmla="*/ 15875 h 4429294"/>
                  <a:gd name="connsiteX2" fmla="*/ 2857390 w 4460800"/>
                  <a:gd name="connsiteY2" fmla="*/ 85725 h 4429294"/>
                  <a:gd name="connsiteX3" fmla="*/ 3076465 w 4460800"/>
                  <a:gd name="connsiteY3" fmla="*/ 171450 h 4429294"/>
                  <a:gd name="connsiteX4" fmla="*/ 3181240 w 4460800"/>
                  <a:gd name="connsiteY4" fmla="*/ 228600 h 4429294"/>
                  <a:gd name="connsiteX5" fmla="*/ 3362215 w 4460800"/>
                  <a:gd name="connsiteY5" fmla="*/ 323850 h 4429294"/>
                  <a:gd name="connsiteX6" fmla="*/ 3752740 w 4460800"/>
                  <a:gd name="connsiteY6" fmla="*/ 581025 h 4429294"/>
                  <a:gd name="connsiteX7" fmla="*/ 3968640 w 4460800"/>
                  <a:gd name="connsiteY7" fmla="*/ 819150 h 4429294"/>
                  <a:gd name="connsiteX8" fmla="*/ 4105165 w 4460800"/>
                  <a:gd name="connsiteY8" fmla="*/ 990600 h 4429294"/>
                  <a:gd name="connsiteX9" fmla="*/ 4190890 w 4460800"/>
                  <a:gd name="connsiteY9" fmla="*/ 1143000 h 4429294"/>
                  <a:gd name="connsiteX10" fmla="*/ 4248040 w 4460800"/>
                  <a:gd name="connsiteY10" fmla="*/ 1266825 h 4429294"/>
                  <a:gd name="connsiteX11" fmla="*/ 4286140 w 4460800"/>
                  <a:gd name="connsiteY11" fmla="*/ 1362075 h 4429294"/>
                  <a:gd name="connsiteX12" fmla="*/ 4333765 w 4460800"/>
                  <a:gd name="connsiteY12" fmla="*/ 1552575 h 4429294"/>
                  <a:gd name="connsiteX13" fmla="*/ 4371865 w 4460800"/>
                  <a:gd name="connsiteY13" fmla="*/ 1685925 h 4429294"/>
                  <a:gd name="connsiteX14" fmla="*/ 4460765 w 4460800"/>
                  <a:gd name="connsiteY14" fmla="*/ 2181225 h 4429294"/>
                  <a:gd name="connsiteX15" fmla="*/ 4387740 w 4460800"/>
                  <a:gd name="connsiteY15" fmla="*/ 2768600 h 4429294"/>
                  <a:gd name="connsiteX16" fmla="*/ 4324240 w 4460800"/>
                  <a:gd name="connsiteY16" fmla="*/ 2990850 h 4429294"/>
                  <a:gd name="connsiteX17" fmla="*/ 4219465 w 4460800"/>
                  <a:gd name="connsiteY17" fmla="*/ 3248025 h 4429294"/>
                  <a:gd name="connsiteX18" fmla="*/ 4124215 w 4460800"/>
                  <a:gd name="connsiteY18" fmla="*/ 3400425 h 4429294"/>
                  <a:gd name="connsiteX19" fmla="*/ 4000390 w 4460800"/>
                  <a:gd name="connsiteY19" fmla="*/ 3533775 h 4429294"/>
                  <a:gd name="connsiteX20" fmla="*/ 3895615 w 4460800"/>
                  <a:gd name="connsiteY20" fmla="*/ 3648075 h 4429294"/>
                  <a:gd name="connsiteX21" fmla="*/ 3600340 w 4460800"/>
                  <a:gd name="connsiteY21" fmla="*/ 3971925 h 4429294"/>
                  <a:gd name="connsiteX22" fmla="*/ 3457465 w 4460800"/>
                  <a:gd name="connsiteY22" fmla="*/ 4083050 h 4429294"/>
                  <a:gd name="connsiteX23" fmla="*/ 3162190 w 4460800"/>
                  <a:gd name="connsiteY23" fmla="*/ 4222750 h 4429294"/>
                  <a:gd name="connsiteX24" fmla="*/ 3009790 w 4460800"/>
                  <a:gd name="connsiteY24" fmla="*/ 4286250 h 4429294"/>
                  <a:gd name="connsiteX25" fmla="*/ 2876440 w 4460800"/>
                  <a:gd name="connsiteY25" fmla="*/ 4333875 h 4429294"/>
                  <a:gd name="connsiteX26" fmla="*/ 2752615 w 4460800"/>
                  <a:gd name="connsiteY26" fmla="*/ 4371975 h 4429294"/>
                  <a:gd name="connsiteX27" fmla="*/ 2520840 w 4460800"/>
                  <a:gd name="connsiteY27" fmla="*/ 4391025 h 4429294"/>
                  <a:gd name="connsiteX28" fmla="*/ 2066815 w 4460800"/>
                  <a:gd name="connsiteY28" fmla="*/ 4429125 h 4429294"/>
                  <a:gd name="connsiteX29" fmla="*/ 1876315 w 4460800"/>
                  <a:gd name="connsiteY29" fmla="*/ 4400550 h 4429294"/>
                  <a:gd name="connsiteX30" fmla="*/ 1514365 w 4460800"/>
                  <a:gd name="connsiteY30" fmla="*/ 4305300 h 4429294"/>
                  <a:gd name="connsiteX31" fmla="*/ 1273065 w 4460800"/>
                  <a:gd name="connsiteY31" fmla="*/ 4216400 h 4429294"/>
                  <a:gd name="connsiteX32" fmla="*/ 1104790 w 4460800"/>
                  <a:gd name="connsiteY32" fmla="*/ 4111625 h 4429294"/>
                  <a:gd name="connsiteX33" fmla="*/ 885715 w 4460800"/>
                  <a:gd name="connsiteY33" fmla="*/ 3968750 h 4429294"/>
                  <a:gd name="connsiteX34" fmla="*/ 552340 w 4460800"/>
                  <a:gd name="connsiteY34" fmla="*/ 3657600 h 4429294"/>
                  <a:gd name="connsiteX35" fmla="*/ 406290 w 4460800"/>
                  <a:gd name="connsiteY35" fmla="*/ 3470275 h 4429294"/>
                  <a:gd name="connsiteX36" fmla="*/ 276115 w 4460800"/>
                  <a:gd name="connsiteY36" fmla="*/ 3244850 h 4429294"/>
                  <a:gd name="connsiteX37" fmla="*/ 123715 w 4460800"/>
                  <a:gd name="connsiteY37" fmla="*/ 2892425 h 4429294"/>
                  <a:gd name="connsiteX38" fmla="*/ 15765 w 4460800"/>
                  <a:gd name="connsiteY38" fmla="*/ 2368550 h 4429294"/>
                  <a:gd name="connsiteX39" fmla="*/ 22115 w 4460800"/>
                  <a:gd name="connsiteY39" fmla="*/ 1870075 h 4429294"/>
                  <a:gd name="connsiteX40" fmla="*/ 184040 w 4460800"/>
                  <a:gd name="connsiteY40" fmla="*/ 1320800 h 4429294"/>
                  <a:gd name="connsiteX41" fmla="*/ 288815 w 4460800"/>
                  <a:gd name="connsiteY41" fmla="*/ 1114425 h 4429294"/>
                  <a:gd name="connsiteX42" fmla="*/ 609490 w 4460800"/>
                  <a:gd name="connsiteY42" fmla="*/ 676275 h 4429294"/>
                  <a:gd name="connsiteX43" fmla="*/ 828565 w 4460800"/>
                  <a:gd name="connsiteY43" fmla="*/ 504825 h 4429294"/>
                  <a:gd name="connsiteX44" fmla="*/ 1107965 w 4460800"/>
                  <a:gd name="connsiteY44" fmla="*/ 311150 h 4429294"/>
                  <a:gd name="connsiteX45" fmla="*/ 1466740 w 4460800"/>
                  <a:gd name="connsiteY45" fmla="*/ 152400 h 4429294"/>
                  <a:gd name="connsiteX46" fmla="*/ 1581040 w 4460800"/>
                  <a:gd name="connsiteY46" fmla="*/ 111125 h 4429294"/>
                  <a:gd name="connsiteX47" fmla="*/ 2212865 w 4460800"/>
                  <a:gd name="connsiteY47" fmla="*/ 12700 h 4429294"/>
                  <a:gd name="connsiteX48" fmla="*/ 2238265 w 4460800"/>
                  <a:gd name="connsiteY48" fmla="*/ 0 h 4429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</a:cxnLst>
                <a:rect l="l" t="t" r="r" b="b"/>
                <a:pathLst>
                  <a:path w="4460800" h="4429294">
                    <a:moveTo>
                      <a:pt x="2238265" y="0"/>
                    </a:moveTo>
                    <a:cubicBezTo>
                      <a:pt x="2346215" y="5292"/>
                      <a:pt x="2458928" y="1588"/>
                      <a:pt x="2562115" y="15875"/>
                    </a:cubicBezTo>
                    <a:cubicBezTo>
                      <a:pt x="2665302" y="30162"/>
                      <a:pt x="2798653" y="69321"/>
                      <a:pt x="2857390" y="85725"/>
                    </a:cubicBezTo>
                    <a:cubicBezTo>
                      <a:pt x="2943115" y="111654"/>
                      <a:pt x="3033603" y="153988"/>
                      <a:pt x="3076465" y="171450"/>
                    </a:cubicBezTo>
                    <a:cubicBezTo>
                      <a:pt x="3130440" y="195262"/>
                      <a:pt x="3133615" y="203200"/>
                      <a:pt x="3181240" y="228600"/>
                    </a:cubicBezTo>
                    <a:cubicBezTo>
                      <a:pt x="3228865" y="254000"/>
                      <a:pt x="3266965" y="265113"/>
                      <a:pt x="3362215" y="323850"/>
                    </a:cubicBezTo>
                    <a:cubicBezTo>
                      <a:pt x="3457465" y="382588"/>
                      <a:pt x="3651669" y="498475"/>
                      <a:pt x="3752740" y="581025"/>
                    </a:cubicBezTo>
                    <a:cubicBezTo>
                      <a:pt x="3853811" y="663575"/>
                      <a:pt x="3909903" y="750888"/>
                      <a:pt x="3968640" y="819150"/>
                    </a:cubicBezTo>
                    <a:cubicBezTo>
                      <a:pt x="4027378" y="887413"/>
                      <a:pt x="4068123" y="936625"/>
                      <a:pt x="4105165" y="990600"/>
                    </a:cubicBezTo>
                    <a:cubicBezTo>
                      <a:pt x="4142207" y="1044575"/>
                      <a:pt x="4175015" y="1109663"/>
                      <a:pt x="4190890" y="1143000"/>
                    </a:cubicBezTo>
                    <a:cubicBezTo>
                      <a:pt x="4214703" y="1189038"/>
                      <a:pt x="4232165" y="1230313"/>
                      <a:pt x="4248040" y="1266825"/>
                    </a:cubicBezTo>
                    <a:cubicBezTo>
                      <a:pt x="4263915" y="1303338"/>
                      <a:pt x="4271853" y="1314450"/>
                      <a:pt x="4286140" y="1362075"/>
                    </a:cubicBezTo>
                    <a:cubicBezTo>
                      <a:pt x="4300427" y="1409700"/>
                      <a:pt x="4319478" y="1498600"/>
                      <a:pt x="4333765" y="1552575"/>
                    </a:cubicBezTo>
                    <a:cubicBezTo>
                      <a:pt x="4348053" y="1606550"/>
                      <a:pt x="4350698" y="1581150"/>
                      <a:pt x="4371865" y="1685925"/>
                    </a:cubicBezTo>
                    <a:cubicBezTo>
                      <a:pt x="4393032" y="1790700"/>
                      <a:pt x="4459178" y="1982788"/>
                      <a:pt x="4460765" y="2181225"/>
                    </a:cubicBezTo>
                    <a:cubicBezTo>
                      <a:pt x="4462352" y="2379662"/>
                      <a:pt x="4410494" y="2633663"/>
                      <a:pt x="4387740" y="2768600"/>
                    </a:cubicBezTo>
                    <a:cubicBezTo>
                      <a:pt x="4364986" y="2903537"/>
                      <a:pt x="4352286" y="2910946"/>
                      <a:pt x="4324240" y="2990850"/>
                    </a:cubicBezTo>
                    <a:cubicBezTo>
                      <a:pt x="4296194" y="3070754"/>
                      <a:pt x="4252802" y="3179763"/>
                      <a:pt x="4219465" y="3248025"/>
                    </a:cubicBezTo>
                    <a:cubicBezTo>
                      <a:pt x="4186128" y="3316287"/>
                      <a:pt x="4160728" y="3352800"/>
                      <a:pt x="4124215" y="3400425"/>
                    </a:cubicBezTo>
                    <a:cubicBezTo>
                      <a:pt x="4087703" y="3448050"/>
                      <a:pt x="4038490" y="3492500"/>
                      <a:pt x="4000390" y="3533775"/>
                    </a:cubicBezTo>
                    <a:lnTo>
                      <a:pt x="3895615" y="3648075"/>
                    </a:lnTo>
                    <a:cubicBezTo>
                      <a:pt x="3797190" y="3756025"/>
                      <a:pt x="3673365" y="3899429"/>
                      <a:pt x="3600340" y="3971925"/>
                    </a:cubicBezTo>
                    <a:cubicBezTo>
                      <a:pt x="3527315" y="4044421"/>
                      <a:pt x="3530490" y="4041246"/>
                      <a:pt x="3457465" y="4083050"/>
                    </a:cubicBezTo>
                    <a:cubicBezTo>
                      <a:pt x="3384440" y="4124854"/>
                      <a:pt x="3236802" y="4188883"/>
                      <a:pt x="3162190" y="4222750"/>
                    </a:cubicBezTo>
                    <a:cubicBezTo>
                      <a:pt x="3087578" y="4256617"/>
                      <a:pt x="3038173" y="4283885"/>
                      <a:pt x="3009790" y="4286250"/>
                    </a:cubicBezTo>
                    <a:cubicBezTo>
                      <a:pt x="2947977" y="4310975"/>
                      <a:pt x="2954113" y="4309602"/>
                      <a:pt x="2876440" y="4333875"/>
                    </a:cubicBezTo>
                    <a:cubicBezTo>
                      <a:pt x="2853306" y="4341104"/>
                      <a:pt x="2811882" y="4362450"/>
                      <a:pt x="2752615" y="4371975"/>
                    </a:cubicBezTo>
                    <a:cubicBezTo>
                      <a:pt x="2693348" y="4381500"/>
                      <a:pt x="2635140" y="4381500"/>
                      <a:pt x="2520840" y="4391025"/>
                    </a:cubicBezTo>
                    <a:cubicBezTo>
                      <a:pt x="2406540" y="4400550"/>
                      <a:pt x="2174236" y="4427538"/>
                      <a:pt x="2066815" y="4429125"/>
                    </a:cubicBezTo>
                    <a:cubicBezTo>
                      <a:pt x="1959394" y="4430712"/>
                      <a:pt x="1968390" y="4421187"/>
                      <a:pt x="1876315" y="4400550"/>
                    </a:cubicBezTo>
                    <a:cubicBezTo>
                      <a:pt x="1784240" y="4379913"/>
                      <a:pt x="1614907" y="4335992"/>
                      <a:pt x="1514365" y="4305300"/>
                    </a:cubicBezTo>
                    <a:cubicBezTo>
                      <a:pt x="1413823" y="4274608"/>
                      <a:pt x="1353498" y="4246033"/>
                      <a:pt x="1273065" y="4216400"/>
                    </a:cubicBezTo>
                    <a:cubicBezTo>
                      <a:pt x="1206390" y="4187825"/>
                      <a:pt x="1169348" y="4152900"/>
                      <a:pt x="1104790" y="4111625"/>
                    </a:cubicBezTo>
                    <a:cubicBezTo>
                      <a:pt x="1040232" y="4070350"/>
                      <a:pt x="977790" y="4044421"/>
                      <a:pt x="885715" y="3968750"/>
                    </a:cubicBezTo>
                    <a:cubicBezTo>
                      <a:pt x="793640" y="3893079"/>
                      <a:pt x="632244" y="3740679"/>
                      <a:pt x="552340" y="3657600"/>
                    </a:cubicBezTo>
                    <a:cubicBezTo>
                      <a:pt x="472436" y="3574521"/>
                      <a:pt x="452327" y="3539067"/>
                      <a:pt x="406290" y="3470275"/>
                    </a:cubicBezTo>
                    <a:cubicBezTo>
                      <a:pt x="360253" y="3401483"/>
                      <a:pt x="323211" y="3341158"/>
                      <a:pt x="276115" y="3244850"/>
                    </a:cubicBezTo>
                    <a:cubicBezTo>
                      <a:pt x="229019" y="3148542"/>
                      <a:pt x="167107" y="3038475"/>
                      <a:pt x="123715" y="2892425"/>
                    </a:cubicBezTo>
                    <a:cubicBezTo>
                      <a:pt x="80323" y="2746375"/>
                      <a:pt x="37990" y="2553758"/>
                      <a:pt x="15765" y="2368550"/>
                    </a:cubicBezTo>
                    <a:cubicBezTo>
                      <a:pt x="-6460" y="2183342"/>
                      <a:pt x="-5931" y="2044700"/>
                      <a:pt x="22115" y="1870075"/>
                    </a:cubicBezTo>
                    <a:cubicBezTo>
                      <a:pt x="50161" y="1695450"/>
                      <a:pt x="139590" y="1446742"/>
                      <a:pt x="184040" y="1320800"/>
                    </a:cubicBezTo>
                    <a:cubicBezTo>
                      <a:pt x="228490" y="1194858"/>
                      <a:pt x="217907" y="1221846"/>
                      <a:pt x="288815" y="1114425"/>
                    </a:cubicBezTo>
                    <a:cubicBezTo>
                      <a:pt x="359723" y="1007004"/>
                      <a:pt x="519532" y="777875"/>
                      <a:pt x="609490" y="676275"/>
                    </a:cubicBezTo>
                    <a:cubicBezTo>
                      <a:pt x="699448" y="574675"/>
                      <a:pt x="745486" y="565679"/>
                      <a:pt x="828565" y="504825"/>
                    </a:cubicBezTo>
                    <a:cubicBezTo>
                      <a:pt x="911644" y="443971"/>
                      <a:pt x="997898" y="379942"/>
                      <a:pt x="1107965" y="311150"/>
                    </a:cubicBezTo>
                    <a:cubicBezTo>
                      <a:pt x="1214328" y="252413"/>
                      <a:pt x="1387894" y="185737"/>
                      <a:pt x="1466740" y="152400"/>
                    </a:cubicBezTo>
                    <a:cubicBezTo>
                      <a:pt x="1545586" y="119063"/>
                      <a:pt x="1456686" y="134408"/>
                      <a:pt x="1581040" y="111125"/>
                    </a:cubicBezTo>
                    <a:cubicBezTo>
                      <a:pt x="1810698" y="67733"/>
                      <a:pt x="1945107" y="-7408"/>
                      <a:pt x="2212865" y="12700"/>
                    </a:cubicBezTo>
                    <a:lnTo>
                      <a:pt x="2238265" y="0"/>
                    </a:lnTo>
                    <a:close/>
                  </a:path>
                </a:pathLst>
              </a:custGeom>
              <a:ln w="6350">
                <a:solidFill>
                  <a:schemeClr val="accent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da-DK"/>
              </a:p>
            </p:txBody>
          </p:sp>
        </p:grp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DC36E5A-33F0-19DD-2B4C-CB1B22D62E4F}"/>
                </a:ext>
              </a:extLst>
            </p:cNvPr>
            <p:cNvSpPr txBox="1"/>
            <p:nvPr/>
          </p:nvSpPr>
          <p:spPr>
            <a:xfrm>
              <a:off x="-2066119" y="1499102"/>
              <a:ext cx="1260069" cy="427494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da-DK" sz="1200" b="1">
                  <a:latin typeface="Verdana" panose="020B0604030504040204" pitchFamily="34" charset="0"/>
                  <a:ea typeface="Verdana" panose="020B0604030504040204" pitchFamily="34" charset="0"/>
                </a:rPr>
                <a:t>Første målepunkter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443584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D795F0-D9BB-1204-5D2C-DD23139B23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" name="Group 115">
            <a:extLst>
              <a:ext uri="{FF2B5EF4-FFF2-40B4-BE49-F238E27FC236}">
                <a16:creationId xmlns:a16="http://schemas.microsoft.com/office/drawing/2014/main" id="{E3DFA08E-50B1-2087-EF76-D7FA1E97A395}"/>
              </a:ext>
            </a:extLst>
          </p:cNvPr>
          <p:cNvGrpSpPr/>
          <p:nvPr/>
        </p:nvGrpSpPr>
        <p:grpSpPr>
          <a:xfrm>
            <a:off x="9761677" y="3799280"/>
            <a:ext cx="1036768" cy="631584"/>
            <a:chOff x="7977741" y="5933658"/>
            <a:chExt cx="896748" cy="546286"/>
          </a:xfrm>
        </p:grpSpPr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7FA8D71F-7B1A-7D87-DF5E-0334E5471B50}"/>
                </a:ext>
              </a:extLst>
            </p:cNvPr>
            <p:cNvSpPr/>
            <p:nvPr/>
          </p:nvSpPr>
          <p:spPr>
            <a:xfrm>
              <a:off x="7977741" y="5935281"/>
              <a:ext cx="896748" cy="435926"/>
            </a:xfrm>
            <a:custGeom>
              <a:avLst/>
              <a:gdLst>
                <a:gd name="connsiteX0" fmla="*/ 866986 w 896748"/>
                <a:gd name="connsiteY0" fmla="*/ 320725 h 435926"/>
                <a:gd name="connsiteX1" fmla="*/ 859414 w 896748"/>
                <a:gd name="connsiteY1" fmla="*/ 321807 h 435926"/>
                <a:gd name="connsiteX2" fmla="*/ 813982 w 896748"/>
                <a:gd name="connsiteY2" fmla="*/ 279079 h 435926"/>
                <a:gd name="connsiteX3" fmla="*/ 811818 w 896748"/>
                <a:gd name="connsiteY3" fmla="*/ 279079 h 435926"/>
                <a:gd name="connsiteX4" fmla="*/ 757192 w 896748"/>
                <a:gd name="connsiteY4" fmla="*/ 230403 h 435926"/>
                <a:gd name="connsiteX5" fmla="*/ 779367 w 896748"/>
                <a:gd name="connsiteY5" fmla="*/ 155224 h 435926"/>
                <a:gd name="connsiteX6" fmla="*/ 639828 w 896748"/>
                <a:gd name="connsiteY6" fmla="*/ 15685 h 435926"/>
                <a:gd name="connsiteX7" fmla="*/ 577630 w 896748"/>
                <a:gd name="connsiteY7" fmla="*/ 30288 h 435926"/>
                <a:gd name="connsiteX8" fmla="*/ 533280 w 896748"/>
                <a:gd name="connsiteY8" fmla="*/ 7031 h 435926"/>
                <a:gd name="connsiteX9" fmla="*/ 490552 w 896748"/>
                <a:gd name="connsiteY9" fmla="*/ 28124 h 435926"/>
                <a:gd name="connsiteX10" fmla="*/ 445662 w 896748"/>
                <a:gd name="connsiteY10" fmla="*/ 0 h 435926"/>
                <a:gd name="connsiteX11" fmla="*/ 410507 w 896748"/>
                <a:gd name="connsiteY11" fmla="*/ 14603 h 435926"/>
                <a:gd name="connsiteX12" fmla="*/ 376973 w 896748"/>
                <a:gd name="connsiteY12" fmla="*/ 1622 h 435926"/>
                <a:gd name="connsiteX13" fmla="*/ 332083 w 896748"/>
                <a:gd name="connsiteY13" fmla="*/ 29747 h 435926"/>
                <a:gd name="connsiteX14" fmla="*/ 209309 w 896748"/>
                <a:gd name="connsiteY14" fmla="*/ 143866 h 435926"/>
                <a:gd name="connsiteX15" fmla="*/ 160092 w 896748"/>
                <a:gd name="connsiteY15" fmla="*/ 129804 h 435926"/>
                <a:gd name="connsiteX16" fmla="*/ 66525 w 896748"/>
                <a:gd name="connsiteY16" fmla="*/ 223372 h 435926"/>
                <a:gd name="connsiteX17" fmla="*/ 83291 w 896748"/>
                <a:gd name="connsiteY17" fmla="*/ 276916 h 435926"/>
                <a:gd name="connsiteX18" fmla="*/ 33533 w 896748"/>
                <a:gd name="connsiteY18" fmla="*/ 336951 h 435926"/>
                <a:gd name="connsiteX19" fmla="*/ 39482 w 896748"/>
                <a:gd name="connsiteY19" fmla="*/ 363452 h 435926"/>
                <a:gd name="connsiteX20" fmla="*/ 36237 w 896748"/>
                <a:gd name="connsiteY20" fmla="*/ 363452 h 435926"/>
                <a:gd name="connsiteX21" fmla="*/ 0 w 896748"/>
                <a:gd name="connsiteY21" fmla="*/ 399689 h 435926"/>
                <a:gd name="connsiteX22" fmla="*/ 36237 w 896748"/>
                <a:gd name="connsiteY22" fmla="*/ 435926 h 435926"/>
                <a:gd name="connsiteX23" fmla="*/ 72474 w 896748"/>
                <a:gd name="connsiteY23" fmla="*/ 399689 h 435926"/>
                <a:gd name="connsiteX24" fmla="*/ 71934 w 896748"/>
                <a:gd name="connsiteY24" fmla="*/ 394281 h 435926"/>
                <a:gd name="connsiteX25" fmla="*/ 87618 w 896748"/>
                <a:gd name="connsiteY25" fmla="*/ 398067 h 435926"/>
                <a:gd name="connsiteX26" fmla="*/ 467837 w 896748"/>
                <a:gd name="connsiteY26" fmla="*/ 389954 h 435926"/>
                <a:gd name="connsiteX27" fmla="*/ 527871 w 896748"/>
                <a:gd name="connsiteY27" fmla="*/ 356962 h 435926"/>
                <a:gd name="connsiteX28" fmla="*/ 524085 w 896748"/>
                <a:gd name="connsiteY28" fmla="*/ 378055 h 435926"/>
                <a:gd name="connsiteX29" fmla="*/ 600345 w 896748"/>
                <a:gd name="connsiteY29" fmla="*/ 361830 h 435926"/>
                <a:gd name="connsiteX30" fmla="*/ 588447 w 896748"/>
                <a:gd name="connsiteY30" fmla="*/ 387250 h 435926"/>
                <a:gd name="connsiteX31" fmla="*/ 866444 w 896748"/>
                <a:gd name="connsiteY31" fmla="*/ 381300 h 435926"/>
                <a:gd name="connsiteX32" fmla="*/ 896732 w 896748"/>
                <a:gd name="connsiteY32" fmla="*/ 351013 h 435926"/>
                <a:gd name="connsiteX33" fmla="*/ 866986 w 896748"/>
                <a:gd name="connsiteY33" fmla="*/ 320725 h 4359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896748" h="435926">
                  <a:moveTo>
                    <a:pt x="866986" y="320725"/>
                  </a:moveTo>
                  <a:cubicBezTo>
                    <a:pt x="864281" y="320725"/>
                    <a:pt x="861577" y="321266"/>
                    <a:pt x="859414" y="321807"/>
                  </a:cubicBezTo>
                  <a:cubicBezTo>
                    <a:pt x="858331" y="298009"/>
                    <a:pt x="838320" y="279079"/>
                    <a:pt x="813982" y="279079"/>
                  </a:cubicBezTo>
                  <a:cubicBezTo>
                    <a:pt x="813441" y="279079"/>
                    <a:pt x="812900" y="279079"/>
                    <a:pt x="811818" y="279079"/>
                  </a:cubicBezTo>
                  <a:cubicBezTo>
                    <a:pt x="803165" y="254741"/>
                    <a:pt x="782612" y="236352"/>
                    <a:pt x="757192" y="230403"/>
                  </a:cubicBezTo>
                  <a:cubicBezTo>
                    <a:pt x="771254" y="208769"/>
                    <a:pt x="779367" y="182808"/>
                    <a:pt x="779367" y="155224"/>
                  </a:cubicBezTo>
                  <a:cubicBezTo>
                    <a:pt x="779367" y="77882"/>
                    <a:pt x="716629" y="15685"/>
                    <a:pt x="639828" y="15685"/>
                  </a:cubicBezTo>
                  <a:cubicBezTo>
                    <a:pt x="617652" y="15685"/>
                    <a:pt x="596018" y="21093"/>
                    <a:pt x="577630" y="30288"/>
                  </a:cubicBezTo>
                  <a:cubicBezTo>
                    <a:pt x="567894" y="16226"/>
                    <a:pt x="551669" y="7031"/>
                    <a:pt x="533280" y="7031"/>
                  </a:cubicBezTo>
                  <a:cubicBezTo>
                    <a:pt x="515973" y="7031"/>
                    <a:pt x="500288" y="15144"/>
                    <a:pt x="490552" y="28124"/>
                  </a:cubicBezTo>
                  <a:cubicBezTo>
                    <a:pt x="482440" y="11358"/>
                    <a:pt x="465673" y="0"/>
                    <a:pt x="445662" y="0"/>
                  </a:cubicBezTo>
                  <a:cubicBezTo>
                    <a:pt x="432141" y="0"/>
                    <a:pt x="419160" y="5409"/>
                    <a:pt x="410507" y="14603"/>
                  </a:cubicBezTo>
                  <a:cubicBezTo>
                    <a:pt x="401853" y="6490"/>
                    <a:pt x="389954" y="1622"/>
                    <a:pt x="376973" y="1622"/>
                  </a:cubicBezTo>
                  <a:cubicBezTo>
                    <a:pt x="357503" y="1622"/>
                    <a:pt x="340196" y="12980"/>
                    <a:pt x="332083" y="29747"/>
                  </a:cubicBezTo>
                  <a:cubicBezTo>
                    <a:pt x="268262" y="31910"/>
                    <a:pt x="215800" y="81128"/>
                    <a:pt x="209309" y="143866"/>
                  </a:cubicBezTo>
                  <a:cubicBezTo>
                    <a:pt x="195247" y="135213"/>
                    <a:pt x="178481" y="129804"/>
                    <a:pt x="160092" y="129804"/>
                  </a:cubicBezTo>
                  <a:cubicBezTo>
                    <a:pt x="108170" y="129804"/>
                    <a:pt x="66525" y="171450"/>
                    <a:pt x="66525" y="223372"/>
                  </a:cubicBezTo>
                  <a:cubicBezTo>
                    <a:pt x="66525" y="243383"/>
                    <a:pt x="73015" y="261772"/>
                    <a:pt x="83291" y="276916"/>
                  </a:cubicBezTo>
                  <a:cubicBezTo>
                    <a:pt x="55167" y="282324"/>
                    <a:pt x="33533" y="307204"/>
                    <a:pt x="33533" y="336951"/>
                  </a:cubicBezTo>
                  <a:cubicBezTo>
                    <a:pt x="33533" y="346686"/>
                    <a:pt x="35696" y="355339"/>
                    <a:pt x="39482" y="363452"/>
                  </a:cubicBezTo>
                  <a:cubicBezTo>
                    <a:pt x="38400" y="363452"/>
                    <a:pt x="37319" y="363452"/>
                    <a:pt x="36237" y="363452"/>
                  </a:cubicBezTo>
                  <a:cubicBezTo>
                    <a:pt x="16226" y="363452"/>
                    <a:pt x="0" y="379678"/>
                    <a:pt x="0" y="399689"/>
                  </a:cubicBezTo>
                  <a:cubicBezTo>
                    <a:pt x="0" y="419701"/>
                    <a:pt x="16226" y="435926"/>
                    <a:pt x="36237" y="435926"/>
                  </a:cubicBezTo>
                  <a:cubicBezTo>
                    <a:pt x="56249" y="435926"/>
                    <a:pt x="72474" y="419701"/>
                    <a:pt x="72474" y="399689"/>
                  </a:cubicBezTo>
                  <a:cubicBezTo>
                    <a:pt x="72474" y="397526"/>
                    <a:pt x="72474" y="395903"/>
                    <a:pt x="71934" y="394281"/>
                  </a:cubicBezTo>
                  <a:cubicBezTo>
                    <a:pt x="76801" y="396444"/>
                    <a:pt x="82209" y="397526"/>
                    <a:pt x="87618" y="398067"/>
                  </a:cubicBezTo>
                  <a:cubicBezTo>
                    <a:pt x="87618" y="398067"/>
                    <a:pt x="276375" y="394281"/>
                    <a:pt x="467837" y="389954"/>
                  </a:cubicBezTo>
                  <a:cubicBezTo>
                    <a:pt x="471622" y="389954"/>
                    <a:pt x="520299" y="359125"/>
                    <a:pt x="527871" y="356962"/>
                  </a:cubicBezTo>
                  <a:cubicBezTo>
                    <a:pt x="533820" y="355339"/>
                    <a:pt x="517595" y="379678"/>
                    <a:pt x="524085" y="378055"/>
                  </a:cubicBezTo>
                  <a:cubicBezTo>
                    <a:pt x="555455" y="370483"/>
                    <a:pt x="590069" y="361830"/>
                    <a:pt x="600345" y="361830"/>
                  </a:cubicBezTo>
                  <a:cubicBezTo>
                    <a:pt x="621980" y="361289"/>
                    <a:pt x="567354" y="387790"/>
                    <a:pt x="588447" y="387250"/>
                  </a:cubicBezTo>
                  <a:cubicBezTo>
                    <a:pt x="736640" y="384005"/>
                    <a:pt x="861577" y="381300"/>
                    <a:pt x="866444" y="381300"/>
                  </a:cubicBezTo>
                  <a:cubicBezTo>
                    <a:pt x="883211" y="381300"/>
                    <a:pt x="896732" y="367779"/>
                    <a:pt x="896732" y="351013"/>
                  </a:cubicBezTo>
                  <a:cubicBezTo>
                    <a:pt x="897273" y="334246"/>
                    <a:pt x="883752" y="320725"/>
                    <a:pt x="866986" y="320725"/>
                  </a:cubicBezTo>
                  <a:close/>
                </a:path>
              </a:pathLst>
            </a:custGeom>
            <a:solidFill>
              <a:srgbClr val="88BCAC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E3A66E21-C36E-6430-C33A-265BE8EC9BEB}"/>
                </a:ext>
              </a:extLst>
            </p:cNvPr>
            <p:cNvSpPr/>
            <p:nvPr/>
          </p:nvSpPr>
          <p:spPr>
            <a:xfrm>
              <a:off x="8203834" y="6029930"/>
              <a:ext cx="213579" cy="398066"/>
            </a:xfrm>
            <a:custGeom>
              <a:avLst/>
              <a:gdLst>
                <a:gd name="connsiteX0" fmla="*/ 110858 w 213579"/>
                <a:gd name="connsiteY0" fmla="*/ 374269 h 398066"/>
                <a:gd name="connsiteX1" fmla="*/ 191445 w 213579"/>
                <a:gd name="connsiteY1" fmla="*/ 306663 h 398066"/>
                <a:gd name="connsiteX2" fmla="*/ 193067 w 213579"/>
                <a:gd name="connsiteY2" fmla="*/ 186053 h 398066"/>
                <a:gd name="connsiteX3" fmla="*/ 118430 w 213579"/>
                <a:gd name="connsiteY3" fmla="*/ 2704 h 398066"/>
                <a:gd name="connsiteX4" fmla="*/ 113563 w 213579"/>
                <a:gd name="connsiteY4" fmla="*/ 0 h 398066"/>
                <a:gd name="connsiteX5" fmla="*/ 11341 w 213579"/>
                <a:gd name="connsiteY5" fmla="*/ 192002 h 398066"/>
                <a:gd name="connsiteX6" fmla="*/ 34598 w 213579"/>
                <a:gd name="connsiteY6" fmla="*/ 326674 h 398066"/>
                <a:gd name="connsiteX7" fmla="*/ 110858 w 213579"/>
                <a:gd name="connsiteY7" fmla="*/ 398067 h 398066"/>
                <a:gd name="connsiteX8" fmla="*/ 110858 w 213579"/>
                <a:gd name="connsiteY8" fmla="*/ 374269 h 3980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3579" h="398066">
                  <a:moveTo>
                    <a:pt x="110858" y="374269"/>
                  </a:moveTo>
                  <a:lnTo>
                    <a:pt x="191445" y="306663"/>
                  </a:lnTo>
                  <a:cubicBezTo>
                    <a:pt x="227141" y="275834"/>
                    <a:pt x="213620" y="225535"/>
                    <a:pt x="193067" y="186053"/>
                  </a:cubicBezTo>
                  <a:lnTo>
                    <a:pt x="118430" y="2704"/>
                  </a:lnTo>
                  <a:lnTo>
                    <a:pt x="113563" y="0"/>
                  </a:lnTo>
                  <a:lnTo>
                    <a:pt x="11341" y="192002"/>
                  </a:lnTo>
                  <a:cubicBezTo>
                    <a:pt x="-9752" y="231484"/>
                    <a:pt x="-1098" y="295846"/>
                    <a:pt x="34598" y="326674"/>
                  </a:cubicBezTo>
                  <a:lnTo>
                    <a:pt x="110858" y="398067"/>
                  </a:lnTo>
                  <a:lnTo>
                    <a:pt x="110858" y="374269"/>
                  </a:lnTo>
                  <a:close/>
                </a:path>
              </a:pathLst>
            </a:custGeom>
            <a:solidFill>
              <a:srgbClr val="88BCAD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grpSp>
          <p:nvGrpSpPr>
            <p:cNvPr id="119" name="Graphic 10">
              <a:extLst>
                <a:ext uri="{FF2B5EF4-FFF2-40B4-BE49-F238E27FC236}">
                  <a16:creationId xmlns:a16="http://schemas.microsoft.com/office/drawing/2014/main" id="{8A16761F-B877-ADF8-1EC3-4C981D200104}"/>
                </a:ext>
              </a:extLst>
            </p:cNvPr>
            <p:cNvGrpSpPr/>
            <p:nvPr/>
          </p:nvGrpSpPr>
          <p:grpSpPr>
            <a:xfrm>
              <a:off x="8204358" y="6031406"/>
              <a:ext cx="213636" cy="437695"/>
              <a:chOff x="7290741" y="4855079"/>
              <a:chExt cx="213636" cy="437695"/>
            </a:xfrm>
            <a:noFill/>
          </p:grpSpPr>
          <p:sp>
            <p:nvSpPr>
              <p:cNvPr id="174" name="Freeform: Shape 173">
                <a:extLst>
                  <a:ext uri="{FF2B5EF4-FFF2-40B4-BE49-F238E27FC236}">
                    <a16:creationId xmlns:a16="http://schemas.microsoft.com/office/drawing/2014/main" id="{4AC603E4-F2B4-A0AE-2AD8-424BC4D34A74}"/>
                  </a:ext>
                </a:extLst>
              </p:cNvPr>
              <p:cNvSpPr/>
              <p:nvPr/>
            </p:nvSpPr>
            <p:spPr>
              <a:xfrm>
                <a:off x="7399452" y="4953661"/>
                <a:ext cx="6036" cy="339113"/>
              </a:xfrm>
              <a:custGeom>
                <a:avLst/>
                <a:gdLst>
                  <a:gd name="connsiteX0" fmla="*/ 1623 w 6036"/>
                  <a:gd name="connsiteY0" fmla="*/ 339114 h 339113"/>
                  <a:gd name="connsiteX1" fmla="*/ 541 w 6036"/>
                  <a:gd name="connsiteY1" fmla="*/ 321266 h 339113"/>
                  <a:gd name="connsiteX2" fmla="*/ 0 w 6036"/>
                  <a:gd name="connsiteY2" fmla="*/ 303418 h 339113"/>
                  <a:gd name="connsiteX3" fmla="*/ 1623 w 6036"/>
                  <a:gd name="connsiteY3" fmla="*/ 285570 h 339113"/>
                  <a:gd name="connsiteX4" fmla="*/ 1081 w 6036"/>
                  <a:gd name="connsiteY4" fmla="*/ 267722 h 339113"/>
                  <a:gd name="connsiteX5" fmla="*/ 2704 w 6036"/>
                  <a:gd name="connsiteY5" fmla="*/ 249873 h 339113"/>
                  <a:gd name="connsiteX6" fmla="*/ 2164 w 6036"/>
                  <a:gd name="connsiteY6" fmla="*/ 232025 h 339113"/>
                  <a:gd name="connsiteX7" fmla="*/ 2704 w 6036"/>
                  <a:gd name="connsiteY7" fmla="*/ 214177 h 339113"/>
                  <a:gd name="connsiteX8" fmla="*/ 1623 w 6036"/>
                  <a:gd name="connsiteY8" fmla="*/ 196329 h 339113"/>
                  <a:gd name="connsiteX9" fmla="*/ 3245 w 6036"/>
                  <a:gd name="connsiteY9" fmla="*/ 178481 h 339113"/>
                  <a:gd name="connsiteX10" fmla="*/ 2164 w 6036"/>
                  <a:gd name="connsiteY10" fmla="*/ 160633 h 339113"/>
                  <a:gd name="connsiteX11" fmla="*/ 3245 w 6036"/>
                  <a:gd name="connsiteY11" fmla="*/ 142785 h 339113"/>
                  <a:gd name="connsiteX12" fmla="*/ 3245 w 6036"/>
                  <a:gd name="connsiteY12" fmla="*/ 124937 h 339113"/>
                  <a:gd name="connsiteX13" fmla="*/ 2704 w 6036"/>
                  <a:gd name="connsiteY13" fmla="*/ 107089 h 339113"/>
                  <a:gd name="connsiteX14" fmla="*/ 3786 w 6036"/>
                  <a:gd name="connsiteY14" fmla="*/ 89241 h 339113"/>
                  <a:gd name="connsiteX15" fmla="*/ 3786 w 6036"/>
                  <a:gd name="connsiteY15" fmla="*/ 71392 h 339113"/>
                  <a:gd name="connsiteX16" fmla="*/ 4868 w 6036"/>
                  <a:gd name="connsiteY16" fmla="*/ 53544 h 339113"/>
                  <a:gd name="connsiteX17" fmla="*/ 3245 w 6036"/>
                  <a:gd name="connsiteY17" fmla="*/ 35696 h 339113"/>
                  <a:gd name="connsiteX18" fmla="*/ 5949 w 6036"/>
                  <a:gd name="connsiteY18" fmla="*/ 17848 h 339113"/>
                  <a:gd name="connsiteX19" fmla="*/ 4327 w 6036"/>
                  <a:gd name="connsiteY19" fmla="*/ 0 h 3391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6036" h="339113">
                    <a:moveTo>
                      <a:pt x="1623" y="339114"/>
                    </a:moveTo>
                    <a:cubicBezTo>
                      <a:pt x="1623" y="329920"/>
                      <a:pt x="541" y="329920"/>
                      <a:pt x="541" y="321266"/>
                    </a:cubicBezTo>
                    <a:cubicBezTo>
                      <a:pt x="541" y="312071"/>
                      <a:pt x="0" y="312071"/>
                      <a:pt x="0" y="303418"/>
                    </a:cubicBezTo>
                    <a:cubicBezTo>
                      <a:pt x="0" y="294764"/>
                      <a:pt x="1081" y="294764"/>
                      <a:pt x="1623" y="285570"/>
                    </a:cubicBezTo>
                    <a:cubicBezTo>
                      <a:pt x="1623" y="276916"/>
                      <a:pt x="1081" y="276375"/>
                      <a:pt x="1081" y="267722"/>
                    </a:cubicBezTo>
                    <a:cubicBezTo>
                      <a:pt x="1081" y="258527"/>
                      <a:pt x="2704" y="259068"/>
                      <a:pt x="2704" y="249873"/>
                    </a:cubicBezTo>
                    <a:cubicBezTo>
                      <a:pt x="2704" y="241220"/>
                      <a:pt x="2164" y="240679"/>
                      <a:pt x="2164" y="232025"/>
                    </a:cubicBezTo>
                    <a:cubicBezTo>
                      <a:pt x="2164" y="222831"/>
                      <a:pt x="2164" y="222831"/>
                      <a:pt x="2704" y="214177"/>
                    </a:cubicBezTo>
                    <a:cubicBezTo>
                      <a:pt x="2704" y="204983"/>
                      <a:pt x="1623" y="204983"/>
                      <a:pt x="1623" y="196329"/>
                    </a:cubicBezTo>
                    <a:cubicBezTo>
                      <a:pt x="1623" y="187135"/>
                      <a:pt x="3245" y="187675"/>
                      <a:pt x="3245" y="178481"/>
                    </a:cubicBezTo>
                    <a:cubicBezTo>
                      <a:pt x="3245" y="169287"/>
                      <a:pt x="2164" y="169287"/>
                      <a:pt x="2164" y="160633"/>
                    </a:cubicBezTo>
                    <a:cubicBezTo>
                      <a:pt x="2164" y="151438"/>
                      <a:pt x="3245" y="151438"/>
                      <a:pt x="3245" y="142785"/>
                    </a:cubicBezTo>
                    <a:cubicBezTo>
                      <a:pt x="3245" y="133590"/>
                      <a:pt x="3245" y="133590"/>
                      <a:pt x="3245" y="124937"/>
                    </a:cubicBezTo>
                    <a:cubicBezTo>
                      <a:pt x="3245" y="115742"/>
                      <a:pt x="2704" y="115742"/>
                      <a:pt x="2704" y="107089"/>
                    </a:cubicBezTo>
                    <a:cubicBezTo>
                      <a:pt x="2704" y="97894"/>
                      <a:pt x="3245" y="98435"/>
                      <a:pt x="3786" y="89241"/>
                    </a:cubicBezTo>
                    <a:cubicBezTo>
                      <a:pt x="3786" y="80046"/>
                      <a:pt x="3786" y="80046"/>
                      <a:pt x="3786" y="71392"/>
                    </a:cubicBezTo>
                    <a:cubicBezTo>
                      <a:pt x="3786" y="62198"/>
                      <a:pt x="4868" y="62198"/>
                      <a:pt x="4868" y="53544"/>
                    </a:cubicBezTo>
                    <a:cubicBezTo>
                      <a:pt x="4868" y="44350"/>
                      <a:pt x="3245" y="44350"/>
                      <a:pt x="3245" y="35696"/>
                    </a:cubicBezTo>
                    <a:cubicBezTo>
                      <a:pt x="3245" y="26502"/>
                      <a:pt x="5409" y="26502"/>
                      <a:pt x="5949" y="17848"/>
                    </a:cubicBezTo>
                    <a:cubicBezTo>
                      <a:pt x="6490" y="9194"/>
                      <a:pt x="4327" y="8653"/>
                      <a:pt x="4327" y="0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75" name="Freeform: Shape 174">
                <a:extLst>
                  <a:ext uri="{FF2B5EF4-FFF2-40B4-BE49-F238E27FC236}">
                    <a16:creationId xmlns:a16="http://schemas.microsoft.com/office/drawing/2014/main" id="{48F974B2-B87B-F9EB-CBF7-AF301E421C99}"/>
                  </a:ext>
                </a:extLst>
              </p:cNvPr>
              <p:cNvSpPr/>
              <p:nvPr/>
            </p:nvSpPr>
            <p:spPr>
              <a:xfrm>
                <a:off x="7402156" y="5099150"/>
                <a:ext cx="58952" cy="61116"/>
              </a:xfrm>
              <a:custGeom>
                <a:avLst/>
                <a:gdLst>
                  <a:gd name="connsiteX0" fmla="*/ 58953 w 58952"/>
                  <a:gd name="connsiteY0" fmla="*/ 0 h 61116"/>
                  <a:gd name="connsiteX1" fmla="*/ 47595 w 58952"/>
                  <a:gd name="connsiteY1" fmla="*/ 12981 h 61116"/>
                  <a:gd name="connsiteX2" fmla="*/ 34615 w 58952"/>
                  <a:gd name="connsiteY2" fmla="*/ 24338 h 61116"/>
                  <a:gd name="connsiteX3" fmla="*/ 22716 w 58952"/>
                  <a:gd name="connsiteY3" fmla="*/ 36237 h 61116"/>
                  <a:gd name="connsiteX4" fmla="*/ 11898 w 58952"/>
                  <a:gd name="connsiteY4" fmla="*/ 49218 h 61116"/>
                  <a:gd name="connsiteX5" fmla="*/ 0 w 58952"/>
                  <a:gd name="connsiteY5" fmla="*/ 61116 h 611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8952" h="61116">
                    <a:moveTo>
                      <a:pt x="58953" y="0"/>
                    </a:moveTo>
                    <a:cubicBezTo>
                      <a:pt x="53004" y="5950"/>
                      <a:pt x="53544" y="6490"/>
                      <a:pt x="47595" y="12981"/>
                    </a:cubicBezTo>
                    <a:cubicBezTo>
                      <a:pt x="41645" y="18930"/>
                      <a:pt x="41105" y="18389"/>
                      <a:pt x="34615" y="24338"/>
                    </a:cubicBezTo>
                    <a:cubicBezTo>
                      <a:pt x="28665" y="30288"/>
                      <a:pt x="28665" y="30288"/>
                      <a:pt x="22716" y="36237"/>
                    </a:cubicBezTo>
                    <a:cubicBezTo>
                      <a:pt x="16766" y="42186"/>
                      <a:pt x="17848" y="43268"/>
                      <a:pt x="11898" y="49218"/>
                    </a:cubicBezTo>
                    <a:cubicBezTo>
                      <a:pt x="5949" y="55167"/>
                      <a:pt x="5949" y="55167"/>
                      <a:pt x="0" y="61116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76" name="Freeform: Shape 175">
                <a:extLst>
                  <a:ext uri="{FF2B5EF4-FFF2-40B4-BE49-F238E27FC236}">
                    <a16:creationId xmlns:a16="http://schemas.microsoft.com/office/drawing/2014/main" id="{2B4D951D-79AD-86D2-AE97-BE040CCB2118}"/>
                  </a:ext>
                </a:extLst>
              </p:cNvPr>
              <p:cNvSpPr/>
              <p:nvPr/>
            </p:nvSpPr>
            <p:spPr>
              <a:xfrm>
                <a:off x="7352939" y="5008287"/>
                <a:ext cx="51380" cy="52462"/>
              </a:xfrm>
              <a:custGeom>
                <a:avLst/>
                <a:gdLst>
                  <a:gd name="connsiteX0" fmla="*/ 0 w 51380"/>
                  <a:gd name="connsiteY0" fmla="*/ 0 h 52462"/>
                  <a:gd name="connsiteX1" fmla="*/ 13521 w 51380"/>
                  <a:gd name="connsiteY1" fmla="*/ 12440 h 52462"/>
                  <a:gd name="connsiteX2" fmla="*/ 25960 w 51380"/>
                  <a:gd name="connsiteY2" fmla="*/ 25961 h 52462"/>
                  <a:gd name="connsiteX3" fmla="*/ 38400 w 51380"/>
                  <a:gd name="connsiteY3" fmla="*/ 39482 h 52462"/>
                  <a:gd name="connsiteX4" fmla="*/ 51381 w 51380"/>
                  <a:gd name="connsiteY4" fmla="*/ 52463 h 52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380" h="52462">
                    <a:moveTo>
                      <a:pt x="0" y="0"/>
                    </a:moveTo>
                    <a:cubicBezTo>
                      <a:pt x="6490" y="6490"/>
                      <a:pt x="7031" y="5949"/>
                      <a:pt x="13521" y="12440"/>
                    </a:cubicBezTo>
                    <a:cubicBezTo>
                      <a:pt x="20011" y="18930"/>
                      <a:pt x="19471" y="19471"/>
                      <a:pt x="25960" y="25961"/>
                    </a:cubicBezTo>
                    <a:cubicBezTo>
                      <a:pt x="32451" y="32451"/>
                      <a:pt x="31910" y="32992"/>
                      <a:pt x="38400" y="39482"/>
                    </a:cubicBezTo>
                    <a:cubicBezTo>
                      <a:pt x="44890" y="45972"/>
                      <a:pt x="44890" y="45972"/>
                      <a:pt x="51381" y="52463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  <p:sp>
            <p:nvSpPr>
              <p:cNvPr id="177" name="Freeform: Shape 176">
                <a:extLst>
                  <a:ext uri="{FF2B5EF4-FFF2-40B4-BE49-F238E27FC236}">
                    <a16:creationId xmlns:a16="http://schemas.microsoft.com/office/drawing/2014/main" id="{5B9EB5C4-D6F1-FA62-B1FC-79F7440AFE16}"/>
                  </a:ext>
                </a:extLst>
              </p:cNvPr>
              <p:cNvSpPr/>
              <p:nvPr/>
            </p:nvSpPr>
            <p:spPr>
              <a:xfrm>
                <a:off x="7290741" y="4855079"/>
                <a:ext cx="213636" cy="372252"/>
              </a:xfrm>
              <a:custGeom>
                <a:avLst/>
                <a:gdLst>
                  <a:gd name="connsiteX0" fmla="*/ 110875 w 213636"/>
                  <a:gd name="connsiteY0" fmla="*/ 372252 h 372252"/>
                  <a:gd name="connsiteX1" fmla="*/ 123855 w 213636"/>
                  <a:gd name="connsiteY1" fmla="*/ 361976 h 372252"/>
                  <a:gd name="connsiteX2" fmla="*/ 136835 w 213636"/>
                  <a:gd name="connsiteY2" fmla="*/ 351700 h 372252"/>
                  <a:gd name="connsiteX3" fmla="*/ 149275 w 213636"/>
                  <a:gd name="connsiteY3" fmla="*/ 340883 h 372252"/>
                  <a:gd name="connsiteX4" fmla="*/ 162796 w 213636"/>
                  <a:gd name="connsiteY4" fmla="*/ 331148 h 372252"/>
                  <a:gd name="connsiteX5" fmla="*/ 175236 w 213636"/>
                  <a:gd name="connsiteY5" fmla="*/ 320331 h 372252"/>
                  <a:gd name="connsiteX6" fmla="*/ 187135 w 213636"/>
                  <a:gd name="connsiteY6" fmla="*/ 308432 h 372252"/>
                  <a:gd name="connsiteX7" fmla="*/ 197952 w 213636"/>
                  <a:gd name="connsiteY7" fmla="*/ 296533 h 372252"/>
                  <a:gd name="connsiteX8" fmla="*/ 206064 w 213636"/>
                  <a:gd name="connsiteY8" fmla="*/ 282471 h 372252"/>
                  <a:gd name="connsiteX9" fmla="*/ 210391 w 213636"/>
                  <a:gd name="connsiteY9" fmla="*/ 266786 h 372252"/>
                  <a:gd name="connsiteX10" fmla="*/ 213636 w 213636"/>
                  <a:gd name="connsiteY10" fmla="*/ 250561 h 372252"/>
                  <a:gd name="connsiteX11" fmla="*/ 211473 w 213636"/>
                  <a:gd name="connsiteY11" fmla="*/ 234335 h 372252"/>
                  <a:gd name="connsiteX12" fmla="*/ 205524 w 213636"/>
                  <a:gd name="connsiteY12" fmla="*/ 219191 h 372252"/>
                  <a:gd name="connsiteX13" fmla="*/ 199033 w 213636"/>
                  <a:gd name="connsiteY13" fmla="*/ 202425 h 372252"/>
                  <a:gd name="connsiteX14" fmla="*/ 191462 w 213636"/>
                  <a:gd name="connsiteY14" fmla="*/ 186199 h 372252"/>
                  <a:gd name="connsiteX15" fmla="*/ 185512 w 213636"/>
                  <a:gd name="connsiteY15" fmla="*/ 169433 h 372252"/>
                  <a:gd name="connsiteX16" fmla="*/ 180645 w 213636"/>
                  <a:gd name="connsiteY16" fmla="*/ 152126 h 372252"/>
                  <a:gd name="connsiteX17" fmla="*/ 172532 w 213636"/>
                  <a:gd name="connsiteY17" fmla="*/ 136441 h 372252"/>
                  <a:gd name="connsiteX18" fmla="*/ 165501 w 213636"/>
                  <a:gd name="connsiteY18" fmla="*/ 120216 h 372252"/>
                  <a:gd name="connsiteX19" fmla="*/ 158469 w 213636"/>
                  <a:gd name="connsiteY19" fmla="*/ 103990 h 372252"/>
                  <a:gd name="connsiteX20" fmla="*/ 152520 w 213636"/>
                  <a:gd name="connsiteY20" fmla="*/ 87223 h 372252"/>
                  <a:gd name="connsiteX21" fmla="*/ 146571 w 213636"/>
                  <a:gd name="connsiteY21" fmla="*/ 70457 h 372252"/>
                  <a:gd name="connsiteX22" fmla="*/ 141162 w 213636"/>
                  <a:gd name="connsiteY22" fmla="*/ 53150 h 372252"/>
                  <a:gd name="connsiteX23" fmla="*/ 132509 w 213636"/>
                  <a:gd name="connsiteY23" fmla="*/ 37465 h 372252"/>
                  <a:gd name="connsiteX24" fmla="*/ 126559 w 213636"/>
                  <a:gd name="connsiteY24" fmla="*/ 20699 h 372252"/>
                  <a:gd name="connsiteX25" fmla="*/ 120610 w 213636"/>
                  <a:gd name="connsiteY25" fmla="*/ 3932 h 372252"/>
                  <a:gd name="connsiteX26" fmla="*/ 107630 w 213636"/>
                  <a:gd name="connsiteY26" fmla="*/ 3391 h 372252"/>
                  <a:gd name="connsiteX27" fmla="*/ 99517 w 213636"/>
                  <a:gd name="connsiteY27" fmla="*/ 19076 h 372252"/>
                  <a:gd name="connsiteX28" fmla="*/ 93026 w 213636"/>
                  <a:gd name="connsiteY28" fmla="*/ 35843 h 372252"/>
                  <a:gd name="connsiteX29" fmla="*/ 85996 w 213636"/>
                  <a:gd name="connsiteY29" fmla="*/ 52068 h 372252"/>
                  <a:gd name="connsiteX30" fmla="*/ 76801 w 213636"/>
                  <a:gd name="connsiteY30" fmla="*/ 67212 h 372252"/>
                  <a:gd name="connsiteX31" fmla="*/ 68688 w 213636"/>
                  <a:gd name="connsiteY31" fmla="*/ 82897 h 372252"/>
                  <a:gd name="connsiteX32" fmla="*/ 61657 w 213636"/>
                  <a:gd name="connsiteY32" fmla="*/ 99122 h 372252"/>
                  <a:gd name="connsiteX33" fmla="*/ 53544 w 213636"/>
                  <a:gd name="connsiteY33" fmla="*/ 114807 h 372252"/>
                  <a:gd name="connsiteX34" fmla="*/ 44890 w 213636"/>
                  <a:gd name="connsiteY34" fmla="*/ 130492 h 372252"/>
                  <a:gd name="connsiteX35" fmla="*/ 38400 w 213636"/>
                  <a:gd name="connsiteY35" fmla="*/ 146717 h 372252"/>
                  <a:gd name="connsiteX36" fmla="*/ 29206 w 213636"/>
                  <a:gd name="connsiteY36" fmla="*/ 161861 h 372252"/>
                  <a:gd name="connsiteX37" fmla="*/ 22716 w 213636"/>
                  <a:gd name="connsiteY37" fmla="*/ 178086 h 372252"/>
                  <a:gd name="connsiteX38" fmla="*/ 14603 w 213636"/>
                  <a:gd name="connsiteY38" fmla="*/ 193771 h 372252"/>
                  <a:gd name="connsiteX39" fmla="*/ 7031 w 213636"/>
                  <a:gd name="connsiteY39" fmla="*/ 209997 h 372252"/>
                  <a:gd name="connsiteX40" fmla="*/ 2164 w 213636"/>
                  <a:gd name="connsiteY40" fmla="*/ 227304 h 372252"/>
                  <a:gd name="connsiteX41" fmla="*/ 0 w 213636"/>
                  <a:gd name="connsiteY41" fmla="*/ 245152 h 372252"/>
                  <a:gd name="connsiteX42" fmla="*/ 541 w 213636"/>
                  <a:gd name="connsiteY42" fmla="*/ 263000 h 372252"/>
                  <a:gd name="connsiteX43" fmla="*/ 5409 w 213636"/>
                  <a:gd name="connsiteY43" fmla="*/ 280308 h 372252"/>
                  <a:gd name="connsiteX44" fmla="*/ 10817 w 213636"/>
                  <a:gd name="connsiteY44" fmla="*/ 297615 h 372252"/>
                  <a:gd name="connsiteX45" fmla="*/ 20011 w 213636"/>
                  <a:gd name="connsiteY45" fmla="*/ 313299 h 372252"/>
                  <a:gd name="connsiteX46" fmla="*/ 32451 w 213636"/>
                  <a:gd name="connsiteY46" fmla="*/ 326280 h 372252"/>
                  <a:gd name="connsiteX47" fmla="*/ 44350 w 213636"/>
                  <a:gd name="connsiteY47" fmla="*/ 335475 h 372252"/>
                  <a:gd name="connsiteX48" fmla="*/ 54085 w 213636"/>
                  <a:gd name="connsiteY48" fmla="*/ 346832 h 372252"/>
                  <a:gd name="connsiteX49" fmla="*/ 65984 w 213636"/>
                  <a:gd name="connsiteY49" fmla="*/ 356027 h 372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</a:cxnLst>
                <a:rect l="l" t="t" r="r" b="b"/>
                <a:pathLst>
                  <a:path w="213636" h="372252">
                    <a:moveTo>
                      <a:pt x="110875" y="372252"/>
                    </a:moveTo>
                    <a:cubicBezTo>
                      <a:pt x="117365" y="366844"/>
                      <a:pt x="117365" y="367385"/>
                      <a:pt x="123855" y="361976"/>
                    </a:cubicBezTo>
                    <a:cubicBezTo>
                      <a:pt x="130345" y="356568"/>
                      <a:pt x="130345" y="357109"/>
                      <a:pt x="136835" y="351700"/>
                    </a:cubicBezTo>
                    <a:cubicBezTo>
                      <a:pt x="143326" y="346292"/>
                      <a:pt x="142785" y="346292"/>
                      <a:pt x="149275" y="340883"/>
                    </a:cubicBezTo>
                    <a:cubicBezTo>
                      <a:pt x="155765" y="335475"/>
                      <a:pt x="156306" y="336556"/>
                      <a:pt x="162796" y="331148"/>
                    </a:cubicBezTo>
                    <a:cubicBezTo>
                      <a:pt x="169286" y="325739"/>
                      <a:pt x="169286" y="325739"/>
                      <a:pt x="175236" y="320331"/>
                    </a:cubicBezTo>
                    <a:cubicBezTo>
                      <a:pt x="181726" y="314922"/>
                      <a:pt x="180645" y="313840"/>
                      <a:pt x="187135" y="308432"/>
                    </a:cubicBezTo>
                    <a:cubicBezTo>
                      <a:pt x="191462" y="304646"/>
                      <a:pt x="194707" y="300860"/>
                      <a:pt x="197952" y="296533"/>
                    </a:cubicBezTo>
                    <a:cubicBezTo>
                      <a:pt x="201197" y="292206"/>
                      <a:pt x="203901" y="287339"/>
                      <a:pt x="206064" y="282471"/>
                    </a:cubicBezTo>
                    <a:cubicBezTo>
                      <a:pt x="208228" y="277603"/>
                      <a:pt x="209309" y="272195"/>
                      <a:pt x="210391" y="266786"/>
                    </a:cubicBezTo>
                    <a:cubicBezTo>
                      <a:pt x="211473" y="261378"/>
                      <a:pt x="213636" y="255969"/>
                      <a:pt x="213636" y="250561"/>
                    </a:cubicBezTo>
                    <a:cubicBezTo>
                      <a:pt x="213636" y="245152"/>
                      <a:pt x="212554" y="239744"/>
                      <a:pt x="211473" y="234335"/>
                    </a:cubicBezTo>
                    <a:cubicBezTo>
                      <a:pt x="210391" y="228927"/>
                      <a:pt x="207687" y="224059"/>
                      <a:pt x="205524" y="219191"/>
                    </a:cubicBezTo>
                    <a:cubicBezTo>
                      <a:pt x="202279" y="211079"/>
                      <a:pt x="202279" y="211079"/>
                      <a:pt x="199033" y="202425"/>
                    </a:cubicBezTo>
                    <a:cubicBezTo>
                      <a:pt x="195788" y="194312"/>
                      <a:pt x="194707" y="194312"/>
                      <a:pt x="191462" y="186199"/>
                    </a:cubicBezTo>
                    <a:cubicBezTo>
                      <a:pt x="188216" y="178086"/>
                      <a:pt x="188757" y="177546"/>
                      <a:pt x="185512" y="169433"/>
                    </a:cubicBezTo>
                    <a:cubicBezTo>
                      <a:pt x="182267" y="161320"/>
                      <a:pt x="183890" y="160780"/>
                      <a:pt x="180645" y="152126"/>
                    </a:cubicBezTo>
                    <a:cubicBezTo>
                      <a:pt x="177399" y="144013"/>
                      <a:pt x="175777" y="144554"/>
                      <a:pt x="172532" y="136441"/>
                    </a:cubicBezTo>
                    <a:cubicBezTo>
                      <a:pt x="169286" y="128328"/>
                      <a:pt x="168745" y="128328"/>
                      <a:pt x="165501" y="120216"/>
                    </a:cubicBezTo>
                    <a:cubicBezTo>
                      <a:pt x="162256" y="112103"/>
                      <a:pt x="161715" y="112103"/>
                      <a:pt x="158469" y="103990"/>
                    </a:cubicBezTo>
                    <a:cubicBezTo>
                      <a:pt x="155224" y="95877"/>
                      <a:pt x="155765" y="95336"/>
                      <a:pt x="152520" y="87223"/>
                    </a:cubicBezTo>
                    <a:cubicBezTo>
                      <a:pt x="149275" y="79111"/>
                      <a:pt x="149816" y="78570"/>
                      <a:pt x="146571" y="70457"/>
                    </a:cubicBezTo>
                    <a:cubicBezTo>
                      <a:pt x="143326" y="62344"/>
                      <a:pt x="144948" y="61803"/>
                      <a:pt x="141162" y="53150"/>
                    </a:cubicBezTo>
                    <a:cubicBezTo>
                      <a:pt x="137917" y="45037"/>
                      <a:pt x="135754" y="45578"/>
                      <a:pt x="132509" y="37465"/>
                    </a:cubicBezTo>
                    <a:cubicBezTo>
                      <a:pt x="129264" y="29352"/>
                      <a:pt x="130345" y="28812"/>
                      <a:pt x="126559" y="20699"/>
                    </a:cubicBezTo>
                    <a:cubicBezTo>
                      <a:pt x="123314" y="12586"/>
                      <a:pt x="123855" y="12045"/>
                      <a:pt x="120610" y="3932"/>
                    </a:cubicBezTo>
                    <a:cubicBezTo>
                      <a:pt x="118447" y="-935"/>
                      <a:pt x="109252" y="-1476"/>
                      <a:pt x="107630" y="3391"/>
                    </a:cubicBezTo>
                    <a:cubicBezTo>
                      <a:pt x="103843" y="11504"/>
                      <a:pt x="103843" y="10964"/>
                      <a:pt x="99517" y="19076"/>
                    </a:cubicBezTo>
                    <a:cubicBezTo>
                      <a:pt x="95730" y="27189"/>
                      <a:pt x="96813" y="27730"/>
                      <a:pt x="93026" y="35843"/>
                    </a:cubicBezTo>
                    <a:cubicBezTo>
                      <a:pt x="89241" y="43955"/>
                      <a:pt x="89781" y="43955"/>
                      <a:pt x="85996" y="52068"/>
                    </a:cubicBezTo>
                    <a:cubicBezTo>
                      <a:pt x="82209" y="60181"/>
                      <a:pt x="80587" y="59099"/>
                      <a:pt x="76801" y="67212"/>
                    </a:cubicBezTo>
                    <a:cubicBezTo>
                      <a:pt x="73015" y="75325"/>
                      <a:pt x="72474" y="74784"/>
                      <a:pt x="68688" y="82897"/>
                    </a:cubicBezTo>
                    <a:cubicBezTo>
                      <a:pt x="64902" y="91009"/>
                      <a:pt x="65984" y="91550"/>
                      <a:pt x="61657" y="99122"/>
                    </a:cubicBezTo>
                    <a:cubicBezTo>
                      <a:pt x="57871" y="107235"/>
                      <a:pt x="57871" y="107235"/>
                      <a:pt x="53544" y="114807"/>
                    </a:cubicBezTo>
                    <a:cubicBezTo>
                      <a:pt x="49758" y="122920"/>
                      <a:pt x="49217" y="122379"/>
                      <a:pt x="44890" y="130492"/>
                    </a:cubicBezTo>
                    <a:cubicBezTo>
                      <a:pt x="41105" y="138604"/>
                      <a:pt x="42186" y="139145"/>
                      <a:pt x="38400" y="146717"/>
                    </a:cubicBezTo>
                    <a:cubicBezTo>
                      <a:pt x="34615" y="154830"/>
                      <a:pt x="32992" y="153748"/>
                      <a:pt x="29206" y="161861"/>
                    </a:cubicBezTo>
                    <a:cubicBezTo>
                      <a:pt x="25420" y="169974"/>
                      <a:pt x="26502" y="170515"/>
                      <a:pt x="22716" y="178086"/>
                    </a:cubicBezTo>
                    <a:cubicBezTo>
                      <a:pt x="18930" y="186199"/>
                      <a:pt x="18930" y="186199"/>
                      <a:pt x="14603" y="193771"/>
                    </a:cubicBezTo>
                    <a:cubicBezTo>
                      <a:pt x="10276" y="201343"/>
                      <a:pt x="10817" y="201884"/>
                      <a:pt x="7031" y="209997"/>
                    </a:cubicBezTo>
                    <a:cubicBezTo>
                      <a:pt x="4868" y="215946"/>
                      <a:pt x="3245" y="221355"/>
                      <a:pt x="2164" y="227304"/>
                    </a:cubicBezTo>
                    <a:cubicBezTo>
                      <a:pt x="1081" y="233253"/>
                      <a:pt x="541" y="239203"/>
                      <a:pt x="0" y="245152"/>
                    </a:cubicBezTo>
                    <a:cubicBezTo>
                      <a:pt x="0" y="251101"/>
                      <a:pt x="0" y="257051"/>
                      <a:pt x="541" y="263000"/>
                    </a:cubicBezTo>
                    <a:cubicBezTo>
                      <a:pt x="1622" y="268950"/>
                      <a:pt x="3786" y="274358"/>
                      <a:pt x="5409" y="280308"/>
                    </a:cubicBezTo>
                    <a:cubicBezTo>
                      <a:pt x="7031" y="285716"/>
                      <a:pt x="8113" y="292206"/>
                      <a:pt x="10817" y="297615"/>
                    </a:cubicBezTo>
                    <a:cubicBezTo>
                      <a:pt x="13521" y="303023"/>
                      <a:pt x="16766" y="308432"/>
                      <a:pt x="20011" y="313299"/>
                    </a:cubicBezTo>
                    <a:cubicBezTo>
                      <a:pt x="23798" y="318167"/>
                      <a:pt x="28124" y="321953"/>
                      <a:pt x="32451" y="326280"/>
                    </a:cubicBezTo>
                    <a:cubicBezTo>
                      <a:pt x="37860" y="331148"/>
                      <a:pt x="38941" y="330607"/>
                      <a:pt x="44350" y="335475"/>
                    </a:cubicBezTo>
                    <a:cubicBezTo>
                      <a:pt x="49758" y="340342"/>
                      <a:pt x="48677" y="341424"/>
                      <a:pt x="54085" y="346832"/>
                    </a:cubicBezTo>
                    <a:cubicBezTo>
                      <a:pt x="59494" y="351700"/>
                      <a:pt x="60575" y="351159"/>
                      <a:pt x="65984" y="356027"/>
                    </a:cubicBezTo>
                  </a:path>
                </a:pathLst>
              </a:custGeom>
              <a:noFill/>
              <a:ln w="5406" cap="rnd">
                <a:solidFill>
                  <a:srgbClr val="005950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da-DK"/>
              </a:p>
            </p:txBody>
          </p:sp>
        </p:grp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97671C5E-C82F-30EE-482F-CDDC471EF954}"/>
                </a:ext>
              </a:extLst>
            </p:cNvPr>
            <p:cNvSpPr/>
            <p:nvPr/>
          </p:nvSpPr>
          <p:spPr>
            <a:xfrm>
              <a:off x="8013167" y="6207329"/>
              <a:ext cx="120339" cy="84913"/>
            </a:xfrm>
            <a:custGeom>
              <a:avLst/>
              <a:gdLst>
                <a:gd name="connsiteX0" fmla="*/ 2975 w 120339"/>
                <a:gd name="connsiteY0" fmla="*/ 84914 h 84913"/>
                <a:gd name="connsiteX1" fmla="*/ 270 w 120339"/>
                <a:gd name="connsiteY1" fmla="*/ 61116 h 84913"/>
                <a:gd name="connsiteX2" fmla="*/ 1352 w 120339"/>
                <a:gd name="connsiteY2" fmla="*/ 42186 h 84913"/>
                <a:gd name="connsiteX3" fmla="*/ 11628 w 120339"/>
                <a:gd name="connsiteY3" fmla="*/ 25961 h 84913"/>
                <a:gd name="connsiteX4" fmla="*/ 23527 w 120339"/>
                <a:gd name="connsiteY4" fmla="*/ 11358 h 84913"/>
                <a:gd name="connsiteX5" fmla="*/ 41375 w 120339"/>
                <a:gd name="connsiteY5" fmla="*/ 4867 h 84913"/>
                <a:gd name="connsiteX6" fmla="*/ 59764 w 120339"/>
                <a:gd name="connsiteY6" fmla="*/ 0 h 84913"/>
                <a:gd name="connsiteX7" fmla="*/ 78153 w 120339"/>
                <a:gd name="connsiteY7" fmla="*/ 4867 h 84913"/>
                <a:gd name="connsiteX8" fmla="*/ 94379 w 120339"/>
                <a:gd name="connsiteY8" fmla="*/ 13521 h 84913"/>
                <a:gd name="connsiteX9" fmla="*/ 108441 w 120339"/>
                <a:gd name="connsiteY9" fmla="*/ 25961 h 84913"/>
                <a:gd name="connsiteX10" fmla="*/ 116013 w 120339"/>
                <a:gd name="connsiteY10" fmla="*/ 43268 h 84913"/>
                <a:gd name="connsiteX11" fmla="*/ 120340 w 120339"/>
                <a:gd name="connsiteY11" fmla="*/ 61657 h 849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0339" h="84913">
                  <a:moveTo>
                    <a:pt x="2975" y="84914"/>
                  </a:moveTo>
                  <a:cubicBezTo>
                    <a:pt x="-270" y="77882"/>
                    <a:pt x="270" y="69229"/>
                    <a:pt x="270" y="61116"/>
                  </a:cubicBezTo>
                  <a:cubicBezTo>
                    <a:pt x="270" y="54626"/>
                    <a:pt x="-811" y="48136"/>
                    <a:pt x="1352" y="42186"/>
                  </a:cubicBezTo>
                  <a:cubicBezTo>
                    <a:pt x="3515" y="36237"/>
                    <a:pt x="7842" y="31369"/>
                    <a:pt x="11628" y="25961"/>
                  </a:cubicBezTo>
                  <a:cubicBezTo>
                    <a:pt x="15414" y="21093"/>
                    <a:pt x="18659" y="15144"/>
                    <a:pt x="23527" y="11358"/>
                  </a:cubicBezTo>
                  <a:cubicBezTo>
                    <a:pt x="28395" y="7572"/>
                    <a:pt x="35426" y="7031"/>
                    <a:pt x="41375" y="4867"/>
                  </a:cubicBezTo>
                  <a:cubicBezTo>
                    <a:pt x="47325" y="2704"/>
                    <a:pt x="53274" y="0"/>
                    <a:pt x="59764" y="0"/>
                  </a:cubicBezTo>
                  <a:cubicBezTo>
                    <a:pt x="66255" y="0"/>
                    <a:pt x="72204" y="2704"/>
                    <a:pt x="78153" y="4867"/>
                  </a:cubicBezTo>
                  <a:cubicBezTo>
                    <a:pt x="84102" y="7031"/>
                    <a:pt x="89511" y="9735"/>
                    <a:pt x="94379" y="13521"/>
                  </a:cubicBezTo>
                  <a:cubicBezTo>
                    <a:pt x="99246" y="17307"/>
                    <a:pt x="104655" y="20552"/>
                    <a:pt x="108441" y="25961"/>
                  </a:cubicBezTo>
                  <a:cubicBezTo>
                    <a:pt x="112227" y="30829"/>
                    <a:pt x="114390" y="36778"/>
                    <a:pt x="116013" y="43268"/>
                  </a:cubicBezTo>
                  <a:cubicBezTo>
                    <a:pt x="118176" y="49217"/>
                    <a:pt x="120340" y="55167"/>
                    <a:pt x="120340" y="61657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A9B76D74-1AA5-4DC9-1070-AC69F0B19E13}"/>
                </a:ext>
              </a:extLst>
            </p:cNvPr>
            <p:cNvSpPr/>
            <p:nvPr/>
          </p:nvSpPr>
          <p:spPr>
            <a:xfrm>
              <a:off x="7978282" y="6298733"/>
              <a:ext cx="74097" cy="72474"/>
            </a:xfrm>
            <a:custGeom>
              <a:avLst/>
              <a:gdLst>
                <a:gd name="connsiteX0" fmla="*/ 36778 w 74097"/>
                <a:gd name="connsiteY0" fmla="*/ 72474 h 72474"/>
                <a:gd name="connsiteX1" fmla="*/ 18389 w 74097"/>
                <a:gd name="connsiteY1" fmla="*/ 68688 h 72474"/>
                <a:gd name="connsiteX2" fmla="*/ 4327 w 74097"/>
                <a:gd name="connsiteY2" fmla="*/ 55708 h 72474"/>
                <a:gd name="connsiteX3" fmla="*/ 0 w 74097"/>
                <a:gd name="connsiteY3" fmla="*/ 37319 h 72474"/>
                <a:gd name="connsiteX4" fmla="*/ 5949 w 74097"/>
                <a:gd name="connsiteY4" fmla="*/ 19471 h 72474"/>
                <a:gd name="connsiteX5" fmla="*/ 18389 w 74097"/>
                <a:gd name="connsiteY5" fmla="*/ 4868 h 72474"/>
                <a:gd name="connsiteX6" fmla="*/ 36778 w 74097"/>
                <a:gd name="connsiteY6" fmla="*/ 0 h 72474"/>
                <a:gd name="connsiteX7" fmla="*/ 54626 w 74097"/>
                <a:gd name="connsiteY7" fmla="*/ 5409 h 72474"/>
                <a:gd name="connsiteX8" fmla="*/ 67606 w 74097"/>
                <a:gd name="connsiteY8" fmla="*/ 18930 h 72474"/>
                <a:gd name="connsiteX9" fmla="*/ 74097 w 74097"/>
                <a:gd name="connsiteY9" fmla="*/ 36778 h 72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4097" h="72474">
                  <a:moveTo>
                    <a:pt x="36778" y="72474"/>
                  </a:moveTo>
                  <a:cubicBezTo>
                    <a:pt x="30288" y="72474"/>
                    <a:pt x="23798" y="71934"/>
                    <a:pt x="18389" y="68688"/>
                  </a:cubicBezTo>
                  <a:cubicBezTo>
                    <a:pt x="12981" y="65443"/>
                    <a:pt x="7572" y="61117"/>
                    <a:pt x="4327" y="55708"/>
                  </a:cubicBezTo>
                  <a:cubicBezTo>
                    <a:pt x="1082" y="50299"/>
                    <a:pt x="0" y="43809"/>
                    <a:pt x="0" y="37319"/>
                  </a:cubicBezTo>
                  <a:cubicBezTo>
                    <a:pt x="0" y="30829"/>
                    <a:pt x="2704" y="24879"/>
                    <a:pt x="5949" y="19471"/>
                  </a:cubicBezTo>
                  <a:cubicBezTo>
                    <a:pt x="9195" y="14062"/>
                    <a:pt x="12981" y="8113"/>
                    <a:pt x="18389" y="4868"/>
                  </a:cubicBezTo>
                  <a:cubicBezTo>
                    <a:pt x="23798" y="1623"/>
                    <a:pt x="30288" y="0"/>
                    <a:pt x="36778" y="0"/>
                  </a:cubicBezTo>
                  <a:cubicBezTo>
                    <a:pt x="43268" y="0"/>
                    <a:pt x="49759" y="2164"/>
                    <a:pt x="54626" y="5409"/>
                  </a:cubicBezTo>
                  <a:cubicBezTo>
                    <a:pt x="60034" y="8654"/>
                    <a:pt x="64361" y="13521"/>
                    <a:pt x="67606" y="18930"/>
                  </a:cubicBezTo>
                  <a:cubicBezTo>
                    <a:pt x="70851" y="24338"/>
                    <a:pt x="74097" y="30288"/>
                    <a:pt x="74097" y="36778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C2F1C481-F776-7A95-82DB-9A1FE68E1341}"/>
                </a:ext>
              </a:extLst>
            </p:cNvPr>
            <p:cNvSpPr/>
            <p:nvPr/>
          </p:nvSpPr>
          <p:spPr>
            <a:xfrm>
              <a:off x="8043725" y="6064004"/>
              <a:ext cx="171991" cy="135753"/>
            </a:xfrm>
            <a:custGeom>
              <a:avLst/>
              <a:gdLst>
                <a:gd name="connsiteX0" fmla="*/ 9195 w 171991"/>
                <a:gd name="connsiteY0" fmla="*/ 135754 h 135753"/>
                <a:gd name="connsiteX1" fmla="*/ 2164 w 171991"/>
                <a:gd name="connsiteY1" fmla="*/ 116824 h 135753"/>
                <a:gd name="connsiteX2" fmla="*/ 0 w 171991"/>
                <a:gd name="connsiteY2" fmla="*/ 96812 h 135753"/>
                <a:gd name="connsiteX3" fmla="*/ 1082 w 171991"/>
                <a:gd name="connsiteY3" fmla="*/ 77882 h 135753"/>
                <a:gd name="connsiteX4" fmla="*/ 7031 w 171991"/>
                <a:gd name="connsiteY4" fmla="*/ 60034 h 135753"/>
                <a:gd name="connsiteX5" fmla="*/ 17848 w 171991"/>
                <a:gd name="connsiteY5" fmla="*/ 44350 h 135753"/>
                <a:gd name="connsiteX6" fmla="*/ 29206 w 171991"/>
                <a:gd name="connsiteY6" fmla="*/ 29747 h 135753"/>
                <a:gd name="connsiteX7" fmla="*/ 42727 w 171991"/>
                <a:gd name="connsiteY7" fmla="*/ 16766 h 135753"/>
                <a:gd name="connsiteX8" fmla="*/ 58953 w 171991"/>
                <a:gd name="connsiteY8" fmla="*/ 7031 h 135753"/>
                <a:gd name="connsiteX9" fmla="*/ 77342 w 171991"/>
                <a:gd name="connsiteY9" fmla="*/ 3245 h 135753"/>
                <a:gd name="connsiteX10" fmla="*/ 95731 w 171991"/>
                <a:gd name="connsiteY10" fmla="*/ 0 h 135753"/>
                <a:gd name="connsiteX11" fmla="*/ 113579 w 171991"/>
                <a:gd name="connsiteY11" fmla="*/ 1622 h 135753"/>
                <a:gd name="connsiteX12" fmla="*/ 130887 w 171991"/>
                <a:gd name="connsiteY12" fmla="*/ 6490 h 135753"/>
                <a:gd name="connsiteX13" fmla="*/ 146030 w 171991"/>
                <a:gd name="connsiteY13" fmla="*/ 15685 h 135753"/>
                <a:gd name="connsiteX14" fmla="*/ 159551 w 171991"/>
                <a:gd name="connsiteY14" fmla="*/ 27043 h 135753"/>
                <a:gd name="connsiteX15" fmla="*/ 171991 w 171991"/>
                <a:gd name="connsiteY15" fmla="*/ 39482 h 1357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1991" h="135753">
                  <a:moveTo>
                    <a:pt x="9195" y="135754"/>
                  </a:moveTo>
                  <a:cubicBezTo>
                    <a:pt x="6491" y="129804"/>
                    <a:pt x="3786" y="123314"/>
                    <a:pt x="2164" y="116824"/>
                  </a:cubicBezTo>
                  <a:cubicBezTo>
                    <a:pt x="541" y="110334"/>
                    <a:pt x="0" y="103303"/>
                    <a:pt x="0" y="96812"/>
                  </a:cubicBezTo>
                  <a:cubicBezTo>
                    <a:pt x="0" y="90322"/>
                    <a:pt x="0" y="83832"/>
                    <a:pt x="1082" y="77882"/>
                  </a:cubicBezTo>
                  <a:cubicBezTo>
                    <a:pt x="2164" y="71392"/>
                    <a:pt x="4327" y="65443"/>
                    <a:pt x="7031" y="60034"/>
                  </a:cubicBezTo>
                  <a:cubicBezTo>
                    <a:pt x="9195" y="54085"/>
                    <a:pt x="14063" y="49758"/>
                    <a:pt x="17848" y="44350"/>
                  </a:cubicBezTo>
                  <a:cubicBezTo>
                    <a:pt x="21093" y="38941"/>
                    <a:pt x="24880" y="34074"/>
                    <a:pt x="29206" y="29747"/>
                  </a:cubicBezTo>
                  <a:cubicBezTo>
                    <a:pt x="33533" y="25420"/>
                    <a:pt x="37860" y="20552"/>
                    <a:pt x="42727" y="16766"/>
                  </a:cubicBezTo>
                  <a:cubicBezTo>
                    <a:pt x="48136" y="13521"/>
                    <a:pt x="53004" y="9735"/>
                    <a:pt x="58953" y="7031"/>
                  </a:cubicBezTo>
                  <a:cubicBezTo>
                    <a:pt x="64902" y="4867"/>
                    <a:pt x="71393" y="4327"/>
                    <a:pt x="77342" y="3245"/>
                  </a:cubicBezTo>
                  <a:cubicBezTo>
                    <a:pt x="83291" y="2163"/>
                    <a:pt x="89782" y="0"/>
                    <a:pt x="95731" y="0"/>
                  </a:cubicBezTo>
                  <a:cubicBezTo>
                    <a:pt x="101680" y="0"/>
                    <a:pt x="108170" y="541"/>
                    <a:pt x="113579" y="1622"/>
                  </a:cubicBezTo>
                  <a:cubicBezTo>
                    <a:pt x="119529" y="2704"/>
                    <a:pt x="125478" y="4327"/>
                    <a:pt x="130887" y="6490"/>
                  </a:cubicBezTo>
                  <a:cubicBezTo>
                    <a:pt x="136295" y="8653"/>
                    <a:pt x="141163" y="12440"/>
                    <a:pt x="146030" y="15685"/>
                  </a:cubicBezTo>
                  <a:cubicBezTo>
                    <a:pt x="150898" y="18930"/>
                    <a:pt x="155225" y="23257"/>
                    <a:pt x="159551" y="27043"/>
                  </a:cubicBezTo>
                  <a:cubicBezTo>
                    <a:pt x="163878" y="31369"/>
                    <a:pt x="168746" y="34614"/>
                    <a:pt x="171991" y="39482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07ACC985-BD10-6035-9732-581F68FCB829}"/>
                </a:ext>
              </a:extLst>
            </p:cNvPr>
            <p:cNvSpPr/>
            <p:nvPr/>
          </p:nvSpPr>
          <p:spPr>
            <a:xfrm>
              <a:off x="8193541" y="5963405"/>
              <a:ext cx="111415" cy="110874"/>
            </a:xfrm>
            <a:custGeom>
              <a:avLst/>
              <a:gdLst>
                <a:gd name="connsiteX0" fmla="*/ 0 w 111415"/>
                <a:gd name="connsiteY0" fmla="*/ 110875 h 110874"/>
                <a:gd name="connsiteX1" fmla="*/ 1622 w 111415"/>
                <a:gd name="connsiteY1" fmla="*/ 93568 h 110874"/>
                <a:gd name="connsiteX2" fmla="*/ 6490 w 111415"/>
                <a:gd name="connsiteY2" fmla="*/ 76801 h 110874"/>
                <a:gd name="connsiteX3" fmla="*/ 13521 w 111415"/>
                <a:gd name="connsiteY3" fmla="*/ 61117 h 110874"/>
                <a:gd name="connsiteX4" fmla="*/ 21634 w 111415"/>
                <a:gd name="connsiteY4" fmla="*/ 45432 h 110874"/>
                <a:gd name="connsiteX5" fmla="*/ 34073 w 111415"/>
                <a:gd name="connsiteY5" fmla="*/ 33533 h 110874"/>
                <a:gd name="connsiteX6" fmla="*/ 47595 w 111415"/>
                <a:gd name="connsiteY6" fmla="*/ 22716 h 110874"/>
                <a:gd name="connsiteX7" fmla="*/ 61657 w 111415"/>
                <a:gd name="connsiteY7" fmla="*/ 12981 h 110874"/>
                <a:gd name="connsiteX8" fmla="*/ 77341 w 111415"/>
                <a:gd name="connsiteY8" fmla="*/ 5409 h 110874"/>
                <a:gd name="connsiteX9" fmla="*/ 94108 w 111415"/>
                <a:gd name="connsiteY9" fmla="*/ 1082 h 110874"/>
                <a:gd name="connsiteX10" fmla="*/ 111415 w 111415"/>
                <a:gd name="connsiteY10" fmla="*/ 0 h 110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1415" h="110874">
                  <a:moveTo>
                    <a:pt x="0" y="110875"/>
                  </a:moveTo>
                  <a:cubicBezTo>
                    <a:pt x="0" y="104925"/>
                    <a:pt x="541" y="98976"/>
                    <a:pt x="1622" y="93568"/>
                  </a:cubicBezTo>
                  <a:cubicBezTo>
                    <a:pt x="2704" y="87618"/>
                    <a:pt x="4868" y="82210"/>
                    <a:pt x="6490" y="76801"/>
                  </a:cubicBezTo>
                  <a:cubicBezTo>
                    <a:pt x="8113" y="71392"/>
                    <a:pt x="10817" y="65984"/>
                    <a:pt x="13521" y="61117"/>
                  </a:cubicBezTo>
                  <a:cubicBezTo>
                    <a:pt x="16226" y="56249"/>
                    <a:pt x="17848" y="50299"/>
                    <a:pt x="21634" y="45432"/>
                  </a:cubicBezTo>
                  <a:cubicBezTo>
                    <a:pt x="24879" y="40564"/>
                    <a:pt x="30288" y="37319"/>
                    <a:pt x="34073" y="33533"/>
                  </a:cubicBezTo>
                  <a:cubicBezTo>
                    <a:pt x="37860" y="29747"/>
                    <a:pt x="42727" y="26502"/>
                    <a:pt x="47595" y="22716"/>
                  </a:cubicBezTo>
                  <a:cubicBezTo>
                    <a:pt x="52462" y="19471"/>
                    <a:pt x="56789" y="15685"/>
                    <a:pt x="61657" y="12981"/>
                  </a:cubicBezTo>
                  <a:cubicBezTo>
                    <a:pt x="66524" y="10276"/>
                    <a:pt x="71933" y="7572"/>
                    <a:pt x="77341" y="5409"/>
                  </a:cubicBezTo>
                  <a:cubicBezTo>
                    <a:pt x="82750" y="3786"/>
                    <a:pt x="88158" y="2164"/>
                    <a:pt x="94108" y="1082"/>
                  </a:cubicBezTo>
                  <a:cubicBezTo>
                    <a:pt x="99517" y="0"/>
                    <a:pt x="105466" y="0"/>
                    <a:pt x="111415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34D281F2-0363-164A-FDA3-87B8CF6D27E8}"/>
                </a:ext>
              </a:extLst>
            </p:cNvPr>
            <p:cNvSpPr/>
            <p:nvPr/>
          </p:nvSpPr>
          <p:spPr>
            <a:xfrm>
              <a:off x="8310365" y="5933658"/>
              <a:ext cx="69229" cy="42186"/>
            </a:xfrm>
            <a:custGeom>
              <a:avLst/>
              <a:gdLst>
                <a:gd name="connsiteX0" fmla="*/ 0 w 69229"/>
                <a:gd name="connsiteY0" fmla="*/ 42187 h 42186"/>
                <a:gd name="connsiteX1" fmla="*/ 4327 w 69229"/>
                <a:gd name="connsiteY1" fmla="*/ 26502 h 42186"/>
                <a:gd name="connsiteX2" fmla="*/ 14062 w 69229"/>
                <a:gd name="connsiteY2" fmla="*/ 13521 h 42186"/>
                <a:gd name="connsiteX3" fmla="*/ 27043 w 69229"/>
                <a:gd name="connsiteY3" fmla="*/ 4327 h 42186"/>
                <a:gd name="connsiteX4" fmla="*/ 42727 w 69229"/>
                <a:gd name="connsiteY4" fmla="*/ 0 h 42186"/>
                <a:gd name="connsiteX5" fmla="*/ 56249 w 69229"/>
                <a:gd name="connsiteY5" fmla="*/ 3786 h 42186"/>
                <a:gd name="connsiteX6" fmla="*/ 69229 w 69229"/>
                <a:gd name="connsiteY6" fmla="*/ 8654 h 421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9229" h="42186">
                  <a:moveTo>
                    <a:pt x="0" y="42187"/>
                  </a:moveTo>
                  <a:cubicBezTo>
                    <a:pt x="0" y="36778"/>
                    <a:pt x="2164" y="31370"/>
                    <a:pt x="4327" y="26502"/>
                  </a:cubicBezTo>
                  <a:cubicBezTo>
                    <a:pt x="6490" y="21634"/>
                    <a:pt x="10276" y="17307"/>
                    <a:pt x="14062" y="13521"/>
                  </a:cubicBezTo>
                  <a:cubicBezTo>
                    <a:pt x="17848" y="9736"/>
                    <a:pt x="21634" y="6490"/>
                    <a:pt x="27043" y="4327"/>
                  </a:cubicBezTo>
                  <a:cubicBezTo>
                    <a:pt x="31910" y="2164"/>
                    <a:pt x="36778" y="0"/>
                    <a:pt x="42727" y="0"/>
                  </a:cubicBezTo>
                  <a:cubicBezTo>
                    <a:pt x="47595" y="0"/>
                    <a:pt x="51922" y="2704"/>
                    <a:pt x="56249" y="3786"/>
                  </a:cubicBezTo>
                  <a:cubicBezTo>
                    <a:pt x="60575" y="5409"/>
                    <a:pt x="65984" y="5950"/>
                    <a:pt x="69229" y="8654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B587838C-B31E-9075-ED3C-3E115D4E978E}"/>
                </a:ext>
              </a:extLst>
            </p:cNvPr>
            <p:cNvSpPr/>
            <p:nvPr/>
          </p:nvSpPr>
          <p:spPr>
            <a:xfrm>
              <a:off x="8374186" y="5934199"/>
              <a:ext cx="96811" cy="49217"/>
            </a:xfrm>
            <a:custGeom>
              <a:avLst/>
              <a:gdLst>
                <a:gd name="connsiteX0" fmla="*/ 96812 w 96811"/>
                <a:gd name="connsiteY0" fmla="*/ 49217 h 49217"/>
                <a:gd name="connsiteX1" fmla="*/ 93026 w 96811"/>
                <a:gd name="connsiteY1" fmla="*/ 30829 h 49217"/>
                <a:gd name="connsiteX2" fmla="*/ 83291 w 96811"/>
                <a:gd name="connsiteY2" fmla="*/ 14603 h 49217"/>
                <a:gd name="connsiteX3" fmla="*/ 67065 w 96811"/>
                <a:gd name="connsiteY3" fmla="*/ 4867 h 49217"/>
                <a:gd name="connsiteX4" fmla="*/ 48677 w 96811"/>
                <a:gd name="connsiteY4" fmla="*/ 0 h 49217"/>
                <a:gd name="connsiteX5" fmla="*/ 30288 w 96811"/>
                <a:gd name="connsiteY5" fmla="*/ 4867 h 49217"/>
                <a:gd name="connsiteX6" fmla="*/ 13521 w 96811"/>
                <a:gd name="connsiteY6" fmla="*/ 14062 h 49217"/>
                <a:gd name="connsiteX7" fmla="*/ 2704 w 96811"/>
                <a:gd name="connsiteY7" fmla="*/ 30288 h 49217"/>
                <a:gd name="connsiteX8" fmla="*/ 0 w 96811"/>
                <a:gd name="connsiteY8" fmla="*/ 49217 h 4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811" h="49217">
                  <a:moveTo>
                    <a:pt x="96812" y="49217"/>
                  </a:moveTo>
                  <a:cubicBezTo>
                    <a:pt x="96812" y="42727"/>
                    <a:pt x="95730" y="36237"/>
                    <a:pt x="93026" y="30829"/>
                  </a:cubicBezTo>
                  <a:cubicBezTo>
                    <a:pt x="90322" y="24879"/>
                    <a:pt x="87618" y="18930"/>
                    <a:pt x="83291" y="14603"/>
                  </a:cubicBezTo>
                  <a:cubicBezTo>
                    <a:pt x="78964" y="10276"/>
                    <a:pt x="73015" y="7572"/>
                    <a:pt x="67065" y="4867"/>
                  </a:cubicBezTo>
                  <a:cubicBezTo>
                    <a:pt x="61116" y="2704"/>
                    <a:pt x="55167" y="0"/>
                    <a:pt x="48677" y="0"/>
                  </a:cubicBezTo>
                  <a:cubicBezTo>
                    <a:pt x="42186" y="0"/>
                    <a:pt x="36237" y="2704"/>
                    <a:pt x="30288" y="4867"/>
                  </a:cubicBezTo>
                  <a:cubicBezTo>
                    <a:pt x="24338" y="7572"/>
                    <a:pt x="17848" y="9735"/>
                    <a:pt x="13521" y="14062"/>
                  </a:cubicBezTo>
                  <a:cubicBezTo>
                    <a:pt x="9194" y="18389"/>
                    <a:pt x="5409" y="24338"/>
                    <a:pt x="2704" y="30288"/>
                  </a:cubicBezTo>
                  <a:cubicBezTo>
                    <a:pt x="541" y="36237"/>
                    <a:pt x="0" y="42727"/>
                    <a:pt x="0" y="49217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C1FEA27F-E826-18AD-85B1-EFFA313EAC9E}"/>
                </a:ext>
              </a:extLst>
            </p:cNvPr>
            <p:cNvSpPr/>
            <p:nvPr/>
          </p:nvSpPr>
          <p:spPr>
            <a:xfrm>
              <a:off x="8475325" y="5943935"/>
              <a:ext cx="77882" cy="21634"/>
            </a:xfrm>
            <a:custGeom>
              <a:avLst/>
              <a:gdLst>
                <a:gd name="connsiteX0" fmla="*/ 77883 w 77882"/>
                <a:gd name="connsiteY0" fmla="*/ 21634 h 21634"/>
                <a:gd name="connsiteX1" fmla="*/ 65984 w 77882"/>
                <a:gd name="connsiteY1" fmla="*/ 9195 h 21634"/>
                <a:gd name="connsiteX2" fmla="*/ 50299 w 77882"/>
                <a:gd name="connsiteY2" fmla="*/ 2704 h 21634"/>
                <a:gd name="connsiteX3" fmla="*/ 33533 w 77882"/>
                <a:gd name="connsiteY3" fmla="*/ 0 h 21634"/>
                <a:gd name="connsiteX4" fmla="*/ 15685 w 77882"/>
                <a:gd name="connsiteY4" fmla="*/ 3786 h 21634"/>
                <a:gd name="connsiteX5" fmla="*/ 0 w 77882"/>
                <a:gd name="connsiteY5" fmla="*/ 12440 h 21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7882" h="21634">
                  <a:moveTo>
                    <a:pt x="77883" y="21634"/>
                  </a:moveTo>
                  <a:cubicBezTo>
                    <a:pt x="74096" y="17307"/>
                    <a:pt x="70851" y="12440"/>
                    <a:pt x="65984" y="9195"/>
                  </a:cubicBezTo>
                  <a:cubicBezTo>
                    <a:pt x="61117" y="5949"/>
                    <a:pt x="55708" y="4327"/>
                    <a:pt x="50299" y="2704"/>
                  </a:cubicBezTo>
                  <a:cubicBezTo>
                    <a:pt x="44891" y="1082"/>
                    <a:pt x="39482" y="0"/>
                    <a:pt x="33533" y="0"/>
                  </a:cubicBezTo>
                  <a:cubicBezTo>
                    <a:pt x="27043" y="0"/>
                    <a:pt x="21634" y="1622"/>
                    <a:pt x="15685" y="3786"/>
                  </a:cubicBezTo>
                  <a:cubicBezTo>
                    <a:pt x="9736" y="5949"/>
                    <a:pt x="4868" y="8653"/>
                    <a:pt x="0" y="1244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93AE2959-8724-62AB-B73F-D371BF08C629}"/>
                </a:ext>
              </a:extLst>
            </p:cNvPr>
            <p:cNvSpPr/>
            <p:nvPr/>
          </p:nvSpPr>
          <p:spPr>
            <a:xfrm>
              <a:off x="8478329" y="5949343"/>
              <a:ext cx="276856" cy="204982"/>
            </a:xfrm>
            <a:custGeom>
              <a:avLst/>
              <a:gdLst>
                <a:gd name="connsiteX0" fmla="*/ 240 w 276856"/>
                <a:gd name="connsiteY0" fmla="*/ 140081 h 204982"/>
                <a:gd name="connsiteX1" fmla="*/ 240 w 276856"/>
                <a:gd name="connsiteY1" fmla="*/ 121692 h 204982"/>
                <a:gd name="connsiteX2" fmla="*/ 4567 w 276856"/>
                <a:gd name="connsiteY2" fmla="*/ 103844 h 204982"/>
                <a:gd name="connsiteX3" fmla="*/ 9435 w 276856"/>
                <a:gd name="connsiteY3" fmla="*/ 85996 h 204982"/>
                <a:gd name="connsiteX4" fmla="*/ 18089 w 276856"/>
                <a:gd name="connsiteY4" fmla="*/ 70311 h 204982"/>
                <a:gd name="connsiteX5" fmla="*/ 27824 w 276856"/>
                <a:gd name="connsiteY5" fmla="*/ 55167 h 204982"/>
                <a:gd name="connsiteX6" fmla="*/ 40804 w 276856"/>
                <a:gd name="connsiteY6" fmla="*/ 42186 h 204982"/>
                <a:gd name="connsiteX7" fmla="*/ 54325 w 276856"/>
                <a:gd name="connsiteY7" fmla="*/ 30288 h 204982"/>
                <a:gd name="connsiteX8" fmla="*/ 68929 w 276856"/>
                <a:gd name="connsiteY8" fmla="*/ 19471 h 204982"/>
                <a:gd name="connsiteX9" fmla="*/ 85695 w 276856"/>
                <a:gd name="connsiteY9" fmla="*/ 11899 h 204982"/>
                <a:gd name="connsiteX10" fmla="*/ 102461 w 276856"/>
                <a:gd name="connsiteY10" fmla="*/ 5409 h 204982"/>
                <a:gd name="connsiteX11" fmla="*/ 120310 w 276856"/>
                <a:gd name="connsiteY11" fmla="*/ 3245 h 204982"/>
                <a:gd name="connsiteX12" fmla="*/ 138158 w 276856"/>
                <a:gd name="connsiteY12" fmla="*/ 0 h 204982"/>
                <a:gd name="connsiteX13" fmla="*/ 156547 w 276856"/>
                <a:gd name="connsiteY13" fmla="*/ 1622 h 204982"/>
                <a:gd name="connsiteX14" fmla="*/ 174395 w 276856"/>
                <a:gd name="connsiteY14" fmla="*/ 5949 h 204982"/>
                <a:gd name="connsiteX15" fmla="*/ 191702 w 276856"/>
                <a:gd name="connsiteY15" fmla="*/ 10817 h 204982"/>
                <a:gd name="connsiteX16" fmla="*/ 208468 w 276856"/>
                <a:gd name="connsiteY16" fmla="*/ 18389 h 204982"/>
                <a:gd name="connsiteX17" fmla="*/ 222530 w 276856"/>
                <a:gd name="connsiteY17" fmla="*/ 29747 h 204982"/>
                <a:gd name="connsiteX18" fmla="*/ 236052 w 276856"/>
                <a:gd name="connsiteY18" fmla="*/ 41646 h 204982"/>
                <a:gd name="connsiteX19" fmla="*/ 249032 w 276856"/>
                <a:gd name="connsiteY19" fmla="*/ 54085 h 204982"/>
                <a:gd name="connsiteX20" fmla="*/ 259308 w 276856"/>
                <a:gd name="connsiteY20" fmla="*/ 69229 h 204982"/>
                <a:gd name="connsiteX21" fmla="*/ 267421 w 276856"/>
                <a:gd name="connsiteY21" fmla="*/ 85455 h 204982"/>
                <a:gd name="connsiteX22" fmla="*/ 271748 w 276856"/>
                <a:gd name="connsiteY22" fmla="*/ 103303 h 204982"/>
                <a:gd name="connsiteX23" fmla="*/ 276615 w 276856"/>
                <a:gd name="connsiteY23" fmla="*/ 120610 h 204982"/>
                <a:gd name="connsiteX24" fmla="*/ 276615 w 276856"/>
                <a:gd name="connsiteY24" fmla="*/ 138999 h 204982"/>
                <a:gd name="connsiteX25" fmla="*/ 276615 w 276856"/>
                <a:gd name="connsiteY25" fmla="*/ 156306 h 204982"/>
                <a:gd name="connsiteX26" fmla="*/ 272830 w 276856"/>
                <a:gd name="connsiteY26" fmla="*/ 173073 h 204982"/>
                <a:gd name="connsiteX27" fmla="*/ 267962 w 276856"/>
                <a:gd name="connsiteY27" fmla="*/ 189298 h 204982"/>
                <a:gd name="connsiteX28" fmla="*/ 260931 w 276856"/>
                <a:gd name="connsiteY28" fmla="*/ 204983 h 2049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76856" h="204982">
                  <a:moveTo>
                    <a:pt x="240" y="140081"/>
                  </a:moveTo>
                  <a:cubicBezTo>
                    <a:pt x="240" y="134131"/>
                    <a:pt x="-300" y="127641"/>
                    <a:pt x="240" y="121692"/>
                  </a:cubicBezTo>
                  <a:cubicBezTo>
                    <a:pt x="781" y="115742"/>
                    <a:pt x="2945" y="109793"/>
                    <a:pt x="4567" y="103844"/>
                  </a:cubicBezTo>
                  <a:cubicBezTo>
                    <a:pt x="6190" y="97894"/>
                    <a:pt x="7272" y="91945"/>
                    <a:pt x="9435" y="85996"/>
                  </a:cubicBezTo>
                  <a:cubicBezTo>
                    <a:pt x="11598" y="80587"/>
                    <a:pt x="15384" y="75179"/>
                    <a:pt x="18089" y="70311"/>
                  </a:cubicBezTo>
                  <a:cubicBezTo>
                    <a:pt x="21334" y="64902"/>
                    <a:pt x="24038" y="60034"/>
                    <a:pt x="27824" y="55167"/>
                  </a:cubicBezTo>
                  <a:cubicBezTo>
                    <a:pt x="31610" y="50299"/>
                    <a:pt x="36478" y="46513"/>
                    <a:pt x="40804" y="42186"/>
                  </a:cubicBezTo>
                  <a:cubicBezTo>
                    <a:pt x="45131" y="37860"/>
                    <a:pt x="49458" y="34074"/>
                    <a:pt x="54325" y="30288"/>
                  </a:cubicBezTo>
                  <a:cubicBezTo>
                    <a:pt x="59193" y="26502"/>
                    <a:pt x="63520" y="22175"/>
                    <a:pt x="68929" y="19471"/>
                  </a:cubicBezTo>
                  <a:cubicBezTo>
                    <a:pt x="74337" y="16226"/>
                    <a:pt x="79746" y="14603"/>
                    <a:pt x="85695" y="11899"/>
                  </a:cubicBezTo>
                  <a:cubicBezTo>
                    <a:pt x="91104" y="9735"/>
                    <a:pt x="96512" y="7031"/>
                    <a:pt x="102461" y="5409"/>
                  </a:cubicBezTo>
                  <a:cubicBezTo>
                    <a:pt x="108411" y="3786"/>
                    <a:pt x="114360" y="3786"/>
                    <a:pt x="120310" y="3245"/>
                  </a:cubicBezTo>
                  <a:cubicBezTo>
                    <a:pt x="126259" y="2704"/>
                    <a:pt x="132208" y="0"/>
                    <a:pt x="138158" y="0"/>
                  </a:cubicBezTo>
                  <a:cubicBezTo>
                    <a:pt x="144107" y="0"/>
                    <a:pt x="150597" y="541"/>
                    <a:pt x="156547" y="1622"/>
                  </a:cubicBezTo>
                  <a:cubicBezTo>
                    <a:pt x="162496" y="2164"/>
                    <a:pt x="168445" y="4327"/>
                    <a:pt x="174395" y="5949"/>
                  </a:cubicBezTo>
                  <a:cubicBezTo>
                    <a:pt x="180344" y="7572"/>
                    <a:pt x="186293" y="8653"/>
                    <a:pt x="191702" y="10817"/>
                  </a:cubicBezTo>
                  <a:cubicBezTo>
                    <a:pt x="197110" y="12981"/>
                    <a:pt x="203060" y="15685"/>
                    <a:pt x="208468" y="18389"/>
                  </a:cubicBezTo>
                  <a:cubicBezTo>
                    <a:pt x="213877" y="21634"/>
                    <a:pt x="217663" y="25961"/>
                    <a:pt x="222530" y="29747"/>
                  </a:cubicBezTo>
                  <a:cubicBezTo>
                    <a:pt x="227398" y="33533"/>
                    <a:pt x="232266" y="37319"/>
                    <a:pt x="236052" y="41646"/>
                  </a:cubicBezTo>
                  <a:cubicBezTo>
                    <a:pt x="240379" y="45972"/>
                    <a:pt x="245246" y="49758"/>
                    <a:pt x="249032" y="54085"/>
                  </a:cubicBezTo>
                  <a:cubicBezTo>
                    <a:pt x="252818" y="58953"/>
                    <a:pt x="256063" y="63820"/>
                    <a:pt x="259308" y="69229"/>
                  </a:cubicBezTo>
                  <a:cubicBezTo>
                    <a:pt x="262553" y="74637"/>
                    <a:pt x="264717" y="80046"/>
                    <a:pt x="267421" y="85455"/>
                  </a:cubicBezTo>
                  <a:cubicBezTo>
                    <a:pt x="269585" y="90863"/>
                    <a:pt x="270125" y="97353"/>
                    <a:pt x="271748" y="103303"/>
                  </a:cubicBezTo>
                  <a:cubicBezTo>
                    <a:pt x="273370" y="109252"/>
                    <a:pt x="276075" y="114661"/>
                    <a:pt x="276615" y="120610"/>
                  </a:cubicBezTo>
                  <a:cubicBezTo>
                    <a:pt x="277157" y="126559"/>
                    <a:pt x="276615" y="132509"/>
                    <a:pt x="276615" y="138999"/>
                  </a:cubicBezTo>
                  <a:cubicBezTo>
                    <a:pt x="276615" y="144948"/>
                    <a:pt x="277157" y="150357"/>
                    <a:pt x="276615" y="156306"/>
                  </a:cubicBezTo>
                  <a:cubicBezTo>
                    <a:pt x="276075" y="162256"/>
                    <a:pt x="273911" y="167664"/>
                    <a:pt x="272830" y="173073"/>
                  </a:cubicBezTo>
                  <a:cubicBezTo>
                    <a:pt x="271207" y="178481"/>
                    <a:pt x="270125" y="184430"/>
                    <a:pt x="267962" y="189298"/>
                  </a:cubicBezTo>
                  <a:cubicBezTo>
                    <a:pt x="265798" y="194707"/>
                    <a:pt x="263636" y="199574"/>
                    <a:pt x="260931" y="204983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690CA6B9-9696-DBBC-4951-315BDF77C1BD}"/>
                </a:ext>
              </a:extLst>
            </p:cNvPr>
            <p:cNvSpPr/>
            <p:nvPr/>
          </p:nvSpPr>
          <p:spPr>
            <a:xfrm>
              <a:off x="8717085" y="6165143"/>
              <a:ext cx="77477" cy="153060"/>
            </a:xfrm>
            <a:custGeom>
              <a:avLst/>
              <a:gdLst>
                <a:gd name="connsiteX0" fmla="*/ 0 w 77477"/>
                <a:gd name="connsiteY0" fmla="*/ 153061 h 153060"/>
                <a:gd name="connsiteX1" fmla="*/ 17308 w 77477"/>
                <a:gd name="connsiteY1" fmla="*/ 150897 h 153060"/>
                <a:gd name="connsiteX2" fmla="*/ 33533 w 77477"/>
                <a:gd name="connsiteY2" fmla="*/ 144948 h 153060"/>
                <a:gd name="connsiteX3" fmla="*/ 48677 w 77477"/>
                <a:gd name="connsiteY3" fmla="*/ 136294 h 153060"/>
                <a:gd name="connsiteX4" fmla="*/ 60576 w 77477"/>
                <a:gd name="connsiteY4" fmla="*/ 123855 h 153060"/>
                <a:gd name="connsiteX5" fmla="*/ 69229 w 77477"/>
                <a:gd name="connsiteY5" fmla="*/ 109252 h 153060"/>
                <a:gd name="connsiteX6" fmla="*/ 76801 w 77477"/>
                <a:gd name="connsiteY6" fmla="*/ 93567 h 153060"/>
                <a:gd name="connsiteX7" fmla="*/ 77342 w 77477"/>
                <a:gd name="connsiteY7" fmla="*/ 76260 h 153060"/>
                <a:gd name="connsiteX8" fmla="*/ 74097 w 77477"/>
                <a:gd name="connsiteY8" fmla="*/ 59494 h 153060"/>
                <a:gd name="connsiteX9" fmla="*/ 68689 w 77477"/>
                <a:gd name="connsiteY9" fmla="*/ 43268 h 153060"/>
                <a:gd name="connsiteX10" fmla="*/ 59494 w 77477"/>
                <a:gd name="connsiteY10" fmla="*/ 28665 h 153060"/>
                <a:gd name="connsiteX11" fmla="*/ 48136 w 77477"/>
                <a:gd name="connsiteY11" fmla="*/ 15685 h 153060"/>
                <a:gd name="connsiteX12" fmla="*/ 32992 w 77477"/>
                <a:gd name="connsiteY12" fmla="*/ 7031 h 153060"/>
                <a:gd name="connsiteX13" fmla="*/ 16767 w 77477"/>
                <a:gd name="connsiteY13" fmla="*/ 2163 h 153060"/>
                <a:gd name="connsiteX14" fmla="*/ 0 w 77477"/>
                <a:gd name="connsiteY14" fmla="*/ 0 h 153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7477" h="153060">
                  <a:moveTo>
                    <a:pt x="0" y="153061"/>
                  </a:moveTo>
                  <a:cubicBezTo>
                    <a:pt x="5950" y="153061"/>
                    <a:pt x="11358" y="151979"/>
                    <a:pt x="17308" y="150897"/>
                  </a:cubicBezTo>
                  <a:cubicBezTo>
                    <a:pt x="23257" y="149816"/>
                    <a:pt x="28125" y="147652"/>
                    <a:pt x="33533" y="144948"/>
                  </a:cubicBezTo>
                  <a:cubicBezTo>
                    <a:pt x="38942" y="142244"/>
                    <a:pt x="43810" y="140080"/>
                    <a:pt x="48677" y="136294"/>
                  </a:cubicBezTo>
                  <a:cubicBezTo>
                    <a:pt x="53004" y="132509"/>
                    <a:pt x="57331" y="128182"/>
                    <a:pt x="60576" y="123855"/>
                  </a:cubicBezTo>
                  <a:cubicBezTo>
                    <a:pt x="64361" y="119528"/>
                    <a:pt x="67066" y="114120"/>
                    <a:pt x="69229" y="109252"/>
                  </a:cubicBezTo>
                  <a:cubicBezTo>
                    <a:pt x="71934" y="103843"/>
                    <a:pt x="75179" y="98976"/>
                    <a:pt x="76801" y="93567"/>
                  </a:cubicBezTo>
                  <a:cubicBezTo>
                    <a:pt x="77883" y="88159"/>
                    <a:pt x="77342" y="82209"/>
                    <a:pt x="77342" y="76260"/>
                  </a:cubicBezTo>
                  <a:cubicBezTo>
                    <a:pt x="77342" y="70311"/>
                    <a:pt x="75179" y="64902"/>
                    <a:pt x="74097" y="59494"/>
                  </a:cubicBezTo>
                  <a:cubicBezTo>
                    <a:pt x="73015" y="53544"/>
                    <a:pt x="71393" y="48136"/>
                    <a:pt x="68689" y="43268"/>
                  </a:cubicBezTo>
                  <a:cubicBezTo>
                    <a:pt x="65984" y="37860"/>
                    <a:pt x="63280" y="32992"/>
                    <a:pt x="59494" y="28665"/>
                  </a:cubicBezTo>
                  <a:cubicBezTo>
                    <a:pt x="55708" y="24338"/>
                    <a:pt x="52463" y="19471"/>
                    <a:pt x="48136" y="15685"/>
                  </a:cubicBezTo>
                  <a:cubicBezTo>
                    <a:pt x="43810" y="11898"/>
                    <a:pt x="38401" y="9735"/>
                    <a:pt x="32992" y="7031"/>
                  </a:cubicBezTo>
                  <a:cubicBezTo>
                    <a:pt x="27584" y="4327"/>
                    <a:pt x="22175" y="3245"/>
                    <a:pt x="16767" y="2163"/>
                  </a:cubicBezTo>
                  <a:cubicBezTo>
                    <a:pt x="11358" y="1081"/>
                    <a:pt x="5950" y="0"/>
                    <a:pt x="0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53BB0C6C-C77C-E40E-8879-B3C9B4BE86A2}"/>
                </a:ext>
              </a:extLst>
            </p:cNvPr>
            <p:cNvSpPr/>
            <p:nvPr/>
          </p:nvSpPr>
          <p:spPr>
            <a:xfrm>
              <a:off x="8791723" y="6213820"/>
              <a:ext cx="45972" cy="45972"/>
            </a:xfrm>
            <a:custGeom>
              <a:avLst/>
              <a:gdLst>
                <a:gd name="connsiteX0" fmla="*/ 45972 w 45972"/>
                <a:gd name="connsiteY0" fmla="*/ 45972 h 45972"/>
                <a:gd name="connsiteX1" fmla="*/ 41645 w 45972"/>
                <a:gd name="connsiteY1" fmla="*/ 29206 h 45972"/>
                <a:gd name="connsiteX2" fmla="*/ 32451 w 45972"/>
                <a:gd name="connsiteY2" fmla="*/ 14062 h 45972"/>
                <a:gd name="connsiteX3" fmla="*/ 16766 w 45972"/>
                <a:gd name="connsiteY3" fmla="*/ 5949 h 45972"/>
                <a:gd name="connsiteX4" fmla="*/ 0 w 45972"/>
                <a:gd name="connsiteY4" fmla="*/ 0 h 459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972" h="45972">
                  <a:moveTo>
                    <a:pt x="45972" y="45972"/>
                  </a:moveTo>
                  <a:cubicBezTo>
                    <a:pt x="45972" y="40023"/>
                    <a:pt x="43809" y="34074"/>
                    <a:pt x="41645" y="29206"/>
                  </a:cubicBezTo>
                  <a:cubicBezTo>
                    <a:pt x="39482" y="23797"/>
                    <a:pt x="36778" y="18389"/>
                    <a:pt x="32451" y="14062"/>
                  </a:cubicBezTo>
                  <a:cubicBezTo>
                    <a:pt x="28124" y="9735"/>
                    <a:pt x="22716" y="8113"/>
                    <a:pt x="16766" y="5949"/>
                  </a:cubicBezTo>
                  <a:cubicBezTo>
                    <a:pt x="11358" y="3786"/>
                    <a:pt x="5949" y="0"/>
                    <a:pt x="0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AF84D8C6-B52F-7D73-9672-EB5807E7C59D}"/>
                </a:ext>
              </a:extLst>
            </p:cNvPr>
            <p:cNvSpPr/>
            <p:nvPr/>
          </p:nvSpPr>
          <p:spPr>
            <a:xfrm>
              <a:off x="8845808" y="6256547"/>
              <a:ext cx="28124" cy="57871"/>
            </a:xfrm>
            <a:custGeom>
              <a:avLst/>
              <a:gdLst>
                <a:gd name="connsiteX0" fmla="*/ 0 w 28124"/>
                <a:gd name="connsiteY0" fmla="*/ 57871 h 57871"/>
                <a:gd name="connsiteX1" fmla="*/ 14603 w 28124"/>
                <a:gd name="connsiteY1" fmla="*/ 55167 h 57871"/>
                <a:gd name="connsiteX2" fmla="*/ 24338 w 28124"/>
                <a:gd name="connsiteY2" fmla="*/ 43809 h 57871"/>
                <a:gd name="connsiteX3" fmla="*/ 28124 w 28124"/>
                <a:gd name="connsiteY3" fmla="*/ 29747 h 57871"/>
                <a:gd name="connsiteX4" fmla="*/ 24879 w 28124"/>
                <a:gd name="connsiteY4" fmla="*/ 15144 h 57871"/>
                <a:gd name="connsiteX5" fmla="*/ 14603 w 28124"/>
                <a:gd name="connsiteY5" fmla="*/ 4327 h 57871"/>
                <a:gd name="connsiteX6" fmla="*/ 0 w 28124"/>
                <a:gd name="connsiteY6" fmla="*/ 0 h 578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124" h="57871">
                  <a:moveTo>
                    <a:pt x="0" y="57871"/>
                  </a:moveTo>
                  <a:cubicBezTo>
                    <a:pt x="5409" y="57871"/>
                    <a:pt x="10276" y="57871"/>
                    <a:pt x="14603" y="55167"/>
                  </a:cubicBezTo>
                  <a:cubicBezTo>
                    <a:pt x="18930" y="52463"/>
                    <a:pt x="22175" y="48677"/>
                    <a:pt x="24338" y="43809"/>
                  </a:cubicBezTo>
                  <a:cubicBezTo>
                    <a:pt x="27043" y="39482"/>
                    <a:pt x="28124" y="34615"/>
                    <a:pt x="28124" y="29747"/>
                  </a:cubicBezTo>
                  <a:cubicBezTo>
                    <a:pt x="28124" y="24338"/>
                    <a:pt x="27043" y="19471"/>
                    <a:pt x="24879" y="15144"/>
                  </a:cubicBezTo>
                  <a:cubicBezTo>
                    <a:pt x="22175" y="10817"/>
                    <a:pt x="18930" y="7031"/>
                    <a:pt x="14603" y="4327"/>
                  </a:cubicBezTo>
                  <a:cubicBezTo>
                    <a:pt x="10276" y="1622"/>
                    <a:pt x="5409" y="0"/>
                    <a:pt x="0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7A3C76BF-758E-1BAA-C41E-5E39CABB863C}"/>
                </a:ext>
              </a:extLst>
            </p:cNvPr>
            <p:cNvSpPr/>
            <p:nvPr/>
          </p:nvSpPr>
          <p:spPr>
            <a:xfrm>
              <a:off x="8165958" y="6427067"/>
              <a:ext cx="592773" cy="52877"/>
            </a:xfrm>
            <a:custGeom>
              <a:avLst/>
              <a:gdLst>
                <a:gd name="connsiteX0" fmla="*/ 0 w 592773"/>
                <a:gd name="connsiteY0" fmla="*/ 42034 h 52877"/>
                <a:gd name="connsiteX1" fmla="*/ 17307 w 592773"/>
                <a:gd name="connsiteY1" fmla="*/ 42575 h 52877"/>
                <a:gd name="connsiteX2" fmla="*/ 34614 w 592773"/>
                <a:gd name="connsiteY2" fmla="*/ 43657 h 52877"/>
                <a:gd name="connsiteX3" fmla="*/ 51922 w 592773"/>
                <a:gd name="connsiteY3" fmla="*/ 40953 h 52877"/>
                <a:gd name="connsiteX4" fmla="*/ 69229 w 592773"/>
                <a:gd name="connsiteY4" fmla="*/ 42034 h 52877"/>
                <a:gd name="connsiteX5" fmla="*/ 86536 w 592773"/>
                <a:gd name="connsiteY5" fmla="*/ 42575 h 52877"/>
                <a:gd name="connsiteX6" fmla="*/ 103843 w 592773"/>
                <a:gd name="connsiteY6" fmla="*/ 42034 h 52877"/>
                <a:gd name="connsiteX7" fmla="*/ 121150 w 592773"/>
                <a:gd name="connsiteY7" fmla="*/ 42034 h 52877"/>
                <a:gd name="connsiteX8" fmla="*/ 138458 w 592773"/>
                <a:gd name="connsiteY8" fmla="*/ 40953 h 52877"/>
                <a:gd name="connsiteX9" fmla="*/ 155765 w 592773"/>
                <a:gd name="connsiteY9" fmla="*/ 41493 h 52877"/>
                <a:gd name="connsiteX10" fmla="*/ 173073 w 592773"/>
                <a:gd name="connsiteY10" fmla="*/ 42034 h 52877"/>
                <a:gd name="connsiteX11" fmla="*/ 190380 w 592773"/>
                <a:gd name="connsiteY11" fmla="*/ 41493 h 52877"/>
                <a:gd name="connsiteX12" fmla="*/ 207687 w 592773"/>
                <a:gd name="connsiteY12" fmla="*/ 42575 h 52877"/>
                <a:gd name="connsiteX13" fmla="*/ 224994 w 592773"/>
                <a:gd name="connsiteY13" fmla="*/ 43657 h 52877"/>
                <a:gd name="connsiteX14" fmla="*/ 242301 w 592773"/>
                <a:gd name="connsiteY14" fmla="*/ 42575 h 52877"/>
                <a:gd name="connsiteX15" fmla="*/ 259609 w 592773"/>
                <a:gd name="connsiteY15" fmla="*/ 42575 h 52877"/>
                <a:gd name="connsiteX16" fmla="*/ 275293 w 592773"/>
                <a:gd name="connsiteY16" fmla="*/ 30676 h 52877"/>
                <a:gd name="connsiteX17" fmla="*/ 291519 w 592773"/>
                <a:gd name="connsiteY17" fmla="*/ 19859 h 52877"/>
                <a:gd name="connsiteX18" fmla="*/ 309367 w 592773"/>
                <a:gd name="connsiteY18" fmla="*/ 11206 h 52877"/>
                <a:gd name="connsiteX19" fmla="*/ 325052 w 592773"/>
                <a:gd name="connsiteY19" fmla="*/ 929 h 52877"/>
                <a:gd name="connsiteX20" fmla="*/ 316939 w 592773"/>
                <a:gd name="connsiteY20" fmla="*/ 13910 h 52877"/>
                <a:gd name="connsiteX21" fmla="*/ 307744 w 592773"/>
                <a:gd name="connsiteY21" fmla="*/ 27972 h 52877"/>
                <a:gd name="connsiteX22" fmla="*/ 299631 w 592773"/>
                <a:gd name="connsiteY22" fmla="*/ 41493 h 52877"/>
                <a:gd name="connsiteX23" fmla="*/ 314775 w 592773"/>
                <a:gd name="connsiteY23" fmla="*/ 39330 h 52877"/>
                <a:gd name="connsiteX24" fmla="*/ 329920 w 592773"/>
                <a:gd name="connsiteY24" fmla="*/ 33381 h 52877"/>
                <a:gd name="connsiteX25" fmla="*/ 345063 w 592773"/>
                <a:gd name="connsiteY25" fmla="*/ 31217 h 52877"/>
                <a:gd name="connsiteX26" fmla="*/ 335328 w 592773"/>
                <a:gd name="connsiteY26" fmla="*/ 39871 h 52877"/>
                <a:gd name="connsiteX27" fmla="*/ 324511 w 592773"/>
                <a:gd name="connsiteY27" fmla="*/ 49606 h 52877"/>
                <a:gd name="connsiteX28" fmla="*/ 342899 w 592773"/>
                <a:gd name="connsiteY28" fmla="*/ 50147 h 52877"/>
                <a:gd name="connsiteX29" fmla="*/ 360748 w 592773"/>
                <a:gd name="connsiteY29" fmla="*/ 49065 h 52877"/>
                <a:gd name="connsiteX30" fmla="*/ 378596 w 592773"/>
                <a:gd name="connsiteY30" fmla="*/ 47984 h 52877"/>
                <a:gd name="connsiteX31" fmla="*/ 396444 w 592773"/>
                <a:gd name="connsiteY31" fmla="*/ 48524 h 52877"/>
                <a:gd name="connsiteX32" fmla="*/ 414292 w 592773"/>
                <a:gd name="connsiteY32" fmla="*/ 47984 h 52877"/>
                <a:gd name="connsiteX33" fmla="*/ 432140 w 592773"/>
                <a:gd name="connsiteY33" fmla="*/ 47443 h 52877"/>
                <a:gd name="connsiteX34" fmla="*/ 449988 w 592773"/>
                <a:gd name="connsiteY34" fmla="*/ 47984 h 52877"/>
                <a:gd name="connsiteX35" fmla="*/ 467837 w 592773"/>
                <a:gd name="connsiteY35" fmla="*/ 47984 h 52877"/>
                <a:gd name="connsiteX36" fmla="*/ 485684 w 592773"/>
                <a:gd name="connsiteY36" fmla="*/ 49606 h 52877"/>
                <a:gd name="connsiteX37" fmla="*/ 503533 w 592773"/>
                <a:gd name="connsiteY37" fmla="*/ 49606 h 52877"/>
                <a:gd name="connsiteX38" fmla="*/ 521381 w 592773"/>
                <a:gd name="connsiteY38" fmla="*/ 48524 h 52877"/>
                <a:gd name="connsiteX39" fmla="*/ 539229 w 592773"/>
                <a:gd name="connsiteY39" fmla="*/ 47984 h 52877"/>
                <a:gd name="connsiteX40" fmla="*/ 557077 w 592773"/>
                <a:gd name="connsiteY40" fmla="*/ 49606 h 52877"/>
                <a:gd name="connsiteX41" fmla="*/ 574925 w 592773"/>
                <a:gd name="connsiteY41" fmla="*/ 49606 h 52877"/>
                <a:gd name="connsiteX42" fmla="*/ 592773 w 592773"/>
                <a:gd name="connsiteY42" fmla="*/ 47984 h 52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592773" h="52877">
                  <a:moveTo>
                    <a:pt x="0" y="42034"/>
                  </a:moveTo>
                  <a:cubicBezTo>
                    <a:pt x="8653" y="42034"/>
                    <a:pt x="8653" y="42575"/>
                    <a:pt x="17307" y="42575"/>
                  </a:cubicBezTo>
                  <a:cubicBezTo>
                    <a:pt x="25960" y="42575"/>
                    <a:pt x="25960" y="43657"/>
                    <a:pt x="34614" y="43657"/>
                  </a:cubicBezTo>
                  <a:cubicBezTo>
                    <a:pt x="43268" y="43657"/>
                    <a:pt x="43268" y="40953"/>
                    <a:pt x="51922" y="40953"/>
                  </a:cubicBezTo>
                  <a:cubicBezTo>
                    <a:pt x="60575" y="40953"/>
                    <a:pt x="60575" y="42034"/>
                    <a:pt x="69229" y="42034"/>
                  </a:cubicBezTo>
                  <a:cubicBezTo>
                    <a:pt x="77882" y="42034"/>
                    <a:pt x="77882" y="42575"/>
                    <a:pt x="86536" y="42575"/>
                  </a:cubicBezTo>
                  <a:cubicBezTo>
                    <a:pt x="95190" y="42575"/>
                    <a:pt x="95190" y="42034"/>
                    <a:pt x="103843" y="42034"/>
                  </a:cubicBezTo>
                  <a:cubicBezTo>
                    <a:pt x="112497" y="42034"/>
                    <a:pt x="112497" y="42034"/>
                    <a:pt x="121150" y="42034"/>
                  </a:cubicBezTo>
                  <a:cubicBezTo>
                    <a:pt x="129804" y="42034"/>
                    <a:pt x="129804" y="40953"/>
                    <a:pt x="138458" y="40953"/>
                  </a:cubicBezTo>
                  <a:cubicBezTo>
                    <a:pt x="147111" y="40953"/>
                    <a:pt x="147111" y="41493"/>
                    <a:pt x="155765" y="41493"/>
                  </a:cubicBezTo>
                  <a:cubicBezTo>
                    <a:pt x="164418" y="41493"/>
                    <a:pt x="164418" y="42034"/>
                    <a:pt x="173073" y="42034"/>
                  </a:cubicBezTo>
                  <a:cubicBezTo>
                    <a:pt x="181726" y="42034"/>
                    <a:pt x="181726" y="41493"/>
                    <a:pt x="190380" y="41493"/>
                  </a:cubicBezTo>
                  <a:cubicBezTo>
                    <a:pt x="199033" y="41493"/>
                    <a:pt x="199033" y="42575"/>
                    <a:pt x="207687" y="42575"/>
                  </a:cubicBezTo>
                  <a:cubicBezTo>
                    <a:pt x="216341" y="42575"/>
                    <a:pt x="216341" y="43657"/>
                    <a:pt x="224994" y="43657"/>
                  </a:cubicBezTo>
                  <a:cubicBezTo>
                    <a:pt x="233648" y="43657"/>
                    <a:pt x="233648" y="42575"/>
                    <a:pt x="242301" y="42575"/>
                  </a:cubicBezTo>
                  <a:cubicBezTo>
                    <a:pt x="250955" y="42575"/>
                    <a:pt x="251496" y="45279"/>
                    <a:pt x="259609" y="42575"/>
                  </a:cubicBezTo>
                  <a:cubicBezTo>
                    <a:pt x="268803" y="39871"/>
                    <a:pt x="267180" y="36085"/>
                    <a:pt x="275293" y="30676"/>
                  </a:cubicBezTo>
                  <a:cubicBezTo>
                    <a:pt x="283406" y="25268"/>
                    <a:pt x="283406" y="25268"/>
                    <a:pt x="291519" y="19859"/>
                  </a:cubicBezTo>
                  <a:cubicBezTo>
                    <a:pt x="299631" y="14451"/>
                    <a:pt x="301254" y="16614"/>
                    <a:pt x="309367" y="11206"/>
                  </a:cubicBezTo>
                  <a:cubicBezTo>
                    <a:pt x="317480" y="5797"/>
                    <a:pt x="315857" y="-2857"/>
                    <a:pt x="325052" y="929"/>
                  </a:cubicBezTo>
                  <a:cubicBezTo>
                    <a:pt x="332624" y="4174"/>
                    <a:pt x="321265" y="6879"/>
                    <a:pt x="316939" y="13910"/>
                  </a:cubicBezTo>
                  <a:cubicBezTo>
                    <a:pt x="312612" y="20941"/>
                    <a:pt x="312071" y="20941"/>
                    <a:pt x="307744" y="27972"/>
                  </a:cubicBezTo>
                  <a:cubicBezTo>
                    <a:pt x="303418" y="35003"/>
                    <a:pt x="295305" y="34462"/>
                    <a:pt x="299631" y="41493"/>
                  </a:cubicBezTo>
                  <a:cubicBezTo>
                    <a:pt x="303958" y="47984"/>
                    <a:pt x="306663" y="41493"/>
                    <a:pt x="314775" y="39330"/>
                  </a:cubicBezTo>
                  <a:cubicBezTo>
                    <a:pt x="322348" y="37167"/>
                    <a:pt x="321807" y="35003"/>
                    <a:pt x="329920" y="33381"/>
                  </a:cubicBezTo>
                  <a:cubicBezTo>
                    <a:pt x="337491" y="31217"/>
                    <a:pt x="339655" y="25268"/>
                    <a:pt x="345063" y="31217"/>
                  </a:cubicBezTo>
                  <a:cubicBezTo>
                    <a:pt x="349931" y="36085"/>
                    <a:pt x="340195" y="35003"/>
                    <a:pt x="335328" y="39871"/>
                  </a:cubicBezTo>
                  <a:cubicBezTo>
                    <a:pt x="330460" y="44198"/>
                    <a:pt x="320184" y="44738"/>
                    <a:pt x="324511" y="49606"/>
                  </a:cubicBezTo>
                  <a:cubicBezTo>
                    <a:pt x="330460" y="56637"/>
                    <a:pt x="334246" y="50147"/>
                    <a:pt x="342899" y="50147"/>
                  </a:cubicBezTo>
                  <a:cubicBezTo>
                    <a:pt x="351554" y="50147"/>
                    <a:pt x="351554" y="49065"/>
                    <a:pt x="360748" y="49065"/>
                  </a:cubicBezTo>
                  <a:cubicBezTo>
                    <a:pt x="369401" y="49065"/>
                    <a:pt x="369401" y="47984"/>
                    <a:pt x="378596" y="47984"/>
                  </a:cubicBezTo>
                  <a:cubicBezTo>
                    <a:pt x="387250" y="47984"/>
                    <a:pt x="387250" y="48524"/>
                    <a:pt x="396444" y="48524"/>
                  </a:cubicBezTo>
                  <a:cubicBezTo>
                    <a:pt x="405097" y="48524"/>
                    <a:pt x="405097" y="47984"/>
                    <a:pt x="414292" y="47984"/>
                  </a:cubicBezTo>
                  <a:cubicBezTo>
                    <a:pt x="422946" y="47984"/>
                    <a:pt x="422946" y="47443"/>
                    <a:pt x="432140" y="47443"/>
                  </a:cubicBezTo>
                  <a:cubicBezTo>
                    <a:pt x="440794" y="47443"/>
                    <a:pt x="440794" y="47984"/>
                    <a:pt x="449988" y="47984"/>
                  </a:cubicBezTo>
                  <a:cubicBezTo>
                    <a:pt x="458642" y="47984"/>
                    <a:pt x="458642" y="47984"/>
                    <a:pt x="467837" y="47984"/>
                  </a:cubicBezTo>
                  <a:cubicBezTo>
                    <a:pt x="476490" y="47984"/>
                    <a:pt x="476490" y="49606"/>
                    <a:pt x="485684" y="49606"/>
                  </a:cubicBezTo>
                  <a:cubicBezTo>
                    <a:pt x="494338" y="49606"/>
                    <a:pt x="494338" y="49606"/>
                    <a:pt x="503533" y="49606"/>
                  </a:cubicBezTo>
                  <a:cubicBezTo>
                    <a:pt x="512186" y="49606"/>
                    <a:pt x="512186" y="48524"/>
                    <a:pt x="521381" y="48524"/>
                  </a:cubicBezTo>
                  <a:cubicBezTo>
                    <a:pt x="530035" y="48524"/>
                    <a:pt x="530035" y="47984"/>
                    <a:pt x="539229" y="47984"/>
                  </a:cubicBezTo>
                  <a:cubicBezTo>
                    <a:pt x="547882" y="47984"/>
                    <a:pt x="547882" y="49606"/>
                    <a:pt x="557077" y="49606"/>
                  </a:cubicBezTo>
                  <a:cubicBezTo>
                    <a:pt x="565731" y="49606"/>
                    <a:pt x="565731" y="49606"/>
                    <a:pt x="574925" y="49606"/>
                  </a:cubicBezTo>
                  <a:cubicBezTo>
                    <a:pt x="584120" y="49606"/>
                    <a:pt x="583579" y="47984"/>
                    <a:pt x="592773" y="47984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02C0DF39-B222-9A65-DD69-8D4939C649F4}"/>
              </a:ext>
            </a:extLst>
          </p:cNvPr>
          <p:cNvGrpSpPr/>
          <p:nvPr/>
        </p:nvGrpSpPr>
        <p:grpSpPr>
          <a:xfrm>
            <a:off x="1228864" y="3427637"/>
            <a:ext cx="954753" cy="1101112"/>
            <a:chOff x="9475842" y="2213929"/>
            <a:chExt cx="1007606" cy="1162067"/>
          </a:xfrm>
        </p:grpSpPr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E6A43AF0-1FDC-A32B-3D1E-C8052541D798}"/>
                </a:ext>
              </a:extLst>
            </p:cNvPr>
            <p:cNvSpPr/>
            <p:nvPr/>
          </p:nvSpPr>
          <p:spPr>
            <a:xfrm>
              <a:off x="9476383" y="2213929"/>
              <a:ext cx="755165" cy="1161525"/>
            </a:xfrm>
            <a:custGeom>
              <a:avLst/>
              <a:gdLst>
                <a:gd name="connsiteX0" fmla="*/ 716629 w 755165"/>
                <a:gd name="connsiteY0" fmla="*/ 859731 h 1161525"/>
                <a:gd name="connsiteX1" fmla="*/ 678228 w 755165"/>
                <a:gd name="connsiteY1" fmla="*/ 715864 h 1161525"/>
                <a:gd name="connsiteX2" fmla="*/ 651726 w 755165"/>
                <a:gd name="connsiteY2" fmla="*/ 729386 h 1161525"/>
                <a:gd name="connsiteX3" fmla="*/ 653349 w 755165"/>
                <a:gd name="connsiteY3" fmla="*/ 609857 h 1161525"/>
                <a:gd name="connsiteX4" fmla="*/ 671197 w 755165"/>
                <a:gd name="connsiteY4" fmla="*/ 561180 h 1161525"/>
                <a:gd name="connsiteX5" fmla="*/ 601968 w 755165"/>
                <a:gd name="connsiteY5" fmla="*/ 395680 h 1161525"/>
                <a:gd name="connsiteX6" fmla="*/ 612244 w 755165"/>
                <a:gd name="connsiteY6" fmla="*/ 381077 h 1161525"/>
                <a:gd name="connsiteX7" fmla="*/ 547882 w 755165"/>
                <a:gd name="connsiteY7" fmla="*/ 255599 h 1161525"/>
                <a:gd name="connsiteX8" fmla="*/ 515972 w 755165"/>
                <a:gd name="connsiteY8" fmla="*/ 116060 h 1161525"/>
                <a:gd name="connsiteX9" fmla="*/ 504074 w 755165"/>
                <a:gd name="connsiteY9" fmla="*/ 44126 h 1161525"/>
                <a:gd name="connsiteX10" fmla="*/ 400771 w 755165"/>
                <a:gd name="connsiteY10" fmla="*/ 112815 h 1161525"/>
                <a:gd name="connsiteX11" fmla="*/ 270426 w 755165"/>
                <a:gd name="connsiteY11" fmla="*/ 280479 h 1161525"/>
                <a:gd name="connsiteX12" fmla="*/ 94108 w 755165"/>
                <a:gd name="connsiteY12" fmla="*/ 432999 h 1161525"/>
                <a:gd name="connsiteX13" fmla="*/ 207146 w 755165"/>
                <a:gd name="connsiteY13" fmla="*/ 553609 h 1161525"/>
                <a:gd name="connsiteX14" fmla="*/ 212554 w 755165"/>
                <a:gd name="connsiteY14" fmla="*/ 588764 h 1161525"/>
                <a:gd name="connsiteX15" fmla="*/ 157388 w 755165"/>
                <a:gd name="connsiteY15" fmla="*/ 597959 h 1161525"/>
                <a:gd name="connsiteX16" fmla="*/ 117905 w 755165"/>
                <a:gd name="connsiteY16" fmla="*/ 684495 h 1161525"/>
                <a:gd name="connsiteX17" fmla="*/ 133049 w 755165"/>
                <a:gd name="connsiteY17" fmla="*/ 748856 h 1161525"/>
                <a:gd name="connsiteX18" fmla="*/ 69229 w 755165"/>
                <a:gd name="connsiteY18" fmla="*/ 785093 h 1161525"/>
                <a:gd name="connsiteX19" fmla="*/ 56789 w 755165"/>
                <a:gd name="connsiteY19" fmla="*/ 847291 h 1161525"/>
                <a:gd name="connsiteX20" fmla="*/ 81128 w 755165"/>
                <a:gd name="connsiteY20" fmla="*/ 894886 h 1161525"/>
                <a:gd name="connsiteX21" fmla="*/ 81128 w 755165"/>
                <a:gd name="connsiteY21" fmla="*/ 894886 h 1161525"/>
                <a:gd name="connsiteX22" fmla="*/ 0 w 755165"/>
                <a:gd name="connsiteY22" fmla="*/ 1029558 h 1161525"/>
                <a:gd name="connsiteX23" fmla="*/ 76260 w 755165"/>
                <a:gd name="connsiteY23" fmla="*/ 1161526 h 1161525"/>
                <a:gd name="connsiteX24" fmla="*/ 228239 w 755165"/>
                <a:gd name="connsiteY24" fmla="*/ 1161526 h 1161525"/>
                <a:gd name="connsiteX25" fmla="*/ 304499 w 755165"/>
                <a:gd name="connsiteY25" fmla="*/ 1029558 h 1161525"/>
                <a:gd name="connsiteX26" fmla="*/ 303958 w 755165"/>
                <a:gd name="connsiteY26" fmla="*/ 1019282 h 1161525"/>
                <a:gd name="connsiteX27" fmla="*/ 304499 w 755165"/>
                <a:gd name="connsiteY27" fmla="*/ 1019282 h 1161525"/>
                <a:gd name="connsiteX28" fmla="*/ 409425 w 755165"/>
                <a:gd name="connsiteY28" fmla="*/ 935450 h 1161525"/>
                <a:gd name="connsiteX29" fmla="*/ 452693 w 755165"/>
                <a:gd name="connsiteY29" fmla="*/ 1032803 h 1161525"/>
                <a:gd name="connsiteX30" fmla="*/ 608999 w 755165"/>
                <a:gd name="connsiteY30" fmla="*/ 967901 h 1161525"/>
                <a:gd name="connsiteX31" fmla="*/ 644695 w 755165"/>
                <a:gd name="connsiteY31" fmla="*/ 1101492 h 1161525"/>
                <a:gd name="connsiteX32" fmla="*/ 669574 w 755165"/>
                <a:gd name="connsiteY32" fmla="*/ 1101492 h 1161525"/>
                <a:gd name="connsiteX33" fmla="*/ 748538 w 755165"/>
                <a:gd name="connsiteY33" fmla="*/ 924092 h 1161525"/>
                <a:gd name="connsiteX34" fmla="*/ 716629 w 755165"/>
                <a:gd name="connsiteY34" fmla="*/ 859731 h 1161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755165" h="1161525">
                  <a:moveTo>
                    <a:pt x="716629" y="859731"/>
                  </a:moveTo>
                  <a:cubicBezTo>
                    <a:pt x="790725" y="749938"/>
                    <a:pt x="746916" y="689903"/>
                    <a:pt x="678228" y="715864"/>
                  </a:cubicBezTo>
                  <a:lnTo>
                    <a:pt x="651726" y="729386"/>
                  </a:lnTo>
                  <a:cubicBezTo>
                    <a:pt x="726904" y="620674"/>
                    <a:pt x="714465" y="569293"/>
                    <a:pt x="653349" y="609857"/>
                  </a:cubicBezTo>
                  <a:lnTo>
                    <a:pt x="671197" y="561180"/>
                  </a:lnTo>
                  <a:cubicBezTo>
                    <a:pt x="687422" y="468695"/>
                    <a:pt x="662543" y="408660"/>
                    <a:pt x="601968" y="395680"/>
                  </a:cubicBezTo>
                  <a:lnTo>
                    <a:pt x="612244" y="381077"/>
                  </a:lnTo>
                  <a:cubicBezTo>
                    <a:pt x="643614" y="305358"/>
                    <a:pt x="629010" y="229098"/>
                    <a:pt x="547882" y="255599"/>
                  </a:cubicBezTo>
                  <a:cubicBezTo>
                    <a:pt x="586283" y="190697"/>
                    <a:pt x="578170" y="108488"/>
                    <a:pt x="515972" y="116060"/>
                  </a:cubicBezTo>
                  <a:cubicBezTo>
                    <a:pt x="564649" y="54402"/>
                    <a:pt x="534902" y="11675"/>
                    <a:pt x="504074" y="44126"/>
                  </a:cubicBezTo>
                  <a:cubicBezTo>
                    <a:pt x="509482" y="-32675"/>
                    <a:pt x="455397" y="-8877"/>
                    <a:pt x="400771" y="112815"/>
                  </a:cubicBezTo>
                  <a:cubicBezTo>
                    <a:pt x="361289" y="91180"/>
                    <a:pt x="295846" y="178257"/>
                    <a:pt x="270426" y="280479"/>
                  </a:cubicBezTo>
                  <a:cubicBezTo>
                    <a:pt x="209309" y="243701"/>
                    <a:pt x="108711" y="314552"/>
                    <a:pt x="94108" y="432999"/>
                  </a:cubicBezTo>
                  <a:cubicBezTo>
                    <a:pt x="87077" y="519535"/>
                    <a:pt x="136835" y="574702"/>
                    <a:pt x="207146" y="553609"/>
                  </a:cubicBezTo>
                  <a:lnTo>
                    <a:pt x="212554" y="588764"/>
                  </a:lnTo>
                  <a:cubicBezTo>
                    <a:pt x="191461" y="581192"/>
                    <a:pt x="172531" y="583356"/>
                    <a:pt x="157388" y="597959"/>
                  </a:cubicBezTo>
                  <a:cubicBezTo>
                    <a:pt x="141162" y="613102"/>
                    <a:pt x="128722" y="622297"/>
                    <a:pt x="117905" y="684495"/>
                  </a:cubicBezTo>
                  <a:lnTo>
                    <a:pt x="133049" y="748856"/>
                  </a:lnTo>
                  <a:cubicBezTo>
                    <a:pt x="108170" y="749938"/>
                    <a:pt x="86536" y="760214"/>
                    <a:pt x="69229" y="785093"/>
                  </a:cubicBezTo>
                  <a:cubicBezTo>
                    <a:pt x="56789" y="804564"/>
                    <a:pt x="52462" y="825116"/>
                    <a:pt x="56789" y="847291"/>
                  </a:cubicBezTo>
                  <a:cubicBezTo>
                    <a:pt x="58412" y="866221"/>
                    <a:pt x="67065" y="881906"/>
                    <a:pt x="81128" y="894886"/>
                  </a:cubicBezTo>
                  <a:lnTo>
                    <a:pt x="81128" y="894886"/>
                  </a:lnTo>
                  <a:cubicBezTo>
                    <a:pt x="32992" y="920306"/>
                    <a:pt x="0" y="971146"/>
                    <a:pt x="0" y="1029558"/>
                  </a:cubicBezTo>
                  <a:cubicBezTo>
                    <a:pt x="0" y="1085807"/>
                    <a:pt x="30828" y="1135024"/>
                    <a:pt x="76260" y="1161526"/>
                  </a:cubicBezTo>
                  <a:lnTo>
                    <a:pt x="228239" y="1161526"/>
                  </a:lnTo>
                  <a:cubicBezTo>
                    <a:pt x="273671" y="1135024"/>
                    <a:pt x="304499" y="1085807"/>
                    <a:pt x="304499" y="1029558"/>
                  </a:cubicBezTo>
                  <a:cubicBezTo>
                    <a:pt x="304499" y="1026313"/>
                    <a:pt x="304499" y="1022527"/>
                    <a:pt x="303958" y="1019282"/>
                  </a:cubicBezTo>
                  <a:lnTo>
                    <a:pt x="304499" y="1019282"/>
                  </a:lnTo>
                  <a:cubicBezTo>
                    <a:pt x="354258" y="1045243"/>
                    <a:pt x="384545" y="1000352"/>
                    <a:pt x="409425" y="935450"/>
                  </a:cubicBezTo>
                  <a:lnTo>
                    <a:pt x="452693" y="1032803"/>
                  </a:lnTo>
                  <a:cubicBezTo>
                    <a:pt x="553832" y="1096083"/>
                    <a:pt x="608999" y="967901"/>
                    <a:pt x="608999" y="967901"/>
                  </a:cubicBezTo>
                  <a:cubicBezTo>
                    <a:pt x="608999" y="967901"/>
                    <a:pt x="591691" y="1074449"/>
                    <a:pt x="644695" y="1101492"/>
                  </a:cubicBezTo>
                  <a:cubicBezTo>
                    <a:pt x="651726" y="1104737"/>
                    <a:pt x="660380" y="1100951"/>
                    <a:pt x="669574" y="1101492"/>
                  </a:cubicBezTo>
                  <a:cubicBezTo>
                    <a:pt x="733395" y="1091215"/>
                    <a:pt x="755570" y="990076"/>
                    <a:pt x="748538" y="924092"/>
                  </a:cubicBezTo>
                  <a:cubicBezTo>
                    <a:pt x="743671" y="879202"/>
                    <a:pt x="716629" y="859731"/>
                    <a:pt x="716629" y="859731"/>
                  </a:cubicBezTo>
                  <a:close/>
                </a:path>
              </a:pathLst>
            </a:custGeom>
            <a:solidFill>
              <a:srgbClr val="88BCAD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676F42A-12B1-0E5D-8031-2A0187DF0B18}"/>
                </a:ext>
              </a:extLst>
            </p:cNvPr>
            <p:cNvSpPr/>
            <p:nvPr/>
          </p:nvSpPr>
          <p:spPr>
            <a:xfrm>
              <a:off x="10270381" y="2777273"/>
              <a:ext cx="212910" cy="408343"/>
            </a:xfrm>
            <a:custGeom>
              <a:avLst/>
              <a:gdLst>
                <a:gd name="connsiteX0" fmla="*/ 106520 w 212910"/>
                <a:gd name="connsiteY0" fmla="*/ 408343 h 408343"/>
                <a:gd name="connsiteX1" fmla="*/ 180076 w 212910"/>
                <a:gd name="connsiteY1" fmla="*/ 334787 h 408343"/>
                <a:gd name="connsiteX2" fmla="*/ 202792 w 212910"/>
                <a:gd name="connsiteY2" fmla="*/ 208228 h 408343"/>
                <a:gd name="connsiteX3" fmla="*/ 107061 w 212910"/>
                <a:gd name="connsiteY3" fmla="*/ 0 h 408343"/>
                <a:gd name="connsiteX4" fmla="*/ 105979 w 212910"/>
                <a:gd name="connsiteY4" fmla="*/ 0 h 408343"/>
                <a:gd name="connsiteX5" fmla="*/ 10249 w 212910"/>
                <a:gd name="connsiteY5" fmla="*/ 208228 h 408343"/>
                <a:gd name="connsiteX6" fmla="*/ 32964 w 212910"/>
                <a:gd name="connsiteY6" fmla="*/ 334787 h 408343"/>
                <a:gd name="connsiteX7" fmla="*/ 71906 w 212910"/>
                <a:gd name="connsiteY7" fmla="*/ 373728 h 408343"/>
                <a:gd name="connsiteX8" fmla="*/ 106520 w 212910"/>
                <a:gd name="connsiteY8" fmla="*/ 408343 h 408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2910" h="408343">
                  <a:moveTo>
                    <a:pt x="106520" y="408343"/>
                  </a:moveTo>
                  <a:lnTo>
                    <a:pt x="180076" y="334787"/>
                  </a:lnTo>
                  <a:cubicBezTo>
                    <a:pt x="213068" y="301795"/>
                    <a:pt x="222262" y="250955"/>
                    <a:pt x="202792" y="208228"/>
                  </a:cubicBezTo>
                  <a:lnTo>
                    <a:pt x="107061" y="0"/>
                  </a:lnTo>
                  <a:lnTo>
                    <a:pt x="105979" y="0"/>
                  </a:lnTo>
                  <a:lnTo>
                    <a:pt x="10249" y="208228"/>
                  </a:lnTo>
                  <a:cubicBezTo>
                    <a:pt x="-9222" y="250955"/>
                    <a:pt x="-569" y="301254"/>
                    <a:pt x="32964" y="334787"/>
                  </a:cubicBezTo>
                  <a:lnTo>
                    <a:pt x="71906" y="373728"/>
                  </a:lnTo>
                  <a:lnTo>
                    <a:pt x="106520" y="408343"/>
                  </a:lnTo>
                  <a:close/>
                </a:path>
              </a:pathLst>
            </a:custGeom>
            <a:solidFill>
              <a:srgbClr val="88BCAC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D6E35EAC-1558-137E-1285-4BF63CDC559F}"/>
                </a:ext>
              </a:extLst>
            </p:cNvPr>
            <p:cNvSpPr/>
            <p:nvPr/>
          </p:nvSpPr>
          <p:spPr>
            <a:xfrm>
              <a:off x="9852816" y="2752394"/>
              <a:ext cx="150897" cy="623602"/>
            </a:xfrm>
            <a:custGeom>
              <a:avLst/>
              <a:gdLst>
                <a:gd name="connsiteX0" fmla="*/ 0 w 150897"/>
                <a:gd name="connsiteY0" fmla="*/ 76260 h 623602"/>
                <a:gd name="connsiteX1" fmla="*/ 0 w 150897"/>
                <a:gd name="connsiteY1" fmla="*/ 623602 h 623602"/>
                <a:gd name="connsiteX2" fmla="*/ 74096 w 150897"/>
                <a:gd name="connsiteY2" fmla="*/ 623602 h 623602"/>
                <a:gd name="connsiteX3" fmla="*/ 74096 w 150897"/>
                <a:gd name="connsiteY3" fmla="*/ 289356 h 623602"/>
                <a:gd name="connsiteX4" fmla="*/ 150898 w 150897"/>
                <a:gd name="connsiteY4" fmla="*/ 40023 h 623602"/>
                <a:gd name="connsiteX5" fmla="*/ 126559 w 150897"/>
                <a:gd name="connsiteY5" fmla="*/ 40023 h 623602"/>
                <a:gd name="connsiteX6" fmla="*/ 73556 w 150897"/>
                <a:gd name="connsiteY6" fmla="*/ 204983 h 623602"/>
                <a:gd name="connsiteX7" fmla="*/ 70311 w 150897"/>
                <a:gd name="connsiteY7" fmla="*/ 0 h 623602"/>
                <a:gd name="connsiteX8" fmla="*/ 48677 w 150897"/>
                <a:gd name="connsiteY8" fmla="*/ 0 h 623602"/>
                <a:gd name="connsiteX9" fmla="*/ 0 w 150897"/>
                <a:gd name="connsiteY9" fmla="*/ 76260 h 623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0897" h="623602">
                  <a:moveTo>
                    <a:pt x="0" y="76260"/>
                  </a:moveTo>
                  <a:lnTo>
                    <a:pt x="0" y="623602"/>
                  </a:lnTo>
                  <a:lnTo>
                    <a:pt x="74096" y="623602"/>
                  </a:lnTo>
                  <a:lnTo>
                    <a:pt x="74096" y="289356"/>
                  </a:lnTo>
                  <a:lnTo>
                    <a:pt x="150898" y="40023"/>
                  </a:lnTo>
                  <a:lnTo>
                    <a:pt x="126559" y="40023"/>
                  </a:lnTo>
                  <a:lnTo>
                    <a:pt x="73556" y="204983"/>
                  </a:lnTo>
                  <a:lnTo>
                    <a:pt x="70311" y="0"/>
                  </a:lnTo>
                  <a:lnTo>
                    <a:pt x="48677" y="0"/>
                  </a:lnTo>
                  <a:cubicBezTo>
                    <a:pt x="49758" y="0"/>
                    <a:pt x="44350" y="63821"/>
                    <a:pt x="0" y="76260"/>
                  </a:cubicBezTo>
                  <a:close/>
                </a:path>
              </a:pathLst>
            </a:custGeom>
            <a:solidFill>
              <a:srgbClr val="CADBCF"/>
            </a:solidFill>
            <a:ln w="540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7597EE33-7FE0-29D5-8427-C7D43B1761E8}"/>
                </a:ext>
              </a:extLst>
            </p:cNvPr>
            <p:cNvSpPr/>
            <p:nvPr/>
          </p:nvSpPr>
          <p:spPr>
            <a:xfrm>
              <a:off x="10375279" y="2894097"/>
              <a:ext cx="2704" cy="392658"/>
            </a:xfrm>
            <a:custGeom>
              <a:avLst/>
              <a:gdLst>
                <a:gd name="connsiteX0" fmla="*/ 0 w 2704"/>
                <a:gd name="connsiteY0" fmla="*/ 0 h 392658"/>
                <a:gd name="connsiteX1" fmla="*/ 1623 w 2704"/>
                <a:gd name="connsiteY1" fmla="*/ 17848 h 392658"/>
                <a:gd name="connsiteX2" fmla="*/ 541 w 2704"/>
                <a:gd name="connsiteY2" fmla="*/ 35696 h 392658"/>
                <a:gd name="connsiteX3" fmla="*/ 2164 w 2704"/>
                <a:gd name="connsiteY3" fmla="*/ 53544 h 392658"/>
                <a:gd name="connsiteX4" fmla="*/ 1081 w 2704"/>
                <a:gd name="connsiteY4" fmla="*/ 71392 h 392658"/>
                <a:gd name="connsiteX5" fmla="*/ 1081 w 2704"/>
                <a:gd name="connsiteY5" fmla="*/ 89241 h 392658"/>
                <a:gd name="connsiteX6" fmla="*/ 541 w 2704"/>
                <a:gd name="connsiteY6" fmla="*/ 107089 h 392658"/>
                <a:gd name="connsiteX7" fmla="*/ 2704 w 2704"/>
                <a:gd name="connsiteY7" fmla="*/ 124937 h 392658"/>
                <a:gd name="connsiteX8" fmla="*/ 2164 w 2704"/>
                <a:gd name="connsiteY8" fmla="*/ 142785 h 392658"/>
                <a:gd name="connsiteX9" fmla="*/ 1623 w 2704"/>
                <a:gd name="connsiteY9" fmla="*/ 160633 h 392658"/>
                <a:gd name="connsiteX10" fmla="*/ 1081 w 2704"/>
                <a:gd name="connsiteY10" fmla="*/ 178481 h 392658"/>
                <a:gd name="connsiteX11" fmla="*/ 2704 w 2704"/>
                <a:gd name="connsiteY11" fmla="*/ 196329 h 392658"/>
                <a:gd name="connsiteX12" fmla="*/ 2704 w 2704"/>
                <a:gd name="connsiteY12" fmla="*/ 214177 h 392658"/>
                <a:gd name="connsiteX13" fmla="*/ 1623 w 2704"/>
                <a:gd name="connsiteY13" fmla="*/ 232026 h 392658"/>
                <a:gd name="connsiteX14" fmla="*/ 1623 w 2704"/>
                <a:gd name="connsiteY14" fmla="*/ 249874 h 392658"/>
                <a:gd name="connsiteX15" fmla="*/ 2704 w 2704"/>
                <a:gd name="connsiteY15" fmla="*/ 267722 h 392658"/>
                <a:gd name="connsiteX16" fmla="*/ 2164 w 2704"/>
                <a:gd name="connsiteY16" fmla="*/ 285570 h 392658"/>
                <a:gd name="connsiteX17" fmla="*/ 1623 w 2704"/>
                <a:gd name="connsiteY17" fmla="*/ 303418 h 392658"/>
                <a:gd name="connsiteX18" fmla="*/ 541 w 2704"/>
                <a:gd name="connsiteY18" fmla="*/ 321266 h 392658"/>
                <a:gd name="connsiteX19" fmla="*/ 0 w 2704"/>
                <a:gd name="connsiteY19" fmla="*/ 339114 h 392658"/>
                <a:gd name="connsiteX20" fmla="*/ 541 w 2704"/>
                <a:gd name="connsiteY20" fmla="*/ 356962 h 392658"/>
                <a:gd name="connsiteX21" fmla="*/ 0 w 2704"/>
                <a:gd name="connsiteY21" fmla="*/ 374811 h 392658"/>
                <a:gd name="connsiteX22" fmla="*/ 1081 w 2704"/>
                <a:gd name="connsiteY22" fmla="*/ 392659 h 3926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704" h="392658">
                  <a:moveTo>
                    <a:pt x="0" y="0"/>
                  </a:moveTo>
                  <a:cubicBezTo>
                    <a:pt x="0" y="9195"/>
                    <a:pt x="1623" y="9195"/>
                    <a:pt x="1623" y="17848"/>
                  </a:cubicBezTo>
                  <a:cubicBezTo>
                    <a:pt x="1623" y="27043"/>
                    <a:pt x="541" y="27043"/>
                    <a:pt x="541" y="35696"/>
                  </a:cubicBezTo>
                  <a:cubicBezTo>
                    <a:pt x="541" y="44891"/>
                    <a:pt x="2164" y="44891"/>
                    <a:pt x="2164" y="53544"/>
                  </a:cubicBezTo>
                  <a:cubicBezTo>
                    <a:pt x="2164" y="62739"/>
                    <a:pt x="1081" y="62739"/>
                    <a:pt x="1081" y="71392"/>
                  </a:cubicBezTo>
                  <a:cubicBezTo>
                    <a:pt x="1081" y="80587"/>
                    <a:pt x="1081" y="80587"/>
                    <a:pt x="1081" y="89241"/>
                  </a:cubicBezTo>
                  <a:cubicBezTo>
                    <a:pt x="1081" y="98435"/>
                    <a:pt x="541" y="98435"/>
                    <a:pt x="541" y="107089"/>
                  </a:cubicBezTo>
                  <a:cubicBezTo>
                    <a:pt x="541" y="116283"/>
                    <a:pt x="2704" y="116283"/>
                    <a:pt x="2704" y="124937"/>
                  </a:cubicBezTo>
                  <a:cubicBezTo>
                    <a:pt x="2704" y="134132"/>
                    <a:pt x="2164" y="134132"/>
                    <a:pt x="2164" y="142785"/>
                  </a:cubicBezTo>
                  <a:cubicBezTo>
                    <a:pt x="2164" y="151980"/>
                    <a:pt x="1623" y="151980"/>
                    <a:pt x="1623" y="160633"/>
                  </a:cubicBezTo>
                  <a:cubicBezTo>
                    <a:pt x="1623" y="169828"/>
                    <a:pt x="1081" y="169828"/>
                    <a:pt x="1081" y="178481"/>
                  </a:cubicBezTo>
                  <a:cubicBezTo>
                    <a:pt x="1081" y="187676"/>
                    <a:pt x="2704" y="187676"/>
                    <a:pt x="2704" y="196329"/>
                  </a:cubicBezTo>
                  <a:cubicBezTo>
                    <a:pt x="2704" y="205524"/>
                    <a:pt x="2704" y="205524"/>
                    <a:pt x="2704" y="214177"/>
                  </a:cubicBezTo>
                  <a:cubicBezTo>
                    <a:pt x="2704" y="223372"/>
                    <a:pt x="1623" y="223372"/>
                    <a:pt x="1623" y="232026"/>
                  </a:cubicBezTo>
                  <a:cubicBezTo>
                    <a:pt x="1623" y="241220"/>
                    <a:pt x="1623" y="241220"/>
                    <a:pt x="1623" y="249874"/>
                  </a:cubicBezTo>
                  <a:cubicBezTo>
                    <a:pt x="1623" y="259068"/>
                    <a:pt x="2704" y="259068"/>
                    <a:pt x="2704" y="267722"/>
                  </a:cubicBezTo>
                  <a:cubicBezTo>
                    <a:pt x="2704" y="276916"/>
                    <a:pt x="2164" y="276916"/>
                    <a:pt x="2164" y="285570"/>
                  </a:cubicBezTo>
                  <a:cubicBezTo>
                    <a:pt x="2164" y="294764"/>
                    <a:pt x="1623" y="294764"/>
                    <a:pt x="1623" y="303418"/>
                  </a:cubicBezTo>
                  <a:cubicBezTo>
                    <a:pt x="1623" y="312613"/>
                    <a:pt x="541" y="312613"/>
                    <a:pt x="541" y="321266"/>
                  </a:cubicBezTo>
                  <a:cubicBezTo>
                    <a:pt x="541" y="330461"/>
                    <a:pt x="0" y="330461"/>
                    <a:pt x="0" y="339114"/>
                  </a:cubicBezTo>
                  <a:cubicBezTo>
                    <a:pt x="0" y="348309"/>
                    <a:pt x="541" y="348309"/>
                    <a:pt x="541" y="356962"/>
                  </a:cubicBezTo>
                  <a:cubicBezTo>
                    <a:pt x="541" y="366157"/>
                    <a:pt x="0" y="366157"/>
                    <a:pt x="0" y="374811"/>
                  </a:cubicBezTo>
                  <a:cubicBezTo>
                    <a:pt x="0" y="383464"/>
                    <a:pt x="1081" y="384005"/>
                    <a:pt x="1081" y="392659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1A9F07A0-CD6D-0A04-1665-9B3BB19C7F07}"/>
                </a:ext>
              </a:extLst>
            </p:cNvPr>
            <p:cNvSpPr/>
            <p:nvPr/>
          </p:nvSpPr>
          <p:spPr>
            <a:xfrm>
              <a:off x="10331470" y="2962785"/>
              <a:ext cx="45972" cy="44890"/>
            </a:xfrm>
            <a:custGeom>
              <a:avLst/>
              <a:gdLst>
                <a:gd name="connsiteX0" fmla="*/ 0 w 45972"/>
                <a:gd name="connsiteY0" fmla="*/ 0 h 44890"/>
                <a:gd name="connsiteX1" fmla="*/ 11358 w 45972"/>
                <a:gd name="connsiteY1" fmla="*/ 11358 h 44890"/>
                <a:gd name="connsiteX2" fmla="*/ 23256 w 45972"/>
                <a:gd name="connsiteY2" fmla="*/ 22175 h 44890"/>
                <a:gd name="connsiteX3" fmla="*/ 34073 w 45972"/>
                <a:gd name="connsiteY3" fmla="*/ 34074 h 44890"/>
                <a:gd name="connsiteX4" fmla="*/ 45972 w 45972"/>
                <a:gd name="connsiteY4" fmla="*/ 44891 h 44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972" h="44890">
                  <a:moveTo>
                    <a:pt x="0" y="0"/>
                  </a:moveTo>
                  <a:cubicBezTo>
                    <a:pt x="5409" y="5409"/>
                    <a:pt x="5409" y="5409"/>
                    <a:pt x="11358" y="11358"/>
                  </a:cubicBezTo>
                  <a:cubicBezTo>
                    <a:pt x="16766" y="16767"/>
                    <a:pt x="17307" y="16767"/>
                    <a:pt x="23256" y="22175"/>
                  </a:cubicBezTo>
                  <a:cubicBezTo>
                    <a:pt x="28665" y="27584"/>
                    <a:pt x="28665" y="28124"/>
                    <a:pt x="34073" y="34074"/>
                  </a:cubicBezTo>
                  <a:cubicBezTo>
                    <a:pt x="39482" y="39482"/>
                    <a:pt x="40564" y="38941"/>
                    <a:pt x="45972" y="44891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2F0DB242-06EC-D94A-02F2-DB6D4C8BE130}"/>
                </a:ext>
              </a:extLst>
            </p:cNvPr>
            <p:cNvSpPr/>
            <p:nvPr/>
          </p:nvSpPr>
          <p:spPr>
            <a:xfrm>
              <a:off x="10376360" y="3026065"/>
              <a:ext cx="39482" cy="39482"/>
            </a:xfrm>
            <a:custGeom>
              <a:avLst/>
              <a:gdLst>
                <a:gd name="connsiteX0" fmla="*/ 39482 w 39482"/>
                <a:gd name="connsiteY0" fmla="*/ 0 h 39482"/>
                <a:gd name="connsiteX1" fmla="*/ 25961 w 39482"/>
                <a:gd name="connsiteY1" fmla="*/ 12440 h 39482"/>
                <a:gd name="connsiteX2" fmla="*/ 13521 w 39482"/>
                <a:gd name="connsiteY2" fmla="*/ 26502 h 39482"/>
                <a:gd name="connsiteX3" fmla="*/ 0 w 39482"/>
                <a:gd name="connsiteY3" fmla="*/ 39482 h 394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482" h="39482">
                  <a:moveTo>
                    <a:pt x="39482" y="0"/>
                  </a:moveTo>
                  <a:cubicBezTo>
                    <a:pt x="32992" y="6490"/>
                    <a:pt x="32451" y="5949"/>
                    <a:pt x="25961" y="12440"/>
                  </a:cubicBezTo>
                  <a:cubicBezTo>
                    <a:pt x="19471" y="18930"/>
                    <a:pt x="20012" y="20012"/>
                    <a:pt x="13521" y="26502"/>
                  </a:cubicBezTo>
                  <a:cubicBezTo>
                    <a:pt x="7031" y="32992"/>
                    <a:pt x="6491" y="32451"/>
                    <a:pt x="0" y="39482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48784C14-E58C-7BF0-6659-172350F95F01}"/>
                </a:ext>
              </a:extLst>
            </p:cNvPr>
            <p:cNvSpPr/>
            <p:nvPr/>
          </p:nvSpPr>
          <p:spPr>
            <a:xfrm>
              <a:off x="10335796" y="3061220"/>
              <a:ext cx="39482" cy="41645"/>
            </a:xfrm>
            <a:custGeom>
              <a:avLst/>
              <a:gdLst>
                <a:gd name="connsiteX0" fmla="*/ 0 w 39482"/>
                <a:gd name="connsiteY0" fmla="*/ 0 h 41645"/>
                <a:gd name="connsiteX1" fmla="*/ 12981 w 39482"/>
                <a:gd name="connsiteY1" fmla="*/ 14062 h 41645"/>
                <a:gd name="connsiteX2" fmla="*/ 27584 w 39482"/>
                <a:gd name="connsiteY2" fmla="*/ 26502 h 41645"/>
                <a:gd name="connsiteX3" fmla="*/ 39482 w 39482"/>
                <a:gd name="connsiteY3" fmla="*/ 41646 h 416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482" h="41645">
                  <a:moveTo>
                    <a:pt x="0" y="0"/>
                  </a:moveTo>
                  <a:cubicBezTo>
                    <a:pt x="6491" y="6490"/>
                    <a:pt x="6491" y="7031"/>
                    <a:pt x="12981" y="14062"/>
                  </a:cubicBezTo>
                  <a:cubicBezTo>
                    <a:pt x="19471" y="20552"/>
                    <a:pt x="21093" y="19471"/>
                    <a:pt x="27584" y="26502"/>
                  </a:cubicBezTo>
                  <a:cubicBezTo>
                    <a:pt x="34074" y="32992"/>
                    <a:pt x="32992" y="34615"/>
                    <a:pt x="39482" y="41646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F4DCC897-3406-A54B-D844-2ED52C39EB2B}"/>
                </a:ext>
              </a:extLst>
            </p:cNvPr>
            <p:cNvSpPr/>
            <p:nvPr/>
          </p:nvSpPr>
          <p:spPr>
            <a:xfrm>
              <a:off x="10269812" y="2775967"/>
              <a:ext cx="213636" cy="409648"/>
            </a:xfrm>
            <a:custGeom>
              <a:avLst/>
              <a:gdLst>
                <a:gd name="connsiteX0" fmla="*/ 107630 w 213636"/>
                <a:gd name="connsiteY0" fmla="*/ 409649 h 409648"/>
                <a:gd name="connsiteX1" fmla="*/ 119528 w 213636"/>
                <a:gd name="connsiteY1" fmla="*/ 397209 h 409648"/>
                <a:gd name="connsiteX2" fmla="*/ 132509 w 213636"/>
                <a:gd name="connsiteY2" fmla="*/ 385310 h 409648"/>
                <a:gd name="connsiteX3" fmla="*/ 144407 w 213636"/>
                <a:gd name="connsiteY3" fmla="*/ 372871 h 409648"/>
                <a:gd name="connsiteX4" fmla="*/ 156306 w 213636"/>
                <a:gd name="connsiteY4" fmla="*/ 360431 h 409648"/>
                <a:gd name="connsiteX5" fmla="*/ 168205 w 213636"/>
                <a:gd name="connsiteY5" fmla="*/ 347992 h 409648"/>
                <a:gd name="connsiteX6" fmla="*/ 180104 w 213636"/>
                <a:gd name="connsiteY6" fmla="*/ 335011 h 409648"/>
                <a:gd name="connsiteX7" fmla="*/ 191462 w 213636"/>
                <a:gd name="connsiteY7" fmla="*/ 322031 h 409648"/>
                <a:gd name="connsiteX8" fmla="*/ 201197 w 213636"/>
                <a:gd name="connsiteY8" fmla="*/ 307969 h 409648"/>
                <a:gd name="connsiteX9" fmla="*/ 206605 w 213636"/>
                <a:gd name="connsiteY9" fmla="*/ 291743 h 409648"/>
                <a:gd name="connsiteX10" fmla="*/ 210932 w 213636"/>
                <a:gd name="connsiteY10" fmla="*/ 275518 h 409648"/>
                <a:gd name="connsiteX11" fmla="*/ 213636 w 213636"/>
                <a:gd name="connsiteY11" fmla="*/ 258751 h 409648"/>
                <a:gd name="connsiteX12" fmla="*/ 212014 w 213636"/>
                <a:gd name="connsiteY12" fmla="*/ 241985 h 409648"/>
                <a:gd name="connsiteX13" fmla="*/ 208228 w 213636"/>
                <a:gd name="connsiteY13" fmla="*/ 225218 h 409648"/>
                <a:gd name="connsiteX14" fmla="*/ 203901 w 213636"/>
                <a:gd name="connsiteY14" fmla="*/ 208452 h 409648"/>
                <a:gd name="connsiteX15" fmla="*/ 195788 w 213636"/>
                <a:gd name="connsiteY15" fmla="*/ 192767 h 409648"/>
                <a:gd name="connsiteX16" fmla="*/ 187675 w 213636"/>
                <a:gd name="connsiteY16" fmla="*/ 177083 h 409648"/>
                <a:gd name="connsiteX17" fmla="*/ 180104 w 213636"/>
                <a:gd name="connsiteY17" fmla="*/ 161398 h 409648"/>
                <a:gd name="connsiteX18" fmla="*/ 174695 w 213636"/>
                <a:gd name="connsiteY18" fmla="*/ 144631 h 409648"/>
                <a:gd name="connsiteX19" fmla="*/ 166583 w 213636"/>
                <a:gd name="connsiteY19" fmla="*/ 128947 h 409648"/>
                <a:gd name="connsiteX20" fmla="*/ 160092 w 213636"/>
                <a:gd name="connsiteY20" fmla="*/ 112721 h 409648"/>
                <a:gd name="connsiteX21" fmla="*/ 152520 w 213636"/>
                <a:gd name="connsiteY21" fmla="*/ 96496 h 409648"/>
                <a:gd name="connsiteX22" fmla="*/ 143866 w 213636"/>
                <a:gd name="connsiteY22" fmla="*/ 81352 h 409648"/>
                <a:gd name="connsiteX23" fmla="*/ 138458 w 213636"/>
                <a:gd name="connsiteY23" fmla="*/ 64585 h 409648"/>
                <a:gd name="connsiteX24" fmla="*/ 129264 w 213636"/>
                <a:gd name="connsiteY24" fmla="*/ 49442 h 409648"/>
                <a:gd name="connsiteX25" fmla="*/ 123855 w 213636"/>
                <a:gd name="connsiteY25" fmla="*/ 32675 h 409648"/>
                <a:gd name="connsiteX26" fmla="*/ 116283 w 213636"/>
                <a:gd name="connsiteY26" fmla="*/ 16450 h 409648"/>
                <a:gd name="connsiteX27" fmla="*/ 109252 w 213636"/>
                <a:gd name="connsiteY27" fmla="*/ 224 h 409648"/>
                <a:gd name="connsiteX28" fmla="*/ 107089 w 213636"/>
                <a:gd name="connsiteY28" fmla="*/ 765 h 409648"/>
                <a:gd name="connsiteX29" fmla="*/ 99517 w 213636"/>
                <a:gd name="connsiteY29" fmla="*/ 16450 h 409648"/>
                <a:gd name="connsiteX30" fmla="*/ 92486 w 213636"/>
                <a:gd name="connsiteY30" fmla="*/ 32675 h 409648"/>
                <a:gd name="connsiteX31" fmla="*/ 84373 w 213636"/>
                <a:gd name="connsiteY31" fmla="*/ 48360 h 409648"/>
                <a:gd name="connsiteX32" fmla="*/ 77342 w 213636"/>
                <a:gd name="connsiteY32" fmla="*/ 64585 h 409648"/>
                <a:gd name="connsiteX33" fmla="*/ 70851 w 213636"/>
                <a:gd name="connsiteY33" fmla="*/ 80811 h 409648"/>
                <a:gd name="connsiteX34" fmla="*/ 64361 w 213636"/>
                <a:gd name="connsiteY34" fmla="*/ 97037 h 409648"/>
                <a:gd name="connsiteX35" fmla="*/ 56789 w 213636"/>
                <a:gd name="connsiteY35" fmla="*/ 112721 h 409648"/>
                <a:gd name="connsiteX36" fmla="*/ 49758 w 213636"/>
                <a:gd name="connsiteY36" fmla="*/ 128947 h 409648"/>
                <a:gd name="connsiteX37" fmla="*/ 42727 w 213636"/>
                <a:gd name="connsiteY37" fmla="*/ 145172 h 409648"/>
                <a:gd name="connsiteX38" fmla="*/ 34615 w 213636"/>
                <a:gd name="connsiteY38" fmla="*/ 160857 h 409648"/>
                <a:gd name="connsiteX39" fmla="*/ 27043 w 213636"/>
                <a:gd name="connsiteY39" fmla="*/ 177083 h 409648"/>
                <a:gd name="connsiteX40" fmla="*/ 19471 w 213636"/>
                <a:gd name="connsiteY40" fmla="*/ 193308 h 409648"/>
                <a:gd name="connsiteX41" fmla="*/ 10817 w 213636"/>
                <a:gd name="connsiteY41" fmla="*/ 208993 h 409648"/>
                <a:gd name="connsiteX42" fmla="*/ 5949 w 213636"/>
                <a:gd name="connsiteY42" fmla="*/ 225218 h 409648"/>
                <a:gd name="connsiteX43" fmla="*/ 2164 w 213636"/>
                <a:gd name="connsiteY43" fmla="*/ 241985 h 409648"/>
                <a:gd name="connsiteX44" fmla="*/ 0 w 213636"/>
                <a:gd name="connsiteY44" fmla="*/ 259292 h 409648"/>
                <a:gd name="connsiteX45" fmla="*/ 3786 w 213636"/>
                <a:gd name="connsiteY45" fmla="*/ 276058 h 409648"/>
                <a:gd name="connsiteX46" fmla="*/ 8113 w 213636"/>
                <a:gd name="connsiteY46" fmla="*/ 292284 h 409648"/>
                <a:gd name="connsiteX47" fmla="*/ 12981 w 213636"/>
                <a:gd name="connsiteY47" fmla="*/ 309051 h 409648"/>
                <a:gd name="connsiteX48" fmla="*/ 22716 w 213636"/>
                <a:gd name="connsiteY48" fmla="*/ 323113 h 409648"/>
                <a:gd name="connsiteX49" fmla="*/ 33533 w 213636"/>
                <a:gd name="connsiteY49" fmla="*/ 336634 h 409648"/>
                <a:gd name="connsiteX50" fmla="*/ 46513 w 213636"/>
                <a:gd name="connsiteY50" fmla="*/ 349614 h 409648"/>
                <a:gd name="connsiteX51" fmla="*/ 59494 w 213636"/>
                <a:gd name="connsiteY51" fmla="*/ 362595 h 409648"/>
                <a:gd name="connsiteX52" fmla="*/ 72474 w 213636"/>
                <a:gd name="connsiteY52" fmla="*/ 375575 h 4096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</a:cxnLst>
              <a:rect l="l" t="t" r="r" b="b"/>
              <a:pathLst>
                <a:path w="213636" h="409648">
                  <a:moveTo>
                    <a:pt x="107630" y="409649"/>
                  </a:moveTo>
                  <a:cubicBezTo>
                    <a:pt x="113579" y="403700"/>
                    <a:pt x="113579" y="403159"/>
                    <a:pt x="119528" y="397209"/>
                  </a:cubicBezTo>
                  <a:cubicBezTo>
                    <a:pt x="125477" y="391260"/>
                    <a:pt x="126019" y="391801"/>
                    <a:pt x="132509" y="385310"/>
                  </a:cubicBezTo>
                  <a:cubicBezTo>
                    <a:pt x="138458" y="379361"/>
                    <a:pt x="138458" y="378820"/>
                    <a:pt x="144407" y="372871"/>
                  </a:cubicBezTo>
                  <a:cubicBezTo>
                    <a:pt x="150357" y="366921"/>
                    <a:pt x="150357" y="366381"/>
                    <a:pt x="156306" y="360431"/>
                  </a:cubicBezTo>
                  <a:cubicBezTo>
                    <a:pt x="162256" y="354482"/>
                    <a:pt x="162256" y="353941"/>
                    <a:pt x="168205" y="347992"/>
                  </a:cubicBezTo>
                  <a:cubicBezTo>
                    <a:pt x="174154" y="342042"/>
                    <a:pt x="173613" y="341502"/>
                    <a:pt x="180104" y="335011"/>
                  </a:cubicBezTo>
                  <a:cubicBezTo>
                    <a:pt x="184430" y="330685"/>
                    <a:pt x="188217" y="326899"/>
                    <a:pt x="191462" y="322031"/>
                  </a:cubicBezTo>
                  <a:cubicBezTo>
                    <a:pt x="194707" y="317163"/>
                    <a:pt x="198492" y="312836"/>
                    <a:pt x="201197" y="307969"/>
                  </a:cubicBezTo>
                  <a:cubicBezTo>
                    <a:pt x="203901" y="303101"/>
                    <a:pt x="204983" y="297152"/>
                    <a:pt x="206605" y="291743"/>
                  </a:cubicBezTo>
                  <a:cubicBezTo>
                    <a:pt x="208228" y="286335"/>
                    <a:pt x="209851" y="280926"/>
                    <a:pt x="210932" y="275518"/>
                  </a:cubicBezTo>
                  <a:cubicBezTo>
                    <a:pt x="212014" y="270109"/>
                    <a:pt x="213636" y="264160"/>
                    <a:pt x="213636" y="258751"/>
                  </a:cubicBezTo>
                  <a:cubicBezTo>
                    <a:pt x="213636" y="253343"/>
                    <a:pt x="213096" y="247393"/>
                    <a:pt x="212014" y="241985"/>
                  </a:cubicBezTo>
                  <a:cubicBezTo>
                    <a:pt x="211473" y="236576"/>
                    <a:pt x="209851" y="231168"/>
                    <a:pt x="208228" y="225218"/>
                  </a:cubicBezTo>
                  <a:cubicBezTo>
                    <a:pt x="206605" y="219810"/>
                    <a:pt x="206064" y="213860"/>
                    <a:pt x="203901" y="208452"/>
                  </a:cubicBezTo>
                  <a:cubicBezTo>
                    <a:pt x="200115" y="200339"/>
                    <a:pt x="199034" y="200880"/>
                    <a:pt x="195788" y="192767"/>
                  </a:cubicBezTo>
                  <a:cubicBezTo>
                    <a:pt x="192002" y="184655"/>
                    <a:pt x="191462" y="185195"/>
                    <a:pt x="187675" y="177083"/>
                  </a:cubicBezTo>
                  <a:cubicBezTo>
                    <a:pt x="183890" y="168970"/>
                    <a:pt x="183890" y="168970"/>
                    <a:pt x="180104" y="161398"/>
                  </a:cubicBezTo>
                  <a:cubicBezTo>
                    <a:pt x="176318" y="153285"/>
                    <a:pt x="177940" y="152744"/>
                    <a:pt x="174695" y="144631"/>
                  </a:cubicBezTo>
                  <a:cubicBezTo>
                    <a:pt x="170909" y="136519"/>
                    <a:pt x="170368" y="137059"/>
                    <a:pt x="166583" y="128947"/>
                  </a:cubicBezTo>
                  <a:cubicBezTo>
                    <a:pt x="162796" y="120834"/>
                    <a:pt x="163878" y="120293"/>
                    <a:pt x="160092" y="112721"/>
                  </a:cubicBezTo>
                  <a:cubicBezTo>
                    <a:pt x="156306" y="104608"/>
                    <a:pt x="156306" y="104608"/>
                    <a:pt x="152520" y="96496"/>
                  </a:cubicBezTo>
                  <a:cubicBezTo>
                    <a:pt x="148734" y="88383"/>
                    <a:pt x="147653" y="88924"/>
                    <a:pt x="143866" y="81352"/>
                  </a:cubicBezTo>
                  <a:cubicBezTo>
                    <a:pt x="140081" y="73239"/>
                    <a:pt x="141703" y="72698"/>
                    <a:pt x="138458" y="64585"/>
                  </a:cubicBezTo>
                  <a:cubicBezTo>
                    <a:pt x="134672" y="56473"/>
                    <a:pt x="133049" y="57554"/>
                    <a:pt x="129264" y="49442"/>
                  </a:cubicBezTo>
                  <a:cubicBezTo>
                    <a:pt x="125477" y="41329"/>
                    <a:pt x="127100" y="40788"/>
                    <a:pt x="123855" y="32675"/>
                  </a:cubicBezTo>
                  <a:cubicBezTo>
                    <a:pt x="120069" y="24562"/>
                    <a:pt x="120069" y="24562"/>
                    <a:pt x="116283" y="16450"/>
                  </a:cubicBezTo>
                  <a:cubicBezTo>
                    <a:pt x="112497" y="8337"/>
                    <a:pt x="113038" y="8337"/>
                    <a:pt x="109252" y="224"/>
                  </a:cubicBezTo>
                  <a:cubicBezTo>
                    <a:pt x="109252" y="-317"/>
                    <a:pt x="107089" y="224"/>
                    <a:pt x="107089" y="765"/>
                  </a:cubicBezTo>
                  <a:cubicBezTo>
                    <a:pt x="102762" y="8337"/>
                    <a:pt x="103303" y="8878"/>
                    <a:pt x="99517" y="16450"/>
                  </a:cubicBezTo>
                  <a:cubicBezTo>
                    <a:pt x="95730" y="24562"/>
                    <a:pt x="96272" y="24562"/>
                    <a:pt x="92486" y="32675"/>
                  </a:cubicBezTo>
                  <a:cubicBezTo>
                    <a:pt x="88700" y="40788"/>
                    <a:pt x="88159" y="40247"/>
                    <a:pt x="84373" y="48360"/>
                  </a:cubicBezTo>
                  <a:cubicBezTo>
                    <a:pt x="80587" y="56473"/>
                    <a:pt x="80587" y="56473"/>
                    <a:pt x="77342" y="64585"/>
                  </a:cubicBezTo>
                  <a:cubicBezTo>
                    <a:pt x="73556" y="72698"/>
                    <a:pt x="74096" y="72698"/>
                    <a:pt x="70851" y="80811"/>
                  </a:cubicBezTo>
                  <a:cubicBezTo>
                    <a:pt x="67066" y="88924"/>
                    <a:pt x="68147" y="89465"/>
                    <a:pt x="64361" y="97037"/>
                  </a:cubicBezTo>
                  <a:cubicBezTo>
                    <a:pt x="60575" y="105149"/>
                    <a:pt x="60034" y="104608"/>
                    <a:pt x="56789" y="112721"/>
                  </a:cubicBezTo>
                  <a:cubicBezTo>
                    <a:pt x="53004" y="120834"/>
                    <a:pt x="53544" y="120834"/>
                    <a:pt x="49758" y="128947"/>
                  </a:cubicBezTo>
                  <a:cubicBezTo>
                    <a:pt x="45972" y="137059"/>
                    <a:pt x="46513" y="137059"/>
                    <a:pt x="42727" y="145172"/>
                  </a:cubicBezTo>
                  <a:cubicBezTo>
                    <a:pt x="38941" y="153285"/>
                    <a:pt x="38400" y="152744"/>
                    <a:pt x="34615" y="160857"/>
                  </a:cubicBezTo>
                  <a:cubicBezTo>
                    <a:pt x="30828" y="168970"/>
                    <a:pt x="30828" y="168970"/>
                    <a:pt x="27043" y="177083"/>
                  </a:cubicBezTo>
                  <a:cubicBezTo>
                    <a:pt x="23257" y="185195"/>
                    <a:pt x="23257" y="185195"/>
                    <a:pt x="19471" y="193308"/>
                  </a:cubicBezTo>
                  <a:cubicBezTo>
                    <a:pt x="15685" y="201421"/>
                    <a:pt x="14603" y="200880"/>
                    <a:pt x="10817" y="208993"/>
                  </a:cubicBezTo>
                  <a:cubicBezTo>
                    <a:pt x="8653" y="214401"/>
                    <a:pt x="7572" y="219810"/>
                    <a:pt x="5949" y="225218"/>
                  </a:cubicBezTo>
                  <a:cubicBezTo>
                    <a:pt x="4327" y="230627"/>
                    <a:pt x="3245" y="236576"/>
                    <a:pt x="2164" y="241985"/>
                  </a:cubicBezTo>
                  <a:cubicBezTo>
                    <a:pt x="1623" y="247393"/>
                    <a:pt x="0" y="253343"/>
                    <a:pt x="0" y="259292"/>
                  </a:cubicBezTo>
                  <a:cubicBezTo>
                    <a:pt x="0" y="265241"/>
                    <a:pt x="2704" y="270650"/>
                    <a:pt x="3786" y="276058"/>
                  </a:cubicBezTo>
                  <a:cubicBezTo>
                    <a:pt x="4868" y="281467"/>
                    <a:pt x="6490" y="286875"/>
                    <a:pt x="8113" y="292284"/>
                  </a:cubicBezTo>
                  <a:cubicBezTo>
                    <a:pt x="9736" y="297692"/>
                    <a:pt x="10276" y="303642"/>
                    <a:pt x="12981" y="309051"/>
                  </a:cubicBezTo>
                  <a:cubicBezTo>
                    <a:pt x="15685" y="313918"/>
                    <a:pt x="19471" y="318786"/>
                    <a:pt x="22716" y="323113"/>
                  </a:cubicBezTo>
                  <a:cubicBezTo>
                    <a:pt x="25961" y="327439"/>
                    <a:pt x="29206" y="332307"/>
                    <a:pt x="33533" y="336634"/>
                  </a:cubicBezTo>
                  <a:cubicBezTo>
                    <a:pt x="40023" y="343124"/>
                    <a:pt x="40023" y="343124"/>
                    <a:pt x="46513" y="349614"/>
                  </a:cubicBezTo>
                  <a:cubicBezTo>
                    <a:pt x="53004" y="356104"/>
                    <a:pt x="53004" y="356104"/>
                    <a:pt x="59494" y="362595"/>
                  </a:cubicBezTo>
                  <a:cubicBezTo>
                    <a:pt x="65984" y="369085"/>
                    <a:pt x="65984" y="369085"/>
                    <a:pt x="72474" y="375575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4DB46DD0-5508-133E-DA44-4E0C08BD9A6A}"/>
                </a:ext>
              </a:extLst>
            </p:cNvPr>
            <p:cNvSpPr/>
            <p:nvPr/>
          </p:nvSpPr>
          <p:spPr>
            <a:xfrm>
              <a:off x="10076187" y="2468988"/>
              <a:ext cx="155850" cy="851783"/>
            </a:xfrm>
            <a:custGeom>
              <a:avLst/>
              <a:gdLst>
                <a:gd name="connsiteX0" fmla="*/ 0 w 155850"/>
                <a:gd name="connsiteY0" fmla="*/ 0 h 851783"/>
                <a:gd name="connsiteX1" fmla="*/ 13521 w 155850"/>
                <a:gd name="connsiteY1" fmla="*/ 12440 h 851783"/>
                <a:gd name="connsiteX2" fmla="*/ 23257 w 155850"/>
                <a:gd name="connsiteY2" fmla="*/ 27583 h 851783"/>
                <a:gd name="connsiteX3" fmla="*/ 27584 w 155850"/>
                <a:gd name="connsiteY3" fmla="*/ 45432 h 851783"/>
                <a:gd name="connsiteX4" fmla="*/ 30288 w 155850"/>
                <a:gd name="connsiteY4" fmla="*/ 63820 h 851783"/>
                <a:gd name="connsiteX5" fmla="*/ 28125 w 155850"/>
                <a:gd name="connsiteY5" fmla="*/ 82210 h 851783"/>
                <a:gd name="connsiteX6" fmla="*/ 22716 w 155850"/>
                <a:gd name="connsiteY6" fmla="*/ 100058 h 851783"/>
                <a:gd name="connsiteX7" fmla="*/ 16767 w 155850"/>
                <a:gd name="connsiteY7" fmla="*/ 117365 h 851783"/>
                <a:gd name="connsiteX8" fmla="*/ 11899 w 155850"/>
                <a:gd name="connsiteY8" fmla="*/ 130345 h 851783"/>
                <a:gd name="connsiteX9" fmla="*/ 3246 w 155850"/>
                <a:gd name="connsiteY9" fmla="*/ 141162 h 851783"/>
                <a:gd name="connsiteX10" fmla="*/ 5950 w 155850"/>
                <a:gd name="connsiteY10" fmla="*/ 140621 h 851783"/>
                <a:gd name="connsiteX11" fmla="*/ 23257 w 155850"/>
                <a:gd name="connsiteY11" fmla="*/ 146571 h 851783"/>
                <a:gd name="connsiteX12" fmla="*/ 38942 w 155850"/>
                <a:gd name="connsiteY12" fmla="*/ 155765 h 851783"/>
                <a:gd name="connsiteX13" fmla="*/ 51922 w 155850"/>
                <a:gd name="connsiteY13" fmla="*/ 169287 h 851783"/>
                <a:gd name="connsiteX14" fmla="*/ 61657 w 155850"/>
                <a:gd name="connsiteY14" fmla="*/ 184971 h 851783"/>
                <a:gd name="connsiteX15" fmla="*/ 68148 w 155850"/>
                <a:gd name="connsiteY15" fmla="*/ 202279 h 851783"/>
                <a:gd name="connsiteX16" fmla="*/ 71393 w 155850"/>
                <a:gd name="connsiteY16" fmla="*/ 220127 h 851783"/>
                <a:gd name="connsiteX17" fmla="*/ 75179 w 155850"/>
                <a:gd name="connsiteY17" fmla="*/ 237975 h 851783"/>
                <a:gd name="connsiteX18" fmla="*/ 78424 w 155850"/>
                <a:gd name="connsiteY18" fmla="*/ 256364 h 851783"/>
                <a:gd name="connsiteX19" fmla="*/ 75719 w 155850"/>
                <a:gd name="connsiteY19" fmla="*/ 274753 h 851783"/>
                <a:gd name="connsiteX20" fmla="*/ 75719 w 155850"/>
                <a:gd name="connsiteY20" fmla="*/ 291519 h 851783"/>
                <a:gd name="connsiteX21" fmla="*/ 72474 w 155850"/>
                <a:gd name="connsiteY21" fmla="*/ 308286 h 851783"/>
                <a:gd name="connsiteX22" fmla="*/ 67066 w 155850"/>
                <a:gd name="connsiteY22" fmla="*/ 323970 h 851783"/>
                <a:gd name="connsiteX23" fmla="*/ 61117 w 155850"/>
                <a:gd name="connsiteY23" fmla="*/ 339655 h 851783"/>
                <a:gd name="connsiteX24" fmla="*/ 53544 w 155850"/>
                <a:gd name="connsiteY24" fmla="*/ 353717 h 851783"/>
                <a:gd name="connsiteX25" fmla="*/ 67066 w 155850"/>
                <a:gd name="connsiteY25" fmla="*/ 346686 h 851783"/>
                <a:gd name="connsiteX26" fmla="*/ 82210 w 155850"/>
                <a:gd name="connsiteY26" fmla="*/ 342900 h 851783"/>
                <a:gd name="connsiteX27" fmla="*/ 96813 w 155850"/>
                <a:gd name="connsiteY27" fmla="*/ 345604 h 851783"/>
                <a:gd name="connsiteX28" fmla="*/ 104925 w 155850"/>
                <a:gd name="connsiteY28" fmla="*/ 360748 h 851783"/>
                <a:gd name="connsiteX29" fmla="*/ 102221 w 155850"/>
                <a:gd name="connsiteY29" fmla="*/ 378596 h 851783"/>
                <a:gd name="connsiteX30" fmla="*/ 97895 w 155850"/>
                <a:gd name="connsiteY30" fmla="*/ 395904 h 851783"/>
                <a:gd name="connsiteX31" fmla="*/ 90323 w 155850"/>
                <a:gd name="connsiteY31" fmla="*/ 412129 h 851783"/>
                <a:gd name="connsiteX32" fmla="*/ 82210 w 155850"/>
                <a:gd name="connsiteY32" fmla="*/ 427814 h 851783"/>
                <a:gd name="connsiteX33" fmla="*/ 74638 w 155850"/>
                <a:gd name="connsiteY33" fmla="*/ 444039 h 851783"/>
                <a:gd name="connsiteX34" fmla="*/ 64361 w 155850"/>
                <a:gd name="connsiteY34" fmla="*/ 458642 h 851783"/>
                <a:gd name="connsiteX35" fmla="*/ 55167 w 155850"/>
                <a:gd name="connsiteY35" fmla="*/ 473786 h 851783"/>
                <a:gd name="connsiteX36" fmla="*/ 50299 w 155850"/>
                <a:gd name="connsiteY36" fmla="*/ 477572 h 851783"/>
                <a:gd name="connsiteX37" fmla="*/ 65984 w 155850"/>
                <a:gd name="connsiteY37" fmla="*/ 467296 h 851783"/>
                <a:gd name="connsiteX38" fmla="*/ 83291 w 155850"/>
                <a:gd name="connsiteY38" fmla="*/ 460265 h 851783"/>
                <a:gd name="connsiteX39" fmla="*/ 101680 w 155850"/>
                <a:gd name="connsiteY39" fmla="*/ 457560 h 851783"/>
                <a:gd name="connsiteX40" fmla="*/ 120069 w 155850"/>
                <a:gd name="connsiteY40" fmla="*/ 458102 h 851783"/>
                <a:gd name="connsiteX41" fmla="*/ 136836 w 155850"/>
                <a:gd name="connsiteY41" fmla="*/ 465673 h 851783"/>
                <a:gd name="connsiteX42" fmla="*/ 147112 w 155850"/>
                <a:gd name="connsiteY42" fmla="*/ 478654 h 851783"/>
                <a:gd name="connsiteX43" fmla="*/ 153061 w 155850"/>
                <a:gd name="connsiteY43" fmla="*/ 494339 h 851783"/>
                <a:gd name="connsiteX44" fmla="*/ 155766 w 155850"/>
                <a:gd name="connsiteY44" fmla="*/ 511646 h 851783"/>
                <a:gd name="connsiteX45" fmla="*/ 153061 w 155850"/>
                <a:gd name="connsiteY45" fmla="*/ 528953 h 851783"/>
                <a:gd name="connsiteX46" fmla="*/ 148194 w 155850"/>
                <a:gd name="connsiteY46" fmla="*/ 545720 h 851783"/>
                <a:gd name="connsiteX47" fmla="*/ 141704 w 155850"/>
                <a:gd name="connsiteY47" fmla="*/ 561945 h 851783"/>
                <a:gd name="connsiteX48" fmla="*/ 134672 w 155850"/>
                <a:gd name="connsiteY48" fmla="*/ 577630 h 851783"/>
                <a:gd name="connsiteX49" fmla="*/ 127100 w 155850"/>
                <a:gd name="connsiteY49" fmla="*/ 593314 h 851783"/>
                <a:gd name="connsiteX50" fmla="*/ 117906 w 155850"/>
                <a:gd name="connsiteY50" fmla="*/ 607376 h 851783"/>
                <a:gd name="connsiteX51" fmla="*/ 128723 w 155850"/>
                <a:gd name="connsiteY51" fmla="*/ 620357 h 851783"/>
                <a:gd name="connsiteX52" fmla="*/ 138459 w 155850"/>
                <a:gd name="connsiteY52" fmla="*/ 634960 h 851783"/>
                <a:gd name="connsiteX53" fmla="*/ 145489 w 155850"/>
                <a:gd name="connsiteY53" fmla="*/ 651186 h 851783"/>
                <a:gd name="connsiteX54" fmla="*/ 148194 w 155850"/>
                <a:gd name="connsiteY54" fmla="*/ 668493 h 851783"/>
                <a:gd name="connsiteX55" fmla="*/ 149816 w 155850"/>
                <a:gd name="connsiteY55" fmla="*/ 685800 h 851783"/>
                <a:gd name="connsiteX56" fmla="*/ 151438 w 155850"/>
                <a:gd name="connsiteY56" fmla="*/ 703107 h 851783"/>
                <a:gd name="connsiteX57" fmla="*/ 148734 w 155850"/>
                <a:gd name="connsiteY57" fmla="*/ 720415 h 851783"/>
                <a:gd name="connsiteX58" fmla="*/ 147653 w 155850"/>
                <a:gd name="connsiteY58" fmla="*/ 737722 h 851783"/>
                <a:gd name="connsiteX59" fmla="*/ 142785 w 155850"/>
                <a:gd name="connsiteY59" fmla="*/ 754488 h 851783"/>
                <a:gd name="connsiteX60" fmla="*/ 140081 w 155850"/>
                <a:gd name="connsiteY60" fmla="*/ 771796 h 851783"/>
                <a:gd name="connsiteX61" fmla="*/ 132509 w 155850"/>
                <a:gd name="connsiteY61" fmla="*/ 788021 h 851783"/>
                <a:gd name="connsiteX62" fmla="*/ 125478 w 155850"/>
                <a:gd name="connsiteY62" fmla="*/ 804247 h 851783"/>
                <a:gd name="connsiteX63" fmla="*/ 115742 w 155850"/>
                <a:gd name="connsiteY63" fmla="*/ 818850 h 851783"/>
                <a:gd name="connsiteX64" fmla="*/ 102762 w 155850"/>
                <a:gd name="connsiteY64" fmla="*/ 831289 h 851783"/>
                <a:gd name="connsiteX65" fmla="*/ 89782 w 155850"/>
                <a:gd name="connsiteY65" fmla="*/ 842647 h 851783"/>
                <a:gd name="connsiteX66" fmla="*/ 74638 w 155850"/>
                <a:gd name="connsiteY66" fmla="*/ 850760 h 851783"/>
                <a:gd name="connsiteX67" fmla="*/ 57331 w 155850"/>
                <a:gd name="connsiteY67" fmla="*/ 850760 h 851783"/>
                <a:gd name="connsiteX68" fmla="*/ 40564 w 155850"/>
                <a:gd name="connsiteY68" fmla="*/ 845351 h 851783"/>
                <a:gd name="connsiteX69" fmla="*/ 28665 w 155850"/>
                <a:gd name="connsiteY69" fmla="*/ 832371 h 851783"/>
                <a:gd name="connsiteX70" fmla="*/ 19471 w 155850"/>
                <a:gd name="connsiteY70" fmla="*/ 817227 h 851783"/>
                <a:gd name="connsiteX71" fmla="*/ 12981 w 155850"/>
                <a:gd name="connsiteY71" fmla="*/ 801001 h 851783"/>
                <a:gd name="connsiteX72" fmla="*/ 9195 w 155850"/>
                <a:gd name="connsiteY72" fmla="*/ 783694 h 851783"/>
                <a:gd name="connsiteX73" fmla="*/ 5409 w 155850"/>
                <a:gd name="connsiteY73" fmla="*/ 766387 h 851783"/>
                <a:gd name="connsiteX74" fmla="*/ 6491 w 155850"/>
                <a:gd name="connsiteY74" fmla="*/ 748539 h 851783"/>
                <a:gd name="connsiteX75" fmla="*/ 8113 w 155850"/>
                <a:gd name="connsiteY75" fmla="*/ 731232 h 851783"/>
                <a:gd name="connsiteX76" fmla="*/ 8654 w 155850"/>
                <a:gd name="connsiteY76" fmla="*/ 713384 h 8517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</a:cxnLst>
              <a:rect l="l" t="t" r="r" b="b"/>
              <a:pathLst>
                <a:path w="155850" h="851783">
                  <a:moveTo>
                    <a:pt x="0" y="0"/>
                  </a:moveTo>
                  <a:cubicBezTo>
                    <a:pt x="5409" y="2163"/>
                    <a:pt x="9736" y="7572"/>
                    <a:pt x="13521" y="12440"/>
                  </a:cubicBezTo>
                  <a:cubicBezTo>
                    <a:pt x="17308" y="16766"/>
                    <a:pt x="20553" y="21634"/>
                    <a:pt x="23257" y="27583"/>
                  </a:cubicBezTo>
                  <a:cubicBezTo>
                    <a:pt x="25420" y="32992"/>
                    <a:pt x="26502" y="38941"/>
                    <a:pt x="27584" y="45432"/>
                  </a:cubicBezTo>
                  <a:cubicBezTo>
                    <a:pt x="28665" y="51381"/>
                    <a:pt x="30288" y="57330"/>
                    <a:pt x="30288" y="63820"/>
                  </a:cubicBezTo>
                  <a:cubicBezTo>
                    <a:pt x="30288" y="69770"/>
                    <a:pt x="29206" y="75719"/>
                    <a:pt x="28125" y="82210"/>
                  </a:cubicBezTo>
                  <a:cubicBezTo>
                    <a:pt x="27043" y="88159"/>
                    <a:pt x="24338" y="93567"/>
                    <a:pt x="22716" y="100058"/>
                  </a:cubicBezTo>
                  <a:cubicBezTo>
                    <a:pt x="21093" y="106007"/>
                    <a:pt x="19471" y="111415"/>
                    <a:pt x="16767" y="117365"/>
                  </a:cubicBezTo>
                  <a:cubicBezTo>
                    <a:pt x="15144" y="121692"/>
                    <a:pt x="14063" y="126559"/>
                    <a:pt x="11899" y="130345"/>
                  </a:cubicBezTo>
                  <a:cubicBezTo>
                    <a:pt x="9736" y="134672"/>
                    <a:pt x="5409" y="137376"/>
                    <a:pt x="3246" y="141162"/>
                  </a:cubicBezTo>
                  <a:cubicBezTo>
                    <a:pt x="3786" y="141162"/>
                    <a:pt x="5409" y="140621"/>
                    <a:pt x="5950" y="140621"/>
                  </a:cubicBezTo>
                  <a:cubicBezTo>
                    <a:pt x="11899" y="141162"/>
                    <a:pt x="17848" y="143867"/>
                    <a:pt x="23257" y="146571"/>
                  </a:cubicBezTo>
                  <a:cubicBezTo>
                    <a:pt x="28665" y="148734"/>
                    <a:pt x="34615" y="151438"/>
                    <a:pt x="38942" y="155765"/>
                  </a:cubicBezTo>
                  <a:cubicBezTo>
                    <a:pt x="43268" y="159551"/>
                    <a:pt x="48136" y="163878"/>
                    <a:pt x="51922" y="169287"/>
                  </a:cubicBezTo>
                  <a:cubicBezTo>
                    <a:pt x="55167" y="174154"/>
                    <a:pt x="58953" y="179563"/>
                    <a:pt x="61657" y="184971"/>
                  </a:cubicBezTo>
                  <a:cubicBezTo>
                    <a:pt x="64361" y="190380"/>
                    <a:pt x="65984" y="196329"/>
                    <a:pt x="68148" y="202279"/>
                  </a:cubicBezTo>
                  <a:cubicBezTo>
                    <a:pt x="70311" y="207687"/>
                    <a:pt x="70311" y="214177"/>
                    <a:pt x="71393" y="220127"/>
                  </a:cubicBezTo>
                  <a:cubicBezTo>
                    <a:pt x="72474" y="226076"/>
                    <a:pt x="74638" y="232025"/>
                    <a:pt x="75179" y="237975"/>
                  </a:cubicBezTo>
                  <a:cubicBezTo>
                    <a:pt x="75719" y="243924"/>
                    <a:pt x="78424" y="249874"/>
                    <a:pt x="78424" y="256364"/>
                  </a:cubicBezTo>
                  <a:cubicBezTo>
                    <a:pt x="78424" y="262313"/>
                    <a:pt x="76261" y="268263"/>
                    <a:pt x="75719" y="274753"/>
                  </a:cubicBezTo>
                  <a:cubicBezTo>
                    <a:pt x="75179" y="280161"/>
                    <a:pt x="76801" y="286111"/>
                    <a:pt x="75719" y="291519"/>
                  </a:cubicBezTo>
                  <a:cubicBezTo>
                    <a:pt x="74638" y="296928"/>
                    <a:pt x="73556" y="302877"/>
                    <a:pt x="72474" y="308286"/>
                  </a:cubicBezTo>
                  <a:cubicBezTo>
                    <a:pt x="71393" y="313694"/>
                    <a:pt x="68689" y="319103"/>
                    <a:pt x="67066" y="323970"/>
                  </a:cubicBezTo>
                  <a:cubicBezTo>
                    <a:pt x="65444" y="329379"/>
                    <a:pt x="63280" y="334787"/>
                    <a:pt x="61117" y="339655"/>
                  </a:cubicBezTo>
                  <a:cubicBezTo>
                    <a:pt x="58953" y="345063"/>
                    <a:pt x="56789" y="348849"/>
                    <a:pt x="53544" y="353717"/>
                  </a:cubicBezTo>
                  <a:cubicBezTo>
                    <a:pt x="58412" y="350472"/>
                    <a:pt x="62198" y="348849"/>
                    <a:pt x="67066" y="346686"/>
                  </a:cubicBezTo>
                  <a:cubicBezTo>
                    <a:pt x="72474" y="343982"/>
                    <a:pt x="77883" y="343441"/>
                    <a:pt x="82210" y="342900"/>
                  </a:cubicBezTo>
                  <a:cubicBezTo>
                    <a:pt x="88159" y="341818"/>
                    <a:pt x="93027" y="342900"/>
                    <a:pt x="96813" y="345604"/>
                  </a:cubicBezTo>
                  <a:cubicBezTo>
                    <a:pt x="101140" y="348849"/>
                    <a:pt x="104385" y="353717"/>
                    <a:pt x="104925" y="360748"/>
                  </a:cubicBezTo>
                  <a:cubicBezTo>
                    <a:pt x="105466" y="365616"/>
                    <a:pt x="103303" y="371565"/>
                    <a:pt x="102221" y="378596"/>
                  </a:cubicBezTo>
                  <a:cubicBezTo>
                    <a:pt x="101140" y="384005"/>
                    <a:pt x="100058" y="389954"/>
                    <a:pt x="97895" y="395904"/>
                  </a:cubicBezTo>
                  <a:cubicBezTo>
                    <a:pt x="96272" y="401312"/>
                    <a:pt x="93027" y="406180"/>
                    <a:pt x="90323" y="412129"/>
                  </a:cubicBezTo>
                  <a:cubicBezTo>
                    <a:pt x="88159" y="417538"/>
                    <a:pt x="84914" y="422405"/>
                    <a:pt x="82210" y="427814"/>
                  </a:cubicBezTo>
                  <a:cubicBezTo>
                    <a:pt x="79506" y="432681"/>
                    <a:pt x="77883" y="438631"/>
                    <a:pt x="74638" y="444039"/>
                  </a:cubicBezTo>
                  <a:cubicBezTo>
                    <a:pt x="71393" y="448907"/>
                    <a:pt x="67606" y="453775"/>
                    <a:pt x="64361" y="458642"/>
                  </a:cubicBezTo>
                  <a:cubicBezTo>
                    <a:pt x="61117" y="463510"/>
                    <a:pt x="58953" y="468919"/>
                    <a:pt x="55167" y="473786"/>
                  </a:cubicBezTo>
                  <a:cubicBezTo>
                    <a:pt x="54085" y="475409"/>
                    <a:pt x="51381" y="475950"/>
                    <a:pt x="50299" y="477572"/>
                  </a:cubicBezTo>
                  <a:cubicBezTo>
                    <a:pt x="55708" y="473786"/>
                    <a:pt x="60576" y="470000"/>
                    <a:pt x="65984" y="467296"/>
                  </a:cubicBezTo>
                  <a:cubicBezTo>
                    <a:pt x="71934" y="464051"/>
                    <a:pt x="77883" y="461888"/>
                    <a:pt x="83291" y="460265"/>
                  </a:cubicBezTo>
                  <a:cubicBezTo>
                    <a:pt x="89782" y="458102"/>
                    <a:pt x="95731" y="458102"/>
                    <a:pt x="101680" y="457560"/>
                  </a:cubicBezTo>
                  <a:cubicBezTo>
                    <a:pt x="108170" y="457020"/>
                    <a:pt x="114120" y="457020"/>
                    <a:pt x="120069" y="458102"/>
                  </a:cubicBezTo>
                  <a:cubicBezTo>
                    <a:pt x="126559" y="459183"/>
                    <a:pt x="131968" y="461888"/>
                    <a:pt x="136836" y="465673"/>
                  </a:cubicBezTo>
                  <a:cubicBezTo>
                    <a:pt x="141704" y="469459"/>
                    <a:pt x="144408" y="473786"/>
                    <a:pt x="147112" y="478654"/>
                  </a:cubicBezTo>
                  <a:cubicBezTo>
                    <a:pt x="149816" y="483522"/>
                    <a:pt x="151980" y="488389"/>
                    <a:pt x="153061" y="494339"/>
                  </a:cubicBezTo>
                  <a:cubicBezTo>
                    <a:pt x="154143" y="499747"/>
                    <a:pt x="156306" y="505696"/>
                    <a:pt x="155766" y="511646"/>
                  </a:cubicBezTo>
                  <a:cubicBezTo>
                    <a:pt x="155766" y="517054"/>
                    <a:pt x="154143" y="523004"/>
                    <a:pt x="153061" y="528953"/>
                  </a:cubicBezTo>
                  <a:cubicBezTo>
                    <a:pt x="151980" y="534361"/>
                    <a:pt x="149816" y="539770"/>
                    <a:pt x="148194" y="545720"/>
                  </a:cubicBezTo>
                  <a:cubicBezTo>
                    <a:pt x="146571" y="551128"/>
                    <a:pt x="143867" y="555996"/>
                    <a:pt x="141704" y="561945"/>
                  </a:cubicBezTo>
                  <a:cubicBezTo>
                    <a:pt x="139540" y="567354"/>
                    <a:pt x="137376" y="572221"/>
                    <a:pt x="134672" y="577630"/>
                  </a:cubicBezTo>
                  <a:cubicBezTo>
                    <a:pt x="131968" y="582497"/>
                    <a:pt x="130346" y="588447"/>
                    <a:pt x="127100" y="593314"/>
                  </a:cubicBezTo>
                  <a:cubicBezTo>
                    <a:pt x="123855" y="598182"/>
                    <a:pt x="121692" y="602509"/>
                    <a:pt x="117906" y="607376"/>
                  </a:cubicBezTo>
                  <a:cubicBezTo>
                    <a:pt x="122233" y="610622"/>
                    <a:pt x="124937" y="614949"/>
                    <a:pt x="128723" y="620357"/>
                  </a:cubicBezTo>
                  <a:cubicBezTo>
                    <a:pt x="131968" y="624684"/>
                    <a:pt x="135754" y="629552"/>
                    <a:pt x="138459" y="634960"/>
                  </a:cubicBezTo>
                  <a:cubicBezTo>
                    <a:pt x="140621" y="639828"/>
                    <a:pt x="143867" y="645236"/>
                    <a:pt x="145489" y="651186"/>
                  </a:cubicBezTo>
                  <a:cubicBezTo>
                    <a:pt x="147112" y="656594"/>
                    <a:pt x="147653" y="662543"/>
                    <a:pt x="148194" y="668493"/>
                  </a:cubicBezTo>
                  <a:cubicBezTo>
                    <a:pt x="149276" y="673901"/>
                    <a:pt x="149276" y="679851"/>
                    <a:pt x="149816" y="685800"/>
                  </a:cubicBezTo>
                  <a:cubicBezTo>
                    <a:pt x="150357" y="691208"/>
                    <a:pt x="151438" y="697158"/>
                    <a:pt x="151438" y="703107"/>
                  </a:cubicBezTo>
                  <a:cubicBezTo>
                    <a:pt x="151438" y="709057"/>
                    <a:pt x="149276" y="714465"/>
                    <a:pt x="148734" y="720415"/>
                  </a:cubicBezTo>
                  <a:cubicBezTo>
                    <a:pt x="148194" y="726364"/>
                    <a:pt x="148734" y="732313"/>
                    <a:pt x="147653" y="737722"/>
                  </a:cubicBezTo>
                  <a:cubicBezTo>
                    <a:pt x="146571" y="743671"/>
                    <a:pt x="143867" y="749080"/>
                    <a:pt x="142785" y="754488"/>
                  </a:cubicBezTo>
                  <a:cubicBezTo>
                    <a:pt x="141163" y="760437"/>
                    <a:pt x="141704" y="766387"/>
                    <a:pt x="140081" y="771796"/>
                  </a:cubicBezTo>
                  <a:cubicBezTo>
                    <a:pt x="137917" y="777745"/>
                    <a:pt x="134672" y="782613"/>
                    <a:pt x="132509" y="788021"/>
                  </a:cubicBezTo>
                  <a:cubicBezTo>
                    <a:pt x="130346" y="793430"/>
                    <a:pt x="128182" y="799379"/>
                    <a:pt x="125478" y="804247"/>
                  </a:cubicBezTo>
                  <a:cubicBezTo>
                    <a:pt x="122233" y="809655"/>
                    <a:pt x="118987" y="814523"/>
                    <a:pt x="115742" y="818850"/>
                  </a:cubicBezTo>
                  <a:cubicBezTo>
                    <a:pt x="111957" y="823717"/>
                    <a:pt x="107089" y="826962"/>
                    <a:pt x="102762" y="831289"/>
                  </a:cubicBezTo>
                  <a:cubicBezTo>
                    <a:pt x="98435" y="835616"/>
                    <a:pt x="94108" y="839402"/>
                    <a:pt x="89782" y="842647"/>
                  </a:cubicBezTo>
                  <a:cubicBezTo>
                    <a:pt x="84373" y="845892"/>
                    <a:pt x="79506" y="849678"/>
                    <a:pt x="74638" y="850760"/>
                  </a:cubicBezTo>
                  <a:cubicBezTo>
                    <a:pt x="68689" y="852382"/>
                    <a:pt x="62739" y="851842"/>
                    <a:pt x="57331" y="850760"/>
                  </a:cubicBezTo>
                  <a:cubicBezTo>
                    <a:pt x="51381" y="849678"/>
                    <a:pt x="45432" y="848597"/>
                    <a:pt x="40564" y="845351"/>
                  </a:cubicBezTo>
                  <a:cubicBezTo>
                    <a:pt x="35697" y="842106"/>
                    <a:pt x="32451" y="837238"/>
                    <a:pt x="28665" y="832371"/>
                  </a:cubicBezTo>
                  <a:cubicBezTo>
                    <a:pt x="25420" y="828044"/>
                    <a:pt x="22175" y="823176"/>
                    <a:pt x="19471" y="817227"/>
                  </a:cubicBezTo>
                  <a:cubicBezTo>
                    <a:pt x="17308" y="812359"/>
                    <a:pt x="14603" y="806951"/>
                    <a:pt x="12981" y="801001"/>
                  </a:cubicBezTo>
                  <a:cubicBezTo>
                    <a:pt x="11358" y="795593"/>
                    <a:pt x="10276" y="789644"/>
                    <a:pt x="9195" y="783694"/>
                  </a:cubicBezTo>
                  <a:cubicBezTo>
                    <a:pt x="8113" y="778286"/>
                    <a:pt x="5950" y="772336"/>
                    <a:pt x="5409" y="766387"/>
                  </a:cubicBezTo>
                  <a:cubicBezTo>
                    <a:pt x="4868" y="760437"/>
                    <a:pt x="6491" y="754488"/>
                    <a:pt x="6491" y="748539"/>
                  </a:cubicBezTo>
                  <a:cubicBezTo>
                    <a:pt x="6491" y="742589"/>
                    <a:pt x="7572" y="737181"/>
                    <a:pt x="8113" y="731232"/>
                  </a:cubicBezTo>
                  <a:cubicBezTo>
                    <a:pt x="8654" y="725282"/>
                    <a:pt x="7572" y="719333"/>
                    <a:pt x="8654" y="713384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E2149F7E-D57F-9597-6E74-E1CC314321BD}"/>
                </a:ext>
              </a:extLst>
            </p:cNvPr>
            <p:cNvSpPr/>
            <p:nvPr/>
          </p:nvSpPr>
          <p:spPr>
            <a:xfrm>
              <a:off x="9923127" y="2329989"/>
              <a:ext cx="125477" cy="119528"/>
            </a:xfrm>
            <a:custGeom>
              <a:avLst/>
              <a:gdLst>
                <a:gd name="connsiteX0" fmla="*/ 0 w 125477"/>
                <a:gd name="connsiteY0" fmla="*/ 72474 h 119528"/>
                <a:gd name="connsiteX1" fmla="*/ 8653 w 125477"/>
                <a:gd name="connsiteY1" fmla="*/ 54626 h 119528"/>
                <a:gd name="connsiteX2" fmla="*/ 18930 w 125477"/>
                <a:gd name="connsiteY2" fmla="*/ 38401 h 119528"/>
                <a:gd name="connsiteX3" fmla="*/ 32451 w 125477"/>
                <a:gd name="connsiteY3" fmla="*/ 24338 h 119528"/>
                <a:gd name="connsiteX4" fmla="*/ 47054 w 125477"/>
                <a:gd name="connsiteY4" fmla="*/ 11899 h 119528"/>
                <a:gd name="connsiteX5" fmla="*/ 64361 w 125477"/>
                <a:gd name="connsiteY5" fmla="*/ 3245 h 119528"/>
                <a:gd name="connsiteX6" fmla="*/ 79505 w 125477"/>
                <a:gd name="connsiteY6" fmla="*/ 0 h 119528"/>
                <a:gd name="connsiteX7" fmla="*/ 94649 w 125477"/>
                <a:gd name="connsiteY7" fmla="*/ 2704 h 119528"/>
                <a:gd name="connsiteX8" fmla="*/ 109793 w 125477"/>
                <a:gd name="connsiteY8" fmla="*/ 13521 h 119528"/>
                <a:gd name="connsiteX9" fmla="*/ 118987 w 125477"/>
                <a:gd name="connsiteY9" fmla="*/ 29747 h 119528"/>
                <a:gd name="connsiteX10" fmla="*/ 122232 w 125477"/>
                <a:gd name="connsiteY10" fmla="*/ 47595 h 119528"/>
                <a:gd name="connsiteX11" fmla="*/ 125477 w 125477"/>
                <a:gd name="connsiteY11" fmla="*/ 65984 h 119528"/>
                <a:gd name="connsiteX12" fmla="*/ 123314 w 125477"/>
                <a:gd name="connsiteY12" fmla="*/ 84373 h 119528"/>
                <a:gd name="connsiteX13" fmla="*/ 117905 w 125477"/>
                <a:gd name="connsiteY13" fmla="*/ 102221 h 119528"/>
                <a:gd name="connsiteX14" fmla="*/ 111956 w 125477"/>
                <a:gd name="connsiteY14" fmla="*/ 119528 h 119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5477" h="119528">
                  <a:moveTo>
                    <a:pt x="0" y="72474"/>
                  </a:moveTo>
                  <a:cubicBezTo>
                    <a:pt x="2704" y="66525"/>
                    <a:pt x="5409" y="60575"/>
                    <a:pt x="8653" y="54626"/>
                  </a:cubicBezTo>
                  <a:cubicBezTo>
                    <a:pt x="11898" y="48677"/>
                    <a:pt x="15143" y="43268"/>
                    <a:pt x="18930" y="38401"/>
                  </a:cubicBezTo>
                  <a:cubicBezTo>
                    <a:pt x="23256" y="32992"/>
                    <a:pt x="28124" y="28665"/>
                    <a:pt x="32451" y="24338"/>
                  </a:cubicBezTo>
                  <a:cubicBezTo>
                    <a:pt x="37319" y="19471"/>
                    <a:pt x="41645" y="15144"/>
                    <a:pt x="47054" y="11899"/>
                  </a:cubicBezTo>
                  <a:cubicBezTo>
                    <a:pt x="57871" y="5949"/>
                    <a:pt x="54626" y="7572"/>
                    <a:pt x="64361" y="3245"/>
                  </a:cubicBezTo>
                  <a:cubicBezTo>
                    <a:pt x="69229" y="1623"/>
                    <a:pt x="74637" y="0"/>
                    <a:pt x="79505" y="0"/>
                  </a:cubicBezTo>
                  <a:cubicBezTo>
                    <a:pt x="84913" y="0"/>
                    <a:pt x="89781" y="1082"/>
                    <a:pt x="94649" y="2704"/>
                  </a:cubicBezTo>
                  <a:cubicBezTo>
                    <a:pt x="100058" y="4868"/>
                    <a:pt x="105466" y="8654"/>
                    <a:pt x="109793" y="13521"/>
                  </a:cubicBezTo>
                  <a:cubicBezTo>
                    <a:pt x="113579" y="17848"/>
                    <a:pt x="116283" y="23798"/>
                    <a:pt x="118987" y="29747"/>
                  </a:cubicBezTo>
                  <a:cubicBezTo>
                    <a:pt x="121151" y="35155"/>
                    <a:pt x="121692" y="41105"/>
                    <a:pt x="122232" y="47595"/>
                  </a:cubicBezTo>
                  <a:cubicBezTo>
                    <a:pt x="123314" y="53544"/>
                    <a:pt x="125477" y="59494"/>
                    <a:pt x="125477" y="65984"/>
                  </a:cubicBezTo>
                  <a:cubicBezTo>
                    <a:pt x="125477" y="71933"/>
                    <a:pt x="124396" y="77883"/>
                    <a:pt x="123314" y="84373"/>
                  </a:cubicBezTo>
                  <a:cubicBezTo>
                    <a:pt x="122232" y="90322"/>
                    <a:pt x="119528" y="95731"/>
                    <a:pt x="117905" y="102221"/>
                  </a:cubicBezTo>
                  <a:cubicBezTo>
                    <a:pt x="116283" y="108170"/>
                    <a:pt x="114120" y="113579"/>
                    <a:pt x="111956" y="119528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36507EEB-2A99-CE47-0D17-922AF10C728F}"/>
                </a:ext>
              </a:extLst>
            </p:cNvPr>
            <p:cNvSpPr/>
            <p:nvPr/>
          </p:nvSpPr>
          <p:spPr>
            <a:xfrm>
              <a:off x="9475842" y="2215825"/>
              <a:ext cx="542686" cy="1135832"/>
            </a:xfrm>
            <a:custGeom>
              <a:avLst/>
              <a:gdLst>
                <a:gd name="connsiteX0" fmla="*/ 47595 w 542686"/>
                <a:gd name="connsiteY0" fmla="*/ 1135833 h 1135832"/>
                <a:gd name="connsiteX1" fmla="*/ 36237 w 542686"/>
                <a:gd name="connsiteY1" fmla="*/ 1122311 h 1135832"/>
                <a:gd name="connsiteX2" fmla="*/ 25961 w 542686"/>
                <a:gd name="connsiteY2" fmla="*/ 1108249 h 1135832"/>
                <a:gd name="connsiteX3" fmla="*/ 16767 w 542686"/>
                <a:gd name="connsiteY3" fmla="*/ 1093646 h 1135832"/>
                <a:gd name="connsiteX4" fmla="*/ 8654 w 542686"/>
                <a:gd name="connsiteY4" fmla="*/ 1077961 h 1135832"/>
                <a:gd name="connsiteX5" fmla="*/ 4327 w 542686"/>
                <a:gd name="connsiteY5" fmla="*/ 1061195 h 1135832"/>
                <a:gd name="connsiteX6" fmla="*/ 1082 w 542686"/>
                <a:gd name="connsiteY6" fmla="*/ 1043888 h 1135832"/>
                <a:gd name="connsiteX7" fmla="*/ 0 w 542686"/>
                <a:gd name="connsiteY7" fmla="*/ 1026580 h 1135832"/>
                <a:gd name="connsiteX8" fmla="*/ 2164 w 542686"/>
                <a:gd name="connsiteY8" fmla="*/ 1008191 h 1135832"/>
                <a:gd name="connsiteX9" fmla="*/ 3786 w 542686"/>
                <a:gd name="connsiteY9" fmla="*/ 989803 h 1135832"/>
                <a:gd name="connsiteX10" fmla="*/ 9195 w 542686"/>
                <a:gd name="connsiteY10" fmla="*/ 971955 h 1135832"/>
                <a:gd name="connsiteX11" fmla="*/ 18389 w 542686"/>
                <a:gd name="connsiteY11" fmla="*/ 955729 h 1135832"/>
                <a:gd name="connsiteX12" fmla="*/ 27043 w 542686"/>
                <a:gd name="connsiteY12" fmla="*/ 939503 h 1135832"/>
                <a:gd name="connsiteX13" fmla="*/ 38942 w 542686"/>
                <a:gd name="connsiteY13" fmla="*/ 925441 h 1135832"/>
                <a:gd name="connsiteX14" fmla="*/ 52463 w 542686"/>
                <a:gd name="connsiteY14" fmla="*/ 913002 h 1135832"/>
                <a:gd name="connsiteX15" fmla="*/ 67066 w 542686"/>
                <a:gd name="connsiteY15" fmla="*/ 901644 h 1135832"/>
                <a:gd name="connsiteX16" fmla="*/ 83291 w 542686"/>
                <a:gd name="connsiteY16" fmla="*/ 892449 h 1135832"/>
                <a:gd name="connsiteX17" fmla="*/ 70311 w 542686"/>
                <a:gd name="connsiteY17" fmla="*/ 880010 h 1135832"/>
                <a:gd name="connsiteX18" fmla="*/ 61657 w 542686"/>
                <a:gd name="connsiteY18" fmla="*/ 864866 h 1135832"/>
                <a:gd name="connsiteX19" fmla="*/ 57872 w 542686"/>
                <a:gd name="connsiteY19" fmla="*/ 847559 h 1135832"/>
                <a:gd name="connsiteX20" fmla="*/ 54627 w 542686"/>
                <a:gd name="connsiteY20" fmla="*/ 830251 h 1135832"/>
                <a:gd name="connsiteX21" fmla="*/ 58412 w 542686"/>
                <a:gd name="connsiteY21" fmla="*/ 812403 h 1135832"/>
                <a:gd name="connsiteX22" fmla="*/ 62198 w 542686"/>
                <a:gd name="connsiteY22" fmla="*/ 794555 h 1135832"/>
                <a:gd name="connsiteX23" fmla="*/ 73015 w 542686"/>
                <a:gd name="connsiteY23" fmla="*/ 779952 h 1135832"/>
                <a:gd name="connsiteX24" fmla="*/ 84373 w 542686"/>
                <a:gd name="connsiteY24" fmla="*/ 765349 h 1135832"/>
                <a:gd name="connsiteX25" fmla="*/ 100058 w 542686"/>
                <a:gd name="connsiteY25" fmla="*/ 756155 h 1135832"/>
                <a:gd name="connsiteX26" fmla="*/ 116825 w 542686"/>
                <a:gd name="connsiteY26" fmla="*/ 749664 h 1135832"/>
                <a:gd name="connsiteX27" fmla="*/ 135213 w 542686"/>
                <a:gd name="connsiteY27" fmla="*/ 746419 h 1135832"/>
                <a:gd name="connsiteX28" fmla="*/ 128723 w 542686"/>
                <a:gd name="connsiteY28" fmla="*/ 731276 h 1135832"/>
                <a:gd name="connsiteX29" fmla="*/ 122233 w 542686"/>
                <a:gd name="connsiteY29" fmla="*/ 716672 h 1135832"/>
                <a:gd name="connsiteX30" fmla="*/ 121151 w 542686"/>
                <a:gd name="connsiteY30" fmla="*/ 700988 h 1135832"/>
                <a:gd name="connsiteX31" fmla="*/ 119529 w 542686"/>
                <a:gd name="connsiteY31" fmla="*/ 685303 h 1135832"/>
                <a:gd name="connsiteX32" fmla="*/ 121692 w 542686"/>
                <a:gd name="connsiteY32" fmla="*/ 667996 h 1135832"/>
                <a:gd name="connsiteX33" fmla="*/ 124937 w 542686"/>
                <a:gd name="connsiteY33" fmla="*/ 651229 h 1135832"/>
                <a:gd name="connsiteX34" fmla="*/ 128182 w 542686"/>
                <a:gd name="connsiteY34" fmla="*/ 633922 h 1135832"/>
                <a:gd name="connsiteX35" fmla="*/ 138459 w 542686"/>
                <a:gd name="connsiteY35" fmla="*/ 619860 h 1135832"/>
                <a:gd name="connsiteX36" fmla="*/ 148734 w 542686"/>
                <a:gd name="connsiteY36" fmla="*/ 606339 h 1135832"/>
                <a:gd name="connsiteX37" fmla="*/ 160633 w 542686"/>
                <a:gd name="connsiteY37" fmla="*/ 593899 h 1135832"/>
                <a:gd name="connsiteX38" fmla="*/ 176318 w 542686"/>
                <a:gd name="connsiteY38" fmla="*/ 586327 h 1135832"/>
                <a:gd name="connsiteX39" fmla="*/ 193625 w 542686"/>
                <a:gd name="connsiteY39" fmla="*/ 584705 h 1135832"/>
                <a:gd name="connsiteX40" fmla="*/ 213096 w 542686"/>
                <a:gd name="connsiteY40" fmla="*/ 588491 h 1135832"/>
                <a:gd name="connsiteX41" fmla="*/ 209851 w 542686"/>
                <a:gd name="connsiteY41" fmla="*/ 570643 h 1135832"/>
                <a:gd name="connsiteX42" fmla="*/ 208228 w 542686"/>
                <a:gd name="connsiteY42" fmla="*/ 551713 h 1135832"/>
                <a:gd name="connsiteX43" fmla="*/ 188217 w 542686"/>
                <a:gd name="connsiteY43" fmla="*/ 557662 h 1135832"/>
                <a:gd name="connsiteX44" fmla="*/ 168205 w 542686"/>
                <a:gd name="connsiteY44" fmla="*/ 556580 h 1135832"/>
                <a:gd name="connsiteX45" fmla="*/ 149276 w 542686"/>
                <a:gd name="connsiteY45" fmla="*/ 550631 h 1135832"/>
                <a:gd name="connsiteX46" fmla="*/ 132509 w 542686"/>
                <a:gd name="connsiteY46" fmla="*/ 543059 h 1135832"/>
                <a:gd name="connsiteX47" fmla="*/ 119529 w 542686"/>
                <a:gd name="connsiteY47" fmla="*/ 530079 h 1135832"/>
                <a:gd name="connsiteX48" fmla="*/ 108170 w 542686"/>
                <a:gd name="connsiteY48" fmla="*/ 515476 h 1135832"/>
                <a:gd name="connsiteX49" fmla="*/ 101140 w 542686"/>
                <a:gd name="connsiteY49" fmla="*/ 498168 h 1135832"/>
                <a:gd name="connsiteX50" fmla="*/ 95731 w 542686"/>
                <a:gd name="connsiteY50" fmla="*/ 480861 h 1135832"/>
                <a:gd name="connsiteX51" fmla="*/ 94108 w 542686"/>
                <a:gd name="connsiteY51" fmla="*/ 462472 h 1135832"/>
                <a:gd name="connsiteX52" fmla="*/ 94108 w 542686"/>
                <a:gd name="connsiteY52" fmla="*/ 444083 h 1135832"/>
                <a:gd name="connsiteX53" fmla="*/ 95190 w 542686"/>
                <a:gd name="connsiteY53" fmla="*/ 425694 h 1135832"/>
                <a:gd name="connsiteX54" fmla="*/ 98435 w 542686"/>
                <a:gd name="connsiteY54" fmla="*/ 407846 h 1135832"/>
                <a:gd name="connsiteX55" fmla="*/ 103844 w 542686"/>
                <a:gd name="connsiteY55" fmla="*/ 390539 h 1135832"/>
                <a:gd name="connsiteX56" fmla="*/ 108712 w 542686"/>
                <a:gd name="connsiteY56" fmla="*/ 372691 h 1135832"/>
                <a:gd name="connsiteX57" fmla="*/ 116283 w 542686"/>
                <a:gd name="connsiteY57" fmla="*/ 355924 h 1135832"/>
                <a:gd name="connsiteX58" fmla="*/ 126019 w 542686"/>
                <a:gd name="connsiteY58" fmla="*/ 340240 h 1135832"/>
                <a:gd name="connsiteX59" fmla="*/ 137376 w 542686"/>
                <a:gd name="connsiteY59" fmla="*/ 325637 h 1135832"/>
                <a:gd name="connsiteX60" fmla="*/ 149816 w 542686"/>
                <a:gd name="connsiteY60" fmla="*/ 312115 h 1135832"/>
                <a:gd name="connsiteX61" fmla="*/ 163878 w 542686"/>
                <a:gd name="connsiteY61" fmla="*/ 300217 h 1135832"/>
                <a:gd name="connsiteX62" fmla="*/ 177940 w 542686"/>
                <a:gd name="connsiteY62" fmla="*/ 288318 h 1135832"/>
                <a:gd name="connsiteX63" fmla="*/ 193625 w 542686"/>
                <a:gd name="connsiteY63" fmla="*/ 279123 h 1135832"/>
                <a:gd name="connsiteX64" fmla="*/ 210932 w 542686"/>
                <a:gd name="connsiteY64" fmla="*/ 272092 h 1135832"/>
                <a:gd name="connsiteX65" fmla="*/ 229321 w 542686"/>
                <a:gd name="connsiteY65" fmla="*/ 271010 h 1135832"/>
                <a:gd name="connsiteX66" fmla="*/ 247710 w 542686"/>
                <a:gd name="connsiteY66" fmla="*/ 270470 h 1135832"/>
                <a:gd name="connsiteX67" fmla="*/ 265559 w 542686"/>
                <a:gd name="connsiteY67" fmla="*/ 275337 h 1135832"/>
                <a:gd name="connsiteX68" fmla="*/ 274212 w 542686"/>
                <a:gd name="connsiteY68" fmla="*/ 280746 h 1135832"/>
                <a:gd name="connsiteX69" fmla="*/ 275294 w 542686"/>
                <a:gd name="connsiteY69" fmla="*/ 264520 h 1135832"/>
                <a:gd name="connsiteX70" fmla="*/ 281243 w 542686"/>
                <a:gd name="connsiteY70" fmla="*/ 249376 h 1135832"/>
                <a:gd name="connsiteX71" fmla="*/ 285570 w 542686"/>
                <a:gd name="connsiteY71" fmla="*/ 233692 h 1135832"/>
                <a:gd name="connsiteX72" fmla="*/ 290438 w 542686"/>
                <a:gd name="connsiteY72" fmla="*/ 218007 h 1135832"/>
                <a:gd name="connsiteX73" fmla="*/ 299091 w 542686"/>
                <a:gd name="connsiteY73" fmla="*/ 203945 h 1135832"/>
                <a:gd name="connsiteX74" fmla="*/ 307204 w 542686"/>
                <a:gd name="connsiteY74" fmla="*/ 187719 h 1135832"/>
                <a:gd name="connsiteX75" fmla="*/ 315858 w 542686"/>
                <a:gd name="connsiteY75" fmla="*/ 171494 h 1135832"/>
                <a:gd name="connsiteX76" fmla="*/ 325052 w 542686"/>
                <a:gd name="connsiteY76" fmla="*/ 155809 h 1135832"/>
                <a:gd name="connsiteX77" fmla="*/ 337492 w 542686"/>
                <a:gd name="connsiteY77" fmla="*/ 142829 h 1135832"/>
                <a:gd name="connsiteX78" fmla="*/ 349931 w 542686"/>
                <a:gd name="connsiteY78" fmla="*/ 129848 h 1135832"/>
                <a:gd name="connsiteX79" fmla="*/ 363453 w 542686"/>
                <a:gd name="connsiteY79" fmla="*/ 117950 h 1135832"/>
                <a:gd name="connsiteX80" fmla="*/ 379678 w 542686"/>
                <a:gd name="connsiteY80" fmla="*/ 109296 h 1135832"/>
                <a:gd name="connsiteX81" fmla="*/ 397526 w 542686"/>
                <a:gd name="connsiteY81" fmla="*/ 111459 h 1135832"/>
                <a:gd name="connsiteX82" fmla="*/ 402394 w 542686"/>
                <a:gd name="connsiteY82" fmla="*/ 113623 h 1135832"/>
                <a:gd name="connsiteX83" fmla="*/ 411589 w 542686"/>
                <a:gd name="connsiteY83" fmla="*/ 91989 h 1135832"/>
                <a:gd name="connsiteX84" fmla="*/ 418619 w 542686"/>
                <a:gd name="connsiteY84" fmla="*/ 74681 h 1135832"/>
                <a:gd name="connsiteX85" fmla="*/ 428896 w 542686"/>
                <a:gd name="connsiteY85" fmla="*/ 58997 h 1135832"/>
                <a:gd name="connsiteX86" fmla="*/ 439172 w 542686"/>
                <a:gd name="connsiteY86" fmla="*/ 43853 h 1135832"/>
                <a:gd name="connsiteX87" fmla="*/ 449989 w 542686"/>
                <a:gd name="connsiteY87" fmla="*/ 28709 h 1135832"/>
                <a:gd name="connsiteX88" fmla="*/ 462428 w 542686"/>
                <a:gd name="connsiteY88" fmla="*/ 15188 h 1135832"/>
                <a:gd name="connsiteX89" fmla="*/ 477032 w 542686"/>
                <a:gd name="connsiteY89" fmla="*/ 3289 h 1135832"/>
                <a:gd name="connsiteX90" fmla="*/ 495421 w 542686"/>
                <a:gd name="connsiteY90" fmla="*/ 1125 h 1135832"/>
                <a:gd name="connsiteX91" fmla="*/ 504074 w 542686"/>
                <a:gd name="connsiteY91" fmla="*/ 20596 h 1135832"/>
                <a:gd name="connsiteX92" fmla="*/ 505156 w 542686"/>
                <a:gd name="connsiteY92" fmla="*/ 42230 h 1135832"/>
                <a:gd name="connsiteX93" fmla="*/ 517055 w 542686"/>
                <a:gd name="connsiteY93" fmla="*/ 33036 h 1135832"/>
                <a:gd name="connsiteX94" fmla="*/ 531658 w 542686"/>
                <a:gd name="connsiteY94" fmla="*/ 33577 h 1135832"/>
                <a:gd name="connsiteX95" fmla="*/ 541393 w 542686"/>
                <a:gd name="connsiteY95" fmla="*/ 44394 h 1135832"/>
                <a:gd name="connsiteX96" fmla="*/ 542475 w 542686"/>
                <a:gd name="connsiteY96" fmla="*/ 60078 h 1135832"/>
                <a:gd name="connsiteX97" fmla="*/ 538148 w 542686"/>
                <a:gd name="connsiteY97" fmla="*/ 75222 h 1135832"/>
                <a:gd name="connsiteX98" fmla="*/ 534362 w 542686"/>
                <a:gd name="connsiteY98" fmla="*/ 90366 h 1135832"/>
                <a:gd name="connsiteX99" fmla="*/ 525168 w 542686"/>
                <a:gd name="connsiteY99" fmla="*/ 106051 h 1135832"/>
                <a:gd name="connsiteX100" fmla="*/ 512187 w 542686"/>
                <a:gd name="connsiteY100" fmla="*/ 118490 h 1135832"/>
                <a:gd name="connsiteX101" fmla="*/ 494339 w 542686"/>
                <a:gd name="connsiteY101" fmla="*/ 126062 h 11358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</a:cxnLst>
              <a:rect l="l" t="t" r="r" b="b"/>
              <a:pathLst>
                <a:path w="542686" h="1135832">
                  <a:moveTo>
                    <a:pt x="47595" y="1135833"/>
                  </a:moveTo>
                  <a:cubicBezTo>
                    <a:pt x="43268" y="1132047"/>
                    <a:pt x="40023" y="1126638"/>
                    <a:pt x="36237" y="1122311"/>
                  </a:cubicBezTo>
                  <a:cubicBezTo>
                    <a:pt x="32451" y="1117985"/>
                    <a:pt x="29206" y="1113117"/>
                    <a:pt x="25961" y="1108249"/>
                  </a:cubicBezTo>
                  <a:cubicBezTo>
                    <a:pt x="22716" y="1103381"/>
                    <a:pt x="19471" y="1098514"/>
                    <a:pt x="16767" y="1093646"/>
                  </a:cubicBezTo>
                  <a:cubicBezTo>
                    <a:pt x="14063" y="1088238"/>
                    <a:pt x="10817" y="1083370"/>
                    <a:pt x="8654" y="1077961"/>
                  </a:cubicBezTo>
                  <a:cubicBezTo>
                    <a:pt x="6491" y="1072553"/>
                    <a:pt x="5409" y="1066604"/>
                    <a:pt x="4327" y="1061195"/>
                  </a:cubicBezTo>
                  <a:cubicBezTo>
                    <a:pt x="3246" y="1055787"/>
                    <a:pt x="1623" y="1049837"/>
                    <a:pt x="1082" y="1043888"/>
                  </a:cubicBezTo>
                  <a:cubicBezTo>
                    <a:pt x="541" y="1037938"/>
                    <a:pt x="0" y="1032530"/>
                    <a:pt x="0" y="1026580"/>
                  </a:cubicBezTo>
                  <a:cubicBezTo>
                    <a:pt x="0" y="1020090"/>
                    <a:pt x="1082" y="1014141"/>
                    <a:pt x="2164" y="1008191"/>
                  </a:cubicBezTo>
                  <a:cubicBezTo>
                    <a:pt x="2704" y="1002242"/>
                    <a:pt x="2704" y="995752"/>
                    <a:pt x="3786" y="989803"/>
                  </a:cubicBezTo>
                  <a:cubicBezTo>
                    <a:pt x="5409" y="983853"/>
                    <a:pt x="7031" y="977904"/>
                    <a:pt x="9195" y="971955"/>
                  </a:cubicBezTo>
                  <a:cubicBezTo>
                    <a:pt x="11358" y="966005"/>
                    <a:pt x="15144" y="961138"/>
                    <a:pt x="18389" y="955729"/>
                  </a:cubicBezTo>
                  <a:cubicBezTo>
                    <a:pt x="21093" y="950320"/>
                    <a:pt x="23257" y="944371"/>
                    <a:pt x="27043" y="939503"/>
                  </a:cubicBezTo>
                  <a:cubicBezTo>
                    <a:pt x="30829" y="934636"/>
                    <a:pt x="34615" y="929768"/>
                    <a:pt x="38942" y="925441"/>
                  </a:cubicBezTo>
                  <a:cubicBezTo>
                    <a:pt x="43268" y="921114"/>
                    <a:pt x="47595" y="916788"/>
                    <a:pt x="52463" y="913002"/>
                  </a:cubicBezTo>
                  <a:cubicBezTo>
                    <a:pt x="57331" y="909216"/>
                    <a:pt x="61657" y="904889"/>
                    <a:pt x="67066" y="901644"/>
                  </a:cubicBezTo>
                  <a:cubicBezTo>
                    <a:pt x="71934" y="898399"/>
                    <a:pt x="77883" y="895154"/>
                    <a:pt x="83291" y="892449"/>
                  </a:cubicBezTo>
                  <a:cubicBezTo>
                    <a:pt x="78965" y="888663"/>
                    <a:pt x="74097" y="884877"/>
                    <a:pt x="70311" y="880010"/>
                  </a:cubicBezTo>
                  <a:cubicBezTo>
                    <a:pt x="67066" y="875142"/>
                    <a:pt x="63821" y="869733"/>
                    <a:pt x="61657" y="864866"/>
                  </a:cubicBezTo>
                  <a:cubicBezTo>
                    <a:pt x="59494" y="859457"/>
                    <a:pt x="58953" y="853508"/>
                    <a:pt x="57872" y="847559"/>
                  </a:cubicBezTo>
                  <a:cubicBezTo>
                    <a:pt x="56789" y="842150"/>
                    <a:pt x="54627" y="836201"/>
                    <a:pt x="54627" y="830251"/>
                  </a:cubicBezTo>
                  <a:cubicBezTo>
                    <a:pt x="54627" y="824302"/>
                    <a:pt x="57331" y="818353"/>
                    <a:pt x="58412" y="812403"/>
                  </a:cubicBezTo>
                  <a:cubicBezTo>
                    <a:pt x="59494" y="806454"/>
                    <a:pt x="59494" y="799963"/>
                    <a:pt x="62198" y="794555"/>
                  </a:cubicBezTo>
                  <a:cubicBezTo>
                    <a:pt x="64902" y="789146"/>
                    <a:pt x="69770" y="784820"/>
                    <a:pt x="73015" y="779952"/>
                  </a:cubicBezTo>
                  <a:cubicBezTo>
                    <a:pt x="76801" y="775084"/>
                    <a:pt x="79506" y="769135"/>
                    <a:pt x="84373" y="765349"/>
                  </a:cubicBezTo>
                  <a:cubicBezTo>
                    <a:pt x="89241" y="761563"/>
                    <a:pt x="95190" y="759400"/>
                    <a:pt x="100058" y="756155"/>
                  </a:cubicBezTo>
                  <a:cubicBezTo>
                    <a:pt x="105466" y="753450"/>
                    <a:pt x="110875" y="751287"/>
                    <a:pt x="116825" y="749664"/>
                  </a:cubicBezTo>
                  <a:cubicBezTo>
                    <a:pt x="122774" y="748042"/>
                    <a:pt x="129264" y="746419"/>
                    <a:pt x="135213" y="746419"/>
                  </a:cubicBezTo>
                  <a:cubicBezTo>
                    <a:pt x="132509" y="742093"/>
                    <a:pt x="130346" y="736143"/>
                    <a:pt x="128723" y="731276"/>
                  </a:cubicBezTo>
                  <a:cubicBezTo>
                    <a:pt x="127100" y="726408"/>
                    <a:pt x="123314" y="722081"/>
                    <a:pt x="122233" y="716672"/>
                  </a:cubicBezTo>
                  <a:cubicBezTo>
                    <a:pt x="121151" y="711805"/>
                    <a:pt x="121692" y="705855"/>
                    <a:pt x="121151" y="700988"/>
                  </a:cubicBezTo>
                  <a:cubicBezTo>
                    <a:pt x="120610" y="696120"/>
                    <a:pt x="119529" y="690712"/>
                    <a:pt x="119529" y="685303"/>
                  </a:cubicBezTo>
                  <a:cubicBezTo>
                    <a:pt x="119529" y="679354"/>
                    <a:pt x="121151" y="673945"/>
                    <a:pt x="121692" y="667996"/>
                  </a:cubicBezTo>
                  <a:cubicBezTo>
                    <a:pt x="122233" y="662046"/>
                    <a:pt x="123855" y="656638"/>
                    <a:pt x="124937" y="651229"/>
                  </a:cubicBezTo>
                  <a:cubicBezTo>
                    <a:pt x="126559" y="645280"/>
                    <a:pt x="126019" y="639331"/>
                    <a:pt x="128182" y="633922"/>
                  </a:cubicBezTo>
                  <a:cubicBezTo>
                    <a:pt x="130346" y="628514"/>
                    <a:pt x="135213" y="624728"/>
                    <a:pt x="138459" y="619860"/>
                  </a:cubicBezTo>
                  <a:cubicBezTo>
                    <a:pt x="141704" y="614992"/>
                    <a:pt x="144408" y="610125"/>
                    <a:pt x="148734" y="606339"/>
                  </a:cubicBezTo>
                  <a:cubicBezTo>
                    <a:pt x="153061" y="602012"/>
                    <a:pt x="156306" y="597144"/>
                    <a:pt x="160633" y="593899"/>
                  </a:cubicBezTo>
                  <a:cubicBezTo>
                    <a:pt x="165501" y="590654"/>
                    <a:pt x="170910" y="587950"/>
                    <a:pt x="176318" y="586327"/>
                  </a:cubicBezTo>
                  <a:cubicBezTo>
                    <a:pt x="181727" y="584705"/>
                    <a:pt x="187676" y="584705"/>
                    <a:pt x="193625" y="584705"/>
                  </a:cubicBezTo>
                  <a:cubicBezTo>
                    <a:pt x="200115" y="584705"/>
                    <a:pt x="206606" y="586327"/>
                    <a:pt x="213096" y="588491"/>
                  </a:cubicBezTo>
                  <a:cubicBezTo>
                    <a:pt x="211474" y="582541"/>
                    <a:pt x="210932" y="577133"/>
                    <a:pt x="209851" y="570643"/>
                  </a:cubicBezTo>
                  <a:cubicBezTo>
                    <a:pt x="208769" y="564693"/>
                    <a:pt x="208769" y="558203"/>
                    <a:pt x="208228" y="551713"/>
                  </a:cubicBezTo>
                  <a:cubicBezTo>
                    <a:pt x="201738" y="553876"/>
                    <a:pt x="194707" y="556580"/>
                    <a:pt x="188217" y="557662"/>
                  </a:cubicBezTo>
                  <a:cubicBezTo>
                    <a:pt x="181185" y="558203"/>
                    <a:pt x="174695" y="557662"/>
                    <a:pt x="168205" y="556580"/>
                  </a:cubicBezTo>
                  <a:cubicBezTo>
                    <a:pt x="161715" y="555499"/>
                    <a:pt x="155225" y="553335"/>
                    <a:pt x="149276" y="550631"/>
                  </a:cubicBezTo>
                  <a:cubicBezTo>
                    <a:pt x="143326" y="548468"/>
                    <a:pt x="137376" y="546304"/>
                    <a:pt x="132509" y="543059"/>
                  </a:cubicBezTo>
                  <a:cubicBezTo>
                    <a:pt x="127642" y="539814"/>
                    <a:pt x="123855" y="534405"/>
                    <a:pt x="119529" y="530079"/>
                  </a:cubicBezTo>
                  <a:cubicBezTo>
                    <a:pt x="115742" y="525752"/>
                    <a:pt x="111416" y="520884"/>
                    <a:pt x="108170" y="515476"/>
                  </a:cubicBezTo>
                  <a:cubicBezTo>
                    <a:pt x="105466" y="510067"/>
                    <a:pt x="103303" y="504118"/>
                    <a:pt x="101140" y="498168"/>
                  </a:cubicBezTo>
                  <a:cubicBezTo>
                    <a:pt x="98976" y="492760"/>
                    <a:pt x="96813" y="486810"/>
                    <a:pt x="95731" y="480861"/>
                  </a:cubicBezTo>
                  <a:cubicBezTo>
                    <a:pt x="94649" y="474912"/>
                    <a:pt x="94649" y="468962"/>
                    <a:pt x="94108" y="462472"/>
                  </a:cubicBezTo>
                  <a:cubicBezTo>
                    <a:pt x="93568" y="456523"/>
                    <a:pt x="93568" y="450573"/>
                    <a:pt x="94108" y="444083"/>
                  </a:cubicBezTo>
                  <a:cubicBezTo>
                    <a:pt x="94108" y="438134"/>
                    <a:pt x="94108" y="432184"/>
                    <a:pt x="95190" y="425694"/>
                  </a:cubicBezTo>
                  <a:cubicBezTo>
                    <a:pt x="95731" y="419745"/>
                    <a:pt x="96813" y="413795"/>
                    <a:pt x="98435" y="407846"/>
                  </a:cubicBezTo>
                  <a:cubicBezTo>
                    <a:pt x="99517" y="401897"/>
                    <a:pt x="101680" y="396488"/>
                    <a:pt x="103844" y="390539"/>
                  </a:cubicBezTo>
                  <a:cubicBezTo>
                    <a:pt x="105466" y="384589"/>
                    <a:pt x="106007" y="378640"/>
                    <a:pt x="108712" y="372691"/>
                  </a:cubicBezTo>
                  <a:cubicBezTo>
                    <a:pt x="110875" y="366741"/>
                    <a:pt x="113038" y="361333"/>
                    <a:pt x="116283" y="355924"/>
                  </a:cubicBezTo>
                  <a:cubicBezTo>
                    <a:pt x="118987" y="350516"/>
                    <a:pt x="122774" y="345107"/>
                    <a:pt x="126019" y="340240"/>
                  </a:cubicBezTo>
                  <a:cubicBezTo>
                    <a:pt x="129264" y="334831"/>
                    <a:pt x="133591" y="330504"/>
                    <a:pt x="137376" y="325637"/>
                  </a:cubicBezTo>
                  <a:cubicBezTo>
                    <a:pt x="141163" y="320769"/>
                    <a:pt x="145489" y="316442"/>
                    <a:pt x="149816" y="312115"/>
                  </a:cubicBezTo>
                  <a:cubicBezTo>
                    <a:pt x="154143" y="307789"/>
                    <a:pt x="159011" y="304002"/>
                    <a:pt x="163878" y="300217"/>
                  </a:cubicBezTo>
                  <a:cubicBezTo>
                    <a:pt x="168746" y="296431"/>
                    <a:pt x="173073" y="291563"/>
                    <a:pt x="177940" y="288318"/>
                  </a:cubicBezTo>
                  <a:cubicBezTo>
                    <a:pt x="183349" y="285073"/>
                    <a:pt x="188217" y="281287"/>
                    <a:pt x="193625" y="279123"/>
                  </a:cubicBezTo>
                  <a:cubicBezTo>
                    <a:pt x="199574" y="276419"/>
                    <a:pt x="204983" y="273715"/>
                    <a:pt x="210932" y="272092"/>
                  </a:cubicBezTo>
                  <a:cubicBezTo>
                    <a:pt x="216882" y="270470"/>
                    <a:pt x="223372" y="271010"/>
                    <a:pt x="229321" y="271010"/>
                  </a:cubicBezTo>
                  <a:cubicBezTo>
                    <a:pt x="235271" y="270470"/>
                    <a:pt x="241761" y="269388"/>
                    <a:pt x="247710" y="270470"/>
                  </a:cubicBezTo>
                  <a:cubicBezTo>
                    <a:pt x="253660" y="271551"/>
                    <a:pt x="259609" y="273174"/>
                    <a:pt x="265559" y="275337"/>
                  </a:cubicBezTo>
                  <a:cubicBezTo>
                    <a:pt x="268804" y="276419"/>
                    <a:pt x="271508" y="279123"/>
                    <a:pt x="274212" y="280746"/>
                  </a:cubicBezTo>
                  <a:cubicBezTo>
                    <a:pt x="274753" y="275878"/>
                    <a:pt x="274212" y="269929"/>
                    <a:pt x="275294" y="264520"/>
                  </a:cubicBezTo>
                  <a:cubicBezTo>
                    <a:pt x="276376" y="259653"/>
                    <a:pt x="279621" y="254785"/>
                    <a:pt x="281243" y="249376"/>
                  </a:cubicBezTo>
                  <a:cubicBezTo>
                    <a:pt x="282866" y="244509"/>
                    <a:pt x="283947" y="239100"/>
                    <a:pt x="285570" y="233692"/>
                  </a:cubicBezTo>
                  <a:cubicBezTo>
                    <a:pt x="287193" y="228824"/>
                    <a:pt x="288274" y="223416"/>
                    <a:pt x="290438" y="218007"/>
                  </a:cubicBezTo>
                  <a:cubicBezTo>
                    <a:pt x="292601" y="213139"/>
                    <a:pt x="296387" y="208813"/>
                    <a:pt x="299091" y="203945"/>
                  </a:cubicBezTo>
                  <a:cubicBezTo>
                    <a:pt x="301796" y="198536"/>
                    <a:pt x="303959" y="193128"/>
                    <a:pt x="307204" y="187719"/>
                  </a:cubicBezTo>
                  <a:cubicBezTo>
                    <a:pt x="309908" y="182311"/>
                    <a:pt x="312613" y="176902"/>
                    <a:pt x="315858" y="171494"/>
                  </a:cubicBezTo>
                  <a:cubicBezTo>
                    <a:pt x="319103" y="166085"/>
                    <a:pt x="321807" y="160677"/>
                    <a:pt x="325052" y="155809"/>
                  </a:cubicBezTo>
                  <a:cubicBezTo>
                    <a:pt x="328838" y="150941"/>
                    <a:pt x="333706" y="147155"/>
                    <a:pt x="337492" y="142829"/>
                  </a:cubicBezTo>
                  <a:cubicBezTo>
                    <a:pt x="341819" y="137961"/>
                    <a:pt x="345604" y="133634"/>
                    <a:pt x="349931" y="129848"/>
                  </a:cubicBezTo>
                  <a:cubicBezTo>
                    <a:pt x="354799" y="125521"/>
                    <a:pt x="358585" y="120654"/>
                    <a:pt x="363453" y="117950"/>
                  </a:cubicBezTo>
                  <a:cubicBezTo>
                    <a:pt x="368861" y="114163"/>
                    <a:pt x="374270" y="110378"/>
                    <a:pt x="379678" y="109296"/>
                  </a:cubicBezTo>
                  <a:cubicBezTo>
                    <a:pt x="386168" y="107673"/>
                    <a:pt x="392118" y="108755"/>
                    <a:pt x="397526" y="111459"/>
                  </a:cubicBezTo>
                  <a:cubicBezTo>
                    <a:pt x="398608" y="112000"/>
                    <a:pt x="401312" y="113082"/>
                    <a:pt x="402394" y="113623"/>
                  </a:cubicBezTo>
                  <a:cubicBezTo>
                    <a:pt x="405098" y="106592"/>
                    <a:pt x="407802" y="99020"/>
                    <a:pt x="411589" y="91989"/>
                  </a:cubicBezTo>
                  <a:cubicBezTo>
                    <a:pt x="414293" y="86039"/>
                    <a:pt x="415915" y="80090"/>
                    <a:pt x="418619" y="74681"/>
                  </a:cubicBezTo>
                  <a:cubicBezTo>
                    <a:pt x="421864" y="69273"/>
                    <a:pt x="425651" y="64405"/>
                    <a:pt x="428896" y="58997"/>
                  </a:cubicBezTo>
                  <a:cubicBezTo>
                    <a:pt x="432141" y="53588"/>
                    <a:pt x="435927" y="48721"/>
                    <a:pt x="439172" y="43853"/>
                  </a:cubicBezTo>
                  <a:cubicBezTo>
                    <a:pt x="442958" y="38444"/>
                    <a:pt x="446203" y="33577"/>
                    <a:pt x="449989" y="28709"/>
                  </a:cubicBezTo>
                  <a:cubicBezTo>
                    <a:pt x="454315" y="23841"/>
                    <a:pt x="458102" y="18974"/>
                    <a:pt x="462428" y="15188"/>
                  </a:cubicBezTo>
                  <a:cubicBezTo>
                    <a:pt x="467837" y="10320"/>
                    <a:pt x="472164" y="5993"/>
                    <a:pt x="477032" y="3289"/>
                  </a:cubicBezTo>
                  <a:cubicBezTo>
                    <a:pt x="484062" y="44"/>
                    <a:pt x="490553" y="-1038"/>
                    <a:pt x="495421" y="1125"/>
                  </a:cubicBezTo>
                  <a:cubicBezTo>
                    <a:pt x="500829" y="3830"/>
                    <a:pt x="502992" y="11402"/>
                    <a:pt x="504074" y="20596"/>
                  </a:cubicBezTo>
                  <a:cubicBezTo>
                    <a:pt x="505156" y="26546"/>
                    <a:pt x="506238" y="34117"/>
                    <a:pt x="505156" y="42230"/>
                  </a:cubicBezTo>
                  <a:cubicBezTo>
                    <a:pt x="509483" y="38444"/>
                    <a:pt x="513268" y="34658"/>
                    <a:pt x="517055" y="33036"/>
                  </a:cubicBezTo>
                  <a:cubicBezTo>
                    <a:pt x="522463" y="30331"/>
                    <a:pt x="527330" y="31413"/>
                    <a:pt x="531658" y="33577"/>
                  </a:cubicBezTo>
                  <a:cubicBezTo>
                    <a:pt x="535985" y="35740"/>
                    <a:pt x="539770" y="38985"/>
                    <a:pt x="541393" y="44394"/>
                  </a:cubicBezTo>
                  <a:cubicBezTo>
                    <a:pt x="542475" y="48721"/>
                    <a:pt x="543015" y="54129"/>
                    <a:pt x="542475" y="60078"/>
                  </a:cubicBezTo>
                  <a:cubicBezTo>
                    <a:pt x="541934" y="64946"/>
                    <a:pt x="539770" y="69814"/>
                    <a:pt x="538148" y="75222"/>
                  </a:cubicBezTo>
                  <a:cubicBezTo>
                    <a:pt x="536525" y="80090"/>
                    <a:pt x="536525" y="85498"/>
                    <a:pt x="534362" y="90366"/>
                  </a:cubicBezTo>
                  <a:cubicBezTo>
                    <a:pt x="531658" y="95775"/>
                    <a:pt x="528413" y="101183"/>
                    <a:pt x="525168" y="106051"/>
                  </a:cubicBezTo>
                  <a:cubicBezTo>
                    <a:pt x="521381" y="111459"/>
                    <a:pt x="516513" y="115245"/>
                    <a:pt x="512187" y="118490"/>
                  </a:cubicBezTo>
                  <a:cubicBezTo>
                    <a:pt x="506238" y="120113"/>
                    <a:pt x="499747" y="121736"/>
                    <a:pt x="494339" y="126062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A8B4831-F019-C83C-5DF9-6D6F3A255CA8}"/>
                </a:ext>
              </a:extLst>
            </p:cNvPr>
            <p:cNvSpPr/>
            <p:nvPr/>
          </p:nvSpPr>
          <p:spPr>
            <a:xfrm>
              <a:off x="9728420" y="3241324"/>
              <a:ext cx="49758" cy="111415"/>
            </a:xfrm>
            <a:custGeom>
              <a:avLst/>
              <a:gdLst>
                <a:gd name="connsiteX0" fmla="*/ 49758 w 49758"/>
                <a:gd name="connsiteY0" fmla="*/ 0 h 111415"/>
                <a:gd name="connsiteX1" fmla="*/ 48677 w 49758"/>
                <a:gd name="connsiteY1" fmla="*/ 17848 h 111415"/>
                <a:gd name="connsiteX2" fmla="*/ 44890 w 49758"/>
                <a:gd name="connsiteY2" fmla="*/ 35696 h 111415"/>
                <a:gd name="connsiteX3" fmla="*/ 38941 w 49758"/>
                <a:gd name="connsiteY3" fmla="*/ 52463 h 111415"/>
                <a:gd name="connsiteX4" fmla="*/ 32992 w 49758"/>
                <a:gd name="connsiteY4" fmla="*/ 69229 h 111415"/>
                <a:gd name="connsiteX5" fmla="*/ 22716 w 49758"/>
                <a:gd name="connsiteY5" fmla="*/ 83832 h 111415"/>
                <a:gd name="connsiteX6" fmla="*/ 12981 w 49758"/>
                <a:gd name="connsiteY6" fmla="*/ 98976 h 111415"/>
                <a:gd name="connsiteX7" fmla="*/ 0 w 49758"/>
                <a:gd name="connsiteY7" fmla="*/ 111416 h 1114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9758" h="111415">
                  <a:moveTo>
                    <a:pt x="49758" y="0"/>
                  </a:moveTo>
                  <a:cubicBezTo>
                    <a:pt x="49758" y="5950"/>
                    <a:pt x="49217" y="11899"/>
                    <a:pt x="48677" y="17848"/>
                  </a:cubicBezTo>
                  <a:cubicBezTo>
                    <a:pt x="48136" y="23798"/>
                    <a:pt x="46513" y="29747"/>
                    <a:pt x="44890" y="35696"/>
                  </a:cubicBezTo>
                  <a:cubicBezTo>
                    <a:pt x="43268" y="41646"/>
                    <a:pt x="41105" y="47054"/>
                    <a:pt x="38941" y="52463"/>
                  </a:cubicBezTo>
                  <a:cubicBezTo>
                    <a:pt x="36778" y="57871"/>
                    <a:pt x="35696" y="64361"/>
                    <a:pt x="32992" y="69229"/>
                  </a:cubicBezTo>
                  <a:cubicBezTo>
                    <a:pt x="30288" y="74637"/>
                    <a:pt x="25960" y="78965"/>
                    <a:pt x="22716" y="83832"/>
                  </a:cubicBezTo>
                  <a:cubicBezTo>
                    <a:pt x="19471" y="88700"/>
                    <a:pt x="16766" y="94108"/>
                    <a:pt x="12981" y="98976"/>
                  </a:cubicBezTo>
                  <a:cubicBezTo>
                    <a:pt x="9194" y="103303"/>
                    <a:pt x="4326" y="107630"/>
                    <a:pt x="0" y="111416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69486E86-985B-EE36-01FB-F4068FE3B89E}"/>
                </a:ext>
              </a:extLst>
            </p:cNvPr>
            <p:cNvSpPr/>
            <p:nvPr/>
          </p:nvSpPr>
          <p:spPr>
            <a:xfrm>
              <a:off x="9852275" y="2829736"/>
              <a:ext cx="2162" cy="339114"/>
            </a:xfrm>
            <a:custGeom>
              <a:avLst/>
              <a:gdLst>
                <a:gd name="connsiteX0" fmla="*/ 541 w 2162"/>
                <a:gd name="connsiteY0" fmla="*/ 0 h 339114"/>
                <a:gd name="connsiteX1" fmla="*/ 0 w 2162"/>
                <a:gd name="connsiteY1" fmla="*/ 17848 h 339114"/>
                <a:gd name="connsiteX2" fmla="*/ 0 w 2162"/>
                <a:gd name="connsiteY2" fmla="*/ 35696 h 339114"/>
                <a:gd name="connsiteX3" fmla="*/ 1622 w 2162"/>
                <a:gd name="connsiteY3" fmla="*/ 53544 h 339114"/>
                <a:gd name="connsiteX4" fmla="*/ 2163 w 2162"/>
                <a:gd name="connsiteY4" fmla="*/ 71392 h 339114"/>
                <a:gd name="connsiteX5" fmla="*/ 541 w 2162"/>
                <a:gd name="connsiteY5" fmla="*/ 89241 h 339114"/>
                <a:gd name="connsiteX6" fmla="*/ 0 w 2162"/>
                <a:gd name="connsiteY6" fmla="*/ 107089 h 339114"/>
                <a:gd name="connsiteX7" fmla="*/ 0 w 2162"/>
                <a:gd name="connsiteY7" fmla="*/ 124937 h 339114"/>
                <a:gd name="connsiteX8" fmla="*/ 0 w 2162"/>
                <a:gd name="connsiteY8" fmla="*/ 142785 h 339114"/>
                <a:gd name="connsiteX9" fmla="*/ 0 w 2162"/>
                <a:gd name="connsiteY9" fmla="*/ 160633 h 339114"/>
                <a:gd name="connsiteX10" fmla="*/ 1622 w 2162"/>
                <a:gd name="connsiteY10" fmla="*/ 178481 h 339114"/>
                <a:gd name="connsiteX11" fmla="*/ 1081 w 2162"/>
                <a:gd name="connsiteY11" fmla="*/ 196329 h 339114"/>
                <a:gd name="connsiteX12" fmla="*/ 2163 w 2162"/>
                <a:gd name="connsiteY12" fmla="*/ 214177 h 339114"/>
                <a:gd name="connsiteX13" fmla="*/ 2163 w 2162"/>
                <a:gd name="connsiteY13" fmla="*/ 232025 h 339114"/>
                <a:gd name="connsiteX14" fmla="*/ 1622 w 2162"/>
                <a:gd name="connsiteY14" fmla="*/ 249874 h 339114"/>
                <a:gd name="connsiteX15" fmla="*/ 2163 w 2162"/>
                <a:gd name="connsiteY15" fmla="*/ 267722 h 339114"/>
                <a:gd name="connsiteX16" fmla="*/ 1622 w 2162"/>
                <a:gd name="connsiteY16" fmla="*/ 285570 h 339114"/>
                <a:gd name="connsiteX17" fmla="*/ 1081 w 2162"/>
                <a:gd name="connsiteY17" fmla="*/ 303418 h 339114"/>
                <a:gd name="connsiteX18" fmla="*/ 1081 w 2162"/>
                <a:gd name="connsiteY18" fmla="*/ 321266 h 339114"/>
                <a:gd name="connsiteX19" fmla="*/ 2163 w 2162"/>
                <a:gd name="connsiteY19" fmla="*/ 339114 h 339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2162" h="339114">
                  <a:moveTo>
                    <a:pt x="541" y="0"/>
                  </a:moveTo>
                  <a:cubicBezTo>
                    <a:pt x="541" y="8653"/>
                    <a:pt x="0" y="8653"/>
                    <a:pt x="0" y="17848"/>
                  </a:cubicBezTo>
                  <a:cubicBezTo>
                    <a:pt x="0" y="26502"/>
                    <a:pt x="0" y="26502"/>
                    <a:pt x="0" y="35696"/>
                  </a:cubicBezTo>
                  <a:cubicBezTo>
                    <a:pt x="0" y="44350"/>
                    <a:pt x="1622" y="44350"/>
                    <a:pt x="1622" y="53544"/>
                  </a:cubicBezTo>
                  <a:cubicBezTo>
                    <a:pt x="1622" y="62198"/>
                    <a:pt x="2163" y="62198"/>
                    <a:pt x="2163" y="71392"/>
                  </a:cubicBezTo>
                  <a:cubicBezTo>
                    <a:pt x="2163" y="80046"/>
                    <a:pt x="541" y="80046"/>
                    <a:pt x="541" y="89241"/>
                  </a:cubicBezTo>
                  <a:cubicBezTo>
                    <a:pt x="541" y="97894"/>
                    <a:pt x="0" y="97894"/>
                    <a:pt x="0" y="107089"/>
                  </a:cubicBezTo>
                  <a:cubicBezTo>
                    <a:pt x="0" y="115742"/>
                    <a:pt x="0" y="115742"/>
                    <a:pt x="0" y="124937"/>
                  </a:cubicBezTo>
                  <a:cubicBezTo>
                    <a:pt x="0" y="133590"/>
                    <a:pt x="0" y="133590"/>
                    <a:pt x="0" y="142785"/>
                  </a:cubicBezTo>
                  <a:cubicBezTo>
                    <a:pt x="0" y="151438"/>
                    <a:pt x="0" y="151438"/>
                    <a:pt x="0" y="160633"/>
                  </a:cubicBezTo>
                  <a:cubicBezTo>
                    <a:pt x="0" y="169287"/>
                    <a:pt x="1622" y="169287"/>
                    <a:pt x="1622" y="178481"/>
                  </a:cubicBezTo>
                  <a:cubicBezTo>
                    <a:pt x="1622" y="187135"/>
                    <a:pt x="1081" y="187135"/>
                    <a:pt x="1081" y="196329"/>
                  </a:cubicBezTo>
                  <a:cubicBezTo>
                    <a:pt x="1081" y="204983"/>
                    <a:pt x="2163" y="204983"/>
                    <a:pt x="2163" y="214177"/>
                  </a:cubicBezTo>
                  <a:cubicBezTo>
                    <a:pt x="2163" y="223372"/>
                    <a:pt x="2163" y="222831"/>
                    <a:pt x="2163" y="232025"/>
                  </a:cubicBezTo>
                  <a:cubicBezTo>
                    <a:pt x="2163" y="240679"/>
                    <a:pt x="1622" y="240679"/>
                    <a:pt x="1622" y="249874"/>
                  </a:cubicBezTo>
                  <a:cubicBezTo>
                    <a:pt x="1622" y="258527"/>
                    <a:pt x="2163" y="258527"/>
                    <a:pt x="2163" y="267722"/>
                  </a:cubicBezTo>
                  <a:cubicBezTo>
                    <a:pt x="2163" y="276375"/>
                    <a:pt x="1622" y="276375"/>
                    <a:pt x="1622" y="285570"/>
                  </a:cubicBezTo>
                  <a:cubicBezTo>
                    <a:pt x="1622" y="294223"/>
                    <a:pt x="1081" y="294223"/>
                    <a:pt x="1081" y="303418"/>
                  </a:cubicBezTo>
                  <a:cubicBezTo>
                    <a:pt x="1081" y="312072"/>
                    <a:pt x="1081" y="312072"/>
                    <a:pt x="1081" y="321266"/>
                  </a:cubicBezTo>
                  <a:cubicBezTo>
                    <a:pt x="1081" y="329920"/>
                    <a:pt x="2163" y="329920"/>
                    <a:pt x="2163" y="339114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38E3D3C8-C390-1C67-9590-A00C2990E92D}"/>
                </a:ext>
              </a:extLst>
            </p:cNvPr>
            <p:cNvSpPr/>
            <p:nvPr/>
          </p:nvSpPr>
          <p:spPr>
            <a:xfrm>
              <a:off x="9925831" y="3065006"/>
              <a:ext cx="2704" cy="207686"/>
            </a:xfrm>
            <a:custGeom>
              <a:avLst/>
              <a:gdLst>
                <a:gd name="connsiteX0" fmla="*/ 1081 w 2704"/>
                <a:gd name="connsiteY0" fmla="*/ 0 h 207686"/>
                <a:gd name="connsiteX1" fmla="*/ 541 w 2704"/>
                <a:gd name="connsiteY1" fmla="*/ 17307 h 207686"/>
                <a:gd name="connsiteX2" fmla="*/ 2704 w 2704"/>
                <a:gd name="connsiteY2" fmla="*/ 34614 h 207686"/>
                <a:gd name="connsiteX3" fmla="*/ 0 w 2704"/>
                <a:gd name="connsiteY3" fmla="*/ 51922 h 207686"/>
                <a:gd name="connsiteX4" fmla="*/ 1081 w 2704"/>
                <a:gd name="connsiteY4" fmla="*/ 69229 h 207686"/>
                <a:gd name="connsiteX5" fmla="*/ 541 w 2704"/>
                <a:gd name="connsiteY5" fmla="*/ 86536 h 207686"/>
                <a:gd name="connsiteX6" fmla="*/ 2164 w 2704"/>
                <a:gd name="connsiteY6" fmla="*/ 103844 h 207686"/>
                <a:gd name="connsiteX7" fmla="*/ 1081 w 2704"/>
                <a:gd name="connsiteY7" fmla="*/ 121151 h 207686"/>
                <a:gd name="connsiteX8" fmla="*/ 1622 w 2704"/>
                <a:gd name="connsiteY8" fmla="*/ 138458 h 207686"/>
                <a:gd name="connsiteX9" fmla="*/ 2164 w 2704"/>
                <a:gd name="connsiteY9" fmla="*/ 155765 h 207686"/>
                <a:gd name="connsiteX10" fmla="*/ 2164 w 2704"/>
                <a:gd name="connsiteY10" fmla="*/ 173073 h 207686"/>
                <a:gd name="connsiteX11" fmla="*/ 2164 w 2704"/>
                <a:gd name="connsiteY11" fmla="*/ 190380 h 207686"/>
                <a:gd name="connsiteX12" fmla="*/ 2704 w 2704"/>
                <a:gd name="connsiteY12" fmla="*/ 207687 h 207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04" h="207686">
                  <a:moveTo>
                    <a:pt x="1081" y="0"/>
                  </a:moveTo>
                  <a:cubicBezTo>
                    <a:pt x="1081" y="8653"/>
                    <a:pt x="541" y="8653"/>
                    <a:pt x="541" y="17307"/>
                  </a:cubicBezTo>
                  <a:cubicBezTo>
                    <a:pt x="541" y="25961"/>
                    <a:pt x="2704" y="25961"/>
                    <a:pt x="2704" y="34614"/>
                  </a:cubicBezTo>
                  <a:cubicBezTo>
                    <a:pt x="2704" y="43268"/>
                    <a:pt x="0" y="43268"/>
                    <a:pt x="0" y="51922"/>
                  </a:cubicBezTo>
                  <a:cubicBezTo>
                    <a:pt x="0" y="60575"/>
                    <a:pt x="1081" y="60575"/>
                    <a:pt x="1081" y="69229"/>
                  </a:cubicBezTo>
                  <a:cubicBezTo>
                    <a:pt x="1081" y="77882"/>
                    <a:pt x="541" y="77882"/>
                    <a:pt x="541" y="86536"/>
                  </a:cubicBezTo>
                  <a:cubicBezTo>
                    <a:pt x="541" y="95190"/>
                    <a:pt x="2164" y="95190"/>
                    <a:pt x="2164" y="103844"/>
                  </a:cubicBezTo>
                  <a:cubicBezTo>
                    <a:pt x="2164" y="112497"/>
                    <a:pt x="1081" y="112497"/>
                    <a:pt x="1081" y="121151"/>
                  </a:cubicBezTo>
                  <a:cubicBezTo>
                    <a:pt x="1081" y="129804"/>
                    <a:pt x="1622" y="129804"/>
                    <a:pt x="1622" y="138458"/>
                  </a:cubicBezTo>
                  <a:cubicBezTo>
                    <a:pt x="1622" y="147112"/>
                    <a:pt x="2164" y="147112"/>
                    <a:pt x="2164" y="155765"/>
                  </a:cubicBezTo>
                  <a:cubicBezTo>
                    <a:pt x="2164" y="164419"/>
                    <a:pt x="2164" y="164419"/>
                    <a:pt x="2164" y="173073"/>
                  </a:cubicBezTo>
                  <a:cubicBezTo>
                    <a:pt x="2164" y="181726"/>
                    <a:pt x="2164" y="181726"/>
                    <a:pt x="2164" y="190380"/>
                  </a:cubicBezTo>
                  <a:cubicBezTo>
                    <a:pt x="2164" y="199033"/>
                    <a:pt x="2704" y="199033"/>
                    <a:pt x="2704" y="207687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D59DDC67-8865-89E4-53C9-DBBE1CFBAAA0}"/>
                </a:ext>
              </a:extLst>
            </p:cNvPr>
            <p:cNvSpPr/>
            <p:nvPr/>
          </p:nvSpPr>
          <p:spPr>
            <a:xfrm>
              <a:off x="9926372" y="2779977"/>
              <a:ext cx="2163" cy="191461"/>
            </a:xfrm>
            <a:custGeom>
              <a:avLst/>
              <a:gdLst>
                <a:gd name="connsiteX0" fmla="*/ 2164 w 2163"/>
                <a:gd name="connsiteY0" fmla="*/ 0 h 191461"/>
                <a:gd name="connsiteX1" fmla="*/ 0 w 2163"/>
                <a:gd name="connsiteY1" fmla="*/ 17307 h 191461"/>
                <a:gd name="connsiteX2" fmla="*/ 1081 w 2163"/>
                <a:gd name="connsiteY2" fmla="*/ 34615 h 191461"/>
                <a:gd name="connsiteX3" fmla="*/ 0 w 2163"/>
                <a:gd name="connsiteY3" fmla="*/ 51922 h 191461"/>
                <a:gd name="connsiteX4" fmla="*/ 2164 w 2163"/>
                <a:gd name="connsiteY4" fmla="*/ 69229 h 191461"/>
                <a:gd name="connsiteX5" fmla="*/ 0 w 2163"/>
                <a:gd name="connsiteY5" fmla="*/ 86536 h 191461"/>
                <a:gd name="connsiteX6" fmla="*/ 0 w 2163"/>
                <a:gd name="connsiteY6" fmla="*/ 103844 h 191461"/>
                <a:gd name="connsiteX7" fmla="*/ 541 w 2163"/>
                <a:gd name="connsiteY7" fmla="*/ 121151 h 191461"/>
                <a:gd name="connsiteX8" fmla="*/ 1081 w 2163"/>
                <a:gd name="connsiteY8" fmla="*/ 138458 h 191461"/>
                <a:gd name="connsiteX9" fmla="*/ 1081 w 2163"/>
                <a:gd name="connsiteY9" fmla="*/ 155765 h 191461"/>
                <a:gd name="connsiteX10" fmla="*/ 0 w 2163"/>
                <a:gd name="connsiteY10" fmla="*/ 173613 h 191461"/>
                <a:gd name="connsiteX11" fmla="*/ 541 w 2163"/>
                <a:gd name="connsiteY11" fmla="*/ 191462 h 1914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3" h="191461">
                  <a:moveTo>
                    <a:pt x="2164" y="0"/>
                  </a:moveTo>
                  <a:cubicBezTo>
                    <a:pt x="2164" y="8653"/>
                    <a:pt x="0" y="8653"/>
                    <a:pt x="0" y="17307"/>
                  </a:cubicBezTo>
                  <a:cubicBezTo>
                    <a:pt x="0" y="25961"/>
                    <a:pt x="1081" y="25961"/>
                    <a:pt x="1081" y="34615"/>
                  </a:cubicBezTo>
                  <a:cubicBezTo>
                    <a:pt x="1081" y="43268"/>
                    <a:pt x="0" y="43268"/>
                    <a:pt x="0" y="51922"/>
                  </a:cubicBezTo>
                  <a:cubicBezTo>
                    <a:pt x="0" y="60575"/>
                    <a:pt x="2164" y="60575"/>
                    <a:pt x="2164" y="69229"/>
                  </a:cubicBezTo>
                  <a:cubicBezTo>
                    <a:pt x="2164" y="77883"/>
                    <a:pt x="0" y="77883"/>
                    <a:pt x="0" y="86536"/>
                  </a:cubicBezTo>
                  <a:cubicBezTo>
                    <a:pt x="0" y="95190"/>
                    <a:pt x="0" y="95190"/>
                    <a:pt x="0" y="103844"/>
                  </a:cubicBezTo>
                  <a:cubicBezTo>
                    <a:pt x="0" y="112497"/>
                    <a:pt x="541" y="112497"/>
                    <a:pt x="541" y="121151"/>
                  </a:cubicBezTo>
                  <a:cubicBezTo>
                    <a:pt x="541" y="129804"/>
                    <a:pt x="1081" y="129804"/>
                    <a:pt x="1081" y="138458"/>
                  </a:cubicBezTo>
                  <a:cubicBezTo>
                    <a:pt x="1081" y="147112"/>
                    <a:pt x="1081" y="147112"/>
                    <a:pt x="1081" y="155765"/>
                  </a:cubicBezTo>
                  <a:cubicBezTo>
                    <a:pt x="1081" y="164419"/>
                    <a:pt x="0" y="164419"/>
                    <a:pt x="0" y="173613"/>
                  </a:cubicBezTo>
                  <a:cubicBezTo>
                    <a:pt x="0" y="182808"/>
                    <a:pt x="541" y="182267"/>
                    <a:pt x="541" y="191462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BCA3F7E7-218D-D705-9E21-AB0361E92A14}"/>
                </a:ext>
              </a:extLst>
            </p:cNvPr>
            <p:cNvSpPr/>
            <p:nvPr/>
          </p:nvSpPr>
          <p:spPr>
            <a:xfrm>
              <a:off x="9927453" y="2794039"/>
              <a:ext cx="52463" cy="167664"/>
            </a:xfrm>
            <a:custGeom>
              <a:avLst/>
              <a:gdLst>
                <a:gd name="connsiteX0" fmla="*/ 52463 w 52463"/>
                <a:gd name="connsiteY0" fmla="*/ 0 h 167664"/>
                <a:gd name="connsiteX1" fmla="*/ 47055 w 52463"/>
                <a:gd name="connsiteY1" fmla="*/ 16767 h 167664"/>
                <a:gd name="connsiteX2" fmla="*/ 40564 w 52463"/>
                <a:gd name="connsiteY2" fmla="*/ 32992 h 167664"/>
                <a:gd name="connsiteX3" fmla="*/ 37860 w 52463"/>
                <a:gd name="connsiteY3" fmla="*/ 50299 h 167664"/>
                <a:gd name="connsiteX4" fmla="*/ 32451 w 52463"/>
                <a:gd name="connsiteY4" fmla="*/ 67066 h 167664"/>
                <a:gd name="connsiteX5" fmla="*/ 25420 w 52463"/>
                <a:gd name="connsiteY5" fmla="*/ 83291 h 167664"/>
                <a:gd name="connsiteX6" fmla="*/ 20012 w 52463"/>
                <a:gd name="connsiteY6" fmla="*/ 100058 h 167664"/>
                <a:gd name="connsiteX7" fmla="*/ 16226 w 52463"/>
                <a:gd name="connsiteY7" fmla="*/ 117365 h 167664"/>
                <a:gd name="connsiteX8" fmla="*/ 11358 w 52463"/>
                <a:gd name="connsiteY8" fmla="*/ 134132 h 167664"/>
                <a:gd name="connsiteX9" fmla="*/ 3786 w 52463"/>
                <a:gd name="connsiteY9" fmla="*/ 150357 h 167664"/>
                <a:gd name="connsiteX10" fmla="*/ 0 w 52463"/>
                <a:gd name="connsiteY10" fmla="*/ 167664 h 1676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52463" h="167664">
                  <a:moveTo>
                    <a:pt x="52463" y="0"/>
                  </a:moveTo>
                  <a:cubicBezTo>
                    <a:pt x="49759" y="8654"/>
                    <a:pt x="49759" y="8654"/>
                    <a:pt x="47055" y="16767"/>
                  </a:cubicBezTo>
                  <a:cubicBezTo>
                    <a:pt x="44350" y="25420"/>
                    <a:pt x="43268" y="24879"/>
                    <a:pt x="40564" y="32992"/>
                  </a:cubicBezTo>
                  <a:cubicBezTo>
                    <a:pt x="37860" y="41646"/>
                    <a:pt x="40023" y="42187"/>
                    <a:pt x="37860" y="50299"/>
                  </a:cubicBezTo>
                  <a:cubicBezTo>
                    <a:pt x="35155" y="58953"/>
                    <a:pt x="35155" y="58412"/>
                    <a:pt x="32451" y="67066"/>
                  </a:cubicBezTo>
                  <a:cubicBezTo>
                    <a:pt x="29747" y="75719"/>
                    <a:pt x="27584" y="74638"/>
                    <a:pt x="25420" y="83291"/>
                  </a:cubicBezTo>
                  <a:cubicBezTo>
                    <a:pt x="22716" y="91945"/>
                    <a:pt x="22716" y="91945"/>
                    <a:pt x="20012" y="100058"/>
                  </a:cubicBezTo>
                  <a:cubicBezTo>
                    <a:pt x="17308" y="108711"/>
                    <a:pt x="18930" y="109252"/>
                    <a:pt x="16226" y="117365"/>
                  </a:cubicBezTo>
                  <a:cubicBezTo>
                    <a:pt x="13521" y="126019"/>
                    <a:pt x="14063" y="126019"/>
                    <a:pt x="11358" y="134132"/>
                  </a:cubicBezTo>
                  <a:cubicBezTo>
                    <a:pt x="8654" y="142785"/>
                    <a:pt x="6491" y="141703"/>
                    <a:pt x="3786" y="150357"/>
                  </a:cubicBezTo>
                  <a:cubicBezTo>
                    <a:pt x="1082" y="159011"/>
                    <a:pt x="2704" y="159551"/>
                    <a:pt x="0" y="167664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BDC0717A-D5A8-96E5-66D3-08D11DCF74B4}"/>
                </a:ext>
              </a:extLst>
            </p:cNvPr>
            <p:cNvSpPr/>
            <p:nvPr/>
          </p:nvSpPr>
          <p:spPr>
            <a:xfrm>
              <a:off x="9926912" y="2823786"/>
              <a:ext cx="65442" cy="220667"/>
            </a:xfrm>
            <a:custGeom>
              <a:avLst/>
              <a:gdLst>
                <a:gd name="connsiteX0" fmla="*/ 65443 w 65442"/>
                <a:gd name="connsiteY0" fmla="*/ 0 h 220667"/>
                <a:gd name="connsiteX1" fmla="*/ 61657 w 65442"/>
                <a:gd name="connsiteY1" fmla="*/ 17307 h 220667"/>
                <a:gd name="connsiteX2" fmla="*/ 56789 w 65442"/>
                <a:gd name="connsiteY2" fmla="*/ 34615 h 220667"/>
                <a:gd name="connsiteX3" fmla="*/ 49759 w 65442"/>
                <a:gd name="connsiteY3" fmla="*/ 50840 h 220667"/>
                <a:gd name="connsiteX4" fmla="*/ 44891 w 65442"/>
                <a:gd name="connsiteY4" fmla="*/ 67606 h 220667"/>
                <a:gd name="connsiteX5" fmla="*/ 39482 w 65442"/>
                <a:gd name="connsiteY5" fmla="*/ 84373 h 220667"/>
                <a:gd name="connsiteX6" fmla="*/ 36778 w 65442"/>
                <a:gd name="connsiteY6" fmla="*/ 102221 h 220667"/>
                <a:gd name="connsiteX7" fmla="*/ 30829 w 65442"/>
                <a:gd name="connsiteY7" fmla="*/ 118987 h 220667"/>
                <a:gd name="connsiteX8" fmla="*/ 26502 w 65442"/>
                <a:gd name="connsiteY8" fmla="*/ 136295 h 220667"/>
                <a:gd name="connsiteX9" fmla="*/ 20553 w 65442"/>
                <a:gd name="connsiteY9" fmla="*/ 153061 h 220667"/>
                <a:gd name="connsiteX10" fmla="*/ 15144 w 65442"/>
                <a:gd name="connsiteY10" fmla="*/ 169828 h 220667"/>
                <a:gd name="connsiteX11" fmla="*/ 9736 w 65442"/>
                <a:gd name="connsiteY11" fmla="*/ 186594 h 220667"/>
                <a:gd name="connsiteX12" fmla="*/ 5409 w 65442"/>
                <a:gd name="connsiteY12" fmla="*/ 203901 h 220667"/>
                <a:gd name="connsiteX13" fmla="*/ 0 w 65442"/>
                <a:gd name="connsiteY13" fmla="*/ 220668 h 2206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65442" h="220667">
                  <a:moveTo>
                    <a:pt x="65443" y="0"/>
                  </a:moveTo>
                  <a:cubicBezTo>
                    <a:pt x="62739" y="8654"/>
                    <a:pt x="64361" y="8654"/>
                    <a:pt x="61657" y="17307"/>
                  </a:cubicBezTo>
                  <a:cubicBezTo>
                    <a:pt x="58953" y="25961"/>
                    <a:pt x="59494" y="25961"/>
                    <a:pt x="56789" y="34615"/>
                  </a:cubicBezTo>
                  <a:cubicBezTo>
                    <a:pt x="54085" y="43268"/>
                    <a:pt x="52463" y="42727"/>
                    <a:pt x="49759" y="50840"/>
                  </a:cubicBezTo>
                  <a:cubicBezTo>
                    <a:pt x="47055" y="59494"/>
                    <a:pt x="47055" y="59494"/>
                    <a:pt x="44891" y="67606"/>
                  </a:cubicBezTo>
                  <a:cubicBezTo>
                    <a:pt x="42187" y="76260"/>
                    <a:pt x="41646" y="75719"/>
                    <a:pt x="39482" y="84373"/>
                  </a:cubicBezTo>
                  <a:cubicBezTo>
                    <a:pt x="36778" y="93027"/>
                    <a:pt x="38942" y="93568"/>
                    <a:pt x="36778" y="102221"/>
                  </a:cubicBezTo>
                  <a:cubicBezTo>
                    <a:pt x="34074" y="110875"/>
                    <a:pt x="33533" y="110334"/>
                    <a:pt x="30829" y="118987"/>
                  </a:cubicBezTo>
                  <a:cubicBezTo>
                    <a:pt x="28125" y="127641"/>
                    <a:pt x="28665" y="127641"/>
                    <a:pt x="26502" y="136295"/>
                  </a:cubicBezTo>
                  <a:cubicBezTo>
                    <a:pt x="23798" y="144949"/>
                    <a:pt x="23257" y="144407"/>
                    <a:pt x="20553" y="153061"/>
                  </a:cubicBezTo>
                  <a:cubicBezTo>
                    <a:pt x="17848" y="161715"/>
                    <a:pt x="17848" y="161715"/>
                    <a:pt x="15144" y="169828"/>
                  </a:cubicBezTo>
                  <a:cubicBezTo>
                    <a:pt x="12440" y="178481"/>
                    <a:pt x="12440" y="178481"/>
                    <a:pt x="9736" y="186594"/>
                  </a:cubicBezTo>
                  <a:cubicBezTo>
                    <a:pt x="7031" y="195248"/>
                    <a:pt x="7572" y="195248"/>
                    <a:pt x="5409" y="203901"/>
                  </a:cubicBezTo>
                  <a:cubicBezTo>
                    <a:pt x="2704" y="212555"/>
                    <a:pt x="2704" y="212555"/>
                    <a:pt x="0" y="220668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A2953167-3A45-574E-2324-F0A7DDD4839D}"/>
                </a:ext>
              </a:extLst>
            </p:cNvPr>
            <p:cNvSpPr/>
            <p:nvPr/>
          </p:nvSpPr>
          <p:spPr>
            <a:xfrm>
              <a:off x="9818742" y="2752394"/>
              <a:ext cx="83832" cy="84372"/>
            </a:xfrm>
            <a:custGeom>
              <a:avLst/>
              <a:gdLst>
                <a:gd name="connsiteX0" fmla="*/ 83832 w 83832"/>
                <a:gd name="connsiteY0" fmla="*/ 0 h 84372"/>
                <a:gd name="connsiteX1" fmla="*/ 81128 w 83832"/>
                <a:gd name="connsiteY1" fmla="*/ 18389 h 84372"/>
                <a:gd name="connsiteX2" fmla="*/ 75179 w 83832"/>
                <a:gd name="connsiteY2" fmla="*/ 36237 h 84372"/>
                <a:gd name="connsiteX3" fmla="*/ 65443 w 83832"/>
                <a:gd name="connsiteY3" fmla="*/ 52463 h 84372"/>
                <a:gd name="connsiteX4" fmla="*/ 53004 w 83832"/>
                <a:gd name="connsiteY4" fmla="*/ 66525 h 84372"/>
                <a:gd name="connsiteX5" fmla="*/ 36778 w 83832"/>
                <a:gd name="connsiteY5" fmla="*/ 76260 h 84372"/>
                <a:gd name="connsiteX6" fmla="*/ 18389 w 83832"/>
                <a:gd name="connsiteY6" fmla="*/ 81128 h 84372"/>
                <a:gd name="connsiteX7" fmla="*/ 0 w 83832"/>
                <a:gd name="connsiteY7" fmla="*/ 84373 h 84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3832" h="84372">
                  <a:moveTo>
                    <a:pt x="83832" y="0"/>
                  </a:moveTo>
                  <a:cubicBezTo>
                    <a:pt x="83832" y="6490"/>
                    <a:pt x="82210" y="12440"/>
                    <a:pt x="81128" y="18389"/>
                  </a:cubicBezTo>
                  <a:cubicBezTo>
                    <a:pt x="79506" y="24338"/>
                    <a:pt x="77883" y="30288"/>
                    <a:pt x="75179" y="36237"/>
                  </a:cubicBezTo>
                  <a:cubicBezTo>
                    <a:pt x="72474" y="41645"/>
                    <a:pt x="69770" y="47595"/>
                    <a:pt x="65443" y="52463"/>
                  </a:cubicBezTo>
                  <a:cubicBezTo>
                    <a:pt x="61657" y="57330"/>
                    <a:pt x="57872" y="62739"/>
                    <a:pt x="53004" y="66525"/>
                  </a:cubicBezTo>
                  <a:cubicBezTo>
                    <a:pt x="48136" y="70311"/>
                    <a:pt x="42187" y="73556"/>
                    <a:pt x="36778" y="76260"/>
                  </a:cubicBezTo>
                  <a:cubicBezTo>
                    <a:pt x="31370" y="78964"/>
                    <a:pt x="24879" y="80046"/>
                    <a:pt x="18389" y="81128"/>
                  </a:cubicBezTo>
                  <a:cubicBezTo>
                    <a:pt x="12440" y="82750"/>
                    <a:pt x="6491" y="84373"/>
                    <a:pt x="0" y="84373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1111C151-608A-958C-37FD-86CB8B5F59A4}"/>
                </a:ext>
              </a:extLst>
            </p:cNvPr>
            <p:cNvSpPr/>
            <p:nvPr/>
          </p:nvSpPr>
          <p:spPr>
            <a:xfrm>
              <a:off x="9864714" y="2701013"/>
              <a:ext cx="103302" cy="51380"/>
            </a:xfrm>
            <a:custGeom>
              <a:avLst/>
              <a:gdLst>
                <a:gd name="connsiteX0" fmla="*/ 103303 w 103302"/>
                <a:gd name="connsiteY0" fmla="*/ 0 h 51380"/>
                <a:gd name="connsiteX1" fmla="*/ 99517 w 103302"/>
                <a:gd name="connsiteY1" fmla="*/ 15685 h 51380"/>
                <a:gd name="connsiteX2" fmla="*/ 91404 w 103302"/>
                <a:gd name="connsiteY2" fmla="*/ 29206 h 51380"/>
                <a:gd name="connsiteX3" fmla="*/ 81668 w 103302"/>
                <a:gd name="connsiteY3" fmla="*/ 42187 h 51380"/>
                <a:gd name="connsiteX4" fmla="*/ 67066 w 103302"/>
                <a:gd name="connsiteY4" fmla="*/ 49218 h 51380"/>
                <a:gd name="connsiteX5" fmla="*/ 50840 w 103302"/>
                <a:gd name="connsiteY5" fmla="*/ 51381 h 51380"/>
                <a:gd name="connsiteX6" fmla="*/ 34615 w 103302"/>
                <a:gd name="connsiteY6" fmla="*/ 48677 h 51380"/>
                <a:gd name="connsiteX7" fmla="*/ 19471 w 103302"/>
                <a:gd name="connsiteY7" fmla="*/ 42187 h 51380"/>
                <a:gd name="connsiteX8" fmla="*/ 9195 w 103302"/>
                <a:gd name="connsiteY8" fmla="*/ 29747 h 51380"/>
                <a:gd name="connsiteX9" fmla="*/ 1623 w 103302"/>
                <a:gd name="connsiteY9" fmla="*/ 15685 h 51380"/>
                <a:gd name="connsiteX10" fmla="*/ 0 w 103302"/>
                <a:gd name="connsiteY10" fmla="*/ 0 h 51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3302" h="51380">
                  <a:moveTo>
                    <a:pt x="103303" y="0"/>
                  </a:moveTo>
                  <a:cubicBezTo>
                    <a:pt x="103303" y="5409"/>
                    <a:pt x="101140" y="10817"/>
                    <a:pt x="99517" y="15685"/>
                  </a:cubicBezTo>
                  <a:cubicBezTo>
                    <a:pt x="97894" y="21093"/>
                    <a:pt x="94649" y="24879"/>
                    <a:pt x="91404" y="29206"/>
                  </a:cubicBezTo>
                  <a:cubicBezTo>
                    <a:pt x="88159" y="33533"/>
                    <a:pt x="85996" y="38941"/>
                    <a:pt x="81668" y="42187"/>
                  </a:cubicBezTo>
                  <a:cubicBezTo>
                    <a:pt x="77342" y="45432"/>
                    <a:pt x="71934" y="47595"/>
                    <a:pt x="67066" y="49218"/>
                  </a:cubicBezTo>
                  <a:cubicBezTo>
                    <a:pt x="62198" y="50840"/>
                    <a:pt x="56789" y="51381"/>
                    <a:pt x="50840" y="51381"/>
                  </a:cubicBezTo>
                  <a:cubicBezTo>
                    <a:pt x="45432" y="51381"/>
                    <a:pt x="40023" y="50299"/>
                    <a:pt x="34615" y="48677"/>
                  </a:cubicBezTo>
                  <a:cubicBezTo>
                    <a:pt x="29206" y="47054"/>
                    <a:pt x="23798" y="45432"/>
                    <a:pt x="19471" y="42187"/>
                  </a:cubicBezTo>
                  <a:cubicBezTo>
                    <a:pt x="15144" y="38941"/>
                    <a:pt x="12440" y="34074"/>
                    <a:pt x="9195" y="29747"/>
                  </a:cubicBezTo>
                  <a:cubicBezTo>
                    <a:pt x="5949" y="25420"/>
                    <a:pt x="3245" y="21093"/>
                    <a:pt x="1623" y="15685"/>
                  </a:cubicBezTo>
                  <a:cubicBezTo>
                    <a:pt x="0" y="10817"/>
                    <a:pt x="0" y="5409"/>
                    <a:pt x="0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1ED923F7-E40C-1B25-F6CF-D9542F510E70}"/>
                </a:ext>
              </a:extLst>
            </p:cNvPr>
            <p:cNvSpPr/>
            <p:nvPr/>
          </p:nvSpPr>
          <p:spPr>
            <a:xfrm>
              <a:off x="9966395" y="2762670"/>
              <a:ext cx="62738" cy="30828"/>
            </a:xfrm>
            <a:custGeom>
              <a:avLst/>
              <a:gdLst>
                <a:gd name="connsiteX0" fmla="*/ 62739 w 62738"/>
                <a:gd name="connsiteY0" fmla="*/ 0 h 30828"/>
                <a:gd name="connsiteX1" fmla="*/ 59494 w 62738"/>
                <a:gd name="connsiteY1" fmla="*/ 15685 h 30828"/>
                <a:gd name="connsiteX2" fmla="*/ 48136 w 62738"/>
                <a:gd name="connsiteY2" fmla="*/ 27584 h 30828"/>
                <a:gd name="connsiteX3" fmla="*/ 31910 w 62738"/>
                <a:gd name="connsiteY3" fmla="*/ 30829 h 30828"/>
                <a:gd name="connsiteX4" fmla="*/ 16226 w 62738"/>
                <a:gd name="connsiteY4" fmla="*/ 27043 h 30828"/>
                <a:gd name="connsiteX5" fmla="*/ 3245 w 62738"/>
                <a:gd name="connsiteY5" fmla="*/ 16226 h 30828"/>
                <a:gd name="connsiteX6" fmla="*/ 0 w 62738"/>
                <a:gd name="connsiteY6" fmla="*/ 0 h 30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2738" h="30828">
                  <a:moveTo>
                    <a:pt x="62739" y="0"/>
                  </a:moveTo>
                  <a:cubicBezTo>
                    <a:pt x="62739" y="5949"/>
                    <a:pt x="62198" y="10817"/>
                    <a:pt x="59494" y="15685"/>
                  </a:cubicBezTo>
                  <a:cubicBezTo>
                    <a:pt x="56789" y="20552"/>
                    <a:pt x="53003" y="24879"/>
                    <a:pt x="48136" y="27584"/>
                  </a:cubicBezTo>
                  <a:cubicBezTo>
                    <a:pt x="43268" y="30288"/>
                    <a:pt x="37860" y="30829"/>
                    <a:pt x="31910" y="30829"/>
                  </a:cubicBezTo>
                  <a:cubicBezTo>
                    <a:pt x="25960" y="30829"/>
                    <a:pt x="21093" y="29747"/>
                    <a:pt x="16226" y="27043"/>
                  </a:cubicBezTo>
                  <a:cubicBezTo>
                    <a:pt x="11358" y="24338"/>
                    <a:pt x="5949" y="21093"/>
                    <a:pt x="3245" y="16226"/>
                  </a:cubicBezTo>
                  <a:cubicBezTo>
                    <a:pt x="541" y="11358"/>
                    <a:pt x="0" y="5409"/>
                    <a:pt x="0" y="0"/>
                  </a:cubicBezTo>
                </a:path>
              </a:pathLst>
            </a:custGeom>
            <a:noFill/>
            <a:ln w="5406" cap="rnd">
              <a:solidFill>
                <a:srgbClr val="005950"/>
              </a:solidFill>
              <a:prstDash val="solid"/>
              <a:round/>
            </a:ln>
          </p:spPr>
          <p:txBody>
            <a:bodyPr rtlCol="0" anchor="ctr"/>
            <a:lstStyle/>
            <a:p>
              <a:endParaRPr lang="da-DK"/>
            </a:p>
          </p:txBody>
        </p:sp>
      </p:grpSp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B970E02-D623-F61C-7EF5-7AEB9506A3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43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84" imgH="384" progId="TCLayout.ActiveDocument.1">
                  <p:embed/>
                </p:oleObj>
              </mc:Choice>
              <mc:Fallback>
                <p:oleObj name="think-cell Slide" r:id="rId5" imgW="384" imgH="38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970E02-D623-F61C-7EF5-7AEB9506A3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0">
            <a:extLst>
              <a:ext uri="{FF2B5EF4-FFF2-40B4-BE49-F238E27FC236}">
                <a16:creationId xmlns:a16="http://schemas.microsoft.com/office/drawing/2014/main" id="{4FF6D695-5BF1-274B-941C-F5068ECF8A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71471"/>
            <a:ext cx="11472000" cy="1030292"/>
          </a:xfrm>
        </p:spPr>
        <p:txBody>
          <a:bodyPr vert="horz"/>
          <a:lstStyle/>
          <a:p>
            <a:r>
              <a:rPr lang="da-DK" dirty="0"/>
              <a:t>Den videre vej frem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0EB00914-77CF-24C7-A826-010EA17EB55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425238" y="6406294"/>
            <a:ext cx="406761" cy="325752"/>
          </a:xfrm>
        </p:spPr>
        <p:txBody>
          <a:bodyPr/>
          <a:lstStyle/>
          <a:p>
            <a:fld id="{6A814B08-8399-43E7-AAE4-68AF4906CF08}" type="slidenum">
              <a:rPr lang="da-DK" smtClean="0"/>
              <a:pPr/>
              <a:t>9</a:t>
            </a:fld>
            <a:endParaRPr lang="da-DK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79E0D9F-17B0-D1AA-5CBC-BFB56BDE8E7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6A3131-4934-1F12-E790-84A4786390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60000" y="956253"/>
            <a:ext cx="11602614" cy="445510"/>
          </a:xfrm>
        </p:spPr>
        <p:txBody>
          <a:bodyPr tIns="108000" rIns="720000"/>
          <a:lstStyle/>
          <a:p>
            <a:pPr>
              <a:lnSpc>
                <a:spcPct val="80000"/>
              </a:lnSpc>
            </a:pPr>
            <a:r>
              <a:rPr lang="da-DK" dirty="0"/>
              <a:t>Dataunderstøttelse og visualisering af målepunkter i bredt samarbejd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4FB56B9-FE58-0266-DE4C-82E680CD2B00}"/>
              </a:ext>
            </a:extLst>
          </p:cNvPr>
          <p:cNvSpPr/>
          <p:nvPr/>
        </p:nvSpPr>
        <p:spPr>
          <a:xfrm flipH="1">
            <a:off x="7235075" y="2617726"/>
            <a:ext cx="4188780" cy="11231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r>
              <a:rPr lang="da-DK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kaber overblik over eksisterende data fra Landsbyggefonden og andre pålidelige kilder.</a:t>
            </a:r>
            <a:br>
              <a:rPr lang="da-DK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da-DK" sz="1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dvikler rammer og kriterier for, hvornår et måle-punkt er tilstrækkeligt dataunderstøttet til at blive implementeret. En plan for rækkefølgen udarbejdes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F1DAB10-DAA2-820C-8811-CBEAA915AD49}"/>
              </a:ext>
            </a:extLst>
          </p:cNvPr>
          <p:cNvSpPr/>
          <p:nvPr/>
        </p:nvSpPr>
        <p:spPr>
          <a:xfrm flipH="1">
            <a:off x="1953857" y="2804485"/>
            <a:ext cx="4380267" cy="7728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lle målepunkter gennemgås af eksperter for at sikre relevans. Afdækker samtidig efterspørgsel og værdiskabelse med aktører fra branchen, herunder hvordan data skal anvendes fremadrettet.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4F69B4A7-03C6-89D5-109B-01A69C89D546}"/>
              </a:ext>
            </a:extLst>
          </p:cNvPr>
          <p:cNvSpPr/>
          <p:nvPr/>
        </p:nvSpPr>
        <p:spPr>
          <a:xfrm flipH="1">
            <a:off x="7235076" y="2295251"/>
            <a:ext cx="3401734" cy="2257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r>
              <a:rPr lang="da-DK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dviklingsplan for målepunkter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1A288ED8-1D41-5877-5A60-D78D8CBCFEC0}"/>
              </a:ext>
            </a:extLst>
          </p:cNvPr>
          <p:cNvSpPr/>
          <p:nvPr/>
        </p:nvSpPr>
        <p:spPr>
          <a:xfrm flipH="1">
            <a:off x="1953857" y="2295252"/>
            <a:ext cx="3036611" cy="4622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r>
              <a:rPr lang="da-DK" sz="14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nvolvering af eksperter og interessenter</a:t>
            </a:r>
          </a:p>
        </p:txBody>
      </p:sp>
      <p:sp>
        <p:nvSpPr>
          <p:cNvPr id="59" name="Freeform: Shape 58">
            <a:extLst>
              <a:ext uri="{FF2B5EF4-FFF2-40B4-BE49-F238E27FC236}">
                <a16:creationId xmlns:a16="http://schemas.microsoft.com/office/drawing/2014/main" id="{B63BE15B-D0E1-218D-1430-1B1A9C1A537C}"/>
              </a:ext>
            </a:extLst>
          </p:cNvPr>
          <p:cNvSpPr/>
          <p:nvPr/>
        </p:nvSpPr>
        <p:spPr>
          <a:xfrm flipH="1">
            <a:off x="192656" y="1877849"/>
            <a:ext cx="11999344" cy="3780523"/>
          </a:xfrm>
          <a:custGeom>
            <a:avLst/>
            <a:gdLst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854110 w 11867103"/>
              <a:gd name="connsiteY4" fmla="*/ 50242 h 2964609"/>
              <a:gd name="connsiteX5" fmla="*/ 884255 w 11867103"/>
              <a:gd name="connsiteY5" fmla="*/ 60290 h 2964609"/>
              <a:gd name="connsiteX6" fmla="*/ 964642 w 11867103"/>
              <a:gd name="connsiteY6" fmla="*/ 70339 h 2964609"/>
              <a:gd name="connsiteX7" fmla="*/ 994787 w 11867103"/>
              <a:gd name="connsiteY7" fmla="*/ 80387 h 2964609"/>
              <a:gd name="connsiteX8" fmla="*/ 1356528 w 11867103"/>
              <a:gd name="connsiteY8" fmla="*/ 80387 h 2964609"/>
              <a:gd name="connsiteX9" fmla="*/ 1758462 w 11867103"/>
              <a:gd name="connsiteY9" fmla="*/ 40193 h 2964609"/>
              <a:gd name="connsiteX10" fmla="*/ 1889090 w 11867103"/>
              <a:gd name="connsiteY10" fmla="*/ 20097 h 2964609"/>
              <a:gd name="connsiteX11" fmla="*/ 2140299 w 11867103"/>
              <a:gd name="connsiteY11" fmla="*/ 40193 h 2964609"/>
              <a:gd name="connsiteX12" fmla="*/ 2200589 w 11867103"/>
              <a:gd name="connsiteY12" fmla="*/ 50242 h 2964609"/>
              <a:gd name="connsiteX13" fmla="*/ 4652387 w 11867103"/>
              <a:gd name="connsiteY13" fmla="*/ 60290 h 2964609"/>
              <a:gd name="connsiteX14" fmla="*/ 4692580 w 11867103"/>
              <a:gd name="connsiteY14" fmla="*/ 70339 h 2964609"/>
              <a:gd name="connsiteX15" fmla="*/ 4843306 w 11867103"/>
              <a:gd name="connsiteY15" fmla="*/ 90435 h 2964609"/>
              <a:gd name="connsiteX16" fmla="*/ 5677319 w 11867103"/>
              <a:gd name="connsiteY16" fmla="*/ 80387 h 2964609"/>
              <a:gd name="connsiteX17" fmla="*/ 6169688 w 11867103"/>
              <a:gd name="connsiteY17" fmla="*/ 110532 h 2964609"/>
              <a:gd name="connsiteX18" fmla="*/ 6420897 w 11867103"/>
              <a:gd name="connsiteY18" fmla="*/ 90435 h 2964609"/>
              <a:gd name="connsiteX19" fmla="*/ 6511332 w 11867103"/>
              <a:gd name="connsiteY19" fmla="*/ 30145 h 2964609"/>
              <a:gd name="connsiteX20" fmla="*/ 6571622 w 11867103"/>
              <a:gd name="connsiteY20" fmla="*/ 20097 h 2964609"/>
              <a:gd name="connsiteX21" fmla="*/ 6641961 w 11867103"/>
              <a:gd name="connsiteY21" fmla="*/ 0 h 2964609"/>
              <a:gd name="connsiteX22" fmla="*/ 7204668 w 11867103"/>
              <a:gd name="connsiteY22" fmla="*/ 10048 h 2964609"/>
              <a:gd name="connsiteX23" fmla="*/ 7285055 w 11867103"/>
              <a:gd name="connsiteY23" fmla="*/ 30145 h 2964609"/>
              <a:gd name="connsiteX24" fmla="*/ 7375490 w 11867103"/>
              <a:gd name="connsiteY24" fmla="*/ 40193 h 2964609"/>
              <a:gd name="connsiteX25" fmla="*/ 7928150 w 11867103"/>
              <a:gd name="connsiteY25" fmla="*/ 60290 h 2964609"/>
              <a:gd name="connsiteX26" fmla="*/ 8109020 w 11867103"/>
              <a:gd name="connsiteY26" fmla="*/ 80387 h 2964609"/>
              <a:gd name="connsiteX27" fmla="*/ 8219552 w 11867103"/>
              <a:gd name="connsiteY27" fmla="*/ 90435 h 2964609"/>
              <a:gd name="connsiteX28" fmla="*/ 8299939 w 11867103"/>
              <a:gd name="connsiteY28" fmla="*/ 100484 h 2964609"/>
              <a:gd name="connsiteX29" fmla="*/ 8521002 w 11867103"/>
              <a:gd name="connsiteY29" fmla="*/ 110532 h 2964609"/>
              <a:gd name="connsiteX30" fmla="*/ 9515789 w 11867103"/>
              <a:gd name="connsiteY30" fmla="*/ 100484 h 2964609"/>
              <a:gd name="connsiteX31" fmla="*/ 9606224 w 11867103"/>
              <a:gd name="connsiteY31" fmla="*/ 90435 h 2964609"/>
              <a:gd name="connsiteX32" fmla="*/ 9716756 w 11867103"/>
              <a:gd name="connsiteY32" fmla="*/ 80387 h 2964609"/>
              <a:gd name="connsiteX33" fmla="*/ 9797143 w 11867103"/>
              <a:gd name="connsiteY33" fmla="*/ 70339 h 2964609"/>
              <a:gd name="connsiteX34" fmla="*/ 9947868 w 11867103"/>
              <a:gd name="connsiteY34" fmla="*/ 60290 h 2964609"/>
              <a:gd name="connsiteX35" fmla="*/ 10791930 w 11867103"/>
              <a:gd name="connsiteY35" fmla="*/ 30145 h 2964609"/>
              <a:gd name="connsiteX36" fmla="*/ 11736475 w 11867103"/>
              <a:gd name="connsiteY36" fmla="*/ 50242 h 2964609"/>
              <a:gd name="connsiteX37" fmla="*/ 11766620 w 11867103"/>
              <a:gd name="connsiteY37" fmla="*/ 80387 h 2964609"/>
              <a:gd name="connsiteX38" fmla="*/ 11786717 w 11867103"/>
              <a:gd name="connsiteY38" fmla="*/ 120580 h 2964609"/>
              <a:gd name="connsiteX39" fmla="*/ 11806813 w 11867103"/>
              <a:gd name="connsiteY39" fmla="*/ 211015 h 2964609"/>
              <a:gd name="connsiteX40" fmla="*/ 11816862 w 11867103"/>
              <a:gd name="connsiteY40" fmla="*/ 251209 h 2964609"/>
              <a:gd name="connsiteX41" fmla="*/ 11826910 w 11867103"/>
              <a:gd name="connsiteY41" fmla="*/ 341644 h 2964609"/>
              <a:gd name="connsiteX42" fmla="*/ 11836958 w 11867103"/>
              <a:gd name="connsiteY42" fmla="*/ 422031 h 2964609"/>
              <a:gd name="connsiteX43" fmla="*/ 11826910 w 11867103"/>
              <a:gd name="connsiteY43" fmla="*/ 733530 h 2964609"/>
              <a:gd name="connsiteX44" fmla="*/ 11816862 w 11867103"/>
              <a:gd name="connsiteY44" fmla="*/ 793820 h 2964609"/>
              <a:gd name="connsiteX45" fmla="*/ 11806813 w 11867103"/>
              <a:gd name="connsiteY45" fmla="*/ 864158 h 2964609"/>
              <a:gd name="connsiteX46" fmla="*/ 11816862 w 11867103"/>
              <a:gd name="connsiteY46" fmla="*/ 2331218 h 2964609"/>
              <a:gd name="connsiteX47" fmla="*/ 11826910 w 11867103"/>
              <a:gd name="connsiteY47" fmla="*/ 2401556 h 2964609"/>
              <a:gd name="connsiteX48" fmla="*/ 11836958 w 11867103"/>
              <a:gd name="connsiteY48" fmla="*/ 2431701 h 2964609"/>
              <a:gd name="connsiteX49" fmla="*/ 11857055 w 11867103"/>
              <a:gd name="connsiteY49" fmla="*/ 2562330 h 2964609"/>
              <a:gd name="connsiteX50" fmla="*/ 11867103 w 11867103"/>
              <a:gd name="connsiteY50" fmla="*/ 2602523 h 2964609"/>
              <a:gd name="connsiteX51" fmla="*/ 11857055 w 11867103"/>
              <a:gd name="connsiteY51" fmla="*/ 2833635 h 2964609"/>
              <a:gd name="connsiteX52" fmla="*/ 11836958 w 11867103"/>
              <a:gd name="connsiteY52" fmla="*/ 2863780 h 2964609"/>
              <a:gd name="connsiteX53" fmla="*/ 11033090 w 11867103"/>
              <a:gd name="connsiteY53" fmla="*/ 2853732 h 2964609"/>
              <a:gd name="connsiteX54" fmla="*/ 10621108 w 11867103"/>
              <a:gd name="connsiteY54" fmla="*/ 2843684 h 2964609"/>
              <a:gd name="connsiteX55" fmla="*/ 10128739 w 11867103"/>
              <a:gd name="connsiteY55" fmla="*/ 2853732 h 2964609"/>
              <a:gd name="connsiteX56" fmla="*/ 10048352 w 11867103"/>
              <a:gd name="connsiteY56" fmla="*/ 2863780 h 2964609"/>
              <a:gd name="connsiteX57" fmla="*/ 9555982 w 11867103"/>
              <a:gd name="connsiteY57" fmla="*/ 2853732 h 2964609"/>
              <a:gd name="connsiteX58" fmla="*/ 9445451 w 11867103"/>
              <a:gd name="connsiteY58" fmla="*/ 2843684 h 2964609"/>
              <a:gd name="connsiteX59" fmla="*/ 9415306 w 11867103"/>
              <a:gd name="connsiteY59" fmla="*/ 2823587 h 2964609"/>
              <a:gd name="connsiteX60" fmla="*/ 9204290 w 11867103"/>
              <a:gd name="connsiteY60" fmla="*/ 2803490 h 2964609"/>
              <a:gd name="connsiteX61" fmla="*/ 9073662 w 11867103"/>
              <a:gd name="connsiteY61" fmla="*/ 2783393 h 2964609"/>
              <a:gd name="connsiteX62" fmla="*/ 8812404 w 11867103"/>
              <a:gd name="connsiteY62" fmla="*/ 2773345 h 2964609"/>
              <a:gd name="connsiteX63" fmla="*/ 8400422 w 11867103"/>
              <a:gd name="connsiteY63" fmla="*/ 2763297 h 2964609"/>
              <a:gd name="connsiteX64" fmla="*/ 8269793 w 11867103"/>
              <a:gd name="connsiteY64" fmla="*/ 2753248 h 2964609"/>
              <a:gd name="connsiteX65" fmla="*/ 7797521 w 11867103"/>
              <a:gd name="connsiteY65" fmla="*/ 2773345 h 2964609"/>
              <a:gd name="connsiteX66" fmla="*/ 7717134 w 11867103"/>
              <a:gd name="connsiteY66" fmla="*/ 2783393 h 2964609"/>
              <a:gd name="connsiteX67" fmla="*/ 7486022 w 11867103"/>
              <a:gd name="connsiteY67" fmla="*/ 2813539 h 2964609"/>
              <a:gd name="connsiteX68" fmla="*/ 7395587 w 11867103"/>
              <a:gd name="connsiteY68" fmla="*/ 2833635 h 2964609"/>
              <a:gd name="connsiteX69" fmla="*/ 7325248 w 11867103"/>
              <a:gd name="connsiteY69" fmla="*/ 2843684 h 2964609"/>
              <a:gd name="connsiteX70" fmla="*/ 6863024 w 11867103"/>
              <a:gd name="connsiteY70" fmla="*/ 2833635 h 2964609"/>
              <a:gd name="connsiteX71" fmla="*/ 6722347 w 11867103"/>
              <a:gd name="connsiteY71" fmla="*/ 2823587 h 2964609"/>
              <a:gd name="connsiteX72" fmla="*/ 4903596 w 11867103"/>
              <a:gd name="connsiteY72" fmla="*/ 2873829 h 2964609"/>
              <a:gd name="connsiteX73" fmla="*/ 4722725 w 11867103"/>
              <a:gd name="connsiteY73" fmla="*/ 2914022 h 2964609"/>
              <a:gd name="connsiteX74" fmla="*/ 4300695 w 11867103"/>
              <a:gd name="connsiteY74" fmla="*/ 2893925 h 2964609"/>
              <a:gd name="connsiteX75" fmla="*/ 4059534 w 11867103"/>
              <a:gd name="connsiteY75" fmla="*/ 2853732 h 2964609"/>
              <a:gd name="connsiteX76" fmla="*/ 3768132 w 11867103"/>
              <a:gd name="connsiteY76" fmla="*/ 2823587 h 2964609"/>
              <a:gd name="connsiteX77" fmla="*/ 3627455 w 11867103"/>
              <a:gd name="connsiteY77" fmla="*/ 2813539 h 2964609"/>
              <a:gd name="connsiteX78" fmla="*/ 3125037 w 11867103"/>
              <a:gd name="connsiteY78" fmla="*/ 2823587 h 2964609"/>
              <a:gd name="connsiteX79" fmla="*/ 3064747 w 11867103"/>
              <a:gd name="connsiteY79" fmla="*/ 2833635 h 2964609"/>
              <a:gd name="connsiteX80" fmla="*/ 2009670 w 11867103"/>
              <a:gd name="connsiteY80" fmla="*/ 2843684 h 2964609"/>
              <a:gd name="connsiteX81" fmla="*/ 1678075 w 11867103"/>
              <a:gd name="connsiteY81" fmla="*/ 2934119 h 2964609"/>
              <a:gd name="connsiteX82" fmla="*/ 1607736 w 11867103"/>
              <a:gd name="connsiteY82" fmla="*/ 2964264 h 2964609"/>
              <a:gd name="connsiteX83" fmla="*/ 1135464 w 11867103"/>
              <a:gd name="connsiteY83" fmla="*/ 2944167 h 2964609"/>
              <a:gd name="connsiteX84" fmla="*/ 944545 w 11867103"/>
              <a:gd name="connsiteY84" fmla="*/ 2914022 h 2964609"/>
              <a:gd name="connsiteX85" fmla="*/ 723481 w 11867103"/>
              <a:gd name="connsiteY85" fmla="*/ 2873829 h 2964609"/>
              <a:gd name="connsiteX86" fmla="*/ 643095 w 11867103"/>
              <a:gd name="connsiteY86" fmla="*/ 2863780 h 2964609"/>
              <a:gd name="connsiteX87" fmla="*/ 371789 w 11867103"/>
              <a:gd name="connsiteY87" fmla="*/ 2823587 h 2964609"/>
              <a:gd name="connsiteX88" fmla="*/ 0 w 11867103"/>
              <a:gd name="connsiteY88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854110 w 11867103"/>
              <a:gd name="connsiteY4" fmla="*/ 50242 h 2964609"/>
              <a:gd name="connsiteX5" fmla="*/ 884255 w 11867103"/>
              <a:gd name="connsiteY5" fmla="*/ 60290 h 2964609"/>
              <a:gd name="connsiteX6" fmla="*/ 964642 w 11867103"/>
              <a:gd name="connsiteY6" fmla="*/ 70339 h 2964609"/>
              <a:gd name="connsiteX7" fmla="*/ 1356528 w 11867103"/>
              <a:gd name="connsiteY7" fmla="*/ 80387 h 2964609"/>
              <a:gd name="connsiteX8" fmla="*/ 1758462 w 11867103"/>
              <a:gd name="connsiteY8" fmla="*/ 40193 h 2964609"/>
              <a:gd name="connsiteX9" fmla="*/ 1889090 w 11867103"/>
              <a:gd name="connsiteY9" fmla="*/ 20097 h 2964609"/>
              <a:gd name="connsiteX10" fmla="*/ 2140299 w 11867103"/>
              <a:gd name="connsiteY10" fmla="*/ 40193 h 2964609"/>
              <a:gd name="connsiteX11" fmla="*/ 2200589 w 11867103"/>
              <a:gd name="connsiteY11" fmla="*/ 50242 h 2964609"/>
              <a:gd name="connsiteX12" fmla="*/ 4652387 w 11867103"/>
              <a:gd name="connsiteY12" fmla="*/ 60290 h 2964609"/>
              <a:gd name="connsiteX13" fmla="*/ 4692580 w 11867103"/>
              <a:gd name="connsiteY13" fmla="*/ 70339 h 2964609"/>
              <a:gd name="connsiteX14" fmla="*/ 4843306 w 11867103"/>
              <a:gd name="connsiteY14" fmla="*/ 90435 h 2964609"/>
              <a:gd name="connsiteX15" fmla="*/ 5677319 w 11867103"/>
              <a:gd name="connsiteY15" fmla="*/ 80387 h 2964609"/>
              <a:gd name="connsiteX16" fmla="*/ 6169688 w 11867103"/>
              <a:gd name="connsiteY16" fmla="*/ 110532 h 2964609"/>
              <a:gd name="connsiteX17" fmla="*/ 6420897 w 11867103"/>
              <a:gd name="connsiteY17" fmla="*/ 90435 h 2964609"/>
              <a:gd name="connsiteX18" fmla="*/ 6511332 w 11867103"/>
              <a:gd name="connsiteY18" fmla="*/ 30145 h 2964609"/>
              <a:gd name="connsiteX19" fmla="*/ 6571622 w 11867103"/>
              <a:gd name="connsiteY19" fmla="*/ 20097 h 2964609"/>
              <a:gd name="connsiteX20" fmla="*/ 6641961 w 11867103"/>
              <a:gd name="connsiteY20" fmla="*/ 0 h 2964609"/>
              <a:gd name="connsiteX21" fmla="*/ 7204668 w 11867103"/>
              <a:gd name="connsiteY21" fmla="*/ 10048 h 2964609"/>
              <a:gd name="connsiteX22" fmla="*/ 7285055 w 11867103"/>
              <a:gd name="connsiteY22" fmla="*/ 30145 h 2964609"/>
              <a:gd name="connsiteX23" fmla="*/ 7375490 w 11867103"/>
              <a:gd name="connsiteY23" fmla="*/ 40193 h 2964609"/>
              <a:gd name="connsiteX24" fmla="*/ 7928150 w 11867103"/>
              <a:gd name="connsiteY24" fmla="*/ 60290 h 2964609"/>
              <a:gd name="connsiteX25" fmla="*/ 8109020 w 11867103"/>
              <a:gd name="connsiteY25" fmla="*/ 80387 h 2964609"/>
              <a:gd name="connsiteX26" fmla="*/ 8219552 w 11867103"/>
              <a:gd name="connsiteY26" fmla="*/ 90435 h 2964609"/>
              <a:gd name="connsiteX27" fmla="*/ 8299939 w 11867103"/>
              <a:gd name="connsiteY27" fmla="*/ 100484 h 2964609"/>
              <a:gd name="connsiteX28" fmla="*/ 8521002 w 11867103"/>
              <a:gd name="connsiteY28" fmla="*/ 110532 h 2964609"/>
              <a:gd name="connsiteX29" fmla="*/ 9515789 w 11867103"/>
              <a:gd name="connsiteY29" fmla="*/ 100484 h 2964609"/>
              <a:gd name="connsiteX30" fmla="*/ 9606224 w 11867103"/>
              <a:gd name="connsiteY30" fmla="*/ 90435 h 2964609"/>
              <a:gd name="connsiteX31" fmla="*/ 9716756 w 11867103"/>
              <a:gd name="connsiteY31" fmla="*/ 80387 h 2964609"/>
              <a:gd name="connsiteX32" fmla="*/ 9797143 w 11867103"/>
              <a:gd name="connsiteY32" fmla="*/ 70339 h 2964609"/>
              <a:gd name="connsiteX33" fmla="*/ 9947868 w 11867103"/>
              <a:gd name="connsiteY33" fmla="*/ 60290 h 2964609"/>
              <a:gd name="connsiteX34" fmla="*/ 10791930 w 11867103"/>
              <a:gd name="connsiteY34" fmla="*/ 30145 h 2964609"/>
              <a:gd name="connsiteX35" fmla="*/ 11736475 w 11867103"/>
              <a:gd name="connsiteY35" fmla="*/ 50242 h 2964609"/>
              <a:gd name="connsiteX36" fmla="*/ 11766620 w 11867103"/>
              <a:gd name="connsiteY36" fmla="*/ 80387 h 2964609"/>
              <a:gd name="connsiteX37" fmla="*/ 11786717 w 11867103"/>
              <a:gd name="connsiteY37" fmla="*/ 120580 h 2964609"/>
              <a:gd name="connsiteX38" fmla="*/ 11806813 w 11867103"/>
              <a:gd name="connsiteY38" fmla="*/ 211015 h 2964609"/>
              <a:gd name="connsiteX39" fmla="*/ 11816862 w 11867103"/>
              <a:gd name="connsiteY39" fmla="*/ 251209 h 2964609"/>
              <a:gd name="connsiteX40" fmla="*/ 11826910 w 11867103"/>
              <a:gd name="connsiteY40" fmla="*/ 341644 h 2964609"/>
              <a:gd name="connsiteX41" fmla="*/ 11836958 w 11867103"/>
              <a:gd name="connsiteY41" fmla="*/ 422031 h 2964609"/>
              <a:gd name="connsiteX42" fmla="*/ 11826910 w 11867103"/>
              <a:gd name="connsiteY42" fmla="*/ 733530 h 2964609"/>
              <a:gd name="connsiteX43" fmla="*/ 11816862 w 11867103"/>
              <a:gd name="connsiteY43" fmla="*/ 793820 h 2964609"/>
              <a:gd name="connsiteX44" fmla="*/ 11806813 w 11867103"/>
              <a:gd name="connsiteY44" fmla="*/ 864158 h 2964609"/>
              <a:gd name="connsiteX45" fmla="*/ 11816862 w 11867103"/>
              <a:gd name="connsiteY45" fmla="*/ 2331218 h 2964609"/>
              <a:gd name="connsiteX46" fmla="*/ 11826910 w 11867103"/>
              <a:gd name="connsiteY46" fmla="*/ 2401556 h 2964609"/>
              <a:gd name="connsiteX47" fmla="*/ 11836958 w 11867103"/>
              <a:gd name="connsiteY47" fmla="*/ 2431701 h 2964609"/>
              <a:gd name="connsiteX48" fmla="*/ 11857055 w 11867103"/>
              <a:gd name="connsiteY48" fmla="*/ 2562330 h 2964609"/>
              <a:gd name="connsiteX49" fmla="*/ 11867103 w 11867103"/>
              <a:gd name="connsiteY49" fmla="*/ 2602523 h 2964609"/>
              <a:gd name="connsiteX50" fmla="*/ 11857055 w 11867103"/>
              <a:gd name="connsiteY50" fmla="*/ 2833635 h 2964609"/>
              <a:gd name="connsiteX51" fmla="*/ 11836958 w 11867103"/>
              <a:gd name="connsiteY51" fmla="*/ 2863780 h 2964609"/>
              <a:gd name="connsiteX52" fmla="*/ 11033090 w 11867103"/>
              <a:gd name="connsiteY52" fmla="*/ 2853732 h 2964609"/>
              <a:gd name="connsiteX53" fmla="*/ 10621108 w 11867103"/>
              <a:gd name="connsiteY53" fmla="*/ 2843684 h 2964609"/>
              <a:gd name="connsiteX54" fmla="*/ 10128739 w 11867103"/>
              <a:gd name="connsiteY54" fmla="*/ 2853732 h 2964609"/>
              <a:gd name="connsiteX55" fmla="*/ 10048352 w 11867103"/>
              <a:gd name="connsiteY55" fmla="*/ 2863780 h 2964609"/>
              <a:gd name="connsiteX56" fmla="*/ 9555982 w 11867103"/>
              <a:gd name="connsiteY56" fmla="*/ 2853732 h 2964609"/>
              <a:gd name="connsiteX57" fmla="*/ 9445451 w 11867103"/>
              <a:gd name="connsiteY57" fmla="*/ 2843684 h 2964609"/>
              <a:gd name="connsiteX58" fmla="*/ 9415306 w 11867103"/>
              <a:gd name="connsiteY58" fmla="*/ 2823587 h 2964609"/>
              <a:gd name="connsiteX59" fmla="*/ 9204290 w 11867103"/>
              <a:gd name="connsiteY59" fmla="*/ 2803490 h 2964609"/>
              <a:gd name="connsiteX60" fmla="*/ 9073662 w 11867103"/>
              <a:gd name="connsiteY60" fmla="*/ 2783393 h 2964609"/>
              <a:gd name="connsiteX61" fmla="*/ 8812404 w 11867103"/>
              <a:gd name="connsiteY61" fmla="*/ 2773345 h 2964609"/>
              <a:gd name="connsiteX62" fmla="*/ 8400422 w 11867103"/>
              <a:gd name="connsiteY62" fmla="*/ 2763297 h 2964609"/>
              <a:gd name="connsiteX63" fmla="*/ 8269793 w 11867103"/>
              <a:gd name="connsiteY63" fmla="*/ 2753248 h 2964609"/>
              <a:gd name="connsiteX64" fmla="*/ 7797521 w 11867103"/>
              <a:gd name="connsiteY64" fmla="*/ 2773345 h 2964609"/>
              <a:gd name="connsiteX65" fmla="*/ 7717134 w 11867103"/>
              <a:gd name="connsiteY65" fmla="*/ 2783393 h 2964609"/>
              <a:gd name="connsiteX66" fmla="*/ 7486022 w 11867103"/>
              <a:gd name="connsiteY66" fmla="*/ 2813539 h 2964609"/>
              <a:gd name="connsiteX67" fmla="*/ 7395587 w 11867103"/>
              <a:gd name="connsiteY67" fmla="*/ 2833635 h 2964609"/>
              <a:gd name="connsiteX68" fmla="*/ 7325248 w 11867103"/>
              <a:gd name="connsiteY68" fmla="*/ 2843684 h 2964609"/>
              <a:gd name="connsiteX69" fmla="*/ 6863024 w 11867103"/>
              <a:gd name="connsiteY69" fmla="*/ 2833635 h 2964609"/>
              <a:gd name="connsiteX70" fmla="*/ 6722347 w 11867103"/>
              <a:gd name="connsiteY70" fmla="*/ 2823587 h 2964609"/>
              <a:gd name="connsiteX71" fmla="*/ 4903596 w 11867103"/>
              <a:gd name="connsiteY71" fmla="*/ 2873829 h 2964609"/>
              <a:gd name="connsiteX72" fmla="*/ 4722725 w 11867103"/>
              <a:gd name="connsiteY72" fmla="*/ 2914022 h 2964609"/>
              <a:gd name="connsiteX73" fmla="*/ 4300695 w 11867103"/>
              <a:gd name="connsiteY73" fmla="*/ 2893925 h 2964609"/>
              <a:gd name="connsiteX74" fmla="*/ 4059534 w 11867103"/>
              <a:gd name="connsiteY74" fmla="*/ 2853732 h 2964609"/>
              <a:gd name="connsiteX75" fmla="*/ 3768132 w 11867103"/>
              <a:gd name="connsiteY75" fmla="*/ 2823587 h 2964609"/>
              <a:gd name="connsiteX76" fmla="*/ 3627455 w 11867103"/>
              <a:gd name="connsiteY76" fmla="*/ 2813539 h 2964609"/>
              <a:gd name="connsiteX77" fmla="*/ 3125037 w 11867103"/>
              <a:gd name="connsiteY77" fmla="*/ 2823587 h 2964609"/>
              <a:gd name="connsiteX78" fmla="*/ 3064747 w 11867103"/>
              <a:gd name="connsiteY78" fmla="*/ 2833635 h 2964609"/>
              <a:gd name="connsiteX79" fmla="*/ 2009670 w 11867103"/>
              <a:gd name="connsiteY79" fmla="*/ 2843684 h 2964609"/>
              <a:gd name="connsiteX80" fmla="*/ 1678075 w 11867103"/>
              <a:gd name="connsiteY80" fmla="*/ 2934119 h 2964609"/>
              <a:gd name="connsiteX81" fmla="*/ 1607736 w 11867103"/>
              <a:gd name="connsiteY81" fmla="*/ 2964264 h 2964609"/>
              <a:gd name="connsiteX82" fmla="*/ 1135464 w 11867103"/>
              <a:gd name="connsiteY82" fmla="*/ 2944167 h 2964609"/>
              <a:gd name="connsiteX83" fmla="*/ 944545 w 11867103"/>
              <a:gd name="connsiteY83" fmla="*/ 2914022 h 2964609"/>
              <a:gd name="connsiteX84" fmla="*/ 723481 w 11867103"/>
              <a:gd name="connsiteY84" fmla="*/ 2873829 h 2964609"/>
              <a:gd name="connsiteX85" fmla="*/ 643095 w 11867103"/>
              <a:gd name="connsiteY85" fmla="*/ 2863780 h 2964609"/>
              <a:gd name="connsiteX86" fmla="*/ 371789 w 11867103"/>
              <a:gd name="connsiteY86" fmla="*/ 2823587 h 2964609"/>
              <a:gd name="connsiteX87" fmla="*/ 0 w 11867103"/>
              <a:gd name="connsiteY87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854110 w 11867103"/>
              <a:gd name="connsiteY4" fmla="*/ 50242 h 2964609"/>
              <a:gd name="connsiteX5" fmla="*/ 884255 w 11867103"/>
              <a:gd name="connsiteY5" fmla="*/ 60290 h 2964609"/>
              <a:gd name="connsiteX6" fmla="*/ 1356528 w 11867103"/>
              <a:gd name="connsiteY6" fmla="*/ 80387 h 2964609"/>
              <a:gd name="connsiteX7" fmla="*/ 1758462 w 11867103"/>
              <a:gd name="connsiteY7" fmla="*/ 40193 h 2964609"/>
              <a:gd name="connsiteX8" fmla="*/ 1889090 w 11867103"/>
              <a:gd name="connsiteY8" fmla="*/ 20097 h 2964609"/>
              <a:gd name="connsiteX9" fmla="*/ 2140299 w 11867103"/>
              <a:gd name="connsiteY9" fmla="*/ 40193 h 2964609"/>
              <a:gd name="connsiteX10" fmla="*/ 2200589 w 11867103"/>
              <a:gd name="connsiteY10" fmla="*/ 50242 h 2964609"/>
              <a:gd name="connsiteX11" fmla="*/ 4652387 w 11867103"/>
              <a:gd name="connsiteY11" fmla="*/ 60290 h 2964609"/>
              <a:gd name="connsiteX12" fmla="*/ 4692580 w 11867103"/>
              <a:gd name="connsiteY12" fmla="*/ 70339 h 2964609"/>
              <a:gd name="connsiteX13" fmla="*/ 4843306 w 11867103"/>
              <a:gd name="connsiteY13" fmla="*/ 90435 h 2964609"/>
              <a:gd name="connsiteX14" fmla="*/ 5677319 w 11867103"/>
              <a:gd name="connsiteY14" fmla="*/ 80387 h 2964609"/>
              <a:gd name="connsiteX15" fmla="*/ 6169688 w 11867103"/>
              <a:gd name="connsiteY15" fmla="*/ 110532 h 2964609"/>
              <a:gd name="connsiteX16" fmla="*/ 6420897 w 11867103"/>
              <a:gd name="connsiteY16" fmla="*/ 90435 h 2964609"/>
              <a:gd name="connsiteX17" fmla="*/ 6511332 w 11867103"/>
              <a:gd name="connsiteY17" fmla="*/ 30145 h 2964609"/>
              <a:gd name="connsiteX18" fmla="*/ 6571622 w 11867103"/>
              <a:gd name="connsiteY18" fmla="*/ 20097 h 2964609"/>
              <a:gd name="connsiteX19" fmla="*/ 6641961 w 11867103"/>
              <a:gd name="connsiteY19" fmla="*/ 0 h 2964609"/>
              <a:gd name="connsiteX20" fmla="*/ 7204668 w 11867103"/>
              <a:gd name="connsiteY20" fmla="*/ 10048 h 2964609"/>
              <a:gd name="connsiteX21" fmla="*/ 7285055 w 11867103"/>
              <a:gd name="connsiteY21" fmla="*/ 30145 h 2964609"/>
              <a:gd name="connsiteX22" fmla="*/ 7375490 w 11867103"/>
              <a:gd name="connsiteY22" fmla="*/ 40193 h 2964609"/>
              <a:gd name="connsiteX23" fmla="*/ 7928150 w 11867103"/>
              <a:gd name="connsiteY23" fmla="*/ 60290 h 2964609"/>
              <a:gd name="connsiteX24" fmla="*/ 8109020 w 11867103"/>
              <a:gd name="connsiteY24" fmla="*/ 80387 h 2964609"/>
              <a:gd name="connsiteX25" fmla="*/ 8219552 w 11867103"/>
              <a:gd name="connsiteY25" fmla="*/ 90435 h 2964609"/>
              <a:gd name="connsiteX26" fmla="*/ 8299939 w 11867103"/>
              <a:gd name="connsiteY26" fmla="*/ 100484 h 2964609"/>
              <a:gd name="connsiteX27" fmla="*/ 8521002 w 11867103"/>
              <a:gd name="connsiteY27" fmla="*/ 110532 h 2964609"/>
              <a:gd name="connsiteX28" fmla="*/ 9515789 w 11867103"/>
              <a:gd name="connsiteY28" fmla="*/ 100484 h 2964609"/>
              <a:gd name="connsiteX29" fmla="*/ 9606224 w 11867103"/>
              <a:gd name="connsiteY29" fmla="*/ 90435 h 2964609"/>
              <a:gd name="connsiteX30" fmla="*/ 9716756 w 11867103"/>
              <a:gd name="connsiteY30" fmla="*/ 80387 h 2964609"/>
              <a:gd name="connsiteX31" fmla="*/ 9797143 w 11867103"/>
              <a:gd name="connsiteY31" fmla="*/ 70339 h 2964609"/>
              <a:gd name="connsiteX32" fmla="*/ 9947868 w 11867103"/>
              <a:gd name="connsiteY32" fmla="*/ 60290 h 2964609"/>
              <a:gd name="connsiteX33" fmla="*/ 10791930 w 11867103"/>
              <a:gd name="connsiteY33" fmla="*/ 30145 h 2964609"/>
              <a:gd name="connsiteX34" fmla="*/ 11736475 w 11867103"/>
              <a:gd name="connsiteY34" fmla="*/ 50242 h 2964609"/>
              <a:gd name="connsiteX35" fmla="*/ 11766620 w 11867103"/>
              <a:gd name="connsiteY35" fmla="*/ 80387 h 2964609"/>
              <a:gd name="connsiteX36" fmla="*/ 11786717 w 11867103"/>
              <a:gd name="connsiteY36" fmla="*/ 120580 h 2964609"/>
              <a:gd name="connsiteX37" fmla="*/ 11806813 w 11867103"/>
              <a:gd name="connsiteY37" fmla="*/ 211015 h 2964609"/>
              <a:gd name="connsiteX38" fmla="*/ 11816862 w 11867103"/>
              <a:gd name="connsiteY38" fmla="*/ 251209 h 2964609"/>
              <a:gd name="connsiteX39" fmla="*/ 11826910 w 11867103"/>
              <a:gd name="connsiteY39" fmla="*/ 341644 h 2964609"/>
              <a:gd name="connsiteX40" fmla="*/ 11836958 w 11867103"/>
              <a:gd name="connsiteY40" fmla="*/ 422031 h 2964609"/>
              <a:gd name="connsiteX41" fmla="*/ 11826910 w 11867103"/>
              <a:gd name="connsiteY41" fmla="*/ 733530 h 2964609"/>
              <a:gd name="connsiteX42" fmla="*/ 11816862 w 11867103"/>
              <a:gd name="connsiteY42" fmla="*/ 793820 h 2964609"/>
              <a:gd name="connsiteX43" fmla="*/ 11806813 w 11867103"/>
              <a:gd name="connsiteY43" fmla="*/ 864158 h 2964609"/>
              <a:gd name="connsiteX44" fmla="*/ 11816862 w 11867103"/>
              <a:gd name="connsiteY44" fmla="*/ 2331218 h 2964609"/>
              <a:gd name="connsiteX45" fmla="*/ 11826910 w 11867103"/>
              <a:gd name="connsiteY45" fmla="*/ 2401556 h 2964609"/>
              <a:gd name="connsiteX46" fmla="*/ 11836958 w 11867103"/>
              <a:gd name="connsiteY46" fmla="*/ 2431701 h 2964609"/>
              <a:gd name="connsiteX47" fmla="*/ 11857055 w 11867103"/>
              <a:gd name="connsiteY47" fmla="*/ 2562330 h 2964609"/>
              <a:gd name="connsiteX48" fmla="*/ 11867103 w 11867103"/>
              <a:gd name="connsiteY48" fmla="*/ 2602523 h 2964609"/>
              <a:gd name="connsiteX49" fmla="*/ 11857055 w 11867103"/>
              <a:gd name="connsiteY49" fmla="*/ 2833635 h 2964609"/>
              <a:gd name="connsiteX50" fmla="*/ 11836958 w 11867103"/>
              <a:gd name="connsiteY50" fmla="*/ 2863780 h 2964609"/>
              <a:gd name="connsiteX51" fmla="*/ 11033090 w 11867103"/>
              <a:gd name="connsiteY51" fmla="*/ 2853732 h 2964609"/>
              <a:gd name="connsiteX52" fmla="*/ 10621108 w 11867103"/>
              <a:gd name="connsiteY52" fmla="*/ 2843684 h 2964609"/>
              <a:gd name="connsiteX53" fmla="*/ 10128739 w 11867103"/>
              <a:gd name="connsiteY53" fmla="*/ 2853732 h 2964609"/>
              <a:gd name="connsiteX54" fmla="*/ 10048352 w 11867103"/>
              <a:gd name="connsiteY54" fmla="*/ 2863780 h 2964609"/>
              <a:gd name="connsiteX55" fmla="*/ 9555982 w 11867103"/>
              <a:gd name="connsiteY55" fmla="*/ 2853732 h 2964609"/>
              <a:gd name="connsiteX56" fmla="*/ 9445451 w 11867103"/>
              <a:gd name="connsiteY56" fmla="*/ 2843684 h 2964609"/>
              <a:gd name="connsiteX57" fmla="*/ 9415306 w 11867103"/>
              <a:gd name="connsiteY57" fmla="*/ 2823587 h 2964609"/>
              <a:gd name="connsiteX58" fmla="*/ 9204290 w 11867103"/>
              <a:gd name="connsiteY58" fmla="*/ 2803490 h 2964609"/>
              <a:gd name="connsiteX59" fmla="*/ 9073662 w 11867103"/>
              <a:gd name="connsiteY59" fmla="*/ 2783393 h 2964609"/>
              <a:gd name="connsiteX60" fmla="*/ 8812404 w 11867103"/>
              <a:gd name="connsiteY60" fmla="*/ 2773345 h 2964609"/>
              <a:gd name="connsiteX61" fmla="*/ 8400422 w 11867103"/>
              <a:gd name="connsiteY61" fmla="*/ 2763297 h 2964609"/>
              <a:gd name="connsiteX62" fmla="*/ 8269793 w 11867103"/>
              <a:gd name="connsiteY62" fmla="*/ 2753248 h 2964609"/>
              <a:gd name="connsiteX63" fmla="*/ 7797521 w 11867103"/>
              <a:gd name="connsiteY63" fmla="*/ 2773345 h 2964609"/>
              <a:gd name="connsiteX64" fmla="*/ 7717134 w 11867103"/>
              <a:gd name="connsiteY64" fmla="*/ 2783393 h 2964609"/>
              <a:gd name="connsiteX65" fmla="*/ 7486022 w 11867103"/>
              <a:gd name="connsiteY65" fmla="*/ 2813539 h 2964609"/>
              <a:gd name="connsiteX66" fmla="*/ 7395587 w 11867103"/>
              <a:gd name="connsiteY66" fmla="*/ 2833635 h 2964609"/>
              <a:gd name="connsiteX67" fmla="*/ 7325248 w 11867103"/>
              <a:gd name="connsiteY67" fmla="*/ 2843684 h 2964609"/>
              <a:gd name="connsiteX68" fmla="*/ 6863024 w 11867103"/>
              <a:gd name="connsiteY68" fmla="*/ 2833635 h 2964609"/>
              <a:gd name="connsiteX69" fmla="*/ 6722347 w 11867103"/>
              <a:gd name="connsiteY69" fmla="*/ 2823587 h 2964609"/>
              <a:gd name="connsiteX70" fmla="*/ 4903596 w 11867103"/>
              <a:gd name="connsiteY70" fmla="*/ 2873829 h 2964609"/>
              <a:gd name="connsiteX71" fmla="*/ 4722725 w 11867103"/>
              <a:gd name="connsiteY71" fmla="*/ 2914022 h 2964609"/>
              <a:gd name="connsiteX72" fmla="*/ 4300695 w 11867103"/>
              <a:gd name="connsiteY72" fmla="*/ 2893925 h 2964609"/>
              <a:gd name="connsiteX73" fmla="*/ 4059534 w 11867103"/>
              <a:gd name="connsiteY73" fmla="*/ 2853732 h 2964609"/>
              <a:gd name="connsiteX74" fmla="*/ 3768132 w 11867103"/>
              <a:gd name="connsiteY74" fmla="*/ 2823587 h 2964609"/>
              <a:gd name="connsiteX75" fmla="*/ 3627455 w 11867103"/>
              <a:gd name="connsiteY75" fmla="*/ 2813539 h 2964609"/>
              <a:gd name="connsiteX76" fmla="*/ 3125037 w 11867103"/>
              <a:gd name="connsiteY76" fmla="*/ 2823587 h 2964609"/>
              <a:gd name="connsiteX77" fmla="*/ 3064747 w 11867103"/>
              <a:gd name="connsiteY77" fmla="*/ 2833635 h 2964609"/>
              <a:gd name="connsiteX78" fmla="*/ 2009670 w 11867103"/>
              <a:gd name="connsiteY78" fmla="*/ 2843684 h 2964609"/>
              <a:gd name="connsiteX79" fmla="*/ 1678075 w 11867103"/>
              <a:gd name="connsiteY79" fmla="*/ 2934119 h 2964609"/>
              <a:gd name="connsiteX80" fmla="*/ 1607736 w 11867103"/>
              <a:gd name="connsiteY80" fmla="*/ 2964264 h 2964609"/>
              <a:gd name="connsiteX81" fmla="*/ 1135464 w 11867103"/>
              <a:gd name="connsiteY81" fmla="*/ 2944167 h 2964609"/>
              <a:gd name="connsiteX82" fmla="*/ 944545 w 11867103"/>
              <a:gd name="connsiteY82" fmla="*/ 2914022 h 2964609"/>
              <a:gd name="connsiteX83" fmla="*/ 723481 w 11867103"/>
              <a:gd name="connsiteY83" fmla="*/ 2873829 h 2964609"/>
              <a:gd name="connsiteX84" fmla="*/ 643095 w 11867103"/>
              <a:gd name="connsiteY84" fmla="*/ 2863780 h 2964609"/>
              <a:gd name="connsiteX85" fmla="*/ 371789 w 11867103"/>
              <a:gd name="connsiteY85" fmla="*/ 2823587 h 2964609"/>
              <a:gd name="connsiteX86" fmla="*/ 0 w 11867103"/>
              <a:gd name="connsiteY86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854110 w 11867103"/>
              <a:gd name="connsiteY4" fmla="*/ 50242 h 2964609"/>
              <a:gd name="connsiteX5" fmla="*/ 1356528 w 11867103"/>
              <a:gd name="connsiteY5" fmla="*/ 80387 h 2964609"/>
              <a:gd name="connsiteX6" fmla="*/ 1758462 w 11867103"/>
              <a:gd name="connsiteY6" fmla="*/ 40193 h 2964609"/>
              <a:gd name="connsiteX7" fmla="*/ 1889090 w 11867103"/>
              <a:gd name="connsiteY7" fmla="*/ 20097 h 2964609"/>
              <a:gd name="connsiteX8" fmla="*/ 2140299 w 11867103"/>
              <a:gd name="connsiteY8" fmla="*/ 40193 h 2964609"/>
              <a:gd name="connsiteX9" fmla="*/ 2200589 w 11867103"/>
              <a:gd name="connsiteY9" fmla="*/ 50242 h 2964609"/>
              <a:gd name="connsiteX10" fmla="*/ 4652387 w 11867103"/>
              <a:gd name="connsiteY10" fmla="*/ 60290 h 2964609"/>
              <a:gd name="connsiteX11" fmla="*/ 4692580 w 11867103"/>
              <a:gd name="connsiteY11" fmla="*/ 70339 h 2964609"/>
              <a:gd name="connsiteX12" fmla="*/ 4843306 w 11867103"/>
              <a:gd name="connsiteY12" fmla="*/ 90435 h 2964609"/>
              <a:gd name="connsiteX13" fmla="*/ 5677319 w 11867103"/>
              <a:gd name="connsiteY13" fmla="*/ 80387 h 2964609"/>
              <a:gd name="connsiteX14" fmla="*/ 6169688 w 11867103"/>
              <a:gd name="connsiteY14" fmla="*/ 110532 h 2964609"/>
              <a:gd name="connsiteX15" fmla="*/ 6420897 w 11867103"/>
              <a:gd name="connsiteY15" fmla="*/ 90435 h 2964609"/>
              <a:gd name="connsiteX16" fmla="*/ 6511332 w 11867103"/>
              <a:gd name="connsiteY16" fmla="*/ 30145 h 2964609"/>
              <a:gd name="connsiteX17" fmla="*/ 6571622 w 11867103"/>
              <a:gd name="connsiteY17" fmla="*/ 20097 h 2964609"/>
              <a:gd name="connsiteX18" fmla="*/ 6641961 w 11867103"/>
              <a:gd name="connsiteY18" fmla="*/ 0 h 2964609"/>
              <a:gd name="connsiteX19" fmla="*/ 7204668 w 11867103"/>
              <a:gd name="connsiteY19" fmla="*/ 10048 h 2964609"/>
              <a:gd name="connsiteX20" fmla="*/ 7285055 w 11867103"/>
              <a:gd name="connsiteY20" fmla="*/ 30145 h 2964609"/>
              <a:gd name="connsiteX21" fmla="*/ 7375490 w 11867103"/>
              <a:gd name="connsiteY21" fmla="*/ 40193 h 2964609"/>
              <a:gd name="connsiteX22" fmla="*/ 7928150 w 11867103"/>
              <a:gd name="connsiteY22" fmla="*/ 60290 h 2964609"/>
              <a:gd name="connsiteX23" fmla="*/ 8109020 w 11867103"/>
              <a:gd name="connsiteY23" fmla="*/ 80387 h 2964609"/>
              <a:gd name="connsiteX24" fmla="*/ 8219552 w 11867103"/>
              <a:gd name="connsiteY24" fmla="*/ 90435 h 2964609"/>
              <a:gd name="connsiteX25" fmla="*/ 8299939 w 11867103"/>
              <a:gd name="connsiteY25" fmla="*/ 100484 h 2964609"/>
              <a:gd name="connsiteX26" fmla="*/ 8521002 w 11867103"/>
              <a:gd name="connsiteY26" fmla="*/ 110532 h 2964609"/>
              <a:gd name="connsiteX27" fmla="*/ 9515789 w 11867103"/>
              <a:gd name="connsiteY27" fmla="*/ 100484 h 2964609"/>
              <a:gd name="connsiteX28" fmla="*/ 9606224 w 11867103"/>
              <a:gd name="connsiteY28" fmla="*/ 90435 h 2964609"/>
              <a:gd name="connsiteX29" fmla="*/ 9716756 w 11867103"/>
              <a:gd name="connsiteY29" fmla="*/ 80387 h 2964609"/>
              <a:gd name="connsiteX30" fmla="*/ 9797143 w 11867103"/>
              <a:gd name="connsiteY30" fmla="*/ 70339 h 2964609"/>
              <a:gd name="connsiteX31" fmla="*/ 9947868 w 11867103"/>
              <a:gd name="connsiteY31" fmla="*/ 60290 h 2964609"/>
              <a:gd name="connsiteX32" fmla="*/ 10791930 w 11867103"/>
              <a:gd name="connsiteY32" fmla="*/ 30145 h 2964609"/>
              <a:gd name="connsiteX33" fmla="*/ 11736475 w 11867103"/>
              <a:gd name="connsiteY33" fmla="*/ 50242 h 2964609"/>
              <a:gd name="connsiteX34" fmla="*/ 11766620 w 11867103"/>
              <a:gd name="connsiteY34" fmla="*/ 80387 h 2964609"/>
              <a:gd name="connsiteX35" fmla="*/ 11786717 w 11867103"/>
              <a:gd name="connsiteY35" fmla="*/ 120580 h 2964609"/>
              <a:gd name="connsiteX36" fmla="*/ 11806813 w 11867103"/>
              <a:gd name="connsiteY36" fmla="*/ 211015 h 2964609"/>
              <a:gd name="connsiteX37" fmla="*/ 11816862 w 11867103"/>
              <a:gd name="connsiteY37" fmla="*/ 251209 h 2964609"/>
              <a:gd name="connsiteX38" fmla="*/ 11826910 w 11867103"/>
              <a:gd name="connsiteY38" fmla="*/ 341644 h 2964609"/>
              <a:gd name="connsiteX39" fmla="*/ 11836958 w 11867103"/>
              <a:gd name="connsiteY39" fmla="*/ 422031 h 2964609"/>
              <a:gd name="connsiteX40" fmla="*/ 11826910 w 11867103"/>
              <a:gd name="connsiteY40" fmla="*/ 733530 h 2964609"/>
              <a:gd name="connsiteX41" fmla="*/ 11816862 w 11867103"/>
              <a:gd name="connsiteY41" fmla="*/ 793820 h 2964609"/>
              <a:gd name="connsiteX42" fmla="*/ 11806813 w 11867103"/>
              <a:gd name="connsiteY42" fmla="*/ 864158 h 2964609"/>
              <a:gd name="connsiteX43" fmla="*/ 11816862 w 11867103"/>
              <a:gd name="connsiteY43" fmla="*/ 2331218 h 2964609"/>
              <a:gd name="connsiteX44" fmla="*/ 11826910 w 11867103"/>
              <a:gd name="connsiteY44" fmla="*/ 2401556 h 2964609"/>
              <a:gd name="connsiteX45" fmla="*/ 11836958 w 11867103"/>
              <a:gd name="connsiteY45" fmla="*/ 2431701 h 2964609"/>
              <a:gd name="connsiteX46" fmla="*/ 11857055 w 11867103"/>
              <a:gd name="connsiteY46" fmla="*/ 2562330 h 2964609"/>
              <a:gd name="connsiteX47" fmla="*/ 11867103 w 11867103"/>
              <a:gd name="connsiteY47" fmla="*/ 2602523 h 2964609"/>
              <a:gd name="connsiteX48" fmla="*/ 11857055 w 11867103"/>
              <a:gd name="connsiteY48" fmla="*/ 2833635 h 2964609"/>
              <a:gd name="connsiteX49" fmla="*/ 11836958 w 11867103"/>
              <a:gd name="connsiteY49" fmla="*/ 2863780 h 2964609"/>
              <a:gd name="connsiteX50" fmla="*/ 11033090 w 11867103"/>
              <a:gd name="connsiteY50" fmla="*/ 2853732 h 2964609"/>
              <a:gd name="connsiteX51" fmla="*/ 10621108 w 11867103"/>
              <a:gd name="connsiteY51" fmla="*/ 2843684 h 2964609"/>
              <a:gd name="connsiteX52" fmla="*/ 10128739 w 11867103"/>
              <a:gd name="connsiteY52" fmla="*/ 2853732 h 2964609"/>
              <a:gd name="connsiteX53" fmla="*/ 10048352 w 11867103"/>
              <a:gd name="connsiteY53" fmla="*/ 2863780 h 2964609"/>
              <a:gd name="connsiteX54" fmla="*/ 9555982 w 11867103"/>
              <a:gd name="connsiteY54" fmla="*/ 2853732 h 2964609"/>
              <a:gd name="connsiteX55" fmla="*/ 9445451 w 11867103"/>
              <a:gd name="connsiteY55" fmla="*/ 2843684 h 2964609"/>
              <a:gd name="connsiteX56" fmla="*/ 9415306 w 11867103"/>
              <a:gd name="connsiteY56" fmla="*/ 2823587 h 2964609"/>
              <a:gd name="connsiteX57" fmla="*/ 9204290 w 11867103"/>
              <a:gd name="connsiteY57" fmla="*/ 2803490 h 2964609"/>
              <a:gd name="connsiteX58" fmla="*/ 9073662 w 11867103"/>
              <a:gd name="connsiteY58" fmla="*/ 2783393 h 2964609"/>
              <a:gd name="connsiteX59" fmla="*/ 8812404 w 11867103"/>
              <a:gd name="connsiteY59" fmla="*/ 2773345 h 2964609"/>
              <a:gd name="connsiteX60" fmla="*/ 8400422 w 11867103"/>
              <a:gd name="connsiteY60" fmla="*/ 2763297 h 2964609"/>
              <a:gd name="connsiteX61" fmla="*/ 8269793 w 11867103"/>
              <a:gd name="connsiteY61" fmla="*/ 2753248 h 2964609"/>
              <a:gd name="connsiteX62" fmla="*/ 7797521 w 11867103"/>
              <a:gd name="connsiteY62" fmla="*/ 2773345 h 2964609"/>
              <a:gd name="connsiteX63" fmla="*/ 7717134 w 11867103"/>
              <a:gd name="connsiteY63" fmla="*/ 2783393 h 2964609"/>
              <a:gd name="connsiteX64" fmla="*/ 7486022 w 11867103"/>
              <a:gd name="connsiteY64" fmla="*/ 2813539 h 2964609"/>
              <a:gd name="connsiteX65" fmla="*/ 7395587 w 11867103"/>
              <a:gd name="connsiteY65" fmla="*/ 2833635 h 2964609"/>
              <a:gd name="connsiteX66" fmla="*/ 7325248 w 11867103"/>
              <a:gd name="connsiteY66" fmla="*/ 2843684 h 2964609"/>
              <a:gd name="connsiteX67" fmla="*/ 6863024 w 11867103"/>
              <a:gd name="connsiteY67" fmla="*/ 2833635 h 2964609"/>
              <a:gd name="connsiteX68" fmla="*/ 6722347 w 11867103"/>
              <a:gd name="connsiteY68" fmla="*/ 2823587 h 2964609"/>
              <a:gd name="connsiteX69" fmla="*/ 4903596 w 11867103"/>
              <a:gd name="connsiteY69" fmla="*/ 2873829 h 2964609"/>
              <a:gd name="connsiteX70" fmla="*/ 4722725 w 11867103"/>
              <a:gd name="connsiteY70" fmla="*/ 2914022 h 2964609"/>
              <a:gd name="connsiteX71" fmla="*/ 4300695 w 11867103"/>
              <a:gd name="connsiteY71" fmla="*/ 2893925 h 2964609"/>
              <a:gd name="connsiteX72" fmla="*/ 4059534 w 11867103"/>
              <a:gd name="connsiteY72" fmla="*/ 2853732 h 2964609"/>
              <a:gd name="connsiteX73" fmla="*/ 3768132 w 11867103"/>
              <a:gd name="connsiteY73" fmla="*/ 2823587 h 2964609"/>
              <a:gd name="connsiteX74" fmla="*/ 3627455 w 11867103"/>
              <a:gd name="connsiteY74" fmla="*/ 2813539 h 2964609"/>
              <a:gd name="connsiteX75" fmla="*/ 3125037 w 11867103"/>
              <a:gd name="connsiteY75" fmla="*/ 2823587 h 2964609"/>
              <a:gd name="connsiteX76" fmla="*/ 3064747 w 11867103"/>
              <a:gd name="connsiteY76" fmla="*/ 2833635 h 2964609"/>
              <a:gd name="connsiteX77" fmla="*/ 2009670 w 11867103"/>
              <a:gd name="connsiteY77" fmla="*/ 2843684 h 2964609"/>
              <a:gd name="connsiteX78" fmla="*/ 1678075 w 11867103"/>
              <a:gd name="connsiteY78" fmla="*/ 2934119 h 2964609"/>
              <a:gd name="connsiteX79" fmla="*/ 1607736 w 11867103"/>
              <a:gd name="connsiteY79" fmla="*/ 2964264 h 2964609"/>
              <a:gd name="connsiteX80" fmla="*/ 1135464 w 11867103"/>
              <a:gd name="connsiteY80" fmla="*/ 2944167 h 2964609"/>
              <a:gd name="connsiteX81" fmla="*/ 944545 w 11867103"/>
              <a:gd name="connsiteY81" fmla="*/ 2914022 h 2964609"/>
              <a:gd name="connsiteX82" fmla="*/ 723481 w 11867103"/>
              <a:gd name="connsiteY82" fmla="*/ 2873829 h 2964609"/>
              <a:gd name="connsiteX83" fmla="*/ 643095 w 11867103"/>
              <a:gd name="connsiteY83" fmla="*/ 2863780 h 2964609"/>
              <a:gd name="connsiteX84" fmla="*/ 371789 w 11867103"/>
              <a:gd name="connsiteY84" fmla="*/ 2823587 h 2964609"/>
              <a:gd name="connsiteX85" fmla="*/ 0 w 11867103"/>
              <a:gd name="connsiteY85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1356528 w 11867103"/>
              <a:gd name="connsiteY4" fmla="*/ 80387 h 2964609"/>
              <a:gd name="connsiteX5" fmla="*/ 1758462 w 11867103"/>
              <a:gd name="connsiteY5" fmla="*/ 40193 h 2964609"/>
              <a:gd name="connsiteX6" fmla="*/ 1889090 w 11867103"/>
              <a:gd name="connsiteY6" fmla="*/ 20097 h 2964609"/>
              <a:gd name="connsiteX7" fmla="*/ 2140299 w 11867103"/>
              <a:gd name="connsiteY7" fmla="*/ 40193 h 2964609"/>
              <a:gd name="connsiteX8" fmla="*/ 2200589 w 11867103"/>
              <a:gd name="connsiteY8" fmla="*/ 50242 h 2964609"/>
              <a:gd name="connsiteX9" fmla="*/ 4652387 w 11867103"/>
              <a:gd name="connsiteY9" fmla="*/ 60290 h 2964609"/>
              <a:gd name="connsiteX10" fmla="*/ 4692580 w 11867103"/>
              <a:gd name="connsiteY10" fmla="*/ 70339 h 2964609"/>
              <a:gd name="connsiteX11" fmla="*/ 4843306 w 11867103"/>
              <a:gd name="connsiteY11" fmla="*/ 90435 h 2964609"/>
              <a:gd name="connsiteX12" fmla="*/ 5677319 w 11867103"/>
              <a:gd name="connsiteY12" fmla="*/ 80387 h 2964609"/>
              <a:gd name="connsiteX13" fmla="*/ 6169688 w 11867103"/>
              <a:gd name="connsiteY13" fmla="*/ 110532 h 2964609"/>
              <a:gd name="connsiteX14" fmla="*/ 6420897 w 11867103"/>
              <a:gd name="connsiteY14" fmla="*/ 90435 h 2964609"/>
              <a:gd name="connsiteX15" fmla="*/ 6511332 w 11867103"/>
              <a:gd name="connsiteY15" fmla="*/ 30145 h 2964609"/>
              <a:gd name="connsiteX16" fmla="*/ 6571622 w 11867103"/>
              <a:gd name="connsiteY16" fmla="*/ 20097 h 2964609"/>
              <a:gd name="connsiteX17" fmla="*/ 6641961 w 11867103"/>
              <a:gd name="connsiteY17" fmla="*/ 0 h 2964609"/>
              <a:gd name="connsiteX18" fmla="*/ 7204668 w 11867103"/>
              <a:gd name="connsiteY18" fmla="*/ 10048 h 2964609"/>
              <a:gd name="connsiteX19" fmla="*/ 7285055 w 11867103"/>
              <a:gd name="connsiteY19" fmla="*/ 30145 h 2964609"/>
              <a:gd name="connsiteX20" fmla="*/ 7375490 w 11867103"/>
              <a:gd name="connsiteY20" fmla="*/ 40193 h 2964609"/>
              <a:gd name="connsiteX21" fmla="*/ 7928150 w 11867103"/>
              <a:gd name="connsiteY21" fmla="*/ 60290 h 2964609"/>
              <a:gd name="connsiteX22" fmla="*/ 8109020 w 11867103"/>
              <a:gd name="connsiteY22" fmla="*/ 80387 h 2964609"/>
              <a:gd name="connsiteX23" fmla="*/ 8219552 w 11867103"/>
              <a:gd name="connsiteY23" fmla="*/ 90435 h 2964609"/>
              <a:gd name="connsiteX24" fmla="*/ 8299939 w 11867103"/>
              <a:gd name="connsiteY24" fmla="*/ 100484 h 2964609"/>
              <a:gd name="connsiteX25" fmla="*/ 8521002 w 11867103"/>
              <a:gd name="connsiteY25" fmla="*/ 110532 h 2964609"/>
              <a:gd name="connsiteX26" fmla="*/ 9515789 w 11867103"/>
              <a:gd name="connsiteY26" fmla="*/ 100484 h 2964609"/>
              <a:gd name="connsiteX27" fmla="*/ 9606224 w 11867103"/>
              <a:gd name="connsiteY27" fmla="*/ 90435 h 2964609"/>
              <a:gd name="connsiteX28" fmla="*/ 9716756 w 11867103"/>
              <a:gd name="connsiteY28" fmla="*/ 80387 h 2964609"/>
              <a:gd name="connsiteX29" fmla="*/ 9797143 w 11867103"/>
              <a:gd name="connsiteY29" fmla="*/ 70339 h 2964609"/>
              <a:gd name="connsiteX30" fmla="*/ 9947868 w 11867103"/>
              <a:gd name="connsiteY30" fmla="*/ 60290 h 2964609"/>
              <a:gd name="connsiteX31" fmla="*/ 10791930 w 11867103"/>
              <a:gd name="connsiteY31" fmla="*/ 30145 h 2964609"/>
              <a:gd name="connsiteX32" fmla="*/ 11736475 w 11867103"/>
              <a:gd name="connsiteY32" fmla="*/ 50242 h 2964609"/>
              <a:gd name="connsiteX33" fmla="*/ 11766620 w 11867103"/>
              <a:gd name="connsiteY33" fmla="*/ 80387 h 2964609"/>
              <a:gd name="connsiteX34" fmla="*/ 11786717 w 11867103"/>
              <a:gd name="connsiteY34" fmla="*/ 120580 h 2964609"/>
              <a:gd name="connsiteX35" fmla="*/ 11806813 w 11867103"/>
              <a:gd name="connsiteY35" fmla="*/ 211015 h 2964609"/>
              <a:gd name="connsiteX36" fmla="*/ 11816862 w 11867103"/>
              <a:gd name="connsiteY36" fmla="*/ 251209 h 2964609"/>
              <a:gd name="connsiteX37" fmla="*/ 11826910 w 11867103"/>
              <a:gd name="connsiteY37" fmla="*/ 341644 h 2964609"/>
              <a:gd name="connsiteX38" fmla="*/ 11836958 w 11867103"/>
              <a:gd name="connsiteY38" fmla="*/ 422031 h 2964609"/>
              <a:gd name="connsiteX39" fmla="*/ 11826910 w 11867103"/>
              <a:gd name="connsiteY39" fmla="*/ 733530 h 2964609"/>
              <a:gd name="connsiteX40" fmla="*/ 11816862 w 11867103"/>
              <a:gd name="connsiteY40" fmla="*/ 793820 h 2964609"/>
              <a:gd name="connsiteX41" fmla="*/ 11806813 w 11867103"/>
              <a:gd name="connsiteY41" fmla="*/ 864158 h 2964609"/>
              <a:gd name="connsiteX42" fmla="*/ 11816862 w 11867103"/>
              <a:gd name="connsiteY42" fmla="*/ 2331218 h 2964609"/>
              <a:gd name="connsiteX43" fmla="*/ 11826910 w 11867103"/>
              <a:gd name="connsiteY43" fmla="*/ 2401556 h 2964609"/>
              <a:gd name="connsiteX44" fmla="*/ 11836958 w 11867103"/>
              <a:gd name="connsiteY44" fmla="*/ 2431701 h 2964609"/>
              <a:gd name="connsiteX45" fmla="*/ 11857055 w 11867103"/>
              <a:gd name="connsiteY45" fmla="*/ 2562330 h 2964609"/>
              <a:gd name="connsiteX46" fmla="*/ 11867103 w 11867103"/>
              <a:gd name="connsiteY46" fmla="*/ 2602523 h 2964609"/>
              <a:gd name="connsiteX47" fmla="*/ 11857055 w 11867103"/>
              <a:gd name="connsiteY47" fmla="*/ 2833635 h 2964609"/>
              <a:gd name="connsiteX48" fmla="*/ 11836958 w 11867103"/>
              <a:gd name="connsiteY48" fmla="*/ 2863780 h 2964609"/>
              <a:gd name="connsiteX49" fmla="*/ 11033090 w 11867103"/>
              <a:gd name="connsiteY49" fmla="*/ 2853732 h 2964609"/>
              <a:gd name="connsiteX50" fmla="*/ 10621108 w 11867103"/>
              <a:gd name="connsiteY50" fmla="*/ 2843684 h 2964609"/>
              <a:gd name="connsiteX51" fmla="*/ 10128739 w 11867103"/>
              <a:gd name="connsiteY51" fmla="*/ 2853732 h 2964609"/>
              <a:gd name="connsiteX52" fmla="*/ 10048352 w 11867103"/>
              <a:gd name="connsiteY52" fmla="*/ 2863780 h 2964609"/>
              <a:gd name="connsiteX53" fmla="*/ 9555982 w 11867103"/>
              <a:gd name="connsiteY53" fmla="*/ 2853732 h 2964609"/>
              <a:gd name="connsiteX54" fmla="*/ 9445451 w 11867103"/>
              <a:gd name="connsiteY54" fmla="*/ 2843684 h 2964609"/>
              <a:gd name="connsiteX55" fmla="*/ 9415306 w 11867103"/>
              <a:gd name="connsiteY55" fmla="*/ 2823587 h 2964609"/>
              <a:gd name="connsiteX56" fmla="*/ 9204290 w 11867103"/>
              <a:gd name="connsiteY56" fmla="*/ 2803490 h 2964609"/>
              <a:gd name="connsiteX57" fmla="*/ 9073662 w 11867103"/>
              <a:gd name="connsiteY57" fmla="*/ 2783393 h 2964609"/>
              <a:gd name="connsiteX58" fmla="*/ 8812404 w 11867103"/>
              <a:gd name="connsiteY58" fmla="*/ 2773345 h 2964609"/>
              <a:gd name="connsiteX59" fmla="*/ 8400422 w 11867103"/>
              <a:gd name="connsiteY59" fmla="*/ 2763297 h 2964609"/>
              <a:gd name="connsiteX60" fmla="*/ 8269793 w 11867103"/>
              <a:gd name="connsiteY60" fmla="*/ 2753248 h 2964609"/>
              <a:gd name="connsiteX61" fmla="*/ 7797521 w 11867103"/>
              <a:gd name="connsiteY61" fmla="*/ 2773345 h 2964609"/>
              <a:gd name="connsiteX62" fmla="*/ 7717134 w 11867103"/>
              <a:gd name="connsiteY62" fmla="*/ 2783393 h 2964609"/>
              <a:gd name="connsiteX63" fmla="*/ 7486022 w 11867103"/>
              <a:gd name="connsiteY63" fmla="*/ 2813539 h 2964609"/>
              <a:gd name="connsiteX64" fmla="*/ 7395587 w 11867103"/>
              <a:gd name="connsiteY64" fmla="*/ 2833635 h 2964609"/>
              <a:gd name="connsiteX65" fmla="*/ 7325248 w 11867103"/>
              <a:gd name="connsiteY65" fmla="*/ 2843684 h 2964609"/>
              <a:gd name="connsiteX66" fmla="*/ 6863024 w 11867103"/>
              <a:gd name="connsiteY66" fmla="*/ 2833635 h 2964609"/>
              <a:gd name="connsiteX67" fmla="*/ 6722347 w 11867103"/>
              <a:gd name="connsiteY67" fmla="*/ 2823587 h 2964609"/>
              <a:gd name="connsiteX68" fmla="*/ 4903596 w 11867103"/>
              <a:gd name="connsiteY68" fmla="*/ 2873829 h 2964609"/>
              <a:gd name="connsiteX69" fmla="*/ 4722725 w 11867103"/>
              <a:gd name="connsiteY69" fmla="*/ 2914022 h 2964609"/>
              <a:gd name="connsiteX70" fmla="*/ 4300695 w 11867103"/>
              <a:gd name="connsiteY70" fmla="*/ 2893925 h 2964609"/>
              <a:gd name="connsiteX71" fmla="*/ 4059534 w 11867103"/>
              <a:gd name="connsiteY71" fmla="*/ 2853732 h 2964609"/>
              <a:gd name="connsiteX72" fmla="*/ 3768132 w 11867103"/>
              <a:gd name="connsiteY72" fmla="*/ 2823587 h 2964609"/>
              <a:gd name="connsiteX73" fmla="*/ 3627455 w 11867103"/>
              <a:gd name="connsiteY73" fmla="*/ 2813539 h 2964609"/>
              <a:gd name="connsiteX74" fmla="*/ 3125037 w 11867103"/>
              <a:gd name="connsiteY74" fmla="*/ 2823587 h 2964609"/>
              <a:gd name="connsiteX75" fmla="*/ 3064747 w 11867103"/>
              <a:gd name="connsiteY75" fmla="*/ 2833635 h 2964609"/>
              <a:gd name="connsiteX76" fmla="*/ 2009670 w 11867103"/>
              <a:gd name="connsiteY76" fmla="*/ 2843684 h 2964609"/>
              <a:gd name="connsiteX77" fmla="*/ 1678075 w 11867103"/>
              <a:gd name="connsiteY77" fmla="*/ 2934119 h 2964609"/>
              <a:gd name="connsiteX78" fmla="*/ 1607736 w 11867103"/>
              <a:gd name="connsiteY78" fmla="*/ 2964264 h 2964609"/>
              <a:gd name="connsiteX79" fmla="*/ 1135464 w 11867103"/>
              <a:gd name="connsiteY79" fmla="*/ 2944167 h 2964609"/>
              <a:gd name="connsiteX80" fmla="*/ 944545 w 11867103"/>
              <a:gd name="connsiteY80" fmla="*/ 2914022 h 2964609"/>
              <a:gd name="connsiteX81" fmla="*/ 723481 w 11867103"/>
              <a:gd name="connsiteY81" fmla="*/ 2873829 h 2964609"/>
              <a:gd name="connsiteX82" fmla="*/ 643095 w 11867103"/>
              <a:gd name="connsiteY82" fmla="*/ 2863780 h 2964609"/>
              <a:gd name="connsiteX83" fmla="*/ 371789 w 11867103"/>
              <a:gd name="connsiteY83" fmla="*/ 2823587 h 2964609"/>
              <a:gd name="connsiteX84" fmla="*/ 0 w 11867103"/>
              <a:gd name="connsiteY84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1889090 w 11867103"/>
              <a:gd name="connsiteY5" fmla="*/ 20097 h 2964609"/>
              <a:gd name="connsiteX6" fmla="*/ 2140299 w 11867103"/>
              <a:gd name="connsiteY6" fmla="*/ 40193 h 2964609"/>
              <a:gd name="connsiteX7" fmla="*/ 2200589 w 11867103"/>
              <a:gd name="connsiteY7" fmla="*/ 50242 h 2964609"/>
              <a:gd name="connsiteX8" fmla="*/ 4652387 w 11867103"/>
              <a:gd name="connsiteY8" fmla="*/ 60290 h 2964609"/>
              <a:gd name="connsiteX9" fmla="*/ 4692580 w 11867103"/>
              <a:gd name="connsiteY9" fmla="*/ 70339 h 2964609"/>
              <a:gd name="connsiteX10" fmla="*/ 4843306 w 11867103"/>
              <a:gd name="connsiteY10" fmla="*/ 90435 h 2964609"/>
              <a:gd name="connsiteX11" fmla="*/ 5677319 w 11867103"/>
              <a:gd name="connsiteY11" fmla="*/ 80387 h 2964609"/>
              <a:gd name="connsiteX12" fmla="*/ 6169688 w 11867103"/>
              <a:gd name="connsiteY12" fmla="*/ 110532 h 2964609"/>
              <a:gd name="connsiteX13" fmla="*/ 6420897 w 11867103"/>
              <a:gd name="connsiteY13" fmla="*/ 90435 h 2964609"/>
              <a:gd name="connsiteX14" fmla="*/ 6511332 w 11867103"/>
              <a:gd name="connsiteY14" fmla="*/ 30145 h 2964609"/>
              <a:gd name="connsiteX15" fmla="*/ 6571622 w 11867103"/>
              <a:gd name="connsiteY15" fmla="*/ 20097 h 2964609"/>
              <a:gd name="connsiteX16" fmla="*/ 6641961 w 11867103"/>
              <a:gd name="connsiteY16" fmla="*/ 0 h 2964609"/>
              <a:gd name="connsiteX17" fmla="*/ 7204668 w 11867103"/>
              <a:gd name="connsiteY17" fmla="*/ 10048 h 2964609"/>
              <a:gd name="connsiteX18" fmla="*/ 7285055 w 11867103"/>
              <a:gd name="connsiteY18" fmla="*/ 30145 h 2964609"/>
              <a:gd name="connsiteX19" fmla="*/ 7375490 w 11867103"/>
              <a:gd name="connsiteY19" fmla="*/ 40193 h 2964609"/>
              <a:gd name="connsiteX20" fmla="*/ 7928150 w 11867103"/>
              <a:gd name="connsiteY20" fmla="*/ 60290 h 2964609"/>
              <a:gd name="connsiteX21" fmla="*/ 8109020 w 11867103"/>
              <a:gd name="connsiteY21" fmla="*/ 80387 h 2964609"/>
              <a:gd name="connsiteX22" fmla="*/ 8219552 w 11867103"/>
              <a:gd name="connsiteY22" fmla="*/ 90435 h 2964609"/>
              <a:gd name="connsiteX23" fmla="*/ 8299939 w 11867103"/>
              <a:gd name="connsiteY23" fmla="*/ 100484 h 2964609"/>
              <a:gd name="connsiteX24" fmla="*/ 8521002 w 11867103"/>
              <a:gd name="connsiteY24" fmla="*/ 110532 h 2964609"/>
              <a:gd name="connsiteX25" fmla="*/ 9515789 w 11867103"/>
              <a:gd name="connsiteY25" fmla="*/ 100484 h 2964609"/>
              <a:gd name="connsiteX26" fmla="*/ 9606224 w 11867103"/>
              <a:gd name="connsiteY26" fmla="*/ 90435 h 2964609"/>
              <a:gd name="connsiteX27" fmla="*/ 9716756 w 11867103"/>
              <a:gd name="connsiteY27" fmla="*/ 80387 h 2964609"/>
              <a:gd name="connsiteX28" fmla="*/ 9797143 w 11867103"/>
              <a:gd name="connsiteY28" fmla="*/ 70339 h 2964609"/>
              <a:gd name="connsiteX29" fmla="*/ 9947868 w 11867103"/>
              <a:gd name="connsiteY29" fmla="*/ 60290 h 2964609"/>
              <a:gd name="connsiteX30" fmla="*/ 10791930 w 11867103"/>
              <a:gd name="connsiteY30" fmla="*/ 30145 h 2964609"/>
              <a:gd name="connsiteX31" fmla="*/ 11736475 w 11867103"/>
              <a:gd name="connsiteY31" fmla="*/ 50242 h 2964609"/>
              <a:gd name="connsiteX32" fmla="*/ 11766620 w 11867103"/>
              <a:gd name="connsiteY32" fmla="*/ 80387 h 2964609"/>
              <a:gd name="connsiteX33" fmla="*/ 11786717 w 11867103"/>
              <a:gd name="connsiteY33" fmla="*/ 120580 h 2964609"/>
              <a:gd name="connsiteX34" fmla="*/ 11806813 w 11867103"/>
              <a:gd name="connsiteY34" fmla="*/ 211015 h 2964609"/>
              <a:gd name="connsiteX35" fmla="*/ 11816862 w 11867103"/>
              <a:gd name="connsiteY35" fmla="*/ 251209 h 2964609"/>
              <a:gd name="connsiteX36" fmla="*/ 11826910 w 11867103"/>
              <a:gd name="connsiteY36" fmla="*/ 341644 h 2964609"/>
              <a:gd name="connsiteX37" fmla="*/ 11836958 w 11867103"/>
              <a:gd name="connsiteY37" fmla="*/ 422031 h 2964609"/>
              <a:gd name="connsiteX38" fmla="*/ 11826910 w 11867103"/>
              <a:gd name="connsiteY38" fmla="*/ 733530 h 2964609"/>
              <a:gd name="connsiteX39" fmla="*/ 11816862 w 11867103"/>
              <a:gd name="connsiteY39" fmla="*/ 793820 h 2964609"/>
              <a:gd name="connsiteX40" fmla="*/ 11806813 w 11867103"/>
              <a:gd name="connsiteY40" fmla="*/ 864158 h 2964609"/>
              <a:gd name="connsiteX41" fmla="*/ 11816862 w 11867103"/>
              <a:gd name="connsiteY41" fmla="*/ 2331218 h 2964609"/>
              <a:gd name="connsiteX42" fmla="*/ 11826910 w 11867103"/>
              <a:gd name="connsiteY42" fmla="*/ 2401556 h 2964609"/>
              <a:gd name="connsiteX43" fmla="*/ 11836958 w 11867103"/>
              <a:gd name="connsiteY43" fmla="*/ 2431701 h 2964609"/>
              <a:gd name="connsiteX44" fmla="*/ 11857055 w 11867103"/>
              <a:gd name="connsiteY44" fmla="*/ 2562330 h 2964609"/>
              <a:gd name="connsiteX45" fmla="*/ 11867103 w 11867103"/>
              <a:gd name="connsiteY45" fmla="*/ 2602523 h 2964609"/>
              <a:gd name="connsiteX46" fmla="*/ 11857055 w 11867103"/>
              <a:gd name="connsiteY46" fmla="*/ 2833635 h 2964609"/>
              <a:gd name="connsiteX47" fmla="*/ 11836958 w 11867103"/>
              <a:gd name="connsiteY47" fmla="*/ 2863780 h 2964609"/>
              <a:gd name="connsiteX48" fmla="*/ 11033090 w 11867103"/>
              <a:gd name="connsiteY48" fmla="*/ 2853732 h 2964609"/>
              <a:gd name="connsiteX49" fmla="*/ 10621108 w 11867103"/>
              <a:gd name="connsiteY49" fmla="*/ 2843684 h 2964609"/>
              <a:gd name="connsiteX50" fmla="*/ 10128739 w 11867103"/>
              <a:gd name="connsiteY50" fmla="*/ 2853732 h 2964609"/>
              <a:gd name="connsiteX51" fmla="*/ 10048352 w 11867103"/>
              <a:gd name="connsiteY51" fmla="*/ 2863780 h 2964609"/>
              <a:gd name="connsiteX52" fmla="*/ 9555982 w 11867103"/>
              <a:gd name="connsiteY52" fmla="*/ 2853732 h 2964609"/>
              <a:gd name="connsiteX53" fmla="*/ 9445451 w 11867103"/>
              <a:gd name="connsiteY53" fmla="*/ 2843684 h 2964609"/>
              <a:gd name="connsiteX54" fmla="*/ 9415306 w 11867103"/>
              <a:gd name="connsiteY54" fmla="*/ 2823587 h 2964609"/>
              <a:gd name="connsiteX55" fmla="*/ 9204290 w 11867103"/>
              <a:gd name="connsiteY55" fmla="*/ 2803490 h 2964609"/>
              <a:gd name="connsiteX56" fmla="*/ 9073662 w 11867103"/>
              <a:gd name="connsiteY56" fmla="*/ 2783393 h 2964609"/>
              <a:gd name="connsiteX57" fmla="*/ 8812404 w 11867103"/>
              <a:gd name="connsiteY57" fmla="*/ 2773345 h 2964609"/>
              <a:gd name="connsiteX58" fmla="*/ 8400422 w 11867103"/>
              <a:gd name="connsiteY58" fmla="*/ 2763297 h 2964609"/>
              <a:gd name="connsiteX59" fmla="*/ 8269793 w 11867103"/>
              <a:gd name="connsiteY59" fmla="*/ 2753248 h 2964609"/>
              <a:gd name="connsiteX60" fmla="*/ 7797521 w 11867103"/>
              <a:gd name="connsiteY60" fmla="*/ 2773345 h 2964609"/>
              <a:gd name="connsiteX61" fmla="*/ 7717134 w 11867103"/>
              <a:gd name="connsiteY61" fmla="*/ 2783393 h 2964609"/>
              <a:gd name="connsiteX62" fmla="*/ 7486022 w 11867103"/>
              <a:gd name="connsiteY62" fmla="*/ 2813539 h 2964609"/>
              <a:gd name="connsiteX63" fmla="*/ 7395587 w 11867103"/>
              <a:gd name="connsiteY63" fmla="*/ 2833635 h 2964609"/>
              <a:gd name="connsiteX64" fmla="*/ 7325248 w 11867103"/>
              <a:gd name="connsiteY64" fmla="*/ 2843684 h 2964609"/>
              <a:gd name="connsiteX65" fmla="*/ 6863024 w 11867103"/>
              <a:gd name="connsiteY65" fmla="*/ 2833635 h 2964609"/>
              <a:gd name="connsiteX66" fmla="*/ 6722347 w 11867103"/>
              <a:gd name="connsiteY66" fmla="*/ 2823587 h 2964609"/>
              <a:gd name="connsiteX67" fmla="*/ 4903596 w 11867103"/>
              <a:gd name="connsiteY67" fmla="*/ 2873829 h 2964609"/>
              <a:gd name="connsiteX68" fmla="*/ 4722725 w 11867103"/>
              <a:gd name="connsiteY68" fmla="*/ 2914022 h 2964609"/>
              <a:gd name="connsiteX69" fmla="*/ 4300695 w 11867103"/>
              <a:gd name="connsiteY69" fmla="*/ 2893925 h 2964609"/>
              <a:gd name="connsiteX70" fmla="*/ 4059534 w 11867103"/>
              <a:gd name="connsiteY70" fmla="*/ 2853732 h 2964609"/>
              <a:gd name="connsiteX71" fmla="*/ 3768132 w 11867103"/>
              <a:gd name="connsiteY71" fmla="*/ 2823587 h 2964609"/>
              <a:gd name="connsiteX72" fmla="*/ 3627455 w 11867103"/>
              <a:gd name="connsiteY72" fmla="*/ 2813539 h 2964609"/>
              <a:gd name="connsiteX73" fmla="*/ 3125037 w 11867103"/>
              <a:gd name="connsiteY73" fmla="*/ 2823587 h 2964609"/>
              <a:gd name="connsiteX74" fmla="*/ 3064747 w 11867103"/>
              <a:gd name="connsiteY74" fmla="*/ 2833635 h 2964609"/>
              <a:gd name="connsiteX75" fmla="*/ 2009670 w 11867103"/>
              <a:gd name="connsiteY75" fmla="*/ 2843684 h 2964609"/>
              <a:gd name="connsiteX76" fmla="*/ 1678075 w 11867103"/>
              <a:gd name="connsiteY76" fmla="*/ 2934119 h 2964609"/>
              <a:gd name="connsiteX77" fmla="*/ 1607736 w 11867103"/>
              <a:gd name="connsiteY77" fmla="*/ 2964264 h 2964609"/>
              <a:gd name="connsiteX78" fmla="*/ 1135464 w 11867103"/>
              <a:gd name="connsiteY78" fmla="*/ 2944167 h 2964609"/>
              <a:gd name="connsiteX79" fmla="*/ 944545 w 11867103"/>
              <a:gd name="connsiteY79" fmla="*/ 2914022 h 2964609"/>
              <a:gd name="connsiteX80" fmla="*/ 723481 w 11867103"/>
              <a:gd name="connsiteY80" fmla="*/ 2873829 h 2964609"/>
              <a:gd name="connsiteX81" fmla="*/ 643095 w 11867103"/>
              <a:gd name="connsiteY81" fmla="*/ 2863780 h 2964609"/>
              <a:gd name="connsiteX82" fmla="*/ 371789 w 11867103"/>
              <a:gd name="connsiteY82" fmla="*/ 2823587 h 2964609"/>
              <a:gd name="connsiteX83" fmla="*/ 0 w 11867103"/>
              <a:gd name="connsiteY83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2140299 w 11867103"/>
              <a:gd name="connsiteY5" fmla="*/ 40193 h 2964609"/>
              <a:gd name="connsiteX6" fmla="*/ 2200589 w 11867103"/>
              <a:gd name="connsiteY6" fmla="*/ 50242 h 2964609"/>
              <a:gd name="connsiteX7" fmla="*/ 4652387 w 11867103"/>
              <a:gd name="connsiteY7" fmla="*/ 60290 h 2964609"/>
              <a:gd name="connsiteX8" fmla="*/ 4692580 w 11867103"/>
              <a:gd name="connsiteY8" fmla="*/ 70339 h 2964609"/>
              <a:gd name="connsiteX9" fmla="*/ 4843306 w 11867103"/>
              <a:gd name="connsiteY9" fmla="*/ 90435 h 2964609"/>
              <a:gd name="connsiteX10" fmla="*/ 5677319 w 11867103"/>
              <a:gd name="connsiteY10" fmla="*/ 80387 h 2964609"/>
              <a:gd name="connsiteX11" fmla="*/ 6169688 w 11867103"/>
              <a:gd name="connsiteY11" fmla="*/ 110532 h 2964609"/>
              <a:gd name="connsiteX12" fmla="*/ 6420897 w 11867103"/>
              <a:gd name="connsiteY12" fmla="*/ 90435 h 2964609"/>
              <a:gd name="connsiteX13" fmla="*/ 6511332 w 11867103"/>
              <a:gd name="connsiteY13" fmla="*/ 30145 h 2964609"/>
              <a:gd name="connsiteX14" fmla="*/ 6571622 w 11867103"/>
              <a:gd name="connsiteY14" fmla="*/ 20097 h 2964609"/>
              <a:gd name="connsiteX15" fmla="*/ 6641961 w 11867103"/>
              <a:gd name="connsiteY15" fmla="*/ 0 h 2964609"/>
              <a:gd name="connsiteX16" fmla="*/ 7204668 w 11867103"/>
              <a:gd name="connsiteY16" fmla="*/ 10048 h 2964609"/>
              <a:gd name="connsiteX17" fmla="*/ 7285055 w 11867103"/>
              <a:gd name="connsiteY17" fmla="*/ 30145 h 2964609"/>
              <a:gd name="connsiteX18" fmla="*/ 7375490 w 11867103"/>
              <a:gd name="connsiteY18" fmla="*/ 40193 h 2964609"/>
              <a:gd name="connsiteX19" fmla="*/ 7928150 w 11867103"/>
              <a:gd name="connsiteY19" fmla="*/ 60290 h 2964609"/>
              <a:gd name="connsiteX20" fmla="*/ 8109020 w 11867103"/>
              <a:gd name="connsiteY20" fmla="*/ 80387 h 2964609"/>
              <a:gd name="connsiteX21" fmla="*/ 8219552 w 11867103"/>
              <a:gd name="connsiteY21" fmla="*/ 90435 h 2964609"/>
              <a:gd name="connsiteX22" fmla="*/ 8299939 w 11867103"/>
              <a:gd name="connsiteY22" fmla="*/ 100484 h 2964609"/>
              <a:gd name="connsiteX23" fmla="*/ 8521002 w 11867103"/>
              <a:gd name="connsiteY23" fmla="*/ 110532 h 2964609"/>
              <a:gd name="connsiteX24" fmla="*/ 9515789 w 11867103"/>
              <a:gd name="connsiteY24" fmla="*/ 100484 h 2964609"/>
              <a:gd name="connsiteX25" fmla="*/ 9606224 w 11867103"/>
              <a:gd name="connsiteY25" fmla="*/ 90435 h 2964609"/>
              <a:gd name="connsiteX26" fmla="*/ 9716756 w 11867103"/>
              <a:gd name="connsiteY26" fmla="*/ 80387 h 2964609"/>
              <a:gd name="connsiteX27" fmla="*/ 9797143 w 11867103"/>
              <a:gd name="connsiteY27" fmla="*/ 70339 h 2964609"/>
              <a:gd name="connsiteX28" fmla="*/ 9947868 w 11867103"/>
              <a:gd name="connsiteY28" fmla="*/ 60290 h 2964609"/>
              <a:gd name="connsiteX29" fmla="*/ 10791930 w 11867103"/>
              <a:gd name="connsiteY29" fmla="*/ 30145 h 2964609"/>
              <a:gd name="connsiteX30" fmla="*/ 11736475 w 11867103"/>
              <a:gd name="connsiteY30" fmla="*/ 50242 h 2964609"/>
              <a:gd name="connsiteX31" fmla="*/ 11766620 w 11867103"/>
              <a:gd name="connsiteY31" fmla="*/ 80387 h 2964609"/>
              <a:gd name="connsiteX32" fmla="*/ 11786717 w 11867103"/>
              <a:gd name="connsiteY32" fmla="*/ 120580 h 2964609"/>
              <a:gd name="connsiteX33" fmla="*/ 11806813 w 11867103"/>
              <a:gd name="connsiteY33" fmla="*/ 211015 h 2964609"/>
              <a:gd name="connsiteX34" fmla="*/ 11816862 w 11867103"/>
              <a:gd name="connsiteY34" fmla="*/ 251209 h 2964609"/>
              <a:gd name="connsiteX35" fmla="*/ 11826910 w 11867103"/>
              <a:gd name="connsiteY35" fmla="*/ 341644 h 2964609"/>
              <a:gd name="connsiteX36" fmla="*/ 11836958 w 11867103"/>
              <a:gd name="connsiteY36" fmla="*/ 422031 h 2964609"/>
              <a:gd name="connsiteX37" fmla="*/ 11826910 w 11867103"/>
              <a:gd name="connsiteY37" fmla="*/ 733530 h 2964609"/>
              <a:gd name="connsiteX38" fmla="*/ 11816862 w 11867103"/>
              <a:gd name="connsiteY38" fmla="*/ 793820 h 2964609"/>
              <a:gd name="connsiteX39" fmla="*/ 11806813 w 11867103"/>
              <a:gd name="connsiteY39" fmla="*/ 864158 h 2964609"/>
              <a:gd name="connsiteX40" fmla="*/ 11816862 w 11867103"/>
              <a:gd name="connsiteY40" fmla="*/ 2331218 h 2964609"/>
              <a:gd name="connsiteX41" fmla="*/ 11826910 w 11867103"/>
              <a:gd name="connsiteY41" fmla="*/ 2401556 h 2964609"/>
              <a:gd name="connsiteX42" fmla="*/ 11836958 w 11867103"/>
              <a:gd name="connsiteY42" fmla="*/ 2431701 h 2964609"/>
              <a:gd name="connsiteX43" fmla="*/ 11857055 w 11867103"/>
              <a:gd name="connsiteY43" fmla="*/ 2562330 h 2964609"/>
              <a:gd name="connsiteX44" fmla="*/ 11867103 w 11867103"/>
              <a:gd name="connsiteY44" fmla="*/ 2602523 h 2964609"/>
              <a:gd name="connsiteX45" fmla="*/ 11857055 w 11867103"/>
              <a:gd name="connsiteY45" fmla="*/ 2833635 h 2964609"/>
              <a:gd name="connsiteX46" fmla="*/ 11836958 w 11867103"/>
              <a:gd name="connsiteY46" fmla="*/ 2863780 h 2964609"/>
              <a:gd name="connsiteX47" fmla="*/ 11033090 w 11867103"/>
              <a:gd name="connsiteY47" fmla="*/ 2853732 h 2964609"/>
              <a:gd name="connsiteX48" fmla="*/ 10621108 w 11867103"/>
              <a:gd name="connsiteY48" fmla="*/ 2843684 h 2964609"/>
              <a:gd name="connsiteX49" fmla="*/ 10128739 w 11867103"/>
              <a:gd name="connsiteY49" fmla="*/ 2853732 h 2964609"/>
              <a:gd name="connsiteX50" fmla="*/ 10048352 w 11867103"/>
              <a:gd name="connsiteY50" fmla="*/ 2863780 h 2964609"/>
              <a:gd name="connsiteX51" fmla="*/ 9555982 w 11867103"/>
              <a:gd name="connsiteY51" fmla="*/ 2853732 h 2964609"/>
              <a:gd name="connsiteX52" fmla="*/ 9445451 w 11867103"/>
              <a:gd name="connsiteY52" fmla="*/ 2843684 h 2964609"/>
              <a:gd name="connsiteX53" fmla="*/ 9415306 w 11867103"/>
              <a:gd name="connsiteY53" fmla="*/ 2823587 h 2964609"/>
              <a:gd name="connsiteX54" fmla="*/ 9204290 w 11867103"/>
              <a:gd name="connsiteY54" fmla="*/ 2803490 h 2964609"/>
              <a:gd name="connsiteX55" fmla="*/ 9073662 w 11867103"/>
              <a:gd name="connsiteY55" fmla="*/ 2783393 h 2964609"/>
              <a:gd name="connsiteX56" fmla="*/ 8812404 w 11867103"/>
              <a:gd name="connsiteY56" fmla="*/ 2773345 h 2964609"/>
              <a:gd name="connsiteX57" fmla="*/ 8400422 w 11867103"/>
              <a:gd name="connsiteY57" fmla="*/ 2763297 h 2964609"/>
              <a:gd name="connsiteX58" fmla="*/ 8269793 w 11867103"/>
              <a:gd name="connsiteY58" fmla="*/ 2753248 h 2964609"/>
              <a:gd name="connsiteX59" fmla="*/ 7797521 w 11867103"/>
              <a:gd name="connsiteY59" fmla="*/ 2773345 h 2964609"/>
              <a:gd name="connsiteX60" fmla="*/ 7717134 w 11867103"/>
              <a:gd name="connsiteY60" fmla="*/ 2783393 h 2964609"/>
              <a:gd name="connsiteX61" fmla="*/ 7486022 w 11867103"/>
              <a:gd name="connsiteY61" fmla="*/ 2813539 h 2964609"/>
              <a:gd name="connsiteX62" fmla="*/ 7395587 w 11867103"/>
              <a:gd name="connsiteY62" fmla="*/ 2833635 h 2964609"/>
              <a:gd name="connsiteX63" fmla="*/ 7325248 w 11867103"/>
              <a:gd name="connsiteY63" fmla="*/ 2843684 h 2964609"/>
              <a:gd name="connsiteX64" fmla="*/ 6863024 w 11867103"/>
              <a:gd name="connsiteY64" fmla="*/ 2833635 h 2964609"/>
              <a:gd name="connsiteX65" fmla="*/ 6722347 w 11867103"/>
              <a:gd name="connsiteY65" fmla="*/ 2823587 h 2964609"/>
              <a:gd name="connsiteX66" fmla="*/ 4903596 w 11867103"/>
              <a:gd name="connsiteY66" fmla="*/ 2873829 h 2964609"/>
              <a:gd name="connsiteX67" fmla="*/ 4722725 w 11867103"/>
              <a:gd name="connsiteY67" fmla="*/ 2914022 h 2964609"/>
              <a:gd name="connsiteX68" fmla="*/ 4300695 w 11867103"/>
              <a:gd name="connsiteY68" fmla="*/ 2893925 h 2964609"/>
              <a:gd name="connsiteX69" fmla="*/ 4059534 w 11867103"/>
              <a:gd name="connsiteY69" fmla="*/ 2853732 h 2964609"/>
              <a:gd name="connsiteX70" fmla="*/ 3768132 w 11867103"/>
              <a:gd name="connsiteY70" fmla="*/ 2823587 h 2964609"/>
              <a:gd name="connsiteX71" fmla="*/ 3627455 w 11867103"/>
              <a:gd name="connsiteY71" fmla="*/ 2813539 h 2964609"/>
              <a:gd name="connsiteX72" fmla="*/ 3125037 w 11867103"/>
              <a:gd name="connsiteY72" fmla="*/ 2823587 h 2964609"/>
              <a:gd name="connsiteX73" fmla="*/ 3064747 w 11867103"/>
              <a:gd name="connsiteY73" fmla="*/ 2833635 h 2964609"/>
              <a:gd name="connsiteX74" fmla="*/ 2009670 w 11867103"/>
              <a:gd name="connsiteY74" fmla="*/ 2843684 h 2964609"/>
              <a:gd name="connsiteX75" fmla="*/ 1678075 w 11867103"/>
              <a:gd name="connsiteY75" fmla="*/ 2934119 h 2964609"/>
              <a:gd name="connsiteX76" fmla="*/ 1607736 w 11867103"/>
              <a:gd name="connsiteY76" fmla="*/ 2964264 h 2964609"/>
              <a:gd name="connsiteX77" fmla="*/ 1135464 w 11867103"/>
              <a:gd name="connsiteY77" fmla="*/ 2944167 h 2964609"/>
              <a:gd name="connsiteX78" fmla="*/ 944545 w 11867103"/>
              <a:gd name="connsiteY78" fmla="*/ 2914022 h 2964609"/>
              <a:gd name="connsiteX79" fmla="*/ 723481 w 11867103"/>
              <a:gd name="connsiteY79" fmla="*/ 2873829 h 2964609"/>
              <a:gd name="connsiteX80" fmla="*/ 643095 w 11867103"/>
              <a:gd name="connsiteY80" fmla="*/ 2863780 h 2964609"/>
              <a:gd name="connsiteX81" fmla="*/ 371789 w 11867103"/>
              <a:gd name="connsiteY81" fmla="*/ 2823587 h 2964609"/>
              <a:gd name="connsiteX82" fmla="*/ 0 w 11867103"/>
              <a:gd name="connsiteY82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2140299 w 11867103"/>
              <a:gd name="connsiteY5" fmla="*/ 40193 h 2964609"/>
              <a:gd name="connsiteX6" fmla="*/ 4652387 w 11867103"/>
              <a:gd name="connsiteY6" fmla="*/ 60290 h 2964609"/>
              <a:gd name="connsiteX7" fmla="*/ 4692580 w 11867103"/>
              <a:gd name="connsiteY7" fmla="*/ 70339 h 2964609"/>
              <a:gd name="connsiteX8" fmla="*/ 4843306 w 11867103"/>
              <a:gd name="connsiteY8" fmla="*/ 90435 h 2964609"/>
              <a:gd name="connsiteX9" fmla="*/ 5677319 w 11867103"/>
              <a:gd name="connsiteY9" fmla="*/ 80387 h 2964609"/>
              <a:gd name="connsiteX10" fmla="*/ 6169688 w 11867103"/>
              <a:gd name="connsiteY10" fmla="*/ 110532 h 2964609"/>
              <a:gd name="connsiteX11" fmla="*/ 6420897 w 11867103"/>
              <a:gd name="connsiteY11" fmla="*/ 90435 h 2964609"/>
              <a:gd name="connsiteX12" fmla="*/ 6511332 w 11867103"/>
              <a:gd name="connsiteY12" fmla="*/ 30145 h 2964609"/>
              <a:gd name="connsiteX13" fmla="*/ 6571622 w 11867103"/>
              <a:gd name="connsiteY13" fmla="*/ 20097 h 2964609"/>
              <a:gd name="connsiteX14" fmla="*/ 6641961 w 11867103"/>
              <a:gd name="connsiteY14" fmla="*/ 0 h 2964609"/>
              <a:gd name="connsiteX15" fmla="*/ 7204668 w 11867103"/>
              <a:gd name="connsiteY15" fmla="*/ 10048 h 2964609"/>
              <a:gd name="connsiteX16" fmla="*/ 7285055 w 11867103"/>
              <a:gd name="connsiteY16" fmla="*/ 30145 h 2964609"/>
              <a:gd name="connsiteX17" fmla="*/ 7375490 w 11867103"/>
              <a:gd name="connsiteY17" fmla="*/ 40193 h 2964609"/>
              <a:gd name="connsiteX18" fmla="*/ 7928150 w 11867103"/>
              <a:gd name="connsiteY18" fmla="*/ 60290 h 2964609"/>
              <a:gd name="connsiteX19" fmla="*/ 8109020 w 11867103"/>
              <a:gd name="connsiteY19" fmla="*/ 80387 h 2964609"/>
              <a:gd name="connsiteX20" fmla="*/ 8219552 w 11867103"/>
              <a:gd name="connsiteY20" fmla="*/ 90435 h 2964609"/>
              <a:gd name="connsiteX21" fmla="*/ 8299939 w 11867103"/>
              <a:gd name="connsiteY21" fmla="*/ 100484 h 2964609"/>
              <a:gd name="connsiteX22" fmla="*/ 8521002 w 11867103"/>
              <a:gd name="connsiteY22" fmla="*/ 110532 h 2964609"/>
              <a:gd name="connsiteX23" fmla="*/ 9515789 w 11867103"/>
              <a:gd name="connsiteY23" fmla="*/ 100484 h 2964609"/>
              <a:gd name="connsiteX24" fmla="*/ 9606224 w 11867103"/>
              <a:gd name="connsiteY24" fmla="*/ 90435 h 2964609"/>
              <a:gd name="connsiteX25" fmla="*/ 9716756 w 11867103"/>
              <a:gd name="connsiteY25" fmla="*/ 80387 h 2964609"/>
              <a:gd name="connsiteX26" fmla="*/ 9797143 w 11867103"/>
              <a:gd name="connsiteY26" fmla="*/ 70339 h 2964609"/>
              <a:gd name="connsiteX27" fmla="*/ 9947868 w 11867103"/>
              <a:gd name="connsiteY27" fmla="*/ 60290 h 2964609"/>
              <a:gd name="connsiteX28" fmla="*/ 10791930 w 11867103"/>
              <a:gd name="connsiteY28" fmla="*/ 30145 h 2964609"/>
              <a:gd name="connsiteX29" fmla="*/ 11736475 w 11867103"/>
              <a:gd name="connsiteY29" fmla="*/ 50242 h 2964609"/>
              <a:gd name="connsiteX30" fmla="*/ 11766620 w 11867103"/>
              <a:gd name="connsiteY30" fmla="*/ 80387 h 2964609"/>
              <a:gd name="connsiteX31" fmla="*/ 11786717 w 11867103"/>
              <a:gd name="connsiteY31" fmla="*/ 120580 h 2964609"/>
              <a:gd name="connsiteX32" fmla="*/ 11806813 w 11867103"/>
              <a:gd name="connsiteY32" fmla="*/ 211015 h 2964609"/>
              <a:gd name="connsiteX33" fmla="*/ 11816862 w 11867103"/>
              <a:gd name="connsiteY33" fmla="*/ 251209 h 2964609"/>
              <a:gd name="connsiteX34" fmla="*/ 11826910 w 11867103"/>
              <a:gd name="connsiteY34" fmla="*/ 341644 h 2964609"/>
              <a:gd name="connsiteX35" fmla="*/ 11836958 w 11867103"/>
              <a:gd name="connsiteY35" fmla="*/ 422031 h 2964609"/>
              <a:gd name="connsiteX36" fmla="*/ 11826910 w 11867103"/>
              <a:gd name="connsiteY36" fmla="*/ 733530 h 2964609"/>
              <a:gd name="connsiteX37" fmla="*/ 11816862 w 11867103"/>
              <a:gd name="connsiteY37" fmla="*/ 793820 h 2964609"/>
              <a:gd name="connsiteX38" fmla="*/ 11806813 w 11867103"/>
              <a:gd name="connsiteY38" fmla="*/ 864158 h 2964609"/>
              <a:gd name="connsiteX39" fmla="*/ 11816862 w 11867103"/>
              <a:gd name="connsiteY39" fmla="*/ 2331218 h 2964609"/>
              <a:gd name="connsiteX40" fmla="*/ 11826910 w 11867103"/>
              <a:gd name="connsiteY40" fmla="*/ 2401556 h 2964609"/>
              <a:gd name="connsiteX41" fmla="*/ 11836958 w 11867103"/>
              <a:gd name="connsiteY41" fmla="*/ 2431701 h 2964609"/>
              <a:gd name="connsiteX42" fmla="*/ 11857055 w 11867103"/>
              <a:gd name="connsiteY42" fmla="*/ 2562330 h 2964609"/>
              <a:gd name="connsiteX43" fmla="*/ 11867103 w 11867103"/>
              <a:gd name="connsiteY43" fmla="*/ 2602523 h 2964609"/>
              <a:gd name="connsiteX44" fmla="*/ 11857055 w 11867103"/>
              <a:gd name="connsiteY44" fmla="*/ 2833635 h 2964609"/>
              <a:gd name="connsiteX45" fmla="*/ 11836958 w 11867103"/>
              <a:gd name="connsiteY45" fmla="*/ 2863780 h 2964609"/>
              <a:gd name="connsiteX46" fmla="*/ 11033090 w 11867103"/>
              <a:gd name="connsiteY46" fmla="*/ 2853732 h 2964609"/>
              <a:gd name="connsiteX47" fmla="*/ 10621108 w 11867103"/>
              <a:gd name="connsiteY47" fmla="*/ 2843684 h 2964609"/>
              <a:gd name="connsiteX48" fmla="*/ 10128739 w 11867103"/>
              <a:gd name="connsiteY48" fmla="*/ 2853732 h 2964609"/>
              <a:gd name="connsiteX49" fmla="*/ 10048352 w 11867103"/>
              <a:gd name="connsiteY49" fmla="*/ 2863780 h 2964609"/>
              <a:gd name="connsiteX50" fmla="*/ 9555982 w 11867103"/>
              <a:gd name="connsiteY50" fmla="*/ 2853732 h 2964609"/>
              <a:gd name="connsiteX51" fmla="*/ 9445451 w 11867103"/>
              <a:gd name="connsiteY51" fmla="*/ 2843684 h 2964609"/>
              <a:gd name="connsiteX52" fmla="*/ 9415306 w 11867103"/>
              <a:gd name="connsiteY52" fmla="*/ 2823587 h 2964609"/>
              <a:gd name="connsiteX53" fmla="*/ 9204290 w 11867103"/>
              <a:gd name="connsiteY53" fmla="*/ 2803490 h 2964609"/>
              <a:gd name="connsiteX54" fmla="*/ 9073662 w 11867103"/>
              <a:gd name="connsiteY54" fmla="*/ 2783393 h 2964609"/>
              <a:gd name="connsiteX55" fmla="*/ 8812404 w 11867103"/>
              <a:gd name="connsiteY55" fmla="*/ 2773345 h 2964609"/>
              <a:gd name="connsiteX56" fmla="*/ 8400422 w 11867103"/>
              <a:gd name="connsiteY56" fmla="*/ 2763297 h 2964609"/>
              <a:gd name="connsiteX57" fmla="*/ 8269793 w 11867103"/>
              <a:gd name="connsiteY57" fmla="*/ 2753248 h 2964609"/>
              <a:gd name="connsiteX58" fmla="*/ 7797521 w 11867103"/>
              <a:gd name="connsiteY58" fmla="*/ 2773345 h 2964609"/>
              <a:gd name="connsiteX59" fmla="*/ 7717134 w 11867103"/>
              <a:gd name="connsiteY59" fmla="*/ 2783393 h 2964609"/>
              <a:gd name="connsiteX60" fmla="*/ 7486022 w 11867103"/>
              <a:gd name="connsiteY60" fmla="*/ 2813539 h 2964609"/>
              <a:gd name="connsiteX61" fmla="*/ 7395587 w 11867103"/>
              <a:gd name="connsiteY61" fmla="*/ 2833635 h 2964609"/>
              <a:gd name="connsiteX62" fmla="*/ 7325248 w 11867103"/>
              <a:gd name="connsiteY62" fmla="*/ 2843684 h 2964609"/>
              <a:gd name="connsiteX63" fmla="*/ 6863024 w 11867103"/>
              <a:gd name="connsiteY63" fmla="*/ 2833635 h 2964609"/>
              <a:gd name="connsiteX64" fmla="*/ 6722347 w 11867103"/>
              <a:gd name="connsiteY64" fmla="*/ 2823587 h 2964609"/>
              <a:gd name="connsiteX65" fmla="*/ 4903596 w 11867103"/>
              <a:gd name="connsiteY65" fmla="*/ 2873829 h 2964609"/>
              <a:gd name="connsiteX66" fmla="*/ 4722725 w 11867103"/>
              <a:gd name="connsiteY66" fmla="*/ 2914022 h 2964609"/>
              <a:gd name="connsiteX67" fmla="*/ 4300695 w 11867103"/>
              <a:gd name="connsiteY67" fmla="*/ 2893925 h 2964609"/>
              <a:gd name="connsiteX68" fmla="*/ 4059534 w 11867103"/>
              <a:gd name="connsiteY68" fmla="*/ 2853732 h 2964609"/>
              <a:gd name="connsiteX69" fmla="*/ 3768132 w 11867103"/>
              <a:gd name="connsiteY69" fmla="*/ 2823587 h 2964609"/>
              <a:gd name="connsiteX70" fmla="*/ 3627455 w 11867103"/>
              <a:gd name="connsiteY70" fmla="*/ 2813539 h 2964609"/>
              <a:gd name="connsiteX71" fmla="*/ 3125037 w 11867103"/>
              <a:gd name="connsiteY71" fmla="*/ 2823587 h 2964609"/>
              <a:gd name="connsiteX72" fmla="*/ 3064747 w 11867103"/>
              <a:gd name="connsiteY72" fmla="*/ 2833635 h 2964609"/>
              <a:gd name="connsiteX73" fmla="*/ 2009670 w 11867103"/>
              <a:gd name="connsiteY73" fmla="*/ 2843684 h 2964609"/>
              <a:gd name="connsiteX74" fmla="*/ 1678075 w 11867103"/>
              <a:gd name="connsiteY74" fmla="*/ 2934119 h 2964609"/>
              <a:gd name="connsiteX75" fmla="*/ 1607736 w 11867103"/>
              <a:gd name="connsiteY75" fmla="*/ 2964264 h 2964609"/>
              <a:gd name="connsiteX76" fmla="*/ 1135464 w 11867103"/>
              <a:gd name="connsiteY76" fmla="*/ 2944167 h 2964609"/>
              <a:gd name="connsiteX77" fmla="*/ 944545 w 11867103"/>
              <a:gd name="connsiteY77" fmla="*/ 2914022 h 2964609"/>
              <a:gd name="connsiteX78" fmla="*/ 723481 w 11867103"/>
              <a:gd name="connsiteY78" fmla="*/ 2873829 h 2964609"/>
              <a:gd name="connsiteX79" fmla="*/ 643095 w 11867103"/>
              <a:gd name="connsiteY79" fmla="*/ 2863780 h 2964609"/>
              <a:gd name="connsiteX80" fmla="*/ 371789 w 11867103"/>
              <a:gd name="connsiteY80" fmla="*/ 2823587 h 2964609"/>
              <a:gd name="connsiteX81" fmla="*/ 0 w 11867103"/>
              <a:gd name="connsiteY81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2140299 w 11867103"/>
              <a:gd name="connsiteY5" fmla="*/ 40193 h 2964609"/>
              <a:gd name="connsiteX6" fmla="*/ 4652387 w 11867103"/>
              <a:gd name="connsiteY6" fmla="*/ 60290 h 2964609"/>
              <a:gd name="connsiteX7" fmla="*/ 4692580 w 11867103"/>
              <a:gd name="connsiteY7" fmla="*/ 70339 h 2964609"/>
              <a:gd name="connsiteX8" fmla="*/ 5677319 w 11867103"/>
              <a:gd name="connsiteY8" fmla="*/ 80387 h 2964609"/>
              <a:gd name="connsiteX9" fmla="*/ 6169688 w 11867103"/>
              <a:gd name="connsiteY9" fmla="*/ 110532 h 2964609"/>
              <a:gd name="connsiteX10" fmla="*/ 6420897 w 11867103"/>
              <a:gd name="connsiteY10" fmla="*/ 90435 h 2964609"/>
              <a:gd name="connsiteX11" fmla="*/ 6511332 w 11867103"/>
              <a:gd name="connsiteY11" fmla="*/ 30145 h 2964609"/>
              <a:gd name="connsiteX12" fmla="*/ 6571622 w 11867103"/>
              <a:gd name="connsiteY12" fmla="*/ 20097 h 2964609"/>
              <a:gd name="connsiteX13" fmla="*/ 6641961 w 11867103"/>
              <a:gd name="connsiteY13" fmla="*/ 0 h 2964609"/>
              <a:gd name="connsiteX14" fmla="*/ 7204668 w 11867103"/>
              <a:gd name="connsiteY14" fmla="*/ 10048 h 2964609"/>
              <a:gd name="connsiteX15" fmla="*/ 7285055 w 11867103"/>
              <a:gd name="connsiteY15" fmla="*/ 30145 h 2964609"/>
              <a:gd name="connsiteX16" fmla="*/ 7375490 w 11867103"/>
              <a:gd name="connsiteY16" fmla="*/ 40193 h 2964609"/>
              <a:gd name="connsiteX17" fmla="*/ 7928150 w 11867103"/>
              <a:gd name="connsiteY17" fmla="*/ 60290 h 2964609"/>
              <a:gd name="connsiteX18" fmla="*/ 8109020 w 11867103"/>
              <a:gd name="connsiteY18" fmla="*/ 80387 h 2964609"/>
              <a:gd name="connsiteX19" fmla="*/ 8219552 w 11867103"/>
              <a:gd name="connsiteY19" fmla="*/ 90435 h 2964609"/>
              <a:gd name="connsiteX20" fmla="*/ 8299939 w 11867103"/>
              <a:gd name="connsiteY20" fmla="*/ 100484 h 2964609"/>
              <a:gd name="connsiteX21" fmla="*/ 8521002 w 11867103"/>
              <a:gd name="connsiteY21" fmla="*/ 110532 h 2964609"/>
              <a:gd name="connsiteX22" fmla="*/ 9515789 w 11867103"/>
              <a:gd name="connsiteY22" fmla="*/ 100484 h 2964609"/>
              <a:gd name="connsiteX23" fmla="*/ 9606224 w 11867103"/>
              <a:gd name="connsiteY23" fmla="*/ 90435 h 2964609"/>
              <a:gd name="connsiteX24" fmla="*/ 9716756 w 11867103"/>
              <a:gd name="connsiteY24" fmla="*/ 80387 h 2964609"/>
              <a:gd name="connsiteX25" fmla="*/ 9797143 w 11867103"/>
              <a:gd name="connsiteY25" fmla="*/ 70339 h 2964609"/>
              <a:gd name="connsiteX26" fmla="*/ 9947868 w 11867103"/>
              <a:gd name="connsiteY26" fmla="*/ 60290 h 2964609"/>
              <a:gd name="connsiteX27" fmla="*/ 10791930 w 11867103"/>
              <a:gd name="connsiteY27" fmla="*/ 30145 h 2964609"/>
              <a:gd name="connsiteX28" fmla="*/ 11736475 w 11867103"/>
              <a:gd name="connsiteY28" fmla="*/ 50242 h 2964609"/>
              <a:gd name="connsiteX29" fmla="*/ 11766620 w 11867103"/>
              <a:gd name="connsiteY29" fmla="*/ 80387 h 2964609"/>
              <a:gd name="connsiteX30" fmla="*/ 11786717 w 11867103"/>
              <a:gd name="connsiteY30" fmla="*/ 120580 h 2964609"/>
              <a:gd name="connsiteX31" fmla="*/ 11806813 w 11867103"/>
              <a:gd name="connsiteY31" fmla="*/ 211015 h 2964609"/>
              <a:gd name="connsiteX32" fmla="*/ 11816862 w 11867103"/>
              <a:gd name="connsiteY32" fmla="*/ 251209 h 2964609"/>
              <a:gd name="connsiteX33" fmla="*/ 11826910 w 11867103"/>
              <a:gd name="connsiteY33" fmla="*/ 341644 h 2964609"/>
              <a:gd name="connsiteX34" fmla="*/ 11836958 w 11867103"/>
              <a:gd name="connsiteY34" fmla="*/ 422031 h 2964609"/>
              <a:gd name="connsiteX35" fmla="*/ 11826910 w 11867103"/>
              <a:gd name="connsiteY35" fmla="*/ 733530 h 2964609"/>
              <a:gd name="connsiteX36" fmla="*/ 11816862 w 11867103"/>
              <a:gd name="connsiteY36" fmla="*/ 793820 h 2964609"/>
              <a:gd name="connsiteX37" fmla="*/ 11806813 w 11867103"/>
              <a:gd name="connsiteY37" fmla="*/ 864158 h 2964609"/>
              <a:gd name="connsiteX38" fmla="*/ 11816862 w 11867103"/>
              <a:gd name="connsiteY38" fmla="*/ 2331218 h 2964609"/>
              <a:gd name="connsiteX39" fmla="*/ 11826910 w 11867103"/>
              <a:gd name="connsiteY39" fmla="*/ 2401556 h 2964609"/>
              <a:gd name="connsiteX40" fmla="*/ 11836958 w 11867103"/>
              <a:gd name="connsiteY40" fmla="*/ 2431701 h 2964609"/>
              <a:gd name="connsiteX41" fmla="*/ 11857055 w 11867103"/>
              <a:gd name="connsiteY41" fmla="*/ 2562330 h 2964609"/>
              <a:gd name="connsiteX42" fmla="*/ 11867103 w 11867103"/>
              <a:gd name="connsiteY42" fmla="*/ 2602523 h 2964609"/>
              <a:gd name="connsiteX43" fmla="*/ 11857055 w 11867103"/>
              <a:gd name="connsiteY43" fmla="*/ 2833635 h 2964609"/>
              <a:gd name="connsiteX44" fmla="*/ 11836958 w 11867103"/>
              <a:gd name="connsiteY44" fmla="*/ 2863780 h 2964609"/>
              <a:gd name="connsiteX45" fmla="*/ 11033090 w 11867103"/>
              <a:gd name="connsiteY45" fmla="*/ 2853732 h 2964609"/>
              <a:gd name="connsiteX46" fmla="*/ 10621108 w 11867103"/>
              <a:gd name="connsiteY46" fmla="*/ 2843684 h 2964609"/>
              <a:gd name="connsiteX47" fmla="*/ 10128739 w 11867103"/>
              <a:gd name="connsiteY47" fmla="*/ 2853732 h 2964609"/>
              <a:gd name="connsiteX48" fmla="*/ 10048352 w 11867103"/>
              <a:gd name="connsiteY48" fmla="*/ 2863780 h 2964609"/>
              <a:gd name="connsiteX49" fmla="*/ 9555982 w 11867103"/>
              <a:gd name="connsiteY49" fmla="*/ 2853732 h 2964609"/>
              <a:gd name="connsiteX50" fmla="*/ 9445451 w 11867103"/>
              <a:gd name="connsiteY50" fmla="*/ 2843684 h 2964609"/>
              <a:gd name="connsiteX51" fmla="*/ 9415306 w 11867103"/>
              <a:gd name="connsiteY51" fmla="*/ 2823587 h 2964609"/>
              <a:gd name="connsiteX52" fmla="*/ 9204290 w 11867103"/>
              <a:gd name="connsiteY52" fmla="*/ 2803490 h 2964609"/>
              <a:gd name="connsiteX53" fmla="*/ 9073662 w 11867103"/>
              <a:gd name="connsiteY53" fmla="*/ 2783393 h 2964609"/>
              <a:gd name="connsiteX54" fmla="*/ 8812404 w 11867103"/>
              <a:gd name="connsiteY54" fmla="*/ 2773345 h 2964609"/>
              <a:gd name="connsiteX55" fmla="*/ 8400422 w 11867103"/>
              <a:gd name="connsiteY55" fmla="*/ 2763297 h 2964609"/>
              <a:gd name="connsiteX56" fmla="*/ 8269793 w 11867103"/>
              <a:gd name="connsiteY56" fmla="*/ 2753248 h 2964609"/>
              <a:gd name="connsiteX57" fmla="*/ 7797521 w 11867103"/>
              <a:gd name="connsiteY57" fmla="*/ 2773345 h 2964609"/>
              <a:gd name="connsiteX58" fmla="*/ 7717134 w 11867103"/>
              <a:gd name="connsiteY58" fmla="*/ 2783393 h 2964609"/>
              <a:gd name="connsiteX59" fmla="*/ 7486022 w 11867103"/>
              <a:gd name="connsiteY59" fmla="*/ 2813539 h 2964609"/>
              <a:gd name="connsiteX60" fmla="*/ 7395587 w 11867103"/>
              <a:gd name="connsiteY60" fmla="*/ 2833635 h 2964609"/>
              <a:gd name="connsiteX61" fmla="*/ 7325248 w 11867103"/>
              <a:gd name="connsiteY61" fmla="*/ 2843684 h 2964609"/>
              <a:gd name="connsiteX62" fmla="*/ 6863024 w 11867103"/>
              <a:gd name="connsiteY62" fmla="*/ 2833635 h 2964609"/>
              <a:gd name="connsiteX63" fmla="*/ 6722347 w 11867103"/>
              <a:gd name="connsiteY63" fmla="*/ 2823587 h 2964609"/>
              <a:gd name="connsiteX64" fmla="*/ 4903596 w 11867103"/>
              <a:gd name="connsiteY64" fmla="*/ 2873829 h 2964609"/>
              <a:gd name="connsiteX65" fmla="*/ 4722725 w 11867103"/>
              <a:gd name="connsiteY65" fmla="*/ 2914022 h 2964609"/>
              <a:gd name="connsiteX66" fmla="*/ 4300695 w 11867103"/>
              <a:gd name="connsiteY66" fmla="*/ 2893925 h 2964609"/>
              <a:gd name="connsiteX67" fmla="*/ 4059534 w 11867103"/>
              <a:gd name="connsiteY67" fmla="*/ 2853732 h 2964609"/>
              <a:gd name="connsiteX68" fmla="*/ 3768132 w 11867103"/>
              <a:gd name="connsiteY68" fmla="*/ 2823587 h 2964609"/>
              <a:gd name="connsiteX69" fmla="*/ 3627455 w 11867103"/>
              <a:gd name="connsiteY69" fmla="*/ 2813539 h 2964609"/>
              <a:gd name="connsiteX70" fmla="*/ 3125037 w 11867103"/>
              <a:gd name="connsiteY70" fmla="*/ 2823587 h 2964609"/>
              <a:gd name="connsiteX71" fmla="*/ 3064747 w 11867103"/>
              <a:gd name="connsiteY71" fmla="*/ 2833635 h 2964609"/>
              <a:gd name="connsiteX72" fmla="*/ 2009670 w 11867103"/>
              <a:gd name="connsiteY72" fmla="*/ 2843684 h 2964609"/>
              <a:gd name="connsiteX73" fmla="*/ 1678075 w 11867103"/>
              <a:gd name="connsiteY73" fmla="*/ 2934119 h 2964609"/>
              <a:gd name="connsiteX74" fmla="*/ 1607736 w 11867103"/>
              <a:gd name="connsiteY74" fmla="*/ 2964264 h 2964609"/>
              <a:gd name="connsiteX75" fmla="*/ 1135464 w 11867103"/>
              <a:gd name="connsiteY75" fmla="*/ 2944167 h 2964609"/>
              <a:gd name="connsiteX76" fmla="*/ 944545 w 11867103"/>
              <a:gd name="connsiteY76" fmla="*/ 2914022 h 2964609"/>
              <a:gd name="connsiteX77" fmla="*/ 723481 w 11867103"/>
              <a:gd name="connsiteY77" fmla="*/ 2873829 h 2964609"/>
              <a:gd name="connsiteX78" fmla="*/ 643095 w 11867103"/>
              <a:gd name="connsiteY78" fmla="*/ 2863780 h 2964609"/>
              <a:gd name="connsiteX79" fmla="*/ 371789 w 11867103"/>
              <a:gd name="connsiteY79" fmla="*/ 2823587 h 2964609"/>
              <a:gd name="connsiteX80" fmla="*/ 0 w 11867103"/>
              <a:gd name="connsiteY80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2140299 w 11867103"/>
              <a:gd name="connsiteY5" fmla="*/ 40193 h 2964609"/>
              <a:gd name="connsiteX6" fmla="*/ 4652387 w 11867103"/>
              <a:gd name="connsiteY6" fmla="*/ 60290 h 2964609"/>
              <a:gd name="connsiteX7" fmla="*/ 4692580 w 11867103"/>
              <a:gd name="connsiteY7" fmla="*/ 70339 h 2964609"/>
              <a:gd name="connsiteX8" fmla="*/ 6169688 w 11867103"/>
              <a:gd name="connsiteY8" fmla="*/ 110532 h 2964609"/>
              <a:gd name="connsiteX9" fmla="*/ 6420897 w 11867103"/>
              <a:gd name="connsiteY9" fmla="*/ 90435 h 2964609"/>
              <a:gd name="connsiteX10" fmla="*/ 6511332 w 11867103"/>
              <a:gd name="connsiteY10" fmla="*/ 30145 h 2964609"/>
              <a:gd name="connsiteX11" fmla="*/ 6571622 w 11867103"/>
              <a:gd name="connsiteY11" fmla="*/ 20097 h 2964609"/>
              <a:gd name="connsiteX12" fmla="*/ 6641961 w 11867103"/>
              <a:gd name="connsiteY12" fmla="*/ 0 h 2964609"/>
              <a:gd name="connsiteX13" fmla="*/ 7204668 w 11867103"/>
              <a:gd name="connsiteY13" fmla="*/ 10048 h 2964609"/>
              <a:gd name="connsiteX14" fmla="*/ 7285055 w 11867103"/>
              <a:gd name="connsiteY14" fmla="*/ 30145 h 2964609"/>
              <a:gd name="connsiteX15" fmla="*/ 7375490 w 11867103"/>
              <a:gd name="connsiteY15" fmla="*/ 40193 h 2964609"/>
              <a:gd name="connsiteX16" fmla="*/ 7928150 w 11867103"/>
              <a:gd name="connsiteY16" fmla="*/ 60290 h 2964609"/>
              <a:gd name="connsiteX17" fmla="*/ 8109020 w 11867103"/>
              <a:gd name="connsiteY17" fmla="*/ 80387 h 2964609"/>
              <a:gd name="connsiteX18" fmla="*/ 8219552 w 11867103"/>
              <a:gd name="connsiteY18" fmla="*/ 90435 h 2964609"/>
              <a:gd name="connsiteX19" fmla="*/ 8299939 w 11867103"/>
              <a:gd name="connsiteY19" fmla="*/ 100484 h 2964609"/>
              <a:gd name="connsiteX20" fmla="*/ 8521002 w 11867103"/>
              <a:gd name="connsiteY20" fmla="*/ 110532 h 2964609"/>
              <a:gd name="connsiteX21" fmla="*/ 9515789 w 11867103"/>
              <a:gd name="connsiteY21" fmla="*/ 100484 h 2964609"/>
              <a:gd name="connsiteX22" fmla="*/ 9606224 w 11867103"/>
              <a:gd name="connsiteY22" fmla="*/ 90435 h 2964609"/>
              <a:gd name="connsiteX23" fmla="*/ 9716756 w 11867103"/>
              <a:gd name="connsiteY23" fmla="*/ 80387 h 2964609"/>
              <a:gd name="connsiteX24" fmla="*/ 9797143 w 11867103"/>
              <a:gd name="connsiteY24" fmla="*/ 70339 h 2964609"/>
              <a:gd name="connsiteX25" fmla="*/ 9947868 w 11867103"/>
              <a:gd name="connsiteY25" fmla="*/ 60290 h 2964609"/>
              <a:gd name="connsiteX26" fmla="*/ 10791930 w 11867103"/>
              <a:gd name="connsiteY26" fmla="*/ 30145 h 2964609"/>
              <a:gd name="connsiteX27" fmla="*/ 11736475 w 11867103"/>
              <a:gd name="connsiteY27" fmla="*/ 50242 h 2964609"/>
              <a:gd name="connsiteX28" fmla="*/ 11766620 w 11867103"/>
              <a:gd name="connsiteY28" fmla="*/ 80387 h 2964609"/>
              <a:gd name="connsiteX29" fmla="*/ 11786717 w 11867103"/>
              <a:gd name="connsiteY29" fmla="*/ 120580 h 2964609"/>
              <a:gd name="connsiteX30" fmla="*/ 11806813 w 11867103"/>
              <a:gd name="connsiteY30" fmla="*/ 211015 h 2964609"/>
              <a:gd name="connsiteX31" fmla="*/ 11816862 w 11867103"/>
              <a:gd name="connsiteY31" fmla="*/ 251209 h 2964609"/>
              <a:gd name="connsiteX32" fmla="*/ 11826910 w 11867103"/>
              <a:gd name="connsiteY32" fmla="*/ 341644 h 2964609"/>
              <a:gd name="connsiteX33" fmla="*/ 11836958 w 11867103"/>
              <a:gd name="connsiteY33" fmla="*/ 422031 h 2964609"/>
              <a:gd name="connsiteX34" fmla="*/ 11826910 w 11867103"/>
              <a:gd name="connsiteY34" fmla="*/ 733530 h 2964609"/>
              <a:gd name="connsiteX35" fmla="*/ 11816862 w 11867103"/>
              <a:gd name="connsiteY35" fmla="*/ 793820 h 2964609"/>
              <a:gd name="connsiteX36" fmla="*/ 11806813 w 11867103"/>
              <a:gd name="connsiteY36" fmla="*/ 864158 h 2964609"/>
              <a:gd name="connsiteX37" fmla="*/ 11816862 w 11867103"/>
              <a:gd name="connsiteY37" fmla="*/ 2331218 h 2964609"/>
              <a:gd name="connsiteX38" fmla="*/ 11826910 w 11867103"/>
              <a:gd name="connsiteY38" fmla="*/ 2401556 h 2964609"/>
              <a:gd name="connsiteX39" fmla="*/ 11836958 w 11867103"/>
              <a:gd name="connsiteY39" fmla="*/ 2431701 h 2964609"/>
              <a:gd name="connsiteX40" fmla="*/ 11857055 w 11867103"/>
              <a:gd name="connsiteY40" fmla="*/ 2562330 h 2964609"/>
              <a:gd name="connsiteX41" fmla="*/ 11867103 w 11867103"/>
              <a:gd name="connsiteY41" fmla="*/ 2602523 h 2964609"/>
              <a:gd name="connsiteX42" fmla="*/ 11857055 w 11867103"/>
              <a:gd name="connsiteY42" fmla="*/ 2833635 h 2964609"/>
              <a:gd name="connsiteX43" fmla="*/ 11836958 w 11867103"/>
              <a:gd name="connsiteY43" fmla="*/ 2863780 h 2964609"/>
              <a:gd name="connsiteX44" fmla="*/ 11033090 w 11867103"/>
              <a:gd name="connsiteY44" fmla="*/ 2853732 h 2964609"/>
              <a:gd name="connsiteX45" fmla="*/ 10621108 w 11867103"/>
              <a:gd name="connsiteY45" fmla="*/ 2843684 h 2964609"/>
              <a:gd name="connsiteX46" fmla="*/ 10128739 w 11867103"/>
              <a:gd name="connsiteY46" fmla="*/ 2853732 h 2964609"/>
              <a:gd name="connsiteX47" fmla="*/ 10048352 w 11867103"/>
              <a:gd name="connsiteY47" fmla="*/ 2863780 h 2964609"/>
              <a:gd name="connsiteX48" fmla="*/ 9555982 w 11867103"/>
              <a:gd name="connsiteY48" fmla="*/ 2853732 h 2964609"/>
              <a:gd name="connsiteX49" fmla="*/ 9445451 w 11867103"/>
              <a:gd name="connsiteY49" fmla="*/ 2843684 h 2964609"/>
              <a:gd name="connsiteX50" fmla="*/ 9415306 w 11867103"/>
              <a:gd name="connsiteY50" fmla="*/ 2823587 h 2964609"/>
              <a:gd name="connsiteX51" fmla="*/ 9204290 w 11867103"/>
              <a:gd name="connsiteY51" fmla="*/ 2803490 h 2964609"/>
              <a:gd name="connsiteX52" fmla="*/ 9073662 w 11867103"/>
              <a:gd name="connsiteY52" fmla="*/ 2783393 h 2964609"/>
              <a:gd name="connsiteX53" fmla="*/ 8812404 w 11867103"/>
              <a:gd name="connsiteY53" fmla="*/ 2773345 h 2964609"/>
              <a:gd name="connsiteX54" fmla="*/ 8400422 w 11867103"/>
              <a:gd name="connsiteY54" fmla="*/ 2763297 h 2964609"/>
              <a:gd name="connsiteX55" fmla="*/ 8269793 w 11867103"/>
              <a:gd name="connsiteY55" fmla="*/ 2753248 h 2964609"/>
              <a:gd name="connsiteX56" fmla="*/ 7797521 w 11867103"/>
              <a:gd name="connsiteY56" fmla="*/ 2773345 h 2964609"/>
              <a:gd name="connsiteX57" fmla="*/ 7717134 w 11867103"/>
              <a:gd name="connsiteY57" fmla="*/ 2783393 h 2964609"/>
              <a:gd name="connsiteX58" fmla="*/ 7486022 w 11867103"/>
              <a:gd name="connsiteY58" fmla="*/ 2813539 h 2964609"/>
              <a:gd name="connsiteX59" fmla="*/ 7395587 w 11867103"/>
              <a:gd name="connsiteY59" fmla="*/ 2833635 h 2964609"/>
              <a:gd name="connsiteX60" fmla="*/ 7325248 w 11867103"/>
              <a:gd name="connsiteY60" fmla="*/ 2843684 h 2964609"/>
              <a:gd name="connsiteX61" fmla="*/ 6863024 w 11867103"/>
              <a:gd name="connsiteY61" fmla="*/ 2833635 h 2964609"/>
              <a:gd name="connsiteX62" fmla="*/ 6722347 w 11867103"/>
              <a:gd name="connsiteY62" fmla="*/ 2823587 h 2964609"/>
              <a:gd name="connsiteX63" fmla="*/ 4903596 w 11867103"/>
              <a:gd name="connsiteY63" fmla="*/ 2873829 h 2964609"/>
              <a:gd name="connsiteX64" fmla="*/ 4722725 w 11867103"/>
              <a:gd name="connsiteY64" fmla="*/ 2914022 h 2964609"/>
              <a:gd name="connsiteX65" fmla="*/ 4300695 w 11867103"/>
              <a:gd name="connsiteY65" fmla="*/ 2893925 h 2964609"/>
              <a:gd name="connsiteX66" fmla="*/ 4059534 w 11867103"/>
              <a:gd name="connsiteY66" fmla="*/ 2853732 h 2964609"/>
              <a:gd name="connsiteX67" fmla="*/ 3768132 w 11867103"/>
              <a:gd name="connsiteY67" fmla="*/ 2823587 h 2964609"/>
              <a:gd name="connsiteX68" fmla="*/ 3627455 w 11867103"/>
              <a:gd name="connsiteY68" fmla="*/ 2813539 h 2964609"/>
              <a:gd name="connsiteX69" fmla="*/ 3125037 w 11867103"/>
              <a:gd name="connsiteY69" fmla="*/ 2823587 h 2964609"/>
              <a:gd name="connsiteX70" fmla="*/ 3064747 w 11867103"/>
              <a:gd name="connsiteY70" fmla="*/ 2833635 h 2964609"/>
              <a:gd name="connsiteX71" fmla="*/ 2009670 w 11867103"/>
              <a:gd name="connsiteY71" fmla="*/ 2843684 h 2964609"/>
              <a:gd name="connsiteX72" fmla="*/ 1678075 w 11867103"/>
              <a:gd name="connsiteY72" fmla="*/ 2934119 h 2964609"/>
              <a:gd name="connsiteX73" fmla="*/ 1607736 w 11867103"/>
              <a:gd name="connsiteY73" fmla="*/ 2964264 h 2964609"/>
              <a:gd name="connsiteX74" fmla="*/ 1135464 w 11867103"/>
              <a:gd name="connsiteY74" fmla="*/ 2944167 h 2964609"/>
              <a:gd name="connsiteX75" fmla="*/ 944545 w 11867103"/>
              <a:gd name="connsiteY75" fmla="*/ 2914022 h 2964609"/>
              <a:gd name="connsiteX76" fmla="*/ 723481 w 11867103"/>
              <a:gd name="connsiteY76" fmla="*/ 2873829 h 2964609"/>
              <a:gd name="connsiteX77" fmla="*/ 643095 w 11867103"/>
              <a:gd name="connsiteY77" fmla="*/ 2863780 h 2964609"/>
              <a:gd name="connsiteX78" fmla="*/ 371789 w 11867103"/>
              <a:gd name="connsiteY78" fmla="*/ 2823587 h 2964609"/>
              <a:gd name="connsiteX79" fmla="*/ 0 w 11867103"/>
              <a:gd name="connsiteY79" fmla="*/ 2813539 h 2964609"/>
              <a:gd name="connsiteX0" fmla="*/ 120580 w 11867103"/>
              <a:gd name="connsiteY0" fmla="*/ 51336 h 2965703"/>
              <a:gd name="connsiteX1" fmla="*/ 281354 w 11867103"/>
              <a:gd name="connsiteY1" fmla="*/ 41287 h 2965703"/>
              <a:gd name="connsiteX2" fmla="*/ 673240 w 11867103"/>
              <a:gd name="connsiteY2" fmla="*/ 31239 h 2965703"/>
              <a:gd name="connsiteX3" fmla="*/ 1356528 w 11867103"/>
              <a:gd name="connsiteY3" fmla="*/ 81481 h 2965703"/>
              <a:gd name="connsiteX4" fmla="*/ 1758462 w 11867103"/>
              <a:gd name="connsiteY4" fmla="*/ 41287 h 2965703"/>
              <a:gd name="connsiteX5" fmla="*/ 2140299 w 11867103"/>
              <a:gd name="connsiteY5" fmla="*/ 41287 h 2965703"/>
              <a:gd name="connsiteX6" fmla="*/ 4652387 w 11867103"/>
              <a:gd name="connsiteY6" fmla="*/ 61384 h 2965703"/>
              <a:gd name="connsiteX7" fmla="*/ 4692580 w 11867103"/>
              <a:gd name="connsiteY7" fmla="*/ 71433 h 2965703"/>
              <a:gd name="connsiteX8" fmla="*/ 6169688 w 11867103"/>
              <a:gd name="connsiteY8" fmla="*/ 111626 h 2965703"/>
              <a:gd name="connsiteX9" fmla="*/ 6420897 w 11867103"/>
              <a:gd name="connsiteY9" fmla="*/ 91529 h 2965703"/>
              <a:gd name="connsiteX10" fmla="*/ 6511332 w 11867103"/>
              <a:gd name="connsiteY10" fmla="*/ 31239 h 2965703"/>
              <a:gd name="connsiteX11" fmla="*/ 6641961 w 11867103"/>
              <a:gd name="connsiteY11" fmla="*/ 1094 h 2965703"/>
              <a:gd name="connsiteX12" fmla="*/ 7204668 w 11867103"/>
              <a:gd name="connsiteY12" fmla="*/ 11142 h 2965703"/>
              <a:gd name="connsiteX13" fmla="*/ 7285055 w 11867103"/>
              <a:gd name="connsiteY13" fmla="*/ 31239 h 2965703"/>
              <a:gd name="connsiteX14" fmla="*/ 7375490 w 11867103"/>
              <a:gd name="connsiteY14" fmla="*/ 41287 h 2965703"/>
              <a:gd name="connsiteX15" fmla="*/ 7928150 w 11867103"/>
              <a:gd name="connsiteY15" fmla="*/ 61384 h 2965703"/>
              <a:gd name="connsiteX16" fmla="*/ 8109020 w 11867103"/>
              <a:gd name="connsiteY16" fmla="*/ 81481 h 2965703"/>
              <a:gd name="connsiteX17" fmla="*/ 8219552 w 11867103"/>
              <a:gd name="connsiteY17" fmla="*/ 91529 h 2965703"/>
              <a:gd name="connsiteX18" fmla="*/ 8299939 w 11867103"/>
              <a:gd name="connsiteY18" fmla="*/ 101578 h 2965703"/>
              <a:gd name="connsiteX19" fmla="*/ 8521002 w 11867103"/>
              <a:gd name="connsiteY19" fmla="*/ 111626 h 2965703"/>
              <a:gd name="connsiteX20" fmla="*/ 9515789 w 11867103"/>
              <a:gd name="connsiteY20" fmla="*/ 101578 h 2965703"/>
              <a:gd name="connsiteX21" fmla="*/ 9606224 w 11867103"/>
              <a:gd name="connsiteY21" fmla="*/ 91529 h 2965703"/>
              <a:gd name="connsiteX22" fmla="*/ 9716756 w 11867103"/>
              <a:gd name="connsiteY22" fmla="*/ 81481 h 2965703"/>
              <a:gd name="connsiteX23" fmla="*/ 9797143 w 11867103"/>
              <a:gd name="connsiteY23" fmla="*/ 71433 h 2965703"/>
              <a:gd name="connsiteX24" fmla="*/ 9947868 w 11867103"/>
              <a:gd name="connsiteY24" fmla="*/ 61384 h 2965703"/>
              <a:gd name="connsiteX25" fmla="*/ 10791930 w 11867103"/>
              <a:gd name="connsiteY25" fmla="*/ 31239 h 2965703"/>
              <a:gd name="connsiteX26" fmla="*/ 11736475 w 11867103"/>
              <a:gd name="connsiteY26" fmla="*/ 51336 h 2965703"/>
              <a:gd name="connsiteX27" fmla="*/ 11766620 w 11867103"/>
              <a:gd name="connsiteY27" fmla="*/ 81481 h 2965703"/>
              <a:gd name="connsiteX28" fmla="*/ 11786717 w 11867103"/>
              <a:gd name="connsiteY28" fmla="*/ 121674 h 2965703"/>
              <a:gd name="connsiteX29" fmla="*/ 11806813 w 11867103"/>
              <a:gd name="connsiteY29" fmla="*/ 212109 h 2965703"/>
              <a:gd name="connsiteX30" fmla="*/ 11816862 w 11867103"/>
              <a:gd name="connsiteY30" fmla="*/ 252303 h 2965703"/>
              <a:gd name="connsiteX31" fmla="*/ 11826910 w 11867103"/>
              <a:gd name="connsiteY31" fmla="*/ 342738 h 2965703"/>
              <a:gd name="connsiteX32" fmla="*/ 11836958 w 11867103"/>
              <a:gd name="connsiteY32" fmla="*/ 423125 h 2965703"/>
              <a:gd name="connsiteX33" fmla="*/ 11826910 w 11867103"/>
              <a:gd name="connsiteY33" fmla="*/ 734624 h 2965703"/>
              <a:gd name="connsiteX34" fmla="*/ 11816862 w 11867103"/>
              <a:gd name="connsiteY34" fmla="*/ 794914 h 2965703"/>
              <a:gd name="connsiteX35" fmla="*/ 11806813 w 11867103"/>
              <a:gd name="connsiteY35" fmla="*/ 865252 h 2965703"/>
              <a:gd name="connsiteX36" fmla="*/ 11816862 w 11867103"/>
              <a:gd name="connsiteY36" fmla="*/ 2332312 h 2965703"/>
              <a:gd name="connsiteX37" fmla="*/ 11826910 w 11867103"/>
              <a:gd name="connsiteY37" fmla="*/ 2402650 h 2965703"/>
              <a:gd name="connsiteX38" fmla="*/ 11836958 w 11867103"/>
              <a:gd name="connsiteY38" fmla="*/ 2432795 h 2965703"/>
              <a:gd name="connsiteX39" fmla="*/ 11857055 w 11867103"/>
              <a:gd name="connsiteY39" fmla="*/ 2563424 h 2965703"/>
              <a:gd name="connsiteX40" fmla="*/ 11867103 w 11867103"/>
              <a:gd name="connsiteY40" fmla="*/ 2603617 h 2965703"/>
              <a:gd name="connsiteX41" fmla="*/ 11857055 w 11867103"/>
              <a:gd name="connsiteY41" fmla="*/ 2834729 h 2965703"/>
              <a:gd name="connsiteX42" fmla="*/ 11836958 w 11867103"/>
              <a:gd name="connsiteY42" fmla="*/ 2864874 h 2965703"/>
              <a:gd name="connsiteX43" fmla="*/ 11033090 w 11867103"/>
              <a:gd name="connsiteY43" fmla="*/ 2854826 h 2965703"/>
              <a:gd name="connsiteX44" fmla="*/ 10621108 w 11867103"/>
              <a:gd name="connsiteY44" fmla="*/ 2844778 h 2965703"/>
              <a:gd name="connsiteX45" fmla="*/ 10128739 w 11867103"/>
              <a:gd name="connsiteY45" fmla="*/ 2854826 h 2965703"/>
              <a:gd name="connsiteX46" fmla="*/ 10048352 w 11867103"/>
              <a:gd name="connsiteY46" fmla="*/ 2864874 h 2965703"/>
              <a:gd name="connsiteX47" fmla="*/ 9555982 w 11867103"/>
              <a:gd name="connsiteY47" fmla="*/ 2854826 h 2965703"/>
              <a:gd name="connsiteX48" fmla="*/ 9445451 w 11867103"/>
              <a:gd name="connsiteY48" fmla="*/ 2844778 h 2965703"/>
              <a:gd name="connsiteX49" fmla="*/ 9415306 w 11867103"/>
              <a:gd name="connsiteY49" fmla="*/ 2824681 h 2965703"/>
              <a:gd name="connsiteX50" fmla="*/ 9204290 w 11867103"/>
              <a:gd name="connsiteY50" fmla="*/ 2804584 h 2965703"/>
              <a:gd name="connsiteX51" fmla="*/ 9073662 w 11867103"/>
              <a:gd name="connsiteY51" fmla="*/ 2784487 h 2965703"/>
              <a:gd name="connsiteX52" fmla="*/ 8812404 w 11867103"/>
              <a:gd name="connsiteY52" fmla="*/ 2774439 h 2965703"/>
              <a:gd name="connsiteX53" fmla="*/ 8400422 w 11867103"/>
              <a:gd name="connsiteY53" fmla="*/ 2764391 h 2965703"/>
              <a:gd name="connsiteX54" fmla="*/ 8269793 w 11867103"/>
              <a:gd name="connsiteY54" fmla="*/ 2754342 h 2965703"/>
              <a:gd name="connsiteX55" fmla="*/ 7797521 w 11867103"/>
              <a:gd name="connsiteY55" fmla="*/ 2774439 h 2965703"/>
              <a:gd name="connsiteX56" fmla="*/ 7717134 w 11867103"/>
              <a:gd name="connsiteY56" fmla="*/ 2784487 h 2965703"/>
              <a:gd name="connsiteX57" fmla="*/ 7486022 w 11867103"/>
              <a:gd name="connsiteY57" fmla="*/ 2814633 h 2965703"/>
              <a:gd name="connsiteX58" fmla="*/ 7395587 w 11867103"/>
              <a:gd name="connsiteY58" fmla="*/ 2834729 h 2965703"/>
              <a:gd name="connsiteX59" fmla="*/ 7325248 w 11867103"/>
              <a:gd name="connsiteY59" fmla="*/ 2844778 h 2965703"/>
              <a:gd name="connsiteX60" fmla="*/ 6863024 w 11867103"/>
              <a:gd name="connsiteY60" fmla="*/ 2834729 h 2965703"/>
              <a:gd name="connsiteX61" fmla="*/ 6722347 w 11867103"/>
              <a:gd name="connsiteY61" fmla="*/ 2824681 h 2965703"/>
              <a:gd name="connsiteX62" fmla="*/ 4903596 w 11867103"/>
              <a:gd name="connsiteY62" fmla="*/ 2874923 h 2965703"/>
              <a:gd name="connsiteX63" fmla="*/ 4722725 w 11867103"/>
              <a:gd name="connsiteY63" fmla="*/ 2915116 h 2965703"/>
              <a:gd name="connsiteX64" fmla="*/ 4300695 w 11867103"/>
              <a:gd name="connsiteY64" fmla="*/ 2895019 h 2965703"/>
              <a:gd name="connsiteX65" fmla="*/ 4059534 w 11867103"/>
              <a:gd name="connsiteY65" fmla="*/ 2854826 h 2965703"/>
              <a:gd name="connsiteX66" fmla="*/ 3768132 w 11867103"/>
              <a:gd name="connsiteY66" fmla="*/ 2824681 h 2965703"/>
              <a:gd name="connsiteX67" fmla="*/ 3627455 w 11867103"/>
              <a:gd name="connsiteY67" fmla="*/ 2814633 h 2965703"/>
              <a:gd name="connsiteX68" fmla="*/ 3125037 w 11867103"/>
              <a:gd name="connsiteY68" fmla="*/ 2824681 h 2965703"/>
              <a:gd name="connsiteX69" fmla="*/ 3064747 w 11867103"/>
              <a:gd name="connsiteY69" fmla="*/ 2834729 h 2965703"/>
              <a:gd name="connsiteX70" fmla="*/ 2009670 w 11867103"/>
              <a:gd name="connsiteY70" fmla="*/ 2844778 h 2965703"/>
              <a:gd name="connsiteX71" fmla="*/ 1678075 w 11867103"/>
              <a:gd name="connsiteY71" fmla="*/ 2935213 h 2965703"/>
              <a:gd name="connsiteX72" fmla="*/ 1607736 w 11867103"/>
              <a:gd name="connsiteY72" fmla="*/ 2965358 h 2965703"/>
              <a:gd name="connsiteX73" fmla="*/ 1135464 w 11867103"/>
              <a:gd name="connsiteY73" fmla="*/ 2945261 h 2965703"/>
              <a:gd name="connsiteX74" fmla="*/ 944545 w 11867103"/>
              <a:gd name="connsiteY74" fmla="*/ 2915116 h 2965703"/>
              <a:gd name="connsiteX75" fmla="*/ 723481 w 11867103"/>
              <a:gd name="connsiteY75" fmla="*/ 2874923 h 2965703"/>
              <a:gd name="connsiteX76" fmla="*/ 643095 w 11867103"/>
              <a:gd name="connsiteY76" fmla="*/ 2864874 h 2965703"/>
              <a:gd name="connsiteX77" fmla="*/ 371789 w 11867103"/>
              <a:gd name="connsiteY77" fmla="*/ 2824681 h 2965703"/>
              <a:gd name="connsiteX78" fmla="*/ 0 w 11867103"/>
              <a:gd name="connsiteY78" fmla="*/ 2814633 h 2965703"/>
              <a:gd name="connsiteX0" fmla="*/ 120580 w 11867103"/>
              <a:gd name="connsiteY0" fmla="*/ 40194 h 2954561"/>
              <a:gd name="connsiteX1" fmla="*/ 281354 w 11867103"/>
              <a:gd name="connsiteY1" fmla="*/ 30145 h 2954561"/>
              <a:gd name="connsiteX2" fmla="*/ 673240 w 11867103"/>
              <a:gd name="connsiteY2" fmla="*/ 20097 h 2954561"/>
              <a:gd name="connsiteX3" fmla="*/ 1356528 w 11867103"/>
              <a:gd name="connsiteY3" fmla="*/ 70339 h 2954561"/>
              <a:gd name="connsiteX4" fmla="*/ 1758462 w 11867103"/>
              <a:gd name="connsiteY4" fmla="*/ 30145 h 2954561"/>
              <a:gd name="connsiteX5" fmla="*/ 2140299 w 11867103"/>
              <a:gd name="connsiteY5" fmla="*/ 30145 h 2954561"/>
              <a:gd name="connsiteX6" fmla="*/ 4652387 w 11867103"/>
              <a:gd name="connsiteY6" fmla="*/ 50242 h 2954561"/>
              <a:gd name="connsiteX7" fmla="*/ 4692580 w 11867103"/>
              <a:gd name="connsiteY7" fmla="*/ 60291 h 2954561"/>
              <a:gd name="connsiteX8" fmla="*/ 6169688 w 11867103"/>
              <a:gd name="connsiteY8" fmla="*/ 100484 h 2954561"/>
              <a:gd name="connsiteX9" fmla="*/ 6420897 w 11867103"/>
              <a:gd name="connsiteY9" fmla="*/ 80387 h 2954561"/>
              <a:gd name="connsiteX10" fmla="*/ 6511332 w 11867103"/>
              <a:gd name="connsiteY10" fmla="*/ 20097 h 2954561"/>
              <a:gd name="connsiteX11" fmla="*/ 7204668 w 11867103"/>
              <a:gd name="connsiteY11" fmla="*/ 0 h 2954561"/>
              <a:gd name="connsiteX12" fmla="*/ 7285055 w 11867103"/>
              <a:gd name="connsiteY12" fmla="*/ 20097 h 2954561"/>
              <a:gd name="connsiteX13" fmla="*/ 7375490 w 11867103"/>
              <a:gd name="connsiteY13" fmla="*/ 30145 h 2954561"/>
              <a:gd name="connsiteX14" fmla="*/ 7928150 w 11867103"/>
              <a:gd name="connsiteY14" fmla="*/ 50242 h 2954561"/>
              <a:gd name="connsiteX15" fmla="*/ 8109020 w 11867103"/>
              <a:gd name="connsiteY15" fmla="*/ 70339 h 2954561"/>
              <a:gd name="connsiteX16" fmla="*/ 8219552 w 11867103"/>
              <a:gd name="connsiteY16" fmla="*/ 80387 h 2954561"/>
              <a:gd name="connsiteX17" fmla="*/ 8299939 w 11867103"/>
              <a:gd name="connsiteY17" fmla="*/ 90436 h 2954561"/>
              <a:gd name="connsiteX18" fmla="*/ 8521002 w 11867103"/>
              <a:gd name="connsiteY18" fmla="*/ 100484 h 2954561"/>
              <a:gd name="connsiteX19" fmla="*/ 9515789 w 11867103"/>
              <a:gd name="connsiteY19" fmla="*/ 90436 h 2954561"/>
              <a:gd name="connsiteX20" fmla="*/ 9606224 w 11867103"/>
              <a:gd name="connsiteY20" fmla="*/ 80387 h 2954561"/>
              <a:gd name="connsiteX21" fmla="*/ 9716756 w 11867103"/>
              <a:gd name="connsiteY21" fmla="*/ 70339 h 2954561"/>
              <a:gd name="connsiteX22" fmla="*/ 9797143 w 11867103"/>
              <a:gd name="connsiteY22" fmla="*/ 60291 h 2954561"/>
              <a:gd name="connsiteX23" fmla="*/ 9947868 w 11867103"/>
              <a:gd name="connsiteY23" fmla="*/ 50242 h 2954561"/>
              <a:gd name="connsiteX24" fmla="*/ 10791930 w 11867103"/>
              <a:gd name="connsiteY24" fmla="*/ 20097 h 2954561"/>
              <a:gd name="connsiteX25" fmla="*/ 11736475 w 11867103"/>
              <a:gd name="connsiteY25" fmla="*/ 40194 h 2954561"/>
              <a:gd name="connsiteX26" fmla="*/ 11766620 w 11867103"/>
              <a:gd name="connsiteY26" fmla="*/ 70339 h 2954561"/>
              <a:gd name="connsiteX27" fmla="*/ 11786717 w 11867103"/>
              <a:gd name="connsiteY27" fmla="*/ 110532 h 2954561"/>
              <a:gd name="connsiteX28" fmla="*/ 11806813 w 11867103"/>
              <a:gd name="connsiteY28" fmla="*/ 200967 h 2954561"/>
              <a:gd name="connsiteX29" fmla="*/ 11816862 w 11867103"/>
              <a:gd name="connsiteY29" fmla="*/ 241161 h 2954561"/>
              <a:gd name="connsiteX30" fmla="*/ 11826910 w 11867103"/>
              <a:gd name="connsiteY30" fmla="*/ 331596 h 2954561"/>
              <a:gd name="connsiteX31" fmla="*/ 11836958 w 11867103"/>
              <a:gd name="connsiteY31" fmla="*/ 411983 h 2954561"/>
              <a:gd name="connsiteX32" fmla="*/ 11826910 w 11867103"/>
              <a:gd name="connsiteY32" fmla="*/ 723482 h 2954561"/>
              <a:gd name="connsiteX33" fmla="*/ 11816862 w 11867103"/>
              <a:gd name="connsiteY33" fmla="*/ 783772 h 2954561"/>
              <a:gd name="connsiteX34" fmla="*/ 11806813 w 11867103"/>
              <a:gd name="connsiteY34" fmla="*/ 854110 h 2954561"/>
              <a:gd name="connsiteX35" fmla="*/ 11816862 w 11867103"/>
              <a:gd name="connsiteY35" fmla="*/ 2321170 h 2954561"/>
              <a:gd name="connsiteX36" fmla="*/ 11826910 w 11867103"/>
              <a:gd name="connsiteY36" fmla="*/ 2391508 h 2954561"/>
              <a:gd name="connsiteX37" fmla="*/ 11836958 w 11867103"/>
              <a:gd name="connsiteY37" fmla="*/ 2421653 h 2954561"/>
              <a:gd name="connsiteX38" fmla="*/ 11857055 w 11867103"/>
              <a:gd name="connsiteY38" fmla="*/ 2552282 h 2954561"/>
              <a:gd name="connsiteX39" fmla="*/ 11867103 w 11867103"/>
              <a:gd name="connsiteY39" fmla="*/ 2592475 h 2954561"/>
              <a:gd name="connsiteX40" fmla="*/ 11857055 w 11867103"/>
              <a:gd name="connsiteY40" fmla="*/ 2823587 h 2954561"/>
              <a:gd name="connsiteX41" fmla="*/ 11836958 w 11867103"/>
              <a:gd name="connsiteY41" fmla="*/ 2853732 h 2954561"/>
              <a:gd name="connsiteX42" fmla="*/ 11033090 w 11867103"/>
              <a:gd name="connsiteY42" fmla="*/ 2843684 h 2954561"/>
              <a:gd name="connsiteX43" fmla="*/ 10621108 w 11867103"/>
              <a:gd name="connsiteY43" fmla="*/ 2833636 h 2954561"/>
              <a:gd name="connsiteX44" fmla="*/ 10128739 w 11867103"/>
              <a:gd name="connsiteY44" fmla="*/ 2843684 h 2954561"/>
              <a:gd name="connsiteX45" fmla="*/ 10048352 w 11867103"/>
              <a:gd name="connsiteY45" fmla="*/ 2853732 h 2954561"/>
              <a:gd name="connsiteX46" fmla="*/ 9555982 w 11867103"/>
              <a:gd name="connsiteY46" fmla="*/ 2843684 h 2954561"/>
              <a:gd name="connsiteX47" fmla="*/ 9445451 w 11867103"/>
              <a:gd name="connsiteY47" fmla="*/ 2833636 h 2954561"/>
              <a:gd name="connsiteX48" fmla="*/ 9415306 w 11867103"/>
              <a:gd name="connsiteY48" fmla="*/ 2813539 h 2954561"/>
              <a:gd name="connsiteX49" fmla="*/ 9204290 w 11867103"/>
              <a:gd name="connsiteY49" fmla="*/ 2793442 h 2954561"/>
              <a:gd name="connsiteX50" fmla="*/ 9073662 w 11867103"/>
              <a:gd name="connsiteY50" fmla="*/ 2773345 h 2954561"/>
              <a:gd name="connsiteX51" fmla="*/ 8812404 w 11867103"/>
              <a:gd name="connsiteY51" fmla="*/ 2763297 h 2954561"/>
              <a:gd name="connsiteX52" fmla="*/ 8400422 w 11867103"/>
              <a:gd name="connsiteY52" fmla="*/ 2753249 h 2954561"/>
              <a:gd name="connsiteX53" fmla="*/ 8269793 w 11867103"/>
              <a:gd name="connsiteY53" fmla="*/ 2743200 h 2954561"/>
              <a:gd name="connsiteX54" fmla="*/ 7797521 w 11867103"/>
              <a:gd name="connsiteY54" fmla="*/ 2763297 h 2954561"/>
              <a:gd name="connsiteX55" fmla="*/ 7717134 w 11867103"/>
              <a:gd name="connsiteY55" fmla="*/ 2773345 h 2954561"/>
              <a:gd name="connsiteX56" fmla="*/ 7486022 w 11867103"/>
              <a:gd name="connsiteY56" fmla="*/ 2803491 h 2954561"/>
              <a:gd name="connsiteX57" fmla="*/ 7395587 w 11867103"/>
              <a:gd name="connsiteY57" fmla="*/ 2823587 h 2954561"/>
              <a:gd name="connsiteX58" fmla="*/ 7325248 w 11867103"/>
              <a:gd name="connsiteY58" fmla="*/ 2833636 h 2954561"/>
              <a:gd name="connsiteX59" fmla="*/ 6863024 w 11867103"/>
              <a:gd name="connsiteY59" fmla="*/ 2823587 h 2954561"/>
              <a:gd name="connsiteX60" fmla="*/ 6722347 w 11867103"/>
              <a:gd name="connsiteY60" fmla="*/ 2813539 h 2954561"/>
              <a:gd name="connsiteX61" fmla="*/ 4903596 w 11867103"/>
              <a:gd name="connsiteY61" fmla="*/ 2863781 h 2954561"/>
              <a:gd name="connsiteX62" fmla="*/ 4722725 w 11867103"/>
              <a:gd name="connsiteY62" fmla="*/ 2903974 h 2954561"/>
              <a:gd name="connsiteX63" fmla="*/ 4300695 w 11867103"/>
              <a:gd name="connsiteY63" fmla="*/ 2883877 h 2954561"/>
              <a:gd name="connsiteX64" fmla="*/ 4059534 w 11867103"/>
              <a:gd name="connsiteY64" fmla="*/ 2843684 h 2954561"/>
              <a:gd name="connsiteX65" fmla="*/ 3768132 w 11867103"/>
              <a:gd name="connsiteY65" fmla="*/ 2813539 h 2954561"/>
              <a:gd name="connsiteX66" fmla="*/ 3627455 w 11867103"/>
              <a:gd name="connsiteY66" fmla="*/ 2803491 h 2954561"/>
              <a:gd name="connsiteX67" fmla="*/ 3125037 w 11867103"/>
              <a:gd name="connsiteY67" fmla="*/ 2813539 h 2954561"/>
              <a:gd name="connsiteX68" fmla="*/ 3064747 w 11867103"/>
              <a:gd name="connsiteY68" fmla="*/ 2823587 h 2954561"/>
              <a:gd name="connsiteX69" fmla="*/ 2009670 w 11867103"/>
              <a:gd name="connsiteY69" fmla="*/ 2833636 h 2954561"/>
              <a:gd name="connsiteX70" fmla="*/ 1678075 w 11867103"/>
              <a:gd name="connsiteY70" fmla="*/ 2924071 h 2954561"/>
              <a:gd name="connsiteX71" fmla="*/ 1607736 w 11867103"/>
              <a:gd name="connsiteY71" fmla="*/ 2954216 h 2954561"/>
              <a:gd name="connsiteX72" fmla="*/ 1135464 w 11867103"/>
              <a:gd name="connsiteY72" fmla="*/ 2934119 h 2954561"/>
              <a:gd name="connsiteX73" fmla="*/ 944545 w 11867103"/>
              <a:gd name="connsiteY73" fmla="*/ 2903974 h 2954561"/>
              <a:gd name="connsiteX74" fmla="*/ 723481 w 11867103"/>
              <a:gd name="connsiteY74" fmla="*/ 2863781 h 2954561"/>
              <a:gd name="connsiteX75" fmla="*/ 643095 w 11867103"/>
              <a:gd name="connsiteY75" fmla="*/ 2853732 h 2954561"/>
              <a:gd name="connsiteX76" fmla="*/ 371789 w 11867103"/>
              <a:gd name="connsiteY76" fmla="*/ 2813539 h 2954561"/>
              <a:gd name="connsiteX77" fmla="*/ 0 w 11867103"/>
              <a:gd name="connsiteY77" fmla="*/ 2803491 h 2954561"/>
              <a:gd name="connsiteX0" fmla="*/ 120580 w 11867103"/>
              <a:gd name="connsiteY0" fmla="*/ 42528 h 2956895"/>
              <a:gd name="connsiteX1" fmla="*/ 281354 w 11867103"/>
              <a:gd name="connsiteY1" fmla="*/ 32479 h 2956895"/>
              <a:gd name="connsiteX2" fmla="*/ 673240 w 11867103"/>
              <a:gd name="connsiteY2" fmla="*/ 22431 h 2956895"/>
              <a:gd name="connsiteX3" fmla="*/ 1356528 w 11867103"/>
              <a:gd name="connsiteY3" fmla="*/ 72673 h 2956895"/>
              <a:gd name="connsiteX4" fmla="*/ 1758462 w 11867103"/>
              <a:gd name="connsiteY4" fmla="*/ 32479 h 2956895"/>
              <a:gd name="connsiteX5" fmla="*/ 2140299 w 11867103"/>
              <a:gd name="connsiteY5" fmla="*/ 32479 h 2956895"/>
              <a:gd name="connsiteX6" fmla="*/ 4652387 w 11867103"/>
              <a:gd name="connsiteY6" fmla="*/ 52576 h 2956895"/>
              <a:gd name="connsiteX7" fmla="*/ 4692580 w 11867103"/>
              <a:gd name="connsiteY7" fmla="*/ 62625 h 2956895"/>
              <a:gd name="connsiteX8" fmla="*/ 6169688 w 11867103"/>
              <a:gd name="connsiteY8" fmla="*/ 102818 h 2956895"/>
              <a:gd name="connsiteX9" fmla="*/ 6420897 w 11867103"/>
              <a:gd name="connsiteY9" fmla="*/ 82721 h 2956895"/>
              <a:gd name="connsiteX10" fmla="*/ 7204668 w 11867103"/>
              <a:gd name="connsiteY10" fmla="*/ 2334 h 2956895"/>
              <a:gd name="connsiteX11" fmla="*/ 7285055 w 11867103"/>
              <a:gd name="connsiteY11" fmla="*/ 22431 h 2956895"/>
              <a:gd name="connsiteX12" fmla="*/ 7375490 w 11867103"/>
              <a:gd name="connsiteY12" fmla="*/ 32479 h 2956895"/>
              <a:gd name="connsiteX13" fmla="*/ 7928150 w 11867103"/>
              <a:gd name="connsiteY13" fmla="*/ 52576 h 2956895"/>
              <a:gd name="connsiteX14" fmla="*/ 8109020 w 11867103"/>
              <a:gd name="connsiteY14" fmla="*/ 72673 h 2956895"/>
              <a:gd name="connsiteX15" fmla="*/ 8219552 w 11867103"/>
              <a:gd name="connsiteY15" fmla="*/ 82721 h 2956895"/>
              <a:gd name="connsiteX16" fmla="*/ 8299939 w 11867103"/>
              <a:gd name="connsiteY16" fmla="*/ 92770 h 2956895"/>
              <a:gd name="connsiteX17" fmla="*/ 8521002 w 11867103"/>
              <a:gd name="connsiteY17" fmla="*/ 102818 h 2956895"/>
              <a:gd name="connsiteX18" fmla="*/ 9515789 w 11867103"/>
              <a:gd name="connsiteY18" fmla="*/ 92770 h 2956895"/>
              <a:gd name="connsiteX19" fmla="*/ 9606224 w 11867103"/>
              <a:gd name="connsiteY19" fmla="*/ 82721 h 2956895"/>
              <a:gd name="connsiteX20" fmla="*/ 9716756 w 11867103"/>
              <a:gd name="connsiteY20" fmla="*/ 72673 h 2956895"/>
              <a:gd name="connsiteX21" fmla="*/ 9797143 w 11867103"/>
              <a:gd name="connsiteY21" fmla="*/ 62625 h 2956895"/>
              <a:gd name="connsiteX22" fmla="*/ 9947868 w 11867103"/>
              <a:gd name="connsiteY22" fmla="*/ 52576 h 2956895"/>
              <a:gd name="connsiteX23" fmla="*/ 10791930 w 11867103"/>
              <a:gd name="connsiteY23" fmla="*/ 22431 h 2956895"/>
              <a:gd name="connsiteX24" fmla="*/ 11736475 w 11867103"/>
              <a:gd name="connsiteY24" fmla="*/ 42528 h 2956895"/>
              <a:gd name="connsiteX25" fmla="*/ 11766620 w 11867103"/>
              <a:gd name="connsiteY25" fmla="*/ 72673 h 2956895"/>
              <a:gd name="connsiteX26" fmla="*/ 11786717 w 11867103"/>
              <a:gd name="connsiteY26" fmla="*/ 112866 h 2956895"/>
              <a:gd name="connsiteX27" fmla="*/ 11806813 w 11867103"/>
              <a:gd name="connsiteY27" fmla="*/ 203301 h 2956895"/>
              <a:gd name="connsiteX28" fmla="*/ 11816862 w 11867103"/>
              <a:gd name="connsiteY28" fmla="*/ 243495 h 2956895"/>
              <a:gd name="connsiteX29" fmla="*/ 11826910 w 11867103"/>
              <a:gd name="connsiteY29" fmla="*/ 333930 h 2956895"/>
              <a:gd name="connsiteX30" fmla="*/ 11836958 w 11867103"/>
              <a:gd name="connsiteY30" fmla="*/ 414317 h 2956895"/>
              <a:gd name="connsiteX31" fmla="*/ 11826910 w 11867103"/>
              <a:gd name="connsiteY31" fmla="*/ 725816 h 2956895"/>
              <a:gd name="connsiteX32" fmla="*/ 11816862 w 11867103"/>
              <a:gd name="connsiteY32" fmla="*/ 786106 h 2956895"/>
              <a:gd name="connsiteX33" fmla="*/ 11806813 w 11867103"/>
              <a:gd name="connsiteY33" fmla="*/ 856444 h 2956895"/>
              <a:gd name="connsiteX34" fmla="*/ 11816862 w 11867103"/>
              <a:gd name="connsiteY34" fmla="*/ 2323504 h 2956895"/>
              <a:gd name="connsiteX35" fmla="*/ 11826910 w 11867103"/>
              <a:gd name="connsiteY35" fmla="*/ 2393842 h 2956895"/>
              <a:gd name="connsiteX36" fmla="*/ 11836958 w 11867103"/>
              <a:gd name="connsiteY36" fmla="*/ 2423987 h 2956895"/>
              <a:gd name="connsiteX37" fmla="*/ 11857055 w 11867103"/>
              <a:gd name="connsiteY37" fmla="*/ 2554616 h 2956895"/>
              <a:gd name="connsiteX38" fmla="*/ 11867103 w 11867103"/>
              <a:gd name="connsiteY38" fmla="*/ 2594809 h 2956895"/>
              <a:gd name="connsiteX39" fmla="*/ 11857055 w 11867103"/>
              <a:gd name="connsiteY39" fmla="*/ 2825921 h 2956895"/>
              <a:gd name="connsiteX40" fmla="*/ 11836958 w 11867103"/>
              <a:gd name="connsiteY40" fmla="*/ 2856066 h 2956895"/>
              <a:gd name="connsiteX41" fmla="*/ 11033090 w 11867103"/>
              <a:gd name="connsiteY41" fmla="*/ 2846018 h 2956895"/>
              <a:gd name="connsiteX42" fmla="*/ 10621108 w 11867103"/>
              <a:gd name="connsiteY42" fmla="*/ 2835970 h 2956895"/>
              <a:gd name="connsiteX43" fmla="*/ 10128739 w 11867103"/>
              <a:gd name="connsiteY43" fmla="*/ 2846018 h 2956895"/>
              <a:gd name="connsiteX44" fmla="*/ 10048352 w 11867103"/>
              <a:gd name="connsiteY44" fmla="*/ 2856066 h 2956895"/>
              <a:gd name="connsiteX45" fmla="*/ 9555982 w 11867103"/>
              <a:gd name="connsiteY45" fmla="*/ 2846018 h 2956895"/>
              <a:gd name="connsiteX46" fmla="*/ 9445451 w 11867103"/>
              <a:gd name="connsiteY46" fmla="*/ 2835970 h 2956895"/>
              <a:gd name="connsiteX47" fmla="*/ 9415306 w 11867103"/>
              <a:gd name="connsiteY47" fmla="*/ 2815873 h 2956895"/>
              <a:gd name="connsiteX48" fmla="*/ 9204290 w 11867103"/>
              <a:gd name="connsiteY48" fmla="*/ 2795776 h 2956895"/>
              <a:gd name="connsiteX49" fmla="*/ 9073662 w 11867103"/>
              <a:gd name="connsiteY49" fmla="*/ 2775679 h 2956895"/>
              <a:gd name="connsiteX50" fmla="*/ 8812404 w 11867103"/>
              <a:gd name="connsiteY50" fmla="*/ 2765631 h 2956895"/>
              <a:gd name="connsiteX51" fmla="*/ 8400422 w 11867103"/>
              <a:gd name="connsiteY51" fmla="*/ 2755583 h 2956895"/>
              <a:gd name="connsiteX52" fmla="*/ 8269793 w 11867103"/>
              <a:gd name="connsiteY52" fmla="*/ 2745534 h 2956895"/>
              <a:gd name="connsiteX53" fmla="*/ 7797521 w 11867103"/>
              <a:gd name="connsiteY53" fmla="*/ 2765631 h 2956895"/>
              <a:gd name="connsiteX54" fmla="*/ 7717134 w 11867103"/>
              <a:gd name="connsiteY54" fmla="*/ 2775679 h 2956895"/>
              <a:gd name="connsiteX55" fmla="*/ 7486022 w 11867103"/>
              <a:gd name="connsiteY55" fmla="*/ 2805825 h 2956895"/>
              <a:gd name="connsiteX56" fmla="*/ 7395587 w 11867103"/>
              <a:gd name="connsiteY56" fmla="*/ 2825921 h 2956895"/>
              <a:gd name="connsiteX57" fmla="*/ 7325248 w 11867103"/>
              <a:gd name="connsiteY57" fmla="*/ 2835970 h 2956895"/>
              <a:gd name="connsiteX58" fmla="*/ 6863024 w 11867103"/>
              <a:gd name="connsiteY58" fmla="*/ 2825921 h 2956895"/>
              <a:gd name="connsiteX59" fmla="*/ 6722347 w 11867103"/>
              <a:gd name="connsiteY59" fmla="*/ 2815873 h 2956895"/>
              <a:gd name="connsiteX60" fmla="*/ 4903596 w 11867103"/>
              <a:gd name="connsiteY60" fmla="*/ 2866115 h 2956895"/>
              <a:gd name="connsiteX61" fmla="*/ 4722725 w 11867103"/>
              <a:gd name="connsiteY61" fmla="*/ 2906308 h 2956895"/>
              <a:gd name="connsiteX62" fmla="*/ 4300695 w 11867103"/>
              <a:gd name="connsiteY62" fmla="*/ 2886211 h 2956895"/>
              <a:gd name="connsiteX63" fmla="*/ 4059534 w 11867103"/>
              <a:gd name="connsiteY63" fmla="*/ 2846018 h 2956895"/>
              <a:gd name="connsiteX64" fmla="*/ 3768132 w 11867103"/>
              <a:gd name="connsiteY64" fmla="*/ 2815873 h 2956895"/>
              <a:gd name="connsiteX65" fmla="*/ 3627455 w 11867103"/>
              <a:gd name="connsiteY65" fmla="*/ 2805825 h 2956895"/>
              <a:gd name="connsiteX66" fmla="*/ 3125037 w 11867103"/>
              <a:gd name="connsiteY66" fmla="*/ 2815873 h 2956895"/>
              <a:gd name="connsiteX67" fmla="*/ 3064747 w 11867103"/>
              <a:gd name="connsiteY67" fmla="*/ 2825921 h 2956895"/>
              <a:gd name="connsiteX68" fmla="*/ 2009670 w 11867103"/>
              <a:gd name="connsiteY68" fmla="*/ 2835970 h 2956895"/>
              <a:gd name="connsiteX69" fmla="*/ 1678075 w 11867103"/>
              <a:gd name="connsiteY69" fmla="*/ 2926405 h 2956895"/>
              <a:gd name="connsiteX70" fmla="*/ 1607736 w 11867103"/>
              <a:gd name="connsiteY70" fmla="*/ 2956550 h 2956895"/>
              <a:gd name="connsiteX71" fmla="*/ 1135464 w 11867103"/>
              <a:gd name="connsiteY71" fmla="*/ 2936453 h 2956895"/>
              <a:gd name="connsiteX72" fmla="*/ 944545 w 11867103"/>
              <a:gd name="connsiteY72" fmla="*/ 2906308 h 2956895"/>
              <a:gd name="connsiteX73" fmla="*/ 723481 w 11867103"/>
              <a:gd name="connsiteY73" fmla="*/ 2866115 h 2956895"/>
              <a:gd name="connsiteX74" fmla="*/ 643095 w 11867103"/>
              <a:gd name="connsiteY74" fmla="*/ 2856066 h 2956895"/>
              <a:gd name="connsiteX75" fmla="*/ 371789 w 11867103"/>
              <a:gd name="connsiteY75" fmla="*/ 2815873 h 2956895"/>
              <a:gd name="connsiteX76" fmla="*/ 0 w 11867103"/>
              <a:gd name="connsiteY76" fmla="*/ 2805825 h 2956895"/>
              <a:gd name="connsiteX0" fmla="*/ 120580 w 11867103"/>
              <a:gd name="connsiteY0" fmla="*/ 42528 h 2956895"/>
              <a:gd name="connsiteX1" fmla="*/ 281354 w 11867103"/>
              <a:gd name="connsiteY1" fmla="*/ 32479 h 2956895"/>
              <a:gd name="connsiteX2" fmla="*/ 673240 w 11867103"/>
              <a:gd name="connsiteY2" fmla="*/ 22431 h 2956895"/>
              <a:gd name="connsiteX3" fmla="*/ 1356528 w 11867103"/>
              <a:gd name="connsiteY3" fmla="*/ 72673 h 2956895"/>
              <a:gd name="connsiteX4" fmla="*/ 1758462 w 11867103"/>
              <a:gd name="connsiteY4" fmla="*/ 32479 h 2956895"/>
              <a:gd name="connsiteX5" fmla="*/ 2140299 w 11867103"/>
              <a:gd name="connsiteY5" fmla="*/ 32479 h 2956895"/>
              <a:gd name="connsiteX6" fmla="*/ 4652387 w 11867103"/>
              <a:gd name="connsiteY6" fmla="*/ 52576 h 2956895"/>
              <a:gd name="connsiteX7" fmla="*/ 4692580 w 11867103"/>
              <a:gd name="connsiteY7" fmla="*/ 62625 h 2956895"/>
              <a:gd name="connsiteX8" fmla="*/ 6420897 w 11867103"/>
              <a:gd name="connsiteY8" fmla="*/ 82721 h 2956895"/>
              <a:gd name="connsiteX9" fmla="*/ 7204668 w 11867103"/>
              <a:gd name="connsiteY9" fmla="*/ 2334 h 2956895"/>
              <a:gd name="connsiteX10" fmla="*/ 7285055 w 11867103"/>
              <a:gd name="connsiteY10" fmla="*/ 22431 h 2956895"/>
              <a:gd name="connsiteX11" fmla="*/ 7375490 w 11867103"/>
              <a:gd name="connsiteY11" fmla="*/ 32479 h 2956895"/>
              <a:gd name="connsiteX12" fmla="*/ 7928150 w 11867103"/>
              <a:gd name="connsiteY12" fmla="*/ 52576 h 2956895"/>
              <a:gd name="connsiteX13" fmla="*/ 8109020 w 11867103"/>
              <a:gd name="connsiteY13" fmla="*/ 72673 h 2956895"/>
              <a:gd name="connsiteX14" fmla="*/ 8219552 w 11867103"/>
              <a:gd name="connsiteY14" fmla="*/ 82721 h 2956895"/>
              <a:gd name="connsiteX15" fmla="*/ 8299939 w 11867103"/>
              <a:gd name="connsiteY15" fmla="*/ 92770 h 2956895"/>
              <a:gd name="connsiteX16" fmla="*/ 8521002 w 11867103"/>
              <a:gd name="connsiteY16" fmla="*/ 102818 h 2956895"/>
              <a:gd name="connsiteX17" fmla="*/ 9515789 w 11867103"/>
              <a:gd name="connsiteY17" fmla="*/ 92770 h 2956895"/>
              <a:gd name="connsiteX18" fmla="*/ 9606224 w 11867103"/>
              <a:gd name="connsiteY18" fmla="*/ 82721 h 2956895"/>
              <a:gd name="connsiteX19" fmla="*/ 9716756 w 11867103"/>
              <a:gd name="connsiteY19" fmla="*/ 72673 h 2956895"/>
              <a:gd name="connsiteX20" fmla="*/ 9797143 w 11867103"/>
              <a:gd name="connsiteY20" fmla="*/ 62625 h 2956895"/>
              <a:gd name="connsiteX21" fmla="*/ 9947868 w 11867103"/>
              <a:gd name="connsiteY21" fmla="*/ 52576 h 2956895"/>
              <a:gd name="connsiteX22" fmla="*/ 10791930 w 11867103"/>
              <a:gd name="connsiteY22" fmla="*/ 22431 h 2956895"/>
              <a:gd name="connsiteX23" fmla="*/ 11736475 w 11867103"/>
              <a:gd name="connsiteY23" fmla="*/ 42528 h 2956895"/>
              <a:gd name="connsiteX24" fmla="*/ 11766620 w 11867103"/>
              <a:gd name="connsiteY24" fmla="*/ 72673 h 2956895"/>
              <a:gd name="connsiteX25" fmla="*/ 11786717 w 11867103"/>
              <a:gd name="connsiteY25" fmla="*/ 112866 h 2956895"/>
              <a:gd name="connsiteX26" fmla="*/ 11806813 w 11867103"/>
              <a:gd name="connsiteY26" fmla="*/ 203301 h 2956895"/>
              <a:gd name="connsiteX27" fmla="*/ 11816862 w 11867103"/>
              <a:gd name="connsiteY27" fmla="*/ 243495 h 2956895"/>
              <a:gd name="connsiteX28" fmla="*/ 11826910 w 11867103"/>
              <a:gd name="connsiteY28" fmla="*/ 333930 h 2956895"/>
              <a:gd name="connsiteX29" fmla="*/ 11836958 w 11867103"/>
              <a:gd name="connsiteY29" fmla="*/ 414317 h 2956895"/>
              <a:gd name="connsiteX30" fmla="*/ 11826910 w 11867103"/>
              <a:gd name="connsiteY30" fmla="*/ 725816 h 2956895"/>
              <a:gd name="connsiteX31" fmla="*/ 11816862 w 11867103"/>
              <a:gd name="connsiteY31" fmla="*/ 786106 h 2956895"/>
              <a:gd name="connsiteX32" fmla="*/ 11806813 w 11867103"/>
              <a:gd name="connsiteY32" fmla="*/ 856444 h 2956895"/>
              <a:gd name="connsiteX33" fmla="*/ 11816862 w 11867103"/>
              <a:gd name="connsiteY33" fmla="*/ 2323504 h 2956895"/>
              <a:gd name="connsiteX34" fmla="*/ 11826910 w 11867103"/>
              <a:gd name="connsiteY34" fmla="*/ 2393842 h 2956895"/>
              <a:gd name="connsiteX35" fmla="*/ 11836958 w 11867103"/>
              <a:gd name="connsiteY35" fmla="*/ 2423987 h 2956895"/>
              <a:gd name="connsiteX36" fmla="*/ 11857055 w 11867103"/>
              <a:gd name="connsiteY36" fmla="*/ 2554616 h 2956895"/>
              <a:gd name="connsiteX37" fmla="*/ 11867103 w 11867103"/>
              <a:gd name="connsiteY37" fmla="*/ 2594809 h 2956895"/>
              <a:gd name="connsiteX38" fmla="*/ 11857055 w 11867103"/>
              <a:gd name="connsiteY38" fmla="*/ 2825921 h 2956895"/>
              <a:gd name="connsiteX39" fmla="*/ 11836958 w 11867103"/>
              <a:gd name="connsiteY39" fmla="*/ 2856066 h 2956895"/>
              <a:gd name="connsiteX40" fmla="*/ 11033090 w 11867103"/>
              <a:gd name="connsiteY40" fmla="*/ 2846018 h 2956895"/>
              <a:gd name="connsiteX41" fmla="*/ 10621108 w 11867103"/>
              <a:gd name="connsiteY41" fmla="*/ 2835970 h 2956895"/>
              <a:gd name="connsiteX42" fmla="*/ 10128739 w 11867103"/>
              <a:gd name="connsiteY42" fmla="*/ 2846018 h 2956895"/>
              <a:gd name="connsiteX43" fmla="*/ 10048352 w 11867103"/>
              <a:gd name="connsiteY43" fmla="*/ 2856066 h 2956895"/>
              <a:gd name="connsiteX44" fmla="*/ 9555982 w 11867103"/>
              <a:gd name="connsiteY44" fmla="*/ 2846018 h 2956895"/>
              <a:gd name="connsiteX45" fmla="*/ 9445451 w 11867103"/>
              <a:gd name="connsiteY45" fmla="*/ 2835970 h 2956895"/>
              <a:gd name="connsiteX46" fmla="*/ 9415306 w 11867103"/>
              <a:gd name="connsiteY46" fmla="*/ 2815873 h 2956895"/>
              <a:gd name="connsiteX47" fmla="*/ 9204290 w 11867103"/>
              <a:gd name="connsiteY47" fmla="*/ 2795776 h 2956895"/>
              <a:gd name="connsiteX48" fmla="*/ 9073662 w 11867103"/>
              <a:gd name="connsiteY48" fmla="*/ 2775679 h 2956895"/>
              <a:gd name="connsiteX49" fmla="*/ 8812404 w 11867103"/>
              <a:gd name="connsiteY49" fmla="*/ 2765631 h 2956895"/>
              <a:gd name="connsiteX50" fmla="*/ 8400422 w 11867103"/>
              <a:gd name="connsiteY50" fmla="*/ 2755583 h 2956895"/>
              <a:gd name="connsiteX51" fmla="*/ 8269793 w 11867103"/>
              <a:gd name="connsiteY51" fmla="*/ 2745534 h 2956895"/>
              <a:gd name="connsiteX52" fmla="*/ 7797521 w 11867103"/>
              <a:gd name="connsiteY52" fmla="*/ 2765631 h 2956895"/>
              <a:gd name="connsiteX53" fmla="*/ 7717134 w 11867103"/>
              <a:gd name="connsiteY53" fmla="*/ 2775679 h 2956895"/>
              <a:gd name="connsiteX54" fmla="*/ 7486022 w 11867103"/>
              <a:gd name="connsiteY54" fmla="*/ 2805825 h 2956895"/>
              <a:gd name="connsiteX55" fmla="*/ 7395587 w 11867103"/>
              <a:gd name="connsiteY55" fmla="*/ 2825921 h 2956895"/>
              <a:gd name="connsiteX56" fmla="*/ 7325248 w 11867103"/>
              <a:gd name="connsiteY56" fmla="*/ 2835970 h 2956895"/>
              <a:gd name="connsiteX57" fmla="*/ 6863024 w 11867103"/>
              <a:gd name="connsiteY57" fmla="*/ 2825921 h 2956895"/>
              <a:gd name="connsiteX58" fmla="*/ 6722347 w 11867103"/>
              <a:gd name="connsiteY58" fmla="*/ 2815873 h 2956895"/>
              <a:gd name="connsiteX59" fmla="*/ 4903596 w 11867103"/>
              <a:gd name="connsiteY59" fmla="*/ 2866115 h 2956895"/>
              <a:gd name="connsiteX60" fmla="*/ 4722725 w 11867103"/>
              <a:gd name="connsiteY60" fmla="*/ 2906308 h 2956895"/>
              <a:gd name="connsiteX61" fmla="*/ 4300695 w 11867103"/>
              <a:gd name="connsiteY61" fmla="*/ 2886211 h 2956895"/>
              <a:gd name="connsiteX62" fmla="*/ 4059534 w 11867103"/>
              <a:gd name="connsiteY62" fmla="*/ 2846018 h 2956895"/>
              <a:gd name="connsiteX63" fmla="*/ 3768132 w 11867103"/>
              <a:gd name="connsiteY63" fmla="*/ 2815873 h 2956895"/>
              <a:gd name="connsiteX64" fmla="*/ 3627455 w 11867103"/>
              <a:gd name="connsiteY64" fmla="*/ 2805825 h 2956895"/>
              <a:gd name="connsiteX65" fmla="*/ 3125037 w 11867103"/>
              <a:gd name="connsiteY65" fmla="*/ 2815873 h 2956895"/>
              <a:gd name="connsiteX66" fmla="*/ 3064747 w 11867103"/>
              <a:gd name="connsiteY66" fmla="*/ 2825921 h 2956895"/>
              <a:gd name="connsiteX67" fmla="*/ 2009670 w 11867103"/>
              <a:gd name="connsiteY67" fmla="*/ 2835970 h 2956895"/>
              <a:gd name="connsiteX68" fmla="*/ 1678075 w 11867103"/>
              <a:gd name="connsiteY68" fmla="*/ 2926405 h 2956895"/>
              <a:gd name="connsiteX69" fmla="*/ 1607736 w 11867103"/>
              <a:gd name="connsiteY69" fmla="*/ 2956550 h 2956895"/>
              <a:gd name="connsiteX70" fmla="*/ 1135464 w 11867103"/>
              <a:gd name="connsiteY70" fmla="*/ 2936453 h 2956895"/>
              <a:gd name="connsiteX71" fmla="*/ 944545 w 11867103"/>
              <a:gd name="connsiteY71" fmla="*/ 2906308 h 2956895"/>
              <a:gd name="connsiteX72" fmla="*/ 723481 w 11867103"/>
              <a:gd name="connsiteY72" fmla="*/ 2866115 h 2956895"/>
              <a:gd name="connsiteX73" fmla="*/ 643095 w 11867103"/>
              <a:gd name="connsiteY73" fmla="*/ 2856066 h 2956895"/>
              <a:gd name="connsiteX74" fmla="*/ 371789 w 11867103"/>
              <a:gd name="connsiteY74" fmla="*/ 2815873 h 2956895"/>
              <a:gd name="connsiteX75" fmla="*/ 0 w 11867103"/>
              <a:gd name="connsiteY75" fmla="*/ 2805825 h 2956895"/>
              <a:gd name="connsiteX0" fmla="*/ 120580 w 11867103"/>
              <a:gd name="connsiteY0" fmla="*/ 42790 h 2957157"/>
              <a:gd name="connsiteX1" fmla="*/ 281354 w 11867103"/>
              <a:gd name="connsiteY1" fmla="*/ 32741 h 2957157"/>
              <a:gd name="connsiteX2" fmla="*/ 673240 w 11867103"/>
              <a:gd name="connsiteY2" fmla="*/ 22693 h 2957157"/>
              <a:gd name="connsiteX3" fmla="*/ 1356528 w 11867103"/>
              <a:gd name="connsiteY3" fmla="*/ 72935 h 2957157"/>
              <a:gd name="connsiteX4" fmla="*/ 1758462 w 11867103"/>
              <a:gd name="connsiteY4" fmla="*/ 32741 h 2957157"/>
              <a:gd name="connsiteX5" fmla="*/ 2140299 w 11867103"/>
              <a:gd name="connsiteY5" fmla="*/ 32741 h 2957157"/>
              <a:gd name="connsiteX6" fmla="*/ 4652387 w 11867103"/>
              <a:gd name="connsiteY6" fmla="*/ 52838 h 2957157"/>
              <a:gd name="connsiteX7" fmla="*/ 4692580 w 11867103"/>
              <a:gd name="connsiteY7" fmla="*/ 62887 h 2957157"/>
              <a:gd name="connsiteX8" fmla="*/ 6420897 w 11867103"/>
              <a:gd name="connsiteY8" fmla="*/ 82983 h 2957157"/>
              <a:gd name="connsiteX9" fmla="*/ 7204668 w 11867103"/>
              <a:gd name="connsiteY9" fmla="*/ 2596 h 2957157"/>
              <a:gd name="connsiteX10" fmla="*/ 7285055 w 11867103"/>
              <a:gd name="connsiteY10" fmla="*/ 22693 h 2957157"/>
              <a:gd name="connsiteX11" fmla="*/ 7928150 w 11867103"/>
              <a:gd name="connsiteY11" fmla="*/ 52838 h 2957157"/>
              <a:gd name="connsiteX12" fmla="*/ 8109020 w 11867103"/>
              <a:gd name="connsiteY12" fmla="*/ 72935 h 2957157"/>
              <a:gd name="connsiteX13" fmla="*/ 8219552 w 11867103"/>
              <a:gd name="connsiteY13" fmla="*/ 82983 h 2957157"/>
              <a:gd name="connsiteX14" fmla="*/ 8299939 w 11867103"/>
              <a:gd name="connsiteY14" fmla="*/ 93032 h 2957157"/>
              <a:gd name="connsiteX15" fmla="*/ 8521002 w 11867103"/>
              <a:gd name="connsiteY15" fmla="*/ 103080 h 2957157"/>
              <a:gd name="connsiteX16" fmla="*/ 9515789 w 11867103"/>
              <a:gd name="connsiteY16" fmla="*/ 93032 h 2957157"/>
              <a:gd name="connsiteX17" fmla="*/ 9606224 w 11867103"/>
              <a:gd name="connsiteY17" fmla="*/ 82983 h 2957157"/>
              <a:gd name="connsiteX18" fmla="*/ 9716756 w 11867103"/>
              <a:gd name="connsiteY18" fmla="*/ 72935 h 2957157"/>
              <a:gd name="connsiteX19" fmla="*/ 9797143 w 11867103"/>
              <a:gd name="connsiteY19" fmla="*/ 62887 h 2957157"/>
              <a:gd name="connsiteX20" fmla="*/ 9947868 w 11867103"/>
              <a:gd name="connsiteY20" fmla="*/ 52838 h 2957157"/>
              <a:gd name="connsiteX21" fmla="*/ 10791930 w 11867103"/>
              <a:gd name="connsiteY21" fmla="*/ 22693 h 2957157"/>
              <a:gd name="connsiteX22" fmla="*/ 11736475 w 11867103"/>
              <a:gd name="connsiteY22" fmla="*/ 42790 h 2957157"/>
              <a:gd name="connsiteX23" fmla="*/ 11766620 w 11867103"/>
              <a:gd name="connsiteY23" fmla="*/ 72935 h 2957157"/>
              <a:gd name="connsiteX24" fmla="*/ 11786717 w 11867103"/>
              <a:gd name="connsiteY24" fmla="*/ 113128 h 2957157"/>
              <a:gd name="connsiteX25" fmla="*/ 11806813 w 11867103"/>
              <a:gd name="connsiteY25" fmla="*/ 203563 h 2957157"/>
              <a:gd name="connsiteX26" fmla="*/ 11816862 w 11867103"/>
              <a:gd name="connsiteY26" fmla="*/ 243757 h 2957157"/>
              <a:gd name="connsiteX27" fmla="*/ 11826910 w 11867103"/>
              <a:gd name="connsiteY27" fmla="*/ 334192 h 2957157"/>
              <a:gd name="connsiteX28" fmla="*/ 11836958 w 11867103"/>
              <a:gd name="connsiteY28" fmla="*/ 414579 h 2957157"/>
              <a:gd name="connsiteX29" fmla="*/ 11826910 w 11867103"/>
              <a:gd name="connsiteY29" fmla="*/ 726078 h 2957157"/>
              <a:gd name="connsiteX30" fmla="*/ 11816862 w 11867103"/>
              <a:gd name="connsiteY30" fmla="*/ 786368 h 2957157"/>
              <a:gd name="connsiteX31" fmla="*/ 11806813 w 11867103"/>
              <a:gd name="connsiteY31" fmla="*/ 856706 h 2957157"/>
              <a:gd name="connsiteX32" fmla="*/ 11816862 w 11867103"/>
              <a:gd name="connsiteY32" fmla="*/ 2323766 h 2957157"/>
              <a:gd name="connsiteX33" fmla="*/ 11826910 w 11867103"/>
              <a:gd name="connsiteY33" fmla="*/ 2394104 h 2957157"/>
              <a:gd name="connsiteX34" fmla="*/ 11836958 w 11867103"/>
              <a:gd name="connsiteY34" fmla="*/ 2424249 h 2957157"/>
              <a:gd name="connsiteX35" fmla="*/ 11857055 w 11867103"/>
              <a:gd name="connsiteY35" fmla="*/ 2554878 h 2957157"/>
              <a:gd name="connsiteX36" fmla="*/ 11867103 w 11867103"/>
              <a:gd name="connsiteY36" fmla="*/ 2595071 h 2957157"/>
              <a:gd name="connsiteX37" fmla="*/ 11857055 w 11867103"/>
              <a:gd name="connsiteY37" fmla="*/ 2826183 h 2957157"/>
              <a:gd name="connsiteX38" fmla="*/ 11836958 w 11867103"/>
              <a:gd name="connsiteY38" fmla="*/ 2856328 h 2957157"/>
              <a:gd name="connsiteX39" fmla="*/ 11033090 w 11867103"/>
              <a:gd name="connsiteY39" fmla="*/ 2846280 h 2957157"/>
              <a:gd name="connsiteX40" fmla="*/ 10621108 w 11867103"/>
              <a:gd name="connsiteY40" fmla="*/ 2836232 h 2957157"/>
              <a:gd name="connsiteX41" fmla="*/ 10128739 w 11867103"/>
              <a:gd name="connsiteY41" fmla="*/ 2846280 h 2957157"/>
              <a:gd name="connsiteX42" fmla="*/ 10048352 w 11867103"/>
              <a:gd name="connsiteY42" fmla="*/ 2856328 h 2957157"/>
              <a:gd name="connsiteX43" fmla="*/ 9555982 w 11867103"/>
              <a:gd name="connsiteY43" fmla="*/ 2846280 h 2957157"/>
              <a:gd name="connsiteX44" fmla="*/ 9445451 w 11867103"/>
              <a:gd name="connsiteY44" fmla="*/ 2836232 h 2957157"/>
              <a:gd name="connsiteX45" fmla="*/ 9415306 w 11867103"/>
              <a:gd name="connsiteY45" fmla="*/ 2816135 h 2957157"/>
              <a:gd name="connsiteX46" fmla="*/ 9204290 w 11867103"/>
              <a:gd name="connsiteY46" fmla="*/ 2796038 h 2957157"/>
              <a:gd name="connsiteX47" fmla="*/ 9073662 w 11867103"/>
              <a:gd name="connsiteY47" fmla="*/ 2775941 h 2957157"/>
              <a:gd name="connsiteX48" fmla="*/ 8812404 w 11867103"/>
              <a:gd name="connsiteY48" fmla="*/ 2765893 h 2957157"/>
              <a:gd name="connsiteX49" fmla="*/ 8400422 w 11867103"/>
              <a:gd name="connsiteY49" fmla="*/ 2755845 h 2957157"/>
              <a:gd name="connsiteX50" fmla="*/ 8269793 w 11867103"/>
              <a:gd name="connsiteY50" fmla="*/ 2745796 h 2957157"/>
              <a:gd name="connsiteX51" fmla="*/ 7797521 w 11867103"/>
              <a:gd name="connsiteY51" fmla="*/ 2765893 h 2957157"/>
              <a:gd name="connsiteX52" fmla="*/ 7717134 w 11867103"/>
              <a:gd name="connsiteY52" fmla="*/ 2775941 h 2957157"/>
              <a:gd name="connsiteX53" fmla="*/ 7486022 w 11867103"/>
              <a:gd name="connsiteY53" fmla="*/ 2806087 h 2957157"/>
              <a:gd name="connsiteX54" fmla="*/ 7395587 w 11867103"/>
              <a:gd name="connsiteY54" fmla="*/ 2826183 h 2957157"/>
              <a:gd name="connsiteX55" fmla="*/ 7325248 w 11867103"/>
              <a:gd name="connsiteY55" fmla="*/ 2836232 h 2957157"/>
              <a:gd name="connsiteX56" fmla="*/ 6863024 w 11867103"/>
              <a:gd name="connsiteY56" fmla="*/ 2826183 h 2957157"/>
              <a:gd name="connsiteX57" fmla="*/ 6722347 w 11867103"/>
              <a:gd name="connsiteY57" fmla="*/ 2816135 h 2957157"/>
              <a:gd name="connsiteX58" fmla="*/ 4903596 w 11867103"/>
              <a:gd name="connsiteY58" fmla="*/ 2866377 h 2957157"/>
              <a:gd name="connsiteX59" fmla="*/ 4722725 w 11867103"/>
              <a:gd name="connsiteY59" fmla="*/ 2906570 h 2957157"/>
              <a:gd name="connsiteX60" fmla="*/ 4300695 w 11867103"/>
              <a:gd name="connsiteY60" fmla="*/ 2886473 h 2957157"/>
              <a:gd name="connsiteX61" fmla="*/ 4059534 w 11867103"/>
              <a:gd name="connsiteY61" fmla="*/ 2846280 h 2957157"/>
              <a:gd name="connsiteX62" fmla="*/ 3768132 w 11867103"/>
              <a:gd name="connsiteY62" fmla="*/ 2816135 h 2957157"/>
              <a:gd name="connsiteX63" fmla="*/ 3627455 w 11867103"/>
              <a:gd name="connsiteY63" fmla="*/ 2806087 h 2957157"/>
              <a:gd name="connsiteX64" fmla="*/ 3125037 w 11867103"/>
              <a:gd name="connsiteY64" fmla="*/ 2816135 h 2957157"/>
              <a:gd name="connsiteX65" fmla="*/ 3064747 w 11867103"/>
              <a:gd name="connsiteY65" fmla="*/ 2826183 h 2957157"/>
              <a:gd name="connsiteX66" fmla="*/ 2009670 w 11867103"/>
              <a:gd name="connsiteY66" fmla="*/ 2836232 h 2957157"/>
              <a:gd name="connsiteX67" fmla="*/ 1678075 w 11867103"/>
              <a:gd name="connsiteY67" fmla="*/ 2926667 h 2957157"/>
              <a:gd name="connsiteX68" fmla="*/ 1607736 w 11867103"/>
              <a:gd name="connsiteY68" fmla="*/ 2956812 h 2957157"/>
              <a:gd name="connsiteX69" fmla="*/ 1135464 w 11867103"/>
              <a:gd name="connsiteY69" fmla="*/ 2936715 h 2957157"/>
              <a:gd name="connsiteX70" fmla="*/ 944545 w 11867103"/>
              <a:gd name="connsiteY70" fmla="*/ 2906570 h 2957157"/>
              <a:gd name="connsiteX71" fmla="*/ 723481 w 11867103"/>
              <a:gd name="connsiteY71" fmla="*/ 2866377 h 2957157"/>
              <a:gd name="connsiteX72" fmla="*/ 643095 w 11867103"/>
              <a:gd name="connsiteY72" fmla="*/ 2856328 h 2957157"/>
              <a:gd name="connsiteX73" fmla="*/ 371789 w 11867103"/>
              <a:gd name="connsiteY73" fmla="*/ 2816135 h 2957157"/>
              <a:gd name="connsiteX74" fmla="*/ 0 w 11867103"/>
              <a:gd name="connsiteY74" fmla="*/ 2806087 h 2957157"/>
              <a:gd name="connsiteX0" fmla="*/ 120580 w 11867103"/>
              <a:gd name="connsiteY0" fmla="*/ 40596 h 2954963"/>
              <a:gd name="connsiteX1" fmla="*/ 281354 w 11867103"/>
              <a:gd name="connsiteY1" fmla="*/ 30547 h 2954963"/>
              <a:gd name="connsiteX2" fmla="*/ 673240 w 11867103"/>
              <a:gd name="connsiteY2" fmla="*/ 20499 h 2954963"/>
              <a:gd name="connsiteX3" fmla="*/ 1356528 w 11867103"/>
              <a:gd name="connsiteY3" fmla="*/ 70741 h 2954963"/>
              <a:gd name="connsiteX4" fmla="*/ 1758462 w 11867103"/>
              <a:gd name="connsiteY4" fmla="*/ 30547 h 2954963"/>
              <a:gd name="connsiteX5" fmla="*/ 2140299 w 11867103"/>
              <a:gd name="connsiteY5" fmla="*/ 30547 h 2954963"/>
              <a:gd name="connsiteX6" fmla="*/ 4652387 w 11867103"/>
              <a:gd name="connsiteY6" fmla="*/ 50644 h 2954963"/>
              <a:gd name="connsiteX7" fmla="*/ 4692580 w 11867103"/>
              <a:gd name="connsiteY7" fmla="*/ 60693 h 2954963"/>
              <a:gd name="connsiteX8" fmla="*/ 6420897 w 11867103"/>
              <a:gd name="connsiteY8" fmla="*/ 80789 h 2954963"/>
              <a:gd name="connsiteX9" fmla="*/ 7204668 w 11867103"/>
              <a:gd name="connsiteY9" fmla="*/ 402 h 2954963"/>
              <a:gd name="connsiteX10" fmla="*/ 7928150 w 11867103"/>
              <a:gd name="connsiteY10" fmla="*/ 50644 h 2954963"/>
              <a:gd name="connsiteX11" fmla="*/ 8109020 w 11867103"/>
              <a:gd name="connsiteY11" fmla="*/ 70741 h 2954963"/>
              <a:gd name="connsiteX12" fmla="*/ 8219552 w 11867103"/>
              <a:gd name="connsiteY12" fmla="*/ 80789 h 2954963"/>
              <a:gd name="connsiteX13" fmla="*/ 8299939 w 11867103"/>
              <a:gd name="connsiteY13" fmla="*/ 90838 h 2954963"/>
              <a:gd name="connsiteX14" fmla="*/ 8521002 w 11867103"/>
              <a:gd name="connsiteY14" fmla="*/ 100886 h 2954963"/>
              <a:gd name="connsiteX15" fmla="*/ 9515789 w 11867103"/>
              <a:gd name="connsiteY15" fmla="*/ 90838 h 2954963"/>
              <a:gd name="connsiteX16" fmla="*/ 9606224 w 11867103"/>
              <a:gd name="connsiteY16" fmla="*/ 80789 h 2954963"/>
              <a:gd name="connsiteX17" fmla="*/ 9716756 w 11867103"/>
              <a:gd name="connsiteY17" fmla="*/ 70741 h 2954963"/>
              <a:gd name="connsiteX18" fmla="*/ 9797143 w 11867103"/>
              <a:gd name="connsiteY18" fmla="*/ 60693 h 2954963"/>
              <a:gd name="connsiteX19" fmla="*/ 9947868 w 11867103"/>
              <a:gd name="connsiteY19" fmla="*/ 50644 h 2954963"/>
              <a:gd name="connsiteX20" fmla="*/ 10791930 w 11867103"/>
              <a:gd name="connsiteY20" fmla="*/ 20499 h 2954963"/>
              <a:gd name="connsiteX21" fmla="*/ 11736475 w 11867103"/>
              <a:gd name="connsiteY21" fmla="*/ 40596 h 2954963"/>
              <a:gd name="connsiteX22" fmla="*/ 11766620 w 11867103"/>
              <a:gd name="connsiteY22" fmla="*/ 70741 h 2954963"/>
              <a:gd name="connsiteX23" fmla="*/ 11786717 w 11867103"/>
              <a:gd name="connsiteY23" fmla="*/ 110934 h 2954963"/>
              <a:gd name="connsiteX24" fmla="*/ 11806813 w 11867103"/>
              <a:gd name="connsiteY24" fmla="*/ 201369 h 2954963"/>
              <a:gd name="connsiteX25" fmla="*/ 11816862 w 11867103"/>
              <a:gd name="connsiteY25" fmla="*/ 241563 h 2954963"/>
              <a:gd name="connsiteX26" fmla="*/ 11826910 w 11867103"/>
              <a:gd name="connsiteY26" fmla="*/ 331998 h 2954963"/>
              <a:gd name="connsiteX27" fmla="*/ 11836958 w 11867103"/>
              <a:gd name="connsiteY27" fmla="*/ 412385 h 2954963"/>
              <a:gd name="connsiteX28" fmla="*/ 11826910 w 11867103"/>
              <a:gd name="connsiteY28" fmla="*/ 723884 h 2954963"/>
              <a:gd name="connsiteX29" fmla="*/ 11816862 w 11867103"/>
              <a:gd name="connsiteY29" fmla="*/ 784174 h 2954963"/>
              <a:gd name="connsiteX30" fmla="*/ 11806813 w 11867103"/>
              <a:gd name="connsiteY30" fmla="*/ 854512 h 2954963"/>
              <a:gd name="connsiteX31" fmla="*/ 11816862 w 11867103"/>
              <a:gd name="connsiteY31" fmla="*/ 2321572 h 2954963"/>
              <a:gd name="connsiteX32" fmla="*/ 11826910 w 11867103"/>
              <a:gd name="connsiteY32" fmla="*/ 2391910 h 2954963"/>
              <a:gd name="connsiteX33" fmla="*/ 11836958 w 11867103"/>
              <a:gd name="connsiteY33" fmla="*/ 2422055 h 2954963"/>
              <a:gd name="connsiteX34" fmla="*/ 11857055 w 11867103"/>
              <a:gd name="connsiteY34" fmla="*/ 2552684 h 2954963"/>
              <a:gd name="connsiteX35" fmla="*/ 11867103 w 11867103"/>
              <a:gd name="connsiteY35" fmla="*/ 2592877 h 2954963"/>
              <a:gd name="connsiteX36" fmla="*/ 11857055 w 11867103"/>
              <a:gd name="connsiteY36" fmla="*/ 2823989 h 2954963"/>
              <a:gd name="connsiteX37" fmla="*/ 11836958 w 11867103"/>
              <a:gd name="connsiteY37" fmla="*/ 2854134 h 2954963"/>
              <a:gd name="connsiteX38" fmla="*/ 11033090 w 11867103"/>
              <a:gd name="connsiteY38" fmla="*/ 2844086 h 2954963"/>
              <a:gd name="connsiteX39" fmla="*/ 10621108 w 11867103"/>
              <a:gd name="connsiteY39" fmla="*/ 2834038 h 2954963"/>
              <a:gd name="connsiteX40" fmla="*/ 10128739 w 11867103"/>
              <a:gd name="connsiteY40" fmla="*/ 2844086 h 2954963"/>
              <a:gd name="connsiteX41" fmla="*/ 10048352 w 11867103"/>
              <a:gd name="connsiteY41" fmla="*/ 2854134 h 2954963"/>
              <a:gd name="connsiteX42" fmla="*/ 9555982 w 11867103"/>
              <a:gd name="connsiteY42" fmla="*/ 2844086 h 2954963"/>
              <a:gd name="connsiteX43" fmla="*/ 9445451 w 11867103"/>
              <a:gd name="connsiteY43" fmla="*/ 2834038 h 2954963"/>
              <a:gd name="connsiteX44" fmla="*/ 9415306 w 11867103"/>
              <a:gd name="connsiteY44" fmla="*/ 2813941 h 2954963"/>
              <a:gd name="connsiteX45" fmla="*/ 9204290 w 11867103"/>
              <a:gd name="connsiteY45" fmla="*/ 2793844 h 2954963"/>
              <a:gd name="connsiteX46" fmla="*/ 9073662 w 11867103"/>
              <a:gd name="connsiteY46" fmla="*/ 2773747 h 2954963"/>
              <a:gd name="connsiteX47" fmla="*/ 8812404 w 11867103"/>
              <a:gd name="connsiteY47" fmla="*/ 2763699 h 2954963"/>
              <a:gd name="connsiteX48" fmla="*/ 8400422 w 11867103"/>
              <a:gd name="connsiteY48" fmla="*/ 2753651 h 2954963"/>
              <a:gd name="connsiteX49" fmla="*/ 8269793 w 11867103"/>
              <a:gd name="connsiteY49" fmla="*/ 2743602 h 2954963"/>
              <a:gd name="connsiteX50" fmla="*/ 7797521 w 11867103"/>
              <a:gd name="connsiteY50" fmla="*/ 2763699 h 2954963"/>
              <a:gd name="connsiteX51" fmla="*/ 7717134 w 11867103"/>
              <a:gd name="connsiteY51" fmla="*/ 2773747 h 2954963"/>
              <a:gd name="connsiteX52" fmla="*/ 7486022 w 11867103"/>
              <a:gd name="connsiteY52" fmla="*/ 2803893 h 2954963"/>
              <a:gd name="connsiteX53" fmla="*/ 7395587 w 11867103"/>
              <a:gd name="connsiteY53" fmla="*/ 2823989 h 2954963"/>
              <a:gd name="connsiteX54" fmla="*/ 7325248 w 11867103"/>
              <a:gd name="connsiteY54" fmla="*/ 2834038 h 2954963"/>
              <a:gd name="connsiteX55" fmla="*/ 6863024 w 11867103"/>
              <a:gd name="connsiteY55" fmla="*/ 2823989 h 2954963"/>
              <a:gd name="connsiteX56" fmla="*/ 6722347 w 11867103"/>
              <a:gd name="connsiteY56" fmla="*/ 2813941 h 2954963"/>
              <a:gd name="connsiteX57" fmla="*/ 4903596 w 11867103"/>
              <a:gd name="connsiteY57" fmla="*/ 2864183 h 2954963"/>
              <a:gd name="connsiteX58" fmla="*/ 4722725 w 11867103"/>
              <a:gd name="connsiteY58" fmla="*/ 2904376 h 2954963"/>
              <a:gd name="connsiteX59" fmla="*/ 4300695 w 11867103"/>
              <a:gd name="connsiteY59" fmla="*/ 2884279 h 2954963"/>
              <a:gd name="connsiteX60" fmla="*/ 4059534 w 11867103"/>
              <a:gd name="connsiteY60" fmla="*/ 2844086 h 2954963"/>
              <a:gd name="connsiteX61" fmla="*/ 3768132 w 11867103"/>
              <a:gd name="connsiteY61" fmla="*/ 2813941 h 2954963"/>
              <a:gd name="connsiteX62" fmla="*/ 3627455 w 11867103"/>
              <a:gd name="connsiteY62" fmla="*/ 2803893 h 2954963"/>
              <a:gd name="connsiteX63" fmla="*/ 3125037 w 11867103"/>
              <a:gd name="connsiteY63" fmla="*/ 2813941 h 2954963"/>
              <a:gd name="connsiteX64" fmla="*/ 3064747 w 11867103"/>
              <a:gd name="connsiteY64" fmla="*/ 2823989 h 2954963"/>
              <a:gd name="connsiteX65" fmla="*/ 2009670 w 11867103"/>
              <a:gd name="connsiteY65" fmla="*/ 2834038 h 2954963"/>
              <a:gd name="connsiteX66" fmla="*/ 1678075 w 11867103"/>
              <a:gd name="connsiteY66" fmla="*/ 2924473 h 2954963"/>
              <a:gd name="connsiteX67" fmla="*/ 1607736 w 11867103"/>
              <a:gd name="connsiteY67" fmla="*/ 2954618 h 2954963"/>
              <a:gd name="connsiteX68" fmla="*/ 1135464 w 11867103"/>
              <a:gd name="connsiteY68" fmla="*/ 2934521 h 2954963"/>
              <a:gd name="connsiteX69" fmla="*/ 944545 w 11867103"/>
              <a:gd name="connsiteY69" fmla="*/ 2904376 h 2954963"/>
              <a:gd name="connsiteX70" fmla="*/ 723481 w 11867103"/>
              <a:gd name="connsiteY70" fmla="*/ 2864183 h 2954963"/>
              <a:gd name="connsiteX71" fmla="*/ 643095 w 11867103"/>
              <a:gd name="connsiteY71" fmla="*/ 2854134 h 2954963"/>
              <a:gd name="connsiteX72" fmla="*/ 371789 w 11867103"/>
              <a:gd name="connsiteY72" fmla="*/ 2813941 h 2954963"/>
              <a:gd name="connsiteX73" fmla="*/ 0 w 11867103"/>
              <a:gd name="connsiteY73" fmla="*/ 2803893 h 2954963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109020 w 11867103"/>
              <a:gd name="connsiteY11" fmla="*/ 52092 h 2936314"/>
              <a:gd name="connsiteX12" fmla="*/ 8219552 w 11867103"/>
              <a:gd name="connsiteY12" fmla="*/ 62140 h 2936314"/>
              <a:gd name="connsiteX13" fmla="*/ 8299939 w 11867103"/>
              <a:gd name="connsiteY13" fmla="*/ 72189 h 2936314"/>
              <a:gd name="connsiteX14" fmla="*/ 8521002 w 11867103"/>
              <a:gd name="connsiteY14" fmla="*/ 82237 h 2936314"/>
              <a:gd name="connsiteX15" fmla="*/ 9515789 w 11867103"/>
              <a:gd name="connsiteY15" fmla="*/ 72189 h 2936314"/>
              <a:gd name="connsiteX16" fmla="*/ 9606224 w 11867103"/>
              <a:gd name="connsiteY16" fmla="*/ 62140 h 2936314"/>
              <a:gd name="connsiteX17" fmla="*/ 9716756 w 11867103"/>
              <a:gd name="connsiteY17" fmla="*/ 52092 h 2936314"/>
              <a:gd name="connsiteX18" fmla="*/ 9797143 w 11867103"/>
              <a:gd name="connsiteY18" fmla="*/ 42044 h 2936314"/>
              <a:gd name="connsiteX19" fmla="*/ 9947868 w 11867103"/>
              <a:gd name="connsiteY19" fmla="*/ 31995 h 2936314"/>
              <a:gd name="connsiteX20" fmla="*/ 10791930 w 11867103"/>
              <a:gd name="connsiteY20" fmla="*/ 1850 h 2936314"/>
              <a:gd name="connsiteX21" fmla="*/ 11736475 w 11867103"/>
              <a:gd name="connsiteY21" fmla="*/ 21947 h 2936314"/>
              <a:gd name="connsiteX22" fmla="*/ 11766620 w 11867103"/>
              <a:gd name="connsiteY22" fmla="*/ 52092 h 2936314"/>
              <a:gd name="connsiteX23" fmla="*/ 11786717 w 11867103"/>
              <a:gd name="connsiteY23" fmla="*/ 92285 h 2936314"/>
              <a:gd name="connsiteX24" fmla="*/ 11806813 w 11867103"/>
              <a:gd name="connsiteY24" fmla="*/ 182720 h 2936314"/>
              <a:gd name="connsiteX25" fmla="*/ 11816862 w 11867103"/>
              <a:gd name="connsiteY25" fmla="*/ 222914 h 2936314"/>
              <a:gd name="connsiteX26" fmla="*/ 11826910 w 11867103"/>
              <a:gd name="connsiteY26" fmla="*/ 313349 h 2936314"/>
              <a:gd name="connsiteX27" fmla="*/ 11836958 w 11867103"/>
              <a:gd name="connsiteY27" fmla="*/ 393736 h 2936314"/>
              <a:gd name="connsiteX28" fmla="*/ 11826910 w 11867103"/>
              <a:gd name="connsiteY28" fmla="*/ 705235 h 2936314"/>
              <a:gd name="connsiteX29" fmla="*/ 11816862 w 11867103"/>
              <a:gd name="connsiteY29" fmla="*/ 765525 h 2936314"/>
              <a:gd name="connsiteX30" fmla="*/ 11806813 w 11867103"/>
              <a:gd name="connsiteY30" fmla="*/ 835863 h 2936314"/>
              <a:gd name="connsiteX31" fmla="*/ 11816862 w 11867103"/>
              <a:gd name="connsiteY31" fmla="*/ 2302923 h 2936314"/>
              <a:gd name="connsiteX32" fmla="*/ 11826910 w 11867103"/>
              <a:gd name="connsiteY32" fmla="*/ 2373261 h 2936314"/>
              <a:gd name="connsiteX33" fmla="*/ 11836958 w 11867103"/>
              <a:gd name="connsiteY33" fmla="*/ 2403406 h 2936314"/>
              <a:gd name="connsiteX34" fmla="*/ 11857055 w 11867103"/>
              <a:gd name="connsiteY34" fmla="*/ 2534035 h 2936314"/>
              <a:gd name="connsiteX35" fmla="*/ 11867103 w 11867103"/>
              <a:gd name="connsiteY35" fmla="*/ 2574228 h 2936314"/>
              <a:gd name="connsiteX36" fmla="*/ 11857055 w 11867103"/>
              <a:gd name="connsiteY36" fmla="*/ 2805340 h 2936314"/>
              <a:gd name="connsiteX37" fmla="*/ 11836958 w 11867103"/>
              <a:gd name="connsiteY37" fmla="*/ 2835485 h 2936314"/>
              <a:gd name="connsiteX38" fmla="*/ 11033090 w 11867103"/>
              <a:gd name="connsiteY38" fmla="*/ 2825437 h 2936314"/>
              <a:gd name="connsiteX39" fmla="*/ 10621108 w 11867103"/>
              <a:gd name="connsiteY39" fmla="*/ 2815389 h 2936314"/>
              <a:gd name="connsiteX40" fmla="*/ 10128739 w 11867103"/>
              <a:gd name="connsiteY40" fmla="*/ 2825437 h 2936314"/>
              <a:gd name="connsiteX41" fmla="*/ 10048352 w 11867103"/>
              <a:gd name="connsiteY41" fmla="*/ 2835485 h 2936314"/>
              <a:gd name="connsiteX42" fmla="*/ 9555982 w 11867103"/>
              <a:gd name="connsiteY42" fmla="*/ 2825437 h 2936314"/>
              <a:gd name="connsiteX43" fmla="*/ 9445451 w 11867103"/>
              <a:gd name="connsiteY43" fmla="*/ 2815389 h 2936314"/>
              <a:gd name="connsiteX44" fmla="*/ 9415306 w 11867103"/>
              <a:gd name="connsiteY44" fmla="*/ 2795292 h 2936314"/>
              <a:gd name="connsiteX45" fmla="*/ 9204290 w 11867103"/>
              <a:gd name="connsiteY45" fmla="*/ 2775195 h 2936314"/>
              <a:gd name="connsiteX46" fmla="*/ 9073662 w 11867103"/>
              <a:gd name="connsiteY46" fmla="*/ 2755098 h 2936314"/>
              <a:gd name="connsiteX47" fmla="*/ 8812404 w 11867103"/>
              <a:gd name="connsiteY47" fmla="*/ 2745050 h 2936314"/>
              <a:gd name="connsiteX48" fmla="*/ 8400422 w 11867103"/>
              <a:gd name="connsiteY48" fmla="*/ 2735002 h 2936314"/>
              <a:gd name="connsiteX49" fmla="*/ 8269793 w 11867103"/>
              <a:gd name="connsiteY49" fmla="*/ 2724953 h 2936314"/>
              <a:gd name="connsiteX50" fmla="*/ 7797521 w 11867103"/>
              <a:gd name="connsiteY50" fmla="*/ 2745050 h 2936314"/>
              <a:gd name="connsiteX51" fmla="*/ 7717134 w 11867103"/>
              <a:gd name="connsiteY51" fmla="*/ 2755098 h 2936314"/>
              <a:gd name="connsiteX52" fmla="*/ 7486022 w 11867103"/>
              <a:gd name="connsiteY52" fmla="*/ 2785244 h 2936314"/>
              <a:gd name="connsiteX53" fmla="*/ 7395587 w 11867103"/>
              <a:gd name="connsiteY53" fmla="*/ 2805340 h 2936314"/>
              <a:gd name="connsiteX54" fmla="*/ 7325248 w 11867103"/>
              <a:gd name="connsiteY54" fmla="*/ 2815389 h 2936314"/>
              <a:gd name="connsiteX55" fmla="*/ 6863024 w 11867103"/>
              <a:gd name="connsiteY55" fmla="*/ 2805340 h 2936314"/>
              <a:gd name="connsiteX56" fmla="*/ 6722347 w 11867103"/>
              <a:gd name="connsiteY56" fmla="*/ 2795292 h 2936314"/>
              <a:gd name="connsiteX57" fmla="*/ 4903596 w 11867103"/>
              <a:gd name="connsiteY57" fmla="*/ 2845534 h 2936314"/>
              <a:gd name="connsiteX58" fmla="*/ 4722725 w 11867103"/>
              <a:gd name="connsiteY58" fmla="*/ 2885727 h 2936314"/>
              <a:gd name="connsiteX59" fmla="*/ 4300695 w 11867103"/>
              <a:gd name="connsiteY59" fmla="*/ 2865630 h 2936314"/>
              <a:gd name="connsiteX60" fmla="*/ 4059534 w 11867103"/>
              <a:gd name="connsiteY60" fmla="*/ 2825437 h 2936314"/>
              <a:gd name="connsiteX61" fmla="*/ 3768132 w 11867103"/>
              <a:gd name="connsiteY61" fmla="*/ 2795292 h 2936314"/>
              <a:gd name="connsiteX62" fmla="*/ 3627455 w 11867103"/>
              <a:gd name="connsiteY62" fmla="*/ 2785244 h 2936314"/>
              <a:gd name="connsiteX63" fmla="*/ 3125037 w 11867103"/>
              <a:gd name="connsiteY63" fmla="*/ 2795292 h 2936314"/>
              <a:gd name="connsiteX64" fmla="*/ 3064747 w 11867103"/>
              <a:gd name="connsiteY64" fmla="*/ 2805340 h 2936314"/>
              <a:gd name="connsiteX65" fmla="*/ 2009670 w 11867103"/>
              <a:gd name="connsiteY65" fmla="*/ 2815389 h 2936314"/>
              <a:gd name="connsiteX66" fmla="*/ 1678075 w 11867103"/>
              <a:gd name="connsiteY66" fmla="*/ 2905824 h 2936314"/>
              <a:gd name="connsiteX67" fmla="*/ 1607736 w 11867103"/>
              <a:gd name="connsiteY67" fmla="*/ 2935969 h 2936314"/>
              <a:gd name="connsiteX68" fmla="*/ 1135464 w 11867103"/>
              <a:gd name="connsiteY68" fmla="*/ 2915872 h 2936314"/>
              <a:gd name="connsiteX69" fmla="*/ 944545 w 11867103"/>
              <a:gd name="connsiteY69" fmla="*/ 2885727 h 2936314"/>
              <a:gd name="connsiteX70" fmla="*/ 723481 w 11867103"/>
              <a:gd name="connsiteY70" fmla="*/ 2845534 h 2936314"/>
              <a:gd name="connsiteX71" fmla="*/ 643095 w 11867103"/>
              <a:gd name="connsiteY71" fmla="*/ 2835485 h 2936314"/>
              <a:gd name="connsiteX72" fmla="*/ 371789 w 11867103"/>
              <a:gd name="connsiteY72" fmla="*/ 2795292 h 2936314"/>
              <a:gd name="connsiteX73" fmla="*/ 0 w 11867103"/>
              <a:gd name="connsiteY73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8299939 w 11867103"/>
              <a:gd name="connsiteY12" fmla="*/ 72189 h 2936314"/>
              <a:gd name="connsiteX13" fmla="*/ 8521002 w 11867103"/>
              <a:gd name="connsiteY13" fmla="*/ 82237 h 2936314"/>
              <a:gd name="connsiteX14" fmla="*/ 9515789 w 11867103"/>
              <a:gd name="connsiteY14" fmla="*/ 72189 h 2936314"/>
              <a:gd name="connsiteX15" fmla="*/ 9606224 w 11867103"/>
              <a:gd name="connsiteY15" fmla="*/ 62140 h 2936314"/>
              <a:gd name="connsiteX16" fmla="*/ 9716756 w 11867103"/>
              <a:gd name="connsiteY16" fmla="*/ 52092 h 2936314"/>
              <a:gd name="connsiteX17" fmla="*/ 9797143 w 11867103"/>
              <a:gd name="connsiteY17" fmla="*/ 42044 h 2936314"/>
              <a:gd name="connsiteX18" fmla="*/ 9947868 w 11867103"/>
              <a:gd name="connsiteY18" fmla="*/ 31995 h 2936314"/>
              <a:gd name="connsiteX19" fmla="*/ 10791930 w 11867103"/>
              <a:gd name="connsiteY19" fmla="*/ 1850 h 2936314"/>
              <a:gd name="connsiteX20" fmla="*/ 11736475 w 11867103"/>
              <a:gd name="connsiteY20" fmla="*/ 21947 h 2936314"/>
              <a:gd name="connsiteX21" fmla="*/ 11766620 w 11867103"/>
              <a:gd name="connsiteY21" fmla="*/ 52092 h 2936314"/>
              <a:gd name="connsiteX22" fmla="*/ 11786717 w 11867103"/>
              <a:gd name="connsiteY22" fmla="*/ 92285 h 2936314"/>
              <a:gd name="connsiteX23" fmla="*/ 11806813 w 11867103"/>
              <a:gd name="connsiteY23" fmla="*/ 182720 h 2936314"/>
              <a:gd name="connsiteX24" fmla="*/ 11816862 w 11867103"/>
              <a:gd name="connsiteY24" fmla="*/ 222914 h 2936314"/>
              <a:gd name="connsiteX25" fmla="*/ 11826910 w 11867103"/>
              <a:gd name="connsiteY25" fmla="*/ 313349 h 2936314"/>
              <a:gd name="connsiteX26" fmla="*/ 11836958 w 11867103"/>
              <a:gd name="connsiteY26" fmla="*/ 393736 h 2936314"/>
              <a:gd name="connsiteX27" fmla="*/ 11826910 w 11867103"/>
              <a:gd name="connsiteY27" fmla="*/ 705235 h 2936314"/>
              <a:gd name="connsiteX28" fmla="*/ 11816862 w 11867103"/>
              <a:gd name="connsiteY28" fmla="*/ 765525 h 2936314"/>
              <a:gd name="connsiteX29" fmla="*/ 11806813 w 11867103"/>
              <a:gd name="connsiteY29" fmla="*/ 835863 h 2936314"/>
              <a:gd name="connsiteX30" fmla="*/ 11816862 w 11867103"/>
              <a:gd name="connsiteY30" fmla="*/ 2302923 h 2936314"/>
              <a:gd name="connsiteX31" fmla="*/ 11826910 w 11867103"/>
              <a:gd name="connsiteY31" fmla="*/ 2373261 h 2936314"/>
              <a:gd name="connsiteX32" fmla="*/ 11836958 w 11867103"/>
              <a:gd name="connsiteY32" fmla="*/ 2403406 h 2936314"/>
              <a:gd name="connsiteX33" fmla="*/ 11857055 w 11867103"/>
              <a:gd name="connsiteY33" fmla="*/ 2534035 h 2936314"/>
              <a:gd name="connsiteX34" fmla="*/ 11867103 w 11867103"/>
              <a:gd name="connsiteY34" fmla="*/ 2574228 h 2936314"/>
              <a:gd name="connsiteX35" fmla="*/ 11857055 w 11867103"/>
              <a:gd name="connsiteY35" fmla="*/ 2805340 h 2936314"/>
              <a:gd name="connsiteX36" fmla="*/ 11836958 w 11867103"/>
              <a:gd name="connsiteY36" fmla="*/ 2835485 h 2936314"/>
              <a:gd name="connsiteX37" fmla="*/ 11033090 w 11867103"/>
              <a:gd name="connsiteY37" fmla="*/ 2825437 h 2936314"/>
              <a:gd name="connsiteX38" fmla="*/ 10621108 w 11867103"/>
              <a:gd name="connsiteY38" fmla="*/ 2815389 h 2936314"/>
              <a:gd name="connsiteX39" fmla="*/ 10128739 w 11867103"/>
              <a:gd name="connsiteY39" fmla="*/ 2825437 h 2936314"/>
              <a:gd name="connsiteX40" fmla="*/ 10048352 w 11867103"/>
              <a:gd name="connsiteY40" fmla="*/ 2835485 h 2936314"/>
              <a:gd name="connsiteX41" fmla="*/ 9555982 w 11867103"/>
              <a:gd name="connsiteY41" fmla="*/ 2825437 h 2936314"/>
              <a:gd name="connsiteX42" fmla="*/ 9445451 w 11867103"/>
              <a:gd name="connsiteY42" fmla="*/ 2815389 h 2936314"/>
              <a:gd name="connsiteX43" fmla="*/ 9415306 w 11867103"/>
              <a:gd name="connsiteY43" fmla="*/ 2795292 h 2936314"/>
              <a:gd name="connsiteX44" fmla="*/ 9204290 w 11867103"/>
              <a:gd name="connsiteY44" fmla="*/ 2775195 h 2936314"/>
              <a:gd name="connsiteX45" fmla="*/ 9073662 w 11867103"/>
              <a:gd name="connsiteY45" fmla="*/ 2755098 h 2936314"/>
              <a:gd name="connsiteX46" fmla="*/ 8812404 w 11867103"/>
              <a:gd name="connsiteY46" fmla="*/ 2745050 h 2936314"/>
              <a:gd name="connsiteX47" fmla="*/ 8400422 w 11867103"/>
              <a:gd name="connsiteY47" fmla="*/ 2735002 h 2936314"/>
              <a:gd name="connsiteX48" fmla="*/ 8269793 w 11867103"/>
              <a:gd name="connsiteY48" fmla="*/ 2724953 h 2936314"/>
              <a:gd name="connsiteX49" fmla="*/ 7797521 w 11867103"/>
              <a:gd name="connsiteY49" fmla="*/ 2745050 h 2936314"/>
              <a:gd name="connsiteX50" fmla="*/ 7717134 w 11867103"/>
              <a:gd name="connsiteY50" fmla="*/ 2755098 h 2936314"/>
              <a:gd name="connsiteX51" fmla="*/ 7486022 w 11867103"/>
              <a:gd name="connsiteY51" fmla="*/ 2785244 h 2936314"/>
              <a:gd name="connsiteX52" fmla="*/ 7395587 w 11867103"/>
              <a:gd name="connsiteY52" fmla="*/ 2805340 h 2936314"/>
              <a:gd name="connsiteX53" fmla="*/ 7325248 w 11867103"/>
              <a:gd name="connsiteY53" fmla="*/ 2815389 h 2936314"/>
              <a:gd name="connsiteX54" fmla="*/ 6863024 w 11867103"/>
              <a:gd name="connsiteY54" fmla="*/ 2805340 h 2936314"/>
              <a:gd name="connsiteX55" fmla="*/ 6722347 w 11867103"/>
              <a:gd name="connsiteY55" fmla="*/ 2795292 h 2936314"/>
              <a:gd name="connsiteX56" fmla="*/ 4903596 w 11867103"/>
              <a:gd name="connsiteY56" fmla="*/ 2845534 h 2936314"/>
              <a:gd name="connsiteX57" fmla="*/ 4722725 w 11867103"/>
              <a:gd name="connsiteY57" fmla="*/ 2885727 h 2936314"/>
              <a:gd name="connsiteX58" fmla="*/ 4300695 w 11867103"/>
              <a:gd name="connsiteY58" fmla="*/ 2865630 h 2936314"/>
              <a:gd name="connsiteX59" fmla="*/ 4059534 w 11867103"/>
              <a:gd name="connsiteY59" fmla="*/ 2825437 h 2936314"/>
              <a:gd name="connsiteX60" fmla="*/ 3768132 w 11867103"/>
              <a:gd name="connsiteY60" fmla="*/ 2795292 h 2936314"/>
              <a:gd name="connsiteX61" fmla="*/ 3627455 w 11867103"/>
              <a:gd name="connsiteY61" fmla="*/ 2785244 h 2936314"/>
              <a:gd name="connsiteX62" fmla="*/ 3125037 w 11867103"/>
              <a:gd name="connsiteY62" fmla="*/ 2795292 h 2936314"/>
              <a:gd name="connsiteX63" fmla="*/ 3064747 w 11867103"/>
              <a:gd name="connsiteY63" fmla="*/ 2805340 h 2936314"/>
              <a:gd name="connsiteX64" fmla="*/ 2009670 w 11867103"/>
              <a:gd name="connsiteY64" fmla="*/ 2815389 h 2936314"/>
              <a:gd name="connsiteX65" fmla="*/ 1678075 w 11867103"/>
              <a:gd name="connsiteY65" fmla="*/ 2905824 h 2936314"/>
              <a:gd name="connsiteX66" fmla="*/ 1607736 w 11867103"/>
              <a:gd name="connsiteY66" fmla="*/ 2935969 h 2936314"/>
              <a:gd name="connsiteX67" fmla="*/ 1135464 w 11867103"/>
              <a:gd name="connsiteY67" fmla="*/ 2915872 h 2936314"/>
              <a:gd name="connsiteX68" fmla="*/ 944545 w 11867103"/>
              <a:gd name="connsiteY68" fmla="*/ 2885727 h 2936314"/>
              <a:gd name="connsiteX69" fmla="*/ 723481 w 11867103"/>
              <a:gd name="connsiteY69" fmla="*/ 2845534 h 2936314"/>
              <a:gd name="connsiteX70" fmla="*/ 643095 w 11867103"/>
              <a:gd name="connsiteY70" fmla="*/ 2835485 h 2936314"/>
              <a:gd name="connsiteX71" fmla="*/ 371789 w 11867103"/>
              <a:gd name="connsiteY71" fmla="*/ 2795292 h 2936314"/>
              <a:gd name="connsiteX72" fmla="*/ 0 w 11867103"/>
              <a:gd name="connsiteY72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8521002 w 11867103"/>
              <a:gd name="connsiteY12" fmla="*/ 82237 h 2936314"/>
              <a:gd name="connsiteX13" fmla="*/ 9515789 w 11867103"/>
              <a:gd name="connsiteY13" fmla="*/ 72189 h 2936314"/>
              <a:gd name="connsiteX14" fmla="*/ 9606224 w 11867103"/>
              <a:gd name="connsiteY14" fmla="*/ 62140 h 2936314"/>
              <a:gd name="connsiteX15" fmla="*/ 9716756 w 11867103"/>
              <a:gd name="connsiteY15" fmla="*/ 52092 h 2936314"/>
              <a:gd name="connsiteX16" fmla="*/ 9797143 w 11867103"/>
              <a:gd name="connsiteY16" fmla="*/ 42044 h 2936314"/>
              <a:gd name="connsiteX17" fmla="*/ 9947868 w 11867103"/>
              <a:gd name="connsiteY17" fmla="*/ 31995 h 2936314"/>
              <a:gd name="connsiteX18" fmla="*/ 10791930 w 11867103"/>
              <a:gd name="connsiteY18" fmla="*/ 1850 h 2936314"/>
              <a:gd name="connsiteX19" fmla="*/ 11736475 w 11867103"/>
              <a:gd name="connsiteY19" fmla="*/ 21947 h 2936314"/>
              <a:gd name="connsiteX20" fmla="*/ 11766620 w 11867103"/>
              <a:gd name="connsiteY20" fmla="*/ 52092 h 2936314"/>
              <a:gd name="connsiteX21" fmla="*/ 11786717 w 11867103"/>
              <a:gd name="connsiteY21" fmla="*/ 92285 h 2936314"/>
              <a:gd name="connsiteX22" fmla="*/ 11806813 w 11867103"/>
              <a:gd name="connsiteY22" fmla="*/ 182720 h 2936314"/>
              <a:gd name="connsiteX23" fmla="*/ 11816862 w 11867103"/>
              <a:gd name="connsiteY23" fmla="*/ 222914 h 2936314"/>
              <a:gd name="connsiteX24" fmla="*/ 11826910 w 11867103"/>
              <a:gd name="connsiteY24" fmla="*/ 313349 h 2936314"/>
              <a:gd name="connsiteX25" fmla="*/ 11836958 w 11867103"/>
              <a:gd name="connsiteY25" fmla="*/ 393736 h 2936314"/>
              <a:gd name="connsiteX26" fmla="*/ 11826910 w 11867103"/>
              <a:gd name="connsiteY26" fmla="*/ 705235 h 2936314"/>
              <a:gd name="connsiteX27" fmla="*/ 11816862 w 11867103"/>
              <a:gd name="connsiteY27" fmla="*/ 765525 h 2936314"/>
              <a:gd name="connsiteX28" fmla="*/ 11806813 w 11867103"/>
              <a:gd name="connsiteY28" fmla="*/ 835863 h 2936314"/>
              <a:gd name="connsiteX29" fmla="*/ 11816862 w 11867103"/>
              <a:gd name="connsiteY29" fmla="*/ 2302923 h 2936314"/>
              <a:gd name="connsiteX30" fmla="*/ 11826910 w 11867103"/>
              <a:gd name="connsiteY30" fmla="*/ 2373261 h 2936314"/>
              <a:gd name="connsiteX31" fmla="*/ 11836958 w 11867103"/>
              <a:gd name="connsiteY31" fmla="*/ 2403406 h 2936314"/>
              <a:gd name="connsiteX32" fmla="*/ 11857055 w 11867103"/>
              <a:gd name="connsiteY32" fmla="*/ 2534035 h 2936314"/>
              <a:gd name="connsiteX33" fmla="*/ 11867103 w 11867103"/>
              <a:gd name="connsiteY33" fmla="*/ 2574228 h 2936314"/>
              <a:gd name="connsiteX34" fmla="*/ 11857055 w 11867103"/>
              <a:gd name="connsiteY34" fmla="*/ 2805340 h 2936314"/>
              <a:gd name="connsiteX35" fmla="*/ 11836958 w 11867103"/>
              <a:gd name="connsiteY35" fmla="*/ 2835485 h 2936314"/>
              <a:gd name="connsiteX36" fmla="*/ 11033090 w 11867103"/>
              <a:gd name="connsiteY36" fmla="*/ 2825437 h 2936314"/>
              <a:gd name="connsiteX37" fmla="*/ 10621108 w 11867103"/>
              <a:gd name="connsiteY37" fmla="*/ 2815389 h 2936314"/>
              <a:gd name="connsiteX38" fmla="*/ 10128739 w 11867103"/>
              <a:gd name="connsiteY38" fmla="*/ 2825437 h 2936314"/>
              <a:gd name="connsiteX39" fmla="*/ 10048352 w 11867103"/>
              <a:gd name="connsiteY39" fmla="*/ 2835485 h 2936314"/>
              <a:gd name="connsiteX40" fmla="*/ 9555982 w 11867103"/>
              <a:gd name="connsiteY40" fmla="*/ 2825437 h 2936314"/>
              <a:gd name="connsiteX41" fmla="*/ 9445451 w 11867103"/>
              <a:gd name="connsiteY41" fmla="*/ 2815389 h 2936314"/>
              <a:gd name="connsiteX42" fmla="*/ 9415306 w 11867103"/>
              <a:gd name="connsiteY42" fmla="*/ 2795292 h 2936314"/>
              <a:gd name="connsiteX43" fmla="*/ 9204290 w 11867103"/>
              <a:gd name="connsiteY43" fmla="*/ 2775195 h 2936314"/>
              <a:gd name="connsiteX44" fmla="*/ 9073662 w 11867103"/>
              <a:gd name="connsiteY44" fmla="*/ 2755098 h 2936314"/>
              <a:gd name="connsiteX45" fmla="*/ 8812404 w 11867103"/>
              <a:gd name="connsiteY45" fmla="*/ 2745050 h 2936314"/>
              <a:gd name="connsiteX46" fmla="*/ 8400422 w 11867103"/>
              <a:gd name="connsiteY46" fmla="*/ 2735002 h 2936314"/>
              <a:gd name="connsiteX47" fmla="*/ 8269793 w 11867103"/>
              <a:gd name="connsiteY47" fmla="*/ 2724953 h 2936314"/>
              <a:gd name="connsiteX48" fmla="*/ 7797521 w 11867103"/>
              <a:gd name="connsiteY48" fmla="*/ 2745050 h 2936314"/>
              <a:gd name="connsiteX49" fmla="*/ 7717134 w 11867103"/>
              <a:gd name="connsiteY49" fmla="*/ 2755098 h 2936314"/>
              <a:gd name="connsiteX50" fmla="*/ 7486022 w 11867103"/>
              <a:gd name="connsiteY50" fmla="*/ 2785244 h 2936314"/>
              <a:gd name="connsiteX51" fmla="*/ 7395587 w 11867103"/>
              <a:gd name="connsiteY51" fmla="*/ 2805340 h 2936314"/>
              <a:gd name="connsiteX52" fmla="*/ 7325248 w 11867103"/>
              <a:gd name="connsiteY52" fmla="*/ 2815389 h 2936314"/>
              <a:gd name="connsiteX53" fmla="*/ 6863024 w 11867103"/>
              <a:gd name="connsiteY53" fmla="*/ 2805340 h 2936314"/>
              <a:gd name="connsiteX54" fmla="*/ 6722347 w 11867103"/>
              <a:gd name="connsiteY54" fmla="*/ 2795292 h 2936314"/>
              <a:gd name="connsiteX55" fmla="*/ 4903596 w 11867103"/>
              <a:gd name="connsiteY55" fmla="*/ 2845534 h 2936314"/>
              <a:gd name="connsiteX56" fmla="*/ 4722725 w 11867103"/>
              <a:gd name="connsiteY56" fmla="*/ 2885727 h 2936314"/>
              <a:gd name="connsiteX57" fmla="*/ 4300695 w 11867103"/>
              <a:gd name="connsiteY57" fmla="*/ 2865630 h 2936314"/>
              <a:gd name="connsiteX58" fmla="*/ 4059534 w 11867103"/>
              <a:gd name="connsiteY58" fmla="*/ 2825437 h 2936314"/>
              <a:gd name="connsiteX59" fmla="*/ 3768132 w 11867103"/>
              <a:gd name="connsiteY59" fmla="*/ 2795292 h 2936314"/>
              <a:gd name="connsiteX60" fmla="*/ 3627455 w 11867103"/>
              <a:gd name="connsiteY60" fmla="*/ 2785244 h 2936314"/>
              <a:gd name="connsiteX61" fmla="*/ 3125037 w 11867103"/>
              <a:gd name="connsiteY61" fmla="*/ 2795292 h 2936314"/>
              <a:gd name="connsiteX62" fmla="*/ 3064747 w 11867103"/>
              <a:gd name="connsiteY62" fmla="*/ 2805340 h 2936314"/>
              <a:gd name="connsiteX63" fmla="*/ 2009670 w 11867103"/>
              <a:gd name="connsiteY63" fmla="*/ 2815389 h 2936314"/>
              <a:gd name="connsiteX64" fmla="*/ 1678075 w 11867103"/>
              <a:gd name="connsiteY64" fmla="*/ 2905824 h 2936314"/>
              <a:gd name="connsiteX65" fmla="*/ 1607736 w 11867103"/>
              <a:gd name="connsiteY65" fmla="*/ 2935969 h 2936314"/>
              <a:gd name="connsiteX66" fmla="*/ 1135464 w 11867103"/>
              <a:gd name="connsiteY66" fmla="*/ 2915872 h 2936314"/>
              <a:gd name="connsiteX67" fmla="*/ 944545 w 11867103"/>
              <a:gd name="connsiteY67" fmla="*/ 2885727 h 2936314"/>
              <a:gd name="connsiteX68" fmla="*/ 723481 w 11867103"/>
              <a:gd name="connsiteY68" fmla="*/ 2845534 h 2936314"/>
              <a:gd name="connsiteX69" fmla="*/ 643095 w 11867103"/>
              <a:gd name="connsiteY69" fmla="*/ 2835485 h 2936314"/>
              <a:gd name="connsiteX70" fmla="*/ 371789 w 11867103"/>
              <a:gd name="connsiteY70" fmla="*/ 2795292 h 2936314"/>
              <a:gd name="connsiteX71" fmla="*/ 0 w 11867103"/>
              <a:gd name="connsiteY71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515789 w 11867103"/>
              <a:gd name="connsiteY12" fmla="*/ 72189 h 2936314"/>
              <a:gd name="connsiteX13" fmla="*/ 9606224 w 11867103"/>
              <a:gd name="connsiteY13" fmla="*/ 62140 h 2936314"/>
              <a:gd name="connsiteX14" fmla="*/ 9716756 w 11867103"/>
              <a:gd name="connsiteY14" fmla="*/ 52092 h 2936314"/>
              <a:gd name="connsiteX15" fmla="*/ 9797143 w 11867103"/>
              <a:gd name="connsiteY15" fmla="*/ 42044 h 2936314"/>
              <a:gd name="connsiteX16" fmla="*/ 9947868 w 11867103"/>
              <a:gd name="connsiteY16" fmla="*/ 31995 h 2936314"/>
              <a:gd name="connsiteX17" fmla="*/ 10791930 w 11867103"/>
              <a:gd name="connsiteY17" fmla="*/ 1850 h 2936314"/>
              <a:gd name="connsiteX18" fmla="*/ 11736475 w 11867103"/>
              <a:gd name="connsiteY18" fmla="*/ 21947 h 2936314"/>
              <a:gd name="connsiteX19" fmla="*/ 11766620 w 11867103"/>
              <a:gd name="connsiteY19" fmla="*/ 52092 h 2936314"/>
              <a:gd name="connsiteX20" fmla="*/ 11786717 w 11867103"/>
              <a:gd name="connsiteY20" fmla="*/ 92285 h 2936314"/>
              <a:gd name="connsiteX21" fmla="*/ 11806813 w 11867103"/>
              <a:gd name="connsiteY21" fmla="*/ 182720 h 2936314"/>
              <a:gd name="connsiteX22" fmla="*/ 11816862 w 11867103"/>
              <a:gd name="connsiteY22" fmla="*/ 222914 h 2936314"/>
              <a:gd name="connsiteX23" fmla="*/ 11826910 w 11867103"/>
              <a:gd name="connsiteY23" fmla="*/ 313349 h 2936314"/>
              <a:gd name="connsiteX24" fmla="*/ 11836958 w 11867103"/>
              <a:gd name="connsiteY24" fmla="*/ 393736 h 2936314"/>
              <a:gd name="connsiteX25" fmla="*/ 11826910 w 11867103"/>
              <a:gd name="connsiteY25" fmla="*/ 705235 h 2936314"/>
              <a:gd name="connsiteX26" fmla="*/ 11816862 w 11867103"/>
              <a:gd name="connsiteY26" fmla="*/ 765525 h 2936314"/>
              <a:gd name="connsiteX27" fmla="*/ 11806813 w 11867103"/>
              <a:gd name="connsiteY27" fmla="*/ 835863 h 2936314"/>
              <a:gd name="connsiteX28" fmla="*/ 11816862 w 11867103"/>
              <a:gd name="connsiteY28" fmla="*/ 2302923 h 2936314"/>
              <a:gd name="connsiteX29" fmla="*/ 11826910 w 11867103"/>
              <a:gd name="connsiteY29" fmla="*/ 2373261 h 2936314"/>
              <a:gd name="connsiteX30" fmla="*/ 11836958 w 11867103"/>
              <a:gd name="connsiteY30" fmla="*/ 2403406 h 2936314"/>
              <a:gd name="connsiteX31" fmla="*/ 11857055 w 11867103"/>
              <a:gd name="connsiteY31" fmla="*/ 2534035 h 2936314"/>
              <a:gd name="connsiteX32" fmla="*/ 11867103 w 11867103"/>
              <a:gd name="connsiteY32" fmla="*/ 2574228 h 2936314"/>
              <a:gd name="connsiteX33" fmla="*/ 11857055 w 11867103"/>
              <a:gd name="connsiteY33" fmla="*/ 2805340 h 2936314"/>
              <a:gd name="connsiteX34" fmla="*/ 11836958 w 11867103"/>
              <a:gd name="connsiteY34" fmla="*/ 2835485 h 2936314"/>
              <a:gd name="connsiteX35" fmla="*/ 11033090 w 11867103"/>
              <a:gd name="connsiteY35" fmla="*/ 2825437 h 2936314"/>
              <a:gd name="connsiteX36" fmla="*/ 10621108 w 11867103"/>
              <a:gd name="connsiteY36" fmla="*/ 2815389 h 2936314"/>
              <a:gd name="connsiteX37" fmla="*/ 10128739 w 11867103"/>
              <a:gd name="connsiteY37" fmla="*/ 2825437 h 2936314"/>
              <a:gd name="connsiteX38" fmla="*/ 10048352 w 11867103"/>
              <a:gd name="connsiteY38" fmla="*/ 2835485 h 2936314"/>
              <a:gd name="connsiteX39" fmla="*/ 9555982 w 11867103"/>
              <a:gd name="connsiteY39" fmla="*/ 2825437 h 2936314"/>
              <a:gd name="connsiteX40" fmla="*/ 9445451 w 11867103"/>
              <a:gd name="connsiteY40" fmla="*/ 2815389 h 2936314"/>
              <a:gd name="connsiteX41" fmla="*/ 9415306 w 11867103"/>
              <a:gd name="connsiteY41" fmla="*/ 2795292 h 2936314"/>
              <a:gd name="connsiteX42" fmla="*/ 9204290 w 11867103"/>
              <a:gd name="connsiteY42" fmla="*/ 2775195 h 2936314"/>
              <a:gd name="connsiteX43" fmla="*/ 9073662 w 11867103"/>
              <a:gd name="connsiteY43" fmla="*/ 2755098 h 2936314"/>
              <a:gd name="connsiteX44" fmla="*/ 8812404 w 11867103"/>
              <a:gd name="connsiteY44" fmla="*/ 2745050 h 2936314"/>
              <a:gd name="connsiteX45" fmla="*/ 8400422 w 11867103"/>
              <a:gd name="connsiteY45" fmla="*/ 2735002 h 2936314"/>
              <a:gd name="connsiteX46" fmla="*/ 8269793 w 11867103"/>
              <a:gd name="connsiteY46" fmla="*/ 2724953 h 2936314"/>
              <a:gd name="connsiteX47" fmla="*/ 7797521 w 11867103"/>
              <a:gd name="connsiteY47" fmla="*/ 2745050 h 2936314"/>
              <a:gd name="connsiteX48" fmla="*/ 7717134 w 11867103"/>
              <a:gd name="connsiteY48" fmla="*/ 2755098 h 2936314"/>
              <a:gd name="connsiteX49" fmla="*/ 7486022 w 11867103"/>
              <a:gd name="connsiteY49" fmla="*/ 2785244 h 2936314"/>
              <a:gd name="connsiteX50" fmla="*/ 7395587 w 11867103"/>
              <a:gd name="connsiteY50" fmla="*/ 2805340 h 2936314"/>
              <a:gd name="connsiteX51" fmla="*/ 7325248 w 11867103"/>
              <a:gd name="connsiteY51" fmla="*/ 2815389 h 2936314"/>
              <a:gd name="connsiteX52" fmla="*/ 6863024 w 11867103"/>
              <a:gd name="connsiteY52" fmla="*/ 2805340 h 2936314"/>
              <a:gd name="connsiteX53" fmla="*/ 6722347 w 11867103"/>
              <a:gd name="connsiteY53" fmla="*/ 2795292 h 2936314"/>
              <a:gd name="connsiteX54" fmla="*/ 4903596 w 11867103"/>
              <a:gd name="connsiteY54" fmla="*/ 2845534 h 2936314"/>
              <a:gd name="connsiteX55" fmla="*/ 4722725 w 11867103"/>
              <a:gd name="connsiteY55" fmla="*/ 2885727 h 2936314"/>
              <a:gd name="connsiteX56" fmla="*/ 4300695 w 11867103"/>
              <a:gd name="connsiteY56" fmla="*/ 2865630 h 2936314"/>
              <a:gd name="connsiteX57" fmla="*/ 4059534 w 11867103"/>
              <a:gd name="connsiteY57" fmla="*/ 2825437 h 2936314"/>
              <a:gd name="connsiteX58" fmla="*/ 3768132 w 11867103"/>
              <a:gd name="connsiteY58" fmla="*/ 2795292 h 2936314"/>
              <a:gd name="connsiteX59" fmla="*/ 3627455 w 11867103"/>
              <a:gd name="connsiteY59" fmla="*/ 2785244 h 2936314"/>
              <a:gd name="connsiteX60" fmla="*/ 3125037 w 11867103"/>
              <a:gd name="connsiteY60" fmla="*/ 2795292 h 2936314"/>
              <a:gd name="connsiteX61" fmla="*/ 3064747 w 11867103"/>
              <a:gd name="connsiteY61" fmla="*/ 2805340 h 2936314"/>
              <a:gd name="connsiteX62" fmla="*/ 2009670 w 11867103"/>
              <a:gd name="connsiteY62" fmla="*/ 2815389 h 2936314"/>
              <a:gd name="connsiteX63" fmla="*/ 1678075 w 11867103"/>
              <a:gd name="connsiteY63" fmla="*/ 2905824 h 2936314"/>
              <a:gd name="connsiteX64" fmla="*/ 1607736 w 11867103"/>
              <a:gd name="connsiteY64" fmla="*/ 2935969 h 2936314"/>
              <a:gd name="connsiteX65" fmla="*/ 1135464 w 11867103"/>
              <a:gd name="connsiteY65" fmla="*/ 2915872 h 2936314"/>
              <a:gd name="connsiteX66" fmla="*/ 944545 w 11867103"/>
              <a:gd name="connsiteY66" fmla="*/ 2885727 h 2936314"/>
              <a:gd name="connsiteX67" fmla="*/ 723481 w 11867103"/>
              <a:gd name="connsiteY67" fmla="*/ 2845534 h 2936314"/>
              <a:gd name="connsiteX68" fmla="*/ 643095 w 11867103"/>
              <a:gd name="connsiteY68" fmla="*/ 2835485 h 2936314"/>
              <a:gd name="connsiteX69" fmla="*/ 371789 w 11867103"/>
              <a:gd name="connsiteY69" fmla="*/ 2795292 h 2936314"/>
              <a:gd name="connsiteX70" fmla="*/ 0 w 11867103"/>
              <a:gd name="connsiteY70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716756 w 11867103"/>
              <a:gd name="connsiteY13" fmla="*/ 52092 h 2936314"/>
              <a:gd name="connsiteX14" fmla="*/ 9797143 w 11867103"/>
              <a:gd name="connsiteY14" fmla="*/ 42044 h 2936314"/>
              <a:gd name="connsiteX15" fmla="*/ 9947868 w 11867103"/>
              <a:gd name="connsiteY15" fmla="*/ 31995 h 2936314"/>
              <a:gd name="connsiteX16" fmla="*/ 10791930 w 11867103"/>
              <a:gd name="connsiteY16" fmla="*/ 1850 h 2936314"/>
              <a:gd name="connsiteX17" fmla="*/ 11736475 w 11867103"/>
              <a:gd name="connsiteY17" fmla="*/ 21947 h 2936314"/>
              <a:gd name="connsiteX18" fmla="*/ 11766620 w 11867103"/>
              <a:gd name="connsiteY18" fmla="*/ 52092 h 2936314"/>
              <a:gd name="connsiteX19" fmla="*/ 11786717 w 11867103"/>
              <a:gd name="connsiteY19" fmla="*/ 92285 h 2936314"/>
              <a:gd name="connsiteX20" fmla="*/ 11806813 w 11867103"/>
              <a:gd name="connsiteY20" fmla="*/ 182720 h 2936314"/>
              <a:gd name="connsiteX21" fmla="*/ 11816862 w 11867103"/>
              <a:gd name="connsiteY21" fmla="*/ 222914 h 2936314"/>
              <a:gd name="connsiteX22" fmla="*/ 11826910 w 11867103"/>
              <a:gd name="connsiteY22" fmla="*/ 313349 h 2936314"/>
              <a:gd name="connsiteX23" fmla="*/ 11836958 w 11867103"/>
              <a:gd name="connsiteY23" fmla="*/ 393736 h 2936314"/>
              <a:gd name="connsiteX24" fmla="*/ 11826910 w 11867103"/>
              <a:gd name="connsiteY24" fmla="*/ 705235 h 2936314"/>
              <a:gd name="connsiteX25" fmla="*/ 11816862 w 11867103"/>
              <a:gd name="connsiteY25" fmla="*/ 765525 h 2936314"/>
              <a:gd name="connsiteX26" fmla="*/ 11806813 w 11867103"/>
              <a:gd name="connsiteY26" fmla="*/ 835863 h 2936314"/>
              <a:gd name="connsiteX27" fmla="*/ 11816862 w 11867103"/>
              <a:gd name="connsiteY27" fmla="*/ 2302923 h 2936314"/>
              <a:gd name="connsiteX28" fmla="*/ 11826910 w 11867103"/>
              <a:gd name="connsiteY28" fmla="*/ 2373261 h 2936314"/>
              <a:gd name="connsiteX29" fmla="*/ 11836958 w 11867103"/>
              <a:gd name="connsiteY29" fmla="*/ 2403406 h 2936314"/>
              <a:gd name="connsiteX30" fmla="*/ 11857055 w 11867103"/>
              <a:gd name="connsiteY30" fmla="*/ 2534035 h 2936314"/>
              <a:gd name="connsiteX31" fmla="*/ 11867103 w 11867103"/>
              <a:gd name="connsiteY31" fmla="*/ 2574228 h 2936314"/>
              <a:gd name="connsiteX32" fmla="*/ 11857055 w 11867103"/>
              <a:gd name="connsiteY32" fmla="*/ 2805340 h 2936314"/>
              <a:gd name="connsiteX33" fmla="*/ 11836958 w 11867103"/>
              <a:gd name="connsiteY33" fmla="*/ 2835485 h 2936314"/>
              <a:gd name="connsiteX34" fmla="*/ 11033090 w 11867103"/>
              <a:gd name="connsiteY34" fmla="*/ 2825437 h 2936314"/>
              <a:gd name="connsiteX35" fmla="*/ 10621108 w 11867103"/>
              <a:gd name="connsiteY35" fmla="*/ 2815389 h 2936314"/>
              <a:gd name="connsiteX36" fmla="*/ 10128739 w 11867103"/>
              <a:gd name="connsiteY36" fmla="*/ 2825437 h 2936314"/>
              <a:gd name="connsiteX37" fmla="*/ 10048352 w 11867103"/>
              <a:gd name="connsiteY37" fmla="*/ 2835485 h 2936314"/>
              <a:gd name="connsiteX38" fmla="*/ 9555982 w 11867103"/>
              <a:gd name="connsiteY38" fmla="*/ 2825437 h 2936314"/>
              <a:gd name="connsiteX39" fmla="*/ 9445451 w 11867103"/>
              <a:gd name="connsiteY39" fmla="*/ 2815389 h 2936314"/>
              <a:gd name="connsiteX40" fmla="*/ 9415306 w 11867103"/>
              <a:gd name="connsiteY40" fmla="*/ 2795292 h 2936314"/>
              <a:gd name="connsiteX41" fmla="*/ 9204290 w 11867103"/>
              <a:gd name="connsiteY41" fmla="*/ 2775195 h 2936314"/>
              <a:gd name="connsiteX42" fmla="*/ 9073662 w 11867103"/>
              <a:gd name="connsiteY42" fmla="*/ 2755098 h 2936314"/>
              <a:gd name="connsiteX43" fmla="*/ 8812404 w 11867103"/>
              <a:gd name="connsiteY43" fmla="*/ 2745050 h 2936314"/>
              <a:gd name="connsiteX44" fmla="*/ 8400422 w 11867103"/>
              <a:gd name="connsiteY44" fmla="*/ 2735002 h 2936314"/>
              <a:gd name="connsiteX45" fmla="*/ 8269793 w 11867103"/>
              <a:gd name="connsiteY45" fmla="*/ 2724953 h 2936314"/>
              <a:gd name="connsiteX46" fmla="*/ 7797521 w 11867103"/>
              <a:gd name="connsiteY46" fmla="*/ 2745050 h 2936314"/>
              <a:gd name="connsiteX47" fmla="*/ 7717134 w 11867103"/>
              <a:gd name="connsiteY47" fmla="*/ 2755098 h 2936314"/>
              <a:gd name="connsiteX48" fmla="*/ 7486022 w 11867103"/>
              <a:gd name="connsiteY48" fmla="*/ 2785244 h 2936314"/>
              <a:gd name="connsiteX49" fmla="*/ 7395587 w 11867103"/>
              <a:gd name="connsiteY49" fmla="*/ 2805340 h 2936314"/>
              <a:gd name="connsiteX50" fmla="*/ 7325248 w 11867103"/>
              <a:gd name="connsiteY50" fmla="*/ 2815389 h 2936314"/>
              <a:gd name="connsiteX51" fmla="*/ 6863024 w 11867103"/>
              <a:gd name="connsiteY51" fmla="*/ 2805340 h 2936314"/>
              <a:gd name="connsiteX52" fmla="*/ 6722347 w 11867103"/>
              <a:gd name="connsiteY52" fmla="*/ 2795292 h 2936314"/>
              <a:gd name="connsiteX53" fmla="*/ 4903596 w 11867103"/>
              <a:gd name="connsiteY53" fmla="*/ 2845534 h 2936314"/>
              <a:gd name="connsiteX54" fmla="*/ 4722725 w 11867103"/>
              <a:gd name="connsiteY54" fmla="*/ 2885727 h 2936314"/>
              <a:gd name="connsiteX55" fmla="*/ 4300695 w 11867103"/>
              <a:gd name="connsiteY55" fmla="*/ 2865630 h 2936314"/>
              <a:gd name="connsiteX56" fmla="*/ 4059534 w 11867103"/>
              <a:gd name="connsiteY56" fmla="*/ 2825437 h 2936314"/>
              <a:gd name="connsiteX57" fmla="*/ 3768132 w 11867103"/>
              <a:gd name="connsiteY57" fmla="*/ 2795292 h 2936314"/>
              <a:gd name="connsiteX58" fmla="*/ 3627455 w 11867103"/>
              <a:gd name="connsiteY58" fmla="*/ 2785244 h 2936314"/>
              <a:gd name="connsiteX59" fmla="*/ 3125037 w 11867103"/>
              <a:gd name="connsiteY59" fmla="*/ 2795292 h 2936314"/>
              <a:gd name="connsiteX60" fmla="*/ 3064747 w 11867103"/>
              <a:gd name="connsiteY60" fmla="*/ 2805340 h 2936314"/>
              <a:gd name="connsiteX61" fmla="*/ 2009670 w 11867103"/>
              <a:gd name="connsiteY61" fmla="*/ 2815389 h 2936314"/>
              <a:gd name="connsiteX62" fmla="*/ 1678075 w 11867103"/>
              <a:gd name="connsiteY62" fmla="*/ 2905824 h 2936314"/>
              <a:gd name="connsiteX63" fmla="*/ 1607736 w 11867103"/>
              <a:gd name="connsiteY63" fmla="*/ 2935969 h 2936314"/>
              <a:gd name="connsiteX64" fmla="*/ 1135464 w 11867103"/>
              <a:gd name="connsiteY64" fmla="*/ 2915872 h 2936314"/>
              <a:gd name="connsiteX65" fmla="*/ 944545 w 11867103"/>
              <a:gd name="connsiteY65" fmla="*/ 2885727 h 2936314"/>
              <a:gd name="connsiteX66" fmla="*/ 723481 w 11867103"/>
              <a:gd name="connsiteY66" fmla="*/ 2845534 h 2936314"/>
              <a:gd name="connsiteX67" fmla="*/ 643095 w 11867103"/>
              <a:gd name="connsiteY67" fmla="*/ 2835485 h 2936314"/>
              <a:gd name="connsiteX68" fmla="*/ 371789 w 11867103"/>
              <a:gd name="connsiteY68" fmla="*/ 2795292 h 2936314"/>
              <a:gd name="connsiteX69" fmla="*/ 0 w 11867103"/>
              <a:gd name="connsiteY69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797143 w 11867103"/>
              <a:gd name="connsiteY13" fmla="*/ 42044 h 2936314"/>
              <a:gd name="connsiteX14" fmla="*/ 9947868 w 11867103"/>
              <a:gd name="connsiteY14" fmla="*/ 31995 h 2936314"/>
              <a:gd name="connsiteX15" fmla="*/ 10791930 w 11867103"/>
              <a:gd name="connsiteY15" fmla="*/ 1850 h 2936314"/>
              <a:gd name="connsiteX16" fmla="*/ 11736475 w 11867103"/>
              <a:gd name="connsiteY16" fmla="*/ 21947 h 2936314"/>
              <a:gd name="connsiteX17" fmla="*/ 11766620 w 11867103"/>
              <a:gd name="connsiteY17" fmla="*/ 52092 h 2936314"/>
              <a:gd name="connsiteX18" fmla="*/ 11786717 w 11867103"/>
              <a:gd name="connsiteY18" fmla="*/ 92285 h 2936314"/>
              <a:gd name="connsiteX19" fmla="*/ 11806813 w 11867103"/>
              <a:gd name="connsiteY19" fmla="*/ 182720 h 2936314"/>
              <a:gd name="connsiteX20" fmla="*/ 11816862 w 11867103"/>
              <a:gd name="connsiteY20" fmla="*/ 222914 h 2936314"/>
              <a:gd name="connsiteX21" fmla="*/ 11826910 w 11867103"/>
              <a:gd name="connsiteY21" fmla="*/ 313349 h 2936314"/>
              <a:gd name="connsiteX22" fmla="*/ 11836958 w 11867103"/>
              <a:gd name="connsiteY22" fmla="*/ 393736 h 2936314"/>
              <a:gd name="connsiteX23" fmla="*/ 11826910 w 11867103"/>
              <a:gd name="connsiteY23" fmla="*/ 705235 h 2936314"/>
              <a:gd name="connsiteX24" fmla="*/ 11816862 w 11867103"/>
              <a:gd name="connsiteY24" fmla="*/ 765525 h 2936314"/>
              <a:gd name="connsiteX25" fmla="*/ 11806813 w 11867103"/>
              <a:gd name="connsiteY25" fmla="*/ 835863 h 2936314"/>
              <a:gd name="connsiteX26" fmla="*/ 11816862 w 11867103"/>
              <a:gd name="connsiteY26" fmla="*/ 2302923 h 2936314"/>
              <a:gd name="connsiteX27" fmla="*/ 11826910 w 11867103"/>
              <a:gd name="connsiteY27" fmla="*/ 2373261 h 2936314"/>
              <a:gd name="connsiteX28" fmla="*/ 11836958 w 11867103"/>
              <a:gd name="connsiteY28" fmla="*/ 2403406 h 2936314"/>
              <a:gd name="connsiteX29" fmla="*/ 11857055 w 11867103"/>
              <a:gd name="connsiteY29" fmla="*/ 2534035 h 2936314"/>
              <a:gd name="connsiteX30" fmla="*/ 11867103 w 11867103"/>
              <a:gd name="connsiteY30" fmla="*/ 2574228 h 2936314"/>
              <a:gd name="connsiteX31" fmla="*/ 11857055 w 11867103"/>
              <a:gd name="connsiteY31" fmla="*/ 2805340 h 2936314"/>
              <a:gd name="connsiteX32" fmla="*/ 11836958 w 11867103"/>
              <a:gd name="connsiteY32" fmla="*/ 2835485 h 2936314"/>
              <a:gd name="connsiteX33" fmla="*/ 11033090 w 11867103"/>
              <a:gd name="connsiteY33" fmla="*/ 2825437 h 2936314"/>
              <a:gd name="connsiteX34" fmla="*/ 10621108 w 11867103"/>
              <a:gd name="connsiteY34" fmla="*/ 2815389 h 2936314"/>
              <a:gd name="connsiteX35" fmla="*/ 10128739 w 11867103"/>
              <a:gd name="connsiteY35" fmla="*/ 2825437 h 2936314"/>
              <a:gd name="connsiteX36" fmla="*/ 10048352 w 11867103"/>
              <a:gd name="connsiteY36" fmla="*/ 2835485 h 2936314"/>
              <a:gd name="connsiteX37" fmla="*/ 9555982 w 11867103"/>
              <a:gd name="connsiteY37" fmla="*/ 2825437 h 2936314"/>
              <a:gd name="connsiteX38" fmla="*/ 9445451 w 11867103"/>
              <a:gd name="connsiteY38" fmla="*/ 2815389 h 2936314"/>
              <a:gd name="connsiteX39" fmla="*/ 9415306 w 11867103"/>
              <a:gd name="connsiteY39" fmla="*/ 2795292 h 2936314"/>
              <a:gd name="connsiteX40" fmla="*/ 9204290 w 11867103"/>
              <a:gd name="connsiteY40" fmla="*/ 2775195 h 2936314"/>
              <a:gd name="connsiteX41" fmla="*/ 9073662 w 11867103"/>
              <a:gd name="connsiteY41" fmla="*/ 2755098 h 2936314"/>
              <a:gd name="connsiteX42" fmla="*/ 8812404 w 11867103"/>
              <a:gd name="connsiteY42" fmla="*/ 2745050 h 2936314"/>
              <a:gd name="connsiteX43" fmla="*/ 8400422 w 11867103"/>
              <a:gd name="connsiteY43" fmla="*/ 2735002 h 2936314"/>
              <a:gd name="connsiteX44" fmla="*/ 8269793 w 11867103"/>
              <a:gd name="connsiteY44" fmla="*/ 2724953 h 2936314"/>
              <a:gd name="connsiteX45" fmla="*/ 7797521 w 11867103"/>
              <a:gd name="connsiteY45" fmla="*/ 2745050 h 2936314"/>
              <a:gd name="connsiteX46" fmla="*/ 7717134 w 11867103"/>
              <a:gd name="connsiteY46" fmla="*/ 2755098 h 2936314"/>
              <a:gd name="connsiteX47" fmla="*/ 7486022 w 11867103"/>
              <a:gd name="connsiteY47" fmla="*/ 2785244 h 2936314"/>
              <a:gd name="connsiteX48" fmla="*/ 7395587 w 11867103"/>
              <a:gd name="connsiteY48" fmla="*/ 2805340 h 2936314"/>
              <a:gd name="connsiteX49" fmla="*/ 7325248 w 11867103"/>
              <a:gd name="connsiteY49" fmla="*/ 2815389 h 2936314"/>
              <a:gd name="connsiteX50" fmla="*/ 6863024 w 11867103"/>
              <a:gd name="connsiteY50" fmla="*/ 2805340 h 2936314"/>
              <a:gd name="connsiteX51" fmla="*/ 6722347 w 11867103"/>
              <a:gd name="connsiteY51" fmla="*/ 2795292 h 2936314"/>
              <a:gd name="connsiteX52" fmla="*/ 4903596 w 11867103"/>
              <a:gd name="connsiteY52" fmla="*/ 2845534 h 2936314"/>
              <a:gd name="connsiteX53" fmla="*/ 4722725 w 11867103"/>
              <a:gd name="connsiteY53" fmla="*/ 2885727 h 2936314"/>
              <a:gd name="connsiteX54" fmla="*/ 4300695 w 11867103"/>
              <a:gd name="connsiteY54" fmla="*/ 2865630 h 2936314"/>
              <a:gd name="connsiteX55" fmla="*/ 4059534 w 11867103"/>
              <a:gd name="connsiteY55" fmla="*/ 2825437 h 2936314"/>
              <a:gd name="connsiteX56" fmla="*/ 3768132 w 11867103"/>
              <a:gd name="connsiteY56" fmla="*/ 2795292 h 2936314"/>
              <a:gd name="connsiteX57" fmla="*/ 3627455 w 11867103"/>
              <a:gd name="connsiteY57" fmla="*/ 2785244 h 2936314"/>
              <a:gd name="connsiteX58" fmla="*/ 3125037 w 11867103"/>
              <a:gd name="connsiteY58" fmla="*/ 2795292 h 2936314"/>
              <a:gd name="connsiteX59" fmla="*/ 3064747 w 11867103"/>
              <a:gd name="connsiteY59" fmla="*/ 2805340 h 2936314"/>
              <a:gd name="connsiteX60" fmla="*/ 2009670 w 11867103"/>
              <a:gd name="connsiteY60" fmla="*/ 2815389 h 2936314"/>
              <a:gd name="connsiteX61" fmla="*/ 1678075 w 11867103"/>
              <a:gd name="connsiteY61" fmla="*/ 2905824 h 2936314"/>
              <a:gd name="connsiteX62" fmla="*/ 1607736 w 11867103"/>
              <a:gd name="connsiteY62" fmla="*/ 2935969 h 2936314"/>
              <a:gd name="connsiteX63" fmla="*/ 1135464 w 11867103"/>
              <a:gd name="connsiteY63" fmla="*/ 2915872 h 2936314"/>
              <a:gd name="connsiteX64" fmla="*/ 944545 w 11867103"/>
              <a:gd name="connsiteY64" fmla="*/ 2885727 h 2936314"/>
              <a:gd name="connsiteX65" fmla="*/ 723481 w 11867103"/>
              <a:gd name="connsiteY65" fmla="*/ 2845534 h 2936314"/>
              <a:gd name="connsiteX66" fmla="*/ 643095 w 11867103"/>
              <a:gd name="connsiteY66" fmla="*/ 2835485 h 2936314"/>
              <a:gd name="connsiteX67" fmla="*/ 371789 w 11867103"/>
              <a:gd name="connsiteY67" fmla="*/ 2795292 h 2936314"/>
              <a:gd name="connsiteX68" fmla="*/ 0 w 11867103"/>
              <a:gd name="connsiteY68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16862 w 11867103"/>
              <a:gd name="connsiteY19" fmla="*/ 222914 h 2936314"/>
              <a:gd name="connsiteX20" fmla="*/ 11826910 w 11867103"/>
              <a:gd name="connsiteY20" fmla="*/ 313349 h 2936314"/>
              <a:gd name="connsiteX21" fmla="*/ 11836958 w 11867103"/>
              <a:gd name="connsiteY21" fmla="*/ 393736 h 2936314"/>
              <a:gd name="connsiteX22" fmla="*/ 11826910 w 11867103"/>
              <a:gd name="connsiteY22" fmla="*/ 705235 h 2936314"/>
              <a:gd name="connsiteX23" fmla="*/ 11816862 w 11867103"/>
              <a:gd name="connsiteY23" fmla="*/ 765525 h 2936314"/>
              <a:gd name="connsiteX24" fmla="*/ 11806813 w 11867103"/>
              <a:gd name="connsiteY24" fmla="*/ 835863 h 2936314"/>
              <a:gd name="connsiteX25" fmla="*/ 11816862 w 11867103"/>
              <a:gd name="connsiteY25" fmla="*/ 2302923 h 2936314"/>
              <a:gd name="connsiteX26" fmla="*/ 11826910 w 11867103"/>
              <a:gd name="connsiteY26" fmla="*/ 2373261 h 2936314"/>
              <a:gd name="connsiteX27" fmla="*/ 11836958 w 11867103"/>
              <a:gd name="connsiteY27" fmla="*/ 2403406 h 2936314"/>
              <a:gd name="connsiteX28" fmla="*/ 11857055 w 11867103"/>
              <a:gd name="connsiteY28" fmla="*/ 2534035 h 2936314"/>
              <a:gd name="connsiteX29" fmla="*/ 11867103 w 11867103"/>
              <a:gd name="connsiteY29" fmla="*/ 2574228 h 2936314"/>
              <a:gd name="connsiteX30" fmla="*/ 11857055 w 11867103"/>
              <a:gd name="connsiteY30" fmla="*/ 2805340 h 2936314"/>
              <a:gd name="connsiteX31" fmla="*/ 11836958 w 11867103"/>
              <a:gd name="connsiteY31" fmla="*/ 2835485 h 2936314"/>
              <a:gd name="connsiteX32" fmla="*/ 11033090 w 11867103"/>
              <a:gd name="connsiteY32" fmla="*/ 2825437 h 2936314"/>
              <a:gd name="connsiteX33" fmla="*/ 10621108 w 11867103"/>
              <a:gd name="connsiteY33" fmla="*/ 2815389 h 2936314"/>
              <a:gd name="connsiteX34" fmla="*/ 10128739 w 11867103"/>
              <a:gd name="connsiteY34" fmla="*/ 2825437 h 2936314"/>
              <a:gd name="connsiteX35" fmla="*/ 10048352 w 11867103"/>
              <a:gd name="connsiteY35" fmla="*/ 2835485 h 2936314"/>
              <a:gd name="connsiteX36" fmla="*/ 9555982 w 11867103"/>
              <a:gd name="connsiteY36" fmla="*/ 2825437 h 2936314"/>
              <a:gd name="connsiteX37" fmla="*/ 9445451 w 11867103"/>
              <a:gd name="connsiteY37" fmla="*/ 2815389 h 2936314"/>
              <a:gd name="connsiteX38" fmla="*/ 9415306 w 11867103"/>
              <a:gd name="connsiteY38" fmla="*/ 2795292 h 2936314"/>
              <a:gd name="connsiteX39" fmla="*/ 9204290 w 11867103"/>
              <a:gd name="connsiteY39" fmla="*/ 2775195 h 2936314"/>
              <a:gd name="connsiteX40" fmla="*/ 9073662 w 11867103"/>
              <a:gd name="connsiteY40" fmla="*/ 2755098 h 2936314"/>
              <a:gd name="connsiteX41" fmla="*/ 8812404 w 11867103"/>
              <a:gd name="connsiteY41" fmla="*/ 2745050 h 2936314"/>
              <a:gd name="connsiteX42" fmla="*/ 8400422 w 11867103"/>
              <a:gd name="connsiteY42" fmla="*/ 2735002 h 2936314"/>
              <a:gd name="connsiteX43" fmla="*/ 8269793 w 11867103"/>
              <a:gd name="connsiteY43" fmla="*/ 2724953 h 2936314"/>
              <a:gd name="connsiteX44" fmla="*/ 7797521 w 11867103"/>
              <a:gd name="connsiteY44" fmla="*/ 2745050 h 2936314"/>
              <a:gd name="connsiteX45" fmla="*/ 7717134 w 11867103"/>
              <a:gd name="connsiteY45" fmla="*/ 2755098 h 2936314"/>
              <a:gd name="connsiteX46" fmla="*/ 7486022 w 11867103"/>
              <a:gd name="connsiteY46" fmla="*/ 2785244 h 2936314"/>
              <a:gd name="connsiteX47" fmla="*/ 7395587 w 11867103"/>
              <a:gd name="connsiteY47" fmla="*/ 2805340 h 2936314"/>
              <a:gd name="connsiteX48" fmla="*/ 7325248 w 11867103"/>
              <a:gd name="connsiteY48" fmla="*/ 2815389 h 2936314"/>
              <a:gd name="connsiteX49" fmla="*/ 6863024 w 11867103"/>
              <a:gd name="connsiteY49" fmla="*/ 2805340 h 2936314"/>
              <a:gd name="connsiteX50" fmla="*/ 6722347 w 11867103"/>
              <a:gd name="connsiteY50" fmla="*/ 2795292 h 2936314"/>
              <a:gd name="connsiteX51" fmla="*/ 4903596 w 11867103"/>
              <a:gd name="connsiteY51" fmla="*/ 2845534 h 2936314"/>
              <a:gd name="connsiteX52" fmla="*/ 4722725 w 11867103"/>
              <a:gd name="connsiteY52" fmla="*/ 2885727 h 2936314"/>
              <a:gd name="connsiteX53" fmla="*/ 4300695 w 11867103"/>
              <a:gd name="connsiteY53" fmla="*/ 2865630 h 2936314"/>
              <a:gd name="connsiteX54" fmla="*/ 4059534 w 11867103"/>
              <a:gd name="connsiteY54" fmla="*/ 2825437 h 2936314"/>
              <a:gd name="connsiteX55" fmla="*/ 3768132 w 11867103"/>
              <a:gd name="connsiteY55" fmla="*/ 2795292 h 2936314"/>
              <a:gd name="connsiteX56" fmla="*/ 3627455 w 11867103"/>
              <a:gd name="connsiteY56" fmla="*/ 2785244 h 2936314"/>
              <a:gd name="connsiteX57" fmla="*/ 3125037 w 11867103"/>
              <a:gd name="connsiteY57" fmla="*/ 2795292 h 2936314"/>
              <a:gd name="connsiteX58" fmla="*/ 3064747 w 11867103"/>
              <a:gd name="connsiteY58" fmla="*/ 2805340 h 2936314"/>
              <a:gd name="connsiteX59" fmla="*/ 2009670 w 11867103"/>
              <a:gd name="connsiteY59" fmla="*/ 2815389 h 2936314"/>
              <a:gd name="connsiteX60" fmla="*/ 1678075 w 11867103"/>
              <a:gd name="connsiteY60" fmla="*/ 2905824 h 2936314"/>
              <a:gd name="connsiteX61" fmla="*/ 1607736 w 11867103"/>
              <a:gd name="connsiteY61" fmla="*/ 2935969 h 2936314"/>
              <a:gd name="connsiteX62" fmla="*/ 1135464 w 11867103"/>
              <a:gd name="connsiteY62" fmla="*/ 2915872 h 2936314"/>
              <a:gd name="connsiteX63" fmla="*/ 944545 w 11867103"/>
              <a:gd name="connsiteY63" fmla="*/ 2885727 h 2936314"/>
              <a:gd name="connsiteX64" fmla="*/ 723481 w 11867103"/>
              <a:gd name="connsiteY64" fmla="*/ 2845534 h 2936314"/>
              <a:gd name="connsiteX65" fmla="*/ 643095 w 11867103"/>
              <a:gd name="connsiteY65" fmla="*/ 2835485 h 2936314"/>
              <a:gd name="connsiteX66" fmla="*/ 371789 w 11867103"/>
              <a:gd name="connsiteY66" fmla="*/ 2795292 h 2936314"/>
              <a:gd name="connsiteX67" fmla="*/ 0 w 11867103"/>
              <a:gd name="connsiteY67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26910 w 11867103"/>
              <a:gd name="connsiteY19" fmla="*/ 313349 h 2936314"/>
              <a:gd name="connsiteX20" fmla="*/ 11836958 w 11867103"/>
              <a:gd name="connsiteY20" fmla="*/ 393736 h 2936314"/>
              <a:gd name="connsiteX21" fmla="*/ 11826910 w 11867103"/>
              <a:gd name="connsiteY21" fmla="*/ 705235 h 2936314"/>
              <a:gd name="connsiteX22" fmla="*/ 11816862 w 11867103"/>
              <a:gd name="connsiteY22" fmla="*/ 765525 h 2936314"/>
              <a:gd name="connsiteX23" fmla="*/ 11806813 w 11867103"/>
              <a:gd name="connsiteY23" fmla="*/ 835863 h 2936314"/>
              <a:gd name="connsiteX24" fmla="*/ 11816862 w 11867103"/>
              <a:gd name="connsiteY24" fmla="*/ 2302923 h 2936314"/>
              <a:gd name="connsiteX25" fmla="*/ 11826910 w 11867103"/>
              <a:gd name="connsiteY25" fmla="*/ 2373261 h 2936314"/>
              <a:gd name="connsiteX26" fmla="*/ 11836958 w 11867103"/>
              <a:gd name="connsiteY26" fmla="*/ 2403406 h 2936314"/>
              <a:gd name="connsiteX27" fmla="*/ 11857055 w 11867103"/>
              <a:gd name="connsiteY27" fmla="*/ 2534035 h 2936314"/>
              <a:gd name="connsiteX28" fmla="*/ 11867103 w 11867103"/>
              <a:gd name="connsiteY28" fmla="*/ 2574228 h 2936314"/>
              <a:gd name="connsiteX29" fmla="*/ 11857055 w 11867103"/>
              <a:gd name="connsiteY29" fmla="*/ 2805340 h 2936314"/>
              <a:gd name="connsiteX30" fmla="*/ 11836958 w 11867103"/>
              <a:gd name="connsiteY30" fmla="*/ 2835485 h 2936314"/>
              <a:gd name="connsiteX31" fmla="*/ 11033090 w 11867103"/>
              <a:gd name="connsiteY31" fmla="*/ 2825437 h 2936314"/>
              <a:gd name="connsiteX32" fmla="*/ 10621108 w 11867103"/>
              <a:gd name="connsiteY32" fmla="*/ 2815389 h 2936314"/>
              <a:gd name="connsiteX33" fmla="*/ 10128739 w 11867103"/>
              <a:gd name="connsiteY33" fmla="*/ 2825437 h 2936314"/>
              <a:gd name="connsiteX34" fmla="*/ 10048352 w 11867103"/>
              <a:gd name="connsiteY34" fmla="*/ 2835485 h 2936314"/>
              <a:gd name="connsiteX35" fmla="*/ 9555982 w 11867103"/>
              <a:gd name="connsiteY35" fmla="*/ 2825437 h 2936314"/>
              <a:gd name="connsiteX36" fmla="*/ 9445451 w 11867103"/>
              <a:gd name="connsiteY36" fmla="*/ 2815389 h 2936314"/>
              <a:gd name="connsiteX37" fmla="*/ 9415306 w 11867103"/>
              <a:gd name="connsiteY37" fmla="*/ 2795292 h 2936314"/>
              <a:gd name="connsiteX38" fmla="*/ 9204290 w 11867103"/>
              <a:gd name="connsiteY38" fmla="*/ 2775195 h 2936314"/>
              <a:gd name="connsiteX39" fmla="*/ 9073662 w 11867103"/>
              <a:gd name="connsiteY39" fmla="*/ 2755098 h 2936314"/>
              <a:gd name="connsiteX40" fmla="*/ 8812404 w 11867103"/>
              <a:gd name="connsiteY40" fmla="*/ 2745050 h 2936314"/>
              <a:gd name="connsiteX41" fmla="*/ 8400422 w 11867103"/>
              <a:gd name="connsiteY41" fmla="*/ 2735002 h 2936314"/>
              <a:gd name="connsiteX42" fmla="*/ 8269793 w 11867103"/>
              <a:gd name="connsiteY42" fmla="*/ 2724953 h 2936314"/>
              <a:gd name="connsiteX43" fmla="*/ 7797521 w 11867103"/>
              <a:gd name="connsiteY43" fmla="*/ 2745050 h 2936314"/>
              <a:gd name="connsiteX44" fmla="*/ 7717134 w 11867103"/>
              <a:gd name="connsiteY44" fmla="*/ 2755098 h 2936314"/>
              <a:gd name="connsiteX45" fmla="*/ 7486022 w 11867103"/>
              <a:gd name="connsiteY45" fmla="*/ 2785244 h 2936314"/>
              <a:gd name="connsiteX46" fmla="*/ 7395587 w 11867103"/>
              <a:gd name="connsiteY46" fmla="*/ 2805340 h 2936314"/>
              <a:gd name="connsiteX47" fmla="*/ 7325248 w 11867103"/>
              <a:gd name="connsiteY47" fmla="*/ 2815389 h 2936314"/>
              <a:gd name="connsiteX48" fmla="*/ 6863024 w 11867103"/>
              <a:gd name="connsiteY48" fmla="*/ 2805340 h 2936314"/>
              <a:gd name="connsiteX49" fmla="*/ 6722347 w 11867103"/>
              <a:gd name="connsiteY49" fmla="*/ 2795292 h 2936314"/>
              <a:gd name="connsiteX50" fmla="*/ 4903596 w 11867103"/>
              <a:gd name="connsiteY50" fmla="*/ 2845534 h 2936314"/>
              <a:gd name="connsiteX51" fmla="*/ 4722725 w 11867103"/>
              <a:gd name="connsiteY51" fmla="*/ 2885727 h 2936314"/>
              <a:gd name="connsiteX52" fmla="*/ 4300695 w 11867103"/>
              <a:gd name="connsiteY52" fmla="*/ 2865630 h 2936314"/>
              <a:gd name="connsiteX53" fmla="*/ 4059534 w 11867103"/>
              <a:gd name="connsiteY53" fmla="*/ 2825437 h 2936314"/>
              <a:gd name="connsiteX54" fmla="*/ 3768132 w 11867103"/>
              <a:gd name="connsiteY54" fmla="*/ 2795292 h 2936314"/>
              <a:gd name="connsiteX55" fmla="*/ 3627455 w 11867103"/>
              <a:gd name="connsiteY55" fmla="*/ 2785244 h 2936314"/>
              <a:gd name="connsiteX56" fmla="*/ 3125037 w 11867103"/>
              <a:gd name="connsiteY56" fmla="*/ 2795292 h 2936314"/>
              <a:gd name="connsiteX57" fmla="*/ 3064747 w 11867103"/>
              <a:gd name="connsiteY57" fmla="*/ 2805340 h 2936314"/>
              <a:gd name="connsiteX58" fmla="*/ 2009670 w 11867103"/>
              <a:gd name="connsiteY58" fmla="*/ 2815389 h 2936314"/>
              <a:gd name="connsiteX59" fmla="*/ 1678075 w 11867103"/>
              <a:gd name="connsiteY59" fmla="*/ 2905824 h 2936314"/>
              <a:gd name="connsiteX60" fmla="*/ 1607736 w 11867103"/>
              <a:gd name="connsiteY60" fmla="*/ 2935969 h 2936314"/>
              <a:gd name="connsiteX61" fmla="*/ 1135464 w 11867103"/>
              <a:gd name="connsiteY61" fmla="*/ 2915872 h 2936314"/>
              <a:gd name="connsiteX62" fmla="*/ 944545 w 11867103"/>
              <a:gd name="connsiteY62" fmla="*/ 2885727 h 2936314"/>
              <a:gd name="connsiteX63" fmla="*/ 723481 w 11867103"/>
              <a:gd name="connsiteY63" fmla="*/ 2845534 h 2936314"/>
              <a:gd name="connsiteX64" fmla="*/ 643095 w 11867103"/>
              <a:gd name="connsiteY64" fmla="*/ 2835485 h 2936314"/>
              <a:gd name="connsiteX65" fmla="*/ 371789 w 11867103"/>
              <a:gd name="connsiteY65" fmla="*/ 2795292 h 2936314"/>
              <a:gd name="connsiteX66" fmla="*/ 0 w 11867103"/>
              <a:gd name="connsiteY66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36958 w 11867103"/>
              <a:gd name="connsiteY19" fmla="*/ 393736 h 2936314"/>
              <a:gd name="connsiteX20" fmla="*/ 11826910 w 11867103"/>
              <a:gd name="connsiteY20" fmla="*/ 705235 h 2936314"/>
              <a:gd name="connsiteX21" fmla="*/ 11816862 w 11867103"/>
              <a:gd name="connsiteY21" fmla="*/ 765525 h 2936314"/>
              <a:gd name="connsiteX22" fmla="*/ 11806813 w 11867103"/>
              <a:gd name="connsiteY22" fmla="*/ 835863 h 2936314"/>
              <a:gd name="connsiteX23" fmla="*/ 11816862 w 11867103"/>
              <a:gd name="connsiteY23" fmla="*/ 2302923 h 2936314"/>
              <a:gd name="connsiteX24" fmla="*/ 11826910 w 11867103"/>
              <a:gd name="connsiteY24" fmla="*/ 2373261 h 2936314"/>
              <a:gd name="connsiteX25" fmla="*/ 11836958 w 11867103"/>
              <a:gd name="connsiteY25" fmla="*/ 2403406 h 2936314"/>
              <a:gd name="connsiteX26" fmla="*/ 11857055 w 11867103"/>
              <a:gd name="connsiteY26" fmla="*/ 2534035 h 2936314"/>
              <a:gd name="connsiteX27" fmla="*/ 11867103 w 11867103"/>
              <a:gd name="connsiteY27" fmla="*/ 2574228 h 2936314"/>
              <a:gd name="connsiteX28" fmla="*/ 11857055 w 11867103"/>
              <a:gd name="connsiteY28" fmla="*/ 2805340 h 2936314"/>
              <a:gd name="connsiteX29" fmla="*/ 11836958 w 11867103"/>
              <a:gd name="connsiteY29" fmla="*/ 2835485 h 2936314"/>
              <a:gd name="connsiteX30" fmla="*/ 11033090 w 11867103"/>
              <a:gd name="connsiteY30" fmla="*/ 2825437 h 2936314"/>
              <a:gd name="connsiteX31" fmla="*/ 10621108 w 11867103"/>
              <a:gd name="connsiteY31" fmla="*/ 2815389 h 2936314"/>
              <a:gd name="connsiteX32" fmla="*/ 10128739 w 11867103"/>
              <a:gd name="connsiteY32" fmla="*/ 2825437 h 2936314"/>
              <a:gd name="connsiteX33" fmla="*/ 10048352 w 11867103"/>
              <a:gd name="connsiteY33" fmla="*/ 2835485 h 2936314"/>
              <a:gd name="connsiteX34" fmla="*/ 9555982 w 11867103"/>
              <a:gd name="connsiteY34" fmla="*/ 2825437 h 2936314"/>
              <a:gd name="connsiteX35" fmla="*/ 9445451 w 11867103"/>
              <a:gd name="connsiteY35" fmla="*/ 2815389 h 2936314"/>
              <a:gd name="connsiteX36" fmla="*/ 9415306 w 11867103"/>
              <a:gd name="connsiteY36" fmla="*/ 2795292 h 2936314"/>
              <a:gd name="connsiteX37" fmla="*/ 9204290 w 11867103"/>
              <a:gd name="connsiteY37" fmla="*/ 2775195 h 2936314"/>
              <a:gd name="connsiteX38" fmla="*/ 9073662 w 11867103"/>
              <a:gd name="connsiteY38" fmla="*/ 2755098 h 2936314"/>
              <a:gd name="connsiteX39" fmla="*/ 8812404 w 11867103"/>
              <a:gd name="connsiteY39" fmla="*/ 2745050 h 2936314"/>
              <a:gd name="connsiteX40" fmla="*/ 8400422 w 11867103"/>
              <a:gd name="connsiteY40" fmla="*/ 2735002 h 2936314"/>
              <a:gd name="connsiteX41" fmla="*/ 8269793 w 11867103"/>
              <a:gd name="connsiteY41" fmla="*/ 2724953 h 2936314"/>
              <a:gd name="connsiteX42" fmla="*/ 7797521 w 11867103"/>
              <a:gd name="connsiteY42" fmla="*/ 2745050 h 2936314"/>
              <a:gd name="connsiteX43" fmla="*/ 7717134 w 11867103"/>
              <a:gd name="connsiteY43" fmla="*/ 2755098 h 2936314"/>
              <a:gd name="connsiteX44" fmla="*/ 7486022 w 11867103"/>
              <a:gd name="connsiteY44" fmla="*/ 2785244 h 2936314"/>
              <a:gd name="connsiteX45" fmla="*/ 7395587 w 11867103"/>
              <a:gd name="connsiteY45" fmla="*/ 2805340 h 2936314"/>
              <a:gd name="connsiteX46" fmla="*/ 7325248 w 11867103"/>
              <a:gd name="connsiteY46" fmla="*/ 2815389 h 2936314"/>
              <a:gd name="connsiteX47" fmla="*/ 6863024 w 11867103"/>
              <a:gd name="connsiteY47" fmla="*/ 2805340 h 2936314"/>
              <a:gd name="connsiteX48" fmla="*/ 6722347 w 11867103"/>
              <a:gd name="connsiteY48" fmla="*/ 2795292 h 2936314"/>
              <a:gd name="connsiteX49" fmla="*/ 4903596 w 11867103"/>
              <a:gd name="connsiteY49" fmla="*/ 2845534 h 2936314"/>
              <a:gd name="connsiteX50" fmla="*/ 4722725 w 11867103"/>
              <a:gd name="connsiteY50" fmla="*/ 2885727 h 2936314"/>
              <a:gd name="connsiteX51" fmla="*/ 4300695 w 11867103"/>
              <a:gd name="connsiteY51" fmla="*/ 2865630 h 2936314"/>
              <a:gd name="connsiteX52" fmla="*/ 4059534 w 11867103"/>
              <a:gd name="connsiteY52" fmla="*/ 2825437 h 2936314"/>
              <a:gd name="connsiteX53" fmla="*/ 3768132 w 11867103"/>
              <a:gd name="connsiteY53" fmla="*/ 2795292 h 2936314"/>
              <a:gd name="connsiteX54" fmla="*/ 3627455 w 11867103"/>
              <a:gd name="connsiteY54" fmla="*/ 2785244 h 2936314"/>
              <a:gd name="connsiteX55" fmla="*/ 3125037 w 11867103"/>
              <a:gd name="connsiteY55" fmla="*/ 2795292 h 2936314"/>
              <a:gd name="connsiteX56" fmla="*/ 3064747 w 11867103"/>
              <a:gd name="connsiteY56" fmla="*/ 2805340 h 2936314"/>
              <a:gd name="connsiteX57" fmla="*/ 2009670 w 11867103"/>
              <a:gd name="connsiteY57" fmla="*/ 2815389 h 2936314"/>
              <a:gd name="connsiteX58" fmla="*/ 1678075 w 11867103"/>
              <a:gd name="connsiteY58" fmla="*/ 2905824 h 2936314"/>
              <a:gd name="connsiteX59" fmla="*/ 1607736 w 11867103"/>
              <a:gd name="connsiteY59" fmla="*/ 2935969 h 2936314"/>
              <a:gd name="connsiteX60" fmla="*/ 1135464 w 11867103"/>
              <a:gd name="connsiteY60" fmla="*/ 2915872 h 2936314"/>
              <a:gd name="connsiteX61" fmla="*/ 944545 w 11867103"/>
              <a:gd name="connsiteY61" fmla="*/ 2885727 h 2936314"/>
              <a:gd name="connsiteX62" fmla="*/ 723481 w 11867103"/>
              <a:gd name="connsiteY62" fmla="*/ 2845534 h 2936314"/>
              <a:gd name="connsiteX63" fmla="*/ 643095 w 11867103"/>
              <a:gd name="connsiteY63" fmla="*/ 2835485 h 2936314"/>
              <a:gd name="connsiteX64" fmla="*/ 371789 w 11867103"/>
              <a:gd name="connsiteY64" fmla="*/ 2795292 h 2936314"/>
              <a:gd name="connsiteX65" fmla="*/ 0 w 11867103"/>
              <a:gd name="connsiteY65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26910 w 11867103"/>
              <a:gd name="connsiteY19" fmla="*/ 705235 h 2936314"/>
              <a:gd name="connsiteX20" fmla="*/ 11816862 w 11867103"/>
              <a:gd name="connsiteY20" fmla="*/ 765525 h 2936314"/>
              <a:gd name="connsiteX21" fmla="*/ 11806813 w 11867103"/>
              <a:gd name="connsiteY21" fmla="*/ 835863 h 2936314"/>
              <a:gd name="connsiteX22" fmla="*/ 11816862 w 11867103"/>
              <a:gd name="connsiteY22" fmla="*/ 2302923 h 2936314"/>
              <a:gd name="connsiteX23" fmla="*/ 11826910 w 11867103"/>
              <a:gd name="connsiteY23" fmla="*/ 2373261 h 2936314"/>
              <a:gd name="connsiteX24" fmla="*/ 11836958 w 11867103"/>
              <a:gd name="connsiteY24" fmla="*/ 2403406 h 2936314"/>
              <a:gd name="connsiteX25" fmla="*/ 11857055 w 11867103"/>
              <a:gd name="connsiteY25" fmla="*/ 2534035 h 2936314"/>
              <a:gd name="connsiteX26" fmla="*/ 11867103 w 11867103"/>
              <a:gd name="connsiteY26" fmla="*/ 2574228 h 2936314"/>
              <a:gd name="connsiteX27" fmla="*/ 11857055 w 11867103"/>
              <a:gd name="connsiteY27" fmla="*/ 2805340 h 2936314"/>
              <a:gd name="connsiteX28" fmla="*/ 11836958 w 11867103"/>
              <a:gd name="connsiteY28" fmla="*/ 2835485 h 2936314"/>
              <a:gd name="connsiteX29" fmla="*/ 11033090 w 11867103"/>
              <a:gd name="connsiteY29" fmla="*/ 2825437 h 2936314"/>
              <a:gd name="connsiteX30" fmla="*/ 10621108 w 11867103"/>
              <a:gd name="connsiteY30" fmla="*/ 2815389 h 2936314"/>
              <a:gd name="connsiteX31" fmla="*/ 10128739 w 11867103"/>
              <a:gd name="connsiteY31" fmla="*/ 2825437 h 2936314"/>
              <a:gd name="connsiteX32" fmla="*/ 10048352 w 11867103"/>
              <a:gd name="connsiteY32" fmla="*/ 2835485 h 2936314"/>
              <a:gd name="connsiteX33" fmla="*/ 9555982 w 11867103"/>
              <a:gd name="connsiteY33" fmla="*/ 2825437 h 2936314"/>
              <a:gd name="connsiteX34" fmla="*/ 9445451 w 11867103"/>
              <a:gd name="connsiteY34" fmla="*/ 2815389 h 2936314"/>
              <a:gd name="connsiteX35" fmla="*/ 9415306 w 11867103"/>
              <a:gd name="connsiteY35" fmla="*/ 2795292 h 2936314"/>
              <a:gd name="connsiteX36" fmla="*/ 9204290 w 11867103"/>
              <a:gd name="connsiteY36" fmla="*/ 2775195 h 2936314"/>
              <a:gd name="connsiteX37" fmla="*/ 9073662 w 11867103"/>
              <a:gd name="connsiteY37" fmla="*/ 2755098 h 2936314"/>
              <a:gd name="connsiteX38" fmla="*/ 8812404 w 11867103"/>
              <a:gd name="connsiteY38" fmla="*/ 2745050 h 2936314"/>
              <a:gd name="connsiteX39" fmla="*/ 8400422 w 11867103"/>
              <a:gd name="connsiteY39" fmla="*/ 2735002 h 2936314"/>
              <a:gd name="connsiteX40" fmla="*/ 8269793 w 11867103"/>
              <a:gd name="connsiteY40" fmla="*/ 2724953 h 2936314"/>
              <a:gd name="connsiteX41" fmla="*/ 7797521 w 11867103"/>
              <a:gd name="connsiteY41" fmla="*/ 2745050 h 2936314"/>
              <a:gd name="connsiteX42" fmla="*/ 7717134 w 11867103"/>
              <a:gd name="connsiteY42" fmla="*/ 2755098 h 2936314"/>
              <a:gd name="connsiteX43" fmla="*/ 7486022 w 11867103"/>
              <a:gd name="connsiteY43" fmla="*/ 2785244 h 2936314"/>
              <a:gd name="connsiteX44" fmla="*/ 7395587 w 11867103"/>
              <a:gd name="connsiteY44" fmla="*/ 2805340 h 2936314"/>
              <a:gd name="connsiteX45" fmla="*/ 7325248 w 11867103"/>
              <a:gd name="connsiteY45" fmla="*/ 2815389 h 2936314"/>
              <a:gd name="connsiteX46" fmla="*/ 6863024 w 11867103"/>
              <a:gd name="connsiteY46" fmla="*/ 2805340 h 2936314"/>
              <a:gd name="connsiteX47" fmla="*/ 6722347 w 11867103"/>
              <a:gd name="connsiteY47" fmla="*/ 2795292 h 2936314"/>
              <a:gd name="connsiteX48" fmla="*/ 4903596 w 11867103"/>
              <a:gd name="connsiteY48" fmla="*/ 2845534 h 2936314"/>
              <a:gd name="connsiteX49" fmla="*/ 4722725 w 11867103"/>
              <a:gd name="connsiteY49" fmla="*/ 2885727 h 2936314"/>
              <a:gd name="connsiteX50" fmla="*/ 4300695 w 11867103"/>
              <a:gd name="connsiteY50" fmla="*/ 2865630 h 2936314"/>
              <a:gd name="connsiteX51" fmla="*/ 4059534 w 11867103"/>
              <a:gd name="connsiteY51" fmla="*/ 2825437 h 2936314"/>
              <a:gd name="connsiteX52" fmla="*/ 3768132 w 11867103"/>
              <a:gd name="connsiteY52" fmla="*/ 2795292 h 2936314"/>
              <a:gd name="connsiteX53" fmla="*/ 3627455 w 11867103"/>
              <a:gd name="connsiteY53" fmla="*/ 2785244 h 2936314"/>
              <a:gd name="connsiteX54" fmla="*/ 3125037 w 11867103"/>
              <a:gd name="connsiteY54" fmla="*/ 2795292 h 2936314"/>
              <a:gd name="connsiteX55" fmla="*/ 3064747 w 11867103"/>
              <a:gd name="connsiteY55" fmla="*/ 2805340 h 2936314"/>
              <a:gd name="connsiteX56" fmla="*/ 2009670 w 11867103"/>
              <a:gd name="connsiteY56" fmla="*/ 2815389 h 2936314"/>
              <a:gd name="connsiteX57" fmla="*/ 1678075 w 11867103"/>
              <a:gd name="connsiteY57" fmla="*/ 2905824 h 2936314"/>
              <a:gd name="connsiteX58" fmla="*/ 1607736 w 11867103"/>
              <a:gd name="connsiteY58" fmla="*/ 2935969 h 2936314"/>
              <a:gd name="connsiteX59" fmla="*/ 1135464 w 11867103"/>
              <a:gd name="connsiteY59" fmla="*/ 2915872 h 2936314"/>
              <a:gd name="connsiteX60" fmla="*/ 944545 w 11867103"/>
              <a:gd name="connsiteY60" fmla="*/ 2885727 h 2936314"/>
              <a:gd name="connsiteX61" fmla="*/ 723481 w 11867103"/>
              <a:gd name="connsiteY61" fmla="*/ 2845534 h 2936314"/>
              <a:gd name="connsiteX62" fmla="*/ 643095 w 11867103"/>
              <a:gd name="connsiteY62" fmla="*/ 2835485 h 2936314"/>
              <a:gd name="connsiteX63" fmla="*/ 371789 w 11867103"/>
              <a:gd name="connsiteY63" fmla="*/ 2795292 h 2936314"/>
              <a:gd name="connsiteX64" fmla="*/ 0 w 11867103"/>
              <a:gd name="connsiteY64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26910 w 11867103"/>
              <a:gd name="connsiteY19" fmla="*/ 705235 h 2936314"/>
              <a:gd name="connsiteX20" fmla="*/ 11806813 w 11867103"/>
              <a:gd name="connsiteY20" fmla="*/ 835863 h 2936314"/>
              <a:gd name="connsiteX21" fmla="*/ 11816862 w 11867103"/>
              <a:gd name="connsiteY21" fmla="*/ 2302923 h 2936314"/>
              <a:gd name="connsiteX22" fmla="*/ 11826910 w 11867103"/>
              <a:gd name="connsiteY22" fmla="*/ 2373261 h 2936314"/>
              <a:gd name="connsiteX23" fmla="*/ 11836958 w 11867103"/>
              <a:gd name="connsiteY23" fmla="*/ 2403406 h 2936314"/>
              <a:gd name="connsiteX24" fmla="*/ 11857055 w 11867103"/>
              <a:gd name="connsiteY24" fmla="*/ 2534035 h 2936314"/>
              <a:gd name="connsiteX25" fmla="*/ 11867103 w 11867103"/>
              <a:gd name="connsiteY25" fmla="*/ 2574228 h 2936314"/>
              <a:gd name="connsiteX26" fmla="*/ 11857055 w 11867103"/>
              <a:gd name="connsiteY26" fmla="*/ 2805340 h 2936314"/>
              <a:gd name="connsiteX27" fmla="*/ 11836958 w 11867103"/>
              <a:gd name="connsiteY27" fmla="*/ 2835485 h 2936314"/>
              <a:gd name="connsiteX28" fmla="*/ 11033090 w 11867103"/>
              <a:gd name="connsiteY28" fmla="*/ 2825437 h 2936314"/>
              <a:gd name="connsiteX29" fmla="*/ 10621108 w 11867103"/>
              <a:gd name="connsiteY29" fmla="*/ 2815389 h 2936314"/>
              <a:gd name="connsiteX30" fmla="*/ 10128739 w 11867103"/>
              <a:gd name="connsiteY30" fmla="*/ 2825437 h 2936314"/>
              <a:gd name="connsiteX31" fmla="*/ 10048352 w 11867103"/>
              <a:gd name="connsiteY31" fmla="*/ 2835485 h 2936314"/>
              <a:gd name="connsiteX32" fmla="*/ 9555982 w 11867103"/>
              <a:gd name="connsiteY32" fmla="*/ 2825437 h 2936314"/>
              <a:gd name="connsiteX33" fmla="*/ 9445451 w 11867103"/>
              <a:gd name="connsiteY33" fmla="*/ 2815389 h 2936314"/>
              <a:gd name="connsiteX34" fmla="*/ 9415306 w 11867103"/>
              <a:gd name="connsiteY34" fmla="*/ 2795292 h 2936314"/>
              <a:gd name="connsiteX35" fmla="*/ 9204290 w 11867103"/>
              <a:gd name="connsiteY35" fmla="*/ 2775195 h 2936314"/>
              <a:gd name="connsiteX36" fmla="*/ 9073662 w 11867103"/>
              <a:gd name="connsiteY36" fmla="*/ 2755098 h 2936314"/>
              <a:gd name="connsiteX37" fmla="*/ 8812404 w 11867103"/>
              <a:gd name="connsiteY37" fmla="*/ 2745050 h 2936314"/>
              <a:gd name="connsiteX38" fmla="*/ 8400422 w 11867103"/>
              <a:gd name="connsiteY38" fmla="*/ 2735002 h 2936314"/>
              <a:gd name="connsiteX39" fmla="*/ 8269793 w 11867103"/>
              <a:gd name="connsiteY39" fmla="*/ 2724953 h 2936314"/>
              <a:gd name="connsiteX40" fmla="*/ 7797521 w 11867103"/>
              <a:gd name="connsiteY40" fmla="*/ 2745050 h 2936314"/>
              <a:gd name="connsiteX41" fmla="*/ 7717134 w 11867103"/>
              <a:gd name="connsiteY41" fmla="*/ 2755098 h 2936314"/>
              <a:gd name="connsiteX42" fmla="*/ 7486022 w 11867103"/>
              <a:gd name="connsiteY42" fmla="*/ 2785244 h 2936314"/>
              <a:gd name="connsiteX43" fmla="*/ 7395587 w 11867103"/>
              <a:gd name="connsiteY43" fmla="*/ 2805340 h 2936314"/>
              <a:gd name="connsiteX44" fmla="*/ 7325248 w 11867103"/>
              <a:gd name="connsiteY44" fmla="*/ 2815389 h 2936314"/>
              <a:gd name="connsiteX45" fmla="*/ 6863024 w 11867103"/>
              <a:gd name="connsiteY45" fmla="*/ 2805340 h 2936314"/>
              <a:gd name="connsiteX46" fmla="*/ 6722347 w 11867103"/>
              <a:gd name="connsiteY46" fmla="*/ 2795292 h 2936314"/>
              <a:gd name="connsiteX47" fmla="*/ 4903596 w 11867103"/>
              <a:gd name="connsiteY47" fmla="*/ 2845534 h 2936314"/>
              <a:gd name="connsiteX48" fmla="*/ 4722725 w 11867103"/>
              <a:gd name="connsiteY48" fmla="*/ 2885727 h 2936314"/>
              <a:gd name="connsiteX49" fmla="*/ 4300695 w 11867103"/>
              <a:gd name="connsiteY49" fmla="*/ 2865630 h 2936314"/>
              <a:gd name="connsiteX50" fmla="*/ 4059534 w 11867103"/>
              <a:gd name="connsiteY50" fmla="*/ 2825437 h 2936314"/>
              <a:gd name="connsiteX51" fmla="*/ 3768132 w 11867103"/>
              <a:gd name="connsiteY51" fmla="*/ 2795292 h 2936314"/>
              <a:gd name="connsiteX52" fmla="*/ 3627455 w 11867103"/>
              <a:gd name="connsiteY52" fmla="*/ 2785244 h 2936314"/>
              <a:gd name="connsiteX53" fmla="*/ 3125037 w 11867103"/>
              <a:gd name="connsiteY53" fmla="*/ 2795292 h 2936314"/>
              <a:gd name="connsiteX54" fmla="*/ 3064747 w 11867103"/>
              <a:gd name="connsiteY54" fmla="*/ 2805340 h 2936314"/>
              <a:gd name="connsiteX55" fmla="*/ 2009670 w 11867103"/>
              <a:gd name="connsiteY55" fmla="*/ 2815389 h 2936314"/>
              <a:gd name="connsiteX56" fmla="*/ 1678075 w 11867103"/>
              <a:gd name="connsiteY56" fmla="*/ 2905824 h 2936314"/>
              <a:gd name="connsiteX57" fmla="*/ 1607736 w 11867103"/>
              <a:gd name="connsiteY57" fmla="*/ 2935969 h 2936314"/>
              <a:gd name="connsiteX58" fmla="*/ 1135464 w 11867103"/>
              <a:gd name="connsiteY58" fmla="*/ 2915872 h 2936314"/>
              <a:gd name="connsiteX59" fmla="*/ 944545 w 11867103"/>
              <a:gd name="connsiteY59" fmla="*/ 2885727 h 2936314"/>
              <a:gd name="connsiteX60" fmla="*/ 723481 w 11867103"/>
              <a:gd name="connsiteY60" fmla="*/ 2845534 h 2936314"/>
              <a:gd name="connsiteX61" fmla="*/ 643095 w 11867103"/>
              <a:gd name="connsiteY61" fmla="*/ 2835485 h 2936314"/>
              <a:gd name="connsiteX62" fmla="*/ 371789 w 11867103"/>
              <a:gd name="connsiteY62" fmla="*/ 2795292 h 2936314"/>
              <a:gd name="connsiteX63" fmla="*/ 0 w 11867103"/>
              <a:gd name="connsiteY63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26910 w 11867103"/>
              <a:gd name="connsiteY19" fmla="*/ 705235 h 2936314"/>
              <a:gd name="connsiteX20" fmla="*/ 11816862 w 11867103"/>
              <a:gd name="connsiteY20" fmla="*/ 2302923 h 2936314"/>
              <a:gd name="connsiteX21" fmla="*/ 11826910 w 11867103"/>
              <a:gd name="connsiteY21" fmla="*/ 2373261 h 2936314"/>
              <a:gd name="connsiteX22" fmla="*/ 11836958 w 11867103"/>
              <a:gd name="connsiteY22" fmla="*/ 2403406 h 2936314"/>
              <a:gd name="connsiteX23" fmla="*/ 11857055 w 11867103"/>
              <a:gd name="connsiteY23" fmla="*/ 2534035 h 2936314"/>
              <a:gd name="connsiteX24" fmla="*/ 11867103 w 11867103"/>
              <a:gd name="connsiteY24" fmla="*/ 2574228 h 2936314"/>
              <a:gd name="connsiteX25" fmla="*/ 11857055 w 11867103"/>
              <a:gd name="connsiteY25" fmla="*/ 2805340 h 2936314"/>
              <a:gd name="connsiteX26" fmla="*/ 11836958 w 11867103"/>
              <a:gd name="connsiteY26" fmla="*/ 2835485 h 2936314"/>
              <a:gd name="connsiteX27" fmla="*/ 11033090 w 11867103"/>
              <a:gd name="connsiteY27" fmla="*/ 2825437 h 2936314"/>
              <a:gd name="connsiteX28" fmla="*/ 10621108 w 11867103"/>
              <a:gd name="connsiteY28" fmla="*/ 2815389 h 2936314"/>
              <a:gd name="connsiteX29" fmla="*/ 10128739 w 11867103"/>
              <a:gd name="connsiteY29" fmla="*/ 2825437 h 2936314"/>
              <a:gd name="connsiteX30" fmla="*/ 10048352 w 11867103"/>
              <a:gd name="connsiteY30" fmla="*/ 2835485 h 2936314"/>
              <a:gd name="connsiteX31" fmla="*/ 9555982 w 11867103"/>
              <a:gd name="connsiteY31" fmla="*/ 2825437 h 2936314"/>
              <a:gd name="connsiteX32" fmla="*/ 9445451 w 11867103"/>
              <a:gd name="connsiteY32" fmla="*/ 2815389 h 2936314"/>
              <a:gd name="connsiteX33" fmla="*/ 9415306 w 11867103"/>
              <a:gd name="connsiteY33" fmla="*/ 2795292 h 2936314"/>
              <a:gd name="connsiteX34" fmla="*/ 9204290 w 11867103"/>
              <a:gd name="connsiteY34" fmla="*/ 2775195 h 2936314"/>
              <a:gd name="connsiteX35" fmla="*/ 9073662 w 11867103"/>
              <a:gd name="connsiteY35" fmla="*/ 2755098 h 2936314"/>
              <a:gd name="connsiteX36" fmla="*/ 8812404 w 11867103"/>
              <a:gd name="connsiteY36" fmla="*/ 2745050 h 2936314"/>
              <a:gd name="connsiteX37" fmla="*/ 8400422 w 11867103"/>
              <a:gd name="connsiteY37" fmla="*/ 2735002 h 2936314"/>
              <a:gd name="connsiteX38" fmla="*/ 8269793 w 11867103"/>
              <a:gd name="connsiteY38" fmla="*/ 2724953 h 2936314"/>
              <a:gd name="connsiteX39" fmla="*/ 7797521 w 11867103"/>
              <a:gd name="connsiteY39" fmla="*/ 2745050 h 2936314"/>
              <a:gd name="connsiteX40" fmla="*/ 7717134 w 11867103"/>
              <a:gd name="connsiteY40" fmla="*/ 2755098 h 2936314"/>
              <a:gd name="connsiteX41" fmla="*/ 7486022 w 11867103"/>
              <a:gd name="connsiteY41" fmla="*/ 2785244 h 2936314"/>
              <a:gd name="connsiteX42" fmla="*/ 7395587 w 11867103"/>
              <a:gd name="connsiteY42" fmla="*/ 2805340 h 2936314"/>
              <a:gd name="connsiteX43" fmla="*/ 7325248 w 11867103"/>
              <a:gd name="connsiteY43" fmla="*/ 2815389 h 2936314"/>
              <a:gd name="connsiteX44" fmla="*/ 6863024 w 11867103"/>
              <a:gd name="connsiteY44" fmla="*/ 2805340 h 2936314"/>
              <a:gd name="connsiteX45" fmla="*/ 6722347 w 11867103"/>
              <a:gd name="connsiteY45" fmla="*/ 2795292 h 2936314"/>
              <a:gd name="connsiteX46" fmla="*/ 4903596 w 11867103"/>
              <a:gd name="connsiteY46" fmla="*/ 2845534 h 2936314"/>
              <a:gd name="connsiteX47" fmla="*/ 4722725 w 11867103"/>
              <a:gd name="connsiteY47" fmla="*/ 2885727 h 2936314"/>
              <a:gd name="connsiteX48" fmla="*/ 4300695 w 11867103"/>
              <a:gd name="connsiteY48" fmla="*/ 2865630 h 2936314"/>
              <a:gd name="connsiteX49" fmla="*/ 4059534 w 11867103"/>
              <a:gd name="connsiteY49" fmla="*/ 2825437 h 2936314"/>
              <a:gd name="connsiteX50" fmla="*/ 3768132 w 11867103"/>
              <a:gd name="connsiteY50" fmla="*/ 2795292 h 2936314"/>
              <a:gd name="connsiteX51" fmla="*/ 3627455 w 11867103"/>
              <a:gd name="connsiteY51" fmla="*/ 2785244 h 2936314"/>
              <a:gd name="connsiteX52" fmla="*/ 3125037 w 11867103"/>
              <a:gd name="connsiteY52" fmla="*/ 2795292 h 2936314"/>
              <a:gd name="connsiteX53" fmla="*/ 3064747 w 11867103"/>
              <a:gd name="connsiteY53" fmla="*/ 2805340 h 2936314"/>
              <a:gd name="connsiteX54" fmla="*/ 2009670 w 11867103"/>
              <a:gd name="connsiteY54" fmla="*/ 2815389 h 2936314"/>
              <a:gd name="connsiteX55" fmla="*/ 1678075 w 11867103"/>
              <a:gd name="connsiteY55" fmla="*/ 2905824 h 2936314"/>
              <a:gd name="connsiteX56" fmla="*/ 1607736 w 11867103"/>
              <a:gd name="connsiteY56" fmla="*/ 2935969 h 2936314"/>
              <a:gd name="connsiteX57" fmla="*/ 1135464 w 11867103"/>
              <a:gd name="connsiteY57" fmla="*/ 2915872 h 2936314"/>
              <a:gd name="connsiteX58" fmla="*/ 944545 w 11867103"/>
              <a:gd name="connsiteY58" fmla="*/ 2885727 h 2936314"/>
              <a:gd name="connsiteX59" fmla="*/ 723481 w 11867103"/>
              <a:gd name="connsiteY59" fmla="*/ 2845534 h 2936314"/>
              <a:gd name="connsiteX60" fmla="*/ 643095 w 11867103"/>
              <a:gd name="connsiteY60" fmla="*/ 2835485 h 2936314"/>
              <a:gd name="connsiteX61" fmla="*/ 371789 w 11867103"/>
              <a:gd name="connsiteY61" fmla="*/ 2795292 h 2936314"/>
              <a:gd name="connsiteX62" fmla="*/ 0 w 11867103"/>
              <a:gd name="connsiteY62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16862 w 11867103"/>
              <a:gd name="connsiteY19" fmla="*/ 2302923 h 2936314"/>
              <a:gd name="connsiteX20" fmla="*/ 11826910 w 11867103"/>
              <a:gd name="connsiteY20" fmla="*/ 2373261 h 2936314"/>
              <a:gd name="connsiteX21" fmla="*/ 11836958 w 11867103"/>
              <a:gd name="connsiteY21" fmla="*/ 2403406 h 2936314"/>
              <a:gd name="connsiteX22" fmla="*/ 11857055 w 11867103"/>
              <a:gd name="connsiteY22" fmla="*/ 2534035 h 2936314"/>
              <a:gd name="connsiteX23" fmla="*/ 11867103 w 11867103"/>
              <a:gd name="connsiteY23" fmla="*/ 2574228 h 2936314"/>
              <a:gd name="connsiteX24" fmla="*/ 11857055 w 11867103"/>
              <a:gd name="connsiteY24" fmla="*/ 2805340 h 2936314"/>
              <a:gd name="connsiteX25" fmla="*/ 11836958 w 11867103"/>
              <a:gd name="connsiteY25" fmla="*/ 2835485 h 2936314"/>
              <a:gd name="connsiteX26" fmla="*/ 11033090 w 11867103"/>
              <a:gd name="connsiteY26" fmla="*/ 2825437 h 2936314"/>
              <a:gd name="connsiteX27" fmla="*/ 10621108 w 11867103"/>
              <a:gd name="connsiteY27" fmla="*/ 2815389 h 2936314"/>
              <a:gd name="connsiteX28" fmla="*/ 10128739 w 11867103"/>
              <a:gd name="connsiteY28" fmla="*/ 2825437 h 2936314"/>
              <a:gd name="connsiteX29" fmla="*/ 10048352 w 11867103"/>
              <a:gd name="connsiteY29" fmla="*/ 2835485 h 2936314"/>
              <a:gd name="connsiteX30" fmla="*/ 9555982 w 11867103"/>
              <a:gd name="connsiteY30" fmla="*/ 2825437 h 2936314"/>
              <a:gd name="connsiteX31" fmla="*/ 9445451 w 11867103"/>
              <a:gd name="connsiteY31" fmla="*/ 2815389 h 2936314"/>
              <a:gd name="connsiteX32" fmla="*/ 9415306 w 11867103"/>
              <a:gd name="connsiteY32" fmla="*/ 2795292 h 2936314"/>
              <a:gd name="connsiteX33" fmla="*/ 9204290 w 11867103"/>
              <a:gd name="connsiteY33" fmla="*/ 2775195 h 2936314"/>
              <a:gd name="connsiteX34" fmla="*/ 9073662 w 11867103"/>
              <a:gd name="connsiteY34" fmla="*/ 2755098 h 2936314"/>
              <a:gd name="connsiteX35" fmla="*/ 8812404 w 11867103"/>
              <a:gd name="connsiteY35" fmla="*/ 2745050 h 2936314"/>
              <a:gd name="connsiteX36" fmla="*/ 8400422 w 11867103"/>
              <a:gd name="connsiteY36" fmla="*/ 2735002 h 2936314"/>
              <a:gd name="connsiteX37" fmla="*/ 8269793 w 11867103"/>
              <a:gd name="connsiteY37" fmla="*/ 2724953 h 2936314"/>
              <a:gd name="connsiteX38" fmla="*/ 7797521 w 11867103"/>
              <a:gd name="connsiteY38" fmla="*/ 2745050 h 2936314"/>
              <a:gd name="connsiteX39" fmla="*/ 7717134 w 11867103"/>
              <a:gd name="connsiteY39" fmla="*/ 2755098 h 2936314"/>
              <a:gd name="connsiteX40" fmla="*/ 7486022 w 11867103"/>
              <a:gd name="connsiteY40" fmla="*/ 2785244 h 2936314"/>
              <a:gd name="connsiteX41" fmla="*/ 7395587 w 11867103"/>
              <a:gd name="connsiteY41" fmla="*/ 2805340 h 2936314"/>
              <a:gd name="connsiteX42" fmla="*/ 7325248 w 11867103"/>
              <a:gd name="connsiteY42" fmla="*/ 2815389 h 2936314"/>
              <a:gd name="connsiteX43" fmla="*/ 6863024 w 11867103"/>
              <a:gd name="connsiteY43" fmla="*/ 2805340 h 2936314"/>
              <a:gd name="connsiteX44" fmla="*/ 6722347 w 11867103"/>
              <a:gd name="connsiteY44" fmla="*/ 2795292 h 2936314"/>
              <a:gd name="connsiteX45" fmla="*/ 4903596 w 11867103"/>
              <a:gd name="connsiteY45" fmla="*/ 2845534 h 2936314"/>
              <a:gd name="connsiteX46" fmla="*/ 4722725 w 11867103"/>
              <a:gd name="connsiteY46" fmla="*/ 2885727 h 2936314"/>
              <a:gd name="connsiteX47" fmla="*/ 4300695 w 11867103"/>
              <a:gd name="connsiteY47" fmla="*/ 2865630 h 2936314"/>
              <a:gd name="connsiteX48" fmla="*/ 4059534 w 11867103"/>
              <a:gd name="connsiteY48" fmla="*/ 2825437 h 2936314"/>
              <a:gd name="connsiteX49" fmla="*/ 3768132 w 11867103"/>
              <a:gd name="connsiteY49" fmla="*/ 2795292 h 2936314"/>
              <a:gd name="connsiteX50" fmla="*/ 3627455 w 11867103"/>
              <a:gd name="connsiteY50" fmla="*/ 2785244 h 2936314"/>
              <a:gd name="connsiteX51" fmla="*/ 3125037 w 11867103"/>
              <a:gd name="connsiteY51" fmla="*/ 2795292 h 2936314"/>
              <a:gd name="connsiteX52" fmla="*/ 3064747 w 11867103"/>
              <a:gd name="connsiteY52" fmla="*/ 2805340 h 2936314"/>
              <a:gd name="connsiteX53" fmla="*/ 2009670 w 11867103"/>
              <a:gd name="connsiteY53" fmla="*/ 2815389 h 2936314"/>
              <a:gd name="connsiteX54" fmla="*/ 1678075 w 11867103"/>
              <a:gd name="connsiteY54" fmla="*/ 2905824 h 2936314"/>
              <a:gd name="connsiteX55" fmla="*/ 1607736 w 11867103"/>
              <a:gd name="connsiteY55" fmla="*/ 2935969 h 2936314"/>
              <a:gd name="connsiteX56" fmla="*/ 1135464 w 11867103"/>
              <a:gd name="connsiteY56" fmla="*/ 2915872 h 2936314"/>
              <a:gd name="connsiteX57" fmla="*/ 944545 w 11867103"/>
              <a:gd name="connsiteY57" fmla="*/ 2885727 h 2936314"/>
              <a:gd name="connsiteX58" fmla="*/ 723481 w 11867103"/>
              <a:gd name="connsiteY58" fmla="*/ 2845534 h 2936314"/>
              <a:gd name="connsiteX59" fmla="*/ 643095 w 11867103"/>
              <a:gd name="connsiteY59" fmla="*/ 2835485 h 2936314"/>
              <a:gd name="connsiteX60" fmla="*/ 371789 w 11867103"/>
              <a:gd name="connsiteY60" fmla="*/ 2795292 h 2936314"/>
              <a:gd name="connsiteX61" fmla="*/ 0 w 11867103"/>
              <a:gd name="connsiteY61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16862 w 11867103"/>
              <a:gd name="connsiteY18" fmla="*/ 2302923 h 2936314"/>
              <a:gd name="connsiteX19" fmla="*/ 11826910 w 11867103"/>
              <a:gd name="connsiteY19" fmla="*/ 2373261 h 2936314"/>
              <a:gd name="connsiteX20" fmla="*/ 11836958 w 11867103"/>
              <a:gd name="connsiteY20" fmla="*/ 2403406 h 2936314"/>
              <a:gd name="connsiteX21" fmla="*/ 11857055 w 11867103"/>
              <a:gd name="connsiteY21" fmla="*/ 2534035 h 2936314"/>
              <a:gd name="connsiteX22" fmla="*/ 11867103 w 11867103"/>
              <a:gd name="connsiteY22" fmla="*/ 2574228 h 2936314"/>
              <a:gd name="connsiteX23" fmla="*/ 11857055 w 11867103"/>
              <a:gd name="connsiteY23" fmla="*/ 2805340 h 2936314"/>
              <a:gd name="connsiteX24" fmla="*/ 11836958 w 11867103"/>
              <a:gd name="connsiteY24" fmla="*/ 2835485 h 2936314"/>
              <a:gd name="connsiteX25" fmla="*/ 11033090 w 11867103"/>
              <a:gd name="connsiteY25" fmla="*/ 2825437 h 2936314"/>
              <a:gd name="connsiteX26" fmla="*/ 10621108 w 11867103"/>
              <a:gd name="connsiteY26" fmla="*/ 2815389 h 2936314"/>
              <a:gd name="connsiteX27" fmla="*/ 10128739 w 11867103"/>
              <a:gd name="connsiteY27" fmla="*/ 2825437 h 2936314"/>
              <a:gd name="connsiteX28" fmla="*/ 10048352 w 11867103"/>
              <a:gd name="connsiteY28" fmla="*/ 2835485 h 2936314"/>
              <a:gd name="connsiteX29" fmla="*/ 9555982 w 11867103"/>
              <a:gd name="connsiteY29" fmla="*/ 2825437 h 2936314"/>
              <a:gd name="connsiteX30" fmla="*/ 9445451 w 11867103"/>
              <a:gd name="connsiteY30" fmla="*/ 2815389 h 2936314"/>
              <a:gd name="connsiteX31" fmla="*/ 9415306 w 11867103"/>
              <a:gd name="connsiteY31" fmla="*/ 2795292 h 2936314"/>
              <a:gd name="connsiteX32" fmla="*/ 9204290 w 11867103"/>
              <a:gd name="connsiteY32" fmla="*/ 2775195 h 2936314"/>
              <a:gd name="connsiteX33" fmla="*/ 9073662 w 11867103"/>
              <a:gd name="connsiteY33" fmla="*/ 2755098 h 2936314"/>
              <a:gd name="connsiteX34" fmla="*/ 8812404 w 11867103"/>
              <a:gd name="connsiteY34" fmla="*/ 2745050 h 2936314"/>
              <a:gd name="connsiteX35" fmla="*/ 8400422 w 11867103"/>
              <a:gd name="connsiteY35" fmla="*/ 2735002 h 2936314"/>
              <a:gd name="connsiteX36" fmla="*/ 8269793 w 11867103"/>
              <a:gd name="connsiteY36" fmla="*/ 2724953 h 2936314"/>
              <a:gd name="connsiteX37" fmla="*/ 7797521 w 11867103"/>
              <a:gd name="connsiteY37" fmla="*/ 2745050 h 2936314"/>
              <a:gd name="connsiteX38" fmla="*/ 7717134 w 11867103"/>
              <a:gd name="connsiteY38" fmla="*/ 2755098 h 2936314"/>
              <a:gd name="connsiteX39" fmla="*/ 7486022 w 11867103"/>
              <a:gd name="connsiteY39" fmla="*/ 2785244 h 2936314"/>
              <a:gd name="connsiteX40" fmla="*/ 7395587 w 11867103"/>
              <a:gd name="connsiteY40" fmla="*/ 2805340 h 2936314"/>
              <a:gd name="connsiteX41" fmla="*/ 7325248 w 11867103"/>
              <a:gd name="connsiteY41" fmla="*/ 2815389 h 2936314"/>
              <a:gd name="connsiteX42" fmla="*/ 6863024 w 11867103"/>
              <a:gd name="connsiteY42" fmla="*/ 2805340 h 2936314"/>
              <a:gd name="connsiteX43" fmla="*/ 6722347 w 11867103"/>
              <a:gd name="connsiteY43" fmla="*/ 2795292 h 2936314"/>
              <a:gd name="connsiteX44" fmla="*/ 4903596 w 11867103"/>
              <a:gd name="connsiteY44" fmla="*/ 2845534 h 2936314"/>
              <a:gd name="connsiteX45" fmla="*/ 4722725 w 11867103"/>
              <a:gd name="connsiteY45" fmla="*/ 2885727 h 2936314"/>
              <a:gd name="connsiteX46" fmla="*/ 4300695 w 11867103"/>
              <a:gd name="connsiteY46" fmla="*/ 2865630 h 2936314"/>
              <a:gd name="connsiteX47" fmla="*/ 4059534 w 11867103"/>
              <a:gd name="connsiteY47" fmla="*/ 2825437 h 2936314"/>
              <a:gd name="connsiteX48" fmla="*/ 3768132 w 11867103"/>
              <a:gd name="connsiteY48" fmla="*/ 2795292 h 2936314"/>
              <a:gd name="connsiteX49" fmla="*/ 3627455 w 11867103"/>
              <a:gd name="connsiteY49" fmla="*/ 2785244 h 2936314"/>
              <a:gd name="connsiteX50" fmla="*/ 3125037 w 11867103"/>
              <a:gd name="connsiteY50" fmla="*/ 2795292 h 2936314"/>
              <a:gd name="connsiteX51" fmla="*/ 3064747 w 11867103"/>
              <a:gd name="connsiteY51" fmla="*/ 2805340 h 2936314"/>
              <a:gd name="connsiteX52" fmla="*/ 2009670 w 11867103"/>
              <a:gd name="connsiteY52" fmla="*/ 2815389 h 2936314"/>
              <a:gd name="connsiteX53" fmla="*/ 1678075 w 11867103"/>
              <a:gd name="connsiteY53" fmla="*/ 2905824 h 2936314"/>
              <a:gd name="connsiteX54" fmla="*/ 1607736 w 11867103"/>
              <a:gd name="connsiteY54" fmla="*/ 2935969 h 2936314"/>
              <a:gd name="connsiteX55" fmla="*/ 1135464 w 11867103"/>
              <a:gd name="connsiteY55" fmla="*/ 2915872 h 2936314"/>
              <a:gd name="connsiteX56" fmla="*/ 944545 w 11867103"/>
              <a:gd name="connsiteY56" fmla="*/ 2885727 h 2936314"/>
              <a:gd name="connsiteX57" fmla="*/ 723481 w 11867103"/>
              <a:gd name="connsiteY57" fmla="*/ 2845534 h 2936314"/>
              <a:gd name="connsiteX58" fmla="*/ 643095 w 11867103"/>
              <a:gd name="connsiteY58" fmla="*/ 2835485 h 2936314"/>
              <a:gd name="connsiteX59" fmla="*/ 371789 w 11867103"/>
              <a:gd name="connsiteY59" fmla="*/ 2795292 h 2936314"/>
              <a:gd name="connsiteX60" fmla="*/ 0 w 11867103"/>
              <a:gd name="connsiteY60" fmla="*/ 2785244 h 2936314"/>
              <a:gd name="connsiteX0" fmla="*/ 120580 w 11867103"/>
              <a:gd name="connsiteY0" fmla="*/ 146825 h 3061192"/>
              <a:gd name="connsiteX1" fmla="*/ 281354 w 11867103"/>
              <a:gd name="connsiteY1" fmla="*/ 136776 h 3061192"/>
              <a:gd name="connsiteX2" fmla="*/ 673240 w 11867103"/>
              <a:gd name="connsiteY2" fmla="*/ 126728 h 3061192"/>
              <a:gd name="connsiteX3" fmla="*/ 1356528 w 11867103"/>
              <a:gd name="connsiteY3" fmla="*/ 176970 h 3061192"/>
              <a:gd name="connsiteX4" fmla="*/ 1758462 w 11867103"/>
              <a:gd name="connsiteY4" fmla="*/ 136776 h 3061192"/>
              <a:gd name="connsiteX5" fmla="*/ 2140299 w 11867103"/>
              <a:gd name="connsiteY5" fmla="*/ 136776 h 3061192"/>
              <a:gd name="connsiteX6" fmla="*/ 4652387 w 11867103"/>
              <a:gd name="connsiteY6" fmla="*/ 156873 h 3061192"/>
              <a:gd name="connsiteX7" fmla="*/ 4692580 w 11867103"/>
              <a:gd name="connsiteY7" fmla="*/ 166922 h 3061192"/>
              <a:gd name="connsiteX8" fmla="*/ 6420897 w 11867103"/>
              <a:gd name="connsiteY8" fmla="*/ 187018 h 3061192"/>
              <a:gd name="connsiteX9" fmla="*/ 7184571 w 11867103"/>
              <a:gd name="connsiteY9" fmla="*/ 156873 h 3061192"/>
              <a:gd name="connsiteX10" fmla="*/ 7928150 w 11867103"/>
              <a:gd name="connsiteY10" fmla="*/ 156873 h 3061192"/>
              <a:gd name="connsiteX11" fmla="*/ 8219552 w 11867103"/>
              <a:gd name="connsiteY11" fmla="*/ 187018 h 3061192"/>
              <a:gd name="connsiteX12" fmla="*/ 9606224 w 11867103"/>
              <a:gd name="connsiteY12" fmla="*/ 187018 h 3061192"/>
              <a:gd name="connsiteX13" fmla="*/ 9947868 w 11867103"/>
              <a:gd name="connsiteY13" fmla="*/ 156873 h 3061192"/>
              <a:gd name="connsiteX14" fmla="*/ 10791930 w 11867103"/>
              <a:gd name="connsiteY14" fmla="*/ 126728 h 3061192"/>
              <a:gd name="connsiteX15" fmla="*/ 11736475 w 11867103"/>
              <a:gd name="connsiteY15" fmla="*/ 146825 h 3061192"/>
              <a:gd name="connsiteX16" fmla="*/ 11766620 w 11867103"/>
              <a:gd name="connsiteY16" fmla="*/ 176970 h 3061192"/>
              <a:gd name="connsiteX17" fmla="*/ 11816862 w 11867103"/>
              <a:gd name="connsiteY17" fmla="*/ 2427801 h 3061192"/>
              <a:gd name="connsiteX18" fmla="*/ 11826910 w 11867103"/>
              <a:gd name="connsiteY18" fmla="*/ 2498139 h 3061192"/>
              <a:gd name="connsiteX19" fmla="*/ 11836958 w 11867103"/>
              <a:gd name="connsiteY19" fmla="*/ 2528284 h 3061192"/>
              <a:gd name="connsiteX20" fmla="*/ 11857055 w 11867103"/>
              <a:gd name="connsiteY20" fmla="*/ 2658913 h 3061192"/>
              <a:gd name="connsiteX21" fmla="*/ 11867103 w 11867103"/>
              <a:gd name="connsiteY21" fmla="*/ 2699106 h 3061192"/>
              <a:gd name="connsiteX22" fmla="*/ 11857055 w 11867103"/>
              <a:gd name="connsiteY22" fmla="*/ 2930218 h 3061192"/>
              <a:gd name="connsiteX23" fmla="*/ 11836958 w 11867103"/>
              <a:gd name="connsiteY23" fmla="*/ 2960363 h 3061192"/>
              <a:gd name="connsiteX24" fmla="*/ 11033090 w 11867103"/>
              <a:gd name="connsiteY24" fmla="*/ 2950315 h 3061192"/>
              <a:gd name="connsiteX25" fmla="*/ 10621108 w 11867103"/>
              <a:gd name="connsiteY25" fmla="*/ 2940267 h 3061192"/>
              <a:gd name="connsiteX26" fmla="*/ 10128739 w 11867103"/>
              <a:gd name="connsiteY26" fmla="*/ 2950315 h 3061192"/>
              <a:gd name="connsiteX27" fmla="*/ 10048352 w 11867103"/>
              <a:gd name="connsiteY27" fmla="*/ 2960363 h 3061192"/>
              <a:gd name="connsiteX28" fmla="*/ 9555982 w 11867103"/>
              <a:gd name="connsiteY28" fmla="*/ 2950315 h 3061192"/>
              <a:gd name="connsiteX29" fmla="*/ 9445451 w 11867103"/>
              <a:gd name="connsiteY29" fmla="*/ 2940267 h 3061192"/>
              <a:gd name="connsiteX30" fmla="*/ 9415306 w 11867103"/>
              <a:gd name="connsiteY30" fmla="*/ 2920170 h 3061192"/>
              <a:gd name="connsiteX31" fmla="*/ 9204290 w 11867103"/>
              <a:gd name="connsiteY31" fmla="*/ 2900073 h 3061192"/>
              <a:gd name="connsiteX32" fmla="*/ 9073662 w 11867103"/>
              <a:gd name="connsiteY32" fmla="*/ 2879976 h 3061192"/>
              <a:gd name="connsiteX33" fmla="*/ 8812404 w 11867103"/>
              <a:gd name="connsiteY33" fmla="*/ 2869928 h 3061192"/>
              <a:gd name="connsiteX34" fmla="*/ 8400422 w 11867103"/>
              <a:gd name="connsiteY34" fmla="*/ 2859880 h 3061192"/>
              <a:gd name="connsiteX35" fmla="*/ 8269793 w 11867103"/>
              <a:gd name="connsiteY35" fmla="*/ 2849831 h 3061192"/>
              <a:gd name="connsiteX36" fmla="*/ 7797521 w 11867103"/>
              <a:gd name="connsiteY36" fmla="*/ 2869928 h 3061192"/>
              <a:gd name="connsiteX37" fmla="*/ 7717134 w 11867103"/>
              <a:gd name="connsiteY37" fmla="*/ 2879976 h 3061192"/>
              <a:gd name="connsiteX38" fmla="*/ 7486022 w 11867103"/>
              <a:gd name="connsiteY38" fmla="*/ 2910122 h 3061192"/>
              <a:gd name="connsiteX39" fmla="*/ 7395587 w 11867103"/>
              <a:gd name="connsiteY39" fmla="*/ 2930218 h 3061192"/>
              <a:gd name="connsiteX40" fmla="*/ 7325248 w 11867103"/>
              <a:gd name="connsiteY40" fmla="*/ 2940267 h 3061192"/>
              <a:gd name="connsiteX41" fmla="*/ 6863024 w 11867103"/>
              <a:gd name="connsiteY41" fmla="*/ 2930218 h 3061192"/>
              <a:gd name="connsiteX42" fmla="*/ 6722347 w 11867103"/>
              <a:gd name="connsiteY42" fmla="*/ 2920170 h 3061192"/>
              <a:gd name="connsiteX43" fmla="*/ 4903596 w 11867103"/>
              <a:gd name="connsiteY43" fmla="*/ 2970412 h 3061192"/>
              <a:gd name="connsiteX44" fmla="*/ 4722725 w 11867103"/>
              <a:gd name="connsiteY44" fmla="*/ 3010605 h 3061192"/>
              <a:gd name="connsiteX45" fmla="*/ 4300695 w 11867103"/>
              <a:gd name="connsiteY45" fmla="*/ 2990508 h 3061192"/>
              <a:gd name="connsiteX46" fmla="*/ 4059534 w 11867103"/>
              <a:gd name="connsiteY46" fmla="*/ 2950315 h 3061192"/>
              <a:gd name="connsiteX47" fmla="*/ 3768132 w 11867103"/>
              <a:gd name="connsiteY47" fmla="*/ 2920170 h 3061192"/>
              <a:gd name="connsiteX48" fmla="*/ 3627455 w 11867103"/>
              <a:gd name="connsiteY48" fmla="*/ 2910122 h 3061192"/>
              <a:gd name="connsiteX49" fmla="*/ 3125037 w 11867103"/>
              <a:gd name="connsiteY49" fmla="*/ 2920170 h 3061192"/>
              <a:gd name="connsiteX50" fmla="*/ 3064747 w 11867103"/>
              <a:gd name="connsiteY50" fmla="*/ 2930218 h 3061192"/>
              <a:gd name="connsiteX51" fmla="*/ 2009670 w 11867103"/>
              <a:gd name="connsiteY51" fmla="*/ 2940267 h 3061192"/>
              <a:gd name="connsiteX52" fmla="*/ 1678075 w 11867103"/>
              <a:gd name="connsiteY52" fmla="*/ 3030702 h 3061192"/>
              <a:gd name="connsiteX53" fmla="*/ 1607736 w 11867103"/>
              <a:gd name="connsiteY53" fmla="*/ 3060847 h 3061192"/>
              <a:gd name="connsiteX54" fmla="*/ 1135464 w 11867103"/>
              <a:gd name="connsiteY54" fmla="*/ 3040750 h 3061192"/>
              <a:gd name="connsiteX55" fmla="*/ 944545 w 11867103"/>
              <a:gd name="connsiteY55" fmla="*/ 3010605 h 3061192"/>
              <a:gd name="connsiteX56" fmla="*/ 723481 w 11867103"/>
              <a:gd name="connsiteY56" fmla="*/ 2970412 h 3061192"/>
              <a:gd name="connsiteX57" fmla="*/ 643095 w 11867103"/>
              <a:gd name="connsiteY57" fmla="*/ 2960363 h 3061192"/>
              <a:gd name="connsiteX58" fmla="*/ 371789 w 11867103"/>
              <a:gd name="connsiteY58" fmla="*/ 2920170 h 3061192"/>
              <a:gd name="connsiteX59" fmla="*/ 0 w 11867103"/>
              <a:gd name="connsiteY59" fmla="*/ 2910122 h 3061192"/>
              <a:gd name="connsiteX0" fmla="*/ 120580 w 11867103"/>
              <a:gd name="connsiteY0" fmla="*/ 58358 h 2972725"/>
              <a:gd name="connsiteX1" fmla="*/ 281354 w 11867103"/>
              <a:gd name="connsiteY1" fmla="*/ 48309 h 2972725"/>
              <a:gd name="connsiteX2" fmla="*/ 673240 w 11867103"/>
              <a:gd name="connsiteY2" fmla="*/ 38261 h 2972725"/>
              <a:gd name="connsiteX3" fmla="*/ 1356528 w 11867103"/>
              <a:gd name="connsiteY3" fmla="*/ 88503 h 2972725"/>
              <a:gd name="connsiteX4" fmla="*/ 1758462 w 11867103"/>
              <a:gd name="connsiteY4" fmla="*/ 48309 h 2972725"/>
              <a:gd name="connsiteX5" fmla="*/ 2140299 w 11867103"/>
              <a:gd name="connsiteY5" fmla="*/ 48309 h 2972725"/>
              <a:gd name="connsiteX6" fmla="*/ 4652387 w 11867103"/>
              <a:gd name="connsiteY6" fmla="*/ 68406 h 2972725"/>
              <a:gd name="connsiteX7" fmla="*/ 4692580 w 11867103"/>
              <a:gd name="connsiteY7" fmla="*/ 78455 h 2972725"/>
              <a:gd name="connsiteX8" fmla="*/ 6420897 w 11867103"/>
              <a:gd name="connsiteY8" fmla="*/ 98551 h 2972725"/>
              <a:gd name="connsiteX9" fmla="*/ 7184571 w 11867103"/>
              <a:gd name="connsiteY9" fmla="*/ 68406 h 2972725"/>
              <a:gd name="connsiteX10" fmla="*/ 7928150 w 11867103"/>
              <a:gd name="connsiteY10" fmla="*/ 68406 h 2972725"/>
              <a:gd name="connsiteX11" fmla="*/ 8219552 w 11867103"/>
              <a:gd name="connsiteY11" fmla="*/ 98551 h 2972725"/>
              <a:gd name="connsiteX12" fmla="*/ 9606224 w 11867103"/>
              <a:gd name="connsiteY12" fmla="*/ 98551 h 2972725"/>
              <a:gd name="connsiteX13" fmla="*/ 9947868 w 11867103"/>
              <a:gd name="connsiteY13" fmla="*/ 68406 h 2972725"/>
              <a:gd name="connsiteX14" fmla="*/ 10791930 w 11867103"/>
              <a:gd name="connsiteY14" fmla="*/ 38261 h 2972725"/>
              <a:gd name="connsiteX15" fmla="*/ 11736475 w 11867103"/>
              <a:gd name="connsiteY15" fmla="*/ 58358 h 2972725"/>
              <a:gd name="connsiteX16" fmla="*/ 11806813 w 11867103"/>
              <a:gd name="connsiteY16" fmla="*/ 771791 h 2972725"/>
              <a:gd name="connsiteX17" fmla="*/ 11816862 w 11867103"/>
              <a:gd name="connsiteY17" fmla="*/ 2339334 h 2972725"/>
              <a:gd name="connsiteX18" fmla="*/ 11826910 w 11867103"/>
              <a:gd name="connsiteY18" fmla="*/ 2409672 h 2972725"/>
              <a:gd name="connsiteX19" fmla="*/ 11836958 w 11867103"/>
              <a:gd name="connsiteY19" fmla="*/ 2439817 h 2972725"/>
              <a:gd name="connsiteX20" fmla="*/ 11857055 w 11867103"/>
              <a:gd name="connsiteY20" fmla="*/ 2570446 h 2972725"/>
              <a:gd name="connsiteX21" fmla="*/ 11867103 w 11867103"/>
              <a:gd name="connsiteY21" fmla="*/ 2610639 h 2972725"/>
              <a:gd name="connsiteX22" fmla="*/ 11857055 w 11867103"/>
              <a:gd name="connsiteY22" fmla="*/ 2841751 h 2972725"/>
              <a:gd name="connsiteX23" fmla="*/ 11836958 w 11867103"/>
              <a:gd name="connsiteY23" fmla="*/ 2871896 h 2972725"/>
              <a:gd name="connsiteX24" fmla="*/ 11033090 w 11867103"/>
              <a:gd name="connsiteY24" fmla="*/ 2861848 h 2972725"/>
              <a:gd name="connsiteX25" fmla="*/ 10621108 w 11867103"/>
              <a:gd name="connsiteY25" fmla="*/ 2851800 h 2972725"/>
              <a:gd name="connsiteX26" fmla="*/ 10128739 w 11867103"/>
              <a:gd name="connsiteY26" fmla="*/ 2861848 h 2972725"/>
              <a:gd name="connsiteX27" fmla="*/ 10048352 w 11867103"/>
              <a:gd name="connsiteY27" fmla="*/ 2871896 h 2972725"/>
              <a:gd name="connsiteX28" fmla="*/ 9555982 w 11867103"/>
              <a:gd name="connsiteY28" fmla="*/ 2861848 h 2972725"/>
              <a:gd name="connsiteX29" fmla="*/ 9445451 w 11867103"/>
              <a:gd name="connsiteY29" fmla="*/ 2851800 h 2972725"/>
              <a:gd name="connsiteX30" fmla="*/ 9415306 w 11867103"/>
              <a:gd name="connsiteY30" fmla="*/ 2831703 h 2972725"/>
              <a:gd name="connsiteX31" fmla="*/ 9204290 w 11867103"/>
              <a:gd name="connsiteY31" fmla="*/ 2811606 h 2972725"/>
              <a:gd name="connsiteX32" fmla="*/ 9073662 w 11867103"/>
              <a:gd name="connsiteY32" fmla="*/ 2791509 h 2972725"/>
              <a:gd name="connsiteX33" fmla="*/ 8812404 w 11867103"/>
              <a:gd name="connsiteY33" fmla="*/ 2781461 h 2972725"/>
              <a:gd name="connsiteX34" fmla="*/ 8400422 w 11867103"/>
              <a:gd name="connsiteY34" fmla="*/ 2771413 h 2972725"/>
              <a:gd name="connsiteX35" fmla="*/ 8269793 w 11867103"/>
              <a:gd name="connsiteY35" fmla="*/ 2761364 h 2972725"/>
              <a:gd name="connsiteX36" fmla="*/ 7797521 w 11867103"/>
              <a:gd name="connsiteY36" fmla="*/ 2781461 h 2972725"/>
              <a:gd name="connsiteX37" fmla="*/ 7717134 w 11867103"/>
              <a:gd name="connsiteY37" fmla="*/ 2791509 h 2972725"/>
              <a:gd name="connsiteX38" fmla="*/ 7486022 w 11867103"/>
              <a:gd name="connsiteY38" fmla="*/ 2821655 h 2972725"/>
              <a:gd name="connsiteX39" fmla="*/ 7395587 w 11867103"/>
              <a:gd name="connsiteY39" fmla="*/ 2841751 h 2972725"/>
              <a:gd name="connsiteX40" fmla="*/ 7325248 w 11867103"/>
              <a:gd name="connsiteY40" fmla="*/ 2851800 h 2972725"/>
              <a:gd name="connsiteX41" fmla="*/ 6863024 w 11867103"/>
              <a:gd name="connsiteY41" fmla="*/ 2841751 h 2972725"/>
              <a:gd name="connsiteX42" fmla="*/ 6722347 w 11867103"/>
              <a:gd name="connsiteY42" fmla="*/ 2831703 h 2972725"/>
              <a:gd name="connsiteX43" fmla="*/ 4903596 w 11867103"/>
              <a:gd name="connsiteY43" fmla="*/ 2881945 h 2972725"/>
              <a:gd name="connsiteX44" fmla="*/ 4722725 w 11867103"/>
              <a:gd name="connsiteY44" fmla="*/ 2922138 h 2972725"/>
              <a:gd name="connsiteX45" fmla="*/ 4300695 w 11867103"/>
              <a:gd name="connsiteY45" fmla="*/ 2902041 h 2972725"/>
              <a:gd name="connsiteX46" fmla="*/ 4059534 w 11867103"/>
              <a:gd name="connsiteY46" fmla="*/ 2861848 h 2972725"/>
              <a:gd name="connsiteX47" fmla="*/ 3768132 w 11867103"/>
              <a:gd name="connsiteY47" fmla="*/ 2831703 h 2972725"/>
              <a:gd name="connsiteX48" fmla="*/ 3627455 w 11867103"/>
              <a:gd name="connsiteY48" fmla="*/ 2821655 h 2972725"/>
              <a:gd name="connsiteX49" fmla="*/ 3125037 w 11867103"/>
              <a:gd name="connsiteY49" fmla="*/ 2831703 h 2972725"/>
              <a:gd name="connsiteX50" fmla="*/ 3064747 w 11867103"/>
              <a:gd name="connsiteY50" fmla="*/ 2841751 h 2972725"/>
              <a:gd name="connsiteX51" fmla="*/ 2009670 w 11867103"/>
              <a:gd name="connsiteY51" fmla="*/ 2851800 h 2972725"/>
              <a:gd name="connsiteX52" fmla="*/ 1678075 w 11867103"/>
              <a:gd name="connsiteY52" fmla="*/ 2942235 h 2972725"/>
              <a:gd name="connsiteX53" fmla="*/ 1607736 w 11867103"/>
              <a:gd name="connsiteY53" fmla="*/ 2972380 h 2972725"/>
              <a:gd name="connsiteX54" fmla="*/ 1135464 w 11867103"/>
              <a:gd name="connsiteY54" fmla="*/ 2952283 h 2972725"/>
              <a:gd name="connsiteX55" fmla="*/ 944545 w 11867103"/>
              <a:gd name="connsiteY55" fmla="*/ 2922138 h 2972725"/>
              <a:gd name="connsiteX56" fmla="*/ 723481 w 11867103"/>
              <a:gd name="connsiteY56" fmla="*/ 2881945 h 2972725"/>
              <a:gd name="connsiteX57" fmla="*/ 643095 w 11867103"/>
              <a:gd name="connsiteY57" fmla="*/ 2871896 h 2972725"/>
              <a:gd name="connsiteX58" fmla="*/ 371789 w 11867103"/>
              <a:gd name="connsiteY58" fmla="*/ 2831703 h 2972725"/>
              <a:gd name="connsiteX59" fmla="*/ 0 w 11867103"/>
              <a:gd name="connsiteY59" fmla="*/ 2821655 h 2972725"/>
              <a:gd name="connsiteX0" fmla="*/ 120580 w 11867103"/>
              <a:gd name="connsiteY0" fmla="*/ 91200 h 3005567"/>
              <a:gd name="connsiteX1" fmla="*/ 281354 w 11867103"/>
              <a:gd name="connsiteY1" fmla="*/ 81151 h 3005567"/>
              <a:gd name="connsiteX2" fmla="*/ 673240 w 11867103"/>
              <a:gd name="connsiteY2" fmla="*/ 71103 h 3005567"/>
              <a:gd name="connsiteX3" fmla="*/ 1356528 w 11867103"/>
              <a:gd name="connsiteY3" fmla="*/ 121345 h 3005567"/>
              <a:gd name="connsiteX4" fmla="*/ 1758462 w 11867103"/>
              <a:gd name="connsiteY4" fmla="*/ 81151 h 3005567"/>
              <a:gd name="connsiteX5" fmla="*/ 2140299 w 11867103"/>
              <a:gd name="connsiteY5" fmla="*/ 81151 h 3005567"/>
              <a:gd name="connsiteX6" fmla="*/ 4652387 w 11867103"/>
              <a:gd name="connsiteY6" fmla="*/ 101248 h 3005567"/>
              <a:gd name="connsiteX7" fmla="*/ 4692580 w 11867103"/>
              <a:gd name="connsiteY7" fmla="*/ 111297 h 3005567"/>
              <a:gd name="connsiteX8" fmla="*/ 6420897 w 11867103"/>
              <a:gd name="connsiteY8" fmla="*/ 131393 h 3005567"/>
              <a:gd name="connsiteX9" fmla="*/ 7184571 w 11867103"/>
              <a:gd name="connsiteY9" fmla="*/ 101248 h 3005567"/>
              <a:gd name="connsiteX10" fmla="*/ 7928150 w 11867103"/>
              <a:gd name="connsiteY10" fmla="*/ 101248 h 3005567"/>
              <a:gd name="connsiteX11" fmla="*/ 8219552 w 11867103"/>
              <a:gd name="connsiteY11" fmla="*/ 131393 h 3005567"/>
              <a:gd name="connsiteX12" fmla="*/ 9606224 w 11867103"/>
              <a:gd name="connsiteY12" fmla="*/ 131393 h 3005567"/>
              <a:gd name="connsiteX13" fmla="*/ 9947868 w 11867103"/>
              <a:gd name="connsiteY13" fmla="*/ 101248 h 3005567"/>
              <a:gd name="connsiteX14" fmla="*/ 10791930 w 11867103"/>
              <a:gd name="connsiteY14" fmla="*/ 71103 h 3005567"/>
              <a:gd name="connsiteX15" fmla="*/ 11736475 w 11867103"/>
              <a:gd name="connsiteY15" fmla="*/ 91200 h 3005567"/>
              <a:gd name="connsiteX16" fmla="*/ 11806813 w 11867103"/>
              <a:gd name="connsiteY16" fmla="*/ 804633 h 3005567"/>
              <a:gd name="connsiteX17" fmla="*/ 11816862 w 11867103"/>
              <a:gd name="connsiteY17" fmla="*/ 2372176 h 3005567"/>
              <a:gd name="connsiteX18" fmla="*/ 11826910 w 11867103"/>
              <a:gd name="connsiteY18" fmla="*/ 2442514 h 3005567"/>
              <a:gd name="connsiteX19" fmla="*/ 11836958 w 11867103"/>
              <a:gd name="connsiteY19" fmla="*/ 2472659 h 3005567"/>
              <a:gd name="connsiteX20" fmla="*/ 11857055 w 11867103"/>
              <a:gd name="connsiteY20" fmla="*/ 2603288 h 3005567"/>
              <a:gd name="connsiteX21" fmla="*/ 11867103 w 11867103"/>
              <a:gd name="connsiteY21" fmla="*/ 2643481 h 3005567"/>
              <a:gd name="connsiteX22" fmla="*/ 11857055 w 11867103"/>
              <a:gd name="connsiteY22" fmla="*/ 2874593 h 3005567"/>
              <a:gd name="connsiteX23" fmla="*/ 11836958 w 11867103"/>
              <a:gd name="connsiteY23" fmla="*/ 2904738 h 3005567"/>
              <a:gd name="connsiteX24" fmla="*/ 11033090 w 11867103"/>
              <a:gd name="connsiteY24" fmla="*/ 2894690 h 3005567"/>
              <a:gd name="connsiteX25" fmla="*/ 10621108 w 11867103"/>
              <a:gd name="connsiteY25" fmla="*/ 2884642 h 3005567"/>
              <a:gd name="connsiteX26" fmla="*/ 10128739 w 11867103"/>
              <a:gd name="connsiteY26" fmla="*/ 2894690 h 3005567"/>
              <a:gd name="connsiteX27" fmla="*/ 10048352 w 11867103"/>
              <a:gd name="connsiteY27" fmla="*/ 2904738 h 3005567"/>
              <a:gd name="connsiteX28" fmla="*/ 9555982 w 11867103"/>
              <a:gd name="connsiteY28" fmla="*/ 2894690 h 3005567"/>
              <a:gd name="connsiteX29" fmla="*/ 9445451 w 11867103"/>
              <a:gd name="connsiteY29" fmla="*/ 2884642 h 3005567"/>
              <a:gd name="connsiteX30" fmla="*/ 9415306 w 11867103"/>
              <a:gd name="connsiteY30" fmla="*/ 2864545 h 3005567"/>
              <a:gd name="connsiteX31" fmla="*/ 9204290 w 11867103"/>
              <a:gd name="connsiteY31" fmla="*/ 2844448 h 3005567"/>
              <a:gd name="connsiteX32" fmla="*/ 9073662 w 11867103"/>
              <a:gd name="connsiteY32" fmla="*/ 2824351 h 3005567"/>
              <a:gd name="connsiteX33" fmla="*/ 8812404 w 11867103"/>
              <a:gd name="connsiteY33" fmla="*/ 2814303 h 3005567"/>
              <a:gd name="connsiteX34" fmla="*/ 8400422 w 11867103"/>
              <a:gd name="connsiteY34" fmla="*/ 2804255 h 3005567"/>
              <a:gd name="connsiteX35" fmla="*/ 8269793 w 11867103"/>
              <a:gd name="connsiteY35" fmla="*/ 2794206 h 3005567"/>
              <a:gd name="connsiteX36" fmla="*/ 7797521 w 11867103"/>
              <a:gd name="connsiteY36" fmla="*/ 2814303 h 3005567"/>
              <a:gd name="connsiteX37" fmla="*/ 7717134 w 11867103"/>
              <a:gd name="connsiteY37" fmla="*/ 2824351 h 3005567"/>
              <a:gd name="connsiteX38" fmla="*/ 7486022 w 11867103"/>
              <a:gd name="connsiteY38" fmla="*/ 2854497 h 3005567"/>
              <a:gd name="connsiteX39" fmla="*/ 7395587 w 11867103"/>
              <a:gd name="connsiteY39" fmla="*/ 2874593 h 3005567"/>
              <a:gd name="connsiteX40" fmla="*/ 7325248 w 11867103"/>
              <a:gd name="connsiteY40" fmla="*/ 2884642 h 3005567"/>
              <a:gd name="connsiteX41" fmla="*/ 6863024 w 11867103"/>
              <a:gd name="connsiteY41" fmla="*/ 2874593 h 3005567"/>
              <a:gd name="connsiteX42" fmla="*/ 6722347 w 11867103"/>
              <a:gd name="connsiteY42" fmla="*/ 2864545 h 3005567"/>
              <a:gd name="connsiteX43" fmla="*/ 4903596 w 11867103"/>
              <a:gd name="connsiteY43" fmla="*/ 2914787 h 3005567"/>
              <a:gd name="connsiteX44" fmla="*/ 4722725 w 11867103"/>
              <a:gd name="connsiteY44" fmla="*/ 2954980 h 3005567"/>
              <a:gd name="connsiteX45" fmla="*/ 4300695 w 11867103"/>
              <a:gd name="connsiteY45" fmla="*/ 2934883 h 3005567"/>
              <a:gd name="connsiteX46" fmla="*/ 4059534 w 11867103"/>
              <a:gd name="connsiteY46" fmla="*/ 2894690 h 3005567"/>
              <a:gd name="connsiteX47" fmla="*/ 3768132 w 11867103"/>
              <a:gd name="connsiteY47" fmla="*/ 2864545 h 3005567"/>
              <a:gd name="connsiteX48" fmla="*/ 3627455 w 11867103"/>
              <a:gd name="connsiteY48" fmla="*/ 2854497 h 3005567"/>
              <a:gd name="connsiteX49" fmla="*/ 3125037 w 11867103"/>
              <a:gd name="connsiteY49" fmla="*/ 2864545 h 3005567"/>
              <a:gd name="connsiteX50" fmla="*/ 3064747 w 11867103"/>
              <a:gd name="connsiteY50" fmla="*/ 2874593 h 3005567"/>
              <a:gd name="connsiteX51" fmla="*/ 2009670 w 11867103"/>
              <a:gd name="connsiteY51" fmla="*/ 2884642 h 3005567"/>
              <a:gd name="connsiteX52" fmla="*/ 1678075 w 11867103"/>
              <a:gd name="connsiteY52" fmla="*/ 2975077 h 3005567"/>
              <a:gd name="connsiteX53" fmla="*/ 1607736 w 11867103"/>
              <a:gd name="connsiteY53" fmla="*/ 3005222 h 3005567"/>
              <a:gd name="connsiteX54" fmla="*/ 1135464 w 11867103"/>
              <a:gd name="connsiteY54" fmla="*/ 2985125 h 3005567"/>
              <a:gd name="connsiteX55" fmla="*/ 944545 w 11867103"/>
              <a:gd name="connsiteY55" fmla="*/ 2954980 h 3005567"/>
              <a:gd name="connsiteX56" fmla="*/ 723481 w 11867103"/>
              <a:gd name="connsiteY56" fmla="*/ 2914787 h 3005567"/>
              <a:gd name="connsiteX57" fmla="*/ 643095 w 11867103"/>
              <a:gd name="connsiteY57" fmla="*/ 2904738 h 3005567"/>
              <a:gd name="connsiteX58" fmla="*/ 371789 w 11867103"/>
              <a:gd name="connsiteY58" fmla="*/ 2864545 h 3005567"/>
              <a:gd name="connsiteX59" fmla="*/ 0 w 11867103"/>
              <a:gd name="connsiteY59" fmla="*/ 2854497 h 3005567"/>
              <a:gd name="connsiteX0" fmla="*/ 120580 w 11867103"/>
              <a:gd name="connsiteY0" fmla="*/ 55611 h 2969978"/>
              <a:gd name="connsiteX1" fmla="*/ 281354 w 11867103"/>
              <a:gd name="connsiteY1" fmla="*/ 45562 h 2969978"/>
              <a:gd name="connsiteX2" fmla="*/ 673240 w 11867103"/>
              <a:gd name="connsiteY2" fmla="*/ 35514 h 2969978"/>
              <a:gd name="connsiteX3" fmla="*/ 1356528 w 11867103"/>
              <a:gd name="connsiteY3" fmla="*/ 85756 h 2969978"/>
              <a:gd name="connsiteX4" fmla="*/ 1758462 w 11867103"/>
              <a:gd name="connsiteY4" fmla="*/ 45562 h 2969978"/>
              <a:gd name="connsiteX5" fmla="*/ 2140299 w 11867103"/>
              <a:gd name="connsiteY5" fmla="*/ 45562 h 2969978"/>
              <a:gd name="connsiteX6" fmla="*/ 4652387 w 11867103"/>
              <a:gd name="connsiteY6" fmla="*/ 65659 h 2969978"/>
              <a:gd name="connsiteX7" fmla="*/ 4692580 w 11867103"/>
              <a:gd name="connsiteY7" fmla="*/ 75708 h 2969978"/>
              <a:gd name="connsiteX8" fmla="*/ 6420897 w 11867103"/>
              <a:gd name="connsiteY8" fmla="*/ 95804 h 2969978"/>
              <a:gd name="connsiteX9" fmla="*/ 7184571 w 11867103"/>
              <a:gd name="connsiteY9" fmla="*/ 65659 h 2969978"/>
              <a:gd name="connsiteX10" fmla="*/ 7928150 w 11867103"/>
              <a:gd name="connsiteY10" fmla="*/ 65659 h 2969978"/>
              <a:gd name="connsiteX11" fmla="*/ 8219552 w 11867103"/>
              <a:gd name="connsiteY11" fmla="*/ 95804 h 2969978"/>
              <a:gd name="connsiteX12" fmla="*/ 9606224 w 11867103"/>
              <a:gd name="connsiteY12" fmla="*/ 95804 h 2969978"/>
              <a:gd name="connsiteX13" fmla="*/ 9947868 w 11867103"/>
              <a:gd name="connsiteY13" fmla="*/ 65659 h 2969978"/>
              <a:gd name="connsiteX14" fmla="*/ 10791930 w 11867103"/>
              <a:gd name="connsiteY14" fmla="*/ 35514 h 2969978"/>
              <a:gd name="connsiteX15" fmla="*/ 11736475 w 11867103"/>
              <a:gd name="connsiteY15" fmla="*/ 55611 h 2969978"/>
              <a:gd name="connsiteX16" fmla="*/ 11806813 w 11867103"/>
              <a:gd name="connsiteY16" fmla="*/ 769044 h 2969978"/>
              <a:gd name="connsiteX17" fmla="*/ 11816862 w 11867103"/>
              <a:gd name="connsiteY17" fmla="*/ 2336587 h 2969978"/>
              <a:gd name="connsiteX18" fmla="*/ 11826910 w 11867103"/>
              <a:gd name="connsiteY18" fmla="*/ 2406925 h 2969978"/>
              <a:gd name="connsiteX19" fmla="*/ 11836958 w 11867103"/>
              <a:gd name="connsiteY19" fmla="*/ 2437070 h 2969978"/>
              <a:gd name="connsiteX20" fmla="*/ 11857055 w 11867103"/>
              <a:gd name="connsiteY20" fmla="*/ 2567699 h 2969978"/>
              <a:gd name="connsiteX21" fmla="*/ 11867103 w 11867103"/>
              <a:gd name="connsiteY21" fmla="*/ 2607892 h 2969978"/>
              <a:gd name="connsiteX22" fmla="*/ 11857055 w 11867103"/>
              <a:gd name="connsiteY22" fmla="*/ 2839004 h 2969978"/>
              <a:gd name="connsiteX23" fmla="*/ 11836958 w 11867103"/>
              <a:gd name="connsiteY23" fmla="*/ 2869149 h 2969978"/>
              <a:gd name="connsiteX24" fmla="*/ 11033090 w 11867103"/>
              <a:gd name="connsiteY24" fmla="*/ 2859101 h 2969978"/>
              <a:gd name="connsiteX25" fmla="*/ 10621108 w 11867103"/>
              <a:gd name="connsiteY25" fmla="*/ 2849053 h 2969978"/>
              <a:gd name="connsiteX26" fmla="*/ 10128739 w 11867103"/>
              <a:gd name="connsiteY26" fmla="*/ 2859101 h 2969978"/>
              <a:gd name="connsiteX27" fmla="*/ 10048352 w 11867103"/>
              <a:gd name="connsiteY27" fmla="*/ 2869149 h 2969978"/>
              <a:gd name="connsiteX28" fmla="*/ 9555982 w 11867103"/>
              <a:gd name="connsiteY28" fmla="*/ 2859101 h 2969978"/>
              <a:gd name="connsiteX29" fmla="*/ 9445451 w 11867103"/>
              <a:gd name="connsiteY29" fmla="*/ 2849053 h 2969978"/>
              <a:gd name="connsiteX30" fmla="*/ 9415306 w 11867103"/>
              <a:gd name="connsiteY30" fmla="*/ 2828956 h 2969978"/>
              <a:gd name="connsiteX31" fmla="*/ 9204290 w 11867103"/>
              <a:gd name="connsiteY31" fmla="*/ 2808859 h 2969978"/>
              <a:gd name="connsiteX32" fmla="*/ 9073662 w 11867103"/>
              <a:gd name="connsiteY32" fmla="*/ 2788762 h 2969978"/>
              <a:gd name="connsiteX33" fmla="*/ 8812404 w 11867103"/>
              <a:gd name="connsiteY33" fmla="*/ 2778714 h 2969978"/>
              <a:gd name="connsiteX34" fmla="*/ 8400422 w 11867103"/>
              <a:gd name="connsiteY34" fmla="*/ 2768666 h 2969978"/>
              <a:gd name="connsiteX35" fmla="*/ 8269793 w 11867103"/>
              <a:gd name="connsiteY35" fmla="*/ 2758617 h 2969978"/>
              <a:gd name="connsiteX36" fmla="*/ 7797521 w 11867103"/>
              <a:gd name="connsiteY36" fmla="*/ 2778714 h 2969978"/>
              <a:gd name="connsiteX37" fmla="*/ 7717134 w 11867103"/>
              <a:gd name="connsiteY37" fmla="*/ 2788762 h 2969978"/>
              <a:gd name="connsiteX38" fmla="*/ 7486022 w 11867103"/>
              <a:gd name="connsiteY38" fmla="*/ 2818908 h 2969978"/>
              <a:gd name="connsiteX39" fmla="*/ 7395587 w 11867103"/>
              <a:gd name="connsiteY39" fmla="*/ 2839004 h 2969978"/>
              <a:gd name="connsiteX40" fmla="*/ 7325248 w 11867103"/>
              <a:gd name="connsiteY40" fmla="*/ 2849053 h 2969978"/>
              <a:gd name="connsiteX41" fmla="*/ 6863024 w 11867103"/>
              <a:gd name="connsiteY41" fmla="*/ 2839004 h 2969978"/>
              <a:gd name="connsiteX42" fmla="*/ 6722347 w 11867103"/>
              <a:gd name="connsiteY42" fmla="*/ 2828956 h 2969978"/>
              <a:gd name="connsiteX43" fmla="*/ 4903596 w 11867103"/>
              <a:gd name="connsiteY43" fmla="*/ 2879198 h 2969978"/>
              <a:gd name="connsiteX44" fmla="*/ 4722725 w 11867103"/>
              <a:gd name="connsiteY44" fmla="*/ 2919391 h 2969978"/>
              <a:gd name="connsiteX45" fmla="*/ 4300695 w 11867103"/>
              <a:gd name="connsiteY45" fmla="*/ 2899294 h 2969978"/>
              <a:gd name="connsiteX46" fmla="*/ 4059534 w 11867103"/>
              <a:gd name="connsiteY46" fmla="*/ 2859101 h 2969978"/>
              <a:gd name="connsiteX47" fmla="*/ 3768132 w 11867103"/>
              <a:gd name="connsiteY47" fmla="*/ 2828956 h 2969978"/>
              <a:gd name="connsiteX48" fmla="*/ 3627455 w 11867103"/>
              <a:gd name="connsiteY48" fmla="*/ 2818908 h 2969978"/>
              <a:gd name="connsiteX49" fmla="*/ 3125037 w 11867103"/>
              <a:gd name="connsiteY49" fmla="*/ 2828956 h 2969978"/>
              <a:gd name="connsiteX50" fmla="*/ 3064747 w 11867103"/>
              <a:gd name="connsiteY50" fmla="*/ 2839004 h 2969978"/>
              <a:gd name="connsiteX51" fmla="*/ 2009670 w 11867103"/>
              <a:gd name="connsiteY51" fmla="*/ 2849053 h 2969978"/>
              <a:gd name="connsiteX52" fmla="*/ 1678075 w 11867103"/>
              <a:gd name="connsiteY52" fmla="*/ 2939488 h 2969978"/>
              <a:gd name="connsiteX53" fmla="*/ 1607736 w 11867103"/>
              <a:gd name="connsiteY53" fmla="*/ 2969633 h 2969978"/>
              <a:gd name="connsiteX54" fmla="*/ 1135464 w 11867103"/>
              <a:gd name="connsiteY54" fmla="*/ 2949536 h 2969978"/>
              <a:gd name="connsiteX55" fmla="*/ 944545 w 11867103"/>
              <a:gd name="connsiteY55" fmla="*/ 2919391 h 2969978"/>
              <a:gd name="connsiteX56" fmla="*/ 723481 w 11867103"/>
              <a:gd name="connsiteY56" fmla="*/ 2879198 h 2969978"/>
              <a:gd name="connsiteX57" fmla="*/ 643095 w 11867103"/>
              <a:gd name="connsiteY57" fmla="*/ 2869149 h 2969978"/>
              <a:gd name="connsiteX58" fmla="*/ 371789 w 11867103"/>
              <a:gd name="connsiteY58" fmla="*/ 2828956 h 2969978"/>
              <a:gd name="connsiteX59" fmla="*/ 0 w 11867103"/>
              <a:gd name="connsiteY59" fmla="*/ 2818908 h 2969978"/>
              <a:gd name="connsiteX0" fmla="*/ 120580 w 11867103"/>
              <a:gd name="connsiteY0" fmla="*/ 55611 h 2969978"/>
              <a:gd name="connsiteX1" fmla="*/ 281354 w 11867103"/>
              <a:gd name="connsiteY1" fmla="*/ 45562 h 2969978"/>
              <a:gd name="connsiteX2" fmla="*/ 673240 w 11867103"/>
              <a:gd name="connsiteY2" fmla="*/ 35514 h 2969978"/>
              <a:gd name="connsiteX3" fmla="*/ 1356528 w 11867103"/>
              <a:gd name="connsiteY3" fmla="*/ 85756 h 2969978"/>
              <a:gd name="connsiteX4" fmla="*/ 1758462 w 11867103"/>
              <a:gd name="connsiteY4" fmla="*/ 45562 h 2969978"/>
              <a:gd name="connsiteX5" fmla="*/ 2140299 w 11867103"/>
              <a:gd name="connsiteY5" fmla="*/ 45562 h 2969978"/>
              <a:gd name="connsiteX6" fmla="*/ 4652387 w 11867103"/>
              <a:gd name="connsiteY6" fmla="*/ 65659 h 2969978"/>
              <a:gd name="connsiteX7" fmla="*/ 4692580 w 11867103"/>
              <a:gd name="connsiteY7" fmla="*/ 75708 h 2969978"/>
              <a:gd name="connsiteX8" fmla="*/ 6420897 w 11867103"/>
              <a:gd name="connsiteY8" fmla="*/ 95804 h 2969978"/>
              <a:gd name="connsiteX9" fmla="*/ 7184571 w 11867103"/>
              <a:gd name="connsiteY9" fmla="*/ 65659 h 2969978"/>
              <a:gd name="connsiteX10" fmla="*/ 7928150 w 11867103"/>
              <a:gd name="connsiteY10" fmla="*/ 65659 h 2969978"/>
              <a:gd name="connsiteX11" fmla="*/ 8219552 w 11867103"/>
              <a:gd name="connsiteY11" fmla="*/ 95804 h 2969978"/>
              <a:gd name="connsiteX12" fmla="*/ 9606224 w 11867103"/>
              <a:gd name="connsiteY12" fmla="*/ 95804 h 2969978"/>
              <a:gd name="connsiteX13" fmla="*/ 9947868 w 11867103"/>
              <a:gd name="connsiteY13" fmla="*/ 65659 h 2969978"/>
              <a:gd name="connsiteX14" fmla="*/ 10791930 w 11867103"/>
              <a:gd name="connsiteY14" fmla="*/ 35514 h 2969978"/>
              <a:gd name="connsiteX15" fmla="*/ 11736475 w 11867103"/>
              <a:gd name="connsiteY15" fmla="*/ 55611 h 2969978"/>
              <a:gd name="connsiteX16" fmla="*/ 11806813 w 11867103"/>
              <a:gd name="connsiteY16" fmla="*/ 769044 h 2969978"/>
              <a:gd name="connsiteX17" fmla="*/ 11816862 w 11867103"/>
              <a:gd name="connsiteY17" fmla="*/ 2336587 h 2969978"/>
              <a:gd name="connsiteX18" fmla="*/ 11826910 w 11867103"/>
              <a:gd name="connsiteY18" fmla="*/ 2406925 h 2969978"/>
              <a:gd name="connsiteX19" fmla="*/ 11857055 w 11867103"/>
              <a:gd name="connsiteY19" fmla="*/ 2567699 h 2969978"/>
              <a:gd name="connsiteX20" fmla="*/ 11867103 w 11867103"/>
              <a:gd name="connsiteY20" fmla="*/ 2607892 h 2969978"/>
              <a:gd name="connsiteX21" fmla="*/ 11857055 w 11867103"/>
              <a:gd name="connsiteY21" fmla="*/ 2839004 h 2969978"/>
              <a:gd name="connsiteX22" fmla="*/ 11836958 w 11867103"/>
              <a:gd name="connsiteY22" fmla="*/ 2869149 h 2969978"/>
              <a:gd name="connsiteX23" fmla="*/ 11033090 w 11867103"/>
              <a:gd name="connsiteY23" fmla="*/ 2859101 h 2969978"/>
              <a:gd name="connsiteX24" fmla="*/ 10621108 w 11867103"/>
              <a:gd name="connsiteY24" fmla="*/ 2849053 h 2969978"/>
              <a:gd name="connsiteX25" fmla="*/ 10128739 w 11867103"/>
              <a:gd name="connsiteY25" fmla="*/ 2859101 h 2969978"/>
              <a:gd name="connsiteX26" fmla="*/ 10048352 w 11867103"/>
              <a:gd name="connsiteY26" fmla="*/ 2869149 h 2969978"/>
              <a:gd name="connsiteX27" fmla="*/ 9555982 w 11867103"/>
              <a:gd name="connsiteY27" fmla="*/ 2859101 h 2969978"/>
              <a:gd name="connsiteX28" fmla="*/ 9445451 w 11867103"/>
              <a:gd name="connsiteY28" fmla="*/ 2849053 h 2969978"/>
              <a:gd name="connsiteX29" fmla="*/ 9415306 w 11867103"/>
              <a:gd name="connsiteY29" fmla="*/ 2828956 h 2969978"/>
              <a:gd name="connsiteX30" fmla="*/ 9204290 w 11867103"/>
              <a:gd name="connsiteY30" fmla="*/ 2808859 h 2969978"/>
              <a:gd name="connsiteX31" fmla="*/ 9073662 w 11867103"/>
              <a:gd name="connsiteY31" fmla="*/ 2788762 h 2969978"/>
              <a:gd name="connsiteX32" fmla="*/ 8812404 w 11867103"/>
              <a:gd name="connsiteY32" fmla="*/ 2778714 h 2969978"/>
              <a:gd name="connsiteX33" fmla="*/ 8400422 w 11867103"/>
              <a:gd name="connsiteY33" fmla="*/ 2768666 h 2969978"/>
              <a:gd name="connsiteX34" fmla="*/ 8269793 w 11867103"/>
              <a:gd name="connsiteY34" fmla="*/ 2758617 h 2969978"/>
              <a:gd name="connsiteX35" fmla="*/ 7797521 w 11867103"/>
              <a:gd name="connsiteY35" fmla="*/ 2778714 h 2969978"/>
              <a:gd name="connsiteX36" fmla="*/ 7717134 w 11867103"/>
              <a:gd name="connsiteY36" fmla="*/ 2788762 h 2969978"/>
              <a:gd name="connsiteX37" fmla="*/ 7486022 w 11867103"/>
              <a:gd name="connsiteY37" fmla="*/ 2818908 h 2969978"/>
              <a:gd name="connsiteX38" fmla="*/ 7395587 w 11867103"/>
              <a:gd name="connsiteY38" fmla="*/ 2839004 h 2969978"/>
              <a:gd name="connsiteX39" fmla="*/ 7325248 w 11867103"/>
              <a:gd name="connsiteY39" fmla="*/ 2849053 h 2969978"/>
              <a:gd name="connsiteX40" fmla="*/ 6863024 w 11867103"/>
              <a:gd name="connsiteY40" fmla="*/ 2839004 h 2969978"/>
              <a:gd name="connsiteX41" fmla="*/ 6722347 w 11867103"/>
              <a:gd name="connsiteY41" fmla="*/ 2828956 h 2969978"/>
              <a:gd name="connsiteX42" fmla="*/ 4903596 w 11867103"/>
              <a:gd name="connsiteY42" fmla="*/ 2879198 h 2969978"/>
              <a:gd name="connsiteX43" fmla="*/ 4722725 w 11867103"/>
              <a:gd name="connsiteY43" fmla="*/ 2919391 h 2969978"/>
              <a:gd name="connsiteX44" fmla="*/ 4300695 w 11867103"/>
              <a:gd name="connsiteY44" fmla="*/ 2899294 h 2969978"/>
              <a:gd name="connsiteX45" fmla="*/ 4059534 w 11867103"/>
              <a:gd name="connsiteY45" fmla="*/ 2859101 h 2969978"/>
              <a:gd name="connsiteX46" fmla="*/ 3768132 w 11867103"/>
              <a:gd name="connsiteY46" fmla="*/ 2828956 h 2969978"/>
              <a:gd name="connsiteX47" fmla="*/ 3627455 w 11867103"/>
              <a:gd name="connsiteY47" fmla="*/ 2818908 h 2969978"/>
              <a:gd name="connsiteX48" fmla="*/ 3125037 w 11867103"/>
              <a:gd name="connsiteY48" fmla="*/ 2828956 h 2969978"/>
              <a:gd name="connsiteX49" fmla="*/ 3064747 w 11867103"/>
              <a:gd name="connsiteY49" fmla="*/ 2839004 h 2969978"/>
              <a:gd name="connsiteX50" fmla="*/ 2009670 w 11867103"/>
              <a:gd name="connsiteY50" fmla="*/ 2849053 h 2969978"/>
              <a:gd name="connsiteX51" fmla="*/ 1678075 w 11867103"/>
              <a:gd name="connsiteY51" fmla="*/ 2939488 h 2969978"/>
              <a:gd name="connsiteX52" fmla="*/ 1607736 w 11867103"/>
              <a:gd name="connsiteY52" fmla="*/ 2969633 h 2969978"/>
              <a:gd name="connsiteX53" fmla="*/ 1135464 w 11867103"/>
              <a:gd name="connsiteY53" fmla="*/ 2949536 h 2969978"/>
              <a:gd name="connsiteX54" fmla="*/ 944545 w 11867103"/>
              <a:gd name="connsiteY54" fmla="*/ 2919391 h 2969978"/>
              <a:gd name="connsiteX55" fmla="*/ 723481 w 11867103"/>
              <a:gd name="connsiteY55" fmla="*/ 2879198 h 2969978"/>
              <a:gd name="connsiteX56" fmla="*/ 643095 w 11867103"/>
              <a:gd name="connsiteY56" fmla="*/ 2869149 h 2969978"/>
              <a:gd name="connsiteX57" fmla="*/ 371789 w 11867103"/>
              <a:gd name="connsiteY57" fmla="*/ 2828956 h 2969978"/>
              <a:gd name="connsiteX58" fmla="*/ 0 w 11867103"/>
              <a:gd name="connsiteY58" fmla="*/ 2818908 h 2969978"/>
              <a:gd name="connsiteX0" fmla="*/ 120580 w 11867103"/>
              <a:gd name="connsiteY0" fmla="*/ 55611 h 2969978"/>
              <a:gd name="connsiteX1" fmla="*/ 281354 w 11867103"/>
              <a:gd name="connsiteY1" fmla="*/ 45562 h 2969978"/>
              <a:gd name="connsiteX2" fmla="*/ 673240 w 11867103"/>
              <a:gd name="connsiteY2" fmla="*/ 35514 h 2969978"/>
              <a:gd name="connsiteX3" fmla="*/ 1356528 w 11867103"/>
              <a:gd name="connsiteY3" fmla="*/ 85756 h 2969978"/>
              <a:gd name="connsiteX4" fmla="*/ 1758462 w 11867103"/>
              <a:gd name="connsiteY4" fmla="*/ 45562 h 2969978"/>
              <a:gd name="connsiteX5" fmla="*/ 2140299 w 11867103"/>
              <a:gd name="connsiteY5" fmla="*/ 45562 h 2969978"/>
              <a:gd name="connsiteX6" fmla="*/ 4652387 w 11867103"/>
              <a:gd name="connsiteY6" fmla="*/ 65659 h 2969978"/>
              <a:gd name="connsiteX7" fmla="*/ 4692580 w 11867103"/>
              <a:gd name="connsiteY7" fmla="*/ 75708 h 2969978"/>
              <a:gd name="connsiteX8" fmla="*/ 6420897 w 11867103"/>
              <a:gd name="connsiteY8" fmla="*/ 95804 h 2969978"/>
              <a:gd name="connsiteX9" fmla="*/ 7184571 w 11867103"/>
              <a:gd name="connsiteY9" fmla="*/ 65659 h 2969978"/>
              <a:gd name="connsiteX10" fmla="*/ 7928150 w 11867103"/>
              <a:gd name="connsiteY10" fmla="*/ 65659 h 2969978"/>
              <a:gd name="connsiteX11" fmla="*/ 8219552 w 11867103"/>
              <a:gd name="connsiteY11" fmla="*/ 95804 h 2969978"/>
              <a:gd name="connsiteX12" fmla="*/ 9606224 w 11867103"/>
              <a:gd name="connsiteY12" fmla="*/ 95804 h 2969978"/>
              <a:gd name="connsiteX13" fmla="*/ 9947868 w 11867103"/>
              <a:gd name="connsiteY13" fmla="*/ 65659 h 2969978"/>
              <a:gd name="connsiteX14" fmla="*/ 10791930 w 11867103"/>
              <a:gd name="connsiteY14" fmla="*/ 35514 h 2969978"/>
              <a:gd name="connsiteX15" fmla="*/ 11736475 w 11867103"/>
              <a:gd name="connsiteY15" fmla="*/ 55611 h 2969978"/>
              <a:gd name="connsiteX16" fmla="*/ 11806813 w 11867103"/>
              <a:gd name="connsiteY16" fmla="*/ 769044 h 2969978"/>
              <a:gd name="connsiteX17" fmla="*/ 11816862 w 11867103"/>
              <a:gd name="connsiteY17" fmla="*/ 2336587 h 2969978"/>
              <a:gd name="connsiteX18" fmla="*/ 11857055 w 11867103"/>
              <a:gd name="connsiteY18" fmla="*/ 2567699 h 2969978"/>
              <a:gd name="connsiteX19" fmla="*/ 11867103 w 11867103"/>
              <a:gd name="connsiteY19" fmla="*/ 2607892 h 2969978"/>
              <a:gd name="connsiteX20" fmla="*/ 11857055 w 11867103"/>
              <a:gd name="connsiteY20" fmla="*/ 2839004 h 2969978"/>
              <a:gd name="connsiteX21" fmla="*/ 11836958 w 11867103"/>
              <a:gd name="connsiteY21" fmla="*/ 2869149 h 2969978"/>
              <a:gd name="connsiteX22" fmla="*/ 11033090 w 11867103"/>
              <a:gd name="connsiteY22" fmla="*/ 2859101 h 2969978"/>
              <a:gd name="connsiteX23" fmla="*/ 10621108 w 11867103"/>
              <a:gd name="connsiteY23" fmla="*/ 2849053 h 2969978"/>
              <a:gd name="connsiteX24" fmla="*/ 10128739 w 11867103"/>
              <a:gd name="connsiteY24" fmla="*/ 2859101 h 2969978"/>
              <a:gd name="connsiteX25" fmla="*/ 10048352 w 11867103"/>
              <a:gd name="connsiteY25" fmla="*/ 2869149 h 2969978"/>
              <a:gd name="connsiteX26" fmla="*/ 9555982 w 11867103"/>
              <a:gd name="connsiteY26" fmla="*/ 2859101 h 2969978"/>
              <a:gd name="connsiteX27" fmla="*/ 9445451 w 11867103"/>
              <a:gd name="connsiteY27" fmla="*/ 2849053 h 2969978"/>
              <a:gd name="connsiteX28" fmla="*/ 9415306 w 11867103"/>
              <a:gd name="connsiteY28" fmla="*/ 2828956 h 2969978"/>
              <a:gd name="connsiteX29" fmla="*/ 9204290 w 11867103"/>
              <a:gd name="connsiteY29" fmla="*/ 2808859 h 2969978"/>
              <a:gd name="connsiteX30" fmla="*/ 9073662 w 11867103"/>
              <a:gd name="connsiteY30" fmla="*/ 2788762 h 2969978"/>
              <a:gd name="connsiteX31" fmla="*/ 8812404 w 11867103"/>
              <a:gd name="connsiteY31" fmla="*/ 2778714 h 2969978"/>
              <a:gd name="connsiteX32" fmla="*/ 8400422 w 11867103"/>
              <a:gd name="connsiteY32" fmla="*/ 2768666 h 2969978"/>
              <a:gd name="connsiteX33" fmla="*/ 8269793 w 11867103"/>
              <a:gd name="connsiteY33" fmla="*/ 2758617 h 2969978"/>
              <a:gd name="connsiteX34" fmla="*/ 7797521 w 11867103"/>
              <a:gd name="connsiteY34" fmla="*/ 2778714 h 2969978"/>
              <a:gd name="connsiteX35" fmla="*/ 7717134 w 11867103"/>
              <a:gd name="connsiteY35" fmla="*/ 2788762 h 2969978"/>
              <a:gd name="connsiteX36" fmla="*/ 7486022 w 11867103"/>
              <a:gd name="connsiteY36" fmla="*/ 2818908 h 2969978"/>
              <a:gd name="connsiteX37" fmla="*/ 7395587 w 11867103"/>
              <a:gd name="connsiteY37" fmla="*/ 2839004 h 2969978"/>
              <a:gd name="connsiteX38" fmla="*/ 7325248 w 11867103"/>
              <a:gd name="connsiteY38" fmla="*/ 2849053 h 2969978"/>
              <a:gd name="connsiteX39" fmla="*/ 6863024 w 11867103"/>
              <a:gd name="connsiteY39" fmla="*/ 2839004 h 2969978"/>
              <a:gd name="connsiteX40" fmla="*/ 6722347 w 11867103"/>
              <a:gd name="connsiteY40" fmla="*/ 2828956 h 2969978"/>
              <a:gd name="connsiteX41" fmla="*/ 4903596 w 11867103"/>
              <a:gd name="connsiteY41" fmla="*/ 2879198 h 2969978"/>
              <a:gd name="connsiteX42" fmla="*/ 4722725 w 11867103"/>
              <a:gd name="connsiteY42" fmla="*/ 2919391 h 2969978"/>
              <a:gd name="connsiteX43" fmla="*/ 4300695 w 11867103"/>
              <a:gd name="connsiteY43" fmla="*/ 2899294 h 2969978"/>
              <a:gd name="connsiteX44" fmla="*/ 4059534 w 11867103"/>
              <a:gd name="connsiteY44" fmla="*/ 2859101 h 2969978"/>
              <a:gd name="connsiteX45" fmla="*/ 3768132 w 11867103"/>
              <a:gd name="connsiteY45" fmla="*/ 2828956 h 2969978"/>
              <a:gd name="connsiteX46" fmla="*/ 3627455 w 11867103"/>
              <a:gd name="connsiteY46" fmla="*/ 2818908 h 2969978"/>
              <a:gd name="connsiteX47" fmla="*/ 3125037 w 11867103"/>
              <a:gd name="connsiteY47" fmla="*/ 2828956 h 2969978"/>
              <a:gd name="connsiteX48" fmla="*/ 3064747 w 11867103"/>
              <a:gd name="connsiteY48" fmla="*/ 2839004 h 2969978"/>
              <a:gd name="connsiteX49" fmla="*/ 2009670 w 11867103"/>
              <a:gd name="connsiteY49" fmla="*/ 2849053 h 2969978"/>
              <a:gd name="connsiteX50" fmla="*/ 1678075 w 11867103"/>
              <a:gd name="connsiteY50" fmla="*/ 2939488 h 2969978"/>
              <a:gd name="connsiteX51" fmla="*/ 1607736 w 11867103"/>
              <a:gd name="connsiteY51" fmla="*/ 2969633 h 2969978"/>
              <a:gd name="connsiteX52" fmla="*/ 1135464 w 11867103"/>
              <a:gd name="connsiteY52" fmla="*/ 2949536 h 2969978"/>
              <a:gd name="connsiteX53" fmla="*/ 944545 w 11867103"/>
              <a:gd name="connsiteY53" fmla="*/ 2919391 h 2969978"/>
              <a:gd name="connsiteX54" fmla="*/ 723481 w 11867103"/>
              <a:gd name="connsiteY54" fmla="*/ 2879198 h 2969978"/>
              <a:gd name="connsiteX55" fmla="*/ 643095 w 11867103"/>
              <a:gd name="connsiteY55" fmla="*/ 2869149 h 2969978"/>
              <a:gd name="connsiteX56" fmla="*/ 371789 w 11867103"/>
              <a:gd name="connsiteY56" fmla="*/ 2828956 h 2969978"/>
              <a:gd name="connsiteX57" fmla="*/ 0 w 11867103"/>
              <a:gd name="connsiteY57" fmla="*/ 2818908 h 2969978"/>
              <a:gd name="connsiteX0" fmla="*/ 120580 w 11860922"/>
              <a:gd name="connsiteY0" fmla="*/ 55611 h 2969978"/>
              <a:gd name="connsiteX1" fmla="*/ 281354 w 11860922"/>
              <a:gd name="connsiteY1" fmla="*/ 45562 h 2969978"/>
              <a:gd name="connsiteX2" fmla="*/ 673240 w 11860922"/>
              <a:gd name="connsiteY2" fmla="*/ 35514 h 2969978"/>
              <a:gd name="connsiteX3" fmla="*/ 1356528 w 11860922"/>
              <a:gd name="connsiteY3" fmla="*/ 85756 h 2969978"/>
              <a:gd name="connsiteX4" fmla="*/ 1758462 w 11860922"/>
              <a:gd name="connsiteY4" fmla="*/ 45562 h 2969978"/>
              <a:gd name="connsiteX5" fmla="*/ 2140299 w 11860922"/>
              <a:gd name="connsiteY5" fmla="*/ 45562 h 2969978"/>
              <a:gd name="connsiteX6" fmla="*/ 4652387 w 11860922"/>
              <a:gd name="connsiteY6" fmla="*/ 65659 h 2969978"/>
              <a:gd name="connsiteX7" fmla="*/ 4692580 w 11860922"/>
              <a:gd name="connsiteY7" fmla="*/ 75708 h 2969978"/>
              <a:gd name="connsiteX8" fmla="*/ 6420897 w 11860922"/>
              <a:gd name="connsiteY8" fmla="*/ 95804 h 2969978"/>
              <a:gd name="connsiteX9" fmla="*/ 7184571 w 11860922"/>
              <a:gd name="connsiteY9" fmla="*/ 65659 h 2969978"/>
              <a:gd name="connsiteX10" fmla="*/ 7928150 w 11860922"/>
              <a:gd name="connsiteY10" fmla="*/ 65659 h 2969978"/>
              <a:gd name="connsiteX11" fmla="*/ 8219552 w 11860922"/>
              <a:gd name="connsiteY11" fmla="*/ 95804 h 2969978"/>
              <a:gd name="connsiteX12" fmla="*/ 9606224 w 11860922"/>
              <a:gd name="connsiteY12" fmla="*/ 95804 h 2969978"/>
              <a:gd name="connsiteX13" fmla="*/ 9947868 w 11860922"/>
              <a:gd name="connsiteY13" fmla="*/ 65659 h 2969978"/>
              <a:gd name="connsiteX14" fmla="*/ 10791930 w 11860922"/>
              <a:gd name="connsiteY14" fmla="*/ 35514 h 2969978"/>
              <a:gd name="connsiteX15" fmla="*/ 11736475 w 11860922"/>
              <a:gd name="connsiteY15" fmla="*/ 55611 h 2969978"/>
              <a:gd name="connsiteX16" fmla="*/ 11806813 w 11860922"/>
              <a:gd name="connsiteY16" fmla="*/ 769044 h 2969978"/>
              <a:gd name="connsiteX17" fmla="*/ 11816862 w 11860922"/>
              <a:gd name="connsiteY17" fmla="*/ 2336587 h 2969978"/>
              <a:gd name="connsiteX18" fmla="*/ 11857055 w 11860922"/>
              <a:gd name="connsiteY18" fmla="*/ 2567699 h 2969978"/>
              <a:gd name="connsiteX19" fmla="*/ 11857055 w 11860922"/>
              <a:gd name="connsiteY19" fmla="*/ 2839004 h 2969978"/>
              <a:gd name="connsiteX20" fmla="*/ 11836958 w 11860922"/>
              <a:gd name="connsiteY20" fmla="*/ 2869149 h 2969978"/>
              <a:gd name="connsiteX21" fmla="*/ 11033090 w 11860922"/>
              <a:gd name="connsiteY21" fmla="*/ 2859101 h 2969978"/>
              <a:gd name="connsiteX22" fmla="*/ 10621108 w 11860922"/>
              <a:gd name="connsiteY22" fmla="*/ 2849053 h 2969978"/>
              <a:gd name="connsiteX23" fmla="*/ 10128739 w 11860922"/>
              <a:gd name="connsiteY23" fmla="*/ 2859101 h 2969978"/>
              <a:gd name="connsiteX24" fmla="*/ 10048352 w 11860922"/>
              <a:gd name="connsiteY24" fmla="*/ 2869149 h 2969978"/>
              <a:gd name="connsiteX25" fmla="*/ 9555982 w 11860922"/>
              <a:gd name="connsiteY25" fmla="*/ 2859101 h 2969978"/>
              <a:gd name="connsiteX26" fmla="*/ 9445451 w 11860922"/>
              <a:gd name="connsiteY26" fmla="*/ 2849053 h 2969978"/>
              <a:gd name="connsiteX27" fmla="*/ 9415306 w 11860922"/>
              <a:gd name="connsiteY27" fmla="*/ 2828956 h 2969978"/>
              <a:gd name="connsiteX28" fmla="*/ 9204290 w 11860922"/>
              <a:gd name="connsiteY28" fmla="*/ 2808859 h 2969978"/>
              <a:gd name="connsiteX29" fmla="*/ 9073662 w 11860922"/>
              <a:gd name="connsiteY29" fmla="*/ 2788762 h 2969978"/>
              <a:gd name="connsiteX30" fmla="*/ 8812404 w 11860922"/>
              <a:gd name="connsiteY30" fmla="*/ 2778714 h 2969978"/>
              <a:gd name="connsiteX31" fmla="*/ 8400422 w 11860922"/>
              <a:gd name="connsiteY31" fmla="*/ 2768666 h 2969978"/>
              <a:gd name="connsiteX32" fmla="*/ 8269793 w 11860922"/>
              <a:gd name="connsiteY32" fmla="*/ 2758617 h 2969978"/>
              <a:gd name="connsiteX33" fmla="*/ 7797521 w 11860922"/>
              <a:gd name="connsiteY33" fmla="*/ 2778714 h 2969978"/>
              <a:gd name="connsiteX34" fmla="*/ 7717134 w 11860922"/>
              <a:gd name="connsiteY34" fmla="*/ 2788762 h 2969978"/>
              <a:gd name="connsiteX35" fmla="*/ 7486022 w 11860922"/>
              <a:gd name="connsiteY35" fmla="*/ 2818908 h 2969978"/>
              <a:gd name="connsiteX36" fmla="*/ 7395587 w 11860922"/>
              <a:gd name="connsiteY36" fmla="*/ 2839004 h 2969978"/>
              <a:gd name="connsiteX37" fmla="*/ 7325248 w 11860922"/>
              <a:gd name="connsiteY37" fmla="*/ 2849053 h 2969978"/>
              <a:gd name="connsiteX38" fmla="*/ 6863024 w 11860922"/>
              <a:gd name="connsiteY38" fmla="*/ 2839004 h 2969978"/>
              <a:gd name="connsiteX39" fmla="*/ 6722347 w 11860922"/>
              <a:gd name="connsiteY39" fmla="*/ 2828956 h 2969978"/>
              <a:gd name="connsiteX40" fmla="*/ 4903596 w 11860922"/>
              <a:gd name="connsiteY40" fmla="*/ 2879198 h 2969978"/>
              <a:gd name="connsiteX41" fmla="*/ 4722725 w 11860922"/>
              <a:gd name="connsiteY41" fmla="*/ 2919391 h 2969978"/>
              <a:gd name="connsiteX42" fmla="*/ 4300695 w 11860922"/>
              <a:gd name="connsiteY42" fmla="*/ 2899294 h 2969978"/>
              <a:gd name="connsiteX43" fmla="*/ 4059534 w 11860922"/>
              <a:gd name="connsiteY43" fmla="*/ 2859101 h 2969978"/>
              <a:gd name="connsiteX44" fmla="*/ 3768132 w 11860922"/>
              <a:gd name="connsiteY44" fmla="*/ 2828956 h 2969978"/>
              <a:gd name="connsiteX45" fmla="*/ 3627455 w 11860922"/>
              <a:gd name="connsiteY45" fmla="*/ 2818908 h 2969978"/>
              <a:gd name="connsiteX46" fmla="*/ 3125037 w 11860922"/>
              <a:gd name="connsiteY46" fmla="*/ 2828956 h 2969978"/>
              <a:gd name="connsiteX47" fmla="*/ 3064747 w 11860922"/>
              <a:gd name="connsiteY47" fmla="*/ 2839004 h 2969978"/>
              <a:gd name="connsiteX48" fmla="*/ 2009670 w 11860922"/>
              <a:gd name="connsiteY48" fmla="*/ 2849053 h 2969978"/>
              <a:gd name="connsiteX49" fmla="*/ 1678075 w 11860922"/>
              <a:gd name="connsiteY49" fmla="*/ 2939488 h 2969978"/>
              <a:gd name="connsiteX50" fmla="*/ 1607736 w 11860922"/>
              <a:gd name="connsiteY50" fmla="*/ 2969633 h 2969978"/>
              <a:gd name="connsiteX51" fmla="*/ 1135464 w 11860922"/>
              <a:gd name="connsiteY51" fmla="*/ 2949536 h 2969978"/>
              <a:gd name="connsiteX52" fmla="*/ 944545 w 11860922"/>
              <a:gd name="connsiteY52" fmla="*/ 2919391 h 2969978"/>
              <a:gd name="connsiteX53" fmla="*/ 723481 w 11860922"/>
              <a:gd name="connsiteY53" fmla="*/ 2879198 h 2969978"/>
              <a:gd name="connsiteX54" fmla="*/ 643095 w 11860922"/>
              <a:gd name="connsiteY54" fmla="*/ 2869149 h 2969978"/>
              <a:gd name="connsiteX55" fmla="*/ 371789 w 11860922"/>
              <a:gd name="connsiteY55" fmla="*/ 2828956 h 2969978"/>
              <a:gd name="connsiteX56" fmla="*/ 0 w 11860922"/>
              <a:gd name="connsiteY56" fmla="*/ 2818908 h 2969978"/>
              <a:gd name="connsiteX0" fmla="*/ 120580 w 11857648"/>
              <a:gd name="connsiteY0" fmla="*/ 55611 h 2969978"/>
              <a:gd name="connsiteX1" fmla="*/ 281354 w 11857648"/>
              <a:gd name="connsiteY1" fmla="*/ 45562 h 2969978"/>
              <a:gd name="connsiteX2" fmla="*/ 673240 w 11857648"/>
              <a:gd name="connsiteY2" fmla="*/ 35514 h 2969978"/>
              <a:gd name="connsiteX3" fmla="*/ 1356528 w 11857648"/>
              <a:gd name="connsiteY3" fmla="*/ 85756 h 2969978"/>
              <a:gd name="connsiteX4" fmla="*/ 1758462 w 11857648"/>
              <a:gd name="connsiteY4" fmla="*/ 45562 h 2969978"/>
              <a:gd name="connsiteX5" fmla="*/ 2140299 w 11857648"/>
              <a:gd name="connsiteY5" fmla="*/ 45562 h 2969978"/>
              <a:gd name="connsiteX6" fmla="*/ 4652387 w 11857648"/>
              <a:gd name="connsiteY6" fmla="*/ 65659 h 2969978"/>
              <a:gd name="connsiteX7" fmla="*/ 4692580 w 11857648"/>
              <a:gd name="connsiteY7" fmla="*/ 75708 h 2969978"/>
              <a:gd name="connsiteX8" fmla="*/ 6420897 w 11857648"/>
              <a:gd name="connsiteY8" fmla="*/ 95804 h 2969978"/>
              <a:gd name="connsiteX9" fmla="*/ 7184571 w 11857648"/>
              <a:gd name="connsiteY9" fmla="*/ 65659 h 2969978"/>
              <a:gd name="connsiteX10" fmla="*/ 7928150 w 11857648"/>
              <a:gd name="connsiteY10" fmla="*/ 65659 h 2969978"/>
              <a:gd name="connsiteX11" fmla="*/ 8219552 w 11857648"/>
              <a:gd name="connsiteY11" fmla="*/ 95804 h 2969978"/>
              <a:gd name="connsiteX12" fmla="*/ 9606224 w 11857648"/>
              <a:gd name="connsiteY12" fmla="*/ 95804 h 2969978"/>
              <a:gd name="connsiteX13" fmla="*/ 9947868 w 11857648"/>
              <a:gd name="connsiteY13" fmla="*/ 65659 h 2969978"/>
              <a:gd name="connsiteX14" fmla="*/ 10791930 w 11857648"/>
              <a:gd name="connsiteY14" fmla="*/ 35514 h 2969978"/>
              <a:gd name="connsiteX15" fmla="*/ 11736475 w 11857648"/>
              <a:gd name="connsiteY15" fmla="*/ 55611 h 2969978"/>
              <a:gd name="connsiteX16" fmla="*/ 11806813 w 11857648"/>
              <a:gd name="connsiteY16" fmla="*/ 769044 h 2969978"/>
              <a:gd name="connsiteX17" fmla="*/ 11816862 w 11857648"/>
              <a:gd name="connsiteY17" fmla="*/ 2336587 h 2969978"/>
              <a:gd name="connsiteX18" fmla="*/ 11857055 w 11857648"/>
              <a:gd name="connsiteY18" fmla="*/ 2839004 h 2969978"/>
              <a:gd name="connsiteX19" fmla="*/ 11836958 w 11857648"/>
              <a:gd name="connsiteY19" fmla="*/ 2869149 h 2969978"/>
              <a:gd name="connsiteX20" fmla="*/ 11033090 w 11857648"/>
              <a:gd name="connsiteY20" fmla="*/ 2859101 h 2969978"/>
              <a:gd name="connsiteX21" fmla="*/ 10621108 w 11857648"/>
              <a:gd name="connsiteY21" fmla="*/ 2849053 h 2969978"/>
              <a:gd name="connsiteX22" fmla="*/ 10128739 w 11857648"/>
              <a:gd name="connsiteY22" fmla="*/ 2859101 h 2969978"/>
              <a:gd name="connsiteX23" fmla="*/ 10048352 w 11857648"/>
              <a:gd name="connsiteY23" fmla="*/ 2869149 h 2969978"/>
              <a:gd name="connsiteX24" fmla="*/ 9555982 w 11857648"/>
              <a:gd name="connsiteY24" fmla="*/ 2859101 h 2969978"/>
              <a:gd name="connsiteX25" fmla="*/ 9445451 w 11857648"/>
              <a:gd name="connsiteY25" fmla="*/ 2849053 h 2969978"/>
              <a:gd name="connsiteX26" fmla="*/ 9415306 w 11857648"/>
              <a:gd name="connsiteY26" fmla="*/ 2828956 h 2969978"/>
              <a:gd name="connsiteX27" fmla="*/ 9204290 w 11857648"/>
              <a:gd name="connsiteY27" fmla="*/ 2808859 h 2969978"/>
              <a:gd name="connsiteX28" fmla="*/ 9073662 w 11857648"/>
              <a:gd name="connsiteY28" fmla="*/ 2788762 h 2969978"/>
              <a:gd name="connsiteX29" fmla="*/ 8812404 w 11857648"/>
              <a:gd name="connsiteY29" fmla="*/ 2778714 h 2969978"/>
              <a:gd name="connsiteX30" fmla="*/ 8400422 w 11857648"/>
              <a:gd name="connsiteY30" fmla="*/ 2768666 h 2969978"/>
              <a:gd name="connsiteX31" fmla="*/ 8269793 w 11857648"/>
              <a:gd name="connsiteY31" fmla="*/ 2758617 h 2969978"/>
              <a:gd name="connsiteX32" fmla="*/ 7797521 w 11857648"/>
              <a:gd name="connsiteY32" fmla="*/ 2778714 h 2969978"/>
              <a:gd name="connsiteX33" fmla="*/ 7717134 w 11857648"/>
              <a:gd name="connsiteY33" fmla="*/ 2788762 h 2969978"/>
              <a:gd name="connsiteX34" fmla="*/ 7486022 w 11857648"/>
              <a:gd name="connsiteY34" fmla="*/ 2818908 h 2969978"/>
              <a:gd name="connsiteX35" fmla="*/ 7395587 w 11857648"/>
              <a:gd name="connsiteY35" fmla="*/ 2839004 h 2969978"/>
              <a:gd name="connsiteX36" fmla="*/ 7325248 w 11857648"/>
              <a:gd name="connsiteY36" fmla="*/ 2849053 h 2969978"/>
              <a:gd name="connsiteX37" fmla="*/ 6863024 w 11857648"/>
              <a:gd name="connsiteY37" fmla="*/ 2839004 h 2969978"/>
              <a:gd name="connsiteX38" fmla="*/ 6722347 w 11857648"/>
              <a:gd name="connsiteY38" fmla="*/ 2828956 h 2969978"/>
              <a:gd name="connsiteX39" fmla="*/ 4903596 w 11857648"/>
              <a:gd name="connsiteY39" fmla="*/ 2879198 h 2969978"/>
              <a:gd name="connsiteX40" fmla="*/ 4722725 w 11857648"/>
              <a:gd name="connsiteY40" fmla="*/ 2919391 h 2969978"/>
              <a:gd name="connsiteX41" fmla="*/ 4300695 w 11857648"/>
              <a:gd name="connsiteY41" fmla="*/ 2899294 h 2969978"/>
              <a:gd name="connsiteX42" fmla="*/ 4059534 w 11857648"/>
              <a:gd name="connsiteY42" fmla="*/ 2859101 h 2969978"/>
              <a:gd name="connsiteX43" fmla="*/ 3768132 w 11857648"/>
              <a:gd name="connsiteY43" fmla="*/ 2828956 h 2969978"/>
              <a:gd name="connsiteX44" fmla="*/ 3627455 w 11857648"/>
              <a:gd name="connsiteY44" fmla="*/ 2818908 h 2969978"/>
              <a:gd name="connsiteX45" fmla="*/ 3125037 w 11857648"/>
              <a:gd name="connsiteY45" fmla="*/ 2828956 h 2969978"/>
              <a:gd name="connsiteX46" fmla="*/ 3064747 w 11857648"/>
              <a:gd name="connsiteY46" fmla="*/ 2839004 h 2969978"/>
              <a:gd name="connsiteX47" fmla="*/ 2009670 w 11857648"/>
              <a:gd name="connsiteY47" fmla="*/ 2849053 h 2969978"/>
              <a:gd name="connsiteX48" fmla="*/ 1678075 w 11857648"/>
              <a:gd name="connsiteY48" fmla="*/ 2939488 h 2969978"/>
              <a:gd name="connsiteX49" fmla="*/ 1607736 w 11857648"/>
              <a:gd name="connsiteY49" fmla="*/ 2969633 h 2969978"/>
              <a:gd name="connsiteX50" fmla="*/ 1135464 w 11857648"/>
              <a:gd name="connsiteY50" fmla="*/ 2949536 h 2969978"/>
              <a:gd name="connsiteX51" fmla="*/ 944545 w 11857648"/>
              <a:gd name="connsiteY51" fmla="*/ 2919391 h 2969978"/>
              <a:gd name="connsiteX52" fmla="*/ 723481 w 11857648"/>
              <a:gd name="connsiteY52" fmla="*/ 2879198 h 2969978"/>
              <a:gd name="connsiteX53" fmla="*/ 643095 w 11857648"/>
              <a:gd name="connsiteY53" fmla="*/ 2869149 h 2969978"/>
              <a:gd name="connsiteX54" fmla="*/ 371789 w 11857648"/>
              <a:gd name="connsiteY54" fmla="*/ 2828956 h 2969978"/>
              <a:gd name="connsiteX55" fmla="*/ 0 w 11857648"/>
              <a:gd name="connsiteY55" fmla="*/ 2818908 h 2969978"/>
              <a:gd name="connsiteX0" fmla="*/ 120580 w 11907678"/>
              <a:gd name="connsiteY0" fmla="*/ 55611 h 2969978"/>
              <a:gd name="connsiteX1" fmla="*/ 281354 w 11907678"/>
              <a:gd name="connsiteY1" fmla="*/ 45562 h 2969978"/>
              <a:gd name="connsiteX2" fmla="*/ 673240 w 11907678"/>
              <a:gd name="connsiteY2" fmla="*/ 35514 h 2969978"/>
              <a:gd name="connsiteX3" fmla="*/ 1356528 w 11907678"/>
              <a:gd name="connsiteY3" fmla="*/ 85756 h 2969978"/>
              <a:gd name="connsiteX4" fmla="*/ 1758462 w 11907678"/>
              <a:gd name="connsiteY4" fmla="*/ 45562 h 2969978"/>
              <a:gd name="connsiteX5" fmla="*/ 2140299 w 11907678"/>
              <a:gd name="connsiteY5" fmla="*/ 45562 h 2969978"/>
              <a:gd name="connsiteX6" fmla="*/ 4652387 w 11907678"/>
              <a:gd name="connsiteY6" fmla="*/ 65659 h 2969978"/>
              <a:gd name="connsiteX7" fmla="*/ 4692580 w 11907678"/>
              <a:gd name="connsiteY7" fmla="*/ 75708 h 2969978"/>
              <a:gd name="connsiteX8" fmla="*/ 6420897 w 11907678"/>
              <a:gd name="connsiteY8" fmla="*/ 95804 h 2969978"/>
              <a:gd name="connsiteX9" fmla="*/ 7184571 w 11907678"/>
              <a:gd name="connsiteY9" fmla="*/ 65659 h 2969978"/>
              <a:gd name="connsiteX10" fmla="*/ 7928150 w 11907678"/>
              <a:gd name="connsiteY10" fmla="*/ 65659 h 2969978"/>
              <a:gd name="connsiteX11" fmla="*/ 8219552 w 11907678"/>
              <a:gd name="connsiteY11" fmla="*/ 95804 h 2969978"/>
              <a:gd name="connsiteX12" fmla="*/ 9606224 w 11907678"/>
              <a:gd name="connsiteY12" fmla="*/ 95804 h 2969978"/>
              <a:gd name="connsiteX13" fmla="*/ 9947868 w 11907678"/>
              <a:gd name="connsiteY13" fmla="*/ 65659 h 2969978"/>
              <a:gd name="connsiteX14" fmla="*/ 10791930 w 11907678"/>
              <a:gd name="connsiteY14" fmla="*/ 35514 h 2969978"/>
              <a:gd name="connsiteX15" fmla="*/ 11736475 w 11907678"/>
              <a:gd name="connsiteY15" fmla="*/ 55611 h 2969978"/>
              <a:gd name="connsiteX16" fmla="*/ 11806813 w 11907678"/>
              <a:gd name="connsiteY16" fmla="*/ 769044 h 2969978"/>
              <a:gd name="connsiteX17" fmla="*/ 11816862 w 11907678"/>
              <a:gd name="connsiteY17" fmla="*/ 2336587 h 2969978"/>
              <a:gd name="connsiteX18" fmla="*/ 11857055 w 11907678"/>
              <a:gd name="connsiteY18" fmla="*/ 2839004 h 2969978"/>
              <a:gd name="connsiteX19" fmla="*/ 11033090 w 11907678"/>
              <a:gd name="connsiteY19" fmla="*/ 2859101 h 2969978"/>
              <a:gd name="connsiteX20" fmla="*/ 10621108 w 11907678"/>
              <a:gd name="connsiteY20" fmla="*/ 2849053 h 2969978"/>
              <a:gd name="connsiteX21" fmla="*/ 10128739 w 11907678"/>
              <a:gd name="connsiteY21" fmla="*/ 2859101 h 2969978"/>
              <a:gd name="connsiteX22" fmla="*/ 10048352 w 11907678"/>
              <a:gd name="connsiteY22" fmla="*/ 2869149 h 2969978"/>
              <a:gd name="connsiteX23" fmla="*/ 9555982 w 11907678"/>
              <a:gd name="connsiteY23" fmla="*/ 2859101 h 2969978"/>
              <a:gd name="connsiteX24" fmla="*/ 9445451 w 11907678"/>
              <a:gd name="connsiteY24" fmla="*/ 2849053 h 2969978"/>
              <a:gd name="connsiteX25" fmla="*/ 9415306 w 11907678"/>
              <a:gd name="connsiteY25" fmla="*/ 2828956 h 2969978"/>
              <a:gd name="connsiteX26" fmla="*/ 9204290 w 11907678"/>
              <a:gd name="connsiteY26" fmla="*/ 2808859 h 2969978"/>
              <a:gd name="connsiteX27" fmla="*/ 9073662 w 11907678"/>
              <a:gd name="connsiteY27" fmla="*/ 2788762 h 2969978"/>
              <a:gd name="connsiteX28" fmla="*/ 8812404 w 11907678"/>
              <a:gd name="connsiteY28" fmla="*/ 2778714 h 2969978"/>
              <a:gd name="connsiteX29" fmla="*/ 8400422 w 11907678"/>
              <a:gd name="connsiteY29" fmla="*/ 2768666 h 2969978"/>
              <a:gd name="connsiteX30" fmla="*/ 8269793 w 11907678"/>
              <a:gd name="connsiteY30" fmla="*/ 2758617 h 2969978"/>
              <a:gd name="connsiteX31" fmla="*/ 7797521 w 11907678"/>
              <a:gd name="connsiteY31" fmla="*/ 2778714 h 2969978"/>
              <a:gd name="connsiteX32" fmla="*/ 7717134 w 11907678"/>
              <a:gd name="connsiteY32" fmla="*/ 2788762 h 2969978"/>
              <a:gd name="connsiteX33" fmla="*/ 7486022 w 11907678"/>
              <a:gd name="connsiteY33" fmla="*/ 2818908 h 2969978"/>
              <a:gd name="connsiteX34" fmla="*/ 7395587 w 11907678"/>
              <a:gd name="connsiteY34" fmla="*/ 2839004 h 2969978"/>
              <a:gd name="connsiteX35" fmla="*/ 7325248 w 11907678"/>
              <a:gd name="connsiteY35" fmla="*/ 2849053 h 2969978"/>
              <a:gd name="connsiteX36" fmla="*/ 6863024 w 11907678"/>
              <a:gd name="connsiteY36" fmla="*/ 2839004 h 2969978"/>
              <a:gd name="connsiteX37" fmla="*/ 6722347 w 11907678"/>
              <a:gd name="connsiteY37" fmla="*/ 2828956 h 2969978"/>
              <a:gd name="connsiteX38" fmla="*/ 4903596 w 11907678"/>
              <a:gd name="connsiteY38" fmla="*/ 2879198 h 2969978"/>
              <a:gd name="connsiteX39" fmla="*/ 4722725 w 11907678"/>
              <a:gd name="connsiteY39" fmla="*/ 2919391 h 2969978"/>
              <a:gd name="connsiteX40" fmla="*/ 4300695 w 11907678"/>
              <a:gd name="connsiteY40" fmla="*/ 2899294 h 2969978"/>
              <a:gd name="connsiteX41" fmla="*/ 4059534 w 11907678"/>
              <a:gd name="connsiteY41" fmla="*/ 2859101 h 2969978"/>
              <a:gd name="connsiteX42" fmla="*/ 3768132 w 11907678"/>
              <a:gd name="connsiteY42" fmla="*/ 2828956 h 2969978"/>
              <a:gd name="connsiteX43" fmla="*/ 3627455 w 11907678"/>
              <a:gd name="connsiteY43" fmla="*/ 2818908 h 2969978"/>
              <a:gd name="connsiteX44" fmla="*/ 3125037 w 11907678"/>
              <a:gd name="connsiteY44" fmla="*/ 2828956 h 2969978"/>
              <a:gd name="connsiteX45" fmla="*/ 3064747 w 11907678"/>
              <a:gd name="connsiteY45" fmla="*/ 2839004 h 2969978"/>
              <a:gd name="connsiteX46" fmla="*/ 2009670 w 11907678"/>
              <a:gd name="connsiteY46" fmla="*/ 2849053 h 2969978"/>
              <a:gd name="connsiteX47" fmla="*/ 1678075 w 11907678"/>
              <a:gd name="connsiteY47" fmla="*/ 2939488 h 2969978"/>
              <a:gd name="connsiteX48" fmla="*/ 1607736 w 11907678"/>
              <a:gd name="connsiteY48" fmla="*/ 2969633 h 2969978"/>
              <a:gd name="connsiteX49" fmla="*/ 1135464 w 11907678"/>
              <a:gd name="connsiteY49" fmla="*/ 2949536 h 2969978"/>
              <a:gd name="connsiteX50" fmla="*/ 944545 w 11907678"/>
              <a:gd name="connsiteY50" fmla="*/ 2919391 h 2969978"/>
              <a:gd name="connsiteX51" fmla="*/ 723481 w 11907678"/>
              <a:gd name="connsiteY51" fmla="*/ 2879198 h 2969978"/>
              <a:gd name="connsiteX52" fmla="*/ 643095 w 11907678"/>
              <a:gd name="connsiteY52" fmla="*/ 2869149 h 2969978"/>
              <a:gd name="connsiteX53" fmla="*/ 371789 w 11907678"/>
              <a:gd name="connsiteY53" fmla="*/ 2828956 h 2969978"/>
              <a:gd name="connsiteX54" fmla="*/ 0 w 11907678"/>
              <a:gd name="connsiteY54" fmla="*/ 2818908 h 2969978"/>
              <a:gd name="connsiteX0" fmla="*/ 120580 w 11869655"/>
              <a:gd name="connsiteY0" fmla="*/ 55611 h 2969978"/>
              <a:gd name="connsiteX1" fmla="*/ 281354 w 11869655"/>
              <a:gd name="connsiteY1" fmla="*/ 45562 h 2969978"/>
              <a:gd name="connsiteX2" fmla="*/ 673240 w 11869655"/>
              <a:gd name="connsiteY2" fmla="*/ 35514 h 2969978"/>
              <a:gd name="connsiteX3" fmla="*/ 1356528 w 11869655"/>
              <a:gd name="connsiteY3" fmla="*/ 85756 h 2969978"/>
              <a:gd name="connsiteX4" fmla="*/ 1758462 w 11869655"/>
              <a:gd name="connsiteY4" fmla="*/ 45562 h 2969978"/>
              <a:gd name="connsiteX5" fmla="*/ 2140299 w 11869655"/>
              <a:gd name="connsiteY5" fmla="*/ 45562 h 2969978"/>
              <a:gd name="connsiteX6" fmla="*/ 4652387 w 11869655"/>
              <a:gd name="connsiteY6" fmla="*/ 65659 h 2969978"/>
              <a:gd name="connsiteX7" fmla="*/ 4692580 w 11869655"/>
              <a:gd name="connsiteY7" fmla="*/ 75708 h 2969978"/>
              <a:gd name="connsiteX8" fmla="*/ 6420897 w 11869655"/>
              <a:gd name="connsiteY8" fmla="*/ 95804 h 2969978"/>
              <a:gd name="connsiteX9" fmla="*/ 7184571 w 11869655"/>
              <a:gd name="connsiteY9" fmla="*/ 65659 h 2969978"/>
              <a:gd name="connsiteX10" fmla="*/ 7928150 w 11869655"/>
              <a:gd name="connsiteY10" fmla="*/ 65659 h 2969978"/>
              <a:gd name="connsiteX11" fmla="*/ 8219552 w 11869655"/>
              <a:gd name="connsiteY11" fmla="*/ 95804 h 2969978"/>
              <a:gd name="connsiteX12" fmla="*/ 9606224 w 11869655"/>
              <a:gd name="connsiteY12" fmla="*/ 95804 h 2969978"/>
              <a:gd name="connsiteX13" fmla="*/ 9947868 w 11869655"/>
              <a:gd name="connsiteY13" fmla="*/ 65659 h 2969978"/>
              <a:gd name="connsiteX14" fmla="*/ 10791930 w 11869655"/>
              <a:gd name="connsiteY14" fmla="*/ 35514 h 2969978"/>
              <a:gd name="connsiteX15" fmla="*/ 11736475 w 11869655"/>
              <a:gd name="connsiteY15" fmla="*/ 55611 h 2969978"/>
              <a:gd name="connsiteX16" fmla="*/ 11806813 w 11869655"/>
              <a:gd name="connsiteY16" fmla="*/ 769044 h 2969978"/>
              <a:gd name="connsiteX17" fmla="*/ 11816862 w 11869655"/>
              <a:gd name="connsiteY17" fmla="*/ 2336587 h 2969978"/>
              <a:gd name="connsiteX18" fmla="*/ 11806813 w 11869655"/>
              <a:gd name="connsiteY18" fmla="*/ 2828956 h 2969978"/>
              <a:gd name="connsiteX19" fmla="*/ 11033090 w 11869655"/>
              <a:gd name="connsiteY19" fmla="*/ 2859101 h 2969978"/>
              <a:gd name="connsiteX20" fmla="*/ 10621108 w 11869655"/>
              <a:gd name="connsiteY20" fmla="*/ 2849053 h 2969978"/>
              <a:gd name="connsiteX21" fmla="*/ 10128739 w 11869655"/>
              <a:gd name="connsiteY21" fmla="*/ 2859101 h 2969978"/>
              <a:gd name="connsiteX22" fmla="*/ 10048352 w 11869655"/>
              <a:gd name="connsiteY22" fmla="*/ 2869149 h 2969978"/>
              <a:gd name="connsiteX23" fmla="*/ 9555982 w 11869655"/>
              <a:gd name="connsiteY23" fmla="*/ 2859101 h 2969978"/>
              <a:gd name="connsiteX24" fmla="*/ 9445451 w 11869655"/>
              <a:gd name="connsiteY24" fmla="*/ 2849053 h 2969978"/>
              <a:gd name="connsiteX25" fmla="*/ 9415306 w 11869655"/>
              <a:gd name="connsiteY25" fmla="*/ 2828956 h 2969978"/>
              <a:gd name="connsiteX26" fmla="*/ 9204290 w 11869655"/>
              <a:gd name="connsiteY26" fmla="*/ 2808859 h 2969978"/>
              <a:gd name="connsiteX27" fmla="*/ 9073662 w 11869655"/>
              <a:gd name="connsiteY27" fmla="*/ 2788762 h 2969978"/>
              <a:gd name="connsiteX28" fmla="*/ 8812404 w 11869655"/>
              <a:gd name="connsiteY28" fmla="*/ 2778714 h 2969978"/>
              <a:gd name="connsiteX29" fmla="*/ 8400422 w 11869655"/>
              <a:gd name="connsiteY29" fmla="*/ 2768666 h 2969978"/>
              <a:gd name="connsiteX30" fmla="*/ 8269793 w 11869655"/>
              <a:gd name="connsiteY30" fmla="*/ 2758617 h 2969978"/>
              <a:gd name="connsiteX31" fmla="*/ 7797521 w 11869655"/>
              <a:gd name="connsiteY31" fmla="*/ 2778714 h 2969978"/>
              <a:gd name="connsiteX32" fmla="*/ 7717134 w 11869655"/>
              <a:gd name="connsiteY32" fmla="*/ 2788762 h 2969978"/>
              <a:gd name="connsiteX33" fmla="*/ 7486022 w 11869655"/>
              <a:gd name="connsiteY33" fmla="*/ 2818908 h 2969978"/>
              <a:gd name="connsiteX34" fmla="*/ 7395587 w 11869655"/>
              <a:gd name="connsiteY34" fmla="*/ 2839004 h 2969978"/>
              <a:gd name="connsiteX35" fmla="*/ 7325248 w 11869655"/>
              <a:gd name="connsiteY35" fmla="*/ 2849053 h 2969978"/>
              <a:gd name="connsiteX36" fmla="*/ 6863024 w 11869655"/>
              <a:gd name="connsiteY36" fmla="*/ 2839004 h 2969978"/>
              <a:gd name="connsiteX37" fmla="*/ 6722347 w 11869655"/>
              <a:gd name="connsiteY37" fmla="*/ 2828956 h 2969978"/>
              <a:gd name="connsiteX38" fmla="*/ 4903596 w 11869655"/>
              <a:gd name="connsiteY38" fmla="*/ 2879198 h 2969978"/>
              <a:gd name="connsiteX39" fmla="*/ 4722725 w 11869655"/>
              <a:gd name="connsiteY39" fmla="*/ 2919391 h 2969978"/>
              <a:gd name="connsiteX40" fmla="*/ 4300695 w 11869655"/>
              <a:gd name="connsiteY40" fmla="*/ 2899294 h 2969978"/>
              <a:gd name="connsiteX41" fmla="*/ 4059534 w 11869655"/>
              <a:gd name="connsiteY41" fmla="*/ 2859101 h 2969978"/>
              <a:gd name="connsiteX42" fmla="*/ 3768132 w 11869655"/>
              <a:gd name="connsiteY42" fmla="*/ 2828956 h 2969978"/>
              <a:gd name="connsiteX43" fmla="*/ 3627455 w 11869655"/>
              <a:gd name="connsiteY43" fmla="*/ 2818908 h 2969978"/>
              <a:gd name="connsiteX44" fmla="*/ 3125037 w 11869655"/>
              <a:gd name="connsiteY44" fmla="*/ 2828956 h 2969978"/>
              <a:gd name="connsiteX45" fmla="*/ 3064747 w 11869655"/>
              <a:gd name="connsiteY45" fmla="*/ 2839004 h 2969978"/>
              <a:gd name="connsiteX46" fmla="*/ 2009670 w 11869655"/>
              <a:gd name="connsiteY46" fmla="*/ 2849053 h 2969978"/>
              <a:gd name="connsiteX47" fmla="*/ 1678075 w 11869655"/>
              <a:gd name="connsiteY47" fmla="*/ 2939488 h 2969978"/>
              <a:gd name="connsiteX48" fmla="*/ 1607736 w 11869655"/>
              <a:gd name="connsiteY48" fmla="*/ 2969633 h 2969978"/>
              <a:gd name="connsiteX49" fmla="*/ 1135464 w 11869655"/>
              <a:gd name="connsiteY49" fmla="*/ 2949536 h 2969978"/>
              <a:gd name="connsiteX50" fmla="*/ 944545 w 11869655"/>
              <a:gd name="connsiteY50" fmla="*/ 2919391 h 2969978"/>
              <a:gd name="connsiteX51" fmla="*/ 723481 w 11869655"/>
              <a:gd name="connsiteY51" fmla="*/ 2879198 h 2969978"/>
              <a:gd name="connsiteX52" fmla="*/ 643095 w 11869655"/>
              <a:gd name="connsiteY52" fmla="*/ 2869149 h 2969978"/>
              <a:gd name="connsiteX53" fmla="*/ 371789 w 11869655"/>
              <a:gd name="connsiteY53" fmla="*/ 2828956 h 2969978"/>
              <a:gd name="connsiteX54" fmla="*/ 0 w 11869655"/>
              <a:gd name="connsiteY54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621108 w 11851944"/>
              <a:gd name="connsiteY20" fmla="*/ 2849053 h 2969978"/>
              <a:gd name="connsiteX21" fmla="*/ 10128739 w 11851944"/>
              <a:gd name="connsiteY21" fmla="*/ 2859101 h 2969978"/>
              <a:gd name="connsiteX22" fmla="*/ 10048352 w 11851944"/>
              <a:gd name="connsiteY22" fmla="*/ 2869149 h 2969978"/>
              <a:gd name="connsiteX23" fmla="*/ 9555982 w 11851944"/>
              <a:gd name="connsiteY23" fmla="*/ 2859101 h 2969978"/>
              <a:gd name="connsiteX24" fmla="*/ 9445451 w 11851944"/>
              <a:gd name="connsiteY24" fmla="*/ 2849053 h 2969978"/>
              <a:gd name="connsiteX25" fmla="*/ 9415306 w 11851944"/>
              <a:gd name="connsiteY25" fmla="*/ 2828956 h 2969978"/>
              <a:gd name="connsiteX26" fmla="*/ 9204290 w 11851944"/>
              <a:gd name="connsiteY26" fmla="*/ 2808859 h 2969978"/>
              <a:gd name="connsiteX27" fmla="*/ 9073662 w 11851944"/>
              <a:gd name="connsiteY27" fmla="*/ 2788762 h 2969978"/>
              <a:gd name="connsiteX28" fmla="*/ 8812404 w 11851944"/>
              <a:gd name="connsiteY28" fmla="*/ 2778714 h 2969978"/>
              <a:gd name="connsiteX29" fmla="*/ 8400422 w 11851944"/>
              <a:gd name="connsiteY29" fmla="*/ 2768666 h 2969978"/>
              <a:gd name="connsiteX30" fmla="*/ 8269793 w 11851944"/>
              <a:gd name="connsiteY30" fmla="*/ 2758617 h 2969978"/>
              <a:gd name="connsiteX31" fmla="*/ 7797521 w 11851944"/>
              <a:gd name="connsiteY31" fmla="*/ 2778714 h 2969978"/>
              <a:gd name="connsiteX32" fmla="*/ 7717134 w 11851944"/>
              <a:gd name="connsiteY32" fmla="*/ 2788762 h 2969978"/>
              <a:gd name="connsiteX33" fmla="*/ 7486022 w 11851944"/>
              <a:gd name="connsiteY33" fmla="*/ 2818908 h 2969978"/>
              <a:gd name="connsiteX34" fmla="*/ 7395587 w 11851944"/>
              <a:gd name="connsiteY34" fmla="*/ 2839004 h 2969978"/>
              <a:gd name="connsiteX35" fmla="*/ 7325248 w 11851944"/>
              <a:gd name="connsiteY35" fmla="*/ 2849053 h 2969978"/>
              <a:gd name="connsiteX36" fmla="*/ 6863024 w 11851944"/>
              <a:gd name="connsiteY36" fmla="*/ 2839004 h 2969978"/>
              <a:gd name="connsiteX37" fmla="*/ 6722347 w 11851944"/>
              <a:gd name="connsiteY37" fmla="*/ 2828956 h 2969978"/>
              <a:gd name="connsiteX38" fmla="*/ 4903596 w 11851944"/>
              <a:gd name="connsiteY38" fmla="*/ 2879198 h 2969978"/>
              <a:gd name="connsiteX39" fmla="*/ 4722725 w 11851944"/>
              <a:gd name="connsiteY39" fmla="*/ 2919391 h 2969978"/>
              <a:gd name="connsiteX40" fmla="*/ 4300695 w 11851944"/>
              <a:gd name="connsiteY40" fmla="*/ 2899294 h 2969978"/>
              <a:gd name="connsiteX41" fmla="*/ 4059534 w 11851944"/>
              <a:gd name="connsiteY41" fmla="*/ 2859101 h 2969978"/>
              <a:gd name="connsiteX42" fmla="*/ 3768132 w 11851944"/>
              <a:gd name="connsiteY42" fmla="*/ 2828956 h 2969978"/>
              <a:gd name="connsiteX43" fmla="*/ 3627455 w 11851944"/>
              <a:gd name="connsiteY43" fmla="*/ 2818908 h 2969978"/>
              <a:gd name="connsiteX44" fmla="*/ 3125037 w 11851944"/>
              <a:gd name="connsiteY44" fmla="*/ 2828956 h 2969978"/>
              <a:gd name="connsiteX45" fmla="*/ 3064747 w 11851944"/>
              <a:gd name="connsiteY45" fmla="*/ 2839004 h 2969978"/>
              <a:gd name="connsiteX46" fmla="*/ 2009670 w 11851944"/>
              <a:gd name="connsiteY46" fmla="*/ 2849053 h 2969978"/>
              <a:gd name="connsiteX47" fmla="*/ 1678075 w 11851944"/>
              <a:gd name="connsiteY47" fmla="*/ 2939488 h 2969978"/>
              <a:gd name="connsiteX48" fmla="*/ 1607736 w 11851944"/>
              <a:gd name="connsiteY48" fmla="*/ 2969633 h 2969978"/>
              <a:gd name="connsiteX49" fmla="*/ 1135464 w 11851944"/>
              <a:gd name="connsiteY49" fmla="*/ 2949536 h 2969978"/>
              <a:gd name="connsiteX50" fmla="*/ 944545 w 11851944"/>
              <a:gd name="connsiteY50" fmla="*/ 2919391 h 2969978"/>
              <a:gd name="connsiteX51" fmla="*/ 723481 w 11851944"/>
              <a:gd name="connsiteY51" fmla="*/ 2879198 h 2969978"/>
              <a:gd name="connsiteX52" fmla="*/ 643095 w 11851944"/>
              <a:gd name="connsiteY52" fmla="*/ 2869149 h 2969978"/>
              <a:gd name="connsiteX53" fmla="*/ 371789 w 11851944"/>
              <a:gd name="connsiteY53" fmla="*/ 2828956 h 2969978"/>
              <a:gd name="connsiteX54" fmla="*/ 0 w 11851944"/>
              <a:gd name="connsiteY54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10048352 w 11851944"/>
              <a:gd name="connsiteY21" fmla="*/ 2869149 h 2969978"/>
              <a:gd name="connsiteX22" fmla="*/ 9555982 w 11851944"/>
              <a:gd name="connsiteY22" fmla="*/ 2859101 h 2969978"/>
              <a:gd name="connsiteX23" fmla="*/ 9445451 w 11851944"/>
              <a:gd name="connsiteY23" fmla="*/ 2849053 h 2969978"/>
              <a:gd name="connsiteX24" fmla="*/ 9415306 w 11851944"/>
              <a:gd name="connsiteY24" fmla="*/ 2828956 h 2969978"/>
              <a:gd name="connsiteX25" fmla="*/ 9204290 w 11851944"/>
              <a:gd name="connsiteY25" fmla="*/ 2808859 h 2969978"/>
              <a:gd name="connsiteX26" fmla="*/ 9073662 w 11851944"/>
              <a:gd name="connsiteY26" fmla="*/ 2788762 h 2969978"/>
              <a:gd name="connsiteX27" fmla="*/ 8812404 w 11851944"/>
              <a:gd name="connsiteY27" fmla="*/ 2778714 h 2969978"/>
              <a:gd name="connsiteX28" fmla="*/ 8400422 w 11851944"/>
              <a:gd name="connsiteY28" fmla="*/ 2768666 h 2969978"/>
              <a:gd name="connsiteX29" fmla="*/ 8269793 w 11851944"/>
              <a:gd name="connsiteY29" fmla="*/ 2758617 h 2969978"/>
              <a:gd name="connsiteX30" fmla="*/ 7797521 w 11851944"/>
              <a:gd name="connsiteY30" fmla="*/ 2778714 h 2969978"/>
              <a:gd name="connsiteX31" fmla="*/ 7717134 w 11851944"/>
              <a:gd name="connsiteY31" fmla="*/ 2788762 h 2969978"/>
              <a:gd name="connsiteX32" fmla="*/ 7486022 w 11851944"/>
              <a:gd name="connsiteY32" fmla="*/ 2818908 h 2969978"/>
              <a:gd name="connsiteX33" fmla="*/ 7395587 w 11851944"/>
              <a:gd name="connsiteY33" fmla="*/ 2839004 h 2969978"/>
              <a:gd name="connsiteX34" fmla="*/ 7325248 w 11851944"/>
              <a:gd name="connsiteY34" fmla="*/ 2849053 h 2969978"/>
              <a:gd name="connsiteX35" fmla="*/ 6863024 w 11851944"/>
              <a:gd name="connsiteY35" fmla="*/ 2839004 h 2969978"/>
              <a:gd name="connsiteX36" fmla="*/ 6722347 w 11851944"/>
              <a:gd name="connsiteY36" fmla="*/ 2828956 h 2969978"/>
              <a:gd name="connsiteX37" fmla="*/ 4903596 w 11851944"/>
              <a:gd name="connsiteY37" fmla="*/ 2879198 h 2969978"/>
              <a:gd name="connsiteX38" fmla="*/ 4722725 w 11851944"/>
              <a:gd name="connsiteY38" fmla="*/ 2919391 h 2969978"/>
              <a:gd name="connsiteX39" fmla="*/ 4300695 w 11851944"/>
              <a:gd name="connsiteY39" fmla="*/ 2899294 h 2969978"/>
              <a:gd name="connsiteX40" fmla="*/ 4059534 w 11851944"/>
              <a:gd name="connsiteY40" fmla="*/ 2859101 h 2969978"/>
              <a:gd name="connsiteX41" fmla="*/ 3768132 w 11851944"/>
              <a:gd name="connsiteY41" fmla="*/ 2828956 h 2969978"/>
              <a:gd name="connsiteX42" fmla="*/ 3627455 w 11851944"/>
              <a:gd name="connsiteY42" fmla="*/ 2818908 h 2969978"/>
              <a:gd name="connsiteX43" fmla="*/ 3125037 w 11851944"/>
              <a:gd name="connsiteY43" fmla="*/ 2828956 h 2969978"/>
              <a:gd name="connsiteX44" fmla="*/ 3064747 w 11851944"/>
              <a:gd name="connsiteY44" fmla="*/ 2839004 h 2969978"/>
              <a:gd name="connsiteX45" fmla="*/ 2009670 w 11851944"/>
              <a:gd name="connsiteY45" fmla="*/ 2849053 h 2969978"/>
              <a:gd name="connsiteX46" fmla="*/ 1678075 w 11851944"/>
              <a:gd name="connsiteY46" fmla="*/ 2939488 h 2969978"/>
              <a:gd name="connsiteX47" fmla="*/ 1607736 w 11851944"/>
              <a:gd name="connsiteY47" fmla="*/ 2969633 h 2969978"/>
              <a:gd name="connsiteX48" fmla="*/ 1135464 w 11851944"/>
              <a:gd name="connsiteY48" fmla="*/ 2949536 h 2969978"/>
              <a:gd name="connsiteX49" fmla="*/ 944545 w 11851944"/>
              <a:gd name="connsiteY49" fmla="*/ 2919391 h 2969978"/>
              <a:gd name="connsiteX50" fmla="*/ 723481 w 11851944"/>
              <a:gd name="connsiteY50" fmla="*/ 2879198 h 2969978"/>
              <a:gd name="connsiteX51" fmla="*/ 643095 w 11851944"/>
              <a:gd name="connsiteY51" fmla="*/ 2869149 h 2969978"/>
              <a:gd name="connsiteX52" fmla="*/ 371789 w 11851944"/>
              <a:gd name="connsiteY52" fmla="*/ 2828956 h 2969978"/>
              <a:gd name="connsiteX53" fmla="*/ 0 w 11851944"/>
              <a:gd name="connsiteY53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10048352 w 11851944"/>
              <a:gd name="connsiteY21" fmla="*/ 2869149 h 2969978"/>
              <a:gd name="connsiteX22" fmla="*/ 9555982 w 11851944"/>
              <a:gd name="connsiteY22" fmla="*/ 2859101 h 2969978"/>
              <a:gd name="connsiteX23" fmla="*/ 9445451 w 11851944"/>
              <a:gd name="connsiteY23" fmla="*/ 2849053 h 2969978"/>
              <a:gd name="connsiteX24" fmla="*/ 9204290 w 11851944"/>
              <a:gd name="connsiteY24" fmla="*/ 2808859 h 2969978"/>
              <a:gd name="connsiteX25" fmla="*/ 9073662 w 11851944"/>
              <a:gd name="connsiteY25" fmla="*/ 2788762 h 2969978"/>
              <a:gd name="connsiteX26" fmla="*/ 8812404 w 11851944"/>
              <a:gd name="connsiteY26" fmla="*/ 2778714 h 2969978"/>
              <a:gd name="connsiteX27" fmla="*/ 8400422 w 11851944"/>
              <a:gd name="connsiteY27" fmla="*/ 2768666 h 2969978"/>
              <a:gd name="connsiteX28" fmla="*/ 8269793 w 11851944"/>
              <a:gd name="connsiteY28" fmla="*/ 2758617 h 2969978"/>
              <a:gd name="connsiteX29" fmla="*/ 7797521 w 11851944"/>
              <a:gd name="connsiteY29" fmla="*/ 2778714 h 2969978"/>
              <a:gd name="connsiteX30" fmla="*/ 7717134 w 11851944"/>
              <a:gd name="connsiteY30" fmla="*/ 2788762 h 2969978"/>
              <a:gd name="connsiteX31" fmla="*/ 7486022 w 11851944"/>
              <a:gd name="connsiteY31" fmla="*/ 2818908 h 2969978"/>
              <a:gd name="connsiteX32" fmla="*/ 7395587 w 11851944"/>
              <a:gd name="connsiteY32" fmla="*/ 2839004 h 2969978"/>
              <a:gd name="connsiteX33" fmla="*/ 7325248 w 11851944"/>
              <a:gd name="connsiteY33" fmla="*/ 2849053 h 2969978"/>
              <a:gd name="connsiteX34" fmla="*/ 6863024 w 11851944"/>
              <a:gd name="connsiteY34" fmla="*/ 2839004 h 2969978"/>
              <a:gd name="connsiteX35" fmla="*/ 6722347 w 11851944"/>
              <a:gd name="connsiteY35" fmla="*/ 2828956 h 2969978"/>
              <a:gd name="connsiteX36" fmla="*/ 4903596 w 11851944"/>
              <a:gd name="connsiteY36" fmla="*/ 2879198 h 2969978"/>
              <a:gd name="connsiteX37" fmla="*/ 4722725 w 11851944"/>
              <a:gd name="connsiteY37" fmla="*/ 2919391 h 2969978"/>
              <a:gd name="connsiteX38" fmla="*/ 4300695 w 11851944"/>
              <a:gd name="connsiteY38" fmla="*/ 2899294 h 2969978"/>
              <a:gd name="connsiteX39" fmla="*/ 4059534 w 11851944"/>
              <a:gd name="connsiteY39" fmla="*/ 2859101 h 2969978"/>
              <a:gd name="connsiteX40" fmla="*/ 3768132 w 11851944"/>
              <a:gd name="connsiteY40" fmla="*/ 2828956 h 2969978"/>
              <a:gd name="connsiteX41" fmla="*/ 3627455 w 11851944"/>
              <a:gd name="connsiteY41" fmla="*/ 2818908 h 2969978"/>
              <a:gd name="connsiteX42" fmla="*/ 3125037 w 11851944"/>
              <a:gd name="connsiteY42" fmla="*/ 2828956 h 2969978"/>
              <a:gd name="connsiteX43" fmla="*/ 3064747 w 11851944"/>
              <a:gd name="connsiteY43" fmla="*/ 2839004 h 2969978"/>
              <a:gd name="connsiteX44" fmla="*/ 2009670 w 11851944"/>
              <a:gd name="connsiteY44" fmla="*/ 2849053 h 2969978"/>
              <a:gd name="connsiteX45" fmla="*/ 1678075 w 11851944"/>
              <a:gd name="connsiteY45" fmla="*/ 2939488 h 2969978"/>
              <a:gd name="connsiteX46" fmla="*/ 1607736 w 11851944"/>
              <a:gd name="connsiteY46" fmla="*/ 2969633 h 2969978"/>
              <a:gd name="connsiteX47" fmla="*/ 1135464 w 11851944"/>
              <a:gd name="connsiteY47" fmla="*/ 2949536 h 2969978"/>
              <a:gd name="connsiteX48" fmla="*/ 944545 w 11851944"/>
              <a:gd name="connsiteY48" fmla="*/ 2919391 h 2969978"/>
              <a:gd name="connsiteX49" fmla="*/ 723481 w 11851944"/>
              <a:gd name="connsiteY49" fmla="*/ 2879198 h 2969978"/>
              <a:gd name="connsiteX50" fmla="*/ 643095 w 11851944"/>
              <a:gd name="connsiteY50" fmla="*/ 2869149 h 2969978"/>
              <a:gd name="connsiteX51" fmla="*/ 371789 w 11851944"/>
              <a:gd name="connsiteY51" fmla="*/ 2828956 h 2969978"/>
              <a:gd name="connsiteX52" fmla="*/ 0 w 11851944"/>
              <a:gd name="connsiteY52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10048352 w 11851944"/>
              <a:gd name="connsiteY21" fmla="*/ 2869149 h 2969978"/>
              <a:gd name="connsiteX22" fmla="*/ 9555982 w 11851944"/>
              <a:gd name="connsiteY22" fmla="*/ 2859101 h 2969978"/>
              <a:gd name="connsiteX23" fmla="*/ 9204290 w 11851944"/>
              <a:gd name="connsiteY23" fmla="*/ 2808859 h 2969978"/>
              <a:gd name="connsiteX24" fmla="*/ 9073662 w 11851944"/>
              <a:gd name="connsiteY24" fmla="*/ 2788762 h 2969978"/>
              <a:gd name="connsiteX25" fmla="*/ 8812404 w 11851944"/>
              <a:gd name="connsiteY25" fmla="*/ 2778714 h 2969978"/>
              <a:gd name="connsiteX26" fmla="*/ 8400422 w 11851944"/>
              <a:gd name="connsiteY26" fmla="*/ 2768666 h 2969978"/>
              <a:gd name="connsiteX27" fmla="*/ 8269793 w 11851944"/>
              <a:gd name="connsiteY27" fmla="*/ 2758617 h 2969978"/>
              <a:gd name="connsiteX28" fmla="*/ 7797521 w 11851944"/>
              <a:gd name="connsiteY28" fmla="*/ 2778714 h 2969978"/>
              <a:gd name="connsiteX29" fmla="*/ 7717134 w 11851944"/>
              <a:gd name="connsiteY29" fmla="*/ 2788762 h 2969978"/>
              <a:gd name="connsiteX30" fmla="*/ 7486022 w 11851944"/>
              <a:gd name="connsiteY30" fmla="*/ 2818908 h 2969978"/>
              <a:gd name="connsiteX31" fmla="*/ 7395587 w 11851944"/>
              <a:gd name="connsiteY31" fmla="*/ 2839004 h 2969978"/>
              <a:gd name="connsiteX32" fmla="*/ 7325248 w 11851944"/>
              <a:gd name="connsiteY32" fmla="*/ 2849053 h 2969978"/>
              <a:gd name="connsiteX33" fmla="*/ 6863024 w 11851944"/>
              <a:gd name="connsiteY33" fmla="*/ 2839004 h 2969978"/>
              <a:gd name="connsiteX34" fmla="*/ 6722347 w 11851944"/>
              <a:gd name="connsiteY34" fmla="*/ 2828956 h 2969978"/>
              <a:gd name="connsiteX35" fmla="*/ 4903596 w 11851944"/>
              <a:gd name="connsiteY35" fmla="*/ 2879198 h 2969978"/>
              <a:gd name="connsiteX36" fmla="*/ 4722725 w 11851944"/>
              <a:gd name="connsiteY36" fmla="*/ 2919391 h 2969978"/>
              <a:gd name="connsiteX37" fmla="*/ 4300695 w 11851944"/>
              <a:gd name="connsiteY37" fmla="*/ 2899294 h 2969978"/>
              <a:gd name="connsiteX38" fmla="*/ 4059534 w 11851944"/>
              <a:gd name="connsiteY38" fmla="*/ 2859101 h 2969978"/>
              <a:gd name="connsiteX39" fmla="*/ 3768132 w 11851944"/>
              <a:gd name="connsiteY39" fmla="*/ 2828956 h 2969978"/>
              <a:gd name="connsiteX40" fmla="*/ 3627455 w 11851944"/>
              <a:gd name="connsiteY40" fmla="*/ 2818908 h 2969978"/>
              <a:gd name="connsiteX41" fmla="*/ 3125037 w 11851944"/>
              <a:gd name="connsiteY41" fmla="*/ 2828956 h 2969978"/>
              <a:gd name="connsiteX42" fmla="*/ 3064747 w 11851944"/>
              <a:gd name="connsiteY42" fmla="*/ 2839004 h 2969978"/>
              <a:gd name="connsiteX43" fmla="*/ 2009670 w 11851944"/>
              <a:gd name="connsiteY43" fmla="*/ 2849053 h 2969978"/>
              <a:gd name="connsiteX44" fmla="*/ 1678075 w 11851944"/>
              <a:gd name="connsiteY44" fmla="*/ 2939488 h 2969978"/>
              <a:gd name="connsiteX45" fmla="*/ 1607736 w 11851944"/>
              <a:gd name="connsiteY45" fmla="*/ 2969633 h 2969978"/>
              <a:gd name="connsiteX46" fmla="*/ 1135464 w 11851944"/>
              <a:gd name="connsiteY46" fmla="*/ 2949536 h 2969978"/>
              <a:gd name="connsiteX47" fmla="*/ 944545 w 11851944"/>
              <a:gd name="connsiteY47" fmla="*/ 2919391 h 2969978"/>
              <a:gd name="connsiteX48" fmla="*/ 723481 w 11851944"/>
              <a:gd name="connsiteY48" fmla="*/ 2879198 h 2969978"/>
              <a:gd name="connsiteX49" fmla="*/ 643095 w 11851944"/>
              <a:gd name="connsiteY49" fmla="*/ 2869149 h 2969978"/>
              <a:gd name="connsiteX50" fmla="*/ 371789 w 11851944"/>
              <a:gd name="connsiteY50" fmla="*/ 2828956 h 2969978"/>
              <a:gd name="connsiteX51" fmla="*/ 0 w 11851944"/>
              <a:gd name="connsiteY51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8400422 w 11851944"/>
              <a:gd name="connsiteY25" fmla="*/ 2768666 h 2969978"/>
              <a:gd name="connsiteX26" fmla="*/ 8269793 w 11851944"/>
              <a:gd name="connsiteY26" fmla="*/ 2758617 h 2969978"/>
              <a:gd name="connsiteX27" fmla="*/ 7797521 w 11851944"/>
              <a:gd name="connsiteY27" fmla="*/ 2778714 h 2969978"/>
              <a:gd name="connsiteX28" fmla="*/ 7717134 w 11851944"/>
              <a:gd name="connsiteY28" fmla="*/ 2788762 h 2969978"/>
              <a:gd name="connsiteX29" fmla="*/ 7486022 w 11851944"/>
              <a:gd name="connsiteY29" fmla="*/ 2818908 h 2969978"/>
              <a:gd name="connsiteX30" fmla="*/ 7395587 w 11851944"/>
              <a:gd name="connsiteY30" fmla="*/ 2839004 h 2969978"/>
              <a:gd name="connsiteX31" fmla="*/ 7325248 w 11851944"/>
              <a:gd name="connsiteY31" fmla="*/ 2849053 h 2969978"/>
              <a:gd name="connsiteX32" fmla="*/ 6863024 w 11851944"/>
              <a:gd name="connsiteY32" fmla="*/ 2839004 h 2969978"/>
              <a:gd name="connsiteX33" fmla="*/ 6722347 w 11851944"/>
              <a:gd name="connsiteY33" fmla="*/ 2828956 h 2969978"/>
              <a:gd name="connsiteX34" fmla="*/ 4903596 w 11851944"/>
              <a:gd name="connsiteY34" fmla="*/ 2879198 h 2969978"/>
              <a:gd name="connsiteX35" fmla="*/ 4722725 w 11851944"/>
              <a:gd name="connsiteY35" fmla="*/ 2919391 h 2969978"/>
              <a:gd name="connsiteX36" fmla="*/ 4300695 w 11851944"/>
              <a:gd name="connsiteY36" fmla="*/ 2899294 h 2969978"/>
              <a:gd name="connsiteX37" fmla="*/ 4059534 w 11851944"/>
              <a:gd name="connsiteY37" fmla="*/ 2859101 h 2969978"/>
              <a:gd name="connsiteX38" fmla="*/ 3768132 w 11851944"/>
              <a:gd name="connsiteY38" fmla="*/ 2828956 h 2969978"/>
              <a:gd name="connsiteX39" fmla="*/ 3627455 w 11851944"/>
              <a:gd name="connsiteY39" fmla="*/ 2818908 h 2969978"/>
              <a:gd name="connsiteX40" fmla="*/ 3125037 w 11851944"/>
              <a:gd name="connsiteY40" fmla="*/ 2828956 h 2969978"/>
              <a:gd name="connsiteX41" fmla="*/ 3064747 w 11851944"/>
              <a:gd name="connsiteY41" fmla="*/ 2839004 h 2969978"/>
              <a:gd name="connsiteX42" fmla="*/ 2009670 w 11851944"/>
              <a:gd name="connsiteY42" fmla="*/ 2849053 h 2969978"/>
              <a:gd name="connsiteX43" fmla="*/ 1678075 w 11851944"/>
              <a:gd name="connsiteY43" fmla="*/ 2939488 h 2969978"/>
              <a:gd name="connsiteX44" fmla="*/ 1607736 w 11851944"/>
              <a:gd name="connsiteY44" fmla="*/ 2969633 h 2969978"/>
              <a:gd name="connsiteX45" fmla="*/ 1135464 w 11851944"/>
              <a:gd name="connsiteY45" fmla="*/ 2949536 h 2969978"/>
              <a:gd name="connsiteX46" fmla="*/ 944545 w 11851944"/>
              <a:gd name="connsiteY46" fmla="*/ 2919391 h 2969978"/>
              <a:gd name="connsiteX47" fmla="*/ 723481 w 11851944"/>
              <a:gd name="connsiteY47" fmla="*/ 2879198 h 2969978"/>
              <a:gd name="connsiteX48" fmla="*/ 643095 w 11851944"/>
              <a:gd name="connsiteY48" fmla="*/ 2869149 h 2969978"/>
              <a:gd name="connsiteX49" fmla="*/ 371789 w 11851944"/>
              <a:gd name="connsiteY49" fmla="*/ 2828956 h 2969978"/>
              <a:gd name="connsiteX50" fmla="*/ 0 w 11851944"/>
              <a:gd name="connsiteY50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8269793 w 11851944"/>
              <a:gd name="connsiteY25" fmla="*/ 2758617 h 2969978"/>
              <a:gd name="connsiteX26" fmla="*/ 7797521 w 11851944"/>
              <a:gd name="connsiteY26" fmla="*/ 2778714 h 2969978"/>
              <a:gd name="connsiteX27" fmla="*/ 7717134 w 11851944"/>
              <a:gd name="connsiteY27" fmla="*/ 2788762 h 2969978"/>
              <a:gd name="connsiteX28" fmla="*/ 7486022 w 11851944"/>
              <a:gd name="connsiteY28" fmla="*/ 2818908 h 2969978"/>
              <a:gd name="connsiteX29" fmla="*/ 7395587 w 11851944"/>
              <a:gd name="connsiteY29" fmla="*/ 2839004 h 2969978"/>
              <a:gd name="connsiteX30" fmla="*/ 7325248 w 11851944"/>
              <a:gd name="connsiteY30" fmla="*/ 2849053 h 2969978"/>
              <a:gd name="connsiteX31" fmla="*/ 6863024 w 11851944"/>
              <a:gd name="connsiteY31" fmla="*/ 2839004 h 2969978"/>
              <a:gd name="connsiteX32" fmla="*/ 6722347 w 11851944"/>
              <a:gd name="connsiteY32" fmla="*/ 2828956 h 2969978"/>
              <a:gd name="connsiteX33" fmla="*/ 4903596 w 11851944"/>
              <a:gd name="connsiteY33" fmla="*/ 2879198 h 2969978"/>
              <a:gd name="connsiteX34" fmla="*/ 4722725 w 11851944"/>
              <a:gd name="connsiteY34" fmla="*/ 2919391 h 2969978"/>
              <a:gd name="connsiteX35" fmla="*/ 4300695 w 11851944"/>
              <a:gd name="connsiteY35" fmla="*/ 2899294 h 2969978"/>
              <a:gd name="connsiteX36" fmla="*/ 4059534 w 11851944"/>
              <a:gd name="connsiteY36" fmla="*/ 2859101 h 2969978"/>
              <a:gd name="connsiteX37" fmla="*/ 3768132 w 11851944"/>
              <a:gd name="connsiteY37" fmla="*/ 2828956 h 2969978"/>
              <a:gd name="connsiteX38" fmla="*/ 3627455 w 11851944"/>
              <a:gd name="connsiteY38" fmla="*/ 2818908 h 2969978"/>
              <a:gd name="connsiteX39" fmla="*/ 3125037 w 11851944"/>
              <a:gd name="connsiteY39" fmla="*/ 2828956 h 2969978"/>
              <a:gd name="connsiteX40" fmla="*/ 3064747 w 11851944"/>
              <a:gd name="connsiteY40" fmla="*/ 2839004 h 2969978"/>
              <a:gd name="connsiteX41" fmla="*/ 2009670 w 11851944"/>
              <a:gd name="connsiteY41" fmla="*/ 2849053 h 2969978"/>
              <a:gd name="connsiteX42" fmla="*/ 1678075 w 11851944"/>
              <a:gd name="connsiteY42" fmla="*/ 2939488 h 2969978"/>
              <a:gd name="connsiteX43" fmla="*/ 1607736 w 11851944"/>
              <a:gd name="connsiteY43" fmla="*/ 2969633 h 2969978"/>
              <a:gd name="connsiteX44" fmla="*/ 1135464 w 11851944"/>
              <a:gd name="connsiteY44" fmla="*/ 2949536 h 2969978"/>
              <a:gd name="connsiteX45" fmla="*/ 944545 w 11851944"/>
              <a:gd name="connsiteY45" fmla="*/ 2919391 h 2969978"/>
              <a:gd name="connsiteX46" fmla="*/ 723481 w 11851944"/>
              <a:gd name="connsiteY46" fmla="*/ 2879198 h 2969978"/>
              <a:gd name="connsiteX47" fmla="*/ 643095 w 11851944"/>
              <a:gd name="connsiteY47" fmla="*/ 2869149 h 2969978"/>
              <a:gd name="connsiteX48" fmla="*/ 371789 w 11851944"/>
              <a:gd name="connsiteY48" fmla="*/ 2828956 h 2969978"/>
              <a:gd name="connsiteX49" fmla="*/ 0 w 11851944"/>
              <a:gd name="connsiteY49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7797521 w 11851944"/>
              <a:gd name="connsiteY25" fmla="*/ 2778714 h 2969978"/>
              <a:gd name="connsiteX26" fmla="*/ 7717134 w 11851944"/>
              <a:gd name="connsiteY26" fmla="*/ 2788762 h 2969978"/>
              <a:gd name="connsiteX27" fmla="*/ 7486022 w 11851944"/>
              <a:gd name="connsiteY27" fmla="*/ 2818908 h 2969978"/>
              <a:gd name="connsiteX28" fmla="*/ 7395587 w 11851944"/>
              <a:gd name="connsiteY28" fmla="*/ 2839004 h 2969978"/>
              <a:gd name="connsiteX29" fmla="*/ 7325248 w 11851944"/>
              <a:gd name="connsiteY29" fmla="*/ 2849053 h 2969978"/>
              <a:gd name="connsiteX30" fmla="*/ 6863024 w 11851944"/>
              <a:gd name="connsiteY30" fmla="*/ 2839004 h 2969978"/>
              <a:gd name="connsiteX31" fmla="*/ 6722347 w 11851944"/>
              <a:gd name="connsiteY31" fmla="*/ 2828956 h 2969978"/>
              <a:gd name="connsiteX32" fmla="*/ 4903596 w 11851944"/>
              <a:gd name="connsiteY32" fmla="*/ 2879198 h 2969978"/>
              <a:gd name="connsiteX33" fmla="*/ 4722725 w 11851944"/>
              <a:gd name="connsiteY33" fmla="*/ 2919391 h 2969978"/>
              <a:gd name="connsiteX34" fmla="*/ 4300695 w 11851944"/>
              <a:gd name="connsiteY34" fmla="*/ 2899294 h 2969978"/>
              <a:gd name="connsiteX35" fmla="*/ 4059534 w 11851944"/>
              <a:gd name="connsiteY35" fmla="*/ 2859101 h 2969978"/>
              <a:gd name="connsiteX36" fmla="*/ 3768132 w 11851944"/>
              <a:gd name="connsiteY36" fmla="*/ 2828956 h 2969978"/>
              <a:gd name="connsiteX37" fmla="*/ 3627455 w 11851944"/>
              <a:gd name="connsiteY37" fmla="*/ 2818908 h 2969978"/>
              <a:gd name="connsiteX38" fmla="*/ 3125037 w 11851944"/>
              <a:gd name="connsiteY38" fmla="*/ 2828956 h 2969978"/>
              <a:gd name="connsiteX39" fmla="*/ 3064747 w 11851944"/>
              <a:gd name="connsiteY39" fmla="*/ 2839004 h 2969978"/>
              <a:gd name="connsiteX40" fmla="*/ 2009670 w 11851944"/>
              <a:gd name="connsiteY40" fmla="*/ 2849053 h 2969978"/>
              <a:gd name="connsiteX41" fmla="*/ 1678075 w 11851944"/>
              <a:gd name="connsiteY41" fmla="*/ 2939488 h 2969978"/>
              <a:gd name="connsiteX42" fmla="*/ 1607736 w 11851944"/>
              <a:gd name="connsiteY42" fmla="*/ 2969633 h 2969978"/>
              <a:gd name="connsiteX43" fmla="*/ 1135464 w 11851944"/>
              <a:gd name="connsiteY43" fmla="*/ 2949536 h 2969978"/>
              <a:gd name="connsiteX44" fmla="*/ 944545 w 11851944"/>
              <a:gd name="connsiteY44" fmla="*/ 2919391 h 2969978"/>
              <a:gd name="connsiteX45" fmla="*/ 723481 w 11851944"/>
              <a:gd name="connsiteY45" fmla="*/ 2879198 h 2969978"/>
              <a:gd name="connsiteX46" fmla="*/ 643095 w 11851944"/>
              <a:gd name="connsiteY46" fmla="*/ 2869149 h 2969978"/>
              <a:gd name="connsiteX47" fmla="*/ 371789 w 11851944"/>
              <a:gd name="connsiteY47" fmla="*/ 2828956 h 2969978"/>
              <a:gd name="connsiteX48" fmla="*/ 0 w 11851944"/>
              <a:gd name="connsiteY48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7797521 w 11851944"/>
              <a:gd name="connsiteY25" fmla="*/ 2778714 h 2969978"/>
              <a:gd name="connsiteX26" fmla="*/ 7486022 w 11851944"/>
              <a:gd name="connsiteY26" fmla="*/ 2818908 h 2969978"/>
              <a:gd name="connsiteX27" fmla="*/ 7395587 w 11851944"/>
              <a:gd name="connsiteY27" fmla="*/ 2839004 h 2969978"/>
              <a:gd name="connsiteX28" fmla="*/ 7325248 w 11851944"/>
              <a:gd name="connsiteY28" fmla="*/ 2849053 h 2969978"/>
              <a:gd name="connsiteX29" fmla="*/ 6863024 w 11851944"/>
              <a:gd name="connsiteY29" fmla="*/ 2839004 h 2969978"/>
              <a:gd name="connsiteX30" fmla="*/ 6722347 w 11851944"/>
              <a:gd name="connsiteY30" fmla="*/ 2828956 h 2969978"/>
              <a:gd name="connsiteX31" fmla="*/ 4903596 w 11851944"/>
              <a:gd name="connsiteY31" fmla="*/ 2879198 h 2969978"/>
              <a:gd name="connsiteX32" fmla="*/ 4722725 w 11851944"/>
              <a:gd name="connsiteY32" fmla="*/ 2919391 h 2969978"/>
              <a:gd name="connsiteX33" fmla="*/ 4300695 w 11851944"/>
              <a:gd name="connsiteY33" fmla="*/ 2899294 h 2969978"/>
              <a:gd name="connsiteX34" fmla="*/ 4059534 w 11851944"/>
              <a:gd name="connsiteY34" fmla="*/ 2859101 h 2969978"/>
              <a:gd name="connsiteX35" fmla="*/ 3768132 w 11851944"/>
              <a:gd name="connsiteY35" fmla="*/ 2828956 h 2969978"/>
              <a:gd name="connsiteX36" fmla="*/ 3627455 w 11851944"/>
              <a:gd name="connsiteY36" fmla="*/ 2818908 h 2969978"/>
              <a:gd name="connsiteX37" fmla="*/ 3125037 w 11851944"/>
              <a:gd name="connsiteY37" fmla="*/ 2828956 h 2969978"/>
              <a:gd name="connsiteX38" fmla="*/ 3064747 w 11851944"/>
              <a:gd name="connsiteY38" fmla="*/ 2839004 h 2969978"/>
              <a:gd name="connsiteX39" fmla="*/ 2009670 w 11851944"/>
              <a:gd name="connsiteY39" fmla="*/ 2849053 h 2969978"/>
              <a:gd name="connsiteX40" fmla="*/ 1678075 w 11851944"/>
              <a:gd name="connsiteY40" fmla="*/ 2939488 h 2969978"/>
              <a:gd name="connsiteX41" fmla="*/ 1607736 w 11851944"/>
              <a:gd name="connsiteY41" fmla="*/ 2969633 h 2969978"/>
              <a:gd name="connsiteX42" fmla="*/ 1135464 w 11851944"/>
              <a:gd name="connsiteY42" fmla="*/ 2949536 h 2969978"/>
              <a:gd name="connsiteX43" fmla="*/ 944545 w 11851944"/>
              <a:gd name="connsiteY43" fmla="*/ 2919391 h 2969978"/>
              <a:gd name="connsiteX44" fmla="*/ 723481 w 11851944"/>
              <a:gd name="connsiteY44" fmla="*/ 2879198 h 2969978"/>
              <a:gd name="connsiteX45" fmla="*/ 643095 w 11851944"/>
              <a:gd name="connsiteY45" fmla="*/ 2869149 h 2969978"/>
              <a:gd name="connsiteX46" fmla="*/ 371789 w 11851944"/>
              <a:gd name="connsiteY46" fmla="*/ 2828956 h 2969978"/>
              <a:gd name="connsiteX47" fmla="*/ 0 w 11851944"/>
              <a:gd name="connsiteY47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7486022 w 11851944"/>
              <a:gd name="connsiteY25" fmla="*/ 2818908 h 2969978"/>
              <a:gd name="connsiteX26" fmla="*/ 7395587 w 11851944"/>
              <a:gd name="connsiteY26" fmla="*/ 2839004 h 2969978"/>
              <a:gd name="connsiteX27" fmla="*/ 7325248 w 11851944"/>
              <a:gd name="connsiteY27" fmla="*/ 2849053 h 2969978"/>
              <a:gd name="connsiteX28" fmla="*/ 6863024 w 11851944"/>
              <a:gd name="connsiteY28" fmla="*/ 2839004 h 2969978"/>
              <a:gd name="connsiteX29" fmla="*/ 6722347 w 11851944"/>
              <a:gd name="connsiteY29" fmla="*/ 2828956 h 2969978"/>
              <a:gd name="connsiteX30" fmla="*/ 4903596 w 11851944"/>
              <a:gd name="connsiteY30" fmla="*/ 2879198 h 2969978"/>
              <a:gd name="connsiteX31" fmla="*/ 4722725 w 11851944"/>
              <a:gd name="connsiteY31" fmla="*/ 2919391 h 2969978"/>
              <a:gd name="connsiteX32" fmla="*/ 4300695 w 11851944"/>
              <a:gd name="connsiteY32" fmla="*/ 2899294 h 2969978"/>
              <a:gd name="connsiteX33" fmla="*/ 4059534 w 11851944"/>
              <a:gd name="connsiteY33" fmla="*/ 2859101 h 2969978"/>
              <a:gd name="connsiteX34" fmla="*/ 3768132 w 11851944"/>
              <a:gd name="connsiteY34" fmla="*/ 2828956 h 2969978"/>
              <a:gd name="connsiteX35" fmla="*/ 3627455 w 11851944"/>
              <a:gd name="connsiteY35" fmla="*/ 2818908 h 2969978"/>
              <a:gd name="connsiteX36" fmla="*/ 3125037 w 11851944"/>
              <a:gd name="connsiteY36" fmla="*/ 2828956 h 2969978"/>
              <a:gd name="connsiteX37" fmla="*/ 3064747 w 11851944"/>
              <a:gd name="connsiteY37" fmla="*/ 2839004 h 2969978"/>
              <a:gd name="connsiteX38" fmla="*/ 2009670 w 11851944"/>
              <a:gd name="connsiteY38" fmla="*/ 2849053 h 2969978"/>
              <a:gd name="connsiteX39" fmla="*/ 1678075 w 11851944"/>
              <a:gd name="connsiteY39" fmla="*/ 2939488 h 2969978"/>
              <a:gd name="connsiteX40" fmla="*/ 1607736 w 11851944"/>
              <a:gd name="connsiteY40" fmla="*/ 2969633 h 2969978"/>
              <a:gd name="connsiteX41" fmla="*/ 1135464 w 11851944"/>
              <a:gd name="connsiteY41" fmla="*/ 2949536 h 2969978"/>
              <a:gd name="connsiteX42" fmla="*/ 944545 w 11851944"/>
              <a:gd name="connsiteY42" fmla="*/ 2919391 h 2969978"/>
              <a:gd name="connsiteX43" fmla="*/ 723481 w 11851944"/>
              <a:gd name="connsiteY43" fmla="*/ 2879198 h 2969978"/>
              <a:gd name="connsiteX44" fmla="*/ 643095 w 11851944"/>
              <a:gd name="connsiteY44" fmla="*/ 2869149 h 2969978"/>
              <a:gd name="connsiteX45" fmla="*/ 371789 w 11851944"/>
              <a:gd name="connsiteY45" fmla="*/ 2828956 h 2969978"/>
              <a:gd name="connsiteX46" fmla="*/ 0 w 11851944"/>
              <a:gd name="connsiteY46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7486022 w 11851944"/>
              <a:gd name="connsiteY24" fmla="*/ 2818908 h 2969978"/>
              <a:gd name="connsiteX25" fmla="*/ 7395587 w 11851944"/>
              <a:gd name="connsiteY25" fmla="*/ 2839004 h 2969978"/>
              <a:gd name="connsiteX26" fmla="*/ 7325248 w 11851944"/>
              <a:gd name="connsiteY26" fmla="*/ 2849053 h 2969978"/>
              <a:gd name="connsiteX27" fmla="*/ 6863024 w 11851944"/>
              <a:gd name="connsiteY27" fmla="*/ 2839004 h 2969978"/>
              <a:gd name="connsiteX28" fmla="*/ 6722347 w 11851944"/>
              <a:gd name="connsiteY28" fmla="*/ 2828956 h 2969978"/>
              <a:gd name="connsiteX29" fmla="*/ 4903596 w 11851944"/>
              <a:gd name="connsiteY29" fmla="*/ 2879198 h 2969978"/>
              <a:gd name="connsiteX30" fmla="*/ 4722725 w 11851944"/>
              <a:gd name="connsiteY30" fmla="*/ 2919391 h 2969978"/>
              <a:gd name="connsiteX31" fmla="*/ 4300695 w 11851944"/>
              <a:gd name="connsiteY31" fmla="*/ 2899294 h 2969978"/>
              <a:gd name="connsiteX32" fmla="*/ 4059534 w 11851944"/>
              <a:gd name="connsiteY32" fmla="*/ 2859101 h 2969978"/>
              <a:gd name="connsiteX33" fmla="*/ 3768132 w 11851944"/>
              <a:gd name="connsiteY33" fmla="*/ 2828956 h 2969978"/>
              <a:gd name="connsiteX34" fmla="*/ 3627455 w 11851944"/>
              <a:gd name="connsiteY34" fmla="*/ 2818908 h 2969978"/>
              <a:gd name="connsiteX35" fmla="*/ 3125037 w 11851944"/>
              <a:gd name="connsiteY35" fmla="*/ 2828956 h 2969978"/>
              <a:gd name="connsiteX36" fmla="*/ 3064747 w 11851944"/>
              <a:gd name="connsiteY36" fmla="*/ 2839004 h 2969978"/>
              <a:gd name="connsiteX37" fmla="*/ 2009670 w 11851944"/>
              <a:gd name="connsiteY37" fmla="*/ 2849053 h 2969978"/>
              <a:gd name="connsiteX38" fmla="*/ 1678075 w 11851944"/>
              <a:gd name="connsiteY38" fmla="*/ 2939488 h 2969978"/>
              <a:gd name="connsiteX39" fmla="*/ 1607736 w 11851944"/>
              <a:gd name="connsiteY39" fmla="*/ 2969633 h 2969978"/>
              <a:gd name="connsiteX40" fmla="*/ 1135464 w 11851944"/>
              <a:gd name="connsiteY40" fmla="*/ 2949536 h 2969978"/>
              <a:gd name="connsiteX41" fmla="*/ 944545 w 11851944"/>
              <a:gd name="connsiteY41" fmla="*/ 2919391 h 2969978"/>
              <a:gd name="connsiteX42" fmla="*/ 723481 w 11851944"/>
              <a:gd name="connsiteY42" fmla="*/ 2879198 h 2969978"/>
              <a:gd name="connsiteX43" fmla="*/ 643095 w 11851944"/>
              <a:gd name="connsiteY43" fmla="*/ 2869149 h 2969978"/>
              <a:gd name="connsiteX44" fmla="*/ 371789 w 11851944"/>
              <a:gd name="connsiteY44" fmla="*/ 2828956 h 2969978"/>
              <a:gd name="connsiteX45" fmla="*/ 0 w 11851944"/>
              <a:gd name="connsiteY45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7486022 w 11851944"/>
              <a:gd name="connsiteY24" fmla="*/ 2818908 h 2969978"/>
              <a:gd name="connsiteX25" fmla="*/ 7395587 w 11851944"/>
              <a:gd name="connsiteY25" fmla="*/ 2839004 h 2969978"/>
              <a:gd name="connsiteX26" fmla="*/ 6863024 w 11851944"/>
              <a:gd name="connsiteY26" fmla="*/ 2839004 h 2969978"/>
              <a:gd name="connsiteX27" fmla="*/ 6722347 w 11851944"/>
              <a:gd name="connsiteY27" fmla="*/ 2828956 h 2969978"/>
              <a:gd name="connsiteX28" fmla="*/ 4903596 w 11851944"/>
              <a:gd name="connsiteY28" fmla="*/ 2879198 h 2969978"/>
              <a:gd name="connsiteX29" fmla="*/ 4722725 w 11851944"/>
              <a:gd name="connsiteY29" fmla="*/ 2919391 h 2969978"/>
              <a:gd name="connsiteX30" fmla="*/ 4300695 w 11851944"/>
              <a:gd name="connsiteY30" fmla="*/ 2899294 h 2969978"/>
              <a:gd name="connsiteX31" fmla="*/ 4059534 w 11851944"/>
              <a:gd name="connsiteY31" fmla="*/ 2859101 h 2969978"/>
              <a:gd name="connsiteX32" fmla="*/ 3768132 w 11851944"/>
              <a:gd name="connsiteY32" fmla="*/ 2828956 h 2969978"/>
              <a:gd name="connsiteX33" fmla="*/ 3627455 w 11851944"/>
              <a:gd name="connsiteY33" fmla="*/ 2818908 h 2969978"/>
              <a:gd name="connsiteX34" fmla="*/ 3125037 w 11851944"/>
              <a:gd name="connsiteY34" fmla="*/ 2828956 h 2969978"/>
              <a:gd name="connsiteX35" fmla="*/ 3064747 w 11851944"/>
              <a:gd name="connsiteY35" fmla="*/ 2839004 h 2969978"/>
              <a:gd name="connsiteX36" fmla="*/ 2009670 w 11851944"/>
              <a:gd name="connsiteY36" fmla="*/ 2849053 h 2969978"/>
              <a:gd name="connsiteX37" fmla="*/ 1678075 w 11851944"/>
              <a:gd name="connsiteY37" fmla="*/ 2939488 h 2969978"/>
              <a:gd name="connsiteX38" fmla="*/ 1607736 w 11851944"/>
              <a:gd name="connsiteY38" fmla="*/ 2969633 h 2969978"/>
              <a:gd name="connsiteX39" fmla="*/ 1135464 w 11851944"/>
              <a:gd name="connsiteY39" fmla="*/ 2949536 h 2969978"/>
              <a:gd name="connsiteX40" fmla="*/ 944545 w 11851944"/>
              <a:gd name="connsiteY40" fmla="*/ 2919391 h 2969978"/>
              <a:gd name="connsiteX41" fmla="*/ 723481 w 11851944"/>
              <a:gd name="connsiteY41" fmla="*/ 2879198 h 2969978"/>
              <a:gd name="connsiteX42" fmla="*/ 643095 w 11851944"/>
              <a:gd name="connsiteY42" fmla="*/ 2869149 h 2969978"/>
              <a:gd name="connsiteX43" fmla="*/ 371789 w 11851944"/>
              <a:gd name="connsiteY43" fmla="*/ 2828956 h 2969978"/>
              <a:gd name="connsiteX44" fmla="*/ 0 w 11851944"/>
              <a:gd name="connsiteY44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7486022 w 11851944"/>
              <a:gd name="connsiteY24" fmla="*/ 2818908 h 2969978"/>
              <a:gd name="connsiteX25" fmla="*/ 6863024 w 11851944"/>
              <a:gd name="connsiteY25" fmla="*/ 2839004 h 2969978"/>
              <a:gd name="connsiteX26" fmla="*/ 6722347 w 11851944"/>
              <a:gd name="connsiteY26" fmla="*/ 2828956 h 2969978"/>
              <a:gd name="connsiteX27" fmla="*/ 4903596 w 11851944"/>
              <a:gd name="connsiteY27" fmla="*/ 2879198 h 2969978"/>
              <a:gd name="connsiteX28" fmla="*/ 4722725 w 11851944"/>
              <a:gd name="connsiteY28" fmla="*/ 2919391 h 2969978"/>
              <a:gd name="connsiteX29" fmla="*/ 4300695 w 11851944"/>
              <a:gd name="connsiteY29" fmla="*/ 2899294 h 2969978"/>
              <a:gd name="connsiteX30" fmla="*/ 4059534 w 11851944"/>
              <a:gd name="connsiteY30" fmla="*/ 2859101 h 2969978"/>
              <a:gd name="connsiteX31" fmla="*/ 3768132 w 11851944"/>
              <a:gd name="connsiteY31" fmla="*/ 2828956 h 2969978"/>
              <a:gd name="connsiteX32" fmla="*/ 3627455 w 11851944"/>
              <a:gd name="connsiteY32" fmla="*/ 2818908 h 2969978"/>
              <a:gd name="connsiteX33" fmla="*/ 3125037 w 11851944"/>
              <a:gd name="connsiteY33" fmla="*/ 2828956 h 2969978"/>
              <a:gd name="connsiteX34" fmla="*/ 3064747 w 11851944"/>
              <a:gd name="connsiteY34" fmla="*/ 2839004 h 2969978"/>
              <a:gd name="connsiteX35" fmla="*/ 2009670 w 11851944"/>
              <a:gd name="connsiteY35" fmla="*/ 2849053 h 2969978"/>
              <a:gd name="connsiteX36" fmla="*/ 1678075 w 11851944"/>
              <a:gd name="connsiteY36" fmla="*/ 2939488 h 2969978"/>
              <a:gd name="connsiteX37" fmla="*/ 1607736 w 11851944"/>
              <a:gd name="connsiteY37" fmla="*/ 2969633 h 2969978"/>
              <a:gd name="connsiteX38" fmla="*/ 1135464 w 11851944"/>
              <a:gd name="connsiteY38" fmla="*/ 2949536 h 2969978"/>
              <a:gd name="connsiteX39" fmla="*/ 944545 w 11851944"/>
              <a:gd name="connsiteY39" fmla="*/ 2919391 h 2969978"/>
              <a:gd name="connsiteX40" fmla="*/ 723481 w 11851944"/>
              <a:gd name="connsiteY40" fmla="*/ 2879198 h 2969978"/>
              <a:gd name="connsiteX41" fmla="*/ 643095 w 11851944"/>
              <a:gd name="connsiteY41" fmla="*/ 2869149 h 2969978"/>
              <a:gd name="connsiteX42" fmla="*/ 371789 w 11851944"/>
              <a:gd name="connsiteY42" fmla="*/ 2828956 h 2969978"/>
              <a:gd name="connsiteX43" fmla="*/ 0 w 11851944"/>
              <a:gd name="connsiteY43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722725 w 11851944"/>
              <a:gd name="connsiteY27" fmla="*/ 2919391 h 2969978"/>
              <a:gd name="connsiteX28" fmla="*/ 4300695 w 11851944"/>
              <a:gd name="connsiteY28" fmla="*/ 2899294 h 2969978"/>
              <a:gd name="connsiteX29" fmla="*/ 4059534 w 11851944"/>
              <a:gd name="connsiteY29" fmla="*/ 2859101 h 2969978"/>
              <a:gd name="connsiteX30" fmla="*/ 3768132 w 11851944"/>
              <a:gd name="connsiteY30" fmla="*/ 2828956 h 2969978"/>
              <a:gd name="connsiteX31" fmla="*/ 3627455 w 11851944"/>
              <a:gd name="connsiteY31" fmla="*/ 2818908 h 2969978"/>
              <a:gd name="connsiteX32" fmla="*/ 3125037 w 11851944"/>
              <a:gd name="connsiteY32" fmla="*/ 2828956 h 2969978"/>
              <a:gd name="connsiteX33" fmla="*/ 3064747 w 11851944"/>
              <a:gd name="connsiteY33" fmla="*/ 2839004 h 2969978"/>
              <a:gd name="connsiteX34" fmla="*/ 2009670 w 11851944"/>
              <a:gd name="connsiteY34" fmla="*/ 2849053 h 2969978"/>
              <a:gd name="connsiteX35" fmla="*/ 1678075 w 11851944"/>
              <a:gd name="connsiteY35" fmla="*/ 2939488 h 2969978"/>
              <a:gd name="connsiteX36" fmla="*/ 1607736 w 11851944"/>
              <a:gd name="connsiteY36" fmla="*/ 2969633 h 2969978"/>
              <a:gd name="connsiteX37" fmla="*/ 1135464 w 11851944"/>
              <a:gd name="connsiteY37" fmla="*/ 2949536 h 2969978"/>
              <a:gd name="connsiteX38" fmla="*/ 944545 w 11851944"/>
              <a:gd name="connsiteY38" fmla="*/ 2919391 h 2969978"/>
              <a:gd name="connsiteX39" fmla="*/ 723481 w 11851944"/>
              <a:gd name="connsiteY39" fmla="*/ 2879198 h 2969978"/>
              <a:gd name="connsiteX40" fmla="*/ 643095 w 11851944"/>
              <a:gd name="connsiteY40" fmla="*/ 2869149 h 2969978"/>
              <a:gd name="connsiteX41" fmla="*/ 371789 w 11851944"/>
              <a:gd name="connsiteY41" fmla="*/ 2828956 h 2969978"/>
              <a:gd name="connsiteX42" fmla="*/ 0 w 11851944"/>
              <a:gd name="connsiteY42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300695 w 11851944"/>
              <a:gd name="connsiteY27" fmla="*/ 2899294 h 2969978"/>
              <a:gd name="connsiteX28" fmla="*/ 4059534 w 11851944"/>
              <a:gd name="connsiteY28" fmla="*/ 2859101 h 2969978"/>
              <a:gd name="connsiteX29" fmla="*/ 3768132 w 11851944"/>
              <a:gd name="connsiteY29" fmla="*/ 2828956 h 2969978"/>
              <a:gd name="connsiteX30" fmla="*/ 3627455 w 11851944"/>
              <a:gd name="connsiteY30" fmla="*/ 2818908 h 2969978"/>
              <a:gd name="connsiteX31" fmla="*/ 3125037 w 11851944"/>
              <a:gd name="connsiteY31" fmla="*/ 2828956 h 2969978"/>
              <a:gd name="connsiteX32" fmla="*/ 3064747 w 11851944"/>
              <a:gd name="connsiteY32" fmla="*/ 2839004 h 2969978"/>
              <a:gd name="connsiteX33" fmla="*/ 2009670 w 11851944"/>
              <a:gd name="connsiteY33" fmla="*/ 2849053 h 2969978"/>
              <a:gd name="connsiteX34" fmla="*/ 1678075 w 11851944"/>
              <a:gd name="connsiteY34" fmla="*/ 2939488 h 2969978"/>
              <a:gd name="connsiteX35" fmla="*/ 1607736 w 11851944"/>
              <a:gd name="connsiteY35" fmla="*/ 2969633 h 2969978"/>
              <a:gd name="connsiteX36" fmla="*/ 1135464 w 11851944"/>
              <a:gd name="connsiteY36" fmla="*/ 2949536 h 2969978"/>
              <a:gd name="connsiteX37" fmla="*/ 944545 w 11851944"/>
              <a:gd name="connsiteY37" fmla="*/ 2919391 h 2969978"/>
              <a:gd name="connsiteX38" fmla="*/ 723481 w 11851944"/>
              <a:gd name="connsiteY38" fmla="*/ 2879198 h 2969978"/>
              <a:gd name="connsiteX39" fmla="*/ 643095 w 11851944"/>
              <a:gd name="connsiteY39" fmla="*/ 2869149 h 2969978"/>
              <a:gd name="connsiteX40" fmla="*/ 371789 w 11851944"/>
              <a:gd name="connsiteY40" fmla="*/ 2828956 h 2969978"/>
              <a:gd name="connsiteX41" fmla="*/ 0 w 11851944"/>
              <a:gd name="connsiteY41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059534 w 11851944"/>
              <a:gd name="connsiteY27" fmla="*/ 2859101 h 2969978"/>
              <a:gd name="connsiteX28" fmla="*/ 3768132 w 11851944"/>
              <a:gd name="connsiteY28" fmla="*/ 2828956 h 2969978"/>
              <a:gd name="connsiteX29" fmla="*/ 3627455 w 11851944"/>
              <a:gd name="connsiteY29" fmla="*/ 2818908 h 2969978"/>
              <a:gd name="connsiteX30" fmla="*/ 3125037 w 11851944"/>
              <a:gd name="connsiteY30" fmla="*/ 2828956 h 2969978"/>
              <a:gd name="connsiteX31" fmla="*/ 3064747 w 11851944"/>
              <a:gd name="connsiteY31" fmla="*/ 2839004 h 2969978"/>
              <a:gd name="connsiteX32" fmla="*/ 2009670 w 11851944"/>
              <a:gd name="connsiteY32" fmla="*/ 2849053 h 2969978"/>
              <a:gd name="connsiteX33" fmla="*/ 1678075 w 11851944"/>
              <a:gd name="connsiteY33" fmla="*/ 2939488 h 2969978"/>
              <a:gd name="connsiteX34" fmla="*/ 1607736 w 11851944"/>
              <a:gd name="connsiteY34" fmla="*/ 2969633 h 2969978"/>
              <a:gd name="connsiteX35" fmla="*/ 1135464 w 11851944"/>
              <a:gd name="connsiteY35" fmla="*/ 2949536 h 2969978"/>
              <a:gd name="connsiteX36" fmla="*/ 944545 w 11851944"/>
              <a:gd name="connsiteY36" fmla="*/ 2919391 h 2969978"/>
              <a:gd name="connsiteX37" fmla="*/ 723481 w 11851944"/>
              <a:gd name="connsiteY37" fmla="*/ 2879198 h 2969978"/>
              <a:gd name="connsiteX38" fmla="*/ 643095 w 11851944"/>
              <a:gd name="connsiteY38" fmla="*/ 2869149 h 2969978"/>
              <a:gd name="connsiteX39" fmla="*/ 371789 w 11851944"/>
              <a:gd name="connsiteY39" fmla="*/ 2828956 h 2969978"/>
              <a:gd name="connsiteX40" fmla="*/ 0 w 11851944"/>
              <a:gd name="connsiteY40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059534 w 11851944"/>
              <a:gd name="connsiteY27" fmla="*/ 2859101 h 2969978"/>
              <a:gd name="connsiteX28" fmla="*/ 3627455 w 11851944"/>
              <a:gd name="connsiteY28" fmla="*/ 2818908 h 2969978"/>
              <a:gd name="connsiteX29" fmla="*/ 3125037 w 11851944"/>
              <a:gd name="connsiteY29" fmla="*/ 2828956 h 2969978"/>
              <a:gd name="connsiteX30" fmla="*/ 3064747 w 11851944"/>
              <a:gd name="connsiteY30" fmla="*/ 2839004 h 2969978"/>
              <a:gd name="connsiteX31" fmla="*/ 2009670 w 11851944"/>
              <a:gd name="connsiteY31" fmla="*/ 2849053 h 2969978"/>
              <a:gd name="connsiteX32" fmla="*/ 1678075 w 11851944"/>
              <a:gd name="connsiteY32" fmla="*/ 2939488 h 2969978"/>
              <a:gd name="connsiteX33" fmla="*/ 1607736 w 11851944"/>
              <a:gd name="connsiteY33" fmla="*/ 2969633 h 2969978"/>
              <a:gd name="connsiteX34" fmla="*/ 1135464 w 11851944"/>
              <a:gd name="connsiteY34" fmla="*/ 2949536 h 2969978"/>
              <a:gd name="connsiteX35" fmla="*/ 944545 w 11851944"/>
              <a:gd name="connsiteY35" fmla="*/ 2919391 h 2969978"/>
              <a:gd name="connsiteX36" fmla="*/ 723481 w 11851944"/>
              <a:gd name="connsiteY36" fmla="*/ 2879198 h 2969978"/>
              <a:gd name="connsiteX37" fmla="*/ 643095 w 11851944"/>
              <a:gd name="connsiteY37" fmla="*/ 2869149 h 2969978"/>
              <a:gd name="connsiteX38" fmla="*/ 371789 w 11851944"/>
              <a:gd name="connsiteY38" fmla="*/ 2828956 h 2969978"/>
              <a:gd name="connsiteX39" fmla="*/ 0 w 11851944"/>
              <a:gd name="connsiteY39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059534 w 11851944"/>
              <a:gd name="connsiteY27" fmla="*/ 2859101 h 2969978"/>
              <a:gd name="connsiteX28" fmla="*/ 3125037 w 11851944"/>
              <a:gd name="connsiteY28" fmla="*/ 2828956 h 2969978"/>
              <a:gd name="connsiteX29" fmla="*/ 3064747 w 11851944"/>
              <a:gd name="connsiteY29" fmla="*/ 2839004 h 2969978"/>
              <a:gd name="connsiteX30" fmla="*/ 2009670 w 11851944"/>
              <a:gd name="connsiteY30" fmla="*/ 2849053 h 2969978"/>
              <a:gd name="connsiteX31" fmla="*/ 1678075 w 11851944"/>
              <a:gd name="connsiteY31" fmla="*/ 2939488 h 2969978"/>
              <a:gd name="connsiteX32" fmla="*/ 1607736 w 11851944"/>
              <a:gd name="connsiteY32" fmla="*/ 2969633 h 2969978"/>
              <a:gd name="connsiteX33" fmla="*/ 1135464 w 11851944"/>
              <a:gd name="connsiteY33" fmla="*/ 2949536 h 2969978"/>
              <a:gd name="connsiteX34" fmla="*/ 944545 w 11851944"/>
              <a:gd name="connsiteY34" fmla="*/ 2919391 h 2969978"/>
              <a:gd name="connsiteX35" fmla="*/ 723481 w 11851944"/>
              <a:gd name="connsiteY35" fmla="*/ 2879198 h 2969978"/>
              <a:gd name="connsiteX36" fmla="*/ 643095 w 11851944"/>
              <a:gd name="connsiteY36" fmla="*/ 2869149 h 2969978"/>
              <a:gd name="connsiteX37" fmla="*/ 371789 w 11851944"/>
              <a:gd name="connsiteY37" fmla="*/ 2828956 h 2969978"/>
              <a:gd name="connsiteX38" fmla="*/ 0 w 11851944"/>
              <a:gd name="connsiteY38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059534 w 11851944"/>
              <a:gd name="connsiteY27" fmla="*/ 2859101 h 2969978"/>
              <a:gd name="connsiteX28" fmla="*/ 3064747 w 11851944"/>
              <a:gd name="connsiteY28" fmla="*/ 2839004 h 2969978"/>
              <a:gd name="connsiteX29" fmla="*/ 2009670 w 11851944"/>
              <a:gd name="connsiteY29" fmla="*/ 2849053 h 2969978"/>
              <a:gd name="connsiteX30" fmla="*/ 1678075 w 11851944"/>
              <a:gd name="connsiteY30" fmla="*/ 2939488 h 2969978"/>
              <a:gd name="connsiteX31" fmla="*/ 1607736 w 11851944"/>
              <a:gd name="connsiteY31" fmla="*/ 2969633 h 2969978"/>
              <a:gd name="connsiteX32" fmla="*/ 1135464 w 11851944"/>
              <a:gd name="connsiteY32" fmla="*/ 2949536 h 2969978"/>
              <a:gd name="connsiteX33" fmla="*/ 944545 w 11851944"/>
              <a:gd name="connsiteY33" fmla="*/ 2919391 h 2969978"/>
              <a:gd name="connsiteX34" fmla="*/ 723481 w 11851944"/>
              <a:gd name="connsiteY34" fmla="*/ 2879198 h 2969978"/>
              <a:gd name="connsiteX35" fmla="*/ 643095 w 11851944"/>
              <a:gd name="connsiteY35" fmla="*/ 2869149 h 2969978"/>
              <a:gd name="connsiteX36" fmla="*/ 371789 w 11851944"/>
              <a:gd name="connsiteY36" fmla="*/ 2828956 h 2969978"/>
              <a:gd name="connsiteX37" fmla="*/ 0 w 11851944"/>
              <a:gd name="connsiteY37" fmla="*/ 2818908 h 2969978"/>
              <a:gd name="connsiteX0" fmla="*/ 120580 w 11851944"/>
              <a:gd name="connsiteY0" fmla="*/ 55611 h 2974631"/>
              <a:gd name="connsiteX1" fmla="*/ 281354 w 11851944"/>
              <a:gd name="connsiteY1" fmla="*/ 45562 h 2974631"/>
              <a:gd name="connsiteX2" fmla="*/ 673240 w 11851944"/>
              <a:gd name="connsiteY2" fmla="*/ 35514 h 2974631"/>
              <a:gd name="connsiteX3" fmla="*/ 1356528 w 11851944"/>
              <a:gd name="connsiteY3" fmla="*/ 85756 h 2974631"/>
              <a:gd name="connsiteX4" fmla="*/ 1758462 w 11851944"/>
              <a:gd name="connsiteY4" fmla="*/ 45562 h 2974631"/>
              <a:gd name="connsiteX5" fmla="*/ 2140299 w 11851944"/>
              <a:gd name="connsiteY5" fmla="*/ 45562 h 2974631"/>
              <a:gd name="connsiteX6" fmla="*/ 4652387 w 11851944"/>
              <a:gd name="connsiteY6" fmla="*/ 65659 h 2974631"/>
              <a:gd name="connsiteX7" fmla="*/ 4692580 w 11851944"/>
              <a:gd name="connsiteY7" fmla="*/ 75708 h 2974631"/>
              <a:gd name="connsiteX8" fmla="*/ 6420897 w 11851944"/>
              <a:gd name="connsiteY8" fmla="*/ 95804 h 2974631"/>
              <a:gd name="connsiteX9" fmla="*/ 7184571 w 11851944"/>
              <a:gd name="connsiteY9" fmla="*/ 65659 h 2974631"/>
              <a:gd name="connsiteX10" fmla="*/ 7928150 w 11851944"/>
              <a:gd name="connsiteY10" fmla="*/ 65659 h 2974631"/>
              <a:gd name="connsiteX11" fmla="*/ 8219552 w 11851944"/>
              <a:gd name="connsiteY11" fmla="*/ 95804 h 2974631"/>
              <a:gd name="connsiteX12" fmla="*/ 9606224 w 11851944"/>
              <a:gd name="connsiteY12" fmla="*/ 95804 h 2974631"/>
              <a:gd name="connsiteX13" fmla="*/ 9947868 w 11851944"/>
              <a:gd name="connsiteY13" fmla="*/ 65659 h 2974631"/>
              <a:gd name="connsiteX14" fmla="*/ 10791930 w 11851944"/>
              <a:gd name="connsiteY14" fmla="*/ 35514 h 2974631"/>
              <a:gd name="connsiteX15" fmla="*/ 11736475 w 11851944"/>
              <a:gd name="connsiteY15" fmla="*/ 55611 h 2974631"/>
              <a:gd name="connsiteX16" fmla="*/ 11806813 w 11851944"/>
              <a:gd name="connsiteY16" fmla="*/ 769044 h 2974631"/>
              <a:gd name="connsiteX17" fmla="*/ 11816862 w 11851944"/>
              <a:gd name="connsiteY17" fmla="*/ 2336587 h 2974631"/>
              <a:gd name="connsiteX18" fmla="*/ 11806813 w 11851944"/>
              <a:gd name="connsiteY18" fmla="*/ 2828956 h 2974631"/>
              <a:gd name="connsiteX19" fmla="*/ 11033090 w 11851944"/>
              <a:gd name="connsiteY19" fmla="*/ 2859101 h 2974631"/>
              <a:gd name="connsiteX20" fmla="*/ 10128739 w 11851944"/>
              <a:gd name="connsiteY20" fmla="*/ 2859101 h 2974631"/>
              <a:gd name="connsiteX21" fmla="*/ 9555982 w 11851944"/>
              <a:gd name="connsiteY21" fmla="*/ 2859101 h 2974631"/>
              <a:gd name="connsiteX22" fmla="*/ 9204290 w 11851944"/>
              <a:gd name="connsiteY22" fmla="*/ 2808859 h 2974631"/>
              <a:gd name="connsiteX23" fmla="*/ 7486022 w 11851944"/>
              <a:gd name="connsiteY23" fmla="*/ 2818908 h 2974631"/>
              <a:gd name="connsiteX24" fmla="*/ 6863024 w 11851944"/>
              <a:gd name="connsiteY24" fmla="*/ 2839004 h 2974631"/>
              <a:gd name="connsiteX25" fmla="*/ 6722347 w 11851944"/>
              <a:gd name="connsiteY25" fmla="*/ 2828956 h 2974631"/>
              <a:gd name="connsiteX26" fmla="*/ 4903596 w 11851944"/>
              <a:gd name="connsiteY26" fmla="*/ 2879198 h 2974631"/>
              <a:gd name="connsiteX27" fmla="*/ 4059534 w 11851944"/>
              <a:gd name="connsiteY27" fmla="*/ 2859101 h 2974631"/>
              <a:gd name="connsiteX28" fmla="*/ 3064747 w 11851944"/>
              <a:gd name="connsiteY28" fmla="*/ 2839004 h 2974631"/>
              <a:gd name="connsiteX29" fmla="*/ 2009670 w 11851944"/>
              <a:gd name="connsiteY29" fmla="*/ 2849053 h 2974631"/>
              <a:gd name="connsiteX30" fmla="*/ 1607736 w 11851944"/>
              <a:gd name="connsiteY30" fmla="*/ 2969633 h 2974631"/>
              <a:gd name="connsiteX31" fmla="*/ 1135464 w 11851944"/>
              <a:gd name="connsiteY31" fmla="*/ 2949536 h 2974631"/>
              <a:gd name="connsiteX32" fmla="*/ 944545 w 11851944"/>
              <a:gd name="connsiteY32" fmla="*/ 2919391 h 2974631"/>
              <a:gd name="connsiteX33" fmla="*/ 723481 w 11851944"/>
              <a:gd name="connsiteY33" fmla="*/ 2879198 h 2974631"/>
              <a:gd name="connsiteX34" fmla="*/ 643095 w 11851944"/>
              <a:gd name="connsiteY34" fmla="*/ 2869149 h 2974631"/>
              <a:gd name="connsiteX35" fmla="*/ 371789 w 11851944"/>
              <a:gd name="connsiteY35" fmla="*/ 2828956 h 2974631"/>
              <a:gd name="connsiteX36" fmla="*/ 0 w 11851944"/>
              <a:gd name="connsiteY36" fmla="*/ 2818908 h 2974631"/>
              <a:gd name="connsiteX0" fmla="*/ 120580 w 11851944"/>
              <a:gd name="connsiteY0" fmla="*/ 55611 h 2949536"/>
              <a:gd name="connsiteX1" fmla="*/ 281354 w 11851944"/>
              <a:gd name="connsiteY1" fmla="*/ 45562 h 2949536"/>
              <a:gd name="connsiteX2" fmla="*/ 673240 w 11851944"/>
              <a:gd name="connsiteY2" fmla="*/ 35514 h 2949536"/>
              <a:gd name="connsiteX3" fmla="*/ 1356528 w 11851944"/>
              <a:gd name="connsiteY3" fmla="*/ 85756 h 2949536"/>
              <a:gd name="connsiteX4" fmla="*/ 1758462 w 11851944"/>
              <a:gd name="connsiteY4" fmla="*/ 45562 h 2949536"/>
              <a:gd name="connsiteX5" fmla="*/ 2140299 w 11851944"/>
              <a:gd name="connsiteY5" fmla="*/ 45562 h 2949536"/>
              <a:gd name="connsiteX6" fmla="*/ 4652387 w 11851944"/>
              <a:gd name="connsiteY6" fmla="*/ 65659 h 2949536"/>
              <a:gd name="connsiteX7" fmla="*/ 4692580 w 11851944"/>
              <a:gd name="connsiteY7" fmla="*/ 75708 h 2949536"/>
              <a:gd name="connsiteX8" fmla="*/ 6420897 w 11851944"/>
              <a:gd name="connsiteY8" fmla="*/ 95804 h 2949536"/>
              <a:gd name="connsiteX9" fmla="*/ 7184571 w 11851944"/>
              <a:gd name="connsiteY9" fmla="*/ 65659 h 2949536"/>
              <a:gd name="connsiteX10" fmla="*/ 7928150 w 11851944"/>
              <a:gd name="connsiteY10" fmla="*/ 65659 h 2949536"/>
              <a:gd name="connsiteX11" fmla="*/ 8219552 w 11851944"/>
              <a:gd name="connsiteY11" fmla="*/ 95804 h 2949536"/>
              <a:gd name="connsiteX12" fmla="*/ 9606224 w 11851944"/>
              <a:gd name="connsiteY12" fmla="*/ 95804 h 2949536"/>
              <a:gd name="connsiteX13" fmla="*/ 9947868 w 11851944"/>
              <a:gd name="connsiteY13" fmla="*/ 65659 h 2949536"/>
              <a:gd name="connsiteX14" fmla="*/ 10791930 w 11851944"/>
              <a:gd name="connsiteY14" fmla="*/ 35514 h 2949536"/>
              <a:gd name="connsiteX15" fmla="*/ 11736475 w 11851944"/>
              <a:gd name="connsiteY15" fmla="*/ 55611 h 2949536"/>
              <a:gd name="connsiteX16" fmla="*/ 11806813 w 11851944"/>
              <a:gd name="connsiteY16" fmla="*/ 769044 h 2949536"/>
              <a:gd name="connsiteX17" fmla="*/ 11816862 w 11851944"/>
              <a:gd name="connsiteY17" fmla="*/ 2336587 h 2949536"/>
              <a:gd name="connsiteX18" fmla="*/ 11806813 w 11851944"/>
              <a:gd name="connsiteY18" fmla="*/ 2828956 h 2949536"/>
              <a:gd name="connsiteX19" fmla="*/ 11033090 w 11851944"/>
              <a:gd name="connsiteY19" fmla="*/ 2859101 h 2949536"/>
              <a:gd name="connsiteX20" fmla="*/ 10128739 w 11851944"/>
              <a:gd name="connsiteY20" fmla="*/ 2859101 h 2949536"/>
              <a:gd name="connsiteX21" fmla="*/ 9555982 w 11851944"/>
              <a:gd name="connsiteY21" fmla="*/ 2859101 h 2949536"/>
              <a:gd name="connsiteX22" fmla="*/ 9204290 w 11851944"/>
              <a:gd name="connsiteY22" fmla="*/ 2808859 h 2949536"/>
              <a:gd name="connsiteX23" fmla="*/ 7486022 w 11851944"/>
              <a:gd name="connsiteY23" fmla="*/ 2818908 h 2949536"/>
              <a:gd name="connsiteX24" fmla="*/ 6863024 w 11851944"/>
              <a:gd name="connsiteY24" fmla="*/ 2839004 h 2949536"/>
              <a:gd name="connsiteX25" fmla="*/ 6722347 w 11851944"/>
              <a:gd name="connsiteY25" fmla="*/ 2828956 h 2949536"/>
              <a:gd name="connsiteX26" fmla="*/ 4903596 w 11851944"/>
              <a:gd name="connsiteY26" fmla="*/ 2879198 h 2949536"/>
              <a:gd name="connsiteX27" fmla="*/ 4059534 w 11851944"/>
              <a:gd name="connsiteY27" fmla="*/ 2859101 h 2949536"/>
              <a:gd name="connsiteX28" fmla="*/ 3064747 w 11851944"/>
              <a:gd name="connsiteY28" fmla="*/ 2839004 h 2949536"/>
              <a:gd name="connsiteX29" fmla="*/ 2009670 w 11851944"/>
              <a:gd name="connsiteY29" fmla="*/ 2849053 h 2949536"/>
              <a:gd name="connsiteX30" fmla="*/ 1135464 w 11851944"/>
              <a:gd name="connsiteY30" fmla="*/ 2949536 h 2949536"/>
              <a:gd name="connsiteX31" fmla="*/ 944545 w 11851944"/>
              <a:gd name="connsiteY31" fmla="*/ 2919391 h 2949536"/>
              <a:gd name="connsiteX32" fmla="*/ 723481 w 11851944"/>
              <a:gd name="connsiteY32" fmla="*/ 2879198 h 2949536"/>
              <a:gd name="connsiteX33" fmla="*/ 643095 w 11851944"/>
              <a:gd name="connsiteY33" fmla="*/ 2869149 h 2949536"/>
              <a:gd name="connsiteX34" fmla="*/ 371789 w 11851944"/>
              <a:gd name="connsiteY34" fmla="*/ 2828956 h 2949536"/>
              <a:gd name="connsiteX35" fmla="*/ 0 w 11851944"/>
              <a:gd name="connsiteY35" fmla="*/ 2818908 h 2949536"/>
              <a:gd name="connsiteX0" fmla="*/ 120580 w 11851944"/>
              <a:gd name="connsiteY0" fmla="*/ 55611 h 2949840"/>
              <a:gd name="connsiteX1" fmla="*/ 281354 w 11851944"/>
              <a:gd name="connsiteY1" fmla="*/ 45562 h 2949840"/>
              <a:gd name="connsiteX2" fmla="*/ 673240 w 11851944"/>
              <a:gd name="connsiteY2" fmla="*/ 35514 h 2949840"/>
              <a:gd name="connsiteX3" fmla="*/ 1356528 w 11851944"/>
              <a:gd name="connsiteY3" fmla="*/ 85756 h 2949840"/>
              <a:gd name="connsiteX4" fmla="*/ 1758462 w 11851944"/>
              <a:gd name="connsiteY4" fmla="*/ 45562 h 2949840"/>
              <a:gd name="connsiteX5" fmla="*/ 2140299 w 11851944"/>
              <a:gd name="connsiteY5" fmla="*/ 45562 h 2949840"/>
              <a:gd name="connsiteX6" fmla="*/ 4652387 w 11851944"/>
              <a:gd name="connsiteY6" fmla="*/ 65659 h 2949840"/>
              <a:gd name="connsiteX7" fmla="*/ 4692580 w 11851944"/>
              <a:gd name="connsiteY7" fmla="*/ 75708 h 2949840"/>
              <a:gd name="connsiteX8" fmla="*/ 6420897 w 11851944"/>
              <a:gd name="connsiteY8" fmla="*/ 95804 h 2949840"/>
              <a:gd name="connsiteX9" fmla="*/ 7184571 w 11851944"/>
              <a:gd name="connsiteY9" fmla="*/ 65659 h 2949840"/>
              <a:gd name="connsiteX10" fmla="*/ 7928150 w 11851944"/>
              <a:gd name="connsiteY10" fmla="*/ 65659 h 2949840"/>
              <a:gd name="connsiteX11" fmla="*/ 8219552 w 11851944"/>
              <a:gd name="connsiteY11" fmla="*/ 95804 h 2949840"/>
              <a:gd name="connsiteX12" fmla="*/ 9606224 w 11851944"/>
              <a:gd name="connsiteY12" fmla="*/ 95804 h 2949840"/>
              <a:gd name="connsiteX13" fmla="*/ 9947868 w 11851944"/>
              <a:gd name="connsiteY13" fmla="*/ 65659 h 2949840"/>
              <a:gd name="connsiteX14" fmla="*/ 10791930 w 11851944"/>
              <a:gd name="connsiteY14" fmla="*/ 35514 h 2949840"/>
              <a:gd name="connsiteX15" fmla="*/ 11736475 w 11851944"/>
              <a:gd name="connsiteY15" fmla="*/ 55611 h 2949840"/>
              <a:gd name="connsiteX16" fmla="*/ 11806813 w 11851944"/>
              <a:gd name="connsiteY16" fmla="*/ 769044 h 2949840"/>
              <a:gd name="connsiteX17" fmla="*/ 11816862 w 11851944"/>
              <a:gd name="connsiteY17" fmla="*/ 2336587 h 2949840"/>
              <a:gd name="connsiteX18" fmla="*/ 11806813 w 11851944"/>
              <a:gd name="connsiteY18" fmla="*/ 2828956 h 2949840"/>
              <a:gd name="connsiteX19" fmla="*/ 11033090 w 11851944"/>
              <a:gd name="connsiteY19" fmla="*/ 2859101 h 2949840"/>
              <a:gd name="connsiteX20" fmla="*/ 10128739 w 11851944"/>
              <a:gd name="connsiteY20" fmla="*/ 2859101 h 2949840"/>
              <a:gd name="connsiteX21" fmla="*/ 9555982 w 11851944"/>
              <a:gd name="connsiteY21" fmla="*/ 2859101 h 2949840"/>
              <a:gd name="connsiteX22" fmla="*/ 9204290 w 11851944"/>
              <a:gd name="connsiteY22" fmla="*/ 2808859 h 2949840"/>
              <a:gd name="connsiteX23" fmla="*/ 7486022 w 11851944"/>
              <a:gd name="connsiteY23" fmla="*/ 2818908 h 2949840"/>
              <a:gd name="connsiteX24" fmla="*/ 6863024 w 11851944"/>
              <a:gd name="connsiteY24" fmla="*/ 2839004 h 2949840"/>
              <a:gd name="connsiteX25" fmla="*/ 6722347 w 11851944"/>
              <a:gd name="connsiteY25" fmla="*/ 2828956 h 2949840"/>
              <a:gd name="connsiteX26" fmla="*/ 4903596 w 11851944"/>
              <a:gd name="connsiteY26" fmla="*/ 2879198 h 2949840"/>
              <a:gd name="connsiteX27" fmla="*/ 4059534 w 11851944"/>
              <a:gd name="connsiteY27" fmla="*/ 2859101 h 2949840"/>
              <a:gd name="connsiteX28" fmla="*/ 3064747 w 11851944"/>
              <a:gd name="connsiteY28" fmla="*/ 2839004 h 2949840"/>
              <a:gd name="connsiteX29" fmla="*/ 2009670 w 11851944"/>
              <a:gd name="connsiteY29" fmla="*/ 2849053 h 2949840"/>
              <a:gd name="connsiteX30" fmla="*/ 1205803 w 11851944"/>
              <a:gd name="connsiteY30" fmla="*/ 2929437 h 2949840"/>
              <a:gd name="connsiteX31" fmla="*/ 1135464 w 11851944"/>
              <a:gd name="connsiteY31" fmla="*/ 2949536 h 2949840"/>
              <a:gd name="connsiteX32" fmla="*/ 944545 w 11851944"/>
              <a:gd name="connsiteY32" fmla="*/ 2919391 h 2949840"/>
              <a:gd name="connsiteX33" fmla="*/ 723481 w 11851944"/>
              <a:gd name="connsiteY33" fmla="*/ 2879198 h 2949840"/>
              <a:gd name="connsiteX34" fmla="*/ 643095 w 11851944"/>
              <a:gd name="connsiteY34" fmla="*/ 2869149 h 2949840"/>
              <a:gd name="connsiteX35" fmla="*/ 371789 w 11851944"/>
              <a:gd name="connsiteY35" fmla="*/ 2828956 h 2949840"/>
              <a:gd name="connsiteX36" fmla="*/ 0 w 11851944"/>
              <a:gd name="connsiteY36" fmla="*/ 2818908 h 2949840"/>
              <a:gd name="connsiteX0" fmla="*/ 120580 w 11851944"/>
              <a:gd name="connsiteY0" fmla="*/ 55611 h 2934038"/>
              <a:gd name="connsiteX1" fmla="*/ 281354 w 11851944"/>
              <a:gd name="connsiteY1" fmla="*/ 45562 h 2934038"/>
              <a:gd name="connsiteX2" fmla="*/ 673240 w 11851944"/>
              <a:gd name="connsiteY2" fmla="*/ 35514 h 2934038"/>
              <a:gd name="connsiteX3" fmla="*/ 1356528 w 11851944"/>
              <a:gd name="connsiteY3" fmla="*/ 85756 h 2934038"/>
              <a:gd name="connsiteX4" fmla="*/ 1758462 w 11851944"/>
              <a:gd name="connsiteY4" fmla="*/ 45562 h 2934038"/>
              <a:gd name="connsiteX5" fmla="*/ 2140299 w 11851944"/>
              <a:gd name="connsiteY5" fmla="*/ 45562 h 2934038"/>
              <a:gd name="connsiteX6" fmla="*/ 4652387 w 11851944"/>
              <a:gd name="connsiteY6" fmla="*/ 65659 h 2934038"/>
              <a:gd name="connsiteX7" fmla="*/ 4692580 w 11851944"/>
              <a:gd name="connsiteY7" fmla="*/ 75708 h 2934038"/>
              <a:gd name="connsiteX8" fmla="*/ 6420897 w 11851944"/>
              <a:gd name="connsiteY8" fmla="*/ 95804 h 2934038"/>
              <a:gd name="connsiteX9" fmla="*/ 7184571 w 11851944"/>
              <a:gd name="connsiteY9" fmla="*/ 65659 h 2934038"/>
              <a:gd name="connsiteX10" fmla="*/ 7928150 w 11851944"/>
              <a:gd name="connsiteY10" fmla="*/ 65659 h 2934038"/>
              <a:gd name="connsiteX11" fmla="*/ 8219552 w 11851944"/>
              <a:gd name="connsiteY11" fmla="*/ 95804 h 2934038"/>
              <a:gd name="connsiteX12" fmla="*/ 9606224 w 11851944"/>
              <a:gd name="connsiteY12" fmla="*/ 95804 h 2934038"/>
              <a:gd name="connsiteX13" fmla="*/ 9947868 w 11851944"/>
              <a:gd name="connsiteY13" fmla="*/ 65659 h 2934038"/>
              <a:gd name="connsiteX14" fmla="*/ 10791930 w 11851944"/>
              <a:gd name="connsiteY14" fmla="*/ 35514 h 2934038"/>
              <a:gd name="connsiteX15" fmla="*/ 11736475 w 11851944"/>
              <a:gd name="connsiteY15" fmla="*/ 55611 h 2934038"/>
              <a:gd name="connsiteX16" fmla="*/ 11806813 w 11851944"/>
              <a:gd name="connsiteY16" fmla="*/ 769044 h 2934038"/>
              <a:gd name="connsiteX17" fmla="*/ 11816862 w 11851944"/>
              <a:gd name="connsiteY17" fmla="*/ 2336587 h 2934038"/>
              <a:gd name="connsiteX18" fmla="*/ 11806813 w 11851944"/>
              <a:gd name="connsiteY18" fmla="*/ 2828956 h 2934038"/>
              <a:gd name="connsiteX19" fmla="*/ 11033090 w 11851944"/>
              <a:gd name="connsiteY19" fmla="*/ 2859101 h 2934038"/>
              <a:gd name="connsiteX20" fmla="*/ 10128739 w 11851944"/>
              <a:gd name="connsiteY20" fmla="*/ 2859101 h 2934038"/>
              <a:gd name="connsiteX21" fmla="*/ 9555982 w 11851944"/>
              <a:gd name="connsiteY21" fmla="*/ 2859101 h 2934038"/>
              <a:gd name="connsiteX22" fmla="*/ 9204290 w 11851944"/>
              <a:gd name="connsiteY22" fmla="*/ 2808859 h 2934038"/>
              <a:gd name="connsiteX23" fmla="*/ 7486022 w 11851944"/>
              <a:gd name="connsiteY23" fmla="*/ 2818908 h 2934038"/>
              <a:gd name="connsiteX24" fmla="*/ 6863024 w 11851944"/>
              <a:gd name="connsiteY24" fmla="*/ 2839004 h 2934038"/>
              <a:gd name="connsiteX25" fmla="*/ 6722347 w 11851944"/>
              <a:gd name="connsiteY25" fmla="*/ 2828956 h 2934038"/>
              <a:gd name="connsiteX26" fmla="*/ 4903596 w 11851944"/>
              <a:gd name="connsiteY26" fmla="*/ 2879198 h 2934038"/>
              <a:gd name="connsiteX27" fmla="*/ 4059534 w 11851944"/>
              <a:gd name="connsiteY27" fmla="*/ 2859101 h 2934038"/>
              <a:gd name="connsiteX28" fmla="*/ 3064747 w 11851944"/>
              <a:gd name="connsiteY28" fmla="*/ 2839004 h 2934038"/>
              <a:gd name="connsiteX29" fmla="*/ 2009670 w 11851944"/>
              <a:gd name="connsiteY29" fmla="*/ 2849053 h 2934038"/>
              <a:gd name="connsiteX30" fmla="*/ 1205803 w 11851944"/>
              <a:gd name="connsiteY30" fmla="*/ 2929437 h 2934038"/>
              <a:gd name="connsiteX31" fmla="*/ 944545 w 11851944"/>
              <a:gd name="connsiteY31" fmla="*/ 2919391 h 2934038"/>
              <a:gd name="connsiteX32" fmla="*/ 723481 w 11851944"/>
              <a:gd name="connsiteY32" fmla="*/ 2879198 h 2934038"/>
              <a:gd name="connsiteX33" fmla="*/ 643095 w 11851944"/>
              <a:gd name="connsiteY33" fmla="*/ 2869149 h 2934038"/>
              <a:gd name="connsiteX34" fmla="*/ 371789 w 11851944"/>
              <a:gd name="connsiteY34" fmla="*/ 2828956 h 2934038"/>
              <a:gd name="connsiteX35" fmla="*/ 0 w 11851944"/>
              <a:gd name="connsiteY35" fmla="*/ 2818908 h 2934038"/>
              <a:gd name="connsiteX0" fmla="*/ 120580 w 11851944"/>
              <a:gd name="connsiteY0" fmla="*/ 55611 h 2919923"/>
              <a:gd name="connsiteX1" fmla="*/ 281354 w 11851944"/>
              <a:gd name="connsiteY1" fmla="*/ 45562 h 2919923"/>
              <a:gd name="connsiteX2" fmla="*/ 673240 w 11851944"/>
              <a:gd name="connsiteY2" fmla="*/ 35514 h 2919923"/>
              <a:gd name="connsiteX3" fmla="*/ 1356528 w 11851944"/>
              <a:gd name="connsiteY3" fmla="*/ 85756 h 2919923"/>
              <a:gd name="connsiteX4" fmla="*/ 1758462 w 11851944"/>
              <a:gd name="connsiteY4" fmla="*/ 45562 h 2919923"/>
              <a:gd name="connsiteX5" fmla="*/ 2140299 w 11851944"/>
              <a:gd name="connsiteY5" fmla="*/ 45562 h 2919923"/>
              <a:gd name="connsiteX6" fmla="*/ 4652387 w 11851944"/>
              <a:gd name="connsiteY6" fmla="*/ 65659 h 2919923"/>
              <a:gd name="connsiteX7" fmla="*/ 4692580 w 11851944"/>
              <a:gd name="connsiteY7" fmla="*/ 75708 h 2919923"/>
              <a:gd name="connsiteX8" fmla="*/ 6420897 w 11851944"/>
              <a:gd name="connsiteY8" fmla="*/ 95804 h 2919923"/>
              <a:gd name="connsiteX9" fmla="*/ 7184571 w 11851944"/>
              <a:gd name="connsiteY9" fmla="*/ 65659 h 2919923"/>
              <a:gd name="connsiteX10" fmla="*/ 7928150 w 11851944"/>
              <a:gd name="connsiteY10" fmla="*/ 65659 h 2919923"/>
              <a:gd name="connsiteX11" fmla="*/ 8219552 w 11851944"/>
              <a:gd name="connsiteY11" fmla="*/ 95804 h 2919923"/>
              <a:gd name="connsiteX12" fmla="*/ 9606224 w 11851944"/>
              <a:gd name="connsiteY12" fmla="*/ 95804 h 2919923"/>
              <a:gd name="connsiteX13" fmla="*/ 9947868 w 11851944"/>
              <a:gd name="connsiteY13" fmla="*/ 65659 h 2919923"/>
              <a:gd name="connsiteX14" fmla="*/ 10791930 w 11851944"/>
              <a:gd name="connsiteY14" fmla="*/ 35514 h 2919923"/>
              <a:gd name="connsiteX15" fmla="*/ 11736475 w 11851944"/>
              <a:gd name="connsiteY15" fmla="*/ 55611 h 2919923"/>
              <a:gd name="connsiteX16" fmla="*/ 11806813 w 11851944"/>
              <a:gd name="connsiteY16" fmla="*/ 769044 h 2919923"/>
              <a:gd name="connsiteX17" fmla="*/ 11816862 w 11851944"/>
              <a:gd name="connsiteY17" fmla="*/ 2336587 h 2919923"/>
              <a:gd name="connsiteX18" fmla="*/ 11806813 w 11851944"/>
              <a:gd name="connsiteY18" fmla="*/ 2828956 h 2919923"/>
              <a:gd name="connsiteX19" fmla="*/ 11033090 w 11851944"/>
              <a:gd name="connsiteY19" fmla="*/ 2859101 h 2919923"/>
              <a:gd name="connsiteX20" fmla="*/ 10128739 w 11851944"/>
              <a:gd name="connsiteY20" fmla="*/ 2859101 h 2919923"/>
              <a:gd name="connsiteX21" fmla="*/ 9555982 w 11851944"/>
              <a:gd name="connsiteY21" fmla="*/ 2859101 h 2919923"/>
              <a:gd name="connsiteX22" fmla="*/ 9204290 w 11851944"/>
              <a:gd name="connsiteY22" fmla="*/ 2808859 h 2919923"/>
              <a:gd name="connsiteX23" fmla="*/ 7486022 w 11851944"/>
              <a:gd name="connsiteY23" fmla="*/ 2818908 h 2919923"/>
              <a:gd name="connsiteX24" fmla="*/ 6863024 w 11851944"/>
              <a:gd name="connsiteY24" fmla="*/ 2839004 h 2919923"/>
              <a:gd name="connsiteX25" fmla="*/ 6722347 w 11851944"/>
              <a:gd name="connsiteY25" fmla="*/ 2828956 h 2919923"/>
              <a:gd name="connsiteX26" fmla="*/ 4903596 w 11851944"/>
              <a:gd name="connsiteY26" fmla="*/ 2879198 h 2919923"/>
              <a:gd name="connsiteX27" fmla="*/ 4059534 w 11851944"/>
              <a:gd name="connsiteY27" fmla="*/ 2859101 h 2919923"/>
              <a:gd name="connsiteX28" fmla="*/ 3064747 w 11851944"/>
              <a:gd name="connsiteY28" fmla="*/ 2839004 h 2919923"/>
              <a:gd name="connsiteX29" fmla="*/ 2009670 w 11851944"/>
              <a:gd name="connsiteY29" fmla="*/ 2849053 h 2919923"/>
              <a:gd name="connsiteX30" fmla="*/ 944545 w 11851944"/>
              <a:gd name="connsiteY30" fmla="*/ 2919391 h 2919923"/>
              <a:gd name="connsiteX31" fmla="*/ 723481 w 11851944"/>
              <a:gd name="connsiteY31" fmla="*/ 2879198 h 2919923"/>
              <a:gd name="connsiteX32" fmla="*/ 643095 w 11851944"/>
              <a:gd name="connsiteY32" fmla="*/ 2869149 h 2919923"/>
              <a:gd name="connsiteX33" fmla="*/ 371789 w 11851944"/>
              <a:gd name="connsiteY33" fmla="*/ 2828956 h 2919923"/>
              <a:gd name="connsiteX34" fmla="*/ 0 w 11851944"/>
              <a:gd name="connsiteY34" fmla="*/ 2818908 h 2919923"/>
              <a:gd name="connsiteX0" fmla="*/ 120580 w 11851944"/>
              <a:gd name="connsiteY0" fmla="*/ 55611 h 2890922"/>
              <a:gd name="connsiteX1" fmla="*/ 281354 w 11851944"/>
              <a:gd name="connsiteY1" fmla="*/ 45562 h 2890922"/>
              <a:gd name="connsiteX2" fmla="*/ 673240 w 11851944"/>
              <a:gd name="connsiteY2" fmla="*/ 35514 h 2890922"/>
              <a:gd name="connsiteX3" fmla="*/ 1356528 w 11851944"/>
              <a:gd name="connsiteY3" fmla="*/ 85756 h 2890922"/>
              <a:gd name="connsiteX4" fmla="*/ 1758462 w 11851944"/>
              <a:gd name="connsiteY4" fmla="*/ 45562 h 2890922"/>
              <a:gd name="connsiteX5" fmla="*/ 2140299 w 11851944"/>
              <a:gd name="connsiteY5" fmla="*/ 45562 h 2890922"/>
              <a:gd name="connsiteX6" fmla="*/ 4652387 w 11851944"/>
              <a:gd name="connsiteY6" fmla="*/ 65659 h 2890922"/>
              <a:gd name="connsiteX7" fmla="*/ 4692580 w 11851944"/>
              <a:gd name="connsiteY7" fmla="*/ 75708 h 2890922"/>
              <a:gd name="connsiteX8" fmla="*/ 6420897 w 11851944"/>
              <a:gd name="connsiteY8" fmla="*/ 95804 h 2890922"/>
              <a:gd name="connsiteX9" fmla="*/ 7184571 w 11851944"/>
              <a:gd name="connsiteY9" fmla="*/ 65659 h 2890922"/>
              <a:gd name="connsiteX10" fmla="*/ 7928150 w 11851944"/>
              <a:gd name="connsiteY10" fmla="*/ 65659 h 2890922"/>
              <a:gd name="connsiteX11" fmla="*/ 8219552 w 11851944"/>
              <a:gd name="connsiteY11" fmla="*/ 95804 h 2890922"/>
              <a:gd name="connsiteX12" fmla="*/ 9606224 w 11851944"/>
              <a:gd name="connsiteY12" fmla="*/ 95804 h 2890922"/>
              <a:gd name="connsiteX13" fmla="*/ 9947868 w 11851944"/>
              <a:gd name="connsiteY13" fmla="*/ 65659 h 2890922"/>
              <a:gd name="connsiteX14" fmla="*/ 10791930 w 11851944"/>
              <a:gd name="connsiteY14" fmla="*/ 35514 h 2890922"/>
              <a:gd name="connsiteX15" fmla="*/ 11736475 w 11851944"/>
              <a:gd name="connsiteY15" fmla="*/ 55611 h 2890922"/>
              <a:gd name="connsiteX16" fmla="*/ 11806813 w 11851944"/>
              <a:gd name="connsiteY16" fmla="*/ 769044 h 2890922"/>
              <a:gd name="connsiteX17" fmla="*/ 11816862 w 11851944"/>
              <a:gd name="connsiteY17" fmla="*/ 2336587 h 2890922"/>
              <a:gd name="connsiteX18" fmla="*/ 11806813 w 11851944"/>
              <a:gd name="connsiteY18" fmla="*/ 2828956 h 2890922"/>
              <a:gd name="connsiteX19" fmla="*/ 11033090 w 11851944"/>
              <a:gd name="connsiteY19" fmla="*/ 2859101 h 2890922"/>
              <a:gd name="connsiteX20" fmla="*/ 10128739 w 11851944"/>
              <a:gd name="connsiteY20" fmla="*/ 2859101 h 2890922"/>
              <a:gd name="connsiteX21" fmla="*/ 9555982 w 11851944"/>
              <a:gd name="connsiteY21" fmla="*/ 2859101 h 2890922"/>
              <a:gd name="connsiteX22" fmla="*/ 9204290 w 11851944"/>
              <a:gd name="connsiteY22" fmla="*/ 2808859 h 2890922"/>
              <a:gd name="connsiteX23" fmla="*/ 7486022 w 11851944"/>
              <a:gd name="connsiteY23" fmla="*/ 2818908 h 2890922"/>
              <a:gd name="connsiteX24" fmla="*/ 6863024 w 11851944"/>
              <a:gd name="connsiteY24" fmla="*/ 2839004 h 2890922"/>
              <a:gd name="connsiteX25" fmla="*/ 6722347 w 11851944"/>
              <a:gd name="connsiteY25" fmla="*/ 2828956 h 2890922"/>
              <a:gd name="connsiteX26" fmla="*/ 4903596 w 11851944"/>
              <a:gd name="connsiteY26" fmla="*/ 2879198 h 2890922"/>
              <a:gd name="connsiteX27" fmla="*/ 4059534 w 11851944"/>
              <a:gd name="connsiteY27" fmla="*/ 2859101 h 2890922"/>
              <a:gd name="connsiteX28" fmla="*/ 3064747 w 11851944"/>
              <a:gd name="connsiteY28" fmla="*/ 2839004 h 2890922"/>
              <a:gd name="connsiteX29" fmla="*/ 2009670 w 11851944"/>
              <a:gd name="connsiteY29" fmla="*/ 2849053 h 2890922"/>
              <a:gd name="connsiteX30" fmla="*/ 723481 w 11851944"/>
              <a:gd name="connsiteY30" fmla="*/ 2879198 h 2890922"/>
              <a:gd name="connsiteX31" fmla="*/ 643095 w 11851944"/>
              <a:gd name="connsiteY31" fmla="*/ 2869149 h 2890922"/>
              <a:gd name="connsiteX32" fmla="*/ 371789 w 11851944"/>
              <a:gd name="connsiteY32" fmla="*/ 2828956 h 2890922"/>
              <a:gd name="connsiteX33" fmla="*/ 0 w 11851944"/>
              <a:gd name="connsiteY33" fmla="*/ 2818908 h 2890922"/>
              <a:gd name="connsiteX0" fmla="*/ 120580 w 11851944"/>
              <a:gd name="connsiteY0" fmla="*/ 55611 h 2890922"/>
              <a:gd name="connsiteX1" fmla="*/ 281354 w 11851944"/>
              <a:gd name="connsiteY1" fmla="*/ 45562 h 2890922"/>
              <a:gd name="connsiteX2" fmla="*/ 673240 w 11851944"/>
              <a:gd name="connsiteY2" fmla="*/ 35514 h 2890922"/>
              <a:gd name="connsiteX3" fmla="*/ 1356528 w 11851944"/>
              <a:gd name="connsiteY3" fmla="*/ 85756 h 2890922"/>
              <a:gd name="connsiteX4" fmla="*/ 1758462 w 11851944"/>
              <a:gd name="connsiteY4" fmla="*/ 45562 h 2890922"/>
              <a:gd name="connsiteX5" fmla="*/ 2140299 w 11851944"/>
              <a:gd name="connsiteY5" fmla="*/ 45562 h 2890922"/>
              <a:gd name="connsiteX6" fmla="*/ 4652387 w 11851944"/>
              <a:gd name="connsiteY6" fmla="*/ 65659 h 2890922"/>
              <a:gd name="connsiteX7" fmla="*/ 4692580 w 11851944"/>
              <a:gd name="connsiteY7" fmla="*/ 75708 h 2890922"/>
              <a:gd name="connsiteX8" fmla="*/ 6420897 w 11851944"/>
              <a:gd name="connsiteY8" fmla="*/ 95804 h 2890922"/>
              <a:gd name="connsiteX9" fmla="*/ 7184571 w 11851944"/>
              <a:gd name="connsiteY9" fmla="*/ 65659 h 2890922"/>
              <a:gd name="connsiteX10" fmla="*/ 7928150 w 11851944"/>
              <a:gd name="connsiteY10" fmla="*/ 65659 h 2890922"/>
              <a:gd name="connsiteX11" fmla="*/ 8219552 w 11851944"/>
              <a:gd name="connsiteY11" fmla="*/ 95804 h 2890922"/>
              <a:gd name="connsiteX12" fmla="*/ 9606224 w 11851944"/>
              <a:gd name="connsiteY12" fmla="*/ 95804 h 2890922"/>
              <a:gd name="connsiteX13" fmla="*/ 9947868 w 11851944"/>
              <a:gd name="connsiteY13" fmla="*/ 65659 h 2890922"/>
              <a:gd name="connsiteX14" fmla="*/ 10791930 w 11851944"/>
              <a:gd name="connsiteY14" fmla="*/ 35514 h 2890922"/>
              <a:gd name="connsiteX15" fmla="*/ 11736475 w 11851944"/>
              <a:gd name="connsiteY15" fmla="*/ 55611 h 2890922"/>
              <a:gd name="connsiteX16" fmla="*/ 11806813 w 11851944"/>
              <a:gd name="connsiteY16" fmla="*/ 769044 h 2890922"/>
              <a:gd name="connsiteX17" fmla="*/ 11816862 w 11851944"/>
              <a:gd name="connsiteY17" fmla="*/ 2336587 h 2890922"/>
              <a:gd name="connsiteX18" fmla="*/ 11806813 w 11851944"/>
              <a:gd name="connsiteY18" fmla="*/ 2828956 h 2890922"/>
              <a:gd name="connsiteX19" fmla="*/ 11033090 w 11851944"/>
              <a:gd name="connsiteY19" fmla="*/ 2859101 h 2890922"/>
              <a:gd name="connsiteX20" fmla="*/ 10128739 w 11851944"/>
              <a:gd name="connsiteY20" fmla="*/ 2859101 h 2890922"/>
              <a:gd name="connsiteX21" fmla="*/ 9555982 w 11851944"/>
              <a:gd name="connsiteY21" fmla="*/ 2859101 h 2890922"/>
              <a:gd name="connsiteX22" fmla="*/ 9204290 w 11851944"/>
              <a:gd name="connsiteY22" fmla="*/ 2808859 h 2890922"/>
              <a:gd name="connsiteX23" fmla="*/ 7486022 w 11851944"/>
              <a:gd name="connsiteY23" fmla="*/ 2818908 h 2890922"/>
              <a:gd name="connsiteX24" fmla="*/ 6863024 w 11851944"/>
              <a:gd name="connsiteY24" fmla="*/ 2839004 h 2890922"/>
              <a:gd name="connsiteX25" fmla="*/ 6722347 w 11851944"/>
              <a:gd name="connsiteY25" fmla="*/ 2828956 h 2890922"/>
              <a:gd name="connsiteX26" fmla="*/ 4903596 w 11851944"/>
              <a:gd name="connsiteY26" fmla="*/ 2879198 h 2890922"/>
              <a:gd name="connsiteX27" fmla="*/ 4059534 w 11851944"/>
              <a:gd name="connsiteY27" fmla="*/ 2859101 h 2890922"/>
              <a:gd name="connsiteX28" fmla="*/ 3064747 w 11851944"/>
              <a:gd name="connsiteY28" fmla="*/ 2839004 h 2890922"/>
              <a:gd name="connsiteX29" fmla="*/ 2009670 w 11851944"/>
              <a:gd name="connsiteY29" fmla="*/ 2849053 h 2890922"/>
              <a:gd name="connsiteX30" fmla="*/ 643095 w 11851944"/>
              <a:gd name="connsiteY30" fmla="*/ 2869149 h 2890922"/>
              <a:gd name="connsiteX31" fmla="*/ 371789 w 11851944"/>
              <a:gd name="connsiteY31" fmla="*/ 2828956 h 2890922"/>
              <a:gd name="connsiteX32" fmla="*/ 0 w 11851944"/>
              <a:gd name="connsiteY32" fmla="*/ 2818908 h 2890922"/>
              <a:gd name="connsiteX0" fmla="*/ 0 w 11731364"/>
              <a:gd name="connsiteY0" fmla="*/ 55611 h 2890922"/>
              <a:gd name="connsiteX1" fmla="*/ 160774 w 11731364"/>
              <a:gd name="connsiteY1" fmla="*/ 45562 h 2890922"/>
              <a:gd name="connsiteX2" fmla="*/ 552660 w 11731364"/>
              <a:gd name="connsiteY2" fmla="*/ 35514 h 2890922"/>
              <a:gd name="connsiteX3" fmla="*/ 1235948 w 11731364"/>
              <a:gd name="connsiteY3" fmla="*/ 85756 h 2890922"/>
              <a:gd name="connsiteX4" fmla="*/ 1637882 w 11731364"/>
              <a:gd name="connsiteY4" fmla="*/ 45562 h 2890922"/>
              <a:gd name="connsiteX5" fmla="*/ 2019719 w 11731364"/>
              <a:gd name="connsiteY5" fmla="*/ 45562 h 2890922"/>
              <a:gd name="connsiteX6" fmla="*/ 4531807 w 11731364"/>
              <a:gd name="connsiteY6" fmla="*/ 65659 h 2890922"/>
              <a:gd name="connsiteX7" fmla="*/ 4572000 w 11731364"/>
              <a:gd name="connsiteY7" fmla="*/ 75708 h 2890922"/>
              <a:gd name="connsiteX8" fmla="*/ 6300317 w 11731364"/>
              <a:gd name="connsiteY8" fmla="*/ 95804 h 2890922"/>
              <a:gd name="connsiteX9" fmla="*/ 7063991 w 11731364"/>
              <a:gd name="connsiteY9" fmla="*/ 65659 h 2890922"/>
              <a:gd name="connsiteX10" fmla="*/ 7807570 w 11731364"/>
              <a:gd name="connsiteY10" fmla="*/ 65659 h 2890922"/>
              <a:gd name="connsiteX11" fmla="*/ 8098972 w 11731364"/>
              <a:gd name="connsiteY11" fmla="*/ 95804 h 2890922"/>
              <a:gd name="connsiteX12" fmla="*/ 9485644 w 11731364"/>
              <a:gd name="connsiteY12" fmla="*/ 95804 h 2890922"/>
              <a:gd name="connsiteX13" fmla="*/ 9827288 w 11731364"/>
              <a:gd name="connsiteY13" fmla="*/ 65659 h 2890922"/>
              <a:gd name="connsiteX14" fmla="*/ 10671350 w 11731364"/>
              <a:gd name="connsiteY14" fmla="*/ 35514 h 2890922"/>
              <a:gd name="connsiteX15" fmla="*/ 11615895 w 11731364"/>
              <a:gd name="connsiteY15" fmla="*/ 55611 h 2890922"/>
              <a:gd name="connsiteX16" fmla="*/ 11686233 w 11731364"/>
              <a:gd name="connsiteY16" fmla="*/ 769044 h 2890922"/>
              <a:gd name="connsiteX17" fmla="*/ 11696282 w 11731364"/>
              <a:gd name="connsiteY17" fmla="*/ 2336587 h 2890922"/>
              <a:gd name="connsiteX18" fmla="*/ 11686233 w 11731364"/>
              <a:gd name="connsiteY18" fmla="*/ 2828956 h 2890922"/>
              <a:gd name="connsiteX19" fmla="*/ 10912510 w 11731364"/>
              <a:gd name="connsiteY19" fmla="*/ 2859101 h 2890922"/>
              <a:gd name="connsiteX20" fmla="*/ 10008159 w 11731364"/>
              <a:gd name="connsiteY20" fmla="*/ 2859101 h 2890922"/>
              <a:gd name="connsiteX21" fmla="*/ 9435402 w 11731364"/>
              <a:gd name="connsiteY21" fmla="*/ 2859101 h 2890922"/>
              <a:gd name="connsiteX22" fmla="*/ 9083710 w 11731364"/>
              <a:gd name="connsiteY22" fmla="*/ 2808859 h 2890922"/>
              <a:gd name="connsiteX23" fmla="*/ 7365442 w 11731364"/>
              <a:gd name="connsiteY23" fmla="*/ 2818908 h 2890922"/>
              <a:gd name="connsiteX24" fmla="*/ 6742444 w 11731364"/>
              <a:gd name="connsiteY24" fmla="*/ 2839004 h 2890922"/>
              <a:gd name="connsiteX25" fmla="*/ 6601767 w 11731364"/>
              <a:gd name="connsiteY25" fmla="*/ 2828956 h 2890922"/>
              <a:gd name="connsiteX26" fmla="*/ 4783016 w 11731364"/>
              <a:gd name="connsiteY26" fmla="*/ 2879198 h 2890922"/>
              <a:gd name="connsiteX27" fmla="*/ 3938954 w 11731364"/>
              <a:gd name="connsiteY27" fmla="*/ 2859101 h 2890922"/>
              <a:gd name="connsiteX28" fmla="*/ 2944167 w 11731364"/>
              <a:gd name="connsiteY28" fmla="*/ 2839004 h 2890922"/>
              <a:gd name="connsiteX29" fmla="*/ 1889090 w 11731364"/>
              <a:gd name="connsiteY29" fmla="*/ 2849053 h 2890922"/>
              <a:gd name="connsiteX30" fmla="*/ 522515 w 11731364"/>
              <a:gd name="connsiteY30" fmla="*/ 2869149 h 2890922"/>
              <a:gd name="connsiteX31" fmla="*/ 251209 w 11731364"/>
              <a:gd name="connsiteY31" fmla="*/ 2828956 h 2890922"/>
              <a:gd name="connsiteX32" fmla="*/ 10048 w 11731364"/>
              <a:gd name="connsiteY32" fmla="*/ 2839005 h 2890922"/>
              <a:gd name="connsiteX0" fmla="*/ 0 w 11731364"/>
              <a:gd name="connsiteY0" fmla="*/ 55611 h 2890922"/>
              <a:gd name="connsiteX1" fmla="*/ 160774 w 11731364"/>
              <a:gd name="connsiteY1" fmla="*/ 45562 h 2890922"/>
              <a:gd name="connsiteX2" fmla="*/ 552660 w 11731364"/>
              <a:gd name="connsiteY2" fmla="*/ 35514 h 2890922"/>
              <a:gd name="connsiteX3" fmla="*/ 1235948 w 11731364"/>
              <a:gd name="connsiteY3" fmla="*/ 85756 h 2890922"/>
              <a:gd name="connsiteX4" fmla="*/ 1637882 w 11731364"/>
              <a:gd name="connsiteY4" fmla="*/ 45562 h 2890922"/>
              <a:gd name="connsiteX5" fmla="*/ 2019719 w 11731364"/>
              <a:gd name="connsiteY5" fmla="*/ 45562 h 2890922"/>
              <a:gd name="connsiteX6" fmla="*/ 4531807 w 11731364"/>
              <a:gd name="connsiteY6" fmla="*/ 65659 h 2890922"/>
              <a:gd name="connsiteX7" fmla="*/ 4572000 w 11731364"/>
              <a:gd name="connsiteY7" fmla="*/ 75708 h 2890922"/>
              <a:gd name="connsiteX8" fmla="*/ 6300317 w 11731364"/>
              <a:gd name="connsiteY8" fmla="*/ 95804 h 2890922"/>
              <a:gd name="connsiteX9" fmla="*/ 7063991 w 11731364"/>
              <a:gd name="connsiteY9" fmla="*/ 65659 h 2890922"/>
              <a:gd name="connsiteX10" fmla="*/ 7807570 w 11731364"/>
              <a:gd name="connsiteY10" fmla="*/ 65659 h 2890922"/>
              <a:gd name="connsiteX11" fmla="*/ 8098972 w 11731364"/>
              <a:gd name="connsiteY11" fmla="*/ 95804 h 2890922"/>
              <a:gd name="connsiteX12" fmla="*/ 9485644 w 11731364"/>
              <a:gd name="connsiteY12" fmla="*/ 95804 h 2890922"/>
              <a:gd name="connsiteX13" fmla="*/ 9827288 w 11731364"/>
              <a:gd name="connsiteY13" fmla="*/ 65659 h 2890922"/>
              <a:gd name="connsiteX14" fmla="*/ 10671350 w 11731364"/>
              <a:gd name="connsiteY14" fmla="*/ 35514 h 2890922"/>
              <a:gd name="connsiteX15" fmla="*/ 11615895 w 11731364"/>
              <a:gd name="connsiteY15" fmla="*/ 55611 h 2890922"/>
              <a:gd name="connsiteX16" fmla="*/ 11686233 w 11731364"/>
              <a:gd name="connsiteY16" fmla="*/ 769044 h 2890922"/>
              <a:gd name="connsiteX17" fmla="*/ 11696282 w 11731364"/>
              <a:gd name="connsiteY17" fmla="*/ 2336587 h 2890922"/>
              <a:gd name="connsiteX18" fmla="*/ 11686233 w 11731364"/>
              <a:gd name="connsiteY18" fmla="*/ 2828956 h 2890922"/>
              <a:gd name="connsiteX19" fmla="*/ 10912510 w 11731364"/>
              <a:gd name="connsiteY19" fmla="*/ 2859101 h 2890922"/>
              <a:gd name="connsiteX20" fmla="*/ 10008159 w 11731364"/>
              <a:gd name="connsiteY20" fmla="*/ 2859101 h 2890922"/>
              <a:gd name="connsiteX21" fmla="*/ 9435402 w 11731364"/>
              <a:gd name="connsiteY21" fmla="*/ 2859101 h 2890922"/>
              <a:gd name="connsiteX22" fmla="*/ 7365442 w 11731364"/>
              <a:gd name="connsiteY22" fmla="*/ 2818908 h 2890922"/>
              <a:gd name="connsiteX23" fmla="*/ 6742444 w 11731364"/>
              <a:gd name="connsiteY23" fmla="*/ 2839004 h 2890922"/>
              <a:gd name="connsiteX24" fmla="*/ 6601767 w 11731364"/>
              <a:gd name="connsiteY24" fmla="*/ 2828956 h 2890922"/>
              <a:gd name="connsiteX25" fmla="*/ 4783016 w 11731364"/>
              <a:gd name="connsiteY25" fmla="*/ 2879198 h 2890922"/>
              <a:gd name="connsiteX26" fmla="*/ 3938954 w 11731364"/>
              <a:gd name="connsiteY26" fmla="*/ 2859101 h 2890922"/>
              <a:gd name="connsiteX27" fmla="*/ 2944167 w 11731364"/>
              <a:gd name="connsiteY27" fmla="*/ 2839004 h 2890922"/>
              <a:gd name="connsiteX28" fmla="*/ 1889090 w 11731364"/>
              <a:gd name="connsiteY28" fmla="*/ 2849053 h 2890922"/>
              <a:gd name="connsiteX29" fmla="*/ 522515 w 11731364"/>
              <a:gd name="connsiteY29" fmla="*/ 2869149 h 2890922"/>
              <a:gd name="connsiteX30" fmla="*/ 251209 w 11731364"/>
              <a:gd name="connsiteY30" fmla="*/ 2828956 h 2890922"/>
              <a:gd name="connsiteX31" fmla="*/ 10048 w 11731364"/>
              <a:gd name="connsiteY31" fmla="*/ 2839005 h 2890922"/>
              <a:gd name="connsiteX0" fmla="*/ 0 w 11731364"/>
              <a:gd name="connsiteY0" fmla="*/ 55611 h 2890922"/>
              <a:gd name="connsiteX1" fmla="*/ 160774 w 11731364"/>
              <a:gd name="connsiteY1" fmla="*/ 45562 h 2890922"/>
              <a:gd name="connsiteX2" fmla="*/ 552660 w 11731364"/>
              <a:gd name="connsiteY2" fmla="*/ 35514 h 2890922"/>
              <a:gd name="connsiteX3" fmla="*/ 1235948 w 11731364"/>
              <a:gd name="connsiteY3" fmla="*/ 85756 h 2890922"/>
              <a:gd name="connsiteX4" fmla="*/ 1637882 w 11731364"/>
              <a:gd name="connsiteY4" fmla="*/ 45562 h 2890922"/>
              <a:gd name="connsiteX5" fmla="*/ 2019719 w 11731364"/>
              <a:gd name="connsiteY5" fmla="*/ 45562 h 2890922"/>
              <a:gd name="connsiteX6" fmla="*/ 4531807 w 11731364"/>
              <a:gd name="connsiteY6" fmla="*/ 65659 h 2890922"/>
              <a:gd name="connsiteX7" fmla="*/ 4572000 w 11731364"/>
              <a:gd name="connsiteY7" fmla="*/ 75708 h 2890922"/>
              <a:gd name="connsiteX8" fmla="*/ 6300317 w 11731364"/>
              <a:gd name="connsiteY8" fmla="*/ 95804 h 2890922"/>
              <a:gd name="connsiteX9" fmla="*/ 7063991 w 11731364"/>
              <a:gd name="connsiteY9" fmla="*/ 65659 h 2890922"/>
              <a:gd name="connsiteX10" fmla="*/ 7807570 w 11731364"/>
              <a:gd name="connsiteY10" fmla="*/ 65659 h 2890922"/>
              <a:gd name="connsiteX11" fmla="*/ 8098972 w 11731364"/>
              <a:gd name="connsiteY11" fmla="*/ 95804 h 2890922"/>
              <a:gd name="connsiteX12" fmla="*/ 9485644 w 11731364"/>
              <a:gd name="connsiteY12" fmla="*/ 95804 h 2890922"/>
              <a:gd name="connsiteX13" fmla="*/ 9827288 w 11731364"/>
              <a:gd name="connsiteY13" fmla="*/ 65659 h 2890922"/>
              <a:gd name="connsiteX14" fmla="*/ 10671350 w 11731364"/>
              <a:gd name="connsiteY14" fmla="*/ 35514 h 2890922"/>
              <a:gd name="connsiteX15" fmla="*/ 11615895 w 11731364"/>
              <a:gd name="connsiteY15" fmla="*/ 55611 h 2890922"/>
              <a:gd name="connsiteX16" fmla="*/ 11686233 w 11731364"/>
              <a:gd name="connsiteY16" fmla="*/ 769044 h 2890922"/>
              <a:gd name="connsiteX17" fmla="*/ 11696282 w 11731364"/>
              <a:gd name="connsiteY17" fmla="*/ 2336587 h 2890922"/>
              <a:gd name="connsiteX18" fmla="*/ 11686233 w 11731364"/>
              <a:gd name="connsiteY18" fmla="*/ 2828956 h 2890922"/>
              <a:gd name="connsiteX19" fmla="*/ 10912510 w 11731364"/>
              <a:gd name="connsiteY19" fmla="*/ 2859101 h 2890922"/>
              <a:gd name="connsiteX20" fmla="*/ 10008159 w 11731364"/>
              <a:gd name="connsiteY20" fmla="*/ 2859101 h 2890922"/>
              <a:gd name="connsiteX21" fmla="*/ 9435402 w 11731364"/>
              <a:gd name="connsiteY21" fmla="*/ 2859101 h 2890922"/>
              <a:gd name="connsiteX22" fmla="*/ 7365442 w 11731364"/>
              <a:gd name="connsiteY22" fmla="*/ 2818908 h 2890922"/>
              <a:gd name="connsiteX23" fmla="*/ 6742444 w 11731364"/>
              <a:gd name="connsiteY23" fmla="*/ 2839004 h 2890922"/>
              <a:gd name="connsiteX24" fmla="*/ 6601767 w 11731364"/>
              <a:gd name="connsiteY24" fmla="*/ 2828956 h 2890922"/>
              <a:gd name="connsiteX25" fmla="*/ 4783016 w 11731364"/>
              <a:gd name="connsiteY25" fmla="*/ 2879198 h 2890922"/>
              <a:gd name="connsiteX26" fmla="*/ 3938954 w 11731364"/>
              <a:gd name="connsiteY26" fmla="*/ 2859101 h 2890922"/>
              <a:gd name="connsiteX27" fmla="*/ 2944167 w 11731364"/>
              <a:gd name="connsiteY27" fmla="*/ 2839004 h 2890922"/>
              <a:gd name="connsiteX28" fmla="*/ 1889090 w 11731364"/>
              <a:gd name="connsiteY28" fmla="*/ 2849053 h 2890922"/>
              <a:gd name="connsiteX29" fmla="*/ 522515 w 11731364"/>
              <a:gd name="connsiteY29" fmla="*/ 2869149 h 2890922"/>
              <a:gd name="connsiteX30" fmla="*/ 10048 w 11731364"/>
              <a:gd name="connsiteY30" fmla="*/ 2839005 h 2890922"/>
              <a:gd name="connsiteX0" fmla="*/ 0 w 11731364"/>
              <a:gd name="connsiteY0" fmla="*/ 55611 h 2890922"/>
              <a:gd name="connsiteX1" fmla="*/ 160774 w 11731364"/>
              <a:gd name="connsiteY1" fmla="*/ 45562 h 2890922"/>
              <a:gd name="connsiteX2" fmla="*/ 552660 w 11731364"/>
              <a:gd name="connsiteY2" fmla="*/ 35514 h 2890922"/>
              <a:gd name="connsiteX3" fmla="*/ 1637882 w 11731364"/>
              <a:gd name="connsiteY3" fmla="*/ 45562 h 2890922"/>
              <a:gd name="connsiteX4" fmla="*/ 2019719 w 11731364"/>
              <a:gd name="connsiteY4" fmla="*/ 45562 h 2890922"/>
              <a:gd name="connsiteX5" fmla="*/ 4531807 w 11731364"/>
              <a:gd name="connsiteY5" fmla="*/ 65659 h 2890922"/>
              <a:gd name="connsiteX6" fmla="*/ 4572000 w 11731364"/>
              <a:gd name="connsiteY6" fmla="*/ 75708 h 2890922"/>
              <a:gd name="connsiteX7" fmla="*/ 6300317 w 11731364"/>
              <a:gd name="connsiteY7" fmla="*/ 95804 h 2890922"/>
              <a:gd name="connsiteX8" fmla="*/ 7063991 w 11731364"/>
              <a:gd name="connsiteY8" fmla="*/ 65659 h 2890922"/>
              <a:gd name="connsiteX9" fmla="*/ 7807570 w 11731364"/>
              <a:gd name="connsiteY9" fmla="*/ 65659 h 2890922"/>
              <a:gd name="connsiteX10" fmla="*/ 8098972 w 11731364"/>
              <a:gd name="connsiteY10" fmla="*/ 95804 h 2890922"/>
              <a:gd name="connsiteX11" fmla="*/ 9485644 w 11731364"/>
              <a:gd name="connsiteY11" fmla="*/ 95804 h 2890922"/>
              <a:gd name="connsiteX12" fmla="*/ 9827288 w 11731364"/>
              <a:gd name="connsiteY12" fmla="*/ 65659 h 2890922"/>
              <a:gd name="connsiteX13" fmla="*/ 10671350 w 11731364"/>
              <a:gd name="connsiteY13" fmla="*/ 35514 h 2890922"/>
              <a:gd name="connsiteX14" fmla="*/ 11615895 w 11731364"/>
              <a:gd name="connsiteY14" fmla="*/ 55611 h 2890922"/>
              <a:gd name="connsiteX15" fmla="*/ 11686233 w 11731364"/>
              <a:gd name="connsiteY15" fmla="*/ 769044 h 2890922"/>
              <a:gd name="connsiteX16" fmla="*/ 11696282 w 11731364"/>
              <a:gd name="connsiteY16" fmla="*/ 2336587 h 2890922"/>
              <a:gd name="connsiteX17" fmla="*/ 11686233 w 11731364"/>
              <a:gd name="connsiteY17" fmla="*/ 2828956 h 2890922"/>
              <a:gd name="connsiteX18" fmla="*/ 10912510 w 11731364"/>
              <a:gd name="connsiteY18" fmla="*/ 2859101 h 2890922"/>
              <a:gd name="connsiteX19" fmla="*/ 10008159 w 11731364"/>
              <a:gd name="connsiteY19" fmla="*/ 2859101 h 2890922"/>
              <a:gd name="connsiteX20" fmla="*/ 9435402 w 11731364"/>
              <a:gd name="connsiteY20" fmla="*/ 2859101 h 2890922"/>
              <a:gd name="connsiteX21" fmla="*/ 7365442 w 11731364"/>
              <a:gd name="connsiteY21" fmla="*/ 2818908 h 2890922"/>
              <a:gd name="connsiteX22" fmla="*/ 6742444 w 11731364"/>
              <a:gd name="connsiteY22" fmla="*/ 2839004 h 2890922"/>
              <a:gd name="connsiteX23" fmla="*/ 6601767 w 11731364"/>
              <a:gd name="connsiteY23" fmla="*/ 2828956 h 2890922"/>
              <a:gd name="connsiteX24" fmla="*/ 4783016 w 11731364"/>
              <a:gd name="connsiteY24" fmla="*/ 2879198 h 2890922"/>
              <a:gd name="connsiteX25" fmla="*/ 3938954 w 11731364"/>
              <a:gd name="connsiteY25" fmla="*/ 2859101 h 2890922"/>
              <a:gd name="connsiteX26" fmla="*/ 2944167 w 11731364"/>
              <a:gd name="connsiteY26" fmla="*/ 2839004 h 2890922"/>
              <a:gd name="connsiteX27" fmla="*/ 1889090 w 11731364"/>
              <a:gd name="connsiteY27" fmla="*/ 2849053 h 2890922"/>
              <a:gd name="connsiteX28" fmla="*/ 522515 w 11731364"/>
              <a:gd name="connsiteY28" fmla="*/ 2869149 h 2890922"/>
              <a:gd name="connsiteX29" fmla="*/ 10048 w 11731364"/>
              <a:gd name="connsiteY29" fmla="*/ 2839005 h 2890922"/>
              <a:gd name="connsiteX0" fmla="*/ 0 w 11731364"/>
              <a:gd name="connsiteY0" fmla="*/ 55611 h 2890922"/>
              <a:gd name="connsiteX1" fmla="*/ 552660 w 11731364"/>
              <a:gd name="connsiteY1" fmla="*/ 35514 h 2890922"/>
              <a:gd name="connsiteX2" fmla="*/ 1637882 w 11731364"/>
              <a:gd name="connsiteY2" fmla="*/ 45562 h 2890922"/>
              <a:gd name="connsiteX3" fmla="*/ 2019719 w 11731364"/>
              <a:gd name="connsiteY3" fmla="*/ 45562 h 2890922"/>
              <a:gd name="connsiteX4" fmla="*/ 4531807 w 11731364"/>
              <a:gd name="connsiteY4" fmla="*/ 65659 h 2890922"/>
              <a:gd name="connsiteX5" fmla="*/ 4572000 w 11731364"/>
              <a:gd name="connsiteY5" fmla="*/ 75708 h 2890922"/>
              <a:gd name="connsiteX6" fmla="*/ 6300317 w 11731364"/>
              <a:gd name="connsiteY6" fmla="*/ 95804 h 2890922"/>
              <a:gd name="connsiteX7" fmla="*/ 7063991 w 11731364"/>
              <a:gd name="connsiteY7" fmla="*/ 65659 h 2890922"/>
              <a:gd name="connsiteX8" fmla="*/ 7807570 w 11731364"/>
              <a:gd name="connsiteY8" fmla="*/ 65659 h 2890922"/>
              <a:gd name="connsiteX9" fmla="*/ 8098972 w 11731364"/>
              <a:gd name="connsiteY9" fmla="*/ 95804 h 2890922"/>
              <a:gd name="connsiteX10" fmla="*/ 9485644 w 11731364"/>
              <a:gd name="connsiteY10" fmla="*/ 95804 h 2890922"/>
              <a:gd name="connsiteX11" fmla="*/ 9827288 w 11731364"/>
              <a:gd name="connsiteY11" fmla="*/ 65659 h 2890922"/>
              <a:gd name="connsiteX12" fmla="*/ 10671350 w 11731364"/>
              <a:gd name="connsiteY12" fmla="*/ 35514 h 2890922"/>
              <a:gd name="connsiteX13" fmla="*/ 11615895 w 11731364"/>
              <a:gd name="connsiteY13" fmla="*/ 55611 h 2890922"/>
              <a:gd name="connsiteX14" fmla="*/ 11686233 w 11731364"/>
              <a:gd name="connsiteY14" fmla="*/ 769044 h 2890922"/>
              <a:gd name="connsiteX15" fmla="*/ 11696282 w 11731364"/>
              <a:gd name="connsiteY15" fmla="*/ 2336587 h 2890922"/>
              <a:gd name="connsiteX16" fmla="*/ 11686233 w 11731364"/>
              <a:gd name="connsiteY16" fmla="*/ 2828956 h 2890922"/>
              <a:gd name="connsiteX17" fmla="*/ 10912510 w 11731364"/>
              <a:gd name="connsiteY17" fmla="*/ 2859101 h 2890922"/>
              <a:gd name="connsiteX18" fmla="*/ 10008159 w 11731364"/>
              <a:gd name="connsiteY18" fmla="*/ 2859101 h 2890922"/>
              <a:gd name="connsiteX19" fmla="*/ 9435402 w 11731364"/>
              <a:gd name="connsiteY19" fmla="*/ 2859101 h 2890922"/>
              <a:gd name="connsiteX20" fmla="*/ 7365442 w 11731364"/>
              <a:gd name="connsiteY20" fmla="*/ 2818908 h 2890922"/>
              <a:gd name="connsiteX21" fmla="*/ 6742444 w 11731364"/>
              <a:gd name="connsiteY21" fmla="*/ 2839004 h 2890922"/>
              <a:gd name="connsiteX22" fmla="*/ 6601767 w 11731364"/>
              <a:gd name="connsiteY22" fmla="*/ 2828956 h 2890922"/>
              <a:gd name="connsiteX23" fmla="*/ 4783016 w 11731364"/>
              <a:gd name="connsiteY23" fmla="*/ 2879198 h 2890922"/>
              <a:gd name="connsiteX24" fmla="*/ 3938954 w 11731364"/>
              <a:gd name="connsiteY24" fmla="*/ 2859101 h 2890922"/>
              <a:gd name="connsiteX25" fmla="*/ 2944167 w 11731364"/>
              <a:gd name="connsiteY25" fmla="*/ 2839004 h 2890922"/>
              <a:gd name="connsiteX26" fmla="*/ 1889090 w 11731364"/>
              <a:gd name="connsiteY26" fmla="*/ 2849053 h 2890922"/>
              <a:gd name="connsiteX27" fmla="*/ 522515 w 11731364"/>
              <a:gd name="connsiteY27" fmla="*/ 2869149 h 2890922"/>
              <a:gd name="connsiteX28" fmla="*/ 10048 w 11731364"/>
              <a:gd name="connsiteY28" fmla="*/ 2839005 h 2890922"/>
              <a:gd name="connsiteX0" fmla="*/ 0 w 11731364"/>
              <a:gd name="connsiteY0" fmla="*/ 55611 h 2890922"/>
              <a:gd name="connsiteX1" fmla="*/ 552660 w 11731364"/>
              <a:gd name="connsiteY1" fmla="*/ 35514 h 2890922"/>
              <a:gd name="connsiteX2" fmla="*/ 1637882 w 11731364"/>
              <a:gd name="connsiteY2" fmla="*/ 45562 h 2890922"/>
              <a:gd name="connsiteX3" fmla="*/ 2019719 w 11731364"/>
              <a:gd name="connsiteY3" fmla="*/ 45562 h 2890922"/>
              <a:gd name="connsiteX4" fmla="*/ 4531807 w 11731364"/>
              <a:gd name="connsiteY4" fmla="*/ 65659 h 2890922"/>
              <a:gd name="connsiteX5" fmla="*/ 6300317 w 11731364"/>
              <a:gd name="connsiteY5" fmla="*/ 95804 h 2890922"/>
              <a:gd name="connsiteX6" fmla="*/ 7063991 w 11731364"/>
              <a:gd name="connsiteY6" fmla="*/ 65659 h 2890922"/>
              <a:gd name="connsiteX7" fmla="*/ 7807570 w 11731364"/>
              <a:gd name="connsiteY7" fmla="*/ 65659 h 2890922"/>
              <a:gd name="connsiteX8" fmla="*/ 8098972 w 11731364"/>
              <a:gd name="connsiteY8" fmla="*/ 95804 h 2890922"/>
              <a:gd name="connsiteX9" fmla="*/ 9485644 w 11731364"/>
              <a:gd name="connsiteY9" fmla="*/ 95804 h 2890922"/>
              <a:gd name="connsiteX10" fmla="*/ 9827288 w 11731364"/>
              <a:gd name="connsiteY10" fmla="*/ 65659 h 2890922"/>
              <a:gd name="connsiteX11" fmla="*/ 10671350 w 11731364"/>
              <a:gd name="connsiteY11" fmla="*/ 35514 h 2890922"/>
              <a:gd name="connsiteX12" fmla="*/ 11615895 w 11731364"/>
              <a:gd name="connsiteY12" fmla="*/ 55611 h 2890922"/>
              <a:gd name="connsiteX13" fmla="*/ 11686233 w 11731364"/>
              <a:gd name="connsiteY13" fmla="*/ 769044 h 2890922"/>
              <a:gd name="connsiteX14" fmla="*/ 11696282 w 11731364"/>
              <a:gd name="connsiteY14" fmla="*/ 2336587 h 2890922"/>
              <a:gd name="connsiteX15" fmla="*/ 11686233 w 11731364"/>
              <a:gd name="connsiteY15" fmla="*/ 2828956 h 2890922"/>
              <a:gd name="connsiteX16" fmla="*/ 10912510 w 11731364"/>
              <a:gd name="connsiteY16" fmla="*/ 2859101 h 2890922"/>
              <a:gd name="connsiteX17" fmla="*/ 10008159 w 11731364"/>
              <a:gd name="connsiteY17" fmla="*/ 2859101 h 2890922"/>
              <a:gd name="connsiteX18" fmla="*/ 9435402 w 11731364"/>
              <a:gd name="connsiteY18" fmla="*/ 2859101 h 2890922"/>
              <a:gd name="connsiteX19" fmla="*/ 7365442 w 11731364"/>
              <a:gd name="connsiteY19" fmla="*/ 2818908 h 2890922"/>
              <a:gd name="connsiteX20" fmla="*/ 6742444 w 11731364"/>
              <a:gd name="connsiteY20" fmla="*/ 2839004 h 2890922"/>
              <a:gd name="connsiteX21" fmla="*/ 6601767 w 11731364"/>
              <a:gd name="connsiteY21" fmla="*/ 2828956 h 2890922"/>
              <a:gd name="connsiteX22" fmla="*/ 4783016 w 11731364"/>
              <a:gd name="connsiteY22" fmla="*/ 2879198 h 2890922"/>
              <a:gd name="connsiteX23" fmla="*/ 3938954 w 11731364"/>
              <a:gd name="connsiteY23" fmla="*/ 2859101 h 2890922"/>
              <a:gd name="connsiteX24" fmla="*/ 2944167 w 11731364"/>
              <a:gd name="connsiteY24" fmla="*/ 2839004 h 2890922"/>
              <a:gd name="connsiteX25" fmla="*/ 1889090 w 11731364"/>
              <a:gd name="connsiteY25" fmla="*/ 2849053 h 2890922"/>
              <a:gd name="connsiteX26" fmla="*/ 522515 w 11731364"/>
              <a:gd name="connsiteY26" fmla="*/ 2869149 h 2890922"/>
              <a:gd name="connsiteX27" fmla="*/ 10048 w 11731364"/>
              <a:gd name="connsiteY27" fmla="*/ 2839005 h 2890922"/>
              <a:gd name="connsiteX0" fmla="*/ 0 w 11731364"/>
              <a:gd name="connsiteY0" fmla="*/ 55611 h 2890922"/>
              <a:gd name="connsiteX1" fmla="*/ 552660 w 11731364"/>
              <a:gd name="connsiteY1" fmla="*/ 35514 h 2890922"/>
              <a:gd name="connsiteX2" fmla="*/ 1637882 w 11731364"/>
              <a:gd name="connsiteY2" fmla="*/ 45562 h 2890922"/>
              <a:gd name="connsiteX3" fmla="*/ 2019719 w 11731364"/>
              <a:gd name="connsiteY3" fmla="*/ 45562 h 2890922"/>
              <a:gd name="connsiteX4" fmla="*/ 4531807 w 11731364"/>
              <a:gd name="connsiteY4" fmla="*/ 65659 h 2890922"/>
              <a:gd name="connsiteX5" fmla="*/ 6300317 w 11731364"/>
              <a:gd name="connsiteY5" fmla="*/ 95804 h 2890922"/>
              <a:gd name="connsiteX6" fmla="*/ 7063991 w 11731364"/>
              <a:gd name="connsiteY6" fmla="*/ 65659 h 2890922"/>
              <a:gd name="connsiteX7" fmla="*/ 8098972 w 11731364"/>
              <a:gd name="connsiteY7" fmla="*/ 95804 h 2890922"/>
              <a:gd name="connsiteX8" fmla="*/ 9485644 w 11731364"/>
              <a:gd name="connsiteY8" fmla="*/ 95804 h 2890922"/>
              <a:gd name="connsiteX9" fmla="*/ 9827288 w 11731364"/>
              <a:gd name="connsiteY9" fmla="*/ 65659 h 2890922"/>
              <a:gd name="connsiteX10" fmla="*/ 10671350 w 11731364"/>
              <a:gd name="connsiteY10" fmla="*/ 35514 h 2890922"/>
              <a:gd name="connsiteX11" fmla="*/ 11615895 w 11731364"/>
              <a:gd name="connsiteY11" fmla="*/ 55611 h 2890922"/>
              <a:gd name="connsiteX12" fmla="*/ 11686233 w 11731364"/>
              <a:gd name="connsiteY12" fmla="*/ 769044 h 2890922"/>
              <a:gd name="connsiteX13" fmla="*/ 11696282 w 11731364"/>
              <a:gd name="connsiteY13" fmla="*/ 2336587 h 2890922"/>
              <a:gd name="connsiteX14" fmla="*/ 11686233 w 11731364"/>
              <a:gd name="connsiteY14" fmla="*/ 2828956 h 2890922"/>
              <a:gd name="connsiteX15" fmla="*/ 10912510 w 11731364"/>
              <a:gd name="connsiteY15" fmla="*/ 2859101 h 2890922"/>
              <a:gd name="connsiteX16" fmla="*/ 10008159 w 11731364"/>
              <a:gd name="connsiteY16" fmla="*/ 2859101 h 2890922"/>
              <a:gd name="connsiteX17" fmla="*/ 9435402 w 11731364"/>
              <a:gd name="connsiteY17" fmla="*/ 2859101 h 2890922"/>
              <a:gd name="connsiteX18" fmla="*/ 7365442 w 11731364"/>
              <a:gd name="connsiteY18" fmla="*/ 2818908 h 2890922"/>
              <a:gd name="connsiteX19" fmla="*/ 6742444 w 11731364"/>
              <a:gd name="connsiteY19" fmla="*/ 2839004 h 2890922"/>
              <a:gd name="connsiteX20" fmla="*/ 6601767 w 11731364"/>
              <a:gd name="connsiteY20" fmla="*/ 2828956 h 2890922"/>
              <a:gd name="connsiteX21" fmla="*/ 4783016 w 11731364"/>
              <a:gd name="connsiteY21" fmla="*/ 2879198 h 2890922"/>
              <a:gd name="connsiteX22" fmla="*/ 3938954 w 11731364"/>
              <a:gd name="connsiteY22" fmla="*/ 2859101 h 2890922"/>
              <a:gd name="connsiteX23" fmla="*/ 2944167 w 11731364"/>
              <a:gd name="connsiteY23" fmla="*/ 2839004 h 2890922"/>
              <a:gd name="connsiteX24" fmla="*/ 1889090 w 11731364"/>
              <a:gd name="connsiteY24" fmla="*/ 2849053 h 2890922"/>
              <a:gd name="connsiteX25" fmla="*/ 522515 w 11731364"/>
              <a:gd name="connsiteY25" fmla="*/ 2869149 h 2890922"/>
              <a:gd name="connsiteX26" fmla="*/ 10048 w 11731364"/>
              <a:gd name="connsiteY26" fmla="*/ 2839005 h 2890922"/>
              <a:gd name="connsiteX0" fmla="*/ 0 w 11731364"/>
              <a:gd name="connsiteY0" fmla="*/ 36371 h 2871682"/>
              <a:gd name="connsiteX1" fmla="*/ 552660 w 11731364"/>
              <a:gd name="connsiteY1" fmla="*/ 16274 h 2871682"/>
              <a:gd name="connsiteX2" fmla="*/ 1637882 w 11731364"/>
              <a:gd name="connsiteY2" fmla="*/ 26322 h 2871682"/>
              <a:gd name="connsiteX3" fmla="*/ 2019719 w 11731364"/>
              <a:gd name="connsiteY3" fmla="*/ 26322 h 2871682"/>
              <a:gd name="connsiteX4" fmla="*/ 4531807 w 11731364"/>
              <a:gd name="connsiteY4" fmla="*/ 46419 h 2871682"/>
              <a:gd name="connsiteX5" fmla="*/ 6300317 w 11731364"/>
              <a:gd name="connsiteY5" fmla="*/ 76564 h 2871682"/>
              <a:gd name="connsiteX6" fmla="*/ 7063991 w 11731364"/>
              <a:gd name="connsiteY6" fmla="*/ 46419 h 2871682"/>
              <a:gd name="connsiteX7" fmla="*/ 8098972 w 11731364"/>
              <a:gd name="connsiteY7" fmla="*/ 76564 h 2871682"/>
              <a:gd name="connsiteX8" fmla="*/ 9485644 w 11731364"/>
              <a:gd name="connsiteY8" fmla="*/ 76564 h 2871682"/>
              <a:gd name="connsiteX9" fmla="*/ 9827288 w 11731364"/>
              <a:gd name="connsiteY9" fmla="*/ 46419 h 2871682"/>
              <a:gd name="connsiteX10" fmla="*/ 10671350 w 11731364"/>
              <a:gd name="connsiteY10" fmla="*/ 16274 h 2871682"/>
              <a:gd name="connsiteX11" fmla="*/ 11615895 w 11731364"/>
              <a:gd name="connsiteY11" fmla="*/ 66517 h 2871682"/>
              <a:gd name="connsiteX12" fmla="*/ 11686233 w 11731364"/>
              <a:gd name="connsiteY12" fmla="*/ 749804 h 2871682"/>
              <a:gd name="connsiteX13" fmla="*/ 11696282 w 11731364"/>
              <a:gd name="connsiteY13" fmla="*/ 2317347 h 2871682"/>
              <a:gd name="connsiteX14" fmla="*/ 11686233 w 11731364"/>
              <a:gd name="connsiteY14" fmla="*/ 2809716 h 2871682"/>
              <a:gd name="connsiteX15" fmla="*/ 10912510 w 11731364"/>
              <a:gd name="connsiteY15" fmla="*/ 2839861 h 2871682"/>
              <a:gd name="connsiteX16" fmla="*/ 10008159 w 11731364"/>
              <a:gd name="connsiteY16" fmla="*/ 2839861 h 2871682"/>
              <a:gd name="connsiteX17" fmla="*/ 9435402 w 11731364"/>
              <a:gd name="connsiteY17" fmla="*/ 2839861 h 2871682"/>
              <a:gd name="connsiteX18" fmla="*/ 7365442 w 11731364"/>
              <a:gd name="connsiteY18" fmla="*/ 2799668 h 2871682"/>
              <a:gd name="connsiteX19" fmla="*/ 6742444 w 11731364"/>
              <a:gd name="connsiteY19" fmla="*/ 2819764 h 2871682"/>
              <a:gd name="connsiteX20" fmla="*/ 6601767 w 11731364"/>
              <a:gd name="connsiteY20" fmla="*/ 2809716 h 2871682"/>
              <a:gd name="connsiteX21" fmla="*/ 4783016 w 11731364"/>
              <a:gd name="connsiteY21" fmla="*/ 2859958 h 2871682"/>
              <a:gd name="connsiteX22" fmla="*/ 3938954 w 11731364"/>
              <a:gd name="connsiteY22" fmla="*/ 2839861 h 2871682"/>
              <a:gd name="connsiteX23" fmla="*/ 2944167 w 11731364"/>
              <a:gd name="connsiteY23" fmla="*/ 2819764 h 2871682"/>
              <a:gd name="connsiteX24" fmla="*/ 1889090 w 11731364"/>
              <a:gd name="connsiteY24" fmla="*/ 2829813 h 2871682"/>
              <a:gd name="connsiteX25" fmla="*/ 522515 w 11731364"/>
              <a:gd name="connsiteY25" fmla="*/ 2849909 h 2871682"/>
              <a:gd name="connsiteX26" fmla="*/ 10048 w 11731364"/>
              <a:gd name="connsiteY26" fmla="*/ 2819765 h 2871682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522515 w 11731364"/>
              <a:gd name="connsiteY25" fmla="*/ 2853113 h 2874886"/>
              <a:gd name="connsiteX26" fmla="*/ 10048 w 11731364"/>
              <a:gd name="connsiteY26" fmla="*/ 2822969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522515 w 11731364"/>
              <a:gd name="connsiteY25" fmla="*/ 2853113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1311934 w 11731364"/>
              <a:gd name="connsiteY25" fmla="*/ 2812919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72846 w 11731364"/>
              <a:gd name="connsiteY25" fmla="*/ 2772725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22882 w 11731364"/>
              <a:gd name="connsiteY25" fmla="*/ 2843063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12890 w 11731364"/>
              <a:gd name="connsiteY25" fmla="*/ 2812918 h 2874886"/>
              <a:gd name="connsiteX0" fmla="*/ 0 w 11795893"/>
              <a:gd name="connsiteY0" fmla="*/ 28410 h 2863721"/>
              <a:gd name="connsiteX1" fmla="*/ 552660 w 11795893"/>
              <a:gd name="connsiteY1" fmla="*/ 8313 h 2863721"/>
              <a:gd name="connsiteX2" fmla="*/ 1637882 w 11795893"/>
              <a:gd name="connsiteY2" fmla="*/ 18361 h 2863721"/>
              <a:gd name="connsiteX3" fmla="*/ 2019719 w 11795893"/>
              <a:gd name="connsiteY3" fmla="*/ 18361 h 2863721"/>
              <a:gd name="connsiteX4" fmla="*/ 4531807 w 11795893"/>
              <a:gd name="connsiteY4" fmla="*/ 38458 h 2863721"/>
              <a:gd name="connsiteX5" fmla="*/ 6300317 w 11795893"/>
              <a:gd name="connsiteY5" fmla="*/ 68603 h 2863721"/>
              <a:gd name="connsiteX6" fmla="*/ 7063991 w 11795893"/>
              <a:gd name="connsiteY6" fmla="*/ 38458 h 2863721"/>
              <a:gd name="connsiteX7" fmla="*/ 8098972 w 11795893"/>
              <a:gd name="connsiteY7" fmla="*/ 68603 h 2863721"/>
              <a:gd name="connsiteX8" fmla="*/ 9485644 w 11795893"/>
              <a:gd name="connsiteY8" fmla="*/ 68603 h 2863721"/>
              <a:gd name="connsiteX9" fmla="*/ 9827288 w 11795893"/>
              <a:gd name="connsiteY9" fmla="*/ 38458 h 2863721"/>
              <a:gd name="connsiteX10" fmla="*/ 10671350 w 11795893"/>
              <a:gd name="connsiteY10" fmla="*/ 8313 h 2863721"/>
              <a:gd name="connsiteX11" fmla="*/ 11615895 w 11795893"/>
              <a:gd name="connsiteY11" fmla="*/ 58556 h 2863721"/>
              <a:gd name="connsiteX12" fmla="*/ 11686233 w 11795893"/>
              <a:gd name="connsiteY12" fmla="*/ 741843 h 2863721"/>
              <a:gd name="connsiteX13" fmla="*/ 11696282 w 11795893"/>
              <a:gd name="connsiteY13" fmla="*/ 2309386 h 2863721"/>
              <a:gd name="connsiteX14" fmla="*/ 11686233 w 11795893"/>
              <a:gd name="connsiteY14" fmla="*/ 2801755 h 2863721"/>
              <a:gd name="connsiteX15" fmla="*/ 10912510 w 11795893"/>
              <a:gd name="connsiteY15" fmla="*/ 2831900 h 2863721"/>
              <a:gd name="connsiteX16" fmla="*/ 10008159 w 11795893"/>
              <a:gd name="connsiteY16" fmla="*/ 2831900 h 2863721"/>
              <a:gd name="connsiteX17" fmla="*/ 9435402 w 11795893"/>
              <a:gd name="connsiteY17" fmla="*/ 2831900 h 2863721"/>
              <a:gd name="connsiteX18" fmla="*/ 7365442 w 11795893"/>
              <a:gd name="connsiteY18" fmla="*/ 2791707 h 2863721"/>
              <a:gd name="connsiteX19" fmla="*/ 6742444 w 11795893"/>
              <a:gd name="connsiteY19" fmla="*/ 2811803 h 2863721"/>
              <a:gd name="connsiteX20" fmla="*/ 6601767 w 11795893"/>
              <a:gd name="connsiteY20" fmla="*/ 2801755 h 2863721"/>
              <a:gd name="connsiteX21" fmla="*/ 4783016 w 11795893"/>
              <a:gd name="connsiteY21" fmla="*/ 2851997 h 2863721"/>
              <a:gd name="connsiteX22" fmla="*/ 3938954 w 11795893"/>
              <a:gd name="connsiteY22" fmla="*/ 2831900 h 2863721"/>
              <a:gd name="connsiteX23" fmla="*/ 2944167 w 11795893"/>
              <a:gd name="connsiteY23" fmla="*/ 2811803 h 2863721"/>
              <a:gd name="connsiteX24" fmla="*/ 1889090 w 11795893"/>
              <a:gd name="connsiteY24" fmla="*/ 2821852 h 2863721"/>
              <a:gd name="connsiteX25" fmla="*/ 12890 w 11795893"/>
              <a:gd name="connsiteY25" fmla="*/ 2801753 h 2863721"/>
              <a:gd name="connsiteX0" fmla="*/ 0 w 11731364"/>
              <a:gd name="connsiteY0" fmla="*/ 152690 h 2988001"/>
              <a:gd name="connsiteX1" fmla="*/ 552660 w 11731364"/>
              <a:gd name="connsiteY1" fmla="*/ 132593 h 2988001"/>
              <a:gd name="connsiteX2" fmla="*/ 1637882 w 11731364"/>
              <a:gd name="connsiteY2" fmla="*/ 142641 h 2988001"/>
              <a:gd name="connsiteX3" fmla="*/ 2019719 w 11731364"/>
              <a:gd name="connsiteY3" fmla="*/ 142641 h 2988001"/>
              <a:gd name="connsiteX4" fmla="*/ 4531807 w 11731364"/>
              <a:gd name="connsiteY4" fmla="*/ 162738 h 2988001"/>
              <a:gd name="connsiteX5" fmla="*/ 6300317 w 11731364"/>
              <a:gd name="connsiteY5" fmla="*/ 192883 h 2988001"/>
              <a:gd name="connsiteX6" fmla="*/ 7063991 w 11731364"/>
              <a:gd name="connsiteY6" fmla="*/ 162738 h 2988001"/>
              <a:gd name="connsiteX7" fmla="*/ 8098972 w 11731364"/>
              <a:gd name="connsiteY7" fmla="*/ 192883 h 2988001"/>
              <a:gd name="connsiteX8" fmla="*/ 9485644 w 11731364"/>
              <a:gd name="connsiteY8" fmla="*/ 192883 h 2988001"/>
              <a:gd name="connsiteX9" fmla="*/ 9827288 w 11731364"/>
              <a:gd name="connsiteY9" fmla="*/ 162738 h 2988001"/>
              <a:gd name="connsiteX10" fmla="*/ 10671350 w 11731364"/>
              <a:gd name="connsiteY10" fmla="*/ 132593 h 2988001"/>
              <a:gd name="connsiteX11" fmla="*/ 11615895 w 11731364"/>
              <a:gd name="connsiteY11" fmla="*/ 182836 h 2988001"/>
              <a:gd name="connsiteX12" fmla="*/ 11696282 w 11731364"/>
              <a:gd name="connsiteY12" fmla="*/ 2433666 h 2988001"/>
              <a:gd name="connsiteX13" fmla="*/ 11686233 w 11731364"/>
              <a:gd name="connsiteY13" fmla="*/ 2926035 h 2988001"/>
              <a:gd name="connsiteX14" fmla="*/ 10912510 w 11731364"/>
              <a:gd name="connsiteY14" fmla="*/ 2956180 h 2988001"/>
              <a:gd name="connsiteX15" fmla="*/ 10008159 w 11731364"/>
              <a:gd name="connsiteY15" fmla="*/ 2956180 h 2988001"/>
              <a:gd name="connsiteX16" fmla="*/ 9435402 w 11731364"/>
              <a:gd name="connsiteY16" fmla="*/ 2956180 h 2988001"/>
              <a:gd name="connsiteX17" fmla="*/ 7365442 w 11731364"/>
              <a:gd name="connsiteY17" fmla="*/ 2915987 h 2988001"/>
              <a:gd name="connsiteX18" fmla="*/ 6742444 w 11731364"/>
              <a:gd name="connsiteY18" fmla="*/ 2936083 h 2988001"/>
              <a:gd name="connsiteX19" fmla="*/ 6601767 w 11731364"/>
              <a:gd name="connsiteY19" fmla="*/ 2926035 h 2988001"/>
              <a:gd name="connsiteX20" fmla="*/ 4783016 w 11731364"/>
              <a:gd name="connsiteY20" fmla="*/ 2976277 h 2988001"/>
              <a:gd name="connsiteX21" fmla="*/ 3938954 w 11731364"/>
              <a:gd name="connsiteY21" fmla="*/ 2956180 h 2988001"/>
              <a:gd name="connsiteX22" fmla="*/ 2944167 w 11731364"/>
              <a:gd name="connsiteY22" fmla="*/ 2936083 h 2988001"/>
              <a:gd name="connsiteX23" fmla="*/ 1889090 w 11731364"/>
              <a:gd name="connsiteY23" fmla="*/ 2946132 h 2988001"/>
              <a:gd name="connsiteX24" fmla="*/ 12890 w 11731364"/>
              <a:gd name="connsiteY24" fmla="*/ 2926033 h 2988001"/>
              <a:gd name="connsiteX0" fmla="*/ 0 w 11761041"/>
              <a:gd name="connsiteY0" fmla="*/ 189003 h 3175501"/>
              <a:gd name="connsiteX1" fmla="*/ 552660 w 11761041"/>
              <a:gd name="connsiteY1" fmla="*/ 168906 h 3175501"/>
              <a:gd name="connsiteX2" fmla="*/ 1637882 w 11761041"/>
              <a:gd name="connsiteY2" fmla="*/ 178954 h 3175501"/>
              <a:gd name="connsiteX3" fmla="*/ 2019719 w 11761041"/>
              <a:gd name="connsiteY3" fmla="*/ 178954 h 3175501"/>
              <a:gd name="connsiteX4" fmla="*/ 4531807 w 11761041"/>
              <a:gd name="connsiteY4" fmla="*/ 199051 h 3175501"/>
              <a:gd name="connsiteX5" fmla="*/ 6300317 w 11761041"/>
              <a:gd name="connsiteY5" fmla="*/ 229196 h 3175501"/>
              <a:gd name="connsiteX6" fmla="*/ 7063991 w 11761041"/>
              <a:gd name="connsiteY6" fmla="*/ 199051 h 3175501"/>
              <a:gd name="connsiteX7" fmla="*/ 8098972 w 11761041"/>
              <a:gd name="connsiteY7" fmla="*/ 229196 h 3175501"/>
              <a:gd name="connsiteX8" fmla="*/ 9485644 w 11761041"/>
              <a:gd name="connsiteY8" fmla="*/ 229196 h 3175501"/>
              <a:gd name="connsiteX9" fmla="*/ 9827288 w 11761041"/>
              <a:gd name="connsiteY9" fmla="*/ 199051 h 3175501"/>
              <a:gd name="connsiteX10" fmla="*/ 10671350 w 11761041"/>
              <a:gd name="connsiteY10" fmla="*/ 168906 h 3175501"/>
              <a:gd name="connsiteX11" fmla="*/ 11615895 w 11761041"/>
              <a:gd name="connsiteY11" fmla="*/ 219149 h 3175501"/>
              <a:gd name="connsiteX12" fmla="*/ 11686233 w 11761041"/>
              <a:gd name="connsiteY12" fmla="*/ 2962348 h 3175501"/>
              <a:gd name="connsiteX13" fmla="*/ 10912510 w 11761041"/>
              <a:gd name="connsiteY13" fmla="*/ 2992493 h 3175501"/>
              <a:gd name="connsiteX14" fmla="*/ 10008159 w 11761041"/>
              <a:gd name="connsiteY14" fmla="*/ 2992493 h 3175501"/>
              <a:gd name="connsiteX15" fmla="*/ 9435402 w 11761041"/>
              <a:gd name="connsiteY15" fmla="*/ 2992493 h 3175501"/>
              <a:gd name="connsiteX16" fmla="*/ 7365442 w 11761041"/>
              <a:gd name="connsiteY16" fmla="*/ 2952300 h 3175501"/>
              <a:gd name="connsiteX17" fmla="*/ 6742444 w 11761041"/>
              <a:gd name="connsiteY17" fmla="*/ 2972396 h 3175501"/>
              <a:gd name="connsiteX18" fmla="*/ 6601767 w 11761041"/>
              <a:gd name="connsiteY18" fmla="*/ 2962348 h 3175501"/>
              <a:gd name="connsiteX19" fmla="*/ 4783016 w 11761041"/>
              <a:gd name="connsiteY19" fmla="*/ 3012590 h 3175501"/>
              <a:gd name="connsiteX20" fmla="*/ 3938954 w 11761041"/>
              <a:gd name="connsiteY20" fmla="*/ 2992493 h 3175501"/>
              <a:gd name="connsiteX21" fmla="*/ 2944167 w 11761041"/>
              <a:gd name="connsiteY21" fmla="*/ 2972396 h 3175501"/>
              <a:gd name="connsiteX22" fmla="*/ 1889090 w 11761041"/>
              <a:gd name="connsiteY22" fmla="*/ 2982445 h 3175501"/>
              <a:gd name="connsiteX23" fmla="*/ 12890 w 11761041"/>
              <a:gd name="connsiteY23" fmla="*/ 2962346 h 3175501"/>
              <a:gd name="connsiteX0" fmla="*/ 0 w 11837985"/>
              <a:gd name="connsiteY0" fmla="*/ 32082 h 2997028"/>
              <a:gd name="connsiteX1" fmla="*/ 552660 w 11837985"/>
              <a:gd name="connsiteY1" fmla="*/ 11985 h 2997028"/>
              <a:gd name="connsiteX2" fmla="*/ 1637882 w 11837985"/>
              <a:gd name="connsiteY2" fmla="*/ 22033 h 2997028"/>
              <a:gd name="connsiteX3" fmla="*/ 2019719 w 11837985"/>
              <a:gd name="connsiteY3" fmla="*/ 22033 h 2997028"/>
              <a:gd name="connsiteX4" fmla="*/ 4531807 w 11837985"/>
              <a:gd name="connsiteY4" fmla="*/ 42130 h 2997028"/>
              <a:gd name="connsiteX5" fmla="*/ 6300317 w 11837985"/>
              <a:gd name="connsiteY5" fmla="*/ 72275 h 2997028"/>
              <a:gd name="connsiteX6" fmla="*/ 7063991 w 11837985"/>
              <a:gd name="connsiteY6" fmla="*/ 42130 h 2997028"/>
              <a:gd name="connsiteX7" fmla="*/ 8098972 w 11837985"/>
              <a:gd name="connsiteY7" fmla="*/ 72275 h 2997028"/>
              <a:gd name="connsiteX8" fmla="*/ 9485644 w 11837985"/>
              <a:gd name="connsiteY8" fmla="*/ 72275 h 2997028"/>
              <a:gd name="connsiteX9" fmla="*/ 9827288 w 11837985"/>
              <a:gd name="connsiteY9" fmla="*/ 42130 h 2997028"/>
              <a:gd name="connsiteX10" fmla="*/ 10671350 w 11837985"/>
              <a:gd name="connsiteY10" fmla="*/ 11985 h 2997028"/>
              <a:gd name="connsiteX11" fmla="*/ 11745799 w 11837985"/>
              <a:gd name="connsiteY11" fmla="*/ 353631 h 2997028"/>
              <a:gd name="connsiteX12" fmla="*/ 11686233 w 11837985"/>
              <a:gd name="connsiteY12" fmla="*/ 2805427 h 2997028"/>
              <a:gd name="connsiteX13" fmla="*/ 10912510 w 11837985"/>
              <a:gd name="connsiteY13" fmla="*/ 2835572 h 2997028"/>
              <a:gd name="connsiteX14" fmla="*/ 10008159 w 11837985"/>
              <a:gd name="connsiteY14" fmla="*/ 2835572 h 2997028"/>
              <a:gd name="connsiteX15" fmla="*/ 9435402 w 11837985"/>
              <a:gd name="connsiteY15" fmla="*/ 2835572 h 2997028"/>
              <a:gd name="connsiteX16" fmla="*/ 7365442 w 11837985"/>
              <a:gd name="connsiteY16" fmla="*/ 2795379 h 2997028"/>
              <a:gd name="connsiteX17" fmla="*/ 6742444 w 11837985"/>
              <a:gd name="connsiteY17" fmla="*/ 2815475 h 2997028"/>
              <a:gd name="connsiteX18" fmla="*/ 6601767 w 11837985"/>
              <a:gd name="connsiteY18" fmla="*/ 2805427 h 2997028"/>
              <a:gd name="connsiteX19" fmla="*/ 4783016 w 11837985"/>
              <a:gd name="connsiteY19" fmla="*/ 2855669 h 2997028"/>
              <a:gd name="connsiteX20" fmla="*/ 3938954 w 11837985"/>
              <a:gd name="connsiteY20" fmla="*/ 2835572 h 2997028"/>
              <a:gd name="connsiteX21" fmla="*/ 2944167 w 11837985"/>
              <a:gd name="connsiteY21" fmla="*/ 2815475 h 2997028"/>
              <a:gd name="connsiteX22" fmla="*/ 1889090 w 11837985"/>
              <a:gd name="connsiteY22" fmla="*/ 2825524 h 2997028"/>
              <a:gd name="connsiteX23" fmla="*/ 12890 w 11837985"/>
              <a:gd name="connsiteY23" fmla="*/ 2805425 h 2997028"/>
              <a:gd name="connsiteX0" fmla="*/ 0 w 11890507"/>
              <a:gd name="connsiteY0" fmla="*/ 20097 h 2985043"/>
              <a:gd name="connsiteX1" fmla="*/ 552660 w 11890507"/>
              <a:gd name="connsiteY1" fmla="*/ 0 h 2985043"/>
              <a:gd name="connsiteX2" fmla="*/ 1637882 w 11890507"/>
              <a:gd name="connsiteY2" fmla="*/ 10048 h 2985043"/>
              <a:gd name="connsiteX3" fmla="*/ 2019719 w 11890507"/>
              <a:gd name="connsiteY3" fmla="*/ 10048 h 2985043"/>
              <a:gd name="connsiteX4" fmla="*/ 4531807 w 11890507"/>
              <a:gd name="connsiteY4" fmla="*/ 30145 h 2985043"/>
              <a:gd name="connsiteX5" fmla="*/ 6300317 w 11890507"/>
              <a:gd name="connsiteY5" fmla="*/ 60290 h 2985043"/>
              <a:gd name="connsiteX6" fmla="*/ 7063991 w 11890507"/>
              <a:gd name="connsiteY6" fmla="*/ 30145 h 2985043"/>
              <a:gd name="connsiteX7" fmla="*/ 8098972 w 11890507"/>
              <a:gd name="connsiteY7" fmla="*/ 60290 h 2985043"/>
              <a:gd name="connsiteX8" fmla="*/ 9485644 w 11890507"/>
              <a:gd name="connsiteY8" fmla="*/ 60290 h 2985043"/>
              <a:gd name="connsiteX9" fmla="*/ 9827288 w 11890507"/>
              <a:gd name="connsiteY9" fmla="*/ 30145 h 2985043"/>
              <a:gd name="connsiteX10" fmla="*/ 10671350 w 11890507"/>
              <a:gd name="connsiteY10" fmla="*/ 0 h 2985043"/>
              <a:gd name="connsiteX11" fmla="*/ 11745799 w 11890507"/>
              <a:gd name="connsiteY11" fmla="*/ 341646 h 2985043"/>
              <a:gd name="connsiteX12" fmla="*/ 11686233 w 11890507"/>
              <a:gd name="connsiteY12" fmla="*/ 2793442 h 2985043"/>
              <a:gd name="connsiteX13" fmla="*/ 10912510 w 11890507"/>
              <a:gd name="connsiteY13" fmla="*/ 2823587 h 2985043"/>
              <a:gd name="connsiteX14" fmla="*/ 10008159 w 11890507"/>
              <a:gd name="connsiteY14" fmla="*/ 2823587 h 2985043"/>
              <a:gd name="connsiteX15" fmla="*/ 9435402 w 11890507"/>
              <a:gd name="connsiteY15" fmla="*/ 2823587 h 2985043"/>
              <a:gd name="connsiteX16" fmla="*/ 7365442 w 11890507"/>
              <a:gd name="connsiteY16" fmla="*/ 2783394 h 2985043"/>
              <a:gd name="connsiteX17" fmla="*/ 6742444 w 11890507"/>
              <a:gd name="connsiteY17" fmla="*/ 2803490 h 2985043"/>
              <a:gd name="connsiteX18" fmla="*/ 6601767 w 11890507"/>
              <a:gd name="connsiteY18" fmla="*/ 2793442 h 2985043"/>
              <a:gd name="connsiteX19" fmla="*/ 4783016 w 11890507"/>
              <a:gd name="connsiteY19" fmla="*/ 2843684 h 2985043"/>
              <a:gd name="connsiteX20" fmla="*/ 3938954 w 11890507"/>
              <a:gd name="connsiteY20" fmla="*/ 2823587 h 2985043"/>
              <a:gd name="connsiteX21" fmla="*/ 2944167 w 11890507"/>
              <a:gd name="connsiteY21" fmla="*/ 2803490 h 2985043"/>
              <a:gd name="connsiteX22" fmla="*/ 1889090 w 11890507"/>
              <a:gd name="connsiteY22" fmla="*/ 2813539 h 2985043"/>
              <a:gd name="connsiteX23" fmla="*/ 12890 w 11890507"/>
              <a:gd name="connsiteY23" fmla="*/ 2793440 h 2985043"/>
              <a:gd name="connsiteX0" fmla="*/ 0 w 11888066"/>
              <a:gd name="connsiteY0" fmla="*/ 24726 h 2863208"/>
              <a:gd name="connsiteX1" fmla="*/ 552660 w 11888066"/>
              <a:gd name="connsiteY1" fmla="*/ 4629 h 2863208"/>
              <a:gd name="connsiteX2" fmla="*/ 1637882 w 11888066"/>
              <a:gd name="connsiteY2" fmla="*/ 14677 h 2863208"/>
              <a:gd name="connsiteX3" fmla="*/ 2019719 w 11888066"/>
              <a:gd name="connsiteY3" fmla="*/ 14677 h 2863208"/>
              <a:gd name="connsiteX4" fmla="*/ 4531807 w 11888066"/>
              <a:gd name="connsiteY4" fmla="*/ 34774 h 2863208"/>
              <a:gd name="connsiteX5" fmla="*/ 6300317 w 11888066"/>
              <a:gd name="connsiteY5" fmla="*/ 64919 h 2863208"/>
              <a:gd name="connsiteX6" fmla="*/ 7063991 w 11888066"/>
              <a:gd name="connsiteY6" fmla="*/ 34774 h 2863208"/>
              <a:gd name="connsiteX7" fmla="*/ 8098972 w 11888066"/>
              <a:gd name="connsiteY7" fmla="*/ 64919 h 2863208"/>
              <a:gd name="connsiteX8" fmla="*/ 9485644 w 11888066"/>
              <a:gd name="connsiteY8" fmla="*/ 64919 h 2863208"/>
              <a:gd name="connsiteX9" fmla="*/ 9827288 w 11888066"/>
              <a:gd name="connsiteY9" fmla="*/ 34774 h 2863208"/>
              <a:gd name="connsiteX10" fmla="*/ 10671350 w 11888066"/>
              <a:gd name="connsiteY10" fmla="*/ 4629 h 2863208"/>
              <a:gd name="connsiteX11" fmla="*/ 11745799 w 11888066"/>
              <a:gd name="connsiteY11" fmla="*/ 346275 h 2863208"/>
              <a:gd name="connsiteX12" fmla="*/ 11786160 w 11888066"/>
              <a:gd name="connsiteY12" fmla="*/ 2587055 h 2863208"/>
              <a:gd name="connsiteX13" fmla="*/ 10912510 w 11888066"/>
              <a:gd name="connsiteY13" fmla="*/ 2828216 h 2863208"/>
              <a:gd name="connsiteX14" fmla="*/ 10008159 w 11888066"/>
              <a:gd name="connsiteY14" fmla="*/ 2828216 h 2863208"/>
              <a:gd name="connsiteX15" fmla="*/ 9435402 w 11888066"/>
              <a:gd name="connsiteY15" fmla="*/ 2828216 h 2863208"/>
              <a:gd name="connsiteX16" fmla="*/ 7365442 w 11888066"/>
              <a:gd name="connsiteY16" fmla="*/ 2788023 h 2863208"/>
              <a:gd name="connsiteX17" fmla="*/ 6742444 w 11888066"/>
              <a:gd name="connsiteY17" fmla="*/ 2808119 h 2863208"/>
              <a:gd name="connsiteX18" fmla="*/ 6601767 w 11888066"/>
              <a:gd name="connsiteY18" fmla="*/ 2798071 h 2863208"/>
              <a:gd name="connsiteX19" fmla="*/ 4783016 w 11888066"/>
              <a:gd name="connsiteY19" fmla="*/ 2848313 h 2863208"/>
              <a:gd name="connsiteX20" fmla="*/ 3938954 w 11888066"/>
              <a:gd name="connsiteY20" fmla="*/ 2828216 h 2863208"/>
              <a:gd name="connsiteX21" fmla="*/ 2944167 w 11888066"/>
              <a:gd name="connsiteY21" fmla="*/ 2808119 h 2863208"/>
              <a:gd name="connsiteX22" fmla="*/ 1889090 w 11888066"/>
              <a:gd name="connsiteY22" fmla="*/ 2818168 h 2863208"/>
              <a:gd name="connsiteX23" fmla="*/ 12890 w 11888066"/>
              <a:gd name="connsiteY23" fmla="*/ 2798069 h 2863208"/>
              <a:gd name="connsiteX0" fmla="*/ 0 w 11848891"/>
              <a:gd name="connsiteY0" fmla="*/ 24726 h 2849235"/>
              <a:gd name="connsiteX1" fmla="*/ 552660 w 11848891"/>
              <a:gd name="connsiteY1" fmla="*/ 4629 h 2849235"/>
              <a:gd name="connsiteX2" fmla="*/ 1637882 w 11848891"/>
              <a:gd name="connsiteY2" fmla="*/ 14677 h 2849235"/>
              <a:gd name="connsiteX3" fmla="*/ 2019719 w 11848891"/>
              <a:gd name="connsiteY3" fmla="*/ 14677 h 2849235"/>
              <a:gd name="connsiteX4" fmla="*/ 4531807 w 11848891"/>
              <a:gd name="connsiteY4" fmla="*/ 34774 h 2849235"/>
              <a:gd name="connsiteX5" fmla="*/ 6300317 w 11848891"/>
              <a:gd name="connsiteY5" fmla="*/ 64919 h 2849235"/>
              <a:gd name="connsiteX6" fmla="*/ 7063991 w 11848891"/>
              <a:gd name="connsiteY6" fmla="*/ 34774 h 2849235"/>
              <a:gd name="connsiteX7" fmla="*/ 8098972 w 11848891"/>
              <a:gd name="connsiteY7" fmla="*/ 64919 h 2849235"/>
              <a:gd name="connsiteX8" fmla="*/ 9485644 w 11848891"/>
              <a:gd name="connsiteY8" fmla="*/ 64919 h 2849235"/>
              <a:gd name="connsiteX9" fmla="*/ 9827288 w 11848891"/>
              <a:gd name="connsiteY9" fmla="*/ 34774 h 2849235"/>
              <a:gd name="connsiteX10" fmla="*/ 10671350 w 11848891"/>
              <a:gd name="connsiteY10" fmla="*/ 4629 h 2849235"/>
              <a:gd name="connsiteX11" fmla="*/ 11745799 w 11848891"/>
              <a:gd name="connsiteY11" fmla="*/ 346275 h 2849235"/>
              <a:gd name="connsiteX12" fmla="*/ 11786160 w 11848891"/>
              <a:gd name="connsiteY12" fmla="*/ 2587055 h 2849235"/>
              <a:gd name="connsiteX13" fmla="*/ 10912510 w 11848891"/>
              <a:gd name="connsiteY13" fmla="*/ 2828216 h 2849235"/>
              <a:gd name="connsiteX14" fmla="*/ 10008159 w 11848891"/>
              <a:gd name="connsiteY14" fmla="*/ 2828216 h 2849235"/>
              <a:gd name="connsiteX15" fmla="*/ 9435402 w 11848891"/>
              <a:gd name="connsiteY15" fmla="*/ 2828216 h 2849235"/>
              <a:gd name="connsiteX16" fmla="*/ 7365442 w 11848891"/>
              <a:gd name="connsiteY16" fmla="*/ 2788023 h 2849235"/>
              <a:gd name="connsiteX17" fmla="*/ 6742444 w 11848891"/>
              <a:gd name="connsiteY17" fmla="*/ 2808119 h 2849235"/>
              <a:gd name="connsiteX18" fmla="*/ 6601767 w 11848891"/>
              <a:gd name="connsiteY18" fmla="*/ 2798071 h 2849235"/>
              <a:gd name="connsiteX19" fmla="*/ 4783016 w 11848891"/>
              <a:gd name="connsiteY19" fmla="*/ 2848313 h 2849235"/>
              <a:gd name="connsiteX20" fmla="*/ 3938954 w 11848891"/>
              <a:gd name="connsiteY20" fmla="*/ 2828216 h 2849235"/>
              <a:gd name="connsiteX21" fmla="*/ 2944167 w 11848891"/>
              <a:gd name="connsiteY21" fmla="*/ 2808119 h 2849235"/>
              <a:gd name="connsiteX22" fmla="*/ 1889090 w 11848891"/>
              <a:gd name="connsiteY22" fmla="*/ 2818168 h 2849235"/>
              <a:gd name="connsiteX23" fmla="*/ 12890 w 11848891"/>
              <a:gd name="connsiteY23" fmla="*/ 2798069 h 2849235"/>
              <a:gd name="connsiteX0" fmla="*/ 0 w 11916572"/>
              <a:gd name="connsiteY0" fmla="*/ 24726 h 2849235"/>
              <a:gd name="connsiteX1" fmla="*/ 552660 w 11916572"/>
              <a:gd name="connsiteY1" fmla="*/ 4629 h 2849235"/>
              <a:gd name="connsiteX2" fmla="*/ 1637882 w 11916572"/>
              <a:gd name="connsiteY2" fmla="*/ 14677 h 2849235"/>
              <a:gd name="connsiteX3" fmla="*/ 2019719 w 11916572"/>
              <a:gd name="connsiteY3" fmla="*/ 14677 h 2849235"/>
              <a:gd name="connsiteX4" fmla="*/ 4531807 w 11916572"/>
              <a:gd name="connsiteY4" fmla="*/ 34774 h 2849235"/>
              <a:gd name="connsiteX5" fmla="*/ 6300317 w 11916572"/>
              <a:gd name="connsiteY5" fmla="*/ 64919 h 2849235"/>
              <a:gd name="connsiteX6" fmla="*/ 7063991 w 11916572"/>
              <a:gd name="connsiteY6" fmla="*/ 34774 h 2849235"/>
              <a:gd name="connsiteX7" fmla="*/ 8098972 w 11916572"/>
              <a:gd name="connsiteY7" fmla="*/ 64919 h 2849235"/>
              <a:gd name="connsiteX8" fmla="*/ 9485644 w 11916572"/>
              <a:gd name="connsiteY8" fmla="*/ 64919 h 2849235"/>
              <a:gd name="connsiteX9" fmla="*/ 9827288 w 11916572"/>
              <a:gd name="connsiteY9" fmla="*/ 34774 h 2849235"/>
              <a:gd name="connsiteX10" fmla="*/ 10671350 w 11916572"/>
              <a:gd name="connsiteY10" fmla="*/ 4629 h 2849235"/>
              <a:gd name="connsiteX11" fmla="*/ 11745799 w 11916572"/>
              <a:gd name="connsiteY11" fmla="*/ 346275 h 2849235"/>
              <a:gd name="connsiteX12" fmla="*/ 11786160 w 11916572"/>
              <a:gd name="connsiteY12" fmla="*/ 2587055 h 2849235"/>
              <a:gd name="connsiteX13" fmla="*/ 10912510 w 11916572"/>
              <a:gd name="connsiteY13" fmla="*/ 2828216 h 2849235"/>
              <a:gd name="connsiteX14" fmla="*/ 10008159 w 11916572"/>
              <a:gd name="connsiteY14" fmla="*/ 2828216 h 2849235"/>
              <a:gd name="connsiteX15" fmla="*/ 9435402 w 11916572"/>
              <a:gd name="connsiteY15" fmla="*/ 2828216 h 2849235"/>
              <a:gd name="connsiteX16" fmla="*/ 7365442 w 11916572"/>
              <a:gd name="connsiteY16" fmla="*/ 2788023 h 2849235"/>
              <a:gd name="connsiteX17" fmla="*/ 6742444 w 11916572"/>
              <a:gd name="connsiteY17" fmla="*/ 2808119 h 2849235"/>
              <a:gd name="connsiteX18" fmla="*/ 6601767 w 11916572"/>
              <a:gd name="connsiteY18" fmla="*/ 2798071 h 2849235"/>
              <a:gd name="connsiteX19" fmla="*/ 4783016 w 11916572"/>
              <a:gd name="connsiteY19" fmla="*/ 2848313 h 2849235"/>
              <a:gd name="connsiteX20" fmla="*/ 3938954 w 11916572"/>
              <a:gd name="connsiteY20" fmla="*/ 2828216 h 2849235"/>
              <a:gd name="connsiteX21" fmla="*/ 2944167 w 11916572"/>
              <a:gd name="connsiteY21" fmla="*/ 2808119 h 2849235"/>
              <a:gd name="connsiteX22" fmla="*/ 1889090 w 11916572"/>
              <a:gd name="connsiteY22" fmla="*/ 2818168 h 2849235"/>
              <a:gd name="connsiteX23" fmla="*/ 12890 w 11916572"/>
              <a:gd name="connsiteY23" fmla="*/ 2798069 h 2849235"/>
              <a:gd name="connsiteX0" fmla="*/ 0 w 11936930"/>
              <a:gd name="connsiteY0" fmla="*/ 24726 h 2849235"/>
              <a:gd name="connsiteX1" fmla="*/ 552660 w 11936930"/>
              <a:gd name="connsiteY1" fmla="*/ 4629 h 2849235"/>
              <a:gd name="connsiteX2" fmla="*/ 1637882 w 11936930"/>
              <a:gd name="connsiteY2" fmla="*/ 14677 h 2849235"/>
              <a:gd name="connsiteX3" fmla="*/ 2019719 w 11936930"/>
              <a:gd name="connsiteY3" fmla="*/ 14677 h 2849235"/>
              <a:gd name="connsiteX4" fmla="*/ 4531807 w 11936930"/>
              <a:gd name="connsiteY4" fmla="*/ 34774 h 2849235"/>
              <a:gd name="connsiteX5" fmla="*/ 6300317 w 11936930"/>
              <a:gd name="connsiteY5" fmla="*/ 64919 h 2849235"/>
              <a:gd name="connsiteX6" fmla="*/ 7063991 w 11936930"/>
              <a:gd name="connsiteY6" fmla="*/ 34774 h 2849235"/>
              <a:gd name="connsiteX7" fmla="*/ 8098972 w 11936930"/>
              <a:gd name="connsiteY7" fmla="*/ 64919 h 2849235"/>
              <a:gd name="connsiteX8" fmla="*/ 9485644 w 11936930"/>
              <a:gd name="connsiteY8" fmla="*/ 64919 h 2849235"/>
              <a:gd name="connsiteX9" fmla="*/ 9827288 w 11936930"/>
              <a:gd name="connsiteY9" fmla="*/ 34774 h 2849235"/>
              <a:gd name="connsiteX10" fmla="*/ 10311615 w 11936930"/>
              <a:gd name="connsiteY10" fmla="*/ 4629 h 2849235"/>
              <a:gd name="connsiteX11" fmla="*/ 11745799 w 11936930"/>
              <a:gd name="connsiteY11" fmla="*/ 346275 h 2849235"/>
              <a:gd name="connsiteX12" fmla="*/ 11786160 w 11936930"/>
              <a:gd name="connsiteY12" fmla="*/ 2587055 h 2849235"/>
              <a:gd name="connsiteX13" fmla="*/ 10912510 w 11936930"/>
              <a:gd name="connsiteY13" fmla="*/ 2828216 h 2849235"/>
              <a:gd name="connsiteX14" fmla="*/ 10008159 w 11936930"/>
              <a:gd name="connsiteY14" fmla="*/ 2828216 h 2849235"/>
              <a:gd name="connsiteX15" fmla="*/ 9435402 w 11936930"/>
              <a:gd name="connsiteY15" fmla="*/ 2828216 h 2849235"/>
              <a:gd name="connsiteX16" fmla="*/ 7365442 w 11936930"/>
              <a:gd name="connsiteY16" fmla="*/ 2788023 h 2849235"/>
              <a:gd name="connsiteX17" fmla="*/ 6742444 w 11936930"/>
              <a:gd name="connsiteY17" fmla="*/ 2808119 h 2849235"/>
              <a:gd name="connsiteX18" fmla="*/ 6601767 w 11936930"/>
              <a:gd name="connsiteY18" fmla="*/ 2798071 h 2849235"/>
              <a:gd name="connsiteX19" fmla="*/ 4783016 w 11936930"/>
              <a:gd name="connsiteY19" fmla="*/ 2848313 h 2849235"/>
              <a:gd name="connsiteX20" fmla="*/ 3938954 w 11936930"/>
              <a:gd name="connsiteY20" fmla="*/ 2828216 h 2849235"/>
              <a:gd name="connsiteX21" fmla="*/ 2944167 w 11936930"/>
              <a:gd name="connsiteY21" fmla="*/ 2808119 h 2849235"/>
              <a:gd name="connsiteX22" fmla="*/ 1889090 w 11936930"/>
              <a:gd name="connsiteY22" fmla="*/ 2818168 h 2849235"/>
              <a:gd name="connsiteX23" fmla="*/ 12890 w 11936930"/>
              <a:gd name="connsiteY23" fmla="*/ 2798069 h 2849235"/>
              <a:gd name="connsiteX0" fmla="*/ 0 w 11936930"/>
              <a:gd name="connsiteY0" fmla="*/ 24726 h 2849235"/>
              <a:gd name="connsiteX1" fmla="*/ 552660 w 11936930"/>
              <a:gd name="connsiteY1" fmla="*/ 4629 h 2849235"/>
              <a:gd name="connsiteX2" fmla="*/ 1637882 w 11936930"/>
              <a:gd name="connsiteY2" fmla="*/ 14677 h 2849235"/>
              <a:gd name="connsiteX3" fmla="*/ 2019719 w 11936930"/>
              <a:gd name="connsiteY3" fmla="*/ 14677 h 2849235"/>
              <a:gd name="connsiteX4" fmla="*/ 4531807 w 11936930"/>
              <a:gd name="connsiteY4" fmla="*/ 34774 h 2849235"/>
              <a:gd name="connsiteX5" fmla="*/ 6300317 w 11936930"/>
              <a:gd name="connsiteY5" fmla="*/ 64919 h 2849235"/>
              <a:gd name="connsiteX6" fmla="*/ 7063991 w 11936930"/>
              <a:gd name="connsiteY6" fmla="*/ 34774 h 2849235"/>
              <a:gd name="connsiteX7" fmla="*/ 8098972 w 11936930"/>
              <a:gd name="connsiteY7" fmla="*/ 64919 h 2849235"/>
              <a:gd name="connsiteX8" fmla="*/ 9485644 w 11936930"/>
              <a:gd name="connsiteY8" fmla="*/ 64919 h 2849235"/>
              <a:gd name="connsiteX9" fmla="*/ 10311615 w 11936930"/>
              <a:gd name="connsiteY9" fmla="*/ 4629 h 2849235"/>
              <a:gd name="connsiteX10" fmla="*/ 11745799 w 11936930"/>
              <a:gd name="connsiteY10" fmla="*/ 346275 h 2849235"/>
              <a:gd name="connsiteX11" fmla="*/ 11786160 w 11936930"/>
              <a:gd name="connsiteY11" fmla="*/ 2587055 h 2849235"/>
              <a:gd name="connsiteX12" fmla="*/ 10912510 w 11936930"/>
              <a:gd name="connsiteY12" fmla="*/ 2828216 h 2849235"/>
              <a:gd name="connsiteX13" fmla="*/ 10008159 w 11936930"/>
              <a:gd name="connsiteY13" fmla="*/ 2828216 h 2849235"/>
              <a:gd name="connsiteX14" fmla="*/ 9435402 w 11936930"/>
              <a:gd name="connsiteY14" fmla="*/ 2828216 h 2849235"/>
              <a:gd name="connsiteX15" fmla="*/ 7365442 w 11936930"/>
              <a:gd name="connsiteY15" fmla="*/ 2788023 h 2849235"/>
              <a:gd name="connsiteX16" fmla="*/ 6742444 w 11936930"/>
              <a:gd name="connsiteY16" fmla="*/ 2808119 h 2849235"/>
              <a:gd name="connsiteX17" fmla="*/ 6601767 w 11936930"/>
              <a:gd name="connsiteY17" fmla="*/ 2798071 h 2849235"/>
              <a:gd name="connsiteX18" fmla="*/ 4783016 w 11936930"/>
              <a:gd name="connsiteY18" fmla="*/ 2848313 h 2849235"/>
              <a:gd name="connsiteX19" fmla="*/ 3938954 w 11936930"/>
              <a:gd name="connsiteY19" fmla="*/ 2828216 h 2849235"/>
              <a:gd name="connsiteX20" fmla="*/ 2944167 w 11936930"/>
              <a:gd name="connsiteY20" fmla="*/ 2808119 h 2849235"/>
              <a:gd name="connsiteX21" fmla="*/ 1889090 w 11936930"/>
              <a:gd name="connsiteY21" fmla="*/ 2818168 h 2849235"/>
              <a:gd name="connsiteX22" fmla="*/ 12890 w 11936930"/>
              <a:gd name="connsiteY22" fmla="*/ 2798069 h 2849235"/>
              <a:gd name="connsiteX0" fmla="*/ 0 w 11936930"/>
              <a:gd name="connsiteY0" fmla="*/ 24726 h 2849235"/>
              <a:gd name="connsiteX1" fmla="*/ 552660 w 11936930"/>
              <a:gd name="connsiteY1" fmla="*/ 4629 h 2849235"/>
              <a:gd name="connsiteX2" fmla="*/ 1637882 w 11936930"/>
              <a:gd name="connsiteY2" fmla="*/ 14677 h 2849235"/>
              <a:gd name="connsiteX3" fmla="*/ 2019719 w 11936930"/>
              <a:gd name="connsiteY3" fmla="*/ 14677 h 2849235"/>
              <a:gd name="connsiteX4" fmla="*/ 4531807 w 11936930"/>
              <a:gd name="connsiteY4" fmla="*/ 34774 h 2849235"/>
              <a:gd name="connsiteX5" fmla="*/ 6300317 w 11936930"/>
              <a:gd name="connsiteY5" fmla="*/ 64919 h 2849235"/>
              <a:gd name="connsiteX6" fmla="*/ 7063991 w 11936930"/>
              <a:gd name="connsiteY6" fmla="*/ 34774 h 2849235"/>
              <a:gd name="connsiteX7" fmla="*/ 8098972 w 11936930"/>
              <a:gd name="connsiteY7" fmla="*/ 64919 h 2849235"/>
              <a:gd name="connsiteX8" fmla="*/ 8956033 w 11936930"/>
              <a:gd name="connsiteY8" fmla="*/ 64919 h 2849235"/>
              <a:gd name="connsiteX9" fmla="*/ 10311615 w 11936930"/>
              <a:gd name="connsiteY9" fmla="*/ 4629 h 2849235"/>
              <a:gd name="connsiteX10" fmla="*/ 11745799 w 11936930"/>
              <a:gd name="connsiteY10" fmla="*/ 346275 h 2849235"/>
              <a:gd name="connsiteX11" fmla="*/ 11786160 w 11936930"/>
              <a:gd name="connsiteY11" fmla="*/ 2587055 h 2849235"/>
              <a:gd name="connsiteX12" fmla="*/ 10912510 w 11936930"/>
              <a:gd name="connsiteY12" fmla="*/ 2828216 h 2849235"/>
              <a:gd name="connsiteX13" fmla="*/ 10008159 w 11936930"/>
              <a:gd name="connsiteY13" fmla="*/ 2828216 h 2849235"/>
              <a:gd name="connsiteX14" fmla="*/ 9435402 w 11936930"/>
              <a:gd name="connsiteY14" fmla="*/ 2828216 h 2849235"/>
              <a:gd name="connsiteX15" fmla="*/ 7365442 w 11936930"/>
              <a:gd name="connsiteY15" fmla="*/ 2788023 h 2849235"/>
              <a:gd name="connsiteX16" fmla="*/ 6742444 w 11936930"/>
              <a:gd name="connsiteY16" fmla="*/ 2808119 h 2849235"/>
              <a:gd name="connsiteX17" fmla="*/ 6601767 w 11936930"/>
              <a:gd name="connsiteY17" fmla="*/ 2798071 h 2849235"/>
              <a:gd name="connsiteX18" fmla="*/ 4783016 w 11936930"/>
              <a:gd name="connsiteY18" fmla="*/ 2848313 h 2849235"/>
              <a:gd name="connsiteX19" fmla="*/ 3938954 w 11936930"/>
              <a:gd name="connsiteY19" fmla="*/ 2828216 h 2849235"/>
              <a:gd name="connsiteX20" fmla="*/ 2944167 w 11936930"/>
              <a:gd name="connsiteY20" fmla="*/ 2808119 h 2849235"/>
              <a:gd name="connsiteX21" fmla="*/ 1889090 w 11936930"/>
              <a:gd name="connsiteY21" fmla="*/ 2818168 h 2849235"/>
              <a:gd name="connsiteX22" fmla="*/ 12890 w 11936930"/>
              <a:gd name="connsiteY22" fmla="*/ 2798069 h 2849235"/>
              <a:gd name="connsiteX0" fmla="*/ 0 w 11949661"/>
              <a:gd name="connsiteY0" fmla="*/ 24726 h 2849235"/>
              <a:gd name="connsiteX1" fmla="*/ 552660 w 11949661"/>
              <a:gd name="connsiteY1" fmla="*/ 4629 h 2849235"/>
              <a:gd name="connsiteX2" fmla="*/ 1637882 w 11949661"/>
              <a:gd name="connsiteY2" fmla="*/ 14677 h 2849235"/>
              <a:gd name="connsiteX3" fmla="*/ 2019719 w 11949661"/>
              <a:gd name="connsiteY3" fmla="*/ 14677 h 2849235"/>
              <a:gd name="connsiteX4" fmla="*/ 4531807 w 11949661"/>
              <a:gd name="connsiteY4" fmla="*/ 34774 h 2849235"/>
              <a:gd name="connsiteX5" fmla="*/ 6300317 w 11949661"/>
              <a:gd name="connsiteY5" fmla="*/ 64919 h 2849235"/>
              <a:gd name="connsiteX6" fmla="*/ 7063991 w 11949661"/>
              <a:gd name="connsiteY6" fmla="*/ 34774 h 2849235"/>
              <a:gd name="connsiteX7" fmla="*/ 8098972 w 11949661"/>
              <a:gd name="connsiteY7" fmla="*/ 64919 h 2849235"/>
              <a:gd name="connsiteX8" fmla="*/ 8956033 w 11949661"/>
              <a:gd name="connsiteY8" fmla="*/ 64919 h 2849235"/>
              <a:gd name="connsiteX9" fmla="*/ 10101769 w 11949661"/>
              <a:gd name="connsiteY9" fmla="*/ 4629 h 2849235"/>
              <a:gd name="connsiteX10" fmla="*/ 11745799 w 11949661"/>
              <a:gd name="connsiteY10" fmla="*/ 346275 h 2849235"/>
              <a:gd name="connsiteX11" fmla="*/ 11786160 w 11949661"/>
              <a:gd name="connsiteY11" fmla="*/ 2587055 h 2849235"/>
              <a:gd name="connsiteX12" fmla="*/ 10912510 w 11949661"/>
              <a:gd name="connsiteY12" fmla="*/ 2828216 h 2849235"/>
              <a:gd name="connsiteX13" fmla="*/ 10008159 w 11949661"/>
              <a:gd name="connsiteY13" fmla="*/ 2828216 h 2849235"/>
              <a:gd name="connsiteX14" fmla="*/ 9435402 w 11949661"/>
              <a:gd name="connsiteY14" fmla="*/ 2828216 h 2849235"/>
              <a:gd name="connsiteX15" fmla="*/ 7365442 w 11949661"/>
              <a:gd name="connsiteY15" fmla="*/ 2788023 h 2849235"/>
              <a:gd name="connsiteX16" fmla="*/ 6742444 w 11949661"/>
              <a:gd name="connsiteY16" fmla="*/ 2808119 h 2849235"/>
              <a:gd name="connsiteX17" fmla="*/ 6601767 w 11949661"/>
              <a:gd name="connsiteY17" fmla="*/ 2798071 h 2849235"/>
              <a:gd name="connsiteX18" fmla="*/ 4783016 w 11949661"/>
              <a:gd name="connsiteY18" fmla="*/ 2848313 h 2849235"/>
              <a:gd name="connsiteX19" fmla="*/ 3938954 w 11949661"/>
              <a:gd name="connsiteY19" fmla="*/ 2828216 h 2849235"/>
              <a:gd name="connsiteX20" fmla="*/ 2944167 w 11949661"/>
              <a:gd name="connsiteY20" fmla="*/ 2808119 h 2849235"/>
              <a:gd name="connsiteX21" fmla="*/ 1889090 w 11949661"/>
              <a:gd name="connsiteY21" fmla="*/ 2818168 h 2849235"/>
              <a:gd name="connsiteX22" fmla="*/ 12890 w 11949661"/>
              <a:gd name="connsiteY22" fmla="*/ 2798069 h 2849235"/>
              <a:gd name="connsiteX0" fmla="*/ 0 w 11981169"/>
              <a:gd name="connsiteY0" fmla="*/ 24726 h 2849235"/>
              <a:gd name="connsiteX1" fmla="*/ 552660 w 11981169"/>
              <a:gd name="connsiteY1" fmla="*/ 4629 h 2849235"/>
              <a:gd name="connsiteX2" fmla="*/ 1637882 w 11981169"/>
              <a:gd name="connsiteY2" fmla="*/ 14677 h 2849235"/>
              <a:gd name="connsiteX3" fmla="*/ 2019719 w 11981169"/>
              <a:gd name="connsiteY3" fmla="*/ 14677 h 2849235"/>
              <a:gd name="connsiteX4" fmla="*/ 4531807 w 11981169"/>
              <a:gd name="connsiteY4" fmla="*/ 34774 h 2849235"/>
              <a:gd name="connsiteX5" fmla="*/ 6300317 w 11981169"/>
              <a:gd name="connsiteY5" fmla="*/ 64919 h 2849235"/>
              <a:gd name="connsiteX6" fmla="*/ 7063991 w 11981169"/>
              <a:gd name="connsiteY6" fmla="*/ 34774 h 2849235"/>
              <a:gd name="connsiteX7" fmla="*/ 8098972 w 11981169"/>
              <a:gd name="connsiteY7" fmla="*/ 64919 h 2849235"/>
              <a:gd name="connsiteX8" fmla="*/ 8956033 w 11981169"/>
              <a:gd name="connsiteY8" fmla="*/ 64919 h 2849235"/>
              <a:gd name="connsiteX9" fmla="*/ 10101769 w 11981169"/>
              <a:gd name="connsiteY9" fmla="*/ 4629 h 2849235"/>
              <a:gd name="connsiteX10" fmla="*/ 11745799 w 11981169"/>
              <a:gd name="connsiteY10" fmla="*/ 346275 h 2849235"/>
              <a:gd name="connsiteX11" fmla="*/ 11786160 w 11981169"/>
              <a:gd name="connsiteY11" fmla="*/ 2587055 h 2849235"/>
              <a:gd name="connsiteX12" fmla="*/ 10008159 w 11981169"/>
              <a:gd name="connsiteY12" fmla="*/ 2828216 h 2849235"/>
              <a:gd name="connsiteX13" fmla="*/ 9435402 w 11981169"/>
              <a:gd name="connsiteY13" fmla="*/ 2828216 h 2849235"/>
              <a:gd name="connsiteX14" fmla="*/ 7365442 w 11981169"/>
              <a:gd name="connsiteY14" fmla="*/ 2788023 h 2849235"/>
              <a:gd name="connsiteX15" fmla="*/ 6742444 w 11981169"/>
              <a:gd name="connsiteY15" fmla="*/ 2808119 h 2849235"/>
              <a:gd name="connsiteX16" fmla="*/ 6601767 w 11981169"/>
              <a:gd name="connsiteY16" fmla="*/ 2798071 h 2849235"/>
              <a:gd name="connsiteX17" fmla="*/ 4783016 w 11981169"/>
              <a:gd name="connsiteY17" fmla="*/ 2848313 h 2849235"/>
              <a:gd name="connsiteX18" fmla="*/ 3938954 w 11981169"/>
              <a:gd name="connsiteY18" fmla="*/ 2828216 h 2849235"/>
              <a:gd name="connsiteX19" fmla="*/ 2944167 w 11981169"/>
              <a:gd name="connsiteY19" fmla="*/ 2808119 h 2849235"/>
              <a:gd name="connsiteX20" fmla="*/ 1889090 w 11981169"/>
              <a:gd name="connsiteY20" fmla="*/ 2818168 h 2849235"/>
              <a:gd name="connsiteX21" fmla="*/ 12890 w 11981169"/>
              <a:gd name="connsiteY21" fmla="*/ 2798069 h 2849235"/>
              <a:gd name="connsiteX0" fmla="*/ 0 w 11940760"/>
              <a:gd name="connsiteY0" fmla="*/ 24144 h 2848653"/>
              <a:gd name="connsiteX1" fmla="*/ 552660 w 11940760"/>
              <a:gd name="connsiteY1" fmla="*/ 4047 h 2848653"/>
              <a:gd name="connsiteX2" fmla="*/ 1637882 w 11940760"/>
              <a:gd name="connsiteY2" fmla="*/ 14095 h 2848653"/>
              <a:gd name="connsiteX3" fmla="*/ 2019719 w 11940760"/>
              <a:gd name="connsiteY3" fmla="*/ 14095 h 2848653"/>
              <a:gd name="connsiteX4" fmla="*/ 4531807 w 11940760"/>
              <a:gd name="connsiteY4" fmla="*/ 34192 h 2848653"/>
              <a:gd name="connsiteX5" fmla="*/ 6300317 w 11940760"/>
              <a:gd name="connsiteY5" fmla="*/ 64337 h 2848653"/>
              <a:gd name="connsiteX6" fmla="*/ 7063991 w 11940760"/>
              <a:gd name="connsiteY6" fmla="*/ 34192 h 2848653"/>
              <a:gd name="connsiteX7" fmla="*/ 8098972 w 11940760"/>
              <a:gd name="connsiteY7" fmla="*/ 64337 h 2848653"/>
              <a:gd name="connsiteX8" fmla="*/ 8956033 w 11940760"/>
              <a:gd name="connsiteY8" fmla="*/ 64337 h 2848653"/>
              <a:gd name="connsiteX9" fmla="*/ 10101769 w 11940760"/>
              <a:gd name="connsiteY9" fmla="*/ 4047 h 2848653"/>
              <a:gd name="connsiteX10" fmla="*/ 11745799 w 11940760"/>
              <a:gd name="connsiteY10" fmla="*/ 345693 h 2848653"/>
              <a:gd name="connsiteX11" fmla="*/ 11716211 w 11940760"/>
              <a:gd name="connsiteY11" fmla="*/ 2566377 h 2848653"/>
              <a:gd name="connsiteX12" fmla="*/ 10008159 w 11940760"/>
              <a:gd name="connsiteY12" fmla="*/ 2827634 h 2848653"/>
              <a:gd name="connsiteX13" fmla="*/ 9435402 w 11940760"/>
              <a:gd name="connsiteY13" fmla="*/ 2827634 h 2848653"/>
              <a:gd name="connsiteX14" fmla="*/ 7365442 w 11940760"/>
              <a:gd name="connsiteY14" fmla="*/ 2787441 h 2848653"/>
              <a:gd name="connsiteX15" fmla="*/ 6742444 w 11940760"/>
              <a:gd name="connsiteY15" fmla="*/ 2807537 h 2848653"/>
              <a:gd name="connsiteX16" fmla="*/ 6601767 w 11940760"/>
              <a:gd name="connsiteY16" fmla="*/ 2797489 h 2848653"/>
              <a:gd name="connsiteX17" fmla="*/ 4783016 w 11940760"/>
              <a:gd name="connsiteY17" fmla="*/ 2847731 h 2848653"/>
              <a:gd name="connsiteX18" fmla="*/ 3938954 w 11940760"/>
              <a:gd name="connsiteY18" fmla="*/ 2827634 h 2848653"/>
              <a:gd name="connsiteX19" fmla="*/ 2944167 w 11940760"/>
              <a:gd name="connsiteY19" fmla="*/ 2807537 h 2848653"/>
              <a:gd name="connsiteX20" fmla="*/ 1889090 w 11940760"/>
              <a:gd name="connsiteY20" fmla="*/ 2817586 h 2848653"/>
              <a:gd name="connsiteX21" fmla="*/ 12890 w 11940760"/>
              <a:gd name="connsiteY21" fmla="*/ 2797487 h 2848653"/>
              <a:gd name="connsiteX0" fmla="*/ 0 w 12001276"/>
              <a:gd name="connsiteY0" fmla="*/ 24144 h 2848653"/>
              <a:gd name="connsiteX1" fmla="*/ 552660 w 12001276"/>
              <a:gd name="connsiteY1" fmla="*/ 4047 h 2848653"/>
              <a:gd name="connsiteX2" fmla="*/ 1637882 w 12001276"/>
              <a:gd name="connsiteY2" fmla="*/ 14095 h 2848653"/>
              <a:gd name="connsiteX3" fmla="*/ 2019719 w 12001276"/>
              <a:gd name="connsiteY3" fmla="*/ 14095 h 2848653"/>
              <a:gd name="connsiteX4" fmla="*/ 4531807 w 12001276"/>
              <a:gd name="connsiteY4" fmla="*/ 34192 h 2848653"/>
              <a:gd name="connsiteX5" fmla="*/ 6300317 w 12001276"/>
              <a:gd name="connsiteY5" fmla="*/ 64337 h 2848653"/>
              <a:gd name="connsiteX6" fmla="*/ 7063991 w 12001276"/>
              <a:gd name="connsiteY6" fmla="*/ 34192 h 2848653"/>
              <a:gd name="connsiteX7" fmla="*/ 8098972 w 12001276"/>
              <a:gd name="connsiteY7" fmla="*/ 64337 h 2848653"/>
              <a:gd name="connsiteX8" fmla="*/ 8956033 w 12001276"/>
              <a:gd name="connsiteY8" fmla="*/ 64337 h 2848653"/>
              <a:gd name="connsiteX9" fmla="*/ 10101769 w 12001276"/>
              <a:gd name="connsiteY9" fmla="*/ 4047 h 2848653"/>
              <a:gd name="connsiteX10" fmla="*/ 11745799 w 12001276"/>
              <a:gd name="connsiteY10" fmla="*/ 345693 h 2848653"/>
              <a:gd name="connsiteX11" fmla="*/ 11716211 w 12001276"/>
              <a:gd name="connsiteY11" fmla="*/ 2566377 h 2848653"/>
              <a:gd name="connsiteX12" fmla="*/ 10008159 w 12001276"/>
              <a:gd name="connsiteY12" fmla="*/ 2827634 h 2848653"/>
              <a:gd name="connsiteX13" fmla="*/ 9435402 w 12001276"/>
              <a:gd name="connsiteY13" fmla="*/ 2827634 h 2848653"/>
              <a:gd name="connsiteX14" fmla="*/ 7365442 w 12001276"/>
              <a:gd name="connsiteY14" fmla="*/ 2787441 h 2848653"/>
              <a:gd name="connsiteX15" fmla="*/ 6742444 w 12001276"/>
              <a:gd name="connsiteY15" fmla="*/ 2807537 h 2848653"/>
              <a:gd name="connsiteX16" fmla="*/ 6601767 w 12001276"/>
              <a:gd name="connsiteY16" fmla="*/ 2797489 h 2848653"/>
              <a:gd name="connsiteX17" fmla="*/ 4783016 w 12001276"/>
              <a:gd name="connsiteY17" fmla="*/ 2847731 h 2848653"/>
              <a:gd name="connsiteX18" fmla="*/ 3938954 w 12001276"/>
              <a:gd name="connsiteY18" fmla="*/ 2827634 h 2848653"/>
              <a:gd name="connsiteX19" fmla="*/ 2944167 w 12001276"/>
              <a:gd name="connsiteY19" fmla="*/ 2807537 h 2848653"/>
              <a:gd name="connsiteX20" fmla="*/ 1889090 w 12001276"/>
              <a:gd name="connsiteY20" fmla="*/ 2817586 h 2848653"/>
              <a:gd name="connsiteX21" fmla="*/ 12890 w 12001276"/>
              <a:gd name="connsiteY21" fmla="*/ 2797487 h 2848653"/>
              <a:gd name="connsiteX0" fmla="*/ 0 w 11892644"/>
              <a:gd name="connsiteY0" fmla="*/ 20953 h 2845462"/>
              <a:gd name="connsiteX1" fmla="*/ 552660 w 11892644"/>
              <a:gd name="connsiteY1" fmla="*/ 856 h 2845462"/>
              <a:gd name="connsiteX2" fmla="*/ 1637882 w 11892644"/>
              <a:gd name="connsiteY2" fmla="*/ 10904 h 2845462"/>
              <a:gd name="connsiteX3" fmla="*/ 2019719 w 11892644"/>
              <a:gd name="connsiteY3" fmla="*/ 10904 h 2845462"/>
              <a:gd name="connsiteX4" fmla="*/ 4531807 w 11892644"/>
              <a:gd name="connsiteY4" fmla="*/ 31001 h 2845462"/>
              <a:gd name="connsiteX5" fmla="*/ 6300317 w 11892644"/>
              <a:gd name="connsiteY5" fmla="*/ 61146 h 2845462"/>
              <a:gd name="connsiteX6" fmla="*/ 7063991 w 11892644"/>
              <a:gd name="connsiteY6" fmla="*/ 31001 h 2845462"/>
              <a:gd name="connsiteX7" fmla="*/ 8098972 w 11892644"/>
              <a:gd name="connsiteY7" fmla="*/ 61146 h 2845462"/>
              <a:gd name="connsiteX8" fmla="*/ 8956033 w 11892644"/>
              <a:gd name="connsiteY8" fmla="*/ 61146 h 2845462"/>
              <a:gd name="connsiteX9" fmla="*/ 10101769 w 11892644"/>
              <a:gd name="connsiteY9" fmla="*/ 856 h 2845462"/>
              <a:gd name="connsiteX10" fmla="*/ 11655866 w 11892644"/>
              <a:gd name="connsiteY10" fmla="*/ 362598 h 2845462"/>
              <a:gd name="connsiteX11" fmla="*/ 11716211 w 11892644"/>
              <a:gd name="connsiteY11" fmla="*/ 2563186 h 2845462"/>
              <a:gd name="connsiteX12" fmla="*/ 10008159 w 11892644"/>
              <a:gd name="connsiteY12" fmla="*/ 2824443 h 2845462"/>
              <a:gd name="connsiteX13" fmla="*/ 9435402 w 11892644"/>
              <a:gd name="connsiteY13" fmla="*/ 2824443 h 2845462"/>
              <a:gd name="connsiteX14" fmla="*/ 7365442 w 11892644"/>
              <a:gd name="connsiteY14" fmla="*/ 2784250 h 2845462"/>
              <a:gd name="connsiteX15" fmla="*/ 6742444 w 11892644"/>
              <a:gd name="connsiteY15" fmla="*/ 2804346 h 2845462"/>
              <a:gd name="connsiteX16" fmla="*/ 6601767 w 11892644"/>
              <a:gd name="connsiteY16" fmla="*/ 2794298 h 2845462"/>
              <a:gd name="connsiteX17" fmla="*/ 4783016 w 11892644"/>
              <a:gd name="connsiteY17" fmla="*/ 2844540 h 2845462"/>
              <a:gd name="connsiteX18" fmla="*/ 3938954 w 11892644"/>
              <a:gd name="connsiteY18" fmla="*/ 2824443 h 2845462"/>
              <a:gd name="connsiteX19" fmla="*/ 2944167 w 11892644"/>
              <a:gd name="connsiteY19" fmla="*/ 2804346 h 2845462"/>
              <a:gd name="connsiteX20" fmla="*/ 1889090 w 11892644"/>
              <a:gd name="connsiteY20" fmla="*/ 2814395 h 2845462"/>
              <a:gd name="connsiteX21" fmla="*/ 12890 w 11892644"/>
              <a:gd name="connsiteY21" fmla="*/ 2794296 h 2845462"/>
              <a:gd name="connsiteX0" fmla="*/ 0 w 11834291"/>
              <a:gd name="connsiteY0" fmla="*/ 20767 h 2845276"/>
              <a:gd name="connsiteX1" fmla="*/ 552660 w 11834291"/>
              <a:gd name="connsiteY1" fmla="*/ 670 h 2845276"/>
              <a:gd name="connsiteX2" fmla="*/ 1637882 w 11834291"/>
              <a:gd name="connsiteY2" fmla="*/ 10718 h 2845276"/>
              <a:gd name="connsiteX3" fmla="*/ 2019719 w 11834291"/>
              <a:gd name="connsiteY3" fmla="*/ 10718 h 2845276"/>
              <a:gd name="connsiteX4" fmla="*/ 4531807 w 11834291"/>
              <a:gd name="connsiteY4" fmla="*/ 30815 h 2845276"/>
              <a:gd name="connsiteX5" fmla="*/ 6300317 w 11834291"/>
              <a:gd name="connsiteY5" fmla="*/ 60960 h 2845276"/>
              <a:gd name="connsiteX6" fmla="*/ 7063991 w 11834291"/>
              <a:gd name="connsiteY6" fmla="*/ 30815 h 2845276"/>
              <a:gd name="connsiteX7" fmla="*/ 8098972 w 11834291"/>
              <a:gd name="connsiteY7" fmla="*/ 60960 h 2845276"/>
              <a:gd name="connsiteX8" fmla="*/ 8956033 w 11834291"/>
              <a:gd name="connsiteY8" fmla="*/ 60960 h 2845276"/>
              <a:gd name="connsiteX9" fmla="*/ 10101769 w 11834291"/>
              <a:gd name="connsiteY9" fmla="*/ 670 h 2845276"/>
              <a:gd name="connsiteX10" fmla="*/ 11655866 w 11834291"/>
              <a:gd name="connsiteY10" fmla="*/ 362412 h 2845276"/>
              <a:gd name="connsiteX11" fmla="*/ 11616285 w 11834291"/>
              <a:gd name="connsiteY11" fmla="*/ 2552952 h 2845276"/>
              <a:gd name="connsiteX12" fmla="*/ 10008159 w 11834291"/>
              <a:gd name="connsiteY12" fmla="*/ 2824257 h 2845276"/>
              <a:gd name="connsiteX13" fmla="*/ 9435402 w 11834291"/>
              <a:gd name="connsiteY13" fmla="*/ 2824257 h 2845276"/>
              <a:gd name="connsiteX14" fmla="*/ 7365442 w 11834291"/>
              <a:gd name="connsiteY14" fmla="*/ 2784064 h 2845276"/>
              <a:gd name="connsiteX15" fmla="*/ 6742444 w 11834291"/>
              <a:gd name="connsiteY15" fmla="*/ 2804160 h 2845276"/>
              <a:gd name="connsiteX16" fmla="*/ 6601767 w 11834291"/>
              <a:gd name="connsiteY16" fmla="*/ 2794112 h 2845276"/>
              <a:gd name="connsiteX17" fmla="*/ 4783016 w 11834291"/>
              <a:gd name="connsiteY17" fmla="*/ 2844354 h 2845276"/>
              <a:gd name="connsiteX18" fmla="*/ 3938954 w 11834291"/>
              <a:gd name="connsiteY18" fmla="*/ 2824257 h 2845276"/>
              <a:gd name="connsiteX19" fmla="*/ 2944167 w 11834291"/>
              <a:gd name="connsiteY19" fmla="*/ 2804160 h 2845276"/>
              <a:gd name="connsiteX20" fmla="*/ 1889090 w 11834291"/>
              <a:gd name="connsiteY20" fmla="*/ 2814209 h 2845276"/>
              <a:gd name="connsiteX21" fmla="*/ 12890 w 11834291"/>
              <a:gd name="connsiteY21" fmla="*/ 2794110 h 2845276"/>
              <a:gd name="connsiteX0" fmla="*/ 0 w 11903126"/>
              <a:gd name="connsiteY0" fmla="*/ 20767 h 2845276"/>
              <a:gd name="connsiteX1" fmla="*/ 552660 w 11903126"/>
              <a:gd name="connsiteY1" fmla="*/ 670 h 2845276"/>
              <a:gd name="connsiteX2" fmla="*/ 1637882 w 11903126"/>
              <a:gd name="connsiteY2" fmla="*/ 10718 h 2845276"/>
              <a:gd name="connsiteX3" fmla="*/ 2019719 w 11903126"/>
              <a:gd name="connsiteY3" fmla="*/ 10718 h 2845276"/>
              <a:gd name="connsiteX4" fmla="*/ 4531807 w 11903126"/>
              <a:gd name="connsiteY4" fmla="*/ 30815 h 2845276"/>
              <a:gd name="connsiteX5" fmla="*/ 6300317 w 11903126"/>
              <a:gd name="connsiteY5" fmla="*/ 60960 h 2845276"/>
              <a:gd name="connsiteX6" fmla="*/ 7063991 w 11903126"/>
              <a:gd name="connsiteY6" fmla="*/ 30815 h 2845276"/>
              <a:gd name="connsiteX7" fmla="*/ 8098972 w 11903126"/>
              <a:gd name="connsiteY7" fmla="*/ 60960 h 2845276"/>
              <a:gd name="connsiteX8" fmla="*/ 8956033 w 11903126"/>
              <a:gd name="connsiteY8" fmla="*/ 60960 h 2845276"/>
              <a:gd name="connsiteX9" fmla="*/ 10101769 w 11903126"/>
              <a:gd name="connsiteY9" fmla="*/ 670 h 2845276"/>
              <a:gd name="connsiteX10" fmla="*/ 11655866 w 11903126"/>
              <a:gd name="connsiteY10" fmla="*/ 362412 h 2845276"/>
              <a:gd name="connsiteX11" fmla="*/ 11616285 w 11903126"/>
              <a:gd name="connsiteY11" fmla="*/ 2552952 h 2845276"/>
              <a:gd name="connsiteX12" fmla="*/ 10008159 w 11903126"/>
              <a:gd name="connsiteY12" fmla="*/ 2824257 h 2845276"/>
              <a:gd name="connsiteX13" fmla="*/ 9435402 w 11903126"/>
              <a:gd name="connsiteY13" fmla="*/ 2824257 h 2845276"/>
              <a:gd name="connsiteX14" fmla="*/ 7365442 w 11903126"/>
              <a:gd name="connsiteY14" fmla="*/ 2784064 h 2845276"/>
              <a:gd name="connsiteX15" fmla="*/ 6742444 w 11903126"/>
              <a:gd name="connsiteY15" fmla="*/ 2804160 h 2845276"/>
              <a:gd name="connsiteX16" fmla="*/ 6601767 w 11903126"/>
              <a:gd name="connsiteY16" fmla="*/ 2794112 h 2845276"/>
              <a:gd name="connsiteX17" fmla="*/ 4783016 w 11903126"/>
              <a:gd name="connsiteY17" fmla="*/ 2844354 h 2845276"/>
              <a:gd name="connsiteX18" fmla="*/ 3938954 w 11903126"/>
              <a:gd name="connsiteY18" fmla="*/ 2824257 h 2845276"/>
              <a:gd name="connsiteX19" fmla="*/ 2944167 w 11903126"/>
              <a:gd name="connsiteY19" fmla="*/ 2804160 h 2845276"/>
              <a:gd name="connsiteX20" fmla="*/ 1889090 w 11903126"/>
              <a:gd name="connsiteY20" fmla="*/ 2814209 h 2845276"/>
              <a:gd name="connsiteX21" fmla="*/ 12890 w 11903126"/>
              <a:gd name="connsiteY21" fmla="*/ 2794110 h 2845276"/>
              <a:gd name="connsiteX0" fmla="*/ 0 w 11949884"/>
              <a:gd name="connsiteY0" fmla="*/ 20097 h 2844606"/>
              <a:gd name="connsiteX1" fmla="*/ 552660 w 11949884"/>
              <a:gd name="connsiteY1" fmla="*/ 0 h 2844606"/>
              <a:gd name="connsiteX2" fmla="*/ 1637882 w 11949884"/>
              <a:gd name="connsiteY2" fmla="*/ 10048 h 2844606"/>
              <a:gd name="connsiteX3" fmla="*/ 2019719 w 11949884"/>
              <a:gd name="connsiteY3" fmla="*/ 10048 h 2844606"/>
              <a:gd name="connsiteX4" fmla="*/ 4531807 w 11949884"/>
              <a:gd name="connsiteY4" fmla="*/ 30145 h 2844606"/>
              <a:gd name="connsiteX5" fmla="*/ 6300317 w 11949884"/>
              <a:gd name="connsiteY5" fmla="*/ 60290 h 2844606"/>
              <a:gd name="connsiteX6" fmla="*/ 7063991 w 11949884"/>
              <a:gd name="connsiteY6" fmla="*/ 30145 h 2844606"/>
              <a:gd name="connsiteX7" fmla="*/ 8098972 w 11949884"/>
              <a:gd name="connsiteY7" fmla="*/ 60290 h 2844606"/>
              <a:gd name="connsiteX8" fmla="*/ 8956033 w 11949884"/>
              <a:gd name="connsiteY8" fmla="*/ 60290 h 2844606"/>
              <a:gd name="connsiteX9" fmla="*/ 10101769 w 11949884"/>
              <a:gd name="connsiteY9" fmla="*/ 0 h 2844606"/>
              <a:gd name="connsiteX10" fmla="*/ 11655866 w 11949884"/>
              <a:gd name="connsiteY10" fmla="*/ 361742 h 2844606"/>
              <a:gd name="connsiteX11" fmla="*/ 11616285 w 11949884"/>
              <a:gd name="connsiteY11" fmla="*/ 2552282 h 2844606"/>
              <a:gd name="connsiteX12" fmla="*/ 10008159 w 11949884"/>
              <a:gd name="connsiteY12" fmla="*/ 2823587 h 2844606"/>
              <a:gd name="connsiteX13" fmla="*/ 9435402 w 11949884"/>
              <a:gd name="connsiteY13" fmla="*/ 2823587 h 2844606"/>
              <a:gd name="connsiteX14" fmla="*/ 7365442 w 11949884"/>
              <a:gd name="connsiteY14" fmla="*/ 2783394 h 2844606"/>
              <a:gd name="connsiteX15" fmla="*/ 6742444 w 11949884"/>
              <a:gd name="connsiteY15" fmla="*/ 2803490 h 2844606"/>
              <a:gd name="connsiteX16" fmla="*/ 6601767 w 11949884"/>
              <a:gd name="connsiteY16" fmla="*/ 2793442 h 2844606"/>
              <a:gd name="connsiteX17" fmla="*/ 4783016 w 11949884"/>
              <a:gd name="connsiteY17" fmla="*/ 2843684 h 2844606"/>
              <a:gd name="connsiteX18" fmla="*/ 3938954 w 11949884"/>
              <a:gd name="connsiteY18" fmla="*/ 2823587 h 2844606"/>
              <a:gd name="connsiteX19" fmla="*/ 2944167 w 11949884"/>
              <a:gd name="connsiteY19" fmla="*/ 2803490 h 2844606"/>
              <a:gd name="connsiteX20" fmla="*/ 1889090 w 11949884"/>
              <a:gd name="connsiteY20" fmla="*/ 2813539 h 2844606"/>
              <a:gd name="connsiteX21" fmla="*/ 12890 w 11949884"/>
              <a:gd name="connsiteY21" fmla="*/ 2793440 h 2844606"/>
              <a:gd name="connsiteX0" fmla="*/ 0 w 11868023"/>
              <a:gd name="connsiteY0" fmla="*/ 20097 h 2844606"/>
              <a:gd name="connsiteX1" fmla="*/ 552660 w 11868023"/>
              <a:gd name="connsiteY1" fmla="*/ 0 h 2844606"/>
              <a:gd name="connsiteX2" fmla="*/ 1637882 w 11868023"/>
              <a:gd name="connsiteY2" fmla="*/ 10048 h 2844606"/>
              <a:gd name="connsiteX3" fmla="*/ 2019719 w 11868023"/>
              <a:gd name="connsiteY3" fmla="*/ 10048 h 2844606"/>
              <a:gd name="connsiteX4" fmla="*/ 4531807 w 11868023"/>
              <a:gd name="connsiteY4" fmla="*/ 30145 h 2844606"/>
              <a:gd name="connsiteX5" fmla="*/ 6300317 w 11868023"/>
              <a:gd name="connsiteY5" fmla="*/ 60290 h 2844606"/>
              <a:gd name="connsiteX6" fmla="*/ 7063991 w 11868023"/>
              <a:gd name="connsiteY6" fmla="*/ 30145 h 2844606"/>
              <a:gd name="connsiteX7" fmla="*/ 8098972 w 11868023"/>
              <a:gd name="connsiteY7" fmla="*/ 60290 h 2844606"/>
              <a:gd name="connsiteX8" fmla="*/ 8956033 w 11868023"/>
              <a:gd name="connsiteY8" fmla="*/ 60290 h 2844606"/>
              <a:gd name="connsiteX9" fmla="*/ 10101769 w 11868023"/>
              <a:gd name="connsiteY9" fmla="*/ 0 h 2844606"/>
              <a:gd name="connsiteX10" fmla="*/ 11625888 w 11868023"/>
              <a:gd name="connsiteY10" fmla="*/ 351694 h 2844606"/>
              <a:gd name="connsiteX11" fmla="*/ 11616285 w 11868023"/>
              <a:gd name="connsiteY11" fmla="*/ 2552282 h 2844606"/>
              <a:gd name="connsiteX12" fmla="*/ 10008159 w 11868023"/>
              <a:gd name="connsiteY12" fmla="*/ 2823587 h 2844606"/>
              <a:gd name="connsiteX13" fmla="*/ 9435402 w 11868023"/>
              <a:gd name="connsiteY13" fmla="*/ 2823587 h 2844606"/>
              <a:gd name="connsiteX14" fmla="*/ 7365442 w 11868023"/>
              <a:gd name="connsiteY14" fmla="*/ 2783394 h 2844606"/>
              <a:gd name="connsiteX15" fmla="*/ 6742444 w 11868023"/>
              <a:gd name="connsiteY15" fmla="*/ 2803490 h 2844606"/>
              <a:gd name="connsiteX16" fmla="*/ 6601767 w 11868023"/>
              <a:gd name="connsiteY16" fmla="*/ 2793442 h 2844606"/>
              <a:gd name="connsiteX17" fmla="*/ 4783016 w 11868023"/>
              <a:gd name="connsiteY17" fmla="*/ 2843684 h 2844606"/>
              <a:gd name="connsiteX18" fmla="*/ 3938954 w 11868023"/>
              <a:gd name="connsiteY18" fmla="*/ 2823587 h 2844606"/>
              <a:gd name="connsiteX19" fmla="*/ 2944167 w 11868023"/>
              <a:gd name="connsiteY19" fmla="*/ 2803490 h 2844606"/>
              <a:gd name="connsiteX20" fmla="*/ 1889090 w 11868023"/>
              <a:gd name="connsiteY20" fmla="*/ 2813539 h 2844606"/>
              <a:gd name="connsiteX21" fmla="*/ 12890 w 11868023"/>
              <a:gd name="connsiteY21" fmla="*/ 2793440 h 2844606"/>
              <a:gd name="connsiteX0" fmla="*/ 0 w 11911375"/>
              <a:gd name="connsiteY0" fmla="*/ 20097 h 2844606"/>
              <a:gd name="connsiteX1" fmla="*/ 552660 w 11911375"/>
              <a:gd name="connsiteY1" fmla="*/ 0 h 2844606"/>
              <a:gd name="connsiteX2" fmla="*/ 1637882 w 11911375"/>
              <a:gd name="connsiteY2" fmla="*/ 10048 h 2844606"/>
              <a:gd name="connsiteX3" fmla="*/ 2019719 w 11911375"/>
              <a:gd name="connsiteY3" fmla="*/ 10048 h 2844606"/>
              <a:gd name="connsiteX4" fmla="*/ 4531807 w 11911375"/>
              <a:gd name="connsiteY4" fmla="*/ 30145 h 2844606"/>
              <a:gd name="connsiteX5" fmla="*/ 6300317 w 11911375"/>
              <a:gd name="connsiteY5" fmla="*/ 60290 h 2844606"/>
              <a:gd name="connsiteX6" fmla="*/ 7063991 w 11911375"/>
              <a:gd name="connsiteY6" fmla="*/ 30145 h 2844606"/>
              <a:gd name="connsiteX7" fmla="*/ 8098972 w 11911375"/>
              <a:gd name="connsiteY7" fmla="*/ 60290 h 2844606"/>
              <a:gd name="connsiteX8" fmla="*/ 8956033 w 11911375"/>
              <a:gd name="connsiteY8" fmla="*/ 60290 h 2844606"/>
              <a:gd name="connsiteX9" fmla="*/ 10101769 w 11911375"/>
              <a:gd name="connsiteY9" fmla="*/ 0 h 2844606"/>
              <a:gd name="connsiteX10" fmla="*/ 11625888 w 11911375"/>
              <a:gd name="connsiteY10" fmla="*/ 351694 h 2844606"/>
              <a:gd name="connsiteX11" fmla="*/ 11616285 w 11911375"/>
              <a:gd name="connsiteY11" fmla="*/ 2552282 h 2844606"/>
              <a:gd name="connsiteX12" fmla="*/ 10008159 w 11911375"/>
              <a:gd name="connsiteY12" fmla="*/ 2823587 h 2844606"/>
              <a:gd name="connsiteX13" fmla="*/ 9435402 w 11911375"/>
              <a:gd name="connsiteY13" fmla="*/ 2823587 h 2844606"/>
              <a:gd name="connsiteX14" fmla="*/ 7365442 w 11911375"/>
              <a:gd name="connsiteY14" fmla="*/ 2783394 h 2844606"/>
              <a:gd name="connsiteX15" fmla="*/ 6742444 w 11911375"/>
              <a:gd name="connsiteY15" fmla="*/ 2803490 h 2844606"/>
              <a:gd name="connsiteX16" fmla="*/ 6601767 w 11911375"/>
              <a:gd name="connsiteY16" fmla="*/ 2793442 h 2844606"/>
              <a:gd name="connsiteX17" fmla="*/ 4783016 w 11911375"/>
              <a:gd name="connsiteY17" fmla="*/ 2843684 h 2844606"/>
              <a:gd name="connsiteX18" fmla="*/ 3938954 w 11911375"/>
              <a:gd name="connsiteY18" fmla="*/ 2823587 h 2844606"/>
              <a:gd name="connsiteX19" fmla="*/ 2944167 w 11911375"/>
              <a:gd name="connsiteY19" fmla="*/ 2803490 h 2844606"/>
              <a:gd name="connsiteX20" fmla="*/ 1889090 w 11911375"/>
              <a:gd name="connsiteY20" fmla="*/ 2813539 h 2844606"/>
              <a:gd name="connsiteX21" fmla="*/ 12890 w 11911375"/>
              <a:gd name="connsiteY21" fmla="*/ 2793440 h 2844606"/>
              <a:gd name="connsiteX0" fmla="*/ 0 w 11932818"/>
              <a:gd name="connsiteY0" fmla="*/ 20097 h 2844606"/>
              <a:gd name="connsiteX1" fmla="*/ 552660 w 11932818"/>
              <a:gd name="connsiteY1" fmla="*/ 0 h 2844606"/>
              <a:gd name="connsiteX2" fmla="*/ 1637882 w 11932818"/>
              <a:gd name="connsiteY2" fmla="*/ 10048 h 2844606"/>
              <a:gd name="connsiteX3" fmla="*/ 2019719 w 11932818"/>
              <a:gd name="connsiteY3" fmla="*/ 10048 h 2844606"/>
              <a:gd name="connsiteX4" fmla="*/ 4531807 w 11932818"/>
              <a:gd name="connsiteY4" fmla="*/ 30145 h 2844606"/>
              <a:gd name="connsiteX5" fmla="*/ 6300317 w 11932818"/>
              <a:gd name="connsiteY5" fmla="*/ 60290 h 2844606"/>
              <a:gd name="connsiteX6" fmla="*/ 7063991 w 11932818"/>
              <a:gd name="connsiteY6" fmla="*/ 30145 h 2844606"/>
              <a:gd name="connsiteX7" fmla="*/ 8098972 w 11932818"/>
              <a:gd name="connsiteY7" fmla="*/ 60290 h 2844606"/>
              <a:gd name="connsiteX8" fmla="*/ 8956033 w 11932818"/>
              <a:gd name="connsiteY8" fmla="*/ 60290 h 2844606"/>
              <a:gd name="connsiteX9" fmla="*/ 10101769 w 11932818"/>
              <a:gd name="connsiteY9" fmla="*/ 0 h 2844606"/>
              <a:gd name="connsiteX10" fmla="*/ 11625888 w 11932818"/>
              <a:gd name="connsiteY10" fmla="*/ 351694 h 2844606"/>
              <a:gd name="connsiteX11" fmla="*/ 11616285 w 11932818"/>
              <a:gd name="connsiteY11" fmla="*/ 2552282 h 2844606"/>
              <a:gd name="connsiteX12" fmla="*/ 10008159 w 11932818"/>
              <a:gd name="connsiteY12" fmla="*/ 2823587 h 2844606"/>
              <a:gd name="connsiteX13" fmla="*/ 9435402 w 11932818"/>
              <a:gd name="connsiteY13" fmla="*/ 2823587 h 2844606"/>
              <a:gd name="connsiteX14" fmla="*/ 7365442 w 11932818"/>
              <a:gd name="connsiteY14" fmla="*/ 2783394 h 2844606"/>
              <a:gd name="connsiteX15" fmla="*/ 6742444 w 11932818"/>
              <a:gd name="connsiteY15" fmla="*/ 2803490 h 2844606"/>
              <a:gd name="connsiteX16" fmla="*/ 6601767 w 11932818"/>
              <a:gd name="connsiteY16" fmla="*/ 2793442 h 2844606"/>
              <a:gd name="connsiteX17" fmla="*/ 4783016 w 11932818"/>
              <a:gd name="connsiteY17" fmla="*/ 2843684 h 2844606"/>
              <a:gd name="connsiteX18" fmla="*/ 3938954 w 11932818"/>
              <a:gd name="connsiteY18" fmla="*/ 2823587 h 2844606"/>
              <a:gd name="connsiteX19" fmla="*/ 2944167 w 11932818"/>
              <a:gd name="connsiteY19" fmla="*/ 2803490 h 2844606"/>
              <a:gd name="connsiteX20" fmla="*/ 1889090 w 11932818"/>
              <a:gd name="connsiteY20" fmla="*/ 2813539 h 2844606"/>
              <a:gd name="connsiteX21" fmla="*/ 12890 w 11932818"/>
              <a:gd name="connsiteY21" fmla="*/ 2793440 h 2844606"/>
              <a:gd name="connsiteX0" fmla="*/ 0 w 11932818"/>
              <a:gd name="connsiteY0" fmla="*/ 20097 h 4012667"/>
              <a:gd name="connsiteX1" fmla="*/ 552660 w 11932818"/>
              <a:gd name="connsiteY1" fmla="*/ 0 h 4012667"/>
              <a:gd name="connsiteX2" fmla="*/ 1637882 w 11932818"/>
              <a:gd name="connsiteY2" fmla="*/ 10048 h 4012667"/>
              <a:gd name="connsiteX3" fmla="*/ 2019719 w 11932818"/>
              <a:gd name="connsiteY3" fmla="*/ 10048 h 4012667"/>
              <a:gd name="connsiteX4" fmla="*/ 4531807 w 11932818"/>
              <a:gd name="connsiteY4" fmla="*/ 30145 h 4012667"/>
              <a:gd name="connsiteX5" fmla="*/ 6300317 w 11932818"/>
              <a:gd name="connsiteY5" fmla="*/ 60290 h 4012667"/>
              <a:gd name="connsiteX6" fmla="*/ 7063991 w 11932818"/>
              <a:gd name="connsiteY6" fmla="*/ 30145 h 4012667"/>
              <a:gd name="connsiteX7" fmla="*/ 8098972 w 11932818"/>
              <a:gd name="connsiteY7" fmla="*/ 60290 h 4012667"/>
              <a:gd name="connsiteX8" fmla="*/ 8956033 w 11932818"/>
              <a:gd name="connsiteY8" fmla="*/ 60290 h 4012667"/>
              <a:gd name="connsiteX9" fmla="*/ 10101769 w 11932818"/>
              <a:gd name="connsiteY9" fmla="*/ 0 h 4012667"/>
              <a:gd name="connsiteX10" fmla="*/ 11625888 w 11932818"/>
              <a:gd name="connsiteY10" fmla="*/ 351694 h 4012667"/>
              <a:gd name="connsiteX11" fmla="*/ 11616285 w 11932818"/>
              <a:gd name="connsiteY11" fmla="*/ 2552282 h 4012667"/>
              <a:gd name="connsiteX12" fmla="*/ 10008159 w 11932818"/>
              <a:gd name="connsiteY12" fmla="*/ 2823587 h 4012667"/>
              <a:gd name="connsiteX13" fmla="*/ 9435402 w 11932818"/>
              <a:gd name="connsiteY13" fmla="*/ 2823587 h 4012667"/>
              <a:gd name="connsiteX14" fmla="*/ 7365442 w 11932818"/>
              <a:gd name="connsiteY14" fmla="*/ 2783394 h 4012667"/>
              <a:gd name="connsiteX15" fmla="*/ 6742444 w 11932818"/>
              <a:gd name="connsiteY15" fmla="*/ 2803490 h 4012667"/>
              <a:gd name="connsiteX16" fmla="*/ 6601767 w 11932818"/>
              <a:gd name="connsiteY16" fmla="*/ 2793442 h 4012667"/>
              <a:gd name="connsiteX17" fmla="*/ 4783016 w 11932818"/>
              <a:gd name="connsiteY17" fmla="*/ 2843684 h 4012667"/>
              <a:gd name="connsiteX18" fmla="*/ 3938954 w 11932818"/>
              <a:gd name="connsiteY18" fmla="*/ 2823587 h 4012667"/>
              <a:gd name="connsiteX19" fmla="*/ 2944167 w 11932818"/>
              <a:gd name="connsiteY19" fmla="*/ 2803490 h 4012667"/>
              <a:gd name="connsiteX20" fmla="*/ 1889090 w 11932818"/>
              <a:gd name="connsiteY20" fmla="*/ 2813539 h 4012667"/>
              <a:gd name="connsiteX21" fmla="*/ 1859968 w 11932818"/>
              <a:gd name="connsiteY21" fmla="*/ 4012640 h 4012667"/>
              <a:gd name="connsiteX0" fmla="*/ 0 w 11932818"/>
              <a:gd name="connsiteY0" fmla="*/ 20097 h 4012688"/>
              <a:gd name="connsiteX1" fmla="*/ 552660 w 11932818"/>
              <a:gd name="connsiteY1" fmla="*/ 0 h 4012688"/>
              <a:gd name="connsiteX2" fmla="*/ 1637882 w 11932818"/>
              <a:gd name="connsiteY2" fmla="*/ 10048 h 4012688"/>
              <a:gd name="connsiteX3" fmla="*/ 2019719 w 11932818"/>
              <a:gd name="connsiteY3" fmla="*/ 10048 h 4012688"/>
              <a:gd name="connsiteX4" fmla="*/ 4531807 w 11932818"/>
              <a:gd name="connsiteY4" fmla="*/ 30145 h 4012688"/>
              <a:gd name="connsiteX5" fmla="*/ 6300317 w 11932818"/>
              <a:gd name="connsiteY5" fmla="*/ 60290 h 4012688"/>
              <a:gd name="connsiteX6" fmla="*/ 7063991 w 11932818"/>
              <a:gd name="connsiteY6" fmla="*/ 30145 h 4012688"/>
              <a:gd name="connsiteX7" fmla="*/ 8098972 w 11932818"/>
              <a:gd name="connsiteY7" fmla="*/ 60290 h 4012688"/>
              <a:gd name="connsiteX8" fmla="*/ 8956033 w 11932818"/>
              <a:gd name="connsiteY8" fmla="*/ 60290 h 4012688"/>
              <a:gd name="connsiteX9" fmla="*/ 10101769 w 11932818"/>
              <a:gd name="connsiteY9" fmla="*/ 0 h 4012688"/>
              <a:gd name="connsiteX10" fmla="*/ 11625888 w 11932818"/>
              <a:gd name="connsiteY10" fmla="*/ 351694 h 4012688"/>
              <a:gd name="connsiteX11" fmla="*/ 11616285 w 11932818"/>
              <a:gd name="connsiteY11" fmla="*/ 2552282 h 4012688"/>
              <a:gd name="connsiteX12" fmla="*/ 10008159 w 11932818"/>
              <a:gd name="connsiteY12" fmla="*/ 2823587 h 4012688"/>
              <a:gd name="connsiteX13" fmla="*/ 9435402 w 11932818"/>
              <a:gd name="connsiteY13" fmla="*/ 2823587 h 4012688"/>
              <a:gd name="connsiteX14" fmla="*/ 7365442 w 11932818"/>
              <a:gd name="connsiteY14" fmla="*/ 2783394 h 4012688"/>
              <a:gd name="connsiteX15" fmla="*/ 6742444 w 11932818"/>
              <a:gd name="connsiteY15" fmla="*/ 2803490 h 4012688"/>
              <a:gd name="connsiteX16" fmla="*/ 6601767 w 11932818"/>
              <a:gd name="connsiteY16" fmla="*/ 2793442 h 4012688"/>
              <a:gd name="connsiteX17" fmla="*/ 4783016 w 11932818"/>
              <a:gd name="connsiteY17" fmla="*/ 2843684 h 4012688"/>
              <a:gd name="connsiteX18" fmla="*/ 3938954 w 11932818"/>
              <a:gd name="connsiteY18" fmla="*/ 2823587 h 4012688"/>
              <a:gd name="connsiteX19" fmla="*/ 2944167 w 11932818"/>
              <a:gd name="connsiteY19" fmla="*/ 2803490 h 4012688"/>
              <a:gd name="connsiteX20" fmla="*/ 1889090 w 11932818"/>
              <a:gd name="connsiteY20" fmla="*/ 2813539 h 4012688"/>
              <a:gd name="connsiteX21" fmla="*/ 1859968 w 11932818"/>
              <a:gd name="connsiteY21" fmla="*/ 4012640 h 4012688"/>
              <a:gd name="connsiteX0" fmla="*/ 0 w 11932818"/>
              <a:gd name="connsiteY0" fmla="*/ 20097 h 4012640"/>
              <a:gd name="connsiteX1" fmla="*/ 552660 w 11932818"/>
              <a:gd name="connsiteY1" fmla="*/ 0 h 4012640"/>
              <a:gd name="connsiteX2" fmla="*/ 1637882 w 11932818"/>
              <a:gd name="connsiteY2" fmla="*/ 10048 h 4012640"/>
              <a:gd name="connsiteX3" fmla="*/ 2019719 w 11932818"/>
              <a:gd name="connsiteY3" fmla="*/ 10048 h 4012640"/>
              <a:gd name="connsiteX4" fmla="*/ 4531807 w 11932818"/>
              <a:gd name="connsiteY4" fmla="*/ 30145 h 4012640"/>
              <a:gd name="connsiteX5" fmla="*/ 6300317 w 11932818"/>
              <a:gd name="connsiteY5" fmla="*/ 60290 h 4012640"/>
              <a:gd name="connsiteX6" fmla="*/ 7063991 w 11932818"/>
              <a:gd name="connsiteY6" fmla="*/ 30145 h 4012640"/>
              <a:gd name="connsiteX7" fmla="*/ 8098972 w 11932818"/>
              <a:gd name="connsiteY7" fmla="*/ 60290 h 4012640"/>
              <a:gd name="connsiteX8" fmla="*/ 8956033 w 11932818"/>
              <a:gd name="connsiteY8" fmla="*/ 60290 h 4012640"/>
              <a:gd name="connsiteX9" fmla="*/ 10101769 w 11932818"/>
              <a:gd name="connsiteY9" fmla="*/ 0 h 4012640"/>
              <a:gd name="connsiteX10" fmla="*/ 11625888 w 11932818"/>
              <a:gd name="connsiteY10" fmla="*/ 351694 h 4012640"/>
              <a:gd name="connsiteX11" fmla="*/ 11616285 w 11932818"/>
              <a:gd name="connsiteY11" fmla="*/ 2552282 h 4012640"/>
              <a:gd name="connsiteX12" fmla="*/ 10008159 w 11932818"/>
              <a:gd name="connsiteY12" fmla="*/ 2823587 h 4012640"/>
              <a:gd name="connsiteX13" fmla="*/ 9435402 w 11932818"/>
              <a:gd name="connsiteY13" fmla="*/ 2823587 h 4012640"/>
              <a:gd name="connsiteX14" fmla="*/ 7365442 w 11932818"/>
              <a:gd name="connsiteY14" fmla="*/ 2783394 h 4012640"/>
              <a:gd name="connsiteX15" fmla="*/ 6742444 w 11932818"/>
              <a:gd name="connsiteY15" fmla="*/ 2803490 h 4012640"/>
              <a:gd name="connsiteX16" fmla="*/ 6601767 w 11932818"/>
              <a:gd name="connsiteY16" fmla="*/ 2793442 h 4012640"/>
              <a:gd name="connsiteX17" fmla="*/ 4783016 w 11932818"/>
              <a:gd name="connsiteY17" fmla="*/ 2843684 h 4012640"/>
              <a:gd name="connsiteX18" fmla="*/ 3938954 w 11932818"/>
              <a:gd name="connsiteY18" fmla="*/ 2823587 h 4012640"/>
              <a:gd name="connsiteX19" fmla="*/ 2944167 w 11932818"/>
              <a:gd name="connsiteY19" fmla="*/ 2803490 h 4012640"/>
              <a:gd name="connsiteX20" fmla="*/ 1889090 w 11932818"/>
              <a:gd name="connsiteY20" fmla="*/ 2813539 h 4012640"/>
              <a:gd name="connsiteX21" fmla="*/ 1859968 w 11932818"/>
              <a:gd name="connsiteY21" fmla="*/ 4012640 h 4012640"/>
              <a:gd name="connsiteX0" fmla="*/ 0 w 11932818"/>
              <a:gd name="connsiteY0" fmla="*/ 20097 h 4260290"/>
              <a:gd name="connsiteX1" fmla="*/ 552660 w 11932818"/>
              <a:gd name="connsiteY1" fmla="*/ 0 h 4260290"/>
              <a:gd name="connsiteX2" fmla="*/ 1637882 w 11932818"/>
              <a:gd name="connsiteY2" fmla="*/ 10048 h 4260290"/>
              <a:gd name="connsiteX3" fmla="*/ 2019719 w 11932818"/>
              <a:gd name="connsiteY3" fmla="*/ 10048 h 4260290"/>
              <a:gd name="connsiteX4" fmla="*/ 4531807 w 11932818"/>
              <a:gd name="connsiteY4" fmla="*/ 30145 h 4260290"/>
              <a:gd name="connsiteX5" fmla="*/ 6300317 w 11932818"/>
              <a:gd name="connsiteY5" fmla="*/ 60290 h 4260290"/>
              <a:gd name="connsiteX6" fmla="*/ 7063991 w 11932818"/>
              <a:gd name="connsiteY6" fmla="*/ 30145 h 4260290"/>
              <a:gd name="connsiteX7" fmla="*/ 8098972 w 11932818"/>
              <a:gd name="connsiteY7" fmla="*/ 60290 h 4260290"/>
              <a:gd name="connsiteX8" fmla="*/ 8956033 w 11932818"/>
              <a:gd name="connsiteY8" fmla="*/ 60290 h 4260290"/>
              <a:gd name="connsiteX9" fmla="*/ 10101769 w 11932818"/>
              <a:gd name="connsiteY9" fmla="*/ 0 h 4260290"/>
              <a:gd name="connsiteX10" fmla="*/ 11625888 w 11932818"/>
              <a:gd name="connsiteY10" fmla="*/ 351694 h 4260290"/>
              <a:gd name="connsiteX11" fmla="*/ 11616285 w 11932818"/>
              <a:gd name="connsiteY11" fmla="*/ 2552282 h 4260290"/>
              <a:gd name="connsiteX12" fmla="*/ 10008159 w 11932818"/>
              <a:gd name="connsiteY12" fmla="*/ 2823587 h 4260290"/>
              <a:gd name="connsiteX13" fmla="*/ 9435402 w 11932818"/>
              <a:gd name="connsiteY13" fmla="*/ 2823587 h 4260290"/>
              <a:gd name="connsiteX14" fmla="*/ 7365442 w 11932818"/>
              <a:gd name="connsiteY14" fmla="*/ 2783394 h 4260290"/>
              <a:gd name="connsiteX15" fmla="*/ 6742444 w 11932818"/>
              <a:gd name="connsiteY15" fmla="*/ 2803490 h 4260290"/>
              <a:gd name="connsiteX16" fmla="*/ 6601767 w 11932818"/>
              <a:gd name="connsiteY16" fmla="*/ 2793442 h 4260290"/>
              <a:gd name="connsiteX17" fmla="*/ 4783016 w 11932818"/>
              <a:gd name="connsiteY17" fmla="*/ 2843684 h 4260290"/>
              <a:gd name="connsiteX18" fmla="*/ 3938954 w 11932818"/>
              <a:gd name="connsiteY18" fmla="*/ 2823587 h 4260290"/>
              <a:gd name="connsiteX19" fmla="*/ 2944167 w 11932818"/>
              <a:gd name="connsiteY19" fmla="*/ 2803490 h 4260290"/>
              <a:gd name="connsiteX20" fmla="*/ 1889090 w 11932818"/>
              <a:gd name="connsiteY20" fmla="*/ 2813539 h 4260290"/>
              <a:gd name="connsiteX21" fmla="*/ 1859968 w 11932818"/>
              <a:gd name="connsiteY21" fmla="*/ 4260290 h 4260290"/>
              <a:gd name="connsiteX0" fmla="*/ 0 w 11932818"/>
              <a:gd name="connsiteY0" fmla="*/ 20097 h 4260290"/>
              <a:gd name="connsiteX1" fmla="*/ 552660 w 11932818"/>
              <a:gd name="connsiteY1" fmla="*/ 0 h 4260290"/>
              <a:gd name="connsiteX2" fmla="*/ 1637882 w 11932818"/>
              <a:gd name="connsiteY2" fmla="*/ 10048 h 4260290"/>
              <a:gd name="connsiteX3" fmla="*/ 2019719 w 11932818"/>
              <a:gd name="connsiteY3" fmla="*/ 10048 h 4260290"/>
              <a:gd name="connsiteX4" fmla="*/ 4531807 w 11932818"/>
              <a:gd name="connsiteY4" fmla="*/ 30145 h 4260290"/>
              <a:gd name="connsiteX5" fmla="*/ 6300317 w 11932818"/>
              <a:gd name="connsiteY5" fmla="*/ 60290 h 4260290"/>
              <a:gd name="connsiteX6" fmla="*/ 7063991 w 11932818"/>
              <a:gd name="connsiteY6" fmla="*/ 30145 h 4260290"/>
              <a:gd name="connsiteX7" fmla="*/ 8098972 w 11932818"/>
              <a:gd name="connsiteY7" fmla="*/ 60290 h 4260290"/>
              <a:gd name="connsiteX8" fmla="*/ 8956033 w 11932818"/>
              <a:gd name="connsiteY8" fmla="*/ 60290 h 4260290"/>
              <a:gd name="connsiteX9" fmla="*/ 10101769 w 11932818"/>
              <a:gd name="connsiteY9" fmla="*/ 0 h 4260290"/>
              <a:gd name="connsiteX10" fmla="*/ 11625888 w 11932818"/>
              <a:gd name="connsiteY10" fmla="*/ 351694 h 4260290"/>
              <a:gd name="connsiteX11" fmla="*/ 11616285 w 11932818"/>
              <a:gd name="connsiteY11" fmla="*/ 2552282 h 4260290"/>
              <a:gd name="connsiteX12" fmla="*/ 10008159 w 11932818"/>
              <a:gd name="connsiteY12" fmla="*/ 2823587 h 4260290"/>
              <a:gd name="connsiteX13" fmla="*/ 9435402 w 11932818"/>
              <a:gd name="connsiteY13" fmla="*/ 2823587 h 4260290"/>
              <a:gd name="connsiteX14" fmla="*/ 7365442 w 11932818"/>
              <a:gd name="connsiteY14" fmla="*/ 2783394 h 4260290"/>
              <a:gd name="connsiteX15" fmla="*/ 6742444 w 11932818"/>
              <a:gd name="connsiteY15" fmla="*/ 2803490 h 4260290"/>
              <a:gd name="connsiteX16" fmla="*/ 6601767 w 11932818"/>
              <a:gd name="connsiteY16" fmla="*/ 2793442 h 4260290"/>
              <a:gd name="connsiteX17" fmla="*/ 4783016 w 11932818"/>
              <a:gd name="connsiteY17" fmla="*/ 2843684 h 4260290"/>
              <a:gd name="connsiteX18" fmla="*/ 3938954 w 11932818"/>
              <a:gd name="connsiteY18" fmla="*/ 2823587 h 4260290"/>
              <a:gd name="connsiteX19" fmla="*/ 2944167 w 11932818"/>
              <a:gd name="connsiteY19" fmla="*/ 2803490 h 4260290"/>
              <a:gd name="connsiteX20" fmla="*/ 1889090 w 11932818"/>
              <a:gd name="connsiteY20" fmla="*/ 2813539 h 4260290"/>
              <a:gd name="connsiteX21" fmla="*/ 1859968 w 11932818"/>
              <a:gd name="connsiteY21" fmla="*/ 4260290 h 4260290"/>
              <a:gd name="connsiteX0" fmla="*/ 0 w 11932818"/>
              <a:gd name="connsiteY0" fmla="*/ 20097 h 4260290"/>
              <a:gd name="connsiteX1" fmla="*/ 552660 w 11932818"/>
              <a:gd name="connsiteY1" fmla="*/ 0 h 4260290"/>
              <a:gd name="connsiteX2" fmla="*/ 1637882 w 11932818"/>
              <a:gd name="connsiteY2" fmla="*/ 10048 h 4260290"/>
              <a:gd name="connsiteX3" fmla="*/ 2019719 w 11932818"/>
              <a:gd name="connsiteY3" fmla="*/ 10048 h 4260290"/>
              <a:gd name="connsiteX4" fmla="*/ 4531807 w 11932818"/>
              <a:gd name="connsiteY4" fmla="*/ 30145 h 4260290"/>
              <a:gd name="connsiteX5" fmla="*/ 6300317 w 11932818"/>
              <a:gd name="connsiteY5" fmla="*/ 60290 h 4260290"/>
              <a:gd name="connsiteX6" fmla="*/ 7063991 w 11932818"/>
              <a:gd name="connsiteY6" fmla="*/ 30145 h 4260290"/>
              <a:gd name="connsiteX7" fmla="*/ 8098972 w 11932818"/>
              <a:gd name="connsiteY7" fmla="*/ 60290 h 4260290"/>
              <a:gd name="connsiteX8" fmla="*/ 8956033 w 11932818"/>
              <a:gd name="connsiteY8" fmla="*/ 60290 h 4260290"/>
              <a:gd name="connsiteX9" fmla="*/ 10101769 w 11932818"/>
              <a:gd name="connsiteY9" fmla="*/ 0 h 4260290"/>
              <a:gd name="connsiteX10" fmla="*/ 11625888 w 11932818"/>
              <a:gd name="connsiteY10" fmla="*/ 351694 h 4260290"/>
              <a:gd name="connsiteX11" fmla="*/ 11616285 w 11932818"/>
              <a:gd name="connsiteY11" fmla="*/ 2552282 h 4260290"/>
              <a:gd name="connsiteX12" fmla="*/ 10008159 w 11932818"/>
              <a:gd name="connsiteY12" fmla="*/ 2823587 h 4260290"/>
              <a:gd name="connsiteX13" fmla="*/ 9435402 w 11932818"/>
              <a:gd name="connsiteY13" fmla="*/ 2823587 h 4260290"/>
              <a:gd name="connsiteX14" fmla="*/ 7365442 w 11932818"/>
              <a:gd name="connsiteY14" fmla="*/ 2783394 h 4260290"/>
              <a:gd name="connsiteX15" fmla="*/ 6742444 w 11932818"/>
              <a:gd name="connsiteY15" fmla="*/ 2803490 h 4260290"/>
              <a:gd name="connsiteX16" fmla="*/ 6601767 w 11932818"/>
              <a:gd name="connsiteY16" fmla="*/ 2793442 h 4260290"/>
              <a:gd name="connsiteX17" fmla="*/ 4783016 w 11932818"/>
              <a:gd name="connsiteY17" fmla="*/ 2843684 h 4260290"/>
              <a:gd name="connsiteX18" fmla="*/ 3938954 w 11932818"/>
              <a:gd name="connsiteY18" fmla="*/ 2823587 h 4260290"/>
              <a:gd name="connsiteX19" fmla="*/ 2944167 w 11932818"/>
              <a:gd name="connsiteY19" fmla="*/ 2803490 h 4260290"/>
              <a:gd name="connsiteX20" fmla="*/ 1889090 w 11932818"/>
              <a:gd name="connsiteY20" fmla="*/ 2813539 h 4260290"/>
              <a:gd name="connsiteX21" fmla="*/ 1859968 w 11932818"/>
              <a:gd name="connsiteY21" fmla="*/ 4260290 h 4260290"/>
              <a:gd name="connsiteX0" fmla="*/ 0 w 11932818"/>
              <a:gd name="connsiteY0" fmla="*/ 20097 h 4260290"/>
              <a:gd name="connsiteX1" fmla="*/ 552660 w 11932818"/>
              <a:gd name="connsiteY1" fmla="*/ 0 h 4260290"/>
              <a:gd name="connsiteX2" fmla="*/ 1637882 w 11932818"/>
              <a:gd name="connsiteY2" fmla="*/ 10048 h 4260290"/>
              <a:gd name="connsiteX3" fmla="*/ 2019719 w 11932818"/>
              <a:gd name="connsiteY3" fmla="*/ 10048 h 4260290"/>
              <a:gd name="connsiteX4" fmla="*/ 4531807 w 11932818"/>
              <a:gd name="connsiteY4" fmla="*/ 30145 h 4260290"/>
              <a:gd name="connsiteX5" fmla="*/ 6300317 w 11932818"/>
              <a:gd name="connsiteY5" fmla="*/ 60290 h 4260290"/>
              <a:gd name="connsiteX6" fmla="*/ 7063991 w 11932818"/>
              <a:gd name="connsiteY6" fmla="*/ 30145 h 4260290"/>
              <a:gd name="connsiteX7" fmla="*/ 8098972 w 11932818"/>
              <a:gd name="connsiteY7" fmla="*/ 60290 h 4260290"/>
              <a:gd name="connsiteX8" fmla="*/ 8956033 w 11932818"/>
              <a:gd name="connsiteY8" fmla="*/ 60290 h 4260290"/>
              <a:gd name="connsiteX9" fmla="*/ 10101769 w 11932818"/>
              <a:gd name="connsiteY9" fmla="*/ 0 h 4260290"/>
              <a:gd name="connsiteX10" fmla="*/ 11625888 w 11932818"/>
              <a:gd name="connsiteY10" fmla="*/ 351694 h 4260290"/>
              <a:gd name="connsiteX11" fmla="*/ 11616285 w 11932818"/>
              <a:gd name="connsiteY11" fmla="*/ 2552282 h 4260290"/>
              <a:gd name="connsiteX12" fmla="*/ 10008159 w 11932818"/>
              <a:gd name="connsiteY12" fmla="*/ 2823587 h 4260290"/>
              <a:gd name="connsiteX13" fmla="*/ 9435402 w 11932818"/>
              <a:gd name="connsiteY13" fmla="*/ 2823587 h 4260290"/>
              <a:gd name="connsiteX14" fmla="*/ 7365442 w 11932818"/>
              <a:gd name="connsiteY14" fmla="*/ 2783394 h 4260290"/>
              <a:gd name="connsiteX15" fmla="*/ 6742444 w 11932818"/>
              <a:gd name="connsiteY15" fmla="*/ 2803490 h 4260290"/>
              <a:gd name="connsiteX16" fmla="*/ 6601767 w 11932818"/>
              <a:gd name="connsiteY16" fmla="*/ 2793442 h 4260290"/>
              <a:gd name="connsiteX17" fmla="*/ 4783016 w 11932818"/>
              <a:gd name="connsiteY17" fmla="*/ 2843684 h 4260290"/>
              <a:gd name="connsiteX18" fmla="*/ 3938954 w 11932818"/>
              <a:gd name="connsiteY18" fmla="*/ 2823587 h 4260290"/>
              <a:gd name="connsiteX19" fmla="*/ 2944167 w 11932818"/>
              <a:gd name="connsiteY19" fmla="*/ 2803490 h 4260290"/>
              <a:gd name="connsiteX20" fmla="*/ 1889090 w 11932818"/>
              <a:gd name="connsiteY20" fmla="*/ 2813539 h 4260290"/>
              <a:gd name="connsiteX21" fmla="*/ 1859968 w 11932818"/>
              <a:gd name="connsiteY21" fmla="*/ 4260290 h 4260290"/>
              <a:gd name="connsiteX0" fmla="*/ 0 w 11932818"/>
              <a:gd name="connsiteY0" fmla="*/ 20097 h 4260290"/>
              <a:gd name="connsiteX1" fmla="*/ 552660 w 11932818"/>
              <a:gd name="connsiteY1" fmla="*/ 0 h 4260290"/>
              <a:gd name="connsiteX2" fmla="*/ 1637882 w 11932818"/>
              <a:gd name="connsiteY2" fmla="*/ 10048 h 4260290"/>
              <a:gd name="connsiteX3" fmla="*/ 2019719 w 11932818"/>
              <a:gd name="connsiteY3" fmla="*/ 10048 h 4260290"/>
              <a:gd name="connsiteX4" fmla="*/ 4531807 w 11932818"/>
              <a:gd name="connsiteY4" fmla="*/ 30145 h 4260290"/>
              <a:gd name="connsiteX5" fmla="*/ 6300317 w 11932818"/>
              <a:gd name="connsiteY5" fmla="*/ 60290 h 4260290"/>
              <a:gd name="connsiteX6" fmla="*/ 7063991 w 11932818"/>
              <a:gd name="connsiteY6" fmla="*/ 30145 h 4260290"/>
              <a:gd name="connsiteX7" fmla="*/ 8098972 w 11932818"/>
              <a:gd name="connsiteY7" fmla="*/ 60290 h 4260290"/>
              <a:gd name="connsiteX8" fmla="*/ 8956033 w 11932818"/>
              <a:gd name="connsiteY8" fmla="*/ 60290 h 4260290"/>
              <a:gd name="connsiteX9" fmla="*/ 10101769 w 11932818"/>
              <a:gd name="connsiteY9" fmla="*/ 0 h 4260290"/>
              <a:gd name="connsiteX10" fmla="*/ 11625888 w 11932818"/>
              <a:gd name="connsiteY10" fmla="*/ 351694 h 4260290"/>
              <a:gd name="connsiteX11" fmla="*/ 11616285 w 11932818"/>
              <a:gd name="connsiteY11" fmla="*/ 2552282 h 4260290"/>
              <a:gd name="connsiteX12" fmla="*/ 10008159 w 11932818"/>
              <a:gd name="connsiteY12" fmla="*/ 2823587 h 4260290"/>
              <a:gd name="connsiteX13" fmla="*/ 9435402 w 11932818"/>
              <a:gd name="connsiteY13" fmla="*/ 2823587 h 4260290"/>
              <a:gd name="connsiteX14" fmla="*/ 7365442 w 11932818"/>
              <a:gd name="connsiteY14" fmla="*/ 2783394 h 4260290"/>
              <a:gd name="connsiteX15" fmla="*/ 6742444 w 11932818"/>
              <a:gd name="connsiteY15" fmla="*/ 2803490 h 4260290"/>
              <a:gd name="connsiteX16" fmla="*/ 6601767 w 11932818"/>
              <a:gd name="connsiteY16" fmla="*/ 2793442 h 4260290"/>
              <a:gd name="connsiteX17" fmla="*/ 4783016 w 11932818"/>
              <a:gd name="connsiteY17" fmla="*/ 2843684 h 4260290"/>
              <a:gd name="connsiteX18" fmla="*/ 3938954 w 11932818"/>
              <a:gd name="connsiteY18" fmla="*/ 2823587 h 4260290"/>
              <a:gd name="connsiteX19" fmla="*/ 2944167 w 11932818"/>
              <a:gd name="connsiteY19" fmla="*/ 2803490 h 4260290"/>
              <a:gd name="connsiteX20" fmla="*/ 1889090 w 11932818"/>
              <a:gd name="connsiteY20" fmla="*/ 2813539 h 4260290"/>
              <a:gd name="connsiteX21" fmla="*/ 1859968 w 11932818"/>
              <a:gd name="connsiteY21" fmla="*/ 4260290 h 4260290"/>
              <a:gd name="connsiteX0" fmla="*/ 0 w 11932818"/>
              <a:gd name="connsiteY0" fmla="*/ 20097 h 4260290"/>
              <a:gd name="connsiteX1" fmla="*/ 552660 w 11932818"/>
              <a:gd name="connsiteY1" fmla="*/ 0 h 4260290"/>
              <a:gd name="connsiteX2" fmla="*/ 1637882 w 11932818"/>
              <a:gd name="connsiteY2" fmla="*/ 10048 h 4260290"/>
              <a:gd name="connsiteX3" fmla="*/ 2019719 w 11932818"/>
              <a:gd name="connsiteY3" fmla="*/ 10048 h 4260290"/>
              <a:gd name="connsiteX4" fmla="*/ 4531807 w 11932818"/>
              <a:gd name="connsiteY4" fmla="*/ 30145 h 4260290"/>
              <a:gd name="connsiteX5" fmla="*/ 6300317 w 11932818"/>
              <a:gd name="connsiteY5" fmla="*/ 60290 h 4260290"/>
              <a:gd name="connsiteX6" fmla="*/ 7063991 w 11932818"/>
              <a:gd name="connsiteY6" fmla="*/ 30145 h 4260290"/>
              <a:gd name="connsiteX7" fmla="*/ 8098972 w 11932818"/>
              <a:gd name="connsiteY7" fmla="*/ 60290 h 4260290"/>
              <a:gd name="connsiteX8" fmla="*/ 8956033 w 11932818"/>
              <a:gd name="connsiteY8" fmla="*/ 60290 h 4260290"/>
              <a:gd name="connsiteX9" fmla="*/ 10101769 w 11932818"/>
              <a:gd name="connsiteY9" fmla="*/ 0 h 4260290"/>
              <a:gd name="connsiteX10" fmla="*/ 11625888 w 11932818"/>
              <a:gd name="connsiteY10" fmla="*/ 351694 h 4260290"/>
              <a:gd name="connsiteX11" fmla="*/ 11616285 w 11932818"/>
              <a:gd name="connsiteY11" fmla="*/ 2552282 h 4260290"/>
              <a:gd name="connsiteX12" fmla="*/ 10008159 w 11932818"/>
              <a:gd name="connsiteY12" fmla="*/ 2823587 h 4260290"/>
              <a:gd name="connsiteX13" fmla="*/ 9435402 w 11932818"/>
              <a:gd name="connsiteY13" fmla="*/ 2823587 h 4260290"/>
              <a:gd name="connsiteX14" fmla="*/ 7365442 w 11932818"/>
              <a:gd name="connsiteY14" fmla="*/ 2783394 h 4260290"/>
              <a:gd name="connsiteX15" fmla="*/ 6742444 w 11932818"/>
              <a:gd name="connsiteY15" fmla="*/ 2803490 h 4260290"/>
              <a:gd name="connsiteX16" fmla="*/ 6601767 w 11932818"/>
              <a:gd name="connsiteY16" fmla="*/ 2793442 h 4260290"/>
              <a:gd name="connsiteX17" fmla="*/ 4783016 w 11932818"/>
              <a:gd name="connsiteY17" fmla="*/ 2843684 h 4260290"/>
              <a:gd name="connsiteX18" fmla="*/ 3938954 w 11932818"/>
              <a:gd name="connsiteY18" fmla="*/ 2823587 h 4260290"/>
              <a:gd name="connsiteX19" fmla="*/ 2944167 w 11932818"/>
              <a:gd name="connsiteY19" fmla="*/ 2803490 h 4260290"/>
              <a:gd name="connsiteX20" fmla="*/ 1860674 w 11932818"/>
              <a:gd name="connsiteY20" fmla="*/ 2927839 h 4260290"/>
              <a:gd name="connsiteX21" fmla="*/ 1859968 w 11932818"/>
              <a:gd name="connsiteY21" fmla="*/ 4260290 h 4260290"/>
              <a:gd name="connsiteX0" fmla="*/ 0 w 11932818"/>
              <a:gd name="connsiteY0" fmla="*/ 20097 h 4260290"/>
              <a:gd name="connsiteX1" fmla="*/ 552660 w 11932818"/>
              <a:gd name="connsiteY1" fmla="*/ 0 h 4260290"/>
              <a:gd name="connsiteX2" fmla="*/ 1637882 w 11932818"/>
              <a:gd name="connsiteY2" fmla="*/ 10048 h 4260290"/>
              <a:gd name="connsiteX3" fmla="*/ 2019719 w 11932818"/>
              <a:gd name="connsiteY3" fmla="*/ 10048 h 4260290"/>
              <a:gd name="connsiteX4" fmla="*/ 4531807 w 11932818"/>
              <a:gd name="connsiteY4" fmla="*/ 30145 h 4260290"/>
              <a:gd name="connsiteX5" fmla="*/ 6300317 w 11932818"/>
              <a:gd name="connsiteY5" fmla="*/ 60290 h 4260290"/>
              <a:gd name="connsiteX6" fmla="*/ 7063991 w 11932818"/>
              <a:gd name="connsiteY6" fmla="*/ 30145 h 4260290"/>
              <a:gd name="connsiteX7" fmla="*/ 8098972 w 11932818"/>
              <a:gd name="connsiteY7" fmla="*/ 60290 h 4260290"/>
              <a:gd name="connsiteX8" fmla="*/ 8956033 w 11932818"/>
              <a:gd name="connsiteY8" fmla="*/ 60290 h 4260290"/>
              <a:gd name="connsiteX9" fmla="*/ 10101769 w 11932818"/>
              <a:gd name="connsiteY9" fmla="*/ 0 h 4260290"/>
              <a:gd name="connsiteX10" fmla="*/ 11625888 w 11932818"/>
              <a:gd name="connsiteY10" fmla="*/ 351694 h 4260290"/>
              <a:gd name="connsiteX11" fmla="*/ 11616285 w 11932818"/>
              <a:gd name="connsiteY11" fmla="*/ 2552282 h 4260290"/>
              <a:gd name="connsiteX12" fmla="*/ 10008159 w 11932818"/>
              <a:gd name="connsiteY12" fmla="*/ 2823587 h 4260290"/>
              <a:gd name="connsiteX13" fmla="*/ 9435402 w 11932818"/>
              <a:gd name="connsiteY13" fmla="*/ 2823587 h 4260290"/>
              <a:gd name="connsiteX14" fmla="*/ 7365442 w 11932818"/>
              <a:gd name="connsiteY14" fmla="*/ 2783394 h 4260290"/>
              <a:gd name="connsiteX15" fmla="*/ 6742444 w 11932818"/>
              <a:gd name="connsiteY15" fmla="*/ 2803490 h 4260290"/>
              <a:gd name="connsiteX16" fmla="*/ 6601767 w 11932818"/>
              <a:gd name="connsiteY16" fmla="*/ 2793442 h 4260290"/>
              <a:gd name="connsiteX17" fmla="*/ 4783016 w 11932818"/>
              <a:gd name="connsiteY17" fmla="*/ 2843684 h 4260290"/>
              <a:gd name="connsiteX18" fmla="*/ 3938954 w 11932818"/>
              <a:gd name="connsiteY18" fmla="*/ 2823587 h 4260290"/>
              <a:gd name="connsiteX19" fmla="*/ 2944167 w 11932818"/>
              <a:gd name="connsiteY19" fmla="*/ 2803490 h 4260290"/>
              <a:gd name="connsiteX20" fmla="*/ 1860674 w 11932818"/>
              <a:gd name="connsiteY20" fmla="*/ 2927839 h 4260290"/>
              <a:gd name="connsiteX21" fmla="*/ 1859968 w 11932818"/>
              <a:gd name="connsiteY21" fmla="*/ 4260290 h 4260290"/>
              <a:gd name="connsiteX0" fmla="*/ 0 w 11932818"/>
              <a:gd name="connsiteY0" fmla="*/ 20097 h 3803090"/>
              <a:gd name="connsiteX1" fmla="*/ 552660 w 11932818"/>
              <a:gd name="connsiteY1" fmla="*/ 0 h 3803090"/>
              <a:gd name="connsiteX2" fmla="*/ 1637882 w 11932818"/>
              <a:gd name="connsiteY2" fmla="*/ 10048 h 3803090"/>
              <a:gd name="connsiteX3" fmla="*/ 2019719 w 11932818"/>
              <a:gd name="connsiteY3" fmla="*/ 10048 h 3803090"/>
              <a:gd name="connsiteX4" fmla="*/ 4531807 w 11932818"/>
              <a:gd name="connsiteY4" fmla="*/ 30145 h 3803090"/>
              <a:gd name="connsiteX5" fmla="*/ 6300317 w 11932818"/>
              <a:gd name="connsiteY5" fmla="*/ 60290 h 3803090"/>
              <a:gd name="connsiteX6" fmla="*/ 7063991 w 11932818"/>
              <a:gd name="connsiteY6" fmla="*/ 30145 h 3803090"/>
              <a:gd name="connsiteX7" fmla="*/ 8098972 w 11932818"/>
              <a:gd name="connsiteY7" fmla="*/ 60290 h 3803090"/>
              <a:gd name="connsiteX8" fmla="*/ 8956033 w 11932818"/>
              <a:gd name="connsiteY8" fmla="*/ 60290 h 3803090"/>
              <a:gd name="connsiteX9" fmla="*/ 10101769 w 11932818"/>
              <a:gd name="connsiteY9" fmla="*/ 0 h 3803090"/>
              <a:gd name="connsiteX10" fmla="*/ 11625888 w 11932818"/>
              <a:gd name="connsiteY10" fmla="*/ 351694 h 3803090"/>
              <a:gd name="connsiteX11" fmla="*/ 11616285 w 11932818"/>
              <a:gd name="connsiteY11" fmla="*/ 2552282 h 3803090"/>
              <a:gd name="connsiteX12" fmla="*/ 10008159 w 11932818"/>
              <a:gd name="connsiteY12" fmla="*/ 2823587 h 3803090"/>
              <a:gd name="connsiteX13" fmla="*/ 9435402 w 11932818"/>
              <a:gd name="connsiteY13" fmla="*/ 2823587 h 3803090"/>
              <a:gd name="connsiteX14" fmla="*/ 7365442 w 11932818"/>
              <a:gd name="connsiteY14" fmla="*/ 2783394 h 3803090"/>
              <a:gd name="connsiteX15" fmla="*/ 6742444 w 11932818"/>
              <a:gd name="connsiteY15" fmla="*/ 2803490 h 3803090"/>
              <a:gd name="connsiteX16" fmla="*/ 6601767 w 11932818"/>
              <a:gd name="connsiteY16" fmla="*/ 2793442 h 3803090"/>
              <a:gd name="connsiteX17" fmla="*/ 4783016 w 11932818"/>
              <a:gd name="connsiteY17" fmla="*/ 2843684 h 3803090"/>
              <a:gd name="connsiteX18" fmla="*/ 3938954 w 11932818"/>
              <a:gd name="connsiteY18" fmla="*/ 2823587 h 3803090"/>
              <a:gd name="connsiteX19" fmla="*/ 2944167 w 11932818"/>
              <a:gd name="connsiteY19" fmla="*/ 2803490 h 3803090"/>
              <a:gd name="connsiteX20" fmla="*/ 1860674 w 11932818"/>
              <a:gd name="connsiteY20" fmla="*/ 2927839 h 3803090"/>
              <a:gd name="connsiteX21" fmla="*/ 1822079 w 11932818"/>
              <a:gd name="connsiteY21" fmla="*/ 3803090 h 3803090"/>
              <a:gd name="connsiteX0" fmla="*/ 0 w 11932818"/>
              <a:gd name="connsiteY0" fmla="*/ 20097 h 3803090"/>
              <a:gd name="connsiteX1" fmla="*/ 552660 w 11932818"/>
              <a:gd name="connsiteY1" fmla="*/ 0 h 3803090"/>
              <a:gd name="connsiteX2" fmla="*/ 1637882 w 11932818"/>
              <a:gd name="connsiteY2" fmla="*/ 10048 h 3803090"/>
              <a:gd name="connsiteX3" fmla="*/ 2019719 w 11932818"/>
              <a:gd name="connsiteY3" fmla="*/ 10048 h 3803090"/>
              <a:gd name="connsiteX4" fmla="*/ 4531807 w 11932818"/>
              <a:gd name="connsiteY4" fmla="*/ 30145 h 3803090"/>
              <a:gd name="connsiteX5" fmla="*/ 6300317 w 11932818"/>
              <a:gd name="connsiteY5" fmla="*/ 60290 h 3803090"/>
              <a:gd name="connsiteX6" fmla="*/ 7063991 w 11932818"/>
              <a:gd name="connsiteY6" fmla="*/ 30145 h 3803090"/>
              <a:gd name="connsiteX7" fmla="*/ 8098972 w 11932818"/>
              <a:gd name="connsiteY7" fmla="*/ 60290 h 3803090"/>
              <a:gd name="connsiteX8" fmla="*/ 8956033 w 11932818"/>
              <a:gd name="connsiteY8" fmla="*/ 60290 h 3803090"/>
              <a:gd name="connsiteX9" fmla="*/ 10101769 w 11932818"/>
              <a:gd name="connsiteY9" fmla="*/ 0 h 3803090"/>
              <a:gd name="connsiteX10" fmla="*/ 11625888 w 11932818"/>
              <a:gd name="connsiteY10" fmla="*/ 351694 h 3803090"/>
              <a:gd name="connsiteX11" fmla="*/ 11616285 w 11932818"/>
              <a:gd name="connsiteY11" fmla="*/ 2552282 h 3803090"/>
              <a:gd name="connsiteX12" fmla="*/ 10008159 w 11932818"/>
              <a:gd name="connsiteY12" fmla="*/ 2823587 h 3803090"/>
              <a:gd name="connsiteX13" fmla="*/ 9435402 w 11932818"/>
              <a:gd name="connsiteY13" fmla="*/ 2823587 h 3803090"/>
              <a:gd name="connsiteX14" fmla="*/ 7365442 w 11932818"/>
              <a:gd name="connsiteY14" fmla="*/ 2783394 h 3803090"/>
              <a:gd name="connsiteX15" fmla="*/ 6742444 w 11932818"/>
              <a:gd name="connsiteY15" fmla="*/ 2803490 h 3803090"/>
              <a:gd name="connsiteX16" fmla="*/ 6601767 w 11932818"/>
              <a:gd name="connsiteY16" fmla="*/ 2793442 h 3803090"/>
              <a:gd name="connsiteX17" fmla="*/ 4783016 w 11932818"/>
              <a:gd name="connsiteY17" fmla="*/ 2843684 h 3803090"/>
              <a:gd name="connsiteX18" fmla="*/ 3938954 w 11932818"/>
              <a:gd name="connsiteY18" fmla="*/ 2823587 h 3803090"/>
              <a:gd name="connsiteX19" fmla="*/ 2944167 w 11932818"/>
              <a:gd name="connsiteY19" fmla="*/ 2803490 h 3803090"/>
              <a:gd name="connsiteX20" fmla="*/ 1860674 w 11932818"/>
              <a:gd name="connsiteY20" fmla="*/ 2927839 h 3803090"/>
              <a:gd name="connsiteX21" fmla="*/ 1822079 w 11932818"/>
              <a:gd name="connsiteY21" fmla="*/ 3803090 h 3803090"/>
              <a:gd name="connsiteX0" fmla="*/ 0 w 11932818"/>
              <a:gd name="connsiteY0" fmla="*/ 20097 h 3803090"/>
              <a:gd name="connsiteX1" fmla="*/ 552660 w 11932818"/>
              <a:gd name="connsiteY1" fmla="*/ 0 h 3803090"/>
              <a:gd name="connsiteX2" fmla="*/ 1637882 w 11932818"/>
              <a:gd name="connsiteY2" fmla="*/ 10048 h 3803090"/>
              <a:gd name="connsiteX3" fmla="*/ 2019719 w 11932818"/>
              <a:gd name="connsiteY3" fmla="*/ 10048 h 3803090"/>
              <a:gd name="connsiteX4" fmla="*/ 4531807 w 11932818"/>
              <a:gd name="connsiteY4" fmla="*/ 30145 h 3803090"/>
              <a:gd name="connsiteX5" fmla="*/ 6300317 w 11932818"/>
              <a:gd name="connsiteY5" fmla="*/ 60290 h 3803090"/>
              <a:gd name="connsiteX6" fmla="*/ 7063991 w 11932818"/>
              <a:gd name="connsiteY6" fmla="*/ 30145 h 3803090"/>
              <a:gd name="connsiteX7" fmla="*/ 8098972 w 11932818"/>
              <a:gd name="connsiteY7" fmla="*/ 60290 h 3803090"/>
              <a:gd name="connsiteX8" fmla="*/ 8956033 w 11932818"/>
              <a:gd name="connsiteY8" fmla="*/ 60290 h 3803090"/>
              <a:gd name="connsiteX9" fmla="*/ 10101769 w 11932818"/>
              <a:gd name="connsiteY9" fmla="*/ 0 h 3803090"/>
              <a:gd name="connsiteX10" fmla="*/ 11625888 w 11932818"/>
              <a:gd name="connsiteY10" fmla="*/ 351694 h 3803090"/>
              <a:gd name="connsiteX11" fmla="*/ 11616285 w 11932818"/>
              <a:gd name="connsiteY11" fmla="*/ 2552282 h 3803090"/>
              <a:gd name="connsiteX12" fmla="*/ 10008159 w 11932818"/>
              <a:gd name="connsiteY12" fmla="*/ 2823587 h 3803090"/>
              <a:gd name="connsiteX13" fmla="*/ 9435402 w 11932818"/>
              <a:gd name="connsiteY13" fmla="*/ 2823587 h 3803090"/>
              <a:gd name="connsiteX14" fmla="*/ 7365442 w 11932818"/>
              <a:gd name="connsiteY14" fmla="*/ 2783394 h 3803090"/>
              <a:gd name="connsiteX15" fmla="*/ 6742444 w 11932818"/>
              <a:gd name="connsiteY15" fmla="*/ 2803490 h 3803090"/>
              <a:gd name="connsiteX16" fmla="*/ 6601767 w 11932818"/>
              <a:gd name="connsiteY16" fmla="*/ 2793442 h 3803090"/>
              <a:gd name="connsiteX17" fmla="*/ 4783016 w 11932818"/>
              <a:gd name="connsiteY17" fmla="*/ 2843684 h 3803090"/>
              <a:gd name="connsiteX18" fmla="*/ 3938954 w 11932818"/>
              <a:gd name="connsiteY18" fmla="*/ 2823587 h 3803090"/>
              <a:gd name="connsiteX19" fmla="*/ 2944167 w 11932818"/>
              <a:gd name="connsiteY19" fmla="*/ 2803490 h 3803090"/>
              <a:gd name="connsiteX20" fmla="*/ 1860674 w 11932818"/>
              <a:gd name="connsiteY20" fmla="*/ 2927839 h 3803090"/>
              <a:gd name="connsiteX21" fmla="*/ 1822079 w 11932818"/>
              <a:gd name="connsiteY21" fmla="*/ 3803090 h 3803090"/>
              <a:gd name="connsiteX0" fmla="*/ 0 w 11932818"/>
              <a:gd name="connsiteY0" fmla="*/ 20097 h 3869765"/>
              <a:gd name="connsiteX1" fmla="*/ 552660 w 11932818"/>
              <a:gd name="connsiteY1" fmla="*/ 0 h 3869765"/>
              <a:gd name="connsiteX2" fmla="*/ 1637882 w 11932818"/>
              <a:gd name="connsiteY2" fmla="*/ 10048 h 3869765"/>
              <a:gd name="connsiteX3" fmla="*/ 2019719 w 11932818"/>
              <a:gd name="connsiteY3" fmla="*/ 10048 h 3869765"/>
              <a:gd name="connsiteX4" fmla="*/ 4531807 w 11932818"/>
              <a:gd name="connsiteY4" fmla="*/ 30145 h 3869765"/>
              <a:gd name="connsiteX5" fmla="*/ 6300317 w 11932818"/>
              <a:gd name="connsiteY5" fmla="*/ 60290 h 3869765"/>
              <a:gd name="connsiteX6" fmla="*/ 7063991 w 11932818"/>
              <a:gd name="connsiteY6" fmla="*/ 30145 h 3869765"/>
              <a:gd name="connsiteX7" fmla="*/ 8098972 w 11932818"/>
              <a:gd name="connsiteY7" fmla="*/ 60290 h 3869765"/>
              <a:gd name="connsiteX8" fmla="*/ 8956033 w 11932818"/>
              <a:gd name="connsiteY8" fmla="*/ 60290 h 3869765"/>
              <a:gd name="connsiteX9" fmla="*/ 10101769 w 11932818"/>
              <a:gd name="connsiteY9" fmla="*/ 0 h 3869765"/>
              <a:gd name="connsiteX10" fmla="*/ 11625888 w 11932818"/>
              <a:gd name="connsiteY10" fmla="*/ 351694 h 3869765"/>
              <a:gd name="connsiteX11" fmla="*/ 11616285 w 11932818"/>
              <a:gd name="connsiteY11" fmla="*/ 2552282 h 3869765"/>
              <a:gd name="connsiteX12" fmla="*/ 10008159 w 11932818"/>
              <a:gd name="connsiteY12" fmla="*/ 2823587 h 3869765"/>
              <a:gd name="connsiteX13" fmla="*/ 9435402 w 11932818"/>
              <a:gd name="connsiteY13" fmla="*/ 2823587 h 3869765"/>
              <a:gd name="connsiteX14" fmla="*/ 7365442 w 11932818"/>
              <a:gd name="connsiteY14" fmla="*/ 2783394 h 3869765"/>
              <a:gd name="connsiteX15" fmla="*/ 6742444 w 11932818"/>
              <a:gd name="connsiteY15" fmla="*/ 2803490 h 3869765"/>
              <a:gd name="connsiteX16" fmla="*/ 6601767 w 11932818"/>
              <a:gd name="connsiteY16" fmla="*/ 2793442 h 3869765"/>
              <a:gd name="connsiteX17" fmla="*/ 4783016 w 11932818"/>
              <a:gd name="connsiteY17" fmla="*/ 2843684 h 3869765"/>
              <a:gd name="connsiteX18" fmla="*/ 3938954 w 11932818"/>
              <a:gd name="connsiteY18" fmla="*/ 2823587 h 3869765"/>
              <a:gd name="connsiteX19" fmla="*/ 2944167 w 11932818"/>
              <a:gd name="connsiteY19" fmla="*/ 2803490 h 3869765"/>
              <a:gd name="connsiteX20" fmla="*/ 1860674 w 11932818"/>
              <a:gd name="connsiteY20" fmla="*/ 2927839 h 3869765"/>
              <a:gd name="connsiteX21" fmla="*/ 1196914 w 11932818"/>
              <a:gd name="connsiteY21" fmla="*/ 3869765 h 3869765"/>
              <a:gd name="connsiteX0" fmla="*/ 0 w 11932818"/>
              <a:gd name="connsiteY0" fmla="*/ 20097 h 3869765"/>
              <a:gd name="connsiteX1" fmla="*/ 552660 w 11932818"/>
              <a:gd name="connsiteY1" fmla="*/ 0 h 3869765"/>
              <a:gd name="connsiteX2" fmla="*/ 1637882 w 11932818"/>
              <a:gd name="connsiteY2" fmla="*/ 10048 h 3869765"/>
              <a:gd name="connsiteX3" fmla="*/ 2019719 w 11932818"/>
              <a:gd name="connsiteY3" fmla="*/ 10048 h 3869765"/>
              <a:gd name="connsiteX4" fmla="*/ 4531807 w 11932818"/>
              <a:gd name="connsiteY4" fmla="*/ 30145 h 3869765"/>
              <a:gd name="connsiteX5" fmla="*/ 6300317 w 11932818"/>
              <a:gd name="connsiteY5" fmla="*/ 60290 h 3869765"/>
              <a:gd name="connsiteX6" fmla="*/ 7063991 w 11932818"/>
              <a:gd name="connsiteY6" fmla="*/ 30145 h 3869765"/>
              <a:gd name="connsiteX7" fmla="*/ 8098972 w 11932818"/>
              <a:gd name="connsiteY7" fmla="*/ 60290 h 3869765"/>
              <a:gd name="connsiteX8" fmla="*/ 8956033 w 11932818"/>
              <a:gd name="connsiteY8" fmla="*/ 60290 h 3869765"/>
              <a:gd name="connsiteX9" fmla="*/ 10101769 w 11932818"/>
              <a:gd name="connsiteY9" fmla="*/ 0 h 3869765"/>
              <a:gd name="connsiteX10" fmla="*/ 11625888 w 11932818"/>
              <a:gd name="connsiteY10" fmla="*/ 351694 h 3869765"/>
              <a:gd name="connsiteX11" fmla="*/ 11616285 w 11932818"/>
              <a:gd name="connsiteY11" fmla="*/ 2552282 h 3869765"/>
              <a:gd name="connsiteX12" fmla="*/ 10008159 w 11932818"/>
              <a:gd name="connsiteY12" fmla="*/ 2823587 h 3869765"/>
              <a:gd name="connsiteX13" fmla="*/ 9435402 w 11932818"/>
              <a:gd name="connsiteY13" fmla="*/ 2823587 h 3869765"/>
              <a:gd name="connsiteX14" fmla="*/ 7365442 w 11932818"/>
              <a:gd name="connsiteY14" fmla="*/ 2783394 h 3869765"/>
              <a:gd name="connsiteX15" fmla="*/ 6742444 w 11932818"/>
              <a:gd name="connsiteY15" fmla="*/ 2803490 h 3869765"/>
              <a:gd name="connsiteX16" fmla="*/ 6601767 w 11932818"/>
              <a:gd name="connsiteY16" fmla="*/ 2793442 h 3869765"/>
              <a:gd name="connsiteX17" fmla="*/ 4783016 w 11932818"/>
              <a:gd name="connsiteY17" fmla="*/ 2843684 h 3869765"/>
              <a:gd name="connsiteX18" fmla="*/ 3938954 w 11932818"/>
              <a:gd name="connsiteY18" fmla="*/ 2823587 h 3869765"/>
              <a:gd name="connsiteX19" fmla="*/ 2944167 w 11932818"/>
              <a:gd name="connsiteY19" fmla="*/ 2803490 h 3869765"/>
              <a:gd name="connsiteX20" fmla="*/ 1320759 w 11932818"/>
              <a:gd name="connsiteY20" fmla="*/ 2861164 h 3869765"/>
              <a:gd name="connsiteX21" fmla="*/ 1196914 w 11932818"/>
              <a:gd name="connsiteY21" fmla="*/ 3869765 h 3869765"/>
              <a:gd name="connsiteX0" fmla="*/ 0 w 11932818"/>
              <a:gd name="connsiteY0" fmla="*/ 20097 h 3869765"/>
              <a:gd name="connsiteX1" fmla="*/ 552660 w 11932818"/>
              <a:gd name="connsiteY1" fmla="*/ 0 h 3869765"/>
              <a:gd name="connsiteX2" fmla="*/ 1637882 w 11932818"/>
              <a:gd name="connsiteY2" fmla="*/ 10048 h 3869765"/>
              <a:gd name="connsiteX3" fmla="*/ 2019719 w 11932818"/>
              <a:gd name="connsiteY3" fmla="*/ 10048 h 3869765"/>
              <a:gd name="connsiteX4" fmla="*/ 4531807 w 11932818"/>
              <a:gd name="connsiteY4" fmla="*/ 30145 h 3869765"/>
              <a:gd name="connsiteX5" fmla="*/ 6300317 w 11932818"/>
              <a:gd name="connsiteY5" fmla="*/ 60290 h 3869765"/>
              <a:gd name="connsiteX6" fmla="*/ 7063991 w 11932818"/>
              <a:gd name="connsiteY6" fmla="*/ 30145 h 3869765"/>
              <a:gd name="connsiteX7" fmla="*/ 8098972 w 11932818"/>
              <a:gd name="connsiteY7" fmla="*/ 60290 h 3869765"/>
              <a:gd name="connsiteX8" fmla="*/ 8956033 w 11932818"/>
              <a:gd name="connsiteY8" fmla="*/ 60290 h 3869765"/>
              <a:gd name="connsiteX9" fmla="*/ 10101769 w 11932818"/>
              <a:gd name="connsiteY9" fmla="*/ 0 h 3869765"/>
              <a:gd name="connsiteX10" fmla="*/ 11625888 w 11932818"/>
              <a:gd name="connsiteY10" fmla="*/ 351694 h 3869765"/>
              <a:gd name="connsiteX11" fmla="*/ 11616285 w 11932818"/>
              <a:gd name="connsiteY11" fmla="*/ 2552282 h 3869765"/>
              <a:gd name="connsiteX12" fmla="*/ 10008159 w 11932818"/>
              <a:gd name="connsiteY12" fmla="*/ 2823587 h 3869765"/>
              <a:gd name="connsiteX13" fmla="*/ 9435402 w 11932818"/>
              <a:gd name="connsiteY13" fmla="*/ 2823587 h 3869765"/>
              <a:gd name="connsiteX14" fmla="*/ 7365442 w 11932818"/>
              <a:gd name="connsiteY14" fmla="*/ 2783394 h 3869765"/>
              <a:gd name="connsiteX15" fmla="*/ 6742444 w 11932818"/>
              <a:gd name="connsiteY15" fmla="*/ 2803490 h 3869765"/>
              <a:gd name="connsiteX16" fmla="*/ 6601767 w 11932818"/>
              <a:gd name="connsiteY16" fmla="*/ 2793442 h 3869765"/>
              <a:gd name="connsiteX17" fmla="*/ 4783016 w 11932818"/>
              <a:gd name="connsiteY17" fmla="*/ 2843684 h 3869765"/>
              <a:gd name="connsiteX18" fmla="*/ 3938954 w 11932818"/>
              <a:gd name="connsiteY18" fmla="*/ 2823587 h 3869765"/>
              <a:gd name="connsiteX19" fmla="*/ 2944167 w 11932818"/>
              <a:gd name="connsiteY19" fmla="*/ 2803490 h 3869765"/>
              <a:gd name="connsiteX20" fmla="*/ 1320759 w 11932818"/>
              <a:gd name="connsiteY20" fmla="*/ 2861164 h 3869765"/>
              <a:gd name="connsiteX21" fmla="*/ 1196914 w 11932818"/>
              <a:gd name="connsiteY21" fmla="*/ 3869765 h 38697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932818" h="3869765">
                <a:moveTo>
                  <a:pt x="0" y="20097"/>
                </a:moveTo>
                <a:cubicBezTo>
                  <a:pt x="115137" y="15910"/>
                  <a:pt x="279680" y="1675"/>
                  <a:pt x="552660" y="0"/>
                </a:cubicBezTo>
                <a:lnTo>
                  <a:pt x="1637882" y="10048"/>
                </a:lnTo>
                <a:lnTo>
                  <a:pt x="2019719" y="10048"/>
                </a:lnTo>
                <a:lnTo>
                  <a:pt x="4531807" y="30145"/>
                </a:lnTo>
                <a:lnTo>
                  <a:pt x="6300317" y="60290"/>
                </a:lnTo>
                <a:cubicBezTo>
                  <a:pt x="6722348" y="60290"/>
                  <a:pt x="6764215" y="30145"/>
                  <a:pt x="7063991" y="30145"/>
                </a:cubicBezTo>
                <a:cubicBezTo>
                  <a:pt x="7363767" y="30145"/>
                  <a:pt x="7783632" y="55266"/>
                  <a:pt x="8098972" y="60290"/>
                </a:cubicBezTo>
                <a:cubicBezTo>
                  <a:pt x="8414312" y="65314"/>
                  <a:pt x="8706499" y="61965"/>
                  <a:pt x="8956033" y="60290"/>
                </a:cubicBezTo>
                <a:lnTo>
                  <a:pt x="10101769" y="0"/>
                </a:lnTo>
                <a:cubicBezTo>
                  <a:pt x="10416617" y="6699"/>
                  <a:pt x="11132929" y="5268"/>
                  <a:pt x="11625888" y="351694"/>
                </a:cubicBezTo>
                <a:cubicBezTo>
                  <a:pt x="12064127" y="659666"/>
                  <a:pt x="12008035" y="2254026"/>
                  <a:pt x="11616285" y="2552282"/>
                </a:cubicBezTo>
                <a:cubicBezTo>
                  <a:pt x="11246737" y="2833635"/>
                  <a:pt x="10399952" y="2783394"/>
                  <a:pt x="10008159" y="2823587"/>
                </a:cubicBezTo>
                <a:cubicBezTo>
                  <a:pt x="9761974" y="2823587"/>
                  <a:pt x="9875855" y="2830286"/>
                  <a:pt x="9435402" y="2823587"/>
                </a:cubicBezTo>
                <a:lnTo>
                  <a:pt x="7365442" y="2783394"/>
                </a:lnTo>
                <a:cubicBezTo>
                  <a:pt x="6916616" y="2780045"/>
                  <a:pt x="6950110" y="2796791"/>
                  <a:pt x="6742444" y="2803490"/>
                </a:cubicBezTo>
                <a:cubicBezTo>
                  <a:pt x="6695458" y="2801924"/>
                  <a:pt x="6648769" y="2792478"/>
                  <a:pt x="6601767" y="2793442"/>
                </a:cubicBezTo>
                <a:lnTo>
                  <a:pt x="4783016" y="2843684"/>
                </a:lnTo>
                <a:cubicBezTo>
                  <a:pt x="4339214" y="2848708"/>
                  <a:pt x="4235380" y="2831961"/>
                  <a:pt x="3938954" y="2823587"/>
                </a:cubicBezTo>
                <a:lnTo>
                  <a:pt x="2944167" y="2803490"/>
                </a:lnTo>
                <a:cubicBezTo>
                  <a:pt x="2602523" y="2801815"/>
                  <a:pt x="1574079" y="2664402"/>
                  <a:pt x="1320759" y="2861164"/>
                </a:cubicBezTo>
                <a:cubicBezTo>
                  <a:pt x="1067439" y="3057926"/>
                  <a:pt x="1178205" y="3733590"/>
                  <a:pt x="1196914" y="3869765"/>
                </a:cubicBezTo>
              </a:path>
            </a:pathLst>
          </a:custGeom>
          <a:noFill/>
          <a:ln w="20002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0165F419-344A-7A36-A1B5-074744F992AC}"/>
              </a:ext>
            </a:extLst>
          </p:cNvPr>
          <p:cNvCxnSpPr>
            <a:cxnSpLocks/>
          </p:cNvCxnSpPr>
          <p:nvPr/>
        </p:nvCxnSpPr>
        <p:spPr>
          <a:xfrm>
            <a:off x="7114107" y="2169243"/>
            <a:ext cx="7971" cy="1377793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1EA62165-37AA-1C58-8DBA-4F6AC17B8E43}"/>
              </a:ext>
            </a:extLst>
          </p:cNvPr>
          <p:cNvCxnSpPr>
            <a:cxnSpLocks/>
            <a:stCxn id="78" idx="0"/>
          </p:cNvCxnSpPr>
          <p:nvPr/>
        </p:nvCxnSpPr>
        <p:spPr>
          <a:xfrm flipH="1">
            <a:off x="1859427" y="2199446"/>
            <a:ext cx="2760" cy="1292237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FBB97D7A-8740-9B34-C6BD-7F99F05CFCE0}"/>
              </a:ext>
            </a:extLst>
          </p:cNvPr>
          <p:cNvSpPr/>
          <p:nvPr/>
        </p:nvSpPr>
        <p:spPr>
          <a:xfrm flipH="1">
            <a:off x="192656" y="1877849"/>
            <a:ext cx="11999344" cy="3628122"/>
          </a:xfrm>
          <a:custGeom>
            <a:avLst/>
            <a:gdLst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854110 w 11867103"/>
              <a:gd name="connsiteY4" fmla="*/ 50242 h 2964609"/>
              <a:gd name="connsiteX5" fmla="*/ 884255 w 11867103"/>
              <a:gd name="connsiteY5" fmla="*/ 60290 h 2964609"/>
              <a:gd name="connsiteX6" fmla="*/ 964642 w 11867103"/>
              <a:gd name="connsiteY6" fmla="*/ 70339 h 2964609"/>
              <a:gd name="connsiteX7" fmla="*/ 994787 w 11867103"/>
              <a:gd name="connsiteY7" fmla="*/ 80387 h 2964609"/>
              <a:gd name="connsiteX8" fmla="*/ 1356528 w 11867103"/>
              <a:gd name="connsiteY8" fmla="*/ 80387 h 2964609"/>
              <a:gd name="connsiteX9" fmla="*/ 1758462 w 11867103"/>
              <a:gd name="connsiteY9" fmla="*/ 40193 h 2964609"/>
              <a:gd name="connsiteX10" fmla="*/ 1889090 w 11867103"/>
              <a:gd name="connsiteY10" fmla="*/ 20097 h 2964609"/>
              <a:gd name="connsiteX11" fmla="*/ 2140299 w 11867103"/>
              <a:gd name="connsiteY11" fmla="*/ 40193 h 2964609"/>
              <a:gd name="connsiteX12" fmla="*/ 2200589 w 11867103"/>
              <a:gd name="connsiteY12" fmla="*/ 50242 h 2964609"/>
              <a:gd name="connsiteX13" fmla="*/ 4652387 w 11867103"/>
              <a:gd name="connsiteY13" fmla="*/ 60290 h 2964609"/>
              <a:gd name="connsiteX14" fmla="*/ 4692580 w 11867103"/>
              <a:gd name="connsiteY14" fmla="*/ 70339 h 2964609"/>
              <a:gd name="connsiteX15" fmla="*/ 4843306 w 11867103"/>
              <a:gd name="connsiteY15" fmla="*/ 90435 h 2964609"/>
              <a:gd name="connsiteX16" fmla="*/ 5677319 w 11867103"/>
              <a:gd name="connsiteY16" fmla="*/ 80387 h 2964609"/>
              <a:gd name="connsiteX17" fmla="*/ 6169688 w 11867103"/>
              <a:gd name="connsiteY17" fmla="*/ 110532 h 2964609"/>
              <a:gd name="connsiteX18" fmla="*/ 6420897 w 11867103"/>
              <a:gd name="connsiteY18" fmla="*/ 90435 h 2964609"/>
              <a:gd name="connsiteX19" fmla="*/ 6511332 w 11867103"/>
              <a:gd name="connsiteY19" fmla="*/ 30145 h 2964609"/>
              <a:gd name="connsiteX20" fmla="*/ 6571622 w 11867103"/>
              <a:gd name="connsiteY20" fmla="*/ 20097 h 2964609"/>
              <a:gd name="connsiteX21" fmla="*/ 6641961 w 11867103"/>
              <a:gd name="connsiteY21" fmla="*/ 0 h 2964609"/>
              <a:gd name="connsiteX22" fmla="*/ 7204668 w 11867103"/>
              <a:gd name="connsiteY22" fmla="*/ 10048 h 2964609"/>
              <a:gd name="connsiteX23" fmla="*/ 7285055 w 11867103"/>
              <a:gd name="connsiteY23" fmla="*/ 30145 h 2964609"/>
              <a:gd name="connsiteX24" fmla="*/ 7375490 w 11867103"/>
              <a:gd name="connsiteY24" fmla="*/ 40193 h 2964609"/>
              <a:gd name="connsiteX25" fmla="*/ 7928150 w 11867103"/>
              <a:gd name="connsiteY25" fmla="*/ 60290 h 2964609"/>
              <a:gd name="connsiteX26" fmla="*/ 8109020 w 11867103"/>
              <a:gd name="connsiteY26" fmla="*/ 80387 h 2964609"/>
              <a:gd name="connsiteX27" fmla="*/ 8219552 w 11867103"/>
              <a:gd name="connsiteY27" fmla="*/ 90435 h 2964609"/>
              <a:gd name="connsiteX28" fmla="*/ 8299939 w 11867103"/>
              <a:gd name="connsiteY28" fmla="*/ 100484 h 2964609"/>
              <a:gd name="connsiteX29" fmla="*/ 8521002 w 11867103"/>
              <a:gd name="connsiteY29" fmla="*/ 110532 h 2964609"/>
              <a:gd name="connsiteX30" fmla="*/ 9515789 w 11867103"/>
              <a:gd name="connsiteY30" fmla="*/ 100484 h 2964609"/>
              <a:gd name="connsiteX31" fmla="*/ 9606224 w 11867103"/>
              <a:gd name="connsiteY31" fmla="*/ 90435 h 2964609"/>
              <a:gd name="connsiteX32" fmla="*/ 9716756 w 11867103"/>
              <a:gd name="connsiteY32" fmla="*/ 80387 h 2964609"/>
              <a:gd name="connsiteX33" fmla="*/ 9797143 w 11867103"/>
              <a:gd name="connsiteY33" fmla="*/ 70339 h 2964609"/>
              <a:gd name="connsiteX34" fmla="*/ 9947868 w 11867103"/>
              <a:gd name="connsiteY34" fmla="*/ 60290 h 2964609"/>
              <a:gd name="connsiteX35" fmla="*/ 10791930 w 11867103"/>
              <a:gd name="connsiteY35" fmla="*/ 30145 h 2964609"/>
              <a:gd name="connsiteX36" fmla="*/ 11736475 w 11867103"/>
              <a:gd name="connsiteY36" fmla="*/ 50242 h 2964609"/>
              <a:gd name="connsiteX37" fmla="*/ 11766620 w 11867103"/>
              <a:gd name="connsiteY37" fmla="*/ 80387 h 2964609"/>
              <a:gd name="connsiteX38" fmla="*/ 11786717 w 11867103"/>
              <a:gd name="connsiteY38" fmla="*/ 120580 h 2964609"/>
              <a:gd name="connsiteX39" fmla="*/ 11806813 w 11867103"/>
              <a:gd name="connsiteY39" fmla="*/ 211015 h 2964609"/>
              <a:gd name="connsiteX40" fmla="*/ 11816862 w 11867103"/>
              <a:gd name="connsiteY40" fmla="*/ 251209 h 2964609"/>
              <a:gd name="connsiteX41" fmla="*/ 11826910 w 11867103"/>
              <a:gd name="connsiteY41" fmla="*/ 341644 h 2964609"/>
              <a:gd name="connsiteX42" fmla="*/ 11836958 w 11867103"/>
              <a:gd name="connsiteY42" fmla="*/ 422031 h 2964609"/>
              <a:gd name="connsiteX43" fmla="*/ 11826910 w 11867103"/>
              <a:gd name="connsiteY43" fmla="*/ 733530 h 2964609"/>
              <a:gd name="connsiteX44" fmla="*/ 11816862 w 11867103"/>
              <a:gd name="connsiteY44" fmla="*/ 793820 h 2964609"/>
              <a:gd name="connsiteX45" fmla="*/ 11806813 w 11867103"/>
              <a:gd name="connsiteY45" fmla="*/ 864158 h 2964609"/>
              <a:gd name="connsiteX46" fmla="*/ 11816862 w 11867103"/>
              <a:gd name="connsiteY46" fmla="*/ 2331218 h 2964609"/>
              <a:gd name="connsiteX47" fmla="*/ 11826910 w 11867103"/>
              <a:gd name="connsiteY47" fmla="*/ 2401556 h 2964609"/>
              <a:gd name="connsiteX48" fmla="*/ 11836958 w 11867103"/>
              <a:gd name="connsiteY48" fmla="*/ 2431701 h 2964609"/>
              <a:gd name="connsiteX49" fmla="*/ 11857055 w 11867103"/>
              <a:gd name="connsiteY49" fmla="*/ 2562330 h 2964609"/>
              <a:gd name="connsiteX50" fmla="*/ 11867103 w 11867103"/>
              <a:gd name="connsiteY50" fmla="*/ 2602523 h 2964609"/>
              <a:gd name="connsiteX51" fmla="*/ 11857055 w 11867103"/>
              <a:gd name="connsiteY51" fmla="*/ 2833635 h 2964609"/>
              <a:gd name="connsiteX52" fmla="*/ 11836958 w 11867103"/>
              <a:gd name="connsiteY52" fmla="*/ 2863780 h 2964609"/>
              <a:gd name="connsiteX53" fmla="*/ 11033090 w 11867103"/>
              <a:gd name="connsiteY53" fmla="*/ 2853732 h 2964609"/>
              <a:gd name="connsiteX54" fmla="*/ 10621108 w 11867103"/>
              <a:gd name="connsiteY54" fmla="*/ 2843684 h 2964609"/>
              <a:gd name="connsiteX55" fmla="*/ 10128739 w 11867103"/>
              <a:gd name="connsiteY55" fmla="*/ 2853732 h 2964609"/>
              <a:gd name="connsiteX56" fmla="*/ 10048352 w 11867103"/>
              <a:gd name="connsiteY56" fmla="*/ 2863780 h 2964609"/>
              <a:gd name="connsiteX57" fmla="*/ 9555982 w 11867103"/>
              <a:gd name="connsiteY57" fmla="*/ 2853732 h 2964609"/>
              <a:gd name="connsiteX58" fmla="*/ 9445451 w 11867103"/>
              <a:gd name="connsiteY58" fmla="*/ 2843684 h 2964609"/>
              <a:gd name="connsiteX59" fmla="*/ 9415306 w 11867103"/>
              <a:gd name="connsiteY59" fmla="*/ 2823587 h 2964609"/>
              <a:gd name="connsiteX60" fmla="*/ 9204290 w 11867103"/>
              <a:gd name="connsiteY60" fmla="*/ 2803490 h 2964609"/>
              <a:gd name="connsiteX61" fmla="*/ 9073662 w 11867103"/>
              <a:gd name="connsiteY61" fmla="*/ 2783393 h 2964609"/>
              <a:gd name="connsiteX62" fmla="*/ 8812404 w 11867103"/>
              <a:gd name="connsiteY62" fmla="*/ 2773345 h 2964609"/>
              <a:gd name="connsiteX63" fmla="*/ 8400422 w 11867103"/>
              <a:gd name="connsiteY63" fmla="*/ 2763297 h 2964609"/>
              <a:gd name="connsiteX64" fmla="*/ 8269793 w 11867103"/>
              <a:gd name="connsiteY64" fmla="*/ 2753248 h 2964609"/>
              <a:gd name="connsiteX65" fmla="*/ 7797521 w 11867103"/>
              <a:gd name="connsiteY65" fmla="*/ 2773345 h 2964609"/>
              <a:gd name="connsiteX66" fmla="*/ 7717134 w 11867103"/>
              <a:gd name="connsiteY66" fmla="*/ 2783393 h 2964609"/>
              <a:gd name="connsiteX67" fmla="*/ 7486022 w 11867103"/>
              <a:gd name="connsiteY67" fmla="*/ 2813539 h 2964609"/>
              <a:gd name="connsiteX68" fmla="*/ 7395587 w 11867103"/>
              <a:gd name="connsiteY68" fmla="*/ 2833635 h 2964609"/>
              <a:gd name="connsiteX69" fmla="*/ 7325248 w 11867103"/>
              <a:gd name="connsiteY69" fmla="*/ 2843684 h 2964609"/>
              <a:gd name="connsiteX70" fmla="*/ 6863024 w 11867103"/>
              <a:gd name="connsiteY70" fmla="*/ 2833635 h 2964609"/>
              <a:gd name="connsiteX71" fmla="*/ 6722347 w 11867103"/>
              <a:gd name="connsiteY71" fmla="*/ 2823587 h 2964609"/>
              <a:gd name="connsiteX72" fmla="*/ 4903596 w 11867103"/>
              <a:gd name="connsiteY72" fmla="*/ 2873829 h 2964609"/>
              <a:gd name="connsiteX73" fmla="*/ 4722725 w 11867103"/>
              <a:gd name="connsiteY73" fmla="*/ 2914022 h 2964609"/>
              <a:gd name="connsiteX74" fmla="*/ 4300695 w 11867103"/>
              <a:gd name="connsiteY74" fmla="*/ 2893925 h 2964609"/>
              <a:gd name="connsiteX75" fmla="*/ 4059534 w 11867103"/>
              <a:gd name="connsiteY75" fmla="*/ 2853732 h 2964609"/>
              <a:gd name="connsiteX76" fmla="*/ 3768132 w 11867103"/>
              <a:gd name="connsiteY76" fmla="*/ 2823587 h 2964609"/>
              <a:gd name="connsiteX77" fmla="*/ 3627455 w 11867103"/>
              <a:gd name="connsiteY77" fmla="*/ 2813539 h 2964609"/>
              <a:gd name="connsiteX78" fmla="*/ 3125037 w 11867103"/>
              <a:gd name="connsiteY78" fmla="*/ 2823587 h 2964609"/>
              <a:gd name="connsiteX79" fmla="*/ 3064747 w 11867103"/>
              <a:gd name="connsiteY79" fmla="*/ 2833635 h 2964609"/>
              <a:gd name="connsiteX80" fmla="*/ 2009670 w 11867103"/>
              <a:gd name="connsiteY80" fmla="*/ 2843684 h 2964609"/>
              <a:gd name="connsiteX81" fmla="*/ 1678075 w 11867103"/>
              <a:gd name="connsiteY81" fmla="*/ 2934119 h 2964609"/>
              <a:gd name="connsiteX82" fmla="*/ 1607736 w 11867103"/>
              <a:gd name="connsiteY82" fmla="*/ 2964264 h 2964609"/>
              <a:gd name="connsiteX83" fmla="*/ 1135464 w 11867103"/>
              <a:gd name="connsiteY83" fmla="*/ 2944167 h 2964609"/>
              <a:gd name="connsiteX84" fmla="*/ 944545 w 11867103"/>
              <a:gd name="connsiteY84" fmla="*/ 2914022 h 2964609"/>
              <a:gd name="connsiteX85" fmla="*/ 723481 w 11867103"/>
              <a:gd name="connsiteY85" fmla="*/ 2873829 h 2964609"/>
              <a:gd name="connsiteX86" fmla="*/ 643095 w 11867103"/>
              <a:gd name="connsiteY86" fmla="*/ 2863780 h 2964609"/>
              <a:gd name="connsiteX87" fmla="*/ 371789 w 11867103"/>
              <a:gd name="connsiteY87" fmla="*/ 2823587 h 2964609"/>
              <a:gd name="connsiteX88" fmla="*/ 0 w 11867103"/>
              <a:gd name="connsiteY88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854110 w 11867103"/>
              <a:gd name="connsiteY4" fmla="*/ 50242 h 2964609"/>
              <a:gd name="connsiteX5" fmla="*/ 884255 w 11867103"/>
              <a:gd name="connsiteY5" fmla="*/ 60290 h 2964609"/>
              <a:gd name="connsiteX6" fmla="*/ 964642 w 11867103"/>
              <a:gd name="connsiteY6" fmla="*/ 70339 h 2964609"/>
              <a:gd name="connsiteX7" fmla="*/ 1356528 w 11867103"/>
              <a:gd name="connsiteY7" fmla="*/ 80387 h 2964609"/>
              <a:gd name="connsiteX8" fmla="*/ 1758462 w 11867103"/>
              <a:gd name="connsiteY8" fmla="*/ 40193 h 2964609"/>
              <a:gd name="connsiteX9" fmla="*/ 1889090 w 11867103"/>
              <a:gd name="connsiteY9" fmla="*/ 20097 h 2964609"/>
              <a:gd name="connsiteX10" fmla="*/ 2140299 w 11867103"/>
              <a:gd name="connsiteY10" fmla="*/ 40193 h 2964609"/>
              <a:gd name="connsiteX11" fmla="*/ 2200589 w 11867103"/>
              <a:gd name="connsiteY11" fmla="*/ 50242 h 2964609"/>
              <a:gd name="connsiteX12" fmla="*/ 4652387 w 11867103"/>
              <a:gd name="connsiteY12" fmla="*/ 60290 h 2964609"/>
              <a:gd name="connsiteX13" fmla="*/ 4692580 w 11867103"/>
              <a:gd name="connsiteY13" fmla="*/ 70339 h 2964609"/>
              <a:gd name="connsiteX14" fmla="*/ 4843306 w 11867103"/>
              <a:gd name="connsiteY14" fmla="*/ 90435 h 2964609"/>
              <a:gd name="connsiteX15" fmla="*/ 5677319 w 11867103"/>
              <a:gd name="connsiteY15" fmla="*/ 80387 h 2964609"/>
              <a:gd name="connsiteX16" fmla="*/ 6169688 w 11867103"/>
              <a:gd name="connsiteY16" fmla="*/ 110532 h 2964609"/>
              <a:gd name="connsiteX17" fmla="*/ 6420897 w 11867103"/>
              <a:gd name="connsiteY17" fmla="*/ 90435 h 2964609"/>
              <a:gd name="connsiteX18" fmla="*/ 6511332 w 11867103"/>
              <a:gd name="connsiteY18" fmla="*/ 30145 h 2964609"/>
              <a:gd name="connsiteX19" fmla="*/ 6571622 w 11867103"/>
              <a:gd name="connsiteY19" fmla="*/ 20097 h 2964609"/>
              <a:gd name="connsiteX20" fmla="*/ 6641961 w 11867103"/>
              <a:gd name="connsiteY20" fmla="*/ 0 h 2964609"/>
              <a:gd name="connsiteX21" fmla="*/ 7204668 w 11867103"/>
              <a:gd name="connsiteY21" fmla="*/ 10048 h 2964609"/>
              <a:gd name="connsiteX22" fmla="*/ 7285055 w 11867103"/>
              <a:gd name="connsiteY22" fmla="*/ 30145 h 2964609"/>
              <a:gd name="connsiteX23" fmla="*/ 7375490 w 11867103"/>
              <a:gd name="connsiteY23" fmla="*/ 40193 h 2964609"/>
              <a:gd name="connsiteX24" fmla="*/ 7928150 w 11867103"/>
              <a:gd name="connsiteY24" fmla="*/ 60290 h 2964609"/>
              <a:gd name="connsiteX25" fmla="*/ 8109020 w 11867103"/>
              <a:gd name="connsiteY25" fmla="*/ 80387 h 2964609"/>
              <a:gd name="connsiteX26" fmla="*/ 8219552 w 11867103"/>
              <a:gd name="connsiteY26" fmla="*/ 90435 h 2964609"/>
              <a:gd name="connsiteX27" fmla="*/ 8299939 w 11867103"/>
              <a:gd name="connsiteY27" fmla="*/ 100484 h 2964609"/>
              <a:gd name="connsiteX28" fmla="*/ 8521002 w 11867103"/>
              <a:gd name="connsiteY28" fmla="*/ 110532 h 2964609"/>
              <a:gd name="connsiteX29" fmla="*/ 9515789 w 11867103"/>
              <a:gd name="connsiteY29" fmla="*/ 100484 h 2964609"/>
              <a:gd name="connsiteX30" fmla="*/ 9606224 w 11867103"/>
              <a:gd name="connsiteY30" fmla="*/ 90435 h 2964609"/>
              <a:gd name="connsiteX31" fmla="*/ 9716756 w 11867103"/>
              <a:gd name="connsiteY31" fmla="*/ 80387 h 2964609"/>
              <a:gd name="connsiteX32" fmla="*/ 9797143 w 11867103"/>
              <a:gd name="connsiteY32" fmla="*/ 70339 h 2964609"/>
              <a:gd name="connsiteX33" fmla="*/ 9947868 w 11867103"/>
              <a:gd name="connsiteY33" fmla="*/ 60290 h 2964609"/>
              <a:gd name="connsiteX34" fmla="*/ 10791930 w 11867103"/>
              <a:gd name="connsiteY34" fmla="*/ 30145 h 2964609"/>
              <a:gd name="connsiteX35" fmla="*/ 11736475 w 11867103"/>
              <a:gd name="connsiteY35" fmla="*/ 50242 h 2964609"/>
              <a:gd name="connsiteX36" fmla="*/ 11766620 w 11867103"/>
              <a:gd name="connsiteY36" fmla="*/ 80387 h 2964609"/>
              <a:gd name="connsiteX37" fmla="*/ 11786717 w 11867103"/>
              <a:gd name="connsiteY37" fmla="*/ 120580 h 2964609"/>
              <a:gd name="connsiteX38" fmla="*/ 11806813 w 11867103"/>
              <a:gd name="connsiteY38" fmla="*/ 211015 h 2964609"/>
              <a:gd name="connsiteX39" fmla="*/ 11816862 w 11867103"/>
              <a:gd name="connsiteY39" fmla="*/ 251209 h 2964609"/>
              <a:gd name="connsiteX40" fmla="*/ 11826910 w 11867103"/>
              <a:gd name="connsiteY40" fmla="*/ 341644 h 2964609"/>
              <a:gd name="connsiteX41" fmla="*/ 11836958 w 11867103"/>
              <a:gd name="connsiteY41" fmla="*/ 422031 h 2964609"/>
              <a:gd name="connsiteX42" fmla="*/ 11826910 w 11867103"/>
              <a:gd name="connsiteY42" fmla="*/ 733530 h 2964609"/>
              <a:gd name="connsiteX43" fmla="*/ 11816862 w 11867103"/>
              <a:gd name="connsiteY43" fmla="*/ 793820 h 2964609"/>
              <a:gd name="connsiteX44" fmla="*/ 11806813 w 11867103"/>
              <a:gd name="connsiteY44" fmla="*/ 864158 h 2964609"/>
              <a:gd name="connsiteX45" fmla="*/ 11816862 w 11867103"/>
              <a:gd name="connsiteY45" fmla="*/ 2331218 h 2964609"/>
              <a:gd name="connsiteX46" fmla="*/ 11826910 w 11867103"/>
              <a:gd name="connsiteY46" fmla="*/ 2401556 h 2964609"/>
              <a:gd name="connsiteX47" fmla="*/ 11836958 w 11867103"/>
              <a:gd name="connsiteY47" fmla="*/ 2431701 h 2964609"/>
              <a:gd name="connsiteX48" fmla="*/ 11857055 w 11867103"/>
              <a:gd name="connsiteY48" fmla="*/ 2562330 h 2964609"/>
              <a:gd name="connsiteX49" fmla="*/ 11867103 w 11867103"/>
              <a:gd name="connsiteY49" fmla="*/ 2602523 h 2964609"/>
              <a:gd name="connsiteX50" fmla="*/ 11857055 w 11867103"/>
              <a:gd name="connsiteY50" fmla="*/ 2833635 h 2964609"/>
              <a:gd name="connsiteX51" fmla="*/ 11836958 w 11867103"/>
              <a:gd name="connsiteY51" fmla="*/ 2863780 h 2964609"/>
              <a:gd name="connsiteX52" fmla="*/ 11033090 w 11867103"/>
              <a:gd name="connsiteY52" fmla="*/ 2853732 h 2964609"/>
              <a:gd name="connsiteX53" fmla="*/ 10621108 w 11867103"/>
              <a:gd name="connsiteY53" fmla="*/ 2843684 h 2964609"/>
              <a:gd name="connsiteX54" fmla="*/ 10128739 w 11867103"/>
              <a:gd name="connsiteY54" fmla="*/ 2853732 h 2964609"/>
              <a:gd name="connsiteX55" fmla="*/ 10048352 w 11867103"/>
              <a:gd name="connsiteY55" fmla="*/ 2863780 h 2964609"/>
              <a:gd name="connsiteX56" fmla="*/ 9555982 w 11867103"/>
              <a:gd name="connsiteY56" fmla="*/ 2853732 h 2964609"/>
              <a:gd name="connsiteX57" fmla="*/ 9445451 w 11867103"/>
              <a:gd name="connsiteY57" fmla="*/ 2843684 h 2964609"/>
              <a:gd name="connsiteX58" fmla="*/ 9415306 w 11867103"/>
              <a:gd name="connsiteY58" fmla="*/ 2823587 h 2964609"/>
              <a:gd name="connsiteX59" fmla="*/ 9204290 w 11867103"/>
              <a:gd name="connsiteY59" fmla="*/ 2803490 h 2964609"/>
              <a:gd name="connsiteX60" fmla="*/ 9073662 w 11867103"/>
              <a:gd name="connsiteY60" fmla="*/ 2783393 h 2964609"/>
              <a:gd name="connsiteX61" fmla="*/ 8812404 w 11867103"/>
              <a:gd name="connsiteY61" fmla="*/ 2773345 h 2964609"/>
              <a:gd name="connsiteX62" fmla="*/ 8400422 w 11867103"/>
              <a:gd name="connsiteY62" fmla="*/ 2763297 h 2964609"/>
              <a:gd name="connsiteX63" fmla="*/ 8269793 w 11867103"/>
              <a:gd name="connsiteY63" fmla="*/ 2753248 h 2964609"/>
              <a:gd name="connsiteX64" fmla="*/ 7797521 w 11867103"/>
              <a:gd name="connsiteY64" fmla="*/ 2773345 h 2964609"/>
              <a:gd name="connsiteX65" fmla="*/ 7717134 w 11867103"/>
              <a:gd name="connsiteY65" fmla="*/ 2783393 h 2964609"/>
              <a:gd name="connsiteX66" fmla="*/ 7486022 w 11867103"/>
              <a:gd name="connsiteY66" fmla="*/ 2813539 h 2964609"/>
              <a:gd name="connsiteX67" fmla="*/ 7395587 w 11867103"/>
              <a:gd name="connsiteY67" fmla="*/ 2833635 h 2964609"/>
              <a:gd name="connsiteX68" fmla="*/ 7325248 w 11867103"/>
              <a:gd name="connsiteY68" fmla="*/ 2843684 h 2964609"/>
              <a:gd name="connsiteX69" fmla="*/ 6863024 w 11867103"/>
              <a:gd name="connsiteY69" fmla="*/ 2833635 h 2964609"/>
              <a:gd name="connsiteX70" fmla="*/ 6722347 w 11867103"/>
              <a:gd name="connsiteY70" fmla="*/ 2823587 h 2964609"/>
              <a:gd name="connsiteX71" fmla="*/ 4903596 w 11867103"/>
              <a:gd name="connsiteY71" fmla="*/ 2873829 h 2964609"/>
              <a:gd name="connsiteX72" fmla="*/ 4722725 w 11867103"/>
              <a:gd name="connsiteY72" fmla="*/ 2914022 h 2964609"/>
              <a:gd name="connsiteX73" fmla="*/ 4300695 w 11867103"/>
              <a:gd name="connsiteY73" fmla="*/ 2893925 h 2964609"/>
              <a:gd name="connsiteX74" fmla="*/ 4059534 w 11867103"/>
              <a:gd name="connsiteY74" fmla="*/ 2853732 h 2964609"/>
              <a:gd name="connsiteX75" fmla="*/ 3768132 w 11867103"/>
              <a:gd name="connsiteY75" fmla="*/ 2823587 h 2964609"/>
              <a:gd name="connsiteX76" fmla="*/ 3627455 w 11867103"/>
              <a:gd name="connsiteY76" fmla="*/ 2813539 h 2964609"/>
              <a:gd name="connsiteX77" fmla="*/ 3125037 w 11867103"/>
              <a:gd name="connsiteY77" fmla="*/ 2823587 h 2964609"/>
              <a:gd name="connsiteX78" fmla="*/ 3064747 w 11867103"/>
              <a:gd name="connsiteY78" fmla="*/ 2833635 h 2964609"/>
              <a:gd name="connsiteX79" fmla="*/ 2009670 w 11867103"/>
              <a:gd name="connsiteY79" fmla="*/ 2843684 h 2964609"/>
              <a:gd name="connsiteX80" fmla="*/ 1678075 w 11867103"/>
              <a:gd name="connsiteY80" fmla="*/ 2934119 h 2964609"/>
              <a:gd name="connsiteX81" fmla="*/ 1607736 w 11867103"/>
              <a:gd name="connsiteY81" fmla="*/ 2964264 h 2964609"/>
              <a:gd name="connsiteX82" fmla="*/ 1135464 w 11867103"/>
              <a:gd name="connsiteY82" fmla="*/ 2944167 h 2964609"/>
              <a:gd name="connsiteX83" fmla="*/ 944545 w 11867103"/>
              <a:gd name="connsiteY83" fmla="*/ 2914022 h 2964609"/>
              <a:gd name="connsiteX84" fmla="*/ 723481 w 11867103"/>
              <a:gd name="connsiteY84" fmla="*/ 2873829 h 2964609"/>
              <a:gd name="connsiteX85" fmla="*/ 643095 w 11867103"/>
              <a:gd name="connsiteY85" fmla="*/ 2863780 h 2964609"/>
              <a:gd name="connsiteX86" fmla="*/ 371789 w 11867103"/>
              <a:gd name="connsiteY86" fmla="*/ 2823587 h 2964609"/>
              <a:gd name="connsiteX87" fmla="*/ 0 w 11867103"/>
              <a:gd name="connsiteY87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854110 w 11867103"/>
              <a:gd name="connsiteY4" fmla="*/ 50242 h 2964609"/>
              <a:gd name="connsiteX5" fmla="*/ 884255 w 11867103"/>
              <a:gd name="connsiteY5" fmla="*/ 60290 h 2964609"/>
              <a:gd name="connsiteX6" fmla="*/ 1356528 w 11867103"/>
              <a:gd name="connsiteY6" fmla="*/ 80387 h 2964609"/>
              <a:gd name="connsiteX7" fmla="*/ 1758462 w 11867103"/>
              <a:gd name="connsiteY7" fmla="*/ 40193 h 2964609"/>
              <a:gd name="connsiteX8" fmla="*/ 1889090 w 11867103"/>
              <a:gd name="connsiteY8" fmla="*/ 20097 h 2964609"/>
              <a:gd name="connsiteX9" fmla="*/ 2140299 w 11867103"/>
              <a:gd name="connsiteY9" fmla="*/ 40193 h 2964609"/>
              <a:gd name="connsiteX10" fmla="*/ 2200589 w 11867103"/>
              <a:gd name="connsiteY10" fmla="*/ 50242 h 2964609"/>
              <a:gd name="connsiteX11" fmla="*/ 4652387 w 11867103"/>
              <a:gd name="connsiteY11" fmla="*/ 60290 h 2964609"/>
              <a:gd name="connsiteX12" fmla="*/ 4692580 w 11867103"/>
              <a:gd name="connsiteY12" fmla="*/ 70339 h 2964609"/>
              <a:gd name="connsiteX13" fmla="*/ 4843306 w 11867103"/>
              <a:gd name="connsiteY13" fmla="*/ 90435 h 2964609"/>
              <a:gd name="connsiteX14" fmla="*/ 5677319 w 11867103"/>
              <a:gd name="connsiteY14" fmla="*/ 80387 h 2964609"/>
              <a:gd name="connsiteX15" fmla="*/ 6169688 w 11867103"/>
              <a:gd name="connsiteY15" fmla="*/ 110532 h 2964609"/>
              <a:gd name="connsiteX16" fmla="*/ 6420897 w 11867103"/>
              <a:gd name="connsiteY16" fmla="*/ 90435 h 2964609"/>
              <a:gd name="connsiteX17" fmla="*/ 6511332 w 11867103"/>
              <a:gd name="connsiteY17" fmla="*/ 30145 h 2964609"/>
              <a:gd name="connsiteX18" fmla="*/ 6571622 w 11867103"/>
              <a:gd name="connsiteY18" fmla="*/ 20097 h 2964609"/>
              <a:gd name="connsiteX19" fmla="*/ 6641961 w 11867103"/>
              <a:gd name="connsiteY19" fmla="*/ 0 h 2964609"/>
              <a:gd name="connsiteX20" fmla="*/ 7204668 w 11867103"/>
              <a:gd name="connsiteY20" fmla="*/ 10048 h 2964609"/>
              <a:gd name="connsiteX21" fmla="*/ 7285055 w 11867103"/>
              <a:gd name="connsiteY21" fmla="*/ 30145 h 2964609"/>
              <a:gd name="connsiteX22" fmla="*/ 7375490 w 11867103"/>
              <a:gd name="connsiteY22" fmla="*/ 40193 h 2964609"/>
              <a:gd name="connsiteX23" fmla="*/ 7928150 w 11867103"/>
              <a:gd name="connsiteY23" fmla="*/ 60290 h 2964609"/>
              <a:gd name="connsiteX24" fmla="*/ 8109020 w 11867103"/>
              <a:gd name="connsiteY24" fmla="*/ 80387 h 2964609"/>
              <a:gd name="connsiteX25" fmla="*/ 8219552 w 11867103"/>
              <a:gd name="connsiteY25" fmla="*/ 90435 h 2964609"/>
              <a:gd name="connsiteX26" fmla="*/ 8299939 w 11867103"/>
              <a:gd name="connsiteY26" fmla="*/ 100484 h 2964609"/>
              <a:gd name="connsiteX27" fmla="*/ 8521002 w 11867103"/>
              <a:gd name="connsiteY27" fmla="*/ 110532 h 2964609"/>
              <a:gd name="connsiteX28" fmla="*/ 9515789 w 11867103"/>
              <a:gd name="connsiteY28" fmla="*/ 100484 h 2964609"/>
              <a:gd name="connsiteX29" fmla="*/ 9606224 w 11867103"/>
              <a:gd name="connsiteY29" fmla="*/ 90435 h 2964609"/>
              <a:gd name="connsiteX30" fmla="*/ 9716756 w 11867103"/>
              <a:gd name="connsiteY30" fmla="*/ 80387 h 2964609"/>
              <a:gd name="connsiteX31" fmla="*/ 9797143 w 11867103"/>
              <a:gd name="connsiteY31" fmla="*/ 70339 h 2964609"/>
              <a:gd name="connsiteX32" fmla="*/ 9947868 w 11867103"/>
              <a:gd name="connsiteY32" fmla="*/ 60290 h 2964609"/>
              <a:gd name="connsiteX33" fmla="*/ 10791930 w 11867103"/>
              <a:gd name="connsiteY33" fmla="*/ 30145 h 2964609"/>
              <a:gd name="connsiteX34" fmla="*/ 11736475 w 11867103"/>
              <a:gd name="connsiteY34" fmla="*/ 50242 h 2964609"/>
              <a:gd name="connsiteX35" fmla="*/ 11766620 w 11867103"/>
              <a:gd name="connsiteY35" fmla="*/ 80387 h 2964609"/>
              <a:gd name="connsiteX36" fmla="*/ 11786717 w 11867103"/>
              <a:gd name="connsiteY36" fmla="*/ 120580 h 2964609"/>
              <a:gd name="connsiteX37" fmla="*/ 11806813 w 11867103"/>
              <a:gd name="connsiteY37" fmla="*/ 211015 h 2964609"/>
              <a:gd name="connsiteX38" fmla="*/ 11816862 w 11867103"/>
              <a:gd name="connsiteY38" fmla="*/ 251209 h 2964609"/>
              <a:gd name="connsiteX39" fmla="*/ 11826910 w 11867103"/>
              <a:gd name="connsiteY39" fmla="*/ 341644 h 2964609"/>
              <a:gd name="connsiteX40" fmla="*/ 11836958 w 11867103"/>
              <a:gd name="connsiteY40" fmla="*/ 422031 h 2964609"/>
              <a:gd name="connsiteX41" fmla="*/ 11826910 w 11867103"/>
              <a:gd name="connsiteY41" fmla="*/ 733530 h 2964609"/>
              <a:gd name="connsiteX42" fmla="*/ 11816862 w 11867103"/>
              <a:gd name="connsiteY42" fmla="*/ 793820 h 2964609"/>
              <a:gd name="connsiteX43" fmla="*/ 11806813 w 11867103"/>
              <a:gd name="connsiteY43" fmla="*/ 864158 h 2964609"/>
              <a:gd name="connsiteX44" fmla="*/ 11816862 w 11867103"/>
              <a:gd name="connsiteY44" fmla="*/ 2331218 h 2964609"/>
              <a:gd name="connsiteX45" fmla="*/ 11826910 w 11867103"/>
              <a:gd name="connsiteY45" fmla="*/ 2401556 h 2964609"/>
              <a:gd name="connsiteX46" fmla="*/ 11836958 w 11867103"/>
              <a:gd name="connsiteY46" fmla="*/ 2431701 h 2964609"/>
              <a:gd name="connsiteX47" fmla="*/ 11857055 w 11867103"/>
              <a:gd name="connsiteY47" fmla="*/ 2562330 h 2964609"/>
              <a:gd name="connsiteX48" fmla="*/ 11867103 w 11867103"/>
              <a:gd name="connsiteY48" fmla="*/ 2602523 h 2964609"/>
              <a:gd name="connsiteX49" fmla="*/ 11857055 w 11867103"/>
              <a:gd name="connsiteY49" fmla="*/ 2833635 h 2964609"/>
              <a:gd name="connsiteX50" fmla="*/ 11836958 w 11867103"/>
              <a:gd name="connsiteY50" fmla="*/ 2863780 h 2964609"/>
              <a:gd name="connsiteX51" fmla="*/ 11033090 w 11867103"/>
              <a:gd name="connsiteY51" fmla="*/ 2853732 h 2964609"/>
              <a:gd name="connsiteX52" fmla="*/ 10621108 w 11867103"/>
              <a:gd name="connsiteY52" fmla="*/ 2843684 h 2964609"/>
              <a:gd name="connsiteX53" fmla="*/ 10128739 w 11867103"/>
              <a:gd name="connsiteY53" fmla="*/ 2853732 h 2964609"/>
              <a:gd name="connsiteX54" fmla="*/ 10048352 w 11867103"/>
              <a:gd name="connsiteY54" fmla="*/ 2863780 h 2964609"/>
              <a:gd name="connsiteX55" fmla="*/ 9555982 w 11867103"/>
              <a:gd name="connsiteY55" fmla="*/ 2853732 h 2964609"/>
              <a:gd name="connsiteX56" fmla="*/ 9445451 w 11867103"/>
              <a:gd name="connsiteY56" fmla="*/ 2843684 h 2964609"/>
              <a:gd name="connsiteX57" fmla="*/ 9415306 w 11867103"/>
              <a:gd name="connsiteY57" fmla="*/ 2823587 h 2964609"/>
              <a:gd name="connsiteX58" fmla="*/ 9204290 w 11867103"/>
              <a:gd name="connsiteY58" fmla="*/ 2803490 h 2964609"/>
              <a:gd name="connsiteX59" fmla="*/ 9073662 w 11867103"/>
              <a:gd name="connsiteY59" fmla="*/ 2783393 h 2964609"/>
              <a:gd name="connsiteX60" fmla="*/ 8812404 w 11867103"/>
              <a:gd name="connsiteY60" fmla="*/ 2773345 h 2964609"/>
              <a:gd name="connsiteX61" fmla="*/ 8400422 w 11867103"/>
              <a:gd name="connsiteY61" fmla="*/ 2763297 h 2964609"/>
              <a:gd name="connsiteX62" fmla="*/ 8269793 w 11867103"/>
              <a:gd name="connsiteY62" fmla="*/ 2753248 h 2964609"/>
              <a:gd name="connsiteX63" fmla="*/ 7797521 w 11867103"/>
              <a:gd name="connsiteY63" fmla="*/ 2773345 h 2964609"/>
              <a:gd name="connsiteX64" fmla="*/ 7717134 w 11867103"/>
              <a:gd name="connsiteY64" fmla="*/ 2783393 h 2964609"/>
              <a:gd name="connsiteX65" fmla="*/ 7486022 w 11867103"/>
              <a:gd name="connsiteY65" fmla="*/ 2813539 h 2964609"/>
              <a:gd name="connsiteX66" fmla="*/ 7395587 w 11867103"/>
              <a:gd name="connsiteY66" fmla="*/ 2833635 h 2964609"/>
              <a:gd name="connsiteX67" fmla="*/ 7325248 w 11867103"/>
              <a:gd name="connsiteY67" fmla="*/ 2843684 h 2964609"/>
              <a:gd name="connsiteX68" fmla="*/ 6863024 w 11867103"/>
              <a:gd name="connsiteY68" fmla="*/ 2833635 h 2964609"/>
              <a:gd name="connsiteX69" fmla="*/ 6722347 w 11867103"/>
              <a:gd name="connsiteY69" fmla="*/ 2823587 h 2964609"/>
              <a:gd name="connsiteX70" fmla="*/ 4903596 w 11867103"/>
              <a:gd name="connsiteY70" fmla="*/ 2873829 h 2964609"/>
              <a:gd name="connsiteX71" fmla="*/ 4722725 w 11867103"/>
              <a:gd name="connsiteY71" fmla="*/ 2914022 h 2964609"/>
              <a:gd name="connsiteX72" fmla="*/ 4300695 w 11867103"/>
              <a:gd name="connsiteY72" fmla="*/ 2893925 h 2964609"/>
              <a:gd name="connsiteX73" fmla="*/ 4059534 w 11867103"/>
              <a:gd name="connsiteY73" fmla="*/ 2853732 h 2964609"/>
              <a:gd name="connsiteX74" fmla="*/ 3768132 w 11867103"/>
              <a:gd name="connsiteY74" fmla="*/ 2823587 h 2964609"/>
              <a:gd name="connsiteX75" fmla="*/ 3627455 w 11867103"/>
              <a:gd name="connsiteY75" fmla="*/ 2813539 h 2964609"/>
              <a:gd name="connsiteX76" fmla="*/ 3125037 w 11867103"/>
              <a:gd name="connsiteY76" fmla="*/ 2823587 h 2964609"/>
              <a:gd name="connsiteX77" fmla="*/ 3064747 w 11867103"/>
              <a:gd name="connsiteY77" fmla="*/ 2833635 h 2964609"/>
              <a:gd name="connsiteX78" fmla="*/ 2009670 w 11867103"/>
              <a:gd name="connsiteY78" fmla="*/ 2843684 h 2964609"/>
              <a:gd name="connsiteX79" fmla="*/ 1678075 w 11867103"/>
              <a:gd name="connsiteY79" fmla="*/ 2934119 h 2964609"/>
              <a:gd name="connsiteX80" fmla="*/ 1607736 w 11867103"/>
              <a:gd name="connsiteY80" fmla="*/ 2964264 h 2964609"/>
              <a:gd name="connsiteX81" fmla="*/ 1135464 w 11867103"/>
              <a:gd name="connsiteY81" fmla="*/ 2944167 h 2964609"/>
              <a:gd name="connsiteX82" fmla="*/ 944545 w 11867103"/>
              <a:gd name="connsiteY82" fmla="*/ 2914022 h 2964609"/>
              <a:gd name="connsiteX83" fmla="*/ 723481 w 11867103"/>
              <a:gd name="connsiteY83" fmla="*/ 2873829 h 2964609"/>
              <a:gd name="connsiteX84" fmla="*/ 643095 w 11867103"/>
              <a:gd name="connsiteY84" fmla="*/ 2863780 h 2964609"/>
              <a:gd name="connsiteX85" fmla="*/ 371789 w 11867103"/>
              <a:gd name="connsiteY85" fmla="*/ 2823587 h 2964609"/>
              <a:gd name="connsiteX86" fmla="*/ 0 w 11867103"/>
              <a:gd name="connsiteY86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854110 w 11867103"/>
              <a:gd name="connsiteY4" fmla="*/ 50242 h 2964609"/>
              <a:gd name="connsiteX5" fmla="*/ 1356528 w 11867103"/>
              <a:gd name="connsiteY5" fmla="*/ 80387 h 2964609"/>
              <a:gd name="connsiteX6" fmla="*/ 1758462 w 11867103"/>
              <a:gd name="connsiteY6" fmla="*/ 40193 h 2964609"/>
              <a:gd name="connsiteX7" fmla="*/ 1889090 w 11867103"/>
              <a:gd name="connsiteY7" fmla="*/ 20097 h 2964609"/>
              <a:gd name="connsiteX8" fmla="*/ 2140299 w 11867103"/>
              <a:gd name="connsiteY8" fmla="*/ 40193 h 2964609"/>
              <a:gd name="connsiteX9" fmla="*/ 2200589 w 11867103"/>
              <a:gd name="connsiteY9" fmla="*/ 50242 h 2964609"/>
              <a:gd name="connsiteX10" fmla="*/ 4652387 w 11867103"/>
              <a:gd name="connsiteY10" fmla="*/ 60290 h 2964609"/>
              <a:gd name="connsiteX11" fmla="*/ 4692580 w 11867103"/>
              <a:gd name="connsiteY11" fmla="*/ 70339 h 2964609"/>
              <a:gd name="connsiteX12" fmla="*/ 4843306 w 11867103"/>
              <a:gd name="connsiteY12" fmla="*/ 90435 h 2964609"/>
              <a:gd name="connsiteX13" fmla="*/ 5677319 w 11867103"/>
              <a:gd name="connsiteY13" fmla="*/ 80387 h 2964609"/>
              <a:gd name="connsiteX14" fmla="*/ 6169688 w 11867103"/>
              <a:gd name="connsiteY14" fmla="*/ 110532 h 2964609"/>
              <a:gd name="connsiteX15" fmla="*/ 6420897 w 11867103"/>
              <a:gd name="connsiteY15" fmla="*/ 90435 h 2964609"/>
              <a:gd name="connsiteX16" fmla="*/ 6511332 w 11867103"/>
              <a:gd name="connsiteY16" fmla="*/ 30145 h 2964609"/>
              <a:gd name="connsiteX17" fmla="*/ 6571622 w 11867103"/>
              <a:gd name="connsiteY17" fmla="*/ 20097 h 2964609"/>
              <a:gd name="connsiteX18" fmla="*/ 6641961 w 11867103"/>
              <a:gd name="connsiteY18" fmla="*/ 0 h 2964609"/>
              <a:gd name="connsiteX19" fmla="*/ 7204668 w 11867103"/>
              <a:gd name="connsiteY19" fmla="*/ 10048 h 2964609"/>
              <a:gd name="connsiteX20" fmla="*/ 7285055 w 11867103"/>
              <a:gd name="connsiteY20" fmla="*/ 30145 h 2964609"/>
              <a:gd name="connsiteX21" fmla="*/ 7375490 w 11867103"/>
              <a:gd name="connsiteY21" fmla="*/ 40193 h 2964609"/>
              <a:gd name="connsiteX22" fmla="*/ 7928150 w 11867103"/>
              <a:gd name="connsiteY22" fmla="*/ 60290 h 2964609"/>
              <a:gd name="connsiteX23" fmla="*/ 8109020 w 11867103"/>
              <a:gd name="connsiteY23" fmla="*/ 80387 h 2964609"/>
              <a:gd name="connsiteX24" fmla="*/ 8219552 w 11867103"/>
              <a:gd name="connsiteY24" fmla="*/ 90435 h 2964609"/>
              <a:gd name="connsiteX25" fmla="*/ 8299939 w 11867103"/>
              <a:gd name="connsiteY25" fmla="*/ 100484 h 2964609"/>
              <a:gd name="connsiteX26" fmla="*/ 8521002 w 11867103"/>
              <a:gd name="connsiteY26" fmla="*/ 110532 h 2964609"/>
              <a:gd name="connsiteX27" fmla="*/ 9515789 w 11867103"/>
              <a:gd name="connsiteY27" fmla="*/ 100484 h 2964609"/>
              <a:gd name="connsiteX28" fmla="*/ 9606224 w 11867103"/>
              <a:gd name="connsiteY28" fmla="*/ 90435 h 2964609"/>
              <a:gd name="connsiteX29" fmla="*/ 9716756 w 11867103"/>
              <a:gd name="connsiteY29" fmla="*/ 80387 h 2964609"/>
              <a:gd name="connsiteX30" fmla="*/ 9797143 w 11867103"/>
              <a:gd name="connsiteY30" fmla="*/ 70339 h 2964609"/>
              <a:gd name="connsiteX31" fmla="*/ 9947868 w 11867103"/>
              <a:gd name="connsiteY31" fmla="*/ 60290 h 2964609"/>
              <a:gd name="connsiteX32" fmla="*/ 10791930 w 11867103"/>
              <a:gd name="connsiteY32" fmla="*/ 30145 h 2964609"/>
              <a:gd name="connsiteX33" fmla="*/ 11736475 w 11867103"/>
              <a:gd name="connsiteY33" fmla="*/ 50242 h 2964609"/>
              <a:gd name="connsiteX34" fmla="*/ 11766620 w 11867103"/>
              <a:gd name="connsiteY34" fmla="*/ 80387 h 2964609"/>
              <a:gd name="connsiteX35" fmla="*/ 11786717 w 11867103"/>
              <a:gd name="connsiteY35" fmla="*/ 120580 h 2964609"/>
              <a:gd name="connsiteX36" fmla="*/ 11806813 w 11867103"/>
              <a:gd name="connsiteY36" fmla="*/ 211015 h 2964609"/>
              <a:gd name="connsiteX37" fmla="*/ 11816862 w 11867103"/>
              <a:gd name="connsiteY37" fmla="*/ 251209 h 2964609"/>
              <a:gd name="connsiteX38" fmla="*/ 11826910 w 11867103"/>
              <a:gd name="connsiteY38" fmla="*/ 341644 h 2964609"/>
              <a:gd name="connsiteX39" fmla="*/ 11836958 w 11867103"/>
              <a:gd name="connsiteY39" fmla="*/ 422031 h 2964609"/>
              <a:gd name="connsiteX40" fmla="*/ 11826910 w 11867103"/>
              <a:gd name="connsiteY40" fmla="*/ 733530 h 2964609"/>
              <a:gd name="connsiteX41" fmla="*/ 11816862 w 11867103"/>
              <a:gd name="connsiteY41" fmla="*/ 793820 h 2964609"/>
              <a:gd name="connsiteX42" fmla="*/ 11806813 w 11867103"/>
              <a:gd name="connsiteY42" fmla="*/ 864158 h 2964609"/>
              <a:gd name="connsiteX43" fmla="*/ 11816862 w 11867103"/>
              <a:gd name="connsiteY43" fmla="*/ 2331218 h 2964609"/>
              <a:gd name="connsiteX44" fmla="*/ 11826910 w 11867103"/>
              <a:gd name="connsiteY44" fmla="*/ 2401556 h 2964609"/>
              <a:gd name="connsiteX45" fmla="*/ 11836958 w 11867103"/>
              <a:gd name="connsiteY45" fmla="*/ 2431701 h 2964609"/>
              <a:gd name="connsiteX46" fmla="*/ 11857055 w 11867103"/>
              <a:gd name="connsiteY46" fmla="*/ 2562330 h 2964609"/>
              <a:gd name="connsiteX47" fmla="*/ 11867103 w 11867103"/>
              <a:gd name="connsiteY47" fmla="*/ 2602523 h 2964609"/>
              <a:gd name="connsiteX48" fmla="*/ 11857055 w 11867103"/>
              <a:gd name="connsiteY48" fmla="*/ 2833635 h 2964609"/>
              <a:gd name="connsiteX49" fmla="*/ 11836958 w 11867103"/>
              <a:gd name="connsiteY49" fmla="*/ 2863780 h 2964609"/>
              <a:gd name="connsiteX50" fmla="*/ 11033090 w 11867103"/>
              <a:gd name="connsiteY50" fmla="*/ 2853732 h 2964609"/>
              <a:gd name="connsiteX51" fmla="*/ 10621108 w 11867103"/>
              <a:gd name="connsiteY51" fmla="*/ 2843684 h 2964609"/>
              <a:gd name="connsiteX52" fmla="*/ 10128739 w 11867103"/>
              <a:gd name="connsiteY52" fmla="*/ 2853732 h 2964609"/>
              <a:gd name="connsiteX53" fmla="*/ 10048352 w 11867103"/>
              <a:gd name="connsiteY53" fmla="*/ 2863780 h 2964609"/>
              <a:gd name="connsiteX54" fmla="*/ 9555982 w 11867103"/>
              <a:gd name="connsiteY54" fmla="*/ 2853732 h 2964609"/>
              <a:gd name="connsiteX55" fmla="*/ 9445451 w 11867103"/>
              <a:gd name="connsiteY55" fmla="*/ 2843684 h 2964609"/>
              <a:gd name="connsiteX56" fmla="*/ 9415306 w 11867103"/>
              <a:gd name="connsiteY56" fmla="*/ 2823587 h 2964609"/>
              <a:gd name="connsiteX57" fmla="*/ 9204290 w 11867103"/>
              <a:gd name="connsiteY57" fmla="*/ 2803490 h 2964609"/>
              <a:gd name="connsiteX58" fmla="*/ 9073662 w 11867103"/>
              <a:gd name="connsiteY58" fmla="*/ 2783393 h 2964609"/>
              <a:gd name="connsiteX59" fmla="*/ 8812404 w 11867103"/>
              <a:gd name="connsiteY59" fmla="*/ 2773345 h 2964609"/>
              <a:gd name="connsiteX60" fmla="*/ 8400422 w 11867103"/>
              <a:gd name="connsiteY60" fmla="*/ 2763297 h 2964609"/>
              <a:gd name="connsiteX61" fmla="*/ 8269793 w 11867103"/>
              <a:gd name="connsiteY61" fmla="*/ 2753248 h 2964609"/>
              <a:gd name="connsiteX62" fmla="*/ 7797521 w 11867103"/>
              <a:gd name="connsiteY62" fmla="*/ 2773345 h 2964609"/>
              <a:gd name="connsiteX63" fmla="*/ 7717134 w 11867103"/>
              <a:gd name="connsiteY63" fmla="*/ 2783393 h 2964609"/>
              <a:gd name="connsiteX64" fmla="*/ 7486022 w 11867103"/>
              <a:gd name="connsiteY64" fmla="*/ 2813539 h 2964609"/>
              <a:gd name="connsiteX65" fmla="*/ 7395587 w 11867103"/>
              <a:gd name="connsiteY65" fmla="*/ 2833635 h 2964609"/>
              <a:gd name="connsiteX66" fmla="*/ 7325248 w 11867103"/>
              <a:gd name="connsiteY66" fmla="*/ 2843684 h 2964609"/>
              <a:gd name="connsiteX67" fmla="*/ 6863024 w 11867103"/>
              <a:gd name="connsiteY67" fmla="*/ 2833635 h 2964609"/>
              <a:gd name="connsiteX68" fmla="*/ 6722347 w 11867103"/>
              <a:gd name="connsiteY68" fmla="*/ 2823587 h 2964609"/>
              <a:gd name="connsiteX69" fmla="*/ 4903596 w 11867103"/>
              <a:gd name="connsiteY69" fmla="*/ 2873829 h 2964609"/>
              <a:gd name="connsiteX70" fmla="*/ 4722725 w 11867103"/>
              <a:gd name="connsiteY70" fmla="*/ 2914022 h 2964609"/>
              <a:gd name="connsiteX71" fmla="*/ 4300695 w 11867103"/>
              <a:gd name="connsiteY71" fmla="*/ 2893925 h 2964609"/>
              <a:gd name="connsiteX72" fmla="*/ 4059534 w 11867103"/>
              <a:gd name="connsiteY72" fmla="*/ 2853732 h 2964609"/>
              <a:gd name="connsiteX73" fmla="*/ 3768132 w 11867103"/>
              <a:gd name="connsiteY73" fmla="*/ 2823587 h 2964609"/>
              <a:gd name="connsiteX74" fmla="*/ 3627455 w 11867103"/>
              <a:gd name="connsiteY74" fmla="*/ 2813539 h 2964609"/>
              <a:gd name="connsiteX75" fmla="*/ 3125037 w 11867103"/>
              <a:gd name="connsiteY75" fmla="*/ 2823587 h 2964609"/>
              <a:gd name="connsiteX76" fmla="*/ 3064747 w 11867103"/>
              <a:gd name="connsiteY76" fmla="*/ 2833635 h 2964609"/>
              <a:gd name="connsiteX77" fmla="*/ 2009670 w 11867103"/>
              <a:gd name="connsiteY77" fmla="*/ 2843684 h 2964609"/>
              <a:gd name="connsiteX78" fmla="*/ 1678075 w 11867103"/>
              <a:gd name="connsiteY78" fmla="*/ 2934119 h 2964609"/>
              <a:gd name="connsiteX79" fmla="*/ 1607736 w 11867103"/>
              <a:gd name="connsiteY79" fmla="*/ 2964264 h 2964609"/>
              <a:gd name="connsiteX80" fmla="*/ 1135464 w 11867103"/>
              <a:gd name="connsiteY80" fmla="*/ 2944167 h 2964609"/>
              <a:gd name="connsiteX81" fmla="*/ 944545 w 11867103"/>
              <a:gd name="connsiteY81" fmla="*/ 2914022 h 2964609"/>
              <a:gd name="connsiteX82" fmla="*/ 723481 w 11867103"/>
              <a:gd name="connsiteY82" fmla="*/ 2873829 h 2964609"/>
              <a:gd name="connsiteX83" fmla="*/ 643095 w 11867103"/>
              <a:gd name="connsiteY83" fmla="*/ 2863780 h 2964609"/>
              <a:gd name="connsiteX84" fmla="*/ 371789 w 11867103"/>
              <a:gd name="connsiteY84" fmla="*/ 2823587 h 2964609"/>
              <a:gd name="connsiteX85" fmla="*/ 0 w 11867103"/>
              <a:gd name="connsiteY85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331596 w 11867103"/>
              <a:gd name="connsiteY2" fmla="*/ 20097 h 2964609"/>
              <a:gd name="connsiteX3" fmla="*/ 673240 w 11867103"/>
              <a:gd name="connsiteY3" fmla="*/ 30145 h 2964609"/>
              <a:gd name="connsiteX4" fmla="*/ 1356528 w 11867103"/>
              <a:gd name="connsiteY4" fmla="*/ 80387 h 2964609"/>
              <a:gd name="connsiteX5" fmla="*/ 1758462 w 11867103"/>
              <a:gd name="connsiteY5" fmla="*/ 40193 h 2964609"/>
              <a:gd name="connsiteX6" fmla="*/ 1889090 w 11867103"/>
              <a:gd name="connsiteY6" fmla="*/ 20097 h 2964609"/>
              <a:gd name="connsiteX7" fmla="*/ 2140299 w 11867103"/>
              <a:gd name="connsiteY7" fmla="*/ 40193 h 2964609"/>
              <a:gd name="connsiteX8" fmla="*/ 2200589 w 11867103"/>
              <a:gd name="connsiteY8" fmla="*/ 50242 h 2964609"/>
              <a:gd name="connsiteX9" fmla="*/ 4652387 w 11867103"/>
              <a:gd name="connsiteY9" fmla="*/ 60290 h 2964609"/>
              <a:gd name="connsiteX10" fmla="*/ 4692580 w 11867103"/>
              <a:gd name="connsiteY10" fmla="*/ 70339 h 2964609"/>
              <a:gd name="connsiteX11" fmla="*/ 4843306 w 11867103"/>
              <a:gd name="connsiteY11" fmla="*/ 90435 h 2964609"/>
              <a:gd name="connsiteX12" fmla="*/ 5677319 w 11867103"/>
              <a:gd name="connsiteY12" fmla="*/ 80387 h 2964609"/>
              <a:gd name="connsiteX13" fmla="*/ 6169688 w 11867103"/>
              <a:gd name="connsiteY13" fmla="*/ 110532 h 2964609"/>
              <a:gd name="connsiteX14" fmla="*/ 6420897 w 11867103"/>
              <a:gd name="connsiteY14" fmla="*/ 90435 h 2964609"/>
              <a:gd name="connsiteX15" fmla="*/ 6511332 w 11867103"/>
              <a:gd name="connsiteY15" fmla="*/ 30145 h 2964609"/>
              <a:gd name="connsiteX16" fmla="*/ 6571622 w 11867103"/>
              <a:gd name="connsiteY16" fmla="*/ 20097 h 2964609"/>
              <a:gd name="connsiteX17" fmla="*/ 6641961 w 11867103"/>
              <a:gd name="connsiteY17" fmla="*/ 0 h 2964609"/>
              <a:gd name="connsiteX18" fmla="*/ 7204668 w 11867103"/>
              <a:gd name="connsiteY18" fmla="*/ 10048 h 2964609"/>
              <a:gd name="connsiteX19" fmla="*/ 7285055 w 11867103"/>
              <a:gd name="connsiteY19" fmla="*/ 30145 h 2964609"/>
              <a:gd name="connsiteX20" fmla="*/ 7375490 w 11867103"/>
              <a:gd name="connsiteY20" fmla="*/ 40193 h 2964609"/>
              <a:gd name="connsiteX21" fmla="*/ 7928150 w 11867103"/>
              <a:gd name="connsiteY21" fmla="*/ 60290 h 2964609"/>
              <a:gd name="connsiteX22" fmla="*/ 8109020 w 11867103"/>
              <a:gd name="connsiteY22" fmla="*/ 80387 h 2964609"/>
              <a:gd name="connsiteX23" fmla="*/ 8219552 w 11867103"/>
              <a:gd name="connsiteY23" fmla="*/ 90435 h 2964609"/>
              <a:gd name="connsiteX24" fmla="*/ 8299939 w 11867103"/>
              <a:gd name="connsiteY24" fmla="*/ 100484 h 2964609"/>
              <a:gd name="connsiteX25" fmla="*/ 8521002 w 11867103"/>
              <a:gd name="connsiteY25" fmla="*/ 110532 h 2964609"/>
              <a:gd name="connsiteX26" fmla="*/ 9515789 w 11867103"/>
              <a:gd name="connsiteY26" fmla="*/ 100484 h 2964609"/>
              <a:gd name="connsiteX27" fmla="*/ 9606224 w 11867103"/>
              <a:gd name="connsiteY27" fmla="*/ 90435 h 2964609"/>
              <a:gd name="connsiteX28" fmla="*/ 9716756 w 11867103"/>
              <a:gd name="connsiteY28" fmla="*/ 80387 h 2964609"/>
              <a:gd name="connsiteX29" fmla="*/ 9797143 w 11867103"/>
              <a:gd name="connsiteY29" fmla="*/ 70339 h 2964609"/>
              <a:gd name="connsiteX30" fmla="*/ 9947868 w 11867103"/>
              <a:gd name="connsiteY30" fmla="*/ 60290 h 2964609"/>
              <a:gd name="connsiteX31" fmla="*/ 10791930 w 11867103"/>
              <a:gd name="connsiteY31" fmla="*/ 30145 h 2964609"/>
              <a:gd name="connsiteX32" fmla="*/ 11736475 w 11867103"/>
              <a:gd name="connsiteY32" fmla="*/ 50242 h 2964609"/>
              <a:gd name="connsiteX33" fmla="*/ 11766620 w 11867103"/>
              <a:gd name="connsiteY33" fmla="*/ 80387 h 2964609"/>
              <a:gd name="connsiteX34" fmla="*/ 11786717 w 11867103"/>
              <a:gd name="connsiteY34" fmla="*/ 120580 h 2964609"/>
              <a:gd name="connsiteX35" fmla="*/ 11806813 w 11867103"/>
              <a:gd name="connsiteY35" fmla="*/ 211015 h 2964609"/>
              <a:gd name="connsiteX36" fmla="*/ 11816862 w 11867103"/>
              <a:gd name="connsiteY36" fmla="*/ 251209 h 2964609"/>
              <a:gd name="connsiteX37" fmla="*/ 11826910 w 11867103"/>
              <a:gd name="connsiteY37" fmla="*/ 341644 h 2964609"/>
              <a:gd name="connsiteX38" fmla="*/ 11836958 w 11867103"/>
              <a:gd name="connsiteY38" fmla="*/ 422031 h 2964609"/>
              <a:gd name="connsiteX39" fmla="*/ 11826910 w 11867103"/>
              <a:gd name="connsiteY39" fmla="*/ 733530 h 2964609"/>
              <a:gd name="connsiteX40" fmla="*/ 11816862 w 11867103"/>
              <a:gd name="connsiteY40" fmla="*/ 793820 h 2964609"/>
              <a:gd name="connsiteX41" fmla="*/ 11806813 w 11867103"/>
              <a:gd name="connsiteY41" fmla="*/ 864158 h 2964609"/>
              <a:gd name="connsiteX42" fmla="*/ 11816862 w 11867103"/>
              <a:gd name="connsiteY42" fmla="*/ 2331218 h 2964609"/>
              <a:gd name="connsiteX43" fmla="*/ 11826910 w 11867103"/>
              <a:gd name="connsiteY43" fmla="*/ 2401556 h 2964609"/>
              <a:gd name="connsiteX44" fmla="*/ 11836958 w 11867103"/>
              <a:gd name="connsiteY44" fmla="*/ 2431701 h 2964609"/>
              <a:gd name="connsiteX45" fmla="*/ 11857055 w 11867103"/>
              <a:gd name="connsiteY45" fmla="*/ 2562330 h 2964609"/>
              <a:gd name="connsiteX46" fmla="*/ 11867103 w 11867103"/>
              <a:gd name="connsiteY46" fmla="*/ 2602523 h 2964609"/>
              <a:gd name="connsiteX47" fmla="*/ 11857055 w 11867103"/>
              <a:gd name="connsiteY47" fmla="*/ 2833635 h 2964609"/>
              <a:gd name="connsiteX48" fmla="*/ 11836958 w 11867103"/>
              <a:gd name="connsiteY48" fmla="*/ 2863780 h 2964609"/>
              <a:gd name="connsiteX49" fmla="*/ 11033090 w 11867103"/>
              <a:gd name="connsiteY49" fmla="*/ 2853732 h 2964609"/>
              <a:gd name="connsiteX50" fmla="*/ 10621108 w 11867103"/>
              <a:gd name="connsiteY50" fmla="*/ 2843684 h 2964609"/>
              <a:gd name="connsiteX51" fmla="*/ 10128739 w 11867103"/>
              <a:gd name="connsiteY51" fmla="*/ 2853732 h 2964609"/>
              <a:gd name="connsiteX52" fmla="*/ 10048352 w 11867103"/>
              <a:gd name="connsiteY52" fmla="*/ 2863780 h 2964609"/>
              <a:gd name="connsiteX53" fmla="*/ 9555982 w 11867103"/>
              <a:gd name="connsiteY53" fmla="*/ 2853732 h 2964609"/>
              <a:gd name="connsiteX54" fmla="*/ 9445451 w 11867103"/>
              <a:gd name="connsiteY54" fmla="*/ 2843684 h 2964609"/>
              <a:gd name="connsiteX55" fmla="*/ 9415306 w 11867103"/>
              <a:gd name="connsiteY55" fmla="*/ 2823587 h 2964609"/>
              <a:gd name="connsiteX56" fmla="*/ 9204290 w 11867103"/>
              <a:gd name="connsiteY56" fmla="*/ 2803490 h 2964609"/>
              <a:gd name="connsiteX57" fmla="*/ 9073662 w 11867103"/>
              <a:gd name="connsiteY57" fmla="*/ 2783393 h 2964609"/>
              <a:gd name="connsiteX58" fmla="*/ 8812404 w 11867103"/>
              <a:gd name="connsiteY58" fmla="*/ 2773345 h 2964609"/>
              <a:gd name="connsiteX59" fmla="*/ 8400422 w 11867103"/>
              <a:gd name="connsiteY59" fmla="*/ 2763297 h 2964609"/>
              <a:gd name="connsiteX60" fmla="*/ 8269793 w 11867103"/>
              <a:gd name="connsiteY60" fmla="*/ 2753248 h 2964609"/>
              <a:gd name="connsiteX61" fmla="*/ 7797521 w 11867103"/>
              <a:gd name="connsiteY61" fmla="*/ 2773345 h 2964609"/>
              <a:gd name="connsiteX62" fmla="*/ 7717134 w 11867103"/>
              <a:gd name="connsiteY62" fmla="*/ 2783393 h 2964609"/>
              <a:gd name="connsiteX63" fmla="*/ 7486022 w 11867103"/>
              <a:gd name="connsiteY63" fmla="*/ 2813539 h 2964609"/>
              <a:gd name="connsiteX64" fmla="*/ 7395587 w 11867103"/>
              <a:gd name="connsiteY64" fmla="*/ 2833635 h 2964609"/>
              <a:gd name="connsiteX65" fmla="*/ 7325248 w 11867103"/>
              <a:gd name="connsiteY65" fmla="*/ 2843684 h 2964609"/>
              <a:gd name="connsiteX66" fmla="*/ 6863024 w 11867103"/>
              <a:gd name="connsiteY66" fmla="*/ 2833635 h 2964609"/>
              <a:gd name="connsiteX67" fmla="*/ 6722347 w 11867103"/>
              <a:gd name="connsiteY67" fmla="*/ 2823587 h 2964609"/>
              <a:gd name="connsiteX68" fmla="*/ 4903596 w 11867103"/>
              <a:gd name="connsiteY68" fmla="*/ 2873829 h 2964609"/>
              <a:gd name="connsiteX69" fmla="*/ 4722725 w 11867103"/>
              <a:gd name="connsiteY69" fmla="*/ 2914022 h 2964609"/>
              <a:gd name="connsiteX70" fmla="*/ 4300695 w 11867103"/>
              <a:gd name="connsiteY70" fmla="*/ 2893925 h 2964609"/>
              <a:gd name="connsiteX71" fmla="*/ 4059534 w 11867103"/>
              <a:gd name="connsiteY71" fmla="*/ 2853732 h 2964609"/>
              <a:gd name="connsiteX72" fmla="*/ 3768132 w 11867103"/>
              <a:gd name="connsiteY72" fmla="*/ 2823587 h 2964609"/>
              <a:gd name="connsiteX73" fmla="*/ 3627455 w 11867103"/>
              <a:gd name="connsiteY73" fmla="*/ 2813539 h 2964609"/>
              <a:gd name="connsiteX74" fmla="*/ 3125037 w 11867103"/>
              <a:gd name="connsiteY74" fmla="*/ 2823587 h 2964609"/>
              <a:gd name="connsiteX75" fmla="*/ 3064747 w 11867103"/>
              <a:gd name="connsiteY75" fmla="*/ 2833635 h 2964609"/>
              <a:gd name="connsiteX76" fmla="*/ 2009670 w 11867103"/>
              <a:gd name="connsiteY76" fmla="*/ 2843684 h 2964609"/>
              <a:gd name="connsiteX77" fmla="*/ 1678075 w 11867103"/>
              <a:gd name="connsiteY77" fmla="*/ 2934119 h 2964609"/>
              <a:gd name="connsiteX78" fmla="*/ 1607736 w 11867103"/>
              <a:gd name="connsiteY78" fmla="*/ 2964264 h 2964609"/>
              <a:gd name="connsiteX79" fmla="*/ 1135464 w 11867103"/>
              <a:gd name="connsiteY79" fmla="*/ 2944167 h 2964609"/>
              <a:gd name="connsiteX80" fmla="*/ 944545 w 11867103"/>
              <a:gd name="connsiteY80" fmla="*/ 2914022 h 2964609"/>
              <a:gd name="connsiteX81" fmla="*/ 723481 w 11867103"/>
              <a:gd name="connsiteY81" fmla="*/ 2873829 h 2964609"/>
              <a:gd name="connsiteX82" fmla="*/ 643095 w 11867103"/>
              <a:gd name="connsiteY82" fmla="*/ 2863780 h 2964609"/>
              <a:gd name="connsiteX83" fmla="*/ 371789 w 11867103"/>
              <a:gd name="connsiteY83" fmla="*/ 2823587 h 2964609"/>
              <a:gd name="connsiteX84" fmla="*/ 0 w 11867103"/>
              <a:gd name="connsiteY84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1889090 w 11867103"/>
              <a:gd name="connsiteY5" fmla="*/ 20097 h 2964609"/>
              <a:gd name="connsiteX6" fmla="*/ 2140299 w 11867103"/>
              <a:gd name="connsiteY6" fmla="*/ 40193 h 2964609"/>
              <a:gd name="connsiteX7" fmla="*/ 2200589 w 11867103"/>
              <a:gd name="connsiteY7" fmla="*/ 50242 h 2964609"/>
              <a:gd name="connsiteX8" fmla="*/ 4652387 w 11867103"/>
              <a:gd name="connsiteY8" fmla="*/ 60290 h 2964609"/>
              <a:gd name="connsiteX9" fmla="*/ 4692580 w 11867103"/>
              <a:gd name="connsiteY9" fmla="*/ 70339 h 2964609"/>
              <a:gd name="connsiteX10" fmla="*/ 4843306 w 11867103"/>
              <a:gd name="connsiteY10" fmla="*/ 90435 h 2964609"/>
              <a:gd name="connsiteX11" fmla="*/ 5677319 w 11867103"/>
              <a:gd name="connsiteY11" fmla="*/ 80387 h 2964609"/>
              <a:gd name="connsiteX12" fmla="*/ 6169688 w 11867103"/>
              <a:gd name="connsiteY12" fmla="*/ 110532 h 2964609"/>
              <a:gd name="connsiteX13" fmla="*/ 6420897 w 11867103"/>
              <a:gd name="connsiteY13" fmla="*/ 90435 h 2964609"/>
              <a:gd name="connsiteX14" fmla="*/ 6511332 w 11867103"/>
              <a:gd name="connsiteY14" fmla="*/ 30145 h 2964609"/>
              <a:gd name="connsiteX15" fmla="*/ 6571622 w 11867103"/>
              <a:gd name="connsiteY15" fmla="*/ 20097 h 2964609"/>
              <a:gd name="connsiteX16" fmla="*/ 6641961 w 11867103"/>
              <a:gd name="connsiteY16" fmla="*/ 0 h 2964609"/>
              <a:gd name="connsiteX17" fmla="*/ 7204668 w 11867103"/>
              <a:gd name="connsiteY17" fmla="*/ 10048 h 2964609"/>
              <a:gd name="connsiteX18" fmla="*/ 7285055 w 11867103"/>
              <a:gd name="connsiteY18" fmla="*/ 30145 h 2964609"/>
              <a:gd name="connsiteX19" fmla="*/ 7375490 w 11867103"/>
              <a:gd name="connsiteY19" fmla="*/ 40193 h 2964609"/>
              <a:gd name="connsiteX20" fmla="*/ 7928150 w 11867103"/>
              <a:gd name="connsiteY20" fmla="*/ 60290 h 2964609"/>
              <a:gd name="connsiteX21" fmla="*/ 8109020 w 11867103"/>
              <a:gd name="connsiteY21" fmla="*/ 80387 h 2964609"/>
              <a:gd name="connsiteX22" fmla="*/ 8219552 w 11867103"/>
              <a:gd name="connsiteY22" fmla="*/ 90435 h 2964609"/>
              <a:gd name="connsiteX23" fmla="*/ 8299939 w 11867103"/>
              <a:gd name="connsiteY23" fmla="*/ 100484 h 2964609"/>
              <a:gd name="connsiteX24" fmla="*/ 8521002 w 11867103"/>
              <a:gd name="connsiteY24" fmla="*/ 110532 h 2964609"/>
              <a:gd name="connsiteX25" fmla="*/ 9515789 w 11867103"/>
              <a:gd name="connsiteY25" fmla="*/ 100484 h 2964609"/>
              <a:gd name="connsiteX26" fmla="*/ 9606224 w 11867103"/>
              <a:gd name="connsiteY26" fmla="*/ 90435 h 2964609"/>
              <a:gd name="connsiteX27" fmla="*/ 9716756 w 11867103"/>
              <a:gd name="connsiteY27" fmla="*/ 80387 h 2964609"/>
              <a:gd name="connsiteX28" fmla="*/ 9797143 w 11867103"/>
              <a:gd name="connsiteY28" fmla="*/ 70339 h 2964609"/>
              <a:gd name="connsiteX29" fmla="*/ 9947868 w 11867103"/>
              <a:gd name="connsiteY29" fmla="*/ 60290 h 2964609"/>
              <a:gd name="connsiteX30" fmla="*/ 10791930 w 11867103"/>
              <a:gd name="connsiteY30" fmla="*/ 30145 h 2964609"/>
              <a:gd name="connsiteX31" fmla="*/ 11736475 w 11867103"/>
              <a:gd name="connsiteY31" fmla="*/ 50242 h 2964609"/>
              <a:gd name="connsiteX32" fmla="*/ 11766620 w 11867103"/>
              <a:gd name="connsiteY32" fmla="*/ 80387 h 2964609"/>
              <a:gd name="connsiteX33" fmla="*/ 11786717 w 11867103"/>
              <a:gd name="connsiteY33" fmla="*/ 120580 h 2964609"/>
              <a:gd name="connsiteX34" fmla="*/ 11806813 w 11867103"/>
              <a:gd name="connsiteY34" fmla="*/ 211015 h 2964609"/>
              <a:gd name="connsiteX35" fmla="*/ 11816862 w 11867103"/>
              <a:gd name="connsiteY35" fmla="*/ 251209 h 2964609"/>
              <a:gd name="connsiteX36" fmla="*/ 11826910 w 11867103"/>
              <a:gd name="connsiteY36" fmla="*/ 341644 h 2964609"/>
              <a:gd name="connsiteX37" fmla="*/ 11836958 w 11867103"/>
              <a:gd name="connsiteY37" fmla="*/ 422031 h 2964609"/>
              <a:gd name="connsiteX38" fmla="*/ 11826910 w 11867103"/>
              <a:gd name="connsiteY38" fmla="*/ 733530 h 2964609"/>
              <a:gd name="connsiteX39" fmla="*/ 11816862 w 11867103"/>
              <a:gd name="connsiteY39" fmla="*/ 793820 h 2964609"/>
              <a:gd name="connsiteX40" fmla="*/ 11806813 w 11867103"/>
              <a:gd name="connsiteY40" fmla="*/ 864158 h 2964609"/>
              <a:gd name="connsiteX41" fmla="*/ 11816862 w 11867103"/>
              <a:gd name="connsiteY41" fmla="*/ 2331218 h 2964609"/>
              <a:gd name="connsiteX42" fmla="*/ 11826910 w 11867103"/>
              <a:gd name="connsiteY42" fmla="*/ 2401556 h 2964609"/>
              <a:gd name="connsiteX43" fmla="*/ 11836958 w 11867103"/>
              <a:gd name="connsiteY43" fmla="*/ 2431701 h 2964609"/>
              <a:gd name="connsiteX44" fmla="*/ 11857055 w 11867103"/>
              <a:gd name="connsiteY44" fmla="*/ 2562330 h 2964609"/>
              <a:gd name="connsiteX45" fmla="*/ 11867103 w 11867103"/>
              <a:gd name="connsiteY45" fmla="*/ 2602523 h 2964609"/>
              <a:gd name="connsiteX46" fmla="*/ 11857055 w 11867103"/>
              <a:gd name="connsiteY46" fmla="*/ 2833635 h 2964609"/>
              <a:gd name="connsiteX47" fmla="*/ 11836958 w 11867103"/>
              <a:gd name="connsiteY47" fmla="*/ 2863780 h 2964609"/>
              <a:gd name="connsiteX48" fmla="*/ 11033090 w 11867103"/>
              <a:gd name="connsiteY48" fmla="*/ 2853732 h 2964609"/>
              <a:gd name="connsiteX49" fmla="*/ 10621108 w 11867103"/>
              <a:gd name="connsiteY49" fmla="*/ 2843684 h 2964609"/>
              <a:gd name="connsiteX50" fmla="*/ 10128739 w 11867103"/>
              <a:gd name="connsiteY50" fmla="*/ 2853732 h 2964609"/>
              <a:gd name="connsiteX51" fmla="*/ 10048352 w 11867103"/>
              <a:gd name="connsiteY51" fmla="*/ 2863780 h 2964609"/>
              <a:gd name="connsiteX52" fmla="*/ 9555982 w 11867103"/>
              <a:gd name="connsiteY52" fmla="*/ 2853732 h 2964609"/>
              <a:gd name="connsiteX53" fmla="*/ 9445451 w 11867103"/>
              <a:gd name="connsiteY53" fmla="*/ 2843684 h 2964609"/>
              <a:gd name="connsiteX54" fmla="*/ 9415306 w 11867103"/>
              <a:gd name="connsiteY54" fmla="*/ 2823587 h 2964609"/>
              <a:gd name="connsiteX55" fmla="*/ 9204290 w 11867103"/>
              <a:gd name="connsiteY55" fmla="*/ 2803490 h 2964609"/>
              <a:gd name="connsiteX56" fmla="*/ 9073662 w 11867103"/>
              <a:gd name="connsiteY56" fmla="*/ 2783393 h 2964609"/>
              <a:gd name="connsiteX57" fmla="*/ 8812404 w 11867103"/>
              <a:gd name="connsiteY57" fmla="*/ 2773345 h 2964609"/>
              <a:gd name="connsiteX58" fmla="*/ 8400422 w 11867103"/>
              <a:gd name="connsiteY58" fmla="*/ 2763297 h 2964609"/>
              <a:gd name="connsiteX59" fmla="*/ 8269793 w 11867103"/>
              <a:gd name="connsiteY59" fmla="*/ 2753248 h 2964609"/>
              <a:gd name="connsiteX60" fmla="*/ 7797521 w 11867103"/>
              <a:gd name="connsiteY60" fmla="*/ 2773345 h 2964609"/>
              <a:gd name="connsiteX61" fmla="*/ 7717134 w 11867103"/>
              <a:gd name="connsiteY61" fmla="*/ 2783393 h 2964609"/>
              <a:gd name="connsiteX62" fmla="*/ 7486022 w 11867103"/>
              <a:gd name="connsiteY62" fmla="*/ 2813539 h 2964609"/>
              <a:gd name="connsiteX63" fmla="*/ 7395587 w 11867103"/>
              <a:gd name="connsiteY63" fmla="*/ 2833635 h 2964609"/>
              <a:gd name="connsiteX64" fmla="*/ 7325248 w 11867103"/>
              <a:gd name="connsiteY64" fmla="*/ 2843684 h 2964609"/>
              <a:gd name="connsiteX65" fmla="*/ 6863024 w 11867103"/>
              <a:gd name="connsiteY65" fmla="*/ 2833635 h 2964609"/>
              <a:gd name="connsiteX66" fmla="*/ 6722347 w 11867103"/>
              <a:gd name="connsiteY66" fmla="*/ 2823587 h 2964609"/>
              <a:gd name="connsiteX67" fmla="*/ 4903596 w 11867103"/>
              <a:gd name="connsiteY67" fmla="*/ 2873829 h 2964609"/>
              <a:gd name="connsiteX68" fmla="*/ 4722725 w 11867103"/>
              <a:gd name="connsiteY68" fmla="*/ 2914022 h 2964609"/>
              <a:gd name="connsiteX69" fmla="*/ 4300695 w 11867103"/>
              <a:gd name="connsiteY69" fmla="*/ 2893925 h 2964609"/>
              <a:gd name="connsiteX70" fmla="*/ 4059534 w 11867103"/>
              <a:gd name="connsiteY70" fmla="*/ 2853732 h 2964609"/>
              <a:gd name="connsiteX71" fmla="*/ 3768132 w 11867103"/>
              <a:gd name="connsiteY71" fmla="*/ 2823587 h 2964609"/>
              <a:gd name="connsiteX72" fmla="*/ 3627455 w 11867103"/>
              <a:gd name="connsiteY72" fmla="*/ 2813539 h 2964609"/>
              <a:gd name="connsiteX73" fmla="*/ 3125037 w 11867103"/>
              <a:gd name="connsiteY73" fmla="*/ 2823587 h 2964609"/>
              <a:gd name="connsiteX74" fmla="*/ 3064747 w 11867103"/>
              <a:gd name="connsiteY74" fmla="*/ 2833635 h 2964609"/>
              <a:gd name="connsiteX75" fmla="*/ 2009670 w 11867103"/>
              <a:gd name="connsiteY75" fmla="*/ 2843684 h 2964609"/>
              <a:gd name="connsiteX76" fmla="*/ 1678075 w 11867103"/>
              <a:gd name="connsiteY76" fmla="*/ 2934119 h 2964609"/>
              <a:gd name="connsiteX77" fmla="*/ 1607736 w 11867103"/>
              <a:gd name="connsiteY77" fmla="*/ 2964264 h 2964609"/>
              <a:gd name="connsiteX78" fmla="*/ 1135464 w 11867103"/>
              <a:gd name="connsiteY78" fmla="*/ 2944167 h 2964609"/>
              <a:gd name="connsiteX79" fmla="*/ 944545 w 11867103"/>
              <a:gd name="connsiteY79" fmla="*/ 2914022 h 2964609"/>
              <a:gd name="connsiteX80" fmla="*/ 723481 w 11867103"/>
              <a:gd name="connsiteY80" fmla="*/ 2873829 h 2964609"/>
              <a:gd name="connsiteX81" fmla="*/ 643095 w 11867103"/>
              <a:gd name="connsiteY81" fmla="*/ 2863780 h 2964609"/>
              <a:gd name="connsiteX82" fmla="*/ 371789 w 11867103"/>
              <a:gd name="connsiteY82" fmla="*/ 2823587 h 2964609"/>
              <a:gd name="connsiteX83" fmla="*/ 0 w 11867103"/>
              <a:gd name="connsiteY83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2140299 w 11867103"/>
              <a:gd name="connsiteY5" fmla="*/ 40193 h 2964609"/>
              <a:gd name="connsiteX6" fmla="*/ 2200589 w 11867103"/>
              <a:gd name="connsiteY6" fmla="*/ 50242 h 2964609"/>
              <a:gd name="connsiteX7" fmla="*/ 4652387 w 11867103"/>
              <a:gd name="connsiteY7" fmla="*/ 60290 h 2964609"/>
              <a:gd name="connsiteX8" fmla="*/ 4692580 w 11867103"/>
              <a:gd name="connsiteY8" fmla="*/ 70339 h 2964609"/>
              <a:gd name="connsiteX9" fmla="*/ 4843306 w 11867103"/>
              <a:gd name="connsiteY9" fmla="*/ 90435 h 2964609"/>
              <a:gd name="connsiteX10" fmla="*/ 5677319 w 11867103"/>
              <a:gd name="connsiteY10" fmla="*/ 80387 h 2964609"/>
              <a:gd name="connsiteX11" fmla="*/ 6169688 w 11867103"/>
              <a:gd name="connsiteY11" fmla="*/ 110532 h 2964609"/>
              <a:gd name="connsiteX12" fmla="*/ 6420897 w 11867103"/>
              <a:gd name="connsiteY12" fmla="*/ 90435 h 2964609"/>
              <a:gd name="connsiteX13" fmla="*/ 6511332 w 11867103"/>
              <a:gd name="connsiteY13" fmla="*/ 30145 h 2964609"/>
              <a:gd name="connsiteX14" fmla="*/ 6571622 w 11867103"/>
              <a:gd name="connsiteY14" fmla="*/ 20097 h 2964609"/>
              <a:gd name="connsiteX15" fmla="*/ 6641961 w 11867103"/>
              <a:gd name="connsiteY15" fmla="*/ 0 h 2964609"/>
              <a:gd name="connsiteX16" fmla="*/ 7204668 w 11867103"/>
              <a:gd name="connsiteY16" fmla="*/ 10048 h 2964609"/>
              <a:gd name="connsiteX17" fmla="*/ 7285055 w 11867103"/>
              <a:gd name="connsiteY17" fmla="*/ 30145 h 2964609"/>
              <a:gd name="connsiteX18" fmla="*/ 7375490 w 11867103"/>
              <a:gd name="connsiteY18" fmla="*/ 40193 h 2964609"/>
              <a:gd name="connsiteX19" fmla="*/ 7928150 w 11867103"/>
              <a:gd name="connsiteY19" fmla="*/ 60290 h 2964609"/>
              <a:gd name="connsiteX20" fmla="*/ 8109020 w 11867103"/>
              <a:gd name="connsiteY20" fmla="*/ 80387 h 2964609"/>
              <a:gd name="connsiteX21" fmla="*/ 8219552 w 11867103"/>
              <a:gd name="connsiteY21" fmla="*/ 90435 h 2964609"/>
              <a:gd name="connsiteX22" fmla="*/ 8299939 w 11867103"/>
              <a:gd name="connsiteY22" fmla="*/ 100484 h 2964609"/>
              <a:gd name="connsiteX23" fmla="*/ 8521002 w 11867103"/>
              <a:gd name="connsiteY23" fmla="*/ 110532 h 2964609"/>
              <a:gd name="connsiteX24" fmla="*/ 9515789 w 11867103"/>
              <a:gd name="connsiteY24" fmla="*/ 100484 h 2964609"/>
              <a:gd name="connsiteX25" fmla="*/ 9606224 w 11867103"/>
              <a:gd name="connsiteY25" fmla="*/ 90435 h 2964609"/>
              <a:gd name="connsiteX26" fmla="*/ 9716756 w 11867103"/>
              <a:gd name="connsiteY26" fmla="*/ 80387 h 2964609"/>
              <a:gd name="connsiteX27" fmla="*/ 9797143 w 11867103"/>
              <a:gd name="connsiteY27" fmla="*/ 70339 h 2964609"/>
              <a:gd name="connsiteX28" fmla="*/ 9947868 w 11867103"/>
              <a:gd name="connsiteY28" fmla="*/ 60290 h 2964609"/>
              <a:gd name="connsiteX29" fmla="*/ 10791930 w 11867103"/>
              <a:gd name="connsiteY29" fmla="*/ 30145 h 2964609"/>
              <a:gd name="connsiteX30" fmla="*/ 11736475 w 11867103"/>
              <a:gd name="connsiteY30" fmla="*/ 50242 h 2964609"/>
              <a:gd name="connsiteX31" fmla="*/ 11766620 w 11867103"/>
              <a:gd name="connsiteY31" fmla="*/ 80387 h 2964609"/>
              <a:gd name="connsiteX32" fmla="*/ 11786717 w 11867103"/>
              <a:gd name="connsiteY32" fmla="*/ 120580 h 2964609"/>
              <a:gd name="connsiteX33" fmla="*/ 11806813 w 11867103"/>
              <a:gd name="connsiteY33" fmla="*/ 211015 h 2964609"/>
              <a:gd name="connsiteX34" fmla="*/ 11816862 w 11867103"/>
              <a:gd name="connsiteY34" fmla="*/ 251209 h 2964609"/>
              <a:gd name="connsiteX35" fmla="*/ 11826910 w 11867103"/>
              <a:gd name="connsiteY35" fmla="*/ 341644 h 2964609"/>
              <a:gd name="connsiteX36" fmla="*/ 11836958 w 11867103"/>
              <a:gd name="connsiteY36" fmla="*/ 422031 h 2964609"/>
              <a:gd name="connsiteX37" fmla="*/ 11826910 w 11867103"/>
              <a:gd name="connsiteY37" fmla="*/ 733530 h 2964609"/>
              <a:gd name="connsiteX38" fmla="*/ 11816862 w 11867103"/>
              <a:gd name="connsiteY38" fmla="*/ 793820 h 2964609"/>
              <a:gd name="connsiteX39" fmla="*/ 11806813 w 11867103"/>
              <a:gd name="connsiteY39" fmla="*/ 864158 h 2964609"/>
              <a:gd name="connsiteX40" fmla="*/ 11816862 w 11867103"/>
              <a:gd name="connsiteY40" fmla="*/ 2331218 h 2964609"/>
              <a:gd name="connsiteX41" fmla="*/ 11826910 w 11867103"/>
              <a:gd name="connsiteY41" fmla="*/ 2401556 h 2964609"/>
              <a:gd name="connsiteX42" fmla="*/ 11836958 w 11867103"/>
              <a:gd name="connsiteY42" fmla="*/ 2431701 h 2964609"/>
              <a:gd name="connsiteX43" fmla="*/ 11857055 w 11867103"/>
              <a:gd name="connsiteY43" fmla="*/ 2562330 h 2964609"/>
              <a:gd name="connsiteX44" fmla="*/ 11867103 w 11867103"/>
              <a:gd name="connsiteY44" fmla="*/ 2602523 h 2964609"/>
              <a:gd name="connsiteX45" fmla="*/ 11857055 w 11867103"/>
              <a:gd name="connsiteY45" fmla="*/ 2833635 h 2964609"/>
              <a:gd name="connsiteX46" fmla="*/ 11836958 w 11867103"/>
              <a:gd name="connsiteY46" fmla="*/ 2863780 h 2964609"/>
              <a:gd name="connsiteX47" fmla="*/ 11033090 w 11867103"/>
              <a:gd name="connsiteY47" fmla="*/ 2853732 h 2964609"/>
              <a:gd name="connsiteX48" fmla="*/ 10621108 w 11867103"/>
              <a:gd name="connsiteY48" fmla="*/ 2843684 h 2964609"/>
              <a:gd name="connsiteX49" fmla="*/ 10128739 w 11867103"/>
              <a:gd name="connsiteY49" fmla="*/ 2853732 h 2964609"/>
              <a:gd name="connsiteX50" fmla="*/ 10048352 w 11867103"/>
              <a:gd name="connsiteY50" fmla="*/ 2863780 h 2964609"/>
              <a:gd name="connsiteX51" fmla="*/ 9555982 w 11867103"/>
              <a:gd name="connsiteY51" fmla="*/ 2853732 h 2964609"/>
              <a:gd name="connsiteX52" fmla="*/ 9445451 w 11867103"/>
              <a:gd name="connsiteY52" fmla="*/ 2843684 h 2964609"/>
              <a:gd name="connsiteX53" fmla="*/ 9415306 w 11867103"/>
              <a:gd name="connsiteY53" fmla="*/ 2823587 h 2964609"/>
              <a:gd name="connsiteX54" fmla="*/ 9204290 w 11867103"/>
              <a:gd name="connsiteY54" fmla="*/ 2803490 h 2964609"/>
              <a:gd name="connsiteX55" fmla="*/ 9073662 w 11867103"/>
              <a:gd name="connsiteY55" fmla="*/ 2783393 h 2964609"/>
              <a:gd name="connsiteX56" fmla="*/ 8812404 w 11867103"/>
              <a:gd name="connsiteY56" fmla="*/ 2773345 h 2964609"/>
              <a:gd name="connsiteX57" fmla="*/ 8400422 w 11867103"/>
              <a:gd name="connsiteY57" fmla="*/ 2763297 h 2964609"/>
              <a:gd name="connsiteX58" fmla="*/ 8269793 w 11867103"/>
              <a:gd name="connsiteY58" fmla="*/ 2753248 h 2964609"/>
              <a:gd name="connsiteX59" fmla="*/ 7797521 w 11867103"/>
              <a:gd name="connsiteY59" fmla="*/ 2773345 h 2964609"/>
              <a:gd name="connsiteX60" fmla="*/ 7717134 w 11867103"/>
              <a:gd name="connsiteY60" fmla="*/ 2783393 h 2964609"/>
              <a:gd name="connsiteX61" fmla="*/ 7486022 w 11867103"/>
              <a:gd name="connsiteY61" fmla="*/ 2813539 h 2964609"/>
              <a:gd name="connsiteX62" fmla="*/ 7395587 w 11867103"/>
              <a:gd name="connsiteY62" fmla="*/ 2833635 h 2964609"/>
              <a:gd name="connsiteX63" fmla="*/ 7325248 w 11867103"/>
              <a:gd name="connsiteY63" fmla="*/ 2843684 h 2964609"/>
              <a:gd name="connsiteX64" fmla="*/ 6863024 w 11867103"/>
              <a:gd name="connsiteY64" fmla="*/ 2833635 h 2964609"/>
              <a:gd name="connsiteX65" fmla="*/ 6722347 w 11867103"/>
              <a:gd name="connsiteY65" fmla="*/ 2823587 h 2964609"/>
              <a:gd name="connsiteX66" fmla="*/ 4903596 w 11867103"/>
              <a:gd name="connsiteY66" fmla="*/ 2873829 h 2964609"/>
              <a:gd name="connsiteX67" fmla="*/ 4722725 w 11867103"/>
              <a:gd name="connsiteY67" fmla="*/ 2914022 h 2964609"/>
              <a:gd name="connsiteX68" fmla="*/ 4300695 w 11867103"/>
              <a:gd name="connsiteY68" fmla="*/ 2893925 h 2964609"/>
              <a:gd name="connsiteX69" fmla="*/ 4059534 w 11867103"/>
              <a:gd name="connsiteY69" fmla="*/ 2853732 h 2964609"/>
              <a:gd name="connsiteX70" fmla="*/ 3768132 w 11867103"/>
              <a:gd name="connsiteY70" fmla="*/ 2823587 h 2964609"/>
              <a:gd name="connsiteX71" fmla="*/ 3627455 w 11867103"/>
              <a:gd name="connsiteY71" fmla="*/ 2813539 h 2964609"/>
              <a:gd name="connsiteX72" fmla="*/ 3125037 w 11867103"/>
              <a:gd name="connsiteY72" fmla="*/ 2823587 h 2964609"/>
              <a:gd name="connsiteX73" fmla="*/ 3064747 w 11867103"/>
              <a:gd name="connsiteY73" fmla="*/ 2833635 h 2964609"/>
              <a:gd name="connsiteX74" fmla="*/ 2009670 w 11867103"/>
              <a:gd name="connsiteY74" fmla="*/ 2843684 h 2964609"/>
              <a:gd name="connsiteX75" fmla="*/ 1678075 w 11867103"/>
              <a:gd name="connsiteY75" fmla="*/ 2934119 h 2964609"/>
              <a:gd name="connsiteX76" fmla="*/ 1607736 w 11867103"/>
              <a:gd name="connsiteY76" fmla="*/ 2964264 h 2964609"/>
              <a:gd name="connsiteX77" fmla="*/ 1135464 w 11867103"/>
              <a:gd name="connsiteY77" fmla="*/ 2944167 h 2964609"/>
              <a:gd name="connsiteX78" fmla="*/ 944545 w 11867103"/>
              <a:gd name="connsiteY78" fmla="*/ 2914022 h 2964609"/>
              <a:gd name="connsiteX79" fmla="*/ 723481 w 11867103"/>
              <a:gd name="connsiteY79" fmla="*/ 2873829 h 2964609"/>
              <a:gd name="connsiteX80" fmla="*/ 643095 w 11867103"/>
              <a:gd name="connsiteY80" fmla="*/ 2863780 h 2964609"/>
              <a:gd name="connsiteX81" fmla="*/ 371789 w 11867103"/>
              <a:gd name="connsiteY81" fmla="*/ 2823587 h 2964609"/>
              <a:gd name="connsiteX82" fmla="*/ 0 w 11867103"/>
              <a:gd name="connsiteY82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2140299 w 11867103"/>
              <a:gd name="connsiteY5" fmla="*/ 40193 h 2964609"/>
              <a:gd name="connsiteX6" fmla="*/ 4652387 w 11867103"/>
              <a:gd name="connsiteY6" fmla="*/ 60290 h 2964609"/>
              <a:gd name="connsiteX7" fmla="*/ 4692580 w 11867103"/>
              <a:gd name="connsiteY7" fmla="*/ 70339 h 2964609"/>
              <a:gd name="connsiteX8" fmla="*/ 4843306 w 11867103"/>
              <a:gd name="connsiteY8" fmla="*/ 90435 h 2964609"/>
              <a:gd name="connsiteX9" fmla="*/ 5677319 w 11867103"/>
              <a:gd name="connsiteY9" fmla="*/ 80387 h 2964609"/>
              <a:gd name="connsiteX10" fmla="*/ 6169688 w 11867103"/>
              <a:gd name="connsiteY10" fmla="*/ 110532 h 2964609"/>
              <a:gd name="connsiteX11" fmla="*/ 6420897 w 11867103"/>
              <a:gd name="connsiteY11" fmla="*/ 90435 h 2964609"/>
              <a:gd name="connsiteX12" fmla="*/ 6511332 w 11867103"/>
              <a:gd name="connsiteY12" fmla="*/ 30145 h 2964609"/>
              <a:gd name="connsiteX13" fmla="*/ 6571622 w 11867103"/>
              <a:gd name="connsiteY13" fmla="*/ 20097 h 2964609"/>
              <a:gd name="connsiteX14" fmla="*/ 6641961 w 11867103"/>
              <a:gd name="connsiteY14" fmla="*/ 0 h 2964609"/>
              <a:gd name="connsiteX15" fmla="*/ 7204668 w 11867103"/>
              <a:gd name="connsiteY15" fmla="*/ 10048 h 2964609"/>
              <a:gd name="connsiteX16" fmla="*/ 7285055 w 11867103"/>
              <a:gd name="connsiteY16" fmla="*/ 30145 h 2964609"/>
              <a:gd name="connsiteX17" fmla="*/ 7375490 w 11867103"/>
              <a:gd name="connsiteY17" fmla="*/ 40193 h 2964609"/>
              <a:gd name="connsiteX18" fmla="*/ 7928150 w 11867103"/>
              <a:gd name="connsiteY18" fmla="*/ 60290 h 2964609"/>
              <a:gd name="connsiteX19" fmla="*/ 8109020 w 11867103"/>
              <a:gd name="connsiteY19" fmla="*/ 80387 h 2964609"/>
              <a:gd name="connsiteX20" fmla="*/ 8219552 w 11867103"/>
              <a:gd name="connsiteY20" fmla="*/ 90435 h 2964609"/>
              <a:gd name="connsiteX21" fmla="*/ 8299939 w 11867103"/>
              <a:gd name="connsiteY21" fmla="*/ 100484 h 2964609"/>
              <a:gd name="connsiteX22" fmla="*/ 8521002 w 11867103"/>
              <a:gd name="connsiteY22" fmla="*/ 110532 h 2964609"/>
              <a:gd name="connsiteX23" fmla="*/ 9515789 w 11867103"/>
              <a:gd name="connsiteY23" fmla="*/ 100484 h 2964609"/>
              <a:gd name="connsiteX24" fmla="*/ 9606224 w 11867103"/>
              <a:gd name="connsiteY24" fmla="*/ 90435 h 2964609"/>
              <a:gd name="connsiteX25" fmla="*/ 9716756 w 11867103"/>
              <a:gd name="connsiteY25" fmla="*/ 80387 h 2964609"/>
              <a:gd name="connsiteX26" fmla="*/ 9797143 w 11867103"/>
              <a:gd name="connsiteY26" fmla="*/ 70339 h 2964609"/>
              <a:gd name="connsiteX27" fmla="*/ 9947868 w 11867103"/>
              <a:gd name="connsiteY27" fmla="*/ 60290 h 2964609"/>
              <a:gd name="connsiteX28" fmla="*/ 10791930 w 11867103"/>
              <a:gd name="connsiteY28" fmla="*/ 30145 h 2964609"/>
              <a:gd name="connsiteX29" fmla="*/ 11736475 w 11867103"/>
              <a:gd name="connsiteY29" fmla="*/ 50242 h 2964609"/>
              <a:gd name="connsiteX30" fmla="*/ 11766620 w 11867103"/>
              <a:gd name="connsiteY30" fmla="*/ 80387 h 2964609"/>
              <a:gd name="connsiteX31" fmla="*/ 11786717 w 11867103"/>
              <a:gd name="connsiteY31" fmla="*/ 120580 h 2964609"/>
              <a:gd name="connsiteX32" fmla="*/ 11806813 w 11867103"/>
              <a:gd name="connsiteY32" fmla="*/ 211015 h 2964609"/>
              <a:gd name="connsiteX33" fmla="*/ 11816862 w 11867103"/>
              <a:gd name="connsiteY33" fmla="*/ 251209 h 2964609"/>
              <a:gd name="connsiteX34" fmla="*/ 11826910 w 11867103"/>
              <a:gd name="connsiteY34" fmla="*/ 341644 h 2964609"/>
              <a:gd name="connsiteX35" fmla="*/ 11836958 w 11867103"/>
              <a:gd name="connsiteY35" fmla="*/ 422031 h 2964609"/>
              <a:gd name="connsiteX36" fmla="*/ 11826910 w 11867103"/>
              <a:gd name="connsiteY36" fmla="*/ 733530 h 2964609"/>
              <a:gd name="connsiteX37" fmla="*/ 11816862 w 11867103"/>
              <a:gd name="connsiteY37" fmla="*/ 793820 h 2964609"/>
              <a:gd name="connsiteX38" fmla="*/ 11806813 w 11867103"/>
              <a:gd name="connsiteY38" fmla="*/ 864158 h 2964609"/>
              <a:gd name="connsiteX39" fmla="*/ 11816862 w 11867103"/>
              <a:gd name="connsiteY39" fmla="*/ 2331218 h 2964609"/>
              <a:gd name="connsiteX40" fmla="*/ 11826910 w 11867103"/>
              <a:gd name="connsiteY40" fmla="*/ 2401556 h 2964609"/>
              <a:gd name="connsiteX41" fmla="*/ 11836958 w 11867103"/>
              <a:gd name="connsiteY41" fmla="*/ 2431701 h 2964609"/>
              <a:gd name="connsiteX42" fmla="*/ 11857055 w 11867103"/>
              <a:gd name="connsiteY42" fmla="*/ 2562330 h 2964609"/>
              <a:gd name="connsiteX43" fmla="*/ 11867103 w 11867103"/>
              <a:gd name="connsiteY43" fmla="*/ 2602523 h 2964609"/>
              <a:gd name="connsiteX44" fmla="*/ 11857055 w 11867103"/>
              <a:gd name="connsiteY44" fmla="*/ 2833635 h 2964609"/>
              <a:gd name="connsiteX45" fmla="*/ 11836958 w 11867103"/>
              <a:gd name="connsiteY45" fmla="*/ 2863780 h 2964609"/>
              <a:gd name="connsiteX46" fmla="*/ 11033090 w 11867103"/>
              <a:gd name="connsiteY46" fmla="*/ 2853732 h 2964609"/>
              <a:gd name="connsiteX47" fmla="*/ 10621108 w 11867103"/>
              <a:gd name="connsiteY47" fmla="*/ 2843684 h 2964609"/>
              <a:gd name="connsiteX48" fmla="*/ 10128739 w 11867103"/>
              <a:gd name="connsiteY48" fmla="*/ 2853732 h 2964609"/>
              <a:gd name="connsiteX49" fmla="*/ 10048352 w 11867103"/>
              <a:gd name="connsiteY49" fmla="*/ 2863780 h 2964609"/>
              <a:gd name="connsiteX50" fmla="*/ 9555982 w 11867103"/>
              <a:gd name="connsiteY50" fmla="*/ 2853732 h 2964609"/>
              <a:gd name="connsiteX51" fmla="*/ 9445451 w 11867103"/>
              <a:gd name="connsiteY51" fmla="*/ 2843684 h 2964609"/>
              <a:gd name="connsiteX52" fmla="*/ 9415306 w 11867103"/>
              <a:gd name="connsiteY52" fmla="*/ 2823587 h 2964609"/>
              <a:gd name="connsiteX53" fmla="*/ 9204290 w 11867103"/>
              <a:gd name="connsiteY53" fmla="*/ 2803490 h 2964609"/>
              <a:gd name="connsiteX54" fmla="*/ 9073662 w 11867103"/>
              <a:gd name="connsiteY54" fmla="*/ 2783393 h 2964609"/>
              <a:gd name="connsiteX55" fmla="*/ 8812404 w 11867103"/>
              <a:gd name="connsiteY55" fmla="*/ 2773345 h 2964609"/>
              <a:gd name="connsiteX56" fmla="*/ 8400422 w 11867103"/>
              <a:gd name="connsiteY56" fmla="*/ 2763297 h 2964609"/>
              <a:gd name="connsiteX57" fmla="*/ 8269793 w 11867103"/>
              <a:gd name="connsiteY57" fmla="*/ 2753248 h 2964609"/>
              <a:gd name="connsiteX58" fmla="*/ 7797521 w 11867103"/>
              <a:gd name="connsiteY58" fmla="*/ 2773345 h 2964609"/>
              <a:gd name="connsiteX59" fmla="*/ 7717134 w 11867103"/>
              <a:gd name="connsiteY59" fmla="*/ 2783393 h 2964609"/>
              <a:gd name="connsiteX60" fmla="*/ 7486022 w 11867103"/>
              <a:gd name="connsiteY60" fmla="*/ 2813539 h 2964609"/>
              <a:gd name="connsiteX61" fmla="*/ 7395587 w 11867103"/>
              <a:gd name="connsiteY61" fmla="*/ 2833635 h 2964609"/>
              <a:gd name="connsiteX62" fmla="*/ 7325248 w 11867103"/>
              <a:gd name="connsiteY62" fmla="*/ 2843684 h 2964609"/>
              <a:gd name="connsiteX63" fmla="*/ 6863024 w 11867103"/>
              <a:gd name="connsiteY63" fmla="*/ 2833635 h 2964609"/>
              <a:gd name="connsiteX64" fmla="*/ 6722347 w 11867103"/>
              <a:gd name="connsiteY64" fmla="*/ 2823587 h 2964609"/>
              <a:gd name="connsiteX65" fmla="*/ 4903596 w 11867103"/>
              <a:gd name="connsiteY65" fmla="*/ 2873829 h 2964609"/>
              <a:gd name="connsiteX66" fmla="*/ 4722725 w 11867103"/>
              <a:gd name="connsiteY66" fmla="*/ 2914022 h 2964609"/>
              <a:gd name="connsiteX67" fmla="*/ 4300695 w 11867103"/>
              <a:gd name="connsiteY67" fmla="*/ 2893925 h 2964609"/>
              <a:gd name="connsiteX68" fmla="*/ 4059534 w 11867103"/>
              <a:gd name="connsiteY68" fmla="*/ 2853732 h 2964609"/>
              <a:gd name="connsiteX69" fmla="*/ 3768132 w 11867103"/>
              <a:gd name="connsiteY69" fmla="*/ 2823587 h 2964609"/>
              <a:gd name="connsiteX70" fmla="*/ 3627455 w 11867103"/>
              <a:gd name="connsiteY70" fmla="*/ 2813539 h 2964609"/>
              <a:gd name="connsiteX71" fmla="*/ 3125037 w 11867103"/>
              <a:gd name="connsiteY71" fmla="*/ 2823587 h 2964609"/>
              <a:gd name="connsiteX72" fmla="*/ 3064747 w 11867103"/>
              <a:gd name="connsiteY72" fmla="*/ 2833635 h 2964609"/>
              <a:gd name="connsiteX73" fmla="*/ 2009670 w 11867103"/>
              <a:gd name="connsiteY73" fmla="*/ 2843684 h 2964609"/>
              <a:gd name="connsiteX74" fmla="*/ 1678075 w 11867103"/>
              <a:gd name="connsiteY74" fmla="*/ 2934119 h 2964609"/>
              <a:gd name="connsiteX75" fmla="*/ 1607736 w 11867103"/>
              <a:gd name="connsiteY75" fmla="*/ 2964264 h 2964609"/>
              <a:gd name="connsiteX76" fmla="*/ 1135464 w 11867103"/>
              <a:gd name="connsiteY76" fmla="*/ 2944167 h 2964609"/>
              <a:gd name="connsiteX77" fmla="*/ 944545 w 11867103"/>
              <a:gd name="connsiteY77" fmla="*/ 2914022 h 2964609"/>
              <a:gd name="connsiteX78" fmla="*/ 723481 w 11867103"/>
              <a:gd name="connsiteY78" fmla="*/ 2873829 h 2964609"/>
              <a:gd name="connsiteX79" fmla="*/ 643095 w 11867103"/>
              <a:gd name="connsiteY79" fmla="*/ 2863780 h 2964609"/>
              <a:gd name="connsiteX80" fmla="*/ 371789 w 11867103"/>
              <a:gd name="connsiteY80" fmla="*/ 2823587 h 2964609"/>
              <a:gd name="connsiteX81" fmla="*/ 0 w 11867103"/>
              <a:gd name="connsiteY81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2140299 w 11867103"/>
              <a:gd name="connsiteY5" fmla="*/ 40193 h 2964609"/>
              <a:gd name="connsiteX6" fmla="*/ 4652387 w 11867103"/>
              <a:gd name="connsiteY6" fmla="*/ 60290 h 2964609"/>
              <a:gd name="connsiteX7" fmla="*/ 4692580 w 11867103"/>
              <a:gd name="connsiteY7" fmla="*/ 70339 h 2964609"/>
              <a:gd name="connsiteX8" fmla="*/ 5677319 w 11867103"/>
              <a:gd name="connsiteY8" fmla="*/ 80387 h 2964609"/>
              <a:gd name="connsiteX9" fmla="*/ 6169688 w 11867103"/>
              <a:gd name="connsiteY9" fmla="*/ 110532 h 2964609"/>
              <a:gd name="connsiteX10" fmla="*/ 6420897 w 11867103"/>
              <a:gd name="connsiteY10" fmla="*/ 90435 h 2964609"/>
              <a:gd name="connsiteX11" fmla="*/ 6511332 w 11867103"/>
              <a:gd name="connsiteY11" fmla="*/ 30145 h 2964609"/>
              <a:gd name="connsiteX12" fmla="*/ 6571622 w 11867103"/>
              <a:gd name="connsiteY12" fmla="*/ 20097 h 2964609"/>
              <a:gd name="connsiteX13" fmla="*/ 6641961 w 11867103"/>
              <a:gd name="connsiteY13" fmla="*/ 0 h 2964609"/>
              <a:gd name="connsiteX14" fmla="*/ 7204668 w 11867103"/>
              <a:gd name="connsiteY14" fmla="*/ 10048 h 2964609"/>
              <a:gd name="connsiteX15" fmla="*/ 7285055 w 11867103"/>
              <a:gd name="connsiteY15" fmla="*/ 30145 h 2964609"/>
              <a:gd name="connsiteX16" fmla="*/ 7375490 w 11867103"/>
              <a:gd name="connsiteY16" fmla="*/ 40193 h 2964609"/>
              <a:gd name="connsiteX17" fmla="*/ 7928150 w 11867103"/>
              <a:gd name="connsiteY17" fmla="*/ 60290 h 2964609"/>
              <a:gd name="connsiteX18" fmla="*/ 8109020 w 11867103"/>
              <a:gd name="connsiteY18" fmla="*/ 80387 h 2964609"/>
              <a:gd name="connsiteX19" fmla="*/ 8219552 w 11867103"/>
              <a:gd name="connsiteY19" fmla="*/ 90435 h 2964609"/>
              <a:gd name="connsiteX20" fmla="*/ 8299939 w 11867103"/>
              <a:gd name="connsiteY20" fmla="*/ 100484 h 2964609"/>
              <a:gd name="connsiteX21" fmla="*/ 8521002 w 11867103"/>
              <a:gd name="connsiteY21" fmla="*/ 110532 h 2964609"/>
              <a:gd name="connsiteX22" fmla="*/ 9515789 w 11867103"/>
              <a:gd name="connsiteY22" fmla="*/ 100484 h 2964609"/>
              <a:gd name="connsiteX23" fmla="*/ 9606224 w 11867103"/>
              <a:gd name="connsiteY23" fmla="*/ 90435 h 2964609"/>
              <a:gd name="connsiteX24" fmla="*/ 9716756 w 11867103"/>
              <a:gd name="connsiteY24" fmla="*/ 80387 h 2964609"/>
              <a:gd name="connsiteX25" fmla="*/ 9797143 w 11867103"/>
              <a:gd name="connsiteY25" fmla="*/ 70339 h 2964609"/>
              <a:gd name="connsiteX26" fmla="*/ 9947868 w 11867103"/>
              <a:gd name="connsiteY26" fmla="*/ 60290 h 2964609"/>
              <a:gd name="connsiteX27" fmla="*/ 10791930 w 11867103"/>
              <a:gd name="connsiteY27" fmla="*/ 30145 h 2964609"/>
              <a:gd name="connsiteX28" fmla="*/ 11736475 w 11867103"/>
              <a:gd name="connsiteY28" fmla="*/ 50242 h 2964609"/>
              <a:gd name="connsiteX29" fmla="*/ 11766620 w 11867103"/>
              <a:gd name="connsiteY29" fmla="*/ 80387 h 2964609"/>
              <a:gd name="connsiteX30" fmla="*/ 11786717 w 11867103"/>
              <a:gd name="connsiteY30" fmla="*/ 120580 h 2964609"/>
              <a:gd name="connsiteX31" fmla="*/ 11806813 w 11867103"/>
              <a:gd name="connsiteY31" fmla="*/ 211015 h 2964609"/>
              <a:gd name="connsiteX32" fmla="*/ 11816862 w 11867103"/>
              <a:gd name="connsiteY32" fmla="*/ 251209 h 2964609"/>
              <a:gd name="connsiteX33" fmla="*/ 11826910 w 11867103"/>
              <a:gd name="connsiteY33" fmla="*/ 341644 h 2964609"/>
              <a:gd name="connsiteX34" fmla="*/ 11836958 w 11867103"/>
              <a:gd name="connsiteY34" fmla="*/ 422031 h 2964609"/>
              <a:gd name="connsiteX35" fmla="*/ 11826910 w 11867103"/>
              <a:gd name="connsiteY35" fmla="*/ 733530 h 2964609"/>
              <a:gd name="connsiteX36" fmla="*/ 11816862 w 11867103"/>
              <a:gd name="connsiteY36" fmla="*/ 793820 h 2964609"/>
              <a:gd name="connsiteX37" fmla="*/ 11806813 w 11867103"/>
              <a:gd name="connsiteY37" fmla="*/ 864158 h 2964609"/>
              <a:gd name="connsiteX38" fmla="*/ 11816862 w 11867103"/>
              <a:gd name="connsiteY38" fmla="*/ 2331218 h 2964609"/>
              <a:gd name="connsiteX39" fmla="*/ 11826910 w 11867103"/>
              <a:gd name="connsiteY39" fmla="*/ 2401556 h 2964609"/>
              <a:gd name="connsiteX40" fmla="*/ 11836958 w 11867103"/>
              <a:gd name="connsiteY40" fmla="*/ 2431701 h 2964609"/>
              <a:gd name="connsiteX41" fmla="*/ 11857055 w 11867103"/>
              <a:gd name="connsiteY41" fmla="*/ 2562330 h 2964609"/>
              <a:gd name="connsiteX42" fmla="*/ 11867103 w 11867103"/>
              <a:gd name="connsiteY42" fmla="*/ 2602523 h 2964609"/>
              <a:gd name="connsiteX43" fmla="*/ 11857055 w 11867103"/>
              <a:gd name="connsiteY43" fmla="*/ 2833635 h 2964609"/>
              <a:gd name="connsiteX44" fmla="*/ 11836958 w 11867103"/>
              <a:gd name="connsiteY44" fmla="*/ 2863780 h 2964609"/>
              <a:gd name="connsiteX45" fmla="*/ 11033090 w 11867103"/>
              <a:gd name="connsiteY45" fmla="*/ 2853732 h 2964609"/>
              <a:gd name="connsiteX46" fmla="*/ 10621108 w 11867103"/>
              <a:gd name="connsiteY46" fmla="*/ 2843684 h 2964609"/>
              <a:gd name="connsiteX47" fmla="*/ 10128739 w 11867103"/>
              <a:gd name="connsiteY47" fmla="*/ 2853732 h 2964609"/>
              <a:gd name="connsiteX48" fmla="*/ 10048352 w 11867103"/>
              <a:gd name="connsiteY48" fmla="*/ 2863780 h 2964609"/>
              <a:gd name="connsiteX49" fmla="*/ 9555982 w 11867103"/>
              <a:gd name="connsiteY49" fmla="*/ 2853732 h 2964609"/>
              <a:gd name="connsiteX50" fmla="*/ 9445451 w 11867103"/>
              <a:gd name="connsiteY50" fmla="*/ 2843684 h 2964609"/>
              <a:gd name="connsiteX51" fmla="*/ 9415306 w 11867103"/>
              <a:gd name="connsiteY51" fmla="*/ 2823587 h 2964609"/>
              <a:gd name="connsiteX52" fmla="*/ 9204290 w 11867103"/>
              <a:gd name="connsiteY52" fmla="*/ 2803490 h 2964609"/>
              <a:gd name="connsiteX53" fmla="*/ 9073662 w 11867103"/>
              <a:gd name="connsiteY53" fmla="*/ 2783393 h 2964609"/>
              <a:gd name="connsiteX54" fmla="*/ 8812404 w 11867103"/>
              <a:gd name="connsiteY54" fmla="*/ 2773345 h 2964609"/>
              <a:gd name="connsiteX55" fmla="*/ 8400422 w 11867103"/>
              <a:gd name="connsiteY55" fmla="*/ 2763297 h 2964609"/>
              <a:gd name="connsiteX56" fmla="*/ 8269793 w 11867103"/>
              <a:gd name="connsiteY56" fmla="*/ 2753248 h 2964609"/>
              <a:gd name="connsiteX57" fmla="*/ 7797521 w 11867103"/>
              <a:gd name="connsiteY57" fmla="*/ 2773345 h 2964609"/>
              <a:gd name="connsiteX58" fmla="*/ 7717134 w 11867103"/>
              <a:gd name="connsiteY58" fmla="*/ 2783393 h 2964609"/>
              <a:gd name="connsiteX59" fmla="*/ 7486022 w 11867103"/>
              <a:gd name="connsiteY59" fmla="*/ 2813539 h 2964609"/>
              <a:gd name="connsiteX60" fmla="*/ 7395587 w 11867103"/>
              <a:gd name="connsiteY60" fmla="*/ 2833635 h 2964609"/>
              <a:gd name="connsiteX61" fmla="*/ 7325248 w 11867103"/>
              <a:gd name="connsiteY61" fmla="*/ 2843684 h 2964609"/>
              <a:gd name="connsiteX62" fmla="*/ 6863024 w 11867103"/>
              <a:gd name="connsiteY62" fmla="*/ 2833635 h 2964609"/>
              <a:gd name="connsiteX63" fmla="*/ 6722347 w 11867103"/>
              <a:gd name="connsiteY63" fmla="*/ 2823587 h 2964609"/>
              <a:gd name="connsiteX64" fmla="*/ 4903596 w 11867103"/>
              <a:gd name="connsiteY64" fmla="*/ 2873829 h 2964609"/>
              <a:gd name="connsiteX65" fmla="*/ 4722725 w 11867103"/>
              <a:gd name="connsiteY65" fmla="*/ 2914022 h 2964609"/>
              <a:gd name="connsiteX66" fmla="*/ 4300695 w 11867103"/>
              <a:gd name="connsiteY66" fmla="*/ 2893925 h 2964609"/>
              <a:gd name="connsiteX67" fmla="*/ 4059534 w 11867103"/>
              <a:gd name="connsiteY67" fmla="*/ 2853732 h 2964609"/>
              <a:gd name="connsiteX68" fmla="*/ 3768132 w 11867103"/>
              <a:gd name="connsiteY68" fmla="*/ 2823587 h 2964609"/>
              <a:gd name="connsiteX69" fmla="*/ 3627455 w 11867103"/>
              <a:gd name="connsiteY69" fmla="*/ 2813539 h 2964609"/>
              <a:gd name="connsiteX70" fmla="*/ 3125037 w 11867103"/>
              <a:gd name="connsiteY70" fmla="*/ 2823587 h 2964609"/>
              <a:gd name="connsiteX71" fmla="*/ 3064747 w 11867103"/>
              <a:gd name="connsiteY71" fmla="*/ 2833635 h 2964609"/>
              <a:gd name="connsiteX72" fmla="*/ 2009670 w 11867103"/>
              <a:gd name="connsiteY72" fmla="*/ 2843684 h 2964609"/>
              <a:gd name="connsiteX73" fmla="*/ 1678075 w 11867103"/>
              <a:gd name="connsiteY73" fmla="*/ 2934119 h 2964609"/>
              <a:gd name="connsiteX74" fmla="*/ 1607736 w 11867103"/>
              <a:gd name="connsiteY74" fmla="*/ 2964264 h 2964609"/>
              <a:gd name="connsiteX75" fmla="*/ 1135464 w 11867103"/>
              <a:gd name="connsiteY75" fmla="*/ 2944167 h 2964609"/>
              <a:gd name="connsiteX76" fmla="*/ 944545 w 11867103"/>
              <a:gd name="connsiteY76" fmla="*/ 2914022 h 2964609"/>
              <a:gd name="connsiteX77" fmla="*/ 723481 w 11867103"/>
              <a:gd name="connsiteY77" fmla="*/ 2873829 h 2964609"/>
              <a:gd name="connsiteX78" fmla="*/ 643095 w 11867103"/>
              <a:gd name="connsiteY78" fmla="*/ 2863780 h 2964609"/>
              <a:gd name="connsiteX79" fmla="*/ 371789 w 11867103"/>
              <a:gd name="connsiteY79" fmla="*/ 2823587 h 2964609"/>
              <a:gd name="connsiteX80" fmla="*/ 0 w 11867103"/>
              <a:gd name="connsiteY80" fmla="*/ 2813539 h 2964609"/>
              <a:gd name="connsiteX0" fmla="*/ 120580 w 11867103"/>
              <a:gd name="connsiteY0" fmla="*/ 50242 h 2964609"/>
              <a:gd name="connsiteX1" fmla="*/ 281354 w 11867103"/>
              <a:gd name="connsiteY1" fmla="*/ 40193 h 2964609"/>
              <a:gd name="connsiteX2" fmla="*/ 673240 w 11867103"/>
              <a:gd name="connsiteY2" fmla="*/ 30145 h 2964609"/>
              <a:gd name="connsiteX3" fmla="*/ 1356528 w 11867103"/>
              <a:gd name="connsiteY3" fmla="*/ 80387 h 2964609"/>
              <a:gd name="connsiteX4" fmla="*/ 1758462 w 11867103"/>
              <a:gd name="connsiteY4" fmla="*/ 40193 h 2964609"/>
              <a:gd name="connsiteX5" fmla="*/ 2140299 w 11867103"/>
              <a:gd name="connsiteY5" fmla="*/ 40193 h 2964609"/>
              <a:gd name="connsiteX6" fmla="*/ 4652387 w 11867103"/>
              <a:gd name="connsiteY6" fmla="*/ 60290 h 2964609"/>
              <a:gd name="connsiteX7" fmla="*/ 4692580 w 11867103"/>
              <a:gd name="connsiteY7" fmla="*/ 70339 h 2964609"/>
              <a:gd name="connsiteX8" fmla="*/ 6169688 w 11867103"/>
              <a:gd name="connsiteY8" fmla="*/ 110532 h 2964609"/>
              <a:gd name="connsiteX9" fmla="*/ 6420897 w 11867103"/>
              <a:gd name="connsiteY9" fmla="*/ 90435 h 2964609"/>
              <a:gd name="connsiteX10" fmla="*/ 6511332 w 11867103"/>
              <a:gd name="connsiteY10" fmla="*/ 30145 h 2964609"/>
              <a:gd name="connsiteX11" fmla="*/ 6571622 w 11867103"/>
              <a:gd name="connsiteY11" fmla="*/ 20097 h 2964609"/>
              <a:gd name="connsiteX12" fmla="*/ 6641961 w 11867103"/>
              <a:gd name="connsiteY12" fmla="*/ 0 h 2964609"/>
              <a:gd name="connsiteX13" fmla="*/ 7204668 w 11867103"/>
              <a:gd name="connsiteY13" fmla="*/ 10048 h 2964609"/>
              <a:gd name="connsiteX14" fmla="*/ 7285055 w 11867103"/>
              <a:gd name="connsiteY14" fmla="*/ 30145 h 2964609"/>
              <a:gd name="connsiteX15" fmla="*/ 7375490 w 11867103"/>
              <a:gd name="connsiteY15" fmla="*/ 40193 h 2964609"/>
              <a:gd name="connsiteX16" fmla="*/ 7928150 w 11867103"/>
              <a:gd name="connsiteY16" fmla="*/ 60290 h 2964609"/>
              <a:gd name="connsiteX17" fmla="*/ 8109020 w 11867103"/>
              <a:gd name="connsiteY17" fmla="*/ 80387 h 2964609"/>
              <a:gd name="connsiteX18" fmla="*/ 8219552 w 11867103"/>
              <a:gd name="connsiteY18" fmla="*/ 90435 h 2964609"/>
              <a:gd name="connsiteX19" fmla="*/ 8299939 w 11867103"/>
              <a:gd name="connsiteY19" fmla="*/ 100484 h 2964609"/>
              <a:gd name="connsiteX20" fmla="*/ 8521002 w 11867103"/>
              <a:gd name="connsiteY20" fmla="*/ 110532 h 2964609"/>
              <a:gd name="connsiteX21" fmla="*/ 9515789 w 11867103"/>
              <a:gd name="connsiteY21" fmla="*/ 100484 h 2964609"/>
              <a:gd name="connsiteX22" fmla="*/ 9606224 w 11867103"/>
              <a:gd name="connsiteY22" fmla="*/ 90435 h 2964609"/>
              <a:gd name="connsiteX23" fmla="*/ 9716756 w 11867103"/>
              <a:gd name="connsiteY23" fmla="*/ 80387 h 2964609"/>
              <a:gd name="connsiteX24" fmla="*/ 9797143 w 11867103"/>
              <a:gd name="connsiteY24" fmla="*/ 70339 h 2964609"/>
              <a:gd name="connsiteX25" fmla="*/ 9947868 w 11867103"/>
              <a:gd name="connsiteY25" fmla="*/ 60290 h 2964609"/>
              <a:gd name="connsiteX26" fmla="*/ 10791930 w 11867103"/>
              <a:gd name="connsiteY26" fmla="*/ 30145 h 2964609"/>
              <a:gd name="connsiteX27" fmla="*/ 11736475 w 11867103"/>
              <a:gd name="connsiteY27" fmla="*/ 50242 h 2964609"/>
              <a:gd name="connsiteX28" fmla="*/ 11766620 w 11867103"/>
              <a:gd name="connsiteY28" fmla="*/ 80387 h 2964609"/>
              <a:gd name="connsiteX29" fmla="*/ 11786717 w 11867103"/>
              <a:gd name="connsiteY29" fmla="*/ 120580 h 2964609"/>
              <a:gd name="connsiteX30" fmla="*/ 11806813 w 11867103"/>
              <a:gd name="connsiteY30" fmla="*/ 211015 h 2964609"/>
              <a:gd name="connsiteX31" fmla="*/ 11816862 w 11867103"/>
              <a:gd name="connsiteY31" fmla="*/ 251209 h 2964609"/>
              <a:gd name="connsiteX32" fmla="*/ 11826910 w 11867103"/>
              <a:gd name="connsiteY32" fmla="*/ 341644 h 2964609"/>
              <a:gd name="connsiteX33" fmla="*/ 11836958 w 11867103"/>
              <a:gd name="connsiteY33" fmla="*/ 422031 h 2964609"/>
              <a:gd name="connsiteX34" fmla="*/ 11826910 w 11867103"/>
              <a:gd name="connsiteY34" fmla="*/ 733530 h 2964609"/>
              <a:gd name="connsiteX35" fmla="*/ 11816862 w 11867103"/>
              <a:gd name="connsiteY35" fmla="*/ 793820 h 2964609"/>
              <a:gd name="connsiteX36" fmla="*/ 11806813 w 11867103"/>
              <a:gd name="connsiteY36" fmla="*/ 864158 h 2964609"/>
              <a:gd name="connsiteX37" fmla="*/ 11816862 w 11867103"/>
              <a:gd name="connsiteY37" fmla="*/ 2331218 h 2964609"/>
              <a:gd name="connsiteX38" fmla="*/ 11826910 w 11867103"/>
              <a:gd name="connsiteY38" fmla="*/ 2401556 h 2964609"/>
              <a:gd name="connsiteX39" fmla="*/ 11836958 w 11867103"/>
              <a:gd name="connsiteY39" fmla="*/ 2431701 h 2964609"/>
              <a:gd name="connsiteX40" fmla="*/ 11857055 w 11867103"/>
              <a:gd name="connsiteY40" fmla="*/ 2562330 h 2964609"/>
              <a:gd name="connsiteX41" fmla="*/ 11867103 w 11867103"/>
              <a:gd name="connsiteY41" fmla="*/ 2602523 h 2964609"/>
              <a:gd name="connsiteX42" fmla="*/ 11857055 w 11867103"/>
              <a:gd name="connsiteY42" fmla="*/ 2833635 h 2964609"/>
              <a:gd name="connsiteX43" fmla="*/ 11836958 w 11867103"/>
              <a:gd name="connsiteY43" fmla="*/ 2863780 h 2964609"/>
              <a:gd name="connsiteX44" fmla="*/ 11033090 w 11867103"/>
              <a:gd name="connsiteY44" fmla="*/ 2853732 h 2964609"/>
              <a:gd name="connsiteX45" fmla="*/ 10621108 w 11867103"/>
              <a:gd name="connsiteY45" fmla="*/ 2843684 h 2964609"/>
              <a:gd name="connsiteX46" fmla="*/ 10128739 w 11867103"/>
              <a:gd name="connsiteY46" fmla="*/ 2853732 h 2964609"/>
              <a:gd name="connsiteX47" fmla="*/ 10048352 w 11867103"/>
              <a:gd name="connsiteY47" fmla="*/ 2863780 h 2964609"/>
              <a:gd name="connsiteX48" fmla="*/ 9555982 w 11867103"/>
              <a:gd name="connsiteY48" fmla="*/ 2853732 h 2964609"/>
              <a:gd name="connsiteX49" fmla="*/ 9445451 w 11867103"/>
              <a:gd name="connsiteY49" fmla="*/ 2843684 h 2964609"/>
              <a:gd name="connsiteX50" fmla="*/ 9415306 w 11867103"/>
              <a:gd name="connsiteY50" fmla="*/ 2823587 h 2964609"/>
              <a:gd name="connsiteX51" fmla="*/ 9204290 w 11867103"/>
              <a:gd name="connsiteY51" fmla="*/ 2803490 h 2964609"/>
              <a:gd name="connsiteX52" fmla="*/ 9073662 w 11867103"/>
              <a:gd name="connsiteY52" fmla="*/ 2783393 h 2964609"/>
              <a:gd name="connsiteX53" fmla="*/ 8812404 w 11867103"/>
              <a:gd name="connsiteY53" fmla="*/ 2773345 h 2964609"/>
              <a:gd name="connsiteX54" fmla="*/ 8400422 w 11867103"/>
              <a:gd name="connsiteY54" fmla="*/ 2763297 h 2964609"/>
              <a:gd name="connsiteX55" fmla="*/ 8269793 w 11867103"/>
              <a:gd name="connsiteY55" fmla="*/ 2753248 h 2964609"/>
              <a:gd name="connsiteX56" fmla="*/ 7797521 w 11867103"/>
              <a:gd name="connsiteY56" fmla="*/ 2773345 h 2964609"/>
              <a:gd name="connsiteX57" fmla="*/ 7717134 w 11867103"/>
              <a:gd name="connsiteY57" fmla="*/ 2783393 h 2964609"/>
              <a:gd name="connsiteX58" fmla="*/ 7486022 w 11867103"/>
              <a:gd name="connsiteY58" fmla="*/ 2813539 h 2964609"/>
              <a:gd name="connsiteX59" fmla="*/ 7395587 w 11867103"/>
              <a:gd name="connsiteY59" fmla="*/ 2833635 h 2964609"/>
              <a:gd name="connsiteX60" fmla="*/ 7325248 w 11867103"/>
              <a:gd name="connsiteY60" fmla="*/ 2843684 h 2964609"/>
              <a:gd name="connsiteX61" fmla="*/ 6863024 w 11867103"/>
              <a:gd name="connsiteY61" fmla="*/ 2833635 h 2964609"/>
              <a:gd name="connsiteX62" fmla="*/ 6722347 w 11867103"/>
              <a:gd name="connsiteY62" fmla="*/ 2823587 h 2964609"/>
              <a:gd name="connsiteX63" fmla="*/ 4903596 w 11867103"/>
              <a:gd name="connsiteY63" fmla="*/ 2873829 h 2964609"/>
              <a:gd name="connsiteX64" fmla="*/ 4722725 w 11867103"/>
              <a:gd name="connsiteY64" fmla="*/ 2914022 h 2964609"/>
              <a:gd name="connsiteX65" fmla="*/ 4300695 w 11867103"/>
              <a:gd name="connsiteY65" fmla="*/ 2893925 h 2964609"/>
              <a:gd name="connsiteX66" fmla="*/ 4059534 w 11867103"/>
              <a:gd name="connsiteY66" fmla="*/ 2853732 h 2964609"/>
              <a:gd name="connsiteX67" fmla="*/ 3768132 w 11867103"/>
              <a:gd name="connsiteY67" fmla="*/ 2823587 h 2964609"/>
              <a:gd name="connsiteX68" fmla="*/ 3627455 w 11867103"/>
              <a:gd name="connsiteY68" fmla="*/ 2813539 h 2964609"/>
              <a:gd name="connsiteX69" fmla="*/ 3125037 w 11867103"/>
              <a:gd name="connsiteY69" fmla="*/ 2823587 h 2964609"/>
              <a:gd name="connsiteX70" fmla="*/ 3064747 w 11867103"/>
              <a:gd name="connsiteY70" fmla="*/ 2833635 h 2964609"/>
              <a:gd name="connsiteX71" fmla="*/ 2009670 w 11867103"/>
              <a:gd name="connsiteY71" fmla="*/ 2843684 h 2964609"/>
              <a:gd name="connsiteX72" fmla="*/ 1678075 w 11867103"/>
              <a:gd name="connsiteY72" fmla="*/ 2934119 h 2964609"/>
              <a:gd name="connsiteX73" fmla="*/ 1607736 w 11867103"/>
              <a:gd name="connsiteY73" fmla="*/ 2964264 h 2964609"/>
              <a:gd name="connsiteX74" fmla="*/ 1135464 w 11867103"/>
              <a:gd name="connsiteY74" fmla="*/ 2944167 h 2964609"/>
              <a:gd name="connsiteX75" fmla="*/ 944545 w 11867103"/>
              <a:gd name="connsiteY75" fmla="*/ 2914022 h 2964609"/>
              <a:gd name="connsiteX76" fmla="*/ 723481 w 11867103"/>
              <a:gd name="connsiteY76" fmla="*/ 2873829 h 2964609"/>
              <a:gd name="connsiteX77" fmla="*/ 643095 w 11867103"/>
              <a:gd name="connsiteY77" fmla="*/ 2863780 h 2964609"/>
              <a:gd name="connsiteX78" fmla="*/ 371789 w 11867103"/>
              <a:gd name="connsiteY78" fmla="*/ 2823587 h 2964609"/>
              <a:gd name="connsiteX79" fmla="*/ 0 w 11867103"/>
              <a:gd name="connsiteY79" fmla="*/ 2813539 h 2964609"/>
              <a:gd name="connsiteX0" fmla="*/ 120580 w 11867103"/>
              <a:gd name="connsiteY0" fmla="*/ 51336 h 2965703"/>
              <a:gd name="connsiteX1" fmla="*/ 281354 w 11867103"/>
              <a:gd name="connsiteY1" fmla="*/ 41287 h 2965703"/>
              <a:gd name="connsiteX2" fmla="*/ 673240 w 11867103"/>
              <a:gd name="connsiteY2" fmla="*/ 31239 h 2965703"/>
              <a:gd name="connsiteX3" fmla="*/ 1356528 w 11867103"/>
              <a:gd name="connsiteY3" fmla="*/ 81481 h 2965703"/>
              <a:gd name="connsiteX4" fmla="*/ 1758462 w 11867103"/>
              <a:gd name="connsiteY4" fmla="*/ 41287 h 2965703"/>
              <a:gd name="connsiteX5" fmla="*/ 2140299 w 11867103"/>
              <a:gd name="connsiteY5" fmla="*/ 41287 h 2965703"/>
              <a:gd name="connsiteX6" fmla="*/ 4652387 w 11867103"/>
              <a:gd name="connsiteY6" fmla="*/ 61384 h 2965703"/>
              <a:gd name="connsiteX7" fmla="*/ 4692580 w 11867103"/>
              <a:gd name="connsiteY7" fmla="*/ 71433 h 2965703"/>
              <a:gd name="connsiteX8" fmla="*/ 6169688 w 11867103"/>
              <a:gd name="connsiteY8" fmla="*/ 111626 h 2965703"/>
              <a:gd name="connsiteX9" fmla="*/ 6420897 w 11867103"/>
              <a:gd name="connsiteY9" fmla="*/ 91529 h 2965703"/>
              <a:gd name="connsiteX10" fmla="*/ 6511332 w 11867103"/>
              <a:gd name="connsiteY10" fmla="*/ 31239 h 2965703"/>
              <a:gd name="connsiteX11" fmla="*/ 6641961 w 11867103"/>
              <a:gd name="connsiteY11" fmla="*/ 1094 h 2965703"/>
              <a:gd name="connsiteX12" fmla="*/ 7204668 w 11867103"/>
              <a:gd name="connsiteY12" fmla="*/ 11142 h 2965703"/>
              <a:gd name="connsiteX13" fmla="*/ 7285055 w 11867103"/>
              <a:gd name="connsiteY13" fmla="*/ 31239 h 2965703"/>
              <a:gd name="connsiteX14" fmla="*/ 7375490 w 11867103"/>
              <a:gd name="connsiteY14" fmla="*/ 41287 h 2965703"/>
              <a:gd name="connsiteX15" fmla="*/ 7928150 w 11867103"/>
              <a:gd name="connsiteY15" fmla="*/ 61384 h 2965703"/>
              <a:gd name="connsiteX16" fmla="*/ 8109020 w 11867103"/>
              <a:gd name="connsiteY16" fmla="*/ 81481 h 2965703"/>
              <a:gd name="connsiteX17" fmla="*/ 8219552 w 11867103"/>
              <a:gd name="connsiteY17" fmla="*/ 91529 h 2965703"/>
              <a:gd name="connsiteX18" fmla="*/ 8299939 w 11867103"/>
              <a:gd name="connsiteY18" fmla="*/ 101578 h 2965703"/>
              <a:gd name="connsiteX19" fmla="*/ 8521002 w 11867103"/>
              <a:gd name="connsiteY19" fmla="*/ 111626 h 2965703"/>
              <a:gd name="connsiteX20" fmla="*/ 9515789 w 11867103"/>
              <a:gd name="connsiteY20" fmla="*/ 101578 h 2965703"/>
              <a:gd name="connsiteX21" fmla="*/ 9606224 w 11867103"/>
              <a:gd name="connsiteY21" fmla="*/ 91529 h 2965703"/>
              <a:gd name="connsiteX22" fmla="*/ 9716756 w 11867103"/>
              <a:gd name="connsiteY22" fmla="*/ 81481 h 2965703"/>
              <a:gd name="connsiteX23" fmla="*/ 9797143 w 11867103"/>
              <a:gd name="connsiteY23" fmla="*/ 71433 h 2965703"/>
              <a:gd name="connsiteX24" fmla="*/ 9947868 w 11867103"/>
              <a:gd name="connsiteY24" fmla="*/ 61384 h 2965703"/>
              <a:gd name="connsiteX25" fmla="*/ 10791930 w 11867103"/>
              <a:gd name="connsiteY25" fmla="*/ 31239 h 2965703"/>
              <a:gd name="connsiteX26" fmla="*/ 11736475 w 11867103"/>
              <a:gd name="connsiteY26" fmla="*/ 51336 h 2965703"/>
              <a:gd name="connsiteX27" fmla="*/ 11766620 w 11867103"/>
              <a:gd name="connsiteY27" fmla="*/ 81481 h 2965703"/>
              <a:gd name="connsiteX28" fmla="*/ 11786717 w 11867103"/>
              <a:gd name="connsiteY28" fmla="*/ 121674 h 2965703"/>
              <a:gd name="connsiteX29" fmla="*/ 11806813 w 11867103"/>
              <a:gd name="connsiteY29" fmla="*/ 212109 h 2965703"/>
              <a:gd name="connsiteX30" fmla="*/ 11816862 w 11867103"/>
              <a:gd name="connsiteY30" fmla="*/ 252303 h 2965703"/>
              <a:gd name="connsiteX31" fmla="*/ 11826910 w 11867103"/>
              <a:gd name="connsiteY31" fmla="*/ 342738 h 2965703"/>
              <a:gd name="connsiteX32" fmla="*/ 11836958 w 11867103"/>
              <a:gd name="connsiteY32" fmla="*/ 423125 h 2965703"/>
              <a:gd name="connsiteX33" fmla="*/ 11826910 w 11867103"/>
              <a:gd name="connsiteY33" fmla="*/ 734624 h 2965703"/>
              <a:gd name="connsiteX34" fmla="*/ 11816862 w 11867103"/>
              <a:gd name="connsiteY34" fmla="*/ 794914 h 2965703"/>
              <a:gd name="connsiteX35" fmla="*/ 11806813 w 11867103"/>
              <a:gd name="connsiteY35" fmla="*/ 865252 h 2965703"/>
              <a:gd name="connsiteX36" fmla="*/ 11816862 w 11867103"/>
              <a:gd name="connsiteY36" fmla="*/ 2332312 h 2965703"/>
              <a:gd name="connsiteX37" fmla="*/ 11826910 w 11867103"/>
              <a:gd name="connsiteY37" fmla="*/ 2402650 h 2965703"/>
              <a:gd name="connsiteX38" fmla="*/ 11836958 w 11867103"/>
              <a:gd name="connsiteY38" fmla="*/ 2432795 h 2965703"/>
              <a:gd name="connsiteX39" fmla="*/ 11857055 w 11867103"/>
              <a:gd name="connsiteY39" fmla="*/ 2563424 h 2965703"/>
              <a:gd name="connsiteX40" fmla="*/ 11867103 w 11867103"/>
              <a:gd name="connsiteY40" fmla="*/ 2603617 h 2965703"/>
              <a:gd name="connsiteX41" fmla="*/ 11857055 w 11867103"/>
              <a:gd name="connsiteY41" fmla="*/ 2834729 h 2965703"/>
              <a:gd name="connsiteX42" fmla="*/ 11836958 w 11867103"/>
              <a:gd name="connsiteY42" fmla="*/ 2864874 h 2965703"/>
              <a:gd name="connsiteX43" fmla="*/ 11033090 w 11867103"/>
              <a:gd name="connsiteY43" fmla="*/ 2854826 h 2965703"/>
              <a:gd name="connsiteX44" fmla="*/ 10621108 w 11867103"/>
              <a:gd name="connsiteY44" fmla="*/ 2844778 h 2965703"/>
              <a:gd name="connsiteX45" fmla="*/ 10128739 w 11867103"/>
              <a:gd name="connsiteY45" fmla="*/ 2854826 h 2965703"/>
              <a:gd name="connsiteX46" fmla="*/ 10048352 w 11867103"/>
              <a:gd name="connsiteY46" fmla="*/ 2864874 h 2965703"/>
              <a:gd name="connsiteX47" fmla="*/ 9555982 w 11867103"/>
              <a:gd name="connsiteY47" fmla="*/ 2854826 h 2965703"/>
              <a:gd name="connsiteX48" fmla="*/ 9445451 w 11867103"/>
              <a:gd name="connsiteY48" fmla="*/ 2844778 h 2965703"/>
              <a:gd name="connsiteX49" fmla="*/ 9415306 w 11867103"/>
              <a:gd name="connsiteY49" fmla="*/ 2824681 h 2965703"/>
              <a:gd name="connsiteX50" fmla="*/ 9204290 w 11867103"/>
              <a:gd name="connsiteY50" fmla="*/ 2804584 h 2965703"/>
              <a:gd name="connsiteX51" fmla="*/ 9073662 w 11867103"/>
              <a:gd name="connsiteY51" fmla="*/ 2784487 h 2965703"/>
              <a:gd name="connsiteX52" fmla="*/ 8812404 w 11867103"/>
              <a:gd name="connsiteY52" fmla="*/ 2774439 h 2965703"/>
              <a:gd name="connsiteX53" fmla="*/ 8400422 w 11867103"/>
              <a:gd name="connsiteY53" fmla="*/ 2764391 h 2965703"/>
              <a:gd name="connsiteX54" fmla="*/ 8269793 w 11867103"/>
              <a:gd name="connsiteY54" fmla="*/ 2754342 h 2965703"/>
              <a:gd name="connsiteX55" fmla="*/ 7797521 w 11867103"/>
              <a:gd name="connsiteY55" fmla="*/ 2774439 h 2965703"/>
              <a:gd name="connsiteX56" fmla="*/ 7717134 w 11867103"/>
              <a:gd name="connsiteY56" fmla="*/ 2784487 h 2965703"/>
              <a:gd name="connsiteX57" fmla="*/ 7486022 w 11867103"/>
              <a:gd name="connsiteY57" fmla="*/ 2814633 h 2965703"/>
              <a:gd name="connsiteX58" fmla="*/ 7395587 w 11867103"/>
              <a:gd name="connsiteY58" fmla="*/ 2834729 h 2965703"/>
              <a:gd name="connsiteX59" fmla="*/ 7325248 w 11867103"/>
              <a:gd name="connsiteY59" fmla="*/ 2844778 h 2965703"/>
              <a:gd name="connsiteX60" fmla="*/ 6863024 w 11867103"/>
              <a:gd name="connsiteY60" fmla="*/ 2834729 h 2965703"/>
              <a:gd name="connsiteX61" fmla="*/ 6722347 w 11867103"/>
              <a:gd name="connsiteY61" fmla="*/ 2824681 h 2965703"/>
              <a:gd name="connsiteX62" fmla="*/ 4903596 w 11867103"/>
              <a:gd name="connsiteY62" fmla="*/ 2874923 h 2965703"/>
              <a:gd name="connsiteX63" fmla="*/ 4722725 w 11867103"/>
              <a:gd name="connsiteY63" fmla="*/ 2915116 h 2965703"/>
              <a:gd name="connsiteX64" fmla="*/ 4300695 w 11867103"/>
              <a:gd name="connsiteY64" fmla="*/ 2895019 h 2965703"/>
              <a:gd name="connsiteX65" fmla="*/ 4059534 w 11867103"/>
              <a:gd name="connsiteY65" fmla="*/ 2854826 h 2965703"/>
              <a:gd name="connsiteX66" fmla="*/ 3768132 w 11867103"/>
              <a:gd name="connsiteY66" fmla="*/ 2824681 h 2965703"/>
              <a:gd name="connsiteX67" fmla="*/ 3627455 w 11867103"/>
              <a:gd name="connsiteY67" fmla="*/ 2814633 h 2965703"/>
              <a:gd name="connsiteX68" fmla="*/ 3125037 w 11867103"/>
              <a:gd name="connsiteY68" fmla="*/ 2824681 h 2965703"/>
              <a:gd name="connsiteX69" fmla="*/ 3064747 w 11867103"/>
              <a:gd name="connsiteY69" fmla="*/ 2834729 h 2965703"/>
              <a:gd name="connsiteX70" fmla="*/ 2009670 w 11867103"/>
              <a:gd name="connsiteY70" fmla="*/ 2844778 h 2965703"/>
              <a:gd name="connsiteX71" fmla="*/ 1678075 w 11867103"/>
              <a:gd name="connsiteY71" fmla="*/ 2935213 h 2965703"/>
              <a:gd name="connsiteX72" fmla="*/ 1607736 w 11867103"/>
              <a:gd name="connsiteY72" fmla="*/ 2965358 h 2965703"/>
              <a:gd name="connsiteX73" fmla="*/ 1135464 w 11867103"/>
              <a:gd name="connsiteY73" fmla="*/ 2945261 h 2965703"/>
              <a:gd name="connsiteX74" fmla="*/ 944545 w 11867103"/>
              <a:gd name="connsiteY74" fmla="*/ 2915116 h 2965703"/>
              <a:gd name="connsiteX75" fmla="*/ 723481 w 11867103"/>
              <a:gd name="connsiteY75" fmla="*/ 2874923 h 2965703"/>
              <a:gd name="connsiteX76" fmla="*/ 643095 w 11867103"/>
              <a:gd name="connsiteY76" fmla="*/ 2864874 h 2965703"/>
              <a:gd name="connsiteX77" fmla="*/ 371789 w 11867103"/>
              <a:gd name="connsiteY77" fmla="*/ 2824681 h 2965703"/>
              <a:gd name="connsiteX78" fmla="*/ 0 w 11867103"/>
              <a:gd name="connsiteY78" fmla="*/ 2814633 h 2965703"/>
              <a:gd name="connsiteX0" fmla="*/ 120580 w 11867103"/>
              <a:gd name="connsiteY0" fmla="*/ 40194 h 2954561"/>
              <a:gd name="connsiteX1" fmla="*/ 281354 w 11867103"/>
              <a:gd name="connsiteY1" fmla="*/ 30145 h 2954561"/>
              <a:gd name="connsiteX2" fmla="*/ 673240 w 11867103"/>
              <a:gd name="connsiteY2" fmla="*/ 20097 h 2954561"/>
              <a:gd name="connsiteX3" fmla="*/ 1356528 w 11867103"/>
              <a:gd name="connsiteY3" fmla="*/ 70339 h 2954561"/>
              <a:gd name="connsiteX4" fmla="*/ 1758462 w 11867103"/>
              <a:gd name="connsiteY4" fmla="*/ 30145 h 2954561"/>
              <a:gd name="connsiteX5" fmla="*/ 2140299 w 11867103"/>
              <a:gd name="connsiteY5" fmla="*/ 30145 h 2954561"/>
              <a:gd name="connsiteX6" fmla="*/ 4652387 w 11867103"/>
              <a:gd name="connsiteY6" fmla="*/ 50242 h 2954561"/>
              <a:gd name="connsiteX7" fmla="*/ 4692580 w 11867103"/>
              <a:gd name="connsiteY7" fmla="*/ 60291 h 2954561"/>
              <a:gd name="connsiteX8" fmla="*/ 6169688 w 11867103"/>
              <a:gd name="connsiteY8" fmla="*/ 100484 h 2954561"/>
              <a:gd name="connsiteX9" fmla="*/ 6420897 w 11867103"/>
              <a:gd name="connsiteY9" fmla="*/ 80387 h 2954561"/>
              <a:gd name="connsiteX10" fmla="*/ 6511332 w 11867103"/>
              <a:gd name="connsiteY10" fmla="*/ 20097 h 2954561"/>
              <a:gd name="connsiteX11" fmla="*/ 7204668 w 11867103"/>
              <a:gd name="connsiteY11" fmla="*/ 0 h 2954561"/>
              <a:gd name="connsiteX12" fmla="*/ 7285055 w 11867103"/>
              <a:gd name="connsiteY12" fmla="*/ 20097 h 2954561"/>
              <a:gd name="connsiteX13" fmla="*/ 7375490 w 11867103"/>
              <a:gd name="connsiteY13" fmla="*/ 30145 h 2954561"/>
              <a:gd name="connsiteX14" fmla="*/ 7928150 w 11867103"/>
              <a:gd name="connsiteY14" fmla="*/ 50242 h 2954561"/>
              <a:gd name="connsiteX15" fmla="*/ 8109020 w 11867103"/>
              <a:gd name="connsiteY15" fmla="*/ 70339 h 2954561"/>
              <a:gd name="connsiteX16" fmla="*/ 8219552 w 11867103"/>
              <a:gd name="connsiteY16" fmla="*/ 80387 h 2954561"/>
              <a:gd name="connsiteX17" fmla="*/ 8299939 w 11867103"/>
              <a:gd name="connsiteY17" fmla="*/ 90436 h 2954561"/>
              <a:gd name="connsiteX18" fmla="*/ 8521002 w 11867103"/>
              <a:gd name="connsiteY18" fmla="*/ 100484 h 2954561"/>
              <a:gd name="connsiteX19" fmla="*/ 9515789 w 11867103"/>
              <a:gd name="connsiteY19" fmla="*/ 90436 h 2954561"/>
              <a:gd name="connsiteX20" fmla="*/ 9606224 w 11867103"/>
              <a:gd name="connsiteY20" fmla="*/ 80387 h 2954561"/>
              <a:gd name="connsiteX21" fmla="*/ 9716756 w 11867103"/>
              <a:gd name="connsiteY21" fmla="*/ 70339 h 2954561"/>
              <a:gd name="connsiteX22" fmla="*/ 9797143 w 11867103"/>
              <a:gd name="connsiteY22" fmla="*/ 60291 h 2954561"/>
              <a:gd name="connsiteX23" fmla="*/ 9947868 w 11867103"/>
              <a:gd name="connsiteY23" fmla="*/ 50242 h 2954561"/>
              <a:gd name="connsiteX24" fmla="*/ 10791930 w 11867103"/>
              <a:gd name="connsiteY24" fmla="*/ 20097 h 2954561"/>
              <a:gd name="connsiteX25" fmla="*/ 11736475 w 11867103"/>
              <a:gd name="connsiteY25" fmla="*/ 40194 h 2954561"/>
              <a:gd name="connsiteX26" fmla="*/ 11766620 w 11867103"/>
              <a:gd name="connsiteY26" fmla="*/ 70339 h 2954561"/>
              <a:gd name="connsiteX27" fmla="*/ 11786717 w 11867103"/>
              <a:gd name="connsiteY27" fmla="*/ 110532 h 2954561"/>
              <a:gd name="connsiteX28" fmla="*/ 11806813 w 11867103"/>
              <a:gd name="connsiteY28" fmla="*/ 200967 h 2954561"/>
              <a:gd name="connsiteX29" fmla="*/ 11816862 w 11867103"/>
              <a:gd name="connsiteY29" fmla="*/ 241161 h 2954561"/>
              <a:gd name="connsiteX30" fmla="*/ 11826910 w 11867103"/>
              <a:gd name="connsiteY30" fmla="*/ 331596 h 2954561"/>
              <a:gd name="connsiteX31" fmla="*/ 11836958 w 11867103"/>
              <a:gd name="connsiteY31" fmla="*/ 411983 h 2954561"/>
              <a:gd name="connsiteX32" fmla="*/ 11826910 w 11867103"/>
              <a:gd name="connsiteY32" fmla="*/ 723482 h 2954561"/>
              <a:gd name="connsiteX33" fmla="*/ 11816862 w 11867103"/>
              <a:gd name="connsiteY33" fmla="*/ 783772 h 2954561"/>
              <a:gd name="connsiteX34" fmla="*/ 11806813 w 11867103"/>
              <a:gd name="connsiteY34" fmla="*/ 854110 h 2954561"/>
              <a:gd name="connsiteX35" fmla="*/ 11816862 w 11867103"/>
              <a:gd name="connsiteY35" fmla="*/ 2321170 h 2954561"/>
              <a:gd name="connsiteX36" fmla="*/ 11826910 w 11867103"/>
              <a:gd name="connsiteY36" fmla="*/ 2391508 h 2954561"/>
              <a:gd name="connsiteX37" fmla="*/ 11836958 w 11867103"/>
              <a:gd name="connsiteY37" fmla="*/ 2421653 h 2954561"/>
              <a:gd name="connsiteX38" fmla="*/ 11857055 w 11867103"/>
              <a:gd name="connsiteY38" fmla="*/ 2552282 h 2954561"/>
              <a:gd name="connsiteX39" fmla="*/ 11867103 w 11867103"/>
              <a:gd name="connsiteY39" fmla="*/ 2592475 h 2954561"/>
              <a:gd name="connsiteX40" fmla="*/ 11857055 w 11867103"/>
              <a:gd name="connsiteY40" fmla="*/ 2823587 h 2954561"/>
              <a:gd name="connsiteX41" fmla="*/ 11836958 w 11867103"/>
              <a:gd name="connsiteY41" fmla="*/ 2853732 h 2954561"/>
              <a:gd name="connsiteX42" fmla="*/ 11033090 w 11867103"/>
              <a:gd name="connsiteY42" fmla="*/ 2843684 h 2954561"/>
              <a:gd name="connsiteX43" fmla="*/ 10621108 w 11867103"/>
              <a:gd name="connsiteY43" fmla="*/ 2833636 h 2954561"/>
              <a:gd name="connsiteX44" fmla="*/ 10128739 w 11867103"/>
              <a:gd name="connsiteY44" fmla="*/ 2843684 h 2954561"/>
              <a:gd name="connsiteX45" fmla="*/ 10048352 w 11867103"/>
              <a:gd name="connsiteY45" fmla="*/ 2853732 h 2954561"/>
              <a:gd name="connsiteX46" fmla="*/ 9555982 w 11867103"/>
              <a:gd name="connsiteY46" fmla="*/ 2843684 h 2954561"/>
              <a:gd name="connsiteX47" fmla="*/ 9445451 w 11867103"/>
              <a:gd name="connsiteY47" fmla="*/ 2833636 h 2954561"/>
              <a:gd name="connsiteX48" fmla="*/ 9415306 w 11867103"/>
              <a:gd name="connsiteY48" fmla="*/ 2813539 h 2954561"/>
              <a:gd name="connsiteX49" fmla="*/ 9204290 w 11867103"/>
              <a:gd name="connsiteY49" fmla="*/ 2793442 h 2954561"/>
              <a:gd name="connsiteX50" fmla="*/ 9073662 w 11867103"/>
              <a:gd name="connsiteY50" fmla="*/ 2773345 h 2954561"/>
              <a:gd name="connsiteX51" fmla="*/ 8812404 w 11867103"/>
              <a:gd name="connsiteY51" fmla="*/ 2763297 h 2954561"/>
              <a:gd name="connsiteX52" fmla="*/ 8400422 w 11867103"/>
              <a:gd name="connsiteY52" fmla="*/ 2753249 h 2954561"/>
              <a:gd name="connsiteX53" fmla="*/ 8269793 w 11867103"/>
              <a:gd name="connsiteY53" fmla="*/ 2743200 h 2954561"/>
              <a:gd name="connsiteX54" fmla="*/ 7797521 w 11867103"/>
              <a:gd name="connsiteY54" fmla="*/ 2763297 h 2954561"/>
              <a:gd name="connsiteX55" fmla="*/ 7717134 w 11867103"/>
              <a:gd name="connsiteY55" fmla="*/ 2773345 h 2954561"/>
              <a:gd name="connsiteX56" fmla="*/ 7486022 w 11867103"/>
              <a:gd name="connsiteY56" fmla="*/ 2803491 h 2954561"/>
              <a:gd name="connsiteX57" fmla="*/ 7395587 w 11867103"/>
              <a:gd name="connsiteY57" fmla="*/ 2823587 h 2954561"/>
              <a:gd name="connsiteX58" fmla="*/ 7325248 w 11867103"/>
              <a:gd name="connsiteY58" fmla="*/ 2833636 h 2954561"/>
              <a:gd name="connsiteX59" fmla="*/ 6863024 w 11867103"/>
              <a:gd name="connsiteY59" fmla="*/ 2823587 h 2954561"/>
              <a:gd name="connsiteX60" fmla="*/ 6722347 w 11867103"/>
              <a:gd name="connsiteY60" fmla="*/ 2813539 h 2954561"/>
              <a:gd name="connsiteX61" fmla="*/ 4903596 w 11867103"/>
              <a:gd name="connsiteY61" fmla="*/ 2863781 h 2954561"/>
              <a:gd name="connsiteX62" fmla="*/ 4722725 w 11867103"/>
              <a:gd name="connsiteY62" fmla="*/ 2903974 h 2954561"/>
              <a:gd name="connsiteX63" fmla="*/ 4300695 w 11867103"/>
              <a:gd name="connsiteY63" fmla="*/ 2883877 h 2954561"/>
              <a:gd name="connsiteX64" fmla="*/ 4059534 w 11867103"/>
              <a:gd name="connsiteY64" fmla="*/ 2843684 h 2954561"/>
              <a:gd name="connsiteX65" fmla="*/ 3768132 w 11867103"/>
              <a:gd name="connsiteY65" fmla="*/ 2813539 h 2954561"/>
              <a:gd name="connsiteX66" fmla="*/ 3627455 w 11867103"/>
              <a:gd name="connsiteY66" fmla="*/ 2803491 h 2954561"/>
              <a:gd name="connsiteX67" fmla="*/ 3125037 w 11867103"/>
              <a:gd name="connsiteY67" fmla="*/ 2813539 h 2954561"/>
              <a:gd name="connsiteX68" fmla="*/ 3064747 w 11867103"/>
              <a:gd name="connsiteY68" fmla="*/ 2823587 h 2954561"/>
              <a:gd name="connsiteX69" fmla="*/ 2009670 w 11867103"/>
              <a:gd name="connsiteY69" fmla="*/ 2833636 h 2954561"/>
              <a:gd name="connsiteX70" fmla="*/ 1678075 w 11867103"/>
              <a:gd name="connsiteY70" fmla="*/ 2924071 h 2954561"/>
              <a:gd name="connsiteX71" fmla="*/ 1607736 w 11867103"/>
              <a:gd name="connsiteY71" fmla="*/ 2954216 h 2954561"/>
              <a:gd name="connsiteX72" fmla="*/ 1135464 w 11867103"/>
              <a:gd name="connsiteY72" fmla="*/ 2934119 h 2954561"/>
              <a:gd name="connsiteX73" fmla="*/ 944545 w 11867103"/>
              <a:gd name="connsiteY73" fmla="*/ 2903974 h 2954561"/>
              <a:gd name="connsiteX74" fmla="*/ 723481 w 11867103"/>
              <a:gd name="connsiteY74" fmla="*/ 2863781 h 2954561"/>
              <a:gd name="connsiteX75" fmla="*/ 643095 w 11867103"/>
              <a:gd name="connsiteY75" fmla="*/ 2853732 h 2954561"/>
              <a:gd name="connsiteX76" fmla="*/ 371789 w 11867103"/>
              <a:gd name="connsiteY76" fmla="*/ 2813539 h 2954561"/>
              <a:gd name="connsiteX77" fmla="*/ 0 w 11867103"/>
              <a:gd name="connsiteY77" fmla="*/ 2803491 h 2954561"/>
              <a:gd name="connsiteX0" fmla="*/ 120580 w 11867103"/>
              <a:gd name="connsiteY0" fmla="*/ 42528 h 2956895"/>
              <a:gd name="connsiteX1" fmla="*/ 281354 w 11867103"/>
              <a:gd name="connsiteY1" fmla="*/ 32479 h 2956895"/>
              <a:gd name="connsiteX2" fmla="*/ 673240 w 11867103"/>
              <a:gd name="connsiteY2" fmla="*/ 22431 h 2956895"/>
              <a:gd name="connsiteX3" fmla="*/ 1356528 w 11867103"/>
              <a:gd name="connsiteY3" fmla="*/ 72673 h 2956895"/>
              <a:gd name="connsiteX4" fmla="*/ 1758462 w 11867103"/>
              <a:gd name="connsiteY4" fmla="*/ 32479 h 2956895"/>
              <a:gd name="connsiteX5" fmla="*/ 2140299 w 11867103"/>
              <a:gd name="connsiteY5" fmla="*/ 32479 h 2956895"/>
              <a:gd name="connsiteX6" fmla="*/ 4652387 w 11867103"/>
              <a:gd name="connsiteY6" fmla="*/ 52576 h 2956895"/>
              <a:gd name="connsiteX7" fmla="*/ 4692580 w 11867103"/>
              <a:gd name="connsiteY7" fmla="*/ 62625 h 2956895"/>
              <a:gd name="connsiteX8" fmla="*/ 6169688 w 11867103"/>
              <a:gd name="connsiteY8" fmla="*/ 102818 h 2956895"/>
              <a:gd name="connsiteX9" fmla="*/ 6420897 w 11867103"/>
              <a:gd name="connsiteY9" fmla="*/ 82721 h 2956895"/>
              <a:gd name="connsiteX10" fmla="*/ 7204668 w 11867103"/>
              <a:gd name="connsiteY10" fmla="*/ 2334 h 2956895"/>
              <a:gd name="connsiteX11" fmla="*/ 7285055 w 11867103"/>
              <a:gd name="connsiteY11" fmla="*/ 22431 h 2956895"/>
              <a:gd name="connsiteX12" fmla="*/ 7375490 w 11867103"/>
              <a:gd name="connsiteY12" fmla="*/ 32479 h 2956895"/>
              <a:gd name="connsiteX13" fmla="*/ 7928150 w 11867103"/>
              <a:gd name="connsiteY13" fmla="*/ 52576 h 2956895"/>
              <a:gd name="connsiteX14" fmla="*/ 8109020 w 11867103"/>
              <a:gd name="connsiteY14" fmla="*/ 72673 h 2956895"/>
              <a:gd name="connsiteX15" fmla="*/ 8219552 w 11867103"/>
              <a:gd name="connsiteY15" fmla="*/ 82721 h 2956895"/>
              <a:gd name="connsiteX16" fmla="*/ 8299939 w 11867103"/>
              <a:gd name="connsiteY16" fmla="*/ 92770 h 2956895"/>
              <a:gd name="connsiteX17" fmla="*/ 8521002 w 11867103"/>
              <a:gd name="connsiteY17" fmla="*/ 102818 h 2956895"/>
              <a:gd name="connsiteX18" fmla="*/ 9515789 w 11867103"/>
              <a:gd name="connsiteY18" fmla="*/ 92770 h 2956895"/>
              <a:gd name="connsiteX19" fmla="*/ 9606224 w 11867103"/>
              <a:gd name="connsiteY19" fmla="*/ 82721 h 2956895"/>
              <a:gd name="connsiteX20" fmla="*/ 9716756 w 11867103"/>
              <a:gd name="connsiteY20" fmla="*/ 72673 h 2956895"/>
              <a:gd name="connsiteX21" fmla="*/ 9797143 w 11867103"/>
              <a:gd name="connsiteY21" fmla="*/ 62625 h 2956895"/>
              <a:gd name="connsiteX22" fmla="*/ 9947868 w 11867103"/>
              <a:gd name="connsiteY22" fmla="*/ 52576 h 2956895"/>
              <a:gd name="connsiteX23" fmla="*/ 10791930 w 11867103"/>
              <a:gd name="connsiteY23" fmla="*/ 22431 h 2956895"/>
              <a:gd name="connsiteX24" fmla="*/ 11736475 w 11867103"/>
              <a:gd name="connsiteY24" fmla="*/ 42528 h 2956895"/>
              <a:gd name="connsiteX25" fmla="*/ 11766620 w 11867103"/>
              <a:gd name="connsiteY25" fmla="*/ 72673 h 2956895"/>
              <a:gd name="connsiteX26" fmla="*/ 11786717 w 11867103"/>
              <a:gd name="connsiteY26" fmla="*/ 112866 h 2956895"/>
              <a:gd name="connsiteX27" fmla="*/ 11806813 w 11867103"/>
              <a:gd name="connsiteY27" fmla="*/ 203301 h 2956895"/>
              <a:gd name="connsiteX28" fmla="*/ 11816862 w 11867103"/>
              <a:gd name="connsiteY28" fmla="*/ 243495 h 2956895"/>
              <a:gd name="connsiteX29" fmla="*/ 11826910 w 11867103"/>
              <a:gd name="connsiteY29" fmla="*/ 333930 h 2956895"/>
              <a:gd name="connsiteX30" fmla="*/ 11836958 w 11867103"/>
              <a:gd name="connsiteY30" fmla="*/ 414317 h 2956895"/>
              <a:gd name="connsiteX31" fmla="*/ 11826910 w 11867103"/>
              <a:gd name="connsiteY31" fmla="*/ 725816 h 2956895"/>
              <a:gd name="connsiteX32" fmla="*/ 11816862 w 11867103"/>
              <a:gd name="connsiteY32" fmla="*/ 786106 h 2956895"/>
              <a:gd name="connsiteX33" fmla="*/ 11806813 w 11867103"/>
              <a:gd name="connsiteY33" fmla="*/ 856444 h 2956895"/>
              <a:gd name="connsiteX34" fmla="*/ 11816862 w 11867103"/>
              <a:gd name="connsiteY34" fmla="*/ 2323504 h 2956895"/>
              <a:gd name="connsiteX35" fmla="*/ 11826910 w 11867103"/>
              <a:gd name="connsiteY35" fmla="*/ 2393842 h 2956895"/>
              <a:gd name="connsiteX36" fmla="*/ 11836958 w 11867103"/>
              <a:gd name="connsiteY36" fmla="*/ 2423987 h 2956895"/>
              <a:gd name="connsiteX37" fmla="*/ 11857055 w 11867103"/>
              <a:gd name="connsiteY37" fmla="*/ 2554616 h 2956895"/>
              <a:gd name="connsiteX38" fmla="*/ 11867103 w 11867103"/>
              <a:gd name="connsiteY38" fmla="*/ 2594809 h 2956895"/>
              <a:gd name="connsiteX39" fmla="*/ 11857055 w 11867103"/>
              <a:gd name="connsiteY39" fmla="*/ 2825921 h 2956895"/>
              <a:gd name="connsiteX40" fmla="*/ 11836958 w 11867103"/>
              <a:gd name="connsiteY40" fmla="*/ 2856066 h 2956895"/>
              <a:gd name="connsiteX41" fmla="*/ 11033090 w 11867103"/>
              <a:gd name="connsiteY41" fmla="*/ 2846018 h 2956895"/>
              <a:gd name="connsiteX42" fmla="*/ 10621108 w 11867103"/>
              <a:gd name="connsiteY42" fmla="*/ 2835970 h 2956895"/>
              <a:gd name="connsiteX43" fmla="*/ 10128739 w 11867103"/>
              <a:gd name="connsiteY43" fmla="*/ 2846018 h 2956895"/>
              <a:gd name="connsiteX44" fmla="*/ 10048352 w 11867103"/>
              <a:gd name="connsiteY44" fmla="*/ 2856066 h 2956895"/>
              <a:gd name="connsiteX45" fmla="*/ 9555982 w 11867103"/>
              <a:gd name="connsiteY45" fmla="*/ 2846018 h 2956895"/>
              <a:gd name="connsiteX46" fmla="*/ 9445451 w 11867103"/>
              <a:gd name="connsiteY46" fmla="*/ 2835970 h 2956895"/>
              <a:gd name="connsiteX47" fmla="*/ 9415306 w 11867103"/>
              <a:gd name="connsiteY47" fmla="*/ 2815873 h 2956895"/>
              <a:gd name="connsiteX48" fmla="*/ 9204290 w 11867103"/>
              <a:gd name="connsiteY48" fmla="*/ 2795776 h 2956895"/>
              <a:gd name="connsiteX49" fmla="*/ 9073662 w 11867103"/>
              <a:gd name="connsiteY49" fmla="*/ 2775679 h 2956895"/>
              <a:gd name="connsiteX50" fmla="*/ 8812404 w 11867103"/>
              <a:gd name="connsiteY50" fmla="*/ 2765631 h 2956895"/>
              <a:gd name="connsiteX51" fmla="*/ 8400422 w 11867103"/>
              <a:gd name="connsiteY51" fmla="*/ 2755583 h 2956895"/>
              <a:gd name="connsiteX52" fmla="*/ 8269793 w 11867103"/>
              <a:gd name="connsiteY52" fmla="*/ 2745534 h 2956895"/>
              <a:gd name="connsiteX53" fmla="*/ 7797521 w 11867103"/>
              <a:gd name="connsiteY53" fmla="*/ 2765631 h 2956895"/>
              <a:gd name="connsiteX54" fmla="*/ 7717134 w 11867103"/>
              <a:gd name="connsiteY54" fmla="*/ 2775679 h 2956895"/>
              <a:gd name="connsiteX55" fmla="*/ 7486022 w 11867103"/>
              <a:gd name="connsiteY55" fmla="*/ 2805825 h 2956895"/>
              <a:gd name="connsiteX56" fmla="*/ 7395587 w 11867103"/>
              <a:gd name="connsiteY56" fmla="*/ 2825921 h 2956895"/>
              <a:gd name="connsiteX57" fmla="*/ 7325248 w 11867103"/>
              <a:gd name="connsiteY57" fmla="*/ 2835970 h 2956895"/>
              <a:gd name="connsiteX58" fmla="*/ 6863024 w 11867103"/>
              <a:gd name="connsiteY58" fmla="*/ 2825921 h 2956895"/>
              <a:gd name="connsiteX59" fmla="*/ 6722347 w 11867103"/>
              <a:gd name="connsiteY59" fmla="*/ 2815873 h 2956895"/>
              <a:gd name="connsiteX60" fmla="*/ 4903596 w 11867103"/>
              <a:gd name="connsiteY60" fmla="*/ 2866115 h 2956895"/>
              <a:gd name="connsiteX61" fmla="*/ 4722725 w 11867103"/>
              <a:gd name="connsiteY61" fmla="*/ 2906308 h 2956895"/>
              <a:gd name="connsiteX62" fmla="*/ 4300695 w 11867103"/>
              <a:gd name="connsiteY62" fmla="*/ 2886211 h 2956895"/>
              <a:gd name="connsiteX63" fmla="*/ 4059534 w 11867103"/>
              <a:gd name="connsiteY63" fmla="*/ 2846018 h 2956895"/>
              <a:gd name="connsiteX64" fmla="*/ 3768132 w 11867103"/>
              <a:gd name="connsiteY64" fmla="*/ 2815873 h 2956895"/>
              <a:gd name="connsiteX65" fmla="*/ 3627455 w 11867103"/>
              <a:gd name="connsiteY65" fmla="*/ 2805825 h 2956895"/>
              <a:gd name="connsiteX66" fmla="*/ 3125037 w 11867103"/>
              <a:gd name="connsiteY66" fmla="*/ 2815873 h 2956895"/>
              <a:gd name="connsiteX67" fmla="*/ 3064747 w 11867103"/>
              <a:gd name="connsiteY67" fmla="*/ 2825921 h 2956895"/>
              <a:gd name="connsiteX68" fmla="*/ 2009670 w 11867103"/>
              <a:gd name="connsiteY68" fmla="*/ 2835970 h 2956895"/>
              <a:gd name="connsiteX69" fmla="*/ 1678075 w 11867103"/>
              <a:gd name="connsiteY69" fmla="*/ 2926405 h 2956895"/>
              <a:gd name="connsiteX70" fmla="*/ 1607736 w 11867103"/>
              <a:gd name="connsiteY70" fmla="*/ 2956550 h 2956895"/>
              <a:gd name="connsiteX71" fmla="*/ 1135464 w 11867103"/>
              <a:gd name="connsiteY71" fmla="*/ 2936453 h 2956895"/>
              <a:gd name="connsiteX72" fmla="*/ 944545 w 11867103"/>
              <a:gd name="connsiteY72" fmla="*/ 2906308 h 2956895"/>
              <a:gd name="connsiteX73" fmla="*/ 723481 w 11867103"/>
              <a:gd name="connsiteY73" fmla="*/ 2866115 h 2956895"/>
              <a:gd name="connsiteX74" fmla="*/ 643095 w 11867103"/>
              <a:gd name="connsiteY74" fmla="*/ 2856066 h 2956895"/>
              <a:gd name="connsiteX75" fmla="*/ 371789 w 11867103"/>
              <a:gd name="connsiteY75" fmla="*/ 2815873 h 2956895"/>
              <a:gd name="connsiteX76" fmla="*/ 0 w 11867103"/>
              <a:gd name="connsiteY76" fmla="*/ 2805825 h 2956895"/>
              <a:gd name="connsiteX0" fmla="*/ 120580 w 11867103"/>
              <a:gd name="connsiteY0" fmla="*/ 42528 h 2956895"/>
              <a:gd name="connsiteX1" fmla="*/ 281354 w 11867103"/>
              <a:gd name="connsiteY1" fmla="*/ 32479 h 2956895"/>
              <a:gd name="connsiteX2" fmla="*/ 673240 w 11867103"/>
              <a:gd name="connsiteY2" fmla="*/ 22431 h 2956895"/>
              <a:gd name="connsiteX3" fmla="*/ 1356528 w 11867103"/>
              <a:gd name="connsiteY3" fmla="*/ 72673 h 2956895"/>
              <a:gd name="connsiteX4" fmla="*/ 1758462 w 11867103"/>
              <a:gd name="connsiteY4" fmla="*/ 32479 h 2956895"/>
              <a:gd name="connsiteX5" fmla="*/ 2140299 w 11867103"/>
              <a:gd name="connsiteY5" fmla="*/ 32479 h 2956895"/>
              <a:gd name="connsiteX6" fmla="*/ 4652387 w 11867103"/>
              <a:gd name="connsiteY6" fmla="*/ 52576 h 2956895"/>
              <a:gd name="connsiteX7" fmla="*/ 4692580 w 11867103"/>
              <a:gd name="connsiteY7" fmla="*/ 62625 h 2956895"/>
              <a:gd name="connsiteX8" fmla="*/ 6420897 w 11867103"/>
              <a:gd name="connsiteY8" fmla="*/ 82721 h 2956895"/>
              <a:gd name="connsiteX9" fmla="*/ 7204668 w 11867103"/>
              <a:gd name="connsiteY9" fmla="*/ 2334 h 2956895"/>
              <a:gd name="connsiteX10" fmla="*/ 7285055 w 11867103"/>
              <a:gd name="connsiteY10" fmla="*/ 22431 h 2956895"/>
              <a:gd name="connsiteX11" fmla="*/ 7375490 w 11867103"/>
              <a:gd name="connsiteY11" fmla="*/ 32479 h 2956895"/>
              <a:gd name="connsiteX12" fmla="*/ 7928150 w 11867103"/>
              <a:gd name="connsiteY12" fmla="*/ 52576 h 2956895"/>
              <a:gd name="connsiteX13" fmla="*/ 8109020 w 11867103"/>
              <a:gd name="connsiteY13" fmla="*/ 72673 h 2956895"/>
              <a:gd name="connsiteX14" fmla="*/ 8219552 w 11867103"/>
              <a:gd name="connsiteY14" fmla="*/ 82721 h 2956895"/>
              <a:gd name="connsiteX15" fmla="*/ 8299939 w 11867103"/>
              <a:gd name="connsiteY15" fmla="*/ 92770 h 2956895"/>
              <a:gd name="connsiteX16" fmla="*/ 8521002 w 11867103"/>
              <a:gd name="connsiteY16" fmla="*/ 102818 h 2956895"/>
              <a:gd name="connsiteX17" fmla="*/ 9515789 w 11867103"/>
              <a:gd name="connsiteY17" fmla="*/ 92770 h 2956895"/>
              <a:gd name="connsiteX18" fmla="*/ 9606224 w 11867103"/>
              <a:gd name="connsiteY18" fmla="*/ 82721 h 2956895"/>
              <a:gd name="connsiteX19" fmla="*/ 9716756 w 11867103"/>
              <a:gd name="connsiteY19" fmla="*/ 72673 h 2956895"/>
              <a:gd name="connsiteX20" fmla="*/ 9797143 w 11867103"/>
              <a:gd name="connsiteY20" fmla="*/ 62625 h 2956895"/>
              <a:gd name="connsiteX21" fmla="*/ 9947868 w 11867103"/>
              <a:gd name="connsiteY21" fmla="*/ 52576 h 2956895"/>
              <a:gd name="connsiteX22" fmla="*/ 10791930 w 11867103"/>
              <a:gd name="connsiteY22" fmla="*/ 22431 h 2956895"/>
              <a:gd name="connsiteX23" fmla="*/ 11736475 w 11867103"/>
              <a:gd name="connsiteY23" fmla="*/ 42528 h 2956895"/>
              <a:gd name="connsiteX24" fmla="*/ 11766620 w 11867103"/>
              <a:gd name="connsiteY24" fmla="*/ 72673 h 2956895"/>
              <a:gd name="connsiteX25" fmla="*/ 11786717 w 11867103"/>
              <a:gd name="connsiteY25" fmla="*/ 112866 h 2956895"/>
              <a:gd name="connsiteX26" fmla="*/ 11806813 w 11867103"/>
              <a:gd name="connsiteY26" fmla="*/ 203301 h 2956895"/>
              <a:gd name="connsiteX27" fmla="*/ 11816862 w 11867103"/>
              <a:gd name="connsiteY27" fmla="*/ 243495 h 2956895"/>
              <a:gd name="connsiteX28" fmla="*/ 11826910 w 11867103"/>
              <a:gd name="connsiteY28" fmla="*/ 333930 h 2956895"/>
              <a:gd name="connsiteX29" fmla="*/ 11836958 w 11867103"/>
              <a:gd name="connsiteY29" fmla="*/ 414317 h 2956895"/>
              <a:gd name="connsiteX30" fmla="*/ 11826910 w 11867103"/>
              <a:gd name="connsiteY30" fmla="*/ 725816 h 2956895"/>
              <a:gd name="connsiteX31" fmla="*/ 11816862 w 11867103"/>
              <a:gd name="connsiteY31" fmla="*/ 786106 h 2956895"/>
              <a:gd name="connsiteX32" fmla="*/ 11806813 w 11867103"/>
              <a:gd name="connsiteY32" fmla="*/ 856444 h 2956895"/>
              <a:gd name="connsiteX33" fmla="*/ 11816862 w 11867103"/>
              <a:gd name="connsiteY33" fmla="*/ 2323504 h 2956895"/>
              <a:gd name="connsiteX34" fmla="*/ 11826910 w 11867103"/>
              <a:gd name="connsiteY34" fmla="*/ 2393842 h 2956895"/>
              <a:gd name="connsiteX35" fmla="*/ 11836958 w 11867103"/>
              <a:gd name="connsiteY35" fmla="*/ 2423987 h 2956895"/>
              <a:gd name="connsiteX36" fmla="*/ 11857055 w 11867103"/>
              <a:gd name="connsiteY36" fmla="*/ 2554616 h 2956895"/>
              <a:gd name="connsiteX37" fmla="*/ 11867103 w 11867103"/>
              <a:gd name="connsiteY37" fmla="*/ 2594809 h 2956895"/>
              <a:gd name="connsiteX38" fmla="*/ 11857055 w 11867103"/>
              <a:gd name="connsiteY38" fmla="*/ 2825921 h 2956895"/>
              <a:gd name="connsiteX39" fmla="*/ 11836958 w 11867103"/>
              <a:gd name="connsiteY39" fmla="*/ 2856066 h 2956895"/>
              <a:gd name="connsiteX40" fmla="*/ 11033090 w 11867103"/>
              <a:gd name="connsiteY40" fmla="*/ 2846018 h 2956895"/>
              <a:gd name="connsiteX41" fmla="*/ 10621108 w 11867103"/>
              <a:gd name="connsiteY41" fmla="*/ 2835970 h 2956895"/>
              <a:gd name="connsiteX42" fmla="*/ 10128739 w 11867103"/>
              <a:gd name="connsiteY42" fmla="*/ 2846018 h 2956895"/>
              <a:gd name="connsiteX43" fmla="*/ 10048352 w 11867103"/>
              <a:gd name="connsiteY43" fmla="*/ 2856066 h 2956895"/>
              <a:gd name="connsiteX44" fmla="*/ 9555982 w 11867103"/>
              <a:gd name="connsiteY44" fmla="*/ 2846018 h 2956895"/>
              <a:gd name="connsiteX45" fmla="*/ 9445451 w 11867103"/>
              <a:gd name="connsiteY45" fmla="*/ 2835970 h 2956895"/>
              <a:gd name="connsiteX46" fmla="*/ 9415306 w 11867103"/>
              <a:gd name="connsiteY46" fmla="*/ 2815873 h 2956895"/>
              <a:gd name="connsiteX47" fmla="*/ 9204290 w 11867103"/>
              <a:gd name="connsiteY47" fmla="*/ 2795776 h 2956895"/>
              <a:gd name="connsiteX48" fmla="*/ 9073662 w 11867103"/>
              <a:gd name="connsiteY48" fmla="*/ 2775679 h 2956895"/>
              <a:gd name="connsiteX49" fmla="*/ 8812404 w 11867103"/>
              <a:gd name="connsiteY49" fmla="*/ 2765631 h 2956895"/>
              <a:gd name="connsiteX50" fmla="*/ 8400422 w 11867103"/>
              <a:gd name="connsiteY50" fmla="*/ 2755583 h 2956895"/>
              <a:gd name="connsiteX51" fmla="*/ 8269793 w 11867103"/>
              <a:gd name="connsiteY51" fmla="*/ 2745534 h 2956895"/>
              <a:gd name="connsiteX52" fmla="*/ 7797521 w 11867103"/>
              <a:gd name="connsiteY52" fmla="*/ 2765631 h 2956895"/>
              <a:gd name="connsiteX53" fmla="*/ 7717134 w 11867103"/>
              <a:gd name="connsiteY53" fmla="*/ 2775679 h 2956895"/>
              <a:gd name="connsiteX54" fmla="*/ 7486022 w 11867103"/>
              <a:gd name="connsiteY54" fmla="*/ 2805825 h 2956895"/>
              <a:gd name="connsiteX55" fmla="*/ 7395587 w 11867103"/>
              <a:gd name="connsiteY55" fmla="*/ 2825921 h 2956895"/>
              <a:gd name="connsiteX56" fmla="*/ 7325248 w 11867103"/>
              <a:gd name="connsiteY56" fmla="*/ 2835970 h 2956895"/>
              <a:gd name="connsiteX57" fmla="*/ 6863024 w 11867103"/>
              <a:gd name="connsiteY57" fmla="*/ 2825921 h 2956895"/>
              <a:gd name="connsiteX58" fmla="*/ 6722347 w 11867103"/>
              <a:gd name="connsiteY58" fmla="*/ 2815873 h 2956895"/>
              <a:gd name="connsiteX59" fmla="*/ 4903596 w 11867103"/>
              <a:gd name="connsiteY59" fmla="*/ 2866115 h 2956895"/>
              <a:gd name="connsiteX60" fmla="*/ 4722725 w 11867103"/>
              <a:gd name="connsiteY60" fmla="*/ 2906308 h 2956895"/>
              <a:gd name="connsiteX61" fmla="*/ 4300695 w 11867103"/>
              <a:gd name="connsiteY61" fmla="*/ 2886211 h 2956895"/>
              <a:gd name="connsiteX62" fmla="*/ 4059534 w 11867103"/>
              <a:gd name="connsiteY62" fmla="*/ 2846018 h 2956895"/>
              <a:gd name="connsiteX63" fmla="*/ 3768132 w 11867103"/>
              <a:gd name="connsiteY63" fmla="*/ 2815873 h 2956895"/>
              <a:gd name="connsiteX64" fmla="*/ 3627455 w 11867103"/>
              <a:gd name="connsiteY64" fmla="*/ 2805825 h 2956895"/>
              <a:gd name="connsiteX65" fmla="*/ 3125037 w 11867103"/>
              <a:gd name="connsiteY65" fmla="*/ 2815873 h 2956895"/>
              <a:gd name="connsiteX66" fmla="*/ 3064747 w 11867103"/>
              <a:gd name="connsiteY66" fmla="*/ 2825921 h 2956895"/>
              <a:gd name="connsiteX67" fmla="*/ 2009670 w 11867103"/>
              <a:gd name="connsiteY67" fmla="*/ 2835970 h 2956895"/>
              <a:gd name="connsiteX68" fmla="*/ 1678075 w 11867103"/>
              <a:gd name="connsiteY68" fmla="*/ 2926405 h 2956895"/>
              <a:gd name="connsiteX69" fmla="*/ 1607736 w 11867103"/>
              <a:gd name="connsiteY69" fmla="*/ 2956550 h 2956895"/>
              <a:gd name="connsiteX70" fmla="*/ 1135464 w 11867103"/>
              <a:gd name="connsiteY70" fmla="*/ 2936453 h 2956895"/>
              <a:gd name="connsiteX71" fmla="*/ 944545 w 11867103"/>
              <a:gd name="connsiteY71" fmla="*/ 2906308 h 2956895"/>
              <a:gd name="connsiteX72" fmla="*/ 723481 w 11867103"/>
              <a:gd name="connsiteY72" fmla="*/ 2866115 h 2956895"/>
              <a:gd name="connsiteX73" fmla="*/ 643095 w 11867103"/>
              <a:gd name="connsiteY73" fmla="*/ 2856066 h 2956895"/>
              <a:gd name="connsiteX74" fmla="*/ 371789 w 11867103"/>
              <a:gd name="connsiteY74" fmla="*/ 2815873 h 2956895"/>
              <a:gd name="connsiteX75" fmla="*/ 0 w 11867103"/>
              <a:gd name="connsiteY75" fmla="*/ 2805825 h 2956895"/>
              <a:gd name="connsiteX0" fmla="*/ 120580 w 11867103"/>
              <a:gd name="connsiteY0" fmla="*/ 42790 h 2957157"/>
              <a:gd name="connsiteX1" fmla="*/ 281354 w 11867103"/>
              <a:gd name="connsiteY1" fmla="*/ 32741 h 2957157"/>
              <a:gd name="connsiteX2" fmla="*/ 673240 w 11867103"/>
              <a:gd name="connsiteY2" fmla="*/ 22693 h 2957157"/>
              <a:gd name="connsiteX3" fmla="*/ 1356528 w 11867103"/>
              <a:gd name="connsiteY3" fmla="*/ 72935 h 2957157"/>
              <a:gd name="connsiteX4" fmla="*/ 1758462 w 11867103"/>
              <a:gd name="connsiteY4" fmla="*/ 32741 h 2957157"/>
              <a:gd name="connsiteX5" fmla="*/ 2140299 w 11867103"/>
              <a:gd name="connsiteY5" fmla="*/ 32741 h 2957157"/>
              <a:gd name="connsiteX6" fmla="*/ 4652387 w 11867103"/>
              <a:gd name="connsiteY6" fmla="*/ 52838 h 2957157"/>
              <a:gd name="connsiteX7" fmla="*/ 4692580 w 11867103"/>
              <a:gd name="connsiteY7" fmla="*/ 62887 h 2957157"/>
              <a:gd name="connsiteX8" fmla="*/ 6420897 w 11867103"/>
              <a:gd name="connsiteY8" fmla="*/ 82983 h 2957157"/>
              <a:gd name="connsiteX9" fmla="*/ 7204668 w 11867103"/>
              <a:gd name="connsiteY9" fmla="*/ 2596 h 2957157"/>
              <a:gd name="connsiteX10" fmla="*/ 7285055 w 11867103"/>
              <a:gd name="connsiteY10" fmla="*/ 22693 h 2957157"/>
              <a:gd name="connsiteX11" fmla="*/ 7928150 w 11867103"/>
              <a:gd name="connsiteY11" fmla="*/ 52838 h 2957157"/>
              <a:gd name="connsiteX12" fmla="*/ 8109020 w 11867103"/>
              <a:gd name="connsiteY12" fmla="*/ 72935 h 2957157"/>
              <a:gd name="connsiteX13" fmla="*/ 8219552 w 11867103"/>
              <a:gd name="connsiteY13" fmla="*/ 82983 h 2957157"/>
              <a:gd name="connsiteX14" fmla="*/ 8299939 w 11867103"/>
              <a:gd name="connsiteY14" fmla="*/ 93032 h 2957157"/>
              <a:gd name="connsiteX15" fmla="*/ 8521002 w 11867103"/>
              <a:gd name="connsiteY15" fmla="*/ 103080 h 2957157"/>
              <a:gd name="connsiteX16" fmla="*/ 9515789 w 11867103"/>
              <a:gd name="connsiteY16" fmla="*/ 93032 h 2957157"/>
              <a:gd name="connsiteX17" fmla="*/ 9606224 w 11867103"/>
              <a:gd name="connsiteY17" fmla="*/ 82983 h 2957157"/>
              <a:gd name="connsiteX18" fmla="*/ 9716756 w 11867103"/>
              <a:gd name="connsiteY18" fmla="*/ 72935 h 2957157"/>
              <a:gd name="connsiteX19" fmla="*/ 9797143 w 11867103"/>
              <a:gd name="connsiteY19" fmla="*/ 62887 h 2957157"/>
              <a:gd name="connsiteX20" fmla="*/ 9947868 w 11867103"/>
              <a:gd name="connsiteY20" fmla="*/ 52838 h 2957157"/>
              <a:gd name="connsiteX21" fmla="*/ 10791930 w 11867103"/>
              <a:gd name="connsiteY21" fmla="*/ 22693 h 2957157"/>
              <a:gd name="connsiteX22" fmla="*/ 11736475 w 11867103"/>
              <a:gd name="connsiteY22" fmla="*/ 42790 h 2957157"/>
              <a:gd name="connsiteX23" fmla="*/ 11766620 w 11867103"/>
              <a:gd name="connsiteY23" fmla="*/ 72935 h 2957157"/>
              <a:gd name="connsiteX24" fmla="*/ 11786717 w 11867103"/>
              <a:gd name="connsiteY24" fmla="*/ 113128 h 2957157"/>
              <a:gd name="connsiteX25" fmla="*/ 11806813 w 11867103"/>
              <a:gd name="connsiteY25" fmla="*/ 203563 h 2957157"/>
              <a:gd name="connsiteX26" fmla="*/ 11816862 w 11867103"/>
              <a:gd name="connsiteY26" fmla="*/ 243757 h 2957157"/>
              <a:gd name="connsiteX27" fmla="*/ 11826910 w 11867103"/>
              <a:gd name="connsiteY27" fmla="*/ 334192 h 2957157"/>
              <a:gd name="connsiteX28" fmla="*/ 11836958 w 11867103"/>
              <a:gd name="connsiteY28" fmla="*/ 414579 h 2957157"/>
              <a:gd name="connsiteX29" fmla="*/ 11826910 w 11867103"/>
              <a:gd name="connsiteY29" fmla="*/ 726078 h 2957157"/>
              <a:gd name="connsiteX30" fmla="*/ 11816862 w 11867103"/>
              <a:gd name="connsiteY30" fmla="*/ 786368 h 2957157"/>
              <a:gd name="connsiteX31" fmla="*/ 11806813 w 11867103"/>
              <a:gd name="connsiteY31" fmla="*/ 856706 h 2957157"/>
              <a:gd name="connsiteX32" fmla="*/ 11816862 w 11867103"/>
              <a:gd name="connsiteY32" fmla="*/ 2323766 h 2957157"/>
              <a:gd name="connsiteX33" fmla="*/ 11826910 w 11867103"/>
              <a:gd name="connsiteY33" fmla="*/ 2394104 h 2957157"/>
              <a:gd name="connsiteX34" fmla="*/ 11836958 w 11867103"/>
              <a:gd name="connsiteY34" fmla="*/ 2424249 h 2957157"/>
              <a:gd name="connsiteX35" fmla="*/ 11857055 w 11867103"/>
              <a:gd name="connsiteY35" fmla="*/ 2554878 h 2957157"/>
              <a:gd name="connsiteX36" fmla="*/ 11867103 w 11867103"/>
              <a:gd name="connsiteY36" fmla="*/ 2595071 h 2957157"/>
              <a:gd name="connsiteX37" fmla="*/ 11857055 w 11867103"/>
              <a:gd name="connsiteY37" fmla="*/ 2826183 h 2957157"/>
              <a:gd name="connsiteX38" fmla="*/ 11836958 w 11867103"/>
              <a:gd name="connsiteY38" fmla="*/ 2856328 h 2957157"/>
              <a:gd name="connsiteX39" fmla="*/ 11033090 w 11867103"/>
              <a:gd name="connsiteY39" fmla="*/ 2846280 h 2957157"/>
              <a:gd name="connsiteX40" fmla="*/ 10621108 w 11867103"/>
              <a:gd name="connsiteY40" fmla="*/ 2836232 h 2957157"/>
              <a:gd name="connsiteX41" fmla="*/ 10128739 w 11867103"/>
              <a:gd name="connsiteY41" fmla="*/ 2846280 h 2957157"/>
              <a:gd name="connsiteX42" fmla="*/ 10048352 w 11867103"/>
              <a:gd name="connsiteY42" fmla="*/ 2856328 h 2957157"/>
              <a:gd name="connsiteX43" fmla="*/ 9555982 w 11867103"/>
              <a:gd name="connsiteY43" fmla="*/ 2846280 h 2957157"/>
              <a:gd name="connsiteX44" fmla="*/ 9445451 w 11867103"/>
              <a:gd name="connsiteY44" fmla="*/ 2836232 h 2957157"/>
              <a:gd name="connsiteX45" fmla="*/ 9415306 w 11867103"/>
              <a:gd name="connsiteY45" fmla="*/ 2816135 h 2957157"/>
              <a:gd name="connsiteX46" fmla="*/ 9204290 w 11867103"/>
              <a:gd name="connsiteY46" fmla="*/ 2796038 h 2957157"/>
              <a:gd name="connsiteX47" fmla="*/ 9073662 w 11867103"/>
              <a:gd name="connsiteY47" fmla="*/ 2775941 h 2957157"/>
              <a:gd name="connsiteX48" fmla="*/ 8812404 w 11867103"/>
              <a:gd name="connsiteY48" fmla="*/ 2765893 h 2957157"/>
              <a:gd name="connsiteX49" fmla="*/ 8400422 w 11867103"/>
              <a:gd name="connsiteY49" fmla="*/ 2755845 h 2957157"/>
              <a:gd name="connsiteX50" fmla="*/ 8269793 w 11867103"/>
              <a:gd name="connsiteY50" fmla="*/ 2745796 h 2957157"/>
              <a:gd name="connsiteX51" fmla="*/ 7797521 w 11867103"/>
              <a:gd name="connsiteY51" fmla="*/ 2765893 h 2957157"/>
              <a:gd name="connsiteX52" fmla="*/ 7717134 w 11867103"/>
              <a:gd name="connsiteY52" fmla="*/ 2775941 h 2957157"/>
              <a:gd name="connsiteX53" fmla="*/ 7486022 w 11867103"/>
              <a:gd name="connsiteY53" fmla="*/ 2806087 h 2957157"/>
              <a:gd name="connsiteX54" fmla="*/ 7395587 w 11867103"/>
              <a:gd name="connsiteY54" fmla="*/ 2826183 h 2957157"/>
              <a:gd name="connsiteX55" fmla="*/ 7325248 w 11867103"/>
              <a:gd name="connsiteY55" fmla="*/ 2836232 h 2957157"/>
              <a:gd name="connsiteX56" fmla="*/ 6863024 w 11867103"/>
              <a:gd name="connsiteY56" fmla="*/ 2826183 h 2957157"/>
              <a:gd name="connsiteX57" fmla="*/ 6722347 w 11867103"/>
              <a:gd name="connsiteY57" fmla="*/ 2816135 h 2957157"/>
              <a:gd name="connsiteX58" fmla="*/ 4903596 w 11867103"/>
              <a:gd name="connsiteY58" fmla="*/ 2866377 h 2957157"/>
              <a:gd name="connsiteX59" fmla="*/ 4722725 w 11867103"/>
              <a:gd name="connsiteY59" fmla="*/ 2906570 h 2957157"/>
              <a:gd name="connsiteX60" fmla="*/ 4300695 w 11867103"/>
              <a:gd name="connsiteY60" fmla="*/ 2886473 h 2957157"/>
              <a:gd name="connsiteX61" fmla="*/ 4059534 w 11867103"/>
              <a:gd name="connsiteY61" fmla="*/ 2846280 h 2957157"/>
              <a:gd name="connsiteX62" fmla="*/ 3768132 w 11867103"/>
              <a:gd name="connsiteY62" fmla="*/ 2816135 h 2957157"/>
              <a:gd name="connsiteX63" fmla="*/ 3627455 w 11867103"/>
              <a:gd name="connsiteY63" fmla="*/ 2806087 h 2957157"/>
              <a:gd name="connsiteX64" fmla="*/ 3125037 w 11867103"/>
              <a:gd name="connsiteY64" fmla="*/ 2816135 h 2957157"/>
              <a:gd name="connsiteX65" fmla="*/ 3064747 w 11867103"/>
              <a:gd name="connsiteY65" fmla="*/ 2826183 h 2957157"/>
              <a:gd name="connsiteX66" fmla="*/ 2009670 w 11867103"/>
              <a:gd name="connsiteY66" fmla="*/ 2836232 h 2957157"/>
              <a:gd name="connsiteX67" fmla="*/ 1678075 w 11867103"/>
              <a:gd name="connsiteY67" fmla="*/ 2926667 h 2957157"/>
              <a:gd name="connsiteX68" fmla="*/ 1607736 w 11867103"/>
              <a:gd name="connsiteY68" fmla="*/ 2956812 h 2957157"/>
              <a:gd name="connsiteX69" fmla="*/ 1135464 w 11867103"/>
              <a:gd name="connsiteY69" fmla="*/ 2936715 h 2957157"/>
              <a:gd name="connsiteX70" fmla="*/ 944545 w 11867103"/>
              <a:gd name="connsiteY70" fmla="*/ 2906570 h 2957157"/>
              <a:gd name="connsiteX71" fmla="*/ 723481 w 11867103"/>
              <a:gd name="connsiteY71" fmla="*/ 2866377 h 2957157"/>
              <a:gd name="connsiteX72" fmla="*/ 643095 w 11867103"/>
              <a:gd name="connsiteY72" fmla="*/ 2856328 h 2957157"/>
              <a:gd name="connsiteX73" fmla="*/ 371789 w 11867103"/>
              <a:gd name="connsiteY73" fmla="*/ 2816135 h 2957157"/>
              <a:gd name="connsiteX74" fmla="*/ 0 w 11867103"/>
              <a:gd name="connsiteY74" fmla="*/ 2806087 h 2957157"/>
              <a:gd name="connsiteX0" fmla="*/ 120580 w 11867103"/>
              <a:gd name="connsiteY0" fmla="*/ 40596 h 2954963"/>
              <a:gd name="connsiteX1" fmla="*/ 281354 w 11867103"/>
              <a:gd name="connsiteY1" fmla="*/ 30547 h 2954963"/>
              <a:gd name="connsiteX2" fmla="*/ 673240 w 11867103"/>
              <a:gd name="connsiteY2" fmla="*/ 20499 h 2954963"/>
              <a:gd name="connsiteX3" fmla="*/ 1356528 w 11867103"/>
              <a:gd name="connsiteY3" fmla="*/ 70741 h 2954963"/>
              <a:gd name="connsiteX4" fmla="*/ 1758462 w 11867103"/>
              <a:gd name="connsiteY4" fmla="*/ 30547 h 2954963"/>
              <a:gd name="connsiteX5" fmla="*/ 2140299 w 11867103"/>
              <a:gd name="connsiteY5" fmla="*/ 30547 h 2954963"/>
              <a:gd name="connsiteX6" fmla="*/ 4652387 w 11867103"/>
              <a:gd name="connsiteY6" fmla="*/ 50644 h 2954963"/>
              <a:gd name="connsiteX7" fmla="*/ 4692580 w 11867103"/>
              <a:gd name="connsiteY7" fmla="*/ 60693 h 2954963"/>
              <a:gd name="connsiteX8" fmla="*/ 6420897 w 11867103"/>
              <a:gd name="connsiteY8" fmla="*/ 80789 h 2954963"/>
              <a:gd name="connsiteX9" fmla="*/ 7204668 w 11867103"/>
              <a:gd name="connsiteY9" fmla="*/ 402 h 2954963"/>
              <a:gd name="connsiteX10" fmla="*/ 7928150 w 11867103"/>
              <a:gd name="connsiteY10" fmla="*/ 50644 h 2954963"/>
              <a:gd name="connsiteX11" fmla="*/ 8109020 w 11867103"/>
              <a:gd name="connsiteY11" fmla="*/ 70741 h 2954963"/>
              <a:gd name="connsiteX12" fmla="*/ 8219552 w 11867103"/>
              <a:gd name="connsiteY12" fmla="*/ 80789 h 2954963"/>
              <a:gd name="connsiteX13" fmla="*/ 8299939 w 11867103"/>
              <a:gd name="connsiteY13" fmla="*/ 90838 h 2954963"/>
              <a:gd name="connsiteX14" fmla="*/ 8521002 w 11867103"/>
              <a:gd name="connsiteY14" fmla="*/ 100886 h 2954963"/>
              <a:gd name="connsiteX15" fmla="*/ 9515789 w 11867103"/>
              <a:gd name="connsiteY15" fmla="*/ 90838 h 2954963"/>
              <a:gd name="connsiteX16" fmla="*/ 9606224 w 11867103"/>
              <a:gd name="connsiteY16" fmla="*/ 80789 h 2954963"/>
              <a:gd name="connsiteX17" fmla="*/ 9716756 w 11867103"/>
              <a:gd name="connsiteY17" fmla="*/ 70741 h 2954963"/>
              <a:gd name="connsiteX18" fmla="*/ 9797143 w 11867103"/>
              <a:gd name="connsiteY18" fmla="*/ 60693 h 2954963"/>
              <a:gd name="connsiteX19" fmla="*/ 9947868 w 11867103"/>
              <a:gd name="connsiteY19" fmla="*/ 50644 h 2954963"/>
              <a:gd name="connsiteX20" fmla="*/ 10791930 w 11867103"/>
              <a:gd name="connsiteY20" fmla="*/ 20499 h 2954963"/>
              <a:gd name="connsiteX21" fmla="*/ 11736475 w 11867103"/>
              <a:gd name="connsiteY21" fmla="*/ 40596 h 2954963"/>
              <a:gd name="connsiteX22" fmla="*/ 11766620 w 11867103"/>
              <a:gd name="connsiteY22" fmla="*/ 70741 h 2954963"/>
              <a:gd name="connsiteX23" fmla="*/ 11786717 w 11867103"/>
              <a:gd name="connsiteY23" fmla="*/ 110934 h 2954963"/>
              <a:gd name="connsiteX24" fmla="*/ 11806813 w 11867103"/>
              <a:gd name="connsiteY24" fmla="*/ 201369 h 2954963"/>
              <a:gd name="connsiteX25" fmla="*/ 11816862 w 11867103"/>
              <a:gd name="connsiteY25" fmla="*/ 241563 h 2954963"/>
              <a:gd name="connsiteX26" fmla="*/ 11826910 w 11867103"/>
              <a:gd name="connsiteY26" fmla="*/ 331998 h 2954963"/>
              <a:gd name="connsiteX27" fmla="*/ 11836958 w 11867103"/>
              <a:gd name="connsiteY27" fmla="*/ 412385 h 2954963"/>
              <a:gd name="connsiteX28" fmla="*/ 11826910 w 11867103"/>
              <a:gd name="connsiteY28" fmla="*/ 723884 h 2954963"/>
              <a:gd name="connsiteX29" fmla="*/ 11816862 w 11867103"/>
              <a:gd name="connsiteY29" fmla="*/ 784174 h 2954963"/>
              <a:gd name="connsiteX30" fmla="*/ 11806813 w 11867103"/>
              <a:gd name="connsiteY30" fmla="*/ 854512 h 2954963"/>
              <a:gd name="connsiteX31" fmla="*/ 11816862 w 11867103"/>
              <a:gd name="connsiteY31" fmla="*/ 2321572 h 2954963"/>
              <a:gd name="connsiteX32" fmla="*/ 11826910 w 11867103"/>
              <a:gd name="connsiteY32" fmla="*/ 2391910 h 2954963"/>
              <a:gd name="connsiteX33" fmla="*/ 11836958 w 11867103"/>
              <a:gd name="connsiteY33" fmla="*/ 2422055 h 2954963"/>
              <a:gd name="connsiteX34" fmla="*/ 11857055 w 11867103"/>
              <a:gd name="connsiteY34" fmla="*/ 2552684 h 2954963"/>
              <a:gd name="connsiteX35" fmla="*/ 11867103 w 11867103"/>
              <a:gd name="connsiteY35" fmla="*/ 2592877 h 2954963"/>
              <a:gd name="connsiteX36" fmla="*/ 11857055 w 11867103"/>
              <a:gd name="connsiteY36" fmla="*/ 2823989 h 2954963"/>
              <a:gd name="connsiteX37" fmla="*/ 11836958 w 11867103"/>
              <a:gd name="connsiteY37" fmla="*/ 2854134 h 2954963"/>
              <a:gd name="connsiteX38" fmla="*/ 11033090 w 11867103"/>
              <a:gd name="connsiteY38" fmla="*/ 2844086 h 2954963"/>
              <a:gd name="connsiteX39" fmla="*/ 10621108 w 11867103"/>
              <a:gd name="connsiteY39" fmla="*/ 2834038 h 2954963"/>
              <a:gd name="connsiteX40" fmla="*/ 10128739 w 11867103"/>
              <a:gd name="connsiteY40" fmla="*/ 2844086 h 2954963"/>
              <a:gd name="connsiteX41" fmla="*/ 10048352 w 11867103"/>
              <a:gd name="connsiteY41" fmla="*/ 2854134 h 2954963"/>
              <a:gd name="connsiteX42" fmla="*/ 9555982 w 11867103"/>
              <a:gd name="connsiteY42" fmla="*/ 2844086 h 2954963"/>
              <a:gd name="connsiteX43" fmla="*/ 9445451 w 11867103"/>
              <a:gd name="connsiteY43" fmla="*/ 2834038 h 2954963"/>
              <a:gd name="connsiteX44" fmla="*/ 9415306 w 11867103"/>
              <a:gd name="connsiteY44" fmla="*/ 2813941 h 2954963"/>
              <a:gd name="connsiteX45" fmla="*/ 9204290 w 11867103"/>
              <a:gd name="connsiteY45" fmla="*/ 2793844 h 2954963"/>
              <a:gd name="connsiteX46" fmla="*/ 9073662 w 11867103"/>
              <a:gd name="connsiteY46" fmla="*/ 2773747 h 2954963"/>
              <a:gd name="connsiteX47" fmla="*/ 8812404 w 11867103"/>
              <a:gd name="connsiteY47" fmla="*/ 2763699 h 2954963"/>
              <a:gd name="connsiteX48" fmla="*/ 8400422 w 11867103"/>
              <a:gd name="connsiteY48" fmla="*/ 2753651 h 2954963"/>
              <a:gd name="connsiteX49" fmla="*/ 8269793 w 11867103"/>
              <a:gd name="connsiteY49" fmla="*/ 2743602 h 2954963"/>
              <a:gd name="connsiteX50" fmla="*/ 7797521 w 11867103"/>
              <a:gd name="connsiteY50" fmla="*/ 2763699 h 2954963"/>
              <a:gd name="connsiteX51" fmla="*/ 7717134 w 11867103"/>
              <a:gd name="connsiteY51" fmla="*/ 2773747 h 2954963"/>
              <a:gd name="connsiteX52" fmla="*/ 7486022 w 11867103"/>
              <a:gd name="connsiteY52" fmla="*/ 2803893 h 2954963"/>
              <a:gd name="connsiteX53" fmla="*/ 7395587 w 11867103"/>
              <a:gd name="connsiteY53" fmla="*/ 2823989 h 2954963"/>
              <a:gd name="connsiteX54" fmla="*/ 7325248 w 11867103"/>
              <a:gd name="connsiteY54" fmla="*/ 2834038 h 2954963"/>
              <a:gd name="connsiteX55" fmla="*/ 6863024 w 11867103"/>
              <a:gd name="connsiteY55" fmla="*/ 2823989 h 2954963"/>
              <a:gd name="connsiteX56" fmla="*/ 6722347 w 11867103"/>
              <a:gd name="connsiteY56" fmla="*/ 2813941 h 2954963"/>
              <a:gd name="connsiteX57" fmla="*/ 4903596 w 11867103"/>
              <a:gd name="connsiteY57" fmla="*/ 2864183 h 2954963"/>
              <a:gd name="connsiteX58" fmla="*/ 4722725 w 11867103"/>
              <a:gd name="connsiteY58" fmla="*/ 2904376 h 2954963"/>
              <a:gd name="connsiteX59" fmla="*/ 4300695 w 11867103"/>
              <a:gd name="connsiteY59" fmla="*/ 2884279 h 2954963"/>
              <a:gd name="connsiteX60" fmla="*/ 4059534 w 11867103"/>
              <a:gd name="connsiteY60" fmla="*/ 2844086 h 2954963"/>
              <a:gd name="connsiteX61" fmla="*/ 3768132 w 11867103"/>
              <a:gd name="connsiteY61" fmla="*/ 2813941 h 2954963"/>
              <a:gd name="connsiteX62" fmla="*/ 3627455 w 11867103"/>
              <a:gd name="connsiteY62" fmla="*/ 2803893 h 2954963"/>
              <a:gd name="connsiteX63" fmla="*/ 3125037 w 11867103"/>
              <a:gd name="connsiteY63" fmla="*/ 2813941 h 2954963"/>
              <a:gd name="connsiteX64" fmla="*/ 3064747 w 11867103"/>
              <a:gd name="connsiteY64" fmla="*/ 2823989 h 2954963"/>
              <a:gd name="connsiteX65" fmla="*/ 2009670 w 11867103"/>
              <a:gd name="connsiteY65" fmla="*/ 2834038 h 2954963"/>
              <a:gd name="connsiteX66" fmla="*/ 1678075 w 11867103"/>
              <a:gd name="connsiteY66" fmla="*/ 2924473 h 2954963"/>
              <a:gd name="connsiteX67" fmla="*/ 1607736 w 11867103"/>
              <a:gd name="connsiteY67" fmla="*/ 2954618 h 2954963"/>
              <a:gd name="connsiteX68" fmla="*/ 1135464 w 11867103"/>
              <a:gd name="connsiteY68" fmla="*/ 2934521 h 2954963"/>
              <a:gd name="connsiteX69" fmla="*/ 944545 w 11867103"/>
              <a:gd name="connsiteY69" fmla="*/ 2904376 h 2954963"/>
              <a:gd name="connsiteX70" fmla="*/ 723481 w 11867103"/>
              <a:gd name="connsiteY70" fmla="*/ 2864183 h 2954963"/>
              <a:gd name="connsiteX71" fmla="*/ 643095 w 11867103"/>
              <a:gd name="connsiteY71" fmla="*/ 2854134 h 2954963"/>
              <a:gd name="connsiteX72" fmla="*/ 371789 w 11867103"/>
              <a:gd name="connsiteY72" fmla="*/ 2813941 h 2954963"/>
              <a:gd name="connsiteX73" fmla="*/ 0 w 11867103"/>
              <a:gd name="connsiteY73" fmla="*/ 2803893 h 2954963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109020 w 11867103"/>
              <a:gd name="connsiteY11" fmla="*/ 52092 h 2936314"/>
              <a:gd name="connsiteX12" fmla="*/ 8219552 w 11867103"/>
              <a:gd name="connsiteY12" fmla="*/ 62140 h 2936314"/>
              <a:gd name="connsiteX13" fmla="*/ 8299939 w 11867103"/>
              <a:gd name="connsiteY13" fmla="*/ 72189 h 2936314"/>
              <a:gd name="connsiteX14" fmla="*/ 8521002 w 11867103"/>
              <a:gd name="connsiteY14" fmla="*/ 82237 h 2936314"/>
              <a:gd name="connsiteX15" fmla="*/ 9515789 w 11867103"/>
              <a:gd name="connsiteY15" fmla="*/ 72189 h 2936314"/>
              <a:gd name="connsiteX16" fmla="*/ 9606224 w 11867103"/>
              <a:gd name="connsiteY16" fmla="*/ 62140 h 2936314"/>
              <a:gd name="connsiteX17" fmla="*/ 9716756 w 11867103"/>
              <a:gd name="connsiteY17" fmla="*/ 52092 h 2936314"/>
              <a:gd name="connsiteX18" fmla="*/ 9797143 w 11867103"/>
              <a:gd name="connsiteY18" fmla="*/ 42044 h 2936314"/>
              <a:gd name="connsiteX19" fmla="*/ 9947868 w 11867103"/>
              <a:gd name="connsiteY19" fmla="*/ 31995 h 2936314"/>
              <a:gd name="connsiteX20" fmla="*/ 10791930 w 11867103"/>
              <a:gd name="connsiteY20" fmla="*/ 1850 h 2936314"/>
              <a:gd name="connsiteX21" fmla="*/ 11736475 w 11867103"/>
              <a:gd name="connsiteY21" fmla="*/ 21947 h 2936314"/>
              <a:gd name="connsiteX22" fmla="*/ 11766620 w 11867103"/>
              <a:gd name="connsiteY22" fmla="*/ 52092 h 2936314"/>
              <a:gd name="connsiteX23" fmla="*/ 11786717 w 11867103"/>
              <a:gd name="connsiteY23" fmla="*/ 92285 h 2936314"/>
              <a:gd name="connsiteX24" fmla="*/ 11806813 w 11867103"/>
              <a:gd name="connsiteY24" fmla="*/ 182720 h 2936314"/>
              <a:gd name="connsiteX25" fmla="*/ 11816862 w 11867103"/>
              <a:gd name="connsiteY25" fmla="*/ 222914 h 2936314"/>
              <a:gd name="connsiteX26" fmla="*/ 11826910 w 11867103"/>
              <a:gd name="connsiteY26" fmla="*/ 313349 h 2936314"/>
              <a:gd name="connsiteX27" fmla="*/ 11836958 w 11867103"/>
              <a:gd name="connsiteY27" fmla="*/ 393736 h 2936314"/>
              <a:gd name="connsiteX28" fmla="*/ 11826910 w 11867103"/>
              <a:gd name="connsiteY28" fmla="*/ 705235 h 2936314"/>
              <a:gd name="connsiteX29" fmla="*/ 11816862 w 11867103"/>
              <a:gd name="connsiteY29" fmla="*/ 765525 h 2936314"/>
              <a:gd name="connsiteX30" fmla="*/ 11806813 w 11867103"/>
              <a:gd name="connsiteY30" fmla="*/ 835863 h 2936314"/>
              <a:gd name="connsiteX31" fmla="*/ 11816862 w 11867103"/>
              <a:gd name="connsiteY31" fmla="*/ 2302923 h 2936314"/>
              <a:gd name="connsiteX32" fmla="*/ 11826910 w 11867103"/>
              <a:gd name="connsiteY32" fmla="*/ 2373261 h 2936314"/>
              <a:gd name="connsiteX33" fmla="*/ 11836958 w 11867103"/>
              <a:gd name="connsiteY33" fmla="*/ 2403406 h 2936314"/>
              <a:gd name="connsiteX34" fmla="*/ 11857055 w 11867103"/>
              <a:gd name="connsiteY34" fmla="*/ 2534035 h 2936314"/>
              <a:gd name="connsiteX35" fmla="*/ 11867103 w 11867103"/>
              <a:gd name="connsiteY35" fmla="*/ 2574228 h 2936314"/>
              <a:gd name="connsiteX36" fmla="*/ 11857055 w 11867103"/>
              <a:gd name="connsiteY36" fmla="*/ 2805340 h 2936314"/>
              <a:gd name="connsiteX37" fmla="*/ 11836958 w 11867103"/>
              <a:gd name="connsiteY37" fmla="*/ 2835485 h 2936314"/>
              <a:gd name="connsiteX38" fmla="*/ 11033090 w 11867103"/>
              <a:gd name="connsiteY38" fmla="*/ 2825437 h 2936314"/>
              <a:gd name="connsiteX39" fmla="*/ 10621108 w 11867103"/>
              <a:gd name="connsiteY39" fmla="*/ 2815389 h 2936314"/>
              <a:gd name="connsiteX40" fmla="*/ 10128739 w 11867103"/>
              <a:gd name="connsiteY40" fmla="*/ 2825437 h 2936314"/>
              <a:gd name="connsiteX41" fmla="*/ 10048352 w 11867103"/>
              <a:gd name="connsiteY41" fmla="*/ 2835485 h 2936314"/>
              <a:gd name="connsiteX42" fmla="*/ 9555982 w 11867103"/>
              <a:gd name="connsiteY42" fmla="*/ 2825437 h 2936314"/>
              <a:gd name="connsiteX43" fmla="*/ 9445451 w 11867103"/>
              <a:gd name="connsiteY43" fmla="*/ 2815389 h 2936314"/>
              <a:gd name="connsiteX44" fmla="*/ 9415306 w 11867103"/>
              <a:gd name="connsiteY44" fmla="*/ 2795292 h 2936314"/>
              <a:gd name="connsiteX45" fmla="*/ 9204290 w 11867103"/>
              <a:gd name="connsiteY45" fmla="*/ 2775195 h 2936314"/>
              <a:gd name="connsiteX46" fmla="*/ 9073662 w 11867103"/>
              <a:gd name="connsiteY46" fmla="*/ 2755098 h 2936314"/>
              <a:gd name="connsiteX47" fmla="*/ 8812404 w 11867103"/>
              <a:gd name="connsiteY47" fmla="*/ 2745050 h 2936314"/>
              <a:gd name="connsiteX48" fmla="*/ 8400422 w 11867103"/>
              <a:gd name="connsiteY48" fmla="*/ 2735002 h 2936314"/>
              <a:gd name="connsiteX49" fmla="*/ 8269793 w 11867103"/>
              <a:gd name="connsiteY49" fmla="*/ 2724953 h 2936314"/>
              <a:gd name="connsiteX50" fmla="*/ 7797521 w 11867103"/>
              <a:gd name="connsiteY50" fmla="*/ 2745050 h 2936314"/>
              <a:gd name="connsiteX51" fmla="*/ 7717134 w 11867103"/>
              <a:gd name="connsiteY51" fmla="*/ 2755098 h 2936314"/>
              <a:gd name="connsiteX52" fmla="*/ 7486022 w 11867103"/>
              <a:gd name="connsiteY52" fmla="*/ 2785244 h 2936314"/>
              <a:gd name="connsiteX53" fmla="*/ 7395587 w 11867103"/>
              <a:gd name="connsiteY53" fmla="*/ 2805340 h 2936314"/>
              <a:gd name="connsiteX54" fmla="*/ 7325248 w 11867103"/>
              <a:gd name="connsiteY54" fmla="*/ 2815389 h 2936314"/>
              <a:gd name="connsiteX55" fmla="*/ 6863024 w 11867103"/>
              <a:gd name="connsiteY55" fmla="*/ 2805340 h 2936314"/>
              <a:gd name="connsiteX56" fmla="*/ 6722347 w 11867103"/>
              <a:gd name="connsiteY56" fmla="*/ 2795292 h 2936314"/>
              <a:gd name="connsiteX57" fmla="*/ 4903596 w 11867103"/>
              <a:gd name="connsiteY57" fmla="*/ 2845534 h 2936314"/>
              <a:gd name="connsiteX58" fmla="*/ 4722725 w 11867103"/>
              <a:gd name="connsiteY58" fmla="*/ 2885727 h 2936314"/>
              <a:gd name="connsiteX59" fmla="*/ 4300695 w 11867103"/>
              <a:gd name="connsiteY59" fmla="*/ 2865630 h 2936314"/>
              <a:gd name="connsiteX60" fmla="*/ 4059534 w 11867103"/>
              <a:gd name="connsiteY60" fmla="*/ 2825437 h 2936314"/>
              <a:gd name="connsiteX61" fmla="*/ 3768132 w 11867103"/>
              <a:gd name="connsiteY61" fmla="*/ 2795292 h 2936314"/>
              <a:gd name="connsiteX62" fmla="*/ 3627455 w 11867103"/>
              <a:gd name="connsiteY62" fmla="*/ 2785244 h 2936314"/>
              <a:gd name="connsiteX63" fmla="*/ 3125037 w 11867103"/>
              <a:gd name="connsiteY63" fmla="*/ 2795292 h 2936314"/>
              <a:gd name="connsiteX64" fmla="*/ 3064747 w 11867103"/>
              <a:gd name="connsiteY64" fmla="*/ 2805340 h 2936314"/>
              <a:gd name="connsiteX65" fmla="*/ 2009670 w 11867103"/>
              <a:gd name="connsiteY65" fmla="*/ 2815389 h 2936314"/>
              <a:gd name="connsiteX66" fmla="*/ 1678075 w 11867103"/>
              <a:gd name="connsiteY66" fmla="*/ 2905824 h 2936314"/>
              <a:gd name="connsiteX67" fmla="*/ 1607736 w 11867103"/>
              <a:gd name="connsiteY67" fmla="*/ 2935969 h 2936314"/>
              <a:gd name="connsiteX68" fmla="*/ 1135464 w 11867103"/>
              <a:gd name="connsiteY68" fmla="*/ 2915872 h 2936314"/>
              <a:gd name="connsiteX69" fmla="*/ 944545 w 11867103"/>
              <a:gd name="connsiteY69" fmla="*/ 2885727 h 2936314"/>
              <a:gd name="connsiteX70" fmla="*/ 723481 w 11867103"/>
              <a:gd name="connsiteY70" fmla="*/ 2845534 h 2936314"/>
              <a:gd name="connsiteX71" fmla="*/ 643095 w 11867103"/>
              <a:gd name="connsiteY71" fmla="*/ 2835485 h 2936314"/>
              <a:gd name="connsiteX72" fmla="*/ 371789 w 11867103"/>
              <a:gd name="connsiteY72" fmla="*/ 2795292 h 2936314"/>
              <a:gd name="connsiteX73" fmla="*/ 0 w 11867103"/>
              <a:gd name="connsiteY73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8299939 w 11867103"/>
              <a:gd name="connsiteY12" fmla="*/ 72189 h 2936314"/>
              <a:gd name="connsiteX13" fmla="*/ 8521002 w 11867103"/>
              <a:gd name="connsiteY13" fmla="*/ 82237 h 2936314"/>
              <a:gd name="connsiteX14" fmla="*/ 9515789 w 11867103"/>
              <a:gd name="connsiteY14" fmla="*/ 72189 h 2936314"/>
              <a:gd name="connsiteX15" fmla="*/ 9606224 w 11867103"/>
              <a:gd name="connsiteY15" fmla="*/ 62140 h 2936314"/>
              <a:gd name="connsiteX16" fmla="*/ 9716756 w 11867103"/>
              <a:gd name="connsiteY16" fmla="*/ 52092 h 2936314"/>
              <a:gd name="connsiteX17" fmla="*/ 9797143 w 11867103"/>
              <a:gd name="connsiteY17" fmla="*/ 42044 h 2936314"/>
              <a:gd name="connsiteX18" fmla="*/ 9947868 w 11867103"/>
              <a:gd name="connsiteY18" fmla="*/ 31995 h 2936314"/>
              <a:gd name="connsiteX19" fmla="*/ 10791930 w 11867103"/>
              <a:gd name="connsiteY19" fmla="*/ 1850 h 2936314"/>
              <a:gd name="connsiteX20" fmla="*/ 11736475 w 11867103"/>
              <a:gd name="connsiteY20" fmla="*/ 21947 h 2936314"/>
              <a:gd name="connsiteX21" fmla="*/ 11766620 w 11867103"/>
              <a:gd name="connsiteY21" fmla="*/ 52092 h 2936314"/>
              <a:gd name="connsiteX22" fmla="*/ 11786717 w 11867103"/>
              <a:gd name="connsiteY22" fmla="*/ 92285 h 2936314"/>
              <a:gd name="connsiteX23" fmla="*/ 11806813 w 11867103"/>
              <a:gd name="connsiteY23" fmla="*/ 182720 h 2936314"/>
              <a:gd name="connsiteX24" fmla="*/ 11816862 w 11867103"/>
              <a:gd name="connsiteY24" fmla="*/ 222914 h 2936314"/>
              <a:gd name="connsiteX25" fmla="*/ 11826910 w 11867103"/>
              <a:gd name="connsiteY25" fmla="*/ 313349 h 2936314"/>
              <a:gd name="connsiteX26" fmla="*/ 11836958 w 11867103"/>
              <a:gd name="connsiteY26" fmla="*/ 393736 h 2936314"/>
              <a:gd name="connsiteX27" fmla="*/ 11826910 w 11867103"/>
              <a:gd name="connsiteY27" fmla="*/ 705235 h 2936314"/>
              <a:gd name="connsiteX28" fmla="*/ 11816862 w 11867103"/>
              <a:gd name="connsiteY28" fmla="*/ 765525 h 2936314"/>
              <a:gd name="connsiteX29" fmla="*/ 11806813 w 11867103"/>
              <a:gd name="connsiteY29" fmla="*/ 835863 h 2936314"/>
              <a:gd name="connsiteX30" fmla="*/ 11816862 w 11867103"/>
              <a:gd name="connsiteY30" fmla="*/ 2302923 h 2936314"/>
              <a:gd name="connsiteX31" fmla="*/ 11826910 w 11867103"/>
              <a:gd name="connsiteY31" fmla="*/ 2373261 h 2936314"/>
              <a:gd name="connsiteX32" fmla="*/ 11836958 w 11867103"/>
              <a:gd name="connsiteY32" fmla="*/ 2403406 h 2936314"/>
              <a:gd name="connsiteX33" fmla="*/ 11857055 w 11867103"/>
              <a:gd name="connsiteY33" fmla="*/ 2534035 h 2936314"/>
              <a:gd name="connsiteX34" fmla="*/ 11867103 w 11867103"/>
              <a:gd name="connsiteY34" fmla="*/ 2574228 h 2936314"/>
              <a:gd name="connsiteX35" fmla="*/ 11857055 w 11867103"/>
              <a:gd name="connsiteY35" fmla="*/ 2805340 h 2936314"/>
              <a:gd name="connsiteX36" fmla="*/ 11836958 w 11867103"/>
              <a:gd name="connsiteY36" fmla="*/ 2835485 h 2936314"/>
              <a:gd name="connsiteX37" fmla="*/ 11033090 w 11867103"/>
              <a:gd name="connsiteY37" fmla="*/ 2825437 h 2936314"/>
              <a:gd name="connsiteX38" fmla="*/ 10621108 w 11867103"/>
              <a:gd name="connsiteY38" fmla="*/ 2815389 h 2936314"/>
              <a:gd name="connsiteX39" fmla="*/ 10128739 w 11867103"/>
              <a:gd name="connsiteY39" fmla="*/ 2825437 h 2936314"/>
              <a:gd name="connsiteX40" fmla="*/ 10048352 w 11867103"/>
              <a:gd name="connsiteY40" fmla="*/ 2835485 h 2936314"/>
              <a:gd name="connsiteX41" fmla="*/ 9555982 w 11867103"/>
              <a:gd name="connsiteY41" fmla="*/ 2825437 h 2936314"/>
              <a:gd name="connsiteX42" fmla="*/ 9445451 w 11867103"/>
              <a:gd name="connsiteY42" fmla="*/ 2815389 h 2936314"/>
              <a:gd name="connsiteX43" fmla="*/ 9415306 w 11867103"/>
              <a:gd name="connsiteY43" fmla="*/ 2795292 h 2936314"/>
              <a:gd name="connsiteX44" fmla="*/ 9204290 w 11867103"/>
              <a:gd name="connsiteY44" fmla="*/ 2775195 h 2936314"/>
              <a:gd name="connsiteX45" fmla="*/ 9073662 w 11867103"/>
              <a:gd name="connsiteY45" fmla="*/ 2755098 h 2936314"/>
              <a:gd name="connsiteX46" fmla="*/ 8812404 w 11867103"/>
              <a:gd name="connsiteY46" fmla="*/ 2745050 h 2936314"/>
              <a:gd name="connsiteX47" fmla="*/ 8400422 w 11867103"/>
              <a:gd name="connsiteY47" fmla="*/ 2735002 h 2936314"/>
              <a:gd name="connsiteX48" fmla="*/ 8269793 w 11867103"/>
              <a:gd name="connsiteY48" fmla="*/ 2724953 h 2936314"/>
              <a:gd name="connsiteX49" fmla="*/ 7797521 w 11867103"/>
              <a:gd name="connsiteY49" fmla="*/ 2745050 h 2936314"/>
              <a:gd name="connsiteX50" fmla="*/ 7717134 w 11867103"/>
              <a:gd name="connsiteY50" fmla="*/ 2755098 h 2936314"/>
              <a:gd name="connsiteX51" fmla="*/ 7486022 w 11867103"/>
              <a:gd name="connsiteY51" fmla="*/ 2785244 h 2936314"/>
              <a:gd name="connsiteX52" fmla="*/ 7395587 w 11867103"/>
              <a:gd name="connsiteY52" fmla="*/ 2805340 h 2936314"/>
              <a:gd name="connsiteX53" fmla="*/ 7325248 w 11867103"/>
              <a:gd name="connsiteY53" fmla="*/ 2815389 h 2936314"/>
              <a:gd name="connsiteX54" fmla="*/ 6863024 w 11867103"/>
              <a:gd name="connsiteY54" fmla="*/ 2805340 h 2936314"/>
              <a:gd name="connsiteX55" fmla="*/ 6722347 w 11867103"/>
              <a:gd name="connsiteY55" fmla="*/ 2795292 h 2936314"/>
              <a:gd name="connsiteX56" fmla="*/ 4903596 w 11867103"/>
              <a:gd name="connsiteY56" fmla="*/ 2845534 h 2936314"/>
              <a:gd name="connsiteX57" fmla="*/ 4722725 w 11867103"/>
              <a:gd name="connsiteY57" fmla="*/ 2885727 h 2936314"/>
              <a:gd name="connsiteX58" fmla="*/ 4300695 w 11867103"/>
              <a:gd name="connsiteY58" fmla="*/ 2865630 h 2936314"/>
              <a:gd name="connsiteX59" fmla="*/ 4059534 w 11867103"/>
              <a:gd name="connsiteY59" fmla="*/ 2825437 h 2936314"/>
              <a:gd name="connsiteX60" fmla="*/ 3768132 w 11867103"/>
              <a:gd name="connsiteY60" fmla="*/ 2795292 h 2936314"/>
              <a:gd name="connsiteX61" fmla="*/ 3627455 w 11867103"/>
              <a:gd name="connsiteY61" fmla="*/ 2785244 h 2936314"/>
              <a:gd name="connsiteX62" fmla="*/ 3125037 w 11867103"/>
              <a:gd name="connsiteY62" fmla="*/ 2795292 h 2936314"/>
              <a:gd name="connsiteX63" fmla="*/ 3064747 w 11867103"/>
              <a:gd name="connsiteY63" fmla="*/ 2805340 h 2936314"/>
              <a:gd name="connsiteX64" fmla="*/ 2009670 w 11867103"/>
              <a:gd name="connsiteY64" fmla="*/ 2815389 h 2936314"/>
              <a:gd name="connsiteX65" fmla="*/ 1678075 w 11867103"/>
              <a:gd name="connsiteY65" fmla="*/ 2905824 h 2936314"/>
              <a:gd name="connsiteX66" fmla="*/ 1607736 w 11867103"/>
              <a:gd name="connsiteY66" fmla="*/ 2935969 h 2936314"/>
              <a:gd name="connsiteX67" fmla="*/ 1135464 w 11867103"/>
              <a:gd name="connsiteY67" fmla="*/ 2915872 h 2936314"/>
              <a:gd name="connsiteX68" fmla="*/ 944545 w 11867103"/>
              <a:gd name="connsiteY68" fmla="*/ 2885727 h 2936314"/>
              <a:gd name="connsiteX69" fmla="*/ 723481 w 11867103"/>
              <a:gd name="connsiteY69" fmla="*/ 2845534 h 2936314"/>
              <a:gd name="connsiteX70" fmla="*/ 643095 w 11867103"/>
              <a:gd name="connsiteY70" fmla="*/ 2835485 h 2936314"/>
              <a:gd name="connsiteX71" fmla="*/ 371789 w 11867103"/>
              <a:gd name="connsiteY71" fmla="*/ 2795292 h 2936314"/>
              <a:gd name="connsiteX72" fmla="*/ 0 w 11867103"/>
              <a:gd name="connsiteY72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8521002 w 11867103"/>
              <a:gd name="connsiteY12" fmla="*/ 82237 h 2936314"/>
              <a:gd name="connsiteX13" fmla="*/ 9515789 w 11867103"/>
              <a:gd name="connsiteY13" fmla="*/ 72189 h 2936314"/>
              <a:gd name="connsiteX14" fmla="*/ 9606224 w 11867103"/>
              <a:gd name="connsiteY14" fmla="*/ 62140 h 2936314"/>
              <a:gd name="connsiteX15" fmla="*/ 9716756 w 11867103"/>
              <a:gd name="connsiteY15" fmla="*/ 52092 h 2936314"/>
              <a:gd name="connsiteX16" fmla="*/ 9797143 w 11867103"/>
              <a:gd name="connsiteY16" fmla="*/ 42044 h 2936314"/>
              <a:gd name="connsiteX17" fmla="*/ 9947868 w 11867103"/>
              <a:gd name="connsiteY17" fmla="*/ 31995 h 2936314"/>
              <a:gd name="connsiteX18" fmla="*/ 10791930 w 11867103"/>
              <a:gd name="connsiteY18" fmla="*/ 1850 h 2936314"/>
              <a:gd name="connsiteX19" fmla="*/ 11736475 w 11867103"/>
              <a:gd name="connsiteY19" fmla="*/ 21947 h 2936314"/>
              <a:gd name="connsiteX20" fmla="*/ 11766620 w 11867103"/>
              <a:gd name="connsiteY20" fmla="*/ 52092 h 2936314"/>
              <a:gd name="connsiteX21" fmla="*/ 11786717 w 11867103"/>
              <a:gd name="connsiteY21" fmla="*/ 92285 h 2936314"/>
              <a:gd name="connsiteX22" fmla="*/ 11806813 w 11867103"/>
              <a:gd name="connsiteY22" fmla="*/ 182720 h 2936314"/>
              <a:gd name="connsiteX23" fmla="*/ 11816862 w 11867103"/>
              <a:gd name="connsiteY23" fmla="*/ 222914 h 2936314"/>
              <a:gd name="connsiteX24" fmla="*/ 11826910 w 11867103"/>
              <a:gd name="connsiteY24" fmla="*/ 313349 h 2936314"/>
              <a:gd name="connsiteX25" fmla="*/ 11836958 w 11867103"/>
              <a:gd name="connsiteY25" fmla="*/ 393736 h 2936314"/>
              <a:gd name="connsiteX26" fmla="*/ 11826910 w 11867103"/>
              <a:gd name="connsiteY26" fmla="*/ 705235 h 2936314"/>
              <a:gd name="connsiteX27" fmla="*/ 11816862 w 11867103"/>
              <a:gd name="connsiteY27" fmla="*/ 765525 h 2936314"/>
              <a:gd name="connsiteX28" fmla="*/ 11806813 w 11867103"/>
              <a:gd name="connsiteY28" fmla="*/ 835863 h 2936314"/>
              <a:gd name="connsiteX29" fmla="*/ 11816862 w 11867103"/>
              <a:gd name="connsiteY29" fmla="*/ 2302923 h 2936314"/>
              <a:gd name="connsiteX30" fmla="*/ 11826910 w 11867103"/>
              <a:gd name="connsiteY30" fmla="*/ 2373261 h 2936314"/>
              <a:gd name="connsiteX31" fmla="*/ 11836958 w 11867103"/>
              <a:gd name="connsiteY31" fmla="*/ 2403406 h 2936314"/>
              <a:gd name="connsiteX32" fmla="*/ 11857055 w 11867103"/>
              <a:gd name="connsiteY32" fmla="*/ 2534035 h 2936314"/>
              <a:gd name="connsiteX33" fmla="*/ 11867103 w 11867103"/>
              <a:gd name="connsiteY33" fmla="*/ 2574228 h 2936314"/>
              <a:gd name="connsiteX34" fmla="*/ 11857055 w 11867103"/>
              <a:gd name="connsiteY34" fmla="*/ 2805340 h 2936314"/>
              <a:gd name="connsiteX35" fmla="*/ 11836958 w 11867103"/>
              <a:gd name="connsiteY35" fmla="*/ 2835485 h 2936314"/>
              <a:gd name="connsiteX36" fmla="*/ 11033090 w 11867103"/>
              <a:gd name="connsiteY36" fmla="*/ 2825437 h 2936314"/>
              <a:gd name="connsiteX37" fmla="*/ 10621108 w 11867103"/>
              <a:gd name="connsiteY37" fmla="*/ 2815389 h 2936314"/>
              <a:gd name="connsiteX38" fmla="*/ 10128739 w 11867103"/>
              <a:gd name="connsiteY38" fmla="*/ 2825437 h 2936314"/>
              <a:gd name="connsiteX39" fmla="*/ 10048352 w 11867103"/>
              <a:gd name="connsiteY39" fmla="*/ 2835485 h 2936314"/>
              <a:gd name="connsiteX40" fmla="*/ 9555982 w 11867103"/>
              <a:gd name="connsiteY40" fmla="*/ 2825437 h 2936314"/>
              <a:gd name="connsiteX41" fmla="*/ 9445451 w 11867103"/>
              <a:gd name="connsiteY41" fmla="*/ 2815389 h 2936314"/>
              <a:gd name="connsiteX42" fmla="*/ 9415306 w 11867103"/>
              <a:gd name="connsiteY42" fmla="*/ 2795292 h 2936314"/>
              <a:gd name="connsiteX43" fmla="*/ 9204290 w 11867103"/>
              <a:gd name="connsiteY43" fmla="*/ 2775195 h 2936314"/>
              <a:gd name="connsiteX44" fmla="*/ 9073662 w 11867103"/>
              <a:gd name="connsiteY44" fmla="*/ 2755098 h 2936314"/>
              <a:gd name="connsiteX45" fmla="*/ 8812404 w 11867103"/>
              <a:gd name="connsiteY45" fmla="*/ 2745050 h 2936314"/>
              <a:gd name="connsiteX46" fmla="*/ 8400422 w 11867103"/>
              <a:gd name="connsiteY46" fmla="*/ 2735002 h 2936314"/>
              <a:gd name="connsiteX47" fmla="*/ 8269793 w 11867103"/>
              <a:gd name="connsiteY47" fmla="*/ 2724953 h 2936314"/>
              <a:gd name="connsiteX48" fmla="*/ 7797521 w 11867103"/>
              <a:gd name="connsiteY48" fmla="*/ 2745050 h 2936314"/>
              <a:gd name="connsiteX49" fmla="*/ 7717134 w 11867103"/>
              <a:gd name="connsiteY49" fmla="*/ 2755098 h 2936314"/>
              <a:gd name="connsiteX50" fmla="*/ 7486022 w 11867103"/>
              <a:gd name="connsiteY50" fmla="*/ 2785244 h 2936314"/>
              <a:gd name="connsiteX51" fmla="*/ 7395587 w 11867103"/>
              <a:gd name="connsiteY51" fmla="*/ 2805340 h 2936314"/>
              <a:gd name="connsiteX52" fmla="*/ 7325248 w 11867103"/>
              <a:gd name="connsiteY52" fmla="*/ 2815389 h 2936314"/>
              <a:gd name="connsiteX53" fmla="*/ 6863024 w 11867103"/>
              <a:gd name="connsiteY53" fmla="*/ 2805340 h 2936314"/>
              <a:gd name="connsiteX54" fmla="*/ 6722347 w 11867103"/>
              <a:gd name="connsiteY54" fmla="*/ 2795292 h 2936314"/>
              <a:gd name="connsiteX55" fmla="*/ 4903596 w 11867103"/>
              <a:gd name="connsiteY55" fmla="*/ 2845534 h 2936314"/>
              <a:gd name="connsiteX56" fmla="*/ 4722725 w 11867103"/>
              <a:gd name="connsiteY56" fmla="*/ 2885727 h 2936314"/>
              <a:gd name="connsiteX57" fmla="*/ 4300695 w 11867103"/>
              <a:gd name="connsiteY57" fmla="*/ 2865630 h 2936314"/>
              <a:gd name="connsiteX58" fmla="*/ 4059534 w 11867103"/>
              <a:gd name="connsiteY58" fmla="*/ 2825437 h 2936314"/>
              <a:gd name="connsiteX59" fmla="*/ 3768132 w 11867103"/>
              <a:gd name="connsiteY59" fmla="*/ 2795292 h 2936314"/>
              <a:gd name="connsiteX60" fmla="*/ 3627455 w 11867103"/>
              <a:gd name="connsiteY60" fmla="*/ 2785244 h 2936314"/>
              <a:gd name="connsiteX61" fmla="*/ 3125037 w 11867103"/>
              <a:gd name="connsiteY61" fmla="*/ 2795292 h 2936314"/>
              <a:gd name="connsiteX62" fmla="*/ 3064747 w 11867103"/>
              <a:gd name="connsiteY62" fmla="*/ 2805340 h 2936314"/>
              <a:gd name="connsiteX63" fmla="*/ 2009670 w 11867103"/>
              <a:gd name="connsiteY63" fmla="*/ 2815389 h 2936314"/>
              <a:gd name="connsiteX64" fmla="*/ 1678075 w 11867103"/>
              <a:gd name="connsiteY64" fmla="*/ 2905824 h 2936314"/>
              <a:gd name="connsiteX65" fmla="*/ 1607736 w 11867103"/>
              <a:gd name="connsiteY65" fmla="*/ 2935969 h 2936314"/>
              <a:gd name="connsiteX66" fmla="*/ 1135464 w 11867103"/>
              <a:gd name="connsiteY66" fmla="*/ 2915872 h 2936314"/>
              <a:gd name="connsiteX67" fmla="*/ 944545 w 11867103"/>
              <a:gd name="connsiteY67" fmla="*/ 2885727 h 2936314"/>
              <a:gd name="connsiteX68" fmla="*/ 723481 w 11867103"/>
              <a:gd name="connsiteY68" fmla="*/ 2845534 h 2936314"/>
              <a:gd name="connsiteX69" fmla="*/ 643095 w 11867103"/>
              <a:gd name="connsiteY69" fmla="*/ 2835485 h 2936314"/>
              <a:gd name="connsiteX70" fmla="*/ 371789 w 11867103"/>
              <a:gd name="connsiteY70" fmla="*/ 2795292 h 2936314"/>
              <a:gd name="connsiteX71" fmla="*/ 0 w 11867103"/>
              <a:gd name="connsiteY71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515789 w 11867103"/>
              <a:gd name="connsiteY12" fmla="*/ 72189 h 2936314"/>
              <a:gd name="connsiteX13" fmla="*/ 9606224 w 11867103"/>
              <a:gd name="connsiteY13" fmla="*/ 62140 h 2936314"/>
              <a:gd name="connsiteX14" fmla="*/ 9716756 w 11867103"/>
              <a:gd name="connsiteY14" fmla="*/ 52092 h 2936314"/>
              <a:gd name="connsiteX15" fmla="*/ 9797143 w 11867103"/>
              <a:gd name="connsiteY15" fmla="*/ 42044 h 2936314"/>
              <a:gd name="connsiteX16" fmla="*/ 9947868 w 11867103"/>
              <a:gd name="connsiteY16" fmla="*/ 31995 h 2936314"/>
              <a:gd name="connsiteX17" fmla="*/ 10791930 w 11867103"/>
              <a:gd name="connsiteY17" fmla="*/ 1850 h 2936314"/>
              <a:gd name="connsiteX18" fmla="*/ 11736475 w 11867103"/>
              <a:gd name="connsiteY18" fmla="*/ 21947 h 2936314"/>
              <a:gd name="connsiteX19" fmla="*/ 11766620 w 11867103"/>
              <a:gd name="connsiteY19" fmla="*/ 52092 h 2936314"/>
              <a:gd name="connsiteX20" fmla="*/ 11786717 w 11867103"/>
              <a:gd name="connsiteY20" fmla="*/ 92285 h 2936314"/>
              <a:gd name="connsiteX21" fmla="*/ 11806813 w 11867103"/>
              <a:gd name="connsiteY21" fmla="*/ 182720 h 2936314"/>
              <a:gd name="connsiteX22" fmla="*/ 11816862 w 11867103"/>
              <a:gd name="connsiteY22" fmla="*/ 222914 h 2936314"/>
              <a:gd name="connsiteX23" fmla="*/ 11826910 w 11867103"/>
              <a:gd name="connsiteY23" fmla="*/ 313349 h 2936314"/>
              <a:gd name="connsiteX24" fmla="*/ 11836958 w 11867103"/>
              <a:gd name="connsiteY24" fmla="*/ 393736 h 2936314"/>
              <a:gd name="connsiteX25" fmla="*/ 11826910 w 11867103"/>
              <a:gd name="connsiteY25" fmla="*/ 705235 h 2936314"/>
              <a:gd name="connsiteX26" fmla="*/ 11816862 w 11867103"/>
              <a:gd name="connsiteY26" fmla="*/ 765525 h 2936314"/>
              <a:gd name="connsiteX27" fmla="*/ 11806813 w 11867103"/>
              <a:gd name="connsiteY27" fmla="*/ 835863 h 2936314"/>
              <a:gd name="connsiteX28" fmla="*/ 11816862 w 11867103"/>
              <a:gd name="connsiteY28" fmla="*/ 2302923 h 2936314"/>
              <a:gd name="connsiteX29" fmla="*/ 11826910 w 11867103"/>
              <a:gd name="connsiteY29" fmla="*/ 2373261 h 2936314"/>
              <a:gd name="connsiteX30" fmla="*/ 11836958 w 11867103"/>
              <a:gd name="connsiteY30" fmla="*/ 2403406 h 2936314"/>
              <a:gd name="connsiteX31" fmla="*/ 11857055 w 11867103"/>
              <a:gd name="connsiteY31" fmla="*/ 2534035 h 2936314"/>
              <a:gd name="connsiteX32" fmla="*/ 11867103 w 11867103"/>
              <a:gd name="connsiteY32" fmla="*/ 2574228 h 2936314"/>
              <a:gd name="connsiteX33" fmla="*/ 11857055 w 11867103"/>
              <a:gd name="connsiteY33" fmla="*/ 2805340 h 2936314"/>
              <a:gd name="connsiteX34" fmla="*/ 11836958 w 11867103"/>
              <a:gd name="connsiteY34" fmla="*/ 2835485 h 2936314"/>
              <a:gd name="connsiteX35" fmla="*/ 11033090 w 11867103"/>
              <a:gd name="connsiteY35" fmla="*/ 2825437 h 2936314"/>
              <a:gd name="connsiteX36" fmla="*/ 10621108 w 11867103"/>
              <a:gd name="connsiteY36" fmla="*/ 2815389 h 2936314"/>
              <a:gd name="connsiteX37" fmla="*/ 10128739 w 11867103"/>
              <a:gd name="connsiteY37" fmla="*/ 2825437 h 2936314"/>
              <a:gd name="connsiteX38" fmla="*/ 10048352 w 11867103"/>
              <a:gd name="connsiteY38" fmla="*/ 2835485 h 2936314"/>
              <a:gd name="connsiteX39" fmla="*/ 9555982 w 11867103"/>
              <a:gd name="connsiteY39" fmla="*/ 2825437 h 2936314"/>
              <a:gd name="connsiteX40" fmla="*/ 9445451 w 11867103"/>
              <a:gd name="connsiteY40" fmla="*/ 2815389 h 2936314"/>
              <a:gd name="connsiteX41" fmla="*/ 9415306 w 11867103"/>
              <a:gd name="connsiteY41" fmla="*/ 2795292 h 2936314"/>
              <a:gd name="connsiteX42" fmla="*/ 9204290 w 11867103"/>
              <a:gd name="connsiteY42" fmla="*/ 2775195 h 2936314"/>
              <a:gd name="connsiteX43" fmla="*/ 9073662 w 11867103"/>
              <a:gd name="connsiteY43" fmla="*/ 2755098 h 2936314"/>
              <a:gd name="connsiteX44" fmla="*/ 8812404 w 11867103"/>
              <a:gd name="connsiteY44" fmla="*/ 2745050 h 2936314"/>
              <a:gd name="connsiteX45" fmla="*/ 8400422 w 11867103"/>
              <a:gd name="connsiteY45" fmla="*/ 2735002 h 2936314"/>
              <a:gd name="connsiteX46" fmla="*/ 8269793 w 11867103"/>
              <a:gd name="connsiteY46" fmla="*/ 2724953 h 2936314"/>
              <a:gd name="connsiteX47" fmla="*/ 7797521 w 11867103"/>
              <a:gd name="connsiteY47" fmla="*/ 2745050 h 2936314"/>
              <a:gd name="connsiteX48" fmla="*/ 7717134 w 11867103"/>
              <a:gd name="connsiteY48" fmla="*/ 2755098 h 2936314"/>
              <a:gd name="connsiteX49" fmla="*/ 7486022 w 11867103"/>
              <a:gd name="connsiteY49" fmla="*/ 2785244 h 2936314"/>
              <a:gd name="connsiteX50" fmla="*/ 7395587 w 11867103"/>
              <a:gd name="connsiteY50" fmla="*/ 2805340 h 2936314"/>
              <a:gd name="connsiteX51" fmla="*/ 7325248 w 11867103"/>
              <a:gd name="connsiteY51" fmla="*/ 2815389 h 2936314"/>
              <a:gd name="connsiteX52" fmla="*/ 6863024 w 11867103"/>
              <a:gd name="connsiteY52" fmla="*/ 2805340 h 2936314"/>
              <a:gd name="connsiteX53" fmla="*/ 6722347 w 11867103"/>
              <a:gd name="connsiteY53" fmla="*/ 2795292 h 2936314"/>
              <a:gd name="connsiteX54" fmla="*/ 4903596 w 11867103"/>
              <a:gd name="connsiteY54" fmla="*/ 2845534 h 2936314"/>
              <a:gd name="connsiteX55" fmla="*/ 4722725 w 11867103"/>
              <a:gd name="connsiteY55" fmla="*/ 2885727 h 2936314"/>
              <a:gd name="connsiteX56" fmla="*/ 4300695 w 11867103"/>
              <a:gd name="connsiteY56" fmla="*/ 2865630 h 2936314"/>
              <a:gd name="connsiteX57" fmla="*/ 4059534 w 11867103"/>
              <a:gd name="connsiteY57" fmla="*/ 2825437 h 2936314"/>
              <a:gd name="connsiteX58" fmla="*/ 3768132 w 11867103"/>
              <a:gd name="connsiteY58" fmla="*/ 2795292 h 2936314"/>
              <a:gd name="connsiteX59" fmla="*/ 3627455 w 11867103"/>
              <a:gd name="connsiteY59" fmla="*/ 2785244 h 2936314"/>
              <a:gd name="connsiteX60" fmla="*/ 3125037 w 11867103"/>
              <a:gd name="connsiteY60" fmla="*/ 2795292 h 2936314"/>
              <a:gd name="connsiteX61" fmla="*/ 3064747 w 11867103"/>
              <a:gd name="connsiteY61" fmla="*/ 2805340 h 2936314"/>
              <a:gd name="connsiteX62" fmla="*/ 2009670 w 11867103"/>
              <a:gd name="connsiteY62" fmla="*/ 2815389 h 2936314"/>
              <a:gd name="connsiteX63" fmla="*/ 1678075 w 11867103"/>
              <a:gd name="connsiteY63" fmla="*/ 2905824 h 2936314"/>
              <a:gd name="connsiteX64" fmla="*/ 1607736 w 11867103"/>
              <a:gd name="connsiteY64" fmla="*/ 2935969 h 2936314"/>
              <a:gd name="connsiteX65" fmla="*/ 1135464 w 11867103"/>
              <a:gd name="connsiteY65" fmla="*/ 2915872 h 2936314"/>
              <a:gd name="connsiteX66" fmla="*/ 944545 w 11867103"/>
              <a:gd name="connsiteY66" fmla="*/ 2885727 h 2936314"/>
              <a:gd name="connsiteX67" fmla="*/ 723481 w 11867103"/>
              <a:gd name="connsiteY67" fmla="*/ 2845534 h 2936314"/>
              <a:gd name="connsiteX68" fmla="*/ 643095 w 11867103"/>
              <a:gd name="connsiteY68" fmla="*/ 2835485 h 2936314"/>
              <a:gd name="connsiteX69" fmla="*/ 371789 w 11867103"/>
              <a:gd name="connsiteY69" fmla="*/ 2795292 h 2936314"/>
              <a:gd name="connsiteX70" fmla="*/ 0 w 11867103"/>
              <a:gd name="connsiteY70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716756 w 11867103"/>
              <a:gd name="connsiteY13" fmla="*/ 52092 h 2936314"/>
              <a:gd name="connsiteX14" fmla="*/ 9797143 w 11867103"/>
              <a:gd name="connsiteY14" fmla="*/ 42044 h 2936314"/>
              <a:gd name="connsiteX15" fmla="*/ 9947868 w 11867103"/>
              <a:gd name="connsiteY15" fmla="*/ 31995 h 2936314"/>
              <a:gd name="connsiteX16" fmla="*/ 10791930 w 11867103"/>
              <a:gd name="connsiteY16" fmla="*/ 1850 h 2936314"/>
              <a:gd name="connsiteX17" fmla="*/ 11736475 w 11867103"/>
              <a:gd name="connsiteY17" fmla="*/ 21947 h 2936314"/>
              <a:gd name="connsiteX18" fmla="*/ 11766620 w 11867103"/>
              <a:gd name="connsiteY18" fmla="*/ 52092 h 2936314"/>
              <a:gd name="connsiteX19" fmla="*/ 11786717 w 11867103"/>
              <a:gd name="connsiteY19" fmla="*/ 92285 h 2936314"/>
              <a:gd name="connsiteX20" fmla="*/ 11806813 w 11867103"/>
              <a:gd name="connsiteY20" fmla="*/ 182720 h 2936314"/>
              <a:gd name="connsiteX21" fmla="*/ 11816862 w 11867103"/>
              <a:gd name="connsiteY21" fmla="*/ 222914 h 2936314"/>
              <a:gd name="connsiteX22" fmla="*/ 11826910 w 11867103"/>
              <a:gd name="connsiteY22" fmla="*/ 313349 h 2936314"/>
              <a:gd name="connsiteX23" fmla="*/ 11836958 w 11867103"/>
              <a:gd name="connsiteY23" fmla="*/ 393736 h 2936314"/>
              <a:gd name="connsiteX24" fmla="*/ 11826910 w 11867103"/>
              <a:gd name="connsiteY24" fmla="*/ 705235 h 2936314"/>
              <a:gd name="connsiteX25" fmla="*/ 11816862 w 11867103"/>
              <a:gd name="connsiteY25" fmla="*/ 765525 h 2936314"/>
              <a:gd name="connsiteX26" fmla="*/ 11806813 w 11867103"/>
              <a:gd name="connsiteY26" fmla="*/ 835863 h 2936314"/>
              <a:gd name="connsiteX27" fmla="*/ 11816862 w 11867103"/>
              <a:gd name="connsiteY27" fmla="*/ 2302923 h 2936314"/>
              <a:gd name="connsiteX28" fmla="*/ 11826910 w 11867103"/>
              <a:gd name="connsiteY28" fmla="*/ 2373261 h 2936314"/>
              <a:gd name="connsiteX29" fmla="*/ 11836958 w 11867103"/>
              <a:gd name="connsiteY29" fmla="*/ 2403406 h 2936314"/>
              <a:gd name="connsiteX30" fmla="*/ 11857055 w 11867103"/>
              <a:gd name="connsiteY30" fmla="*/ 2534035 h 2936314"/>
              <a:gd name="connsiteX31" fmla="*/ 11867103 w 11867103"/>
              <a:gd name="connsiteY31" fmla="*/ 2574228 h 2936314"/>
              <a:gd name="connsiteX32" fmla="*/ 11857055 w 11867103"/>
              <a:gd name="connsiteY32" fmla="*/ 2805340 h 2936314"/>
              <a:gd name="connsiteX33" fmla="*/ 11836958 w 11867103"/>
              <a:gd name="connsiteY33" fmla="*/ 2835485 h 2936314"/>
              <a:gd name="connsiteX34" fmla="*/ 11033090 w 11867103"/>
              <a:gd name="connsiteY34" fmla="*/ 2825437 h 2936314"/>
              <a:gd name="connsiteX35" fmla="*/ 10621108 w 11867103"/>
              <a:gd name="connsiteY35" fmla="*/ 2815389 h 2936314"/>
              <a:gd name="connsiteX36" fmla="*/ 10128739 w 11867103"/>
              <a:gd name="connsiteY36" fmla="*/ 2825437 h 2936314"/>
              <a:gd name="connsiteX37" fmla="*/ 10048352 w 11867103"/>
              <a:gd name="connsiteY37" fmla="*/ 2835485 h 2936314"/>
              <a:gd name="connsiteX38" fmla="*/ 9555982 w 11867103"/>
              <a:gd name="connsiteY38" fmla="*/ 2825437 h 2936314"/>
              <a:gd name="connsiteX39" fmla="*/ 9445451 w 11867103"/>
              <a:gd name="connsiteY39" fmla="*/ 2815389 h 2936314"/>
              <a:gd name="connsiteX40" fmla="*/ 9415306 w 11867103"/>
              <a:gd name="connsiteY40" fmla="*/ 2795292 h 2936314"/>
              <a:gd name="connsiteX41" fmla="*/ 9204290 w 11867103"/>
              <a:gd name="connsiteY41" fmla="*/ 2775195 h 2936314"/>
              <a:gd name="connsiteX42" fmla="*/ 9073662 w 11867103"/>
              <a:gd name="connsiteY42" fmla="*/ 2755098 h 2936314"/>
              <a:gd name="connsiteX43" fmla="*/ 8812404 w 11867103"/>
              <a:gd name="connsiteY43" fmla="*/ 2745050 h 2936314"/>
              <a:gd name="connsiteX44" fmla="*/ 8400422 w 11867103"/>
              <a:gd name="connsiteY44" fmla="*/ 2735002 h 2936314"/>
              <a:gd name="connsiteX45" fmla="*/ 8269793 w 11867103"/>
              <a:gd name="connsiteY45" fmla="*/ 2724953 h 2936314"/>
              <a:gd name="connsiteX46" fmla="*/ 7797521 w 11867103"/>
              <a:gd name="connsiteY46" fmla="*/ 2745050 h 2936314"/>
              <a:gd name="connsiteX47" fmla="*/ 7717134 w 11867103"/>
              <a:gd name="connsiteY47" fmla="*/ 2755098 h 2936314"/>
              <a:gd name="connsiteX48" fmla="*/ 7486022 w 11867103"/>
              <a:gd name="connsiteY48" fmla="*/ 2785244 h 2936314"/>
              <a:gd name="connsiteX49" fmla="*/ 7395587 w 11867103"/>
              <a:gd name="connsiteY49" fmla="*/ 2805340 h 2936314"/>
              <a:gd name="connsiteX50" fmla="*/ 7325248 w 11867103"/>
              <a:gd name="connsiteY50" fmla="*/ 2815389 h 2936314"/>
              <a:gd name="connsiteX51" fmla="*/ 6863024 w 11867103"/>
              <a:gd name="connsiteY51" fmla="*/ 2805340 h 2936314"/>
              <a:gd name="connsiteX52" fmla="*/ 6722347 w 11867103"/>
              <a:gd name="connsiteY52" fmla="*/ 2795292 h 2936314"/>
              <a:gd name="connsiteX53" fmla="*/ 4903596 w 11867103"/>
              <a:gd name="connsiteY53" fmla="*/ 2845534 h 2936314"/>
              <a:gd name="connsiteX54" fmla="*/ 4722725 w 11867103"/>
              <a:gd name="connsiteY54" fmla="*/ 2885727 h 2936314"/>
              <a:gd name="connsiteX55" fmla="*/ 4300695 w 11867103"/>
              <a:gd name="connsiteY55" fmla="*/ 2865630 h 2936314"/>
              <a:gd name="connsiteX56" fmla="*/ 4059534 w 11867103"/>
              <a:gd name="connsiteY56" fmla="*/ 2825437 h 2936314"/>
              <a:gd name="connsiteX57" fmla="*/ 3768132 w 11867103"/>
              <a:gd name="connsiteY57" fmla="*/ 2795292 h 2936314"/>
              <a:gd name="connsiteX58" fmla="*/ 3627455 w 11867103"/>
              <a:gd name="connsiteY58" fmla="*/ 2785244 h 2936314"/>
              <a:gd name="connsiteX59" fmla="*/ 3125037 w 11867103"/>
              <a:gd name="connsiteY59" fmla="*/ 2795292 h 2936314"/>
              <a:gd name="connsiteX60" fmla="*/ 3064747 w 11867103"/>
              <a:gd name="connsiteY60" fmla="*/ 2805340 h 2936314"/>
              <a:gd name="connsiteX61" fmla="*/ 2009670 w 11867103"/>
              <a:gd name="connsiteY61" fmla="*/ 2815389 h 2936314"/>
              <a:gd name="connsiteX62" fmla="*/ 1678075 w 11867103"/>
              <a:gd name="connsiteY62" fmla="*/ 2905824 h 2936314"/>
              <a:gd name="connsiteX63" fmla="*/ 1607736 w 11867103"/>
              <a:gd name="connsiteY63" fmla="*/ 2935969 h 2936314"/>
              <a:gd name="connsiteX64" fmla="*/ 1135464 w 11867103"/>
              <a:gd name="connsiteY64" fmla="*/ 2915872 h 2936314"/>
              <a:gd name="connsiteX65" fmla="*/ 944545 w 11867103"/>
              <a:gd name="connsiteY65" fmla="*/ 2885727 h 2936314"/>
              <a:gd name="connsiteX66" fmla="*/ 723481 w 11867103"/>
              <a:gd name="connsiteY66" fmla="*/ 2845534 h 2936314"/>
              <a:gd name="connsiteX67" fmla="*/ 643095 w 11867103"/>
              <a:gd name="connsiteY67" fmla="*/ 2835485 h 2936314"/>
              <a:gd name="connsiteX68" fmla="*/ 371789 w 11867103"/>
              <a:gd name="connsiteY68" fmla="*/ 2795292 h 2936314"/>
              <a:gd name="connsiteX69" fmla="*/ 0 w 11867103"/>
              <a:gd name="connsiteY69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797143 w 11867103"/>
              <a:gd name="connsiteY13" fmla="*/ 42044 h 2936314"/>
              <a:gd name="connsiteX14" fmla="*/ 9947868 w 11867103"/>
              <a:gd name="connsiteY14" fmla="*/ 31995 h 2936314"/>
              <a:gd name="connsiteX15" fmla="*/ 10791930 w 11867103"/>
              <a:gd name="connsiteY15" fmla="*/ 1850 h 2936314"/>
              <a:gd name="connsiteX16" fmla="*/ 11736475 w 11867103"/>
              <a:gd name="connsiteY16" fmla="*/ 21947 h 2936314"/>
              <a:gd name="connsiteX17" fmla="*/ 11766620 w 11867103"/>
              <a:gd name="connsiteY17" fmla="*/ 52092 h 2936314"/>
              <a:gd name="connsiteX18" fmla="*/ 11786717 w 11867103"/>
              <a:gd name="connsiteY18" fmla="*/ 92285 h 2936314"/>
              <a:gd name="connsiteX19" fmla="*/ 11806813 w 11867103"/>
              <a:gd name="connsiteY19" fmla="*/ 182720 h 2936314"/>
              <a:gd name="connsiteX20" fmla="*/ 11816862 w 11867103"/>
              <a:gd name="connsiteY20" fmla="*/ 222914 h 2936314"/>
              <a:gd name="connsiteX21" fmla="*/ 11826910 w 11867103"/>
              <a:gd name="connsiteY21" fmla="*/ 313349 h 2936314"/>
              <a:gd name="connsiteX22" fmla="*/ 11836958 w 11867103"/>
              <a:gd name="connsiteY22" fmla="*/ 393736 h 2936314"/>
              <a:gd name="connsiteX23" fmla="*/ 11826910 w 11867103"/>
              <a:gd name="connsiteY23" fmla="*/ 705235 h 2936314"/>
              <a:gd name="connsiteX24" fmla="*/ 11816862 w 11867103"/>
              <a:gd name="connsiteY24" fmla="*/ 765525 h 2936314"/>
              <a:gd name="connsiteX25" fmla="*/ 11806813 w 11867103"/>
              <a:gd name="connsiteY25" fmla="*/ 835863 h 2936314"/>
              <a:gd name="connsiteX26" fmla="*/ 11816862 w 11867103"/>
              <a:gd name="connsiteY26" fmla="*/ 2302923 h 2936314"/>
              <a:gd name="connsiteX27" fmla="*/ 11826910 w 11867103"/>
              <a:gd name="connsiteY27" fmla="*/ 2373261 h 2936314"/>
              <a:gd name="connsiteX28" fmla="*/ 11836958 w 11867103"/>
              <a:gd name="connsiteY28" fmla="*/ 2403406 h 2936314"/>
              <a:gd name="connsiteX29" fmla="*/ 11857055 w 11867103"/>
              <a:gd name="connsiteY29" fmla="*/ 2534035 h 2936314"/>
              <a:gd name="connsiteX30" fmla="*/ 11867103 w 11867103"/>
              <a:gd name="connsiteY30" fmla="*/ 2574228 h 2936314"/>
              <a:gd name="connsiteX31" fmla="*/ 11857055 w 11867103"/>
              <a:gd name="connsiteY31" fmla="*/ 2805340 h 2936314"/>
              <a:gd name="connsiteX32" fmla="*/ 11836958 w 11867103"/>
              <a:gd name="connsiteY32" fmla="*/ 2835485 h 2936314"/>
              <a:gd name="connsiteX33" fmla="*/ 11033090 w 11867103"/>
              <a:gd name="connsiteY33" fmla="*/ 2825437 h 2936314"/>
              <a:gd name="connsiteX34" fmla="*/ 10621108 w 11867103"/>
              <a:gd name="connsiteY34" fmla="*/ 2815389 h 2936314"/>
              <a:gd name="connsiteX35" fmla="*/ 10128739 w 11867103"/>
              <a:gd name="connsiteY35" fmla="*/ 2825437 h 2936314"/>
              <a:gd name="connsiteX36" fmla="*/ 10048352 w 11867103"/>
              <a:gd name="connsiteY36" fmla="*/ 2835485 h 2936314"/>
              <a:gd name="connsiteX37" fmla="*/ 9555982 w 11867103"/>
              <a:gd name="connsiteY37" fmla="*/ 2825437 h 2936314"/>
              <a:gd name="connsiteX38" fmla="*/ 9445451 w 11867103"/>
              <a:gd name="connsiteY38" fmla="*/ 2815389 h 2936314"/>
              <a:gd name="connsiteX39" fmla="*/ 9415306 w 11867103"/>
              <a:gd name="connsiteY39" fmla="*/ 2795292 h 2936314"/>
              <a:gd name="connsiteX40" fmla="*/ 9204290 w 11867103"/>
              <a:gd name="connsiteY40" fmla="*/ 2775195 h 2936314"/>
              <a:gd name="connsiteX41" fmla="*/ 9073662 w 11867103"/>
              <a:gd name="connsiteY41" fmla="*/ 2755098 h 2936314"/>
              <a:gd name="connsiteX42" fmla="*/ 8812404 w 11867103"/>
              <a:gd name="connsiteY42" fmla="*/ 2745050 h 2936314"/>
              <a:gd name="connsiteX43" fmla="*/ 8400422 w 11867103"/>
              <a:gd name="connsiteY43" fmla="*/ 2735002 h 2936314"/>
              <a:gd name="connsiteX44" fmla="*/ 8269793 w 11867103"/>
              <a:gd name="connsiteY44" fmla="*/ 2724953 h 2936314"/>
              <a:gd name="connsiteX45" fmla="*/ 7797521 w 11867103"/>
              <a:gd name="connsiteY45" fmla="*/ 2745050 h 2936314"/>
              <a:gd name="connsiteX46" fmla="*/ 7717134 w 11867103"/>
              <a:gd name="connsiteY46" fmla="*/ 2755098 h 2936314"/>
              <a:gd name="connsiteX47" fmla="*/ 7486022 w 11867103"/>
              <a:gd name="connsiteY47" fmla="*/ 2785244 h 2936314"/>
              <a:gd name="connsiteX48" fmla="*/ 7395587 w 11867103"/>
              <a:gd name="connsiteY48" fmla="*/ 2805340 h 2936314"/>
              <a:gd name="connsiteX49" fmla="*/ 7325248 w 11867103"/>
              <a:gd name="connsiteY49" fmla="*/ 2815389 h 2936314"/>
              <a:gd name="connsiteX50" fmla="*/ 6863024 w 11867103"/>
              <a:gd name="connsiteY50" fmla="*/ 2805340 h 2936314"/>
              <a:gd name="connsiteX51" fmla="*/ 6722347 w 11867103"/>
              <a:gd name="connsiteY51" fmla="*/ 2795292 h 2936314"/>
              <a:gd name="connsiteX52" fmla="*/ 4903596 w 11867103"/>
              <a:gd name="connsiteY52" fmla="*/ 2845534 h 2936314"/>
              <a:gd name="connsiteX53" fmla="*/ 4722725 w 11867103"/>
              <a:gd name="connsiteY53" fmla="*/ 2885727 h 2936314"/>
              <a:gd name="connsiteX54" fmla="*/ 4300695 w 11867103"/>
              <a:gd name="connsiteY54" fmla="*/ 2865630 h 2936314"/>
              <a:gd name="connsiteX55" fmla="*/ 4059534 w 11867103"/>
              <a:gd name="connsiteY55" fmla="*/ 2825437 h 2936314"/>
              <a:gd name="connsiteX56" fmla="*/ 3768132 w 11867103"/>
              <a:gd name="connsiteY56" fmla="*/ 2795292 h 2936314"/>
              <a:gd name="connsiteX57" fmla="*/ 3627455 w 11867103"/>
              <a:gd name="connsiteY57" fmla="*/ 2785244 h 2936314"/>
              <a:gd name="connsiteX58" fmla="*/ 3125037 w 11867103"/>
              <a:gd name="connsiteY58" fmla="*/ 2795292 h 2936314"/>
              <a:gd name="connsiteX59" fmla="*/ 3064747 w 11867103"/>
              <a:gd name="connsiteY59" fmla="*/ 2805340 h 2936314"/>
              <a:gd name="connsiteX60" fmla="*/ 2009670 w 11867103"/>
              <a:gd name="connsiteY60" fmla="*/ 2815389 h 2936314"/>
              <a:gd name="connsiteX61" fmla="*/ 1678075 w 11867103"/>
              <a:gd name="connsiteY61" fmla="*/ 2905824 h 2936314"/>
              <a:gd name="connsiteX62" fmla="*/ 1607736 w 11867103"/>
              <a:gd name="connsiteY62" fmla="*/ 2935969 h 2936314"/>
              <a:gd name="connsiteX63" fmla="*/ 1135464 w 11867103"/>
              <a:gd name="connsiteY63" fmla="*/ 2915872 h 2936314"/>
              <a:gd name="connsiteX64" fmla="*/ 944545 w 11867103"/>
              <a:gd name="connsiteY64" fmla="*/ 2885727 h 2936314"/>
              <a:gd name="connsiteX65" fmla="*/ 723481 w 11867103"/>
              <a:gd name="connsiteY65" fmla="*/ 2845534 h 2936314"/>
              <a:gd name="connsiteX66" fmla="*/ 643095 w 11867103"/>
              <a:gd name="connsiteY66" fmla="*/ 2835485 h 2936314"/>
              <a:gd name="connsiteX67" fmla="*/ 371789 w 11867103"/>
              <a:gd name="connsiteY67" fmla="*/ 2795292 h 2936314"/>
              <a:gd name="connsiteX68" fmla="*/ 0 w 11867103"/>
              <a:gd name="connsiteY68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16862 w 11867103"/>
              <a:gd name="connsiteY19" fmla="*/ 222914 h 2936314"/>
              <a:gd name="connsiteX20" fmla="*/ 11826910 w 11867103"/>
              <a:gd name="connsiteY20" fmla="*/ 313349 h 2936314"/>
              <a:gd name="connsiteX21" fmla="*/ 11836958 w 11867103"/>
              <a:gd name="connsiteY21" fmla="*/ 393736 h 2936314"/>
              <a:gd name="connsiteX22" fmla="*/ 11826910 w 11867103"/>
              <a:gd name="connsiteY22" fmla="*/ 705235 h 2936314"/>
              <a:gd name="connsiteX23" fmla="*/ 11816862 w 11867103"/>
              <a:gd name="connsiteY23" fmla="*/ 765525 h 2936314"/>
              <a:gd name="connsiteX24" fmla="*/ 11806813 w 11867103"/>
              <a:gd name="connsiteY24" fmla="*/ 835863 h 2936314"/>
              <a:gd name="connsiteX25" fmla="*/ 11816862 w 11867103"/>
              <a:gd name="connsiteY25" fmla="*/ 2302923 h 2936314"/>
              <a:gd name="connsiteX26" fmla="*/ 11826910 w 11867103"/>
              <a:gd name="connsiteY26" fmla="*/ 2373261 h 2936314"/>
              <a:gd name="connsiteX27" fmla="*/ 11836958 w 11867103"/>
              <a:gd name="connsiteY27" fmla="*/ 2403406 h 2936314"/>
              <a:gd name="connsiteX28" fmla="*/ 11857055 w 11867103"/>
              <a:gd name="connsiteY28" fmla="*/ 2534035 h 2936314"/>
              <a:gd name="connsiteX29" fmla="*/ 11867103 w 11867103"/>
              <a:gd name="connsiteY29" fmla="*/ 2574228 h 2936314"/>
              <a:gd name="connsiteX30" fmla="*/ 11857055 w 11867103"/>
              <a:gd name="connsiteY30" fmla="*/ 2805340 h 2936314"/>
              <a:gd name="connsiteX31" fmla="*/ 11836958 w 11867103"/>
              <a:gd name="connsiteY31" fmla="*/ 2835485 h 2936314"/>
              <a:gd name="connsiteX32" fmla="*/ 11033090 w 11867103"/>
              <a:gd name="connsiteY32" fmla="*/ 2825437 h 2936314"/>
              <a:gd name="connsiteX33" fmla="*/ 10621108 w 11867103"/>
              <a:gd name="connsiteY33" fmla="*/ 2815389 h 2936314"/>
              <a:gd name="connsiteX34" fmla="*/ 10128739 w 11867103"/>
              <a:gd name="connsiteY34" fmla="*/ 2825437 h 2936314"/>
              <a:gd name="connsiteX35" fmla="*/ 10048352 w 11867103"/>
              <a:gd name="connsiteY35" fmla="*/ 2835485 h 2936314"/>
              <a:gd name="connsiteX36" fmla="*/ 9555982 w 11867103"/>
              <a:gd name="connsiteY36" fmla="*/ 2825437 h 2936314"/>
              <a:gd name="connsiteX37" fmla="*/ 9445451 w 11867103"/>
              <a:gd name="connsiteY37" fmla="*/ 2815389 h 2936314"/>
              <a:gd name="connsiteX38" fmla="*/ 9415306 w 11867103"/>
              <a:gd name="connsiteY38" fmla="*/ 2795292 h 2936314"/>
              <a:gd name="connsiteX39" fmla="*/ 9204290 w 11867103"/>
              <a:gd name="connsiteY39" fmla="*/ 2775195 h 2936314"/>
              <a:gd name="connsiteX40" fmla="*/ 9073662 w 11867103"/>
              <a:gd name="connsiteY40" fmla="*/ 2755098 h 2936314"/>
              <a:gd name="connsiteX41" fmla="*/ 8812404 w 11867103"/>
              <a:gd name="connsiteY41" fmla="*/ 2745050 h 2936314"/>
              <a:gd name="connsiteX42" fmla="*/ 8400422 w 11867103"/>
              <a:gd name="connsiteY42" fmla="*/ 2735002 h 2936314"/>
              <a:gd name="connsiteX43" fmla="*/ 8269793 w 11867103"/>
              <a:gd name="connsiteY43" fmla="*/ 2724953 h 2936314"/>
              <a:gd name="connsiteX44" fmla="*/ 7797521 w 11867103"/>
              <a:gd name="connsiteY44" fmla="*/ 2745050 h 2936314"/>
              <a:gd name="connsiteX45" fmla="*/ 7717134 w 11867103"/>
              <a:gd name="connsiteY45" fmla="*/ 2755098 h 2936314"/>
              <a:gd name="connsiteX46" fmla="*/ 7486022 w 11867103"/>
              <a:gd name="connsiteY46" fmla="*/ 2785244 h 2936314"/>
              <a:gd name="connsiteX47" fmla="*/ 7395587 w 11867103"/>
              <a:gd name="connsiteY47" fmla="*/ 2805340 h 2936314"/>
              <a:gd name="connsiteX48" fmla="*/ 7325248 w 11867103"/>
              <a:gd name="connsiteY48" fmla="*/ 2815389 h 2936314"/>
              <a:gd name="connsiteX49" fmla="*/ 6863024 w 11867103"/>
              <a:gd name="connsiteY49" fmla="*/ 2805340 h 2936314"/>
              <a:gd name="connsiteX50" fmla="*/ 6722347 w 11867103"/>
              <a:gd name="connsiteY50" fmla="*/ 2795292 h 2936314"/>
              <a:gd name="connsiteX51" fmla="*/ 4903596 w 11867103"/>
              <a:gd name="connsiteY51" fmla="*/ 2845534 h 2936314"/>
              <a:gd name="connsiteX52" fmla="*/ 4722725 w 11867103"/>
              <a:gd name="connsiteY52" fmla="*/ 2885727 h 2936314"/>
              <a:gd name="connsiteX53" fmla="*/ 4300695 w 11867103"/>
              <a:gd name="connsiteY53" fmla="*/ 2865630 h 2936314"/>
              <a:gd name="connsiteX54" fmla="*/ 4059534 w 11867103"/>
              <a:gd name="connsiteY54" fmla="*/ 2825437 h 2936314"/>
              <a:gd name="connsiteX55" fmla="*/ 3768132 w 11867103"/>
              <a:gd name="connsiteY55" fmla="*/ 2795292 h 2936314"/>
              <a:gd name="connsiteX56" fmla="*/ 3627455 w 11867103"/>
              <a:gd name="connsiteY56" fmla="*/ 2785244 h 2936314"/>
              <a:gd name="connsiteX57" fmla="*/ 3125037 w 11867103"/>
              <a:gd name="connsiteY57" fmla="*/ 2795292 h 2936314"/>
              <a:gd name="connsiteX58" fmla="*/ 3064747 w 11867103"/>
              <a:gd name="connsiteY58" fmla="*/ 2805340 h 2936314"/>
              <a:gd name="connsiteX59" fmla="*/ 2009670 w 11867103"/>
              <a:gd name="connsiteY59" fmla="*/ 2815389 h 2936314"/>
              <a:gd name="connsiteX60" fmla="*/ 1678075 w 11867103"/>
              <a:gd name="connsiteY60" fmla="*/ 2905824 h 2936314"/>
              <a:gd name="connsiteX61" fmla="*/ 1607736 w 11867103"/>
              <a:gd name="connsiteY61" fmla="*/ 2935969 h 2936314"/>
              <a:gd name="connsiteX62" fmla="*/ 1135464 w 11867103"/>
              <a:gd name="connsiteY62" fmla="*/ 2915872 h 2936314"/>
              <a:gd name="connsiteX63" fmla="*/ 944545 w 11867103"/>
              <a:gd name="connsiteY63" fmla="*/ 2885727 h 2936314"/>
              <a:gd name="connsiteX64" fmla="*/ 723481 w 11867103"/>
              <a:gd name="connsiteY64" fmla="*/ 2845534 h 2936314"/>
              <a:gd name="connsiteX65" fmla="*/ 643095 w 11867103"/>
              <a:gd name="connsiteY65" fmla="*/ 2835485 h 2936314"/>
              <a:gd name="connsiteX66" fmla="*/ 371789 w 11867103"/>
              <a:gd name="connsiteY66" fmla="*/ 2795292 h 2936314"/>
              <a:gd name="connsiteX67" fmla="*/ 0 w 11867103"/>
              <a:gd name="connsiteY67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26910 w 11867103"/>
              <a:gd name="connsiteY19" fmla="*/ 313349 h 2936314"/>
              <a:gd name="connsiteX20" fmla="*/ 11836958 w 11867103"/>
              <a:gd name="connsiteY20" fmla="*/ 393736 h 2936314"/>
              <a:gd name="connsiteX21" fmla="*/ 11826910 w 11867103"/>
              <a:gd name="connsiteY21" fmla="*/ 705235 h 2936314"/>
              <a:gd name="connsiteX22" fmla="*/ 11816862 w 11867103"/>
              <a:gd name="connsiteY22" fmla="*/ 765525 h 2936314"/>
              <a:gd name="connsiteX23" fmla="*/ 11806813 w 11867103"/>
              <a:gd name="connsiteY23" fmla="*/ 835863 h 2936314"/>
              <a:gd name="connsiteX24" fmla="*/ 11816862 w 11867103"/>
              <a:gd name="connsiteY24" fmla="*/ 2302923 h 2936314"/>
              <a:gd name="connsiteX25" fmla="*/ 11826910 w 11867103"/>
              <a:gd name="connsiteY25" fmla="*/ 2373261 h 2936314"/>
              <a:gd name="connsiteX26" fmla="*/ 11836958 w 11867103"/>
              <a:gd name="connsiteY26" fmla="*/ 2403406 h 2936314"/>
              <a:gd name="connsiteX27" fmla="*/ 11857055 w 11867103"/>
              <a:gd name="connsiteY27" fmla="*/ 2534035 h 2936314"/>
              <a:gd name="connsiteX28" fmla="*/ 11867103 w 11867103"/>
              <a:gd name="connsiteY28" fmla="*/ 2574228 h 2936314"/>
              <a:gd name="connsiteX29" fmla="*/ 11857055 w 11867103"/>
              <a:gd name="connsiteY29" fmla="*/ 2805340 h 2936314"/>
              <a:gd name="connsiteX30" fmla="*/ 11836958 w 11867103"/>
              <a:gd name="connsiteY30" fmla="*/ 2835485 h 2936314"/>
              <a:gd name="connsiteX31" fmla="*/ 11033090 w 11867103"/>
              <a:gd name="connsiteY31" fmla="*/ 2825437 h 2936314"/>
              <a:gd name="connsiteX32" fmla="*/ 10621108 w 11867103"/>
              <a:gd name="connsiteY32" fmla="*/ 2815389 h 2936314"/>
              <a:gd name="connsiteX33" fmla="*/ 10128739 w 11867103"/>
              <a:gd name="connsiteY33" fmla="*/ 2825437 h 2936314"/>
              <a:gd name="connsiteX34" fmla="*/ 10048352 w 11867103"/>
              <a:gd name="connsiteY34" fmla="*/ 2835485 h 2936314"/>
              <a:gd name="connsiteX35" fmla="*/ 9555982 w 11867103"/>
              <a:gd name="connsiteY35" fmla="*/ 2825437 h 2936314"/>
              <a:gd name="connsiteX36" fmla="*/ 9445451 w 11867103"/>
              <a:gd name="connsiteY36" fmla="*/ 2815389 h 2936314"/>
              <a:gd name="connsiteX37" fmla="*/ 9415306 w 11867103"/>
              <a:gd name="connsiteY37" fmla="*/ 2795292 h 2936314"/>
              <a:gd name="connsiteX38" fmla="*/ 9204290 w 11867103"/>
              <a:gd name="connsiteY38" fmla="*/ 2775195 h 2936314"/>
              <a:gd name="connsiteX39" fmla="*/ 9073662 w 11867103"/>
              <a:gd name="connsiteY39" fmla="*/ 2755098 h 2936314"/>
              <a:gd name="connsiteX40" fmla="*/ 8812404 w 11867103"/>
              <a:gd name="connsiteY40" fmla="*/ 2745050 h 2936314"/>
              <a:gd name="connsiteX41" fmla="*/ 8400422 w 11867103"/>
              <a:gd name="connsiteY41" fmla="*/ 2735002 h 2936314"/>
              <a:gd name="connsiteX42" fmla="*/ 8269793 w 11867103"/>
              <a:gd name="connsiteY42" fmla="*/ 2724953 h 2936314"/>
              <a:gd name="connsiteX43" fmla="*/ 7797521 w 11867103"/>
              <a:gd name="connsiteY43" fmla="*/ 2745050 h 2936314"/>
              <a:gd name="connsiteX44" fmla="*/ 7717134 w 11867103"/>
              <a:gd name="connsiteY44" fmla="*/ 2755098 h 2936314"/>
              <a:gd name="connsiteX45" fmla="*/ 7486022 w 11867103"/>
              <a:gd name="connsiteY45" fmla="*/ 2785244 h 2936314"/>
              <a:gd name="connsiteX46" fmla="*/ 7395587 w 11867103"/>
              <a:gd name="connsiteY46" fmla="*/ 2805340 h 2936314"/>
              <a:gd name="connsiteX47" fmla="*/ 7325248 w 11867103"/>
              <a:gd name="connsiteY47" fmla="*/ 2815389 h 2936314"/>
              <a:gd name="connsiteX48" fmla="*/ 6863024 w 11867103"/>
              <a:gd name="connsiteY48" fmla="*/ 2805340 h 2936314"/>
              <a:gd name="connsiteX49" fmla="*/ 6722347 w 11867103"/>
              <a:gd name="connsiteY49" fmla="*/ 2795292 h 2936314"/>
              <a:gd name="connsiteX50" fmla="*/ 4903596 w 11867103"/>
              <a:gd name="connsiteY50" fmla="*/ 2845534 h 2936314"/>
              <a:gd name="connsiteX51" fmla="*/ 4722725 w 11867103"/>
              <a:gd name="connsiteY51" fmla="*/ 2885727 h 2936314"/>
              <a:gd name="connsiteX52" fmla="*/ 4300695 w 11867103"/>
              <a:gd name="connsiteY52" fmla="*/ 2865630 h 2936314"/>
              <a:gd name="connsiteX53" fmla="*/ 4059534 w 11867103"/>
              <a:gd name="connsiteY53" fmla="*/ 2825437 h 2936314"/>
              <a:gd name="connsiteX54" fmla="*/ 3768132 w 11867103"/>
              <a:gd name="connsiteY54" fmla="*/ 2795292 h 2936314"/>
              <a:gd name="connsiteX55" fmla="*/ 3627455 w 11867103"/>
              <a:gd name="connsiteY55" fmla="*/ 2785244 h 2936314"/>
              <a:gd name="connsiteX56" fmla="*/ 3125037 w 11867103"/>
              <a:gd name="connsiteY56" fmla="*/ 2795292 h 2936314"/>
              <a:gd name="connsiteX57" fmla="*/ 3064747 w 11867103"/>
              <a:gd name="connsiteY57" fmla="*/ 2805340 h 2936314"/>
              <a:gd name="connsiteX58" fmla="*/ 2009670 w 11867103"/>
              <a:gd name="connsiteY58" fmla="*/ 2815389 h 2936314"/>
              <a:gd name="connsiteX59" fmla="*/ 1678075 w 11867103"/>
              <a:gd name="connsiteY59" fmla="*/ 2905824 h 2936314"/>
              <a:gd name="connsiteX60" fmla="*/ 1607736 w 11867103"/>
              <a:gd name="connsiteY60" fmla="*/ 2935969 h 2936314"/>
              <a:gd name="connsiteX61" fmla="*/ 1135464 w 11867103"/>
              <a:gd name="connsiteY61" fmla="*/ 2915872 h 2936314"/>
              <a:gd name="connsiteX62" fmla="*/ 944545 w 11867103"/>
              <a:gd name="connsiteY62" fmla="*/ 2885727 h 2936314"/>
              <a:gd name="connsiteX63" fmla="*/ 723481 w 11867103"/>
              <a:gd name="connsiteY63" fmla="*/ 2845534 h 2936314"/>
              <a:gd name="connsiteX64" fmla="*/ 643095 w 11867103"/>
              <a:gd name="connsiteY64" fmla="*/ 2835485 h 2936314"/>
              <a:gd name="connsiteX65" fmla="*/ 371789 w 11867103"/>
              <a:gd name="connsiteY65" fmla="*/ 2795292 h 2936314"/>
              <a:gd name="connsiteX66" fmla="*/ 0 w 11867103"/>
              <a:gd name="connsiteY66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36958 w 11867103"/>
              <a:gd name="connsiteY19" fmla="*/ 393736 h 2936314"/>
              <a:gd name="connsiteX20" fmla="*/ 11826910 w 11867103"/>
              <a:gd name="connsiteY20" fmla="*/ 705235 h 2936314"/>
              <a:gd name="connsiteX21" fmla="*/ 11816862 w 11867103"/>
              <a:gd name="connsiteY21" fmla="*/ 765525 h 2936314"/>
              <a:gd name="connsiteX22" fmla="*/ 11806813 w 11867103"/>
              <a:gd name="connsiteY22" fmla="*/ 835863 h 2936314"/>
              <a:gd name="connsiteX23" fmla="*/ 11816862 w 11867103"/>
              <a:gd name="connsiteY23" fmla="*/ 2302923 h 2936314"/>
              <a:gd name="connsiteX24" fmla="*/ 11826910 w 11867103"/>
              <a:gd name="connsiteY24" fmla="*/ 2373261 h 2936314"/>
              <a:gd name="connsiteX25" fmla="*/ 11836958 w 11867103"/>
              <a:gd name="connsiteY25" fmla="*/ 2403406 h 2936314"/>
              <a:gd name="connsiteX26" fmla="*/ 11857055 w 11867103"/>
              <a:gd name="connsiteY26" fmla="*/ 2534035 h 2936314"/>
              <a:gd name="connsiteX27" fmla="*/ 11867103 w 11867103"/>
              <a:gd name="connsiteY27" fmla="*/ 2574228 h 2936314"/>
              <a:gd name="connsiteX28" fmla="*/ 11857055 w 11867103"/>
              <a:gd name="connsiteY28" fmla="*/ 2805340 h 2936314"/>
              <a:gd name="connsiteX29" fmla="*/ 11836958 w 11867103"/>
              <a:gd name="connsiteY29" fmla="*/ 2835485 h 2936314"/>
              <a:gd name="connsiteX30" fmla="*/ 11033090 w 11867103"/>
              <a:gd name="connsiteY30" fmla="*/ 2825437 h 2936314"/>
              <a:gd name="connsiteX31" fmla="*/ 10621108 w 11867103"/>
              <a:gd name="connsiteY31" fmla="*/ 2815389 h 2936314"/>
              <a:gd name="connsiteX32" fmla="*/ 10128739 w 11867103"/>
              <a:gd name="connsiteY32" fmla="*/ 2825437 h 2936314"/>
              <a:gd name="connsiteX33" fmla="*/ 10048352 w 11867103"/>
              <a:gd name="connsiteY33" fmla="*/ 2835485 h 2936314"/>
              <a:gd name="connsiteX34" fmla="*/ 9555982 w 11867103"/>
              <a:gd name="connsiteY34" fmla="*/ 2825437 h 2936314"/>
              <a:gd name="connsiteX35" fmla="*/ 9445451 w 11867103"/>
              <a:gd name="connsiteY35" fmla="*/ 2815389 h 2936314"/>
              <a:gd name="connsiteX36" fmla="*/ 9415306 w 11867103"/>
              <a:gd name="connsiteY36" fmla="*/ 2795292 h 2936314"/>
              <a:gd name="connsiteX37" fmla="*/ 9204290 w 11867103"/>
              <a:gd name="connsiteY37" fmla="*/ 2775195 h 2936314"/>
              <a:gd name="connsiteX38" fmla="*/ 9073662 w 11867103"/>
              <a:gd name="connsiteY38" fmla="*/ 2755098 h 2936314"/>
              <a:gd name="connsiteX39" fmla="*/ 8812404 w 11867103"/>
              <a:gd name="connsiteY39" fmla="*/ 2745050 h 2936314"/>
              <a:gd name="connsiteX40" fmla="*/ 8400422 w 11867103"/>
              <a:gd name="connsiteY40" fmla="*/ 2735002 h 2936314"/>
              <a:gd name="connsiteX41" fmla="*/ 8269793 w 11867103"/>
              <a:gd name="connsiteY41" fmla="*/ 2724953 h 2936314"/>
              <a:gd name="connsiteX42" fmla="*/ 7797521 w 11867103"/>
              <a:gd name="connsiteY42" fmla="*/ 2745050 h 2936314"/>
              <a:gd name="connsiteX43" fmla="*/ 7717134 w 11867103"/>
              <a:gd name="connsiteY43" fmla="*/ 2755098 h 2936314"/>
              <a:gd name="connsiteX44" fmla="*/ 7486022 w 11867103"/>
              <a:gd name="connsiteY44" fmla="*/ 2785244 h 2936314"/>
              <a:gd name="connsiteX45" fmla="*/ 7395587 w 11867103"/>
              <a:gd name="connsiteY45" fmla="*/ 2805340 h 2936314"/>
              <a:gd name="connsiteX46" fmla="*/ 7325248 w 11867103"/>
              <a:gd name="connsiteY46" fmla="*/ 2815389 h 2936314"/>
              <a:gd name="connsiteX47" fmla="*/ 6863024 w 11867103"/>
              <a:gd name="connsiteY47" fmla="*/ 2805340 h 2936314"/>
              <a:gd name="connsiteX48" fmla="*/ 6722347 w 11867103"/>
              <a:gd name="connsiteY48" fmla="*/ 2795292 h 2936314"/>
              <a:gd name="connsiteX49" fmla="*/ 4903596 w 11867103"/>
              <a:gd name="connsiteY49" fmla="*/ 2845534 h 2936314"/>
              <a:gd name="connsiteX50" fmla="*/ 4722725 w 11867103"/>
              <a:gd name="connsiteY50" fmla="*/ 2885727 h 2936314"/>
              <a:gd name="connsiteX51" fmla="*/ 4300695 w 11867103"/>
              <a:gd name="connsiteY51" fmla="*/ 2865630 h 2936314"/>
              <a:gd name="connsiteX52" fmla="*/ 4059534 w 11867103"/>
              <a:gd name="connsiteY52" fmla="*/ 2825437 h 2936314"/>
              <a:gd name="connsiteX53" fmla="*/ 3768132 w 11867103"/>
              <a:gd name="connsiteY53" fmla="*/ 2795292 h 2936314"/>
              <a:gd name="connsiteX54" fmla="*/ 3627455 w 11867103"/>
              <a:gd name="connsiteY54" fmla="*/ 2785244 h 2936314"/>
              <a:gd name="connsiteX55" fmla="*/ 3125037 w 11867103"/>
              <a:gd name="connsiteY55" fmla="*/ 2795292 h 2936314"/>
              <a:gd name="connsiteX56" fmla="*/ 3064747 w 11867103"/>
              <a:gd name="connsiteY56" fmla="*/ 2805340 h 2936314"/>
              <a:gd name="connsiteX57" fmla="*/ 2009670 w 11867103"/>
              <a:gd name="connsiteY57" fmla="*/ 2815389 h 2936314"/>
              <a:gd name="connsiteX58" fmla="*/ 1678075 w 11867103"/>
              <a:gd name="connsiteY58" fmla="*/ 2905824 h 2936314"/>
              <a:gd name="connsiteX59" fmla="*/ 1607736 w 11867103"/>
              <a:gd name="connsiteY59" fmla="*/ 2935969 h 2936314"/>
              <a:gd name="connsiteX60" fmla="*/ 1135464 w 11867103"/>
              <a:gd name="connsiteY60" fmla="*/ 2915872 h 2936314"/>
              <a:gd name="connsiteX61" fmla="*/ 944545 w 11867103"/>
              <a:gd name="connsiteY61" fmla="*/ 2885727 h 2936314"/>
              <a:gd name="connsiteX62" fmla="*/ 723481 w 11867103"/>
              <a:gd name="connsiteY62" fmla="*/ 2845534 h 2936314"/>
              <a:gd name="connsiteX63" fmla="*/ 643095 w 11867103"/>
              <a:gd name="connsiteY63" fmla="*/ 2835485 h 2936314"/>
              <a:gd name="connsiteX64" fmla="*/ 371789 w 11867103"/>
              <a:gd name="connsiteY64" fmla="*/ 2795292 h 2936314"/>
              <a:gd name="connsiteX65" fmla="*/ 0 w 11867103"/>
              <a:gd name="connsiteY65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26910 w 11867103"/>
              <a:gd name="connsiteY19" fmla="*/ 705235 h 2936314"/>
              <a:gd name="connsiteX20" fmla="*/ 11816862 w 11867103"/>
              <a:gd name="connsiteY20" fmla="*/ 765525 h 2936314"/>
              <a:gd name="connsiteX21" fmla="*/ 11806813 w 11867103"/>
              <a:gd name="connsiteY21" fmla="*/ 835863 h 2936314"/>
              <a:gd name="connsiteX22" fmla="*/ 11816862 w 11867103"/>
              <a:gd name="connsiteY22" fmla="*/ 2302923 h 2936314"/>
              <a:gd name="connsiteX23" fmla="*/ 11826910 w 11867103"/>
              <a:gd name="connsiteY23" fmla="*/ 2373261 h 2936314"/>
              <a:gd name="connsiteX24" fmla="*/ 11836958 w 11867103"/>
              <a:gd name="connsiteY24" fmla="*/ 2403406 h 2936314"/>
              <a:gd name="connsiteX25" fmla="*/ 11857055 w 11867103"/>
              <a:gd name="connsiteY25" fmla="*/ 2534035 h 2936314"/>
              <a:gd name="connsiteX26" fmla="*/ 11867103 w 11867103"/>
              <a:gd name="connsiteY26" fmla="*/ 2574228 h 2936314"/>
              <a:gd name="connsiteX27" fmla="*/ 11857055 w 11867103"/>
              <a:gd name="connsiteY27" fmla="*/ 2805340 h 2936314"/>
              <a:gd name="connsiteX28" fmla="*/ 11836958 w 11867103"/>
              <a:gd name="connsiteY28" fmla="*/ 2835485 h 2936314"/>
              <a:gd name="connsiteX29" fmla="*/ 11033090 w 11867103"/>
              <a:gd name="connsiteY29" fmla="*/ 2825437 h 2936314"/>
              <a:gd name="connsiteX30" fmla="*/ 10621108 w 11867103"/>
              <a:gd name="connsiteY30" fmla="*/ 2815389 h 2936314"/>
              <a:gd name="connsiteX31" fmla="*/ 10128739 w 11867103"/>
              <a:gd name="connsiteY31" fmla="*/ 2825437 h 2936314"/>
              <a:gd name="connsiteX32" fmla="*/ 10048352 w 11867103"/>
              <a:gd name="connsiteY32" fmla="*/ 2835485 h 2936314"/>
              <a:gd name="connsiteX33" fmla="*/ 9555982 w 11867103"/>
              <a:gd name="connsiteY33" fmla="*/ 2825437 h 2936314"/>
              <a:gd name="connsiteX34" fmla="*/ 9445451 w 11867103"/>
              <a:gd name="connsiteY34" fmla="*/ 2815389 h 2936314"/>
              <a:gd name="connsiteX35" fmla="*/ 9415306 w 11867103"/>
              <a:gd name="connsiteY35" fmla="*/ 2795292 h 2936314"/>
              <a:gd name="connsiteX36" fmla="*/ 9204290 w 11867103"/>
              <a:gd name="connsiteY36" fmla="*/ 2775195 h 2936314"/>
              <a:gd name="connsiteX37" fmla="*/ 9073662 w 11867103"/>
              <a:gd name="connsiteY37" fmla="*/ 2755098 h 2936314"/>
              <a:gd name="connsiteX38" fmla="*/ 8812404 w 11867103"/>
              <a:gd name="connsiteY38" fmla="*/ 2745050 h 2936314"/>
              <a:gd name="connsiteX39" fmla="*/ 8400422 w 11867103"/>
              <a:gd name="connsiteY39" fmla="*/ 2735002 h 2936314"/>
              <a:gd name="connsiteX40" fmla="*/ 8269793 w 11867103"/>
              <a:gd name="connsiteY40" fmla="*/ 2724953 h 2936314"/>
              <a:gd name="connsiteX41" fmla="*/ 7797521 w 11867103"/>
              <a:gd name="connsiteY41" fmla="*/ 2745050 h 2936314"/>
              <a:gd name="connsiteX42" fmla="*/ 7717134 w 11867103"/>
              <a:gd name="connsiteY42" fmla="*/ 2755098 h 2936314"/>
              <a:gd name="connsiteX43" fmla="*/ 7486022 w 11867103"/>
              <a:gd name="connsiteY43" fmla="*/ 2785244 h 2936314"/>
              <a:gd name="connsiteX44" fmla="*/ 7395587 w 11867103"/>
              <a:gd name="connsiteY44" fmla="*/ 2805340 h 2936314"/>
              <a:gd name="connsiteX45" fmla="*/ 7325248 w 11867103"/>
              <a:gd name="connsiteY45" fmla="*/ 2815389 h 2936314"/>
              <a:gd name="connsiteX46" fmla="*/ 6863024 w 11867103"/>
              <a:gd name="connsiteY46" fmla="*/ 2805340 h 2936314"/>
              <a:gd name="connsiteX47" fmla="*/ 6722347 w 11867103"/>
              <a:gd name="connsiteY47" fmla="*/ 2795292 h 2936314"/>
              <a:gd name="connsiteX48" fmla="*/ 4903596 w 11867103"/>
              <a:gd name="connsiteY48" fmla="*/ 2845534 h 2936314"/>
              <a:gd name="connsiteX49" fmla="*/ 4722725 w 11867103"/>
              <a:gd name="connsiteY49" fmla="*/ 2885727 h 2936314"/>
              <a:gd name="connsiteX50" fmla="*/ 4300695 w 11867103"/>
              <a:gd name="connsiteY50" fmla="*/ 2865630 h 2936314"/>
              <a:gd name="connsiteX51" fmla="*/ 4059534 w 11867103"/>
              <a:gd name="connsiteY51" fmla="*/ 2825437 h 2936314"/>
              <a:gd name="connsiteX52" fmla="*/ 3768132 w 11867103"/>
              <a:gd name="connsiteY52" fmla="*/ 2795292 h 2936314"/>
              <a:gd name="connsiteX53" fmla="*/ 3627455 w 11867103"/>
              <a:gd name="connsiteY53" fmla="*/ 2785244 h 2936314"/>
              <a:gd name="connsiteX54" fmla="*/ 3125037 w 11867103"/>
              <a:gd name="connsiteY54" fmla="*/ 2795292 h 2936314"/>
              <a:gd name="connsiteX55" fmla="*/ 3064747 w 11867103"/>
              <a:gd name="connsiteY55" fmla="*/ 2805340 h 2936314"/>
              <a:gd name="connsiteX56" fmla="*/ 2009670 w 11867103"/>
              <a:gd name="connsiteY56" fmla="*/ 2815389 h 2936314"/>
              <a:gd name="connsiteX57" fmla="*/ 1678075 w 11867103"/>
              <a:gd name="connsiteY57" fmla="*/ 2905824 h 2936314"/>
              <a:gd name="connsiteX58" fmla="*/ 1607736 w 11867103"/>
              <a:gd name="connsiteY58" fmla="*/ 2935969 h 2936314"/>
              <a:gd name="connsiteX59" fmla="*/ 1135464 w 11867103"/>
              <a:gd name="connsiteY59" fmla="*/ 2915872 h 2936314"/>
              <a:gd name="connsiteX60" fmla="*/ 944545 w 11867103"/>
              <a:gd name="connsiteY60" fmla="*/ 2885727 h 2936314"/>
              <a:gd name="connsiteX61" fmla="*/ 723481 w 11867103"/>
              <a:gd name="connsiteY61" fmla="*/ 2845534 h 2936314"/>
              <a:gd name="connsiteX62" fmla="*/ 643095 w 11867103"/>
              <a:gd name="connsiteY62" fmla="*/ 2835485 h 2936314"/>
              <a:gd name="connsiteX63" fmla="*/ 371789 w 11867103"/>
              <a:gd name="connsiteY63" fmla="*/ 2795292 h 2936314"/>
              <a:gd name="connsiteX64" fmla="*/ 0 w 11867103"/>
              <a:gd name="connsiteY64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26910 w 11867103"/>
              <a:gd name="connsiteY19" fmla="*/ 705235 h 2936314"/>
              <a:gd name="connsiteX20" fmla="*/ 11806813 w 11867103"/>
              <a:gd name="connsiteY20" fmla="*/ 835863 h 2936314"/>
              <a:gd name="connsiteX21" fmla="*/ 11816862 w 11867103"/>
              <a:gd name="connsiteY21" fmla="*/ 2302923 h 2936314"/>
              <a:gd name="connsiteX22" fmla="*/ 11826910 w 11867103"/>
              <a:gd name="connsiteY22" fmla="*/ 2373261 h 2936314"/>
              <a:gd name="connsiteX23" fmla="*/ 11836958 w 11867103"/>
              <a:gd name="connsiteY23" fmla="*/ 2403406 h 2936314"/>
              <a:gd name="connsiteX24" fmla="*/ 11857055 w 11867103"/>
              <a:gd name="connsiteY24" fmla="*/ 2534035 h 2936314"/>
              <a:gd name="connsiteX25" fmla="*/ 11867103 w 11867103"/>
              <a:gd name="connsiteY25" fmla="*/ 2574228 h 2936314"/>
              <a:gd name="connsiteX26" fmla="*/ 11857055 w 11867103"/>
              <a:gd name="connsiteY26" fmla="*/ 2805340 h 2936314"/>
              <a:gd name="connsiteX27" fmla="*/ 11836958 w 11867103"/>
              <a:gd name="connsiteY27" fmla="*/ 2835485 h 2936314"/>
              <a:gd name="connsiteX28" fmla="*/ 11033090 w 11867103"/>
              <a:gd name="connsiteY28" fmla="*/ 2825437 h 2936314"/>
              <a:gd name="connsiteX29" fmla="*/ 10621108 w 11867103"/>
              <a:gd name="connsiteY29" fmla="*/ 2815389 h 2936314"/>
              <a:gd name="connsiteX30" fmla="*/ 10128739 w 11867103"/>
              <a:gd name="connsiteY30" fmla="*/ 2825437 h 2936314"/>
              <a:gd name="connsiteX31" fmla="*/ 10048352 w 11867103"/>
              <a:gd name="connsiteY31" fmla="*/ 2835485 h 2936314"/>
              <a:gd name="connsiteX32" fmla="*/ 9555982 w 11867103"/>
              <a:gd name="connsiteY32" fmla="*/ 2825437 h 2936314"/>
              <a:gd name="connsiteX33" fmla="*/ 9445451 w 11867103"/>
              <a:gd name="connsiteY33" fmla="*/ 2815389 h 2936314"/>
              <a:gd name="connsiteX34" fmla="*/ 9415306 w 11867103"/>
              <a:gd name="connsiteY34" fmla="*/ 2795292 h 2936314"/>
              <a:gd name="connsiteX35" fmla="*/ 9204290 w 11867103"/>
              <a:gd name="connsiteY35" fmla="*/ 2775195 h 2936314"/>
              <a:gd name="connsiteX36" fmla="*/ 9073662 w 11867103"/>
              <a:gd name="connsiteY36" fmla="*/ 2755098 h 2936314"/>
              <a:gd name="connsiteX37" fmla="*/ 8812404 w 11867103"/>
              <a:gd name="connsiteY37" fmla="*/ 2745050 h 2936314"/>
              <a:gd name="connsiteX38" fmla="*/ 8400422 w 11867103"/>
              <a:gd name="connsiteY38" fmla="*/ 2735002 h 2936314"/>
              <a:gd name="connsiteX39" fmla="*/ 8269793 w 11867103"/>
              <a:gd name="connsiteY39" fmla="*/ 2724953 h 2936314"/>
              <a:gd name="connsiteX40" fmla="*/ 7797521 w 11867103"/>
              <a:gd name="connsiteY40" fmla="*/ 2745050 h 2936314"/>
              <a:gd name="connsiteX41" fmla="*/ 7717134 w 11867103"/>
              <a:gd name="connsiteY41" fmla="*/ 2755098 h 2936314"/>
              <a:gd name="connsiteX42" fmla="*/ 7486022 w 11867103"/>
              <a:gd name="connsiteY42" fmla="*/ 2785244 h 2936314"/>
              <a:gd name="connsiteX43" fmla="*/ 7395587 w 11867103"/>
              <a:gd name="connsiteY43" fmla="*/ 2805340 h 2936314"/>
              <a:gd name="connsiteX44" fmla="*/ 7325248 w 11867103"/>
              <a:gd name="connsiteY44" fmla="*/ 2815389 h 2936314"/>
              <a:gd name="connsiteX45" fmla="*/ 6863024 w 11867103"/>
              <a:gd name="connsiteY45" fmla="*/ 2805340 h 2936314"/>
              <a:gd name="connsiteX46" fmla="*/ 6722347 w 11867103"/>
              <a:gd name="connsiteY46" fmla="*/ 2795292 h 2936314"/>
              <a:gd name="connsiteX47" fmla="*/ 4903596 w 11867103"/>
              <a:gd name="connsiteY47" fmla="*/ 2845534 h 2936314"/>
              <a:gd name="connsiteX48" fmla="*/ 4722725 w 11867103"/>
              <a:gd name="connsiteY48" fmla="*/ 2885727 h 2936314"/>
              <a:gd name="connsiteX49" fmla="*/ 4300695 w 11867103"/>
              <a:gd name="connsiteY49" fmla="*/ 2865630 h 2936314"/>
              <a:gd name="connsiteX50" fmla="*/ 4059534 w 11867103"/>
              <a:gd name="connsiteY50" fmla="*/ 2825437 h 2936314"/>
              <a:gd name="connsiteX51" fmla="*/ 3768132 w 11867103"/>
              <a:gd name="connsiteY51" fmla="*/ 2795292 h 2936314"/>
              <a:gd name="connsiteX52" fmla="*/ 3627455 w 11867103"/>
              <a:gd name="connsiteY52" fmla="*/ 2785244 h 2936314"/>
              <a:gd name="connsiteX53" fmla="*/ 3125037 w 11867103"/>
              <a:gd name="connsiteY53" fmla="*/ 2795292 h 2936314"/>
              <a:gd name="connsiteX54" fmla="*/ 3064747 w 11867103"/>
              <a:gd name="connsiteY54" fmla="*/ 2805340 h 2936314"/>
              <a:gd name="connsiteX55" fmla="*/ 2009670 w 11867103"/>
              <a:gd name="connsiteY55" fmla="*/ 2815389 h 2936314"/>
              <a:gd name="connsiteX56" fmla="*/ 1678075 w 11867103"/>
              <a:gd name="connsiteY56" fmla="*/ 2905824 h 2936314"/>
              <a:gd name="connsiteX57" fmla="*/ 1607736 w 11867103"/>
              <a:gd name="connsiteY57" fmla="*/ 2935969 h 2936314"/>
              <a:gd name="connsiteX58" fmla="*/ 1135464 w 11867103"/>
              <a:gd name="connsiteY58" fmla="*/ 2915872 h 2936314"/>
              <a:gd name="connsiteX59" fmla="*/ 944545 w 11867103"/>
              <a:gd name="connsiteY59" fmla="*/ 2885727 h 2936314"/>
              <a:gd name="connsiteX60" fmla="*/ 723481 w 11867103"/>
              <a:gd name="connsiteY60" fmla="*/ 2845534 h 2936314"/>
              <a:gd name="connsiteX61" fmla="*/ 643095 w 11867103"/>
              <a:gd name="connsiteY61" fmla="*/ 2835485 h 2936314"/>
              <a:gd name="connsiteX62" fmla="*/ 371789 w 11867103"/>
              <a:gd name="connsiteY62" fmla="*/ 2795292 h 2936314"/>
              <a:gd name="connsiteX63" fmla="*/ 0 w 11867103"/>
              <a:gd name="connsiteY63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26910 w 11867103"/>
              <a:gd name="connsiteY19" fmla="*/ 705235 h 2936314"/>
              <a:gd name="connsiteX20" fmla="*/ 11816862 w 11867103"/>
              <a:gd name="connsiteY20" fmla="*/ 2302923 h 2936314"/>
              <a:gd name="connsiteX21" fmla="*/ 11826910 w 11867103"/>
              <a:gd name="connsiteY21" fmla="*/ 2373261 h 2936314"/>
              <a:gd name="connsiteX22" fmla="*/ 11836958 w 11867103"/>
              <a:gd name="connsiteY22" fmla="*/ 2403406 h 2936314"/>
              <a:gd name="connsiteX23" fmla="*/ 11857055 w 11867103"/>
              <a:gd name="connsiteY23" fmla="*/ 2534035 h 2936314"/>
              <a:gd name="connsiteX24" fmla="*/ 11867103 w 11867103"/>
              <a:gd name="connsiteY24" fmla="*/ 2574228 h 2936314"/>
              <a:gd name="connsiteX25" fmla="*/ 11857055 w 11867103"/>
              <a:gd name="connsiteY25" fmla="*/ 2805340 h 2936314"/>
              <a:gd name="connsiteX26" fmla="*/ 11836958 w 11867103"/>
              <a:gd name="connsiteY26" fmla="*/ 2835485 h 2936314"/>
              <a:gd name="connsiteX27" fmla="*/ 11033090 w 11867103"/>
              <a:gd name="connsiteY27" fmla="*/ 2825437 h 2936314"/>
              <a:gd name="connsiteX28" fmla="*/ 10621108 w 11867103"/>
              <a:gd name="connsiteY28" fmla="*/ 2815389 h 2936314"/>
              <a:gd name="connsiteX29" fmla="*/ 10128739 w 11867103"/>
              <a:gd name="connsiteY29" fmla="*/ 2825437 h 2936314"/>
              <a:gd name="connsiteX30" fmla="*/ 10048352 w 11867103"/>
              <a:gd name="connsiteY30" fmla="*/ 2835485 h 2936314"/>
              <a:gd name="connsiteX31" fmla="*/ 9555982 w 11867103"/>
              <a:gd name="connsiteY31" fmla="*/ 2825437 h 2936314"/>
              <a:gd name="connsiteX32" fmla="*/ 9445451 w 11867103"/>
              <a:gd name="connsiteY32" fmla="*/ 2815389 h 2936314"/>
              <a:gd name="connsiteX33" fmla="*/ 9415306 w 11867103"/>
              <a:gd name="connsiteY33" fmla="*/ 2795292 h 2936314"/>
              <a:gd name="connsiteX34" fmla="*/ 9204290 w 11867103"/>
              <a:gd name="connsiteY34" fmla="*/ 2775195 h 2936314"/>
              <a:gd name="connsiteX35" fmla="*/ 9073662 w 11867103"/>
              <a:gd name="connsiteY35" fmla="*/ 2755098 h 2936314"/>
              <a:gd name="connsiteX36" fmla="*/ 8812404 w 11867103"/>
              <a:gd name="connsiteY36" fmla="*/ 2745050 h 2936314"/>
              <a:gd name="connsiteX37" fmla="*/ 8400422 w 11867103"/>
              <a:gd name="connsiteY37" fmla="*/ 2735002 h 2936314"/>
              <a:gd name="connsiteX38" fmla="*/ 8269793 w 11867103"/>
              <a:gd name="connsiteY38" fmla="*/ 2724953 h 2936314"/>
              <a:gd name="connsiteX39" fmla="*/ 7797521 w 11867103"/>
              <a:gd name="connsiteY39" fmla="*/ 2745050 h 2936314"/>
              <a:gd name="connsiteX40" fmla="*/ 7717134 w 11867103"/>
              <a:gd name="connsiteY40" fmla="*/ 2755098 h 2936314"/>
              <a:gd name="connsiteX41" fmla="*/ 7486022 w 11867103"/>
              <a:gd name="connsiteY41" fmla="*/ 2785244 h 2936314"/>
              <a:gd name="connsiteX42" fmla="*/ 7395587 w 11867103"/>
              <a:gd name="connsiteY42" fmla="*/ 2805340 h 2936314"/>
              <a:gd name="connsiteX43" fmla="*/ 7325248 w 11867103"/>
              <a:gd name="connsiteY43" fmla="*/ 2815389 h 2936314"/>
              <a:gd name="connsiteX44" fmla="*/ 6863024 w 11867103"/>
              <a:gd name="connsiteY44" fmla="*/ 2805340 h 2936314"/>
              <a:gd name="connsiteX45" fmla="*/ 6722347 w 11867103"/>
              <a:gd name="connsiteY45" fmla="*/ 2795292 h 2936314"/>
              <a:gd name="connsiteX46" fmla="*/ 4903596 w 11867103"/>
              <a:gd name="connsiteY46" fmla="*/ 2845534 h 2936314"/>
              <a:gd name="connsiteX47" fmla="*/ 4722725 w 11867103"/>
              <a:gd name="connsiteY47" fmla="*/ 2885727 h 2936314"/>
              <a:gd name="connsiteX48" fmla="*/ 4300695 w 11867103"/>
              <a:gd name="connsiteY48" fmla="*/ 2865630 h 2936314"/>
              <a:gd name="connsiteX49" fmla="*/ 4059534 w 11867103"/>
              <a:gd name="connsiteY49" fmla="*/ 2825437 h 2936314"/>
              <a:gd name="connsiteX50" fmla="*/ 3768132 w 11867103"/>
              <a:gd name="connsiteY50" fmla="*/ 2795292 h 2936314"/>
              <a:gd name="connsiteX51" fmla="*/ 3627455 w 11867103"/>
              <a:gd name="connsiteY51" fmla="*/ 2785244 h 2936314"/>
              <a:gd name="connsiteX52" fmla="*/ 3125037 w 11867103"/>
              <a:gd name="connsiteY52" fmla="*/ 2795292 h 2936314"/>
              <a:gd name="connsiteX53" fmla="*/ 3064747 w 11867103"/>
              <a:gd name="connsiteY53" fmla="*/ 2805340 h 2936314"/>
              <a:gd name="connsiteX54" fmla="*/ 2009670 w 11867103"/>
              <a:gd name="connsiteY54" fmla="*/ 2815389 h 2936314"/>
              <a:gd name="connsiteX55" fmla="*/ 1678075 w 11867103"/>
              <a:gd name="connsiteY55" fmla="*/ 2905824 h 2936314"/>
              <a:gd name="connsiteX56" fmla="*/ 1607736 w 11867103"/>
              <a:gd name="connsiteY56" fmla="*/ 2935969 h 2936314"/>
              <a:gd name="connsiteX57" fmla="*/ 1135464 w 11867103"/>
              <a:gd name="connsiteY57" fmla="*/ 2915872 h 2936314"/>
              <a:gd name="connsiteX58" fmla="*/ 944545 w 11867103"/>
              <a:gd name="connsiteY58" fmla="*/ 2885727 h 2936314"/>
              <a:gd name="connsiteX59" fmla="*/ 723481 w 11867103"/>
              <a:gd name="connsiteY59" fmla="*/ 2845534 h 2936314"/>
              <a:gd name="connsiteX60" fmla="*/ 643095 w 11867103"/>
              <a:gd name="connsiteY60" fmla="*/ 2835485 h 2936314"/>
              <a:gd name="connsiteX61" fmla="*/ 371789 w 11867103"/>
              <a:gd name="connsiteY61" fmla="*/ 2795292 h 2936314"/>
              <a:gd name="connsiteX62" fmla="*/ 0 w 11867103"/>
              <a:gd name="connsiteY62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06813 w 11867103"/>
              <a:gd name="connsiteY18" fmla="*/ 182720 h 2936314"/>
              <a:gd name="connsiteX19" fmla="*/ 11816862 w 11867103"/>
              <a:gd name="connsiteY19" fmla="*/ 2302923 h 2936314"/>
              <a:gd name="connsiteX20" fmla="*/ 11826910 w 11867103"/>
              <a:gd name="connsiteY20" fmla="*/ 2373261 h 2936314"/>
              <a:gd name="connsiteX21" fmla="*/ 11836958 w 11867103"/>
              <a:gd name="connsiteY21" fmla="*/ 2403406 h 2936314"/>
              <a:gd name="connsiteX22" fmla="*/ 11857055 w 11867103"/>
              <a:gd name="connsiteY22" fmla="*/ 2534035 h 2936314"/>
              <a:gd name="connsiteX23" fmla="*/ 11867103 w 11867103"/>
              <a:gd name="connsiteY23" fmla="*/ 2574228 h 2936314"/>
              <a:gd name="connsiteX24" fmla="*/ 11857055 w 11867103"/>
              <a:gd name="connsiteY24" fmla="*/ 2805340 h 2936314"/>
              <a:gd name="connsiteX25" fmla="*/ 11836958 w 11867103"/>
              <a:gd name="connsiteY25" fmla="*/ 2835485 h 2936314"/>
              <a:gd name="connsiteX26" fmla="*/ 11033090 w 11867103"/>
              <a:gd name="connsiteY26" fmla="*/ 2825437 h 2936314"/>
              <a:gd name="connsiteX27" fmla="*/ 10621108 w 11867103"/>
              <a:gd name="connsiteY27" fmla="*/ 2815389 h 2936314"/>
              <a:gd name="connsiteX28" fmla="*/ 10128739 w 11867103"/>
              <a:gd name="connsiteY28" fmla="*/ 2825437 h 2936314"/>
              <a:gd name="connsiteX29" fmla="*/ 10048352 w 11867103"/>
              <a:gd name="connsiteY29" fmla="*/ 2835485 h 2936314"/>
              <a:gd name="connsiteX30" fmla="*/ 9555982 w 11867103"/>
              <a:gd name="connsiteY30" fmla="*/ 2825437 h 2936314"/>
              <a:gd name="connsiteX31" fmla="*/ 9445451 w 11867103"/>
              <a:gd name="connsiteY31" fmla="*/ 2815389 h 2936314"/>
              <a:gd name="connsiteX32" fmla="*/ 9415306 w 11867103"/>
              <a:gd name="connsiteY32" fmla="*/ 2795292 h 2936314"/>
              <a:gd name="connsiteX33" fmla="*/ 9204290 w 11867103"/>
              <a:gd name="connsiteY33" fmla="*/ 2775195 h 2936314"/>
              <a:gd name="connsiteX34" fmla="*/ 9073662 w 11867103"/>
              <a:gd name="connsiteY34" fmla="*/ 2755098 h 2936314"/>
              <a:gd name="connsiteX35" fmla="*/ 8812404 w 11867103"/>
              <a:gd name="connsiteY35" fmla="*/ 2745050 h 2936314"/>
              <a:gd name="connsiteX36" fmla="*/ 8400422 w 11867103"/>
              <a:gd name="connsiteY36" fmla="*/ 2735002 h 2936314"/>
              <a:gd name="connsiteX37" fmla="*/ 8269793 w 11867103"/>
              <a:gd name="connsiteY37" fmla="*/ 2724953 h 2936314"/>
              <a:gd name="connsiteX38" fmla="*/ 7797521 w 11867103"/>
              <a:gd name="connsiteY38" fmla="*/ 2745050 h 2936314"/>
              <a:gd name="connsiteX39" fmla="*/ 7717134 w 11867103"/>
              <a:gd name="connsiteY39" fmla="*/ 2755098 h 2936314"/>
              <a:gd name="connsiteX40" fmla="*/ 7486022 w 11867103"/>
              <a:gd name="connsiteY40" fmla="*/ 2785244 h 2936314"/>
              <a:gd name="connsiteX41" fmla="*/ 7395587 w 11867103"/>
              <a:gd name="connsiteY41" fmla="*/ 2805340 h 2936314"/>
              <a:gd name="connsiteX42" fmla="*/ 7325248 w 11867103"/>
              <a:gd name="connsiteY42" fmla="*/ 2815389 h 2936314"/>
              <a:gd name="connsiteX43" fmla="*/ 6863024 w 11867103"/>
              <a:gd name="connsiteY43" fmla="*/ 2805340 h 2936314"/>
              <a:gd name="connsiteX44" fmla="*/ 6722347 w 11867103"/>
              <a:gd name="connsiteY44" fmla="*/ 2795292 h 2936314"/>
              <a:gd name="connsiteX45" fmla="*/ 4903596 w 11867103"/>
              <a:gd name="connsiteY45" fmla="*/ 2845534 h 2936314"/>
              <a:gd name="connsiteX46" fmla="*/ 4722725 w 11867103"/>
              <a:gd name="connsiteY46" fmla="*/ 2885727 h 2936314"/>
              <a:gd name="connsiteX47" fmla="*/ 4300695 w 11867103"/>
              <a:gd name="connsiteY47" fmla="*/ 2865630 h 2936314"/>
              <a:gd name="connsiteX48" fmla="*/ 4059534 w 11867103"/>
              <a:gd name="connsiteY48" fmla="*/ 2825437 h 2936314"/>
              <a:gd name="connsiteX49" fmla="*/ 3768132 w 11867103"/>
              <a:gd name="connsiteY49" fmla="*/ 2795292 h 2936314"/>
              <a:gd name="connsiteX50" fmla="*/ 3627455 w 11867103"/>
              <a:gd name="connsiteY50" fmla="*/ 2785244 h 2936314"/>
              <a:gd name="connsiteX51" fmla="*/ 3125037 w 11867103"/>
              <a:gd name="connsiteY51" fmla="*/ 2795292 h 2936314"/>
              <a:gd name="connsiteX52" fmla="*/ 3064747 w 11867103"/>
              <a:gd name="connsiteY52" fmla="*/ 2805340 h 2936314"/>
              <a:gd name="connsiteX53" fmla="*/ 2009670 w 11867103"/>
              <a:gd name="connsiteY53" fmla="*/ 2815389 h 2936314"/>
              <a:gd name="connsiteX54" fmla="*/ 1678075 w 11867103"/>
              <a:gd name="connsiteY54" fmla="*/ 2905824 h 2936314"/>
              <a:gd name="connsiteX55" fmla="*/ 1607736 w 11867103"/>
              <a:gd name="connsiteY55" fmla="*/ 2935969 h 2936314"/>
              <a:gd name="connsiteX56" fmla="*/ 1135464 w 11867103"/>
              <a:gd name="connsiteY56" fmla="*/ 2915872 h 2936314"/>
              <a:gd name="connsiteX57" fmla="*/ 944545 w 11867103"/>
              <a:gd name="connsiteY57" fmla="*/ 2885727 h 2936314"/>
              <a:gd name="connsiteX58" fmla="*/ 723481 w 11867103"/>
              <a:gd name="connsiteY58" fmla="*/ 2845534 h 2936314"/>
              <a:gd name="connsiteX59" fmla="*/ 643095 w 11867103"/>
              <a:gd name="connsiteY59" fmla="*/ 2835485 h 2936314"/>
              <a:gd name="connsiteX60" fmla="*/ 371789 w 11867103"/>
              <a:gd name="connsiteY60" fmla="*/ 2795292 h 2936314"/>
              <a:gd name="connsiteX61" fmla="*/ 0 w 11867103"/>
              <a:gd name="connsiteY61" fmla="*/ 2785244 h 2936314"/>
              <a:gd name="connsiteX0" fmla="*/ 120580 w 11867103"/>
              <a:gd name="connsiteY0" fmla="*/ 21947 h 2936314"/>
              <a:gd name="connsiteX1" fmla="*/ 281354 w 11867103"/>
              <a:gd name="connsiteY1" fmla="*/ 11898 h 2936314"/>
              <a:gd name="connsiteX2" fmla="*/ 673240 w 11867103"/>
              <a:gd name="connsiteY2" fmla="*/ 1850 h 2936314"/>
              <a:gd name="connsiteX3" fmla="*/ 1356528 w 11867103"/>
              <a:gd name="connsiteY3" fmla="*/ 52092 h 2936314"/>
              <a:gd name="connsiteX4" fmla="*/ 1758462 w 11867103"/>
              <a:gd name="connsiteY4" fmla="*/ 11898 h 2936314"/>
              <a:gd name="connsiteX5" fmla="*/ 2140299 w 11867103"/>
              <a:gd name="connsiteY5" fmla="*/ 11898 h 2936314"/>
              <a:gd name="connsiteX6" fmla="*/ 4652387 w 11867103"/>
              <a:gd name="connsiteY6" fmla="*/ 31995 h 2936314"/>
              <a:gd name="connsiteX7" fmla="*/ 4692580 w 11867103"/>
              <a:gd name="connsiteY7" fmla="*/ 42044 h 2936314"/>
              <a:gd name="connsiteX8" fmla="*/ 6420897 w 11867103"/>
              <a:gd name="connsiteY8" fmla="*/ 62140 h 2936314"/>
              <a:gd name="connsiteX9" fmla="*/ 7184571 w 11867103"/>
              <a:gd name="connsiteY9" fmla="*/ 31995 h 2936314"/>
              <a:gd name="connsiteX10" fmla="*/ 7928150 w 11867103"/>
              <a:gd name="connsiteY10" fmla="*/ 31995 h 2936314"/>
              <a:gd name="connsiteX11" fmla="*/ 8219552 w 11867103"/>
              <a:gd name="connsiteY11" fmla="*/ 62140 h 2936314"/>
              <a:gd name="connsiteX12" fmla="*/ 9606224 w 11867103"/>
              <a:gd name="connsiteY12" fmla="*/ 62140 h 2936314"/>
              <a:gd name="connsiteX13" fmla="*/ 9947868 w 11867103"/>
              <a:gd name="connsiteY13" fmla="*/ 31995 h 2936314"/>
              <a:gd name="connsiteX14" fmla="*/ 10791930 w 11867103"/>
              <a:gd name="connsiteY14" fmla="*/ 1850 h 2936314"/>
              <a:gd name="connsiteX15" fmla="*/ 11736475 w 11867103"/>
              <a:gd name="connsiteY15" fmla="*/ 21947 h 2936314"/>
              <a:gd name="connsiteX16" fmla="*/ 11766620 w 11867103"/>
              <a:gd name="connsiteY16" fmla="*/ 52092 h 2936314"/>
              <a:gd name="connsiteX17" fmla="*/ 11786717 w 11867103"/>
              <a:gd name="connsiteY17" fmla="*/ 92285 h 2936314"/>
              <a:gd name="connsiteX18" fmla="*/ 11816862 w 11867103"/>
              <a:gd name="connsiteY18" fmla="*/ 2302923 h 2936314"/>
              <a:gd name="connsiteX19" fmla="*/ 11826910 w 11867103"/>
              <a:gd name="connsiteY19" fmla="*/ 2373261 h 2936314"/>
              <a:gd name="connsiteX20" fmla="*/ 11836958 w 11867103"/>
              <a:gd name="connsiteY20" fmla="*/ 2403406 h 2936314"/>
              <a:gd name="connsiteX21" fmla="*/ 11857055 w 11867103"/>
              <a:gd name="connsiteY21" fmla="*/ 2534035 h 2936314"/>
              <a:gd name="connsiteX22" fmla="*/ 11867103 w 11867103"/>
              <a:gd name="connsiteY22" fmla="*/ 2574228 h 2936314"/>
              <a:gd name="connsiteX23" fmla="*/ 11857055 w 11867103"/>
              <a:gd name="connsiteY23" fmla="*/ 2805340 h 2936314"/>
              <a:gd name="connsiteX24" fmla="*/ 11836958 w 11867103"/>
              <a:gd name="connsiteY24" fmla="*/ 2835485 h 2936314"/>
              <a:gd name="connsiteX25" fmla="*/ 11033090 w 11867103"/>
              <a:gd name="connsiteY25" fmla="*/ 2825437 h 2936314"/>
              <a:gd name="connsiteX26" fmla="*/ 10621108 w 11867103"/>
              <a:gd name="connsiteY26" fmla="*/ 2815389 h 2936314"/>
              <a:gd name="connsiteX27" fmla="*/ 10128739 w 11867103"/>
              <a:gd name="connsiteY27" fmla="*/ 2825437 h 2936314"/>
              <a:gd name="connsiteX28" fmla="*/ 10048352 w 11867103"/>
              <a:gd name="connsiteY28" fmla="*/ 2835485 h 2936314"/>
              <a:gd name="connsiteX29" fmla="*/ 9555982 w 11867103"/>
              <a:gd name="connsiteY29" fmla="*/ 2825437 h 2936314"/>
              <a:gd name="connsiteX30" fmla="*/ 9445451 w 11867103"/>
              <a:gd name="connsiteY30" fmla="*/ 2815389 h 2936314"/>
              <a:gd name="connsiteX31" fmla="*/ 9415306 w 11867103"/>
              <a:gd name="connsiteY31" fmla="*/ 2795292 h 2936314"/>
              <a:gd name="connsiteX32" fmla="*/ 9204290 w 11867103"/>
              <a:gd name="connsiteY32" fmla="*/ 2775195 h 2936314"/>
              <a:gd name="connsiteX33" fmla="*/ 9073662 w 11867103"/>
              <a:gd name="connsiteY33" fmla="*/ 2755098 h 2936314"/>
              <a:gd name="connsiteX34" fmla="*/ 8812404 w 11867103"/>
              <a:gd name="connsiteY34" fmla="*/ 2745050 h 2936314"/>
              <a:gd name="connsiteX35" fmla="*/ 8400422 w 11867103"/>
              <a:gd name="connsiteY35" fmla="*/ 2735002 h 2936314"/>
              <a:gd name="connsiteX36" fmla="*/ 8269793 w 11867103"/>
              <a:gd name="connsiteY36" fmla="*/ 2724953 h 2936314"/>
              <a:gd name="connsiteX37" fmla="*/ 7797521 w 11867103"/>
              <a:gd name="connsiteY37" fmla="*/ 2745050 h 2936314"/>
              <a:gd name="connsiteX38" fmla="*/ 7717134 w 11867103"/>
              <a:gd name="connsiteY38" fmla="*/ 2755098 h 2936314"/>
              <a:gd name="connsiteX39" fmla="*/ 7486022 w 11867103"/>
              <a:gd name="connsiteY39" fmla="*/ 2785244 h 2936314"/>
              <a:gd name="connsiteX40" fmla="*/ 7395587 w 11867103"/>
              <a:gd name="connsiteY40" fmla="*/ 2805340 h 2936314"/>
              <a:gd name="connsiteX41" fmla="*/ 7325248 w 11867103"/>
              <a:gd name="connsiteY41" fmla="*/ 2815389 h 2936314"/>
              <a:gd name="connsiteX42" fmla="*/ 6863024 w 11867103"/>
              <a:gd name="connsiteY42" fmla="*/ 2805340 h 2936314"/>
              <a:gd name="connsiteX43" fmla="*/ 6722347 w 11867103"/>
              <a:gd name="connsiteY43" fmla="*/ 2795292 h 2936314"/>
              <a:gd name="connsiteX44" fmla="*/ 4903596 w 11867103"/>
              <a:gd name="connsiteY44" fmla="*/ 2845534 h 2936314"/>
              <a:gd name="connsiteX45" fmla="*/ 4722725 w 11867103"/>
              <a:gd name="connsiteY45" fmla="*/ 2885727 h 2936314"/>
              <a:gd name="connsiteX46" fmla="*/ 4300695 w 11867103"/>
              <a:gd name="connsiteY46" fmla="*/ 2865630 h 2936314"/>
              <a:gd name="connsiteX47" fmla="*/ 4059534 w 11867103"/>
              <a:gd name="connsiteY47" fmla="*/ 2825437 h 2936314"/>
              <a:gd name="connsiteX48" fmla="*/ 3768132 w 11867103"/>
              <a:gd name="connsiteY48" fmla="*/ 2795292 h 2936314"/>
              <a:gd name="connsiteX49" fmla="*/ 3627455 w 11867103"/>
              <a:gd name="connsiteY49" fmla="*/ 2785244 h 2936314"/>
              <a:gd name="connsiteX50" fmla="*/ 3125037 w 11867103"/>
              <a:gd name="connsiteY50" fmla="*/ 2795292 h 2936314"/>
              <a:gd name="connsiteX51" fmla="*/ 3064747 w 11867103"/>
              <a:gd name="connsiteY51" fmla="*/ 2805340 h 2936314"/>
              <a:gd name="connsiteX52" fmla="*/ 2009670 w 11867103"/>
              <a:gd name="connsiteY52" fmla="*/ 2815389 h 2936314"/>
              <a:gd name="connsiteX53" fmla="*/ 1678075 w 11867103"/>
              <a:gd name="connsiteY53" fmla="*/ 2905824 h 2936314"/>
              <a:gd name="connsiteX54" fmla="*/ 1607736 w 11867103"/>
              <a:gd name="connsiteY54" fmla="*/ 2935969 h 2936314"/>
              <a:gd name="connsiteX55" fmla="*/ 1135464 w 11867103"/>
              <a:gd name="connsiteY55" fmla="*/ 2915872 h 2936314"/>
              <a:gd name="connsiteX56" fmla="*/ 944545 w 11867103"/>
              <a:gd name="connsiteY56" fmla="*/ 2885727 h 2936314"/>
              <a:gd name="connsiteX57" fmla="*/ 723481 w 11867103"/>
              <a:gd name="connsiteY57" fmla="*/ 2845534 h 2936314"/>
              <a:gd name="connsiteX58" fmla="*/ 643095 w 11867103"/>
              <a:gd name="connsiteY58" fmla="*/ 2835485 h 2936314"/>
              <a:gd name="connsiteX59" fmla="*/ 371789 w 11867103"/>
              <a:gd name="connsiteY59" fmla="*/ 2795292 h 2936314"/>
              <a:gd name="connsiteX60" fmla="*/ 0 w 11867103"/>
              <a:gd name="connsiteY60" fmla="*/ 2785244 h 2936314"/>
              <a:gd name="connsiteX0" fmla="*/ 120580 w 11867103"/>
              <a:gd name="connsiteY0" fmla="*/ 146825 h 3061192"/>
              <a:gd name="connsiteX1" fmla="*/ 281354 w 11867103"/>
              <a:gd name="connsiteY1" fmla="*/ 136776 h 3061192"/>
              <a:gd name="connsiteX2" fmla="*/ 673240 w 11867103"/>
              <a:gd name="connsiteY2" fmla="*/ 126728 h 3061192"/>
              <a:gd name="connsiteX3" fmla="*/ 1356528 w 11867103"/>
              <a:gd name="connsiteY3" fmla="*/ 176970 h 3061192"/>
              <a:gd name="connsiteX4" fmla="*/ 1758462 w 11867103"/>
              <a:gd name="connsiteY4" fmla="*/ 136776 h 3061192"/>
              <a:gd name="connsiteX5" fmla="*/ 2140299 w 11867103"/>
              <a:gd name="connsiteY5" fmla="*/ 136776 h 3061192"/>
              <a:gd name="connsiteX6" fmla="*/ 4652387 w 11867103"/>
              <a:gd name="connsiteY6" fmla="*/ 156873 h 3061192"/>
              <a:gd name="connsiteX7" fmla="*/ 4692580 w 11867103"/>
              <a:gd name="connsiteY7" fmla="*/ 166922 h 3061192"/>
              <a:gd name="connsiteX8" fmla="*/ 6420897 w 11867103"/>
              <a:gd name="connsiteY8" fmla="*/ 187018 h 3061192"/>
              <a:gd name="connsiteX9" fmla="*/ 7184571 w 11867103"/>
              <a:gd name="connsiteY9" fmla="*/ 156873 h 3061192"/>
              <a:gd name="connsiteX10" fmla="*/ 7928150 w 11867103"/>
              <a:gd name="connsiteY10" fmla="*/ 156873 h 3061192"/>
              <a:gd name="connsiteX11" fmla="*/ 8219552 w 11867103"/>
              <a:gd name="connsiteY11" fmla="*/ 187018 h 3061192"/>
              <a:gd name="connsiteX12" fmla="*/ 9606224 w 11867103"/>
              <a:gd name="connsiteY12" fmla="*/ 187018 h 3061192"/>
              <a:gd name="connsiteX13" fmla="*/ 9947868 w 11867103"/>
              <a:gd name="connsiteY13" fmla="*/ 156873 h 3061192"/>
              <a:gd name="connsiteX14" fmla="*/ 10791930 w 11867103"/>
              <a:gd name="connsiteY14" fmla="*/ 126728 h 3061192"/>
              <a:gd name="connsiteX15" fmla="*/ 11736475 w 11867103"/>
              <a:gd name="connsiteY15" fmla="*/ 146825 h 3061192"/>
              <a:gd name="connsiteX16" fmla="*/ 11766620 w 11867103"/>
              <a:gd name="connsiteY16" fmla="*/ 176970 h 3061192"/>
              <a:gd name="connsiteX17" fmla="*/ 11816862 w 11867103"/>
              <a:gd name="connsiteY17" fmla="*/ 2427801 h 3061192"/>
              <a:gd name="connsiteX18" fmla="*/ 11826910 w 11867103"/>
              <a:gd name="connsiteY18" fmla="*/ 2498139 h 3061192"/>
              <a:gd name="connsiteX19" fmla="*/ 11836958 w 11867103"/>
              <a:gd name="connsiteY19" fmla="*/ 2528284 h 3061192"/>
              <a:gd name="connsiteX20" fmla="*/ 11857055 w 11867103"/>
              <a:gd name="connsiteY20" fmla="*/ 2658913 h 3061192"/>
              <a:gd name="connsiteX21" fmla="*/ 11867103 w 11867103"/>
              <a:gd name="connsiteY21" fmla="*/ 2699106 h 3061192"/>
              <a:gd name="connsiteX22" fmla="*/ 11857055 w 11867103"/>
              <a:gd name="connsiteY22" fmla="*/ 2930218 h 3061192"/>
              <a:gd name="connsiteX23" fmla="*/ 11836958 w 11867103"/>
              <a:gd name="connsiteY23" fmla="*/ 2960363 h 3061192"/>
              <a:gd name="connsiteX24" fmla="*/ 11033090 w 11867103"/>
              <a:gd name="connsiteY24" fmla="*/ 2950315 h 3061192"/>
              <a:gd name="connsiteX25" fmla="*/ 10621108 w 11867103"/>
              <a:gd name="connsiteY25" fmla="*/ 2940267 h 3061192"/>
              <a:gd name="connsiteX26" fmla="*/ 10128739 w 11867103"/>
              <a:gd name="connsiteY26" fmla="*/ 2950315 h 3061192"/>
              <a:gd name="connsiteX27" fmla="*/ 10048352 w 11867103"/>
              <a:gd name="connsiteY27" fmla="*/ 2960363 h 3061192"/>
              <a:gd name="connsiteX28" fmla="*/ 9555982 w 11867103"/>
              <a:gd name="connsiteY28" fmla="*/ 2950315 h 3061192"/>
              <a:gd name="connsiteX29" fmla="*/ 9445451 w 11867103"/>
              <a:gd name="connsiteY29" fmla="*/ 2940267 h 3061192"/>
              <a:gd name="connsiteX30" fmla="*/ 9415306 w 11867103"/>
              <a:gd name="connsiteY30" fmla="*/ 2920170 h 3061192"/>
              <a:gd name="connsiteX31" fmla="*/ 9204290 w 11867103"/>
              <a:gd name="connsiteY31" fmla="*/ 2900073 h 3061192"/>
              <a:gd name="connsiteX32" fmla="*/ 9073662 w 11867103"/>
              <a:gd name="connsiteY32" fmla="*/ 2879976 h 3061192"/>
              <a:gd name="connsiteX33" fmla="*/ 8812404 w 11867103"/>
              <a:gd name="connsiteY33" fmla="*/ 2869928 h 3061192"/>
              <a:gd name="connsiteX34" fmla="*/ 8400422 w 11867103"/>
              <a:gd name="connsiteY34" fmla="*/ 2859880 h 3061192"/>
              <a:gd name="connsiteX35" fmla="*/ 8269793 w 11867103"/>
              <a:gd name="connsiteY35" fmla="*/ 2849831 h 3061192"/>
              <a:gd name="connsiteX36" fmla="*/ 7797521 w 11867103"/>
              <a:gd name="connsiteY36" fmla="*/ 2869928 h 3061192"/>
              <a:gd name="connsiteX37" fmla="*/ 7717134 w 11867103"/>
              <a:gd name="connsiteY37" fmla="*/ 2879976 h 3061192"/>
              <a:gd name="connsiteX38" fmla="*/ 7486022 w 11867103"/>
              <a:gd name="connsiteY38" fmla="*/ 2910122 h 3061192"/>
              <a:gd name="connsiteX39" fmla="*/ 7395587 w 11867103"/>
              <a:gd name="connsiteY39" fmla="*/ 2930218 h 3061192"/>
              <a:gd name="connsiteX40" fmla="*/ 7325248 w 11867103"/>
              <a:gd name="connsiteY40" fmla="*/ 2940267 h 3061192"/>
              <a:gd name="connsiteX41" fmla="*/ 6863024 w 11867103"/>
              <a:gd name="connsiteY41" fmla="*/ 2930218 h 3061192"/>
              <a:gd name="connsiteX42" fmla="*/ 6722347 w 11867103"/>
              <a:gd name="connsiteY42" fmla="*/ 2920170 h 3061192"/>
              <a:gd name="connsiteX43" fmla="*/ 4903596 w 11867103"/>
              <a:gd name="connsiteY43" fmla="*/ 2970412 h 3061192"/>
              <a:gd name="connsiteX44" fmla="*/ 4722725 w 11867103"/>
              <a:gd name="connsiteY44" fmla="*/ 3010605 h 3061192"/>
              <a:gd name="connsiteX45" fmla="*/ 4300695 w 11867103"/>
              <a:gd name="connsiteY45" fmla="*/ 2990508 h 3061192"/>
              <a:gd name="connsiteX46" fmla="*/ 4059534 w 11867103"/>
              <a:gd name="connsiteY46" fmla="*/ 2950315 h 3061192"/>
              <a:gd name="connsiteX47" fmla="*/ 3768132 w 11867103"/>
              <a:gd name="connsiteY47" fmla="*/ 2920170 h 3061192"/>
              <a:gd name="connsiteX48" fmla="*/ 3627455 w 11867103"/>
              <a:gd name="connsiteY48" fmla="*/ 2910122 h 3061192"/>
              <a:gd name="connsiteX49" fmla="*/ 3125037 w 11867103"/>
              <a:gd name="connsiteY49" fmla="*/ 2920170 h 3061192"/>
              <a:gd name="connsiteX50" fmla="*/ 3064747 w 11867103"/>
              <a:gd name="connsiteY50" fmla="*/ 2930218 h 3061192"/>
              <a:gd name="connsiteX51" fmla="*/ 2009670 w 11867103"/>
              <a:gd name="connsiteY51" fmla="*/ 2940267 h 3061192"/>
              <a:gd name="connsiteX52" fmla="*/ 1678075 w 11867103"/>
              <a:gd name="connsiteY52" fmla="*/ 3030702 h 3061192"/>
              <a:gd name="connsiteX53" fmla="*/ 1607736 w 11867103"/>
              <a:gd name="connsiteY53" fmla="*/ 3060847 h 3061192"/>
              <a:gd name="connsiteX54" fmla="*/ 1135464 w 11867103"/>
              <a:gd name="connsiteY54" fmla="*/ 3040750 h 3061192"/>
              <a:gd name="connsiteX55" fmla="*/ 944545 w 11867103"/>
              <a:gd name="connsiteY55" fmla="*/ 3010605 h 3061192"/>
              <a:gd name="connsiteX56" fmla="*/ 723481 w 11867103"/>
              <a:gd name="connsiteY56" fmla="*/ 2970412 h 3061192"/>
              <a:gd name="connsiteX57" fmla="*/ 643095 w 11867103"/>
              <a:gd name="connsiteY57" fmla="*/ 2960363 h 3061192"/>
              <a:gd name="connsiteX58" fmla="*/ 371789 w 11867103"/>
              <a:gd name="connsiteY58" fmla="*/ 2920170 h 3061192"/>
              <a:gd name="connsiteX59" fmla="*/ 0 w 11867103"/>
              <a:gd name="connsiteY59" fmla="*/ 2910122 h 3061192"/>
              <a:gd name="connsiteX0" fmla="*/ 120580 w 11867103"/>
              <a:gd name="connsiteY0" fmla="*/ 58358 h 2972725"/>
              <a:gd name="connsiteX1" fmla="*/ 281354 w 11867103"/>
              <a:gd name="connsiteY1" fmla="*/ 48309 h 2972725"/>
              <a:gd name="connsiteX2" fmla="*/ 673240 w 11867103"/>
              <a:gd name="connsiteY2" fmla="*/ 38261 h 2972725"/>
              <a:gd name="connsiteX3" fmla="*/ 1356528 w 11867103"/>
              <a:gd name="connsiteY3" fmla="*/ 88503 h 2972725"/>
              <a:gd name="connsiteX4" fmla="*/ 1758462 w 11867103"/>
              <a:gd name="connsiteY4" fmla="*/ 48309 h 2972725"/>
              <a:gd name="connsiteX5" fmla="*/ 2140299 w 11867103"/>
              <a:gd name="connsiteY5" fmla="*/ 48309 h 2972725"/>
              <a:gd name="connsiteX6" fmla="*/ 4652387 w 11867103"/>
              <a:gd name="connsiteY6" fmla="*/ 68406 h 2972725"/>
              <a:gd name="connsiteX7" fmla="*/ 4692580 w 11867103"/>
              <a:gd name="connsiteY7" fmla="*/ 78455 h 2972725"/>
              <a:gd name="connsiteX8" fmla="*/ 6420897 w 11867103"/>
              <a:gd name="connsiteY8" fmla="*/ 98551 h 2972725"/>
              <a:gd name="connsiteX9" fmla="*/ 7184571 w 11867103"/>
              <a:gd name="connsiteY9" fmla="*/ 68406 h 2972725"/>
              <a:gd name="connsiteX10" fmla="*/ 7928150 w 11867103"/>
              <a:gd name="connsiteY10" fmla="*/ 68406 h 2972725"/>
              <a:gd name="connsiteX11" fmla="*/ 8219552 w 11867103"/>
              <a:gd name="connsiteY11" fmla="*/ 98551 h 2972725"/>
              <a:gd name="connsiteX12" fmla="*/ 9606224 w 11867103"/>
              <a:gd name="connsiteY12" fmla="*/ 98551 h 2972725"/>
              <a:gd name="connsiteX13" fmla="*/ 9947868 w 11867103"/>
              <a:gd name="connsiteY13" fmla="*/ 68406 h 2972725"/>
              <a:gd name="connsiteX14" fmla="*/ 10791930 w 11867103"/>
              <a:gd name="connsiteY14" fmla="*/ 38261 h 2972725"/>
              <a:gd name="connsiteX15" fmla="*/ 11736475 w 11867103"/>
              <a:gd name="connsiteY15" fmla="*/ 58358 h 2972725"/>
              <a:gd name="connsiteX16" fmla="*/ 11806813 w 11867103"/>
              <a:gd name="connsiteY16" fmla="*/ 771791 h 2972725"/>
              <a:gd name="connsiteX17" fmla="*/ 11816862 w 11867103"/>
              <a:gd name="connsiteY17" fmla="*/ 2339334 h 2972725"/>
              <a:gd name="connsiteX18" fmla="*/ 11826910 w 11867103"/>
              <a:gd name="connsiteY18" fmla="*/ 2409672 h 2972725"/>
              <a:gd name="connsiteX19" fmla="*/ 11836958 w 11867103"/>
              <a:gd name="connsiteY19" fmla="*/ 2439817 h 2972725"/>
              <a:gd name="connsiteX20" fmla="*/ 11857055 w 11867103"/>
              <a:gd name="connsiteY20" fmla="*/ 2570446 h 2972725"/>
              <a:gd name="connsiteX21" fmla="*/ 11867103 w 11867103"/>
              <a:gd name="connsiteY21" fmla="*/ 2610639 h 2972725"/>
              <a:gd name="connsiteX22" fmla="*/ 11857055 w 11867103"/>
              <a:gd name="connsiteY22" fmla="*/ 2841751 h 2972725"/>
              <a:gd name="connsiteX23" fmla="*/ 11836958 w 11867103"/>
              <a:gd name="connsiteY23" fmla="*/ 2871896 h 2972725"/>
              <a:gd name="connsiteX24" fmla="*/ 11033090 w 11867103"/>
              <a:gd name="connsiteY24" fmla="*/ 2861848 h 2972725"/>
              <a:gd name="connsiteX25" fmla="*/ 10621108 w 11867103"/>
              <a:gd name="connsiteY25" fmla="*/ 2851800 h 2972725"/>
              <a:gd name="connsiteX26" fmla="*/ 10128739 w 11867103"/>
              <a:gd name="connsiteY26" fmla="*/ 2861848 h 2972725"/>
              <a:gd name="connsiteX27" fmla="*/ 10048352 w 11867103"/>
              <a:gd name="connsiteY27" fmla="*/ 2871896 h 2972725"/>
              <a:gd name="connsiteX28" fmla="*/ 9555982 w 11867103"/>
              <a:gd name="connsiteY28" fmla="*/ 2861848 h 2972725"/>
              <a:gd name="connsiteX29" fmla="*/ 9445451 w 11867103"/>
              <a:gd name="connsiteY29" fmla="*/ 2851800 h 2972725"/>
              <a:gd name="connsiteX30" fmla="*/ 9415306 w 11867103"/>
              <a:gd name="connsiteY30" fmla="*/ 2831703 h 2972725"/>
              <a:gd name="connsiteX31" fmla="*/ 9204290 w 11867103"/>
              <a:gd name="connsiteY31" fmla="*/ 2811606 h 2972725"/>
              <a:gd name="connsiteX32" fmla="*/ 9073662 w 11867103"/>
              <a:gd name="connsiteY32" fmla="*/ 2791509 h 2972725"/>
              <a:gd name="connsiteX33" fmla="*/ 8812404 w 11867103"/>
              <a:gd name="connsiteY33" fmla="*/ 2781461 h 2972725"/>
              <a:gd name="connsiteX34" fmla="*/ 8400422 w 11867103"/>
              <a:gd name="connsiteY34" fmla="*/ 2771413 h 2972725"/>
              <a:gd name="connsiteX35" fmla="*/ 8269793 w 11867103"/>
              <a:gd name="connsiteY35" fmla="*/ 2761364 h 2972725"/>
              <a:gd name="connsiteX36" fmla="*/ 7797521 w 11867103"/>
              <a:gd name="connsiteY36" fmla="*/ 2781461 h 2972725"/>
              <a:gd name="connsiteX37" fmla="*/ 7717134 w 11867103"/>
              <a:gd name="connsiteY37" fmla="*/ 2791509 h 2972725"/>
              <a:gd name="connsiteX38" fmla="*/ 7486022 w 11867103"/>
              <a:gd name="connsiteY38" fmla="*/ 2821655 h 2972725"/>
              <a:gd name="connsiteX39" fmla="*/ 7395587 w 11867103"/>
              <a:gd name="connsiteY39" fmla="*/ 2841751 h 2972725"/>
              <a:gd name="connsiteX40" fmla="*/ 7325248 w 11867103"/>
              <a:gd name="connsiteY40" fmla="*/ 2851800 h 2972725"/>
              <a:gd name="connsiteX41" fmla="*/ 6863024 w 11867103"/>
              <a:gd name="connsiteY41" fmla="*/ 2841751 h 2972725"/>
              <a:gd name="connsiteX42" fmla="*/ 6722347 w 11867103"/>
              <a:gd name="connsiteY42" fmla="*/ 2831703 h 2972725"/>
              <a:gd name="connsiteX43" fmla="*/ 4903596 w 11867103"/>
              <a:gd name="connsiteY43" fmla="*/ 2881945 h 2972725"/>
              <a:gd name="connsiteX44" fmla="*/ 4722725 w 11867103"/>
              <a:gd name="connsiteY44" fmla="*/ 2922138 h 2972725"/>
              <a:gd name="connsiteX45" fmla="*/ 4300695 w 11867103"/>
              <a:gd name="connsiteY45" fmla="*/ 2902041 h 2972725"/>
              <a:gd name="connsiteX46" fmla="*/ 4059534 w 11867103"/>
              <a:gd name="connsiteY46" fmla="*/ 2861848 h 2972725"/>
              <a:gd name="connsiteX47" fmla="*/ 3768132 w 11867103"/>
              <a:gd name="connsiteY47" fmla="*/ 2831703 h 2972725"/>
              <a:gd name="connsiteX48" fmla="*/ 3627455 w 11867103"/>
              <a:gd name="connsiteY48" fmla="*/ 2821655 h 2972725"/>
              <a:gd name="connsiteX49" fmla="*/ 3125037 w 11867103"/>
              <a:gd name="connsiteY49" fmla="*/ 2831703 h 2972725"/>
              <a:gd name="connsiteX50" fmla="*/ 3064747 w 11867103"/>
              <a:gd name="connsiteY50" fmla="*/ 2841751 h 2972725"/>
              <a:gd name="connsiteX51" fmla="*/ 2009670 w 11867103"/>
              <a:gd name="connsiteY51" fmla="*/ 2851800 h 2972725"/>
              <a:gd name="connsiteX52" fmla="*/ 1678075 w 11867103"/>
              <a:gd name="connsiteY52" fmla="*/ 2942235 h 2972725"/>
              <a:gd name="connsiteX53" fmla="*/ 1607736 w 11867103"/>
              <a:gd name="connsiteY53" fmla="*/ 2972380 h 2972725"/>
              <a:gd name="connsiteX54" fmla="*/ 1135464 w 11867103"/>
              <a:gd name="connsiteY54" fmla="*/ 2952283 h 2972725"/>
              <a:gd name="connsiteX55" fmla="*/ 944545 w 11867103"/>
              <a:gd name="connsiteY55" fmla="*/ 2922138 h 2972725"/>
              <a:gd name="connsiteX56" fmla="*/ 723481 w 11867103"/>
              <a:gd name="connsiteY56" fmla="*/ 2881945 h 2972725"/>
              <a:gd name="connsiteX57" fmla="*/ 643095 w 11867103"/>
              <a:gd name="connsiteY57" fmla="*/ 2871896 h 2972725"/>
              <a:gd name="connsiteX58" fmla="*/ 371789 w 11867103"/>
              <a:gd name="connsiteY58" fmla="*/ 2831703 h 2972725"/>
              <a:gd name="connsiteX59" fmla="*/ 0 w 11867103"/>
              <a:gd name="connsiteY59" fmla="*/ 2821655 h 2972725"/>
              <a:gd name="connsiteX0" fmla="*/ 120580 w 11867103"/>
              <a:gd name="connsiteY0" fmla="*/ 91200 h 3005567"/>
              <a:gd name="connsiteX1" fmla="*/ 281354 w 11867103"/>
              <a:gd name="connsiteY1" fmla="*/ 81151 h 3005567"/>
              <a:gd name="connsiteX2" fmla="*/ 673240 w 11867103"/>
              <a:gd name="connsiteY2" fmla="*/ 71103 h 3005567"/>
              <a:gd name="connsiteX3" fmla="*/ 1356528 w 11867103"/>
              <a:gd name="connsiteY3" fmla="*/ 121345 h 3005567"/>
              <a:gd name="connsiteX4" fmla="*/ 1758462 w 11867103"/>
              <a:gd name="connsiteY4" fmla="*/ 81151 h 3005567"/>
              <a:gd name="connsiteX5" fmla="*/ 2140299 w 11867103"/>
              <a:gd name="connsiteY5" fmla="*/ 81151 h 3005567"/>
              <a:gd name="connsiteX6" fmla="*/ 4652387 w 11867103"/>
              <a:gd name="connsiteY6" fmla="*/ 101248 h 3005567"/>
              <a:gd name="connsiteX7" fmla="*/ 4692580 w 11867103"/>
              <a:gd name="connsiteY7" fmla="*/ 111297 h 3005567"/>
              <a:gd name="connsiteX8" fmla="*/ 6420897 w 11867103"/>
              <a:gd name="connsiteY8" fmla="*/ 131393 h 3005567"/>
              <a:gd name="connsiteX9" fmla="*/ 7184571 w 11867103"/>
              <a:gd name="connsiteY9" fmla="*/ 101248 h 3005567"/>
              <a:gd name="connsiteX10" fmla="*/ 7928150 w 11867103"/>
              <a:gd name="connsiteY10" fmla="*/ 101248 h 3005567"/>
              <a:gd name="connsiteX11" fmla="*/ 8219552 w 11867103"/>
              <a:gd name="connsiteY11" fmla="*/ 131393 h 3005567"/>
              <a:gd name="connsiteX12" fmla="*/ 9606224 w 11867103"/>
              <a:gd name="connsiteY12" fmla="*/ 131393 h 3005567"/>
              <a:gd name="connsiteX13" fmla="*/ 9947868 w 11867103"/>
              <a:gd name="connsiteY13" fmla="*/ 101248 h 3005567"/>
              <a:gd name="connsiteX14" fmla="*/ 10791930 w 11867103"/>
              <a:gd name="connsiteY14" fmla="*/ 71103 h 3005567"/>
              <a:gd name="connsiteX15" fmla="*/ 11736475 w 11867103"/>
              <a:gd name="connsiteY15" fmla="*/ 91200 h 3005567"/>
              <a:gd name="connsiteX16" fmla="*/ 11806813 w 11867103"/>
              <a:gd name="connsiteY16" fmla="*/ 804633 h 3005567"/>
              <a:gd name="connsiteX17" fmla="*/ 11816862 w 11867103"/>
              <a:gd name="connsiteY17" fmla="*/ 2372176 h 3005567"/>
              <a:gd name="connsiteX18" fmla="*/ 11826910 w 11867103"/>
              <a:gd name="connsiteY18" fmla="*/ 2442514 h 3005567"/>
              <a:gd name="connsiteX19" fmla="*/ 11836958 w 11867103"/>
              <a:gd name="connsiteY19" fmla="*/ 2472659 h 3005567"/>
              <a:gd name="connsiteX20" fmla="*/ 11857055 w 11867103"/>
              <a:gd name="connsiteY20" fmla="*/ 2603288 h 3005567"/>
              <a:gd name="connsiteX21" fmla="*/ 11867103 w 11867103"/>
              <a:gd name="connsiteY21" fmla="*/ 2643481 h 3005567"/>
              <a:gd name="connsiteX22" fmla="*/ 11857055 w 11867103"/>
              <a:gd name="connsiteY22" fmla="*/ 2874593 h 3005567"/>
              <a:gd name="connsiteX23" fmla="*/ 11836958 w 11867103"/>
              <a:gd name="connsiteY23" fmla="*/ 2904738 h 3005567"/>
              <a:gd name="connsiteX24" fmla="*/ 11033090 w 11867103"/>
              <a:gd name="connsiteY24" fmla="*/ 2894690 h 3005567"/>
              <a:gd name="connsiteX25" fmla="*/ 10621108 w 11867103"/>
              <a:gd name="connsiteY25" fmla="*/ 2884642 h 3005567"/>
              <a:gd name="connsiteX26" fmla="*/ 10128739 w 11867103"/>
              <a:gd name="connsiteY26" fmla="*/ 2894690 h 3005567"/>
              <a:gd name="connsiteX27" fmla="*/ 10048352 w 11867103"/>
              <a:gd name="connsiteY27" fmla="*/ 2904738 h 3005567"/>
              <a:gd name="connsiteX28" fmla="*/ 9555982 w 11867103"/>
              <a:gd name="connsiteY28" fmla="*/ 2894690 h 3005567"/>
              <a:gd name="connsiteX29" fmla="*/ 9445451 w 11867103"/>
              <a:gd name="connsiteY29" fmla="*/ 2884642 h 3005567"/>
              <a:gd name="connsiteX30" fmla="*/ 9415306 w 11867103"/>
              <a:gd name="connsiteY30" fmla="*/ 2864545 h 3005567"/>
              <a:gd name="connsiteX31" fmla="*/ 9204290 w 11867103"/>
              <a:gd name="connsiteY31" fmla="*/ 2844448 h 3005567"/>
              <a:gd name="connsiteX32" fmla="*/ 9073662 w 11867103"/>
              <a:gd name="connsiteY32" fmla="*/ 2824351 h 3005567"/>
              <a:gd name="connsiteX33" fmla="*/ 8812404 w 11867103"/>
              <a:gd name="connsiteY33" fmla="*/ 2814303 h 3005567"/>
              <a:gd name="connsiteX34" fmla="*/ 8400422 w 11867103"/>
              <a:gd name="connsiteY34" fmla="*/ 2804255 h 3005567"/>
              <a:gd name="connsiteX35" fmla="*/ 8269793 w 11867103"/>
              <a:gd name="connsiteY35" fmla="*/ 2794206 h 3005567"/>
              <a:gd name="connsiteX36" fmla="*/ 7797521 w 11867103"/>
              <a:gd name="connsiteY36" fmla="*/ 2814303 h 3005567"/>
              <a:gd name="connsiteX37" fmla="*/ 7717134 w 11867103"/>
              <a:gd name="connsiteY37" fmla="*/ 2824351 h 3005567"/>
              <a:gd name="connsiteX38" fmla="*/ 7486022 w 11867103"/>
              <a:gd name="connsiteY38" fmla="*/ 2854497 h 3005567"/>
              <a:gd name="connsiteX39" fmla="*/ 7395587 w 11867103"/>
              <a:gd name="connsiteY39" fmla="*/ 2874593 h 3005567"/>
              <a:gd name="connsiteX40" fmla="*/ 7325248 w 11867103"/>
              <a:gd name="connsiteY40" fmla="*/ 2884642 h 3005567"/>
              <a:gd name="connsiteX41" fmla="*/ 6863024 w 11867103"/>
              <a:gd name="connsiteY41" fmla="*/ 2874593 h 3005567"/>
              <a:gd name="connsiteX42" fmla="*/ 6722347 w 11867103"/>
              <a:gd name="connsiteY42" fmla="*/ 2864545 h 3005567"/>
              <a:gd name="connsiteX43" fmla="*/ 4903596 w 11867103"/>
              <a:gd name="connsiteY43" fmla="*/ 2914787 h 3005567"/>
              <a:gd name="connsiteX44" fmla="*/ 4722725 w 11867103"/>
              <a:gd name="connsiteY44" fmla="*/ 2954980 h 3005567"/>
              <a:gd name="connsiteX45" fmla="*/ 4300695 w 11867103"/>
              <a:gd name="connsiteY45" fmla="*/ 2934883 h 3005567"/>
              <a:gd name="connsiteX46" fmla="*/ 4059534 w 11867103"/>
              <a:gd name="connsiteY46" fmla="*/ 2894690 h 3005567"/>
              <a:gd name="connsiteX47" fmla="*/ 3768132 w 11867103"/>
              <a:gd name="connsiteY47" fmla="*/ 2864545 h 3005567"/>
              <a:gd name="connsiteX48" fmla="*/ 3627455 w 11867103"/>
              <a:gd name="connsiteY48" fmla="*/ 2854497 h 3005567"/>
              <a:gd name="connsiteX49" fmla="*/ 3125037 w 11867103"/>
              <a:gd name="connsiteY49" fmla="*/ 2864545 h 3005567"/>
              <a:gd name="connsiteX50" fmla="*/ 3064747 w 11867103"/>
              <a:gd name="connsiteY50" fmla="*/ 2874593 h 3005567"/>
              <a:gd name="connsiteX51" fmla="*/ 2009670 w 11867103"/>
              <a:gd name="connsiteY51" fmla="*/ 2884642 h 3005567"/>
              <a:gd name="connsiteX52" fmla="*/ 1678075 w 11867103"/>
              <a:gd name="connsiteY52" fmla="*/ 2975077 h 3005567"/>
              <a:gd name="connsiteX53" fmla="*/ 1607736 w 11867103"/>
              <a:gd name="connsiteY53" fmla="*/ 3005222 h 3005567"/>
              <a:gd name="connsiteX54" fmla="*/ 1135464 w 11867103"/>
              <a:gd name="connsiteY54" fmla="*/ 2985125 h 3005567"/>
              <a:gd name="connsiteX55" fmla="*/ 944545 w 11867103"/>
              <a:gd name="connsiteY55" fmla="*/ 2954980 h 3005567"/>
              <a:gd name="connsiteX56" fmla="*/ 723481 w 11867103"/>
              <a:gd name="connsiteY56" fmla="*/ 2914787 h 3005567"/>
              <a:gd name="connsiteX57" fmla="*/ 643095 w 11867103"/>
              <a:gd name="connsiteY57" fmla="*/ 2904738 h 3005567"/>
              <a:gd name="connsiteX58" fmla="*/ 371789 w 11867103"/>
              <a:gd name="connsiteY58" fmla="*/ 2864545 h 3005567"/>
              <a:gd name="connsiteX59" fmla="*/ 0 w 11867103"/>
              <a:gd name="connsiteY59" fmla="*/ 2854497 h 3005567"/>
              <a:gd name="connsiteX0" fmla="*/ 120580 w 11867103"/>
              <a:gd name="connsiteY0" fmla="*/ 55611 h 2969978"/>
              <a:gd name="connsiteX1" fmla="*/ 281354 w 11867103"/>
              <a:gd name="connsiteY1" fmla="*/ 45562 h 2969978"/>
              <a:gd name="connsiteX2" fmla="*/ 673240 w 11867103"/>
              <a:gd name="connsiteY2" fmla="*/ 35514 h 2969978"/>
              <a:gd name="connsiteX3" fmla="*/ 1356528 w 11867103"/>
              <a:gd name="connsiteY3" fmla="*/ 85756 h 2969978"/>
              <a:gd name="connsiteX4" fmla="*/ 1758462 w 11867103"/>
              <a:gd name="connsiteY4" fmla="*/ 45562 h 2969978"/>
              <a:gd name="connsiteX5" fmla="*/ 2140299 w 11867103"/>
              <a:gd name="connsiteY5" fmla="*/ 45562 h 2969978"/>
              <a:gd name="connsiteX6" fmla="*/ 4652387 w 11867103"/>
              <a:gd name="connsiteY6" fmla="*/ 65659 h 2969978"/>
              <a:gd name="connsiteX7" fmla="*/ 4692580 w 11867103"/>
              <a:gd name="connsiteY7" fmla="*/ 75708 h 2969978"/>
              <a:gd name="connsiteX8" fmla="*/ 6420897 w 11867103"/>
              <a:gd name="connsiteY8" fmla="*/ 95804 h 2969978"/>
              <a:gd name="connsiteX9" fmla="*/ 7184571 w 11867103"/>
              <a:gd name="connsiteY9" fmla="*/ 65659 h 2969978"/>
              <a:gd name="connsiteX10" fmla="*/ 7928150 w 11867103"/>
              <a:gd name="connsiteY10" fmla="*/ 65659 h 2969978"/>
              <a:gd name="connsiteX11" fmla="*/ 8219552 w 11867103"/>
              <a:gd name="connsiteY11" fmla="*/ 95804 h 2969978"/>
              <a:gd name="connsiteX12" fmla="*/ 9606224 w 11867103"/>
              <a:gd name="connsiteY12" fmla="*/ 95804 h 2969978"/>
              <a:gd name="connsiteX13" fmla="*/ 9947868 w 11867103"/>
              <a:gd name="connsiteY13" fmla="*/ 65659 h 2969978"/>
              <a:gd name="connsiteX14" fmla="*/ 10791930 w 11867103"/>
              <a:gd name="connsiteY14" fmla="*/ 35514 h 2969978"/>
              <a:gd name="connsiteX15" fmla="*/ 11736475 w 11867103"/>
              <a:gd name="connsiteY15" fmla="*/ 55611 h 2969978"/>
              <a:gd name="connsiteX16" fmla="*/ 11806813 w 11867103"/>
              <a:gd name="connsiteY16" fmla="*/ 769044 h 2969978"/>
              <a:gd name="connsiteX17" fmla="*/ 11816862 w 11867103"/>
              <a:gd name="connsiteY17" fmla="*/ 2336587 h 2969978"/>
              <a:gd name="connsiteX18" fmla="*/ 11826910 w 11867103"/>
              <a:gd name="connsiteY18" fmla="*/ 2406925 h 2969978"/>
              <a:gd name="connsiteX19" fmla="*/ 11836958 w 11867103"/>
              <a:gd name="connsiteY19" fmla="*/ 2437070 h 2969978"/>
              <a:gd name="connsiteX20" fmla="*/ 11857055 w 11867103"/>
              <a:gd name="connsiteY20" fmla="*/ 2567699 h 2969978"/>
              <a:gd name="connsiteX21" fmla="*/ 11867103 w 11867103"/>
              <a:gd name="connsiteY21" fmla="*/ 2607892 h 2969978"/>
              <a:gd name="connsiteX22" fmla="*/ 11857055 w 11867103"/>
              <a:gd name="connsiteY22" fmla="*/ 2839004 h 2969978"/>
              <a:gd name="connsiteX23" fmla="*/ 11836958 w 11867103"/>
              <a:gd name="connsiteY23" fmla="*/ 2869149 h 2969978"/>
              <a:gd name="connsiteX24" fmla="*/ 11033090 w 11867103"/>
              <a:gd name="connsiteY24" fmla="*/ 2859101 h 2969978"/>
              <a:gd name="connsiteX25" fmla="*/ 10621108 w 11867103"/>
              <a:gd name="connsiteY25" fmla="*/ 2849053 h 2969978"/>
              <a:gd name="connsiteX26" fmla="*/ 10128739 w 11867103"/>
              <a:gd name="connsiteY26" fmla="*/ 2859101 h 2969978"/>
              <a:gd name="connsiteX27" fmla="*/ 10048352 w 11867103"/>
              <a:gd name="connsiteY27" fmla="*/ 2869149 h 2969978"/>
              <a:gd name="connsiteX28" fmla="*/ 9555982 w 11867103"/>
              <a:gd name="connsiteY28" fmla="*/ 2859101 h 2969978"/>
              <a:gd name="connsiteX29" fmla="*/ 9445451 w 11867103"/>
              <a:gd name="connsiteY29" fmla="*/ 2849053 h 2969978"/>
              <a:gd name="connsiteX30" fmla="*/ 9415306 w 11867103"/>
              <a:gd name="connsiteY30" fmla="*/ 2828956 h 2969978"/>
              <a:gd name="connsiteX31" fmla="*/ 9204290 w 11867103"/>
              <a:gd name="connsiteY31" fmla="*/ 2808859 h 2969978"/>
              <a:gd name="connsiteX32" fmla="*/ 9073662 w 11867103"/>
              <a:gd name="connsiteY32" fmla="*/ 2788762 h 2969978"/>
              <a:gd name="connsiteX33" fmla="*/ 8812404 w 11867103"/>
              <a:gd name="connsiteY33" fmla="*/ 2778714 h 2969978"/>
              <a:gd name="connsiteX34" fmla="*/ 8400422 w 11867103"/>
              <a:gd name="connsiteY34" fmla="*/ 2768666 h 2969978"/>
              <a:gd name="connsiteX35" fmla="*/ 8269793 w 11867103"/>
              <a:gd name="connsiteY35" fmla="*/ 2758617 h 2969978"/>
              <a:gd name="connsiteX36" fmla="*/ 7797521 w 11867103"/>
              <a:gd name="connsiteY36" fmla="*/ 2778714 h 2969978"/>
              <a:gd name="connsiteX37" fmla="*/ 7717134 w 11867103"/>
              <a:gd name="connsiteY37" fmla="*/ 2788762 h 2969978"/>
              <a:gd name="connsiteX38" fmla="*/ 7486022 w 11867103"/>
              <a:gd name="connsiteY38" fmla="*/ 2818908 h 2969978"/>
              <a:gd name="connsiteX39" fmla="*/ 7395587 w 11867103"/>
              <a:gd name="connsiteY39" fmla="*/ 2839004 h 2969978"/>
              <a:gd name="connsiteX40" fmla="*/ 7325248 w 11867103"/>
              <a:gd name="connsiteY40" fmla="*/ 2849053 h 2969978"/>
              <a:gd name="connsiteX41" fmla="*/ 6863024 w 11867103"/>
              <a:gd name="connsiteY41" fmla="*/ 2839004 h 2969978"/>
              <a:gd name="connsiteX42" fmla="*/ 6722347 w 11867103"/>
              <a:gd name="connsiteY42" fmla="*/ 2828956 h 2969978"/>
              <a:gd name="connsiteX43" fmla="*/ 4903596 w 11867103"/>
              <a:gd name="connsiteY43" fmla="*/ 2879198 h 2969978"/>
              <a:gd name="connsiteX44" fmla="*/ 4722725 w 11867103"/>
              <a:gd name="connsiteY44" fmla="*/ 2919391 h 2969978"/>
              <a:gd name="connsiteX45" fmla="*/ 4300695 w 11867103"/>
              <a:gd name="connsiteY45" fmla="*/ 2899294 h 2969978"/>
              <a:gd name="connsiteX46" fmla="*/ 4059534 w 11867103"/>
              <a:gd name="connsiteY46" fmla="*/ 2859101 h 2969978"/>
              <a:gd name="connsiteX47" fmla="*/ 3768132 w 11867103"/>
              <a:gd name="connsiteY47" fmla="*/ 2828956 h 2969978"/>
              <a:gd name="connsiteX48" fmla="*/ 3627455 w 11867103"/>
              <a:gd name="connsiteY48" fmla="*/ 2818908 h 2969978"/>
              <a:gd name="connsiteX49" fmla="*/ 3125037 w 11867103"/>
              <a:gd name="connsiteY49" fmla="*/ 2828956 h 2969978"/>
              <a:gd name="connsiteX50" fmla="*/ 3064747 w 11867103"/>
              <a:gd name="connsiteY50" fmla="*/ 2839004 h 2969978"/>
              <a:gd name="connsiteX51" fmla="*/ 2009670 w 11867103"/>
              <a:gd name="connsiteY51" fmla="*/ 2849053 h 2969978"/>
              <a:gd name="connsiteX52" fmla="*/ 1678075 w 11867103"/>
              <a:gd name="connsiteY52" fmla="*/ 2939488 h 2969978"/>
              <a:gd name="connsiteX53" fmla="*/ 1607736 w 11867103"/>
              <a:gd name="connsiteY53" fmla="*/ 2969633 h 2969978"/>
              <a:gd name="connsiteX54" fmla="*/ 1135464 w 11867103"/>
              <a:gd name="connsiteY54" fmla="*/ 2949536 h 2969978"/>
              <a:gd name="connsiteX55" fmla="*/ 944545 w 11867103"/>
              <a:gd name="connsiteY55" fmla="*/ 2919391 h 2969978"/>
              <a:gd name="connsiteX56" fmla="*/ 723481 w 11867103"/>
              <a:gd name="connsiteY56" fmla="*/ 2879198 h 2969978"/>
              <a:gd name="connsiteX57" fmla="*/ 643095 w 11867103"/>
              <a:gd name="connsiteY57" fmla="*/ 2869149 h 2969978"/>
              <a:gd name="connsiteX58" fmla="*/ 371789 w 11867103"/>
              <a:gd name="connsiteY58" fmla="*/ 2828956 h 2969978"/>
              <a:gd name="connsiteX59" fmla="*/ 0 w 11867103"/>
              <a:gd name="connsiteY59" fmla="*/ 2818908 h 2969978"/>
              <a:gd name="connsiteX0" fmla="*/ 120580 w 11867103"/>
              <a:gd name="connsiteY0" fmla="*/ 55611 h 2969978"/>
              <a:gd name="connsiteX1" fmla="*/ 281354 w 11867103"/>
              <a:gd name="connsiteY1" fmla="*/ 45562 h 2969978"/>
              <a:gd name="connsiteX2" fmla="*/ 673240 w 11867103"/>
              <a:gd name="connsiteY2" fmla="*/ 35514 h 2969978"/>
              <a:gd name="connsiteX3" fmla="*/ 1356528 w 11867103"/>
              <a:gd name="connsiteY3" fmla="*/ 85756 h 2969978"/>
              <a:gd name="connsiteX4" fmla="*/ 1758462 w 11867103"/>
              <a:gd name="connsiteY4" fmla="*/ 45562 h 2969978"/>
              <a:gd name="connsiteX5" fmla="*/ 2140299 w 11867103"/>
              <a:gd name="connsiteY5" fmla="*/ 45562 h 2969978"/>
              <a:gd name="connsiteX6" fmla="*/ 4652387 w 11867103"/>
              <a:gd name="connsiteY6" fmla="*/ 65659 h 2969978"/>
              <a:gd name="connsiteX7" fmla="*/ 4692580 w 11867103"/>
              <a:gd name="connsiteY7" fmla="*/ 75708 h 2969978"/>
              <a:gd name="connsiteX8" fmla="*/ 6420897 w 11867103"/>
              <a:gd name="connsiteY8" fmla="*/ 95804 h 2969978"/>
              <a:gd name="connsiteX9" fmla="*/ 7184571 w 11867103"/>
              <a:gd name="connsiteY9" fmla="*/ 65659 h 2969978"/>
              <a:gd name="connsiteX10" fmla="*/ 7928150 w 11867103"/>
              <a:gd name="connsiteY10" fmla="*/ 65659 h 2969978"/>
              <a:gd name="connsiteX11" fmla="*/ 8219552 w 11867103"/>
              <a:gd name="connsiteY11" fmla="*/ 95804 h 2969978"/>
              <a:gd name="connsiteX12" fmla="*/ 9606224 w 11867103"/>
              <a:gd name="connsiteY12" fmla="*/ 95804 h 2969978"/>
              <a:gd name="connsiteX13" fmla="*/ 9947868 w 11867103"/>
              <a:gd name="connsiteY13" fmla="*/ 65659 h 2969978"/>
              <a:gd name="connsiteX14" fmla="*/ 10791930 w 11867103"/>
              <a:gd name="connsiteY14" fmla="*/ 35514 h 2969978"/>
              <a:gd name="connsiteX15" fmla="*/ 11736475 w 11867103"/>
              <a:gd name="connsiteY15" fmla="*/ 55611 h 2969978"/>
              <a:gd name="connsiteX16" fmla="*/ 11806813 w 11867103"/>
              <a:gd name="connsiteY16" fmla="*/ 769044 h 2969978"/>
              <a:gd name="connsiteX17" fmla="*/ 11816862 w 11867103"/>
              <a:gd name="connsiteY17" fmla="*/ 2336587 h 2969978"/>
              <a:gd name="connsiteX18" fmla="*/ 11826910 w 11867103"/>
              <a:gd name="connsiteY18" fmla="*/ 2406925 h 2969978"/>
              <a:gd name="connsiteX19" fmla="*/ 11857055 w 11867103"/>
              <a:gd name="connsiteY19" fmla="*/ 2567699 h 2969978"/>
              <a:gd name="connsiteX20" fmla="*/ 11867103 w 11867103"/>
              <a:gd name="connsiteY20" fmla="*/ 2607892 h 2969978"/>
              <a:gd name="connsiteX21" fmla="*/ 11857055 w 11867103"/>
              <a:gd name="connsiteY21" fmla="*/ 2839004 h 2969978"/>
              <a:gd name="connsiteX22" fmla="*/ 11836958 w 11867103"/>
              <a:gd name="connsiteY22" fmla="*/ 2869149 h 2969978"/>
              <a:gd name="connsiteX23" fmla="*/ 11033090 w 11867103"/>
              <a:gd name="connsiteY23" fmla="*/ 2859101 h 2969978"/>
              <a:gd name="connsiteX24" fmla="*/ 10621108 w 11867103"/>
              <a:gd name="connsiteY24" fmla="*/ 2849053 h 2969978"/>
              <a:gd name="connsiteX25" fmla="*/ 10128739 w 11867103"/>
              <a:gd name="connsiteY25" fmla="*/ 2859101 h 2969978"/>
              <a:gd name="connsiteX26" fmla="*/ 10048352 w 11867103"/>
              <a:gd name="connsiteY26" fmla="*/ 2869149 h 2969978"/>
              <a:gd name="connsiteX27" fmla="*/ 9555982 w 11867103"/>
              <a:gd name="connsiteY27" fmla="*/ 2859101 h 2969978"/>
              <a:gd name="connsiteX28" fmla="*/ 9445451 w 11867103"/>
              <a:gd name="connsiteY28" fmla="*/ 2849053 h 2969978"/>
              <a:gd name="connsiteX29" fmla="*/ 9415306 w 11867103"/>
              <a:gd name="connsiteY29" fmla="*/ 2828956 h 2969978"/>
              <a:gd name="connsiteX30" fmla="*/ 9204290 w 11867103"/>
              <a:gd name="connsiteY30" fmla="*/ 2808859 h 2969978"/>
              <a:gd name="connsiteX31" fmla="*/ 9073662 w 11867103"/>
              <a:gd name="connsiteY31" fmla="*/ 2788762 h 2969978"/>
              <a:gd name="connsiteX32" fmla="*/ 8812404 w 11867103"/>
              <a:gd name="connsiteY32" fmla="*/ 2778714 h 2969978"/>
              <a:gd name="connsiteX33" fmla="*/ 8400422 w 11867103"/>
              <a:gd name="connsiteY33" fmla="*/ 2768666 h 2969978"/>
              <a:gd name="connsiteX34" fmla="*/ 8269793 w 11867103"/>
              <a:gd name="connsiteY34" fmla="*/ 2758617 h 2969978"/>
              <a:gd name="connsiteX35" fmla="*/ 7797521 w 11867103"/>
              <a:gd name="connsiteY35" fmla="*/ 2778714 h 2969978"/>
              <a:gd name="connsiteX36" fmla="*/ 7717134 w 11867103"/>
              <a:gd name="connsiteY36" fmla="*/ 2788762 h 2969978"/>
              <a:gd name="connsiteX37" fmla="*/ 7486022 w 11867103"/>
              <a:gd name="connsiteY37" fmla="*/ 2818908 h 2969978"/>
              <a:gd name="connsiteX38" fmla="*/ 7395587 w 11867103"/>
              <a:gd name="connsiteY38" fmla="*/ 2839004 h 2969978"/>
              <a:gd name="connsiteX39" fmla="*/ 7325248 w 11867103"/>
              <a:gd name="connsiteY39" fmla="*/ 2849053 h 2969978"/>
              <a:gd name="connsiteX40" fmla="*/ 6863024 w 11867103"/>
              <a:gd name="connsiteY40" fmla="*/ 2839004 h 2969978"/>
              <a:gd name="connsiteX41" fmla="*/ 6722347 w 11867103"/>
              <a:gd name="connsiteY41" fmla="*/ 2828956 h 2969978"/>
              <a:gd name="connsiteX42" fmla="*/ 4903596 w 11867103"/>
              <a:gd name="connsiteY42" fmla="*/ 2879198 h 2969978"/>
              <a:gd name="connsiteX43" fmla="*/ 4722725 w 11867103"/>
              <a:gd name="connsiteY43" fmla="*/ 2919391 h 2969978"/>
              <a:gd name="connsiteX44" fmla="*/ 4300695 w 11867103"/>
              <a:gd name="connsiteY44" fmla="*/ 2899294 h 2969978"/>
              <a:gd name="connsiteX45" fmla="*/ 4059534 w 11867103"/>
              <a:gd name="connsiteY45" fmla="*/ 2859101 h 2969978"/>
              <a:gd name="connsiteX46" fmla="*/ 3768132 w 11867103"/>
              <a:gd name="connsiteY46" fmla="*/ 2828956 h 2969978"/>
              <a:gd name="connsiteX47" fmla="*/ 3627455 w 11867103"/>
              <a:gd name="connsiteY47" fmla="*/ 2818908 h 2969978"/>
              <a:gd name="connsiteX48" fmla="*/ 3125037 w 11867103"/>
              <a:gd name="connsiteY48" fmla="*/ 2828956 h 2969978"/>
              <a:gd name="connsiteX49" fmla="*/ 3064747 w 11867103"/>
              <a:gd name="connsiteY49" fmla="*/ 2839004 h 2969978"/>
              <a:gd name="connsiteX50" fmla="*/ 2009670 w 11867103"/>
              <a:gd name="connsiteY50" fmla="*/ 2849053 h 2969978"/>
              <a:gd name="connsiteX51" fmla="*/ 1678075 w 11867103"/>
              <a:gd name="connsiteY51" fmla="*/ 2939488 h 2969978"/>
              <a:gd name="connsiteX52" fmla="*/ 1607736 w 11867103"/>
              <a:gd name="connsiteY52" fmla="*/ 2969633 h 2969978"/>
              <a:gd name="connsiteX53" fmla="*/ 1135464 w 11867103"/>
              <a:gd name="connsiteY53" fmla="*/ 2949536 h 2969978"/>
              <a:gd name="connsiteX54" fmla="*/ 944545 w 11867103"/>
              <a:gd name="connsiteY54" fmla="*/ 2919391 h 2969978"/>
              <a:gd name="connsiteX55" fmla="*/ 723481 w 11867103"/>
              <a:gd name="connsiteY55" fmla="*/ 2879198 h 2969978"/>
              <a:gd name="connsiteX56" fmla="*/ 643095 w 11867103"/>
              <a:gd name="connsiteY56" fmla="*/ 2869149 h 2969978"/>
              <a:gd name="connsiteX57" fmla="*/ 371789 w 11867103"/>
              <a:gd name="connsiteY57" fmla="*/ 2828956 h 2969978"/>
              <a:gd name="connsiteX58" fmla="*/ 0 w 11867103"/>
              <a:gd name="connsiteY58" fmla="*/ 2818908 h 2969978"/>
              <a:gd name="connsiteX0" fmla="*/ 120580 w 11867103"/>
              <a:gd name="connsiteY0" fmla="*/ 55611 h 2969978"/>
              <a:gd name="connsiteX1" fmla="*/ 281354 w 11867103"/>
              <a:gd name="connsiteY1" fmla="*/ 45562 h 2969978"/>
              <a:gd name="connsiteX2" fmla="*/ 673240 w 11867103"/>
              <a:gd name="connsiteY2" fmla="*/ 35514 h 2969978"/>
              <a:gd name="connsiteX3" fmla="*/ 1356528 w 11867103"/>
              <a:gd name="connsiteY3" fmla="*/ 85756 h 2969978"/>
              <a:gd name="connsiteX4" fmla="*/ 1758462 w 11867103"/>
              <a:gd name="connsiteY4" fmla="*/ 45562 h 2969978"/>
              <a:gd name="connsiteX5" fmla="*/ 2140299 w 11867103"/>
              <a:gd name="connsiteY5" fmla="*/ 45562 h 2969978"/>
              <a:gd name="connsiteX6" fmla="*/ 4652387 w 11867103"/>
              <a:gd name="connsiteY6" fmla="*/ 65659 h 2969978"/>
              <a:gd name="connsiteX7" fmla="*/ 4692580 w 11867103"/>
              <a:gd name="connsiteY7" fmla="*/ 75708 h 2969978"/>
              <a:gd name="connsiteX8" fmla="*/ 6420897 w 11867103"/>
              <a:gd name="connsiteY8" fmla="*/ 95804 h 2969978"/>
              <a:gd name="connsiteX9" fmla="*/ 7184571 w 11867103"/>
              <a:gd name="connsiteY9" fmla="*/ 65659 h 2969978"/>
              <a:gd name="connsiteX10" fmla="*/ 7928150 w 11867103"/>
              <a:gd name="connsiteY10" fmla="*/ 65659 h 2969978"/>
              <a:gd name="connsiteX11" fmla="*/ 8219552 w 11867103"/>
              <a:gd name="connsiteY11" fmla="*/ 95804 h 2969978"/>
              <a:gd name="connsiteX12" fmla="*/ 9606224 w 11867103"/>
              <a:gd name="connsiteY12" fmla="*/ 95804 h 2969978"/>
              <a:gd name="connsiteX13" fmla="*/ 9947868 w 11867103"/>
              <a:gd name="connsiteY13" fmla="*/ 65659 h 2969978"/>
              <a:gd name="connsiteX14" fmla="*/ 10791930 w 11867103"/>
              <a:gd name="connsiteY14" fmla="*/ 35514 h 2969978"/>
              <a:gd name="connsiteX15" fmla="*/ 11736475 w 11867103"/>
              <a:gd name="connsiteY15" fmla="*/ 55611 h 2969978"/>
              <a:gd name="connsiteX16" fmla="*/ 11806813 w 11867103"/>
              <a:gd name="connsiteY16" fmla="*/ 769044 h 2969978"/>
              <a:gd name="connsiteX17" fmla="*/ 11816862 w 11867103"/>
              <a:gd name="connsiteY17" fmla="*/ 2336587 h 2969978"/>
              <a:gd name="connsiteX18" fmla="*/ 11857055 w 11867103"/>
              <a:gd name="connsiteY18" fmla="*/ 2567699 h 2969978"/>
              <a:gd name="connsiteX19" fmla="*/ 11867103 w 11867103"/>
              <a:gd name="connsiteY19" fmla="*/ 2607892 h 2969978"/>
              <a:gd name="connsiteX20" fmla="*/ 11857055 w 11867103"/>
              <a:gd name="connsiteY20" fmla="*/ 2839004 h 2969978"/>
              <a:gd name="connsiteX21" fmla="*/ 11836958 w 11867103"/>
              <a:gd name="connsiteY21" fmla="*/ 2869149 h 2969978"/>
              <a:gd name="connsiteX22" fmla="*/ 11033090 w 11867103"/>
              <a:gd name="connsiteY22" fmla="*/ 2859101 h 2969978"/>
              <a:gd name="connsiteX23" fmla="*/ 10621108 w 11867103"/>
              <a:gd name="connsiteY23" fmla="*/ 2849053 h 2969978"/>
              <a:gd name="connsiteX24" fmla="*/ 10128739 w 11867103"/>
              <a:gd name="connsiteY24" fmla="*/ 2859101 h 2969978"/>
              <a:gd name="connsiteX25" fmla="*/ 10048352 w 11867103"/>
              <a:gd name="connsiteY25" fmla="*/ 2869149 h 2969978"/>
              <a:gd name="connsiteX26" fmla="*/ 9555982 w 11867103"/>
              <a:gd name="connsiteY26" fmla="*/ 2859101 h 2969978"/>
              <a:gd name="connsiteX27" fmla="*/ 9445451 w 11867103"/>
              <a:gd name="connsiteY27" fmla="*/ 2849053 h 2969978"/>
              <a:gd name="connsiteX28" fmla="*/ 9415306 w 11867103"/>
              <a:gd name="connsiteY28" fmla="*/ 2828956 h 2969978"/>
              <a:gd name="connsiteX29" fmla="*/ 9204290 w 11867103"/>
              <a:gd name="connsiteY29" fmla="*/ 2808859 h 2969978"/>
              <a:gd name="connsiteX30" fmla="*/ 9073662 w 11867103"/>
              <a:gd name="connsiteY30" fmla="*/ 2788762 h 2969978"/>
              <a:gd name="connsiteX31" fmla="*/ 8812404 w 11867103"/>
              <a:gd name="connsiteY31" fmla="*/ 2778714 h 2969978"/>
              <a:gd name="connsiteX32" fmla="*/ 8400422 w 11867103"/>
              <a:gd name="connsiteY32" fmla="*/ 2768666 h 2969978"/>
              <a:gd name="connsiteX33" fmla="*/ 8269793 w 11867103"/>
              <a:gd name="connsiteY33" fmla="*/ 2758617 h 2969978"/>
              <a:gd name="connsiteX34" fmla="*/ 7797521 w 11867103"/>
              <a:gd name="connsiteY34" fmla="*/ 2778714 h 2969978"/>
              <a:gd name="connsiteX35" fmla="*/ 7717134 w 11867103"/>
              <a:gd name="connsiteY35" fmla="*/ 2788762 h 2969978"/>
              <a:gd name="connsiteX36" fmla="*/ 7486022 w 11867103"/>
              <a:gd name="connsiteY36" fmla="*/ 2818908 h 2969978"/>
              <a:gd name="connsiteX37" fmla="*/ 7395587 w 11867103"/>
              <a:gd name="connsiteY37" fmla="*/ 2839004 h 2969978"/>
              <a:gd name="connsiteX38" fmla="*/ 7325248 w 11867103"/>
              <a:gd name="connsiteY38" fmla="*/ 2849053 h 2969978"/>
              <a:gd name="connsiteX39" fmla="*/ 6863024 w 11867103"/>
              <a:gd name="connsiteY39" fmla="*/ 2839004 h 2969978"/>
              <a:gd name="connsiteX40" fmla="*/ 6722347 w 11867103"/>
              <a:gd name="connsiteY40" fmla="*/ 2828956 h 2969978"/>
              <a:gd name="connsiteX41" fmla="*/ 4903596 w 11867103"/>
              <a:gd name="connsiteY41" fmla="*/ 2879198 h 2969978"/>
              <a:gd name="connsiteX42" fmla="*/ 4722725 w 11867103"/>
              <a:gd name="connsiteY42" fmla="*/ 2919391 h 2969978"/>
              <a:gd name="connsiteX43" fmla="*/ 4300695 w 11867103"/>
              <a:gd name="connsiteY43" fmla="*/ 2899294 h 2969978"/>
              <a:gd name="connsiteX44" fmla="*/ 4059534 w 11867103"/>
              <a:gd name="connsiteY44" fmla="*/ 2859101 h 2969978"/>
              <a:gd name="connsiteX45" fmla="*/ 3768132 w 11867103"/>
              <a:gd name="connsiteY45" fmla="*/ 2828956 h 2969978"/>
              <a:gd name="connsiteX46" fmla="*/ 3627455 w 11867103"/>
              <a:gd name="connsiteY46" fmla="*/ 2818908 h 2969978"/>
              <a:gd name="connsiteX47" fmla="*/ 3125037 w 11867103"/>
              <a:gd name="connsiteY47" fmla="*/ 2828956 h 2969978"/>
              <a:gd name="connsiteX48" fmla="*/ 3064747 w 11867103"/>
              <a:gd name="connsiteY48" fmla="*/ 2839004 h 2969978"/>
              <a:gd name="connsiteX49" fmla="*/ 2009670 w 11867103"/>
              <a:gd name="connsiteY49" fmla="*/ 2849053 h 2969978"/>
              <a:gd name="connsiteX50" fmla="*/ 1678075 w 11867103"/>
              <a:gd name="connsiteY50" fmla="*/ 2939488 h 2969978"/>
              <a:gd name="connsiteX51" fmla="*/ 1607736 w 11867103"/>
              <a:gd name="connsiteY51" fmla="*/ 2969633 h 2969978"/>
              <a:gd name="connsiteX52" fmla="*/ 1135464 w 11867103"/>
              <a:gd name="connsiteY52" fmla="*/ 2949536 h 2969978"/>
              <a:gd name="connsiteX53" fmla="*/ 944545 w 11867103"/>
              <a:gd name="connsiteY53" fmla="*/ 2919391 h 2969978"/>
              <a:gd name="connsiteX54" fmla="*/ 723481 w 11867103"/>
              <a:gd name="connsiteY54" fmla="*/ 2879198 h 2969978"/>
              <a:gd name="connsiteX55" fmla="*/ 643095 w 11867103"/>
              <a:gd name="connsiteY55" fmla="*/ 2869149 h 2969978"/>
              <a:gd name="connsiteX56" fmla="*/ 371789 w 11867103"/>
              <a:gd name="connsiteY56" fmla="*/ 2828956 h 2969978"/>
              <a:gd name="connsiteX57" fmla="*/ 0 w 11867103"/>
              <a:gd name="connsiteY57" fmla="*/ 2818908 h 2969978"/>
              <a:gd name="connsiteX0" fmla="*/ 120580 w 11860922"/>
              <a:gd name="connsiteY0" fmla="*/ 55611 h 2969978"/>
              <a:gd name="connsiteX1" fmla="*/ 281354 w 11860922"/>
              <a:gd name="connsiteY1" fmla="*/ 45562 h 2969978"/>
              <a:gd name="connsiteX2" fmla="*/ 673240 w 11860922"/>
              <a:gd name="connsiteY2" fmla="*/ 35514 h 2969978"/>
              <a:gd name="connsiteX3" fmla="*/ 1356528 w 11860922"/>
              <a:gd name="connsiteY3" fmla="*/ 85756 h 2969978"/>
              <a:gd name="connsiteX4" fmla="*/ 1758462 w 11860922"/>
              <a:gd name="connsiteY4" fmla="*/ 45562 h 2969978"/>
              <a:gd name="connsiteX5" fmla="*/ 2140299 w 11860922"/>
              <a:gd name="connsiteY5" fmla="*/ 45562 h 2969978"/>
              <a:gd name="connsiteX6" fmla="*/ 4652387 w 11860922"/>
              <a:gd name="connsiteY6" fmla="*/ 65659 h 2969978"/>
              <a:gd name="connsiteX7" fmla="*/ 4692580 w 11860922"/>
              <a:gd name="connsiteY7" fmla="*/ 75708 h 2969978"/>
              <a:gd name="connsiteX8" fmla="*/ 6420897 w 11860922"/>
              <a:gd name="connsiteY8" fmla="*/ 95804 h 2969978"/>
              <a:gd name="connsiteX9" fmla="*/ 7184571 w 11860922"/>
              <a:gd name="connsiteY9" fmla="*/ 65659 h 2969978"/>
              <a:gd name="connsiteX10" fmla="*/ 7928150 w 11860922"/>
              <a:gd name="connsiteY10" fmla="*/ 65659 h 2969978"/>
              <a:gd name="connsiteX11" fmla="*/ 8219552 w 11860922"/>
              <a:gd name="connsiteY11" fmla="*/ 95804 h 2969978"/>
              <a:gd name="connsiteX12" fmla="*/ 9606224 w 11860922"/>
              <a:gd name="connsiteY12" fmla="*/ 95804 h 2969978"/>
              <a:gd name="connsiteX13" fmla="*/ 9947868 w 11860922"/>
              <a:gd name="connsiteY13" fmla="*/ 65659 h 2969978"/>
              <a:gd name="connsiteX14" fmla="*/ 10791930 w 11860922"/>
              <a:gd name="connsiteY14" fmla="*/ 35514 h 2969978"/>
              <a:gd name="connsiteX15" fmla="*/ 11736475 w 11860922"/>
              <a:gd name="connsiteY15" fmla="*/ 55611 h 2969978"/>
              <a:gd name="connsiteX16" fmla="*/ 11806813 w 11860922"/>
              <a:gd name="connsiteY16" fmla="*/ 769044 h 2969978"/>
              <a:gd name="connsiteX17" fmla="*/ 11816862 w 11860922"/>
              <a:gd name="connsiteY17" fmla="*/ 2336587 h 2969978"/>
              <a:gd name="connsiteX18" fmla="*/ 11857055 w 11860922"/>
              <a:gd name="connsiteY18" fmla="*/ 2567699 h 2969978"/>
              <a:gd name="connsiteX19" fmla="*/ 11857055 w 11860922"/>
              <a:gd name="connsiteY19" fmla="*/ 2839004 h 2969978"/>
              <a:gd name="connsiteX20" fmla="*/ 11836958 w 11860922"/>
              <a:gd name="connsiteY20" fmla="*/ 2869149 h 2969978"/>
              <a:gd name="connsiteX21" fmla="*/ 11033090 w 11860922"/>
              <a:gd name="connsiteY21" fmla="*/ 2859101 h 2969978"/>
              <a:gd name="connsiteX22" fmla="*/ 10621108 w 11860922"/>
              <a:gd name="connsiteY22" fmla="*/ 2849053 h 2969978"/>
              <a:gd name="connsiteX23" fmla="*/ 10128739 w 11860922"/>
              <a:gd name="connsiteY23" fmla="*/ 2859101 h 2969978"/>
              <a:gd name="connsiteX24" fmla="*/ 10048352 w 11860922"/>
              <a:gd name="connsiteY24" fmla="*/ 2869149 h 2969978"/>
              <a:gd name="connsiteX25" fmla="*/ 9555982 w 11860922"/>
              <a:gd name="connsiteY25" fmla="*/ 2859101 h 2969978"/>
              <a:gd name="connsiteX26" fmla="*/ 9445451 w 11860922"/>
              <a:gd name="connsiteY26" fmla="*/ 2849053 h 2969978"/>
              <a:gd name="connsiteX27" fmla="*/ 9415306 w 11860922"/>
              <a:gd name="connsiteY27" fmla="*/ 2828956 h 2969978"/>
              <a:gd name="connsiteX28" fmla="*/ 9204290 w 11860922"/>
              <a:gd name="connsiteY28" fmla="*/ 2808859 h 2969978"/>
              <a:gd name="connsiteX29" fmla="*/ 9073662 w 11860922"/>
              <a:gd name="connsiteY29" fmla="*/ 2788762 h 2969978"/>
              <a:gd name="connsiteX30" fmla="*/ 8812404 w 11860922"/>
              <a:gd name="connsiteY30" fmla="*/ 2778714 h 2969978"/>
              <a:gd name="connsiteX31" fmla="*/ 8400422 w 11860922"/>
              <a:gd name="connsiteY31" fmla="*/ 2768666 h 2969978"/>
              <a:gd name="connsiteX32" fmla="*/ 8269793 w 11860922"/>
              <a:gd name="connsiteY32" fmla="*/ 2758617 h 2969978"/>
              <a:gd name="connsiteX33" fmla="*/ 7797521 w 11860922"/>
              <a:gd name="connsiteY33" fmla="*/ 2778714 h 2969978"/>
              <a:gd name="connsiteX34" fmla="*/ 7717134 w 11860922"/>
              <a:gd name="connsiteY34" fmla="*/ 2788762 h 2969978"/>
              <a:gd name="connsiteX35" fmla="*/ 7486022 w 11860922"/>
              <a:gd name="connsiteY35" fmla="*/ 2818908 h 2969978"/>
              <a:gd name="connsiteX36" fmla="*/ 7395587 w 11860922"/>
              <a:gd name="connsiteY36" fmla="*/ 2839004 h 2969978"/>
              <a:gd name="connsiteX37" fmla="*/ 7325248 w 11860922"/>
              <a:gd name="connsiteY37" fmla="*/ 2849053 h 2969978"/>
              <a:gd name="connsiteX38" fmla="*/ 6863024 w 11860922"/>
              <a:gd name="connsiteY38" fmla="*/ 2839004 h 2969978"/>
              <a:gd name="connsiteX39" fmla="*/ 6722347 w 11860922"/>
              <a:gd name="connsiteY39" fmla="*/ 2828956 h 2969978"/>
              <a:gd name="connsiteX40" fmla="*/ 4903596 w 11860922"/>
              <a:gd name="connsiteY40" fmla="*/ 2879198 h 2969978"/>
              <a:gd name="connsiteX41" fmla="*/ 4722725 w 11860922"/>
              <a:gd name="connsiteY41" fmla="*/ 2919391 h 2969978"/>
              <a:gd name="connsiteX42" fmla="*/ 4300695 w 11860922"/>
              <a:gd name="connsiteY42" fmla="*/ 2899294 h 2969978"/>
              <a:gd name="connsiteX43" fmla="*/ 4059534 w 11860922"/>
              <a:gd name="connsiteY43" fmla="*/ 2859101 h 2969978"/>
              <a:gd name="connsiteX44" fmla="*/ 3768132 w 11860922"/>
              <a:gd name="connsiteY44" fmla="*/ 2828956 h 2969978"/>
              <a:gd name="connsiteX45" fmla="*/ 3627455 w 11860922"/>
              <a:gd name="connsiteY45" fmla="*/ 2818908 h 2969978"/>
              <a:gd name="connsiteX46" fmla="*/ 3125037 w 11860922"/>
              <a:gd name="connsiteY46" fmla="*/ 2828956 h 2969978"/>
              <a:gd name="connsiteX47" fmla="*/ 3064747 w 11860922"/>
              <a:gd name="connsiteY47" fmla="*/ 2839004 h 2969978"/>
              <a:gd name="connsiteX48" fmla="*/ 2009670 w 11860922"/>
              <a:gd name="connsiteY48" fmla="*/ 2849053 h 2969978"/>
              <a:gd name="connsiteX49" fmla="*/ 1678075 w 11860922"/>
              <a:gd name="connsiteY49" fmla="*/ 2939488 h 2969978"/>
              <a:gd name="connsiteX50" fmla="*/ 1607736 w 11860922"/>
              <a:gd name="connsiteY50" fmla="*/ 2969633 h 2969978"/>
              <a:gd name="connsiteX51" fmla="*/ 1135464 w 11860922"/>
              <a:gd name="connsiteY51" fmla="*/ 2949536 h 2969978"/>
              <a:gd name="connsiteX52" fmla="*/ 944545 w 11860922"/>
              <a:gd name="connsiteY52" fmla="*/ 2919391 h 2969978"/>
              <a:gd name="connsiteX53" fmla="*/ 723481 w 11860922"/>
              <a:gd name="connsiteY53" fmla="*/ 2879198 h 2969978"/>
              <a:gd name="connsiteX54" fmla="*/ 643095 w 11860922"/>
              <a:gd name="connsiteY54" fmla="*/ 2869149 h 2969978"/>
              <a:gd name="connsiteX55" fmla="*/ 371789 w 11860922"/>
              <a:gd name="connsiteY55" fmla="*/ 2828956 h 2969978"/>
              <a:gd name="connsiteX56" fmla="*/ 0 w 11860922"/>
              <a:gd name="connsiteY56" fmla="*/ 2818908 h 2969978"/>
              <a:gd name="connsiteX0" fmla="*/ 120580 w 11857648"/>
              <a:gd name="connsiteY0" fmla="*/ 55611 h 2969978"/>
              <a:gd name="connsiteX1" fmla="*/ 281354 w 11857648"/>
              <a:gd name="connsiteY1" fmla="*/ 45562 h 2969978"/>
              <a:gd name="connsiteX2" fmla="*/ 673240 w 11857648"/>
              <a:gd name="connsiteY2" fmla="*/ 35514 h 2969978"/>
              <a:gd name="connsiteX3" fmla="*/ 1356528 w 11857648"/>
              <a:gd name="connsiteY3" fmla="*/ 85756 h 2969978"/>
              <a:gd name="connsiteX4" fmla="*/ 1758462 w 11857648"/>
              <a:gd name="connsiteY4" fmla="*/ 45562 h 2969978"/>
              <a:gd name="connsiteX5" fmla="*/ 2140299 w 11857648"/>
              <a:gd name="connsiteY5" fmla="*/ 45562 h 2969978"/>
              <a:gd name="connsiteX6" fmla="*/ 4652387 w 11857648"/>
              <a:gd name="connsiteY6" fmla="*/ 65659 h 2969978"/>
              <a:gd name="connsiteX7" fmla="*/ 4692580 w 11857648"/>
              <a:gd name="connsiteY7" fmla="*/ 75708 h 2969978"/>
              <a:gd name="connsiteX8" fmla="*/ 6420897 w 11857648"/>
              <a:gd name="connsiteY8" fmla="*/ 95804 h 2969978"/>
              <a:gd name="connsiteX9" fmla="*/ 7184571 w 11857648"/>
              <a:gd name="connsiteY9" fmla="*/ 65659 h 2969978"/>
              <a:gd name="connsiteX10" fmla="*/ 7928150 w 11857648"/>
              <a:gd name="connsiteY10" fmla="*/ 65659 h 2969978"/>
              <a:gd name="connsiteX11" fmla="*/ 8219552 w 11857648"/>
              <a:gd name="connsiteY11" fmla="*/ 95804 h 2969978"/>
              <a:gd name="connsiteX12" fmla="*/ 9606224 w 11857648"/>
              <a:gd name="connsiteY12" fmla="*/ 95804 h 2969978"/>
              <a:gd name="connsiteX13" fmla="*/ 9947868 w 11857648"/>
              <a:gd name="connsiteY13" fmla="*/ 65659 h 2969978"/>
              <a:gd name="connsiteX14" fmla="*/ 10791930 w 11857648"/>
              <a:gd name="connsiteY14" fmla="*/ 35514 h 2969978"/>
              <a:gd name="connsiteX15" fmla="*/ 11736475 w 11857648"/>
              <a:gd name="connsiteY15" fmla="*/ 55611 h 2969978"/>
              <a:gd name="connsiteX16" fmla="*/ 11806813 w 11857648"/>
              <a:gd name="connsiteY16" fmla="*/ 769044 h 2969978"/>
              <a:gd name="connsiteX17" fmla="*/ 11816862 w 11857648"/>
              <a:gd name="connsiteY17" fmla="*/ 2336587 h 2969978"/>
              <a:gd name="connsiteX18" fmla="*/ 11857055 w 11857648"/>
              <a:gd name="connsiteY18" fmla="*/ 2839004 h 2969978"/>
              <a:gd name="connsiteX19" fmla="*/ 11836958 w 11857648"/>
              <a:gd name="connsiteY19" fmla="*/ 2869149 h 2969978"/>
              <a:gd name="connsiteX20" fmla="*/ 11033090 w 11857648"/>
              <a:gd name="connsiteY20" fmla="*/ 2859101 h 2969978"/>
              <a:gd name="connsiteX21" fmla="*/ 10621108 w 11857648"/>
              <a:gd name="connsiteY21" fmla="*/ 2849053 h 2969978"/>
              <a:gd name="connsiteX22" fmla="*/ 10128739 w 11857648"/>
              <a:gd name="connsiteY22" fmla="*/ 2859101 h 2969978"/>
              <a:gd name="connsiteX23" fmla="*/ 10048352 w 11857648"/>
              <a:gd name="connsiteY23" fmla="*/ 2869149 h 2969978"/>
              <a:gd name="connsiteX24" fmla="*/ 9555982 w 11857648"/>
              <a:gd name="connsiteY24" fmla="*/ 2859101 h 2969978"/>
              <a:gd name="connsiteX25" fmla="*/ 9445451 w 11857648"/>
              <a:gd name="connsiteY25" fmla="*/ 2849053 h 2969978"/>
              <a:gd name="connsiteX26" fmla="*/ 9415306 w 11857648"/>
              <a:gd name="connsiteY26" fmla="*/ 2828956 h 2969978"/>
              <a:gd name="connsiteX27" fmla="*/ 9204290 w 11857648"/>
              <a:gd name="connsiteY27" fmla="*/ 2808859 h 2969978"/>
              <a:gd name="connsiteX28" fmla="*/ 9073662 w 11857648"/>
              <a:gd name="connsiteY28" fmla="*/ 2788762 h 2969978"/>
              <a:gd name="connsiteX29" fmla="*/ 8812404 w 11857648"/>
              <a:gd name="connsiteY29" fmla="*/ 2778714 h 2969978"/>
              <a:gd name="connsiteX30" fmla="*/ 8400422 w 11857648"/>
              <a:gd name="connsiteY30" fmla="*/ 2768666 h 2969978"/>
              <a:gd name="connsiteX31" fmla="*/ 8269793 w 11857648"/>
              <a:gd name="connsiteY31" fmla="*/ 2758617 h 2969978"/>
              <a:gd name="connsiteX32" fmla="*/ 7797521 w 11857648"/>
              <a:gd name="connsiteY32" fmla="*/ 2778714 h 2969978"/>
              <a:gd name="connsiteX33" fmla="*/ 7717134 w 11857648"/>
              <a:gd name="connsiteY33" fmla="*/ 2788762 h 2969978"/>
              <a:gd name="connsiteX34" fmla="*/ 7486022 w 11857648"/>
              <a:gd name="connsiteY34" fmla="*/ 2818908 h 2969978"/>
              <a:gd name="connsiteX35" fmla="*/ 7395587 w 11857648"/>
              <a:gd name="connsiteY35" fmla="*/ 2839004 h 2969978"/>
              <a:gd name="connsiteX36" fmla="*/ 7325248 w 11857648"/>
              <a:gd name="connsiteY36" fmla="*/ 2849053 h 2969978"/>
              <a:gd name="connsiteX37" fmla="*/ 6863024 w 11857648"/>
              <a:gd name="connsiteY37" fmla="*/ 2839004 h 2969978"/>
              <a:gd name="connsiteX38" fmla="*/ 6722347 w 11857648"/>
              <a:gd name="connsiteY38" fmla="*/ 2828956 h 2969978"/>
              <a:gd name="connsiteX39" fmla="*/ 4903596 w 11857648"/>
              <a:gd name="connsiteY39" fmla="*/ 2879198 h 2969978"/>
              <a:gd name="connsiteX40" fmla="*/ 4722725 w 11857648"/>
              <a:gd name="connsiteY40" fmla="*/ 2919391 h 2969978"/>
              <a:gd name="connsiteX41" fmla="*/ 4300695 w 11857648"/>
              <a:gd name="connsiteY41" fmla="*/ 2899294 h 2969978"/>
              <a:gd name="connsiteX42" fmla="*/ 4059534 w 11857648"/>
              <a:gd name="connsiteY42" fmla="*/ 2859101 h 2969978"/>
              <a:gd name="connsiteX43" fmla="*/ 3768132 w 11857648"/>
              <a:gd name="connsiteY43" fmla="*/ 2828956 h 2969978"/>
              <a:gd name="connsiteX44" fmla="*/ 3627455 w 11857648"/>
              <a:gd name="connsiteY44" fmla="*/ 2818908 h 2969978"/>
              <a:gd name="connsiteX45" fmla="*/ 3125037 w 11857648"/>
              <a:gd name="connsiteY45" fmla="*/ 2828956 h 2969978"/>
              <a:gd name="connsiteX46" fmla="*/ 3064747 w 11857648"/>
              <a:gd name="connsiteY46" fmla="*/ 2839004 h 2969978"/>
              <a:gd name="connsiteX47" fmla="*/ 2009670 w 11857648"/>
              <a:gd name="connsiteY47" fmla="*/ 2849053 h 2969978"/>
              <a:gd name="connsiteX48" fmla="*/ 1678075 w 11857648"/>
              <a:gd name="connsiteY48" fmla="*/ 2939488 h 2969978"/>
              <a:gd name="connsiteX49" fmla="*/ 1607736 w 11857648"/>
              <a:gd name="connsiteY49" fmla="*/ 2969633 h 2969978"/>
              <a:gd name="connsiteX50" fmla="*/ 1135464 w 11857648"/>
              <a:gd name="connsiteY50" fmla="*/ 2949536 h 2969978"/>
              <a:gd name="connsiteX51" fmla="*/ 944545 w 11857648"/>
              <a:gd name="connsiteY51" fmla="*/ 2919391 h 2969978"/>
              <a:gd name="connsiteX52" fmla="*/ 723481 w 11857648"/>
              <a:gd name="connsiteY52" fmla="*/ 2879198 h 2969978"/>
              <a:gd name="connsiteX53" fmla="*/ 643095 w 11857648"/>
              <a:gd name="connsiteY53" fmla="*/ 2869149 h 2969978"/>
              <a:gd name="connsiteX54" fmla="*/ 371789 w 11857648"/>
              <a:gd name="connsiteY54" fmla="*/ 2828956 h 2969978"/>
              <a:gd name="connsiteX55" fmla="*/ 0 w 11857648"/>
              <a:gd name="connsiteY55" fmla="*/ 2818908 h 2969978"/>
              <a:gd name="connsiteX0" fmla="*/ 120580 w 11907678"/>
              <a:gd name="connsiteY0" fmla="*/ 55611 h 2969978"/>
              <a:gd name="connsiteX1" fmla="*/ 281354 w 11907678"/>
              <a:gd name="connsiteY1" fmla="*/ 45562 h 2969978"/>
              <a:gd name="connsiteX2" fmla="*/ 673240 w 11907678"/>
              <a:gd name="connsiteY2" fmla="*/ 35514 h 2969978"/>
              <a:gd name="connsiteX3" fmla="*/ 1356528 w 11907678"/>
              <a:gd name="connsiteY3" fmla="*/ 85756 h 2969978"/>
              <a:gd name="connsiteX4" fmla="*/ 1758462 w 11907678"/>
              <a:gd name="connsiteY4" fmla="*/ 45562 h 2969978"/>
              <a:gd name="connsiteX5" fmla="*/ 2140299 w 11907678"/>
              <a:gd name="connsiteY5" fmla="*/ 45562 h 2969978"/>
              <a:gd name="connsiteX6" fmla="*/ 4652387 w 11907678"/>
              <a:gd name="connsiteY6" fmla="*/ 65659 h 2969978"/>
              <a:gd name="connsiteX7" fmla="*/ 4692580 w 11907678"/>
              <a:gd name="connsiteY7" fmla="*/ 75708 h 2969978"/>
              <a:gd name="connsiteX8" fmla="*/ 6420897 w 11907678"/>
              <a:gd name="connsiteY8" fmla="*/ 95804 h 2969978"/>
              <a:gd name="connsiteX9" fmla="*/ 7184571 w 11907678"/>
              <a:gd name="connsiteY9" fmla="*/ 65659 h 2969978"/>
              <a:gd name="connsiteX10" fmla="*/ 7928150 w 11907678"/>
              <a:gd name="connsiteY10" fmla="*/ 65659 h 2969978"/>
              <a:gd name="connsiteX11" fmla="*/ 8219552 w 11907678"/>
              <a:gd name="connsiteY11" fmla="*/ 95804 h 2969978"/>
              <a:gd name="connsiteX12" fmla="*/ 9606224 w 11907678"/>
              <a:gd name="connsiteY12" fmla="*/ 95804 h 2969978"/>
              <a:gd name="connsiteX13" fmla="*/ 9947868 w 11907678"/>
              <a:gd name="connsiteY13" fmla="*/ 65659 h 2969978"/>
              <a:gd name="connsiteX14" fmla="*/ 10791930 w 11907678"/>
              <a:gd name="connsiteY14" fmla="*/ 35514 h 2969978"/>
              <a:gd name="connsiteX15" fmla="*/ 11736475 w 11907678"/>
              <a:gd name="connsiteY15" fmla="*/ 55611 h 2969978"/>
              <a:gd name="connsiteX16" fmla="*/ 11806813 w 11907678"/>
              <a:gd name="connsiteY16" fmla="*/ 769044 h 2969978"/>
              <a:gd name="connsiteX17" fmla="*/ 11816862 w 11907678"/>
              <a:gd name="connsiteY17" fmla="*/ 2336587 h 2969978"/>
              <a:gd name="connsiteX18" fmla="*/ 11857055 w 11907678"/>
              <a:gd name="connsiteY18" fmla="*/ 2839004 h 2969978"/>
              <a:gd name="connsiteX19" fmla="*/ 11033090 w 11907678"/>
              <a:gd name="connsiteY19" fmla="*/ 2859101 h 2969978"/>
              <a:gd name="connsiteX20" fmla="*/ 10621108 w 11907678"/>
              <a:gd name="connsiteY20" fmla="*/ 2849053 h 2969978"/>
              <a:gd name="connsiteX21" fmla="*/ 10128739 w 11907678"/>
              <a:gd name="connsiteY21" fmla="*/ 2859101 h 2969978"/>
              <a:gd name="connsiteX22" fmla="*/ 10048352 w 11907678"/>
              <a:gd name="connsiteY22" fmla="*/ 2869149 h 2969978"/>
              <a:gd name="connsiteX23" fmla="*/ 9555982 w 11907678"/>
              <a:gd name="connsiteY23" fmla="*/ 2859101 h 2969978"/>
              <a:gd name="connsiteX24" fmla="*/ 9445451 w 11907678"/>
              <a:gd name="connsiteY24" fmla="*/ 2849053 h 2969978"/>
              <a:gd name="connsiteX25" fmla="*/ 9415306 w 11907678"/>
              <a:gd name="connsiteY25" fmla="*/ 2828956 h 2969978"/>
              <a:gd name="connsiteX26" fmla="*/ 9204290 w 11907678"/>
              <a:gd name="connsiteY26" fmla="*/ 2808859 h 2969978"/>
              <a:gd name="connsiteX27" fmla="*/ 9073662 w 11907678"/>
              <a:gd name="connsiteY27" fmla="*/ 2788762 h 2969978"/>
              <a:gd name="connsiteX28" fmla="*/ 8812404 w 11907678"/>
              <a:gd name="connsiteY28" fmla="*/ 2778714 h 2969978"/>
              <a:gd name="connsiteX29" fmla="*/ 8400422 w 11907678"/>
              <a:gd name="connsiteY29" fmla="*/ 2768666 h 2969978"/>
              <a:gd name="connsiteX30" fmla="*/ 8269793 w 11907678"/>
              <a:gd name="connsiteY30" fmla="*/ 2758617 h 2969978"/>
              <a:gd name="connsiteX31" fmla="*/ 7797521 w 11907678"/>
              <a:gd name="connsiteY31" fmla="*/ 2778714 h 2969978"/>
              <a:gd name="connsiteX32" fmla="*/ 7717134 w 11907678"/>
              <a:gd name="connsiteY32" fmla="*/ 2788762 h 2969978"/>
              <a:gd name="connsiteX33" fmla="*/ 7486022 w 11907678"/>
              <a:gd name="connsiteY33" fmla="*/ 2818908 h 2969978"/>
              <a:gd name="connsiteX34" fmla="*/ 7395587 w 11907678"/>
              <a:gd name="connsiteY34" fmla="*/ 2839004 h 2969978"/>
              <a:gd name="connsiteX35" fmla="*/ 7325248 w 11907678"/>
              <a:gd name="connsiteY35" fmla="*/ 2849053 h 2969978"/>
              <a:gd name="connsiteX36" fmla="*/ 6863024 w 11907678"/>
              <a:gd name="connsiteY36" fmla="*/ 2839004 h 2969978"/>
              <a:gd name="connsiteX37" fmla="*/ 6722347 w 11907678"/>
              <a:gd name="connsiteY37" fmla="*/ 2828956 h 2969978"/>
              <a:gd name="connsiteX38" fmla="*/ 4903596 w 11907678"/>
              <a:gd name="connsiteY38" fmla="*/ 2879198 h 2969978"/>
              <a:gd name="connsiteX39" fmla="*/ 4722725 w 11907678"/>
              <a:gd name="connsiteY39" fmla="*/ 2919391 h 2969978"/>
              <a:gd name="connsiteX40" fmla="*/ 4300695 w 11907678"/>
              <a:gd name="connsiteY40" fmla="*/ 2899294 h 2969978"/>
              <a:gd name="connsiteX41" fmla="*/ 4059534 w 11907678"/>
              <a:gd name="connsiteY41" fmla="*/ 2859101 h 2969978"/>
              <a:gd name="connsiteX42" fmla="*/ 3768132 w 11907678"/>
              <a:gd name="connsiteY42" fmla="*/ 2828956 h 2969978"/>
              <a:gd name="connsiteX43" fmla="*/ 3627455 w 11907678"/>
              <a:gd name="connsiteY43" fmla="*/ 2818908 h 2969978"/>
              <a:gd name="connsiteX44" fmla="*/ 3125037 w 11907678"/>
              <a:gd name="connsiteY44" fmla="*/ 2828956 h 2969978"/>
              <a:gd name="connsiteX45" fmla="*/ 3064747 w 11907678"/>
              <a:gd name="connsiteY45" fmla="*/ 2839004 h 2969978"/>
              <a:gd name="connsiteX46" fmla="*/ 2009670 w 11907678"/>
              <a:gd name="connsiteY46" fmla="*/ 2849053 h 2969978"/>
              <a:gd name="connsiteX47" fmla="*/ 1678075 w 11907678"/>
              <a:gd name="connsiteY47" fmla="*/ 2939488 h 2969978"/>
              <a:gd name="connsiteX48" fmla="*/ 1607736 w 11907678"/>
              <a:gd name="connsiteY48" fmla="*/ 2969633 h 2969978"/>
              <a:gd name="connsiteX49" fmla="*/ 1135464 w 11907678"/>
              <a:gd name="connsiteY49" fmla="*/ 2949536 h 2969978"/>
              <a:gd name="connsiteX50" fmla="*/ 944545 w 11907678"/>
              <a:gd name="connsiteY50" fmla="*/ 2919391 h 2969978"/>
              <a:gd name="connsiteX51" fmla="*/ 723481 w 11907678"/>
              <a:gd name="connsiteY51" fmla="*/ 2879198 h 2969978"/>
              <a:gd name="connsiteX52" fmla="*/ 643095 w 11907678"/>
              <a:gd name="connsiteY52" fmla="*/ 2869149 h 2969978"/>
              <a:gd name="connsiteX53" fmla="*/ 371789 w 11907678"/>
              <a:gd name="connsiteY53" fmla="*/ 2828956 h 2969978"/>
              <a:gd name="connsiteX54" fmla="*/ 0 w 11907678"/>
              <a:gd name="connsiteY54" fmla="*/ 2818908 h 2969978"/>
              <a:gd name="connsiteX0" fmla="*/ 120580 w 11869655"/>
              <a:gd name="connsiteY0" fmla="*/ 55611 h 2969978"/>
              <a:gd name="connsiteX1" fmla="*/ 281354 w 11869655"/>
              <a:gd name="connsiteY1" fmla="*/ 45562 h 2969978"/>
              <a:gd name="connsiteX2" fmla="*/ 673240 w 11869655"/>
              <a:gd name="connsiteY2" fmla="*/ 35514 h 2969978"/>
              <a:gd name="connsiteX3" fmla="*/ 1356528 w 11869655"/>
              <a:gd name="connsiteY3" fmla="*/ 85756 h 2969978"/>
              <a:gd name="connsiteX4" fmla="*/ 1758462 w 11869655"/>
              <a:gd name="connsiteY4" fmla="*/ 45562 h 2969978"/>
              <a:gd name="connsiteX5" fmla="*/ 2140299 w 11869655"/>
              <a:gd name="connsiteY5" fmla="*/ 45562 h 2969978"/>
              <a:gd name="connsiteX6" fmla="*/ 4652387 w 11869655"/>
              <a:gd name="connsiteY6" fmla="*/ 65659 h 2969978"/>
              <a:gd name="connsiteX7" fmla="*/ 4692580 w 11869655"/>
              <a:gd name="connsiteY7" fmla="*/ 75708 h 2969978"/>
              <a:gd name="connsiteX8" fmla="*/ 6420897 w 11869655"/>
              <a:gd name="connsiteY8" fmla="*/ 95804 h 2969978"/>
              <a:gd name="connsiteX9" fmla="*/ 7184571 w 11869655"/>
              <a:gd name="connsiteY9" fmla="*/ 65659 h 2969978"/>
              <a:gd name="connsiteX10" fmla="*/ 7928150 w 11869655"/>
              <a:gd name="connsiteY10" fmla="*/ 65659 h 2969978"/>
              <a:gd name="connsiteX11" fmla="*/ 8219552 w 11869655"/>
              <a:gd name="connsiteY11" fmla="*/ 95804 h 2969978"/>
              <a:gd name="connsiteX12" fmla="*/ 9606224 w 11869655"/>
              <a:gd name="connsiteY12" fmla="*/ 95804 h 2969978"/>
              <a:gd name="connsiteX13" fmla="*/ 9947868 w 11869655"/>
              <a:gd name="connsiteY13" fmla="*/ 65659 h 2969978"/>
              <a:gd name="connsiteX14" fmla="*/ 10791930 w 11869655"/>
              <a:gd name="connsiteY14" fmla="*/ 35514 h 2969978"/>
              <a:gd name="connsiteX15" fmla="*/ 11736475 w 11869655"/>
              <a:gd name="connsiteY15" fmla="*/ 55611 h 2969978"/>
              <a:gd name="connsiteX16" fmla="*/ 11806813 w 11869655"/>
              <a:gd name="connsiteY16" fmla="*/ 769044 h 2969978"/>
              <a:gd name="connsiteX17" fmla="*/ 11816862 w 11869655"/>
              <a:gd name="connsiteY17" fmla="*/ 2336587 h 2969978"/>
              <a:gd name="connsiteX18" fmla="*/ 11806813 w 11869655"/>
              <a:gd name="connsiteY18" fmla="*/ 2828956 h 2969978"/>
              <a:gd name="connsiteX19" fmla="*/ 11033090 w 11869655"/>
              <a:gd name="connsiteY19" fmla="*/ 2859101 h 2969978"/>
              <a:gd name="connsiteX20" fmla="*/ 10621108 w 11869655"/>
              <a:gd name="connsiteY20" fmla="*/ 2849053 h 2969978"/>
              <a:gd name="connsiteX21" fmla="*/ 10128739 w 11869655"/>
              <a:gd name="connsiteY21" fmla="*/ 2859101 h 2969978"/>
              <a:gd name="connsiteX22" fmla="*/ 10048352 w 11869655"/>
              <a:gd name="connsiteY22" fmla="*/ 2869149 h 2969978"/>
              <a:gd name="connsiteX23" fmla="*/ 9555982 w 11869655"/>
              <a:gd name="connsiteY23" fmla="*/ 2859101 h 2969978"/>
              <a:gd name="connsiteX24" fmla="*/ 9445451 w 11869655"/>
              <a:gd name="connsiteY24" fmla="*/ 2849053 h 2969978"/>
              <a:gd name="connsiteX25" fmla="*/ 9415306 w 11869655"/>
              <a:gd name="connsiteY25" fmla="*/ 2828956 h 2969978"/>
              <a:gd name="connsiteX26" fmla="*/ 9204290 w 11869655"/>
              <a:gd name="connsiteY26" fmla="*/ 2808859 h 2969978"/>
              <a:gd name="connsiteX27" fmla="*/ 9073662 w 11869655"/>
              <a:gd name="connsiteY27" fmla="*/ 2788762 h 2969978"/>
              <a:gd name="connsiteX28" fmla="*/ 8812404 w 11869655"/>
              <a:gd name="connsiteY28" fmla="*/ 2778714 h 2969978"/>
              <a:gd name="connsiteX29" fmla="*/ 8400422 w 11869655"/>
              <a:gd name="connsiteY29" fmla="*/ 2768666 h 2969978"/>
              <a:gd name="connsiteX30" fmla="*/ 8269793 w 11869655"/>
              <a:gd name="connsiteY30" fmla="*/ 2758617 h 2969978"/>
              <a:gd name="connsiteX31" fmla="*/ 7797521 w 11869655"/>
              <a:gd name="connsiteY31" fmla="*/ 2778714 h 2969978"/>
              <a:gd name="connsiteX32" fmla="*/ 7717134 w 11869655"/>
              <a:gd name="connsiteY32" fmla="*/ 2788762 h 2969978"/>
              <a:gd name="connsiteX33" fmla="*/ 7486022 w 11869655"/>
              <a:gd name="connsiteY33" fmla="*/ 2818908 h 2969978"/>
              <a:gd name="connsiteX34" fmla="*/ 7395587 w 11869655"/>
              <a:gd name="connsiteY34" fmla="*/ 2839004 h 2969978"/>
              <a:gd name="connsiteX35" fmla="*/ 7325248 w 11869655"/>
              <a:gd name="connsiteY35" fmla="*/ 2849053 h 2969978"/>
              <a:gd name="connsiteX36" fmla="*/ 6863024 w 11869655"/>
              <a:gd name="connsiteY36" fmla="*/ 2839004 h 2969978"/>
              <a:gd name="connsiteX37" fmla="*/ 6722347 w 11869655"/>
              <a:gd name="connsiteY37" fmla="*/ 2828956 h 2969978"/>
              <a:gd name="connsiteX38" fmla="*/ 4903596 w 11869655"/>
              <a:gd name="connsiteY38" fmla="*/ 2879198 h 2969978"/>
              <a:gd name="connsiteX39" fmla="*/ 4722725 w 11869655"/>
              <a:gd name="connsiteY39" fmla="*/ 2919391 h 2969978"/>
              <a:gd name="connsiteX40" fmla="*/ 4300695 w 11869655"/>
              <a:gd name="connsiteY40" fmla="*/ 2899294 h 2969978"/>
              <a:gd name="connsiteX41" fmla="*/ 4059534 w 11869655"/>
              <a:gd name="connsiteY41" fmla="*/ 2859101 h 2969978"/>
              <a:gd name="connsiteX42" fmla="*/ 3768132 w 11869655"/>
              <a:gd name="connsiteY42" fmla="*/ 2828956 h 2969978"/>
              <a:gd name="connsiteX43" fmla="*/ 3627455 w 11869655"/>
              <a:gd name="connsiteY43" fmla="*/ 2818908 h 2969978"/>
              <a:gd name="connsiteX44" fmla="*/ 3125037 w 11869655"/>
              <a:gd name="connsiteY44" fmla="*/ 2828956 h 2969978"/>
              <a:gd name="connsiteX45" fmla="*/ 3064747 w 11869655"/>
              <a:gd name="connsiteY45" fmla="*/ 2839004 h 2969978"/>
              <a:gd name="connsiteX46" fmla="*/ 2009670 w 11869655"/>
              <a:gd name="connsiteY46" fmla="*/ 2849053 h 2969978"/>
              <a:gd name="connsiteX47" fmla="*/ 1678075 w 11869655"/>
              <a:gd name="connsiteY47" fmla="*/ 2939488 h 2969978"/>
              <a:gd name="connsiteX48" fmla="*/ 1607736 w 11869655"/>
              <a:gd name="connsiteY48" fmla="*/ 2969633 h 2969978"/>
              <a:gd name="connsiteX49" fmla="*/ 1135464 w 11869655"/>
              <a:gd name="connsiteY49" fmla="*/ 2949536 h 2969978"/>
              <a:gd name="connsiteX50" fmla="*/ 944545 w 11869655"/>
              <a:gd name="connsiteY50" fmla="*/ 2919391 h 2969978"/>
              <a:gd name="connsiteX51" fmla="*/ 723481 w 11869655"/>
              <a:gd name="connsiteY51" fmla="*/ 2879198 h 2969978"/>
              <a:gd name="connsiteX52" fmla="*/ 643095 w 11869655"/>
              <a:gd name="connsiteY52" fmla="*/ 2869149 h 2969978"/>
              <a:gd name="connsiteX53" fmla="*/ 371789 w 11869655"/>
              <a:gd name="connsiteY53" fmla="*/ 2828956 h 2969978"/>
              <a:gd name="connsiteX54" fmla="*/ 0 w 11869655"/>
              <a:gd name="connsiteY54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621108 w 11851944"/>
              <a:gd name="connsiteY20" fmla="*/ 2849053 h 2969978"/>
              <a:gd name="connsiteX21" fmla="*/ 10128739 w 11851944"/>
              <a:gd name="connsiteY21" fmla="*/ 2859101 h 2969978"/>
              <a:gd name="connsiteX22" fmla="*/ 10048352 w 11851944"/>
              <a:gd name="connsiteY22" fmla="*/ 2869149 h 2969978"/>
              <a:gd name="connsiteX23" fmla="*/ 9555982 w 11851944"/>
              <a:gd name="connsiteY23" fmla="*/ 2859101 h 2969978"/>
              <a:gd name="connsiteX24" fmla="*/ 9445451 w 11851944"/>
              <a:gd name="connsiteY24" fmla="*/ 2849053 h 2969978"/>
              <a:gd name="connsiteX25" fmla="*/ 9415306 w 11851944"/>
              <a:gd name="connsiteY25" fmla="*/ 2828956 h 2969978"/>
              <a:gd name="connsiteX26" fmla="*/ 9204290 w 11851944"/>
              <a:gd name="connsiteY26" fmla="*/ 2808859 h 2969978"/>
              <a:gd name="connsiteX27" fmla="*/ 9073662 w 11851944"/>
              <a:gd name="connsiteY27" fmla="*/ 2788762 h 2969978"/>
              <a:gd name="connsiteX28" fmla="*/ 8812404 w 11851944"/>
              <a:gd name="connsiteY28" fmla="*/ 2778714 h 2969978"/>
              <a:gd name="connsiteX29" fmla="*/ 8400422 w 11851944"/>
              <a:gd name="connsiteY29" fmla="*/ 2768666 h 2969978"/>
              <a:gd name="connsiteX30" fmla="*/ 8269793 w 11851944"/>
              <a:gd name="connsiteY30" fmla="*/ 2758617 h 2969978"/>
              <a:gd name="connsiteX31" fmla="*/ 7797521 w 11851944"/>
              <a:gd name="connsiteY31" fmla="*/ 2778714 h 2969978"/>
              <a:gd name="connsiteX32" fmla="*/ 7717134 w 11851944"/>
              <a:gd name="connsiteY32" fmla="*/ 2788762 h 2969978"/>
              <a:gd name="connsiteX33" fmla="*/ 7486022 w 11851944"/>
              <a:gd name="connsiteY33" fmla="*/ 2818908 h 2969978"/>
              <a:gd name="connsiteX34" fmla="*/ 7395587 w 11851944"/>
              <a:gd name="connsiteY34" fmla="*/ 2839004 h 2969978"/>
              <a:gd name="connsiteX35" fmla="*/ 7325248 w 11851944"/>
              <a:gd name="connsiteY35" fmla="*/ 2849053 h 2969978"/>
              <a:gd name="connsiteX36" fmla="*/ 6863024 w 11851944"/>
              <a:gd name="connsiteY36" fmla="*/ 2839004 h 2969978"/>
              <a:gd name="connsiteX37" fmla="*/ 6722347 w 11851944"/>
              <a:gd name="connsiteY37" fmla="*/ 2828956 h 2969978"/>
              <a:gd name="connsiteX38" fmla="*/ 4903596 w 11851944"/>
              <a:gd name="connsiteY38" fmla="*/ 2879198 h 2969978"/>
              <a:gd name="connsiteX39" fmla="*/ 4722725 w 11851944"/>
              <a:gd name="connsiteY39" fmla="*/ 2919391 h 2969978"/>
              <a:gd name="connsiteX40" fmla="*/ 4300695 w 11851944"/>
              <a:gd name="connsiteY40" fmla="*/ 2899294 h 2969978"/>
              <a:gd name="connsiteX41" fmla="*/ 4059534 w 11851944"/>
              <a:gd name="connsiteY41" fmla="*/ 2859101 h 2969978"/>
              <a:gd name="connsiteX42" fmla="*/ 3768132 w 11851944"/>
              <a:gd name="connsiteY42" fmla="*/ 2828956 h 2969978"/>
              <a:gd name="connsiteX43" fmla="*/ 3627455 w 11851944"/>
              <a:gd name="connsiteY43" fmla="*/ 2818908 h 2969978"/>
              <a:gd name="connsiteX44" fmla="*/ 3125037 w 11851944"/>
              <a:gd name="connsiteY44" fmla="*/ 2828956 h 2969978"/>
              <a:gd name="connsiteX45" fmla="*/ 3064747 w 11851944"/>
              <a:gd name="connsiteY45" fmla="*/ 2839004 h 2969978"/>
              <a:gd name="connsiteX46" fmla="*/ 2009670 w 11851944"/>
              <a:gd name="connsiteY46" fmla="*/ 2849053 h 2969978"/>
              <a:gd name="connsiteX47" fmla="*/ 1678075 w 11851944"/>
              <a:gd name="connsiteY47" fmla="*/ 2939488 h 2969978"/>
              <a:gd name="connsiteX48" fmla="*/ 1607736 w 11851944"/>
              <a:gd name="connsiteY48" fmla="*/ 2969633 h 2969978"/>
              <a:gd name="connsiteX49" fmla="*/ 1135464 w 11851944"/>
              <a:gd name="connsiteY49" fmla="*/ 2949536 h 2969978"/>
              <a:gd name="connsiteX50" fmla="*/ 944545 w 11851944"/>
              <a:gd name="connsiteY50" fmla="*/ 2919391 h 2969978"/>
              <a:gd name="connsiteX51" fmla="*/ 723481 w 11851944"/>
              <a:gd name="connsiteY51" fmla="*/ 2879198 h 2969978"/>
              <a:gd name="connsiteX52" fmla="*/ 643095 w 11851944"/>
              <a:gd name="connsiteY52" fmla="*/ 2869149 h 2969978"/>
              <a:gd name="connsiteX53" fmla="*/ 371789 w 11851944"/>
              <a:gd name="connsiteY53" fmla="*/ 2828956 h 2969978"/>
              <a:gd name="connsiteX54" fmla="*/ 0 w 11851944"/>
              <a:gd name="connsiteY54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10048352 w 11851944"/>
              <a:gd name="connsiteY21" fmla="*/ 2869149 h 2969978"/>
              <a:gd name="connsiteX22" fmla="*/ 9555982 w 11851944"/>
              <a:gd name="connsiteY22" fmla="*/ 2859101 h 2969978"/>
              <a:gd name="connsiteX23" fmla="*/ 9445451 w 11851944"/>
              <a:gd name="connsiteY23" fmla="*/ 2849053 h 2969978"/>
              <a:gd name="connsiteX24" fmla="*/ 9415306 w 11851944"/>
              <a:gd name="connsiteY24" fmla="*/ 2828956 h 2969978"/>
              <a:gd name="connsiteX25" fmla="*/ 9204290 w 11851944"/>
              <a:gd name="connsiteY25" fmla="*/ 2808859 h 2969978"/>
              <a:gd name="connsiteX26" fmla="*/ 9073662 w 11851944"/>
              <a:gd name="connsiteY26" fmla="*/ 2788762 h 2969978"/>
              <a:gd name="connsiteX27" fmla="*/ 8812404 w 11851944"/>
              <a:gd name="connsiteY27" fmla="*/ 2778714 h 2969978"/>
              <a:gd name="connsiteX28" fmla="*/ 8400422 w 11851944"/>
              <a:gd name="connsiteY28" fmla="*/ 2768666 h 2969978"/>
              <a:gd name="connsiteX29" fmla="*/ 8269793 w 11851944"/>
              <a:gd name="connsiteY29" fmla="*/ 2758617 h 2969978"/>
              <a:gd name="connsiteX30" fmla="*/ 7797521 w 11851944"/>
              <a:gd name="connsiteY30" fmla="*/ 2778714 h 2969978"/>
              <a:gd name="connsiteX31" fmla="*/ 7717134 w 11851944"/>
              <a:gd name="connsiteY31" fmla="*/ 2788762 h 2969978"/>
              <a:gd name="connsiteX32" fmla="*/ 7486022 w 11851944"/>
              <a:gd name="connsiteY32" fmla="*/ 2818908 h 2969978"/>
              <a:gd name="connsiteX33" fmla="*/ 7395587 w 11851944"/>
              <a:gd name="connsiteY33" fmla="*/ 2839004 h 2969978"/>
              <a:gd name="connsiteX34" fmla="*/ 7325248 w 11851944"/>
              <a:gd name="connsiteY34" fmla="*/ 2849053 h 2969978"/>
              <a:gd name="connsiteX35" fmla="*/ 6863024 w 11851944"/>
              <a:gd name="connsiteY35" fmla="*/ 2839004 h 2969978"/>
              <a:gd name="connsiteX36" fmla="*/ 6722347 w 11851944"/>
              <a:gd name="connsiteY36" fmla="*/ 2828956 h 2969978"/>
              <a:gd name="connsiteX37" fmla="*/ 4903596 w 11851944"/>
              <a:gd name="connsiteY37" fmla="*/ 2879198 h 2969978"/>
              <a:gd name="connsiteX38" fmla="*/ 4722725 w 11851944"/>
              <a:gd name="connsiteY38" fmla="*/ 2919391 h 2969978"/>
              <a:gd name="connsiteX39" fmla="*/ 4300695 w 11851944"/>
              <a:gd name="connsiteY39" fmla="*/ 2899294 h 2969978"/>
              <a:gd name="connsiteX40" fmla="*/ 4059534 w 11851944"/>
              <a:gd name="connsiteY40" fmla="*/ 2859101 h 2969978"/>
              <a:gd name="connsiteX41" fmla="*/ 3768132 w 11851944"/>
              <a:gd name="connsiteY41" fmla="*/ 2828956 h 2969978"/>
              <a:gd name="connsiteX42" fmla="*/ 3627455 w 11851944"/>
              <a:gd name="connsiteY42" fmla="*/ 2818908 h 2969978"/>
              <a:gd name="connsiteX43" fmla="*/ 3125037 w 11851944"/>
              <a:gd name="connsiteY43" fmla="*/ 2828956 h 2969978"/>
              <a:gd name="connsiteX44" fmla="*/ 3064747 w 11851944"/>
              <a:gd name="connsiteY44" fmla="*/ 2839004 h 2969978"/>
              <a:gd name="connsiteX45" fmla="*/ 2009670 w 11851944"/>
              <a:gd name="connsiteY45" fmla="*/ 2849053 h 2969978"/>
              <a:gd name="connsiteX46" fmla="*/ 1678075 w 11851944"/>
              <a:gd name="connsiteY46" fmla="*/ 2939488 h 2969978"/>
              <a:gd name="connsiteX47" fmla="*/ 1607736 w 11851944"/>
              <a:gd name="connsiteY47" fmla="*/ 2969633 h 2969978"/>
              <a:gd name="connsiteX48" fmla="*/ 1135464 w 11851944"/>
              <a:gd name="connsiteY48" fmla="*/ 2949536 h 2969978"/>
              <a:gd name="connsiteX49" fmla="*/ 944545 w 11851944"/>
              <a:gd name="connsiteY49" fmla="*/ 2919391 h 2969978"/>
              <a:gd name="connsiteX50" fmla="*/ 723481 w 11851944"/>
              <a:gd name="connsiteY50" fmla="*/ 2879198 h 2969978"/>
              <a:gd name="connsiteX51" fmla="*/ 643095 w 11851944"/>
              <a:gd name="connsiteY51" fmla="*/ 2869149 h 2969978"/>
              <a:gd name="connsiteX52" fmla="*/ 371789 w 11851944"/>
              <a:gd name="connsiteY52" fmla="*/ 2828956 h 2969978"/>
              <a:gd name="connsiteX53" fmla="*/ 0 w 11851944"/>
              <a:gd name="connsiteY53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10048352 w 11851944"/>
              <a:gd name="connsiteY21" fmla="*/ 2869149 h 2969978"/>
              <a:gd name="connsiteX22" fmla="*/ 9555982 w 11851944"/>
              <a:gd name="connsiteY22" fmla="*/ 2859101 h 2969978"/>
              <a:gd name="connsiteX23" fmla="*/ 9445451 w 11851944"/>
              <a:gd name="connsiteY23" fmla="*/ 2849053 h 2969978"/>
              <a:gd name="connsiteX24" fmla="*/ 9204290 w 11851944"/>
              <a:gd name="connsiteY24" fmla="*/ 2808859 h 2969978"/>
              <a:gd name="connsiteX25" fmla="*/ 9073662 w 11851944"/>
              <a:gd name="connsiteY25" fmla="*/ 2788762 h 2969978"/>
              <a:gd name="connsiteX26" fmla="*/ 8812404 w 11851944"/>
              <a:gd name="connsiteY26" fmla="*/ 2778714 h 2969978"/>
              <a:gd name="connsiteX27" fmla="*/ 8400422 w 11851944"/>
              <a:gd name="connsiteY27" fmla="*/ 2768666 h 2969978"/>
              <a:gd name="connsiteX28" fmla="*/ 8269793 w 11851944"/>
              <a:gd name="connsiteY28" fmla="*/ 2758617 h 2969978"/>
              <a:gd name="connsiteX29" fmla="*/ 7797521 w 11851944"/>
              <a:gd name="connsiteY29" fmla="*/ 2778714 h 2969978"/>
              <a:gd name="connsiteX30" fmla="*/ 7717134 w 11851944"/>
              <a:gd name="connsiteY30" fmla="*/ 2788762 h 2969978"/>
              <a:gd name="connsiteX31" fmla="*/ 7486022 w 11851944"/>
              <a:gd name="connsiteY31" fmla="*/ 2818908 h 2969978"/>
              <a:gd name="connsiteX32" fmla="*/ 7395587 w 11851944"/>
              <a:gd name="connsiteY32" fmla="*/ 2839004 h 2969978"/>
              <a:gd name="connsiteX33" fmla="*/ 7325248 w 11851944"/>
              <a:gd name="connsiteY33" fmla="*/ 2849053 h 2969978"/>
              <a:gd name="connsiteX34" fmla="*/ 6863024 w 11851944"/>
              <a:gd name="connsiteY34" fmla="*/ 2839004 h 2969978"/>
              <a:gd name="connsiteX35" fmla="*/ 6722347 w 11851944"/>
              <a:gd name="connsiteY35" fmla="*/ 2828956 h 2969978"/>
              <a:gd name="connsiteX36" fmla="*/ 4903596 w 11851944"/>
              <a:gd name="connsiteY36" fmla="*/ 2879198 h 2969978"/>
              <a:gd name="connsiteX37" fmla="*/ 4722725 w 11851944"/>
              <a:gd name="connsiteY37" fmla="*/ 2919391 h 2969978"/>
              <a:gd name="connsiteX38" fmla="*/ 4300695 w 11851944"/>
              <a:gd name="connsiteY38" fmla="*/ 2899294 h 2969978"/>
              <a:gd name="connsiteX39" fmla="*/ 4059534 w 11851944"/>
              <a:gd name="connsiteY39" fmla="*/ 2859101 h 2969978"/>
              <a:gd name="connsiteX40" fmla="*/ 3768132 w 11851944"/>
              <a:gd name="connsiteY40" fmla="*/ 2828956 h 2969978"/>
              <a:gd name="connsiteX41" fmla="*/ 3627455 w 11851944"/>
              <a:gd name="connsiteY41" fmla="*/ 2818908 h 2969978"/>
              <a:gd name="connsiteX42" fmla="*/ 3125037 w 11851944"/>
              <a:gd name="connsiteY42" fmla="*/ 2828956 h 2969978"/>
              <a:gd name="connsiteX43" fmla="*/ 3064747 w 11851944"/>
              <a:gd name="connsiteY43" fmla="*/ 2839004 h 2969978"/>
              <a:gd name="connsiteX44" fmla="*/ 2009670 w 11851944"/>
              <a:gd name="connsiteY44" fmla="*/ 2849053 h 2969978"/>
              <a:gd name="connsiteX45" fmla="*/ 1678075 w 11851944"/>
              <a:gd name="connsiteY45" fmla="*/ 2939488 h 2969978"/>
              <a:gd name="connsiteX46" fmla="*/ 1607736 w 11851944"/>
              <a:gd name="connsiteY46" fmla="*/ 2969633 h 2969978"/>
              <a:gd name="connsiteX47" fmla="*/ 1135464 w 11851944"/>
              <a:gd name="connsiteY47" fmla="*/ 2949536 h 2969978"/>
              <a:gd name="connsiteX48" fmla="*/ 944545 w 11851944"/>
              <a:gd name="connsiteY48" fmla="*/ 2919391 h 2969978"/>
              <a:gd name="connsiteX49" fmla="*/ 723481 w 11851944"/>
              <a:gd name="connsiteY49" fmla="*/ 2879198 h 2969978"/>
              <a:gd name="connsiteX50" fmla="*/ 643095 w 11851944"/>
              <a:gd name="connsiteY50" fmla="*/ 2869149 h 2969978"/>
              <a:gd name="connsiteX51" fmla="*/ 371789 w 11851944"/>
              <a:gd name="connsiteY51" fmla="*/ 2828956 h 2969978"/>
              <a:gd name="connsiteX52" fmla="*/ 0 w 11851944"/>
              <a:gd name="connsiteY52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10048352 w 11851944"/>
              <a:gd name="connsiteY21" fmla="*/ 2869149 h 2969978"/>
              <a:gd name="connsiteX22" fmla="*/ 9555982 w 11851944"/>
              <a:gd name="connsiteY22" fmla="*/ 2859101 h 2969978"/>
              <a:gd name="connsiteX23" fmla="*/ 9204290 w 11851944"/>
              <a:gd name="connsiteY23" fmla="*/ 2808859 h 2969978"/>
              <a:gd name="connsiteX24" fmla="*/ 9073662 w 11851944"/>
              <a:gd name="connsiteY24" fmla="*/ 2788762 h 2969978"/>
              <a:gd name="connsiteX25" fmla="*/ 8812404 w 11851944"/>
              <a:gd name="connsiteY25" fmla="*/ 2778714 h 2969978"/>
              <a:gd name="connsiteX26" fmla="*/ 8400422 w 11851944"/>
              <a:gd name="connsiteY26" fmla="*/ 2768666 h 2969978"/>
              <a:gd name="connsiteX27" fmla="*/ 8269793 w 11851944"/>
              <a:gd name="connsiteY27" fmla="*/ 2758617 h 2969978"/>
              <a:gd name="connsiteX28" fmla="*/ 7797521 w 11851944"/>
              <a:gd name="connsiteY28" fmla="*/ 2778714 h 2969978"/>
              <a:gd name="connsiteX29" fmla="*/ 7717134 w 11851944"/>
              <a:gd name="connsiteY29" fmla="*/ 2788762 h 2969978"/>
              <a:gd name="connsiteX30" fmla="*/ 7486022 w 11851944"/>
              <a:gd name="connsiteY30" fmla="*/ 2818908 h 2969978"/>
              <a:gd name="connsiteX31" fmla="*/ 7395587 w 11851944"/>
              <a:gd name="connsiteY31" fmla="*/ 2839004 h 2969978"/>
              <a:gd name="connsiteX32" fmla="*/ 7325248 w 11851944"/>
              <a:gd name="connsiteY32" fmla="*/ 2849053 h 2969978"/>
              <a:gd name="connsiteX33" fmla="*/ 6863024 w 11851944"/>
              <a:gd name="connsiteY33" fmla="*/ 2839004 h 2969978"/>
              <a:gd name="connsiteX34" fmla="*/ 6722347 w 11851944"/>
              <a:gd name="connsiteY34" fmla="*/ 2828956 h 2969978"/>
              <a:gd name="connsiteX35" fmla="*/ 4903596 w 11851944"/>
              <a:gd name="connsiteY35" fmla="*/ 2879198 h 2969978"/>
              <a:gd name="connsiteX36" fmla="*/ 4722725 w 11851944"/>
              <a:gd name="connsiteY36" fmla="*/ 2919391 h 2969978"/>
              <a:gd name="connsiteX37" fmla="*/ 4300695 w 11851944"/>
              <a:gd name="connsiteY37" fmla="*/ 2899294 h 2969978"/>
              <a:gd name="connsiteX38" fmla="*/ 4059534 w 11851944"/>
              <a:gd name="connsiteY38" fmla="*/ 2859101 h 2969978"/>
              <a:gd name="connsiteX39" fmla="*/ 3768132 w 11851944"/>
              <a:gd name="connsiteY39" fmla="*/ 2828956 h 2969978"/>
              <a:gd name="connsiteX40" fmla="*/ 3627455 w 11851944"/>
              <a:gd name="connsiteY40" fmla="*/ 2818908 h 2969978"/>
              <a:gd name="connsiteX41" fmla="*/ 3125037 w 11851944"/>
              <a:gd name="connsiteY41" fmla="*/ 2828956 h 2969978"/>
              <a:gd name="connsiteX42" fmla="*/ 3064747 w 11851944"/>
              <a:gd name="connsiteY42" fmla="*/ 2839004 h 2969978"/>
              <a:gd name="connsiteX43" fmla="*/ 2009670 w 11851944"/>
              <a:gd name="connsiteY43" fmla="*/ 2849053 h 2969978"/>
              <a:gd name="connsiteX44" fmla="*/ 1678075 w 11851944"/>
              <a:gd name="connsiteY44" fmla="*/ 2939488 h 2969978"/>
              <a:gd name="connsiteX45" fmla="*/ 1607736 w 11851944"/>
              <a:gd name="connsiteY45" fmla="*/ 2969633 h 2969978"/>
              <a:gd name="connsiteX46" fmla="*/ 1135464 w 11851944"/>
              <a:gd name="connsiteY46" fmla="*/ 2949536 h 2969978"/>
              <a:gd name="connsiteX47" fmla="*/ 944545 w 11851944"/>
              <a:gd name="connsiteY47" fmla="*/ 2919391 h 2969978"/>
              <a:gd name="connsiteX48" fmla="*/ 723481 w 11851944"/>
              <a:gd name="connsiteY48" fmla="*/ 2879198 h 2969978"/>
              <a:gd name="connsiteX49" fmla="*/ 643095 w 11851944"/>
              <a:gd name="connsiteY49" fmla="*/ 2869149 h 2969978"/>
              <a:gd name="connsiteX50" fmla="*/ 371789 w 11851944"/>
              <a:gd name="connsiteY50" fmla="*/ 2828956 h 2969978"/>
              <a:gd name="connsiteX51" fmla="*/ 0 w 11851944"/>
              <a:gd name="connsiteY51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8400422 w 11851944"/>
              <a:gd name="connsiteY25" fmla="*/ 2768666 h 2969978"/>
              <a:gd name="connsiteX26" fmla="*/ 8269793 w 11851944"/>
              <a:gd name="connsiteY26" fmla="*/ 2758617 h 2969978"/>
              <a:gd name="connsiteX27" fmla="*/ 7797521 w 11851944"/>
              <a:gd name="connsiteY27" fmla="*/ 2778714 h 2969978"/>
              <a:gd name="connsiteX28" fmla="*/ 7717134 w 11851944"/>
              <a:gd name="connsiteY28" fmla="*/ 2788762 h 2969978"/>
              <a:gd name="connsiteX29" fmla="*/ 7486022 w 11851944"/>
              <a:gd name="connsiteY29" fmla="*/ 2818908 h 2969978"/>
              <a:gd name="connsiteX30" fmla="*/ 7395587 w 11851944"/>
              <a:gd name="connsiteY30" fmla="*/ 2839004 h 2969978"/>
              <a:gd name="connsiteX31" fmla="*/ 7325248 w 11851944"/>
              <a:gd name="connsiteY31" fmla="*/ 2849053 h 2969978"/>
              <a:gd name="connsiteX32" fmla="*/ 6863024 w 11851944"/>
              <a:gd name="connsiteY32" fmla="*/ 2839004 h 2969978"/>
              <a:gd name="connsiteX33" fmla="*/ 6722347 w 11851944"/>
              <a:gd name="connsiteY33" fmla="*/ 2828956 h 2969978"/>
              <a:gd name="connsiteX34" fmla="*/ 4903596 w 11851944"/>
              <a:gd name="connsiteY34" fmla="*/ 2879198 h 2969978"/>
              <a:gd name="connsiteX35" fmla="*/ 4722725 w 11851944"/>
              <a:gd name="connsiteY35" fmla="*/ 2919391 h 2969978"/>
              <a:gd name="connsiteX36" fmla="*/ 4300695 w 11851944"/>
              <a:gd name="connsiteY36" fmla="*/ 2899294 h 2969978"/>
              <a:gd name="connsiteX37" fmla="*/ 4059534 w 11851944"/>
              <a:gd name="connsiteY37" fmla="*/ 2859101 h 2969978"/>
              <a:gd name="connsiteX38" fmla="*/ 3768132 w 11851944"/>
              <a:gd name="connsiteY38" fmla="*/ 2828956 h 2969978"/>
              <a:gd name="connsiteX39" fmla="*/ 3627455 w 11851944"/>
              <a:gd name="connsiteY39" fmla="*/ 2818908 h 2969978"/>
              <a:gd name="connsiteX40" fmla="*/ 3125037 w 11851944"/>
              <a:gd name="connsiteY40" fmla="*/ 2828956 h 2969978"/>
              <a:gd name="connsiteX41" fmla="*/ 3064747 w 11851944"/>
              <a:gd name="connsiteY41" fmla="*/ 2839004 h 2969978"/>
              <a:gd name="connsiteX42" fmla="*/ 2009670 w 11851944"/>
              <a:gd name="connsiteY42" fmla="*/ 2849053 h 2969978"/>
              <a:gd name="connsiteX43" fmla="*/ 1678075 w 11851944"/>
              <a:gd name="connsiteY43" fmla="*/ 2939488 h 2969978"/>
              <a:gd name="connsiteX44" fmla="*/ 1607736 w 11851944"/>
              <a:gd name="connsiteY44" fmla="*/ 2969633 h 2969978"/>
              <a:gd name="connsiteX45" fmla="*/ 1135464 w 11851944"/>
              <a:gd name="connsiteY45" fmla="*/ 2949536 h 2969978"/>
              <a:gd name="connsiteX46" fmla="*/ 944545 w 11851944"/>
              <a:gd name="connsiteY46" fmla="*/ 2919391 h 2969978"/>
              <a:gd name="connsiteX47" fmla="*/ 723481 w 11851944"/>
              <a:gd name="connsiteY47" fmla="*/ 2879198 h 2969978"/>
              <a:gd name="connsiteX48" fmla="*/ 643095 w 11851944"/>
              <a:gd name="connsiteY48" fmla="*/ 2869149 h 2969978"/>
              <a:gd name="connsiteX49" fmla="*/ 371789 w 11851944"/>
              <a:gd name="connsiteY49" fmla="*/ 2828956 h 2969978"/>
              <a:gd name="connsiteX50" fmla="*/ 0 w 11851944"/>
              <a:gd name="connsiteY50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8269793 w 11851944"/>
              <a:gd name="connsiteY25" fmla="*/ 2758617 h 2969978"/>
              <a:gd name="connsiteX26" fmla="*/ 7797521 w 11851944"/>
              <a:gd name="connsiteY26" fmla="*/ 2778714 h 2969978"/>
              <a:gd name="connsiteX27" fmla="*/ 7717134 w 11851944"/>
              <a:gd name="connsiteY27" fmla="*/ 2788762 h 2969978"/>
              <a:gd name="connsiteX28" fmla="*/ 7486022 w 11851944"/>
              <a:gd name="connsiteY28" fmla="*/ 2818908 h 2969978"/>
              <a:gd name="connsiteX29" fmla="*/ 7395587 w 11851944"/>
              <a:gd name="connsiteY29" fmla="*/ 2839004 h 2969978"/>
              <a:gd name="connsiteX30" fmla="*/ 7325248 w 11851944"/>
              <a:gd name="connsiteY30" fmla="*/ 2849053 h 2969978"/>
              <a:gd name="connsiteX31" fmla="*/ 6863024 w 11851944"/>
              <a:gd name="connsiteY31" fmla="*/ 2839004 h 2969978"/>
              <a:gd name="connsiteX32" fmla="*/ 6722347 w 11851944"/>
              <a:gd name="connsiteY32" fmla="*/ 2828956 h 2969978"/>
              <a:gd name="connsiteX33" fmla="*/ 4903596 w 11851944"/>
              <a:gd name="connsiteY33" fmla="*/ 2879198 h 2969978"/>
              <a:gd name="connsiteX34" fmla="*/ 4722725 w 11851944"/>
              <a:gd name="connsiteY34" fmla="*/ 2919391 h 2969978"/>
              <a:gd name="connsiteX35" fmla="*/ 4300695 w 11851944"/>
              <a:gd name="connsiteY35" fmla="*/ 2899294 h 2969978"/>
              <a:gd name="connsiteX36" fmla="*/ 4059534 w 11851944"/>
              <a:gd name="connsiteY36" fmla="*/ 2859101 h 2969978"/>
              <a:gd name="connsiteX37" fmla="*/ 3768132 w 11851944"/>
              <a:gd name="connsiteY37" fmla="*/ 2828956 h 2969978"/>
              <a:gd name="connsiteX38" fmla="*/ 3627455 w 11851944"/>
              <a:gd name="connsiteY38" fmla="*/ 2818908 h 2969978"/>
              <a:gd name="connsiteX39" fmla="*/ 3125037 w 11851944"/>
              <a:gd name="connsiteY39" fmla="*/ 2828956 h 2969978"/>
              <a:gd name="connsiteX40" fmla="*/ 3064747 w 11851944"/>
              <a:gd name="connsiteY40" fmla="*/ 2839004 h 2969978"/>
              <a:gd name="connsiteX41" fmla="*/ 2009670 w 11851944"/>
              <a:gd name="connsiteY41" fmla="*/ 2849053 h 2969978"/>
              <a:gd name="connsiteX42" fmla="*/ 1678075 w 11851944"/>
              <a:gd name="connsiteY42" fmla="*/ 2939488 h 2969978"/>
              <a:gd name="connsiteX43" fmla="*/ 1607736 w 11851944"/>
              <a:gd name="connsiteY43" fmla="*/ 2969633 h 2969978"/>
              <a:gd name="connsiteX44" fmla="*/ 1135464 w 11851944"/>
              <a:gd name="connsiteY44" fmla="*/ 2949536 h 2969978"/>
              <a:gd name="connsiteX45" fmla="*/ 944545 w 11851944"/>
              <a:gd name="connsiteY45" fmla="*/ 2919391 h 2969978"/>
              <a:gd name="connsiteX46" fmla="*/ 723481 w 11851944"/>
              <a:gd name="connsiteY46" fmla="*/ 2879198 h 2969978"/>
              <a:gd name="connsiteX47" fmla="*/ 643095 w 11851944"/>
              <a:gd name="connsiteY47" fmla="*/ 2869149 h 2969978"/>
              <a:gd name="connsiteX48" fmla="*/ 371789 w 11851944"/>
              <a:gd name="connsiteY48" fmla="*/ 2828956 h 2969978"/>
              <a:gd name="connsiteX49" fmla="*/ 0 w 11851944"/>
              <a:gd name="connsiteY49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7797521 w 11851944"/>
              <a:gd name="connsiteY25" fmla="*/ 2778714 h 2969978"/>
              <a:gd name="connsiteX26" fmla="*/ 7717134 w 11851944"/>
              <a:gd name="connsiteY26" fmla="*/ 2788762 h 2969978"/>
              <a:gd name="connsiteX27" fmla="*/ 7486022 w 11851944"/>
              <a:gd name="connsiteY27" fmla="*/ 2818908 h 2969978"/>
              <a:gd name="connsiteX28" fmla="*/ 7395587 w 11851944"/>
              <a:gd name="connsiteY28" fmla="*/ 2839004 h 2969978"/>
              <a:gd name="connsiteX29" fmla="*/ 7325248 w 11851944"/>
              <a:gd name="connsiteY29" fmla="*/ 2849053 h 2969978"/>
              <a:gd name="connsiteX30" fmla="*/ 6863024 w 11851944"/>
              <a:gd name="connsiteY30" fmla="*/ 2839004 h 2969978"/>
              <a:gd name="connsiteX31" fmla="*/ 6722347 w 11851944"/>
              <a:gd name="connsiteY31" fmla="*/ 2828956 h 2969978"/>
              <a:gd name="connsiteX32" fmla="*/ 4903596 w 11851944"/>
              <a:gd name="connsiteY32" fmla="*/ 2879198 h 2969978"/>
              <a:gd name="connsiteX33" fmla="*/ 4722725 w 11851944"/>
              <a:gd name="connsiteY33" fmla="*/ 2919391 h 2969978"/>
              <a:gd name="connsiteX34" fmla="*/ 4300695 w 11851944"/>
              <a:gd name="connsiteY34" fmla="*/ 2899294 h 2969978"/>
              <a:gd name="connsiteX35" fmla="*/ 4059534 w 11851944"/>
              <a:gd name="connsiteY35" fmla="*/ 2859101 h 2969978"/>
              <a:gd name="connsiteX36" fmla="*/ 3768132 w 11851944"/>
              <a:gd name="connsiteY36" fmla="*/ 2828956 h 2969978"/>
              <a:gd name="connsiteX37" fmla="*/ 3627455 w 11851944"/>
              <a:gd name="connsiteY37" fmla="*/ 2818908 h 2969978"/>
              <a:gd name="connsiteX38" fmla="*/ 3125037 w 11851944"/>
              <a:gd name="connsiteY38" fmla="*/ 2828956 h 2969978"/>
              <a:gd name="connsiteX39" fmla="*/ 3064747 w 11851944"/>
              <a:gd name="connsiteY39" fmla="*/ 2839004 h 2969978"/>
              <a:gd name="connsiteX40" fmla="*/ 2009670 w 11851944"/>
              <a:gd name="connsiteY40" fmla="*/ 2849053 h 2969978"/>
              <a:gd name="connsiteX41" fmla="*/ 1678075 w 11851944"/>
              <a:gd name="connsiteY41" fmla="*/ 2939488 h 2969978"/>
              <a:gd name="connsiteX42" fmla="*/ 1607736 w 11851944"/>
              <a:gd name="connsiteY42" fmla="*/ 2969633 h 2969978"/>
              <a:gd name="connsiteX43" fmla="*/ 1135464 w 11851944"/>
              <a:gd name="connsiteY43" fmla="*/ 2949536 h 2969978"/>
              <a:gd name="connsiteX44" fmla="*/ 944545 w 11851944"/>
              <a:gd name="connsiteY44" fmla="*/ 2919391 h 2969978"/>
              <a:gd name="connsiteX45" fmla="*/ 723481 w 11851944"/>
              <a:gd name="connsiteY45" fmla="*/ 2879198 h 2969978"/>
              <a:gd name="connsiteX46" fmla="*/ 643095 w 11851944"/>
              <a:gd name="connsiteY46" fmla="*/ 2869149 h 2969978"/>
              <a:gd name="connsiteX47" fmla="*/ 371789 w 11851944"/>
              <a:gd name="connsiteY47" fmla="*/ 2828956 h 2969978"/>
              <a:gd name="connsiteX48" fmla="*/ 0 w 11851944"/>
              <a:gd name="connsiteY48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7797521 w 11851944"/>
              <a:gd name="connsiteY25" fmla="*/ 2778714 h 2969978"/>
              <a:gd name="connsiteX26" fmla="*/ 7486022 w 11851944"/>
              <a:gd name="connsiteY26" fmla="*/ 2818908 h 2969978"/>
              <a:gd name="connsiteX27" fmla="*/ 7395587 w 11851944"/>
              <a:gd name="connsiteY27" fmla="*/ 2839004 h 2969978"/>
              <a:gd name="connsiteX28" fmla="*/ 7325248 w 11851944"/>
              <a:gd name="connsiteY28" fmla="*/ 2849053 h 2969978"/>
              <a:gd name="connsiteX29" fmla="*/ 6863024 w 11851944"/>
              <a:gd name="connsiteY29" fmla="*/ 2839004 h 2969978"/>
              <a:gd name="connsiteX30" fmla="*/ 6722347 w 11851944"/>
              <a:gd name="connsiteY30" fmla="*/ 2828956 h 2969978"/>
              <a:gd name="connsiteX31" fmla="*/ 4903596 w 11851944"/>
              <a:gd name="connsiteY31" fmla="*/ 2879198 h 2969978"/>
              <a:gd name="connsiteX32" fmla="*/ 4722725 w 11851944"/>
              <a:gd name="connsiteY32" fmla="*/ 2919391 h 2969978"/>
              <a:gd name="connsiteX33" fmla="*/ 4300695 w 11851944"/>
              <a:gd name="connsiteY33" fmla="*/ 2899294 h 2969978"/>
              <a:gd name="connsiteX34" fmla="*/ 4059534 w 11851944"/>
              <a:gd name="connsiteY34" fmla="*/ 2859101 h 2969978"/>
              <a:gd name="connsiteX35" fmla="*/ 3768132 w 11851944"/>
              <a:gd name="connsiteY35" fmla="*/ 2828956 h 2969978"/>
              <a:gd name="connsiteX36" fmla="*/ 3627455 w 11851944"/>
              <a:gd name="connsiteY36" fmla="*/ 2818908 h 2969978"/>
              <a:gd name="connsiteX37" fmla="*/ 3125037 w 11851944"/>
              <a:gd name="connsiteY37" fmla="*/ 2828956 h 2969978"/>
              <a:gd name="connsiteX38" fmla="*/ 3064747 w 11851944"/>
              <a:gd name="connsiteY38" fmla="*/ 2839004 h 2969978"/>
              <a:gd name="connsiteX39" fmla="*/ 2009670 w 11851944"/>
              <a:gd name="connsiteY39" fmla="*/ 2849053 h 2969978"/>
              <a:gd name="connsiteX40" fmla="*/ 1678075 w 11851944"/>
              <a:gd name="connsiteY40" fmla="*/ 2939488 h 2969978"/>
              <a:gd name="connsiteX41" fmla="*/ 1607736 w 11851944"/>
              <a:gd name="connsiteY41" fmla="*/ 2969633 h 2969978"/>
              <a:gd name="connsiteX42" fmla="*/ 1135464 w 11851944"/>
              <a:gd name="connsiteY42" fmla="*/ 2949536 h 2969978"/>
              <a:gd name="connsiteX43" fmla="*/ 944545 w 11851944"/>
              <a:gd name="connsiteY43" fmla="*/ 2919391 h 2969978"/>
              <a:gd name="connsiteX44" fmla="*/ 723481 w 11851944"/>
              <a:gd name="connsiteY44" fmla="*/ 2879198 h 2969978"/>
              <a:gd name="connsiteX45" fmla="*/ 643095 w 11851944"/>
              <a:gd name="connsiteY45" fmla="*/ 2869149 h 2969978"/>
              <a:gd name="connsiteX46" fmla="*/ 371789 w 11851944"/>
              <a:gd name="connsiteY46" fmla="*/ 2828956 h 2969978"/>
              <a:gd name="connsiteX47" fmla="*/ 0 w 11851944"/>
              <a:gd name="connsiteY47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8812404 w 11851944"/>
              <a:gd name="connsiteY24" fmla="*/ 2778714 h 2969978"/>
              <a:gd name="connsiteX25" fmla="*/ 7486022 w 11851944"/>
              <a:gd name="connsiteY25" fmla="*/ 2818908 h 2969978"/>
              <a:gd name="connsiteX26" fmla="*/ 7395587 w 11851944"/>
              <a:gd name="connsiteY26" fmla="*/ 2839004 h 2969978"/>
              <a:gd name="connsiteX27" fmla="*/ 7325248 w 11851944"/>
              <a:gd name="connsiteY27" fmla="*/ 2849053 h 2969978"/>
              <a:gd name="connsiteX28" fmla="*/ 6863024 w 11851944"/>
              <a:gd name="connsiteY28" fmla="*/ 2839004 h 2969978"/>
              <a:gd name="connsiteX29" fmla="*/ 6722347 w 11851944"/>
              <a:gd name="connsiteY29" fmla="*/ 2828956 h 2969978"/>
              <a:gd name="connsiteX30" fmla="*/ 4903596 w 11851944"/>
              <a:gd name="connsiteY30" fmla="*/ 2879198 h 2969978"/>
              <a:gd name="connsiteX31" fmla="*/ 4722725 w 11851944"/>
              <a:gd name="connsiteY31" fmla="*/ 2919391 h 2969978"/>
              <a:gd name="connsiteX32" fmla="*/ 4300695 w 11851944"/>
              <a:gd name="connsiteY32" fmla="*/ 2899294 h 2969978"/>
              <a:gd name="connsiteX33" fmla="*/ 4059534 w 11851944"/>
              <a:gd name="connsiteY33" fmla="*/ 2859101 h 2969978"/>
              <a:gd name="connsiteX34" fmla="*/ 3768132 w 11851944"/>
              <a:gd name="connsiteY34" fmla="*/ 2828956 h 2969978"/>
              <a:gd name="connsiteX35" fmla="*/ 3627455 w 11851944"/>
              <a:gd name="connsiteY35" fmla="*/ 2818908 h 2969978"/>
              <a:gd name="connsiteX36" fmla="*/ 3125037 w 11851944"/>
              <a:gd name="connsiteY36" fmla="*/ 2828956 h 2969978"/>
              <a:gd name="connsiteX37" fmla="*/ 3064747 w 11851944"/>
              <a:gd name="connsiteY37" fmla="*/ 2839004 h 2969978"/>
              <a:gd name="connsiteX38" fmla="*/ 2009670 w 11851944"/>
              <a:gd name="connsiteY38" fmla="*/ 2849053 h 2969978"/>
              <a:gd name="connsiteX39" fmla="*/ 1678075 w 11851944"/>
              <a:gd name="connsiteY39" fmla="*/ 2939488 h 2969978"/>
              <a:gd name="connsiteX40" fmla="*/ 1607736 w 11851944"/>
              <a:gd name="connsiteY40" fmla="*/ 2969633 h 2969978"/>
              <a:gd name="connsiteX41" fmla="*/ 1135464 w 11851944"/>
              <a:gd name="connsiteY41" fmla="*/ 2949536 h 2969978"/>
              <a:gd name="connsiteX42" fmla="*/ 944545 w 11851944"/>
              <a:gd name="connsiteY42" fmla="*/ 2919391 h 2969978"/>
              <a:gd name="connsiteX43" fmla="*/ 723481 w 11851944"/>
              <a:gd name="connsiteY43" fmla="*/ 2879198 h 2969978"/>
              <a:gd name="connsiteX44" fmla="*/ 643095 w 11851944"/>
              <a:gd name="connsiteY44" fmla="*/ 2869149 h 2969978"/>
              <a:gd name="connsiteX45" fmla="*/ 371789 w 11851944"/>
              <a:gd name="connsiteY45" fmla="*/ 2828956 h 2969978"/>
              <a:gd name="connsiteX46" fmla="*/ 0 w 11851944"/>
              <a:gd name="connsiteY46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7486022 w 11851944"/>
              <a:gd name="connsiteY24" fmla="*/ 2818908 h 2969978"/>
              <a:gd name="connsiteX25" fmla="*/ 7395587 w 11851944"/>
              <a:gd name="connsiteY25" fmla="*/ 2839004 h 2969978"/>
              <a:gd name="connsiteX26" fmla="*/ 7325248 w 11851944"/>
              <a:gd name="connsiteY26" fmla="*/ 2849053 h 2969978"/>
              <a:gd name="connsiteX27" fmla="*/ 6863024 w 11851944"/>
              <a:gd name="connsiteY27" fmla="*/ 2839004 h 2969978"/>
              <a:gd name="connsiteX28" fmla="*/ 6722347 w 11851944"/>
              <a:gd name="connsiteY28" fmla="*/ 2828956 h 2969978"/>
              <a:gd name="connsiteX29" fmla="*/ 4903596 w 11851944"/>
              <a:gd name="connsiteY29" fmla="*/ 2879198 h 2969978"/>
              <a:gd name="connsiteX30" fmla="*/ 4722725 w 11851944"/>
              <a:gd name="connsiteY30" fmla="*/ 2919391 h 2969978"/>
              <a:gd name="connsiteX31" fmla="*/ 4300695 w 11851944"/>
              <a:gd name="connsiteY31" fmla="*/ 2899294 h 2969978"/>
              <a:gd name="connsiteX32" fmla="*/ 4059534 w 11851944"/>
              <a:gd name="connsiteY32" fmla="*/ 2859101 h 2969978"/>
              <a:gd name="connsiteX33" fmla="*/ 3768132 w 11851944"/>
              <a:gd name="connsiteY33" fmla="*/ 2828956 h 2969978"/>
              <a:gd name="connsiteX34" fmla="*/ 3627455 w 11851944"/>
              <a:gd name="connsiteY34" fmla="*/ 2818908 h 2969978"/>
              <a:gd name="connsiteX35" fmla="*/ 3125037 w 11851944"/>
              <a:gd name="connsiteY35" fmla="*/ 2828956 h 2969978"/>
              <a:gd name="connsiteX36" fmla="*/ 3064747 w 11851944"/>
              <a:gd name="connsiteY36" fmla="*/ 2839004 h 2969978"/>
              <a:gd name="connsiteX37" fmla="*/ 2009670 w 11851944"/>
              <a:gd name="connsiteY37" fmla="*/ 2849053 h 2969978"/>
              <a:gd name="connsiteX38" fmla="*/ 1678075 w 11851944"/>
              <a:gd name="connsiteY38" fmla="*/ 2939488 h 2969978"/>
              <a:gd name="connsiteX39" fmla="*/ 1607736 w 11851944"/>
              <a:gd name="connsiteY39" fmla="*/ 2969633 h 2969978"/>
              <a:gd name="connsiteX40" fmla="*/ 1135464 w 11851944"/>
              <a:gd name="connsiteY40" fmla="*/ 2949536 h 2969978"/>
              <a:gd name="connsiteX41" fmla="*/ 944545 w 11851944"/>
              <a:gd name="connsiteY41" fmla="*/ 2919391 h 2969978"/>
              <a:gd name="connsiteX42" fmla="*/ 723481 w 11851944"/>
              <a:gd name="connsiteY42" fmla="*/ 2879198 h 2969978"/>
              <a:gd name="connsiteX43" fmla="*/ 643095 w 11851944"/>
              <a:gd name="connsiteY43" fmla="*/ 2869149 h 2969978"/>
              <a:gd name="connsiteX44" fmla="*/ 371789 w 11851944"/>
              <a:gd name="connsiteY44" fmla="*/ 2828956 h 2969978"/>
              <a:gd name="connsiteX45" fmla="*/ 0 w 11851944"/>
              <a:gd name="connsiteY45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7486022 w 11851944"/>
              <a:gd name="connsiteY24" fmla="*/ 2818908 h 2969978"/>
              <a:gd name="connsiteX25" fmla="*/ 7395587 w 11851944"/>
              <a:gd name="connsiteY25" fmla="*/ 2839004 h 2969978"/>
              <a:gd name="connsiteX26" fmla="*/ 6863024 w 11851944"/>
              <a:gd name="connsiteY26" fmla="*/ 2839004 h 2969978"/>
              <a:gd name="connsiteX27" fmla="*/ 6722347 w 11851944"/>
              <a:gd name="connsiteY27" fmla="*/ 2828956 h 2969978"/>
              <a:gd name="connsiteX28" fmla="*/ 4903596 w 11851944"/>
              <a:gd name="connsiteY28" fmla="*/ 2879198 h 2969978"/>
              <a:gd name="connsiteX29" fmla="*/ 4722725 w 11851944"/>
              <a:gd name="connsiteY29" fmla="*/ 2919391 h 2969978"/>
              <a:gd name="connsiteX30" fmla="*/ 4300695 w 11851944"/>
              <a:gd name="connsiteY30" fmla="*/ 2899294 h 2969978"/>
              <a:gd name="connsiteX31" fmla="*/ 4059534 w 11851944"/>
              <a:gd name="connsiteY31" fmla="*/ 2859101 h 2969978"/>
              <a:gd name="connsiteX32" fmla="*/ 3768132 w 11851944"/>
              <a:gd name="connsiteY32" fmla="*/ 2828956 h 2969978"/>
              <a:gd name="connsiteX33" fmla="*/ 3627455 w 11851944"/>
              <a:gd name="connsiteY33" fmla="*/ 2818908 h 2969978"/>
              <a:gd name="connsiteX34" fmla="*/ 3125037 w 11851944"/>
              <a:gd name="connsiteY34" fmla="*/ 2828956 h 2969978"/>
              <a:gd name="connsiteX35" fmla="*/ 3064747 w 11851944"/>
              <a:gd name="connsiteY35" fmla="*/ 2839004 h 2969978"/>
              <a:gd name="connsiteX36" fmla="*/ 2009670 w 11851944"/>
              <a:gd name="connsiteY36" fmla="*/ 2849053 h 2969978"/>
              <a:gd name="connsiteX37" fmla="*/ 1678075 w 11851944"/>
              <a:gd name="connsiteY37" fmla="*/ 2939488 h 2969978"/>
              <a:gd name="connsiteX38" fmla="*/ 1607736 w 11851944"/>
              <a:gd name="connsiteY38" fmla="*/ 2969633 h 2969978"/>
              <a:gd name="connsiteX39" fmla="*/ 1135464 w 11851944"/>
              <a:gd name="connsiteY39" fmla="*/ 2949536 h 2969978"/>
              <a:gd name="connsiteX40" fmla="*/ 944545 w 11851944"/>
              <a:gd name="connsiteY40" fmla="*/ 2919391 h 2969978"/>
              <a:gd name="connsiteX41" fmla="*/ 723481 w 11851944"/>
              <a:gd name="connsiteY41" fmla="*/ 2879198 h 2969978"/>
              <a:gd name="connsiteX42" fmla="*/ 643095 w 11851944"/>
              <a:gd name="connsiteY42" fmla="*/ 2869149 h 2969978"/>
              <a:gd name="connsiteX43" fmla="*/ 371789 w 11851944"/>
              <a:gd name="connsiteY43" fmla="*/ 2828956 h 2969978"/>
              <a:gd name="connsiteX44" fmla="*/ 0 w 11851944"/>
              <a:gd name="connsiteY44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9073662 w 11851944"/>
              <a:gd name="connsiteY23" fmla="*/ 2788762 h 2969978"/>
              <a:gd name="connsiteX24" fmla="*/ 7486022 w 11851944"/>
              <a:gd name="connsiteY24" fmla="*/ 2818908 h 2969978"/>
              <a:gd name="connsiteX25" fmla="*/ 6863024 w 11851944"/>
              <a:gd name="connsiteY25" fmla="*/ 2839004 h 2969978"/>
              <a:gd name="connsiteX26" fmla="*/ 6722347 w 11851944"/>
              <a:gd name="connsiteY26" fmla="*/ 2828956 h 2969978"/>
              <a:gd name="connsiteX27" fmla="*/ 4903596 w 11851944"/>
              <a:gd name="connsiteY27" fmla="*/ 2879198 h 2969978"/>
              <a:gd name="connsiteX28" fmla="*/ 4722725 w 11851944"/>
              <a:gd name="connsiteY28" fmla="*/ 2919391 h 2969978"/>
              <a:gd name="connsiteX29" fmla="*/ 4300695 w 11851944"/>
              <a:gd name="connsiteY29" fmla="*/ 2899294 h 2969978"/>
              <a:gd name="connsiteX30" fmla="*/ 4059534 w 11851944"/>
              <a:gd name="connsiteY30" fmla="*/ 2859101 h 2969978"/>
              <a:gd name="connsiteX31" fmla="*/ 3768132 w 11851944"/>
              <a:gd name="connsiteY31" fmla="*/ 2828956 h 2969978"/>
              <a:gd name="connsiteX32" fmla="*/ 3627455 w 11851944"/>
              <a:gd name="connsiteY32" fmla="*/ 2818908 h 2969978"/>
              <a:gd name="connsiteX33" fmla="*/ 3125037 w 11851944"/>
              <a:gd name="connsiteY33" fmla="*/ 2828956 h 2969978"/>
              <a:gd name="connsiteX34" fmla="*/ 3064747 w 11851944"/>
              <a:gd name="connsiteY34" fmla="*/ 2839004 h 2969978"/>
              <a:gd name="connsiteX35" fmla="*/ 2009670 w 11851944"/>
              <a:gd name="connsiteY35" fmla="*/ 2849053 h 2969978"/>
              <a:gd name="connsiteX36" fmla="*/ 1678075 w 11851944"/>
              <a:gd name="connsiteY36" fmla="*/ 2939488 h 2969978"/>
              <a:gd name="connsiteX37" fmla="*/ 1607736 w 11851944"/>
              <a:gd name="connsiteY37" fmla="*/ 2969633 h 2969978"/>
              <a:gd name="connsiteX38" fmla="*/ 1135464 w 11851944"/>
              <a:gd name="connsiteY38" fmla="*/ 2949536 h 2969978"/>
              <a:gd name="connsiteX39" fmla="*/ 944545 w 11851944"/>
              <a:gd name="connsiteY39" fmla="*/ 2919391 h 2969978"/>
              <a:gd name="connsiteX40" fmla="*/ 723481 w 11851944"/>
              <a:gd name="connsiteY40" fmla="*/ 2879198 h 2969978"/>
              <a:gd name="connsiteX41" fmla="*/ 643095 w 11851944"/>
              <a:gd name="connsiteY41" fmla="*/ 2869149 h 2969978"/>
              <a:gd name="connsiteX42" fmla="*/ 371789 w 11851944"/>
              <a:gd name="connsiteY42" fmla="*/ 2828956 h 2969978"/>
              <a:gd name="connsiteX43" fmla="*/ 0 w 11851944"/>
              <a:gd name="connsiteY43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722725 w 11851944"/>
              <a:gd name="connsiteY27" fmla="*/ 2919391 h 2969978"/>
              <a:gd name="connsiteX28" fmla="*/ 4300695 w 11851944"/>
              <a:gd name="connsiteY28" fmla="*/ 2899294 h 2969978"/>
              <a:gd name="connsiteX29" fmla="*/ 4059534 w 11851944"/>
              <a:gd name="connsiteY29" fmla="*/ 2859101 h 2969978"/>
              <a:gd name="connsiteX30" fmla="*/ 3768132 w 11851944"/>
              <a:gd name="connsiteY30" fmla="*/ 2828956 h 2969978"/>
              <a:gd name="connsiteX31" fmla="*/ 3627455 w 11851944"/>
              <a:gd name="connsiteY31" fmla="*/ 2818908 h 2969978"/>
              <a:gd name="connsiteX32" fmla="*/ 3125037 w 11851944"/>
              <a:gd name="connsiteY32" fmla="*/ 2828956 h 2969978"/>
              <a:gd name="connsiteX33" fmla="*/ 3064747 w 11851944"/>
              <a:gd name="connsiteY33" fmla="*/ 2839004 h 2969978"/>
              <a:gd name="connsiteX34" fmla="*/ 2009670 w 11851944"/>
              <a:gd name="connsiteY34" fmla="*/ 2849053 h 2969978"/>
              <a:gd name="connsiteX35" fmla="*/ 1678075 w 11851944"/>
              <a:gd name="connsiteY35" fmla="*/ 2939488 h 2969978"/>
              <a:gd name="connsiteX36" fmla="*/ 1607736 w 11851944"/>
              <a:gd name="connsiteY36" fmla="*/ 2969633 h 2969978"/>
              <a:gd name="connsiteX37" fmla="*/ 1135464 w 11851944"/>
              <a:gd name="connsiteY37" fmla="*/ 2949536 h 2969978"/>
              <a:gd name="connsiteX38" fmla="*/ 944545 w 11851944"/>
              <a:gd name="connsiteY38" fmla="*/ 2919391 h 2969978"/>
              <a:gd name="connsiteX39" fmla="*/ 723481 w 11851944"/>
              <a:gd name="connsiteY39" fmla="*/ 2879198 h 2969978"/>
              <a:gd name="connsiteX40" fmla="*/ 643095 w 11851944"/>
              <a:gd name="connsiteY40" fmla="*/ 2869149 h 2969978"/>
              <a:gd name="connsiteX41" fmla="*/ 371789 w 11851944"/>
              <a:gd name="connsiteY41" fmla="*/ 2828956 h 2969978"/>
              <a:gd name="connsiteX42" fmla="*/ 0 w 11851944"/>
              <a:gd name="connsiteY42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300695 w 11851944"/>
              <a:gd name="connsiteY27" fmla="*/ 2899294 h 2969978"/>
              <a:gd name="connsiteX28" fmla="*/ 4059534 w 11851944"/>
              <a:gd name="connsiteY28" fmla="*/ 2859101 h 2969978"/>
              <a:gd name="connsiteX29" fmla="*/ 3768132 w 11851944"/>
              <a:gd name="connsiteY29" fmla="*/ 2828956 h 2969978"/>
              <a:gd name="connsiteX30" fmla="*/ 3627455 w 11851944"/>
              <a:gd name="connsiteY30" fmla="*/ 2818908 h 2969978"/>
              <a:gd name="connsiteX31" fmla="*/ 3125037 w 11851944"/>
              <a:gd name="connsiteY31" fmla="*/ 2828956 h 2969978"/>
              <a:gd name="connsiteX32" fmla="*/ 3064747 w 11851944"/>
              <a:gd name="connsiteY32" fmla="*/ 2839004 h 2969978"/>
              <a:gd name="connsiteX33" fmla="*/ 2009670 w 11851944"/>
              <a:gd name="connsiteY33" fmla="*/ 2849053 h 2969978"/>
              <a:gd name="connsiteX34" fmla="*/ 1678075 w 11851944"/>
              <a:gd name="connsiteY34" fmla="*/ 2939488 h 2969978"/>
              <a:gd name="connsiteX35" fmla="*/ 1607736 w 11851944"/>
              <a:gd name="connsiteY35" fmla="*/ 2969633 h 2969978"/>
              <a:gd name="connsiteX36" fmla="*/ 1135464 w 11851944"/>
              <a:gd name="connsiteY36" fmla="*/ 2949536 h 2969978"/>
              <a:gd name="connsiteX37" fmla="*/ 944545 w 11851944"/>
              <a:gd name="connsiteY37" fmla="*/ 2919391 h 2969978"/>
              <a:gd name="connsiteX38" fmla="*/ 723481 w 11851944"/>
              <a:gd name="connsiteY38" fmla="*/ 2879198 h 2969978"/>
              <a:gd name="connsiteX39" fmla="*/ 643095 w 11851944"/>
              <a:gd name="connsiteY39" fmla="*/ 2869149 h 2969978"/>
              <a:gd name="connsiteX40" fmla="*/ 371789 w 11851944"/>
              <a:gd name="connsiteY40" fmla="*/ 2828956 h 2969978"/>
              <a:gd name="connsiteX41" fmla="*/ 0 w 11851944"/>
              <a:gd name="connsiteY41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059534 w 11851944"/>
              <a:gd name="connsiteY27" fmla="*/ 2859101 h 2969978"/>
              <a:gd name="connsiteX28" fmla="*/ 3768132 w 11851944"/>
              <a:gd name="connsiteY28" fmla="*/ 2828956 h 2969978"/>
              <a:gd name="connsiteX29" fmla="*/ 3627455 w 11851944"/>
              <a:gd name="connsiteY29" fmla="*/ 2818908 h 2969978"/>
              <a:gd name="connsiteX30" fmla="*/ 3125037 w 11851944"/>
              <a:gd name="connsiteY30" fmla="*/ 2828956 h 2969978"/>
              <a:gd name="connsiteX31" fmla="*/ 3064747 w 11851944"/>
              <a:gd name="connsiteY31" fmla="*/ 2839004 h 2969978"/>
              <a:gd name="connsiteX32" fmla="*/ 2009670 w 11851944"/>
              <a:gd name="connsiteY32" fmla="*/ 2849053 h 2969978"/>
              <a:gd name="connsiteX33" fmla="*/ 1678075 w 11851944"/>
              <a:gd name="connsiteY33" fmla="*/ 2939488 h 2969978"/>
              <a:gd name="connsiteX34" fmla="*/ 1607736 w 11851944"/>
              <a:gd name="connsiteY34" fmla="*/ 2969633 h 2969978"/>
              <a:gd name="connsiteX35" fmla="*/ 1135464 w 11851944"/>
              <a:gd name="connsiteY35" fmla="*/ 2949536 h 2969978"/>
              <a:gd name="connsiteX36" fmla="*/ 944545 w 11851944"/>
              <a:gd name="connsiteY36" fmla="*/ 2919391 h 2969978"/>
              <a:gd name="connsiteX37" fmla="*/ 723481 w 11851944"/>
              <a:gd name="connsiteY37" fmla="*/ 2879198 h 2969978"/>
              <a:gd name="connsiteX38" fmla="*/ 643095 w 11851944"/>
              <a:gd name="connsiteY38" fmla="*/ 2869149 h 2969978"/>
              <a:gd name="connsiteX39" fmla="*/ 371789 w 11851944"/>
              <a:gd name="connsiteY39" fmla="*/ 2828956 h 2969978"/>
              <a:gd name="connsiteX40" fmla="*/ 0 w 11851944"/>
              <a:gd name="connsiteY40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059534 w 11851944"/>
              <a:gd name="connsiteY27" fmla="*/ 2859101 h 2969978"/>
              <a:gd name="connsiteX28" fmla="*/ 3627455 w 11851944"/>
              <a:gd name="connsiteY28" fmla="*/ 2818908 h 2969978"/>
              <a:gd name="connsiteX29" fmla="*/ 3125037 w 11851944"/>
              <a:gd name="connsiteY29" fmla="*/ 2828956 h 2969978"/>
              <a:gd name="connsiteX30" fmla="*/ 3064747 w 11851944"/>
              <a:gd name="connsiteY30" fmla="*/ 2839004 h 2969978"/>
              <a:gd name="connsiteX31" fmla="*/ 2009670 w 11851944"/>
              <a:gd name="connsiteY31" fmla="*/ 2849053 h 2969978"/>
              <a:gd name="connsiteX32" fmla="*/ 1678075 w 11851944"/>
              <a:gd name="connsiteY32" fmla="*/ 2939488 h 2969978"/>
              <a:gd name="connsiteX33" fmla="*/ 1607736 w 11851944"/>
              <a:gd name="connsiteY33" fmla="*/ 2969633 h 2969978"/>
              <a:gd name="connsiteX34" fmla="*/ 1135464 w 11851944"/>
              <a:gd name="connsiteY34" fmla="*/ 2949536 h 2969978"/>
              <a:gd name="connsiteX35" fmla="*/ 944545 w 11851944"/>
              <a:gd name="connsiteY35" fmla="*/ 2919391 h 2969978"/>
              <a:gd name="connsiteX36" fmla="*/ 723481 w 11851944"/>
              <a:gd name="connsiteY36" fmla="*/ 2879198 h 2969978"/>
              <a:gd name="connsiteX37" fmla="*/ 643095 w 11851944"/>
              <a:gd name="connsiteY37" fmla="*/ 2869149 h 2969978"/>
              <a:gd name="connsiteX38" fmla="*/ 371789 w 11851944"/>
              <a:gd name="connsiteY38" fmla="*/ 2828956 h 2969978"/>
              <a:gd name="connsiteX39" fmla="*/ 0 w 11851944"/>
              <a:gd name="connsiteY39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059534 w 11851944"/>
              <a:gd name="connsiteY27" fmla="*/ 2859101 h 2969978"/>
              <a:gd name="connsiteX28" fmla="*/ 3125037 w 11851944"/>
              <a:gd name="connsiteY28" fmla="*/ 2828956 h 2969978"/>
              <a:gd name="connsiteX29" fmla="*/ 3064747 w 11851944"/>
              <a:gd name="connsiteY29" fmla="*/ 2839004 h 2969978"/>
              <a:gd name="connsiteX30" fmla="*/ 2009670 w 11851944"/>
              <a:gd name="connsiteY30" fmla="*/ 2849053 h 2969978"/>
              <a:gd name="connsiteX31" fmla="*/ 1678075 w 11851944"/>
              <a:gd name="connsiteY31" fmla="*/ 2939488 h 2969978"/>
              <a:gd name="connsiteX32" fmla="*/ 1607736 w 11851944"/>
              <a:gd name="connsiteY32" fmla="*/ 2969633 h 2969978"/>
              <a:gd name="connsiteX33" fmla="*/ 1135464 w 11851944"/>
              <a:gd name="connsiteY33" fmla="*/ 2949536 h 2969978"/>
              <a:gd name="connsiteX34" fmla="*/ 944545 w 11851944"/>
              <a:gd name="connsiteY34" fmla="*/ 2919391 h 2969978"/>
              <a:gd name="connsiteX35" fmla="*/ 723481 w 11851944"/>
              <a:gd name="connsiteY35" fmla="*/ 2879198 h 2969978"/>
              <a:gd name="connsiteX36" fmla="*/ 643095 w 11851944"/>
              <a:gd name="connsiteY36" fmla="*/ 2869149 h 2969978"/>
              <a:gd name="connsiteX37" fmla="*/ 371789 w 11851944"/>
              <a:gd name="connsiteY37" fmla="*/ 2828956 h 2969978"/>
              <a:gd name="connsiteX38" fmla="*/ 0 w 11851944"/>
              <a:gd name="connsiteY38" fmla="*/ 2818908 h 2969978"/>
              <a:gd name="connsiteX0" fmla="*/ 120580 w 11851944"/>
              <a:gd name="connsiteY0" fmla="*/ 55611 h 2969978"/>
              <a:gd name="connsiteX1" fmla="*/ 281354 w 11851944"/>
              <a:gd name="connsiteY1" fmla="*/ 45562 h 2969978"/>
              <a:gd name="connsiteX2" fmla="*/ 673240 w 11851944"/>
              <a:gd name="connsiteY2" fmla="*/ 35514 h 2969978"/>
              <a:gd name="connsiteX3" fmla="*/ 1356528 w 11851944"/>
              <a:gd name="connsiteY3" fmla="*/ 85756 h 2969978"/>
              <a:gd name="connsiteX4" fmla="*/ 1758462 w 11851944"/>
              <a:gd name="connsiteY4" fmla="*/ 45562 h 2969978"/>
              <a:gd name="connsiteX5" fmla="*/ 2140299 w 11851944"/>
              <a:gd name="connsiteY5" fmla="*/ 45562 h 2969978"/>
              <a:gd name="connsiteX6" fmla="*/ 4652387 w 11851944"/>
              <a:gd name="connsiteY6" fmla="*/ 65659 h 2969978"/>
              <a:gd name="connsiteX7" fmla="*/ 4692580 w 11851944"/>
              <a:gd name="connsiteY7" fmla="*/ 75708 h 2969978"/>
              <a:gd name="connsiteX8" fmla="*/ 6420897 w 11851944"/>
              <a:gd name="connsiteY8" fmla="*/ 95804 h 2969978"/>
              <a:gd name="connsiteX9" fmla="*/ 7184571 w 11851944"/>
              <a:gd name="connsiteY9" fmla="*/ 65659 h 2969978"/>
              <a:gd name="connsiteX10" fmla="*/ 7928150 w 11851944"/>
              <a:gd name="connsiteY10" fmla="*/ 65659 h 2969978"/>
              <a:gd name="connsiteX11" fmla="*/ 8219552 w 11851944"/>
              <a:gd name="connsiteY11" fmla="*/ 95804 h 2969978"/>
              <a:gd name="connsiteX12" fmla="*/ 9606224 w 11851944"/>
              <a:gd name="connsiteY12" fmla="*/ 95804 h 2969978"/>
              <a:gd name="connsiteX13" fmla="*/ 9947868 w 11851944"/>
              <a:gd name="connsiteY13" fmla="*/ 65659 h 2969978"/>
              <a:gd name="connsiteX14" fmla="*/ 10791930 w 11851944"/>
              <a:gd name="connsiteY14" fmla="*/ 35514 h 2969978"/>
              <a:gd name="connsiteX15" fmla="*/ 11736475 w 11851944"/>
              <a:gd name="connsiteY15" fmla="*/ 55611 h 2969978"/>
              <a:gd name="connsiteX16" fmla="*/ 11806813 w 11851944"/>
              <a:gd name="connsiteY16" fmla="*/ 769044 h 2969978"/>
              <a:gd name="connsiteX17" fmla="*/ 11816862 w 11851944"/>
              <a:gd name="connsiteY17" fmla="*/ 2336587 h 2969978"/>
              <a:gd name="connsiteX18" fmla="*/ 11806813 w 11851944"/>
              <a:gd name="connsiteY18" fmla="*/ 2828956 h 2969978"/>
              <a:gd name="connsiteX19" fmla="*/ 11033090 w 11851944"/>
              <a:gd name="connsiteY19" fmla="*/ 2859101 h 2969978"/>
              <a:gd name="connsiteX20" fmla="*/ 10128739 w 11851944"/>
              <a:gd name="connsiteY20" fmla="*/ 2859101 h 2969978"/>
              <a:gd name="connsiteX21" fmla="*/ 9555982 w 11851944"/>
              <a:gd name="connsiteY21" fmla="*/ 2859101 h 2969978"/>
              <a:gd name="connsiteX22" fmla="*/ 9204290 w 11851944"/>
              <a:gd name="connsiteY22" fmla="*/ 2808859 h 2969978"/>
              <a:gd name="connsiteX23" fmla="*/ 7486022 w 11851944"/>
              <a:gd name="connsiteY23" fmla="*/ 2818908 h 2969978"/>
              <a:gd name="connsiteX24" fmla="*/ 6863024 w 11851944"/>
              <a:gd name="connsiteY24" fmla="*/ 2839004 h 2969978"/>
              <a:gd name="connsiteX25" fmla="*/ 6722347 w 11851944"/>
              <a:gd name="connsiteY25" fmla="*/ 2828956 h 2969978"/>
              <a:gd name="connsiteX26" fmla="*/ 4903596 w 11851944"/>
              <a:gd name="connsiteY26" fmla="*/ 2879198 h 2969978"/>
              <a:gd name="connsiteX27" fmla="*/ 4059534 w 11851944"/>
              <a:gd name="connsiteY27" fmla="*/ 2859101 h 2969978"/>
              <a:gd name="connsiteX28" fmla="*/ 3064747 w 11851944"/>
              <a:gd name="connsiteY28" fmla="*/ 2839004 h 2969978"/>
              <a:gd name="connsiteX29" fmla="*/ 2009670 w 11851944"/>
              <a:gd name="connsiteY29" fmla="*/ 2849053 h 2969978"/>
              <a:gd name="connsiteX30" fmla="*/ 1678075 w 11851944"/>
              <a:gd name="connsiteY30" fmla="*/ 2939488 h 2969978"/>
              <a:gd name="connsiteX31" fmla="*/ 1607736 w 11851944"/>
              <a:gd name="connsiteY31" fmla="*/ 2969633 h 2969978"/>
              <a:gd name="connsiteX32" fmla="*/ 1135464 w 11851944"/>
              <a:gd name="connsiteY32" fmla="*/ 2949536 h 2969978"/>
              <a:gd name="connsiteX33" fmla="*/ 944545 w 11851944"/>
              <a:gd name="connsiteY33" fmla="*/ 2919391 h 2969978"/>
              <a:gd name="connsiteX34" fmla="*/ 723481 w 11851944"/>
              <a:gd name="connsiteY34" fmla="*/ 2879198 h 2969978"/>
              <a:gd name="connsiteX35" fmla="*/ 643095 w 11851944"/>
              <a:gd name="connsiteY35" fmla="*/ 2869149 h 2969978"/>
              <a:gd name="connsiteX36" fmla="*/ 371789 w 11851944"/>
              <a:gd name="connsiteY36" fmla="*/ 2828956 h 2969978"/>
              <a:gd name="connsiteX37" fmla="*/ 0 w 11851944"/>
              <a:gd name="connsiteY37" fmla="*/ 2818908 h 2969978"/>
              <a:gd name="connsiteX0" fmla="*/ 120580 w 11851944"/>
              <a:gd name="connsiteY0" fmla="*/ 55611 h 2974631"/>
              <a:gd name="connsiteX1" fmla="*/ 281354 w 11851944"/>
              <a:gd name="connsiteY1" fmla="*/ 45562 h 2974631"/>
              <a:gd name="connsiteX2" fmla="*/ 673240 w 11851944"/>
              <a:gd name="connsiteY2" fmla="*/ 35514 h 2974631"/>
              <a:gd name="connsiteX3" fmla="*/ 1356528 w 11851944"/>
              <a:gd name="connsiteY3" fmla="*/ 85756 h 2974631"/>
              <a:gd name="connsiteX4" fmla="*/ 1758462 w 11851944"/>
              <a:gd name="connsiteY4" fmla="*/ 45562 h 2974631"/>
              <a:gd name="connsiteX5" fmla="*/ 2140299 w 11851944"/>
              <a:gd name="connsiteY5" fmla="*/ 45562 h 2974631"/>
              <a:gd name="connsiteX6" fmla="*/ 4652387 w 11851944"/>
              <a:gd name="connsiteY6" fmla="*/ 65659 h 2974631"/>
              <a:gd name="connsiteX7" fmla="*/ 4692580 w 11851944"/>
              <a:gd name="connsiteY7" fmla="*/ 75708 h 2974631"/>
              <a:gd name="connsiteX8" fmla="*/ 6420897 w 11851944"/>
              <a:gd name="connsiteY8" fmla="*/ 95804 h 2974631"/>
              <a:gd name="connsiteX9" fmla="*/ 7184571 w 11851944"/>
              <a:gd name="connsiteY9" fmla="*/ 65659 h 2974631"/>
              <a:gd name="connsiteX10" fmla="*/ 7928150 w 11851944"/>
              <a:gd name="connsiteY10" fmla="*/ 65659 h 2974631"/>
              <a:gd name="connsiteX11" fmla="*/ 8219552 w 11851944"/>
              <a:gd name="connsiteY11" fmla="*/ 95804 h 2974631"/>
              <a:gd name="connsiteX12" fmla="*/ 9606224 w 11851944"/>
              <a:gd name="connsiteY12" fmla="*/ 95804 h 2974631"/>
              <a:gd name="connsiteX13" fmla="*/ 9947868 w 11851944"/>
              <a:gd name="connsiteY13" fmla="*/ 65659 h 2974631"/>
              <a:gd name="connsiteX14" fmla="*/ 10791930 w 11851944"/>
              <a:gd name="connsiteY14" fmla="*/ 35514 h 2974631"/>
              <a:gd name="connsiteX15" fmla="*/ 11736475 w 11851944"/>
              <a:gd name="connsiteY15" fmla="*/ 55611 h 2974631"/>
              <a:gd name="connsiteX16" fmla="*/ 11806813 w 11851944"/>
              <a:gd name="connsiteY16" fmla="*/ 769044 h 2974631"/>
              <a:gd name="connsiteX17" fmla="*/ 11816862 w 11851944"/>
              <a:gd name="connsiteY17" fmla="*/ 2336587 h 2974631"/>
              <a:gd name="connsiteX18" fmla="*/ 11806813 w 11851944"/>
              <a:gd name="connsiteY18" fmla="*/ 2828956 h 2974631"/>
              <a:gd name="connsiteX19" fmla="*/ 11033090 w 11851944"/>
              <a:gd name="connsiteY19" fmla="*/ 2859101 h 2974631"/>
              <a:gd name="connsiteX20" fmla="*/ 10128739 w 11851944"/>
              <a:gd name="connsiteY20" fmla="*/ 2859101 h 2974631"/>
              <a:gd name="connsiteX21" fmla="*/ 9555982 w 11851944"/>
              <a:gd name="connsiteY21" fmla="*/ 2859101 h 2974631"/>
              <a:gd name="connsiteX22" fmla="*/ 9204290 w 11851944"/>
              <a:gd name="connsiteY22" fmla="*/ 2808859 h 2974631"/>
              <a:gd name="connsiteX23" fmla="*/ 7486022 w 11851944"/>
              <a:gd name="connsiteY23" fmla="*/ 2818908 h 2974631"/>
              <a:gd name="connsiteX24" fmla="*/ 6863024 w 11851944"/>
              <a:gd name="connsiteY24" fmla="*/ 2839004 h 2974631"/>
              <a:gd name="connsiteX25" fmla="*/ 6722347 w 11851944"/>
              <a:gd name="connsiteY25" fmla="*/ 2828956 h 2974631"/>
              <a:gd name="connsiteX26" fmla="*/ 4903596 w 11851944"/>
              <a:gd name="connsiteY26" fmla="*/ 2879198 h 2974631"/>
              <a:gd name="connsiteX27" fmla="*/ 4059534 w 11851944"/>
              <a:gd name="connsiteY27" fmla="*/ 2859101 h 2974631"/>
              <a:gd name="connsiteX28" fmla="*/ 3064747 w 11851944"/>
              <a:gd name="connsiteY28" fmla="*/ 2839004 h 2974631"/>
              <a:gd name="connsiteX29" fmla="*/ 2009670 w 11851944"/>
              <a:gd name="connsiteY29" fmla="*/ 2849053 h 2974631"/>
              <a:gd name="connsiteX30" fmla="*/ 1607736 w 11851944"/>
              <a:gd name="connsiteY30" fmla="*/ 2969633 h 2974631"/>
              <a:gd name="connsiteX31" fmla="*/ 1135464 w 11851944"/>
              <a:gd name="connsiteY31" fmla="*/ 2949536 h 2974631"/>
              <a:gd name="connsiteX32" fmla="*/ 944545 w 11851944"/>
              <a:gd name="connsiteY32" fmla="*/ 2919391 h 2974631"/>
              <a:gd name="connsiteX33" fmla="*/ 723481 w 11851944"/>
              <a:gd name="connsiteY33" fmla="*/ 2879198 h 2974631"/>
              <a:gd name="connsiteX34" fmla="*/ 643095 w 11851944"/>
              <a:gd name="connsiteY34" fmla="*/ 2869149 h 2974631"/>
              <a:gd name="connsiteX35" fmla="*/ 371789 w 11851944"/>
              <a:gd name="connsiteY35" fmla="*/ 2828956 h 2974631"/>
              <a:gd name="connsiteX36" fmla="*/ 0 w 11851944"/>
              <a:gd name="connsiteY36" fmla="*/ 2818908 h 2974631"/>
              <a:gd name="connsiteX0" fmla="*/ 120580 w 11851944"/>
              <a:gd name="connsiteY0" fmla="*/ 55611 h 2949536"/>
              <a:gd name="connsiteX1" fmla="*/ 281354 w 11851944"/>
              <a:gd name="connsiteY1" fmla="*/ 45562 h 2949536"/>
              <a:gd name="connsiteX2" fmla="*/ 673240 w 11851944"/>
              <a:gd name="connsiteY2" fmla="*/ 35514 h 2949536"/>
              <a:gd name="connsiteX3" fmla="*/ 1356528 w 11851944"/>
              <a:gd name="connsiteY3" fmla="*/ 85756 h 2949536"/>
              <a:gd name="connsiteX4" fmla="*/ 1758462 w 11851944"/>
              <a:gd name="connsiteY4" fmla="*/ 45562 h 2949536"/>
              <a:gd name="connsiteX5" fmla="*/ 2140299 w 11851944"/>
              <a:gd name="connsiteY5" fmla="*/ 45562 h 2949536"/>
              <a:gd name="connsiteX6" fmla="*/ 4652387 w 11851944"/>
              <a:gd name="connsiteY6" fmla="*/ 65659 h 2949536"/>
              <a:gd name="connsiteX7" fmla="*/ 4692580 w 11851944"/>
              <a:gd name="connsiteY7" fmla="*/ 75708 h 2949536"/>
              <a:gd name="connsiteX8" fmla="*/ 6420897 w 11851944"/>
              <a:gd name="connsiteY8" fmla="*/ 95804 h 2949536"/>
              <a:gd name="connsiteX9" fmla="*/ 7184571 w 11851944"/>
              <a:gd name="connsiteY9" fmla="*/ 65659 h 2949536"/>
              <a:gd name="connsiteX10" fmla="*/ 7928150 w 11851944"/>
              <a:gd name="connsiteY10" fmla="*/ 65659 h 2949536"/>
              <a:gd name="connsiteX11" fmla="*/ 8219552 w 11851944"/>
              <a:gd name="connsiteY11" fmla="*/ 95804 h 2949536"/>
              <a:gd name="connsiteX12" fmla="*/ 9606224 w 11851944"/>
              <a:gd name="connsiteY12" fmla="*/ 95804 h 2949536"/>
              <a:gd name="connsiteX13" fmla="*/ 9947868 w 11851944"/>
              <a:gd name="connsiteY13" fmla="*/ 65659 h 2949536"/>
              <a:gd name="connsiteX14" fmla="*/ 10791930 w 11851944"/>
              <a:gd name="connsiteY14" fmla="*/ 35514 h 2949536"/>
              <a:gd name="connsiteX15" fmla="*/ 11736475 w 11851944"/>
              <a:gd name="connsiteY15" fmla="*/ 55611 h 2949536"/>
              <a:gd name="connsiteX16" fmla="*/ 11806813 w 11851944"/>
              <a:gd name="connsiteY16" fmla="*/ 769044 h 2949536"/>
              <a:gd name="connsiteX17" fmla="*/ 11816862 w 11851944"/>
              <a:gd name="connsiteY17" fmla="*/ 2336587 h 2949536"/>
              <a:gd name="connsiteX18" fmla="*/ 11806813 w 11851944"/>
              <a:gd name="connsiteY18" fmla="*/ 2828956 h 2949536"/>
              <a:gd name="connsiteX19" fmla="*/ 11033090 w 11851944"/>
              <a:gd name="connsiteY19" fmla="*/ 2859101 h 2949536"/>
              <a:gd name="connsiteX20" fmla="*/ 10128739 w 11851944"/>
              <a:gd name="connsiteY20" fmla="*/ 2859101 h 2949536"/>
              <a:gd name="connsiteX21" fmla="*/ 9555982 w 11851944"/>
              <a:gd name="connsiteY21" fmla="*/ 2859101 h 2949536"/>
              <a:gd name="connsiteX22" fmla="*/ 9204290 w 11851944"/>
              <a:gd name="connsiteY22" fmla="*/ 2808859 h 2949536"/>
              <a:gd name="connsiteX23" fmla="*/ 7486022 w 11851944"/>
              <a:gd name="connsiteY23" fmla="*/ 2818908 h 2949536"/>
              <a:gd name="connsiteX24" fmla="*/ 6863024 w 11851944"/>
              <a:gd name="connsiteY24" fmla="*/ 2839004 h 2949536"/>
              <a:gd name="connsiteX25" fmla="*/ 6722347 w 11851944"/>
              <a:gd name="connsiteY25" fmla="*/ 2828956 h 2949536"/>
              <a:gd name="connsiteX26" fmla="*/ 4903596 w 11851944"/>
              <a:gd name="connsiteY26" fmla="*/ 2879198 h 2949536"/>
              <a:gd name="connsiteX27" fmla="*/ 4059534 w 11851944"/>
              <a:gd name="connsiteY27" fmla="*/ 2859101 h 2949536"/>
              <a:gd name="connsiteX28" fmla="*/ 3064747 w 11851944"/>
              <a:gd name="connsiteY28" fmla="*/ 2839004 h 2949536"/>
              <a:gd name="connsiteX29" fmla="*/ 2009670 w 11851944"/>
              <a:gd name="connsiteY29" fmla="*/ 2849053 h 2949536"/>
              <a:gd name="connsiteX30" fmla="*/ 1135464 w 11851944"/>
              <a:gd name="connsiteY30" fmla="*/ 2949536 h 2949536"/>
              <a:gd name="connsiteX31" fmla="*/ 944545 w 11851944"/>
              <a:gd name="connsiteY31" fmla="*/ 2919391 h 2949536"/>
              <a:gd name="connsiteX32" fmla="*/ 723481 w 11851944"/>
              <a:gd name="connsiteY32" fmla="*/ 2879198 h 2949536"/>
              <a:gd name="connsiteX33" fmla="*/ 643095 w 11851944"/>
              <a:gd name="connsiteY33" fmla="*/ 2869149 h 2949536"/>
              <a:gd name="connsiteX34" fmla="*/ 371789 w 11851944"/>
              <a:gd name="connsiteY34" fmla="*/ 2828956 h 2949536"/>
              <a:gd name="connsiteX35" fmla="*/ 0 w 11851944"/>
              <a:gd name="connsiteY35" fmla="*/ 2818908 h 2949536"/>
              <a:gd name="connsiteX0" fmla="*/ 120580 w 11851944"/>
              <a:gd name="connsiteY0" fmla="*/ 55611 h 2949840"/>
              <a:gd name="connsiteX1" fmla="*/ 281354 w 11851944"/>
              <a:gd name="connsiteY1" fmla="*/ 45562 h 2949840"/>
              <a:gd name="connsiteX2" fmla="*/ 673240 w 11851944"/>
              <a:gd name="connsiteY2" fmla="*/ 35514 h 2949840"/>
              <a:gd name="connsiteX3" fmla="*/ 1356528 w 11851944"/>
              <a:gd name="connsiteY3" fmla="*/ 85756 h 2949840"/>
              <a:gd name="connsiteX4" fmla="*/ 1758462 w 11851944"/>
              <a:gd name="connsiteY4" fmla="*/ 45562 h 2949840"/>
              <a:gd name="connsiteX5" fmla="*/ 2140299 w 11851944"/>
              <a:gd name="connsiteY5" fmla="*/ 45562 h 2949840"/>
              <a:gd name="connsiteX6" fmla="*/ 4652387 w 11851944"/>
              <a:gd name="connsiteY6" fmla="*/ 65659 h 2949840"/>
              <a:gd name="connsiteX7" fmla="*/ 4692580 w 11851944"/>
              <a:gd name="connsiteY7" fmla="*/ 75708 h 2949840"/>
              <a:gd name="connsiteX8" fmla="*/ 6420897 w 11851944"/>
              <a:gd name="connsiteY8" fmla="*/ 95804 h 2949840"/>
              <a:gd name="connsiteX9" fmla="*/ 7184571 w 11851944"/>
              <a:gd name="connsiteY9" fmla="*/ 65659 h 2949840"/>
              <a:gd name="connsiteX10" fmla="*/ 7928150 w 11851944"/>
              <a:gd name="connsiteY10" fmla="*/ 65659 h 2949840"/>
              <a:gd name="connsiteX11" fmla="*/ 8219552 w 11851944"/>
              <a:gd name="connsiteY11" fmla="*/ 95804 h 2949840"/>
              <a:gd name="connsiteX12" fmla="*/ 9606224 w 11851944"/>
              <a:gd name="connsiteY12" fmla="*/ 95804 h 2949840"/>
              <a:gd name="connsiteX13" fmla="*/ 9947868 w 11851944"/>
              <a:gd name="connsiteY13" fmla="*/ 65659 h 2949840"/>
              <a:gd name="connsiteX14" fmla="*/ 10791930 w 11851944"/>
              <a:gd name="connsiteY14" fmla="*/ 35514 h 2949840"/>
              <a:gd name="connsiteX15" fmla="*/ 11736475 w 11851944"/>
              <a:gd name="connsiteY15" fmla="*/ 55611 h 2949840"/>
              <a:gd name="connsiteX16" fmla="*/ 11806813 w 11851944"/>
              <a:gd name="connsiteY16" fmla="*/ 769044 h 2949840"/>
              <a:gd name="connsiteX17" fmla="*/ 11816862 w 11851944"/>
              <a:gd name="connsiteY17" fmla="*/ 2336587 h 2949840"/>
              <a:gd name="connsiteX18" fmla="*/ 11806813 w 11851944"/>
              <a:gd name="connsiteY18" fmla="*/ 2828956 h 2949840"/>
              <a:gd name="connsiteX19" fmla="*/ 11033090 w 11851944"/>
              <a:gd name="connsiteY19" fmla="*/ 2859101 h 2949840"/>
              <a:gd name="connsiteX20" fmla="*/ 10128739 w 11851944"/>
              <a:gd name="connsiteY20" fmla="*/ 2859101 h 2949840"/>
              <a:gd name="connsiteX21" fmla="*/ 9555982 w 11851944"/>
              <a:gd name="connsiteY21" fmla="*/ 2859101 h 2949840"/>
              <a:gd name="connsiteX22" fmla="*/ 9204290 w 11851944"/>
              <a:gd name="connsiteY22" fmla="*/ 2808859 h 2949840"/>
              <a:gd name="connsiteX23" fmla="*/ 7486022 w 11851944"/>
              <a:gd name="connsiteY23" fmla="*/ 2818908 h 2949840"/>
              <a:gd name="connsiteX24" fmla="*/ 6863024 w 11851944"/>
              <a:gd name="connsiteY24" fmla="*/ 2839004 h 2949840"/>
              <a:gd name="connsiteX25" fmla="*/ 6722347 w 11851944"/>
              <a:gd name="connsiteY25" fmla="*/ 2828956 h 2949840"/>
              <a:gd name="connsiteX26" fmla="*/ 4903596 w 11851944"/>
              <a:gd name="connsiteY26" fmla="*/ 2879198 h 2949840"/>
              <a:gd name="connsiteX27" fmla="*/ 4059534 w 11851944"/>
              <a:gd name="connsiteY27" fmla="*/ 2859101 h 2949840"/>
              <a:gd name="connsiteX28" fmla="*/ 3064747 w 11851944"/>
              <a:gd name="connsiteY28" fmla="*/ 2839004 h 2949840"/>
              <a:gd name="connsiteX29" fmla="*/ 2009670 w 11851944"/>
              <a:gd name="connsiteY29" fmla="*/ 2849053 h 2949840"/>
              <a:gd name="connsiteX30" fmla="*/ 1205803 w 11851944"/>
              <a:gd name="connsiteY30" fmla="*/ 2929437 h 2949840"/>
              <a:gd name="connsiteX31" fmla="*/ 1135464 w 11851944"/>
              <a:gd name="connsiteY31" fmla="*/ 2949536 h 2949840"/>
              <a:gd name="connsiteX32" fmla="*/ 944545 w 11851944"/>
              <a:gd name="connsiteY32" fmla="*/ 2919391 h 2949840"/>
              <a:gd name="connsiteX33" fmla="*/ 723481 w 11851944"/>
              <a:gd name="connsiteY33" fmla="*/ 2879198 h 2949840"/>
              <a:gd name="connsiteX34" fmla="*/ 643095 w 11851944"/>
              <a:gd name="connsiteY34" fmla="*/ 2869149 h 2949840"/>
              <a:gd name="connsiteX35" fmla="*/ 371789 w 11851944"/>
              <a:gd name="connsiteY35" fmla="*/ 2828956 h 2949840"/>
              <a:gd name="connsiteX36" fmla="*/ 0 w 11851944"/>
              <a:gd name="connsiteY36" fmla="*/ 2818908 h 2949840"/>
              <a:gd name="connsiteX0" fmla="*/ 120580 w 11851944"/>
              <a:gd name="connsiteY0" fmla="*/ 55611 h 2934038"/>
              <a:gd name="connsiteX1" fmla="*/ 281354 w 11851944"/>
              <a:gd name="connsiteY1" fmla="*/ 45562 h 2934038"/>
              <a:gd name="connsiteX2" fmla="*/ 673240 w 11851944"/>
              <a:gd name="connsiteY2" fmla="*/ 35514 h 2934038"/>
              <a:gd name="connsiteX3" fmla="*/ 1356528 w 11851944"/>
              <a:gd name="connsiteY3" fmla="*/ 85756 h 2934038"/>
              <a:gd name="connsiteX4" fmla="*/ 1758462 w 11851944"/>
              <a:gd name="connsiteY4" fmla="*/ 45562 h 2934038"/>
              <a:gd name="connsiteX5" fmla="*/ 2140299 w 11851944"/>
              <a:gd name="connsiteY5" fmla="*/ 45562 h 2934038"/>
              <a:gd name="connsiteX6" fmla="*/ 4652387 w 11851944"/>
              <a:gd name="connsiteY6" fmla="*/ 65659 h 2934038"/>
              <a:gd name="connsiteX7" fmla="*/ 4692580 w 11851944"/>
              <a:gd name="connsiteY7" fmla="*/ 75708 h 2934038"/>
              <a:gd name="connsiteX8" fmla="*/ 6420897 w 11851944"/>
              <a:gd name="connsiteY8" fmla="*/ 95804 h 2934038"/>
              <a:gd name="connsiteX9" fmla="*/ 7184571 w 11851944"/>
              <a:gd name="connsiteY9" fmla="*/ 65659 h 2934038"/>
              <a:gd name="connsiteX10" fmla="*/ 7928150 w 11851944"/>
              <a:gd name="connsiteY10" fmla="*/ 65659 h 2934038"/>
              <a:gd name="connsiteX11" fmla="*/ 8219552 w 11851944"/>
              <a:gd name="connsiteY11" fmla="*/ 95804 h 2934038"/>
              <a:gd name="connsiteX12" fmla="*/ 9606224 w 11851944"/>
              <a:gd name="connsiteY12" fmla="*/ 95804 h 2934038"/>
              <a:gd name="connsiteX13" fmla="*/ 9947868 w 11851944"/>
              <a:gd name="connsiteY13" fmla="*/ 65659 h 2934038"/>
              <a:gd name="connsiteX14" fmla="*/ 10791930 w 11851944"/>
              <a:gd name="connsiteY14" fmla="*/ 35514 h 2934038"/>
              <a:gd name="connsiteX15" fmla="*/ 11736475 w 11851944"/>
              <a:gd name="connsiteY15" fmla="*/ 55611 h 2934038"/>
              <a:gd name="connsiteX16" fmla="*/ 11806813 w 11851944"/>
              <a:gd name="connsiteY16" fmla="*/ 769044 h 2934038"/>
              <a:gd name="connsiteX17" fmla="*/ 11816862 w 11851944"/>
              <a:gd name="connsiteY17" fmla="*/ 2336587 h 2934038"/>
              <a:gd name="connsiteX18" fmla="*/ 11806813 w 11851944"/>
              <a:gd name="connsiteY18" fmla="*/ 2828956 h 2934038"/>
              <a:gd name="connsiteX19" fmla="*/ 11033090 w 11851944"/>
              <a:gd name="connsiteY19" fmla="*/ 2859101 h 2934038"/>
              <a:gd name="connsiteX20" fmla="*/ 10128739 w 11851944"/>
              <a:gd name="connsiteY20" fmla="*/ 2859101 h 2934038"/>
              <a:gd name="connsiteX21" fmla="*/ 9555982 w 11851944"/>
              <a:gd name="connsiteY21" fmla="*/ 2859101 h 2934038"/>
              <a:gd name="connsiteX22" fmla="*/ 9204290 w 11851944"/>
              <a:gd name="connsiteY22" fmla="*/ 2808859 h 2934038"/>
              <a:gd name="connsiteX23" fmla="*/ 7486022 w 11851944"/>
              <a:gd name="connsiteY23" fmla="*/ 2818908 h 2934038"/>
              <a:gd name="connsiteX24" fmla="*/ 6863024 w 11851944"/>
              <a:gd name="connsiteY24" fmla="*/ 2839004 h 2934038"/>
              <a:gd name="connsiteX25" fmla="*/ 6722347 w 11851944"/>
              <a:gd name="connsiteY25" fmla="*/ 2828956 h 2934038"/>
              <a:gd name="connsiteX26" fmla="*/ 4903596 w 11851944"/>
              <a:gd name="connsiteY26" fmla="*/ 2879198 h 2934038"/>
              <a:gd name="connsiteX27" fmla="*/ 4059534 w 11851944"/>
              <a:gd name="connsiteY27" fmla="*/ 2859101 h 2934038"/>
              <a:gd name="connsiteX28" fmla="*/ 3064747 w 11851944"/>
              <a:gd name="connsiteY28" fmla="*/ 2839004 h 2934038"/>
              <a:gd name="connsiteX29" fmla="*/ 2009670 w 11851944"/>
              <a:gd name="connsiteY29" fmla="*/ 2849053 h 2934038"/>
              <a:gd name="connsiteX30" fmla="*/ 1205803 w 11851944"/>
              <a:gd name="connsiteY30" fmla="*/ 2929437 h 2934038"/>
              <a:gd name="connsiteX31" fmla="*/ 944545 w 11851944"/>
              <a:gd name="connsiteY31" fmla="*/ 2919391 h 2934038"/>
              <a:gd name="connsiteX32" fmla="*/ 723481 w 11851944"/>
              <a:gd name="connsiteY32" fmla="*/ 2879198 h 2934038"/>
              <a:gd name="connsiteX33" fmla="*/ 643095 w 11851944"/>
              <a:gd name="connsiteY33" fmla="*/ 2869149 h 2934038"/>
              <a:gd name="connsiteX34" fmla="*/ 371789 w 11851944"/>
              <a:gd name="connsiteY34" fmla="*/ 2828956 h 2934038"/>
              <a:gd name="connsiteX35" fmla="*/ 0 w 11851944"/>
              <a:gd name="connsiteY35" fmla="*/ 2818908 h 2934038"/>
              <a:gd name="connsiteX0" fmla="*/ 120580 w 11851944"/>
              <a:gd name="connsiteY0" fmla="*/ 55611 h 2919923"/>
              <a:gd name="connsiteX1" fmla="*/ 281354 w 11851944"/>
              <a:gd name="connsiteY1" fmla="*/ 45562 h 2919923"/>
              <a:gd name="connsiteX2" fmla="*/ 673240 w 11851944"/>
              <a:gd name="connsiteY2" fmla="*/ 35514 h 2919923"/>
              <a:gd name="connsiteX3" fmla="*/ 1356528 w 11851944"/>
              <a:gd name="connsiteY3" fmla="*/ 85756 h 2919923"/>
              <a:gd name="connsiteX4" fmla="*/ 1758462 w 11851944"/>
              <a:gd name="connsiteY4" fmla="*/ 45562 h 2919923"/>
              <a:gd name="connsiteX5" fmla="*/ 2140299 w 11851944"/>
              <a:gd name="connsiteY5" fmla="*/ 45562 h 2919923"/>
              <a:gd name="connsiteX6" fmla="*/ 4652387 w 11851944"/>
              <a:gd name="connsiteY6" fmla="*/ 65659 h 2919923"/>
              <a:gd name="connsiteX7" fmla="*/ 4692580 w 11851944"/>
              <a:gd name="connsiteY7" fmla="*/ 75708 h 2919923"/>
              <a:gd name="connsiteX8" fmla="*/ 6420897 w 11851944"/>
              <a:gd name="connsiteY8" fmla="*/ 95804 h 2919923"/>
              <a:gd name="connsiteX9" fmla="*/ 7184571 w 11851944"/>
              <a:gd name="connsiteY9" fmla="*/ 65659 h 2919923"/>
              <a:gd name="connsiteX10" fmla="*/ 7928150 w 11851944"/>
              <a:gd name="connsiteY10" fmla="*/ 65659 h 2919923"/>
              <a:gd name="connsiteX11" fmla="*/ 8219552 w 11851944"/>
              <a:gd name="connsiteY11" fmla="*/ 95804 h 2919923"/>
              <a:gd name="connsiteX12" fmla="*/ 9606224 w 11851944"/>
              <a:gd name="connsiteY12" fmla="*/ 95804 h 2919923"/>
              <a:gd name="connsiteX13" fmla="*/ 9947868 w 11851944"/>
              <a:gd name="connsiteY13" fmla="*/ 65659 h 2919923"/>
              <a:gd name="connsiteX14" fmla="*/ 10791930 w 11851944"/>
              <a:gd name="connsiteY14" fmla="*/ 35514 h 2919923"/>
              <a:gd name="connsiteX15" fmla="*/ 11736475 w 11851944"/>
              <a:gd name="connsiteY15" fmla="*/ 55611 h 2919923"/>
              <a:gd name="connsiteX16" fmla="*/ 11806813 w 11851944"/>
              <a:gd name="connsiteY16" fmla="*/ 769044 h 2919923"/>
              <a:gd name="connsiteX17" fmla="*/ 11816862 w 11851944"/>
              <a:gd name="connsiteY17" fmla="*/ 2336587 h 2919923"/>
              <a:gd name="connsiteX18" fmla="*/ 11806813 w 11851944"/>
              <a:gd name="connsiteY18" fmla="*/ 2828956 h 2919923"/>
              <a:gd name="connsiteX19" fmla="*/ 11033090 w 11851944"/>
              <a:gd name="connsiteY19" fmla="*/ 2859101 h 2919923"/>
              <a:gd name="connsiteX20" fmla="*/ 10128739 w 11851944"/>
              <a:gd name="connsiteY20" fmla="*/ 2859101 h 2919923"/>
              <a:gd name="connsiteX21" fmla="*/ 9555982 w 11851944"/>
              <a:gd name="connsiteY21" fmla="*/ 2859101 h 2919923"/>
              <a:gd name="connsiteX22" fmla="*/ 9204290 w 11851944"/>
              <a:gd name="connsiteY22" fmla="*/ 2808859 h 2919923"/>
              <a:gd name="connsiteX23" fmla="*/ 7486022 w 11851944"/>
              <a:gd name="connsiteY23" fmla="*/ 2818908 h 2919923"/>
              <a:gd name="connsiteX24" fmla="*/ 6863024 w 11851944"/>
              <a:gd name="connsiteY24" fmla="*/ 2839004 h 2919923"/>
              <a:gd name="connsiteX25" fmla="*/ 6722347 w 11851944"/>
              <a:gd name="connsiteY25" fmla="*/ 2828956 h 2919923"/>
              <a:gd name="connsiteX26" fmla="*/ 4903596 w 11851944"/>
              <a:gd name="connsiteY26" fmla="*/ 2879198 h 2919923"/>
              <a:gd name="connsiteX27" fmla="*/ 4059534 w 11851944"/>
              <a:gd name="connsiteY27" fmla="*/ 2859101 h 2919923"/>
              <a:gd name="connsiteX28" fmla="*/ 3064747 w 11851944"/>
              <a:gd name="connsiteY28" fmla="*/ 2839004 h 2919923"/>
              <a:gd name="connsiteX29" fmla="*/ 2009670 w 11851944"/>
              <a:gd name="connsiteY29" fmla="*/ 2849053 h 2919923"/>
              <a:gd name="connsiteX30" fmla="*/ 944545 w 11851944"/>
              <a:gd name="connsiteY30" fmla="*/ 2919391 h 2919923"/>
              <a:gd name="connsiteX31" fmla="*/ 723481 w 11851944"/>
              <a:gd name="connsiteY31" fmla="*/ 2879198 h 2919923"/>
              <a:gd name="connsiteX32" fmla="*/ 643095 w 11851944"/>
              <a:gd name="connsiteY32" fmla="*/ 2869149 h 2919923"/>
              <a:gd name="connsiteX33" fmla="*/ 371789 w 11851944"/>
              <a:gd name="connsiteY33" fmla="*/ 2828956 h 2919923"/>
              <a:gd name="connsiteX34" fmla="*/ 0 w 11851944"/>
              <a:gd name="connsiteY34" fmla="*/ 2818908 h 2919923"/>
              <a:gd name="connsiteX0" fmla="*/ 120580 w 11851944"/>
              <a:gd name="connsiteY0" fmla="*/ 55611 h 2890922"/>
              <a:gd name="connsiteX1" fmla="*/ 281354 w 11851944"/>
              <a:gd name="connsiteY1" fmla="*/ 45562 h 2890922"/>
              <a:gd name="connsiteX2" fmla="*/ 673240 w 11851944"/>
              <a:gd name="connsiteY2" fmla="*/ 35514 h 2890922"/>
              <a:gd name="connsiteX3" fmla="*/ 1356528 w 11851944"/>
              <a:gd name="connsiteY3" fmla="*/ 85756 h 2890922"/>
              <a:gd name="connsiteX4" fmla="*/ 1758462 w 11851944"/>
              <a:gd name="connsiteY4" fmla="*/ 45562 h 2890922"/>
              <a:gd name="connsiteX5" fmla="*/ 2140299 w 11851944"/>
              <a:gd name="connsiteY5" fmla="*/ 45562 h 2890922"/>
              <a:gd name="connsiteX6" fmla="*/ 4652387 w 11851944"/>
              <a:gd name="connsiteY6" fmla="*/ 65659 h 2890922"/>
              <a:gd name="connsiteX7" fmla="*/ 4692580 w 11851944"/>
              <a:gd name="connsiteY7" fmla="*/ 75708 h 2890922"/>
              <a:gd name="connsiteX8" fmla="*/ 6420897 w 11851944"/>
              <a:gd name="connsiteY8" fmla="*/ 95804 h 2890922"/>
              <a:gd name="connsiteX9" fmla="*/ 7184571 w 11851944"/>
              <a:gd name="connsiteY9" fmla="*/ 65659 h 2890922"/>
              <a:gd name="connsiteX10" fmla="*/ 7928150 w 11851944"/>
              <a:gd name="connsiteY10" fmla="*/ 65659 h 2890922"/>
              <a:gd name="connsiteX11" fmla="*/ 8219552 w 11851944"/>
              <a:gd name="connsiteY11" fmla="*/ 95804 h 2890922"/>
              <a:gd name="connsiteX12" fmla="*/ 9606224 w 11851944"/>
              <a:gd name="connsiteY12" fmla="*/ 95804 h 2890922"/>
              <a:gd name="connsiteX13" fmla="*/ 9947868 w 11851944"/>
              <a:gd name="connsiteY13" fmla="*/ 65659 h 2890922"/>
              <a:gd name="connsiteX14" fmla="*/ 10791930 w 11851944"/>
              <a:gd name="connsiteY14" fmla="*/ 35514 h 2890922"/>
              <a:gd name="connsiteX15" fmla="*/ 11736475 w 11851944"/>
              <a:gd name="connsiteY15" fmla="*/ 55611 h 2890922"/>
              <a:gd name="connsiteX16" fmla="*/ 11806813 w 11851944"/>
              <a:gd name="connsiteY16" fmla="*/ 769044 h 2890922"/>
              <a:gd name="connsiteX17" fmla="*/ 11816862 w 11851944"/>
              <a:gd name="connsiteY17" fmla="*/ 2336587 h 2890922"/>
              <a:gd name="connsiteX18" fmla="*/ 11806813 w 11851944"/>
              <a:gd name="connsiteY18" fmla="*/ 2828956 h 2890922"/>
              <a:gd name="connsiteX19" fmla="*/ 11033090 w 11851944"/>
              <a:gd name="connsiteY19" fmla="*/ 2859101 h 2890922"/>
              <a:gd name="connsiteX20" fmla="*/ 10128739 w 11851944"/>
              <a:gd name="connsiteY20" fmla="*/ 2859101 h 2890922"/>
              <a:gd name="connsiteX21" fmla="*/ 9555982 w 11851944"/>
              <a:gd name="connsiteY21" fmla="*/ 2859101 h 2890922"/>
              <a:gd name="connsiteX22" fmla="*/ 9204290 w 11851944"/>
              <a:gd name="connsiteY22" fmla="*/ 2808859 h 2890922"/>
              <a:gd name="connsiteX23" fmla="*/ 7486022 w 11851944"/>
              <a:gd name="connsiteY23" fmla="*/ 2818908 h 2890922"/>
              <a:gd name="connsiteX24" fmla="*/ 6863024 w 11851944"/>
              <a:gd name="connsiteY24" fmla="*/ 2839004 h 2890922"/>
              <a:gd name="connsiteX25" fmla="*/ 6722347 w 11851944"/>
              <a:gd name="connsiteY25" fmla="*/ 2828956 h 2890922"/>
              <a:gd name="connsiteX26" fmla="*/ 4903596 w 11851944"/>
              <a:gd name="connsiteY26" fmla="*/ 2879198 h 2890922"/>
              <a:gd name="connsiteX27" fmla="*/ 4059534 w 11851944"/>
              <a:gd name="connsiteY27" fmla="*/ 2859101 h 2890922"/>
              <a:gd name="connsiteX28" fmla="*/ 3064747 w 11851944"/>
              <a:gd name="connsiteY28" fmla="*/ 2839004 h 2890922"/>
              <a:gd name="connsiteX29" fmla="*/ 2009670 w 11851944"/>
              <a:gd name="connsiteY29" fmla="*/ 2849053 h 2890922"/>
              <a:gd name="connsiteX30" fmla="*/ 723481 w 11851944"/>
              <a:gd name="connsiteY30" fmla="*/ 2879198 h 2890922"/>
              <a:gd name="connsiteX31" fmla="*/ 643095 w 11851944"/>
              <a:gd name="connsiteY31" fmla="*/ 2869149 h 2890922"/>
              <a:gd name="connsiteX32" fmla="*/ 371789 w 11851944"/>
              <a:gd name="connsiteY32" fmla="*/ 2828956 h 2890922"/>
              <a:gd name="connsiteX33" fmla="*/ 0 w 11851944"/>
              <a:gd name="connsiteY33" fmla="*/ 2818908 h 2890922"/>
              <a:gd name="connsiteX0" fmla="*/ 120580 w 11851944"/>
              <a:gd name="connsiteY0" fmla="*/ 55611 h 2890922"/>
              <a:gd name="connsiteX1" fmla="*/ 281354 w 11851944"/>
              <a:gd name="connsiteY1" fmla="*/ 45562 h 2890922"/>
              <a:gd name="connsiteX2" fmla="*/ 673240 w 11851944"/>
              <a:gd name="connsiteY2" fmla="*/ 35514 h 2890922"/>
              <a:gd name="connsiteX3" fmla="*/ 1356528 w 11851944"/>
              <a:gd name="connsiteY3" fmla="*/ 85756 h 2890922"/>
              <a:gd name="connsiteX4" fmla="*/ 1758462 w 11851944"/>
              <a:gd name="connsiteY4" fmla="*/ 45562 h 2890922"/>
              <a:gd name="connsiteX5" fmla="*/ 2140299 w 11851944"/>
              <a:gd name="connsiteY5" fmla="*/ 45562 h 2890922"/>
              <a:gd name="connsiteX6" fmla="*/ 4652387 w 11851944"/>
              <a:gd name="connsiteY6" fmla="*/ 65659 h 2890922"/>
              <a:gd name="connsiteX7" fmla="*/ 4692580 w 11851944"/>
              <a:gd name="connsiteY7" fmla="*/ 75708 h 2890922"/>
              <a:gd name="connsiteX8" fmla="*/ 6420897 w 11851944"/>
              <a:gd name="connsiteY8" fmla="*/ 95804 h 2890922"/>
              <a:gd name="connsiteX9" fmla="*/ 7184571 w 11851944"/>
              <a:gd name="connsiteY9" fmla="*/ 65659 h 2890922"/>
              <a:gd name="connsiteX10" fmla="*/ 7928150 w 11851944"/>
              <a:gd name="connsiteY10" fmla="*/ 65659 h 2890922"/>
              <a:gd name="connsiteX11" fmla="*/ 8219552 w 11851944"/>
              <a:gd name="connsiteY11" fmla="*/ 95804 h 2890922"/>
              <a:gd name="connsiteX12" fmla="*/ 9606224 w 11851944"/>
              <a:gd name="connsiteY12" fmla="*/ 95804 h 2890922"/>
              <a:gd name="connsiteX13" fmla="*/ 9947868 w 11851944"/>
              <a:gd name="connsiteY13" fmla="*/ 65659 h 2890922"/>
              <a:gd name="connsiteX14" fmla="*/ 10791930 w 11851944"/>
              <a:gd name="connsiteY14" fmla="*/ 35514 h 2890922"/>
              <a:gd name="connsiteX15" fmla="*/ 11736475 w 11851944"/>
              <a:gd name="connsiteY15" fmla="*/ 55611 h 2890922"/>
              <a:gd name="connsiteX16" fmla="*/ 11806813 w 11851944"/>
              <a:gd name="connsiteY16" fmla="*/ 769044 h 2890922"/>
              <a:gd name="connsiteX17" fmla="*/ 11816862 w 11851944"/>
              <a:gd name="connsiteY17" fmla="*/ 2336587 h 2890922"/>
              <a:gd name="connsiteX18" fmla="*/ 11806813 w 11851944"/>
              <a:gd name="connsiteY18" fmla="*/ 2828956 h 2890922"/>
              <a:gd name="connsiteX19" fmla="*/ 11033090 w 11851944"/>
              <a:gd name="connsiteY19" fmla="*/ 2859101 h 2890922"/>
              <a:gd name="connsiteX20" fmla="*/ 10128739 w 11851944"/>
              <a:gd name="connsiteY20" fmla="*/ 2859101 h 2890922"/>
              <a:gd name="connsiteX21" fmla="*/ 9555982 w 11851944"/>
              <a:gd name="connsiteY21" fmla="*/ 2859101 h 2890922"/>
              <a:gd name="connsiteX22" fmla="*/ 9204290 w 11851944"/>
              <a:gd name="connsiteY22" fmla="*/ 2808859 h 2890922"/>
              <a:gd name="connsiteX23" fmla="*/ 7486022 w 11851944"/>
              <a:gd name="connsiteY23" fmla="*/ 2818908 h 2890922"/>
              <a:gd name="connsiteX24" fmla="*/ 6863024 w 11851944"/>
              <a:gd name="connsiteY24" fmla="*/ 2839004 h 2890922"/>
              <a:gd name="connsiteX25" fmla="*/ 6722347 w 11851944"/>
              <a:gd name="connsiteY25" fmla="*/ 2828956 h 2890922"/>
              <a:gd name="connsiteX26" fmla="*/ 4903596 w 11851944"/>
              <a:gd name="connsiteY26" fmla="*/ 2879198 h 2890922"/>
              <a:gd name="connsiteX27" fmla="*/ 4059534 w 11851944"/>
              <a:gd name="connsiteY27" fmla="*/ 2859101 h 2890922"/>
              <a:gd name="connsiteX28" fmla="*/ 3064747 w 11851944"/>
              <a:gd name="connsiteY28" fmla="*/ 2839004 h 2890922"/>
              <a:gd name="connsiteX29" fmla="*/ 2009670 w 11851944"/>
              <a:gd name="connsiteY29" fmla="*/ 2849053 h 2890922"/>
              <a:gd name="connsiteX30" fmla="*/ 643095 w 11851944"/>
              <a:gd name="connsiteY30" fmla="*/ 2869149 h 2890922"/>
              <a:gd name="connsiteX31" fmla="*/ 371789 w 11851944"/>
              <a:gd name="connsiteY31" fmla="*/ 2828956 h 2890922"/>
              <a:gd name="connsiteX32" fmla="*/ 0 w 11851944"/>
              <a:gd name="connsiteY32" fmla="*/ 2818908 h 2890922"/>
              <a:gd name="connsiteX0" fmla="*/ 0 w 11731364"/>
              <a:gd name="connsiteY0" fmla="*/ 55611 h 2890922"/>
              <a:gd name="connsiteX1" fmla="*/ 160774 w 11731364"/>
              <a:gd name="connsiteY1" fmla="*/ 45562 h 2890922"/>
              <a:gd name="connsiteX2" fmla="*/ 552660 w 11731364"/>
              <a:gd name="connsiteY2" fmla="*/ 35514 h 2890922"/>
              <a:gd name="connsiteX3" fmla="*/ 1235948 w 11731364"/>
              <a:gd name="connsiteY3" fmla="*/ 85756 h 2890922"/>
              <a:gd name="connsiteX4" fmla="*/ 1637882 w 11731364"/>
              <a:gd name="connsiteY4" fmla="*/ 45562 h 2890922"/>
              <a:gd name="connsiteX5" fmla="*/ 2019719 w 11731364"/>
              <a:gd name="connsiteY5" fmla="*/ 45562 h 2890922"/>
              <a:gd name="connsiteX6" fmla="*/ 4531807 w 11731364"/>
              <a:gd name="connsiteY6" fmla="*/ 65659 h 2890922"/>
              <a:gd name="connsiteX7" fmla="*/ 4572000 w 11731364"/>
              <a:gd name="connsiteY7" fmla="*/ 75708 h 2890922"/>
              <a:gd name="connsiteX8" fmla="*/ 6300317 w 11731364"/>
              <a:gd name="connsiteY8" fmla="*/ 95804 h 2890922"/>
              <a:gd name="connsiteX9" fmla="*/ 7063991 w 11731364"/>
              <a:gd name="connsiteY9" fmla="*/ 65659 h 2890922"/>
              <a:gd name="connsiteX10" fmla="*/ 7807570 w 11731364"/>
              <a:gd name="connsiteY10" fmla="*/ 65659 h 2890922"/>
              <a:gd name="connsiteX11" fmla="*/ 8098972 w 11731364"/>
              <a:gd name="connsiteY11" fmla="*/ 95804 h 2890922"/>
              <a:gd name="connsiteX12" fmla="*/ 9485644 w 11731364"/>
              <a:gd name="connsiteY12" fmla="*/ 95804 h 2890922"/>
              <a:gd name="connsiteX13" fmla="*/ 9827288 w 11731364"/>
              <a:gd name="connsiteY13" fmla="*/ 65659 h 2890922"/>
              <a:gd name="connsiteX14" fmla="*/ 10671350 w 11731364"/>
              <a:gd name="connsiteY14" fmla="*/ 35514 h 2890922"/>
              <a:gd name="connsiteX15" fmla="*/ 11615895 w 11731364"/>
              <a:gd name="connsiteY15" fmla="*/ 55611 h 2890922"/>
              <a:gd name="connsiteX16" fmla="*/ 11686233 w 11731364"/>
              <a:gd name="connsiteY16" fmla="*/ 769044 h 2890922"/>
              <a:gd name="connsiteX17" fmla="*/ 11696282 w 11731364"/>
              <a:gd name="connsiteY17" fmla="*/ 2336587 h 2890922"/>
              <a:gd name="connsiteX18" fmla="*/ 11686233 w 11731364"/>
              <a:gd name="connsiteY18" fmla="*/ 2828956 h 2890922"/>
              <a:gd name="connsiteX19" fmla="*/ 10912510 w 11731364"/>
              <a:gd name="connsiteY19" fmla="*/ 2859101 h 2890922"/>
              <a:gd name="connsiteX20" fmla="*/ 10008159 w 11731364"/>
              <a:gd name="connsiteY20" fmla="*/ 2859101 h 2890922"/>
              <a:gd name="connsiteX21" fmla="*/ 9435402 w 11731364"/>
              <a:gd name="connsiteY21" fmla="*/ 2859101 h 2890922"/>
              <a:gd name="connsiteX22" fmla="*/ 9083710 w 11731364"/>
              <a:gd name="connsiteY22" fmla="*/ 2808859 h 2890922"/>
              <a:gd name="connsiteX23" fmla="*/ 7365442 w 11731364"/>
              <a:gd name="connsiteY23" fmla="*/ 2818908 h 2890922"/>
              <a:gd name="connsiteX24" fmla="*/ 6742444 w 11731364"/>
              <a:gd name="connsiteY24" fmla="*/ 2839004 h 2890922"/>
              <a:gd name="connsiteX25" fmla="*/ 6601767 w 11731364"/>
              <a:gd name="connsiteY25" fmla="*/ 2828956 h 2890922"/>
              <a:gd name="connsiteX26" fmla="*/ 4783016 w 11731364"/>
              <a:gd name="connsiteY26" fmla="*/ 2879198 h 2890922"/>
              <a:gd name="connsiteX27" fmla="*/ 3938954 w 11731364"/>
              <a:gd name="connsiteY27" fmla="*/ 2859101 h 2890922"/>
              <a:gd name="connsiteX28" fmla="*/ 2944167 w 11731364"/>
              <a:gd name="connsiteY28" fmla="*/ 2839004 h 2890922"/>
              <a:gd name="connsiteX29" fmla="*/ 1889090 w 11731364"/>
              <a:gd name="connsiteY29" fmla="*/ 2849053 h 2890922"/>
              <a:gd name="connsiteX30" fmla="*/ 522515 w 11731364"/>
              <a:gd name="connsiteY30" fmla="*/ 2869149 h 2890922"/>
              <a:gd name="connsiteX31" fmla="*/ 251209 w 11731364"/>
              <a:gd name="connsiteY31" fmla="*/ 2828956 h 2890922"/>
              <a:gd name="connsiteX32" fmla="*/ 10048 w 11731364"/>
              <a:gd name="connsiteY32" fmla="*/ 2839005 h 2890922"/>
              <a:gd name="connsiteX0" fmla="*/ 0 w 11731364"/>
              <a:gd name="connsiteY0" fmla="*/ 55611 h 2890922"/>
              <a:gd name="connsiteX1" fmla="*/ 160774 w 11731364"/>
              <a:gd name="connsiteY1" fmla="*/ 45562 h 2890922"/>
              <a:gd name="connsiteX2" fmla="*/ 552660 w 11731364"/>
              <a:gd name="connsiteY2" fmla="*/ 35514 h 2890922"/>
              <a:gd name="connsiteX3" fmla="*/ 1235948 w 11731364"/>
              <a:gd name="connsiteY3" fmla="*/ 85756 h 2890922"/>
              <a:gd name="connsiteX4" fmla="*/ 1637882 w 11731364"/>
              <a:gd name="connsiteY4" fmla="*/ 45562 h 2890922"/>
              <a:gd name="connsiteX5" fmla="*/ 2019719 w 11731364"/>
              <a:gd name="connsiteY5" fmla="*/ 45562 h 2890922"/>
              <a:gd name="connsiteX6" fmla="*/ 4531807 w 11731364"/>
              <a:gd name="connsiteY6" fmla="*/ 65659 h 2890922"/>
              <a:gd name="connsiteX7" fmla="*/ 4572000 w 11731364"/>
              <a:gd name="connsiteY7" fmla="*/ 75708 h 2890922"/>
              <a:gd name="connsiteX8" fmla="*/ 6300317 w 11731364"/>
              <a:gd name="connsiteY8" fmla="*/ 95804 h 2890922"/>
              <a:gd name="connsiteX9" fmla="*/ 7063991 w 11731364"/>
              <a:gd name="connsiteY9" fmla="*/ 65659 h 2890922"/>
              <a:gd name="connsiteX10" fmla="*/ 7807570 w 11731364"/>
              <a:gd name="connsiteY10" fmla="*/ 65659 h 2890922"/>
              <a:gd name="connsiteX11" fmla="*/ 8098972 w 11731364"/>
              <a:gd name="connsiteY11" fmla="*/ 95804 h 2890922"/>
              <a:gd name="connsiteX12" fmla="*/ 9485644 w 11731364"/>
              <a:gd name="connsiteY12" fmla="*/ 95804 h 2890922"/>
              <a:gd name="connsiteX13" fmla="*/ 9827288 w 11731364"/>
              <a:gd name="connsiteY13" fmla="*/ 65659 h 2890922"/>
              <a:gd name="connsiteX14" fmla="*/ 10671350 w 11731364"/>
              <a:gd name="connsiteY14" fmla="*/ 35514 h 2890922"/>
              <a:gd name="connsiteX15" fmla="*/ 11615895 w 11731364"/>
              <a:gd name="connsiteY15" fmla="*/ 55611 h 2890922"/>
              <a:gd name="connsiteX16" fmla="*/ 11686233 w 11731364"/>
              <a:gd name="connsiteY16" fmla="*/ 769044 h 2890922"/>
              <a:gd name="connsiteX17" fmla="*/ 11696282 w 11731364"/>
              <a:gd name="connsiteY17" fmla="*/ 2336587 h 2890922"/>
              <a:gd name="connsiteX18" fmla="*/ 11686233 w 11731364"/>
              <a:gd name="connsiteY18" fmla="*/ 2828956 h 2890922"/>
              <a:gd name="connsiteX19" fmla="*/ 10912510 w 11731364"/>
              <a:gd name="connsiteY19" fmla="*/ 2859101 h 2890922"/>
              <a:gd name="connsiteX20" fmla="*/ 10008159 w 11731364"/>
              <a:gd name="connsiteY20" fmla="*/ 2859101 h 2890922"/>
              <a:gd name="connsiteX21" fmla="*/ 9435402 w 11731364"/>
              <a:gd name="connsiteY21" fmla="*/ 2859101 h 2890922"/>
              <a:gd name="connsiteX22" fmla="*/ 7365442 w 11731364"/>
              <a:gd name="connsiteY22" fmla="*/ 2818908 h 2890922"/>
              <a:gd name="connsiteX23" fmla="*/ 6742444 w 11731364"/>
              <a:gd name="connsiteY23" fmla="*/ 2839004 h 2890922"/>
              <a:gd name="connsiteX24" fmla="*/ 6601767 w 11731364"/>
              <a:gd name="connsiteY24" fmla="*/ 2828956 h 2890922"/>
              <a:gd name="connsiteX25" fmla="*/ 4783016 w 11731364"/>
              <a:gd name="connsiteY25" fmla="*/ 2879198 h 2890922"/>
              <a:gd name="connsiteX26" fmla="*/ 3938954 w 11731364"/>
              <a:gd name="connsiteY26" fmla="*/ 2859101 h 2890922"/>
              <a:gd name="connsiteX27" fmla="*/ 2944167 w 11731364"/>
              <a:gd name="connsiteY27" fmla="*/ 2839004 h 2890922"/>
              <a:gd name="connsiteX28" fmla="*/ 1889090 w 11731364"/>
              <a:gd name="connsiteY28" fmla="*/ 2849053 h 2890922"/>
              <a:gd name="connsiteX29" fmla="*/ 522515 w 11731364"/>
              <a:gd name="connsiteY29" fmla="*/ 2869149 h 2890922"/>
              <a:gd name="connsiteX30" fmla="*/ 251209 w 11731364"/>
              <a:gd name="connsiteY30" fmla="*/ 2828956 h 2890922"/>
              <a:gd name="connsiteX31" fmla="*/ 10048 w 11731364"/>
              <a:gd name="connsiteY31" fmla="*/ 2839005 h 2890922"/>
              <a:gd name="connsiteX0" fmla="*/ 0 w 11731364"/>
              <a:gd name="connsiteY0" fmla="*/ 55611 h 2890922"/>
              <a:gd name="connsiteX1" fmla="*/ 160774 w 11731364"/>
              <a:gd name="connsiteY1" fmla="*/ 45562 h 2890922"/>
              <a:gd name="connsiteX2" fmla="*/ 552660 w 11731364"/>
              <a:gd name="connsiteY2" fmla="*/ 35514 h 2890922"/>
              <a:gd name="connsiteX3" fmla="*/ 1235948 w 11731364"/>
              <a:gd name="connsiteY3" fmla="*/ 85756 h 2890922"/>
              <a:gd name="connsiteX4" fmla="*/ 1637882 w 11731364"/>
              <a:gd name="connsiteY4" fmla="*/ 45562 h 2890922"/>
              <a:gd name="connsiteX5" fmla="*/ 2019719 w 11731364"/>
              <a:gd name="connsiteY5" fmla="*/ 45562 h 2890922"/>
              <a:gd name="connsiteX6" fmla="*/ 4531807 w 11731364"/>
              <a:gd name="connsiteY6" fmla="*/ 65659 h 2890922"/>
              <a:gd name="connsiteX7" fmla="*/ 4572000 w 11731364"/>
              <a:gd name="connsiteY7" fmla="*/ 75708 h 2890922"/>
              <a:gd name="connsiteX8" fmla="*/ 6300317 w 11731364"/>
              <a:gd name="connsiteY8" fmla="*/ 95804 h 2890922"/>
              <a:gd name="connsiteX9" fmla="*/ 7063991 w 11731364"/>
              <a:gd name="connsiteY9" fmla="*/ 65659 h 2890922"/>
              <a:gd name="connsiteX10" fmla="*/ 7807570 w 11731364"/>
              <a:gd name="connsiteY10" fmla="*/ 65659 h 2890922"/>
              <a:gd name="connsiteX11" fmla="*/ 8098972 w 11731364"/>
              <a:gd name="connsiteY11" fmla="*/ 95804 h 2890922"/>
              <a:gd name="connsiteX12" fmla="*/ 9485644 w 11731364"/>
              <a:gd name="connsiteY12" fmla="*/ 95804 h 2890922"/>
              <a:gd name="connsiteX13" fmla="*/ 9827288 w 11731364"/>
              <a:gd name="connsiteY13" fmla="*/ 65659 h 2890922"/>
              <a:gd name="connsiteX14" fmla="*/ 10671350 w 11731364"/>
              <a:gd name="connsiteY14" fmla="*/ 35514 h 2890922"/>
              <a:gd name="connsiteX15" fmla="*/ 11615895 w 11731364"/>
              <a:gd name="connsiteY15" fmla="*/ 55611 h 2890922"/>
              <a:gd name="connsiteX16" fmla="*/ 11686233 w 11731364"/>
              <a:gd name="connsiteY16" fmla="*/ 769044 h 2890922"/>
              <a:gd name="connsiteX17" fmla="*/ 11696282 w 11731364"/>
              <a:gd name="connsiteY17" fmla="*/ 2336587 h 2890922"/>
              <a:gd name="connsiteX18" fmla="*/ 11686233 w 11731364"/>
              <a:gd name="connsiteY18" fmla="*/ 2828956 h 2890922"/>
              <a:gd name="connsiteX19" fmla="*/ 10912510 w 11731364"/>
              <a:gd name="connsiteY19" fmla="*/ 2859101 h 2890922"/>
              <a:gd name="connsiteX20" fmla="*/ 10008159 w 11731364"/>
              <a:gd name="connsiteY20" fmla="*/ 2859101 h 2890922"/>
              <a:gd name="connsiteX21" fmla="*/ 9435402 w 11731364"/>
              <a:gd name="connsiteY21" fmla="*/ 2859101 h 2890922"/>
              <a:gd name="connsiteX22" fmla="*/ 7365442 w 11731364"/>
              <a:gd name="connsiteY22" fmla="*/ 2818908 h 2890922"/>
              <a:gd name="connsiteX23" fmla="*/ 6742444 w 11731364"/>
              <a:gd name="connsiteY23" fmla="*/ 2839004 h 2890922"/>
              <a:gd name="connsiteX24" fmla="*/ 6601767 w 11731364"/>
              <a:gd name="connsiteY24" fmla="*/ 2828956 h 2890922"/>
              <a:gd name="connsiteX25" fmla="*/ 4783016 w 11731364"/>
              <a:gd name="connsiteY25" fmla="*/ 2879198 h 2890922"/>
              <a:gd name="connsiteX26" fmla="*/ 3938954 w 11731364"/>
              <a:gd name="connsiteY26" fmla="*/ 2859101 h 2890922"/>
              <a:gd name="connsiteX27" fmla="*/ 2944167 w 11731364"/>
              <a:gd name="connsiteY27" fmla="*/ 2839004 h 2890922"/>
              <a:gd name="connsiteX28" fmla="*/ 1889090 w 11731364"/>
              <a:gd name="connsiteY28" fmla="*/ 2849053 h 2890922"/>
              <a:gd name="connsiteX29" fmla="*/ 522515 w 11731364"/>
              <a:gd name="connsiteY29" fmla="*/ 2869149 h 2890922"/>
              <a:gd name="connsiteX30" fmla="*/ 10048 w 11731364"/>
              <a:gd name="connsiteY30" fmla="*/ 2839005 h 2890922"/>
              <a:gd name="connsiteX0" fmla="*/ 0 w 11731364"/>
              <a:gd name="connsiteY0" fmla="*/ 55611 h 2890922"/>
              <a:gd name="connsiteX1" fmla="*/ 160774 w 11731364"/>
              <a:gd name="connsiteY1" fmla="*/ 45562 h 2890922"/>
              <a:gd name="connsiteX2" fmla="*/ 552660 w 11731364"/>
              <a:gd name="connsiteY2" fmla="*/ 35514 h 2890922"/>
              <a:gd name="connsiteX3" fmla="*/ 1637882 w 11731364"/>
              <a:gd name="connsiteY3" fmla="*/ 45562 h 2890922"/>
              <a:gd name="connsiteX4" fmla="*/ 2019719 w 11731364"/>
              <a:gd name="connsiteY4" fmla="*/ 45562 h 2890922"/>
              <a:gd name="connsiteX5" fmla="*/ 4531807 w 11731364"/>
              <a:gd name="connsiteY5" fmla="*/ 65659 h 2890922"/>
              <a:gd name="connsiteX6" fmla="*/ 4572000 w 11731364"/>
              <a:gd name="connsiteY6" fmla="*/ 75708 h 2890922"/>
              <a:gd name="connsiteX7" fmla="*/ 6300317 w 11731364"/>
              <a:gd name="connsiteY7" fmla="*/ 95804 h 2890922"/>
              <a:gd name="connsiteX8" fmla="*/ 7063991 w 11731364"/>
              <a:gd name="connsiteY8" fmla="*/ 65659 h 2890922"/>
              <a:gd name="connsiteX9" fmla="*/ 7807570 w 11731364"/>
              <a:gd name="connsiteY9" fmla="*/ 65659 h 2890922"/>
              <a:gd name="connsiteX10" fmla="*/ 8098972 w 11731364"/>
              <a:gd name="connsiteY10" fmla="*/ 95804 h 2890922"/>
              <a:gd name="connsiteX11" fmla="*/ 9485644 w 11731364"/>
              <a:gd name="connsiteY11" fmla="*/ 95804 h 2890922"/>
              <a:gd name="connsiteX12" fmla="*/ 9827288 w 11731364"/>
              <a:gd name="connsiteY12" fmla="*/ 65659 h 2890922"/>
              <a:gd name="connsiteX13" fmla="*/ 10671350 w 11731364"/>
              <a:gd name="connsiteY13" fmla="*/ 35514 h 2890922"/>
              <a:gd name="connsiteX14" fmla="*/ 11615895 w 11731364"/>
              <a:gd name="connsiteY14" fmla="*/ 55611 h 2890922"/>
              <a:gd name="connsiteX15" fmla="*/ 11686233 w 11731364"/>
              <a:gd name="connsiteY15" fmla="*/ 769044 h 2890922"/>
              <a:gd name="connsiteX16" fmla="*/ 11696282 w 11731364"/>
              <a:gd name="connsiteY16" fmla="*/ 2336587 h 2890922"/>
              <a:gd name="connsiteX17" fmla="*/ 11686233 w 11731364"/>
              <a:gd name="connsiteY17" fmla="*/ 2828956 h 2890922"/>
              <a:gd name="connsiteX18" fmla="*/ 10912510 w 11731364"/>
              <a:gd name="connsiteY18" fmla="*/ 2859101 h 2890922"/>
              <a:gd name="connsiteX19" fmla="*/ 10008159 w 11731364"/>
              <a:gd name="connsiteY19" fmla="*/ 2859101 h 2890922"/>
              <a:gd name="connsiteX20" fmla="*/ 9435402 w 11731364"/>
              <a:gd name="connsiteY20" fmla="*/ 2859101 h 2890922"/>
              <a:gd name="connsiteX21" fmla="*/ 7365442 w 11731364"/>
              <a:gd name="connsiteY21" fmla="*/ 2818908 h 2890922"/>
              <a:gd name="connsiteX22" fmla="*/ 6742444 w 11731364"/>
              <a:gd name="connsiteY22" fmla="*/ 2839004 h 2890922"/>
              <a:gd name="connsiteX23" fmla="*/ 6601767 w 11731364"/>
              <a:gd name="connsiteY23" fmla="*/ 2828956 h 2890922"/>
              <a:gd name="connsiteX24" fmla="*/ 4783016 w 11731364"/>
              <a:gd name="connsiteY24" fmla="*/ 2879198 h 2890922"/>
              <a:gd name="connsiteX25" fmla="*/ 3938954 w 11731364"/>
              <a:gd name="connsiteY25" fmla="*/ 2859101 h 2890922"/>
              <a:gd name="connsiteX26" fmla="*/ 2944167 w 11731364"/>
              <a:gd name="connsiteY26" fmla="*/ 2839004 h 2890922"/>
              <a:gd name="connsiteX27" fmla="*/ 1889090 w 11731364"/>
              <a:gd name="connsiteY27" fmla="*/ 2849053 h 2890922"/>
              <a:gd name="connsiteX28" fmla="*/ 522515 w 11731364"/>
              <a:gd name="connsiteY28" fmla="*/ 2869149 h 2890922"/>
              <a:gd name="connsiteX29" fmla="*/ 10048 w 11731364"/>
              <a:gd name="connsiteY29" fmla="*/ 2839005 h 2890922"/>
              <a:gd name="connsiteX0" fmla="*/ 0 w 11731364"/>
              <a:gd name="connsiteY0" fmla="*/ 55611 h 2890922"/>
              <a:gd name="connsiteX1" fmla="*/ 552660 w 11731364"/>
              <a:gd name="connsiteY1" fmla="*/ 35514 h 2890922"/>
              <a:gd name="connsiteX2" fmla="*/ 1637882 w 11731364"/>
              <a:gd name="connsiteY2" fmla="*/ 45562 h 2890922"/>
              <a:gd name="connsiteX3" fmla="*/ 2019719 w 11731364"/>
              <a:gd name="connsiteY3" fmla="*/ 45562 h 2890922"/>
              <a:gd name="connsiteX4" fmla="*/ 4531807 w 11731364"/>
              <a:gd name="connsiteY4" fmla="*/ 65659 h 2890922"/>
              <a:gd name="connsiteX5" fmla="*/ 4572000 w 11731364"/>
              <a:gd name="connsiteY5" fmla="*/ 75708 h 2890922"/>
              <a:gd name="connsiteX6" fmla="*/ 6300317 w 11731364"/>
              <a:gd name="connsiteY6" fmla="*/ 95804 h 2890922"/>
              <a:gd name="connsiteX7" fmla="*/ 7063991 w 11731364"/>
              <a:gd name="connsiteY7" fmla="*/ 65659 h 2890922"/>
              <a:gd name="connsiteX8" fmla="*/ 7807570 w 11731364"/>
              <a:gd name="connsiteY8" fmla="*/ 65659 h 2890922"/>
              <a:gd name="connsiteX9" fmla="*/ 8098972 w 11731364"/>
              <a:gd name="connsiteY9" fmla="*/ 95804 h 2890922"/>
              <a:gd name="connsiteX10" fmla="*/ 9485644 w 11731364"/>
              <a:gd name="connsiteY10" fmla="*/ 95804 h 2890922"/>
              <a:gd name="connsiteX11" fmla="*/ 9827288 w 11731364"/>
              <a:gd name="connsiteY11" fmla="*/ 65659 h 2890922"/>
              <a:gd name="connsiteX12" fmla="*/ 10671350 w 11731364"/>
              <a:gd name="connsiteY12" fmla="*/ 35514 h 2890922"/>
              <a:gd name="connsiteX13" fmla="*/ 11615895 w 11731364"/>
              <a:gd name="connsiteY13" fmla="*/ 55611 h 2890922"/>
              <a:gd name="connsiteX14" fmla="*/ 11686233 w 11731364"/>
              <a:gd name="connsiteY14" fmla="*/ 769044 h 2890922"/>
              <a:gd name="connsiteX15" fmla="*/ 11696282 w 11731364"/>
              <a:gd name="connsiteY15" fmla="*/ 2336587 h 2890922"/>
              <a:gd name="connsiteX16" fmla="*/ 11686233 w 11731364"/>
              <a:gd name="connsiteY16" fmla="*/ 2828956 h 2890922"/>
              <a:gd name="connsiteX17" fmla="*/ 10912510 w 11731364"/>
              <a:gd name="connsiteY17" fmla="*/ 2859101 h 2890922"/>
              <a:gd name="connsiteX18" fmla="*/ 10008159 w 11731364"/>
              <a:gd name="connsiteY18" fmla="*/ 2859101 h 2890922"/>
              <a:gd name="connsiteX19" fmla="*/ 9435402 w 11731364"/>
              <a:gd name="connsiteY19" fmla="*/ 2859101 h 2890922"/>
              <a:gd name="connsiteX20" fmla="*/ 7365442 w 11731364"/>
              <a:gd name="connsiteY20" fmla="*/ 2818908 h 2890922"/>
              <a:gd name="connsiteX21" fmla="*/ 6742444 w 11731364"/>
              <a:gd name="connsiteY21" fmla="*/ 2839004 h 2890922"/>
              <a:gd name="connsiteX22" fmla="*/ 6601767 w 11731364"/>
              <a:gd name="connsiteY22" fmla="*/ 2828956 h 2890922"/>
              <a:gd name="connsiteX23" fmla="*/ 4783016 w 11731364"/>
              <a:gd name="connsiteY23" fmla="*/ 2879198 h 2890922"/>
              <a:gd name="connsiteX24" fmla="*/ 3938954 w 11731364"/>
              <a:gd name="connsiteY24" fmla="*/ 2859101 h 2890922"/>
              <a:gd name="connsiteX25" fmla="*/ 2944167 w 11731364"/>
              <a:gd name="connsiteY25" fmla="*/ 2839004 h 2890922"/>
              <a:gd name="connsiteX26" fmla="*/ 1889090 w 11731364"/>
              <a:gd name="connsiteY26" fmla="*/ 2849053 h 2890922"/>
              <a:gd name="connsiteX27" fmla="*/ 522515 w 11731364"/>
              <a:gd name="connsiteY27" fmla="*/ 2869149 h 2890922"/>
              <a:gd name="connsiteX28" fmla="*/ 10048 w 11731364"/>
              <a:gd name="connsiteY28" fmla="*/ 2839005 h 2890922"/>
              <a:gd name="connsiteX0" fmla="*/ 0 w 11731364"/>
              <a:gd name="connsiteY0" fmla="*/ 55611 h 2890922"/>
              <a:gd name="connsiteX1" fmla="*/ 552660 w 11731364"/>
              <a:gd name="connsiteY1" fmla="*/ 35514 h 2890922"/>
              <a:gd name="connsiteX2" fmla="*/ 1637882 w 11731364"/>
              <a:gd name="connsiteY2" fmla="*/ 45562 h 2890922"/>
              <a:gd name="connsiteX3" fmla="*/ 2019719 w 11731364"/>
              <a:gd name="connsiteY3" fmla="*/ 45562 h 2890922"/>
              <a:gd name="connsiteX4" fmla="*/ 4531807 w 11731364"/>
              <a:gd name="connsiteY4" fmla="*/ 65659 h 2890922"/>
              <a:gd name="connsiteX5" fmla="*/ 6300317 w 11731364"/>
              <a:gd name="connsiteY5" fmla="*/ 95804 h 2890922"/>
              <a:gd name="connsiteX6" fmla="*/ 7063991 w 11731364"/>
              <a:gd name="connsiteY6" fmla="*/ 65659 h 2890922"/>
              <a:gd name="connsiteX7" fmla="*/ 7807570 w 11731364"/>
              <a:gd name="connsiteY7" fmla="*/ 65659 h 2890922"/>
              <a:gd name="connsiteX8" fmla="*/ 8098972 w 11731364"/>
              <a:gd name="connsiteY8" fmla="*/ 95804 h 2890922"/>
              <a:gd name="connsiteX9" fmla="*/ 9485644 w 11731364"/>
              <a:gd name="connsiteY9" fmla="*/ 95804 h 2890922"/>
              <a:gd name="connsiteX10" fmla="*/ 9827288 w 11731364"/>
              <a:gd name="connsiteY10" fmla="*/ 65659 h 2890922"/>
              <a:gd name="connsiteX11" fmla="*/ 10671350 w 11731364"/>
              <a:gd name="connsiteY11" fmla="*/ 35514 h 2890922"/>
              <a:gd name="connsiteX12" fmla="*/ 11615895 w 11731364"/>
              <a:gd name="connsiteY12" fmla="*/ 55611 h 2890922"/>
              <a:gd name="connsiteX13" fmla="*/ 11686233 w 11731364"/>
              <a:gd name="connsiteY13" fmla="*/ 769044 h 2890922"/>
              <a:gd name="connsiteX14" fmla="*/ 11696282 w 11731364"/>
              <a:gd name="connsiteY14" fmla="*/ 2336587 h 2890922"/>
              <a:gd name="connsiteX15" fmla="*/ 11686233 w 11731364"/>
              <a:gd name="connsiteY15" fmla="*/ 2828956 h 2890922"/>
              <a:gd name="connsiteX16" fmla="*/ 10912510 w 11731364"/>
              <a:gd name="connsiteY16" fmla="*/ 2859101 h 2890922"/>
              <a:gd name="connsiteX17" fmla="*/ 10008159 w 11731364"/>
              <a:gd name="connsiteY17" fmla="*/ 2859101 h 2890922"/>
              <a:gd name="connsiteX18" fmla="*/ 9435402 w 11731364"/>
              <a:gd name="connsiteY18" fmla="*/ 2859101 h 2890922"/>
              <a:gd name="connsiteX19" fmla="*/ 7365442 w 11731364"/>
              <a:gd name="connsiteY19" fmla="*/ 2818908 h 2890922"/>
              <a:gd name="connsiteX20" fmla="*/ 6742444 w 11731364"/>
              <a:gd name="connsiteY20" fmla="*/ 2839004 h 2890922"/>
              <a:gd name="connsiteX21" fmla="*/ 6601767 w 11731364"/>
              <a:gd name="connsiteY21" fmla="*/ 2828956 h 2890922"/>
              <a:gd name="connsiteX22" fmla="*/ 4783016 w 11731364"/>
              <a:gd name="connsiteY22" fmla="*/ 2879198 h 2890922"/>
              <a:gd name="connsiteX23" fmla="*/ 3938954 w 11731364"/>
              <a:gd name="connsiteY23" fmla="*/ 2859101 h 2890922"/>
              <a:gd name="connsiteX24" fmla="*/ 2944167 w 11731364"/>
              <a:gd name="connsiteY24" fmla="*/ 2839004 h 2890922"/>
              <a:gd name="connsiteX25" fmla="*/ 1889090 w 11731364"/>
              <a:gd name="connsiteY25" fmla="*/ 2849053 h 2890922"/>
              <a:gd name="connsiteX26" fmla="*/ 522515 w 11731364"/>
              <a:gd name="connsiteY26" fmla="*/ 2869149 h 2890922"/>
              <a:gd name="connsiteX27" fmla="*/ 10048 w 11731364"/>
              <a:gd name="connsiteY27" fmla="*/ 2839005 h 2890922"/>
              <a:gd name="connsiteX0" fmla="*/ 0 w 11731364"/>
              <a:gd name="connsiteY0" fmla="*/ 55611 h 2890922"/>
              <a:gd name="connsiteX1" fmla="*/ 552660 w 11731364"/>
              <a:gd name="connsiteY1" fmla="*/ 35514 h 2890922"/>
              <a:gd name="connsiteX2" fmla="*/ 1637882 w 11731364"/>
              <a:gd name="connsiteY2" fmla="*/ 45562 h 2890922"/>
              <a:gd name="connsiteX3" fmla="*/ 2019719 w 11731364"/>
              <a:gd name="connsiteY3" fmla="*/ 45562 h 2890922"/>
              <a:gd name="connsiteX4" fmla="*/ 4531807 w 11731364"/>
              <a:gd name="connsiteY4" fmla="*/ 65659 h 2890922"/>
              <a:gd name="connsiteX5" fmla="*/ 6300317 w 11731364"/>
              <a:gd name="connsiteY5" fmla="*/ 95804 h 2890922"/>
              <a:gd name="connsiteX6" fmla="*/ 7063991 w 11731364"/>
              <a:gd name="connsiteY6" fmla="*/ 65659 h 2890922"/>
              <a:gd name="connsiteX7" fmla="*/ 8098972 w 11731364"/>
              <a:gd name="connsiteY7" fmla="*/ 95804 h 2890922"/>
              <a:gd name="connsiteX8" fmla="*/ 9485644 w 11731364"/>
              <a:gd name="connsiteY8" fmla="*/ 95804 h 2890922"/>
              <a:gd name="connsiteX9" fmla="*/ 9827288 w 11731364"/>
              <a:gd name="connsiteY9" fmla="*/ 65659 h 2890922"/>
              <a:gd name="connsiteX10" fmla="*/ 10671350 w 11731364"/>
              <a:gd name="connsiteY10" fmla="*/ 35514 h 2890922"/>
              <a:gd name="connsiteX11" fmla="*/ 11615895 w 11731364"/>
              <a:gd name="connsiteY11" fmla="*/ 55611 h 2890922"/>
              <a:gd name="connsiteX12" fmla="*/ 11686233 w 11731364"/>
              <a:gd name="connsiteY12" fmla="*/ 769044 h 2890922"/>
              <a:gd name="connsiteX13" fmla="*/ 11696282 w 11731364"/>
              <a:gd name="connsiteY13" fmla="*/ 2336587 h 2890922"/>
              <a:gd name="connsiteX14" fmla="*/ 11686233 w 11731364"/>
              <a:gd name="connsiteY14" fmla="*/ 2828956 h 2890922"/>
              <a:gd name="connsiteX15" fmla="*/ 10912510 w 11731364"/>
              <a:gd name="connsiteY15" fmla="*/ 2859101 h 2890922"/>
              <a:gd name="connsiteX16" fmla="*/ 10008159 w 11731364"/>
              <a:gd name="connsiteY16" fmla="*/ 2859101 h 2890922"/>
              <a:gd name="connsiteX17" fmla="*/ 9435402 w 11731364"/>
              <a:gd name="connsiteY17" fmla="*/ 2859101 h 2890922"/>
              <a:gd name="connsiteX18" fmla="*/ 7365442 w 11731364"/>
              <a:gd name="connsiteY18" fmla="*/ 2818908 h 2890922"/>
              <a:gd name="connsiteX19" fmla="*/ 6742444 w 11731364"/>
              <a:gd name="connsiteY19" fmla="*/ 2839004 h 2890922"/>
              <a:gd name="connsiteX20" fmla="*/ 6601767 w 11731364"/>
              <a:gd name="connsiteY20" fmla="*/ 2828956 h 2890922"/>
              <a:gd name="connsiteX21" fmla="*/ 4783016 w 11731364"/>
              <a:gd name="connsiteY21" fmla="*/ 2879198 h 2890922"/>
              <a:gd name="connsiteX22" fmla="*/ 3938954 w 11731364"/>
              <a:gd name="connsiteY22" fmla="*/ 2859101 h 2890922"/>
              <a:gd name="connsiteX23" fmla="*/ 2944167 w 11731364"/>
              <a:gd name="connsiteY23" fmla="*/ 2839004 h 2890922"/>
              <a:gd name="connsiteX24" fmla="*/ 1889090 w 11731364"/>
              <a:gd name="connsiteY24" fmla="*/ 2849053 h 2890922"/>
              <a:gd name="connsiteX25" fmla="*/ 522515 w 11731364"/>
              <a:gd name="connsiteY25" fmla="*/ 2869149 h 2890922"/>
              <a:gd name="connsiteX26" fmla="*/ 10048 w 11731364"/>
              <a:gd name="connsiteY26" fmla="*/ 2839005 h 2890922"/>
              <a:gd name="connsiteX0" fmla="*/ 0 w 11731364"/>
              <a:gd name="connsiteY0" fmla="*/ 36371 h 2871682"/>
              <a:gd name="connsiteX1" fmla="*/ 552660 w 11731364"/>
              <a:gd name="connsiteY1" fmla="*/ 16274 h 2871682"/>
              <a:gd name="connsiteX2" fmla="*/ 1637882 w 11731364"/>
              <a:gd name="connsiteY2" fmla="*/ 26322 h 2871682"/>
              <a:gd name="connsiteX3" fmla="*/ 2019719 w 11731364"/>
              <a:gd name="connsiteY3" fmla="*/ 26322 h 2871682"/>
              <a:gd name="connsiteX4" fmla="*/ 4531807 w 11731364"/>
              <a:gd name="connsiteY4" fmla="*/ 46419 h 2871682"/>
              <a:gd name="connsiteX5" fmla="*/ 6300317 w 11731364"/>
              <a:gd name="connsiteY5" fmla="*/ 76564 h 2871682"/>
              <a:gd name="connsiteX6" fmla="*/ 7063991 w 11731364"/>
              <a:gd name="connsiteY6" fmla="*/ 46419 h 2871682"/>
              <a:gd name="connsiteX7" fmla="*/ 8098972 w 11731364"/>
              <a:gd name="connsiteY7" fmla="*/ 76564 h 2871682"/>
              <a:gd name="connsiteX8" fmla="*/ 9485644 w 11731364"/>
              <a:gd name="connsiteY8" fmla="*/ 76564 h 2871682"/>
              <a:gd name="connsiteX9" fmla="*/ 9827288 w 11731364"/>
              <a:gd name="connsiteY9" fmla="*/ 46419 h 2871682"/>
              <a:gd name="connsiteX10" fmla="*/ 10671350 w 11731364"/>
              <a:gd name="connsiteY10" fmla="*/ 16274 h 2871682"/>
              <a:gd name="connsiteX11" fmla="*/ 11615895 w 11731364"/>
              <a:gd name="connsiteY11" fmla="*/ 66517 h 2871682"/>
              <a:gd name="connsiteX12" fmla="*/ 11686233 w 11731364"/>
              <a:gd name="connsiteY12" fmla="*/ 749804 h 2871682"/>
              <a:gd name="connsiteX13" fmla="*/ 11696282 w 11731364"/>
              <a:gd name="connsiteY13" fmla="*/ 2317347 h 2871682"/>
              <a:gd name="connsiteX14" fmla="*/ 11686233 w 11731364"/>
              <a:gd name="connsiteY14" fmla="*/ 2809716 h 2871682"/>
              <a:gd name="connsiteX15" fmla="*/ 10912510 w 11731364"/>
              <a:gd name="connsiteY15" fmla="*/ 2839861 h 2871682"/>
              <a:gd name="connsiteX16" fmla="*/ 10008159 w 11731364"/>
              <a:gd name="connsiteY16" fmla="*/ 2839861 h 2871682"/>
              <a:gd name="connsiteX17" fmla="*/ 9435402 w 11731364"/>
              <a:gd name="connsiteY17" fmla="*/ 2839861 h 2871682"/>
              <a:gd name="connsiteX18" fmla="*/ 7365442 w 11731364"/>
              <a:gd name="connsiteY18" fmla="*/ 2799668 h 2871682"/>
              <a:gd name="connsiteX19" fmla="*/ 6742444 w 11731364"/>
              <a:gd name="connsiteY19" fmla="*/ 2819764 h 2871682"/>
              <a:gd name="connsiteX20" fmla="*/ 6601767 w 11731364"/>
              <a:gd name="connsiteY20" fmla="*/ 2809716 h 2871682"/>
              <a:gd name="connsiteX21" fmla="*/ 4783016 w 11731364"/>
              <a:gd name="connsiteY21" fmla="*/ 2859958 h 2871682"/>
              <a:gd name="connsiteX22" fmla="*/ 3938954 w 11731364"/>
              <a:gd name="connsiteY22" fmla="*/ 2839861 h 2871682"/>
              <a:gd name="connsiteX23" fmla="*/ 2944167 w 11731364"/>
              <a:gd name="connsiteY23" fmla="*/ 2819764 h 2871682"/>
              <a:gd name="connsiteX24" fmla="*/ 1889090 w 11731364"/>
              <a:gd name="connsiteY24" fmla="*/ 2829813 h 2871682"/>
              <a:gd name="connsiteX25" fmla="*/ 522515 w 11731364"/>
              <a:gd name="connsiteY25" fmla="*/ 2849909 h 2871682"/>
              <a:gd name="connsiteX26" fmla="*/ 10048 w 11731364"/>
              <a:gd name="connsiteY26" fmla="*/ 2819765 h 2871682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522515 w 11731364"/>
              <a:gd name="connsiteY25" fmla="*/ 2853113 h 2874886"/>
              <a:gd name="connsiteX26" fmla="*/ 10048 w 11731364"/>
              <a:gd name="connsiteY26" fmla="*/ 2822969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522515 w 11731364"/>
              <a:gd name="connsiteY25" fmla="*/ 2853113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1311934 w 11731364"/>
              <a:gd name="connsiteY25" fmla="*/ 2812919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72846 w 11731364"/>
              <a:gd name="connsiteY25" fmla="*/ 2772725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22882 w 11731364"/>
              <a:gd name="connsiteY25" fmla="*/ 2843063 h 2874886"/>
              <a:gd name="connsiteX0" fmla="*/ 0 w 11731364"/>
              <a:gd name="connsiteY0" fmla="*/ 39575 h 2874886"/>
              <a:gd name="connsiteX1" fmla="*/ 552660 w 11731364"/>
              <a:gd name="connsiteY1" fmla="*/ 19478 h 2874886"/>
              <a:gd name="connsiteX2" fmla="*/ 1637882 w 11731364"/>
              <a:gd name="connsiteY2" fmla="*/ 29526 h 2874886"/>
              <a:gd name="connsiteX3" fmla="*/ 2019719 w 11731364"/>
              <a:gd name="connsiteY3" fmla="*/ 29526 h 2874886"/>
              <a:gd name="connsiteX4" fmla="*/ 4531807 w 11731364"/>
              <a:gd name="connsiteY4" fmla="*/ 49623 h 2874886"/>
              <a:gd name="connsiteX5" fmla="*/ 6300317 w 11731364"/>
              <a:gd name="connsiteY5" fmla="*/ 79768 h 2874886"/>
              <a:gd name="connsiteX6" fmla="*/ 7063991 w 11731364"/>
              <a:gd name="connsiteY6" fmla="*/ 49623 h 2874886"/>
              <a:gd name="connsiteX7" fmla="*/ 8098972 w 11731364"/>
              <a:gd name="connsiteY7" fmla="*/ 79768 h 2874886"/>
              <a:gd name="connsiteX8" fmla="*/ 9485644 w 11731364"/>
              <a:gd name="connsiteY8" fmla="*/ 79768 h 2874886"/>
              <a:gd name="connsiteX9" fmla="*/ 9827288 w 11731364"/>
              <a:gd name="connsiteY9" fmla="*/ 49623 h 2874886"/>
              <a:gd name="connsiteX10" fmla="*/ 10671350 w 11731364"/>
              <a:gd name="connsiteY10" fmla="*/ 19478 h 2874886"/>
              <a:gd name="connsiteX11" fmla="*/ 11615895 w 11731364"/>
              <a:gd name="connsiteY11" fmla="*/ 69721 h 2874886"/>
              <a:gd name="connsiteX12" fmla="*/ 11686233 w 11731364"/>
              <a:gd name="connsiteY12" fmla="*/ 753008 h 2874886"/>
              <a:gd name="connsiteX13" fmla="*/ 11696282 w 11731364"/>
              <a:gd name="connsiteY13" fmla="*/ 2320551 h 2874886"/>
              <a:gd name="connsiteX14" fmla="*/ 11686233 w 11731364"/>
              <a:gd name="connsiteY14" fmla="*/ 2812920 h 2874886"/>
              <a:gd name="connsiteX15" fmla="*/ 10912510 w 11731364"/>
              <a:gd name="connsiteY15" fmla="*/ 2843065 h 2874886"/>
              <a:gd name="connsiteX16" fmla="*/ 10008159 w 11731364"/>
              <a:gd name="connsiteY16" fmla="*/ 2843065 h 2874886"/>
              <a:gd name="connsiteX17" fmla="*/ 9435402 w 11731364"/>
              <a:gd name="connsiteY17" fmla="*/ 2843065 h 2874886"/>
              <a:gd name="connsiteX18" fmla="*/ 7365442 w 11731364"/>
              <a:gd name="connsiteY18" fmla="*/ 2802872 h 2874886"/>
              <a:gd name="connsiteX19" fmla="*/ 6742444 w 11731364"/>
              <a:gd name="connsiteY19" fmla="*/ 2822968 h 2874886"/>
              <a:gd name="connsiteX20" fmla="*/ 6601767 w 11731364"/>
              <a:gd name="connsiteY20" fmla="*/ 2812920 h 2874886"/>
              <a:gd name="connsiteX21" fmla="*/ 4783016 w 11731364"/>
              <a:gd name="connsiteY21" fmla="*/ 2863162 h 2874886"/>
              <a:gd name="connsiteX22" fmla="*/ 3938954 w 11731364"/>
              <a:gd name="connsiteY22" fmla="*/ 2843065 h 2874886"/>
              <a:gd name="connsiteX23" fmla="*/ 2944167 w 11731364"/>
              <a:gd name="connsiteY23" fmla="*/ 2822968 h 2874886"/>
              <a:gd name="connsiteX24" fmla="*/ 1889090 w 11731364"/>
              <a:gd name="connsiteY24" fmla="*/ 2833017 h 2874886"/>
              <a:gd name="connsiteX25" fmla="*/ 12890 w 11731364"/>
              <a:gd name="connsiteY25" fmla="*/ 2812918 h 2874886"/>
              <a:gd name="connsiteX0" fmla="*/ 0 w 11795893"/>
              <a:gd name="connsiteY0" fmla="*/ 28410 h 2863721"/>
              <a:gd name="connsiteX1" fmla="*/ 552660 w 11795893"/>
              <a:gd name="connsiteY1" fmla="*/ 8313 h 2863721"/>
              <a:gd name="connsiteX2" fmla="*/ 1637882 w 11795893"/>
              <a:gd name="connsiteY2" fmla="*/ 18361 h 2863721"/>
              <a:gd name="connsiteX3" fmla="*/ 2019719 w 11795893"/>
              <a:gd name="connsiteY3" fmla="*/ 18361 h 2863721"/>
              <a:gd name="connsiteX4" fmla="*/ 4531807 w 11795893"/>
              <a:gd name="connsiteY4" fmla="*/ 38458 h 2863721"/>
              <a:gd name="connsiteX5" fmla="*/ 6300317 w 11795893"/>
              <a:gd name="connsiteY5" fmla="*/ 68603 h 2863721"/>
              <a:gd name="connsiteX6" fmla="*/ 7063991 w 11795893"/>
              <a:gd name="connsiteY6" fmla="*/ 38458 h 2863721"/>
              <a:gd name="connsiteX7" fmla="*/ 8098972 w 11795893"/>
              <a:gd name="connsiteY7" fmla="*/ 68603 h 2863721"/>
              <a:gd name="connsiteX8" fmla="*/ 9485644 w 11795893"/>
              <a:gd name="connsiteY8" fmla="*/ 68603 h 2863721"/>
              <a:gd name="connsiteX9" fmla="*/ 9827288 w 11795893"/>
              <a:gd name="connsiteY9" fmla="*/ 38458 h 2863721"/>
              <a:gd name="connsiteX10" fmla="*/ 10671350 w 11795893"/>
              <a:gd name="connsiteY10" fmla="*/ 8313 h 2863721"/>
              <a:gd name="connsiteX11" fmla="*/ 11615895 w 11795893"/>
              <a:gd name="connsiteY11" fmla="*/ 58556 h 2863721"/>
              <a:gd name="connsiteX12" fmla="*/ 11686233 w 11795893"/>
              <a:gd name="connsiteY12" fmla="*/ 741843 h 2863721"/>
              <a:gd name="connsiteX13" fmla="*/ 11696282 w 11795893"/>
              <a:gd name="connsiteY13" fmla="*/ 2309386 h 2863721"/>
              <a:gd name="connsiteX14" fmla="*/ 11686233 w 11795893"/>
              <a:gd name="connsiteY14" fmla="*/ 2801755 h 2863721"/>
              <a:gd name="connsiteX15" fmla="*/ 10912510 w 11795893"/>
              <a:gd name="connsiteY15" fmla="*/ 2831900 h 2863721"/>
              <a:gd name="connsiteX16" fmla="*/ 10008159 w 11795893"/>
              <a:gd name="connsiteY16" fmla="*/ 2831900 h 2863721"/>
              <a:gd name="connsiteX17" fmla="*/ 9435402 w 11795893"/>
              <a:gd name="connsiteY17" fmla="*/ 2831900 h 2863721"/>
              <a:gd name="connsiteX18" fmla="*/ 7365442 w 11795893"/>
              <a:gd name="connsiteY18" fmla="*/ 2791707 h 2863721"/>
              <a:gd name="connsiteX19" fmla="*/ 6742444 w 11795893"/>
              <a:gd name="connsiteY19" fmla="*/ 2811803 h 2863721"/>
              <a:gd name="connsiteX20" fmla="*/ 6601767 w 11795893"/>
              <a:gd name="connsiteY20" fmla="*/ 2801755 h 2863721"/>
              <a:gd name="connsiteX21" fmla="*/ 4783016 w 11795893"/>
              <a:gd name="connsiteY21" fmla="*/ 2851997 h 2863721"/>
              <a:gd name="connsiteX22" fmla="*/ 3938954 w 11795893"/>
              <a:gd name="connsiteY22" fmla="*/ 2831900 h 2863721"/>
              <a:gd name="connsiteX23" fmla="*/ 2944167 w 11795893"/>
              <a:gd name="connsiteY23" fmla="*/ 2811803 h 2863721"/>
              <a:gd name="connsiteX24" fmla="*/ 1889090 w 11795893"/>
              <a:gd name="connsiteY24" fmla="*/ 2821852 h 2863721"/>
              <a:gd name="connsiteX25" fmla="*/ 12890 w 11795893"/>
              <a:gd name="connsiteY25" fmla="*/ 2801753 h 2863721"/>
              <a:gd name="connsiteX0" fmla="*/ 0 w 11731364"/>
              <a:gd name="connsiteY0" fmla="*/ 152690 h 2988001"/>
              <a:gd name="connsiteX1" fmla="*/ 552660 w 11731364"/>
              <a:gd name="connsiteY1" fmla="*/ 132593 h 2988001"/>
              <a:gd name="connsiteX2" fmla="*/ 1637882 w 11731364"/>
              <a:gd name="connsiteY2" fmla="*/ 142641 h 2988001"/>
              <a:gd name="connsiteX3" fmla="*/ 2019719 w 11731364"/>
              <a:gd name="connsiteY3" fmla="*/ 142641 h 2988001"/>
              <a:gd name="connsiteX4" fmla="*/ 4531807 w 11731364"/>
              <a:gd name="connsiteY4" fmla="*/ 162738 h 2988001"/>
              <a:gd name="connsiteX5" fmla="*/ 6300317 w 11731364"/>
              <a:gd name="connsiteY5" fmla="*/ 192883 h 2988001"/>
              <a:gd name="connsiteX6" fmla="*/ 7063991 w 11731364"/>
              <a:gd name="connsiteY6" fmla="*/ 162738 h 2988001"/>
              <a:gd name="connsiteX7" fmla="*/ 8098972 w 11731364"/>
              <a:gd name="connsiteY7" fmla="*/ 192883 h 2988001"/>
              <a:gd name="connsiteX8" fmla="*/ 9485644 w 11731364"/>
              <a:gd name="connsiteY8" fmla="*/ 192883 h 2988001"/>
              <a:gd name="connsiteX9" fmla="*/ 9827288 w 11731364"/>
              <a:gd name="connsiteY9" fmla="*/ 162738 h 2988001"/>
              <a:gd name="connsiteX10" fmla="*/ 10671350 w 11731364"/>
              <a:gd name="connsiteY10" fmla="*/ 132593 h 2988001"/>
              <a:gd name="connsiteX11" fmla="*/ 11615895 w 11731364"/>
              <a:gd name="connsiteY11" fmla="*/ 182836 h 2988001"/>
              <a:gd name="connsiteX12" fmla="*/ 11696282 w 11731364"/>
              <a:gd name="connsiteY12" fmla="*/ 2433666 h 2988001"/>
              <a:gd name="connsiteX13" fmla="*/ 11686233 w 11731364"/>
              <a:gd name="connsiteY13" fmla="*/ 2926035 h 2988001"/>
              <a:gd name="connsiteX14" fmla="*/ 10912510 w 11731364"/>
              <a:gd name="connsiteY14" fmla="*/ 2956180 h 2988001"/>
              <a:gd name="connsiteX15" fmla="*/ 10008159 w 11731364"/>
              <a:gd name="connsiteY15" fmla="*/ 2956180 h 2988001"/>
              <a:gd name="connsiteX16" fmla="*/ 9435402 w 11731364"/>
              <a:gd name="connsiteY16" fmla="*/ 2956180 h 2988001"/>
              <a:gd name="connsiteX17" fmla="*/ 7365442 w 11731364"/>
              <a:gd name="connsiteY17" fmla="*/ 2915987 h 2988001"/>
              <a:gd name="connsiteX18" fmla="*/ 6742444 w 11731364"/>
              <a:gd name="connsiteY18" fmla="*/ 2936083 h 2988001"/>
              <a:gd name="connsiteX19" fmla="*/ 6601767 w 11731364"/>
              <a:gd name="connsiteY19" fmla="*/ 2926035 h 2988001"/>
              <a:gd name="connsiteX20" fmla="*/ 4783016 w 11731364"/>
              <a:gd name="connsiteY20" fmla="*/ 2976277 h 2988001"/>
              <a:gd name="connsiteX21" fmla="*/ 3938954 w 11731364"/>
              <a:gd name="connsiteY21" fmla="*/ 2956180 h 2988001"/>
              <a:gd name="connsiteX22" fmla="*/ 2944167 w 11731364"/>
              <a:gd name="connsiteY22" fmla="*/ 2936083 h 2988001"/>
              <a:gd name="connsiteX23" fmla="*/ 1889090 w 11731364"/>
              <a:gd name="connsiteY23" fmla="*/ 2946132 h 2988001"/>
              <a:gd name="connsiteX24" fmla="*/ 12890 w 11731364"/>
              <a:gd name="connsiteY24" fmla="*/ 2926033 h 2988001"/>
              <a:gd name="connsiteX0" fmla="*/ 0 w 11761041"/>
              <a:gd name="connsiteY0" fmla="*/ 189003 h 3175501"/>
              <a:gd name="connsiteX1" fmla="*/ 552660 w 11761041"/>
              <a:gd name="connsiteY1" fmla="*/ 168906 h 3175501"/>
              <a:gd name="connsiteX2" fmla="*/ 1637882 w 11761041"/>
              <a:gd name="connsiteY2" fmla="*/ 178954 h 3175501"/>
              <a:gd name="connsiteX3" fmla="*/ 2019719 w 11761041"/>
              <a:gd name="connsiteY3" fmla="*/ 178954 h 3175501"/>
              <a:gd name="connsiteX4" fmla="*/ 4531807 w 11761041"/>
              <a:gd name="connsiteY4" fmla="*/ 199051 h 3175501"/>
              <a:gd name="connsiteX5" fmla="*/ 6300317 w 11761041"/>
              <a:gd name="connsiteY5" fmla="*/ 229196 h 3175501"/>
              <a:gd name="connsiteX6" fmla="*/ 7063991 w 11761041"/>
              <a:gd name="connsiteY6" fmla="*/ 199051 h 3175501"/>
              <a:gd name="connsiteX7" fmla="*/ 8098972 w 11761041"/>
              <a:gd name="connsiteY7" fmla="*/ 229196 h 3175501"/>
              <a:gd name="connsiteX8" fmla="*/ 9485644 w 11761041"/>
              <a:gd name="connsiteY8" fmla="*/ 229196 h 3175501"/>
              <a:gd name="connsiteX9" fmla="*/ 9827288 w 11761041"/>
              <a:gd name="connsiteY9" fmla="*/ 199051 h 3175501"/>
              <a:gd name="connsiteX10" fmla="*/ 10671350 w 11761041"/>
              <a:gd name="connsiteY10" fmla="*/ 168906 h 3175501"/>
              <a:gd name="connsiteX11" fmla="*/ 11615895 w 11761041"/>
              <a:gd name="connsiteY11" fmla="*/ 219149 h 3175501"/>
              <a:gd name="connsiteX12" fmla="*/ 11686233 w 11761041"/>
              <a:gd name="connsiteY12" fmla="*/ 2962348 h 3175501"/>
              <a:gd name="connsiteX13" fmla="*/ 10912510 w 11761041"/>
              <a:gd name="connsiteY13" fmla="*/ 2992493 h 3175501"/>
              <a:gd name="connsiteX14" fmla="*/ 10008159 w 11761041"/>
              <a:gd name="connsiteY14" fmla="*/ 2992493 h 3175501"/>
              <a:gd name="connsiteX15" fmla="*/ 9435402 w 11761041"/>
              <a:gd name="connsiteY15" fmla="*/ 2992493 h 3175501"/>
              <a:gd name="connsiteX16" fmla="*/ 7365442 w 11761041"/>
              <a:gd name="connsiteY16" fmla="*/ 2952300 h 3175501"/>
              <a:gd name="connsiteX17" fmla="*/ 6742444 w 11761041"/>
              <a:gd name="connsiteY17" fmla="*/ 2972396 h 3175501"/>
              <a:gd name="connsiteX18" fmla="*/ 6601767 w 11761041"/>
              <a:gd name="connsiteY18" fmla="*/ 2962348 h 3175501"/>
              <a:gd name="connsiteX19" fmla="*/ 4783016 w 11761041"/>
              <a:gd name="connsiteY19" fmla="*/ 3012590 h 3175501"/>
              <a:gd name="connsiteX20" fmla="*/ 3938954 w 11761041"/>
              <a:gd name="connsiteY20" fmla="*/ 2992493 h 3175501"/>
              <a:gd name="connsiteX21" fmla="*/ 2944167 w 11761041"/>
              <a:gd name="connsiteY21" fmla="*/ 2972396 h 3175501"/>
              <a:gd name="connsiteX22" fmla="*/ 1889090 w 11761041"/>
              <a:gd name="connsiteY22" fmla="*/ 2982445 h 3175501"/>
              <a:gd name="connsiteX23" fmla="*/ 12890 w 11761041"/>
              <a:gd name="connsiteY23" fmla="*/ 2962346 h 3175501"/>
              <a:gd name="connsiteX0" fmla="*/ 0 w 11837985"/>
              <a:gd name="connsiteY0" fmla="*/ 32082 h 2997028"/>
              <a:gd name="connsiteX1" fmla="*/ 552660 w 11837985"/>
              <a:gd name="connsiteY1" fmla="*/ 11985 h 2997028"/>
              <a:gd name="connsiteX2" fmla="*/ 1637882 w 11837985"/>
              <a:gd name="connsiteY2" fmla="*/ 22033 h 2997028"/>
              <a:gd name="connsiteX3" fmla="*/ 2019719 w 11837985"/>
              <a:gd name="connsiteY3" fmla="*/ 22033 h 2997028"/>
              <a:gd name="connsiteX4" fmla="*/ 4531807 w 11837985"/>
              <a:gd name="connsiteY4" fmla="*/ 42130 h 2997028"/>
              <a:gd name="connsiteX5" fmla="*/ 6300317 w 11837985"/>
              <a:gd name="connsiteY5" fmla="*/ 72275 h 2997028"/>
              <a:gd name="connsiteX6" fmla="*/ 7063991 w 11837985"/>
              <a:gd name="connsiteY6" fmla="*/ 42130 h 2997028"/>
              <a:gd name="connsiteX7" fmla="*/ 8098972 w 11837985"/>
              <a:gd name="connsiteY7" fmla="*/ 72275 h 2997028"/>
              <a:gd name="connsiteX8" fmla="*/ 9485644 w 11837985"/>
              <a:gd name="connsiteY8" fmla="*/ 72275 h 2997028"/>
              <a:gd name="connsiteX9" fmla="*/ 9827288 w 11837985"/>
              <a:gd name="connsiteY9" fmla="*/ 42130 h 2997028"/>
              <a:gd name="connsiteX10" fmla="*/ 10671350 w 11837985"/>
              <a:gd name="connsiteY10" fmla="*/ 11985 h 2997028"/>
              <a:gd name="connsiteX11" fmla="*/ 11745799 w 11837985"/>
              <a:gd name="connsiteY11" fmla="*/ 353631 h 2997028"/>
              <a:gd name="connsiteX12" fmla="*/ 11686233 w 11837985"/>
              <a:gd name="connsiteY12" fmla="*/ 2805427 h 2997028"/>
              <a:gd name="connsiteX13" fmla="*/ 10912510 w 11837985"/>
              <a:gd name="connsiteY13" fmla="*/ 2835572 h 2997028"/>
              <a:gd name="connsiteX14" fmla="*/ 10008159 w 11837985"/>
              <a:gd name="connsiteY14" fmla="*/ 2835572 h 2997028"/>
              <a:gd name="connsiteX15" fmla="*/ 9435402 w 11837985"/>
              <a:gd name="connsiteY15" fmla="*/ 2835572 h 2997028"/>
              <a:gd name="connsiteX16" fmla="*/ 7365442 w 11837985"/>
              <a:gd name="connsiteY16" fmla="*/ 2795379 h 2997028"/>
              <a:gd name="connsiteX17" fmla="*/ 6742444 w 11837985"/>
              <a:gd name="connsiteY17" fmla="*/ 2815475 h 2997028"/>
              <a:gd name="connsiteX18" fmla="*/ 6601767 w 11837985"/>
              <a:gd name="connsiteY18" fmla="*/ 2805427 h 2997028"/>
              <a:gd name="connsiteX19" fmla="*/ 4783016 w 11837985"/>
              <a:gd name="connsiteY19" fmla="*/ 2855669 h 2997028"/>
              <a:gd name="connsiteX20" fmla="*/ 3938954 w 11837985"/>
              <a:gd name="connsiteY20" fmla="*/ 2835572 h 2997028"/>
              <a:gd name="connsiteX21" fmla="*/ 2944167 w 11837985"/>
              <a:gd name="connsiteY21" fmla="*/ 2815475 h 2997028"/>
              <a:gd name="connsiteX22" fmla="*/ 1889090 w 11837985"/>
              <a:gd name="connsiteY22" fmla="*/ 2825524 h 2997028"/>
              <a:gd name="connsiteX23" fmla="*/ 12890 w 11837985"/>
              <a:gd name="connsiteY23" fmla="*/ 2805425 h 2997028"/>
              <a:gd name="connsiteX0" fmla="*/ 0 w 11890507"/>
              <a:gd name="connsiteY0" fmla="*/ 20097 h 2985043"/>
              <a:gd name="connsiteX1" fmla="*/ 552660 w 11890507"/>
              <a:gd name="connsiteY1" fmla="*/ 0 h 2985043"/>
              <a:gd name="connsiteX2" fmla="*/ 1637882 w 11890507"/>
              <a:gd name="connsiteY2" fmla="*/ 10048 h 2985043"/>
              <a:gd name="connsiteX3" fmla="*/ 2019719 w 11890507"/>
              <a:gd name="connsiteY3" fmla="*/ 10048 h 2985043"/>
              <a:gd name="connsiteX4" fmla="*/ 4531807 w 11890507"/>
              <a:gd name="connsiteY4" fmla="*/ 30145 h 2985043"/>
              <a:gd name="connsiteX5" fmla="*/ 6300317 w 11890507"/>
              <a:gd name="connsiteY5" fmla="*/ 60290 h 2985043"/>
              <a:gd name="connsiteX6" fmla="*/ 7063991 w 11890507"/>
              <a:gd name="connsiteY6" fmla="*/ 30145 h 2985043"/>
              <a:gd name="connsiteX7" fmla="*/ 8098972 w 11890507"/>
              <a:gd name="connsiteY7" fmla="*/ 60290 h 2985043"/>
              <a:gd name="connsiteX8" fmla="*/ 9485644 w 11890507"/>
              <a:gd name="connsiteY8" fmla="*/ 60290 h 2985043"/>
              <a:gd name="connsiteX9" fmla="*/ 9827288 w 11890507"/>
              <a:gd name="connsiteY9" fmla="*/ 30145 h 2985043"/>
              <a:gd name="connsiteX10" fmla="*/ 10671350 w 11890507"/>
              <a:gd name="connsiteY10" fmla="*/ 0 h 2985043"/>
              <a:gd name="connsiteX11" fmla="*/ 11745799 w 11890507"/>
              <a:gd name="connsiteY11" fmla="*/ 341646 h 2985043"/>
              <a:gd name="connsiteX12" fmla="*/ 11686233 w 11890507"/>
              <a:gd name="connsiteY12" fmla="*/ 2793442 h 2985043"/>
              <a:gd name="connsiteX13" fmla="*/ 10912510 w 11890507"/>
              <a:gd name="connsiteY13" fmla="*/ 2823587 h 2985043"/>
              <a:gd name="connsiteX14" fmla="*/ 10008159 w 11890507"/>
              <a:gd name="connsiteY14" fmla="*/ 2823587 h 2985043"/>
              <a:gd name="connsiteX15" fmla="*/ 9435402 w 11890507"/>
              <a:gd name="connsiteY15" fmla="*/ 2823587 h 2985043"/>
              <a:gd name="connsiteX16" fmla="*/ 7365442 w 11890507"/>
              <a:gd name="connsiteY16" fmla="*/ 2783394 h 2985043"/>
              <a:gd name="connsiteX17" fmla="*/ 6742444 w 11890507"/>
              <a:gd name="connsiteY17" fmla="*/ 2803490 h 2985043"/>
              <a:gd name="connsiteX18" fmla="*/ 6601767 w 11890507"/>
              <a:gd name="connsiteY18" fmla="*/ 2793442 h 2985043"/>
              <a:gd name="connsiteX19" fmla="*/ 4783016 w 11890507"/>
              <a:gd name="connsiteY19" fmla="*/ 2843684 h 2985043"/>
              <a:gd name="connsiteX20" fmla="*/ 3938954 w 11890507"/>
              <a:gd name="connsiteY20" fmla="*/ 2823587 h 2985043"/>
              <a:gd name="connsiteX21" fmla="*/ 2944167 w 11890507"/>
              <a:gd name="connsiteY21" fmla="*/ 2803490 h 2985043"/>
              <a:gd name="connsiteX22" fmla="*/ 1889090 w 11890507"/>
              <a:gd name="connsiteY22" fmla="*/ 2813539 h 2985043"/>
              <a:gd name="connsiteX23" fmla="*/ 12890 w 11890507"/>
              <a:gd name="connsiteY23" fmla="*/ 2793440 h 2985043"/>
              <a:gd name="connsiteX0" fmla="*/ 0 w 11888066"/>
              <a:gd name="connsiteY0" fmla="*/ 24726 h 2863208"/>
              <a:gd name="connsiteX1" fmla="*/ 552660 w 11888066"/>
              <a:gd name="connsiteY1" fmla="*/ 4629 h 2863208"/>
              <a:gd name="connsiteX2" fmla="*/ 1637882 w 11888066"/>
              <a:gd name="connsiteY2" fmla="*/ 14677 h 2863208"/>
              <a:gd name="connsiteX3" fmla="*/ 2019719 w 11888066"/>
              <a:gd name="connsiteY3" fmla="*/ 14677 h 2863208"/>
              <a:gd name="connsiteX4" fmla="*/ 4531807 w 11888066"/>
              <a:gd name="connsiteY4" fmla="*/ 34774 h 2863208"/>
              <a:gd name="connsiteX5" fmla="*/ 6300317 w 11888066"/>
              <a:gd name="connsiteY5" fmla="*/ 64919 h 2863208"/>
              <a:gd name="connsiteX6" fmla="*/ 7063991 w 11888066"/>
              <a:gd name="connsiteY6" fmla="*/ 34774 h 2863208"/>
              <a:gd name="connsiteX7" fmla="*/ 8098972 w 11888066"/>
              <a:gd name="connsiteY7" fmla="*/ 64919 h 2863208"/>
              <a:gd name="connsiteX8" fmla="*/ 9485644 w 11888066"/>
              <a:gd name="connsiteY8" fmla="*/ 64919 h 2863208"/>
              <a:gd name="connsiteX9" fmla="*/ 9827288 w 11888066"/>
              <a:gd name="connsiteY9" fmla="*/ 34774 h 2863208"/>
              <a:gd name="connsiteX10" fmla="*/ 10671350 w 11888066"/>
              <a:gd name="connsiteY10" fmla="*/ 4629 h 2863208"/>
              <a:gd name="connsiteX11" fmla="*/ 11745799 w 11888066"/>
              <a:gd name="connsiteY11" fmla="*/ 346275 h 2863208"/>
              <a:gd name="connsiteX12" fmla="*/ 11786160 w 11888066"/>
              <a:gd name="connsiteY12" fmla="*/ 2587055 h 2863208"/>
              <a:gd name="connsiteX13" fmla="*/ 10912510 w 11888066"/>
              <a:gd name="connsiteY13" fmla="*/ 2828216 h 2863208"/>
              <a:gd name="connsiteX14" fmla="*/ 10008159 w 11888066"/>
              <a:gd name="connsiteY14" fmla="*/ 2828216 h 2863208"/>
              <a:gd name="connsiteX15" fmla="*/ 9435402 w 11888066"/>
              <a:gd name="connsiteY15" fmla="*/ 2828216 h 2863208"/>
              <a:gd name="connsiteX16" fmla="*/ 7365442 w 11888066"/>
              <a:gd name="connsiteY16" fmla="*/ 2788023 h 2863208"/>
              <a:gd name="connsiteX17" fmla="*/ 6742444 w 11888066"/>
              <a:gd name="connsiteY17" fmla="*/ 2808119 h 2863208"/>
              <a:gd name="connsiteX18" fmla="*/ 6601767 w 11888066"/>
              <a:gd name="connsiteY18" fmla="*/ 2798071 h 2863208"/>
              <a:gd name="connsiteX19" fmla="*/ 4783016 w 11888066"/>
              <a:gd name="connsiteY19" fmla="*/ 2848313 h 2863208"/>
              <a:gd name="connsiteX20" fmla="*/ 3938954 w 11888066"/>
              <a:gd name="connsiteY20" fmla="*/ 2828216 h 2863208"/>
              <a:gd name="connsiteX21" fmla="*/ 2944167 w 11888066"/>
              <a:gd name="connsiteY21" fmla="*/ 2808119 h 2863208"/>
              <a:gd name="connsiteX22" fmla="*/ 1889090 w 11888066"/>
              <a:gd name="connsiteY22" fmla="*/ 2818168 h 2863208"/>
              <a:gd name="connsiteX23" fmla="*/ 12890 w 11888066"/>
              <a:gd name="connsiteY23" fmla="*/ 2798069 h 2863208"/>
              <a:gd name="connsiteX0" fmla="*/ 0 w 11848891"/>
              <a:gd name="connsiteY0" fmla="*/ 24726 h 2849235"/>
              <a:gd name="connsiteX1" fmla="*/ 552660 w 11848891"/>
              <a:gd name="connsiteY1" fmla="*/ 4629 h 2849235"/>
              <a:gd name="connsiteX2" fmla="*/ 1637882 w 11848891"/>
              <a:gd name="connsiteY2" fmla="*/ 14677 h 2849235"/>
              <a:gd name="connsiteX3" fmla="*/ 2019719 w 11848891"/>
              <a:gd name="connsiteY3" fmla="*/ 14677 h 2849235"/>
              <a:gd name="connsiteX4" fmla="*/ 4531807 w 11848891"/>
              <a:gd name="connsiteY4" fmla="*/ 34774 h 2849235"/>
              <a:gd name="connsiteX5" fmla="*/ 6300317 w 11848891"/>
              <a:gd name="connsiteY5" fmla="*/ 64919 h 2849235"/>
              <a:gd name="connsiteX6" fmla="*/ 7063991 w 11848891"/>
              <a:gd name="connsiteY6" fmla="*/ 34774 h 2849235"/>
              <a:gd name="connsiteX7" fmla="*/ 8098972 w 11848891"/>
              <a:gd name="connsiteY7" fmla="*/ 64919 h 2849235"/>
              <a:gd name="connsiteX8" fmla="*/ 9485644 w 11848891"/>
              <a:gd name="connsiteY8" fmla="*/ 64919 h 2849235"/>
              <a:gd name="connsiteX9" fmla="*/ 9827288 w 11848891"/>
              <a:gd name="connsiteY9" fmla="*/ 34774 h 2849235"/>
              <a:gd name="connsiteX10" fmla="*/ 10671350 w 11848891"/>
              <a:gd name="connsiteY10" fmla="*/ 4629 h 2849235"/>
              <a:gd name="connsiteX11" fmla="*/ 11745799 w 11848891"/>
              <a:gd name="connsiteY11" fmla="*/ 346275 h 2849235"/>
              <a:gd name="connsiteX12" fmla="*/ 11786160 w 11848891"/>
              <a:gd name="connsiteY12" fmla="*/ 2587055 h 2849235"/>
              <a:gd name="connsiteX13" fmla="*/ 10912510 w 11848891"/>
              <a:gd name="connsiteY13" fmla="*/ 2828216 h 2849235"/>
              <a:gd name="connsiteX14" fmla="*/ 10008159 w 11848891"/>
              <a:gd name="connsiteY14" fmla="*/ 2828216 h 2849235"/>
              <a:gd name="connsiteX15" fmla="*/ 9435402 w 11848891"/>
              <a:gd name="connsiteY15" fmla="*/ 2828216 h 2849235"/>
              <a:gd name="connsiteX16" fmla="*/ 7365442 w 11848891"/>
              <a:gd name="connsiteY16" fmla="*/ 2788023 h 2849235"/>
              <a:gd name="connsiteX17" fmla="*/ 6742444 w 11848891"/>
              <a:gd name="connsiteY17" fmla="*/ 2808119 h 2849235"/>
              <a:gd name="connsiteX18" fmla="*/ 6601767 w 11848891"/>
              <a:gd name="connsiteY18" fmla="*/ 2798071 h 2849235"/>
              <a:gd name="connsiteX19" fmla="*/ 4783016 w 11848891"/>
              <a:gd name="connsiteY19" fmla="*/ 2848313 h 2849235"/>
              <a:gd name="connsiteX20" fmla="*/ 3938954 w 11848891"/>
              <a:gd name="connsiteY20" fmla="*/ 2828216 h 2849235"/>
              <a:gd name="connsiteX21" fmla="*/ 2944167 w 11848891"/>
              <a:gd name="connsiteY21" fmla="*/ 2808119 h 2849235"/>
              <a:gd name="connsiteX22" fmla="*/ 1889090 w 11848891"/>
              <a:gd name="connsiteY22" fmla="*/ 2818168 h 2849235"/>
              <a:gd name="connsiteX23" fmla="*/ 12890 w 11848891"/>
              <a:gd name="connsiteY23" fmla="*/ 2798069 h 2849235"/>
              <a:gd name="connsiteX0" fmla="*/ 0 w 11916572"/>
              <a:gd name="connsiteY0" fmla="*/ 24726 h 2849235"/>
              <a:gd name="connsiteX1" fmla="*/ 552660 w 11916572"/>
              <a:gd name="connsiteY1" fmla="*/ 4629 h 2849235"/>
              <a:gd name="connsiteX2" fmla="*/ 1637882 w 11916572"/>
              <a:gd name="connsiteY2" fmla="*/ 14677 h 2849235"/>
              <a:gd name="connsiteX3" fmla="*/ 2019719 w 11916572"/>
              <a:gd name="connsiteY3" fmla="*/ 14677 h 2849235"/>
              <a:gd name="connsiteX4" fmla="*/ 4531807 w 11916572"/>
              <a:gd name="connsiteY4" fmla="*/ 34774 h 2849235"/>
              <a:gd name="connsiteX5" fmla="*/ 6300317 w 11916572"/>
              <a:gd name="connsiteY5" fmla="*/ 64919 h 2849235"/>
              <a:gd name="connsiteX6" fmla="*/ 7063991 w 11916572"/>
              <a:gd name="connsiteY6" fmla="*/ 34774 h 2849235"/>
              <a:gd name="connsiteX7" fmla="*/ 8098972 w 11916572"/>
              <a:gd name="connsiteY7" fmla="*/ 64919 h 2849235"/>
              <a:gd name="connsiteX8" fmla="*/ 9485644 w 11916572"/>
              <a:gd name="connsiteY8" fmla="*/ 64919 h 2849235"/>
              <a:gd name="connsiteX9" fmla="*/ 9827288 w 11916572"/>
              <a:gd name="connsiteY9" fmla="*/ 34774 h 2849235"/>
              <a:gd name="connsiteX10" fmla="*/ 10671350 w 11916572"/>
              <a:gd name="connsiteY10" fmla="*/ 4629 h 2849235"/>
              <a:gd name="connsiteX11" fmla="*/ 11745799 w 11916572"/>
              <a:gd name="connsiteY11" fmla="*/ 346275 h 2849235"/>
              <a:gd name="connsiteX12" fmla="*/ 11786160 w 11916572"/>
              <a:gd name="connsiteY12" fmla="*/ 2587055 h 2849235"/>
              <a:gd name="connsiteX13" fmla="*/ 10912510 w 11916572"/>
              <a:gd name="connsiteY13" fmla="*/ 2828216 h 2849235"/>
              <a:gd name="connsiteX14" fmla="*/ 10008159 w 11916572"/>
              <a:gd name="connsiteY14" fmla="*/ 2828216 h 2849235"/>
              <a:gd name="connsiteX15" fmla="*/ 9435402 w 11916572"/>
              <a:gd name="connsiteY15" fmla="*/ 2828216 h 2849235"/>
              <a:gd name="connsiteX16" fmla="*/ 7365442 w 11916572"/>
              <a:gd name="connsiteY16" fmla="*/ 2788023 h 2849235"/>
              <a:gd name="connsiteX17" fmla="*/ 6742444 w 11916572"/>
              <a:gd name="connsiteY17" fmla="*/ 2808119 h 2849235"/>
              <a:gd name="connsiteX18" fmla="*/ 6601767 w 11916572"/>
              <a:gd name="connsiteY18" fmla="*/ 2798071 h 2849235"/>
              <a:gd name="connsiteX19" fmla="*/ 4783016 w 11916572"/>
              <a:gd name="connsiteY19" fmla="*/ 2848313 h 2849235"/>
              <a:gd name="connsiteX20" fmla="*/ 3938954 w 11916572"/>
              <a:gd name="connsiteY20" fmla="*/ 2828216 h 2849235"/>
              <a:gd name="connsiteX21" fmla="*/ 2944167 w 11916572"/>
              <a:gd name="connsiteY21" fmla="*/ 2808119 h 2849235"/>
              <a:gd name="connsiteX22" fmla="*/ 1889090 w 11916572"/>
              <a:gd name="connsiteY22" fmla="*/ 2818168 h 2849235"/>
              <a:gd name="connsiteX23" fmla="*/ 12890 w 11916572"/>
              <a:gd name="connsiteY23" fmla="*/ 2798069 h 2849235"/>
              <a:gd name="connsiteX0" fmla="*/ 0 w 11936930"/>
              <a:gd name="connsiteY0" fmla="*/ 24726 h 2849235"/>
              <a:gd name="connsiteX1" fmla="*/ 552660 w 11936930"/>
              <a:gd name="connsiteY1" fmla="*/ 4629 h 2849235"/>
              <a:gd name="connsiteX2" fmla="*/ 1637882 w 11936930"/>
              <a:gd name="connsiteY2" fmla="*/ 14677 h 2849235"/>
              <a:gd name="connsiteX3" fmla="*/ 2019719 w 11936930"/>
              <a:gd name="connsiteY3" fmla="*/ 14677 h 2849235"/>
              <a:gd name="connsiteX4" fmla="*/ 4531807 w 11936930"/>
              <a:gd name="connsiteY4" fmla="*/ 34774 h 2849235"/>
              <a:gd name="connsiteX5" fmla="*/ 6300317 w 11936930"/>
              <a:gd name="connsiteY5" fmla="*/ 64919 h 2849235"/>
              <a:gd name="connsiteX6" fmla="*/ 7063991 w 11936930"/>
              <a:gd name="connsiteY6" fmla="*/ 34774 h 2849235"/>
              <a:gd name="connsiteX7" fmla="*/ 8098972 w 11936930"/>
              <a:gd name="connsiteY7" fmla="*/ 64919 h 2849235"/>
              <a:gd name="connsiteX8" fmla="*/ 9485644 w 11936930"/>
              <a:gd name="connsiteY8" fmla="*/ 64919 h 2849235"/>
              <a:gd name="connsiteX9" fmla="*/ 9827288 w 11936930"/>
              <a:gd name="connsiteY9" fmla="*/ 34774 h 2849235"/>
              <a:gd name="connsiteX10" fmla="*/ 10311615 w 11936930"/>
              <a:gd name="connsiteY10" fmla="*/ 4629 h 2849235"/>
              <a:gd name="connsiteX11" fmla="*/ 11745799 w 11936930"/>
              <a:gd name="connsiteY11" fmla="*/ 346275 h 2849235"/>
              <a:gd name="connsiteX12" fmla="*/ 11786160 w 11936930"/>
              <a:gd name="connsiteY12" fmla="*/ 2587055 h 2849235"/>
              <a:gd name="connsiteX13" fmla="*/ 10912510 w 11936930"/>
              <a:gd name="connsiteY13" fmla="*/ 2828216 h 2849235"/>
              <a:gd name="connsiteX14" fmla="*/ 10008159 w 11936930"/>
              <a:gd name="connsiteY14" fmla="*/ 2828216 h 2849235"/>
              <a:gd name="connsiteX15" fmla="*/ 9435402 w 11936930"/>
              <a:gd name="connsiteY15" fmla="*/ 2828216 h 2849235"/>
              <a:gd name="connsiteX16" fmla="*/ 7365442 w 11936930"/>
              <a:gd name="connsiteY16" fmla="*/ 2788023 h 2849235"/>
              <a:gd name="connsiteX17" fmla="*/ 6742444 w 11936930"/>
              <a:gd name="connsiteY17" fmla="*/ 2808119 h 2849235"/>
              <a:gd name="connsiteX18" fmla="*/ 6601767 w 11936930"/>
              <a:gd name="connsiteY18" fmla="*/ 2798071 h 2849235"/>
              <a:gd name="connsiteX19" fmla="*/ 4783016 w 11936930"/>
              <a:gd name="connsiteY19" fmla="*/ 2848313 h 2849235"/>
              <a:gd name="connsiteX20" fmla="*/ 3938954 w 11936930"/>
              <a:gd name="connsiteY20" fmla="*/ 2828216 h 2849235"/>
              <a:gd name="connsiteX21" fmla="*/ 2944167 w 11936930"/>
              <a:gd name="connsiteY21" fmla="*/ 2808119 h 2849235"/>
              <a:gd name="connsiteX22" fmla="*/ 1889090 w 11936930"/>
              <a:gd name="connsiteY22" fmla="*/ 2818168 h 2849235"/>
              <a:gd name="connsiteX23" fmla="*/ 12890 w 11936930"/>
              <a:gd name="connsiteY23" fmla="*/ 2798069 h 2849235"/>
              <a:gd name="connsiteX0" fmla="*/ 0 w 11936930"/>
              <a:gd name="connsiteY0" fmla="*/ 24726 h 2849235"/>
              <a:gd name="connsiteX1" fmla="*/ 552660 w 11936930"/>
              <a:gd name="connsiteY1" fmla="*/ 4629 h 2849235"/>
              <a:gd name="connsiteX2" fmla="*/ 1637882 w 11936930"/>
              <a:gd name="connsiteY2" fmla="*/ 14677 h 2849235"/>
              <a:gd name="connsiteX3" fmla="*/ 2019719 w 11936930"/>
              <a:gd name="connsiteY3" fmla="*/ 14677 h 2849235"/>
              <a:gd name="connsiteX4" fmla="*/ 4531807 w 11936930"/>
              <a:gd name="connsiteY4" fmla="*/ 34774 h 2849235"/>
              <a:gd name="connsiteX5" fmla="*/ 6300317 w 11936930"/>
              <a:gd name="connsiteY5" fmla="*/ 64919 h 2849235"/>
              <a:gd name="connsiteX6" fmla="*/ 7063991 w 11936930"/>
              <a:gd name="connsiteY6" fmla="*/ 34774 h 2849235"/>
              <a:gd name="connsiteX7" fmla="*/ 8098972 w 11936930"/>
              <a:gd name="connsiteY7" fmla="*/ 64919 h 2849235"/>
              <a:gd name="connsiteX8" fmla="*/ 9485644 w 11936930"/>
              <a:gd name="connsiteY8" fmla="*/ 64919 h 2849235"/>
              <a:gd name="connsiteX9" fmla="*/ 10311615 w 11936930"/>
              <a:gd name="connsiteY9" fmla="*/ 4629 h 2849235"/>
              <a:gd name="connsiteX10" fmla="*/ 11745799 w 11936930"/>
              <a:gd name="connsiteY10" fmla="*/ 346275 h 2849235"/>
              <a:gd name="connsiteX11" fmla="*/ 11786160 w 11936930"/>
              <a:gd name="connsiteY11" fmla="*/ 2587055 h 2849235"/>
              <a:gd name="connsiteX12" fmla="*/ 10912510 w 11936930"/>
              <a:gd name="connsiteY12" fmla="*/ 2828216 h 2849235"/>
              <a:gd name="connsiteX13" fmla="*/ 10008159 w 11936930"/>
              <a:gd name="connsiteY13" fmla="*/ 2828216 h 2849235"/>
              <a:gd name="connsiteX14" fmla="*/ 9435402 w 11936930"/>
              <a:gd name="connsiteY14" fmla="*/ 2828216 h 2849235"/>
              <a:gd name="connsiteX15" fmla="*/ 7365442 w 11936930"/>
              <a:gd name="connsiteY15" fmla="*/ 2788023 h 2849235"/>
              <a:gd name="connsiteX16" fmla="*/ 6742444 w 11936930"/>
              <a:gd name="connsiteY16" fmla="*/ 2808119 h 2849235"/>
              <a:gd name="connsiteX17" fmla="*/ 6601767 w 11936930"/>
              <a:gd name="connsiteY17" fmla="*/ 2798071 h 2849235"/>
              <a:gd name="connsiteX18" fmla="*/ 4783016 w 11936930"/>
              <a:gd name="connsiteY18" fmla="*/ 2848313 h 2849235"/>
              <a:gd name="connsiteX19" fmla="*/ 3938954 w 11936930"/>
              <a:gd name="connsiteY19" fmla="*/ 2828216 h 2849235"/>
              <a:gd name="connsiteX20" fmla="*/ 2944167 w 11936930"/>
              <a:gd name="connsiteY20" fmla="*/ 2808119 h 2849235"/>
              <a:gd name="connsiteX21" fmla="*/ 1889090 w 11936930"/>
              <a:gd name="connsiteY21" fmla="*/ 2818168 h 2849235"/>
              <a:gd name="connsiteX22" fmla="*/ 12890 w 11936930"/>
              <a:gd name="connsiteY22" fmla="*/ 2798069 h 2849235"/>
              <a:gd name="connsiteX0" fmla="*/ 0 w 11936930"/>
              <a:gd name="connsiteY0" fmla="*/ 24726 h 2849235"/>
              <a:gd name="connsiteX1" fmla="*/ 552660 w 11936930"/>
              <a:gd name="connsiteY1" fmla="*/ 4629 h 2849235"/>
              <a:gd name="connsiteX2" fmla="*/ 1637882 w 11936930"/>
              <a:gd name="connsiteY2" fmla="*/ 14677 h 2849235"/>
              <a:gd name="connsiteX3" fmla="*/ 2019719 w 11936930"/>
              <a:gd name="connsiteY3" fmla="*/ 14677 h 2849235"/>
              <a:gd name="connsiteX4" fmla="*/ 4531807 w 11936930"/>
              <a:gd name="connsiteY4" fmla="*/ 34774 h 2849235"/>
              <a:gd name="connsiteX5" fmla="*/ 6300317 w 11936930"/>
              <a:gd name="connsiteY5" fmla="*/ 64919 h 2849235"/>
              <a:gd name="connsiteX6" fmla="*/ 7063991 w 11936930"/>
              <a:gd name="connsiteY6" fmla="*/ 34774 h 2849235"/>
              <a:gd name="connsiteX7" fmla="*/ 8098972 w 11936930"/>
              <a:gd name="connsiteY7" fmla="*/ 64919 h 2849235"/>
              <a:gd name="connsiteX8" fmla="*/ 8956033 w 11936930"/>
              <a:gd name="connsiteY8" fmla="*/ 64919 h 2849235"/>
              <a:gd name="connsiteX9" fmla="*/ 10311615 w 11936930"/>
              <a:gd name="connsiteY9" fmla="*/ 4629 h 2849235"/>
              <a:gd name="connsiteX10" fmla="*/ 11745799 w 11936930"/>
              <a:gd name="connsiteY10" fmla="*/ 346275 h 2849235"/>
              <a:gd name="connsiteX11" fmla="*/ 11786160 w 11936930"/>
              <a:gd name="connsiteY11" fmla="*/ 2587055 h 2849235"/>
              <a:gd name="connsiteX12" fmla="*/ 10912510 w 11936930"/>
              <a:gd name="connsiteY12" fmla="*/ 2828216 h 2849235"/>
              <a:gd name="connsiteX13" fmla="*/ 10008159 w 11936930"/>
              <a:gd name="connsiteY13" fmla="*/ 2828216 h 2849235"/>
              <a:gd name="connsiteX14" fmla="*/ 9435402 w 11936930"/>
              <a:gd name="connsiteY14" fmla="*/ 2828216 h 2849235"/>
              <a:gd name="connsiteX15" fmla="*/ 7365442 w 11936930"/>
              <a:gd name="connsiteY15" fmla="*/ 2788023 h 2849235"/>
              <a:gd name="connsiteX16" fmla="*/ 6742444 w 11936930"/>
              <a:gd name="connsiteY16" fmla="*/ 2808119 h 2849235"/>
              <a:gd name="connsiteX17" fmla="*/ 6601767 w 11936930"/>
              <a:gd name="connsiteY17" fmla="*/ 2798071 h 2849235"/>
              <a:gd name="connsiteX18" fmla="*/ 4783016 w 11936930"/>
              <a:gd name="connsiteY18" fmla="*/ 2848313 h 2849235"/>
              <a:gd name="connsiteX19" fmla="*/ 3938954 w 11936930"/>
              <a:gd name="connsiteY19" fmla="*/ 2828216 h 2849235"/>
              <a:gd name="connsiteX20" fmla="*/ 2944167 w 11936930"/>
              <a:gd name="connsiteY20" fmla="*/ 2808119 h 2849235"/>
              <a:gd name="connsiteX21" fmla="*/ 1889090 w 11936930"/>
              <a:gd name="connsiteY21" fmla="*/ 2818168 h 2849235"/>
              <a:gd name="connsiteX22" fmla="*/ 12890 w 11936930"/>
              <a:gd name="connsiteY22" fmla="*/ 2798069 h 2849235"/>
              <a:gd name="connsiteX0" fmla="*/ 0 w 11949661"/>
              <a:gd name="connsiteY0" fmla="*/ 24726 h 2849235"/>
              <a:gd name="connsiteX1" fmla="*/ 552660 w 11949661"/>
              <a:gd name="connsiteY1" fmla="*/ 4629 h 2849235"/>
              <a:gd name="connsiteX2" fmla="*/ 1637882 w 11949661"/>
              <a:gd name="connsiteY2" fmla="*/ 14677 h 2849235"/>
              <a:gd name="connsiteX3" fmla="*/ 2019719 w 11949661"/>
              <a:gd name="connsiteY3" fmla="*/ 14677 h 2849235"/>
              <a:gd name="connsiteX4" fmla="*/ 4531807 w 11949661"/>
              <a:gd name="connsiteY4" fmla="*/ 34774 h 2849235"/>
              <a:gd name="connsiteX5" fmla="*/ 6300317 w 11949661"/>
              <a:gd name="connsiteY5" fmla="*/ 64919 h 2849235"/>
              <a:gd name="connsiteX6" fmla="*/ 7063991 w 11949661"/>
              <a:gd name="connsiteY6" fmla="*/ 34774 h 2849235"/>
              <a:gd name="connsiteX7" fmla="*/ 8098972 w 11949661"/>
              <a:gd name="connsiteY7" fmla="*/ 64919 h 2849235"/>
              <a:gd name="connsiteX8" fmla="*/ 8956033 w 11949661"/>
              <a:gd name="connsiteY8" fmla="*/ 64919 h 2849235"/>
              <a:gd name="connsiteX9" fmla="*/ 10101769 w 11949661"/>
              <a:gd name="connsiteY9" fmla="*/ 4629 h 2849235"/>
              <a:gd name="connsiteX10" fmla="*/ 11745799 w 11949661"/>
              <a:gd name="connsiteY10" fmla="*/ 346275 h 2849235"/>
              <a:gd name="connsiteX11" fmla="*/ 11786160 w 11949661"/>
              <a:gd name="connsiteY11" fmla="*/ 2587055 h 2849235"/>
              <a:gd name="connsiteX12" fmla="*/ 10912510 w 11949661"/>
              <a:gd name="connsiteY12" fmla="*/ 2828216 h 2849235"/>
              <a:gd name="connsiteX13" fmla="*/ 10008159 w 11949661"/>
              <a:gd name="connsiteY13" fmla="*/ 2828216 h 2849235"/>
              <a:gd name="connsiteX14" fmla="*/ 9435402 w 11949661"/>
              <a:gd name="connsiteY14" fmla="*/ 2828216 h 2849235"/>
              <a:gd name="connsiteX15" fmla="*/ 7365442 w 11949661"/>
              <a:gd name="connsiteY15" fmla="*/ 2788023 h 2849235"/>
              <a:gd name="connsiteX16" fmla="*/ 6742444 w 11949661"/>
              <a:gd name="connsiteY16" fmla="*/ 2808119 h 2849235"/>
              <a:gd name="connsiteX17" fmla="*/ 6601767 w 11949661"/>
              <a:gd name="connsiteY17" fmla="*/ 2798071 h 2849235"/>
              <a:gd name="connsiteX18" fmla="*/ 4783016 w 11949661"/>
              <a:gd name="connsiteY18" fmla="*/ 2848313 h 2849235"/>
              <a:gd name="connsiteX19" fmla="*/ 3938954 w 11949661"/>
              <a:gd name="connsiteY19" fmla="*/ 2828216 h 2849235"/>
              <a:gd name="connsiteX20" fmla="*/ 2944167 w 11949661"/>
              <a:gd name="connsiteY20" fmla="*/ 2808119 h 2849235"/>
              <a:gd name="connsiteX21" fmla="*/ 1889090 w 11949661"/>
              <a:gd name="connsiteY21" fmla="*/ 2818168 h 2849235"/>
              <a:gd name="connsiteX22" fmla="*/ 12890 w 11949661"/>
              <a:gd name="connsiteY22" fmla="*/ 2798069 h 2849235"/>
              <a:gd name="connsiteX0" fmla="*/ 0 w 11981169"/>
              <a:gd name="connsiteY0" fmla="*/ 24726 h 2849235"/>
              <a:gd name="connsiteX1" fmla="*/ 552660 w 11981169"/>
              <a:gd name="connsiteY1" fmla="*/ 4629 h 2849235"/>
              <a:gd name="connsiteX2" fmla="*/ 1637882 w 11981169"/>
              <a:gd name="connsiteY2" fmla="*/ 14677 h 2849235"/>
              <a:gd name="connsiteX3" fmla="*/ 2019719 w 11981169"/>
              <a:gd name="connsiteY3" fmla="*/ 14677 h 2849235"/>
              <a:gd name="connsiteX4" fmla="*/ 4531807 w 11981169"/>
              <a:gd name="connsiteY4" fmla="*/ 34774 h 2849235"/>
              <a:gd name="connsiteX5" fmla="*/ 6300317 w 11981169"/>
              <a:gd name="connsiteY5" fmla="*/ 64919 h 2849235"/>
              <a:gd name="connsiteX6" fmla="*/ 7063991 w 11981169"/>
              <a:gd name="connsiteY6" fmla="*/ 34774 h 2849235"/>
              <a:gd name="connsiteX7" fmla="*/ 8098972 w 11981169"/>
              <a:gd name="connsiteY7" fmla="*/ 64919 h 2849235"/>
              <a:gd name="connsiteX8" fmla="*/ 8956033 w 11981169"/>
              <a:gd name="connsiteY8" fmla="*/ 64919 h 2849235"/>
              <a:gd name="connsiteX9" fmla="*/ 10101769 w 11981169"/>
              <a:gd name="connsiteY9" fmla="*/ 4629 h 2849235"/>
              <a:gd name="connsiteX10" fmla="*/ 11745799 w 11981169"/>
              <a:gd name="connsiteY10" fmla="*/ 346275 h 2849235"/>
              <a:gd name="connsiteX11" fmla="*/ 11786160 w 11981169"/>
              <a:gd name="connsiteY11" fmla="*/ 2587055 h 2849235"/>
              <a:gd name="connsiteX12" fmla="*/ 10008159 w 11981169"/>
              <a:gd name="connsiteY12" fmla="*/ 2828216 h 2849235"/>
              <a:gd name="connsiteX13" fmla="*/ 9435402 w 11981169"/>
              <a:gd name="connsiteY13" fmla="*/ 2828216 h 2849235"/>
              <a:gd name="connsiteX14" fmla="*/ 7365442 w 11981169"/>
              <a:gd name="connsiteY14" fmla="*/ 2788023 h 2849235"/>
              <a:gd name="connsiteX15" fmla="*/ 6742444 w 11981169"/>
              <a:gd name="connsiteY15" fmla="*/ 2808119 h 2849235"/>
              <a:gd name="connsiteX16" fmla="*/ 6601767 w 11981169"/>
              <a:gd name="connsiteY16" fmla="*/ 2798071 h 2849235"/>
              <a:gd name="connsiteX17" fmla="*/ 4783016 w 11981169"/>
              <a:gd name="connsiteY17" fmla="*/ 2848313 h 2849235"/>
              <a:gd name="connsiteX18" fmla="*/ 3938954 w 11981169"/>
              <a:gd name="connsiteY18" fmla="*/ 2828216 h 2849235"/>
              <a:gd name="connsiteX19" fmla="*/ 2944167 w 11981169"/>
              <a:gd name="connsiteY19" fmla="*/ 2808119 h 2849235"/>
              <a:gd name="connsiteX20" fmla="*/ 1889090 w 11981169"/>
              <a:gd name="connsiteY20" fmla="*/ 2818168 h 2849235"/>
              <a:gd name="connsiteX21" fmla="*/ 12890 w 11981169"/>
              <a:gd name="connsiteY21" fmla="*/ 2798069 h 2849235"/>
              <a:gd name="connsiteX0" fmla="*/ 0 w 11940760"/>
              <a:gd name="connsiteY0" fmla="*/ 24144 h 2848653"/>
              <a:gd name="connsiteX1" fmla="*/ 552660 w 11940760"/>
              <a:gd name="connsiteY1" fmla="*/ 4047 h 2848653"/>
              <a:gd name="connsiteX2" fmla="*/ 1637882 w 11940760"/>
              <a:gd name="connsiteY2" fmla="*/ 14095 h 2848653"/>
              <a:gd name="connsiteX3" fmla="*/ 2019719 w 11940760"/>
              <a:gd name="connsiteY3" fmla="*/ 14095 h 2848653"/>
              <a:gd name="connsiteX4" fmla="*/ 4531807 w 11940760"/>
              <a:gd name="connsiteY4" fmla="*/ 34192 h 2848653"/>
              <a:gd name="connsiteX5" fmla="*/ 6300317 w 11940760"/>
              <a:gd name="connsiteY5" fmla="*/ 64337 h 2848653"/>
              <a:gd name="connsiteX6" fmla="*/ 7063991 w 11940760"/>
              <a:gd name="connsiteY6" fmla="*/ 34192 h 2848653"/>
              <a:gd name="connsiteX7" fmla="*/ 8098972 w 11940760"/>
              <a:gd name="connsiteY7" fmla="*/ 64337 h 2848653"/>
              <a:gd name="connsiteX8" fmla="*/ 8956033 w 11940760"/>
              <a:gd name="connsiteY8" fmla="*/ 64337 h 2848653"/>
              <a:gd name="connsiteX9" fmla="*/ 10101769 w 11940760"/>
              <a:gd name="connsiteY9" fmla="*/ 4047 h 2848653"/>
              <a:gd name="connsiteX10" fmla="*/ 11745799 w 11940760"/>
              <a:gd name="connsiteY10" fmla="*/ 345693 h 2848653"/>
              <a:gd name="connsiteX11" fmla="*/ 11716211 w 11940760"/>
              <a:gd name="connsiteY11" fmla="*/ 2566377 h 2848653"/>
              <a:gd name="connsiteX12" fmla="*/ 10008159 w 11940760"/>
              <a:gd name="connsiteY12" fmla="*/ 2827634 h 2848653"/>
              <a:gd name="connsiteX13" fmla="*/ 9435402 w 11940760"/>
              <a:gd name="connsiteY13" fmla="*/ 2827634 h 2848653"/>
              <a:gd name="connsiteX14" fmla="*/ 7365442 w 11940760"/>
              <a:gd name="connsiteY14" fmla="*/ 2787441 h 2848653"/>
              <a:gd name="connsiteX15" fmla="*/ 6742444 w 11940760"/>
              <a:gd name="connsiteY15" fmla="*/ 2807537 h 2848653"/>
              <a:gd name="connsiteX16" fmla="*/ 6601767 w 11940760"/>
              <a:gd name="connsiteY16" fmla="*/ 2797489 h 2848653"/>
              <a:gd name="connsiteX17" fmla="*/ 4783016 w 11940760"/>
              <a:gd name="connsiteY17" fmla="*/ 2847731 h 2848653"/>
              <a:gd name="connsiteX18" fmla="*/ 3938954 w 11940760"/>
              <a:gd name="connsiteY18" fmla="*/ 2827634 h 2848653"/>
              <a:gd name="connsiteX19" fmla="*/ 2944167 w 11940760"/>
              <a:gd name="connsiteY19" fmla="*/ 2807537 h 2848653"/>
              <a:gd name="connsiteX20" fmla="*/ 1889090 w 11940760"/>
              <a:gd name="connsiteY20" fmla="*/ 2817586 h 2848653"/>
              <a:gd name="connsiteX21" fmla="*/ 12890 w 11940760"/>
              <a:gd name="connsiteY21" fmla="*/ 2797487 h 2848653"/>
              <a:gd name="connsiteX0" fmla="*/ 0 w 12001276"/>
              <a:gd name="connsiteY0" fmla="*/ 24144 h 2848653"/>
              <a:gd name="connsiteX1" fmla="*/ 552660 w 12001276"/>
              <a:gd name="connsiteY1" fmla="*/ 4047 h 2848653"/>
              <a:gd name="connsiteX2" fmla="*/ 1637882 w 12001276"/>
              <a:gd name="connsiteY2" fmla="*/ 14095 h 2848653"/>
              <a:gd name="connsiteX3" fmla="*/ 2019719 w 12001276"/>
              <a:gd name="connsiteY3" fmla="*/ 14095 h 2848653"/>
              <a:gd name="connsiteX4" fmla="*/ 4531807 w 12001276"/>
              <a:gd name="connsiteY4" fmla="*/ 34192 h 2848653"/>
              <a:gd name="connsiteX5" fmla="*/ 6300317 w 12001276"/>
              <a:gd name="connsiteY5" fmla="*/ 64337 h 2848653"/>
              <a:gd name="connsiteX6" fmla="*/ 7063991 w 12001276"/>
              <a:gd name="connsiteY6" fmla="*/ 34192 h 2848653"/>
              <a:gd name="connsiteX7" fmla="*/ 8098972 w 12001276"/>
              <a:gd name="connsiteY7" fmla="*/ 64337 h 2848653"/>
              <a:gd name="connsiteX8" fmla="*/ 8956033 w 12001276"/>
              <a:gd name="connsiteY8" fmla="*/ 64337 h 2848653"/>
              <a:gd name="connsiteX9" fmla="*/ 10101769 w 12001276"/>
              <a:gd name="connsiteY9" fmla="*/ 4047 h 2848653"/>
              <a:gd name="connsiteX10" fmla="*/ 11745799 w 12001276"/>
              <a:gd name="connsiteY10" fmla="*/ 345693 h 2848653"/>
              <a:gd name="connsiteX11" fmla="*/ 11716211 w 12001276"/>
              <a:gd name="connsiteY11" fmla="*/ 2566377 h 2848653"/>
              <a:gd name="connsiteX12" fmla="*/ 10008159 w 12001276"/>
              <a:gd name="connsiteY12" fmla="*/ 2827634 h 2848653"/>
              <a:gd name="connsiteX13" fmla="*/ 9435402 w 12001276"/>
              <a:gd name="connsiteY13" fmla="*/ 2827634 h 2848653"/>
              <a:gd name="connsiteX14" fmla="*/ 7365442 w 12001276"/>
              <a:gd name="connsiteY14" fmla="*/ 2787441 h 2848653"/>
              <a:gd name="connsiteX15" fmla="*/ 6742444 w 12001276"/>
              <a:gd name="connsiteY15" fmla="*/ 2807537 h 2848653"/>
              <a:gd name="connsiteX16" fmla="*/ 6601767 w 12001276"/>
              <a:gd name="connsiteY16" fmla="*/ 2797489 h 2848653"/>
              <a:gd name="connsiteX17" fmla="*/ 4783016 w 12001276"/>
              <a:gd name="connsiteY17" fmla="*/ 2847731 h 2848653"/>
              <a:gd name="connsiteX18" fmla="*/ 3938954 w 12001276"/>
              <a:gd name="connsiteY18" fmla="*/ 2827634 h 2848653"/>
              <a:gd name="connsiteX19" fmla="*/ 2944167 w 12001276"/>
              <a:gd name="connsiteY19" fmla="*/ 2807537 h 2848653"/>
              <a:gd name="connsiteX20" fmla="*/ 1889090 w 12001276"/>
              <a:gd name="connsiteY20" fmla="*/ 2817586 h 2848653"/>
              <a:gd name="connsiteX21" fmla="*/ 12890 w 12001276"/>
              <a:gd name="connsiteY21" fmla="*/ 2797487 h 2848653"/>
              <a:gd name="connsiteX0" fmla="*/ 0 w 11892644"/>
              <a:gd name="connsiteY0" fmla="*/ 20953 h 2845462"/>
              <a:gd name="connsiteX1" fmla="*/ 552660 w 11892644"/>
              <a:gd name="connsiteY1" fmla="*/ 856 h 2845462"/>
              <a:gd name="connsiteX2" fmla="*/ 1637882 w 11892644"/>
              <a:gd name="connsiteY2" fmla="*/ 10904 h 2845462"/>
              <a:gd name="connsiteX3" fmla="*/ 2019719 w 11892644"/>
              <a:gd name="connsiteY3" fmla="*/ 10904 h 2845462"/>
              <a:gd name="connsiteX4" fmla="*/ 4531807 w 11892644"/>
              <a:gd name="connsiteY4" fmla="*/ 31001 h 2845462"/>
              <a:gd name="connsiteX5" fmla="*/ 6300317 w 11892644"/>
              <a:gd name="connsiteY5" fmla="*/ 61146 h 2845462"/>
              <a:gd name="connsiteX6" fmla="*/ 7063991 w 11892644"/>
              <a:gd name="connsiteY6" fmla="*/ 31001 h 2845462"/>
              <a:gd name="connsiteX7" fmla="*/ 8098972 w 11892644"/>
              <a:gd name="connsiteY7" fmla="*/ 61146 h 2845462"/>
              <a:gd name="connsiteX8" fmla="*/ 8956033 w 11892644"/>
              <a:gd name="connsiteY8" fmla="*/ 61146 h 2845462"/>
              <a:gd name="connsiteX9" fmla="*/ 10101769 w 11892644"/>
              <a:gd name="connsiteY9" fmla="*/ 856 h 2845462"/>
              <a:gd name="connsiteX10" fmla="*/ 11655866 w 11892644"/>
              <a:gd name="connsiteY10" fmla="*/ 362598 h 2845462"/>
              <a:gd name="connsiteX11" fmla="*/ 11716211 w 11892644"/>
              <a:gd name="connsiteY11" fmla="*/ 2563186 h 2845462"/>
              <a:gd name="connsiteX12" fmla="*/ 10008159 w 11892644"/>
              <a:gd name="connsiteY12" fmla="*/ 2824443 h 2845462"/>
              <a:gd name="connsiteX13" fmla="*/ 9435402 w 11892644"/>
              <a:gd name="connsiteY13" fmla="*/ 2824443 h 2845462"/>
              <a:gd name="connsiteX14" fmla="*/ 7365442 w 11892644"/>
              <a:gd name="connsiteY14" fmla="*/ 2784250 h 2845462"/>
              <a:gd name="connsiteX15" fmla="*/ 6742444 w 11892644"/>
              <a:gd name="connsiteY15" fmla="*/ 2804346 h 2845462"/>
              <a:gd name="connsiteX16" fmla="*/ 6601767 w 11892644"/>
              <a:gd name="connsiteY16" fmla="*/ 2794298 h 2845462"/>
              <a:gd name="connsiteX17" fmla="*/ 4783016 w 11892644"/>
              <a:gd name="connsiteY17" fmla="*/ 2844540 h 2845462"/>
              <a:gd name="connsiteX18" fmla="*/ 3938954 w 11892644"/>
              <a:gd name="connsiteY18" fmla="*/ 2824443 h 2845462"/>
              <a:gd name="connsiteX19" fmla="*/ 2944167 w 11892644"/>
              <a:gd name="connsiteY19" fmla="*/ 2804346 h 2845462"/>
              <a:gd name="connsiteX20" fmla="*/ 1889090 w 11892644"/>
              <a:gd name="connsiteY20" fmla="*/ 2814395 h 2845462"/>
              <a:gd name="connsiteX21" fmla="*/ 12890 w 11892644"/>
              <a:gd name="connsiteY21" fmla="*/ 2794296 h 2845462"/>
              <a:gd name="connsiteX0" fmla="*/ 0 w 11834291"/>
              <a:gd name="connsiteY0" fmla="*/ 20767 h 2845276"/>
              <a:gd name="connsiteX1" fmla="*/ 552660 w 11834291"/>
              <a:gd name="connsiteY1" fmla="*/ 670 h 2845276"/>
              <a:gd name="connsiteX2" fmla="*/ 1637882 w 11834291"/>
              <a:gd name="connsiteY2" fmla="*/ 10718 h 2845276"/>
              <a:gd name="connsiteX3" fmla="*/ 2019719 w 11834291"/>
              <a:gd name="connsiteY3" fmla="*/ 10718 h 2845276"/>
              <a:gd name="connsiteX4" fmla="*/ 4531807 w 11834291"/>
              <a:gd name="connsiteY4" fmla="*/ 30815 h 2845276"/>
              <a:gd name="connsiteX5" fmla="*/ 6300317 w 11834291"/>
              <a:gd name="connsiteY5" fmla="*/ 60960 h 2845276"/>
              <a:gd name="connsiteX6" fmla="*/ 7063991 w 11834291"/>
              <a:gd name="connsiteY6" fmla="*/ 30815 h 2845276"/>
              <a:gd name="connsiteX7" fmla="*/ 8098972 w 11834291"/>
              <a:gd name="connsiteY7" fmla="*/ 60960 h 2845276"/>
              <a:gd name="connsiteX8" fmla="*/ 8956033 w 11834291"/>
              <a:gd name="connsiteY8" fmla="*/ 60960 h 2845276"/>
              <a:gd name="connsiteX9" fmla="*/ 10101769 w 11834291"/>
              <a:gd name="connsiteY9" fmla="*/ 670 h 2845276"/>
              <a:gd name="connsiteX10" fmla="*/ 11655866 w 11834291"/>
              <a:gd name="connsiteY10" fmla="*/ 362412 h 2845276"/>
              <a:gd name="connsiteX11" fmla="*/ 11616285 w 11834291"/>
              <a:gd name="connsiteY11" fmla="*/ 2552952 h 2845276"/>
              <a:gd name="connsiteX12" fmla="*/ 10008159 w 11834291"/>
              <a:gd name="connsiteY12" fmla="*/ 2824257 h 2845276"/>
              <a:gd name="connsiteX13" fmla="*/ 9435402 w 11834291"/>
              <a:gd name="connsiteY13" fmla="*/ 2824257 h 2845276"/>
              <a:gd name="connsiteX14" fmla="*/ 7365442 w 11834291"/>
              <a:gd name="connsiteY14" fmla="*/ 2784064 h 2845276"/>
              <a:gd name="connsiteX15" fmla="*/ 6742444 w 11834291"/>
              <a:gd name="connsiteY15" fmla="*/ 2804160 h 2845276"/>
              <a:gd name="connsiteX16" fmla="*/ 6601767 w 11834291"/>
              <a:gd name="connsiteY16" fmla="*/ 2794112 h 2845276"/>
              <a:gd name="connsiteX17" fmla="*/ 4783016 w 11834291"/>
              <a:gd name="connsiteY17" fmla="*/ 2844354 h 2845276"/>
              <a:gd name="connsiteX18" fmla="*/ 3938954 w 11834291"/>
              <a:gd name="connsiteY18" fmla="*/ 2824257 h 2845276"/>
              <a:gd name="connsiteX19" fmla="*/ 2944167 w 11834291"/>
              <a:gd name="connsiteY19" fmla="*/ 2804160 h 2845276"/>
              <a:gd name="connsiteX20" fmla="*/ 1889090 w 11834291"/>
              <a:gd name="connsiteY20" fmla="*/ 2814209 h 2845276"/>
              <a:gd name="connsiteX21" fmla="*/ 12890 w 11834291"/>
              <a:gd name="connsiteY21" fmla="*/ 2794110 h 2845276"/>
              <a:gd name="connsiteX0" fmla="*/ 0 w 11903126"/>
              <a:gd name="connsiteY0" fmla="*/ 20767 h 2845276"/>
              <a:gd name="connsiteX1" fmla="*/ 552660 w 11903126"/>
              <a:gd name="connsiteY1" fmla="*/ 670 h 2845276"/>
              <a:gd name="connsiteX2" fmla="*/ 1637882 w 11903126"/>
              <a:gd name="connsiteY2" fmla="*/ 10718 h 2845276"/>
              <a:gd name="connsiteX3" fmla="*/ 2019719 w 11903126"/>
              <a:gd name="connsiteY3" fmla="*/ 10718 h 2845276"/>
              <a:gd name="connsiteX4" fmla="*/ 4531807 w 11903126"/>
              <a:gd name="connsiteY4" fmla="*/ 30815 h 2845276"/>
              <a:gd name="connsiteX5" fmla="*/ 6300317 w 11903126"/>
              <a:gd name="connsiteY5" fmla="*/ 60960 h 2845276"/>
              <a:gd name="connsiteX6" fmla="*/ 7063991 w 11903126"/>
              <a:gd name="connsiteY6" fmla="*/ 30815 h 2845276"/>
              <a:gd name="connsiteX7" fmla="*/ 8098972 w 11903126"/>
              <a:gd name="connsiteY7" fmla="*/ 60960 h 2845276"/>
              <a:gd name="connsiteX8" fmla="*/ 8956033 w 11903126"/>
              <a:gd name="connsiteY8" fmla="*/ 60960 h 2845276"/>
              <a:gd name="connsiteX9" fmla="*/ 10101769 w 11903126"/>
              <a:gd name="connsiteY9" fmla="*/ 670 h 2845276"/>
              <a:gd name="connsiteX10" fmla="*/ 11655866 w 11903126"/>
              <a:gd name="connsiteY10" fmla="*/ 362412 h 2845276"/>
              <a:gd name="connsiteX11" fmla="*/ 11616285 w 11903126"/>
              <a:gd name="connsiteY11" fmla="*/ 2552952 h 2845276"/>
              <a:gd name="connsiteX12" fmla="*/ 10008159 w 11903126"/>
              <a:gd name="connsiteY12" fmla="*/ 2824257 h 2845276"/>
              <a:gd name="connsiteX13" fmla="*/ 9435402 w 11903126"/>
              <a:gd name="connsiteY13" fmla="*/ 2824257 h 2845276"/>
              <a:gd name="connsiteX14" fmla="*/ 7365442 w 11903126"/>
              <a:gd name="connsiteY14" fmla="*/ 2784064 h 2845276"/>
              <a:gd name="connsiteX15" fmla="*/ 6742444 w 11903126"/>
              <a:gd name="connsiteY15" fmla="*/ 2804160 h 2845276"/>
              <a:gd name="connsiteX16" fmla="*/ 6601767 w 11903126"/>
              <a:gd name="connsiteY16" fmla="*/ 2794112 h 2845276"/>
              <a:gd name="connsiteX17" fmla="*/ 4783016 w 11903126"/>
              <a:gd name="connsiteY17" fmla="*/ 2844354 h 2845276"/>
              <a:gd name="connsiteX18" fmla="*/ 3938954 w 11903126"/>
              <a:gd name="connsiteY18" fmla="*/ 2824257 h 2845276"/>
              <a:gd name="connsiteX19" fmla="*/ 2944167 w 11903126"/>
              <a:gd name="connsiteY19" fmla="*/ 2804160 h 2845276"/>
              <a:gd name="connsiteX20" fmla="*/ 1889090 w 11903126"/>
              <a:gd name="connsiteY20" fmla="*/ 2814209 h 2845276"/>
              <a:gd name="connsiteX21" fmla="*/ 12890 w 11903126"/>
              <a:gd name="connsiteY21" fmla="*/ 2794110 h 2845276"/>
              <a:gd name="connsiteX0" fmla="*/ 0 w 11949884"/>
              <a:gd name="connsiteY0" fmla="*/ 20097 h 2844606"/>
              <a:gd name="connsiteX1" fmla="*/ 552660 w 11949884"/>
              <a:gd name="connsiteY1" fmla="*/ 0 h 2844606"/>
              <a:gd name="connsiteX2" fmla="*/ 1637882 w 11949884"/>
              <a:gd name="connsiteY2" fmla="*/ 10048 h 2844606"/>
              <a:gd name="connsiteX3" fmla="*/ 2019719 w 11949884"/>
              <a:gd name="connsiteY3" fmla="*/ 10048 h 2844606"/>
              <a:gd name="connsiteX4" fmla="*/ 4531807 w 11949884"/>
              <a:gd name="connsiteY4" fmla="*/ 30145 h 2844606"/>
              <a:gd name="connsiteX5" fmla="*/ 6300317 w 11949884"/>
              <a:gd name="connsiteY5" fmla="*/ 60290 h 2844606"/>
              <a:gd name="connsiteX6" fmla="*/ 7063991 w 11949884"/>
              <a:gd name="connsiteY6" fmla="*/ 30145 h 2844606"/>
              <a:gd name="connsiteX7" fmla="*/ 8098972 w 11949884"/>
              <a:gd name="connsiteY7" fmla="*/ 60290 h 2844606"/>
              <a:gd name="connsiteX8" fmla="*/ 8956033 w 11949884"/>
              <a:gd name="connsiteY8" fmla="*/ 60290 h 2844606"/>
              <a:gd name="connsiteX9" fmla="*/ 10101769 w 11949884"/>
              <a:gd name="connsiteY9" fmla="*/ 0 h 2844606"/>
              <a:gd name="connsiteX10" fmla="*/ 11655866 w 11949884"/>
              <a:gd name="connsiteY10" fmla="*/ 361742 h 2844606"/>
              <a:gd name="connsiteX11" fmla="*/ 11616285 w 11949884"/>
              <a:gd name="connsiteY11" fmla="*/ 2552282 h 2844606"/>
              <a:gd name="connsiteX12" fmla="*/ 10008159 w 11949884"/>
              <a:gd name="connsiteY12" fmla="*/ 2823587 h 2844606"/>
              <a:gd name="connsiteX13" fmla="*/ 9435402 w 11949884"/>
              <a:gd name="connsiteY13" fmla="*/ 2823587 h 2844606"/>
              <a:gd name="connsiteX14" fmla="*/ 7365442 w 11949884"/>
              <a:gd name="connsiteY14" fmla="*/ 2783394 h 2844606"/>
              <a:gd name="connsiteX15" fmla="*/ 6742444 w 11949884"/>
              <a:gd name="connsiteY15" fmla="*/ 2803490 h 2844606"/>
              <a:gd name="connsiteX16" fmla="*/ 6601767 w 11949884"/>
              <a:gd name="connsiteY16" fmla="*/ 2793442 h 2844606"/>
              <a:gd name="connsiteX17" fmla="*/ 4783016 w 11949884"/>
              <a:gd name="connsiteY17" fmla="*/ 2843684 h 2844606"/>
              <a:gd name="connsiteX18" fmla="*/ 3938954 w 11949884"/>
              <a:gd name="connsiteY18" fmla="*/ 2823587 h 2844606"/>
              <a:gd name="connsiteX19" fmla="*/ 2944167 w 11949884"/>
              <a:gd name="connsiteY19" fmla="*/ 2803490 h 2844606"/>
              <a:gd name="connsiteX20" fmla="*/ 1889090 w 11949884"/>
              <a:gd name="connsiteY20" fmla="*/ 2813539 h 2844606"/>
              <a:gd name="connsiteX21" fmla="*/ 12890 w 11949884"/>
              <a:gd name="connsiteY21" fmla="*/ 2793440 h 2844606"/>
              <a:gd name="connsiteX0" fmla="*/ 0 w 11868023"/>
              <a:gd name="connsiteY0" fmla="*/ 20097 h 2844606"/>
              <a:gd name="connsiteX1" fmla="*/ 552660 w 11868023"/>
              <a:gd name="connsiteY1" fmla="*/ 0 h 2844606"/>
              <a:gd name="connsiteX2" fmla="*/ 1637882 w 11868023"/>
              <a:gd name="connsiteY2" fmla="*/ 10048 h 2844606"/>
              <a:gd name="connsiteX3" fmla="*/ 2019719 w 11868023"/>
              <a:gd name="connsiteY3" fmla="*/ 10048 h 2844606"/>
              <a:gd name="connsiteX4" fmla="*/ 4531807 w 11868023"/>
              <a:gd name="connsiteY4" fmla="*/ 30145 h 2844606"/>
              <a:gd name="connsiteX5" fmla="*/ 6300317 w 11868023"/>
              <a:gd name="connsiteY5" fmla="*/ 60290 h 2844606"/>
              <a:gd name="connsiteX6" fmla="*/ 7063991 w 11868023"/>
              <a:gd name="connsiteY6" fmla="*/ 30145 h 2844606"/>
              <a:gd name="connsiteX7" fmla="*/ 8098972 w 11868023"/>
              <a:gd name="connsiteY7" fmla="*/ 60290 h 2844606"/>
              <a:gd name="connsiteX8" fmla="*/ 8956033 w 11868023"/>
              <a:gd name="connsiteY8" fmla="*/ 60290 h 2844606"/>
              <a:gd name="connsiteX9" fmla="*/ 10101769 w 11868023"/>
              <a:gd name="connsiteY9" fmla="*/ 0 h 2844606"/>
              <a:gd name="connsiteX10" fmla="*/ 11625888 w 11868023"/>
              <a:gd name="connsiteY10" fmla="*/ 351694 h 2844606"/>
              <a:gd name="connsiteX11" fmla="*/ 11616285 w 11868023"/>
              <a:gd name="connsiteY11" fmla="*/ 2552282 h 2844606"/>
              <a:gd name="connsiteX12" fmla="*/ 10008159 w 11868023"/>
              <a:gd name="connsiteY12" fmla="*/ 2823587 h 2844606"/>
              <a:gd name="connsiteX13" fmla="*/ 9435402 w 11868023"/>
              <a:gd name="connsiteY13" fmla="*/ 2823587 h 2844606"/>
              <a:gd name="connsiteX14" fmla="*/ 7365442 w 11868023"/>
              <a:gd name="connsiteY14" fmla="*/ 2783394 h 2844606"/>
              <a:gd name="connsiteX15" fmla="*/ 6742444 w 11868023"/>
              <a:gd name="connsiteY15" fmla="*/ 2803490 h 2844606"/>
              <a:gd name="connsiteX16" fmla="*/ 6601767 w 11868023"/>
              <a:gd name="connsiteY16" fmla="*/ 2793442 h 2844606"/>
              <a:gd name="connsiteX17" fmla="*/ 4783016 w 11868023"/>
              <a:gd name="connsiteY17" fmla="*/ 2843684 h 2844606"/>
              <a:gd name="connsiteX18" fmla="*/ 3938954 w 11868023"/>
              <a:gd name="connsiteY18" fmla="*/ 2823587 h 2844606"/>
              <a:gd name="connsiteX19" fmla="*/ 2944167 w 11868023"/>
              <a:gd name="connsiteY19" fmla="*/ 2803490 h 2844606"/>
              <a:gd name="connsiteX20" fmla="*/ 1889090 w 11868023"/>
              <a:gd name="connsiteY20" fmla="*/ 2813539 h 2844606"/>
              <a:gd name="connsiteX21" fmla="*/ 12890 w 11868023"/>
              <a:gd name="connsiteY21" fmla="*/ 2793440 h 2844606"/>
              <a:gd name="connsiteX0" fmla="*/ 0 w 11911375"/>
              <a:gd name="connsiteY0" fmla="*/ 20097 h 2844606"/>
              <a:gd name="connsiteX1" fmla="*/ 552660 w 11911375"/>
              <a:gd name="connsiteY1" fmla="*/ 0 h 2844606"/>
              <a:gd name="connsiteX2" fmla="*/ 1637882 w 11911375"/>
              <a:gd name="connsiteY2" fmla="*/ 10048 h 2844606"/>
              <a:gd name="connsiteX3" fmla="*/ 2019719 w 11911375"/>
              <a:gd name="connsiteY3" fmla="*/ 10048 h 2844606"/>
              <a:gd name="connsiteX4" fmla="*/ 4531807 w 11911375"/>
              <a:gd name="connsiteY4" fmla="*/ 30145 h 2844606"/>
              <a:gd name="connsiteX5" fmla="*/ 6300317 w 11911375"/>
              <a:gd name="connsiteY5" fmla="*/ 60290 h 2844606"/>
              <a:gd name="connsiteX6" fmla="*/ 7063991 w 11911375"/>
              <a:gd name="connsiteY6" fmla="*/ 30145 h 2844606"/>
              <a:gd name="connsiteX7" fmla="*/ 8098972 w 11911375"/>
              <a:gd name="connsiteY7" fmla="*/ 60290 h 2844606"/>
              <a:gd name="connsiteX8" fmla="*/ 8956033 w 11911375"/>
              <a:gd name="connsiteY8" fmla="*/ 60290 h 2844606"/>
              <a:gd name="connsiteX9" fmla="*/ 10101769 w 11911375"/>
              <a:gd name="connsiteY9" fmla="*/ 0 h 2844606"/>
              <a:gd name="connsiteX10" fmla="*/ 11625888 w 11911375"/>
              <a:gd name="connsiteY10" fmla="*/ 351694 h 2844606"/>
              <a:gd name="connsiteX11" fmla="*/ 11616285 w 11911375"/>
              <a:gd name="connsiteY11" fmla="*/ 2552282 h 2844606"/>
              <a:gd name="connsiteX12" fmla="*/ 10008159 w 11911375"/>
              <a:gd name="connsiteY12" fmla="*/ 2823587 h 2844606"/>
              <a:gd name="connsiteX13" fmla="*/ 9435402 w 11911375"/>
              <a:gd name="connsiteY13" fmla="*/ 2823587 h 2844606"/>
              <a:gd name="connsiteX14" fmla="*/ 7365442 w 11911375"/>
              <a:gd name="connsiteY14" fmla="*/ 2783394 h 2844606"/>
              <a:gd name="connsiteX15" fmla="*/ 6742444 w 11911375"/>
              <a:gd name="connsiteY15" fmla="*/ 2803490 h 2844606"/>
              <a:gd name="connsiteX16" fmla="*/ 6601767 w 11911375"/>
              <a:gd name="connsiteY16" fmla="*/ 2793442 h 2844606"/>
              <a:gd name="connsiteX17" fmla="*/ 4783016 w 11911375"/>
              <a:gd name="connsiteY17" fmla="*/ 2843684 h 2844606"/>
              <a:gd name="connsiteX18" fmla="*/ 3938954 w 11911375"/>
              <a:gd name="connsiteY18" fmla="*/ 2823587 h 2844606"/>
              <a:gd name="connsiteX19" fmla="*/ 2944167 w 11911375"/>
              <a:gd name="connsiteY19" fmla="*/ 2803490 h 2844606"/>
              <a:gd name="connsiteX20" fmla="*/ 1889090 w 11911375"/>
              <a:gd name="connsiteY20" fmla="*/ 2813539 h 2844606"/>
              <a:gd name="connsiteX21" fmla="*/ 12890 w 11911375"/>
              <a:gd name="connsiteY21" fmla="*/ 2793440 h 2844606"/>
              <a:gd name="connsiteX0" fmla="*/ 0 w 11932818"/>
              <a:gd name="connsiteY0" fmla="*/ 20097 h 2844606"/>
              <a:gd name="connsiteX1" fmla="*/ 552660 w 11932818"/>
              <a:gd name="connsiteY1" fmla="*/ 0 h 2844606"/>
              <a:gd name="connsiteX2" fmla="*/ 1637882 w 11932818"/>
              <a:gd name="connsiteY2" fmla="*/ 10048 h 2844606"/>
              <a:gd name="connsiteX3" fmla="*/ 2019719 w 11932818"/>
              <a:gd name="connsiteY3" fmla="*/ 10048 h 2844606"/>
              <a:gd name="connsiteX4" fmla="*/ 4531807 w 11932818"/>
              <a:gd name="connsiteY4" fmla="*/ 30145 h 2844606"/>
              <a:gd name="connsiteX5" fmla="*/ 6300317 w 11932818"/>
              <a:gd name="connsiteY5" fmla="*/ 60290 h 2844606"/>
              <a:gd name="connsiteX6" fmla="*/ 7063991 w 11932818"/>
              <a:gd name="connsiteY6" fmla="*/ 30145 h 2844606"/>
              <a:gd name="connsiteX7" fmla="*/ 8098972 w 11932818"/>
              <a:gd name="connsiteY7" fmla="*/ 60290 h 2844606"/>
              <a:gd name="connsiteX8" fmla="*/ 8956033 w 11932818"/>
              <a:gd name="connsiteY8" fmla="*/ 60290 h 2844606"/>
              <a:gd name="connsiteX9" fmla="*/ 10101769 w 11932818"/>
              <a:gd name="connsiteY9" fmla="*/ 0 h 2844606"/>
              <a:gd name="connsiteX10" fmla="*/ 11625888 w 11932818"/>
              <a:gd name="connsiteY10" fmla="*/ 351694 h 2844606"/>
              <a:gd name="connsiteX11" fmla="*/ 11616285 w 11932818"/>
              <a:gd name="connsiteY11" fmla="*/ 2552282 h 2844606"/>
              <a:gd name="connsiteX12" fmla="*/ 10008159 w 11932818"/>
              <a:gd name="connsiteY12" fmla="*/ 2823587 h 2844606"/>
              <a:gd name="connsiteX13" fmla="*/ 9435402 w 11932818"/>
              <a:gd name="connsiteY13" fmla="*/ 2823587 h 2844606"/>
              <a:gd name="connsiteX14" fmla="*/ 7365442 w 11932818"/>
              <a:gd name="connsiteY14" fmla="*/ 2783394 h 2844606"/>
              <a:gd name="connsiteX15" fmla="*/ 6742444 w 11932818"/>
              <a:gd name="connsiteY15" fmla="*/ 2803490 h 2844606"/>
              <a:gd name="connsiteX16" fmla="*/ 6601767 w 11932818"/>
              <a:gd name="connsiteY16" fmla="*/ 2793442 h 2844606"/>
              <a:gd name="connsiteX17" fmla="*/ 4783016 w 11932818"/>
              <a:gd name="connsiteY17" fmla="*/ 2843684 h 2844606"/>
              <a:gd name="connsiteX18" fmla="*/ 3938954 w 11932818"/>
              <a:gd name="connsiteY18" fmla="*/ 2823587 h 2844606"/>
              <a:gd name="connsiteX19" fmla="*/ 2944167 w 11932818"/>
              <a:gd name="connsiteY19" fmla="*/ 2803490 h 2844606"/>
              <a:gd name="connsiteX20" fmla="*/ 1889090 w 11932818"/>
              <a:gd name="connsiteY20" fmla="*/ 2813539 h 2844606"/>
              <a:gd name="connsiteX21" fmla="*/ 12890 w 11932818"/>
              <a:gd name="connsiteY21" fmla="*/ 2793440 h 2844606"/>
              <a:gd name="connsiteX0" fmla="*/ 0 w 11932818"/>
              <a:gd name="connsiteY0" fmla="*/ 20097 h 3507862"/>
              <a:gd name="connsiteX1" fmla="*/ 552660 w 11932818"/>
              <a:gd name="connsiteY1" fmla="*/ 0 h 3507862"/>
              <a:gd name="connsiteX2" fmla="*/ 1637882 w 11932818"/>
              <a:gd name="connsiteY2" fmla="*/ 10048 h 3507862"/>
              <a:gd name="connsiteX3" fmla="*/ 2019719 w 11932818"/>
              <a:gd name="connsiteY3" fmla="*/ 10048 h 3507862"/>
              <a:gd name="connsiteX4" fmla="*/ 4531807 w 11932818"/>
              <a:gd name="connsiteY4" fmla="*/ 30145 h 3507862"/>
              <a:gd name="connsiteX5" fmla="*/ 6300317 w 11932818"/>
              <a:gd name="connsiteY5" fmla="*/ 60290 h 3507862"/>
              <a:gd name="connsiteX6" fmla="*/ 7063991 w 11932818"/>
              <a:gd name="connsiteY6" fmla="*/ 30145 h 3507862"/>
              <a:gd name="connsiteX7" fmla="*/ 8098972 w 11932818"/>
              <a:gd name="connsiteY7" fmla="*/ 60290 h 3507862"/>
              <a:gd name="connsiteX8" fmla="*/ 8956033 w 11932818"/>
              <a:gd name="connsiteY8" fmla="*/ 60290 h 3507862"/>
              <a:gd name="connsiteX9" fmla="*/ 10101769 w 11932818"/>
              <a:gd name="connsiteY9" fmla="*/ 0 h 3507862"/>
              <a:gd name="connsiteX10" fmla="*/ 11625888 w 11932818"/>
              <a:gd name="connsiteY10" fmla="*/ 351694 h 3507862"/>
              <a:gd name="connsiteX11" fmla="*/ 11616285 w 11932818"/>
              <a:gd name="connsiteY11" fmla="*/ 2552282 h 3507862"/>
              <a:gd name="connsiteX12" fmla="*/ 10008159 w 11932818"/>
              <a:gd name="connsiteY12" fmla="*/ 2823587 h 3507862"/>
              <a:gd name="connsiteX13" fmla="*/ 9435402 w 11932818"/>
              <a:gd name="connsiteY13" fmla="*/ 2823587 h 3507862"/>
              <a:gd name="connsiteX14" fmla="*/ 7365442 w 11932818"/>
              <a:gd name="connsiteY14" fmla="*/ 2783394 h 3507862"/>
              <a:gd name="connsiteX15" fmla="*/ 6742444 w 11932818"/>
              <a:gd name="connsiteY15" fmla="*/ 2803490 h 3507862"/>
              <a:gd name="connsiteX16" fmla="*/ 6601767 w 11932818"/>
              <a:gd name="connsiteY16" fmla="*/ 2793442 h 3507862"/>
              <a:gd name="connsiteX17" fmla="*/ 4783016 w 11932818"/>
              <a:gd name="connsiteY17" fmla="*/ 2843684 h 3507862"/>
              <a:gd name="connsiteX18" fmla="*/ 3938954 w 11932818"/>
              <a:gd name="connsiteY18" fmla="*/ 2823587 h 3507862"/>
              <a:gd name="connsiteX19" fmla="*/ 2944167 w 11932818"/>
              <a:gd name="connsiteY19" fmla="*/ 2803490 h 3507862"/>
              <a:gd name="connsiteX20" fmla="*/ 1889090 w 11932818"/>
              <a:gd name="connsiteY20" fmla="*/ 2813539 h 3507862"/>
              <a:gd name="connsiteX21" fmla="*/ 1859968 w 11932818"/>
              <a:gd name="connsiteY21" fmla="*/ 3507815 h 3507862"/>
              <a:gd name="connsiteX0" fmla="*/ 0 w 11932818"/>
              <a:gd name="connsiteY0" fmla="*/ 20097 h 3512719"/>
              <a:gd name="connsiteX1" fmla="*/ 552660 w 11932818"/>
              <a:gd name="connsiteY1" fmla="*/ 0 h 3512719"/>
              <a:gd name="connsiteX2" fmla="*/ 1637882 w 11932818"/>
              <a:gd name="connsiteY2" fmla="*/ 10048 h 3512719"/>
              <a:gd name="connsiteX3" fmla="*/ 2019719 w 11932818"/>
              <a:gd name="connsiteY3" fmla="*/ 10048 h 3512719"/>
              <a:gd name="connsiteX4" fmla="*/ 4531807 w 11932818"/>
              <a:gd name="connsiteY4" fmla="*/ 30145 h 3512719"/>
              <a:gd name="connsiteX5" fmla="*/ 6300317 w 11932818"/>
              <a:gd name="connsiteY5" fmla="*/ 60290 h 3512719"/>
              <a:gd name="connsiteX6" fmla="*/ 7063991 w 11932818"/>
              <a:gd name="connsiteY6" fmla="*/ 30145 h 3512719"/>
              <a:gd name="connsiteX7" fmla="*/ 8098972 w 11932818"/>
              <a:gd name="connsiteY7" fmla="*/ 60290 h 3512719"/>
              <a:gd name="connsiteX8" fmla="*/ 8956033 w 11932818"/>
              <a:gd name="connsiteY8" fmla="*/ 60290 h 3512719"/>
              <a:gd name="connsiteX9" fmla="*/ 10101769 w 11932818"/>
              <a:gd name="connsiteY9" fmla="*/ 0 h 3512719"/>
              <a:gd name="connsiteX10" fmla="*/ 11625888 w 11932818"/>
              <a:gd name="connsiteY10" fmla="*/ 351694 h 3512719"/>
              <a:gd name="connsiteX11" fmla="*/ 11616285 w 11932818"/>
              <a:gd name="connsiteY11" fmla="*/ 2552282 h 3512719"/>
              <a:gd name="connsiteX12" fmla="*/ 10008159 w 11932818"/>
              <a:gd name="connsiteY12" fmla="*/ 2823587 h 3512719"/>
              <a:gd name="connsiteX13" fmla="*/ 9435402 w 11932818"/>
              <a:gd name="connsiteY13" fmla="*/ 2823587 h 3512719"/>
              <a:gd name="connsiteX14" fmla="*/ 7365442 w 11932818"/>
              <a:gd name="connsiteY14" fmla="*/ 2783394 h 3512719"/>
              <a:gd name="connsiteX15" fmla="*/ 6742444 w 11932818"/>
              <a:gd name="connsiteY15" fmla="*/ 2803490 h 3512719"/>
              <a:gd name="connsiteX16" fmla="*/ 6601767 w 11932818"/>
              <a:gd name="connsiteY16" fmla="*/ 2793442 h 3512719"/>
              <a:gd name="connsiteX17" fmla="*/ 4783016 w 11932818"/>
              <a:gd name="connsiteY17" fmla="*/ 2843684 h 3512719"/>
              <a:gd name="connsiteX18" fmla="*/ 3938954 w 11932818"/>
              <a:gd name="connsiteY18" fmla="*/ 2823587 h 3512719"/>
              <a:gd name="connsiteX19" fmla="*/ 2944167 w 11932818"/>
              <a:gd name="connsiteY19" fmla="*/ 2803490 h 3512719"/>
              <a:gd name="connsiteX20" fmla="*/ 1889090 w 11932818"/>
              <a:gd name="connsiteY20" fmla="*/ 2813539 h 3512719"/>
              <a:gd name="connsiteX21" fmla="*/ 1859968 w 11932818"/>
              <a:gd name="connsiteY21" fmla="*/ 3507815 h 3512719"/>
              <a:gd name="connsiteX0" fmla="*/ 0 w 11932818"/>
              <a:gd name="connsiteY0" fmla="*/ 20097 h 3514873"/>
              <a:gd name="connsiteX1" fmla="*/ 552660 w 11932818"/>
              <a:gd name="connsiteY1" fmla="*/ 0 h 3514873"/>
              <a:gd name="connsiteX2" fmla="*/ 1637882 w 11932818"/>
              <a:gd name="connsiteY2" fmla="*/ 10048 h 3514873"/>
              <a:gd name="connsiteX3" fmla="*/ 2019719 w 11932818"/>
              <a:gd name="connsiteY3" fmla="*/ 10048 h 3514873"/>
              <a:gd name="connsiteX4" fmla="*/ 4531807 w 11932818"/>
              <a:gd name="connsiteY4" fmla="*/ 30145 h 3514873"/>
              <a:gd name="connsiteX5" fmla="*/ 6300317 w 11932818"/>
              <a:gd name="connsiteY5" fmla="*/ 60290 h 3514873"/>
              <a:gd name="connsiteX6" fmla="*/ 7063991 w 11932818"/>
              <a:gd name="connsiteY6" fmla="*/ 30145 h 3514873"/>
              <a:gd name="connsiteX7" fmla="*/ 8098972 w 11932818"/>
              <a:gd name="connsiteY7" fmla="*/ 60290 h 3514873"/>
              <a:gd name="connsiteX8" fmla="*/ 8956033 w 11932818"/>
              <a:gd name="connsiteY8" fmla="*/ 60290 h 3514873"/>
              <a:gd name="connsiteX9" fmla="*/ 10101769 w 11932818"/>
              <a:gd name="connsiteY9" fmla="*/ 0 h 3514873"/>
              <a:gd name="connsiteX10" fmla="*/ 11625888 w 11932818"/>
              <a:gd name="connsiteY10" fmla="*/ 351694 h 3514873"/>
              <a:gd name="connsiteX11" fmla="*/ 11616285 w 11932818"/>
              <a:gd name="connsiteY11" fmla="*/ 2552282 h 3514873"/>
              <a:gd name="connsiteX12" fmla="*/ 10008159 w 11932818"/>
              <a:gd name="connsiteY12" fmla="*/ 2823587 h 3514873"/>
              <a:gd name="connsiteX13" fmla="*/ 9435402 w 11932818"/>
              <a:gd name="connsiteY13" fmla="*/ 2823587 h 3514873"/>
              <a:gd name="connsiteX14" fmla="*/ 7365442 w 11932818"/>
              <a:gd name="connsiteY14" fmla="*/ 2783394 h 3514873"/>
              <a:gd name="connsiteX15" fmla="*/ 6742444 w 11932818"/>
              <a:gd name="connsiteY15" fmla="*/ 2803490 h 3514873"/>
              <a:gd name="connsiteX16" fmla="*/ 6601767 w 11932818"/>
              <a:gd name="connsiteY16" fmla="*/ 2793442 h 3514873"/>
              <a:gd name="connsiteX17" fmla="*/ 4783016 w 11932818"/>
              <a:gd name="connsiteY17" fmla="*/ 2843684 h 3514873"/>
              <a:gd name="connsiteX18" fmla="*/ 3938954 w 11932818"/>
              <a:gd name="connsiteY18" fmla="*/ 2823587 h 3514873"/>
              <a:gd name="connsiteX19" fmla="*/ 2944167 w 11932818"/>
              <a:gd name="connsiteY19" fmla="*/ 2803490 h 3514873"/>
              <a:gd name="connsiteX20" fmla="*/ 1889090 w 11932818"/>
              <a:gd name="connsiteY20" fmla="*/ 2813539 h 3514873"/>
              <a:gd name="connsiteX21" fmla="*/ 1859968 w 11932818"/>
              <a:gd name="connsiteY21" fmla="*/ 3507815 h 3514873"/>
              <a:gd name="connsiteX0" fmla="*/ 0 w 11932818"/>
              <a:gd name="connsiteY0" fmla="*/ 20097 h 3507815"/>
              <a:gd name="connsiteX1" fmla="*/ 552660 w 11932818"/>
              <a:gd name="connsiteY1" fmla="*/ 0 h 3507815"/>
              <a:gd name="connsiteX2" fmla="*/ 1637882 w 11932818"/>
              <a:gd name="connsiteY2" fmla="*/ 10048 h 3507815"/>
              <a:gd name="connsiteX3" fmla="*/ 2019719 w 11932818"/>
              <a:gd name="connsiteY3" fmla="*/ 10048 h 3507815"/>
              <a:gd name="connsiteX4" fmla="*/ 4531807 w 11932818"/>
              <a:gd name="connsiteY4" fmla="*/ 30145 h 3507815"/>
              <a:gd name="connsiteX5" fmla="*/ 6300317 w 11932818"/>
              <a:gd name="connsiteY5" fmla="*/ 60290 h 3507815"/>
              <a:gd name="connsiteX6" fmla="*/ 7063991 w 11932818"/>
              <a:gd name="connsiteY6" fmla="*/ 30145 h 3507815"/>
              <a:gd name="connsiteX7" fmla="*/ 8098972 w 11932818"/>
              <a:gd name="connsiteY7" fmla="*/ 60290 h 3507815"/>
              <a:gd name="connsiteX8" fmla="*/ 8956033 w 11932818"/>
              <a:gd name="connsiteY8" fmla="*/ 60290 h 3507815"/>
              <a:gd name="connsiteX9" fmla="*/ 10101769 w 11932818"/>
              <a:gd name="connsiteY9" fmla="*/ 0 h 3507815"/>
              <a:gd name="connsiteX10" fmla="*/ 11625888 w 11932818"/>
              <a:gd name="connsiteY10" fmla="*/ 351694 h 3507815"/>
              <a:gd name="connsiteX11" fmla="*/ 11616285 w 11932818"/>
              <a:gd name="connsiteY11" fmla="*/ 2552282 h 3507815"/>
              <a:gd name="connsiteX12" fmla="*/ 10008159 w 11932818"/>
              <a:gd name="connsiteY12" fmla="*/ 2823587 h 3507815"/>
              <a:gd name="connsiteX13" fmla="*/ 9435402 w 11932818"/>
              <a:gd name="connsiteY13" fmla="*/ 2823587 h 3507815"/>
              <a:gd name="connsiteX14" fmla="*/ 7365442 w 11932818"/>
              <a:gd name="connsiteY14" fmla="*/ 2783394 h 3507815"/>
              <a:gd name="connsiteX15" fmla="*/ 6742444 w 11932818"/>
              <a:gd name="connsiteY15" fmla="*/ 2803490 h 3507815"/>
              <a:gd name="connsiteX16" fmla="*/ 6601767 w 11932818"/>
              <a:gd name="connsiteY16" fmla="*/ 2793442 h 3507815"/>
              <a:gd name="connsiteX17" fmla="*/ 4783016 w 11932818"/>
              <a:gd name="connsiteY17" fmla="*/ 2843684 h 3507815"/>
              <a:gd name="connsiteX18" fmla="*/ 3938954 w 11932818"/>
              <a:gd name="connsiteY18" fmla="*/ 2823587 h 3507815"/>
              <a:gd name="connsiteX19" fmla="*/ 2944167 w 11932818"/>
              <a:gd name="connsiteY19" fmla="*/ 2803490 h 3507815"/>
              <a:gd name="connsiteX20" fmla="*/ 1889090 w 11932818"/>
              <a:gd name="connsiteY20" fmla="*/ 2813539 h 3507815"/>
              <a:gd name="connsiteX21" fmla="*/ 1859968 w 11932818"/>
              <a:gd name="connsiteY21" fmla="*/ 3507815 h 3507815"/>
              <a:gd name="connsiteX0" fmla="*/ 0 w 11932818"/>
              <a:gd name="connsiteY0" fmla="*/ 20097 h 3507815"/>
              <a:gd name="connsiteX1" fmla="*/ 552660 w 11932818"/>
              <a:gd name="connsiteY1" fmla="*/ 0 h 3507815"/>
              <a:gd name="connsiteX2" fmla="*/ 1637882 w 11932818"/>
              <a:gd name="connsiteY2" fmla="*/ 10048 h 3507815"/>
              <a:gd name="connsiteX3" fmla="*/ 2019719 w 11932818"/>
              <a:gd name="connsiteY3" fmla="*/ 10048 h 3507815"/>
              <a:gd name="connsiteX4" fmla="*/ 4531807 w 11932818"/>
              <a:gd name="connsiteY4" fmla="*/ 30145 h 3507815"/>
              <a:gd name="connsiteX5" fmla="*/ 6300317 w 11932818"/>
              <a:gd name="connsiteY5" fmla="*/ 60290 h 3507815"/>
              <a:gd name="connsiteX6" fmla="*/ 7063991 w 11932818"/>
              <a:gd name="connsiteY6" fmla="*/ 30145 h 3507815"/>
              <a:gd name="connsiteX7" fmla="*/ 8098972 w 11932818"/>
              <a:gd name="connsiteY7" fmla="*/ 60290 h 3507815"/>
              <a:gd name="connsiteX8" fmla="*/ 8956033 w 11932818"/>
              <a:gd name="connsiteY8" fmla="*/ 60290 h 3507815"/>
              <a:gd name="connsiteX9" fmla="*/ 10101769 w 11932818"/>
              <a:gd name="connsiteY9" fmla="*/ 0 h 3507815"/>
              <a:gd name="connsiteX10" fmla="*/ 11625888 w 11932818"/>
              <a:gd name="connsiteY10" fmla="*/ 351694 h 3507815"/>
              <a:gd name="connsiteX11" fmla="*/ 11616285 w 11932818"/>
              <a:gd name="connsiteY11" fmla="*/ 2552282 h 3507815"/>
              <a:gd name="connsiteX12" fmla="*/ 10008159 w 11932818"/>
              <a:gd name="connsiteY12" fmla="*/ 2823587 h 3507815"/>
              <a:gd name="connsiteX13" fmla="*/ 9435402 w 11932818"/>
              <a:gd name="connsiteY13" fmla="*/ 2823587 h 3507815"/>
              <a:gd name="connsiteX14" fmla="*/ 7365442 w 11932818"/>
              <a:gd name="connsiteY14" fmla="*/ 2783394 h 3507815"/>
              <a:gd name="connsiteX15" fmla="*/ 6742444 w 11932818"/>
              <a:gd name="connsiteY15" fmla="*/ 2803490 h 3507815"/>
              <a:gd name="connsiteX16" fmla="*/ 6601767 w 11932818"/>
              <a:gd name="connsiteY16" fmla="*/ 2793442 h 3507815"/>
              <a:gd name="connsiteX17" fmla="*/ 4783016 w 11932818"/>
              <a:gd name="connsiteY17" fmla="*/ 2843684 h 3507815"/>
              <a:gd name="connsiteX18" fmla="*/ 3938954 w 11932818"/>
              <a:gd name="connsiteY18" fmla="*/ 2823587 h 3507815"/>
              <a:gd name="connsiteX19" fmla="*/ 2944167 w 11932818"/>
              <a:gd name="connsiteY19" fmla="*/ 2803490 h 3507815"/>
              <a:gd name="connsiteX20" fmla="*/ 1889090 w 11932818"/>
              <a:gd name="connsiteY20" fmla="*/ 2813539 h 3507815"/>
              <a:gd name="connsiteX21" fmla="*/ 1859968 w 11932818"/>
              <a:gd name="connsiteY21" fmla="*/ 3507815 h 3507815"/>
              <a:gd name="connsiteX0" fmla="*/ 0 w 11932818"/>
              <a:gd name="connsiteY0" fmla="*/ 20097 h 3507815"/>
              <a:gd name="connsiteX1" fmla="*/ 552660 w 11932818"/>
              <a:gd name="connsiteY1" fmla="*/ 0 h 3507815"/>
              <a:gd name="connsiteX2" fmla="*/ 1637882 w 11932818"/>
              <a:gd name="connsiteY2" fmla="*/ 10048 h 3507815"/>
              <a:gd name="connsiteX3" fmla="*/ 2019719 w 11932818"/>
              <a:gd name="connsiteY3" fmla="*/ 10048 h 3507815"/>
              <a:gd name="connsiteX4" fmla="*/ 4531807 w 11932818"/>
              <a:gd name="connsiteY4" fmla="*/ 30145 h 3507815"/>
              <a:gd name="connsiteX5" fmla="*/ 6300317 w 11932818"/>
              <a:gd name="connsiteY5" fmla="*/ 60290 h 3507815"/>
              <a:gd name="connsiteX6" fmla="*/ 7063991 w 11932818"/>
              <a:gd name="connsiteY6" fmla="*/ 30145 h 3507815"/>
              <a:gd name="connsiteX7" fmla="*/ 8098972 w 11932818"/>
              <a:gd name="connsiteY7" fmla="*/ 60290 h 3507815"/>
              <a:gd name="connsiteX8" fmla="*/ 8956033 w 11932818"/>
              <a:gd name="connsiteY8" fmla="*/ 60290 h 3507815"/>
              <a:gd name="connsiteX9" fmla="*/ 10101769 w 11932818"/>
              <a:gd name="connsiteY9" fmla="*/ 0 h 3507815"/>
              <a:gd name="connsiteX10" fmla="*/ 11625888 w 11932818"/>
              <a:gd name="connsiteY10" fmla="*/ 351694 h 3507815"/>
              <a:gd name="connsiteX11" fmla="*/ 11616285 w 11932818"/>
              <a:gd name="connsiteY11" fmla="*/ 2552282 h 3507815"/>
              <a:gd name="connsiteX12" fmla="*/ 10008159 w 11932818"/>
              <a:gd name="connsiteY12" fmla="*/ 2823587 h 3507815"/>
              <a:gd name="connsiteX13" fmla="*/ 9435402 w 11932818"/>
              <a:gd name="connsiteY13" fmla="*/ 2823587 h 3507815"/>
              <a:gd name="connsiteX14" fmla="*/ 7365442 w 11932818"/>
              <a:gd name="connsiteY14" fmla="*/ 2783394 h 3507815"/>
              <a:gd name="connsiteX15" fmla="*/ 6742444 w 11932818"/>
              <a:gd name="connsiteY15" fmla="*/ 2803490 h 3507815"/>
              <a:gd name="connsiteX16" fmla="*/ 6601767 w 11932818"/>
              <a:gd name="connsiteY16" fmla="*/ 2793442 h 3507815"/>
              <a:gd name="connsiteX17" fmla="*/ 4783016 w 11932818"/>
              <a:gd name="connsiteY17" fmla="*/ 2843684 h 3507815"/>
              <a:gd name="connsiteX18" fmla="*/ 3938954 w 11932818"/>
              <a:gd name="connsiteY18" fmla="*/ 2823587 h 3507815"/>
              <a:gd name="connsiteX19" fmla="*/ 2944167 w 11932818"/>
              <a:gd name="connsiteY19" fmla="*/ 2803490 h 3507815"/>
              <a:gd name="connsiteX20" fmla="*/ 1879618 w 11932818"/>
              <a:gd name="connsiteY20" fmla="*/ 2880214 h 3507815"/>
              <a:gd name="connsiteX21" fmla="*/ 1859968 w 11932818"/>
              <a:gd name="connsiteY21" fmla="*/ 3507815 h 3507815"/>
              <a:gd name="connsiteX0" fmla="*/ 0 w 11932818"/>
              <a:gd name="connsiteY0" fmla="*/ 20097 h 3564965"/>
              <a:gd name="connsiteX1" fmla="*/ 552660 w 11932818"/>
              <a:gd name="connsiteY1" fmla="*/ 0 h 3564965"/>
              <a:gd name="connsiteX2" fmla="*/ 1637882 w 11932818"/>
              <a:gd name="connsiteY2" fmla="*/ 10048 h 3564965"/>
              <a:gd name="connsiteX3" fmla="*/ 2019719 w 11932818"/>
              <a:gd name="connsiteY3" fmla="*/ 10048 h 3564965"/>
              <a:gd name="connsiteX4" fmla="*/ 4531807 w 11932818"/>
              <a:gd name="connsiteY4" fmla="*/ 30145 h 3564965"/>
              <a:gd name="connsiteX5" fmla="*/ 6300317 w 11932818"/>
              <a:gd name="connsiteY5" fmla="*/ 60290 h 3564965"/>
              <a:gd name="connsiteX6" fmla="*/ 7063991 w 11932818"/>
              <a:gd name="connsiteY6" fmla="*/ 30145 h 3564965"/>
              <a:gd name="connsiteX7" fmla="*/ 8098972 w 11932818"/>
              <a:gd name="connsiteY7" fmla="*/ 60290 h 3564965"/>
              <a:gd name="connsiteX8" fmla="*/ 8956033 w 11932818"/>
              <a:gd name="connsiteY8" fmla="*/ 60290 h 3564965"/>
              <a:gd name="connsiteX9" fmla="*/ 10101769 w 11932818"/>
              <a:gd name="connsiteY9" fmla="*/ 0 h 3564965"/>
              <a:gd name="connsiteX10" fmla="*/ 11625888 w 11932818"/>
              <a:gd name="connsiteY10" fmla="*/ 351694 h 3564965"/>
              <a:gd name="connsiteX11" fmla="*/ 11616285 w 11932818"/>
              <a:gd name="connsiteY11" fmla="*/ 2552282 h 3564965"/>
              <a:gd name="connsiteX12" fmla="*/ 10008159 w 11932818"/>
              <a:gd name="connsiteY12" fmla="*/ 2823587 h 3564965"/>
              <a:gd name="connsiteX13" fmla="*/ 9435402 w 11932818"/>
              <a:gd name="connsiteY13" fmla="*/ 2823587 h 3564965"/>
              <a:gd name="connsiteX14" fmla="*/ 7365442 w 11932818"/>
              <a:gd name="connsiteY14" fmla="*/ 2783394 h 3564965"/>
              <a:gd name="connsiteX15" fmla="*/ 6742444 w 11932818"/>
              <a:gd name="connsiteY15" fmla="*/ 2803490 h 3564965"/>
              <a:gd name="connsiteX16" fmla="*/ 6601767 w 11932818"/>
              <a:gd name="connsiteY16" fmla="*/ 2793442 h 3564965"/>
              <a:gd name="connsiteX17" fmla="*/ 4783016 w 11932818"/>
              <a:gd name="connsiteY17" fmla="*/ 2843684 h 3564965"/>
              <a:gd name="connsiteX18" fmla="*/ 3938954 w 11932818"/>
              <a:gd name="connsiteY18" fmla="*/ 2823587 h 3564965"/>
              <a:gd name="connsiteX19" fmla="*/ 2944167 w 11932818"/>
              <a:gd name="connsiteY19" fmla="*/ 2803490 h 3564965"/>
              <a:gd name="connsiteX20" fmla="*/ 1879618 w 11932818"/>
              <a:gd name="connsiteY20" fmla="*/ 2880214 h 3564965"/>
              <a:gd name="connsiteX21" fmla="*/ 1831551 w 11932818"/>
              <a:gd name="connsiteY21" fmla="*/ 3564965 h 3564965"/>
              <a:gd name="connsiteX0" fmla="*/ 0 w 11932818"/>
              <a:gd name="connsiteY0" fmla="*/ 20097 h 3564965"/>
              <a:gd name="connsiteX1" fmla="*/ 552660 w 11932818"/>
              <a:gd name="connsiteY1" fmla="*/ 0 h 3564965"/>
              <a:gd name="connsiteX2" fmla="*/ 1637882 w 11932818"/>
              <a:gd name="connsiteY2" fmla="*/ 10048 h 3564965"/>
              <a:gd name="connsiteX3" fmla="*/ 2019719 w 11932818"/>
              <a:gd name="connsiteY3" fmla="*/ 10048 h 3564965"/>
              <a:gd name="connsiteX4" fmla="*/ 4531807 w 11932818"/>
              <a:gd name="connsiteY4" fmla="*/ 30145 h 3564965"/>
              <a:gd name="connsiteX5" fmla="*/ 6300317 w 11932818"/>
              <a:gd name="connsiteY5" fmla="*/ 60290 h 3564965"/>
              <a:gd name="connsiteX6" fmla="*/ 7063991 w 11932818"/>
              <a:gd name="connsiteY6" fmla="*/ 30145 h 3564965"/>
              <a:gd name="connsiteX7" fmla="*/ 8098972 w 11932818"/>
              <a:gd name="connsiteY7" fmla="*/ 60290 h 3564965"/>
              <a:gd name="connsiteX8" fmla="*/ 8956033 w 11932818"/>
              <a:gd name="connsiteY8" fmla="*/ 60290 h 3564965"/>
              <a:gd name="connsiteX9" fmla="*/ 10101769 w 11932818"/>
              <a:gd name="connsiteY9" fmla="*/ 0 h 3564965"/>
              <a:gd name="connsiteX10" fmla="*/ 11625888 w 11932818"/>
              <a:gd name="connsiteY10" fmla="*/ 351694 h 3564965"/>
              <a:gd name="connsiteX11" fmla="*/ 11616285 w 11932818"/>
              <a:gd name="connsiteY11" fmla="*/ 2552282 h 3564965"/>
              <a:gd name="connsiteX12" fmla="*/ 10008159 w 11932818"/>
              <a:gd name="connsiteY12" fmla="*/ 2823587 h 3564965"/>
              <a:gd name="connsiteX13" fmla="*/ 9435402 w 11932818"/>
              <a:gd name="connsiteY13" fmla="*/ 2823587 h 3564965"/>
              <a:gd name="connsiteX14" fmla="*/ 7365442 w 11932818"/>
              <a:gd name="connsiteY14" fmla="*/ 2783394 h 3564965"/>
              <a:gd name="connsiteX15" fmla="*/ 6742444 w 11932818"/>
              <a:gd name="connsiteY15" fmla="*/ 2803490 h 3564965"/>
              <a:gd name="connsiteX16" fmla="*/ 6601767 w 11932818"/>
              <a:gd name="connsiteY16" fmla="*/ 2793442 h 3564965"/>
              <a:gd name="connsiteX17" fmla="*/ 4783016 w 11932818"/>
              <a:gd name="connsiteY17" fmla="*/ 2843684 h 3564965"/>
              <a:gd name="connsiteX18" fmla="*/ 3938954 w 11932818"/>
              <a:gd name="connsiteY18" fmla="*/ 2823587 h 3564965"/>
              <a:gd name="connsiteX19" fmla="*/ 2944167 w 11932818"/>
              <a:gd name="connsiteY19" fmla="*/ 2803490 h 3564965"/>
              <a:gd name="connsiteX20" fmla="*/ 1879618 w 11932818"/>
              <a:gd name="connsiteY20" fmla="*/ 2880214 h 3564965"/>
              <a:gd name="connsiteX21" fmla="*/ 1831551 w 11932818"/>
              <a:gd name="connsiteY21" fmla="*/ 3564965 h 3564965"/>
              <a:gd name="connsiteX0" fmla="*/ 0 w 11932818"/>
              <a:gd name="connsiteY0" fmla="*/ 20097 h 3564965"/>
              <a:gd name="connsiteX1" fmla="*/ 552660 w 11932818"/>
              <a:gd name="connsiteY1" fmla="*/ 0 h 3564965"/>
              <a:gd name="connsiteX2" fmla="*/ 1637882 w 11932818"/>
              <a:gd name="connsiteY2" fmla="*/ 10048 h 3564965"/>
              <a:gd name="connsiteX3" fmla="*/ 2019719 w 11932818"/>
              <a:gd name="connsiteY3" fmla="*/ 10048 h 3564965"/>
              <a:gd name="connsiteX4" fmla="*/ 4531807 w 11932818"/>
              <a:gd name="connsiteY4" fmla="*/ 30145 h 3564965"/>
              <a:gd name="connsiteX5" fmla="*/ 6300317 w 11932818"/>
              <a:gd name="connsiteY5" fmla="*/ 60290 h 3564965"/>
              <a:gd name="connsiteX6" fmla="*/ 7063991 w 11932818"/>
              <a:gd name="connsiteY6" fmla="*/ 30145 h 3564965"/>
              <a:gd name="connsiteX7" fmla="*/ 8098972 w 11932818"/>
              <a:gd name="connsiteY7" fmla="*/ 60290 h 3564965"/>
              <a:gd name="connsiteX8" fmla="*/ 8956033 w 11932818"/>
              <a:gd name="connsiteY8" fmla="*/ 60290 h 3564965"/>
              <a:gd name="connsiteX9" fmla="*/ 10101769 w 11932818"/>
              <a:gd name="connsiteY9" fmla="*/ 0 h 3564965"/>
              <a:gd name="connsiteX10" fmla="*/ 11625888 w 11932818"/>
              <a:gd name="connsiteY10" fmla="*/ 351694 h 3564965"/>
              <a:gd name="connsiteX11" fmla="*/ 11616285 w 11932818"/>
              <a:gd name="connsiteY11" fmla="*/ 2552282 h 3564965"/>
              <a:gd name="connsiteX12" fmla="*/ 10008159 w 11932818"/>
              <a:gd name="connsiteY12" fmla="*/ 2823587 h 3564965"/>
              <a:gd name="connsiteX13" fmla="*/ 9435402 w 11932818"/>
              <a:gd name="connsiteY13" fmla="*/ 2823587 h 3564965"/>
              <a:gd name="connsiteX14" fmla="*/ 7365442 w 11932818"/>
              <a:gd name="connsiteY14" fmla="*/ 2783394 h 3564965"/>
              <a:gd name="connsiteX15" fmla="*/ 6742444 w 11932818"/>
              <a:gd name="connsiteY15" fmla="*/ 2803490 h 3564965"/>
              <a:gd name="connsiteX16" fmla="*/ 6601767 w 11932818"/>
              <a:gd name="connsiteY16" fmla="*/ 2793442 h 3564965"/>
              <a:gd name="connsiteX17" fmla="*/ 4783016 w 11932818"/>
              <a:gd name="connsiteY17" fmla="*/ 2843684 h 3564965"/>
              <a:gd name="connsiteX18" fmla="*/ 3938954 w 11932818"/>
              <a:gd name="connsiteY18" fmla="*/ 2823587 h 3564965"/>
              <a:gd name="connsiteX19" fmla="*/ 2944167 w 11932818"/>
              <a:gd name="connsiteY19" fmla="*/ 2803490 h 3564965"/>
              <a:gd name="connsiteX20" fmla="*/ 1879618 w 11932818"/>
              <a:gd name="connsiteY20" fmla="*/ 2880214 h 3564965"/>
              <a:gd name="connsiteX21" fmla="*/ 1831551 w 11932818"/>
              <a:gd name="connsiteY21" fmla="*/ 3564965 h 3564965"/>
              <a:gd name="connsiteX0" fmla="*/ 0 w 11932818"/>
              <a:gd name="connsiteY0" fmla="*/ 20097 h 3717365"/>
              <a:gd name="connsiteX1" fmla="*/ 552660 w 11932818"/>
              <a:gd name="connsiteY1" fmla="*/ 0 h 3717365"/>
              <a:gd name="connsiteX2" fmla="*/ 1637882 w 11932818"/>
              <a:gd name="connsiteY2" fmla="*/ 10048 h 3717365"/>
              <a:gd name="connsiteX3" fmla="*/ 2019719 w 11932818"/>
              <a:gd name="connsiteY3" fmla="*/ 10048 h 3717365"/>
              <a:gd name="connsiteX4" fmla="*/ 4531807 w 11932818"/>
              <a:gd name="connsiteY4" fmla="*/ 30145 h 3717365"/>
              <a:gd name="connsiteX5" fmla="*/ 6300317 w 11932818"/>
              <a:gd name="connsiteY5" fmla="*/ 60290 h 3717365"/>
              <a:gd name="connsiteX6" fmla="*/ 7063991 w 11932818"/>
              <a:gd name="connsiteY6" fmla="*/ 30145 h 3717365"/>
              <a:gd name="connsiteX7" fmla="*/ 8098972 w 11932818"/>
              <a:gd name="connsiteY7" fmla="*/ 60290 h 3717365"/>
              <a:gd name="connsiteX8" fmla="*/ 8956033 w 11932818"/>
              <a:gd name="connsiteY8" fmla="*/ 60290 h 3717365"/>
              <a:gd name="connsiteX9" fmla="*/ 10101769 w 11932818"/>
              <a:gd name="connsiteY9" fmla="*/ 0 h 3717365"/>
              <a:gd name="connsiteX10" fmla="*/ 11625888 w 11932818"/>
              <a:gd name="connsiteY10" fmla="*/ 351694 h 3717365"/>
              <a:gd name="connsiteX11" fmla="*/ 11616285 w 11932818"/>
              <a:gd name="connsiteY11" fmla="*/ 2552282 h 3717365"/>
              <a:gd name="connsiteX12" fmla="*/ 10008159 w 11932818"/>
              <a:gd name="connsiteY12" fmla="*/ 2823587 h 3717365"/>
              <a:gd name="connsiteX13" fmla="*/ 9435402 w 11932818"/>
              <a:gd name="connsiteY13" fmla="*/ 2823587 h 3717365"/>
              <a:gd name="connsiteX14" fmla="*/ 7365442 w 11932818"/>
              <a:gd name="connsiteY14" fmla="*/ 2783394 h 3717365"/>
              <a:gd name="connsiteX15" fmla="*/ 6742444 w 11932818"/>
              <a:gd name="connsiteY15" fmla="*/ 2803490 h 3717365"/>
              <a:gd name="connsiteX16" fmla="*/ 6601767 w 11932818"/>
              <a:gd name="connsiteY16" fmla="*/ 2793442 h 3717365"/>
              <a:gd name="connsiteX17" fmla="*/ 4783016 w 11932818"/>
              <a:gd name="connsiteY17" fmla="*/ 2843684 h 3717365"/>
              <a:gd name="connsiteX18" fmla="*/ 3938954 w 11932818"/>
              <a:gd name="connsiteY18" fmla="*/ 2823587 h 3717365"/>
              <a:gd name="connsiteX19" fmla="*/ 2944167 w 11932818"/>
              <a:gd name="connsiteY19" fmla="*/ 2803490 h 3717365"/>
              <a:gd name="connsiteX20" fmla="*/ 1879618 w 11932818"/>
              <a:gd name="connsiteY20" fmla="*/ 2880214 h 3717365"/>
              <a:gd name="connsiteX21" fmla="*/ 1111664 w 11932818"/>
              <a:gd name="connsiteY21" fmla="*/ 3717365 h 3717365"/>
              <a:gd name="connsiteX0" fmla="*/ 0 w 11932818"/>
              <a:gd name="connsiteY0" fmla="*/ 20097 h 3717365"/>
              <a:gd name="connsiteX1" fmla="*/ 552660 w 11932818"/>
              <a:gd name="connsiteY1" fmla="*/ 0 h 3717365"/>
              <a:gd name="connsiteX2" fmla="*/ 1637882 w 11932818"/>
              <a:gd name="connsiteY2" fmla="*/ 10048 h 3717365"/>
              <a:gd name="connsiteX3" fmla="*/ 2019719 w 11932818"/>
              <a:gd name="connsiteY3" fmla="*/ 10048 h 3717365"/>
              <a:gd name="connsiteX4" fmla="*/ 4531807 w 11932818"/>
              <a:gd name="connsiteY4" fmla="*/ 30145 h 3717365"/>
              <a:gd name="connsiteX5" fmla="*/ 6300317 w 11932818"/>
              <a:gd name="connsiteY5" fmla="*/ 60290 h 3717365"/>
              <a:gd name="connsiteX6" fmla="*/ 7063991 w 11932818"/>
              <a:gd name="connsiteY6" fmla="*/ 30145 h 3717365"/>
              <a:gd name="connsiteX7" fmla="*/ 8098972 w 11932818"/>
              <a:gd name="connsiteY7" fmla="*/ 60290 h 3717365"/>
              <a:gd name="connsiteX8" fmla="*/ 8956033 w 11932818"/>
              <a:gd name="connsiteY8" fmla="*/ 60290 h 3717365"/>
              <a:gd name="connsiteX9" fmla="*/ 10101769 w 11932818"/>
              <a:gd name="connsiteY9" fmla="*/ 0 h 3717365"/>
              <a:gd name="connsiteX10" fmla="*/ 11625888 w 11932818"/>
              <a:gd name="connsiteY10" fmla="*/ 351694 h 3717365"/>
              <a:gd name="connsiteX11" fmla="*/ 11616285 w 11932818"/>
              <a:gd name="connsiteY11" fmla="*/ 2552282 h 3717365"/>
              <a:gd name="connsiteX12" fmla="*/ 10008159 w 11932818"/>
              <a:gd name="connsiteY12" fmla="*/ 2823587 h 3717365"/>
              <a:gd name="connsiteX13" fmla="*/ 9435402 w 11932818"/>
              <a:gd name="connsiteY13" fmla="*/ 2823587 h 3717365"/>
              <a:gd name="connsiteX14" fmla="*/ 7365442 w 11932818"/>
              <a:gd name="connsiteY14" fmla="*/ 2783394 h 3717365"/>
              <a:gd name="connsiteX15" fmla="*/ 6742444 w 11932818"/>
              <a:gd name="connsiteY15" fmla="*/ 2803490 h 3717365"/>
              <a:gd name="connsiteX16" fmla="*/ 6601767 w 11932818"/>
              <a:gd name="connsiteY16" fmla="*/ 2793442 h 3717365"/>
              <a:gd name="connsiteX17" fmla="*/ 4783016 w 11932818"/>
              <a:gd name="connsiteY17" fmla="*/ 2843684 h 3717365"/>
              <a:gd name="connsiteX18" fmla="*/ 3938954 w 11932818"/>
              <a:gd name="connsiteY18" fmla="*/ 2823587 h 3717365"/>
              <a:gd name="connsiteX19" fmla="*/ 2944167 w 11932818"/>
              <a:gd name="connsiteY19" fmla="*/ 2803490 h 3717365"/>
              <a:gd name="connsiteX20" fmla="*/ 1330231 w 11932818"/>
              <a:gd name="connsiteY20" fmla="*/ 2861164 h 3717365"/>
              <a:gd name="connsiteX21" fmla="*/ 1111664 w 11932818"/>
              <a:gd name="connsiteY21" fmla="*/ 3717365 h 3717365"/>
              <a:gd name="connsiteX0" fmla="*/ 0 w 11932818"/>
              <a:gd name="connsiteY0" fmla="*/ 20097 h 3717365"/>
              <a:gd name="connsiteX1" fmla="*/ 552660 w 11932818"/>
              <a:gd name="connsiteY1" fmla="*/ 0 h 3717365"/>
              <a:gd name="connsiteX2" fmla="*/ 1637882 w 11932818"/>
              <a:gd name="connsiteY2" fmla="*/ 10048 h 3717365"/>
              <a:gd name="connsiteX3" fmla="*/ 2019719 w 11932818"/>
              <a:gd name="connsiteY3" fmla="*/ 10048 h 3717365"/>
              <a:gd name="connsiteX4" fmla="*/ 4531807 w 11932818"/>
              <a:gd name="connsiteY4" fmla="*/ 30145 h 3717365"/>
              <a:gd name="connsiteX5" fmla="*/ 6300317 w 11932818"/>
              <a:gd name="connsiteY5" fmla="*/ 60290 h 3717365"/>
              <a:gd name="connsiteX6" fmla="*/ 7063991 w 11932818"/>
              <a:gd name="connsiteY6" fmla="*/ 30145 h 3717365"/>
              <a:gd name="connsiteX7" fmla="*/ 8098972 w 11932818"/>
              <a:gd name="connsiteY7" fmla="*/ 60290 h 3717365"/>
              <a:gd name="connsiteX8" fmla="*/ 8956033 w 11932818"/>
              <a:gd name="connsiteY8" fmla="*/ 60290 h 3717365"/>
              <a:gd name="connsiteX9" fmla="*/ 10101769 w 11932818"/>
              <a:gd name="connsiteY9" fmla="*/ 0 h 3717365"/>
              <a:gd name="connsiteX10" fmla="*/ 11625888 w 11932818"/>
              <a:gd name="connsiteY10" fmla="*/ 351694 h 3717365"/>
              <a:gd name="connsiteX11" fmla="*/ 11616285 w 11932818"/>
              <a:gd name="connsiteY11" fmla="*/ 2552282 h 3717365"/>
              <a:gd name="connsiteX12" fmla="*/ 10008159 w 11932818"/>
              <a:gd name="connsiteY12" fmla="*/ 2823587 h 3717365"/>
              <a:gd name="connsiteX13" fmla="*/ 9435402 w 11932818"/>
              <a:gd name="connsiteY13" fmla="*/ 2823587 h 3717365"/>
              <a:gd name="connsiteX14" fmla="*/ 7365442 w 11932818"/>
              <a:gd name="connsiteY14" fmla="*/ 2783394 h 3717365"/>
              <a:gd name="connsiteX15" fmla="*/ 6742444 w 11932818"/>
              <a:gd name="connsiteY15" fmla="*/ 2803490 h 3717365"/>
              <a:gd name="connsiteX16" fmla="*/ 6601767 w 11932818"/>
              <a:gd name="connsiteY16" fmla="*/ 2793442 h 3717365"/>
              <a:gd name="connsiteX17" fmla="*/ 4783016 w 11932818"/>
              <a:gd name="connsiteY17" fmla="*/ 2843684 h 3717365"/>
              <a:gd name="connsiteX18" fmla="*/ 3938954 w 11932818"/>
              <a:gd name="connsiteY18" fmla="*/ 2823587 h 3717365"/>
              <a:gd name="connsiteX19" fmla="*/ 2944167 w 11932818"/>
              <a:gd name="connsiteY19" fmla="*/ 2803490 h 3717365"/>
              <a:gd name="connsiteX20" fmla="*/ 1330231 w 11932818"/>
              <a:gd name="connsiteY20" fmla="*/ 2861164 h 3717365"/>
              <a:gd name="connsiteX21" fmla="*/ 1168498 w 11932818"/>
              <a:gd name="connsiteY21" fmla="*/ 3717365 h 3717365"/>
              <a:gd name="connsiteX0" fmla="*/ 0 w 11932818"/>
              <a:gd name="connsiteY0" fmla="*/ 20097 h 3717365"/>
              <a:gd name="connsiteX1" fmla="*/ 552660 w 11932818"/>
              <a:gd name="connsiteY1" fmla="*/ 0 h 3717365"/>
              <a:gd name="connsiteX2" fmla="*/ 1637882 w 11932818"/>
              <a:gd name="connsiteY2" fmla="*/ 10048 h 3717365"/>
              <a:gd name="connsiteX3" fmla="*/ 2019719 w 11932818"/>
              <a:gd name="connsiteY3" fmla="*/ 10048 h 3717365"/>
              <a:gd name="connsiteX4" fmla="*/ 4531807 w 11932818"/>
              <a:gd name="connsiteY4" fmla="*/ 30145 h 3717365"/>
              <a:gd name="connsiteX5" fmla="*/ 6300317 w 11932818"/>
              <a:gd name="connsiteY5" fmla="*/ 60290 h 3717365"/>
              <a:gd name="connsiteX6" fmla="*/ 7063991 w 11932818"/>
              <a:gd name="connsiteY6" fmla="*/ 30145 h 3717365"/>
              <a:gd name="connsiteX7" fmla="*/ 8098972 w 11932818"/>
              <a:gd name="connsiteY7" fmla="*/ 60290 h 3717365"/>
              <a:gd name="connsiteX8" fmla="*/ 8956033 w 11932818"/>
              <a:gd name="connsiteY8" fmla="*/ 60290 h 3717365"/>
              <a:gd name="connsiteX9" fmla="*/ 10101769 w 11932818"/>
              <a:gd name="connsiteY9" fmla="*/ 0 h 3717365"/>
              <a:gd name="connsiteX10" fmla="*/ 11625888 w 11932818"/>
              <a:gd name="connsiteY10" fmla="*/ 351694 h 3717365"/>
              <a:gd name="connsiteX11" fmla="*/ 11616285 w 11932818"/>
              <a:gd name="connsiteY11" fmla="*/ 2552282 h 3717365"/>
              <a:gd name="connsiteX12" fmla="*/ 10008159 w 11932818"/>
              <a:gd name="connsiteY12" fmla="*/ 2823587 h 3717365"/>
              <a:gd name="connsiteX13" fmla="*/ 9435402 w 11932818"/>
              <a:gd name="connsiteY13" fmla="*/ 2823587 h 3717365"/>
              <a:gd name="connsiteX14" fmla="*/ 7365442 w 11932818"/>
              <a:gd name="connsiteY14" fmla="*/ 2783394 h 3717365"/>
              <a:gd name="connsiteX15" fmla="*/ 6742444 w 11932818"/>
              <a:gd name="connsiteY15" fmla="*/ 2803490 h 3717365"/>
              <a:gd name="connsiteX16" fmla="*/ 6601767 w 11932818"/>
              <a:gd name="connsiteY16" fmla="*/ 2793442 h 3717365"/>
              <a:gd name="connsiteX17" fmla="*/ 4783016 w 11932818"/>
              <a:gd name="connsiteY17" fmla="*/ 2843684 h 3717365"/>
              <a:gd name="connsiteX18" fmla="*/ 3938954 w 11932818"/>
              <a:gd name="connsiteY18" fmla="*/ 2823587 h 3717365"/>
              <a:gd name="connsiteX19" fmla="*/ 2944167 w 11932818"/>
              <a:gd name="connsiteY19" fmla="*/ 2803490 h 3717365"/>
              <a:gd name="connsiteX20" fmla="*/ 1330231 w 11932818"/>
              <a:gd name="connsiteY20" fmla="*/ 2861164 h 3717365"/>
              <a:gd name="connsiteX21" fmla="*/ 1168498 w 11932818"/>
              <a:gd name="connsiteY21" fmla="*/ 3717365 h 37173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1932818" h="3717365">
                <a:moveTo>
                  <a:pt x="0" y="20097"/>
                </a:moveTo>
                <a:cubicBezTo>
                  <a:pt x="115137" y="15910"/>
                  <a:pt x="279680" y="1675"/>
                  <a:pt x="552660" y="0"/>
                </a:cubicBezTo>
                <a:lnTo>
                  <a:pt x="1637882" y="10048"/>
                </a:lnTo>
                <a:lnTo>
                  <a:pt x="2019719" y="10048"/>
                </a:lnTo>
                <a:lnTo>
                  <a:pt x="4531807" y="30145"/>
                </a:lnTo>
                <a:lnTo>
                  <a:pt x="6300317" y="60290"/>
                </a:lnTo>
                <a:cubicBezTo>
                  <a:pt x="6722348" y="60290"/>
                  <a:pt x="6764215" y="30145"/>
                  <a:pt x="7063991" y="30145"/>
                </a:cubicBezTo>
                <a:cubicBezTo>
                  <a:pt x="7363767" y="30145"/>
                  <a:pt x="7783632" y="55266"/>
                  <a:pt x="8098972" y="60290"/>
                </a:cubicBezTo>
                <a:cubicBezTo>
                  <a:pt x="8414312" y="65314"/>
                  <a:pt x="8706499" y="61965"/>
                  <a:pt x="8956033" y="60290"/>
                </a:cubicBezTo>
                <a:lnTo>
                  <a:pt x="10101769" y="0"/>
                </a:lnTo>
                <a:cubicBezTo>
                  <a:pt x="10416617" y="6699"/>
                  <a:pt x="11132929" y="5268"/>
                  <a:pt x="11625888" y="351694"/>
                </a:cubicBezTo>
                <a:cubicBezTo>
                  <a:pt x="12064127" y="659666"/>
                  <a:pt x="12008035" y="2254026"/>
                  <a:pt x="11616285" y="2552282"/>
                </a:cubicBezTo>
                <a:cubicBezTo>
                  <a:pt x="11246737" y="2833635"/>
                  <a:pt x="10399952" y="2783394"/>
                  <a:pt x="10008159" y="2823587"/>
                </a:cubicBezTo>
                <a:cubicBezTo>
                  <a:pt x="9761974" y="2823587"/>
                  <a:pt x="9875855" y="2830286"/>
                  <a:pt x="9435402" y="2823587"/>
                </a:cubicBezTo>
                <a:lnTo>
                  <a:pt x="7365442" y="2783394"/>
                </a:lnTo>
                <a:cubicBezTo>
                  <a:pt x="6916616" y="2780045"/>
                  <a:pt x="6950110" y="2796791"/>
                  <a:pt x="6742444" y="2803490"/>
                </a:cubicBezTo>
                <a:cubicBezTo>
                  <a:pt x="6695458" y="2801924"/>
                  <a:pt x="6648769" y="2792478"/>
                  <a:pt x="6601767" y="2793442"/>
                </a:cubicBezTo>
                <a:lnTo>
                  <a:pt x="4783016" y="2843684"/>
                </a:lnTo>
                <a:cubicBezTo>
                  <a:pt x="4339214" y="2848708"/>
                  <a:pt x="4235380" y="2831961"/>
                  <a:pt x="3938954" y="2823587"/>
                </a:cubicBezTo>
                <a:lnTo>
                  <a:pt x="2944167" y="2803490"/>
                </a:lnTo>
                <a:cubicBezTo>
                  <a:pt x="2602523" y="2801815"/>
                  <a:pt x="1626176" y="2708852"/>
                  <a:pt x="1330231" y="2861164"/>
                </a:cubicBezTo>
                <a:cubicBezTo>
                  <a:pt x="1034286" y="3013476"/>
                  <a:pt x="1168733" y="3600240"/>
                  <a:pt x="1168498" y="3717365"/>
                </a:cubicBezTo>
              </a:path>
            </a:pathLst>
          </a:custGeom>
          <a:noFill/>
          <a:ln w="19050">
            <a:solidFill>
              <a:schemeClr val="bg1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grpSp>
        <p:nvGrpSpPr>
          <p:cNvPr id="67" name="Group 66">
            <a:extLst>
              <a:ext uri="{FF2B5EF4-FFF2-40B4-BE49-F238E27FC236}">
                <a16:creationId xmlns:a16="http://schemas.microsoft.com/office/drawing/2014/main" id="{76DDB605-80CE-54E9-70BC-4658629E6A66}"/>
              </a:ext>
            </a:extLst>
          </p:cNvPr>
          <p:cNvGrpSpPr/>
          <p:nvPr/>
        </p:nvGrpSpPr>
        <p:grpSpPr>
          <a:xfrm rot="10800000" flipH="1">
            <a:off x="10813330" y="5372429"/>
            <a:ext cx="424644" cy="514736"/>
            <a:chOff x="352424" y="3433220"/>
            <a:chExt cx="1582577" cy="1918336"/>
          </a:xfrm>
        </p:grpSpPr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C9B786DB-9994-9B3C-9EAA-55DC326A027D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A55759F8-6DC2-0DC5-0289-33391C88CBD5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FB6E5545-CA77-A582-32AF-82CE1490DB74}"/>
              </a:ext>
            </a:extLst>
          </p:cNvPr>
          <p:cNvGrpSpPr/>
          <p:nvPr/>
        </p:nvGrpSpPr>
        <p:grpSpPr>
          <a:xfrm rot="10800000" flipH="1">
            <a:off x="6905261" y="1685017"/>
            <a:ext cx="424644" cy="514736"/>
            <a:chOff x="352424" y="3433220"/>
            <a:chExt cx="1582577" cy="1918336"/>
          </a:xfrm>
        </p:grpSpPr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9F85997-C612-EF3B-5132-248C63485C0E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BF4A27B1-58E3-9D10-19A8-3874F6D66AFC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</p:grpSp>
      <p:grpSp>
        <p:nvGrpSpPr>
          <p:cNvPr id="76" name="Group 75">
            <a:extLst>
              <a:ext uri="{FF2B5EF4-FFF2-40B4-BE49-F238E27FC236}">
                <a16:creationId xmlns:a16="http://schemas.microsoft.com/office/drawing/2014/main" id="{EA058351-D47A-17A3-441F-4491B2636A93}"/>
              </a:ext>
            </a:extLst>
          </p:cNvPr>
          <p:cNvGrpSpPr/>
          <p:nvPr/>
        </p:nvGrpSpPr>
        <p:grpSpPr>
          <a:xfrm rot="10800000" flipH="1">
            <a:off x="1647718" y="1685017"/>
            <a:ext cx="424644" cy="514736"/>
            <a:chOff x="352424" y="3433220"/>
            <a:chExt cx="1582577" cy="1918336"/>
          </a:xfrm>
        </p:grpSpPr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CF9BFA58-5620-0EA3-948F-F4CA082E2756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49FB874F-5120-9091-2A13-1016352FEA3B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</p:grpSp>
      <p:sp>
        <p:nvSpPr>
          <p:cNvPr id="66" name="Rectangle 65">
            <a:extLst>
              <a:ext uri="{FF2B5EF4-FFF2-40B4-BE49-F238E27FC236}">
                <a16:creationId xmlns:a16="http://schemas.microsoft.com/office/drawing/2014/main" id="{0B1B8A81-6FA6-CC18-A0B7-EE99A0403725}"/>
              </a:ext>
            </a:extLst>
          </p:cNvPr>
          <p:cNvSpPr/>
          <p:nvPr/>
        </p:nvSpPr>
        <p:spPr>
          <a:xfrm>
            <a:off x="10214345" y="5908040"/>
            <a:ext cx="1622615" cy="365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r>
              <a:rPr lang="da-DK" sz="1400" b="1" i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idere arbejde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9AF0D766-1BD2-CB9A-89BF-8EE10703B16A}"/>
              </a:ext>
            </a:extLst>
          </p:cNvPr>
          <p:cNvSpPr/>
          <p:nvPr/>
        </p:nvSpPr>
        <p:spPr>
          <a:xfrm>
            <a:off x="5591630" y="4979056"/>
            <a:ext cx="3899297" cy="365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l"/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sign af dashboard</a:t>
            </a: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8E6C59E3-44F4-6B21-ECA4-A777B1C2B2DC}"/>
              </a:ext>
            </a:extLst>
          </p:cNvPr>
          <p:cNvCxnSpPr>
            <a:cxnSpLocks/>
          </p:cNvCxnSpPr>
          <p:nvPr/>
        </p:nvCxnSpPr>
        <p:spPr>
          <a:xfrm>
            <a:off x="5456541" y="4848094"/>
            <a:ext cx="0" cy="1430828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85" name="Group 84">
            <a:extLst>
              <a:ext uri="{FF2B5EF4-FFF2-40B4-BE49-F238E27FC236}">
                <a16:creationId xmlns:a16="http://schemas.microsoft.com/office/drawing/2014/main" id="{82DAB2F1-0AB9-CC2D-ECBB-4B22CB8EDDB7}"/>
              </a:ext>
            </a:extLst>
          </p:cNvPr>
          <p:cNvGrpSpPr/>
          <p:nvPr/>
        </p:nvGrpSpPr>
        <p:grpSpPr>
          <a:xfrm rot="10800000">
            <a:off x="5244986" y="4333358"/>
            <a:ext cx="424644" cy="514736"/>
            <a:chOff x="352424" y="3433220"/>
            <a:chExt cx="1582577" cy="1918336"/>
          </a:xfrm>
        </p:grpSpPr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4072EB9A-F61E-D264-7CC3-51D69FFAB56C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03447ACD-889F-F11E-215C-054A30AB516F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</p:grpSp>
      <p:sp>
        <p:nvSpPr>
          <p:cNvPr id="88" name="Rectangle 87">
            <a:extLst>
              <a:ext uri="{FF2B5EF4-FFF2-40B4-BE49-F238E27FC236}">
                <a16:creationId xmlns:a16="http://schemas.microsoft.com/office/drawing/2014/main" id="{11A35CA3-6E08-4D67-90DD-1849916319C7}"/>
              </a:ext>
            </a:extLst>
          </p:cNvPr>
          <p:cNvSpPr/>
          <p:nvPr/>
        </p:nvSpPr>
        <p:spPr>
          <a:xfrm>
            <a:off x="5591630" y="5369129"/>
            <a:ext cx="3944105" cy="8394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+mn-lt"/>
              </a:rPr>
              <a:t>Brugerne inddrages i at designe visualiseringer i Datavarehusets dashboard, så vi optimerer viden og handlingskraft på hvert målepunkt og sikrer balance mellem dem.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6C983716-49C0-AB7D-12E4-B37ADD336443}"/>
              </a:ext>
            </a:extLst>
          </p:cNvPr>
          <p:cNvSpPr/>
          <p:nvPr/>
        </p:nvSpPr>
        <p:spPr>
          <a:xfrm>
            <a:off x="1019630" y="4979056"/>
            <a:ext cx="3899297" cy="3657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l"/>
            <a:r>
              <a:rPr lang="da-DK" sz="1400" b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ra målepunkter til data</a:t>
            </a: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780CA3CD-DDDD-4FAF-C1DF-63E9E608DFB4}"/>
              </a:ext>
            </a:extLst>
          </p:cNvPr>
          <p:cNvCxnSpPr>
            <a:cxnSpLocks/>
          </p:cNvCxnSpPr>
          <p:nvPr/>
        </p:nvCxnSpPr>
        <p:spPr>
          <a:xfrm>
            <a:off x="884541" y="4848094"/>
            <a:ext cx="0" cy="1430828"/>
          </a:xfrm>
          <a:prstGeom prst="line">
            <a:avLst/>
          </a:prstGeom>
          <a:noFill/>
          <a:ln w="12700">
            <a:solidFill>
              <a:schemeClr val="accent2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91" name="Group 90">
            <a:extLst>
              <a:ext uri="{FF2B5EF4-FFF2-40B4-BE49-F238E27FC236}">
                <a16:creationId xmlns:a16="http://schemas.microsoft.com/office/drawing/2014/main" id="{1F1EDEBE-8894-3AE0-1B3C-A7ADA4FA1BDA}"/>
              </a:ext>
            </a:extLst>
          </p:cNvPr>
          <p:cNvGrpSpPr/>
          <p:nvPr/>
        </p:nvGrpSpPr>
        <p:grpSpPr>
          <a:xfrm rot="10800000">
            <a:off x="672986" y="4333358"/>
            <a:ext cx="424644" cy="514736"/>
            <a:chOff x="352424" y="3433220"/>
            <a:chExt cx="1582577" cy="1918336"/>
          </a:xfrm>
        </p:grpSpPr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764528E-8955-9FF7-AFC0-37998C061029}"/>
                </a:ext>
              </a:extLst>
            </p:cNvPr>
            <p:cNvSpPr/>
            <p:nvPr/>
          </p:nvSpPr>
          <p:spPr>
            <a:xfrm rot="10800000">
              <a:off x="358140" y="360848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solidFill>
              <a:schemeClr val="accent1">
                <a:lumMod val="90000"/>
                <a:lumOff val="10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0E39672-AC41-A32F-B581-2C1E5ADA1C5F}"/>
                </a:ext>
              </a:extLst>
            </p:cNvPr>
            <p:cNvSpPr/>
            <p:nvPr/>
          </p:nvSpPr>
          <p:spPr>
            <a:xfrm rot="10800000">
              <a:off x="352424" y="3433220"/>
              <a:ext cx="1576861" cy="1743076"/>
            </a:xfrm>
            <a:custGeom>
              <a:avLst/>
              <a:gdLst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447675 w 3457575"/>
                <a:gd name="connsiteY51" fmla="*/ 428625 h 3822033"/>
                <a:gd name="connsiteX52" fmla="*/ 552450 w 3457575"/>
                <a:gd name="connsiteY52" fmla="*/ 361950 h 3822033"/>
                <a:gd name="connsiteX53" fmla="*/ 609600 w 3457575"/>
                <a:gd name="connsiteY53" fmla="*/ 323850 h 3822033"/>
                <a:gd name="connsiteX54" fmla="*/ 666750 w 3457575"/>
                <a:gd name="connsiteY54" fmla="*/ 285750 h 3822033"/>
                <a:gd name="connsiteX55" fmla="*/ 762000 w 3457575"/>
                <a:gd name="connsiteY55" fmla="*/ 238125 h 3822033"/>
                <a:gd name="connsiteX56" fmla="*/ 800100 w 3457575"/>
                <a:gd name="connsiteY56" fmla="*/ 219075 h 3822033"/>
                <a:gd name="connsiteX57" fmla="*/ 895350 w 3457575"/>
                <a:gd name="connsiteY57" fmla="*/ 161925 h 3822033"/>
                <a:gd name="connsiteX58" fmla="*/ 962025 w 3457575"/>
                <a:gd name="connsiteY58" fmla="*/ 133350 h 3822033"/>
                <a:gd name="connsiteX59" fmla="*/ 1123950 w 3457575"/>
                <a:gd name="connsiteY59" fmla="*/ 76200 h 3822033"/>
                <a:gd name="connsiteX60" fmla="*/ 1162050 w 3457575"/>
                <a:gd name="connsiteY60" fmla="*/ 66675 h 3822033"/>
                <a:gd name="connsiteX61" fmla="*/ 1438275 w 3457575"/>
                <a:gd name="connsiteY61" fmla="*/ 0 h 3822033"/>
                <a:gd name="connsiteX62" fmla="*/ 2038350 w 3457575"/>
                <a:gd name="connsiteY62" fmla="*/ 9525 h 3822033"/>
                <a:gd name="connsiteX63" fmla="*/ 2105025 w 3457575"/>
                <a:gd name="connsiteY63" fmla="*/ 19050 h 3822033"/>
                <a:gd name="connsiteX64" fmla="*/ 2162175 w 3457575"/>
                <a:gd name="connsiteY64" fmla="*/ 47625 h 3822033"/>
                <a:gd name="connsiteX65" fmla="*/ 2228850 w 3457575"/>
                <a:gd name="connsiteY65" fmla="*/ 66675 h 3822033"/>
                <a:gd name="connsiteX66" fmla="*/ 2343150 w 3457575"/>
                <a:gd name="connsiteY66" fmla="*/ 133350 h 3822033"/>
                <a:gd name="connsiteX67" fmla="*/ 2390775 w 3457575"/>
                <a:gd name="connsiteY67" fmla="*/ 142875 h 3822033"/>
                <a:gd name="connsiteX68" fmla="*/ 2457450 w 3457575"/>
                <a:gd name="connsiteY68" fmla="*/ 171450 h 3822033"/>
                <a:gd name="connsiteX69" fmla="*/ 2486025 w 3457575"/>
                <a:gd name="connsiteY69" fmla="*/ 200025 h 3822033"/>
                <a:gd name="connsiteX70" fmla="*/ 2571750 w 3457575"/>
                <a:gd name="connsiteY70" fmla="*/ 228600 h 3822033"/>
                <a:gd name="connsiteX71" fmla="*/ 2676525 w 3457575"/>
                <a:gd name="connsiteY71" fmla="*/ 285750 h 3822033"/>
                <a:gd name="connsiteX72" fmla="*/ 2705100 w 3457575"/>
                <a:gd name="connsiteY72" fmla="*/ 304800 h 3822033"/>
                <a:gd name="connsiteX73" fmla="*/ 2733675 w 3457575"/>
                <a:gd name="connsiteY73" fmla="*/ 333375 h 3822033"/>
                <a:gd name="connsiteX74" fmla="*/ 2771775 w 3457575"/>
                <a:gd name="connsiteY74" fmla="*/ 361950 h 3822033"/>
                <a:gd name="connsiteX75" fmla="*/ 2809875 w 3457575"/>
                <a:gd name="connsiteY75" fmla="*/ 400050 h 3822033"/>
                <a:gd name="connsiteX76" fmla="*/ 2867025 w 3457575"/>
                <a:gd name="connsiteY76" fmla="*/ 438150 h 3822033"/>
                <a:gd name="connsiteX77" fmla="*/ 2905125 w 3457575"/>
                <a:gd name="connsiteY77" fmla="*/ 476250 h 3822033"/>
                <a:gd name="connsiteX78" fmla="*/ 2971800 w 3457575"/>
                <a:gd name="connsiteY78" fmla="*/ 523875 h 3822033"/>
                <a:gd name="connsiteX79" fmla="*/ 2990850 w 3457575"/>
                <a:gd name="connsiteY79" fmla="*/ 552450 h 3822033"/>
                <a:gd name="connsiteX80" fmla="*/ 3028950 w 3457575"/>
                <a:gd name="connsiteY80" fmla="*/ 590550 h 3822033"/>
                <a:gd name="connsiteX81" fmla="*/ 3048000 w 3457575"/>
                <a:gd name="connsiteY81" fmla="*/ 628650 h 3822033"/>
                <a:gd name="connsiteX82" fmla="*/ 3086100 w 3457575"/>
                <a:gd name="connsiteY82" fmla="*/ 666750 h 3822033"/>
                <a:gd name="connsiteX83" fmla="*/ 3124200 w 3457575"/>
                <a:gd name="connsiteY83" fmla="*/ 723900 h 3822033"/>
                <a:gd name="connsiteX84" fmla="*/ 3219450 w 3457575"/>
                <a:gd name="connsiteY84" fmla="*/ 838200 h 3822033"/>
                <a:gd name="connsiteX85" fmla="*/ 3238500 w 3457575"/>
                <a:gd name="connsiteY85" fmla="*/ 885825 h 3822033"/>
                <a:gd name="connsiteX86" fmla="*/ 3276600 w 3457575"/>
                <a:gd name="connsiteY86" fmla="*/ 942975 h 3822033"/>
                <a:gd name="connsiteX87" fmla="*/ 3286125 w 3457575"/>
                <a:gd name="connsiteY87" fmla="*/ 990600 h 3822033"/>
                <a:gd name="connsiteX88" fmla="*/ 3324225 w 3457575"/>
                <a:gd name="connsiteY88" fmla="*/ 1085850 h 3822033"/>
                <a:gd name="connsiteX89" fmla="*/ 3362325 w 3457575"/>
                <a:gd name="connsiteY89" fmla="*/ 1171575 h 3822033"/>
                <a:gd name="connsiteX90" fmla="*/ 3390900 w 3457575"/>
                <a:gd name="connsiteY90" fmla="*/ 1219200 h 3822033"/>
                <a:gd name="connsiteX91" fmla="*/ 3419475 w 3457575"/>
                <a:gd name="connsiteY91" fmla="*/ 1333500 h 3822033"/>
                <a:gd name="connsiteX92" fmla="*/ 3429000 w 3457575"/>
                <a:gd name="connsiteY92" fmla="*/ 1390650 h 3822033"/>
                <a:gd name="connsiteX93" fmla="*/ 3457575 w 3457575"/>
                <a:gd name="connsiteY93" fmla="*/ 1657350 h 3822033"/>
                <a:gd name="connsiteX94" fmla="*/ 3448050 w 3457575"/>
                <a:gd name="connsiteY94" fmla="*/ 2095500 h 3822033"/>
                <a:gd name="connsiteX95" fmla="*/ 3381375 w 3457575"/>
                <a:gd name="connsiteY95" fmla="*/ 2238375 h 3822033"/>
                <a:gd name="connsiteX96" fmla="*/ 3343275 w 3457575"/>
                <a:gd name="connsiteY96" fmla="*/ 2333625 h 3822033"/>
                <a:gd name="connsiteX97" fmla="*/ 3276600 w 3457575"/>
                <a:gd name="connsiteY97" fmla="*/ 2400300 h 3822033"/>
                <a:gd name="connsiteX98" fmla="*/ 3190875 w 3457575"/>
                <a:gd name="connsiteY98" fmla="*/ 2533650 h 3822033"/>
                <a:gd name="connsiteX99" fmla="*/ 3105150 w 3457575"/>
                <a:gd name="connsiteY99" fmla="*/ 2647950 h 3822033"/>
                <a:gd name="connsiteX100" fmla="*/ 3019425 w 3457575"/>
                <a:gd name="connsiteY100" fmla="*/ 2781300 h 3822033"/>
                <a:gd name="connsiteX101" fmla="*/ 2981325 w 3457575"/>
                <a:gd name="connsiteY101" fmla="*/ 2819400 h 3822033"/>
                <a:gd name="connsiteX102" fmla="*/ 2943225 w 3457575"/>
                <a:gd name="connsiteY102" fmla="*/ 2876550 h 3822033"/>
                <a:gd name="connsiteX103" fmla="*/ 2857500 w 3457575"/>
                <a:gd name="connsiteY103" fmla="*/ 2933700 h 3822033"/>
                <a:gd name="connsiteX104" fmla="*/ 2809875 w 3457575"/>
                <a:gd name="connsiteY104" fmla="*/ 2971800 h 3822033"/>
                <a:gd name="connsiteX105" fmla="*/ 2705100 w 3457575"/>
                <a:gd name="connsiteY105" fmla="*/ 3038475 h 3822033"/>
                <a:gd name="connsiteX106" fmla="*/ 2609850 w 3457575"/>
                <a:gd name="connsiteY106" fmla="*/ 3105150 h 3822033"/>
                <a:gd name="connsiteX107" fmla="*/ 2562225 w 3457575"/>
                <a:gd name="connsiteY107" fmla="*/ 3143250 h 3822033"/>
                <a:gd name="connsiteX108" fmla="*/ 2495550 w 3457575"/>
                <a:gd name="connsiteY108" fmla="*/ 3162300 h 3822033"/>
                <a:gd name="connsiteX109" fmla="*/ 2362200 w 3457575"/>
                <a:gd name="connsiteY109" fmla="*/ 3219450 h 3822033"/>
                <a:gd name="connsiteX110" fmla="*/ 2257425 w 3457575"/>
                <a:gd name="connsiteY110" fmla="*/ 3257550 h 3822033"/>
                <a:gd name="connsiteX111" fmla="*/ 2181225 w 3457575"/>
                <a:gd name="connsiteY111" fmla="*/ 3276600 h 3822033"/>
                <a:gd name="connsiteX112" fmla="*/ 2057400 w 3457575"/>
                <a:gd name="connsiteY112" fmla="*/ 3362325 h 3822033"/>
                <a:gd name="connsiteX113" fmla="*/ 2009775 w 3457575"/>
                <a:gd name="connsiteY113" fmla="*/ 3400425 h 3822033"/>
                <a:gd name="connsiteX114" fmla="*/ 1962150 w 3457575"/>
                <a:gd name="connsiteY114" fmla="*/ 3429000 h 3822033"/>
                <a:gd name="connsiteX115" fmla="*/ 1905000 w 3457575"/>
                <a:gd name="connsiteY115" fmla="*/ 3495675 h 3822033"/>
                <a:gd name="connsiteX116" fmla="*/ 1819275 w 3457575"/>
                <a:gd name="connsiteY116" fmla="*/ 3609975 h 3822033"/>
                <a:gd name="connsiteX117" fmla="*/ 1800225 w 3457575"/>
                <a:gd name="connsiteY117" fmla="*/ 3638550 h 3822033"/>
                <a:gd name="connsiteX118" fmla="*/ 1790700 w 3457575"/>
                <a:gd name="connsiteY118" fmla="*/ 3667125 h 3822033"/>
                <a:gd name="connsiteX119" fmla="*/ 1771650 w 3457575"/>
                <a:gd name="connsiteY119" fmla="*/ 3695700 h 3822033"/>
                <a:gd name="connsiteX120" fmla="*/ 1752600 w 3457575"/>
                <a:gd name="connsiteY120" fmla="*/ 3733800 h 3822033"/>
                <a:gd name="connsiteX121" fmla="*/ 1714500 w 3457575"/>
                <a:gd name="connsiteY121" fmla="*/ 3810000 h 3822033"/>
                <a:gd name="connsiteX122" fmla="*/ 1704975 w 3457575"/>
                <a:gd name="connsiteY12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428625 w 3457575"/>
                <a:gd name="connsiteY50" fmla="*/ 457200 h 3822033"/>
                <a:gd name="connsiteX51" fmla="*/ 552450 w 3457575"/>
                <a:gd name="connsiteY51" fmla="*/ 361950 h 3822033"/>
                <a:gd name="connsiteX52" fmla="*/ 609600 w 3457575"/>
                <a:gd name="connsiteY52" fmla="*/ 323850 h 3822033"/>
                <a:gd name="connsiteX53" fmla="*/ 666750 w 3457575"/>
                <a:gd name="connsiteY53" fmla="*/ 285750 h 3822033"/>
                <a:gd name="connsiteX54" fmla="*/ 762000 w 3457575"/>
                <a:gd name="connsiteY54" fmla="*/ 238125 h 3822033"/>
                <a:gd name="connsiteX55" fmla="*/ 800100 w 3457575"/>
                <a:gd name="connsiteY55" fmla="*/ 219075 h 3822033"/>
                <a:gd name="connsiteX56" fmla="*/ 895350 w 3457575"/>
                <a:gd name="connsiteY56" fmla="*/ 161925 h 3822033"/>
                <a:gd name="connsiteX57" fmla="*/ 962025 w 3457575"/>
                <a:gd name="connsiteY57" fmla="*/ 133350 h 3822033"/>
                <a:gd name="connsiteX58" fmla="*/ 1123950 w 3457575"/>
                <a:gd name="connsiteY58" fmla="*/ 76200 h 3822033"/>
                <a:gd name="connsiteX59" fmla="*/ 1162050 w 3457575"/>
                <a:gd name="connsiteY59" fmla="*/ 66675 h 3822033"/>
                <a:gd name="connsiteX60" fmla="*/ 1438275 w 3457575"/>
                <a:gd name="connsiteY60" fmla="*/ 0 h 3822033"/>
                <a:gd name="connsiteX61" fmla="*/ 2038350 w 3457575"/>
                <a:gd name="connsiteY61" fmla="*/ 9525 h 3822033"/>
                <a:gd name="connsiteX62" fmla="*/ 2105025 w 3457575"/>
                <a:gd name="connsiteY62" fmla="*/ 19050 h 3822033"/>
                <a:gd name="connsiteX63" fmla="*/ 2162175 w 3457575"/>
                <a:gd name="connsiteY63" fmla="*/ 47625 h 3822033"/>
                <a:gd name="connsiteX64" fmla="*/ 2228850 w 3457575"/>
                <a:gd name="connsiteY64" fmla="*/ 66675 h 3822033"/>
                <a:gd name="connsiteX65" fmla="*/ 2343150 w 3457575"/>
                <a:gd name="connsiteY65" fmla="*/ 133350 h 3822033"/>
                <a:gd name="connsiteX66" fmla="*/ 2390775 w 3457575"/>
                <a:gd name="connsiteY66" fmla="*/ 142875 h 3822033"/>
                <a:gd name="connsiteX67" fmla="*/ 2457450 w 3457575"/>
                <a:gd name="connsiteY67" fmla="*/ 171450 h 3822033"/>
                <a:gd name="connsiteX68" fmla="*/ 2486025 w 3457575"/>
                <a:gd name="connsiteY68" fmla="*/ 200025 h 3822033"/>
                <a:gd name="connsiteX69" fmla="*/ 2571750 w 3457575"/>
                <a:gd name="connsiteY69" fmla="*/ 228600 h 3822033"/>
                <a:gd name="connsiteX70" fmla="*/ 2676525 w 3457575"/>
                <a:gd name="connsiteY70" fmla="*/ 285750 h 3822033"/>
                <a:gd name="connsiteX71" fmla="*/ 2705100 w 3457575"/>
                <a:gd name="connsiteY71" fmla="*/ 304800 h 3822033"/>
                <a:gd name="connsiteX72" fmla="*/ 2733675 w 3457575"/>
                <a:gd name="connsiteY72" fmla="*/ 333375 h 3822033"/>
                <a:gd name="connsiteX73" fmla="*/ 2771775 w 3457575"/>
                <a:gd name="connsiteY73" fmla="*/ 361950 h 3822033"/>
                <a:gd name="connsiteX74" fmla="*/ 2809875 w 3457575"/>
                <a:gd name="connsiteY74" fmla="*/ 400050 h 3822033"/>
                <a:gd name="connsiteX75" fmla="*/ 2867025 w 3457575"/>
                <a:gd name="connsiteY75" fmla="*/ 438150 h 3822033"/>
                <a:gd name="connsiteX76" fmla="*/ 2905125 w 3457575"/>
                <a:gd name="connsiteY76" fmla="*/ 476250 h 3822033"/>
                <a:gd name="connsiteX77" fmla="*/ 2971800 w 3457575"/>
                <a:gd name="connsiteY77" fmla="*/ 523875 h 3822033"/>
                <a:gd name="connsiteX78" fmla="*/ 2990850 w 3457575"/>
                <a:gd name="connsiteY78" fmla="*/ 552450 h 3822033"/>
                <a:gd name="connsiteX79" fmla="*/ 3028950 w 3457575"/>
                <a:gd name="connsiteY79" fmla="*/ 590550 h 3822033"/>
                <a:gd name="connsiteX80" fmla="*/ 3048000 w 3457575"/>
                <a:gd name="connsiteY80" fmla="*/ 628650 h 3822033"/>
                <a:gd name="connsiteX81" fmla="*/ 3086100 w 3457575"/>
                <a:gd name="connsiteY81" fmla="*/ 666750 h 3822033"/>
                <a:gd name="connsiteX82" fmla="*/ 3124200 w 3457575"/>
                <a:gd name="connsiteY82" fmla="*/ 723900 h 3822033"/>
                <a:gd name="connsiteX83" fmla="*/ 3219450 w 3457575"/>
                <a:gd name="connsiteY83" fmla="*/ 838200 h 3822033"/>
                <a:gd name="connsiteX84" fmla="*/ 3238500 w 3457575"/>
                <a:gd name="connsiteY84" fmla="*/ 885825 h 3822033"/>
                <a:gd name="connsiteX85" fmla="*/ 3276600 w 3457575"/>
                <a:gd name="connsiteY85" fmla="*/ 942975 h 3822033"/>
                <a:gd name="connsiteX86" fmla="*/ 3286125 w 3457575"/>
                <a:gd name="connsiteY86" fmla="*/ 990600 h 3822033"/>
                <a:gd name="connsiteX87" fmla="*/ 3324225 w 3457575"/>
                <a:gd name="connsiteY87" fmla="*/ 1085850 h 3822033"/>
                <a:gd name="connsiteX88" fmla="*/ 3362325 w 3457575"/>
                <a:gd name="connsiteY88" fmla="*/ 1171575 h 3822033"/>
                <a:gd name="connsiteX89" fmla="*/ 3390900 w 3457575"/>
                <a:gd name="connsiteY89" fmla="*/ 1219200 h 3822033"/>
                <a:gd name="connsiteX90" fmla="*/ 3419475 w 3457575"/>
                <a:gd name="connsiteY90" fmla="*/ 1333500 h 3822033"/>
                <a:gd name="connsiteX91" fmla="*/ 3429000 w 3457575"/>
                <a:gd name="connsiteY91" fmla="*/ 1390650 h 3822033"/>
                <a:gd name="connsiteX92" fmla="*/ 3457575 w 3457575"/>
                <a:gd name="connsiteY92" fmla="*/ 1657350 h 3822033"/>
                <a:gd name="connsiteX93" fmla="*/ 3448050 w 3457575"/>
                <a:gd name="connsiteY93" fmla="*/ 2095500 h 3822033"/>
                <a:gd name="connsiteX94" fmla="*/ 3381375 w 3457575"/>
                <a:gd name="connsiteY94" fmla="*/ 2238375 h 3822033"/>
                <a:gd name="connsiteX95" fmla="*/ 3343275 w 3457575"/>
                <a:gd name="connsiteY95" fmla="*/ 2333625 h 3822033"/>
                <a:gd name="connsiteX96" fmla="*/ 3276600 w 3457575"/>
                <a:gd name="connsiteY96" fmla="*/ 2400300 h 3822033"/>
                <a:gd name="connsiteX97" fmla="*/ 3190875 w 3457575"/>
                <a:gd name="connsiteY97" fmla="*/ 2533650 h 3822033"/>
                <a:gd name="connsiteX98" fmla="*/ 3105150 w 3457575"/>
                <a:gd name="connsiteY98" fmla="*/ 2647950 h 3822033"/>
                <a:gd name="connsiteX99" fmla="*/ 3019425 w 3457575"/>
                <a:gd name="connsiteY99" fmla="*/ 2781300 h 3822033"/>
                <a:gd name="connsiteX100" fmla="*/ 2981325 w 3457575"/>
                <a:gd name="connsiteY100" fmla="*/ 2819400 h 3822033"/>
                <a:gd name="connsiteX101" fmla="*/ 2943225 w 3457575"/>
                <a:gd name="connsiteY101" fmla="*/ 2876550 h 3822033"/>
                <a:gd name="connsiteX102" fmla="*/ 2857500 w 3457575"/>
                <a:gd name="connsiteY102" fmla="*/ 2933700 h 3822033"/>
                <a:gd name="connsiteX103" fmla="*/ 2809875 w 3457575"/>
                <a:gd name="connsiteY103" fmla="*/ 2971800 h 3822033"/>
                <a:gd name="connsiteX104" fmla="*/ 2705100 w 3457575"/>
                <a:gd name="connsiteY104" fmla="*/ 3038475 h 3822033"/>
                <a:gd name="connsiteX105" fmla="*/ 2609850 w 3457575"/>
                <a:gd name="connsiteY105" fmla="*/ 3105150 h 3822033"/>
                <a:gd name="connsiteX106" fmla="*/ 2562225 w 3457575"/>
                <a:gd name="connsiteY106" fmla="*/ 3143250 h 3822033"/>
                <a:gd name="connsiteX107" fmla="*/ 2495550 w 3457575"/>
                <a:gd name="connsiteY107" fmla="*/ 3162300 h 3822033"/>
                <a:gd name="connsiteX108" fmla="*/ 2362200 w 3457575"/>
                <a:gd name="connsiteY108" fmla="*/ 3219450 h 3822033"/>
                <a:gd name="connsiteX109" fmla="*/ 2257425 w 3457575"/>
                <a:gd name="connsiteY109" fmla="*/ 3257550 h 3822033"/>
                <a:gd name="connsiteX110" fmla="*/ 2181225 w 3457575"/>
                <a:gd name="connsiteY110" fmla="*/ 3276600 h 3822033"/>
                <a:gd name="connsiteX111" fmla="*/ 2057400 w 3457575"/>
                <a:gd name="connsiteY111" fmla="*/ 3362325 h 3822033"/>
                <a:gd name="connsiteX112" fmla="*/ 2009775 w 3457575"/>
                <a:gd name="connsiteY112" fmla="*/ 3400425 h 3822033"/>
                <a:gd name="connsiteX113" fmla="*/ 1962150 w 3457575"/>
                <a:gd name="connsiteY113" fmla="*/ 3429000 h 3822033"/>
                <a:gd name="connsiteX114" fmla="*/ 1905000 w 3457575"/>
                <a:gd name="connsiteY114" fmla="*/ 3495675 h 3822033"/>
                <a:gd name="connsiteX115" fmla="*/ 1819275 w 3457575"/>
                <a:gd name="connsiteY115" fmla="*/ 3609975 h 3822033"/>
                <a:gd name="connsiteX116" fmla="*/ 1800225 w 3457575"/>
                <a:gd name="connsiteY116" fmla="*/ 3638550 h 3822033"/>
                <a:gd name="connsiteX117" fmla="*/ 1790700 w 3457575"/>
                <a:gd name="connsiteY117" fmla="*/ 3667125 h 3822033"/>
                <a:gd name="connsiteX118" fmla="*/ 1771650 w 3457575"/>
                <a:gd name="connsiteY118" fmla="*/ 3695700 h 3822033"/>
                <a:gd name="connsiteX119" fmla="*/ 1752600 w 3457575"/>
                <a:gd name="connsiteY119" fmla="*/ 3733800 h 3822033"/>
                <a:gd name="connsiteX120" fmla="*/ 1714500 w 3457575"/>
                <a:gd name="connsiteY120" fmla="*/ 3810000 h 3822033"/>
                <a:gd name="connsiteX121" fmla="*/ 1704975 w 3457575"/>
                <a:gd name="connsiteY12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361950 w 3457575"/>
                <a:gd name="connsiteY49" fmla="*/ 533400 h 3822033"/>
                <a:gd name="connsiteX50" fmla="*/ 552450 w 3457575"/>
                <a:gd name="connsiteY50" fmla="*/ 361950 h 3822033"/>
                <a:gd name="connsiteX51" fmla="*/ 609600 w 3457575"/>
                <a:gd name="connsiteY51" fmla="*/ 323850 h 3822033"/>
                <a:gd name="connsiteX52" fmla="*/ 666750 w 3457575"/>
                <a:gd name="connsiteY52" fmla="*/ 285750 h 3822033"/>
                <a:gd name="connsiteX53" fmla="*/ 762000 w 3457575"/>
                <a:gd name="connsiteY53" fmla="*/ 238125 h 3822033"/>
                <a:gd name="connsiteX54" fmla="*/ 800100 w 3457575"/>
                <a:gd name="connsiteY54" fmla="*/ 219075 h 3822033"/>
                <a:gd name="connsiteX55" fmla="*/ 895350 w 3457575"/>
                <a:gd name="connsiteY55" fmla="*/ 161925 h 3822033"/>
                <a:gd name="connsiteX56" fmla="*/ 962025 w 3457575"/>
                <a:gd name="connsiteY56" fmla="*/ 133350 h 3822033"/>
                <a:gd name="connsiteX57" fmla="*/ 1123950 w 3457575"/>
                <a:gd name="connsiteY57" fmla="*/ 76200 h 3822033"/>
                <a:gd name="connsiteX58" fmla="*/ 1162050 w 3457575"/>
                <a:gd name="connsiteY58" fmla="*/ 66675 h 3822033"/>
                <a:gd name="connsiteX59" fmla="*/ 1438275 w 3457575"/>
                <a:gd name="connsiteY59" fmla="*/ 0 h 3822033"/>
                <a:gd name="connsiteX60" fmla="*/ 2038350 w 3457575"/>
                <a:gd name="connsiteY60" fmla="*/ 9525 h 3822033"/>
                <a:gd name="connsiteX61" fmla="*/ 2105025 w 3457575"/>
                <a:gd name="connsiteY61" fmla="*/ 19050 h 3822033"/>
                <a:gd name="connsiteX62" fmla="*/ 2162175 w 3457575"/>
                <a:gd name="connsiteY62" fmla="*/ 47625 h 3822033"/>
                <a:gd name="connsiteX63" fmla="*/ 2228850 w 3457575"/>
                <a:gd name="connsiteY63" fmla="*/ 66675 h 3822033"/>
                <a:gd name="connsiteX64" fmla="*/ 2343150 w 3457575"/>
                <a:gd name="connsiteY64" fmla="*/ 133350 h 3822033"/>
                <a:gd name="connsiteX65" fmla="*/ 2390775 w 3457575"/>
                <a:gd name="connsiteY65" fmla="*/ 142875 h 3822033"/>
                <a:gd name="connsiteX66" fmla="*/ 2457450 w 3457575"/>
                <a:gd name="connsiteY66" fmla="*/ 171450 h 3822033"/>
                <a:gd name="connsiteX67" fmla="*/ 2486025 w 3457575"/>
                <a:gd name="connsiteY67" fmla="*/ 200025 h 3822033"/>
                <a:gd name="connsiteX68" fmla="*/ 2571750 w 3457575"/>
                <a:gd name="connsiteY68" fmla="*/ 228600 h 3822033"/>
                <a:gd name="connsiteX69" fmla="*/ 2676525 w 3457575"/>
                <a:gd name="connsiteY69" fmla="*/ 285750 h 3822033"/>
                <a:gd name="connsiteX70" fmla="*/ 2705100 w 3457575"/>
                <a:gd name="connsiteY70" fmla="*/ 304800 h 3822033"/>
                <a:gd name="connsiteX71" fmla="*/ 2733675 w 3457575"/>
                <a:gd name="connsiteY71" fmla="*/ 333375 h 3822033"/>
                <a:gd name="connsiteX72" fmla="*/ 2771775 w 3457575"/>
                <a:gd name="connsiteY72" fmla="*/ 361950 h 3822033"/>
                <a:gd name="connsiteX73" fmla="*/ 2809875 w 3457575"/>
                <a:gd name="connsiteY73" fmla="*/ 400050 h 3822033"/>
                <a:gd name="connsiteX74" fmla="*/ 2867025 w 3457575"/>
                <a:gd name="connsiteY74" fmla="*/ 438150 h 3822033"/>
                <a:gd name="connsiteX75" fmla="*/ 2905125 w 3457575"/>
                <a:gd name="connsiteY75" fmla="*/ 476250 h 3822033"/>
                <a:gd name="connsiteX76" fmla="*/ 2971800 w 3457575"/>
                <a:gd name="connsiteY76" fmla="*/ 523875 h 3822033"/>
                <a:gd name="connsiteX77" fmla="*/ 2990850 w 3457575"/>
                <a:gd name="connsiteY77" fmla="*/ 552450 h 3822033"/>
                <a:gd name="connsiteX78" fmla="*/ 3028950 w 3457575"/>
                <a:gd name="connsiteY78" fmla="*/ 590550 h 3822033"/>
                <a:gd name="connsiteX79" fmla="*/ 3048000 w 3457575"/>
                <a:gd name="connsiteY79" fmla="*/ 628650 h 3822033"/>
                <a:gd name="connsiteX80" fmla="*/ 3086100 w 3457575"/>
                <a:gd name="connsiteY80" fmla="*/ 666750 h 3822033"/>
                <a:gd name="connsiteX81" fmla="*/ 3124200 w 3457575"/>
                <a:gd name="connsiteY81" fmla="*/ 723900 h 3822033"/>
                <a:gd name="connsiteX82" fmla="*/ 3219450 w 3457575"/>
                <a:gd name="connsiteY82" fmla="*/ 838200 h 3822033"/>
                <a:gd name="connsiteX83" fmla="*/ 3238500 w 3457575"/>
                <a:gd name="connsiteY83" fmla="*/ 885825 h 3822033"/>
                <a:gd name="connsiteX84" fmla="*/ 3276600 w 3457575"/>
                <a:gd name="connsiteY84" fmla="*/ 942975 h 3822033"/>
                <a:gd name="connsiteX85" fmla="*/ 3286125 w 3457575"/>
                <a:gd name="connsiteY85" fmla="*/ 990600 h 3822033"/>
                <a:gd name="connsiteX86" fmla="*/ 3324225 w 3457575"/>
                <a:gd name="connsiteY86" fmla="*/ 1085850 h 3822033"/>
                <a:gd name="connsiteX87" fmla="*/ 3362325 w 3457575"/>
                <a:gd name="connsiteY87" fmla="*/ 1171575 h 3822033"/>
                <a:gd name="connsiteX88" fmla="*/ 3390900 w 3457575"/>
                <a:gd name="connsiteY88" fmla="*/ 1219200 h 3822033"/>
                <a:gd name="connsiteX89" fmla="*/ 3419475 w 3457575"/>
                <a:gd name="connsiteY89" fmla="*/ 1333500 h 3822033"/>
                <a:gd name="connsiteX90" fmla="*/ 3429000 w 3457575"/>
                <a:gd name="connsiteY90" fmla="*/ 1390650 h 3822033"/>
                <a:gd name="connsiteX91" fmla="*/ 3457575 w 3457575"/>
                <a:gd name="connsiteY91" fmla="*/ 1657350 h 3822033"/>
                <a:gd name="connsiteX92" fmla="*/ 3448050 w 3457575"/>
                <a:gd name="connsiteY92" fmla="*/ 2095500 h 3822033"/>
                <a:gd name="connsiteX93" fmla="*/ 3381375 w 3457575"/>
                <a:gd name="connsiteY93" fmla="*/ 2238375 h 3822033"/>
                <a:gd name="connsiteX94" fmla="*/ 3343275 w 3457575"/>
                <a:gd name="connsiteY94" fmla="*/ 2333625 h 3822033"/>
                <a:gd name="connsiteX95" fmla="*/ 3276600 w 3457575"/>
                <a:gd name="connsiteY95" fmla="*/ 2400300 h 3822033"/>
                <a:gd name="connsiteX96" fmla="*/ 3190875 w 3457575"/>
                <a:gd name="connsiteY96" fmla="*/ 2533650 h 3822033"/>
                <a:gd name="connsiteX97" fmla="*/ 3105150 w 3457575"/>
                <a:gd name="connsiteY97" fmla="*/ 2647950 h 3822033"/>
                <a:gd name="connsiteX98" fmla="*/ 3019425 w 3457575"/>
                <a:gd name="connsiteY98" fmla="*/ 2781300 h 3822033"/>
                <a:gd name="connsiteX99" fmla="*/ 2981325 w 3457575"/>
                <a:gd name="connsiteY99" fmla="*/ 2819400 h 3822033"/>
                <a:gd name="connsiteX100" fmla="*/ 2943225 w 3457575"/>
                <a:gd name="connsiteY100" fmla="*/ 2876550 h 3822033"/>
                <a:gd name="connsiteX101" fmla="*/ 2857500 w 3457575"/>
                <a:gd name="connsiteY101" fmla="*/ 2933700 h 3822033"/>
                <a:gd name="connsiteX102" fmla="*/ 2809875 w 3457575"/>
                <a:gd name="connsiteY102" fmla="*/ 2971800 h 3822033"/>
                <a:gd name="connsiteX103" fmla="*/ 2705100 w 3457575"/>
                <a:gd name="connsiteY103" fmla="*/ 3038475 h 3822033"/>
                <a:gd name="connsiteX104" fmla="*/ 2609850 w 3457575"/>
                <a:gd name="connsiteY104" fmla="*/ 3105150 h 3822033"/>
                <a:gd name="connsiteX105" fmla="*/ 2562225 w 3457575"/>
                <a:gd name="connsiteY105" fmla="*/ 3143250 h 3822033"/>
                <a:gd name="connsiteX106" fmla="*/ 2495550 w 3457575"/>
                <a:gd name="connsiteY106" fmla="*/ 3162300 h 3822033"/>
                <a:gd name="connsiteX107" fmla="*/ 2362200 w 3457575"/>
                <a:gd name="connsiteY107" fmla="*/ 3219450 h 3822033"/>
                <a:gd name="connsiteX108" fmla="*/ 2257425 w 3457575"/>
                <a:gd name="connsiteY108" fmla="*/ 3257550 h 3822033"/>
                <a:gd name="connsiteX109" fmla="*/ 2181225 w 3457575"/>
                <a:gd name="connsiteY109" fmla="*/ 3276600 h 3822033"/>
                <a:gd name="connsiteX110" fmla="*/ 2057400 w 3457575"/>
                <a:gd name="connsiteY110" fmla="*/ 3362325 h 3822033"/>
                <a:gd name="connsiteX111" fmla="*/ 2009775 w 3457575"/>
                <a:gd name="connsiteY111" fmla="*/ 3400425 h 3822033"/>
                <a:gd name="connsiteX112" fmla="*/ 1962150 w 3457575"/>
                <a:gd name="connsiteY112" fmla="*/ 3429000 h 3822033"/>
                <a:gd name="connsiteX113" fmla="*/ 1905000 w 3457575"/>
                <a:gd name="connsiteY113" fmla="*/ 3495675 h 3822033"/>
                <a:gd name="connsiteX114" fmla="*/ 1819275 w 3457575"/>
                <a:gd name="connsiteY114" fmla="*/ 3609975 h 3822033"/>
                <a:gd name="connsiteX115" fmla="*/ 1800225 w 3457575"/>
                <a:gd name="connsiteY115" fmla="*/ 3638550 h 3822033"/>
                <a:gd name="connsiteX116" fmla="*/ 1790700 w 3457575"/>
                <a:gd name="connsiteY116" fmla="*/ 3667125 h 3822033"/>
                <a:gd name="connsiteX117" fmla="*/ 1771650 w 3457575"/>
                <a:gd name="connsiteY117" fmla="*/ 3695700 h 3822033"/>
                <a:gd name="connsiteX118" fmla="*/ 1752600 w 3457575"/>
                <a:gd name="connsiteY118" fmla="*/ 3733800 h 3822033"/>
                <a:gd name="connsiteX119" fmla="*/ 1714500 w 3457575"/>
                <a:gd name="connsiteY119" fmla="*/ 3810000 h 3822033"/>
                <a:gd name="connsiteX120" fmla="*/ 1704975 w 3457575"/>
                <a:gd name="connsiteY12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352425 w 3457575"/>
                <a:gd name="connsiteY48" fmla="*/ 571500 h 3822033"/>
                <a:gd name="connsiteX49" fmla="*/ 552450 w 3457575"/>
                <a:gd name="connsiteY49" fmla="*/ 361950 h 3822033"/>
                <a:gd name="connsiteX50" fmla="*/ 609600 w 3457575"/>
                <a:gd name="connsiteY50" fmla="*/ 323850 h 3822033"/>
                <a:gd name="connsiteX51" fmla="*/ 666750 w 3457575"/>
                <a:gd name="connsiteY51" fmla="*/ 285750 h 3822033"/>
                <a:gd name="connsiteX52" fmla="*/ 762000 w 3457575"/>
                <a:gd name="connsiteY52" fmla="*/ 238125 h 3822033"/>
                <a:gd name="connsiteX53" fmla="*/ 800100 w 3457575"/>
                <a:gd name="connsiteY53" fmla="*/ 219075 h 3822033"/>
                <a:gd name="connsiteX54" fmla="*/ 895350 w 3457575"/>
                <a:gd name="connsiteY54" fmla="*/ 161925 h 3822033"/>
                <a:gd name="connsiteX55" fmla="*/ 962025 w 3457575"/>
                <a:gd name="connsiteY55" fmla="*/ 133350 h 3822033"/>
                <a:gd name="connsiteX56" fmla="*/ 1123950 w 3457575"/>
                <a:gd name="connsiteY56" fmla="*/ 76200 h 3822033"/>
                <a:gd name="connsiteX57" fmla="*/ 1162050 w 3457575"/>
                <a:gd name="connsiteY57" fmla="*/ 66675 h 3822033"/>
                <a:gd name="connsiteX58" fmla="*/ 1438275 w 3457575"/>
                <a:gd name="connsiteY58" fmla="*/ 0 h 3822033"/>
                <a:gd name="connsiteX59" fmla="*/ 2038350 w 3457575"/>
                <a:gd name="connsiteY59" fmla="*/ 9525 h 3822033"/>
                <a:gd name="connsiteX60" fmla="*/ 2105025 w 3457575"/>
                <a:gd name="connsiteY60" fmla="*/ 19050 h 3822033"/>
                <a:gd name="connsiteX61" fmla="*/ 2162175 w 3457575"/>
                <a:gd name="connsiteY61" fmla="*/ 47625 h 3822033"/>
                <a:gd name="connsiteX62" fmla="*/ 2228850 w 3457575"/>
                <a:gd name="connsiteY62" fmla="*/ 66675 h 3822033"/>
                <a:gd name="connsiteX63" fmla="*/ 2343150 w 3457575"/>
                <a:gd name="connsiteY63" fmla="*/ 133350 h 3822033"/>
                <a:gd name="connsiteX64" fmla="*/ 2390775 w 3457575"/>
                <a:gd name="connsiteY64" fmla="*/ 142875 h 3822033"/>
                <a:gd name="connsiteX65" fmla="*/ 2457450 w 3457575"/>
                <a:gd name="connsiteY65" fmla="*/ 171450 h 3822033"/>
                <a:gd name="connsiteX66" fmla="*/ 2486025 w 3457575"/>
                <a:gd name="connsiteY66" fmla="*/ 200025 h 3822033"/>
                <a:gd name="connsiteX67" fmla="*/ 2571750 w 3457575"/>
                <a:gd name="connsiteY67" fmla="*/ 228600 h 3822033"/>
                <a:gd name="connsiteX68" fmla="*/ 2676525 w 3457575"/>
                <a:gd name="connsiteY68" fmla="*/ 285750 h 3822033"/>
                <a:gd name="connsiteX69" fmla="*/ 2705100 w 3457575"/>
                <a:gd name="connsiteY69" fmla="*/ 304800 h 3822033"/>
                <a:gd name="connsiteX70" fmla="*/ 2733675 w 3457575"/>
                <a:gd name="connsiteY70" fmla="*/ 333375 h 3822033"/>
                <a:gd name="connsiteX71" fmla="*/ 2771775 w 3457575"/>
                <a:gd name="connsiteY71" fmla="*/ 361950 h 3822033"/>
                <a:gd name="connsiteX72" fmla="*/ 2809875 w 3457575"/>
                <a:gd name="connsiteY72" fmla="*/ 400050 h 3822033"/>
                <a:gd name="connsiteX73" fmla="*/ 2867025 w 3457575"/>
                <a:gd name="connsiteY73" fmla="*/ 438150 h 3822033"/>
                <a:gd name="connsiteX74" fmla="*/ 2905125 w 3457575"/>
                <a:gd name="connsiteY74" fmla="*/ 476250 h 3822033"/>
                <a:gd name="connsiteX75" fmla="*/ 2971800 w 3457575"/>
                <a:gd name="connsiteY75" fmla="*/ 523875 h 3822033"/>
                <a:gd name="connsiteX76" fmla="*/ 2990850 w 3457575"/>
                <a:gd name="connsiteY76" fmla="*/ 552450 h 3822033"/>
                <a:gd name="connsiteX77" fmla="*/ 3028950 w 3457575"/>
                <a:gd name="connsiteY77" fmla="*/ 590550 h 3822033"/>
                <a:gd name="connsiteX78" fmla="*/ 3048000 w 3457575"/>
                <a:gd name="connsiteY78" fmla="*/ 628650 h 3822033"/>
                <a:gd name="connsiteX79" fmla="*/ 3086100 w 3457575"/>
                <a:gd name="connsiteY79" fmla="*/ 666750 h 3822033"/>
                <a:gd name="connsiteX80" fmla="*/ 3124200 w 3457575"/>
                <a:gd name="connsiteY80" fmla="*/ 723900 h 3822033"/>
                <a:gd name="connsiteX81" fmla="*/ 3219450 w 3457575"/>
                <a:gd name="connsiteY81" fmla="*/ 838200 h 3822033"/>
                <a:gd name="connsiteX82" fmla="*/ 3238500 w 3457575"/>
                <a:gd name="connsiteY82" fmla="*/ 885825 h 3822033"/>
                <a:gd name="connsiteX83" fmla="*/ 3276600 w 3457575"/>
                <a:gd name="connsiteY83" fmla="*/ 942975 h 3822033"/>
                <a:gd name="connsiteX84" fmla="*/ 3286125 w 3457575"/>
                <a:gd name="connsiteY84" fmla="*/ 990600 h 3822033"/>
                <a:gd name="connsiteX85" fmla="*/ 3324225 w 3457575"/>
                <a:gd name="connsiteY85" fmla="*/ 1085850 h 3822033"/>
                <a:gd name="connsiteX86" fmla="*/ 3362325 w 3457575"/>
                <a:gd name="connsiteY86" fmla="*/ 1171575 h 3822033"/>
                <a:gd name="connsiteX87" fmla="*/ 3390900 w 3457575"/>
                <a:gd name="connsiteY87" fmla="*/ 1219200 h 3822033"/>
                <a:gd name="connsiteX88" fmla="*/ 3419475 w 3457575"/>
                <a:gd name="connsiteY88" fmla="*/ 1333500 h 3822033"/>
                <a:gd name="connsiteX89" fmla="*/ 3429000 w 3457575"/>
                <a:gd name="connsiteY89" fmla="*/ 1390650 h 3822033"/>
                <a:gd name="connsiteX90" fmla="*/ 3457575 w 3457575"/>
                <a:gd name="connsiteY90" fmla="*/ 1657350 h 3822033"/>
                <a:gd name="connsiteX91" fmla="*/ 3448050 w 3457575"/>
                <a:gd name="connsiteY91" fmla="*/ 2095500 h 3822033"/>
                <a:gd name="connsiteX92" fmla="*/ 3381375 w 3457575"/>
                <a:gd name="connsiteY92" fmla="*/ 2238375 h 3822033"/>
                <a:gd name="connsiteX93" fmla="*/ 3343275 w 3457575"/>
                <a:gd name="connsiteY93" fmla="*/ 2333625 h 3822033"/>
                <a:gd name="connsiteX94" fmla="*/ 3276600 w 3457575"/>
                <a:gd name="connsiteY94" fmla="*/ 2400300 h 3822033"/>
                <a:gd name="connsiteX95" fmla="*/ 3190875 w 3457575"/>
                <a:gd name="connsiteY95" fmla="*/ 2533650 h 3822033"/>
                <a:gd name="connsiteX96" fmla="*/ 3105150 w 3457575"/>
                <a:gd name="connsiteY96" fmla="*/ 2647950 h 3822033"/>
                <a:gd name="connsiteX97" fmla="*/ 3019425 w 3457575"/>
                <a:gd name="connsiteY97" fmla="*/ 2781300 h 3822033"/>
                <a:gd name="connsiteX98" fmla="*/ 2981325 w 3457575"/>
                <a:gd name="connsiteY98" fmla="*/ 2819400 h 3822033"/>
                <a:gd name="connsiteX99" fmla="*/ 2943225 w 3457575"/>
                <a:gd name="connsiteY99" fmla="*/ 2876550 h 3822033"/>
                <a:gd name="connsiteX100" fmla="*/ 2857500 w 3457575"/>
                <a:gd name="connsiteY100" fmla="*/ 2933700 h 3822033"/>
                <a:gd name="connsiteX101" fmla="*/ 2809875 w 3457575"/>
                <a:gd name="connsiteY101" fmla="*/ 2971800 h 3822033"/>
                <a:gd name="connsiteX102" fmla="*/ 2705100 w 3457575"/>
                <a:gd name="connsiteY102" fmla="*/ 3038475 h 3822033"/>
                <a:gd name="connsiteX103" fmla="*/ 2609850 w 3457575"/>
                <a:gd name="connsiteY103" fmla="*/ 3105150 h 3822033"/>
                <a:gd name="connsiteX104" fmla="*/ 2562225 w 3457575"/>
                <a:gd name="connsiteY104" fmla="*/ 3143250 h 3822033"/>
                <a:gd name="connsiteX105" fmla="*/ 2495550 w 3457575"/>
                <a:gd name="connsiteY105" fmla="*/ 3162300 h 3822033"/>
                <a:gd name="connsiteX106" fmla="*/ 2362200 w 3457575"/>
                <a:gd name="connsiteY106" fmla="*/ 3219450 h 3822033"/>
                <a:gd name="connsiteX107" fmla="*/ 2257425 w 3457575"/>
                <a:gd name="connsiteY107" fmla="*/ 3257550 h 3822033"/>
                <a:gd name="connsiteX108" fmla="*/ 2181225 w 3457575"/>
                <a:gd name="connsiteY108" fmla="*/ 3276600 h 3822033"/>
                <a:gd name="connsiteX109" fmla="*/ 2057400 w 3457575"/>
                <a:gd name="connsiteY109" fmla="*/ 3362325 h 3822033"/>
                <a:gd name="connsiteX110" fmla="*/ 2009775 w 3457575"/>
                <a:gd name="connsiteY110" fmla="*/ 3400425 h 3822033"/>
                <a:gd name="connsiteX111" fmla="*/ 1962150 w 3457575"/>
                <a:gd name="connsiteY111" fmla="*/ 3429000 h 3822033"/>
                <a:gd name="connsiteX112" fmla="*/ 1905000 w 3457575"/>
                <a:gd name="connsiteY112" fmla="*/ 3495675 h 3822033"/>
                <a:gd name="connsiteX113" fmla="*/ 1819275 w 3457575"/>
                <a:gd name="connsiteY113" fmla="*/ 3609975 h 3822033"/>
                <a:gd name="connsiteX114" fmla="*/ 1800225 w 3457575"/>
                <a:gd name="connsiteY114" fmla="*/ 3638550 h 3822033"/>
                <a:gd name="connsiteX115" fmla="*/ 1790700 w 3457575"/>
                <a:gd name="connsiteY115" fmla="*/ 3667125 h 3822033"/>
                <a:gd name="connsiteX116" fmla="*/ 1771650 w 3457575"/>
                <a:gd name="connsiteY116" fmla="*/ 3695700 h 3822033"/>
                <a:gd name="connsiteX117" fmla="*/ 1752600 w 3457575"/>
                <a:gd name="connsiteY117" fmla="*/ 3733800 h 3822033"/>
                <a:gd name="connsiteX118" fmla="*/ 1714500 w 3457575"/>
                <a:gd name="connsiteY118" fmla="*/ 3810000 h 3822033"/>
                <a:gd name="connsiteX119" fmla="*/ 1704975 w 3457575"/>
                <a:gd name="connsiteY11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448050 w 3457575"/>
                <a:gd name="connsiteY90" fmla="*/ 2095500 h 3822033"/>
                <a:gd name="connsiteX91" fmla="*/ 3381375 w 3457575"/>
                <a:gd name="connsiteY91" fmla="*/ 2238375 h 3822033"/>
                <a:gd name="connsiteX92" fmla="*/ 3343275 w 3457575"/>
                <a:gd name="connsiteY92" fmla="*/ 2333625 h 3822033"/>
                <a:gd name="connsiteX93" fmla="*/ 3276600 w 3457575"/>
                <a:gd name="connsiteY93" fmla="*/ 2400300 h 3822033"/>
                <a:gd name="connsiteX94" fmla="*/ 3190875 w 3457575"/>
                <a:gd name="connsiteY94" fmla="*/ 2533650 h 3822033"/>
                <a:gd name="connsiteX95" fmla="*/ 3105150 w 3457575"/>
                <a:gd name="connsiteY95" fmla="*/ 2647950 h 3822033"/>
                <a:gd name="connsiteX96" fmla="*/ 3019425 w 3457575"/>
                <a:gd name="connsiteY96" fmla="*/ 2781300 h 3822033"/>
                <a:gd name="connsiteX97" fmla="*/ 2981325 w 3457575"/>
                <a:gd name="connsiteY97" fmla="*/ 2819400 h 3822033"/>
                <a:gd name="connsiteX98" fmla="*/ 2943225 w 3457575"/>
                <a:gd name="connsiteY98" fmla="*/ 2876550 h 3822033"/>
                <a:gd name="connsiteX99" fmla="*/ 2857500 w 3457575"/>
                <a:gd name="connsiteY99" fmla="*/ 2933700 h 3822033"/>
                <a:gd name="connsiteX100" fmla="*/ 2809875 w 3457575"/>
                <a:gd name="connsiteY100" fmla="*/ 2971800 h 3822033"/>
                <a:gd name="connsiteX101" fmla="*/ 2705100 w 3457575"/>
                <a:gd name="connsiteY101" fmla="*/ 3038475 h 3822033"/>
                <a:gd name="connsiteX102" fmla="*/ 2609850 w 3457575"/>
                <a:gd name="connsiteY102" fmla="*/ 3105150 h 3822033"/>
                <a:gd name="connsiteX103" fmla="*/ 2562225 w 3457575"/>
                <a:gd name="connsiteY103" fmla="*/ 3143250 h 3822033"/>
                <a:gd name="connsiteX104" fmla="*/ 2495550 w 3457575"/>
                <a:gd name="connsiteY104" fmla="*/ 3162300 h 3822033"/>
                <a:gd name="connsiteX105" fmla="*/ 2362200 w 3457575"/>
                <a:gd name="connsiteY105" fmla="*/ 3219450 h 3822033"/>
                <a:gd name="connsiteX106" fmla="*/ 2257425 w 3457575"/>
                <a:gd name="connsiteY106" fmla="*/ 3257550 h 3822033"/>
                <a:gd name="connsiteX107" fmla="*/ 2181225 w 3457575"/>
                <a:gd name="connsiteY107" fmla="*/ 3276600 h 3822033"/>
                <a:gd name="connsiteX108" fmla="*/ 2057400 w 3457575"/>
                <a:gd name="connsiteY108" fmla="*/ 3362325 h 3822033"/>
                <a:gd name="connsiteX109" fmla="*/ 2009775 w 3457575"/>
                <a:gd name="connsiteY109" fmla="*/ 3400425 h 3822033"/>
                <a:gd name="connsiteX110" fmla="*/ 1962150 w 3457575"/>
                <a:gd name="connsiteY110" fmla="*/ 3429000 h 3822033"/>
                <a:gd name="connsiteX111" fmla="*/ 1905000 w 3457575"/>
                <a:gd name="connsiteY111" fmla="*/ 3495675 h 3822033"/>
                <a:gd name="connsiteX112" fmla="*/ 1819275 w 3457575"/>
                <a:gd name="connsiteY112" fmla="*/ 3609975 h 3822033"/>
                <a:gd name="connsiteX113" fmla="*/ 1800225 w 3457575"/>
                <a:gd name="connsiteY113" fmla="*/ 3638550 h 3822033"/>
                <a:gd name="connsiteX114" fmla="*/ 1790700 w 3457575"/>
                <a:gd name="connsiteY114" fmla="*/ 3667125 h 3822033"/>
                <a:gd name="connsiteX115" fmla="*/ 1771650 w 3457575"/>
                <a:gd name="connsiteY115" fmla="*/ 3695700 h 3822033"/>
                <a:gd name="connsiteX116" fmla="*/ 1752600 w 3457575"/>
                <a:gd name="connsiteY116" fmla="*/ 3733800 h 3822033"/>
                <a:gd name="connsiteX117" fmla="*/ 1714500 w 3457575"/>
                <a:gd name="connsiteY117" fmla="*/ 3810000 h 3822033"/>
                <a:gd name="connsiteX118" fmla="*/ 1704975 w 3457575"/>
                <a:gd name="connsiteY11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485775 w 3457575"/>
                <a:gd name="connsiteY23" fmla="*/ 2771775 h 3822033"/>
                <a:gd name="connsiteX24" fmla="*/ 333375 w 3457575"/>
                <a:gd name="connsiteY24" fmla="*/ 2676525 h 3822033"/>
                <a:gd name="connsiteX25" fmla="*/ 295275 w 3457575"/>
                <a:gd name="connsiteY25" fmla="*/ 2581275 h 3822033"/>
                <a:gd name="connsiteX26" fmla="*/ 257175 w 3457575"/>
                <a:gd name="connsiteY26" fmla="*/ 2495550 h 3822033"/>
                <a:gd name="connsiteX27" fmla="*/ 228600 w 3457575"/>
                <a:gd name="connsiteY27" fmla="*/ 2457450 h 3822033"/>
                <a:gd name="connsiteX28" fmla="*/ 200025 w 3457575"/>
                <a:gd name="connsiteY28" fmla="*/ 2371725 h 3822033"/>
                <a:gd name="connsiteX29" fmla="*/ 180975 w 3457575"/>
                <a:gd name="connsiteY29" fmla="*/ 2343150 h 3822033"/>
                <a:gd name="connsiteX30" fmla="*/ 152400 w 3457575"/>
                <a:gd name="connsiteY30" fmla="*/ 2219325 h 3822033"/>
                <a:gd name="connsiteX31" fmla="*/ 142875 w 3457575"/>
                <a:gd name="connsiteY31" fmla="*/ 2190750 h 3822033"/>
                <a:gd name="connsiteX32" fmla="*/ 123825 w 3457575"/>
                <a:gd name="connsiteY32" fmla="*/ 2143125 h 3822033"/>
                <a:gd name="connsiteX33" fmla="*/ 95250 w 3457575"/>
                <a:gd name="connsiteY33" fmla="*/ 2028825 h 3822033"/>
                <a:gd name="connsiteX34" fmla="*/ 85725 w 3457575"/>
                <a:gd name="connsiteY34" fmla="*/ 1990725 h 3822033"/>
                <a:gd name="connsiteX35" fmla="*/ 57150 w 3457575"/>
                <a:gd name="connsiteY35" fmla="*/ 1933575 h 3822033"/>
                <a:gd name="connsiteX36" fmla="*/ 28575 w 3457575"/>
                <a:gd name="connsiteY36" fmla="*/ 1819275 h 3822033"/>
                <a:gd name="connsiteX37" fmla="*/ 9525 w 3457575"/>
                <a:gd name="connsiteY37" fmla="*/ 1657350 h 3822033"/>
                <a:gd name="connsiteX38" fmla="*/ 0 w 3457575"/>
                <a:gd name="connsiteY38" fmla="*/ 1609725 h 3822033"/>
                <a:gd name="connsiteX39" fmla="*/ 9525 w 3457575"/>
                <a:gd name="connsiteY39" fmla="*/ 1428750 h 3822033"/>
                <a:gd name="connsiteX40" fmla="*/ 28575 w 3457575"/>
                <a:gd name="connsiteY40" fmla="*/ 1304925 h 3822033"/>
                <a:gd name="connsiteX41" fmla="*/ 38100 w 3457575"/>
                <a:gd name="connsiteY41" fmla="*/ 1247775 h 3822033"/>
                <a:gd name="connsiteX42" fmla="*/ 76200 w 3457575"/>
                <a:gd name="connsiteY42" fmla="*/ 1152525 h 3822033"/>
                <a:gd name="connsiteX43" fmla="*/ 114300 w 3457575"/>
                <a:gd name="connsiteY43" fmla="*/ 990600 h 3822033"/>
                <a:gd name="connsiteX44" fmla="*/ 133350 w 3457575"/>
                <a:gd name="connsiteY44" fmla="*/ 923925 h 3822033"/>
                <a:gd name="connsiteX45" fmla="*/ 171450 w 3457575"/>
                <a:gd name="connsiteY45" fmla="*/ 866775 h 3822033"/>
                <a:gd name="connsiteX46" fmla="*/ 228600 w 3457575"/>
                <a:gd name="connsiteY46" fmla="*/ 762000 h 3822033"/>
                <a:gd name="connsiteX47" fmla="*/ 304800 w 3457575"/>
                <a:gd name="connsiteY47" fmla="*/ 647700 h 3822033"/>
                <a:gd name="connsiteX48" fmla="*/ 552450 w 3457575"/>
                <a:gd name="connsiteY48" fmla="*/ 361950 h 3822033"/>
                <a:gd name="connsiteX49" fmla="*/ 609600 w 3457575"/>
                <a:gd name="connsiteY49" fmla="*/ 323850 h 3822033"/>
                <a:gd name="connsiteX50" fmla="*/ 666750 w 3457575"/>
                <a:gd name="connsiteY50" fmla="*/ 285750 h 3822033"/>
                <a:gd name="connsiteX51" fmla="*/ 762000 w 3457575"/>
                <a:gd name="connsiteY51" fmla="*/ 238125 h 3822033"/>
                <a:gd name="connsiteX52" fmla="*/ 800100 w 3457575"/>
                <a:gd name="connsiteY52" fmla="*/ 219075 h 3822033"/>
                <a:gd name="connsiteX53" fmla="*/ 895350 w 3457575"/>
                <a:gd name="connsiteY53" fmla="*/ 161925 h 3822033"/>
                <a:gd name="connsiteX54" fmla="*/ 962025 w 3457575"/>
                <a:gd name="connsiteY54" fmla="*/ 133350 h 3822033"/>
                <a:gd name="connsiteX55" fmla="*/ 1123950 w 3457575"/>
                <a:gd name="connsiteY55" fmla="*/ 76200 h 3822033"/>
                <a:gd name="connsiteX56" fmla="*/ 1162050 w 3457575"/>
                <a:gd name="connsiteY56" fmla="*/ 66675 h 3822033"/>
                <a:gd name="connsiteX57" fmla="*/ 1438275 w 3457575"/>
                <a:gd name="connsiteY57" fmla="*/ 0 h 3822033"/>
                <a:gd name="connsiteX58" fmla="*/ 2038350 w 3457575"/>
                <a:gd name="connsiteY58" fmla="*/ 9525 h 3822033"/>
                <a:gd name="connsiteX59" fmla="*/ 2105025 w 3457575"/>
                <a:gd name="connsiteY59" fmla="*/ 19050 h 3822033"/>
                <a:gd name="connsiteX60" fmla="*/ 2162175 w 3457575"/>
                <a:gd name="connsiteY60" fmla="*/ 47625 h 3822033"/>
                <a:gd name="connsiteX61" fmla="*/ 2228850 w 3457575"/>
                <a:gd name="connsiteY61" fmla="*/ 66675 h 3822033"/>
                <a:gd name="connsiteX62" fmla="*/ 2343150 w 3457575"/>
                <a:gd name="connsiteY62" fmla="*/ 133350 h 3822033"/>
                <a:gd name="connsiteX63" fmla="*/ 2390775 w 3457575"/>
                <a:gd name="connsiteY63" fmla="*/ 142875 h 3822033"/>
                <a:gd name="connsiteX64" fmla="*/ 2457450 w 3457575"/>
                <a:gd name="connsiteY64" fmla="*/ 171450 h 3822033"/>
                <a:gd name="connsiteX65" fmla="*/ 2486025 w 3457575"/>
                <a:gd name="connsiteY65" fmla="*/ 200025 h 3822033"/>
                <a:gd name="connsiteX66" fmla="*/ 2571750 w 3457575"/>
                <a:gd name="connsiteY66" fmla="*/ 228600 h 3822033"/>
                <a:gd name="connsiteX67" fmla="*/ 2676525 w 3457575"/>
                <a:gd name="connsiteY67" fmla="*/ 285750 h 3822033"/>
                <a:gd name="connsiteX68" fmla="*/ 2705100 w 3457575"/>
                <a:gd name="connsiteY68" fmla="*/ 304800 h 3822033"/>
                <a:gd name="connsiteX69" fmla="*/ 2733675 w 3457575"/>
                <a:gd name="connsiteY69" fmla="*/ 333375 h 3822033"/>
                <a:gd name="connsiteX70" fmla="*/ 2771775 w 3457575"/>
                <a:gd name="connsiteY70" fmla="*/ 361950 h 3822033"/>
                <a:gd name="connsiteX71" fmla="*/ 2809875 w 3457575"/>
                <a:gd name="connsiteY71" fmla="*/ 400050 h 3822033"/>
                <a:gd name="connsiteX72" fmla="*/ 2867025 w 3457575"/>
                <a:gd name="connsiteY72" fmla="*/ 438150 h 3822033"/>
                <a:gd name="connsiteX73" fmla="*/ 2905125 w 3457575"/>
                <a:gd name="connsiteY73" fmla="*/ 476250 h 3822033"/>
                <a:gd name="connsiteX74" fmla="*/ 2971800 w 3457575"/>
                <a:gd name="connsiteY74" fmla="*/ 523875 h 3822033"/>
                <a:gd name="connsiteX75" fmla="*/ 2990850 w 3457575"/>
                <a:gd name="connsiteY75" fmla="*/ 552450 h 3822033"/>
                <a:gd name="connsiteX76" fmla="*/ 3028950 w 3457575"/>
                <a:gd name="connsiteY76" fmla="*/ 590550 h 3822033"/>
                <a:gd name="connsiteX77" fmla="*/ 3048000 w 3457575"/>
                <a:gd name="connsiteY77" fmla="*/ 628650 h 3822033"/>
                <a:gd name="connsiteX78" fmla="*/ 3086100 w 3457575"/>
                <a:gd name="connsiteY78" fmla="*/ 666750 h 3822033"/>
                <a:gd name="connsiteX79" fmla="*/ 3124200 w 3457575"/>
                <a:gd name="connsiteY79" fmla="*/ 723900 h 3822033"/>
                <a:gd name="connsiteX80" fmla="*/ 3219450 w 3457575"/>
                <a:gd name="connsiteY80" fmla="*/ 838200 h 3822033"/>
                <a:gd name="connsiteX81" fmla="*/ 3238500 w 3457575"/>
                <a:gd name="connsiteY81" fmla="*/ 885825 h 3822033"/>
                <a:gd name="connsiteX82" fmla="*/ 3276600 w 3457575"/>
                <a:gd name="connsiteY82" fmla="*/ 942975 h 3822033"/>
                <a:gd name="connsiteX83" fmla="*/ 3286125 w 3457575"/>
                <a:gd name="connsiteY83" fmla="*/ 990600 h 3822033"/>
                <a:gd name="connsiteX84" fmla="*/ 3324225 w 3457575"/>
                <a:gd name="connsiteY84" fmla="*/ 1085850 h 3822033"/>
                <a:gd name="connsiteX85" fmla="*/ 3362325 w 3457575"/>
                <a:gd name="connsiteY85" fmla="*/ 1171575 h 3822033"/>
                <a:gd name="connsiteX86" fmla="*/ 3390900 w 3457575"/>
                <a:gd name="connsiteY86" fmla="*/ 1219200 h 3822033"/>
                <a:gd name="connsiteX87" fmla="*/ 3419475 w 3457575"/>
                <a:gd name="connsiteY87" fmla="*/ 1333500 h 3822033"/>
                <a:gd name="connsiteX88" fmla="*/ 3429000 w 3457575"/>
                <a:gd name="connsiteY88" fmla="*/ 1390650 h 3822033"/>
                <a:gd name="connsiteX89" fmla="*/ 3457575 w 3457575"/>
                <a:gd name="connsiteY89" fmla="*/ 1657350 h 3822033"/>
                <a:gd name="connsiteX90" fmla="*/ 3381375 w 3457575"/>
                <a:gd name="connsiteY90" fmla="*/ 2238375 h 3822033"/>
                <a:gd name="connsiteX91" fmla="*/ 3343275 w 3457575"/>
                <a:gd name="connsiteY91" fmla="*/ 2333625 h 3822033"/>
                <a:gd name="connsiteX92" fmla="*/ 3276600 w 3457575"/>
                <a:gd name="connsiteY92" fmla="*/ 2400300 h 3822033"/>
                <a:gd name="connsiteX93" fmla="*/ 3190875 w 3457575"/>
                <a:gd name="connsiteY93" fmla="*/ 2533650 h 3822033"/>
                <a:gd name="connsiteX94" fmla="*/ 3105150 w 3457575"/>
                <a:gd name="connsiteY94" fmla="*/ 2647950 h 3822033"/>
                <a:gd name="connsiteX95" fmla="*/ 3019425 w 3457575"/>
                <a:gd name="connsiteY95" fmla="*/ 2781300 h 3822033"/>
                <a:gd name="connsiteX96" fmla="*/ 2981325 w 3457575"/>
                <a:gd name="connsiteY96" fmla="*/ 2819400 h 3822033"/>
                <a:gd name="connsiteX97" fmla="*/ 2943225 w 3457575"/>
                <a:gd name="connsiteY97" fmla="*/ 2876550 h 3822033"/>
                <a:gd name="connsiteX98" fmla="*/ 2857500 w 3457575"/>
                <a:gd name="connsiteY98" fmla="*/ 2933700 h 3822033"/>
                <a:gd name="connsiteX99" fmla="*/ 2809875 w 3457575"/>
                <a:gd name="connsiteY99" fmla="*/ 2971800 h 3822033"/>
                <a:gd name="connsiteX100" fmla="*/ 2705100 w 3457575"/>
                <a:gd name="connsiteY100" fmla="*/ 3038475 h 3822033"/>
                <a:gd name="connsiteX101" fmla="*/ 2609850 w 3457575"/>
                <a:gd name="connsiteY101" fmla="*/ 3105150 h 3822033"/>
                <a:gd name="connsiteX102" fmla="*/ 2562225 w 3457575"/>
                <a:gd name="connsiteY102" fmla="*/ 3143250 h 3822033"/>
                <a:gd name="connsiteX103" fmla="*/ 2495550 w 3457575"/>
                <a:gd name="connsiteY103" fmla="*/ 3162300 h 3822033"/>
                <a:gd name="connsiteX104" fmla="*/ 2362200 w 3457575"/>
                <a:gd name="connsiteY104" fmla="*/ 3219450 h 3822033"/>
                <a:gd name="connsiteX105" fmla="*/ 2257425 w 3457575"/>
                <a:gd name="connsiteY105" fmla="*/ 3257550 h 3822033"/>
                <a:gd name="connsiteX106" fmla="*/ 2181225 w 3457575"/>
                <a:gd name="connsiteY106" fmla="*/ 3276600 h 3822033"/>
                <a:gd name="connsiteX107" fmla="*/ 2057400 w 3457575"/>
                <a:gd name="connsiteY107" fmla="*/ 3362325 h 3822033"/>
                <a:gd name="connsiteX108" fmla="*/ 2009775 w 3457575"/>
                <a:gd name="connsiteY108" fmla="*/ 3400425 h 3822033"/>
                <a:gd name="connsiteX109" fmla="*/ 1962150 w 3457575"/>
                <a:gd name="connsiteY109" fmla="*/ 3429000 h 3822033"/>
                <a:gd name="connsiteX110" fmla="*/ 1905000 w 3457575"/>
                <a:gd name="connsiteY110" fmla="*/ 3495675 h 3822033"/>
                <a:gd name="connsiteX111" fmla="*/ 1819275 w 3457575"/>
                <a:gd name="connsiteY111" fmla="*/ 3609975 h 3822033"/>
                <a:gd name="connsiteX112" fmla="*/ 1800225 w 3457575"/>
                <a:gd name="connsiteY112" fmla="*/ 3638550 h 3822033"/>
                <a:gd name="connsiteX113" fmla="*/ 1790700 w 3457575"/>
                <a:gd name="connsiteY113" fmla="*/ 3667125 h 3822033"/>
                <a:gd name="connsiteX114" fmla="*/ 1771650 w 3457575"/>
                <a:gd name="connsiteY114" fmla="*/ 3695700 h 3822033"/>
                <a:gd name="connsiteX115" fmla="*/ 1752600 w 3457575"/>
                <a:gd name="connsiteY115" fmla="*/ 3733800 h 3822033"/>
                <a:gd name="connsiteX116" fmla="*/ 1714500 w 3457575"/>
                <a:gd name="connsiteY116" fmla="*/ 3810000 h 3822033"/>
                <a:gd name="connsiteX117" fmla="*/ 1704975 w 3457575"/>
                <a:gd name="connsiteY11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514350 w 3457575"/>
                <a:gd name="connsiteY22" fmla="*/ 2800350 h 3822033"/>
                <a:gd name="connsiteX23" fmla="*/ 333375 w 3457575"/>
                <a:gd name="connsiteY23" fmla="*/ 2676525 h 3822033"/>
                <a:gd name="connsiteX24" fmla="*/ 295275 w 3457575"/>
                <a:gd name="connsiteY24" fmla="*/ 2581275 h 3822033"/>
                <a:gd name="connsiteX25" fmla="*/ 257175 w 3457575"/>
                <a:gd name="connsiteY25" fmla="*/ 2495550 h 3822033"/>
                <a:gd name="connsiteX26" fmla="*/ 228600 w 3457575"/>
                <a:gd name="connsiteY26" fmla="*/ 2457450 h 3822033"/>
                <a:gd name="connsiteX27" fmla="*/ 200025 w 3457575"/>
                <a:gd name="connsiteY27" fmla="*/ 2371725 h 3822033"/>
                <a:gd name="connsiteX28" fmla="*/ 180975 w 3457575"/>
                <a:gd name="connsiteY28" fmla="*/ 2343150 h 3822033"/>
                <a:gd name="connsiteX29" fmla="*/ 152400 w 3457575"/>
                <a:gd name="connsiteY29" fmla="*/ 2219325 h 3822033"/>
                <a:gd name="connsiteX30" fmla="*/ 142875 w 3457575"/>
                <a:gd name="connsiteY30" fmla="*/ 2190750 h 3822033"/>
                <a:gd name="connsiteX31" fmla="*/ 123825 w 3457575"/>
                <a:gd name="connsiteY31" fmla="*/ 2143125 h 3822033"/>
                <a:gd name="connsiteX32" fmla="*/ 95250 w 3457575"/>
                <a:gd name="connsiteY32" fmla="*/ 2028825 h 3822033"/>
                <a:gd name="connsiteX33" fmla="*/ 85725 w 3457575"/>
                <a:gd name="connsiteY33" fmla="*/ 1990725 h 3822033"/>
                <a:gd name="connsiteX34" fmla="*/ 57150 w 3457575"/>
                <a:gd name="connsiteY34" fmla="*/ 1933575 h 3822033"/>
                <a:gd name="connsiteX35" fmla="*/ 28575 w 3457575"/>
                <a:gd name="connsiteY35" fmla="*/ 1819275 h 3822033"/>
                <a:gd name="connsiteX36" fmla="*/ 9525 w 3457575"/>
                <a:gd name="connsiteY36" fmla="*/ 1657350 h 3822033"/>
                <a:gd name="connsiteX37" fmla="*/ 0 w 3457575"/>
                <a:gd name="connsiteY37" fmla="*/ 1609725 h 3822033"/>
                <a:gd name="connsiteX38" fmla="*/ 9525 w 3457575"/>
                <a:gd name="connsiteY38" fmla="*/ 1428750 h 3822033"/>
                <a:gd name="connsiteX39" fmla="*/ 28575 w 3457575"/>
                <a:gd name="connsiteY39" fmla="*/ 1304925 h 3822033"/>
                <a:gd name="connsiteX40" fmla="*/ 38100 w 3457575"/>
                <a:gd name="connsiteY40" fmla="*/ 1247775 h 3822033"/>
                <a:gd name="connsiteX41" fmla="*/ 76200 w 3457575"/>
                <a:gd name="connsiteY41" fmla="*/ 1152525 h 3822033"/>
                <a:gd name="connsiteX42" fmla="*/ 114300 w 3457575"/>
                <a:gd name="connsiteY42" fmla="*/ 990600 h 3822033"/>
                <a:gd name="connsiteX43" fmla="*/ 133350 w 3457575"/>
                <a:gd name="connsiteY43" fmla="*/ 923925 h 3822033"/>
                <a:gd name="connsiteX44" fmla="*/ 171450 w 3457575"/>
                <a:gd name="connsiteY44" fmla="*/ 866775 h 3822033"/>
                <a:gd name="connsiteX45" fmla="*/ 228600 w 3457575"/>
                <a:gd name="connsiteY45" fmla="*/ 762000 h 3822033"/>
                <a:gd name="connsiteX46" fmla="*/ 304800 w 3457575"/>
                <a:gd name="connsiteY46" fmla="*/ 647700 h 3822033"/>
                <a:gd name="connsiteX47" fmla="*/ 552450 w 3457575"/>
                <a:gd name="connsiteY47" fmla="*/ 361950 h 3822033"/>
                <a:gd name="connsiteX48" fmla="*/ 609600 w 3457575"/>
                <a:gd name="connsiteY48" fmla="*/ 323850 h 3822033"/>
                <a:gd name="connsiteX49" fmla="*/ 666750 w 3457575"/>
                <a:gd name="connsiteY49" fmla="*/ 285750 h 3822033"/>
                <a:gd name="connsiteX50" fmla="*/ 762000 w 3457575"/>
                <a:gd name="connsiteY50" fmla="*/ 238125 h 3822033"/>
                <a:gd name="connsiteX51" fmla="*/ 800100 w 3457575"/>
                <a:gd name="connsiteY51" fmla="*/ 219075 h 3822033"/>
                <a:gd name="connsiteX52" fmla="*/ 895350 w 3457575"/>
                <a:gd name="connsiteY52" fmla="*/ 161925 h 3822033"/>
                <a:gd name="connsiteX53" fmla="*/ 962025 w 3457575"/>
                <a:gd name="connsiteY53" fmla="*/ 133350 h 3822033"/>
                <a:gd name="connsiteX54" fmla="*/ 1123950 w 3457575"/>
                <a:gd name="connsiteY54" fmla="*/ 76200 h 3822033"/>
                <a:gd name="connsiteX55" fmla="*/ 1162050 w 3457575"/>
                <a:gd name="connsiteY55" fmla="*/ 66675 h 3822033"/>
                <a:gd name="connsiteX56" fmla="*/ 1438275 w 3457575"/>
                <a:gd name="connsiteY56" fmla="*/ 0 h 3822033"/>
                <a:gd name="connsiteX57" fmla="*/ 2038350 w 3457575"/>
                <a:gd name="connsiteY57" fmla="*/ 9525 h 3822033"/>
                <a:gd name="connsiteX58" fmla="*/ 2105025 w 3457575"/>
                <a:gd name="connsiteY58" fmla="*/ 19050 h 3822033"/>
                <a:gd name="connsiteX59" fmla="*/ 2162175 w 3457575"/>
                <a:gd name="connsiteY59" fmla="*/ 47625 h 3822033"/>
                <a:gd name="connsiteX60" fmla="*/ 2228850 w 3457575"/>
                <a:gd name="connsiteY60" fmla="*/ 66675 h 3822033"/>
                <a:gd name="connsiteX61" fmla="*/ 2343150 w 3457575"/>
                <a:gd name="connsiteY61" fmla="*/ 133350 h 3822033"/>
                <a:gd name="connsiteX62" fmla="*/ 2390775 w 3457575"/>
                <a:gd name="connsiteY62" fmla="*/ 142875 h 3822033"/>
                <a:gd name="connsiteX63" fmla="*/ 2457450 w 3457575"/>
                <a:gd name="connsiteY63" fmla="*/ 171450 h 3822033"/>
                <a:gd name="connsiteX64" fmla="*/ 2486025 w 3457575"/>
                <a:gd name="connsiteY64" fmla="*/ 200025 h 3822033"/>
                <a:gd name="connsiteX65" fmla="*/ 2571750 w 3457575"/>
                <a:gd name="connsiteY65" fmla="*/ 228600 h 3822033"/>
                <a:gd name="connsiteX66" fmla="*/ 2676525 w 3457575"/>
                <a:gd name="connsiteY66" fmla="*/ 285750 h 3822033"/>
                <a:gd name="connsiteX67" fmla="*/ 2705100 w 3457575"/>
                <a:gd name="connsiteY67" fmla="*/ 304800 h 3822033"/>
                <a:gd name="connsiteX68" fmla="*/ 2733675 w 3457575"/>
                <a:gd name="connsiteY68" fmla="*/ 333375 h 3822033"/>
                <a:gd name="connsiteX69" fmla="*/ 2771775 w 3457575"/>
                <a:gd name="connsiteY69" fmla="*/ 361950 h 3822033"/>
                <a:gd name="connsiteX70" fmla="*/ 2809875 w 3457575"/>
                <a:gd name="connsiteY70" fmla="*/ 400050 h 3822033"/>
                <a:gd name="connsiteX71" fmla="*/ 2867025 w 3457575"/>
                <a:gd name="connsiteY71" fmla="*/ 438150 h 3822033"/>
                <a:gd name="connsiteX72" fmla="*/ 2905125 w 3457575"/>
                <a:gd name="connsiteY72" fmla="*/ 476250 h 3822033"/>
                <a:gd name="connsiteX73" fmla="*/ 2971800 w 3457575"/>
                <a:gd name="connsiteY73" fmla="*/ 523875 h 3822033"/>
                <a:gd name="connsiteX74" fmla="*/ 2990850 w 3457575"/>
                <a:gd name="connsiteY74" fmla="*/ 552450 h 3822033"/>
                <a:gd name="connsiteX75" fmla="*/ 3028950 w 3457575"/>
                <a:gd name="connsiteY75" fmla="*/ 590550 h 3822033"/>
                <a:gd name="connsiteX76" fmla="*/ 3048000 w 3457575"/>
                <a:gd name="connsiteY76" fmla="*/ 628650 h 3822033"/>
                <a:gd name="connsiteX77" fmla="*/ 3086100 w 3457575"/>
                <a:gd name="connsiteY77" fmla="*/ 666750 h 3822033"/>
                <a:gd name="connsiteX78" fmla="*/ 3124200 w 3457575"/>
                <a:gd name="connsiteY78" fmla="*/ 723900 h 3822033"/>
                <a:gd name="connsiteX79" fmla="*/ 3219450 w 3457575"/>
                <a:gd name="connsiteY79" fmla="*/ 838200 h 3822033"/>
                <a:gd name="connsiteX80" fmla="*/ 3238500 w 3457575"/>
                <a:gd name="connsiteY80" fmla="*/ 885825 h 3822033"/>
                <a:gd name="connsiteX81" fmla="*/ 3276600 w 3457575"/>
                <a:gd name="connsiteY81" fmla="*/ 942975 h 3822033"/>
                <a:gd name="connsiteX82" fmla="*/ 3286125 w 3457575"/>
                <a:gd name="connsiteY82" fmla="*/ 990600 h 3822033"/>
                <a:gd name="connsiteX83" fmla="*/ 3324225 w 3457575"/>
                <a:gd name="connsiteY83" fmla="*/ 1085850 h 3822033"/>
                <a:gd name="connsiteX84" fmla="*/ 3362325 w 3457575"/>
                <a:gd name="connsiteY84" fmla="*/ 1171575 h 3822033"/>
                <a:gd name="connsiteX85" fmla="*/ 3390900 w 3457575"/>
                <a:gd name="connsiteY85" fmla="*/ 1219200 h 3822033"/>
                <a:gd name="connsiteX86" fmla="*/ 3419475 w 3457575"/>
                <a:gd name="connsiteY86" fmla="*/ 1333500 h 3822033"/>
                <a:gd name="connsiteX87" fmla="*/ 3429000 w 3457575"/>
                <a:gd name="connsiteY87" fmla="*/ 1390650 h 3822033"/>
                <a:gd name="connsiteX88" fmla="*/ 3457575 w 3457575"/>
                <a:gd name="connsiteY88" fmla="*/ 1657350 h 3822033"/>
                <a:gd name="connsiteX89" fmla="*/ 3381375 w 3457575"/>
                <a:gd name="connsiteY89" fmla="*/ 2238375 h 3822033"/>
                <a:gd name="connsiteX90" fmla="*/ 3343275 w 3457575"/>
                <a:gd name="connsiteY90" fmla="*/ 2333625 h 3822033"/>
                <a:gd name="connsiteX91" fmla="*/ 3276600 w 3457575"/>
                <a:gd name="connsiteY91" fmla="*/ 2400300 h 3822033"/>
                <a:gd name="connsiteX92" fmla="*/ 3190875 w 3457575"/>
                <a:gd name="connsiteY92" fmla="*/ 2533650 h 3822033"/>
                <a:gd name="connsiteX93" fmla="*/ 3105150 w 3457575"/>
                <a:gd name="connsiteY93" fmla="*/ 2647950 h 3822033"/>
                <a:gd name="connsiteX94" fmla="*/ 3019425 w 3457575"/>
                <a:gd name="connsiteY94" fmla="*/ 2781300 h 3822033"/>
                <a:gd name="connsiteX95" fmla="*/ 2981325 w 3457575"/>
                <a:gd name="connsiteY95" fmla="*/ 2819400 h 3822033"/>
                <a:gd name="connsiteX96" fmla="*/ 2943225 w 3457575"/>
                <a:gd name="connsiteY96" fmla="*/ 2876550 h 3822033"/>
                <a:gd name="connsiteX97" fmla="*/ 2857500 w 3457575"/>
                <a:gd name="connsiteY97" fmla="*/ 2933700 h 3822033"/>
                <a:gd name="connsiteX98" fmla="*/ 2809875 w 3457575"/>
                <a:gd name="connsiteY98" fmla="*/ 2971800 h 3822033"/>
                <a:gd name="connsiteX99" fmla="*/ 2705100 w 3457575"/>
                <a:gd name="connsiteY99" fmla="*/ 3038475 h 3822033"/>
                <a:gd name="connsiteX100" fmla="*/ 2609850 w 3457575"/>
                <a:gd name="connsiteY100" fmla="*/ 3105150 h 3822033"/>
                <a:gd name="connsiteX101" fmla="*/ 2562225 w 3457575"/>
                <a:gd name="connsiteY101" fmla="*/ 3143250 h 3822033"/>
                <a:gd name="connsiteX102" fmla="*/ 2495550 w 3457575"/>
                <a:gd name="connsiteY102" fmla="*/ 3162300 h 3822033"/>
                <a:gd name="connsiteX103" fmla="*/ 2362200 w 3457575"/>
                <a:gd name="connsiteY103" fmla="*/ 3219450 h 3822033"/>
                <a:gd name="connsiteX104" fmla="*/ 2257425 w 3457575"/>
                <a:gd name="connsiteY104" fmla="*/ 3257550 h 3822033"/>
                <a:gd name="connsiteX105" fmla="*/ 2181225 w 3457575"/>
                <a:gd name="connsiteY105" fmla="*/ 3276600 h 3822033"/>
                <a:gd name="connsiteX106" fmla="*/ 2057400 w 3457575"/>
                <a:gd name="connsiteY106" fmla="*/ 3362325 h 3822033"/>
                <a:gd name="connsiteX107" fmla="*/ 2009775 w 3457575"/>
                <a:gd name="connsiteY107" fmla="*/ 3400425 h 3822033"/>
                <a:gd name="connsiteX108" fmla="*/ 1962150 w 3457575"/>
                <a:gd name="connsiteY108" fmla="*/ 3429000 h 3822033"/>
                <a:gd name="connsiteX109" fmla="*/ 1905000 w 3457575"/>
                <a:gd name="connsiteY109" fmla="*/ 3495675 h 3822033"/>
                <a:gd name="connsiteX110" fmla="*/ 1819275 w 3457575"/>
                <a:gd name="connsiteY110" fmla="*/ 3609975 h 3822033"/>
                <a:gd name="connsiteX111" fmla="*/ 1800225 w 3457575"/>
                <a:gd name="connsiteY111" fmla="*/ 3638550 h 3822033"/>
                <a:gd name="connsiteX112" fmla="*/ 1790700 w 3457575"/>
                <a:gd name="connsiteY112" fmla="*/ 3667125 h 3822033"/>
                <a:gd name="connsiteX113" fmla="*/ 1771650 w 3457575"/>
                <a:gd name="connsiteY113" fmla="*/ 3695700 h 3822033"/>
                <a:gd name="connsiteX114" fmla="*/ 1752600 w 3457575"/>
                <a:gd name="connsiteY114" fmla="*/ 3733800 h 3822033"/>
                <a:gd name="connsiteX115" fmla="*/ 1714500 w 3457575"/>
                <a:gd name="connsiteY115" fmla="*/ 3810000 h 3822033"/>
                <a:gd name="connsiteX116" fmla="*/ 1704975 w 3457575"/>
                <a:gd name="connsiteY11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561975 w 3457575"/>
                <a:gd name="connsiteY21" fmla="*/ 2914650 h 3822033"/>
                <a:gd name="connsiteX22" fmla="*/ 333375 w 3457575"/>
                <a:gd name="connsiteY22" fmla="*/ 2676525 h 3822033"/>
                <a:gd name="connsiteX23" fmla="*/ 295275 w 3457575"/>
                <a:gd name="connsiteY23" fmla="*/ 2581275 h 3822033"/>
                <a:gd name="connsiteX24" fmla="*/ 257175 w 3457575"/>
                <a:gd name="connsiteY24" fmla="*/ 2495550 h 3822033"/>
                <a:gd name="connsiteX25" fmla="*/ 228600 w 3457575"/>
                <a:gd name="connsiteY25" fmla="*/ 2457450 h 3822033"/>
                <a:gd name="connsiteX26" fmla="*/ 200025 w 3457575"/>
                <a:gd name="connsiteY26" fmla="*/ 2371725 h 3822033"/>
                <a:gd name="connsiteX27" fmla="*/ 180975 w 3457575"/>
                <a:gd name="connsiteY27" fmla="*/ 2343150 h 3822033"/>
                <a:gd name="connsiteX28" fmla="*/ 152400 w 3457575"/>
                <a:gd name="connsiteY28" fmla="*/ 2219325 h 3822033"/>
                <a:gd name="connsiteX29" fmla="*/ 142875 w 3457575"/>
                <a:gd name="connsiteY29" fmla="*/ 2190750 h 3822033"/>
                <a:gd name="connsiteX30" fmla="*/ 123825 w 3457575"/>
                <a:gd name="connsiteY30" fmla="*/ 2143125 h 3822033"/>
                <a:gd name="connsiteX31" fmla="*/ 95250 w 3457575"/>
                <a:gd name="connsiteY31" fmla="*/ 2028825 h 3822033"/>
                <a:gd name="connsiteX32" fmla="*/ 85725 w 3457575"/>
                <a:gd name="connsiteY32" fmla="*/ 1990725 h 3822033"/>
                <a:gd name="connsiteX33" fmla="*/ 57150 w 3457575"/>
                <a:gd name="connsiteY33" fmla="*/ 1933575 h 3822033"/>
                <a:gd name="connsiteX34" fmla="*/ 28575 w 3457575"/>
                <a:gd name="connsiteY34" fmla="*/ 1819275 h 3822033"/>
                <a:gd name="connsiteX35" fmla="*/ 9525 w 3457575"/>
                <a:gd name="connsiteY35" fmla="*/ 1657350 h 3822033"/>
                <a:gd name="connsiteX36" fmla="*/ 0 w 3457575"/>
                <a:gd name="connsiteY36" fmla="*/ 1609725 h 3822033"/>
                <a:gd name="connsiteX37" fmla="*/ 9525 w 3457575"/>
                <a:gd name="connsiteY37" fmla="*/ 1428750 h 3822033"/>
                <a:gd name="connsiteX38" fmla="*/ 28575 w 3457575"/>
                <a:gd name="connsiteY38" fmla="*/ 1304925 h 3822033"/>
                <a:gd name="connsiteX39" fmla="*/ 38100 w 3457575"/>
                <a:gd name="connsiteY39" fmla="*/ 1247775 h 3822033"/>
                <a:gd name="connsiteX40" fmla="*/ 76200 w 3457575"/>
                <a:gd name="connsiteY40" fmla="*/ 1152525 h 3822033"/>
                <a:gd name="connsiteX41" fmla="*/ 114300 w 3457575"/>
                <a:gd name="connsiteY41" fmla="*/ 990600 h 3822033"/>
                <a:gd name="connsiteX42" fmla="*/ 133350 w 3457575"/>
                <a:gd name="connsiteY42" fmla="*/ 923925 h 3822033"/>
                <a:gd name="connsiteX43" fmla="*/ 171450 w 3457575"/>
                <a:gd name="connsiteY43" fmla="*/ 866775 h 3822033"/>
                <a:gd name="connsiteX44" fmla="*/ 228600 w 3457575"/>
                <a:gd name="connsiteY44" fmla="*/ 762000 h 3822033"/>
                <a:gd name="connsiteX45" fmla="*/ 304800 w 3457575"/>
                <a:gd name="connsiteY45" fmla="*/ 647700 h 3822033"/>
                <a:gd name="connsiteX46" fmla="*/ 552450 w 3457575"/>
                <a:gd name="connsiteY46" fmla="*/ 361950 h 3822033"/>
                <a:gd name="connsiteX47" fmla="*/ 609600 w 3457575"/>
                <a:gd name="connsiteY47" fmla="*/ 323850 h 3822033"/>
                <a:gd name="connsiteX48" fmla="*/ 666750 w 3457575"/>
                <a:gd name="connsiteY48" fmla="*/ 285750 h 3822033"/>
                <a:gd name="connsiteX49" fmla="*/ 762000 w 3457575"/>
                <a:gd name="connsiteY49" fmla="*/ 238125 h 3822033"/>
                <a:gd name="connsiteX50" fmla="*/ 800100 w 3457575"/>
                <a:gd name="connsiteY50" fmla="*/ 219075 h 3822033"/>
                <a:gd name="connsiteX51" fmla="*/ 895350 w 3457575"/>
                <a:gd name="connsiteY51" fmla="*/ 161925 h 3822033"/>
                <a:gd name="connsiteX52" fmla="*/ 962025 w 3457575"/>
                <a:gd name="connsiteY52" fmla="*/ 133350 h 3822033"/>
                <a:gd name="connsiteX53" fmla="*/ 1123950 w 3457575"/>
                <a:gd name="connsiteY53" fmla="*/ 76200 h 3822033"/>
                <a:gd name="connsiteX54" fmla="*/ 1162050 w 3457575"/>
                <a:gd name="connsiteY54" fmla="*/ 66675 h 3822033"/>
                <a:gd name="connsiteX55" fmla="*/ 1438275 w 3457575"/>
                <a:gd name="connsiteY55" fmla="*/ 0 h 3822033"/>
                <a:gd name="connsiteX56" fmla="*/ 2038350 w 3457575"/>
                <a:gd name="connsiteY56" fmla="*/ 9525 h 3822033"/>
                <a:gd name="connsiteX57" fmla="*/ 2105025 w 3457575"/>
                <a:gd name="connsiteY57" fmla="*/ 19050 h 3822033"/>
                <a:gd name="connsiteX58" fmla="*/ 2162175 w 3457575"/>
                <a:gd name="connsiteY58" fmla="*/ 47625 h 3822033"/>
                <a:gd name="connsiteX59" fmla="*/ 2228850 w 3457575"/>
                <a:gd name="connsiteY59" fmla="*/ 66675 h 3822033"/>
                <a:gd name="connsiteX60" fmla="*/ 2343150 w 3457575"/>
                <a:gd name="connsiteY60" fmla="*/ 133350 h 3822033"/>
                <a:gd name="connsiteX61" fmla="*/ 2390775 w 3457575"/>
                <a:gd name="connsiteY61" fmla="*/ 142875 h 3822033"/>
                <a:gd name="connsiteX62" fmla="*/ 2457450 w 3457575"/>
                <a:gd name="connsiteY62" fmla="*/ 171450 h 3822033"/>
                <a:gd name="connsiteX63" fmla="*/ 2486025 w 3457575"/>
                <a:gd name="connsiteY63" fmla="*/ 200025 h 3822033"/>
                <a:gd name="connsiteX64" fmla="*/ 2571750 w 3457575"/>
                <a:gd name="connsiteY64" fmla="*/ 228600 h 3822033"/>
                <a:gd name="connsiteX65" fmla="*/ 2676525 w 3457575"/>
                <a:gd name="connsiteY65" fmla="*/ 285750 h 3822033"/>
                <a:gd name="connsiteX66" fmla="*/ 2705100 w 3457575"/>
                <a:gd name="connsiteY66" fmla="*/ 304800 h 3822033"/>
                <a:gd name="connsiteX67" fmla="*/ 2733675 w 3457575"/>
                <a:gd name="connsiteY67" fmla="*/ 333375 h 3822033"/>
                <a:gd name="connsiteX68" fmla="*/ 2771775 w 3457575"/>
                <a:gd name="connsiteY68" fmla="*/ 361950 h 3822033"/>
                <a:gd name="connsiteX69" fmla="*/ 2809875 w 3457575"/>
                <a:gd name="connsiteY69" fmla="*/ 400050 h 3822033"/>
                <a:gd name="connsiteX70" fmla="*/ 2867025 w 3457575"/>
                <a:gd name="connsiteY70" fmla="*/ 438150 h 3822033"/>
                <a:gd name="connsiteX71" fmla="*/ 2905125 w 3457575"/>
                <a:gd name="connsiteY71" fmla="*/ 476250 h 3822033"/>
                <a:gd name="connsiteX72" fmla="*/ 2971800 w 3457575"/>
                <a:gd name="connsiteY72" fmla="*/ 523875 h 3822033"/>
                <a:gd name="connsiteX73" fmla="*/ 2990850 w 3457575"/>
                <a:gd name="connsiteY73" fmla="*/ 552450 h 3822033"/>
                <a:gd name="connsiteX74" fmla="*/ 3028950 w 3457575"/>
                <a:gd name="connsiteY74" fmla="*/ 590550 h 3822033"/>
                <a:gd name="connsiteX75" fmla="*/ 3048000 w 3457575"/>
                <a:gd name="connsiteY75" fmla="*/ 628650 h 3822033"/>
                <a:gd name="connsiteX76" fmla="*/ 3086100 w 3457575"/>
                <a:gd name="connsiteY76" fmla="*/ 666750 h 3822033"/>
                <a:gd name="connsiteX77" fmla="*/ 3124200 w 3457575"/>
                <a:gd name="connsiteY77" fmla="*/ 723900 h 3822033"/>
                <a:gd name="connsiteX78" fmla="*/ 3219450 w 3457575"/>
                <a:gd name="connsiteY78" fmla="*/ 838200 h 3822033"/>
                <a:gd name="connsiteX79" fmla="*/ 3238500 w 3457575"/>
                <a:gd name="connsiteY79" fmla="*/ 885825 h 3822033"/>
                <a:gd name="connsiteX80" fmla="*/ 3276600 w 3457575"/>
                <a:gd name="connsiteY80" fmla="*/ 942975 h 3822033"/>
                <a:gd name="connsiteX81" fmla="*/ 3286125 w 3457575"/>
                <a:gd name="connsiteY81" fmla="*/ 990600 h 3822033"/>
                <a:gd name="connsiteX82" fmla="*/ 3324225 w 3457575"/>
                <a:gd name="connsiteY82" fmla="*/ 1085850 h 3822033"/>
                <a:gd name="connsiteX83" fmla="*/ 3362325 w 3457575"/>
                <a:gd name="connsiteY83" fmla="*/ 1171575 h 3822033"/>
                <a:gd name="connsiteX84" fmla="*/ 3390900 w 3457575"/>
                <a:gd name="connsiteY84" fmla="*/ 1219200 h 3822033"/>
                <a:gd name="connsiteX85" fmla="*/ 3419475 w 3457575"/>
                <a:gd name="connsiteY85" fmla="*/ 1333500 h 3822033"/>
                <a:gd name="connsiteX86" fmla="*/ 3429000 w 3457575"/>
                <a:gd name="connsiteY86" fmla="*/ 1390650 h 3822033"/>
                <a:gd name="connsiteX87" fmla="*/ 3457575 w 3457575"/>
                <a:gd name="connsiteY87" fmla="*/ 1657350 h 3822033"/>
                <a:gd name="connsiteX88" fmla="*/ 3381375 w 3457575"/>
                <a:gd name="connsiteY88" fmla="*/ 2238375 h 3822033"/>
                <a:gd name="connsiteX89" fmla="*/ 3343275 w 3457575"/>
                <a:gd name="connsiteY89" fmla="*/ 2333625 h 3822033"/>
                <a:gd name="connsiteX90" fmla="*/ 3276600 w 3457575"/>
                <a:gd name="connsiteY90" fmla="*/ 2400300 h 3822033"/>
                <a:gd name="connsiteX91" fmla="*/ 3190875 w 3457575"/>
                <a:gd name="connsiteY91" fmla="*/ 2533650 h 3822033"/>
                <a:gd name="connsiteX92" fmla="*/ 3105150 w 3457575"/>
                <a:gd name="connsiteY92" fmla="*/ 2647950 h 3822033"/>
                <a:gd name="connsiteX93" fmla="*/ 3019425 w 3457575"/>
                <a:gd name="connsiteY93" fmla="*/ 2781300 h 3822033"/>
                <a:gd name="connsiteX94" fmla="*/ 2981325 w 3457575"/>
                <a:gd name="connsiteY94" fmla="*/ 2819400 h 3822033"/>
                <a:gd name="connsiteX95" fmla="*/ 2943225 w 3457575"/>
                <a:gd name="connsiteY95" fmla="*/ 2876550 h 3822033"/>
                <a:gd name="connsiteX96" fmla="*/ 2857500 w 3457575"/>
                <a:gd name="connsiteY96" fmla="*/ 2933700 h 3822033"/>
                <a:gd name="connsiteX97" fmla="*/ 2809875 w 3457575"/>
                <a:gd name="connsiteY97" fmla="*/ 2971800 h 3822033"/>
                <a:gd name="connsiteX98" fmla="*/ 2705100 w 3457575"/>
                <a:gd name="connsiteY98" fmla="*/ 3038475 h 3822033"/>
                <a:gd name="connsiteX99" fmla="*/ 2609850 w 3457575"/>
                <a:gd name="connsiteY99" fmla="*/ 3105150 h 3822033"/>
                <a:gd name="connsiteX100" fmla="*/ 2562225 w 3457575"/>
                <a:gd name="connsiteY100" fmla="*/ 3143250 h 3822033"/>
                <a:gd name="connsiteX101" fmla="*/ 2495550 w 3457575"/>
                <a:gd name="connsiteY101" fmla="*/ 3162300 h 3822033"/>
                <a:gd name="connsiteX102" fmla="*/ 2362200 w 3457575"/>
                <a:gd name="connsiteY102" fmla="*/ 3219450 h 3822033"/>
                <a:gd name="connsiteX103" fmla="*/ 2257425 w 3457575"/>
                <a:gd name="connsiteY103" fmla="*/ 3257550 h 3822033"/>
                <a:gd name="connsiteX104" fmla="*/ 2181225 w 3457575"/>
                <a:gd name="connsiteY104" fmla="*/ 3276600 h 3822033"/>
                <a:gd name="connsiteX105" fmla="*/ 2057400 w 3457575"/>
                <a:gd name="connsiteY105" fmla="*/ 3362325 h 3822033"/>
                <a:gd name="connsiteX106" fmla="*/ 2009775 w 3457575"/>
                <a:gd name="connsiteY106" fmla="*/ 3400425 h 3822033"/>
                <a:gd name="connsiteX107" fmla="*/ 1962150 w 3457575"/>
                <a:gd name="connsiteY107" fmla="*/ 3429000 h 3822033"/>
                <a:gd name="connsiteX108" fmla="*/ 1905000 w 3457575"/>
                <a:gd name="connsiteY108" fmla="*/ 3495675 h 3822033"/>
                <a:gd name="connsiteX109" fmla="*/ 1819275 w 3457575"/>
                <a:gd name="connsiteY109" fmla="*/ 3609975 h 3822033"/>
                <a:gd name="connsiteX110" fmla="*/ 1800225 w 3457575"/>
                <a:gd name="connsiteY110" fmla="*/ 3638550 h 3822033"/>
                <a:gd name="connsiteX111" fmla="*/ 1790700 w 3457575"/>
                <a:gd name="connsiteY111" fmla="*/ 3667125 h 3822033"/>
                <a:gd name="connsiteX112" fmla="*/ 1771650 w 3457575"/>
                <a:gd name="connsiteY112" fmla="*/ 3695700 h 3822033"/>
                <a:gd name="connsiteX113" fmla="*/ 1752600 w 3457575"/>
                <a:gd name="connsiteY113" fmla="*/ 3733800 h 3822033"/>
                <a:gd name="connsiteX114" fmla="*/ 1714500 w 3457575"/>
                <a:gd name="connsiteY114" fmla="*/ 3810000 h 3822033"/>
                <a:gd name="connsiteX115" fmla="*/ 1704975 w 3457575"/>
                <a:gd name="connsiteY11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71575 w 3457575"/>
                <a:gd name="connsiteY10" fmla="*/ 3352800 h 3822033"/>
                <a:gd name="connsiteX11" fmla="*/ 1133475 w 3457575"/>
                <a:gd name="connsiteY11" fmla="*/ 3324225 h 3822033"/>
                <a:gd name="connsiteX12" fmla="*/ 1009650 w 3457575"/>
                <a:gd name="connsiteY12" fmla="*/ 3276600 h 3822033"/>
                <a:gd name="connsiteX13" fmla="*/ 962025 w 3457575"/>
                <a:gd name="connsiteY13" fmla="*/ 3238500 h 3822033"/>
                <a:gd name="connsiteX14" fmla="*/ 923925 w 3457575"/>
                <a:gd name="connsiteY14" fmla="*/ 3219450 h 3822033"/>
                <a:gd name="connsiteX15" fmla="*/ 790575 w 3457575"/>
                <a:gd name="connsiteY15" fmla="*/ 3162300 h 3822033"/>
                <a:gd name="connsiteX16" fmla="*/ 733425 w 3457575"/>
                <a:gd name="connsiteY16" fmla="*/ 3133725 h 3822033"/>
                <a:gd name="connsiteX17" fmla="*/ 704850 w 3457575"/>
                <a:gd name="connsiteY17" fmla="*/ 3105150 h 3822033"/>
                <a:gd name="connsiteX18" fmla="*/ 638175 w 3457575"/>
                <a:gd name="connsiteY18" fmla="*/ 3048000 h 3822033"/>
                <a:gd name="connsiteX19" fmla="*/ 619125 w 3457575"/>
                <a:gd name="connsiteY19" fmla="*/ 3009900 h 3822033"/>
                <a:gd name="connsiteX20" fmla="*/ 571500 w 3457575"/>
                <a:gd name="connsiteY20" fmla="*/ 2943225 h 3822033"/>
                <a:gd name="connsiteX21" fmla="*/ 333375 w 3457575"/>
                <a:gd name="connsiteY21" fmla="*/ 2676525 h 3822033"/>
                <a:gd name="connsiteX22" fmla="*/ 295275 w 3457575"/>
                <a:gd name="connsiteY22" fmla="*/ 2581275 h 3822033"/>
                <a:gd name="connsiteX23" fmla="*/ 257175 w 3457575"/>
                <a:gd name="connsiteY23" fmla="*/ 2495550 h 3822033"/>
                <a:gd name="connsiteX24" fmla="*/ 228600 w 3457575"/>
                <a:gd name="connsiteY24" fmla="*/ 2457450 h 3822033"/>
                <a:gd name="connsiteX25" fmla="*/ 200025 w 3457575"/>
                <a:gd name="connsiteY25" fmla="*/ 2371725 h 3822033"/>
                <a:gd name="connsiteX26" fmla="*/ 180975 w 3457575"/>
                <a:gd name="connsiteY26" fmla="*/ 2343150 h 3822033"/>
                <a:gd name="connsiteX27" fmla="*/ 152400 w 3457575"/>
                <a:gd name="connsiteY27" fmla="*/ 2219325 h 3822033"/>
                <a:gd name="connsiteX28" fmla="*/ 142875 w 3457575"/>
                <a:gd name="connsiteY28" fmla="*/ 2190750 h 3822033"/>
                <a:gd name="connsiteX29" fmla="*/ 123825 w 3457575"/>
                <a:gd name="connsiteY29" fmla="*/ 2143125 h 3822033"/>
                <a:gd name="connsiteX30" fmla="*/ 95250 w 3457575"/>
                <a:gd name="connsiteY30" fmla="*/ 2028825 h 3822033"/>
                <a:gd name="connsiteX31" fmla="*/ 85725 w 3457575"/>
                <a:gd name="connsiteY31" fmla="*/ 1990725 h 3822033"/>
                <a:gd name="connsiteX32" fmla="*/ 57150 w 3457575"/>
                <a:gd name="connsiteY32" fmla="*/ 1933575 h 3822033"/>
                <a:gd name="connsiteX33" fmla="*/ 28575 w 3457575"/>
                <a:gd name="connsiteY33" fmla="*/ 1819275 h 3822033"/>
                <a:gd name="connsiteX34" fmla="*/ 9525 w 3457575"/>
                <a:gd name="connsiteY34" fmla="*/ 1657350 h 3822033"/>
                <a:gd name="connsiteX35" fmla="*/ 0 w 3457575"/>
                <a:gd name="connsiteY35" fmla="*/ 1609725 h 3822033"/>
                <a:gd name="connsiteX36" fmla="*/ 9525 w 3457575"/>
                <a:gd name="connsiteY36" fmla="*/ 1428750 h 3822033"/>
                <a:gd name="connsiteX37" fmla="*/ 28575 w 3457575"/>
                <a:gd name="connsiteY37" fmla="*/ 1304925 h 3822033"/>
                <a:gd name="connsiteX38" fmla="*/ 38100 w 3457575"/>
                <a:gd name="connsiteY38" fmla="*/ 1247775 h 3822033"/>
                <a:gd name="connsiteX39" fmla="*/ 76200 w 3457575"/>
                <a:gd name="connsiteY39" fmla="*/ 1152525 h 3822033"/>
                <a:gd name="connsiteX40" fmla="*/ 114300 w 3457575"/>
                <a:gd name="connsiteY40" fmla="*/ 990600 h 3822033"/>
                <a:gd name="connsiteX41" fmla="*/ 133350 w 3457575"/>
                <a:gd name="connsiteY41" fmla="*/ 923925 h 3822033"/>
                <a:gd name="connsiteX42" fmla="*/ 171450 w 3457575"/>
                <a:gd name="connsiteY42" fmla="*/ 866775 h 3822033"/>
                <a:gd name="connsiteX43" fmla="*/ 228600 w 3457575"/>
                <a:gd name="connsiteY43" fmla="*/ 762000 h 3822033"/>
                <a:gd name="connsiteX44" fmla="*/ 304800 w 3457575"/>
                <a:gd name="connsiteY44" fmla="*/ 647700 h 3822033"/>
                <a:gd name="connsiteX45" fmla="*/ 552450 w 3457575"/>
                <a:gd name="connsiteY45" fmla="*/ 361950 h 3822033"/>
                <a:gd name="connsiteX46" fmla="*/ 609600 w 3457575"/>
                <a:gd name="connsiteY46" fmla="*/ 323850 h 3822033"/>
                <a:gd name="connsiteX47" fmla="*/ 666750 w 3457575"/>
                <a:gd name="connsiteY47" fmla="*/ 285750 h 3822033"/>
                <a:gd name="connsiteX48" fmla="*/ 762000 w 3457575"/>
                <a:gd name="connsiteY48" fmla="*/ 238125 h 3822033"/>
                <a:gd name="connsiteX49" fmla="*/ 800100 w 3457575"/>
                <a:gd name="connsiteY49" fmla="*/ 219075 h 3822033"/>
                <a:gd name="connsiteX50" fmla="*/ 895350 w 3457575"/>
                <a:gd name="connsiteY50" fmla="*/ 161925 h 3822033"/>
                <a:gd name="connsiteX51" fmla="*/ 962025 w 3457575"/>
                <a:gd name="connsiteY51" fmla="*/ 133350 h 3822033"/>
                <a:gd name="connsiteX52" fmla="*/ 1123950 w 3457575"/>
                <a:gd name="connsiteY52" fmla="*/ 76200 h 3822033"/>
                <a:gd name="connsiteX53" fmla="*/ 1162050 w 3457575"/>
                <a:gd name="connsiteY53" fmla="*/ 66675 h 3822033"/>
                <a:gd name="connsiteX54" fmla="*/ 1438275 w 3457575"/>
                <a:gd name="connsiteY54" fmla="*/ 0 h 3822033"/>
                <a:gd name="connsiteX55" fmla="*/ 2038350 w 3457575"/>
                <a:gd name="connsiteY55" fmla="*/ 9525 h 3822033"/>
                <a:gd name="connsiteX56" fmla="*/ 2105025 w 3457575"/>
                <a:gd name="connsiteY56" fmla="*/ 19050 h 3822033"/>
                <a:gd name="connsiteX57" fmla="*/ 2162175 w 3457575"/>
                <a:gd name="connsiteY57" fmla="*/ 47625 h 3822033"/>
                <a:gd name="connsiteX58" fmla="*/ 2228850 w 3457575"/>
                <a:gd name="connsiteY58" fmla="*/ 66675 h 3822033"/>
                <a:gd name="connsiteX59" fmla="*/ 2343150 w 3457575"/>
                <a:gd name="connsiteY59" fmla="*/ 133350 h 3822033"/>
                <a:gd name="connsiteX60" fmla="*/ 2390775 w 3457575"/>
                <a:gd name="connsiteY60" fmla="*/ 142875 h 3822033"/>
                <a:gd name="connsiteX61" fmla="*/ 2457450 w 3457575"/>
                <a:gd name="connsiteY61" fmla="*/ 171450 h 3822033"/>
                <a:gd name="connsiteX62" fmla="*/ 2486025 w 3457575"/>
                <a:gd name="connsiteY62" fmla="*/ 200025 h 3822033"/>
                <a:gd name="connsiteX63" fmla="*/ 2571750 w 3457575"/>
                <a:gd name="connsiteY63" fmla="*/ 228600 h 3822033"/>
                <a:gd name="connsiteX64" fmla="*/ 2676525 w 3457575"/>
                <a:gd name="connsiteY64" fmla="*/ 285750 h 3822033"/>
                <a:gd name="connsiteX65" fmla="*/ 2705100 w 3457575"/>
                <a:gd name="connsiteY65" fmla="*/ 304800 h 3822033"/>
                <a:gd name="connsiteX66" fmla="*/ 2733675 w 3457575"/>
                <a:gd name="connsiteY66" fmla="*/ 333375 h 3822033"/>
                <a:gd name="connsiteX67" fmla="*/ 2771775 w 3457575"/>
                <a:gd name="connsiteY67" fmla="*/ 361950 h 3822033"/>
                <a:gd name="connsiteX68" fmla="*/ 2809875 w 3457575"/>
                <a:gd name="connsiteY68" fmla="*/ 400050 h 3822033"/>
                <a:gd name="connsiteX69" fmla="*/ 2867025 w 3457575"/>
                <a:gd name="connsiteY69" fmla="*/ 438150 h 3822033"/>
                <a:gd name="connsiteX70" fmla="*/ 2905125 w 3457575"/>
                <a:gd name="connsiteY70" fmla="*/ 476250 h 3822033"/>
                <a:gd name="connsiteX71" fmla="*/ 2971800 w 3457575"/>
                <a:gd name="connsiteY71" fmla="*/ 523875 h 3822033"/>
                <a:gd name="connsiteX72" fmla="*/ 2990850 w 3457575"/>
                <a:gd name="connsiteY72" fmla="*/ 552450 h 3822033"/>
                <a:gd name="connsiteX73" fmla="*/ 3028950 w 3457575"/>
                <a:gd name="connsiteY73" fmla="*/ 590550 h 3822033"/>
                <a:gd name="connsiteX74" fmla="*/ 3048000 w 3457575"/>
                <a:gd name="connsiteY74" fmla="*/ 628650 h 3822033"/>
                <a:gd name="connsiteX75" fmla="*/ 3086100 w 3457575"/>
                <a:gd name="connsiteY75" fmla="*/ 666750 h 3822033"/>
                <a:gd name="connsiteX76" fmla="*/ 3124200 w 3457575"/>
                <a:gd name="connsiteY76" fmla="*/ 723900 h 3822033"/>
                <a:gd name="connsiteX77" fmla="*/ 3219450 w 3457575"/>
                <a:gd name="connsiteY77" fmla="*/ 838200 h 3822033"/>
                <a:gd name="connsiteX78" fmla="*/ 3238500 w 3457575"/>
                <a:gd name="connsiteY78" fmla="*/ 885825 h 3822033"/>
                <a:gd name="connsiteX79" fmla="*/ 3276600 w 3457575"/>
                <a:gd name="connsiteY79" fmla="*/ 942975 h 3822033"/>
                <a:gd name="connsiteX80" fmla="*/ 3286125 w 3457575"/>
                <a:gd name="connsiteY80" fmla="*/ 990600 h 3822033"/>
                <a:gd name="connsiteX81" fmla="*/ 3324225 w 3457575"/>
                <a:gd name="connsiteY81" fmla="*/ 1085850 h 3822033"/>
                <a:gd name="connsiteX82" fmla="*/ 3362325 w 3457575"/>
                <a:gd name="connsiteY82" fmla="*/ 1171575 h 3822033"/>
                <a:gd name="connsiteX83" fmla="*/ 3390900 w 3457575"/>
                <a:gd name="connsiteY83" fmla="*/ 1219200 h 3822033"/>
                <a:gd name="connsiteX84" fmla="*/ 3419475 w 3457575"/>
                <a:gd name="connsiteY84" fmla="*/ 1333500 h 3822033"/>
                <a:gd name="connsiteX85" fmla="*/ 3429000 w 3457575"/>
                <a:gd name="connsiteY85" fmla="*/ 1390650 h 3822033"/>
                <a:gd name="connsiteX86" fmla="*/ 3457575 w 3457575"/>
                <a:gd name="connsiteY86" fmla="*/ 1657350 h 3822033"/>
                <a:gd name="connsiteX87" fmla="*/ 3381375 w 3457575"/>
                <a:gd name="connsiteY87" fmla="*/ 2238375 h 3822033"/>
                <a:gd name="connsiteX88" fmla="*/ 3343275 w 3457575"/>
                <a:gd name="connsiteY88" fmla="*/ 2333625 h 3822033"/>
                <a:gd name="connsiteX89" fmla="*/ 3276600 w 3457575"/>
                <a:gd name="connsiteY89" fmla="*/ 2400300 h 3822033"/>
                <a:gd name="connsiteX90" fmla="*/ 3190875 w 3457575"/>
                <a:gd name="connsiteY90" fmla="*/ 2533650 h 3822033"/>
                <a:gd name="connsiteX91" fmla="*/ 3105150 w 3457575"/>
                <a:gd name="connsiteY91" fmla="*/ 2647950 h 3822033"/>
                <a:gd name="connsiteX92" fmla="*/ 3019425 w 3457575"/>
                <a:gd name="connsiteY92" fmla="*/ 2781300 h 3822033"/>
                <a:gd name="connsiteX93" fmla="*/ 2981325 w 3457575"/>
                <a:gd name="connsiteY93" fmla="*/ 2819400 h 3822033"/>
                <a:gd name="connsiteX94" fmla="*/ 2943225 w 3457575"/>
                <a:gd name="connsiteY94" fmla="*/ 2876550 h 3822033"/>
                <a:gd name="connsiteX95" fmla="*/ 2857500 w 3457575"/>
                <a:gd name="connsiteY95" fmla="*/ 2933700 h 3822033"/>
                <a:gd name="connsiteX96" fmla="*/ 2809875 w 3457575"/>
                <a:gd name="connsiteY96" fmla="*/ 2971800 h 3822033"/>
                <a:gd name="connsiteX97" fmla="*/ 2705100 w 3457575"/>
                <a:gd name="connsiteY97" fmla="*/ 3038475 h 3822033"/>
                <a:gd name="connsiteX98" fmla="*/ 2609850 w 3457575"/>
                <a:gd name="connsiteY98" fmla="*/ 3105150 h 3822033"/>
                <a:gd name="connsiteX99" fmla="*/ 2562225 w 3457575"/>
                <a:gd name="connsiteY99" fmla="*/ 3143250 h 3822033"/>
                <a:gd name="connsiteX100" fmla="*/ 2495550 w 3457575"/>
                <a:gd name="connsiteY100" fmla="*/ 3162300 h 3822033"/>
                <a:gd name="connsiteX101" fmla="*/ 2362200 w 3457575"/>
                <a:gd name="connsiteY101" fmla="*/ 3219450 h 3822033"/>
                <a:gd name="connsiteX102" fmla="*/ 2257425 w 3457575"/>
                <a:gd name="connsiteY102" fmla="*/ 3257550 h 3822033"/>
                <a:gd name="connsiteX103" fmla="*/ 2181225 w 3457575"/>
                <a:gd name="connsiteY103" fmla="*/ 3276600 h 3822033"/>
                <a:gd name="connsiteX104" fmla="*/ 2057400 w 3457575"/>
                <a:gd name="connsiteY104" fmla="*/ 3362325 h 3822033"/>
                <a:gd name="connsiteX105" fmla="*/ 2009775 w 3457575"/>
                <a:gd name="connsiteY105" fmla="*/ 3400425 h 3822033"/>
                <a:gd name="connsiteX106" fmla="*/ 1962150 w 3457575"/>
                <a:gd name="connsiteY106" fmla="*/ 3429000 h 3822033"/>
                <a:gd name="connsiteX107" fmla="*/ 1905000 w 3457575"/>
                <a:gd name="connsiteY107" fmla="*/ 3495675 h 3822033"/>
                <a:gd name="connsiteX108" fmla="*/ 1819275 w 3457575"/>
                <a:gd name="connsiteY108" fmla="*/ 3609975 h 3822033"/>
                <a:gd name="connsiteX109" fmla="*/ 1800225 w 3457575"/>
                <a:gd name="connsiteY109" fmla="*/ 3638550 h 3822033"/>
                <a:gd name="connsiteX110" fmla="*/ 1790700 w 3457575"/>
                <a:gd name="connsiteY110" fmla="*/ 3667125 h 3822033"/>
                <a:gd name="connsiteX111" fmla="*/ 1771650 w 3457575"/>
                <a:gd name="connsiteY111" fmla="*/ 3695700 h 3822033"/>
                <a:gd name="connsiteX112" fmla="*/ 1752600 w 3457575"/>
                <a:gd name="connsiteY112" fmla="*/ 3733800 h 3822033"/>
                <a:gd name="connsiteX113" fmla="*/ 1714500 w 3457575"/>
                <a:gd name="connsiteY113" fmla="*/ 3810000 h 3822033"/>
                <a:gd name="connsiteX114" fmla="*/ 1704975 w 3457575"/>
                <a:gd name="connsiteY11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704850 w 3457575"/>
                <a:gd name="connsiteY16" fmla="*/ 3105150 h 3822033"/>
                <a:gd name="connsiteX17" fmla="*/ 638175 w 3457575"/>
                <a:gd name="connsiteY17" fmla="*/ 3048000 h 3822033"/>
                <a:gd name="connsiteX18" fmla="*/ 619125 w 3457575"/>
                <a:gd name="connsiteY18" fmla="*/ 3009900 h 3822033"/>
                <a:gd name="connsiteX19" fmla="*/ 571500 w 3457575"/>
                <a:gd name="connsiteY19" fmla="*/ 2943225 h 3822033"/>
                <a:gd name="connsiteX20" fmla="*/ 333375 w 3457575"/>
                <a:gd name="connsiteY20" fmla="*/ 2676525 h 3822033"/>
                <a:gd name="connsiteX21" fmla="*/ 295275 w 3457575"/>
                <a:gd name="connsiteY21" fmla="*/ 2581275 h 3822033"/>
                <a:gd name="connsiteX22" fmla="*/ 257175 w 3457575"/>
                <a:gd name="connsiteY22" fmla="*/ 2495550 h 3822033"/>
                <a:gd name="connsiteX23" fmla="*/ 228600 w 3457575"/>
                <a:gd name="connsiteY23" fmla="*/ 2457450 h 3822033"/>
                <a:gd name="connsiteX24" fmla="*/ 200025 w 3457575"/>
                <a:gd name="connsiteY24" fmla="*/ 2371725 h 3822033"/>
                <a:gd name="connsiteX25" fmla="*/ 180975 w 3457575"/>
                <a:gd name="connsiteY25" fmla="*/ 2343150 h 3822033"/>
                <a:gd name="connsiteX26" fmla="*/ 152400 w 3457575"/>
                <a:gd name="connsiteY26" fmla="*/ 2219325 h 3822033"/>
                <a:gd name="connsiteX27" fmla="*/ 142875 w 3457575"/>
                <a:gd name="connsiteY27" fmla="*/ 2190750 h 3822033"/>
                <a:gd name="connsiteX28" fmla="*/ 123825 w 3457575"/>
                <a:gd name="connsiteY28" fmla="*/ 2143125 h 3822033"/>
                <a:gd name="connsiteX29" fmla="*/ 95250 w 3457575"/>
                <a:gd name="connsiteY29" fmla="*/ 2028825 h 3822033"/>
                <a:gd name="connsiteX30" fmla="*/ 85725 w 3457575"/>
                <a:gd name="connsiteY30" fmla="*/ 1990725 h 3822033"/>
                <a:gd name="connsiteX31" fmla="*/ 57150 w 3457575"/>
                <a:gd name="connsiteY31" fmla="*/ 1933575 h 3822033"/>
                <a:gd name="connsiteX32" fmla="*/ 28575 w 3457575"/>
                <a:gd name="connsiteY32" fmla="*/ 1819275 h 3822033"/>
                <a:gd name="connsiteX33" fmla="*/ 9525 w 3457575"/>
                <a:gd name="connsiteY33" fmla="*/ 1657350 h 3822033"/>
                <a:gd name="connsiteX34" fmla="*/ 0 w 3457575"/>
                <a:gd name="connsiteY34" fmla="*/ 1609725 h 3822033"/>
                <a:gd name="connsiteX35" fmla="*/ 9525 w 3457575"/>
                <a:gd name="connsiteY35" fmla="*/ 1428750 h 3822033"/>
                <a:gd name="connsiteX36" fmla="*/ 28575 w 3457575"/>
                <a:gd name="connsiteY36" fmla="*/ 1304925 h 3822033"/>
                <a:gd name="connsiteX37" fmla="*/ 38100 w 3457575"/>
                <a:gd name="connsiteY37" fmla="*/ 1247775 h 3822033"/>
                <a:gd name="connsiteX38" fmla="*/ 76200 w 3457575"/>
                <a:gd name="connsiteY38" fmla="*/ 1152525 h 3822033"/>
                <a:gd name="connsiteX39" fmla="*/ 114300 w 3457575"/>
                <a:gd name="connsiteY39" fmla="*/ 990600 h 3822033"/>
                <a:gd name="connsiteX40" fmla="*/ 133350 w 3457575"/>
                <a:gd name="connsiteY40" fmla="*/ 923925 h 3822033"/>
                <a:gd name="connsiteX41" fmla="*/ 171450 w 3457575"/>
                <a:gd name="connsiteY41" fmla="*/ 866775 h 3822033"/>
                <a:gd name="connsiteX42" fmla="*/ 228600 w 3457575"/>
                <a:gd name="connsiteY42" fmla="*/ 762000 h 3822033"/>
                <a:gd name="connsiteX43" fmla="*/ 304800 w 3457575"/>
                <a:gd name="connsiteY43" fmla="*/ 647700 h 3822033"/>
                <a:gd name="connsiteX44" fmla="*/ 552450 w 3457575"/>
                <a:gd name="connsiteY44" fmla="*/ 361950 h 3822033"/>
                <a:gd name="connsiteX45" fmla="*/ 609600 w 3457575"/>
                <a:gd name="connsiteY45" fmla="*/ 323850 h 3822033"/>
                <a:gd name="connsiteX46" fmla="*/ 666750 w 3457575"/>
                <a:gd name="connsiteY46" fmla="*/ 285750 h 3822033"/>
                <a:gd name="connsiteX47" fmla="*/ 762000 w 3457575"/>
                <a:gd name="connsiteY47" fmla="*/ 238125 h 3822033"/>
                <a:gd name="connsiteX48" fmla="*/ 800100 w 3457575"/>
                <a:gd name="connsiteY48" fmla="*/ 219075 h 3822033"/>
                <a:gd name="connsiteX49" fmla="*/ 895350 w 3457575"/>
                <a:gd name="connsiteY49" fmla="*/ 161925 h 3822033"/>
                <a:gd name="connsiteX50" fmla="*/ 962025 w 3457575"/>
                <a:gd name="connsiteY50" fmla="*/ 133350 h 3822033"/>
                <a:gd name="connsiteX51" fmla="*/ 1123950 w 3457575"/>
                <a:gd name="connsiteY51" fmla="*/ 76200 h 3822033"/>
                <a:gd name="connsiteX52" fmla="*/ 1162050 w 3457575"/>
                <a:gd name="connsiteY52" fmla="*/ 66675 h 3822033"/>
                <a:gd name="connsiteX53" fmla="*/ 1438275 w 3457575"/>
                <a:gd name="connsiteY53" fmla="*/ 0 h 3822033"/>
                <a:gd name="connsiteX54" fmla="*/ 2038350 w 3457575"/>
                <a:gd name="connsiteY54" fmla="*/ 9525 h 3822033"/>
                <a:gd name="connsiteX55" fmla="*/ 2105025 w 3457575"/>
                <a:gd name="connsiteY55" fmla="*/ 19050 h 3822033"/>
                <a:gd name="connsiteX56" fmla="*/ 2162175 w 3457575"/>
                <a:gd name="connsiteY56" fmla="*/ 47625 h 3822033"/>
                <a:gd name="connsiteX57" fmla="*/ 2228850 w 3457575"/>
                <a:gd name="connsiteY57" fmla="*/ 66675 h 3822033"/>
                <a:gd name="connsiteX58" fmla="*/ 2343150 w 3457575"/>
                <a:gd name="connsiteY58" fmla="*/ 133350 h 3822033"/>
                <a:gd name="connsiteX59" fmla="*/ 2390775 w 3457575"/>
                <a:gd name="connsiteY59" fmla="*/ 142875 h 3822033"/>
                <a:gd name="connsiteX60" fmla="*/ 2457450 w 3457575"/>
                <a:gd name="connsiteY60" fmla="*/ 171450 h 3822033"/>
                <a:gd name="connsiteX61" fmla="*/ 2486025 w 3457575"/>
                <a:gd name="connsiteY61" fmla="*/ 200025 h 3822033"/>
                <a:gd name="connsiteX62" fmla="*/ 2571750 w 3457575"/>
                <a:gd name="connsiteY62" fmla="*/ 228600 h 3822033"/>
                <a:gd name="connsiteX63" fmla="*/ 2676525 w 3457575"/>
                <a:gd name="connsiteY63" fmla="*/ 285750 h 3822033"/>
                <a:gd name="connsiteX64" fmla="*/ 2705100 w 3457575"/>
                <a:gd name="connsiteY64" fmla="*/ 304800 h 3822033"/>
                <a:gd name="connsiteX65" fmla="*/ 2733675 w 3457575"/>
                <a:gd name="connsiteY65" fmla="*/ 333375 h 3822033"/>
                <a:gd name="connsiteX66" fmla="*/ 2771775 w 3457575"/>
                <a:gd name="connsiteY66" fmla="*/ 361950 h 3822033"/>
                <a:gd name="connsiteX67" fmla="*/ 2809875 w 3457575"/>
                <a:gd name="connsiteY67" fmla="*/ 400050 h 3822033"/>
                <a:gd name="connsiteX68" fmla="*/ 2867025 w 3457575"/>
                <a:gd name="connsiteY68" fmla="*/ 438150 h 3822033"/>
                <a:gd name="connsiteX69" fmla="*/ 2905125 w 3457575"/>
                <a:gd name="connsiteY69" fmla="*/ 476250 h 3822033"/>
                <a:gd name="connsiteX70" fmla="*/ 2971800 w 3457575"/>
                <a:gd name="connsiteY70" fmla="*/ 523875 h 3822033"/>
                <a:gd name="connsiteX71" fmla="*/ 2990850 w 3457575"/>
                <a:gd name="connsiteY71" fmla="*/ 552450 h 3822033"/>
                <a:gd name="connsiteX72" fmla="*/ 3028950 w 3457575"/>
                <a:gd name="connsiteY72" fmla="*/ 590550 h 3822033"/>
                <a:gd name="connsiteX73" fmla="*/ 3048000 w 3457575"/>
                <a:gd name="connsiteY73" fmla="*/ 628650 h 3822033"/>
                <a:gd name="connsiteX74" fmla="*/ 3086100 w 3457575"/>
                <a:gd name="connsiteY74" fmla="*/ 666750 h 3822033"/>
                <a:gd name="connsiteX75" fmla="*/ 3124200 w 3457575"/>
                <a:gd name="connsiteY75" fmla="*/ 723900 h 3822033"/>
                <a:gd name="connsiteX76" fmla="*/ 3219450 w 3457575"/>
                <a:gd name="connsiteY76" fmla="*/ 838200 h 3822033"/>
                <a:gd name="connsiteX77" fmla="*/ 3238500 w 3457575"/>
                <a:gd name="connsiteY77" fmla="*/ 885825 h 3822033"/>
                <a:gd name="connsiteX78" fmla="*/ 3276600 w 3457575"/>
                <a:gd name="connsiteY78" fmla="*/ 942975 h 3822033"/>
                <a:gd name="connsiteX79" fmla="*/ 3286125 w 3457575"/>
                <a:gd name="connsiteY79" fmla="*/ 990600 h 3822033"/>
                <a:gd name="connsiteX80" fmla="*/ 3324225 w 3457575"/>
                <a:gd name="connsiteY80" fmla="*/ 1085850 h 3822033"/>
                <a:gd name="connsiteX81" fmla="*/ 3362325 w 3457575"/>
                <a:gd name="connsiteY81" fmla="*/ 1171575 h 3822033"/>
                <a:gd name="connsiteX82" fmla="*/ 3390900 w 3457575"/>
                <a:gd name="connsiteY82" fmla="*/ 1219200 h 3822033"/>
                <a:gd name="connsiteX83" fmla="*/ 3419475 w 3457575"/>
                <a:gd name="connsiteY83" fmla="*/ 1333500 h 3822033"/>
                <a:gd name="connsiteX84" fmla="*/ 3429000 w 3457575"/>
                <a:gd name="connsiteY84" fmla="*/ 1390650 h 3822033"/>
                <a:gd name="connsiteX85" fmla="*/ 3457575 w 3457575"/>
                <a:gd name="connsiteY85" fmla="*/ 1657350 h 3822033"/>
                <a:gd name="connsiteX86" fmla="*/ 3381375 w 3457575"/>
                <a:gd name="connsiteY86" fmla="*/ 2238375 h 3822033"/>
                <a:gd name="connsiteX87" fmla="*/ 3343275 w 3457575"/>
                <a:gd name="connsiteY87" fmla="*/ 2333625 h 3822033"/>
                <a:gd name="connsiteX88" fmla="*/ 3276600 w 3457575"/>
                <a:gd name="connsiteY88" fmla="*/ 2400300 h 3822033"/>
                <a:gd name="connsiteX89" fmla="*/ 3190875 w 3457575"/>
                <a:gd name="connsiteY89" fmla="*/ 2533650 h 3822033"/>
                <a:gd name="connsiteX90" fmla="*/ 3105150 w 3457575"/>
                <a:gd name="connsiteY90" fmla="*/ 2647950 h 3822033"/>
                <a:gd name="connsiteX91" fmla="*/ 3019425 w 3457575"/>
                <a:gd name="connsiteY91" fmla="*/ 2781300 h 3822033"/>
                <a:gd name="connsiteX92" fmla="*/ 2981325 w 3457575"/>
                <a:gd name="connsiteY92" fmla="*/ 2819400 h 3822033"/>
                <a:gd name="connsiteX93" fmla="*/ 2943225 w 3457575"/>
                <a:gd name="connsiteY93" fmla="*/ 2876550 h 3822033"/>
                <a:gd name="connsiteX94" fmla="*/ 2857500 w 3457575"/>
                <a:gd name="connsiteY94" fmla="*/ 2933700 h 3822033"/>
                <a:gd name="connsiteX95" fmla="*/ 2809875 w 3457575"/>
                <a:gd name="connsiteY95" fmla="*/ 2971800 h 3822033"/>
                <a:gd name="connsiteX96" fmla="*/ 2705100 w 3457575"/>
                <a:gd name="connsiteY96" fmla="*/ 3038475 h 3822033"/>
                <a:gd name="connsiteX97" fmla="*/ 2609850 w 3457575"/>
                <a:gd name="connsiteY97" fmla="*/ 3105150 h 3822033"/>
                <a:gd name="connsiteX98" fmla="*/ 2562225 w 3457575"/>
                <a:gd name="connsiteY98" fmla="*/ 3143250 h 3822033"/>
                <a:gd name="connsiteX99" fmla="*/ 2495550 w 3457575"/>
                <a:gd name="connsiteY99" fmla="*/ 3162300 h 3822033"/>
                <a:gd name="connsiteX100" fmla="*/ 2362200 w 3457575"/>
                <a:gd name="connsiteY100" fmla="*/ 3219450 h 3822033"/>
                <a:gd name="connsiteX101" fmla="*/ 2257425 w 3457575"/>
                <a:gd name="connsiteY101" fmla="*/ 3257550 h 3822033"/>
                <a:gd name="connsiteX102" fmla="*/ 2181225 w 3457575"/>
                <a:gd name="connsiteY102" fmla="*/ 3276600 h 3822033"/>
                <a:gd name="connsiteX103" fmla="*/ 2057400 w 3457575"/>
                <a:gd name="connsiteY103" fmla="*/ 3362325 h 3822033"/>
                <a:gd name="connsiteX104" fmla="*/ 2009775 w 3457575"/>
                <a:gd name="connsiteY104" fmla="*/ 3400425 h 3822033"/>
                <a:gd name="connsiteX105" fmla="*/ 1962150 w 3457575"/>
                <a:gd name="connsiteY105" fmla="*/ 3429000 h 3822033"/>
                <a:gd name="connsiteX106" fmla="*/ 1905000 w 3457575"/>
                <a:gd name="connsiteY106" fmla="*/ 3495675 h 3822033"/>
                <a:gd name="connsiteX107" fmla="*/ 1819275 w 3457575"/>
                <a:gd name="connsiteY107" fmla="*/ 3609975 h 3822033"/>
                <a:gd name="connsiteX108" fmla="*/ 1800225 w 3457575"/>
                <a:gd name="connsiteY108" fmla="*/ 3638550 h 3822033"/>
                <a:gd name="connsiteX109" fmla="*/ 1790700 w 3457575"/>
                <a:gd name="connsiteY109" fmla="*/ 3667125 h 3822033"/>
                <a:gd name="connsiteX110" fmla="*/ 1771650 w 3457575"/>
                <a:gd name="connsiteY110" fmla="*/ 3695700 h 3822033"/>
                <a:gd name="connsiteX111" fmla="*/ 1752600 w 3457575"/>
                <a:gd name="connsiteY111" fmla="*/ 3733800 h 3822033"/>
                <a:gd name="connsiteX112" fmla="*/ 1714500 w 3457575"/>
                <a:gd name="connsiteY112" fmla="*/ 3810000 h 3822033"/>
                <a:gd name="connsiteX113" fmla="*/ 1704975 w 3457575"/>
                <a:gd name="connsiteY11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733425 w 3457575"/>
                <a:gd name="connsiteY15" fmla="*/ 3133725 h 3822033"/>
                <a:gd name="connsiteX16" fmla="*/ 638175 w 3457575"/>
                <a:gd name="connsiteY16" fmla="*/ 3048000 h 3822033"/>
                <a:gd name="connsiteX17" fmla="*/ 619125 w 3457575"/>
                <a:gd name="connsiteY17" fmla="*/ 3009900 h 3822033"/>
                <a:gd name="connsiteX18" fmla="*/ 571500 w 3457575"/>
                <a:gd name="connsiteY18" fmla="*/ 2943225 h 3822033"/>
                <a:gd name="connsiteX19" fmla="*/ 333375 w 3457575"/>
                <a:gd name="connsiteY19" fmla="*/ 2676525 h 3822033"/>
                <a:gd name="connsiteX20" fmla="*/ 295275 w 3457575"/>
                <a:gd name="connsiteY20" fmla="*/ 2581275 h 3822033"/>
                <a:gd name="connsiteX21" fmla="*/ 257175 w 3457575"/>
                <a:gd name="connsiteY21" fmla="*/ 2495550 h 3822033"/>
                <a:gd name="connsiteX22" fmla="*/ 228600 w 3457575"/>
                <a:gd name="connsiteY22" fmla="*/ 2457450 h 3822033"/>
                <a:gd name="connsiteX23" fmla="*/ 200025 w 3457575"/>
                <a:gd name="connsiteY23" fmla="*/ 2371725 h 3822033"/>
                <a:gd name="connsiteX24" fmla="*/ 180975 w 3457575"/>
                <a:gd name="connsiteY24" fmla="*/ 2343150 h 3822033"/>
                <a:gd name="connsiteX25" fmla="*/ 152400 w 3457575"/>
                <a:gd name="connsiteY25" fmla="*/ 2219325 h 3822033"/>
                <a:gd name="connsiteX26" fmla="*/ 142875 w 3457575"/>
                <a:gd name="connsiteY26" fmla="*/ 2190750 h 3822033"/>
                <a:gd name="connsiteX27" fmla="*/ 123825 w 3457575"/>
                <a:gd name="connsiteY27" fmla="*/ 2143125 h 3822033"/>
                <a:gd name="connsiteX28" fmla="*/ 95250 w 3457575"/>
                <a:gd name="connsiteY28" fmla="*/ 2028825 h 3822033"/>
                <a:gd name="connsiteX29" fmla="*/ 85725 w 3457575"/>
                <a:gd name="connsiteY29" fmla="*/ 1990725 h 3822033"/>
                <a:gd name="connsiteX30" fmla="*/ 57150 w 3457575"/>
                <a:gd name="connsiteY30" fmla="*/ 1933575 h 3822033"/>
                <a:gd name="connsiteX31" fmla="*/ 28575 w 3457575"/>
                <a:gd name="connsiteY31" fmla="*/ 1819275 h 3822033"/>
                <a:gd name="connsiteX32" fmla="*/ 9525 w 3457575"/>
                <a:gd name="connsiteY32" fmla="*/ 1657350 h 3822033"/>
                <a:gd name="connsiteX33" fmla="*/ 0 w 3457575"/>
                <a:gd name="connsiteY33" fmla="*/ 1609725 h 3822033"/>
                <a:gd name="connsiteX34" fmla="*/ 9525 w 3457575"/>
                <a:gd name="connsiteY34" fmla="*/ 1428750 h 3822033"/>
                <a:gd name="connsiteX35" fmla="*/ 28575 w 3457575"/>
                <a:gd name="connsiteY35" fmla="*/ 1304925 h 3822033"/>
                <a:gd name="connsiteX36" fmla="*/ 38100 w 3457575"/>
                <a:gd name="connsiteY36" fmla="*/ 1247775 h 3822033"/>
                <a:gd name="connsiteX37" fmla="*/ 76200 w 3457575"/>
                <a:gd name="connsiteY37" fmla="*/ 1152525 h 3822033"/>
                <a:gd name="connsiteX38" fmla="*/ 114300 w 3457575"/>
                <a:gd name="connsiteY38" fmla="*/ 990600 h 3822033"/>
                <a:gd name="connsiteX39" fmla="*/ 133350 w 3457575"/>
                <a:gd name="connsiteY39" fmla="*/ 923925 h 3822033"/>
                <a:gd name="connsiteX40" fmla="*/ 171450 w 3457575"/>
                <a:gd name="connsiteY40" fmla="*/ 866775 h 3822033"/>
                <a:gd name="connsiteX41" fmla="*/ 228600 w 3457575"/>
                <a:gd name="connsiteY41" fmla="*/ 762000 h 3822033"/>
                <a:gd name="connsiteX42" fmla="*/ 304800 w 3457575"/>
                <a:gd name="connsiteY42" fmla="*/ 647700 h 3822033"/>
                <a:gd name="connsiteX43" fmla="*/ 552450 w 3457575"/>
                <a:gd name="connsiteY43" fmla="*/ 361950 h 3822033"/>
                <a:gd name="connsiteX44" fmla="*/ 609600 w 3457575"/>
                <a:gd name="connsiteY44" fmla="*/ 323850 h 3822033"/>
                <a:gd name="connsiteX45" fmla="*/ 666750 w 3457575"/>
                <a:gd name="connsiteY45" fmla="*/ 285750 h 3822033"/>
                <a:gd name="connsiteX46" fmla="*/ 762000 w 3457575"/>
                <a:gd name="connsiteY46" fmla="*/ 238125 h 3822033"/>
                <a:gd name="connsiteX47" fmla="*/ 800100 w 3457575"/>
                <a:gd name="connsiteY47" fmla="*/ 219075 h 3822033"/>
                <a:gd name="connsiteX48" fmla="*/ 895350 w 3457575"/>
                <a:gd name="connsiteY48" fmla="*/ 161925 h 3822033"/>
                <a:gd name="connsiteX49" fmla="*/ 962025 w 3457575"/>
                <a:gd name="connsiteY49" fmla="*/ 133350 h 3822033"/>
                <a:gd name="connsiteX50" fmla="*/ 1123950 w 3457575"/>
                <a:gd name="connsiteY50" fmla="*/ 76200 h 3822033"/>
                <a:gd name="connsiteX51" fmla="*/ 1162050 w 3457575"/>
                <a:gd name="connsiteY51" fmla="*/ 66675 h 3822033"/>
                <a:gd name="connsiteX52" fmla="*/ 1438275 w 3457575"/>
                <a:gd name="connsiteY52" fmla="*/ 0 h 3822033"/>
                <a:gd name="connsiteX53" fmla="*/ 2038350 w 3457575"/>
                <a:gd name="connsiteY53" fmla="*/ 9525 h 3822033"/>
                <a:gd name="connsiteX54" fmla="*/ 2105025 w 3457575"/>
                <a:gd name="connsiteY54" fmla="*/ 19050 h 3822033"/>
                <a:gd name="connsiteX55" fmla="*/ 2162175 w 3457575"/>
                <a:gd name="connsiteY55" fmla="*/ 47625 h 3822033"/>
                <a:gd name="connsiteX56" fmla="*/ 2228850 w 3457575"/>
                <a:gd name="connsiteY56" fmla="*/ 66675 h 3822033"/>
                <a:gd name="connsiteX57" fmla="*/ 2343150 w 3457575"/>
                <a:gd name="connsiteY57" fmla="*/ 133350 h 3822033"/>
                <a:gd name="connsiteX58" fmla="*/ 2390775 w 3457575"/>
                <a:gd name="connsiteY58" fmla="*/ 142875 h 3822033"/>
                <a:gd name="connsiteX59" fmla="*/ 2457450 w 3457575"/>
                <a:gd name="connsiteY59" fmla="*/ 171450 h 3822033"/>
                <a:gd name="connsiteX60" fmla="*/ 2486025 w 3457575"/>
                <a:gd name="connsiteY60" fmla="*/ 200025 h 3822033"/>
                <a:gd name="connsiteX61" fmla="*/ 2571750 w 3457575"/>
                <a:gd name="connsiteY61" fmla="*/ 228600 h 3822033"/>
                <a:gd name="connsiteX62" fmla="*/ 2676525 w 3457575"/>
                <a:gd name="connsiteY62" fmla="*/ 285750 h 3822033"/>
                <a:gd name="connsiteX63" fmla="*/ 2705100 w 3457575"/>
                <a:gd name="connsiteY63" fmla="*/ 304800 h 3822033"/>
                <a:gd name="connsiteX64" fmla="*/ 2733675 w 3457575"/>
                <a:gd name="connsiteY64" fmla="*/ 333375 h 3822033"/>
                <a:gd name="connsiteX65" fmla="*/ 2771775 w 3457575"/>
                <a:gd name="connsiteY65" fmla="*/ 361950 h 3822033"/>
                <a:gd name="connsiteX66" fmla="*/ 2809875 w 3457575"/>
                <a:gd name="connsiteY66" fmla="*/ 400050 h 3822033"/>
                <a:gd name="connsiteX67" fmla="*/ 2867025 w 3457575"/>
                <a:gd name="connsiteY67" fmla="*/ 438150 h 3822033"/>
                <a:gd name="connsiteX68" fmla="*/ 2905125 w 3457575"/>
                <a:gd name="connsiteY68" fmla="*/ 476250 h 3822033"/>
                <a:gd name="connsiteX69" fmla="*/ 2971800 w 3457575"/>
                <a:gd name="connsiteY69" fmla="*/ 523875 h 3822033"/>
                <a:gd name="connsiteX70" fmla="*/ 2990850 w 3457575"/>
                <a:gd name="connsiteY70" fmla="*/ 552450 h 3822033"/>
                <a:gd name="connsiteX71" fmla="*/ 3028950 w 3457575"/>
                <a:gd name="connsiteY71" fmla="*/ 590550 h 3822033"/>
                <a:gd name="connsiteX72" fmla="*/ 3048000 w 3457575"/>
                <a:gd name="connsiteY72" fmla="*/ 628650 h 3822033"/>
                <a:gd name="connsiteX73" fmla="*/ 3086100 w 3457575"/>
                <a:gd name="connsiteY73" fmla="*/ 666750 h 3822033"/>
                <a:gd name="connsiteX74" fmla="*/ 3124200 w 3457575"/>
                <a:gd name="connsiteY74" fmla="*/ 723900 h 3822033"/>
                <a:gd name="connsiteX75" fmla="*/ 3219450 w 3457575"/>
                <a:gd name="connsiteY75" fmla="*/ 838200 h 3822033"/>
                <a:gd name="connsiteX76" fmla="*/ 3238500 w 3457575"/>
                <a:gd name="connsiteY76" fmla="*/ 885825 h 3822033"/>
                <a:gd name="connsiteX77" fmla="*/ 3276600 w 3457575"/>
                <a:gd name="connsiteY77" fmla="*/ 942975 h 3822033"/>
                <a:gd name="connsiteX78" fmla="*/ 3286125 w 3457575"/>
                <a:gd name="connsiteY78" fmla="*/ 990600 h 3822033"/>
                <a:gd name="connsiteX79" fmla="*/ 3324225 w 3457575"/>
                <a:gd name="connsiteY79" fmla="*/ 1085850 h 3822033"/>
                <a:gd name="connsiteX80" fmla="*/ 3362325 w 3457575"/>
                <a:gd name="connsiteY80" fmla="*/ 1171575 h 3822033"/>
                <a:gd name="connsiteX81" fmla="*/ 3390900 w 3457575"/>
                <a:gd name="connsiteY81" fmla="*/ 1219200 h 3822033"/>
                <a:gd name="connsiteX82" fmla="*/ 3419475 w 3457575"/>
                <a:gd name="connsiteY82" fmla="*/ 1333500 h 3822033"/>
                <a:gd name="connsiteX83" fmla="*/ 3429000 w 3457575"/>
                <a:gd name="connsiteY83" fmla="*/ 1390650 h 3822033"/>
                <a:gd name="connsiteX84" fmla="*/ 3457575 w 3457575"/>
                <a:gd name="connsiteY84" fmla="*/ 1657350 h 3822033"/>
                <a:gd name="connsiteX85" fmla="*/ 3381375 w 3457575"/>
                <a:gd name="connsiteY85" fmla="*/ 2238375 h 3822033"/>
                <a:gd name="connsiteX86" fmla="*/ 3343275 w 3457575"/>
                <a:gd name="connsiteY86" fmla="*/ 2333625 h 3822033"/>
                <a:gd name="connsiteX87" fmla="*/ 3276600 w 3457575"/>
                <a:gd name="connsiteY87" fmla="*/ 2400300 h 3822033"/>
                <a:gd name="connsiteX88" fmla="*/ 3190875 w 3457575"/>
                <a:gd name="connsiteY88" fmla="*/ 2533650 h 3822033"/>
                <a:gd name="connsiteX89" fmla="*/ 3105150 w 3457575"/>
                <a:gd name="connsiteY89" fmla="*/ 2647950 h 3822033"/>
                <a:gd name="connsiteX90" fmla="*/ 3019425 w 3457575"/>
                <a:gd name="connsiteY90" fmla="*/ 2781300 h 3822033"/>
                <a:gd name="connsiteX91" fmla="*/ 2981325 w 3457575"/>
                <a:gd name="connsiteY91" fmla="*/ 2819400 h 3822033"/>
                <a:gd name="connsiteX92" fmla="*/ 2943225 w 3457575"/>
                <a:gd name="connsiteY92" fmla="*/ 2876550 h 3822033"/>
                <a:gd name="connsiteX93" fmla="*/ 2857500 w 3457575"/>
                <a:gd name="connsiteY93" fmla="*/ 2933700 h 3822033"/>
                <a:gd name="connsiteX94" fmla="*/ 2809875 w 3457575"/>
                <a:gd name="connsiteY94" fmla="*/ 2971800 h 3822033"/>
                <a:gd name="connsiteX95" fmla="*/ 2705100 w 3457575"/>
                <a:gd name="connsiteY95" fmla="*/ 3038475 h 3822033"/>
                <a:gd name="connsiteX96" fmla="*/ 2609850 w 3457575"/>
                <a:gd name="connsiteY96" fmla="*/ 3105150 h 3822033"/>
                <a:gd name="connsiteX97" fmla="*/ 2562225 w 3457575"/>
                <a:gd name="connsiteY97" fmla="*/ 3143250 h 3822033"/>
                <a:gd name="connsiteX98" fmla="*/ 2495550 w 3457575"/>
                <a:gd name="connsiteY98" fmla="*/ 3162300 h 3822033"/>
                <a:gd name="connsiteX99" fmla="*/ 2362200 w 3457575"/>
                <a:gd name="connsiteY99" fmla="*/ 3219450 h 3822033"/>
                <a:gd name="connsiteX100" fmla="*/ 2257425 w 3457575"/>
                <a:gd name="connsiteY100" fmla="*/ 3257550 h 3822033"/>
                <a:gd name="connsiteX101" fmla="*/ 2181225 w 3457575"/>
                <a:gd name="connsiteY101" fmla="*/ 3276600 h 3822033"/>
                <a:gd name="connsiteX102" fmla="*/ 2057400 w 3457575"/>
                <a:gd name="connsiteY102" fmla="*/ 3362325 h 3822033"/>
                <a:gd name="connsiteX103" fmla="*/ 2009775 w 3457575"/>
                <a:gd name="connsiteY103" fmla="*/ 3400425 h 3822033"/>
                <a:gd name="connsiteX104" fmla="*/ 1962150 w 3457575"/>
                <a:gd name="connsiteY104" fmla="*/ 3429000 h 3822033"/>
                <a:gd name="connsiteX105" fmla="*/ 1905000 w 3457575"/>
                <a:gd name="connsiteY105" fmla="*/ 3495675 h 3822033"/>
                <a:gd name="connsiteX106" fmla="*/ 1819275 w 3457575"/>
                <a:gd name="connsiteY106" fmla="*/ 3609975 h 3822033"/>
                <a:gd name="connsiteX107" fmla="*/ 1800225 w 3457575"/>
                <a:gd name="connsiteY107" fmla="*/ 3638550 h 3822033"/>
                <a:gd name="connsiteX108" fmla="*/ 1790700 w 3457575"/>
                <a:gd name="connsiteY108" fmla="*/ 3667125 h 3822033"/>
                <a:gd name="connsiteX109" fmla="*/ 1771650 w 3457575"/>
                <a:gd name="connsiteY109" fmla="*/ 3695700 h 3822033"/>
                <a:gd name="connsiteX110" fmla="*/ 1752600 w 3457575"/>
                <a:gd name="connsiteY110" fmla="*/ 3733800 h 3822033"/>
                <a:gd name="connsiteX111" fmla="*/ 1714500 w 3457575"/>
                <a:gd name="connsiteY111" fmla="*/ 3810000 h 3822033"/>
                <a:gd name="connsiteX112" fmla="*/ 1704975 w 3457575"/>
                <a:gd name="connsiteY11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600200 w 3457575"/>
                <a:gd name="connsiteY4" fmla="*/ 3638550 h 3822033"/>
                <a:gd name="connsiteX5" fmla="*/ 1533525 w 3457575"/>
                <a:gd name="connsiteY5" fmla="*/ 3543300 h 3822033"/>
                <a:gd name="connsiteX6" fmla="*/ 1409700 w 3457575"/>
                <a:gd name="connsiteY6" fmla="*/ 3438525 h 3822033"/>
                <a:gd name="connsiteX7" fmla="*/ 1371600 w 3457575"/>
                <a:gd name="connsiteY7" fmla="*/ 3419475 h 3822033"/>
                <a:gd name="connsiteX8" fmla="*/ 1343025 w 3457575"/>
                <a:gd name="connsiteY8" fmla="*/ 3400425 h 3822033"/>
                <a:gd name="connsiteX9" fmla="*/ 1247775 w 3457575"/>
                <a:gd name="connsiteY9" fmla="*/ 3381375 h 3822033"/>
                <a:gd name="connsiteX10" fmla="*/ 1133475 w 3457575"/>
                <a:gd name="connsiteY10" fmla="*/ 3324225 h 3822033"/>
                <a:gd name="connsiteX11" fmla="*/ 1009650 w 3457575"/>
                <a:gd name="connsiteY11" fmla="*/ 3276600 h 3822033"/>
                <a:gd name="connsiteX12" fmla="*/ 962025 w 3457575"/>
                <a:gd name="connsiteY12" fmla="*/ 3238500 h 3822033"/>
                <a:gd name="connsiteX13" fmla="*/ 923925 w 3457575"/>
                <a:gd name="connsiteY13" fmla="*/ 3219450 h 3822033"/>
                <a:gd name="connsiteX14" fmla="*/ 790575 w 3457575"/>
                <a:gd name="connsiteY14" fmla="*/ 3162300 h 3822033"/>
                <a:gd name="connsiteX15" fmla="*/ 638175 w 3457575"/>
                <a:gd name="connsiteY15" fmla="*/ 3048000 h 3822033"/>
                <a:gd name="connsiteX16" fmla="*/ 619125 w 3457575"/>
                <a:gd name="connsiteY16" fmla="*/ 3009900 h 3822033"/>
                <a:gd name="connsiteX17" fmla="*/ 571500 w 3457575"/>
                <a:gd name="connsiteY17" fmla="*/ 2943225 h 3822033"/>
                <a:gd name="connsiteX18" fmla="*/ 333375 w 3457575"/>
                <a:gd name="connsiteY18" fmla="*/ 2676525 h 3822033"/>
                <a:gd name="connsiteX19" fmla="*/ 295275 w 3457575"/>
                <a:gd name="connsiteY19" fmla="*/ 2581275 h 3822033"/>
                <a:gd name="connsiteX20" fmla="*/ 257175 w 3457575"/>
                <a:gd name="connsiteY20" fmla="*/ 2495550 h 3822033"/>
                <a:gd name="connsiteX21" fmla="*/ 228600 w 3457575"/>
                <a:gd name="connsiteY21" fmla="*/ 2457450 h 3822033"/>
                <a:gd name="connsiteX22" fmla="*/ 200025 w 3457575"/>
                <a:gd name="connsiteY22" fmla="*/ 2371725 h 3822033"/>
                <a:gd name="connsiteX23" fmla="*/ 180975 w 3457575"/>
                <a:gd name="connsiteY23" fmla="*/ 2343150 h 3822033"/>
                <a:gd name="connsiteX24" fmla="*/ 152400 w 3457575"/>
                <a:gd name="connsiteY24" fmla="*/ 2219325 h 3822033"/>
                <a:gd name="connsiteX25" fmla="*/ 142875 w 3457575"/>
                <a:gd name="connsiteY25" fmla="*/ 2190750 h 3822033"/>
                <a:gd name="connsiteX26" fmla="*/ 123825 w 3457575"/>
                <a:gd name="connsiteY26" fmla="*/ 2143125 h 3822033"/>
                <a:gd name="connsiteX27" fmla="*/ 95250 w 3457575"/>
                <a:gd name="connsiteY27" fmla="*/ 2028825 h 3822033"/>
                <a:gd name="connsiteX28" fmla="*/ 85725 w 3457575"/>
                <a:gd name="connsiteY28" fmla="*/ 1990725 h 3822033"/>
                <a:gd name="connsiteX29" fmla="*/ 57150 w 3457575"/>
                <a:gd name="connsiteY29" fmla="*/ 1933575 h 3822033"/>
                <a:gd name="connsiteX30" fmla="*/ 28575 w 3457575"/>
                <a:gd name="connsiteY30" fmla="*/ 1819275 h 3822033"/>
                <a:gd name="connsiteX31" fmla="*/ 9525 w 3457575"/>
                <a:gd name="connsiteY31" fmla="*/ 1657350 h 3822033"/>
                <a:gd name="connsiteX32" fmla="*/ 0 w 3457575"/>
                <a:gd name="connsiteY32" fmla="*/ 1609725 h 3822033"/>
                <a:gd name="connsiteX33" fmla="*/ 9525 w 3457575"/>
                <a:gd name="connsiteY33" fmla="*/ 1428750 h 3822033"/>
                <a:gd name="connsiteX34" fmla="*/ 28575 w 3457575"/>
                <a:gd name="connsiteY34" fmla="*/ 1304925 h 3822033"/>
                <a:gd name="connsiteX35" fmla="*/ 38100 w 3457575"/>
                <a:gd name="connsiteY35" fmla="*/ 1247775 h 3822033"/>
                <a:gd name="connsiteX36" fmla="*/ 76200 w 3457575"/>
                <a:gd name="connsiteY36" fmla="*/ 1152525 h 3822033"/>
                <a:gd name="connsiteX37" fmla="*/ 114300 w 3457575"/>
                <a:gd name="connsiteY37" fmla="*/ 990600 h 3822033"/>
                <a:gd name="connsiteX38" fmla="*/ 133350 w 3457575"/>
                <a:gd name="connsiteY38" fmla="*/ 923925 h 3822033"/>
                <a:gd name="connsiteX39" fmla="*/ 171450 w 3457575"/>
                <a:gd name="connsiteY39" fmla="*/ 866775 h 3822033"/>
                <a:gd name="connsiteX40" fmla="*/ 228600 w 3457575"/>
                <a:gd name="connsiteY40" fmla="*/ 762000 h 3822033"/>
                <a:gd name="connsiteX41" fmla="*/ 304800 w 3457575"/>
                <a:gd name="connsiteY41" fmla="*/ 647700 h 3822033"/>
                <a:gd name="connsiteX42" fmla="*/ 552450 w 3457575"/>
                <a:gd name="connsiteY42" fmla="*/ 361950 h 3822033"/>
                <a:gd name="connsiteX43" fmla="*/ 609600 w 3457575"/>
                <a:gd name="connsiteY43" fmla="*/ 323850 h 3822033"/>
                <a:gd name="connsiteX44" fmla="*/ 666750 w 3457575"/>
                <a:gd name="connsiteY44" fmla="*/ 285750 h 3822033"/>
                <a:gd name="connsiteX45" fmla="*/ 762000 w 3457575"/>
                <a:gd name="connsiteY45" fmla="*/ 238125 h 3822033"/>
                <a:gd name="connsiteX46" fmla="*/ 800100 w 3457575"/>
                <a:gd name="connsiteY46" fmla="*/ 219075 h 3822033"/>
                <a:gd name="connsiteX47" fmla="*/ 895350 w 3457575"/>
                <a:gd name="connsiteY47" fmla="*/ 161925 h 3822033"/>
                <a:gd name="connsiteX48" fmla="*/ 962025 w 3457575"/>
                <a:gd name="connsiteY48" fmla="*/ 133350 h 3822033"/>
                <a:gd name="connsiteX49" fmla="*/ 1123950 w 3457575"/>
                <a:gd name="connsiteY49" fmla="*/ 76200 h 3822033"/>
                <a:gd name="connsiteX50" fmla="*/ 1162050 w 3457575"/>
                <a:gd name="connsiteY50" fmla="*/ 66675 h 3822033"/>
                <a:gd name="connsiteX51" fmla="*/ 1438275 w 3457575"/>
                <a:gd name="connsiteY51" fmla="*/ 0 h 3822033"/>
                <a:gd name="connsiteX52" fmla="*/ 2038350 w 3457575"/>
                <a:gd name="connsiteY52" fmla="*/ 9525 h 3822033"/>
                <a:gd name="connsiteX53" fmla="*/ 2105025 w 3457575"/>
                <a:gd name="connsiteY53" fmla="*/ 19050 h 3822033"/>
                <a:gd name="connsiteX54" fmla="*/ 2162175 w 3457575"/>
                <a:gd name="connsiteY54" fmla="*/ 47625 h 3822033"/>
                <a:gd name="connsiteX55" fmla="*/ 2228850 w 3457575"/>
                <a:gd name="connsiteY55" fmla="*/ 66675 h 3822033"/>
                <a:gd name="connsiteX56" fmla="*/ 2343150 w 3457575"/>
                <a:gd name="connsiteY56" fmla="*/ 133350 h 3822033"/>
                <a:gd name="connsiteX57" fmla="*/ 2390775 w 3457575"/>
                <a:gd name="connsiteY57" fmla="*/ 142875 h 3822033"/>
                <a:gd name="connsiteX58" fmla="*/ 2457450 w 3457575"/>
                <a:gd name="connsiteY58" fmla="*/ 171450 h 3822033"/>
                <a:gd name="connsiteX59" fmla="*/ 2486025 w 3457575"/>
                <a:gd name="connsiteY59" fmla="*/ 200025 h 3822033"/>
                <a:gd name="connsiteX60" fmla="*/ 2571750 w 3457575"/>
                <a:gd name="connsiteY60" fmla="*/ 228600 h 3822033"/>
                <a:gd name="connsiteX61" fmla="*/ 2676525 w 3457575"/>
                <a:gd name="connsiteY61" fmla="*/ 285750 h 3822033"/>
                <a:gd name="connsiteX62" fmla="*/ 2705100 w 3457575"/>
                <a:gd name="connsiteY62" fmla="*/ 304800 h 3822033"/>
                <a:gd name="connsiteX63" fmla="*/ 2733675 w 3457575"/>
                <a:gd name="connsiteY63" fmla="*/ 333375 h 3822033"/>
                <a:gd name="connsiteX64" fmla="*/ 2771775 w 3457575"/>
                <a:gd name="connsiteY64" fmla="*/ 361950 h 3822033"/>
                <a:gd name="connsiteX65" fmla="*/ 2809875 w 3457575"/>
                <a:gd name="connsiteY65" fmla="*/ 400050 h 3822033"/>
                <a:gd name="connsiteX66" fmla="*/ 2867025 w 3457575"/>
                <a:gd name="connsiteY66" fmla="*/ 438150 h 3822033"/>
                <a:gd name="connsiteX67" fmla="*/ 2905125 w 3457575"/>
                <a:gd name="connsiteY67" fmla="*/ 476250 h 3822033"/>
                <a:gd name="connsiteX68" fmla="*/ 2971800 w 3457575"/>
                <a:gd name="connsiteY68" fmla="*/ 523875 h 3822033"/>
                <a:gd name="connsiteX69" fmla="*/ 2990850 w 3457575"/>
                <a:gd name="connsiteY69" fmla="*/ 552450 h 3822033"/>
                <a:gd name="connsiteX70" fmla="*/ 3028950 w 3457575"/>
                <a:gd name="connsiteY70" fmla="*/ 590550 h 3822033"/>
                <a:gd name="connsiteX71" fmla="*/ 3048000 w 3457575"/>
                <a:gd name="connsiteY71" fmla="*/ 628650 h 3822033"/>
                <a:gd name="connsiteX72" fmla="*/ 3086100 w 3457575"/>
                <a:gd name="connsiteY72" fmla="*/ 666750 h 3822033"/>
                <a:gd name="connsiteX73" fmla="*/ 3124200 w 3457575"/>
                <a:gd name="connsiteY73" fmla="*/ 723900 h 3822033"/>
                <a:gd name="connsiteX74" fmla="*/ 3219450 w 3457575"/>
                <a:gd name="connsiteY74" fmla="*/ 838200 h 3822033"/>
                <a:gd name="connsiteX75" fmla="*/ 3238500 w 3457575"/>
                <a:gd name="connsiteY75" fmla="*/ 885825 h 3822033"/>
                <a:gd name="connsiteX76" fmla="*/ 3276600 w 3457575"/>
                <a:gd name="connsiteY76" fmla="*/ 942975 h 3822033"/>
                <a:gd name="connsiteX77" fmla="*/ 3286125 w 3457575"/>
                <a:gd name="connsiteY77" fmla="*/ 990600 h 3822033"/>
                <a:gd name="connsiteX78" fmla="*/ 3324225 w 3457575"/>
                <a:gd name="connsiteY78" fmla="*/ 1085850 h 3822033"/>
                <a:gd name="connsiteX79" fmla="*/ 3362325 w 3457575"/>
                <a:gd name="connsiteY79" fmla="*/ 1171575 h 3822033"/>
                <a:gd name="connsiteX80" fmla="*/ 3390900 w 3457575"/>
                <a:gd name="connsiteY80" fmla="*/ 1219200 h 3822033"/>
                <a:gd name="connsiteX81" fmla="*/ 3419475 w 3457575"/>
                <a:gd name="connsiteY81" fmla="*/ 1333500 h 3822033"/>
                <a:gd name="connsiteX82" fmla="*/ 3429000 w 3457575"/>
                <a:gd name="connsiteY82" fmla="*/ 1390650 h 3822033"/>
                <a:gd name="connsiteX83" fmla="*/ 3457575 w 3457575"/>
                <a:gd name="connsiteY83" fmla="*/ 1657350 h 3822033"/>
                <a:gd name="connsiteX84" fmla="*/ 3381375 w 3457575"/>
                <a:gd name="connsiteY84" fmla="*/ 2238375 h 3822033"/>
                <a:gd name="connsiteX85" fmla="*/ 3343275 w 3457575"/>
                <a:gd name="connsiteY85" fmla="*/ 2333625 h 3822033"/>
                <a:gd name="connsiteX86" fmla="*/ 3276600 w 3457575"/>
                <a:gd name="connsiteY86" fmla="*/ 2400300 h 3822033"/>
                <a:gd name="connsiteX87" fmla="*/ 3190875 w 3457575"/>
                <a:gd name="connsiteY87" fmla="*/ 2533650 h 3822033"/>
                <a:gd name="connsiteX88" fmla="*/ 3105150 w 3457575"/>
                <a:gd name="connsiteY88" fmla="*/ 2647950 h 3822033"/>
                <a:gd name="connsiteX89" fmla="*/ 3019425 w 3457575"/>
                <a:gd name="connsiteY89" fmla="*/ 2781300 h 3822033"/>
                <a:gd name="connsiteX90" fmla="*/ 2981325 w 3457575"/>
                <a:gd name="connsiteY90" fmla="*/ 2819400 h 3822033"/>
                <a:gd name="connsiteX91" fmla="*/ 2943225 w 3457575"/>
                <a:gd name="connsiteY91" fmla="*/ 2876550 h 3822033"/>
                <a:gd name="connsiteX92" fmla="*/ 2857500 w 3457575"/>
                <a:gd name="connsiteY92" fmla="*/ 2933700 h 3822033"/>
                <a:gd name="connsiteX93" fmla="*/ 2809875 w 3457575"/>
                <a:gd name="connsiteY93" fmla="*/ 2971800 h 3822033"/>
                <a:gd name="connsiteX94" fmla="*/ 2705100 w 3457575"/>
                <a:gd name="connsiteY94" fmla="*/ 3038475 h 3822033"/>
                <a:gd name="connsiteX95" fmla="*/ 2609850 w 3457575"/>
                <a:gd name="connsiteY95" fmla="*/ 3105150 h 3822033"/>
                <a:gd name="connsiteX96" fmla="*/ 2562225 w 3457575"/>
                <a:gd name="connsiteY96" fmla="*/ 3143250 h 3822033"/>
                <a:gd name="connsiteX97" fmla="*/ 2495550 w 3457575"/>
                <a:gd name="connsiteY97" fmla="*/ 3162300 h 3822033"/>
                <a:gd name="connsiteX98" fmla="*/ 2362200 w 3457575"/>
                <a:gd name="connsiteY98" fmla="*/ 3219450 h 3822033"/>
                <a:gd name="connsiteX99" fmla="*/ 2257425 w 3457575"/>
                <a:gd name="connsiteY99" fmla="*/ 3257550 h 3822033"/>
                <a:gd name="connsiteX100" fmla="*/ 2181225 w 3457575"/>
                <a:gd name="connsiteY100" fmla="*/ 3276600 h 3822033"/>
                <a:gd name="connsiteX101" fmla="*/ 2057400 w 3457575"/>
                <a:gd name="connsiteY101" fmla="*/ 3362325 h 3822033"/>
                <a:gd name="connsiteX102" fmla="*/ 2009775 w 3457575"/>
                <a:gd name="connsiteY102" fmla="*/ 3400425 h 3822033"/>
                <a:gd name="connsiteX103" fmla="*/ 1962150 w 3457575"/>
                <a:gd name="connsiteY103" fmla="*/ 3429000 h 3822033"/>
                <a:gd name="connsiteX104" fmla="*/ 1905000 w 3457575"/>
                <a:gd name="connsiteY104" fmla="*/ 3495675 h 3822033"/>
                <a:gd name="connsiteX105" fmla="*/ 1819275 w 3457575"/>
                <a:gd name="connsiteY105" fmla="*/ 3609975 h 3822033"/>
                <a:gd name="connsiteX106" fmla="*/ 1800225 w 3457575"/>
                <a:gd name="connsiteY106" fmla="*/ 3638550 h 3822033"/>
                <a:gd name="connsiteX107" fmla="*/ 1790700 w 3457575"/>
                <a:gd name="connsiteY107" fmla="*/ 3667125 h 3822033"/>
                <a:gd name="connsiteX108" fmla="*/ 1771650 w 3457575"/>
                <a:gd name="connsiteY108" fmla="*/ 3695700 h 3822033"/>
                <a:gd name="connsiteX109" fmla="*/ 1752600 w 3457575"/>
                <a:gd name="connsiteY109" fmla="*/ 3733800 h 3822033"/>
                <a:gd name="connsiteX110" fmla="*/ 1714500 w 3457575"/>
                <a:gd name="connsiteY110" fmla="*/ 3810000 h 3822033"/>
                <a:gd name="connsiteX111" fmla="*/ 1704975 w 3457575"/>
                <a:gd name="connsiteY11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638300 w 3457575"/>
                <a:gd name="connsiteY3" fmla="*/ 3714750 h 3822033"/>
                <a:gd name="connsiteX4" fmla="*/ 1533525 w 3457575"/>
                <a:gd name="connsiteY4" fmla="*/ 3543300 h 3822033"/>
                <a:gd name="connsiteX5" fmla="*/ 1409700 w 3457575"/>
                <a:gd name="connsiteY5" fmla="*/ 3438525 h 3822033"/>
                <a:gd name="connsiteX6" fmla="*/ 1371600 w 3457575"/>
                <a:gd name="connsiteY6" fmla="*/ 3419475 h 3822033"/>
                <a:gd name="connsiteX7" fmla="*/ 1343025 w 3457575"/>
                <a:gd name="connsiteY7" fmla="*/ 3400425 h 3822033"/>
                <a:gd name="connsiteX8" fmla="*/ 1247775 w 3457575"/>
                <a:gd name="connsiteY8" fmla="*/ 3381375 h 3822033"/>
                <a:gd name="connsiteX9" fmla="*/ 1133475 w 3457575"/>
                <a:gd name="connsiteY9" fmla="*/ 3324225 h 3822033"/>
                <a:gd name="connsiteX10" fmla="*/ 1009650 w 3457575"/>
                <a:gd name="connsiteY10" fmla="*/ 3276600 h 3822033"/>
                <a:gd name="connsiteX11" fmla="*/ 962025 w 3457575"/>
                <a:gd name="connsiteY11" fmla="*/ 3238500 h 3822033"/>
                <a:gd name="connsiteX12" fmla="*/ 923925 w 3457575"/>
                <a:gd name="connsiteY12" fmla="*/ 3219450 h 3822033"/>
                <a:gd name="connsiteX13" fmla="*/ 790575 w 3457575"/>
                <a:gd name="connsiteY13" fmla="*/ 3162300 h 3822033"/>
                <a:gd name="connsiteX14" fmla="*/ 638175 w 3457575"/>
                <a:gd name="connsiteY14" fmla="*/ 3048000 h 3822033"/>
                <a:gd name="connsiteX15" fmla="*/ 619125 w 3457575"/>
                <a:gd name="connsiteY15" fmla="*/ 3009900 h 3822033"/>
                <a:gd name="connsiteX16" fmla="*/ 571500 w 3457575"/>
                <a:gd name="connsiteY16" fmla="*/ 2943225 h 3822033"/>
                <a:gd name="connsiteX17" fmla="*/ 333375 w 3457575"/>
                <a:gd name="connsiteY17" fmla="*/ 2676525 h 3822033"/>
                <a:gd name="connsiteX18" fmla="*/ 295275 w 3457575"/>
                <a:gd name="connsiteY18" fmla="*/ 2581275 h 3822033"/>
                <a:gd name="connsiteX19" fmla="*/ 257175 w 3457575"/>
                <a:gd name="connsiteY19" fmla="*/ 2495550 h 3822033"/>
                <a:gd name="connsiteX20" fmla="*/ 228600 w 3457575"/>
                <a:gd name="connsiteY20" fmla="*/ 2457450 h 3822033"/>
                <a:gd name="connsiteX21" fmla="*/ 200025 w 3457575"/>
                <a:gd name="connsiteY21" fmla="*/ 2371725 h 3822033"/>
                <a:gd name="connsiteX22" fmla="*/ 180975 w 3457575"/>
                <a:gd name="connsiteY22" fmla="*/ 2343150 h 3822033"/>
                <a:gd name="connsiteX23" fmla="*/ 152400 w 3457575"/>
                <a:gd name="connsiteY23" fmla="*/ 2219325 h 3822033"/>
                <a:gd name="connsiteX24" fmla="*/ 142875 w 3457575"/>
                <a:gd name="connsiteY24" fmla="*/ 2190750 h 3822033"/>
                <a:gd name="connsiteX25" fmla="*/ 123825 w 3457575"/>
                <a:gd name="connsiteY25" fmla="*/ 2143125 h 3822033"/>
                <a:gd name="connsiteX26" fmla="*/ 95250 w 3457575"/>
                <a:gd name="connsiteY26" fmla="*/ 2028825 h 3822033"/>
                <a:gd name="connsiteX27" fmla="*/ 85725 w 3457575"/>
                <a:gd name="connsiteY27" fmla="*/ 1990725 h 3822033"/>
                <a:gd name="connsiteX28" fmla="*/ 57150 w 3457575"/>
                <a:gd name="connsiteY28" fmla="*/ 1933575 h 3822033"/>
                <a:gd name="connsiteX29" fmla="*/ 28575 w 3457575"/>
                <a:gd name="connsiteY29" fmla="*/ 1819275 h 3822033"/>
                <a:gd name="connsiteX30" fmla="*/ 9525 w 3457575"/>
                <a:gd name="connsiteY30" fmla="*/ 1657350 h 3822033"/>
                <a:gd name="connsiteX31" fmla="*/ 0 w 3457575"/>
                <a:gd name="connsiteY31" fmla="*/ 1609725 h 3822033"/>
                <a:gd name="connsiteX32" fmla="*/ 9525 w 3457575"/>
                <a:gd name="connsiteY32" fmla="*/ 1428750 h 3822033"/>
                <a:gd name="connsiteX33" fmla="*/ 28575 w 3457575"/>
                <a:gd name="connsiteY33" fmla="*/ 1304925 h 3822033"/>
                <a:gd name="connsiteX34" fmla="*/ 38100 w 3457575"/>
                <a:gd name="connsiteY34" fmla="*/ 1247775 h 3822033"/>
                <a:gd name="connsiteX35" fmla="*/ 76200 w 3457575"/>
                <a:gd name="connsiteY35" fmla="*/ 1152525 h 3822033"/>
                <a:gd name="connsiteX36" fmla="*/ 114300 w 3457575"/>
                <a:gd name="connsiteY36" fmla="*/ 990600 h 3822033"/>
                <a:gd name="connsiteX37" fmla="*/ 133350 w 3457575"/>
                <a:gd name="connsiteY37" fmla="*/ 923925 h 3822033"/>
                <a:gd name="connsiteX38" fmla="*/ 171450 w 3457575"/>
                <a:gd name="connsiteY38" fmla="*/ 866775 h 3822033"/>
                <a:gd name="connsiteX39" fmla="*/ 228600 w 3457575"/>
                <a:gd name="connsiteY39" fmla="*/ 762000 h 3822033"/>
                <a:gd name="connsiteX40" fmla="*/ 304800 w 3457575"/>
                <a:gd name="connsiteY40" fmla="*/ 647700 h 3822033"/>
                <a:gd name="connsiteX41" fmla="*/ 552450 w 3457575"/>
                <a:gd name="connsiteY41" fmla="*/ 361950 h 3822033"/>
                <a:gd name="connsiteX42" fmla="*/ 609600 w 3457575"/>
                <a:gd name="connsiteY42" fmla="*/ 323850 h 3822033"/>
                <a:gd name="connsiteX43" fmla="*/ 666750 w 3457575"/>
                <a:gd name="connsiteY43" fmla="*/ 285750 h 3822033"/>
                <a:gd name="connsiteX44" fmla="*/ 762000 w 3457575"/>
                <a:gd name="connsiteY44" fmla="*/ 238125 h 3822033"/>
                <a:gd name="connsiteX45" fmla="*/ 800100 w 3457575"/>
                <a:gd name="connsiteY45" fmla="*/ 219075 h 3822033"/>
                <a:gd name="connsiteX46" fmla="*/ 895350 w 3457575"/>
                <a:gd name="connsiteY46" fmla="*/ 161925 h 3822033"/>
                <a:gd name="connsiteX47" fmla="*/ 962025 w 3457575"/>
                <a:gd name="connsiteY47" fmla="*/ 133350 h 3822033"/>
                <a:gd name="connsiteX48" fmla="*/ 1123950 w 3457575"/>
                <a:gd name="connsiteY48" fmla="*/ 76200 h 3822033"/>
                <a:gd name="connsiteX49" fmla="*/ 1162050 w 3457575"/>
                <a:gd name="connsiteY49" fmla="*/ 66675 h 3822033"/>
                <a:gd name="connsiteX50" fmla="*/ 1438275 w 3457575"/>
                <a:gd name="connsiteY50" fmla="*/ 0 h 3822033"/>
                <a:gd name="connsiteX51" fmla="*/ 2038350 w 3457575"/>
                <a:gd name="connsiteY51" fmla="*/ 9525 h 3822033"/>
                <a:gd name="connsiteX52" fmla="*/ 2105025 w 3457575"/>
                <a:gd name="connsiteY52" fmla="*/ 19050 h 3822033"/>
                <a:gd name="connsiteX53" fmla="*/ 2162175 w 3457575"/>
                <a:gd name="connsiteY53" fmla="*/ 47625 h 3822033"/>
                <a:gd name="connsiteX54" fmla="*/ 2228850 w 3457575"/>
                <a:gd name="connsiteY54" fmla="*/ 66675 h 3822033"/>
                <a:gd name="connsiteX55" fmla="*/ 2343150 w 3457575"/>
                <a:gd name="connsiteY55" fmla="*/ 133350 h 3822033"/>
                <a:gd name="connsiteX56" fmla="*/ 2390775 w 3457575"/>
                <a:gd name="connsiteY56" fmla="*/ 142875 h 3822033"/>
                <a:gd name="connsiteX57" fmla="*/ 2457450 w 3457575"/>
                <a:gd name="connsiteY57" fmla="*/ 171450 h 3822033"/>
                <a:gd name="connsiteX58" fmla="*/ 2486025 w 3457575"/>
                <a:gd name="connsiteY58" fmla="*/ 200025 h 3822033"/>
                <a:gd name="connsiteX59" fmla="*/ 2571750 w 3457575"/>
                <a:gd name="connsiteY59" fmla="*/ 228600 h 3822033"/>
                <a:gd name="connsiteX60" fmla="*/ 2676525 w 3457575"/>
                <a:gd name="connsiteY60" fmla="*/ 285750 h 3822033"/>
                <a:gd name="connsiteX61" fmla="*/ 2705100 w 3457575"/>
                <a:gd name="connsiteY61" fmla="*/ 304800 h 3822033"/>
                <a:gd name="connsiteX62" fmla="*/ 2733675 w 3457575"/>
                <a:gd name="connsiteY62" fmla="*/ 333375 h 3822033"/>
                <a:gd name="connsiteX63" fmla="*/ 2771775 w 3457575"/>
                <a:gd name="connsiteY63" fmla="*/ 361950 h 3822033"/>
                <a:gd name="connsiteX64" fmla="*/ 2809875 w 3457575"/>
                <a:gd name="connsiteY64" fmla="*/ 400050 h 3822033"/>
                <a:gd name="connsiteX65" fmla="*/ 2867025 w 3457575"/>
                <a:gd name="connsiteY65" fmla="*/ 438150 h 3822033"/>
                <a:gd name="connsiteX66" fmla="*/ 2905125 w 3457575"/>
                <a:gd name="connsiteY66" fmla="*/ 476250 h 3822033"/>
                <a:gd name="connsiteX67" fmla="*/ 2971800 w 3457575"/>
                <a:gd name="connsiteY67" fmla="*/ 523875 h 3822033"/>
                <a:gd name="connsiteX68" fmla="*/ 2990850 w 3457575"/>
                <a:gd name="connsiteY68" fmla="*/ 552450 h 3822033"/>
                <a:gd name="connsiteX69" fmla="*/ 3028950 w 3457575"/>
                <a:gd name="connsiteY69" fmla="*/ 590550 h 3822033"/>
                <a:gd name="connsiteX70" fmla="*/ 3048000 w 3457575"/>
                <a:gd name="connsiteY70" fmla="*/ 628650 h 3822033"/>
                <a:gd name="connsiteX71" fmla="*/ 3086100 w 3457575"/>
                <a:gd name="connsiteY71" fmla="*/ 666750 h 3822033"/>
                <a:gd name="connsiteX72" fmla="*/ 3124200 w 3457575"/>
                <a:gd name="connsiteY72" fmla="*/ 723900 h 3822033"/>
                <a:gd name="connsiteX73" fmla="*/ 3219450 w 3457575"/>
                <a:gd name="connsiteY73" fmla="*/ 838200 h 3822033"/>
                <a:gd name="connsiteX74" fmla="*/ 3238500 w 3457575"/>
                <a:gd name="connsiteY74" fmla="*/ 885825 h 3822033"/>
                <a:gd name="connsiteX75" fmla="*/ 3276600 w 3457575"/>
                <a:gd name="connsiteY75" fmla="*/ 942975 h 3822033"/>
                <a:gd name="connsiteX76" fmla="*/ 3286125 w 3457575"/>
                <a:gd name="connsiteY76" fmla="*/ 990600 h 3822033"/>
                <a:gd name="connsiteX77" fmla="*/ 3324225 w 3457575"/>
                <a:gd name="connsiteY77" fmla="*/ 1085850 h 3822033"/>
                <a:gd name="connsiteX78" fmla="*/ 3362325 w 3457575"/>
                <a:gd name="connsiteY78" fmla="*/ 1171575 h 3822033"/>
                <a:gd name="connsiteX79" fmla="*/ 3390900 w 3457575"/>
                <a:gd name="connsiteY79" fmla="*/ 1219200 h 3822033"/>
                <a:gd name="connsiteX80" fmla="*/ 3419475 w 3457575"/>
                <a:gd name="connsiteY80" fmla="*/ 1333500 h 3822033"/>
                <a:gd name="connsiteX81" fmla="*/ 3429000 w 3457575"/>
                <a:gd name="connsiteY81" fmla="*/ 1390650 h 3822033"/>
                <a:gd name="connsiteX82" fmla="*/ 3457575 w 3457575"/>
                <a:gd name="connsiteY82" fmla="*/ 1657350 h 3822033"/>
                <a:gd name="connsiteX83" fmla="*/ 3381375 w 3457575"/>
                <a:gd name="connsiteY83" fmla="*/ 2238375 h 3822033"/>
                <a:gd name="connsiteX84" fmla="*/ 3343275 w 3457575"/>
                <a:gd name="connsiteY84" fmla="*/ 2333625 h 3822033"/>
                <a:gd name="connsiteX85" fmla="*/ 3276600 w 3457575"/>
                <a:gd name="connsiteY85" fmla="*/ 2400300 h 3822033"/>
                <a:gd name="connsiteX86" fmla="*/ 3190875 w 3457575"/>
                <a:gd name="connsiteY86" fmla="*/ 2533650 h 3822033"/>
                <a:gd name="connsiteX87" fmla="*/ 3105150 w 3457575"/>
                <a:gd name="connsiteY87" fmla="*/ 2647950 h 3822033"/>
                <a:gd name="connsiteX88" fmla="*/ 3019425 w 3457575"/>
                <a:gd name="connsiteY88" fmla="*/ 2781300 h 3822033"/>
                <a:gd name="connsiteX89" fmla="*/ 2981325 w 3457575"/>
                <a:gd name="connsiteY89" fmla="*/ 2819400 h 3822033"/>
                <a:gd name="connsiteX90" fmla="*/ 2943225 w 3457575"/>
                <a:gd name="connsiteY90" fmla="*/ 2876550 h 3822033"/>
                <a:gd name="connsiteX91" fmla="*/ 2857500 w 3457575"/>
                <a:gd name="connsiteY91" fmla="*/ 2933700 h 3822033"/>
                <a:gd name="connsiteX92" fmla="*/ 2809875 w 3457575"/>
                <a:gd name="connsiteY92" fmla="*/ 2971800 h 3822033"/>
                <a:gd name="connsiteX93" fmla="*/ 2705100 w 3457575"/>
                <a:gd name="connsiteY93" fmla="*/ 3038475 h 3822033"/>
                <a:gd name="connsiteX94" fmla="*/ 2609850 w 3457575"/>
                <a:gd name="connsiteY94" fmla="*/ 3105150 h 3822033"/>
                <a:gd name="connsiteX95" fmla="*/ 2562225 w 3457575"/>
                <a:gd name="connsiteY95" fmla="*/ 3143250 h 3822033"/>
                <a:gd name="connsiteX96" fmla="*/ 2495550 w 3457575"/>
                <a:gd name="connsiteY96" fmla="*/ 3162300 h 3822033"/>
                <a:gd name="connsiteX97" fmla="*/ 2362200 w 3457575"/>
                <a:gd name="connsiteY97" fmla="*/ 3219450 h 3822033"/>
                <a:gd name="connsiteX98" fmla="*/ 2257425 w 3457575"/>
                <a:gd name="connsiteY98" fmla="*/ 3257550 h 3822033"/>
                <a:gd name="connsiteX99" fmla="*/ 2181225 w 3457575"/>
                <a:gd name="connsiteY99" fmla="*/ 3276600 h 3822033"/>
                <a:gd name="connsiteX100" fmla="*/ 2057400 w 3457575"/>
                <a:gd name="connsiteY100" fmla="*/ 3362325 h 3822033"/>
                <a:gd name="connsiteX101" fmla="*/ 2009775 w 3457575"/>
                <a:gd name="connsiteY101" fmla="*/ 3400425 h 3822033"/>
                <a:gd name="connsiteX102" fmla="*/ 1962150 w 3457575"/>
                <a:gd name="connsiteY102" fmla="*/ 3429000 h 3822033"/>
                <a:gd name="connsiteX103" fmla="*/ 1905000 w 3457575"/>
                <a:gd name="connsiteY103" fmla="*/ 3495675 h 3822033"/>
                <a:gd name="connsiteX104" fmla="*/ 1819275 w 3457575"/>
                <a:gd name="connsiteY104" fmla="*/ 3609975 h 3822033"/>
                <a:gd name="connsiteX105" fmla="*/ 1800225 w 3457575"/>
                <a:gd name="connsiteY105" fmla="*/ 3638550 h 3822033"/>
                <a:gd name="connsiteX106" fmla="*/ 1790700 w 3457575"/>
                <a:gd name="connsiteY106" fmla="*/ 3667125 h 3822033"/>
                <a:gd name="connsiteX107" fmla="*/ 1771650 w 3457575"/>
                <a:gd name="connsiteY107" fmla="*/ 3695700 h 3822033"/>
                <a:gd name="connsiteX108" fmla="*/ 1752600 w 3457575"/>
                <a:gd name="connsiteY108" fmla="*/ 3733800 h 3822033"/>
                <a:gd name="connsiteX109" fmla="*/ 1714500 w 3457575"/>
                <a:gd name="connsiteY109" fmla="*/ 3810000 h 3822033"/>
                <a:gd name="connsiteX110" fmla="*/ 1704975 w 3457575"/>
                <a:gd name="connsiteY11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647825 w 3457575"/>
                <a:gd name="connsiteY2" fmla="*/ 3743325 h 3822033"/>
                <a:gd name="connsiteX3" fmla="*/ 1533525 w 3457575"/>
                <a:gd name="connsiteY3" fmla="*/ 3543300 h 3822033"/>
                <a:gd name="connsiteX4" fmla="*/ 1409700 w 3457575"/>
                <a:gd name="connsiteY4" fmla="*/ 3438525 h 3822033"/>
                <a:gd name="connsiteX5" fmla="*/ 1371600 w 3457575"/>
                <a:gd name="connsiteY5" fmla="*/ 3419475 h 3822033"/>
                <a:gd name="connsiteX6" fmla="*/ 1343025 w 3457575"/>
                <a:gd name="connsiteY6" fmla="*/ 3400425 h 3822033"/>
                <a:gd name="connsiteX7" fmla="*/ 1247775 w 3457575"/>
                <a:gd name="connsiteY7" fmla="*/ 3381375 h 3822033"/>
                <a:gd name="connsiteX8" fmla="*/ 1133475 w 3457575"/>
                <a:gd name="connsiteY8" fmla="*/ 3324225 h 3822033"/>
                <a:gd name="connsiteX9" fmla="*/ 1009650 w 3457575"/>
                <a:gd name="connsiteY9" fmla="*/ 3276600 h 3822033"/>
                <a:gd name="connsiteX10" fmla="*/ 962025 w 3457575"/>
                <a:gd name="connsiteY10" fmla="*/ 3238500 h 3822033"/>
                <a:gd name="connsiteX11" fmla="*/ 923925 w 3457575"/>
                <a:gd name="connsiteY11" fmla="*/ 3219450 h 3822033"/>
                <a:gd name="connsiteX12" fmla="*/ 790575 w 3457575"/>
                <a:gd name="connsiteY12" fmla="*/ 3162300 h 3822033"/>
                <a:gd name="connsiteX13" fmla="*/ 638175 w 3457575"/>
                <a:gd name="connsiteY13" fmla="*/ 3048000 h 3822033"/>
                <a:gd name="connsiteX14" fmla="*/ 619125 w 3457575"/>
                <a:gd name="connsiteY14" fmla="*/ 3009900 h 3822033"/>
                <a:gd name="connsiteX15" fmla="*/ 571500 w 3457575"/>
                <a:gd name="connsiteY15" fmla="*/ 2943225 h 3822033"/>
                <a:gd name="connsiteX16" fmla="*/ 333375 w 3457575"/>
                <a:gd name="connsiteY16" fmla="*/ 2676525 h 3822033"/>
                <a:gd name="connsiteX17" fmla="*/ 295275 w 3457575"/>
                <a:gd name="connsiteY17" fmla="*/ 2581275 h 3822033"/>
                <a:gd name="connsiteX18" fmla="*/ 257175 w 3457575"/>
                <a:gd name="connsiteY18" fmla="*/ 2495550 h 3822033"/>
                <a:gd name="connsiteX19" fmla="*/ 228600 w 3457575"/>
                <a:gd name="connsiteY19" fmla="*/ 2457450 h 3822033"/>
                <a:gd name="connsiteX20" fmla="*/ 200025 w 3457575"/>
                <a:gd name="connsiteY20" fmla="*/ 2371725 h 3822033"/>
                <a:gd name="connsiteX21" fmla="*/ 180975 w 3457575"/>
                <a:gd name="connsiteY21" fmla="*/ 2343150 h 3822033"/>
                <a:gd name="connsiteX22" fmla="*/ 152400 w 3457575"/>
                <a:gd name="connsiteY22" fmla="*/ 2219325 h 3822033"/>
                <a:gd name="connsiteX23" fmla="*/ 142875 w 3457575"/>
                <a:gd name="connsiteY23" fmla="*/ 2190750 h 3822033"/>
                <a:gd name="connsiteX24" fmla="*/ 123825 w 3457575"/>
                <a:gd name="connsiteY24" fmla="*/ 2143125 h 3822033"/>
                <a:gd name="connsiteX25" fmla="*/ 95250 w 3457575"/>
                <a:gd name="connsiteY25" fmla="*/ 2028825 h 3822033"/>
                <a:gd name="connsiteX26" fmla="*/ 85725 w 3457575"/>
                <a:gd name="connsiteY26" fmla="*/ 1990725 h 3822033"/>
                <a:gd name="connsiteX27" fmla="*/ 57150 w 3457575"/>
                <a:gd name="connsiteY27" fmla="*/ 1933575 h 3822033"/>
                <a:gd name="connsiteX28" fmla="*/ 28575 w 3457575"/>
                <a:gd name="connsiteY28" fmla="*/ 1819275 h 3822033"/>
                <a:gd name="connsiteX29" fmla="*/ 9525 w 3457575"/>
                <a:gd name="connsiteY29" fmla="*/ 1657350 h 3822033"/>
                <a:gd name="connsiteX30" fmla="*/ 0 w 3457575"/>
                <a:gd name="connsiteY30" fmla="*/ 1609725 h 3822033"/>
                <a:gd name="connsiteX31" fmla="*/ 9525 w 3457575"/>
                <a:gd name="connsiteY31" fmla="*/ 1428750 h 3822033"/>
                <a:gd name="connsiteX32" fmla="*/ 28575 w 3457575"/>
                <a:gd name="connsiteY32" fmla="*/ 1304925 h 3822033"/>
                <a:gd name="connsiteX33" fmla="*/ 38100 w 3457575"/>
                <a:gd name="connsiteY33" fmla="*/ 1247775 h 3822033"/>
                <a:gd name="connsiteX34" fmla="*/ 76200 w 3457575"/>
                <a:gd name="connsiteY34" fmla="*/ 1152525 h 3822033"/>
                <a:gd name="connsiteX35" fmla="*/ 114300 w 3457575"/>
                <a:gd name="connsiteY35" fmla="*/ 990600 h 3822033"/>
                <a:gd name="connsiteX36" fmla="*/ 133350 w 3457575"/>
                <a:gd name="connsiteY36" fmla="*/ 923925 h 3822033"/>
                <a:gd name="connsiteX37" fmla="*/ 171450 w 3457575"/>
                <a:gd name="connsiteY37" fmla="*/ 866775 h 3822033"/>
                <a:gd name="connsiteX38" fmla="*/ 228600 w 3457575"/>
                <a:gd name="connsiteY38" fmla="*/ 762000 h 3822033"/>
                <a:gd name="connsiteX39" fmla="*/ 304800 w 3457575"/>
                <a:gd name="connsiteY39" fmla="*/ 647700 h 3822033"/>
                <a:gd name="connsiteX40" fmla="*/ 552450 w 3457575"/>
                <a:gd name="connsiteY40" fmla="*/ 361950 h 3822033"/>
                <a:gd name="connsiteX41" fmla="*/ 609600 w 3457575"/>
                <a:gd name="connsiteY41" fmla="*/ 323850 h 3822033"/>
                <a:gd name="connsiteX42" fmla="*/ 666750 w 3457575"/>
                <a:gd name="connsiteY42" fmla="*/ 285750 h 3822033"/>
                <a:gd name="connsiteX43" fmla="*/ 762000 w 3457575"/>
                <a:gd name="connsiteY43" fmla="*/ 238125 h 3822033"/>
                <a:gd name="connsiteX44" fmla="*/ 800100 w 3457575"/>
                <a:gd name="connsiteY44" fmla="*/ 219075 h 3822033"/>
                <a:gd name="connsiteX45" fmla="*/ 895350 w 3457575"/>
                <a:gd name="connsiteY45" fmla="*/ 161925 h 3822033"/>
                <a:gd name="connsiteX46" fmla="*/ 962025 w 3457575"/>
                <a:gd name="connsiteY46" fmla="*/ 133350 h 3822033"/>
                <a:gd name="connsiteX47" fmla="*/ 1123950 w 3457575"/>
                <a:gd name="connsiteY47" fmla="*/ 76200 h 3822033"/>
                <a:gd name="connsiteX48" fmla="*/ 1162050 w 3457575"/>
                <a:gd name="connsiteY48" fmla="*/ 66675 h 3822033"/>
                <a:gd name="connsiteX49" fmla="*/ 1438275 w 3457575"/>
                <a:gd name="connsiteY49" fmla="*/ 0 h 3822033"/>
                <a:gd name="connsiteX50" fmla="*/ 2038350 w 3457575"/>
                <a:gd name="connsiteY50" fmla="*/ 9525 h 3822033"/>
                <a:gd name="connsiteX51" fmla="*/ 2105025 w 3457575"/>
                <a:gd name="connsiteY51" fmla="*/ 19050 h 3822033"/>
                <a:gd name="connsiteX52" fmla="*/ 2162175 w 3457575"/>
                <a:gd name="connsiteY52" fmla="*/ 47625 h 3822033"/>
                <a:gd name="connsiteX53" fmla="*/ 2228850 w 3457575"/>
                <a:gd name="connsiteY53" fmla="*/ 66675 h 3822033"/>
                <a:gd name="connsiteX54" fmla="*/ 2343150 w 3457575"/>
                <a:gd name="connsiteY54" fmla="*/ 133350 h 3822033"/>
                <a:gd name="connsiteX55" fmla="*/ 2390775 w 3457575"/>
                <a:gd name="connsiteY55" fmla="*/ 142875 h 3822033"/>
                <a:gd name="connsiteX56" fmla="*/ 2457450 w 3457575"/>
                <a:gd name="connsiteY56" fmla="*/ 171450 h 3822033"/>
                <a:gd name="connsiteX57" fmla="*/ 2486025 w 3457575"/>
                <a:gd name="connsiteY57" fmla="*/ 200025 h 3822033"/>
                <a:gd name="connsiteX58" fmla="*/ 2571750 w 3457575"/>
                <a:gd name="connsiteY58" fmla="*/ 228600 h 3822033"/>
                <a:gd name="connsiteX59" fmla="*/ 2676525 w 3457575"/>
                <a:gd name="connsiteY59" fmla="*/ 285750 h 3822033"/>
                <a:gd name="connsiteX60" fmla="*/ 2705100 w 3457575"/>
                <a:gd name="connsiteY60" fmla="*/ 304800 h 3822033"/>
                <a:gd name="connsiteX61" fmla="*/ 2733675 w 3457575"/>
                <a:gd name="connsiteY61" fmla="*/ 333375 h 3822033"/>
                <a:gd name="connsiteX62" fmla="*/ 2771775 w 3457575"/>
                <a:gd name="connsiteY62" fmla="*/ 361950 h 3822033"/>
                <a:gd name="connsiteX63" fmla="*/ 2809875 w 3457575"/>
                <a:gd name="connsiteY63" fmla="*/ 400050 h 3822033"/>
                <a:gd name="connsiteX64" fmla="*/ 2867025 w 3457575"/>
                <a:gd name="connsiteY64" fmla="*/ 438150 h 3822033"/>
                <a:gd name="connsiteX65" fmla="*/ 2905125 w 3457575"/>
                <a:gd name="connsiteY65" fmla="*/ 476250 h 3822033"/>
                <a:gd name="connsiteX66" fmla="*/ 2971800 w 3457575"/>
                <a:gd name="connsiteY66" fmla="*/ 523875 h 3822033"/>
                <a:gd name="connsiteX67" fmla="*/ 2990850 w 3457575"/>
                <a:gd name="connsiteY67" fmla="*/ 552450 h 3822033"/>
                <a:gd name="connsiteX68" fmla="*/ 3028950 w 3457575"/>
                <a:gd name="connsiteY68" fmla="*/ 590550 h 3822033"/>
                <a:gd name="connsiteX69" fmla="*/ 3048000 w 3457575"/>
                <a:gd name="connsiteY69" fmla="*/ 628650 h 3822033"/>
                <a:gd name="connsiteX70" fmla="*/ 3086100 w 3457575"/>
                <a:gd name="connsiteY70" fmla="*/ 666750 h 3822033"/>
                <a:gd name="connsiteX71" fmla="*/ 3124200 w 3457575"/>
                <a:gd name="connsiteY71" fmla="*/ 723900 h 3822033"/>
                <a:gd name="connsiteX72" fmla="*/ 3219450 w 3457575"/>
                <a:gd name="connsiteY72" fmla="*/ 838200 h 3822033"/>
                <a:gd name="connsiteX73" fmla="*/ 3238500 w 3457575"/>
                <a:gd name="connsiteY73" fmla="*/ 885825 h 3822033"/>
                <a:gd name="connsiteX74" fmla="*/ 3276600 w 3457575"/>
                <a:gd name="connsiteY74" fmla="*/ 942975 h 3822033"/>
                <a:gd name="connsiteX75" fmla="*/ 3286125 w 3457575"/>
                <a:gd name="connsiteY75" fmla="*/ 990600 h 3822033"/>
                <a:gd name="connsiteX76" fmla="*/ 3324225 w 3457575"/>
                <a:gd name="connsiteY76" fmla="*/ 1085850 h 3822033"/>
                <a:gd name="connsiteX77" fmla="*/ 3362325 w 3457575"/>
                <a:gd name="connsiteY77" fmla="*/ 1171575 h 3822033"/>
                <a:gd name="connsiteX78" fmla="*/ 3390900 w 3457575"/>
                <a:gd name="connsiteY78" fmla="*/ 1219200 h 3822033"/>
                <a:gd name="connsiteX79" fmla="*/ 3419475 w 3457575"/>
                <a:gd name="connsiteY79" fmla="*/ 1333500 h 3822033"/>
                <a:gd name="connsiteX80" fmla="*/ 3429000 w 3457575"/>
                <a:gd name="connsiteY80" fmla="*/ 1390650 h 3822033"/>
                <a:gd name="connsiteX81" fmla="*/ 3457575 w 3457575"/>
                <a:gd name="connsiteY81" fmla="*/ 1657350 h 3822033"/>
                <a:gd name="connsiteX82" fmla="*/ 3381375 w 3457575"/>
                <a:gd name="connsiteY82" fmla="*/ 2238375 h 3822033"/>
                <a:gd name="connsiteX83" fmla="*/ 3343275 w 3457575"/>
                <a:gd name="connsiteY83" fmla="*/ 2333625 h 3822033"/>
                <a:gd name="connsiteX84" fmla="*/ 3276600 w 3457575"/>
                <a:gd name="connsiteY84" fmla="*/ 2400300 h 3822033"/>
                <a:gd name="connsiteX85" fmla="*/ 3190875 w 3457575"/>
                <a:gd name="connsiteY85" fmla="*/ 2533650 h 3822033"/>
                <a:gd name="connsiteX86" fmla="*/ 3105150 w 3457575"/>
                <a:gd name="connsiteY86" fmla="*/ 2647950 h 3822033"/>
                <a:gd name="connsiteX87" fmla="*/ 3019425 w 3457575"/>
                <a:gd name="connsiteY87" fmla="*/ 2781300 h 3822033"/>
                <a:gd name="connsiteX88" fmla="*/ 2981325 w 3457575"/>
                <a:gd name="connsiteY88" fmla="*/ 2819400 h 3822033"/>
                <a:gd name="connsiteX89" fmla="*/ 2943225 w 3457575"/>
                <a:gd name="connsiteY89" fmla="*/ 2876550 h 3822033"/>
                <a:gd name="connsiteX90" fmla="*/ 2857500 w 3457575"/>
                <a:gd name="connsiteY90" fmla="*/ 2933700 h 3822033"/>
                <a:gd name="connsiteX91" fmla="*/ 2809875 w 3457575"/>
                <a:gd name="connsiteY91" fmla="*/ 2971800 h 3822033"/>
                <a:gd name="connsiteX92" fmla="*/ 2705100 w 3457575"/>
                <a:gd name="connsiteY92" fmla="*/ 3038475 h 3822033"/>
                <a:gd name="connsiteX93" fmla="*/ 2609850 w 3457575"/>
                <a:gd name="connsiteY93" fmla="*/ 3105150 h 3822033"/>
                <a:gd name="connsiteX94" fmla="*/ 2562225 w 3457575"/>
                <a:gd name="connsiteY94" fmla="*/ 3143250 h 3822033"/>
                <a:gd name="connsiteX95" fmla="*/ 2495550 w 3457575"/>
                <a:gd name="connsiteY95" fmla="*/ 3162300 h 3822033"/>
                <a:gd name="connsiteX96" fmla="*/ 2362200 w 3457575"/>
                <a:gd name="connsiteY96" fmla="*/ 3219450 h 3822033"/>
                <a:gd name="connsiteX97" fmla="*/ 2257425 w 3457575"/>
                <a:gd name="connsiteY97" fmla="*/ 3257550 h 3822033"/>
                <a:gd name="connsiteX98" fmla="*/ 2181225 w 3457575"/>
                <a:gd name="connsiteY98" fmla="*/ 3276600 h 3822033"/>
                <a:gd name="connsiteX99" fmla="*/ 2057400 w 3457575"/>
                <a:gd name="connsiteY99" fmla="*/ 3362325 h 3822033"/>
                <a:gd name="connsiteX100" fmla="*/ 2009775 w 3457575"/>
                <a:gd name="connsiteY100" fmla="*/ 3400425 h 3822033"/>
                <a:gd name="connsiteX101" fmla="*/ 1962150 w 3457575"/>
                <a:gd name="connsiteY101" fmla="*/ 3429000 h 3822033"/>
                <a:gd name="connsiteX102" fmla="*/ 1905000 w 3457575"/>
                <a:gd name="connsiteY102" fmla="*/ 3495675 h 3822033"/>
                <a:gd name="connsiteX103" fmla="*/ 1819275 w 3457575"/>
                <a:gd name="connsiteY103" fmla="*/ 3609975 h 3822033"/>
                <a:gd name="connsiteX104" fmla="*/ 1800225 w 3457575"/>
                <a:gd name="connsiteY104" fmla="*/ 3638550 h 3822033"/>
                <a:gd name="connsiteX105" fmla="*/ 1790700 w 3457575"/>
                <a:gd name="connsiteY105" fmla="*/ 3667125 h 3822033"/>
                <a:gd name="connsiteX106" fmla="*/ 1771650 w 3457575"/>
                <a:gd name="connsiteY106" fmla="*/ 3695700 h 3822033"/>
                <a:gd name="connsiteX107" fmla="*/ 1752600 w 3457575"/>
                <a:gd name="connsiteY107" fmla="*/ 3733800 h 3822033"/>
                <a:gd name="connsiteX108" fmla="*/ 1714500 w 3457575"/>
                <a:gd name="connsiteY108" fmla="*/ 3810000 h 3822033"/>
                <a:gd name="connsiteX109" fmla="*/ 1704975 w 3457575"/>
                <a:gd name="connsiteY109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343275 w 3457575"/>
                <a:gd name="connsiteY82" fmla="*/ 2333625 h 3822033"/>
                <a:gd name="connsiteX83" fmla="*/ 3276600 w 3457575"/>
                <a:gd name="connsiteY83" fmla="*/ 2400300 h 3822033"/>
                <a:gd name="connsiteX84" fmla="*/ 3190875 w 3457575"/>
                <a:gd name="connsiteY84" fmla="*/ 2533650 h 3822033"/>
                <a:gd name="connsiteX85" fmla="*/ 3105150 w 3457575"/>
                <a:gd name="connsiteY85" fmla="*/ 2647950 h 3822033"/>
                <a:gd name="connsiteX86" fmla="*/ 3019425 w 3457575"/>
                <a:gd name="connsiteY86" fmla="*/ 2781300 h 3822033"/>
                <a:gd name="connsiteX87" fmla="*/ 2981325 w 3457575"/>
                <a:gd name="connsiteY87" fmla="*/ 2819400 h 3822033"/>
                <a:gd name="connsiteX88" fmla="*/ 2943225 w 3457575"/>
                <a:gd name="connsiteY88" fmla="*/ 2876550 h 3822033"/>
                <a:gd name="connsiteX89" fmla="*/ 2857500 w 3457575"/>
                <a:gd name="connsiteY89" fmla="*/ 2933700 h 3822033"/>
                <a:gd name="connsiteX90" fmla="*/ 2809875 w 3457575"/>
                <a:gd name="connsiteY90" fmla="*/ 2971800 h 3822033"/>
                <a:gd name="connsiteX91" fmla="*/ 2705100 w 3457575"/>
                <a:gd name="connsiteY91" fmla="*/ 3038475 h 3822033"/>
                <a:gd name="connsiteX92" fmla="*/ 2609850 w 3457575"/>
                <a:gd name="connsiteY92" fmla="*/ 3105150 h 3822033"/>
                <a:gd name="connsiteX93" fmla="*/ 2562225 w 3457575"/>
                <a:gd name="connsiteY93" fmla="*/ 3143250 h 3822033"/>
                <a:gd name="connsiteX94" fmla="*/ 2495550 w 3457575"/>
                <a:gd name="connsiteY94" fmla="*/ 3162300 h 3822033"/>
                <a:gd name="connsiteX95" fmla="*/ 2362200 w 3457575"/>
                <a:gd name="connsiteY95" fmla="*/ 3219450 h 3822033"/>
                <a:gd name="connsiteX96" fmla="*/ 2257425 w 3457575"/>
                <a:gd name="connsiteY96" fmla="*/ 3257550 h 3822033"/>
                <a:gd name="connsiteX97" fmla="*/ 2181225 w 3457575"/>
                <a:gd name="connsiteY97" fmla="*/ 3276600 h 3822033"/>
                <a:gd name="connsiteX98" fmla="*/ 2057400 w 3457575"/>
                <a:gd name="connsiteY98" fmla="*/ 3362325 h 3822033"/>
                <a:gd name="connsiteX99" fmla="*/ 2009775 w 3457575"/>
                <a:gd name="connsiteY99" fmla="*/ 3400425 h 3822033"/>
                <a:gd name="connsiteX100" fmla="*/ 1962150 w 3457575"/>
                <a:gd name="connsiteY100" fmla="*/ 3429000 h 3822033"/>
                <a:gd name="connsiteX101" fmla="*/ 1905000 w 3457575"/>
                <a:gd name="connsiteY101" fmla="*/ 3495675 h 3822033"/>
                <a:gd name="connsiteX102" fmla="*/ 1819275 w 3457575"/>
                <a:gd name="connsiteY102" fmla="*/ 3609975 h 3822033"/>
                <a:gd name="connsiteX103" fmla="*/ 1800225 w 3457575"/>
                <a:gd name="connsiteY103" fmla="*/ 3638550 h 3822033"/>
                <a:gd name="connsiteX104" fmla="*/ 1790700 w 3457575"/>
                <a:gd name="connsiteY104" fmla="*/ 3667125 h 3822033"/>
                <a:gd name="connsiteX105" fmla="*/ 1771650 w 3457575"/>
                <a:gd name="connsiteY105" fmla="*/ 3695700 h 3822033"/>
                <a:gd name="connsiteX106" fmla="*/ 1752600 w 3457575"/>
                <a:gd name="connsiteY106" fmla="*/ 3733800 h 3822033"/>
                <a:gd name="connsiteX107" fmla="*/ 1714500 w 3457575"/>
                <a:gd name="connsiteY107" fmla="*/ 3810000 h 3822033"/>
                <a:gd name="connsiteX108" fmla="*/ 1704975 w 3457575"/>
                <a:gd name="connsiteY108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81375 w 3457575"/>
                <a:gd name="connsiteY81" fmla="*/ 22383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85725 w 3457575"/>
                <a:gd name="connsiteY25" fmla="*/ 1990725 h 3822033"/>
                <a:gd name="connsiteX26" fmla="*/ 57150 w 3457575"/>
                <a:gd name="connsiteY26" fmla="*/ 1933575 h 3822033"/>
                <a:gd name="connsiteX27" fmla="*/ 28575 w 3457575"/>
                <a:gd name="connsiteY27" fmla="*/ 1819275 h 3822033"/>
                <a:gd name="connsiteX28" fmla="*/ 9525 w 3457575"/>
                <a:gd name="connsiteY28" fmla="*/ 1657350 h 3822033"/>
                <a:gd name="connsiteX29" fmla="*/ 0 w 3457575"/>
                <a:gd name="connsiteY29" fmla="*/ 1609725 h 3822033"/>
                <a:gd name="connsiteX30" fmla="*/ 9525 w 3457575"/>
                <a:gd name="connsiteY30" fmla="*/ 1428750 h 3822033"/>
                <a:gd name="connsiteX31" fmla="*/ 28575 w 3457575"/>
                <a:gd name="connsiteY31" fmla="*/ 1304925 h 3822033"/>
                <a:gd name="connsiteX32" fmla="*/ 38100 w 3457575"/>
                <a:gd name="connsiteY32" fmla="*/ 1247775 h 3822033"/>
                <a:gd name="connsiteX33" fmla="*/ 76200 w 3457575"/>
                <a:gd name="connsiteY33" fmla="*/ 1152525 h 3822033"/>
                <a:gd name="connsiteX34" fmla="*/ 114300 w 3457575"/>
                <a:gd name="connsiteY34" fmla="*/ 990600 h 3822033"/>
                <a:gd name="connsiteX35" fmla="*/ 133350 w 3457575"/>
                <a:gd name="connsiteY35" fmla="*/ 923925 h 3822033"/>
                <a:gd name="connsiteX36" fmla="*/ 171450 w 3457575"/>
                <a:gd name="connsiteY36" fmla="*/ 866775 h 3822033"/>
                <a:gd name="connsiteX37" fmla="*/ 228600 w 3457575"/>
                <a:gd name="connsiteY37" fmla="*/ 762000 h 3822033"/>
                <a:gd name="connsiteX38" fmla="*/ 304800 w 3457575"/>
                <a:gd name="connsiteY38" fmla="*/ 647700 h 3822033"/>
                <a:gd name="connsiteX39" fmla="*/ 552450 w 3457575"/>
                <a:gd name="connsiteY39" fmla="*/ 361950 h 3822033"/>
                <a:gd name="connsiteX40" fmla="*/ 609600 w 3457575"/>
                <a:gd name="connsiteY40" fmla="*/ 323850 h 3822033"/>
                <a:gd name="connsiteX41" fmla="*/ 666750 w 3457575"/>
                <a:gd name="connsiteY41" fmla="*/ 285750 h 3822033"/>
                <a:gd name="connsiteX42" fmla="*/ 762000 w 3457575"/>
                <a:gd name="connsiteY42" fmla="*/ 238125 h 3822033"/>
                <a:gd name="connsiteX43" fmla="*/ 800100 w 3457575"/>
                <a:gd name="connsiteY43" fmla="*/ 219075 h 3822033"/>
                <a:gd name="connsiteX44" fmla="*/ 895350 w 3457575"/>
                <a:gd name="connsiteY44" fmla="*/ 161925 h 3822033"/>
                <a:gd name="connsiteX45" fmla="*/ 962025 w 3457575"/>
                <a:gd name="connsiteY45" fmla="*/ 133350 h 3822033"/>
                <a:gd name="connsiteX46" fmla="*/ 1123950 w 3457575"/>
                <a:gd name="connsiteY46" fmla="*/ 76200 h 3822033"/>
                <a:gd name="connsiteX47" fmla="*/ 1162050 w 3457575"/>
                <a:gd name="connsiteY47" fmla="*/ 66675 h 3822033"/>
                <a:gd name="connsiteX48" fmla="*/ 1438275 w 3457575"/>
                <a:gd name="connsiteY48" fmla="*/ 0 h 3822033"/>
                <a:gd name="connsiteX49" fmla="*/ 2038350 w 3457575"/>
                <a:gd name="connsiteY49" fmla="*/ 9525 h 3822033"/>
                <a:gd name="connsiteX50" fmla="*/ 2105025 w 3457575"/>
                <a:gd name="connsiteY50" fmla="*/ 19050 h 3822033"/>
                <a:gd name="connsiteX51" fmla="*/ 2162175 w 3457575"/>
                <a:gd name="connsiteY51" fmla="*/ 47625 h 3822033"/>
                <a:gd name="connsiteX52" fmla="*/ 2228850 w 3457575"/>
                <a:gd name="connsiteY52" fmla="*/ 66675 h 3822033"/>
                <a:gd name="connsiteX53" fmla="*/ 2343150 w 3457575"/>
                <a:gd name="connsiteY53" fmla="*/ 133350 h 3822033"/>
                <a:gd name="connsiteX54" fmla="*/ 2390775 w 3457575"/>
                <a:gd name="connsiteY54" fmla="*/ 142875 h 3822033"/>
                <a:gd name="connsiteX55" fmla="*/ 2457450 w 3457575"/>
                <a:gd name="connsiteY55" fmla="*/ 171450 h 3822033"/>
                <a:gd name="connsiteX56" fmla="*/ 2486025 w 3457575"/>
                <a:gd name="connsiteY56" fmla="*/ 200025 h 3822033"/>
                <a:gd name="connsiteX57" fmla="*/ 2571750 w 3457575"/>
                <a:gd name="connsiteY57" fmla="*/ 228600 h 3822033"/>
                <a:gd name="connsiteX58" fmla="*/ 2676525 w 3457575"/>
                <a:gd name="connsiteY58" fmla="*/ 285750 h 3822033"/>
                <a:gd name="connsiteX59" fmla="*/ 2705100 w 3457575"/>
                <a:gd name="connsiteY59" fmla="*/ 304800 h 3822033"/>
                <a:gd name="connsiteX60" fmla="*/ 2733675 w 3457575"/>
                <a:gd name="connsiteY60" fmla="*/ 333375 h 3822033"/>
                <a:gd name="connsiteX61" fmla="*/ 2771775 w 3457575"/>
                <a:gd name="connsiteY61" fmla="*/ 361950 h 3822033"/>
                <a:gd name="connsiteX62" fmla="*/ 2809875 w 3457575"/>
                <a:gd name="connsiteY62" fmla="*/ 400050 h 3822033"/>
                <a:gd name="connsiteX63" fmla="*/ 2867025 w 3457575"/>
                <a:gd name="connsiteY63" fmla="*/ 438150 h 3822033"/>
                <a:gd name="connsiteX64" fmla="*/ 2905125 w 3457575"/>
                <a:gd name="connsiteY64" fmla="*/ 476250 h 3822033"/>
                <a:gd name="connsiteX65" fmla="*/ 2971800 w 3457575"/>
                <a:gd name="connsiteY65" fmla="*/ 523875 h 3822033"/>
                <a:gd name="connsiteX66" fmla="*/ 2990850 w 3457575"/>
                <a:gd name="connsiteY66" fmla="*/ 552450 h 3822033"/>
                <a:gd name="connsiteX67" fmla="*/ 3028950 w 3457575"/>
                <a:gd name="connsiteY67" fmla="*/ 590550 h 3822033"/>
                <a:gd name="connsiteX68" fmla="*/ 3048000 w 3457575"/>
                <a:gd name="connsiteY68" fmla="*/ 628650 h 3822033"/>
                <a:gd name="connsiteX69" fmla="*/ 3086100 w 3457575"/>
                <a:gd name="connsiteY69" fmla="*/ 666750 h 3822033"/>
                <a:gd name="connsiteX70" fmla="*/ 3124200 w 3457575"/>
                <a:gd name="connsiteY70" fmla="*/ 723900 h 3822033"/>
                <a:gd name="connsiteX71" fmla="*/ 3219450 w 3457575"/>
                <a:gd name="connsiteY71" fmla="*/ 838200 h 3822033"/>
                <a:gd name="connsiteX72" fmla="*/ 3238500 w 3457575"/>
                <a:gd name="connsiteY72" fmla="*/ 885825 h 3822033"/>
                <a:gd name="connsiteX73" fmla="*/ 3276600 w 3457575"/>
                <a:gd name="connsiteY73" fmla="*/ 942975 h 3822033"/>
                <a:gd name="connsiteX74" fmla="*/ 3286125 w 3457575"/>
                <a:gd name="connsiteY74" fmla="*/ 990600 h 3822033"/>
                <a:gd name="connsiteX75" fmla="*/ 3324225 w 3457575"/>
                <a:gd name="connsiteY75" fmla="*/ 1085850 h 3822033"/>
                <a:gd name="connsiteX76" fmla="*/ 3362325 w 3457575"/>
                <a:gd name="connsiteY76" fmla="*/ 1171575 h 3822033"/>
                <a:gd name="connsiteX77" fmla="*/ 3390900 w 3457575"/>
                <a:gd name="connsiteY77" fmla="*/ 1219200 h 3822033"/>
                <a:gd name="connsiteX78" fmla="*/ 3419475 w 3457575"/>
                <a:gd name="connsiteY78" fmla="*/ 1333500 h 3822033"/>
                <a:gd name="connsiteX79" fmla="*/ 3429000 w 3457575"/>
                <a:gd name="connsiteY79" fmla="*/ 1390650 h 3822033"/>
                <a:gd name="connsiteX80" fmla="*/ 3457575 w 3457575"/>
                <a:gd name="connsiteY80" fmla="*/ 1657350 h 3822033"/>
                <a:gd name="connsiteX81" fmla="*/ 3362325 w 3457575"/>
                <a:gd name="connsiteY81" fmla="*/ 2187575 h 3822033"/>
                <a:gd name="connsiteX82" fmla="*/ 3276600 w 3457575"/>
                <a:gd name="connsiteY82" fmla="*/ 2400300 h 3822033"/>
                <a:gd name="connsiteX83" fmla="*/ 3190875 w 3457575"/>
                <a:gd name="connsiteY83" fmla="*/ 2533650 h 3822033"/>
                <a:gd name="connsiteX84" fmla="*/ 3105150 w 3457575"/>
                <a:gd name="connsiteY84" fmla="*/ 2647950 h 3822033"/>
                <a:gd name="connsiteX85" fmla="*/ 3019425 w 3457575"/>
                <a:gd name="connsiteY85" fmla="*/ 2781300 h 3822033"/>
                <a:gd name="connsiteX86" fmla="*/ 2981325 w 3457575"/>
                <a:gd name="connsiteY86" fmla="*/ 2819400 h 3822033"/>
                <a:gd name="connsiteX87" fmla="*/ 2943225 w 3457575"/>
                <a:gd name="connsiteY87" fmla="*/ 2876550 h 3822033"/>
                <a:gd name="connsiteX88" fmla="*/ 2857500 w 3457575"/>
                <a:gd name="connsiteY88" fmla="*/ 2933700 h 3822033"/>
                <a:gd name="connsiteX89" fmla="*/ 2809875 w 3457575"/>
                <a:gd name="connsiteY89" fmla="*/ 2971800 h 3822033"/>
                <a:gd name="connsiteX90" fmla="*/ 2705100 w 3457575"/>
                <a:gd name="connsiteY90" fmla="*/ 3038475 h 3822033"/>
                <a:gd name="connsiteX91" fmla="*/ 2609850 w 3457575"/>
                <a:gd name="connsiteY91" fmla="*/ 3105150 h 3822033"/>
                <a:gd name="connsiteX92" fmla="*/ 2562225 w 3457575"/>
                <a:gd name="connsiteY92" fmla="*/ 3143250 h 3822033"/>
                <a:gd name="connsiteX93" fmla="*/ 2495550 w 3457575"/>
                <a:gd name="connsiteY93" fmla="*/ 3162300 h 3822033"/>
                <a:gd name="connsiteX94" fmla="*/ 2362200 w 3457575"/>
                <a:gd name="connsiteY94" fmla="*/ 3219450 h 3822033"/>
                <a:gd name="connsiteX95" fmla="*/ 2257425 w 3457575"/>
                <a:gd name="connsiteY95" fmla="*/ 3257550 h 3822033"/>
                <a:gd name="connsiteX96" fmla="*/ 2181225 w 3457575"/>
                <a:gd name="connsiteY96" fmla="*/ 3276600 h 3822033"/>
                <a:gd name="connsiteX97" fmla="*/ 2057400 w 3457575"/>
                <a:gd name="connsiteY97" fmla="*/ 3362325 h 3822033"/>
                <a:gd name="connsiteX98" fmla="*/ 2009775 w 3457575"/>
                <a:gd name="connsiteY98" fmla="*/ 3400425 h 3822033"/>
                <a:gd name="connsiteX99" fmla="*/ 1962150 w 3457575"/>
                <a:gd name="connsiteY99" fmla="*/ 3429000 h 3822033"/>
                <a:gd name="connsiteX100" fmla="*/ 1905000 w 3457575"/>
                <a:gd name="connsiteY100" fmla="*/ 3495675 h 3822033"/>
                <a:gd name="connsiteX101" fmla="*/ 1819275 w 3457575"/>
                <a:gd name="connsiteY101" fmla="*/ 3609975 h 3822033"/>
                <a:gd name="connsiteX102" fmla="*/ 1800225 w 3457575"/>
                <a:gd name="connsiteY102" fmla="*/ 3638550 h 3822033"/>
                <a:gd name="connsiteX103" fmla="*/ 1790700 w 3457575"/>
                <a:gd name="connsiteY103" fmla="*/ 3667125 h 3822033"/>
                <a:gd name="connsiteX104" fmla="*/ 1771650 w 3457575"/>
                <a:gd name="connsiteY104" fmla="*/ 3695700 h 3822033"/>
                <a:gd name="connsiteX105" fmla="*/ 1752600 w 3457575"/>
                <a:gd name="connsiteY105" fmla="*/ 3733800 h 3822033"/>
                <a:gd name="connsiteX106" fmla="*/ 1714500 w 3457575"/>
                <a:gd name="connsiteY106" fmla="*/ 3810000 h 3822033"/>
                <a:gd name="connsiteX107" fmla="*/ 1704975 w 3457575"/>
                <a:gd name="connsiteY107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95250 w 3457575"/>
                <a:gd name="connsiteY24" fmla="*/ 2028825 h 3822033"/>
                <a:gd name="connsiteX25" fmla="*/ 57150 w 3457575"/>
                <a:gd name="connsiteY25" fmla="*/ 1933575 h 3822033"/>
                <a:gd name="connsiteX26" fmla="*/ 28575 w 3457575"/>
                <a:gd name="connsiteY26" fmla="*/ 1819275 h 3822033"/>
                <a:gd name="connsiteX27" fmla="*/ 9525 w 3457575"/>
                <a:gd name="connsiteY27" fmla="*/ 1657350 h 3822033"/>
                <a:gd name="connsiteX28" fmla="*/ 0 w 3457575"/>
                <a:gd name="connsiteY28" fmla="*/ 1609725 h 3822033"/>
                <a:gd name="connsiteX29" fmla="*/ 9525 w 3457575"/>
                <a:gd name="connsiteY29" fmla="*/ 1428750 h 3822033"/>
                <a:gd name="connsiteX30" fmla="*/ 28575 w 3457575"/>
                <a:gd name="connsiteY30" fmla="*/ 1304925 h 3822033"/>
                <a:gd name="connsiteX31" fmla="*/ 38100 w 3457575"/>
                <a:gd name="connsiteY31" fmla="*/ 1247775 h 3822033"/>
                <a:gd name="connsiteX32" fmla="*/ 76200 w 3457575"/>
                <a:gd name="connsiteY32" fmla="*/ 1152525 h 3822033"/>
                <a:gd name="connsiteX33" fmla="*/ 114300 w 3457575"/>
                <a:gd name="connsiteY33" fmla="*/ 990600 h 3822033"/>
                <a:gd name="connsiteX34" fmla="*/ 133350 w 3457575"/>
                <a:gd name="connsiteY34" fmla="*/ 923925 h 3822033"/>
                <a:gd name="connsiteX35" fmla="*/ 171450 w 3457575"/>
                <a:gd name="connsiteY35" fmla="*/ 866775 h 3822033"/>
                <a:gd name="connsiteX36" fmla="*/ 228600 w 3457575"/>
                <a:gd name="connsiteY36" fmla="*/ 762000 h 3822033"/>
                <a:gd name="connsiteX37" fmla="*/ 304800 w 3457575"/>
                <a:gd name="connsiteY37" fmla="*/ 647700 h 3822033"/>
                <a:gd name="connsiteX38" fmla="*/ 552450 w 3457575"/>
                <a:gd name="connsiteY38" fmla="*/ 361950 h 3822033"/>
                <a:gd name="connsiteX39" fmla="*/ 609600 w 3457575"/>
                <a:gd name="connsiteY39" fmla="*/ 323850 h 3822033"/>
                <a:gd name="connsiteX40" fmla="*/ 666750 w 3457575"/>
                <a:gd name="connsiteY40" fmla="*/ 285750 h 3822033"/>
                <a:gd name="connsiteX41" fmla="*/ 762000 w 3457575"/>
                <a:gd name="connsiteY41" fmla="*/ 238125 h 3822033"/>
                <a:gd name="connsiteX42" fmla="*/ 800100 w 3457575"/>
                <a:gd name="connsiteY42" fmla="*/ 219075 h 3822033"/>
                <a:gd name="connsiteX43" fmla="*/ 895350 w 3457575"/>
                <a:gd name="connsiteY43" fmla="*/ 161925 h 3822033"/>
                <a:gd name="connsiteX44" fmla="*/ 962025 w 3457575"/>
                <a:gd name="connsiteY44" fmla="*/ 133350 h 3822033"/>
                <a:gd name="connsiteX45" fmla="*/ 1123950 w 3457575"/>
                <a:gd name="connsiteY45" fmla="*/ 76200 h 3822033"/>
                <a:gd name="connsiteX46" fmla="*/ 1162050 w 3457575"/>
                <a:gd name="connsiteY46" fmla="*/ 66675 h 3822033"/>
                <a:gd name="connsiteX47" fmla="*/ 1438275 w 3457575"/>
                <a:gd name="connsiteY47" fmla="*/ 0 h 3822033"/>
                <a:gd name="connsiteX48" fmla="*/ 2038350 w 3457575"/>
                <a:gd name="connsiteY48" fmla="*/ 9525 h 3822033"/>
                <a:gd name="connsiteX49" fmla="*/ 2105025 w 3457575"/>
                <a:gd name="connsiteY49" fmla="*/ 19050 h 3822033"/>
                <a:gd name="connsiteX50" fmla="*/ 2162175 w 3457575"/>
                <a:gd name="connsiteY50" fmla="*/ 47625 h 3822033"/>
                <a:gd name="connsiteX51" fmla="*/ 2228850 w 3457575"/>
                <a:gd name="connsiteY51" fmla="*/ 66675 h 3822033"/>
                <a:gd name="connsiteX52" fmla="*/ 2343150 w 3457575"/>
                <a:gd name="connsiteY52" fmla="*/ 133350 h 3822033"/>
                <a:gd name="connsiteX53" fmla="*/ 2390775 w 3457575"/>
                <a:gd name="connsiteY53" fmla="*/ 142875 h 3822033"/>
                <a:gd name="connsiteX54" fmla="*/ 2457450 w 3457575"/>
                <a:gd name="connsiteY54" fmla="*/ 171450 h 3822033"/>
                <a:gd name="connsiteX55" fmla="*/ 2486025 w 3457575"/>
                <a:gd name="connsiteY55" fmla="*/ 200025 h 3822033"/>
                <a:gd name="connsiteX56" fmla="*/ 2571750 w 3457575"/>
                <a:gd name="connsiteY56" fmla="*/ 228600 h 3822033"/>
                <a:gd name="connsiteX57" fmla="*/ 2676525 w 3457575"/>
                <a:gd name="connsiteY57" fmla="*/ 285750 h 3822033"/>
                <a:gd name="connsiteX58" fmla="*/ 2705100 w 3457575"/>
                <a:gd name="connsiteY58" fmla="*/ 304800 h 3822033"/>
                <a:gd name="connsiteX59" fmla="*/ 2733675 w 3457575"/>
                <a:gd name="connsiteY59" fmla="*/ 333375 h 3822033"/>
                <a:gd name="connsiteX60" fmla="*/ 2771775 w 3457575"/>
                <a:gd name="connsiteY60" fmla="*/ 361950 h 3822033"/>
                <a:gd name="connsiteX61" fmla="*/ 2809875 w 3457575"/>
                <a:gd name="connsiteY61" fmla="*/ 400050 h 3822033"/>
                <a:gd name="connsiteX62" fmla="*/ 2867025 w 3457575"/>
                <a:gd name="connsiteY62" fmla="*/ 438150 h 3822033"/>
                <a:gd name="connsiteX63" fmla="*/ 2905125 w 3457575"/>
                <a:gd name="connsiteY63" fmla="*/ 476250 h 3822033"/>
                <a:gd name="connsiteX64" fmla="*/ 2971800 w 3457575"/>
                <a:gd name="connsiteY64" fmla="*/ 523875 h 3822033"/>
                <a:gd name="connsiteX65" fmla="*/ 2990850 w 3457575"/>
                <a:gd name="connsiteY65" fmla="*/ 552450 h 3822033"/>
                <a:gd name="connsiteX66" fmla="*/ 3028950 w 3457575"/>
                <a:gd name="connsiteY66" fmla="*/ 590550 h 3822033"/>
                <a:gd name="connsiteX67" fmla="*/ 3048000 w 3457575"/>
                <a:gd name="connsiteY67" fmla="*/ 628650 h 3822033"/>
                <a:gd name="connsiteX68" fmla="*/ 3086100 w 3457575"/>
                <a:gd name="connsiteY68" fmla="*/ 666750 h 3822033"/>
                <a:gd name="connsiteX69" fmla="*/ 3124200 w 3457575"/>
                <a:gd name="connsiteY69" fmla="*/ 723900 h 3822033"/>
                <a:gd name="connsiteX70" fmla="*/ 3219450 w 3457575"/>
                <a:gd name="connsiteY70" fmla="*/ 838200 h 3822033"/>
                <a:gd name="connsiteX71" fmla="*/ 3238500 w 3457575"/>
                <a:gd name="connsiteY71" fmla="*/ 885825 h 3822033"/>
                <a:gd name="connsiteX72" fmla="*/ 3276600 w 3457575"/>
                <a:gd name="connsiteY72" fmla="*/ 942975 h 3822033"/>
                <a:gd name="connsiteX73" fmla="*/ 3286125 w 3457575"/>
                <a:gd name="connsiteY73" fmla="*/ 990600 h 3822033"/>
                <a:gd name="connsiteX74" fmla="*/ 3324225 w 3457575"/>
                <a:gd name="connsiteY74" fmla="*/ 1085850 h 3822033"/>
                <a:gd name="connsiteX75" fmla="*/ 3362325 w 3457575"/>
                <a:gd name="connsiteY75" fmla="*/ 1171575 h 3822033"/>
                <a:gd name="connsiteX76" fmla="*/ 3390900 w 3457575"/>
                <a:gd name="connsiteY76" fmla="*/ 1219200 h 3822033"/>
                <a:gd name="connsiteX77" fmla="*/ 3419475 w 3457575"/>
                <a:gd name="connsiteY77" fmla="*/ 1333500 h 3822033"/>
                <a:gd name="connsiteX78" fmla="*/ 3429000 w 3457575"/>
                <a:gd name="connsiteY78" fmla="*/ 1390650 h 3822033"/>
                <a:gd name="connsiteX79" fmla="*/ 3457575 w 3457575"/>
                <a:gd name="connsiteY79" fmla="*/ 1657350 h 3822033"/>
                <a:gd name="connsiteX80" fmla="*/ 3362325 w 3457575"/>
                <a:gd name="connsiteY80" fmla="*/ 2187575 h 3822033"/>
                <a:gd name="connsiteX81" fmla="*/ 3276600 w 3457575"/>
                <a:gd name="connsiteY81" fmla="*/ 2400300 h 3822033"/>
                <a:gd name="connsiteX82" fmla="*/ 3190875 w 3457575"/>
                <a:gd name="connsiteY82" fmla="*/ 2533650 h 3822033"/>
                <a:gd name="connsiteX83" fmla="*/ 3105150 w 3457575"/>
                <a:gd name="connsiteY83" fmla="*/ 2647950 h 3822033"/>
                <a:gd name="connsiteX84" fmla="*/ 3019425 w 3457575"/>
                <a:gd name="connsiteY84" fmla="*/ 2781300 h 3822033"/>
                <a:gd name="connsiteX85" fmla="*/ 2981325 w 3457575"/>
                <a:gd name="connsiteY85" fmla="*/ 2819400 h 3822033"/>
                <a:gd name="connsiteX86" fmla="*/ 2943225 w 3457575"/>
                <a:gd name="connsiteY86" fmla="*/ 2876550 h 3822033"/>
                <a:gd name="connsiteX87" fmla="*/ 2857500 w 3457575"/>
                <a:gd name="connsiteY87" fmla="*/ 2933700 h 3822033"/>
                <a:gd name="connsiteX88" fmla="*/ 2809875 w 3457575"/>
                <a:gd name="connsiteY88" fmla="*/ 2971800 h 3822033"/>
                <a:gd name="connsiteX89" fmla="*/ 2705100 w 3457575"/>
                <a:gd name="connsiteY89" fmla="*/ 3038475 h 3822033"/>
                <a:gd name="connsiteX90" fmla="*/ 2609850 w 3457575"/>
                <a:gd name="connsiteY90" fmla="*/ 3105150 h 3822033"/>
                <a:gd name="connsiteX91" fmla="*/ 2562225 w 3457575"/>
                <a:gd name="connsiteY91" fmla="*/ 3143250 h 3822033"/>
                <a:gd name="connsiteX92" fmla="*/ 2495550 w 3457575"/>
                <a:gd name="connsiteY92" fmla="*/ 3162300 h 3822033"/>
                <a:gd name="connsiteX93" fmla="*/ 2362200 w 3457575"/>
                <a:gd name="connsiteY93" fmla="*/ 3219450 h 3822033"/>
                <a:gd name="connsiteX94" fmla="*/ 2257425 w 3457575"/>
                <a:gd name="connsiteY94" fmla="*/ 3257550 h 3822033"/>
                <a:gd name="connsiteX95" fmla="*/ 2181225 w 3457575"/>
                <a:gd name="connsiteY95" fmla="*/ 3276600 h 3822033"/>
                <a:gd name="connsiteX96" fmla="*/ 2057400 w 3457575"/>
                <a:gd name="connsiteY96" fmla="*/ 3362325 h 3822033"/>
                <a:gd name="connsiteX97" fmla="*/ 2009775 w 3457575"/>
                <a:gd name="connsiteY97" fmla="*/ 3400425 h 3822033"/>
                <a:gd name="connsiteX98" fmla="*/ 1962150 w 3457575"/>
                <a:gd name="connsiteY98" fmla="*/ 3429000 h 3822033"/>
                <a:gd name="connsiteX99" fmla="*/ 1905000 w 3457575"/>
                <a:gd name="connsiteY99" fmla="*/ 3495675 h 3822033"/>
                <a:gd name="connsiteX100" fmla="*/ 1819275 w 3457575"/>
                <a:gd name="connsiteY100" fmla="*/ 3609975 h 3822033"/>
                <a:gd name="connsiteX101" fmla="*/ 1800225 w 3457575"/>
                <a:gd name="connsiteY101" fmla="*/ 3638550 h 3822033"/>
                <a:gd name="connsiteX102" fmla="*/ 1790700 w 3457575"/>
                <a:gd name="connsiteY102" fmla="*/ 3667125 h 3822033"/>
                <a:gd name="connsiteX103" fmla="*/ 1771650 w 3457575"/>
                <a:gd name="connsiteY103" fmla="*/ 3695700 h 3822033"/>
                <a:gd name="connsiteX104" fmla="*/ 1752600 w 3457575"/>
                <a:gd name="connsiteY104" fmla="*/ 3733800 h 3822033"/>
                <a:gd name="connsiteX105" fmla="*/ 1714500 w 3457575"/>
                <a:gd name="connsiteY105" fmla="*/ 3810000 h 3822033"/>
                <a:gd name="connsiteX106" fmla="*/ 1704975 w 3457575"/>
                <a:gd name="connsiteY106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57150 w 3457575"/>
                <a:gd name="connsiteY24" fmla="*/ 19335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42875 w 3457575"/>
                <a:gd name="connsiteY22" fmla="*/ 2190750 h 3822033"/>
                <a:gd name="connsiteX23" fmla="*/ 123825 w 3457575"/>
                <a:gd name="connsiteY23" fmla="*/ 2143125 h 3822033"/>
                <a:gd name="connsiteX24" fmla="*/ 38100 w 3457575"/>
                <a:gd name="connsiteY24" fmla="*/ 1958975 h 3822033"/>
                <a:gd name="connsiteX25" fmla="*/ 28575 w 3457575"/>
                <a:gd name="connsiteY25" fmla="*/ 1819275 h 3822033"/>
                <a:gd name="connsiteX26" fmla="*/ 9525 w 3457575"/>
                <a:gd name="connsiteY26" fmla="*/ 1657350 h 3822033"/>
                <a:gd name="connsiteX27" fmla="*/ 0 w 3457575"/>
                <a:gd name="connsiteY27" fmla="*/ 1609725 h 3822033"/>
                <a:gd name="connsiteX28" fmla="*/ 9525 w 3457575"/>
                <a:gd name="connsiteY28" fmla="*/ 1428750 h 3822033"/>
                <a:gd name="connsiteX29" fmla="*/ 28575 w 3457575"/>
                <a:gd name="connsiteY29" fmla="*/ 1304925 h 3822033"/>
                <a:gd name="connsiteX30" fmla="*/ 38100 w 3457575"/>
                <a:gd name="connsiteY30" fmla="*/ 1247775 h 3822033"/>
                <a:gd name="connsiteX31" fmla="*/ 76200 w 3457575"/>
                <a:gd name="connsiteY31" fmla="*/ 1152525 h 3822033"/>
                <a:gd name="connsiteX32" fmla="*/ 114300 w 3457575"/>
                <a:gd name="connsiteY32" fmla="*/ 990600 h 3822033"/>
                <a:gd name="connsiteX33" fmla="*/ 133350 w 3457575"/>
                <a:gd name="connsiteY33" fmla="*/ 923925 h 3822033"/>
                <a:gd name="connsiteX34" fmla="*/ 171450 w 3457575"/>
                <a:gd name="connsiteY34" fmla="*/ 866775 h 3822033"/>
                <a:gd name="connsiteX35" fmla="*/ 228600 w 3457575"/>
                <a:gd name="connsiteY35" fmla="*/ 762000 h 3822033"/>
                <a:gd name="connsiteX36" fmla="*/ 304800 w 3457575"/>
                <a:gd name="connsiteY36" fmla="*/ 647700 h 3822033"/>
                <a:gd name="connsiteX37" fmla="*/ 552450 w 3457575"/>
                <a:gd name="connsiteY37" fmla="*/ 361950 h 3822033"/>
                <a:gd name="connsiteX38" fmla="*/ 609600 w 3457575"/>
                <a:gd name="connsiteY38" fmla="*/ 323850 h 3822033"/>
                <a:gd name="connsiteX39" fmla="*/ 666750 w 3457575"/>
                <a:gd name="connsiteY39" fmla="*/ 285750 h 3822033"/>
                <a:gd name="connsiteX40" fmla="*/ 762000 w 3457575"/>
                <a:gd name="connsiteY40" fmla="*/ 238125 h 3822033"/>
                <a:gd name="connsiteX41" fmla="*/ 800100 w 3457575"/>
                <a:gd name="connsiteY41" fmla="*/ 219075 h 3822033"/>
                <a:gd name="connsiteX42" fmla="*/ 895350 w 3457575"/>
                <a:gd name="connsiteY42" fmla="*/ 161925 h 3822033"/>
                <a:gd name="connsiteX43" fmla="*/ 962025 w 3457575"/>
                <a:gd name="connsiteY43" fmla="*/ 133350 h 3822033"/>
                <a:gd name="connsiteX44" fmla="*/ 1123950 w 3457575"/>
                <a:gd name="connsiteY44" fmla="*/ 76200 h 3822033"/>
                <a:gd name="connsiteX45" fmla="*/ 1162050 w 3457575"/>
                <a:gd name="connsiteY45" fmla="*/ 66675 h 3822033"/>
                <a:gd name="connsiteX46" fmla="*/ 1438275 w 3457575"/>
                <a:gd name="connsiteY46" fmla="*/ 0 h 3822033"/>
                <a:gd name="connsiteX47" fmla="*/ 2038350 w 3457575"/>
                <a:gd name="connsiteY47" fmla="*/ 9525 h 3822033"/>
                <a:gd name="connsiteX48" fmla="*/ 2105025 w 3457575"/>
                <a:gd name="connsiteY48" fmla="*/ 19050 h 3822033"/>
                <a:gd name="connsiteX49" fmla="*/ 2162175 w 3457575"/>
                <a:gd name="connsiteY49" fmla="*/ 47625 h 3822033"/>
                <a:gd name="connsiteX50" fmla="*/ 2228850 w 3457575"/>
                <a:gd name="connsiteY50" fmla="*/ 66675 h 3822033"/>
                <a:gd name="connsiteX51" fmla="*/ 2343150 w 3457575"/>
                <a:gd name="connsiteY51" fmla="*/ 133350 h 3822033"/>
                <a:gd name="connsiteX52" fmla="*/ 2390775 w 3457575"/>
                <a:gd name="connsiteY52" fmla="*/ 142875 h 3822033"/>
                <a:gd name="connsiteX53" fmla="*/ 2457450 w 3457575"/>
                <a:gd name="connsiteY53" fmla="*/ 171450 h 3822033"/>
                <a:gd name="connsiteX54" fmla="*/ 2486025 w 3457575"/>
                <a:gd name="connsiteY54" fmla="*/ 200025 h 3822033"/>
                <a:gd name="connsiteX55" fmla="*/ 2571750 w 3457575"/>
                <a:gd name="connsiteY55" fmla="*/ 228600 h 3822033"/>
                <a:gd name="connsiteX56" fmla="*/ 2676525 w 3457575"/>
                <a:gd name="connsiteY56" fmla="*/ 285750 h 3822033"/>
                <a:gd name="connsiteX57" fmla="*/ 2705100 w 3457575"/>
                <a:gd name="connsiteY57" fmla="*/ 304800 h 3822033"/>
                <a:gd name="connsiteX58" fmla="*/ 2733675 w 3457575"/>
                <a:gd name="connsiteY58" fmla="*/ 333375 h 3822033"/>
                <a:gd name="connsiteX59" fmla="*/ 2771775 w 3457575"/>
                <a:gd name="connsiteY59" fmla="*/ 361950 h 3822033"/>
                <a:gd name="connsiteX60" fmla="*/ 2809875 w 3457575"/>
                <a:gd name="connsiteY60" fmla="*/ 400050 h 3822033"/>
                <a:gd name="connsiteX61" fmla="*/ 2867025 w 3457575"/>
                <a:gd name="connsiteY61" fmla="*/ 438150 h 3822033"/>
                <a:gd name="connsiteX62" fmla="*/ 2905125 w 3457575"/>
                <a:gd name="connsiteY62" fmla="*/ 476250 h 3822033"/>
                <a:gd name="connsiteX63" fmla="*/ 2971800 w 3457575"/>
                <a:gd name="connsiteY63" fmla="*/ 523875 h 3822033"/>
                <a:gd name="connsiteX64" fmla="*/ 2990850 w 3457575"/>
                <a:gd name="connsiteY64" fmla="*/ 552450 h 3822033"/>
                <a:gd name="connsiteX65" fmla="*/ 3028950 w 3457575"/>
                <a:gd name="connsiteY65" fmla="*/ 590550 h 3822033"/>
                <a:gd name="connsiteX66" fmla="*/ 3048000 w 3457575"/>
                <a:gd name="connsiteY66" fmla="*/ 628650 h 3822033"/>
                <a:gd name="connsiteX67" fmla="*/ 3086100 w 3457575"/>
                <a:gd name="connsiteY67" fmla="*/ 666750 h 3822033"/>
                <a:gd name="connsiteX68" fmla="*/ 3124200 w 3457575"/>
                <a:gd name="connsiteY68" fmla="*/ 723900 h 3822033"/>
                <a:gd name="connsiteX69" fmla="*/ 3219450 w 3457575"/>
                <a:gd name="connsiteY69" fmla="*/ 838200 h 3822033"/>
                <a:gd name="connsiteX70" fmla="*/ 3238500 w 3457575"/>
                <a:gd name="connsiteY70" fmla="*/ 885825 h 3822033"/>
                <a:gd name="connsiteX71" fmla="*/ 3276600 w 3457575"/>
                <a:gd name="connsiteY71" fmla="*/ 942975 h 3822033"/>
                <a:gd name="connsiteX72" fmla="*/ 3286125 w 3457575"/>
                <a:gd name="connsiteY72" fmla="*/ 990600 h 3822033"/>
                <a:gd name="connsiteX73" fmla="*/ 3324225 w 3457575"/>
                <a:gd name="connsiteY73" fmla="*/ 1085850 h 3822033"/>
                <a:gd name="connsiteX74" fmla="*/ 3362325 w 3457575"/>
                <a:gd name="connsiteY74" fmla="*/ 1171575 h 3822033"/>
                <a:gd name="connsiteX75" fmla="*/ 3390900 w 3457575"/>
                <a:gd name="connsiteY75" fmla="*/ 1219200 h 3822033"/>
                <a:gd name="connsiteX76" fmla="*/ 3419475 w 3457575"/>
                <a:gd name="connsiteY76" fmla="*/ 1333500 h 3822033"/>
                <a:gd name="connsiteX77" fmla="*/ 3429000 w 3457575"/>
                <a:gd name="connsiteY77" fmla="*/ 1390650 h 3822033"/>
                <a:gd name="connsiteX78" fmla="*/ 3457575 w 3457575"/>
                <a:gd name="connsiteY78" fmla="*/ 1657350 h 3822033"/>
                <a:gd name="connsiteX79" fmla="*/ 3362325 w 3457575"/>
                <a:gd name="connsiteY79" fmla="*/ 2187575 h 3822033"/>
                <a:gd name="connsiteX80" fmla="*/ 3276600 w 3457575"/>
                <a:gd name="connsiteY80" fmla="*/ 2400300 h 3822033"/>
                <a:gd name="connsiteX81" fmla="*/ 3190875 w 3457575"/>
                <a:gd name="connsiteY81" fmla="*/ 2533650 h 3822033"/>
                <a:gd name="connsiteX82" fmla="*/ 3105150 w 3457575"/>
                <a:gd name="connsiteY82" fmla="*/ 2647950 h 3822033"/>
                <a:gd name="connsiteX83" fmla="*/ 3019425 w 3457575"/>
                <a:gd name="connsiteY83" fmla="*/ 2781300 h 3822033"/>
                <a:gd name="connsiteX84" fmla="*/ 2981325 w 3457575"/>
                <a:gd name="connsiteY84" fmla="*/ 2819400 h 3822033"/>
                <a:gd name="connsiteX85" fmla="*/ 2943225 w 3457575"/>
                <a:gd name="connsiteY85" fmla="*/ 2876550 h 3822033"/>
                <a:gd name="connsiteX86" fmla="*/ 2857500 w 3457575"/>
                <a:gd name="connsiteY86" fmla="*/ 2933700 h 3822033"/>
                <a:gd name="connsiteX87" fmla="*/ 2809875 w 3457575"/>
                <a:gd name="connsiteY87" fmla="*/ 2971800 h 3822033"/>
                <a:gd name="connsiteX88" fmla="*/ 2705100 w 3457575"/>
                <a:gd name="connsiteY88" fmla="*/ 3038475 h 3822033"/>
                <a:gd name="connsiteX89" fmla="*/ 2609850 w 3457575"/>
                <a:gd name="connsiteY89" fmla="*/ 3105150 h 3822033"/>
                <a:gd name="connsiteX90" fmla="*/ 2562225 w 3457575"/>
                <a:gd name="connsiteY90" fmla="*/ 3143250 h 3822033"/>
                <a:gd name="connsiteX91" fmla="*/ 2495550 w 3457575"/>
                <a:gd name="connsiteY91" fmla="*/ 3162300 h 3822033"/>
                <a:gd name="connsiteX92" fmla="*/ 2362200 w 3457575"/>
                <a:gd name="connsiteY92" fmla="*/ 3219450 h 3822033"/>
                <a:gd name="connsiteX93" fmla="*/ 2257425 w 3457575"/>
                <a:gd name="connsiteY93" fmla="*/ 3257550 h 3822033"/>
                <a:gd name="connsiteX94" fmla="*/ 2181225 w 3457575"/>
                <a:gd name="connsiteY94" fmla="*/ 3276600 h 3822033"/>
                <a:gd name="connsiteX95" fmla="*/ 2057400 w 3457575"/>
                <a:gd name="connsiteY95" fmla="*/ 3362325 h 3822033"/>
                <a:gd name="connsiteX96" fmla="*/ 2009775 w 3457575"/>
                <a:gd name="connsiteY96" fmla="*/ 3400425 h 3822033"/>
                <a:gd name="connsiteX97" fmla="*/ 1962150 w 3457575"/>
                <a:gd name="connsiteY97" fmla="*/ 3429000 h 3822033"/>
                <a:gd name="connsiteX98" fmla="*/ 1905000 w 3457575"/>
                <a:gd name="connsiteY98" fmla="*/ 3495675 h 3822033"/>
                <a:gd name="connsiteX99" fmla="*/ 1819275 w 3457575"/>
                <a:gd name="connsiteY99" fmla="*/ 3609975 h 3822033"/>
                <a:gd name="connsiteX100" fmla="*/ 1800225 w 3457575"/>
                <a:gd name="connsiteY100" fmla="*/ 3638550 h 3822033"/>
                <a:gd name="connsiteX101" fmla="*/ 1790700 w 3457575"/>
                <a:gd name="connsiteY101" fmla="*/ 3667125 h 3822033"/>
                <a:gd name="connsiteX102" fmla="*/ 1771650 w 3457575"/>
                <a:gd name="connsiteY102" fmla="*/ 3695700 h 3822033"/>
                <a:gd name="connsiteX103" fmla="*/ 1752600 w 3457575"/>
                <a:gd name="connsiteY103" fmla="*/ 3733800 h 3822033"/>
                <a:gd name="connsiteX104" fmla="*/ 1714500 w 3457575"/>
                <a:gd name="connsiteY104" fmla="*/ 3810000 h 3822033"/>
                <a:gd name="connsiteX105" fmla="*/ 1704975 w 3457575"/>
                <a:gd name="connsiteY105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123825 w 3457575"/>
                <a:gd name="connsiteY22" fmla="*/ 2143125 h 3822033"/>
                <a:gd name="connsiteX23" fmla="*/ 38100 w 3457575"/>
                <a:gd name="connsiteY23" fmla="*/ 1958975 h 3822033"/>
                <a:gd name="connsiteX24" fmla="*/ 28575 w 3457575"/>
                <a:gd name="connsiteY24" fmla="*/ 1819275 h 3822033"/>
                <a:gd name="connsiteX25" fmla="*/ 9525 w 3457575"/>
                <a:gd name="connsiteY25" fmla="*/ 1657350 h 3822033"/>
                <a:gd name="connsiteX26" fmla="*/ 0 w 3457575"/>
                <a:gd name="connsiteY26" fmla="*/ 1609725 h 3822033"/>
                <a:gd name="connsiteX27" fmla="*/ 9525 w 3457575"/>
                <a:gd name="connsiteY27" fmla="*/ 1428750 h 3822033"/>
                <a:gd name="connsiteX28" fmla="*/ 28575 w 3457575"/>
                <a:gd name="connsiteY28" fmla="*/ 1304925 h 3822033"/>
                <a:gd name="connsiteX29" fmla="*/ 38100 w 3457575"/>
                <a:gd name="connsiteY29" fmla="*/ 1247775 h 3822033"/>
                <a:gd name="connsiteX30" fmla="*/ 76200 w 3457575"/>
                <a:gd name="connsiteY30" fmla="*/ 1152525 h 3822033"/>
                <a:gd name="connsiteX31" fmla="*/ 114300 w 3457575"/>
                <a:gd name="connsiteY31" fmla="*/ 990600 h 3822033"/>
                <a:gd name="connsiteX32" fmla="*/ 133350 w 3457575"/>
                <a:gd name="connsiteY32" fmla="*/ 923925 h 3822033"/>
                <a:gd name="connsiteX33" fmla="*/ 171450 w 3457575"/>
                <a:gd name="connsiteY33" fmla="*/ 866775 h 3822033"/>
                <a:gd name="connsiteX34" fmla="*/ 228600 w 3457575"/>
                <a:gd name="connsiteY34" fmla="*/ 762000 h 3822033"/>
                <a:gd name="connsiteX35" fmla="*/ 304800 w 3457575"/>
                <a:gd name="connsiteY35" fmla="*/ 647700 h 3822033"/>
                <a:gd name="connsiteX36" fmla="*/ 552450 w 3457575"/>
                <a:gd name="connsiteY36" fmla="*/ 361950 h 3822033"/>
                <a:gd name="connsiteX37" fmla="*/ 609600 w 3457575"/>
                <a:gd name="connsiteY37" fmla="*/ 323850 h 3822033"/>
                <a:gd name="connsiteX38" fmla="*/ 666750 w 3457575"/>
                <a:gd name="connsiteY38" fmla="*/ 285750 h 3822033"/>
                <a:gd name="connsiteX39" fmla="*/ 762000 w 3457575"/>
                <a:gd name="connsiteY39" fmla="*/ 238125 h 3822033"/>
                <a:gd name="connsiteX40" fmla="*/ 800100 w 3457575"/>
                <a:gd name="connsiteY40" fmla="*/ 219075 h 3822033"/>
                <a:gd name="connsiteX41" fmla="*/ 895350 w 3457575"/>
                <a:gd name="connsiteY41" fmla="*/ 161925 h 3822033"/>
                <a:gd name="connsiteX42" fmla="*/ 962025 w 3457575"/>
                <a:gd name="connsiteY42" fmla="*/ 133350 h 3822033"/>
                <a:gd name="connsiteX43" fmla="*/ 1123950 w 3457575"/>
                <a:gd name="connsiteY43" fmla="*/ 76200 h 3822033"/>
                <a:gd name="connsiteX44" fmla="*/ 1162050 w 3457575"/>
                <a:gd name="connsiteY44" fmla="*/ 66675 h 3822033"/>
                <a:gd name="connsiteX45" fmla="*/ 1438275 w 3457575"/>
                <a:gd name="connsiteY45" fmla="*/ 0 h 3822033"/>
                <a:gd name="connsiteX46" fmla="*/ 2038350 w 3457575"/>
                <a:gd name="connsiteY46" fmla="*/ 9525 h 3822033"/>
                <a:gd name="connsiteX47" fmla="*/ 2105025 w 3457575"/>
                <a:gd name="connsiteY47" fmla="*/ 19050 h 3822033"/>
                <a:gd name="connsiteX48" fmla="*/ 2162175 w 3457575"/>
                <a:gd name="connsiteY48" fmla="*/ 47625 h 3822033"/>
                <a:gd name="connsiteX49" fmla="*/ 2228850 w 3457575"/>
                <a:gd name="connsiteY49" fmla="*/ 66675 h 3822033"/>
                <a:gd name="connsiteX50" fmla="*/ 2343150 w 3457575"/>
                <a:gd name="connsiteY50" fmla="*/ 133350 h 3822033"/>
                <a:gd name="connsiteX51" fmla="*/ 2390775 w 3457575"/>
                <a:gd name="connsiteY51" fmla="*/ 142875 h 3822033"/>
                <a:gd name="connsiteX52" fmla="*/ 2457450 w 3457575"/>
                <a:gd name="connsiteY52" fmla="*/ 171450 h 3822033"/>
                <a:gd name="connsiteX53" fmla="*/ 2486025 w 3457575"/>
                <a:gd name="connsiteY53" fmla="*/ 200025 h 3822033"/>
                <a:gd name="connsiteX54" fmla="*/ 2571750 w 3457575"/>
                <a:gd name="connsiteY54" fmla="*/ 228600 h 3822033"/>
                <a:gd name="connsiteX55" fmla="*/ 2676525 w 3457575"/>
                <a:gd name="connsiteY55" fmla="*/ 285750 h 3822033"/>
                <a:gd name="connsiteX56" fmla="*/ 2705100 w 3457575"/>
                <a:gd name="connsiteY56" fmla="*/ 304800 h 3822033"/>
                <a:gd name="connsiteX57" fmla="*/ 2733675 w 3457575"/>
                <a:gd name="connsiteY57" fmla="*/ 333375 h 3822033"/>
                <a:gd name="connsiteX58" fmla="*/ 2771775 w 3457575"/>
                <a:gd name="connsiteY58" fmla="*/ 361950 h 3822033"/>
                <a:gd name="connsiteX59" fmla="*/ 2809875 w 3457575"/>
                <a:gd name="connsiteY59" fmla="*/ 400050 h 3822033"/>
                <a:gd name="connsiteX60" fmla="*/ 2867025 w 3457575"/>
                <a:gd name="connsiteY60" fmla="*/ 438150 h 3822033"/>
                <a:gd name="connsiteX61" fmla="*/ 2905125 w 3457575"/>
                <a:gd name="connsiteY61" fmla="*/ 476250 h 3822033"/>
                <a:gd name="connsiteX62" fmla="*/ 2971800 w 3457575"/>
                <a:gd name="connsiteY62" fmla="*/ 523875 h 3822033"/>
                <a:gd name="connsiteX63" fmla="*/ 2990850 w 3457575"/>
                <a:gd name="connsiteY63" fmla="*/ 552450 h 3822033"/>
                <a:gd name="connsiteX64" fmla="*/ 3028950 w 3457575"/>
                <a:gd name="connsiteY64" fmla="*/ 590550 h 3822033"/>
                <a:gd name="connsiteX65" fmla="*/ 3048000 w 3457575"/>
                <a:gd name="connsiteY65" fmla="*/ 628650 h 3822033"/>
                <a:gd name="connsiteX66" fmla="*/ 3086100 w 3457575"/>
                <a:gd name="connsiteY66" fmla="*/ 666750 h 3822033"/>
                <a:gd name="connsiteX67" fmla="*/ 3124200 w 3457575"/>
                <a:gd name="connsiteY67" fmla="*/ 723900 h 3822033"/>
                <a:gd name="connsiteX68" fmla="*/ 3219450 w 3457575"/>
                <a:gd name="connsiteY68" fmla="*/ 838200 h 3822033"/>
                <a:gd name="connsiteX69" fmla="*/ 3238500 w 3457575"/>
                <a:gd name="connsiteY69" fmla="*/ 885825 h 3822033"/>
                <a:gd name="connsiteX70" fmla="*/ 3276600 w 3457575"/>
                <a:gd name="connsiteY70" fmla="*/ 942975 h 3822033"/>
                <a:gd name="connsiteX71" fmla="*/ 3286125 w 3457575"/>
                <a:gd name="connsiteY71" fmla="*/ 990600 h 3822033"/>
                <a:gd name="connsiteX72" fmla="*/ 3324225 w 3457575"/>
                <a:gd name="connsiteY72" fmla="*/ 1085850 h 3822033"/>
                <a:gd name="connsiteX73" fmla="*/ 3362325 w 3457575"/>
                <a:gd name="connsiteY73" fmla="*/ 1171575 h 3822033"/>
                <a:gd name="connsiteX74" fmla="*/ 3390900 w 3457575"/>
                <a:gd name="connsiteY74" fmla="*/ 1219200 h 3822033"/>
                <a:gd name="connsiteX75" fmla="*/ 3419475 w 3457575"/>
                <a:gd name="connsiteY75" fmla="*/ 1333500 h 3822033"/>
                <a:gd name="connsiteX76" fmla="*/ 3429000 w 3457575"/>
                <a:gd name="connsiteY76" fmla="*/ 1390650 h 3822033"/>
                <a:gd name="connsiteX77" fmla="*/ 3457575 w 3457575"/>
                <a:gd name="connsiteY77" fmla="*/ 1657350 h 3822033"/>
                <a:gd name="connsiteX78" fmla="*/ 3362325 w 3457575"/>
                <a:gd name="connsiteY78" fmla="*/ 2187575 h 3822033"/>
                <a:gd name="connsiteX79" fmla="*/ 3276600 w 3457575"/>
                <a:gd name="connsiteY79" fmla="*/ 2400300 h 3822033"/>
                <a:gd name="connsiteX80" fmla="*/ 3190875 w 3457575"/>
                <a:gd name="connsiteY80" fmla="*/ 2533650 h 3822033"/>
                <a:gd name="connsiteX81" fmla="*/ 3105150 w 3457575"/>
                <a:gd name="connsiteY81" fmla="*/ 2647950 h 3822033"/>
                <a:gd name="connsiteX82" fmla="*/ 3019425 w 3457575"/>
                <a:gd name="connsiteY82" fmla="*/ 2781300 h 3822033"/>
                <a:gd name="connsiteX83" fmla="*/ 2981325 w 3457575"/>
                <a:gd name="connsiteY83" fmla="*/ 2819400 h 3822033"/>
                <a:gd name="connsiteX84" fmla="*/ 2943225 w 3457575"/>
                <a:gd name="connsiteY84" fmla="*/ 2876550 h 3822033"/>
                <a:gd name="connsiteX85" fmla="*/ 2857500 w 3457575"/>
                <a:gd name="connsiteY85" fmla="*/ 2933700 h 3822033"/>
                <a:gd name="connsiteX86" fmla="*/ 2809875 w 3457575"/>
                <a:gd name="connsiteY86" fmla="*/ 2971800 h 3822033"/>
                <a:gd name="connsiteX87" fmla="*/ 2705100 w 3457575"/>
                <a:gd name="connsiteY87" fmla="*/ 3038475 h 3822033"/>
                <a:gd name="connsiteX88" fmla="*/ 2609850 w 3457575"/>
                <a:gd name="connsiteY88" fmla="*/ 3105150 h 3822033"/>
                <a:gd name="connsiteX89" fmla="*/ 2562225 w 3457575"/>
                <a:gd name="connsiteY89" fmla="*/ 3143250 h 3822033"/>
                <a:gd name="connsiteX90" fmla="*/ 2495550 w 3457575"/>
                <a:gd name="connsiteY90" fmla="*/ 3162300 h 3822033"/>
                <a:gd name="connsiteX91" fmla="*/ 2362200 w 3457575"/>
                <a:gd name="connsiteY91" fmla="*/ 3219450 h 3822033"/>
                <a:gd name="connsiteX92" fmla="*/ 2257425 w 3457575"/>
                <a:gd name="connsiteY92" fmla="*/ 3257550 h 3822033"/>
                <a:gd name="connsiteX93" fmla="*/ 2181225 w 3457575"/>
                <a:gd name="connsiteY93" fmla="*/ 3276600 h 3822033"/>
                <a:gd name="connsiteX94" fmla="*/ 2057400 w 3457575"/>
                <a:gd name="connsiteY94" fmla="*/ 3362325 h 3822033"/>
                <a:gd name="connsiteX95" fmla="*/ 2009775 w 3457575"/>
                <a:gd name="connsiteY95" fmla="*/ 3400425 h 3822033"/>
                <a:gd name="connsiteX96" fmla="*/ 1962150 w 3457575"/>
                <a:gd name="connsiteY96" fmla="*/ 3429000 h 3822033"/>
                <a:gd name="connsiteX97" fmla="*/ 1905000 w 3457575"/>
                <a:gd name="connsiteY97" fmla="*/ 3495675 h 3822033"/>
                <a:gd name="connsiteX98" fmla="*/ 1819275 w 3457575"/>
                <a:gd name="connsiteY98" fmla="*/ 3609975 h 3822033"/>
                <a:gd name="connsiteX99" fmla="*/ 1800225 w 3457575"/>
                <a:gd name="connsiteY99" fmla="*/ 3638550 h 3822033"/>
                <a:gd name="connsiteX100" fmla="*/ 1790700 w 3457575"/>
                <a:gd name="connsiteY100" fmla="*/ 3667125 h 3822033"/>
                <a:gd name="connsiteX101" fmla="*/ 1771650 w 3457575"/>
                <a:gd name="connsiteY101" fmla="*/ 3695700 h 3822033"/>
                <a:gd name="connsiteX102" fmla="*/ 1752600 w 3457575"/>
                <a:gd name="connsiteY102" fmla="*/ 3733800 h 3822033"/>
                <a:gd name="connsiteX103" fmla="*/ 1714500 w 3457575"/>
                <a:gd name="connsiteY103" fmla="*/ 3810000 h 3822033"/>
                <a:gd name="connsiteX104" fmla="*/ 1704975 w 3457575"/>
                <a:gd name="connsiteY104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524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27000 w 3457575"/>
                <a:gd name="connsiteY21" fmla="*/ 221932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8097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200025 w 3457575"/>
                <a:gd name="connsiteY19" fmla="*/ 2371725 h 3822033"/>
                <a:gd name="connsiteX20" fmla="*/ 161925 w 3457575"/>
                <a:gd name="connsiteY20" fmla="*/ 2343150 h 3822033"/>
                <a:gd name="connsiteX21" fmla="*/ 107950 w 3457575"/>
                <a:gd name="connsiteY21" fmla="*/ 2238375 h 3822033"/>
                <a:gd name="connsiteX22" fmla="*/ 38100 w 3457575"/>
                <a:gd name="connsiteY22" fmla="*/ 1958975 h 3822033"/>
                <a:gd name="connsiteX23" fmla="*/ 28575 w 3457575"/>
                <a:gd name="connsiteY23" fmla="*/ 1819275 h 3822033"/>
                <a:gd name="connsiteX24" fmla="*/ 9525 w 3457575"/>
                <a:gd name="connsiteY24" fmla="*/ 1657350 h 3822033"/>
                <a:gd name="connsiteX25" fmla="*/ 0 w 3457575"/>
                <a:gd name="connsiteY25" fmla="*/ 1609725 h 3822033"/>
                <a:gd name="connsiteX26" fmla="*/ 9525 w 3457575"/>
                <a:gd name="connsiteY26" fmla="*/ 1428750 h 3822033"/>
                <a:gd name="connsiteX27" fmla="*/ 28575 w 3457575"/>
                <a:gd name="connsiteY27" fmla="*/ 1304925 h 3822033"/>
                <a:gd name="connsiteX28" fmla="*/ 38100 w 3457575"/>
                <a:gd name="connsiteY28" fmla="*/ 1247775 h 3822033"/>
                <a:gd name="connsiteX29" fmla="*/ 76200 w 3457575"/>
                <a:gd name="connsiteY29" fmla="*/ 1152525 h 3822033"/>
                <a:gd name="connsiteX30" fmla="*/ 114300 w 3457575"/>
                <a:gd name="connsiteY30" fmla="*/ 990600 h 3822033"/>
                <a:gd name="connsiteX31" fmla="*/ 133350 w 3457575"/>
                <a:gd name="connsiteY31" fmla="*/ 923925 h 3822033"/>
                <a:gd name="connsiteX32" fmla="*/ 171450 w 3457575"/>
                <a:gd name="connsiteY32" fmla="*/ 866775 h 3822033"/>
                <a:gd name="connsiteX33" fmla="*/ 228600 w 3457575"/>
                <a:gd name="connsiteY33" fmla="*/ 762000 h 3822033"/>
                <a:gd name="connsiteX34" fmla="*/ 304800 w 3457575"/>
                <a:gd name="connsiteY34" fmla="*/ 647700 h 3822033"/>
                <a:gd name="connsiteX35" fmla="*/ 552450 w 3457575"/>
                <a:gd name="connsiteY35" fmla="*/ 361950 h 3822033"/>
                <a:gd name="connsiteX36" fmla="*/ 609600 w 3457575"/>
                <a:gd name="connsiteY36" fmla="*/ 323850 h 3822033"/>
                <a:gd name="connsiteX37" fmla="*/ 666750 w 3457575"/>
                <a:gd name="connsiteY37" fmla="*/ 285750 h 3822033"/>
                <a:gd name="connsiteX38" fmla="*/ 762000 w 3457575"/>
                <a:gd name="connsiteY38" fmla="*/ 238125 h 3822033"/>
                <a:gd name="connsiteX39" fmla="*/ 800100 w 3457575"/>
                <a:gd name="connsiteY39" fmla="*/ 219075 h 3822033"/>
                <a:gd name="connsiteX40" fmla="*/ 895350 w 3457575"/>
                <a:gd name="connsiteY40" fmla="*/ 161925 h 3822033"/>
                <a:gd name="connsiteX41" fmla="*/ 962025 w 3457575"/>
                <a:gd name="connsiteY41" fmla="*/ 133350 h 3822033"/>
                <a:gd name="connsiteX42" fmla="*/ 1123950 w 3457575"/>
                <a:gd name="connsiteY42" fmla="*/ 76200 h 3822033"/>
                <a:gd name="connsiteX43" fmla="*/ 1162050 w 3457575"/>
                <a:gd name="connsiteY43" fmla="*/ 66675 h 3822033"/>
                <a:gd name="connsiteX44" fmla="*/ 1438275 w 3457575"/>
                <a:gd name="connsiteY44" fmla="*/ 0 h 3822033"/>
                <a:gd name="connsiteX45" fmla="*/ 2038350 w 3457575"/>
                <a:gd name="connsiteY45" fmla="*/ 9525 h 3822033"/>
                <a:gd name="connsiteX46" fmla="*/ 2105025 w 3457575"/>
                <a:gd name="connsiteY46" fmla="*/ 19050 h 3822033"/>
                <a:gd name="connsiteX47" fmla="*/ 2162175 w 3457575"/>
                <a:gd name="connsiteY47" fmla="*/ 47625 h 3822033"/>
                <a:gd name="connsiteX48" fmla="*/ 2228850 w 3457575"/>
                <a:gd name="connsiteY48" fmla="*/ 66675 h 3822033"/>
                <a:gd name="connsiteX49" fmla="*/ 2343150 w 3457575"/>
                <a:gd name="connsiteY49" fmla="*/ 133350 h 3822033"/>
                <a:gd name="connsiteX50" fmla="*/ 2390775 w 3457575"/>
                <a:gd name="connsiteY50" fmla="*/ 142875 h 3822033"/>
                <a:gd name="connsiteX51" fmla="*/ 2457450 w 3457575"/>
                <a:gd name="connsiteY51" fmla="*/ 171450 h 3822033"/>
                <a:gd name="connsiteX52" fmla="*/ 2486025 w 3457575"/>
                <a:gd name="connsiteY52" fmla="*/ 200025 h 3822033"/>
                <a:gd name="connsiteX53" fmla="*/ 2571750 w 3457575"/>
                <a:gd name="connsiteY53" fmla="*/ 228600 h 3822033"/>
                <a:gd name="connsiteX54" fmla="*/ 2676525 w 3457575"/>
                <a:gd name="connsiteY54" fmla="*/ 285750 h 3822033"/>
                <a:gd name="connsiteX55" fmla="*/ 2705100 w 3457575"/>
                <a:gd name="connsiteY55" fmla="*/ 304800 h 3822033"/>
                <a:gd name="connsiteX56" fmla="*/ 2733675 w 3457575"/>
                <a:gd name="connsiteY56" fmla="*/ 333375 h 3822033"/>
                <a:gd name="connsiteX57" fmla="*/ 2771775 w 3457575"/>
                <a:gd name="connsiteY57" fmla="*/ 361950 h 3822033"/>
                <a:gd name="connsiteX58" fmla="*/ 2809875 w 3457575"/>
                <a:gd name="connsiteY58" fmla="*/ 400050 h 3822033"/>
                <a:gd name="connsiteX59" fmla="*/ 2867025 w 3457575"/>
                <a:gd name="connsiteY59" fmla="*/ 438150 h 3822033"/>
                <a:gd name="connsiteX60" fmla="*/ 2905125 w 3457575"/>
                <a:gd name="connsiteY60" fmla="*/ 476250 h 3822033"/>
                <a:gd name="connsiteX61" fmla="*/ 2971800 w 3457575"/>
                <a:gd name="connsiteY61" fmla="*/ 523875 h 3822033"/>
                <a:gd name="connsiteX62" fmla="*/ 2990850 w 3457575"/>
                <a:gd name="connsiteY62" fmla="*/ 552450 h 3822033"/>
                <a:gd name="connsiteX63" fmla="*/ 3028950 w 3457575"/>
                <a:gd name="connsiteY63" fmla="*/ 590550 h 3822033"/>
                <a:gd name="connsiteX64" fmla="*/ 3048000 w 3457575"/>
                <a:gd name="connsiteY64" fmla="*/ 628650 h 3822033"/>
                <a:gd name="connsiteX65" fmla="*/ 3086100 w 3457575"/>
                <a:gd name="connsiteY65" fmla="*/ 666750 h 3822033"/>
                <a:gd name="connsiteX66" fmla="*/ 3124200 w 3457575"/>
                <a:gd name="connsiteY66" fmla="*/ 723900 h 3822033"/>
                <a:gd name="connsiteX67" fmla="*/ 3219450 w 3457575"/>
                <a:gd name="connsiteY67" fmla="*/ 838200 h 3822033"/>
                <a:gd name="connsiteX68" fmla="*/ 3238500 w 3457575"/>
                <a:gd name="connsiteY68" fmla="*/ 885825 h 3822033"/>
                <a:gd name="connsiteX69" fmla="*/ 3276600 w 3457575"/>
                <a:gd name="connsiteY69" fmla="*/ 942975 h 3822033"/>
                <a:gd name="connsiteX70" fmla="*/ 3286125 w 3457575"/>
                <a:gd name="connsiteY70" fmla="*/ 990600 h 3822033"/>
                <a:gd name="connsiteX71" fmla="*/ 3324225 w 3457575"/>
                <a:gd name="connsiteY71" fmla="*/ 1085850 h 3822033"/>
                <a:gd name="connsiteX72" fmla="*/ 3362325 w 3457575"/>
                <a:gd name="connsiteY72" fmla="*/ 1171575 h 3822033"/>
                <a:gd name="connsiteX73" fmla="*/ 3390900 w 3457575"/>
                <a:gd name="connsiteY73" fmla="*/ 1219200 h 3822033"/>
                <a:gd name="connsiteX74" fmla="*/ 3419475 w 3457575"/>
                <a:gd name="connsiteY74" fmla="*/ 1333500 h 3822033"/>
                <a:gd name="connsiteX75" fmla="*/ 3429000 w 3457575"/>
                <a:gd name="connsiteY75" fmla="*/ 1390650 h 3822033"/>
                <a:gd name="connsiteX76" fmla="*/ 3457575 w 3457575"/>
                <a:gd name="connsiteY76" fmla="*/ 1657350 h 3822033"/>
                <a:gd name="connsiteX77" fmla="*/ 3362325 w 3457575"/>
                <a:gd name="connsiteY77" fmla="*/ 2187575 h 3822033"/>
                <a:gd name="connsiteX78" fmla="*/ 3276600 w 3457575"/>
                <a:gd name="connsiteY78" fmla="*/ 2400300 h 3822033"/>
                <a:gd name="connsiteX79" fmla="*/ 3190875 w 3457575"/>
                <a:gd name="connsiteY79" fmla="*/ 2533650 h 3822033"/>
                <a:gd name="connsiteX80" fmla="*/ 3105150 w 3457575"/>
                <a:gd name="connsiteY80" fmla="*/ 2647950 h 3822033"/>
                <a:gd name="connsiteX81" fmla="*/ 3019425 w 3457575"/>
                <a:gd name="connsiteY81" fmla="*/ 2781300 h 3822033"/>
                <a:gd name="connsiteX82" fmla="*/ 2981325 w 3457575"/>
                <a:gd name="connsiteY82" fmla="*/ 2819400 h 3822033"/>
                <a:gd name="connsiteX83" fmla="*/ 2943225 w 3457575"/>
                <a:gd name="connsiteY83" fmla="*/ 2876550 h 3822033"/>
                <a:gd name="connsiteX84" fmla="*/ 2857500 w 3457575"/>
                <a:gd name="connsiteY84" fmla="*/ 2933700 h 3822033"/>
                <a:gd name="connsiteX85" fmla="*/ 2809875 w 3457575"/>
                <a:gd name="connsiteY85" fmla="*/ 2971800 h 3822033"/>
                <a:gd name="connsiteX86" fmla="*/ 2705100 w 3457575"/>
                <a:gd name="connsiteY86" fmla="*/ 3038475 h 3822033"/>
                <a:gd name="connsiteX87" fmla="*/ 2609850 w 3457575"/>
                <a:gd name="connsiteY87" fmla="*/ 3105150 h 3822033"/>
                <a:gd name="connsiteX88" fmla="*/ 2562225 w 3457575"/>
                <a:gd name="connsiteY88" fmla="*/ 3143250 h 3822033"/>
                <a:gd name="connsiteX89" fmla="*/ 2495550 w 3457575"/>
                <a:gd name="connsiteY89" fmla="*/ 3162300 h 3822033"/>
                <a:gd name="connsiteX90" fmla="*/ 2362200 w 3457575"/>
                <a:gd name="connsiteY90" fmla="*/ 3219450 h 3822033"/>
                <a:gd name="connsiteX91" fmla="*/ 2257425 w 3457575"/>
                <a:gd name="connsiteY91" fmla="*/ 3257550 h 3822033"/>
                <a:gd name="connsiteX92" fmla="*/ 2181225 w 3457575"/>
                <a:gd name="connsiteY92" fmla="*/ 3276600 h 3822033"/>
                <a:gd name="connsiteX93" fmla="*/ 2057400 w 3457575"/>
                <a:gd name="connsiteY93" fmla="*/ 3362325 h 3822033"/>
                <a:gd name="connsiteX94" fmla="*/ 2009775 w 3457575"/>
                <a:gd name="connsiteY94" fmla="*/ 3400425 h 3822033"/>
                <a:gd name="connsiteX95" fmla="*/ 1962150 w 3457575"/>
                <a:gd name="connsiteY95" fmla="*/ 3429000 h 3822033"/>
                <a:gd name="connsiteX96" fmla="*/ 1905000 w 3457575"/>
                <a:gd name="connsiteY96" fmla="*/ 3495675 h 3822033"/>
                <a:gd name="connsiteX97" fmla="*/ 1819275 w 3457575"/>
                <a:gd name="connsiteY97" fmla="*/ 3609975 h 3822033"/>
                <a:gd name="connsiteX98" fmla="*/ 1800225 w 3457575"/>
                <a:gd name="connsiteY98" fmla="*/ 3638550 h 3822033"/>
                <a:gd name="connsiteX99" fmla="*/ 1790700 w 3457575"/>
                <a:gd name="connsiteY99" fmla="*/ 3667125 h 3822033"/>
                <a:gd name="connsiteX100" fmla="*/ 1771650 w 3457575"/>
                <a:gd name="connsiteY100" fmla="*/ 3695700 h 3822033"/>
                <a:gd name="connsiteX101" fmla="*/ 1752600 w 3457575"/>
                <a:gd name="connsiteY101" fmla="*/ 3733800 h 3822033"/>
                <a:gd name="connsiteX102" fmla="*/ 1714500 w 3457575"/>
                <a:gd name="connsiteY102" fmla="*/ 3810000 h 3822033"/>
                <a:gd name="connsiteX103" fmla="*/ 1704975 w 3457575"/>
                <a:gd name="connsiteY103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28600 w 3457575"/>
                <a:gd name="connsiteY18" fmla="*/ 245745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57175 w 3457575"/>
                <a:gd name="connsiteY17" fmla="*/ 2495550 h 3822033"/>
                <a:gd name="connsiteX18" fmla="*/ 209550 w 3457575"/>
                <a:gd name="connsiteY18" fmla="*/ 2451100 h 3822033"/>
                <a:gd name="connsiteX19" fmla="*/ 161925 w 3457575"/>
                <a:gd name="connsiteY19" fmla="*/ 2343150 h 3822033"/>
                <a:gd name="connsiteX20" fmla="*/ 107950 w 3457575"/>
                <a:gd name="connsiteY20" fmla="*/ 2238375 h 3822033"/>
                <a:gd name="connsiteX21" fmla="*/ 38100 w 3457575"/>
                <a:gd name="connsiteY21" fmla="*/ 1958975 h 3822033"/>
                <a:gd name="connsiteX22" fmla="*/ 28575 w 3457575"/>
                <a:gd name="connsiteY22" fmla="*/ 1819275 h 3822033"/>
                <a:gd name="connsiteX23" fmla="*/ 9525 w 3457575"/>
                <a:gd name="connsiteY23" fmla="*/ 1657350 h 3822033"/>
                <a:gd name="connsiteX24" fmla="*/ 0 w 3457575"/>
                <a:gd name="connsiteY24" fmla="*/ 1609725 h 3822033"/>
                <a:gd name="connsiteX25" fmla="*/ 9525 w 3457575"/>
                <a:gd name="connsiteY25" fmla="*/ 1428750 h 3822033"/>
                <a:gd name="connsiteX26" fmla="*/ 28575 w 3457575"/>
                <a:gd name="connsiteY26" fmla="*/ 1304925 h 3822033"/>
                <a:gd name="connsiteX27" fmla="*/ 38100 w 3457575"/>
                <a:gd name="connsiteY27" fmla="*/ 1247775 h 3822033"/>
                <a:gd name="connsiteX28" fmla="*/ 76200 w 3457575"/>
                <a:gd name="connsiteY28" fmla="*/ 1152525 h 3822033"/>
                <a:gd name="connsiteX29" fmla="*/ 114300 w 3457575"/>
                <a:gd name="connsiteY29" fmla="*/ 990600 h 3822033"/>
                <a:gd name="connsiteX30" fmla="*/ 133350 w 3457575"/>
                <a:gd name="connsiteY30" fmla="*/ 923925 h 3822033"/>
                <a:gd name="connsiteX31" fmla="*/ 171450 w 3457575"/>
                <a:gd name="connsiteY31" fmla="*/ 866775 h 3822033"/>
                <a:gd name="connsiteX32" fmla="*/ 228600 w 3457575"/>
                <a:gd name="connsiteY32" fmla="*/ 762000 h 3822033"/>
                <a:gd name="connsiteX33" fmla="*/ 304800 w 3457575"/>
                <a:gd name="connsiteY33" fmla="*/ 647700 h 3822033"/>
                <a:gd name="connsiteX34" fmla="*/ 552450 w 3457575"/>
                <a:gd name="connsiteY34" fmla="*/ 361950 h 3822033"/>
                <a:gd name="connsiteX35" fmla="*/ 609600 w 3457575"/>
                <a:gd name="connsiteY35" fmla="*/ 323850 h 3822033"/>
                <a:gd name="connsiteX36" fmla="*/ 666750 w 3457575"/>
                <a:gd name="connsiteY36" fmla="*/ 285750 h 3822033"/>
                <a:gd name="connsiteX37" fmla="*/ 762000 w 3457575"/>
                <a:gd name="connsiteY37" fmla="*/ 238125 h 3822033"/>
                <a:gd name="connsiteX38" fmla="*/ 800100 w 3457575"/>
                <a:gd name="connsiteY38" fmla="*/ 219075 h 3822033"/>
                <a:gd name="connsiteX39" fmla="*/ 895350 w 3457575"/>
                <a:gd name="connsiteY39" fmla="*/ 161925 h 3822033"/>
                <a:gd name="connsiteX40" fmla="*/ 962025 w 3457575"/>
                <a:gd name="connsiteY40" fmla="*/ 133350 h 3822033"/>
                <a:gd name="connsiteX41" fmla="*/ 1123950 w 3457575"/>
                <a:gd name="connsiteY41" fmla="*/ 76200 h 3822033"/>
                <a:gd name="connsiteX42" fmla="*/ 1162050 w 3457575"/>
                <a:gd name="connsiteY42" fmla="*/ 66675 h 3822033"/>
                <a:gd name="connsiteX43" fmla="*/ 1438275 w 3457575"/>
                <a:gd name="connsiteY43" fmla="*/ 0 h 3822033"/>
                <a:gd name="connsiteX44" fmla="*/ 2038350 w 3457575"/>
                <a:gd name="connsiteY44" fmla="*/ 9525 h 3822033"/>
                <a:gd name="connsiteX45" fmla="*/ 2105025 w 3457575"/>
                <a:gd name="connsiteY45" fmla="*/ 19050 h 3822033"/>
                <a:gd name="connsiteX46" fmla="*/ 2162175 w 3457575"/>
                <a:gd name="connsiteY46" fmla="*/ 47625 h 3822033"/>
                <a:gd name="connsiteX47" fmla="*/ 2228850 w 3457575"/>
                <a:gd name="connsiteY47" fmla="*/ 66675 h 3822033"/>
                <a:gd name="connsiteX48" fmla="*/ 2343150 w 3457575"/>
                <a:gd name="connsiteY48" fmla="*/ 133350 h 3822033"/>
                <a:gd name="connsiteX49" fmla="*/ 2390775 w 3457575"/>
                <a:gd name="connsiteY49" fmla="*/ 142875 h 3822033"/>
                <a:gd name="connsiteX50" fmla="*/ 2457450 w 3457575"/>
                <a:gd name="connsiteY50" fmla="*/ 171450 h 3822033"/>
                <a:gd name="connsiteX51" fmla="*/ 2486025 w 3457575"/>
                <a:gd name="connsiteY51" fmla="*/ 200025 h 3822033"/>
                <a:gd name="connsiteX52" fmla="*/ 2571750 w 3457575"/>
                <a:gd name="connsiteY52" fmla="*/ 228600 h 3822033"/>
                <a:gd name="connsiteX53" fmla="*/ 2676525 w 3457575"/>
                <a:gd name="connsiteY53" fmla="*/ 285750 h 3822033"/>
                <a:gd name="connsiteX54" fmla="*/ 2705100 w 3457575"/>
                <a:gd name="connsiteY54" fmla="*/ 304800 h 3822033"/>
                <a:gd name="connsiteX55" fmla="*/ 2733675 w 3457575"/>
                <a:gd name="connsiteY55" fmla="*/ 333375 h 3822033"/>
                <a:gd name="connsiteX56" fmla="*/ 2771775 w 3457575"/>
                <a:gd name="connsiteY56" fmla="*/ 361950 h 3822033"/>
                <a:gd name="connsiteX57" fmla="*/ 2809875 w 3457575"/>
                <a:gd name="connsiteY57" fmla="*/ 400050 h 3822033"/>
                <a:gd name="connsiteX58" fmla="*/ 2867025 w 3457575"/>
                <a:gd name="connsiteY58" fmla="*/ 438150 h 3822033"/>
                <a:gd name="connsiteX59" fmla="*/ 2905125 w 3457575"/>
                <a:gd name="connsiteY59" fmla="*/ 476250 h 3822033"/>
                <a:gd name="connsiteX60" fmla="*/ 2971800 w 3457575"/>
                <a:gd name="connsiteY60" fmla="*/ 523875 h 3822033"/>
                <a:gd name="connsiteX61" fmla="*/ 2990850 w 3457575"/>
                <a:gd name="connsiteY61" fmla="*/ 552450 h 3822033"/>
                <a:gd name="connsiteX62" fmla="*/ 3028950 w 3457575"/>
                <a:gd name="connsiteY62" fmla="*/ 590550 h 3822033"/>
                <a:gd name="connsiteX63" fmla="*/ 3048000 w 3457575"/>
                <a:gd name="connsiteY63" fmla="*/ 628650 h 3822033"/>
                <a:gd name="connsiteX64" fmla="*/ 3086100 w 3457575"/>
                <a:gd name="connsiteY64" fmla="*/ 666750 h 3822033"/>
                <a:gd name="connsiteX65" fmla="*/ 3124200 w 3457575"/>
                <a:gd name="connsiteY65" fmla="*/ 723900 h 3822033"/>
                <a:gd name="connsiteX66" fmla="*/ 3219450 w 3457575"/>
                <a:gd name="connsiteY66" fmla="*/ 838200 h 3822033"/>
                <a:gd name="connsiteX67" fmla="*/ 3238500 w 3457575"/>
                <a:gd name="connsiteY67" fmla="*/ 885825 h 3822033"/>
                <a:gd name="connsiteX68" fmla="*/ 3276600 w 3457575"/>
                <a:gd name="connsiteY68" fmla="*/ 942975 h 3822033"/>
                <a:gd name="connsiteX69" fmla="*/ 3286125 w 3457575"/>
                <a:gd name="connsiteY69" fmla="*/ 990600 h 3822033"/>
                <a:gd name="connsiteX70" fmla="*/ 3324225 w 3457575"/>
                <a:gd name="connsiteY70" fmla="*/ 1085850 h 3822033"/>
                <a:gd name="connsiteX71" fmla="*/ 3362325 w 3457575"/>
                <a:gd name="connsiteY71" fmla="*/ 1171575 h 3822033"/>
                <a:gd name="connsiteX72" fmla="*/ 3390900 w 3457575"/>
                <a:gd name="connsiteY72" fmla="*/ 1219200 h 3822033"/>
                <a:gd name="connsiteX73" fmla="*/ 3419475 w 3457575"/>
                <a:gd name="connsiteY73" fmla="*/ 1333500 h 3822033"/>
                <a:gd name="connsiteX74" fmla="*/ 3429000 w 3457575"/>
                <a:gd name="connsiteY74" fmla="*/ 1390650 h 3822033"/>
                <a:gd name="connsiteX75" fmla="*/ 3457575 w 3457575"/>
                <a:gd name="connsiteY75" fmla="*/ 1657350 h 3822033"/>
                <a:gd name="connsiteX76" fmla="*/ 3362325 w 3457575"/>
                <a:gd name="connsiteY76" fmla="*/ 2187575 h 3822033"/>
                <a:gd name="connsiteX77" fmla="*/ 3276600 w 3457575"/>
                <a:gd name="connsiteY77" fmla="*/ 2400300 h 3822033"/>
                <a:gd name="connsiteX78" fmla="*/ 3190875 w 3457575"/>
                <a:gd name="connsiteY78" fmla="*/ 2533650 h 3822033"/>
                <a:gd name="connsiteX79" fmla="*/ 3105150 w 3457575"/>
                <a:gd name="connsiteY79" fmla="*/ 2647950 h 3822033"/>
                <a:gd name="connsiteX80" fmla="*/ 3019425 w 3457575"/>
                <a:gd name="connsiteY80" fmla="*/ 2781300 h 3822033"/>
                <a:gd name="connsiteX81" fmla="*/ 2981325 w 3457575"/>
                <a:gd name="connsiteY81" fmla="*/ 2819400 h 3822033"/>
                <a:gd name="connsiteX82" fmla="*/ 2943225 w 3457575"/>
                <a:gd name="connsiteY82" fmla="*/ 2876550 h 3822033"/>
                <a:gd name="connsiteX83" fmla="*/ 2857500 w 3457575"/>
                <a:gd name="connsiteY83" fmla="*/ 2933700 h 3822033"/>
                <a:gd name="connsiteX84" fmla="*/ 2809875 w 3457575"/>
                <a:gd name="connsiteY84" fmla="*/ 2971800 h 3822033"/>
                <a:gd name="connsiteX85" fmla="*/ 2705100 w 3457575"/>
                <a:gd name="connsiteY85" fmla="*/ 3038475 h 3822033"/>
                <a:gd name="connsiteX86" fmla="*/ 2609850 w 3457575"/>
                <a:gd name="connsiteY86" fmla="*/ 3105150 h 3822033"/>
                <a:gd name="connsiteX87" fmla="*/ 2562225 w 3457575"/>
                <a:gd name="connsiteY87" fmla="*/ 3143250 h 3822033"/>
                <a:gd name="connsiteX88" fmla="*/ 2495550 w 3457575"/>
                <a:gd name="connsiteY88" fmla="*/ 3162300 h 3822033"/>
                <a:gd name="connsiteX89" fmla="*/ 2362200 w 3457575"/>
                <a:gd name="connsiteY89" fmla="*/ 3219450 h 3822033"/>
                <a:gd name="connsiteX90" fmla="*/ 2257425 w 3457575"/>
                <a:gd name="connsiteY90" fmla="*/ 3257550 h 3822033"/>
                <a:gd name="connsiteX91" fmla="*/ 2181225 w 3457575"/>
                <a:gd name="connsiteY91" fmla="*/ 3276600 h 3822033"/>
                <a:gd name="connsiteX92" fmla="*/ 2057400 w 3457575"/>
                <a:gd name="connsiteY92" fmla="*/ 3362325 h 3822033"/>
                <a:gd name="connsiteX93" fmla="*/ 2009775 w 3457575"/>
                <a:gd name="connsiteY93" fmla="*/ 3400425 h 3822033"/>
                <a:gd name="connsiteX94" fmla="*/ 1962150 w 3457575"/>
                <a:gd name="connsiteY94" fmla="*/ 3429000 h 3822033"/>
                <a:gd name="connsiteX95" fmla="*/ 1905000 w 3457575"/>
                <a:gd name="connsiteY95" fmla="*/ 3495675 h 3822033"/>
                <a:gd name="connsiteX96" fmla="*/ 1819275 w 3457575"/>
                <a:gd name="connsiteY96" fmla="*/ 3609975 h 3822033"/>
                <a:gd name="connsiteX97" fmla="*/ 1800225 w 3457575"/>
                <a:gd name="connsiteY97" fmla="*/ 3638550 h 3822033"/>
                <a:gd name="connsiteX98" fmla="*/ 1790700 w 3457575"/>
                <a:gd name="connsiteY98" fmla="*/ 3667125 h 3822033"/>
                <a:gd name="connsiteX99" fmla="*/ 1771650 w 3457575"/>
                <a:gd name="connsiteY99" fmla="*/ 3695700 h 3822033"/>
                <a:gd name="connsiteX100" fmla="*/ 1752600 w 3457575"/>
                <a:gd name="connsiteY100" fmla="*/ 3733800 h 3822033"/>
                <a:gd name="connsiteX101" fmla="*/ 1714500 w 3457575"/>
                <a:gd name="connsiteY101" fmla="*/ 3810000 h 3822033"/>
                <a:gd name="connsiteX102" fmla="*/ 1704975 w 3457575"/>
                <a:gd name="connsiteY102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9527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619125 w 3457575"/>
                <a:gd name="connsiteY13" fmla="*/ 3009900 h 3822033"/>
                <a:gd name="connsiteX14" fmla="*/ 571500 w 3457575"/>
                <a:gd name="connsiteY14" fmla="*/ 2943225 h 3822033"/>
                <a:gd name="connsiteX15" fmla="*/ 333375 w 3457575"/>
                <a:gd name="connsiteY15" fmla="*/ 2676525 h 3822033"/>
                <a:gd name="connsiteX16" fmla="*/ 276225 w 3457575"/>
                <a:gd name="connsiteY16" fmla="*/ 2581275 h 3822033"/>
                <a:gd name="connsiteX17" fmla="*/ 209550 w 3457575"/>
                <a:gd name="connsiteY17" fmla="*/ 2451100 h 3822033"/>
                <a:gd name="connsiteX18" fmla="*/ 161925 w 3457575"/>
                <a:gd name="connsiteY18" fmla="*/ 2343150 h 3822033"/>
                <a:gd name="connsiteX19" fmla="*/ 107950 w 3457575"/>
                <a:gd name="connsiteY19" fmla="*/ 2238375 h 3822033"/>
                <a:gd name="connsiteX20" fmla="*/ 38100 w 3457575"/>
                <a:gd name="connsiteY20" fmla="*/ 1958975 h 3822033"/>
                <a:gd name="connsiteX21" fmla="*/ 28575 w 3457575"/>
                <a:gd name="connsiteY21" fmla="*/ 1819275 h 3822033"/>
                <a:gd name="connsiteX22" fmla="*/ 9525 w 3457575"/>
                <a:gd name="connsiteY22" fmla="*/ 1657350 h 3822033"/>
                <a:gd name="connsiteX23" fmla="*/ 0 w 3457575"/>
                <a:gd name="connsiteY23" fmla="*/ 1609725 h 3822033"/>
                <a:gd name="connsiteX24" fmla="*/ 9525 w 3457575"/>
                <a:gd name="connsiteY24" fmla="*/ 1428750 h 3822033"/>
                <a:gd name="connsiteX25" fmla="*/ 28575 w 3457575"/>
                <a:gd name="connsiteY25" fmla="*/ 1304925 h 3822033"/>
                <a:gd name="connsiteX26" fmla="*/ 38100 w 3457575"/>
                <a:gd name="connsiteY26" fmla="*/ 1247775 h 3822033"/>
                <a:gd name="connsiteX27" fmla="*/ 76200 w 3457575"/>
                <a:gd name="connsiteY27" fmla="*/ 1152525 h 3822033"/>
                <a:gd name="connsiteX28" fmla="*/ 114300 w 3457575"/>
                <a:gd name="connsiteY28" fmla="*/ 990600 h 3822033"/>
                <a:gd name="connsiteX29" fmla="*/ 133350 w 3457575"/>
                <a:gd name="connsiteY29" fmla="*/ 923925 h 3822033"/>
                <a:gd name="connsiteX30" fmla="*/ 171450 w 3457575"/>
                <a:gd name="connsiteY30" fmla="*/ 866775 h 3822033"/>
                <a:gd name="connsiteX31" fmla="*/ 228600 w 3457575"/>
                <a:gd name="connsiteY31" fmla="*/ 762000 h 3822033"/>
                <a:gd name="connsiteX32" fmla="*/ 304800 w 3457575"/>
                <a:gd name="connsiteY32" fmla="*/ 647700 h 3822033"/>
                <a:gd name="connsiteX33" fmla="*/ 552450 w 3457575"/>
                <a:gd name="connsiteY33" fmla="*/ 361950 h 3822033"/>
                <a:gd name="connsiteX34" fmla="*/ 609600 w 3457575"/>
                <a:gd name="connsiteY34" fmla="*/ 323850 h 3822033"/>
                <a:gd name="connsiteX35" fmla="*/ 666750 w 3457575"/>
                <a:gd name="connsiteY35" fmla="*/ 285750 h 3822033"/>
                <a:gd name="connsiteX36" fmla="*/ 762000 w 3457575"/>
                <a:gd name="connsiteY36" fmla="*/ 238125 h 3822033"/>
                <a:gd name="connsiteX37" fmla="*/ 800100 w 3457575"/>
                <a:gd name="connsiteY37" fmla="*/ 219075 h 3822033"/>
                <a:gd name="connsiteX38" fmla="*/ 895350 w 3457575"/>
                <a:gd name="connsiteY38" fmla="*/ 161925 h 3822033"/>
                <a:gd name="connsiteX39" fmla="*/ 962025 w 3457575"/>
                <a:gd name="connsiteY39" fmla="*/ 133350 h 3822033"/>
                <a:gd name="connsiteX40" fmla="*/ 1123950 w 3457575"/>
                <a:gd name="connsiteY40" fmla="*/ 76200 h 3822033"/>
                <a:gd name="connsiteX41" fmla="*/ 1162050 w 3457575"/>
                <a:gd name="connsiteY41" fmla="*/ 66675 h 3822033"/>
                <a:gd name="connsiteX42" fmla="*/ 1438275 w 3457575"/>
                <a:gd name="connsiteY42" fmla="*/ 0 h 3822033"/>
                <a:gd name="connsiteX43" fmla="*/ 2038350 w 3457575"/>
                <a:gd name="connsiteY43" fmla="*/ 9525 h 3822033"/>
                <a:gd name="connsiteX44" fmla="*/ 2105025 w 3457575"/>
                <a:gd name="connsiteY44" fmla="*/ 19050 h 3822033"/>
                <a:gd name="connsiteX45" fmla="*/ 2162175 w 3457575"/>
                <a:gd name="connsiteY45" fmla="*/ 47625 h 3822033"/>
                <a:gd name="connsiteX46" fmla="*/ 2228850 w 3457575"/>
                <a:gd name="connsiteY46" fmla="*/ 66675 h 3822033"/>
                <a:gd name="connsiteX47" fmla="*/ 2343150 w 3457575"/>
                <a:gd name="connsiteY47" fmla="*/ 133350 h 3822033"/>
                <a:gd name="connsiteX48" fmla="*/ 2390775 w 3457575"/>
                <a:gd name="connsiteY48" fmla="*/ 142875 h 3822033"/>
                <a:gd name="connsiteX49" fmla="*/ 2457450 w 3457575"/>
                <a:gd name="connsiteY49" fmla="*/ 171450 h 3822033"/>
                <a:gd name="connsiteX50" fmla="*/ 2486025 w 3457575"/>
                <a:gd name="connsiteY50" fmla="*/ 200025 h 3822033"/>
                <a:gd name="connsiteX51" fmla="*/ 2571750 w 3457575"/>
                <a:gd name="connsiteY51" fmla="*/ 228600 h 3822033"/>
                <a:gd name="connsiteX52" fmla="*/ 2676525 w 3457575"/>
                <a:gd name="connsiteY52" fmla="*/ 285750 h 3822033"/>
                <a:gd name="connsiteX53" fmla="*/ 2705100 w 3457575"/>
                <a:gd name="connsiteY53" fmla="*/ 304800 h 3822033"/>
                <a:gd name="connsiteX54" fmla="*/ 2733675 w 3457575"/>
                <a:gd name="connsiteY54" fmla="*/ 333375 h 3822033"/>
                <a:gd name="connsiteX55" fmla="*/ 2771775 w 3457575"/>
                <a:gd name="connsiteY55" fmla="*/ 361950 h 3822033"/>
                <a:gd name="connsiteX56" fmla="*/ 2809875 w 3457575"/>
                <a:gd name="connsiteY56" fmla="*/ 400050 h 3822033"/>
                <a:gd name="connsiteX57" fmla="*/ 2867025 w 3457575"/>
                <a:gd name="connsiteY57" fmla="*/ 438150 h 3822033"/>
                <a:gd name="connsiteX58" fmla="*/ 2905125 w 3457575"/>
                <a:gd name="connsiteY58" fmla="*/ 476250 h 3822033"/>
                <a:gd name="connsiteX59" fmla="*/ 2971800 w 3457575"/>
                <a:gd name="connsiteY59" fmla="*/ 523875 h 3822033"/>
                <a:gd name="connsiteX60" fmla="*/ 2990850 w 3457575"/>
                <a:gd name="connsiteY60" fmla="*/ 552450 h 3822033"/>
                <a:gd name="connsiteX61" fmla="*/ 3028950 w 3457575"/>
                <a:gd name="connsiteY61" fmla="*/ 590550 h 3822033"/>
                <a:gd name="connsiteX62" fmla="*/ 3048000 w 3457575"/>
                <a:gd name="connsiteY62" fmla="*/ 628650 h 3822033"/>
                <a:gd name="connsiteX63" fmla="*/ 3086100 w 3457575"/>
                <a:gd name="connsiteY63" fmla="*/ 666750 h 3822033"/>
                <a:gd name="connsiteX64" fmla="*/ 3124200 w 3457575"/>
                <a:gd name="connsiteY64" fmla="*/ 723900 h 3822033"/>
                <a:gd name="connsiteX65" fmla="*/ 3219450 w 3457575"/>
                <a:gd name="connsiteY65" fmla="*/ 838200 h 3822033"/>
                <a:gd name="connsiteX66" fmla="*/ 3238500 w 3457575"/>
                <a:gd name="connsiteY66" fmla="*/ 885825 h 3822033"/>
                <a:gd name="connsiteX67" fmla="*/ 3276600 w 3457575"/>
                <a:gd name="connsiteY67" fmla="*/ 942975 h 3822033"/>
                <a:gd name="connsiteX68" fmla="*/ 3286125 w 3457575"/>
                <a:gd name="connsiteY68" fmla="*/ 990600 h 3822033"/>
                <a:gd name="connsiteX69" fmla="*/ 3324225 w 3457575"/>
                <a:gd name="connsiteY69" fmla="*/ 1085850 h 3822033"/>
                <a:gd name="connsiteX70" fmla="*/ 3362325 w 3457575"/>
                <a:gd name="connsiteY70" fmla="*/ 1171575 h 3822033"/>
                <a:gd name="connsiteX71" fmla="*/ 3390900 w 3457575"/>
                <a:gd name="connsiteY71" fmla="*/ 1219200 h 3822033"/>
                <a:gd name="connsiteX72" fmla="*/ 3419475 w 3457575"/>
                <a:gd name="connsiteY72" fmla="*/ 1333500 h 3822033"/>
                <a:gd name="connsiteX73" fmla="*/ 3429000 w 3457575"/>
                <a:gd name="connsiteY73" fmla="*/ 1390650 h 3822033"/>
                <a:gd name="connsiteX74" fmla="*/ 3457575 w 3457575"/>
                <a:gd name="connsiteY74" fmla="*/ 1657350 h 3822033"/>
                <a:gd name="connsiteX75" fmla="*/ 3362325 w 3457575"/>
                <a:gd name="connsiteY75" fmla="*/ 2187575 h 3822033"/>
                <a:gd name="connsiteX76" fmla="*/ 3276600 w 3457575"/>
                <a:gd name="connsiteY76" fmla="*/ 2400300 h 3822033"/>
                <a:gd name="connsiteX77" fmla="*/ 3190875 w 3457575"/>
                <a:gd name="connsiteY77" fmla="*/ 2533650 h 3822033"/>
                <a:gd name="connsiteX78" fmla="*/ 3105150 w 3457575"/>
                <a:gd name="connsiteY78" fmla="*/ 2647950 h 3822033"/>
                <a:gd name="connsiteX79" fmla="*/ 3019425 w 3457575"/>
                <a:gd name="connsiteY79" fmla="*/ 2781300 h 3822033"/>
                <a:gd name="connsiteX80" fmla="*/ 2981325 w 3457575"/>
                <a:gd name="connsiteY80" fmla="*/ 2819400 h 3822033"/>
                <a:gd name="connsiteX81" fmla="*/ 2943225 w 3457575"/>
                <a:gd name="connsiteY81" fmla="*/ 2876550 h 3822033"/>
                <a:gd name="connsiteX82" fmla="*/ 2857500 w 3457575"/>
                <a:gd name="connsiteY82" fmla="*/ 2933700 h 3822033"/>
                <a:gd name="connsiteX83" fmla="*/ 2809875 w 3457575"/>
                <a:gd name="connsiteY83" fmla="*/ 2971800 h 3822033"/>
                <a:gd name="connsiteX84" fmla="*/ 2705100 w 3457575"/>
                <a:gd name="connsiteY84" fmla="*/ 3038475 h 3822033"/>
                <a:gd name="connsiteX85" fmla="*/ 2609850 w 3457575"/>
                <a:gd name="connsiteY85" fmla="*/ 3105150 h 3822033"/>
                <a:gd name="connsiteX86" fmla="*/ 2562225 w 3457575"/>
                <a:gd name="connsiteY86" fmla="*/ 3143250 h 3822033"/>
                <a:gd name="connsiteX87" fmla="*/ 2495550 w 3457575"/>
                <a:gd name="connsiteY87" fmla="*/ 3162300 h 3822033"/>
                <a:gd name="connsiteX88" fmla="*/ 2362200 w 3457575"/>
                <a:gd name="connsiteY88" fmla="*/ 3219450 h 3822033"/>
                <a:gd name="connsiteX89" fmla="*/ 2257425 w 3457575"/>
                <a:gd name="connsiteY89" fmla="*/ 3257550 h 3822033"/>
                <a:gd name="connsiteX90" fmla="*/ 2181225 w 3457575"/>
                <a:gd name="connsiteY90" fmla="*/ 3276600 h 3822033"/>
                <a:gd name="connsiteX91" fmla="*/ 2057400 w 3457575"/>
                <a:gd name="connsiteY91" fmla="*/ 3362325 h 3822033"/>
                <a:gd name="connsiteX92" fmla="*/ 2009775 w 3457575"/>
                <a:gd name="connsiteY92" fmla="*/ 3400425 h 3822033"/>
                <a:gd name="connsiteX93" fmla="*/ 1962150 w 3457575"/>
                <a:gd name="connsiteY93" fmla="*/ 3429000 h 3822033"/>
                <a:gd name="connsiteX94" fmla="*/ 1905000 w 3457575"/>
                <a:gd name="connsiteY94" fmla="*/ 3495675 h 3822033"/>
                <a:gd name="connsiteX95" fmla="*/ 1819275 w 3457575"/>
                <a:gd name="connsiteY95" fmla="*/ 3609975 h 3822033"/>
                <a:gd name="connsiteX96" fmla="*/ 1800225 w 3457575"/>
                <a:gd name="connsiteY96" fmla="*/ 3638550 h 3822033"/>
                <a:gd name="connsiteX97" fmla="*/ 1790700 w 3457575"/>
                <a:gd name="connsiteY97" fmla="*/ 3667125 h 3822033"/>
                <a:gd name="connsiteX98" fmla="*/ 1771650 w 3457575"/>
                <a:gd name="connsiteY98" fmla="*/ 3695700 h 3822033"/>
                <a:gd name="connsiteX99" fmla="*/ 1752600 w 3457575"/>
                <a:gd name="connsiteY99" fmla="*/ 3733800 h 3822033"/>
                <a:gd name="connsiteX100" fmla="*/ 1714500 w 3457575"/>
                <a:gd name="connsiteY100" fmla="*/ 3810000 h 3822033"/>
                <a:gd name="connsiteX101" fmla="*/ 1704975 w 3457575"/>
                <a:gd name="connsiteY101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38175 w 3457575"/>
                <a:gd name="connsiteY12" fmla="*/ 30480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790575 w 3457575"/>
                <a:gd name="connsiteY11" fmla="*/ 316230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61925 w 3457575"/>
                <a:gd name="connsiteY17" fmla="*/ 234315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704975 w 3457575"/>
                <a:gd name="connsiteY0" fmla="*/ 3819525 h 3822033"/>
                <a:gd name="connsiteX1" fmla="*/ 1676400 w 3457575"/>
                <a:gd name="connsiteY1" fmla="*/ 3771900 h 3822033"/>
                <a:gd name="connsiteX2" fmla="*/ 1533525 w 3457575"/>
                <a:gd name="connsiteY2" fmla="*/ 3543300 h 3822033"/>
                <a:gd name="connsiteX3" fmla="*/ 1409700 w 3457575"/>
                <a:gd name="connsiteY3" fmla="*/ 3438525 h 3822033"/>
                <a:gd name="connsiteX4" fmla="*/ 1371600 w 3457575"/>
                <a:gd name="connsiteY4" fmla="*/ 3419475 h 3822033"/>
                <a:gd name="connsiteX5" fmla="*/ 1343025 w 3457575"/>
                <a:gd name="connsiteY5" fmla="*/ 3400425 h 3822033"/>
                <a:gd name="connsiteX6" fmla="*/ 1247775 w 3457575"/>
                <a:gd name="connsiteY6" fmla="*/ 3381375 h 3822033"/>
                <a:gd name="connsiteX7" fmla="*/ 1133475 w 3457575"/>
                <a:gd name="connsiteY7" fmla="*/ 3324225 h 3822033"/>
                <a:gd name="connsiteX8" fmla="*/ 1009650 w 3457575"/>
                <a:gd name="connsiteY8" fmla="*/ 3276600 h 3822033"/>
                <a:gd name="connsiteX9" fmla="*/ 962025 w 3457575"/>
                <a:gd name="connsiteY9" fmla="*/ 3238500 h 3822033"/>
                <a:gd name="connsiteX10" fmla="*/ 923925 w 3457575"/>
                <a:gd name="connsiteY10" fmla="*/ 3219450 h 3822033"/>
                <a:gd name="connsiteX11" fmla="*/ 828675 w 3457575"/>
                <a:gd name="connsiteY11" fmla="*/ 3143250 h 3822033"/>
                <a:gd name="connsiteX12" fmla="*/ 657225 w 3457575"/>
                <a:gd name="connsiteY12" fmla="*/ 3035300 h 3822033"/>
                <a:gd name="connsiteX13" fmla="*/ 571500 w 3457575"/>
                <a:gd name="connsiteY13" fmla="*/ 2943225 h 3822033"/>
                <a:gd name="connsiteX14" fmla="*/ 333375 w 3457575"/>
                <a:gd name="connsiteY14" fmla="*/ 2676525 h 3822033"/>
                <a:gd name="connsiteX15" fmla="*/ 276225 w 3457575"/>
                <a:gd name="connsiteY15" fmla="*/ 2581275 h 3822033"/>
                <a:gd name="connsiteX16" fmla="*/ 209550 w 3457575"/>
                <a:gd name="connsiteY16" fmla="*/ 2451100 h 3822033"/>
                <a:gd name="connsiteX17" fmla="*/ 149225 w 3457575"/>
                <a:gd name="connsiteY17" fmla="*/ 2362200 h 3822033"/>
                <a:gd name="connsiteX18" fmla="*/ 107950 w 3457575"/>
                <a:gd name="connsiteY18" fmla="*/ 2238375 h 3822033"/>
                <a:gd name="connsiteX19" fmla="*/ 38100 w 3457575"/>
                <a:gd name="connsiteY19" fmla="*/ 1958975 h 3822033"/>
                <a:gd name="connsiteX20" fmla="*/ 28575 w 3457575"/>
                <a:gd name="connsiteY20" fmla="*/ 1819275 h 3822033"/>
                <a:gd name="connsiteX21" fmla="*/ 9525 w 3457575"/>
                <a:gd name="connsiteY21" fmla="*/ 1657350 h 3822033"/>
                <a:gd name="connsiteX22" fmla="*/ 0 w 3457575"/>
                <a:gd name="connsiteY22" fmla="*/ 1609725 h 3822033"/>
                <a:gd name="connsiteX23" fmla="*/ 9525 w 3457575"/>
                <a:gd name="connsiteY23" fmla="*/ 1428750 h 3822033"/>
                <a:gd name="connsiteX24" fmla="*/ 28575 w 3457575"/>
                <a:gd name="connsiteY24" fmla="*/ 1304925 h 3822033"/>
                <a:gd name="connsiteX25" fmla="*/ 38100 w 3457575"/>
                <a:gd name="connsiteY25" fmla="*/ 1247775 h 3822033"/>
                <a:gd name="connsiteX26" fmla="*/ 76200 w 3457575"/>
                <a:gd name="connsiteY26" fmla="*/ 1152525 h 3822033"/>
                <a:gd name="connsiteX27" fmla="*/ 114300 w 3457575"/>
                <a:gd name="connsiteY27" fmla="*/ 990600 h 3822033"/>
                <a:gd name="connsiteX28" fmla="*/ 133350 w 3457575"/>
                <a:gd name="connsiteY28" fmla="*/ 923925 h 3822033"/>
                <a:gd name="connsiteX29" fmla="*/ 171450 w 3457575"/>
                <a:gd name="connsiteY29" fmla="*/ 866775 h 3822033"/>
                <a:gd name="connsiteX30" fmla="*/ 228600 w 3457575"/>
                <a:gd name="connsiteY30" fmla="*/ 762000 h 3822033"/>
                <a:gd name="connsiteX31" fmla="*/ 304800 w 3457575"/>
                <a:gd name="connsiteY31" fmla="*/ 647700 h 3822033"/>
                <a:gd name="connsiteX32" fmla="*/ 552450 w 3457575"/>
                <a:gd name="connsiteY32" fmla="*/ 361950 h 3822033"/>
                <a:gd name="connsiteX33" fmla="*/ 609600 w 3457575"/>
                <a:gd name="connsiteY33" fmla="*/ 323850 h 3822033"/>
                <a:gd name="connsiteX34" fmla="*/ 666750 w 3457575"/>
                <a:gd name="connsiteY34" fmla="*/ 285750 h 3822033"/>
                <a:gd name="connsiteX35" fmla="*/ 762000 w 3457575"/>
                <a:gd name="connsiteY35" fmla="*/ 238125 h 3822033"/>
                <a:gd name="connsiteX36" fmla="*/ 800100 w 3457575"/>
                <a:gd name="connsiteY36" fmla="*/ 219075 h 3822033"/>
                <a:gd name="connsiteX37" fmla="*/ 895350 w 3457575"/>
                <a:gd name="connsiteY37" fmla="*/ 161925 h 3822033"/>
                <a:gd name="connsiteX38" fmla="*/ 962025 w 3457575"/>
                <a:gd name="connsiteY38" fmla="*/ 133350 h 3822033"/>
                <a:gd name="connsiteX39" fmla="*/ 1123950 w 3457575"/>
                <a:gd name="connsiteY39" fmla="*/ 76200 h 3822033"/>
                <a:gd name="connsiteX40" fmla="*/ 1162050 w 3457575"/>
                <a:gd name="connsiteY40" fmla="*/ 66675 h 3822033"/>
                <a:gd name="connsiteX41" fmla="*/ 1438275 w 3457575"/>
                <a:gd name="connsiteY41" fmla="*/ 0 h 3822033"/>
                <a:gd name="connsiteX42" fmla="*/ 2038350 w 3457575"/>
                <a:gd name="connsiteY42" fmla="*/ 9525 h 3822033"/>
                <a:gd name="connsiteX43" fmla="*/ 2105025 w 3457575"/>
                <a:gd name="connsiteY43" fmla="*/ 19050 h 3822033"/>
                <a:gd name="connsiteX44" fmla="*/ 2162175 w 3457575"/>
                <a:gd name="connsiteY44" fmla="*/ 47625 h 3822033"/>
                <a:gd name="connsiteX45" fmla="*/ 2228850 w 3457575"/>
                <a:gd name="connsiteY45" fmla="*/ 66675 h 3822033"/>
                <a:gd name="connsiteX46" fmla="*/ 2343150 w 3457575"/>
                <a:gd name="connsiteY46" fmla="*/ 133350 h 3822033"/>
                <a:gd name="connsiteX47" fmla="*/ 2390775 w 3457575"/>
                <a:gd name="connsiteY47" fmla="*/ 142875 h 3822033"/>
                <a:gd name="connsiteX48" fmla="*/ 2457450 w 3457575"/>
                <a:gd name="connsiteY48" fmla="*/ 171450 h 3822033"/>
                <a:gd name="connsiteX49" fmla="*/ 2486025 w 3457575"/>
                <a:gd name="connsiteY49" fmla="*/ 200025 h 3822033"/>
                <a:gd name="connsiteX50" fmla="*/ 2571750 w 3457575"/>
                <a:gd name="connsiteY50" fmla="*/ 228600 h 3822033"/>
                <a:gd name="connsiteX51" fmla="*/ 2676525 w 3457575"/>
                <a:gd name="connsiteY51" fmla="*/ 285750 h 3822033"/>
                <a:gd name="connsiteX52" fmla="*/ 2705100 w 3457575"/>
                <a:gd name="connsiteY52" fmla="*/ 304800 h 3822033"/>
                <a:gd name="connsiteX53" fmla="*/ 2733675 w 3457575"/>
                <a:gd name="connsiteY53" fmla="*/ 333375 h 3822033"/>
                <a:gd name="connsiteX54" fmla="*/ 2771775 w 3457575"/>
                <a:gd name="connsiteY54" fmla="*/ 361950 h 3822033"/>
                <a:gd name="connsiteX55" fmla="*/ 2809875 w 3457575"/>
                <a:gd name="connsiteY55" fmla="*/ 400050 h 3822033"/>
                <a:gd name="connsiteX56" fmla="*/ 2867025 w 3457575"/>
                <a:gd name="connsiteY56" fmla="*/ 438150 h 3822033"/>
                <a:gd name="connsiteX57" fmla="*/ 2905125 w 3457575"/>
                <a:gd name="connsiteY57" fmla="*/ 476250 h 3822033"/>
                <a:gd name="connsiteX58" fmla="*/ 2971800 w 3457575"/>
                <a:gd name="connsiteY58" fmla="*/ 523875 h 3822033"/>
                <a:gd name="connsiteX59" fmla="*/ 2990850 w 3457575"/>
                <a:gd name="connsiteY59" fmla="*/ 552450 h 3822033"/>
                <a:gd name="connsiteX60" fmla="*/ 3028950 w 3457575"/>
                <a:gd name="connsiteY60" fmla="*/ 590550 h 3822033"/>
                <a:gd name="connsiteX61" fmla="*/ 3048000 w 3457575"/>
                <a:gd name="connsiteY61" fmla="*/ 628650 h 3822033"/>
                <a:gd name="connsiteX62" fmla="*/ 3086100 w 3457575"/>
                <a:gd name="connsiteY62" fmla="*/ 666750 h 3822033"/>
                <a:gd name="connsiteX63" fmla="*/ 3124200 w 3457575"/>
                <a:gd name="connsiteY63" fmla="*/ 723900 h 3822033"/>
                <a:gd name="connsiteX64" fmla="*/ 3219450 w 3457575"/>
                <a:gd name="connsiteY64" fmla="*/ 838200 h 3822033"/>
                <a:gd name="connsiteX65" fmla="*/ 3238500 w 3457575"/>
                <a:gd name="connsiteY65" fmla="*/ 885825 h 3822033"/>
                <a:gd name="connsiteX66" fmla="*/ 3276600 w 3457575"/>
                <a:gd name="connsiteY66" fmla="*/ 942975 h 3822033"/>
                <a:gd name="connsiteX67" fmla="*/ 3286125 w 3457575"/>
                <a:gd name="connsiteY67" fmla="*/ 990600 h 3822033"/>
                <a:gd name="connsiteX68" fmla="*/ 3324225 w 3457575"/>
                <a:gd name="connsiteY68" fmla="*/ 1085850 h 3822033"/>
                <a:gd name="connsiteX69" fmla="*/ 3362325 w 3457575"/>
                <a:gd name="connsiteY69" fmla="*/ 1171575 h 3822033"/>
                <a:gd name="connsiteX70" fmla="*/ 3390900 w 3457575"/>
                <a:gd name="connsiteY70" fmla="*/ 1219200 h 3822033"/>
                <a:gd name="connsiteX71" fmla="*/ 3419475 w 3457575"/>
                <a:gd name="connsiteY71" fmla="*/ 1333500 h 3822033"/>
                <a:gd name="connsiteX72" fmla="*/ 3429000 w 3457575"/>
                <a:gd name="connsiteY72" fmla="*/ 1390650 h 3822033"/>
                <a:gd name="connsiteX73" fmla="*/ 3457575 w 3457575"/>
                <a:gd name="connsiteY73" fmla="*/ 1657350 h 3822033"/>
                <a:gd name="connsiteX74" fmla="*/ 3362325 w 3457575"/>
                <a:gd name="connsiteY74" fmla="*/ 2187575 h 3822033"/>
                <a:gd name="connsiteX75" fmla="*/ 3276600 w 3457575"/>
                <a:gd name="connsiteY75" fmla="*/ 2400300 h 3822033"/>
                <a:gd name="connsiteX76" fmla="*/ 3190875 w 3457575"/>
                <a:gd name="connsiteY76" fmla="*/ 2533650 h 3822033"/>
                <a:gd name="connsiteX77" fmla="*/ 3105150 w 3457575"/>
                <a:gd name="connsiteY77" fmla="*/ 2647950 h 3822033"/>
                <a:gd name="connsiteX78" fmla="*/ 3019425 w 3457575"/>
                <a:gd name="connsiteY78" fmla="*/ 2781300 h 3822033"/>
                <a:gd name="connsiteX79" fmla="*/ 2981325 w 3457575"/>
                <a:gd name="connsiteY79" fmla="*/ 2819400 h 3822033"/>
                <a:gd name="connsiteX80" fmla="*/ 2943225 w 3457575"/>
                <a:gd name="connsiteY80" fmla="*/ 2876550 h 3822033"/>
                <a:gd name="connsiteX81" fmla="*/ 2857500 w 3457575"/>
                <a:gd name="connsiteY81" fmla="*/ 2933700 h 3822033"/>
                <a:gd name="connsiteX82" fmla="*/ 2809875 w 3457575"/>
                <a:gd name="connsiteY82" fmla="*/ 2971800 h 3822033"/>
                <a:gd name="connsiteX83" fmla="*/ 2705100 w 3457575"/>
                <a:gd name="connsiteY83" fmla="*/ 3038475 h 3822033"/>
                <a:gd name="connsiteX84" fmla="*/ 2609850 w 3457575"/>
                <a:gd name="connsiteY84" fmla="*/ 3105150 h 3822033"/>
                <a:gd name="connsiteX85" fmla="*/ 2562225 w 3457575"/>
                <a:gd name="connsiteY85" fmla="*/ 3143250 h 3822033"/>
                <a:gd name="connsiteX86" fmla="*/ 2495550 w 3457575"/>
                <a:gd name="connsiteY86" fmla="*/ 3162300 h 3822033"/>
                <a:gd name="connsiteX87" fmla="*/ 2362200 w 3457575"/>
                <a:gd name="connsiteY87" fmla="*/ 3219450 h 3822033"/>
                <a:gd name="connsiteX88" fmla="*/ 2257425 w 3457575"/>
                <a:gd name="connsiteY88" fmla="*/ 3257550 h 3822033"/>
                <a:gd name="connsiteX89" fmla="*/ 2181225 w 3457575"/>
                <a:gd name="connsiteY89" fmla="*/ 3276600 h 3822033"/>
                <a:gd name="connsiteX90" fmla="*/ 2057400 w 3457575"/>
                <a:gd name="connsiteY90" fmla="*/ 3362325 h 3822033"/>
                <a:gd name="connsiteX91" fmla="*/ 2009775 w 3457575"/>
                <a:gd name="connsiteY91" fmla="*/ 3400425 h 3822033"/>
                <a:gd name="connsiteX92" fmla="*/ 1962150 w 3457575"/>
                <a:gd name="connsiteY92" fmla="*/ 3429000 h 3822033"/>
                <a:gd name="connsiteX93" fmla="*/ 1905000 w 3457575"/>
                <a:gd name="connsiteY93" fmla="*/ 3495675 h 3822033"/>
                <a:gd name="connsiteX94" fmla="*/ 1819275 w 3457575"/>
                <a:gd name="connsiteY94" fmla="*/ 3609975 h 3822033"/>
                <a:gd name="connsiteX95" fmla="*/ 1800225 w 3457575"/>
                <a:gd name="connsiteY95" fmla="*/ 3638550 h 3822033"/>
                <a:gd name="connsiteX96" fmla="*/ 1790700 w 3457575"/>
                <a:gd name="connsiteY96" fmla="*/ 3667125 h 3822033"/>
                <a:gd name="connsiteX97" fmla="*/ 1771650 w 3457575"/>
                <a:gd name="connsiteY97" fmla="*/ 3695700 h 3822033"/>
                <a:gd name="connsiteX98" fmla="*/ 1752600 w 3457575"/>
                <a:gd name="connsiteY98" fmla="*/ 3733800 h 3822033"/>
                <a:gd name="connsiteX99" fmla="*/ 1714500 w 3457575"/>
                <a:gd name="connsiteY99" fmla="*/ 3810000 h 3822033"/>
                <a:gd name="connsiteX100" fmla="*/ 1704975 w 3457575"/>
                <a:gd name="connsiteY100" fmla="*/ 3819525 h 3822033"/>
                <a:gd name="connsiteX0" fmla="*/ 1697832 w 3450432"/>
                <a:gd name="connsiteY0" fmla="*/ 3819525 h 3822033"/>
                <a:gd name="connsiteX1" fmla="*/ 1669257 w 3450432"/>
                <a:gd name="connsiteY1" fmla="*/ 3771900 h 3822033"/>
                <a:gd name="connsiteX2" fmla="*/ 1526382 w 3450432"/>
                <a:gd name="connsiteY2" fmla="*/ 3543300 h 3822033"/>
                <a:gd name="connsiteX3" fmla="*/ 1402557 w 3450432"/>
                <a:gd name="connsiteY3" fmla="*/ 3438525 h 3822033"/>
                <a:gd name="connsiteX4" fmla="*/ 1364457 w 3450432"/>
                <a:gd name="connsiteY4" fmla="*/ 3419475 h 3822033"/>
                <a:gd name="connsiteX5" fmla="*/ 1335882 w 3450432"/>
                <a:gd name="connsiteY5" fmla="*/ 3400425 h 3822033"/>
                <a:gd name="connsiteX6" fmla="*/ 1240632 w 3450432"/>
                <a:gd name="connsiteY6" fmla="*/ 3381375 h 3822033"/>
                <a:gd name="connsiteX7" fmla="*/ 1126332 w 3450432"/>
                <a:gd name="connsiteY7" fmla="*/ 3324225 h 3822033"/>
                <a:gd name="connsiteX8" fmla="*/ 1002507 w 3450432"/>
                <a:gd name="connsiteY8" fmla="*/ 3276600 h 3822033"/>
                <a:gd name="connsiteX9" fmla="*/ 954882 w 3450432"/>
                <a:gd name="connsiteY9" fmla="*/ 3238500 h 3822033"/>
                <a:gd name="connsiteX10" fmla="*/ 916782 w 3450432"/>
                <a:gd name="connsiteY10" fmla="*/ 3219450 h 3822033"/>
                <a:gd name="connsiteX11" fmla="*/ 821532 w 3450432"/>
                <a:gd name="connsiteY11" fmla="*/ 3143250 h 3822033"/>
                <a:gd name="connsiteX12" fmla="*/ 650082 w 3450432"/>
                <a:gd name="connsiteY12" fmla="*/ 3035300 h 3822033"/>
                <a:gd name="connsiteX13" fmla="*/ 564357 w 3450432"/>
                <a:gd name="connsiteY13" fmla="*/ 2943225 h 3822033"/>
                <a:gd name="connsiteX14" fmla="*/ 326232 w 3450432"/>
                <a:gd name="connsiteY14" fmla="*/ 2676525 h 3822033"/>
                <a:gd name="connsiteX15" fmla="*/ 269082 w 3450432"/>
                <a:gd name="connsiteY15" fmla="*/ 2581275 h 3822033"/>
                <a:gd name="connsiteX16" fmla="*/ 202407 w 3450432"/>
                <a:gd name="connsiteY16" fmla="*/ 2451100 h 3822033"/>
                <a:gd name="connsiteX17" fmla="*/ 142082 w 3450432"/>
                <a:gd name="connsiteY17" fmla="*/ 2362200 h 3822033"/>
                <a:gd name="connsiteX18" fmla="*/ 100807 w 3450432"/>
                <a:gd name="connsiteY18" fmla="*/ 2238375 h 3822033"/>
                <a:gd name="connsiteX19" fmla="*/ 30957 w 3450432"/>
                <a:gd name="connsiteY19" fmla="*/ 1958975 h 3822033"/>
                <a:gd name="connsiteX20" fmla="*/ 21432 w 3450432"/>
                <a:gd name="connsiteY20" fmla="*/ 1819275 h 3822033"/>
                <a:gd name="connsiteX21" fmla="*/ 2382 w 3450432"/>
                <a:gd name="connsiteY21" fmla="*/ 1657350 h 3822033"/>
                <a:gd name="connsiteX22" fmla="*/ 2382 w 3450432"/>
                <a:gd name="connsiteY22" fmla="*/ 1428750 h 3822033"/>
                <a:gd name="connsiteX23" fmla="*/ 21432 w 3450432"/>
                <a:gd name="connsiteY23" fmla="*/ 1304925 h 3822033"/>
                <a:gd name="connsiteX24" fmla="*/ 30957 w 3450432"/>
                <a:gd name="connsiteY24" fmla="*/ 1247775 h 3822033"/>
                <a:gd name="connsiteX25" fmla="*/ 69057 w 3450432"/>
                <a:gd name="connsiteY25" fmla="*/ 1152525 h 3822033"/>
                <a:gd name="connsiteX26" fmla="*/ 107157 w 3450432"/>
                <a:gd name="connsiteY26" fmla="*/ 990600 h 3822033"/>
                <a:gd name="connsiteX27" fmla="*/ 126207 w 3450432"/>
                <a:gd name="connsiteY27" fmla="*/ 923925 h 3822033"/>
                <a:gd name="connsiteX28" fmla="*/ 164307 w 3450432"/>
                <a:gd name="connsiteY28" fmla="*/ 866775 h 3822033"/>
                <a:gd name="connsiteX29" fmla="*/ 221457 w 3450432"/>
                <a:gd name="connsiteY29" fmla="*/ 762000 h 3822033"/>
                <a:gd name="connsiteX30" fmla="*/ 297657 w 3450432"/>
                <a:gd name="connsiteY30" fmla="*/ 647700 h 3822033"/>
                <a:gd name="connsiteX31" fmla="*/ 545307 w 3450432"/>
                <a:gd name="connsiteY31" fmla="*/ 361950 h 3822033"/>
                <a:gd name="connsiteX32" fmla="*/ 602457 w 3450432"/>
                <a:gd name="connsiteY32" fmla="*/ 323850 h 3822033"/>
                <a:gd name="connsiteX33" fmla="*/ 659607 w 3450432"/>
                <a:gd name="connsiteY33" fmla="*/ 285750 h 3822033"/>
                <a:gd name="connsiteX34" fmla="*/ 754857 w 3450432"/>
                <a:gd name="connsiteY34" fmla="*/ 238125 h 3822033"/>
                <a:gd name="connsiteX35" fmla="*/ 792957 w 3450432"/>
                <a:gd name="connsiteY35" fmla="*/ 219075 h 3822033"/>
                <a:gd name="connsiteX36" fmla="*/ 888207 w 3450432"/>
                <a:gd name="connsiteY36" fmla="*/ 161925 h 3822033"/>
                <a:gd name="connsiteX37" fmla="*/ 954882 w 3450432"/>
                <a:gd name="connsiteY37" fmla="*/ 133350 h 3822033"/>
                <a:gd name="connsiteX38" fmla="*/ 1116807 w 3450432"/>
                <a:gd name="connsiteY38" fmla="*/ 76200 h 3822033"/>
                <a:gd name="connsiteX39" fmla="*/ 1154907 w 3450432"/>
                <a:gd name="connsiteY39" fmla="*/ 66675 h 3822033"/>
                <a:gd name="connsiteX40" fmla="*/ 1431132 w 3450432"/>
                <a:gd name="connsiteY40" fmla="*/ 0 h 3822033"/>
                <a:gd name="connsiteX41" fmla="*/ 2031207 w 3450432"/>
                <a:gd name="connsiteY41" fmla="*/ 9525 h 3822033"/>
                <a:gd name="connsiteX42" fmla="*/ 2097882 w 3450432"/>
                <a:gd name="connsiteY42" fmla="*/ 19050 h 3822033"/>
                <a:gd name="connsiteX43" fmla="*/ 2155032 w 3450432"/>
                <a:gd name="connsiteY43" fmla="*/ 47625 h 3822033"/>
                <a:gd name="connsiteX44" fmla="*/ 2221707 w 3450432"/>
                <a:gd name="connsiteY44" fmla="*/ 66675 h 3822033"/>
                <a:gd name="connsiteX45" fmla="*/ 2336007 w 3450432"/>
                <a:gd name="connsiteY45" fmla="*/ 133350 h 3822033"/>
                <a:gd name="connsiteX46" fmla="*/ 2383632 w 3450432"/>
                <a:gd name="connsiteY46" fmla="*/ 142875 h 3822033"/>
                <a:gd name="connsiteX47" fmla="*/ 2450307 w 3450432"/>
                <a:gd name="connsiteY47" fmla="*/ 171450 h 3822033"/>
                <a:gd name="connsiteX48" fmla="*/ 2478882 w 3450432"/>
                <a:gd name="connsiteY48" fmla="*/ 200025 h 3822033"/>
                <a:gd name="connsiteX49" fmla="*/ 2564607 w 3450432"/>
                <a:gd name="connsiteY49" fmla="*/ 228600 h 3822033"/>
                <a:gd name="connsiteX50" fmla="*/ 2669382 w 3450432"/>
                <a:gd name="connsiteY50" fmla="*/ 285750 h 3822033"/>
                <a:gd name="connsiteX51" fmla="*/ 2697957 w 3450432"/>
                <a:gd name="connsiteY51" fmla="*/ 304800 h 3822033"/>
                <a:gd name="connsiteX52" fmla="*/ 2726532 w 3450432"/>
                <a:gd name="connsiteY52" fmla="*/ 333375 h 3822033"/>
                <a:gd name="connsiteX53" fmla="*/ 2764632 w 3450432"/>
                <a:gd name="connsiteY53" fmla="*/ 361950 h 3822033"/>
                <a:gd name="connsiteX54" fmla="*/ 2802732 w 3450432"/>
                <a:gd name="connsiteY54" fmla="*/ 400050 h 3822033"/>
                <a:gd name="connsiteX55" fmla="*/ 2859882 w 3450432"/>
                <a:gd name="connsiteY55" fmla="*/ 438150 h 3822033"/>
                <a:gd name="connsiteX56" fmla="*/ 2897982 w 3450432"/>
                <a:gd name="connsiteY56" fmla="*/ 476250 h 3822033"/>
                <a:gd name="connsiteX57" fmla="*/ 2964657 w 3450432"/>
                <a:gd name="connsiteY57" fmla="*/ 523875 h 3822033"/>
                <a:gd name="connsiteX58" fmla="*/ 2983707 w 3450432"/>
                <a:gd name="connsiteY58" fmla="*/ 552450 h 3822033"/>
                <a:gd name="connsiteX59" fmla="*/ 3021807 w 3450432"/>
                <a:gd name="connsiteY59" fmla="*/ 590550 h 3822033"/>
                <a:gd name="connsiteX60" fmla="*/ 3040857 w 3450432"/>
                <a:gd name="connsiteY60" fmla="*/ 628650 h 3822033"/>
                <a:gd name="connsiteX61" fmla="*/ 3078957 w 3450432"/>
                <a:gd name="connsiteY61" fmla="*/ 666750 h 3822033"/>
                <a:gd name="connsiteX62" fmla="*/ 3117057 w 3450432"/>
                <a:gd name="connsiteY62" fmla="*/ 723900 h 3822033"/>
                <a:gd name="connsiteX63" fmla="*/ 3212307 w 3450432"/>
                <a:gd name="connsiteY63" fmla="*/ 838200 h 3822033"/>
                <a:gd name="connsiteX64" fmla="*/ 3231357 w 3450432"/>
                <a:gd name="connsiteY64" fmla="*/ 885825 h 3822033"/>
                <a:gd name="connsiteX65" fmla="*/ 3269457 w 3450432"/>
                <a:gd name="connsiteY65" fmla="*/ 942975 h 3822033"/>
                <a:gd name="connsiteX66" fmla="*/ 3278982 w 3450432"/>
                <a:gd name="connsiteY66" fmla="*/ 990600 h 3822033"/>
                <a:gd name="connsiteX67" fmla="*/ 3317082 w 3450432"/>
                <a:gd name="connsiteY67" fmla="*/ 1085850 h 3822033"/>
                <a:gd name="connsiteX68" fmla="*/ 3355182 w 3450432"/>
                <a:gd name="connsiteY68" fmla="*/ 1171575 h 3822033"/>
                <a:gd name="connsiteX69" fmla="*/ 3383757 w 3450432"/>
                <a:gd name="connsiteY69" fmla="*/ 1219200 h 3822033"/>
                <a:gd name="connsiteX70" fmla="*/ 3412332 w 3450432"/>
                <a:gd name="connsiteY70" fmla="*/ 1333500 h 3822033"/>
                <a:gd name="connsiteX71" fmla="*/ 3421857 w 3450432"/>
                <a:gd name="connsiteY71" fmla="*/ 1390650 h 3822033"/>
                <a:gd name="connsiteX72" fmla="*/ 3450432 w 3450432"/>
                <a:gd name="connsiteY72" fmla="*/ 1657350 h 3822033"/>
                <a:gd name="connsiteX73" fmla="*/ 3355182 w 3450432"/>
                <a:gd name="connsiteY73" fmla="*/ 2187575 h 3822033"/>
                <a:gd name="connsiteX74" fmla="*/ 3269457 w 3450432"/>
                <a:gd name="connsiteY74" fmla="*/ 2400300 h 3822033"/>
                <a:gd name="connsiteX75" fmla="*/ 3183732 w 3450432"/>
                <a:gd name="connsiteY75" fmla="*/ 2533650 h 3822033"/>
                <a:gd name="connsiteX76" fmla="*/ 3098007 w 3450432"/>
                <a:gd name="connsiteY76" fmla="*/ 2647950 h 3822033"/>
                <a:gd name="connsiteX77" fmla="*/ 3012282 w 3450432"/>
                <a:gd name="connsiteY77" fmla="*/ 2781300 h 3822033"/>
                <a:gd name="connsiteX78" fmla="*/ 2974182 w 3450432"/>
                <a:gd name="connsiteY78" fmla="*/ 2819400 h 3822033"/>
                <a:gd name="connsiteX79" fmla="*/ 2936082 w 3450432"/>
                <a:gd name="connsiteY79" fmla="*/ 2876550 h 3822033"/>
                <a:gd name="connsiteX80" fmla="*/ 2850357 w 3450432"/>
                <a:gd name="connsiteY80" fmla="*/ 2933700 h 3822033"/>
                <a:gd name="connsiteX81" fmla="*/ 2802732 w 3450432"/>
                <a:gd name="connsiteY81" fmla="*/ 2971800 h 3822033"/>
                <a:gd name="connsiteX82" fmla="*/ 2697957 w 3450432"/>
                <a:gd name="connsiteY82" fmla="*/ 3038475 h 3822033"/>
                <a:gd name="connsiteX83" fmla="*/ 2602707 w 3450432"/>
                <a:gd name="connsiteY83" fmla="*/ 3105150 h 3822033"/>
                <a:gd name="connsiteX84" fmla="*/ 2555082 w 3450432"/>
                <a:gd name="connsiteY84" fmla="*/ 3143250 h 3822033"/>
                <a:gd name="connsiteX85" fmla="*/ 2488407 w 3450432"/>
                <a:gd name="connsiteY85" fmla="*/ 3162300 h 3822033"/>
                <a:gd name="connsiteX86" fmla="*/ 2355057 w 3450432"/>
                <a:gd name="connsiteY86" fmla="*/ 3219450 h 3822033"/>
                <a:gd name="connsiteX87" fmla="*/ 2250282 w 3450432"/>
                <a:gd name="connsiteY87" fmla="*/ 3257550 h 3822033"/>
                <a:gd name="connsiteX88" fmla="*/ 2174082 w 3450432"/>
                <a:gd name="connsiteY88" fmla="*/ 3276600 h 3822033"/>
                <a:gd name="connsiteX89" fmla="*/ 2050257 w 3450432"/>
                <a:gd name="connsiteY89" fmla="*/ 3362325 h 3822033"/>
                <a:gd name="connsiteX90" fmla="*/ 2002632 w 3450432"/>
                <a:gd name="connsiteY90" fmla="*/ 3400425 h 3822033"/>
                <a:gd name="connsiteX91" fmla="*/ 1955007 w 3450432"/>
                <a:gd name="connsiteY91" fmla="*/ 3429000 h 3822033"/>
                <a:gd name="connsiteX92" fmla="*/ 1897857 w 3450432"/>
                <a:gd name="connsiteY92" fmla="*/ 3495675 h 3822033"/>
                <a:gd name="connsiteX93" fmla="*/ 1812132 w 3450432"/>
                <a:gd name="connsiteY93" fmla="*/ 3609975 h 3822033"/>
                <a:gd name="connsiteX94" fmla="*/ 1793082 w 3450432"/>
                <a:gd name="connsiteY94" fmla="*/ 3638550 h 3822033"/>
                <a:gd name="connsiteX95" fmla="*/ 1783557 w 3450432"/>
                <a:gd name="connsiteY95" fmla="*/ 3667125 h 3822033"/>
                <a:gd name="connsiteX96" fmla="*/ 1764507 w 3450432"/>
                <a:gd name="connsiteY96" fmla="*/ 3695700 h 3822033"/>
                <a:gd name="connsiteX97" fmla="*/ 1745457 w 3450432"/>
                <a:gd name="connsiteY97" fmla="*/ 3733800 h 3822033"/>
                <a:gd name="connsiteX98" fmla="*/ 1707357 w 3450432"/>
                <a:gd name="connsiteY98" fmla="*/ 3810000 h 3822033"/>
                <a:gd name="connsiteX99" fmla="*/ 1697832 w 3450432"/>
                <a:gd name="connsiteY99" fmla="*/ 3819525 h 3822033"/>
                <a:gd name="connsiteX0" fmla="*/ 1702768 w 3455368"/>
                <a:gd name="connsiteY0" fmla="*/ 3819525 h 3822033"/>
                <a:gd name="connsiteX1" fmla="*/ 1674193 w 3455368"/>
                <a:gd name="connsiteY1" fmla="*/ 3771900 h 3822033"/>
                <a:gd name="connsiteX2" fmla="*/ 1531318 w 3455368"/>
                <a:gd name="connsiteY2" fmla="*/ 3543300 h 3822033"/>
                <a:gd name="connsiteX3" fmla="*/ 1407493 w 3455368"/>
                <a:gd name="connsiteY3" fmla="*/ 3438525 h 3822033"/>
                <a:gd name="connsiteX4" fmla="*/ 1369393 w 3455368"/>
                <a:gd name="connsiteY4" fmla="*/ 3419475 h 3822033"/>
                <a:gd name="connsiteX5" fmla="*/ 1340818 w 3455368"/>
                <a:gd name="connsiteY5" fmla="*/ 3400425 h 3822033"/>
                <a:gd name="connsiteX6" fmla="*/ 1245568 w 3455368"/>
                <a:gd name="connsiteY6" fmla="*/ 3381375 h 3822033"/>
                <a:gd name="connsiteX7" fmla="*/ 1131268 w 3455368"/>
                <a:gd name="connsiteY7" fmla="*/ 3324225 h 3822033"/>
                <a:gd name="connsiteX8" fmla="*/ 1007443 w 3455368"/>
                <a:gd name="connsiteY8" fmla="*/ 3276600 h 3822033"/>
                <a:gd name="connsiteX9" fmla="*/ 959818 w 3455368"/>
                <a:gd name="connsiteY9" fmla="*/ 3238500 h 3822033"/>
                <a:gd name="connsiteX10" fmla="*/ 921718 w 3455368"/>
                <a:gd name="connsiteY10" fmla="*/ 3219450 h 3822033"/>
                <a:gd name="connsiteX11" fmla="*/ 826468 w 3455368"/>
                <a:gd name="connsiteY11" fmla="*/ 3143250 h 3822033"/>
                <a:gd name="connsiteX12" fmla="*/ 655018 w 3455368"/>
                <a:gd name="connsiteY12" fmla="*/ 3035300 h 3822033"/>
                <a:gd name="connsiteX13" fmla="*/ 569293 w 3455368"/>
                <a:gd name="connsiteY13" fmla="*/ 2943225 h 3822033"/>
                <a:gd name="connsiteX14" fmla="*/ 331168 w 3455368"/>
                <a:gd name="connsiteY14" fmla="*/ 2676525 h 3822033"/>
                <a:gd name="connsiteX15" fmla="*/ 274018 w 3455368"/>
                <a:gd name="connsiteY15" fmla="*/ 2581275 h 3822033"/>
                <a:gd name="connsiteX16" fmla="*/ 207343 w 3455368"/>
                <a:gd name="connsiteY16" fmla="*/ 2451100 h 3822033"/>
                <a:gd name="connsiteX17" fmla="*/ 147018 w 3455368"/>
                <a:gd name="connsiteY17" fmla="*/ 2362200 h 3822033"/>
                <a:gd name="connsiteX18" fmla="*/ 105743 w 3455368"/>
                <a:gd name="connsiteY18" fmla="*/ 2238375 h 3822033"/>
                <a:gd name="connsiteX19" fmla="*/ 35893 w 3455368"/>
                <a:gd name="connsiteY19" fmla="*/ 1958975 h 3822033"/>
                <a:gd name="connsiteX20" fmla="*/ 26368 w 3455368"/>
                <a:gd name="connsiteY20" fmla="*/ 1819275 h 3822033"/>
                <a:gd name="connsiteX21" fmla="*/ 968 w 3455368"/>
                <a:gd name="connsiteY21" fmla="*/ 1682750 h 3822033"/>
                <a:gd name="connsiteX22" fmla="*/ 7318 w 3455368"/>
                <a:gd name="connsiteY22" fmla="*/ 1428750 h 3822033"/>
                <a:gd name="connsiteX23" fmla="*/ 26368 w 3455368"/>
                <a:gd name="connsiteY23" fmla="*/ 1304925 h 3822033"/>
                <a:gd name="connsiteX24" fmla="*/ 35893 w 3455368"/>
                <a:gd name="connsiteY24" fmla="*/ 1247775 h 3822033"/>
                <a:gd name="connsiteX25" fmla="*/ 73993 w 3455368"/>
                <a:gd name="connsiteY25" fmla="*/ 1152525 h 3822033"/>
                <a:gd name="connsiteX26" fmla="*/ 112093 w 3455368"/>
                <a:gd name="connsiteY26" fmla="*/ 990600 h 3822033"/>
                <a:gd name="connsiteX27" fmla="*/ 131143 w 3455368"/>
                <a:gd name="connsiteY27" fmla="*/ 923925 h 3822033"/>
                <a:gd name="connsiteX28" fmla="*/ 169243 w 3455368"/>
                <a:gd name="connsiteY28" fmla="*/ 866775 h 3822033"/>
                <a:gd name="connsiteX29" fmla="*/ 226393 w 3455368"/>
                <a:gd name="connsiteY29" fmla="*/ 762000 h 3822033"/>
                <a:gd name="connsiteX30" fmla="*/ 302593 w 3455368"/>
                <a:gd name="connsiteY30" fmla="*/ 647700 h 3822033"/>
                <a:gd name="connsiteX31" fmla="*/ 550243 w 3455368"/>
                <a:gd name="connsiteY31" fmla="*/ 361950 h 3822033"/>
                <a:gd name="connsiteX32" fmla="*/ 607393 w 3455368"/>
                <a:gd name="connsiteY32" fmla="*/ 323850 h 3822033"/>
                <a:gd name="connsiteX33" fmla="*/ 664543 w 3455368"/>
                <a:gd name="connsiteY33" fmla="*/ 285750 h 3822033"/>
                <a:gd name="connsiteX34" fmla="*/ 759793 w 3455368"/>
                <a:gd name="connsiteY34" fmla="*/ 238125 h 3822033"/>
                <a:gd name="connsiteX35" fmla="*/ 797893 w 3455368"/>
                <a:gd name="connsiteY35" fmla="*/ 219075 h 3822033"/>
                <a:gd name="connsiteX36" fmla="*/ 893143 w 3455368"/>
                <a:gd name="connsiteY36" fmla="*/ 161925 h 3822033"/>
                <a:gd name="connsiteX37" fmla="*/ 959818 w 3455368"/>
                <a:gd name="connsiteY37" fmla="*/ 133350 h 3822033"/>
                <a:gd name="connsiteX38" fmla="*/ 1121743 w 3455368"/>
                <a:gd name="connsiteY38" fmla="*/ 76200 h 3822033"/>
                <a:gd name="connsiteX39" fmla="*/ 1159843 w 3455368"/>
                <a:gd name="connsiteY39" fmla="*/ 66675 h 3822033"/>
                <a:gd name="connsiteX40" fmla="*/ 1436068 w 3455368"/>
                <a:gd name="connsiteY40" fmla="*/ 0 h 3822033"/>
                <a:gd name="connsiteX41" fmla="*/ 2036143 w 3455368"/>
                <a:gd name="connsiteY41" fmla="*/ 9525 h 3822033"/>
                <a:gd name="connsiteX42" fmla="*/ 2102818 w 3455368"/>
                <a:gd name="connsiteY42" fmla="*/ 19050 h 3822033"/>
                <a:gd name="connsiteX43" fmla="*/ 2159968 w 3455368"/>
                <a:gd name="connsiteY43" fmla="*/ 47625 h 3822033"/>
                <a:gd name="connsiteX44" fmla="*/ 2226643 w 3455368"/>
                <a:gd name="connsiteY44" fmla="*/ 66675 h 3822033"/>
                <a:gd name="connsiteX45" fmla="*/ 2340943 w 3455368"/>
                <a:gd name="connsiteY45" fmla="*/ 133350 h 3822033"/>
                <a:gd name="connsiteX46" fmla="*/ 2388568 w 3455368"/>
                <a:gd name="connsiteY46" fmla="*/ 142875 h 3822033"/>
                <a:gd name="connsiteX47" fmla="*/ 2455243 w 3455368"/>
                <a:gd name="connsiteY47" fmla="*/ 171450 h 3822033"/>
                <a:gd name="connsiteX48" fmla="*/ 2483818 w 3455368"/>
                <a:gd name="connsiteY48" fmla="*/ 200025 h 3822033"/>
                <a:gd name="connsiteX49" fmla="*/ 2569543 w 3455368"/>
                <a:gd name="connsiteY49" fmla="*/ 228600 h 3822033"/>
                <a:gd name="connsiteX50" fmla="*/ 2674318 w 3455368"/>
                <a:gd name="connsiteY50" fmla="*/ 285750 h 3822033"/>
                <a:gd name="connsiteX51" fmla="*/ 2702893 w 3455368"/>
                <a:gd name="connsiteY51" fmla="*/ 304800 h 3822033"/>
                <a:gd name="connsiteX52" fmla="*/ 2731468 w 3455368"/>
                <a:gd name="connsiteY52" fmla="*/ 333375 h 3822033"/>
                <a:gd name="connsiteX53" fmla="*/ 2769568 w 3455368"/>
                <a:gd name="connsiteY53" fmla="*/ 361950 h 3822033"/>
                <a:gd name="connsiteX54" fmla="*/ 2807668 w 3455368"/>
                <a:gd name="connsiteY54" fmla="*/ 400050 h 3822033"/>
                <a:gd name="connsiteX55" fmla="*/ 2864818 w 3455368"/>
                <a:gd name="connsiteY55" fmla="*/ 438150 h 3822033"/>
                <a:gd name="connsiteX56" fmla="*/ 2902918 w 3455368"/>
                <a:gd name="connsiteY56" fmla="*/ 476250 h 3822033"/>
                <a:gd name="connsiteX57" fmla="*/ 2969593 w 3455368"/>
                <a:gd name="connsiteY57" fmla="*/ 523875 h 3822033"/>
                <a:gd name="connsiteX58" fmla="*/ 2988643 w 3455368"/>
                <a:gd name="connsiteY58" fmla="*/ 552450 h 3822033"/>
                <a:gd name="connsiteX59" fmla="*/ 3026743 w 3455368"/>
                <a:gd name="connsiteY59" fmla="*/ 590550 h 3822033"/>
                <a:gd name="connsiteX60" fmla="*/ 3045793 w 3455368"/>
                <a:gd name="connsiteY60" fmla="*/ 628650 h 3822033"/>
                <a:gd name="connsiteX61" fmla="*/ 3083893 w 3455368"/>
                <a:gd name="connsiteY61" fmla="*/ 666750 h 3822033"/>
                <a:gd name="connsiteX62" fmla="*/ 3121993 w 3455368"/>
                <a:gd name="connsiteY62" fmla="*/ 723900 h 3822033"/>
                <a:gd name="connsiteX63" fmla="*/ 3217243 w 3455368"/>
                <a:gd name="connsiteY63" fmla="*/ 838200 h 3822033"/>
                <a:gd name="connsiteX64" fmla="*/ 3236293 w 3455368"/>
                <a:gd name="connsiteY64" fmla="*/ 885825 h 3822033"/>
                <a:gd name="connsiteX65" fmla="*/ 3274393 w 3455368"/>
                <a:gd name="connsiteY65" fmla="*/ 942975 h 3822033"/>
                <a:gd name="connsiteX66" fmla="*/ 3283918 w 3455368"/>
                <a:gd name="connsiteY66" fmla="*/ 990600 h 3822033"/>
                <a:gd name="connsiteX67" fmla="*/ 3322018 w 3455368"/>
                <a:gd name="connsiteY67" fmla="*/ 1085850 h 3822033"/>
                <a:gd name="connsiteX68" fmla="*/ 3360118 w 3455368"/>
                <a:gd name="connsiteY68" fmla="*/ 1171575 h 3822033"/>
                <a:gd name="connsiteX69" fmla="*/ 3388693 w 3455368"/>
                <a:gd name="connsiteY69" fmla="*/ 1219200 h 3822033"/>
                <a:gd name="connsiteX70" fmla="*/ 3417268 w 3455368"/>
                <a:gd name="connsiteY70" fmla="*/ 1333500 h 3822033"/>
                <a:gd name="connsiteX71" fmla="*/ 3426793 w 3455368"/>
                <a:gd name="connsiteY71" fmla="*/ 1390650 h 3822033"/>
                <a:gd name="connsiteX72" fmla="*/ 3455368 w 3455368"/>
                <a:gd name="connsiteY72" fmla="*/ 1657350 h 3822033"/>
                <a:gd name="connsiteX73" fmla="*/ 3360118 w 3455368"/>
                <a:gd name="connsiteY73" fmla="*/ 2187575 h 3822033"/>
                <a:gd name="connsiteX74" fmla="*/ 3274393 w 3455368"/>
                <a:gd name="connsiteY74" fmla="*/ 2400300 h 3822033"/>
                <a:gd name="connsiteX75" fmla="*/ 3188668 w 3455368"/>
                <a:gd name="connsiteY75" fmla="*/ 2533650 h 3822033"/>
                <a:gd name="connsiteX76" fmla="*/ 3102943 w 3455368"/>
                <a:gd name="connsiteY76" fmla="*/ 2647950 h 3822033"/>
                <a:gd name="connsiteX77" fmla="*/ 3017218 w 3455368"/>
                <a:gd name="connsiteY77" fmla="*/ 2781300 h 3822033"/>
                <a:gd name="connsiteX78" fmla="*/ 2979118 w 3455368"/>
                <a:gd name="connsiteY78" fmla="*/ 2819400 h 3822033"/>
                <a:gd name="connsiteX79" fmla="*/ 2941018 w 3455368"/>
                <a:gd name="connsiteY79" fmla="*/ 2876550 h 3822033"/>
                <a:gd name="connsiteX80" fmla="*/ 2855293 w 3455368"/>
                <a:gd name="connsiteY80" fmla="*/ 2933700 h 3822033"/>
                <a:gd name="connsiteX81" fmla="*/ 2807668 w 3455368"/>
                <a:gd name="connsiteY81" fmla="*/ 2971800 h 3822033"/>
                <a:gd name="connsiteX82" fmla="*/ 2702893 w 3455368"/>
                <a:gd name="connsiteY82" fmla="*/ 3038475 h 3822033"/>
                <a:gd name="connsiteX83" fmla="*/ 2607643 w 3455368"/>
                <a:gd name="connsiteY83" fmla="*/ 3105150 h 3822033"/>
                <a:gd name="connsiteX84" fmla="*/ 2560018 w 3455368"/>
                <a:gd name="connsiteY84" fmla="*/ 3143250 h 3822033"/>
                <a:gd name="connsiteX85" fmla="*/ 2493343 w 3455368"/>
                <a:gd name="connsiteY85" fmla="*/ 3162300 h 3822033"/>
                <a:gd name="connsiteX86" fmla="*/ 2359993 w 3455368"/>
                <a:gd name="connsiteY86" fmla="*/ 3219450 h 3822033"/>
                <a:gd name="connsiteX87" fmla="*/ 2255218 w 3455368"/>
                <a:gd name="connsiteY87" fmla="*/ 3257550 h 3822033"/>
                <a:gd name="connsiteX88" fmla="*/ 2179018 w 3455368"/>
                <a:gd name="connsiteY88" fmla="*/ 3276600 h 3822033"/>
                <a:gd name="connsiteX89" fmla="*/ 2055193 w 3455368"/>
                <a:gd name="connsiteY89" fmla="*/ 3362325 h 3822033"/>
                <a:gd name="connsiteX90" fmla="*/ 2007568 w 3455368"/>
                <a:gd name="connsiteY90" fmla="*/ 3400425 h 3822033"/>
                <a:gd name="connsiteX91" fmla="*/ 1959943 w 3455368"/>
                <a:gd name="connsiteY91" fmla="*/ 3429000 h 3822033"/>
                <a:gd name="connsiteX92" fmla="*/ 1902793 w 3455368"/>
                <a:gd name="connsiteY92" fmla="*/ 3495675 h 3822033"/>
                <a:gd name="connsiteX93" fmla="*/ 1817068 w 3455368"/>
                <a:gd name="connsiteY93" fmla="*/ 3609975 h 3822033"/>
                <a:gd name="connsiteX94" fmla="*/ 1798018 w 3455368"/>
                <a:gd name="connsiteY94" fmla="*/ 3638550 h 3822033"/>
                <a:gd name="connsiteX95" fmla="*/ 1788493 w 3455368"/>
                <a:gd name="connsiteY95" fmla="*/ 3667125 h 3822033"/>
                <a:gd name="connsiteX96" fmla="*/ 1769443 w 3455368"/>
                <a:gd name="connsiteY96" fmla="*/ 3695700 h 3822033"/>
                <a:gd name="connsiteX97" fmla="*/ 1750393 w 3455368"/>
                <a:gd name="connsiteY97" fmla="*/ 3733800 h 3822033"/>
                <a:gd name="connsiteX98" fmla="*/ 1712293 w 3455368"/>
                <a:gd name="connsiteY98" fmla="*/ 3810000 h 3822033"/>
                <a:gd name="connsiteX99" fmla="*/ 1702768 w 3455368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34976 w 3454451"/>
                <a:gd name="connsiteY24" fmla="*/ 1247775 h 3822033"/>
                <a:gd name="connsiteX25" fmla="*/ 73076 w 3454451"/>
                <a:gd name="connsiteY25" fmla="*/ 1152525 h 3822033"/>
                <a:gd name="connsiteX26" fmla="*/ 111176 w 3454451"/>
                <a:gd name="connsiteY26" fmla="*/ 990600 h 3822033"/>
                <a:gd name="connsiteX27" fmla="*/ 130226 w 3454451"/>
                <a:gd name="connsiteY27" fmla="*/ 923925 h 3822033"/>
                <a:gd name="connsiteX28" fmla="*/ 168326 w 3454451"/>
                <a:gd name="connsiteY28" fmla="*/ 866775 h 3822033"/>
                <a:gd name="connsiteX29" fmla="*/ 225476 w 3454451"/>
                <a:gd name="connsiteY29" fmla="*/ 762000 h 3822033"/>
                <a:gd name="connsiteX30" fmla="*/ 301676 w 3454451"/>
                <a:gd name="connsiteY30" fmla="*/ 647700 h 3822033"/>
                <a:gd name="connsiteX31" fmla="*/ 549326 w 3454451"/>
                <a:gd name="connsiteY31" fmla="*/ 361950 h 3822033"/>
                <a:gd name="connsiteX32" fmla="*/ 606476 w 3454451"/>
                <a:gd name="connsiteY32" fmla="*/ 323850 h 3822033"/>
                <a:gd name="connsiteX33" fmla="*/ 663626 w 3454451"/>
                <a:gd name="connsiteY33" fmla="*/ 285750 h 3822033"/>
                <a:gd name="connsiteX34" fmla="*/ 758876 w 3454451"/>
                <a:gd name="connsiteY34" fmla="*/ 238125 h 3822033"/>
                <a:gd name="connsiteX35" fmla="*/ 796976 w 3454451"/>
                <a:gd name="connsiteY35" fmla="*/ 219075 h 3822033"/>
                <a:gd name="connsiteX36" fmla="*/ 892226 w 3454451"/>
                <a:gd name="connsiteY36" fmla="*/ 161925 h 3822033"/>
                <a:gd name="connsiteX37" fmla="*/ 958901 w 3454451"/>
                <a:gd name="connsiteY37" fmla="*/ 133350 h 3822033"/>
                <a:gd name="connsiteX38" fmla="*/ 1120826 w 3454451"/>
                <a:gd name="connsiteY38" fmla="*/ 76200 h 3822033"/>
                <a:gd name="connsiteX39" fmla="*/ 1158926 w 3454451"/>
                <a:gd name="connsiteY39" fmla="*/ 66675 h 3822033"/>
                <a:gd name="connsiteX40" fmla="*/ 1435151 w 3454451"/>
                <a:gd name="connsiteY40" fmla="*/ 0 h 3822033"/>
                <a:gd name="connsiteX41" fmla="*/ 2035226 w 3454451"/>
                <a:gd name="connsiteY41" fmla="*/ 9525 h 3822033"/>
                <a:gd name="connsiteX42" fmla="*/ 2101901 w 3454451"/>
                <a:gd name="connsiteY42" fmla="*/ 19050 h 3822033"/>
                <a:gd name="connsiteX43" fmla="*/ 2159051 w 3454451"/>
                <a:gd name="connsiteY43" fmla="*/ 47625 h 3822033"/>
                <a:gd name="connsiteX44" fmla="*/ 2225726 w 3454451"/>
                <a:gd name="connsiteY44" fmla="*/ 66675 h 3822033"/>
                <a:gd name="connsiteX45" fmla="*/ 2340026 w 3454451"/>
                <a:gd name="connsiteY45" fmla="*/ 133350 h 3822033"/>
                <a:gd name="connsiteX46" fmla="*/ 2387651 w 3454451"/>
                <a:gd name="connsiteY46" fmla="*/ 142875 h 3822033"/>
                <a:gd name="connsiteX47" fmla="*/ 2454326 w 3454451"/>
                <a:gd name="connsiteY47" fmla="*/ 171450 h 3822033"/>
                <a:gd name="connsiteX48" fmla="*/ 2482901 w 3454451"/>
                <a:gd name="connsiteY48" fmla="*/ 200025 h 3822033"/>
                <a:gd name="connsiteX49" fmla="*/ 2568626 w 3454451"/>
                <a:gd name="connsiteY49" fmla="*/ 228600 h 3822033"/>
                <a:gd name="connsiteX50" fmla="*/ 2673401 w 3454451"/>
                <a:gd name="connsiteY50" fmla="*/ 285750 h 3822033"/>
                <a:gd name="connsiteX51" fmla="*/ 2701976 w 3454451"/>
                <a:gd name="connsiteY51" fmla="*/ 304800 h 3822033"/>
                <a:gd name="connsiteX52" fmla="*/ 2730551 w 3454451"/>
                <a:gd name="connsiteY52" fmla="*/ 333375 h 3822033"/>
                <a:gd name="connsiteX53" fmla="*/ 2768651 w 3454451"/>
                <a:gd name="connsiteY53" fmla="*/ 361950 h 3822033"/>
                <a:gd name="connsiteX54" fmla="*/ 2806751 w 3454451"/>
                <a:gd name="connsiteY54" fmla="*/ 400050 h 3822033"/>
                <a:gd name="connsiteX55" fmla="*/ 2863901 w 3454451"/>
                <a:gd name="connsiteY55" fmla="*/ 438150 h 3822033"/>
                <a:gd name="connsiteX56" fmla="*/ 2902001 w 3454451"/>
                <a:gd name="connsiteY56" fmla="*/ 476250 h 3822033"/>
                <a:gd name="connsiteX57" fmla="*/ 2968676 w 3454451"/>
                <a:gd name="connsiteY57" fmla="*/ 523875 h 3822033"/>
                <a:gd name="connsiteX58" fmla="*/ 2987726 w 3454451"/>
                <a:gd name="connsiteY58" fmla="*/ 552450 h 3822033"/>
                <a:gd name="connsiteX59" fmla="*/ 3025826 w 3454451"/>
                <a:gd name="connsiteY59" fmla="*/ 590550 h 3822033"/>
                <a:gd name="connsiteX60" fmla="*/ 3044876 w 3454451"/>
                <a:gd name="connsiteY60" fmla="*/ 628650 h 3822033"/>
                <a:gd name="connsiteX61" fmla="*/ 3082976 w 3454451"/>
                <a:gd name="connsiteY61" fmla="*/ 666750 h 3822033"/>
                <a:gd name="connsiteX62" fmla="*/ 3121076 w 3454451"/>
                <a:gd name="connsiteY62" fmla="*/ 723900 h 3822033"/>
                <a:gd name="connsiteX63" fmla="*/ 3216326 w 3454451"/>
                <a:gd name="connsiteY63" fmla="*/ 838200 h 3822033"/>
                <a:gd name="connsiteX64" fmla="*/ 3235376 w 3454451"/>
                <a:gd name="connsiteY64" fmla="*/ 885825 h 3822033"/>
                <a:gd name="connsiteX65" fmla="*/ 3273476 w 3454451"/>
                <a:gd name="connsiteY65" fmla="*/ 942975 h 3822033"/>
                <a:gd name="connsiteX66" fmla="*/ 3283001 w 3454451"/>
                <a:gd name="connsiteY66" fmla="*/ 990600 h 3822033"/>
                <a:gd name="connsiteX67" fmla="*/ 3321101 w 3454451"/>
                <a:gd name="connsiteY67" fmla="*/ 1085850 h 3822033"/>
                <a:gd name="connsiteX68" fmla="*/ 3359201 w 3454451"/>
                <a:gd name="connsiteY68" fmla="*/ 1171575 h 3822033"/>
                <a:gd name="connsiteX69" fmla="*/ 3387776 w 3454451"/>
                <a:gd name="connsiteY69" fmla="*/ 1219200 h 3822033"/>
                <a:gd name="connsiteX70" fmla="*/ 3416351 w 3454451"/>
                <a:gd name="connsiteY70" fmla="*/ 1333500 h 3822033"/>
                <a:gd name="connsiteX71" fmla="*/ 3425876 w 3454451"/>
                <a:gd name="connsiteY71" fmla="*/ 1390650 h 3822033"/>
                <a:gd name="connsiteX72" fmla="*/ 3454451 w 3454451"/>
                <a:gd name="connsiteY72" fmla="*/ 1657350 h 3822033"/>
                <a:gd name="connsiteX73" fmla="*/ 3359201 w 3454451"/>
                <a:gd name="connsiteY73" fmla="*/ 2187575 h 3822033"/>
                <a:gd name="connsiteX74" fmla="*/ 3273476 w 3454451"/>
                <a:gd name="connsiteY74" fmla="*/ 2400300 h 3822033"/>
                <a:gd name="connsiteX75" fmla="*/ 3187751 w 3454451"/>
                <a:gd name="connsiteY75" fmla="*/ 2533650 h 3822033"/>
                <a:gd name="connsiteX76" fmla="*/ 3102026 w 3454451"/>
                <a:gd name="connsiteY76" fmla="*/ 2647950 h 3822033"/>
                <a:gd name="connsiteX77" fmla="*/ 3016301 w 3454451"/>
                <a:gd name="connsiteY77" fmla="*/ 2781300 h 3822033"/>
                <a:gd name="connsiteX78" fmla="*/ 2978201 w 3454451"/>
                <a:gd name="connsiteY78" fmla="*/ 2819400 h 3822033"/>
                <a:gd name="connsiteX79" fmla="*/ 2940101 w 3454451"/>
                <a:gd name="connsiteY79" fmla="*/ 2876550 h 3822033"/>
                <a:gd name="connsiteX80" fmla="*/ 2854376 w 3454451"/>
                <a:gd name="connsiteY80" fmla="*/ 2933700 h 3822033"/>
                <a:gd name="connsiteX81" fmla="*/ 2806751 w 3454451"/>
                <a:gd name="connsiteY81" fmla="*/ 2971800 h 3822033"/>
                <a:gd name="connsiteX82" fmla="*/ 2701976 w 3454451"/>
                <a:gd name="connsiteY82" fmla="*/ 3038475 h 3822033"/>
                <a:gd name="connsiteX83" fmla="*/ 2606726 w 3454451"/>
                <a:gd name="connsiteY83" fmla="*/ 3105150 h 3822033"/>
                <a:gd name="connsiteX84" fmla="*/ 2559101 w 3454451"/>
                <a:gd name="connsiteY84" fmla="*/ 3143250 h 3822033"/>
                <a:gd name="connsiteX85" fmla="*/ 2492426 w 3454451"/>
                <a:gd name="connsiteY85" fmla="*/ 3162300 h 3822033"/>
                <a:gd name="connsiteX86" fmla="*/ 2359076 w 3454451"/>
                <a:gd name="connsiteY86" fmla="*/ 3219450 h 3822033"/>
                <a:gd name="connsiteX87" fmla="*/ 2254301 w 3454451"/>
                <a:gd name="connsiteY87" fmla="*/ 3257550 h 3822033"/>
                <a:gd name="connsiteX88" fmla="*/ 2178101 w 3454451"/>
                <a:gd name="connsiteY88" fmla="*/ 3276600 h 3822033"/>
                <a:gd name="connsiteX89" fmla="*/ 2054276 w 3454451"/>
                <a:gd name="connsiteY89" fmla="*/ 3362325 h 3822033"/>
                <a:gd name="connsiteX90" fmla="*/ 2006651 w 3454451"/>
                <a:gd name="connsiteY90" fmla="*/ 3400425 h 3822033"/>
                <a:gd name="connsiteX91" fmla="*/ 1959026 w 3454451"/>
                <a:gd name="connsiteY91" fmla="*/ 3429000 h 3822033"/>
                <a:gd name="connsiteX92" fmla="*/ 1901876 w 3454451"/>
                <a:gd name="connsiteY92" fmla="*/ 3495675 h 3822033"/>
                <a:gd name="connsiteX93" fmla="*/ 1816151 w 3454451"/>
                <a:gd name="connsiteY93" fmla="*/ 3609975 h 3822033"/>
                <a:gd name="connsiteX94" fmla="*/ 1797101 w 3454451"/>
                <a:gd name="connsiteY94" fmla="*/ 3638550 h 3822033"/>
                <a:gd name="connsiteX95" fmla="*/ 1787576 w 3454451"/>
                <a:gd name="connsiteY95" fmla="*/ 3667125 h 3822033"/>
                <a:gd name="connsiteX96" fmla="*/ 1768526 w 3454451"/>
                <a:gd name="connsiteY96" fmla="*/ 3695700 h 3822033"/>
                <a:gd name="connsiteX97" fmla="*/ 1749476 w 3454451"/>
                <a:gd name="connsiteY97" fmla="*/ 3733800 h 3822033"/>
                <a:gd name="connsiteX98" fmla="*/ 1711376 w 3454451"/>
                <a:gd name="connsiteY98" fmla="*/ 3810000 h 3822033"/>
                <a:gd name="connsiteX99" fmla="*/ 1701851 w 3454451"/>
                <a:gd name="connsiteY99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1851 w 3454451"/>
                <a:gd name="connsiteY0" fmla="*/ 3819525 h 3822033"/>
                <a:gd name="connsiteX1" fmla="*/ 1673276 w 3454451"/>
                <a:gd name="connsiteY1" fmla="*/ 3771900 h 3822033"/>
                <a:gd name="connsiteX2" fmla="*/ 1530401 w 3454451"/>
                <a:gd name="connsiteY2" fmla="*/ 3543300 h 3822033"/>
                <a:gd name="connsiteX3" fmla="*/ 1406576 w 3454451"/>
                <a:gd name="connsiteY3" fmla="*/ 3438525 h 3822033"/>
                <a:gd name="connsiteX4" fmla="*/ 1368476 w 3454451"/>
                <a:gd name="connsiteY4" fmla="*/ 3419475 h 3822033"/>
                <a:gd name="connsiteX5" fmla="*/ 1339901 w 3454451"/>
                <a:gd name="connsiteY5" fmla="*/ 3400425 h 3822033"/>
                <a:gd name="connsiteX6" fmla="*/ 1244651 w 3454451"/>
                <a:gd name="connsiteY6" fmla="*/ 3381375 h 3822033"/>
                <a:gd name="connsiteX7" fmla="*/ 1130351 w 3454451"/>
                <a:gd name="connsiteY7" fmla="*/ 3324225 h 3822033"/>
                <a:gd name="connsiteX8" fmla="*/ 1006526 w 3454451"/>
                <a:gd name="connsiteY8" fmla="*/ 3276600 h 3822033"/>
                <a:gd name="connsiteX9" fmla="*/ 958901 w 3454451"/>
                <a:gd name="connsiteY9" fmla="*/ 3238500 h 3822033"/>
                <a:gd name="connsiteX10" fmla="*/ 920801 w 3454451"/>
                <a:gd name="connsiteY10" fmla="*/ 3219450 h 3822033"/>
                <a:gd name="connsiteX11" fmla="*/ 825551 w 3454451"/>
                <a:gd name="connsiteY11" fmla="*/ 3143250 h 3822033"/>
                <a:gd name="connsiteX12" fmla="*/ 654101 w 3454451"/>
                <a:gd name="connsiteY12" fmla="*/ 3035300 h 3822033"/>
                <a:gd name="connsiteX13" fmla="*/ 568376 w 3454451"/>
                <a:gd name="connsiteY13" fmla="*/ 2943225 h 3822033"/>
                <a:gd name="connsiteX14" fmla="*/ 330251 w 3454451"/>
                <a:gd name="connsiteY14" fmla="*/ 2676525 h 3822033"/>
                <a:gd name="connsiteX15" fmla="*/ 273101 w 3454451"/>
                <a:gd name="connsiteY15" fmla="*/ 2581275 h 3822033"/>
                <a:gd name="connsiteX16" fmla="*/ 206426 w 3454451"/>
                <a:gd name="connsiteY16" fmla="*/ 2451100 h 3822033"/>
                <a:gd name="connsiteX17" fmla="*/ 146101 w 3454451"/>
                <a:gd name="connsiteY17" fmla="*/ 2362200 h 3822033"/>
                <a:gd name="connsiteX18" fmla="*/ 104826 w 3454451"/>
                <a:gd name="connsiteY18" fmla="*/ 2238375 h 3822033"/>
                <a:gd name="connsiteX19" fmla="*/ 34976 w 3454451"/>
                <a:gd name="connsiteY19" fmla="*/ 1958975 h 3822033"/>
                <a:gd name="connsiteX20" fmla="*/ 25451 w 3454451"/>
                <a:gd name="connsiteY20" fmla="*/ 1819275 h 3822033"/>
                <a:gd name="connsiteX21" fmla="*/ 51 w 3454451"/>
                <a:gd name="connsiteY21" fmla="*/ 1682750 h 3822033"/>
                <a:gd name="connsiteX22" fmla="*/ 19101 w 3454451"/>
                <a:gd name="connsiteY22" fmla="*/ 1454150 h 3822033"/>
                <a:gd name="connsiteX23" fmla="*/ 25451 w 3454451"/>
                <a:gd name="connsiteY23" fmla="*/ 1304925 h 3822033"/>
                <a:gd name="connsiteX24" fmla="*/ 73076 w 3454451"/>
                <a:gd name="connsiteY24" fmla="*/ 1152525 h 3822033"/>
                <a:gd name="connsiteX25" fmla="*/ 111176 w 3454451"/>
                <a:gd name="connsiteY25" fmla="*/ 990600 h 3822033"/>
                <a:gd name="connsiteX26" fmla="*/ 130226 w 3454451"/>
                <a:gd name="connsiteY26" fmla="*/ 923925 h 3822033"/>
                <a:gd name="connsiteX27" fmla="*/ 168326 w 3454451"/>
                <a:gd name="connsiteY27" fmla="*/ 866775 h 3822033"/>
                <a:gd name="connsiteX28" fmla="*/ 225476 w 3454451"/>
                <a:gd name="connsiteY28" fmla="*/ 762000 h 3822033"/>
                <a:gd name="connsiteX29" fmla="*/ 301676 w 3454451"/>
                <a:gd name="connsiteY29" fmla="*/ 647700 h 3822033"/>
                <a:gd name="connsiteX30" fmla="*/ 549326 w 3454451"/>
                <a:gd name="connsiteY30" fmla="*/ 361950 h 3822033"/>
                <a:gd name="connsiteX31" fmla="*/ 606476 w 3454451"/>
                <a:gd name="connsiteY31" fmla="*/ 323850 h 3822033"/>
                <a:gd name="connsiteX32" fmla="*/ 663626 w 3454451"/>
                <a:gd name="connsiteY32" fmla="*/ 285750 h 3822033"/>
                <a:gd name="connsiteX33" fmla="*/ 758876 w 3454451"/>
                <a:gd name="connsiteY33" fmla="*/ 238125 h 3822033"/>
                <a:gd name="connsiteX34" fmla="*/ 796976 w 3454451"/>
                <a:gd name="connsiteY34" fmla="*/ 219075 h 3822033"/>
                <a:gd name="connsiteX35" fmla="*/ 892226 w 3454451"/>
                <a:gd name="connsiteY35" fmla="*/ 161925 h 3822033"/>
                <a:gd name="connsiteX36" fmla="*/ 958901 w 3454451"/>
                <a:gd name="connsiteY36" fmla="*/ 133350 h 3822033"/>
                <a:gd name="connsiteX37" fmla="*/ 1120826 w 3454451"/>
                <a:gd name="connsiteY37" fmla="*/ 76200 h 3822033"/>
                <a:gd name="connsiteX38" fmla="*/ 1158926 w 3454451"/>
                <a:gd name="connsiteY38" fmla="*/ 66675 h 3822033"/>
                <a:gd name="connsiteX39" fmla="*/ 1435151 w 3454451"/>
                <a:gd name="connsiteY39" fmla="*/ 0 h 3822033"/>
                <a:gd name="connsiteX40" fmla="*/ 2035226 w 3454451"/>
                <a:gd name="connsiteY40" fmla="*/ 9525 h 3822033"/>
                <a:gd name="connsiteX41" fmla="*/ 2101901 w 3454451"/>
                <a:gd name="connsiteY41" fmla="*/ 19050 h 3822033"/>
                <a:gd name="connsiteX42" fmla="*/ 2159051 w 3454451"/>
                <a:gd name="connsiteY42" fmla="*/ 47625 h 3822033"/>
                <a:gd name="connsiteX43" fmla="*/ 2225726 w 3454451"/>
                <a:gd name="connsiteY43" fmla="*/ 66675 h 3822033"/>
                <a:gd name="connsiteX44" fmla="*/ 2340026 w 3454451"/>
                <a:gd name="connsiteY44" fmla="*/ 133350 h 3822033"/>
                <a:gd name="connsiteX45" fmla="*/ 2387651 w 3454451"/>
                <a:gd name="connsiteY45" fmla="*/ 142875 h 3822033"/>
                <a:gd name="connsiteX46" fmla="*/ 2454326 w 3454451"/>
                <a:gd name="connsiteY46" fmla="*/ 171450 h 3822033"/>
                <a:gd name="connsiteX47" fmla="*/ 2482901 w 3454451"/>
                <a:gd name="connsiteY47" fmla="*/ 200025 h 3822033"/>
                <a:gd name="connsiteX48" fmla="*/ 2568626 w 3454451"/>
                <a:gd name="connsiteY48" fmla="*/ 228600 h 3822033"/>
                <a:gd name="connsiteX49" fmla="*/ 2673401 w 3454451"/>
                <a:gd name="connsiteY49" fmla="*/ 285750 h 3822033"/>
                <a:gd name="connsiteX50" fmla="*/ 2701976 w 3454451"/>
                <a:gd name="connsiteY50" fmla="*/ 304800 h 3822033"/>
                <a:gd name="connsiteX51" fmla="*/ 2730551 w 3454451"/>
                <a:gd name="connsiteY51" fmla="*/ 333375 h 3822033"/>
                <a:gd name="connsiteX52" fmla="*/ 2768651 w 3454451"/>
                <a:gd name="connsiteY52" fmla="*/ 361950 h 3822033"/>
                <a:gd name="connsiteX53" fmla="*/ 2806751 w 3454451"/>
                <a:gd name="connsiteY53" fmla="*/ 400050 h 3822033"/>
                <a:gd name="connsiteX54" fmla="*/ 2863901 w 3454451"/>
                <a:gd name="connsiteY54" fmla="*/ 438150 h 3822033"/>
                <a:gd name="connsiteX55" fmla="*/ 2902001 w 3454451"/>
                <a:gd name="connsiteY55" fmla="*/ 476250 h 3822033"/>
                <a:gd name="connsiteX56" fmla="*/ 2968676 w 3454451"/>
                <a:gd name="connsiteY56" fmla="*/ 523875 h 3822033"/>
                <a:gd name="connsiteX57" fmla="*/ 2987726 w 3454451"/>
                <a:gd name="connsiteY57" fmla="*/ 552450 h 3822033"/>
                <a:gd name="connsiteX58" fmla="*/ 3025826 w 3454451"/>
                <a:gd name="connsiteY58" fmla="*/ 590550 h 3822033"/>
                <a:gd name="connsiteX59" fmla="*/ 3044876 w 3454451"/>
                <a:gd name="connsiteY59" fmla="*/ 628650 h 3822033"/>
                <a:gd name="connsiteX60" fmla="*/ 3082976 w 3454451"/>
                <a:gd name="connsiteY60" fmla="*/ 666750 h 3822033"/>
                <a:gd name="connsiteX61" fmla="*/ 3121076 w 3454451"/>
                <a:gd name="connsiteY61" fmla="*/ 723900 h 3822033"/>
                <a:gd name="connsiteX62" fmla="*/ 3216326 w 3454451"/>
                <a:gd name="connsiteY62" fmla="*/ 838200 h 3822033"/>
                <a:gd name="connsiteX63" fmla="*/ 3235376 w 3454451"/>
                <a:gd name="connsiteY63" fmla="*/ 885825 h 3822033"/>
                <a:gd name="connsiteX64" fmla="*/ 3273476 w 3454451"/>
                <a:gd name="connsiteY64" fmla="*/ 942975 h 3822033"/>
                <a:gd name="connsiteX65" fmla="*/ 3283001 w 3454451"/>
                <a:gd name="connsiteY65" fmla="*/ 990600 h 3822033"/>
                <a:gd name="connsiteX66" fmla="*/ 3321101 w 3454451"/>
                <a:gd name="connsiteY66" fmla="*/ 1085850 h 3822033"/>
                <a:gd name="connsiteX67" fmla="*/ 3359201 w 3454451"/>
                <a:gd name="connsiteY67" fmla="*/ 1171575 h 3822033"/>
                <a:gd name="connsiteX68" fmla="*/ 3387776 w 3454451"/>
                <a:gd name="connsiteY68" fmla="*/ 1219200 h 3822033"/>
                <a:gd name="connsiteX69" fmla="*/ 3416351 w 3454451"/>
                <a:gd name="connsiteY69" fmla="*/ 1333500 h 3822033"/>
                <a:gd name="connsiteX70" fmla="*/ 3425876 w 3454451"/>
                <a:gd name="connsiteY70" fmla="*/ 1390650 h 3822033"/>
                <a:gd name="connsiteX71" fmla="*/ 3454451 w 3454451"/>
                <a:gd name="connsiteY71" fmla="*/ 1657350 h 3822033"/>
                <a:gd name="connsiteX72" fmla="*/ 3359201 w 3454451"/>
                <a:gd name="connsiteY72" fmla="*/ 2187575 h 3822033"/>
                <a:gd name="connsiteX73" fmla="*/ 3273476 w 3454451"/>
                <a:gd name="connsiteY73" fmla="*/ 2400300 h 3822033"/>
                <a:gd name="connsiteX74" fmla="*/ 3187751 w 3454451"/>
                <a:gd name="connsiteY74" fmla="*/ 2533650 h 3822033"/>
                <a:gd name="connsiteX75" fmla="*/ 3102026 w 3454451"/>
                <a:gd name="connsiteY75" fmla="*/ 2647950 h 3822033"/>
                <a:gd name="connsiteX76" fmla="*/ 3016301 w 3454451"/>
                <a:gd name="connsiteY76" fmla="*/ 2781300 h 3822033"/>
                <a:gd name="connsiteX77" fmla="*/ 2978201 w 3454451"/>
                <a:gd name="connsiteY77" fmla="*/ 2819400 h 3822033"/>
                <a:gd name="connsiteX78" fmla="*/ 2940101 w 3454451"/>
                <a:gd name="connsiteY78" fmla="*/ 2876550 h 3822033"/>
                <a:gd name="connsiteX79" fmla="*/ 2854376 w 3454451"/>
                <a:gd name="connsiteY79" fmla="*/ 2933700 h 3822033"/>
                <a:gd name="connsiteX80" fmla="*/ 2806751 w 3454451"/>
                <a:gd name="connsiteY80" fmla="*/ 2971800 h 3822033"/>
                <a:gd name="connsiteX81" fmla="*/ 2701976 w 3454451"/>
                <a:gd name="connsiteY81" fmla="*/ 3038475 h 3822033"/>
                <a:gd name="connsiteX82" fmla="*/ 2606726 w 3454451"/>
                <a:gd name="connsiteY82" fmla="*/ 3105150 h 3822033"/>
                <a:gd name="connsiteX83" fmla="*/ 2559101 w 3454451"/>
                <a:gd name="connsiteY83" fmla="*/ 3143250 h 3822033"/>
                <a:gd name="connsiteX84" fmla="*/ 2492426 w 3454451"/>
                <a:gd name="connsiteY84" fmla="*/ 3162300 h 3822033"/>
                <a:gd name="connsiteX85" fmla="*/ 2359076 w 3454451"/>
                <a:gd name="connsiteY85" fmla="*/ 3219450 h 3822033"/>
                <a:gd name="connsiteX86" fmla="*/ 2254301 w 3454451"/>
                <a:gd name="connsiteY86" fmla="*/ 3257550 h 3822033"/>
                <a:gd name="connsiteX87" fmla="*/ 2178101 w 3454451"/>
                <a:gd name="connsiteY87" fmla="*/ 3276600 h 3822033"/>
                <a:gd name="connsiteX88" fmla="*/ 2054276 w 3454451"/>
                <a:gd name="connsiteY88" fmla="*/ 3362325 h 3822033"/>
                <a:gd name="connsiteX89" fmla="*/ 2006651 w 3454451"/>
                <a:gd name="connsiteY89" fmla="*/ 3400425 h 3822033"/>
                <a:gd name="connsiteX90" fmla="*/ 1959026 w 3454451"/>
                <a:gd name="connsiteY90" fmla="*/ 3429000 h 3822033"/>
                <a:gd name="connsiteX91" fmla="*/ 1901876 w 3454451"/>
                <a:gd name="connsiteY91" fmla="*/ 3495675 h 3822033"/>
                <a:gd name="connsiteX92" fmla="*/ 1816151 w 3454451"/>
                <a:gd name="connsiteY92" fmla="*/ 3609975 h 3822033"/>
                <a:gd name="connsiteX93" fmla="*/ 1797101 w 3454451"/>
                <a:gd name="connsiteY93" fmla="*/ 3638550 h 3822033"/>
                <a:gd name="connsiteX94" fmla="*/ 1787576 w 3454451"/>
                <a:gd name="connsiteY94" fmla="*/ 3667125 h 3822033"/>
                <a:gd name="connsiteX95" fmla="*/ 1768526 w 3454451"/>
                <a:gd name="connsiteY95" fmla="*/ 3695700 h 3822033"/>
                <a:gd name="connsiteX96" fmla="*/ 1749476 w 3454451"/>
                <a:gd name="connsiteY96" fmla="*/ 3733800 h 3822033"/>
                <a:gd name="connsiteX97" fmla="*/ 1711376 w 3454451"/>
                <a:gd name="connsiteY97" fmla="*/ 3810000 h 3822033"/>
                <a:gd name="connsiteX98" fmla="*/ 1701851 w 3454451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33349 w 3457574"/>
                <a:gd name="connsiteY26" fmla="*/ 923925 h 3822033"/>
                <a:gd name="connsiteX27" fmla="*/ 171449 w 3457574"/>
                <a:gd name="connsiteY27" fmla="*/ 866775 h 3822033"/>
                <a:gd name="connsiteX28" fmla="*/ 228599 w 3457574"/>
                <a:gd name="connsiteY28" fmla="*/ 762000 h 3822033"/>
                <a:gd name="connsiteX29" fmla="*/ 304799 w 3457574"/>
                <a:gd name="connsiteY29" fmla="*/ 647700 h 3822033"/>
                <a:gd name="connsiteX30" fmla="*/ 552449 w 3457574"/>
                <a:gd name="connsiteY30" fmla="*/ 361950 h 3822033"/>
                <a:gd name="connsiteX31" fmla="*/ 609599 w 3457574"/>
                <a:gd name="connsiteY31" fmla="*/ 323850 h 3822033"/>
                <a:gd name="connsiteX32" fmla="*/ 666749 w 3457574"/>
                <a:gd name="connsiteY32" fmla="*/ 285750 h 3822033"/>
                <a:gd name="connsiteX33" fmla="*/ 761999 w 3457574"/>
                <a:gd name="connsiteY33" fmla="*/ 238125 h 3822033"/>
                <a:gd name="connsiteX34" fmla="*/ 800099 w 3457574"/>
                <a:gd name="connsiteY34" fmla="*/ 219075 h 3822033"/>
                <a:gd name="connsiteX35" fmla="*/ 895349 w 3457574"/>
                <a:gd name="connsiteY35" fmla="*/ 161925 h 3822033"/>
                <a:gd name="connsiteX36" fmla="*/ 962024 w 3457574"/>
                <a:gd name="connsiteY36" fmla="*/ 133350 h 3822033"/>
                <a:gd name="connsiteX37" fmla="*/ 1123949 w 3457574"/>
                <a:gd name="connsiteY37" fmla="*/ 76200 h 3822033"/>
                <a:gd name="connsiteX38" fmla="*/ 1162049 w 3457574"/>
                <a:gd name="connsiteY38" fmla="*/ 66675 h 3822033"/>
                <a:gd name="connsiteX39" fmla="*/ 1438274 w 3457574"/>
                <a:gd name="connsiteY39" fmla="*/ 0 h 3822033"/>
                <a:gd name="connsiteX40" fmla="*/ 2038349 w 3457574"/>
                <a:gd name="connsiteY40" fmla="*/ 9525 h 3822033"/>
                <a:gd name="connsiteX41" fmla="*/ 2105024 w 3457574"/>
                <a:gd name="connsiteY41" fmla="*/ 19050 h 3822033"/>
                <a:gd name="connsiteX42" fmla="*/ 2162174 w 3457574"/>
                <a:gd name="connsiteY42" fmla="*/ 47625 h 3822033"/>
                <a:gd name="connsiteX43" fmla="*/ 2228849 w 3457574"/>
                <a:gd name="connsiteY43" fmla="*/ 66675 h 3822033"/>
                <a:gd name="connsiteX44" fmla="*/ 2343149 w 3457574"/>
                <a:gd name="connsiteY44" fmla="*/ 133350 h 3822033"/>
                <a:gd name="connsiteX45" fmla="*/ 2390774 w 3457574"/>
                <a:gd name="connsiteY45" fmla="*/ 142875 h 3822033"/>
                <a:gd name="connsiteX46" fmla="*/ 2457449 w 3457574"/>
                <a:gd name="connsiteY46" fmla="*/ 171450 h 3822033"/>
                <a:gd name="connsiteX47" fmla="*/ 2486024 w 3457574"/>
                <a:gd name="connsiteY47" fmla="*/ 200025 h 3822033"/>
                <a:gd name="connsiteX48" fmla="*/ 2571749 w 3457574"/>
                <a:gd name="connsiteY48" fmla="*/ 228600 h 3822033"/>
                <a:gd name="connsiteX49" fmla="*/ 2676524 w 3457574"/>
                <a:gd name="connsiteY49" fmla="*/ 285750 h 3822033"/>
                <a:gd name="connsiteX50" fmla="*/ 2705099 w 3457574"/>
                <a:gd name="connsiteY50" fmla="*/ 304800 h 3822033"/>
                <a:gd name="connsiteX51" fmla="*/ 2733674 w 3457574"/>
                <a:gd name="connsiteY51" fmla="*/ 333375 h 3822033"/>
                <a:gd name="connsiteX52" fmla="*/ 2771774 w 3457574"/>
                <a:gd name="connsiteY52" fmla="*/ 361950 h 3822033"/>
                <a:gd name="connsiteX53" fmla="*/ 2809874 w 3457574"/>
                <a:gd name="connsiteY53" fmla="*/ 400050 h 3822033"/>
                <a:gd name="connsiteX54" fmla="*/ 2867024 w 3457574"/>
                <a:gd name="connsiteY54" fmla="*/ 438150 h 3822033"/>
                <a:gd name="connsiteX55" fmla="*/ 2905124 w 3457574"/>
                <a:gd name="connsiteY55" fmla="*/ 476250 h 3822033"/>
                <a:gd name="connsiteX56" fmla="*/ 2971799 w 3457574"/>
                <a:gd name="connsiteY56" fmla="*/ 523875 h 3822033"/>
                <a:gd name="connsiteX57" fmla="*/ 2990849 w 3457574"/>
                <a:gd name="connsiteY57" fmla="*/ 552450 h 3822033"/>
                <a:gd name="connsiteX58" fmla="*/ 3028949 w 3457574"/>
                <a:gd name="connsiteY58" fmla="*/ 590550 h 3822033"/>
                <a:gd name="connsiteX59" fmla="*/ 3047999 w 3457574"/>
                <a:gd name="connsiteY59" fmla="*/ 628650 h 3822033"/>
                <a:gd name="connsiteX60" fmla="*/ 3086099 w 3457574"/>
                <a:gd name="connsiteY60" fmla="*/ 666750 h 3822033"/>
                <a:gd name="connsiteX61" fmla="*/ 3124199 w 3457574"/>
                <a:gd name="connsiteY61" fmla="*/ 723900 h 3822033"/>
                <a:gd name="connsiteX62" fmla="*/ 3219449 w 3457574"/>
                <a:gd name="connsiteY62" fmla="*/ 838200 h 3822033"/>
                <a:gd name="connsiteX63" fmla="*/ 3238499 w 3457574"/>
                <a:gd name="connsiteY63" fmla="*/ 885825 h 3822033"/>
                <a:gd name="connsiteX64" fmla="*/ 3276599 w 3457574"/>
                <a:gd name="connsiteY64" fmla="*/ 942975 h 3822033"/>
                <a:gd name="connsiteX65" fmla="*/ 3286124 w 3457574"/>
                <a:gd name="connsiteY65" fmla="*/ 990600 h 3822033"/>
                <a:gd name="connsiteX66" fmla="*/ 3324224 w 3457574"/>
                <a:gd name="connsiteY66" fmla="*/ 1085850 h 3822033"/>
                <a:gd name="connsiteX67" fmla="*/ 3362324 w 3457574"/>
                <a:gd name="connsiteY67" fmla="*/ 1171575 h 3822033"/>
                <a:gd name="connsiteX68" fmla="*/ 3390899 w 3457574"/>
                <a:gd name="connsiteY68" fmla="*/ 1219200 h 3822033"/>
                <a:gd name="connsiteX69" fmla="*/ 3419474 w 3457574"/>
                <a:gd name="connsiteY69" fmla="*/ 1333500 h 3822033"/>
                <a:gd name="connsiteX70" fmla="*/ 3428999 w 3457574"/>
                <a:gd name="connsiteY70" fmla="*/ 1390650 h 3822033"/>
                <a:gd name="connsiteX71" fmla="*/ 3457574 w 3457574"/>
                <a:gd name="connsiteY71" fmla="*/ 1657350 h 3822033"/>
                <a:gd name="connsiteX72" fmla="*/ 3362324 w 3457574"/>
                <a:gd name="connsiteY72" fmla="*/ 2187575 h 3822033"/>
                <a:gd name="connsiteX73" fmla="*/ 3276599 w 3457574"/>
                <a:gd name="connsiteY73" fmla="*/ 2400300 h 3822033"/>
                <a:gd name="connsiteX74" fmla="*/ 3190874 w 3457574"/>
                <a:gd name="connsiteY74" fmla="*/ 2533650 h 3822033"/>
                <a:gd name="connsiteX75" fmla="*/ 3105149 w 3457574"/>
                <a:gd name="connsiteY75" fmla="*/ 2647950 h 3822033"/>
                <a:gd name="connsiteX76" fmla="*/ 3019424 w 3457574"/>
                <a:gd name="connsiteY76" fmla="*/ 2781300 h 3822033"/>
                <a:gd name="connsiteX77" fmla="*/ 2981324 w 3457574"/>
                <a:gd name="connsiteY77" fmla="*/ 2819400 h 3822033"/>
                <a:gd name="connsiteX78" fmla="*/ 2943224 w 3457574"/>
                <a:gd name="connsiteY78" fmla="*/ 2876550 h 3822033"/>
                <a:gd name="connsiteX79" fmla="*/ 2857499 w 3457574"/>
                <a:gd name="connsiteY79" fmla="*/ 2933700 h 3822033"/>
                <a:gd name="connsiteX80" fmla="*/ 2809874 w 3457574"/>
                <a:gd name="connsiteY80" fmla="*/ 2971800 h 3822033"/>
                <a:gd name="connsiteX81" fmla="*/ 2705099 w 3457574"/>
                <a:gd name="connsiteY81" fmla="*/ 3038475 h 3822033"/>
                <a:gd name="connsiteX82" fmla="*/ 2609849 w 3457574"/>
                <a:gd name="connsiteY82" fmla="*/ 3105150 h 3822033"/>
                <a:gd name="connsiteX83" fmla="*/ 2562224 w 3457574"/>
                <a:gd name="connsiteY83" fmla="*/ 3143250 h 3822033"/>
                <a:gd name="connsiteX84" fmla="*/ 2495549 w 3457574"/>
                <a:gd name="connsiteY84" fmla="*/ 3162300 h 3822033"/>
                <a:gd name="connsiteX85" fmla="*/ 2362199 w 3457574"/>
                <a:gd name="connsiteY85" fmla="*/ 3219450 h 3822033"/>
                <a:gd name="connsiteX86" fmla="*/ 2257424 w 3457574"/>
                <a:gd name="connsiteY86" fmla="*/ 3257550 h 3822033"/>
                <a:gd name="connsiteX87" fmla="*/ 2181224 w 3457574"/>
                <a:gd name="connsiteY87" fmla="*/ 3276600 h 3822033"/>
                <a:gd name="connsiteX88" fmla="*/ 2057399 w 3457574"/>
                <a:gd name="connsiteY88" fmla="*/ 3362325 h 3822033"/>
                <a:gd name="connsiteX89" fmla="*/ 2009774 w 3457574"/>
                <a:gd name="connsiteY89" fmla="*/ 3400425 h 3822033"/>
                <a:gd name="connsiteX90" fmla="*/ 1962149 w 3457574"/>
                <a:gd name="connsiteY90" fmla="*/ 3429000 h 3822033"/>
                <a:gd name="connsiteX91" fmla="*/ 1904999 w 3457574"/>
                <a:gd name="connsiteY91" fmla="*/ 3495675 h 3822033"/>
                <a:gd name="connsiteX92" fmla="*/ 1819274 w 3457574"/>
                <a:gd name="connsiteY92" fmla="*/ 3609975 h 3822033"/>
                <a:gd name="connsiteX93" fmla="*/ 1800224 w 3457574"/>
                <a:gd name="connsiteY93" fmla="*/ 3638550 h 3822033"/>
                <a:gd name="connsiteX94" fmla="*/ 1790699 w 3457574"/>
                <a:gd name="connsiteY94" fmla="*/ 3667125 h 3822033"/>
                <a:gd name="connsiteX95" fmla="*/ 1771649 w 3457574"/>
                <a:gd name="connsiteY95" fmla="*/ 3695700 h 3822033"/>
                <a:gd name="connsiteX96" fmla="*/ 1752599 w 3457574"/>
                <a:gd name="connsiteY96" fmla="*/ 3733800 h 3822033"/>
                <a:gd name="connsiteX97" fmla="*/ 1714499 w 3457574"/>
                <a:gd name="connsiteY97" fmla="*/ 3810000 h 3822033"/>
                <a:gd name="connsiteX98" fmla="*/ 1704974 w 3457574"/>
                <a:gd name="connsiteY98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76199 w 3457574"/>
                <a:gd name="connsiteY24" fmla="*/ 11525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552449 w 3457574"/>
                <a:gd name="connsiteY29" fmla="*/ 361950 h 3822033"/>
                <a:gd name="connsiteX30" fmla="*/ 609599 w 3457574"/>
                <a:gd name="connsiteY30" fmla="*/ 323850 h 3822033"/>
                <a:gd name="connsiteX31" fmla="*/ 666749 w 3457574"/>
                <a:gd name="connsiteY31" fmla="*/ 285750 h 3822033"/>
                <a:gd name="connsiteX32" fmla="*/ 761999 w 3457574"/>
                <a:gd name="connsiteY32" fmla="*/ 238125 h 3822033"/>
                <a:gd name="connsiteX33" fmla="*/ 800099 w 3457574"/>
                <a:gd name="connsiteY33" fmla="*/ 219075 h 3822033"/>
                <a:gd name="connsiteX34" fmla="*/ 895349 w 3457574"/>
                <a:gd name="connsiteY34" fmla="*/ 161925 h 3822033"/>
                <a:gd name="connsiteX35" fmla="*/ 962024 w 3457574"/>
                <a:gd name="connsiteY35" fmla="*/ 133350 h 3822033"/>
                <a:gd name="connsiteX36" fmla="*/ 1123949 w 3457574"/>
                <a:gd name="connsiteY36" fmla="*/ 76200 h 3822033"/>
                <a:gd name="connsiteX37" fmla="*/ 1162049 w 3457574"/>
                <a:gd name="connsiteY37" fmla="*/ 66675 h 3822033"/>
                <a:gd name="connsiteX38" fmla="*/ 1438274 w 3457574"/>
                <a:gd name="connsiteY38" fmla="*/ 0 h 3822033"/>
                <a:gd name="connsiteX39" fmla="*/ 2038349 w 3457574"/>
                <a:gd name="connsiteY39" fmla="*/ 9525 h 3822033"/>
                <a:gd name="connsiteX40" fmla="*/ 2105024 w 3457574"/>
                <a:gd name="connsiteY40" fmla="*/ 19050 h 3822033"/>
                <a:gd name="connsiteX41" fmla="*/ 2162174 w 3457574"/>
                <a:gd name="connsiteY41" fmla="*/ 47625 h 3822033"/>
                <a:gd name="connsiteX42" fmla="*/ 2228849 w 3457574"/>
                <a:gd name="connsiteY42" fmla="*/ 66675 h 3822033"/>
                <a:gd name="connsiteX43" fmla="*/ 2343149 w 3457574"/>
                <a:gd name="connsiteY43" fmla="*/ 133350 h 3822033"/>
                <a:gd name="connsiteX44" fmla="*/ 2390774 w 3457574"/>
                <a:gd name="connsiteY44" fmla="*/ 142875 h 3822033"/>
                <a:gd name="connsiteX45" fmla="*/ 2457449 w 3457574"/>
                <a:gd name="connsiteY45" fmla="*/ 171450 h 3822033"/>
                <a:gd name="connsiteX46" fmla="*/ 2486024 w 3457574"/>
                <a:gd name="connsiteY46" fmla="*/ 200025 h 3822033"/>
                <a:gd name="connsiteX47" fmla="*/ 2571749 w 3457574"/>
                <a:gd name="connsiteY47" fmla="*/ 228600 h 3822033"/>
                <a:gd name="connsiteX48" fmla="*/ 2676524 w 3457574"/>
                <a:gd name="connsiteY48" fmla="*/ 285750 h 3822033"/>
                <a:gd name="connsiteX49" fmla="*/ 2705099 w 3457574"/>
                <a:gd name="connsiteY49" fmla="*/ 304800 h 3822033"/>
                <a:gd name="connsiteX50" fmla="*/ 2733674 w 3457574"/>
                <a:gd name="connsiteY50" fmla="*/ 333375 h 3822033"/>
                <a:gd name="connsiteX51" fmla="*/ 2771774 w 3457574"/>
                <a:gd name="connsiteY51" fmla="*/ 361950 h 3822033"/>
                <a:gd name="connsiteX52" fmla="*/ 2809874 w 3457574"/>
                <a:gd name="connsiteY52" fmla="*/ 400050 h 3822033"/>
                <a:gd name="connsiteX53" fmla="*/ 2867024 w 3457574"/>
                <a:gd name="connsiteY53" fmla="*/ 438150 h 3822033"/>
                <a:gd name="connsiteX54" fmla="*/ 2905124 w 3457574"/>
                <a:gd name="connsiteY54" fmla="*/ 476250 h 3822033"/>
                <a:gd name="connsiteX55" fmla="*/ 2971799 w 3457574"/>
                <a:gd name="connsiteY55" fmla="*/ 523875 h 3822033"/>
                <a:gd name="connsiteX56" fmla="*/ 2990849 w 3457574"/>
                <a:gd name="connsiteY56" fmla="*/ 552450 h 3822033"/>
                <a:gd name="connsiteX57" fmla="*/ 3028949 w 3457574"/>
                <a:gd name="connsiteY57" fmla="*/ 590550 h 3822033"/>
                <a:gd name="connsiteX58" fmla="*/ 3047999 w 3457574"/>
                <a:gd name="connsiteY58" fmla="*/ 628650 h 3822033"/>
                <a:gd name="connsiteX59" fmla="*/ 3086099 w 3457574"/>
                <a:gd name="connsiteY59" fmla="*/ 666750 h 3822033"/>
                <a:gd name="connsiteX60" fmla="*/ 3124199 w 3457574"/>
                <a:gd name="connsiteY60" fmla="*/ 723900 h 3822033"/>
                <a:gd name="connsiteX61" fmla="*/ 3219449 w 3457574"/>
                <a:gd name="connsiteY61" fmla="*/ 838200 h 3822033"/>
                <a:gd name="connsiteX62" fmla="*/ 3238499 w 3457574"/>
                <a:gd name="connsiteY62" fmla="*/ 885825 h 3822033"/>
                <a:gd name="connsiteX63" fmla="*/ 3276599 w 3457574"/>
                <a:gd name="connsiteY63" fmla="*/ 942975 h 3822033"/>
                <a:gd name="connsiteX64" fmla="*/ 3286124 w 3457574"/>
                <a:gd name="connsiteY64" fmla="*/ 990600 h 3822033"/>
                <a:gd name="connsiteX65" fmla="*/ 3324224 w 3457574"/>
                <a:gd name="connsiteY65" fmla="*/ 1085850 h 3822033"/>
                <a:gd name="connsiteX66" fmla="*/ 3362324 w 3457574"/>
                <a:gd name="connsiteY66" fmla="*/ 1171575 h 3822033"/>
                <a:gd name="connsiteX67" fmla="*/ 3390899 w 3457574"/>
                <a:gd name="connsiteY67" fmla="*/ 1219200 h 3822033"/>
                <a:gd name="connsiteX68" fmla="*/ 3419474 w 3457574"/>
                <a:gd name="connsiteY68" fmla="*/ 1333500 h 3822033"/>
                <a:gd name="connsiteX69" fmla="*/ 3428999 w 3457574"/>
                <a:gd name="connsiteY69" fmla="*/ 1390650 h 3822033"/>
                <a:gd name="connsiteX70" fmla="*/ 3457574 w 3457574"/>
                <a:gd name="connsiteY70" fmla="*/ 1657350 h 3822033"/>
                <a:gd name="connsiteX71" fmla="*/ 3362324 w 3457574"/>
                <a:gd name="connsiteY71" fmla="*/ 2187575 h 3822033"/>
                <a:gd name="connsiteX72" fmla="*/ 3276599 w 3457574"/>
                <a:gd name="connsiteY72" fmla="*/ 2400300 h 3822033"/>
                <a:gd name="connsiteX73" fmla="*/ 3190874 w 3457574"/>
                <a:gd name="connsiteY73" fmla="*/ 2533650 h 3822033"/>
                <a:gd name="connsiteX74" fmla="*/ 3105149 w 3457574"/>
                <a:gd name="connsiteY74" fmla="*/ 2647950 h 3822033"/>
                <a:gd name="connsiteX75" fmla="*/ 3019424 w 3457574"/>
                <a:gd name="connsiteY75" fmla="*/ 2781300 h 3822033"/>
                <a:gd name="connsiteX76" fmla="*/ 2981324 w 3457574"/>
                <a:gd name="connsiteY76" fmla="*/ 2819400 h 3822033"/>
                <a:gd name="connsiteX77" fmla="*/ 2943224 w 3457574"/>
                <a:gd name="connsiteY77" fmla="*/ 2876550 h 3822033"/>
                <a:gd name="connsiteX78" fmla="*/ 2857499 w 3457574"/>
                <a:gd name="connsiteY78" fmla="*/ 2933700 h 3822033"/>
                <a:gd name="connsiteX79" fmla="*/ 2809874 w 3457574"/>
                <a:gd name="connsiteY79" fmla="*/ 2971800 h 3822033"/>
                <a:gd name="connsiteX80" fmla="*/ 2705099 w 3457574"/>
                <a:gd name="connsiteY80" fmla="*/ 3038475 h 3822033"/>
                <a:gd name="connsiteX81" fmla="*/ 2609849 w 3457574"/>
                <a:gd name="connsiteY81" fmla="*/ 3105150 h 3822033"/>
                <a:gd name="connsiteX82" fmla="*/ 2562224 w 3457574"/>
                <a:gd name="connsiteY82" fmla="*/ 3143250 h 3822033"/>
                <a:gd name="connsiteX83" fmla="*/ 2495549 w 3457574"/>
                <a:gd name="connsiteY83" fmla="*/ 3162300 h 3822033"/>
                <a:gd name="connsiteX84" fmla="*/ 2362199 w 3457574"/>
                <a:gd name="connsiteY84" fmla="*/ 3219450 h 3822033"/>
                <a:gd name="connsiteX85" fmla="*/ 2257424 w 3457574"/>
                <a:gd name="connsiteY85" fmla="*/ 3257550 h 3822033"/>
                <a:gd name="connsiteX86" fmla="*/ 2181224 w 3457574"/>
                <a:gd name="connsiteY86" fmla="*/ 3276600 h 3822033"/>
                <a:gd name="connsiteX87" fmla="*/ 2057399 w 3457574"/>
                <a:gd name="connsiteY87" fmla="*/ 3362325 h 3822033"/>
                <a:gd name="connsiteX88" fmla="*/ 2009774 w 3457574"/>
                <a:gd name="connsiteY88" fmla="*/ 3400425 h 3822033"/>
                <a:gd name="connsiteX89" fmla="*/ 1962149 w 3457574"/>
                <a:gd name="connsiteY89" fmla="*/ 3429000 h 3822033"/>
                <a:gd name="connsiteX90" fmla="*/ 1904999 w 3457574"/>
                <a:gd name="connsiteY90" fmla="*/ 3495675 h 3822033"/>
                <a:gd name="connsiteX91" fmla="*/ 1819274 w 3457574"/>
                <a:gd name="connsiteY91" fmla="*/ 3609975 h 3822033"/>
                <a:gd name="connsiteX92" fmla="*/ 1800224 w 3457574"/>
                <a:gd name="connsiteY92" fmla="*/ 3638550 h 3822033"/>
                <a:gd name="connsiteX93" fmla="*/ 1790699 w 3457574"/>
                <a:gd name="connsiteY93" fmla="*/ 3667125 h 3822033"/>
                <a:gd name="connsiteX94" fmla="*/ 1771649 w 3457574"/>
                <a:gd name="connsiteY94" fmla="*/ 3695700 h 3822033"/>
                <a:gd name="connsiteX95" fmla="*/ 1752599 w 3457574"/>
                <a:gd name="connsiteY95" fmla="*/ 3733800 h 3822033"/>
                <a:gd name="connsiteX96" fmla="*/ 1714499 w 3457574"/>
                <a:gd name="connsiteY96" fmla="*/ 3810000 h 3822033"/>
                <a:gd name="connsiteX97" fmla="*/ 1704974 w 3457574"/>
                <a:gd name="connsiteY97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  <a:gd name="connsiteX0" fmla="*/ 1704974 w 3457574"/>
                <a:gd name="connsiteY0" fmla="*/ 3819525 h 3822033"/>
                <a:gd name="connsiteX1" fmla="*/ 1676399 w 3457574"/>
                <a:gd name="connsiteY1" fmla="*/ 3771900 h 3822033"/>
                <a:gd name="connsiteX2" fmla="*/ 1533524 w 3457574"/>
                <a:gd name="connsiteY2" fmla="*/ 3543300 h 3822033"/>
                <a:gd name="connsiteX3" fmla="*/ 1409699 w 3457574"/>
                <a:gd name="connsiteY3" fmla="*/ 3438525 h 3822033"/>
                <a:gd name="connsiteX4" fmla="*/ 1371599 w 3457574"/>
                <a:gd name="connsiteY4" fmla="*/ 3419475 h 3822033"/>
                <a:gd name="connsiteX5" fmla="*/ 1343024 w 3457574"/>
                <a:gd name="connsiteY5" fmla="*/ 3400425 h 3822033"/>
                <a:gd name="connsiteX6" fmla="*/ 1247774 w 3457574"/>
                <a:gd name="connsiteY6" fmla="*/ 3381375 h 3822033"/>
                <a:gd name="connsiteX7" fmla="*/ 1133474 w 3457574"/>
                <a:gd name="connsiteY7" fmla="*/ 3324225 h 3822033"/>
                <a:gd name="connsiteX8" fmla="*/ 1009649 w 3457574"/>
                <a:gd name="connsiteY8" fmla="*/ 3276600 h 3822033"/>
                <a:gd name="connsiteX9" fmla="*/ 962024 w 3457574"/>
                <a:gd name="connsiteY9" fmla="*/ 3238500 h 3822033"/>
                <a:gd name="connsiteX10" fmla="*/ 923924 w 3457574"/>
                <a:gd name="connsiteY10" fmla="*/ 3219450 h 3822033"/>
                <a:gd name="connsiteX11" fmla="*/ 828674 w 3457574"/>
                <a:gd name="connsiteY11" fmla="*/ 3143250 h 3822033"/>
                <a:gd name="connsiteX12" fmla="*/ 657224 w 3457574"/>
                <a:gd name="connsiteY12" fmla="*/ 3035300 h 3822033"/>
                <a:gd name="connsiteX13" fmla="*/ 571499 w 3457574"/>
                <a:gd name="connsiteY13" fmla="*/ 2943225 h 3822033"/>
                <a:gd name="connsiteX14" fmla="*/ 333374 w 3457574"/>
                <a:gd name="connsiteY14" fmla="*/ 2676525 h 3822033"/>
                <a:gd name="connsiteX15" fmla="*/ 276224 w 3457574"/>
                <a:gd name="connsiteY15" fmla="*/ 2581275 h 3822033"/>
                <a:gd name="connsiteX16" fmla="*/ 209549 w 3457574"/>
                <a:gd name="connsiteY16" fmla="*/ 2451100 h 3822033"/>
                <a:gd name="connsiteX17" fmla="*/ 149224 w 3457574"/>
                <a:gd name="connsiteY17" fmla="*/ 2362200 h 3822033"/>
                <a:gd name="connsiteX18" fmla="*/ 107949 w 3457574"/>
                <a:gd name="connsiteY18" fmla="*/ 2238375 h 3822033"/>
                <a:gd name="connsiteX19" fmla="*/ 38099 w 3457574"/>
                <a:gd name="connsiteY19" fmla="*/ 1958975 h 3822033"/>
                <a:gd name="connsiteX20" fmla="*/ 28574 w 3457574"/>
                <a:gd name="connsiteY20" fmla="*/ 1819275 h 3822033"/>
                <a:gd name="connsiteX21" fmla="*/ 3174 w 3457574"/>
                <a:gd name="connsiteY21" fmla="*/ 1682750 h 3822033"/>
                <a:gd name="connsiteX22" fmla="*/ 3174 w 3457574"/>
                <a:gd name="connsiteY22" fmla="*/ 1517650 h 3822033"/>
                <a:gd name="connsiteX23" fmla="*/ 28574 w 3457574"/>
                <a:gd name="connsiteY23" fmla="*/ 1304925 h 3822033"/>
                <a:gd name="connsiteX24" fmla="*/ 69849 w 3457574"/>
                <a:gd name="connsiteY24" fmla="*/ 1127125 h 3822033"/>
                <a:gd name="connsiteX25" fmla="*/ 114299 w 3457574"/>
                <a:gd name="connsiteY25" fmla="*/ 990600 h 3822033"/>
                <a:gd name="connsiteX26" fmla="*/ 171449 w 3457574"/>
                <a:gd name="connsiteY26" fmla="*/ 866775 h 3822033"/>
                <a:gd name="connsiteX27" fmla="*/ 228599 w 3457574"/>
                <a:gd name="connsiteY27" fmla="*/ 762000 h 3822033"/>
                <a:gd name="connsiteX28" fmla="*/ 304799 w 3457574"/>
                <a:gd name="connsiteY28" fmla="*/ 647700 h 3822033"/>
                <a:gd name="connsiteX29" fmla="*/ 609599 w 3457574"/>
                <a:gd name="connsiteY29" fmla="*/ 323850 h 3822033"/>
                <a:gd name="connsiteX30" fmla="*/ 666749 w 3457574"/>
                <a:gd name="connsiteY30" fmla="*/ 285750 h 3822033"/>
                <a:gd name="connsiteX31" fmla="*/ 761999 w 3457574"/>
                <a:gd name="connsiteY31" fmla="*/ 238125 h 3822033"/>
                <a:gd name="connsiteX32" fmla="*/ 800099 w 3457574"/>
                <a:gd name="connsiteY32" fmla="*/ 219075 h 3822033"/>
                <a:gd name="connsiteX33" fmla="*/ 895349 w 3457574"/>
                <a:gd name="connsiteY33" fmla="*/ 161925 h 3822033"/>
                <a:gd name="connsiteX34" fmla="*/ 962024 w 3457574"/>
                <a:gd name="connsiteY34" fmla="*/ 133350 h 3822033"/>
                <a:gd name="connsiteX35" fmla="*/ 1123949 w 3457574"/>
                <a:gd name="connsiteY35" fmla="*/ 76200 h 3822033"/>
                <a:gd name="connsiteX36" fmla="*/ 1162049 w 3457574"/>
                <a:gd name="connsiteY36" fmla="*/ 66675 h 3822033"/>
                <a:gd name="connsiteX37" fmla="*/ 1438274 w 3457574"/>
                <a:gd name="connsiteY37" fmla="*/ 0 h 3822033"/>
                <a:gd name="connsiteX38" fmla="*/ 2038349 w 3457574"/>
                <a:gd name="connsiteY38" fmla="*/ 9525 h 3822033"/>
                <a:gd name="connsiteX39" fmla="*/ 2105024 w 3457574"/>
                <a:gd name="connsiteY39" fmla="*/ 19050 h 3822033"/>
                <a:gd name="connsiteX40" fmla="*/ 2162174 w 3457574"/>
                <a:gd name="connsiteY40" fmla="*/ 47625 h 3822033"/>
                <a:gd name="connsiteX41" fmla="*/ 2228849 w 3457574"/>
                <a:gd name="connsiteY41" fmla="*/ 66675 h 3822033"/>
                <a:gd name="connsiteX42" fmla="*/ 2343149 w 3457574"/>
                <a:gd name="connsiteY42" fmla="*/ 133350 h 3822033"/>
                <a:gd name="connsiteX43" fmla="*/ 2390774 w 3457574"/>
                <a:gd name="connsiteY43" fmla="*/ 142875 h 3822033"/>
                <a:gd name="connsiteX44" fmla="*/ 2457449 w 3457574"/>
                <a:gd name="connsiteY44" fmla="*/ 171450 h 3822033"/>
                <a:gd name="connsiteX45" fmla="*/ 2486024 w 3457574"/>
                <a:gd name="connsiteY45" fmla="*/ 200025 h 3822033"/>
                <a:gd name="connsiteX46" fmla="*/ 2571749 w 3457574"/>
                <a:gd name="connsiteY46" fmla="*/ 228600 h 3822033"/>
                <a:gd name="connsiteX47" fmla="*/ 2676524 w 3457574"/>
                <a:gd name="connsiteY47" fmla="*/ 285750 h 3822033"/>
                <a:gd name="connsiteX48" fmla="*/ 2705099 w 3457574"/>
                <a:gd name="connsiteY48" fmla="*/ 304800 h 3822033"/>
                <a:gd name="connsiteX49" fmla="*/ 2733674 w 3457574"/>
                <a:gd name="connsiteY49" fmla="*/ 333375 h 3822033"/>
                <a:gd name="connsiteX50" fmla="*/ 2771774 w 3457574"/>
                <a:gd name="connsiteY50" fmla="*/ 361950 h 3822033"/>
                <a:gd name="connsiteX51" fmla="*/ 2809874 w 3457574"/>
                <a:gd name="connsiteY51" fmla="*/ 400050 h 3822033"/>
                <a:gd name="connsiteX52" fmla="*/ 2867024 w 3457574"/>
                <a:gd name="connsiteY52" fmla="*/ 438150 h 3822033"/>
                <a:gd name="connsiteX53" fmla="*/ 2905124 w 3457574"/>
                <a:gd name="connsiteY53" fmla="*/ 476250 h 3822033"/>
                <a:gd name="connsiteX54" fmla="*/ 2971799 w 3457574"/>
                <a:gd name="connsiteY54" fmla="*/ 523875 h 3822033"/>
                <a:gd name="connsiteX55" fmla="*/ 2990849 w 3457574"/>
                <a:gd name="connsiteY55" fmla="*/ 552450 h 3822033"/>
                <a:gd name="connsiteX56" fmla="*/ 3028949 w 3457574"/>
                <a:gd name="connsiteY56" fmla="*/ 590550 h 3822033"/>
                <a:gd name="connsiteX57" fmla="*/ 3047999 w 3457574"/>
                <a:gd name="connsiteY57" fmla="*/ 628650 h 3822033"/>
                <a:gd name="connsiteX58" fmla="*/ 3086099 w 3457574"/>
                <a:gd name="connsiteY58" fmla="*/ 666750 h 3822033"/>
                <a:gd name="connsiteX59" fmla="*/ 3124199 w 3457574"/>
                <a:gd name="connsiteY59" fmla="*/ 723900 h 3822033"/>
                <a:gd name="connsiteX60" fmla="*/ 3219449 w 3457574"/>
                <a:gd name="connsiteY60" fmla="*/ 838200 h 3822033"/>
                <a:gd name="connsiteX61" fmla="*/ 3238499 w 3457574"/>
                <a:gd name="connsiteY61" fmla="*/ 885825 h 3822033"/>
                <a:gd name="connsiteX62" fmla="*/ 3276599 w 3457574"/>
                <a:gd name="connsiteY62" fmla="*/ 942975 h 3822033"/>
                <a:gd name="connsiteX63" fmla="*/ 3286124 w 3457574"/>
                <a:gd name="connsiteY63" fmla="*/ 990600 h 3822033"/>
                <a:gd name="connsiteX64" fmla="*/ 3324224 w 3457574"/>
                <a:gd name="connsiteY64" fmla="*/ 1085850 h 3822033"/>
                <a:gd name="connsiteX65" fmla="*/ 3362324 w 3457574"/>
                <a:gd name="connsiteY65" fmla="*/ 1171575 h 3822033"/>
                <a:gd name="connsiteX66" fmla="*/ 3390899 w 3457574"/>
                <a:gd name="connsiteY66" fmla="*/ 1219200 h 3822033"/>
                <a:gd name="connsiteX67" fmla="*/ 3419474 w 3457574"/>
                <a:gd name="connsiteY67" fmla="*/ 1333500 h 3822033"/>
                <a:gd name="connsiteX68" fmla="*/ 3428999 w 3457574"/>
                <a:gd name="connsiteY68" fmla="*/ 1390650 h 3822033"/>
                <a:gd name="connsiteX69" fmla="*/ 3457574 w 3457574"/>
                <a:gd name="connsiteY69" fmla="*/ 1657350 h 3822033"/>
                <a:gd name="connsiteX70" fmla="*/ 3362324 w 3457574"/>
                <a:gd name="connsiteY70" fmla="*/ 2187575 h 3822033"/>
                <a:gd name="connsiteX71" fmla="*/ 3276599 w 3457574"/>
                <a:gd name="connsiteY71" fmla="*/ 2400300 h 3822033"/>
                <a:gd name="connsiteX72" fmla="*/ 3190874 w 3457574"/>
                <a:gd name="connsiteY72" fmla="*/ 2533650 h 3822033"/>
                <a:gd name="connsiteX73" fmla="*/ 3105149 w 3457574"/>
                <a:gd name="connsiteY73" fmla="*/ 2647950 h 3822033"/>
                <a:gd name="connsiteX74" fmla="*/ 3019424 w 3457574"/>
                <a:gd name="connsiteY74" fmla="*/ 2781300 h 3822033"/>
                <a:gd name="connsiteX75" fmla="*/ 2981324 w 3457574"/>
                <a:gd name="connsiteY75" fmla="*/ 2819400 h 3822033"/>
                <a:gd name="connsiteX76" fmla="*/ 2943224 w 3457574"/>
                <a:gd name="connsiteY76" fmla="*/ 2876550 h 3822033"/>
                <a:gd name="connsiteX77" fmla="*/ 2857499 w 3457574"/>
                <a:gd name="connsiteY77" fmla="*/ 2933700 h 3822033"/>
                <a:gd name="connsiteX78" fmla="*/ 2809874 w 3457574"/>
                <a:gd name="connsiteY78" fmla="*/ 2971800 h 3822033"/>
                <a:gd name="connsiteX79" fmla="*/ 2705099 w 3457574"/>
                <a:gd name="connsiteY79" fmla="*/ 3038475 h 3822033"/>
                <a:gd name="connsiteX80" fmla="*/ 2609849 w 3457574"/>
                <a:gd name="connsiteY80" fmla="*/ 3105150 h 3822033"/>
                <a:gd name="connsiteX81" fmla="*/ 2562224 w 3457574"/>
                <a:gd name="connsiteY81" fmla="*/ 3143250 h 3822033"/>
                <a:gd name="connsiteX82" fmla="*/ 2495549 w 3457574"/>
                <a:gd name="connsiteY82" fmla="*/ 3162300 h 3822033"/>
                <a:gd name="connsiteX83" fmla="*/ 2362199 w 3457574"/>
                <a:gd name="connsiteY83" fmla="*/ 3219450 h 3822033"/>
                <a:gd name="connsiteX84" fmla="*/ 2257424 w 3457574"/>
                <a:gd name="connsiteY84" fmla="*/ 3257550 h 3822033"/>
                <a:gd name="connsiteX85" fmla="*/ 2181224 w 3457574"/>
                <a:gd name="connsiteY85" fmla="*/ 3276600 h 3822033"/>
                <a:gd name="connsiteX86" fmla="*/ 2057399 w 3457574"/>
                <a:gd name="connsiteY86" fmla="*/ 3362325 h 3822033"/>
                <a:gd name="connsiteX87" fmla="*/ 2009774 w 3457574"/>
                <a:gd name="connsiteY87" fmla="*/ 3400425 h 3822033"/>
                <a:gd name="connsiteX88" fmla="*/ 1962149 w 3457574"/>
                <a:gd name="connsiteY88" fmla="*/ 3429000 h 3822033"/>
                <a:gd name="connsiteX89" fmla="*/ 1904999 w 3457574"/>
                <a:gd name="connsiteY89" fmla="*/ 3495675 h 3822033"/>
                <a:gd name="connsiteX90" fmla="*/ 1819274 w 3457574"/>
                <a:gd name="connsiteY90" fmla="*/ 3609975 h 3822033"/>
                <a:gd name="connsiteX91" fmla="*/ 1800224 w 3457574"/>
                <a:gd name="connsiteY91" fmla="*/ 3638550 h 3822033"/>
                <a:gd name="connsiteX92" fmla="*/ 1790699 w 3457574"/>
                <a:gd name="connsiteY92" fmla="*/ 3667125 h 3822033"/>
                <a:gd name="connsiteX93" fmla="*/ 1771649 w 3457574"/>
                <a:gd name="connsiteY93" fmla="*/ 3695700 h 3822033"/>
                <a:gd name="connsiteX94" fmla="*/ 1752599 w 3457574"/>
                <a:gd name="connsiteY94" fmla="*/ 3733800 h 3822033"/>
                <a:gd name="connsiteX95" fmla="*/ 1714499 w 3457574"/>
                <a:gd name="connsiteY95" fmla="*/ 3810000 h 3822033"/>
                <a:gd name="connsiteX96" fmla="*/ 1704974 w 3457574"/>
                <a:gd name="connsiteY96" fmla="*/ 3819525 h 3822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</a:cxnLst>
              <a:rect l="l" t="t" r="r" b="b"/>
              <a:pathLst>
                <a:path w="3457574" h="3822033">
                  <a:moveTo>
                    <a:pt x="1704974" y="3819525"/>
                  </a:moveTo>
                  <a:cubicBezTo>
                    <a:pt x="1698624" y="3813175"/>
                    <a:pt x="1704974" y="3817938"/>
                    <a:pt x="1676399" y="3771900"/>
                  </a:cubicBezTo>
                  <a:cubicBezTo>
                    <a:pt x="1647824" y="3725862"/>
                    <a:pt x="1577974" y="3598862"/>
                    <a:pt x="1533524" y="3543300"/>
                  </a:cubicBezTo>
                  <a:cubicBezTo>
                    <a:pt x="1489074" y="3487738"/>
                    <a:pt x="1424613" y="3445982"/>
                    <a:pt x="1409699" y="3438525"/>
                  </a:cubicBezTo>
                  <a:cubicBezTo>
                    <a:pt x="1396999" y="3432175"/>
                    <a:pt x="1383927" y="3426520"/>
                    <a:pt x="1371599" y="3419475"/>
                  </a:cubicBezTo>
                  <a:cubicBezTo>
                    <a:pt x="1361660" y="3413795"/>
                    <a:pt x="1353965" y="3403792"/>
                    <a:pt x="1343024" y="3400425"/>
                  </a:cubicBezTo>
                  <a:cubicBezTo>
                    <a:pt x="1312077" y="3390903"/>
                    <a:pt x="1279524" y="3387725"/>
                    <a:pt x="1247774" y="3381375"/>
                  </a:cubicBezTo>
                  <a:cubicBezTo>
                    <a:pt x="1212849" y="3368675"/>
                    <a:pt x="1173162" y="3341688"/>
                    <a:pt x="1133474" y="3324225"/>
                  </a:cubicBezTo>
                  <a:cubicBezTo>
                    <a:pt x="1093787" y="3306763"/>
                    <a:pt x="1044181" y="3304226"/>
                    <a:pt x="1009649" y="3276600"/>
                  </a:cubicBezTo>
                  <a:cubicBezTo>
                    <a:pt x="993774" y="3263900"/>
                    <a:pt x="978940" y="3249777"/>
                    <a:pt x="962024" y="3238500"/>
                  </a:cubicBezTo>
                  <a:cubicBezTo>
                    <a:pt x="950210" y="3230624"/>
                    <a:pt x="946149" y="3235325"/>
                    <a:pt x="923924" y="3219450"/>
                  </a:cubicBezTo>
                  <a:cubicBezTo>
                    <a:pt x="901699" y="3203575"/>
                    <a:pt x="873124" y="3173942"/>
                    <a:pt x="828674" y="3143250"/>
                  </a:cubicBezTo>
                  <a:cubicBezTo>
                    <a:pt x="784224" y="3112558"/>
                    <a:pt x="700086" y="3068637"/>
                    <a:pt x="657224" y="3035300"/>
                  </a:cubicBezTo>
                  <a:cubicBezTo>
                    <a:pt x="614362" y="3001963"/>
                    <a:pt x="622299" y="3005138"/>
                    <a:pt x="571499" y="2943225"/>
                  </a:cubicBezTo>
                  <a:cubicBezTo>
                    <a:pt x="523874" y="2887663"/>
                    <a:pt x="379411" y="2736850"/>
                    <a:pt x="333374" y="2676525"/>
                  </a:cubicBezTo>
                  <a:lnTo>
                    <a:pt x="276224" y="2581275"/>
                  </a:lnTo>
                  <a:cubicBezTo>
                    <a:pt x="255587" y="2543704"/>
                    <a:pt x="230716" y="2487612"/>
                    <a:pt x="209549" y="2451100"/>
                  </a:cubicBezTo>
                  <a:cubicBezTo>
                    <a:pt x="188382" y="2414588"/>
                    <a:pt x="169332" y="2398713"/>
                    <a:pt x="149224" y="2362200"/>
                  </a:cubicBezTo>
                  <a:cubicBezTo>
                    <a:pt x="129116" y="2325687"/>
                    <a:pt x="126470" y="2305579"/>
                    <a:pt x="107949" y="2238375"/>
                  </a:cubicBezTo>
                  <a:cubicBezTo>
                    <a:pt x="89428" y="2171171"/>
                    <a:pt x="51328" y="2028825"/>
                    <a:pt x="38099" y="1958975"/>
                  </a:cubicBezTo>
                  <a:cubicBezTo>
                    <a:pt x="24870" y="1889125"/>
                    <a:pt x="34395" y="1865312"/>
                    <a:pt x="28574" y="1819275"/>
                  </a:cubicBezTo>
                  <a:cubicBezTo>
                    <a:pt x="22753" y="1773238"/>
                    <a:pt x="7407" y="1733021"/>
                    <a:pt x="3174" y="1682750"/>
                  </a:cubicBezTo>
                  <a:cubicBezTo>
                    <a:pt x="-1059" y="1632479"/>
                    <a:pt x="-1059" y="1580621"/>
                    <a:pt x="3174" y="1517650"/>
                  </a:cubicBezTo>
                  <a:cubicBezTo>
                    <a:pt x="7407" y="1454679"/>
                    <a:pt x="17461" y="1370013"/>
                    <a:pt x="28574" y="1304925"/>
                  </a:cubicBezTo>
                  <a:cubicBezTo>
                    <a:pt x="39687" y="1239837"/>
                    <a:pt x="55562" y="1179512"/>
                    <a:pt x="69849" y="1127125"/>
                  </a:cubicBezTo>
                  <a:cubicBezTo>
                    <a:pt x="84833" y="1059696"/>
                    <a:pt x="97366" y="1033992"/>
                    <a:pt x="114299" y="990600"/>
                  </a:cubicBezTo>
                  <a:cubicBezTo>
                    <a:pt x="131232" y="947208"/>
                    <a:pt x="152399" y="904875"/>
                    <a:pt x="171449" y="866775"/>
                  </a:cubicBezTo>
                  <a:cubicBezTo>
                    <a:pt x="190499" y="828675"/>
                    <a:pt x="163236" y="863016"/>
                    <a:pt x="228599" y="762000"/>
                  </a:cubicBezTo>
                  <a:cubicBezTo>
                    <a:pt x="253475" y="723556"/>
                    <a:pt x="252973" y="729425"/>
                    <a:pt x="304799" y="647700"/>
                  </a:cubicBezTo>
                  <a:cubicBezTo>
                    <a:pt x="387349" y="517525"/>
                    <a:pt x="549274" y="384175"/>
                    <a:pt x="609599" y="323850"/>
                  </a:cubicBezTo>
                  <a:cubicBezTo>
                    <a:pt x="628649" y="311150"/>
                    <a:pt x="646271" y="295989"/>
                    <a:pt x="666749" y="285750"/>
                  </a:cubicBezTo>
                  <a:lnTo>
                    <a:pt x="761999" y="238125"/>
                  </a:lnTo>
                  <a:cubicBezTo>
                    <a:pt x="774699" y="231775"/>
                    <a:pt x="787923" y="226380"/>
                    <a:pt x="800099" y="219075"/>
                  </a:cubicBezTo>
                  <a:cubicBezTo>
                    <a:pt x="831849" y="200025"/>
                    <a:pt x="861316" y="176510"/>
                    <a:pt x="895349" y="161925"/>
                  </a:cubicBezTo>
                  <a:cubicBezTo>
                    <a:pt x="917574" y="152400"/>
                    <a:pt x="939573" y="142330"/>
                    <a:pt x="962024" y="133350"/>
                  </a:cubicBezTo>
                  <a:cubicBezTo>
                    <a:pt x="1010267" y="114053"/>
                    <a:pt x="1074846" y="91309"/>
                    <a:pt x="1123949" y="76200"/>
                  </a:cubicBezTo>
                  <a:cubicBezTo>
                    <a:pt x="1136461" y="72350"/>
                    <a:pt x="1149574" y="70644"/>
                    <a:pt x="1162049" y="66675"/>
                  </a:cubicBezTo>
                  <a:cubicBezTo>
                    <a:pt x="1380416" y="-2806"/>
                    <a:pt x="1265560" y="15701"/>
                    <a:pt x="1438274" y="0"/>
                  </a:cubicBezTo>
                  <a:lnTo>
                    <a:pt x="2038349" y="9525"/>
                  </a:lnTo>
                  <a:cubicBezTo>
                    <a:pt x="2060790" y="10166"/>
                    <a:pt x="2083566" y="12448"/>
                    <a:pt x="2105024" y="19050"/>
                  </a:cubicBezTo>
                  <a:cubicBezTo>
                    <a:pt x="2125381" y="25314"/>
                    <a:pt x="2142295" y="39979"/>
                    <a:pt x="2162174" y="47625"/>
                  </a:cubicBezTo>
                  <a:cubicBezTo>
                    <a:pt x="2183748" y="55923"/>
                    <a:pt x="2206624" y="60325"/>
                    <a:pt x="2228849" y="66675"/>
                  </a:cubicBezTo>
                  <a:cubicBezTo>
                    <a:pt x="2238869" y="72937"/>
                    <a:pt x="2315339" y="124080"/>
                    <a:pt x="2343149" y="133350"/>
                  </a:cubicBezTo>
                  <a:cubicBezTo>
                    <a:pt x="2358508" y="138470"/>
                    <a:pt x="2374899" y="139700"/>
                    <a:pt x="2390774" y="142875"/>
                  </a:cubicBezTo>
                  <a:cubicBezTo>
                    <a:pt x="2412999" y="152400"/>
                    <a:pt x="2436715" y="159009"/>
                    <a:pt x="2457449" y="171450"/>
                  </a:cubicBezTo>
                  <a:cubicBezTo>
                    <a:pt x="2469000" y="178380"/>
                    <a:pt x="2473976" y="194001"/>
                    <a:pt x="2486024" y="200025"/>
                  </a:cubicBezTo>
                  <a:cubicBezTo>
                    <a:pt x="2512965" y="213495"/>
                    <a:pt x="2543783" y="217413"/>
                    <a:pt x="2571749" y="228600"/>
                  </a:cubicBezTo>
                  <a:cubicBezTo>
                    <a:pt x="2604276" y="241611"/>
                    <a:pt x="2646432" y="266942"/>
                    <a:pt x="2676524" y="285750"/>
                  </a:cubicBezTo>
                  <a:cubicBezTo>
                    <a:pt x="2686232" y="291817"/>
                    <a:pt x="2696305" y="297471"/>
                    <a:pt x="2705099" y="304800"/>
                  </a:cubicBezTo>
                  <a:cubicBezTo>
                    <a:pt x="2715447" y="313424"/>
                    <a:pt x="2723447" y="324609"/>
                    <a:pt x="2733674" y="333375"/>
                  </a:cubicBezTo>
                  <a:cubicBezTo>
                    <a:pt x="2745727" y="343706"/>
                    <a:pt x="2759827" y="351496"/>
                    <a:pt x="2771774" y="361950"/>
                  </a:cubicBezTo>
                  <a:cubicBezTo>
                    <a:pt x="2785291" y="373777"/>
                    <a:pt x="2795849" y="388830"/>
                    <a:pt x="2809874" y="400050"/>
                  </a:cubicBezTo>
                  <a:cubicBezTo>
                    <a:pt x="2827752" y="414353"/>
                    <a:pt x="2849146" y="423847"/>
                    <a:pt x="2867024" y="438150"/>
                  </a:cubicBezTo>
                  <a:cubicBezTo>
                    <a:pt x="2881049" y="449370"/>
                    <a:pt x="2891607" y="464423"/>
                    <a:pt x="2905124" y="476250"/>
                  </a:cubicBezTo>
                  <a:cubicBezTo>
                    <a:pt x="2924027" y="492790"/>
                    <a:pt x="2950462" y="509650"/>
                    <a:pt x="2971799" y="523875"/>
                  </a:cubicBezTo>
                  <a:cubicBezTo>
                    <a:pt x="2978149" y="533400"/>
                    <a:pt x="2983399" y="543758"/>
                    <a:pt x="2990849" y="552450"/>
                  </a:cubicBezTo>
                  <a:cubicBezTo>
                    <a:pt x="3002538" y="566087"/>
                    <a:pt x="3018173" y="576182"/>
                    <a:pt x="3028949" y="590550"/>
                  </a:cubicBezTo>
                  <a:cubicBezTo>
                    <a:pt x="3037468" y="601909"/>
                    <a:pt x="3039480" y="617291"/>
                    <a:pt x="3047999" y="628650"/>
                  </a:cubicBezTo>
                  <a:cubicBezTo>
                    <a:pt x="3058775" y="643018"/>
                    <a:pt x="3074879" y="652725"/>
                    <a:pt x="3086099" y="666750"/>
                  </a:cubicBezTo>
                  <a:cubicBezTo>
                    <a:pt x="3100402" y="684628"/>
                    <a:pt x="3110660" y="705437"/>
                    <a:pt x="3124199" y="723900"/>
                  </a:cubicBezTo>
                  <a:cubicBezTo>
                    <a:pt x="3183084" y="804198"/>
                    <a:pt x="3171252" y="790003"/>
                    <a:pt x="3219449" y="838200"/>
                  </a:cubicBezTo>
                  <a:cubicBezTo>
                    <a:pt x="3225799" y="854075"/>
                    <a:pt x="3230312" y="870815"/>
                    <a:pt x="3238499" y="885825"/>
                  </a:cubicBezTo>
                  <a:cubicBezTo>
                    <a:pt x="3249462" y="905925"/>
                    <a:pt x="3267125" y="922132"/>
                    <a:pt x="3276599" y="942975"/>
                  </a:cubicBezTo>
                  <a:cubicBezTo>
                    <a:pt x="3283298" y="957713"/>
                    <a:pt x="3281004" y="975241"/>
                    <a:pt x="3286124" y="990600"/>
                  </a:cubicBezTo>
                  <a:cubicBezTo>
                    <a:pt x="3296938" y="1023041"/>
                    <a:pt x="3311524" y="1054100"/>
                    <a:pt x="3324224" y="1085850"/>
                  </a:cubicBezTo>
                  <a:cubicBezTo>
                    <a:pt x="3339363" y="1123697"/>
                    <a:pt x="3343255" y="1137251"/>
                    <a:pt x="3362324" y="1171575"/>
                  </a:cubicBezTo>
                  <a:cubicBezTo>
                    <a:pt x="3371315" y="1187759"/>
                    <a:pt x="3381374" y="1203325"/>
                    <a:pt x="3390899" y="1219200"/>
                  </a:cubicBezTo>
                  <a:cubicBezTo>
                    <a:pt x="3417894" y="1435159"/>
                    <a:pt x="3380263" y="1202796"/>
                    <a:pt x="3419474" y="1333500"/>
                  </a:cubicBezTo>
                  <a:cubicBezTo>
                    <a:pt x="3425023" y="1351998"/>
                    <a:pt x="3426134" y="1371551"/>
                    <a:pt x="3428999" y="1390650"/>
                  </a:cubicBezTo>
                  <a:cubicBezTo>
                    <a:pt x="3453199" y="1551982"/>
                    <a:pt x="3445994" y="1495225"/>
                    <a:pt x="3457574" y="1657350"/>
                  </a:cubicBezTo>
                  <a:cubicBezTo>
                    <a:pt x="3449637" y="1798638"/>
                    <a:pt x="3392486" y="2063750"/>
                    <a:pt x="3362324" y="2187575"/>
                  </a:cubicBezTo>
                  <a:cubicBezTo>
                    <a:pt x="3332162" y="2311400"/>
                    <a:pt x="3305174" y="2342621"/>
                    <a:pt x="3276599" y="2400300"/>
                  </a:cubicBezTo>
                  <a:cubicBezTo>
                    <a:pt x="3248024" y="2457979"/>
                    <a:pt x="3223316" y="2491939"/>
                    <a:pt x="3190874" y="2533650"/>
                  </a:cubicBezTo>
                  <a:cubicBezTo>
                    <a:pt x="3183801" y="2542744"/>
                    <a:pt x="3123209" y="2616345"/>
                    <a:pt x="3105149" y="2647950"/>
                  </a:cubicBezTo>
                  <a:cubicBezTo>
                    <a:pt x="3072303" y="2705431"/>
                    <a:pt x="3084590" y="2716134"/>
                    <a:pt x="3019424" y="2781300"/>
                  </a:cubicBezTo>
                  <a:cubicBezTo>
                    <a:pt x="3006724" y="2794000"/>
                    <a:pt x="2992544" y="2805375"/>
                    <a:pt x="2981324" y="2819400"/>
                  </a:cubicBezTo>
                  <a:cubicBezTo>
                    <a:pt x="2967021" y="2837278"/>
                    <a:pt x="2962274" y="2863850"/>
                    <a:pt x="2943224" y="2876550"/>
                  </a:cubicBezTo>
                  <a:cubicBezTo>
                    <a:pt x="2914649" y="2895600"/>
                    <a:pt x="2885445" y="2913739"/>
                    <a:pt x="2857499" y="2933700"/>
                  </a:cubicBezTo>
                  <a:cubicBezTo>
                    <a:pt x="2840956" y="2945517"/>
                    <a:pt x="2826627" y="2960283"/>
                    <a:pt x="2809874" y="2971800"/>
                  </a:cubicBezTo>
                  <a:cubicBezTo>
                    <a:pt x="2775761" y="2995253"/>
                    <a:pt x="2736901" y="3011973"/>
                    <a:pt x="2705099" y="3038475"/>
                  </a:cubicBezTo>
                  <a:cubicBezTo>
                    <a:pt x="2531767" y="3182918"/>
                    <a:pt x="2730408" y="3024777"/>
                    <a:pt x="2609849" y="3105150"/>
                  </a:cubicBezTo>
                  <a:cubicBezTo>
                    <a:pt x="2592933" y="3116427"/>
                    <a:pt x="2580408" y="3134158"/>
                    <a:pt x="2562224" y="3143250"/>
                  </a:cubicBezTo>
                  <a:cubicBezTo>
                    <a:pt x="2541550" y="3153587"/>
                    <a:pt x="2517774" y="3155950"/>
                    <a:pt x="2495549" y="3162300"/>
                  </a:cubicBezTo>
                  <a:cubicBezTo>
                    <a:pt x="2434666" y="3202888"/>
                    <a:pt x="2482234" y="3174437"/>
                    <a:pt x="2362199" y="3219450"/>
                  </a:cubicBezTo>
                  <a:cubicBezTo>
                    <a:pt x="2310693" y="3238765"/>
                    <a:pt x="2313456" y="3241541"/>
                    <a:pt x="2257424" y="3257550"/>
                  </a:cubicBezTo>
                  <a:cubicBezTo>
                    <a:pt x="2232250" y="3264743"/>
                    <a:pt x="2206624" y="3270250"/>
                    <a:pt x="2181224" y="3276600"/>
                  </a:cubicBezTo>
                  <a:cubicBezTo>
                    <a:pt x="2118696" y="3339128"/>
                    <a:pt x="2185560" y="3276884"/>
                    <a:pt x="2057399" y="3362325"/>
                  </a:cubicBezTo>
                  <a:cubicBezTo>
                    <a:pt x="2040483" y="3373602"/>
                    <a:pt x="2026429" y="3388767"/>
                    <a:pt x="2009774" y="3400425"/>
                  </a:cubicBezTo>
                  <a:cubicBezTo>
                    <a:pt x="1994607" y="3411042"/>
                    <a:pt x="1976762" y="3417634"/>
                    <a:pt x="1962149" y="3429000"/>
                  </a:cubicBezTo>
                  <a:cubicBezTo>
                    <a:pt x="1922882" y="3459541"/>
                    <a:pt x="1929596" y="3462133"/>
                    <a:pt x="1904999" y="3495675"/>
                  </a:cubicBezTo>
                  <a:cubicBezTo>
                    <a:pt x="1876835" y="3534080"/>
                    <a:pt x="1845692" y="3570349"/>
                    <a:pt x="1819274" y="3609975"/>
                  </a:cubicBezTo>
                  <a:cubicBezTo>
                    <a:pt x="1812924" y="3619500"/>
                    <a:pt x="1805344" y="3628311"/>
                    <a:pt x="1800224" y="3638550"/>
                  </a:cubicBezTo>
                  <a:cubicBezTo>
                    <a:pt x="1795734" y="3647530"/>
                    <a:pt x="1795189" y="3658145"/>
                    <a:pt x="1790699" y="3667125"/>
                  </a:cubicBezTo>
                  <a:cubicBezTo>
                    <a:pt x="1785579" y="3677364"/>
                    <a:pt x="1777329" y="3685761"/>
                    <a:pt x="1771649" y="3695700"/>
                  </a:cubicBezTo>
                  <a:cubicBezTo>
                    <a:pt x="1764604" y="3708028"/>
                    <a:pt x="1759644" y="3721472"/>
                    <a:pt x="1752599" y="3733800"/>
                  </a:cubicBezTo>
                  <a:cubicBezTo>
                    <a:pt x="1731295" y="3771082"/>
                    <a:pt x="1727002" y="3759990"/>
                    <a:pt x="1714499" y="3810000"/>
                  </a:cubicBezTo>
                  <a:cubicBezTo>
                    <a:pt x="1712189" y="3819241"/>
                    <a:pt x="1711324" y="3825875"/>
                    <a:pt x="1704974" y="3819525"/>
                  </a:cubicBezTo>
                  <a:close/>
                </a:path>
              </a:pathLst>
            </a:custGeom>
            <a:noFill/>
            <a:ln>
              <a:solidFill>
                <a:srgbClr val="88BCA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a-DK" sz="1400"/>
            </a:p>
          </p:txBody>
        </p:sp>
      </p:grpSp>
      <p:sp>
        <p:nvSpPr>
          <p:cNvPr id="94" name="Rectangle 93">
            <a:extLst>
              <a:ext uri="{FF2B5EF4-FFF2-40B4-BE49-F238E27FC236}">
                <a16:creationId xmlns:a16="http://schemas.microsoft.com/office/drawing/2014/main" id="{F10996C5-58FF-939C-9C8E-DCF928FF4811}"/>
              </a:ext>
            </a:extLst>
          </p:cNvPr>
          <p:cNvSpPr/>
          <p:nvPr/>
        </p:nvSpPr>
        <p:spPr>
          <a:xfrm>
            <a:off x="1019630" y="5369129"/>
            <a:ext cx="3944105" cy="8394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r>
              <a:rPr lang="da-DK" sz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Udarbejdelse af indikatorer, beregningsmetoder og datapunkter. Målepunkterne implementeres derefter i Det Almene Datavarehus.</a:t>
            </a:r>
          </a:p>
        </p:txBody>
      </p:sp>
      <p:sp>
        <p:nvSpPr>
          <p:cNvPr id="3" name="Freeform: Shape 152">
            <a:extLst>
              <a:ext uri="{FF2B5EF4-FFF2-40B4-BE49-F238E27FC236}">
                <a16:creationId xmlns:a16="http://schemas.microsoft.com/office/drawing/2014/main" id="{8896CB8B-4CBF-832C-E6FC-4FF3022E039C}"/>
              </a:ext>
            </a:extLst>
          </p:cNvPr>
          <p:cNvSpPr/>
          <p:nvPr/>
        </p:nvSpPr>
        <p:spPr>
          <a:xfrm rot="483401">
            <a:off x="3293974" y="4501669"/>
            <a:ext cx="91326" cy="160700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  <a:highlight>
                <a:srgbClr val="F2F6F6"/>
              </a:highlight>
            </a:endParaRPr>
          </a:p>
        </p:txBody>
      </p:sp>
      <p:sp>
        <p:nvSpPr>
          <p:cNvPr id="4" name="Freeform: Shape 152">
            <a:extLst>
              <a:ext uri="{FF2B5EF4-FFF2-40B4-BE49-F238E27FC236}">
                <a16:creationId xmlns:a16="http://schemas.microsoft.com/office/drawing/2014/main" id="{A1087B5F-57AC-7AA4-B4AF-88F272442802}"/>
              </a:ext>
            </a:extLst>
          </p:cNvPr>
          <p:cNvSpPr/>
          <p:nvPr/>
        </p:nvSpPr>
        <p:spPr>
          <a:xfrm rot="601064">
            <a:off x="7799922" y="4543375"/>
            <a:ext cx="91326" cy="160700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  <a:highlight>
                <a:srgbClr val="F2F6F6"/>
              </a:highlight>
            </a:endParaRPr>
          </a:p>
        </p:txBody>
      </p:sp>
      <p:sp>
        <p:nvSpPr>
          <p:cNvPr id="5" name="Freeform: Shape 152">
            <a:extLst>
              <a:ext uri="{FF2B5EF4-FFF2-40B4-BE49-F238E27FC236}">
                <a16:creationId xmlns:a16="http://schemas.microsoft.com/office/drawing/2014/main" id="{BF10620B-EBA9-9B31-0B32-59BBD3D1FE86}"/>
              </a:ext>
            </a:extLst>
          </p:cNvPr>
          <p:cNvSpPr/>
          <p:nvPr/>
        </p:nvSpPr>
        <p:spPr>
          <a:xfrm rot="6071503">
            <a:off x="11001621" y="4982757"/>
            <a:ext cx="91326" cy="160700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  <a:highlight>
                <a:srgbClr val="F2F6F6"/>
              </a:highlight>
            </a:endParaRPr>
          </a:p>
        </p:txBody>
      </p:sp>
      <p:sp>
        <p:nvSpPr>
          <p:cNvPr id="6" name="Freeform: Shape 152">
            <a:extLst>
              <a:ext uri="{FF2B5EF4-FFF2-40B4-BE49-F238E27FC236}">
                <a16:creationId xmlns:a16="http://schemas.microsoft.com/office/drawing/2014/main" id="{6B291C51-38D9-DEF3-BB2D-5C87AE16796C}"/>
              </a:ext>
            </a:extLst>
          </p:cNvPr>
          <p:cNvSpPr/>
          <p:nvPr/>
        </p:nvSpPr>
        <p:spPr>
          <a:xfrm rot="11587108">
            <a:off x="4315503" y="1831754"/>
            <a:ext cx="91326" cy="160700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  <a:highlight>
                <a:srgbClr val="F2F6F6"/>
              </a:highlight>
            </a:endParaRPr>
          </a:p>
        </p:txBody>
      </p:sp>
      <p:sp>
        <p:nvSpPr>
          <p:cNvPr id="7" name="Freeform: Shape 152">
            <a:extLst>
              <a:ext uri="{FF2B5EF4-FFF2-40B4-BE49-F238E27FC236}">
                <a16:creationId xmlns:a16="http://schemas.microsoft.com/office/drawing/2014/main" id="{4AE54B21-8CA5-EB40-4F07-077264BB240C}"/>
              </a:ext>
            </a:extLst>
          </p:cNvPr>
          <p:cNvSpPr/>
          <p:nvPr/>
        </p:nvSpPr>
        <p:spPr>
          <a:xfrm rot="6429996">
            <a:off x="146994" y="3024922"/>
            <a:ext cx="91326" cy="160700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  <a:highlight>
                <a:srgbClr val="F2F6F6"/>
              </a:highlight>
            </a:endParaRPr>
          </a:p>
        </p:txBody>
      </p:sp>
      <p:sp>
        <p:nvSpPr>
          <p:cNvPr id="9" name="Freeform: Shape 152">
            <a:extLst>
              <a:ext uri="{FF2B5EF4-FFF2-40B4-BE49-F238E27FC236}">
                <a16:creationId xmlns:a16="http://schemas.microsoft.com/office/drawing/2014/main" id="{5EEC095D-E31C-08EE-DF2A-2C63EE8A01BC}"/>
              </a:ext>
            </a:extLst>
          </p:cNvPr>
          <p:cNvSpPr/>
          <p:nvPr/>
        </p:nvSpPr>
        <p:spPr>
          <a:xfrm rot="11732108">
            <a:off x="9675875" y="1780057"/>
            <a:ext cx="91326" cy="160700"/>
          </a:xfrm>
          <a:custGeom>
            <a:avLst/>
            <a:gdLst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23813 w 54769"/>
              <a:gd name="connsiteY9" fmla="*/ 88106 h 114300"/>
              <a:gd name="connsiteX10" fmla="*/ 19050 w 54769"/>
              <a:gd name="connsiteY10" fmla="*/ 102394 h 114300"/>
              <a:gd name="connsiteX11" fmla="*/ 11907 w 54769"/>
              <a:gd name="connsiteY11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30957 w 54769"/>
              <a:gd name="connsiteY8" fmla="*/ 78581 h 114300"/>
              <a:gd name="connsiteX9" fmla="*/ 19050 w 54769"/>
              <a:gd name="connsiteY9" fmla="*/ 102394 h 114300"/>
              <a:gd name="connsiteX10" fmla="*/ 11907 w 54769"/>
              <a:gd name="connsiteY10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9050 w 54769"/>
              <a:gd name="connsiteY8" fmla="*/ 102394 h 114300"/>
              <a:gd name="connsiteX9" fmla="*/ 11907 w 54769"/>
              <a:gd name="connsiteY9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33338 w 54769"/>
              <a:gd name="connsiteY7" fmla="*/ 71437 h 114300"/>
              <a:gd name="connsiteX8" fmla="*/ 11907 w 54769"/>
              <a:gd name="connsiteY8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40482 w 54769"/>
              <a:gd name="connsiteY3" fmla="*/ 23812 h 114300"/>
              <a:gd name="connsiteX4" fmla="*/ 54769 w 54769"/>
              <a:gd name="connsiteY4" fmla="*/ 33337 h 114300"/>
              <a:gd name="connsiteX5" fmla="*/ 52388 w 54769"/>
              <a:gd name="connsiteY5" fmla="*/ 45244 h 114300"/>
              <a:gd name="connsiteX6" fmla="*/ 38100 w 54769"/>
              <a:gd name="connsiteY6" fmla="*/ 61912 h 114300"/>
              <a:gd name="connsiteX7" fmla="*/ 11907 w 54769"/>
              <a:gd name="connsiteY7" fmla="*/ 114300 h 114300"/>
              <a:gd name="connsiteX0" fmla="*/ 0 w 54769"/>
              <a:gd name="connsiteY0" fmla="*/ 0 h 114300"/>
              <a:gd name="connsiteX1" fmla="*/ 14288 w 54769"/>
              <a:gd name="connsiteY1" fmla="*/ 2381 h 114300"/>
              <a:gd name="connsiteX2" fmla="*/ 35719 w 54769"/>
              <a:gd name="connsiteY2" fmla="*/ 16669 h 114300"/>
              <a:gd name="connsiteX3" fmla="*/ 54769 w 54769"/>
              <a:gd name="connsiteY3" fmla="*/ 33337 h 114300"/>
              <a:gd name="connsiteX4" fmla="*/ 52388 w 54769"/>
              <a:gd name="connsiteY4" fmla="*/ 45244 h 114300"/>
              <a:gd name="connsiteX5" fmla="*/ 38100 w 54769"/>
              <a:gd name="connsiteY5" fmla="*/ 61912 h 114300"/>
              <a:gd name="connsiteX6" fmla="*/ 11907 w 54769"/>
              <a:gd name="connsiteY6" fmla="*/ 114300 h 114300"/>
              <a:gd name="connsiteX0" fmla="*/ 0 w 54769"/>
              <a:gd name="connsiteY0" fmla="*/ 0 h 114300"/>
              <a:gd name="connsiteX1" fmla="*/ 35719 w 54769"/>
              <a:gd name="connsiteY1" fmla="*/ 16669 h 114300"/>
              <a:gd name="connsiteX2" fmla="*/ 54769 w 54769"/>
              <a:gd name="connsiteY2" fmla="*/ 33337 h 114300"/>
              <a:gd name="connsiteX3" fmla="*/ 52388 w 54769"/>
              <a:gd name="connsiteY3" fmla="*/ 45244 h 114300"/>
              <a:gd name="connsiteX4" fmla="*/ 38100 w 54769"/>
              <a:gd name="connsiteY4" fmla="*/ 61912 h 114300"/>
              <a:gd name="connsiteX5" fmla="*/ 11907 w 54769"/>
              <a:gd name="connsiteY5" fmla="*/ 114300 h 114300"/>
              <a:gd name="connsiteX0" fmla="*/ 0 w 54769"/>
              <a:gd name="connsiteY0" fmla="*/ 0 h 114300"/>
              <a:gd name="connsiteX1" fmla="*/ 54769 w 54769"/>
              <a:gd name="connsiteY1" fmla="*/ 33337 h 114300"/>
              <a:gd name="connsiteX2" fmla="*/ 52388 w 54769"/>
              <a:gd name="connsiteY2" fmla="*/ 45244 h 114300"/>
              <a:gd name="connsiteX3" fmla="*/ 38100 w 54769"/>
              <a:gd name="connsiteY3" fmla="*/ 61912 h 114300"/>
              <a:gd name="connsiteX4" fmla="*/ 11907 w 54769"/>
              <a:gd name="connsiteY4" fmla="*/ 114300 h 114300"/>
              <a:gd name="connsiteX0" fmla="*/ 0 w 69056"/>
              <a:gd name="connsiteY0" fmla="*/ 0 h 123825"/>
              <a:gd name="connsiteX1" fmla="*/ 69056 w 69056"/>
              <a:gd name="connsiteY1" fmla="*/ 42862 h 123825"/>
              <a:gd name="connsiteX2" fmla="*/ 66675 w 69056"/>
              <a:gd name="connsiteY2" fmla="*/ 54769 h 123825"/>
              <a:gd name="connsiteX3" fmla="*/ 52387 w 69056"/>
              <a:gd name="connsiteY3" fmla="*/ 71437 h 123825"/>
              <a:gd name="connsiteX4" fmla="*/ 26194 w 69056"/>
              <a:gd name="connsiteY4" fmla="*/ 123825 h 123825"/>
              <a:gd name="connsiteX0" fmla="*/ 0 w 70370"/>
              <a:gd name="connsiteY0" fmla="*/ 0 h 123825"/>
              <a:gd name="connsiteX1" fmla="*/ 69056 w 70370"/>
              <a:gd name="connsiteY1" fmla="*/ 42862 h 123825"/>
              <a:gd name="connsiteX2" fmla="*/ 66675 w 70370"/>
              <a:gd name="connsiteY2" fmla="*/ 54769 h 123825"/>
              <a:gd name="connsiteX3" fmla="*/ 26194 w 70370"/>
              <a:gd name="connsiteY3" fmla="*/ 123825 h 123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370" h="123825">
                <a:moveTo>
                  <a:pt x="0" y="0"/>
                </a:moveTo>
                <a:cubicBezTo>
                  <a:pt x="11410" y="6945"/>
                  <a:pt x="60325" y="35321"/>
                  <a:pt x="69056" y="42862"/>
                </a:cubicBezTo>
                <a:cubicBezTo>
                  <a:pt x="68262" y="46831"/>
                  <a:pt x="73819" y="41275"/>
                  <a:pt x="66675" y="54769"/>
                </a:cubicBezTo>
                <a:cubicBezTo>
                  <a:pt x="59531" y="68263"/>
                  <a:pt x="34628" y="109438"/>
                  <a:pt x="26194" y="123825"/>
                </a:cubicBezTo>
              </a:path>
            </a:pathLst>
          </a:custGeom>
          <a:ln w="254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endParaRPr lang="da-DK">
              <a:solidFill>
                <a:schemeClr val="tx1"/>
              </a:solidFill>
              <a:highlight>
                <a:srgbClr val="F2F6F6"/>
              </a:highlight>
            </a:endParaRPr>
          </a:p>
        </p:txBody>
      </p:sp>
      <p:pic>
        <p:nvPicPr>
          <p:cNvPr id="12" name="Billede 11">
            <a:extLst>
              <a:ext uri="{FF2B5EF4-FFF2-40B4-BE49-F238E27FC236}">
                <a16:creationId xmlns:a16="http://schemas.microsoft.com/office/drawing/2014/main" id="{1F462A54-934D-3369-8D73-153B787B87FE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3830"/>
          <a:stretch/>
        </p:blipFill>
        <p:spPr>
          <a:xfrm>
            <a:off x="10534583" y="1416305"/>
            <a:ext cx="1679341" cy="1200957"/>
          </a:xfrm>
          <a:prstGeom prst="rect">
            <a:avLst/>
          </a:prstGeom>
        </p:spPr>
      </p:pic>
      <p:pic>
        <p:nvPicPr>
          <p:cNvPr id="17" name="Graphic 50">
            <a:extLst>
              <a:ext uri="{FF2B5EF4-FFF2-40B4-BE49-F238E27FC236}">
                <a16:creationId xmlns:a16="http://schemas.microsoft.com/office/drawing/2014/main" id="{55BED173-0B53-2B6A-0581-1932AEAD516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709403" y="5987640"/>
            <a:ext cx="1220645" cy="80084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43063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4-11-19 15:06:49"/>
  <p:tag name="KM-CONTENT-SLIDE" val="2024-11-19 15:07:0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4-11-19 15:06:49"/>
  <p:tag name="KM-CONTENT-SLIDE" val="2024-11-19 15:07:09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4-11-19 15:06:49"/>
  <p:tag name="KM-CONTENT-SLIDE" val="2024-11-19 15:07:09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4-11-19 15:06:49"/>
  <p:tag name="KM-CONTENT-SLIDE" val="2024-11-19 15:07:0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4-11-19 15:06:49"/>
  <p:tag name="KM-CONTENT-SLIDE" val="2024-11-19 15:07:0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4-11-19 15:06:49"/>
  <p:tag name="KM-CONTENT-SLIDE" val="2024-11-19 15:07:09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4-11-19 15:06:49"/>
  <p:tag name="KM-CONTENT-SLIDE" val="2024-11-19 15:07:09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4-11-19 15:06:49"/>
  <p:tag name="KM-CONTENT-SLIDE" val="2024-11-19 15:07:09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4-11-19 15:06:49"/>
  <p:tag name="KM-CONTENT-SLIDE" val="2024-11-19 15:07:09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4-11-19 15:06:49"/>
  <p:tag name="KM-CONTENT-SLIDE" val="2024-11-19 15:07:0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4-11-19 15:06:49"/>
  <p:tag name="KM-CONTENT-SLIDE" val="2024-11-19 15:07:09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4-11-19 15:06:49"/>
  <p:tag name="KM-CONTENT-SLIDE" val="2024-11-19 15:07:09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M-QUALITY-SLIDE" val="2024-11-19 15:06:49"/>
  <p:tag name="KM-CONTENT-SLIDE" val="2024-11-19 15:07:09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lmenKompas">
  <a:themeElements>
    <a:clrScheme name="Custom 10">
      <a:dk1>
        <a:srgbClr val="000000"/>
      </a:dk1>
      <a:lt1>
        <a:srgbClr val="FFFFFF"/>
      </a:lt1>
      <a:dk2>
        <a:srgbClr val="252F5F"/>
      </a:dk2>
      <a:lt2>
        <a:srgbClr val="F2F6F6"/>
      </a:lt2>
      <a:accent1>
        <a:srgbClr val="005950"/>
      </a:accent1>
      <a:accent2>
        <a:srgbClr val="5F7045"/>
      </a:accent2>
      <a:accent3>
        <a:srgbClr val="B5CEBD"/>
      </a:accent3>
      <a:accent4>
        <a:srgbClr val="252F5F"/>
      </a:accent4>
      <a:accent5>
        <a:srgbClr val="97A2BB"/>
      </a:accent5>
      <a:accent6>
        <a:srgbClr val="EF3F50"/>
      </a:accent6>
      <a:hlink>
        <a:srgbClr val="4D94D8"/>
      </a:hlink>
      <a:folHlink>
        <a:srgbClr val="96607D"/>
      </a:folHlink>
    </a:clrScheme>
    <a:fontScheme name="Almenkompas Font">
      <a:majorFont>
        <a:latin typeface="DM Sans 14pt ExtraBold"/>
        <a:ea typeface=""/>
        <a:cs typeface=""/>
      </a:majorFont>
      <a:minorFont>
        <a:latin typeface="DM Sans 14p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tlCol="0" anchor="ctr"/>
      <a:lstStyle>
        <a:defPPr algn="l">
          <a:defRPr sz="1400" b="1" dirty="0" smtClean="0">
            <a:solidFill>
              <a:schemeClr val="tx1"/>
            </a:solidFill>
            <a:latin typeface="Verdana" panose="020B0604030504040204" pitchFamily="34" charset="0"/>
            <a:ea typeface="Verdana" panose="020B0604030504040204" pitchFamily="34" charset="0"/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1A642259-29DE-4640-9EDE-D787EC20C353}" vid="{6A0219F8-D5D4-4382-95BC-B65A3AFD73B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1163E16A-AEDE-4B0F-8687-AFED5BD2FBB2}">
  <we:reference id="wa200001625" version="1.0.0.8" store="en-US" storeType="OMEX"/>
  <we:alternateReferences>
    <we:reference id="wa200001625" version="1.0.0.8" store="" storeType="OMEX"/>
  </we:alternateReferences>
  <we:properties>
    <we:property name="Office.AutoShowTaskpaneWithDocument" value="false"/>
  </we:properties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8e21f3c-b20b-41e4-9fa9-33c4bbbe68ac" xsi:nil="true"/>
    <lcf76f155ced4ddcb4097134ff3c332f xmlns="07b48e10-c04f-417b-9474-e48ce6fea886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B7D845375A7054B9D1190F5089F308E" ma:contentTypeVersion="15" ma:contentTypeDescription="Opret et nyt dokument." ma:contentTypeScope="" ma:versionID="b52d046e04e34a8dff5e7b1c6edf00b5">
  <xsd:schema xmlns:xsd="http://www.w3.org/2001/XMLSchema" xmlns:xs="http://www.w3.org/2001/XMLSchema" xmlns:p="http://schemas.microsoft.com/office/2006/metadata/properties" xmlns:ns2="07b48e10-c04f-417b-9474-e48ce6fea886" xmlns:ns3="58e21f3c-b20b-41e4-9fa9-33c4bbbe68ac" targetNamespace="http://schemas.microsoft.com/office/2006/metadata/properties" ma:root="true" ma:fieldsID="420d6aeef47cb23ff9c92a9c8087e062" ns2:_="" ns3:_="">
    <xsd:import namespace="07b48e10-c04f-417b-9474-e48ce6fea886"/>
    <xsd:import namespace="58e21f3c-b20b-41e4-9fa9-33c4bbbe68a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7b48e10-c04f-417b-9474-e48ce6fea8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lcf76f155ced4ddcb4097134ff3c332f" ma:index="15" nillable="true" ma:taxonomy="true" ma:internalName="lcf76f155ced4ddcb4097134ff3c332f" ma:taxonomyFieldName="MediaServiceImageTags" ma:displayName="Billedmærker" ma:readOnly="false" ma:fieldId="{5cf76f15-5ced-4ddc-b409-7134ff3c332f}" ma:taxonomyMulti="true" ma:sspId="567415f2-b293-4451-ac09-c97e906511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2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e21f3c-b20b-41e4-9fa9-33c4bbbe68a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28eec7cd-60fc-43cb-b884-fabd96c89621}" ma:internalName="TaxCatchAll" ma:showField="CatchAllData" ma:web="58e21f3c-b20b-41e4-9fa9-33c4bbbe68a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3E0EDA0-C3BD-4D1D-A8D6-C7FCC5ABF1A0}">
  <ds:schemaRefs>
    <ds:schemaRef ds:uri="http://schemas.openxmlformats.org/package/2006/metadata/core-properties"/>
    <ds:schemaRef ds:uri="http://schemas.microsoft.com/office/2006/documentManagement/types"/>
    <ds:schemaRef ds:uri="58e21f3c-b20b-41e4-9fa9-33c4bbbe68ac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07b48e10-c04f-417b-9474-e48ce6fea886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ADFAFCBA-9EEA-45C2-B980-8D00CF04694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233517A-1B19-45C3-A02D-B18C9B797473}">
  <ds:schemaRefs>
    <ds:schemaRef ds:uri="07b48e10-c04f-417b-9474-e48ce6fea886"/>
    <ds:schemaRef ds:uri="58e21f3c-b20b-41e4-9fa9-33c4bbbe68a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</TotalTime>
  <Words>1547</Words>
  <Application>Microsoft Office PowerPoint</Application>
  <PresentationFormat>Widescreen</PresentationFormat>
  <Paragraphs>242</Paragraphs>
  <Slides>24</Slides>
  <Notes>17</Notes>
  <HiddenSlides>10</HiddenSlides>
  <MMClips>0</MMClips>
  <ScaleCrop>false</ScaleCrop>
  <HeadingPairs>
    <vt:vector size="8" baseType="variant">
      <vt:variant>
        <vt:lpstr>Benyttede skrifttyper</vt:lpstr>
      </vt:variant>
      <vt:variant>
        <vt:i4>8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4</vt:i4>
      </vt:variant>
    </vt:vector>
  </HeadingPairs>
  <TitlesOfParts>
    <vt:vector size="34" baseType="lpstr">
      <vt:lpstr>DM Sans 14pt ExtraBold</vt:lpstr>
      <vt:lpstr>DM Sans 18pt</vt:lpstr>
      <vt:lpstr>DM Sans 18pt Medium</vt:lpstr>
      <vt:lpstr>Wingdings</vt:lpstr>
      <vt:lpstr>Arial</vt:lpstr>
      <vt:lpstr>Verdana</vt:lpstr>
      <vt:lpstr>DM Sans 18pt ExtraBold</vt:lpstr>
      <vt:lpstr>Aptos</vt:lpstr>
      <vt:lpstr>AlmenKompas</vt:lpstr>
      <vt:lpstr>think-cell Slide</vt:lpstr>
      <vt:lpstr>PowerPoint-præsentation</vt:lpstr>
      <vt:lpstr>Hvorfor AlmenKompas?</vt:lpstr>
      <vt:lpstr>Missionen for AlmenKompas</vt:lpstr>
      <vt:lpstr>Hvad er ESG?</vt:lpstr>
      <vt:lpstr>Omverdenen og dens påvirkning af den almene sektor</vt:lpstr>
      <vt:lpstr>Sådan arbejder AlmenKompas</vt:lpstr>
      <vt:lpstr>Vejen mod vores første ESG-målepunkter</vt:lpstr>
      <vt:lpstr>De 14 første ESG-målepunkter</vt:lpstr>
      <vt:lpstr>Den videre vej frem</vt:lpstr>
      <vt:lpstr>ESG-data i Det Almene Datavarehus</vt:lpstr>
      <vt:lpstr>Målgruppers behov</vt:lpstr>
      <vt:lpstr>Sådan er AlmenKompas organiseret </vt:lpstr>
      <vt:lpstr>Vil du vide mere om AlmenKompas? </vt:lpstr>
      <vt:lpstr>PowerPoint-præsentation</vt:lpstr>
      <vt:lpstr>Titel, DM Sans ExtraBold, 36 pkt</vt:lpstr>
      <vt:lpstr>Titel, DM Sans ExtraBold, 36 pkt</vt:lpstr>
      <vt:lpstr>PowerPoint-præsentation</vt:lpstr>
      <vt:lpstr>Nyt slide med stor, nedtonet illustration</vt:lpstr>
      <vt:lpstr>Illustrationer til brug på nye slides</vt:lpstr>
      <vt:lpstr>Illustrationer til brug på nye slides</vt:lpstr>
      <vt:lpstr>Illustrationer til brug på nye slides</vt:lpstr>
      <vt:lpstr>Illustrationer til brug på nye slides</vt:lpstr>
      <vt:lpstr>Ikoner til målepunkter – med tekst</vt:lpstr>
      <vt:lpstr>Ikoner til målepunkter – med eller uden baggrun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/a</dc:creator>
  <cp:lastModifiedBy>Ulla Jensen</cp:lastModifiedBy>
  <cp:revision>2</cp:revision>
  <dcterms:created xsi:type="dcterms:W3CDTF">2024-10-14T12:25:09Z</dcterms:created>
  <dcterms:modified xsi:type="dcterms:W3CDTF">2024-11-28T11:19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e93ebf9-81bd-44ac-bf29-c9a20c23d45b_Enabled">
    <vt:lpwstr>true</vt:lpwstr>
  </property>
  <property fmtid="{D5CDD505-2E9C-101B-9397-08002B2CF9AE}" pid="3" name="MSIP_Label_8e93ebf9-81bd-44ac-bf29-c9a20c23d45b_SetDate">
    <vt:lpwstr>2024-10-16T10:14:04Z</vt:lpwstr>
  </property>
  <property fmtid="{D5CDD505-2E9C-101B-9397-08002B2CF9AE}" pid="4" name="MSIP_Label_8e93ebf9-81bd-44ac-bf29-c9a20c23d45b_Method">
    <vt:lpwstr>Standard</vt:lpwstr>
  </property>
  <property fmtid="{D5CDD505-2E9C-101B-9397-08002B2CF9AE}" pid="5" name="MSIP_Label_8e93ebf9-81bd-44ac-bf29-c9a20c23d45b_Name">
    <vt:lpwstr>Restricted</vt:lpwstr>
  </property>
  <property fmtid="{D5CDD505-2E9C-101B-9397-08002B2CF9AE}" pid="6" name="MSIP_Label_8e93ebf9-81bd-44ac-bf29-c9a20c23d45b_SiteId">
    <vt:lpwstr>9395c127-4642-416e-8d2d-69e01e31c0d5</vt:lpwstr>
  </property>
  <property fmtid="{D5CDD505-2E9C-101B-9397-08002B2CF9AE}" pid="7" name="MSIP_Label_8e93ebf9-81bd-44ac-bf29-c9a20c23d45b_ActionId">
    <vt:lpwstr>c10becb7-3917-426f-ba5f-2eef8e594860</vt:lpwstr>
  </property>
  <property fmtid="{D5CDD505-2E9C-101B-9397-08002B2CF9AE}" pid="8" name="MSIP_Label_8e93ebf9-81bd-44ac-bf29-c9a20c23d45b_ContentBits">
    <vt:lpwstr>3</vt:lpwstr>
  </property>
  <property fmtid="{D5CDD505-2E9C-101B-9397-08002B2CF9AE}" pid="9" name="ClassificationContentMarkingHeaderLocations">
    <vt:lpwstr>Office Theme:9</vt:lpwstr>
  </property>
  <property fmtid="{D5CDD505-2E9C-101B-9397-08002B2CF9AE}" pid="10" name="ClassificationContentMarkingHeaderText">
    <vt:lpwstr>This information is RESTRICTED to authorized recipients</vt:lpwstr>
  </property>
  <property fmtid="{D5CDD505-2E9C-101B-9397-08002B2CF9AE}" pid="11" name="ContentTypeId">
    <vt:lpwstr>0x010100CB7D845375A7054B9D1190F5089F308E</vt:lpwstr>
  </property>
  <property fmtid="{D5CDD505-2E9C-101B-9397-08002B2CF9AE}" pid="12" name="MediaServiceImageTags">
    <vt:lpwstr/>
  </property>
  <property fmtid="{D5CDD505-2E9C-101B-9397-08002B2CF9AE}" pid="13" name="MSIP_Label_20ea7001-5c24-4702-a3ac-e436ccb02747_Enabled">
    <vt:lpwstr>true</vt:lpwstr>
  </property>
  <property fmtid="{D5CDD505-2E9C-101B-9397-08002B2CF9AE}" pid="14" name="MSIP_Label_20ea7001-5c24-4702-a3ac-e436ccb02747_Name">
    <vt:lpwstr>Confidential</vt:lpwstr>
  </property>
  <property fmtid="{D5CDD505-2E9C-101B-9397-08002B2CF9AE}" pid="15" name="MSIP_Label_20ea7001-5c24-4702-a3ac-e436ccb02747_ContentBits">
    <vt:lpwstr>2</vt:lpwstr>
  </property>
  <property fmtid="{D5CDD505-2E9C-101B-9397-08002B2CF9AE}" pid="16" name="MSIP_Label_20ea7001-5c24-4702-a3ac-e436ccb02747_ActionId">
    <vt:lpwstr>28553abd-d428-486e-84d6-e436cbff8524</vt:lpwstr>
  </property>
  <property fmtid="{D5CDD505-2E9C-101B-9397-08002B2CF9AE}" pid="17" name="MSIP_Label_20ea7001-5c24-4702-a3ac-e436ccb02747_SetDate">
    <vt:lpwstr>2024-11-27T09:54:50Z</vt:lpwstr>
  </property>
  <property fmtid="{D5CDD505-2E9C-101B-9397-08002B2CF9AE}" pid="18" name="MSIP_Label_20ea7001-5c24-4702-a3ac-e436ccb02747_SiteId">
    <vt:lpwstr>c8823c91-be81-4f89-b024-6c3dd789c106</vt:lpwstr>
  </property>
  <property fmtid="{D5CDD505-2E9C-101B-9397-08002B2CF9AE}" pid="19" name="MSIP_Label_20ea7001-5c24-4702-a3ac-e436ccb02747_Method">
    <vt:lpwstr>Standard</vt:lpwstr>
  </property>
</Properties>
</file>